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slides/slide192.xml" ContentType="application/vnd.openxmlformats-officedocument.presentationml.slide+xml"/>
  <Override PartName="/ppt/slides/slide193.xml" ContentType="application/vnd.openxmlformats-officedocument.presentationml.slide+xml"/>
  <Override PartName="/ppt/slides/slide194.xml" ContentType="application/vnd.openxmlformats-officedocument.presentationml.slide+xml"/>
  <Override PartName="/ppt/slides/slide195.xml" ContentType="application/vnd.openxmlformats-officedocument.presentationml.slide+xml"/>
  <Override PartName="/ppt/slides/slide196.xml" ContentType="application/vnd.openxmlformats-officedocument.presentationml.slide+xml"/>
  <Override PartName="/ppt/slides/slide197.xml" ContentType="application/vnd.openxmlformats-officedocument.presentationml.slide+xml"/>
  <Override PartName="/ppt/slides/slide198.xml" ContentType="application/vnd.openxmlformats-officedocument.presentationml.slide+xml"/>
  <Override PartName="/ppt/slides/slide199.xml" ContentType="application/vnd.openxmlformats-officedocument.presentationml.slide+xml"/>
  <Override PartName="/ppt/slides/slide200.xml" ContentType="application/vnd.openxmlformats-officedocument.presentationml.slide+xml"/>
  <Override PartName="/ppt/slides/slide201.xml" ContentType="application/vnd.openxmlformats-officedocument.presentationml.slide+xml"/>
  <Override PartName="/ppt/slides/slide202.xml" ContentType="application/vnd.openxmlformats-officedocument.presentationml.slide+xml"/>
  <Override PartName="/ppt/slides/slide203.xml" ContentType="application/vnd.openxmlformats-officedocument.presentationml.slide+xml"/>
  <Override PartName="/ppt/slides/slide204.xml" ContentType="application/vnd.openxmlformats-officedocument.presentationml.slide+xml"/>
  <Override PartName="/ppt/slides/slide205.xml" ContentType="application/vnd.openxmlformats-officedocument.presentationml.slide+xml"/>
  <Override PartName="/ppt/slides/slide206.xml" ContentType="application/vnd.openxmlformats-officedocument.presentationml.slide+xml"/>
  <Override PartName="/ppt/slides/slide207.xml" ContentType="application/vnd.openxmlformats-officedocument.presentationml.slide+xml"/>
  <Override PartName="/ppt/slides/slide208.xml" ContentType="application/vnd.openxmlformats-officedocument.presentationml.slide+xml"/>
  <Override PartName="/ppt/slides/slide209.xml" ContentType="application/vnd.openxmlformats-officedocument.presentationml.slide+xml"/>
  <Override PartName="/ppt/slides/slide210.xml" ContentType="application/vnd.openxmlformats-officedocument.presentationml.slide+xml"/>
  <Override PartName="/ppt/slides/slide211.xml" ContentType="application/vnd.openxmlformats-officedocument.presentationml.slide+xml"/>
  <Override PartName="/ppt/slides/slide212.xml" ContentType="application/vnd.openxmlformats-officedocument.presentationml.slide+xml"/>
  <Override PartName="/ppt/slides/slide213.xml" ContentType="application/vnd.openxmlformats-officedocument.presentationml.slide+xml"/>
  <Override PartName="/ppt/slides/slide214.xml" ContentType="application/vnd.openxmlformats-officedocument.presentationml.slide+xml"/>
  <Override PartName="/ppt/slides/slide215.xml" ContentType="application/vnd.openxmlformats-officedocument.presentationml.slide+xml"/>
  <Override PartName="/ppt/slides/slide216.xml" ContentType="application/vnd.openxmlformats-officedocument.presentationml.slide+xml"/>
  <Override PartName="/ppt/slides/slide217.xml" ContentType="application/vnd.openxmlformats-officedocument.presentationml.slide+xml"/>
  <Override PartName="/ppt/slides/slide218.xml" ContentType="application/vnd.openxmlformats-officedocument.presentationml.slide+xml"/>
  <Override PartName="/ppt/slides/slide219.xml" ContentType="application/vnd.openxmlformats-officedocument.presentationml.slide+xml"/>
  <Override PartName="/ppt/slides/slide220.xml" ContentType="application/vnd.openxmlformats-officedocument.presentationml.slide+xml"/>
  <Override PartName="/ppt/slides/slide221.xml" ContentType="application/vnd.openxmlformats-officedocument.presentationml.slide+xml"/>
  <Override PartName="/ppt/slides/slide222.xml" ContentType="application/vnd.openxmlformats-officedocument.presentationml.slide+xml"/>
  <Override PartName="/ppt/slides/slide223.xml" ContentType="application/vnd.openxmlformats-officedocument.presentationml.slide+xml"/>
  <Override PartName="/ppt/slides/slide224.xml" ContentType="application/vnd.openxmlformats-officedocument.presentationml.slide+xml"/>
  <Override PartName="/ppt/slides/slide225.xml" ContentType="application/vnd.openxmlformats-officedocument.presentationml.slide+xml"/>
  <Override PartName="/ppt/slides/slide226.xml" ContentType="application/vnd.openxmlformats-officedocument.presentationml.slide+xml"/>
  <Override PartName="/ppt/slides/slide227.xml" ContentType="application/vnd.openxmlformats-officedocument.presentationml.slide+xml"/>
  <Override PartName="/ppt/slides/slide228.xml" ContentType="application/vnd.openxmlformats-officedocument.presentationml.slide+xml"/>
  <Override PartName="/ppt/slides/slide229.xml" ContentType="application/vnd.openxmlformats-officedocument.presentationml.slide+xml"/>
  <Override PartName="/ppt/slides/slide230.xml" ContentType="application/vnd.openxmlformats-officedocument.presentationml.slide+xml"/>
  <Override PartName="/ppt/slides/slide231.xml" ContentType="application/vnd.openxmlformats-officedocument.presentationml.slide+xml"/>
  <Override PartName="/ppt/slides/slide232.xml" ContentType="application/vnd.openxmlformats-officedocument.presentationml.slide+xml"/>
  <Override PartName="/ppt/slides/slide233.xml" ContentType="application/vnd.openxmlformats-officedocument.presentationml.slide+xml"/>
  <Override PartName="/ppt/slides/slide234.xml" ContentType="application/vnd.openxmlformats-officedocument.presentationml.slide+xml"/>
  <Override PartName="/ppt/slides/slide235.xml" ContentType="application/vnd.openxmlformats-officedocument.presentationml.slide+xml"/>
  <Override PartName="/ppt/slides/slide236.xml" ContentType="application/vnd.openxmlformats-officedocument.presentationml.slide+xml"/>
  <Override PartName="/ppt/slides/slide237.xml" ContentType="application/vnd.openxmlformats-officedocument.presentationml.slide+xml"/>
  <Override PartName="/ppt/slides/slide238.xml" ContentType="application/vnd.openxmlformats-officedocument.presentationml.slide+xml"/>
  <Override PartName="/ppt/slides/slide239.xml" ContentType="application/vnd.openxmlformats-officedocument.presentationml.slide+xml"/>
  <Override PartName="/ppt/slides/slide240.xml" ContentType="application/vnd.openxmlformats-officedocument.presentationml.slide+xml"/>
  <Override PartName="/ppt/slides/slide241.xml" ContentType="application/vnd.openxmlformats-officedocument.presentationml.slide+xml"/>
  <Override PartName="/ppt/slides/slide242.xml" ContentType="application/vnd.openxmlformats-officedocument.presentationml.slide+xml"/>
  <Override PartName="/ppt/slides/slide243.xml" ContentType="application/vnd.openxmlformats-officedocument.presentationml.slide+xml"/>
  <Override PartName="/ppt/slides/slide244.xml" ContentType="application/vnd.openxmlformats-officedocument.presentationml.slide+xml"/>
  <Override PartName="/ppt/slides/slide245.xml" ContentType="application/vnd.openxmlformats-officedocument.presentationml.slide+xml"/>
  <Override PartName="/ppt/slides/slide246.xml" ContentType="application/vnd.openxmlformats-officedocument.presentationml.slide+xml"/>
  <Override PartName="/ppt/slides/slide247.xml" ContentType="application/vnd.openxmlformats-officedocument.presentationml.slide+xml"/>
  <Override PartName="/ppt/slides/slide248.xml" ContentType="application/vnd.openxmlformats-officedocument.presentationml.slide+xml"/>
  <Override PartName="/ppt/slides/slide249.xml" ContentType="application/vnd.openxmlformats-officedocument.presentationml.slide+xml"/>
  <Override PartName="/ppt/slides/slide250.xml" ContentType="application/vnd.openxmlformats-officedocument.presentationml.slide+xml"/>
  <Override PartName="/ppt/slides/slide251.xml" ContentType="application/vnd.openxmlformats-officedocument.presentationml.slide+xml"/>
  <Override PartName="/ppt/slides/slide252.xml" ContentType="application/vnd.openxmlformats-officedocument.presentationml.slide+xml"/>
  <Override PartName="/ppt/slides/slide253.xml" ContentType="application/vnd.openxmlformats-officedocument.presentationml.slide+xml"/>
  <Override PartName="/ppt/slides/slide254.xml" ContentType="application/vnd.openxmlformats-officedocument.presentationml.slide+xml"/>
  <Override PartName="/ppt/slides/slide255.xml" ContentType="application/vnd.openxmlformats-officedocument.presentationml.slide+xml"/>
  <Override PartName="/ppt/slides/slide256.xml" ContentType="application/vnd.openxmlformats-officedocument.presentationml.slide+xml"/>
  <Override PartName="/ppt/slides/slide257.xml" ContentType="application/vnd.openxmlformats-officedocument.presentationml.slide+xml"/>
  <Override PartName="/ppt/slides/slide258.xml" ContentType="application/vnd.openxmlformats-officedocument.presentationml.slide+xml"/>
  <Override PartName="/ppt/slides/slide259.xml" ContentType="application/vnd.openxmlformats-officedocument.presentationml.slide+xml"/>
  <Override PartName="/ppt/slides/slide260.xml" ContentType="application/vnd.openxmlformats-officedocument.presentationml.slide+xml"/>
  <Override PartName="/ppt/slides/slide261.xml" ContentType="application/vnd.openxmlformats-officedocument.presentationml.slide+xml"/>
  <Override PartName="/ppt/slides/slide262.xml" ContentType="application/vnd.openxmlformats-officedocument.presentationml.slide+xml"/>
  <Override PartName="/ppt/slides/slide263.xml" ContentType="application/vnd.openxmlformats-officedocument.presentationml.slide+xml"/>
  <Override PartName="/ppt/slides/slide264.xml" ContentType="application/vnd.openxmlformats-officedocument.presentationml.slide+xml"/>
  <Override PartName="/ppt/slides/slide265.xml" ContentType="application/vnd.openxmlformats-officedocument.presentationml.slide+xml"/>
  <Override PartName="/ppt/slides/slide266.xml" ContentType="application/vnd.openxmlformats-officedocument.presentationml.slide+xml"/>
  <Override PartName="/ppt/slides/slide267.xml" ContentType="application/vnd.openxmlformats-officedocument.presentationml.slide+xml"/>
  <Override PartName="/ppt/slides/slide268.xml" ContentType="application/vnd.openxmlformats-officedocument.presentationml.slide+xml"/>
  <Override PartName="/ppt/slides/slide269.xml" ContentType="application/vnd.openxmlformats-officedocument.presentationml.slide+xml"/>
  <Override PartName="/ppt/slides/slide270.xml" ContentType="application/vnd.openxmlformats-officedocument.presentationml.slide+xml"/>
  <Override PartName="/ppt/slides/slide271.xml" ContentType="application/vnd.openxmlformats-officedocument.presentationml.slide+xml"/>
  <Override PartName="/ppt/slides/slide272.xml" ContentType="application/vnd.openxmlformats-officedocument.presentationml.slide+xml"/>
  <Override PartName="/ppt/slides/slide273.xml" ContentType="application/vnd.openxmlformats-officedocument.presentationml.slide+xml"/>
  <Override PartName="/ppt/slides/slide274.xml" ContentType="application/vnd.openxmlformats-officedocument.presentationml.slide+xml"/>
  <Override PartName="/ppt/slides/slide275.xml" ContentType="application/vnd.openxmlformats-officedocument.presentationml.slide+xml"/>
  <Override PartName="/ppt/slides/slide276.xml" ContentType="application/vnd.openxmlformats-officedocument.presentationml.slide+xml"/>
  <Override PartName="/ppt/slides/slide277.xml" ContentType="application/vnd.openxmlformats-officedocument.presentationml.slide+xml"/>
  <Override PartName="/ppt/slides/slide278.xml" ContentType="application/vnd.openxmlformats-officedocument.presentationml.slide+xml"/>
  <Override PartName="/ppt/slides/slide279.xml" ContentType="application/vnd.openxmlformats-officedocument.presentationml.slide+xml"/>
  <Override PartName="/ppt/slides/slide280.xml" ContentType="application/vnd.openxmlformats-officedocument.presentationml.slide+xml"/>
  <Override PartName="/ppt/slides/slide281.xml" ContentType="application/vnd.openxmlformats-officedocument.presentationml.slide+xml"/>
  <Override PartName="/ppt/slides/slide282.xml" ContentType="application/vnd.openxmlformats-officedocument.presentationml.slide+xml"/>
  <Override PartName="/ppt/slides/slide283.xml" ContentType="application/vnd.openxmlformats-officedocument.presentationml.slide+xml"/>
  <Override PartName="/ppt/slides/slide284.xml" ContentType="application/vnd.openxmlformats-officedocument.presentationml.slide+xml"/>
  <Override PartName="/ppt/slides/slide285.xml" ContentType="application/vnd.openxmlformats-officedocument.presentationml.slide+xml"/>
  <Override PartName="/ppt/slides/slide286.xml" ContentType="application/vnd.openxmlformats-officedocument.presentationml.slide+xml"/>
  <Override PartName="/ppt/slides/slide287.xml" ContentType="application/vnd.openxmlformats-officedocument.presentationml.slide+xml"/>
  <Override PartName="/ppt/slides/slide288.xml" ContentType="application/vnd.openxmlformats-officedocument.presentationml.slide+xml"/>
  <Override PartName="/ppt/slides/slide289.xml" ContentType="application/vnd.openxmlformats-officedocument.presentationml.slide+xml"/>
  <Override PartName="/ppt/slides/slide290.xml" ContentType="application/vnd.openxmlformats-officedocument.presentationml.slide+xml"/>
  <Override PartName="/ppt/slides/slide291.xml" ContentType="application/vnd.openxmlformats-officedocument.presentationml.slide+xml"/>
  <Override PartName="/ppt/slides/slide292.xml" ContentType="application/vnd.openxmlformats-officedocument.presentationml.slide+xml"/>
  <Override PartName="/ppt/slides/slide293.xml" ContentType="application/vnd.openxmlformats-officedocument.presentationml.slide+xml"/>
  <Override PartName="/ppt/slides/slide294.xml" ContentType="application/vnd.openxmlformats-officedocument.presentationml.slide+xml"/>
  <Override PartName="/ppt/slides/slide295.xml" ContentType="application/vnd.openxmlformats-officedocument.presentationml.slide+xml"/>
  <Override PartName="/ppt/slides/slide296.xml" ContentType="application/vnd.openxmlformats-officedocument.presentationml.slide+xml"/>
  <Override PartName="/ppt/slides/slide297.xml" ContentType="application/vnd.openxmlformats-officedocument.presentationml.slide+xml"/>
  <Override PartName="/ppt/slides/slide298.xml" ContentType="application/vnd.openxmlformats-officedocument.presentationml.slide+xml"/>
  <Override PartName="/ppt/slides/slide299.xml" ContentType="application/vnd.openxmlformats-officedocument.presentationml.slide+xml"/>
  <Override PartName="/ppt/slides/slide300.xml" ContentType="application/vnd.openxmlformats-officedocument.presentationml.slide+xml"/>
  <Override PartName="/ppt/slides/slide301.xml" ContentType="application/vnd.openxmlformats-officedocument.presentationml.slide+xml"/>
  <Override PartName="/ppt/slides/slide302.xml" ContentType="application/vnd.openxmlformats-officedocument.presentationml.slide+xml"/>
  <Override PartName="/ppt/slides/slide303.xml" ContentType="application/vnd.openxmlformats-officedocument.presentationml.slide+xml"/>
  <Override PartName="/ppt/slides/slide304.xml" ContentType="application/vnd.openxmlformats-officedocument.presentationml.slide+xml"/>
  <Override PartName="/ppt/slides/slide305.xml" ContentType="application/vnd.openxmlformats-officedocument.presentationml.slide+xml"/>
  <Override PartName="/ppt/slides/slide306.xml" ContentType="application/vnd.openxmlformats-officedocument.presentationml.slide+xml"/>
  <Override PartName="/ppt/slides/slide307.xml" ContentType="application/vnd.openxmlformats-officedocument.presentationml.slide+xml"/>
  <Override PartName="/ppt/slides/slide308.xml" ContentType="application/vnd.openxmlformats-officedocument.presentationml.slide+xml"/>
  <Override PartName="/ppt/slides/slide309.xml" ContentType="application/vnd.openxmlformats-officedocument.presentationml.slide+xml"/>
  <Override PartName="/ppt/slides/slide310.xml" ContentType="application/vnd.openxmlformats-officedocument.presentationml.slide+xml"/>
  <Override PartName="/ppt/slides/slide311.xml" ContentType="application/vnd.openxmlformats-officedocument.presentationml.slide+xml"/>
  <Override PartName="/ppt/slides/slide312.xml" ContentType="application/vnd.openxmlformats-officedocument.presentationml.slide+xml"/>
  <Override PartName="/ppt/slides/slide313.xml" ContentType="application/vnd.openxmlformats-officedocument.presentationml.slide+xml"/>
  <Override PartName="/ppt/slides/slide314.xml" ContentType="application/vnd.openxmlformats-officedocument.presentationml.slide+xml"/>
  <Override PartName="/ppt/slides/slide315.xml" ContentType="application/vnd.openxmlformats-officedocument.presentationml.slide+xml"/>
  <Override PartName="/ppt/slides/slide316.xml" ContentType="application/vnd.openxmlformats-officedocument.presentationml.slide+xml"/>
  <Override PartName="/ppt/slides/slide317.xml" ContentType="application/vnd.openxmlformats-officedocument.presentationml.slide+xml"/>
  <Override PartName="/ppt/slides/slide318.xml" ContentType="application/vnd.openxmlformats-officedocument.presentationml.slide+xml"/>
  <Override PartName="/ppt/slides/slide319.xml" ContentType="application/vnd.openxmlformats-officedocument.presentationml.slide+xml"/>
  <Override PartName="/ppt/slides/slide320.xml" ContentType="application/vnd.openxmlformats-officedocument.presentationml.slide+xml"/>
  <Override PartName="/ppt/slides/slide321.xml" ContentType="application/vnd.openxmlformats-officedocument.presentationml.slide+xml"/>
  <Override PartName="/ppt/slides/slide322.xml" ContentType="application/vnd.openxmlformats-officedocument.presentationml.slide+xml"/>
  <Override PartName="/ppt/slides/slide323.xml" ContentType="application/vnd.openxmlformats-officedocument.presentationml.slide+xml"/>
  <Override PartName="/ppt/slides/slide324.xml" ContentType="application/vnd.openxmlformats-officedocument.presentationml.slide+xml"/>
  <Override PartName="/ppt/slides/slide325.xml" ContentType="application/vnd.openxmlformats-officedocument.presentationml.slide+xml"/>
  <Override PartName="/ppt/slides/slide326.xml" ContentType="application/vnd.openxmlformats-officedocument.presentationml.slide+xml"/>
  <Override PartName="/ppt/slides/slide327.xml" ContentType="application/vnd.openxmlformats-officedocument.presentationml.slide+xml"/>
  <Override PartName="/ppt/slides/slide328.xml" ContentType="application/vnd.openxmlformats-officedocument.presentationml.slide+xml"/>
  <Override PartName="/ppt/slides/slide329.xml" ContentType="application/vnd.openxmlformats-officedocument.presentationml.slide+xml"/>
  <Override PartName="/ppt/slides/slide330.xml" ContentType="application/vnd.openxmlformats-officedocument.presentationml.slide+xml"/>
  <Override PartName="/ppt/slides/slide331.xml" ContentType="application/vnd.openxmlformats-officedocument.presentationml.slide+xml"/>
  <Override PartName="/ppt/slides/slide332.xml" ContentType="application/vnd.openxmlformats-officedocument.presentationml.slide+xml"/>
  <Override PartName="/ppt/slides/slide333.xml" ContentType="application/vnd.openxmlformats-officedocument.presentationml.slide+xml"/>
  <Override PartName="/ppt/slides/slide334.xml" ContentType="application/vnd.openxmlformats-officedocument.presentationml.slide+xml"/>
  <Override PartName="/ppt/slides/slide335.xml" ContentType="application/vnd.openxmlformats-officedocument.presentationml.slide+xml"/>
  <Override PartName="/ppt/slides/slide336.xml" ContentType="application/vnd.openxmlformats-officedocument.presentationml.slide+xml"/>
  <Override PartName="/ppt/slides/slide337.xml" ContentType="application/vnd.openxmlformats-officedocument.presentationml.slide+xml"/>
  <Override PartName="/ppt/slides/slide338.xml" ContentType="application/vnd.openxmlformats-officedocument.presentationml.slide+xml"/>
  <Override PartName="/ppt/slides/slide339.xml" ContentType="application/vnd.openxmlformats-officedocument.presentationml.slide+xml"/>
  <Override PartName="/ppt/slides/slide340.xml" ContentType="application/vnd.openxmlformats-officedocument.presentationml.slide+xml"/>
  <Override PartName="/ppt/slides/slide341.xml" ContentType="application/vnd.openxmlformats-officedocument.presentationml.slide+xml"/>
  <Override PartName="/ppt/slides/slide342.xml" ContentType="application/vnd.openxmlformats-officedocument.presentationml.slide+xml"/>
  <Override PartName="/ppt/slides/slide343.xml" ContentType="application/vnd.openxmlformats-officedocument.presentationml.slide+xml"/>
  <Override PartName="/ppt/slides/slide344.xml" ContentType="application/vnd.openxmlformats-officedocument.presentationml.slide+xml"/>
  <Override PartName="/ppt/slides/slide345.xml" ContentType="application/vnd.openxmlformats-officedocument.presentationml.slide+xml"/>
  <Override PartName="/ppt/slides/slide346.xml" ContentType="application/vnd.openxmlformats-officedocument.presentationml.slide+xml"/>
  <Override PartName="/ppt/slides/slide347.xml" ContentType="application/vnd.openxmlformats-officedocument.presentationml.slide+xml"/>
  <Override PartName="/ppt/slides/slide348.xml" ContentType="application/vnd.openxmlformats-officedocument.presentationml.slide+xml"/>
  <Override PartName="/ppt/slides/slide349.xml" ContentType="application/vnd.openxmlformats-officedocument.presentationml.slide+xml"/>
  <Override PartName="/ppt/slides/slide350.xml" ContentType="application/vnd.openxmlformats-officedocument.presentationml.slide+xml"/>
  <Override PartName="/ppt/slides/slide351.xml" ContentType="application/vnd.openxmlformats-officedocument.presentationml.slide+xml"/>
  <Override PartName="/ppt/slides/slide352.xml" ContentType="application/vnd.openxmlformats-officedocument.presentationml.slide+xml"/>
  <Override PartName="/ppt/slides/slide353.xml" ContentType="application/vnd.openxmlformats-officedocument.presentationml.slide+xml"/>
  <Override PartName="/ppt/slides/slide354.xml" ContentType="application/vnd.openxmlformats-officedocument.presentationml.slide+xml"/>
  <Override PartName="/ppt/slides/slide355.xml" ContentType="application/vnd.openxmlformats-officedocument.presentationml.slide+xml"/>
  <Override PartName="/ppt/slides/slide356.xml" ContentType="application/vnd.openxmlformats-officedocument.presentationml.slide+xml"/>
  <Override PartName="/ppt/slides/slide357.xml" ContentType="application/vnd.openxmlformats-officedocument.presentationml.slide+xml"/>
  <Override PartName="/ppt/slides/slide358.xml" ContentType="application/vnd.openxmlformats-officedocument.presentationml.slide+xml"/>
  <Override PartName="/ppt/slides/slide359.xml" ContentType="application/vnd.openxmlformats-officedocument.presentationml.slide+xml"/>
  <Override PartName="/ppt/slides/slide360.xml" ContentType="application/vnd.openxmlformats-officedocument.presentationml.slide+xml"/>
  <Override PartName="/ppt/slides/slide361.xml" ContentType="application/vnd.openxmlformats-officedocument.presentationml.slide+xml"/>
  <Override PartName="/ppt/slides/slide362.xml" ContentType="application/vnd.openxmlformats-officedocument.presentationml.slide+xml"/>
  <Override PartName="/ppt/slides/slide363.xml" ContentType="application/vnd.openxmlformats-officedocument.presentationml.slide+xml"/>
  <Override PartName="/ppt/slides/slide364.xml" ContentType="application/vnd.openxmlformats-officedocument.presentationml.slide+xml"/>
  <Override PartName="/ppt/slides/slide365.xml" ContentType="application/vnd.openxmlformats-officedocument.presentationml.slide+xml"/>
  <Override PartName="/ppt/slides/slide366.xml" ContentType="application/vnd.openxmlformats-officedocument.presentationml.slide+xml"/>
  <Override PartName="/ppt/slides/slide367.xml" ContentType="application/vnd.openxmlformats-officedocument.presentationml.slide+xml"/>
  <Override PartName="/ppt/slides/slide368.xml" ContentType="application/vnd.openxmlformats-officedocument.presentationml.slide+xml"/>
  <Override PartName="/ppt/slides/slide369.xml" ContentType="application/vnd.openxmlformats-officedocument.presentationml.slide+xml"/>
  <Override PartName="/ppt/slides/slide370.xml" ContentType="application/vnd.openxmlformats-officedocument.presentationml.slide+xml"/>
  <Override PartName="/ppt/slides/slide371.xml" ContentType="application/vnd.openxmlformats-officedocument.presentationml.slide+xml"/>
  <Override PartName="/ppt/slides/slide372.xml" ContentType="application/vnd.openxmlformats-officedocument.presentationml.slide+xml"/>
  <Override PartName="/ppt/slides/slide373.xml" ContentType="application/vnd.openxmlformats-officedocument.presentationml.slide+xml"/>
  <Override PartName="/ppt/slides/slide374.xml" ContentType="application/vnd.openxmlformats-officedocument.presentationml.slide+xml"/>
  <Override PartName="/ppt/slides/slide375.xml" ContentType="application/vnd.openxmlformats-officedocument.presentationml.slide+xml"/>
  <Override PartName="/ppt/slides/slide376.xml" ContentType="application/vnd.openxmlformats-officedocument.presentationml.slide+xml"/>
  <Override PartName="/ppt/slides/slide377.xml" ContentType="application/vnd.openxmlformats-officedocument.presentationml.slide+xml"/>
  <Override PartName="/ppt/slides/slide378.xml" ContentType="application/vnd.openxmlformats-officedocument.presentationml.slide+xml"/>
  <Override PartName="/ppt/slides/slide379.xml" ContentType="application/vnd.openxmlformats-officedocument.presentationml.slide+xml"/>
  <Override PartName="/ppt/slides/slide380.xml" ContentType="application/vnd.openxmlformats-officedocument.presentationml.slide+xml"/>
  <Override PartName="/ppt/slides/slide381.xml" ContentType="application/vnd.openxmlformats-officedocument.presentationml.slide+xml"/>
  <Override PartName="/ppt/slides/slide382.xml" ContentType="application/vnd.openxmlformats-officedocument.presentationml.slide+xml"/>
  <Override PartName="/ppt/slides/slide383.xml" ContentType="application/vnd.openxmlformats-officedocument.presentationml.slide+xml"/>
  <Override PartName="/ppt/slides/slide384.xml" ContentType="application/vnd.openxmlformats-officedocument.presentationml.slide+xml"/>
  <Override PartName="/ppt/slides/slide385.xml" ContentType="application/vnd.openxmlformats-officedocument.presentationml.slide+xml"/>
  <Override PartName="/ppt/slides/slide386.xml" ContentType="application/vnd.openxmlformats-officedocument.presentationml.slide+xml"/>
  <Override PartName="/ppt/slides/slide387.xml" ContentType="application/vnd.openxmlformats-officedocument.presentationml.slide+xml"/>
  <Override PartName="/ppt/slides/slide388.xml" ContentType="application/vnd.openxmlformats-officedocument.presentationml.slide+xml"/>
  <Override PartName="/ppt/slides/slide389.xml" ContentType="application/vnd.openxmlformats-officedocument.presentationml.slide+xml"/>
  <Override PartName="/ppt/slides/slide390.xml" ContentType="application/vnd.openxmlformats-officedocument.presentationml.slide+xml"/>
  <Override PartName="/ppt/slides/slide391.xml" ContentType="application/vnd.openxmlformats-officedocument.presentationml.slide+xml"/>
  <Override PartName="/ppt/slides/slide392.xml" ContentType="application/vnd.openxmlformats-officedocument.presentationml.slide+xml"/>
  <Override PartName="/ppt/slides/slide393.xml" ContentType="application/vnd.openxmlformats-officedocument.presentationml.slide+xml"/>
  <Override PartName="/ppt/slides/slide394.xml" ContentType="application/vnd.openxmlformats-officedocument.presentationml.slide+xml"/>
  <Override PartName="/ppt/slides/slide395.xml" ContentType="application/vnd.openxmlformats-officedocument.presentationml.slide+xml"/>
  <Override PartName="/ppt/slides/slide396.xml" ContentType="application/vnd.openxmlformats-officedocument.presentationml.slide+xml"/>
  <Override PartName="/ppt/slides/slide397.xml" ContentType="application/vnd.openxmlformats-officedocument.presentationml.slide+xml"/>
  <Override PartName="/ppt/slides/slide398.xml" ContentType="application/vnd.openxmlformats-officedocument.presentationml.slide+xml"/>
  <Override PartName="/ppt/slides/slide399.xml" ContentType="application/vnd.openxmlformats-officedocument.presentationml.slide+xml"/>
  <Override PartName="/ppt/slides/slide400.xml" ContentType="application/vnd.openxmlformats-officedocument.presentationml.slide+xml"/>
  <Override PartName="/ppt/slides/slide401.xml" ContentType="application/vnd.openxmlformats-officedocument.presentationml.slide+xml"/>
  <Override PartName="/ppt/slides/slide402.xml" ContentType="application/vnd.openxmlformats-officedocument.presentationml.slide+xml"/>
  <Override PartName="/ppt/slides/slide403.xml" ContentType="application/vnd.openxmlformats-officedocument.presentationml.slide+xml"/>
  <Override PartName="/ppt/slides/slide404.xml" ContentType="application/vnd.openxmlformats-officedocument.presentationml.slide+xml"/>
  <Override PartName="/ppt/slides/slide405.xml" ContentType="application/vnd.openxmlformats-officedocument.presentationml.slide+xml"/>
  <Override PartName="/ppt/slides/slide406.xml" ContentType="application/vnd.openxmlformats-officedocument.presentationml.slide+xml"/>
  <Override PartName="/ppt/slides/slide407.xml" ContentType="application/vnd.openxmlformats-officedocument.presentationml.slide+xml"/>
  <Override PartName="/ppt/slides/slide408.xml" ContentType="application/vnd.openxmlformats-officedocument.presentationml.slide+xml"/>
  <Override PartName="/ppt/slides/slide409.xml" ContentType="application/vnd.openxmlformats-officedocument.presentationml.slide+xml"/>
  <Override PartName="/ppt/slides/slide410.xml" ContentType="application/vnd.openxmlformats-officedocument.presentationml.slide+xml"/>
  <Override PartName="/ppt/slides/slide411.xml" ContentType="application/vnd.openxmlformats-officedocument.presentationml.slide+xml"/>
  <Override PartName="/ppt/slides/slide412.xml" ContentType="application/vnd.openxmlformats-officedocument.presentationml.slide+xml"/>
  <Override PartName="/ppt/slides/slide413.xml" ContentType="application/vnd.openxmlformats-officedocument.presentationml.slide+xml"/>
  <Override PartName="/ppt/slides/slide414.xml" ContentType="application/vnd.openxmlformats-officedocument.presentationml.slide+xml"/>
  <Override PartName="/ppt/slides/slide415.xml" ContentType="application/vnd.openxmlformats-officedocument.presentationml.slide+xml"/>
  <Override PartName="/ppt/slides/slide416.xml" ContentType="application/vnd.openxmlformats-officedocument.presentationml.slide+xml"/>
  <Override PartName="/ppt/slides/slide417.xml" ContentType="application/vnd.openxmlformats-officedocument.presentationml.slide+xml"/>
  <Override PartName="/ppt/slides/slide418.xml" ContentType="application/vnd.openxmlformats-officedocument.presentationml.slide+xml"/>
  <Override PartName="/ppt/slides/slide419.xml" ContentType="application/vnd.openxmlformats-officedocument.presentationml.slide+xml"/>
  <Override PartName="/ppt/slides/slide420.xml" ContentType="application/vnd.openxmlformats-officedocument.presentationml.slide+xml"/>
  <Override PartName="/ppt/slides/slide421.xml" ContentType="application/vnd.openxmlformats-officedocument.presentationml.slide+xml"/>
  <Override PartName="/ppt/slides/slide422.xml" ContentType="application/vnd.openxmlformats-officedocument.presentationml.slide+xml"/>
  <Override PartName="/ppt/slides/slide423.xml" ContentType="application/vnd.openxmlformats-officedocument.presentationml.slide+xml"/>
  <Override PartName="/ppt/slides/slide424.xml" ContentType="application/vnd.openxmlformats-officedocument.presentationml.slide+xml"/>
  <Override PartName="/ppt/slides/slide425.xml" ContentType="application/vnd.openxmlformats-officedocument.presentationml.slide+xml"/>
  <Override PartName="/ppt/slides/slide426.xml" ContentType="application/vnd.openxmlformats-officedocument.presentationml.slide+xml"/>
  <Override PartName="/ppt/slides/slide427.xml" ContentType="application/vnd.openxmlformats-officedocument.presentationml.slide+xml"/>
  <Override PartName="/ppt/slides/slide428.xml" ContentType="application/vnd.openxmlformats-officedocument.presentationml.slide+xml"/>
  <Override PartName="/ppt/slides/slide429.xml" ContentType="application/vnd.openxmlformats-officedocument.presentationml.slide+xml"/>
  <Override PartName="/ppt/slides/slide430.xml" ContentType="application/vnd.openxmlformats-officedocument.presentationml.slide+xml"/>
  <Override PartName="/ppt/slides/slide431.xml" ContentType="application/vnd.openxmlformats-officedocument.presentationml.slide+xml"/>
  <Override PartName="/ppt/slides/slide432.xml" ContentType="application/vnd.openxmlformats-officedocument.presentationml.slide+xml"/>
  <Override PartName="/ppt/slides/slide433.xml" ContentType="application/vnd.openxmlformats-officedocument.presentationml.slide+xml"/>
  <Override PartName="/ppt/slides/slide434.xml" ContentType="application/vnd.openxmlformats-officedocument.presentationml.slide+xml"/>
  <Override PartName="/ppt/slides/slide435.xml" ContentType="application/vnd.openxmlformats-officedocument.presentationml.slide+xml"/>
  <Override PartName="/ppt/slides/slide436.xml" ContentType="application/vnd.openxmlformats-officedocument.presentationml.slide+xml"/>
  <Override PartName="/ppt/slides/slide437.xml" ContentType="application/vnd.openxmlformats-officedocument.presentationml.slide+xml"/>
  <Override PartName="/ppt/slides/slide438.xml" ContentType="application/vnd.openxmlformats-officedocument.presentationml.slide+xml"/>
  <Override PartName="/ppt/slides/slide439.xml" ContentType="application/vnd.openxmlformats-officedocument.presentationml.slide+xml"/>
  <Override PartName="/ppt/slides/slide440.xml" ContentType="application/vnd.openxmlformats-officedocument.presentationml.slide+xml"/>
  <Override PartName="/ppt/slides/slide441.xml" ContentType="application/vnd.openxmlformats-officedocument.presentationml.slide+xml"/>
  <Override PartName="/ppt/slides/slide442.xml" ContentType="application/vnd.openxmlformats-officedocument.presentationml.slide+xml"/>
  <Override PartName="/ppt/slides/slide443.xml" ContentType="application/vnd.openxmlformats-officedocument.presentationml.slide+xml"/>
  <Override PartName="/ppt/slides/slide444.xml" ContentType="application/vnd.openxmlformats-officedocument.presentationml.slide+xml"/>
  <Override PartName="/ppt/slides/slide445.xml" ContentType="application/vnd.openxmlformats-officedocument.presentationml.slide+xml"/>
  <Override PartName="/ppt/slides/slide446.xml" ContentType="application/vnd.openxmlformats-officedocument.presentationml.slide+xml"/>
  <Override PartName="/ppt/slides/slide447.xml" ContentType="application/vnd.openxmlformats-officedocument.presentationml.slide+xml"/>
  <Override PartName="/ppt/slides/slide448.xml" ContentType="application/vnd.openxmlformats-officedocument.presentationml.slide+xml"/>
  <Override PartName="/ppt/slides/slide449.xml" ContentType="application/vnd.openxmlformats-officedocument.presentationml.slide+xml"/>
  <Override PartName="/ppt/slides/slide450.xml" ContentType="application/vnd.openxmlformats-officedocument.presentationml.slide+xml"/>
  <Override PartName="/ppt/slides/slide451.xml" ContentType="application/vnd.openxmlformats-officedocument.presentationml.slide+xml"/>
  <Override PartName="/ppt/slides/slide452.xml" ContentType="application/vnd.openxmlformats-officedocument.presentationml.slide+xml"/>
  <Override PartName="/ppt/slides/slide453.xml" ContentType="application/vnd.openxmlformats-officedocument.presentationml.slide+xml"/>
  <Override PartName="/ppt/slides/slide454.xml" ContentType="application/vnd.openxmlformats-officedocument.presentationml.slide+xml"/>
  <Override PartName="/ppt/slides/slide455.xml" ContentType="application/vnd.openxmlformats-officedocument.presentationml.slide+xml"/>
  <Override PartName="/ppt/slides/slide456.xml" ContentType="application/vnd.openxmlformats-officedocument.presentationml.slide+xml"/>
  <Override PartName="/ppt/slides/slide457.xml" ContentType="application/vnd.openxmlformats-officedocument.presentationml.slide+xml"/>
  <Override PartName="/ppt/slides/slide458.xml" ContentType="application/vnd.openxmlformats-officedocument.presentationml.slide+xml"/>
  <Override PartName="/ppt/slides/slide459.xml" ContentType="application/vnd.openxmlformats-officedocument.presentationml.slide+xml"/>
  <Override PartName="/ppt/slides/slide460.xml" ContentType="application/vnd.openxmlformats-officedocument.presentationml.slide+xml"/>
  <Override PartName="/ppt/slides/slide461.xml" ContentType="application/vnd.openxmlformats-officedocument.presentationml.slide+xml"/>
  <Override PartName="/ppt/slides/slide462.xml" ContentType="application/vnd.openxmlformats-officedocument.presentationml.slide+xml"/>
  <Override PartName="/ppt/slides/slide463.xml" ContentType="application/vnd.openxmlformats-officedocument.presentationml.slide+xml"/>
  <Override PartName="/ppt/slides/slide464.xml" ContentType="application/vnd.openxmlformats-officedocument.presentationml.slide+xml"/>
  <Override PartName="/ppt/slides/slide465.xml" ContentType="application/vnd.openxmlformats-officedocument.presentationml.slide+xml"/>
  <Override PartName="/ppt/slides/slide466.xml" ContentType="application/vnd.openxmlformats-officedocument.presentationml.slide+xml"/>
  <Override PartName="/ppt/slides/slide467.xml" ContentType="application/vnd.openxmlformats-officedocument.presentationml.slide+xml"/>
  <Override PartName="/ppt/slides/slide468.xml" ContentType="application/vnd.openxmlformats-officedocument.presentationml.slide+xml"/>
  <Override PartName="/ppt/slides/slide469.xml" ContentType="application/vnd.openxmlformats-officedocument.presentationml.slide+xml"/>
  <Override PartName="/ppt/slides/slide470.xml" ContentType="application/vnd.openxmlformats-officedocument.presentationml.slide+xml"/>
  <Override PartName="/ppt/slides/slide471.xml" ContentType="application/vnd.openxmlformats-officedocument.presentationml.slide+xml"/>
  <Override PartName="/ppt/slides/slide472.xml" ContentType="application/vnd.openxmlformats-officedocument.presentationml.slide+xml"/>
  <Override PartName="/ppt/slides/slide473.xml" ContentType="application/vnd.openxmlformats-officedocument.presentationml.slide+xml"/>
  <Override PartName="/ppt/slides/slide474.xml" ContentType="application/vnd.openxmlformats-officedocument.presentationml.slide+xml"/>
  <Override PartName="/ppt/slides/slide475.xml" ContentType="application/vnd.openxmlformats-officedocument.presentationml.slide+xml"/>
  <Override PartName="/ppt/slides/slide476.xml" ContentType="application/vnd.openxmlformats-officedocument.presentationml.slide+xml"/>
  <Override PartName="/ppt/slides/slide477.xml" ContentType="application/vnd.openxmlformats-officedocument.presentationml.slide+xml"/>
  <Override PartName="/ppt/slides/slide478.xml" ContentType="application/vnd.openxmlformats-officedocument.presentationml.slide+xml"/>
  <Override PartName="/ppt/slides/slide479.xml" ContentType="application/vnd.openxmlformats-officedocument.presentationml.slide+xml"/>
  <Override PartName="/ppt/slides/slide480.xml" ContentType="application/vnd.openxmlformats-officedocument.presentationml.slide+xml"/>
  <Override PartName="/ppt/slides/slide481.xml" ContentType="application/vnd.openxmlformats-officedocument.presentationml.slide+xml"/>
  <Override PartName="/ppt/slides/slide482.xml" ContentType="application/vnd.openxmlformats-officedocument.presentationml.slide+xml"/>
  <Override PartName="/ppt/slides/slide483.xml" ContentType="application/vnd.openxmlformats-officedocument.presentationml.slide+xml"/>
  <Override PartName="/ppt/slides/slide484.xml" ContentType="application/vnd.openxmlformats-officedocument.presentationml.slide+xml"/>
  <Override PartName="/ppt/slides/slide485.xml" ContentType="application/vnd.openxmlformats-officedocument.presentationml.slide+xml"/>
  <Override PartName="/ppt/slides/slide486.xml" ContentType="application/vnd.openxmlformats-officedocument.presentationml.slide+xml"/>
  <Override PartName="/ppt/slides/slide487.xml" ContentType="application/vnd.openxmlformats-officedocument.presentationml.slide+xml"/>
  <Override PartName="/ppt/slides/slide488.xml" ContentType="application/vnd.openxmlformats-officedocument.presentationml.slide+xml"/>
  <Override PartName="/ppt/slides/slide489.xml" ContentType="application/vnd.openxmlformats-officedocument.presentationml.slide+xml"/>
  <Override PartName="/ppt/slides/slide490.xml" ContentType="application/vnd.openxmlformats-officedocument.presentationml.slide+xml"/>
  <Override PartName="/ppt/slides/slide491.xml" ContentType="application/vnd.openxmlformats-officedocument.presentationml.slide+xml"/>
  <Override PartName="/ppt/slides/slide492.xml" ContentType="application/vnd.openxmlformats-officedocument.presentationml.slide+xml"/>
  <Override PartName="/ppt/slides/slide493.xml" ContentType="application/vnd.openxmlformats-officedocument.presentationml.slide+xml"/>
  <Override PartName="/ppt/slides/slide494.xml" ContentType="application/vnd.openxmlformats-officedocument.presentationml.slide+xml"/>
  <Override PartName="/ppt/slides/slide495.xml" ContentType="application/vnd.openxmlformats-officedocument.presentationml.slide+xml"/>
  <Override PartName="/ppt/slides/slide496.xml" ContentType="application/vnd.openxmlformats-officedocument.presentationml.slide+xml"/>
  <Override PartName="/ppt/slides/slide497.xml" ContentType="application/vnd.openxmlformats-officedocument.presentationml.slide+xml"/>
  <Override PartName="/ppt/slides/slide498.xml" ContentType="application/vnd.openxmlformats-officedocument.presentationml.slide+xml"/>
  <Override PartName="/ppt/slides/slide499.xml" ContentType="application/vnd.openxmlformats-officedocument.presentationml.slide+xml"/>
  <Override PartName="/ppt/slides/slide500.xml" ContentType="application/vnd.openxmlformats-officedocument.presentationml.slide+xml"/>
  <Override PartName="/ppt/slides/slide501.xml" ContentType="application/vnd.openxmlformats-officedocument.presentationml.slide+xml"/>
  <Override PartName="/ppt/slides/slide502.xml" ContentType="application/vnd.openxmlformats-officedocument.presentationml.slide+xml"/>
  <Override PartName="/ppt/slides/slide503.xml" ContentType="application/vnd.openxmlformats-officedocument.presentationml.slide+xml"/>
  <Override PartName="/ppt/slides/slide504.xml" ContentType="application/vnd.openxmlformats-officedocument.presentationml.slide+xml"/>
  <Override PartName="/ppt/slides/slide505.xml" ContentType="application/vnd.openxmlformats-officedocument.presentationml.slide+xml"/>
  <Override PartName="/ppt/slides/slide506.xml" ContentType="application/vnd.openxmlformats-officedocument.presentationml.slide+xml"/>
  <Override PartName="/ppt/slides/slide507.xml" ContentType="application/vnd.openxmlformats-officedocument.presentationml.slide+xml"/>
  <Override PartName="/ppt/slides/slide508.xml" ContentType="application/vnd.openxmlformats-officedocument.presentationml.slide+xml"/>
  <Override PartName="/ppt/slides/slide509.xml" ContentType="application/vnd.openxmlformats-officedocument.presentationml.slide+xml"/>
  <Override PartName="/ppt/slides/slide510.xml" ContentType="application/vnd.openxmlformats-officedocument.presentationml.slide+xml"/>
  <Override PartName="/ppt/slides/slide511.xml" ContentType="application/vnd.openxmlformats-officedocument.presentationml.slide+xml"/>
  <Override PartName="/ppt/slides/slide512.xml" ContentType="application/vnd.openxmlformats-officedocument.presentationml.slide+xml"/>
  <Override PartName="/ppt/slides/slide513.xml" ContentType="application/vnd.openxmlformats-officedocument.presentationml.slide+xml"/>
  <Override PartName="/ppt/slides/slide514.xml" ContentType="application/vnd.openxmlformats-officedocument.presentationml.slide+xml"/>
  <Override PartName="/ppt/slides/slide515.xml" ContentType="application/vnd.openxmlformats-officedocument.presentationml.slide+xml"/>
  <Override PartName="/ppt/slides/slide516.xml" ContentType="application/vnd.openxmlformats-officedocument.presentationml.slide+xml"/>
  <Override PartName="/ppt/slides/slide517.xml" ContentType="application/vnd.openxmlformats-officedocument.presentationml.slide+xml"/>
  <Override PartName="/ppt/slides/slide518.xml" ContentType="application/vnd.openxmlformats-officedocument.presentationml.slide+xml"/>
  <Override PartName="/ppt/slides/slide519.xml" ContentType="application/vnd.openxmlformats-officedocument.presentationml.slide+xml"/>
  <Override PartName="/ppt/slides/slide520.xml" ContentType="application/vnd.openxmlformats-officedocument.presentationml.slide+xml"/>
  <Override PartName="/ppt/slides/slide521.xml" ContentType="application/vnd.openxmlformats-officedocument.presentationml.slide+xml"/>
  <Override PartName="/ppt/slides/slide522.xml" ContentType="application/vnd.openxmlformats-officedocument.presentationml.slide+xml"/>
  <Override PartName="/ppt/slides/slide523.xml" ContentType="application/vnd.openxmlformats-officedocument.presentationml.slide+xml"/>
  <Override PartName="/ppt/slides/slide524.xml" ContentType="application/vnd.openxmlformats-officedocument.presentationml.slide+xml"/>
  <Override PartName="/ppt/slides/slide525.xml" ContentType="application/vnd.openxmlformats-officedocument.presentationml.slide+xml"/>
  <Override PartName="/ppt/slides/slide526.xml" ContentType="application/vnd.openxmlformats-officedocument.presentationml.slide+xml"/>
  <Override PartName="/ppt/slides/slide527.xml" ContentType="application/vnd.openxmlformats-officedocument.presentationml.slide+xml"/>
  <Override PartName="/ppt/slides/slide528.xml" ContentType="application/vnd.openxmlformats-officedocument.presentationml.slide+xml"/>
  <Override PartName="/ppt/slides/slide529.xml" ContentType="application/vnd.openxmlformats-officedocument.presentationml.slide+xml"/>
  <Override PartName="/ppt/slides/slide530.xml" ContentType="application/vnd.openxmlformats-officedocument.presentationml.slide+xml"/>
  <Override PartName="/ppt/slides/slide531.xml" ContentType="application/vnd.openxmlformats-officedocument.presentationml.slide+xml"/>
  <Override PartName="/ppt/slides/slide532.xml" ContentType="application/vnd.openxmlformats-officedocument.presentationml.slide+xml"/>
  <Override PartName="/ppt/slides/slide533.xml" ContentType="application/vnd.openxmlformats-officedocument.presentationml.slide+xml"/>
  <Override PartName="/ppt/slides/slide534.xml" ContentType="application/vnd.openxmlformats-officedocument.presentationml.slide+xml"/>
  <Override PartName="/ppt/slides/slide535.xml" ContentType="application/vnd.openxmlformats-officedocument.presentationml.slide+xml"/>
  <Override PartName="/ppt/slides/slide536.xml" ContentType="application/vnd.openxmlformats-officedocument.presentationml.slide+xml"/>
  <Override PartName="/ppt/slides/slide537.xml" ContentType="application/vnd.openxmlformats-officedocument.presentationml.slide+xml"/>
  <Override PartName="/ppt/slides/slide538.xml" ContentType="application/vnd.openxmlformats-officedocument.presentationml.slide+xml"/>
  <Override PartName="/ppt/slides/slide539.xml" ContentType="application/vnd.openxmlformats-officedocument.presentationml.slide+xml"/>
  <Override PartName="/ppt/slides/slide540.xml" ContentType="application/vnd.openxmlformats-officedocument.presentationml.slide+xml"/>
  <Override PartName="/ppt/slides/slide541.xml" ContentType="application/vnd.openxmlformats-officedocument.presentationml.slide+xml"/>
  <Override PartName="/ppt/slides/slide542.xml" ContentType="application/vnd.openxmlformats-officedocument.presentationml.slide+xml"/>
  <Override PartName="/ppt/slides/slide543.xml" ContentType="application/vnd.openxmlformats-officedocument.presentationml.slide+xml"/>
  <Override PartName="/ppt/slides/slide544.xml" ContentType="application/vnd.openxmlformats-officedocument.presentationml.slide+xml"/>
  <Override PartName="/ppt/slides/slide545.xml" ContentType="application/vnd.openxmlformats-officedocument.presentationml.slide+xml"/>
  <Override PartName="/ppt/slides/slide546.xml" ContentType="application/vnd.openxmlformats-officedocument.presentationml.slide+xml"/>
  <Override PartName="/ppt/slides/slide547.xml" ContentType="application/vnd.openxmlformats-officedocument.presentationml.slide+xml"/>
  <Override PartName="/ppt/slides/slide548.xml" ContentType="application/vnd.openxmlformats-officedocument.presentationml.slide+xml"/>
  <Override PartName="/ppt/slides/slide549.xml" ContentType="application/vnd.openxmlformats-officedocument.presentationml.slide+xml"/>
  <Override PartName="/ppt/slides/slide550.xml" ContentType="application/vnd.openxmlformats-officedocument.presentationml.slide+xml"/>
  <Override PartName="/ppt/slides/slide551.xml" ContentType="application/vnd.openxmlformats-officedocument.presentationml.slide+xml"/>
  <Override PartName="/ppt/slides/slide552.xml" ContentType="application/vnd.openxmlformats-officedocument.presentationml.slide+xml"/>
  <Override PartName="/ppt/slides/slide553.xml" ContentType="application/vnd.openxmlformats-officedocument.presentationml.slide+xml"/>
  <Override PartName="/ppt/slides/slide554.xml" ContentType="application/vnd.openxmlformats-officedocument.presentationml.slide+xml"/>
  <Override PartName="/ppt/slides/slide555.xml" ContentType="application/vnd.openxmlformats-officedocument.presentationml.slide+xml"/>
  <Override PartName="/ppt/slides/slide556.xml" ContentType="application/vnd.openxmlformats-officedocument.presentationml.slide+xml"/>
  <Override PartName="/ppt/slides/slide557.xml" ContentType="application/vnd.openxmlformats-officedocument.presentationml.slide+xml"/>
  <Override PartName="/ppt/slides/slide558.xml" ContentType="application/vnd.openxmlformats-officedocument.presentationml.slide+xml"/>
  <Override PartName="/ppt/slides/slide559.xml" ContentType="application/vnd.openxmlformats-officedocument.presentationml.slide+xml"/>
  <Override PartName="/ppt/slides/slide560.xml" ContentType="application/vnd.openxmlformats-officedocument.presentationml.slide+xml"/>
  <Override PartName="/ppt/slides/slide561.xml" ContentType="application/vnd.openxmlformats-officedocument.presentationml.slide+xml"/>
  <Override PartName="/ppt/slides/slide562.xml" ContentType="application/vnd.openxmlformats-officedocument.presentationml.slide+xml"/>
  <Override PartName="/ppt/slides/slide563.xml" ContentType="application/vnd.openxmlformats-officedocument.presentationml.slide+xml"/>
  <Override PartName="/ppt/slides/slide564.xml" ContentType="application/vnd.openxmlformats-officedocument.presentationml.slide+xml"/>
  <Override PartName="/ppt/slides/slide565.xml" ContentType="application/vnd.openxmlformats-officedocument.presentationml.slide+xml"/>
  <Override PartName="/ppt/slides/slide566.xml" ContentType="application/vnd.openxmlformats-officedocument.presentationml.slide+xml"/>
  <Override PartName="/ppt/slides/slide567.xml" ContentType="application/vnd.openxmlformats-officedocument.presentationml.slide+xml"/>
  <Override PartName="/ppt/slides/slide568.xml" ContentType="application/vnd.openxmlformats-officedocument.presentationml.slide+xml"/>
  <Override PartName="/ppt/slides/slide569.xml" ContentType="application/vnd.openxmlformats-officedocument.presentationml.slide+xml"/>
  <Override PartName="/ppt/slides/slide570.xml" ContentType="application/vnd.openxmlformats-officedocument.presentationml.slide+xml"/>
  <Override PartName="/ppt/slides/slide571.xml" ContentType="application/vnd.openxmlformats-officedocument.presentationml.slide+xml"/>
  <Override PartName="/ppt/slides/slide572.xml" ContentType="application/vnd.openxmlformats-officedocument.presentationml.slide+xml"/>
  <Override PartName="/ppt/slides/slide573.xml" ContentType="application/vnd.openxmlformats-officedocument.presentationml.slide+xml"/>
  <Override PartName="/ppt/slides/slide574.xml" ContentType="application/vnd.openxmlformats-officedocument.presentationml.slide+xml"/>
  <Override PartName="/ppt/slides/slide575.xml" ContentType="application/vnd.openxmlformats-officedocument.presentationml.slide+xml"/>
  <Override PartName="/ppt/slides/slide576.xml" ContentType="application/vnd.openxmlformats-officedocument.presentationml.slide+xml"/>
  <Override PartName="/ppt/slides/slide577.xml" ContentType="application/vnd.openxmlformats-officedocument.presentationml.slide+xml"/>
  <Override PartName="/ppt/slides/slide578.xml" ContentType="application/vnd.openxmlformats-officedocument.presentationml.slide+xml"/>
  <Override PartName="/ppt/slides/slide579.xml" ContentType="application/vnd.openxmlformats-officedocument.presentationml.slide+xml"/>
  <Override PartName="/ppt/slides/slide580.xml" ContentType="application/vnd.openxmlformats-officedocument.presentationml.slide+xml"/>
  <Override PartName="/ppt/slides/slide581.xml" ContentType="application/vnd.openxmlformats-officedocument.presentationml.slide+xml"/>
  <Override PartName="/ppt/slides/slide582.xml" ContentType="application/vnd.openxmlformats-officedocument.presentationml.slide+xml"/>
  <Override PartName="/ppt/slides/slide583.xml" ContentType="application/vnd.openxmlformats-officedocument.presentationml.slide+xml"/>
  <Override PartName="/ppt/slides/slide584.xml" ContentType="application/vnd.openxmlformats-officedocument.presentationml.slide+xml"/>
  <Override PartName="/ppt/slides/slide585.xml" ContentType="application/vnd.openxmlformats-officedocument.presentationml.slide+xml"/>
  <Override PartName="/ppt/slides/slide586.xml" ContentType="application/vnd.openxmlformats-officedocument.presentationml.slide+xml"/>
  <Override PartName="/ppt/slides/slide587.xml" ContentType="application/vnd.openxmlformats-officedocument.presentationml.slide+xml"/>
  <Override PartName="/ppt/slides/slide588.xml" ContentType="application/vnd.openxmlformats-officedocument.presentationml.slide+xml"/>
  <Override PartName="/ppt/slides/slide589.xml" ContentType="application/vnd.openxmlformats-officedocument.presentationml.slide+xml"/>
  <Override PartName="/ppt/slides/slide590.xml" ContentType="application/vnd.openxmlformats-officedocument.presentationml.slide+xml"/>
  <Override PartName="/ppt/slides/slide591.xml" ContentType="application/vnd.openxmlformats-officedocument.presentationml.slide+xml"/>
  <Override PartName="/ppt/slides/slide592.xml" ContentType="application/vnd.openxmlformats-officedocument.presentationml.slide+xml"/>
  <Override PartName="/ppt/slides/slide593.xml" ContentType="application/vnd.openxmlformats-officedocument.presentationml.slide+xml"/>
  <Override PartName="/ppt/slides/slide594.xml" ContentType="application/vnd.openxmlformats-officedocument.presentationml.slide+xml"/>
  <Override PartName="/ppt/slides/slide595.xml" ContentType="application/vnd.openxmlformats-officedocument.presentationml.slide+xml"/>
  <Override PartName="/ppt/slides/slide596.xml" ContentType="application/vnd.openxmlformats-officedocument.presentationml.slide+xml"/>
  <Override PartName="/ppt/slides/slide597.xml" ContentType="application/vnd.openxmlformats-officedocument.presentationml.slide+xml"/>
  <Override PartName="/ppt/slides/slide598.xml" ContentType="application/vnd.openxmlformats-officedocument.presentationml.slide+xml"/>
  <Override PartName="/ppt/slides/slide599.xml" ContentType="application/vnd.openxmlformats-officedocument.presentationml.slide+xml"/>
  <Override PartName="/ppt/slides/slide600.xml" ContentType="application/vnd.openxmlformats-officedocument.presentationml.slide+xml"/>
  <Override PartName="/ppt/slides/slide601.xml" ContentType="application/vnd.openxmlformats-officedocument.presentationml.slide+xml"/>
  <Override PartName="/ppt/slides/slide602.xml" ContentType="application/vnd.openxmlformats-officedocument.presentationml.slide+xml"/>
  <Override PartName="/ppt/slides/slide603.xml" ContentType="application/vnd.openxmlformats-officedocument.presentationml.slide+xml"/>
  <Override PartName="/ppt/slides/slide604.xml" ContentType="application/vnd.openxmlformats-officedocument.presentationml.slide+xml"/>
  <Override PartName="/ppt/slides/slide605.xml" ContentType="application/vnd.openxmlformats-officedocument.presentationml.slide+xml"/>
  <Override PartName="/ppt/slides/slide606.xml" ContentType="application/vnd.openxmlformats-officedocument.presentationml.slide+xml"/>
  <Override PartName="/ppt/slides/slide607.xml" ContentType="application/vnd.openxmlformats-officedocument.presentationml.slide+xml"/>
  <Override PartName="/ppt/slides/slide608.xml" ContentType="application/vnd.openxmlformats-officedocument.presentationml.slide+xml"/>
  <Override PartName="/ppt/slides/slide609.xml" ContentType="application/vnd.openxmlformats-officedocument.presentationml.slide+xml"/>
  <Override PartName="/ppt/slides/slide610.xml" ContentType="application/vnd.openxmlformats-officedocument.presentationml.slide+xml"/>
  <Override PartName="/ppt/slides/slide611.xml" ContentType="application/vnd.openxmlformats-officedocument.presentationml.slide+xml"/>
  <Override PartName="/ppt/slides/slide612.xml" ContentType="application/vnd.openxmlformats-officedocument.presentationml.slide+xml"/>
  <Override PartName="/ppt/slides/slide613.xml" ContentType="application/vnd.openxmlformats-officedocument.presentationml.slide+xml"/>
  <Override PartName="/ppt/slides/slide614.xml" ContentType="application/vnd.openxmlformats-officedocument.presentationml.slide+xml"/>
  <Override PartName="/ppt/slides/slide615.xml" ContentType="application/vnd.openxmlformats-officedocument.presentationml.slide+xml"/>
  <Override PartName="/ppt/slides/slide616.xml" ContentType="application/vnd.openxmlformats-officedocument.presentationml.slide+xml"/>
  <Override PartName="/ppt/slides/slide617.xml" ContentType="application/vnd.openxmlformats-officedocument.presentationml.slide+xml"/>
  <Override PartName="/ppt/slides/slide618.xml" ContentType="application/vnd.openxmlformats-officedocument.presentationml.slide+xml"/>
  <Override PartName="/ppt/slides/slide619.xml" ContentType="application/vnd.openxmlformats-officedocument.presentationml.slide+xml"/>
  <Override PartName="/ppt/slides/slide620.xml" ContentType="application/vnd.openxmlformats-officedocument.presentationml.slide+xml"/>
  <Override PartName="/ppt/slides/slide621.xml" ContentType="application/vnd.openxmlformats-officedocument.presentationml.slide+xml"/>
  <Override PartName="/ppt/slides/slide622.xml" ContentType="application/vnd.openxmlformats-officedocument.presentationml.slide+xml"/>
  <Override PartName="/ppt/slides/slide623.xml" ContentType="application/vnd.openxmlformats-officedocument.presentationml.slide+xml"/>
  <Override PartName="/ppt/slides/slide624.xml" ContentType="application/vnd.openxmlformats-officedocument.presentationml.slide+xml"/>
  <Override PartName="/ppt/slides/slide625.xml" ContentType="application/vnd.openxmlformats-officedocument.presentationml.slide+xml"/>
  <Override PartName="/ppt/slides/slide626.xml" ContentType="application/vnd.openxmlformats-officedocument.presentationml.slide+xml"/>
  <Override PartName="/ppt/slides/slide627.xml" ContentType="application/vnd.openxmlformats-officedocument.presentationml.slide+xml"/>
  <Override PartName="/ppt/slides/slide628.xml" ContentType="application/vnd.openxmlformats-officedocument.presentationml.slide+xml"/>
  <Override PartName="/ppt/slides/slide629.xml" ContentType="application/vnd.openxmlformats-officedocument.presentationml.slide+xml"/>
  <Override PartName="/ppt/slides/slide630.xml" ContentType="application/vnd.openxmlformats-officedocument.presentationml.slide+xml"/>
  <Override PartName="/ppt/slides/slide631.xml" ContentType="application/vnd.openxmlformats-officedocument.presentationml.slide+xml"/>
  <Override PartName="/ppt/slides/slide632.xml" ContentType="application/vnd.openxmlformats-officedocument.presentationml.slide+xml"/>
  <Override PartName="/ppt/slides/slide633.xml" ContentType="application/vnd.openxmlformats-officedocument.presentationml.slide+xml"/>
  <Override PartName="/ppt/slides/slide634.xml" ContentType="application/vnd.openxmlformats-officedocument.presentationml.slide+xml"/>
  <Override PartName="/ppt/slides/slide635.xml" ContentType="application/vnd.openxmlformats-officedocument.presentationml.slide+xml"/>
  <Override PartName="/ppt/slides/slide636.xml" ContentType="application/vnd.openxmlformats-officedocument.presentationml.slide+xml"/>
  <Override PartName="/ppt/slides/slide637.xml" ContentType="application/vnd.openxmlformats-officedocument.presentationml.slide+xml"/>
  <Override PartName="/ppt/slides/slide638.xml" ContentType="application/vnd.openxmlformats-officedocument.presentationml.slide+xml"/>
  <Override PartName="/ppt/slides/slide639.xml" ContentType="application/vnd.openxmlformats-officedocument.presentationml.slide+xml"/>
  <Override PartName="/ppt/slides/slide640.xml" ContentType="application/vnd.openxmlformats-officedocument.presentationml.slide+xml"/>
  <Override PartName="/ppt/slides/slide641.xml" ContentType="application/vnd.openxmlformats-officedocument.presentationml.slide+xml"/>
  <Override PartName="/ppt/slides/slide642.xml" ContentType="application/vnd.openxmlformats-officedocument.presentationml.slide+xml"/>
  <Override PartName="/ppt/slides/slide643.xml" ContentType="application/vnd.openxmlformats-officedocument.presentationml.slide+xml"/>
  <Override PartName="/ppt/slides/slide644.xml" ContentType="application/vnd.openxmlformats-officedocument.presentationml.slide+xml"/>
  <Override PartName="/ppt/slides/slide645.xml" ContentType="application/vnd.openxmlformats-officedocument.presentationml.slide+xml"/>
  <Override PartName="/ppt/slides/slide646.xml" ContentType="application/vnd.openxmlformats-officedocument.presentationml.slide+xml"/>
  <Override PartName="/ppt/slides/slide647.xml" ContentType="application/vnd.openxmlformats-officedocument.presentationml.slide+xml"/>
  <Override PartName="/ppt/slides/slide648.xml" ContentType="application/vnd.openxmlformats-officedocument.presentationml.slide+xml"/>
  <Override PartName="/ppt/slides/slide649.xml" ContentType="application/vnd.openxmlformats-officedocument.presentationml.slide+xml"/>
  <Override PartName="/ppt/slides/slide650.xml" ContentType="application/vnd.openxmlformats-officedocument.presentationml.slide+xml"/>
  <Override PartName="/ppt/slides/slide651.xml" ContentType="application/vnd.openxmlformats-officedocument.presentationml.slide+xml"/>
  <Override PartName="/ppt/slides/slide652.xml" ContentType="application/vnd.openxmlformats-officedocument.presentationml.slide+xml"/>
  <Override PartName="/ppt/slides/slide653.xml" ContentType="application/vnd.openxmlformats-officedocument.presentationml.slide+xml"/>
  <Override PartName="/ppt/slides/slide654.xml" ContentType="application/vnd.openxmlformats-officedocument.presentationml.slide+xml"/>
  <Override PartName="/ppt/slides/slide655.xml" ContentType="application/vnd.openxmlformats-officedocument.presentationml.slide+xml"/>
  <Override PartName="/ppt/slides/slide656.xml" ContentType="application/vnd.openxmlformats-officedocument.presentationml.slide+xml"/>
  <Override PartName="/ppt/slides/slide657.xml" ContentType="application/vnd.openxmlformats-officedocument.presentationml.slide+xml"/>
  <Override PartName="/ppt/slides/slide658.xml" ContentType="application/vnd.openxmlformats-officedocument.presentationml.slide+xml"/>
  <Override PartName="/ppt/slides/slide659.xml" ContentType="application/vnd.openxmlformats-officedocument.presentationml.slide+xml"/>
  <Override PartName="/ppt/slides/slide660.xml" ContentType="application/vnd.openxmlformats-officedocument.presentationml.slide+xml"/>
  <Override PartName="/ppt/slides/slide661.xml" ContentType="application/vnd.openxmlformats-officedocument.presentationml.slide+xml"/>
  <Override PartName="/ppt/slides/slide662.xml" ContentType="application/vnd.openxmlformats-officedocument.presentationml.slide+xml"/>
  <Override PartName="/ppt/slides/slide663.xml" ContentType="application/vnd.openxmlformats-officedocument.presentationml.slide+xml"/>
  <Override PartName="/ppt/slides/slide664.xml" ContentType="application/vnd.openxmlformats-officedocument.presentationml.slide+xml"/>
  <Override PartName="/ppt/slides/slide665.xml" ContentType="application/vnd.openxmlformats-officedocument.presentationml.slide+xml"/>
  <Override PartName="/ppt/slides/slide666.xml" ContentType="application/vnd.openxmlformats-officedocument.presentationml.slide+xml"/>
  <Override PartName="/ppt/slides/slide667.xml" ContentType="application/vnd.openxmlformats-officedocument.presentationml.slide+xml"/>
  <Override PartName="/ppt/slides/slide668.xml" ContentType="application/vnd.openxmlformats-officedocument.presentationml.slide+xml"/>
  <Override PartName="/ppt/slides/slide669.xml" ContentType="application/vnd.openxmlformats-officedocument.presentationml.slide+xml"/>
  <Override PartName="/ppt/slides/slide670.xml" ContentType="application/vnd.openxmlformats-officedocument.presentationml.slide+xml"/>
  <Override PartName="/ppt/slides/slide671.xml" ContentType="application/vnd.openxmlformats-officedocument.presentationml.slide+xml"/>
  <Override PartName="/ppt/slides/slide672.xml" ContentType="application/vnd.openxmlformats-officedocument.presentationml.slide+xml"/>
  <Override PartName="/ppt/slides/slide673.xml" ContentType="application/vnd.openxmlformats-officedocument.presentationml.slide+xml"/>
  <Override PartName="/ppt/slides/slide674.xml" ContentType="application/vnd.openxmlformats-officedocument.presentationml.slide+xml"/>
  <Override PartName="/ppt/slides/slide675.xml" ContentType="application/vnd.openxmlformats-officedocument.presentationml.slide+xml"/>
  <Override PartName="/ppt/slides/slide676.xml" ContentType="application/vnd.openxmlformats-officedocument.presentationml.slide+xml"/>
  <Override PartName="/ppt/slides/slide677.xml" ContentType="application/vnd.openxmlformats-officedocument.presentationml.slide+xml"/>
  <Override PartName="/ppt/slides/slide678.xml" ContentType="application/vnd.openxmlformats-officedocument.presentationml.slide+xml"/>
  <Override PartName="/ppt/slides/slide679.xml" ContentType="application/vnd.openxmlformats-officedocument.presentationml.slide+xml"/>
  <Override PartName="/ppt/slides/slide680.xml" ContentType="application/vnd.openxmlformats-officedocument.presentationml.slide+xml"/>
  <Override PartName="/ppt/slides/slide681.xml" ContentType="application/vnd.openxmlformats-officedocument.presentationml.slide+xml"/>
  <Override PartName="/ppt/slides/slide682.xml" ContentType="application/vnd.openxmlformats-officedocument.presentationml.slide+xml"/>
  <Override PartName="/ppt/slides/slide683.xml" ContentType="application/vnd.openxmlformats-officedocument.presentationml.slide+xml"/>
  <Override PartName="/ppt/slides/slide684.xml" ContentType="application/vnd.openxmlformats-officedocument.presentationml.slide+xml"/>
  <Override PartName="/ppt/slides/slide685.xml" ContentType="application/vnd.openxmlformats-officedocument.presentationml.slide+xml"/>
  <Override PartName="/ppt/slides/slide686.xml" ContentType="application/vnd.openxmlformats-officedocument.presentationml.slide+xml"/>
  <Override PartName="/ppt/slides/slide687.xml" ContentType="application/vnd.openxmlformats-officedocument.presentationml.slide+xml"/>
  <Override PartName="/ppt/slides/slide688.xml" ContentType="application/vnd.openxmlformats-officedocument.presentationml.slide+xml"/>
  <Override PartName="/ppt/slides/slide689.xml" ContentType="application/vnd.openxmlformats-officedocument.presentationml.slide+xml"/>
  <Override PartName="/ppt/slides/slide690.xml" ContentType="application/vnd.openxmlformats-officedocument.presentationml.slide+xml"/>
  <Override PartName="/ppt/slides/slide691.xml" ContentType="application/vnd.openxmlformats-officedocument.presentationml.slide+xml"/>
  <Override PartName="/ppt/slides/slide692.xml" ContentType="application/vnd.openxmlformats-officedocument.presentationml.slide+xml"/>
  <Override PartName="/ppt/slides/slide693.xml" ContentType="application/vnd.openxmlformats-officedocument.presentationml.slide+xml"/>
  <Override PartName="/ppt/slides/slide694.xml" ContentType="application/vnd.openxmlformats-officedocument.presentationml.slide+xml"/>
  <Override PartName="/ppt/slides/slide695.xml" ContentType="application/vnd.openxmlformats-officedocument.presentationml.slide+xml"/>
  <Override PartName="/ppt/slides/slide696.xml" ContentType="application/vnd.openxmlformats-officedocument.presentationml.slide+xml"/>
  <Override PartName="/ppt/slides/slide697.xml" ContentType="application/vnd.openxmlformats-officedocument.presentationml.slide+xml"/>
  <Override PartName="/ppt/slides/slide698.xml" ContentType="application/vnd.openxmlformats-officedocument.presentationml.slide+xml"/>
  <Override PartName="/ppt/slides/slide699.xml" ContentType="application/vnd.openxmlformats-officedocument.presentationml.slide+xml"/>
  <Override PartName="/ppt/slides/slide700.xml" ContentType="application/vnd.openxmlformats-officedocument.presentationml.slide+xml"/>
  <Override PartName="/ppt/slides/slide701.xml" ContentType="application/vnd.openxmlformats-officedocument.presentationml.slide+xml"/>
  <Override PartName="/ppt/slides/slide702.xml" ContentType="application/vnd.openxmlformats-officedocument.presentationml.slide+xml"/>
  <Override PartName="/ppt/slides/slide703.xml" ContentType="application/vnd.openxmlformats-officedocument.presentationml.slide+xml"/>
  <Override PartName="/ppt/slides/slide704.xml" ContentType="application/vnd.openxmlformats-officedocument.presentationml.slide+xml"/>
  <Override PartName="/ppt/slides/slide705.xml" ContentType="application/vnd.openxmlformats-officedocument.presentationml.slide+xml"/>
  <Override PartName="/ppt/slides/slide706.xml" ContentType="application/vnd.openxmlformats-officedocument.presentationml.slide+xml"/>
  <Override PartName="/ppt/slides/slide707.xml" ContentType="application/vnd.openxmlformats-officedocument.presentationml.slide+xml"/>
  <Override PartName="/ppt/slides/slide708.xml" ContentType="application/vnd.openxmlformats-officedocument.presentationml.slide+xml"/>
  <Override PartName="/ppt/slides/slide709.xml" ContentType="application/vnd.openxmlformats-officedocument.presentationml.slide+xml"/>
  <Override PartName="/ppt/slides/slide710.xml" ContentType="application/vnd.openxmlformats-officedocument.presentationml.slide+xml"/>
  <Override PartName="/ppt/slides/slide711.xml" ContentType="application/vnd.openxmlformats-officedocument.presentationml.slide+xml"/>
  <Override PartName="/ppt/slides/slide712.xml" ContentType="application/vnd.openxmlformats-officedocument.presentationml.slide+xml"/>
  <Override PartName="/ppt/slides/slide713.xml" ContentType="application/vnd.openxmlformats-officedocument.presentationml.slide+xml"/>
  <Override PartName="/ppt/slides/slide714.xml" ContentType="application/vnd.openxmlformats-officedocument.presentationml.slide+xml"/>
  <Override PartName="/ppt/slides/slide715.xml" ContentType="application/vnd.openxmlformats-officedocument.presentationml.slide+xml"/>
  <Override PartName="/ppt/slides/slide716.xml" ContentType="application/vnd.openxmlformats-officedocument.presentationml.slide+xml"/>
  <Override PartName="/ppt/slides/slide717.xml" ContentType="application/vnd.openxmlformats-officedocument.presentationml.slide+xml"/>
  <Override PartName="/ppt/slides/slide718.xml" ContentType="application/vnd.openxmlformats-officedocument.presentationml.slide+xml"/>
  <Override PartName="/ppt/slides/slide719.xml" ContentType="application/vnd.openxmlformats-officedocument.presentationml.slide+xml"/>
  <Override PartName="/ppt/slides/slide720.xml" ContentType="application/vnd.openxmlformats-officedocument.presentationml.slide+xml"/>
  <Override PartName="/ppt/slides/slide721.xml" ContentType="application/vnd.openxmlformats-officedocument.presentationml.slide+xml"/>
  <Override PartName="/ppt/slides/slide722.xml" ContentType="application/vnd.openxmlformats-officedocument.presentationml.slide+xml"/>
  <Override PartName="/ppt/slides/slide723.xml" ContentType="application/vnd.openxmlformats-officedocument.presentationml.slide+xml"/>
  <Override PartName="/ppt/slides/slide724.xml" ContentType="application/vnd.openxmlformats-officedocument.presentationml.slide+xml"/>
  <Override PartName="/ppt/slides/slide725.xml" ContentType="application/vnd.openxmlformats-officedocument.presentationml.slide+xml"/>
  <Override PartName="/ppt/slides/slide726.xml" ContentType="application/vnd.openxmlformats-officedocument.presentationml.slide+xml"/>
  <Override PartName="/ppt/slides/slide727.xml" ContentType="application/vnd.openxmlformats-officedocument.presentationml.slide+xml"/>
  <Override PartName="/ppt/slides/slide728.xml" ContentType="application/vnd.openxmlformats-officedocument.presentationml.slide+xml"/>
  <Override PartName="/ppt/slides/slide729.xml" ContentType="application/vnd.openxmlformats-officedocument.presentationml.slide+xml"/>
  <Override PartName="/ppt/slides/slide730.xml" ContentType="application/vnd.openxmlformats-officedocument.presentationml.slide+xml"/>
  <Override PartName="/ppt/slides/slide731.xml" ContentType="application/vnd.openxmlformats-officedocument.presentationml.slide+xml"/>
  <Override PartName="/ppt/slides/slide732.xml" ContentType="application/vnd.openxmlformats-officedocument.presentationml.slide+xml"/>
  <Override PartName="/ppt/slides/slide733.xml" ContentType="application/vnd.openxmlformats-officedocument.presentationml.slide+xml"/>
  <Override PartName="/ppt/slides/slide734.xml" ContentType="application/vnd.openxmlformats-officedocument.presentationml.slide+xml"/>
  <Override PartName="/ppt/slides/slide735.xml" ContentType="application/vnd.openxmlformats-officedocument.presentationml.slide+xml"/>
  <Override PartName="/ppt/slides/slide736.xml" ContentType="application/vnd.openxmlformats-officedocument.presentationml.slide+xml"/>
  <Override PartName="/ppt/slides/slide737.xml" ContentType="application/vnd.openxmlformats-officedocument.presentationml.slide+xml"/>
  <Override PartName="/ppt/slides/slide738.xml" ContentType="application/vnd.openxmlformats-officedocument.presentationml.slide+xml"/>
  <Override PartName="/ppt/slides/slide739.xml" ContentType="application/vnd.openxmlformats-officedocument.presentationml.slide+xml"/>
  <Override PartName="/ppt/slides/slide740.xml" ContentType="application/vnd.openxmlformats-officedocument.presentationml.slide+xml"/>
  <Override PartName="/ppt/slides/slide741.xml" ContentType="application/vnd.openxmlformats-officedocument.presentationml.slide+xml"/>
  <Override PartName="/ppt/slides/slide742.xml" ContentType="application/vnd.openxmlformats-officedocument.presentationml.slide+xml"/>
  <Override PartName="/ppt/slides/slide743.xml" ContentType="application/vnd.openxmlformats-officedocument.presentationml.slide+xml"/>
  <Override PartName="/ppt/slides/slide744.xml" ContentType="application/vnd.openxmlformats-officedocument.presentationml.slide+xml"/>
  <Override PartName="/ppt/slides/slide745.xml" ContentType="application/vnd.openxmlformats-officedocument.presentationml.slide+xml"/>
  <Override PartName="/ppt/slides/slide746.xml" ContentType="application/vnd.openxmlformats-officedocument.presentationml.slide+xml"/>
  <Override PartName="/ppt/slides/slide747.xml" ContentType="application/vnd.openxmlformats-officedocument.presentationml.slide+xml"/>
  <Override PartName="/ppt/slides/slide748.xml" ContentType="application/vnd.openxmlformats-officedocument.presentationml.slide+xml"/>
  <Override PartName="/ppt/slides/slide749.xml" ContentType="application/vnd.openxmlformats-officedocument.presentationml.slide+xml"/>
  <Override PartName="/ppt/slides/slide750.xml" ContentType="application/vnd.openxmlformats-officedocument.presentationml.slide+xml"/>
  <Override PartName="/ppt/slides/slide751.xml" ContentType="application/vnd.openxmlformats-officedocument.presentationml.slide+xml"/>
  <Override PartName="/ppt/slides/slide752.xml" ContentType="application/vnd.openxmlformats-officedocument.presentationml.slide+xml"/>
  <Override PartName="/ppt/slides/slide753.xml" ContentType="application/vnd.openxmlformats-officedocument.presentationml.slide+xml"/>
  <Override PartName="/ppt/slides/slide754.xml" ContentType="application/vnd.openxmlformats-officedocument.presentationml.slide+xml"/>
  <Override PartName="/ppt/slides/slide755.xml" ContentType="application/vnd.openxmlformats-officedocument.presentationml.slide+xml"/>
  <Override PartName="/ppt/slides/slide756.xml" ContentType="application/vnd.openxmlformats-officedocument.presentationml.slide+xml"/>
  <Override PartName="/ppt/slides/slide757.xml" ContentType="application/vnd.openxmlformats-officedocument.presentationml.slide+xml"/>
  <Override PartName="/ppt/slides/slide758.xml" ContentType="application/vnd.openxmlformats-officedocument.presentationml.slide+xml"/>
  <Override PartName="/ppt/slides/slide759.xml" ContentType="application/vnd.openxmlformats-officedocument.presentationml.slide+xml"/>
  <Override PartName="/ppt/slides/slide760.xml" ContentType="application/vnd.openxmlformats-officedocument.presentationml.slide+xml"/>
  <Override PartName="/ppt/slides/slide761.xml" ContentType="application/vnd.openxmlformats-officedocument.presentationml.slide+xml"/>
  <Override PartName="/ppt/slides/slide762.xml" ContentType="application/vnd.openxmlformats-officedocument.presentationml.slide+xml"/>
  <Override PartName="/ppt/slides/slide763.xml" ContentType="application/vnd.openxmlformats-officedocument.presentationml.slide+xml"/>
  <Override PartName="/ppt/slides/slide764.xml" ContentType="application/vnd.openxmlformats-officedocument.presentationml.slide+xml"/>
  <Override PartName="/ppt/slides/slide765.xml" ContentType="application/vnd.openxmlformats-officedocument.presentationml.slide+xml"/>
  <Override PartName="/ppt/slides/slide766.xml" ContentType="application/vnd.openxmlformats-officedocument.presentationml.slide+xml"/>
  <Override PartName="/ppt/slides/slide767.xml" ContentType="application/vnd.openxmlformats-officedocument.presentationml.slide+xml"/>
  <Override PartName="/ppt/slides/slide768.xml" ContentType="application/vnd.openxmlformats-officedocument.presentationml.slide+xml"/>
  <Override PartName="/ppt/slides/slide769.xml" ContentType="application/vnd.openxmlformats-officedocument.presentationml.slide+xml"/>
  <Override PartName="/ppt/slides/slide770.xml" ContentType="application/vnd.openxmlformats-officedocument.presentationml.slide+xml"/>
  <Override PartName="/ppt/slides/slide771.xml" ContentType="application/vnd.openxmlformats-officedocument.presentationml.slide+xml"/>
  <Override PartName="/ppt/slides/slide772.xml" ContentType="application/vnd.openxmlformats-officedocument.presentationml.slide+xml"/>
  <Override PartName="/ppt/slides/slide773.xml" ContentType="application/vnd.openxmlformats-officedocument.presentationml.slide+xml"/>
  <Override PartName="/ppt/slides/slide774.xml" ContentType="application/vnd.openxmlformats-officedocument.presentationml.slide+xml"/>
  <Override PartName="/ppt/slides/slide775.xml" ContentType="application/vnd.openxmlformats-officedocument.presentationml.slide+xml"/>
  <Override PartName="/ppt/slides/slide776.xml" ContentType="application/vnd.openxmlformats-officedocument.presentationml.slide+xml"/>
  <Override PartName="/ppt/slides/slide777.xml" ContentType="application/vnd.openxmlformats-officedocument.presentationml.slide+xml"/>
  <Override PartName="/ppt/slides/slide778.xml" ContentType="application/vnd.openxmlformats-officedocument.presentationml.slide+xml"/>
  <Override PartName="/ppt/slides/slide779.xml" ContentType="application/vnd.openxmlformats-officedocument.presentationml.slide+xml"/>
  <Override PartName="/ppt/slides/slide780.xml" ContentType="application/vnd.openxmlformats-officedocument.presentationml.slide+xml"/>
  <Override PartName="/ppt/slides/slide781.xml" ContentType="application/vnd.openxmlformats-officedocument.presentationml.slide+xml"/>
  <Override PartName="/ppt/slides/slide782.xml" ContentType="application/vnd.openxmlformats-officedocument.presentationml.slide+xml"/>
  <Override PartName="/ppt/slides/slide783.xml" ContentType="application/vnd.openxmlformats-officedocument.presentationml.slide+xml"/>
  <Override PartName="/ppt/slides/slide784.xml" ContentType="application/vnd.openxmlformats-officedocument.presentationml.slide+xml"/>
  <Override PartName="/ppt/slides/slide785.xml" ContentType="application/vnd.openxmlformats-officedocument.presentationml.slide+xml"/>
  <Override PartName="/ppt/slides/slide786.xml" ContentType="application/vnd.openxmlformats-officedocument.presentationml.slide+xml"/>
  <Override PartName="/ppt/slides/slide787.xml" ContentType="application/vnd.openxmlformats-officedocument.presentationml.slide+xml"/>
  <Override PartName="/ppt/slides/slide788.xml" ContentType="application/vnd.openxmlformats-officedocument.presentationml.slide+xml"/>
  <Override PartName="/ppt/slides/slide789.xml" ContentType="application/vnd.openxmlformats-officedocument.presentationml.slide+xml"/>
  <Override PartName="/ppt/slides/slide790.xml" ContentType="application/vnd.openxmlformats-officedocument.presentationml.slide+xml"/>
  <Override PartName="/ppt/slides/slide791.xml" ContentType="application/vnd.openxmlformats-officedocument.presentationml.slide+xml"/>
  <Override PartName="/ppt/slides/slide792.xml" ContentType="application/vnd.openxmlformats-officedocument.presentationml.slide+xml"/>
  <Override PartName="/ppt/slides/slide793.xml" ContentType="application/vnd.openxmlformats-officedocument.presentationml.slide+xml"/>
  <Override PartName="/ppt/slides/slide794.xml" ContentType="application/vnd.openxmlformats-officedocument.presentationml.slide+xml"/>
  <Override PartName="/ppt/slides/slide795.xml" ContentType="application/vnd.openxmlformats-officedocument.presentationml.slide+xml"/>
  <Override PartName="/ppt/slides/slide796.xml" ContentType="application/vnd.openxmlformats-officedocument.presentationml.slide+xml"/>
  <Override PartName="/ppt/slides/slide797.xml" ContentType="application/vnd.openxmlformats-officedocument.presentationml.slide+xml"/>
  <Override PartName="/ppt/slides/slide798.xml" ContentType="application/vnd.openxmlformats-officedocument.presentationml.slide+xml"/>
  <Override PartName="/ppt/slides/slide799.xml" ContentType="application/vnd.openxmlformats-officedocument.presentationml.slide+xml"/>
  <Override PartName="/ppt/slides/slide800.xml" ContentType="application/vnd.openxmlformats-officedocument.presentationml.slide+xml"/>
  <Override PartName="/ppt/slides/slide801.xml" ContentType="application/vnd.openxmlformats-officedocument.presentationml.slide+xml"/>
  <Override PartName="/ppt/slides/slide802.xml" ContentType="application/vnd.openxmlformats-officedocument.presentationml.slide+xml"/>
  <Override PartName="/ppt/slides/slide803.xml" ContentType="application/vnd.openxmlformats-officedocument.presentationml.slide+xml"/>
  <Override PartName="/ppt/slides/slide804.xml" ContentType="application/vnd.openxmlformats-officedocument.presentationml.slide+xml"/>
  <Override PartName="/ppt/slides/slide805.xml" ContentType="application/vnd.openxmlformats-officedocument.presentationml.slide+xml"/>
  <Override PartName="/ppt/slides/slide806.xml" ContentType="application/vnd.openxmlformats-officedocument.presentationml.slide+xml"/>
  <Override PartName="/ppt/slides/slide807.xml" ContentType="application/vnd.openxmlformats-officedocument.presentationml.slide+xml"/>
  <Override PartName="/ppt/slides/slide808.xml" ContentType="application/vnd.openxmlformats-officedocument.presentationml.slide+xml"/>
  <Override PartName="/ppt/slides/slide809.xml" ContentType="application/vnd.openxmlformats-officedocument.presentationml.slide+xml"/>
  <Override PartName="/ppt/slides/slide810.xml" ContentType="application/vnd.openxmlformats-officedocument.presentationml.slide+xml"/>
  <Override PartName="/ppt/slides/slide811.xml" ContentType="application/vnd.openxmlformats-officedocument.presentationml.slide+xml"/>
  <Override PartName="/ppt/slides/slide812.xml" ContentType="application/vnd.openxmlformats-officedocument.presentationml.slide+xml"/>
  <Override PartName="/ppt/slides/slide813.xml" ContentType="application/vnd.openxmlformats-officedocument.presentationml.slide+xml"/>
  <Override PartName="/ppt/slides/slide814.xml" ContentType="application/vnd.openxmlformats-officedocument.presentationml.slide+xml"/>
  <Override PartName="/ppt/slides/slide815.xml" ContentType="application/vnd.openxmlformats-officedocument.presentationml.slide+xml"/>
  <Override PartName="/ppt/slides/slide816.xml" ContentType="application/vnd.openxmlformats-officedocument.presentationml.slide+xml"/>
  <Override PartName="/ppt/slides/slide817.xml" ContentType="application/vnd.openxmlformats-officedocument.presentationml.slide+xml"/>
  <Override PartName="/ppt/slides/slide81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heme/themeOverride1.xml" ContentType="application/vnd.openxmlformats-officedocument.themeOverride+xml"/>
  <Override PartName="/ppt/theme/themeOverride2.xml" ContentType="application/vnd.openxmlformats-officedocument.themeOverride+xml"/>
  <Override PartName="/ppt/theme/themeOverride3.xml" ContentType="application/vnd.openxmlformats-officedocument.themeOverride+xml"/>
  <Override PartName="/ppt/theme/themeOverride4.xml" ContentType="application/vnd.openxmlformats-officedocument.themeOverride+xml"/>
  <Override PartName="/ppt/theme/themeOverride5.xml" ContentType="application/vnd.openxmlformats-officedocument.themeOverride+xml"/>
  <Override PartName="/ppt/theme/themeOverride6.xml" ContentType="application/vnd.openxmlformats-officedocument.themeOverride+xml"/>
  <Override PartName="/ppt/theme/themeOverride7.xml" ContentType="application/vnd.openxmlformats-officedocument.themeOverride+xml"/>
  <Override PartName="/ppt/theme/themeOverride8.xml" ContentType="application/vnd.openxmlformats-officedocument.themeOverride+xml"/>
  <Override PartName="/ppt/theme/themeOverride9.xml" ContentType="application/vnd.openxmlformats-officedocument.themeOverride+xml"/>
  <Override PartName="/ppt/theme/themeOverride10.xml" ContentType="application/vnd.openxmlformats-officedocument.themeOverride+xml"/>
  <Override PartName="/ppt/theme/themeOverride11.xml" ContentType="application/vnd.openxmlformats-officedocument.themeOverride+xml"/>
  <Override PartName="/ppt/theme/themeOverride12.xml" ContentType="application/vnd.openxmlformats-officedocument.themeOverride+xml"/>
  <Override PartName="/ppt/theme/themeOverride13.xml" ContentType="application/vnd.openxmlformats-officedocument.themeOverride+xml"/>
  <Override PartName="/ppt/theme/themeOverride14.xml" ContentType="application/vnd.openxmlformats-officedocument.themeOverride+xml"/>
  <Override PartName="/ppt/theme/themeOverride15.xml" ContentType="application/vnd.openxmlformats-officedocument.themeOverride+xml"/>
  <Override PartName="/ppt/theme/themeOverride16.xml" ContentType="application/vnd.openxmlformats-officedocument.themeOverride+xml"/>
  <Override PartName="/ppt/theme/themeOverride17.xml" ContentType="application/vnd.openxmlformats-officedocument.themeOverride+xml"/>
  <Override PartName="/ppt/theme/themeOverride18.xml" ContentType="application/vnd.openxmlformats-officedocument.themeOverride+xml"/>
  <Override PartName="/ppt/theme/themeOverride19.xml" ContentType="application/vnd.openxmlformats-officedocument.themeOverride+xml"/>
  <Override PartName="/ppt/theme/themeOverride20.xml" ContentType="application/vnd.openxmlformats-officedocument.themeOverride+xml"/>
  <Override PartName="/ppt/theme/themeOverride21.xml" ContentType="application/vnd.openxmlformats-officedocument.themeOverride+xml"/>
  <Override PartName="/ppt/theme/themeOverride22.xml" ContentType="application/vnd.openxmlformats-officedocument.themeOverride+xml"/>
  <Override PartName="/ppt/theme/themeOverride23.xml" ContentType="application/vnd.openxmlformats-officedocument.themeOverride+xml"/>
  <Override PartName="/ppt/theme/themeOverride24.xml" ContentType="application/vnd.openxmlformats-officedocument.themeOverride+xml"/>
  <Override PartName="/ppt/theme/themeOverride25.xml" ContentType="application/vnd.openxmlformats-officedocument.themeOverride+xml"/>
  <Override PartName="/ppt/theme/themeOverride26.xml" ContentType="application/vnd.openxmlformats-officedocument.themeOverride+xml"/>
  <Override PartName="/ppt/theme/themeOverride27.xml" ContentType="application/vnd.openxmlformats-officedocument.themeOverride+xml"/>
  <Override PartName="/ppt/theme/themeOverride28.xml" ContentType="application/vnd.openxmlformats-officedocument.themeOverride+xml"/>
  <Override PartName="/ppt/theme/themeOverride29.xml" ContentType="application/vnd.openxmlformats-officedocument.themeOverride+xml"/>
  <Override PartName="/ppt/theme/themeOverride30.xml" ContentType="application/vnd.openxmlformats-officedocument.themeOverride+xml"/>
  <Override PartName="/ppt/theme/themeOverride31.xml" ContentType="application/vnd.openxmlformats-officedocument.themeOverride+xml"/>
  <Override PartName="/ppt/theme/themeOverride32.xml" ContentType="application/vnd.openxmlformats-officedocument.themeOverride+xml"/>
  <Override PartName="/ppt/theme/themeOverride33.xml" ContentType="application/vnd.openxmlformats-officedocument.themeOverride+xml"/>
  <Override PartName="/ppt/theme/themeOverride34.xml" ContentType="application/vnd.openxmlformats-officedocument.themeOverride+xml"/>
  <Override PartName="/ppt/theme/themeOverride35.xml" ContentType="application/vnd.openxmlformats-officedocument.themeOverride+xml"/>
  <Override PartName="/ppt/theme/themeOverride36.xml" ContentType="application/vnd.openxmlformats-officedocument.themeOverride+xml"/>
  <Override PartName="/ppt/theme/themeOverride37.xml" ContentType="application/vnd.openxmlformats-officedocument.themeOverride+xml"/>
  <Override PartName="/ppt/theme/themeOverride38.xml" ContentType="application/vnd.openxmlformats-officedocument.themeOverride+xml"/>
  <Override PartName="/ppt/theme/themeOverride39.xml" ContentType="application/vnd.openxmlformats-officedocument.themeOverride+xml"/>
  <Override PartName="/ppt/theme/themeOverride40.xml" ContentType="application/vnd.openxmlformats-officedocument.themeOverride+xml"/>
  <Override PartName="/ppt/theme/themeOverride41.xml" ContentType="application/vnd.openxmlformats-officedocument.themeOverride+xml"/>
  <Override PartName="/ppt/theme/themeOverride42.xml" ContentType="application/vnd.openxmlformats-officedocument.themeOverride+xml"/>
  <Override PartName="/ppt/theme/themeOverride43.xml" ContentType="application/vnd.openxmlformats-officedocument.themeOverride+xml"/>
  <Override PartName="/ppt/theme/themeOverride44.xml" ContentType="application/vnd.openxmlformats-officedocument.themeOverride+xml"/>
  <Override PartName="/ppt/theme/themeOverride45.xml" ContentType="application/vnd.openxmlformats-officedocument.themeOverride+xml"/>
  <Override PartName="/ppt/theme/themeOverride46.xml" ContentType="application/vnd.openxmlformats-officedocument.themeOverride+xml"/>
  <Override PartName="/ppt/theme/themeOverride47.xml" ContentType="application/vnd.openxmlformats-officedocument.themeOverride+xml"/>
  <Override PartName="/ppt/theme/themeOverride48.xml" ContentType="application/vnd.openxmlformats-officedocument.themeOverride+xml"/>
  <Override PartName="/ppt/theme/themeOverride49.xml" ContentType="application/vnd.openxmlformats-officedocument.themeOverride+xml"/>
  <Override PartName="/ppt/theme/themeOverride50.xml" ContentType="application/vnd.openxmlformats-officedocument.themeOverride+xml"/>
  <Override PartName="/ppt/theme/themeOverride51.xml" ContentType="application/vnd.openxmlformats-officedocument.themeOverride+xml"/>
  <Override PartName="/ppt/theme/themeOverride52.xml" ContentType="application/vnd.openxmlformats-officedocument.themeOverride+xml"/>
  <Override PartName="/ppt/theme/themeOverride53.xml" ContentType="application/vnd.openxmlformats-officedocument.themeOverride+xml"/>
  <Override PartName="/ppt/theme/themeOverride54.xml" ContentType="application/vnd.openxmlformats-officedocument.themeOverride+xml"/>
  <Override PartName="/ppt/theme/themeOverride55.xml" ContentType="application/vnd.openxmlformats-officedocument.themeOverride+xml"/>
  <Override PartName="/ppt/theme/themeOverride56.xml" ContentType="application/vnd.openxmlformats-officedocument.themeOverride+xml"/>
  <Override PartName="/ppt/theme/themeOverride57.xml" ContentType="application/vnd.openxmlformats-officedocument.themeOverride+xml"/>
  <Override PartName="/ppt/theme/themeOverride58.xml" ContentType="application/vnd.openxmlformats-officedocument.themeOverride+xml"/>
  <Override PartName="/ppt/theme/themeOverride59.xml" ContentType="application/vnd.openxmlformats-officedocument.themeOverride+xml"/>
  <Override PartName="/ppt/theme/themeOverride60.xml" ContentType="application/vnd.openxmlformats-officedocument.themeOverride+xml"/>
  <Override PartName="/ppt/theme/themeOverride61.xml" ContentType="application/vnd.openxmlformats-officedocument.themeOverride+xml"/>
  <Override PartName="/ppt/theme/themeOverride62.xml" ContentType="application/vnd.openxmlformats-officedocument.themeOverride+xml"/>
  <Override PartName="/ppt/theme/themeOverride63.xml" ContentType="application/vnd.openxmlformats-officedocument.themeOverride+xml"/>
  <Override PartName="/ppt/theme/themeOverride64.xml" ContentType="application/vnd.openxmlformats-officedocument.themeOverride+xml"/>
  <Override PartName="/ppt/theme/themeOverride65.xml" ContentType="application/vnd.openxmlformats-officedocument.themeOverride+xml"/>
  <Override PartName="/ppt/theme/themeOverride66.xml" ContentType="application/vnd.openxmlformats-officedocument.themeOverride+xml"/>
  <Override PartName="/ppt/theme/themeOverride67.xml" ContentType="application/vnd.openxmlformats-officedocument.themeOverride+xml"/>
  <Override PartName="/ppt/theme/themeOverride68.xml" ContentType="application/vnd.openxmlformats-officedocument.themeOverride+xml"/>
  <Override PartName="/ppt/theme/themeOverride69.xml" ContentType="application/vnd.openxmlformats-officedocument.themeOverride+xml"/>
  <Override PartName="/ppt/theme/themeOverride70.xml" ContentType="application/vnd.openxmlformats-officedocument.themeOverride+xml"/>
  <Override PartName="/ppt/theme/themeOverride71.xml" ContentType="application/vnd.openxmlformats-officedocument.themeOverride+xml"/>
  <Override PartName="/ppt/theme/themeOverride72.xml" ContentType="application/vnd.openxmlformats-officedocument.themeOverride+xml"/>
  <Override PartName="/ppt/theme/themeOverride73.xml" ContentType="application/vnd.openxmlformats-officedocument.themeOverride+xml"/>
  <Override PartName="/ppt/theme/themeOverride74.xml" ContentType="application/vnd.openxmlformats-officedocument.themeOverride+xml"/>
  <Override PartName="/ppt/theme/themeOverride75.xml" ContentType="application/vnd.openxmlformats-officedocument.themeOverride+xml"/>
  <Override PartName="/ppt/theme/themeOverride76.xml" ContentType="application/vnd.openxmlformats-officedocument.themeOverride+xml"/>
  <Override PartName="/ppt/theme/themeOverride77.xml" ContentType="application/vnd.openxmlformats-officedocument.themeOverride+xml"/>
  <Override PartName="/ppt/theme/themeOverride78.xml" ContentType="application/vnd.openxmlformats-officedocument.themeOverride+xml"/>
  <Override PartName="/ppt/theme/themeOverride79.xml" ContentType="application/vnd.openxmlformats-officedocument.themeOverride+xml"/>
  <Override PartName="/ppt/theme/themeOverride80.xml" ContentType="application/vnd.openxmlformats-officedocument.themeOverride+xml"/>
  <Override PartName="/ppt/theme/themeOverride81.xml" ContentType="application/vnd.openxmlformats-officedocument.themeOverride+xml"/>
  <Override PartName="/ppt/theme/themeOverride82.xml" ContentType="application/vnd.openxmlformats-officedocument.themeOverride+xml"/>
  <Override PartName="/ppt/theme/themeOverride83.xml" ContentType="application/vnd.openxmlformats-officedocument.themeOverride+xml"/>
  <Override PartName="/ppt/tags/tag3.xml" ContentType="application/vnd.openxmlformats-officedocument.presentationml.tags+xml"/>
  <Override PartName="/ppt/theme/themeOverride84.xml" ContentType="application/vnd.openxmlformats-officedocument.themeOverride+xml"/>
  <Override PartName="/ppt/theme/themeOverride85.xml" ContentType="application/vnd.openxmlformats-officedocument.themeOverride+xml"/>
  <Override PartName="/ppt/theme/themeOverride86.xml" ContentType="application/vnd.openxmlformats-officedocument.themeOverride+xml"/>
  <Override PartName="/ppt/theme/themeOverride87.xml" ContentType="application/vnd.openxmlformats-officedocument.themeOverride+xml"/>
  <Override PartName="/ppt/theme/themeOverride88.xml" ContentType="application/vnd.openxmlformats-officedocument.themeOverride+xml"/>
  <Override PartName="/ppt/theme/themeOverride89.xml" ContentType="application/vnd.openxmlformats-officedocument.themeOverride+xml"/>
  <Override PartName="/ppt/theme/themeOverride90.xml" ContentType="application/vnd.openxmlformats-officedocument.themeOverride+xml"/>
  <Override PartName="/ppt/theme/themeOverride91.xml" ContentType="application/vnd.openxmlformats-officedocument.themeOverride+xml"/>
  <Override PartName="/ppt/theme/themeOverride92.xml" ContentType="application/vnd.openxmlformats-officedocument.themeOverride+xml"/>
  <Override PartName="/ppt/theme/themeOverride93.xml" ContentType="application/vnd.openxmlformats-officedocument.themeOverride+xml"/>
  <Override PartName="/ppt/theme/themeOverride94.xml" ContentType="application/vnd.openxmlformats-officedocument.themeOverride+xml"/>
  <Override PartName="/ppt/theme/themeOverride95.xml" ContentType="application/vnd.openxmlformats-officedocument.themeOverride+xml"/>
  <Override PartName="/ppt/theme/themeOverride96.xml" ContentType="application/vnd.openxmlformats-officedocument.themeOverride+xml"/>
  <Override PartName="/ppt/theme/themeOverride97.xml" ContentType="application/vnd.openxmlformats-officedocument.themeOverride+xml"/>
  <Override PartName="/ppt/theme/themeOverride98.xml" ContentType="application/vnd.openxmlformats-officedocument.themeOverride+xml"/>
  <Override PartName="/ppt/theme/themeOverride99.xml" ContentType="application/vnd.openxmlformats-officedocument.themeOverride+xml"/>
  <Override PartName="/ppt/theme/themeOverride100.xml" ContentType="application/vnd.openxmlformats-officedocument.themeOverride+xml"/>
  <Override PartName="/ppt/theme/themeOverride101.xml" ContentType="application/vnd.openxmlformats-officedocument.themeOverride+xml"/>
  <Override PartName="/ppt/theme/themeOverride102.xml" ContentType="application/vnd.openxmlformats-officedocument.themeOverride+xml"/>
  <Override PartName="/ppt/theme/themeOverride103.xml" ContentType="application/vnd.openxmlformats-officedocument.themeOverride+xml"/>
  <Override PartName="/ppt/theme/themeOverride104.xml" ContentType="application/vnd.openxmlformats-officedocument.themeOverride+xml"/>
  <Override PartName="/ppt/theme/themeOverride105.xml" ContentType="application/vnd.openxmlformats-officedocument.themeOverride+xml"/>
  <Override PartName="/ppt/theme/themeOverride106.xml" ContentType="application/vnd.openxmlformats-officedocument.themeOverride+xml"/>
  <Override PartName="/ppt/theme/themeOverride107.xml" ContentType="application/vnd.openxmlformats-officedocument.themeOverride+xml"/>
  <Override PartName="/ppt/theme/themeOverride108.xml" ContentType="application/vnd.openxmlformats-officedocument.themeOverride+xml"/>
  <Override PartName="/ppt/theme/themeOverride109.xml" ContentType="application/vnd.openxmlformats-officedocument.themeOverride+xml"/>
  <Override PartName="/ppt/theme/themeOverride110.xml" ContentType="application/vnd.openxmlformats-officedocument.themeOverride+xml"/>
  <Override PartName="/ppt/theme/themeOverride111.xml" ContentType="application/vnd.openxmlformats-officedocument.themeOverride+xml"/>
  <Override PartName="/ppt/theme/themeOverride112.xml" ContentType="application/vnd.openxmlformats-officedocument.themeOverride+xml"/>
  <Override PartName="/ppt/theme/themeOverride113.xml" ContentType="application/vnd.openxmlformats-officedocument.themeOverride+xml"/>
  <Override PartName="/ppt/theme/themeOverride114.xml" ContentType="application/vnd.openxmlformats-officedocument.themeOverride+xml"/>
  <Override PartName="/ppt/theme/themeOverride115.xml" ContentType="application/vnd.openxmlformats-officedocument.themeOverride+xml"/>
  <Override PartName="/ppt/theme/themeOverride116.xml" ContentType="application/vnd.openxmlformats-officedocument.themeOverride+xml"/>
  <Override PartName="/ppt/theme/themeOverride117.xml" ContentType="application/vnd.openxmlformats-officedocument.themeOverride+xml"/>
  <Override PartName="/ppt/theme/themeOverride118.xml" ContentType="application/vnd.openxmlformats-officedocument.themeOverride+xml"/>
  <Override PartName="/ppt/theme/themeOverride119.xml" ContentType="application/vnd.openxmlformats-officedocument.themeOverride+xml"/>
  <Override PartName="/ppt/theme/themeOverride120.xml" ContentType="application/vnd.openxmlformats-officedocument.themeOverride+xml"/>
  <Override PartName="/ppt/theme/themeOverride121.xml" ContentType="application/vnd.openxmlformats-officedocument.themeOverride+xml"/>
  <Override PartName="/ppt/theme/themeOverride122.xml" ContentType="application/vnd.openxmlformats-officedocument.themeOverride+xml"/>
  <Override PartName="/ppt/theme/themeOverride123.xml" ContentType="application/vnd.openxmlformats-officedocument.themeOverride+xml"/>
  <Override PartName="/ppt/theme/themeOverride124.xml" ContentType="application/vnd.openxmlformats-officedocument.themeOverride+xml"/>
  <Override PartName="/ppt/theme/themeOverride125.xml" ContentType="application/vnd.openxmlformats-officedocument.themeOverride+xml"/>
  <Override PartName="/ppt/theme/themeOverride126.xml" ContentType="application/vnd.openxmlformats-officedocument.themeOverride+xml"/>
  <Override PartName="/ppt/theme/themeOverride127.xml" ContentType="application/vnd.openxmlformats-officedocument.themeOverride+xml"/>
  <Override PartName="/ppt/theme/themeOverride128.xml" ContentType="application/vnd.openxmlformats-officedocument.themeOverride+xml"/>
  <Override PartName="/ppt/theme/themeOverride129.xml" ContentType="application/vnd.openxmlformats-officedocument.themeOverride+xml"/>
  <Override PartName="/ppt/theme/themeOverride130.xml" ContentType="application/vnd.openxmlformats-officedocument.themeOverride+xml"/>
  <Override PartName="/ppt/theme/themeOverride131.xml" ContentType="application/vnd.openxmlformats-officedocument.themeOverride+xml"/>
  <Override PartName="/ppt/theme/themeOverride132.xml" ContentType="application/vnd.openxmlformats-officedocument.themeOverride+xml"/>
  <Override PartName="/ppt/theme/themeOverride133.xml" ContentType="application/vnd.openxmlformats-officedocument.themeOverride+xml"/>
  <Override PartName="/ppt/theme/themeOverride134.xml" ContentType="application/vnd.openxmlformats-officedocument.themeOverride+xml"/>
  <Override PartName="/ppt/theme/themeOverride135.xml" ContentType="application/vnd.openxmlformats-officedocument.themeOverride+xml"/>
  <Override PartName="/ppt/theme/themeOverride136.xml" ContentType="application/vnd.openxmlformats-officedocument.themeOverride+xml"/>
  <Override PartName="/ppt/theme/themeOverride137.xml" ContentType="application/vnd.openxmlformats-officedocument.themeOverride+xml"/>
  <Override PartName="/ppt/theme/themeOverride138.xml" ContentType="application/vnd.openxmlformats-officedocument.themeOverride+xml"/>
  <Override PartName="/ppt/theme/themeOverride139.xml" ContentType="application/vnd.openxmlformats-officedocument.themeOverride+xml"/>
  <Override PartName="/ppt/theme/themeOverride140.xml" ContentType="application/vnd.openxmlformats-officedocument.themeOverride+xml"/>
  <Override PartName="/ppt/theme/themeOverride141.xml" ContentType="application/vnd.openxmlformats-officedocument.themeOverride+xml"/>
  <Override PartName="/ppt/theme/themeOverride142.xml" ContentType="application/vnd.openxmlformats-officedocument.themeOverride+xml"/>
  <Override PartName="/ppt/theme/themeOverride143.xml" ContentType="application/vnd.openxmlformats-officedocument.themeOverride+xml"/>
  <Override PartName="/ppt/theme/themeOverride144.xml" ContentType="application/vnd.openxmlformats-officedocument.themeOverride+xml"/>
  <Override PartName="/ppt/theme/themeOverride145.xml" ContentType="application/vnd.openxmlformats-officedocument.themeOverride+xml"/>
  <Override PartName="/ppt/theme/themeOverride146.xml" ContentType="application/vnd.openxmlformats-officedocument.themeOverride+xml"/>
  <Override PartName="/ppt/theme/themeOverride147.xml" ContentType="application/vnd.openxmlformats-officedocument.themeOverride+xml"/>
  <Override PartName="/ppt/theme/themeOverride148.xml" ContentType="application/vnd.openxmlformats-officedocument.themeOverride+xml"/>
  <Override PartName="/ppt/theme/themeOverride149.xml" ContentType="application/vnd.openxmlformats-officedocument.themeOverride+xml"/>
  <Override PartName="/ppt/theme/themeOverride150.xml" ContentType="application/vnd.openxmlformats-officedocument.themeOverride+xml"/>
  <Override PartName="/ppt/theme/themeOverride151.xml" ContentType="application/vnd.openxmlformats-officedocument.themeOverride+xml"/>
  <Override PartName="/ppt/theme/themeOverride152.xml" ContentType="application/vnd.openxmlformats-officedocument.themeOverride+xml"/>
  <Override PartName="/ppt/theme/themeOverride153.xml" ContentType="application/vnd.openxmlformats-officedocument.themeOverride+xml"/>
  <Override PartName="/ppt/theme/themeOverride154.xml" ContentType="application/vnd.openxmlformats-officedocument.themeOverride+xml"/>
  <Override PartName="/ppt/theme/themeOverride155.xml" ContentType="application/vnd.openxmlformats-officedocument.themeOverride+xml"/>
  <Override PartName="/ppt/theme/themeOverride156.xml" ContentType="application/vnd.openxmlformats-officedocument.themeOverride+xml"/>
  <Override PartName="/ppt/theme/themeOverride157.xml" ContentType="application/vnd.openxmlformats-officedocument.themeOverride+xml"/>
  <Override PartName="/ppt/theme/themeOverride158.xml" ContentType="application/vnd.openxmlformats-officedocument.themeOverride+xml"/>
  <Override PartName="/ppt/theme/themeOverride159.xml" ContentType="application/vnd.openxmlformats-officedocument.themeOverride+xml"/>
  <Override PartName="/ppt/theme/themeOverride160.xml" ContentType="application/vnd.openxmlformats-officedocument.themeOverride+xml"/>
  <Override PartName="/ppt/theme/themeOverride161.xml" ContentType="application/vnd.openxmlformats-officedocument.themeOverride+xml"/>
  <Override PartName="/ppt/theme/themeOverride162.xml" ContentType="application/vnd.openxmlformats-officedocument.themeOverride+xml"/>
  <Override PartName="/ppt/theme/themeOverride163.xml" ContentType="application/vnd.openxmlformats-officedocument.themeOverride+xml"/>
  <Override PartName="/ppt/theme/themeOverride164.xml" ContentType="application/vnd.openxmlformats-officedocument.themeOverride+xml"/>
  <Override PartName="/ppt/theme/themeOverride165.xml" ContentType="application/vnd.openxmlformats-officedocument.themeOverride+xml"/>
  <Override PartName="/ppt/theme/themeOverride166.xml" ContentType="application/vnd.openxmlformats-officedocument.themeOverride+xml"/>
  <Override PartName="/ppt/theme/themeOverride167.xml" ContentType="application/vnd.openxmlformats-officedocument.themeOverride+xml"/>
  <Override PartName="/ppt/theme/themeOverride168.xml" ContentType="application/vnd.openxmlformats-officedocument.themeOverride+xml"/>
  <Override PartName="/ppt/theme/themeOverride169.xml" ContentType="application/vnd.openxmlformats-officedocument.themeOverride+xml"/>
  <Override PartName="/ppt/theme/themeOverride170.xml" ContentType="application/vnd.openxmlformats-officedocument.themeOverride+xml"/>
  <Override PartName="/ppt/theme/themeOverride171.xml" ContentType="application/vnd.openxmlformats-officedocument.themeOverride+xml"/>
  <Override PartName="/ppt/theme/themeOverride172.xml" ContentType="application/vnd.openxmlformats-officedocument.themeOverride+xml"/>
  <Override PartName="/ppt/theme/themeOverride173.xml" ContentType="application/vnd.openxmlformats-officedocument.themeOverride+xml"/>
  <Override PartName="/ppt/theme/themeOverride174.xml" ContentType="application/vnd.openxmlformats-officedocument.themeOverride+xml"/>
  <Override PartName="/ppt/theme/themeOverride175.xml" ContentType="application/vnd.openxmlformats-officedocument.themeOverride+xml"/>
  <Override PartName="/ppt/theme/themeOverride176.xml" ContentType="application/vnd.openxmlformats-officedocument.themeOverride+xml"/>
  <Override PartName="/ppt/theme/themeOverride177.xml" ContentType="application/vnd.openxmlformats-officedocument.themeOverride+xml"/>
  <Override PartName="/ppt/theme/themeOverride178.xml" ContentType="application/vnd.openxmlformats-officedocument.themeOverride+xml"/>
  <Override PartName="/ppt/theme/themeOverride179.xml" ContentType="application/vnd.openxmlformats-officedocument.themeOverride+xml"/>
  <Override PartName="/ppt/theme/themeOverride180.xml" ContentType="application/vnd.openxmlformats-officedocument.themeOverride+xml"/>
  <Override PartName="/ppt/theme/themeOverride181.xml" ContentType="application/vnd.openxmlformats-officedocument.themeOverride+xml"/>
  <Override PartName="/ppt/theme/themeOverride182.xml" ContentType="application/vnd.openxmlformats-officedocument.themeOverride+xml"/>
  <Override PartName="/ppt/theme/themeOverride183.xml" ContentType="application/vnd.openxmlformats-officedocument.themeOverride+xml"/>
  <Override PartName="/ppt/theme/themeOverride184.xml" ContentType="application/vnd.openxmlformats-officedocument.themeOverride+xml"/>
  <Override PartName="/ppt/theme/themeOverride185.xml" ContentType="application/vnd.openxmlformats-officedocument.themeOverride+xml"/>
  <Override PartName="/ppt/theme/themeOverride186.xml" ContentType="application/vnd.openxmlformats-officedocument.themeOverride+xml"/>
  <Override PartName="/ppt/theme/themeOverride187.xml" ContentType="application/vnd.openxmlformats-officedocument.themeOverride+xml"/>
  <Override PartName="/ppt/theme/themeOverride188.xml" ContentType="application/vnd.openxmlformats-officedocument.themeOverride+xml"/>
  <Override PartName="/ppt/theme/themeOverride189.xml" ContentType="application/vnd.openxmlformats-officedocument.themeOverride+xml"/>
  <Override PartName="/ppt/theme/themeOverride190.xml" ContentType="application/vnd.openxmlformats-officedocument.themeOverride+xml"/>
  <Override PartName="/ppt/theme/themeOverride191.xml" ContentType="application/vnd.openxmlformats-officedocument.themeOverride+xml"/>
  <Override PartName="/ppt/theme/themeOverride192.xml" ContentType="application/vnd.openxmlformats-officedocument.themeOverride+xml"/>
  <Override PartName="/ppt/theme/themeOverride193.xml" ContentType="application/vnd.openxmlformats-officedocument.themeOverride+xml"/>
  <Override PartName="/ppt/theme/themeOverride194.xml" ContentType="application/vnd.openxmlformats-officedocument.themeOverride+xml"/>
  <Override PartName="/ppt/theme/themeOverride195.xml" ContentType="application/vnd.openxmlformats-officedocument.themeOverride+xml"/>
  <Override PartName="/ppt/theme/themeOverride196.xml" ContentType="application/vnd.openxmlformats-officedocument.themeOverride+xml"/>
  <Override PartName="/ppt/theme/themeOverride197.xml" ContentType="application/vnd.openxmlformats-officedocument.themeOverride+xml"/>
  <Override PartName="/ppt/theme/themeOverride198.xml" ContentType="application/vnd.openxmlformats-officedocument.themeOverride+xml"/>
  <Override PartName="/ppt/theme/themeOverride199.xml" ContentType="application/vnd.openxmlformats-officedocument.themeOverride+xml"/>
  <Override PartName="/ppt/theme/themeOverride200.xml" ContentType="application/vnd.openxmlformats-officedocument.themeOverride+xml"/>
  <Override PartName="/ppt/theme/themeOverride201.xml" ContentType="application/vnd.openxmlformats-officedocument.themeOverride+xml"/>
  <Override PartName="/ppt/theme/themeOverride202.xml" ContentType="application/vnd.openxmlformats-officedocument.themeOverride+xml"/>
  <Override PartName="/ppt/theme/themeOverride203.xml" ContentType="application/vnd.openxmlformats-officedocument.themeOverride+xml"/>
  <Override PartName="/ppt/theme/themeOverride204.xml" ContentType="application/vnd.openxmlformats-officedocument.themeOverride+xml"/>
  <Override PartName="/ppt/theme/themeOverride205.xml" ContentType="application/vnd.openxmlformats-officedocument.themeOverride+xml"/>
  <Override PartName="/ppt/theme/themeOverride206.xml" ContentType="application/vnd.openxmlformats-officedocument.themeOverride+xml"/>
  <Override PartName="/ppt/theme/themeOverride207.xml" ContentType="application/vnd.openxmlformats-officedocument.themeOverride+xml"/>
  <Override PartName="/ppt/theme/themeOverride208.xml" ContentType="application/vnd.openxmlformats-officedocument.themeOverride+xml"/>
  <Override PartName="/ppt/theme/themeOverride209.xml" ContentType="application/vnd.openxmlformats-officedocument.themeOverride+xml"/>
  <Override PartName="/ppt/theme/themeOverride210.xml" ContentType="application/vnd.openxmlformats-officedocument.themeOverride+xml"/>
  <Override PartName="/ppt/theme/themeOverride211.xml" ContentType="application/vnd.openxmlformats-officedocument.themeOverride+xml"/>
  <Override PartName="/ppt/theme/themeOverride212.xml" ContentType="application/vnd.openxmlformats-officedocument.themeOverride+xml"/>
  <Override PartName="/ppt/theme/themeOverride213.xml" ContentType="application/vnd.openxmlformats-officedocument.themeOverride+xml"/>
  <Override PartName="/ppt/theme/themeOverride214.xml" ContentType="application/vnd.openxmlformats-officedocument.themeOverride+xml"/>
  <Override PartName="/ppt/theme/themeOverride215.xml" ContentType="application/vnd.openxmlformats-officedocument.themeOverride+xml"/>
  <Override PartName="/ppt/theme/themeOverride216.xml" ContentType="application/vnd.openxmlformats-officedocument.themeOverride+xml"/>
  <Override PartName="/ppt/theme/themeOverride217.xml" ContentType="application/vnd.openxmlformats-officedocument.themeOverride+xml"/>
  <Override PartName="/ppt/theme/themeOverride218.xml" ContentType="application/vnd.openxmlformats-officedocument.themeOverride+xml"/>
  <Override PartName="/ppt/theme/themeOverride219.xml" ContentType="application/vnd.openxmlformats-officedocument.themeOverride+xml"/>
  <Override PartName="/ppt/theme/themeOverride220.xml" ContentType="application/vnd.openxmlformats-officedocument.themeOverride+xml"/>
  <Override PartName="/ppt/theme/themeOverride221.xml" ContentType="application/vnd.openxmlformats-officedocument.themeOverrid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Override222.xml" ContentType="application/vnd.openxmlformats-officedocument.themeOverride+xml"/>
  <Override PartName="/ppt/theme/themeOverride223.xml" ContentType="application/vnd.openxmlformats-officedocument.themeOverride+xml"/>
  <Override PartName="/ppt/theme/themeOverride224.xml" ContentType="application/vnd.openxmlformats-officedocument.themeOverride+xml"/>
  <Override PartName="/ppt/theme/themeOverride225.xml" ContentType="application/vnd.openxmlformats-officedocument.themeOverride+xml"/>
  <Override PartName="/ppt/tags/tag8.xml" ContentType="application/vnd.openxmlformats-officedocument.presentationml.tags+xml"/>
  <Override PartName="/ppt/theme/themeOverride226.xml" ContentType="application/vnd.openxmlformats-officedocument.themeOverride+xml"/>
  <Override PartName="/ppt/theme/themeOverride227.xml" ContentType="application/vnd.openxmlformats-officedocument.themeOverride+xml"/>
  <Override PartName="/ppt/theme/themeOverride228.xml" ContentType="application/vnd.openxmlformats-officedocument.themeOverride+xml"/>
  <Override PartName="/ppt/theme/themeOverride229.xml" ContentType="application/vnd.openxmlformats-officedocument.themeOverride+xml"/>
  <Override PartName="/ppt/theme/themeOverride230.xml" ContentType="application/vnd.openxmlformats-officedocument.themeOverride+xml"/>
  <Override PartName="/ppt/theme/themeOverride231.xml" ContentType="application/vnd.openxmlformats-officedocument.themeOverrid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heme/themeOverride232.xml" ContentType="application/vnd.openxmlformats-officedocument.themeOverride+xml"/>
  <Override PartName="/ppt/tags/tag14.xml" ContentType="application/vnd.openxmlformats-officedocument.presentationml.tags+xml"/>
  <Override PartName="/ppt/theme/themeOverride233.xml" ContentType="application/vnd.openxmlformats-officedocument.themeOverride+xml"/>
  <Override PartName="/ppt/theme/themeOverride234.xml" ContentType="application/vnd.openxmlformats-officedocument.themeOverride+xml"/>
  <Override PartName="/ppt/theme/themeOverride235.xml" ContentType="application/vnd.openxmlformats-officedocument.themeOverride+xml"/>
  <Override PartName="/ppt/theme/themeOverride236.xml" ContentType="application/vnd.openxmlformats-officedocument.themeOverride+xml"/>
  <Override PartName="/ppt/theme/themeOverride237.xml" ContentType="application/vnd.openxmlformats-officedocument.themeOverride+xml"/>
  <Override PartName="/ppt/theme/themeOverride238.xml" ContentType="application/vnd.openxmlformats-officedocument.themeOverride+xml"/>
  <Override PartName="/ppt/theme/themeOverride239.xml" ContentType="application/vnd.openxmlformats-officedocument.themeOverride+xml"/>
  <Override PartName="/ppt/theme/themeOverride240.xml" ContentType="application/vnd.openxmlformats-officedocument.themeOverride+xml"/>
  <Override PartName="/ppt/theme/themeOverride241.xml" ContentType="application/vnd.openxmlformats-officedocument.themeOverride+xml"/>
  <Override PartName="/ppt/theme/themeOverride242.xml" ContentType="application/vnd.openxmlformats-officedocument.themeOverride+xml"/>
  <Override PartName="/ppt/theme/themeOverride243.xml" ContentType="application/vnd.openxmlformats-officedocument.themeOverride+xml"/>
  <Override PartName="/ppt/theme/themeOverride244.xml" ContentType="application/vnd.openxmlformats-officedocument.themeOverride+xml"/>
  <Override PartName="/ppt/tags/tag15.xml" ContentType="application/vnd.openxmlformats-officedocument.presentationml.tags+xml"/>
  <Override PartName="/ppt/theme/themeOverride245.xml" ContentType="application/vnd.openxmlformats-officedocument.themeOverride+xml"/>
  <Override PartName="/ppt/theme/themeOverride246.xml" ContentType="application/vnd.openxmlformats-officedocument.themeOverride+xml"/>
  <Override PartName="/ppt/theme/themeOverride247.xml" ContentType="application/vnd.openxmlformats-officedocument.themeOverride+xml"/>
  <Override PartName="/ppt/theme/themeOverride248.xml" ContentType="application/vnd.openxmlformats-officedocument.themeOverride+xml"/>
  <Override PartName="/ppt/tags/tag16.xml" ContentType="application/vnd.openxmlformats-officedocument.presentationml.tags+xml"/>
  <Override PartName="/ppt/theme/themeOverride249.xml" ContentType="application/vnd.openxmlformats-officedocument.themeOverride+xml"/>
  <Override PartName="/ppt/theme/themeOverride250.xml" ContentType="application/vnd.openxmlformats-officedocument.themeOverride+xml"/>
  <Override PartName="/ppt/theme/themeOverride251.xml" ContentType="application/vnd.openxmlformats-officedocument.themeOverride+xml"/>
  <Override PartName="/ppt/theme/themeOverride252.xml" ContentType="application/vnd.openxmlformats-officedocument.themeOverride+xml"/>
  <Override PartName="/ppt/theme/themeOverride253.xml" ContentType="application/vnd.openxmlformats-officedocument.themeOverride+xml"/>
  <Override PartName="/ppt/tags/tag17.xml" ContentType="application/vnd.openxmlformats-officedocument.presentationml.tags+xml"/>
  <Override PartName="/ppt/theme/themeOverride254.xml" ContentType="application/vnd.openxmlformats-officedocument.themeOverrid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heme/themeOverride255.xml" ContentType="application/vnd.openxmlformats-officedocument.themeOverride+xml"/>
  <Override PartName="/ppt/tags/tag22.xml" ContentType="application/vnd.openxmlformats-officedocument.presentationml.tags+xml"/>
  <Override PartName="/ppt/theme/themeOverride256.xml" ContentType="application/vnd.openxmlformats-officedocument.themeOverride+xml"/>
  <Override PartName="/ppt/tags/tag23.xml" ContentType="application/vnd.openxmlformats-officedocument.presentationml.tags+xml"/>
  <Override PartName="/ppt/theme/themeOverride257.xml" ContentType="application/vnd.openxmlformats-officedocument.themeOverride+xml"/>
  <Override PartName="/ppt/tags/tag24.xml" ContentType="application/vnd.openxmlformats-officedocument.presentationml.tags+xml"/>
  <Override PartName="/ppt/theme/themeOverride258.xml" ContentType="application/vnd.openxmlformats-officedocument.themeOverride+xml"/>
  <Override PartName="/ppt/theme/themeOverride259.xml" ContentType="application/vnd.openxmlformats-officedocument.themeOverride+xml"/>
  <Override PartName="/ppt/theme/themeOverride260.xml" ContentType="application/vnd.openxmlformats-officedocument.themeOverride+xml"/>
  <Override PartName="/ppt/tags/tag25.xml" ContentType="application/vnd.openxmlformats-officedocument.presentationml.tags+xml"/>
  <Override PartName="/ppt/theme/themeOverride261.xml" ContentType="application/vnd.openxmlformats-officedocument.themeOverride+xml"/>
  <Override PartName="/ppt/tags/tag26.xml" ContentType="application/vnd.openxmlformats-officedocument.presentationml.tags+xml"/>
  <Override PartName="/ppt/theme/themeOverride262.xml" ContentType="application/vnd.openxmlformats-officedocument.themeOverride+xml"/>
  <Override PartName="/ppt/theme/themeOverride263.xml" ContentType="application/vnd.openxmlformats-officedocument.themeOverride+xml"/>
  <Override PartName="/ppt/theme/themeOverride264.xml" ContentType="application/vnd.openxmlformats-officedocument.themeOverride+xml"/>
  <Override PartName="/ppt/theme/themeOverride265.xml" ContentType="application/vnd.openxmlformats-officedocument.themeOverride+xml"/>
  <Override PartName="/ppt/theme/themeOverride266.xml" ContentType="application/vnd.openxmlformats-officedocument.themeOverride+xml"/>
  <Override PartName="/ppt/tags/tag27.xml" ContentType="application/vnd.openxmlformats-officedocument.presentationml.tags+xml"/>
  <Override PartName="/ppt/theme/themeOverride267.xml" ContentType="application/vnd.openxmlformats-officedocument.themeOverride+xml"/>
  <Override PartName="/ppt/tags/tag28.xml" ContentType="application/vnd.openxmlformats-officedocument.presentationml.tags+xml"/>
  <Override PartName="/ppt/theme/themeOverride268.xml" ContentType="application/vnd.openxmlformats-officedocument.themeOverride+xml"/>
  <Override PartName="/ppt/tags/tag29.xml" ContentType="application/vnd.openxmlformats-officedocument.presentationml.tags+xml"/>
  <Override PartName="/ppt/theme/themeOverride269.xml" ContentType="application/vnd.openxmlformats-officedocument.themeOverride+xml"/>
  <Override PartName="/ppt/tags/tag30.xml" ContentType="application/vnd.openxmlformats-officedocument.presentationml.tags+xml"/>
  <Override PartName="/ppt/theme/themeOverride270.xml" ContentType="application/vnd.openxmlformats-officedocument.themeOverride+xml"/>
  <Override PartName="/ppt/theme/themeOverride271.xml" ContentType="application/vnd.openxmlformats-officedocument.themeOverride+xml"/>
  <Override PartName="/ppt/theme/themeOverride272.xml" ContentType="application/vnd.openxmlformats-officedocument.themeOverride+xml"/>
  <Override PartName="/ppt/theme/themeOverride273.xml" ContentType="application/vnd.openxmlformats-officedocument.themeOverride+xml"/>
  <Override PartName="/ppt/tags/tag31.xml" ContentType="application/vnd.openxmlformats-officedocument.presentationml.tags+xml"/>
  <Override PartName="/ppt/theme/themeOverride274.xml" ContentType="application/vnd.openxmlformats-officedocument.themeOverride+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Override275.xml" ContentType="application/vnd.openxmlformats-officedocument.themeOverride+xml"/>
  <Override PartName="/ppt/theme/themeOverride276.xml" ContentType="application/vnd.openxmlformats-officedocument.themeOverride+xml"/>
  <Override PartName="/ppt/theme/themeOverride277.xml" ContentType="application/vnd.openxmlformats-officedocument.themeOverride+xml"/>
  <Override PartName="/ppt/theme/themeOverride278.xml" ContentType="application/vnd.openxmlformats-officedocument.themeOverride+xml"/>
  <Override PartName="/ppt/tags/tag35.xml" ContentType="application/vnd.openxmlformats-officedocument.presentationml.tags+xml"/>
  <Override PartName="/ppt/theme/themeOverride279.xml" ContentType="application/vnd.openxmlformats-officedocument.themeOverride+xml"/>
  <Override PartName="/ppt/tags/tag36.xml" ContentType="application/vnd.openxmlformats-officedocument.presentationml.tags+xml"/>
  <Override PartName="/ppt/theme/themeOverride280.xml" ContentType="application/vnd.openxmlformats-officedocument.themeOverride+xml"/>
  <Override PartName="/ppt/tags/tag37.xml" ContentType="application/vnd.openxmlformats-officedocument.presentationml.tags+xml"/>
  <Override PartName="/ppt/theme/themeOverride281.xml" ContentType="application/vnd.openxmlformats-officedocument.themeOverride+xml"/>
  <Override PartName="/ppt/tags/tag38.xml" ContentType="application/vnd.openxmlformats-officedocument.presentationml.tags+xml"/>
  <Override PartName="/ppt/theme/themeOverride282.xml" ContentType="application/vnd.openxmlformats-officedocument.themeOverride+xml"/>
  <Override PartName="/ppt/tags/tag39.xml" ContentType="application/vnd.openxmlformats-officedocument.presentationml.tags+xml"/>
  <Override PartName="/ppt/theme/themeOverride283.xml" ContentType="application/vnd.openxmlformats-officedocument.themeOverride+xml"/>
  <Override PartName="/ppt/theme/themeOverride284.xml" ContentType="application/vnd.openxmlformats-officedocument.themeOverride+xml"/>
  <Override PartName="/ppt/theme/themeOverride285.xml" ContentType="application/vnd.openxmlformats-officedocument.themeOverride+xml"/>
  <Override PartName="/ppt/theme/themeOverride286.xml" ContentType="application/vnd.openxmlformats-officedocument.themeOverride+xml"/>
  <Override PartName="/ppt/theme/themeOverride287.xml" ContentType="application/vnd.openxmlformats-officedocument.themeOverride+xml"/>
  <Override PartName="/ppt/theme/themeOverride288.xml" ContentType="application/vnd.openxmlformats-officedocument.themeOverride+xml"/>
  <Override PartName="/ppt/theme/themeOverride289.xml" ContentType="application/vnd.openxmlformats-officedocument.themeOverride+xml"/>
  <Override PartName="/ppt/theme/themeOverride290.xml" ContentType="application/vnd.openxmlformats-officedocument.themeOverride+xml"/>
  <Override PartName="/ppt/theme/themeOverride291.xml" ContentType="application/vnd.openxmlformats-officedocument.themeOverride+xml"/>
  <Override PartName="/ppt/tags/tag40.xml" ContentType="application/vnd.openxmlformats-officedocument.presentationml.tags+xml"/>
  <Override PartName="/ppt/theme/themeOverride292.xml" ContentType="application/vnd.openxmlformats-officedocument.themeOverride+xml"/>
  <Override PartName="/ppt/tags/tag41.xml" ContentType="application/vnd.openxmlformats-officedocument.presentationml.tags+xml"/>
  <Override PartName="/ppt/theme/themeOverride293.xml" ContentType="application/vnd.openxmlformats-officedocument.themeOverride+xml"/>
  <Override PartName="/ppt/tags/tag42.xml" ContentType="application/vnd.openxmlformats-officedocument.presentationml.tags+xml"/>
  <Override PartName="/ppt/theme/themeOverride294.xml" ContentType="application/vnd.openxmlformats-officedocument.themeOverride+xml"/>
  <Override PartName="/ppt/theme/themeOverride295.xml" ContentType="application/vnd.openxmlformats-officedocument.themeOverride+xml"/>
  <Override PartName="/ppt/theme/themeOverride296.xml" ContentType="application/vnd.openxmlformats-officedocument.themeOverride+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heme/themeOverride297.xml" ContentType="application/vnd.openxmlformats-officedocument.themeOverride+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heme/themeOverride298.xml" ContentType="application/vnd.openxmlformats-officedocument.themeOverride+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heme/themeOverride299.xml" ContentType="application/vnd.openxmlformats-officedocument.themeOverride+xml"/>
  <Override PartName="/ppt/theme/themeOverride300.xml" ContentType="application/vnd.openxmlformats-officedocument.themeOverride+xml"/>
  <Override PartName="/ppt/tags/tag71.xml" ContentType="application/vnd.openxmlformats-officedocument.presentationml.tags+xml"/>
  <Override PartName="/ppt/theme/themeOverride301.xml" ContentType="application/vnd.openxmlformats-officedocument.themeOverride+xml"/>
  <Override PartName="/ppt/tags/tag72.xml" ContentType="application/vnd.openxmlformats-officedocument.presentationml.tags+xml"/>
  <Override PartName="/ppt/theme/themeOverride302.xml" ContentType="application/vnd.openxmlformats-officedocument.themeOverride+xml"/>
  <Override PartName="/ppt/tags/tag73.xml" ContentType="application/vnd.openxmlformats-officedocument.presentationml.tags+xml"/>
  <Override PartName="/ppt/theme/themeOverride303.xml" ContentType="application/vnd.openxmlformats-officedocument.themeOverride+xml"/>
  <Override PartName="/ppt/tags/tag74.xml" ContentType="application/vnd.openxmlformats-officedocument.presentationml.tags+xml"/>
  <Override PartName="/ppt/theme/themeOverride304.xml" ContentType="application/vnd.openxmlformats-officedocument.themeOverride+xml"/>
  <Override PartName="/ppt/tags/tag75.xml" ContentType="application/vnd.openxmlformats-officedocument.presentationml.tags+xml"/>
  <Override PartName="/ppt/theme/themeOverride305.xml" ContentType="application/vnd.openxmlformats-officedocument.themeOverride+xml"/>
  <Override PartName="/ppt/tags/tag76.xml" ContentType="application/vnd.openxmlformats-officedocument.presentationml.tags+xml"/>
  <Override PartName="/ppt/theme/themeOverride306.xml" ContentType="application/vnd.openxmlformats-officedocument.themeOverride+xml"/>
  <Override PartName="/ppt/tags/tag77.xml" ContentType="application/vnd.openxmlformats-officedocument.presentationml.tags+xml"/>
  <Override PartName="/ppt/theme/themeOverride307.xml" ContentType="application/vnd.openxmlformats-officedocument.themeOverride+xml"/>
  <Override PartName="/ppt/tags/tag78.xml" ContentType="application/vnd.openxmlformats-officedocument.presentationml.tags+xml"/>
  <Override PartName="/ppt/theme/themeOverride308.xml" ContentType="application/vnd.openxmlformats-officedocument.themeOverride+xml"/>
  <Override PartName="/ppt/tags/tag79.xml" ContentType="application/vnd.openxmlformats-officedocument.presentationml.tags+xml"/>
  <Override PartName="/ppt/theme/themeOverride309.xml" ContentType="application/vnd.openxmlformats-officedocument.themeOverride+xml"/>
  <Override PartName="/ppt/tags/tag80.xml" ContentType="application/vnd.openxmlformats-officedocument.presentationml.tags+xml"/>
  <Override PartName="/ppt/theme/themeOverride310.xml" ContentType="application/vnd.openxmlformats-officedocument.themeOverride+xml"/>
  <Override PartName="/ppt/tags/tag81.xml" ContentType="application/vnd.openxmlformats-officedocument.presentationml.tags+xml"/>
  <Override PartName="/ppt/theme/themeOverride311.xml" ContentType="application/vnd.openxmlformats-officedocument.themeOverride+xml"/>
  <Override PartName="/ppt/tags/tag82.xml" ContentType="application/vnd.openxmlformats-officedocument.presentationml.tags+xml"/>
  <Override PartName="/ppt/theme/themeOverride312.xml" ContentType="application/vnd.openxmlformats-officedocument.themeOverride+xml"/>
  <Override PartName="/ppt/tags/tag83.xml" ContentType="application/vnd.openxmlformats-officedocument.presentationml.tags+xml"/>
  <Override PartName="/ppt/theme/themeOverride313.xml" ContentType="application/vnd.openxmlformats-officedocument.themeOverride+xml"/>
  <Override PartName="/ppt/tags/tag84.xml" ContentType="application/vnd.openxmlformats-officedocument.presentationml.tags+xml"/>
  <Override PartName="/ppt/theme/themeOverride314.xml" ContentType="application/vnd.openxmlformats-officedocument.themeOverride+xml"/>
  <Override PartName="/ppt/tags/tag85.xml" ContentType="application/vnd.openxmlformats-officedocument.presentationml.tags+xml"/>
  <Override PartName="/ppt/theme/themeOverride315.xml" ContentType="application/vnd.openxmlformats-officedocument.themeOverride+xml"/>
  <Override PartName="/ppt/tags/tag86.xml" ContentType="application/vnd.openxmlformats-officedocument.presentationml.tags+xml"/>
  <Override PartName="/ppt/theme/themeOverride316.xml" ContentType="application/vnd.openxmlformats-officedocument.themeOverride+xml"/>
  <Override PartName="/ppt/tags/tag87.xml" ContentType="application/vnd.openxmlformats-officedocument.presentationml.tags+xml"/>
  <Override PartName="/ppt/theme/themeOverride317.xml" ContentType="application/vnd.openxmlformats-officedocument.themeOverride+xml"/>
  <Override PartName="/ppt/tags/tag88.xml" ContentType="application/vnd.openxmlformats-officedocument.presentationml.tags+xml"/>
  <Override PartName="/ppt/theme/themeOverride318.xml" ContentType="application/vnd.openxmlformats-officedocument.themeOverride+xml"/>
  <Override PartName="/ppt/tags/tag89.xml" ContentType="application/vnd.openxmlformats-officedocument.presentationml.tags+xml"/>
  <Override PartName="/ppt/theme/themeOverride319.xml" ContentType="application/vnd.openxmlformats-officedocument.themeOverride+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heme/themeOverride320.xml" ContentType="application/vnd.openxmlformats-officedocument.themeOverride+xml"/>
  <Override PartName="/ppt/tags/tag94.xml" ContentType="application/vnd.openxmlformats-officedocument.presentationml.tags+xml"/>
  <Override PartName="/ppt/theme/themeOverride321.xml" ContentType="application/vnd.openxmlformats-officedocument.themeOverride+xml"/>
  <Override PartName="/ppt/theme/themeOverride322.xml" ContentType="application/vnd.openxmlformats-officedocument.themeOverride+xml"/>
  <Override PartName="/ppt/theme/themeOverride323.xml" ContentType="application/vnd.openxmlformats-officedocument.themeOverride+xml"/>
  <Override PartName="/ppt/theme/themeOverride324.xml" ContentType="application/vnd.openxmlformats-officedocument.themeOverride+xml"/>
  <Override PartName="/ppt/theme/themeOverride325.xml" ContentType="application/vnd.openxmlformats-officedocument.themeOverride+xml"/>
  <Override PartName="/ppt/tags/tag95.xml" ContentType="application/vnd.openxmlformats-officedocument.presentationml.tags+xml"/>
  <Override PartName="/ppt/theme/themeOverride326.xml" ContentType="application/vnd.openxmlformats-officedocument.themeOverride+xml"/>
  <Override PartName="/ppt/theme/themeOverride327.xml" ContentType="application/vnd.openxmlformats-officedocument.themeOverride+xml"/>
  <Override PartName="/ppt/theme/themeOverride328.xml" ContentType="application/vnd.openxmlformats-officedocument.themeOverride+xml"/>
  <Override PartName="/ppt/theme/themeOverride329.xml" ContentType="application/vnd.openxmlformats-officedocument.themeOverride+xml"/>
  <Override PartName="/ppt/theme/themeOverride330.xml" ContentType="application/vnd.openxmlformats-officedocument.themeOverride+xml"/>
  <Override PartName="/ppt/theme/themeOverride331.xml" ContentType="application/vnd.openxmlformats-officedocument.themeOverride+xml"/>
  <Override PartName="/ppt/theme/themeOverride332.xml" ContentType="application/vnd.openxmlformats-officedocument.themeOverride+xml"/>
  <Override PartName="/ppt/theme/themeOverride333.xml" ContentType="application/vnd.openxmlformats-officedocument.themeOverride+xml"/>
  <Override PartName="/ppt/theme/themeOverride334.xml" ContentType="application/vnd.openxmlformats-officedocument.themeOverride+xml"/>
  <Override PartName="/ppt/theme/themeOverride335.xml" ContentType="application/vnd.openxmlformats-officedocument.themeOverride+xml"/>
  <Override PartName="/ppt/theme/themeOverride336.xml" ContentType="application/vnd.openxmlformats-officedocument.themeOverride+xml"/>
  <Override PartName="/ppt/theme/themeOverride337.xml" ContentType="application/vnd.openxmlformats-officedocument.themeOverride+xml"/>
  <Override PartName="/ppt/theme/themeOverride338.xml" ContentType="application/vnd.openxmlformats-officedocument.themeOverride+xml"/>
  <Override PartName="/ppt/tags/tag96.xml" ContentType="application/vnd.openxmlformats-officedocument.presentationml.tags+xml"/>
  <Override PartName="/ppt/theme/themeOverride339.xml" ContentType="application/vnd.openxmlformats-officedocument.themeOverride+xml"/>
  <Override PartName="/ppt/theme/themeOverride340.xml" ContentType="application/vnd.openxmlformats-officedocument.themeOverride+xml"/>
  <Override PartName="/ppt/tags/tag97.xml" ContentType="application/vnd.openxmlformats-officedocument.presentationml.tags+xml"/>
  <Override PartName="/ppt/theme/themeOverride341.xml" ContentType="application/vnd.openxmlformats-officedocument.themeOverride+xml"/>
  <Override PartName="/ppt/theme/themeOverride342.xml" ContentType="application/vnd.openxmlformats-officedocument.themeOverride+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heme/themeOverride343.xml" ContentType="application/vnd.openxmlformats-officedocument.themeOverride+xml"/>
  <Override PartName="/ppt/theme/themeOverride344.xml" ContentType="application/vnd.openxmlformats-officedocument.themeOverride+xml"/>
  <Override PartName="/ppt/theme/themeOverride345.xml" ContentType="application/vnd.openxmlformats-officedocument.themeOverride+xml"/>
  <Override PartName="/ppt/theme/themeOverride346.xml" ContentType="application/vnd.openxmlformats-officedocument.themeOverride+xml"/>
  <Override PartName="/ppt/theme/themeOverride347.xml" ContentType="application/vnd.openxmlformats-officedocument.themeOverride+xml"/>
  <Override PartName="/ppt/theme/themeOverride348.xml" ContentType="application/vnd.openxmlformats-officedocument.themeOverride+xml"/>
  <Override PartName="/ppt/theme/themeOverride349.xml" ContentType="application/vnd.openxmlformats-officedocument.themeOverride+xml"/>
  <Override PartName="/ppt/theme/themeOverride350.xml" ContentType="application/vnd.openxmlformats-officedocument.themeOverride+xml"/>
  <Override PartName="/ppt/theme/themeOverride351.xml" ContentType="application/vnd.openxmlformats-officedocument.themeOverride+xml"/>
  <Override PartName="/ppt/theme/themeOverride352.xml" ContentType="application/vnd.openxmlformats-officedocument.themeOverride+xml"/>
  <Override PartName="/ppt/theme/themeOverride353.xml" ContentType="application/vnd.openxmlformats-officedocument.themeOverride+xml"/>
  <Override PartName="/ppt/theme/themeOverride354.xml" ContentType="application/vnd.openxmlformats-officedocument.themeOverride+xml"/>
  <Override PartName="/ppt/theme/themeOverride355.xml" ContentType="application/vnd.openxmlformats-officedocument.themeOverride+xml"/>
  <Override PartName="/ppt/theme/themeOverride356.xml" ContentType="application/vnd.openxmlformats-officedocument.themeOverride+xml"/>
  <Override PartName="/ppt/theme/themeOverride357.xml" ContentType="application/vnd.openxmlformats-officedocument.themeOverride+xml"/>
  <Override PartName="/ppt/theme/themeOverride358.xml" ContentType="application/vnd.openxmlformats-officedocument.themeOverride+xml"/>
  <Override PartName="/ppt/theme/themeOverride359.xml" ContentType="application/vnd.openxmlformats-officedocument.themeOverride+xml"/>
  <Override PartName="/ppt/theme/themeOverride360.xml" ContentType="application/vnd.openxmlformats-officedocument.themeOverride+xml"/>
  <Override PartName="/ppt/theme/themeOverride361.xml" ContentType="application/vnd.openxmlformats-officedocument.themeOverride+xml"/>
  <Override PartName="/ppt/theme/themeOverride362.xml" ContentType="application/vnd.openxmlformats-officedocument.themeOverride+xml"/>
  <Override PartName="/ppt/theme/themeOverride363.xml" ContentType="application/vnd.openxmlformats-officedocument.themeOverride+xml"/>
  <Override PartName="/ppt/theme/themeOverride364.xml" ContentType="application/vnd.openxmlformats-officedocument.themeOverride+xml"/>
  <Override PartName="/ppt/theme/themeOverride365.xml" ContentType="application/vnd.openxmlformats-officedocument.themeOverride+xml"/>
  <Override PartName="/ppt/tags/tag107.xml" ContentType="application/vnd.openxmlformats-officedocument.presentationml.tags+xml"/>
  <Override PartName="/ppt/theme/themeOverride366.xml" ContentType="application/vnd.openxmlformats-officedocument.themeOverride+xml"/>
  <Override PartName="/ppt/theme/themeOverride367.xml" ContentType="application/vnd.openxmlformats-officedocument.themeOverride+xml"/>
  <Override PartName="/ppt/theme/themeOverride368.xml" ContentType="application/vnd.openxmlformats-officedocument.themeOverride+xml"/>
  <Override PartName="/ppt/theme/themeOverride369.xml" ContentType="application/vnd.openxmlformats-officedocument.themeOverride+xml"/>
  <Override PartName="/ppt/theme/themeOverride370.xml" ContentType="application/vnd.openxmlformats-officedocument.themeOverride+xml"/>
  <Override PartName="/ppt/theme/themeOverride371.xml" ContentType="application/vnd.openxmlformats-officedocument.themeOverride+xml"/>
  <Override PartName="/ppt/theme/themeOverride372.xml" ContentType="application/vnd.openxmlformats-officedocument.themeOverride+xml"/>
  <Override PartName="/ppt/tags/tag108.xml" ContentType="application/vnd.openxmlformats-officedocument.presentationml.tags+xml"/>
  <Override PartName="/ppt/theme/themeOverride373.xml" ContentType="application/vnd.openxmlformats-officedocument.themeOverride+xml"/>
  <Override PartName="/ppt/tags/tag109.xml" ContentType="application/vnd.openxmlformats-officedocument.presentationml.tags+xml"/>
  <Override PartName="/ppt/theme/themeOverride374.xml" ContentType="application/vnd.openxmlformats-officedocument.themeOverride+xml"/>
  <Override PartName="/ppt/tags/tag110.xml" ContentType="application/vnd.openxmlformats-officedocument.presentationml.tags+xml"/>
  <Override PartName="/ppt/theme/themeOverride375.xml" ContentType="application/vnd.openxmlformats-officedocument.themeOverride+xml"/>
  <Override PartName="/ppt/theme/themeOverride376.xml" ContentType="application/vnd.openxmlformats-officedocument.themeOverride+xml"/>
  <Override PartName="/ppt/theme/themeOverride377.xml" ContentType="application/vnd.openxmlformats-officedocument.themeOverride+xml"/>
  <Override PartName="/ppt/tags/tag111.xml" ContentType="application/vnd.openxmlformats-officedocument.presentationml.tags+xml"/>
  <Override PartName="/ppt/theme/themeOverride378.xml" ContentType="application/vnd.openxmlformats-officedocument.themeOverride+xml"/>
  <Override PartName="/ppt/tags/tag112.xml" ContentType="application/vnd.openxmlformats-officedocument.presentationml.tags+xml"/>
  <Override PartName="/ppt/theme/themeOverride379.xml" ContentType="application/vnd.openxmlformats-officedocument.themeOverride+xml"/>
  <Override PartName="/ppt/tags/tag113.xml" ContentType="application/vnd.openxmlformats-officedocument.presentationml.tags+xml"/>
  <Override PartName="/ppt/theme/themeOverride380.xml" ContentType="application/vnd.openxmlformats-officedocument.themeOverride+xml"/>
  <Override PartName="/ppt/tags/tag114.xml" ContentType="application/vnd.openxmlformats-officedocument.presentationml.tags+xml"/>
  <Override PartName="/ppt/theme/themeOverride381.xml" ContentType="application/vnd.openxmlformats-officedocument.themeOverride+xml"/>
  <Override PartName="/ppt/tags/tag115.xml" ContentType="application/vnd.openxmlformats-officedocument.presentationml.tags+xml"/>
  <Override PartName="/ppt/theme/themeOverride382.xml" ContentType="application/vnd.openxmlformats-officedocument.themeOverride+xml"/>
  <Override PartName="/ppt/tags/tag116.xml" ContentType="application/vnd.openxmlformats-officedocument.presentationml.tags+xml"/>
  <Override PartName="/ppt/theme/themeOverride383.xml" ContentType="application/vnd.openxmlformats-officedocument.themeOverride+xml"/>
  <Override PartName="/ppt/theme/themeOverride384.xml" ContentType="application/vnd.openxmlformats-officedocument.themeOverride+xml"/>
  <Override PartName="/ppt/theme/themeOverride385.xml" ContentType="application/vnd.openxmlformats-officedocument.themeOverride+xml"/>
  <Override PartName="/ppt/theme/themeOverride386.xml" ContentType="application/vnd.openxmlformats-officedocument.themeOverride+xml"/>
  <Override PartName="/ppt/theme/themeOverride387.xml" ContentType="application/vnd.openxmlformats-officedocument.themeOverride+xml"/>
  <Override PartName="/ppt/theme/themeOverride388.xml" ContentType="application/vnd.openxmlformats-officedocument.themeOverride+xml"/>
  <Override PartName="/ppt/theme/themeOverride389.xml" ContentType="application/vnd.openxmlformats-officedocument.themeOverride+xml"/>
  <Override PartName="/ppt/theme/themeOverride390.xml" ContentType="application/vnd.openxmlformats-officedocument.themeOverride+xml"/>
  <Override PartName="/ppt/theme/themeOverride391.xml" ContentType="application/vnd.openxmlformats-officedocument.themeOverride+xml"/>
  <Override PartName="/ppt/theme/themeOverride392.xml" ContentType="application/vnd.openxmlformats-officedocument.themeOverride+xml"/>
  <Override PartName="/ppt/theme/themeOverride393.xml" ContentType="application/vnd.openxmlformats-officedocument.themeOverride+xml"/>
  <Override PartName="/ppt/theme/themeOverride394.xml" ContentType="application/vnd.openxmlformats-officedocument.themeOverride+xml"/>
  <Override PartName="/ppt/theme/themeOverride395.xml" ContentType="application/vnd.openxmlformats-officedocument.themeOverride+xml"/>
  <Override PartName="/ppt/theme/themeOverride396.xml" ContentType="application/vnd.openxmlformats-officedocument.themeOverride+xml"/>
  <Override PartName="/ppt/theme/themeOverride397.xml" ContentType="application/vnd.openxmlformats-officedocument.themeOverride+xml"/>
  <Override PartName="/ppt/theme/themeOverride398.xml" ContentType="application/vnd.openxmlformats-officedocument.themeOverride+xml"/>
  <Override PartName="/ppt/theme/themeOverride399.xml" ContentType="application/vnd.openxmlformats-officedocument.themeOverride+xml"/>
  <Override PartName="/ppt/notesSlides/notesSlide1.xml" ContentType="application/vnd.openxmlformats-officedocument.presentationml.notesSlide+xml"/>
  <Override PartName="/ppt/theme/themeOverride400.xml" ContentType="application/vnd.openxmlformats-officedocument.themeOverride+xml"/>
  <Override PartName="/ppt/theme/themeOverride401.xml" ContentType="application/vnd.openxmlformats-officedocument.themeOverride+xml"/>
  <Override PartName="/ppt/theme/themeOverride402.xml" ContentType="application/vnd.openxmlformats-officedocument.themeOverride+xml"/>
  <Override PartName="/ppt/theme/themeOverride403.xml" ContentType="application/vnd.openxmlformats-officedocument.themeOverride+xml"/>
  <Override PartName="/ppt/theme/themeOverride404.xml" ContentType="application/vnd.openxmlformats-officedocument.themeOverride+xml"/>
  <Override PartName="/ppt/theme/themeOverride405.xml" ContentType="application/vnd.openxmlformats-officedocument.themeOverride+xml"/>
  <Override PartName="/ppt/theme/themeOverride406.xml" ContentType="application/vnd.openxmlformats-officedocument.themeOverride+xml"/>
  <Override PartName="/ppt/theme/themeOverride407.xml" ContentType="application/vnd.openxmlformats-officedocument.themeOverride+xml"/>
  <Override PartName="/ppt/theme/themeOverride408.xml" ContentType="application/vnd.openxmlformats-officedocument.themeOverride+xml"/>
  <Override PartName="/ppt/theme/themeOverride409.xml" ContentType="application/vnd.openxmlformats-officedocument.themeOverride+xml"/>
  <Override PartName="/ppt/theme/themeOverride410.xml" ContentType="application/vnd.openxmlformats-officedocument.themeOverride+xml"/>
  <Override PartName="/ppt/notesSlides/notesSlide2.xml" ContentType="application/vnd.openxmlformats-officedocument.presentationml.notesSlide+xml"/>
  <Override PartName="/ppt/theme/themeOverride411.xml" ContentType="application/vnd.openxmlformats-officedocument.themeOverride+xml"/>
  <Override PartName="/ppt/notesSlides/notesSlide3.xml" ContentType="application/vnd.openxmlformats-officedocument.presentationml.notesSlide+xml"/>
  <Override PartName="/ppt/theme/themeOverride412.xml" ContentType="application/vnd.openxmlformats-officedocument.themeOverride+xml"/>
  <Override PartName="/ppt/theme/themeOverride413.xml" ContentType="application/vnd.openxmlformats-officedocument.themeOverride+xml"/>
  <Override PartName="/ppt/theme/themeOverride414.xml" ContentType="application/vnd.openxmlformats-officedocument.themeOverride+xml"/>
  <Override PartName="/ppt/notesSlides/notesSlide4.xml" ContentType="application/vnd.openxmlformats-officedocument.presentationml.notesSlide+xml"/>
  <Override PartName="/ppt/theme/themeOverride415.xml" ContentType="application/vnd.openxmlformats-officedocument.themeOverride+xml"/>
  <Override PartName="/ppt/notesSlides/notesSlide5.xml" ContentType="application/vnd.openxmlformats-officedocument.presentationml.notesSlide+xml"/>
  <Override PartName="/ppt/theme/themeOverride416.xml" ContentType="application/vnd.openxmlformats-officedocument.themeOverride+xml"/>
  <Override PartName="/ppt/notesSlides/notesSlide6.xml" ContentType="application/vnd.openxmlformats-officedocument.presentationml.notesSlide+xml"/>
  <Override PartName="/ppt/theme/themeOverride417.xml" ContentType="application/vnd.openxmlformats-officedocument.themeOverride+xml"/>
  <Override PartName="/ppt/notesSlides/notesSlide7.xml" ContentType="application/vnd.openxmlformats-officedocument.presentationml.notesSlide+xml"/>
  <Override PartName="/ppt/theme/themeOverride418.xml" ContentType="application/vnd.openxmlformats-officedocument.themeOverride+xml"/>
  <Override PartName="/ppt/notesSlides/notesSlide8.xml" ContentType="application/vnd.openxmlformats-officedocument.presentationml.notesSlide+xml"/>
  <Override PartName="/ppt/theme/themeOverride419.xml" ContentType="application/vnd.openxmlformats-officedocument.themeOverride+xml"/>
  <Override PartName="/ppt/notesSlides/notesSlide9.xml" ContentType="application/vnd.openxmlformats-officedocument.presentationml.notesSlide+xml"/>
  <Override PartName="/ppt/theme/themeOverride420.xml" ContentType="application/vnd.openxmlformats-officedocument.themeOverride+xml"/>
  <Override PartName="/ppt/notesSlides/notesSlide10.xml" ContentType="application/vnd.openxmlformats-officedocument.presentationml.notesSlide+xml"/>
  <Override PartName="/ppt/theme/themeOverride421.xml" ContentType="application/vnd.openxmlformats-officedocument.themeOverride+xml"/>
  <Override PartName="/ppt/notesSlides/notesSlide11.xml" ContentType="application/vnd.openxmlformats-officedocument.presentationml.notesSlide+xml"/>
  <Override PartName="/ppt/theme/themeOverride422.xml" ContentType="application/vnd.openxmlformats-officedocument.themeOverride+xml"/>
  <Override PartName="/ppt/notesSlides/notesSlide12.xml" ContentType="application/vnd.openxmlformats-officedocument.presentationml.notesSlide+xml"/>
  <Override PartName="/ppt/theme/themeOverride423.xml" ContentType="application/vnd.openxmlformats-officedocument.themeOverride+xml"/>
  <Override PartName="/ppt/notesSlides/notesSlide13.xml" ContentType="application/vnd.openxmlformats-officedocument.presentationml.notesSlide+xml"/>
  <Override PartName="/ppt/theme/themeOverride424.xml" ContentType="application/vnd.openxmlformats-officedocument.themeOverride+xml"/>
  <Override PartName="/ppt/notesSlides/notesSlide14.xml" ContentType="application/vnd.openxmlformats-officedocument.presentationml.notesSlide+xml"/>
  <Override PartName="/ppt/theme/themeOverride425.xml" ContentType="application/vnd.openxmlformats-officedocument.themeOverride+xml"/>
  <Override PartName="/ppt/notesSlides/notesSlide15.xml" ContentType="application/vnd.openxmlformats-officedocument.presentationml.notesSlide+xml"/>
  <Override PartName="/ppt/theme/themeOverride426.xml" ContentType="application/vnd.openxmlformats-officedocument.themeOverride+xml"/>
  <Override PartName="/ppt/notesSlides/notesSlide16.xml" ContentType="application/vnd.openxmlformats-officedocument.presentationml.notesSlide+xml"/>
  <Override PartName="/ppt/theme/themeOverride427.xml" ContentType="application/vnd.openxmlformats-officedocument.themeOverride+xml"/>
  <Override PartName="/ppt/notesSlides/notesSlide17.xml" ContentType="application/vnd.openxmlformats-officedocument.presentationml.notesSlide+xml"/>
  <Override PartName="/ppt/theme/themeOverride428.xml" ContentType="application/vnd.openxmlformats-officedocument.themeOverride+xml"/>
  <Override PartName="/ppt/notesSlides/notesSlide18.xml" ContentType="application/vnd.openxmlformats-officedocument.presentationml.notesSlide+xml"/>
  <Override PartName="/ppt/theme/themeOverride429.xml" ContentType="application/vnd.openxmlformats-officedocument.themeOverride+xml"/>
  <Override PartName="/ppt/notesSlides/notesSlide19.xml" ContentType="application/vnd.openxmlformats-officedocument.presentationml.notesSlide+xml"/>
  <Override PartName="/ppt/theme/themeOverride430.xml" ContentType="application/vnd.openxmlformats-officedocument.themeOverride+xml"/>
  <Override PartName="/ppt/notesSlides/notesSlide20.xml" ContentType="application/vnd.openxmlformats-officedocument.presentationml.notesSlide+xml"/>
  <Override PartName="/ppt/theme/themeOverride431.xml" ContentType="application/vnd.openxmlformats-officedocument.themeOverride+xml"/>
  <Override PartName="/ppt/notesSlides/notesSlide21.xml" ContentType="application/vnd.openxmlformats-officedocument.presentationml.notesSlide+xml"/>
  <Override PartName="/ppt/theme/themeOverride432.xml" ContentType="application/vnd.openxmlformats-officedocument.themeOverride+xml"/>
  <Override PartName="/ppt/notesSlides/notesSlide22.xml" ContentType="application/vnd.openxmlformats-officedocument.presentationml.notesSlide+xml"/>
  <Override PartName="/ppt/theme/themeOverride433.xml" ContentType="application/vnd.openxmlformats-officedocument.themeOverride+xml"/>
  <Override PartName="/ppt/notesSlides/notesSlide23.xml" ContentType="application/vnd.openxmlformats-officedocument.presentationml.notesSlide+xml"/>
  <Override PartName="/ppt/theme/themeOverride434.xml" ContentType="application/vnd.openxmlformats-officedocument.themeOverride+xml"/>
  <Override PartName="/ppt/notesSlides/notesSlide24.xml" ContentType="application/vnd.openxmlformats-officedocument.presentationml.notesSlide+xml"/>
  <Override PartName="/ppt/theme/themeOverride435.xml" ContentType="application/vnd.openxmlformats-officedocument.themeOverride+xml"/>
  <Override PartName="/ppt/notesSlides/notesSlide25.xml" ContentType="application/vnd.openxmlformats-officedocument.presentationml.notesSlide+xml"/>
  <Override PartName="/ppt/theme/themeOverride436.xml" ContentType="application/vnd.openxmlformats-officedocument.themeOverride+xml"/>
  <Override PartName="/ppt/notesSlides/notesSlide26.xml" ContentType="application/vnd.openxmlformats-officedocument.presentationml.notesSlide+xml"/>
  <Override PartName="/ppt/theme/themeOverride437.xml" ContentType="application/vnd.openxmlformats-officedocument.themeOverride+xml"/>
  <Override PartName="/ppt/notesSlides/notesSlide27.xml" ContentType="application/vnd.openxmlformats-officedocument.presentationml.notesSlide+xml"/>
  <Override PartName="/ppt/theme/themeOverride438.xml" ContentType="application/vnd.openxmlformats-officedocument.themeOverride+xml"/>
  <Override PartName="/ppt/notesSlides/notesSlide28.xml" ContentType="application/vnd.openxmlformats-officedocument.presentationml.notesSlide+xml"/>
  <Override PartName="/ppt/theme/themeOverride439.xml" ContentType="application/vnd.openxmlformats-officedocument.themeOverride+xml"/>
  <Override PartName="/ppt/notesSlides/notesSlide29.xml" ContentType="application/vnd.openxmlformats-officedocument.presentationml.notesSlide+xml"/>
  <Override PartName="/ppt/theme/themeOverride440.xml" ContentType="application/vnd.openxmlformats-officedocument.themeOverride+xml"/>
  <Override PartName="/ppt/notesSlides/notesSlide30.xml" ContentType="application/vnd.openxmlformats-officedocument.presentationml.notesSlide+xml"/>
  <Override PartName="/ppt/theme/themeOverride441.xml" ContentType="application/vnd.openxmlformats-officedocument.themeOverride+xml"/>
  <Override PartName="/ppt/notesSlides/notesSlide31.xml" ContentType="application/vnd.openxmlformats-officedocument.presentationml.notesSlide+xml"/>
  <Override PartName="/ppt/theme/themeOverride442.xml" ContentType="application/vnd.openxmlformats-officedocument.themeOverride+xml"/>
  <Override PartName="/ppt/notesSlides/notesSlide32.xml" ContentType="application/vnd.openxmlformats-officedocument.presentationml.notesSlide+xml"/>
  <Override PartName="/ppt/theme/themeOverride443.xml" ContentType="application/vnd.openxmlformats-officedocument.themeOverride+xml"/>
  <Override PartName="/ppt/notesSlides/notesSlide33.xml" ContentType="application/vnd.openxmlformats-officedocument.presentationml.notesSlide+xml"/>
  <Override PartName="/ppt/theme/themeOverride444.xml" ContentType="application/vnd.openxmlformats-officedocument.themeOverride+xml"/>
  <Override PartName="/ppt/notesSlides/notesSlide34.xml" ContentType="application/vnd.openxmlformats-officedocument.presentationml.notesSlide+xml"/>
  <Override PartName="/ppt/theme/themeOverride445.xml" ContentType="application/vnd.openxmlformats-officedocument.themeOverride+xml"/>
  <Override PartName="/ppt/notesSlides/notesSlide35.xml" ContentType="application/vnd.openxmlformats-officedocument.presentationml.notesSlide+xml"/>
  <Override PartName="/ppt/theme/themeOverride446.xml" ContentType="application/vnd.openxmlformats-officedocument.themeOverride+xml"/>
  <Override PartName="/ppt/notesSlides/notesSlide36.xml" ContentType="application/vnd.openxmlformats-officedocument.presentationml.notesSlide+xml"/>
  <Override PartName="/ppt/theme/themeOverride447.xml" ContentType="application/vnd.openxmlformats-officedocument.themeOverride+xml"/>
  <Override PartName="/ppt/notesSlides/notesSlide37.xml" ContentType="application/vnd.openxmlformats-officedocument.presentationml.notesSlide+xml"/>
  <Override PartName="/ppt/theme/themeOverride448.xml" ContentType="application/vnd.openxmlformats-officedocument.themeOverride+xml"/>
  <Override PartName="/ppt/notesSlides/notesSlide38.xml" ContentType="application/vnd.openxmlformats-officedocument.presentationml.notesSlide+xml"/>
  <Override PartName="/ppt/theme/themeOverride449.xml" ContentType="application/vnd.openxmlformats-officedocument.themeOverride+xml"/>
  <Override PartName="/ppt/notesSlides/notesSlide39.xml" ContentType="application/vnd.openxmlformats-officedocument.presentationml.notesSlide+xml"/>
  <Override PartName="/ppt/theme/themeOverride450.xml" ContentType="application/vnd.openxmlformats-officedocument.themeOverride+xml"/>
  <Override PartName="/ppt/notesSlides/notesSlide40.xml" ContentType="application/vnd.openxmlformats-officedocument.presentationml.notesSlide+xml"/>
  <Override PartName="/ppt/theme/themeOverride451.xml" ContentType="application/vnd.openxmlformats-officedocument.themeOverride+xml"/>
  <Override PartName="/ppt/notesSlides/notesSlide41.xml" ContentType="application/vnd.openxmlformats-officedocument.presentationml.notesSlide+xml"/>
  <Override PartName="/ppt/theme/themeOverride452.xml" ContentType="application/vnd.openxmlformats-officedocument.themeOverride+xml"/>
  <Override PartName="/ppt/notesSlides/notesSlide42.xml" ContentType="application/vnd.openxmlformats-officedocument.presentationml.notesSlide+xml"/>
  <Override PartName="/ppt/theme/themeOverride453.xml" ContentType="application/vnd.openxmlformats-officedocument.themeOverride+xml"/>
  <Override PartName="/ppt/notesSlides/notesSlide43.xml" ContentType="application/vnd.openxmlformats-officedocument.presentationml.notesSlide+xml"/>
  <Override PartName="/ppt/theme/themeOverride454.xml" ContentType="application/vnd.openxmlformats-officedocument.themeOverride+xml"/>
  <Override PartName="/ppt/notesSlides/notesSlide44.xml" ContentType="application/vnd.openxmlformats-officedocument.presentationml.notesSlide+xml"/>
  <Override PartName="/ppt/theme/themeOverride455.xml" ContentType="application/vnd.openxmlformats-officedocument.themeOverride+xml"/>
  <Override PartName="/ppt/notesSlides/notesSlide45.xml" ContentType="application/vnd.openxmlformats-officedocument.presentationml.notesSlide+xml"/>
  <Override PartName="/ppt/theme/themeOverride456.xml" ContentType="application/vnd.openxmlformats-officedocument.themeOverride+xml"/>
  <Override PartName="/ppt/notesSlides/notesSlide46.xml" ContentType="application/vnd.openxmlformats-officedocument.presentationml.notesSlide+xml"/>
  <Override PartName="/ppt/theme/themeOverride457.xml" ContentType="application/vnd.openxmlformats-officedocument.themeOverride+xml"/>
  <Override PartName="/ppt/notesSlides/notesSlide47.xml" ContentType="application/vnd.openxmlformats-officedocument.presentationml.notesSlide+xml"/>
  <Override PartName="/ppt/theme/themeOverride458.xml" ContentType="application/vnd.openxmlformats-officedocument.themeOverride+xml"/>
  <Override PartName="/ppt/notesSlides/notesSlide48.xml" ContentType="application/vnd.openxmlformats-officedocument.presentationml.notesSlide+xml"/>
  <Override PartName="/ppt/theme/themeOverride459.xml" ContentType="application/vnd.openxmlformats-officedocument.themeOverride+xml"/>
  <Override PartName="/ppt/notesSlides/notesSlide49.xml" ContentType="application/vnd.openxmlformats-officedocument.presentationml.notesSlide+xml"/>
  <Override PartName="/ppt/theme/themeOverride460.xml" ContentType="application/vnd.openxmlformats-officedocument.themeOverride+xml"/>
  <Override PartName="/ppt/notesSlides/notesSlide50.xml" ContentType="application/vnd.openxmlformats-officedocument.presentationml.notesSlide+xml"/>
  <Override PartName="/ppt/theme/themeOverride461.xml" ContentType="application/vnd.openxmlformats-officedocument.themeOverride+xml"/>
  <Override PartName="/ppt/notesSlides/notesSlide51.xml" ContentType="application/vnd.openxmlformats-officedocument.presentationml.notesSlide+xml"/>
  <Override PartName="/ppt/theme/themeOverride462.xml" ContentType="application/vnd.openxmlformats-officedocument.themeOverride+xml"/>
  <Override PartName="/ppt/notesSlides/notesSlide52.xml" ContentType="application/vnd.openxmlformats-officedocument.presentationml.notesSlide+xml"/>
  <Override PartName="/ppt/theme/themeOverride463.xml" ContentType="application/vnd.openxmlformats-officedocument.themeOverride+xml"/>
  <Override PartName="/ppt/notesSlides/notesSlide53.xml" ContentType="application/vnd.openxmlformats-officedocument.presentationml.notesSlide+xml"/>
  <Override PartName="/ppt/theme/themeOverride464.xml" ContentType="application/vnd.openxmlformats-officedocument.themeOverride+xml"/>
  <Override PartName="/ppt/notesSlides/notesSlide54.xml" ContentType="application/vnd.openxmlformats-officedocument.presentationml.notesSlide+xml"/>
  <Override PartName="/ppt/theme/themeOverride465.xml" ContentType="application/vnd.openxmlformats-officedocument.themeOverride+xml"/>
  <Override PartName="/ppt/notesSlides/notesSlide55.xml" ContentType="application/vnd.openxmlformats-officedocument.presentationml.notesSlide+xml"/>
  <Override PartName="/ppt/theme/themeOverride466.xml" ContentType="application/vnd.openxmlformats-officedocument.themeOverride+xml"/>
  <Override PartName="/ppt/notesSlides/notesSlide56.xml" ContentType="application/vnd.openxmlformats-officedocument.presentationml.notesSlide+xml"/>
  <Override PartName="/ppt/theme/themeOverride467.xml" ContentType="application/vnd.openxmlformats-officedocument.themeOverride+xml"/>
  <Override PartName="/ppt/notesSlides/notesSlide57.xml" ContentType="application/vnd.openxmlformats-officedocument.presentationml.notesSlide+xml"/>
  <Override PartName="/ppt/theme/themeOverride468.xml" ContentType="application/vnd.openxmlformats-officedocument.themeOverride+xml"/>
  <Override PartName="/ppt/notesSlides/notesSlide58.xml" ContentType="application/vnd.openxmlformats-officedocument.presentationml.notesSlide+xml"/>
  <Override PartName="/ppt/theme/themeOverride469.xml" ContentType="application/vnd.openxmlformats-officedocument.themeOverride+xml"/>
  <Override PartName="/ppt/notesSlides/notesSlide59.xml" ContentType="application/vnd.openxmlformats-officedocument.presentationml.notesSlide+xml"/>
  <Override PartName="/ppt/theme/themeOverride470.xml" ContentType="application/vnd.openxmlformats-officedocument.themeOverride+xml"/>
  <Override PartName="/ppt/notesSlides/notesSlide60.xml" ContentType="application/vnd.openxmlformats-officedocument.presentationml.notesSlide+xml"/>
  <Override PartName="/ppt/theme/themeOverride471.xml" ContentType="application/vnd.openxmlformats-officedocument.themeOverride+xml"/>
  <Override PartName="/ppt/notesSlides/notesSlide61.xml" ContentType="application/vnd.openxmlformats-officedocument.presentationml.notesSlide+xml"/>
  <Override PartName="/ppt/theme/themeOverride472.xml" ContentType="application/vnd.openxmlformats-officedocument.themeOverride+xml"/>
  <Override PartName="/ppt/notesSlides/notesSlide62.xml" ContentType="application/vnd.openxmlformats-officedocument.presentationml.notesSlide+xml"/>
  <Override PartName="/ppt/theme/themeOverride473.xml" ContentType="application/vnd.openxmlformats-officedocument.themeOverride+xml"/>
  <Override PartName="/ppt/notesSlides/notesSlide63.xml" ContentType="application/vnd.openxmlformats-officedocument.presentationml.notesSlide+xml"/>
  <Override PartName="/ppt/theme/themeOverride474.xml" ContentType="application/vnd.openxmlformats-officedocument.themeOverride+xml"/>
  <Override PartName="/ppt/notesSlides/notesSlide64.xml" ContentType="application/vnd.openxmlformats-officedocument.presentationml.notesSlide+xml"/>
  <Override PartName="/ppt/theme/themeOverride475.xml" ContentType="application/vnd.openxmlformats-officedocument.themeOverride+xml"/>
  <Override PartName="/ppt/notesSlides/notesSlide65.xml" ContentType="application/vnd.openxmlformats-officedocument.presentationml.notesSlide+xml"/>
  <Override PartName="/ppt/theme/themeOverride476.xml" ContentType="application/vnd.openxmlformats-officedocument.themeOverride+xml"/>
  <Override PartName="/ppt/notesSlides/notesSlide66.xml" ContentType="application/vnd.openxmlformats-officedocument.presentationml.notesSlide+xml"/>
  <Override PartName="/ppt/theme/themeOverride477.xml" ContentType="application/vnd.openxmlformats-officedocument.themeOverride+xml"/>
  <Override PartName="/ppt/notesSlides/notesSlide67.xml" ContentType="application/vnd.openxmlformats-officedocument.presentationml.notesSlide+xml"/>
  <Override PartName="/ppt/theme/themeOverride478.xml" ContentType="application/vnd.openxmlformats-officedocument.themeOverride+xml"/>
  <Override PartName="/ppt/notesSlides/notesSlide68.xml" ContentType="application/vnd.openxmlformats-officedocument.presentationml.notesSlide+xml"/>
  <Override PartName="/ppt/theme/themeOverride479.xml" ContentType="application/vnd.openxmlformats-officedocument.themeOverride+xml"/>
  <Override PartName="/ppt/notesSlides/notesSlide69.xml" ContentType="application/vnd.openxmlformats-officedocument.presentationml.notesSlide+xml"/>
  <Override PartName="/ppt/theme/themeOverride480.xml" ContentType="application/vnd.openxmlformats-officedocument.themeOverride+xml"/>
  <Override PartName="/ppt/notesSlides/notesSlide70.xml" ContentType="application/vnd.openxmlformats-officedocument.presentationml.notesSlide+xml"/>
  <Override PartName="/ppt/theme/themeOverride481.xml" ContentType="application/vnd.openxmlformats-officedocument.themeOverride+xml"/>
  <Override PartName="/ppt/notesSlides/notesSlide71.xml" ContentType="application/vnd.openxmlformats-officedocument.presentationml.notesSlide+xml"/>
  <Override PartName="/ppt/theme/themeOverride482.xml" ContentType="application/vnd.openxmlformats-officedocument.themeOverride+xml"/>
  <Override PartName="/ppt/notesSlides/notesSlide72.xml" ContentType="application/vnd.openxmlformats-officedocument.presentationml.notesSlide+xml"/>
  <Override PartName="/ppt/theme/themeOverride483.xml" ContentType="application/vnd.openxmlformats-officedocument.themeOverride+xml"/>
  <Override PartName="/ppt/notesSlides/notesSlide73.xml" ContentType="application/vnd.openxmlformats-officedocument.presentationml.notesSlide+xml"/>
  <Override PartName="/ppt/theme/themeOverride484.xml" ContentType="application/vnd.openxmlformats-officedocument.themeOverride+xml"/>
  <Override PartName="/ppt/notesSlides/notesSlide74.xml" ContentType="application/vnd.openxmlformats-officedocument.presentationml.notesSlide+xml"/>
  <Override PartName="/ppt/theme/themeOverride485.xml" ContentType="application/vnd.openxmlformats-officedocument.themeOverride+xml"/>
  <Override PartName="/ppt/notesSlides/notesSlide75.xml" ContentType="application/vnd.openxmlformats-officedocument.presentationml.notesSlide+xml"/>
  <Override PartName="/ppt/theme/themeOverride486.xml" ContentType="application/vnd.openxmlformats-officedocument.themeOverride+xml"/>
  <Override PartName="/ppt/notesSlides/notesSlide76.xml" ContentType="application/vnd.openxmlformats-officedocument.presentationml.notesSlide+xml"/>
  <Override PartName="/ppt/theme/themeOverride487.xml" ContentType="application/vnd.openxmlformats-officedocument.themeOverride+xml"/>
  <Override PartName="/ppt/notesSlides/notesSlide77.xml" ContentType="application/vnd.openxmlformats-officedocument.presentationml.notesSlide+xml"/>
  <Override PartName="/ppt/theme/themeOverride488.xml" ContentType="application/vnd.openxmlformats-officedocument.themeOverride+xml"/>
  <Override PartName="/ppt/notesSlides/notesSlide78.xml" ContentType="application/vnd.openxmlformats-officedocument.presentationml.notesSlide+xml"/>
  <Override PartName="/ppt/theme/themeOverride489.xml" ContentType="application/vnd.openxmlformats-officedocument.themeOverride+xml"/>
  <Override PartName="/ppt/notesSlides/notesSlide79.xml" ContentType="application/vnd.openxmlformats-officedocument.presentationml.notesSlide+xml"/>
  <Override PartName="/ppt/theme/themeOverride490.xml" ContentType="application/vnd.openxmlformats-officedocument.themeOverride+xml"/>
  <Override PartName="/ppt/notesSlides/notesSlide80.xml" ContentType="application/vnd.openxmlformats-officedocument.presentationml.notesSlide+xml"/>
  <Override PartName="/ppt/theme/themeOverride491.xml" ContentType="application/vnd.openxmlformats-officedocument.themeOverride+xml"/>
  <Override PartName="/ppt/notesSlides/notesSlide81.xml" ContentType="application/vnd.openxmlformats-officedocument.presentationml.notesSlide+xml"/>
  <Override PartName="/ppt/theme/themeOverride492.xml" ContentType="application/vnd.openxmlformats-officedocument.themeOverride+xml"/>
  <Override PartName="/ppt/notesSlides/notesSlide82.xml" ContentType="application/vnd.openxmlformats-officedocument.presentationml.notesSlide+xml"/>
  <Override PartName="/ppt/theme/themeOverride493.xml" ContentType="application/vnd.openxmlformats-officedocument.themeOverride+xml"/>
  <Override PartName="/ppt/notesSlides/notesSlide83.xml" ContentType="application/vnd.openxmlformats-officedocument.presentationml.notesSlide+xml"/>
  <Override PartName="/ppt/theme/themeOverride494.xml" ContentType="application/vnd.openxmlformats-officedocument.themeOverride+xml"/>
  <Override PartName="/ppt/notesSlides/notesSlide84.xml" ContentType="application/vnd.openxmlformats-officedocument.presentationml.notesSlide+xml"/>
  <Override PartName="/ppt/theme/themeOverride495.xml" ContentType="application/vnd.openxmlformats-officedocument.themeOverride+xml"/>
  <Override PartName="/ppt/notesSlides/notesSlide85.xml" ContentType="application/vnd.openxmlformats-officedocument.presentationml.notesSlide+xml"/>
  <Override PartName="/ppt/theme/themeOverride496.xml" ContentType="application/vnd.openxmlformats-officedocument.themeOverride+xml"/>
  <Override PartName="/ppt/notesSlides/notesSlide86.xml" ContentType="application/vnd.openxmlformats-officedocument.presentationml.notesSlide+xml"/>
  <Override PartName="/ppt/theme/themeOverride497.xml" ContentType="application/vnd.openxmlformats-officedocument.themeOverride+xml"/>
  <Override PartName="/ppt/notesSlides/notesSlide87.xml" ContentType="application/vnd.openxmlformats-officedocument.presentationml.notesSlide+xml"/>
  <Override PartName="/ppt/theme/themeOverride498.xml" ContentType="application/vnd.openxmlformats-officedocument.themeOverride+xml"/>
  <Override PartName="/ppt/notesSlides/notesSlide88.xml" ContentType="application/vnd.openxmlformats-officedocument.presentationml.notesSlide+xml"/>
  <Override PartName="/ppt/theme/themeOverride499.xml" ContentType="application/vnd.openxmlformats-officedocument.themeOverride+xml"/>
  <Override PartName="/ppt/notesSlides/notesSlide89.xml" ContentType="application/vnd.openxmlformats-officedocument.presentationml.notesSlide+xml"/>
  <Override PartName="/ppt/theme/themeOverride500.xml" ContentType="application/vnd.openxmlformats-officedocument.themeOverride+xml"/>
  <Override PartName="/ppt/notesSlides/notesSlide90.xml" ContentType="application/vnd.openxmlformats-officedocument.presentationml.notesSlide+xml"/>
  <Override PartName="/ppt/theme/themeOverride501.xml" ContentType="application/vnd.openxmlformats-officedocument.themeOverride+xml"/>
  <Override PartName="/ppt/notesSlides/notesSlide91.xml" ContentType="application/vnd.openxmlformats-officedocument.presentationml.notesSlide+xml"/>
  <Override PartName="/ppt/theme/themeOverride502.xml" ContentType="application/vnd.openxmlformats-officedocument.themeOverride+xml"/>
  <Override PartName="/ppt/notesSlides/notesSlide92.xml" ContentType="application/vnd.openxmlformats-officedocument.presentationml.notesSlide+xml"/>
  <Override PartName="/ppt/theme/themeOverride503.xml" ContentType="application/vnd.openxmlformats-officedocument.themeOverride+xml"/>
  <Override PartName="/ppt/notesSlides/notesSlide93.xml" ContentType="application/vnd.openxmlformats-officedocument.presentationml.notesSlide+xml"/>
  <Override PartName="/ppt/theme/themeOverride504.xml" ContentType="application/vnd.openxmlformats-officedocument.themeOverride+xml"/>
  <Override PartName="/ppt/notesSlides/notesSlide94.xml" ContentType="application/vnd.openxmlformats-officedocument.presentationml.notesSlide+xml"/>
  <Override PartName="/ppt/theme/themeOverride505.xml" ContentType="application/vnd.openxmlformats-officedocument.themeOverride+xml"/>
  <Override PartName="/ppt/notesSlides/notesSlide95.xml" ContentType="application/vnd.openxmlformats-officedocument.presentationml.notesSlide+xml"/>
  <Override PartName="/ppt/theme/themeOverride506.xml" ContentType="application/vnd.openxmlformats-officedocument.themeOverride+xml"/>
  <Override PartName="/ppt/notesSlides/notesSlide96.xml" ContentType="application/vnd.openxmlformats-officedocument.presentationml.notesSlide+xml"/>
  <Override PartName="/ppt/theme/themeOverride507.xml" ContentType="application/vnd.openxmlformats-officedocument.themeOverride+xml"/>
  <Override PartName="/ppt/notesSlides/notesSlide97.xml" ContentType="application/vnd.openxmlformats-officedocument.presentationml.notesSlide+xml"/>
  <Override PartName="/ppt/theme/themeOverride508.xml" ContentType="application/vnd.openxmlformats-officedocument.themeOverride+xml"/>
  <Override PartName="/ppt/notesSlides/notesSlide98.xml" ContentType="application/vnd.openxmlformats-officedocument.presentationml.notesSlide+xml"/>
  <Override PartName="/ppt/theme/themeOverride509.xml" ContentType="application/vnd.openxmlformats-officedocument.themeOverride+xml"/>
  <Override PartName="/ppt/notesSlides/notesSlide99.xml" ContentType="application/vnd.openxmlformats-officedocument.presentationml.notesSlide+xml"/>
  <Override PartName="/ppt/theme/themeOverride510.xml" ContentType="application/vnd.openxmlformats-officedocument.themeOverride+xml"/>
  <Override PartName="/ppt/notesSlides/notesSlide100.xml" ContentType="application/vnd.openxmlformats-officedocument.presentationml.notesSlide+xml"/>
  <Override PartName="/ppt/theme/themeOverride511.xml" ContentType="application/vnd.openxmlformats-officedocument.themeOverride+xml"/>
  <Override PartName="/ppt/notesSlides/notesSlide101.xml" ContentType="application/vnd.openxmlformats-officedocument.presentationml.notesSlide+xml"/>
  <Override PartName="/ppt/theme/themeOverride512.xml" ContentType="application/vnd.openxmlformats-officedocument.themeOverride+xml"/>
  <Override PartName="/ppt/notesSlides/notesSlide102.xml" ContentType="application/vnd.openxmlformats-officedocument.presentationml.notesSlide+xml"/>
  <Override PartName="/ppt/theme/themeOverride513.xml" ContentType="application/vnd.openxmlformats-officedocument.themeOverride+xml"/>
  <Override PartName="/ppt/notesSlides/notesSlide103.xml" ContentType="application/vnd.openxmlformats-officedocument.presentationml.notesSlide+xml"/>
  <Override PartName="/ppt/theme/themeOverride514.xml" ContentType="application/vnd.openxmlformats-officedocument.themeOverride+xml"/>
  <Override PartName="/ppt/notesSlides/notesSlide104.xml" ContentType="application/vnd.openxmlformats-officedocument.presentationml.notesSlide+xml"/>
  <Override PartName="/ppt/theme/themeOverride515.xml" ContentType="application/vnd.openxmlformats-officedocument.themeOverride+xml"/>
  <Override PartName="/ppt/notesSlides/notesSlide105.xml" ContentType="application/vnd.openxmlformats-officedocument.presentationml.notesSlide+xml"/>
  <Override PartName="/ppt/theme/themeOverride516.xml" ContentType="application/vnd.openxmlformats-officedocument.themeOverride+xml"/>
  <Override PartName="/ppt/notesSlides/notesSlide106.xml" ContentType="application/vnd.openxmlformats-officedocument.presentationml.notesSlide+xml"/>
  <Override PartName="/ppt/theme/themeOverride517.xml" ContentType="application/vnd.openxmlformats-officedocument.themeOverride+xml"/>
  <Override PartName="/ppt/notesSlides/notesSlide107.xml" ContentType="application/vnd.openxmlformats-officedocument.presentationml.notesSlide+xml"/>
  <Override PartName="/ppt/theme/themeOverride518.xml" ContentType="application/vnd.openxmlformats-officedocument.themeOverride+xml"/>
  <Override PartName="/ppt/notesSlides/notesSlide108.xml" ContentType="application/vnd.openxmlformats-officedocument.presentationml.notesSlide+xml"/>
  <Override PartName="/ppt/theme/themeOverride519.xml" ContentType="application/vnd.openxmlformats-officedocument.themeOverride+xml"/>
  <Override PartName="/ppt/notesSlides/notesSlide109.xml" ContentType="application/vnd.openxmlformats-officedocument.presentationml.notesSlide+xml"/>
  <Override PartName="/ppt/theme/themeOverride520.xml" ContentType="application/vnd.openxmlformats-officedocument.themeOverride+xml"/>
  <Override PartName="/ppt/notesSlides/notesSlide110.xml" ContentType="application/vnd.openxmlformats-officedocument.presentationml.notesSlide+xml"/>
  <Override PartName="/ppt/theme/themeOverride521.xml" ContentType="application/vnd.openxmlformats-officedocument.themeOverride+xml"/>
  <Override PartName="/ppt/notesSlides/notesSlide111.xml" ContentType="application/vnd.openxmlformats-officedocument.presentationml.notesSlide+xml"/>
  <Override PartName="/ppt/theme/themeOverride522.xml" ContentType="application/vnd.openxmlformats-officedocument.themeOverride+xml"/>
  <Override PartName="/ppt/notesSlides/notesSlide112.xml" ContentType="application/vnd.openxmlformats-officedocument.presentationml.notesSlide+xml"/>
  <Override PartName="/ppt/theme/themeOverride523.xml" ContentType="application/vnd.openxmlformats-officedocument.themeOverride+xml"/>
  <Override PartName="/ppt/notesSlides/notesSlide113.xml" ContentType="application/vnd.openxmlformats-officedocument.presentationml.notesSlide+xml"/>
  <Override PartName="/ppt/theme/themeOverride524.xml" ContentType="application/vnd.openxmlformats-officedocument.themeOverride+xml"/>
  <Override PartName="/ppt/notesSlides/notesSlide114.xml" ContentType="application/vnd.openxmlformats-officedocument.presentationml.notesSlide+xml"/>
  <Override PartName="/ppt/theme/themeOverride525.xml" ContentType="application/vnd.openxmlformats-officedocument.themeOverride+xml"/>
  <Override PartName="/ppt/notesSlides/notesSlide115.xml" ContentType="application/vnd.openxmlformats-officedocument.presentationml.notesSlide+xml"/>
  <Override PartName="/ppt/theme/themeOverride526.xml" ContentType="application/vnd.openxmlformats-officedocument.themeOverride+xml"/>
  <Override PartName="/ppt/notesSlides/notesSlide116.xml" ContentType="application/vnd.openxmlformats-officedocument.presentationml.notesSlide+xml"/>
  <Override PartName="/ppt/theme/themeOverride527.xml" ContentType="application/vnd.openxmlformats-officedocument.themeOverride+xml"/>
  <Override PartName="/ppt/notesSlides/notesSlide117.xml" ContentType="application/vnd.openxmlformats-officedocument.presentationml.notesSlide+xml"/>
  <Override PartName="/ppt/theme/themeOverride528.xml" ContentType="application/vnd.openxmlformats-officedocument.themeOverride+xml"/>
  <Override PartName="/ppt/notesSlides/notesSlide118.xml" ContentType="application/vnd.openxmlformats-officedocument.presentationml.notesSlide+xml"/>
  <Override PartName="/ppt/theme/themeOverride529.xml" ContentType="application/vnd.openxmlformats-officedocument.themeOverride+xml"/>
  <Override PartName="/ppt/notesSlides/notesSlide119.xml" ContentType="application/vnd.openxmlformats-officedocument.presentationml.notesSlide+xml"/>
  <Override PartName="/ppt/theme/themeOverride530.xml" ContentType="application/vnd.openxmlformats-officedocument.themeOverride+xml"/>
  <Override PartName="/ppt/notesSlides/notesSlide120.xml" ContentType="application/vnd.openxmlformats-officedocument.presentationml.notesSlide+xml"/>
  <Override PartName="/ppt/theme/themeOverride531.xml" ContentType="application/vnd.openxmlformats-officedocument.themeOverride+xml"/>
  <Override PartName="/ppt/notesSlides/notesSlide121.xml" ContentType="application/vnd.openxmlformats-officedocument.presentationml.notesSlide+xml"/>
  <Override PartName="/ppt/theme/themeOverride532.xml" ContentType="application/vnd.openxmlformats-officedocument.themeOverride+xml"/>
  <Override PartName="/ppt/notesSlides/notesSlide122.xml" ContentType="application/vnd.openxmlformats-officedocument.presentationml.notesSlide+xml"/>
  <Override PartName="/ppt/theme/themeOverride533.xml" ContentType="application/vnd.openxmlformats-officedocument.themeOverride+xml"/>
  <Override PartName="/ppt/notesSlides/notesSlide123.xml" ContentType="application/vnd.openxmlformats-officedocument.presentationml.notesSlide+xml"/>
  <Override PartName="/ppt/theme/themeOverride534.xml" ContentType="application/vnd.openxmlformats-officedocument.themeOverride+xml"/>
  <Override PartName="/ppt/notesSlides/notesSlide124.xml" ContentType="application/vnd.openxmlformats-officedocument.presentationml.notesSlide+xml"/>
  <Override PartName="/ppt/theme/themeOverride535.xml" ContentType="application/vnd.openxmlformats-officedocument.themeOverride+xml"/>
  <Override PartName="/ppt/notesSlides/notesSlide125.xml" ContentType="application/vnd.openxmlformats-officedocument.presentationml.notesSlide+xml"/>
  <Override PartName="/ppt/theme/themeOverride536.xml" ContentType="application/vnd.openxmlformats-officedocument.themeOverride+xml"/>
  <Override PartName="/ppt/notesSlides/notesSlide126.xml" ContentType="application/vnd.openxmlformats-officedocument.presentationml.notesSlide+xml"/>
  <Override PartName="/ppt/theme/themeOverride537.xml" ContentType="application/vnd.openxmlformats-officedocument.themeOverride+xml"/>
  <Override PartName="/ppt/notesSlides/notesSlide127.xml" ContentType="application/vnd.openxmlformats-officedocument.presentationml.notesSlide+xml"/>
  <Override PartName="/ppt/theme/themeOverride538.xml" ContentType="application/vnd.openxmlformats-officedocument.themeOverride+xml"/>
  <Override PartName="/ppt/notesSlides/notesSlide128.xml" ContentType="application/vnd.openxmlformats-officedocument.presentationml.notesSlide+xml"/>
  <Override PartName="/ppt/theme/themeOverride539.xml" ContentType="application/vnd.openxmlformats-officedocument.themeOverride+xml"/>
  <Override PartName="/ppt/notesSlides/notesSlide129.xml" ContentType="application/vnd.openxmlformats-officedocument.presentationml.notesSlide+xml"/>
  <Override PartName="/ppt/theme/themeOverride540.xml" ContentType="application/vnd.openxmlformats-officedocument.themeOverride+xml"/>
  <Override PartName="/ppt/notesSlides/notesSlide130.xml" ContentType="application/vnd.openxmlformats-officedocument.presentationml.notesSlide+xml"/>
  <Override PartName="/ppt/theme/themeOverride541.xml" ContentType="application/vnd.openxmlformats-officedocument.themeOverride+xml"/>
  <Override PartName="/ppt/notesSlides/notesSlide131.xml" ContentType="application/vnd.openxmlformats-officedocument.presentationml.notesSlide+xml"/>
  <Override PartName="/ppt/theme/themeOverride542.xml" ContentType="application/vnd.openxmlformats-officedocument.themeOverride+xml"/>
  <Override PartName="/ppt/notesSlides/notesSlide132.xml" ContentType="application/vnd.openxmlformats-officedocument.presentationml.notesSlide+xml"/>
  <Override PartName="/ppt/theme/themeOverride543.xml" ContentType="application/vnd.openxmlformats-officedocument.themeOverride+xml"/>
  <Override PartName="/ppt/notesSlides/notesSlide133.xml" ContentType="application/vnd.openxmlformats-officedocument.presentationml.notesSlide+xml"/>
  <Override PartName="/ppt/theme/themeOverride544.xml" ContentType="application/vnd.openxmlformats-officedocument.themeOverride+xml"/>
  <Override PartName="/ppt/notesSlides/notesSlide134.xml" ContentType="application/vnd.openxmlformats-officedocument.presentationml.notesSlide+xml"/>
  <Override PartName="/ppt/theme/themeOverride545.xml" ContentType="application/vnd.openxmlformats-officedocument.themeOverride+xml"/>
  <Override PartName="/ppt/notesSlides/notesSlide135.xml" ContentType="application/vnd.openxmlformats-officedocument.presentationml.notesSlide+xml"/>
  <Override PartName="/ppt/theme/themeOverride546.xml" ContentType="application/vnd.openxmlformats-officedocument.themeOverride+xml"/>
  <Override PartName="/ppt/notesSlides/notesSlide136.xml" ContentType="application/vnd.openxmlformats-officedocument.presentationml.notesSlide+xml"/>
  <Override PartName="/ppt/theme/themeOverride547.xml" ContentType="application/vnd.openxmlformats-officedocument.themeOverride+xml"/>
  <Override PartName="/ppt/notesSlides/notesSlide137.xml" ContentType="application/vnd.openxmlformats-officedocument.presentationml.notesSlide+xml"/>
  <Override PartName="/ppt/theme/themeOverride548.xml" ContentType="application/vnd.openxmlformats-officedocument.themeOverride+xml"/>
  <Override PartName="/ppt/notesSlides/notesSlide138.xml" ContentType="application/vnd.openxmlformats-officedocument.presentationml.notesSlide+xml"/>
  <Override PartName="/ppt/theme/themeOverride549.xml" ContentType="application/vnd.openxmlformats-officedocument.themeOverride+xml"/>
  <Override PartName="/ppt/notesSlides/notesSlide139.xml" ContentType="application/vnd.openxmlformats-officedocument.presentationml.notesSlide+xml"/>
  <Override PartName="/ppt/theme/themeOverride550.xml" ContentType="application/vnd.openxmlformats-officedocument.themeOverride+xml"/>
  <Override PartName="/ppt/tags/tag117.xml" ContentType="application/vnd.openxmlformats-officedocument.presentationml.tags+xml"/>
  <Override PartName="/ppt/notesSlides/notesSlide140.xml" ContentType="application/vnd.openxmlformats-officedocument.presentationml.notesSlide+xml"/>
  <Override PartName="/ppt/theme/themeOverride551.xml" ContentType="application/vnd.openxmlformats-officedocument.themeOverride+xml"/>
  <Override PartName="/ppt/notesSlides/notesSlide141.xml" ContentType="application/vnd.openxmlformats-officedocument.presentationml.notesSlide+xml"/>
  <Override PartName="/ppt/theme/themeOverride552.xml" ContentType="application/vnd.openxmlformats-officedocument.themeOverride+xml"/>
  <Override PartName="/ppt/notesSlides/notesSlide142.xml" ContentType="application/vnd.openxmlformats-officedocument.presentationml.notesSlide+xml"/>
  <Override PartName="/ppt/theme/themeOverride553.xml" ContentType="application/vnd.openxmlformats-officedocument.themeOverride+xml"/>
  <Override PartName="/ppt/notesSlides/notesSlide143.xml" ContentType="application/vnd.openxmlformats-officedocument.presentationml.notesSlide+xml"/>
  <Override PartName="/ppt/theme/themeOverride554.xml" ContentType="application/vnd.openxmlformats-officedocument.themeOverride+xml"/>
  <Override PartName="/ppt/notesSlides/notesSlide144.xml" ContentType="application/vnd.openxmlformats-officedocument.presentationml.notesSlide+xml"/>
  <Override PartName="/ppt/theme/themeOverride555.xml" ContentType="application/vnd.openxmlformats-officedocument.themeOverride+xml"/>
  <Override PartName="/ppt/notesSlides/notesSlide145.xml" ContentType="application/vnd.openxmlformats-officedocument.presentationml.notesSlide+xml"/>
  <Override PartName="/ppt/theme/themeOverride556.xml" ContentType="application/vnd.openxmlformats-officedocument.themeOverride+xml"/>
  <Override PartName="/ppt/notesSlides/notesSlide146.xml" ContentType="application/vnd.openxmlformats-officedocument.presentationml.notesSlide+xml"/>
  <Override PartName="/ppt/theme/themeOverride557.xml" ContentType="application/vnd.openxmlformats-officedocument.themeOverride+xml"/>
  <Override PartName="/ppt/notesSlides/notesSlide147.xml" ContentType="application/vnd.openxmlformats-officedocument.presentationml.notesSlide+xml"/>
  <Override PartName="/ppt/theme/themeOverride558.xml" ContentType="application/vnd.openxmlformats-officedocument.themeOverride+xml"/>
  <Override PartName="/ppt/notesSlides/notesSlide148.xml" ContentType="application/vnd.openxmlformats-officedocument.presentationml.notesSlide+xml"/>
  <Override PartName="/ppt/theme/themeOverride559.xml" ContentType="application/vnd.openxmlformats-officedocument.themeOverride+xml"/>
  <Override PartName="/ppt/notesSlides/notesSlide149.xml" ContentType="application/vnd.openxmlformats-officedocument.presentationml.notesSlide+xml"/>
  <Override PartName="/ppt/theme/themeOverride560.xml" ContentType="application/vnd.openxmlformats-officedocument.themeOverride+xml"/>
  <Override PartName="/ppt/notesSlides/notesSlide150.xml" ContentType="application/vnd.openxmlformats-officedocument.presentationml.notesSlide+xml"/>
  <Override PartName="/ppt/theme/themeOverride561.xml" ContentType="application/vnd.openxmlformats-officedocument.themeOverride+xml"/>
  <Override PartName="/ppt/notesSlides/notesSlide151.xml" ContentType="application/vnd.openxmlformats-officedocument.presentationml.notesSlide+xml"/>
  <Override PartName="/ppt/theme/themeOverride562.xml" ContentType="application/vnd.openxmlformats-officedocument.themeOverride+xml"/>
  <Override PartName="/ppt/notesSlides/notesSlide152.xml" ContentType="application/vnd.openxmlformats-officedocument.presentationml.notesSlide+xml"/>
  <Override PartName="/ppt/theme/themeOverride563.xml" ContentType="application/vnd.openxmlformats-officedocument.themeOverride+xml"/>
  <Override PartName="/ppt/notesSlides/notesSlide153.xml" ContentType="application/vnd.openxmlformats-officedocument.presentationml.notesSlide+xml"/>
  <Override PartName="/ppt/theme/themeOverride564.xml" ContentType="application/vnd.openxmlformats-officedocument.themeOverride+xml"/>
  <Override PartName="/ppt/notesSlides/notesSlide154.xml" ContentType="application/vnd.openxmlformats-officedocument.presentationml.notesSlide+xml"/>
  <Override PartName="/ppt/theme/themeOverride565.xml" ContentType="application/vnd.openxmlformats-officedocument.themeOverride+xml"/>
  <Override PartName="/ppt/notesSlides/notesSlide155.xml" ContentType="application/vnd.openxmlformats-officedocument.presentationml.notesSlide+xml"/>
  <Override PartName="/ppt/theme/themeOverride566.xml" ContentType="application/vnd.openxmlformats-officedocument.themeOverride+xml"/>
  <Override PartName="/ppt/notesSlides/notesSlide156.xml" ContentType="application/vnd.openxmlformats-officedocument.presentationml.notesSlide+xml"/>
  <Override PartName="/ppt/theme/themeOverride567.xml" ContentType="application/vnd.openxmlformats-officedocument.themeOverride+xml"/>
  <Override PartName="/ppt/notesSlides/notesSlide157.xml" ContentType="application/vnd.openxmlformats-officedocument.presentationml.notesSlide+xml"/>
  <Override PartName="/ppt/theme/themeOverride568.xml" ContentType="application/vnd.openxmlformats-officedocument.themeOverride+xml"/>
  <Override PartName="/ppt/notesSlides/notesSlide158.xml" ContentType="application/vnd.openxmlformats-officedocument.presentationml.notesSlide+xml"/>
  <Override PartName="/ppt/theme/themeOverride569.xml" ContentType="application/vnd.openxmlformats-officedocument.themeOverride+xml"/>
  <Override PartName="/ppt/notesSlides/notesSlide159.xml" ContentType="application/vnd.openxmlformats-officedocument.presentationml.notesSlide+xml"/>
  <Override PartName="/ppt/theme/themeOverride570.xml" ContentType="application/vnd.openxmlformats-officedocument.themeOverride+xml"/>
  <Override PartName="/ppt/notesSlides/notesSlide160.xml" ContentType="application/vnd.openxmlformats-officedocument.presentationml.notesSlide+xml"/>
  <Override PartName="/ppt/theme/themeOverride571.xml" ContentType="application/vnd.openxmlformats-officedocument.themeOverride+xml"/>
  <Override PartName="/ppt/notesSlides/notesSlide161.xml" ContentType="application/vnd.openxmlformats-officedocument.presentationml.notesSlide+xml"/>
  <Override PartName="/ppt/theme/themeOverride572.xml" ContentType="application/vnd.openxmlformats-officedocument.themeOverride+xml"/>
  <Override PartName="/ppt/notesSlides/notesSlide162.xml" ContentType="application/vnd.openxmlformats-officedocument.presentationml.notesSlide+xml"/>
  <Override PartName="/ppt/theme/themeOverride573.xml" ContentType="application/vnd.openxmlformats-officedocument.themeOverride+xml"/>
  <Override PartName="/ppt/notesSlides/notesSlide163.xml" ContentType="application/vnd.openxmlformats-officedocument.presentationml.notesSlide+xml"/>
  <Override PartName="/ppt/theme/themeOverride574.xml" ContentType="application/vnd.openxmlformats-officedocument.themeOverride+xml"/>
  <Override PartName="/ppt/tags/tag118.xml" ContentType="application/vnd.openxmlformats-officedocument.presentationml.tags+xml"/>
  <Override PartName="/ppt/notesSlides/notesSlide164.xml" ContentType="application/vnd.openxmlformats-officedocument.presentationml.notesSlide+xml"/>
  <Override PartName="/ppt/theme/themeOverride575.xml" ContentType="application/vnd.openxmlformats-officedocument.themeOverride+xml"/>
  <Override PartName="/ppt/notesSlides/notesSlide165.xml" ContentType="application/vnd.openxmlformats-officedocument.presentationml.notesSlide+xml"/>
  <Override PartName="/ppt/theme/themeOverride576.xml" ContentType="application/vnd.openxmlformats-officedocument.themeOverride+xml"/>
  <Override PartName="/ppt/notesSlides/notesSlide166.xml" ContentType="application/vnd.openxmlformats-officedocument.presentationml.notesSlide+xml"/>
  <Override PartName="/ppt/theme/themeOverride577.xml" ContentType="application/vnd.openxmlformats-officedocument.themeOverride+xml"/>
  <Override PartName="/ppt/notesSlides/notesSlide167.xml" ContentType="application/vnd.openxmlformats-officedocument.presentationml.notesSlide+xml"/>
  <Override PartName="/ppt/theme/themeOverride578.xml" ContentType="application/vnd.openxmlformats-officedocument.themeOverride+xml"/>
  <Override PartName="/ppt/notesSlides/notesSlide168.xml" ContentType="application/vnd.openxmlformats-officedocument.presentationml.notesSlide+xml"/>
  <Override PartName="/ppt/theme/themeOverride579.xml" ContentType="application/vnd.openxmlformats-officedocument.themeOverride+xml"/>
  <Override PartName="/ppt/notesSlides/notesSlide169.xml" ContentType="application/vnd.openxmlformats-officedocument.presentationml.notesSlide+xml"/>
  <Override PartName="/ppt/theme/themeOverride580.xml" ContentType="application/vnd.openxmlformats-officedocument.themeOverride+xml"/>
  <Override PartName="/ppt/notesSlides/notesSlide170.xml" ContentType="application/vnd.openxmlformats-officedocument.presentationml.notesSlide+xml"/>
  <Override PartName="/ppt/theme/themeOverride581.xml" ContentType="application/vnd.openxmlformats-officedocument.themeOverride+xml"/>
  <Override PartName="/ppt/notesSlides/notesSlide171.xml" ContentType="application/vnd.openxmlformats-officedocument.presentationml.notesSlide+xml"/>
  <Override PartName="/ppt/theme/themeOverride582.xml" ContentType="application/vnd.openxmlformats-officedocument.themeOverride+xml"/>
  <Override PartName="/ppt/notesSlides/notesSlide172.xml" ContentType="application/vnd.openxmlformats-officedocument.presentationml.notesSlide+xml"/>
  <Override PartName="/ppt/theme/themeOverride583.xml" ContentType="application/vnd.openxmlformats-officedocument.themeOverride+xml"/>
  <Override PartName="/ppt/notesSlides/notesSlide173.xml" ContentType="application/vnd.openxmlformats-officedocument.presentationml.notesSlide+xml"/>
  <Override PartName="/ppt/theme/themeOverride584.xml" ContentType="application/vnd.openxmlformats-officedocument.themeOverride+xml"/>
  <Override PartName="/ppt/notesSlides/notesSlide174.xml" ContentType="application/vnd.openxmlformats-officedocument.presentationml.notesSlide+xml"/>
  <Override PartName="/ppt/theme/themeOverride585.xml" ContentType="application/vnd.openxmlformats-officedocument.themeOverride+xml"/>
  <Override PartName="/ppt/notesSlides/notesSlide175.xml" ContentType="application/vnd.openxmlformats-officedocument.presentationml.notesSlide+xml"/>
  <Override PartName="/ppt/theme/themeOverride586.xml" ContentType="application/vnd.openxmlformats-officedocument.themeOverride+xml"/>
  <Override PartName="/ppt/notesSlides/notesSlide176.xml" ContentType="application/vnd.openxmlformats-officedocument.presentationml.notesSlide+xml"/>
  <Override PartName="/ppt/theme/themeOverride587.xml" ContentType="application/vnd.openxmlformats-officedocument.themeOverride+xml"/>
  <Override PartName="/ppt/notesSlides/notesSlide177.xml" ContentType="application/vnd.openxmlformats-officedocument.presentationml.notesSlide+xml"/>
  <Override PartName="/ppt/theme/themeOverride588.xml" ContentType="application/vnd.openxmlformats-officedocument.themeOverride+xml"/>
  <Override PartName="/ppt/notesSlides/notesSlide178.xml" ContentType="application/vnd.openxmlformats-officedocument.presentationml.notesSlide+xml"/>
  <Override PartName="/ppt/theme/themeOverride589.xml" ContentType="application/vnd.openxmlformats-officedocument.themeOverride+xml"/>
  <Override PartName="/ppt/notesSlides/notesSlide179.xml" ContentType="application/vnd.openxmlformats-officedocument.presentationml.notesSlide+xml"/>
  <Override PartName="/ppt/theme/themeOverride590.xml" ContentType="application/vnd.openxmlformats-officedocument.themeOverride+xml"/>
  <Override PartName="/ppt/notesSlides/notesSlide180.xml" ContentType="application/vnd.openxmlformats-officedocument.presentationml.notesSlide+xml"/>
  <Override PartName="/ppt/theme/themeOverride591.xml" ContentType="application/vnd.openxmlformats-officedocument.themeOverride+xml"/>
  <Override PartName="/ppt/notesSlides/notesSlide181.xml" ContentType="application/vnd.openxmlformats-officedocument.presentationml.notesSlide+xml"/>
  <Override PartName="/ppt/theme/themeOverride592.xml" ContentType="application/vnd.openxmlformats-officedocument.themeOverride+xml"/>
  <Override PartName="/ppt/notesSlides/notesSlide182.xml" ContentType="application/vnd.openxmlformats-officedocument.presentationml.notesSlide+xml"/>
  <Override PartName="/ppt/theme/themeOverride593.xml" ContentType="application/vnd.openxmlformats-officedocument.themeOverride+xml"/>
  <Override PartName="/ppt/notesSlides/notesSlide183.xml" ContentType="application/vnd.openxmlformats-officedocument.presentationml.notesSlide+xml"/>
  <Override PartName="/ppt/theme/themeOverride594.xml" ContentType="application/vnd.openxmlformats-officedocument.themeOverride+xml"/>
  <Override PartName="/ppt/notesSlides/notesSlide184.xml" ContentType="application/vnd.openxmlformats-officedocument.presentationml.notesSlide+xml"/>
  <Override PartName="/ppt/theme/themeOverride595.xml" ContentType="application/vnd.openxmlformats-officedocument.themeOverride+xml"/>
  <Override PartName="/ppt/notesSlides/notesSlide185.xml" ContentType="application/vnd.openxmlformats-officedocument.presentationml.notesSlide+xml"/>
  <Override PartName="/ppt/theme/themeOverride596.xml" ContentType="application/vnd.openxmlformats-officedocument.themeOverride+xml"/>
  <Override PartName="/ppt/notesSlides/notesSlide186.xml" ContentType="application/vnd.openxmlformats-officedocument.presentationml.notesSlide+xml"/>
  <Override PartName="/ppt/theme/themeOverride597.xml" ContentType="application/vnd.openxmlformats-officedocument.themeOverride+xml"/>
  <Override PartName="/ppt/notesSlides/notesSlide187.xml" ContentType="application/vnd.openxmlformats-officedocument.presentationml.notesSlide+xml"/>
  <Override PartName="/ppt/theme/themeOverride598.xml" ContentType="application/vnd.openxmlformats-officedocument.themeOverride+xml"/>
  <Override PartName="/ppt/notesSlides/notesSlide188.xml" ContentType="application/vnd.openxmlformats-officedocument.presentationml.notesSlide+xml"/>
  <Override PartName="/ppt/theme/themeOverride599.xml" ContentType="application/vnd.openxmlformats-officedocument.themeOverride+xml"/>
  <Override PartName="/ppt/notesSlides/notesSlide189.xml" ContentType="application/vnd.openxmlformats-officedocument.presentationml.notesSlide+xml"/>
  <Override PartName="/ppt/theme/themeOverride600.xml" ContentType="application/vnd.openxmlformats-officedocument.themeOverride+xml"/>
  <Override PartName="/ppt/notesSlides/notesSlide190.xml" ContentType="application/vnd.openxmlformats-officedocument.presentationml.notesSlide+xml"/>
  <Override PartName="/ppt/theme/themeOverride601.xml" ContentType="application/vnd.openxmlformats-officedocument.themeOverride+xml"/>
  <Override PartName="/ppt/notesSlides/notesSlide191.xml" ContentType="application/vnd.openxmlformats-officedocument.presentationml.notesSlide+xml"/>
  <Override PartName="/ppt/theme/themeOverride602.xml" ContentType="application/vnd.openxmlformats-officedocument.themeOverride+xml"/>
  <Override PartName="/ppt/notesSlides/notesSlide192.xml" ContentType="application/vnd.openxmlformats-officedocument.presentationml.notesSlide+xml"/>
  <Override PartName="/ppt/theme/themeOverride603.xml" ContentType="application/vnd.openxmlformats-officedocument.themeOverride+xml"/>
  <Override PartName="/ppt/notesSlides/notesSlide193.xml" ContentType="application/vnd.openxmlformats-officedocument.presentationml.notesSlide+xml"/>
  <Override PartName="/ppt/theme/themeOverride604.xml" ContentType="application/vnd.openxmlformats-officedocument.themeOverride+xml"/>
  <Override PartName="/ppt/notesSlides/notesSlide194.xml" ContentType="application/vnd.openxmlformats-officedocument.presentationml.notesSlide+xml"/>
  <Override PartName="/ppt/theme/themeOverride605.xml" ContentType="application/vnd.openxmlformats-officedocument.themeOverride+xml"/>
  <Override PartName="/ppt/notesSlides/notesSlide195.xml" ContentType="application/vnd.openxmlformats-officedocument.presentationml.notesSlide+xml"/>
  <Override PartName="/ppt/theme/themeOverride606.xml" ContentType="application/vnd.openxmlformats-officedocument.themeOverride+xml"/>
  <Override PartName="/ppt/notesSlides/notesSlide196.xml" ContentType="application/vnd.openxmlformats-officedocument.presentationml.notesSlide+xml"/>
  <Override PartName="/ppt/theme/themeOverride607.xml" ContentType="application/vnd.openxmlformats-officedocument.themeOverride+xml"/>
  <Override PartName="/ppt/notesSlides/notesSlide197.xml" ContentType="application/vnd.openxmlformats-officedocument.presentationml.notesSlide+xml"/>
  <Override PartName="/ppt/theme/themeOverride608.xml" ContentType="application/vnd.openxmlformats-officedocument.themeOverride+xml"/>
  <Override PartName="/ppt/notesSlides/notesSlide198.xml" ContentType="application/vnd.openxmlformats-officedocument.presentationml.notesSlide+xml"/>
  <Override PartName="/ppt/theme/themeOverride609.xml" ContentType="application/vnd.openxmlformats-officedocument.themeOverride+xml"/>
  <Override PartName="/ppt/notesSlides/notesSlide199.xml" ContentType="application/vnd.openxmlformats-officedocument.presentationml.notesSlide+xml"/>
  <Override PartName="/ppt/theme/themeOverride610.xml" ContentType="application/vnd.openxmlformats-officedocument.themeOverride+xml"/>
  <Override PartName="/ppt/notesSlides/notesSlide200.xml" ContentType="application/vnd.openxmlformats-officedocument.presentationml.notesSlide+xml"/>
  <Override PartName="/ppt/theme/themeOverride611.xml" ContentType="application/vnd.openxmlformats-officedocument.themeOverride+xml"/>
  <Override PartName="/ppt/notesSlides/notesSlide201.xml" ContentType="application/vnd.openxmlformats-officedocument.presentationml.notesSlide+xml"/>
  <Override PartName="/ppt/theme/themeOverride612.xml" ContentType="application/vnd.openxmlformats-officedocument.themeOverride+xml"/>
  <Override PartName="/ppt/notesSlides/notesSlide202.xml" ContentType="application/vnd.openxmlformats-officedocument.presentationml.notesSlide+xml"/>
  <Override PartName="/ppt/theme/themeOverride613.xml" ContentType="application/vnd.openxmlformats-officedocument.themeOverride+xml"/>
  <Override PartName="/ppt/notesSlides/notesSlide203.xml" ContentType="application/vnd.openxmlformats-officedocument.presentationml.notesSlide+xml"/>
  <Override PartName="/ppt/theme/themeOverride614.xml" ContentType="application/vnd.openxmlformats-officedocument.themeOverride+xml"/>
  <Override PartName="/ppt/notesSlides/notesSlide204.xml" ContentType="application/vnd.openxmlformats-officedocument.presentationml.notesSlide+xml"/>
  <Override PartName="/ppt/theme/themeOverride615.xml" ContentType="application/vnd.openxmlformats-officedocument.themeOverride+xml"/>
  <Override PartName="/ppt/notesSlides/notesSlide205.xml" ContentType="application/vnd.openxmlformats-officedocument.presentationml.notesSlide+xml"/>
  <Override PartName="/ppt/theme/themeOverride616.xml" ContentType="application/vnd.openxmlformats-officedocument.themeOverride+xml"/>
  <Override PartName="/ppt/notesSlides/notesSlide206.xml" ContentType="application/vnd.openxmlformats-officedocument.presentationml.notesSlide+xml"/>
  <Override PartName="/ppt/theme/themeOverride617.xml" ContentType="application/vnd.openxmlformats-officedocument.themeOverride+xml"/>
  <Override PartName="/ppt/notesSlides/notesSlide207.xml" ContentType="application/vnd.openxmlformats-officedocument.presentationml.notesSlide+xml"/>
  <Override PartName="/ppt/theme/themeOverride618.xml" ContentType="application/vnd.openxmlformats-officedocument.themeOverride+xml"/>
  <Override PartName="/ppt/notesSlides/notesSlide208.xml" ContentType="application/vnd.openxmlformats-officedocument.presentationml.notesSlide+xml"/>
  <Override PartName="/ppt/theme/themeOverride619.xml" ContentType="application/vnd.openxmlformats-officedocument.themeOverride+xml"/>
  <Override PartName="/ppt/notesSlides/notesSlide209.xml" ContentType="application/vnd.openxmlformats-officedocument.presentationml.notesSlide+xml"/>
  <Override PartName="/ppt/theme/themeOverride620.xml" ContentType="application/vnd.openxmlformats-officedocument.themeOverride+xml"/>
  <Override PartName="/ppt/notesSlides/notesSlide210.xml" ContentType="application/vnd.openxmlformats-officedocument.presentationml.notesSlide+xml"/>
  <Override PartName="/ppt/theme/themeOverride621.xml" ContentType="application/vnd.openxmlformats-officedocument.themeOverride+xml"/>
  <Override PartName="/ppt/notesSlides/notesSlide211.xml" ContentType="application/vnd.openxmlformats-officedocument.presentationml.notesSlide+xml"/>
  <Override PartName="/ppt/theme/themeOverride622.xml" ContentType="application/vnd.openxmlformats-officedocument.themeOverride+xml"/>
  <Override PartName="/ppt/notesSlides/notesSlide212.xml" ContentType="application/vnd.openxmlformats-officedocument.presentationml.notesSlide+xml"/>
  <Override PartName="/ppt/theme/themeOverride623.xml" ContentType="application/vnd.openxmlformats-officedocument.themeOverride+xml"/>
  <Override PartName="/ppt/notesSlides/notesSlide213.xml" ContentType="application/vnd.openxmlformats-officedocument.presentationml.notesSlide+xml"/>
  <Override PartName="/ppt/theme/themeOverride624.xml" ContentType="application/vnd.openxmlformats-officedocument.themeOverride+xml"/>
  <Override PartName="/ppt/notesSlides/notesSlide214.xml" ContentType="application/vnd.openxmlformats-officedocument.presentationml.notesSlide+xml"/>
  <Override PartName="/ppt/theme/themeOverride625.xml" ContentType="application/vnd.openxmlformats-officedocument.themeOverride+xml"/>
  <Override PartName="/ppt/notesSlides/notesSlide215.xml" ContentType="application/vnd.openxmlformats-officedocument.presentationml.notesSlide+xml"/>
  <Override PartName="/ppt/theme/themeOverride626.xml" ContentType="application/vnd.openxmlformats-officedocument.themeOverride+xml"/>
  <Override PartName="/ppt/notesSlides/notesSlide216.xml" ContentType="application/vnd.openxmlformats-officedocument.presentationml.notesSlide+xml"/>
  <Override PartName="/ppt/theme/themeOverride627.xml" ContentType="application/vnd.openxmlformats-officedocument.themeOverride+xml"/>
  <Override PartName="/ppt/notesSlides/notesSlide217.xml" ContentType="application/vnd.openxmlformats-officedocument.presentationml.notesSlide+xml"/>
  <Override PartName="/ppt/theme/themeOverride628.xml" ContentType="application/vnd.openxmlformats-officedocument.themeOverride+xml"/>
  <Override PartName="/ppt/notesSlides/notesSlide218.xml" ContentType="application/vnd.openxmlformats-officedocument.presentationml.notesSlide+xml"/>
  <Override PartName="/ppt/theme/themeOverride629.xml" ContentType="application/vnd.openxmlformats-officedocument.themeOverride+xml"/>
  <Override PartName="/ppt/notesSlides/notesSlide219.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630.xml" ContentType="application/vnd.openxmlformats-officedocument.themeOverride+xml"/>
  <Override PartName="/ppt/notesSlides/notesSlide220.xml" ContentType="application/vnd.openxmlformats-officedocument.presentationml.notesSlide+xml"/>
  <Override PartName="/ppt/theme/themeOverride631.xml" ContentType="application/vnd.openxmlformats-officedocument.themeOverride+xml"/>
  <Override PartName="/ppt/notesSlides/notesSlide221.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theme/themeOverride632.xml" ContentType="application/vnd.openxmlformats-officedocument.themeOverride+xml"/>
  <Override PartName="/ppt/notesSlides/notesSlide222.xml" ContentType="application/vnd.openxmlformats-officedocument.presentationml.notesSlide+xml"/>
  <Override PartName="/ppt/theme/themeOverride633.xml" ContentType="application/vnd.openxmlformats-officedocument.themeOverride+xml"/>
  <Override PartName="/ppt/notesSlides/notesSlide223.xml" ContentType="application/vnd.openxmlformats-officedocument.presentationml.notesSlide+xml"/>
  <Override PartName="/ppt/theme/themeOverride634.xml" ContentType="application/vnd.openxmlformats-officedocument.themeOverride+xml"/>
  <Override PartName="/ppt/notesSlides/notesSlide224.xml" ContentType="application/vnd.openxmlformats-officedocument.presentationml.notesSlide+xml"/>
  <Override PartName="/ppt/theme/themeOverride635.xml" ContentType="application/vnd.openxmlformats-officedocument.themeOverride+xml"/>
  <Override PartName="/ppt/notesSlides/notesSlide225.xml" ContentType="application/vnd.openxmlformats-officedocument.presentationml.notesSlide+xml"/>
  <Override PartName="/ppt/theme/themeOverride636.xml" ContentType="application/vnd.openxmlformats-officedocument.themeOverride+xml"/>
  <Override PartName="/ppt/notesSlides/notesSlide226.xml" ContentType="application/vnd.openxmlformats-officedocument.presentationml.notesSlide+xml"/>
  <Override PartName="/ppt/theme/themeOverride637.xml" ContentType="application/vnd.openxmlformats-officedocument.themeOverride+xml"/>
  <Override PartName="/ppt/notesSlides/notesSlide227.xml" ContentType="application/vnd.openxmlformats-officedocument.presentationml.notesSlide+xml"/>
  <Override PartName="/ppt/theme/themeOverride638.xml" ContentType="application/vnd.openxmlformats-officedocument.themeOverride+xml"/>
  <Override PartName="/ppt/notesSlides/notesSlide228.xml" ContentType="application/vnd.openxmlformats-officedocument.presentationml.notesSlid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theme/themeOverride639.xml" ContentType="application/vnd.openxmlformats-officedocument.themeOverride+xml"/>
  <Override PartName="/ppt/notesSlides/notesSlide229.xml" ContentType="application/vnd.openxmlformats-officedocument.presentationml.notesSlide+xml"/>
  <Override PartName="/ppt/theme/themeOverride640.xml" ContentType="application/vnd.openxmlformats-officedocument.themeOverride+xml"/>
  <Override PartName="/ppt/notesSlides/notesSlide230.xml" ContentType="application/vnd.openxmlformats-officedocument.presentationml.notesSlide+xml"/>
  <Override PartName="/ppt/theme/themeOverride641.xml" ContentType="application/vnd.openxmlformats-officedocument.themeOverride+xml"/>
  <Override PartName="/ppt/notesSlides/notesSlide231.xml" ContentType="application/vnd.openxmlformats-officedocument.presentationml.notesSlide+xml"/>
  <Override PartName="/ppt/theme/themeOverride642.xml" ContentType="application/vnd.openxmlformats-officedocument.themeOverride+xml"/>
  <Override PartName="/ppt/notesSlides/notesSlide232.xml" ContentType="application/vnd.openxmlformats-officedocument.presentationml.notesSlide+xml"/>
  <Override PartName="/ppt/theme/themeOverride643.xml" ContentType="application/vnd.openxmlformats-officedocument.themeOverride+xml"/>
  <Override PartName="/ppt/notesSlides/notesSlide233.xml" ContentType="application/vnd.openxmlformats-officedocument.presentationml.notesSlide+xml"/>
  <Override PartName="/ppt/theme/themeOverride644.xml" ContentType="application/vnd.openxmlformats-officedocument.themeOverride+xml"/>
  <Override PartName="/ppt/notesSlides/notesSlide234.xml" ContentType="application/vnd.openxmlformats-officedocument.presentationml.notesSlide+xml"/>
  <Override PartName="/ppt/theme/themeOverride645.xml" ContentType="application/vnd.openxmlformats-officedocument.themeOverride+xml"/>
  <Override PartName="/ppt/notesSlides/notesSlide235.xml" ContentType="application/vnd.openxmlformats-officedocument.presentationml.notesSlide+xml"/>
  <Override PartName="/ppt/theme/themeOverride646.xml" ContentType="application/vnd.openxmlformats-officedocument.themeOverride+xml"/>
  <Override PartName="/ppt/notesSlides/notesSlide236.xml" ContentType="application/vnd.openxmlformats-officedocument.presentationml.notesSlide+xml"/>
  <Override PartName="/ppt/theme/themeOverride647.xml" ContentType="application/vnd.openxmlformats-officedocument.themeOverride+xml"/>
  <Override PartName="/ppt/notesSlides/notesSlide237.xml" ContentType="application/vnd.openxmlformats-officedocument.presentationml.notesSlide+xml"/>
  <Override PartName="/ppt/theme/themeOverride648.xml" ContentType="application/vnd.openxmlformats-officedocument.themeOverride+xml"/>
  <Override PartName="/ppt/notesSlides/notesSlide238.xml" ContentType="application/vnd.openxmlformats-officedocument.presentationml.notesSlide+xml"/>
  <Override PartName="/ppt/theme/themeOverride649.xml" ContentType="application/vnd.openxmlformats-officedocument.themeOverride+xml"/>
  <Override PartName="/ppt/notesSlides/notesSlide239.xml" ContentType="application/vnd.openxmlformats-officedocument.presentationml.notesSlide+xml"/>
  <Override PartName="/ppt/theme/themeOverride650.xml" ContentType="application/vnd.openxmlformats-officedocument.themeOverride+xml"/>
  <Override PartName="/ppt/notesSlides/notesSlide240.xml" ContentType="application/vnd.openxmlformats-officedocument.presentationml.notesSlide+xml"/>
  <Override PartName="/ppt/theme/themeOverride651.xml" ContentType="application/vnd.openxmlformats-officedocument.themeOverride+xml"/>
  <Override PartName="/ppt/notesSlides/notesSlide241.xml" ContentType="application/vnd.openxmlformats-officedocument.presentationml.notesSlid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theme/themeOverride652.xml" ContentType="application/vnd.openxmlformats-officedocument.themeOverride+xml"/>
  <Override PartName="/ppt/notesSlides/notesSlide242.xml" ContentType="application/vnd.openxmlformats-officedocument.presentationml.notesSlide+xml"/>
  <Override PartName="/ppt/theme/themeOverride653.xml" ContentType="application/vnd.openxmlformats-officedocument.themeOverride+xml"/>
  <Override PartName="/ppt/notesSlides/notesSlide243.xml" ContentType="application/vnd.openxmlformats-officedocument.presentationml.notesSlide+xml"/>
  <Override PartName="/ppt/theme/themeOverride654.xml" ContentType="application/vnd.openxmlformats-officedocument.themeOverride+xml"/>
  <Override PartName="/ppt/notesSlides/notesSlide244.xml" ContentType="application/vnd.openxmlformats-officedocument.presentationml.notesSlide+xml"/>
  <Override PartName="/ppt/theme/themeOverride655.xml" ContentType="application/vnd.openxmlformats-officedocument.themeOverride+xml"/>
  <Override PartName="/ppt/notesSlides/notesSlide245.xml" ContentType="application/vnd.openxmlformats-officedocument.presentationml.notesSlide+xml"/>
  <Override PartName="/ppt/theme/themeOverride656.xml" ContentType="application/vnd.openxmlformats-officedocument.themeOverride+xml"/>
  <Override PartName="/ppt/notesSlides/notesSlide246.xml" ContentType="application/vnd.openxmlformats-officedocument.presentationml.notesSlide+xml"/>
  <Override PartName="/ppt/theme/themeOverride657.xml" ContentType="application/vnd.openxmlformats-officedocument.themeOverride+xml"/>
  <Override PartName="/ppt/notesSlides/notesSlide247.xml" ContentType="application/vnd.openxmlformats-officedocument.presentationml.notesSlide+xml"/>
  <Override PartName="/ppt/theme/themeOverride658.xml" ContentType="application/vnd.openxmlformats-officedocument.themeOverride+xml"/>
  <Override PartName="/ppt/notesSlides/notesSlide248.xml" ContentType="application/vnd.openxmlformats-officedocument.presentationml.notesSlide+xml"/>
  <Override PartName="/ppt/theme/themeOverride659.xml" ContentType="application/vnd.openxmlformats-officedocument.themeOverride+xml"/>
  <Override PartName="/ppt/notesSlides/notesSlide249.xml" ContentType="application/vnd.openxmlformats-officedocument.presentationml.notesSlide+xml"/>
  <Override PartName="/ppt/theme/themeOverride660.xml" ContentType="application/vnd.openxmlformats-officedocument.themeOverride+xml"/>
  <Override PartName="/ppt/notesSlides/notesSlide250.xml" ContentType="application/vnd.openxmlformats-officedocument.presentationml.notesSlide+xml"/>
  <Override PartName="/ppt/theme/themeOverride661.xml" ContentType="application/vnd.openxmlformats-officedocument.themeOverride+xml"/>
  <Override PartName="/ppt/notesSlides/notesSlide251.xml" ContentType="application/vnd.openxmlformats-officedocument.presentationml.notesSlide+xml"/>
  <Override PartName="/ppt/theme/themeOverride662.xml" ContentType="application/vnd.openxmlformats-officedocument.themeOverride+xml"/>
  <Override PartName="/ppt/notesSlides/notesSlide252.xml" ContentType="application/vnd.openxmlformats-officedocument.presentationml.notesSlide+xml"/>
  <Override PartName="/ppt/theme/themeOverride663.xml" ContentType="application/vnd.openxmlformats-officedocument.themeOverride+xml"/>
  <Override PartName="/ppt/notesSlides/notesSlide253.xml" ContentType="application/vnd.openxmlformats-officedocument.presentationml.notesSlide+xml"/>
  <Override PartName="/ppt/theme/themeOverride664.xml" ContentType="application/vnd.openxmlformats-officedocument.themeOverride+xml"/>
  <Override PartName="/ppt/notesSlides/notesSlide254.xml" ContentType="application/vnd.openxmlformats-officedocument.presentationml.notesSlide+xml"/>
  <Override PartName="/ppt/charts/chart13.xml" ContentType="application/vnd.openxmlformats-officedocument.drawingml.chart+xml"/>
  <Override PartName="/ppt/charts/style13.xml" ContentType="application/vnd.ms-office.chartstyle+xml"/>
  <Override PartName="/ppt/charts/colors13.xml" ContentType="application/vnd.ms-office.chartcolorstyle+xml"/>
  <Override PartName="/ppt/charts/chart14.xml" ContentType="application/vnd.openxmlformats-officedocument.drawingml.chart+xml"/>
  <Override PartName="/ppt/charts/style14.xml" ContentType="application/vnd.ms-office.chartstyle+xml"/>
  <Override PartName="/ppt/charts/colors14.xml" ContentType="application/vnd.ms-office.chartcolorstyle+xml"/>
  <Override PartName="/ppt/charts/chart15.xml" ContentType="application/vnd.openxmlformats-officedocument.drawingml.chart+xml"/>
  <Override PartName="/ppt/charts/style15.xml" ContentType="application/vnd.ms-office.chartstyle+xml"/>
  <Override PartName="/ppt/charts/colors15.xml" ContentType="application/vnd.ms-office.chartcolorstyle+xml"/>
  <Override PartName="/ppt/charts/chart16.xml" ContentType="application/vnd.openxmlformats-officedocument.drawingml.chart+xml"/>
  <Override PartName="/ppt/charts/style16.xml" ContentType="application/vnd.ms-office.chartstyle+xml"/>
  <Override PartName="/ppt/charts/colors16.xml" ContentType="application/vnd.ms-office.chartcolorstyle+xml"/>
  <Override PartName="/ppt/charts/chart17.xml" ContentType="application/vnd.openxmlformats-officedocument.drawingml.chart+xml"/>
  <Override PartName="/ppt/charts/style17.xml" ContentType="application/vnd.ms-office.chartstyle+xml"/>
  <Override PartName="/ppt/charts/colors17.xml" ContentType="application/vnd.ms-office.chartcolorstyle+xml"/>
  <Override PartName="/ppt/theme/themeOverride665.xml" ContentType="application/vnd.openxmlformats-officedocument.themeOverride+xml"/>
  <Override PartName="/ppt/notesSlides/notesSlide255.xml" ContentType="application/vnd.openxmlformats-officedocument.presentationml.notesSlide+xml"/>
  <Override PartName="/ppt/theme/themeOverride666.xml" ContentType="application/vnd.openxmlformats-officedocument.themeOverride+xml"/>
  <Override PartName="/ppt/notesSlides/notesSlide256.xml" ContentType="application/vnd.openxmlformats-officedocument.presentationml.notesSlide+xml"/>
  <Override PartName="/ppt/theme/themeOverride667.xml" ContentType="application/vnd.openxmlformats-officedocument.themeOverride+xml"/>
  <Override PartName="/ppt/notesSlides/notesSlide257.xml" ContentType="application/vnd.openxmlformats-officedocument.presentationml.notesSlide+xml"/>
  <Override PartName="/ppt/theme/themeOverride668.xml" ContentType="application/vnd.openxmlformats-officedocument.themeOverride+xml"/>
  <Override PartName="/ppt/notesSlides/notesSlide258.xml" ContentType="application/vnd.openxmlformats-officedocument.presentationml.notesSlide+xml"/>
  <Override PartName="/ppt/theme/themeOverride669.xml" ContentType="application/vnd.openxmlformats-officedocument.themeOverride+xml"/>
  <Override PartName="/ppt/notesSlides/notesSlide259.xml" ContentType="application/vnd.openxmlformats-officedocument.presentationml.notesSlide+xml"/>
  <Override PartName="/ppt/theme/themeOverride670.xml" ContentType="application/vnd.openxmlformats-officedocument.themeOverride+xml"/>
  <Override PartName="/ppt/notesSlides/notesSlide260.xml" ContentType="application/vnd.openxmlformats-officedocument.presentationml.notesSlide+xml"/>
  <Override PartName="/ppt/theme/themeOverride671.xml" ContentType="application/vnd.openxmlformats-officedocument.themeOverride+xml"/>
  <Override PartName="/ppt/notesSlides/notesSlide261.xml" ContentType="application/vnd.openxmlformats-officedocument.presentationml.notesSlide+xml"/>
  <Override PartName="/ppt/theme/themeOverride672.xml" ContentType="application/vnd.openxmlformats-officedocument.themeOverride+xml"/>
  <Override PartName="/ppt/notesSlides/notesSlide262.xml" ContentType="application/vnd.openxmlformats-officedocument.presentationml.notesSlide+xml"/>
  <Override PartName="/ppt/theme/themeOverride673.xml" ContentType="application/vnd.openxmlformats-officedocument.themeOverride+xml"/>
  <Override PartName="/ppt/notesSlides/notesSlide263.xml" ContentType="application/vnd.openxmlformats-officedocument.presentationml.notesSlide+xml"/>
  <Override PartName="/ppt/theme/themeOverride674.xml" ContentType="application/vnd.openxmlformats-officedocument.themeOverride+xml"/>
  <Override PartName="/ppt/notesSlides/notesSlide264.xml" ContentType="application/vnd.openxmlformats-officedocument.presentationml.notesSlide+xml"/>
  <Override PartName="/ppt/theme/themeOverride675.xml" ContentType="application/vnd.openxmlformats-officedocument.themeOverride+xml"/>
  <Override PartName="/ppt/notesSlides/notesSlide265.xml" ContentType="application/vnd.openxmlformats-officedocument.presentationml.notesSlide+xml"/>
  <Override PartName="/ppt/theme/themeOverride676.xml" ContentType="application/vnd.openxmlformats-officedocument.themeOverride+xml"/>
  <Override PartName="/ppt/notesSlides/notesSlide266.xml" ContentType="application/vnd.openxmlformats-officedocument.presentationml.notesSlide+xml"/>
  <Override PartName="/ppt/theme/themeOverride677.xml" ContentType="application/vnd.openxmlformats-officedocument.themeOverride+xml"/>
  <Override PartName="/ppt/notesSlides/notesSlide267.xml" ContentType="application/vnd.openxmlformats-officedocument.presentationml.notesSlide+xml"/>
  <Override PartName="/ppt/theme/themeOverride678.xml" ContentType="application/vnd.openxmlformats-officedocument.themeOverride+xml"/>
  <Override PartName="/ppt/notesSlides/notesSlide268.xml" ContentType="application/vnd.openxmlformats-officedocument.presentationml.notesSlide+xml"/>
  <Override PartName="/ppt/theme/themeOverride679.xml" ContentType="application/vnd.openxmlformats-officedocument.themeOverride+xml"/>
  <Override PartName="/ppt/notesSlides/notesSlide269.xml" ContentType="application/vnd.openxmlformats-officedocument.presentationml.notesSlide+xml"/>
  <Override PartName="/ppt/theme/themeOverride680.xml" ContentType="application/vnd.openxmlformats-officedocument.themeOverride+xml"/>
  <Override PartName="/ppt/notesSlides/notesSlide270.xml" ContentType="application/vnd.openxmlformats-officedocument.presentationml.notesSlide+xml"/>
  <Override PartName="/ppt/theme/themeOverride681.xml" ContentType="application/vnd.openxmlformats-officedocument.themeOverride+xml"/>
  <Override PartName="/ppt/notesSlides/notesSlide271.xml" ContentType="application/vnd.openxmlformats-officedocument.presentationml.notesSlide+xml"/>
  <Override PartName="/ppt/theme/themeOverride682.xml" ContentType="application/vnd.openxmlformats-officedocument.themeOverride+xml"/>
  <Override PartName="/ppt/notesSlides/notesSlide272.xml" ContentType="application/vnd.openxmlformats-officedocument.presentationml.notesSlide+xml"/>
  <Override PartName="/ppt/theme/themeOverride683.xml" ContentType="application/vnd.openxmlformats-officedocument.themeOverride+xml"/>
  <Override PartName="/ppt/notesSlides/notesSlide273.xml" ContentType="application/vnd.openxmlformats-officedocument.presentationml.notesSlide+xml"/>
  <Override PartName="/ppt/theme/themeOverride684.xml" ContentType="application/vnd.openxmlformats-officedocument.themeOverride+xml"/>
  <Override PartName="/ppt/notesSlides/notesSlide274.xml" ContentType="application/vnd.openxmlformats-officedocument.presentationml.notesSlide+xml"/>
  <Override PartName="/ppt/theme/themeOverride685.xml" ContentType="application/vnd.openxmlformats-officedocument.themeOverride+xml"/>
  <Override PartName="/ppt/notesSlides/notesSlide275.xml" ContentType="application/vnd.openxmlformats-officedocument.presentationml.notesSlide+xml"/>
  <Override PartName="/ppt/theme/themeOverride686.xml" ContentType="application/vnd.openxmlformats-officedocument.themeOverride+xml"/>
  <Override PartName="/ppt/notesSlides/notesSlide276.xml" ContentType="application/vnd.openxmlformats-officedocument.presentationml.notesSlide+xml"/>
  <Override PartName="/ppt/theme/themeOverride687.xml" ContentType="application/vnd.openxmlformats-officedocument.themeOverride+xml"/>
  <Override PartName="/ppt/tags/tag119.xml" ContentType="application/vnd.openxmlformats-officedocument.presentationml.tags+xml"/>
  <Override PartName="/ppt/notesSlides/notesSlide277.xml" ContentType="application/vnd.openxmlformats-officedocument.presentationml.notesSlide+xml"/>
  <Override PartName="/ppt/theme/themeOverride688.xml" ContentType="application/vnd.openxmlformats-officedocument.themeOverride+xml"/>
  <Override PartName="/ppt/notesSlides/notesSlide278.xml" ContentType="application/vnd.openxmlformats-officedocument.presentationml.notesSlide+xml"/>
  <Override PartName="/ppt/theme/themeOverride689.xml" ContentType="application/vnd.openxmlformats-officedocument.themeOverride+xml"/>
  <Override PartName="/ppt/notesSlides/notesSlide279.xml" ContentType="application/vnd.openxmlformats-officedocument.presentationml.notesSlide+xml"/>
  <Override PartName="/ppt/theme/themeOverride690.xml" ContentType="application/vnd.openxmlformats-officedocument.themeOverride+xml"/>
  <Override PartName="/ppt/notesSlides/notesSlide280.xml" ContentType="application/vnd.openxmlformats-officedocument.presentationml.notesSlide+xml"/>
  <Override PartName="/ppt/theme/themeOverride691.xml" ContentType="application/vnd.openxmlformats-officedocument.themeOverride+xml"/>
  <Override PartName="/ppt/notesSlides/notesSlide281.xml" ContentType="application/vnd.openxmlformats-officedocument.presentationml.notesSlide+xml"/>
  <Override PartName="/ppt/theme/themeOverride692.xml" ContentType="application/vnd.openxmlformats-officedocument.themeOverride+xml"/>
  <Override PartName="/ppt/tags/tag120.xml" ContentType="application/vnd.openxmlformats-officedocument.presentationml.tags+xml"/>
  <Override PartName="/ppt/tags/tag121.xml" ContentType="application/vnd.openxmlformats-officedocument.presentationml.tags+xml"/>
  <Override PartName="/ppt/notesSlides/notesSlide282.xml" ContentType="application/vnd.openxmlformats-officedocument.presentationml.notesSlide+xml"/>
  <Override PartName="/ppt/theme/themeOverride693.xml" ContentType="application/vnd.openxmlformats-officedocument.themeOverride+xml"/>
  <Override PartName="/ppt/notesSlides/notesSlide283.xml" ContentType="application/vnd.openxmlformats-officedocument.presentationml.notesSlide+xml"/>
  <Override PartName="/ppt/theme/themeOverride694.xml" ContentType="application/vnd.openxmlformats-officedocument.themeOverride+xml"/>
  <Override PartName="/ppt/notesSlides/notesSlide284.xml" ContentType="application/vnd.openxmlformats-officedocument.presentationml.notesSlide+xml"/>
  <Override PartName="/ppt/theme/themeOverride695.xml" ContentType="application/vnd.openxmlformats-officedocument.themeOverride+xml"/>
  <Override PartName="/ppt/notesSlides/notesSlide285.xml" ContentType="application/vnd.openxmlformats-officedocument.presentationml.notesSlide+xml"/>
  <Override PartName="/ppt/theme/themeOverride696.xml" ContentType="application/vnd.openxmlformats-officedocument.themeOverride+xml"/>
  <Override PartName="/ppt/notesSlides/notesSlide286.xml" ContentType="application/vnd.openxmlformats-officedocument.presentationml.notesSlide+xml"/>
  <Override PartName="/ppt/theme/themeOverride697.xml" ContentType="application/vnd.openxmlformats-officedocument.themeOverride+xml"/>
  <Override PartName="/ppt/notesSlides/notesSlide287.xml" ContentType="application/vnd.openxmlformats-officedocument.presentationml.notesSlide+xml"/>
  <Override PartName="/ppt/theme/themeOverride698.xml" ContentType="application/vnd.openxmlformats-officedocument.themeOverride+xml"/>
  <Override PartName="/ppt/notesSlides/notesSlide288.xml" ContentType="application/vnd.openxmlformats-officedocument.presentationml.notesSlide+xml"/>
  <Override PartName="/ppt/theme/themeOverride699.xml" ContentType="application/vnd.openxmlformats-officedocument.themeOverride+xml"/>
  <Override PartName="/ppt/notesSlides/notesSlide289.xml" ContentType="application/vnd.openxmlformats-officedocument.presentationml.notesSlide+xml"/>
  <Override PartName="/ppt/theme/themeOverride700.xml" ContentType="application/vnd.openxmlformats-officedocument.themeOverride+xml"/>
  <Override PartName="/ppt/notesSlides/notesSlide290.xml" ContentType="application/vnd.openxmlformats-officedocument.presentationml.notesSlide+xml"/>
  <Override PartName="/ppt/theme/themeOverride701.xml" ContentType="application/vnd.openxmlformats-officedocument.themeOverride+xml"/>
  <Override PartName="/ppt/notesSlides/notesSlide291.xml" ContentType="application/vnd.openxmlformats-officedocument.presentationml.notesSlide+xml"/>
  <Override PartName="/ppt/theme/themeOverride702.xml" ContentType="application/vnd.openxmlformats-officedocument.themeOverride+xml"/>
  <Override PartName="/ppt/notesSlides/notesSlide292.xml" ContentType="application/vnd.openxmlformats-officedocument.presentationml.notesSlide+xml"/>
  <Override PartName="/ppt/theme/themeOverride703.xml" ContentType="application/vnd.openxmlformats-officedocument.themeOverride+xml"/>
  <Override PartName="/ppt/notesSlides/notesSlide293.xml" ContentType="application/vnd.openxmlformats-officedocument.presentationml.notesSlide+xml"/>
  <Override PartName="/ppt/theme/themeOverride704.xml" ContentType="application/vnd.openxmlformats-officedocument.themeOverride+xml"/>
  <Override PartName="/ppt/notesSlides/notesSlide294.xml" ContentType="application/vnd.openxmlformats-officedocument.presentationml.notesSlide+xml"/>
  <Override PartName="/ppt/theme/themeOverride705.xml" ContentType="application/vnd.openxmlformats-officedocument.themeOverride+xml"/>
  <Override PartName="/ppt/notesSlides/notesSlide295.xml" ContentType="application/vnd.openxmlformats-officedocument.presentationml.notesSlide+xml"/>
  <Override PartName="/ppt/theme/themeOverride706.xml" ContentType="application/vnd.openxmlformats-officedocument.themeOverride+xml"/>
  <Override PartName="/ppt/notesSlides/notesSlide296.xml" ContentType="application/vnd.openxmlformats-officedocument.presentationml.notesSlide+xml"/>
  <Override PartName="/ppt/theme/themeOverride707.xml" ContentType="application/vnd.openxmlformats-officedocument.themeOverride+xml"/>
  <Override PartName="/ppt/notesSlides/notesSlide297.xml" ContentType="application/vnd.openxmlformats-officedocument.presentationml.notesSlide+xml"/>
  <Override PartName="/ppt/theme/themeOverride708.xml" ContentType="application/vnd.openxmlformats-officedocument.themeOverride+xml"/>
  <Override PartName="/ppt/notesSlides/notesSlide298.xml" ContentType="application/vnd.openxmlformats-officedocument.presentationml.notesSlide+xml"/>
  <Override PartName="/ppt/theme/themeOverride709.xml" ContentType="application/vnd.openxmlformats-officedocument.themeOverride+xml"/>
  <Override PartName="/ppt/notesSlides/notesSlide299.xml" ContentType="application/vnd.openxmlformats-officedocument.presentationml.notesSlide+xml"/>
  <Override PartName="/ppt/theme/themeOverride710.xml" ContentType="application/vnd.openxmlformats-officedocument.themeOverride+xml"/>
  <Override PartName="/ppt/notesSlides/notesSlide300.xml" ContentType="application/vnd.openxmlformats-officedocument.presentationml.notesSlide+xml"/>
  <Override PartName="/ppt/theme/themeOverride711.xml" ContentType="application/vnd.openxmlformats-officedocument.themeOverride+xml"/>
  <Override PartName="/ppt/notesSlides/notesSlide301.xml" ContentType="application/vnd.openxmlformats-officedocument.presentationml.notesSlide+xml"/>
  <Override PartName="/ppt/theme/themeOverride712.xml" ContentType="application/vnd.openxmlformats-officedocument.themeOverride+xml"/>
  <Override PartName="/ppt/notesSlides/notesSlide302.xml" ContentType="application/vnd.openxmlformats-officedocument.presentationml.notesSlide+xml"/>
  <Override PartName="/ppt/theme/themeOverride713.xml" ContentType="application/vnd.openxmlformats-officedocument.themeOverride+xml"/>
  <Override PartName="/ppt/notesSlides/notesSlide303.xml" ContentType="application/vnd.openxmlformats-officedocument.presentationml.notesSlide+xml"/>
  <Override PartName="/ppt/theme/themeOverride714.xml" ContentType="application/vnd.openxmlformats-officedocument.themeOverride+xml"/>
  <Override PartName="/ppt/notesSlides/notesSlide304.xml" ContentType="application/vnd.openxmlformats-officedocument.presentationml.notesSlide+xml"/>
  <Override PartName="/ppt/theme/themeOverride715.xml" ContentType="application/vnd.openxmlformats-officedocument.themeOverride+xml"/>
  <Override PartName="/ppt/notesSlides/notesSlide305.xml" ContentType="application/vnd.openxmlformats-officedocument.presentationml.notesSlide+xml"/>
  <Override PartName="/ppt/theme/themeOverride716.xml" ContentType="application/vnd.openxmlformats-officedocument.themeOverride+xml"/>
  <Override PartName="/ppt/notesSlides/notesSlide306.xml" ContentType="application/vnd.openxmlformats-officedocument.presentationml.notesSlide+xml"/>
  <Override PartName="/ppt/theme/themeOverride717.xml" ContentType="application/vnd.openxmlformats-officedocument.themeOverride+xml"/>
  <Override PartName="/ppt/notesSlides/notesSlide307.xml" ContentType="application/vnd.openxmlformats-officedocument.presentationml.notesSlide+xml"/>
  <Override PartName="/ppt/theme/themeOverride718.xml" ContentType="application/vnd.openxmlformats-officedocument.themeOverride+xml"/>
  <Override PartName="/ppt/notesSlides/notesSlide308.xml" ContentType="application/vnd.openxmlformats-officedocument.presentationml.notesSlide+xml"/>
  <Override PartName="/ppt/theme/themeOverride719.xml" ContentType="application/vnd.openxmlformats-officedocument.themeOverride+xml"/>
  <Override PartName="/ppt/notesSlides/notesSlide309.xml" ContentType="application/vnd.openxmlformats-officedocument.presentationml.notesSlide+xml"/>
  <Override PartName="/ppt/theme/themeOverride720.xml" ContentType="application/vnd.openxmlformats-officedocument.themeOverride+xml"/>
  <Override PartName="/ppt/notesSlides/notesSlide310.xml" ContentType="application/vnd.openxmlformats-officedocument.presentationml.notesSlide+xml"/>
  <Override PartName="/ppt/theme/themeOverride721.xml" ContentType="application/vnd.openxmlformats-officedocument.themeOverride+xml"/>
  <Override PartName="/ppt/notesSlides/notesSlide311.xml" ContentType="application/vnd.openxmlformats-officedocument.presentationml.notesSlide+xml"/>
  <Override PartName="/ppt/theme/themeOverride722.xml" ContentType="application/vnd.openxmlformats-officedocument.themeOverride+xml"/>
  <Override PartName="/ppt/notesSlides/notesSlide312.xml" ContentType="application/vnd.openxmlformats-officedocument.presentationml.notesSlide+xml"/>
  <Override PartName="/ppt/theme/themeOverride723.xml" ContentType="application/vnd.openxmlformats-officedocument.themeOverride+xml"/>
  <Override PartName="/ppt/notesSlides/notesSlide313.xml" ContentType="application/vnd.openxmlformats-officedocument.presentationml.notesSlide+xml"/>
  <Override PartName="/ppt/theme/themeOverride724.xml" ContentType="application/vnd.openxmlformats-officedocument.themeOverride+xml"/>
  <Override PartName="/ppt/notesSlides/notesSlide314.xml" ContentType="application/vnd.openxmlformats-officedocument.presentationml.notesSlide+xml"/>
  <Override PartName="/ppt/theme/themeOverride725.xml" ContentType="application/vnd.openxmlformats-officedocument.themeOverride+xml"/>
  <Override PartName="/ppt/notesSlides/notesSlide315.xml" ContentType="application/vnd.openxmlformats-officedocument.presentationml.notesSlide+xml"/>
  <Override PartName="/ppt/theme/themeOverride726.xml" ContentType="application/vnd.openxmlformats-officedocument.themeOverride+xml"/>
  <Override PartName="/ppt/notesSlides/notesSlide316.xml" ContentType="application/vnd.openxmlformats-officedocument.presentationml.notesSlide+xml"/>
  <Override PartName="/ppt/theme/themeOverride727.xml" ContentType="application/vnd.openxmlformats-officedocument.themeOverride+xml"/>
  <Override PartName="/ppt/notesSlides/notesSlide317.xml" ContentType="application/vnd.openxmlformats-officedocument.presentationml.notesSlide+xml"/>
  <Override PartName="/ppt/theme/themeOverride728.xml" ContentType="application/vnd.openxmlformats-officedocument.themeOverride+xml"/>
  <Override PartName="/ppt/notesSlides/notesSlide318.xml" ContentType="application/vnd.openxmlformats-officedocument.presentationml.notesSlide+xml"/>
  <Override PartName="/ppt/theme/themeOverride729.xml" ContentType="application/vnd.openxmlformats-officedocument.themeOverride+xml"/>
  <Override PartName="/ppt/notesSlides/notesSlide319.xml" ContentType="application/vnd.openxmlformats-officedocument.presentationml.notesSlide+xml"/>
  <Override PartName="/ppt/theme/themeOverride730.xml" ContentType="application/vnd.openxmlformats-officedocument.themeOverride+xml"/>
  <Override PartName="/ppt/notesSlides/notesSlide320.xml" ContentType="application/vnd.openxmlformats-officedocument.presentationml.notesSlide+xml"/>
  <Override PartName="/ppt/theme/themeOverride731.xml" ContentType="application/vnd.openxmlformats-officedocument.themeOverride+xml"/>
  <Override PartName="/ppt/notesSlides/notesSlide321.xml" ContentType="application/vnd.openxmlformats-officedocument.presentationml.notesSlide+xml"/>
  <Override PartName="/ppt/theme/themeOverride732.xml" ContentType="application/vnd.openxmlformats-officedocument.themeOverride+xml"/>
  <Override PartName="/ppt/notesSlides/notesSlide322.xml" ContentType="application/vnd.openxmlformats-officedocument.presentationml.notesSlide+xml"/>
  <Override PartName="/ppt/theme/themeOverride733.xml" ContentType="application/vnd.openxmlformats-officedocument.themeOverride+xml"/>
  <Override PartName="/ppt/notesSlides/notesSlide323.xml" ContentType="application/vnd.openxmlformats-officedocument.presentationml.notesSlide+xml"/>
  <Override PartName="/ppt/theme/themeOverride734.xml" ContentType="application/vnd.openxmlformats-officedocument.themeOverride+xml"/>
  <Override PartName="/ppt/notesSlides/notesSlide324.xml" ContentType="application/vnd.openxmlformats-officedocument.presentationml.notesSlide+xml"/>
  <Override PartName="/ppt/theme/themeOverride735.xml" ContentType="application/vnd.openxmlformats-officedocument.themeOverride+xml"/>
  <Override PartName="/ppt/notesSlides/notesSlide325.xml" ContentType="application/vnd.openxmlformats-officedocument.presentationml.notesSlide+xml"/>
  <Override PartName="/ppt/theme/themeOverride736.xml" ContentType="application/vnd.openxmlformats-officedocument.themeOverride+xml"/>
  <Override PartName="/ppt/notesSlides/notesSlide326.xml" ContentType="application/vnd.openxmlformats-officedocument.presentationml.notesSlide+xml"/>
  <Override PartName="/ppt/theme/themeOverride737.xml" ContentType="application/vnd.openxmlformats-officedocument.themeOverride+xml"/>
  <Override PartName="/ppt/notesSlides/notesSlide327.xml" ContentType="application/vnd.openxmlformats-officedocument.presentationml.notesSlide+xml"/>
  <Override PartName="/ppt/theme/themeOverride738.xml" ContentType="application/vnd.openxmlformats-officedocument.themeOverride+xml"/>
  <Override PartName="/ppt/notesSlides/notesSlide328.xml" ContentType="application/vnd.openxmlformats-officedocument.presentationml.notesSlide+xml"/>
  <Override PartName="/ppt/theme/themeOverride739.xml" ContentType="application/vnd.openxmlformats-officedocument.themeOverride+xml"/>
  <Override PartName="/ppt/notesSlides/notesSlide329.xml" ContentType="application/vnd.openxmlformats-officedocument.presentationml.notesSlide+xml"/>
  <Override PartName="/ppt/theme/themeOverride740.xml" ContentType="application/vnd.openxmlformats-officedocument.themeOverride+xml"/>
  <Override PartName="/ppt/notesSlides/notesSlide330.xml" ContentType="application/vnd.openxmlformats-officedocument.presentationml.notesSlide+xml"/>
  <Override PartName="/ppt/theme/themeOverride741.xml" ContentType="application/vnd.openxmlformats-officedocument.themeOverride+xml"/>
  <Override PartName="/ppt/notesSlides/notesSlide331.xml" ContentType="application/vnd.openxmlformats-officedocument.presentationml.notesSlide+xml"/>
  <Override PartName="/ppt/theme/themeOverride742.xml" ContentType="application/vnd.openxmlformats-officedocument.themeOverride+xml"/>
  <Override PartName="/ppt/notesSlides/notesSlide332.xml" ContentType="application/vnd.openxmlformats-officedocument.presentationml.notesSlide+xml"/>
  <Override PartName="/ppt/theme/themeOverride743.xml" ContentType="application/vnd.openxmlformats-officedocument.themeOverride+xml"/>
  <Override PartName="/ppt/notesSlides/notesSlide333.xml" ContentType="application/vnd.openxmlformats-officedocument.presentationml.notesSlide+xml"/>
  <Override PartName="/ppt/theme/themeOverride744.xml" ContentType="application/vnd.openxmlformats-officedocument.themeOverride+xml"/>
  <Override PartName="/ppt/notesSlides/notesSlide334.xml" ContentType="application/vnd.openxmlformats-officedocument.presentationml.notesSlide+xml"/>
  <Override PartName="/ppt/theme/themeOverride745.xml" ContentType="application/vnd.openxmlformats-officedocument.themeOverride+xml"/>
  <Override PartName="/ppt/notesSlides/notesSlide335.xml" ContentType="application/vnd.openxmlformats-officedocument.presentationml.notesSlide+xml"/>
  <Override PartName="/ppt/theme/themeOverride746.xml" ContentType="application/vnd.openxmlformats-officedocument.themeOverride+xml"/>
  <Override PartName="/ppt/notesSlides/notesSlide336.xml" ContentType="application/vnd.openxmlformats-officedocument.presentationml.notesSlide+xml"/>
  <Override PartName="/ppt/theme/themeOverride747.xml" ContentType="application/vnd.openxmlformats-officedocument.themeOverride+xml"/>
  <Override PartName="/ppt/notesSlides/notesSlide337.xml" ContentType="application/vnd.openxmlformats-officedocument.presentationml.notesSlide+xml"/>
  <Override PartName="/ppt/theme/themeOverride748.xml" ContentType="application/vnd.openxmlformats-officedocument.themeOverride+xml"/>
  <Override PartName="/ppt/notesSlides/notesSlide338.xml" ContentType="application/vnd.openxmlformats-officedocument.presentationml.notesSlide+xml"/>
  <Override PartName="/ppt/theme/themeOverride749.xml" ContentType="application/vnd.openxmlformats-officedocument.themeOverride+xml"/>
  <Override PartName="/ppt/notesSlides/notesSlide339.xml" ContentType="application/vnd.openxmlformats-officedocument.presentationml.notesSlide+xml"/>
  <Override PartName="/ppt/theme/themeOverride750.xml" ContentType="application/vnd.openxmlformats-officedocument.themeOverride+xml"/>
  <Override PartName="/ppt/notesSlides/notesSlide340.xml" ContentType="application/vnd.openxmlformats-officedocument.presentationml.notesSlide+xml"/>
  <Override PartName="/ppt/theme/themeOverride751.xml" ContentType="application/vnd.openxmlformats-officedocument.themeOverride+xml"/>
  <Override PartName="/ppt/notesSlides/notesSlide341.xml" ContentType="application/vnd.openxmlformats-officedocument.presentationml.notesSlide+xml"/>
  <Override PartName="/ppt/theme/themeOverride752.xml" ContentType="application/vnd.openxmlformats-officedocument.themeOverride+xml"/>
  <Override PartName="/ppt/notesSlides/notesSlide342.xml" ContentType="application/vnd.openxmlformats-officedocument.presentationml.notesSlide+xml"/>
  <Override PartName="/ppt/theme/themeOverride753.xml" ContentType="application/vnd.openxmlformats-officedocument.themeOverride+xml"/>
  <Override PartName="/ppt/notesSlides/notesSlide343.xml" ContentType="application/vnd.openxmlformats-officedocument.presentationml.notesSlide+xml"/>
  <Override PartName="/ppt/theme/themeOverride754.xml" ContentType="application/vnd.openxmlformats-officedocument.themeOverride+xml"/>
  <Override PartName="/ppt/notesSlides/notesSlide344.xml" ContentType="application/vnd.openxmlformats-officedocument.presentationml.notesSlide+xml"/>
  <Override PartName="/ppt/theme/themeOverride755.xml" ContentType="application/vnd.openxmlformats-officedocument.themeOverride+xml"/>
  <Override PartName="/ppt/notesSlides/notesSlide345.xml" ContentType="application/vnd.openxmlformats-officedocument.presentationml.notesSlide+xml"/>
  <Override PartName="/ppt/theme/themeOverride756.xml" ContentType="application/vnd.openxmlformats-officedocument.themeOverride+xml"/>
  <Override PartName="/ppt/notesSlides/notesSlide346.xml" ContentType="application/vnd.openxmlformats-officedocument.presentationml.notesSlide+xml"/>
  <Override PartName="/ppt/theme/themeOverride757.xml" ContentType="application/vnd.openxmlformats-officedocument.themeOverride+xml"/>
  <Override PartName="/ppt/notesSlides/notesSlide347.xml" ContentType="application/vnd.openxmlformats-officedocument.presentationml.notesSlide+xml"/>
  <Override PartName="/ppt/theme/themeOverride758.xml" ContentType="application/vnd.openxmlformats-officedocument.themeOverride+xml"/>
  <Override PartName="/ppt/notesSlides/notesSlide348.xml" ContentType="application/vnd.openxmlformats-officedocument.presentationml.notesSlide+xml"/>
  <Override PartName="/ppt/theme/themeOverride759.xml" ContentType="application/vnd.openxmlformats-officedocument.themeOverride+xml"/>
  <Override PartName="/ppt/notesSlides/notesSlide349.xml" ContentType="application/vnd.openxmlformats-officedocument.presentationml.notesSlide+xml"/>
  <Override PartName="/ppt/theme/themeOverride760.xml" ContentType="application/vnd.openxmlformats-officedocument.themeOverride+xml"/>
  <Override PartName="/ppt/notesSlides/notesSlide350.xml" ContentType="application/vnd.openxmlformats-officedocument.presentationml.notesSlide+xml"/>
  <Override PartName="/ppt/theme/themeOverride761.xml" ContentType="application/vnd.openxmlformats-officedocument.themeOverride+xml"/>
  <Override PartName="/ppt/notesSlides/notesSlide351.xml" ContentType="application/vnd.openxmlformats-officedocument.presentationml.notesSlide+xml"/>
  <Override PartName="/ppt/theme/themeOverride762.xml" ContentType="application/vnd.openxmlformats-officedocument.themeOverride+xml"/>
  <Override PartName="/ppt/notesSlides/notesSlide352.xml" ContentType="application/vnd.openxmlformats-officedocument.presentationml.notesSlide+xml"/>
  <Override PartName="/ppt/theme/themeOverride763.xml" ContentType="application/vnd.openxmlformats-officedocument.themeOverride+xml"/>
  <Override PartName="/ppt/notesSlides/notesSlide353.xml" ContentType="application/vnd.openxmlformats-officedocument.presentationml.notesSlide+xml"/>
  <Override PartName="/ppt/theme/themeOverride764.xml" ContentType="application/vnd.openxmlformats-officedocument.themeOverride+xml"/>
  <Override PartName="/ppt/notesSlides/notesSlide354.xml" ContentType="application/vnd.openxmlformats-officedocument.presentationml.notesSlide+xml"/>
  <Override PartName="/ppt/theme/themeOverride765.xml" ContentType="application/vnd.openxmlformats-officedocument.themeOverride+xml"/>
  <Override PartName="/ppt/notesSlides/notesSlide355.xml" ContentType="application/vnd.openxmlformats-officedocument.presentationml.notesSlide+xml"/>
  <Override PartName="/ppt/theme/themeOverride766.xml" ContentType="application/vnd.openxmlformats-officedocument.themeOverride+xml"/>
  <Override PartName="/ppt/notesSlides/notesSlide356.xml" ContentType="application/vnd.openxmlformats-officedocument.presentationml.notesSlide+xml"/>
  <Override PartName="/ppt/theme/themeOverride767.xml" ContentType="application/vnd.openxmlformats-officedocument.themeOverride+xml"/>
  <Override PartName="/ppt/notesSlides/notesSlide357.xml" ContentType="application/vnd.openxmlformats-officedocument.presentationml.notesSlide+xml"/>
  <Override PartName="/ppt/theme/themeOverride768.xml" ContentType="application/vnd.openxmlformats-officedocument.themeOverride+xml"/>
  <Override PartName="/ppt/notesSlides/notesSlide358.xml" ContentType="application/vnd.openxmlformats-officedocument.presentationml.notesSlide+xml"/>
  <Override PartName="/ppt/theme/themeOverride769.xml" ContentType="application/vnd.openxmlformats-officedocument.themeOverride+xml"/>
  <Override PartName="/ppt/notesSlides/notesSlide359.xml" ContentType="application/vnd.openxmlformats-officedocument.presentationml.notesSlide+xml"/>
  <Override PartName="/ppt/theme/themeOverride770.xml" ContentType="application/vnd.openxmlformats-officedocument.themeOverride+xml"/>
  <Override PartName="/ppt/notesSlides/notesSlide360.xml" ContentType="application/vnd.openxmlformats-officedocument.presentationml.notesSlide+xml"/>
  <Override PartName="/ppt/theme/themeOverride771.xml" ContentType="application/vnd.openxmlformats-officedocument.themeOverride+xml"/>
  <Override PartName="/ppt/notesSlides/notesSlide361.xml" ContentType="application/vnd.openxmlformats-officedocument.presentationml.notesSlide+xml"/>
  <Override PartName="/ppt/theme/themeOverride772.xml" ContentType="application/vnd.openxmlformats-officedocument.themeOverride+xml"/>
  <Override PartName="/ppt/notesSlides/notesSlide362.xml" ContentType="application/vnd.openxmlformats-officedocument.presentationml.notesSlide+xml"/>
  <Override PartName="/ppt/theme/themeOverride773.xml" ContentType="application/vnd.openxmlformats-officedocument.themeOverride+xml"/>
  <Override PartName="/ppt/notesSlides/notesSlide363.xml" ContentType="application/vnd.openxmlformats-officedocument.presentationml.notesSlide+xml"/>
  <Override PartName="/ppt/theme/themeOverride774.xml" ContentType="application/vnd.openxmlformats-officedocument.themeOverride+xml"/>
  <Override PartName="/ppt/notesSlides/notesSlide364.xml" ContentType="application/vnd.openxmlformats-officedocument.presentationml.notesSlide+xml"/>
  <Override PartName="/ppt/theme/themeOverride775.xml" ContentType="application/vnd.openxmlformats-officedocument.themeOverride+xml"/>
  <Override PartName="/ppt/notesSlides/notesSlide365.xml" ContentType="application/vnd.openxmlformats-officedocument.presentationml.notesSlide+xml"/>
  <Override PartName="/ppt/theme/themeOverride776.xml" ContentType="application/vnd.openxmlformats-officedocument.themeOverride+xml"/>
  <Override PartName="/ppt/notesSlides/notesSlide366.xml" ContentType="application/vnd.openxmlformats-officedocument.presentationml.notesSlide+xml"/>
  <Override PartName="/ppt/theme/themeOverride777.xml" ContentType="application/vnd.openxmlformats-officedocument.themeOverride+xml"/>
  <Override PartName="/ppt/notesSlides/notesSlide367.xml" ContentType="application/vnd.openxmlformats-officedocument.presentationml.notesSlide+xml"/>
  <Override PartName="/ppt/theme/themeOverride778.xml" ContentType="application/vnd.openxmlformats-officedocument.themeOverride+xml"/>
  <Override PartName="/ppt/notesSlides/notesSlide368.xml" ContentType="application/vnd.openxmlformats-officedocument.presentationml.notesSlide+xml"/>
  <Override PartName="/ppt/theme/themeOverride779.xml" ContentType="application/vnd.openxmlformats-officedocument.themeOverride+xml"/>
  <Override PartName="/ppt/notesSlides/notesSlide369.xml" ContentType="application/vnd.openxmlformats-officedocument.presentationml.notesSlide+xml"/>
  <Override PartName="/ppt/theme/themeOverride780.xml" ContentType="application/vnd.openxmlformats-officedocument.themeOverride+xml"/>
  <Override PartName="/ppt/tags/tag122.xml" ContentType="application/vnd.openxmlformats-officedocument.presentationml.tags+xml"/>
  <Override PartName="/ppt/notesSlides/notesSlide370.xml" ContentType="application/vnd.openxmlformats-officedocument.presentationml.notesSlide+xml"/>
  <Override PartName="/ppt/theme/themeOverride781.xml" ContentType="application/vnd.openxmlformats-officedocument.themeOverride+xml"/>
  <Override PartName="/ppt/tags/tag123.xml" ContentType="application/vnd.openxmlformats-officedocument.presentationml.tags+xml"/>
  <Override PartName="/ppt/notesSlides/notesSlide371.xml" ContentType="application/vnd.openxmlformats-officedocument.presentationml.notesSlide+xml"/>
  <Override PartName="/ppt/theme/themeOverride782.xml" ContentType="application/vnd.openxmlformats-officedocument.themeOverride+xml"/>
  <Override PartName="/ppt/notesSlides/notesSlide372.xml" ContentType="application/vnd.openxmlformats-officedocument.presentationml.notesSlide+xml"/>
  <Override PartName="/ppt/theme/themeOverride783.xml" ContentType="application/vnd.openxmlformats-officedocument.themeOverride+xml"/>
  <Override PartName="/ppt/tags/tag124.xml" ContentType="application/vnd.openxmlformats-officedocument.presentationml.tags+xml"/>
  <Override PartName="/ppt/notesSlides/notesSlide373.xml" ContentType="application/vnd.openxmlformats-officedocument.presentationml.notesSlide+xml"/>
  <Override PartName="/ppt/theme/themeOverride784.xml" ContentType="application/vnd.openxmlformats-officedocument.themeOverride+xml"/>
  <Override PartName="/ppt/notesSlides/notesSlide374.xml" ContentType="application/vnd.openxmlformats-officedocument.presentationml.notesSlide+xml"/>
  <Override PartName="/ppt/theme/themeOverride785.xml" ContentType="application/vnd.openxmlformats-officedocument.themeOverride+xml"/>
  <Override PartName="/ppt/notesSlides/notesSlide375.xml" ContentType="application/vnd.openxmlformats-officedocument.presentationml.notesSlide+xml"/>
  <Override PartName="/ppt/theme/themeOverride786.xml" ContentType="application/vnd.openxmlformats-officedocument.themeOverride+xml"/>
  <Override PartName="/ppt/tags/tag125.xml" ContentType="application/vnd.openxmlformats-officedocument.presentationml.tags+xml"/>
  <Override PartName="/ppt/notesSlides/notesSlide376.xml" ContentType="application/vnd.openxmlformats-officedocument.presentationml.notesSlide+xml"/>
  <Override PartName="/ppt/theme/themeOverride787.xml" ContentType="application/vnd.openxmlformats-officedocument.themeOverride+xml"/>
  <Override PartName="/ppt/notesSlides/notesSlide377.xml" ContentType="application/vnd.openxmlformats-officedocument.presentationml.notesSlide+xml"/>
  <Override PartName="/ppt/theme/themeOverride788.xml" ContentType="application/vnd.openxmlformats-officedocument.themeOverride+xml"/>
  <Override PartName="/ppt/tags/tag126.xml" ContentType="application/vnd.openxmlformats-officedocument.presentationml.tags+xml"/>
  <Override PartName="/ppt/notesSlides/notesSlide378.xml" ContentType="application/vnd.openxmlformats-officedocument.presentationml.notesSlide+xml"/>
  <Override PartName="/ppt/theme/themeOverride789.xml" ContentType="application/vnd.openxmlformats-officedocument.themeOverride+xml"/>
  <Override PartName="/ppt/notesSlides/notesSlide379.xml" ContentType="application/vnd.openxmlformats-officedocument.presentationml.notesSlide+xml"/>
  <Override PartName="/ppt/theme/themeOverride790.xml" ContentType="application/vnd.openxmlformats-officedocument.themeOverride+xml"/>
  <Override PartName="/ppt/notesSlides/notesSlide380.xml" ContentType="application/vnd.openxmlformats-officedocument.presentationml.notesSlide+xml"/>
  <Override PartName="/ppt/theme/themeOverride791.xml" ContentType="application/vnd.openxmlformats-officedocument.themeOverride+xml"/>
  <Override PartName="/ppt/tags/tag127.xml" ContentType="application/vnd.openxmlformats-officedocument.presentationml.tags+xml"/>
  <Override PartName="/ppt/notesSlides/notesSlide381.xml" ContentType="application/vnd.openxmlformats-officedocument.presentationml.notesSlide+xml"/>
  <Override PartName="/ppt/theme/themeOverride792.xml" ContentType="application/vnd.openxmlformats-officedocument.themeOverride+xml"/>
  <Override PartName="/ppt/notesSlides/notesSlide382.xml" ContentType="application/vnd.openxmlformats-officedocument.presentationml.notesSlide+xml"/>
  <Override PartName="/ppt/theme/themeOverride793.xml" ContentType="application/vnd.openxmlformats-officedocument.themeOverride+xml"/>
  <Override PartName="/ppt/notesSlides/notesSlide383.xml" ContentType="application/vnd.openxmlformats-officedocument.presentationml.notesSlide+xml"/>
  <Override PartName="/ppt/theme/themeOverride794.xml" ContentType="application/vnd.openxmlformats-officedocument.themeOverride+xml"/>
  <Override PartName="/ppt/tags/tag128.xml" ContentType="application/vnd.openxmlformats-officedocument.presentationml.tags+xml"/>
  <Override PartName="/ppt/notesSlides/notesSlide384.xml" ContentType="application/vnd.openxmlformats-officedocument.presentationml.notesSlide+xml"/>
  <Override PartName="/ppt/theme/themeOverride795.xml" ContentType="application/vnd.openxmlformats-officedocument.themeOverride+xml"/>
  <Override PartName="/ppt/notesSlides/notesSlide385.xml" ContentType="application/vnd.openxmlformats-officedocument.presentationml.notesSlide+xml"/>
  <Override PartName="/ppt/theme/themeOverride796.xml" ContentType="application/vnd.openxmlformats-officedocument.themeOverride+xml"/>
  <Override PartName="/ppt/notesSlides/notesSlide386.xml" ContentType="application/vnd.openxmlformats-officedocument.presentationml.notesSlide+xml"/>
  <Override PartName="/ppt/theme/themeOverride797.xml" ContentType="application/vnd.openxmlformats-officedocument.themeOverride+xml"/>
  <Override PartName="/ppt/notesSlides/notesSlide387.xml" ContentType="application/vnd.openxmlformats-officedocument.presentationml.notesSlide+xml"/>
  <Override PartName="/ppt/theme/themeOverride798.xml" ContentType="application/vnd.openxmlformats-officedocument.themeOverride+xml"/>
  <Override PartName="/ppt/notesSlides/notesSlide388.xml" ContentType="application/vnd.openxmlformats-officedocument.presentationml.notesSlide+xml"/>
  <Override PartName="/ppt/theme/themeOverride799.xml" ContentType="application/vnd.openxmlformats-officedocument.themeOverride+xml"/>
  <Override PartName="/ppt/tags/tag129.xml" ContentType="application/vnd.openxmlformats-officedocument.presentationml.tags+xml"/>
  <Override PartName="/ppt/notesSlides/notesSlide389.xml" ContentType="application/vnd.openxmlformats-officedocument.presentationml.notesSlide+xml"/>
  <Override PartName="/ppt/theme/themeOverride800.xml" ContentType="application/vnd.openxmlformats-officedocument.themeOverride+xml"/>
  <Override PartName="/ppt/notesSlides/notesSlide390.xml" ContentType="application/vnd.openxmlformats-officedocument.presentationml.notesSlide+xml"/>
  <Override PartName="/ppt/theme/themeOverride801.xml" ContentType="application/vnd.openxmlformats-officedocument.themeOverride+xml"/>
  <Override PartName="/ppt/notesSlides/notesSlide391.xml" ContentType="application/vnd.openxmlformats-officedocument.presentationml.notesSlide+xml"/>
  <Override PartName="/ppt/theme/themeOverride802.xml" ContentType="application/vnd.openxmlformats-officedocument.themeOverride+xml"/>
  <Override PartName="/ppt/notesSlides/notesSlide392.xml" ContentType="application/vnd.openxmlformats-officedocument.presentationml.notesSlide+xml"/>
  <Override PartName="/ppt/theme/themeOverride803.xml" ContentType="application/vnd.openxmlformats-officedocument.themeOverride+xml"/>
  <Override PartName="/ppt/notesSlides/notesSlide393.xml" ContentType="application/vnd.openxmlformats-officedocument.presentationml.notesSlide+xml"/>
  <Override PartName="/ppt/theme/themeOverride804.xml" ContentType="application/vnd.openxmlformats-officedocument.themeOverride+xml"/>
  <Override PartName="/ppt/notesSlides/notesSlide394.xml" ContentType="application/vnd.openxmlformats-officedocument.presentationml.notesSlide+xml"/>
  <Override PartName="/ppt/theme/themeOverride805.xml" ContentType="application/vnd.openxmlformats-officedocument.themeOverride+xml"/>
  <Override PartName="/ppt/notesSlides/notesSlide395.xml" ContentType="application/vnd.openxmlformats-officedocument.presentationml.notesSlide+xml"/>
  <Override PartName="/ppt/theme/themeOverride806.xml" ContentType="application/vnd.openxmlformats-officedocument.themeOverride+xml"/>
  <Override PartName="/ppt/notesSlides/notesSlide396.xml" ContentType="application/vnd.openxmlformats-officedocument.presentationml.notesSlide+xml"/>
  <Override PartName="/ppt/theme/themeOverride807.xml" ContentType="application/vnd.openxmlformats-officedocument.themeOverride+xml"/>
  <Override PartName="/ppt/tags/tag130.xml" ContentType="application/vnd.openxmlformats-officedocument.presentationml.tags+xml"/>
  <Override PartName="/ppt/notesSlides/notesSlide397.xml" ContentType="application/vnd.openxmlformats-officedocument.presentationml.notesSlide+xml"/>
  <Override PartName="/ppt/theme/themeOverride808.xml" ContentType="application/vnd.openxmlformats-officedocument.themeOverride+xml"/>
  <Override PartName="/ppt/notesSlides/notesSlide398.xml" ContentType="application/vnd.openxmlformats-officedocument.presentationml.notesSlide+xml"/>
  <Override PartName="/ppt/theme/themeOverride809.xml" ContentType="application/vnd.openxmlformats-officedocument.themeOverride+xml"/>
  <Override PartName="/ppt/notesSlides/notesSlide399.xml" ContentType="application/vnd.openxmlformats-officedocument.presentationml.notesSlide+xml"/>
  <Override PartName="/ppt/theme/themeOverride810.xml" ContentType="application/vnd.openxmlformats-officedocument.themeOverride+xml"/>
  <Override PartName="/ppt/notesSlides/notesSlide400.xml" ContentType="application/vnd.openxmlformats-officedocument.presentationml.notesSlide+xml"/>
  <Override PartName="/ppt/theme/themeOverride811.xml" ContentType="application/vnd.openxmlformats-officedocument.themeOverride+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notesSlides/notesSlide401.xml" ContentType="application/vnd.openxmlformats-officedocument.presentationml.notesSlide+xml"/>
  <Override PartName="/ppt/theme/themeOverride812.xml" ContentType="application/vnd.openxmlformats-officedocument.themeOverride+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notesSlides/notesSlide402.xml" ContentType="application/vnd.openxmlformats-officedocument.presentationml.notesSlide+xml"/>
  <Override PartName="/ppt/theme/themeOverride813.xml" ContentType="application/vnd.openxmlformats-officedocument.themeOverride+xml"/>
  <Override PartName="/ppt/notesSlides/notesSlide403.xml" ContentType="application/vnd.openxmlformats-officedocument.presentationml.notesSlide+xml"/>
  <Override PartName="/ppt/theme/themeOverride814.xml" ContentType="application/vnd.openxmlformats-officedocument.themeOverride+xml"/>
  <Override PartName="/ppt/notesSlides/notesSlide404.xml" ContentType="application/vnd.openxmlformats-officedocument.presentationml.notesSlide+xml"/>
  <Override PartName="/ppt/theme/themeOverride815.xml" ContentType="application/vnd.openxmlformats-officedocument.themeOverride+xml"/>
  <Override PartName="/ppt/notesSlides/notesSlide405.xml" ContentType="application/vnd.openxmlformats-officedocument.presentationml.notesSlide+xml"/>
  <Override PartName="/ppt/theme/themeOverride816.xml" ContentType="application/vnd.openxmlformats-officedocument.themeOverride+xml"/>
  <Override PartName="/ppt/notesSlides/notesSlide40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820"/>
  </p:notesMasterIdLst>
  <p:handoutMasterIdLst>
    <p:handoutMasterId r:id="rId821"/>
  </p:handoutMasterIdLst>
  <p:sldIdLst>
    <p:sldId id="702" r:id="rId2"/>
    <p:sldId id="2007579960" r:id="rId3"/>
    <p:sldId id="257" r:id="rId4"/>
    <p:sldId id="258" r:id="rId5"/>
    <p:sldId id="261" r:id="rId6"/>
    <p:sldId id="263" r:id="rId7"/>
    <p:sldId id="264" r:id="rId8"/>
    <p:sldId id="262" r:id="rId9"/>
    <p:sldId id="260" r:id="rId10"/>
    <p:sldId id="282" r:id="rId11"/>
    <p:sldId id="280" r:id="rId12"/>
    <p:sldId id="286" r:id="rId13"/>
    <p:sldId id="2007579957" r:id="rId14"/>
    <p:sldId id="293" r:id="rId15"/>
    <p:sldId id="296" r:id="rId16"/>
    <p:sldId id="295" r:id="rId17"/>
    <p:sldId id="305" r:id="rId18"/>
    <p:sldId id="294" r:id="rId19"/>
    <p:sldId id="259" r:id="rId20"/>
    <p:sldId id="265" r:id="rId21"/>
    <p:sldId id="289" r:id="rId22"/>
    <p:sldId id="288" r:id="rId23"/>
    <p:sldId id="266" r:id="rId24"/>
    <p:sldId id="279" r:id="rId25"/>
    <p:sldId id="267" r:id="rId26"/>
    <p:sldId id="268" r:id="rId27"/>
    <p:sldId id="278" r:id="rId28"/>
    <p:sldId id="269" r:id="rId29"/>
    <p:sldId id="297" r:id="rId30"/>
    <p:sldId id="270" r:id="rId31"/>
    <p:sldId id="271" r:id="rId32"/>
    <p:sldId id="272" r:id="rId33"/>
    <p:sldId id="275" r:id="rId34"/>
    <p:sldId id="273" r:id="rId35"/>
    <p:sldId id="761" r:id="rId36"/>
    <p:sldId id="274" r:id="rId37"/>
    <p:sldId id="276" r:id="rId38"/>
    <p:sldId id="277" r:id="rId39"/>
    <p:sldId id="659" r:id="rId40"/>
    <p:sldId id="283" r:id="rId41"/>
    <p:sldId id="281" r:id="rId42"/>
    <p:sldId id="284" r:id="rId43"/>
    <p:sldId id="285" r:id="rId44"/>
    <p:sldId id="306" r:id="rId45"/>
    <p:sldId id="307" r:id="rId46"/>
    <p:sldId id="298" r:id="rId47"/>
    <p:sldId id="299" r:id="rId48"/>
    <p:sldId id="300" r:id="rId49"/>
    <p:sldId id="302" r:id="rId50"/>
    <p:sldId id="287" r:id="rId51"/>
    <p:sldId id="292" r:id="rId52"/>
    <p:sldId id="290" r:id="rId53"/>
    <p:sldId id="303" r:id="rId54"/>
    <p:sldId id="291" r:id="rId55"/>
    <p:sldId id="301" r:id="rId56"/>
    <p:sldId id="657" r:id="rId57"/>
    <p:sldId id="658" r:id="rId58"/>
    <p:sldId id="660" r:id="rId59"/>
    <p:sldId id="661" r:id="rId60"/>
    <p:sldId id="662" r:id="rId61"/>
    <p:sldId id="709" r:id="rId62"/>
    <p:sldId id="309" r:id="rId63"/>
    <p:sldId id="330" r:id="rId64"/>
    <p:sldId id="321" r:id="rId65"/>
    <p:sldId id="313" r:id="rId66"/>
    <p:sldId id="308" r:id="rId67"/>
    <p:sldId id="760" r:id="rId68"/>
    <p:sldId id="310" r:id="rId69"/>
    <p:sldId id="311" r:id="rId70"/>
    <p:sldId id="334" r:id="rId71"/>
    <p:sldId id="312" r:id="rId72"/>
    <p:sldId id="320" r:id="rId73"/>
    <p:sldId id="314" r:id="rId74"/>
    <p:sldId id="328" r:id="rId75"/>
    <p:sldId id="762" r:id="rId76"/>
    <p:sldId id="349" r:id="rId77"/>
    <p:sldId id="347" r:id="rId78"/>
    <p:sldId id="348" r:id="rId79"/>
    <p:sldId id="345" r:id="rId80"/>
    <p:sldId id="315" r:id="rId81"/>
    <p:sldId id="316" r:id="rId82"/>
    <p:sldId id="318" r:id="rId83"/>
    <p:sldId id="333" r:id="rId84"/>
    <p:sldId id="317" r:id="rId85"/>
    <p:sldId id="319" r:id="rId86"/>
    <p:sldId id="329" r:id="rId87"/>
    <p:sldId id="322" r:id="rId88"/>
    <p:sldId id="323" r:id="rId89"/>
    <p:sldId id="324" r:id="rId90"/>
    <p:sldId id="325" r:id="rId91"/>
    <p:sldId id="326" r:id="rId92"/>
    <p:sldId id="327" r:id="rId93"/>
    <p:sldId id="331" r:id="rId94"/>
    <p:sldId id="332" r:id="rId95"/>
    <p:sldId id="335" r:id="rId96"/>
    <p:sldId id="336" r:id="rId97"/>
    <p:sldId id="337" r:id="rId98"/>
    <p:sldId id="338" r:id="rId99"/>
    <p:sldId id="339" r:id="rId100"/>
    <p:sldId id="340" r:id="rId101"/>
    <p:sldId id="341" r:id="rId102"/>
    <p:sldId id="342" r:id="rId103"/>
    <p:sldId id="343" r:id="rId104"/>
    <p:sldId id="344" r:id="rId105"/>
    <p:sldId id="346" r:id="rId106"/>
    <p:sldId id="350" r:id="rId107"/>
    <p:sldId id="351" r:id="rId108"/>
    <p:sldId id="352" r:id="rId109"/>
    <p:sldId id="353" r:id="rId110"/>
    <p:sldId id="354" r:id="rId111"/>
    <p:sldId id="356" r:id="rId112"/>
    <p:sldId id="355" r:id="rId113"/>
    <p:sldId id="357" r:id="rId114"/>
    <p:sldId id="358" r:id="rId115"/>
    <p:sldId id="359" r:id="rId116"/>
    <p:sldId id="360" r:id="rId117"/>
    <p:sldId id="763" r:id="rId118"/>
    <p:sldId id="361" r:id="rId119"/>
    <p:sldId id="362" r:id="rId120"/>
    <p:sldId id="363" r:id="rId121"/>
    <p:sldId id="364" r:id="rId122"/>
    <p:sldId id="365" r:id="rId123"/>
    <p:sldId id="366" r:id="rId124"/>
    <p:sldId id="367" r:id="rId125"/>
    <p:sldId id="368" r:id="rId126"/>
    <p:sldId id="369" r:id="rId127"/>
    <p:sldId id="370" r:id="rId128"/>
    <p:sldId id="371" r:id="rId129"/>
    <p:sldId id="372" r:id="rId130"/>
    <p:sldId id="375" r:id="rId131"/>
    <p:sldId id="376" r:id="rId132"/>
    <p:sldId id="377" r:id="rId133"/>
    <p:sldId id="379" r:id="rId134"/>
    <p:sldId id="380" r:id="rId135"/>
    <p:sldId id="381" r:id="rId136"/>
    <p:sldId id="382" r:id="rId137"/>
    <p:sldId id="383" r:id="rId138"/>
    <p:sldId id="384" r:id="rId139"/>
    <p:sldId id="385" r:id="rId140"/>
    <p:sldId id="386" r:id="rId141"/>
    <p:sldId id="389" r:id="rId142"/>
    <p:sldId id="387" r:id="rId143"/>
    <p:sldId id="388" r:id="rId144"/>
    <p:sldId id="395" r:id="rId145"/>
    <p:sldId id="390" r:id="rId146"/>
    <p:sldId id="391" r:id="rId147"/>
    <p:sldId id="392" r:id="rId148"/>
    <p:sldId id="393" r:id="rId149"/>
    <p:sldId id="394" r:id="rId150"/>
    <p:sldId id="396" r:id="rId151"/>
    <p:sldId id="397" r:id="rId152"/>
    <p:sldId id="398" r:id="rId153"/>
    <p:sldId id="399" r:id="rId154"/>
    <p:sldId id="400" r:id="rId155"/>
    <p:sldId id="401" r:id="rId156"/>
    <p:sldId id="402" r:id="rId157"/>
    <p:sldId id="403" r:id="rId158"/>
    <p:sldId id="404" r:id="rId159"/>
    <p:sldId id="405" r:id="rId160"/>
    <p:sldId id="406" r:id="rId161"/>
    <p:sldId id="407" r:id="rId162"/>
    <p:sldId id="408" r:id="rId163"/>
    <p:sldId id="409" r:id="rId164"/>
    <p:sldId id="410" r:id="rId165"/>
    <p:sldId id="444" r:id="rId166"/>
    <p:sldId id="415" r:id="rId167"/>
    <p:sldId id="416" r:id="rId168"/>
    <p:sldId id="417" r:id="rId169"/>
    <p:sldId id="418" r:id="rId170"/>
    <p:sldId id="419" r:id="rId171"/>
    <p:sldId id="462" r:id="rId172"/>
    <p:sldId id="463" r:id="rId173"/>
    <p:sldId id="420" r:id="rId174"/>
    <p:sldId id="421" r:id="rId175"/>
    <p:sldId id="422" r:id="rId176"/>
    <p:sldId id="423" r:id="rId177"/>
    <p:sldId id="465" r:id="rId178"/>
    <p:sldId id="433" r:id="rId179"/>
    <p:sldId id="424" r:id="rId180"/>
    <p:sldId id="425" r:id="rId181"/>
    <p:sldId id="426" r:id="rId182"/>
    <p:sldId id="430" r:id="rId183"/>
    <p:sldId id="427" r:id="rId184"/>
    <p:sldId id="428" r:id="rId185"/>
    <p:sldId id="435" r:id="rId186"/>
    <p:sldId id="436" r:id="rId187"/>
    <p:sldId id="429" r:id="rId188"/>
    <p:sldId id="431" r:id="rId189"/>
    <p:sldId id="432" r:id="rId190"/>
    <p:sldId id="434" r:id="rId191"/>
    <p:sldId id="438" r:id="rId192"/>
    <p:sldId id="437" r:id="rId193"/>
    <p:sldId id="439" r:id="rId194"/>
    <p:sldId id="440" r:id="rId195"/>
    <p:sldId id="441" r:id="rId196"/>
    <p:sldId id="442" r:id="rId197"/>
    <p:sldId id="460" r:id="rId198"/>
    <p:sldId id="461" r:id="rId199"/>
    <p:sldId id="464" r:id="rId200"/>
    <p:sldId id="443" r:id="rId201"/>
    <p:sldId id="445" r:id="rId202"/>
    <p:sldId id="450" r:id="rId203"/>
    <p:sldId id="446" r:id="rId204"/>
    <p:sldId id="456" r:id="rId205"/>
    <p:sldId id="447" r:id="rId206"/>
    <p:sldId id="448" r:id="rId207"/>
    <p:sldId id="449" r:id="rId208"/>
    <p:sldId id="451" r:id="rId209"/>
    <p:sldId id="452" r:id="rId210"/>
    <p:sldId id="453" r:id="rId211"/>
    <p:sldId id="455" r:id="rId212"/>
    <p:sldId id="454" r:id="rId213"/>
    <p:sldId id="458" r:id="rId214"/>
    <p:sldId id="459" r:id="rId215"/>
    <p:sldId id="483" r:id="rId216"/>
    <p:sldId id="466" r:id="rId217"/>
    <p:sldId id="474" r:id="rId218"/>
    <p:sldId id="696" r:id="rId219"/>
    <p:sldId id="473" r:id="rId220"/>
    <p:sldId id="467" r:id="rId221"/>
    <p:sldId id="479" r:id="rId222"/>
    <p:sldId id="749" r:id="rId223"/>
    <p:sldId id="469" r:id="rId224"/>
    <p:sldId id="470" r:id="rId225"/>
    <p:sldId id="471" r:id="rId226"/>
    <p:sldId id="494" r:id="rId227"/>
    <p:sldId id="694" r:id="rId228"/>
    <p:sldId id="472" r:id="rId229"/>
    <p:sldId id="475" r:id="rId230"/>
    <p:sldId id="476" r:id="rId231"/>
    <p:sldId id="477" r:id="rId232"/>
    <p:sldId id="712" r:id="rId233"/>
    <p:sldId id="710" r:id="rId234"/>
    <p:sldId id="711" r:id="rId235"/>
    <p:sldId id="713" r:id="rId236"/>
    <p:sldId id="714" r:id="rId237"/>
    <p:sldId id="753" r:id="rId238"/>
    <p:sldId id="755" r:id="rId239"/>
    <p:sldId id="756" r:id="rId240"/>
    <p:sldId id="757" r:id="rId241"/>
    <p:sldId id="758" r:id="rId242"/>
    <p:sldId id="759" r:id="rId243"/>
    <p:sldId id="716" r:id="rId244"/>
    <p:sldId id="717" r:id="rId245"/>
    <p:sldId id="718" r:id="rId246"/>
    <p:sldId id="719" r:id="rId247"/>
    <p:sldId id="720" r:id="rId248"/>
    <p:sldId id="721" r:id="rId249"/>
    <p:sldId id="722" r:id="rId250"/>
    <p:sldId id="723" r:id="rId251"/>
    <p:sldId id="725" r:id="rId252"/>
    <p:sldId id="726" r:id="rId253"/>
    <p:sldId id="727" r:id="rId254"/>
    <p:sldId id="732" r:id="rId255"/>
    <p:sldId id="734" r:id="rId256"/>
    <p:sldId id="735" r:id="rId257"/>
    <p:sldId id="737" r:id="rId258"/>
    <p:sldId id="498" r:id="rId259"/>
    <p:sldId id="650" r:id="rId260"/>
    <p:sldId id="651" r:id="rId261"/>
    <p:sldId id="499" r:id="rId262"/>
    <p:sldId id="496" r:id="rId263"/>
    <p:sldId id="478" r:id="rId264"/>
    <p:sldId id="492" r:id="rId265"/>
    <p:sldId id="480" r:id="rId266"/>
    <p:sldId id="485" r:id="rId267"/>
    <p:sldId id="486" r:id="rId268"/>
    <p:sldId id="484" r:id="rId269"/>
    <p:sldId id="487" r:id="rId270"/>
    <p:sldId id="489" r:id="rId271"/>
    <p:sldId id="679" r:id="rId272"/>
    <p:sldId id="680" r:id="rId273"/>
    <p:sldId id="681" r:id="rId274"/>
    <p:sldId id="695" r:id="rId275"/>
    <p:sldId id="724" r:id="rId276"/>
    <p:sldId id="682" r:id="rId277"/>
    <p:sldId id="481" r:id="rId278"/>
    <p:sldId id="482" r:id="rId279"/>
    <p:sldId id="488" r:id="rId280"/>
    <p:sldId id="490" r:id="rId281"/>
    <p:sldId id="491" r:id="rId282"/>
    <p:sldId id="493" r:id="rId283"/>
    <p:sldId id="495" r:id="rId284"/>
    <p:sldId id="652" r:id="rId285"/>
    <p:sldId id="653" r:id="rId286"/>
    <p:sldId id="654" r:id="rId287"/>
    <p:sldId id="672" r:id="rId288"/>
    <p:sldId id="673" r:id="rId289"/>
    <p:sldId id="674" r:id="rId290"/>
    <p:sldId id="687" r:id="rId291"/>
    <p:sldId id="688" r:id="rId292"/>
    <p:sldId id="689" r:id="rId293"/>
    <p:sldId id="690" r:id="rId294"/>
    <p:sldId id="691" r:id="rId295"/>
    <p:sldId id="675" r:id="rId296"/>
    <p:sldId id="676" r:id="rId297"/>
    <p:sldId id="748" r:id="rId298"/>
    <p:sldId id="750" r:id="rId299"/>
    <p:sldId id="751" r:id="rId300"/>
    <p:sldId id="677" r:id="rId301"/>
    <p:sldId id="497" r:id="rId302"/>
    <p:sldId id="500" r:id="rId303"/>
    <p:sldId id="501" r:id="rId304"/>
    <p:sldId id="502" r:id="rId305"/>
    <p:sldId id="503" r:id="rId306"/>
    <p:sldId id="685" r:id="rId307"/>
    <p:sldId id="684" r:id="rId308"/>
    <p:sldId id="504" r:id="rId309"/>
    <p:sldId id="508" r:id="rId310"/>
    <p:sldId id="507" r:id="rId311"/>
    <p:sldId id="509" r:id="rId312"/>
    <p:sldId id="505" r:id="rId313"/>
    <p:sldId id="506" r:id="rId314"/>
    <p:sldId id="510" r:id="rId315"/>
    <p:sldId id="511" r:id="rId316"/>
    <p:sldId id="512" r:id="rId317"/>
    <p:sldId id="513" r:id="rId318"/>
    <p:sldId id="514" r:id="rId319"/>
    <p:sldId id="515" r:id="rId320"/>
    <p:sldId id="752" r:id="rId321"/>
    <p:sldId id="683" r:id="rId322"/>
    <p:sldId id="686" r:id="rId323"/>
    <p:sldId id="692" r:id="rId324"/>
    <p:sldId id="693" r:id="rId325"/>
    <p:sldId id="649" r:id="rId326"/>
    <p:sldId id="516" r:id="rId327"/>
    <p:sldId id="701" r:id="rId328"/>
    <p:sldId id="697" r:id="rId329"/>
    <p:sldId id="698" r:id="rId330"/>
    <p:sldId id="699" r:id="rId331"/>
    <p:sldId id="703" r:id="rId332"/>
    <p:sldId id="704" r:id="rId333"/>
    <p:sldId id="705" r:id="rId334"/>
    <p:sldId id="706" r:id="rId335"/>
    <p:sldId id="733" r:id="rId336"/>
    <p:sldId id="707" r:id="rId337"/>
    <p:sldId id="708" r:id="rId338"/>
    <p:sldId id="700" r:id="rId339"/>
    <p:sldId id="517" r:id="rId340"/>
    <p:sldId id="648" r:id="rId341"/>
    <p:sldId id="736" r:id="rId342"/>
    <p:sldId id="738" r:id="rId343"/>
    <p:sldId id="739" r:id="rId344"/>
    <p:sldId id="740" r:id="rId345"/>
    <p:sldId id="741" r:id="rId346"/>
    <p:sldId id="742" r:id="rId347"/>
    <p:sldId id="743" r:id="rId348"/>
    <p:sldId id="744" r:id="rId349"/>
    <p:sldId id="746" r:id="rId350"/>
    <p:sldId id="747" r:id="rId351"/>
    <p:sldId id="655" r:id="rId352"/>
    <p:sldId id="663" r:id="rId353"/>
    <p:sldId id="664" r:id="rId354"/>
    <p:sldId id="665" r:id="rId355"/>
    <p:sldId id="666" r:id="rId356"/>
    <p:sldId id="667" r:id="rId357"/>
    <p:sldId id="668" r:id="rId358"/>
    <p:sldId id="670" r:id="rId359"/>
    <p:sldId id="671" r:id="rId360"/>
    <p:sldId id="678" r:id="rId361"/>
    <p:sldId id="630" r:id="rId362"/>
    <p:sldId id="631" r:id="rId363"/>
    <p:sldId id="626" r:id="rId364"/>
    <p:sldId id="627" r:id="rId365"/>
    <p:sldId id="628" r:id="rId366"/>
    <p:sldId id="639" r:id="rId367"/>
    <p:sldId id="640" r:id="rId368"/>
    <p:sldId id="616" r:id="rId369"/>
    <p:sldId id="617" r:id="rId370"/>
    <p:sldId id="618" r:id="rId371"/>
    <p:sldId id="619" r:id="rId372"/>
    <p:sldId id="620" r:id="rId373"/>
    <p:sldId id="621" r:id="rId374"/>
    <p:sldId id="622" r:id="rId375"/>
    <p:sldId id="623" r:id="rId376"/>
    <p:sldId id="629" r:id="rId377"/>
    <p:sldId id="632" r:id="rId378"/>
    <p:sldId id="633" r:id="rId379"/>
    <p:sldId id="634" r:id="rId380"/>
    <p:sldId id="635" r:id="rId381"/>
    <p:sldId id="636" r:id="rId382"/>
    <p:sldId id="637" r:id="rId383"/>
    <p:sldId id="638" r:id="rId384"/>
    <p:sldId id="641" r:id="rId385"/>
    <p:sldId id="642" r:id="rId386"/>
    <p:sldId id="646" r:id="rId387"/>
    <p:sldId id="647" r:id="rId388"/>
    <p:sldId id="643" r:id="rId389"/>
    <p:sldId id="644" r:id="rId390"/>
    <p:sldId id="645" r:id="rId391"/>
    <p:sldId id="519" r:id="rId392"/>
    <p:sldId id="256" r:id="rId393"/>
    <p:sldId id="520" r:id="rId394"/>
    <p:sldId id="522" r:id="rId395"/>
    <p:sldId id="523" r:id="rId396"/>
    <p:sldId id="524" r:id="rId397"/>
    <p:sldId id="525" r:id="rId398"/>
    <p:sldId id="526" r:id="rId399"/>
    <p:sldId id="528" r:id="rId400"/>
    <p:sldId id="536" r:id="rId401"/>
    <p:sldId id="540" r:id="rId402"/>
    <p:sldId id="541" r:id="rId403"/>
    <p:sldId id="543" r:id="rId404"/>
    <p:sldId id="544" r:id="rId405"/>
    <p:sldId id="545" r:id="rId406"/>
    <p:sldId id="547" r:id="rId407"/>
    <p:sldId id="550" r:id="rId408"/>
    <p:sldId id="553" r:id="rId409"/>
    <p:sldId id="554" r:id="rId410"/>
    <p:sldId id="559" r:id="rId411"/>
    <p:sldId id="3650" r:id="rId412"/>
    <p:sldId id="3652" r:id="rId413"/>
    <p:sldId id="3657" r:id="rId414"/>
    <p:sldId id="3658" r:id="rId415"/>
    <p:sldId id="2866" r:id="rId416"/>
    <p:sldId id="2867" r:id="rId417"/>
    <p:sldId id="2868" r:id="rId418"/>
    <p:sldId id="2869" r:id="rId419"/>
    <p:sldId id="2870" r:id="rId420"/>
    <p:sldId id="2871" r:id="rId421"/>
    <p:sldId id="2898" r:id="rId422"/>
    <p:sldId id="2873" r:id="rId423"/>
    <p:sldId id="2872" r:id="rId424"/>
    <p:sldId id="2874" r:id="rId425"/>
    <p:sldId id="2875" r:id="rId426"/>
    <p:sldId id="2876" r:id="rId427"/>
    <p:sldId id="2877" r:id="rId428"/>
    <p:sldId id="2878" r:id="rId429"/>
    <p:sldId id="2879" r:id="rId430"/>
    <p:sldId id="2880" r:id="rId431"/>
    <p:sldId id="2881" r:id="rId432"/>
    <p:sldId id="2882" r:id="rId433"/>
    <p:sldId id="2883" r:id="rId434"/>
    <p:sldId id="2884" r:id="rId435"/>
    <p:sldId id="2885" r:id="rId436"/>
    <p:sldId id="2886" r:id="rId437"/>
    <p:sldId id="2887" r:id="rId438"/>
    <p:sldId id="2888" r:id="rId439"/>
    <p:sldId id="2889" r:id="rId440"/>
    <p:sldId id="2890" r:id="rId441"/>
    <p:sldId id="2891" r:id="rId442"/>
    <p:sldId id="2892" r:id="rId443"/>
    <p:sldId id="2893" r:id="rId444"/>
    <p:sldId id="2894" r:id="rId445"/>
    <p:sldId id="2895" r:id="rId446"/>
    <p:sldId id="2896" r:id="rId447"/>
    <p:sldId id="2897" r:id="rId448"/>
    <p:sldId id="2899" r:id="rId449"/>
    <p:sldId id="2900" r:id="rId450"/>
    <p:sldId id="2901" r:id="rId451"/>
    <p:sldId id="2902" r:id="rId452"/>
    <p:sldId id="2903" r:id="rId453"/>
    <p:sldId id="2904" r:id="rId454"/>
    <p:sldId id="2905" r:id="rId455"/>
    <p:sldId id="2906" r:id="rId456"/>
    <p:sldId id="2907" r:id="rId457"/>
    <p:sldId id="2908" r:id="rId458"/>
    <p:sldId id="2909" r:id="rId459"/>
    <p:sldId id="2910" r:id="rId460"/>
    <p:sldId id="2911" r:id="rId461"/>
    <p:sldId id="2912" r:id="rId462"/>
    <p:sldId id="2913" r:id="rId463"/>
    <p:sldId id="2914" r:id="rId464"/>
    <p:sldId id="2915" r:id="rId465"/>
    <p:sldId id="2916" r:id="rId466"/>
    <p:sldId id="2917" r:id="rId467"/>
    <p:sldId id="2918" r:id="rId468"/>
    <p:sldId id="2919" r:id="rId469"/>
    <p:sldId id="2920" r:id="rId470"/>
    <p:sldId id="2921" r:id="rId471"/>
    <p:sldId id="2922" r:id="rId472"/>
    <p:sldId id="2923" r:id="rId473"/>
    <p:sldId id="2924" r:id="rId474"/>
    <p:sldId id="2925" r:id="rId475"/>
    <p:sldId id="2926" r:id="rId476"/>
    <p:sldId id="2927" r:id="rId477"/>
    <p:sldId id="2928" r:id="rId478"/>
    <p:sldId id="2929" r:id="rId479"/>
    <p:sldId id="2930" r:id="rId480"/>
    <p:sldId id="2931" r:id="rId481"/>
    <p:sldId id="2932" r:id="rId482"/>
    <p:sldId id="2933" r:id="rId483"/>
    <p:sldId id="2934" r:id="rId484"/>
    <p:sldId id="2935" r:id="rId485"/>
    <p:sldId id="2936" r:id="rId486"/>
    <p:sldId id="2937" r:id="rId487"/>
    <p:sldId id="2938" r:id="rId488"/>
    <p:sldId id="2939" r:id="rId489"/>
    <p:sldId id="2940" r:id="rId490"/>
    <p:sldId id="2941" r:id="rId491"/>
    <p:sldId id="2942" r:id="rId492"/>
    <p:sldId id="2943" r:id="rId493"/>
    <p:sldId id="2944" r:id="rId494"/>
    <p:sldId id="2945" r:id="rId495"/>
    <p:sldId id="2946" r:id="rId496"/>
    <p:sldId id="2947" r:id="rId497"/>
    <p:sldId id="2948" r:id="rId498"/>
    <p:sldId id="2949" r:id="rId499"/>
    <p:sldId id="2950" r:id="rId500"/>
    <p:sldId id="2951" r:id="rId501"/>
    <p:sldId id="2952" r:id="rId502"/>
    <p:sldId id="2953" r:id="rId503"/>
    <p:sldId id="2954" r:id="rId504"/>
    <p:sldId id="2955" r:id="rId505"/>
    <p:sldId id="2956" r:id="rId506"/>
    <p:sldId id="2957" r:id="rId507"/>
    <p:sldId id="2958" r:id="rId508"/>
    <p:sldId id="2959" r:id="rId509"/>
    <p:sldId id="2960" r:id="rId510"/>
    <p:sldId id="2961" r:id="rId511"/>
    <p:sldId id="2962" r:id="rId512"/>
    <p:sldId id="2963" r:id="rId513"/>
    <p:sldId id="2964" r:id="rId514"/>
    <p:sldId id="2965" r:id="rId515"/>
    <p:sldId id="2966" r:id="rId516"/>
    <p:sldId id="2967" r:id="rId517"/>
    <p:sldId id="2968" r:id="rId518"/>
    <p:sldId id="2969" r:id="rId519"/>
    <p:sldId id="2970" r:id="rId520"/>
    <p:sldId id="2971" r:id="rId521"/>
    <p:sldId id="2972" r:id="rId522"/>
    <p:sldId id="2973" r:id="rId523"/>
    <p:sldId id="2974" r:id="rId524"/>
    <p:sldId id="2975" r:id="rId525"/>
    <p:sldId id="2976" r:id="rId526"/>
    <p:sldId id="2977" r:id="rId527"/>
    <p:sldId id="2978" r:id="rId528"/>
    <p:sldId id="2979" r:id="rId529"/>
    <p:sldId id="2980" r:id="rId530"/>
    <p:sldId id="2981" r:id="rId531"/>
    <p:sldId id="2982" r:id="rId532"/>
    <p:sldId id="2983" r:id="rId533"/>
    <p:sldId id="2984" r:id="rId534"/>
    <p:sldId id="2985" r:id="rId535"/>
    <p:sldId id="2986" r:id="rId536"/>
    <p:sldId id="2987" r:id="rId537"/>
    <p:sldId id="2988" r:id="rId538"/>
    <p:sldId id="2989" r:id="rId539"/>
    <p:sldId id="2990" r:id="rId540"/>
    <p:sldId id="2991" r:id="rId541"/>
    <p:sldId id="2992" r:id="rId542"/>
    <p:sldId id="2993" r:id="rId543"/>
    <p:sldId id="2994" r:id="rId544"/>
    <p:sldId id="2995" r:id="rId545"/>
    <p:sldId id="2996" r:id="rId546"/>
    <p:sldId id="2997" r:id="rId547"/>
    <p:sldId id="2998" r:id="rId548"/>
    <p:sldId id="2999" r:id="rId549"/>
    <p:sldId id="3000" r:id="rId550"/>
    <p:sldId id="2007578914" r:id="rId551"/>
    <p:sldId id="2007578915" r:id="rId552"/>
    <p:sldId id="2007578916" r:id="rId553"/>
    <p:sldId id="2007578918" r:id="rId554"/>
    <p:sldId id="2007578919" r:id="rId555"/>
    <p:sldId id="2007579959" r:id="rId556"/>
    <p:sldId id="976" r:id="rId557"/>
    <p:sldId id="977" r:id="rId558"/>
    <p:sldId id="978" r:id="rId559"/>
    <p:sldId id="979" r:id="rId560"/>
    <p:sldId id="980" r:id="rId561"/>
    <p:sldId id="981" r:id="rId562"/>
    <p:sldId id="982" r:id="rId563"/>
    <p:sldId id="983" r:id="rId564"/>
    <p:sldId id="984" r:id="rId565"/>
    <p:sldId id="985" r:id="rId566"/>
    <p:sldId id="986" r:id="rId567"/>
    <p:sldId id="987" r:id="rId568"/>
    <p:sldId id="988" r:id="rId569"/>
    <p:sldId id="989" r:id="rId570"/>
    <p:sldId id="990" r:id="rId571"/>
    <p:sldId id="991" r:id="rId572"/>
    <p:sldId id="992" r:id="rId573"/>
    <p:sldId id="993" r:id="rId574"/>
    <p:sldId id="994" r:id="rId575"/>
    <p:sldId id="995" r:id="rId576"/>
    <p:sldId id="2007578920" r:id="rId577"/>
    <p:sldId id="2007578921" r:id="rId578"/>
    <p:sldId id="2007578922" r:id="rId579"/>
    <p:sldId id="2007578923" r:id="rId580"/>
    <p:sldId id="2007578924" r:id="rId581"/>
    <p:sldId id="2007578925" r:id="rId582"/>
    <p:sldId id="1080" r:id="rId583"/>
    <p:sldId id="1081" r:id="rId584"/>
    <p:sldId id="1082" r:id="rId585"/>
    <p:sldId id="1083" r:id="rId586"/>
    <p:sldId id="1084" r:id="rId587"/>
    <p:sldId id="1085" r:id="rId588"/>
    <p:sldId id="1086" r:id="rId589"/>
    <p:sldId id="1087" r:id="rId590"/>
    <p:sldId id="1088" r:id="rId591"/>
    <p:sldId id="1089" r:id="rId592"/>
    <p:sldId id="1090" r:id="rId593"/>
    <p:sldId id="1091" r:id="rId594"/>
    <p:sldId id="1092" r:id="rId595"/>
    <p:sldId id="1093" r:id="rId596"/>
    <p:sldId id="1094" r:id="rId597"/>
    <p:sldId id="1095" r:id="rId598"/>
    <p:sldId id="1096" r:id="rId599"/>
    <p:sldId id="1097" r:id="rId600"/>
    <p:sldId id="1098" r:id="rId601"/>
    <p:sldId id="1099" r:id="rId602"/>
    <p:sldId id="1100" r:id="rId603"/>
    <p:sldId id="1101" r:id="rId604"/>
    <p:sldId id="1102" r:id="rId605"/>
    <p:sldId id="1103" r:id="rId606"/>
    <p:sldId id="1104" r:id="rId607"/>
    <p:sldId id="1105" r:id="rId608"/>
    <p:sldId id="1106" r:id="rId609"/>
    <p:sldId id="1107" r:id="rId610"/>
    <p:sldId id="1108" r:id="rId611"/>
    <p:sldId id="1109" r:id="rId612"/>
    <p:sldId id="1110" r:id="rId613"/>
    <p:sldId id="1111" r:id="rId614"/>
    <p:sldId id="1112" r:id="rId615"/>
    <p:sldId id="1113" r:id="rId616"/>
    <p:sldId id="1114" r:id="rId617"/>
    <p:sldId id="1115" r:id="rId618"/>
    <p:sldId id="1116" r:id="rId619"/>
    <p:sldId id="1117" r:id="rId620"/>
    <p:sldId id="1118" r:id="rId621"/>
    <p:sldId id="1119" r:id="rId622"/>
    <p:sldId id="1120" r:id="rId623"/>
    <p:sldId id="1121" r:id="rId624"/>
    <p:sldId id="1122" r:id="rId625"/>
    <p:sldId id="1123" r:id="rId626"/>
    <p:sldId id="1124" r:id="rId627"/>
    <p:sldId id="1125" r:id="rId628"/>
    <p:sldId id="1126" r:id="rId629"/>
    <p:sldId id="1127" r:id="rId630"/>
    <p:sldId id="1128" r:id="rId631"/>
    <p:sldId id="1129" r:id="rId632"/>
    <p:sldId id="1130" r:id="rId633"/>
    <p:sldId id="1131" r:id="rId634"/>
    <p:sldId id="1132" r:id="rId635"/>
    <p:sldId id="1133" r:id="rId636"/>
    <p:sldId id="1134" r:id="rId637"/>
    <p:sldId id="1135" r:id="rId638"/>
    <p:sldId id="1136" r:id="rId639"/>
    <p:sldId id="1137" r:id="rId640"/>
    <p:sldId id="1138" r:id="rId641"/>
    <p:sldId id="1139" r:id="rId642"/>
    <p:sldId id="1140" r:id="rId643"/>
    <p:sldId id="1141" r:id="rId644"/>
    <p:sldId id="1142" r:id="rId645"/>
    <p:sldId id="1143" r:id="rId646"/>
    <p:sldId id="1144" r:id="rId647"/>
    <p:sldId id="1145" r:id="rId648"/>
    <p:sldId id="1146" r:id="rId649"/>
    <p:sldId id="1147" r:id="rId650"/>
    <p:sldId id="1148" r:id="rId651"/>
    <p:sldId id="1149" r:id="rId652"/>
    <p:sldId id="1150" r:id="rId653"/>
    <p:sldId id="1151" r:id="rId654"/>
    <p:sldId id="1152" r:id="rId655"/>
    <p:sldId id="1153" r:id="rId656"/>
    <p:sldId id="1154" r:id="rId657"/>
    <p:sldId id="1155" r:id="rId658"/>
    <p:sldId id="1156" r:id="rId659"/>
    <p:sldId id="1157" r:id="rId660"/>
    <p:sldId id="1158" r:id="rId661"/>
    <p:sldId id="1159" r:id="rId662"/>
    <p:sldId id="1160" r:id="rId663"/>
    <p:sldId id="1161" r:id="rId664"/>
    <p:sldId id="1162" r:id="rId665"/>
    <p:sldId id="1163" r:id="rId666"/>
    <p:sldId id="1164" r:id="rId667"/>
    <p:sldId id="1165" r:id="rId668"/>
    <p:sldId id="1166" r:id="rId669"/>
    <p:sldId id="1167" r:id="rId670"/>
    <p:sldId id="1168" r:id="rId671"/>
    <p:sldId id="1169" r:id="rId672"/>
    <p:sldId id="1170" r:id="rId673"/>
    <p:sldId id="1171" r:id="rId674"/>
    <p:sldId id="1172" r:id="rId675"/>
    <p:sldId id="1173" r:id="rId676"/>
    <p:sldId id="1174" r:id="rId677"/>
    <p:sldId id="1175" r:id="rId678"/>
    <p:sldId id="1176" r:id="rId679"/>
    <p:sldId id="1177" r:id="rId680"/>
    <p:sldId id="1178" r:id="rId681"/>
    <p:sldId id="1179" r:id="rId682"/>
    <p:sldId id="1180" r:id="rId683"/>
    <p:sldId id="1181" r:id="rId684"/>
    <p:sldId id="1182" r:id="rId685"/>
    <p:sldId id="1183" r:id="rId686"/>
    <p:sldId id="2007578968" r:id="rId687"/>
    <p:sldId id="2007578969" r:id="rId688"/>
    <p:sldId id="2007579948" r:id="rId689"/>
    <p:sldId id="2007579949" r:id="rId690"/>
    <p:sldId id="2007579950" r:id="rId691"/>
    <p:sldId id="2007579951" r:id="rId692"/>
    <p:sldId id="2007579952" r:id="rId693"/>
    <p:sldId id="2007579953" r:id="rId694"/>
    <p:sldId id="2007579954" r:id="rId695"/>
    <p:sldId id="2007579955" r:id="rId696"/>
    <p:sldId id="2007579956" r:id="rId697"/>
    <p:sldId id="996" r:id="rId698"/>
    <p:sldId id="997" r:id="rId699"/>
    <p:sldId id="998" r:id="rId700"/>
    <p:sldId id="999" r:id="rId701"/>
    <p:sldId id="1000" r:id="rId702"/>
    <p:sldId id="1001" r:id="rId703"/>
    <p:sldId id="1002" r:id="rId704"/>
    <p:sldId id="1003" r:id="rId705"/>
    <p:sldId id="1004" r:id="rId706"/>
    <p:sldId id="1005" r:id="rId707"/>
    <p:sldId id="1006" r:id="rId708"/>
    <p:sldId id="1007" r:id="rId709"/>
    <p:sldId id="1008" r:id="rId710"/>
    <p:sldId id="1009" r:id="rId711"/>
    <p:sldId id="1010" r:id="rId712"/>
    <p:sldId id="1011" r:id="rId713"/>
    <p:sldId id="1012" r:id="rId714"/>
    <p:sldId id="1013" r:id="rId715"/>
    <p:sldId id="1014" r:id="rId716"/>
    <p:sldId id="1015" r:id="rId717"/>
    <p:sldId id="1016" r:id="rId718"/>
    <p:sldId id="1017" r:id="rId719"/>
    <p:sldId id="1018" r:id="rId720"/>
    <p:sldId id="1019" r:id="rId721"/>
    <p:sldId id="1020" r:id="rId722"/>
    <p:sldId id="1021" r:id="rId723"/>
    <p:sldId id="1022" r:id="rId724"/>
    <p:sldId id="1023" r:id="rId725"/>
    <p:sldId id="1024" r:id="rId726"/>
    <p:sldId id="1025" r:id="rId727"/>
    <p:sldId id="1026" r:id="rId728"/>
    <p:sldId id="1027" r:id="rId729"/>
    <p:sldId id="1028" r:id="rId730"/>
    <p:sldId id="1029" r:id="rId731"/>
    <p:sldId id="1030" r:id="rId732"/>
    <p:sldId id="1031" r:id="rId733"/>
    <p:sldId id="1032" r:id="rId734"/>
    <p:sldId id="1033" r:id="rId735"/>
    <p:sldId id="1034" r:id="rId736"/>
    <p:sldId id="1035" r:id="rId737"/>
    <p:sldId id="1036" r:id="rId738"/>
    <p:sldId id="1037" r:id="rId739"/>
    <p:sldId id="1038" r:id="rId740"/>
    <p:sldId id="1039" r:id="rId741"/>
    <p:sldId id="1040" r:id="rId742"/>
    <p:sldId id="1041" r:id="rId743"/>
    <p:sldId id="1042" r:id="rId744"/>
    <p:sldId id="1043" r:id="rId745"/>
    <p:sldId id="1044" r:id="rId746"/>
    <p:sldId id="1045" r:id="rId747"/>
    <p:sldId id="304" r:id="rId748"/>
    <p:sldId id="1046" r:id="rId749"/>
    <p:sldId id="1047" r:id="rId750"/>
    <p:sldId id="1048" r:id="rId751"/>
    <p:sldId id="1049" r:id="rId752"/>
    <p:sldId id="1050" r:id="rId753"/>
    <p:sldId id="1051" r:id="rId754"/>
    <p:sldId id="1052" r:id="rId755"/>
    <p:sldId id="1053" r:id="rId756"/>
    <p:sldId id="1054" r:id="rId757"/>
    <p:sldId id="1055" r:id="rId758"/>
    <p:sldId id="1056" r:id="rId759"/>
    <p:sldId id="1057" r:id="rId760"/>
    <p:sldId id="1058" r:id="rId761"/>
    <p:sldId id="1059" r:id="rId762"/>
    <p:sldId id="1060" r:id="rId763"/>
    <p:sldId id="1061" r:id="rId764"/>
    <p:sldId id="1062" r:id="rId765"/>
    <p:sldId id="1063" r:id="rId766"/>
    <p:sldId id="1064" r:id="rId767"/>
    <p:sldId id="1065" r:id="rId768"/>
    <p:sldId id="1066" r:id="rId769"/>
    <p:sldId id="1067" r:id="rId770"/>
    <p:sldId id="1068" r:id="rId771"/>
    <p:sldId id="1069" r:id="rId772"/>
    <p:sldId id="1070" r:id="rId773"/>
    <p:sldId id="1071" r:id="rId774"/>
    <p:sldId id="1072" r:id="rId775"/>
    <p:sldId id="1073" r:id="rId776"/>
    <p:sldId id="1074" r:id="rId777"/>
    <p:sldId id="1075" r:id="rId778"/>
    <p:sldId id="1076" r:id="rId779"/>
    <p:sldId id="1077" r:id="rId780"/>
    <p:sldId id="1078" r:id="rId781"/>
    <p:sldId id="1079" r:id="rId782"/>
    <p:sldId id="2007578926" r:id="rId783"/>
    <p:sldId id="2007578927" r:id="rId784"/>
    <p:sldId id="2007578928" r:id="rId785"/>
    <p:sldId id="2007578929" r:id="rId786"/>
    <p:sldId id="2007578930" r:id="rId787"/>
    <p:sldId id="2007578931" r:id="rId788"/>
    <p:sldId id="2007578932" r:id="rId789"/>
    <p:sldId id="2007578933" r:id="rId790"/>
    <p:sldId id="2007578934" r:id="rId791"/>
    <p:sldId id="2007578935" r:id="rId792"/>
    <p:sldId id="2007578936" r:id="rId793"/>
    <p:sldId id="2007578937" r:id="rId794"/>
    <p:sldId id="2007578938" r:id="rId795"/>
    <p:sldId id="2007578939" r:id="rId796"/>
    <p:sldId id="2007578940" r:id="rId797"/>
    <p:sldId id="2007578941" r:id="rId798"/>
    <p:sldId id="2007578942" r:id="rId799"/>
    <p:sldId id="2007578943" r:id="rId800"/>
    <p:sldId id="2007578944" r:id="rId801"/>
    <p:sldId id="2007578945" r:id="rId802"/>
    <p:sldId id="2007578946" r:id="rId803"/>
    <p:sldId id="2007578947" r:id="rId804"/>
    <p:sldId id="2007578948" r:id="rId805"/>
    <p:sldId id="2007578949" r:id="rId806"/>
    <p:sldId id="2007578950" r:id="rId807"/>
    <p:sldId id="2007578951" r:id="rId808"/>
    <p:sldId id="2007578952" r:id="rId809"/>
    <p:sldId id="2007578953" r:id="rId810"/>
    <p:sldId id="2007578955" r:id="rId811"/>
    <p:sldId id="2007578956" r:id="rId812"/>
    <p:sldId id="2007578957" r:id="rId813"/>
    <p:sldId id="2007578958" r:id="rId814"/>
    <p:sldId id="2007578959" r:id="rId815"/>
    <p:sldId id="2007578960" r:id="rId816"/>
    <p:sldId id="2007578962" r:id="rId817"/>
    <p:sldId id="2007578964" r:id="rId818"/>
    <p:sldId id="2007578965" r:id="rId819"/>
  </p:sldIdLst>
  <p:sldSz cx="12192000" cy="6858000"/>
  <p:notesSz cx="6858000" cy="9144000"/>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封面页" id="{7E1676E3-DFB1-4B60-8DE5-EFCAA3346C0E}">
          <p14:sldIdLst>
            <p14:sldId id="702"/>
            <p14:sldId id="2007579960"/>
            <p14:sldId id="257"/>
            <p14:sldId id="258"/>
            <p14:sldId id="261"/>
            <p14:sldId id="263"/>
            <p14:sldId id="264"/>
            <p14:sldId id="262"/>
            <p14:sldId id="260"/>
            <p14:sldId id="282"/>
            <p14:sldId id="280"/>
            <p14:sldId id="286"/>
            <p14:sldId id="2007579957"/>
            <p14:sldId id="293"/>
            <p14:sldId id="296"/>
            <p14:sldId id="295"/>
            <p14:sldId id="305"/>
            <p14:sldId id="294"/>
            <p14:sldId id="259"/>
            <p14:sldId id="265"/>
            <p14:sldId id="289"/>
            <p14:sldId id="288"/>
            <p14:sldId id="266"/>
            <p14:sldId id="279"/>
            <p14:sldId id="267"/>
            <p14:sldId id="268"/>
            <p14:sldId id="278"/>
            <p14:sldId id="269"/>
            <p14:sldId id="297"/>
            <p14:sldId id="270"/>
            <p14:sldId id="271"/>
            <p14:sldId id="272"/>
            <p14:sldId id="275"/>
            <p14:sldId id="273"/>
            <p14:sldId id="761"/>
            <p14:sldId id="274"/>
            <p14:sldId id="276"/>
            <p14:sldId id="277"/>
            <p14:sldId id="659"/>
            <p14:sldId id="283"/>
            <p14:sldId id="281"/>
            <p14:sldId id="284"/>
            <p14:sldId id="285"/>
            <p14:sldId id="306"/>
            <p14:sldId id="307"/>
            <p14:sldId id="298"/>
            <p14:sldId id="299"/>
            <p14:sldId id="300"/>
            <p14:sldId id="302"/>
            <p14:sldId id="287"/>
            <p14:sldId id="292"/>
            <p14:sldId id="290"/>
            <p14:sldId id="303"/>
            <p14:sldId id="291"/>
            <p14:sldId id="301"/>
            <p14:sldId id="657"/>
            <p14:sldId id="658"/>
            <p14:sldId id="660"/>
            <p14:sldId id="661"/>
            <p14:sldId id="662"/>
            <p14:sldId id="709"/>
          </p14:sldIdLst>
        </p14:section>
        <p14:section name="目录页" id="{A2B5C05A-61E4-4926-B4C2-106D40A6DC24}">
          <p14:sldIdLst>
            <p14:sldId id="309"/>
            <p14:sldId id="330"/>
            <p14:sldId id="321"/>
            <p14:sldId id="313"/>
            <p14:sldId id="308"/>
            <p14:sldId id="760"/>
            <p14:sldId id="310"/>
            <p14:sldId id="311"/>
            <p14:sldId id="334"/>
            <p14:sldId id="312"/>
            <p14:sldId id="320"/>
            <p14:sldId id="314"/>
            <p14:sldId id="328"/>
            <p14:sldId id="762"/>
            <p14:sldId id="349"/>
            <p14:sldId id="347"/>
            <p14:sldId id="348"/>
            <p14:sldId id="345"/>
            <p14:sldId id="315"/>
            <p14:sldId id="316"/>
            <p14:sldId id="318"/>
            <p14:sldId id="333"/>
            <p14:sldId id="317"/>
            <p14:sldId id="319"/>
            <p14:sldId id="329"/>
            <p14:sldId id="322"/>
            <p14:sldId id="323"/>
            <p14:sldId id="324"/>
            <p14:sldId id="325"/>
            <p14:sldId id="326"/>
            <p14:sldId id="327"/>
            <p14:sldId id="331"/>
            <p14:sldId id="332"/>
            <p14:sldId id="335"/>
            <p14:sldId id="336"/>
            <p14:sldId id="337"/>
            <p14:sldId id="338"/>
            <p14:sldId id="339"/>
            <p14:sldId id="340"/>
            <p14:sldId id="341"/>
            <p14:sldId id="342"/>
            <p14:sldId id="343"/>
            <p14:sldId id="344"/>
            <p14:sldId id="346"/>
            <p14:sldId id="350"/>
            <p14:sldId id="351"/>
            <p14:sldId id="352"/>
            <p14:sldId id="353"/>
            <p14:sldId id="354"/>
            <p14:sldId id="356"/>
            <p14:sldId id="355"/>
            <p14:sldId id="357"/>
            <p14:sldId id="358"/>
          </p14:sldIdLst>
        </p14:section>
        <p14:section name="过渡页" id="{2E8C5E8F-2517-4DD3-BA3B-52C9D533368D}">
          <p14:sldIdLst>
            <p14:sldId id="359"/>
            <p14:sldId id="360"/>
            <p14:sldId id="763"/>
            <p14:sldId id="361"/>
            <p14:sldId id="362"/>
            <p14:sldId id="363"/>
            <p14:sldId id="364"/>
            <p14:sldId id="365"/>
            <p14:sldId id="366"/>
            <p14:sldId id="367"/>
            <p14:sldId id="368"/>
            <p14:sldId id="369"/>
            <p14:sldId id="370"/>
            <p14:sldId id="371"/>
            <p14:sldId id="372"/>
            <p14:sldId id="375"/>
            <p14:sldId id="376"/>
            <p14:sldId id="377"/>
            <p14:sldId id="379"/>
            <p14:sldId id="380"/>
            <p14:sldId id="381"/>
            <p14:sldId id="382"/>
            <p14:sldId id="383"/>
            <p14:sldId id="384"/>
            <p14:sldId id="385"/>
            <p14:sldId id="386"/>
            <p14:sldId id="389"/>
            <p14:sldId id="387"/>
            <p14:sldId id="388"/>
            <p14:sldId id="395"/>
            <p14:sldId id="390"/>
            <p14:sldId id="391"/>
            <p14:sldId id="392"/>
            <p14:sldId id="393"/>
            <p14:sldId id="394"/>
            <p14:sldId id="396"/>
            <p14:sldId id="397"/>
            <p14:sldId id="398"/>
            <p14:sldId id="399"/>
            <p14:sldId id="400"/>
            <p14:sldId id="401"/>
            <p14:sldId id="402"/>
            <p14:sldId id="403"/>
            <p14:sldId id="404"/>
            <p14:sldId id="405"/>
            <p14:sldId id="406"/>
            <p14:sldId id="407"/>
            <p14:sldId id="408"/>
            <p14:sldId id="409"/>
            <p14:sldId id="410"/>
            <p14:sldId id="444"/>
          </p14:sldIdLst>
        </p14:section>
        <p14:section name="内容页底版" id="{987031E2-B9EA-4406-B28A-731580296968}">
          <p14:sldIdLst>
            <p14:sldId id="415"/>
            <p14:sldId id="416"/>
            <p14:sldId id="417"/>
            <p14:sldId id="418"/>
            <p14:sldId id="419"/>
            <p14:sldId id="462"/>
            <p14:sldId id="463"/>
            <p14:sldId id="420"/>
            <p14:sldId id="421"/>
            <p14:sldId id="422"/>
            <p14:sldId id="423"/>
            <p14:sldId id="465"/>
            <p14:sldId id="433"/>
            <p14:sldId id="424"/>
            <p14:sldId id="425"/>
            <p14:sldId id="426"/>
            <p14:sldId id="430"/>
            <p14:sldId id="427"/>
            <p14:sldId id="428"/>
            <p14:sldId id="435"/>
            <p14:sldId id="436"/>
            <p14:sldId id="429"/>
            <p14:sldId id="431"/>
            <p14:sldId id="432"/>
            <p14:sldId id="434"/>
            <p14:sldId id="438"/>
            <p14:sldId id="437"/>
            <p14:sldId id="439"/>
            <p14:sldId id="440"/>
            <p14:sldId id="441"/>
            <p14:sldId id="442"/>
            <p14:sldId id="460"/>
            <p14:sldId id="461"/>
            <p14:sldId id="464"/>
            <p14:sldId id="443"/>
            <p14:sldId id="445"/>
            <p14:sldId id="450"/>
            <p14:sldId id="446"/>
            <p14:sldId id="456"/>
            <p14:sldId id="447"/>
            <p14:sldId id="448"/>
            <p14:sldId id="449"/>
            <p14:sldId id="451"/>
            <p14:sldId id="452"/>
            <p14:sldId id="453"/>
            <p14:sldId id="455"/>
            <p14:sldId id="454"/>
            <p14:sldId id="458"/>
            <p14:sldId id="459"/>
            <p14:sldId id="483"/>
          </p14:sldIdLst>
        </p14:section>
        <p14:section name="逻辑结构" id="{F31AE4DE-7391-451C-AE7D-392DE37731E6}">
          <p14:sldIdLst>
            <p14:sldId id="466"/>
            <p14:sldId id="474"/>
            <p14:sldId id="696"/>
            <p14:sldId id="473"/>
            <p14:sldId id="467"/>
            <p14:sldId id="479"/>
            <p14:sldId id="749"/>
            <p14:sldId id="469"/>
            <p14:sldId id="470"/>
            <p14:sldId id="471"/>
            <p14:sldId id="494"/>
            <p14:sldId id="694"/>
            <p14:sldId id="472"/>
            <p14:sldId id="475"/>
            <p14:sldId id="476"/>
            <p14:sldId id="477"/>
            <p14:sldId id="712"/>
            <p14:sldId id="710"/>
            <p14:sldId id="711"/>
            <p14:sldId id="713"/>
            <p14:sldId id="714"/>
            <p14:sldId id="753"/>
            <p14:sldId id="755"/>
            <p14:sldId id="756"/>
            <p14:sldId id="757"/>
            <p14:sldId id="758"/>
            <p14:sldId id="759"/>
            <p14:sldId id="716"/>
            <p14:sldId id="717"/>
            <p14:sldId id="718"/>
            <p14:sldId id="719"/>
            <p14:sldId id="720"/>
            <p14:sldId id="721"/>
            <p14:sldId id="722"/>
            <p14:sldId id="723"/>
            <p14:sldId id="725"/>
            <p14:sldId id="726"/>
            <p14:sldId id="727"/>
            <p14:sldId id="732"/>
            <p14:sldId id="734"/>
            <p14:sldId id="735"/>
            <p14:sldId id="737"/>
            <p14:sldId id="498"/>
            <p14:sldId id="650"/>
            <p14:sldId id="651"/>
            <p14:sldId id="499"/>
            <p14:sldId id="496"/>
            <p14:sldId id="478"/>
            <p14:sldId id="492"/>
            <p14:sldId id="480"/>
            <p14:sldId id="485"/>
            <p14:sldId id="486"/>
            <p14:sldId id="484"/>
            <p14:sldId id="487"/>
            <p14:sldId id="489"/>
            <p14:sldId id="679"/>
            <p14:sldId id="680"/>
            <p14:sldId id="681"/>
            <p14:sldId id="695"/>
            <p14:sldId id="724"/>
            <p14:sldId id="682"/>
            <p14:sldId id="481"/>
            <p14:sldId id="482"/>
            <p14:sldId id="488"/>
            <p14:sldId id="490"/>
            <p14:sldId id="491"/>
            <p14:sldId id="493"/>
            <p14:sldId id="495"/>
            <p14:sldId id="652"/>
            <p14:sldId id="653"/>
            <p14:sldId id="654"/>
            <p14:sldId id="672"/>
            <p14:sldId id="673"/>
            <p14:sldId id="674"/>
            <p14:sldId id="687"/>
            <p14:sldId id="688"/>
            <p14:sldId id="689"/>
            <p14:sldId id="690"/>
            <p14:sldId id="691"/>
            <p14:sldId id="675"/>
            <p14:sldId id="676"/>
            <p14:sldId id="748"/>
            <p14:sldId id="750"/>
            <p14:sldId id="751"/>
            <p14:sldId id="677"/>
            <p14:sldId id="497"/>
            <p14:sldId id="500"/>
            <p14:sldId id="501"/>
            <p14:sldId id="502"/>
            <p14:sldId id="503"/>
            <p14:sldId id="685"/>
            <p14:sldId id="684"/>
            <p14:sldId id="504"/>
            <p14:sldId id="508"/>
            <p14:sldId id="507"/>
            <p14:sldId id="509"/>
            <p14:sldId id="505"/>
            <p14:sldId id="506"/>
            <p14:sldId id="510"/>
            <p14:sldId id="511"/>
            <p14:sldId id="512"/>
            <p14:sldId id="513"/>
            <p14:sldId id="514"/>
            <p14:sldId id="515"/>
            <p14:sldId id="752"/>
            <p14:sldId id="683"/>
            <p14:sldId id="686"/>
            <p14:sldId id="692"/>
            <p14:sldId id="693"/>
            <p14:sldId id="649"/>
            <p14:sldId id="516"/>
            <p14:sldId id="701"/>
            <p14:sldId id="697"/>
            <p14:sldId id="698"/>
            <p14:sldId id="699"/>
            <p14:sldId id="703"/>
            <p14:sldId id="704"/>
            <p14:sldId id="705"/>
            <p14:sldId id="706"/>
            <p14:sldId id="733"/>
            <p14:sldId id="707"/>
            <p14:sldId id="708"/>
            <p14:sldId id="700"/>
            <p14:sldId id="517"/>
            <p14:sldId id="648"/>
            <p14:sldId id="736"/>
            <p14:sldId id="738"/>
            <p14:sldId id="739"/>
            <p14:sldId id="740"/>
            <p14:sldId id="741"/>
            <p14:sldId id="742"/>
            <p14:sldId id="743"/>
            <p14:sldId id="744"/>
            <p14:sldId id="746"/>
            <p14:sldId id="747"/>
            <p14:sldId id="655"/>
            <p14:sldId id="663"/>
            <p14:sldId id="664"/>
            <p14:sldId id="665"/>
            <p14:sldId id="666"/>
            <p14:sldId id="667"/>
            <p14:sldId id="668"/>
            <p14:sldId id="670"/>
            <p14:sldId id="671"/>
            <p14:sldId id="678"/>
            <p14:sldId id="630"/>
            <p14:sldId id="631"/>
            <p14:sldId id="626"/>
            <p14:sldId id="627"/>
            <p14:sldId id="628"/>
            <p14:sldId id="639"/>
            <p14:sldId id="640"/>
            <p14:sldId id="616"/>
            <p14:sldId id="617"/>
            <p14:sldId id="618"/>
            <p14:sldId id="619"/>
            <p14:sldId id="620"/>
            <p14:sldId id="621"/>
            <p14:sldId id="622"/>
            <p14:sldId id="623"/>
            <p14:sldId id="629"/>
            <p14:sldId id="632"/>
            <p14:sldId id="633"/>
            <p14:sldId id="634"/>
            <p14:sldId id="635"/>
            <p14:sldId id="636"/>
            <p14:sldId id="637"/>
            <p14:sldId id="638"/>
            <p14:sldId id="641"/>
            <p14:sldId id="642"/>
            <p14:sldId id="646"/>
            <p14:sldId id="647"/>
            <p14:sldId id="643"/>
            <p14:sldId id="644"/>
            <p14:sldId id="645"/>
            <p14:sldId id="519"/>
            <p14:sldId id="256"/>
            <p14:sldId id="520"/>
            <p14:sldId id="522"/>
            <p14:sldId id="523"/>
            <p14:sldId id="524"/>
            <p14:sldId id="525"/>
            <p14:sldId id="526"/>
            <p14:sldId id="528"/>
            <p14:sldId id="536"/>
            <p14:sldId id="540"/>
            <p14:sldId id="541"/>
            <p14:sldId id="543"/>
            <p14:sldId id="544"/>
            <p14:sldId id="545"/>
            <p14:sldId id="547"/>
            <p14:sldId id="550"/>
            <p14:sldId id="553"/>
            <p14:sldId id="554"/>
            <p14:sldId id="559"/>
            <p14:sldId id="3650"/>
            <p14:sldId id="3652"/>
            <p14:sldId id="3657"/>
            <p14:sldId id="3658"/>
          </p14:sldIdLst>
        </p14:section>
        <p14:section name="并列" id="{71A9F0C1-A07C-434D-B57A-9C735AE34035}">
          <p14:sldIdLst>
            <p14:sldId id="2866"/>
            <p14:sldId id="2867"/>
            <p14:sldId id="2868"/>
            <p14:sldId id="2869"/>
            <p14:sldId id="2870"/>
            <p14:sldId id="2871"/>
            <p14:sldId id="2898"/>
            <p14:sldId id="2873"/>
            <p14:sldId id="2872"/>
            <p14:sldId id="2874"/>
            <p14:sldId id="2875"/>
            <p14:sldId id="2876"/>
            <p14:sldId id="2877"/>
            <p14:sldId id="2878"/>
            <p14:sldId id="2879"/>
            <p14:sldId id="2880"/>
            <p14:sldId id="2881"/>
            <p14:sldId id="2882"/>
            <p14:sldId id="2883"/>
            <p14:sldId id="2884"/>
            <p14:sldId id="2885"/>
            <p14:sldId id="2886"/>
            <p14:sldId id="2887"/>
            <p14:sldId id="2888"/>
            <p14:sldId id="2889"/>
            <p14:sldId id="2890"/>
            <p14:sldId id="2891"/>
            <p14:sldId id="2892"/>
            <p14:sldId id="2893"/>
            <p14:sldId id="2894"/>
            <p14:sldId id="2895"/>
            <p14:sldId id="2896"/>
            <p14:sldId id="2897"/>
            <p14:sldId id="2899"/>
            <p14:sldId id="2900"/>
            <p14:sldId id="2901"/>
            <p14:sldId id="2902"/>
            <p14:sldId id="2903"/>
            <p14:sldId id="2904"/>
            <p14:sldId id="2905"/>
            <p14:sldId id="2906"/>
            <p14:sldId id="2907"/>
            <p14:sldId id="2908"/>
            <p14:sldId id="2909"/>
            <p14:sldId id="2910"/>
            <p14:sldId id="2911"/>
            <p14:sldId id="2912"/>
            <p14:sldId id="2913"/>
            <p14:sldId id="2914"/>
            <p14:sldId id="2915"/>
            <p14:sldId id="2916"/>
            <p14:sldId id="2917"/>
            <p14:sldId id="2918"/>
            <p14:sldId id="2919"/>
            <p14:sldId id="2920"/>
            <p14:sldId id="2921"/>
            <p14:sldId id="2922"/>
            <p14:sldId id="2923"/>
            <p14:sldId id="2924"/>
            <p14:sldId id="2925"/>
            <p14:sldId id="2926"/>
            <p14:sldId id="2927"/>
            <p14:sldId id="2928"/>
            <p14:sldId id="2929"/>
            <p14:sldId id="2930"/>
            <p14:sldId id="2931"/>
            <p14:sldId id="2932"/>
            <p14:sldId id="2933"/>
            <p14:sldId id="2934"/>
            <p14:sldId id="2935"/>
            <p14:sldId id="2936"/>
            <p14:sldId id="2937"/>
            <p14:sldId id="2938"/>
            <p14:sldId id="2939"/>
            <p14:sldId id="2940"/>
            <p14:sldId id="2941"/>
            <p14:sldId id="2942"/>
            <p14:sldId id="2943"/>
            <p14:sldId id="2944"/>
            <p14:sldId id="2945"/>
          </p14:sldIdLst>
        </p14:section>
        <p14:section name="流程" id="{FDB5ECF1-5521-4E28-BAAE-EF89562469FD}">
          <p14:sldIdLst>
            <p14:sldId id="2946"/>
            <p14:sldId id="2947"/>
            <p14:sldId id="2948"/>
            <p14:sldId id="2949"/>
            <p14:sldId id="2950"/>
            <p14:sldId id="2951"/>
            <p14:sldId id="2952"/>
            <p14:sldId id="2953"/>
            <p14:sldId id="2954"/>
            <p14:sldId id="2955"/>
            <p14:sldId id="2956"/>
            <p14:sldId id="2957"/>
            <p14:sldId id="2958"/>
            <p14:sldId id="2959"/>
          </p14:sldIdLst>
        </p14:section>
        <p14:section name="循环" id="{92854297-6BDF-4F53-95E0-C26514696EDB}">
          <p14:sldIdLst>
            <p14:sldId id="2960"/>
            <p14:sldId id="2961"/>
            <p14:sldId id="2962"/>
            <p14:sldId id="2963"/>
            <p14:sldId id="2964"/>
            <p14:sldId id="2965"/>
            <p14:sldId id="2966"/>
            <p14:sldId id="2967"/>
            <p14:sldId id="2968"/>
            <p14:sldId id="2969"/>
            <p14:sldId id="2970"/>
            <p14:sldId id="2971"/>
            <p14:sldId id="2972"/>
            <p14:sldId id="2973"/>
            <p14:sldId id="2974"/>
            <p14:sldId id="2975"/>
            <p14:sldId id="2976"/>
            <p14:sldId id="2977"/>
            <p14:sldId id="2978"/>
            <p14:sldId id="2979"/>
            <p14:sldId id="2980"/>
            <p14:sldId id="2981"/>
            <p14:sldId id="2982"/>
            <p14:sldId id="2983"/>
            <p14:sldId id="2984"/>
            <p14:sldId id="2985"/>
            <p14:sldId id="2986"/>
            <p14:sldId id="2987"/>
            <p14:sldId id="2988"/>
          </p14:sldIdLst>
        </p14:section>
        <p14:section name="层级" id="{E9971D5F-CE51-4EFC-BC45-4B75DAAEC1D2}">
          <p14:sldIdLst>
            <p14:sldId id="2989"/>
            <p14:sldId id="2990"/>
            <p14:sldId id="2991"/>
            <p14:sldId id="2992"/>
            <p14:sldId id="2993"/>
            <p14:sldId id="2994"/>
            <p14:sldId id="2995"/>
            <p14:sldId id="2996"/>
            <p14:sldId id="2997"/>
            <p14:sldId id="2998"/>
            <p14:sldId id="2999"/>
            <p14:sldId id="3000"/>
            <p14:sldId id="2007578914"/>
            <p14:sldId id="2007578915"/>
            <p14:sldId id="2007578916"/>
            <p14:sldId id="2007578918"/>
            <p14:sldId id="2007578919"/>
            <p14:sldId id="2007579959"/>
            <p14:sldId id="976"/>
            <p14:sldId id="977"/>
            <p14:sldId id="978"/>
            <p14:sldId id="979"/>
            <p14:sldId id="980"/>
            <p14:sldId id="981"/>
            <p14:sldId id="982"/>
            <p14:sldId id="983"/>
            <p14:sldId id="984"/>
            <p14:sldId id="985"/>
            <p14:sldId id="986"/>
            <p14:sldId id="987"/>
            <p14:sldId id="988"/>
            <p14:sldId id="989"/>
            <p14:sldId id="990"/>
            <p14:sldId id="991"/>
            <p14:sldId id="992"/>
            <p14:sldId id="993"/>
            <p14:sldId id="994"/>
            <p14:sldId id="995"/>
            <p14:sldId id="2007578920"/>
            <p14:sldId id="2007578921"/>
            <p14:sldId id="2007578922"/>
            <p14:sldId id="2007578923"/>
            <p14:sldId id="2007578924"/>
            <p14:sldId id="2007578925"/>
          </p14:sldIdLst>
        </p14:section>
        <p14:section name="树状图" id="{8F5F2F7F-05A5-469B-9B30-87D05078D7D8}">
          <p14:sldIdLst>
            <p14:sldId id="1080"/>
            <p14:sldId id="1081"/>
            <p14:sldId id="1082"/>
            <p14:sldId id="1083"/>
            <p14:sldId id="1084"/>
            <p14:sldId id="1085"/>
            <p14:sldId id="1086"/>
            <p14:sldId id="1087"/>
            <p14:sldId id="1088"/>
            <p14:sldId id="1089"/>
            <p14:sldId id="1090"/>
            <p14:sldId id="1091"/>
            <p14:sldId id="1092"/>
            <p14:sldId id="1093"/>
            <p14:sldId id="1094"/>
            <p14:sldId id="1095"/>
            <p14:sldId id="1096"/>
            <p14:sldId id="1097"/>
            <p14:sldId id="1098"/>
            <p14:sldId id="1099"/>
            <p14:sldId id="1100"/>
            <p14:sldId id="1101"/>
            <p14:sldId id="1102"/>
            <p14:sldId id="1103"/>
            <p14:sldId id="1104"/>
            <p14:sldId id="1105"/>
            <p14:sldId id="1106"/>
            <p14:sldId id="1107"/>
            <p14:sldId id="1108"/>
            <p14:sldId id="1109"/>
            <p14:sldId id="1110"/>
            <p14:sldId id="1111"/>
            <p14:sldId id="1112"/>
            <p14:sldId id="1113"/>
            <p14:sldId id="1114"/>
            <p14:sldId id="1115"/>
            <p14:sldId id="1116"/>
            <p14:sldId id="1117"/>
            <p14:sldId id="1118"/>
            <p14:sldId id="1119"/>
            <p14:sldId id="1120"/>
            <p14:sldId id="1121"/>
            <p14:sldId id="1122"/>
            <p14:sldId id="1123"/>
            <p14:sldId id="1124"/>
            <p14:sldId id="1125"/>
            <p14:sldId id="1126"/>
            <p14:sldId id="1127"/>
            <p14:sldId id="1128"/>
            <p14:sldId id="1129"/>
            <p14:sldId id="1130"/>
            <p14:sldId id="1131"/>
            <p14:sldId id="1132"/>
            <p14:sldId id="1133"/>
            <p14:sldId id="1134"/>
            <p14:sldId id="1135"/>
            <p14:sldId id="1136"/>
            <p14:sldId id="1137"/>
            <p14:sldId id="1138"/>
            <p14:sldId id="1139"/>
            <p14:sldId id="1140"/>
            <p14:sldId id="1141"/>
            <p14:sldId id="1142"/>
            <p14:sldId id="1143"/>
            <p14:sldId id="1144"/>
            <p14:sldId id="1145"/>
            <p14:sldId id="1146"/>
            <p14:sldId id="1147"/>
            <p14:sldId id="1148"/>
            <p14:sldId id="1149"/>
            <p14:sldId id="1150"/>
            <p14:sldId id="1151"/>
            <p14:sldId id="1152"/>
            <p14:sldId id="1153"/>
            <p14:sldId id="1154"/>
            <p14:sldId id="1155"/>
            <p14:sldId id="1156"/>
            <p14:sldId id="1157"/>
            <p14:sldId id="1158"/>
            <p14:sldId id="1159"/>
            <p14:sldId id="1160"/>
            <p14:sldId id="1161"/>
            <p14:sldId id="1162"/>
            <p14:sldId id="1163"/>
            <p14:sldId id="1164"/>
            <p14:sldId id="1165"/>
            <p14:sldId id="1166"/>
            <p14:sldId id="1167"/>
            <p14:sldId id="1168"/>
            <p14:sldId id="1169"/>
            <p14:sldId id="1170"/>
            <p14:sldId id="1171"/>
            <p14:sldId id="1172"/>
            <p14:sldId id="1173"/>
            <p14:sldId id="1174"/>
            <p14:sldId id="1175"/>
            <p14:sldId id="1176"/>
            <p14:sldId id="1177"/>
            <p14:sldId id="1178"/>
            <p14:sldId id="1179"/>
            <p14:sldId id="1180"/>
            <p14:sldId id="1181"/>
            <p14:sldId id="1182"/>
            <p14:sldId id="1183"/>
          </p14:sldIdLst>
        </p14:section>
        <p14:section name="鱼骨图" id="{FC41E25B-B090-4E70-92C5-02BFB18CDE1F}">
          <p14:sldIdLst>
            <p14:sldId id="2007578968"/>
            <p14:sldId id="2007578969"/>
            <p14:sldId id="2007579948"/>
            <p14:sldId id="2007579949"/>
            <p14:sldId id="2007579950"/>
            <p14:sldId id="2007579951"/>
            <p14:sldId id="2007579952"/>
            <p14:sldId id="2007579953"/>
            <p14:sldId id="2007579954"/>
            <p14:sldId id="2007579955"/>
            <p14:sldId id="2007579956"/>
            <p14:sldId id="996"/>
            <p14:sldId id="997"/>
            <p14:sldId id="998"/>
            <p14:sldId id="999"/>
            <p14:sldId id="1000"/>
            <p14:sldId id="1001"/>
            <p14:sldId id="1002"/>
            <p14:sldId id="1003"/>
            <p14:sldId id="1004"/>
            <p14:sldId id="1005"/>
            <p14:sldId id="1006"/>
            <p14:sldId id="1007"/>
            <p14:sldId id="1008"/>
            <p14:sldId id="1009"/>
            <p14:sldId id="1010"/>
            <p14:sldId id="1011"/>
            <p14:sldId id="1012"/>
            <p14:sldId id="1013"/>
            <p14:sldId id="1014"/>
            <p14:sldId id="1015"/>
            <p14:sldId id="1016"/>
            <p14:sldId id="1017"/>
            <p14:sldId id="1018"/>
            <p14:sldId id="1019"/>
            <p14:sldId id="1020"/>
            <p14:sldId id="1021"/>
            <p14:sldId id="1022"/>
            <p14:sldId id="1023"/>
            <p14:sldId id="1024"/>
            <p14:sldId id="1025"/>
            <p14:sldId id="1026"/>
            <p14:sldId id="1027"/>
            <p14:sldId id="1028"/>
            <p14:sldId id="1029"/>
            <p14:sldId id="1030"/>
            <p14:sldId id="1031"/>
            <p14:sldId id="1032"/>
            <p14:sldId id="1033"/>
            <p14:sldId id="1034"/>
            <p14:sldId id="1035"/>
            <p14:sldId id="1036"/>
            <p14:sldId id="1037"/>
            <p14:sldId id="1038"/>
            <p14:sldId id="1039"/>
            <p14:sldId id="1040"/>
            <p14:sldId id="1041"/>
            <p14:sldId id="1042"/>
            <p14:sldId id="1043"/>
            <p14:sldId id="1044"/>
            <p14:sldId id="1045"/>
            <p14:sldId id="304"/>
            <p14:sldId id="1046"/>
            <p14:sldId id="1047"/>
            <p14:sldId id="1048"/>
            <p14:sldId id="1049"/>
            <p14:sldId id="1050"/>
            <p14:sldId id="1051"/>
            <p14:sldId id="1052"/>
            <p14:sldId id="1053"/>
            <p14:sldId id="1054"/>
            <p14:sldId id="1055"/>
            <p14:sldId id="1056"/>
            <p14:sldId id="1057"/>
            <p14:sldId id="1058"/>
            <p14:sldId id="1059"/>
            <p14:sldId id="1060"/>
            <p14:sldId id="1061"/>
            <p14:sldId id="1062"/>
            <p14:sldId id="1063"/>
            <p14:sldId id="1064"/>
            <p14:sldId id="1065"/>
            <p14:sldId id="1066"/>
            <p14:sldId id="1067"/>
            <p14:sldId id="1068"/>
            <p14:sldId id="1069"/>
            <p14:sldId id="1070"/>
            <p14:sldId id="1071"/>
            <p14:sldId id="1072"/>
            <p14:sldId id="1073"/>
            <p14:sldId id="1074"/>
            <p14:sldId id="1075"/>
            <p14:sldId id="1076"/>
            <p14:sldId id="1077"/>
            <p14:sldId id="1078"/>
            <p14:sldId id="1079"/>
          </p14:sldIdLst>
        </p14:section>
        <p14:section name="组织结构图流程图" id="{128967B1-E98A-43D0-8DBC-8B067DFF866F}">
          <p14:sldIdLst>
            <p14:sldId id="2007578926"/>
            <p14:sldId id="2007578927"/>
            <p14:sldId id="2007578928"/>
            <p14:sldId id="2007578929"/>
            <p14:sldId id="2007578930"/>
            <p14:sldId id="2007578931"/>
            <p14:sldId id="2007578932"/>
            <p14:sldId id="2007578933"/>
            <p14:sldId id="2007578934"/>
            <p14:sldId id="2007578935"/>
            <p14:sldId id="2007578936"/>
            <p14:sldId id="2007578937"/>
            <p14:sldId id="2007578938"/>
            <p14:sldId id="2007578939"/>
            <p14:sldId id="2007578940"/>
            <p14:sldId id="2007578941"/>
            <p14:sldId id="2007578942"/>
            <p14:sldId id="2007578943"/>
            <p14:sldId id="2007578944"/>
            <p14:sldId id="2007578945"/>
            <p14:sldId id="2007578946"/>
            <p14:sldId id="2007578947"/>
            <p14:sldId id="2007578948"/>
            <p14:sldId id="2007578949"/>
            <p14:sldId id="2007578950"/>
            <p14:sldId id="2007578951"/>
            <p14:sldId id="2007578952"/>
            <p14:sldId id="2007578953"/>
            <p14:sldId id="2007578955"/>
            <p14:sldId id="2007578956"/>
            <p14:sldId id="2007578957"/>
            <p14:sldId id="2007578958"/>
            <p14:sldId id="2007578959"/>
            <p14:sldId id="2007578960"/>
            <p14:sldId id="2007578962"/>
            <p14:sldId id="2007578964"/>
            <p14:sldId id="2007578965"/>
          </p14:sldIdLst>
        </p14:section>
        <p14:section name="流程" id="{BCF8EC4B-87E3-4186-9D92-60C553DE8B68}">
          <p14:sldIdLst/>
        </p14:section>
      </p14:sectionLst>
    </p:ext>
    <p:ext uri="{EFAFB233-063F-42B5-8137-9DF3F51BA10A}">
      <p15:sldGuideLst xmlns:p15="http://schemas.microsoft.com/office/powerpoint/2012/main">
        <p15:guide id="3" orient="horz" pos="346" userDrawn="1">
          <p15:clr>
            <a:srgbClr val="A4A3A4"/>
          </p15:clr>
        </p15:guide>
        <p15:guide id="4" orient="horz" pos="3974" userDrawn="1">
          <p15:clr>
            <a:srgbClr val="A4A3A4"/>
          </p15:clr>
        </p15:guide>
        <p15:guide id="5"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F0F0F0"/>
    <a:srgbClr val="000000"/>
    <a:srgbClr val="020E38"/>
    <a:srgbClr val="FFE9C1"/>
    <a:srgbClr val="F1DA83"/>
    <a:srgbClr val="904906"/>
    <a:srgbClr val="F9BC5A"/>
    <a:srgbClr val="ECCB7C"/>
    <a:srgbClr val="03155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中度样式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0526" autoAdjust="0"/>
    <p:restoredTop sz="96115" autoAdjust="0"/>
  </p:normalViewPr>
  <p:slideViewPr>
    <p:cSldViewPr snapToGrid="0" showGuides="1">
      <p:cViewPr>
        <p:scale>
          <a:sx n="100" d="100"/>
          <a:sy n="100" d="100"/>
        </p:scale>
        <p:origin x="1644" y="132"/>
      </p:cViewPr>
      <p:guideLst>
        <p:guide orient="horz" pos="346"/>
        <p:guide orient="horz" pos="3974"/>
        <p:guide pos="3840"/>
      </p:guideLst>
    </p:cSldViewPr>
  </p:slideViewPr>
  <p:notesTextViewPr>
    <p:cViewPr>
      <p:scale>
        <a:sx n="1" d="1"/>
        <a:sy n="1" d="1"/>
      </p:scale>
      <p:origin x="0" y="0"/>
    </p:cViewPr>
  </p:notesTextViewPr>
  <p:sorterViewPr>
    <p:cViewPr varScale="1">
      <p:scale>
        <a:sx n="1" d="1"/>
        <a:sy n="1" d="1"/>
      </p:scale>
      <p:origin x="0" y="-15378"/>
    </p:cViewPr>
  </p:sorterViewPr>
  <p:notesViewPr>
    <p:cSldViewPr snapToGrid="0" showGuides="1">
      <p:cViewPr varScale="1">
        <p:scale>
          <a:sx n="114" d="100"/>
          <a:sy n="114" d="100"/>
        </p:scale>
        <p:origin x="4016" y="184"/>
      </p:cViewPr>
      <p:guideLst/>
    </p:cSldViewPr>
  </p:notesViewPr>
  <p:gridSpacing cx="72008" cy="72008"/>
</p:viewPr>
</file>

<file path=ppt/_rels/presentation.xml.rels><?xml version="1.0" encoding="UTF-8" standalone="yes"?>
<Relationships xmlns="http://schemas.openxmlformats.org/package/2006/relationships"><Relationship Id="rId117" Type="http://schemas.openxmlformats.org/officeDocument/2006/relationships/slide" Target="slides/slide116.xml"/><Relationship Id="rId671" Type="http://schemas.openxmlformats.org/officeDocument/2006/relationships/slide" Target="slides/slide670.xml"/><Relationship Id="rId769" Type="http://schemas.openxmlformats.org/officeDocument/2006/relationships/slide" Target="slides/slide768.xml"/><Relationship Id="rId21" Type="http://schemas.openxmlformats.org/officeDocument/2006/relationships/slide" Target="slides/slide20.xml"/><Relationship Id="rId324" Type="http://schemas.openxmlformats.org/officeDocument/2006/relationships/slide" Target="slides/slide323.xml"/><Relationship Id="rId531" Type="http://schemas.openxmlformats.org/officeDocument/2006/relationships/slide" Target="slides/slide530.xml"/><Relationship Id="rId629" Type="http://schemas.openxmlformats.org/officeDocument/2006/relationships/slide" Target="slides/slide628.xml"/><Relationship Id="rId170" Type="http://schemas.openxmlformats.org/officeDocument/2006/relationships/slide" Target="slides/slide169.xml"/><Relationship Id="rId268" Type="http://schemas.openxmlformats.org/officeDocument/2006/relationships/slide" Target="slides/slide267.xml"/><Relationship Id="rId475" Type="http://schemas.openxmlformats.org/officeDocument/2006/relationships/slide" Target="slides/slide474.xml"/><Relationship Id="rId682" Type="http://schemas.openxmlformats.org/officeDocument/2006/relationships/slide" Target="slides/slide681.xml"/><Relationship Id="rId32" Type="http://schemas.openxmlformats.org/officeDocument/2006/relationships/slide" Target="slides/slide31.xml"/><Relationship Id="rId128" Type="http://schemas.openxmlformats.org/officeDocument/2006/relationships/slide" Target="slides/slide127.xml"/><Relationship Id="rId335" Type="http://schemas.openxmlformats.org/officeDocument/2006/relationships/slide" Target="slides/slide334.xml"/><Relationship Id="rId542" Type="http://schemas.openxmlformats.org/officeDocument/2006/relationships/slide" Target="slides/slide541.xml"/><Relationship Id="rId181" Type="http://schemas.openxmlformats.org/officeDocument/2006/relationships/slide" Target="slides/slide180.xml"/><Relationship Id="rId402" Type="http://schemas.openxmlformats.org/officeDocument/2006/relationships/slide" Target="slides/slide401.xml"/><Relationship Id="rId279" Type="http://schemas.openxmlformats.org/officeDocument/2006/relationships/slide" Target="slides/slide278.xml"/><Relationship Id="rId486" Type="http://schemas.openxmlformats.org/officeDocument/2006/relationships/slide" Target="slides/slide485.xml"/><Relationship Id="rId693" Type="http://schemas.openxmlformats.org/officeDocument/2006/relationships/slide" Target="slides/slide692.xml"/><Relationship Id="rId707" Type="http://schemas.openxmlformats.org/officeDocument/2006/relationships/slide" Target="slides/slide706.xml"/><Relationship Id="rId43" Type="http://schemas.openxmlformats.org/officeDocument/2006/relationships/slide" Target="slides/slide42.xml"/><Relationship Id="rId139" Type="http://schemas.openxmlformats.org/officeDocument/2006/relationships/slide" Target="slides/slide138.xml"/><Relationship Id="rId346" Type="http://schemas.openxmlformats.org/officeDocument/2006/relationships/slide" Target="slides/slide345.xml"/><Relationship Id="rId553" Type="http://schemas.openxmlformats.org/officeDocument/2006/relationships/slide" Target="slides/slide552.xml"/><Relationship Id="rId760" Type="http://schemas.openxmlformats.org/officeDocument/2006/relationships/slide" Target="slides/slide759.xml"/><Relationship Id="rId192" Type="http://schemas.openxmlformats.org/officeDocument/2006/relationships/slide" Target="slides/slide191.xml"/><Relationship Id="rId206" Type="http://schemas.openxmlformats.org/officeDocument/2006/relationships/slide" Target="slides/slide205.xml"/><Relationship Id="rId413" Type="http://schemas.openxmlformats.org/officeDocument/2006/relationships/slide" Target="slides/slide412.xml"/><Relationship Id="rId497" Type="http://schemas.openxmlformats.org/officeDocument/2006/relationships/slide" Target="slides/slide496.xml"/><Relationship Id="rId620" Type="http://schemas.openxmlformats.org/officeDocument/2006/relationships/slide" Target="slides/slide619.xml"/><Relationship Id="rId718" Type="http://schemas.openxmlformats.org/officeDocument/2006/relationships/slide" Target="slides/slide717.xml"/><Relationship Id="rId357" Type="http://schemas.openxmlformats.org/officeDocument/2006/relationships/slide" Target="slides/slide356.xml"/><Relationship Id="rId54" Type="http://schemas.openxmlformats.org/officeDocument/2006/relationships/slide" Target="slides/slide53.xml"/><Relationship Id="rId217" Type="http://schemas.openxmlformats.org/officeDocument/2006/relationships/slide" Target="slides/slide216.xml"/><Relationship Id="rId564" Type="http://schemas.openxmlformats.org/officeDocument/2006/relationships/slide" Target="slides/slide563.xml"/><Relationship Id="rId771" Type="http://schemas.openxmlformats.org/officeDocument/2006/relationships/slide" Target="slides/slide770.xml"/><Relationship Id="rId424" Type="http://schemas.openxmlformats.org/officeDocument/2006/relationships/slide" Target="slides/slide423.xml"/><Relationship Id="rId631" Type="http://schemas.openxmlformats.org/officeDocument/2006/relationships/slide" Target="slides/slide630.xml"/><Relationship Id="rId729" Type="http://schemas.openxmlformats.org/officeDocument/2006/relationships/slide" Target="slides/slide728.xml"/><Relationship Id="rId270" Type="http://schemas.openxmlformats.org/officeDocument/2006/relationships/slide" Target="slides/slide269.xml"/><Relationship Id="rId65" Type="http://schemas.openxmlformats.org/officeDocument/2006/relationships/slide" Target="slides/slide64.xml"/><Relationship Id="rId130" Type="http://schemas.openxmlformats.org/officeDocument/2006/relationships/slide" Target="slides/slide129.xml"/><Relationship Id="rId368" Type="http://schemas.openxmlformats.org/officeDocument/2006/relationships/slide" Target="slides/slide367.xml"/><Relationship Id="rId575" Type="http://schemas.openxmlformats.org/officeDocument/2006/relationships/slide" Target="slides/slide574.xml"/><Relationship Id="rId782" Type="http://schemas.openxmlformats.org/officeDocument/2006/relationships/slide" Target="slides/slide781.xml"/><Relationship Id="rId228" Type="http://schemas.openxmlformats.org/officeDocument/2006/relationships/slide" Target="slides/slide227.xml"/><Relationship Id="rId435" Type="http://schemas.openxmlformats.org/officeDocument/2006/relationships/slide" Target="slides/slide434.xml"/><Relationship Id="rId642" Type="http://schemas.openxmlformats.org/officeDocument/2006/relationships/slide" Target="slides/slide641.xml"/><Relationship Id="rId281" Type="http://schemas.openxmlformats.org/officeDocument/2006/relationships/slide" Target="slides/slide280.xml"/><Relationship Id="rId502" Type="http://schemas.openxmlformats.org/officeDocument/2006/relationships/slide" Target="slides/slide501.xml"/><Relationship Id="rId76" Type="http://schemas.openxmlformats.org/officeDocument/2006/relationships/slide" Target="slides/slide75.xml"/><Relationship Id="rId141" Type="http://schemas.openxmlformats.org/officeDocument/2006/relationships/slide" Target="slides/slide140.xml"/><Relationship Id="rId379" Type="http://schemas.openxmlformats.org/officeDocument/2006/relationships/slide" Target="slides/slide378.xml"/><Relationship Id="rId586" Type="http://schemas.openxmlformats.org/officeDocument/2006/relationships/slide" Target="slides/slide585.xml"/><Relationship Id="rId793" Type="http://schemas.openxmlformats.org/officeDocument/2006/relationships/slide" Target="slides/slide792.xml"/><Relationship Id="rId807" Type="http://schemas.openxmlformats.org/officeDocument/2006/relationships/slide" Target="slides/slide806.xml"/><Relationship Id="rId7" Type="http://schemas.openxmlformats.org/officeDocument/2006/relationships/slide" Target="slides/slide6.xml"/><Relationship Id="rId239" Type="http://schemas.openxmlformats.org/officeDocument/2006/relationships/slide" Target="slides/slide238.xml"/><Relationship Id="rId446" Type="http://schemas.openxmlformats.org/officeDocument/2006/relationships/slide" Target="slides/slide445.xml"/><Relationship Id="rId653" Type="http://schemas.openxmlformats.org/officeDocument/2006/relationships/slide" Target="slides/slide652.xml"/><Relationship Id="rId292" Type="http://schemas.openxmlformats.org/officeDocument/2006/relationships/slide" Target="slides/slide291.xml"/><Relationship Id="rId306" Type="http://schemas.openxmlformats.org/officeDocument/2006/relationships/slide" Target="slides/slide305.xml"/><Relationship Id="rId87" Type="http://schemas.openxmlformats.org/officeDocument/2006/relationships/slide" Target="slides/slide86.xml"/><Relationship Id="rId513" Type="http://schemas.openxmlformats.org/officeDocument/2006/relationships/slide" Target="slides/slide512.xml"/><Relationship Id="rId597" Type="http://schemas.openxmlformats.org/officeDocument/2006/relationships/slide" Target="slides/slide596.xml"/><Relationship Id="rId720" Type="http://schemas.openxmlformats.org/officeDocument/2006/relationships/slide" Target="slides/slide719.xml"/><Relationship Id="rId818" Type="http://schemas.openxmlformats.org/officeDocument/2006/relationships/slide" Target="slides/slide817.xml"/><Relationship Id="rId152" Type="http://schemas.openxmlformats.org/officeDocument/2006/relationships/slide" Target="slides/slide151.xml"/><Relationship Id="rId457" Type="http://schemas.openxmlformats.org/officeDocument/2006/relationships/slide" Target="slides/slide456.xml"/><Relationship Id="rId664" Type="http://schemas.openxmlformats.org/officeDocument/2006/relationships/slide" Target="slides/slide663.xml"/><Relationship Id="rId14" Type="http://schemas.openxmlformats.org/officeDocument/2006/relationships/slide" Target="slides/slide13.xml"/><Relationship Id="rId317" Type="http://schemas.openxmlformats.org/officeDocument/2006/relationships/slide" Target="slides/slide316.xml"/><Relationship Id="rId524" Type="http://schemas.openxmlformats.org/officeDocument/2006/relationships/slide" Target="slides/slide523.xml"/><Relationship Id="rId731" Type="http://schemas.openxmlformats.org/officeDocument/2006/relationships/slide" Target="slides/slide730.xml"/><Relationship Id="rId98" Type="http://schemas.openxmlformats.org/officeDocument/2006/relationships/slide" Target="slides/slide97.xml"/><Relationship Id="rId163" Type="http://schemas.openxmlformats.org/officeDocument/2006/relationships/slide" Target="slides/slide162.xml"/><Relationship Id="rId370" Type="http://schemas.openxmlformats.org/officeDocument/2006/relationships/slide" Target="slides/slide369.xml"/><Relationship Id="rId230" Type="http://schemas.openxmlformats.org/officeDocument/2006/relationships/slide" Target="slides/slide229.xml"/><Relationship Id="rId468" Type="http://schemas.openxmlformats.org/officeDocument/2006/relationships/slide" Target="slides/slide467.xml"/><Relationship Id="rId675" Type="http://schemas.openxmlformats.org/officeDocument/2006/relationships/slide" Target="slides/slide674.xml"/><Relationship Id="rId25" Type="http://schemas.openxmlformats.org/officeDocument/2006/relationships/slide" Target="slides/slide24.xml"/><Relationship Id="rId328" Type="http://schemas.openxmlformats.org/officeDocument/2006/relationships/slide" Target="slides/slide327.xml"/><Relationship Id="rId535" Type="http://schemas.openxmlformats.org/officeDocument/2006/relationships/slide" Target="slides/slide534.xml"/><Relationship Id="rId742" Type="http://schemas.openxmlformats.org/officeDocument/2006/relationships/slide" Target="slides/slide741.xml"/><Relationship Id="rId174" Type="http://schemas.openxmlformats.org/officeDocument/2006/relationships/slide" Target="slides/slide173.xml"/><Relationship Id="rId381" Type="http://schemas.openxmlformats.org/officeDocument/2006/relationships/slide" Target="slides/slide380.xml"/><Relationship Id="rId602" Type="http://schemas.openxmlformats.org/officeDocument/2006/relationships/slide" Target="slides/slide601.xml"/><Relationship Id="rId241" Type="http://schemas.openxmlformats.org/officeDocument/2006/relationships/slide" Target="slides/slide240.xml"/><Relationship Id="rId479" Type="http://schemas.openxmlformats.org/officeDocument/2006/relationships/slide" Target="slides/slide478.xml"/><Relationship Id="rId686" Type="http://schemas.openxmlformats.org/officeDocument/2006/relationships/slide" Target="slides/slide685.xml"/><Relationship Id="rId36" Type="http://schemas.openxmlformats.org/officeDocument/2006/relationships/slide" Target="slides/slide35.xml"/><Relationship Id="rId339" Type="http://schemas.openxmlformats.org/officeDocument/2006/relationships/slide" Target="slides/slide338.xml"/><Relationship Id="rId546" Type="http://schemas.openxmlformats.org/officeDocument/2006/relationships/slide" Target="slides/slide545.xml"/><Relationship Id="rId753" Type="http://schemas.openxmlformats.org/officeDocument/2006/relationships/slide" Target="slides/slide752.xml"/><Relationship Id="rId101" Type="http://schemas.openxmlformats.org/officeDocument/2006/relationships/slide" Target="slides/slide100.xml"/><Relationship Id="rId185" Type="http://schemas.openxmlformats.org/officeDocument/2006/relationships/slide" Target="slides/slide184.xml"/><Relationship Id="rId406" Type="http://schemas.openxmlformats.org/officeDocument/2006/relationships/slide" Target="slides/slide405.xml"/><Relationship Id="rId392" Type="http://schemas.openxmlformats.org/officeDocument/2006/relationships/slide" Target="slides/slide391.xml"/><Relationship Id="rId613" Type="http://schemas.openxmlformats.org/officeDocument/2006/relationships/slide" Target="slides/slide612.xml"/><Relationship Id="rId697" Type="http://schemas.openxmlformats.org/officeDocument/2006/relationships/slide" Target="slides/slide696.xml"/><Relationship Id="rId820" Type="http://schemas.openxmlformats.org/officeDocument/2006/relationships/notesMaster" Target="notesMasters/notesMaster1.xml"/><Relationship Id="rId252" Type="http://schemas.openxmlformats.org/officeDocument/2006/relationships/slide" Target="slides/slide251.xml"/><Relationship Id="rId47" Type="http://schemas.openxmlformats.org/officeDocument/2006/relationships/slide" Target="slides/slide46.xml"/><Relationship Id="rId112" Type="http://schemas.openxmlformats.org/officeDocument/2006/relationships/slide" Target="slides/slide111.xml"/><Relationship Id="rId557" Type="http://schemas.openxmlformats.org/officeDocument/2006/relationships/slide" Target="slides/slide556.xml"/><Relationship Id="rId764" Type="http://schemas.openxmlformats.org/officeDocument/2006/relationships/slide" Target="slides/slide763.xml"/><Relationship Id="rId196" Type="http://schemas.openxmlformats.org/officeDocument/2006/relationships/slide" Target="slides/slide195.xml"/><Relationship Id="rId417" Type="http://schemas.openxmlformats.org/officeDocument/2006/relationships/slide" Target="slides/slide416.xml"/><Relationship Id="rId624" Type="http://schemas.openxmlformats.org/officeDocument/2006/relationships/slide" Target="slides/slide623.xml"/><Relationship Id="rId263" Type="http://schemas.openxmlformats.org/officeDocument/2006/relationships/slide" Target="slides/slide262.xml"/><Relationship Id="rId470" Type="http://schemas.openxmlformats.org/officeDocument/2006/relationships/slide" Target="slides/slide469.xml"/><Relationship Id="rId58" Type="http://schemas.openxmlformats.org/officeDocument/2006/relationships/slide" Target="slides/slide57.xml"/><Relationship Id="rId123" Type="http://schemas.openxmlformats.org/officeDocument/2006/relationships/slide" Target="slides/slide122.xml"/><Relationship Id="rId330" Type="http://schemas.openxmlformats.org/officeDocument/2006/relationships/slide" Target="slides/slide329.xml"/><Relationship Id="rId568" Type="http://schemas.openxmlformats.org/officeDocument/2006/relationships/slide" Target="slides/slide567.xml"/><Relationship Id="rId775" Type="http://schemas.openxmlformats.org/officeDocument/2006/relationships/slide" Target="slides/slide774.xml"/><Relationship Id="rId428" Type="http://schemas.openxmlformats.org/officeDocument/2006/relationships/slide" Target="slides/slide427.xml"/><Relationship Id="rId635" Type="http://schemas.openxmlformats.org/officeDocument/2006/relationships/slide" Target="slides/slide634.xml"/><Relationship Id="rId274" Type="http://schemas.openxmlformats.org/officeDocument/2006/relationships/slide" Target="slides/slide273.xml"/><Relationship Id="rId481" Type="http://schemas.openxmlformats.org/officeDocument/2006/relationships/slide" Target="slides/slide480.xml"/><Relationship Id="rId702" Type="http://schemas.openxmlformats.org/officeDocument/2006/relationships/slide" Target="slides/slide701.xml"/><Relationship Id="rId69" Type="http://schemas.openxmlformats.org/officeDocument/2006/relationships/slide" Target="slides/slide68.xml"/><Relationship Id="rId134" Type="http://schemas.openxmlformats.org/officeDocument/2006/relationships/slide" Target="slides/slide133.xml"/><Relationship Id="rId579" Type="http://schemas.openxmlformats.org/officeDocument/2006/relationships/slide" Target="slides/slide578.xml"/><Relationship Id="rId786" Type="http://schemas.openxmlformats.org/officeDocument/2006/relationships/slide" Target="slides/slide785.xml"/><Relationship Id="rId341" Type="http://schemas.openxmlformats.org/officeDocument/2006/relationships/slide" Target="slides/slide340.xml"/><Relationship Id="rId439" Type="http://schemas.openxmlformats.org/officeDocument/2006/relationships/slide" Target="slides/slide438.xml"/><Relationship Id="rId646" Type="http://schemas.openxmlformats.org/officeDocument/2006/relationships/slide" Target="slides/slide645.xml"/><Relationship Id="rId201" Type="http://schemas.openxmlformats.org/officeDocument/2006/relationships/slide" Target="slides/slide200.xml"/><Relationship Id="rId285" Type="http://schemas.openxmlformats.org/officeDocument/2006/relationships/slide" Target="slides/slide284.xml"/><Relationship Id="rId506" Type="http://schemas.openxmlformats.org/officeDocument/2006/relationships/slide" Target="slides/slide505.xml"/><Relationship Id="rId492" Type="http://schemas.openxmlformats.org/officeDocument/2006/relationships/slide" Target="slides/slide491.xml"/><Relationship Id="rId713" Type="http://schemas.openxmlformats.org/officeDocument/2006/relationships/slide" Target="slides/slide712.xml"/><Relationship Id="rId797" Type="http://schemas.openxmlformats.org/officeDocument/2006/relationships/slide" Target="slides/slide796.xml"/><Relationship Id="rId145" Type="http://schemas.openxmlformats.org/officeDocument/2006/relationships/slide" Target="slides/slide144.xml"/><Relationship Id="rId352" Type="http://schemas.openxmlformats.org/officeDocument/2006/relationships/slide" Target="slides/slide351.xml"/><Relationship Id="rId212" Type="http://schemas.openxmlformats.org/officeDocument/2006/relationships/slide" Target="slides/slide211.xml"/><Relationship Id="rId657" Type="http://schemas.openxmlformats.org/officeDocument/2006/relationships/slide" Target="slides/slide656.xml"/><Relationship Id="rId296" Type="http://schemas.openxmlformats.org/officeDocument/2006/relationships/slide" Target="slides/slide295.xml"/><Relationship Id="rId517" Type="http://schemas.openxmlformats.org/officeDocument/2006/relationships/slide" Target="slides/slide516.xml"/><Relationship Id="rId724" Type="http://schemas.openxmlformats.org/officeDocument/2006/relationships/slide" Target="slides/slide723.xml"/><Relationship Id="rId60" Type="http://schemas.openxmlformats.org/officeDocument/2006/relationships/slide" Target="slides/slide59.xml"/><Relationship Id="rId156" Type="http://schemas.openxmlformats.org/officeDocument/2006/relationships/slide" Target="slides/slide155.xml"/><Relationship Id="rId363" Type="http://schemas.openxmlformats.org/officeDocument/2006/relationships/slide" Target="slides/slide362.xml"/><Relationship Id="rId570" Type="http://schemas.openxmlformats.org/officeDocument/2006/relationships/slide" Target="slides/slide569.xml"/><Relationship Id="rId223" Type="http://schemas.openxmlformats.org/officeDocument/2006/relationships/slide" Target="slides/slide222.xml"/><Relationship Id="rId430" Type="http://schemas.openxmlformats.org/officeDocument/2006/relationships/slide" Target="slides/slide429.xml"/><Relationship Id="rId668" Type="http://schemas.openxmlformats.org/officeDocument/2006/relationships/slide" Target="slides/slide667.xml"/><Relationship Id="rId18" Type="http://schemas.openxmlformats.org/officeDocument/2006/relationships/slide" Target="slides/slide17.xml"/><Relationship Id="rId528" Type="http://schemas.openxmlformats.org/officeDocument/2006/relationships/slide" Target="slides/slide527.xml"/><Relationship Id="rId735" Type="http://schemas.openxmlformats.org/officeDocument/2006/relationships/slide" Target="slides/slide734.xml"/><Relationship Id="rId167" Type="http://schemas.openxmlformats.org/officeDocument/2006/relationships/slide" Target="slides/slide166.xml"/><Relationship Id="rId374" Type="http://schemas.openxmlformats.org/officeDocument/2006/relationships/slide" Target="slides/slide373.xml"/><Relationship Id="rId581" Type="http://schemas.openxmlformats.org/officeDocument/2006/relationships/slide" Target="slides/slide580.xml"/><Relationship Id="rId71" Type="http://schemas.openxmlformats.org/officeDocument/2006/relationships/slide" Target="slides/slide70.xml"/><Relationship Id="rId234" Type="http://schemas.openxmlformats.org/officeDocument/2006/relationships/slide" Target="slides/slide233.xml"/><Relationship Id="rId679" Type="http://schemas.openxmlformats.org/officeDocument/2006/relationships/slide" Target="slides/slide678.xml"/><Relationship Id="rId802" Type="http://schemas.openxmlformats.org/officeDocument/2006/relationships/slide" Target="slides/slide801.xml"/><Relationship Id="rId2" Type="http://schemas.openxmlformats.org/officeDocument/2006/relationships/slide" Target="slides/slide1.xml"/><Relationship Id="rId29" Type="http://schemas.openxmlformats.org/officeDocument/2006/relationships/slide" Target="slides/slide28.xml"/><Relationship Id="rId441" Type="http://schemas.openxmlformats.org/officeDocument/2006/relationships/slide" Target="slides/slide440.xml"/><Relationship Id="rId539" Type="http://schemas.openxmlformats.org/officeDocument/2006/relationships/slide" Target="slides/slide538.xml"/><Relationship Id="rId746" Type="http://schemas.openxmlformats.org/officeDocument/2006/relationships/slide" Target="slides/slide745.xml"/><Relationship Id="rId178" Type="http://schemas.openxmlformats.org/officeDocument/2006/relationships/slide" Target="slides/slide177.xml"/><Relationship Id="rId301" Type="http://schemas.openxmlformats.org/officeDocument/2006/relationships/slide" Target="slides/slide300.xml"/><Relationship Id="rId82" Type="http://schemas.openxmlformats.org/officeDocument/2006/relationships/slide" Target="slides/slide81.xml"/><Relationship Id="rId385" Type="http://schemas.openxmlformats.org/officeDocument/2006/relationships/slide" Target="slides/slide384.xml"/><Relationship Id="rId592" Type="http://schemas.openxmlformats.org/officeDocument/2006/relationships/slide" Target="slides/slide591.xml"/><Relationship Id="rId606" Type="http://schemas.openxmlformats.org/officeDocument/2006/relationships/slide" Target="slides/slide605.xml"/><Relationship Id="rId813" Type="http://schemas.openxmlformats.org/officeDocument/2006/relationships/slide" Target="slides/slide812.xml"/><Relationship Id="rId245" Type="http://schemas.openxmlformats.org/officeDocument/2006/relationships/slide" Target="slides/slide244.xml"/><Relationship Id="rId452" Type="http://schemas.openxmlformats.org/officeDocument/2006/relationships/slide" Target="slides/slide451.xml"/><Relationship Id="rId105" Type="http://schemas.openxmlformats.org/officeDocument/2006/relationships/slide" Target="slides/slide104.xml"/><Relationship Id="rId312" Type="http://schemas.openxmlformats.org/officeDocument/2006/relationships/slide" Target="slides/slide311.xml"/><Relationship Id="rId757" Type="http://schemas.openxmlformats.org/officeDocument/2006/relationships/slide" Target="slides/slide756.xml"/><Relationship Id="rId93" Type="http://schemas.openxmlformats.org/officeDocument/2006/relationships/slide" Target="slides/slide92.xml"/><Relationship Id="rId189" Type="http://schemas.openxmlformats.org/officeDocument/2006/relationships/slide" Target="slides/slide188.xml"/><Relationship Id="rId396" Type="http://schemas.openxmlformats.org/officeDocument/2006/relationships/slide" Target="slides/slide395.xml"/><Relationship Id="rId617" Type="http://schemas.openxmlformats.org/officeDocument/2006/relationships/slide" Target="slides/slide616.xml"/><Relationship Id="rId824" Type="http://schemas.openxmlformats.org/officeDocument/2006/relationships/theme" Target="theme/theme1.xml"/><Relationship Id="rId256" Type="http://schemas.openxmlformats.org/officeDocument/2006/relationships/slide" Target="slides/slide255.xml"/><Relationship Id="rId463" Type="http://schemas.openxmlformats.org/officeDocument/2006/relationships/slide" Target="slides/slide462.xml"/><Relationship Id="rId670" Type="http://schemas.openxmlformats.org/officeDocument/2006/relationships/slide" Target="slides/slide669.xml"/><Relationship Id="rId116" Type="http://schemas.openxmlformats.org/officeDocument/2006/relationships/slide" Target="slides/slide115.xml"/><Relationship Id="rId323" Type="http://schemas.openxmlformats.org/officeDocument/2006/relationships/slide" Target="slides/slide322.xml"/><Relationship Id="rId530" Type="http://schemas.openxmlformats.org/officeDocument/2006/relationships/slide" Target="slides/slide529.xml"/><Relationship Id="rId768" Type="http://schemas.openxmlformats.org/officeDocument/2006/relationships/slide" Target="slides/slide767.xml"/><Relationship Id="rId20" Type="http://schemas.openxmlformats.org/officeDocument/2006/relationships/slide" Target="slides/slide19.xml"/><Relationship Id="rId628" Type="http://schemas.openxmlformats.org/officeDocument/2006/relationships/slide" Target="slides/slide627.xml"/><Relationship Id="rId267" Type="http://schemas.openxmlformats.org/officeDocument/2006/relationships/slide" Target="slides/slide266.xml"/><Relationship Id="rId474" Type="http://schemas.openxmlformats.org/officeDocument/2006/relationships/slide" Target="slides/slide473.xml"/><Relationship Id="rId127" Type="http://schemas.openxmlformats.org/officeDocument/2006/relationships/slide" Target="slides/slide126.xml"/><Relationship Id="rId681" Type="http://schemas.openxmlformats.org/officeDocument/2006/relationships/slide" Target="slides/slide680.xml"/><Relationship Id="rId779" Type="http://schemas.openxmlformats.org/officeDocument/2006/relationships/slide" Target="slides/slide778.xml"/><Relationship Id="rId31" Type="http://schemas.openxmlformats.org/officeDocument/2006/relationships/slide" Target="slides/slide30.xml"/><Relationship Id="rId334" Type="http://schemas.openxmlformats.org/officeDocument/2006/relationships/slide" Target="slides/slide333.xml"/><Relationship Id="rId541" Type="http://schemas.openxmlformats.org/officeDocument/2006/relationships/slide" Target="slides/slide540.xml"/><Relationship Id="rId639" Type="http://schemas.openxmlformats.org/officeDocument/2006/relationships/slide" Target="slides/slide638.xml"/><Relationship Id="rId180" Type="http://schemas.openxmlformats.org/officeDocument/2006/relationships/slide" Target="slides/slide179.xml"/><Relationship Id="rId278" Type="http://schemas.openxmlformats.org/officeDocument/2006/relationships/slide" Target="slides/slide277.xml"/><Relationship Id="rId401" Type="http://schemas.openxmlformats.org/officeDocument/2006/relationships/slide" Target="slides/slide400.xml"/><Relationship Id="rId485" Type="http://schemas.openxmlformats.org/officeDocument/2006/relationships/slide" Target="slides/slide484.xml"/><Relationship Id="rId692" Type="http://schemas.openxmlformats.org/officeDocument/2006/relationships/slide" Target="slides/slide691.xml"/><Relationship Id="rId706" Type="http://schemas.openxmlformats.org/officeDocument/2006/relationships/slide" Target="slides/slide705.xml"/><Relationship Id="rId42" Type="http://schemas.openxmlformats.org/officeDocument/2006/relationships/slide" Target="slides/slide41.xml"/><Relationship Id="rId138" Type="http://schemas.openxmlformats.org/officeDocument/2006/relationships/slide" Target="slides/slide137.xml"/><Relationship Id="rId345" Type="http://schemas.openxmlformats.org/officeDocument/2006/relationships/slide" Target="slides/slide344.xml"/><Relationship Id="rId552" Type="http://schemas.openxmlformats.org/officeDocument/2006/relationships/slide" Target="slides/slide551.xml"/><Relationship Id="rId191" Type="http://schemas.openxmlformats.org/officeDocument/2006/relationships/slide" Target="slides/slide190.xml"/><Relationship Id="rId205" Type="http://schemas.openxmlformats.org/officeDocument/2006/relationships/slide" Target="slides/slide204.xml"/><Relationship Id="rId412" Type="http://schemas.openxmlformats.org/officeDocument/2006/relationships/slide" Target="slides/slide411.xml"/><Relationship Id="rId289" Type="http://schemas.openxmlformats.org/officeDocument/2006/relationships/slide" Target="slides/slide288.xml"/><Relationship Id="rId496" Type="http://schemas.openxmlformats.org/officeDocument/2006/relationships/slide" Target="slides/slide495.xml"/><Relationship Id="rId717" Type="http://schemas.openxmlformats.org/officeDocument/2006/relationships/slide" Target="slides/slide716.xml"/><Relationship Id="rId53" Type="http://schemas.openxmlformats.org/officeDocument/2006/relationships/slide" Target="slides/slide52.xml"/><Relationship Id="rId149" Type="http://schemas.openxmlformats.org/officeDocument/2006/relationships/slide" Target="slides/slide148.xml"/><Relationship Id="rId356" Type="http://schemas.openxmlformats.org/officeDocument/2006/relationships/slide" Target="slides/slide355.xml"/><Relationship Id="rId563" Type="http://schemas.openxmlformats.org/officeDocument/2006/relationships/slide" Target="slides/slide562.xml"/><Relationship Id="rId770" Type="http://schemas.openxmlformats.org/officeDocument/2006/relationships/slide" Target="slides/slide769.xml"/><Relationship Id="rId216" Type="http://schemas.openxmlformats.org/officeDocument/2006/relationships/slide" Target="slides/slide215.xml"/><Relationship Id="rId423" Type="http://schemas.openxmlformats.org/officeDocument/2006/relationships/slide" Target="slides/slide422.xml"/><Relationship Id="rId630" Type="http://schemas.openxmlformats.org/officeDocument/2006/relationships/slide" Target="slides/slide629.xml"/><Relationship Id="rId728" Type="http://schemas.openxmlformats.org/officeDocument/2006/relationships/slide" Target="slides/slide727.xml"/><Relationship Id="rId64" Type="http://schemas.openxmlformats.org/officeDocument/2006/relationships/slide" Target="slides/slide63.xml"/><Relationship Id="rId367" Type="http://schemas.openxmlformats.org/officeDocument/2006/relationships/slide" Target="slides/slide366.xml"/><Relationship Id="rId574" Type="http://schemas.openxmlformats.org/officeDocument/2006/relationships/slide" Target="slides/slide573.xml"/><Relationship Id="rId227" Type="http://schemas.openxmlformats.org/officeDocument/2006/relationships/slide" Target="slides/slide226.xml"/><Relationship Id="rId781" Type="http://schemas.openxmlformats.org/officeDocument/2006/relationships/slide" Target="slides/slide780.xml"/><Relationship Id="rId434" Type="http://schemas.openxmlformats.org/officeDocument/2006/relationships/slide" Target="slides/slide433.xml"/><Relationship Id="rId641" Type="http://schemas.openxmlformats.org/officeDocument/2006/relationships/slide" Target="slides/slide640.xml"/><Relationship Id="rId739" Type="http://schemas.openxmlformats.org/officeDocument/2006/relationships/slide" Target="slides/slide738.xml"/><Relationship Id="rId280" Type="http://schemas.openxmlformats.org/officeDocument/2006/relationships/slide" Target="slides/slide279.xml"/><Relationship Id="rId501" Type="http://schemas.openxmlformats.org/officeDocument/2006/relationships/slide" Target="slides/slide500.xml"/><Relationship Id="rId75" Type="http://schemas.openxmlformats.org/officeDocument/2006/relationships/slide" Target="slides/slide74.xml"/><Relationship Id="rId140" Type="http://schemas.openxmlformats.org/officeDocument/2006/relationships/slide" Target="slides/slide139.xml"/><Relationship Id="rId378" Type="http://schemas.openxmlformats.org/officeDocument/2006/relationships/slide" Target="slides/slide377.xml"/><Relationship Id="rId585" Type="http://schemas.openxmlformats.org/officeDocument/2006/relationships/slide" Target="slides/slide584.xml"/><Relationship Id="rId792" Type="http://schemas.openxmlformats.org/officeDocument/2006/relationships/slide" Target="slides/slide791.xml"/><Relationship Id="rId806" Type="http://schemas.openxmlformats.org/officeDocument/2006/relationships/slide" Target="slides/slide805.xml"/><Relationship Id="rId6" Type="http://schemas.openxmlformats.org/officeDocument/2006/relationships/slide" Target="slides/slide5.xml"/><Relationship Id="rId238" Type="http://schemas.openxmlformats.org/officeDocument/2006/relationships/slide" Target="slides/slide237.xml"/><Relationship Id="rId445" Type="http://schemas.openxmlformats.org/officeDocument/2006/relationships/slide" Target="slides/slide444.xml"/><Relationship Id="rId652" Type="http://schemas.openxmlformats.org/officeDocument/2006/relationships/slide" Target="slides/slide651.xml"/><Relationship Id="rId291" Type="http://schemas.openxmlformats.org/officeDocument/2006/relationships/slide" Target="slides/slide290.xml"/><Relationship Id="rId305" Type="http://schemas.openxmlformats.org/officeDocument/2006/relationships/slide" Target="slides/slide304.xml"/><Relationship Id="rId512" Type="http://schemas.openxmlformats.org/officeDocument/2006/relationships/slide" Target="slides/slide511.xml"/><Relationship Id="rId86" Type="http://schemas.openxmlformats.org/officeDocument/2006/relationships/slide" Target="slides/slide85.xml"/><Relationship Id="rId151" Type="http://schemas.openxmlformats.org/officeDocument/2006/relationships/slide" Target="slides/slide150.xml"/><Relationship Id="rId389" Type="http://schemas.openxmlformats.org/officeDocument/2006/relationships/slide" Target="slides/slide388.xml"/><Relationship Id="rId596" Type="http://schemas.openxmlformats.org/officeDocument/2006/relationships/slide" Target="slides/slide595.xml"/><Relationship Id="rId817" Type="http://schemas.openxmlformats.org/officeDocument/2006/relationships/slide" Target="slides/slide816.xml"/><Relationship Id="rId193" Type="http://schemas.openxmlformats.org/officeDocument/2006/relationships/slide" Target="slides/slide192.xml"/><Relationship Id="rId207" Type="http://schemas.openxmlformats.org/officeDocument/2006/relationships/slide" Target="slides/slide206.xml"/><Relationship Id="rId249" Type="http://schemas.openxmlformats.org/officeDocument/2006/relationships/slide" Target="slides/slide248.xml"/><Relationship Id="rId414" Type="http://schemas.openxmlformats.org/officeDocument/2006/relationships/slide" Target="slides/slide413.xml"/><Relationship Id="rId456" Type="http://schemas.openxmlformats.org/officeDocument/2006/relationships/slide" Target="slides/slide455.xml"/><Relationship Id="rId498" Type="http://schemas.openxmlformats.org/officeDocument/2006/relationships/slide" Target="slides/slide497.xml"/><Relationship Id="rId621" Type="http://schemas.openxmlformats.org/officeDocument/2006/relationships/slide" Target="slides/slide620.xml"/><Relationship Id="rId663" Type="http://schemas.openxmlformats.org/officeDocument/2006/relationships/slide" Target="slides/slide662.xml"/><Relationship Id="rId13" Type="http://schemas.openxmlformats.org/officeDocument/2006/relationships/slide" Target="slides/slide12.xml"/><Relationship Id="rId109" Type="http://schemas.openxmlformats.org/officeDocument/2006/relationships/slide" Target="slides/slide108.xml"/><Relationship Id="rId260" Type="http://schemas.openxmlformats.org/officeDocument/2006/relationships/slide" Target="slides/slide259.xml"/><Relationship Id="rId316" Type="http://schemas.openxmlformats.org/officeDocument/2006/relationships/slide" Target="slides/slide315.xml"/><Relationship Id="rId523" Type="http://schemas.openxmlformats.org/officeDocument/2006/relationships/slide" Target="slides/slide522.xml"/><Relationship Id="rId719" Type="http://schemas.openxmlformats.org/officeDocument/2006/relationships/slide" Target="slides/slide718.xml"/><Relationship Id="rId55" Type="http://schemas.openxmlformats.org/officeDocument/2006/relationships/slide" Target="slides/slide54.xml"/><Relationship Id="rId97" Type="http://schemas.openxmlformats.org/officeDocument/2006/relationships/slide" Target="slides/slide96.xml"/><Relationship Id="rId120" Type="http://schemas.openxmlformats.org/officeDocument/2006/relationships/slide" Target="slides/slide119.xml"/><Relationship Id="rId358" Type="http://schemas.openxmlformats.org/officeDocument/2006/relationships/slide" Target="slides/slide357.xml"/><Relationship Id="rId565" Type="http://schemas.openxmlformats.org/officeDocument/2006/relationships/slide" Target="slides/slide564.xml"/><Relationship Id="rId730" Type="http://schemas.openxmlformats.org/officeDocument/2006/relationships/slide" Target="slides/slide729.xml"/><Relationship Id="rId772" Type="http://schemas.openxmlformats.org/officeDocument/2006/relationships/slide" Target="slides/slide771.xml"/><Relationship Id="rId162" Type="http://schemas.openxmlformats.org/officeDocument/2006/relationships/slide" Target="slides/slide161.xml"/><Relationship Id="rId218" Type="http://schemas.openxmlformats.org/officeDocument/2006/relationships/slide" Target="slides/slide217.xml"/><Relationship Id="rId425" Type="http://schemas.openxmlformats.org/officeDocument/2006/relationships/slide" Target="slides/slide424.xml"/><Relationship Id="rId467" Type="http://schemas.openxmlformats.org/officeDocument/2006/relationships/slide" Target="slides/slide466.xml"/><Relationship Id="rId632" Type="http://schemas.openxmlformats.org/officeDocument/2006/relationships/slide" Target="slides/slide631.xml"/><Relationship Id="rId271" Type="http://schemas.openxmlformats.org/officeDocument/2006/relationships/slide" Target="slides/slide270.xml"/><Relationship Id="rId674" Type="http://schemas.openxmlformats.org/officeDocument/2006/relationships/slide" Target="slides/slide673.xml"/><Relationship Id="rId24" Type="http://schemas.openxmlformats.org/officeDocument/2006/relationships/slide" Target="slides/slide23.xml"/><Relationship Id="rId66" Type="http://schemas.openxmlformats.org/officeDocument/2006/relationships/slide" Target="slides/slide65.xml"/><Relationship Id="rId131" Type="http://schemas.openxmlformats.org/officeDocument/2006/relationships/slide" Target="slides/slide130.xml"/><Relationship Id="rId327" Type="http://schemas.openxmlformats.org/officeDocument/2006/relationships/slide" Target="slides/slide326.xml"/><Relationship Id="rId369" Type="http://schemas.openxmlformats.org/officeDocument/2006/relationships/slide" Target="slides/slide368.xml"/><Relationship Id="rId534" Type="http://schemas.openxmlformats.org/officeDocument/2006/relationships/slide" Target="slides/slide533.xml"/><Relationship Id="rId576" Type="http://schemas.openxmlformats.org/officeDocument/2006/relationships/slide" Target="slides/slide575.xml"/><Relationship Id="rId741" Type="http://schemas.openxmlformats.org/officeDocument/2006/relationships/slide" Target="slides/slide740.xml"/><Relationship Id="rId783" Type="http://schemas.openxmlformats.org/officeDocument/2006/relationships/slide" Target="slides/slide782.xml"/><Relationship Id="rId173" Type="http://schemas.openxmlformats.org/officeDocument/2006/relationships/slide" Target="slides/slide172.xml"/><Relationship Id="rId229" Type="http://schemas.openxmlformats.org/officeDocument/2006/relationships/slide" Target="slides/slide228.xml"/><Relationship Id="rId380" Type="http://schemas.openxmlformats.org/officeDocument/2006/relationships/slide" Target="slides/slide379.xml"/><Relationship Id="rId436" Type="http://schemas.openxmlformats.org/officeDocument/2006/relationships/slide" Target="slides/slide435.xml"/><Relationship Id="rId601" Type="http://schemas.openxmlformats.org/officeDocument/2006/relationships/slide" Target="slides/slide600.xml"/><Relationship Id="rId643" Type="http://schemas.openxmlformats.org/officeDocument/2006/relationships/slide" Target="slides/slide642.xml"/><Relationship Id="rId240" Type="http://schemas.openxmlformats.org/officeDocument/2006/relationships/slide" Target="slides/slide239.xml"/><Relationship Id="rId478" Type="http://schemas.openxmlformats.org/officeDocument/2006/relationships/slide" Target="slides/slide477.xml"/><Relationship Id="rId685" Type="http://schemas.openxmlformats.org/officeDocument/2006/relationships/slide" Target="slides/slide684.xml"/><Relationship Id="rId35" Type="http://schemas.openxmlformats.org/officeDocument/2006/relationships/slide" Target="slides/slide34.xml"/><Relationship Id="rId77" Type="http://schemas.openxmlformats.org/officeDocument/2006/relationships/slide" Target="slides/slide76.xml"/><Relationship Id="rId100" Type="http://schemas.openxmlformats.org/officeDocument/2006/relationships/slide" Target="slides/slide99.xml"/><Relationship Id="rId282" Type="http://schemas.openxmlformats.org/officeDocument/2006/relationships/slide" Target="slides/slide281.xml"/><Relationship Id="rId338" Type="http://schemas.openxmlformats.org/officeDocument/2006/relationships/slide" Target="slides/slide337.xml"/><Relationship Id="rId503" Type="http://schemas.openxmlformats.org/officeDocument/2006/relationships/slide" Target="slides/slide502.xml"/><Relationship Id="rId545" Type="http://schemas.openxmlformats.org/officeDocument/2006/relationships/slide" Target="slides/slide544.xml"/><Relationship Id="rId587" Type="http://schemas.openxmlformats.org/officeDocument/2006/relationships/slide" Target="slides/slide586.xml"/><Relationship Id="rId710" Type="http://schemas.openxmlformats.org/officeDocument/2006/relationships/slide" Target="slides/slide709.xml"/><Relationship Id="rId752" Type="http://schemas.openxmlformats.org/officeDocument/2006/relationships/slide" Target="slides/slide751.xml"/><Relationship Id="rId808" Type="http://schemas.openxmlformats.org/officeDocument/2006/relationships/slide" Target="slides/slide807.xml"/><Relationship Id="rId8" Type="http://schemas.openxmlformats.org/officeDocument/2006/relationships/slide" Target="slides/slide7.xml"/><Relationship Id="rId142" Type="http://schemas.openxmlformats.org/officeDocument/2006/relationships/slide" Target="slides/slide141.xml"/><Relationship Id="rId184" Type="http://schemas.openxmlformats.org/officeDocument/2006/relationships/slide" Target="slides/slide183.xml"/><Relationship Id="rId391" Type="http://schemas.openxmlformats.org/officeDocument/2006/relationships/slide" Target="slides/slide390.xml"/><Relationship Id="rId405" Type="http://schemas.openxmlformats.org/officeDocument/2006/relationships/slide" Target="slides/slide404.xml"/><Relationship Id="rId447" Type="http://schemas.openxmlformats.org/officeDocument/2006/relationships/slide" Target="slides/slide446.xml"/><Relationship Id="rId612" Type="http://schemas.openxmlformats.org/officeDocument/2006/relationships/slide" Target="slides/slide611.xml"/><Relationship Id="rId794" Type="http://schemas.openxmlformats.org/officeDocument/2006/relationships/slide" Target="slides/slide793.xml"/><Relationship Id="rId251" Type="http://schemas.openxmlformats.org/officeDocument/2006/relationships/slide" Target="slides/slide250.xml"/><Relationship Id="rId489" Type="http://schemas.openxmlformats.org/officeDocument/2006/relationships/slide" Target="slides/slide488.xml"/><Relationship Id="rId654" Type="http://schemas.openxmlformats.org/officeDocument/2006/relationships/slide" Target="slides/slide653.xml"/><Relationship Id="rId696" Type="http://schemas.openxmlformats.org/officeDocument/2006/relationships/slide" Target="slides/slide695.xml"/><Relationship Id="rId46" Type="http://schemas.openxmlformats.org/officeDocument/2006/relationships/slide" Target="slides/slide45.xml"/><Relationship Id="rId293" Type="http://schemas.openxmlformats.org/officeDocument/2006/relationships/slide" Target="slides/slide292.xml"/><Relationship Id="rId307" Type="http://schemas.openxmlformats.org/officeDocument/2006/relationships/slide" Target="slides/slide306.xml"/><Relationship Id="rId349" Type="http://schemas.openxmlformats.org/officeDocument/2006/relationships/slide" Target="slides/slide348.xml"/><Relationship Id="rId514" Type="http://schemas.openxmlformats.org/officeDocument/2006/relationships/slide" Target="slides/slide513.xml"/><Relationship Id="rId556" Type="http://schemas.openxmlformats.org/officeDocument/2006/relationships/slide" Target="slides/slide555.xml"/><Relationship Id="rId721" Type="http://schemas.openxmlformats.org/officeDocument/2006/relationships/slide" Target="slides/slide720.xml"/><Relationship Id="rId763" Type="http://schemas.openxmlformats.org/officeDocument/2006/relationships/slide" Target="slides/slide762.xml"/><Relationship Id="rId88" Type="http://schemas.openxmlformats.org/officeDocument/2006/relationships/slide" Target="slides/slide87.xml"/><Relationship Id="rId111" Type="http://schemas.openxmlformats.org/officeDocument/2006/relationships/slide" Target="slides/slide110.xml"/><Relationship Id="rId153" Type="http://schemas.openxmlformats.org/officeDocument/2006/relationships/slide" Target="slides/slide152.xml"/><Relationship Id="rId195" Type="http://schemas.openxmlformats.org/officeDocument/2006/relationships/slide" Target="slides/slide194.xml"/><Relationship Id="rId209" Type="http://schemas.openxmlformats.org/officeDocument/2006/relationships/slide" Target="slides/slide208.xml"/><Relationship Id="rId360" Type="http://schemas.openxmlformats.org/officeDocument/2006/relationships/slide" Target="slides/slide359.xml"/><Relationship Id="rId416" Type="http://schemas.openxmlformats.org/officeDocument/2006/relationships/slide" Target="slides/slide415.xml"/><Relationship Id="rId598" Type="http://schemas.openxmlformats.org/officeDocument/2006/relationships/slide" Target="slides/slide597.xml"/><Relationship Id="rId819" Type="http://schemas.openxmlformats.org/officeDocument/2006/relationships/slide" Target="slides/slide818.xml"/><Relationship Id="rId220" Type="http://schemas.openxmlformats.org/officeDocument/2006/relationships/slide" Target="slides/slide219.xml"/><Relationship Id="rId458" Type="http://schemas.openxmlformats.org/officeDocument/2006/relationships/slide" Target="slides/slide457.xml"/><Relationship Id="rId623" Type="http://schemas.openxmlformats.org/officeDocument/2006/relationships/slide" Target="slides/slide622.xml"/><Relationship Id="rId665" Type="http://schemas.openxmlformats.org/officeDocument/2006/relationships/slide" Target="slides/slide664.xml"/><Relationship Id="rId15" Type="http://schemas.openxmlformats.org/officeDocument/2006/relationships/slide" Target="slides/slide14.xml"/><Relationship Id="rId57" Type="http://schemas.openxmlformats.org/officeDocument/2006/relationships/slide" Target="slides/slide56.xml"/><Relationship Id="rId262" Type="http://schemas.openxmlformats.org/officeDocument/2006/relationships/slide" Target="slides/slide261.xml"/><Relationship Id="rId318" Type="http://schemas.openxmlformats.org/officeDocument/2006/relationships/slide" Target="slides/slide317.xml"/><Relationship Id="rId525" Type="http://schemas.openxmlformats.org/officeDocument/2006/relationships/slide" Target="slides/slide524.xml"/><Relationship Id="rId567" Type="http://schemas.openxmlformats.org/officeDocument/2006/relationships/slide" Target="slides/slide566.xml"/><Relationship Id="rId732" Type="http://schemas.openxmlformats.org/officeDocument/2006/relationships/slide" Target="slides/slide731.xml"/><Relationship Id="rId99" Type="http://schemas.openxmlformats.org/officeDocument/2006/relationships/slide" Target="slides/slide98.xml"/><Relationship Id="rId122" Type="http://schemas.openxmlformats.org/officeDocument/2006/relationships/slide" Target="slides/slide121.xml"/><Relationship Id="rId164" Type="http://schemas.openxmlformats.org/officeDocument/2006/relationships/slide" Target="slides/slide163.xml"/><Relationship Id="rId371" Type="http://schemas.openxmlformats.org/officeDocument/2006/relationships/slide" Target="slides/slide370.xml"/><Relationship Id="rId774" Type="http://schemas.openxmlformats.org/officeDocument/2006/relationships/slide" Target="slides/slide773.xml"/><Relationship Id="rId427" Type="http://schemas.openxmlformats.org/officeDocument/2006/relationships/slide" Target="slides/slide426.xml"/><Relationship Id="rId469" Type="http://schemas.openxmlformats.org/officeDocument/2006/relationships/slide" Target="slides/slide468.xml"/><Relationship Id="rId634" Type="http://schemas.openxmlformats.org/officeDocument/2006/relationships/slide" Target="slides/slide633.xml"/><Relationship Id="rId676" Type="http://schemas.openxmlformats.org/officeDocument/2006/relationships/slide" Target="slides/slide675.xml"/><Relationship Id="rId26" Type="http://schemas.openxmlformats.org/officeDocument/2006/relationships/slide" Target="slides/slide25.xml"/><Relationship Id="rId231" Type="http://schemas.openxmlformats.org/officeDocument/2006/relationships/slide" Target="slides/slide230.xml"/><Relationship Id="rId273" Type="http://schemas.openxmlformats.org/officeDocument/2006/relationships/slide" Target="slides/slide272.xml"/><Relationship Id="rId329" Type="http://schemas.openxmlformats.org/officeDocument/2006/relationships/slide" Target="slides/slide328.xml"/><Relationship Id="rId480" Type="http://schemas.openxmlformats.org/officeDocument/2006/relationships/slide" Target="slides/slide479.xml"/><Relationship Id="rId536" Type="http://schemas.openxmlformats.org/officeDocument/2006/relationships/slide" Target="slides/slide535.xml"/><Relationship Id="rId701" Type="http://schemas.openxmlformats.org/officeDocument/2006/relationships/slide" Target="slides/slide700.xml"/><Relationship Id="rId68" Type="http://schemas.openxmlformats.org/officeDocument/2006/relationships/slide" Target="slides/slide67.xml"/><Relationship Id="rId133" Type="http://schemas.openxmlformats.org/officeDocument/2006/relationships/slide" Target="slides/slide132.xml"/><Relationship Id="rId175" Type="http://schemas.openxmlformats.org/officeDocument/2006/relationships/slide" Target="slides/slide174.xml"/><Relationship Id="rId340" Type="http://schemas.openxmlformats.org/officeDocument/2006/relationships/slide" Target="slides/slide339.xml"/><Relationship Id="rId578" Type="http://schemas.openxmlformats.org/officeDocument/2006/relationships/slide" Target="slides/slide577.xml"/><Relationship Id="rId743" Type="http://schemas.openxmlformats.org/officeDocument/2006/relationships/slide" Target="slides/slide742.xml"/><Relationship Id="rId785" Type="http://schemas.openxmlformats.org/officeDocument/2006/relationships/slide" Target="slides/slide784.xml"/><Relationship Id="rId200" Type="http://schemas.openxmlformats.org/officeDocument/2006/relationships/slide" Target="slides/slide199.xml"/><Relationship Id="rId382" Type="http://schemas.openxmlformats.org/officeDocument/2006/relationships/slide" Target="slides/slide381.xml"/><Relationship Id="rId438" Type="http://schemas.openxmlformats.org/officeDocument/2006/relationships/slide" Target="slides/slide437.xml"/><Relationship Id="rId603" Type="http://schemas.openxmlformats.org/officeDocument/2006/relationships/slide" Target="slides/slide602.xml"/><Relationship Id="rId645" Type="http://schemas.openxmlformats.org/officeDocument/2006/relationships/slide" Target="slides/slide644.xml"/><Relationship Id="rId687" Type="http://schemas.openxmlformats.org/officeDocument/2006/relationships/slide" Target="slides/slide686.xml"/><Relationship Id="rId810" Type="http://schemas.openxmlformats.org/officeDocument/2006/relationships/slide" Target="slides/slide809.xml"/><Relationship Id="rId242" Type="http://schemas.openxmlformats.org/officeDocument/2006/relationships/slide" Target="slides/slide241.xml"/><Relationship Id="rId284" Type="http://schemas.openxmlformats.org/officeDocument/2006/relationships/slide" Target="slides/slide283.xml"/><Relationship Id="rId491" Type="http://schemas.openxmlformats.org/officeDocument/2006/relationships/slide" Target="slides/slide490.xml"/><Relationship Id="rId505" Type="http://schemas.openxmlformats.org/officeDocument/2006/relationships/slide" Target="slides/slide504.xml"/><Relationship Id="rId712" Type="http://schemas.openxmlformats.org/officeDocument/2006/relationships/slide" Target="slides/slide711.xml"/><Relationship Id="rId37" Type="http://schemas.openxmlformats.org/officeDocument/2006/relationships/slide" Target="slides/slide36.xml"/><Relationship Id="rId79" Type="http://schemas.openxmlformats.org/officeDocument/2006/relationships/slide" Target="slides/slide78.xml"/><Relationship Id="rId102" Type="http://schemas.openxmlformats.org/officeDocument/2006/relationships/slide" Target="slides/slide101.xml"/><Relationship Id="rId144" Type="http://schemas.openxmlformats.org/officeDocument/2006/relationships/slide" Target="slides/slide143.xml"/><Relationship Id="rId547" Type="http://schemas.openxmlformats.org/officeDocument/2006/relationships/slide" Target="slides/slide546.xml"/><Relationship Id="rId589" Type="http://schemas.openxmlformats.org/officeDocument/2006/relationships/slide" Target="slides/slide588.xml"/><Relationship Id="rId754" Type="http://schemas.openxmlformats.org/officeDocument/2006/relationships/slide" Target="slides/slide753.xml"/><Relationship Id="rId796" Type="http://schemas.openxmlformats.org/officeDocument/2006/relationships/slide" Target="slides/slide795.xml"/><Relationship Id="rId90" Type="http://schemas.openxmlformats.org/officeDocument/2006/relationships/slide" Target="slides/slide89.xml"/><Relationship Id="rId186" Type="http://schemas.openxmlformats.org/officeDocument/2006/relationships/slide" Target="slides/slide185.xml"/><Relationship Id="rId351" Type="http://schemas.openxmlformats.org/officeDocument/2006/relationships/slide" Target="slides/slide350.xml"/><Relationship Id="rId393" Type="http://schemas.openxmlformats.org/officeDocument/2006/relationships/slide" Target="slides/slide392.xml"/><Relationship Id="rId407" Type="http://schemas.openxmlformats.org/officeDocument/2006/relationships/slide" Target="slides/slide406.xml"/><Relationship Id="rId449" Type="http://schemas.openxmlformats.org/officeDocument/2006/relationships/slide" Target="slides/slide448.xml"/><Relationship Id="rId614" Type="http://schemas.openxmlformats.org/officeDocument/2006/relationships/slide" Target="slides/slide613.xml"/><Relationship Id="rId656" Type="http://schemas.openxmlformats.org/officeDocument/2006/relationships/slide" Target="slides/slide655.xml"/><Relationship Id="rId821" Type="http://schemas.openxmlformats.org/officeDocument/2006/relationships/handoutMaster" Target="handoutMasters/handoutMaster1.xml"/><Relationship Id="rId211" Type="http://schemas.openxmlformats.org/officeDocument/2006/relationships/slide" Target="slides/slide210.xml"/><Relationship Id="rId253" Type="http://schemas.openxmlformats.org/officeDocument/2006/relationships/slide" Target="slides/slide252.xml"/><Relationship Id="rId295" Type="http://schemas.openxmlformats.org/officeDocument/2006/relationships/slide" Target="slides/slide294.xml"/><Relationship Id="rId309" Type="http://schemas.openxmlformats.org/officeDocument/2006/relationships/slide" Target="slides/slide308.xml"/><Relationship Id="rId460" Type="http://schemas.openxmlformats.org/officeDocument/2006/relationships/slide" Target="slides/slide459.xml"/><Relationship Id="rId516" Type="http://schemas.openxmlformats.org/officeDocument/2006/relationships/slide" Target="slides/slide515.xml"/><Relationship Id="rId698" Type="http://schemas.openxmlformats.org/officeDocument/2006/relationships/slide" Target="slides/slide697.xml"/><Relationship Id="rId48" Type="http://schemas.openxmlformats.org/officeDocument/2006/relationships/slide" Target="slides/slide47.xml"/><Relationship Id="rId113" Type="http://schemas.openxmlformats.org/officeDocument/2006/relationships/slide" Target="slides/slide112.xml"/><Relationship Id="rId320" Type="http://schemas.openxmlformats.org/officeDocument/2006/relationships/slide" Target="slides/slide319.xml"/><Relationship Id="rId558" Type="http://schemas.openxmlformats.org/officeDocument/2006/relationships/slide" Target="slides/slide557.xml"/><Relationship Id="rId723" Type="http://schemas.openxmlformats.org/officeDocument/2006/relationships/slide" Target="slides/slide722.xml"/><Relationship Id="rId765" Type="http://schemas.openxmlformats.org/officeDocument/2006/relationships/slide" Target="slides/slide764.xml"/><Relationship Id="rId155" Type="http://schemas.openxmlformats.org/officeDocument/2006/relationships/slide" Target="slides/slide154.xml"/><Relationship Id="rId197" Type="http://schemas.openxmlformats.org/officeDocument/2006/relationships/slide" Target="slides/slide196.xml"/><Relationship Id="rId362" Type="http://schemas.openxmlformats.org/officeDocument/2006/relationships/slide" Target="slides/slide361.xml"/><Relationship Id="rId418" Type="http://schemas.openxmlformats.org/officeDocument/2006/relationships/slide" Target="slides/slide417.xml"/><Relationship Id="rId625" Type="http://schemas.openxmlformats.org/officeDocument/2006/relationships/slide" Target="slides/slide624.xml"/><Relationship Id="rId222" Type="http://schemas.openxmlformats.org/officeDocument/2006/relationships/slide" Target="slides/slide221.xml"/><Relationship Id="rId264" Type="http://schemas.openxmlformats.org/officeDocument/2006/relationships/slide" Target="slides/slide263.xml"/><Relationship Id="rId471" Type="http://schemas.openxmlformats.org/officeDocument/2006/relationships/slide" Target="slides/slide470.xml"/><Relationship Id="rId667" Type="http://schemas.openxmlformats.org/officeDocument/2006/relationships/slide" Target="slides/slide666.xml"/><Relationship Id="rId17" Type="http://schemas.openxmlformats.org/officeDocument/2006/relationships/slide" Target="slides/slide16.xml"/><Relationship Id="rId59" Type="http://schemas.openxmlformats.org/officeDocument/2006/relationships/slide" Target="slides/slide58.xml"/><Relationship Id="rId124" Type="http://schemas.openxmlformats.org/officeDocument/2006/relationships/slide" Target="slides/slide123.xml"/><Relationship Id="rId527" Type="http://schemas.openxmlformats.org/officeDocument/2006/relationships/slide" Target="slides/slide526.xml"/><Relationship Id="rId569" Type="http://schemas.openxmlformats.org/officeDocument/2006/relationships/slide" Target="slides/slide568.xml"/><Relationship Id="rId734" Type="http://schemas.openxmlformats.org/officeDocument/2006/relationships/slide" Target="slides/slide733.xml"/><Relationship Id="rId776" Type="http://schemas.openxmlformats.org/officeDocument/2006/relationships/slide" Target="slides/slide775.xml"/><Relationship Id="rId70" Type="http://schemas.openxmlformats.org/officeDocument/2006/relationships/slide" Target="slides/slide69.xml"/><Relationship Id="rId166" Type="http://schemas.openxmlformats.org/officeDocument/2006/relationships/slide" Target="slides/slide165.xml"/><Relationship Id="rId331" Type="http://schemas.openxmlformats.org/officeDocument/2006/relationships/slide" Target="slides/slide330.xml"/><Relationship Id="rId373" Type="http://schemas.openxmlformats.org/officeDocument/2006/relationships/slide" Target="slides/slide372.xml"/><Relationship Id="rId429" Type="http://schemas.openxmlformats.org/officeDocument/2006/relationships/slide" Target="slides/slide428.xml"/><Relationship Id="rId580" Type="http://schemas.openxmlformats.org/officeDocument/2006/relationships/slide" Target="slides/slide579.xml"/><Relationship Id="rId636" Type="http://schemas.openxmlformats.org/officeDocument/2006/relationships/slide" Target="slides/slide635.xml"/><Relationship Id="rId801" Type="http://schemas.openxmlformats.org/officeDocument/2006/relationships/slide" Target="slides/slide800.xml"/><Relationship Id="rId1" Type="http://schemas.openxmlformats.org/officeDocument/2006/relationships/slideMaster" Target="slideMasters/slideMaster1.xml"/><Relationship Id="rId233" Type="http://schemas.openxmlformats.org/officeDocument/2006/relationships/slide" Target="slides/slide232.xml"/><Relationship Id="rId440" Type="http://schemas.openxmlformats.org/officeDocument/2006/relationships/slide" Target="slides/slide439.xml"/><Relationship Id="rId678" Type="http://schemas.openxmlformats.org/officeDocument/2006/relationships/slide" Target="slides/slide677.xml"/><Relationship Id="rId28" Type="http://schemas.openxmlformats.org/officeDocument/2006/relationships/slide" Target="slides/slide27.xml"/><Relationship Id="rId275" Type="http://schemas.openxmlformats.org/officeDocument/2006/relationships/slide" Target="slides/slide274.xml"/><Relationship Id="rId300" Type="http://schemas.openxmlformats.org/officeDocument/2006/relationships/slide" Target="slides/slide299.xml"/><Relationship Id="rId482" Type="http://schemas.openxmlformats.org/officeDocument/2006/relationships/slide" Target="slides/slide481.xml"/><Relationship Id="rId538" Type="http://schemas.openxmlformats.org/officeDocument/2006/relationships/slide" Target="slides/slide537.xml"/><Relationship Id="rId703" Type="http://schemas.openxmlformats.org/officeDocument/2006/relationships/slide" Target="slides/slide702.xml"/><Relationship Id="rId745" Type="http://schemas.openxmlformats.org/officeDocument/2006/relationships/slide" Target="slides/slide744.xml"/><Relationship Id="rId81" Type="http://schemas.openxmlformats.org/officeDocument/2006/relationships/slide" Target="slides/slide80.xml"/><Relationship Id="rId135" Type="http://schemas.openxmlformats.org/officeDocument/2006/relationships/slide" Target="slides/slide134.xml"/><Relationship Id="rId177" Type="http://schemas.openxmlformats.org/officeDocument/2006/relationships/slide" Target="slides/slide176.xml"/><Relationship Id="rId342" Type="http://schemas.openxmlformats.org/officeDocument/2006/relationships/slide" Target="slides/slide341.xml"/><Relationship Id="rId384" Type="http://schemas.openxmlformats.org/officeDocument/2006/relationships/slide" Target="slides/slide383.xml"/><Relationship Id="rId591" Type="http://schemas.openxmlformats.org/officeDocument/2006/relationships/slide" Target="slides/slide590.xml"/><Relationship Id="rId605" Type="http://schemas.openxmlformats.org/officeDocument/2006/relationships/slide" Target="slides/slide604.xml"/><Relationship Id="rId787" Type="http://schemas.openxmlformats.org/officeDocument/2006/relationships/slide" Target="slides/slide786.xml"/><Relationship Id="rId812" Type="http://schemas.openxmlformats.org/officeDocument/2006/relationships/slide" Target="slides/slide811.xml"/><Relationship Id="rId202" Type="http://schemas.openxmlformats.org/officeDocument/2006/relationships/slide" Target="slides/slide201.xml"/><Relationship Id="rId244" Type="http://schemas.openxmlformats.org/officeDocument/2006/relationships/slide" Target="slides/slide243.xml"/><Relationship Id="rId647" Type="http://schemas.openxmlformats.org/officeDocument/2006/relationships/slide" Target="slides/slide646.xml"/><Relationship Id="rId689" Type="http://schemas.openxmlformats.org/officeDocument/2006/relationships/slide" Target="slides/slide688.xml"/><Relationship Id="rId39" Type="http://schemas.openxmlformats.org/officeDocument/2006/relationships/slide" Target="slides/slide38.xml"/><Relationship Id="rId286" Type="http://schemas.openxmlformats.org/officeDocument/2006/relationships/slide" Target="slides/slide285.xml"/><Relationship Id="rId451" Type="http://schemas.openxmlformats.org/officeDocument/2006/relationships/slide" Target="slides/slide450.xml"/><Relationship Id="rId493" Type="http://schemas.openxmlformats.org/officeDocument/2006/relationships/slide" Target="slides/slide492.xml"/><Relationship Id="rId507" Type="http://schemas.openxmlformats.org/officeDocument/2006/relationships/slide" Target="slides/slide506.xml"/><Relationship Id="rId549" Type="http://schemas.openxmlformats.org/officeDocument/2006/relationships/slide" Target="slides/slide548.xml"/><Relationship Id="rId714" Type="http://schemas.openxmlformats.org/officeDocument/2006/relationships/slide" Target="slides/slide713.xml"/><Relationship Id="rId756" Type="http://schemas.openxmlformats.org/officeDocument/2006/relationships/slide" Target="slides/slide755.xml"/><Relationship Id="rId50" Type="http://schemas.openxmlformats.org/officeDocument/2006/relationships/slide" Target="slides/slide49.xml"/><Relationship Id="rId104" Type="http://schemas.openxmlformats.org/officeDocument/2006/relationships/slide" Target="slides/slide103.xml"/><Relationship Id="rId146" Type="http://schemas.openxmlformats.org/officeDocument/2006/relationships/slide" Target="slides/slide145.xml"/><Relationship Id="rId188" Type="http://schemas.openxmlformats.org/officeDocument/2006/relationships/slide" Target="slides/slide187.xml"/><Relationship Id="rId311" Type="http://schemas.openxmlformats.org/officeDocument/2006/relationships/slide" Target="slides/slide310.xml"/><Relationship Id="rId353" Type="http://schemas.openxmlformats.org/officeDocument/2006/relationships/slide" Target="slides/slide352.xml"/><Relationship Id="rId395" Type="http://schemas.openxmlformats.org/officeDocument/2006/relationships/slide" Target="slides/slide394.xml"/><Relationship Id="rId409" Type="http://schemas.openxmlformats.org/officeDocument/2006/relationships/slide" Target="slides/slide408.xml"/><Relationship Id="rId560" Type="http://schemas.openxmlformats.org/officeDocument/2006/relationships/slide" Target="slides/slide559.xml"/><Relationship Id="rId798" Type="http://schemas.openxmlformats.org/officeDocument/2006/relationships/slide" Target="slides/slide797.xml"/><Relationship Id="rId92" Type="http://schemas.openxmlformats.org/officeDocument/2006/relationships/slide" Target="slides/slide91.xml"/><Relationship Id="rId213" Type="http://schemas.openxmlformats.org/officeDocument/2006/relationships/slide" Target="slides/slide212.xml"/><Relationship Id="rId420" Type="http://schemas.openxmlformats.org/officeDocument/2006/relationships/slide" Target="slides/slide419.xml"/><Relationship Id="rId616" Type="http://schemas.openxmlformats.org/officeDocument/2006/relationships/slide" Target="slides/slide615.xml"/><Relationship Id="rId658" Type="http://schemas.openxmlformats.org/officeDocument/2006/relationships/slide" Target="slides/slide657.xml"/><Relationship Id="rId823" Type="http://schemas.openxmlformats.org/officeDocument/2006/relationships/viewProps" Target="viewProps.xml"/><Relationship Id="rId255" Type="http://schemas.openxmlformats.org/officeDocument/2006/relationships/slide" Target="slides/slide254.xml"/><Relationship Id="rId297" Type="http://schemas.openxmlformats.org/officeDocument/2006/relationships/slide" Target="slides/slide296.xml"/><Relationship Id="rId462" Type="http://schemas.openxmlformats.org/officeDocument/2006/relationships/slide" Target="slides/slide461.xml"/><Relationship Id="rId518" Type="http://schemas.openxmlformats.org/officeDocument/2006/relationships/slide" Target="slides/slide517.xml"/><Relationship Id="rId725" Type="http://schemas.openxmlformats.org/officeDocument/2006/relationships/slide" Target="slides/slide724.xml"/><Relationship Id="rId115" Type="http://schemas.openxmlformats.org/officeDocument/2006/relationships/slide" Target="slides/slide114.xml"/><Relationship Id="rId157" Type="http://schemas.openxmlformats.org/officeDocument/2006/relationships/slide" Target="slides/slide156.xml"/><Relationship Id="rId322" Type="http://schemas.openxmlformats.org/officeDocument/2006/relationships/slide" Target="slides/slide321.xml"/><Relationship Id="rId364" Type="http://schemas.openxmlformats.org/officeDocument/2006/relationships/slide" Target="slides/slide363.xml"/><Relationship Id="rId767" Type="http://schemas.openxmlformats.org/officeDocument/2006/relationships/slide" Target="slides/slide766.xml"/><Relationship Id="rId61" Type="http://schemas.openxmlformats.org/officeDocument/2006/relationships/slide" Target="slides/slide60.xml"/><Relationship Id="rId199" Type="http://schemas.openxmlformats.org/officeDocument/2006/relationships/slide" Target="slides/slide198.xml"/><Relationship Id="rId571" Type="http://schemas.openxmlformats.org/officeDocument/2006/relationships/slide" Target="slides/slide570.xml"/><Relationship Id="rId627" Type="http://schemas.openxmlformats.org/officeDocument/2006/relationships/slide" Target="slides/slide626.xml"/><Relationship Id="rId669" Type="http://schemas.openxmlformats.org/officeDocument/2006/relationships/slide" Target="slides/slide668.xml"/><Relationship Id="rId19" Type="http://schemas.openxmlformats.org/officeDocument/2006/relationships/slide" Target="slides/slide18.xml"/><Relationship Id="rId224" Type="http://schemas.openxmlformats.org/officeDocument/2006/relationships/slide" Target="slides/slide223.xml"/><Relationship Id="rId266" Type="http://schemas.openxmlformats.org/officeDocument/2006/relationships/slide" Target="slides/slide265.xml"/><Relationship Id="rId431" Type="http://schemas.openxmlformats.org/officeDocument/2006/relationships/slide" Target="slides/slide430.xml"/><Relationship Id="rId473" Type="http://schemas.openxmlformats.org/officeDocument/2006/relationships/slide" Target="slides/slide472.xml"/><Relationship Id="rId529" Type="http://schemas.openxmlformats.org/officeDocument/2006/relationships/slide" Target="slides/slide528.xml"/><Relationship Id="rId680" Type="http://schemas.openxmlformats.org/officeDocument/2006/relationships/slide" Target="slides/slide679.xml"/><Relationship Id="rId736" Type="http://schemas.openxmlformats.org/officeDocument/2006/relationships/slide" Target="slides/slide735.xml"/><Relationship Id="rId30" Type="http://schemas.openxmlformats.org/officeDocument/2006/relationships/slide" Target="slides/slide29.xml"/><Relationship Id="rId126" Type="http://schemas.openxmlformats.org/officeDocument/2006/relationships/slide" Target="slides/slide125.xml"/><Relationship Id="rId168" Type="http://schemas.openxmlformats.org/officeDocument/2006/relationships/slide" Target="slides/slide167.xml"/><Relationship Id="rId333" Type="http://schemas.openxmlformats.org/officeDocument/2006/relationships/slide" Target="slides/slide332.xml"/><Relationship Id="rId540" Type="http://schemas.openxmlformats.org/officeDocument/2006/relationships/slide" Target="slides/slide539.xml"/><Relationship Id="rId778" Type="http://schemas.openxmlformats.org/officeDocument/2006/relationships/slide" Target="slides/slide777.xml"/><Relationship Id="rId72" Type="http://schemas.openxmlformats.org/officeDocument/2006/relationships/slide" Target="slides/slide71.xml"/><Relationship Id="rId375" Type="http://schemas.openxmlformats.org/officeDocument/2006/relationships/slide" Target="slides/slide374.xml"/><Relationship Id="rId582" Type="http://schemas.openxmlformats.org/officeDocument/2006/relationships/slide" Target="slides/slide581.xml"/><Relationship Id="rId638" Type="http://schemas.openxmlformats.org/officeDocument/2006/relationships/slide" Target="slides/slide637.xml"/><Relationship Id="rId803" Type="http://schemas.openxmlformats.org/officeDocument/2006/relationships/slide" Target="slides/slide802.xml"/><Relationship Id="rId3" Type="http://schemas.openxmlformats.org/officeDocument/2006/relationships/slide" Target="slides/slide2.xml"/><Relationship Id="rId235" Type="http://schemas.openxmlformats.org/officeDocument/2006/relationships/slide" Target="slides/slide234.xml"/><Relationship Id="rId277" Type="http://schemas.openxmlformats.org/officeDocument/2006/relationships/slide" Target="slides/slide276.xml"/><Relationship Id="rId400" Type="http://schemas.openxmlformats.org/officeDocument/2006/relationships/slide" Target="slides/slide399.xml"/><Relationship Id="rId442" Type="http://schemas.openxmlformats.org/officeDocument/2006/relationships/slide" Target="slides/slide441.xml"/><Relationship Id="rId484" Type="http://schemas.openxmlformats.org/officeDocument/2006/relationships/slide" Target="slides/slide483.xml"/><Relationship Id="rId705" Type="http://schemas.openxmlformats.org/officeDocument/2006/relationships/slide" Target="slides/slide704.xml"/><Relationship Id="rId137" Type="http://schemas.openxmlformats.org/officeDocument/2006/relationships/slide" Target="slides/slide136.xml"/><Relationship Id="rId302" Type="http://schemas.openxmlformats.org/officeDocument/2006/relationships/slide" Target="slides/slide301.xml"/><Relationship Id="rId344" Type="http://schemas.openxmlformats.org/officeDocument/2006/relationships/slide" Target="slides/slide343.xml"/><Relationship Id="rId691" Type="http://schemas.openxmlformats.org/officeDocument/2006/relationships/slide" Target="slides/slide690.xml"/><Relationship Id="rId747" Type="http://schemas.openxmlformats.org/officeDocument/2006/relationships/slide" Target="slides/slide746.xml"/><Relationship Id="rId789" Type="http://schemas.openxmlformats.org/officeDocument/2006/relationships/slide" Target="slides/slide788.xml"/><Relationship Id="rId41" Type="http://schemas.openxmlformats.org/officeDocument/2006/relationships/slide" Target="slides/slide40.xml"/><Relationship Id="rId83" Type="http://schemas.openxmlformats.org/officeDocument/2006/relationships/slide" Target="slides/slide82.xml"/><Relationship Id="rId179" Type="http://schemas.openxmlformats.org/officeDocument/2006/relationships/slide" Target="slides/slide178.xml"/><Relationship Id="rId386" Type="http://schemas.openxmlformats.org/officeDocument/2006/relationships/slide" Target="slides/slide385.xml"/><Relationship Id="rId551" Type="http://schemas.openxmlformats.org/officeDocument/2006/relationships/slide" Target="slides/slide550.xml"/><Relationship Id="rId593" Type="http://schemas.openxmlformats.org/officeDocument/2006/relationships/slide" Target="slides/slide592.xml"/><Relationship Id="rId607" Type="http://schemas.openxmlformats.org/officeDocument/2006/relationships/slide" Target="slides/slide606.xml"/><Relationship Id="rId649" Type="http://schemas.openxmlformats.org/officeDocument/2006/relationships/slide" Target="slides/slide648.xml"/><Relationship Id="rId814" Type="http://schemas.openxmlformats.org/officeDocument/2006/relationships/slide" Target="slides/slide813.xml"/><Relationship Id="rId190" Type="http://schemas.openxmlformats.org/officeDocument/2006/relationships/slide" Target="slides/slide189.xml"/><Relationship Id="rId204" Type="http://schemas.openxmlformats.org/officeDocument/2006/relationships/slide" Target="slides/slide203.xml"/><Relationship Id="rId246" Type="http://schemas.openxmlformats.org/officeDocument/2006/relationships/slide" Target="slides/slide245.xml"/><Relationship Id="rId288" Type="http://schemas.openxmlformats.org/officeDocument/2006/relationships/slide" Target="slides/slide287.xml"/><Relationship Id="rId411" Type="http://schemas.openxmlformats.org/officeDocument/2006/relationships/slide" Target="slides/slide410.xml"/><Relationship Id="rId453" Type="http://schemas.openxmlformats.org/officeDocument/2006/relationships/slide" Target="slides/slide452.xml"/><Relationship Id="rId509" Type="http://schemas.openxmlformats.org/officeDocument/2006/relationships/slide" Target="slides/slide508.xml"/><Relationship Id="rId660" Type="http://schemas.openxmlformats.org/officeDocument/2006/relationships/slide" Target="slides/slide659.xml"/><Relationship Id="rId106" Type="http://schemas.openxmlformats.org/officeDocument/2006/relationships/slide" Target="slides/slide105.xml"/><Relationship Id="rId313" Type="http://schemas.openxmlformats.org/officeDocument/2006/relationships/slide" Target="slides/slide312.xml"/><Relationship Id="rId495" Type="http://schemas.openxmlformats.org/officeDocument/2006/relationships/slide" Target="slides/slide494.xml"/><Relationship Id="rId716" Type="http://schemas.openxmlformats.org/officeDocument/2006/relationships/slide" Target="slides/slide715.xml"/><Relationship Id="rId758" Type="http://schemas.openxmlformats.org/officeDocument/2006/relationships/slide" Target="slides/slide757.xml"/><Relationship Id="rId10" Type="http://schemas.openxmlformats.org/officeDocument/2006/relationships/slide" Target="slides/slide9.xml"/><Relationship Id="rId52" Type="http://schemas.openxmlformats.org/officeDocument/2006/relationships/slide" Target="slides/slide51.xml"/><Relationship Id="rId94" Type="http://schemas.openxmlformats.org/officeDocument/2006/relationships/slide" Target="slides/slide93.xml"/><Relationship Id="rId148" Type="http://schemas.openxmlformats.org/officeDocument/2006/relationships/slide" Target="slides/slide147.xml"/><Relationship Id="rId355" Type="http://schemas.openxmlformats.org/officeDocument/2006/relationships/slide" Target="slides/slide354.xml"/><Relationship Id="rId397" Type="http://schemas.openxmlformats.org/officeDocument/2006/relationships/slide" Target="slides/slide396.xml"/><Relationship Id="rId520" Type="http://schemas.openxmlformats.org/officeDocument/2006/relationships/slide" Target="slides/slide519.xml"/><Relationship Id="rId562" Type="http://schemas.openxmlformats.org/officeDocument/2006/relationships/slide" Target="slides/slide561.xml"/><Relationship Id="rId618" Type="http://schemas.openxmlformats.org/officeDocument/2006/relationships/slide" Target="slides/slide617.xml"/><Relationship Id="rId825" Type="http://schemas.openxmlformats.org/officeDocument/2006/relationships/tableStyles" Target="tableStyles.xml"/><Relationship Id="rId215" Type="http://schemas.openxmlformats.org/officeDocument/2006/relationships/slide" Target="slides/slide214.xml"/><Relationship Id="rId257" Type="http://schemas.openxmlformats.org/officeDocument/2006/relationships/slide" Target="slides/slide256.xml"/><Relationship Id="rId422" Type="http://schemas.openxmlformats.org/officeDocument/2006/relationships/slide" Target="slides/slide421.xml"/><Relationship Id="rId464" Type="http://schemas.openxmlformats.org/officeDocument/2006/relationships/slide" Target="slides/slide463.xml"/><Relationship Id="rId299" Type="http://schemas.openxmlformats.org/officeDocument/2006/relationships/slide" Target="slides/slide298.xml"/><Relationship Id="rId727" Type="http://schemas.openxmlformats.org/officeDocument/2006/relationships/slide" Target="slides/slide726.xml"/><Relationship Id="rId63" Type="http://schemas.openxmlformats.org/officeDocument/2006/relationships/slide" Target="slides/slide62.xml"/><Relationship Id="rId159" Type="http://schemas.openxmlformats.org/officeDocument/2006/relationships/slide" Target="slides/slide158.xml"/><Relationship Id="rId366" Type="http://schemas.openxmlformats.org/officeDocument/2006/relationships/slide" Target="slides/slide365.xml"/><Relationship Id="rId573" Type="http://schemas.openxmlformats.org/officeDocument/2006/relationships/slide" Target="slides/slide572.xml"/><Relationship Id="rId780" Type="http://schemas.openxmlformats.org/officeDocument/2006/relationships/slide" Target="slides/slide779.xml"/><Relationship Id="rId226" Type="http://schemas.openxmlformats.org/officeDocument/2006/relationships/slide" Target="slides/slide225.xml"/><Relationship Id="rId433" Type="http://schemas.openxmlformats.org/officeDocument/2006/relationships/slide" Target="slides/slide432.xml"/><Relationship Id="rId640" Type="http://schemas.openxmlformats.org/officeDocument/2006/relationships/slide" Target="slides/slide639.xml"/><Relationship Id="rId738" Type="http://schemas.openxmlformats.org/officeDocument/2006/relationships/slide" Target="slides/slide737.xml"/><Relationship Id="rId74" Type="http://schemas.openxmlformats.org/officeDocument/2006/relationships/slide" Target="slides/slide73.xml"/><Relationship Id="rId377" Type="http://schemas.openxmlformats.org/officeDocument/2006/relationships/slide" Target="slides/slide376.xml"/><Relationship Id="rId500" Type="http://schemas.openxmlformats.org/officeDocument/2006/relationships/slide" Target="slides/slide499.xml"/><Relationship Id="rId584" Type="http://schemas.openxmlformats.org/officeDocument/2006/relationships/slide" Target="slides/slide583.xml"/><Relationship Id="rId805" Type="http://schemas.openxmlformats.org/officeDocument/2006/relationships/slide" Target="slides/slide804.xml"/><Relationship Id="rId5" Type="http://schemas.openxmlformats.org/officeDocument/2006/relationships/slide" Target="slides/slide4.xml"/><Relationship Id="rId237" Type="http://schemas.openxmlformats.org/officeDocument/2006/relationships/slide" Target="slides/slide236.xml"/><Relationship Id="rId791" Type="http://schemas.openxmlformats.org/officeDocument/2006/relationships/slide" Target="slides/slide790.xml"/><Relationship Id="rId444" Type="http://schemas.openxmlformats.org/officeDocument/2006/relationships/slide" Target="slides/slide443.xml"/><Relationship Id="rId651" Type="http://schemas.openxmlformats.org/officeDocument/2006/relationships/slide" Target="slides/slide650.xml"/><Relationship Id="rId749" Type="http://schemas.openxmlformats.org/officeDocument/2006/relationships/slide" Target="slides/slide748.xml"/><Relationship Id="rId290" Type="http://schemas.openxmlformats.org/officeDocument/2006/relationships/slide" Target="slides/slide289.xml"/><Relationship Id="rId304" Type="http://schemas.openxmlformats.org/officeDocument/2006/relationships/slide" Target="slides/slide303.xml"/><Relationship Id="rId388" Type="http://schemas.openxmlformats.org/officeDocument/2006/relationships/slide" Target="slides/slide387.xml"/><Relationship Id="rId511" Type="http://schemas.openxmlformats.org/officeDocument/2006/relationships/slide" Target="slides/slide510.xml"/><Relationship Id="rId609" Type="http://schemas.openxmlformats.org/officeDocument/2006/relationships/slide" Target="slides/slide608.xml"/><Relationship Id="rId85" Type="http://schemas.openxmlformats.org/officeDocument/2006/relationships/slide" Target="slides/slide84.xml"/><Relationship Id="rId150" Type="http://schemas.openxmlformats.org/officeDocument/2006/relationships/slide" Target="slides/slide149.xml"/><Relationship Id="rId595" Type="http://schemas.openxmlformats.org/officeDocument/2006/relationships/slide" Target="slides/slide594.xml"/><Relationship Id="rId816" Type="http://schemas.openxmlformats.org/officeDocument/2006/relationships/slide" Target="slides/slide815.xml"/><Relationship Id="rId248" Type="http://schemas.openxmlformats.org/officeDocument/2006/relationships/slide" Target="slides/slide247.xml"/><Relationship Id="rId455" Type="http://schemas.openxmlformats.org/officeDocument/2006/relationships/slide" Target="slides/slide454.xml"/><Relationship Id="rId662" Type="http://schemas.openxmlformats.org/officeDocument/2006/relationships/slide" Target="slides/slide661.xml"/><Relationship Id="rId12" Type="http://schemas.openxmlformats.org/officeDocument/2006/relationships/slide" Target="slides/slide11.xml"/><Relationship Id="rId108" Type="http://schemas.openxmlformats.org/officeDocument/2006/relationships/slide" Target="slides/slide107.xml"/><Relationship Id="rId315" Type="http://schemas.openxmlformats.org/officeDocument/2006/relationships/slide" Target="slides/slide314.xml"/><Relationship Id="rId522" Type="http://schemas.openxmlformats.org/officeDocument/2006/relationships/slide" Target="slides/slide521.xml"/><Relationship Id="rId96" Type="http://schemas.openxmlformats.org/officeDocument/2006/relationships/slide" Target="slides/slide95.xml"/><Relationship Id="rId161" Type="http://schemas.openxmlformats.org/officeDocument/2006/relationships/slide" Target="slides/slide160.xml"/><Relationship Id="rId399" Type="http://schemas.openxmlformats.org/officeDocument/2006/relationships/slide" Target="slides/slide398.xml"/><Relationship Id="rId259" Type="http://schemas.openxmlformats.org/officeDocument/2006/relationships/slide" Target="slides/slide258.xml"/><Relationship Id="rId466" Type="http://schemas.openxmlformats.org/officeDocument/2006/relationships/slide" Target="slides/slide465.xml"/><Relationship Id="rId673" Type="http://schemas.openxmlformats.org/officeDocument/2006/relationships/slide" Target="slides/slide672.xml"/><Relationship Id="rId23" Type="http://schemas.openxmlformats.org/officeDocument/2006/relationships/slide" Target="slides/slide22.xml"/><Relationship Id="rId119" Type="http://schemas.openxmlformats.org/officeDocument/2006/relationships/slide" Target="slides/slide118.xml"/><Relationship Id="rId326" Type="http://schemas.openxmlformats.org/officeDocument/2006/relationships/slide" Target="slides/slide325.xml"/><Relationship Id="rId533" Type="http://schemas.openxmlformats.org/officeDocument/2006/relationships/slide" Target="slides/slide532.xml"/><Relationship Id="rId740" Type="http://schemas.openxmlformats.org/officeDocument/2006/relationships/slide" Target="slides/slide739.xml"/><Relationship Id="rId172" Type="http://schemas.openxmlformats.org/officeDocument/2006/relationships/slide" Target="slides/slide171.xml"/><Relationship Id="rId477" Type="http://schemas.openxmlformats.org/officeDocument/2006/relationships/slide" Target="slides/slide476.xml"/><Relationship Id="rId600" Type="http://schemas.openxmlformats.org/officeDocument/2006/relationships/slide" Target="slides/slide599.xml"/><Relationship Id="rId684" Type="http://schemas.openxmlformats.org/officeDocument/2006/relationships/slide" Target="slides/slide683.xml"/><Relationship Id="rId337" Type="http://schemas.openxmlformats.org/officeDocument/2006/relationships/slide" Target="slides/slide336.xml"/><Relationship Id="rId34" Type="http://schemas.openxmlformats.org/officeDocument/2006/relationships/slide" Target="slides/slide33.xml"/><Relationship Id="rId544" Type="http://schemas.openxmlformats.org/officeDocument/2006/relationships/slide" Target="slides/slide543.xml"/><Relationship Id="rId751" Type="http://schemas.openxmlformats.org/officeDocument/2006/relationships/slide" Target="slides/slide750.xml"/><Relationship Id="rId183" Type="http://schemas.openxmlformats.org/officeDocument/2006/relationships/slide" Target="slides/slide182.xml"/><Relationship Id="rId390" Type="http://schemas.openxmlformats.org/officeDocument/2006/relationships/slide" Target="slides/slide389.xml"/><Relationship Id="rId404" Type="http://schemas.openxmlformats.org/officeDocument/2006/relationships/slide" Target="slides/slide403.xml"/><Relationship Id="rId611" Type="http://schemas.openxmlformats.org/officeDocument/2006/relationships/slide" Target="slides/slide610.xml"/><Relationship Id="rId250" Type="http://schemas.openxmlformats.org/officeDocument/2006/relationships/slide" Target="slides/slide249.xml"/><Relationship Id="rId488" Type="http://schemas.openxmlformats.org/officeDocument/2006/relationships/slide" Target="slides/slide487.xml"/><Relationship Id="rId695" Type="http://schemas.openxmlformats.org/officeDocument/2006/relationships/slide" Target="slides/slide694.xml"/><Relationship Id="rId709" Type="http://schemas.openxmlformats.org/officeDocument/2006/relationships/slide" Target="slides/slide708.xml"/><Relationship Id="rId45" Type="http://schemas.openxmlformats.org/officeDocument/2006/relationships/slide" Target="slides/slide44.xml"/><Relationship Id="rId110" Type="http://schemas.openxmlformats.org/officeDocument/2006/relationships/slide" Target="slides/slide109.xml"/><Relationship Id="rId348" Type="http://schemas.openxmlformats.org/officeDocument/2006/relationships/slide" Target="slides/slide347.xml"/><Relationship Id="rId555" Type="http://schemas.openxmlformats.org/officeDocument/2006/relationships/slide" Target="slides/slide554.xml"/><Relationship Id="rId762" Type="http://schemas.openxmlformats.org/officeDocument/2006/relationships/slide" Target="slides/slide761.xml"/><Relationship Id="rId194" Type="http://schemas.openxmlformats.org/officeDocument/2006/relationships/slide" Target="slides/slide193.xml"/><Relationship Id="rId208" Type="http://schemas.openxmlformats.org/officeDocument/2006/relationships/slide" Target="slides/slide207.xml"/><Relationship Id="rId415" Type="http://schemas.openxmlformats.org/officeDocument/2006/relationships/slide" Target="slides/slide414.xml"/><Relationship Id="rId622" Type="http://schemas.openxmlformats.org/officeDocument/2006/relationships/slide" Target="slides/slide621.xml"/><Relationship Id="rId261" Type="http://schemas.openxmlformats.org/officeDocument/2006/relationships/slide" Target="slides/slide260.xml"/><Relationship Id="rId499" Type="http://schemas.openxmlformats.org/officeDocument/2006/relationships/slide" Target="slides/slide498.xml"/><Relationship Id="rId56" Type="http://schemas.openxmlformats.org/officeDocument/2006/relationships/slide" Target="slides/slide55.xml"/><Relationship Id="rId359" Type="http://schemas.openxmlformats.org/officeDocument/2006/relationships/slide" Target="slides/slide358.xml"/><Relationship Id="rId566" Type="http://schemas.openxmlformats.org/officeDocument/2006/relationships/slide" Target="slides/slide565.xml"/><Relationship Id="rId773" Type="http://schemas.openxmlformats.org/officeDocument/2006/relationships/slide" Target="slides/slide772.xml"/><Relationship Id="rId121" Type="http://schemas.openxmlformats.org/officeDocument/2006/relationships/slide" Target="slides/slide120.xml"/><Relationship Id="rId219" Type="http://schemas.openxmlformats.org/officeDocument/2006/relationships/slide" Target="slides/slide218.xml"/><Relationship Id="rId426" Type="http://schemas.openxmlformats.org/officeDocument/2006/relationships/slide" Target="slides/slide425.xml"/><Relationship Id="rId633" Type="http://schemas.openxmlformats.org/officeDocument/2006/relationships/slide" Target="slides/slide632.xml"/><Relationship Id="rId67" Type="http://schemas.openxmlformats.org/officeDocument/2006/relationships/slide" Target="slides/slide66.xml"/><Relationship Id="rId272" Type="http://schemas.openxmlformats.org/officeDocument/2006/relationships/slide" Target="slides/slide271.xml"/><Relationship Id="rId577" Type="http://schemas.openxmlformats.org/officeDocument/2006/relationships/slide" Target="slides/slide576.xml"/><Relationship Id="rId700" Type="http://schemas.openxmlformats.org/officeDocument/2006/relationships/slide" Target="slides/slide699.xml"/><Relationship Id="rId132" Type="http://schemas.openxmlformats.org/officeDocument/2006/relationships/slide" Target="slides/slide131.xml"/><Relationship Id="rId784" Type="http://schemas.openxmlformats.org/officeDocument/2006/relationships/slide" Target="slides/slide783.xml"/><Relationship Id="rId437" Type="http://schemas.openxmlformats.org/officeDocument/2006/relationships/slide" Target="slides/slide436.xml"/><Relationship Id="rId644" Type="http://schemas.openxmlformats.org/officeDocument/2006/relationships/slide" Target="slides/slide643.xml"/><Relationship Id="rId283" Type="http://schemas.openxmlformats.org/officeDocument/2006/relationships/slide" Target="slides/slide282.xml"/><Relationship Id="rId490" Type="http://schemas.openxmlformats.org/officeDocument/2006/relationships/slide" Target="slides/slide489.xml"/><Relationship Id="rId504" Type="http://schemas.openxmlformats.org/officeDocument/2006/relationships/slide" Target="slides/slide503.xml"/><Relationship Id="rId711" Type="http://schemas.openxmlformats.org/officeDocument/2006/relationships/slide" Target="slides/slide710.xml"/><Relationship Id="rId78" Type="http://schemas.openxmlformats.org/officeDocument/2006/relationships/slide" Target="slides/slide77.xml"/><Relationship Id="rId143" Type="http://schemas.openxmlformats.org/officeDocument/2006/relationships/slide" Target="slides/slide142.xml"/><Relationship Id="rId350" Type="http://schemas.openxmlformats.org/officeDocument/2006/relationships/slide" Target="slides/slide349.xml"/><Relationship Id="rId588" Type="http://schemas.openxmlformats.org/officeDocument/2006/relationships/slide" Target="slides/slide587.xml"/><Relationship Id="rId795" Type="http://schemas.openxmlformats.org/officeDocument/2006/relationships/slide" Target="slides/slide794.xml"/><Relationship Id="rId809" Type="http://schemas.openxmlformats.org/officeDocument/2006/relationships/slide" Target="slides/slide808.xml"/><Relationship Id="rId9" Type="http://schemas.openxmlformats.org/officeDocument/2006/relationships/slide" Target="slides/slide8.xml"/><Relationship Id="rId210" Type="http://schemas.openxmlformats.org/officeDocument/2006/relationships/slide" Target="slides/slide209.xml"/><Relationship Id="rId448" Type="http://schemas.openxmlformats.org/officeDocument/2006/relationships/slide" Target="slides/slide447.xml"/><Relationship Id="rId655" Type="http://schemas.openxmlformats.org/officeDocument/2006/relationships/slide" Target="slides/slide654.xml"/><Relationship Id="rId294" Type="http://schemas.openxmlformats.org/officeDocument/2006/relationships/slide" Target="slides/slide293.xml"/><Relationship Id="rId308" Type="http://schemas.openxmlformats.org/officeDocument/2006/relationships/slide" Target="slides/slide307.xml"/><Relationship Id="rId515" Type="http://schemas.openxmlformats.org/officeDocument/2006/relationships/slide" Target="slides/slide514.xml"/><Relationship Id="rId722" Type="http://schemas.openxmlformats.org/officeDocument/2006/relationships/slide" Target="slides/slide721.xml"/><Relationship Id="rId89" Type="http://schemas.openxmlformats.org/officeDocument/2006/relationships/slide" Target="slides/slide88.xml"/><Relationship Id="rId154" Type="http://schemas.openxmlformats.org/officeDocument/2006/relationships/slide" Target="slides/slide153.xml"/><Relationship Id="rId361" Type="http://schemas.openxmlformats.org/officeDocument/2006/relationships/slide" Target="slides/slide360.xml"/><Relationship Id="rId599" Type="http://schemas.openxmlformats.org/officeDocument/2006/relationships/slide" Target="slides/slide598.xml"/><Relationship Id="rId459" Type="http://schemas.openxmlformats.org/officeDocument/2006/relationships/slide" Target="slides/slide458.xml"/><Relationship Id="rId666" Type="http://schemas.openxmlformats.org/officeDocument/2006/relationships/slide" Target="slides/slide665.xml"/><Relationship Id="rId16" Type="http://schemas.openxmlformats.org/officeDocument/2006/relationships/slide" Target="slides/slide15.xml"/><Relationship Id="rId221" Type="http://schemas.openxmlformats.org/officeDocument/2006/relationships/slide" Target="slides/slide220.xml"/><Relationship Id="rId319" Type="http://schemas.openxmlformats.org/officeDocument/2006/relationships/slide" Target="slides/slide318.xml"/><Relationship Id="rId526" Type="http://schemas.openxmlformats.org/officeDocument/2006/relationships/slide" Target="slides/slide525.xml"/><Relationship Id="rId733" Type="http://schemas.openxmlformats.org/officeDocument/2006/relationships/slide" Target="slides/slide732.xml"/><Relationship Id="rId165" Type="http://schemas.openxmlformats.org/officeDocument/2006/relationships/slide" Target="slides/slide164.xml"/><Relationship Id="rId372" Type="http://schemas.openxmlformats.org/officeDocument/2006/relationships/slide" Target="slides/slide371.xml"/><Relationship Id="rId677" Type="http://schemas.openxmlformats.org/officeDocument/2006/relationships/slide" Target="slides/slide676.xml"/><Relationship Id="rId800" Type="http://schemas.openxmlformats.org/officeDocument/2006/relationships/slide" Target="slides/slide799.xml"/><Relationship Id="rId232" Type="http://schemas.openxmlformats.org/officeDocument/2006/relationships/slide" Target="slides/slide231.xml"/><Relationship Id="rId27" Type="http://schemas.openxmlformats.org/officeDocument/2006/relationships/slide" Target="slides/slide26.xml"/><Relationship Id="rId537" Type="http://schemas.openxmlformats.org/officeDocument/2006/relationships/slide" Target="slides/slide536.xml"/><Relationship Id="rId744" Type="http://schemas.openxmlformats.org/officeDocument/2006/relationships/slide" Target="slides/slide743.xml"/><Relationship Id="rId80" Type="http://schemas.openxmlformats.org/officeDocument/2006/relationships/slide" Target="slides/slide79.xml"/><Relationship Id="rId176" Type="http://schemas.openxmlformats.org/officeDocument/2006/relationships/slide" Target="slides/slide175.xml"/><Relationship Id="rId383" Type="http://schemas.openxmlformats.org/officeDocument/2006/relationships/slide" Target="slides/slide382.xml"/><Relationship Id="rId590" Type="http://schemas.openxmlformats.org/officeDocument/2006/relationships/slide" Target="slides/slide589.xml"/><Relationship Id="rId604" Type="http://schemas.openxmlformats.org/officeDocument/2006/relationships/slide" Target="slides/slide603.xml"/><Relationship Id="rId811" Type="http://schemas.openxmlformats.org/officeDocument/2006/relationships/slide" Target="slides/slide810.xml"/><Relationship Id="rId243" Type="http://schemas.openxmlformats.org/officeDocument/2006/relationships/slide" Target="slides/slide242.xml"/><Relationship Id="rId450" Type="http://schemas.openxmlformats.org/officeDocument/2006/relationships/slide" Target="slides/slide449.xml"/><Relationship Id="rId688" Type="http://schemas.openxmlformats.org/officeDocument/2006/relationships/slide" Target="slides/slide687.xml"/><Relationship Id="rId38" Type="http://schemas.openxmlformats.org/officeDocument/2006/relationships/slide" Target="slides/slide37.xml"/><Relationship Id="rId103" Type="http://schemas.openxmlformats.org/officeDocument/2006/relationships/slide" Target="slides/slide102.xml"/><Relationship Id="rId310" Type="http://schemas.openxmlformats.org/officeDocument/2006/relationships/slide" Target="slides/slide309.xml"/><Relationship Id="rId548" Type="http://schemas.openxmlformats.org/officeDocument/2006/relationships/slide" Target="slides/slide547.xml"/><Relationship Id="rId755" Type="http://schemas.openxmlformats.org/officeDocument/2006/relationships/slide" Target="slides/slide754.xml"/><Relationship Id="rId91" Type="http://schemas.openxmlformats.org/officeDocument/2006/relationships/slide" Target="slides/slide90.xml"/><Relationship Id="rId187" Type="http://schemas.openxmlformats.org/officeDocument/2006/relationships/slide" Target="slides/slide186.xml"/><Relationship Id="rId394" Type="http://schemas.openxmlformats.org/officeDocument/2006/relationships/slide" Target="slides/slide393.xml"/><Relationship Id="rId408" Type="http://schemas.openxmlformats.org/officeDocument/2006/relationships/slide" Target="slides/slide407.xml"/><Relationship Id="rId615" Type="http://schemas.openxmlformats.org/officeDocument/2006/relationships/slide" Target="slides/slide614.xml"/><Relationship Id="rId822" Type="http://schemas.openxmlformats.org/officeDocument/2006/relationships/presProps" Target="presProps.xml"/><Relationship Id="rId254" Type="http://schemas.openxmlformats.org/officeDocument/2006/relationships/slide" Target="slides/slide253.xml"/><Relationship Id="rId699" Type="http://schemas.openxmlformats.org/officeDocument/2006/relationships/slide" Target="slides/slide698.xml"/><Relationship Id="rId49" Type="http://schemas.openxmlformats.org/officeDocument/2006/relationships/slide" Target="slides/slide48.xml"/><Relationship Id="rId114" Type="http://schemas.openxmlformats.org/officeDocument/2006/relationships/slide" Target="slides/slide113.xml"/><Relationship Id="rId461" Type="http://schemas.openxmlformats.org/officeDocument/2006/relationships/slide" Target="slides/slide460.xml"/><Relationship Id="rId559" Type="http://schemas.openxmlformats.org/officeDocument/2006/relationships/slide" Target="slides/slide558.xml"/><Relationship Id="rId766" Type="http://schemas.openxmlformats.org/officeDocument/2006/relationships/slide" Target="slides/slide765.xml"/><Relationship Id="rId198" Type="http://schemas.openxmlformats.org/officeDocument/2006/relationships/slide" Target="slides/slide197.xml"/><Relationship Id="rId321" Type="http://schemas.openxmlformats.org/officeDocument/2006/relationships/slide" Target="slides/slide320.xml"/><Relationship Id="rId419" Type="http://schemas.openxmlformats.org/officeDocument/2006/relationships/slide" Target="slides/slide418.xml"/><Relationship Id="rId626" Type="http://schemas.openxmlformats.org/officeDocument/2006/relationships/slide" Target="slides/slide625.xml"/><Relationship Id="rId265" Type="http://schemas.openxmlformats.org/officeDocument/2006/relationships/slide" Target="slides/slide264.xml"/><Relationship Id="rId472" Type="http://schemas.openxmlformats.org/officeDocument/2006/relationships/slide" Target="slides/slide471.xml"/><Relationship Id="rId125" Type="http://schemas.openxmlformats.org/officeDocument/2006/relationships/slide" Target="slides/slide124.xml"/><Relationship Id="rId332" Type="http://schemas.openxmlformats.org/officeDocument/2006/relationships/slide" Target="slides/slide331.xml"/><Relationship Id="rId777" Type="http://schemas.openxmlformats.org/officeDocument/2006/relationships/slide" Target="slides/slide776.xml"/><Relationship Id="rId637" Type="http://schemas.openxmlformats.org/officeDocument/2006/relationships/slide" Target="slides/slide636.xml"/><Relationship Id="rId276" Type="http://schemas.openxmlformats.org/officeDocument/2006/relationships/slide" Target="slides/slide275.xml"/><Relationship Id="rId483" Type="http://schemas.openxmlformats.org/officeDocument/2006/relationships/slide" Target="slides/slide482.xml"/><Relationship Id="rId690" Type="http://schemas.openxmlformats.org/officeDocument/2006/relationships/slide" Target="slides/slide689.xml"/><Relationship Id="rId704" Type="http://schemas.openxmlformats.org/officeDocument/2006/relationships/slide" Target="slides/slide703.xml"/><Relationship Id="rId40" Type="http://schemas.openxmlformats.org/officeDocument/2006/relationships/slide" Target="slides/slide39.xml"/><Relationship Id="rId136" Type="http://schemas.openxmlformats.org/officeDocument/2006/relationships/slide" Target="slides/slide135.xml"/><Relationship Id="rId343" Type="http://schemas.openxmlformats.org/officeDocument/2006/relationships/slide" Target="slides/slide342.xml"/><Relationship Id="rId550" Type="http://schemas.openxmlformats.org/officeDocument/2006/relationships/slide" Target="slides/slide549.xml"/><Relationship Id="rId788" Type="http://schemas.openxmlformats.org/officeDocument/2006/relationships/slide" Target="slides/slide787.xml"/><Relationship Id="rId203" Type="http://schemas.openxmlformats.org/officeDocument/2006/relationships/slide" Target="slides/slide202.xml"/><Relationship Id="rId648" Type="http://schemas.openxmlformats.org/officeDocument/2006/relationships/slide" Target="slides/slide647.xml"/><Relationship Id="rId287" Type="http://schemas.openxmlformats.org/officeDocument/2006/relationships/slide" Target="slides/slide286.xml"/><Relationship Id="rId410" Type="http://schemas.openxmlformats.org/officeDocument/2006/relationships/slide" Target="slides/slide409.xml"/><Relationship Id="rId494" Type="http://schemas.openxmlformats.org/officeDocument/2006/relationships/slide" Target="slides/slide493.xml"/><Relationship Id="rId508" Type="http://schemas.openxmlformats.org/officeDocument/2006/relationships/slide" Target="slides/slide507.xml"/><Relationship Id="rId715" Type="http://schemas.openxmlformats.org/officeDocument/2006/relationships/slide" Target="slides/slide714.xml"/><Relationship Id="rId147" Type="http://schemas.openxmlformats.org/officeDocument/2006/relationships/slide" Target="slides/slide146.xml"/><Relationship Id="rId354" Type="http://schemas.openxmlformats.org/officeDocument/2006/relationships/slide" Target="slides/slide353.xml"/><Relationship Id="rId799" Type="http://schemas.openxmlformats.org/officeDocument/2006/relationships/slide" Target="slides/slide798.xml"/><Relationship Id="rId51" Type="http://schemas.openxmlformats.org/officeDocument/2006/relationships/slide" Target="slides/slide50.xml"/><Relationship Id="rId561" Type="http://schemas.openxmlformats.org/officeDocument/2006/relationships/slide" Target="slides/slide560.xml"/><Relationship Id="rId659" Type="http://schemas.openxmlformats.org/officeDocument/2006/relationships/slide" Target="slides/slide658.xml"/><Relationship Id="rId214" Type="http://schemas.openxmlformats.org/officeDocument/2006/relationships/slide" Target="slides/slide213.xml"/><Relationship Id="rId298" Type="http://schemas.openxmlformats.org/officeDocument/2006/relationships/slide" Target="slides/slide297.xml"/><Relationship Id="rId421" Type="http://schemas.openxmlformats.org/officeDocument/2006/relationships/slide" Target="slides/slide420.xml"/><Relationship Id="rId519" Type="http://schemas.openxmlformats.org/officeDocument/2006/relationships/slide" Target="slides/slide518.xml"/><Relationship Id="rId158" Type="http://schemas.openxmlformats.org/officeDocument/2006/relationships/slide" Target="slides/slide157.xml"/><Relationship Id="rId726" Type="http://schemas.openxmlformats.org/officeDocument/2006/relationships/slide" Target="slides/slide725.xml"/><Relationship Id="rId62" Type="http://schemas.openxmlformats.org/officeDocument/2006/relationships/slide" Target="slides/slide61.xml"/><Relationship Id="rId365" Type="http://schemas.openxmlformats.org/officeDocument/2006/relationships/slide" Target="slides/slide364.xml"/><Relationship Id="rId572" Type="http://schemas.openxmlformats.org/officeDocument/2006/relationships/slide" Target="slides/slide571.xml"/><Relationship Id="rId225" Type="http://schemas.openxmlformats.org/officeDocument/2006/relationships/slide" Target="slides/slide224.xml"/><Relationship Id="rId432" Type="http://schemas.openxmlformats.org/officeDocument/2006/relationships/slide" Target="slides/slide431.xml"/><Relationship Id="rId737" Type="http://schemas.openxmlformats.org/officeDocument/2006/relationships/slide" Target="slides/slide736.xml"/><Relationship Id="rId73" Type="http://schemas.openxmlformats.org/officeDocument/2006/relationships/slide" Target="slides/slide72.xml"/><Relationship Id="rId169" Type="http://schemas.openxmlformats.org/officeDocument/2006/relationships/slide" Target="slides/slide168.xml"/><Relationship Id="rId376" Type="http://schemas.openxmlformats.org/officeDocument/2006/relationships/slide" Target="slides/slide375.xml"/><Relationship Id="rId583" Type="http://schemas.openxmlformats.org/officeDocument/2006/relationships/slide" Target="slides/slide582.xml"/><Relationship Id="rId790" Type="http://schemas.openxmlformats.org/officeDocument/2006/relationships/slide" Target="slides/slide789.xml"/><Relationship Id="rId804" Type="http://schemas.openxmlformats.org/officeDocument/2006/relationships/slide" Target="slides/slide803.xml"/><Relationship Id="rId4" Type="http://schemas.openxmlformats.org/officeDocument/2006/relationships/slide" Target="slides/slide3.xml"/><Relationship Id="rId236" Type="http://schemas.openxmlformats.org/officeDocument/2006/relationships/slide" Target="slides/slide235.xml"/><Relationship Id="rId443" Type="http://schemas.openxmlformats.org/officeDocument/2006/relationships/slide" Target="slides/slide442.xml"/><Relationship Id="rId650" Type="http://schemas.openxmlformats.org/officeDocument/2006/relationships/slide" Target="slides/slide649.xml"/><Relationship Id="rId303" Type="http://schemas.openxmlformats.org/officeDocument/2006/relationships/slide" Target="slides/slide302.xml"/><Relationship Id="rId748" Type="http://schemas.openxmlformats.org/officeDocument/2006/relationships/slide" Target="slides/slide747.xml"/><Relationship Id="rId84" Type="http://schemas.openxmlformats.org/officeDocument/2006/relationships/slide" Target="slides/slide83.xml"/><Relationship Id="rId387" Type="http://schemas.openxmlformats.org/officeDocument/2006/relationships/slide" Target="slides/slide386.xml"/><Relationship Id="rId510" Type="http://schemas.openxmlformats.org/officeDocument/2006/relationships/slide" Target="slides/slide509.xml"/><Relationship Id="rId594" Type="http://schemas.openxmlformats.org/officeDocument/2006/relationships/slide" Target="slides/slide593.xml"/><Relationship Id="rId608" Type="http://schemas.openxmlformats.org/officeDocument/2006/relationships/slide" Target="slides/slide607.xml"/><Relationship Id="rId815" Type="http://schemas.openxmlformats.org/officeDocument/2006/relationships/slide" Target="slides/slide814.xml"/><Relationship Id="rId247" Type="http://schemas.openxmlformats.org/officeDocument/2006/relationships/slide" Target="slides/slide246.xml"/><Relationship Id="rId107" Type="http://schemas.openxmlformats.org/officeDocument/2006/relationships/slide" Target="slides/slide106.xml"/><Relationship Id="rId454" Type="http://schemas.openxmlformats.org/officeDocument/2006/relationships/slide" Target="slides/slide453.xml"/><Relationship Id="rId661" Type="http://schemas.openxmlformats.org/officeDocument/2006/relationships/slide" Target="slides/slide660.xml"/><Relationship Id="rId759" Type="http://schemas.openxmlformats.org/officeDocument/2006/relationships/slide" Target="slides/slide758.xml"/><Relationship Id="rId11" Type="http://schemas.openxmlformats.org/officeDocument/2006/relationships/slide" Target="slides/slide10.xml"/><Relationship Id="rId314" Type="http://schemas.openxmlformats.org/officeDocument/2006/relationships/slide" Target="slides/slide313.xml"/><Relationship Id="rId398" Type="http://schemas.openxmlformats.org/officeDocument/2006/relationships/slide" Target="slides/slide397.xml"/><Relationship Id="rId521" Type="http://schemas.openxmlformats.org/officeDocument/2006/relationships/slide" Target="slides/slide520.xml"/><Relationship Id="rId619" Type="http://schemas.openxmlformats.org/officeDocument/2006/relationships/slide" Target="slides/slide618.xml"/><Relationship Id="rId95" Type="http://schemas.openxmlformats.org/officeDocument/2006/relationships/slide" Target="slides/slide94.xml"/><Relationship Id="rId160" Type="http://schemas.openxmlformats.org/officeDocument/2006/relationships/slide" Target="slides/slide159.xml"/><Relationship Id="rId258" Type="http://schemas.openxmlformats.org/officeDocument/2006/relationships/slide" Target="slides/slide257.xml"/><Relationship Id="rId465" Type="http://schemas.openxmlformats.org/officeDocument/2006/relationships/slide" Target="slides/slide464.xml"/><Relationship Id="rId672" Type="http://schemas.openxmlformats.org/officeDocument/2006/relationships/slide" Target="slides/slide671.xml"/><Relationship Id="rId22" Type="http://schemas.openxmlformats.org/officeDocument/2006/relationships/slide" Target="slides/slide21.xml"/><Relationship Id="rId118" Type="http://schemas.openxmlformats.org/officeDocument/2006/relationships/slide" Target="slides/slide117.xml"/><Relationship Id="rId325" Type="http://schemas.openxmlformats.org/officeDocument/2006/relationships/slide" Target="slides/slide324.xml"/><Relationship Id="rId532" Type="http://schemas.openxmlformats.org/officeDocument/2006/relationships/slide" Target="slides/slide531.xml"/><Relationship Id="rId171" Type="http://schemas.openxmlformats.org/officeDocument/2006/relationships/slide" Target="slides/slide170.xml"/><Relationship Id="rId269" Type="http://schemas.openxmlformats.org/officeDocument/2006/relationships/slide" Target="slides/slide268.xml"/><Relationship Id="rId476" Type="http://schemas.openxmlformats.org/officeDocument/2006/relationships/slide" Target="slides/slide475.xml"/><Relationship Id="rId683" Type="http://schemas.openxmlformats.org/officeDocument/2006/relationships/slide" Target="slides/slide682.xml"/><Relationship Id="rId33" Type="http://schemas.openxmlformats.org/officeDocument/2006/relationships/slide" Target="slides/slide32.xml"/><Relationship Id="rId129" Type="http://schemas.openxmlformats.org/officeDocument/2006/relationships/slide" Target="slides/slide128.xml"/><Relationship Id="rId336" Type="http://schemas.openxmlformats.org/officeDocument/2006/relationships/slide" Target="slides/slide335.xml"/><Relationship Id="rId543" Type="http://schemas.openxmlformats.org/officeDocument/2006/relationships/slide" Target="slides/slide542.xml"/><Relationship Id="rId182" Type="http://schemas.openxmlformats.org/officeDocument/2006/relationships/slide" Target="slides/slide181.xml"/><Relationship Id="rId403" Type="http://schemas.openxmlformats.org/officeDocument/2006/relationships/slide" Target="slides/slide402.xml"/><Relationship Id="rId750" Type="http://schemas.openxmlformats.org/officeDocument/2006/relationships/slide" Target="slides/slide749.xml"/><Relationship Id="rId487" Type="http://schemas.openxmlformats.org/officeDocument/2006/relationships/slide" Target="slides/slide486.xml"/><Relationship Id="rId610" Type="http://schemas.openxmlformats.org/officeDocument/2006/relationships/slide" Target="slides/slide609.xml"/><Relationship Id="rId694" Type="http://schemas.openxmlformats.org/officeDocument/2006/relationships/slide" Target="slides/slide693.xml"/><Relationship Id="rId708" Type="http://schemas.openxmlformats.org/officeDocument/2006/relationships/slide" Target="slides/slide707.xml"/><Relationship Id="rId347" Type="http://schemas.openxmlformats.org/officeDocument/2006/relationships/slide" Target="slides/slide346.xml"/><Relationship Id="rId44" Type="http://schemas.openxmlformats.org/officeDocument/2006/relationships/slide" Target="slides/slide43.xml"/><Relationship Id="rId554" Type="http://schemas.openxmlformats.org/officeDocument/2006/relationships/slide" Target="slides/slide553.xml"/><Relationship Id="rId761" Type="http://schemas.openxmlformats.org/officeDocument/2006/relationships/slide" Target="slides/slide760.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11.xml"/><Relationship Id="rId1" Type="http://schemas.microsoft.com/office/2011/relationships/chartStyle" Target="style11.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12.xml"/><Relationship Id="rId1" Type="http://schemas.microsoft.com/office/2011/relationships/chartStyle" Target="style12.xml"/></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13.xml"/><Relationship Id="rId1" Type="http://schemas.microsoft.com/office/2011/relationships/chartStyle" Target="style13.xml"/></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13.xlsx"/><Relationship Id="rId2" Type="http://schemas.microsoft.com/office/2011/relationships/chartColorStyle" Target="colors14.xml"/><Relationship Id="rId1" Type="http://schemas.microsoft.com/office/2011/relationships/chartStyle" Target="style14.xml"/></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14.xlsx"/><Relationship Id="rId2" Type="http://schemas.microsoft.com/office/2011/relationships/chartColorStyle" Target="colors15.xml"/><Relationship Id="rId1" Type="http://schemas.microsoft.com/office/2011/relationships/chartStyle" Target="style15.xml"/></Relationships>
</file>

<file path=ppt/charts/_rels/chart16.xml.rels><?xml version="1.0" encoding="UTF-8" standalone="yes"?>
<Relationships xmlns="http://schemas.openxmlformats.org/package/2006/relationships"><Relationship Id="rId3" Type="http://schemas.openxmlformats.org/officeDocument/2006/relationships/package" Target="../embeddings/Microsoft_Excel_Worksheet15.xlsx"/><Relationship Id="rId2" Type="http://schemas.microsoft.com/office/2011/relationships/chartColorStyle" Target="colors16.xml"/><Relationship Id="rId1" Type="http://schemas.microsoft.com/office/2011/relationships/chartStyle" Target="style16.xml"/></Relationships>
</file>

<file path=ppt/charts/_rels/chart17.xml.rels><?xml version="1.0" encoding="UTF-8" standalone="yes"?>
<Relationships xmlns="http://schemas.openxmlformats.org/package/2006/relationships"><Relationship Id="rId3" Type="http://schemas.openxmlformats.org/officeDocument/2006/relationships/package" Target="../embeddings/Microsoft_Excel_Worksheet16.xlsx"/><Relationship Id="rId2" Type="http://schemas.microsoft.com/office/2011/relationships/chartColorStyle" Target="colors17.xml"/><Relationship Id="rId1" Type="http://schemas.microsoft.com/office/2011/relationships/chartStyle" Target="style17.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solidFill>
              <a:schemeClr val="bg1"/>
            </a:solidFill>
          </c:spPr>
          <c:dPt>
            <c:idx val="0"/>
            <c:bubble3D val="0"/>
            <c:spPr>
              <a:solidFill>
                <a:schemeClr val="bg1">
                  <a:lumMod val="65000"/>
                  <a:alpha val="20000"/>
                </a:schemeClr>
              </a:solidFill>
              <a:ln>
                <a:noFill/>
              </a:ln>
              <a:effectLst/>
            </c:spPr>
            <c:extLst>
              <c:ext xmlns:c16="http://schemas.microsoft.com/office/drawing/2014/chart" uri="{C3380CC4-5D6E-409C-BE32-E72D297353CC}">
                <c16:uniqueId val="{00000001-5C3E-40AE-A999-2517694DC987}"/>
              </c:ext>
            </c:extLst>
          </c:dPt>
          <c:dPt>
            <c:idx val="1"/>
            <c:bubble3D val="0"/>
            <c:spPr>
              <a:solidFill>
                <a:schemeClr val="accent6"/>
              </a:solidFill>
              <a:ln>
                <a:noFill/>
              </a:ln>
              <a:effectLst/>
            </c:spPr>
            <c:extLst>
              <c:ext xmlns:c16="http://schemas.microsoft.com/office/drawing/2014/chart" uri="{C3380CC4-5D6E-409C-BE32-E72D297353CC}">
                <c16:uniqueId val="{00000003-5C3E-40AE-A999-2517694DC987}"/>
              </c:ext>
            </c:extLst>
          </c:dPt>
          <c:cat>
            <c:strRef>
              <c:f>Sheet1!$A$2:$A$3</c:f>
              <c:strCache>
                <c:ptCount val="2"/>
                <c:pt idx="0">
                  <c:v>1st Qtr</c:v>
                </c:pt>
                <c:pt idx="1">
                  <c:v>2nd Qtr</c:v>
                </c:pt>
              </c:strCache>
            </c:strRef>
          </c:cat>
          <c:val>
            <c:numRef>
              <c:f>Sheet1!$B$2:$B$3</c:f>
              <c:numCache>
                <c:formatCode>General</c:formatCode>
                <c:ptCount val="2"/>
                <c:pt idx="0">
                  <c:v>18</c:v>
                </c:pt>
                <c:pt idx="1">
                  <c:v>82</c:v>
                </c:pt>
              </c:numCache>
            </c:numRef>
          </c:val>
          <c:extLst>
            <c:ext xmlns:c16="http://schemas.microsoft.com/office/drawing/2014/chart" uri="{C3380CC4-5D6E-409C-BE32-E72D297353CC}">
              <c16:uniqueId val="{00000004-5C3E-40AE-A999-2517694DC987}"/>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accent1"/>
              </a:solidFill>
              <a:ln w="19050">
                <a:noFill/>
              </a:ln>
              <a:effectLst/>
            </c:spPr>
            <c:extLst>
              <c:ext xmlns:c16="http://schemas.microsoft.com/office/drawing/2014/chart" uri="{C3380CC4-5D6E-409C-BE32-E72D297353CC}">
                <c16:uniqueId val="{00000001-C34A-45E2-B6D9-9C506D6C69C2}"/>
              </c:ext>
            </c:extLst>
          </c:dPt>
          <c:dPt>
            <c:idx val="1"/>
            <c:bubble3D val="0"/>
            <c:spPr>
              <a:solidFill>
                <a:schemeClr val="tx1">
                  <a:lumMod val="25000"/>
                  <a:lumOff val="75000"/>
                </a:schemeClr>
              </a:solidFill>
              <a:ln w="19050">
                <a:noFill/>
              </a:ln>
              <a:effectLst/>
            </c:spPr>
            <c:extLst>
              <c:ext xmlns:c16="http://schemas.microsoft.com/office/drawing/2014/chart" uri="{C3380CC4-5D6E-409C-BE32-E72D297353CC}">
                <c16:uniqueId val="{00000003-C34A-45E2-B6D9-9C506D6C69C2}"/>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C34A-45E2-B6D9-9C506D6C69C2}"/>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C34A-45E2-B6D9-9C506D6C69C2}"/>
              </c:ext>
            </c:extLst>
          </c:dPt>
          <c:cat>
            <c:strRef>
              <c:f>Sheet1!$A$2:$A$5</c:f>
              <c:strCache>
                <c:ptCount val="2"/>
                <c:pt idx="0">
                  <c:v>1st Qtr</c:v>
                </c:pt>
                <c:pt idx="1">
                  <c:v>2nd Qtr</c:v>
                </c:pt>
              </c:strCache>
            </c:strRef>
          </c:cat>
          <c:val>
            <c:numRef>
              <c:f>Sheet1!$B$2:$B$5</c:f>
              <c:numCache>
                <c:formatCode>General</c:formatCode>
                <c:ptCount val="4"/>
                <c:pt idx="0">
                  <c:v>75</c:v>
                </c:pt>
                <c:pt idx="1">
                  <c:v>25</c:v>
                </c:pt>
              </c:numCache>
            </c:numRef>
          </c:val>
          <c:extLst>
            <c:ext xmlns:c16="http://schemas.microsoft.com/office/drawing/2014/chart" uri="{C3380CC4-5D6E-409C-BE32-E72D297353CC}">
              <c16:uniqueId val="{00000008-C34A-45E2-B6D9-9C506D6C69C2}"/>
            </c:ext>
          </c:extLst>
        </c:ser>
        <c:dLbls>
          <c:showLegendKey val="0"/>
          <c:showVal val="0"/>
          <c:showCatName val="0"/>
          <c:showSerName val="0"/>
          <c:showPercent val="0"/>
          <c:showBubbleSize val="0"/>
          <c:showLeaderLines val="1"/>
        </c:dLbls>
        <c:firstSliceAng val="0"/>
        <c:holeSize val="80"/>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accent2"/>
              </a:solidFill>
              <a:ln w="19050">
                <a:noFill/>
              </a:ln>
              <a:effectLst/>
            </c:spPr>
            <c:extLst>
              <c:ext xmlns:c16="http://schemas.microsoft.com/office/drawing/2014/chart" uri="{C3380CC4-5D6E-409C-BE32-E72D297353CC}">
                <c16:uniqueId val="{00000001-9367-4104-95B5-01D8544BAC3D}"/>
              </c:ext>
            </c:extLst>
          </c:dPt>
          <c:dPt>
            <c:idx val="1"/>
            <c:bubble3D val="0"/>
            <c:spPr>
              <a:solidFill>
                <a:schemeClr val="tx1">
                  <a:lumMod val="25000"/>
                  <a:lumOff val="75000"/>
                </a:schemeClr>
              </a:solidFill>
              <a:ln w="19050">
                <a:noFill/>
              </a:ln>
              <a:effectLst/>
            </c:spPr>
            <c:extLst>
              <c:ext xmlns:c16="http://schemas.microsoft.com/office/drawing/2014/chart" uri="{C3380CC4-5D6E-409C-BE32-E72D297353CC}">
                <c16:uniqueId val="{00000003-9367-4104-95B5-01D8544BAC3D}"/>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9367-4104-95B5-01D8544BAC3D}"/>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9367-4104-95B5-01D8544BAC3D}"/>
              </c:ext>
            </c:extLst>
          </c:dPt>
          <c:cat>
            <c:strRef>
              <c:f>Sheet1!$A$2:$A$5</c:f>
              <c:strCache>
                <c:ptCount val="2"/>
                <c:pt idx="0">
                  <c:v>1st Qtr</c:v>
                </c:pt>
                <c:pt idx="1">
                  <c:v>2nd Qtr</c:v>
                </c:pt>
              </c:strCache>
            </c:strRef>
          </c:cat>
          <c:val>
            <c:numRef>
              <c:f>Sheet1!$B$2:$B$5</c:f>
              <c:numCache>
                <c:formatCode>General</c:formatCode>
                <c:ptCount val="4"/>
                <c:pt idx="0">
                  <c:v>80</c:v>
                </c:pt>
                <c:pt idx="1">
                  <c:v>20</c:v>
                </c:pt>
              </c:numCache>
            </c:numRef>
          </c:val>
          <c:extLst>
            <c:ext xmlns:c16="http://schemas.microsoft.com/office/drawing/2014/chart" uri="{C3380CC4-5D6E-409C-BE32-E72D297353CC}">
              <c16:uniqueId val="{00000008-9367-4104-95B5-01D8544BAC3D}"/>
            </c:ext>
          </c:extLst>
        </c:ser>
        <c:dLbls>
          <c:showLegendKey val="0"/>
          <c:showVal val="0"/>
          <c:showCatName val="0"/>
          <c:showSerName val="0"/>
          <c:showPercent val="0"/>
          <c:showBubbleSize val="0"/>
          <c:showLeaderLines val="1"/>
        </c:dLbls>
        <c:firstSliceAng val="0"/>
        <c:holeSize val="80"/>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accent3"/>
              </a:solidFill>
              <a:ln w="19050">
                <a:noFill/>
              </a:ln>
              <a:effectLst/>
            </c:spPr>
            <c:extLst>
              <c:ext xmlns:c16="http://schemas.microsoft.com/office/drawing/2014/chart" uri="{C3380CC4-5D6E-409C-BE32-E72D297353CC}">
                <c16:uniqueId val="{00000001-0EF1-46B1-A808-E843BB88713F}"/>
              </c:ext>
            </c:extLst>
          </c:dPt>
          <c:dPt>
            <c:idx val="1"/>
            <c:bubble3D val="0"/>
            <c:spPr>
              <a:solidFill>
                <a:schemeClr val="tx1">
                  <a:lumMod val="25000"/>
                  <a:lumOff val="75000"/>
                </a:schemeClr>
              </a:solidFill>
              <a:ln w="19050">
                <a:noFill/>
              </a:ln>
              <a:effectLst/>
            </c:spPr>
            <c:extLst>
              <c:ext xmlns:c16="http://schemas.microsoft.com/office/drawing/2014/chart" uri="{C3380CC4-5D6E-409C-BE32-E72D297353CC}">
                <c16:uniqueId val="{00000003-0EF1-46B1-A808-E843BB88713F}"/>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0EF1-46B1-A808-E843BB88713F}"/>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0EF1-46B1-A808-E843BB88713F}"/>
              </c:ext>
            </c:extLst>
          </c:dPt>
          <c:cat>
            <c:strRef>
              <c:f>Sheet1!$A$2:$A$5</c:f>
              <c:strCache>
                <c:ptCount val="2"/>
                <c:pt idx="0">
                  <c:v>1st Qtr</c:v>
                </c:pt>
                <c:pt idx="1">
                  <c:v>2nd Qtr</c:v>
                </c:pt>
              </c:strCache>
            </c:strRef>
          </c:cat>
          <c:val>
            <c:numRef>
              <c:f>Sheet1!$B$2:$B$5</c:f>
              <c:numCache>
                <c:formatCode>General</c:formatCode>
                <c:ptCount val="4"/>
                <c:pt idx="0">
                  <c:v>90</c:v>
                </c:pt>
                <c:pt idx="1">
                  <c:v>10</c:v>
                </c:pt>
              </c:numCache>
            </c:numRef>
          </c:val>
          <c:extLst>
            <c:ext xmlns:c16="http://schemas.microsoft.com/office/drawing/2014/chart" uri="{C3380CC4-5D6E-409C-BE32-E72D297353CC}">
              <c16:uniqueId val="{00000008-0EF1-46B1-A808-E843BB88713F}"/>
            </c:ext>
          </c:extLst>
        </c:ser>
        <c:dLbls>
          <c:showLegendKey val="0"/>
          <c:showVal val="0"/>
          <c:showCatName val="0"/>
          <c:showSerName val="0"/>
          <c:showPercent val="0"/>
          <c:showBubbleSize val="0"/>
          <c:showLeaderLines val="1"/>
        </c:dLbls>
        <c:firstSliceAng val="0"/>
        <c:holeSize val="80"/>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dPt>
            <c:idx val="0"/>
            <c:bubble3D val="0"/>
            <c:spPr>
              <a:solidFill>
                <a:schemeClr val="bg1">
                  <a:lumMod val="95000"/>
                </a:schemeClr>
              </a:solidFill>
              <a:ln>
                <a:noFill/>
              </a:ln>
              <a:effectLst/>
            </c:spPr>
            <c:extLst>
              <c:ext xmlns:c16="http://schemas.microsoft.com/office/drawing/2014/chart" uri="{C3380CC4-5D6E-409C-BE32-E72D297353CC}">
                <c16:uniqueId val="{00000001-B46E-449B-942D-97E8D3E2B65E}"/>
              </c:ext>
            </c:extLst>
          </c:dPt>
          <c:dPt>
            <c:idx val="1"/>
            <c:bubble3D val="0"/>
            <c:spPr>
              <a:solidFill>
                <a:schemeClr val="accent1"/>
              </a:solidFill>
              <a:ln>
                <a:noFill/>
              </a:ln>
              <a:effectLst/>
            </c:spPr>
            <c:extLst>
              <c:ext xmlns:c16="http://schemas.microsoft.com/office/drawing/2014/chart" uri="{C3380CC4-5D6E-409C-BE32-E72D297353CC}">
                <c16:uniqueId val="{00000003-B46E-449B-942D-97E8D3E2B65E}"/>
              </c:ext>
            </c:extLst>
          </c:dPt>
          <c:cat>
            <c:strRef>
              <c:f>Sheet1!$A$2:$A$3</c:f>
              <c:strCache>
                <c:ptCount val="2"/>
                <c:pt idx="0">
                  <c:v>1st Qtr</c:v>
                </c:pt>
                <c:pt idx="1">
                  <c:v>2nd Qtr</c:v>
                </c:pt>
              </c:strCache>
            </c:strRef>
          </c:cat>
          <c:val>
            <c:numRef>
              <c:f>Sheet1!$B$2:$B$3</c:f>
              <c:numCache>
                <c:formatCode>General</c:formatCode>
                <c:ptCount val="2"/>
                <c:pt idx="0">
                  <c:v>22</c:v>
                </c:pt>
                <c:pt idx="1">
                  <c:v>78</c:v>
                </c:pt>
              </c:numCache>
            </c:numRef>
          </c:val>
          <c:extLst>
            <c:ext xmlns:c16="http://schemas.microsoft.com/office/drawing/2014/chart" uri="{C3380CC4-5D6E-409C-BE32-E72D297353CC}">
              <c16:uniqueId val="{00000004-B46E-449B-942D-97E8D3E2B65E}"/>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dPt>
            <c:idx val="0"/>
            <c:bubble3D val="0"/>
            <c:spPr>
              <a:solidFill>
                <a:schemeClr val="bg1">
                  <a:lumMod val="95000"/>
                </a:schemeClr>
              </a:solidFill>
              <a:ln>
                <a:noFill/>
              </a:ln>
              <a:effectLst/>
            </c:spPr>
            <c:extLst>
              <c:ext xmlns:c16="http://schemas.microsoft.com/office/drawing/2014/chart" uri="{C3380CC4-5D6E-409C-BE32-E72D297353CC}">
                <c16:uniqueId val="{00000001-13CA-4886-891D-D61B2F95CE6D}"/>
              </c:ext>
            </c:extLst>
          </c:dPt>
          <c:dPt>
            <c:idx val="1"/>
            <c:bubble3D val="0"/>
            <c:spPr>
              <a:solidFill>
                <a:schemeClr val="accent2"/>
              </a:solidFill>
              <a:ln>
                <a:noFill/>
              </a:ln>
              <a:effectLst/>
            </c:spPr>
            <c:extLst>
              <c:ext xmlns:c16="http://schemas.microsoft.com/office/drawing/2014/chart" uri="{C3380CC4-5D6E-409C-BE32-E72D297353CC}">
                <c16:uniqueId val="{00000003-13CA-4886-891D-D61B2F95CE6D}"/>
              </c:ext>
            </c:extLst>
          </c:dPt>
          <c:cat>
            <c:strRef>
              <c:f>Sheet1!$A$2:$A$3</c:f>
              <c:strCache>
                <c:ptCount val="2"/>
                <c:pt idx="0">
                  <c:v>1st Qtr</c:v>
                </c:pt>
                <c:pt idx="1">
                  <c:v>2nd Qtr</c:v>
                </c:pt>
              </c:strCache>
            </c:strRef>
          </c:cat>
          <c:val>
            <c:numRef>
              <c:f>Sheet1!$B$2:$B$3</c:f>
              <c:numCache>
                <c:formatCode>General</c:formatCode>
                <c:ptCount val="2"/>
                <c:pt idx="0">
                  <c:v>22</c:v>
                </c:pt>
                <c:pt idx="1">
                  <c:v>78</c:v>
                </c:pt>
              </c:numCache>
            </c:numRef>
          </c:val>
          <c:extLst>
            <c:ext xmlns:c16="http://schemas.microsoft.com/office/drawing/2014/chart" uri="{C3380CC4-5D6E-409C-BE32-E72D297353CC}">
              <c16:uniqueId val="{00000004-13CA-4886-891D-D61B2F95CE6D}"/>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dPt>
            <c:idx val="0"/>
            <c:bubble3D val="0"/>
            <c:spPr>
              <a:solidFill>
                <a:schemeClr val="bg1">
                  <a:lumMod val="95000"/>
                </a:schemeClr>
              </a:solidFill>
              <a:ln>
                <a:noFill/>
              </a:ln>
              <a:effectLst/>
            </c:spPr>
            <c:extLst>
              <c:ext xmlns:c16="http://schemas.microsoft.com/office/drawing/2014/chart" uri="{C3380CC4-5D6E-409C-BE32-E72D297353CC}">
                <c16:uniqueId val="{00000001-28B2-4672-AAFB-DF3E430771C3}"/>
              </c:ext>
            </c:extLst>
          </c:dPt>
          <c:dPt>
            <c:idx val="1"/>
            <c:bubble3D val="0"/>
            <c:spPr>
              <a:solidFill>
                <a:schemeClr val="accent3"/>
              </a:solidFill>
              <a:ln>
                <a:noFill/>
              </a:ln>
              <a:effectLst/>
            </c:spPr>
            <c:extLst>
              <c:ext xmlns:c16="http://schemas.microsoft.com/office/drawing/2014/chart" uri="{C3380CC4-5D6E-409C-BE32-E72D297353CC}">
                <c16:uniqueId val="{00000003-28B2-4672-AAFB-DF3E430771C3}"/>
              </c:ext>
            </c:extLst>
          </c:dPt>
          <c:cat>
            <c:strRef>
              <c:f>Sheet1!$A$2:$A$3</c:f>
              <c:strCache>
                <c:ptCount val="2"/>
                <c:pt idx="0">
                  <c:v>1st Qtr</c:v>
                </c:pt>
                <c:pt idx="1">
                  <c:v>2nd Qtr</c:v>
                </c:pt>
              </c:strCache>
            </c:strRef>
          </c:cat>
          <c:val>
            <c:numRef>
              <c:f>Sheet1!$B$2:$B$3</c:f>
              <c:numCache>
                <c:formatCode>General</c:formatCode>
                <c:ptCount val="2"/>
                <c:pt idx="0">
                  <c:v>22</c:v>
                </c:pt>
                <c:pt idx="1">
                  <c:v>78</c:v>
                </c:pt>
              </c:numCache>
            </c:numRef>
          </c:val>
          <c:extLst>
            <c:ext xmlns:c16="http://schemas.microsoft.com/office/drawing/2014/chart" uri="{C3380CC4-5D6E-409C-BE32-E72D297353CC}">
              <c16:uniqueId val="{00000004-28B2-4672-AAFB-DF3E430771C3}"/>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dPt>
            <c:idx val="0"/>
            <c:bubble3D val="0"/>
            <c:spPr>
              <a:solidFill>
                <a:schemeClr val="bg1">
                  <a:lumMod val="95000"/>
                </a:schemeClr>
              </a:solidFill>
              <a:ln>
                <a:noFill/>
              </a:ln>
              <a:effectLst/>
            </c:spPr>
            <c:extLst>
              <c:ext xmlns:c16="http://schemas.microsoft.com/office/drawing/2014/chart" uri="{C3380CC4-5D6E-409C-BE32-E72D297353CC}">
                <c16:uniqueId val="{00000001-D49B-41D0-9B9F-9B4FA0DADE2B}"/>
              </c:ext>
            </c:extLst>
          </c:dPt>
          <c:dPt>
            <c:idx val="1"/>
            <c:bubble3D val="0"/>
            <c:spPr>
              <a:solidFill>
                <a:schemeClr val="accent4"/>
              </a:solidFill>
              <a:ln>
                <a:noFill/>
              </a:ln>
              <a:effectLst/>
            </c:spPr>
            <c:extLst>
              <c:ext xmlns:c16="http://schemas.microsoft.com/office/drawing/2014/chart" uri="{C3380CC4-5D6E-409C-BE32-E72D297353CC}">
                <c16:uniqueId val="{00000003-D49B-41D0-9B9F-9B4FA0DADE2B}"/>
              </c:ext>
            </c:extLst>
          </c:dPt>
          <c:cat>
            <c:strRef>
              <c:f>Sheet1!$A$2:$A$3</c:f>
              <c:strCache>
                <c:ptCount val="2"/>
                <c:pt idx="0">
                  <c:v>1st Qtr</c:v>
                </c:pt>
                <c:pt idx="1">
                  <c:v>2nd Qtr</c:v>
                </c:pt>
              </c:strCache>
            </c:strRef>
          </c:cat>
          <c:val>
            <c:numRef>
              <c:f>Sheet1!$B$2:$B$3</c:f>
              <c:numCache>
                <c:formatCode>General</c:formatCode>
                <c:ptCount val="2"/>
                <c:pt idx="0">
                  <c:v>22</c:v>
                </c:pt>
                <c:pt idx="1">
                  <c:v>78</c:v>
                </c:pt>
              </c:numCache>
            </c:numRef>
          </c:val>
          <c:extLst>
            <c:ext xmlns:c16="http://schemas.microsoft.com/office/drawing/2014/chart" uri="{C3380CC4-5D6E-409C-BE32-E72D297353CC}">
              <c16:uniqueId val="{00000004-D49B-41D0-9B9F-9B4FA0DADE2B}"/>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dPt>
            <c:idx val="0"/>
            <c:bubble3D val="0"/>
            <c:spPr>
              <a:solidFill>
                <a:schemeClr val="bg1">
                  <a:lumMod val="95000"/>
                </a:schemeClr>
              </a:solidFill>
              <a:ln>
                <a:noFill/>
              </a:ln>
              <a:effectLst/>
            </c:spPr>
            <c:extLst>
              <c:ext xmlns:c16="http://schemas.microsoft.com/office/drawing/2014/chart" uri="{C3380CC4-5D6E-409C-BE32-E72D297353CC}">
                <c16:uniqueId val="{00000001-4B80-4ED1-8AE6-7032DFA500E7}"/>
              </c:ext>
            </c:extLst>
          </c:dPt>
          <c:dPt>
            <c:idx val="1"/>
            <c:bubble3D val="0"/>
            <c:spPr>
              <a:solidFill>
                <a:schemeClr val="accent6"/>
              </a:solidFill>
              <a:ln>
                <a:noFill/>
              </a:ln>
              <a:effectLst/>
            </c:spPr>
            <c:extLst>
              <c:ext xmlns:c16="http://schemas.microsoft.com/office/drawing/2014/chart" uri="{C3380CC4-5D6E-409C-BE32-E72D297353CC}">
                <c16:uniqueId val="{00000003-4B80-4ED1-8AE6-7032DFA500E7}"/>
              </c:ext>
            </c:extLst>
          </c:dPt>
          <c:cat>
            <c:strRef>
              <c:f>Sheet1!$A$2:$A$3</c:f>
              <c:strCache>
                <c:ptCount val="2"/>
                <c:pt idx="0">
                  <c:v>1st Qtr</c:v>
                </c:pt>
                <c:pt idx="1">
                  <c:v>2nd Qtr</c:v>
                </c:pt>
              </c:strCache>
            </c:strRef>
          </c:cat>
          <c:val>
            <c:numRef>
              <c:f>Sheet1!$B$2:$B$3</c:f>
              <c:numCache>
                <c:formatCode>General</c:formatCode>
                <c:ptCount val="2"/>
                <c:pt idx="0">
                  <c:v>22</c:v>
                </c:pt>
                <c:pt idx="1">
                  <c:v>78</c:v>
                </c:pt>
              </c:numCache>
            </c:numRef>
          </c:val>
          <c:extLst>
            <c:ext xmlns:c16="http://schemas.microsoft.com/office/drawing/2014/chart" uri="{C3380CC4-5D6E-409C-BE32-E72D297353CC}">
              <c16:uniqueId val="{00000004-4B80-4ED1-8AE6-7032DFA500E7}"/>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solidFill>
              <a:schemeClr val="bg1"/>
            </a:solidFill>
          </c:spPr>
          <c:dPt>
            <c:idx val="0"/>
            <c:bubble3D val="0"/>
            <c:spPr>
              <a:solidFill>
                <a:schemeClr val="bg1">
                  <a:lumMod val="65000"/>
                  <a:alpha val="20000"/>
                </a:schemeClr>
              </a:solidFill>
              <a:ln>
                <a:noFill/>
              </a:ln>
              <a:effectLst/>
            </c:spPr>
            <c:extLst>
              <c:ext xmlns:c16="http://schemas.microsoft.com/office/drawing/2014/chart" uri="{C3380CC4-5D6E-409C-BE32-E72D297353CC}">
                <c16:uniqueId val="{00000001-AEB3-41D9-AC40-8225417E1025}"/>
              </c:ext>
            </c:extLst>
          </c:dPt>
          <c:dPt>
            <c:idx val="1"/>
            <c:bubble3D val="0"/>
            <c:spPr>
              <a:solidFill>
                <a:schemeClr val="accent4"/>
              </a:solidFill>
              <a:ln>
                <a:noFill/>
              </a:ln>
              <a:effectLst/>
            </c:spPr>
            <c:extLst>
              <c:ext xmlns:c16="http://schemas.microsoft.com/office/drawing/2014/chart" uri="{C3380CC4-5D6E-409C-BE32-E72D297353CC}">
                <c16:uniqueId val="{00000003-AEB3-41D9-AC40-8225417E1025}"/>
              </c:ext>
            </c:extLst>
          </c:dPt>
          <c:cat>
            <c:strRef>
              <c:f>Sheet1!$A$2:$A$3</c:f>
              <c:strCache>
                <c:ptCount val="2"/>
                <c:pt idx="0">
                  <c:v>1st Qtr</c:v>
                </c:pt>
                <c:pt idx="1">
                  <c:v>2nd Qtr</c:v>
                </c:pt>
              </c:strCache>
            </c:strRef>
          </c:cat>
          <c:val>
            <c:numRef>
              <c:f>Sheet1!$B$2:$B$3</c:f>
              <c:numCache>
                <c:formatCode>General</c:formatCode>
                <c:ptCount val="2"/>
                <c:pt idx="0">
                  <c:v>18</c:v>
                </c:pt>
                <c:pt idx="1">
                  <c:v>82</c:v>
                </c:pt>
              </c:numCache>
            </c:numRef>
          </c:val>
          <c:extLst>
            <c:ext xmlns:c16="http://schemas.microsoft.com/office/drawing/2014/chart" uri="{C3380CC4-5D6E-409C-BE32-E72D297353CC}">
              <c16:uniqueId val="{00000004-AEB3-41D9-AC40-8225417E1025}"/>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solidFill>
              <a:schemeClr val="bg1"/>
            </a:solidFill>
          </c:spPr>
          <c:dPt>
            <c:idx val="0"/>
            <c:bubble3D val="0"/>
            <c:spPr>
              <a:solidFill>
                <a:schemeClr val="bg1">
                  <a:lumMod val="65000"/>
                  <a:alpha val="20000"/>
                </a:schemeClr>
              </a:solidFill>
              <a:ln>
                <a:noFill/>
              </a:ln>
              <a:effectLst/>
            </c:spPr>
            <c:extLst>
              <c:ext xmlns:c16="http://schemas.microsoft.com/office/drawing/2014/chart" uri="{C3380CC4-5D6E-409C-BE32-E72D297353CC}">
                <c16:uniqueId val="{00000001-EF27-40B8-AD06-5F68A3B55A86}"/>
              </c:ext>
            </c:extLst>
          </c:dPt>
          <c:dPt>
            <c:idx val="1"/>
            <c:bubble3D val="0"/>
            <c:spPr>
              <a:solidFill>
                <a:schemeClr val="accent1"/>
              </a:solidFill>
              <a:ln>
                <a:noFill/>
              </a:ln>
              <a:effectLst/>
            </c:spPr>
            <c:extLst>
              <c:ext xmlns:c16="http://schemas.microsoft.com/office/drawing/2014/chart" uri="{C3380CC4-5D6E-409C-BE32-E72D297353CC}">
                <c16:uniqueId val="{00000003-EF27-40B8-AD06-5F68A3B55A86}"/>
              </c:ext>
            </c:extLst>
          </c:dPt>
          <c:cat>
            <c:strRef>
              <c:f>Sheet1!$A$2:$A$3</c:f>
              <c:strCache>
                <c:ptCount val="2"/>
                <c:pt idx="0">
                  <c:v>1st Qtr</c:v>
                </c:pt>
                <c:pt idx="1">
                  <c:v>2nd Qtr</c:v>
                </c:pt>
              </c:strCache>
            </c:strRef>
          </c:cat>
          <c:val>
            <c:numRef>
              <c:f>Sheet1!$B$2:$B$3</c:f>
              <c:numCache>
                <c:formatCode>General</c:formatCode>
                <c:ptCount val="2"/>
                <c:pt idx="0">
                  <c:v>18</c:v>
                </c:pt>
                <c:pt idx="1">
                  <c:v>82</c:v>
                </c:pt>
              </c:numCache>
            </c:numRef>
          </c:val>
          <c:extLst>
            <c:ext xmlns:c16="http://schemas.microsoft.com/office/drawing/2014/chart" uri="{C3380CC4-5D6E-409C-BE32-E72D297353CC}">
              <c16:uniqueId val="{00000004-EF27-40B8-AD06-5F68A3B55A86}"/>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solidFill>
              <a:schemeClr val="bg1"/>
            </a:solidFill>
          </c:spPr>
          <c:dPt>
            <c:idx val="0"/>
            <c:bubble3D val="0"/>
            <c:spPr>
              <a:solidFill>
                <a:schemeClr val="bg1">
                  <a:lumMod val="65000"/>
                  <a:alpha val="20000"/>
                </a:schemeClr>
              </a:solidFill>
              <a:ln>
                <a:noFill/>
              </a:ln>
              <a:effectLst/>
            </c:spPr>
            <c:extLst>
              <c:ext xmlns:c16="http://schemas.microsoft.com/office/drawing/2014/chart" uri="{C3380CC4-5D6E-409C-BE32-E72D297353CC}">
                <c16:uniqueId val="{00000001-59FE-43CE-B207-5D84B9B1C3F5}"/>
              </c:ext>
            </c:extLst>
          </c:dPt>
          <c:dPt>
            <c:idx val="1"/>
            <c:bubble3D val="0"/>
            <c:spPr>
              <a:solidFill>
                <a:schemeClr val="accent2"/>
              </a:solidFill>
              <a:ln>
                <a:noFill/>
              </a:ln>
              <a:effectLst/>
            </c:spPr>
            <c:extLst>
              <c:ext xmlns:c16="http://schemas.microsoft.com/office/drawing/2014/chart" uri="{C3380CC4-5D6E-409C-BE32-E72D297353CC}">
                <c16:uniqueId val="{00000003-59FE-43CE-B207-5D84B9B1C3F5}"/>
              </c:ext>
            </c:extLst>
          </c:dPt>
          <c:cat>
            <c:strRef>
              <c:f>Sheet1!$A$2:$A$3</c:f>
              <c:strCache>
                <c:ptCount val="2"/>
                <c:pt idx="0">
                  <c:v>1st Qtr</c:v>
                </c:pt>
                <c:pt idx="1">
                  <c:v>2nd Qtr</c:v>
                </c:pt>
              </c:strCache>
            </c:strRef>
          </c:cat>
          <c:val>
            <c:numRef>
              <c:f>Sheet1!$B$2:$B$3</c:f>
              <c:numCache>
                <c:formatCode>General</c:formatCode>
                <c:ptCount val="2"/>
                <c:pt idx="0">
                  <c:v>18</c:v>
                </c:pt>
                <c:pt idx="1">
                  <c:v>82</c:v>
                </c:pt>
              </c:numCache>
            </c:numRef>
          </c:val>
          <c:extLst>
            <c:ext xmlns:c16="http://schemas.microsoft.com/office/drawing/2014/chart" uri="{C3380CC4-5D6E-409C-BE32-E72D297353CC}">
              <c16:uniqueId val="{00000004-59FE-43CE-B207-5D84B9B1C3F5}"/>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solidFill>
              <a:schemeClr val="bg1"/>
            </a:solidFill>
          </c:spPr>
          <c:dPt>
            <c:idx val="0"/>
            <c:bubble3D val="0"/>
            <c:spPr>
              <a:solidFill>
                <a:schemeClr val="bg1">
                  <a:lumMod val="65000"/>
                  <a:alpha val="20000"/>
                </a:schemeClr>
              </a:solidFill>
              <a:ln>
                <a:noFill/>
              </a:ln>
              <a:effectLst/>
            </c:spPr>
            <c:extLst>
              <c:ext xmlns:c16="http://schemas.microsoft.com/office/drawing/2014/chart" uri="{C3380CC4-5D6E-409C-BE32-E72D297353CC}">
                <c16:uniqueId val="{00000001-738F-4418-B475-F21D7F6B8061}"/>
              </c:ext>
            </c:extLst>
          </c:dPt>
          <c:dPt>
            <c:idx val="1"/>
            <c:bubble3D val="0"/>
            <c:spPr>
              <a:solidFill>
                <a:schemeClr val="bg1"/>
              </a:solidFill>
              <a:ln>
                <a:noFill/>
              </a:ln>
              <a:effectLst/>
            </c:spPr>
            <c:extLst>
              <c:ext xmlns:c16="http://schemas.microsoft.com/office/drawing/2014/chart" uri="{C3380CC4-5D6E-409C-BE32-E72D297353CC}">
                <c16:uniqueId val="{00000003-738F-4418-B475-F21D7F6B8061}"/>
              </c:ext>
            </c:extLst>
          </c:dPt>
          <c:cat>
            <c:strRef>
              <c:f>Sheet1!$A$2:$A$3</c:f>
              <c:strCache>
                <c:ptCount val="2"/>
                <c:pt idx="0">
                  <c:v>1st Qtr</c:v>
                </c:pt>
                <c:pt idx="1">
                  <c:v>2nd Qtr</c:v>
                </c:pt>
              </c:strCache>
            </c:strRef>
          </c:cat>
          <c:val>
            <c:numRef>
              <c:f>Sheet1!$B$2:$B$3</c:f>
              <c:numCache>
                <c:formatCode>General</c:formatCode>
                <c:ptCount val="2"/>
                <c:pt idx="0">
                  <c:v>18</c:v>
                </c:pt>
                <c:pt idx="1">
                  <c:v>82</c:v>
                </c:pt>
              </c:numCache>
            </c:numRef>
          </c:val>
          <c:extLst>
            <c:ext xmlns:c16="http://schemas.microsoft.com/office/drawing/2014/chart" uri="{C3380CC4-5D6E-409C-BE32-E72D297353CC}">
              <c16:uniqueId val="{00000004-738F-4418-B475-F21D7F6B8061}"/>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solidFill>
              <a:schemeClr val="bg1"/>
            </a:solidFill>
          </c:spPr>
          <c:dPt>
            <c:idx val="0"/>
            <c:bubble3D val="0"/>
            <c:spPr>
              <a:solidFill>
                <a:schemeClr val="bg1">
                  <a:lumMod val="65000"/>
                  <a:alpha val="20000"/>
                </a:schemeClr>
              </a:solidFill>
              <a:ln>
                <a:noFill/>
              </a:ln>
              <a:effectLst/>
            </c:spPr>
            <c:extLst>
              <c:ext xmlns:c16="http://schemas.microsoft.com/office/drawing/2014/chart" uri="{C3380CC4-5D6E-409C-BE32-E72D297353CC}">
                <c16:uniqueId val="{00000001-5DE4-428B-AB80-242396EFC6AD}"/>
              </c:ext>
            </c:extLst>
          </c:dPt>
          <c:dPt>
            <c:idx val="1"/>
            <c:bubble3D val="0"/>
            <c:spPr>
              <a:solidFill>
                <a:schemeClr val="accent4"/>
              </a:solidFill>
              <a:ln>
                <a:noFill/>
              </a:ln>
              <a:effectLst/>
            </c:spPr>
            <c:extLst>
              <c:ext xmlns:c16="http://schemas.microsoft.com/office/drawing/2014/chart" uri="{C3380CC4-5D6E-409C-BE32-E72D297353CC}">
                <c16:uniqueId val="{00000003-5DE4-428B-AB80-242396EFC6AD}"/>
              </c:ext>
            </c:extLst>
          </c:dPt>
          <c:cat>
            <c:strRef>
              <c:f>Sheet1!$A$2:$A$3</c:f>
              <c:strCache>
                <c:ptCount val="2"/>
                <c:pt idx="0">
                  <c:v>1st Qtr</c:v>
                </c:pt>
                <c:pt idx="1">
                  <c:v>2nd Qtr</c:v>
                </c:pt>
              </c:strCache>
            </c:strRef>
          </c:cat>
          <c:val>
            <c:numRef>
              <c:f>Sheet1!$B$2:$B$3</c:f>
              <c:numCache>
                <c:formatCode>General</c:formatCode>
                <c:ptCount val="2"/>
                <c:pt idx="0">
                  <c:v>18</c:v>
                </c:pt>
                <c:pt idx="1">
                  <c:v>82</c:v>
                </c:pt>
              </c:numCache>
            </c:numRef>
          </c:val>
          <c:extLst>
            <c:ext xmlns:c16="http://schemas.microsoft.com/office/drawing/2014/chart" uri="{C3380CC4-5D6E-409C-BE32-E72D297353CC}">
              <c16:uniqueId val="{00000004-5DE4-428B-AB80-242396EFC6AD}"/>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accent1"/>
              </a:solidFill>
              <a:ln w="19050">
                <a:noFill/>
              </a:ln>
              <a:effectLst/>
            </c:spPr>
            <c:extLst>
              <c:ext xmlns:c16="http://schemas.microsoft.com/office/drawing/2014/chart" uri="{C3380CC4-5D6E-409C-BE32-E72D297353CC}">
                <c16:uniqueId val="{00000001-9B5F-486B-8062-D4B9B259E87D}"/>
              </c:ext>
            </c:extLst>
          </c:dPt>
          <c:dPt>
            <c:idx val="1"/>
            <c:bubble3D val="0"/>
            <c:spPr>
              <a:solidFill>
                <a:schemeClr val="bg2">
                  <a:lumMod val="85000"/>
                </a:schemeClr>
              </a:solidFill>
              <a:ln w="19050">
                <a:noFill/>
              </a:ln>
              <a:effectLst/>
            </c:spPr>
            <c:extLst>
              <c:ext xmlns:c16="http://schemas.microsoft.com/office/drawing/2014/chart" uri="{C3380CC4-5D6E-409C-BE32-E72D297353CC}">
                <c16:uniqueId val="{00000003-9B5F-486B-8062-D4B9B259E87D}"/>
              </c:ext>
            </c:extLst>
          </c:dPt>
          <c:cat>
            <c:strRef>
              <c:f>Sheet1!$A$2:$A$3</c:f>
              <c:strCache>
                <c:ptCount val="2"/>
                <c:pt idx="0">
                  <c:v>1st Qtr</c:v>
                </c:pt>
                <c:pt idx="1">
                  <c:v>2nd Qtr</c:v>
                </c:pt>
              </c:strCache>
            </c:strRef>
          </c:cat>
          <c:val>
            <c:numRef>
              <c:f>Sheet1!$B$2:$B$3</c:f>
              <c:numCache>
                <c:formatCode>General</c:formatCode>
                <c:ptCount val="2"/>
                <c:pt idx="0">
                  <c:v>8.1999999999999993</c:v>
                </c:pt>
                <c:pt idx="1">
                  <c:v>3.2</c:v>
                </c:pt>
              </c:numCache>
            </c:numRef>
          </c:val>
          <c:extLst>
            <c:ext xmlns:c16="http://schemas.microsoft.com/office/drawing/2014/chart" uri="{C3380CC4-5D6E-409C-BE32-E72D297353CC}">
              <c16:uniqueId val="{00000004-9B5F-486B-8062-D4B9B259E87D}"/>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accent2"/>
              </a:solidFill>
              <a:ln w="19050">
                <a:noFill/>
              </a:ln>
              <a:effectLst/>
            </c:spPr>
            <c:extLst>
              <c:ext xmlns:c16="http://schemas.microsoft.com/office/drawing/2014/chart" uri="{C3380CC4-5D6E-409C-BE32-E72D297353CC}">
                <c16:uniqueId val="{00000001-6F7C-4BF1-84DB-A4705CCF6EA9}"/>
              </c:ext>
            </c:extLst>
          </c:dPt>
          <c:dPt>
            <c:idx val="1"/>
            <c:bubble3D val="0"/>
            <c:spPr>
              <a:solidFill>
                <a:schemeClr val="bg2">
                  <a:lumMod val="85000"/>
                </a:schemeClr>
              </a:solidFill>
              <a:ln w="19050">
                <a:noFill/>
              </a:ln>
              <a:effectLst/>
            </c:spPr>
            <c:extLst>
              <c:ext xmlns:c16="http://schemas.microsoft.com/office/drawing/2014/chart" uri="{C3380CC4-5D6E-409C-BE32-E72D297353CC}">
                <c16:uniqueId val="{00000003-6F7C-4BF1-84DB-A4705CCF6EA9}"/>
              </c:ext>
            </c:extLst>
          </c:dPt>
          <c:cat>
            <c:strRef>
              <c:f>Sheet1!$A$2:$A$3</c:f>
              <c:strCache>
                <c:ptCount val="2"/>
                <c:pt idx="0">
                  <c:v>1st Qtr</c:v>
                </c:pt>
                <c:pt idx="1">
                  <c:v>2nd Qtr</c:v>
                </c:pt>
              </c:strCache>
            </c:strRef>
          </c:cat>
          <c:val>
            <c:numRef>
              <c:f>Sheet1!$B$2:$B$3</c:f>
              <c:numCache>
                <c:formatCode>General</c:formatCode>
                <c:ptCount val="2"/>
                <c:pt idx="0">
                  <c:v>8.1999999999999993</c:v>
                </c:pt>
                <c:pt idx="1">
                  <c:v>31.2</c:v>
                </c:pt>
              </c:numCache>
            </c:numRef>
          </c:val>
          <c:extLst>
            <c:ext xmlns:c16="http://schemas.microsoft.com/office/drawing/2014/chart" uri="{C3380CC4-5D6E-409C-BE32-E72D297353CC}">
              <c16:uniqueId val="{00000004-6F7C-4BF1-84DB-A4705CCF6EA9}"/>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accent3"/>
              </a:solidFill>
              <a:ln w="19050">
                <a:noFill/>
              </a:ln>
              <a:effectLst/>
            </c:spPr>
            <c:extLst>
              <c:ext xmlns:c16="http://schemas.microsoft.com/office/drawing/2014/chart" uri="{C3380CC4-5D6E-409C-BE32-E72D297353CC}">
                <c16:uniqueId val="{00000001-2EA8-429D-828D-40BF418C13B1}"/>
              </c:ext>
            </c:extLst>
          </c:dPt>
          <c:dPt>
            <c:idx val="1"/>
            <c:bubble3D val="0"/>
            <c:spPr>
              <a:solidFill>
                <a:schemeClr val="bg2">
                  <a:lumMod val="85000"/>
                </a:schemeClr>
              </a:solidFill>
              <a:ln w="19050">
                <a:noFill/>
              </a:ln>
              <a:effectLst/>
            </c:spPr>
            <c:extLst>
              <c:ext xmlns:c16="http://schemas.microsoft.com/office/drawing/2014/chart" uri="{C3380CC4-5D6E-409C-BE32-E72D297353CC}">
                <c16:uniqueId val="{00000003-2EA8-429D-828D-40BF418C13B1}"/>
              </c:ext>
            </c:extLst>
          </c:dPt>
          <c:cat>
            <c:strRef>
              <c:f>Sheet1!$A$2:$A$3</c:f>
              <c:strCache>
                <c:ptCount val="2"/>
                <c:pt idx="0">
                  <c:v>1st Qtr</c:v>
                </c:pt>
                <c:pt idx="1">
                  <c:v>2nd Qtr</c:v>
                </c:pt>
              </c:strCache>
            </c:strRef>
          </c:cat>
          <c:val>
            <c:numRef>
              <c:f>Sheet1!$B$2:$B$3</c:f>
              <c:numCache>
                <c:formatCode>General</c:formatCode>
                <c:ptCount val="2"/>
                <c:pt idx="0">
                  <c:v>8.1999999999999993</c:v>
                </c:pt>
                <c:pt idx="1">
                  <c:v>3.2</c:v>
                </c:pt>
              </c:numCache>
            </c:numRef>
          </c:val>
          <c:extLst>
            <c:ext xmlns:c16="http://schemas.microsoft.com/office/drawing/2014/chart" uri="{C3380CC4-5D6E-409C-BE32-E72D297353CC}">
              <c16:uniqueId val="{00000004-2EA8-429D-828D-40BF418C13B1}"/>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5">
  <cs:axisTitle>
    <cs:lnRef idx="0"/>
    <cs:fillRef idx="0"/>
    <cs:effectRef idx="0"/>
    <cs:fontRef idx="minor">
      <a:schemeClr val="tx2"/>
    </cs:fontRef>
    <cs:defRPr sz="1197" b="1" kern="1200"/>
  </cs:axisTitle>
  <cs:categoryAxis>
    <cs:lnRef idx="0"/>
    <cs:fillRef idx="0"/>
    <cs:effectRef idx="0"/>
    <cs:fontRef idx="minor">
      <a:schemeClr val="tx2"/>
    </cs:fontRef>
    <cs:spPr>
      <a:ln w="9525" cap="flat" cmpd="sng" algn="ctr">
        <a:solidFill>
          <a:schemeClr val="tx2">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2">
            <a:lumMod val="15000"/>
            <a:lumOff val="85000"/>
          </a:schemeClr>
        </a:solidFill>
        <a:round/>
      </a:ln>
    </cs:spPr>
    <cs:defRPr sz="1197" kern="1200"/>
  </cs:chartArea>
  <cs:dataLabel>
    <cs:lnRef idx="0"/>
    <cs:fillRef idx="0"/>
    <cs:effectRef idx="0"/>
    <cs:fontRef idx="minor">
      <a:schemeClr val="tx2"/>
    </cs:fontRef>
    <cs:defRPr sz="1197" kern="1200"/>
  </cs:dataLabel>
  <cs:dataLabelCallout>
    <cs:lnRef idx="0"/>
    <cs:fillRef idx="0"/>
    <cs:effectRef idx="0"/>
    <cs:fontRef idx="minor">
      <a:schemeClr val="dk2">
        <a:lumMod val="7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2"/>
    <cs:fontRef idx="minor">
      <a:schemeClr val="tx2"/>
    </cs:fontRef>
  </cs:dataPoint>
  <cs:dataPoint3D>
    <cs:lnRef idx="0"/>
    <cs:fillRef idx="3">
      <cs:styleClr val="auto"/>
    </cs:fillRef>
    <cs:effectRef idx="2"/>
    <cs:fontRef idx="minor">
      <a:schemeClr val="tx2"/>
    </cs:fontRef>
  </cs:dataPoint3D>
  <cs:dataPointLine>
    <cs:lnRef idx="0">
      <cs:styleClr val="auto"/>
    </cs:lnRef>
    <cs:fillRef idx="3"/>
    <cs:effectRef idx="2"/>
    <cs:fontRef idx="minor">
      <a:schemeClr val="tx2"/>
    </cs:fontRef>
    <cs:spPr>
      <a:ln w="31750" cap="rnd">
        <a:solidFill>
          <a:schemeClr val="phClr"/>
        </a:solidFill>
        <a:round/>
      </a:ln>
    </cs:spPr>
  </cs:dataPointLine>
  <cs:dataPointMarker>
    <cs:lnRef idx="0"/>
    <cs:fillRef idx="3">
      <cs:styleClr val="auto"/>
    </cs:fillRef>
    <cs:effectRef idx="2"/>
    <cs:fontRef idx="minor">
      <a:schemeClr val="tx2"/>
    </cs:fontRef>
    <cs:spPr>
      <a:ln w="12700">
        <a:solidFill>
          <a:schemeClr val="lt2"/>
        </a:solidFill>
        <a:round/>
      </a:ln>
    </cs:spPr>
  </cs:dataPointMarker>
  <cs:dataPointMarkerLayout symbol="circle" size="6"/>
  <cs:dataPointWireframe>
    <cs:lnRef idx="0">
      <cs:styleClr val="auto"/>
    </cs:lnRef>
    <cs:fillRef idx="3"/>
    <cs:effectRef idx="2"/>
    <cs:fontRef idx="minor">
      <a:schemeClr val="tx2"/>
    </cs:fontRef>
    <cs:spPr>
      <a:ln w="9525" cap="rnd">
        <a:solidFill>
          <a:schemeClr val="phClr"/>
        </a:solidFill>
        <a:round/>
      </a:ln>
    </cs:spPr>
  </cs:dataPointWireframe>
  <cs:dataTable>
    <cs:lnRef idx="0"/>
    <cs:fillRef idx="0"/>
    <cs:effectRef idx="0"/>
    <cs:fontRef idx="minor">
      <a:schemeClr val="tx2"/>
    </cs:fontRef>
    <cs:spPr>
      <a:ln w="9525">
        <a:solidFill>
          <a:schemeClr val="tx2">
            <a:lumMod val="15000"/>
            <a:lumOff val="85000"/>
          </a:schemeClr>
        </a:solidFill>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2"/>
    </cs:fontRef>
    <cs:spPr>
      <a:ln w="9525">
        <a:solidFill>
          <a:schemeClr val="tx2">
            <a:lumMod val="60000"/>
            <a:lumOff val="40000"/>
          </a:schemeClr>
        </a:solidFill>
        <a:prstDash val="dash"/>
      </a:ln>
    </cs:spPr>
  </cs:dropLine>
  <cs:errorBar>
    <cs:lnRef idx="0"/>
    <cs:fillRef idx="0"/>
    <cs:effectRef idx="0"/>
    <cs:fontRef idx="minor">
      <a:schemeClr val="tx2"/>
    </cs:fontRef>
    <cs:spPr>
      <a:ln w="9525">
        <a:solidFill>
          <a:schemeClr val="tx2">
            <a:lumMod val="75000"/>
          </a:schemeClr>
        </a:solidFill>
        <a:round/>
      </a:ln>
    </cs:spPr>
  </cs:errorBar>
  <cs:floor>
    <cs:lnRef idx="0"/>
    <cs:fillRef idx="0"/>
    <cs:effectRef idx="0"/>
    <cs:fontRef idx="minor">
      <a:schemeClr val="tx2"/>
    </cs:fontRef>
  </cs:floor>
  <cs:gridlineMajor>
    <cs:lnRef idx="0"/>
    <cs:fillRef idx="0"/>
    <cs:effectRef idx="0"/>
    <cs:fontRef idx="minor">
      <a:schemeClr val="tx2"/>
    </cs:fontRef>
    <cs:spPr>
      <a:ln w="9525" cap="flat" cmpd="sng" algn="ctr">
        <a:solidFill>
          <a:schemeClr val="tx2">
            <a:lumMod val="15000"/>
            <a:lumOff val="85000"/>
          </a:schemeClr>
        </a:solidFill>
        <a:round/>
      </a:ln>
    </cs:spPr>
  </cs:gridlineMajor>
  <cs:gridlineMinor>
    <cs:lnRef idx="0"/>
    <cs:fillRef idx="0"/>
    <cs:effectRef idx="0"/>
    <cs:fontRef idx="minor">
      <a:schemeClr val="tx2"/>
    </cs:fontRef>
    <cs:spPr>
      <a:ln>
        <a:solidFill>
          <a:schemeClr val="tx2">
            <a:lumMod val="5000"/>
            <a:lumOff val="95000"/>
          </a:schemeClr>
        </a:solidFill>
      </a:ln>
    </cs:spPr>
  </cs:gridlineMinor>
  <cs:hiLoLine>
    <cs:lnRef idx="0"/>
    <cs:fillRef idx="0"/>
    <cs:effectRef idx="0"/>
    <cs:fontRef idx="minor">
      <a:schemeClr val="tx2"/>
    </cs:fontRef>
    <cs:spPr>
      <a:ln w="9525">
        <a:solidFill>
          <a:schemeClr val="tx2">
            <a:lumMod val="60000"/>
            <a:lumOff val="40000"/>
          </a:schemeClr>
        </a:solidFill>
        <a:prstDash val="dash"/>
      </a:ln>
    </cs:spPr>
  </cs:hiLoLine>
  <cs:leaderLine>
    <cs:lnRef idx="0"/>
    <cs:fillRef idx="0"/>
    <cs:effectRef idx="0"/>
    <cs:fontRef idx="minor">
      <a:schemeClr val="tx2"/>
    </cs:fontRef>
    <cs:spPr>
      <a:ln w="9525">
        <a:solidFill>
          <a:schemeClr val="tx2">
            <a:lumMod val="35000"/>
            <a:lumOff val="65000"/>
          </a:schemeClr>
        </a:solidFill>
      </a:ln>
    </cs:spPr>
  </cs:leaderLine>
  <cs:legend>
    <cs:lnRef idx="0"/>
    <cs:fillRef idx="0"/>
    <cs:effectRef idx="0"/>
    <cs:fontRef idx="minor">
      <a:schemeClr val="tx2"/>
    </cs:fontRef>
    <cs:defRPr sz="1197" kern="1200"/>
  </cs:legend>
  <cs:plotArea>
    <cs:lnRef idx="0"/>
    <cs:fillRef idx="0"/>
    <cs:effectRef idx="0"/>
    <cs:fontRef idx="minor">
      <a:schemeClr val="tx2"/>
    </cs:fontRef>
  </cs:plotArea>
  <cs:plotArea3D>
    <cs:lnRef idx="0"/>
    <cs:fillRef idx="0"/>
    <cs:effectRef idx="0"/>
    <cs:fontRef idx="minor">
      <a:schemeClr val="tx2"/>
    </cs:fontRef>
  </cs:plotArea3D>
  <cs:seriesAxis>
    <cs:lnRef idx="0"/>
    <cs:fillRef idx="0"/>
    <cs:effectRef idx="0"/>
    <cs:fontRef idx="minor">
      <a:schemeClr val="tx2"/>
    </cs:fontRef>
    <cs:spPr>
      <a:ln w="9525" cap="flat" cmpd="sng" algn="ctr">
        <a:solidFill>
          <a:schemeClr val="tx2">
            <a:lumMod val="15000"/>
            <a:lumOff val="85000"/>
          </a:schemeClr>
        </a:solidFill>
        <a:round/>
      </a:ln>
    </cs:spPr>
    <cs:defRPr sz="1197" kern="1200"/>
  </cs:seriesAxis>
  <cs:seriesLine>
    <cs:lnRef idx="0"/>
    <cs:fillRef idx="0"/>
    <cs:effectRef idx="0"/>
    <cs:fontRef idx="minor">
      <a:schemeClr val="tx2"/>
    </cs:fontRef>
    <cs:spPr>
      <a:ln w="9525">
        <a:solidFill>
          <a:schemeClr val="tx2">
            <a:lumMod val="60000"/>
            <a:lumOff val="40000"/>
          </a:schemeClr>
        </a:solidFill>
        <a:prstDash val="dash"/>
      </a:ln>
    </cs:spPr>
  </cs:seriesLine>
  <cs:title>
    <cs:lnRef idx="0"/>
    <cs:fillRef idx="0"/>
    <cs:effectRef idx="0"/>
    <cs:fontRef idx="minor">
      <a:schemeClr val="tx2"/>
    </cs:fontRef>
    <cs:defRPr sz="2128" b="1" kern="1200"/>
  </cs:title>
  <cs:trendline>
    <cs:lnRef idx="0">
      <cs:styleClr val="auto"/>
    </cs:lnRef>
    <cs:fillRef idx="0"/>
    <cs:effectRef idx="0"/>
    <cs:fontRef idx="minor">
      <a:schemeClr val="tx2"/>
    </cs:fontRef>
    <cs:spPr>
      <a:ln w="19050" cap="rnd">
        <a:solidFill>
          <a:schemeClr val="phClr"/>
        </a:solidFill>
        <a:prstDash val="sysDash"/>
      </a:ln>
    </cs:spPr>
  </cs:trendline>
  <cs:trendlineLabel>
    <cs:lnRef idx="0"/>
    <cs:fillRef idx="0"/>
    <cs:effectRef idx="0"/>
    <cs:fontRef idx="minor">
      <a:schemeClr val="tx2"/>
    </cs:fontRef>
    <cs:defRPr sz="1197" kern="1200"/>
  </cs:trendlineLabel>
  <cs:upBar>
    <cs:lnRef idx="0"/>
    <cs:fillRef idx="0"/>
    <cs:effectRef idx="0"/>
    <cs:fontRef idx="minor">
      <a:schemeClr val="tx2"/>
    </cs:fontRef>
    <cs:spPr>
      <a:solidFill>
        <a:schemeClr val="lt1"/>
      </a:solidFill>
      <a:ln w="9525">
        <a:solidFill>
          <a:schemeClr val="tx1">
            <a:lumMod val="15000"/>
            <a:lumOff val="85000"/>
          </a:schemeClr>
        </a:solidFill>
      </a:ln>
    </cs:spPr>
  </cs:upBar>
  <cs:valueAxis>
    <cs:lnRef idx="0"/>
    <cs:fillRef idx="0"/>
    <cs:effectRef idx="0"/>
    <cs:fontRef idx="minor">
      <a:schemeClr val="tx2"/>
    </cs:fontRef>
    <cs:defRPr sz="1197" kern="1200"/>
  </cs:valueAxis>
  <cs:wall>
    <cs:lnRef idx="0"/>
    <cs:fillRef idx="0"/>
    <cs:effectRef idx="0"/>
    <cs:fontRef idx="minor">
      <a:schemeClr val="tx2"/>
    </cs:fontRef>
  </cs:wall>
</cs:chartStyle>
</file>

<file path=ppt/charts/style10.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55">
  <cs:axisTitle>
    <cs:lnRef idx="0"/>
    <cs:fillRef idx="0"/>
    <cs:effectRef idx="0"/>
    <cs:fontRef idx="minor">
      <a:schemeClr val="tx2"/>
    </cs:fontRef>
    <cs:defRPr sz="1197" b="1" kern="1200"/>
  </cs:axisTitle>
  <cs:categoryAxis>
    <cs:lnRef idx="0"/>
    <cs:fillRef idx="0"/>
    <cs:effectRef idx="0"/>
    <cs:fontRef idx="minor">
      <a:schemeClr val="tx2"/>
    </cs:fontRef>
    <cs:spPr>
      <a:ln w="9525" cap="flat" cmpd="sng" algn="ctr">
        <a:solidFill>
          <a:schemeClr val="tx2">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2">
            <a:lumMod val="15000"/>
            <a:lumOff val="85000"/>
          </a:schemeClr>
        </a:solidFill>
        <a:round/>
      </a:ln>
    </cs:spPr>
    <cs:defRPr sz="1197" kern="1200"/>
  </cs:chartArea>
  <cs:dataLabel>
    <cs:lnRef idx="0"/>
    <cs:fillRef idx="0"/>
    <cs:effectRef idx="0"/>
    <cs:fontRef idx="minor">
      <a:schemeClr val="tx2"/>
    </cs:fontRef>
    <cs:defRPr sz="1197" kern="1200"/>
  </cs:dataLabel>
  <cs:dataLabelCallout>
    <cs:lnRef idx="0"/>
    <cs:fillRef idx="0"/>
    <cs:effectRef idx="0"/>
    <cs:fontRef idx="minor">
      <a:schemeClr val="dk2">
        <a:lumMod val="7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2"/>
    <cs:fontRef idx="minor">
      <a:schemeClr val="tx2"/>
    </cs:fontRef>
  </cs:dataPoint>
  <cs:dataPoint3D>
    <cs:lnRef idx="0"/>
    <cs:fillRef idx="3">
      <cs:styleClr val="auto"/>
    </cs:fillRef>
    <cs:effectRef idx="2"/>
    <cs:fontRef idx="minor">
      <a:schemeClr val="tx2"/>
    </cs:fontRef>
  </cs:dataPoint3D>
  <cs:dataPointLine>
    <cs:lnRef idx="0">
      <cs:styleClr val="auto"/>
    </cs:lnRef>
    <cs:fillRef idx="3"/>
    <cs:effectRef idx="2"/>
    <cs:fontRef idx="minor">
      <a:schemeClr val="tx2"/>
    </cs:fontRef>
    <cs:spPr>
      <a:ln w="31750" cap="rnd">
        <a:solidFill>
          <a:schemeClr val="phClr"/>
        </a:solidFill>
        <a:round/>
      </a:ln>
    </cs:spPr>
  </cs:dataPointLine>
  <cs:dataPointMarker>
    <cs:lnRef idx="0"/>
    <cs:fillRef idx="3">
      <cs:styleClr val="auto"/>
    </cs:fillRef>
    <cs:effectRef idx="2"/>
    <cs:fontRef idx="minor">
      <a:schemeClr val="tx2"/>
    </cs:fontRef>
    <cs:spPr>
      <a:ln w="12700">
        <a:solidFill>
          <a:schemeClr val="lt2"/>
        </a:solidFill>
        <a:round/>
      </a:ln>
    </cs:spPr>
  </cs:dataPointMarker>
  <cs:dataPointMarkerLayout symbol="circle" size="6"/>
  <cs:dataPointWireframe>
    <cs:lnRef idx="0">
      <cs:styleClr val="auto"/>
    </cs:lnRef>
    <cs:fillRef idx="3"/>
    <cs:effectRef idx="2"/>
    <cs:fontRef idx="minor">
      <a:schemeClr val="tx2"/>
    </cs:fontRef>
    <cs:spPr>
      <a:ln w="9525" cap="rnd">
        <a:solidFill>
          <a:schemeClr val="phClr"/>
        </a:solidFill>
        <a:round/>
      </a:ln>
    </cs:spPr>
  </cs:dataPointWireframe>
  <cs:dataTable>
    <cs:lnRef idx="0"/>
    <cs:fillRef idx="0"/>
    <cs:effectRef idx="0"/>
    <cs:fontRef idx="minor">
      <a:schemeClr val="tx2"/>
    </cs:fontRef>
    <cs:spPr>
      <a:ln w="9525">
        <a:solidFill>
          <a:schemeClr val="tx2">
            <a:lumMod val="15000"/>
            <a:lumOff val="85000"/>
          </a:schemeClr>
        </a:solidFill>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2"/>
    </cs:fontRef>
    <cs:spPr>
      <a:ln w="9525">
        <a:solidFill>
          <a:schemeClr val="tx2">
            <a:lumMod val="60000"/>
            <a:lumOff val="40000"/>
          </a:schemeClr>
        </a:solidFill>
        <a:prstDash val="dash"/>
      </a:ln>
    </cs:spPr>
  </cs:dropLine>
  <cs:errorBar>
    <cs:lnRef idx="0"/>
    <cs:fillRef idx="0"/>
    <cs:effectRef idx="0"/>
    <cs:fontRef idx="minor">
      <a:schemeClr val="tx2"/>
    </cs:fontRef>
    <cs:spPr>
      <a:ln w="9525">
        <a:solidFill>
          <a:schemeClr val="tx2">
            <a:lumMod val="75000"/>
          </a:schemeClr>
        </a:solidFill>
        <a:round/>
      </a:ln>
    </cs:spPr>
  </cs:errorBar>
  <cs:floor>
    <cs:lnRef idx="0"/>
    <cs:fillRef idx="0"/>
    <cs:effectRef idx="0"/>
    <cs:fontRef idx="minor">
      <a:schemeClr val="tx2"/>
    </cs:fontRef>
  </cs:floor>
  <cs:gridlineMajor>
    <cs:lnRef idx="0"/>
    <cs:fillRef idx="0"/>
    <cs:effectRef idx="0"/>
    <cs:fontRef idx="minor">
      <a:schemeClr val="tx2"/>
    </cs:fontRef>
    <cs:spPr>
      <a:ln w="9525" cap="flat" cmpd="sng" algn="ctr">
        <a:solidFill>
          <a:schemeClr val="tx2">
            <a:lumMod val="15000"/>
            <a:lumOff val="85000"/>
          </a:schemeClr>
        </a:solidFill>
        <a:round/>
      </a:ln>
    </cs:spPr>
  </cs:gridlineMajor>
  <cs:gridlineMinor>
    <cs:lnRef idx="0"/>
    <cs:fillRef idx="0"/>
    <cs:effectRef idx="0"/>
    <cs:fontRef idx="minor">
      <a:schemeClr val="tx2"/>
    </cs:fontRef>
    <cs:spPr>
      <a:ln>
        <a:solidFill>
          <a:schemeClr val="tx2">
            <a:lumMod val="5000"/>
            <a:lumOff val="95000"/>
          </a:schemeClr>
        </a:solidFill>
      </a:ln>
    </cs:spPr>
  </cs:gridlineMinor>
  <cs:hiLoLine>
    <cs:lnRef idx="0"/>
    <cs:fillRef idx="0"/>
    <cs:effectRef idx="0"/>
    <cs:fontRef idx="minor">
      <a:schemeClr val="tx2"/>
    </cs:fontRef>
    <cs:spPr>
      <a:ln w="9525">
        <a:solidFill>
          <a:schemeClr val="tx2">
            <a:lumMod val="60000"/>
            <a:lumOff val="40000"/>
          </a:schemeClr>
        </a:solidFill>
        <a:prstDash val="dash"/>
      </a:ln>
    </cs:spPr>
  </cs:hiLoLine>
  <cs:leaderLine>
    <cs:lnRef idx="0"/>
    <cs:fillRef idx="0"/>
    <cs:effectRef idx="0"/>
    <cs:fontRef idx="minor">
      <a:schemeClr val="tx2"/>
    </cs:fontRef>
    <cs:spPr>
      <a:ln w="9525">
        <a:solidFill>
          <a:schemeClr val="tx2">
            <a:lumMod val="35000"/>
            <a:lumOff val="65000"/>
          </a:schemeClr>
        </a:solidFill>
      </a:ln>
    </cs:spPr>
  </cs:leaderLine>
  <cs:legend>
    <cs:lnRef idx="0"/>
    <cs:fillRef idx="0"/>
    <cs:effectRef idx="0"/>
    <cs:fontRef idx="minor">
      <a:schemeClr val="tx2"/>
    </cs:fontRef>
    <cs:defRPr sz="1197" kern="1200"/>
  </cs:legend>
  <cs:plotArea>
    <cs:lnRef idx="0"/>
    <cs:fillRef idx="0"/>
    <cs:effectRef idx="0"/>
    <cs:fontRef idx="minor">
      <a:schemeClr val="tx2"/>
    </cs:fontRef>
  </cs:plotArea>
  <cs:plotArea3D>
    <cs:lnRef idx="0"/>
    <cs:fillRef idx="0"/>
    <cs:effectRef idx="0"/>
    <cs:fontRef idx="minor">
      <a:schemeClr val="tx2"/>
    </cs:fontRef>
  </cs:plotArea3D>
  <cs:seriesAxis>
    <cs:lnRef idx="0"/>
    <cs:fillRef idx="0"/>
    <cs:effectRef idx="0"/>
    <cs:fontRef idx="minor">
      <a:schemeClr val="tx2"/>
    </cs:fontRef>
    <cs:spPr>
      <a:ln w="9525" cap="flat" cmpd="sng" algn="ctr">
        <a:solidFill>
          <a:schemeClr val="tx2">
            <a:lumMod val="15000"/>
            <a:lumOff val="85000"/>
          </a:schemeClr>
        </a:solidFill>
        <a:round/>
      </a:ln>
    </cs:spPr>
    <cs:defRPr sz="1197" kern="1200"/>
  </cs:seriesAxis>
  <cs:seriesLine>
    <cs:lnRef idx="0"/>
    <cs:fillRef idx="0"/>
    <cs:effectRef idx="0"/>
    <cs:fontRef idx="minor">
      <a:schemeClr val="tx2"/>
    </cs:fontRef>
    <cs:spPr>
      <a:ln w="9525">
        <a:solidFill>
          <a:schemeClr val="tx2">
            <a:lumMod val="60000"/>
            <a:lumOff val="40000"/>
          </a:schemeClr>
        </a:solidFill>
        <a:prstDash val="dash"/>
      </a:ln>
    </cs:spPr>
  </cs:seriesLine>
  <cs:title>
    <cs:lnRef idx="0"/>
    <cs:fillRef idx="0"/>
    <cs:effectRef idx="0"/>
    <cs:fontRef idx="minor">
      <a:schemeClr val="tx2"/>
    </cs:fontRef>
    <cs:defRPr sz="2128" b="1" kern="1200"/>
  </cs:title>
  <cs:trendline>
    <cs:lnRef idx="0">
      <cs:styleClr val="auto"/>
    </cs:lnRef>
    <cs:fillRef idx="0"/>
    <cs:effectRef idx="0"/>
    <cs:fontRef idx="minor">
      <a:schemeClr val="tx2"/>
    </cs:fontRef>
    <cs:spPr>
      <a:ln w="19050" cap="rnd">
        <a:solidFill>
          <a:schemeClr val="phClr"/>
        </a:solidFill>
        <a:prstDash val="sysDash"/>
      </a:ln>
    </cs:spPr>
  </cs:trendline>
  <cs:trendlineLabel>
    <cs:lnRef idx="0"/>
    <cs:fillRef idx="0"/>
    <cs:effectRef idx="0"/>
    <cs:fontRef idx="minor">
      <a:schemeClr val="tx2"/>
    </cs:fontRef>
    <cs:defRPr sz="1197" kern="1200"/>
  </cs:trendlineLabel>
  <cs:upBar>
    <cs:lnRef idx="0"/>
    <cs:fillRef idx="0"/>
    <cs:effectRef idx="0"/>
    <cs:fontRef idx="minor">
      <a:schemeClr val="tx2"/>
    </cs:fontRef>
    <cs:spPr>
      <a:solidFill>
        <a:schemeClr val="lt1"/>
      </a:solidFill>
      <a:ln w="9525">
        <a:solidFill>
          <a:schemeClr val="tx1">
            <a:lumMod val="15000"/>
            <a:lumOff val="85000"/>
          </a:schemeClr>
        </a:solidFill>
      </a:ln>
    </cs:spPr>
  </cs:upBar>
  <cs:valueAxis>
    <cs:lnRef idx="0"/>
    <cs:fillRef idx="0"/>
    <cs:effectRef idx="0"/>
    <cs:fontRef idx="minor">
      <a:schemeClr val="tx2"/>
    </cs:fontRef>
    <cs:defRPr sz="1197" kern="1200"/>
  </cs:valueAxis>
  <cs:wall>
    <cs:lnRef idx="0"/>
    <cs:fillRef idx="0"/>
    <cs:effectRef idx="0"/>
    <cs:fontRef idx="minor">
      <a:schemeClr val="tx2"/>
    </cs:fontRef>
  </cs:wall>
</cs:chartStyle>
</file>

<file path=ppt/charts/style14.xml><?xml version="1.0" encoding="utf-8"?>
<cs:chartStyle xmlns:cs="http://schemas.microsoft.com/office/drawing/2012/chartStyle" xmlns:a="http://schemas.openxmlformats.org/drawingml/2006/main" id="255">
  <cs:axisTitle>
    <cs:lnRef idx="0"/>
    <cs:fillRef idx="0"/>
    <cs:effectRef idx="0"/>
    <cs:fontRef idx="minor">
      <a:schemeClr val="tx2"/>
    </cs:fontRef>
    <cs:defRPr sz="1197" b="1" kern="1200"/>
  </cs:axisTitle>
  <cs:categoryAxis>
    <cs:lnRef idx="0"/>
    <cs:fillRef idx="0"/>
    <cs:effectRef idx="0"/>
    <cs:fontRef idx="minor">
      <a:schemeClr val="tx2"/>
    </cs:fontRef>
    <cs:spPr>
      <a:ln w="9525" cap="flat" cmpd="sng" algn="ctr">
        <a:solidFill>
          <a:schemeClr val="tx2">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2">
            <a:lumMod val="15000"/>
            <a:lumOff val="85000"/>
          </a:schemeClr>
        </a:solidFill>
        <a:round/>
      </a:ln>
    </cs:spPr>
    <cs:defRPr sz="1197" kern="1200"/>
  </cs:chartArea>
  <cs:dataLabel>
    <cs:lnRef idx="0"/>
    <cs:fillRef idx="0"/>
    <cs:effectRef idx="0"/>
    <cs:fontRef idx="minor">
      <a:schemeClr val="tx2"/>
    </cs:fontRef>
    <cs:defRPr sz="1197" kern="1200"/>
  </cs:dataLabel>
  <cs:dataLabelCallout>
    <cs:lnRef idx="0"/>
    <cs:fillRef idx="0"/>
    <cs:effectRef idx="0"/>
    <cs:fontRef idx="minor">
      <a:schemeClr val="dk2">
        <a:lumMod val="7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2"/>
    <cs:fontRef idx="minor">
      <a:schemeClr val="tx2"/>
    </cs:fontRef>
  </cs:dataPoint>
  <cs:dataPoint3D>
    <cs:lnRef idx="0"/>
    <cs:fillRef idx="3">
      <cs:styleClr val="auto"/>
    </cs:fillRef>
    <cs:effectRef idx="2"/>
    <cs:fontRef idx="minor">
      <a:schemeClr val="tx2"/>
    </cs:fontRef>
  </cs:dataPoint3D>
  <cs:dataPointLine>
    <cs:lnRef idx="0">
      <cs:styleClr val="auto"/>
    </cs:lnRef>
    <cs:fillRef idx="3"/>
    <cs:effectRef idx="2"/>
    <cs:fontRef idx="minor">
      <a:schemeClr val="tx2"/>
    </cs:fontRef>
    <cs:spPr>
      <a:ln w="31750" cap="rnd">
        <a:solidFill>
          <a:schemeClr val="phClr"/>
        </a:solidFill>
        <a:round/>
      </a:ln>
    </cs:spPr>
  </cs:dataPointLine>
  <cs:dataPointMarker>
    <cs:lnRef idx="0"/>
    <cs:fillRef idx="3">
      <cs:styleClr val="auto"/>
    </cs:fillRef>
    <cs:effectRef idx="2"/>
    <cs:fontRef idx="minor">
      <a:schemeClr val="tx2"/>
    </cs:fontRef>
    <cs:spPr>
      <a:ln w="12700">
        <a:solidFill>
          <a:schemeClr val="lt2"/>
        </a:solidFill>
        <a:round/>
      </a:ln>
    </cs:spPr>
  </cs:dataPointMarker>
  <cs:dataPointMarkerLayout symbol="circle" size="6"/>
  <cs:dataPointWireframe>
    <cs:lnRef idx="0">
      <cs:styleClr val="auto"/>
    </cs:lnRef>
    <cs:fillRef idx="3"/>
    <cs:effectRef idx="2"/>
    <cs:fontRef idx="minor">
      <a:schemeClr val="tx2"/>
    </cs:fontRef>
    <cs:spPr>
      <a:ln w="9525" cap="rnd">
        <a:solidFill>
          <a:schemeClr val="phClr"/>
        </a:solidFill>
        <a:round/>
      </a:ln>
    </cs:spPr>
  </cs:dataPointWireframe>
  <cs:dataTable>
    <cs:lnRef idx="0"/>
    <cs:fillRef idx="0"/>
    <cs:effectRef idx="0"/>
    <cs:fontRef idx="minor">
      <a:schemeClr val="tx2"/>
    </cs:fontRef>
    <cs:spPr>
      <a:ln w="9525">
        <a:solidFill>
          <a:schemeClr val="tx2">
            <a:lumMod val="15000"/>
            <a:lumOff val="85000"/>
          </a:schemeClr>
        </a:solidFill>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2"/>
    </cs:fontRef>
    <cs:spPr>
      <a:ln w="9525">
        <a:solidFill>
          <a:schemeClr val="tx2">
            <a:lumMod val="60000"/>
            <a:lumOff val="40000"/>
          </a:schemeClr>
        </a:solidFill>
        <a:prstDash val="dash"/>
      </a:ln>
    </cs:spPr>
  </cs:dropLine>
  <cs:errorBar>
    <cs:lnRef idx="0"/>
    <cs:fillRef idx="0"/>
    <cs:effectRef idx="0"/>
    <cs:fontRef idx="minor">
      <a:schemeClr val="tx2"/>
    </cs:fontRef>
    <cs:spPr>
      <a:ln w="9525">
        <a:solidFill>
          <a:schemeClr val="tx2">
            <a:lumMod val="75000"/>
          </a:schemeClr>
        </a:solidFill>
        <a:round/>
      </a:ln>
    </cs:spPr>
  </cs:errorBar>
  <cs:floor>
    <cs:lnRef idx="0"/>
    <cs:fillRef idx="0"/>
    <cs:effectRef idx="0"/>
    <cs:fontRef idx="minor">
      <a:schemeClr val="tx2"/>
    </cs:fontRef>
  </cs:floor>
  <cs:gridlineMajor>
    <cs:lnRef idx="0"/>
    <cs:fillRef idx="0"/>
    <cs:effectRef idx="0"/>
    <cs:fontRef idx="minor">
      <a:schemeClr val="tx2"/>
    </cs:fontRef>
    <cs:spPr>
      <a:ln w="9525" cap="flat" cmpd="sng" algn="ctr">
        <a:solidFill>
          <a:schemeClr val="tx2">
            <a:lumMod val="15000"/>
            <a:lumOff val="85000"/>
          </a:schemeClr>
        </a:solidFill>
        <a:round/>
      </a:ln>
    </cs:spPr>
  </cs:gridlineMajor>
  <cs:gridlineMinor>
    <cs:lnRef idx="0"/>
    <cs:fillRef idx="0"/>
    <cs:effectRef idx="0"/>
    <cs:fontRef idx="minor">
      <a:schemeClr val="tx2"/>
    </cs:fontRef>
    <cs:spPr>
      <a:ln>
        <a:solidFill>
          <a:schemeClr val="tx2">
            <a:lumMod val="5000"/>
            <a:lumOff val="95000"/>
          </a:schemeClr>
        </a:solidFill>
      </a:ln>
    </cs:spPr>
  </cs:gridlineMinor>
  <cs:hiLoLine>
    <cs:lnRef idx="0"/>
    <cs:fillRef idx="0"/>
    <cs:effectRef idx="0"/>
    <cs:fontRef idx="minor">
      <a:schemeClr val="tx2"/>
    </cs:fontRef>
    <cs:spPr>
      <a:ln w="9525">
        <a:solidFill>
          <a:schemeClr val="tx2">
            <a:lumMod val="60000"/>
            <a:lumOff val="40000"/>
          </a:schemeClr>
        </a:solidFill>
        <a:prstDash val="dash"/>
      </a:ln>
    </cs:spPr>
  </cs:hiLoLine>
  <cs:leaderLine>
    <cs:lnRef idx="0"/>
    <cs:fillRef idx="0"/>
    <cs:effectRef idx="0"/>
    <cs:fontRef idx="minor">
      <a:schemeClr val="tx2"/>
    </cs:fontRef>
    <cs:spPr>
      <a:ln w="9525">
        <a:solidFill>
          <a:schemeClr val="tx2">
            <a:lumMod val="35000"/>
            <a:lumOff val="65000"/>
          </a:schemeClr>
        </a:solidFill>
      </a:ln>
    </cs:spPr>
  </cs:leaderLine>
  <cs:legend>
    <cs:lnRef idx="0"/>
    <cs:fillRef idx="0"/>
    <cs:effectRef idx="0"/>
    <cs:fontRef idx="minor">
      <a:schemeClr val="tx2"/>
    </cs:fontRef>
    <cs:defRPr sz="1197" kern="1200"/>
  </cs:legend>
  <cs:plotArea>
    <cs:lnRef idx="0"/>
    <cs:fillRef idx="0"/>
    <cs:effectRef idx="0"/>
    <cs:fontRef idx="minor">
      <a:schemeClr val="tx2"/>
    </cs:fontRef>
  </cs:plotArea>
  <cs:plotArea3D>
    <cs:lnRef idx="0"/>
    <cs:fillRef idx="0"/>
    <cs:effectRef idx="0"/>
    <cs:fontRef idx="minor">
      <a:schemeClr val="tx2"/>
    </cs:fontRef>
  </cs:plotArea3D>
  <cs:seriesAxis>
    <cs:lnRef idx="0"/>
    <cs:fillRef idx="0"/>
    <cs:effectRef idx="0"/>
    <cs:fontRef idx="minor">
      <a:schemeClr val="tx2"/>
    </cs:fontRef>
    <cs:spPr>
      <a:ln w="9525" cap="flat" cmpd="sng" algn="ctr">
        <a:solidFill>
          <a:schemeClr val="tx2">
            <a:lumMod val="15000"/>
            <a:lumOff val="85000"/>
          </a:schemeClr>
        </a:solidFill>
        <a:round/>
      </a:ln>
    </cs:spPr>
    <cs:defRPr sz="1197" kern="1200"/>
  </cs:seriesAxis>
  <cs:seriesLine>
    <cs:lnRef idx="0"/>
    <cs:fillRef idx="0"/>
    <cs:effectRef idx="0"/>
    <cs:fontRef idx="minor">
      <a:schemeClr val="tx2"/>
    </cs:fontRef>
    <cs:spPr>
      <a:ln w="9525">
        <a:solidFill>
          <a:schemeClr val="tx2">
            <a:lumMod val="60000"/>
            <a:lumOff val="40000"/>
          </a:schemeClr>
        </a:solidFill>
        <a:prstDash val="dash"/>
      </a:ln>
    </cs:spPr>
  </cs:seriesLine>
  <cs:title>
    <cs:lnRef idx="0"/>
    <cs:fillRef idx="0"/>
    <cs:effectRef idx="0"/>
    <cs:fontRef idx="minor">
      <a:schemeClr val="tx2"/>
    </cs:fontRef>
    <cs:defRPr sz="2128" b="1" kern="1200"/>
  </cs:title>
  <cs:trendline>
    <cs:lnRef idx="0">
      <cs:styleClr val="auto"/>
    </cs:lnRef>
    <cs:fillRef idx="0"/>
    <cs:effectRef idx="0"/>
    <cs:fontRef idx="minor">
      <a:schemeClr val="tx2"/>
    </cs:fontRef>
    <cs:spPr>
      <a:ln w="19050" cap="rnd">
        <a:solidFill>
          <a:schemeClr val="phClr"/>
        </a:solidFill>
        <a:prstDash val="sysDash"/>
      </a:ln>
    </cs:spPr>
  </cs:trendline>
  <cs:trendlineLabel>
    <cs:lnRef idx="0"/>
    <cs:fillRef idx="0"/>
    <cs:effectRef idx="0"/>
    <cs:fontRef idx="minor">
      <a:schemeClr val="tx2"/>
    </cs:fontRef>
    <cs:defRPr sz="1197" kern="1200"/>
  </cs:trendlineLabel>
  <cs:upBar>
    <cs:lnRef idx="0"/>
    <cs:fillRef idx="0"/>
    <cs:effectRef idx="0"/>
    <cs:fontRef idx="minor">
      <a:schemeClr val="tx2"/>
    </cs:fontRef>
    <cs:spPr>
      <a:solidFill>
        <a:schemeClr val="lt1"/>
      </a:solidFill>
      <a:ln w="9525">
        <a:solidFill>
          <a:schemeClr val="tx1">
            <a:lumMod val="15000"/>
            <a:lumOff val="85000"/>
          </a:schemeClr>
        </a:solidFill>
      </a:ln>
    </cs:spPr>
  </cs:upBar>
  <cs:valueAxis>
    <cs:lnRef idx="0"/>
    <cs:fillRef idx="0"/>
    <cs:effectRef idx="0"/>
    <cs:fontRef idx="minor">
      <a:schemeClr val="tx2"/>
    </cs:fontRef>
    <cs:defRPr sz="1197" kern="1200"/>
  </cs:valueAxis>
  <cs:wall>
    <cs:lnRef idx="0"/>
    <cs:fillRef idx="0"/>
    <cs:effectRef idx="0"/>
    <cs:fontRef idx="minor">
      <a:schemeClr val="tx2"/>
    </cs:fontRef>
  </cs:wall>
</cs:chartStyle>
</file>

<file path=ppt/charts/style15.xml><?xml version="1.0" encoding="utf-8"?>
<cs:chartStyle xmlns:cs="http://schemas.microsoft.com/office/drawing/2012/chartStyle" xmlns:a="http://schemas.openxmlformats.org/drawingml/2006/main" id="255">
  <cs:axisTitle>
    <cs:lnRef idx="0"/>
    <cs:fillRef idx="0"/>
    <cs:effectRef idx="0"/>
    <cs:fontRef idx="minor">
      <a:schemeClr val="tx2"/>
    </cs:fontRef>
    <cs:defRPr sz="1197" b="1" kern="1200"/>
  </cs:axisTitle>
  <cs:categoryAxis>
    <cs:lnRef idx="0"/>
    <cs:fillRef idx="0"/>
    <cs:effectRef idx="0"/>
    <cs:fontRef idx="minor">
      <a:schemeClr val="tx2"/>
    </cs:fontRef>
    <cs:spPr>
      <a:ln w="9525" cap="flat" cmpd="sng" algn="ctr">
        <a:solidFill>
          <a:schemeClr val="tx2">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2">
            <a:lumMod val="15000"/>
            <a:lumOff val="85000"/>
          </a:schemeClr>
        </a:solidFill>
        <a:round/>
      </a:ln>
    </cs:spPr>
    <cs:defRPr sz="1197" kern="1200"/>
  </cs:chartArea>
  <cs:dataLabel>
    <cs:lnRef idx="0"/>
    <cs:fillRef idx="0"/>
    <cs:effectRef idx="0"/>
    <cs:fontRef idx="minor">
      <a:schemeClr val="tx2"/>
    </cs:fontRef>
    <cs:defRPr sz="1197" kern="1200"/>
  </cs:dataLabel>
  <cs:dataLabelCallout>
    <cs:lnRef idx="0"/>
    <cs:fillRef idx="0"/>
    <cs:effectRef idx="0"/>
    <cs:fontRef idx="minor">
      <a:schemeClr val="dk2">
        <a:lumMod val="7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2"/>
    <cs:fontRef idx="minor">
      <a:schemeClr val="tx2"/>
    </cs:fontRef>
  </cs:dataPoint>
  <cs:dataPoint3D>
    <cs:lnRef idx="0"/>
    <cs:fillRef idx="3">
      <cs:styleClr val="auto"/>
    </cs:fillRef>
    <cs:effectRef idx="2"/>
    <cs:fontRef idx="minor">
      <a:schemeClr val="tx2"/>
    </cs:fontRef>
  </cs:dataPoint3D>
  <cs:dataPointLine>
    <cs:lnRef idx="0">
      <cs:styleClr val="auto"/>
    </cs:lnRef>
    <cs:fillRef idx="3"/>
    <cs:effectRef idx="2"/>
    <cs:fontRef idx="minor">
      <a:schemeClr val="tx2"/>
    </cs:fontRef>
    <cs:spPr>
      <a:ln w="31750" cap="rnd">
        <a:solidFill>
          <a:schemeClr val="phClr"/>
        </a:solidFill>
        <a:round/>
      </a:ln>
    </cs:spPr>
  </cs:dataPointLine>
  <cs:dataPointMarker>
    <cs:lnRef idx="0"/>
    <cs:fillRef idx="3">
      <cs:styleClr val="auto"/>
    </cs:fillRef>
    <cs:effectRef idx="2"/>
    <cs:fontRef idx="minor">
      <a:schemeClr val="tx2"/>
    </cs:fontRef>
    <cs:spPr>
      <a:ln w="12700">
        <a:solidFill>
          <a:schemeClr val="lt2"/>
        </a:solidFill>
        <a:round/>
      </a:ln>
    </cs:spPr>
  </cs:dataPointMarker>
  <cs:dataPointMarkerLayout symbol="circle" size="6"/>
  <cs:dataPointWireframe>
    <cs:lnRef idx="0">
      <cs:styleClr val="auto"/>
    </cs:lnRef>
    <cs:fillRef idx="3"/>
    <cs:effectRef idx="2"/>
    <cs:fontRef idx="minor">
      <a:schemeClr val="tx2"/>
    </cs:fontRef>
    <cs:spPr>
      <a:ln w="9525" cap="rnd">
        <a:solidFill>
          <a:schemeClr val="phClr"/>
        </a:solidFill>
        <a:round/>
      </a:ln>
    </cs:spPr>
  </cs:dataPointWireframe>
  <cs:dataTable>
    <cs:lnRef idx="0"/>
    <cs:fillRef idx="0"/>
    <cs:effectRef idx="0"/>
    <cs:fontRef idx="minor">
      <a:schemeClr val="tx2"/>
    </cs:fontRef>
    <cs:spPr>
      <a:ln w="9525">
        <a:solidFill>
          <a:schemeClr val="tx2">
            <a:lumMod val="15000"/>
            <a:lumOff val="85000"/>
          </a:schemeClr>
        </a:solidFill>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2"/>
    </cs:fontRef>
    <cs:spPr>
      <a:ln w="9525">
        <a:solidFill>
          <a:schemeClr val="tx2">
            <a:lumMod val="60000"/>
            <a:lumOff val="40000"/>
          </a:schemeClr>
        </a:solidFill>
        <a:prstDash val="dash"/>
      </a:ln>
    </cs:spPr>
  </cs:dropLine>
  <cs:errorBar>
    <cs:lnRef idx="0"/>
    <cs:fillRef idx="0"/>
    <cs:effectRef idx="0"/>
    <cs:fontRef idx="minor">
      <a:schemeClr val="tx2"/>
    </cs:fontRef>
    <cs:spPr>
      <a:ln w="9525">
        <a:solidFill>
          <a:schemeClr val="tx2">
            <a:lumMod val="75000"/>
          </a:schemeClr>
        </a:solidFill>
        <a:round/>
      </a:ln>
    </cs:spPr>
  </cs:errorBar>
  <cs:floor>
    <cs:lnRef idx="0"/>
    <cs:fillRef idx="0"/>
    <cs:effectRef idx="0"/>
    <cs:fontRef idx="minor">
      <a:schemeClr val="tx2"/>
    </cs:fontRef>
  </cs:floor>
  <cs:gridlineMajor>
    <cs:lnRef idx="0"/>
    <cs:fillRef idx="0"/>
    <cs:effectRef idx="0"/>
    <cs:fontRef idx="minor">
      <a:schemeClr val="tx2"/>
    </cs:fontRef>
    <cs:spPr>
      <a:ln w="9525" cap="flat" cmpd="sng" algn="ctr">
        <a:solidFill>
          <a:schemeClr val="tx2">
            <a:lumMod val="15000"/>
            <a:lumOff val="85000"/>
          </a:schemeClr>
        </a:solidFill>
        <a:round/>
      </a:ln>
    </cs:spPr>
  </cs:gridlineMajor>
  <cs:gridlineMinor>
    <cs:lnRef idx="0"/>
    <cs:fillRef idx="0"/>
    <cs:effectRef idx="0"/>
    <cs:fontRef idx="minor">
      <a:schemeClr val="tx2"/>
    </cs:fontRef>
    <cs:spPr>
      <a:ln>
        <a:solidFill>
          <a:schemeClr val="tx2">
            <a:lumMod val="5000"/>
            <a:lumOff val="95000"/>
          </a:schemeClr>
        </a:solidFill>
      </a:ln>
    </cs:spPr>
  </cs:gridlineMinor>
  <cs:hiLoLine>
    <cs:lnRef idx="0"/>
    <cs:fillRef idx="0"/>
    <cs:effectRef idx="0"/>
    <cs:fontRef idx="minor">
      <a:schemeClr val="tx2"/>
    </cs:fontRef>
    <cs:spPr>
      <a:ln w="9525">
        <a:solidFill>
          <a:schemeClr val="tx2">
            <a:lumMod val="60000"/>
            <a:lumOff val="40000"/>
          </a:schemeClr>
        </a:solidFill>
        <a:prstDash val="dash"/>
      </a:ln>
    </cs:spPr>
  </cs:hiLoLine>
  <cs:leaderLine>
    <cs:lnRef idx="0"/>
    <cs:fillRef idx="0"/>
    <cs:effectRef idx="0"/>
    <cs:fontRef idx="minor">
      <a:schemeClr val="tx2"/>
    </cs:fontRef>
    <cs:spPr>
      <a:ln w="9525">
        <a:solidFill>
          <a:schemeClr val="tx2">
            <a:lumMod val="35000"/>
            <a:lumOff val="65000"/>
          </a:schemeClr>
        </a:solidFill>
      </a:ln>
    </cs:spPr>
  </cs:leaderLine>
  <cs:legend>
    <cs:lnRef idx="0"/>
    <cs:fillRef idx="0"/>
    <cs:effectRef idx="0"/>
    <cs:fontRef idx="minor">
      <a:schemeClr val="tx2"/>
    </cs:fontRef>
    <cs:defRPr sz="1197" kern="1200"/>
  </cs:legend>
  <cs:plotArea>
    <cs:lnRef idx="0"/>
    <cs:fillRef idx="0"/>
    <cs:effectRef idx="0"/>
    <cs:fontRef idx="minor">
      <a:schemeClr val="tx2"/>
    </cs:fontRef>
  </cs:plotArea>
  <cs:plotArea3D>
    <cs:lnRef idx="0"/>
    <cs:fillRef idx="0"/>
    <cs:effectRef idx="0"/>
    <cs:fontRef idx="minor">
      <a:schemeClr val="tx2"/>
    </cs:fontRef>
  </cs:plotArea3D>
  <cs:seriesAxis>
    <cs:lnRef idx="0"/>
    <cs:fillRef idx="0"/>
    <cs:effectRef idx="0"/>
    <cs:fontRef idx="minor">
      <a:schemeClr val="tx2"/>
    </cs:fontRef>
    <cs:spPr>
      <a:ln w="9525" cap="flat" cmpd="sng" algn="ctr">
        <a:solidFill>
          <a:schemeClr val="tx2">
            <a:lumMod val="15000"/>
            <a:lumOff val="85000"/>
          </a:schemeClr>
        </a:solidFill>
        <a:round/>
      </a:ln>
    </cs:spPr>
    <cs:defRPr sz="1197" kern="1200"/>
  </cs:seriesAxis>
  <cs:seriesLine>
    <cs:lnRef idx="0"/>
    <cs:fillRef idx="0"/>
    <cs:effectRef idx="0"/>
    <cs:fontRef idx="minor">
      <a:schemeClr val="tx2"/>
    </cs:fontRef>
    <cs:spPr>
      <a:ln w="9525">
        <a:solidFill>
          <a:schemeClr val="tx2">
            <a:lumMod val="60000"/>
            <a:lumOff val="40000"/>
          </a:schemeClr>
        </a:solidFill>
        <a:prstDash val="dash"/>
      </a:ln>
    </cs:spPr>
  </cs:seriesLine>
  <cs:title>
    <cs:lnRef idx="0"/>
    <cs:fillRef idx="0"/>
    <cs:effectRef idx="0"/>
    <cs:fontRef idx="minor">
      <a:schemeClr val="tx2"/>
    </cs:fontRef>
    <cs:defRPr sz="2128" b="1" kern="1200"/>
  </cs:title>
  <cs:trendline>
    <cs:lnRef idx="0">
      <cs:styleClr val="auto"/>
    </cs:lnRef>
    <cs:fillRef idx="0"/>
    <cs:effectRef idx="0"/>
    <cs:fontRef idx="minor">
      <a:schemeClr val="tx2"/>
    </cs:fontRef>
    <cs:spPr>
      <a:ln w="19050" cap="rnd">
        <a:solidFill>
          <a:schemeClr val="phClr"/>
        </a:solidFill>
        <a:prstDash val="sysDash"/>
      </a:ln>
    </cs:spPr>
  </cs:trendline>
  <cs:trendlineLabel>
    <cs:lnRef idx="0"/>
    <cs:fillRef idx="0"/>
    <cs:effectRef idx="0"/>
    <cs:fontRef idx="minor">
      <a:schemeClr val="tx2"/>
    </cs:fontRef>
    <cs:defRPr sz="1197" kern="1200"/>
  </cs:trendlineLabel>
  <cs:upBar>
    <cs:lnRef idx="0"/>
    <cs:fillRef idx="0"/>
    <cs:effectRef idx="0"/>
    <cs:fontRef idx="minor">
      <a:schemeClr val="tx2"/>
    </cs:fontRef>
    <cs:spPr>
      <a:solidFill>
        <a:schemeClr val="lt1"/>
      </a:solidFill>
      <a:ln w="9525">
        <a:solidFill>
          <a:schemeClr val="tx1">
            <a:lumMod val="15000"/>
            <a:lumOff val="85000"/>
          </a:schemeClr>
        </a:solidFill>
      </a:ln>
    </cs:spPr>
  </cs:upBar>
  <cs:valueAxis>
    <cs:lnRef idx="0"/>
    <cs:fillRef idx="0"/>
    <cs:effectRef idx="0"/>
    <cs:fontRef idx="minor">
      <a:schemeClr val="tx2"/>
    </cs:fontRef>
    <cs:defRPr sz="1197" kern="1200"/>
  </cs:valueAxis>
  <cs:wall>
    <cs:lnRef idx="0"/>
    <cs:fillRef idx="0"/>
    <cs:effectRef idx="0"/>
    <cs:fontRef idx="minor">
      <a:schemeClr val="tx2"/>
    </cs:fontRef>
  </cs:wall>
</cs:chartStyle>
</file>

<file path=ppt/charts/style16.xml><?xml version="1.0" encoding="utf-8"?>
<cs:chartStyle xmlns:cs="http://schemas.microsoft.com/office/drawing/2012/chartStyle" xmlns:a="http://schemas.openxmlformats.org/drawingml/2006/main" id="255">
  <cs:axisTitle>
    <cs:lnRef idx="0"/>
    <cs:fillRef idx="0"/>
    <cs:effectRef idx="0"/>
    <cs:fontRef idx="minor">
      <a:schemeClr val="tx2"/>
    </cs:fontRef>
    <cs:defRPr sz="1197" b="1" kern="1200"/>
  </cs:axisTitle>
  <cs:categoryAxis>
    <cs:lnRef idx="0"/>
    <cs:fillRef idx="0"/>
    <cs:effectRef idx="0"/>
    <cs:fontRef idx="minor">
      <a:schemeClr val="tx2"/>
    </cs:fontRef>
    <cs:spPr>
      <a:ln w="9525" cap="flat" cmpd="sng" algn="ctr">
        <a:solidFill>
          <a:schemeClr val="tx2">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2">
            <a:lumMod val="15000"/>
            <a:lumOff val="85000"/>
          </a:schemeClr>
        </a:solidFill>
        <a:round/>
      </a:ln>
    </cs:spPr>
    <cs:defRPr sz="1197" kern="1200"/>
  </cs:chartArea>
  <cs:dataLabel>
    <cs:lnRef idx="0"/>
    <cs:fillRef idx="0"/>
    <cs:effectRef idx="0"/>
    <cs:fontRef idx="minor">
      <a:schemeClr val="tx2"/>
    </cs:fontRef>
    <cs:defRPr sz="1197" kern="1200"/>
  </cs:dataLabel>
  <cs:dataLabelCallout>
    <cs:lnRef idx="0"/>
    <cs:fillRef idx="0"/>
    <cs:effectRef idx="0"/>
    <cs:fontRef idx="minor">
      <a:schemeClr val="dk2">
        <a:lumMod val="7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2"/>
    <cs:fontRef idx="minor">
      <a:schemeClr val="tx2"/>
    </cs:fontRef>
  </cs:dataPoint>
  <cs:dataPoint3D>
    <cs:lnRef idx="0"/>
    <cs:fillRef idx="3">
      <cs:styleClr val="auto"/>
    </cs:fillRef>
    <cs:effectRef idx="2"/>
    <cs:fontRef idx="minor">
      <a:schemeClr val="tx2"/>
    </cs:fontRef>
  </cs:dataPoint3D>
  <cs:dataPointLine>
    <cs:lnRef idx="0">
      <cs:styleClr val="auto"/>
    </cs:lnRef>
    <cs:fillRef idx="3"/>
    <cs:effectRef idx="2"/>
    <cs:fontRef idx="minor">
      <a:schemeClr val="tx2"/>
    </cs:fontRef>
    <cs:spPr>
      <a:ln w="31750" cap="rnd">
        <a:solidFill>
          <a:schemeClr val="phClr"/>
        </a:solidFill>
        <a:round/>
      </a:ln>
    </cs:spPr>
  </cs:dataPointLine>
  <cs:dataPointMarker>
    <cs:lnRef idx="0"/>
    <cs:fillRef idx="3">
      <cs:styleClr val="auto"/>
    </cs:fillRef>
    <cs:effectRef idx="2"/>
    <cs:fontRef idx="minor">
      <a:schemeClr val="tx2"/>
    </cs:fontRef>
    <cs:spPr>
      <a:ln w="12700">
        <a:solidFill>
          <a:schemeClr val="lt2"/>
        </a:solidFill>
        <a:round/>
      </a:ln>
    </cs:spPr>
  </cs:dataPointMarker>
  <cs:dataPointMarkerLayout symbol="circle" size="6"/>
  <cs:dataPointWireframe>
    <cs:lnRef idx="0">
      <cs:styleClr val="auto"/>
    </cs:lnRef>
    <cs:fillRef idx="3"/>
    <cs:effectRef idx="2"/>
    <cs:fontRef idx="minor">
      <a:schemeClr val="tx2"/>
    </cs:fontRef>
    <cs:spPr>
      <a:ln w="9525" cap="rnd">
        <a:solidFill>
          <a:schemeClr val="phClr"/>
        </a:solidFill>
        <a:round/>
      </a:ln>
    </cs:spPr>
  </cs:dataPointWireframe>
  <cs:dataTable>
    <cs:lnRef idx="0"/>
    <cs:fillRef idx="0"/>
    <cs:effectRef idx="0"/>
    <cs:fontRef idx="minor">
      <a:schemeClr val="tx2"/>
    </cs:fontRef>
    <cs:spPr>
      <a:ln w="9525">
        <a:solidFill>
          <a:schemeClr val="tx2">
            <a:lumMod val="15000"/>
            <a:lumOff val="85000"/>
          </a:schemeClr>
        </a:solidFill>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2"/>
    </cs:fontRef>
    <cs:spPr>
      <a:ln w="9525">
        <a:solidFill>
          <a:schemeClr val="tx2">
            <a:lumMod val="60000"/>
            <a:lumOff val="40000"/>
          </a:schemeClr>
        </a:solidFill>
        <a:prstDash val="dash"/>
      </a:ln>
    </cs:spPr>
  </cs:dropLine>
  <cs:errorBar>
    <cs:lnRef idx="0"/>
    <cs:fillRef idx="0"/>
    <cs:effectRef idx="0"/>
    <cs:fontRef idx="minor">
      <a:schemeClr val="tx2"/>
    </cs:fontRef>
    <cs:spPr>
      <a:ln w="9525">
        <a:solidFill>
          <a:schemeClr val="tx2">
            <a:lumMod val="75000"/>
          </a:schemeClr>
        </a:solidFill>
        <a:round/>
      </a:ln>
    </cs:spPr>
  </cs:errorBar>
  <cs:floor>
    <cs:lnRef idx="0"/>
    <cs:fillRef idx="0"/>
    <cs:effectRef idx="0"/>
    <cs:fontRef idx="minor">
      <a:schemeClr val="tx2"/>
    </cs:fontRef>
  </cs:floor>
  <cs:gridlineMajor>
    <cs:lnRef idx="0"/>
    <cs:fillRef idx="0"/>
    <cs:effectRef idx="0"/>
    <cs:fontRef idx="minor">
      <a:schemeClr val="tx2"/>
    </cs:fontRef>
    <cs:spPr>
      <a:ln w="9525" cap="flat" cmpd="sng" algn="ctr">
        <a:solidFill>
          <a:schemeClr val="tx2">
            <a:lumMod val="15000"/>
            <a:lumOff val="85000"/>
          </a:schemeClr>
        </a:solidFill>
        <a:round/>
      </a:ln>
    </cs:spPr>
  </cs:gridlineMajor>
  <cs:gridlineMinor>
    <cs:lnRef idx="0"/>
    <cs:fillRef idx="0"/>
    <cs:effectRef idx="0"/>
    <cs:fontRef idx="minor">
      <a:schemeClr val="tx2"/>
    </cs:fontRef>
    <cs:spPr>
      <a:ln>
        <a:solidFill>
          <a:schemeClr val="tx2">
            <a:lumMod val="5000"/>
            <a:lumOff val="95000"/>
          </a:schemeClr>
        </a:solidFill>
      </a:ln>
    </cs:spPr>
  </cs:gridlineMinor>
  <cs:hiLoLine>
    <cs:lnRef idx="0"/>
    <cs:fillRef idx="0"/>
    <cs:effectRef idx="0"/>
    <cs:fontRef idx="minor">
      <a:schemeClr val="tx2"/>
    </cs:fontRef>
    <cs:spPr>
      <a:ln w="9525">
        <a:solidFill>
          <a:schemeClr val="tx2">
            <a:lumMod val="60000"/>
            <a:lumOff val="40000"/>
          </a:schemeClr>
        </a:solidFill>
        <a:prstDash val="dash"/>
      </a:ln>
    </cs:spPr>
  </cs:hiLoLine>
  <cs:leaderLine>
    <cs:lnRef idx="0"/>
    <cs:fillRef idx="0"/>
    <cs:effectRef idx="0"/>
    <cs:fontRef idx="minor">
      <a:schemeClr val="tx2"/>
    </cs:fontRef>
    <cs:spPr>
      <a:ln w="9525">
        <a:solidFill>
          <a:schemeClr val="tx2">
            <a:lumMod val="35000"/>
            <a:lumOff val="65000"/>
          </a:schemeClr>
        </a:solidFill>
      </a:ln>
    </cs:spPr>
  </cs:leaderLine>
  <cs:legend>
    <cs:lnRef idx="0"/>
    <cs:fillRef idx="0"/>
    <cs:effectRef idx="0"/>
    <cs:fontRef idx="minor">
      <a:schemeClr val="tx2"/>
    </cs:fontRef>
    <cs:defRPr sz="1197" kern="1200"/>
  </cs:legend>
  <cs:plotArea>
    <cs:lnRef idx="0"/>
    <cs:fillRef idx="0"/>
    <cs:effectRef idx="0"/>
    <cs:fontRef idx="minor">
      <a:schemeClr val="tx2"/>
    </cs:fontRef>
  </cs:plotArea>
  <cs:plotArea3D>
    <cs:lnRef idx="0"/>
    <cs:fillRef idx="0"/>
    <cs:effectRef idx="0"/>
    <cs:fontRef idx="minor">
      <a:schemeClr val="tx2"/>
    </cs:fontRef>
  </cs:plotArea3D>
  <cs:seriesAxis>
    <cs:lnRef idx="0"/>
    <cs:fillRef idx="0"/>
    <cs:effectRef idx="0"/>
    <cs:fontRef idx="minor">
      <a:schemeClr val="tx2"/>
    </cs:fontRef>
    <cs:spPr>
      <a:ln w="9525" cap="flat" cmpd="sng" algn="ctr">
        <a:solidFill>
          <a:schemeClr val="tx2">
            <a:lumMod val="15000"/>
            <a:lumOff val="85000"/>
          </a:schemeClr>
        </a:solidFill>
        <a:round/>
      </a:ln>
    </cs:spPr>
    <cs:defRPr sz="1197" kern="1200"/>
  </cs:seriesAxis>
  <cs:seriesLine>
    <cs:lnRef idx="0"/>
    <cs:fillRef idx="0"/>
    <cs:effectRef idx="0"/>
    <cs:fontRef idx="minor">
      <a:schemeClr val="tx2"/>
    </cs:fontRef>
    <cs:spPr>
      <a:ln w="9525">
        <a:solidFill>
          <a:schemeClr val="tx2">
            <a:lumMod val="60000"/>
            <a:lumOff val="40000"/>
          </a:schemeClr>
        </a:solidFill>
        <a:prstDash val="dash"/>
      </a:ln>
    </cs:spPr>
  </cs:seriesLine>
  <cs:title>
    <cs:lnRef idx="0"/>
    <cs:fillRef idx="0"/>
    <cs:effectRef idx="0"/>
    <cs:fontRef idx="minor">
      <a:schemeClr val="tx2"/>
    </cs:fontRef>
    <cs:defRPr sz="2128" b="1" kern="1200"/>
  </cs:title>
  <cs:trendline>
    <cs:lnRef idx="0">
      <cs:styleClr val="auto"/>
    </cs:lnRef>
    <cs:fillRef idx="0"/>
    <cs:effectRef idx="0"/>
    <cs:fontRef idx="minor">
      <a:schemeClr val="tx2"/>
    </cs:fontRef>
    <cs:spPr>
      <a:ln w="19050" cap="rnd">
        <a:solidFill>
          <a:schemeClr val="phClr"/>
        </a:solidFill>
        <a:prstDash val="sysDash"/>
      </a:ln>
    </cs:spPr>
  </cs:trendline>
  <cs:trendlineLabel>
    <cs:lnRef idx="0"/>
    <cs:fillRef idx="0"/>
    <cs:effectRef idx="0"/>
    <cs:fontRef idx="minor">
      <a:schemeClr val="tx2"/>
    </cs:fontRef>
    <cs:defRPr sz="1197" kern="1200"/>
  </cs:trendlineLabel>
  <cs:upBar>
    <cs:lnRef idx="0"/>
    <cs:fillRef idx="0"/>
    <cs:effectRef idx="0"/>
    <cs:fontRef idx="minor">
      <a:schemeClr val="tx2"/>
    </cs:fontRef>
    <cs:spPr>
      <a:solidFill>
        <a:schemeClr val="lt1"/>
      </a:solidFill>
      <a:ln w="9525">
        <a:solidFill>
          <a:schemeClr val="tx1">
            <a:lumMod val="15000"/>
            <a:lumOff val="85000"/>
          </a:schemeClr>
        </a:solidFill>
      </a:ln>
    </cs:spPr>
  </cs:upBar>
  <cs:valueAxis>
    <cs:lnRef idx="0"/>
    <cs:fillRef idx="0"/>
    <cs:effectRef idx="0"/>
    <cs:fontRef idx="minor">
      <a:schemeClr val="tx2"/>
    </cs:fontRef>
    <cs:defRPr sz="1197" kern="1200"/>
  </cs:valueAxis>
  <cs:wall>
    <cs:lnRef idx="0"/>
    <cs:fillRef idx="0"/>
    <cs:effectRef idx="0"/>
    <cs:fontRef idx="minor">
      <a:schemeClr val="tx2"/>
    </cs:fontRef>
  </cs:wall>
</cs:chartStyle>
</file>

<file path=ppt/charts/style17.xml><?xml version="1.0" encoding="utf-8"?>
<cs:chartStyle xmlns:cs="http://schemas.microsoft.com/office/drawing/2012/chartStyle" xmlns:a="http://schemas.openxmlformats.org/drawingml/2006/main" id="255">
  <cs:axisTitle>
    <cs:lnRef idx="0"/>
    <cs:fillRef idx="0"/>
    <cs:effectRef idx="0"/>
    <cs:fontRef idx="minor">
      <a:schemeClr val="tx2"/>
    </cs:fontRef>
    <cs:defRPr sz="1197" b="1" kern="1200"/>
  </cs:axisTitle>
  <cs:categoryAxis>
    <cs:lnRef idx="0"/>
    <cs:fillRef idx="0"/>
    <cs:effectRef idx="0"/>
    <cs:fontRef idx="minor">
      <a:schemeClr val="tx2"/>
    </cs:fontRef>
    <cs:spPr>
      <a:ln w="9525" cap="flat" cmpd="sng" algn="ctr">
        <a:solidFill>
          <a:schemeClr val="tx2">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2">
            <a:lumMod val="15000"/>
            <a:lumOff val="85000"/>
          </a:schemeClr>
        </a:solidFill>
        <a:round/>
      </a:ln>
    </cs:spPr>
    <cs:defRPr sz="1197" kern="1200"/>
  </cs:chartArea>
  <cs:dataLabel>
    <cs:lnRef idx="0"/>
    <cs:fillRef idx="0"/>
    <cs:effectRef idx="0"/>
    <cs:fontRef idx="minor">
      <a:schemeClr val="tx2"/>
    </cs:fontRef>
    <cs:defRPr sz="1197" kern="1200"/>
  </cs:dataLabel>
  <cs:dataLabelCallout>
    <cs:lnRef idx="0"/>
    <cs:fillRef idx="0"/>
    <cs:effectRef idx="0"/>
    <cs:fontRef idx="minor">
      <a:schemeClr val="dk2">
        <a:lumMod val="7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2"/>
    <cs:fontRef idx="minor">
      <a:schemeClr val="tx2"/>
    </cs:fontRef>
  </cs:dataPoint>
  <cs:dataPoint3D>
    <cs:lnRef idx="0"/>
    <cs:fillRef idx="3">
      <cs:styleClr val="auto"/>
    </cs:fillRef>
    <cs:effectRef idx="2"/>
    <cs:fontRef idx="minor">
      <a:schemeClr val="tx2"/>
    </cs:fontRef>
  </cs:dataPoint3D>
  <cs:dataPointLine>
    <cs:lnRef idx="0">
      <cs:styleClr val="auto"/>
    </cs:lnRef>
    <cs:fillRef idx="3"/>
    <cs:effectRef idx="2"/>
    <cs:fontRef idx="minor">
      <a:schemeClr val="tx2"/>
    </cs:fontRef>
    <cs:spPr>
      <a:ln w="31750" cap="rnd">
        <a:solidFill>
          <a:schemeClr val="phClr"/>
        </a:solidFill>
        <a:round/>
      </a:ln>
    </cs:spPr>
  </cs:dataPointLine>
  <cs:dataPointMarker>
    <cs:lnRef idx="0"/>
    <cs:fillRef idx="3">
      <cs:styleClr val="auto"/>
    </cs:fillRef>
    <cs:effectRef idx="2"/>
    <cs:fontRef idx="minor">
      <a:schemeClr val="tx2"/>
    </cs:fontRef>
    <cs:spPr>
      <a:ln w="12700">
        <a:solidFill>
          <a:schemeClr val="lt2"/>
        </a:solidFill>
        <a:round/>
      </a:ln>
    </cs:spPr>
  </cs:dataPointMarker>
  <cs:dataPointMarkerLayout symbol="circle" size="6"/>
  <cs:dataPointWireframe>
    <cs:lnRef idx="0">
      <cs:styleClr val="auto"/>
    </cs:lnRef>
    <cs:fillRef idx="3"/>
    <cs:effectRef idx="2"/>
    <cs:fontRef idx="minor">
      <a:schemeClr val="tx2"/>
    </cs:fontRef>
    <cs:spPr>
      <a:ln w="9525" cap="rnd">
        <a:solidFill>
          <a:schemeClr val="phClr"/>
        </a:solidFill>
        <a:round/>
      </a:ln>
    </cs:spPr>
  </cs:dataPointWireframe>
  <cs:dataTable>
    <cs:lnRef idx="0"/>
    <cs:fillRef idx="0"/>
    <cs:effectRef idx="0"/>
    <cs:fontRef idx="minor">
      <a:schemeClr val="tx2"/>
    </cs:fontRef>
    <cs:spPr>
      <a:ln w="9525">
        <a:solidFill>
          <a:schemeClr val="tx2">
            <a:lumMod val="15000"/>
            <a:lumOff val="85000"/>
          </a:schemeClr>
        </a:solidFill>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2"/>
    </cs:fontRef>
    <cs:spPr>
      <a:ln w="9525">
        <a:solidFill>
          <a:schemeClr val="tx2">
            <a:lumMod val="60000"/>
            <a:lumOff val="40000"/>
          </a:schemeClr>
        </a:solidFill>
        <a:prstDash val="dash"/>
      </a:ln>
    </cs:spPr>
  </cs:dropLine>
  <cs:errorBar>
    <cs:lnRef idx="0"/>
    <cs:fillRef idx="0"/>
    <cs:effectRef idx="0"/>
    <cs:fontRef idx="minor">
      <a:schemeClr val="tx2"/>
    </cs:fontRef>
    <cs:spPr>
      <a:ln w="9525">
        <a:solidFill>
          <a:schemeClr val="tx2">
            <a:lumMod val="75000"/>
          </a:schemeClr>
        </a:solidFill>
        <a:round/>
      </a:ln>
    </cs:spPr>
  </cs:errorBar>
  <cs:floor>
    <cs:lnRef idx="0"/>
    <cs:fillRef idx="0"/>
    <cs:effectRef idx="0"/>
    <cs:fontRef idx="minor">
      <a:schemeClr val="tx2"/>
    </cs:fontRef>
  </cs:floor>
  <cs:gridlineMajor>
    <cs:lnRef idx="0"/>
    <cs:fillRef idx="0"/>
    <cs:effectRef idx="0"/>
    <cs:fontRef idx="minor">
      <a:schemeClr val="tx2"/>
    </cs:fontRef>
    <cs:spPr>
      <a:ln w="9525" cap="flat" cmpd="sng" algn="ctr">
        <a:solidFill>
          <a:schemeClr val="tx2">
            <a:lumMod val="15000"/>
            <a:lumOff val="85000"/>
          </a:schemeClr>
        </a:solidFill>
        <a:round/>
      </a:ln>
    </cs:spPr>
  </cs:gridlineMajor>
  <cs:gridlineMinor>
    <cs:lnRef idx="0"/>
    <cs:fillRef idx="0"/>
    <cs:effectRef idx="0"/>
    <cs:fontRef idx="minor">
      <a:schemeClr val="tx2"/>
    </cs:fontRef>
    <cs:spPr>
      <a:ln>
        <a:solidFill>
          <a:schemeClr val="tx2">
            <a:lumMod val="5000"/>
            <a:lumOff val="95000"/>
          </a:schemeClr>
        </a:solidFill>
      </a:ln>
    </cs:spPr>
  </cs:gridlineMinor>
  <cs:hiLoLine>
    <cs:lnRef idx="0"/>
    <cs:fillRef idx="0"/>
    <cs:effectRef idx="0"/>
    <cs:fontRef idx="minor">
      <a:schemeClr val="tx2"/>
    </cs:fontRef>
    <cs:spPr>
      <a:ln w="9525">
        <a:solidFill>
          <a:schemeClr val="tx2">
            <a:lumMod val="60000"/>
            <a:lumOff val="40000"/>
          </a:schemeClr>
        </a:solidFill>
        <a:prstDash val="dash"/>
      </a:ln>
    </cs:spPr>
  </cs:hiLoLine>
  <cs:leaderLine>
    <cs:lnRef idx="0"/>
    <cs:fillRef idx="0"/>
    <cs:effectRef idx="0"/>
    <cs:fontRef idx="minor">
      <a:schemeClr val="tx2"/>
    </cs:fontRef>
    <cs:spPr>
      <a:ln w="9525">
        <a:solidFill>
          <a:schemeClr val="tx2">
            <a:lumMod val="35000"/>
            <a:lumOff val="65000"/>
          </a:schemeClr>
        </a:solidFill>
      </a:ln>
    </cs:spPr>
  </cs:leaderLine>
  <cs:legend>
    <cs:lnRef idx="0"/>
    <cs:fillRef idx="0"/>
    <cs:effectRef idx="0"/>
    <cs:fontRef idx="minor">
      <a:schemeClr val="tx2"/>
    </cs:fontRef>
    <cs:defRPr sz="1197" kern="1200"/>
  </cs:legend>
  <cs:plotArea>
    <cs:lnRef idx="0"/>
    <cs:fillRef idx="0"/>
    <cs:effectRef idx="0"/>
    <cs:fontRef idx="minor">
      <a:schemeClr val="tx2"/>
    </cs:fontRef>
  </cs:plotArea>
  <cs:plotArea3D>
    <cs:lnRef idx="0"/>
    <cs:fillRef idx="0"/>
    <cs:effectRef idx="0"/>
    <cs:fontRef idx="minor">
      <a:schemeClr val="tx2"/>
    </cs:fontRef>
  </cs:plotArea3D>
  <cs:seriesAxis>
    <cs:lnRef idx="0"/>
    <cs:fillRef idx="0"/>
    <cs:effectRef idx="0"/>
    <cs:fontRef idx="minor">
      <a:schemeClr val="tx2"/>
    </cs:fontRef>
    <cs:spPr>
      <a:ln w="9525" cap="flat" cmpd="sng" algn="ctr">
        <a:solidFill>
          <a:schemeClr val="tx2">
            <a:lumMod val="15000"/>
            <a:lumOff val="85000"/>
          </a:schemeClr>
        </a:solidFill>
        <a:round/>
      </a:ln>
    </cs:spPr>
    <cs:defRPr sz="1197" kern="1200"/>
  </cs:seriesAxis>
  <cs:seriesLine>
    <cs:lnRef idx="0"/>
    <cs:fillRef idx="0"/>
    <cs:effectRef idx="0"/>
    <cs:fontRef idx="minor">
      <a:schemeClr val="tx2"/>
    </cs:fontRef>
    <cs:spPr>
      <a:ln w="9525">
        <a:solidFill>
          <a:schemeClr val="tx2">
            <a:lumMod val="60000"/>
            <a:lumOff val="40000"/>
          </a:schemeClr>
        </a:solidFill>
        <a:prstDash val="dash"/>
      </a:ln>
    </cs:spPr>
  </cs:seriesLine>
  <cs:title>
    <cs:lnRef idx="0"/>
    <cs:fillRef idx="0"/>
    <cs:effectRef idx="0"/>
    <cs:fontRef idx="minor">
      <a:schemeClr val="tx2"/>
    </cs:fontRef>
    <cs:defRPr sz="2128" b="1" kern="1200"/>
  </cs:title>
  <cs:trendline>
    <cs:lnRef idx="0">
      <cs:styleClr val="auto"/>
    </cs:lnRef>
    <cs:fillRef idx="0"/>
    <cs:effectRef idx="0"/>
    <cs:fontRef idx="minor">
      <a:schemeClr val="tx2"/>
    </cs:fontRef>
    <cs:spPr>
      <a:ln w="19050" cap="rnd">
        <a:solidFill>
          <a:schemeClr val="phClr"/>
        </a:solidFill>
        <a:prstDash val="sysDash"/>
      </a:ln>
    </cs:spPr>
  </cs:trendline>
  <cs:trendlineLabel>
    <cs:lnRef idx="0"/>
    <cs:fillRef idx="0"/>
    <cs:effectRef idx="0"/>
    <cs:fontRef idx="minor">
      <a:schemeClr val="tx2"/>
    </cs:fontRef>
    <cs:defRPr sz="1197" kern="1200"/>
  </cs:trendlineLabel>
  <cs:upBar>
    <cs:lnRef idx="0"/>
    <cs:fillRef idx="0"/>
    <cs:effectRef idx="0"/>
    <cs:fontRef idx="minor">
      <a:schemeClr val="tx2"/>
    </cs:fontRef>
    <cs:spPr>
      <a:solidFill>
        <a:schemeClr val="lt1"/>
      </a:solidFill>
      <a:ln w="9525">
        <a:solidFill>
          <a:schemeClr val="tx1">
            <a:lumMod val="15000"/>
            <a:lumOff val="85000"/>
          </a:schemeClr>
        </a:solidFill>
      </a:ln>
    </cs:spPr>
  </cs:upBar>
  <cs:valueAxis>
    <cs:lnRef idx="0"/>
    <cs:fillRef idx="0"/>
    <cs:effectRef idx="0"/>
    <cs:fontRef idx="minor">
      <a:schemeClr val="tx2"/>
    </cs:fontRef>
    <cs:defRPr sz="1197" kern="1200"/>
  </cs:valueAxis>
  <cs:wall>
    <cs:lnRef idx="0"/>
    <cs:fillRef idx="0"/>
    <cs:effectRef idx="0"/>
    <cs:fontRef idx="minor">
      <a:schemeClr val="tx2"/>
    </cs:fontRef>
  </cs:wall>
</cs:chartStyle>
</file>

<file path=ppt/charts/style2.xml><?xml version="1.0" encoding="utf-8"?>
<cs:chartStyle xmlns:cs="http://schemas.microsoft.com/office/drawing/2012/chartStyle" xmlns:a="http://schemas.openxmlformats.org/drawingml/2006/main" id="255">
  <cs:axisTitle>
    <cs:lnRef idx="0"/>
    <cs:fillRef idx="0"/>
    <cs:effectRef idx="0"/>
    <cs:fontRef idx="minor">
      <a:schemeClr val="tx2"/>
    </cs:fontRef>
    <cs:defRPr sz="1197" b="1" kern="1200"/>
  </cs:axisTitle>
  <cs:categoryAxis>
    <cs:lnRef idx="0"/>
    <cs:fillRef idx="0"/>
    <cs:effectRef idx="0"/>
    <cs:fontRef idx="minor">
      <a:schemeClr val="tx2"/>
    </cs:fontRef>
    <cs:spPr>
      <a:ln w="9525" cap="flat" cmpd="sng" algn="ctr">
        <a:solidFill>
          <a:schemeClr val="tx2">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2">
            <a:lumMod val="15000"/>
            <a:lumOff val="85000"/>
          </a:schemeClr>
        </a:solidFill>
        <a:round/>
      </a:ln>
    </cs:spPr>
    <cs:defRPr sz="1197" kern="1200"/>
  </cs:chartArea>
  <cs:dataLabel>
    <cs:lnRef idx="0"/>
    <cs:fillRef idx="0"/>
    <cs:effectRef idx="0"/>
    <cs:fontRef idx="minor">
      <a:schemeClr val="tx2"/>
    </cs:fontRef>
    <cs:defRPr sz="1197" kern="1200"/>
  </cs:dataLabel>
  <cs:dataLabelCallout>
    <cs:lnRef idx="0"/>
    <cs:fillRef idx="0"/>
    <cs:effectRef idx="0"/>
    <cs:fontRef idx="minor">
      <a:schemeClr val="dk2">
        <a:lumMod val="7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2"/>
    <cs:fontRef idx="minor">
      <a:schemeClr val="tx2"/>
    </cs:fontRef>
  </cs:dataPoint>
  <cs:dataPoint3D>
    <cs:lnRef idx="0"/>
    <cs:fillRef idx="3">
      <cs:styleClr val="auto"/>
    </cs:fillRef>
    <cs:effectRef idx="2"/>
    <cs:fontRef idx="minor">
      <a:schemeClr val="tx2"/>
    </cs:fontRef>
  </cs:dataPoint3D>
  <cs:dataPointLine>
    <cs:lnRef idx="0">
      <cs:styleClr val="auto"/>
    </cs:lnRef>
    <cs:fillRef idx="3"/>
    <cs:effectRef idx="2"/>
    <cs:fontRef idx="minor">
      <a:schemeClr val="tx2"/>
    </cs:fontRef>
    <cs:spPr>
      <a:ln w="31750" cap="rnd">
        <a:solidFill>
          <a:schemeClr val="phClr"/>
        </a:solidFill>
        <a:round/>
      </a:ln>
    </cs:spPr>
  </cs:dataPointLine>
  <cs:dataPointMarker>
    <cs:lnRef idx="0"/>
    <cs:fillRef idx="3">
      <cs:styleClr val="auto"/>
    </cs:fillRef>
    <cs:effectRef idx="2"/>
    <cs:fontRef idx="minor">
      <a:schemeClr val="tx2"/>
    </cs:fontRef>
    <cs:spPr>
      <a:ln w="12700">
        <a:solidFill>
          <a:schemeClr val="lt2"/>
        </a:solidFill>
        <a:round/>
      </a:ln>
    </cs:spPr>
  </cs:dataPointMarker>
  <cs:dataPointMarkerLayout symbol="circle" size="6"/>
  <cs:dataPointWireframe>
    <cs:lnRef idx="0">
      <cs:styleClr val="auto"/>
    </cs:lnRef>
    <cs:fillRef idx="3"/>
    <cs:effectRef idx="2"/>
    <cs:fontRef idx="minor">
      <a:schemeClr val="tx2"/>
    </cs:fontRef>
    <cs:spPr>
      <a:ln w="9525" cap="rnd">
        <a:solidFill>
          <a:schemeClr val="phClr"/>
        </a:solidFill>
        <a:round/>
      </a:ln>
    </cs:spPr>
  </cs:dataPointWireframe>
  <cs:dataTable>
    <cs:lnRef idx="0"/>
    <cs:fillRef idx="0"/>
    <cs:effectRef idx="0"/>
    <cs:fontRef idx="minor">
      <a:schemeClr val="tx2"/>
    </cs:fontRef>
    <cs:spPr>
      <a:ln w="9525">
        <a:solidFill>
          <a:schemeClr val="tx2">
            <a:lumMod val="15000"/>
            <a:lumOff val="85000"/>
          </a:schemeClr>
        </a:solidFill>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2"/>
    </cs:fontRef>
    <cs:spPr>
      <a:ln w="9525">
        <a:solidFill>
          <a:schemeClr val="tx2">
            <a:lumMod val="60000"/>
            <a:lumOff val="40000"/>
          </a:schemeClr>
        </a:solidFill>
        <a:prstDash val="dash"/>
      </a:ln>
    </cs:spPr>
  </cs:dropLine>
  <cs:errorBar>
    <cs:lnRef idx="0"/>
    <cs:fillRef idx="0"/>
    <cs:effectRef idx="0"/>
    <cs:fontRef idx="minor">
      <a:schemeClr val="tx2"/>
    </cs:fontRef>
    <cs:spPr>
      <a:ln w="9525">
        <a:solidFill>
          <a:schemeClr val="tx2">
            <a:lumMod val="75000"/>
          </a:schemeClr>
        </a:solidFill>
        <a:round/>
      </a:ln>
    </cs:spPr>
  </cs:errorBar>
  <cs:floor>
    <cs:lnRef idx="0"/>
    <cs:fillRef idx="0"/>
    <cs:effectRef idx="0"/>
    <cs:fontRef idx="minor">
      <a:schemeClr val="tx2"/>
    </cs:fontRef>
  </cs:floor>
  <cs:gridlineMajor>
    <cs:lnRef idx="0"/>
    <cs:fillRef idx="0"/>
    <cs:effectRef idx="0"/>
    <cs:fontRef idx="minor">
      <a:schemeClr val="tx2"/>
    </cs:fontRef>
    <cs:spPr>
      <a:ln w="9525" cap="flat" cmpd="sng" algn="ctr">
        <a:solidFill>
          <a:schemeClr val="tx2">
            <a:lumMod val="15000"/>
            <a:lumOff val="85000"/>
          </a:schemeClr>
        </a:solidFill>
        <a:round/>
      </a:ln>
    </cs:spPr>
  </cs:gridlineMajor>
  <cs:gridlineMinor>
    <cs:lnRef idx="0"/>
    <cs:fillRef idx="0"/>
    <cs:effectRef idx="0"/>
    <cs:fontRef idx="minor">
      <a:schemeClr val="tx2"/>
    </cs:fontRef>
    <cs:spPr>
      <a:ln>
        <a:solidFill>
          <a:schemeClr val="tx2">
            <a:lumMod val="5000"/>
            <a:lumOff val="95000"/>
          </a:schemeClr>
        </a:solidFill>
      </a:ln>
    </cs:spPr>
  </cs:gridlineMinor>
  <cs:hiLoLine>
    <cs:lnRef idx="0"/>
    <cs:fillRef idx="0"/>
    <cs:effectRef idx="0"/>
    <cs:fontRef idx="minor">
      <a:schemeClr val="tx2"/>
    </cs:fontRef>
    <cs:spPr>
      <a:ln w="9525">
        <a:solidFill>
          <a:schemeClr val="tx2">
            <a:lumMod val="60000"/>
            <a:lumOff val="40000"/>
          </a:schemeClr>
        </a:solidFill>
        <a:prstDash val="dash"/>
      </a:ln>
    </cs:spPr>
  </cs:hiLoLine>
  <cs:leaderLine>
    <cs:lnRef idx="0"/>
    <cs:fillRef idx="0"/>
    <cs:effectRef idx="0"/>
    <cs:fontRef idx="minor">
      <a:schemeClr val="tx2"/>
    </cs:fontRef>
    <cs:spPr>
      <a:ln w="9525">
        <a:solidFill>
          <a:schemeClr val="tx2">
            <a:lumMod val="35000"/>
            <a:lumOff val="65000"/>
          </a:schemeClr>
        </a:solidFill>
      </a:ln>
    </cs:spPr>
  </cs:leaderLine>
  <cs:legend>
    <cs:lnRef idx="0"/>
    <cs:fillRef idx="0"/>
    <cs:effectRef idx="0"/>
    <cs:fontRef idx="minor">
      <a:schemeClr val="tx2"/>
    </cs:fontRef>
    <cs:defRPr sz="1197" kern="1200"/>
  </cs:legend>
  <cs:plotArea>
    <cs:lnRef idx="0"/>
    <cs:fillRef idx="0"/>
    <cs:effectRef idx="0"/>
    <cs:fontRef idx="minor">
      <a:schemeClr val="tx2"/>
    </cs:fontRef>
  </cs:plotArea>
  <cs:plotArea3D>
    <cs:lnRef idx="0"/>
    <cs:fillRef idx="0"/>
    <cs:effectRef idx="0"/>
    <cs:fontRef idx="minor">
      <a:schemeClr val="tx2"/>
    </cs:fontRef>
  </cs:plotArea3D>
  <cs:seriesAxis>
    <cs:lnRef idx="0"/>
    <cs:fillRef idx="0"/>
    <cs:effectRef idx="0"/>
    <cs:fontRef idx="minor">
      <a:schemeClr val="tx2"/>
    </cs:fontRef>
    <cs:spPr>
      <a:ln w="9525" cap="flat" cmpd="sng" algn="ctr">
        <a:solidFill>
          <a:schemeClr val="tx2">
            <a:lumMod val="15000"/>
            <a:lumOff val="85000"/>
          </a:schemeClr>
        </a:solidFill>
        <a:round/>
      </a:ln>
    </cs:spPr>
    <cs:defRPr sz="1197" kern="1200"/>
  </cs:seriesAxis>
  <cs:seriesLine>
    <cs:lnRef idx="0"/>
    <cs:fillRef idx="0"/>
    <cs:effectRef idx="0"/>
    <cs:fontRef idx="minor">
      <a:schemeClr val="tx2"/>
    </cs:fontRef>
    <cs:spPr>
      <a:ln w="9525">
        <a:solidFill>
          <a:schemeClr val="tx2">
            <a:lumMod val="60000"/>
            <a:lumOff val="40000"/>
          </a:schemeClr>
        </a:solidFill>
        <a:prstDash val="dash"/>
      </a:ln>
    </cs:spPr>
  </cs:seriesLine>
  <cs:title>
    <cs:lnRef idx="0"/>
    <cs:fillRef idx="0"/>
    <cs:effectRef idx="0"/>
    <cs:fontRef idx="minor">
      <a:schemeClr val="tx2"/>
    </cs:fontRef>
    <cs:defRPr sz="2128" b="1" kern="1200"/>
  </cs:title>
  <cs:trendline>
    <cs:lnRef idx="0">
      <cs:styleClr val="auto"/>
    </cs:lnRef>
    <cs:fillRef idx="0"/>
    <cs:effectRef idx="0"/>
    <cs:fontRef idx="minor">
      <a:schemeClr val="tx2"/>
    </cs:fontRef>
    <cs:spPr>
      <a:ln w="19050" cap="rnd">
        <a:solidFill>
          <a:schemeClr val="phClr"/>
        </a:solidFill>
        <a:prstDash val="sysDash"/>
      </a:ln>
    </cs:spPr>
  </cs:trendline>
  <cs:trendlineLabel>
    <cs:lnRef idx="0"/>
    <cs:fillRef idx="0"/>
    <cs:effectRef idx="0"/>
    <cs:fontRef idx="minor">
      <a:schemeClr val="tx2"/>
    </cs:fontRef>
    <cs:defRPr sz="1197" kern="1200"/>
  </cs:trendlineLabel>
  <cs:upBar>
    <cs:lnRef idx="0"/>
    <cs:fillRef idx="0"/>
    <cs:effectRef idx="0"/>
    <cs:fontRef idx="minor">
      <a:schemeClr val="tx2"/>
    </cs:fontRef>
    <cs:spPr>
      <a:solidFill>
        <a:schemeClr val="lt1"/>
      </a:solidFill>
      <a:ln w="9525">
        <a:solidFill>
          <a:schemeClr val="tx1">
            <a:lumMod val="15000"/>
            <a:lumOff val="85000"/>
          </a:schemeClr>
        </a:solidFill>
      </a:ln>
    </cs:spPr>
  </cs:upBar>
  <cs:valueAxis>
    <cs:lnRef idx="0"/>
    <cs:fillRef idx="0"/>
    <cs:effectRef idx="0"/>
    <cs:fontRef idx="minor">
      <a:schemeClr val="tx2"/>
    </cs:fontRef>
    <cs:defRPr sz="1197" kern="1200"/>
  </cs:valueAxis>
  <cs:wall>
    <cs:lnRef idx="0"/>
    <cs:fillRef idx="0"/>
    <cs:effectRef idx="0"/>
    <cs:fontRef idx="minor">
      <a:schemeClr val="tx2"/>
    </cs:fontRef>
  </cs:wall>
</cs:chartStyle>
</file>

<file path=ppt/charts/style3.xml><?xml version="1.0" encoding="utf-8"?>
<cs:chartStyle xmlns:cs="http://schemas.microsoft.com/office/drawing/2012/chartStyle" xmlns:a="http://schemas.openxmlformats.org/drawingml/2006/main" id="255">
  <cs:axisTitle>
    <cs:lnRef idx="0"/>
    <cs:fillRef idx="0"/>
    <cs:effectRef idx="0"/>
    <cs:fontRef idx="minor">
      <a:schemeClr val="tx2"/>
    </cs:fontRef>
    <cs:defRPr sz="1197" b="1" kern="1200"/>
  </cs:axisTitle>
  <cs:categoryAxis>
    <cs:lnRef idx="0"/>
    <cs:fillRef idx="0"/>
    <cs:effectRef idx="0"/>
    <cs:fontRef idx="minor">
      <a:schemeClr val="tx2"/>
    </cs:fontRef>
    <cs:spPr>
      <a:ln w="9525" cap="flat" cmpd="sng" algn="ctr">
        <a:solidFill>
          <a:schemeClr val="tx2">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2">
            <a:lumMod val="15000"/>
            <a:lumOff val="85000"/>
          </a:schemeClr>
        </a:solidFill>
        <a:round/>
      </a:ln>
    </cs:spPr>
    <cs:defRPr sz="1197" kern="1200"/>
  </cs:chartArea>
  <cs:dataLabel>
    <cs:lnRef idx="0"/>
    <cs:fillRef idx="0"/>
    <cs:effectRef idx="0"/>
    <cs:fontRef idx="minor">
      <a:schemeClr val="tx2"/>
    </cs:fontRef>
    <cs:defRPr sz="1197" kern="1200"/>
  </cs:dataLabel>
  <cs:dataLabelCallout>
    <cs:lnRef idx="0"/>
    <cs:fillRef idx="0"/>
    <cs:effectRef idx="0"/>
    <cs:fontRef idx="minor">
      <a:schemeClr val="dk2">
        <a:lumMod val="7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2"/>
    <cs:fontRef idx="minor">
      <a:schemeClr val="tx2"/>
    </cs:fontRef>
  </cs:dataPoint>
  <cs:dataPoint3D>
    <cs:lnRef idx="0"/>
    <cs:fillRef idx="3">
      <cs:styleClr val="auto"/>
    </cs:fillRef>
    <cs:effectRef idx="2"/>
    <cs:fontRef idx="minor">
      <a:schemeClr val="tx2"/>
    </cs:fontRef>
  </cs:dataPoint3D>
  <cs:dataPointLine>
    <cs:lnRef idx="0">
      <cs:styleClr val="auto"/>
    </cs:lnRef>
    <cs:fillRef idx="3"/>
    <cs:effectRef idx="2"/>
    <cs:fontRef idx="minor">
      <a:schemeClr val="tx2"/>
    </cs:fontRef>
    <cs:spPr>
      <a:ln w="31750" cap="rnd">
        <a:solidFill>
          <a:schemeClr val="phClr"/>
        </a:solidFill>
        <a:round/>
      </a:ln>
    </cs:spPr>
  </cs:dataPointLine>
  <cs:dataPointMarker>
    <cs:lnRef idx="0"/>
    <cs:fillRef idx="3">
      <cs:styleClr val="auto"/>
    </cs:fillRef>
    <cs:effectRef idx="2"/>
    <cs:fontRef idx="minor">
      <a:schemeClr val="tx2"/>
    </cs:fontRef>
    <cs:spPr>
      <a:ln w="12700">
        <a:solidFill>
          <a:schemeClr val="lt2"/>
        </a:solidFill>
        <a:round/>
      </a:ln>
    </cs:spPr>
  </cs:dataPointMarker>
  <cs:dataPointMarkerLayout symbol="circle" size="6"/>
  <cs:dataPointWireframe>
    <cs:lnRef idx="0">
      <cs:styleClr val="auto"/>
    </cs:lnRef>
    <cs:fillRef idx="3"/>
    <cs:effectRef idx="2"/>
    <cs:fontRef idx="minor">
      <a:schemeClr val="tx2"/>
    </cs:fontRef>
    <cs:spPr>
      <a:ln w="9525" cap="rnd">
        <a:solidFill>
          <a:schemeClr val="phClr"/>
        </a:solidFill>
        <a:round/>
      </a:ln>
    </cs:spPr>
  </cs:dataPointWireframe>
  <cs:dataTable>
    <cs:lnRef idx="0"/>
    <cs:fillRef idx="0"/>
    <cs:effectRef idx="0"/>
    <cs:fontRef idx="minor">
      <a:schemeClr val="tx2"/>
    </cs:fontRef>
    <cs:spPr>
      <a:ln w="9525">
        <a:solidFill>
          <a:schemeClr val="tx2">
            <a:lumMod val="15000"/>
            <a:lumOff val="85000"/>
          </a:schemeClr>
        </a:solidFill>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2"/>
    </cs:fontRef>
    <cs:spPr>
      <a:ln w="9525">
        <a:solidFill>
          <a:schemeClr val="tx2">
            <a:lumMod val="60000"/>
            <a:lumOff val="40000"/>
          </a:schemeClr>
        </a:solidFill>
        <a:prstDash val="dash"/>
      </a:ln>
    </cs:spPr>
  </cs:dropLine>
  <cs:errorBar>
    <cs:lnRef idx="0"/>
    <cs:fillRef idx="0"/>
    <cs:effectRef idx="0"/>
    <cs:fontRef idx="minor">
      <a:schemeClr val="tx2"/>
    </cs:fontRef>
    <cs:spPr>
      <a:ln w="9525">
        <a:solidFill>
          <a:schemeClr val="tx2">
            <a:lumMod val="75000"/>
          </a:schemeClr>
        </a:solidFill>
        <a:round/>
      </a:ln>
    </cs:spPr>
  </cs:errorBar>
  <cs:floor>
    <cs:lnRef idx="0"/>
    <cs:fillRef idx="0"/>
    <cs:effectRef idx="0"/>
    <cs:fontRef idx="minor">
      <a:schemeClr val="tx2"/>
    </cs:fontRef>
  </cs:floor>
  <cs:gridlineMajor>
    <cs:lnRef idx="0"/>
    <cs:fillRef idx="0"/>
    <cs:effectRef idx="0"/>
    <cs:fontRef idx="minor">
      <a:schemeClr val="tx2"/>
    </cs:fontRef>
    <cs:spPr>
      <a:ln w="9525" cap="flat" cmpd="sng" algn="ctr">
        <a:solidFill>
          <a:schemeClr val="tx2">
            <a:lumMod val="15000"/>
            <a:lumOff val="85000"/>
          </a:schemeClr>
        </a:solidFill>
        <a:round/>
      </a:ln>
    </cs:spPr>
  </cs:gridlineMajor>
  <cs:gridlineMinor>
    <cs:lnRef idx="0"/>
    <cs:fillRef idx="0"/>
    <cs:effectRef idx="0"/>
    <cs:fontRef idx="minor">
      <a:schemeClr val="tx2"/>
    </cs:fontRef>
    <cs:spPr>
      <a:ln>
        <a:solidFill>
          <a:schemeClr val="tx2">
            <a:lumMod val="5000"/>
            <a:lumOff val="95000"/>
          </a:schemeClr>
        </a:solidFill>
      </a:ln>
    </cs:spPr>
  </cs:gridlineMinor>
  <cs:hiLoLine>
    <cs:lnRef idx="0"/>
    <cs:fillRef idx="0"/>
    <cs:effectRef idx="0"/>
    <cs:fontRef idx="minor">
      <a:schemeClr val="tx2"/>
    </cs:fontRef>
    <cs:spPr>
      <a:ln w="9525">
        <a:solidFill>
          <a:schemeClr val="tx2">
            <a:lumMod val="60000"/>
            <a:lumOff val="40000"/>
          </a:schemeClr>
        </a:solidFill>
        <a:prstDash val="dash"/>
      </a:ln>
    </cs:spPr>
  </cs:hiLoLine>
  <cs:leaderLine>
    <cs:lnRef idx="0"/>
    <cs:fillRef idx="0"/>
    <cs:effectRef idx="0"/>
    <cs:fontRef idx="minor">
      <a:schemeClr val="tx2"/>
    </cs:fontRef>
    <cs:spPr>
      <a:ln w="9525">
        <a:solidFill>
          <a:schemeClr val="tx2">
            <a:lumMod val="35000"/>
            <a:lumOff val="65000"/>
          </a:schemeClr>
        </a:solidFill>
      </a:ln>
    </cs:spPr>
  </cs:leaderLine>
  <cs:legend>
    <cs:lnRef idx="0"/>
    <cs:fillRef idx="0"/>
    <cs:effectRef idx="0"/>
    <cs:fontRef idx="minor">
      <a:schemeClr val="tx2"/>
    </cs:fontRef>
    <cs:defRPr sz="1197" kern="1200"/>
  </cs:legend>
  <cs:plotArea>
    <cs:lnRef idx="0"/>
    <cs:fillRef idx="0"/>
    <cs:effectRef idx="0"/>
    <cs:fontRef idx="minor">
      <a:schemeClr val="tx2"/>
    </cs:fontRef>
  </cs:plotArea>
  <cs:plotArea3D>
    <cs:lnRef idx="0"/>
    <cs:fillRef idx="0"/>
    <cs:effectRef idx="0"/>
    <cs:fontRef idx="minor">
      <a:schemeClr val="tx2"/>
    </cs:fontRef>
  </cs:plotArea3D>
  <cs:seriesAxis>
    <cs:lnRef idx="0"/>
    <cs:fillRef idx="0"/>
    <cs:effectRef idx="0"/>
    <cs:fontRef idx="minor">
      <a:schemeClr val="tx2"/>
    </cs:fontRef>
    <cs:spPr>
      <a:ln w="9525" cap="flat" cmpd="sng" algn="ctr">
        <a:solidFill>
          <a:schemeClr val="tx2">
            <a:lumMod val="15000"/>
            <a:lumOff val="85000"/>
          </a:schemeClr>
        </a:solidFill>
        <a:round/>
      </a:ln>
    </cs:spPr>
    <cs:defRPr sz="1197" kern="1200"/>
  </cs:seriesAxis>
  <cs:seriesLine>
    <cs:lnRef idx="0"/>
    <cs:fillRef idx="0"/>
    <cs:effectRef idx="0"/>
    <cs:fontRef idx="minor">
      <a:schemeClr val="tx2"/>
    </cs:fontRef>
    <cs:spPr>
      <a:ln w="9525">
        <a:solidFill>
          <a:schemeClr val="tx2">
            <a:lumMod val="60000"/>
            <a:lumOff val="40000"/>
          </a:schemeClr>
        </a:solidFill>
        <a:prstDash val="dash"/>
      </a:ln>
    </cs:spPr>
  </cs:seriesLine>
  <cs:title>
    <cs:lnRef idx="0"/>
    <cs:fillRef idx="0"/>
    <cs:effectRef idx="0"/>
    <cs:fontRef idx="minor">
      <a:schemeClr val="tx2"/>
    </cs:fontRef>
    <cs:defRPr sz="2128" b="1" kern="1200"/>
  </cs:title>
  <cs:trendline>
    <cs:lnRef idx="0">
      <cs:styleClr val="auto"/>
    </cs:lnRef>
    <cs:fillRef idx="0"/>
    <cs:effectRef idx="0"/>
    <cs:fontRef idx="minor">
      <a:schemeClr val="tx2"/>
    </cs:fontRef>
    <cs:spPr>
      <a:ln w="19050" cap="rnd">
        <a:solidFill>
          <a:schemeClr val="phClr"/>
        </a:solidFill>
        <a:prstDash val="sysDash"/>
      </a:ln>
    </cs:spPr>
  </cs:trendline>
  <cs:trendlineLabel>
    <cs:lnRef idx="0"/>
    <cs:fillRef idx="0"/>
    <cs:effectRef idx="0"/>
    <cs:fontRef idx="minor">
      <a:schemeClr val="tx2"/>
    </cs:fontRef>
    <cs:defRPr sz="1197" kern="1200"/>
  </cs:trendlineLabel>
  <cs:upBar>
    <cs:lnRef idx="0"/>
    <cs:fillRef idx="0"/>
    <cs:effectRef idx="0"/>
    <cs:fontRef idx="minor">
      <a:schemeClr val="tx2"/>
    </cs:fontRef>
    <cs:spPr>
      <a:solidFill>
        <a:schemeClr val="lt1"/>
      </a:solidFill>
      <a:ln w="9525">
        <a:solidFill>
          <a:schemeClr val="tx1">
            <a:lumMod val="15000"/>
            <a:lumOff val="85000"/>
          </a:schemeClr>
        </a:solidFill>
      </a:ln>
    </cs:spPr>
  </cs:upBar>
  <cs:valueAxis>
    <cs:lnRef idx="0"/>
    <cs:fillRef idx="0"/>
    <cs:effectRef idx="0"/>
    <cs:fontRef idx="minor">
      <a:schemeClr val="tx2"/>
    </cs:fontRef>
    <cs:defRPr sz="1197" kern="1200"/>
  </cs:valueAxis>
  <cs:wall>
    <cs:lnRef idx="0"/>
    <cs:fillRef idx="0"/>
    <cs:effectRef idx="0"/>
    <cs:fontRef idx="minor">
      <a:schemeClr val="tx2"/>
    </cs:fontRef>
  </cs:wall>
</cs:chartStyle>
</file>

<file path=ppt/charts/style4.xml><?xml version="1.0" encoding="utf-8"?>
<cs:chartStyle xmlns:cs="http://schemas.microsoft.com/office/drawing/2012/chartStyle" xmlns:a="http://schemas.openxmlformats.org/drawingml/2006/main" id="255">
  <cs:axisTitle>
    <cs:lnRef idx="0"/>
    <cs:fillRef idx="0"/>
    <cs:effectRef idx="0"/>
    <cs:fontRef idx="minor">
      <a:schemeClr val="tx2"/>
    </cs:fontRef>
    <cs:defRPr sz="1197" b="1" kern="1200"/>
  </cs:axisTitle>
  <cs:categoryAxis>
    <cs:lnRef idx="0"/>
    <cs:fillRef idx="0"/>
    <cs:effectRef idx="0"/>
    <cs:fontRef idx="minor">
      <a:schemeClr val="tx2"/>
    </cs:fontRef>
    <cs:spPr>
      <a:ln w="9525" cap="flat" cmpd="sng" algn="ctr">
        <a:solidFill>
          <a:schemeClr val="tx2">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2">
            <a:lumMod val="15000"/>
            <a:lumOff val="85000"/>
          </a:schemeClr>
        </a:solidFill>
        <a:round/>
      </a:ln>
    </cs:spPr>
    <cs:defRPr sz="1197" kern="1200"/>
  </cs:chartArea>
  <cs:dataLabel>
    <cs:lnRef idx="0"/>
    <cs:fillRef idx="0"/>
    <cs:effectRef idx="0"/>
    <cs:fontRef idx="minor">
      <a:schemeClr val="tx2"/>
    </cs:fontRef>
    <cs:defRPr sz="1197" kern="1200"/>
  </cs:dataLabel>
  <cs:dataLabelCallout>
    <cs:lnRef idx="0"/>
    <cs:fillRef idx="0"/>
    <cs:effectRef idx="0"/>
    <cs:fontRef idx="minor">
      <a:schemeClr val="dk2">
        <a:lumMod val="7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2"/>
    <cs:fontRef idx="minor">
      <a:schemeClr val="tx2"/>
    </cs:fontRef>
  </cs:dataPoint>
  <cs:dataPoint3D>
    <cs:lnRef idx="0"/>
    <cs:fillRef idx="3">
      <cs:styleClr val="auto"/>
    </cs:fillRef>
    <cs:effectRef idx="2"/>
    <cs:fontRef idx="minor">
      <a:schemeClr val="tx2"/>
    </cs:fontRef>
  </cs:dataPoint3D>
  <cs:dataPointLine>
    <cs:lnRef idx="0">
      <cs:styleClr val="auto"/>
    </cs:lnRef>
    <cs:fillRef idx="3"/>
    <cs:effectRef idx="2"/>
    <cs:fontRef idx="minor">
      <a:schemeClr val="tx2"/>
    </cs:fontRef>
    <cs:spPr>
      <a:ln w="31750" cap="rnd">
        <a:solidFill>
          <a:schemeClr val="phClr"/>
        </a:solidFill>
        <a:round/>
      </a:ln>
    </cs:spPr>
  </cs:dataPointLine>
  <cs:dataPointMarker>
    <cs:lnRef idx="0"/>
    <cs:fillRef idx="3">
      <cs:styleClr val="auto"/>
    </cs:fillRef>
    <cs:effectRef idx="2"/>
    <cs:fontRef idx="minor">
      <a:schemeClr val="tx2"/>
    </cs:fontRef>
    <cs:spPr>
      <a:ln w="12700">
        <a:solidFill>
          <a:schemeClr val="lt2"/>
        </a:solidFill>
        <a:round/>
      </a:ln>
    </cs:spPr>
  </cs:dataPointMarker>
  <cs:dataPointMarkerLayout symbol="circle" size="6"/>
  <cs:dataPointWireframe>
    <cs:lnRef idx="0">
      <cs:styleClr val="auto"/>
    </cs:lnRef>
    <cs:fillRef idx="3"/>
    <cs:effectRef idx="2"/>
    <cs:fontRef idx="minor">
      <a:schemeClr val="tx2"/>
    </cs:fontRef>
    <cs:spPr>
      <a:ln w="9525" cap="rnd">
        <a:solidFill>
          <a:schemeClr val="phClr"/>
        </a:solidFill>
        <a:round/>
      </a:ln>
    </cs:spPr>
  </cs:dataPointWireframe>
  <cs:dataTable>
    <cs:lnRef idx="0"/>
    <cs:fillRef idx="0"/>
    <cs:effectRef idx="0"/>
    <cs:fontRef idx="minor">
      <a:schemeClr val="tx2"/>
    </cs:fontRef>
    <cs:spPr>
      <a:ln w="9525">
        <a:solidFill>
          <a:schemeClr val="tx2">
            <a:lumMod val="15000"/>
            <a:lumOff val="85000"/>
          </a:schemeClr>
        </a:solidFill>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2"/>
    </cs:fontRef>
    <cs:spPr>
      <a:ln w="9525">
        <a:solidFill>
          <a:schemeClr val="tx2">
            <a:lumMod val="60000"/>
            <a:lumOff val="40000"/>
          </a:schemeClr>
        </a:solidFill>
        <a:prstDash val="dash"/>
      </a:ln>
    </cs:spPr>
  </cs:dropLine>
  <cs:errorBar>
    <cs:lnRef idx="0"/>
    <cs:fillRef idx="0"/>
    <cs:effectRef idx="0"/>
    <cs:fontRef idx="minor">
      <a:schemeClr val="tx2"/>
    </cs:fontRef>
    <cs:spPr>
      <a:ln w="9525">
        <a:solidFill>
          <a:schemeClr val="tx2">
            <a:lumMod val="75000"/>
          </a:schemeClr>
        </a:solidFill>
        <a:round/>
      </a:ln>
    </cs:spPr>
  </cs:errorBar>
  <cs:floor>
    <cs:lnRef idx="0"/>
    <cs:fillRef idx="0"/>
    <cs:effectRef idx="0"/>
    <cs:fontRef idx="minor">
      <a:schemeClr val="tx2"/>
    </cs:fontRef>
  </cs:floor>
  <cs:gridlineMajor>
    <cs:lnRef idx="0"/>
    <cs:fillRef idx="0"/>
    <cs:effectRef idx="0"/>
    <cs:fontRef idx="minor">
      <a:schemeClr val="tx2"/>
    </cs:fontRef>
    <cs:spPr>
      <a:ln w="9525" cap="flat" cmpd="sng" algn="ctr">
        <a:solidFill>
          <a:schemeClr val="tx2">
            <a:lumMod val="15000"/>
            <a:lumOff val="85000"/>
          </a:schemeClr>
        </a:solidFill>
        <a:round/>
      </a:ln>
    </cs:spPr>
  </cs:gridlineMajor>
  <cs:gridlineMinor>
    <cs:lnRef idx="0"/>
    <cs:fillRef idx="0"/>
    <cs:effectRef idx="0"/>
    <cs:fontRef idx="minor">
      <a:schemeClr val="tx2"/>
    </cs:fontRef>
    <cs:spPr>
      <a:ln>
        <a:solidFill>
          <a:schemeClr val="tx2">
            <a:lumMod val="5000"/>
            <a:lumOff val="95000"/>
          </a:schemeClr>
        </a:solidFill>
      </a:ln>
    </cs:spPr>
  </cs:gridlineMinor>
  <cs:hiLoLine>
    <cs:lnRef idx="0"/>
    <cs:fillRef idx="0"/>
    <cs:effectRef idx="0"/>
    <cs:fontRef idx="minor">
      <a:schemeClr val="tx2"/>
    </cs:fontRef>
    <cs:spPr>
      <a:ln w="9525">
        <a:solidFill>
          <a:schemeClr val="tx2">
            <a:lumMod val="60000"/>
            <a:lumOff val="40000"/>
          </a:schemeClr>
        </a:solidFill>
        <a:prstDash val="dash"/>
      </a:ln>
    </cs:spPr>
  </cs:hiLoLine>
  <cs:leaderLine>
    <cs:lnRef idx="0"/>
    <cs:fillRef idx="0"/>
    <cs:effectRef idx="0"/>
    <cs:fontRef idx="minor">
      <a:schemeClr val="tx2"/>
    </cs:fontRef>
    <cs:spPr>
      <a:ln w="9525">
        <a:solidFill>
          <a:schemeClr val="tx2">
            <a:lumMod val="35000"/>
            <a:lumOff val="65000"/>
          </a:schemeClr>
        </a:solidFill>
      </a:ln>
    </cs:spPr>
  </cs:leaderLine>
  <cs:legend>
    <cs:lnRef idx="0"/>
    <cs:fillRef idx="0"/>
    <cs:effectRef idx="0"/>
    <cs:fontRef idx="minor">
      <a:schemeClr val="tx2"/>
    </cs:fontRef>
    <cs:defRPr sz="1197" kern="1200"/>
  </cs:legend>
  <cs:plotArea>
    <cs:lnRef idx="0"/>
    <cs:fillRef idx="0"/>
    <cs:effectRef idx="0"/>
    <cs:fontRef idx="minor">
      <a:schemeClr val="tx2"/>
    </cs:fontRef>
  </cs:plotArea>
  <cs:plotArea3D>
    <cs:lnRef idx="0"/>
    <cs:fillRef idx="0"/>
    <cs:effectRef idx="0"/>
    <cs:fontRef idx="minor">
      <a:schemeClr val="tx2"/>
    </cs:fontRef>
  </cs:plotArea3D>
  <cs:seriesAxis>
    <cs:lnRef idx="0"/>
    <cs:fillRef idx="0"/>
    <cs:effectRef idx="0"/>
    <cs:fontRef idx="minor">
      <a:schemeClr val="tx2"/>
    </cs:fontRef>
    <cs:spPr>
      <a:ln w="9525" cap="flat" cmpd="sng" algn="ctr">
        <a:solidFill>
          <a:schemeClr val="tx2">
            <a:lumMod val="15000"/>
            <a:lumOff val="85000"/>
          </a:schemeClr>
        </a:solidFill>
        <a:round/>
      </a:ln>
    </cs:spPr>
    <cs:defRPr sz="1197" kern="1200"/>
  </cs:seriesAxis>
  <cs:seriesLine>
    <cs:lnRef idx="0"/>
    <cs:fillRef idx="0"/>
    <cs:effectRef idx="0"/>
    <cs:fontRef idx="minor">
      <a:schemeClr val="tx2"/>
    </cs:fontRef>
    <cs:spPr>
      <a:ln w="9525">
        <a:solidFill>
          <a:schemeClr val="tx2">
            <a:lumMod val="60000"/>
            <a:lumOff val="40000"/>
          </a:schemeClr>
        </a:solidFill>
        <a:prstDash val="dash"/>
      </a:ln>
    </cs:spPr>
  </cs:seriesLine>
  <cs:title>
    <cs:lnRef idx="0"/>
    <cs:fillRef idx="0"/>
    <cs:effectRef idx="0"/>
    <cs:fontRef idx="minor">
      <a:schemeClr val="tx2"/>
    </cs:fontRef>
    <cs:defRPr sz="2128" b="1" kern="1200"/>
  </cs:title>
  <cs:trendline>
    <cs:lnRef idx="0">
      <cs:styleClr val="auto"/>
    </cs:lnRef>
    <cs:fillRef idx="0"/>
    <cs:effectRef idx="0"/>
    <cs:fontRef idx="minor">
      <a:schemeClr val="tx2"/>
    </cs:fontRef>
    <cs:spPr>
      <a:ln w="19050" cap="rnd">
        <a:solidFill>
          <a:schemeClr val="phClr"/>
        </a:solidFill>
        <a:prstDash val="sysDash"/>
      </a:ln>
    </cs:spPr>
  </cs:trendline>
  <cs:trendlineLabel>
    <cs:lnRef idx="0"/>
    <cs:fillRef idx="0"/>
    <cs:effectRef idx="0"/>
    <cs:fontRef idx="minor">
      <a:schemeClr val="tx2"/>
    </cs:fontRef>
    <cs:defRPr sz="1197" kern="1200"/>
  </cs:trendlineLabel>
  <cs:upBar>
    <cs:lnRef idx="0"/>
    <cs:fillRef idx="0"/>
    <cs:effectRef idx="0"/>
    <cs:fontRef idx="minor">
      <a:schemeClr val="tx2"/>
    </cs:fontRef>
    <cs:spPr>
      <a:solidFill>
        <a:schemeClr val="lt1"/>
      </a:solidFill>
      <a:ln w="9525">
        <a:solidFill>
          <a:schemeClr val="tx1">
            <a:lumMod val="15000"/>
            <a:lumOff val="85000"/>
          </a:schemeClr>
        </a:solidFill>
      </a:ln>
    </cs:spPr>
  </cs:upBar>
  <cs:valueAxis>
    <cs:lnRef idx="0"/>
    <cs:fillRef idx="0"/>
    <cs:effectRef idx="0"/>
    <cs:fontRef idx="minor">
      <a:schemeClr val="tx2"/>
    </cs:fontRef>
    <cs:defRPr sz="1197" kern="1200"/>
  </cs:valueAxis>
  <cs:wall>
    <cs:lnRef idx="0"/>
    <cs:fillRef idx="0"/>
    <cs:effectRef idx="0"/>
    <cs:fontRef idx="minor">
      <a:schemeClr val="tx2"/>
    </cs:fontRef>
  </cs:wall>
</cs:chartStyle>
</file>

<file path=ppt/charts/style5.xml><?xml version="1.0" encoding="utf-8"?>
<cs:chartStyle xmlns:cs="http://schemas.microsoft.com/office/drawing/2012/chartStyle" xmlns:a="http://schemas.openxmlformats.org/drawingml/2006/main" id="255">
  <cs:axisTitle>
    <cs:lnRef idx="0"/>
    <cs:fillRef idx="0"/>
    <cs:effectRef idx="0"/>
    <cs:fontRef idx="minor">
      <a:schemeClr val="tx2"/>
    </cs:fontRef>
    <cs:defRPr sz="1197" b="1" kern="1200"/>
  </cs:axisTitle>
  <cs:categoryAxis>
    <cs:lnRef idx="0"/>
    <cs:fillRef idx="0"/>
    <cs:effectRef idx="0"/>
    <cs:fontRef idx="minor">
      <a:schemeClr val="tx2"/>
    </cs:fontRef>
    <cs:spPr>
      <a:ln w="9525" cap="flat" cmpd="sng" algn="ctr">
        <a:solidFill>
          <a:schemeClr val="tx2">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2">
            <a:lumMod val="15000"/>
            <a:lumOff val="85000"/>
          </a:schemeClr>
        </a:solidFill>
        <a:round/>
      </a:ln>
    </cs:spPr>
    <cs:defRPr sz="1197" kern="1200"/>
  </cs:chartArea>
  <cs:dataLabel>
    <cs:lnRef idx="0"/>
    <cs:fillRef idx="0"/>
    <cs:effectRef idx="0"/>
    <cs:fontRef idx="minor">
      <a:schemeClr val="tx2"/>
    </cs:fontRef>
    <cs:defRPr sz="1197" kern="1200"/>
  </cs:dataLabel>
  <cs:dataLabelCallout>
    <cs:lnRef idx="0"/>
    <cs:fillRef idx="0"/>
    <cs:effectRef idx="0"/>
    <cs:fontRef idx="minor">
      <a:schemeClr val="dk2">
        <a:lumMod val="7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2"/>
    <cs:fontRef idx="minor">
      <a:schemeClr val="tx2"/>
    </cs:fontRef>
  </cs:dataPoint>
  <cs:dataPoint3D>
    <cs:lnRef idx="0"/>
    <cs:fillRef idx="3">
      <cs:styleClr val="auto"/>
    </cs:fillRef>
    <cs:effectRef idx="2"/>
    <cs:fontRef idx="minor">
      <a:schemeClr val="tx2"/>
    </cs:fontRef>
  </cs:dataPoint3D>
  <cs:dataPointLine>
    <cs:lnRef idx="0">
      <cs:styleClr val="auto"/>
    </cs:lnRef>
    <cs:fillRef idx="3"/>
    <cs:effectRef idx="2"/>
    <cs:fontRef idx="minor">
      <a:schemeClr val="tx2"/>
    </cs:fontRef>
    <cs:spPr>
      <a:ln w="31750" cap="rnd">
        <a:solidFill>
          <a:schemeClr val="phClr"/>
        </a:solidFill>
        <a:round/>
      </a:ln>
    </cs:spPr>
  </cs:dataPointLine>
  <cs:dataPointMarker>
    <cs:lnRef idx="0"/>
    <cs:fillRef idx="3">
      <cs:styleClr val="auto"/>
    </cs:fillRef>
    <cs:effectRef idx="2"/>
    <cs:fontRef idx="minor">
      <a:schemeClr val="tx2"/>
    </cs:fontRef>
    <cs:spPr>
      <a:ln w="12700">
        <a:solidFill>
          <a:schemeClr val="lt2"/>
        </a:solidFill>
        <a:round/>
      </a:ln>
    </cs:spPr>
  </cs:dataPointMarker>
  <cs:dataPointMarkerLayout symbol="circle" size="6"/>
  <cs:dataPointWireframe>
    <cs:lnRef idx="0">
      <cs:styleClr val="auto"/>
    </cs:lnRef>
    <cs:fillRef idx="3"/>
    <cs:effectRef idx="2"/>
    <cs:fontRef idx="minor">
      <a:schemeClr val="tx2"/>
    </cs:fontRef>
    <cs:spPr>
      <a:ln w="9525" cap="rnd">
        <a:solidFill>
          <a:schemeClr val="phClr"/>
        </a:solidFill>
        <a:round/>
      </a:ln>
    </cs:spPr>
  </cs:dataPointWireframe>
  <cs:dataTable>
    <cs:lnRef idx="0"/>
    <cs:fillRef idx="0"/>
    <cs:effectRef idx="0"/>
    <cs:fontRef idx="minor">
      <a:schemeClr val="tx2"/>
    </cs:fontRef>
    <cs:spPr>
      <a:ln w="9525">
        <a:solidFill>
          <a:schemeClr val="tx2">
            <a:lumMod val="15000"/>
            <a:lumOff val="85000"/>
          </a:schemeClr>
        </a:solidFill>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2"/>
    </cs:fontRef>
    <cs:spPr>
      <a:ln w="9525">
        <a:solidFill>
          <a:schemeClr val="tx2">
            <a:lumMod val="60000"/>
            <a:lumOff val="40000"/>
          </a:schemeClr>
        </a:solidFill>
        <a:prstDash val="dash"/>
      </a:ln>
    </cs:spPr>
  </cs:dropLine>
  <cs:errorBar>
    <cs:lnRef idx="0"/>
    <cs:fillRef idx="0"/>
    <cs:effectRef idx="0"/>
    <cs:fontRef idx="minor">
      <a:schemeClr val="tx2"/>
    </cs:fontRef>
    <cs:spPr>
      <a:ln w="9525">
        <a:solidFill>
          <a:schemeClr val="tx2">
            <a:lumMod val="75000"/>
          </a:schemeClr>
        </a:solidFill>
        <a:round/>
      </a:ln>
    </cs:spPr>
  </cs:errorBar>
  <cs:floor>
    <cs:lnRef idx="0"/>
    <cs:fillRef idx="0"/>
    <cs:effectRef idx="0"/>
    <cs:fontRef idx="minor">
      <a:schemeClr val="tx2"/>
    </cs:fontRef>
  </cs:floor>
  <cs:gridlineMajor>
    <cs:lnRef idx="0"/>
    <cs:fillRef idx="0"/>
    <cs:effectRef idx="0"/>
    <cs:fontRef idx="minor">
      <a:schemeClr val="tx2"/>
    </cs:fontRef>
    <cs:spPr>
      <a:ln w="9525" cap="flat" cmpd="sng" algn="ctr">
        <a:solidFill>
          <a:schemeClr val="tx2">
            <a:lumMod val="15000"/>
            <a:lumOff val="85000"/>
          </a:schemeClr>
        </a:solidFill>
        <a:round/>
      </a:ln>
    </cs:spPr>
  </cs:gridlineMajor>
  <cs:gridlineMinor>
    <cs:lnRef idx="0"/>
    <cs:fillRef idx="0"/>
    <cs:effectRef idx="0"/>
    <cs:fontRef idx="minor">
      <a:schemeClr val="tx2"/>
    </cs:fontRef>
    <cs:spPr>
      <a:ln>
        <a:solidFill>
          <a:schemeClr val="tx2">
            <a:lumMod val="5000"/>
            <a:lumOff val="95000"/>
          </a:schemeClr>
        </a:solidFill>
      </a:ln>
    </cs:spPr>
  </cs:gridlineMinor>
  <cs:hiLoLine>
    <cs:lnRef idx="0"/>
    <cs:fillRef idx="0"/>
    <cs:effectRef idx="0"/>
    <cs:fontRef idx="minor">
      <a:schemeClr val="tx2"/>
    </cs:fontRef>
    <cs:spPr>
      <a:ln w="9525">
        <a:solidFill>
          <a:schemeClr val="tx2">
            <a:lumMod val="60000"/>
            <a:lumOff val="40000"/>
          </a:schemeClr>
        </a:solidFill>
        <a:prstDash val="dash"/>
      </a:ln>
    </cs:spPr>
  </cs:hiLoLine>
  <cs:leaderLine>
    <cs:lnRef idx="0"/>
    <cs:fillRef idx="0"/>
    <cs:effectRef idx="0"/>
    <cs:fontRef idx="minor">
      <a:schemeClr val="tx2"/>
    </cs:fontRef>
    <cs:spPr>
      <a:ln w="9525">
        <a:solidFill>
          <a:schemeClr val="tx2">
            <a:lumMod val="35000"/>
            <a:lumOff val="65000"/>
          </a:schemeClr>
        </a:solidFill>
      </a:ln>
    </cs:spPr>
  </cs:leaderLine>
  <cs:legend>
    <cs:lnRef idx="0"/>
    <cs:fillRef idx="0"/>
    <cs:effectRef idx="0"/>
    <cs:fontRef idx="minor">
      <a:schemeClr val="tx2"/>
    </cs:fontRef>
    <cs:defRPr sz="1197" kern="1200"/>
  </cs:legend>
  <cs:plotArea>
    <cs:lnRef idx="0"/>
    <cs:fillRef idx="0"/>
    <cs:effectRef idx="0"/>
    <cs:fontRef idx="minor">
      <a:schemeClr val="tx2"/>
    </cs:fontRef>
  </cs:plotArea>
  <cs:plotArea3D>
    <cs:lnRef idx="0"/>
    <cs:fillRef idx="0"/>
    <cs:effectRef idx="0"/>
    <cs:fontRef idx="minor">
      <a:schemeClr val="tx2"/>
    </cs:fontRef>
  </cs:plotArea3D>
  <cs:seriesAxis>
    <cs:lnRef idx="0"/>
    <cs:fillRef idx="0"/>
    <cs:effectRef idx="0"/>
    <cs:fontRef idx="minor">
      <a:schemeClr val="tx2"/>
    </cs:fontRef>
    <cs:spPr>
      <a:ln w="9525" cap="flat" cmpd="sng" algn="ctr">
        <a:solidFill>
          <a:schemeClr val="tx2">
            <a:lumMod val="15000"/>
            <a:lumOff val="85000"/>
          </a:schemeClr>
        </a:solidFill>
        <a:round/>
      </a:ln>
    </cs:spPr>
    <cs:defRPr sz="1197" kern="1200"/>
  </cs:seriesAxis>
  <cs:seriesLine>
    <cs:lnRef idx="0"/>
    <cs:fillRef idx="0"/>
    <cs:effectRef idx="0"/>
    <cs:fontRef idx="minor">
      <a:schemeClr val="tx2"/>
    </cs:fontRef>
    <cs:spPr>
      <a:ln w="9525">
        <a:solidFill>
          <a:schemeClr val="tx2">
            <a:lumMod val="60000"/>
            <a:lumOff val="40000"/>
          </a:schemeClr>
        </a:solidFill>
        <a:prstDash val="dash"/>
      </a:ln>
    </cs:spPr>
  </cs:seriesLine>
  <cs:title>
    <cs:lnRef idx="0"/>
    <cs:fillRef idx="0"/>
    <cs:effectRef idx="0"/>
    <cs:fontRef idx="minor">
      <a:schemeClr val="tx2"/>
    </cs:fontRef>
    <cs:defRPr sz="2128" b="1" kern="1200"/>
  </cs:title>
  <cs:trendline>
    <cs:lnRef idx="0">
      <cs:styleClr val="auto"/>
    </cs:lnRef>
    <cs:fillRef idx="0"/>
    <cs:effectRef idx="0"/>
    <cs:fontRef idx="minor">
      <a:schemeClr val="tx2"/>
    </cs:fontRef>
    <cs:spPr>
      <a:ln w="19050" cap="rnd">
        <a:solidFill>
          <a:schemeClr val="phClr"/>
        </a:solidFill>
        <a:prstDash val="sysDash"/>
      </a:ln>
    </cs:spPr>
  </cs:trendline>
  <cs:trendlineLabel>
    <cs:lnRef idx="0"/>
    <cs:fillRef idx="0"/>
    <cs:effectRef idx="0"/>
    <cs:fontRef idx="minor">
      <a:schemeClr val="tx2"/>
    </cs:fontRef>
    <cs:defRPr sz="1197" kern="1200"/>
  </cs:trendlineLabel>
  <cs:upBar>
    <cs:lnRef idx="0"/>
    <cs:fillRef idx="0"/>
    <cs:effectRef idx="0"/>
    <cs:fontRef idx="minor">
      <a:schemeClr val="tx2"/>
    </cs:fontRef>
    <cs:spPr>
      <a:solidFill>
        <a:schemeClr val="lt1"/>
      </a:solidFill>
      <a:ln w="9525">
        <a:solidFill>
          <a:schemeClr val="tx1">
            <a:lumMod val="15000"/>
            <a:lumOff val="85000"/>
          </a:schemeClr>
        </a:solidFill>
      </a:ln>
    </cs:spPr>
  </cs:upBar>
  <cs:valueAxis>
    <cs:lnRef idx="0"/>
    <cs:fillRef idx="0"/>
    <cs:effectRef idx="0"/>
    <cs:fontRef idx="minor">
      <a:schemeClr val="tx2"/>
    </cs:fontRef>
    <cs:defRPr sz="1197" kern="1200"/>
  </cs:valueAxis>
  <cs:wall>
    <cs:lnRef idx="0"/>
    <cs:fillRef idx="0"/>
    <cs:effectRef idx="0"/>
    <cs:fontRef idx="minor">
      <a:schemeClr val="tx2"/>
    </cs:fontRef>
  </cs:wall>
</cs:chartStyle>
</file>

<file path=ppt/charts/style6.xml><?xml version="1.0" encoding="utf-8"?>
<cs:chartStyle xmlns:cs="http://schemas.microsoft.com/office/drawing/2012/chartStyle" xmlns:a="http://schemas.openxmlformats.org/drawingml/2006/main" id="255">
  <cs:axisTitle>
    <cs:lnRef idx="0"/>
    <cs:fillRef idx="0"/>
    <cs:effectRef idx="0"/>
    <cs:fontRef idx="minor">
      <a:schemeClr val="tx2"/>
    </cs:fontRef>
    <cs:defRPr sz="1197" b="1" kern="1200"/>
  </cs:axisTitle>
  <cs:categoryAxis>
    <cs:lnRef idx="0"/>
    <cs:fillRef idx="0"/>
    <cs:effectRef idx="0"/>
    <cs:fontRef idx="minor">
      <a:schemeClr val="tx2"/>
    </cs:fontRef>
    <cs:spPr>
      <a:ln w="9525" cap="flat" cmpd="sng" algn="ctr">
        <a:solidFill>
          <a:schemeClr val="tx2">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2">
            <a:lumMod val="15000"/>
            <a:lumOff val="85000"/>
          </a:schemeClr>
        </a:solidFill>
        <a:round/>
      </a:ln>
    </cs:spPr>
    <cs:defRPr sz="1197" kern="1200"/>
  </cs:chartArea>
  <cs:dataLabel>
    <cs:lnRef idx="0"/>
    <cs:fillRef idx="0"/>
    <cs:effectRef idx="0"/>
    <cs:fontRef idx="minor">
      <a:schemeClr val="tx2"/>
    </cs:fontRef>
    <cs:defRPr sz="1197" kern="1200"/>
  </cs:dataLabel>
  <cs:dataLabelCallout>
    <cs:lnRef idx="0"/>
    <cs:fillRef idx="0"/>
    <cs:effectRef idx="0"/>
    <cs:fontRef idx="minor">
      <a:schemeClr val="dk2">
        <a:lumMod val="7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2"/>
    <cs:fontRef idx="minor">
      <a:schemeClr val="tx2"/>
    </cs:fontRef>
  </cs:dataPoint>
  <cs:dataPoint3D>
    <cs:lnRef idx="0"/>
    <cs:fillRef idx="3">
      <cs:styleClr val="auto"/>
    </cs:fillRef>
    <cs:effectRef idx="2"/>
    <cs:fontRef idx="minor">
      <a:schemeClr val="tx2"/>
    </cs:fontRef>
  </cs:dataPoint3D>
  <cs:dataPointLine>
    <cs:lnRef idx="0">
      <cs:styleClr val="auto"/>
    </cs:lnRef>
    <cs:fillRef idx="3"/>
    <cs:effectRef idx="2"/>
    <cs:fontRef idx="minor">
      <a:schemeClr val="tx2"/>
    </cs:fontRef>
    <cs:spPr>
      <a:ln w="31750" cap="rnd">
        <a:solidFill>
          <a:schemeClr val="phClr"/>
        </a:solidFill>
        <a:round/>
      </a:ln>
    </cs:spPr>
  </cs:dataPointLine>
  <cs:dataPointMarker>
    <cs:lnRef idx="0"/>
    <cs:fillRef idx="3">
      <cs:styleClr val="auto"/>
    </cs:fillRef>
    <cs:effectRef idx="2"/>
    <cs:fontRef idx="minor">
      <a:schemeClr val="tx2"/>
    </cs:fontRef>
    <cs:spPr>
      <a:ln w="12700">
        <a:solidFill>
          <a:schemeClr val="lt2"/>
        </a:solidFill>
        <a:round/>
      </a:ln>
    </cs:spPr>
  </cs:dataPointMarker>
  <cs:dataPointMarkerLayout symbol="circle" size="6"/>
  <cs:dataPointWireframe>
    <cs:lnRef idx="0">
      <cs:styleClr val="auto"/>
    </cs:lnRef>
    <cs:fillRef idx="3"/>
    <cs:effectRef idx="2"/>
    <cs:fontRef idx="minor">
      <a:schemeClr val="tx2"/>
    </cs:fontRef>
    <cs:spPr>
      <a:ln w="9525" cap="rnd">
        <a:solidFill>
          <a:schemeClr val="phClr"/>
        </a:solidFill>
        <a:round/>
      </a:ln>
    </cs:spPr>
  </cs:dataPointWireframe>
  <cs:dataTable>
    <cs:lnRef idx="0"/>
    <cs:fillRef idx="0"/>
    <cs:effectRef idx="0"/>
    <cs:fontRef idx="minor">
      <a:schemeClr val="tx2"/>
    </cs:fontRef>
    <cs:spPr>
      <a:ln w="9525">
        <a:solidFill>
          <a:schemeClr val="tx2">
            <a:lumMod val="15000"/>
            <a:lumOff val="85000"/>
          </a:schemeClr>
        </a:solidFill>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2"/>
    </cs:fontRef>
    <cs:spPr>
      <a:ln w="9525">
        <a:solidFill>
          <a:schemeClr val="tx2">
            <a:lumMod val="60000"/>
            <a:lumOff val="40000"/>
          </a:schemeClr>
        </a:solidFill>
        <a:prstDash val="dash"/>
      </a:ln>
    </cs:spPr>
  </cs:dropLine>
  <cs:errorBar>
    <cs:lnRef idx="0"/>
    <cs:fillRef idx="0"/>
    <cs:effectRef idx="0"/>
    <cs:fontRef idx="minor">
      <a:schemeClr val="tx2"/>
    </cs:fontRef>
    <cs:spPr>
      <a:ln w="9525">
        <a:solidFill>
          <a:schemeClr val="tx2">
            <a:lumMod val="75000"/>
          </a:schemeClr>
        </a:solidFill>
        <a:round/>
      </a:ln>
    </cs:spPr>
  </cs:errorBar>
  <cs:floor>
    <cs:lnRef idx="0"/>
    <cs:fillRef idx="0"/>
    <cs:effectRef idx="0"/>
    <cs:fontRef idx="minor">
      <a:schemeClr val="tx2"/>
    </cs:fontRef>
  </cs:floor>
  <cs:gridlineMajor>
    <cs:lnRef idx="0"/>
    <cs:fillRef idx="0"/>
    <cs:effectRef idx="0"/>
    <cs:fontRef idx="minor">
      <a:schemeClr val="tx2"/>
    </cs:fontRef>
    <cs:spPr>
      <a:ln w="9525" cap="flat" cmpd="sng" algn="ctr">
        <a:solidFill>
          <a:schemeClr val="tx2">
            <a:lumMod val="15000"/>
            <a:lumOff val="85000"/>
          </a:schemeClr>
        </a:solidFill>
        <a:round/>
      </a:ln>
    </cs:spPr>
  </cs:gridlineMajor>
  <cs:gridlineMinor>
    <cs:lnRef idx="0"/>
    <cs:fillRef idx="0"/>
    <cs:effectRef idx="0"/>
    <cs:fontRef idx="minor">
      <a:schemeClr val="tx2"/>
    </cs:fontRef>
    <cs:spPr>
      <a:ln>
        <a:solidFill>
          <a:schemeClr val="tx2">
            <a:lumMod val="5000"/>
            <a:lumOff val="95000"/>
          </a:schemeClr>
        </a:solidFill>
      </a:ln>
    </cs:spPr>
  </cs:gridlineMinor>
  <cs:hiLoLine>
    <cs:lnRef idx="0"/>
    <cs:fillRef idx="0"/>
    <cs:effectRef idx="0"/>
    <cs:fontRef idx="minor">
      <a:schemeClr val="tx2"/>
    </cs:fontRef>
    <cs:spPr>
      <a:ln w="9525">
        <a:solidFill>
          <a:schemeClr val="tx2">
            <a:lumMod val="60000"/>
            <a:lumOff val="40000"/>
          </a:schemeClr>
        </a:solidFill>
        <a:prstDash val="dash"/>
      </a:ln>
    </cs:spPr>
  </cs:hiLoLine>
  <cs:leaderLine>
    <cs:lnRef idx="0"/>
    <cs:fillRef idx="0"/>
    <cs:effectRef idx="0"/>
    <cs:fontRef idx="minor">
      <a:schemeClr val="tx2"/>
    </cs:fontRef>
    <cs:spPr>
      <a:ln w="9525">
        <a:solidFill>
          <a:schemeClr val="tx2">
            <a:lumMod val="35000"/>
            <a:lumOff val="65000"/>
          </a:schemeClr>
        </a:solidFill>
      </a:ln>
    </cs:spPr>
  </cs:leaderLine>
  <cs:legend>
    <cs:lnRef idx="0"/>
    <cs:fillRef idx="0"/>
    <cs:effectRef idx="0"/>
    <cs:fontRef idx="minor">
      <a:schemeClr val="tx2"/>
    </cs:fontRef>
    <cs:defRPr sz="1197" kern="1200"/>
  </cs:legend>
  <cs:plotArea>
    <cs:lnRef idx="0"/>
    <cs:fillRef idx="0"/>
    <cs:effectRef idx="0"/>
    <cs:fontRef idx="minor">
      <a:schemeClr val="tx2"/>
    </cs:fontRef>
  </cs:plotArea>
  <cs:plotArea3D>
    <cs:lnRef idx="0"/>
    <cs:fillRef idx="0"/>
    <cs:effectRef idx="0"/>
    <cs:fontRef idx="minor">
      <a:schemeClr val="tx2"/>
    </cs:fontRef>
  </cs:plotArea3D>
  <cs:seriesAxis>
    <cs:lnRef idx="0"/>
    <cs:fillRef idx="0"/>
    <cs:effectRef idx="0"/>
    <cs:fontRef idx="minor">
      <a:schemeClr val="tx2"/>
    </cs:fontRef>
    <cs:spPr>
      <a:ln w="9525" cap="flat" cmpd="sng" algn="ctr">
        <a:solidFill>
          <a:schemeClr val="tx2">
            <a:lumMod val="15000"/>
            <a:lumOff val="85000"/>
          </a:schemeClr>
        </a:solidFill>
        <a:round/>
      </a:ln>
    </cs:spPr>
    <cs:defRPr sz="1197" kern="1200"/>
  </cs:seriesAxis>
  <cs:seriesLine>
    <cs:lnRef idx="0"/>
    <cs:fillRef idx="0"/>
    <cs:effectRef idx="0"/>
    <cs:fontRef idx="minor">
      <a:schemeClr val="tx2"/>
    </cs:fontRef>
    <cs:spPr>
      <a:ln w="9525">
        <a:solidFill>
          <a:schemeClr val="tx2">
            <a:lumMod val="60000"/>
            <a:lumOff val="40000"/>
          </a:schemeClr>
        </a:solidFill>
        <a:prstDash val="dash"/>
      </a:ln>
    </cs:spPr>
  </cs:seriesLine>
  <cs:title>
    <cs:lnRef idx="0"/>
    <cs:fillRef idx="0"/>
    <cs:effectRef idx="0"/>
    <cs:fontRef idx="minor">
      <a:schemeClr val="tx2"/>
    </cs:fontRef>
    <cs:defRPr sz="2128" b="1" kern="1200"/>
  </cs:title>
  <cs:trendline>
    <cs:lnRef idx="0">
      <cs:styleClr val="auto"/>
    </cs:lnRef>
    <cs:fillRef idx="0"/>
    <cs:effectRef idx="0"/>
    <cs:fontRef idx="minor">
      <a:schemeClr val="tx2"/>
    </cs:fontRef>
    <cs:spPr>
      <a:ln w="19050" cap="rnd">
        <a:solidFill>
          <a:schemeClr val="phClr"/>
        </a:solidFill>
        <a:prstDash val="sysDash"/>
      </a:ln>
    </cs:spPr>
  </cs:trendline>
  <cs:trendlineLabel>
    <cs:lnRef idx="0"/>
    <cs:fillRef idx="0"/>
    <cs:effectRef idx="0"/>
    <cs:fontRef idx="minor">
      <a:schemeClr val="tx2"/>
    </cs:fontRef>
    <cs:defRPr sz="1197" kern="1200"/>
  </cs:trendlineLabel>
  <cs:upBar>
    <cs:lnRef idx="0"/>
    <cs:fillRef idx="0"/>
    <cs:effectRef idx="0"/>
    <cs:fontRef idx="minor">
      <a:schemeClr val="tx2"/>
    </cs:fontRef>
    <cs:spPr>
      <a:solidFill>
        <a:schemeClr val="lt1"/>
      </a:solidFill>
      <a:ln w="9525">
        <a:solidFill>
          <a:schemeClr val="tx1">
            <a:lumMod val="15000"/>
            <a:lumOff val="85000"/>
          </a:schemeClr>
        </a:solidFill>
      </a:ln>
    </cs:spPr>
  </cs:upBar>
  <cs:valueAxis>
    <cs:lnRef idx="0"/>
    <cs:fillRef idx="0"/>
    <cs:effectRef idx="0"/>
    <cs:fontRef idx="minor">
      <a:schemeClr val="tx2"/>
    </cs:fontRef>
    <cs:defRPr sz="1197" kern="1200"/>
  </cs:valueAxis>
  <cs:wall>
    <cs:lnRef idx="0"/>
    <cs:fillRef idx="0"/>
    <cs:effectRef idx="0"/>
    <cs:fontRef idx="minor">
      <a:schemeClr val="tx2"/>
    </cs:fontRef>
  </cs:wall>
</cs:chartStyle>
</file>

<file path=ppt/charts/style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a:extLst>
              <a:ext uri="{FF2B5EF4-FFF2-40B4-BE49-F238E27FC236}">
                <a16:creationId xmlns:a16="http://schemas.microsoft.com/office/drawing/2014/main" id="{A201AD86-87C1-F34F-A570-94653B21339F}"/>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kumimoji="1" lang="zh-CN" altLang="en-US"/>
          </a:p>
        </p:txBody>
      </p:sp>
      <p:sp>
        <p:nvSpPr>
          <p:cNvPr id="3" name="日期占位符 2">
            <a:extLst>
              <a:ext uri="{FF2B5EF4-FFF2-40B4-BE49-F238E27FC236}">
                <a16:creationId xmlns:a16="http://schemas.microsoft.com/office/drawing/2014/main" id="{9983CAC2-274D-AA49-9273-0BB99AAEE7D4}"/>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678D4BB7-ADC9-E64E-AAAA-DB1E10F7C241}" type="datetimeFigureOut">
              <a:rPr kumimoji="1" lang="zh-CN" altLang="en-US" smtClean="0"/>
              <a:t>2023/3/18</a:t>
            </a:fld>
            <a:endParaRPr kumimoji="1" lang="zh-CN" altLang="en-US"/>
          </a:p>
        </p:txBody>
      </p:sp>
      <p:sp>
        <p:nvSpPr>
          <p:cNvPr id="4" name="页脚占位符 3">
            <a:extLst>
              <a:ext uri="{FF2B5EF4-FFF2-40B4-BE49-F238E27FC236}">
                <a16:creationId xmlns:a16="http://schemas.microsoft.com/office/drawing/2014/main" id="{A5DFFCAF-3164-5B4A-A7AA-1F95C1C80885}"/>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kumimoji="1" lang="zh-CN" altLang="en-US"/>
          </a:p>
        </p:txBody>
      </p:sp>
      <p:sp>
        <p:nvSpPr>
          <p:cNvPr id="5" name="灯片编号占位符 4">
            <a:extLst>
              <a:ext uri="{FF2B5EF4-FFF2-40B4-BE49-F238E27FC236}">
                <a16:creationId xmlns:a16="http://schemas.microsoft.com/office/drawing/2014/main" id="{2C173253-261F-124A-8FD0-6B2BCD6EBCEA}"/>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5EBD9CB6-B921-3743-B681-02986F8A8226}" type="slidenum">
              <a:rPr kumimoji="1" lang="zh-CN" altLang="en-US" smtClean="0"/>
              <a:t>‹#›</a:t>
            </a:fld>
            <a:endParaRPr kumimoji="1" lang="zh-CN" altLang="en-US"/>
          </a:p>
        </p:txBody>
      </p:sp>
    </p:spTree>
    <p:extLst>
      <p:ext uri="{BB962C8B-B14F-4D97-AF65-F5344CB8AC3E}">
        <p14:creationId xmlns:p14="http://schemas.microsoft.com/office/powerpoint/2010/main" val="340772669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BB30C6B-F34A-4F02-BACE-D18C28E3B70A}" type="datetimeFigureOut">
              <a:rPr lang="zh-CN" altLang="en-US" smtClean="0"/>
              <a:t>2023/3/18</a:t>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75DD2B1-1A58-4FDB-AD54-64407EF7A1E7}" type="slidenum">
              <a:rPr lang="zh-CN" altLang="en-US" smtClean="0"/>
              <a:t>‹#›</a:t>
            </a:fld>
            <a:endParaRPr lang="zh-CN" altLang="en-US"/>
          </a:p>
        </p:txBody>
      </p:sp>
    </p:spTree>
    <p:extLst>
      <p:ext uri="{BB962C8B-B14F-4D97-AF65-F5344CB8AC3E}">
        <p14:creationId xmlns:p14="http://schemas.microsoft.com/office/powerpoint/2010/main" val="383071078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00.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421.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511.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512.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513.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514.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515.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516.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517.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518.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519.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52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422.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521.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522.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523.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2" Type="http://schemas.openxmlformats.org/officeDocument/2006/relationships/slide" Target="../slides/slide524.xml"/><Relationship Id="rId1" Type="http://schemas.openxmlformats.org/officeDocument/2006/relationships/notesMaster" Target="../notesMasters/notesMaster1.xml"/></Relationships>
</file>

<file path=ppt/notesSlides/_rels/notesSlide114.xml.rels><?xml version="1.0" encoding="UTF-8" standalone="yes"?>
<Relationships xmlns="http://schemas.openxmlformats.org/package/2006/relationships"><Relationship Id="rId2" Type="http://schemas.openxmlformats.org/officeDocument/2006/relationships/slide" Target="../slides/slide525.xml"/><Relationship Id="rId1" Type="http://schemas.openxmlformats.org/officeDocument/2006/relationships/notesMaster" Target="../notesMasters/notesMaster1.xml"/></Relationships>
</file>

<file path=ppt/notesSlides/_rels/notesSlide115.xml.rels><?xml version="1.0" encoding="UTF-8" standalone="yes"?>
<Relationships xmlns="http://schemas.openxmlformats.org/package/2006/relationships"><Relationship Id="rId2" Type="http://schemas.openxmlformats.org/officeDocument/2006/relationships/slide" Target="../slides/slide526.xml"/><Relationship Id="rId1" Type="http://schemas.openxmlformats.org/officeDocument/2006/relationships/notesMaster" Target="../notesMasters/notesMaster1.xml"/></Relationships>
</file>

<file path=ppt/notesSlides/_rels/notesSlide116.xml.rels><?xml version="1.0" encoding="UTF-8" standalone="yes"?>
<Relationships xmlns="http://schemas.openxmlformats.org/package/2006/relationships"><Relationship Id="rId2" Type="http://schemas.openxmlformats.org/officeDocument/2006/relationships/slide" Target="../slides/slide527.xml"/><Relationship Id="rId1" Type="http://schemas.openxmlformats.org/officeDocument/2006/relationships/notesMaster" Target="../notesMasters/notesMaster1.xml"/></Relationships>
</file>

<file path=ppt/notesSlides/_rels/notesSlide117.xml.rels><?xml version="1.0" encoding="UTF-8" standalone="yes"?>
<Relationships xmlns="http://schemas.openxmlformats.org/package/2006/relationships"><Relationship Id="rId2" Type="http://schemas.openxmlformats.org/officeDocument/2006/relationships/slide" Target="../slides/slide528.xml"/><Relationship Id="rId1" Type="http://schemas.openxmlformats.org/officeDocument/2006/relationships/notesMaster" Target="../notesMasters/notesMaster1.xml"/></Relationships>
</file>

<file path=ppt/notesSlides/_rels/notesSlide118.xml.rels><?xml version="1.0" encoding="UTF-8" standalone="yes"?>
<Relationships xmlns="http://schemas.openxmlformats.org/package/2006/relationships"><Relationship Id="rId2" Type="http://schemas.openxmlformats.org/officeDocument/2006/relationships/slide" Target="../slides/slide529.xml"/><Relationship Id="rId1" Type="http://schemas.openxmlformats.org/officeDocument/2006/relationships/notesMaster" Target="../notesMasters/notesMaster1.xml"/></Relationships>
</file>

<file path=ppt/notesSlides/_rels/notesSlide119.xml.rels><?xml version="1.0" encoding="UTF-8" standalone="yes"?>
<Relationships xmlns="http://schemas.openxmlformats.org/package/2006/relationships"><Relationship Id="rId2" Type="http://schemas.openxmlformats.org/officeDocument/2006/relationships/slide" Target="../slides/slide53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423.xml"/><Relationship Id="rId1" Type="http://schemas.openxmlformats.org/officeDocument/2006/relationships/notesMaster" Target="../notesMasters/notesMaster1.xml"/></Relationships>
</file>

<file path=ppt/notesSlides/_rels/notesSlide120.xml.rels><?xml version="1.0" encoding="UTF-8" standalone="yes"?>
<Relationships xmlns="http://schemas.openxmlformats.org/package/2006/relationships"><Relationship Id="rId2" Type="http://schemas.openxmlformats.org/officeDocument/2006/relationships/slide" Target="../slides/slide531.xml"/><Relationship Id="rId1" Type="http://schemas.openxmlformats.org/officeDocument/2006/relationships/notesMaster" Target="../notesMasters/notesMaster1.xml"/></Relationships>
</file>

<file path=ppt/notesSlides/_rels/notesSlide121.xml.rels><?xml version="1.0" encoding="UTF-8" standalone="yes"?>
<Relationships xmlns="http://schemas.openxmlformats.org/package/2006/relationships"><Relationship Id="rId2" Type="http://schemas.openxmlformats.org/officeDocument/2006/relationships/slide" Target="../slides/slide532.xml"/><Relationship Id="rId1" Type="http://schemas.openxmlformats.org/officeDocument/2006/relationships/notesMaster" Target="../notesMasters/notesMaster1.xml"/></Relationships>
</file>

<file path=ppt/notesSlides/_rels/notesSlide122.xml.rels><?xml version="1.0" encoding="UTF-8" standalone="yes"?>
<Relationships xmlns="http://schemas.openxmlformats.org/package/2006/relationships"><Relationship Id="rId2" Type="http://schemas.openxmlformats.org/officeDocument/2006/relationships/slide" Target="../slides/slide533.xml"/><Relationship Id="rId1" Type="http://schemas.openxmlformats.org/officeDocument/2006/relationships/notesMaster" Target="../notesMasters/notesMaster1.xml"/></Relationships>
</file>

<file path=ppt/notesSlides/_rels/notesSlide123.xml.rels><?xml version="1.0" encoding="UTF-8" standalone="yes"?>
<Relationships xmlns="http://schemas.openxmlformats.org/package/2006/relationships"><Relationship Id="rId2" Type="http://schemas.openxmlformats.org/officeDocument/2006/relationships/slide" Target="../slides/slide534.xml"/><Relationship Id="rId1" Type="http://schemas.openxmlformats.org/officeDocument/2006/relationships/notesMaster" Target="../notesMasters/notesMaster1.xml"/></Relationships>
</file>

<file path=ppt/notesSlides/_rels/notesSlide124.xml.rels><?xml version="1.0" encoding="UTF-8" standalone="yes"?>
<Relationships xmlns="http://schemas.openxmlformats.org/package/2006/relationships"><Relationship Id="rId2" Type="http://schemas.openxmlformats.org/officeDocument/2006/relationships/slide" Target="../slides/slide535.xml"/><Relationship Id="rId1" Type="http://schemas.openxmlformats.org/officeDocument/2006/relationships/notesMaster" Target="../notesMasters/notesMaster1.xml"/></Relationships>
</file>

<file path=ppt/notesSlides/_rels/notesSlide125.xml.rels><?xml version="1.0" encoding="UTF-8" standalone="yes"?>
<Relationships xmlns="http://schemas.openxmlformats.org/package/2006/relationships"><Relationship Id="rId2" Type="http://schemas.openxmlformats.org/officeDocument/2006/relationships/slide" Target="../slides/slide536.xml"/><Relationship Id="rId1" Type="http://schemas.openxmlformats.org/officeDocument/2006/relationships/notesMaster" Target="../notesMasters/notesMaster1.xml"/></Relationships>
</file>

<file path=ppt/notesSlides/_rels/notesSlide126.xml.rels><?xml version="1.0" encoding="UTF-8" standalone="yes"?>
<Relationships xmlns="http://schemas.openxmlformats.org/package/2006/relationships"><Relationship Id="rId2" Type="http://schemas.openxmlformats.org/officeDocument/2006/relationships/slide" Target="../slides/slide537.xml"/><Relationship Id="rId1" Type="http://schemas.openxmlformats.org/officeDocument/2006/relationships/notesMaster" Target="../notesMasters/notesMaster1.xml"/></Relationships>
</file>

<file path=ppt/notesSlides/_rels/notesSlide127.xml.rels><?xml version="1.0" encoding="UTF-8" standalone="yes"?>
<Relationships xmlns="http://schemas.openxmlformats.org/package/2006/relationships"><Relationship Id="rId2" Type="http://schemas.openxmlformats.org/officeDocument/2006/relationships/slide" Target="../slides/slide538.xml"/><Relationship Id="rId1" Type="http://schemas.openxmlformats.org/officeDocument/2006/relationships/notesMaster" Target="../notesMasters/notesMaster1.xml"/></Relationships>
</file>

<file path=ppt/notesSlides/_rels/notesSlide128.xml.rels><?xml version="1.0" encoding="UTF-8" standalone="yes"?>
<Relationships xmlns="http://schemas.openxmlformats.org/package/2006/relationships"><Relationship Id="rId2" Type="http://schemas.openxmlformats.org/officeDocument/2006/relationships/slide" Target="../slides/slide539.xml"/><Relationship Id="rId1" Type="http://schemas.openxmlformats.org/officeDocument/2006/relationships/notesMaster" Target="../notesMasters/notesMaster1.xml"/></Relationships>
</file>

<file path=ppt/notesSlides/_rels/notesSlide129.xml.rels><?xml version="1.0" encoding="UTF-8" standalone="yes"?>
<Relationships xmlns="http://schemas.openxmlformats.org/package/2006/relationships"><Relationship Id="rId2" Type="http://schemas.openxmlformats.org/officeDocument/2006/relationships/slide" Target="../slides/slide54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424.xml"/><Relationship Id="rId1" Type="http://schemas.openxmlformats.org/officeDocument/2006/relationships/notesMaster" Target="../notesMasters/notesMaster1.xml"/></Relationships>
</file>

<file path=ppt/notesSlides/_rels/notesSlide130.xml.rels><?xml version="1.0" encoding="UTF-8" standalone="yes"?>
<Relationships xmlns="http://schemas.openxmlformats.org/package/2006/relationships"><Relationship Id="rId2" Type="http://schemas.openxmlformats.org/officeDocument/2006/relationships/slide" Target="../slides/slide541.xml"/><Relationship Id="rId1" Type="http://schemas.openxmlformats.org/officeDocument/2006/relationships/notesMaster" Target="../notesMasters/notesMaster1.xml"/></Relationships>
</file>

<file path=ppt/notesSlides/_rels/notesSlide131.xml.rels><?xml version="1.0" encoding="UTF-8" standalone="yes"?>
<Relationships xmlns="http://schemas.openxmlformats.org/package/2006/relationships"><Relationship Id="rId2" Type="http://schemas.openxmlformats.org/officeDocument/2006/relationships/slide" Target="../slides/slide542.xml"/><Relationship Id="rId1" Type="http://schemas.openxmlformats.org/officeDocument/2006/relationships/notesMaster" Target="../notesMasters/notesMaster1.xml"/></Relationships>
</file>

<file path=ppt/notesSlides/_rels/notesSlide132.xml.rels><?xml version="1.0" encoding="UTF-8" standalone="yes"?>
<Relationships xmlns="http://schemas.openxmlformats.org/package/2006/relationships"><Relationship Id="rId2" Type="http://schemas.openxmlformats.org/officeDocument/2006/relationships/slide" Target="../slides/slide543.xml"/><Relationship Id="rId1" Type="http://schemas.openxmlformats.org/officeDocument/2006/relationships/notesMaster" Target="../notesMasters/notesMaster1.xml"/></Relationships>
</file>

<file path=ppt/notesSlides/_rels/notesSlide133.xml.rels><?xml version="1.0" encoding="UTF-8" standalone="yes"?>
<Relationships xmlns="http://schemas.openxmlformats.org/package/2006/relationships"><Relationship Id="rId2" Type="http://schemas.openxmlformats.org/officeDocument/2006/relationships/slide" Target="../slides/slide544.xml"/><Relationship Id="rId1" Type="http://schemas.openxmlformats.org/officeDocument/2006/relationships/notesMaster" Target="../notesMasters/notesMaster1.xml"/></Relationships>
</file>

<file path=ppt/notesSlides/_rels/notesSlide134.xml.rels><?xml version="1.0" encoding="UTF-8" standalone="yes"?>
<Relationships xmlns="http://schemas.openxmlformats.org/package/2006/relationships"><Relationship Id="rId2" Type="http://schemas.openxmlformats.org/officeDocument/2006/relationships/slide" Target="../slides/slide545.xml"/><Relationship Id="rId1" Type="http://schemas.openxmlformats.org/officeDocument/2006/relationships/notesMaster" Target="../notesMasters/notesMaster1.xml"/></Relationships>
</file>

<file path=ppt/notesSlides/_rels/notesSlide135.xml.rels><?xml version="1.0" encoding="UTF-8" standalone="yes"?>
<Relationships xmlns="http://schemas.openxmlformats.org/package/2006/relationships"><Relationship Id="rId2" Type="http://schemas.openxmlformats.org/officeDocument/2006/relationships/slide" Target="../slides/slide546.xml"/><Relationship Id="rId1" Type="http://schemas.openxmlformats.org/officeDocument/2006/relationships/notesMaster" Target="../notesMasters/notesMaster1.xml"/></Relationships>
</file>

<file path=ppt/notesSlides/_rels/notesSlide136.xml.rels><?xml version="1.0" encoding="UTF-8" standalone="yes"?>
<Relationships xmlns="http://schemas.openxmlformats.org/package/2006/relationships"><Relationship Id="rId2" Type="http://schemas.openxmlformats.org/officeDocument/2006/relationships/slide" Target="../slides/slide547.xml"/><Relationship Id="rId1" Type="http://schemas.openxmlformats.org/officeDocument/2006/relationships/notesMaster" Target="../notesMasters/notesMaster1.xml"/></Relationships>
</file>

<file path=ppt/notesSlides/_rels/notesSlide137.xml.rels><?xml version="1.0" encoding="UTF-8" standalone="yes"?>
<Relationships xmlns="http://schemas.openxmlformats.org/package/2006/relationships"><Relationship Id="rId2" Type="http://schemas.openxmlformats.org/officeDocument/2006/relationships/slide" Target="../slides/slide548.xml"/><Relationship Id="rId1" Type="http://schemas.openxmlformats.org/officeDocument/2006/relationships/notesMaster" Target="../notesMasters/notesMaster1.xml"/></Relationships>
</file>

<file path=ppt/notesSlides/_rels/notesSlide138.xml.rels><?xml version="1.0" encoding="UTF-8" standalone="yes"?>
<Relationships xmlns="http://schemas.openxmlformats.org/package/2006/relationships"><Relationship Id="rId2" Type="http://schemas.openxmlformats.org/officeDocument/2006/relationships/slide" Target="../slides/slide549.xml"/><Relationship Id="rId1" Type="http://schemas.openxmlformats.org/officeDocument/2006/relationships/notesMaster" Target="../notesMasters/notesMaster1.xml"/></Relationships>
</file>

<file path=ppt/notesSlides/_rels/notesSlide139.xml.rels><?xml version="1.0" encoding="UTF-8" standalone="yes"?>
<Relationships xmlns="http://schemas.openxmlformats.org/package/2006/relationships"><Relationship Id="rId2" Type="http://schemas.openxmlformats.org/officeDocument/2006/relationships/slide" Target="../slides/slide55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425.xml"/><Relationship Id="rId1" Type="http://schemas.openxmlformats.org/officeDocument/2006/relationships/notesMaster" Target="../notesMasters/notesMaster1.xml"/></Relationships>
</file>

<file path=ppt/notesSlides/_rels/notesSlide140.xml.rels><?xml version="1.0" encoding="UTF-8" standalone="yes"?>
<Relationships xmlns="http://schemas.openxmlformats.org/package/2006/relationships"><Relationship Id="rId2" Type="http://schemas.openxmlformats.org/officeDocument/2006/relationships/slide" Target="../slides/slide551.xml"/><Relationship Id="rId1" Type="http://schemas.openxmlformats.org/officeDocument/2006/relationships/notesMaster" Target="../notesMasters/notesMaster1.xml"/></Relationships>
</file>

<file path=ppt/notesSlides/_rels/notesSlide141.xml.rels><?xml version="1.0" encoding="UTF-8" standalone="yes"?>
<Relationships xmlns="http://schemas.openxmlformats.org/package/2006/relationships"><Relationship Id="rId2" Type="http://schemas.openxmlformats.org/officeDocument/2006/relationships/slide" Target="../slides/slide552.xml"/><Relationship Id="rId1" Type="http://schemas.openxmlformats.org/officeDocument/2006/relationships/notesMaster" Target="../notesMasters/notesMaster1.xml"/></Relationships>
</file>

<file path=ppt/notesSlides/_rels/notesSlide142.xml.rels><?xml version="1.0" encoding="UTF-8" standalone="yes"?>
<Relationships xmlns="http://schemas.openxmlformats.org/package/2006/relationships"><Relationship Id="rId2" Type="http://schemas.openxmlformats.org/officeDocument/2006/relationships/slide" Target="../slides/slide553.xml"/><Relationship Id="rId1" Type="http://schemas.openxmlformats.org/officeDocument/2006/relationships/notesMaster" Target="../notesMasters/notesMaster1.xml"/></Relationships>
</file>

<file path=ppt/notesSlides/_rels/notesSlide143.xml.rels><?xml version="1.0" encoding="UTF-8" standalone="yes"?>
<Relationships xmlns="http://schemas.openxmlformats.org/package/2006/relationships"><Relationship Id="rId2" Type="http://schemas.openxmlformats.org/officeDocument/2006/relationships/slide" Target="../slides/slide554.xml"/><Relationship Id="rId1" Type="http://schemas.openxmlformats.org/officeDocument/2006/relationships/notesMaster" Target="../notesMasters/notesMaster1.xml"/></Relationships>
</file>

<file path=ppt/notesSlides/_rels/notesSlide144.xml.rels><?xml version="1.0" encoding="UTF-8" standalone="yes"?>
<Relationships xmlns="http://schemas.openxmlformats.org/package/2006/relationships"><Relationship Id="rId2" Type="http://schemas.openxmlformats.org/officeDocument/2006/relationships/slide" Target="../slides/slide556.xml"/><Relationship Id="rId1" Type="http://schemas.openxmlformats.org/officeDocument/2006/relationships/notesMaster" Target="../notesMasters/notesMaster1.xml"/></Relationships>
</file>

<file path=ppt/notesSlides/_rels/notesSlide145.xml.rels><?xml version="1.0" encoding="UTF-8" standalone="yes"?>
<Relationships xmlns="http://schemas.openxmlformats.org/package/2006/relationships"><Relationship Id="rId2" Type="http://schemas.openxmlformats.org/officeDocument/2006/relationships/slide" Target="../slides/slide557.xml"/><Relationship Id="rId1" Type="http://schemas.openxmlformats.org/officeDocument/2006/relationships/notesMaster" Target="../notesMasters/notesMaster1.xml"/></Relationships>
</file>

<file path=ppt/notesSlides/_rels/notesSlide146.xml.rels><?xml version="1.0" encoding="UTF-8" standalone="yes"?>
<Relationships xmlns="http://schemas.openxmlformats.org/package/2006/relationships"><Relationship Id="rId2" Type="http://schemas.openxmlformats.org/officeDocument/2006/relationships/slide" Target="../slides/slide558.xml"/><Relationship Id="rId1" Type="http://schemas.openxmlformats.org/officeDocument/2006/relationships/notesMaster" Target="../notesMasters/notesMaster1.xml"/></Relationships>
</file>

<file path=ppt/notesSlides/_rels/notesSlide147.xml.rels><?xml version="1.0" encoding="UTF-8" standalone="yes"?>
<Relationships xmlns="http://schemas.openxmlformats.org/package/2006/relationships"><Relationship Id="rId2" Type="http://schemas.openxmlformats.org/officeDocument/2006/relationships/slide" Target="../slides/slide559.xml"/><Relationship Id="rId1" Type="http://schemas.openxmlformats.org/officeDocument/2006/relationships/notesMaster" Target="../notesMasters/notesMaster1.xml"/></Relationships>
</file>

<file path=ppt/notesSlides/_rels/notesSlide148.xml.rels><?xml version="1.0" encoding="UTF-8" standalone="yes"?>
<Relationships xmlns="http://schemas.openxmlformats.org/package/2006/relationships"><Relationship Id="rId2" Type="http://schemas.openxmlformats.org/officeDocument/2006/relationships/slide" Target="../slides/slide560.xml"/><Relationship Id="rId1" Type="http://schemas.openxmlformats.org/officeDocument/2006/relationships/notesMaster" Target="../notesMasters/notesMaster1.xml"/></Relationships>
</file>

<file path=ppt/notesSlides/_rels/notesSlide149.xml.rels><?xml version="1.0" encoding="UTF-8" standalone="yes"?>
<Relationships xmlns="http://schemas.openxmlformats.org/package/2006/relationships"><Relationship Id="rId2" Type="http://schemas.openxmlformats.org/officeDocument/2006/relationships/slide" Target="../slides/slide56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426.xml"/><Relationship Id="rId1" Type="http://schemas.openxmlformats.org/officeDocument/2006/relationships/notesMaster" Target="../notesMasters/notesMaster1.xml"/></Relationships>
</file>

<file path=ppt/notesSlides/_rels/notesSlide150.xml.rels><?xml version="1.0" encoding="UTF-8" standalone="yes"?>
<Relationships xmlns="http://schemas.openxmlformats.org/package/2006/relationships"><Relationship Id="rId2" Type="http://schemas.openxmlformats.org/officeDocument/2006/relationships/slide" Target="../slides/slide562.xml"/><Relationship Id="rId1" Type="http://schemas.openxmlformats.org/officeDocument/2006/relationships/notesMaster" Target="../notesMasters/notesMaster1.xml"/></Relationships>
</file>

<file path=ppt/notesSlides/_rels/notesSlide151.xml.rels><?xml version="1.0" encoding="UTF-8" standalone="yes"?>
<Relationships xmlns="http://schemas.openxmlformats.org/package/2006/relationships"><Relationship Id="rId2" Type="http://schemas.openxmlformats.org/officeDocument/2006/relationships/slide" Target="../slides/slide563.xml"/><Relationship Id="rId1" Type="http://schemas.openxmlformats.org/officeDocument/2006/relationships/notesMaster" Target="../notesMasters/notesMaster1.xml"/></Relationships>
</file>

<file path=ppt/notesSlides/_rels/notesSlide152.xml.rels><?xml version="1.0" encoding="UTF-8" standalone="yes"?>
<Relationships xmlns="http://schemas.openxmlformats.org/package/2006/relationships"><Relationship Id="rId2" Type="http://schemas.openxmlformats.org/officeDocument/2006/relationships/slide" Target="../slides/slide564.xml"/><Relationship Id="rId1" Type="http://schemas.openxmlformats.org/officeDocument/2006/relationships/notesMaster" Target="../notesMasters/notesMaster1.xml"/></Relationships>
</file>

<file path=ppt/notesSlides/_rels/notesSlide153.xml.rels><?xml version="1.0" encoding="UTF-8" standalone="yes"?>
<Relationships xmlns="http://schemas.openxmlformats.org/package/2006/relationships"><Relationship Id="rId2" Type="http://schemas.openxmlformats.org/officeDocument/2006/relationships/slide" Target="../slides/slide565.xml"/><Relationship Id="rId1" Type="http://schemas.openxmlformats.org/officeDocument/2006/relationships/notesMaster" Target="../notesMasters/notesMaster1.xml"/></Relationships>
</file>

<file path=ppt/notesSlides/_rels/notesSlide154.xml.rels><?xml version="1.0" encoding="UTF-8" standalone="yes"?>
<Relationships xmlns="http://schemas.openxmlformats.org/package/2006/relationships"><Relationship Id="rId2" Type="http://schemas.openxmlformats.org/officeDocument/2006/relationships/slide" Target="../slides/slide566.xml"/><Relationship Id="rId1" Type="http://schemas.openxmlformats.org/officeDocument/2006/relationships/notesMaster" Target="../notesMasters/notesMaster1.xml"/></Relationships>
</file>

<file path=ppt/notesSlides/_rels/notesSlide155.xml.rels><?xml version="1.0" encoding="UTF-8" standalone="yes"?>
<Relationships xmlns="http://schemas.openxmlformats.org/package/2006/relationships"><Relationship Id="rId2" Type="http://schemas.openxmlformats.org/officeDocument/2006/relationships/slide" Target="../slides/slide567.xml"/><Relationship Id="rId1" Type="http://schemas.openxmlformats.org/officeDocument/2006/relationships/notesMaster" Target="../notesMasters/notesMaster1.xml"/></Relationships>
</file>

<file path=ppt/notesSlides/_rels/notesSlide156.xml.rels><?xml version="1.0" encoding="UTF-8" standalone="yes"?>
<Relationships xmlns="http://schemas.openxmlformats.org/package/2006/relationships"><Relationship Id="rId2" Type="http://schemas.openxmlformats.org/officeDocument/2006/relationships/slide" Target="../slides/slide568.xml"/><Relationship Id="rId1" Type="http://schemas.openxmlformats.org/officeDocument/2006/relationships/notesMaster" Target="../notesMasters/notesMaster1.xml"/></Relationships>
</file>

<file path=ppt/notesSlides/_rels/notesSlide157.xml.rels><?xml version="1.0" encoding="UTF-8" standalone="yes"?>
<Relationships xmlns="http://schemas.openxmlformats.org/package/2006/relationships"><Relationship Id="rId2" Type="http://schemas.openxmlformats.org/officeDocument/2006/relationships/slide" Target="../slides/slide569.xml"/><Relationship Id="rId1" Type="http://schemas.openxmlformats.org/officeDocument/2006/relationships/notesMaster" Target="../notesMasters/notesMaster1.xml"/></Relationships>
</file>

<file path=ppt/notesSlides/_rels/notesSlide158.xml.rels><?xml version="1.0" encoding="UTF-8" standalone="yes"?>
<Relationships xmlns="http://schemas.openxmlformats.org/package/2006/relationships"><Relationship Id="rId2" Type="http://schemas.openxmlformats.org/officeDocument/2006/relationships/slide" Target="../slides/slide570.xml"/><Relationship Id="rId1" Type="http://schemas.openxmlformats.org/officeDocument/2006/relationships/notesMaster" Target="../notesMasters/notesMaster1.xml"/></Relationships>
</file>

<file path=ppt/notesSlides/_rels/notesSlide159.xml.rels><?xml version="1.0" encoding="UTF-8" standalone="yes"?>
<Relationships xmlns="http://schemas.openxmlformats.org/package/2006/relationships"><Relationship Id="rId2" Type="http://schemas.openxmlformats.org/officeDocument/2006/relationships/slide" Target="../slides/slide57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427.xml"/><Relationship Id="rId1" Type="http://schemas.openxmlformats.org/officeDocument/2006/relationships/notesMaster" Target="../notesMasters/notesMaster1.xml"/></Relationships>
</file>

<file path=ppt/notesSlides/_rels/notesSlide160.xml.rels><?xml version="1.0" encoding="UTF-8" standalone="yes"?>
<Relationships xmlns="http://schemas.openxmlformats.org/package/2006/relationships"><Relationship Id="rId2" Type="http://schemas.openxmlformats.org/officeDocument/2006/relationships/slide" Target="../slides/slide572.xml"/><Relationship Id="rId1" Type="http://schemas.openxmlformats.org/officeDocument/2006/relationships/notesMaster" Target="../notesMasters/notesMaster1.xml"/></Relationships>
</file>

<file path=ppt/notesSlides/_rels/notesSlide161.xml.rels><?xml version="1.0" encoding="UTF-8" standalone="yes"?>
<Relationships xmlns="http://schemas.openxmlformats.org/package/2006/relationships"><Relationship Id="rId2" Type="http://schemas.openxmlformats.org/officeDocument/2006/relationships/slide" Target="../slides/slide573.xml"/><Relationship Id="rId1" Type="http://schemas.openxmlformats.org/officeDocument/2006/relationships/notesMaster" Target="../notesMasters/notesMaster1.xml"/></Relationships>
</file>

<file path=ppt/notesSlides/_rels/notesSlide162.xml.rels><?xml version="1.0" encoding="UTF-8" standalone="yes"?>
<Relationships xmlns="http://schemas.openxmlformats.org/package/2006/relationships"><Relationship Id="rId2" Type="http://schemas.openxmlformats.org/officeDocument/2006/relationships/slide" Target="../slides/slide574.xml"/><Relationship Id="rId1" Type="http://schemas.openxmlformats.org/officeDocument/2006/relationships/notesMaster" Target="../notesMasters/notesMaster1.xml"/></Relationships>
</file>

<file path=ppt/notesSlides/_rels/notesSlide163.xml.rels><?xml version="1.0" encoding="UTF-8" standalone="yes"?>
<Relationships xmlns="http://schemas.openxmlformats.org/package/2006/relationships"><Relationship Id="rId2" Type="http://schemas.openxmlformats.org/officeDocument/2006/relationships/slide" Target="../slides/slide575.xml"/><Relationship Id="rId1" Type="http://schemas.openxmlformats.org/officeDocument/2006/relationships/notesMaster" Target="../notesMasters/notesMaster1.xml"/></Relationships>
</file>

<file path=ppt/notesSlides/_rels/notesSlide164.xml.rels><?xml version="1.0" encoding="UTF-8" standalone="yes"?>
<Relationships xmlns="http://schemas.openxmlformats.org/package/2006/relationships"><Relationship Id="rId2" Type="http://schemas.openxmlformats.org/officeDocument/2006/relationships/slide" Target="../slides/slide576.xml"/><Relationship Id="rId1" Type="http://schemas.openxmlformats.org/officeDocument/2006/relationships/notesMaster" Target="../notesMasters/notesMaster1.xml"/></Relationships>
</file>

<file path=ppt/notesSlides/_rels/notesSlide165.xml.rels><?xml version="1.0" encoding="UTF-8" standalone="yes"?>
<Relationships xmlns="http://schemas.openxmlformats.org/package/2006/relationships"><Relationship Id="rId2" Type="http://schemas.openxmlformats.org/officeDocument/2006/relationships/slide" Target="../slides/slide577.xml"/><Relationship Id="rId1" Type="http://schemas.openxmlformats.org/officeDocument/2006/relationships/notesMaster" Target="../notesMasters/notesMaster1.xml"/></Relationships>
</file>

<file path=ppt/notesSlides/_rels/notesSlide166.xml.rels><?xml version="1.0" encoding="UTF-8" standalone="yes"?>
<Relationships xmlns="http://schemas.openxmlformats.org/package/2006/relationships"><Relationship Id="rId2" Type="http://schemas.openxmlformats.org/officeDocument/2006/relationships/slide" Target="../slides/slide578.xml"/><Relationship Id="rId1" Type="http://schemas.openxmlformats.org/officeDocument/2006/relationships/notesMaster" Target="../notesMasters/notesMaster1.xml"/></Relationships>
</file>

<file path=ppt/notesSlides/_rels/notesSlide167.xml.rels><?xml version="1.0" encoding="UTF-8" standalone="yes"?>
<Relationships xmlns="http://schemas.openxmlformats.org/package/2006/relationships"><Relationship Id="rId2" Type="http://schemas.openxmlformats.org/officeDocument/2006/relationships/slide" Target="../slides/slide579.xml"/><Relationship Id="rId1" Type="http://schemas.openxmlformats.org/officeDocument/2006/relationships/notesMaster" Target="../notesMasters/notesMaster1.xml"/></Relationships>
</file>

<file path=ppt/notesSlides/_rels/notesSlide168.xml.rels><?xml version="1.0" encoding="UTF-8" standalone="yes"?>
<Relationships xmlns="http://schemas.openxmlformats.org/package/2006/relationships"><Relationship Id="rId2" Type="http://schemas.openxmlformats.org/officeDocument/2006/relationships/slide" Target="../slides/slide580.xml"/><Relationship Id="rId1" Type="http://schemas.openxmlformats.org/officeDocument/2006/relationships/notesMaster" Target="../notesMasters/notesMaster1.xml"/></Relationships>
</file>

<file path=ppt/notesSlides/_rels/notesSlide169.xml.rels><?xml version="1.0" encoding="UTF-8" standalone="yes"?>
<Relationships xmlns="http://schemas.openxmlformats.org/package/2006/relationships"><Relationship Id="rId2" Type="http://schemas.openxmlformats.org/officeDocument/2006/relationships/slide" Target="../slides/slide58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428.xml"/><Relationship Id="rId1" Type="http://schemas.openxmlformats.org/officeDocument/2006/relationships/notesMaster" Target="../notesMasters/notesMaster1.xml"/></Relationships>
</file>

<file path=ppt/notesSlides/_rels/notesSlide170.xml.rels><?xml version="1.0" encoding="UTF-8" standalone="yes"?>
<Relationships xmlns="http://schemas.openxmlformats.org/package/2006/relationships"><Relationship Id="rId2" Type="http://schemas.openxmlformats.org/officeDocument/2006/relationships/slide" Target="../slides/slide582.xml"/><Relationship Id="rId1" Type="http://schemas.openxmlformats.org/officeDocument/2006/relationships/notesMaster" Target="../notesMasters/notesMaster1.xml"/></Relationships>
</file>

<file path=ppt/notesSlides/_rels/notesSlide171.xml.rels><?xml version="1.0" encoding="UTF-8" standalone="yes"?>
<Relationships xmlns="http://schemas.openxmlformats.org/package/2006/relationships"><Relationship Id="rId2" Type="http://schemas.openxmlformats.org/officeDocument/2006/relationships/slide" Target="../slides/slide583.xml"/><Relationship Id="rId1" Type="http://schemas.openxmlformats.org/officeDocument/2006/relationships/notesMaster" Target="../notesMasters/notesMaster1.xml"/></Relationships>
</file>

<file path=ppt/notesSlides/_rels/notesSlide172.xml.rels><?xml version="1.0" encoding="UTF-8" standalone="yes"?>
<Relationships xmlns="http://schemas.openxmlformats.org/package/2006/relationships"><Relationship Id="rId2" Type="http://schemas.openxmlformats.org/officeDocument/2006/relationships/slide" Target="../slides/slide584.xml"/><Relationship Id="rId1" Type="http://schemas.openxmlformats.org/officeDocument/2006/relationships/notesMaster" Target="../notesMasters/notesMaster1.xml"/></Relationships>
</file>

<file path=ppt/notesSlides/_rels/notesSlide173.xml.rels><?xml version="1.0" encoding="UTF-8" standalone="yes"?>
<Relationships xmlns="http://schemas.openxmlformats.org/package/2006/relationships"><Relationship Id="rId2" Type="http://schemas.openxmlformats.org/officeDocument/2006/relationships/slide" Target="../slides/slide585.xml"/><Relationship Id="rId1" Type="http://schemas.openxmlformats.org/officeDocument/2006/relationships/notesMaster" Target="../notesMasters/notesMaster1.xml"/></Relationships>
</file>

<file path=ppt/notesSlides/_rels/notesSlide174.xml.rels><?xml version="1.0" encoding="UTF-8" standalone="yes"?>
<Relationships xmlns="http://schemas.openxmlformats.org/package/2006/relationships"><Relationship Id="rId2" Type="http://schemas.openxmlformats.org/officeDocument/2006/relationships/slide" Target="../slides/slide586.xml"/><Relationship Id="rId1" Type="http://schemas.openxmlformats.org/officeDocument/2006/relationships/notesMaster" Target="../notesMasters/notesMaster1.xml"/></Relationships>
</file>

<file path=ppt/notesSlides/_rels/notesSlide175.xml.rels><?xml version="1.0" encoding="UTF-8" standalone="yes"?>
<Relationships xmlns="http://schemas.openxmlformats.org/package/2006/relationships"><Relationship Id="rId2" Type="http://schemas.openxmlformats.org/officeDocument/2006/relationships/slide" Target="../slides/slide587.xml"/><Relationship Id="rId1" Type="http://schemas.openxmlformats.org/officeDocument/2006/relationships/notesMaster" Target="../notesMasters/notesMaster1.xml"/></Relationships>
</file>

<file path=ppt/notesSlides/_rels/notesSlide176.xml.rels><?xml version="1.0" encoding="UTF-8" standalone="yes"?>
<Relationships xmlns="http://schemas.openxmlformats.org/package/2006/relationships"><Relationship Id="rId2" Type="http://schemas.openxmlformats.org/officeDocument/2006/relationships/slide" Target="../slides/slide588.xml"/><Relationship Id="rId1" Type="http://schemas.openxmlformats.org/officeDocument/2006/relationships/notesMaster" Target="../notesMasters/notesMaster1.xml"/></Relationships>
</file>

<file path=ppt/notesSlides/_rels/notesSlide177.xml.rels><?xml version="1.0" encoding="UTF-8" standalone="yes"?>
<Relationships xmlns="http://schemas.openxmlformats.org/package/2006/relationships"><Relationship Id="rId2" Type="http://schemas.openxmlformats.org/officeDocument/2006/relationships/slide" Target="../slides/slide589.xml"/><Relationship Id="rId1" Type="http://schemas.openxmlformats.org/officeDocument/2006/relationships/notesMaster" Target="../notesMasters/notesMaster1.xml"/></Relationships>
</file>

<file path=ppt/notesSlides/_rels/notesSlide178.xml.rels><?xml version="1.0" encoding="UTF-8" standalone="yes"?>
<Relationships xmlns="http://schemas.openxmlformats.org/package/2006/relationships"><Relationship Id="rId2" Type="http://schemas.openxmlformats.org/officeDocument/2006/relationships/slide" Target="../slides/slide590.xml"/><Relationship Id="rId1" Type="http://schemas.openxmlformats.org/officeDocument/2006/relationships/notesMaster" Target="../notesMasters/notesMaster1.xml"/></Relationships>
</file>

<file path=ppt/notesSlides/_rels/notesSlide179.xml.rels><?xml version="1.0" encoding="UTF-8" standalone="yes"?>
<Relationships xmlns="http://schemas.openxmlformats.org/package/2006/relationships"><Relationship Id="rId2" Type="http://schemas.openxmlformats.org/officeDocument/2006/relationships/slide" Target="../slides/slide59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29.xml"/><Relationship Id="rId1" Type="http://schemas.openxmlformats.org/officeDocument/2006/relationships/notesMaster" Target="../notesMasters/notesMaster1.xml"/></Relationships>
</file>

<file path=ppt/notesSlides/_rels/notesSlide180.xml.rels><?xml version="1.0" encoding="UTF-8" standalone="yes"?>
<Relationships xmlns="http://schemas.openxmlformats.org/package/2006/relationships"><Relationship Id="rId2" Type="http://schemas.openxmlformats.org/officeDocument/2006/relationships/slide" Target="../slides/slide592.xml"/><Relationship Id="rId1" Type="http://schemas.openxmlformats.org/officeDocument/2006/relationships/notesMaster" Target="../notesMasters/notesMaster1.xml"/></Relationships>
</file>

<file path=ppt/notesSlides/_rels/notesSlide181.xml.rels><?xml version="1.0" encoding="UTF-8" standalone="yes"?>
<Relationships xmlns="http://schemas.openxmlformats.org/package/2006/relationships"><Relationship Id="rId2" Type="http://schemas.openxmlformats.org/officeDocument/2006/relationships/slide" Target="../slides/slide593.xml"/><Relationship Id="rId1" Type="http://schemas.openxmlformats.org/officeDocument/2006/relationships/notesMaster" Target="../notesMasters/notesMaster1.xml"/></Relationships>
</file>

<file path=ppt/notesSlides/_rels/notesSlide182.xml.rels><?xml version="1.0" encoding="UTF-8" standalone="yes"?>
<Relationships xmlns="http://schemas.openxmlformats.org/package/2006/relationships"><Relationship Id="rId2" Type="http://schemas.openxmlformats.org/officeDocument/2006/relationships/slide" Target="../slides/slide594.xml"/><Relationship Id="rId1" Type="http://schemas.openxmlformats.org/officeDocument/2006/relationships/notesMaster" Target="../notesMasters/notesMaster1.xml"/></Relationships>
</file>

<file path=ppt/notesSlides/_rels/notesSlide183.xml.rels><?xml version="1.0" encoding="UTF-8" standalone="yes"?>
<Relationships xmlns="http://schemas.openxmlformats.org/package/2006/relationships"><Relationship Id="rId2" Type="http://schemas.openxmlformats.org/officeDocument/2006/relationships/slide" Target="../slides/slide595.xml"/><Relationship Id="rId1" Type="http://schemas.openxmlformats.org/officeDocument/2006/relationships/notesMaster" Target="../notesMasters/notesMaster1.xml"/></Relationships>
</file>

<file path=ppt/notesSlides/_rels/notesSlide184.xml.rels><?xml version="1.0" encoding="UTF-8" standalone="yes"?>
<Relationships xmlns="http://schemas.openxmlformats.org/package/2006/relationships"><Relationship Id="rId2" Type="http://schemas.openxmlformats.org/officeDocument/2006/relationships/slide" Target="../slides/slide596.xml"/><Relationship Id="rId1" Type="http://schemas.openxmlformats.org/officeDocument/2006/relationships/notesMaster" Target="../notesMasters/notesMaster1.xml"/></Relationships>
</file>

<file path=ppt/notesSlides/_rels/notesSlide185.xml.rels><?xml version="1.0" encoding="UTF-8" standalone="yes"?>
<Relationships xmlns="http://schemas.openxmlformats.org/package/2006/relationships"><Relationship Id="rId2" Type="http://schemas.openxmlformats.org/officeDocument/2006/relationships/slide" Target="../slides/slide597.xml"/><Relationship Id="rId1" Type="http://schemas.openxmlformats.org/officeDocument/2006/relationships/notesMaster" Target="../notesMasters/notesMaster1.xml"/></Relationships>
</file>

<file path=ppt/notesSlides/_rels/notesSlide186.xml.rels><?xml version="1.0" encoding="UTF-8" standalone="yes"?>
<Relationships xmlns="http://schemas.openxmlformats.org/package/2006/relationships"><Relationship Id="rId2" Type="http://schemas.openxmlformats.org/officeDocument/2006/relationships/slide" Target="../slides/slide598.xml"/><Relationship Id="rId1" Type="http://schemas.openxmlformats.org/officeDocument/2006/relationships/notesMaster" Target="../notesMasters/notesMaster1.xml"/></Relationships>
</file>

<file path=ppt/notesSlides/_rels/notesSlide187.xml.rels><?xml version="1.0" encoding="UTF-8" standalone="yes"?>
<Relationships xmlns="http://schemas.openxmlformats.org/package/2006/relationships"><Relationship Id="rId2" Type="http://schemas.openxmlformats.org/officeDocument/2006/relationships/slide" Target="../slides/slide599.xml"/><Relationship Id="rId1" Type="http://schemas.openxmlformats.org/officeDocument/2006/relationships/notesMaster" Target="../notesMasters/notesMaster1.xml"/></Relationships>
</file>

<file path=ppt/notesSlides/_rels/notesSlide188.xml.rels><?xml version="1.0" encoding="UTF-8" standalone="yes"?>
<Relationships xmlns="http://schemas.openxmlformats.org/package/2006/relationships"><Relationship Id="rId2" Type="http://schemas.openxmlformats.org/officeDocument/2006/relationships/slide" Target="../slides/slide600.xml"/><Relationship Id="rId1" Type="http://schemas.openxmlformats.org/officeDocument/2006/relationships/notesMaster" Target="../notesMasters/notesMaster1.xml"/></Relationships>
</file>

<file path=ppt/notesSlides/_rels/notesSlide189.xml.rels><?xml version="1.0" encoding="UTF-8" standalone="yes"?>
<Relationships xmlns="http://schemas.openxmlformats.org/package/2006/relationships"><Relationship Id="rId2" Type="http://schemas.openxmlformats.org/officeDocument/2006/relationships/slide" Target="../slides/slide60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30.xml"/><Relationship Id="rId1" Type="http://schemas.openxmlformats.org/officeDocument/2006/relationships/notesMaster" Target="../notesMasters/notesMaster1.xml"/></Relationships>
</file>

<file path=ppt/notesSlides/_rels/notesSlide190.xml.rels><?xml version="1.0" encoding="UTF-8" standalone="yes"?>
<Relationships xmlns="http://schemas.openxmlformats.org/package/2006/relationships"><Relationship Id="rId2" Type="http://schemas.openxmlformats.org/officeDocument/2006/relationships/slide" Target="../slides/slide602.xml"/><Relationship Id="rId1" Type="http://schemas.openxmlformats.org/officeDocument/2006/relationships/notesMaster" Target="../notesMasters/notesMaster1.xml"/></Relationships>
</file>

<file path=ppt/notesSlides/_rels/notesSlide191.xml.rels><?xml version="1.0" encoding="UTF-8" standalone="yes"?>
<Relationships xmlns="http://schemas.openxmlformats.org/package/2006/relationships"><Relationship Id="rId2" Type="http://schemas.openxmlformats.org/officeDocument/2006/relationships/slide" Target="../slides/slide603.xml"/><Relationship Id="rId1" Type="http://schemas.openxmlformats.org/officeDocument/2006/relationships/notesMaster" Target="../notesMasters/notesMaster1.xml"/></Relationships>
</file>

<file path=ppt/notesSlides/_rels/notesSlide192.xml.rels><?xml version="1.0" encoding="UTF-8" standalone="yes"?>
<Relationships xmlns="http://schemas.openxmlformats.org/package/2006/relationships"><Relationship Id="rId2" Type="http://schemas.openxmlformats.org/officeDocument/2006/relationships/slide" Target="../slides/slide604.xml"/><Relationship Id="rId1" Type="http://schemas.openxmlformats.org/officeDocument/2006/relationships/notesMaster" Target="../notesMasters/notesMaster1.xml"/></Relationships>
</file>

<file path=ppt/notesSlides/_rels/notesSlide193.xml.rels><?xml version="1.0" encoding="UTF-8" standalone="yes"?>
<Relationships xmlns="http://schemas.openxmlformats.org/package/2006/relationships"><Relationship Id="rId2" Type="http://schemas.openxmlformats.org/officeDocument/2006/relationships/slide" Target="../slides/slide605.xml"/><Relationship Id="rId1" Type="http://schemas.openxmlformats.org/officeDocument/2006/relationships/notesMaster" Target="../notesMasters/notesMaster1.xml"/></Relationships>
</file>

<file path=ppt/notesSlides/_rels/notesSlide194.xml.rels><?xml version="1.0" encoding="UTF-8" standalone="yes"?>
<Relationships xmlns="http://schemas.openxmlformats.org/package/2006/relationships"><Relationship Id="rId2" Type="http://schemas.openxmlformats.org/officeDocument/2006/relationships/slide" Target="../slides/slide606.xml"/><Relationship Id="rId1" Type="http://schemas.openxmlformats.org/officeDocument/2006/relationships/notesMaster" Target="../notesMasters/notesMaster1.xml"/></Relationships>
</file>

<file path=ppt/notesSlides/_rels/notesSlide195.xml.rels><?xml version="1.0" encoding="UTF-8" standalone="yes"?>
<Relationships xmlns="http://schemas.openxmlformats.org/package/2006/relationships"><Relationship Id="rId2" Type="http://schemas.openxmlformats.org/officeDocument/2006/relationships/slide" Target="../slides/slide607.xml"/><Relationship Id="rId1" Type="http://schemas.openxmlformats.org/officeDocument/2006/relationships/notesMaster" Target="../notesMasters/notesMaster1.xml"/></Relationships>
</file>

<file path=ppt/notesSlides/_rels/notesSlide196.xml.rels><?xml version="1.0" encoding="UTF-8" standalone="yes"?>
<Relationships xmlns="http://schemas.openxmlformats.org/package/2006/relationships"><Relationship Id="rId2" Type="http://schemas.openxmlformats.org/officeDocument/2006/relationships/slide" Target="../slides/slide608.xml"/><Relationship Id="rId1" Type="http://schemas.openxmlformats.org/officeDocument/2006/relationships/notesMaster" Target="../notesMasters/notesMaster1.xml"/></Relationships>
</file>

<file path=ppt/notesSlides/_rels/notesSlide197.xml.rels><?xml version="1.0" encoding="UTF-8" standalone="yes"?>
<Relationships xmlns="http://schemas.openxmlformats.org/package/2006/relationships"><Relationship Id="rId2" Type="http://schemas.openxmlformats.org/officeDocument/2006/relationships/slide" Target="../slides/slide609.xml"/><Relationship Id="rId1" Type="http://schemas.openxmlformats.org/officeDocument/2006/relationships/notesMaster" Target="../notesMasters/notesMaster1.xml"/></Relationships>
</file>

<file path=ppt/notesSlides/_rels/notesSlide198.xml.rels><?xml version="1.0" encoding="UTF-8" standalone="yes"?>
<Relationships xmlns="http://schemas.openxmlformats.org/package/2006/relationships"><Relationship Id="rId2" Type="http://schemas.openxmlformats.org/officeDocument/2006/relationships/slide" Target="../slides/slide610.xml"/><Relationship Id="rId1" Type="http://schemas.openxmlformats.org/officeDocument/2006/relationships/notesMaster" Target="../notesMasters/notesMaster1.xml"/></Relationships>
</file>

<file path=ppt/notesSlides/_rels/notesSlide199.xml.rels><?xml version="1.0" encoding="UTF-8" standalone="yes"?>
<Relationships xmlns="http://schemas.openxmlformats.org/package/2006/relationships"><Relationship Id="rId2" Type="http://schemas.openxmlformats.org/officeDocument/2006/relationships/slide" Target="../slides/slide61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11.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31.xml"/><Relationship Id="rId1" Type="http://schemas.openxmlformats.org/officeDocument/2006/relationships/notesMaster" Target="../notesMasters/notesMaster1.xml"/></Relationships>
</file>

<file path=ppt/notesSlides/_rels/notesSlide200.xml.rels><?xml version="1.0" encoding="UTF-8" standalone="yes"?>
<Relationships xmlns="http://schemas.openxmlformats.org/package/2006/relationships"><Relationship Id="rId2" Type="http://schemas.openxmlformats.org/officeDocument/2006/relationships/slide" Target="../slides/slide612.xml"/><Relationship Id="rId1" Type="http://schemas.openxmlformats.org/officeDocument/2006/relationships/notesMaster" Target="../notesMasters/notesMaster1.xml"/></Relationships>
</file>

<file path=ppt/notesSlides/_rels/notesSlide201.xml.rels><?xml version="1.0" encoding="UTF-8" standalone="yes"?>
<Relationships xmlns="http://schemas.openxmlformats.org/package/2006/relationships"><Relationship Id="rId2" Type="http://schemas.openxmlformats.org/officeDocument/2006/relationships/slide" Target="../slides/slide613.xml"/><Relationship Id="rId1" Type="http://schemas.openxmlformats.org/officeDocument/2006/relationships/notesMaster" Target="../notesMasters/notesMaster1.xml"/></Relationships>
</file>

<file path=ppt/notesSlides/_rels/notesSlide202.xml.rels><?xml version="1.0" encoding="UTF-8" standalone="yes"?>
<Relationships xmlns="http://schemas.openxmlformats.org/package/2006/relationships"><Relationship Id="rId2" Type="http://schemas.openxmlformats.org/officeDocument/2006/relationships/slide" Target="../slides/slide614.xml"/><Relationship Id="rId1" Type="http://schemas.openxmlformats.org/officeDocument/2006/relationships/notesMaster" Target="../notesMasters/notesMaster1.xml"/></Relationships>
</file>

<file path=ppt/notesSlides/_rels/notesSlide203.xml.rels><?xml version="1.0" encoding="UTF-8" standalone="yes"?>
<Relationships xmlns="http://schemas.openxmlformats.org/package/2006/relationships"><Relationship Id="rId2" Type="http://schemas.openxmlformats.org/officeDocument/2006/relationships/slide" Target="../slides/slide615.xml"/><Relationship Id="rId1" Type="http://schemas.openxmlformats.org/officeDocument/2006/relationships/notesMaster" Target="../notesMasters/notesMaster1.xml"/></Relationships>
</file>

<file path=ppt/notesSlides/_rels/notesSlide204.xml.rels><?xml version="1.0" encoding="UTF-8" standalone="yes"?>
<Relationships xmlns="http://schemas.openxmlformats.org/package/2006/relationships"><Relationship Id="rId2" Type="http://schemas.openxmlformats.org/officeDocument/2006/relationships/slide" Target="../slides/slide616.xml"/><Relationship Id="rId1" Type="http://schemas.openxmlformats.org/officeDocument/2006/relationships/notesMaster" Target="../notesMasters/notesMaster1.xml"/></Relationships>
</file>

<file path=ppt/notesSlides/_rels/notesSlide205.xml.rels><?xml version="1.0" encoding="UTF-8" standalone="yes"?>
<Relationships xmlns="http://schemas.openxmlformats.org/package/2006/relationships"><Relationship Id="rId2" Type="http://schemas.openxmlformats.org/officeDocument/2006/relationships/slide" Target="../slides/slide617.xml"/><Relationship Id="rId1" Type="http://schemas.openxmlformats.org/officeDocument/2006/relationships/notesMaster" Target="../notesMasters/notesMaster1.xml"/></Relationships>
</file>

<file path=ppt/notesSlides/_rels/notesSlide206.xml.rels><?xml version="1.0" encoding="UTF-8" standalone="yes"?>
<Relationships xmlns="http://schemas.openxmlformats.org/package/2006/relationships"><Relationship Id="rId2" Type="http://schemas.openxmlformats.org/officeDocument/2006/relationships/slide" Target="../slides/slide618.xml"/><Relationship Id="rId1" Type="http://schemas.openxmlformats.org/officeDocument/2006/relationships/notesMaster" Target="../notesMasters/notesMaster1.xml"/></Relationships>
</file>

<file path=ppt/notesSlides/_rels/notesSlide207.xml.rels><?xml version="1.0" encoding="UTF-8" standalone="yes"?>
<Relationships xmlns="http://schemas.openxmlformats.org/package/2006/relationships"><Relationship Id="rId2" Type="http://schemas.openxmlformats.org/officeDocument/2006/relationships/slide" Target="../slides/slide619.xml"/><Relationship Id="rId1" Type="http://schemas.openxmlformats.org/officeDocument/2006/relationships/notesMaster" Target="../notesMasters/notesMaster1.xml"/></Relationships>
</file>

<file path=ppt/notesSlides/_rels/notesSlide208.xml.rels><?xml version="1.0" encoding="UTF-8" standalone="yes"?>
<Relationships xmlns="http://schemas.openxmlformats.org/package/2006/relationships"><Relationship Id="rId2" Type="http://schemas.openxmlformats.org/officeDocument/2006/relationships/slide" Target="../slides/slide620.xml"/><Relationship Id="rId1" Type="http://schemas.openxmlformats.org/officeDocument/2006/relationships/notesMaster" Target="../notesMasters/notesMaster1.xml"/></Relationships>
</file>

<file path=ppt/notesSlides/_rels/notesSlide209.xml.rels><?xml version="1.0" encoding="UTF-8" standalone="yes"?>
<Relationships xmlns="http://schemas.openxmlformats.org/package/2006/relationships"><Relationship Id="rId2" Type="http://schemas.openxmlformats.org/officeDocument/2006/relationships/slide" Target="../slides/slide6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32.xml"/><Relationship Id="rId1" Type="http://schemas.openxmlformats.org/officeDocument/2006/relationships/notesMaster" Target="../notesMasters/notesMaster1.xml"/></Relationships>
</file>

<file path=ppt/notesSlides/_rels/notesSlide210.xml.rels><?xml version="1.0" encoding="UTF-8" standalone="yes"?>
<Relationships xmlns="http://schemas.openxmlformats.org/package/2006/relationships"><Relationship Id="rId2" Type="http://schemas.openxmlformats.org/officeDocument/2006/relationships/slide" Target="../slides/slide622.xml"/><Relationship Id="rId1" Type="http://schemas.openxmlformats.org/officeDocument/2006/relationships/notesMaster" Target="../notesMasters/notesMaster1.xml"/></Relationships>
</file>

<file path=ppt/notesSlides/_rels/notesSlide211.xml.rels><?xml version="1.0" encoding="UTF-8" standalone="yes"?>
<Relationships xmlns="http://schemas.openxmlformats.org/package/2006/relationships"><Relationship Id="rId2" Type="http://schemas.openxmlformats.org/officeDocument/2006/relationships/slide" Target="../slides/slide623.xml"/><Relationship Id="rId1" Type="http://schemas.openxmlformats.org/officeDocument/2006/relationships/notesMaster" Target="../notesMasters/notesMaster1.xml"/></Relationships>
</file>

<file path=ppt/notesSlides/_rels/notesSlide212.xml.rels><?xml version="1.0" encoding="UTF-8" standalone="yes"?>
<Relationships xmlns="http://schemas.openxmlformats.org/package/2006/relationships"><Relationship Id="rId2" Type="http://schemas.openxmlformats.org/officeDocument/2006/relationships/slide" Target="../slides/slide624.xml"/><Relationship Id="rId1" Type="http://schemas.openxmlformats.org/officeDocument/2006/relationships/notesMaster" Target="../notesMasters/notesMaster1.xml"/></Relationships>
</file>

<file path=ppt/notesSlides/_rels/notesSlide213.xml.rels><?xml version="1.0" encoding="UTF-8" standalone="yes"?>
<Relationships xmlns="http://schemas.openxmlformats.org/package/2006/relationships"><Relationship Id="rId2" Type="http://schemas.openxmlformats.org/officeDocument/2006/relationships/slide" Target="../slides/slide625.xml"/><Relationship Id="rId1" Type="http://schemas.openxmlformats.org/officeDocument/2006/relationships/notesMaster" Target="../notesMasters/notesMaster1.xml"/></Relationships>
</file>

<file path=ppt/notesSlides/_rels/notesSlide214.xml.rels><?xml version="1.0" encoding="UTF-8" standalone="yes"?>
<Relationships xmlns="http://schemas.openxmlformats.org/package/2006/relationships"><Relationship Id="rId2" Type="http://schemas.openxmlformats.org/officeDocument/2006/relationships/slide" Target="../slides/slide626.xml"/><Relationship Id="rId1" Type="http://schemas.openxmlformats.org/officeDocument/2006/relationships/notesMaster" Target="../notesMasters/notesMaster1.xml"/></Relationships>
</file>

<file path=ppt/notesSlides/_rels/notesSlide215.xml.rels><?xml version="1.0" encoding="UTF-8" standalone="yes"?>
<Relationships xmlns="http://schemas.openxmlformats.org/package/2006/relationships"><Relationship Id="rId2" Type="http://schemas.openxmlformats.org/officeDocument/2006/relationships/slide" Target="../slides/slide627.xml"/><Relationship Id="rId1" Type="http://schemas.openxmlformats.org/officeDocument/2006/relationships/notesMaster" Target="../notesMasters/notesMaster1.xml"/></Relationships>
</file>

<file path=ppt/notesSlides/_rels/notesSlide216.xml.rels><?xml version="1.0" encoding="UTF-8" standalone="yes"?>
<Relationships xmlns="http://schemas.openxmlformats.org/package/2006/relationships"><Relationship Id="rId2" Type="http://schemas.openxmlformats.org/officeDocument/2006/relationships/slide" Target="../slides/slide628.xml"/><Relationship Id="rId1" Type="http://schemas.openxmlformats.org/officeDocument/2006/relationships/notesMaster" Target="../notesMasters/notesMaster1.xml"/></Relationships>
</file>

<file path=ppt/notesSlides/_rels/notesSlide217.xml.rels><?xml version="1.0" encoding="UTF-8" standalone="yes"?>
<Relationships xmlns="http://schemas.openxmlformats.org/package/2006/relationships"><Relationship Id="rId2" Type="http://schemas.openxmlformats.org/officeDocument/2006/relationships/slide" Target="../slides/slide629.xml"/><Relationship Id="rId1" Type="http://schemas.openxmlformats.org/officeDocument/2006/relationships/notesMaster" Target="../notesMasters/notesMaster1.xml"/></Relationships>
</file>

<file path=ppt/notesSlides/_rels/notesSlide218.xml.rels><?xml version="1.0" encoding="UTF-8" standalone="yes"?>
<Relationships xmlns="http://schemas.openxmlformats.org/package/2006/relationships"><Relationship Id="rId2" Type="http://schemas.openxmlformats.org/officeDocument/2006/relationships/slide" Target="../slides/slide630.xml"/><Relationship Id="rId1" Type="http://schemas.openxmlformats.org/officeDocument/2006/relationships/notesMaster" Target="../notesMasters/notesMaster1.xml"/></Relationships>
</file>

<file path=ppt/notesSlides/_rels/notesSlide219.xml.rels><?xml version="1.0" encoding="UTF-8" standalone="yes"?>
<Relationships xmlns="http://schemas.openxmlformats.org/package/2006/relationships"><Relationship Id="rId2" Type="http://schemas.openxmlformats.org/officeDocument/2006/relationships/slide" Target="../slides/slide63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33.xml"/><Relationship Id="rId1" Type="http://schemas.openxmlformats.org/officeDocument/2006/relationships/notesMaster" Target="../notesMasters/notesMaster1.xml"/></Relationships>
</file>

<file path=ppt/notesSlides/_rels/notesSlide220.xml.rels><?xml version="1.0" encoding="UTF-8" standalone="yes"?>
<Relationships xmlns="http://schemas.openxmlformats.org/package/2006/relationships"><Relationship Id="rId2" Type="http://schemas.openxmlformats.org/officeDocument/2006/relationships/slide" Target="../slides/slide632.xml"/><Relationship Id="rId1" Type="http://schemas.openxmlformats.org/officeDocument/2006/relationships/notesMaster" Target="../notesMasters/notesMaster1.xml"/></Relationships>
</file>

<file path=ppt/notesSlides/_rels/notesSlide221.xml.rels><?xml version="1.0" encoding="UTF-8" standalone="yes"?>
<Relationships xmlns="http://schemas.openxmlformats.org/package/2006/relationships"><Relationship Id="rId2" Type="http://schemas.openxmlformats.org/officeDocument/2006/relationships/slide" Target="../slides/slide633.xml"/><Relationship Id="rId1" Type="http://schemas.openxmlformats.org/officeDocument/2006/relationships/notesMaster" Target="../notesMasters/notesMaster1.xml"/></Relationships>
</file>

<file path=ppt/notesSlides/_rels/notesSlide222.xml.rels><?xml version="1.0" encoding="UTF-8" standalone="yes"?>
<Relationships xmlns="http://schemas.openxmlformats.org/package/2006/relationships"><Relationship Id="rId2" Type="http://schemas.openxmlformats.org/officeDocument/2006/relationships/slide" Target="../slides/slide634.xml"/><Relationship Id="rId1" Type="http://schemas.openxmlformats.org/officeDocument/2006/relationships/notesMaster" Target="../notesMasters/notesMaster1.xml"/></Relationships>
</file>

<file path=ppt/notesSlides/_rels/notesSlide223.xml.rels><?xml version="1.0" encoding="UTF-8" standalone="yes"?>
<Relationships xmlns="http://schemas.openxmlformats.org/package/2006/relationships"><Relationship Id="rId2" Type="http://schemas.openxmlformats.org/officeDocument/2006/relationships/slide" Target="../slides/slide635.xml"/><Relationship Id="rId1" Type="http://schemas.openxmlformats.org/officeDocument/2006/relationships/notesMaster" Target="../notesMasters/notesMaster1.xml"/></Relationships>
</file>

<file path=ppt/notesSlides/_rels/notesSlide224.xml.rels><?xml version="1.0" encoding="UTF-8" standalone="yes"?>
<Relationships xmlns="http://schemas.openxmlformats.org/package/2006/relationships"><Relationship Id="rId2" Type="http://schemas.openxmlformats.org/officeDocument/2006/relationships/slide" Target="../slides/slide636.xml"/><Relationship Id="rId1" Type="http://schemas.openxmlformats.org/officeDocument/2006/relationships/notesMaster" Target="../notesMasters/notesMaster1.xml"/></Relationships>
</file>

<file path=ppt/notesSlides/_rels/notesSlide225.xml.rels><?xml version="1.0" encoding="UTF-8" standalone="yes"?>
<Relationships xmlns="http://schemas.openxmlformats.org/package/2006/relationships"><Relationship Id="rId2" Type="http://schemas.openxmlformats.org/officeDocument/2006/relationships/slide" Target="../slides/slide637.xml"/><Relationship Id="rId1" Type="http://schemas.openxmlformats.org/officeDocument/2006/relationships/notesMaster" Target="../notesMasters/notesMaster1.xml"/></Relationships>
</file>

<file path=ppt/notesSlides/_rels/notesSlide226.xml.rels><?xml version="1.0" encoding="UTF-8" standalone="yes"?>
<Relationships xmlns="http://schemas.openxmlformats.org/package/2006/relationships"><Relationship Id="rId2" Type="http://schemas.openxmlformats.org/officeDocument/2006/relationships/slide" Target="../slides/slide638.xml"/><Relationship Id="rId1" Type="http://schemas.openxmlformats.org/officeDocument/2006/relationships/notesMaster" Target="../notesMasters/notesMaster1.xml"/></Relationships>
</file>

<file path=ppt/notesSlides/_rels/notesSlide227.xml.rels><?xml version="1.0" encoding="UTF-8" standalone="yes"?>
<Relationships xmlns="http://schemas.openxmlformats.org/package/2006/relationships"><Relationship Id="rId2" Type="http://schemas.openxmlformats.org/officeDocument/2006/relationships/slide" Target="../slides/slide639.xml"/><Relationship Id="rId1" Type="http://schemas.openxmlformats.org/officeDocument/2006/relationships/notesMaster" Target="../notesMasters/notesMaster1.xml"/></Relationships>
</file>

<file path=ppt/notesSlides/_rels/notesSlide228.xml.rels><?xml version="1.0" encoding="UTF-8" standalone="yes"?>
<Relationships xmlns="http://schemas.openxmlformats.org/package/2006/relationships"><Relationship Id="rId2" Type="http://schemas.openxmlformats.org/officeDocument/2006/relationships/slide" Target="../slides/slide640.xml"/><Relationship Id="rId1" Type="http://schemas.openxmlformats.org/officeDocument/2006/relationships/notesMaster" Target="../notesMasters/notesMaster1.xml"/></Relationships>
</file>

<file path=ppt/notesSlides/_rels/notesSlide229.xml.rels><?xml version="1.0" encoding="UTF-8" standalone="yes"?>
<Relationships xmlns="http://schemas.openxmlformats.org/package/2006/relationships"><Relationship Id="rId2" Type="http://schemas.openxmlformats.org/officeDocument/2006/relationships/slide" Target="../slides/slide641.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34.xml"/><Relationship Id="rId1" Type="http://schemas.openxmlformats.org/officeDocument/2006/relationships/notesMaster" Target="../notesMasters/notesMaster1.xml"/></Relationships>
</file>

<file path=ppt/notesSlides/_rels/notesSlide230.xml.rels><?xml version="1.0" encoding="UTF-8" standalone="yes"?>
<Relationships xmlns="http://schemas.openxmlformats.org/package/2006/relationships"><Relationship Id="rId2" Type="http://schemas.openxmlformats.org/officeDocument/2006/relationships/slide" Target="../slides/slide642.xml"/><Relationship Id="rId1" Type="http://schemas.openxmlformats.org/officeDocument/2006/relationships/notesMaster" Target="../notesMasters/notesMaster1.xml"/></Relationships>
</file>

<file path=ppt/notesSlides/_rels/notesSlide231.xml.rels><?xml version="1.0" encoding="UTF-8" standalone="yes"?>
<Relationships xmlns="http://schemas.openxmlformats.org/package/2006/relationships"><Relationship Id="rId2" Type="http://schemas.openxmlformats.org/officeDocument/2006/relationships/slide" Target="../slides/slide643.xml"/><Relationship Id="rId1" Type="http://schemas.openxmlformats.org/officeDocument/2006/relationships/notesMaster" Target="../notesMasters/notesMaster1.xml"/></Relationships>
</file>

<file path=ppt/notesSlides/_rels/notesSlide232.xml.rels><?xml version="1.0" encoding="UTF-8" standalone="yes"?>
<Relationships xmlns="http://schemas.openxmlformats.org/package/2006/relationships"><Relationship Id="rId2" Type="http://schemas.openxmlformats.org/officeDocument/2006/relationships/slide" Target="../slides/slide644.xml"/><Relationship Id="rId1" Type="http://schemas.openxmlformats.org/officeDocument/2006/relationships/notesMaster" Target="../notesMasters/notesMaster1.xml"/></Relationships>
</file>

<file path=ppt/notesSlides/_rels/notesSlide233.xml.rels><?xml version="1.0" encoding="UTF-8" standalone="yes"?>
<Relationships xmlns="http://schemas.openxmlformats.org/package/2006/relationships"><Relationship Id="rId2" Type="http://schemas.openxmlformats.org/officeDocument/2006/relationships/slide" Target="../slides/slide645.xml"/><Relationship Id="rId1" Type="http://schemas.openxmlformats.org/officeDocument/2006/relationships/notesMaster" Target="../notesMasters/notesMaster1.xml"/></Relationships>
</file>

<file path=ppt/notesSlides/_rels/notesSlide234.xml.rels><?xml version="1.0" encoding="UTF-8" standalone="yes"?>
<Relationships xmlns="http://schemas.openxmlformats.org/package/2006/relationships"><Relationship Id="rId2" Type="http://schemas.openxmlformats.org/officeDocument/2006/relationships/slide" Target="../slides/slide646.xml"/><Relationship Id="rId1" Type="http://schemas.openxmlformats.org/officeDocument/2006/relationships/notesMaster" Target="../notesMasters/notesMaster1.xml"/></Relationships>
</file>

<file path=ppt/notesSlides/_rels/notesSlide235.xml.rels><?xml version="1.0" encoding="UTF-8" standalone="yes"?>
<Relationships xmlns="http://schemas.openxmlformats.org/package/2006/relationships"><Relationship Id="rId2" Type="http://schemas.openxmlformats.org/officeDocument/2006/relationships/slide" Target="../slides/slide647.xml"/><Relationship Id="rId1" Type="http://schemas.openxmlformats.org/officeDocument/2006/relationships/notesMaster" Target="../notesMasters/notesMaster1.xml"/></Relationships>
</file>

<file path=ppt/notesSlides/_rels/notesSlide236.xml.rels><?xml version="1.0" encoding="UTF-8" standalone="yes"?>
<Relationships xmlns="http://schemas.openxmlformats.org/package/2006/relationships"><Relationship Id="rId2" Type="http://schemas.openxmlformats.org/officeDocument/2006/relationships/slide" Target="../slides/slide648.xml"/><Relationship Id="rId1" Type="http://schemas.openxmlformats.org/officeDocument/2006/relationships/notesMaster" Target="../notesMasters/notesMaster1.xml"/></Relationships>
</file>

<file path=ppt/notesSlides/_rels/notesSlide237.xml.rels><?xml version="1.0" encoding="UTF-8" standalone="yes"?>
<Relationships xmlns="http://schemas.openxmlformats.org/package/2006/relationships"><Relationship Id="rId2" Type="http://schemas.openxmlformats.org/officeDocument/2006/relationships/slide" Target="../slides/slide649.xml"/><Relationship Id="rId1" Type="http://schemas.openxmlformats.org/officeDocument/2006/relationships/notesMaster" Target="../notesMasters/notesMaster1.xml"/></Relationships>
</file>

<file path=ppt/notesSlides/_rels/notesSlide238.xml.rels><?xml version="1.0" encoding="UTF-8" standalone="yes"?>
<Relationships xmlns="http://schemas.openxmlformats.org/package/2006/relationships"><Relationship Id="rId2" Type="http://schemas.openxmlformats.org/officeDocument/2006/relationships/slide" Target="../slides/slide650.xml"/><Relationship Id="rId1" Type="http://schemas.openxmlformats.org/officeDocument/2006/relationships/notesMaster" Target="../notesMasters/notesMaster1.xml"/></Relationships>
</file>

<file path=ppt/notesSlides/_rels/notesSlide239.xml.rels><?xml version="1.0" encoding="UTF-8" standalone="yes"?>
<Relationships xmlns="http://schemas.openxmlformats.org/package/2006/relationships"><Relationship Id="rId2" Type="http://schemas.openxmlformats.org/officeDocument/2006/relationships/slide" Target="../slides/slide651.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35.xml"/><Relationship Id="rId1" Type="http://schemas.openxmlformats.org/officeDocument/2006/relationships/notesMaster" Target="../notesMasters/notesMaster1.xml"/></Relationships>
</file>

<file path=ppt/notesSlides/_rels/notesSlide240.xml.rels><?xml version="1.0" encoding="UTF-8" standalone="yes"?>
<Relationships xmlns="http://schemas.openxmlformats.org/package/2006/relationships"><Relationship Id="rId2" Type="http://schemas.openxmlformats.org/officeDocument/2006/relationships/slide" Target="../slides/slide652.xml"/><Relationship Id="rId1" Type="http://schemas.openxmlformats.org/officeDocument/2006/relationships/notesMaster" Target="../notesMasters/notesMaster1.xml"/></Relationships>
</file>

<file path=ppt/notesSlides/_rels/notesSlide241.xml.rels><?xml version="1.0" encoding="UTF-8" standalone="yes"?>
<Relationships xmlns="http://schemas.openxmlformats.org/package/2006/relationships"><Relationship Id="rId2" Type="http://schemas.openxmlformats.org/officeDocument/2006/relationships/slide" Target="../slides/slide653.xml"/><Relationship Id="rId1" Type="http://schemas.openxmlformats.org/officeDocument/2006/relationships/notesMaster" Target="../notesMasters/notesMaster1.xml"/></Relationships>
</file>

<file path=ppt/notesSlides/_rels/notesSlide242.xml.rels><?xml version="1.0" encoding="UTF-8" standalone="yes"?>
<Relationships xmlns="http://schemas.openxmlformats.org/package/2006/relationships"><Relationship Id="rId2" Type="http://schemas.openxmlformats.org/officeDocument/2006/relationships/slide" Target="../slides/slide654.xml"/><Relationship Id="rId1" Type="http://schemas.openxmlformats.org/officeDocument/2006/relationships/notesMaster" Target="../notesMasters/notesMaster1.xml"/></Relationships>
</file>

<file path=ppt/notesSlides/_rels/notesSlide243.xml.rels><?xml version="1.0" encoding="UTF-8" standalone="yes"?>
<Relationships xmlns="http://schemas.openxmlformats.org/package/2006/relationships"><Relationship Id="rId2" Type="http://schemas.openxmlformats.org/officeDocument/2006/relationships/slide" Target="../slides/slide655.xml"/><Relationship Id="rId1" Type="http://schemas.openxmlformats.org/officeDocument/2006/relationships/notesMaster" Target="../notesMasters/notesMaster1.xml"/></Relationships>
</file>

<file path=ppt/notesSlides/_rels/notesSlide244.xml.rels><?xml version="1.0" encoding="UTF-8" standalone="yes"?>
<Relationships xmlns="http://schemas.openxmlformats.org/package/2006/relationships"><Relationship Id="rId2" Type="http://schemas.openxmlformats.org/officeDocument/2006/relationships/slide" Target="../slides/slide656.xml"/><Relationship Id="rId1" Type="http://schemas.openxmlformats.org/officeDocument/2006/relationships/notesMaster" Target="../notesMasters/notesMaster1.xml"/></Relationships>
</file>

<file path=ppt/notesSlides/_rels/notesSlide245.xml.rels><?xml version="1.0" encoding="UTF-8" standalone="yes"?>
<Relationships xmlns="http://schemas.openxmlformats.org/package/2006/relationships"><Relationship Id="rId2" Type="http://schemas.openxmlformats.org/officeDocument/2006/relationships/slide" Target="../slides/slide657.xml"/><Relationship Id="rId1" Type="http://schemas.openxmlformats.org/officeDocument/2006/relationships/notesMaster" Target="../notesMasters/notesMaster1.xml"/></Relationships>
</file>

<file path=ppt/notesSlides/_rels/notesSlide246.xml.rels><?xml version="1.0" encoding="UTF-8" standalone="yes"?>
<Relationships xmlns="http://schemas.openxmlformats.org/package/2006/relationships"><Relationship Id="rId2" Type="http://schemas.openxmlformats.org/officeDocument/2006/relationships/slide" Target="../slides/slide658.xml"/><Relationship Id="rId1" Type="http://schemas.openxmlformats.org/officeDocument/2006/relationships/notesMaster" Target="../notesMasters/notesMaster1.xml"/></Relationships>
</file>

<file path=ppt/notesSlides/_rels/notesSlide247.xml.rels><?xml version="1.0" encoding="UTF-8" standalone="yes"?>
<Relationships xmlns="http://schemas.openxmlformats.org/package/2006/relationships"><Relationship Id="rId2" Type="http://schemas.openxmlformats.org/officeDocument/2006/relationships/slide" Target="../slides/slide659.xml"/><Relationship Id="rId1" Type="http://schemas.openxmlformats.org/officeDocument/2006/relationships/notesMaster" Target="../notesMasters/notesMaster1.xml"/></Relationships>
</file>

<file path=ppt/notesSlides/_rels/notesSlide248.xml.rels><?xml version="1.0" encoding="UTF-8" standalone="yes"?>
<Relationships xmlns="http://schemas.openxmlformats.org/package/2006/relationships"><Relationship Id="rId2" Type="http://schemas.openxmlformats.org/officeDocument/2006/relationships/slide" Target="../slides/slide660.xml"/><Relationship Id="rId1" Type="http://schemas.openxmlformats.org/officeDocument/2006/relationships/notesMaster" Target="../notesMasters/notesMaster1.xml"/></Relationships>
</file>

<file path=ppt/notesSlides/_rels/notesSlide249.xml.rels><?xml version="1.0" encoding="UTF-8" standalone="yes"?>
<Relationships xmlns="http://schemas.openxmlformats.org/package/2006/relationships"><Relationship Id="rId2" Type="http://schemas.openxmlformats.org/officeDocument/2006/relationships/slide" Target="../slides/slide661.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36.xml"/><Relationship Id="rId1" Type="http://schemas.openxmlformats.org/officeDocument/2006/relationships/notesMaster" Target="../notesMasters/notesMaster1.xml"/></Relationships>
</file>

<file path=ppt/notesSlides/_rels/notesSlide250.xml.rels><?xml version="1.0" encoding="UTF-8" standalone="yes"?>
<Relationships xmlns="http://schemas.openxmlformats.org/package/2006/relationships"><Relationship Id="rId2" Type="http://schemas.openxmlformats.org/officeDocument/2006/relationships/slide" Target="../slides/slide662.xml"/><Relationship Id="rId1" Type="http://schemas.openxmlformats.org/officeDocument/2006/relationships/notesMaster" Target="../notesMasters/notesMaster1.xml"/></Relationships>
</file>

<file path=ppt/notesSlides/_rels/notesSlide251.xml.rels><?xml version="1.0" encoding="UTF-8" standalone="yes"?>
<Relationships xmlns="http://schemas.openxmlformats.org/package/2006/relationships"><Relationship Id="rId2" Type="http://schemas.openxmlformats.org/officeDocument/2006/relationships/slide" Target="../slides/slide663.xml"/><Relationship Id="rId1" Type="http://schemas.openxmlformats.org/officeDocument/2006/relationships/notesMaster" Target="../notesMasters/notesMaster1.xml"/></Relationships>
</file>

<file path=ppt/notesSlides/_rels/notesSlide252.xml.rels><?xml version="1.0" encoding="UTF-8" standalone="yes"?>
<Relationships xmlns="http://schemas.openxmlformats.org/package/2006/relationships"><Relationship Id="rId2" Type="http://schemas.openxmlformats.org/officeDocument/2006/relationships/slide" Target="../slides/slide664.xml"/><Relationship Id="rId1" Type="http://schemas.openxmlformats.org/officeDocument/2006/relationships/notesMaster" Target="../notesMasters/notesMaster1.xml"/></Relationships>
</file>

<file path=ppt/notesSlides/_rels/notesSlide253.xml.rels><?xml version="1.0" encoding="UTF-8" standalone="yes"?>
<Relationships xmlns="http://schemas.openxmlformats.org/package/2006/relationships"><Relationship Id="rId2" Type="http://schemas.openxmlformats.org/officeDocument/2006/relationships/slide" Target="../slides/slide665.xml"/><Relationship Id="rId1" Type="http://schemas.openxmlformats.org/officeDocument/2006/relationships/notesMaster" Target="../notesMasters/notesMaster1.xml"/></Relationships>
</file>

<file path=ppt/notesSlides/_rels/notesSlide254.xml.rels><?xml version="1.0" encoding="UTF-8" standalone="yes"?>
<Relationships xmlns="http://schemas.openxmlformats.org/package/2006/relationships"><Relationship Id="rId2" Type="http://schemas.openxmlformats.org/officeDocument/2006/relationships/slide" Target="../slides/slide666.xml"/><Relationship Id="rId1" Type="http://schemas.openxmlformats.org/officeDocument/2006/relationships/notesMaster" Target="../notesMasters/notesMaster1.xml"/></Relationships>
</file>

<file path=ppt/notesSlides/_rels/notesSlide255.xml.rels><?xml version="1.0" encoding="UTF-8" standalone="yes"?>
<Relationships xmlns="http://schemas.openxmlformats.org/package/2006/relationships"><Relationship Id="rId2" Type="http://schemas.openxmlformats.org/officeDocument/2006/relationships/slide" Target="../slides/slide667.xml"/><Relationship Id="rId1" Type="http://schemas.openxmlformats.org/officeDocument/2006/relationships/notesMaster" Target="../notesMasters/notesMaster1.xml"/></Relationships>
</file>

<file path=ppt/notesSlides/_rels/notesSlide256.xml.rels><?xml version="1.0" encoding="UTF-8" standalone="yes"?>
<Relationships xmlns="http://schemas.openxmlformats.org/package/2006/relationships"><Relationship Id="rId2" Type="http://schemas.openxmlformats.org/officeDocument/2006/relationships/slide" Target="../slides/slide668.xml"/><Relationship Id="rId1" Type="http://schemas.openxmlformats.org/officeDocument/2006/relationships/notesMaster" Target="../notesMasters/notesMaster1.xml"/></Relationships>
</file>

<file path=ppt/notesSlides/_rels/notesSlide257.xml.rels><?xml version="1.0" encoding="UTF-8" standalone="yes"?>
<Relationships xmlns="http://schemas.openxmlformats.org/package/2006/relationships"><Relationship Id="rId2" Type="http://schemas.openxmlformats.org/officeDocument/2006/relationships/slide" Target="../slides/slide669.xml"/><Relationship Id="rId1" Type="http://schemas.openxmlformats.org/officeDocument/2006/relationships/notesMaster" Target="../notesMasters/notesMaster1.xml"/></Relationships>
</file>

<file path=ppt/notesSlides/_rels/notesSlide258.xml.rels><?xml version="1.0" encoding="UTF-8" standalone="yes"?>
<Relationships xmlns="http://schemas.openxmlformats.org/package/2006/relationships"><Relationship Id="rId2" Type="http://schemas.openxmlformats.org/officeDocument/2006/relationships/slide" Target="../slides/slide670.xml"/><Relationship Id="rId1" Type="http://schemas.openxmlformats.org/officeDocument/2006/relationships/notesMaster" Target="../notesMasters/notesMaster1.xml"/></Relationships>
</file>

<file path=ppt/notesSlides/_rels/notesSlide259.xml.rels><?xml version="1.0" encoding="UTF-8" standalone="yes"?>
<Relationships xmlns="http://schemas.openxmlformats.org/package/2006/relationships"><Relationship Id="rId2" Type="http://schemas.openxmlformats.org/officeDocument/2006/relationships/slide" Target="../slides/slide67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37.xml"/><Relationship Id="rId1" Type="http://schemas.openxmlformats.org/officeDocument/2006/relationships/notesMaster" Target="../notesMasters/notesMaster1.xml"/></Relationships>
</file>

<file path=ppt/notesSlides/_rels/notesSlide260.xml.rels><?xml version="1.0" encoding="UTF-8" standalone="yes"?>
<Relationships xmlns="http://schemas.openxmlformats.org/package/2006/relationships"><Relationship Id="rId2" Type="http://schemas.openxmlformats.org/officeDocument/2006/relationships/slide" Target="../slides/slide672.xml"/><Relationship Id="rId1" Type="http://schemas.openxmlformats.org/officeDocument/2006/relationships/notesMaster" Target="../notesMasters/notesMaster1.xml"/></Relationships>
</file>

<file path=ppt/notesSlides/_rels/notesSlide261.xml.rels><?xml version="1.0" encoding="UTF-8" standalone="yes"?>
<Relationships xmlns="http://schemas.openxmlformats.org/package/2006/relationships"><Relationship Id="rId2" Type="http://schemas.openxmlformats.org/officeDocument/2006/relationships/slide" Target="../slides/slide673.xml"/><Relationship Id="rId1" Type="http://schemas.openxmlformats.org/officeDocument/2006/relationships/notesMaster" Target="../notesMasters/notesMaster1.xml"/></Relationships>
</file>

<file path=ppt/notesSlides/_rels/notesSlide262.xml.rels><?xml version="1.0" encoding="UTF-8" standalone="yes"?>
<Relationships xmlns="http://schemas.openxmlformats.org/package/2006/relationships"><Relationship Id="rId2" Type="http://schemas.openxmlformats.org/officeDocument/2006/relationships/slide" Target="../slides/slide674.xml"/><Relationship Id="rId1" Type="http://schemas.openxmlformats.org/officeDocument/2006/relationships/notesMaster" Target="../notesMasters/notesMaster1.xml"/></Relationships>
</file>

<file path=ppt/notesSlides/_rels/notesSlide263.xml.rels><?xml version="1.0" encoding="UTF-8" standalone="yes"?>
<Relationships xmlns="http://schemas.openxmlformats.org/package/2006/relationships"><Relationship Id="rId2" Type="http://schemas.openxmlformats.org/officeDocument/2006/relationships/slide" Target="../slides/slide675.xml"/><Relationship Id="rId1" Type="http://schemas.openxmlformats.org/officeDocument/2006/relationships/notesMaster" Target="../notesMasters/notesMaster1.xml"/></Relationships>
</file>

<file path=ppt/notesSlides/_rels/notesSlide264.xml.rels><?xml version="1.0" encoding="UTF-8" standalone="yes"?>
<Relationships xmlns="http://schemas.openxmlformats.org/package/2006/relationships"><Relationship Id="rId2" Type="http://schemas.openxmlformats.org/officeDocument/2006/relationships/slide" Target="../slides/slide676.xml"/><Relationship Id="rId1" Type="http://schemas.openxmlformats.org/officeDocument/2006/relationships/notesMaster" Target="../notesMasters/notesMaster1.xml"/></Relationships>
</file>

<file path=ppt/notesSlides/_rels/notesSlide265.xml.rels><?xml version="1.0" encoding="UTF-8" standalone="yes"?>
<Relationships xmlns="http://schemas.openxmlformats.org/package/2006/relationships"><Relationship Id="rId2" Type="http://schemas.openxmlformats.org/officeDocument/2006/relationships/slide" Target="../slides/slide677.xml"/><Relationship Id="rId1" Type="http://schemas.openxmlformats.org/officeDocument/2006/relationships/notesMaster" Target="../notesMasters/notesMaster1.xml"/></Relationships>
</file>

<file path=ppt/notesSlides/_rels/notesSlide266.xml.rels><?xml version="1.0" encoding="UTF-8" standalone="yes"?>
<Relationships xmlns="http://schemas.openxmlformats.org/package/2006/relationships"><Relationship Id="rId2" Type="http://schemas.openxmlformats.org/officeDocument/2006/relationships/slide" Target="../slides/slide678.xml"/><Relationship Id="rId1" Type="http://schemas.openxmlformats.org/officeDocument/2006/relationships/notesMaster" Target="../notesMasters/notesMaster1.xml"/></Relationships>
</file>

<file path=ppt/notesSlides/_rels/notesSlide267.xml.rels><?xml version="1.0" encoding="UTF-8" standalone="yes"?>
<Relationships xmlns="http://schemas.openxmlformats.org/package/2006/relationships"><Relationship Id="rId2" Type="http://schemas.openxmlformats.org/officeDocument/2006/relationships/slide" Target="../slides/slide679.xml"/><Relationship Id="rId1" Type="http://schemas.openxmlformats.org/officeDocument/2006/relationships/notesMaster" Target="../notesMasters/notesMaster1.xml"/></Relationships>
</file>

<file path=ppt/notesSlides/_rels/notesSlide268.xml.rels><?xml version="1.0" encoding="UTF-8" standalone="yes"?>
<Relationships xmlns="http://schemas.openxmlformats.org/package/2006/relationships"><Relationship Id="rId2" Type="http://schemas.openxmlformats.org/officeDocument/2006/relationships/slide" Target="../slides/slide680.xml"/><Relationship Id="rId1" Type="http://schemas.openxmlformats.org/officeDocument/2006/relationships/notesMaster" Target="../notesMasters/notesMaster1.xml"/></Relationships>
</file>

<file path=ppt/notesSlides/_rels/notesSlide269.xml.rels><?xml version="1.0" encoding="UTF-8" standalone="yes"?>
<Relationships xmlns="http://schemas.openxmlformats.org/package/2006/relationships"><Relationship Id="rId2" Type="http://schemas.openxmlformats.org/officeDocument/2006/relationships/slide" Target="../slides/slide68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38.xml"/><Relationship Id="rId1" Type="http://schemas.openxmlformats.org/officeDocument/2006/relationships/notesMaster" Target="../notesMasters/notesMaster1.xml"/></Relationships>
</file>

<file path=ppt/notesSlides/_rels/notesSlide270.xml.rels><?xml version="1.0" encoding="UTF-8" standalone="yes"?>
<Relationships xmlns="http://schemas.openxmlformats.org/package/2006/relationships"><Relationship Id="rId2" Type="http://schemas.openxmlformats.org/officeDocument/2006/relationships/slide" Target="../slides/slide682.xml"/><Relationship Id="rId1" Type="http://schemas.openxmlformats.org/officeDocument/2006/relationships/notesMaster" Target="../notesMasters/notesMaster1.xml"/></Relationships>
</file>

<file path=ppt/notesSlides/_rels/notesSlide271.xml.rels><?xml version="1.0" encoding="UTF-8" standalone="yes"?>
<Relationships xmlns="http://schemas.openxmlformats.org/package/2006/relationships"><Relationship Id="rId2" Type="http://schemas.openxmlformats.org/officeDocument/2006/relationships/slide" Target="../slides/slide683.xml"/><Relationship Id="rId1" Type="http://schemas.openxmlformats.org/officeDocument/2006/relationships/notesMaster" Target="../notesMasters/notesMaster1.xml"/></Relationships>
</file>

<file path=ppt/notesSlides/_rels/notesSlide272.xml.rels><?xml version="1.0" encoding="UTF-8" standalone="yes"?>
<Relationships xmlns="http://schemas.openxmlformats.org/package/2006/relationships"><Relationship Id="rId2" Type="http://schemas.openxmlformats.org/officeDocument/2006/relationships/slide" Target="../slides/slide684.xml"/><Relationship Id="rId1" Type="http://schemas.openxmlformats.org/officeDocument/2006/relationships/notesMaster" Target="../notesMasters/notesMaster1.xml"/></Relationships>
</file>

<file path=ppt/notesSlides/_rels/notesSlide273.xml.rels><?xml version="1.0" encoding="UTF-8" standalone="yes"?>
<Relationships xmlns="http://schemas.openxmlformats.org/package/2006/relationships"><Relationship Id="rId2" Type="http://schemas.openxmlformats.org/officeDocument/2006/relationships/slide" Target="../slides/slide685.xml"/><Relationship Id="rId1" Type="http://schemas.openxmlformats.org/officeDocument/2006/relationships/notesMaster" Target="../notesMasters/notesMaster1.xml"/></Relationships>
</file>

<file path=ppt/notesSlides/_rels/notesSlide274.xml.rels><?xml version="1.0" encoding="UTF-8" standalone="yes"?>
<Relationships xmlns="http://schemas.openxmlformats.org/package/2006/relationships"><Relationship Id="rId2" Type="http://schemas.openxmlformats.org/officeDocument/2006/relationships/slide" Target="../slides/slide686.xml"/><Relationship Id="rId1" Type="http://schemas.openxmlformats.org/officeDocument/2006/relationships/notesMaster" Target="../notesMasters/notesMaster1.xml"/></Relationships>
</file>

<file path=ppt/notesSlides/_rels/notesSlide275.xml.rels><?xml version="1.0" encoding="UTF-8" standalone="yes"?>
<Relationships xmlns="http://schemas.openxmlformats.org/package/2006/relationships"><Relationship Id="rId2" Type="http://schemas.openxmlformats.org/officeDocument/2006/relationships/slide" Target="../slides/slide687.xml"/><Relationship Id="rId1" Type="http://schemas.openxmlformats.org/officeDocument/2006/relationships/notesMaster" Target="../notesMasters/notesMaster1.xml"/></Relationships>
</file>

<file path=ppt/notesSlides/_rels/notesSlide276.xml.rels><?xml version="1.0" encoding="UTF-8" standalone="yes"?>
<Relationships xmlns="http://schemas.openxmlformats.org/package/2006/relationships"><Relationship Id="rId2" Type="http://schemas.openxmlformats.org/officeDocument/2006/relationships/slide" Target="../slides/slide688.xml"/><Relationship Id="rId1" Type="http://schemas.openxmlformats.org/officeDocument/2006/relationships/notesMaster" Target="../notesMasters/notesMaster1.xml"/></Relationships>
</file>

<file path=ppt/notesSlides/_rels/notesSlide277.xml.rels><?xml version="1.0" encoding="UTF-8" standalone="yes"?>
<Relationships xmlns="http://schemas.openxmlformats.org/package/2006/relationships"><Relationship Id="rId2" Type="http://schemas.openxmlformats.org/officeDocument/2006/relationships/slide" Target="../slides/slide689.xml"/><Relationship Id="rId1" Type="http://schemas.openxmlformats.org/officeDocument/2006/relationships/notesMaster" Target="../notesMasters/notesMaster1.xml"/></Relationships>
</file>

<file path=ppt/notesSlides/_rels/notesSlide278.xml.rels><?xml version="1.0" encoding="UTF-8" standalone="yes"?>
<Relationships xmlns="http://schemas.openxmlformats.org/package/2006/relationships"><Relationship Id="rId2" Type="http://schemas.openxmlformats.org/officeDocument/2006/relationships/slide" Target="../slides/slide690.xml"/><Relationship Id="rId1" Type="http://schemas.openxmlformats.org/officeDocument/2006/relationships/notesMaster" Target="../notesMasters/notesMaster1.xml"/></Relationships>
</file>

<file path=ppt/notesSlides/_rels/notesSlide279.xml.rels><?xml version="1.0" encoding="UTF-8" standalone="yes"?>
<Relationships xmlns="http://schemas.openxmlformats.org/package/2006/relationships"><Relationship Id="rId2" Type="http://schemas.openxmlformats.org/officeDocument/2006/relationships/slide" Target="../slides/slide69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39.xml"/><Relationship Id="rId1" Type="http://schemas.openxmlformats.org/officeDocument/2006/relationships/notesMaster" Target="../notesMasters/notesMaster1.xml"/></Relationships>
</file>

<file path=ppt/notesSlides/_rels/notesSlide280.xml.rels><?xml version="1.0" encoding="UTF-8" standalone="yes"?>
<Relationships xmlns="http://schemas.openxmlformats.org/package/2006/relationships"><Relationship Id="rId2" Type="http://schemas.openxmlformats.org/officeDocument/2006/relationships/slide" Target="../slides/slide692.xml"/><Relationship Id="rId1" Type="http://schemas.openxmlformats.org/officeDocument/2006/relationships/notesMaster" Target="../notesMasters/notesMaster1.xml"/></Relationships>
</file>

<file path=ppt/notesSlides/_rels/notesSlide281.xml.rels><?xml version="1.0" encoding="UTF-8" standalone="yes"?>
<Relationships xmlns="http://schemas.openxmlformats.org/package/2006/relationships"><Relationship Id="rId2" Type="http://schemas.openxmlformats.org/officeDocument/2006/relationships/slide" Target="../slides/slide693.xml"/><Relationship Id="rId1" Type="http://schemas.openxmlformats.org/officeDocument/2006/relationships/notesMaster" Target="../notesMasters/notesMaster1.xml"/></Relationships>
</file>

<file path=ppt/notesSlides/_rels/notesSlide282.xml.rels><?xml version="1.0" encoding="UTF-8" standalone="yes"?>
<Relationships xmlns="http://schemas.openxmlformats.org/package/2006/relationships"><Relationship Id="rId2" Type="http://schemas.openxmlformats.org/officeDocument/2006/relationships/slide" Target="../slides/slide694.xml"/><Relationship Id="rId1" Type="http://schemas.openxmlformats.org/officeDocument/2006/relationships/notesMaster" Target="../notesMasters/notesMaster1.xml"/></Relationships>
</file>

<file path=ppt/notesSlides/_rels/notesSlide283.xml.rels><?xml version="1.0" encoding="UTF-8" standalone="yes"?>
<Relationships xmlns="http://schemas.openxmlformats.org/package/2006/relationships"><Relationship Id="rId2" Type="http://schemas.openxmlformats.org/officeDocument/2006/relationships/slide" Target="../slides/slide695.xml"/><Relationship Id="rId1" Type="http://schemas.openxmlformats.org/officeDocument/2006/relationships/notesMaster" Target="../notesMasters/notesMaster1.xml"/></Relationships>
</file>

<file path=ppt/notesSlides/_rels/notesSlide284.xml.rels><?xml version="1.0" encoding="UTF-8" standalone="yes"?>
<Relationships xmlns="http://schemas.openxmlformats.org/package/2006/relationships"><Relationship Id="rId2" Type="http://schemas.openxmlformats.org/officeDocument/2006/relationships/slide" Target="../slides/slide696.xml"/><Relationship Id="rId1" Type="http://schemas.openxmlformats.org/officeDocument/2006/relationships/notesMaster" Target="../notesMasters/notesMaster1.xml"/></Relationships>
</file>

<file path=ppt/notesSlides/_rels/notesSlide285.xml.rels><?xml version="1.0" encoding="UTF-8" standalone="yes"?>
<Relationships xmlns="http://schemas.openxmlformats.org/package/2006/relationships"><Relationship Id="rId2" Type="http://schemas.openxmlformats.org/officeDocument/2006/relationships/slide" Target="../slides/slide697.xml"/><Relationship Id="rId1" Type="http://schemas.openxmlformats.org/officeDocument/2006/relationships/notesMaster" Target="../notesMasters/notesMaster1.xml"/></Relationships>
</file>

<file path=ppt/notesSlides/_rels/notesSlide286.xml.rels><?xml version="1.0" encoding="UTF-8" standalone="yes"?>
<Relationships xmlns="http://schemas.openxmlformats.org/package/2006/relationships"><Relationship Id="rId2" Type="http://schemas.openxmlformats.org/officeDocument/2006/relationships/slide" Target="../slides/slide698.xml"/><Relationship Id="rId1" Type="http://schemas.openxmlformats.org/officeDocument/2006/relationships/notesMaster" Target="../notesMasters/notesMaster1.xml"/></Relationships>
</file>

<file path=ppt/notesSlides/_rels/notesSlide287.xml.rels><?xml version="1.0" encoding="UTF-8" standalone="yes"?>
<Relationships xmlns="http://schemas.openxmlformats.org/package/2006/relationships"><Relationship Id="rId2" Type="http://schemas.openxmlformats.org/officeDocument/2006/relationships/slide" Target="../slides/slide699.xml"/><Relationship Id="rId1" Type="http://schemas.openxmlformats.org/officeDocument/2006/relationships/notesMaster" Target="../notesMasters/notesMaster1.xml"/></Relationships>
</file>

<file path=ppt/notesSlides/_rels/notesSlide288.xml.rels><?xml version="1.0" encoding="UTF-8" standalone="yes"?>
<Relationships xmlns="http://schemas.openxmlformats.org/package/2006/relationships"><Relationship Id="rId2" Type="http://schemas.openxmlformats.org/officeDocument/2006/relationships/slide" Target="../slides/slide700.xml"/><Relationship Id="rId1" Type="http://schemas.openxmlformats.org/officeDocument/2006/relationships/notesMaster" Target="../notesMasters/notesMaster1.xml"/></Relationships>
</file>

<file path=ppt/notesSlides/_rels/notesSlide289.xml.rels><?xml version="1.0" encoding="UTF-8" standalone="yes"?>
<Relationships xmlns="http://schemas.openxmlformats.org/package/2006/relationships"><Relationship Id="rId2" Type="http://schemas.openxmlformats.org/officeDocument/2006/relationships/slide" Target="../slides/slide70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40.xml"/><Relationship Id="rId1" Type="http://schemas.openxmlformats.org/officeDocument/2006/relationships/notesMaster" Target="../notesMasters/notesMaster1.xml"/></Relationships>
</file>

<file path=ppt/notesSlides/_rels/notesSlide290.xml.rels><?xml version="1.0" encoding="UTF-8" standalone="yes"?>
<Relationships xmlns="http://schemas.openxmlformats.org/package/2006/relationships"><Relationship Id="rId2" Type="http://schemas.openxmlformats.org/officeDocument/2006/relationships/slide" Target="../slides/slide702.xml"/><Relationship Id="rId1" Type="http://schemas.openxmlformats.org/officeDocument/2006/relationships/notesMaster" Target="../notesMasters/notesMaster1.xml"/></Relationships>
</file>

<file path=ppt/notesSlides/_rels/notesSlide291.xml.rels><?xml version="1.0" encoding="UTF-8" standalone="yes"?>
<Relationships xmlns="http://schemas.openxmlformats.org/package/2006/relationships"><Relationship Id="rId2" Type="http://schemas.openxmlformats.org/officeDocument/2006/relationships/slide" Target="../slides/slide703.xml"/><Relationship Id="rId1" Type="http://schemas.openxmlformats.org/officeDocument/2006/relationships/notesMaster" Target="../notesMasters/notesMaster1.xml"/></Relationships>
</file>

<file path=ppt/notesSlides/_rels/notesSlide292.xml.rels><?xml version="1.0" encoding="UTF-8" standalone="yes"?>
<Relationships xmlns="http://schemas.openxmlformats.org/package/2006/relationships"><Relationship Id="rId2" Type="http://schemas.openxmlformats.org/officeDocument/2006/relationships/slide" Target="../slides/slide704.xml"/><Relationship Id="rId1" Type="http://schemas.openxmlformats.org/officeDocument/2006/relationships/notesMaster" Target="../notesMasters/notesMaster1.xml"/></Relationships>
</file>

<file path=ppt/notesSlides/_rels/notesSlide293.xml.rels><?xml version="1.0" encoding="UTF-8" standalone="yes"?>
<Relationships xmlns="http://schemas.openxmlformats.org/package/2006/relationships"><Relationship Id="rId2" Type="http://schemas.openxmlformats.org/officeDocument/2006/relationships/slide" Target="../slides/slide705.xml"/><Relationship Id="rId1" Type="http://schemas.openxmlformats.org/officeDocument/2006/relationships/notesMaster" Target="../notesMasters/notesMaster1.xml"/></Relationships>
</file>

<file path=ppt/notesSlides/_rels/notesSlide294.xml.rels><?xml version="1.0" encoding="UTF-8" standalone="yes"?>
<Relationships xmlns="http://schemas.openxmlformats.org/package/2006/relationships"><Relationship Id="rId2" Type="http://schemas.openxmlformats.org/officeDocument/2006/relationships/slide" Target="../slides/slide706.xml"/><Relationship Id="rId1" Type="http://schemas.openxmlformats.org/officeDocument/2006/relationships/notesMaster" Target="../notesMasters/notesMaster1.xml"/></Relationships>
</file>

<file path=ppt/notesSlides/_rels/notesSlide295.xml.rels><?xml version="1.0" encoding="UTF-8" standalone="yes"?>
<Relationships xmlns="http://schemas.openxmlformats.org/package/2006/relationships"><Relationship Id="rId2" Type="http://schemas.openxmlformats.org/officeDocument/2006/relationships/slide" Target="../slides/slide707.xml"/><Relationship Id="rId1" Type="http://schemas.openxmlformats.org/officeDocument/2006/relationships/notesMaster" Target="../notesMasters/notesMaster1.xml"/></Relationships>
</file>

<file path=ppt/notesSlides/_rels/notesSlide296.xml.rels><?xml version="1.0" encoding="UTF-8" standalone="yes"?>
<Relationships xmlns="http://schemas.openxmlformats.org/package/2006/relationships"><Relationship Id="rId2" Type="http://schemas.openxmlformats.org/officeDocument/2006/relationships/slide" Target="../slides/slide708.xml"/><Relationship Id="rId1" Type="http://schemas.openxmlformats.org/officeDocument/2006/relationships/notesMaster" Target="../notesMasters/notesMaster1.xml"/></Relationships>
</file>

<file path=ppt/notesSlides/_rels/notesSlide297.xml.rels><?xml version="1.0" encoding="UTF-8" standalone="yes"?>
<Relationships xmlns="http://schemas.openxmlformats.org/package/2006/relationships"><Relationship Id="rId2" Type="http://schemas.openxmlformats.org/officeDocument/2006/relationships/slide" Target="../slides/slide709.xml"/><Relationship Id="rId1" Type="http://schemas.openxmlformats.org/officeDocument/2006/relationships/notesMaster" Target="../notesMasters/notesMaster1.xml"/></Relationships>
</file>

<file path=ppt/notesSlides/_rels/notesSlide298.xml.rels><?xml version="1.0" encoding="UTF-8" standalone="yes"?>
<Relationships xmlns="http://schemas.openxmlformats.org/package/2006/relationships"><Relationship Id="rId2" Type="http://schemas.openxmlformats.org/officeDocument/2006/relationships/slide" Target="../slides/slide710.xml"/><Relationship Id="rId1" Type="http://schemas.openxmlformats.org/officeDocument/2006/relationships/notesMaster" Target="../notesMasters/notesMaster1.xml"/></Relationships>
</file>

<file path=ppt/notesSlides/_rels/notesSlide299.xml.rels><?xml version="1.0" encoding="UTF-8" standalone="yes"?>
<Relationships xmlns="http://schemas.openxmlformats.org/package/2006/relationships"><Relationship Id="rId2" Type="http://schemas.openxmlformats.org/officeDocument/2006/relationships/slide" Target="../slides/slide71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12.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41.xml"/><Relationship Id="rId1" Type="http://schemas.openxmlformats.org/officeDocument/2006/relationships/notesMaster" Target="../notesMasters/notesMaster1.xml"/></Relationships>
</file>

<file path=ppt/notesSlides/_rels/notesSlide300.xml.rels><?xml version="1.0" encoding="UTF-8" standalone="yes"?>
<Relationships xmlns="http://schemas.openxmlformats.org/package/2006/relationships"><Relationship Id="rId2" Type="http://schemas.openxmlformats.org/officeDocument/2006/relationships/slide" Target="../slides/slide712.xml"/><Relationship Id="rId1" Type="http://schemas.openxmlformats.org/officeDocument/2006/relationships/notesMaster" Target="../notesMasters/notesMaster1.xml"/></Relationships>
</file>

<file path=ppt/notesSlides/_rels/notesSlide301.xml.rels><?xml version="1.0" encoding="UTF-8" standalone="yes"?>
<Relationships xmlns="http://schemas.openxmlformats.org/package/2006/relationships"><Relationship Id="rId2" Type="http://schemas.openxmlformats.org/officeDocument/2006/relationships/slide" Target="../slides/slide713.xml"/><Relationship Id="rId1" Type="http://schemas.openxmlformats.org/officeDocument/2006/relationships/notesMaster" Target="../notesMasters/notesMaster1.xml"/></Relationships>
</file>

<file path=ppt/notesSlides/_rels/notesSlide302.xml.rels><?xml version="1.0" encoding="UTF-8" standalone="yes"?>
<Relationships xmlns="http://schemas.openxmlformats.org/package/2006/relationships"><Relationship Id="rId2" Type="http://schemas.openxmlformats.org/officeDocument/2006/relationships/slide" Target="../slides/slide714.xml"/><Relationship Id="rId1" Type="http://schemas.openxmlformats.org/officeDocument/2006/relationships/notesMaster" Target="../notesMasters/notesMaster1.xml"/></Relationships>
</file>

<file path=ppt/notesSlides/_rels/notesSlide303.xml.rels><?xml version="1.0" encoding="UTF-8" standalone="yes"?>
<Relationships xmlns="http://schemas.openxmlformats.org/package/2006/relationships"><Relationship Id="rId2" Type="http://schemas.openxmlformats.org/officeDocument/2006/relationships/slide" Target="../slides/slide715.xml"/><Relationship Id="rId1" Type="http://schemas.openxmlformats.org/officeDocument/2006/relationships/notesMaster" Target="../notesMasters/notesMaster1.xml"/></Relationships>
</file>

<file path=ppt/notesSlides/_rels/notesSlide304.xml.rels><?xml version="1.0" encoding="UTF-8" standalone="yes"?>
<Relationships xmlns="http://schemas.openxmlformats.org/package/2006/relationships"><Relationship Id="rId2" Type="http://schemas.openxmlformats.org/officeDocument/2006/relationships/slide" Target="../slides/slide716.xml"/><Relationship Id="rId1" Type="http://schemas.openxmlformats.org/officeDocument/2006/relationships/notesMaster" Target="../notesMasters/notesMaster1.xml"/></Relationships>
</file>

<file path=ppt/notesSlides/_rels/notesSlide305.xml.rels><?xml version="1.0" encoding="UTF-8" standalone="yes"?>
<Relationships xmlns="http://schemas.openxmlformats.org/package/2006/relationships"><Relationship Id="rId2" Type="http://schemas.openxmlformats.org/officeDocument/2006/relationships/slide" Target="../slides/slide717.xml"/><Relationship Id="rId1" Type="http://schemas.openxmlformats.org/officeDocument/2006/relationships/notesMaster" Target="../notesMasters/notesMaster1.xml"/></Relationships>
</file>

<file path=ppt/notesSlides/_rels/notesSlide306.xml.rels><?xml version="1.0" encoding="UTF-8" standalone="yes"?>
<Relationships xmlns="http://schemas.openxmlformats.org/package/2006/relationships"><Relationship Id="rId2" Type="http://schemas.openxmlformats.org/officeDocument/2006/relationships/slide" Target="../slides/slide718.xml"/><Relationship Id="rId1" Type="http://schemas.openxmlformats.org/officeDocument/2006/relationships/notesMaster" Target="../notesMasters/notesMaster1.xml"/></Relationships>
</file>

<file path=ppt/notesSlides/_rels/notesSlide307.xml.rels><?xml version="1.0" encoding="UTF-8" standalone="yes"?>
<Relationships xmlns="http://schemas.openxmlformats.org/package/2006/relationships"><Relationship Id="rId2" Type="http://schemas.openxmlformats.org/officeDocument/2006/relationships/slide" Target="../slides/slide719.xml"/><Relationship Id="rId1" Type="http://schemas.openxmlformats.org/officeDocument/2006/relationships/notesMaster" Target="../notesMasters/notesMaster1.xml"/></Relationships>
</file>

<file path=ppt/notesSlides/_rels/notesSlide308.xml.rels><?xml version="1.0" encoding="UTF-8" standalone="yes"?>
<Relationships xmlns="http://schemas.openxmlformats.org/package/2006/relationships"><Relationship Id="rId2" Type="http://schemas.openxmlformats.org/officeDocument/2006/relationships/slide" Target="../slides/slide720.xml"/><Relationship Id="rId1" Type="http://schemas.openxmlformats.org/officeDocument/2006/relationships/notesMaster" Target="../notesMasters/notesMaster1.xml"/></Relationships>
</file>

<file path=ppt/notesSlides/_rels/notesSlide309.xml.rels><?xml version="1.0" encoding="UTF-8" standalone="yes"?>
<Relationships xmlns="http://schemas.openxmlformats.org/package/2006/relationships"><Relationship Id="rId2" Type="http://schemas.openxmlformats.org/officeDocument/2006/relationships/slide" Target="../slides/slide72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42.xml"/><Relationship Id="rId1" Type="http://schemas.openxmlformats.org/officeDocument/2006/relationships/notesMaster" Target="../notesMasters/notesMaster1.xml"/></Relationships>
</file>

<file path=ppt/notesSlides/_rels/notesSlide310.xml.rels><?xml version="1.0" encoding="UTF-8" standalone="yes"?>
<Relationships xmlns="http://schemas.openxmlformats.org/package/2006/relationships"><Relationship Id="rId2" Type="http://schemas.openxmlformats.org/officeDocument/2006/relationships/slide" Target="../slides/slide722.xml"/><Relationship Id="rId1" Type="http://schemas.openxmlformats.org/officeDocument/2006/relationships/notesMaster" Target="../notesMasters/notesMaster1.xml"/></Relationships>
</file>

<file path=ppt/notesSlides/_rels/notesSlide311.xml.rels><?xml version="1.0" encoding="UTF-8" standalone="yes"?>
<Relationships xmlns="http://schemas.openxmlformats.org/package/2006/relationships"><Relationship Id="rId2" Type="http://schemas.openxmlformats.org/officeDocument/2006/relationships/slide" Target="../slides/slide723.xml"/><Relationship Id="rId1" Type="http://schemas.openxmlformats.org/officeDocument/2006/relationships/notesMaster" Target="../notesMasters/notesMaster1.xml"/></Relationships>
</file>

<file path=ppt/notesSlides/_rels/notesSlide312.xml.rels><?xml version="1.0" encoding="UTF-8" standalone="yes"?>
<Relationships xmlns="http://schemas.openxmlformats.org/package/2006/relationships"><Relationship Id="rId2" Type="http://schemas.openxmlformats.org/officeDocument/2006/relationships/slide" Target="../slides/slide724.xml"/><Relationship Id="rId1" Type="http://schemas.openxmlformats.org/officeDocument/2006/relationships/notesMaster" Target="../notesMasters/notesMaster1.xml"/></Relationships>
</file>

<file path=ppt/notesSlides/_rels/notesSlide313.xml.rels><?xml version="1.0" encoding="UTF-8" standalone="yes"?>
<Relationships xmlns="http://schemas.openxmlformats.org/package/2006/relationships"><Relationship Id="rId2" Type="http://schemas.openxmlformats.org/officeDocument/2006/relationships/slide" Target="../slides/slide725.xml"/><Relationship Id="rId1" Type="http://schemas.openxmlformats.org/officeDocument/2006/relationships/notesMaster" Target="../notesMasters/notesMaster1.xml"/></Relationships>
</file>

<file path=ppt/notesSlides/_rels/notesSlide314.xml.rels><?xml version="1.0" encoding="UTF-8" standalone="yes"?>
<Relationships xmlns="http://schemas.openxmlformats.org/package/2006/relationships"><Relationship Id="rId2" Type="http://schemas.openxmlformats.org/officeDocument/2006/relationships/slide" Target="../slides/slide726.xml"/><Relationship Id="rId1" Type="http://schemas.openxmlformats.org/officeDocument/2006/relationships/notesMaster" Target="../notesMasters/notesMaster1.xml"/></Relationships>
</file>

<file path=ppt/notesSlides/_rels/notesSlide315.xml.rels><?xml version="1.0" encoding="UTF-8" standalone="yes"?>
<Relationships xmlns="http://schemas.openxmlformats.org/package/2006/relationships"><Relationship Id="rId2" Type="http://schemas.openxmlformats.org/officeDocument/2006/relationships/slide" Target="../slides/slide727.xml"/><Relationship Id="rId1" Type="http://schemas.openxmlformats.org/officeDocument/2006/relationships/notesMaster" Target="../notesMasters/notesMaster1.xml"/></Relationships>
</file>

<file path=ppt/notesSlides/_rels/notesSlide316.xml.rels><?xml version="1.0" encoding="UTF-8" standalone="yes"?>
<Relationships xmlns="http://schemas.openxmlformats.org/package/2006/relationships"><Relationship Id="rId2" Type="http://schemas.openxmlformats.org/officeDocument/2006/relationships/slide" Target="../slides/slide728.xml"/><Relationship Id="rId1" Type="http://schemas.openxmlformats.org/officeDocument/2006/relationships/notesMaster" Target="../notesMasters/notesMaster1.xml"/></Relationships>
</file>

<file path=ppt/notesSlides/_rels/notesSlide317.xml.rels><?xml version="1.0" encoding="UTF-8" standalone="yes"?>
<Relationships xmlns="http://schemas.openxmlformats.org/package/2006/relationships"><Relationship Id="rId2" Type="http://schemas.openxmlformats.org/officeDocument/2006/relationships/slide" Target="../slides/slide729.xml"/><Relationship Id="rId1" Type="http://schemas.openxmlformats.org/officeDocument/2006/relationships/notesMaster" Target="../notesMasters/notesMaster1.xml"/></Relationships>
</file>

<file path=ppt/notesSlides/_rels/notesSlide318.xml.rels><?xml version="1.0" encoding="UTF-8" standalone="yes"?>
<Relationships xmlns="http://schemas.openxmlformats.org/package/2006/relationships"><Relationship Id="rId2" Type="http://schemas.openxmlformats.org/officeDocument/2006/relationships/slide" Target="../slides/slide730.xml"/><Relationship Id="rId1" Type="http://schemas.openxmlformats.org/officeDocument/2006/relationships/notesMaster" Target="../notesMasters/notesMaster1.xml"/></Relationships>
</file>

<file path=ppt/notesSlides/_rels/notesSlide319.xml.rels><?xml version="1.0" encoding="UTF-8" standalone="yes"?>
<Relationships xmlns="http://schemas.openxmlformats.org/package/2006/relationships"><Relationship Id="rId2" Type="http://schemas.openxmlformats.org/officeDocument/2006/relationships/slide" Target="../slides/slide7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43.xml"/><Relationship Id="rId1" Type="http://schemas.openxmlformats.org/officeDocument/2006/relationships/notesMaster" Target="../notesMasters/notesMaster1.xml"/></Relationships>
</file>

<file path=ppt/notesSlides/_rels/notesSlide320.xml.rels><?xml version="1.0" encoding="UTF-8" standalone="yes"?>
<Relationships xmlns="http://schemas.openxmlformats.org/package/2006/relationships"><Relationship Id="rId2" Type="http://schemas.openxmlformats.org/officeDocument/2006/relationships/slide" Target="../slides/slide732.xml"/><Relationship Id="rId1" Type="http://schemas.openxmlformats.org/officeDocument/2006/relationships/notesMaster" Target="../notesMasters/notesMaster1.xml"/></Relationships>
</file>

<file path=ppt/notesSlides/_rels/notesSlide321.xml.rels><?xml version="1.0" encoding="UTF-8" standalone="yes"?>
<Relationships xmlns="http://schemas.openxmlformats.org/package/2006/relationships"><Relationship Id="rId2" Type="http://schemas.openxmlformats.org/officeDocument/2006/relationships/slide" Target="../slides/slide733.xml"/><Relationship Id="rId1" Type="http://schemas.openxmlformats.org/officeDocument/2006/relationships/notesMaster" Target="../notesMasters/notesMaster1.xml"/></Relationships>
</file>

<file path=ppt/notesSlides/_rels/notesSlide322.xml.rels><?xml version="1.0" encoding="UTF-8" standalone="yes"?>
<Relationships xmlns="http://schemas.openxmlformats.org/package/2006/relationships"><Relationship Id="rId2" Type="http://schemas.openxmlformats.org/officeDocument/2006/relationships/slide" Target="../slides/slide734.xml"/><Relationship Id="rId1" Type="http://schemas.openxmlformats.org/officeDocument/2006/relationships/notesMaster" Target="../notesMasters/notesMaster1.xml"/></Relationships>
</file>

<file path=ppt/notesSlides/_rels/notesSlide323.xml.rels><?xml version="1.0" encoding="UTF-8" standalone="yes"?>
<Relationships xmlns="http://schemas.openxmlformats.org/package/2006/relationships"><Relationship Id="rId2" Type="http://schemas.openxmlformats.org/officeDocument/2006/relationships/slide" Target="../slides/slide735.xml"/><Relationship Id="rId1" Type="http://schemas.openxmlformats.org/officeDocument/2006/relationships/notesMaster" Target="../notesMasters/notesMaster1.xml"/></Relationships>
</file>

<file path=ppt/notesSlides/_rels/notesSlide324.xml.rels><?xml version="1.0" encoding="UTF-8" standalone="yes"?>
<Relationships xmlns="http://schemas.openxmlformats.org/package/2006/relationships"><Relationship Id="rId2" Type="http://schemas.openxmlformats.org/officeDocument/2006/relationships/slide" Target="../slides/slide736.xml"/><Relationship Id="rId1" Type="http://schemas.openxmlformats.org/officeDocument/2006/relationships/notesMaster" Target="../notesMasters/notesMaster1.xml"/></Relationships>
</file>

<file path=ppt/notesSlides/_rels/notesSlide325.xml.rels><?xml version="1.0" encoding="UTF-8" standalone="yes"?>
<Relationships xmlns="http://schemas.openxmlformats.org/package/2006/relationships"><Relationship Id="rId2" Type="http://schemas.openxmlformats.org/officeDocument/2006/relationships/slide" Target="../slides/slide737.xml"/><Relationship Id="rId1" Type="http://schemas.openxmlformats.org/officeDocument/2006/relationships/notesMaster" Target="../notesMasters/notesMaster1.xml"/></Relationships>
</file>

<file path=ppt/notesSlides/_rels/notesSlide326.xml.rels><?xml version="1.0" encoding="UTF-8" standalone="yes"?>
<Relationships xmlns="http://schemas.openxmlformats.org/package/2006/relationships"><Relationship Id="rId2" Type="http://schemas.openxmlformats.org/officeDocument/2006/relationships/slide" Target="../slides/slide738.xml"/><Relationship Id="rId1" Type="http://schemas.openxmlformats.org/officeDocument/2006/relationships/notesMaster" Target="../notesMasters/notesMaster1.xml"/></Relationships>
</file>

<file path=ppt/notesSlides/_rels/notesSlide327.xml.rels><?xml version="1.0" encoding="UTF-8" standalone="yes"?>
<Relationships xmlns="http://schemas.openxmlformats.org/package/2006/relationships"><Relationship Id="rId2" Type="http://schemas.openxmlformats.org/officeDocument/2006/relationships/slide" Target="../slides/slide739.xml"/><Relationship Id="rId1" Type="http://schemas.openxmlformats.org/officeDocument/2006/relationships/notesMaster" Target="../notesMasters/notesMaster1.xml"/></Relationships>
</file>

<file path=ppt/notesSlides/_rels/notesSlide328.xml.rels><?xml version="1.0" encoding="UTF-8" standalone="yes"?>
<Relationships xmlns="http://schemas.openxmlformats.org/package/2006/relationships"><Relationship Id="rId2" Type="http://schemas.openxmlformats.org/officeDocument/2006/relationships/slide" Target="../slides/slide740.xml"/><Relationship Id="rId1" Type="http://schemas.openxmlformats.org/officeDocument/2006/relationships/notesMaster" Target="../notesMasters/notesMaster1.xml"/></Relationships>
</file>

<file path=ppt/notesSlides/_rels/notesSlide329.xml.rels><?xml version="1.0" encoding="UTF-8" standalone="yes"?>
<Relationships xmlns="http://schemas.openxmlformats.org/package/2006/relationships"><Relationship Id="rId2" Type="http://schemas.openxmlformats.org/officeDocument/2006/relationships/slide" Target="../slides/slide741.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44.xml"/><Relationship Id="rId1" Type="http://schemas.openxmlformats.org/officeDocument/2006/relationships/notesMaster" Target="../notesMasters/notesMaster1.xml"/></Relationships>
</file>

<file path=ppt/notesSlides/_rels/notesSlide330.xml.rels><?xml version="1.0" encoding="UTF-8" standalone="yes"?>
<Relationships xmlns="http://schemas.openxmlformats.org/package/2006/relationships"><Relationship Id="rId2" Type="http://schemas.openxmlformats.org/officeDocument/2006/relationships/slide" Target="../slides/slide742.xml"/><Relationship Id="rId1" Type="http://schemas.openxmlformats.org/officeDocument/2006/relationships/notesMaster" Target="../notesMasters/notesMaster1.xml"/></Relationships>
</file>

<file path=ppt/notesSlides/_rels/notesSlide331.xml.rels><?xml version="1.0" encoding="UTF-8" standalone="yes"?>
<Relationships xmlns="http://schemas.openxmlformats.org/package/2006/relationships"><Relationship Id="rId2" Type="http://schemas.openxmlformats.org/officeDocument/2006/relationships/slide" Target="../slides/slide743.xml"/><Relationship Id="rId1" Type="http://schemas.openxmlformats.org/officeDocument/2006/relationships/notesMaster" Target="../notesMasters/notesMaster1.xml"/></Relationships>
</file>

<file path=ppt/notesSlides/_rels/notesSlide332.xml.rels><?xml version="1.0" encoding="UTF-8" standalone="yes"?>
<Relationships xmlns="http://schemas.openxmlformats.org/package/2006/relationships"><Relationship Id="rId2" Type="http://schemas.openxmlformats.org/officeDocument/2006/relationships/slide" Target="../slides/slide744.xml"/><Relationship Id="rId1" Type="http://schemas.openxmlformats.org/officeDocument/2006/relationships/notesMaster" Target="../notesMasters/notesMaster1.xml"/></Relationships>
</file>

<file path=ppt/notesSlides/_rels/notesSlide333.xml.rels><?xml version="1.0" encoding="UTF-8" standalone="yes"?>
<Relationships xmlns="http://schemas.openxmlformats.org/package/2006/relationships"><Relationship Id="rId2" Type="http://schemas.openxmlformats.org/officeDocument/2006/relationships/slide" Target="../slides/slide745.xml"/><Relationship Id="rId1" Type="http://schemas.openxmlformats.org/officeDocument/2006/relationships/notesMaster" Target="../notesMasters/notesMaster1.xml"/></Relationships>
</file>

<file path=ppt/notesSlides/_rels/notesSlide334.xml.rels><?xml version="1.0" encoding="UTF-8" standalone="yes"?>
<Relationships xmlns="http://schemas.openxmlformats.org/package/2006/relationships"><Relationship Id="rId2" Type="http://schemas.openxmlformats.org/officeDocument/2006/relationships/slide" Target="../slides/slide746.xml"/><Relationship Id="rId1" Type="http://schemas.openxmlformats.org/officeDocument/2006/relationships/notesMaster" Target="../notesMasters/notesMaster1.xml"/></Relationships>
</file>

<file path=ppt/notesSlides/_rels/notesSlide335.xml.rels><?xml version="1.0" encoding="UTF-8" standalone="yes"?>
<Relationships xmlns="http://schemas.openxmlformats.org/package/2006/relationships"><Relationship Id="rId2" Type="http://schemas.openxmlformats.org/officeDocument/2006/relationships/slide" Target="../slides/slide747.xml"/><Relationship Id="rId1" Type="http://schemas.openxmlformats.org/officeDocument/2006/relationships/notesMaster" Target="../notesMasters/notesMaster1.xml"/></Relationships>
</file>

<file path=ppt/notesSlides/_rels/notesSlide336.xml.rels><?xml version="1.0" encoding="UTF-8" standalone="yes"?>
<Relationships xmlns="http://schemas.openxmlformats.org/package/2006/relationships"><Relationship Id="rId2" Type="http://schemas.openxmlformats.org/officeDocument/2006/relationships/slide" Target="../slides/slide748.xml"/><Relationship Id="rId1" Type="http://schemas.openxmlformats.org/officeDocument/2006/relationships/notesMaster" Target="../notesMasters/notesMaster1.xml"/></Relationships>
</file>

<file path=ppt/notesSlides/_rels/notesSlide337.xml.rels><?xml version="1.0" encoding="UTF-8" standalone="yes"?>
<Relationships xmlns="http://schemas.openxmlformats.org/package/2006/relationships"><Relationship Id="rId2" Type="http://schemas.openxmlformats.org/officeDocument/2006/relationships/slide" Target="../slides/slide749.xml"/><Relationship Id="rId1" Type="http://schemas.openxmlformats.org/officeDocument/2006/relationships/notesMaster" Target="../notesMasters/notesMaster1.xml"/></Relationships>
</file>

<file path=ppt/notesSlides/_rels/notesSlide338.xml.rels><?xml version="1.0" encoding="UTF-8" standalone="yes"?>
<Relationships xmlns="http://schemas.openxmlformats.org/package/2006/relationships"><Relationship Id="rId2" Type="http://schemas.openxmlformats.org/officeDocument/2006/relationships/slide" Target="../slides/slide750.xml"/><Relationship Id="rId1" Type="http://schemas.openxmlformats.org/officeDocument/2006/relationships/notesMaster" Target="../notesMasters/notesMaster1.xml"/></Relationships>
</file>

<file path=ppt/notesSlides/_rels/notesSlide339.xml.rels><?xml version="1.0" encoding="UTF-8" standalone="yes"?>
<Relationships xmlns="http://schemas.openxmlformats.org/package/2006/relationships"><Relationship Id="rId2" Type="http://schemas.openxmlformats.org/officeDocument/2006/relationships/slide" Target="../slides/slide751.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45.xml"/><Relationship Id="rId1" Type="http://schemas.openxmlformats.org/officeDocument/2006/relationships/notesMaster" Target="../notesMasters/notesMaster1.xml"/></Relationships>
</file>

<file path=ppt/notesSlides/_rels/notesSlide340.xml.rels><?xml version="1.0" encoding="UTF-8" standalone="yes"?>
<Relationships xmlns="http://schemas.openxmlformats.org/package/2006/relationships"><Relationship Id="rId2" Type="http://schemas.openxmlformats.org/officeDocument/2006/relationships/slide" Target="../slides/slide752.xml"/><Relationship Id="rId1" Type="http://schemas.openxmlformats.org/officeDocument/2006/relationships/notesMaster" Target="../notesMasters/notesMaster1.xml"/></Relationships>
</file>

<file path=ppt/notesSlides/_rels/notesSlide341.xml.rels><?xml version="1.0" encoding="UTF-8" standalone="yes"?>
<Relationships xmlns="http://schemas.openxmlformats.org/package/2006/relationships"><Relationship Id="rId2" Type="http://schemas.openxmlformats.org/officeDocument/2006/relationships/slide" Target="../slides/slide753.xml"/><Relationship Id="rId1" Type="http://schemas.openxmlformats.org/officeDocument/2006/relationships/notesMaster" Target="../notesMasters/notesMaster1.xml"/></Relationships>
</file>

<file path=ppt/notesSlides/_rels/notesSlide342.xml.rels><?xml version="1.0" encoding="UTF-8" standalone="yes"?>
<Relationships xmlns="http://schemas.openxmlformats.org/package/2006/relationships"><Relationship Id="rId2" Type="http://schemas.openxmlformats.org/officeDocument/2006/relationships/slide" Target="../slides/slide754.xml"/><Relationship Id="rId1" Type="http://schemas.openxmlformats.org/officeDocument/2006/relationships/notesMaster" Target="../notesMasters/notesMaster1.xml"/></Relationships>
</file>

<file path=ppt/notesSlides/_rels/notesSlide343.xml.rels><?xml version="1.0" encoding="UTF-8" standalone="yes"?>
<Relationships xmlns="http://schemas.openxmlformats.org/package/2006/relationships"><Relationship Id="rId2" Type="http://schemas.openxmlformats.org/officeDocument/2006/relationships/slide" Target="../slides/slide755.xml"/><Relationship Id="rId1" Type="http://schemas.openxmlformats.org/officeDocument/2006/relationships/notesMaster" Target="../notesMasters/notesMaster1.xml"/></Relationships>
</file>

<file path=ppt/notesSlides/_rels/notesSlide344.xml.rels><?xml version="1.0" encoding="UTF-8" standalone="yes"?>
<Relationships xmlns="http://schemas.openxmlformats.org/package/2006/relationships"><Relationship Id="rId2" Type="http://schemas.openxmlformats.org/officeDocument/2006/relationships/slide" Target="../slides/slide756.xml"/><Relationship Id="rId1" Type="http://schemas.openxmlformats.org/officeDocument/2006/relationships/notesMaster" Target="../notesMasters/notesMaster1.xml"/></Relationships>
</file>

<file path=ppt/notesSlides/_rels/notesSlide345.xml.rels><?xml version="1.0" encoding="UTF-8" standalone="yes"?>
<Relationships xmlns="http://schemas.openxmlformats.org/package/2006/relationships"><Relationship Id="rId2" Type="http://schemas.openxmlformats.org/officeDocument/2006/relationships/slide" Target="../slides/slide757.xml"/><Relationship Id="rId1" Type="http://schemas.openxmlformats.org/officeDocument/2006/relationships/notesMaster" Target="../notesMasters/notesMaster1.xml"/></Relationships>
</file>

<file path=ppt/notesSlides/_rels/notesSlide346.xml.rels><?xml version="1.0" encoding="UTF-8" standalone="yes"?>
<Relationships xmlns="http://schemas.openxmlformats.org/package/2006/relationships"><Relationship Id="rId2" Type="http://schemas.openxmlformats.org/officeDocument/2006/relationships/slide" Target="../slides/slide758.xml"/><Relationship Id="rId1" Type="http://schemas.openxmlformats.org/officeDocument/2006/relationships/notesMaster" Target="../notesMasters/notesMaster1.xml"/></Relationships>
</file>

<file path=ppt/notesSlides/_rels/notesSlide347.xml.rels><?xml version="1.0" encoding="UTF-8" standalone="yes"?>
<Relationships xmlns="http://schemas.openxmlformats.org/package/2006/relationships"><Relationship Id="rId2" Type="http://schemas.openxmlformats.org/officeDocument/2006/relationships/slide" Target="../slides/slide759.xml"/><Relationship Id="rId1" Type="http://schemas.openxmlformats.org/officeDocument/2006/relationships/notesMaster" Target="../notesMasters/notesMaster1.xml"/></Relationships>
</file>

<file path=ppt/notesSlides/_rels/notesSlide348.xml.rels><?xml version="1.0" encoding="UTF-8" standalone="yes"?>
<Relationships xmlns="http://schemas.openxmlformats.org/package/2006/relationships"><Relationship Id="rId2" Type="http://schemas.openxmlformats.org/officeDocument/2006/relationships/slide" Target="../slides/slide760.xml"/><Relationship Id="rId1" Type="http://schemas.openxmlformats.org/officeDocument/2006/relationships/notesMaster" Target="../notesMasters/notesMaster1.xml"/></Relationships>
</file>

<file path=ppt/notesSlides/_rels/notesSlide349.xml.rels><?xml version="1.0" encoding="UTF-8" standalone="yes"?>
<Relationships xmlns="http://schemas.openxmlformats.org/package/2006/relationships"><Relationship Id="rId2" Type="http://schemas.openxmlformats.org/officeDocument/2006/relationships/slide" Target="../slides/slide761.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46.xml"/><Relationship Id="rId1" Type="http://schemas.openxmlformats.org/officeDocument/2006/relationships/notesMaster" Target="../notesMasters/notesMaster1.xml"/></Relationships>
</file>

<file path=ppt/notesSlides/_rels/notesSlide350.xml.rels><?xml version="1.0" encoding="UTF-8" standalone="yes"?>
<Relationships xmlns="http://schemas.openxmlformats.org/package/2006/relationships"><Relationship Id="rId2" Type="http://schemas.openxmlformats.org/officeDocument/2006/relationships/slide" Target="../slides/slide762.xml"/><Relationship Id="rId1" Type="http://schemas.openxmlformats.org/officeDocument/2006/relationships/notesMaster" Target="../notesMasters/notesMaster1.xml"/></Relationships>
</file>

<file path=ppt/notesSlides/_rels/notesSlide351.xml.rels><?xml version="1.0" encoding="UTF-8" standalone="yes"?>
<Relationships xmlns="http://schemas.openxmlformats.org/package/2006/relationships"><Relationship Id="rId2" Type="http://schemas.openxmlformats.org/officeDocument/2006/relationships/slide" Target="../slides/slide763.xml"/><Relationship Id="rId1" Type="http://schemas.openxmlformats.org/officeDocument/2006/relationships/notesMaster" Target="../notesMasters/notesMaster1.xml"/></Relationships>
</file>

<file path=ppt/notesSlides/_rels/notesSlide352.xml.rels><?xml version="1.0" encoding="UTF-8" standalone="yes"?>
<Relationships xmlns="http://schemas.openxmlformats.org/package/2006/relationships"><Relationship Id="rId2" Type="http://schemas.openxmlformats.org/officeDocument/2006/relationships/slide" Target="../slides/slide764.xml"/><Relationship Id="rId1" Type="http://schemas.openxmlformats.org/officeDocument/2006/relationships/notesMaster" Target="../notesMasters/notesMaster1.xml"/></Relationships>
</file>

<file path=ppt/notesSlides/_rels/notesSlide353.xml.rels><?xml version="1.0" encoding="UTF-8" standalone="yes"?>
<Relationships xmlns="http://schemas.openxmlformats.org/package/2006/relationships"><Relationship Id="rId2" Type="http://schemas.openxmlformats.org/officeDocument/2006/relationships/slide" Target="../slides/slide765.xml"/><Relationship Id="rId1" Type="http://schemas.openxmlformats.org/officeDocument/2006/relationships/notesMaster" Target="../notesMasters/notesMaster1.xml"/></Relationships>
</file>

<file path=ppt/notesSlides/_rels/notesSlide354.xml.rels><?xml version="1.0" encoding="UTF-8" standalone="yes"?>
<Relationships xmlns="http://schemas.openxmlformats.org/package/2006/relationships"><Relationship Id="rId2" Type="http://schemas.openxmlformats.org/officeDocument/2006/relationships/slide" Target="../slides/slide766.xml"/><Relationship Id="rId1" Type="http://schemas.openxmlformats.org/officeDocument/2006/relationships/notesMaster" Target="../notesMasters/notesMaster1.xml"/></Relationships>
</file>

<file path=ppt/notesSlides/_rels/notesSlide355.xml.rels><?xml version="1.0" encoding="UTF-8" standalone="yes"?>
<Relationships xmlns="http://schemas.openxmlformats.org/package/2006/relationships"><Relationship Id="rId2" Type="http://schemas.openxmlformats.org/officeDocument/2006/relationships/slide" Target="../slides/slide767.xml"/><Relationship Id="rId1" Type="http://schemas.openxmlformats.org/officeDocument/2006/relationships/notesMaster" Target="../notesMasters/notesMaster1.xml"/></Relationships>
</file>

<file path=ppt/notesSlides/_rels/notesSlide356.xml.rels><?xml version="1.0" encoding="UTF-8" standalone="yes"?>
<Relationships xmlns="http://schemas.openxmlformats.org/package/2006/relationships"><Relationship Id="rId2" Type="http://schemas.openxmlformats.org/officeDocument/2006/relationships/slide" Target="../slides/slide768.xml"/><Relationship Id="rId1" Type="http://schemas.openxmlformats.org/officeDocument/2006/relationships/notesMaster" Target="../notesMasters/notesMaster1.xml"/></Relationships>
</file>

<file path=ppt/notesSlides/_rels/notesSlide357.xml.rels><?xml version="1.0" encoding="UTF-8" standalone="yes"?>
<Relationships xmlns="http://schemas.openxmlformats.org/package/2006/relationships"><Relationship Id="rId2" Type="http://schemas.openxmlformats.org/officeDocument/2006/relationships/slide" Target="../slides/slide769.xml"/><Relationship Id="rId1" Type="http://schemas.openxmlformats.org/officeDocument/2006/relationships/notesMaster" Target="../notesMasters/notesMaster1.xml"/></Relationships>
</file>

<file path=ppt/notesSlides/_rels/notesSlide358.xml.rels><?xml version="1.0" encoding="UTF-8" standalone="yes"?>
<Relationships xmlns="http://schemas.openxmlformats.org/package/2006/relationships"><Relationship Id="rId2" Type="http://schemas.openxmlformats.org/officeDocument/2006/relationships/slide" Target="../slides/slide770.xml"/><Relationship Id="rId1" Type="http://schemas.openxmlformats.org/officeDocument/2006/relationships/notesMaster" Target="../notesMasters/notesMaster1.xml"/></Relationships>
</file>

<file path=ppt/notesSlides/_rels/notesSlide359.xml.rels><?xml version="1.0" encoding="UTF-8" standalone="yes"?>
<Relationships xmlns="http://schemas.openxmlformats.org/package/2006/relationships"><Relationship Id="rId2" Type="http://schemas.openxmlformats.org/officeDocument/2006/relationships/slide" Target="../slides/slide771.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47.xml"/><Relationship Id="rId1" Type="http://schemas.openxmlformats.org/officeDocument/2006/relationships/notesMaster" Target="../notesMasters/notesMaster1.xml"/></Relationships>
</file>

<file path=ppt/notesSlides/_rels/notesSlide360.xml.rels><?xml version="1.0" encoding="UTF-8" standalone="yes"?>
<Relationships xmlns="http://schemas.openxmlformats.org/package/2006/relationships"><Relationship Id="rId2" Type="http://schemas.openxmlformats.org/officeDocument/2006/relationships/slide" Target="../slides/slide772.xml"/><Relationship Id="rId1" Type="http://schemas.openxmlformats.org/officeDocument/2006/relationships/notesMaster" Target="../notesMasters/notesMaster1.xml"/></Relationships>
</file>

<file path=ppt/notesSlides/_rels/notesSlide361.xml.rels><?xml version="1.0" encoding="UTF-8" standalone="yes"?>
<Relationships xmlns="http://schemas.openxmlformats.org/package/2006/relationships"><Relationship Id="rId2" Type="http://schemas.openxmlformats.org/officeDocument/2006/relationships/slide" Target="../slides/slide773.xml"/><Relationship Id="rId1" Type="http://schemas.openxmlformats.org/officeDocument/2006/relationships/notesMaster" Target="../notesMasters/notesMaster1.xml"/></Relationships>
</file>

<file path=ppt/notesSlides/_rels/notesSlide362.xml.rels><?xml version="1.0" encoding="UTF-8" standalone="yes"?>
<Relationships xmlns="http://schemas.openxmlformats.org/package/2006/relationships"><Relationship Id="rId2" Type="http://schemas.openxmlformats.org/officeDocument/2006/relationships/slide" Target="../slides/slide774.xml"/><Relationship Id="rId1" Type="http://schemas.openxmlformats.org/officeDocument/2006/relationships/notesMaster" Target="../notesMasters/notesMaster1.xml"/></Relationships>
</file>

<file path=ppt/notesSlides/_rels/notesSlide363.xml.rels><?xml version="1.0" encoding="UTF-8" standalone="yes"?>
<Relationships xmlns="http://schemas.openxmlformats.org/package/2006/relationships"><Relationship Id="rId2" Type="http://schemas.openxmlformats.org/officeDocument/2006/relationships/slide" Target="../slides/slide775.xml"/><Relationship Id="rId1" Type="http://schemas.openxmlformats.org/officeDocument/2006/relationships/notesMaster" Target="../notesMasters/notesMaster1.xml"/></Relationships>
</file>

<file path=ppt/notesSlides/_rels/notesSlide364.xml.rels><?xml version="1.0" encoding="UTF-8" standalone="yes"?>
<Relationships xmlns="http://schemas.openxmlformats.org/package/2006/relationships"><Relationship Id="rId2" Type="http://schemas.openxmlformats.org/officeDocument/2006/relationships/slide" Target="../slides/slide776.xml"/><Relationship Id="rId1" Type="http://schemas.openxmlformats.org/officeDocument/2006/relationships/notesMaster" Target="../notesMasters/notesMaster1.xml"/></Relationships>
</file>

<file path=ppt/notesSlides/_rels/notesSlide365.xml.rels><?xml version="1.0" encoding="UTF-8" standalone="yes"?>
<Relationships xmlns="http://schemas.openxmlformats.org/package/2006/relationships"><Relationship Id="rId2" Type="http://schemas.openxmlformats.org/officeDocument/2006/relationships/slide" Target="../slides/slide777.xml"/><Relationship Id="rId1" Type="http://schemas.openxmlformats.org/officeDocument/2006/relationships/notesMaster" Target="../notesMasters/notesMaster1.xml"/></Relationships>
</file>

<file path=ppt/notesSlides/_rels/notesSlide366.xml.rels><?xml version="1.0" encoding="UTF-8" standalone="yes"?>
<Relationships xmlns="http://schemas.openxmlformats.org/package/2006/relationships"><Relationship Id="rId2" Type="http://schemas.openxmlformats.org/officeDocument/2006/relationships/slide" Target="../slides/slide778.xml"/><Relationship Id="rId1" Type="http://schemas.openxmlformats.org/officeDocument/2006/relationships/notesMaster" Target="../notesMasters/notesMaster1.xml"/></Relationships>
</file>

<file path=ppt/notesSlides/_rels/notesSlide367.xml.rels><?xml version="1.0" encoding="UTF-8" standalone="yes"?>
<Relationships xmlns="http://schemas.openxmlformats.org/package/2006/relationships"><Relationship Id="rId2" Type="http://schemas.openxmlformats.org/officeDocument/2006/relationships/slide" Target="../slides/slide779.xml"/><Relationship Id="rId1" Type="http://schemas.openxmlformats.org/officeDocument/2006/relationships/notesMaster" Target="../notesMasters/notesMaster1.xml"/></Relationships>
</file>

<file path=ppt/notesSlides/_rels/notesSlide368.xml.rels><?xml version="1.0" encoding="UTF-8" standalone="yes"?>
<Relationships xmlns="http://schemas.openxmlformats.org/package/2006/relationships"><Relationship Id="rId2" Type="http://schemas.openxmlformats.org/officeDocument/2006/relationships/slide" Target="../slides/slide780.xml"/><Relationship Id="rId1" Type="http://schemas.openxmlformats.org/officeDocument/2006/relationships/notesMaster" Target="../notesMasters/notesMaster1.xml"/></Relationships>
</file>

<file path=ppt/notesSlides/_rels/notesSlide369.xml.rels><?xml version="1.0" encoding="UTF-8" standalone="yes"?>
<Relationships xmlns="http://schemas.openxmlformats.org/package/2006/relationships"><Relationship Id="rId2" Type="http://schemas.openxmlformats.org/officeDocument/2006/relationships/slide" Target="../slides/slide781.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48.xml"/><Relationship Id="rId1" Type="http://schemas.openxmlformats.org/officeDocument/2006/relationships/notesMaster" Target="../notesMasters/notesMaster1.xml"/></Relationships>
</file>

<file path=ppt/notesSlides/_rels/notesSlide370.xml.rels><?xml version="1.0" encoding="UTF-8" standalone="yes"?>
<Relationships xmlns="http://schemas.openxmlformats.org/package/2006/relationships"><Relationship Id="rId2" Type="http://schemas.openxmlformats.org/officeDocument/2006/relationships/slide" Target="../slides/slide782.xml"/><Relationship Id="rId1" Type="http://schemas.openxmlformats.org/officeDocument/2006/relationships/notesMaster" Target="../notesMasters/notesMaster1.xml"/></Relationships>
</file>

<file path=ppt/notesSlides/_rels/notesSlide371.xml.rels><?xml version="1.0" encoding="UTF-8" standalone="yes"?>
<Relationships xmlns="http://schemas.openxmlformats.org/package/2006/relationships"><Relationship Id="rId2" Type="http://schemas.openxmlformats.org/officeDocument/2006/relationships/slide" Target="../slides/slide783.xml"/><Relationship Id="rId1" Type="http://schemas.openxmlformats.org/officeDocument/2006/relationships/notesMaster" Target="../notesMasters/notesMaster1.xml"/></Relationships>
</file>

<file path=ppt/notesSlides/_rels/notesSlide372.xml.rels><?xml version="1.0" encoding="UTF-8" standalone="yes"?>
<Relationships xmlns="http://schemas.openxmlformats.org/package/2006/relationships"><Relationship Id="rId2" Type="http://schemas.openxmlformats.org/officeDocument/2006/relationships/slide" Target="../slides/slide784.xml"/><Relationship Id="rId1" Type="http://schemas.openxmlformats.org/officeDocument/2006/relationships/notesMaster" Target="../notesMasters/notesMaster1.xml"/></Relationships>
</file>

<file path=ppt/notesSlides/_rels/notesSlide373.xml.rels><?xml version="1.0" encoding="UTF-8" standalone="yes"?>
<Relationships xmlns="http://schemas.openxmlformats.org/package/2006/relationships"><Relationship Id="rId2" Type="http://schemas.openxmlformats.org/officeDocument/2006/relationships/slide" Target="../slides/slide785.xml"/><Relationship Id="rId1" Type="http://schemas.openxmlformats.org/officeDocument/2006/relationships/notesMaster" Target="../notesMasters/notesMaster1.xml"/></Relationships>
</file>

<file path=ppt/notesSlides/_rels/notesSlide374.xml.rels><?xml version="1.0" encoding="UTF-8" standalone="yes"?>
<Relationships xmlns="http://schemas.openxmlformats.org/package/2006/relationships"><Relationship Id="rId2" Type="http://schemas.openxmlformats.org/officeDocument/2006/relationships/slide" Target="../slides/slide786.xml"/><Relationship Id="rId1" Type="http://schemas.openxmlformats.org/officeDocument/2006/relationships/notesMaster" Target="../notesMasters/notesMaster1.xml"/></Relationships>
</file>

<file path=ppt/notesSlides/_rels/notesSlide375.xml.rels><?xml version="1.0" encoding="UTF-8" standalone="yes"?>
<Relationships xmlns="http://schemas.openxmlformats.org/package/2006/relationships"><Relationship Id="rId2" Type="http://schemas.openxmlformats.org/officeDocument/2006/relationships/slide" Target="../slides/slide787.xml"/><Relationship Id="rId1" Type="http://schemas.openxmlformats.org/officeDocument/2006/relationships/notesMaster" Target="../notesMasters/notesMaster1.xml"/></Relationships>
</file>

<file path=ppt/notesSlides/_rels/notesSlide376.xml.rels><?xml version="1.0" encoding="UTF-8" standalone="yes"?>
<Relationships xmlns="http://schemas.openxmlformats.org/package/2006/relationships"><Relationship Id="rId2" Type="http://schemas.openxmlformats.org/officeDocument/2006/relationships/slide" Target="../slides/slide788.xml"/><Relationship Id="rId1" Type="http://schemas.openxmlformats.org/officeDocument/2006/relationships/notesMaster" Target="../notesMasters/notesMaster1.xml"/></Relationships>
</file>

<file path=ppt/notesSlides/_rels/notesSlide377.xml.rels><?xml version="1.0" encoding="UTF-8" standalone="yes"?>
<Relationships xmlns="http://schemas.openxmlformats.org/package/2006/relationships"><Relationship Id="rId2" Type="http://schemas.openxmlformats.org/officeDocument/2006/relationships/slide" Target="../slides/slide789.xml"/><Relationship Id="rId1" Type="http://schemas.openxmlformats.org/officeDocument/2006/relationships/notesMaster" Target="../notesMasters/notesMaster1.xml"/></Relationships>
</file>

<file path=ppt/notesSlides/_rels/notesSlide378.xml.rels><?xml version="1.0" encoding="UTF-8" standalone="yes"?>
<Relationships xmlns="http://schemas.openxmlformats.org/package/2006/relationships"><Relationship Id="rId2" Type="http://schemas.openxmlformats.org/officeDocument/2006/relationships/slide" Target="../slides/slide790.xml"/><Relationship Id="rId1" Type="http://schemas.openxmlformats.org/officeDocument/2006/relationships/notesMaster" Target="../notesMasters/notesMaster1.xml"/></Relationships>
</file>

<file path=ppt/notesSlides/_rels/notesSlide379.xml.rels><?xml version="1.0" encoding="UTF-8" standalone="yes"?>
<Relationships xmlns="http://schemas.openxmlformats.org/package/2006/relationships"><Relationship Id="rId2" Type="http://schemas.openxmlformats.org/officeDocument/2006/relationships/slide" Target="../slides/slide791.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49.xml"/><Relationship Id="rId1" Type="http://schemas.openxmlformats.org/officeDocument/2006/relationships/notesMaster" Target="../notesMasters/notesMaster1.xml"/></Relationships>
</file>

<file path=ppt/notesSlides/_rels/notesSlide380.xml.rels><?xml version="1.0" encoding="UTF-8" standalone="yes"?>
<Relationships xmlns="http://schemas.openxmlformats.org/package/2006/relationships"><Relationship Id="rId2" Type="http://schemas.openxmlformats.org/officeDocument/2006/relationships/slide" Target="../slides/slide792.xml"/><Relationship Id="rId1" Type="http://schemas.openxmlformats.org/officeDocument/2006/relationships/notesMaster" Target="../notesMasters/notesMaster1.xml"/></Relationships>
</file>

<file path=ppt/notesSlides/_rels/notesSlide381.xml.rels><?xml version="1.0" encoding="UTF-8" standalone="yes"?>
<Relationships xmlns="http://schemas.openxmlformats.org/package/2006/relationships"><Relationship Id="rId2" Type="http://schemas.openxmlformats.org/officeDocument/2006/relationships/slide" Target="../slides/slide793.xml"/><Relationship Id="rId1" Type="http://schemas.openxmlformats.org/officeDocument/2006/relationships/notesMaster" Target="../notesMasters/notesMaster1.xml"/></Relationships>
</file>

<file path=ppt/notesSlides/_rels/notesSlide382.xml.rels><?xml version="1.0" encoding="UTF-8" standalone="yes"?>
<Relationships xmlns="http://schemas.openxmlformats.org/package/2006/relationships"><Relationship Id="rId2" Type="http://schemas.openxmlformats.org/officeDocument/2006/relationships/slide" Target="../slides/slide794.xml"/><Relationship Id="rId1" Type="http://schemas.openxmlformats.org/officeDocument/2006/relationships/notesMaster" Target="../notesMasters/notesMaster1.xml"/></Relationships>
</file>

<file path=ppt/notesSlides/_rels/notesSlide383.xml.rels><?xml version="1.0" encoding="UTF-8" standalone="yes"?>
<Relationships xmlns="http://schemas.openxmlformats.org/package/2006/relationships"><Relationship Id="rId2" Type="http://schemas.openxmlformats.org/officeDocument/2006/relationships/slide" Target="../slides/slide795.xml"/><Relationship Id="rId1" Type="http://schemas.openxmlformats.org/officeDocument/2006/relationships/notesMaster" Target="../notesMasters/notesMaster1.xml"/></Relationships>
</file>

<file path=ppt/notesSlides/_rels/notesSlide384.xml.rels><?xml version="1.0" encoding="UTF-8" standalone="yes"?>
<Relationships xmlns="http://schemas.openxmlformats.org/package/2006/relationships"><Relationship Id="rId2" Type="http://schemas.openxmlformats.org/officeDocument/2006/relationships/slide" Target="../slides/slide796.xml"/><Relationship Id="rId1" Type="http://schemas.openxmlformats.org/officeDocument/2006/relationships/notesMaster" Target="../notesMasters/notesMaster1.xml"/></Relationships>
</file>

<file path=ppt/notesSlides/_rels/notesSlide385.xml.rels><?xml version="1.0" encoding="UTF-8" standalone="yes"?>
<Relationships xmlns="http://schemas.openxmlformats.org/package/2006/relationships"><Relationship Id="rId2" Type="http://schemas.openxmlformats.org/officeDocument/2006/relationships/slide" Target="../slides/slide797.xml"/><Relationship Id="rId1" Type="http://schemas.openxmlformats.org/officeDocument/2006/relationships/notesMaster" Target="../notesMasters/notesMaster1.xml"/></Relationships>
</file>

<file path=ppt/notesSlides/_rels/notesSlide386.xml.rels><?xml version="1.0" encoding="UTF-8" standalone="yes"?>
<Relationships xmlns="http://schemas.openxmlformats.org/package/2006/relationships"><Relationship Id="rId2" Type="http://schemas.openxmlformats.org/officeDocument/2006/relationships/slide" Target="../slides/slide798.xml"/><Relationship Id="rId1" Type="http://schemas.openxmlformats.org/officeDocument/2006/relationships/notesMaster" Target="../notesMasters/notesMaster1.xml"/></Relationships>
</file>

<file path=ppt/notesSlides/_rels/notesSlide387.xml.rels><?xml version="1.0" encoding="UTF-8" standalone="yes"?>
<Relationships xmlns="http://schemas.openxmlformats.org/package/2006/relationships"><Relationship Id="rId2" Type="http://schemas.openxmlformats.org/officeDocument/2006/relationships/slide" Target="../slides/slide799.xml"/><Relationship Id="rId1" Type="http://schemas.openxmlformats.org/officeDocument/2006/relationships/notesMaster" Target="../notesMasters/notesMaster1.xml"/></Relationships>
</file>

<file path=ppt/notesSlides/_rels/notesSlide388.xml.rels><?xml version="1.0" encoding="UTF-8" standalone="yes"?>
<Relationships xmlns="http://schemas.openxmlformats.org/package/2006/relationships"><Relationship Id="rId2" Type="http://schemas.openxmlformats.org/officeDocument/2006/relationships/slide" Target="../slides/slide800.xml"/><Relationship Id="rId1" Type="http://schemas.openxmlformats.org/officeDocument/2006/relationships/notesMaster" Target="../notesMasters/notesMaster1.xml"/></Relationships>
</file>

<file path=ppt/notesSlides/_rels/notesSlide389.xml.rels><?xml version="1.0" encoding="UTF-8" standalone="yes"?>
<Relationships xmlns="http://schemas.openxmlformats.org/package/2006/relationships"><Relationship Id="rId2" Type="http://schemas.openxmlformats.org/officeDocument/2006/relationships/slide" Target="../slides/slide801.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50.xml"/><Relationship Id="rId1" Type="http://schemas.openxmlformats.org/officeDocument/2006/relationships/notesMaster" Target="../notesMasters/notesMaster1.xml"/></Relationships>
</file>

<file path=ppt/notesSlides/_rels/notesSlide390.xml.rels><?xml version="1.0" encoding="UTF-8" standalone="yes"?>
<Relationships xmlns="http://schemas.openxmlformats.org/package/2006/relationships"><Relationship Id="rId2" Type="http://schemas.openxmlformats.org/officeDocument/2006/relationships/slide" Target="../slides/slide802.xml"/><Relationship Id="rId1" Type="http://schemas.openxmlformats.org/officeDocument/2006/relationships/notesMaster" Target="../notesMasters/notesMaster1.xml"/></Relationships>
</file>

<file path=ppt/notesSlides/_rels/notesSlide391.xml.rels><?xml version="1.0" encoding="UTF-8" standalone="yes"?>
<Relationships xmlns="http://schemas.openxmlformats.org/package/2006/relationships"><Relationship Id="rId2" Type="http://schemas.openxmlformats.org/officeDocument/2006/relationships/slide" Target="../slides/slide803.xml"/><Relationship Id="rId1" Type="http://schemas.openxmlformats.org/officeDocument/2006/relationships/notesMaster" Target="../notesMasters/notesMaster1.xml"/></Relationships>
</file>

<file path=ppt/notesSlides/_rels/notesSlide392.xml.rels><?xml version="1.0" encoding="UTF-8" standalone="yes"?>
<Relationships xmlns="http://schemas.openxmlformats.org/package/2006/relationships"><Relationship Id="rId2" Type="http://schemas.openxmlformats.org/officeDocument/2006/relationships/slide" Target="../slides/slide804.xml"/><Relationship Id="rId1" Type="http://schemas.openxmlformats.org/officeDocument/2006/relationships/notesMaster" Target="../notesMasters/notesMaster1.xml"/></Relationships>
</file>

<file path=ppt/notesSlides/_rels/notesSlide393.xml.rels><?xml version="1.0" encoding="UTF-8" standalone="yes"?>
<Relationships xmlns="http://schemas.openxmlformats.org/package/2006/relationships"><Relationship Id="rId2" Type="http://schemas.openxmlformats.org/officeDocument/2006/relationships/slide" Target="../slides/slide805.xml"/><Relationship Id="rId1" Type="http://schemas.openxmlformats.org/officeDocument/2006/relationships/notesMaster" Target="../notesMasters/notesMaster1.xml"/></Relationships>
</file>

<file path=ppt/notesSlides/_rels/notesSlide394.xml.rels><?xml version="1.0" encoding="UTF-8" standalone="yes"?>
<Relationships xmlns="http://schemas.openxmlformats.org/package/2006/relationships"><Relationship Id="rId2" Type="http://schemas.openxmlformats.org/officeDocument/2006/relationships/slide" Target="../slides/slide806.xml"/><Relationship Id="rId1" Type="http://schemas.openxmlformats.org/officeDocument/2006/relationships/notesMaster" Target="../notesMasters/notesMaster1.xml"/></Relationships>
</file>

<file path=ppt/notesSlides/_rels/notesSlide395.xml.rels><?xml version="1.0" encoding="UTF-8" standalone="yes"?>
<Relationships xmlns="http://schemas.openxmlformats.org/package/2006/relationships"><Relationship Id="rId2" Type="http://schemas.openxmlformats.org/officeDocument/2006/relationships/slide" Target="../slides/slide807.xml"/><Relationship Id="rId1" Type="http://schemas.openxmlformats.org/officeDocument/2006/relationships/notesMaster" Target="../notesMasters/notesMaster1.xml"/></Relationships>
</file>

<file path=ppt/notesSlides/_rels/notesSlide396.xml.rels><?xml version="1.0" encoding="UTF-8" standalone="yes"?>
<Relationships xmlns="http://schemas.openxmlformats.org/package/2006/relationships"><Relationship Id="rId2" Type="http://schemas.openxmlformats.org/officeDocument/2006/relationships/slide" Target="../slides/slide808.xml"/><Relationship Id="rId1" Type="http://schemas.openxmlformats.org/officeDocument/2006/relationships/notesMaster" Target="../notesMasters/notesMaster1.xml"/></Relationships>
</file>

<file path=ppt/notesSlides/_rels/notesSlide397.xml.rels><?xml version="1.0" encoding="UTF-8" standalone="yes"?>
<Relationships xmlns="http://schemas.openxmlformats.org/package/2006/relationships"><Relationship Id="rId2" Type="http://schemas.openxmlformats.org/officeDocument/2006/relationships/slide" Target="../slides/slide809.xml"/><Relationship Id="rId1" Type="http://schemas.openxmlformats.org/officeDocument/2006/relationships/notesMaster" Target="../notesMasters/notesMaster1.xml"/></Relationships>
</file>

<file path=ppt/notesSlides/_rels/notesSlide398.xml.rels><?xml version="1.0" encoding="UTF-8" standalone="yes"?>
<Relationships xmlns="http://schemas.openxmlformats.org/package/2006/relationships"><Relationship Id="rId2" Type="http://schemas.openxmlformats.org/officeDocument/2006/relationships/slide" Target="../slides/slide810.xml"/><Relationship Id="rId1" Type="http://schemas.openxmlformats.org/officeDocument/2006/relationships/notesMaster" Target="../notesMasters/notesMaster1.xml"/></Relationships>
</file>

<file path=ppt/notesSlides/_rels/notesSlide399.xml.rels><?xml version="1.0" encoding="UTF-8" standalone="yes"?>
<Relationships xmlns="http://schemas.openxmlformats.org/package/2006/relationships"><Relationship Id="rId2" Type="http://schemas.openxmlformats.org/officeDocument/2006/relationships/slide" Target="../slides/slide81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1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51.xml"/><Relationship Id="rId1" Type="http://schemas.openxmlformats.org/officeDocument/2006/relationships/notesMaster" Target="../notesMasters/notesMaster1.xml"/></Relationships>
</file>

<file path=ppt/notesSlides/_rels/notesSlide400.xml.rels><?xml version="1.0" encoding="UTF-8" standalone="yes"?>
<Relationships xmlns="http://schemas.openxmlformats.org/package/2006/relationships"><Relationship Id="rId2" Type="http://schemas.openxmlformats.org/officeDocument/2006/relationships/slide" Target="../slides/slide812.xml"/><Relationship Id="rId1" Type="http://schemas.openxmlformats.org/officeDocument/2006/relationships/notesMaster" Target="../notesMasters/notesMaster1.xml"/></Relationships>
</file>

<file path=ppt/notesSlides/_rels/notesSlide401.xml.rels><?xml version="1.0" encoding="UTF-8" standalone="yes"?>
<Relationships xmlns="http://schemas.openxmlformats.org/package/2006/relationships"><Relationship Id="rId2" Type="http://schemas.openxmlformats.org/officeDocument/2006/relationships/slide" Target="../slides/slide813.xml"/><Relationship Id="rId1" Type="http://schemas.openxmlformats.org/officeDocument/2006/relationships/notesMaster" Target="../notesMasters/notesMaster1.xml"/></Relationships>
</file>

<file path=ppt/notesSlides/_rels/notesSlide402.xml.rels><?xml version="1.0" encoding="UTF-8" standalone="yes"?>
<Relationships xmlns="http://schemas.openxmlformats.org/package/2006/relationships"><Relationship Id="rId2" Type="http://schemas.openxmlformats.org/officeDocument/2006/relationships/slide" Target="../slides/slide814.xml"/><Relationship Id="rId1" Type="http://schemas.openxmlformats.org/officeDocument/2006/relationships/notesMaster" Target="../notesMasters/notesMaster1.xml"/></Relationships>
</file>

<file path=ppt/notesSlides/_rels/notesSlide403.xml.rels><?xml version="1.0" encoding="UTF-8" standalone="yes"?>
<Relationships xmlns="http://schemas.openxmlformats.org/package/2006/relationships"><Relationship Id="rId2" Type="http://schemas.openxmlformats.org/officeDocument/2006/relationships/slide" Target="../slides/slide815.xml"/><Relationship Id="rId1" Type="http://schemas.openxmlformats.org/officeDocument/2006/relationships/notesMaster" Target="../notesMasters/notesMaster1.xml"/></Relationships>
</file>

<file path=ppt/notesSlides/_rels/notesSlide404.xml.rels><?xml version="1.0" encoding="UTF-8" standalone="yes"?>
<Relationships xmlns="http://schemas.openxmlformats.org/package/2006/relationships"><Relationship Id="rId2" Type="http://schemas.openxmlformats.org/officeDocument/2006/relationships/slide" Target="../slides/slide816.xml"/><Relationship Id="rId1" Type="http://schemas.openxmlformats.org/officeDocument/2006/relationships/notesMaster" Target="../notesMasters/notesMaster1.xml"/></Relationships>
</file>

<file path=ppt/notesSlides/_rels/notesSlide405.xml.rels><?xml version="1.0" encoding="UTF-8" standalone="yes"?>
<Relationships xmlns="http://schemas.openxmlformats.org/package/2006/relationships"><Relationship Id="rId2" Type="http://schemas.openxmlformats.org/officeDocument/2006/relationships/slide" Target="../slides/slide817.xml"/><Relationship Id="rId1" Type="http://schemas.openxmlformats.org/officeDocument/2006/relationships/notesMaster" Target="../notesMasters/notesMaster1.xml"/></Relationships>
</file>

<file path=ppt/notesSlides/_rels/notesSlide406.xml.rels><?xml version="1.0" encoding="UTF-8" standalone="yes"?>
<Relationships xmlns="http://schemas.openxmlformats.org/package/2006/relationships"><Relationship Id="rId2" Type="http://schemas.openxmlformats.org/officeDocument/2006/relationships/slide" Target="../slides/slide818.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52.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53.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54.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55.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6.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57.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58.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59.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6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416.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461.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462.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463.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464.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465.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466.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467.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468.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469.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47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417.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471.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472.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473.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474.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475.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476.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477.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478.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479.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48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418.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481.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482.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483.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484.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485.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486.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487.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488.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489.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49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419.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491.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492.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493.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494.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495.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496.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497.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498.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499.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50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420.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501.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502.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503.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504.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505.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506.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507.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508.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509.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5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717BD140-37CD-4D2E-A162-0E6DE5D30117}" type="slidenum">
              <a:rPr lang="zh-CN" altLang="en-US" smtClean="0"/>
              <a:t>400</a:t>
            </a:fld>
            <a:endParaRPr lang="zh-CN" altLang="en-US"/>
          </a:p>
        </p:txBody>
      </p:sp>
    </p:spTree>
    <p:extLst>
      <p:ext uri="{BB962C8B-B14F-4D97-AF65-F5344CB8AC3E}">
        <p14:creationId xmlns:p14="http://schemas.microsoft.com/office/powerpoint/2010/main" val="23500397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421</a:t>
            </a:fld>
            <a:endParaRPr lang="zh-CN" altLang="en-US"/>
          </a:p>
        </p:txBody>
      </p:sp>
    </p:spTree>
    <p:extLst>
      <p:ext uri="{BB962C8B-B14F-4D97-AF65-F5344CB8AC3E}">
        <p14:creationId xmlns:p14="http://schemas.microsoft.com/office/powerpoint/2010/main" val="1220193315"/>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511</a:t>
            </a:fld>
            <a:endParaRPr lang="zh-CN" altLang="en-US"/>
          </a:p>
        </p:txBody>
      </p:sp>
    </p:spTree>
    <p:extLst>
      <p:ext uri="{BB962C8B-B14F-4D97-AF65-F5344CB8AC3E}">
        <p14:creationId xmlns:p14="http://schemas.microsoft.com/office/powerpoint/2010/main" val="3788834960"/>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512</a:t>
            </a:fld>
            <a:endParaRPr lang="zh-CN" altLang="en-US"/>
          </a:p>
        </p:txBody>
      </p:sp>
    </p:spTree>
    <p:extLst>
      <p:ext uri="{BB962C8B-B14F-4D97-AF65-F5344CB8AC3E}">
        <p14:creationId xmlns:p14="http://schemas.microsoft.com/office/powerpoint/2010/main" val="621067433"/>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513</a:t>
            </a:fld>
            <a:endParaRPr lang="zh-CN" altLang="en-US"/>
          </a:p>
        </p:txBody>
      </p:sp>
    </p:spTree>
    <p:extLst>
      <p:ext uri="{BB962C8B-B14F-4D97-AF65-F5344CB8AC3E}">
        <p14:creationId xmlns:p14="http://schemas.microsoft.com/office/powerpoint/2010/main" val="2390497324"/>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E93E190-BE1B-4E5C-A415-953B7DD554E9}" type="slidenum">
              <a:rPr kumimoji="0" lang="zh-CN" altLang="en-US" sz="1200" b="0" i="0" u="none" strike="noStrike" kern="1200" cap="none" spc="0" normalizeH="0" baseline="0" noProof="0" smtClean="0">
                <a:ln>
                  <a:noFill/>
                </a:ln>
                <a:solidFill>
                  <a:prstClr val="black"/>
                </a:solidFill>
                <a:effectLst/>
                <a:uLnTx/>
                <a:uFillTx/>
                <a:latin typeface="等线" panose="020F0502020204030204"/>
                <a:ea typeface="等线" panose="02010600030101010101" pitchFamily="2" charset="-122"/>
                <a:cs typeface="+mn-cs"/>
              </a:rPr>
              <a:pPr marL="0" marR="0" lvl="0" indent="0" algn="r" defTabSz="914400" rtl="0" eaLnBrk="1" fontAlgn="auto" latinLnBrk="0" hangingPunct="1">
                <a:lnSpc>
                  <a:spcPct val="100000"/>
                </a:lnSpc>
                <a:spcBef>
                  <a:spcPts val="0"/>
                </a:spcBef>
                <a:spcAft>
                  <a:spcPts val="0"/>
                </a:spcAft>
                <a:buClrTx/>
                <a:buSzTx/>
                <a:buFontTx/>
                <a:buNone/>
                <a:tabLst/>
                <a:defRPr/>
              </a:pPr>
              <a:t>514</a:t>
            </a:fld>
            <a:endParaRPr kumimoji="0" lang="zh-CN" altLang="en-US" sz="1200" b="0" i="0" u="none" strike="noStrike" kern="1200" cap="none" spc="0" normalizeH="0" baseline="0" noProof="0">
              <a:ln>
                <a:noFill/>
              </a:ln>
              <a:solidFill>
                <a:prstClr val="black"/>
              </a:solidFill>
              <a:effectLst/>
              <a:uLnTx/>
              <a:uFillTx/>
              <a:latin typeface="等线" panose="020F0502020204030204"/>
              <a:ea typeface="等线" panose="02010600030101010101" pitchFamily="2" charset="-122"/>
              <a:cs typeface="+mn-cs"/>
            </a:endParaRPr>
          </a:p>
        </p:txBody>
      </p:sp>
    </p:spTree>
    <p:extLst>
      <p:ext uri="{BB962C8B-B14F-4D97-AF65-F5344CB8AC3E}">
        <p14:creationId xmlns:p14="http://schemas.microsoft.com/office/powerpoint/2010/main" val="1585418591"/>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515</a:t>
            </a:fld>
            <a:endParaRPr lang="zh-CN" altLang="en-US"/>
          </a:p>
        </p:txBody>
      </p:sp>
    </p:spTree>
    <p:extLst>
      <p:ext uri="{BB962C8B-B14F-4D97-AF65-F5344CB8AC3E}">
        <p14:creationId xmlns:p14="http://schemas.microsoft.com/office/powerpoint/2010/main" val="2120012360"/>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516</a:t>
            </a:fld>
            <a:endParaRPr lang="zh-CN" altLang="en-US"/>
          </a:p>
        </p:txBody>
      </p:sp>
    </p:spTree>
    <p:extLst>
      <p:ext uri="{BB962C8B-B14F-4D97-AF65-F5344CB8AC3E}">
        <p14:creationId xmlns:p14="http://schemas.microsoft.com/office/powerpoint/2010/main" val="2679646747"/>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E93E190-BE1B-4E5C-A415-953B7DD554E9}" type="slidenum">
              <a:rPr kumimoji="0" lang="zh-CN" altLang="en-US" sz="1200" b="0" i="0" u="none" strike="noStrike" kern="1200" cap="none" spc="0" normalizeH="0" baseline="0" noProof="0" smtClean="0">
                <a:ln>
                  <a:noFill/>
                </a:ln>
                <a:solidFill>
                  <a:prstClr val="black"/>
                </a:solidFill>
                <a:effectLst/>
                <a:uLnTx/>
                <a:uFillTx/>
                <a:latin typeface="等线" panose="020F0502020204030204"/>
                <a:ea typeface="等线" panose="02010600030101010101" pitchFamily="2" charset="-122"/>
                <a:cs typeface="+mn-cs"/>
              </a:rPr>
              <a:pPr marL="0" marR="0" lvl="0" indent="0" algn="r" defTabSz="914400" rtl="0" eaLnBrk="1" fontAlgn="auto" latinLnBrk="0" hangingPunct="1">
                <a:lnSpc>
                  <a:spcPct val="100000"/>
                </a:lnSpc>
                <a:spcBef>
                  <a:spcPts val="0"/>
                </a:spcBef>
                <a:spcAft>
                  <a:spcPts val="0"/>
                </a:spcAft>
                <a:buClrTx/>
                <a:buSzTx/>
                <a:buFontTx/>
                <a:buNone/>
                <a:tabLst/>
                <a:defRPr/>
              </a:pPr>
              <a:t>517</a:t>
            </a:fld>
            <a:endParaRPr kumimoji="0" lang="zh-CN" altLang="en-US" sz="1200" b="0" i="0" u="none" strike="noStrike" kern="1200" cap="none" spc="0" normalizeH="0" baseline="0" noProof="0">
              <a:ln>
                <a:noFill/>
              </a:ln>
              <a:solidFill>
                <a:prstClr val="black"/>
              </a:solidFill>
              <a:effectLst/>
              <a:uLnTx/>
              <a:uFillTx/>
              <a:latin typeface="等线" panose="020F0502020204030204"/>
              <a:ea typeface="等线" panose="02010600030101010101" pitchFamily="2" charset="-122"/>
              <a:cs typeface="+mn-cs"/>
            </a:endParaRPr>
          </a:p>
        </p:txBody>
      </p:sp>
    </p:spTree>
    <p:extLst>
      <p:ext uri="{BB962C8B-B14F-4D97-AF65-F5344CB8AC3E}">
        <p14:creationId xmlns:p14="http://schemas.microsoft.com/office/powerpoint/2010/main" val="40110069"/>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E93E190-BE1B-4E5C-A415-953B7DD554E9}" type="slidenum">
              <a:rPr kumimoji="0" lang="zh-CN" altLang="en-US" sz="1200" b="0" i="0" u="none" strike="noStrike" kern="1200" cap="none" spc="0" normalizeH="0" baseline="0" noProof="0" smtClean="0">
                <a:ln>
                  <a:noFill/>
                </a:ln>
                <a:solidFill>
                  <a:prstClr val="black"/>
                </a:solidFill>
                <a:effectLst/>
                <a:uLnTx/>
                <a:uFillTx/>
                <a:latin typeface="等线" panose="020F0502020204030204"/>
                <a:ea typeface="等线" panose="02010600030101010101" pitchFamily="2" charset="-122"/>
                <a:cs typeface="+mn-cs"/>
              </a:rPr>
              <a:pPr marL="0" marR="0" lvl="0" indent="0" algn="r" defTabSz="914400" rtl="0" eaLnBrk="1" fontAlgn="auto" latinLnBrk="0" hangingPunct="1">
                <a:lnSpc>
                  <a:spcPct val="100000"/>
                </a:lnSpc>
                <a:spcBef>
                  <a:spcPts val="0"/>
                </a:spcBef>
                <a:spcAft>
                  <a:spcPts val="0"/>
                </a:spcAft>
                <a:buClrTx/>
                <a:buSzTx/>
                <a:buFontTx/>
                <a:buNone/>
                <a:tabLst/>
                <a:defRPr/>
              </a:pPr>
              <a:t>518</a:t>
            </a:fld>
            <a:endParaRPr kumimoji="0" lang="zh-CN" altLang="en-US" sz="1200" b="0" i="0" u="none" strike="noStrike" kern="1200" cap="none" spc="0" normalizeH="0" baseline="0" noProof="0">
              <a:ln>
                <a:noFill/>
              </a:ln>
              <a:solidFill>
                <a:prstClr val="black"/>
              </a:solidFill>
              <a:effectLst/>
              <a:uLnTx/>
              <a:uFillTx/>
              <a:latin typeface="等线" panose="020F0502020204030204"/>
              <a:ea typeface="等线" panose="02010600030101010101" pitchFamily="2" charset="-122"/>
              <a:cs typeface="+mn-cs"/>
            </a:endParaRPr>
          </a:p>
        </p:txBody>
      </p:sp>
    </p:spTree>
    <p:extLst>
      <p:ext uri="{BB962C8B-B14F-4D97-AF65-F5344CB8AC3E}">
        <p14:creationId xmlns:p14="http://schemas.microsoft.com/office/powerpoint/2010/main" val="2008695645"/>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519</a:t>
            </a:fld>
            <a:endParaRPr lang="zh-CN" altLang="en-US"/>
          </a:p>
        </p:txBody>
      </p:sp>
    </p:spTree>
    <p:extLst>
      <p:ext uri="{BB962C8B-B14F-4D97-AF65-F5344CB8AC3E}">
        <p14:creationId xmlns:p14="http://schemas.microsoft.com/office/powerpoint/2010/main" val="2459196505"/>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520</a:t>
            </a:fld>
            <a:endParaRPr lang="zh-CN" altLang="en-US"/>
          </a:p>
        </p:txBody>
      </p:sp>
    </p:spTree>
    <p:extLst>
      <p:ext uri="{BB962C8B-B14F-4D97-AF65-F5344CB8AC3E}">
        <p14:creationId xmlns:p14="http://schemas.microsoft.com/office/powerpoint/2010/main" val="135326258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dirty="0"/>
          </a:p>
        </p:txBody>
      </p:sp>
      <p:sp>
        <p:nvSpPr>
          <p:cNvPr id="4" name="灯片编号占位符 3"/>
          <p:cNvSpPr>
            <a:spLocks noGrp="1"/>
          </p:cNvSpPr>
          <p:nvPr>
            <p:ph type="sldNum" sz="quarter" idx="5"/>
          </p:nvPr>
        </p:nvSpPr>
        <p:spPr/>
        <p:txBody>
          <a:bodyPr/>
          <a:lstStyle/>
          <a:p>
            <a:fld id="{175DD2B1-1A58-4FDB-AD54-64407EF7A1E7}" type="slidenum">
              <a:rPr lang="zh-CN" altLang="en-US" smtClean="0"/>
              <a:t>422</a:t>
            </a:fld>
            <a:endParaRPr lang="zh-CN" altLang="en-US"/>
          </a:p>
        </p:txBody>
      </p:sp>
    </p:spTree>
    <p:extLst>
      <p:ext uri="{BB962C8B-B14F-4D97-AF65-F5344CB8AC3E}">
        <p14:creationId xmlns:p14="http://schemas.microsoft.com/office/powerpoint/2010/main" val="2507858322"/>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521</a:t>
            </a:fld>
            <a:endParaRPr lang="zh-CN" altLang="en-US"/>
          </a:p>
        </p:txBody>
      </p:sp>
    </p:spTree>
    <p:extLst>
      <p:ext uri="{BB962C8B-B14F-4D97-AF65-F5344CB8AC3E}">
        <p14:creationId xmlns:p14="http://schemas.microsoft.com/office/powerpoint/2010/main" val="339014217"/>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522</a:t>
            </a:fld>
            <a:endParaRPr lang="zh-CN" altLang="en-US"/>
          </a:p>
        </p:txBody>
      </p:sp>
    </p:spTree>
    <p:extLst>
      <p:ext uri="{BB962C8B-B14F-4D97-AF65-F5344CB8AC3E}">
        <p14:creationId xmlns:p14="http://schemas.microsoft.com/office/powerpoint/2010/main" val="617311199"/>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523</a:t>
            </a:fld>
            <a:endParaRPr lang="zh-CN" altLang="en-US"/>
          </a:p>
        </p:txBody>
      </p:sp>
    </p:spTree>
    <p:extLst>
      <p:ext uri="{BB962C8B-B14F-4D97-AF65-F5344CB8AC3E}">
        <p14:creationId xmlns:p14="http://schemas.microsoft.com/office/powerpoint/2010/main" val="1490715337"/>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524</a:t>
            </a:fld>
            <a:endParaRPr lang="zh-CN" altLang="en-US"/>
          </a:p>
        </p:txBody>
      </p:sp>
    </p:spTree>
    <p:extLst>
      <p:ext uri="{BB962C8B-B14F-4D97-AF65-F5344CB8AC3E}">
        <p14:creationId xmlns:p14="http://schemas.microsoft.com/office/powerpoint/2010/main" val="2999420745"/>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525</a:t>
            </a:fld>
            <a:endParaRPr lang="zh-CN" altLang="en-US"/>
          </a:p>
        </p:txBody>
      </p:sp>
    </p:spTree>
    <p:extLst>
      <p:ext uri="{BB962C8B-B14F-4D97-AF65-F5344CB8AC3E}">
        <p14:creationId xmlns:p14="http://schemas.microsoft.com/office/powerpoint/2010/main" val="2243695384"/>
      </p:ext>
    </p:extLst>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526</a:t>
            </a:fld>
            <a:endParaRPr lang="zh-CN" altLang="en-US"/>
          </a:p>
        </p:txBody>
      </p:sp>
    </p:spTree>
    <p:extLst>
      <p:ext uri="{BB962C8B-B14F-4D97-AF65-F5344CB8AC3E}">
        <p14:creationId xmlns:p14="http://schemas.microsoft.com/office/powerpoint/2010/main" val="3649904401"/>
      </p:ext>
    </p:extLst>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527</a:t>
            </a:fld>
            <a:endParaRPr lang="zh-CN" altLang="en-US"/>
          </a:p>
        </p:txBody>
      </p:sp>
    </p:spTree>
    <p:extLst>
      <p:ext uri="{BB962C8B-B14F-4D97-AF65-F5344CB8AC3E}">
        <p14:creationId xmlns:p14="http://schemas.microsoft.com/office/powerpoint/2010/main" val="3451862056"/>
      </p:ext>
    </p:extLst>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528</a:t>
            </a:fld>
            <a:endParaRPr lang="zh-CN" altLang="en-US"/>
          </a:p>
        </p:txBody>
      </p:sp>
    </p:spTree>
    <p:extLst>
      <p:ext uri="{BB962C8B-B14F-4D97-AF65-F5344CB8AC3E}">
        <p14:creationId xmlns:p14="http://schemas.microsoft.com/office/powerpoint/2010/main" val="3856452729"/>
      </p:ext>
    </p:extLst>
  </p:cSld>
  <p:clrMapOvr>
    <a:masterClrMapping/>
  </p:clrMapOvr>
</p:notes>
</file>

<file path=ppt/notesSlides/notesSlide1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E93E190-BE1B-4E5C-A415-953B7DD554E9}" type="slidenum">
              <a:rPr kumimoji="0" lang="zh-CN" altLang="en-US" sz="1200" b="0" i="0" u="none" strike="noStrike" kern="1200" cap="none" spc="0" normalizeH="0" baseline="0" noProof="0" smtClean="0">
                <a:ln>
                  <a:noFill/>
                </a:ln>
                <a:solidFill>
                  <a:prstClr val="black"/>
                </a:solidFill>
                <a:effectLst/>
                <a:uLnTx/>
                <a:uFillTx/>
                <a:latin typeface="等线" panose="020F0502020204030204"/>
                <a:ea typeface="等线" panose="02010600030101010101" pitchFamily="2" charset="-122"/>
                <a:cs typeface="+mn-cs"/>
              </a:rPr>
              <a:pPr marL="0" marR="0" lvl="0" indent="0" algn="r" defTabSz="914400" rtl="0" eaLnBrk="1" fontAlgn="auto" latinLnBrk="0" hangingPunct="1">
                <a:lnSpc>
                  <a:spcPct val="100000"/>
                </a:lnSpc>
                <a:spcBef>
                  <a:spcPts val="0"/>
                </a:spcBef>
                <a:spcAft>
                  <a:spcPts val="0"/>
                </a:spcAft>
                <a:buClrTx/>
                <a:buSzTx/>
                <a:buFontTx/>
                <a:buNone/>
                <a:tabLst/>
                <a:defRPr/>
              </a:pPr>
              <a:t>529</a:t>
            </a:fld>
            <a:endParaRPr kumimoji="0" lang="zh-CN" altLang="en-US" sz="1200" b="0" i="0" u="none" strike="noStrike" kern="1200" cap="none" spc="0" normalizeH="0" baseline="0" noProof="0">
              <a:ln>
                <a:noFill/>
              </a:ln>
              <a:solidFill>
                <a:prstClr val="black"/>
              </a:solidFill>
              <a:effectLst/>
              <a:uLnTx/>
              <a:uFillTx/>
              <a:latin typeface="等线" panose="020F0502020204030204"/>
              <a:ea typeface="等线" panose="02010600030101010101" pitchFamily="2" charset="-122"/>
              <a:cs typeface="+mn-cs"/>
            </a:endParaRPr>
          </a:p>
        </p:txBody>
      </p:sp>
    </p:spTree>
    <p:extLst>
      <p:ext uri="{BB962C8B-B14F-4D97-AF65-F5344CB8AC3E}">
        <p14:creationId xmlns:p14="http://schemas.microsoft.com/office/powerpoint/2010/main" val="545370091"/>
      </p:ext>
    </p:extLst>
  </p:cSld>
  <p:clrMapOvr>
    <a:masterClrMapping/>
  </p:clrMapOvr>
</p:notes>
</file>

<file path=ppt/notesSlides/notesSlide1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530</a:t>
            </a:fld>
            <a:endParaRPr lang="zh-CN" altLang="en-US"/>
          </a:p>
        </p:txBody>
      </p:sp>
    </p:spTree>
    <p:extLst>
      <p:ext uri="{BB962C8B-B14F-4D97-AF65-F5344CB8AC3E}">
        <p14:creationId xmlns:p14="http://schemas.microsoft.com/office/powerpoint/2010/main" val="287311297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423</a:t>
            </a:fld>
            <a:endParaRPr lang="zh-CN" altLang="en-US"/>
          </a:p>
        </p:txBody>
      </p:sp>
    </p:spTree>
    <p:extLst>
      <p:ext uri="{BB962C8B-B14F-4D97-AF65-F5344CB8AC3E}">
        <p14:creationId xmlns:p14="http://schemas.microsoft.com/office/powerpoint/2010/main" val="2657521351"/>
      </p:ext>
    </p:extLst>
  </p:cSld>
  <p:clrMapOvr>
    <a:masterClrMapping/>
  </p:clrMapOvr>
</p:notes>
</file>

<file path=ppt/notesSlides/notesSlide1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531</a:t>
            </a:fld>
            <a:endParaRPr lang="zh-CN" altLang="en-US"/>
          </a:p>
        </p:txBody>
      </p:sp>
    </p:spTree>
    <p:extLst>
      <p:ext uri="{BB962C8B-B14F-4D97-AF65-F5344CB8AC3E}">
        <p14:creationId xmlns:p14="http://schemas.microsoft.com/office/powerpoint/2010/main" val="1321078593"/>
      </p:ext>
    </p:extLst>
  </p:cSld>
  <p:clrMapOvr>
    <a:masterClrMapping/>
  </p:clrMapOvr>
</p:notes>
</file>

<file path=ppt/notesSlides/notesSlide1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532</a:t>
            </a:fld>
            <a:endParaRPr lang="zh-CN" altLang="en-US"/>
          </a:p>
        </p:txBody>
      </p:sp>
    </p:spTree>
    <p:extLst>
      <p:ext uri="{BB962C8B-B14F-4D97-AF65-F5344CB8AC3E}">
        <p14:creationId xmlns:p14="http://schemas.microsoft.com/office/powerpoint/2010/main" val="450617335"/>
      </p:ext>
    </p:extLst>
  </p:cSld>
  <p:clrMapOvr>
    <a:masterClrMapping/>
  </p:clrMapOvr>
</p:notes>
</file>

<file path=ppt/notesSlides/notesSlide1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533</a:t>
            </a:fld>
            <a:endParaRPr lang="zh-CN" altLang="en-US"/>
          </a:p>
        </p:txBody>
      </p:sp>
    </p:spTree>
    <p:extLst>
      <p:ext uri="{BB962C8B-B14F-4D97-AF65-F5344CB8AC3E}">
        <p14:creationId xmlns:p14="http://schemas.microsoft.com/office/powerpoint/2010/main" val="57495329"/>
      </p:ext>
    </p:extLst>
  </p:cSld>
  <p:clrMapOvr>
    <a:masterClrMapping/>
  </p:clrMapOvr>
</p:notes>
</file>

<file path=ppt/notesSlides/notesSlide1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534</a:t>
            </a:fld>
            <a:endParaRPr lang="zh-CN" altLang="en-US"/>
          </a:p>
        </p:txBody>
      </p:sp>
    </p:spTree>
    <p:extLst>
      <p:ext uri="{BB962C8B-B14F-4D97-AF65-F5344CB8AC3E}">
        <p14:creationId xmlns:p14="http://schemas.microsoft.com/office/powerpoint/2010/main" val="3199613983"/>
      </p:ext>
    </p:extLst>
  </p:cSld>
  <p:clrMapOvr>
    <a:masterClrMapping/>
  </p:clrMapOvr>
</p:notes>
</file>

<file path=ppt/notesSlides/notesSlide1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535</a:t>
            </a:fld>
            <a:endParaRPr lang="zh-CN" altLang="en-US"/>
          </a:p>
        </p:txBody>
      </p:sp>
    </p:spTree>
    <p:extLst>
      <p:ext uri="{BB962C8B-B14F-4D97-AF65-F5344CB8AC3E}">
        <p14:creationId xmlns:p14="http://schemas.microsoft.com/office/powerpoint/2010/main" val="3539727574"/>
      </p:ext>
    </p:extLst>
  </p:cSld>
  <p:clrMapOvr>
    <a:masterClrMapping/>
  </p:clrMapOvr>
</p:notes>
</file>

<file path=ppt/notesSlides/notesSlide1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536</a:t>
            </a:fld>
            <a:endParaRPr lang="zh-CN" altLang="en-US"/>
          </a:p>
        </p:txBody>
      </p:sp>
    </p:spTree>
    <p:extLst>
      <p:ext uri="{BB962C8B-B14F-4D97-AF65-F5344CB8AC3E}">
        <p14:creationId xmlns:p14="http://schemas.microsoft.com/office/powerpoint/2010/main" val="1498206503"/>
      </p:ext>
    </p:extLst>
  </p:cSld>
  <p:clrMapOvr>
    <a:masterClrMapping/>
  </p:clrMapOvr>
</p:notes>
</file>

<file path=ppt/notesSlides/notesSlide1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537</a:t>
            </a:fld>
            <a:endParaRPr lang="zh-CN" altLang="en-US"/>
          </a:p>
        </p:txBody>
      </p:sp>
    </p:spTree>
    <p:extLst>
      <p:ext uri="{BB962C8B-B14F-4D97-AF65-F5344CB8AC3E}">
        <p14:creationId xmlns:p14="http://schemas.microsoft.com/office/powerpoint/2010/main" val="2084074069"/>
      </p:ext>
    </p:extLst>
  </p:cSld>
  <p:clrMapOvr>
    <a:masterClrMapping/>
  </p:clrMapOvr>
</p:notes>
</file>

<file path=ppt/notesSlides/notesSlide1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538</a:t>
            </a:fld>
            <a:endParaRPr lang="zh-CN" altLang="en-US"/>
          </a:p>
        </p:txBody>
      </p:sp>
    </p:spTree>
    <p:extLst>
      <p:ext uri="{BB962C8B-B14F-4D97-AF65-F5344CB8AC3E}">
        <p14:creationId xmlns:p14="http://schemas.microsoft.com/office/powerpoint/2010/main" val="748988945"/>
      </p:ext>
    </p:extLst>
  </p:cSld>
  <p:clrMapOvr>
    <a:masterClrMapping/>
  </p:clrMapOvr>
</p:notes>
</file>

<file path=ppt/notesSlides/notesSlide1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539</a:t>
            </a:fld>
            <a:endParaRPr lang="zh-CN" altLang="en-US"/>
          </a:p>
        </p:txBody>
      </p:sp>
    </p:spTree>
    <p:extLst>
      <p:ext uri="{BB962C8B-B14F-4D97-AF65-F5344CB8AC3E}">
        <p14:creationId xmlns:p14="http://schemas.microsoft.com/office/powerpoint/2010/main" val="822928259"/>
      </p:ext>
    </p:extLst>
  </p:cSld>
  <p:clrMapOvr>
    <a:masterClrMapping/>
  </p:clrMapOvr>
</p:notes>
</file>

<file path=ppt/notesSlides/notesSlide1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540</a:t>
            </a:fld>
            <a:endParaRPr lang="zh-CN" altLang="en-US"/>
          </a:p>
        </p:txBody>
      </p:sp>
    </p:spTree>
    <p:extLst>
      <p:ext uri="{BB962C8B-B14F-4D97-AF65-F5344CB8AC3E}">
        <p14:creationId xmlns:p14="http://schemas.microsoft.com/office/powerpoint/2010/main" val="347197671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424</a:t>
            </a:fld>
            <a:endParaRPr lang="zh-CN" altLang="en-US"/>
          </a:p>
        </p:txBody>
      </p:sp>
    </p:spTree>
    <p:extLst>
      <p:ext uri="{BB962C8B-B14F-4D97-AF65-F5344CB8AC3E}">
        <p14:creationId xmlns:p14="http://schemas.microsoft.com/office/powerpoint/2010/main" val="1811250108"/>
      </p:ext>
    </p:extLst>
  </p:cSld>
  <p:clrMapOvr>
    <a:masterClrMapping/>
  </p:clrMapOvr>
</p:notes>
</file>

<file path=ppt/notesSlides/notesSlide1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541</a:t>
            </a:fld>
            <a:endParaRPr lang="zh-CN" altLang="en-US"/>
          </a:p>
        </p:txBody>
      </p:sp>
    </p:spTree>
    <p:extLst>
      <p:ext uri="{BB962C8B-B14F-4D97-AF65-F5344CB8AC3E}">
        <p14:creationId xmlns:p14="http://schemas.microsoft.com/office/powerpoint/2010/main" val="3483927389"/>
      </p:ext>
    </p:extLst>
  </p:cSld>
  <p:clrMapOvr>
    <a:masterClrMapping/>
  </p:clrMapOvr>
</p:notes>
</file>

<file path=ppt/notesSlides/notesSlide1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E93E190-BE1B-4E5C-A415-953B7DD554E9}" type="slidenum">
              <a:rPr kumimoji="0" lang="zh-CN" altLang="en-US" sz="1200" b="0" i="0" u="none" strike="noStrike" kern="1200" cap="none" spc="0" normalizeH="0" baseline="0" noProof="0" smtClean="0">
                <a:ln>
                  <a:noFill/>
                </a:ln>
                <a:solidFill>
                  <a:prstClr val="black"/>
                </a:solidFill>
                <a:effectLst/>
                <a:uLnTx/>
                <a:uFillTx/>
                <a:latin typeface="等线" panose="020F0502020204030204"/>
                <a:ea typeface="等线" panose="02010600030101010101" pitchFamily="2" charset="-122"/>
                <a:cs typeface="+mn-cs"/>
              </a:rPr>
              <a:pPr marL="0" marR="0" lvl="0" indent="0" algn="r" defTabSz="914400" rtl="0" eaLnBrk="1" fontAlgn="auto" latinLnBrk="0" hangingPunct="1">
                <a:lnSpc>
                  <a:spcPct val="100000"/>
                </a:lnSpc>
                <a:spcBef>
                  <a:spcPts val="0"/>
                </a:spcBef>
                <a:spcAft>
                  <a:spcPts val="0"/>
                </a:spcAft>
                <a:buClrTx/>
                <a:buSzTx/>
                <a:buFontTx/>
                <a:buNone/>
                <a:tabLst/>
                <a:defRPr/>
              </a:pPr>
              <a:t>542</a:t>
            </a:fld>
            <a:endParaRPr kumimoji="0" lang="zh-CN" altLang="en-US" sz="1200" b="0" i="0" u="none" strike="noStrike" kern="1200" cap="none" spc="0" normalizeH="0" baseline="0" noProof="0">
              <a:ln>
                <a:noFill/>
              </a:ln>
              <a:solidFill>
                <a:prstClr val="black"/>
              </a:solidFill>
              <a:effectLst/>
              <a:uLnTx/>
              <a:uFillTx/>
              <a:latin typeface="等线" panose="020F0502020204030204"/>
              <a:ea typeface="等线" panose="02010600030101010101" pitchFamily="2" charset="-122"/>
              <a:cs typeface="+mn-cs"/>
            </a:endParaRPr>
          </a:p>
        </p:txBody>
      </p:sp>
    </p:spTree>
    <p:extLst>
      <p:ext uri="{BB962C8B-B14F-4D97-AF65-F5344CB8AC3E}">
        <p14:creationId xmlns:p14="http://schemas.microsoft.com/office/powerpoint/2010/main" val="101924657"/>
      </p:ext>
    </p:extLst>
  </p:cSld>
  <p:clrMapOvr>
    <a:masterClrMapping/>
  </p:clrMapOvr>
</p:notes>
</file>

<file path=ppt/notesSlides/notesSlide1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543</a:t>
            </a:fld>
            <a:endParaRPr lang="zh-CN" altLang="en-US"/>
          </a:p>
        </p:txBody>
      </p:sp>
    </p:spTree>
    <p:extLst>
      <p:ext uri="{BB962C8B-B14F-4D97-AF65-F5344CB8AC3E}">
        <p14:creationId xmlns:p14="http://schemas.microsoft.com/office/powerpoint/2010/main" val="177740827"/>
      </p:ext>
    </p:extLst>
  </p:cSld>
  <p:clrMapOvr>
    <a:masterClrMapping/>
  </p:clrMapOvr>
</p:notes>
</file>

<file path=ppt/notesSlides/notesSlide1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544</a:t>
            </a:fld>
            <a:endParaRPr lang="zh-CN" altLang="en-US"/>
          </a:p>
        </p:txBody>
      </p:sp>
    </p:spTree>
    <p:extLst>
      <p:ext uri="{BB962C8B-B14F-4D97-AF65-F5344CB8AC3E}">
        <p14:creationId xmlns:p14="http://schemas.microsoft.com/office/powerpoint/2010/main" val="313880800"/>
      </p:ext>
    </p:extLst>
  </p:cSld>
  <p:clrMapOvr>
    <a:masterClrMapping/>
  </p:clrMapOvr>
</p:notes>
</file>

<file path=ppt/notesSlides/notesSlide1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545</a:t>
            </a:fld>
            <a:endParaRPr lang="zh-CN" altLang="en-US"/>
          </a:p>
        </p:txBody>
      </p:sp>
    </p:spTree>
    <p:extLst>
      <p:ext uri="{BB962C8B-B14F-4D97-AF65-F5344CB8AC3E}">
        <p14:creationId xmlns:p14="http://schemas.microsoft.com/office/powerpoint/2010/main" val="382832879"/>
      </p:ext>
    </p:extLst>
  </p:cSld>
  <p:clrMapOvr>
    <a:masterClrMapping/>
  </p:clrMapOvr>
</p:notes>
</file>

<file path=ppt/notesSlides/notesSlide1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546</a:t>
            </a:fld>
            <a:endParaRPr lang="zh-CN" altLang="en-US"/>
          </a:p>
        </p:txBody>
      </p:sp>
    </p:spTree>
    <p:extLst>
      <p:ext uri="{BB962C8B-B14F-4D97-AF65-F5344CB8AC3E}">
        <p14:creationId xmlns:p14="http://schemas.microsoft.com/office/powerpoint/2010/main" val="1796436574"/>
      </p:ext>
    </p:extLst>
  </p:cSld>
  <p:clrMapOvr>
    <a:masterClrMapping/>
  </p:clrMapOvr>
</p:notes>
</file>

<file path=ppt/notesSlides/notesSlide1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547</a:t>
            </a:fld>
            <a:endParaRPr lang="zh-CN" altLang="en-US"/>
          </a:p>
        </p:txBody>
      </p:sp>
    </p:spTree>
    <p:extLst>
      <p:ext uri="{BB962C8B-B14F-4D97-AF65-F5344CB8AC3E}">
        <p14:creationId xmlns:p14="http://schemas.microsoft.com/office/powerpoint/2010/main" val="957271374"/>
      </p:ext>
    </p:extLst>
  </p:cSld>
  <p:clrMapOvr>
    <a:masterClrMapping/>
  </p:clrMapOvr>
</p:notes>
</file>

<file path=ppt/notesSlides/notesSlide1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548</a:t>
            </a:fld>
            <a:endParaRPr lang="zh-CN" altLang="en-US"/>
          </a:p>
        </p:txBody>
      </p:sp>
    </p:spTree>
    <p:extLst>
      <p:ext uri="{BB962C8B-B14F-4D97-AF65-F5344CB8AC3E}">
        <p14:creationId xmlns:p14="http://schemas.microsoft.com/office/powerpoint/2010/main" val="2737772743"/>
      </p:ext>
    </p:extLst>
  </p:cSld>
  <p:clrMapOvr>
    <a:masterClrMapping/>
  </p:clrMapOvr>
</p:notes>
</file>

<file path=ppt/notesSlides/notesSlide1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549</a:t>
            </a:fld>
            <a:endParaRPr lang="zh-CN" altLang="en-US"/>
          </a:p>
        </p:txBody>
      </p:sp>
    </p:spTree>
    <p:extLst>
      <p:ext uri="{BB962C8B-B14F-4D97-AF65-F5344CB8AC3E}">
        <p14:creationId xmlns:p14="http://schemas.microsoft.com/office/powerpoint/2010/main" val="3305500919"/>
      </p:ext>
    </p:extLst>
  </p:cSld>
  <p:clrMapOvr>
    <a:masterClrMapping/>
  </p:clrMapOvr>
</p:notes>
</file>

<file path=ppt/notesSlides/notesSlide1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550</a:t>
            </a:fld>
            <a:endParaRPr lang="zh-CN" altLang="en-US"/>
          </a:p>
        </p:txBody>
      </p:sp>
    </p:spTree>
    <p:extLst>
      <p:ext uri="{BB962C8B-B14F-4D97-AF65-F5344CB8AC3E}">
        <p14:creationId xmlns:p14="http://schemas.microsoft.com/office/powerpoint/2010/main" val="290248849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425</a:t>
            </a:fld>
            <a:endParaRPr lang="zh-CN" altLang="en-US"/>
          </a:p>
        </p:txBody>
      </p:sp>
    </p:spTree>
    <p:extLst>
      <p:ext uri="{BB962C8B-B14F-4D97-AF65-F5344CB8AC3E}">
        <p14:creationId xmlns:p14="http://schemas.microsoft.com/office/powerpoint/2010/main" val="517614106"/>
      </p:ext>
    </p:extLst>
  </p:cSld>
  <p:clrMapOvr>
    <a:masterClrMapping/>
  </p:clrMapOvr>
</p:notes>
</file>

<file path=ppt/notesSlides/notesSlide1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551</a:t>
            </a:fld>
            <a:endParaRPr lang="zh-CN" altLang="en-US"/>
          </a:p>
        </p:txBody>
      </p:sp>
    </p:spTree>
    <p:extLst>
      <p:ext uri="{BB962C8B-B14F-4D97-AF65-F5344CB8AC3E}">
        <p14:creationId xmlns:p14="http://schemas.microsoft.com/office/powerpoint/2010/main" val="2781669104"/>
      </p:ext>
    </p:extLst>
  </p:cSld>
  <p:clrMapOvr>
    <a:masterClrMapping/>
  </p:clrMapOvr>
</p:notes>
</file>

<file path=ppt/notesSlides/notesSlide1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dirty="0"/>
          </a:p>
        </p:txBody>
      </p:sp>
      <p:sp>
        <p:nvSpPr>
          <p:cNvPr id="4" name="灯片编号占位符 3"/>
          <p:cNvSpPr>
            <a:spLocks noGrp="1"/>
          </p:cNvSpPr>
          <p:nvPr>
            <p:ph type="sldNum" sz="quarter" idx="5"/>
          </p:nvPr>
        </p:nvSpPr>
        <p:spPr/>
        <p:txBody>
          <a:bodyPr/>
          <a:lstStyle/>
          <a:p>
            <a:fld id="{175DD2B1-1A58-4FDB-AD54-64407EF7A1E7}" type="slidenum">
              <a:rPr lang="zh-CN" altLang="en-US" smtClean="0"/>
              <a:t>552</a:t>
            </a:fld>
            <a:endParaRPr lang="zh-CN" altLang="en-US"/>
          </a:p>
        </p:txBody>
      </p:sp>
    </p:spTree>
    <p:extLst>
      <p:ext uri="{BB962C8B-B14F-4D97-AF65-F5344CB8AC3E}">
        <p14:creationId xmlns:p14="http://schemas.microsoft.com/office/powerpoint/2010/main" val="3248193809"/>
      </p:ext>
    </p:extLst>
  </p:cSld>
  <p:clrMapOvr>
    <a:masterClrMapping/>
  </p:clrMapOvr>
</p:notes>
</file>

<file path=ppt/notesSlides/notesSlide1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553</a:t>
            </a:fld>
            <a:endParaRPr lang="zh-CN" altLang="en-US"/>
          </a:p>
        </p:txBody>
      </p:sp>
    </p:spTree>
    <p:extLst>
      <p:ext uri="{BB962C8B-B14F-4D97-AF65-F5344CB8AC3E}">
        <p14:creationId xmlns:p14="http://schemas.microsoft.com/office/powerpoint/2010/main" val="2564625189"/>
      </p:ext>
    </p:extLst>
  </p:cSld>
  <p:clrMapOvr>
    <a:masterClrMapping/>
  </p:clrMapOvr>
</p:notes>
</file>

<file path=ppt/notesSlides/notesSlide1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dirty="0"/>
          </a:p>
        </p:txBody>
      </p:sp>
      <p:sp>
        <p:nvSpPr>
          <p:cNvPr id="4" name="灯片编号占位符 3"/>
          <p:cNvSpPr>
            <a:spLocks noGrp="1"/>
          </p:cNvSpPr>
          <p:nvPr>
            <p:ph type="sldNum" sz="quarter" idx="5"/>
          </p:nvPr>
        </p:nvSpPr>
        <p:spPr/>
        <p:txBody>
          <a:bodyPr/>
          <a:lstStyle/>
          <a:p>
            <a:fld id="{175DD2B1-1A58-4FDB-AD54-64407EF7A1E7}" type="slidenum">
              <a:rPr lang="zh-CN" altLang="en-US" smtClean="0"/>
              <a:t>554</a:t>
            </a:fld>
            <a:endParaRPr lang="zh-CN" altLang="en-US"/>
          </a:p>
        </p:txBody>
      </p:sp>
    </p:spTree>
    <p:extLst>
      <p:ext uri="{BB962C8B-B14F-4D97-AF65-F5344CB8AC3E}">
        <p14:creationId xmlns:p14="http://schemas.microsoft.com/office/powerpoint/2010/main" val="3489864786"/>
      </p:ext>
    </p:extLst>
  </p:cSld>
  <p:clrMapOvr>
    <a:masterClrMapping/>
  </p:clrMapOvr>
</p:notes>
</file>

<file path=ppt/notesSlides/notesSlide1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dirty="0"/>
          </a:p>
        </p:txBody>
      </p:sp>
      <p:sp>
        <p:nvSpPr>
          <p:cNvPr id="4" name="灯片编号占位符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66B075A-531D-4FD8-B566-2D7F0A8D518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47378144"/>
      </p:ext>
    </p:extLst>
  </p:cSld>
  <p:clrMapOvr>
    <a:masterClrMapping/>
  </p:clrMapOvr>
</p:notes>
</file>

<file path=ppt/notesSlides/notesSlide1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66B075A-531D-4FD8-B566-2D7F0A8D518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93166175"/>
      </p:ext>
    </p:extLst>
  </p:cSld>
  <p:clrMapOvr>
    <a:masterClrMapping/>
  </p:clrMapOvr>
</p:notes>
</file>

<file path=ppt/notesSlides/notesSlide1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66B075A-531D-4FD8-B566-2D7F0A8D518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31956467"/>
      </p:ext>
    </p:extLst>
  </p:cSld>
  <p:clrMapOvr>
    <a:masterClrMapping/>
  </p:clrMapOvr>
</p:notes>
</file>

<file path=ppt/notesSlides/notesSlide1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66B075A-531D-4FD8-B566-2D7F0A8D518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338640"/>
      </p:ext>
    </p:extLst>
  </p:cSld>
  <p:clrMapOvr>
    <a:masterClrMapping/>
  </p:clrMapOvr>
</p:notes>
</file>

<file path=ppt/notesSlides/notesSlide1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66B075A-531D-4FD8-B566-2D7F0A8D518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18781664"/>
      </p:ext>
    </p:extLst>
  </p:cSld>
  <p:clrMapOvr>
    <a:masterClrMapping/>
  </p:clrMapOvr>
</p:notes>
</file>

<file path=ppt/notesSlides/notesSlide1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66B075A-531D-4FD8-B566-2D7F0A8D518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2351006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426</a:t>
            </a:fld>
            <a:endParaRPr lang="zh-CN" altLang="en-US"/>
          </a:p>
        </p:txBody>
      </p:sp>
    </p:spTree>
    <p:extLst>
      <p:ext uri="{BB962C8B-B14F-4D97-AF65-F5344CB8AC3E}">
        <p14:creationId xmlns:p14="http://schemas.microsoft.com/office/powerpoint/2010/main" val="1044727520"/>
      </p:ext>
    </p:extLst>
  </p:cSld>
  <p:clrMapOvr>
    <a:masterClrMapping/>
  </p:clrMapOvr>
</p:notes>
</file>

<file path=ppt/notesSlides/notesSlide1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66B075A-531D-4FD8-B566-2D7F0A8D518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3123171"/>
      </p:ext>
    </p:extLst>
  </p:cSld>
  <p:clrMapOvr>
    <a:masterClrMapping/>
  </p:clrMapOvr>
</p:notes>
</file>

<file path=ppt/notesSlides/notesSlide1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66B075A-531D-4FD8-B566-2D7F0A8D518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3935408"/>
      </p:ext>
    </p:extLst>
  </p:cSld>
  <p:clrMapOvr>
    <a:masterClrMapping/>
  </p:clrMapOvr>
</p:notes>
</file>

<file path=ppt/notesSlides/notesSlide1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66B075A-531D-4FD8-B566-2D7F0A8D518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39920271"/>
      </p:ext>
    </p:extLst>
  </p:cSld>
  <p:clrMapOvr>
    <a:masterClrMapping/>
  </p:clrMapOvr>
</p:notes>
</file>

<file path=ppt/notesSlides/notesSlide1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66B075A-531D-4FD8-B566-2D7F0A8D518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30180930"/>
      </p:ext>
    </p:extLst>
  </p:cSld>
  <p:clrMapOvr>
    <a:masterClrMapping/>
  </p:clrMapOvr>
</p:notes>
</file>

<file path=ppt/notesSlides/notesSlide1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66B075A-531D-4FD8-B566-2D7F0A8D518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65568150"/>
      </p:ext>
    </p:extLst>
  </p:cSld>
  <p:clrMapOvr>
    <a:masterClrMapping/>
  </p:clrMapOvr>
</p:notes>
</file>

<file path=ppt/notesSlides/notesSlide1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66B075A-531D-4FD8-B566-2D7F0A8D518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83601066"/>
      </p:ext>
    </p:extLst>
  </p:cSld>
  <p:clrMapOvr>
    <a:masterClrMapping/>
  </p:clrMapOvr>
</p:notes>
</file>

<file path=ppt/notesSlides/notesSlide1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66B075A-531D-4FD8-B566-2D7F0A8D518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64289573"/>
      </p:ext>
    </p:extLst>
  </p:cSld>
  <p:clrMapOvr>
    <a:masterClrMapping/>
  </p:clrMapOvr>
</p:notes>
</file>

<file path=ppt/notesSlides/notesSlide1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66B075A-531D-4FD8-B566-2D7F0A8D518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87215427"/>
      </p:ext>
    </p:extLst>
  </p:cSld>
  <p:clrMapOvr>
    <a:masterClrMapping/>
  </p:clrMapOvr>
</p:notes>
</file>

<file path=ppt/notesSlides/notesSlide1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66B075A-531D-4FD8-B566-2D7F0A8D518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48688625"/>
      </p:ext>
    </p:extLst>
  </p:cSld>
  <p:clrMapOvr>
    <a:masterClrMapping/>
  </p:clrMapOvr>
</p:notes>
</file>

<file path=ppt/notesSlides/notesSlide1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66B075A-531D-4FD8-B566-2D7F0A8D518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0210305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427</a:t>
            </a:fld>
            <a:endParaRPr lang="zh-CN" altLang="en-US"/>
          </a:p>
        </p:txBody>
      </p:sp>
    </p:spTree>
    <p:extLst>
      <p:ext uri="{BB962C8B-B14F-4D97-AF65-F5344CB8AC3E}">
        <p14:creationId xmlns:p14="http://schemas.microsoft.com/office/powerpoint/2010/main" val="3224805189"/>
      </p:ext>
    </p:extLst>
  </p:cSld>
  <p:clrMapOvr>
    <a:masterClrMapping/>
  </p:clrMapOvr>
</p:notes>
</file>

<file path=ppt/notesSlides/notesSlide1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66B075A-531D-4FD8-B566-2D7F0A8D518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07115805"/>
      </p:ext>
    </p:extLst>
  </p:cSld>
  <p:clrMapOvr>
    <a:masterClrMapping/>
  </p:clrMapOvr>
</p:notes>
</file>

<file path=ppt/notesSlides/notesSlide1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66B075A-531D-4FD8-B566-2D7F0A8D518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67956339"/>
      </p:ext>
    </p:extLst>
  </p:cSld>
  <p:clrMapOvr>
    <a:masterClrMapping/>
  </p:clrMapOvr>
</p:notes>
</file>

<file path=ppt/notesSlides/notesSlide1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66B075A-531D-4FD8-B566-2D7F0A8D518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7302614"/>
      </p:ext>
    </p:extLst>
  </p:cSld>
  <p:clrMapOvr>
    <a:masterClrMapping/>
  </p:clrMapOvr>
</p:notes>
</file>

<file path=ppt/notesSlides/notesSlide1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66B075A-531D-4FD8-B566-2D7F0A8D518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30787770"/>
      </p:ext>
    </p:extLst>
  </p:cSld>
  <p:clrMapOvr>
    <a:masterClrMapping/>
  </p:clrMapOvr>
</p:notes>
</file>

<file path=ppt/notesSlides/notesSlide1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576</a:t>
            </a:fld>
            <a:endParaRPr lang="zh-CN" altLang="en-US"/>
          </a:p>
        </p:txBody>
      </p:sp>
    </p:spTree>
    <p:extLst>
      <p:ext uri="{BB962C8B-B14F-4D97-AF65-F5344CB8AC3E}">
        <p14:creationId xmlns:p14="http://schemas.microsoft.com/office/powerpoint/2010/main" val="1632401420"/>
      </p:ext>
    </p:extLst>
  </p:cSld>
  <p:clrMapOvr>
    <a:masterClrMapping/>
  </p:clrMapOvr>
</p:notes>
</file>

<file path=ppt/notesSlides/notesSlide1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dirty="0"/>
          </a:p>
        </p:txBody>
      </p:sp>
      <p:sp>
        <p:nvSpPr>
          <p:cNvPr id="4" name="灯片编号占位符 3"/>
          <p:cNvSpPr>
            <a:spLocks noGrp="1"/>
          </p:cNvSpPr>
          <p:nvPr>
            <p:ph type="sldNum" sz="quarter" idx="5"/>
          </p:nvPr>
        </p:nvSpPr>
        <p:spPr/>
        <p:txBody>
          <a:bodyPr/>
          <a:lstStyle/>
          <a:p>
            <a:fld id="{175DD2B1-1A58-4FDB-AD54-64407EF7A1E7}" type="slidenum">
              <a:rPr lang="zh-CN" altLang="en-US" smtClean="0"/>
              <a:t>577</a:t>
            </a:fld>
            <a:endParaRPr lang="zh-CN" altLang="en-US"/>
          </a:p>
        </p:txBody>
      </p:sp>
    </p:spTree>
    <p:extLst>
      <p:ext uri="{BB962C8B-B14F-4D97-AF65-F5344CB8AC3E}">
        <p14:creationId xmlns:p14="http://schemas.microsoft.com/office/powerpoint/2010/main" val="380843815"/>
      </p:ext>
    </p:extLst>
  </p:cSld>
  <p:clrMapOvr>
    <a:masterClrMapping/>
  </p:clrMapOvr>
</p:notes>
</file>

<file path=ppt/notesSlides/notesSlide1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578</a:t>
            </a:fld>
            <a:endParaRPr lang="zh-CN" altLang="en-US"/>
          </a:p>
        </p:txBody>
      </p:sp>
    </p:spTree>
    <p:extLst>
      <p:ext uri="{BB962C8B-B14F-4D97-AF65-F5344CB8AC3E}">
        <p14:creationId xmlns:p14="http://schemas.microsoft.com/office/powerpoint/2010/main" val="2156040562"/>
      </p:ext>
    </p:extLst>
  </p:cSld>
  <p:clrMapOvr>
    <a:masterClrMapping/>
  </p:clrMapOvr>
</p:notes>
</file>

<file path=ppt/notesSlides/notesSlide1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579</a:t>
            </a:fld>
            <a:endParaRPr lang="zh-CN" altLang="en-US"/>
          </a:p>
        </p:txBody>
      </p:sp>
    </p:spTree>
    <p:extLst>
      <p:ext uri="{BB962C8B-B14F-4D97-AF65-F5344CB8AC3E}">
        <p14:creationId xmlns:p14="http://schemas.microsoft.com/office/powerpoint/2010/main" val="795001897"/>
      </p:ext>
    </p:extLst>
  </p:cSld>
  <p:clrMapOvr>
    <a:masterClrMapping/>
  </p:clrMapOvr>
</p:notes>
</file>

<file path=ppt/notesSlides/notesSlide1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580</a:t>
            </a:fld>
            <a:endParaRPr lang="zh-CN" altLang="en-US"/>
          </a:p>
        </p:txBody>
      </p:sp>
    </p:spTree>
    <p:extLst>
      <p:ext uri="{BB962C8B-B14F-4D97-AF65-F5344CB8AC3E}">
        <p14:creationId xmlns:p14="http://schemas.microsoft.com/office/powerpoint/2010/main" val="3641546580"/>
      </p:ext>
    </p:extLst>
  </p:cSld>
  <p:clrMapOvr>
    <a:masterClrMapping/>
  </p:clrMapOvr>
</p:notes>
</file>

<file path=ppt/notesSlides/notesSlide1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581</a:t>
            </a:fld>
            <a:endParaRPr lang="zh-CN" altLang="en-US"/>
          </a:p>
        </p:txBody>
      </p:sp>
    </p:spTree>
    <p:extLst>
      <p:ext uri="{BB962C8B-B14F-4D97-AF65-F5344CB8AC3E}">
        <p14:creationId xmlns:p14="http://schemas.microsoft.com/office/powerpoint/2010/main" val="44860238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E93E190-BE1B-4E5C-A415-953B7DD554E9}" type="slidenum">
              <a:rPr kumimoji="0" lang="zh-CN" altLang="en-US" sz="1200" b="0" i="0" u="none" strike="noStrike" kern="1200" cap="none" spc="0" normalizeH="0" baseline="0" noProof="0" smtClean="0">
                <a:ln>
                  <a:noFill/>
                </a:ln>
                <a:solidFill>
                  <a:prstClr val="black"/>
                </a:solidFill>
                <a:effectLst/>
                <a:uLnTx/>
                <a:uFillTx/>
                <a:latin typeface="等线" panose="020F0502020204030204"/>
                <a:ea typeface="等线" panose="02010600030101010101" pitchFamily="2" charset="-122"/>
                <a:cs typeface="+mn-cs"/>
              </a:rPr>
              <a:pPr marL="0" marR="0" lvl="0" indent="0" algn="r" defTabSz="914400" rtl="0" eaLnBrk="1" fontAlgn="auto" latinLnBrk="0" hangingPunct="1">
                <a:lnSpc>
                  <a:spcPct val="100000"/>
                </a:lnSpc>
                <a:spcBef>
                  <a:spcPts val="0"/>
                </a:spcBef>
                <a:spcAft>
                  <a:spcPts val="0"/>
                </a:spcAft>
                <a:buClrTx/>
                <a:buSzTx/>
                <a:buFontTx/>
                <a:buNone/>
                <a:tabLst/>
                <a:defRPr/>
              </a:pPr>
              <a:t>428</a:t>
            </a:fld>
            <a:endParaRPr kumimoji="0" lang="zh-CN" altLang="en-US" sz="1200" b="0" i="0" u="none" strike="noStrike" kern="1200" cap="none" spc="0" normalizeH="0" baseline="0" noProof="0">
              <a:ln>
                <a:noFill/>
              </a:ln>
              <a:solidFill>
                <a:prstClr val="black"/>
              </a:solidFill>
              <a:effectLst/>
              <a:uLnTx/>
              <a:uFillTx/>
              <a:latin typeface="等线" panose="020F0502020204030204"/>
              <a:ea typeface="等线" panose="02010600030101010101" pitchFamily="2" charset="-122"/>
              <a:cs typeface="+mn-cs"/>
            </a:endParaRPr>
          </a:p>
        </p:txBody>
      </p:sp>
    </p:spTree>
    <p:extLst>
      <p:ext uri="{BB962C8B-B14F-4D97-AF65-F5344CB8AC3E}">
        <p14:creationId xmlns:p14="http://schemas.microsoft.com/office/powerpoint/2010/main" val="3402366562"/>
      </p:ext>
    </p:extLst>
  </p:cSld>
  <p:clrMapOvr>
    <a:masterClrMapping/>
  </p:clrMapOvr>
</p:notes>
</file>

<file path=ppt/notesSlides/notesSlide1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dirty="0"/>
          </a:p>
        </p:txBody>
      </p:sp>
      <p:sp>
        <p:nvSpPr>
          <p:cNvPr id="4" name="灯片编号占位符 3"/>
          <p:cNvSpPr>
            <a:spLocks noGrp="1"/>
          </p:cNvSpPr>
          <p:nvPr>
            <p:ph type="sldNum" sz="quarter" idx="5"/>
          </p:nvPr>
        </p:nvSpPr>
        <p:spPr/>
        <p:txBody>
          <a:bodyPr/>
          <a:lstStyle/>
          <a:p>
            <a:fld id="{175DD2B1-1A58-4FDB-AD54-64407EF7A1E7}" type="slidenum">
              <a:rPr lang="zh-CN" altLang="en-US" smtClean="0"/>
              <a:t>582</a:t>
            </a:fld>
            <a:endParaRPr lang="zh-CN" altLang="en-US"/>
          </a:p>
        </p:txBody>
      </p:sp>
    </p:spTree>
    <p:extLst>
      <p:ext uri="{BB962C8B-B14F-4D97-AF65-F5344CB8AC3E}">
        <p14:creationId xmlns:p14="http://schemas.microsoft.com/office/powerpoint/2010/main" val="3924645212"/>
      </p:ext>
    </p:extLst>
  </p:cSld>
  <p:clrMapOvr>
    <a:masterClrMapping/>
  </p:clrMapOvr>
</p:notes>
</file>

<file path=ppt/notesSlides/notesSlide1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583</a:t>
            </a:fld>
            <a:endParaRPr lang="zh-CN" altLang="en-US"/>
          </a:p>
        </p:txBody>
      </p:sp>
    </p:spTree>
    <p:extLst>
      <p:ext uri="{BB962C8B-B14F-4D97-AF65-F5344CB8AC3E}">
        <p14:creationId xmlns:p14="http://schemas.microsoft.com/office/powerpoint/2010/main" val="1692476915"/>
      </p:ext>
    </p:extLst>
  </p:cSld>
  <p:clrMapOvr>
    <a:masterClrMapping/>
  </p:clrMapOvr>
</p:notes>
</file>

<file path=ppt/notesSlides/notesSlide1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584</a:t>
            </a:fld>
            <a:endParaRPr lang="zh-CN" altLang="en-US"/>
          </a:p>
        </p:txBody>
      </p:sp>
    </p:spTree>
    <p:extLst>
      <p:ext uri="{BB962C8B-B14F-4D97-AF65-F5344CB8AC3E}">
        <p14:creationId xmlns:p14="http://schemas.microsoft.com/office/powerpoint/2010/main" val="382635053"/>
      </p:ext>
    </p:extLst>
  </p:cSld>
  <p:clrMapOvr>
    <a:masterClrMapping/>
  </p:clrMapOvr>
</p:notes>
</file>

<file path=ppt/notesSlides/notesSlide1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585</a:t>
            </a:fld>
            <a:endParaRPr lang="zh-CN" altLang="en-US"/>
          </a:p>
        </p:txBody>
      </p:sp>
    </p:spTree>
    <p:extLst>
      <p:ext uri="{BB962C8B-B14F-4D97-AF65-F5344CB8AC3E}">
        <p14:creationId xmlns:p14="http://schemas.microsoft.com/office/powerpoint/2010/main" val="799140538"/>
      </p:ext>
    </p:extLst>
  </p:cSld>
  <p:clrMapOvr>
    <a:masterClrMapping/>
  </p:clrMapOvr>
</p:notes>
</file>

<file path=ppt/notesSlides/notesSlide1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586</a:t>
            </a:fld>
            <a:endParaRPr lang="zh-CN" altLang="en-US"/>
          </a:p>
        </p:txBody>
      </p:sp>
    </p:spTree>
    <p:extLst>
      <p:ext uri="{BB962C8B-B14F-4D97-AF65-F5344CB8AC3E}">
        <p14:creationId xmlns:p14="http://schemas.microsoft.com/office/powerpoint/2010/main" val="1570975602"/>
      </p:ext>
    </p:extLst>
  </p:cSld>
  <p:clrMapOvr>
    <a:masterClrMapping/>
  </p:clrMapOvr>
</p:notes>
</file>

<file path=ppt/notesSlides/notesSlide1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587</a:t>
            </a:fld>
            <a:endParaRPr lang="zh-CN" altLang="en-US"/>
          </a:p>
        </p:txBody>
      </p:sp>
    </p:spTree>
    <p:extLst>
      <p:ext uri="{BB962C8B-B14F-4D97-AF65-F5344CB8AC3E}">
        <p14:creationId xmlns:p14="http://schemas.microsoft.com/office/powerpoint/2010/main" val="1540099468"/>
      </p:ext>
    </p:extLst>
  </p:cSld>
  <p:clrMapOvr>
    <a:masterClrMapping/>
  </p:clrMapOvr>
</p:notes>
</file>

<file path=ppt/notesSlides/notesSlide1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588</a:t>
            </a:fld>
            <a:endParaRPr lang="zh-CN" altLang="en-US"/>
          </a:p>
        </p:txBody>
      </p:sp>
    </p:spTree>
    <p:extLst>
      <p:ext uri="{BB962C8B-B14F-4D97-AF65-F5344CB8AC3E}">
        <p14:creationId xmlns:p14="http://schemas.microsoft.com/office/powerpoint/2010/main" val="1188314363"/>
      </p:ext>
    </p:extLst>
  </p:cSld>
  <p:clrMapOvr>
    <a:masterClrMapping/>
  </p:clrMapOvr>
</p:notes>
</file>

<file path=ppt/notesSlides/notesSlide1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589</a:t>
            </a:fld>
            <a:endParaRPr lang="zh-CN" altLang="en-US"/>
          </a:p>
        </p:txBody>
      </p:sp>
    </p:spTree>
    <p:extLst>
      <p:ext uri="{BB962C8B-B14F-4D97-AF65-F5344CB8AC3E}">
        <p14:creationId xmlns:p14="http://schemas.microsoft.com/office/powerpoint/2010/main" val="851360272"/>
      </p:ext>
    </p:extLst>
  </p:cSld>
  <p:clrMapOvr>
    <a:masterClrMapping/>
  </p:clrMapOvr>
</p:notes>
</file>

<file path=ppt/notesSlides/notesSlide1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590</a:t>
            </a:fld>
            <a:endParaRPr lang="zh-CN" altLang="en-US"/>
          </a:p>
        </p:txBody>
      </p:sp>
    </p:spTree>
    <p:extLst>
      <p:ext uri="{BB962C8B-B14F-4D97-AF65-F5344CB8AC3E}">
        <p14:creationId xmlns:p14="http://schemas.microsoft.com/office/powerpoint/2010/main" val="34587692"/>
      </p:ext>
    </p:extLst>
  </p:cSld>
  <p:clrMapOvr>
    <a:masterClrMapping/>
  </p:clrMapOvr>
</p:notes>
</file>

<file path=ppt/notesSlides/notesSlide1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591</a:t>
            </a:fld>
            <a:endParaRPr lang="zh-CN" altLang="en-US"/>
          </a:p>
        </p:txBody>
      </p:sp>
    </p:spTree>
    <p:extLst>
      <p:ext uri="{BB962C8B-B14F-4D97-AF65-F5344CB8AC3E}">
        <p14:creationId xmlns:p14="http://schemas.microsoft.com/office/powerpoint/2010/main" val="321160386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429</a:t>
            </a:fld>
            <a:endParaRPr lang="zh-CN" altLang="en-US"/>
          </a:p>
        </p:txBody>
      </p:sp>
    </p:spTree>
    <p:extLst>
      <p:ext uri="{BB962C8B-B14F-4D97-AF65-F5344CB8AC3E}">
        <p14:creationId xmlns:p14="http://schemas.microsoft.com/office/powerpoint/2010/main" val="3532726555"/>
      </p:ext>
    </p:extLst>
  </p:cSld>
  <p:clrMapOvr>
    <a:masterClrMapping/>
  </p:clrMapOvr>
</p:notes>
</file>

<file path=ppt/notesSlides/notesSlide1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592</a:t>
            </a:fld>
            <a:endParaRPr lang="zh-CN" altLang="en-US"/>
          </a:p>
        </p:txBody>
      </p:sp>
    </p:spTree>
    <p:extLst>
      <p:ext uri="{BB962C8B-B14F-4D97-AF65-F5344CB8AC3E}">
        <p14:creationId xmlns:p14="http://schemas.microsoft.com/office/powerpoint/2010/main" val="1658010296"/>
      </p:ext>
    </p:extLst>
  </p:cSld>
  <p:clrMapOvr>
    <a:masterClrMapping/>
  </p:clrMapOvr>
</p:notes>
</file>

<file path=ppt/notesSlides/notesSlide1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593</a:t>
            </a:fld>
            <a:endParaRPr lang="zh-CN" altLang="en-US"/>
          </a:p>
        </p:txBody>
      </p:sp>
    </p:spTree>
    <p:extLst>
      <p:ext uri="{BB962C8B-B14F-4D97-AF65-F5344CB8AC3E}">
        <p14:creationId xmlns:p14="http://schemas.microsoft.com/office/powerpoint/2010/main" val="544536485"/>
      </p:ext>
    </p:extLst>
  </p:cSld>
  <p:clrMapOvr>
    <a:masterClrMapping/>
  </p:clrMapOvr>
</p:notes>
</file>

<file path=ppt/notesSlides/notesSlide1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594</a:t>
            </a:fld>
            <a:endParaRPr lang="zh-CN" altLang="en-US"/>
          </a:p>
        </p:txBody>
      </p:sp>
    </p:spTree>
    <p:extLst>
      <p:ext uri="{BB962C8B-B14F-4D97-AF65-F5344CB8AC3E}">
        <p14:creationId xmlns:p14="http://schemas.microsoft.com/office/powerpoint/2010/main" val="2188288984"/>
      </p:ext>
    </p:extLst>
  </p:cSld>
  <p:clrMapOvr>
    <a:masterClrMapping/>
  </p:clrMapOvr>
</p:notes>
</file>

<file path=ppt/notesSlides/notesSlide1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595</a:t>
            </a:fld>
            <a:endParaRPr lang="zh-CN" altLang="en-US"/>
          </a:p>
        </p:txBody>
      </p:sp>
    </p:spTree>
    <p:extLst>
      <p:ext uri="{BB962C8B-B14F-4D97-AF65-F5344CB8AC3E}">
        <p14:creationId xmlns:p14="http://schemas.microsoft.com/office/powerpoint/2010/main" val="4033189324"/>
      </p:ext>
    </p:extLst>
  </p:cSld>
  <p:clrMapOvr>
    <a:masterClrMapping/>
  </p:clrMapOvr>
</p:notes>
</file>

<file path=ppt/notesSlides/notesSlide1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596</a:t>
            </a:fld>
            <a:endParaRPr lang="zh-CN" altLang="en-US"/>
          </a:p>
        </p:txBody>
      </p:sp>
    </p:spTree>
    <p:extLst>
      <p:ext uri="{BB962C8B-B14F-4D97-AF65-F5344CB8AC3E}">
        <p14:creationId xmlns:p14="http://schemas.microsoft.com/office/powerpoint/2010/main" val="3767685043"/>
      </p:ext>
    </p:extLst>
  </p:cSld>
  <p:clrMapOvr>
    <a:masterClrMapping/>
  </p:clrMapOvr>
</p:notes>
</file>

<file path=ppt/notesSlides/notesSlide1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597</a:t>
            </a:fld>
            <a:endParaRPr lang="zh-CN" altLang="en-US"/>
          </a:p>
        </p:txBody>
      </p:sp>
    </p:spTree>
    <p:extLst>
      <p:ext uri="{BB962C8B-B14F-4D97-AF65-F5344CB8AC3E}">
        <p14:creationId xmlns:p14="http://schemas.microsoft.com/office/powerpoint/2010/main" val="40011979"/>
      </p:ext>
    </p:extLst>
  </p:cSld>
  <p:clrMapOvr>
    <a:masterClrMapping/>
  </p:clrMapOvr>
</p:notes>
</file>

<file path=ppt/notesSlides/notesSlide1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598</a:t>
            </a:fld>
            <a:endParaRPr lang="zh-CN" altLang="en-US"/>
          </a:p>
        </p:txBody>
      </p:sp>
    </p:spTree>
    <p:extLst>
      <p:ext uri="{BB962C8B-B14F-4D97-AF65-F5344CB8AC3E}">
        <p14:creationId xmlns:p14="http://schemas.microsoft.com/office/powerpoint/2010/main" val="3036088903"/>
      </p:ext>
    </p:extLst>
  </p:cSld>
  <p:clrMapOvr>
    <a:masterClrMapping/>
  </p:clrMapOvr>
</p:notes>
</file>

<file path=ppt/notesSlides/notesSlide1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599</a:t>
            </a:fld>
            <a:endParaRPr lang="zh-CN" altLang="en-US"/>
          </a:p>
        </p:txBody>
      </p:sp>
    </p:spTree>
    <p:extLst>
      <p:ext uri="{BB962C8B-B14F-4D97-AF65-F5344CB8AC3E}">
        <p14:creationId xmlns:p14="http://schemas.microsoft.com/office/powerpoint/2010/main" val="926265142"/>
      </p:ext>
    </p:extLst>
  </p:cSld>
  <p:clrMapOvr>
    <a:masterClrMapping/>
  </p:clrMapOvr>
</p:notes>
</file>

<file path=ppt/notesSlides/notesSlide1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600</a:t>
            </a:fld>
            <a:endParaRPr lang="zh-CN" altLang="en-US"/>
          </a:p>
        </p:txBody>
      </p:sp>
    </p:spTree>
    <p:extLst>
      <p:ext uri="{BB962C8B-B14F-4D97-AF65-F5344CB8AC3E}">
        <p14:creationId xmlns:p14="http://schemas.microsoft.com/office/powerpoint/2010/main" val="635613691"/>
      </p:ext>
    </p:extLst>
  </p:cSld>
  <p:clrMapOvr>
    <a:masterClrMapping/>
  </p:clrMapOvr>
</p:notes>
</file>

<file path=ppt/notesSlides/notesSlide1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601</a:t>
            </a:fld>
            <a:endParaRPr lang="zh-CN" altLang="en-US"/>
          </a:p>
        </p:txBody>
      </p:sp>
    </p:spTree>
    <p:extLst>
      <p:ext uri="{BB962C8B-B14F-4D97-AF65-F5344CB8AC3E}">
        <p14:creationId xmlns:p14="http://schemas.microsoft.com/office/powerpoint/2010/main" val="3958840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430</a:t>
            </a:fld>
            <a:endParaRPr lang="zh-CN" altLang="en-US"/>
          </a:p>
        </p:txBody>
      </p:sp>
    </p:spTree>
    <p:extLst>
      <p:ext uri="{BB962C8B-B14F-4D97-AF65-F5344CB8AC3E}">
        <p14:creationId xmlns:p14="http://schemas.microsoft.com/office/powerpoint/2010/main" val="287324876"/>
      </p:ext>
    </p:extLst>
  </p:cSld>
  <p:clrMapOvr>
    <a:masterClrMapping/>
  </p:clrMapOvr>
</p:notes>
</file>

<file path=ppt/notesSlides/notesSlide1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602</a:t>
            </a:fld>
            <a:endParaRPr lang="zh-CN" altLang="en-US"/>
          </a:p>
        </p:txBody>
      </p:sp>
    </p:spTree>
    <p:extLst>
      <p:ext uri="{BB962C8B-B14F-4D97-AF65-F5344CB8AC3E}">
        <p14:creationId xmlns:p14="http://schemas.microsoft.com/office/powerpoint/2010/main" val="2315195394"/>
      </p:ext>
    </p:extLst>
  </p:cSld>
  <p:clrMapOvr>
    <a:masterClrMapping/>
  </p:clrMapOvr>
</p:notes>
</file>

<file path=ppt/notesSlides/notesSlide1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603</a:t>
            </a:fld>
            <a:endParaRPr lang="zh-CN" altLang="en-US"/>
          </a:p>
        </p:txBody>
      </p:sp>
    </p:spTree>
    <p:extLst>
      <p:ext uri="{BB962C8B-B14F-4D97-AF65-F5344CB8AC3E}">
        <p14:creationId xmlns:p14="http://schemas.microsoft.com/office/powerpoint/2010/main" val="3217863026"/>
      </p:ext>
    </p:extLst>
  </p:cSld>
  <p:clrMapOvr>
    <a:masterClrMapping/>
  </p:clrMapOvr>
</p:notes>
</file>

<file path=ppt/notesSlides/notesSlide1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604</a:t>
            </a:fld>
            <a:endParaRPr lang="zh-CN" altLang="en-US"/>
          </a:p>
        </p:txBody>
      </p:sp>
    </p:spTree>
    <p:extLst>
      <p:ext uri="{BB962C8B-B14F-4D97-AF65-F5344CB8AC3E}">
        <p14:creationId xmlns:p14="http://schemas.microsoft.com/office/powerpoint/2010/main" val="1678057893"/>
      </p:ext>
    </p:extLst>
  </p:cSld>
  <p:clrMapOvr>
    <a:masterClrMapping/>
  </p:clrMapOvr>
</p:notes>
</file>

<file path=ppt/notesSlides/notesSlide1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605</a:t>
            </a:fld>
            <a:endParaRPr lang="zh-CN" altLang="en-US"/>
          </a:p>
        </p:txBody>
      </p:sp>
    </p:spTree>
    <p:extLst>
      <p:ext uri="{BB962C8B-B14F-4D97-AF65-F5344CB8AC3E}">
        <p14:creationId xmlns:p14="http://schemas.microsoft.com/office/powerpoint/2010/main" val="1653338701"/>
      </p:ext>
    </p:extLst>
  </p:cSld>
  <p:clrMapOvr>
    <a:masterClrMapping/>
  </p:clrMapOvr>
</p:notes>
</file>

<file path=ppt/notesSlides/notesSlide1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606</a:t>
            </a:fld>
            <a:endParaRPr lang="zh-CN" altLang="en-US"/>
          </a:p>
        </p:txBody>
      </p:sp>
    </p:spTree>
    <p:extLst>
      <p:ext uri="{BB962C8B-B14F-4D97-AF65-F5344CB8AC3E}">
        <p14:creationId xmlns:p14="http://schemas.microsoft.com/office/powerpoint/2010/main" val="293887489"/>
      </p:ext>
    </p:extLst>
  </p:cSld>
  <p:clrMapOvr>
    <a:masterClrMapping/>
  </p:clrMapOvr>
</p:notes>
</file>

<file path=ppt/notesSlides/notesSlide1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607</a:t>
            </a:fld>
            <a:endParaRPr lang="zh-CN" altLang="en-US"/>
          </a:p>
        </p:txBody>
      </p:sp>
    </p:spTree>
    <p:extLst>
      <p:ext uri="{BB962C8B-B14F-4D97-AF65-F5344CB8AC3E}">
        <p14:creationId xmlns:p14="http://schemas.microsoft.com/office/powerpoint/2010/main" val="1802906957"/>
      </p:ext>
    </p:extLst>
  </p:cSld>
  <p:clrMapOvr>
    <a:masterClrMapping/>
  </p:clrMapOvr>
</p:notes>
</file>

<file path=ppt/notesSlides/notesSlide1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608</a:t>
            </a:fld>
            <a:endParaRPr lang="zh-CN" altLang="en-US"/>
          </a:p>
        </p:txBody>
      </p:sp>
    </p:spTree>
    <p:extLst>
      <p:ext uri="{BB962C8B-B14F-4D97-AF65-F5344CB8AC3E}">
        <p14:creationId xmlns:p14="http://schemas.microsoft.com/office/powerpoint/2010/main" val="2986712613"/>
      </p:ext>
    </p:extLst>
  </p:cSld>
  <p:clrMapOvr>
    <a:masterClrMapping/>
  </p:clrMapOvr>
</p:notes>
</file>

<file path=ppt/notesSlides/notesSlide1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609</a:t>
            </a:fld>
            <a:endParaRPr lang="zh-CN" altLang="en-US"/>
          </a:p>
        </p:txBody>
      </p:sp>
    </p:spTree>
    <p:extLst>
      <p:ext uri="{BB962C8B-B14F-4D97-AF65-F5344CB8AC3E}">
        <p14:creationId xmlns:p14="http://schemas.microsoft.com/office/powerpoint/2010/main" val="1568984116"/>
      </p:ext>
    </p:extLst>
  </p:cSld>
  <p:clrMapOvr>
    <a:masterClrMapping/>
  </p:clrMapOvr>
</p:notes>
</file>

<file path=ppt/notesSlides/notesSlide1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610</a:t>
            </a:fld>
            <a:endParaRPr lang="zh-CN" altLang="en-US"/>
          </a:p>
        </p:txBody>
      </p:sp>
    </p:spTree>
    <p:extLst>
      <p:ext uri="{BB962C8B-B14F-4D97-AF65-F5344CB8AC3E}">
        <p14:creationId xmlns:p14="http://schemas.microsoft.com/office/powerpoint/2010/main" val="1623915992"/>
      </p:ext>
    </p:extLst>
  </p:cSld>
  <p:clrMapOvr>
    <a:masterClrMapping/>
  </p:clrMapOvr>
</p:notes>
</file>

<file path=ppt/notesSlides/notesSlide1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611</a:t>
            </a:fld>
            <a:endParaRPr lang="zh-CN" altLang="en-US"/>
          </a:p>
        </p:txBody>
      </p:sp>
    </p:spTree>
    <p:extLst>
      <p:ext uri="{BB962C8B-B14F-4D97-AF65-F5344CB8AC3E}">
        <p14:creationId xmlns:p14="http://schemas.microsoft.com/office/powerpoint/2010/main" val="83966339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id-ID"/>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4D1495A-DD81-44F4-9F54-1F39867BF2D9}" type="slidenum">
              <a:rPr kumimoji="0" lang="en-US" sz="1200" b="0" i="0" u="none" strike="noStrike" kern="1200" cap="none" spc="0" normalizeH="0" baseline="0" noProof="0" smtClean="0">
                <a:ln>
                  <a:noFill/>
                </a:ln>
                <a:solidFill>
                  <a:prstClr val="black"/>
                </a:solidFill>
                <a:effectLst/>
                <a:uLnTx/>
                <a:uFillTx/>
                <a:latin typeface="等线"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1</a:t>
            </a:fld>
            <a:endParaRPr kumimoji="0" lang="en-US" sz="1200" b="0" i="0" u="none" strike="noStrike" kern="1200" cap="none" spc="0" normalizeH="0" baseline="0" noProof="0">
              <a:ln>
                <a:noFill/>
              </a:ln>
              <a:solidFill>
                <a:prstClr val="black"/>
              </a:solidFill>
              <a:effectLst/>
              <a:uLnTx/>
              <a:uFillTx/>
              <a:latin typeface="等线" panose="020F0502020204030204"/>
              <a:ea typeface="+mn-ea"/>
              <a:cs typeface="+mn-cs"/>
            </a:endParaRPr>
          </a:p>
        </p:txBody>
      </p:sp>
    </p:spTree>
    <p:extLst>
      <p:ext uri="{BB962C8B-B14F-4D97-AF65-F5344CB8AC3E}">
        <p14:creationId xmlns:p14="http://schemas.microsoft.com/office/powerpoint/2010/main" val="701731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431</a:t>
            </a:fld>
            <a:endParaRPr lang="zh-CN" altLang="en-US"/>
          </a:p>
        </p:txBody>
      </p:sp>
    </p:spTree>
    <p:extLst>
      <p:ext uri="{BB962C8B-B14F-4D97-AF65-F5344CB8AC3E}">
        <p14:creationId xmlns:p14="http://schemas.microsoft.com/office/powerpoint/2010/main" val="954988491"/>
      </p:ext>
    </p:extLst>
  </p:cSld>
  <p:clrMapOvr>
    <a:masterClrMapping/>
  </p:clrMapOvr>
</p:notes>
</file>

<file path=ppt/notesSlides/notesSlide2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612</a:t>
            </a:fld>
            <a:endParaRPr lang="zh-CN" altLang="en-US"/>
          </a:p>
        </p:txBody>
      </p:sp>
    </p:spTree>
    <p:extLst>
      <p:ext uri="{BB962C8B-B14F-4D97-AF65-F5344CB8AC3E}">
        <p14:creationId xmlns:p14="http://schemas.microsoft.com/office/powerpoint/2010/main" val="1396812228"/>
      </p:ext>
    </p:extLst>
  </p:cSld>
  <p:clrMapOvr>
    <a:masterClrMapping/>
  </p:clrMapOvr>
</p:notes>
</file>

<file path=ppt/notesSlides/notesSlide2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613</a:t>
            </a:fld>
            <a:endParaRPr lang="zh-CN" altLang="en-US"/>
          </a:p>
        </p:txBody>
      </p:sp>
    </p:spTree>
    <p:extLst>
      <p:ext uri="{BB962C8B-B14F-4D97-AF65-F5344CB8AC3E}">
        <p14:creationId xmlns:p14="http://schemas.microsoft.com/office/powerpoint/2010/main" val="1845418296"/>
      </p:ext>
    </p:extLst>
  </p:cSld>
  <p:clrMapOvr>
    <a:masterClrMapping/>
  </p:clrMapOvr>
</p:notes>
</file>

<file path=ppt/notesSlides/notesSlide2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614</a:t>
            </a:fld>
            <a:endParaRPr lang="zh-CN" altLang="en-US"/>
          </a:p>
        </p:txBody>
      </p:sp>
    </p:spTree>
    <p:extLst>
      <p:ext uri="{BB962C8B-B14F-4D97-AF65-F5344CB8AC3E}">
        <p14:creationId xmlns:p14="http://schemas.microsoft.com/office/powerpoint/2010/main" val="4177564055"/>
      </p:ext>
    </p:extLst>
  </p:cSld>
  <p:clrMapOvr>
    <a:masterClrMapping/>
  </p:clrMapOvr>
</p:notes>
</file>

<file path=ppt/notesSlides/notesSlide2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615</a:t>
            </a:fld>
            <a:endParaRPr lang="zh-CN" altLang="en-US"/>
          </a:p>
        </p:txBody>
      </p:sp>
    </p:spTree>
    <p:extLst>
      <p:ext uri="{BB962C8B-B14F-4D97-AF65-F5344CB8AC3E}">
        <p14:creationId xmlns:p14="http://schemas.microsoft.com/office/powerpoint/2010/main" val="2305722983"/>
      </p:ext>
    </p:extLst>
  </p:cSld>
  <p:clrMapOvr>
    <a:masterClrMapping/>
  </p:clrMapOvr>
</p:notes>
</file>

<file path=ppt/notesSlides/notesSlide2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616</a:t>
            </a:fld>
            <a:endParaRPr lang="zh-CN" altLang="en-US"/>
          </a:p>
        </p:txBody>
      </p:sp>
    </p:spTree>
    <p:extLst>
      <p:ext uri="{BB962C8B-B14F-4D97-AF65-F5344CB8AC3E}">
        <p14:creationId xmlns:p14="http://schemas.microsoft.com/office/powerpoint/2010/main" val="2059430231"/>
      </p:ext>
    </p:extLst>
  </p:cSld>
  <p:clrMapOvr>
    <a:masterClrMapping/>
  </p:clrMapOvr>
</p:notes>
</file>

<file path=ppt/notesSlides/notesSlide2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617</a:t>
            </a:fld>
            <a:endParaRPr lang="zh-CN" altLang="en-US"/>
          </a:p>
        </p:txBody>
      </p:sp>
    </p:spTree>
    <p:extLst>
      <p:ext uri="{BB962C8B-B14F-4D97-AF65-F5344CB8AC3E}">
        <p14:creationId xmlns:p14="http://schemas.microsoft.com/office/powerpoint/2010/main" val="1564207140"/>
      </p:ext>
    </p:extLst>
  </p:cSld>
  <p:clrMapOvr>
    <a:masterClrMapping/>
  </p:clrMapOvr>
</p:notes>
</file>

<file path=ppt/notesSlides/notesSlide2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618</a:t>
            </a:fld>
            <a:endParaRPr lang="zh-CN" altLang="en-US"/>
          </a:p>
        </p:txBody>
      </p:sp>
    </p:spTree>
    <p:extLst>
      <p:ext uri="{BB962C8B-B14F-4D97-AF65-F5344CB8AC3E}">
        <p14:creationId xmlns:p14="http://schemas.microsoft.com/office/powerpoint/2010/main" val="315434233"/>
      </p:ext>
    </p:extLst>
  </p:cSld>
  <p:clrMapOvr>
    <a:masterClrMapping/>
  </p:clrMapOvr>
</p:notes>
</file>

<file path=ppt/notesSlides/notesSlide2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619</a:t>
            </a:fld>
            <a:endParaRPr lang="zh-CN" altLang="en-US"/>
          </a:p>
        </p:txBody>
      </p:sp>
    </p:spTree>
    <p:extLst>
      <p:ext uri="{BB962C8B-B14F-4D97-AF65-F5344CB8AC3E}">
        <p14:creationId xmlns:p14="http://schemas.microsoft.com/office/powerpoint/2010/main" val="2518297499"/>
      </p:ext>
    </p:extLst>
  </p:cSld>
  <p:clrMapOvr>
    <a:masterClrMapping/>
  </p:clrMapOvr>
</p:notes>
</file>

<file path=ppt/notesSlides/notesSlide2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620</a:t>
            </a:fld>
            <a:endParaRPr lang="zh-CN" altLang="en-US"/>
          </a:p>
        </p:txBody>
      </p:sp>
    </p:spTree>
    <p:extLst>
      <p:ext uri="{BB962C8B-B14F-4D97-AF65-F5344CB8AC3E}">
        <p14:creationId xmlns:p14="http://schemas.microsoft.com/office/powerpoint/2010/main" val="237756087"/>
      </p:ext>
    </p:extLst>
  </p:cSld>
  <p:clrMapOvr>
    <a:masterClrMapping/>
  </p:clrMapOvr>
</p:notes>
</file>

<file path=ppt/notesSlides/notesSlide2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621</a:t>
            </a:fld>
            <a:endParaRPr lang="zh-CN" altLang="en-US"/>
          </a:p>
        </p:txBody>
      </p:sp>
    </p:spTree>
    <p:extLst>
      <p:ext uri="{BB962C8B-B14F-4D97-AF65-F5344CB8AC3E}">
        <p14:creationId xmlns:p14="http://schemas.microsoft.com/office/powerpoint/2010/main" val="314493310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432</a:t>
            </a:fld>
            <a:endParaRPr lang="zh-CN" altLang="en-US"/>
          </a:p>
        </p:txBody>
      </p:sp>
    </p:spTree>
    <p:extLst>
      <p:ext uri="{BB962C8B-B14F-4D97-AF65-F5344CB8AC3E}">
        <p14:creationId xmlns:p14="http://schemas.microsoft.com/office/powerpoint/2010/main" val="3431870966"/>
      </p:ext>
    </p:extLst>
  </p:cSld>
  <p:clrMapOvr>
    <a:masterClrMapping/>
  </p:clrMapOvr>
</p:notes>
</file>

<file path=ppt/notesSlides/notesSlide2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622</a:t>
            </a:fld>
            <a:endParaRPr lang="zh-CN" altLang="en-US"/>
          </a:p>
        </p:txBody>
      </p:sp>
    </p:spTree>
    <p:extLst>
      <p:ext uri="{BB962C8B-B14F-4D97-AF65-F5344CB8AC3E}">
        <p14:creationId xmlns:p14="http://schemas.microsoft.com/office/powerpoint/2010/main" val="3197520656"/>
      </p:ext>
    </p:extLst>
  </p:cSld>
  <p:clrMapOvr>
    <a:masterClrMapping/>
  </p:clrMapOvr>
</p:notes>
</file>

<file path=ppt/notesSlides/notesSlide2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623</a:t>
            </a:fld>
            <a:endParaRPr lang="zh-CN" altLang="en-US"/>
          </a:p>
        </p:txBody>
      </p:sp>
    </p:spTree>
    <p:extLst>
      <p:ext uri="{BB962C8B-B14F-4D97-AF65-F5344CB8AC3E}">
        <p14:creationId xmlns:p14="http://schemas.microsoft.com/office/powerpoint/2010/main" val="790310070"/>
      </p:ext>
    </p:extLst>
  </p:cSld>
  <p:clrMapOvr>
    <a:masterClrMapping/>
  </p:clrMapOvr>
</p:notes>
</file>

<file path=ppt/notesSlides/notesSlide2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624</a:t>
            </a:fld>
            <a:endParaRPr lang="zh-CN" altLang="en-US"/>
          </a:p>
        </p:txBody>
      </p:sp>
    </p:spTree>
    <p:extLst>
      <p:ext uri="{BB962C8B-B14F-4D97-AF65-F5344CB8AC3E}">
        <p14:creationId xmlns:p14="http://schemas.microsoft.com/office/powerpoint/2010/main" val="3504030389"/>
      </p:ext>
    </p:extLst>
  </p:cSld>
  <p:clrMapOvr>
    <a:masterClrMapping/>
  </p:clrMapOvr>
</p:notes>
</file>

<file path=ppt/notesSlides/notesSlide2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625</a:t>
            </a:fld>
            <a:endParaRPr lang="zh-CN" altLang="en-US"/>
          </a:p>
        </p:txBody>
      </p:sp>
    </p:spTree>
    <p:extLst>
      <p:ext uri="{BB962C8B-B14F-4D97-AF65-F5344CB8AC3E}">
        <p14:creationId xmlns:p14="http://schemas.microsoft.com/office/powerpoint/2010/main" val="4134544322"/>
      </p:ext>
    </p:extLst>
  </p:cSld>
  <p:clrMapOvr>
    <a:masterClrMapping/>
  </p:clrMapOvr>
</p:notes>
</file>

<file path=ppt/notesSlides/notesSlide2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626</a:t>
            </a:fld>
            <a:endParaRPr lang="zh-CN" altLang="en-US"/>
          </a:p>
        </p:txBody>
      </p:sp>
    </p:spTree>
    <p:extLst>
      <p:ext uri="{BB962C8B-B14F-4D97-AF65-F5344CB8AC3E}">
        <p14:creationId xmlns:p14="http://schemas.microsoft.com/office/powerpoint/2010/main" val="2664403055"/>
      </p:ext>
    </p:extLst>
  </p:cSld>
  <p:clrMapOvr>
    <a:masterClrMapping/>
  </p:clrMapOvr>
</p:notes>
</file>

<file path=ppt/notesSlides/notesSlide2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627</a:t>
            </a:fld>
            <a:endParaRPr lang="zh-CN" altLang="en-US"/>
          </a:p>
        </p:txBody>
      </p:sp>
    </p:spTree>
    <p:extLst>
      <p:ext uri="{BB962C8B-B14F-4D97-AF65-F5344CB8AC3E}">
        <p14:creationId xmlns:p14="http://schemas.microsoft.com/office/powerpoint/2010/main" val="10604760"/>
      </p:ext>
    </p:extLst>
  </p:cSld>
  <p:clrMapOvr>
    <a:masterClrMapping/>
  </p:clrMapOvr>
</p:notes>
</file>

<file path=ppt/notesSlides/notesSlide2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628</a:t>
            </a:fld>
            <a:endParaRPr lang="zh-CN" altLang="en-US"/>
          </a:p>
        </p:txBody>
      </p:sp>
    </p:spTree>
    <p:extLst>
      <p:ext uri="{BB962C8B-B14F-4D97-AF65-F5344CB8AC3E}">
        <p14:creationId xmlns:p14="http://schemas.microsoft.com/office/powerpoint/2010/main" val="2399725233"/>
      </p:ext>
    </p:extLst>
  </p:cSld>
  <p:clrMapOvr>
    <a:masterClrMapping/>
  </p:clrMapOvr>
</p:notes>
</file>

<file path=ppt/notesSlides/notesSlide2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629</a:t>
            </a:fld>
            <a:endParaRPr lang="zh-CN" altLang="en-US"/>
          </a:p>
        </p:txBody>
      </p:sp>
    </p:spTree>
    <p:extLst>
      <p:ext uri="{BB962C8B-B14F-4D97-AF65-F5344CB8AC3E}">
        <p14:creationId xmlns:p14="http://schemas.microsoft.com/office/powerpoint/2010/main" val="2241416353"/>
      </p:ext>
    </p:extLst>
  </p:cSld>
  <p:clrMapOvr>
    <a:masterClrMapping/>
  </p:clrMapOvr>
</p:notes>
</file>

<file path=ppt/notesSlides/notesSlide2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630</a:t>
            </a:fld>
            <a:endParaRPr lang="zh-CN" altLang="en-US"/>
          </a:p>
        </p:txBody>
      </p:sp>
    </p:spTree>
    <p:extLst>
      <p:ext uri="{BB962C8B-B14F-4D97-AF65-F5344CB8AC3E}">
        <p14:creationId xmlns:p14="http://schemas.microsoft.com/office/powerpoint/2010/main" val="2771485060"/>
      </p:ext>
    </p:extLst>
  </p:cSld>
  <p:clrMapOvr>
    <a:masterClrMapping/>
  </p:clrMapOvr>
</p:notes>
</file>

<file path=ppt/notesSlides/notesSlide2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631</a:t>
            </a:fld>
            <a:endParaRPr lang="zh-CN" altLang="en-US"/>
          </a:p>
        </p:txBody>
      </p:sp>
    </p:spTree>
    <p:extLst>
      <p:ext uri="{BB962C8B-B14F-4D97-AF65-F5344CB8AC3E}">
        <p14:creationId xmlns:p14="http://schemas.microsoft.com/office/powerpoint/2010/main" val="112448875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433</a:t>
            </a:fld>
            <a:endParaRPr lang="zh-CN" altLang="en-US"/>
          </a:p>
        </p:txBody>
      </p:sp>
    </p:spTree>
    <p:extLst>
      <p:ext uri="{BB962C8B-B14F-4D97-AF65-F5344CB8AC3E}">
        <p14:creationId xmlns:p14="http://schemas.microsoft.com/office/powerpoint/2010/main" val="1894269965"/>
      </p:ext>
    </p:extLst>
  </p:cSld>
  <p:clrMapOvr>
    <a:masterClrMapping/>
  </p:clrMapOvr>
</p:notes>
</file>

<file path=ppt/notesSlides/notesSlide2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632</a:t>
            </a:fld>
            <a:endParaRPr lang="zh-CN" altLang="en-US"/>
          </a:p>
        </p:txBody>
      </p:sp>
    </p:spTree>
    <p:extLst>
      <p:ext uri="{BB962C8B-B14F-4D97-AF65-F5344CB8AC3E}">
        <p14:creationId xmlns:p14="http://schemas.microsoft.com/office/powerpoint/2010/main" val="1859023443"/>
      </p:ext>
    </p:extLst>
  </p:cSld>
  <p:clrMapOvr>
    <a:masterClrMapping/>
  </p:clrMapOvr>
</p:notes>
</file>

<file path=ppt/notesSlides/notesSlide2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633</a:t>
            </a:fld>
            <a:endParaRPr lang="zh-CN" altLang="en-US"/>
          </a:p>
        </p:txBody>
      </p:sp>
    </p:spTree>
    <p:extLst>
      <p:ext uri="{BB962C8B-B14F-4D97-AF65-F5344CB8AC3E}">
        <p14:creationId xmlns:p14="http://schemas.microsoft.com/office/powerpoint/2010/main" val="916370171"/>
      </p:ext>
    </p:extLst>
  </p:cSld>
  <p:clrMapOvr>
    <a:masterClrMapping/>
  </p:clrMapOvr>
</p:notes>
</file>

<file path=ppt/notesSlides/notesSlide2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634</a:t>
            </a:fld>
            <a:endParaRPr lang="zh-CN" altLang="en-US"/>
          </a:p>
        </p:txBody>
      </p:sp>
    </p:spTree>
    <p:extLst>
      <p:ext uri="{BB962C8B-B14F-4D97-AF65-F5344CB8AC3E}">
        <p14:creationId xmlns:p14="http://schemas.microsoft.com/office/powerpoint/2010/main" val="1230195320"/>
      </p:ext>
    </p:extLst>
  </p:cSld>
  <p:clrMapOvr>
    <a:masterClrMapping/>
  </p:clrMapOvr>
</p:notes>
</file>

<file path=ppt/notesSlides/notesSlide2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635</a:t>
            </a:fld>
            <a:endParaRPr lang="zh-CN" altLang="en-US"/>
          </a:p>
        </p:txBody>
      </p:sp>
    </p:spTree>
    <p:extLst>
      <p:ext uri="{BB962C8B-B14F-4D97-AF65-F5344CB8AC3E}">
        <p14:creationId xmlns:p14="http://schemas.microsoft.com/office/powerpoint/2010/main" val="1094740422"/>
      </p:ext>
    </p:extLst>
  </p:cSld>
  <p:clrMapOvr>
    <a:masterClrMapping/>
  </p:clrMapOvr>
</p:notes>
</file>

<file path=ppt/notesSlides/notesSlide2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636</a:t>
            </a:fld>
            <a:endParaRPr lang="zh-CN" altLang="en-US"/>
          </a:p>
        </p:txBody>
      </p:sp>
    </p:spTree>
    <p:extLst>
      <p:ext uri="{BB962C8B-B14F-4D97-AF65-F5344CB8AC3E}">
        <p14:creationId xmlns:p14="http://schemas.microsoft.com/office/powerpoint/2010/main" val="2947106742"/>
      </p:ext>
    </p:extLst>
  </p:cSld>
  <p:clrMapOvr>
    <a:masterClrMapping/>
  </p:clrMapOvr>
</p:notes>
</file>

<file path=ppt/notesSlides/notesSlide2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637</a:t>
            </a:fld>
            <a:endParaRPr lang="zh-CN" altLang="en-US"/>
          </a:p>
        </p:txBody>
      </p:sp>
    </p:spTree>
    <p:extLst>
      <p:ext uri="{BB962C8B-B14F-4D97-AF65-F5344CB8AC3E}">
        <p14:creationId xmlns:p14="http://schemas.microsoft.com/office/powerpoint/2010/main" val="1591744173"/>
      </p:ext>
    </p:extLst>
  </p:cSld>
  <p:clrMapOvr>
    <a:masterClrMapping/>
  </p:clrMapOvr>
</p:notes>
</file>

<file path=ppt/notesSlides/notesSlide2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638</a:t>
            </a:fld>
            <a:endParaRPr lang="zh-CN" altLang="en-US"/>
          </a:p>
        </p:txBody>
      </p:sp>
    </p:spTree>
    <p:extLst>
      <p:ext uri="{BB962C8B-B14F-4D97-AF65-F5344CB8AC3E}">
        <p14:creationId xmlns:p14="http://schemas.microsoft.com/office/powerpoint/2010/main" val="3368868256"/>
      </p:ext>
    </p:extLst>
  </p:cSld>
  <p:clrMapOvr>
    <a:masterClrMapping/>
  </p:clrMapOvr>
</p:notes>
</file>

<file path=ppt/notesSlides/notesSlide2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639</a:t>
            </a:fld>
            <a:endParaRPr lang="zh-CN" altLang="en-US"/>
          </a:p>
        </p:txBody>
      </p:sp>
    </p:spTree>
    <p:extLst>
      <p:ext uri="{BB962C8B-B14F-4D97-AF65-F5344CB8AC3E}">
        <p14:creationId xmlns:p14="http://schemas.microsoft.com/office/powerpoint/2010/main" val="46687568"/>
      </p:ext>
    </p:extLst>
  </p:cSld>
  <p:clrMapOvr>
    <a:masterClrMapping/>
  </p:clrMapOvr>
</p:notes>
</file>

<file path=ppt/notesSlides/notesSlide2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640</a:t>
            </a:fld>
            <a:endParaRPr lang="zh-CN" altLang="en-US"/>
          </a:p>
        </p:txBody>
      </p:sp>
    </p:spTree>
    <p:extLst>
      <p:ext uri="{BB962C8B-B14F-4D97-AF65-F5344CB8AC3E}">
        <p14:creationId xmlns:p14="http://schemas.microsoft.com/office/powerpoint/2010/main" val="1093595898"/>
      </p:ext>
    </p:extLst>
  </p:cSld>
  <p:clrMapOvr>
    <a:masterClrMapping/>
  </p:clrMapOvr>
</p:notes>
</file>

<file path=ppt/notesSlides/notesSlide2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641</a:t>
            </a:fld>
            <a:endParaRPr lang="zh-CN" altLang="en-US"/>
          </a:p>
        </p:txBody>
      </p:sp>
    </p:spTree>
    <p:extLst>
      <p:ext uri="{BB962C8B-B14F-4D97-AF65-F5344CB8AC3E}">
        <p14:creationId xmlns:p14="http://schemas.microsoft.com/office/powerpoint/2010/main" val="354339699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434</a:t>
            </a:fld>
            <a:endParaRPr lang="zh-CN" altLang="en-US"/>
          </a:p>
        </p:txBody>
      </p:sp>
    </p:spTree>
    <p:extLst>
      <p:ext uri="{BB962C8B-B14F-4D97-AF65-F5344CB8AC3E}">
        <p14:creationId xmlns:p14="http://schemas.microsoft.com/office/powerpoint/2010/main" val="3259859415"/>
      </p:ext>
    </p:extLst>
  </p:cSld>
  <p:clrMapOvr>
    <a:masterClrMapping/>
  </p:clrMapOvr>
</p:notes>
</file>

<file path=ppt/notesSlides/notesSlide2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642</a:t>
            </a:fld>
            <a:endParaRPr lang="zh-CN" altLang="en-US"/>
          </a:p>
        </p:txBody>
      </p:sp>
    </p:spTree>
    <p:extLst>
      <p:ext uri="{BB962C8B-B14F-4D97-AF65-F5344CB8AC3E}">
        <p14:creationId xmlns:p14="http://schemas.microsoft.com/office/powerpoint/2010/main" val="3645026748"/>
      </p:ext>
    </p:extLst>
  </p:cSld>
  <p:clrMapOvr>
    <a:masterClrMapping/>
  </p:clrMapOvr>
</p:notes>
</file>

<file path=ppt/notesSlides/notesSlide2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643</a:t>
            </a:fld>
            <a:endParaRPr lang="zh-CN" altLang="en-US"/>
          </a:p>
        </p:txBody>
      </p:sp>
    </p:spTree>
    <p:extLst>
      <p:ext uri="{BB962C8B-B14F-4D97-AF65-F5344CB8AC3E}">
        <p14:creationId xmlns:p14="http://schemas.microsoft.com/office/powerpoint/2010/main" val="764336087"/>
      </p:ext>
    </p:extLst>
  </p:cSld>
  <p:clrMapOvr>
    <a:masterClrMapping/>
  </p:clrMapOvr>
</p:notes>
</file>

<file path=ppt/notesSlides/notesSlide2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644</a:t>
            </a:fld>
            <a:endParaRPr lang="zh-CN" altLang="en-US"/>
          </a:p>
        </p:txBody>
      </p:sp>
    </p:spTree>
    <p:extLst>
      <p:ext uri="{BB962C8B-B14F-4D97-AF65-F5344CB8AC3E}">
        <p14:creationId xmlns:p14="http://schemas.microsoft.com/office/powerpoint/2010/main" val="1475214201"/>
      </p:ext>
    </p:extLst>
  </p:cSld>
  <p:clrMapOvr>
    <a:masterClrMapping/>
  </p:clrMapOvr>
</p:notes>
</file>

<file path=ppt/notesSlides/notesSlide2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645</a:t>
            </a:fld>
            <a:endParaRPr lang="zh-CN" altLang="en-US"/>
          </a:p>
        </p:txBody>
      </p:sp>
    </p:spTree>
    <p:extLst>
      <p:ext uri="{BB962C8B-B14F-4D97-AF65-F5344CB8AC3E}">
        <p14:creationId xmlns:p14="http://schemas.microsoft.com/office/powerpoint/2010/main" val="859295869"/>
      </p:ext>
    </p:extLst>
  </p:cSld>
  <p:clrMapOvr>
    <a:masterClrMapping/>
  </p:clrMapOvr>
</p:notes>
</file>

<file path=ppt/notesSlides/notesSlide2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646</a:t>
            </a:fld>
            <a:endParaRPr lang="zh-CN" altLang="en-US"/>
          </a:p>
        </p:txBody>
      </p:sp>
    </p:spTree>
    <p:extLst>
      <p:ext uri="{BB962C8B-B14F-4D97-AF65-F5344CB8AC3E}">
        <p14:creationId xmlns:p14="http://schemas.microsoft.com/office/powerpoint/2010/main" val="4126341911"/>
      </p:ext>
    </p:extLst>
  </p:cSld>
  <p:clrMapOvr>
    <a:masterClrMapping/>
  </p:clrMapOvr>
</p:notes>
</file>

<file path=ppt/notesSlides/notesSlide2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647</a:t>
            </a:fld>
            <a:endParaRPr lang="zh-CN" altLang="en-US"/>
          </a:p>
        </p:txBody>
      </p:sp>
    </p:spTree>
    <p:extLst>
      <p:ext uri="{BB962C8B-B14F-4D97-AF65-F5344CB8AC3E}">
        <p14:creationId xmlns:p14="http://schemas.microsoft.com/office/powerpoint/2010/main" val="4183938847"/>
      </p:ext>
    </p:extLst>
  </p:cSld>
  <p:clrMapOvr>
    <a:masterClrMapping/>
  </p:clrMapOvr>
</p:notes>
</file>

<file path=ppt/notesSlides/notesSlide2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648</a:t>
            </a:fld>
            <a:endParaRPr lang="zh-CN" altLang="en-US"/>
          </a:p>
        </p:txBody>
      </p:sp>
    </p:spTree>
    <p:extLst>
      <p:ext uri="{BB962C8B-B14F-4D97-AF65-F5344CB8AC3E}">
        <p14:creationId xmlns:p14="http://schemas.microsoft.com/office/powerpoint/2010/main" val="3253607119"/>
      </p:ext>
    </p:extLst>
  </p:cSld>
  <p:clrMapOvr>
    <a:masterClrMapping/>
  </p:clrMapOvr>
</p:notes>
</file>

<file path=ppt/notesSlides/notesSlide2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649</a:t>
            </a:fld>
            <a:endParaRPr lang="zh-CN" altLang="en-US"/>
          </a:p>
        </p:txBody>
      </p:sp>
    </p:spTree>
    <p:extLst>
      <p:ext uri="{BB962C8B-B14F-4D97-AF65-F5344CB8AC3E}">
        <p14:creationId xmlns:p14="http://schemas.microsoft.com/office/powerpoint/2010/main" val="2857439556"/>
      </p:ext>
    </p:extLst>
  </p:cSld>
  <p:clrMapOvr>
    <a:masterClrMapping/>
  </p:clrMapOvr>
</p:notes>
</file>

<file path=ppt/notesSlides/notesSlide2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650</a:t>
            </a:fld>
            <a:endParaRPr lang="zh-CN" altLang="en-US"/>
          </a:p>
        </p:txBody>
      </p:sp>
    </p:spTree>
    <p:extLst>
      <p:ext uri="{BB962C8B-B14F-4D97-AF65-F5344CB8AC3E}">
        <p14:creationId xmlns:p14="http://schemas.microsoft.com/office/powerpoint/2010/main" val="2103469514"/>
      </p:ext>
    </p:extLst>
  </p:cSld>
  <p:clrMapOvr>
    <a:masterClrMapping/>
  </p:clrMapOvr>
</p:notes>
</file>

<file path=ppt/notesSlides/notesSlide2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651</a:t>
            </a:fld>
            <a:endParaRPr lang="zh-CN" altLang="en-US"/>
          </a:p>
        </p:txBody>
      </p:sp>
    </p:spTree>
    <p:extLst>
      <p:ext uri="{BB962C8B-B14F-4D97-AF65-F5344CB8AC3E}">
        <p14:creationId xmlns:p14="http://schemas.microsoft.com/office/powerpoint/2010/main" val="398363308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435</a:t>
            </a:fld>
            <a:endParaRPr lang="zh-CN" altLang="en-US"/>
          </a:p>
        </p:txBody>
      </p:sp>
    </p:spTree>
    <p:extLst>
      <p:ext uri="{BB962C8B-B14F-4D97-AF65-F5344CB8AC3E}">
        <p14:creationId xmlns:p14="http://schemas.microsoft.com/office/powerpoint/2010/main" val="560428094"/>
      </p:ext>
    </p:extLst>
  </p:cSld>
  <p:clrMapOvr>
    <a:masterClrMapping/>
  </p:clrMapOvr>
</p:notes>
</file>

<file path=ppt/notesSlides/notesSlide2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652</a:t>
            </a:fld>
            <a:endParaRPr lang="zh-CN" altLang="en-US"/>
          </a:p>
        </p:txBody>
      </p:sp>
    </p:spTree>
    <p:extLst>
      <p:ext uri="{BB962C8B-B14F-4D97-AF65-F5344CB8AC3E}">
        <p14:creationId xmlns:p14="http://schemas.microsoft.com/office/powerpoint/2010/main" val="3250419162"/>
      </p:ext>
    </p:extLst>
  </p:cSld>
  <p:clrMapOvr>
    <a:masterClrMapping/>
  </p:clrMapOvr>
</p:notes>
</file>

<file path=ppt/notesSlides/notesSlide2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653</a:t>
            </a:fld>
            <a:endParaRPr lang="zh-CN" altLang="en-US"/>
          </a:p>
        </p:txBody>
      </p:sp>
    </p:spTree>
    <p:extLst>
      <p:ext uri="{BB962C8B-B14F-4D97-AF65-F5344CB8AC3E}">
        <p14:creationId xmlns:p14="http://schemas.microsoft.com/office/powerpoint/2010/main" val="448302528"/>
      </p:ext>
    </p:extLst>
  </p:cSld>
  <p:clrMapOvr>
    <a:masterClrMapping/>
  </p:clrMapOvr>
</p:notes>
</file>

<file path=ppt/notesSlides/notesSlide2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654</a:t>
            </a:fld>
            <a:endParaRPr lang="zh-CN" altLang="en-US"/>
          </a:p>
        </p:txBody>
      </p:sp>
    </p:spTree>
    <p:extLst>
      <p:ext uri="{BB962C8B-B14F-4D97-AF65-F5344CB8AC3E}">
        <p14:creationId xmlns:p14="http://schemas.microsoft.com/office/powerpoint/2010/main" val="107245032"/>
      </p:ext>
    </p:extLst>
  </p:cSld>
  <p:clrMapOvr>
    <a:masterClrMapping/>
  </p:clrMapOvr>
</p:notes>
</file>

<file path=ppt/notesSlides/notesSlide2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655</a:t>
            </a:fld>
            <a:endParaRPr lang="zh-CN" altLang="en-US"/>
          </a:p>
        </p:txBody>
      </p:sp>
    </p:spTree>
    <p:extLst>
      <p:ext uri="{BB962C8B-B14F-4D97-AF65-F5344CB8AC3E}">
        <p14:creationId xmlns:p14="http://schemas.microsoft.com/office/powerpoint/2010/main" val="4194876454"/>
      </p:ext>
    </p:extLst>
  </p:cSld>
  <p:clrMapOvr>
    <a:masterClrMapping/>
  </p:clrMapOvr>
</p:notes>
</file>

<file path=ppt/notesSlides/notesSlide2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656</a:t>
            </a:fld>
            <a:endParaRPr lang="zh-CN" altLang="en-US"/>
          </a:p>
        </p:txBody>
      </p:sp>
    </p:spTree>
    <p:extLst>
      <p:ext uri="{BB962C8B-B14F-4D97-AF65-F5344CB8AC3E}">
        <p14:creationId xmlns:p14="http://schemas.microsoft.com/office/powerpoint/2010/main" val="3289600185"/>
      </p:ext>
    </p:extLst>
  </p:cSld>
  <p:clrMapOvr>
    <a:masterClrMapping/>
  </p:clrMapOvr>
</p:notes>
</file>

<file path=ppt/notesSlides/notesSlide2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657</a:t>
            </a:fld>
            <a:endParaRPr lang="zh-CN" altLang="en-US"/>
          </a:p>
        </p:txBody>
      </p:sp>
    </p:spTree>
    <p:extLst>
      <p:ext uri="{BB962C8B-B14F-4D97-AF65-F5344CB8AC3E}">
        <p14:creationId xmlns:p14="http://schemas.microsoft.com/office/powerpoint/2010/main" val="3037251487"/>
      </p:ext>
    </p:extLst>
  </p:cSld>
  <p:clrMapOvr>
    <a:masterClrMapping/>
  </p:clrMapOvr>
</p:notes>
</file>

<file path=ppt/notesSlides/notesSlide2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658</a:t>
            </a:fld>
            <a:endParaRPr lang="zh-CN" altLang="en-US"/>
          </a:p>
        </p:txBody>
      </p:sp>
    </p:spTree>
    <p:extLst>
      <p:ext uri="{BB962C8B-B14F-4D97-AF65-F5344CB8AC3E}">
        <p14:creationId xmlns:p14="http://schemas.microsoft.com/office/powerpoint/2010/main" val="3331390249"/>
      </p:ext>
    </p:extLst>
  </p:cSld>
  <p:clrMapOvr>
    <a:masterClrMapping/>
  </p:clrMapOvr>
</p:notes>
</file>

<file path=ppt/notesSlides/notesSlide2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659</a:t>
            </a:fld>
            <a:endParaRPr lang="zh-CN" altLang="en-US"/>
          </a:p>
        </p:txBody>
      </p:sp>
    </p:spTree>
    <p:extLst>
      <p:ext uri="{BB962C8B-B14F-4D97-AF65-F5344CB8AC3E}">
        <p14:creationId xmlns:p14="http://schemas.microsoft.com/office/powerpoint/2010/main" val="2124310939"/>
      </p:ext>
    </p:extLst>
  </p:cSld>
  <p:clrMapOvr>
    <a:masterClrMapping/>
  </p:clrMapOvr>
</p:notes>
</file>

<file path=ppt/notesSlides/notesSlide2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660</a:t>
            </a:fld>
            <a:endParaRPr lang="zh-CN" altLang="en-US"/>
          </a:p>
        </p:txBody>
      </p:sp>
    </p:spTree>
    <p:extLst>
      <p:ext uri="{BB962C8B-B14F-4D97-AF65-F5344CB8AC3E}">
        <p14:creationId xmlns:p14="http://schemas.microsoft.com/office/powerpoint/2010/main" val="2936883107"/>
      </p:ext>
    </p:extLst>
  </p:cSld>
  <p:clrMapOvr>
    <a:masterClrMapping/>
  </p:clrMapOvr>
</p:notes>
</file>

<file path=ppt/notesSlides/notesSlide2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661</a:t>
            </a:fld>
            <a:endParaRPr lang="zh-CN" altLang="en-US"/>
          </a:p>
        </p:txBody>
      </p:sp>
    </p:spTree>
    <p:extLst>
      <p:ext uri="{BB962C8B-B14F-4D97-AF65-F5344CB8AC3E}">
        <p14:creationId xmlns:p14="http://schemas.microsoft.com/office/powerpoint/2010/main" val="151693978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436</a:t>
            </a:fld>
            <a:endParaRPr lang="zh-CN" altLang="en-US"/>
          </a:p>
        </p:txBody>
      </p:sp>
    </p:spTree>
    <p:extLst>
      <p:ext uri="{BB962C8B-B14F-4D97-AF65-F5344CB8AC3E}">
        <p14:creationId xmlns:p14="http://schemas.microsoft.com/office/powerpoint/2010/main" val="3807592639"/>
      </p:ext>
    </p:extLst>
  </p:cSld>
  <p:clrMapOvr>
    <a:masterClrMapping/>
  </p:clrMapOvr>
</p:notes>
</file>

<file path=ppt/notesSlides/notesSlide2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662</a:t>
            </a:fld>
            <a:endParaRPr lang="zh-CN" altLang="en-US"/>
          </a:p>
        </p:txBody>
      </p:sp>
    </p:spTree>
    <p:extLst>
      <p:ext uri="{BB962C8B-B14F-4D97-AF65-F5344CB8AC3E}">
        <p14:creationId xmlns:p14="http://schemas.microsoft.com/office/powerpoint/2010/main" val="3695426935"/>
      </p:ext>
    </p:extLst>
  </p:cSld>
  <p:clrMapOvr>
    <a:masterClrMapping/>
  </p:clrMapOvr>
</p:notes>
</file>

<file path=ppt/notesSlides/notesSlide2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663</a:t>
            </a:fld>
            <a:endParaRPr lang="zh-CN" altLang="en-US"/>
          </a:p>
        </p:txBody>
      </p:sp>
    </p:spTree>
    <p:extLst>
      <p:ext uri="{BB962C8B-B14F-4D97-AF65-F5344CB8AC3E}">
        <p14:creationId xmlns:p14="http://schemas.microsoft.com/office/powerpoint/2010/main" val="3277332076"/>
      </p:ext>
    </p:extLst>
  </p:cSld>
  <p:clrMapOvr>
    <a:masterClrMapping/>
  </p:clrMapOvr>
</p:notes>
</file>

<file path=ppt/notesSlides/notesSlide2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664</a:t>
            </a:fld>
            <a:endParaRPr lang="zh-CN" altLang="en-US"/>
          </a:p>
        </p:txBody>
      </p:sp>
    </p:spTree>
    <p:extLst>
      <p:ext uri="{BB962C8B-B14F-4D97-AF65-F5344CB8AC3E}">
        <p14:creationId xmlns:p14="http://schemas.microsoft.com/office/powerpoint/2010/main" val="3866666584"/>
      </p:ext>
    </p:extLst>
  </p:cSld>
  <p:clrMapOvr>
    <a:masterClrMapping/>
  </p:clrMapOvr>
</p:notes>
</file>

<file path=ppt/notesSlides/notesSlide2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665</a:t>
            </a:fld>
            <a:endParaRPr lang="zh-CN" altLang="en-US"/>
          </a:p>
        </p:txBody>
      </p:sp>
    </p:spTree>
    <p:extLst>
      <p:ext uri="{BB962C8B-B14F-4D97-AF65-F5344CB8AC3E}">
        <p14:creationId xmlns:p14="http://schemas.microsoft.com/office/powerpoint/2010/main" val="263752489"/>
      </p:ext>
    </p:extLst>
  </p:cSld>
  <p:clrMapOvr>
    <a:masterClrMapping/>
  </p:clrMapOvr>
</p:notes>
</file>

<file path=ppt/notesSlides/notesSlide2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666</a:t>
            </a:fld>
            <a:endParaRPr lang="zh-CN" altLang="en-US"/>
          </a:p>
        </p:txBody>
      </p:sp>
    </p:spTree>
    <p:extLst>
      <p:ext uri="{BB962C8B-B14F-4D97-AF65-F5344CB8AC3E}">
        <p14:creationId xmlns:p14="http://schemas.microsoft.com/office/powerpoint/2010/main" val="601072042"/>
      </p:ext>
    </p:extLst>
  </p:cSld>
  <p:clrMapOvr>
    <a:masterClrMapping/>
  </p:clrMapOvr>
</p:notes>
</file>

<file path=ppt/notesSlides/notesSlide2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667</a:t>
            </a:fld>
            <a:endParaRPr lang="zh-CN" altLang="en-US"/>
          </a:p>
        </p:txBody>
      </p:sp>
    </p:spTree>
    <p:extLst>
      <p:ext uri="{BB962C8B-B14F-4D97-AF65-F5344CB8AC3E}">
        <p14:creationId xmlns:p14="http://schemas.microsoft.com/office/powerpoint/2010/main" val="3747575881"/>
      </p:ext>
    </p:extLst>
  </p:cSld>
  <p:clrMapOvr>
    <a:masterClrMapping/>
  </p:clrMapOvr>
</p:notes>
</file>

<file path=ppt/notesSlides/notesSlide2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668</a:t>
            </a:fld>
            <a:endParaRPr lang="zh-CN" altLang="en-US"/>
          </a:p>
        </p:txBody>
      </p:sp>
    </p:spTree>
    <p:extLst>
      <p:ext uri="{BB962C8B-B14F-4D97-AF65-F5344CB8AC3E}">
        <p14:creationId xmlns:p14="http://schemas.microsoft.com/office/powerpoint/2010/main" val="3880566527"/>
      </p:ext>
    </p:extLst>
  </p:cSld>
  <p:clrMapOvr>
    <a:masterClrMapping/>
  </p:clrMapOvr>
</p:notes>
</file>

<file path=ppt/notesSlides/notesSlide2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669</a:t>
            </a:fld>
            <a:endParaRPr lang="zh-CN" altLang="en-US"/>
          </a:p>
        </p:txBody>
      </p:sp>
    </p:spTree>
    <p:extLst>
      <p:ext uri="{BB962C8B-B14F-4D97-AF65-F5344CB8AC3E}">
        <p14:creationId xmlns:p14="http://schemas.microsoft.com/office/powerpoint/2010/main" val="1547787179"/>
      </p:ext>
    </p:extLst>
  </p:cSld>
  <p:clrMapOvr>
    <a:masterClrMapping/>
  </p:clrMapOvr>
</p:notes>
</file>

<file path=ppt/notesSlides/notesSlide2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670</a:t>
            </a:fld>
            <a:endParaRPr lang="zh-CN" altLang="en-US"/>
          </a:p>
        </p:txBody>
      </p:sp>
    </p:spTree>
    <p:extLst>
      <p:ext uri="{BB962C8B-B14F-4D97-AF65-F5344CB8AC3E}">
        <p14:creationId xmlns:p14="http://schemas.microsoft.com/office/powerpoint/2010/main" val="3991019339"/>
      </p:ext>
    </p:extLst>
  </p:cSld>
  <p:clrMapOvr>
    <a:masterClrMapping/>
  </p:clrMapOvr>
</p:notes>
</file>

<file path=ppt/notesSlides/notesSlide2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671</a:t>
            </a:fld>
            <a:endParaRPr lang="zh-CN" altLang="en-US"/>
          </a:p>
        </p:txBody>
      </p:sp>
    </p:spTree>
    <p:extLst>
      <p:ext uri="{BB962C8B-B14F-4D97-AF65-F5344CB8AC3E}">
        <p14:creationId xmlns:p14="http://schemas.microsoft.com/office/powerpoint/2010/main" val="263591096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437</a:t>
            </a:fld>
            <a:endParaRPr lang="zh-CN" altLang="en-US"/>
          </a:p>
        </p:txBody>
      </p:sp>
    </p:spTree>
    <p:extLst>
      <p:ext uri="{BB962C8B-B14F-4D97-AF65-F5344CB8AC3E}">
        <p14:creationId xmlns:p14="http://schemas.microsoft.com/office/powerpoint/2010/main" val="3521110980"/>
      </p:ext>
    </p:extLst>
  </p:cSld>
  <p:clrMapOvr>
    <a:masterClrMapping/>
  </p:clrMapOvr>
</p:notes>
</file>

<file path=ppt/notesSlides/notesSlide2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672</a:t>
            </a:fld>
            <a:endParaRPr lang="zh-CN" altLang="en-US"/>
          </a:p>
        </p:txBody>
      </p:sp>
    </p:spTree>
    <p:extLst>
      <p:ext uri="{BB962C8B-B14F-4D97-AF65-F5344CB8AC3E}">
        <p14:creationId xmlns:p14="http://schemas.microsoft.com/office/powerpoint/2010/main" val="2457115905"/>
      </p:ext>
    </p:extLst>
  </p:cSld>
  <p:clrMapOvr>
    <a:masterClrMapping/>
  </p:clrMapOvr>
</p:notes>
</file>

<file path=ppt/notesSlides/notesSlide2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673</a:t>
            </a:fld>
            <a:endParaRPr lang="zh-CN" altLang="en-US"/>
          </a:p>
        </p:txBody>
      </p:sp>
    </p:spTree>
    <p:extLst>
      <p:ext uri="{BB962C8B-B14F-4D97-AF65-F5344CB8AC3E}">
        <p14:creationId xmlns:p14="http://schemas.microsoft.com/office/powerpoint/2010/main" val="3547618766"/>
      </p:ext>
    </p:extLst>
  </p:cSld>
  <p:clrMapOvr>
    <a:masterClrMapping/>
  </p:clrMapOvr>
</p:notes>
</file>

<file path=ppt/notesSlides/notesSlide2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674</a:t>
            </a:fld>
            <a:endParaRPr lang="zh-CN" altLang="en-US"/>
          </a:p>
        </p:txBody>
      </p:sp>
    </p:spTree>
    <p:extLst>
      <p:ext uri="{BB962C8B-B14F-4D97-AF65-F5344CB8AC3E}">
        <p14:creationId xmlns:p14="http://schemas.microsoft.com/office/powerpoint/2010/main" val="906699623"/>
      </p:ext>
    </p:extLst>
  </p:cSld>
  <p:clrMapOvr>
    <a:masterClrMapping/>
  </p:clrMapOvr>
</p:notes>
</file>

<file path=ppt/notesSlides/notesSlide2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675</a:t>
            </a:fld>
            <a:endParaRPr lang="zh-CN" altLang="en-US"/>
          </a:p>
        </p:txBody>
      </p:sp>
    </p:spTree>
    <p:extLst>
      <p:ext uri="{BB962C8B-B14F-4D97-AF65-F5344CB8AC3E}">
        <p14:creationId xmlns:p14="http://schemas.microsoft.com/office/powerpoint/2010/main" val="916699640"/>
      </p:ext>
    </p:extLst>
  </p:cSld>
  <p:clrMapOvr>
    <a:masterClrMapping/>
  </p:clrMapOvr>
</p:notes>
</file>

<file path=ppt/notesSlides/notesSlide2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676</a:t>
            </a:fld>
            <a:endParaRPr lang="zh-CN" altLang="en-US"/>
          </a:p>
        </p:txBody>
      </p:sp>
    </p:spTree>
    <p:extLst>
      <p:ext uri="{BB962C8B-B14F-4D97-AF65-F5344CB8AC3E}">
        <p14:creationId xmlns:p14="http://schemas.microsoft.com/office/powerpoint/2010/main" val="706084743"/>
      </p:ext>
    </p:extLst>
  </p:cSld>
  <p:clrMapOvr>
    <a:masterClrMapping/>
  </p:clrMapOvr>
</p:notes>
</file>

<file path=ppt/notesSlides/notesSlide2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677</a:t>
            </a:fld>
            <a:endParaRPr lang="zh-CN" altLang="en-US"/>
          </a:p>
        </p:txBody>
      </p:sp>
    </p:spTree>
    <p:extLst>
      <p:ext uri="{BB962C8B-B14F-4D97-AF65-F5344CB8AC3E}">
        <p14:creationId xmlns:p14="http://schemas.microsoft.com/office/powerpoint/2010/main" val="195814580"/>
      </p:ext>
    </p:extLst>
  </p:cSld>
  <p:clrMapOvr>
    <a:masterClrMapping/>
  </p:clrMapOvr>
</p:notes>
</file>

<file path=ppt/notesSlides/notesSlide2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678</a:t>
            </a:fld>
            <a:endParaRPr lang="zh-CN" altLang="en-US"/>
          </a:p>
        </p:txBody>
      </p:sp>
    </p:spTree>
    <p:extLst>
      <p:ext uri="{BB962C8B-B14F-4D97-AF65-F5344CB8AC3E}">
        <p14:creationId xmlns:p14="http://schemas.microsoft.com/office/powerpoint/2010/main" val="2493244883"/>
      </p:ext>
    </p:extLst>
  </p:cSld>
  <p:clrMapOvr>
    <a:masterClrMapping/>
  </p:clrMapOvr>
</p:notes>
</file>

<file path=ppt/notesSlides/notesSlide2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679</a:t>
            </a:fld>
            <a:endParaRPr lang="zh-CN" altLang="en-US"/>
          </a:p>
        </p:txBody>
      </p:sp>
    </p:spTree>
    <p:extLst>
      <p:ext uri="{BB962C8B-B14F-4D97-AF65-F5344CB8AC3E}">
        <p14:creationId xmlns:p14="http://schemas.microsoft.com/office/powerpoint/2010/main" val="3587330148"/>
      </p:ext>
    </p:extLst>
  </p:cSld>
  <p:clrMapOvr>
    <a:masterClrMapping/>
  </p:clrMapOvr>
</p:notes>
</file>

<file path=ppt/notesSlides/notesSlide2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680</a:t>
            </a:fld>
            <a:endParaRPr lang="zh-CN" altLang="en-US"/>
          </a:p>
        </p:txBody>
      </p:sp>
    </p:spTree>
    <p:extLst>
      <p:ext uri="{BB962C8B-B14F-4D97-AF65-F5344CB8AC3E}">
        <p14:creationId xmlns:p14="http://schemas.microsoft.com/office/powerpoint/2010/main" val="3761710511"/>
      </p:ext>
    </p:extLst>
  </p:cSld>
  <p:clrMapOvr>
    <a:masterClrMapping/>
  </p:clrMapOvr>
</p:notes>
</file>

<file path=ppt/notesSlides/notesSlide2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681</a:t>
            </a:fld>
            <a:endParaRPr lang="zh-CN" altLang="en-US"/>
          </a:p>
        </p:txBody>
      </p:sp>
    </p:spTree>
    <p:extLst>
      <p:ext uri="{BB962C8B-B14F-4D97-AF65-F5344CB8AC3E}">
        <p14:creationId xmlns:p14="http://schemas.microsoft.com/office/powerpoint/2010/main" val="2104218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438</a:t>
            </a:fld>
            <a:endParaRPr lang="zh-CN" altLang="en-US"/>
          </a:p>
        </p:txBody>
      </p:sp>
    </p:spTree>
    <p:extLst>
      <p:ext uri="{BB962C8B-B14F-4D97-AF65-F5344CB8AC3E}">
        <p14:creationId xmlns:p14="http://schemas.microsoft.com/office/powerpoint/2010/main" val="2368061656"/>
      </p:ext>
    </p:extLst>
  </p:cSld>
  <p:clrMapOvr>
    <a:masterClrMapping/>
  </p:clrMapOvr>
</p:notes>
</file>

<file path=ppt/notesSlides/notesSlide2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682</a:t>
            </a:fld>
            <a:endParaRPr lang="zh-CN" altLang="en-US"/>
          </a:p>
        </p:txBody>
      </p:sp>
    </p:spTree>
    <p:extLst>
      <p:ext uri="{BB962C8B-B14F-4D97-AF65-F5344CB8AC3E}">
        <p14:creationId xmlns:p14="http://schemas.microsoft.com/office/powerpoint/2010/main" val="4001129789"/>
      </p:ext>
    </p:extLst>
  </p:cSld>
  <p:clrMapOvr>
    <a:masterClrMapping/>
  </p:clrMapOvr>
</p:notes>
</file>

<file path=ppt/notesSlides/notesSlide2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683</a:t>
            </a:fld>
            <a:endParaRPr lang="zh-CN" altLang="en-US"/>
          </a:p>
        </p:txBody>
      </p:sp>
    </p:spTree>
    <p:extLst>
      <p:ext uri="{BB962C8B-B14F-4D97-AF65-F5344CB8AC3E}">
        <p14:creationId xmlns:p14="http://schemas.microsoft.com/office/powerpoint/2010/main" val="2741296284"/>
      </p:ext>
    </p:extLst>
  </p:cSld>
  <p:clrMapOvr>
    <a:masterClrMapping/>
  </p:clrMapOvr>
</p:notes>
</file>

<file path=ppt/notesSlides/notesSlide2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684</a:t>
            </a:fld>
            <a:endParaRPr lang="zh-CN" altLang="en-US"/>
          </a:p>
        </p:txBody>
      </p:sp>
    </p:spTree>
    <p:extLst>
      <p:ext uri="{BB962C8B-B14F-4D97-AF65-F5344CB8AC3E}">
        <p14:creationId xmlns:p14="http://schemas.microsoft.com/office/powerpoint/2010/main" val="2066828078"/>
      </p:ext>
    </p:extLst>
  </p:cSld>
  <p:clrMapOvr>
    <a:masterClrMapping/>
  </p:clrMapOvr>
</p:notes>
</file>

<file path=ppt/notesSlides/notesSlide2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685</a:t>
            </a:fld>
            <a:endParaRPr lang="zh-CN" altLang="en-US"/>
          </a:p>
        </p:txBody>
      </p:sp>
    </p:spTree>
    <p:extLst>
      <p:ext uri="{BB962C8B-B14F-4D97-AF65-F5344CB8AC3E}">
        <p14:creationId xmlns:p14="http://schemas.microsoft.com/office/powerpoint/2010/main" val="783277495"/>
      </p:ext>
    </p:extLst>
  </p:cSld>
  <p:clrMapOvr>
    <a:masterClrMapping/>
  </p:clrMapOvr>
</p:notes>
</file>

<file path=ppt/notesSlides/notesSlide2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686</a:t>
            </a:fld>
            <a:endParaRPr lang="zh-CN" altLang="en-US"/>
          </a:p>
        </p:txBody>
      </p:sp>
    </p:spTree>
    <p:extLst>
      <p:ext uri="{BB962C8B-B14F-4D97-AF65-F5344CB8AC3E}">
        <p14:creationId xmlns:p14="http://schemas.microsoft.com/office/powerpoint/2010/main" val="981985585"/>
      </p:ext>
    </p:extLst>
  </p:cSld>
  <p:clrMapOvr>
    <a:masterClrMapping/>
  </p:clrMapOvr>
</p:notes>
</file>

<file path=ppt/notesSlides/notesSlide2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687</a:t>
            </a:fld>
            <a:endParaRPr lang="zh-CN" altLang="en-US"/>
          </a:p>
        </p:txBody>
      </p:sp>
    </p:spTree>
    <p:extLst>
      <p:ext uri="{BB962C8B-B14F-4D97-AF65-F5344CB8AC3E}">
        <p14:creationId xmlns:p14="http://schemas.microsoft.com/office/powerpoint/2010/main" val="3427428712"/>
      </p:ext>
    </p:extLst>
  </p:cSld>
  <p:clrMapOvr>
    <a:masterClrMapping/>
  </p:clrMapOvr>
</p:notes>
</file>

<file path=ppt/notesSlides/notesSlide2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ltLang="zh-CN" dirty="0"/>
          </a:p>
        </p:txBody>
      </p:sp>
      <p:sp>
        <p:nvSpPr>
          <p:cNvPr id="4" name="灯片编号占位符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9690F5F-8142-46D7-A667-6EE4F495F3B4}" type="slidenum">
              <a:rPr kumimoji="0" lang="zh-CN" altLang="en-US" sz="1200" b="0" i="0" u="none" strike="noStrike" kern="1200" cap="none" spc="0" normalizeH="0" baseline="0" noProof="0" smtClean="0">
                <a:ln>
                  <a:noFill/>
                </a:ln>
                <a:solidFill>
                  <a:prstClr val="black"/>
                </a:solidFill>
                <a:effectLst/>
                <a:uLnTx/>
                <a:uFillTx/>
                <a:latin typeface="等线" panose="020F0502020204030204"/>
                <a:ea typeface="等线" panose="02010600030101010101" pitchFamily="2" charset="-122"/>
                <a:cs typeface="+mn-cs"/>
              </a:rPr>
              <a:pPr marL="0" marR="0" lvl="0" indent="0" algn="r" defTabSz="914400" rtl="0" eaLnBrk="1" fontAlgn="auto" latinLnBrk="0" hangingPunct="1">
                <a:lnSpc>
                  <a:spcPct val="100000"/>
                </a:lnSpc>
                <a:spcBef>
                  <a:spcPts val="0"/>
                </a:spcBef>
                <a:spcAft>
                  <a:spcPts val="0"/>
                </a:spcAft>
                <a:buClrTx/>
                <a:buSzTx/>
                <a:buFontTx/>
                <a:buNone/>
                <a:tabLst/>
                <a:defRPr/>
              </a:pPr>
              <a:t>688</a:t>
            </a:fld>
            <a:endParaRPr kumimoji="0" lang="zh-CN" altLang="en-US" sz="1200" b="0" i="0" u="none" strike="noStrike" kern="1200" cap="none" spc="0" normalizeH="0" baseline="0" noProof="0">
              <a:ln>
                <a:noFill/>
              </a:ln>
              <a:solidFill>
                <a:prstClr val="black"/>
              </a:solidFill>
              <a:effectLst/>
              <a:uLnTx/>
              <a:uFillTx/>
              <a:latin typeface="等线" panose="020F0502020204030204"/>
              <a:ea typeface="等线" panose="02010600030101010101" pitchFamily="2" charset="-122"/>
              <a:cs typeface="+mn-cs"/>
            </a:endParaRPr>
          </a:p>
        </p:txBody>
      </p:sp>
    </p:spTree>
    <p:extLst>
      <p:ext uri="{BB962C8B-B14F-4D97-AF65-F5344CB8AC3E}">
        <p14:creationId xmlns:p14="http://schemas.microsoft.com/office/powerpoint/2010/main" val="4019995750"/>
      </p:ext>
    </p:extLst>
  </p:cSld>
  <p:clrMapOvr>
    <a:masterClrMapping/>
  </p:clrMapOvr>
</p:notes>
</file>

<file path=ppt/notesSlides/notesSlide2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689</a:t>
            </a:fld>
            <a:endParaRPr lang="zh-CN" altLang="en-US"/>
          </a:p>
        </p:txBody>
      </p:sp>
    </p:spTree>
    <p:extLst>
      <p:ext uri="{BB962C8B-B14F-4D97-AF65-F5344CB8AC3E}">
        <p14:creationId xmlns:p14="http://schemas.microsoft.com/office/powerpoint/2010/main" val="3849215232"/>
      </p:ext>
    </p:extLst>
  </p:cSld>
  <p:clrMapOvr>
    <a:masterClrMapping/>
  </p:clrMapOvr>
</p:notes>
</file>

<file path=ppt/notesSlides/notesSlide2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690</a:t>
            </a:fld>
            <a:endParaRPr lang="zh-CN" altLang="en-US"/>
          </a:p>
        </p:txBody>
      </p:sp>
    </p:spTree>
    <p:extLst>
      <p:ext uri="{BB962C8B-B14F-4D97-AF65-F5344CB8AC3E}">
        <p14:creationId xmlns:p14="http://schemas.microsoft.com/office/powerpoint/2010/main" val="273777691"/>
      </p:ext>
    </p:extLst>
  </p:cSld>
  <p:clrMapOvr>
    <a:masterClrMapping/>
  </p:clrMapOvr>
</p:notes>
</file>

<file path=ppt/notesSlides/notesSlide2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691</a:t>
            </a:fld>
            <a:endParaRPr lang="zh-CN" altLang="en-US"/>
          </a:p>
        </p:txBody>
      </p:sp>
    </p:spTree>
    <p:extLst>
      <p:ext uri="{BB962C8B-B14F-4D97-AF65-F5344CB8AC3E}">
        <p14:creationId xmlns:p14="http://schemas.microsoft.com/office/powerpoint/2010/main" val="137588529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439</a:t>
            </a:fld>
            <a:endParaRPr lang="zh-CN" altLang="en-US"/>
          </a:p>
        </p:txBody>
      </p:sp>
    </p:spTree>
    <p:extLst>
      <p:ext uri="{BB962C8B-B14F-4D97-AF65-F5344CB8AC3E}">
        <p14:creationId xmlns:p14="http://schemas.microsoft.com/office/powerpoint/2010/main" val="2477358865"/>
      </p:ext>
    </p:extLst>
  </p:cSld>
  <p:clrMapOvr>
    <a:masterClrMapping/>
  </p:clrMapOvr>
</p:notes>
</file>

<file path=ppt/notesSlides/notesSlide2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692</a:t>
            </a:fld>
            <a:endParaRPr lang="zh-CN" altLang="en-US"/>
          </a:p>
        </p:txBody>
      </p:sp>
    </p:spTree>
    <p:extLst>
      <p:ext uri="{BB962C8B-B14F-4D97-AF65-F5344CB8AC3E}">
        <p14:creationId xmlns:p14="http://schemas.microsoft.com/office/powerpoint/2010/main" val="2517180317"/>
      </p:ext>
    </p:extLst>
  </p:cSld>
  <p:clrMapOvr>
    <a:masterClrMapping/>
  </p:clrMapOvr>
</p:notes>
</file>

<file path=ppt/notesSlides/notesSlide2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693</a:t>
            </a:fld>
            <a:endParaRPr lang="zh-CN" altLang="en-US"/>
          </a:p>
        </p:txBody>
      </p:sp>
    </p:spTree>
    <p:extLst>
      <p:ext uri="{BB962C8B-B14F-4D97-AF65-F5344CB8AC3E}">
        <p14:creationId xmlns:p14="http://schemas.microsoft.com/office/powerpoint/2010/main" val="1635808047"/>
      </p:ext>
    </p:extLst>
  </p:cSld>
  <p:clrMapOvr>
    <a:masterClrMapping/>
  </p:clrMapOvr>
</p:notes>
</file>

<file path=ppt/notesSlides/notesSlide2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E49EFBA-00BA-4FEA-BEC0-D70D36A955D6}" type="slidenum">
              <a:rPr kumimoji="0" lang="zh-CN" altLang="en-US" sz="1200" b="0" i="0" u="none" strike="noStrike" kern="1200" cap="none" spc="0" normalizeH="0" baseline="0" noProof="0" smtClean="0">
                <a:ln>
                  <a:noFill/>
                </a:ln>
                <a:solidFill>
                  <a:prstClr val="black"/>
                </a:solidFill>
                <a:effectLst/>
                <a:uLnTx/>
                <a:uFillTx/>
                <a:latin typeface="等线" panose="020F0502020204030204"/>
                <a:ea typeface="等线" panose="02010600030101010101" pitchFamily="2" charset="-122"/>
                <a:cs typeface="+mn-cs"/>
              </a:rPr>
              <a:pPr marL="0" marR="0" lvl="0" indent="0" algn="r" defTabSz="914400" rtl="0" eaLnBrk="1" fontAlgn="auto" latinLnBrk="0" hangingPunct="1">
                <a:lnSpc>
                  <a:spcPct val="100000"/>
                </a:lnSpc>
                <a:spcBef>
                  <a:spcPts val="0"/>
                </a:spcBef>
                <a:spcAft>
                  <a:spcPts val="0"/>
                </a:spcAft>
                <a:buClrTx/>
                <a:buSzTx/>
                <a:buFontTx/>
                <a:buNone/>
                <a:tabLst/>
                <a:defRPr/>
              </a:pPr>
              <a:t>694</a:t>
            </a:fld>
            <a:endParaRPr kumimoji="0" lang="zh-CN" altLang="en-US" sz="1200" b="0" i="0" u="none" strike="noStrike" kern="1200" cap="none" spc="0" normalizeH="0" baseline="0" noProof="0">
              <a:ln>
                <a:noFill/>
              </a:ln>
              <a:solidFill>
                <a:prstClr val="black"/>
              </a:solidFill>
              <a:effectLst/>
              <a:uLnTx/>
              <a:uFillTx/>
              <a:latin typeface="等线" panose="020F0502020204030204"/>
              <a:ea typeface="等线" panose="02010600030101010101" pitchFamily="2" charset="-122"/>
              <a:cs typeface="+mn-cs"/>
            </a:endParaRPr>
          </a:p>
        </p:txBody>
      </p:sp>
    </p:spTree>
    <p:extLst>
      <p:ext uri="{BB962C8B-B14F-4D97-AF65-F5344CB8AC3E}">
        <p14:creationId xmlns:p14="http://schemas.microsoft.com/office/powerpoint/2010/main" val="3477717426"/>
      </p:ext>
    </p:extLst>
  </p:cSld>
  <p:clrMapOvr>
    <a:masterClrMapping/>
  </p:clrMapOvr>
</p:notes>
</file>

<file path=ppt/notesSlides/notesSlide2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695</a:t>
            </a:fld>
            <a:endParaRPr lang="zh-CN" altLang="en-US"/>
          </a:p>
        </p:txBody>
      </p:sp>
    </p:spTree>
    <p:extLst>
      <p:ext uri="{BB962C8B-B14F-4D97-AF65-F5344CB8AC3E}">
        <p14:creationId xmlns:p14="http://schemas.microsoft.com/office/powerpoint/2010/main" val="2691098316"/>
      </p:ext>
    </p:extLst>
  </p:cSld>
  <p:clrMapOvr>
    <a:masterClrMapping/>
  </p:clrMapOvr>
</p:notes>
</file>

<file path=ppt/notesSlides/notesSlide2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696</a:t>
            </a:fld>
            <a:endParaRPr lang="zh-CN" altLang="en-US"/>
          </a:p>
        </p:txBody>
      </p:sp>
    </p:spTree>
    <p:extLst>
      <p:ext uri="{BB962C8B-B14F-4D97-AF65-F5344CB8AC3E}">
        <p14:creationId xmlns:p14="http://schemas.microsoft.com/office/powerpoint/2010/main" val="638700989"/>
      </p:ext>
    </p:extLst>
  </p:cSld>
  <p:clrMapOvr>
    <a:masterClrMapping/>
  </p:clrMapOvr>
</p:notes>
</file>

<file path=ppt/notesSlides/notesSlide2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697</a:t>
            </a:fld>
            <a:endParaRPr lang="zh-CN" altLang="en-US"/>
          </a:p>
        </p:txBody>
      </p:sp>
    </p:spTree>
    <p:extLst>
      <p:ext uri="{BB962C8B-B14F-4D97-AF65-F5344CB8AC3E}">
        <p14:creationId xmlns:p14="http://schemas.microsoft.com/office/powerpoint/2010/main" val="165698998"/>
      </p:ext>
    </p:extLst>
  </p:cSld>
  <p:clrMapOvr>
    <a:masterClrMapping/>
  </p:clrMapOvr>
</p:notes>
</file>

<file path=ppt/notesSlides/notesSlide2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698</a:t>
            </a:fld>
            <a:endParaRPr lang="zh-CN" altLang="en-US"/>
          </a:p>
        </p:txBody>
      </p:sp>
    </p:spTree>
    <p:extLst>
      <p:ext uri="{BB962C8B-B14F-4D97-AF65-F5344CB8AC3E}">
        <p14:creationId xmlns:p14="http://schemas.microsoft.com/office/powerpoint/2010/main" val="2567616266"/>
      </p:ext>
    </p:extLst>
  </p:cSld>
  <p:clrMapOvr>
    <a:masterClrMapping/>
  </p:clrMapOvr>
</p:notes>
</file>

<file path=ppt/notesSlides/notesSlide2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699</a:t>
            </a:fld>
            <a:endParaRPr lang="zh-CN" altLang="en-US"/>
          </a:p>
        </p:txBody>
      </p:sp>
    </p:spTree>
    <p:extLst>
      <p:ext uri="{BB962C8B-B14F-4D97-AF65-F5344CB8AC3E}">
        <p14:creationId xmlns:p14="http://schemas.microsoft.com/office/powerpoint/2010/main" val="3436859457"/>
      </p:ext>
    </p:extLst>
  </p:cSld>
  <p:clrMapOvr>
    <a:masterClrMapping/>
  </p:clrMapOvr>
</p:notes>
</file>

<file path=ppt/notesSlides/notesSlide2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700</a:t>
            </a:fld>
            <a:endParaRPr lang="zh-CN" altLang="en-US"/>
          </a:p>
        </p:txBody>
      </p:sp>
    </p:spTree>
    <p:extLst>
      <p:ext uri="{BB962C8B-B14F-4D97-AF65-F5344CB8AC3E}">
        <p14:creationId xmlns:p14="http://schemas.microsoft.com/office/powerpoint/2010/main" val="4004015907"/>
      </p:ext>
    </p:extLst>
  </p:cSld>
  <p:clrMapOvr>
    <a:masterClrMapping/>
  </p:clrMapOvr>
</p:notes>
</file>

<file path=ppt/notesSlides/notesSlide2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701</a:t>
            </a:fld>
            <a:endParaRPr lang="zh-CN" altLang="en-US"/>
          </a:p>
        </p:txBody>
      </p:sp>
    </p:spTree>
    <p:extLst>
      <p:ext uri="{BB962C8B-B14F-4D97-AF65-F5344CB8AC3E}">
        <p14:creationId xmlns:p14="http://schemas.microsoft.com/office/powerpoint/2010/main" val="73150086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440</a:t>
            </a:fld>
            <a:endParaRPr lang="zh-CN" altLang="en-US"/>
          </a:p>
        </p:txBody>
      </p:sp>
    </p:spTree>
    <p:extLst>
      <p:ext uri="{BB962C8B-B14F-4D97-AF65-F5344CB8AC3E}">
        <p14:creationId xmlns:p14="http://schemas.microsoft.com/office/powerpoint/2010/main" val="3728801281"/>
      </p:ext>
    </p:extLst>
  </p:cSld>
  <p:clrMapOvr>
    <a:masterClrMapping/>
  </p:clrMapOvr>
</p:notes>
</file>

<file path=ppt/notesSlides/notesSlide2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702</a:t>
            </a:fld>
            <a:endParaRPr lang="zh-CN" altLang="en-US"/>
          </a:p>
        </p:txBody>
      </p:sp>
    </p:spTree>
    <p:extLst>
      <p:ext uri="{BB962C8B-B14F-4D97-AF65-F5344CB8AC3E}">
        <p14:creationId xmlns:p14="http://schemas.microsoft.com/office/powerpoint/2010/main" val="4262949253"/>
      </p:ext>
    </p:extLst>
  </p:cSld>
  <p:clrMapOvr>
    <a:masterClrMapping/>
  </p:clrMapOvr>
</p:notes>
</file>

<file path=ppt/notesSlides/notesSlide2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703</a:t>
            </a:fld>
            <a:endParaRPr lang="zh-CN" altLang="en-US"/>
          </a:p>
        </p:txBody>
      </p:sp>
    </p:spTree>
    <p:extLst>
      <p:ext uri="{BB962C8B-B14F-4D97-AF65-F5344CB8AC3E}">
        <p14:creationId xmlns:p14="http://schemas.microsoft.com/office/powerpoint/2010/main" val="1739129983"/>
      </p:ext>
    </p:extLst>
  </p:cSld>
  <p:clrMapOvr>
    <a:masterClrMapping/>
  </p:clrMapOvr>
</p:notes>
</file>

<file path=ppt/notesSlides/notesSlide2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704</a:t>
            </a:fld>
            <a:endParaRPr lang="zh-CN" altLang="en-US"/>
          </a:p>
        </p:txBody>
      </p:sp>
    </p:spTree>
    <p:extLst>
      <p:ext uri="{BB962C8B-B14F-4D97-AF65-F5344CB8AC3E}">
        <p14:creationId xmlns:p14="http://schemas.microsoft.com/office/powerpoint/2010/main" val="3733192568"/>
      </p:ext>
    </p:extLst>
  </p:cSld>
  <p:clrMapOvr>
    <a:masterClrMapping/>
  </p:clrMapOvr>
</p:notes>
</file>

<file path=ppt/notesSlides/notesSlide2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705</a:t>
            </a:fld>
            <a:endParaRPr lang="zh-CN" altLang="en-US"/>
          </a:p>
        </p:txBody>
      </p:sp>
    </p:spTree>
    <p:extLst>
      <p:ext uri="{BB962C8B-B14F-4D97-AF65-F5344CB8AC3E}">
        <p14:creationId xmlns:p14="http://schemas.microsoft.com/office/powerpoint/2010/main" val="1863269451"/>
      </p:ext>
    </p:extLst>
  </p:cSld>
  <p:clrMapOvr>
    <a:masterClrMapping/>
  </p:clrMapOvr>
</p:notes>
</file>

<file path=ppt/notesSlides/notesSlide2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706</a:t>
            </a:fld>
            <a:endParaRPr lang="zh-CN" altLang="en-US"/>
          </a:p>
        </p:txBody>
      </p:sp>
    </p:spTree>
    <p:extLst>
      <p:ext uri="{BB962C8B-B14F-4D97-AF65-F5344CB8AC3E}">
        <p14:creationId xmlns:p14="http://schemas.microsoft.com/office/powerpoint/2010/main" val="2726954758"/>
      </p:ext>
    </p:extLst>
  </p:cSld>
  <p:clrMapOvr>
    <a:masterClrMapping/>
  </p:clrMapOvr>
</p:notes>
</file>

<file path=ppt/notesSlides/notesSlide2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707</a:t>
            </a:fld>
            <a:endParaRPr lang="zh-CN" altLang="en-US"/>
          </a:p>
        </p:txBody>
      </p:sp>
    </p:spTree>
    <p:extLst>
      <p:ext uri="{BB962C8B-B14F-4D97-AF65-F5344CB8AC3E}">
        <p14:creationId xmlns:p14="http://schemas.microsoft.com/office/powerpoint/2010/main" val="584362934"/>
      </p:ext>
    </p:extLst>
  </p:cSld>
  <p:clrMapOvr>
    <a:masterClrMapping/>
  </p:clrMapOvr>
</p:notes>
</file>

<file path=ppt/notesSlides/notesSlide2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708</a:t>
            </a:fld>
            <a:endParaRPr lang="zh-CN" altLang="en-US"/>
          </a:p>
        </p:txBody>
      </p:sp>
    </p:spTree>
    <p:extLst>
      <p:ext uri="{BB962C8B-B14F-4D97-AF65-F5344CB8AC3E}">
        <p14:creationId xmlns:p14="http://schemas.microsoft.com/office/powerpoint/2010/main" val="1614499609"/>
      </p:ext>
    </p:extLst>
  </p:cSld>
  <p:clrMapOvr>
    <a:masterClrMapping/>
  </p:clrMapOvr>
</p:notes>
</file>

<file path=ppt/notesSlides/notesSlide2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709</a:t>
            </a:fld>
            <a:endParaRPr lang="zh-CN" altLang="en-US"/>
          </a:p>
        </p:txBody>
      </p:sp>
    </p:spTree>
    <p:extLst>
      <p:ext uri="{BB962C8B-B14F-4D97-AF65-F5344CB8AC3E}">
        <p14:creationId xmlns:p14="http://schemas.microsoft.com/office/powerpoint/2010/main" val="859556583"/>
      </p:ext>
    </p:extLst>
  </p:cSld>
  <p:clrMapOvr>
    <a:masterClrMapping/>
  </p:clrMapOvr>
</p:notes>
</file>

<file path=ppt/notesSlides/notesSlide2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710</a:t>
            </a:fld>
            <a:endParaRPr lang="zh-CN" altLang="en-US"/>
          </a:p>
        </p:txBody>
      </p:sp>
    </p:spTree>
    <p:extLst>
      <p:ext uri="{BB962C8B-B14F-4D97-AF65-F5344CB8AC3E}">
        <p14:creationId xmlns:p14="http://schemas.microsoft.com/office/powerpoint/2010/main" val="2927617178"/>
      </p:ext>
    </p:extLst>
  </p:cSld>
  <p:clrMapOvr>
    <a:masterClrMapping/>
  </p:clrMapOvr>
</p:notes>
</file>

<file path=ppt/notesSlides/notesSlide2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711</a:t>
            </a:fld>
            <a:endParaRPr lang="zh-CN" altLang="en-US"/>
          </a:p>
        </p:txBody>
      </p:sp>
    </p:spTree>
    <p:extLst>
      <p:ext uri="{BB962C8B-B14F-4D97-AF65-F5344CB8AC3E}">
        <p14:creationId xmlns:p14="http://schemas.microsoft.com/office/powerpoint/2010/main" val="245379448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id-ID"/>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4D1495A-DD81-44F4-9F54-1F39867BF2D9}" type="slidenum">
              <a:rPr kumimoji="0" lang="en-US" sz="1200" b="0" i="0" u="none" strike="noStrike" kern="1200" cap="none" spc="0" normalizeH="0" baseline="0" noProof="0" smtClean="0">
                <a:ln>
                  <a:noFill/>
                </a:ln>
                <a:solidFill>
                  <a:prstClr val="black"/>
                </a:solidFill>
                <a:effectLst/>
                <a:uLnTx/>
                <a:uFillTx/>
                <a:latin typeface="等线"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2</a:t>
            </a:fld>
            <a:endParaRPr kumimoji="0" lang="en-US" sz="1200" b="0" i="0" u="none" strike="noStrike" kern="1200" cap="none" spc="0" normalizeH="0" baseline="0" noProof="0">
              <a:ln>
                <a:noFill/>
              </a:ln>
              <a:solidFill>
                <a:prstClr val="black"/>
              </a:solidFill>
              <a:effectLst/>
              <a:uLnTx/>
              <a:uFillTx/>
              <a:latin typeface="等线" panose="020F0502020204030204"/>
              <a:ea typeface="+mn-ea"/>
              <a:cs typeface="+mn-cs"/>
            </a:endParaRPr>
          </a:p>
        </p:txBody>
      </p:sp>
    </p:spTree>
    <p:extLst>
      <p:ext uri="{BB962C8B-B14F-4D97-AF65-F5344CB8AC3E}">
        <p14:creationId xmlns:p14="http://schemas.microsoft.com/office/powerpoint/2010/main" val="701731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441</a:t>
            </a:fld>
            <a:endParaRPr lang="zh-CN" altLang="en-US"/>
          </a:p>
        </p:txBody>
      </p:sp>
    </p:spTree>
    <p:extLst>
      <p:ext uri="{BB962C8B-B14F-4D97-AF65-F5344CB8AC3E}">
        <p14:creationId xmlns:p14="http://schemas.microsoft.com/office/powerpoint/2010/main" val="2247790234"/>
      </p:ext>
    </p:extLst>
  </p:cSld>
  <p:clrMapOvr>
    <a:masterClrMapping/>
  </p:clrMapOvr>
</p:notes>
</file>

<file path=ppt/notesSlides/notesSlide3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712</a:t>
            </a:fld>
            <a:endParaRPr lang="zh-CN" altLang="en-US"/>
          </a:p>
        </p:txBody>
      </p:sp>
    </p:spTree>
    <p:extLst>
      <p:ext uri="{BB962C8B-B14F-4D97-AF65-F5344CB8AC3E}">
        <p14:creationId xmlns:p14="http://schemas.microsoft.com/office/powerpoint/2010/main" val="876621835"/>
      </p:ext>
    </p:extLst>
  </p:cSld>
  <p:clrMapOvr>
    <a:masterClrMapping/>
  </p:clrMapOvr>
</p:notes>
</file>

<file path=ppt/notesSlides/notesSlide3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713</a:t>
            </a:fld>
            <a:endParaRPr lang="zh-CN" altLang="en-US"/>
          </a:p>
        </p:txBody>
      </p:sp>
    </p:spTree>
    <p:extLst>
      <p:ext uri="{BB962C8B-B14F-4D97-AF65-F5344CB8AC3E}">
        <p14:creationId xmlns:p14="http://schemas.microsoft.com/office/powerpoint/2010/main" val="543385175"/>
      </p:ext>
    </p:extLst>
  </p:cSld>
  <p:clrMapOvr>
    <a:masterClrMapping/>
  </p:clrMapOvr>
</p:notes>
</file>

<file path=ppt/notesSlides/notesSlide3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714</a:t>
            </a:fld>
            <a:endParaRPr lang="zh-CN" altLang="en-US"/>
          </a:p>
        </p:txBody>
      </p:sp>
    </p:spTree>
    <p:extLst>
      <p:ext uri="{BB962C8B-B14F-4D97-AF65-F5344CB8AC3E}">
        <p14:creationId xmlns:p14="http://schemas.microsoft.com/office/powerpoint/2010/main" val="908208360"/>
      </p:ext>
    </p:extLst>
  </p:cSld>
  <p:clrMapOvr>
    <a:masterClrMapping/>
  </p:clrMapOvr>
</p:notes>
</file>

<file path=ppt/notesSlides/notesSlide3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715</a:t>
            </a:fld>
            <a:endParaRPr lang="zh-CN" altLang="en-US"/>
          </a:p>
        </p:txBody>
      </p:sp>
    </p:spTree>
    <p:extLst>
      <p:ext uri="{BB962C8B-B14F-4D97-AF65-F5344CB8AC3E}">
        <p14:creationId xmlns:p14="http://schemas.microsoft.com/office/powerpoint/2010/main" val="3529508547"/>
      </p:ext>
    </p:extLst>
  </p:cSld>
  <p:clrMapOvr>
    <a:masterClrMapping/>
  </p:clrMapOvr>
</p:notes>
</file>

<file path=ppt/notesSlides/notesSlide3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716</a:t>
            </a:fld>
            <a:endParaRPr lang="zh-CN" altLang="en-US"/>
          </a:p>
        </p:txBody>
      </p:sp>
    </p:spTree>
    <p:extLst>
      <p:ext uri="{BB962C8B-B14F-4D97-AF65-F5344CB8AC3E}">
        <p14:creationId xmlns:p14="http://schemas.microsoft.com/office/powerpoint/2010/main" val="1328943652"/>
      </p:ext>
    </p:extLst>
  </p:cSld>
  <p:clrMapOvr>
    <a:masterClrMapping/>
  </p:clrMapOvr>
</p:notes>
</file>

<file path=ppt/notesSlides/notesSlide3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717</a:t>
            </a:fld>
            <a:endParaRPr lang="zh-CN" altLang="en-US"/>
          </a:p>
        </p:txBody>
      </p:sp>
    </p:spTree>
    <p:extLst>
      <p:ext uri="{BB962C8B-B14F-4D97-AF65-F5344CB8AC3E}">
        <p14:creationId xmlns:p14="http://schemas.microsoft.com/office/powerpoint/2010/main" val="1713050653"/>
      </p:ext>
    </p:extLst>
  </p:cSld>
  <p:clrMapOvr>
    <a:masterClrMapping/>
  </p:clrMapOvr>
</p:notes>
</file>

<file path=ppt/notesSlides/notesSlide3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718</a:t>
            </a:fld>
            <a:endParaRPr lang="zh-CN" altLang="en-US"/>
          </a:p>
        </p:txBody>
      </p:sp>
    </p:spTree>
    <p:extLst>
      <p:ext uri="{BB962C8B-B14F-4D97-AF65-F5344CB8AC3E}">
        <p14:creationId xmlns:p14="http://schemas.microsoft.com/office/powerpoint/2010/main" val="4109497267"/>
      </p:ext>
    </p:extLst>
  </p:cSld>
  <p:clrMapOvr>
    <a:masterClrMapping/>
  </p:clrMapOvr>
</p:notes>
</file>

<file path=ppt/notesSlides/notesSlide3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719</a:t>
            </a:fld>
            <a:endParaRPr lang="zh-CN" altLang="en-US"/>
          </a:p>
        </p:txBody>
      </p:sp>
    </p:spTree>
    <p:extLst>
      <p:ext uri="{BB962C8B-B14F-4D97-AF65-F5344CB8AC3E}">
        <p14:creationId xmlns:p14="http://schemas.microsoft.com/office/powerpoint/2010/main" val="2550096922"/>
      </p:ext>
    </p:extLst>
  </p:cSld>
  <p:clrMapOvr>
    <a:masterClrMapping/>
  </p:clrMapOvr>
</p:notes>
</file>

<file path=ppt/notesSlides/notesSlide3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720</a:t>
            </a:fld>
            <a:endParaRPr lang="zh-CN" altLang="en-US"/>
          </a:p>
        </p:txBody>
      </p:sp>
    </p:spTree>
    <p:extLst>
      <p:ext uri="{BB962C8B-B14F-4D97-AF65-F5344CB8AC3E}">
        <p14:creationId xmlns:p14="http://schemas.microsoft.com/office/powerpoint/2010/main" val="218452749"/>
      </p:ext>
    </p:extLst>
  </p:cSld>
  <p:clrMapOvr>
    <a:masterClrMapping/>
  </p:clrMapOvr>
</p:notes>
</file>

<file path=ppt/notesSlides/notesSlide3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721</a:t>
            </a:fld>
            <a:endParaRPr lang="zh-CN" altLang="en-US"/>
          </a:p>
        </p:txBody>
      </p:sp>
    </p:spTree>
    <p:extLst>
      <p:ext uri="{BB962C8B-B14F-4D97-AF65-F5344CB8AC3E}">
        <p14:creationId xmlns:p14="http://schemas.microsoft.com/office/powerpoint/2010/main" val="327782741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442</a:t>
            </a:fld>
            <a:endParaRPr lang="zh-CN" altLang="en-US"/>
          </a:p>
        </p:txBody>
      </p:sp>
    </p:spTree>
    <p:extLst>
      <p:ext uri="{BB962C8B-B14F-4D97-AF65-F5344CB8AC3E}">
        <p14:creationId xmlns:p14="http://schemas.microsoft.com/office/powerpoint/2010/main" val="543744218"/>
      </p:ext>
    </p:extLst>
  </p:cSld>
  <p:clrMapOvr>
    <a:masterClrMapping/>
  </p:clrMapOvr>
</p:notes>
</file>

<file path=ppt/notesSlides/notesSlide3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722</a:t>
            </a:fld>
            <a:endParaRPr lang="zh-CN" altLang="en-US"/>
          </a:p>
        </p:txBody>
      </p:sp>
    </p:spTree>
    <p:extLst>
      <p:ext uri="{BB962C8B-B14F-4D97-AF65-F5344CB8AC3E}">
        <p14:creationId xmlns:p14="http://schemas.microsoft.com/office/powerpoint/2010/main" val="2905631018"/>
      </p:ext>
    </p:extLst>
  </p:cSld>
  <p:clrMapOvr>
    <a:masterClrMapping/>
  </p:clrMapOvr>
</p:notes>
</file>

<file path=ppt/notesSlides/notesSlide3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723</a:t>
            </a:fld>
            <a:endParaRPr lang="zh-CN" altLang="en-US"/>
          </a:p>
        </p:txBody>
      </p:sp>
    </p:spTree>
    <p:extLst>
      <p:ext uri="{BB962C8B-B14F-4D97-AF65-F5344CB8AC3E}">
        <p14:creationId xmlns:p14="http://schemas.microsoft.com/office/powerpoint/2010/main" val="250803935"/>
      </p:ext>
    </p:extLst>
  </p:cSld>
  <p:clrMapOvr>
    <a:masterClrMapping/>
  </p:clrMapOvr>
</p:notes>
</file>

<file path=ppt/notesSlides/notesSlide3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724</a:t>
            </a:fld>
            <a:endParaRPr lang="zh-CN" altLang="en-US"/>
          </a:p>
        </p:txBody>
      </p:sp>
    </p:spTree>
    <p:extLst>
      <p:ext uri="{BB962C8B-B14F-4D97-AF65-F5344CB8AC3E}">
        <p14:creationId xmlns:p14="http://schemas.microsoft.com/office/powerpoint/2010/main" val="1720519049"/>
      </p:ext>
    </p:extLst>
  </p:cSld>
  <p:clrMapOvr>
    <a:masterClrMapping/>
  </p:clrMapOvr>
</p:notes>
</file>

<file path=ppt/notesSlides/notesSlide3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725</a:t>
            </a:fld>
            <a:endParaRPr lang="zh-CN" altLang="en-US"/>
          </a:p>
        </p:txBody>
      </p:sp>
    </p:spTree>
    <p:extLst>
      <p:ext uri="{BB962C8B-B14F-4D97-AF65-F5344CB8AC3E}">
        <p14:creationId xmlns:p14="http://schemas.microsoft.com/office/powerpoint/2010/main" val="3096767905"/>
      </p:ext>
    </p:extLst>
  </p:cSld>
  <p:clrMapOvr>
    <a:masterClrMapping/>
  </p:clrMapOvr>
</p:notes>
</file>

<file path=ppt/notesSlides/notesSlide3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726</a:t>
            </a:fld>
            <a:endParaRPr lang="zh-CN" altLang="en-US"/>
          </a:p>
        </p:txBody>
      </p:sp>
    </p:spTree>
    <p:extLst>
      <p:ext uri="{BB962C8B-B14F-4D97-AF65-F5344CB8AC3E}">
        <p14:creationId xmlns:p14="http://schemas.microsoft.com/office/powerpoint/2010/main" val="1697193101"/>
      </p:ext>
    </p:extLst>
  </p:cSld>
  <p:clrMapOvr>
    <a:masterClrMapping/>
  </p:clrMapOvr>
</p:notes>
</file>

<file path=ppt/notesSlides/notesSlide3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727</a:t>
            </a:fld>
            <a:endParaRPr lang="zh-CN" altLang="en-US"/>
          </a:p>
        </p:txBody>
      </p:sp>
    </p:spTree>
    <p:extLst>
      <p:ext uri="{BB962C8B-B14F-4D97-AF65-F5344CB8AC3E}">
        <p14:creationId xmlns:p14="http://schemas.microsoft.com/office/powerpoint/2010/main" val="608953952"/>
      </p:ext>
    </p:extLst>
  </p:cSld>
  <p:clrMapOvr>
    <a:masterClrMapping/>
  </p:clrMapOvr>
</p:notes>
</file>

<file path=ppt/notesSlides/notesSlide3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728</a:t>
            </a:fld>
            <a:endParaRPr lang="zh-CN" altLang="en-US"/>
          </a:p>
        </p:txBody>
      </p:sp>
    </p:spTree>
    <p:extLst>
      <p:ext uri="{BB962C8B-B14F-4D97-AF65-F5344CB8AC3E}">
        <p14:creationId xmlns:p14="http://schemas.microsoft.com/office/powerpoint/2010/main" val="2332252126"/>
      </p:ext>
    </p:extLst>
  </p:cSld>
  <p:clrMapOvr>
    <a:masterClrMapping/>
  </p:clrMapOvr>
</p:notes>
</file>

<file path=ppt/notesSlides/notesSlide3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729</a:t>
            </a:fld>
            <a:endParaRPr lang="zh-CN" altLang="en-US"/>
          </a:p>
        </p:txBody>
      </p:sp>
    </p:spTree>
    <p:extLst>
      <p:ext uri="{BB962C8B-B14F-4D97-AF65-F5344CB8AC3E}">
        <p14:creationId xmlns:p14="http://schemas.microsoft.com/office/powerpoint/2010/main" val="2250950960"/>
      </p:ext>
    </p:extLst>
  </p:cSld>
  <p:clrMapOvr>
    <a:masterClrMapping/>
  </p:clrMapOvr>
</p:notes>
</file>

<file path=ppt/notesSlides/notesSlide3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730</a:t>
            </a:fld>
            <a:endParaRPr lang="zh-CN" altLang="en-US"/>
          </a:p>
        </p:txBody>
      </p:sp>
    </p:spTree>
    <p:extLst>
      <p:ext uri="{BB962C8B-B14F-4D97-AF65-F5344CB8AC3E}">
        <p14:creationId xmlns:p14="http://schemas.microsoft.com/office/powerpoint/2010/main" val="1534451341"/>
      </p:ext>
    </p:extLst>
  </p:cSld>
  <p:clrMapOvr>
    <a:masterClrMapping/>
  </p:clrMapOvr>
</p:notes>
</file>

<file path=ppt/notesSlides/notesSlide3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731</a:t>
            </a:fld>
            <a:endParaRPr lang="zh-CN" altLang="en-US"/>
          </a:p>
        </p:txBody>
      </p:sp>
    </p:spTree>
    <p:extLst>
      <p:ext uri="{BB962C8B-B14F-4D97-AF65-F5344CB8AC3E}">
        <p14:creationId xmlns:p14="http://schemas.microsoft.com/office/powerpoint/2010/main" val="237530872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443</a:t>
            </a:fld>
            <a:endParaRPr lang="zh-CN" altLang="en-US"/>
          </a:p>
        </p:txBody>
      </p:sp>
    </p:spTree>
    <p:extLst>
      <p:ext uri="{BB962C8B-B14F-4D97-AF65-F5344CB8AC3E}">
        <p14:creationId xmlns:p14="http://schemas.microsoft.com/office/powerpoint/2010/main" val="3451526291"/>
      </p:ext>
    </p:extLst>
  </p:cSld>
  <p:clrMapOvr>
    <a:masterClrMapping/>
  </p:clrMapOvr>
</p:notes>
</file>

<file path=ppt/notesSlides/notesSlide3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732</a:t>
            </a:fld>
            <a:endParaRPr lang="zh-CN" altLang="en-US"/>
          </a:p>
        </p:txBody>
      </p:sp>
    </p:spTree>
    <p:extLst>
      <p:ext uri="{BB962C8B-B14F-4D97-AF65-F5344CB8AC3E}">
        <p14:creationId xmlns:p14="http://schemas.microsoft.com/office/powerpoint/2010/main" val="2142570879"/>
      </p:ext>
    </p:extLst>
  </p:cSld>
  <p:clrMapOvr>
    <a:masterClrMapping/>
  </p:clrMapOvr>
</p:notes>
</file>

<file path=ppt/notesSlides/notesSlide3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733</a:t>
            </a:fld>
            <a:endParaRPr lang="zh-CN" altLang="en-US"/>
          </a:p>
        </p:txBody>
      </p:sp>
    </p:spTree>
    <p:extLst>
      <p:ext uri="{BB962C8B-B14F-4D97-AF65-F5344CB8AC3E}">
        <p14:creationId xmlns:p14="http://schemas.microsoft.com/office/powerpoint/2010/main" val="2209241297"/>
      </p:ext>
    </p:extLst>
  </p:cSld>
  <p:clrMapOvr>
    <a:masterClrMapping/>
  </p:clrMapOvr>
</p:notes>
</file>

<file path=ppt/notesSlides/notesSlide3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734</a:t>
            </a:fld>
            <a:endParaRPr lang="zh-CN" altLang="en-US"/>
          </a:p>
        </p:txBody>
      </p:sp>
    </p:spTree>
    <p:extLst>
      <p:ext uri="{BB962C8B-B14F-4D97-AF65-F5344CB8AC3E}">
        <p14:creationId xmlns:p14="http://schemas.microsoft.com/office/powerpoint/2010/main" val="2823299717"/>
      </p:ext>
    </p:extLst>
  </p:cSld>
  <p:clrMapOvr>
    <a:masterClrMapping/>
  </p:clrMapOvr>
</p:notes>
</file>

<file path=ppt/notesSlides/notesSlide3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735</a:t>
            </a:fld>
            <a:endParaRPr lang="zh-CN" altLang="en-US"/>
          </a:p>
        </p:txBody>
      </p:sp>
    </p:spTree>
    <p:extLst>
      <p:ext uri="{BB962C8B-B14F-4D97-AF65-F5344CB8AC3E}">
        <p14:creationId xmlns:p14="http://schemas.microsoft.com/office/powerpoint/2010/main" val="294529269"/>
      </p:ext>
    </p:extLst>
  </p:cSld>
  <p:clrMapOvr>
    <a:masterClrMapping/>
  </p:clrMapOvr>
</p:notes>
</file>

<file path=ppt/notesSlides/notesSlide3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736</a:t>
            </a:fld>
            <a:endParaRPr lang="zh-CN" altLang="en-US"/>
          </a:p>
        </p:txBody>
      </p:sp>
    </p:spTree>
    <p:extLst>
      <p:ext uri="{BB962C8B-B14F-4D97-AF65-F5344CB8AC3E}">
        <p14:creationId xmlns:p14="http://schemas.microsoft.com/office/powerpoint/2010/main" val="352242657"/>
      </p:ext>
    </p:extLst>
  </p:cSld>
  <p:clrMapOvr>
    <a:masterClrMapping/>
  </p:clrMapOvr>
</p:notes>
</file>

<file path=ppt/notesSlides/notesSlide3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737</a:t>
            </a:fld>
            <a:endParaRPr lang="zh-CN" altLang="en-US"/>
          </a:p>
        </p:txBody>
      </p:sp>
    </p:spTree>
    <p:extLst>
      <p:ext uri="{BB962C8B-B14F-4D97-AF65-F5344CB8AC3E}">
        <p14:creationId xmlns:p14="http://schemas.microsoft.com/office/powerpoint/2010/main" val="3434223111"/>
      </p:ext>
    </p:extLst>
  </p:cSld>
  <p:clrMapOvr>
    <a:masterClrMapping/>
  </p:clrMapOvr>
</p:notes>
</file>

<file path=ppt/notesSlides/notesSlide3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738</a:t>
            </a:fld>
            <a:endParaRPr lang="zh-CN" altLang="en-US"/>
          </a:p>
        </p:txBody>
      </p:sp>
    </p:spTree>
    <p:extLst>
      <p:ext uri="{BB962C8B-B14F-4D97-AF65-F5344CB8AC3E}">
        <p14:creationId xmlns:p14="http://schemas.microsoft.com/office/powerpoint/2010/main" val="2210707728"/>
      </p:ext>
    </p:extLst>
  </p:cSld>
  <p:clrMapOvr>
    <a:masterClrMapping/>
  </p:clrMapOvr>
</p:notes>
</file>

<file path=ppt/notesSlides/notesSlide3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739</a:t>
            </a:fld>
            <a:endParaRPr lang="zh-CN" altLang="en-US"/>
          </a:p>
        </p:txBody>
      </p:sp>
    </p:spTree>
    <p:extLst>
      <p:ext uri="{BB962C8B-B14F-4D97-AF65-F5344CB8AC3E}">
        <p14:creationId xmlns:p14="http://schemas.microsoft.com/office/powerpoint/2010/main" val="1245320636"/>
      </p:ext>
    </p:extLst>
  </p:cSld>
  <p:clrMapOvr>
    <a:masterClrMapping/>
  </p:clrMapOvr>
</p:notes>
</file>

<file path=ppt/notesSlides/notesSlide3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740</a:t>
            </a:fld>
            <a:endParaRPr lang="zh-CN" altLang="en-US"/>
          </a:p>
        </p:txBody>
      </p:sp>
    </p:spTree>
    <p:extLst>
      <p:ext uri="{BB962C8B-B14F-4D97-AF65-F5344CB8AC3E}">
        <p14:creationId xmlns:p14="http://schemas.microsoft.com/office/powerpoint/2010/main" val="2025845480"/>
      </p:ext>
    </p:extLst>
  </p:cSld>
  <p:clrMapOvr>
    <a:masterClrMapping/>
  </p:clrMapOvr>
</p:notes>
</file>

<file path=ppt/notesSlides/notesSlide3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741</a:t>
            </a:fld>
            <a:endParaRPr lang="zh-CN" altLang="en-US"/>
          </a:p>
        </p:txBody>
      </p:sp>
    </p:spTree>
    <p:extLst>
      <p:ext uri="{BB962C8B-B14F-4D97-AF65-F5344CB8AC3E}">
        <p14:creationId xmlns:p14="http://schemas.microsoft.com/office/powerpoint/2010/main" val="165980696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444</a:t>
            </a:fld>
            <a:endParaRPr lang="zh-CN" altLang="en-US"/>
          </a:p>
        </p:txBody>
      </p:sp>
    </p:spTree>
    <p:extLst>
      <p:ext uri="{BB962C8B-B14F-4D97-AF65-F5344CB8AC3E}">
        <p14:creationId xmlns:p14="http://schemas.microsoft.com/office/powerpoint/2010/main" val="3139173738"/>
      </p:ext>
    </p:extLst>
  </p:cSld>
  <p:clrMapOvr>
    <a:masterClrMapping/>
  </p:clrMapOvr>
</p:notes>
</file>

<file path=ppt/notesSlides/notesSlide3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742</a:t>
            </a:fld>
            <a:endParaRPr lang="zh-CN" altLang="en-US"/>
          </a:p>
        </p:txBody>
      </p:sp>
    </p:spTree>
    <p:extLst>
      <p:ext uri="{BB962C8B-B14F-4D97-AF65-F5344CB8AC3E}">
        <p14:creationId xmlns:p14="http://schemas.microsoft.com/office/powerpoint/2010/main" val="2394193358"/>
      </p:ext>
    </p:extLst>
  </p:cSld>
  <p:clrMapOvr>
    <a:masterClrMapping/>
  </p:clrMapOvr>
</p:notes>
</file>

<file path=ppt/notesSlides/notesSlide3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743</a:t>
            </a:fld>
            <a:endParaRPr lang="zh-CN" altLang="en-US"/>
          </a:p>
        </p:txBody>
      </p:sp>
    </p:spTree>
    <p:extLst>
      <p:ext uri="{BB962C8B-B14F-4D97-AF65-F5344CB8AC3E}">
        <p14:creationId xmlns:p14="http://schemas.microsoft.com/office/powerpoint/2010/main" val="718946027"/>
      </p:ext>
    </p:extLst>
  </p:cSld>
  <p:clrMapOvr>
    <a:masterClrMapping/>
  </p:clrMapOvr>
</p:notes>
</file>

<file path=ppt/notesSlides/notesSlide3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744</a:t>
            </a:fld>
            <a:endParaRPr lang="zh-CN" altLang="en-US"/>
          </a:p>
        </p:txBody>
      </p:sp>
    </p:spTree>
    <p:extLst>
      <p:ext uri="{BB962C8B-B14F-4D97-AF65-F5344CB8AC3E}">
        <p14:creationId xmlns:p14="http://schemas.microsoft.com/office/powerpoint/2010/main" val="1691486875"/>
      </p:ext>
    </p:extLst>
  </p:cSld>
  <p:clrMapOvr>
    <a:masterClrMapping/>
  </p:clrMapOvr>
</p:notes>
</file>

<file path=ppt/notesSlides/notesSlide3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745</a:t>
            </a:fld>
            <a:endParaRPr lang="zh-CN" altLang="en-US"/>
          </a:p>
        </p:txBody>
      </p:sp>
    </p:spTree>
    <p:extLst>
      <p:ext uri="{BB962C8B-B14F-4D97-AF65-F5344CB8AC3E}">
        <p14:creationId xmlns:p14="http://schemas.microsoft.com/office/powerpoint/2010/main" val="752291269"/>
      </p:ext>
    </p:extLst>
  </p:cSld>
  <p:clrMapOvr>
    <a:masterClrMapping/>
  </p:clrMapOvr>
</p:notes>
</file>

<file path=ppt/notesSlides/notesSlide3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746</a:t>
            </a:fld>
            <a:endParaRPr lang="zh-CN" altLang="en-US"/>
          </a:p>
        </p:txBody>
      </p:sp>
    </p:spTree>
    <p:extLst>
      <p:ext uri="{BB962C8B-B14F-4D97-AF65-F5344CB8AC3E}">
        <p14:creationId xmlns:p14="http://schemas.microsoft.com/office/powerpoint/2010/main" val="3582390867"/>
      </p:ext>
    </p:extLst>
  </p:cSld>
  <p:clrMapOvr>
    <a:masterClrMapping/>
  </p:clrMapOvr>
</p:notes>
</file>

<file path=ppt/notesSlides/notesSlide3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747</a:t>
            </a:fld>
            <a:endParaRPr lang="zh-CN" altLang="en-US"/>
          </a:p>
        </p:txBody>
      </p:sp>
    </p:spTree>
    <p:extLst>
      <p:ext uri="{BB962C8B-B14F-4D97-AF65-F5344CB8AC3E}">
        <p14:creationId xmlns:p14="http://schemas.microsoft.com/office/powerpoint/2010/main" val="2064692403"/>
      </p:ext>
    </p:extLst>
  </p:cSld>
  <p:clrMapOvr>
    <a:masterClrMapping/>
  </p:clrMapOvr>
</p:notes>
</file>

<file path=ppt/notesSlides/notesSlide3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748</a:t>
            </a:fld>
            <a:endParaRPr lang="zh-CN" altLang="en-US"/>
          </a:p>
        </p:txBody>
      </p:sp>
    </p:spTree>
    <p:extLst>
      <p:ext uri="{BB962C8B-B14F-4D97-AF65-F5344CB8AC3E}">
        <p14:creationId xmlns:p14="http://schemas.microsoft.com/office/powerpoint/2010/main" val="1015465051"/>
      </p:ext>
    </p:extLst>
  </p:cSld>
  <p:clrMapOvr>
    <a:masterClrMapping/>
  </p:clrMapOvr>
</p:notes>
</file>

<file path=ppt/notesSlides/notesSlide3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749</a:t>
            </a:fld>
            <a:endParaRPr lang="zh-CN" altLang="en-US"/>
          </a:p>
        </p:txBody>
      </p:sp>
    </p:spTree>
    <p:extLst>
      <p:ext uri="{BB962C8B-B14F-4D97-AF65-F5344CB8AC3E}">
        <p14:creationId xmlns:p14="http://schemas.microsoft.com/office/powerpoint/2010/main" val="2529681256"/>
      </p:ext>
    </p:extLst>
  </p:cSld>
  <p:clrMapOvr>
    <a:masterClrMapping/>
  </p:clrMapOvr>
</p:notes>
</file>

<file path=ppt/notesSlides/notesSlide3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750</a:t>
            </a:fld>
            <a:endParaRPr lang="zh-CN" altLang="en-US"/>
          </a:p>
        </p:txBody>
      </p:sp>
    </p:spTree>
    <p:extLst>
      <p:ext uri="{BB962C8B-B14F-4D97-AF65-F5344CB8AC3E}">
        <p14:creationId xmlns:p14="http://schemas.microsoft.com/office/powerpoint/2010/main" val="1812526980"/>
      </p:ext>
    </p:extLst>
  </p:cSld>
  <p:clrMapOvr>
    <a:masterClrMapping/>
  </p:clrMapOvr>
</p:notes>
</file>

<file path=ppt/notesSlides/notesSlide3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751</a:t>
            </a:fld>
            <a:endParaRPr lang="zh-CN" altLang="en-US"/>
          </a:p>
        </p:txBody>
      </p:sp>
    </p:spTree>
    <p:extLst>
      <p:ext uri="{BB962C8B-B14F-4D97-AF65-F5344CB8AC3E}">
        <p14:creationId xmlns:p14="http://schemas.microsoft.com/office/powerpoint/2010/main" val="147976260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445</a:t>
            </a:fld>
            <a:endParaRPr lang="zh-CN" altLang="en-US"/>
          </a:p>
        </p:txBody>
      </p:sp>
    </p:spTree>
    <p:extLst>
      <p:ext uri="{BB962C8B-B14F-4D97-AF65-F5344CB8AC3E}">
        <p14:creationId xmlns:p14="http://schemas.microsoft.com/office/powerpoint/2010/main" val="1234766468"/>
      </p:ext>
    </p:extLst>
  </p:cSld>
  <p:clrMapOvr>
    <a:masterClrMapping/>
  </p:clrMapOvr>
</p:notes>
</file>

<file path=ppt/notesSlides/notesSlide3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752</a:t>
            </a:fld>
            <a:endParaRPr lang="zh-CN" altLang="en-US"/>
          </a:p>
        </p:txBody>
      </p:sp>
    </p:spTree>
    <p:extLst>
      <p:ext uri="{BB962C8B-B14F-4D97-AF65-F5344CB8AC3E}">
        <p14:creationId xmlns:p14="http://schemas.microsoft.com/office/powerpoint/2010/main" val="3358871301"/>
      </p:ext>
    </p:extLst>
  </p:cSld>
  <p:clrMapOvr>
    <a:masterClrMapping/>
  </p:clrMapOvr>
</p:notes>
</file>

<file path=ppt/notesSlides/notesSlide3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753</a:t>
            </a:fld>
            <a:endParaRPr lang="zh-CN" altLang="en-US"/>
          </a:p>
        </p:txBody>
      </p:sp>
    </p:spTree>
    <p:extLst>
      <p:ext uri="{BB962C8B-B14F-4D97-AF65-F5344CB8AC3E}">
        <p14:creationId xmlns:p14="http://schemas.microsoft.com/office/powerpoint/2010/main" val="701494419"/>
      </p:ext>
    </p:extLst>
  </p:cSld>
  <p:clrMapOvr>
    <a:masterClrMapping/>
  </p:clrMapOvr>
</p:notes>
</file>

<file path=ppt/notesSlides/notesSlide3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754</a:t>
            </a:fld>
            <a:endParaRPr lang="zh-CN" altLang="en-US"/>
          </a:p>
        </p:txBody>
      </p:sp>
    </p:spTree>
    <p:extLst>
      <p:ext uri="{BB962C8B-B14F-4D97-AF65-F5344CB8AC3E}">
        <p14:creationId xmlns:p14="http://schemas.microsoft.com/office/powerpoint/2010/main" val="477803490"/>
      </p:ext>
    </p:extLst>
  </p:cSld>
  <p:clrMapOvr>
    <a:masterClrMapping/>
  </p:clrMapOvr>
</p:notes>
</file>

<file path=ppt/notesSlides/notesSlide3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755</a:t>
            </a:fld>
            <a:endParaRPr lang="zh-CN" altLang="en-US"/>
          </a:p>
        </p:txBody>
      </p:sp>
    </p:spTree>
    <p:extLst>
      <p:ext uri="{BB962C8B-B14F-4D97-AF65-F5344CB8AC3E}">
        <p14:creationId xmlns:p14="http://schemas.microsoft.com/office/powerpoint/2010/main" val="918936325"/>
      </p:ext>
    </p:extLst>
  </p:cSld>
  <p:clrMapOvr>
    <a:masterClrMapping/>
  </p:clrMapOvr>
</p:notes>
</file>

<file path=ppt/notesSlides/notesSlide3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756</a:t>
            </a:fld>
            <a:endParaRPr lang="zh-CN" altLang="en-US"/>
          </a:p>
        </p:txBody>
      </p:sp>
    </p:spTree>
    <p:extLst>
      <p:ext uri="{BB962C8B-B14F-4D97-AF65-F5344CB8AC3E}">
        <p14:creationId xmlns:p14="http://schemas.microsoft.com/office/powerpoint/2010/main" val="3274445782"/>
      </p:ext>
    </p:extLst>
  </p:cSld>
  <p:clrMapOvr>
    <a:masterClrMapping/>
  </p:clrMapOvr>
</p:notes>
</file>

<file path=ppt/notesSlides/notesSlide3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757</a:t>
            </a:fld>
            <a:endParaRPr lang="zh-CN" altLang="en-US"/>
          </a:p>
        </p:txBody>
      </p:sp>
    </p:spTree>
    <p:extLst>
      <p:ext uri="{BB962C8B-B14F-4D97-AF65-F5344CB8AC3E}">
        <p14:creationId xmlns:p14="http://schemas.microsoft.com/office/powerpoint/2010/main" val="2614966416"/>
      </p:ext>
    </p:extLst>
  </p:cSld>
  <p:clrMapOvr>
    <a:masterClrMapping/>
  </p:clrMapOvr>
</p:notes>
</file>

<file path=ppt/notesSlides/notesSlide3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758</a:t>
            </a:fld>
            <a:endParaRPr lang="zh-CN" altLang="en-US"/>
          </a:p>
        </p:txBody>
      </p:sp>
    </p:spTree>
    <p:extLst>
      <p:ext uri="{BB962C8B-B14F-4D97-AF65-F5344CB8AC3E}">
        <p14:creationId xmlns:p14="http://schemas.microsoft.com/office/powerpoint/2010/main" val="206998503"/>
      </p:ext>
    </p:extLst>
  </p:cSld>
  <p:clrMapOvr>
    <a:masterClrMapping/>
  </p:clrMapOvr>
</p:notes>
</file>

<file path=ppt/notesSlides/notesSlide3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759</a:t>
            </a:fld>
            <a:endParaRPr lang="zh-CN" altLang="en-US"/>
          </a:p>
        </p:txBody>
      </p:sp>
    </p:spTree>
    <p:extLst>
      <p:ext uri="{BB962C8B-B14F-4D97-AF65-F5344CB8AC3E}">
        <p14:creationId xmlns:p14="http://schemas.microsoft.com/office/powerpoint/2010/main" val="716952829"/>
      </p:ext>
    </p:extLst>
  </p:cSld>
  <p:clrMapOvr>
    <a:masterClrMapping/>
  </p:clrMapOvr>
</p:notes>
</file>

<file path=ppt/notesSlides/notesSlide3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760</a:t>
            </a:fld>
            <a:endParaRPr lang="zh-CN" altLang="en-US"/>
          </a:p>
        </p:txBody>
      </p:sp>
    </p:spTree>
    <p:extLst>
      <p:ext uri="{BB962C8B-B14F-4D97-AF65-F5344CB8AC3E}">
        <p14:creationId xmlns:p14="http://schemas.microsoft.com/office/powerpoint/2010/main" val="3154647997"/>
      </p:ext>
    </p:extLst>
  </p:cSld>
  <p:clrMapOvr>
    <a:masterClrMapping/>
  </p:clrMapOvr>
</p:notes>
</file>

<file path=ppt/notesSlides/notesSlide3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761</a:t>
            </a:fld>
            <a:endParaRPr lang="zh-CN" altLang="en-US"/>
          </a:p>
        </p:txBody>
      </p:sp>
    </p:spTree>
    <p:extLst>
      <p:ext uri="{BB962C8B-B14F-4D97-AF65-F5344CB8AC3E}">
        <p14:creationId xmlns:p14="http://schemas.microsoft.com/office/powerpoint/2010/main" val="284516014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E93E190-BE1B-4E5C-A415-953B7DD554E9}" type="slidenum">
              <a:rPr kumimoji="0" lang="zh-CN" altLang="en-US" sz="1200" b="0" i="0" u="none" strike="noStrike" kern="1200" cap="none" spc="0" normalizeH="0" baseline="0" noProof="0" smtClean="0">
                <a:ln>
                  <a:noFill/>
                </a:ln>
                <a:solidFill>
                  <a:prstClr val="black"/>
                </a:solidFill>
                <a:effectLst/>
                <a:uLnTx/>
                <a:uFillTx/>
                <a:latin typeface="等线" panose="020F0502020204030204"/>
                <a:ea typeface="等线" panose="02010600030101010101" pitchFamily="2" charset="-122"/>
                <a:cs typeface="+mn-cs"/>
              </a:rPr>
              <a:pPr marL="0" marR="0" lvl="0" indent="0" algn="r" defTabSz="914400" rtl="0" eaLnBrk="1" fontAlgn="auto" latinLnBrk="0" hangingPunct="1">
                <a:lnSpc>
                  <a:spcPct val="100000"/>
                </a:lnSpc>
                <a:spcBef>
                  <a:spcPts val="0"/>
                </a:spcBef>
                <a:spcAft>
                  <a:spcPts val="0"/>
                </a:spcAft>
                <a:buClrTx/>
                <a:buSzTx/>
                <a:buFontTx/>
                <a:buNone/>
                <a:tabLst/>
                <a:defRPr/>
              </a:pPr>
              <a:t>446</a:t>
            </a:fld>
            <a:endParaRPr kumimoji="0" lang="zh-CN" altLang="en-US" sz="1200" b="0" i="0" u="none" strike="noStrike" kern="1200" cap="none" spc="0" normalizeH="0" baseline="0" noProof="0">
              <a:ln>
                <a:noFill/>
              </a:ln>
              <a:solidFill>
                <a:prstClr val="black"/>
              </a:solidFill>
              <a:effectLst/>
              <a:uLnTx/>
              <a:uFillTx/>
              <a:latin typeface="等线" panose="020F0502020204030204"/>
              <a:ea typeface="等线" panose="02010600030101010101" pitchFamily="2" charset="-122"/>
              <a:cs typeface="+mn-cs"/>
            </a:endParaRPr>
          </a:p>
        </p:txBody>
      </p:sp>
    </p:spTree>
    <p:extLst>
      <p:ext uri="{BB962C8B-B14F-4D97-AF65-F5344CB8AC3E}">
        <p14:creationId xmlns:p14="http://schemas.microsoft.com/office/powerpoint/2010/main" val="3890178666"/>
      </p:ext>
    </p:extLst>
  </p:cSld>
  <p:clrMapOvr>
    <a:masterClrMapping/>
  </p:clrMapOvr>
</p:notes>
</file>

<file path=ppt/notesSlides/notesSlide3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762</a:t>
            </a:fld>
            <a:endParaRPr lang="zh-CN" altLang="en-US"/>
          </a:p>
        </p:txBody>
      </p:sp>
    </p:spTree>
    <p:extLst>
      <p:ext uri="{BB962C8B-B14F-4D97-AF65-F5344CB8AC3E}">
        <p14:creationId xmlns:p14="http://schemas.microsoft.com/office/powerpoint/2010/main" val="2599637020"/>
      </p:ext>
    </p:extLst>
  </p:cSld>
  <p:clrMapOvr>
    <a:masterClrMapping/>
  </p:clrMapOvr>
</p:notes>
</file>

<file path=ppt/notesSlides/notesSlide3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763</a:t>
            </a:fld>
            <a:endParaRPr lang="zh-CN" altLang="en-US"/>
          </a:p>
        </p:txBody>
      </p:sp>
    </p:spTree>
    <p:extLst>
      <p:ext uri="{BB962C8B-B14F-4D97-AF65-F5344CB8AC3E}">
        <p14:creationId xmlns:p14="http://schemas.microsoft.com/office/powerpoint/2010/main" val="558150641"/>
      </p:ext>
    </p:extLst>
  </p:cSld>
  <p:clrMapOvr>
    <a:masterClrMapping/>
  </p:clrMapOvr>
</p:notes>
</file>

<file path=ppt/notesSlides/notesSlide3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764</a:t>
            </a:fld>
            <a:endParaRPr lang="zh-CN" altLang="en-US"/>
          </a:p>
        </p:txBody>
      </p:sp>
    </p:spTree>
    <p:extLst>
      <p:ext uri="{BB962C8B-B14F-4D97-AF65-F5344CB8AC3E}">
        <p14:creationId xmlns:p14="http://schemas.microsoft.com/office/powerpoint/2010/main" val="254726087"/>
      </p:ext>
    </p:extLst>
  </p:cSld>
  <p:clrMapOvr>
    <a:masterClrMapping/>
  </p:clrMapOvr>
</p:notes>
</file>

<file path=ppt/notesSlides/notesSlide3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765</a:t>
            </a:fld>
            <a:endParaRPr lang="zh-CN" altLang="en-US"/>
          </a:p>
        </p:txBody>
      </p:sp>
    </p:spTree>
    <p:extLst>
      <p:ext uri="{BB962C8B-B14F-4D97-AF65-F5344CB8AC3E}">
        <p14:creationId xmlns:p14="http://schemas.microsoft.com/office/powerpoint/2010/main" val="3086698550"/>
      </p:ext>
    </p:extLst>
  </p:cSld>
  <p:clrMapOvr>
    <a:masterClrMapping/>
  </p:clrMapOvr>
</p:notes>
</file>

<file path=ppt/notesSlides/notesSlide3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766</a:t>
            </a:fld>
            <a:endParaRPr lang="zh-CN" altLang="en-US"/>
          </a:p>
        </p:txBody>
      </p:sp>
    </p:spTree>
    <p:extLst>
      <p:ext uri="{BB962C8B-B14F-4D97-AF65-F5344CB8AC3E}">
        <p14:creationId xmlns:p14="http://schemas.microsoft.com/office/powerpoint/2010/main" val="2623016785"/>
      </p:ext>
    </p:extLst>
  </p:cSld>
  <p:clrMapOvr>
    <a:masterClrMapping/>
  </p:clrMapOvr>
</p:notes>
</file>

<file path=ppt/notesSlides/notesSlide3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767</a:t>
            </a:fld>
            <a:endParaRPr lang="zh-CN" altLang="en-US"/>
          </a:p>
        </p:txBody>
      </p:sp>
    </p:spTree>
    <p:extLst>
      <p:ext uri="{BB962C8B-B14F-4D97-AF65-F5344CB8AC3E}">
        <p14:creationId xmlns:p14="http://schemas.microsoft.com/office/powerpoint/2010/main" val="2073420667"/>
      </p:ext>
    </p:extLst>
  </p:cSld>
  <p:clrMapOvr>
    <a:masterClrMapping/>
  </p:clrMapOvr>
</p:notes>
</file>

<file path=ppt/notesSlides/notesSlide3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768</a:t>
            </a:fld>
            <a:endParaRPr lang="zh-CN" altLang="en-US"/>
          </a:p>
        </p:txBody>
      </p:sp>
    </p:spTree>
    <p:extLst>
      <p:ext uri="{BB962C8B-B14F-4D97-AF65-F5344CB8AC3E}">
        <p14:creationId xmlns:p14="http://schemas.microsoft.com/office/powerpoint/2010/main" val="4039432617"/>
      </p:ext>
    </p:extLst>
  </p:cSld>
  <p:clrMapOvr>
    <a:masterClrMapping/>
  </p:clrMapOvr>
</p:notes>
</file>

<file path=ppt/notesSlides/notesSlide3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769</a:t>
            </a:fld>
            <a:endParaRPr lang="zh-CN" altLang="en-US"/>
          </a:p>
        </p:txBody>
      </p:sp>
    </p:spTree>
    <p:extLst>
      <p:ext uri="{BB962C8B-B14F-4D97-AF65-F5344CB8AC3E}">
        <p14:creationId xmlns:p14="http://schemas.microsoft.com/office/powerpoint/2010/main" val="3633018909"/>
      </p:ext>
    </p:extLst>
  </p:cSld>
  <p:clrMapOvr>
    <a:masterClrMapping/>
  </p:clrMapOvr>
</p:notes>
</file>

<file path=ppt/notesSlides/notesSlide3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770</a:t>
            </a:fld>
            <a:endParaRPr lang="zh-CN" altLang="en-US"/>
          </a:p>
        </p:txBody>
      </p:sp>
    </p:spTree>
    <p:extLst>
      <p:ext uri="{BB962C8B-B14F-4D97-AF65-F5344CB8AC3E}">
        <p14:creationId xmlns:p14="http://schemas.microsoft.com/office/powerpoint/2010/main" val="915731462"/>
      </p:ext>
    </p:extLst>
  </p:cSld>
  <p:clrMapOvr>
    <a:masterClrMapping/>
  </p:clrMapOvr>
</p:notes>
</file>

<file path=ppt/notesSlides/notesSlide3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771</a:t>
            </a:fld>
            <a:endParaRPr lang="zh-CN" altLang="en-US"/>
          </a:p>
        </p:txBody>
      </p:sp>
    </p:spTree>
    <p:extLst>
      <p:ext uri="{BB962C8B-B14F-4D97-AF65-F5344CB8AC3E}">
        <p14:creationId xmlns:p14="http://schemas.microsoft.com/office/powerpoint/2010/main" val="114537144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447</a:t>
            </a:fld>
            <a:endParaRPr lang="zh-CN" altLang="en-US"/>
          </a:p>
        </p:txBody>
      </p:sp>
    </p:spTree>
    <p:extLst>
      <p:ext uri="{BB962C8B-B14F-4D97-AF65-F5344CB8AC3E}">
        <p14:creationId xmlns:p14="http://schemas.microsoft.com/office/powerpoint/2010/main" val="1841864862"/>
      </p:ext>
    </p:extLst>
  </p:cSld>
  <p:clrMapOvr>
    <a:masterClrMapping/>
  </p:clrMapOvr>
</p:notes>
</file>

<file path=ppt/notesSlides/notesSlide3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772</a:t>
            </a:fld>
            <a:endParaRPr lang="zh-CN" altLang="en-US"/>
          </a:p>
        </p:txBody>
      </p:sp>
    </p:spTree>
    <p:extLst>
      <p:ext uri="{BB962C8B-B14F-4D97-AF65-F5344CB8AC3E}">
        <p14:creationId xmlns:p14="http://schemas.microsoft.com/office/powerpoint/2010/main" val="2884714966"/>
      </p:ext>
    </p:extLst>
  </p:cSld>
  <p:clrMapOvr>
    <a:masterClrMapping/>
  </p:clrMapOvr>
</p:notes>
</file>

<file path=ppt/notesSlides/notesSlide3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773</a:t>
            </a:fld>
            <a:endParaRPr lang="zh-CN" altLang="en-US"/>
          </a:p>
        </p:txBody>
      </p:sp>
    </p:spTree>
    <p:extLst>
      <p:ext uri="{BB962C8B-B14F-4D97-AF65-F5344CB8AC3E}">
        <p14:creationId xmlns:p14="http://schemas.microsoft.com/office/powerpoint/2010/main" val="3749430256"/>
      </p:ext>
    </p:extLst>
  </p:cSld>
  <p:clrMapOvr>
    <a:masterClrMapping/>
  </p:clrMapOvr>
</p:notes>
</file>

<file path=ppt/notesSlides/notesSlide3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774</a:t>
            </a:fld>
            <a:endParaRPr lang="zh-CN" altLang="en-US"/>
          </a:p>
        </p:txBody>
      </p:sp>
    </p:spTree>
    <p:extLst>
      <p:ext uri="{BB962C8B-B14F-4D97-AF65-F5344CB8AC3E}">
        <p14:creationId xmlns:p14="http://schemas.microsoft.com/office/powerpoint/2010/main" val="3067761999"/>
      </p:ext>
    </p:extLst>
  </p:cSld>
  <p:clrMapOvr>
    <a:masterClrMapping/>
  </p:clrMapOvr>
</p:notes>
</file>

<file path=ppt/notesSlides/notesSlide3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775</a:t>
            </a:fld>
            <a:endParaRPr lang="zh-CN" altLang="en-US"/>
          </a:p>
        </p:txBody>
      </p:sp>
    </p:spTree>
    <p:extLst>
      <p:ext uri="{BB962C8B-B14F-4D97-AF65-F5344CB8AC3E}">
        <p14:creationId xmlns:p14="http://schemas.microsoft.com/office/powerpoint/2010/main" val="3204678734"/>
      </p:ext>
    </p:extLst>
  </p:cSld>
  <p:clrMapOvr>
    <a:masterClrMapping/>
  </p:clrMapOvr>
</p:notes>
</file>

<file path=ppt/notesSlides/notesSlide3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776</a:t>
            </a:fld>
            <a:endParaRPr lang="zh-CN" altLang="en-US"/>
          </a:p>
        </p:txBody>
      </p:sp>
    </p:spTree>
    <p:extLst>
      <p:ext uri="{BB962C8B-B14F-4D97-AF65-F5344CB8AC3E}">
        <p14:creationId xmlns:p14="http://schemas.microsoft.com/office/powerpoint/2010/main" val="245924556"/>
      </p:ext>
    </p:extLst>
  </p:cSld>
  <p:clrMapOvr>
    <a:masterClrMapping/>
  </p:clrMapOvr>
</p:notes>
</file>

<file path=ppt/notesSlides/notesSlide3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777</a:t>
            </a:fld>
            <a:endParaRPr lang="zh-CN" altLang="en-US"/>
          </a:p>
        </p:txBody>
      </p:sp>
    </p:spTree>
    <p:extLst>
      <p:ext uri="{BB962C8B-B14F-4D97-AF65-F5344CB8AC3E}">
        <p14:creationId xmlns:p14="http://schemas.microsoft.com/office/powerpoint/2010/main" val="3366631995"/>
      </p:ext>
    </p:extLst>
  </p:cSld>
  <p:clrMapOvr>
    <a:masterClrMapping/>
  </p:clrMapOvr>
</p:notes>
</file>

<file path=ppt/notesSlides/notesSlide3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778</a:t>
            </a:fld>
            <a:endParaRPr lang="zh-CN" altLang="en-US"/>
          </a:p>
        </p:txBody>
      </p:sp>
    </p:spTree>
    <p:extLst>
      <p:ext uri="{BB962C8B-B14F-4D97-AF65-F5344CB8AC3E}">
        <p14:creationId xmlns:p14="http://schemas.microsoft.com/office/powerpoint/2010/main" val="2486698330"/>
      </p:ext>
    </p:extLst>
  </p:cSld>
  <p:clrMapOvr>
    <a:masterClrMapping/>
  </p:clrMapOvr>
</p:notes>
</file>

<file path=ppt/notesSlides/notesSlide3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779</a:t>
            </a:fld>
            <a:endParaRPr lang="zh-CN" altLang="en-US"/>
          </a:p>
        </p:txBody>
      </p:sp>
    </p:spTree>
    <p:extLst>
      <p:ext uri="{BB962C8B-B14F-4D97-AF65-F5344CB8AC3E}">
        <p14:creationId xmlns:p14="http://schemas.microsoft.com/office/powerpoint/2010/main" val="1450761624"/>
      </p:ext>
    </p:extLst>
  </p:cSld>
  <p:clrMapOvr>
    <a:masterClrMapping/>
  </p:clrMapOvr>
</p:notes>
</file>

<file path=ppt/notesSlides/notesSlide3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780</a:t>
            </a:fld>
            <a:endParaRPr lang="zh-CN" altLang="en-US"/>
          </a:p>
        </p:txBody>
      </p:sp>
    </p:spTree>
    <p:extLst>
      <p:ext uri="{BB962C8B-B14F-4D97-AF65-F5344CB8AC3E}">
        <p14:creationId xmlns:p14="http://schemas.microsoft.com/office/powerpoint/2010/main" val="3202819166"/>
      </p:ext>
    </p:extLst>
  </p:cSld>
  <p:clrMapOvr>
    <a:masterClrMapping/>
  </p:clrMapOvr>
</p:notes>
</file>

<file path=ppt/notesSlides/notesSlide3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781</a:t>
            </a:fld>
            <a:endParaRPr lang="zh-CN" altLang="en-US"/>
          </a:p>
        </p:txBody>
      </p:sp>
    </p:spTree>
    <p:extLst>
      <p:ext uri="{BB962C8B-B14F-4D97-AF65-F5344CB8AC3E}">
        <p14:creationId xmlns:p14="http://schemas.microsoft.com/office/powerpoint/2010/main" val="47078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448</a:t>
            </a:fld>
            <a:endParaRPr lang="zh-CN" altLang="en-US"/>
          </a:p>
        </p:txBody>
      </p:sp>
    </p:spTree>
    <p:extLst>
      <p:ext uri="{BB962C8B-B14F-4D97-AF65-F5344CB8AC3E}">
        <p14:creationId xmlns:p14="http://schemas.microsoft.com/office/powerpoint/2010/main" val="2474998775"/>
      </p:ext>
    </p:extLst>
  </p:cSld>
  <p:clrMapOvr>
    <a:masterClrMapping/>
  </p:clrMapOvr>
</p:notes>
</file>

<file path=ppt/notesSlides/notesSlide3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782</a:t>
            </a:fld>
            <a:endParaRPr lang="zh-CN" altLang="en-US"/>
          </a:p>
        </p:txBody>
      </p:sp>
    </p:spTree>
    <p:extLst>
      <p:ext uri="{BB962C8B-B14F-4D97-AF65-F5344CB8AC3E}">
        <p14:creationId xmlns:p14="http://schemas.microsoft.com/office/powerpoint/2010/main" val="2274616783"/>
      </p:ext>
    </p:extLst>
  </p:cSld>
  <p:clrMapOvr>
    <a:masterClrMapping/>
  </p:clrMapOvr>
</p:notes>
</file>

<file path=ppt/notesSlides/notesSlide3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783</a:t>
            </a:fld>
            <a:endParaRPr lang="zh-CN" altLang="en-US"/>
          </a:p>
        </p:txBody>
      </p:sp>
    </p:spTree>
    <p:extLst>
      <p:ext uri="{BB962C8B-B14F-4D97-AF65-F5344CB8AC3E}">
        <p14:creationId xmlns:p14="http://schemas.microsoft.com/office/powerpoint/2010/main" val="4193814281"/>
      </p:ext>
    </p:extLst>
  </p:cSld>
  <p:clrMapOvr>
    <a:masterClrMapping/>
  </p:clrMapOvr>
</p:notes>
</file>

<file path=ppt/notesSlides/notesSlide3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784</a:t>
            </a:fld>
            <a:endParaRPr lang="zh-CN" altLang="en-US"/>
          </a:p>
        </p:txBody>
      </p:sp>
    </p:spTree>
    <p:extLst>
      <p:ext uri="{BB962C8B-B14F-4D97-AF65-F5344CB8AC3E}">
        <p14:creationId xmlns:p14="http://schemas.microsoft.com/office/powerpoint/2010/main" val="2743275590"/>
      </p:ext>
    </p:extLst>
  </p:cSld>
  <p:clrMapOvr>
    <a:masterClrMapping/>
  </p:clrMapOvr>
</p:notes>
</file>

<file path=ppt/notesSlides/notesSlide3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785</a:t>
            </a:fld>
            <a:endParaRPr lang="zh-CN" altLang="en-US"/>
          </a:p>
        </p:txBody>
      </p:sp>
    </p:spTree>
    <p:extLst>
      <p:ext uri="{BB962C8B-B14F-4D97-AF65-F5344CB8AC3E}">
        <p14:creationId xmlns:p14="http://schemas.microsoft.com/office/powerpoint/2010/main" val="2587985515"/>
      </p:ext>
    </p:extLst>
  </p:cSld>
  <p:clrMapOvr>
    <a:masterClrMapping/>
  </p:clrMapOvr>
</p:notes>
</file>

<file path=ppt/notesSlides/notesSlide3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786</a:t>
            </a:fld>
            <a:endParaRPr lang="zh-CN" altLang="en-US"/>
          </a:p>
        </p:txBody>
      </p:sp>
    </p:spTree>
    <p:extLst>
      <p:ext uri="{BB962C8B-B14F-4D97-AF65-F5344CB8AC3E}">
        <p14:creationId xmlns:p14="http://schemas.microsoft.com/office/powerpoint/2010/main" val="526845563"/>
      </p:ext>
    </p:extLst>
  </p:cSld>
  <p:clrMapOvr>
    <a:masterClrMapping/>
  </p:clrMapOvr>
</p:notes>
</file>

<file path=ppt/notesSlides/notesSlide3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787</a:t>
            </a:fld>
            <a:endParaRPr lang="zh-CN" altLang="en-US"/>
          </a:p>
        </p:txBody>
      </p:sp>
    </p:spTree>
    <p:extLst>
      <p:ext uri="{BB962C8B-B14F-4D97-AF65-F5344CB8AC3E}">
        <p14:creationId xmlns:p14="http://schemas.microsoft.com/office/powerpoint/2010/main" val="3401167767"/>
      </p:ext>
    </p:extLst>
  </p:cSld>
  <p:clrMapOvr>
    <a:masterClrMapping/>
  </p:clrMapOvr>
</p:notes>
</file>

<file path=ppt/notesSlides/notesSlide3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788</a:t>
            </a:fld>
            <a:endParaRPr lang="zh-CN" altLang="en-US"/>
          </a:p>
        </p:txBody>
      </p:sp>
    </p:spTree>
    <p:extLst>
      <p:ext uri="{BB962C8B-B14F-4D97-AF65-F5344CB8AC3E}">
        <p14:creationId xmlns:p14="http://schemas.microsoft.com/office/powerpoint/2010/main" val="673816599"/>
      </p:ext>
    </p:extLst>
  </p:cSld>
  <p:clrMapOvr>
    <a:masterClrMapping/>
  </p:clrMapOvr>
</p:notes>
</file>

<file path=ppt/notesSlides/notesSlide3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789</a:t>
            </a:fld>
            <a:endParaRPr lang="zh-CN" altLang="en-US"/>
          </a:p>
        </p:txBody>
      </p:sp>
    </p:spTree>
    <p:extLst>
      <p:ext uri="{BB962C8B-B14F-4D97-AF65-F5344CB8AC3E}">
        <p14:creationId xmlns:p14="http://schemas.microsoft.com/office/powerpoint/2010/main" val="1069969329"/>
      </p:ext>
    </p:extLst>
  </p:cSld>
  <p:clrMapOvr>
    <a:masterClrMapping/>
  </p:clrMapOvr>
</p:notes>
</file>

<file path=ppt/notesSlides/notesSlide3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790</a:t>
            </a:fld>
            <a:endParaRPr lang="zh-CN" altLang="en-US"/>
          </a:p>
        </p:txBody>
      </p:sp>
    </p:spTree>
    <p:extLst>
      <p:ext uri="{BB962C8B-B14F-4D97-AF65-F5344CB8AC3E}">
        <p14:creationId xmlns:p14="http://schemas.microsoft.com/office/powerpoint/2010/main" val="154806759"/>
      </p:ext>
    </p:extLst>
  </p:cSld>
  <p:clrMapOvr>
    <a:masterClrMapping/>
  </p:clrMapOvr>
</p:notes>
</file>

<file path=ppt/notesSlides/notesSlide3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791</a:t>
            </a:fld>
            <a:endParaRPr lang="zh-CN" altLang="en-US"/>
          </a:p>
        </p:txBody>
      </p:sp>
    </p:spTree>
    <p:extLst>
      <p:ext uri="{BB962C8B-B14F-4D97-AF65-F5344CB8AC3E}">
        <p14:creationId xmlns:p14="http://schemas.microsoft.com/office/powerpoint/2010/main" val="1981682249"/>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449</a:t>
            </a:fld>
            <a:endParaRPr lang="zh-CN" altLang="en-US"/>
          </a:p>
        </p:txBody>
      </p:sp>
    </p:spTree>
    <p:extLst>
      <p:ext uri="{BB962C8B-B14F-4D97-AF65-F5344CB8AC3E}">
        <p14:creationId xmlns:p14="http://schemas.microsoft.com/office/powerpoint/2010/main" val="790026966"/>
      </p:ext>
    </p:extLst>
  </p:cSld>
  <p:clrMapOvr>
    <a:masterClrMapping/>
  </p:clrMapOvr>
</p:notes>
</file>

<file path=ppt/notesSlides/notesSlide3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792</a:t>
            </a:fld>
            <a:endParaRPr lang="zh-CN" altLang="en-US"/>
          </a:p>
        </p:txBody>
      </p:sp>
    </p:spTree>
    <p:extLst>
      <p:ext uri="{BB962C8B-B14F-4D97-AF65-F5344CB8AC3E}">
        <p14:creationId xmlns:p14="http://schemas.microsoft.com/office/powerpoint/2010/main" val="1568200582"/>
      </p:ext>
    </p:extLst>
  </p:cSld>
  <p:clrMapOvr>
    <a:masterClrMapping/>
  </p:clrMapOvr>
</p:notes>
</file>

<file path=ppt/notesSlides/notesSlide3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793</a:t>
            </a:fld>
            <a:endParaRPr lang="zh-CN" altLang="en-US"/>
          </a:p>
        </p:txBody>
      </p:sp>
    </p:spTree>
    <p:extLst>
      <p:ext uri="{BB962C8B-B14F-4D97-AF65-F5344CB8AC3E}">
        <p14:creationId xmlns:p14="http://schemas.microsoft.com/office/powerpoint/2010/main" val="3644608235"/>
      </p:ext>
    </p:extLst>
  </p:cSld>
  <p:clrMapOvr>
    <a:masterClrMapping/>
  </p:clrMapOvr>
</p:notes>
</file>

<file path=ppt/notesSlides/notesSlide3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794</a:t>
            </a:fld>
            <a:endParaRPr lang="zh-CN" altLang="en-US"/>
          </a:p>
        </p:txBody>
      </p:sp>
    </p:spTree>
    <p:extLst>
      <p:ext uri="{BB962C8B-B14F-4D97-AF65-F5344CB8AC3E}">
        <p14:creationId xmlns:p14="http://schemas.microsoft.com/office/powerpoint/2010/main" val="1727422713"/>
      </p:ext>
    </p:extLst>
  </p:cSld>
  <p:clrMapOvr>
    <a:masterClrMapping/>
  </p:clrMapOvr>
</p:notes>
</file>

<file path=ppt/notesSlides/notesSlide3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795</a:t>
            </a:fld>
            <a:endParaRPr lang="zh-CN" altLang="en-US"/>
          </a:p>
        </p:txBody>
      </p:sp>
    </p:spTree>
    <p:extLst>
      <p:ext uri="{BB962C8B-B14F-4D97-AF65-F5344CB8AC3E}">
        <p14:creationId xmlns:p14="http://schemas.microsoft.com/office/powerpoint/2010/main" val="1014556564"/>
      </p:ext>
    </p:extLst>
  </p:cSld>
  <p:clrMapOvr>
    <a:masterClrMapping/>
  </p:clrMapOvr>
</p:notes>
</file>

<file path=ppt/notesSlides/notesSlide3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796</a:t>
            </a:fld>
            <a:endParaRPr lang="zh-CN" altLang="en-US"/>
          </a:p>
        </p:txBody>
      </p:sp>
    </p:spTree>
    <p:extLst>
      <p:ext uri="{BB962C8B-B14F-4D97-AF65-F5344CB8AC3E}">
        <p14:creationId xmlns:p14="http://schemas.microsoft.com/office/powerpoint/2010/main" val="1312164549"/>
      </p:ext>
    </p:extLst>
  </p:cSld>
  <p:clrMapOvr>
    <a:masterClrMapping/>
  </p:clrMapOvr>
</p:notes>
</file>

<file path=ppt/notesSlides/notesSlide3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797</a:t>
            </a:fld>
            <a:endParaRPr lang="zh-CN" altLang="en-US"/>
          </a:p>
        </p:txBody>
      </p:sp>
    </p:spTree>
    <p:extLst>
      <p:ext uri="{BB962C8B-B14F-4D97-AF65-F5344CB8AC3E}">
        <p14:creationId xmlns:p14="http://schemas.microsoft.com/office/powerpoint/2010/main" val="1215332057"/>
      </p:ext>
    </p:extLst>
  </p:cSld>
  <p:clrMapOvr>
    <a:masterClrMapping/>
  </p:clrMapOvr>
</p:notes>
</file>

<file path=ppt/notesSlides/notesSlide3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798</a:t>
            </a:fld>
            <a:endParaRPr lang="zh-CN" altLang="en-US"/>
          </a:p>
        </p:txBody>
      </p:sp>
    </p:spTree>
    <p:extLst>
      <p:ext uri="{BB962C8B-B14F-4D97-AF65-F5344CB8AC3E}">
        <p14:creationId xmlns:p14="http://schemas.microsoft.com/office/powerpoint/2010/main" val="1212087801"/>
      </p:ext>
    </p:extLst>
  </p:cSld>
  <p:clrMapOvr>
    <a:masterClrMapping/>
  </p:clrMapOvr>
</p:notes>
</file>

<file path=ppt/notesSlides/notesSlide3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799</a:t>
            </a:fld>
            <a:endParaRPr lang="zh-CN" altLang="en-US"/>
          </a:p>
        </p:txBody>
      </p:sp>
    </p:spTree>
    <p:extLst>
      <p:ext uri="{BB962C8B-B14F-4D97-AF65-F5344CB8AC3E}">
        <p14:creationId xmlns:p14="http://schemas.microsoft.com/office/powerpoint/2010/main" val="2449765971"/>
      </p:ext>
    </p:extLst>
  </p:cSld>
  <p:clrMapOvr>
    <a:masterClrMapping/>
  </p:clrMapOvr>
</p:notes>
</file>

<file path=ppt/notesSlides/notesSlide3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800</a:t>
            </a:fld>
            <a:endParaRPr lang="zh-CN" altLang="en-US"/>
          </a:p>
        </p:txBody>
      </p:sp>
    </p:spTree>
    <p:extLst>
      <p:ext uri="{BB962C8B-B14F-4D97-AF65-F5344CB8AC3E}">
        <p14:creationId xmlns:p14="http://schemas.microsoft.com/office/powerpoint/2010/main" val="2701881476"/>
      </p:ext>
    </p:extLst>
  </p:cSld>
  <p:clrMapOvr>
    <a:masterClrMapping/>
  </p:clrMapOvr>
</p:notes>
</file>

<file path=ppt/notesSlides/notesSlide3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801</a:t>
            </a:fld>
            <a:endParaRPr lang="zh-CN" altLang="en-US"/>
          </a:p>
        </p:txBody>
      </p:sp>
    </p:spTree>
    <p:extLst>
      <p:ext uri="{BB962C8B-B14F-4D97-AF65-F5344CB8AC3E}">
        <p14:creationId xmlns:p14="http://schemas.microsoft.com/office/powerpoint/2010/main" val="3383918957"/>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E93E190-BE1B-4E5C-A415-953B7DD554E9}" type="slidenum">
              <a:rPr kumimoji="0" lang="zh-CN" altLang="en-US" sz="1200" b="0" i="0" u="none" strike="noStrike" kern="1200" cap="none" spc="0" normalizeH="0" baseline="0" noProof="0" smtClean="0">
                <a:ln>
                  <a:noFill/>
                </a:ln>
                <a:solidFill>
                  <a:prstClr val="black"/>
                </a:solidFill>
                <a:effectLst/>
                <a:uLnTx/>
                <a:uFillTx/>
                <a:latin typeface="等线" panose="020F0502020204030204"/>
                <a:ea typeface="等线" panose="02010600030101010101" pitchFamily="2" charset="-122"/>
                <a:cs typeface="+mn-cs"/>
              </a:rPr>
              <a:pPr marL="0" marR="0" lvl="0" indent="0" algn="r" defTabSz="914400" rtl="0" eaLnBrk="1" fontAlgn="auto" latinLnBrk="0" hangingPunct="1">
                <a:lnSpc>
                  <a:spcPct val="100000"/>
                </a:lnSpc>
                <a:spcBef>
                  <a:spcPts val="0"/>
                </a:spcBef>
                <a:spcAft>
                  <a:spcPts val="0"/>
                </a:spcAft>
                <a:buClrTx/>
                <a:buSzTx/>
                <a:buFontTx/>
                <a:buNone/>
                <a:tabLst/>
                <a:defRPr/>
              </a:pPr>
              <a:t>450</a:t>
            </a:fld>
            <a:endParaRPr kumimoji="0" lang="zh-CN" altLang="en-US" sz="1200" b="0" i="0" u="none" strike="noStrike" kern="1200" cap="none" spc="0" normalizeH="0" baseline="0" noProof="0">
              <a:ln>
                <a:noFill/>
              </a:ln>
              <a:solidFill>
                <a:prstClr val="black"/>
              </a:solidFill>
              <a:effectLst/>
              <a:uLnTx/>
              <a:uFillTx/>
              <a:latin typeface="等线" panose="020F0502020204030204"/>
              <a:ea typeface="等线" panose="02010600030101010101" pitchFamily="2" charset="-122"/>
              <a:cs typeface="+mn-cs"/>
            </a:endParaRPr>
          </a:p>
        </p:txBody>
      </p:sp>
    </p:spTree>
    <p:extLst>
      <p:ext uri="{BB962C8B-B14F-4D97-AF65-F5344CB8AC3E}">
        <p14:creationId xmlns:p14="http://schemas.microsoft.com/office/powerpoint/2010/main" val="2980665044"/>
      </p:ext>
    </p:extLst>
  </p:cSld>
  <p:clrMapOvr>
    <a:masterClrMapping/>
  </p:clrMapOvr>
</p:notes>
</file>

<file path=ppt/notesSlides/notesSlide3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802</a:t>
            </a:fld>
            <a:endParaRPr lang="zh-CN" altLang="en-US"/>
          </a:p>
        </p:txBody>
      </p:sp>
    </p:spTree>
    <p:extLst>
      <p:ext uri="{BB962C8B-B14F-4D97-AF65-F5344CB8AC3E}">
        <p14:creationId xmlns:p14="http://schemas.microsoft.com/office/powerpoint/2010/main" val="1620628715"/>
      </p:ext>
    </p:extLst>
  </p:cSld>
  <p:clrMapOvr>
    <a:masterClrMapping/>
  </p:clrMapOvr>
</p:notes>
</file>

<file path=ppt/notesSlides/notesSlide3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803</a:t>
            </a:fld>
            <a:endParaRPr lang="zh-CN" altLang="en-US"/>
          </a:p>
        </p:txBody>
      </p:sp>
    </p:spTree>
    <p:extLst>
      <p:ext uri="{BB962C8B-B14F-4D97-AF65-F5344CB8AC3E}">
        <p14:creationId xmlns:p14="http://schemas.microsoft.com/office/powerpoint/2010/main" val="3547507768"/>
      </p:ext>
    </p:extLst>
  </p:cSld>
  <p:clrMapOvr>
    <a:masterClrMapping/>
  </p:clrMapOvr>
</p:notes>
</file>

<file path=ppt/notesSlides/notesSlide3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804</a:t>
            </a:fld>
            <a:endParaRPr lang="zh-CN" altLang="en-US"/>
          </a:p>
        </p:txBody>
      </p:sp>
    </p:spTree>
    <p:extLst>
      <p:ext uri="{BB962C8B-B14F-4D97-AF65-F5344CB8AC3E}">
        <p14:creationId xmlns:p14="http://schemas.microsoft.com/office/powerpoint/2010/main" val="2626147801"/>
      </p:ext>
    </p:extLst>
  </p:cSld>
  <p:clrMapOvr>
    <a:masterClrMapping/>
  </p:clrMapOvr>
</p:notes>
</file>

<file path=ppt/notesSlides/notesSlide3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805</a:t>
            </a:fld>
            <a:endParaRPr lang="zh-CN" altLang="en-US"/>
          </a:p>
        </p:txBody>
      </p:sp>
    </p:spTree>
    <p:extLst>
      <p:ext uri="{BB962C8B-B14F-4D97-AF65-F5344CB8AC3E}">
        <p14:creationId xmlns:p14="http://schemas.microsoft.com/office/powerpoint/2010/main" val="2970241764"/>
      </p:ext>
    </p:extLst>
  </p:cSld>
  <p:clrMapOvr>
    <a:masterClrMapping/>
  </p:clrMapOvr>
</p:notes>
</file>

<file path=ppt/notesSlides/notesSlide3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806</a:t>
            </a:fld>
            <a:endParaRPr lang="zh-CN" altLang="en-US"/>
          </a:p>
        </p:txBody>
      </p:sp>
    </p:spTree>
    <p:extLst>
      <p:ext uri="{BB962C8B-B14F-4D97-AF65-F5344CB8AC3E}">
        <p14:creationId xmlns:p14="http://schemas.microsoft.com/office/powerpoint/2010/main" val="3587919403"/>
      </p:ext>
    </p:extLst>
  </p:cSld>
  <p:clrMapOvr>
    <a:masterClrMapping/>
  </p:clrMapOvr>
</p:notes>
</file>

<file path=ppt/notesSlides/notesSlide3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807</a:t>
            </a:fld>
            <a:endParaRPr lang="zh-CN" altLang="en-US"/>
          </a:p>
        </p:txBody>
      </p:sp>
    </p:spTree>
    <p:extLst>
      <p:ext uri="{BB962C8B-B14F-4D97-AF65-F5344CB8AC3E}">
        <p14:creationId xmlns:p14="http://schemas.microsoft.com/office/powerpoint/2010/main" val="1546334468"/>
      </p:ext>
    </p:extLst>
  </p:cSld>
  <p:clrMapOvr>
    <a:masterClrMapping/>
  </p:clrMapOvr>
</p:notes>
</file>

<file path=ppt/notesSlides/notesSlide3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808</a:t>
            </a:fld>
            <a:endParaRPr lang="zh-CN" altLang="en-US"/>
          </a:p>
        </p:txBody>
      </p:sp>
    </p:spTree>
    <p:extLst>
      <p:ext uri="{BB962C8B-B14F-4D97-AF65-F5344CB8AC3E}">
        <p14:creationId xmlns:p14="http://schemas.microsoft.com/office/powerpoint/2010/main" val="2726077065"/>
      </p:ext>
    </p:extLst>
  </p:cSld>
  <p:clrMapOvr>
    <a:masterClrMapping/>
  </p:clrMapOvr>
</p:notes>
</file>

<file path=ppt/notesSlides/notesSlide3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809</a:t>
            </a:fld>
            <a:endParaRPr lang="zh-CN" altLang="en-US"/>
          </a:p>
        </p:txBody>
      </p:sp>
    </p:spTree>
    <p:extLst>
      <p:ext uri="{BB962C8B-B14F-4D97-AF65-F5344CB8AC3E}">
        <p14:creationId xmlns:p14="http://schemas.microsoft.com/office/powerpoint/2010/main" val="4038585275"/>
      </p:ext>
    </p:extLst>
  </p:cSld>
  <p:clrMapOvr>
    <a:masterClrMapping/>
  </p:clrMapOvr>
</p:notes>
</file>

<file path=ppt/notesSlides/notesSlide3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810</a:t>
            </a:fld>
            <a:endParaRPr lang="zh-CN" altLang="en-US"/>
          </a:p>
        </p:txBody>
      </p:sp>
    </p:spTree>
    <p:extLst>
      <p:ext uri="{BB962C8B-B14F-4D97-AF65-F5344CB8AC3E}">
        <p14:creationId xmlns:p14="http://schemas.microsoft.com/office/powerpoint/2010/main" val="4099598906"/>
      </p:ext>
    </p:extLst>
  </p:cSld>
  <p:clrMapOvr>
    <a:masterClrMapping/>
  </p:clrMapOvr>
</p:notes>
</file>

<file path=ppt/notesSlides/notesSlide3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811</a:t>
            </a:fld>
            <a:endParaRPr lang="zh-CN" altLang="en-US"/>
          </a:p>
        </p:txBody>
      </p:sp>
    </p:spTree>
    <p:extLst>
      <p:ext uri="{BB962C8B-B14F-4D97-AF65-F5344CB8AC3E}">
        <p14:creationId xmlns:p14="http://schemas.microsoft.com/office/powerpoint/2010/main" val="326754014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E93E190-BE1B-4E5C-A415-953B7DD554E9}" type="slidenum">
              <a:rPr kumimoji="0" lang="zh-CN" altLang="en-US" sz="1200" b="0" i="0" u="none" strike="noStrike" kern="1200" cap="none" spc="0" normalizeH="0" baseline="0" noProof="0" smtClean="0">
                <a:ln>
                  <a:noFill/>
                </a:ln>
                <a:solidFill>
                  <a:prstClr val="black"/>
                </a:solidFill>
                <a:effectLst/>
                <a:uLnTx/>
                <a:uFillTx/>
                <a:latin typeface="等线" panose="020F0502020204030204"/>
                <a:ea typeface="等线" panose="02010600030101010101" pitchFamily="2" charset="-122"/>
                <a:cs typeface="+mn-cs"/>
              </a:rPr>
              <a:pPr marL="0" marR="0" lvl="0" indent="0" algn="r" defTabSz="914400" rtl="0" eaLnBrk="1" fontAlgn="auto" latinLnBrk="0" hangingPunct="1">
                <a:lnSpc>
                  <a:spcPct val="100000"/>
                </a:lnSpc>
                <a:spcBef>
                  <a:spcPts val="0"/>
                </a:spcBef>
                <a:spcAft>
                  <a:spcPts val="0"/>
                </a:spcAft>
                <a:buClrTx/>
                <a:buSzTx/>
                <a:buFontTx/>
                <a:buNone/>
                <a:tabLst/>
                <a:defRPr/>
              </a:pPr>
              <a:t>415</a:t>
            </a:fld>
            <a:endParaRPr kumimoji="0" lang="zh-CN" altLang="en-US" sz="1200" b="0" i="0" u="none" strike="noStrike" kern="1200" cap="none" spc="0" normalizeH="0" baseline="0" noProof="0">
              <a:ln>
                <a:noFill/>
              </a:ln>
              <a:solidFill>
                <a:prstClr val="black"/>
              </a:solidFill>
              <a:effectLst/>
              <a:uLnTx/>
              <a:uFillTx/>
              <a:latin typeface="等线" panose="020F0502020204030204"/>
              <a:ea typeface="等线" panose="02010600030101010101" pitchFamily="2" charset="-122"/>
              <a:cs typeface="+mn-cs"/>
            </a:endParaRPr>
          </a:p>
        </p:txBody>
      </p:sp>
    </p:spTree>
    <p:extLst>
      <p:ext uri="{BB962C8B-B14F-4D97-AF65-F5344CB8AC3E}">
        <p14:creationId xmlns:p14="http://schemas.microsoft.com/office/powerpoint/2010/main" val="65709237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451</a:t>
            </a:fld>
            <a:endParaRPr lang="zh-CN" altLang="en-US"/>
          </a:p>
        </p:txBody>
      </p:sp>
    </p:spTree>
    <p:extLst>
      <p:ext uri="{BB962C8B-B14F-4D97-AF65-F5344CB8AC3E}">
        <p14:creationId xmlns:p14="http://schemas.microsoft.com/office/powerpoint/2010/main" val="2917879016"/>
      </p:ext>
    </p:extLst>
  </p:cSld>
  <p:clrMapOvr>
    <a:masterClrMapping/>
  </p:clrMapOvr>
</p:notes>
</file>

<file path=ppt/notesSlides/notesSlide4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812</a:t>
            </a:fld>
            <a:endParaRPr lang="zh-CN" altLang="en-US"/>
          </a:p>
        </p:txBody>
      </p:sp>
    </p:spTree>
    <p:extLst>
      <p:ext uri="{BB962C8B-B14F-4D97-AF65-F5344CB8AC3E}">
        <p14:creationId xmlns:p14="http://schemas.microsoft.com/office/powerpoint/2010/main" val="2615773087"/>
      </p:ext>
    </p:extLst>
  </p:cSld>
  <p:clrMapOvr>
    <a:masterClrMapping/>
  </p:clrMapOvr>
</p:notes>
</file>

<file path=ppt/notesSlides/notesSlide4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813</a:t>
            </a:fld>
            <a:endParaRPr lang="zh-CN" altLang="en-US"/>
          </a:p>
        </p:txBody>
      </p:sp>
    </p:spTree>
    <p:extLst>
      <p:ext uri="{BB962C8B-B14F-4D97-AF65-F5344CB8AC3E}">
        <p14:creationId xmlns:p14="http://schemas.microsoft.com/office/powerpoint/2010/main" val="493511314"/>
      </p:ext>
    </p:extLst>
  </p:cSld>
  <p:clrMapOvr>
    <a:masterClrMapping/>
  </p:clrMapOvr>
</p:notes>
</file>

<file path=ppt/notesSlides/notesSlide4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814</a:t>
            </a:fld>
            <a:endParaRPr lang="zh-CN" altLang="en-US"/>
          </a:p>
        </p:txBody>
      </p:sp>
    </p:spTree>
    <p:extLst>
      <p:ext uri="{BB962C8B-B14F-4D97-AF65-F5344CB8AC3E}">
        <p14:creationId xmlns:p14="http://schemas.microsoft.com/office/powerpoint/2010/main" val="3943968661"/>
      </p:ext>
    </p:extLst>
  </p:cSld>
  <p:clrMapOvr>
    <a:masterClrMapping/>
  </p:clrMapOvr>
</p:notes>
</file>

<file path=ppt/notesSlides/notesSlide4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815</a:t>
            </a:fld>
            <a:endParaRPr lang="zh-CN" altLang="en-US"/>
          </a:p>
        </p:txBody>
      </p:sp>
    </p:spTree>
    <p:extLst>
      <p:ext uri="{BB962C8B-B14F-4D97-AF65-F5344CB8AC3E}">
        <p14:creationId xmlns:p14="http://schemas.microsoft.com/office/powerpoint/2010/main" val="3102963667"/>
      </p:ext>
    </p:extLst>
  </p:cSld>
  <p:clrMapOvr>
    <a:masterClrMapping/>
  </p:clrMapOvr>
</p:notes>
</file>

<file path=ppt/notesSlides/notesSlide4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816</a:t>
            </a:fld>
            <a:endParaRPr lang="zh-CN" altLang="en-US"/>
          </a:p>
        </p:txBody>
      </p:sp>
    </p:spTree>
    <p:extLst>
      <p:ext uri="{BB962C8B-B14F-4D97-AF65-F5344CB8AC3E}">
        <p14:creationId xmlns:p14="http://schemas.microsoft.com/office/powerpoint/2010/main" val="244050482"/>
      </p:ext>
    </p:extLst>
  </p:cSld>
  <p:clrMapOvr>
    <a:masterClrMapping/>
  </p:clrMapOvr>
</p:notes>
</file>

<file path=ppt/notesSlides/notesSlide4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817</a:t>
            </a:fld>
            <a:endParaRPr lang="zh-CN" altLang="en-US"/>
          </a:p>
        </p:txBody>
      </p:sp>
    </p:spTree>
    <p:extLst>
      <p:ext uri="{BB962C8B-B14F-4D97-AF65-F5344CB8AC3E}">
        <p14:creationId xmlns:p14="http://schemas.microsoft.com/office/powerpoint/2010/main" val="202313648"/>
      </p:ext>
    </p:extLst>
  </p:cSld>
  <p:clrMapOvr>
    <a:masterClrMapping/>
  </p:clrMapOvr>
</p:notes>
</file>

<file path=ppt/notesSlides/notesSlide4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818</a:t>
            </a:fld>
            <a:endParaRPr lang="zh-CN" altLang="en-US"/>
          </a:p>
        </p:txBody>
      </p:sp>
    </p:spTree>
    <p:extLst>
      <p:ext uri="{BB962C8B-B14F-4D97-AF65-F5344CB8AC3E}">
        <p14:creationId xmlns:p14="http://schemas.microsoft.com/office/powerpoint/2010/main" val="3229114174"/>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452</a:t>
            </a:fld>
            <a:endParaRPr lang="zh-CN" altLang="en-US"/>
          </a:p>
        </p:txBody>
      </p:sp>
    </p:spTree>
    <p:extLst>
      <p:ext uri="{BB962C8B-B14F-4D97-AF65-F5344CB8AC3E}">
        <p14:creationId xmlns:p14="http://schemas.microsoft.com/office/powerpoint/2010/main" val="2407854164"/>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E93E190-BE1B-4E5C-A415-953B7DD554E9}" type="slidenum">
              <a:rPr kumimoji="0" lang="zh-CN" altLang="en-US" sz="1200" b="0" i="0" u="none" strike="noStrike" kern="1200" cap="none" spc="0" normalizeH="0" baseline="0" noProof="0" smtClean="0">
                <a:ln>
                  <a:noFill/>
                </a:ln>
                <a:solidFill>
                  <a:prstClr val="black"/>
                </a:solidFill>
                <a:effectLst/>
                <a:uLnTx/>
                <a:uFillTx/>
                <a:latin typeface="等线" panose="020F0502020204030204"/>
                <a:ea typeface="等线" panose="02010600030101010101" pitchFamily="2" charset="-122"/>
                <a:cs typeface="+mn-cs"/>
              </a:rPr>
              <a:pPr marL="0" marR="0" lvl="0" indent="0" algn="r" defTabSz="914400" rtl="0" eaLnBrk="1" fontAlgn="auto" latinLnBrk="0" hangingPunct="1">
                <a:lnSpc>
                  <a:spcPct val="100000"/>
                </a:lnSpc>
                <a:spcBef>
                  <a:spcPts val="0"/>
                </a:spcBef>
                <a:spcAft>
                  <a:spcPts val="0"/>
                </a:spcAft>
                <a:buClrTx/>
                <a:buSzTx/>
                <a:buFontTx/>
                <a:buNone/>
                <a:tabLst/>
                <a:defRPr/>
              </a:pPr>
              <a:t>453</a:t>
            </a:fld>
            <a:endParaRPr kumimoji="0" lang="zh-CN" altLang="en-US" sz="1200" b="0" i="0" u="none" strike="noStrike" kern="1200" cap="none" spc="0" normalizeH="0" baseline="0" noProof="0">
              <a:ln>
                <a:noFill/>
              </a:ln>
              <a:solidFill>
                <a:prstClr val="black"/>
              </a:solidFill>
              <a:effectLst/>
              <a:uLnTx/>
              <a:uFillTx/>
              <a:latin typeface="等线" panose="020F0502020204030204"/>
              <a:ea typeface="等线" panose="02010600030101010101" pitchFamily="2" charset="-122"/>
              <a:cs typeface="+mn-cs"/>
            </a:endParaRPr>
          </a:p>
        </p:txBody>
      </p:sp>
    </p:spTree>
    <p:extLst>
      <p:ext uri="{BB962C8B-B14F-4D97-AF65-F5344CB8AC3E}">
        <p14:creationId xmlns:p14="http://schemas.microsoft.com/office/powerpoint/2010/main" val="145433688"/>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454</a:t>
            </a:fld>
            <a:endParaRPr lang="zh-CN" altLang="en-US"/>
          </a:p>
        </p:txBody>
      </p:sp>
    </p:spTree>
    <p:extLst>
      <p:ext uri="{BB962C8B-B14F-4D97-AF65-F5344CB8AC3E}">
        <p14:creationId xmlns:p14="http://schemas.microsoft.com/office/powerpoint/2010/main" val="949455736"/>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455</a:t>
            </a:fld>
            <a:endParaRPr lang="zh-CN" altLang="en-US"/>
          </a:p>
        </p:txBody>
      </p:sp>
    </p:spTree>
    <p:extLst>
      <p:ext uri="{BB962C8B-B14F-4D97-AF65-F5344CB8AC3E}">
        <p14:creationId xmlns:p14="http://schemas.microsoft.com/office/powerpoint/2010/main" val="3556537555"/>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456</a:t>
            </a:fld>
            <a:endParaRPr lang="zh-CN" altLang="en-US"/>
          </a:p>
        </p:txBody>
      </p:sp>
    </p:spTree>
    <p:extLst>
      <p:ext uri="{BB962C8B-B14F-4D97-AF65-F5344CB8AC3E}">
        <p14:creationId xmlns:p14="http://schemas.microsoft.com/office/powerpoint/2010/main" val="1580155712"/>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457</a:t>
            </a:fld>
            <a:endParaRPr lang="zh-CN" altLang="en-US"/>
          </a:p>
        </p:txBody>
      </p:sp>
    </p:spTree>
    <p:extLst>
      <p:ext uri="{BB962C8B-B14F-4D97-AF65-F5344CB8AC3E}">
        <p14:creationId xmlns:p14="http://schemas.microsoft.com/office/powerpoint/2010/main" val="3199182267"/>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458</a:t>
            </a:fld>
            <a:endParaRPr lang="zh-CN" altLang="en-US"/>
          </a:p>
        </p:txBody>
      </p:sp>
    </p:spTree>
    <p:extLst>
      <p:ext uri="{BB962C8B-B14F-4D97-AF65-F5344CB8AC3E}">
        <p14:creationId xmlns:p14="http://schemas.microsoft.com/office/powerpoint/2010/main" val="3766224950"/>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459</a:t>
            </a:fld>
            <a:endParaRPr lang="zh-CN" altLang="en-US"/>
          </a:p>
        </p:txBody>
      </p:sp>
    </p:spTree>
    <p:extLst>
      <p:ext uri="{BB962C8B-B14F-4D97-AF65-F5344CB8AC3E}">
        <p14:creationId xmlns:p14="http://schemas.microsoft.com/office/powerpoint/2010/main" val="4190265613"/>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460</a:t>
            </a:fld>
            <a:endParaRPr lang="zh-CN" altLang="en-US"/>
          </a:p>
        </p:txBody>
      </p:sp>
    </p:spTree>
    <p:extLst>
      <p:ext uri="{BB962C8B-B14F-4D97-AF65-F5344CB8AC3E}">
        <p14:creationId xmlns:p14="http://schemas.microsoft.com/office/powerpoint/2010/main" val="293877823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416</a:t>
            </a:fld>
            <a:endParaRPr lang="zh-CN" altLang="en-US"/>
          </a:p>
        </p:txBody>
      </p:sp>
    </p:spTree>
    <p:extLst>
      <p:ext uri="{BB962C8B-B14F-4D97-AF65-F5344CB8AC3E}">
        <p14:creationId xmlns:p14="http://schemas.microsoft.com/office/powerpoint/2010/main" val="4130368567"/>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461</a:t>
            </a:fld>
            <a:endParaRPr lang="zh-CN" altLang="en-US"/>
          </a:p>
        </p:txBody>
      </p:sp>
    </p:spTree>
    <p:extLst>
      <p:ext uri="{BB962C8B-B14F-4D97-AF65-F5344CB8AC3E}">
        <p14:creationId xmlns:p14="http://schemas.microsoft.com/office/powerpoint/2010/main" val="942294865"/>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462</a:t>
            </a:fld>
            <a:endParaRPr lang="zh-CN" altLang="en-US"/>
          </a:p>
        </p:txBody>
      </p:sp>
    </p:spTree>
    <p:extLst>
      <p:ext uri="{BB962C8B-B14F-4D97-AF65-F5344CB8AC3E}">
        <p14:creationId xmlns:p14="http://schemas.microsoft.com/office/powerpoint/2010/main" val="522663964"/>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463</a:t>
            </a:fld>
            <a:endParaRPr lang="zh-CN" altLang="en-US"/>
          </a:p>
        </p:txBody>
      </p:sp>
    </p:spTree>
    <p:extLst>
      <p:ext uri="{BB962C8B-B14F-4D97-AF65-F5344CB8AC3E}">
        <p14:creationId xmlns:p14="http://schemas.microsoft.com/office/powerpoint/2010/main" val="1850780981"/>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464</a:t>
            </a:fld>
            <a:endParaRPr lang="zh-CN" altLang="en-US"/>
          </a:p>
        </p:txBody>
      </p:sp>
    </p:spTree>
    <p:extLst>
      <p:ext uri="{BB962C8B-B14F-4D97-AF65-F5344CB8AC3E}">
        <p14:creationId xmlns:p14="http://schemas.microsoft.com/office/powerpoint/2010/main" val="2927730116"/>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465</a:t>
            </a:fld>
            <a:endParaRPr lang="zh-CN" altLang="en-US"/>
          </a:p>
        </p:txBody>
      </p:sp>
    </p:spTree>
    <p:extLst>
      <p:ext uri="{BB962C8B-B14F-4D97-AF65-F5344CB8AC3E}">
        <p14:creationId xmlns:p14="http://schemas.microsoft.com/office/powerpoint/2010/main" val="3212547968"/>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466</a:t>
            </a:fld>
            <a:endParaRPr lang="zh-CN" altLang="en-US"/>
          </a:p>
        </p:txBody>
      </p:sp>
    </p:spTree>
    <p:extLst>
      <p:ext uri="{BB962C8B-B14F-4D97-AF65-F5344CB8AC3E}">
        <p14:creationId xmlns:p14="http://schemas.microsoft.com/office/powerpoint/2010/main" val="1329746419"/>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467</a:t>
            </a:fld>
            <a:endParaRPr lang="zh-CN" altLang="en-US"/>
          </a:p>
        </p:txBody>
      </p:sp>
    </p:spTree>
    <p:extLst>
      <p:ext uri="{BB962C8B-B14F-4D97-AF65-F5344CB8AC3E}">
        <p14:creationId xmlns:p14="http://schemas.microsoft.com/office/powerpoint/2010/main" val="3972453743"/>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468</a:t>
            </a:fld>
            <a:endParaRPr lang="zh-CN" altLang="en-US"/>
          </a:p>
        </p:txBody>
      </p:sp>
    </p:spTree>
    <p:extLst>
      <p:ext uri="{BB962C8B-B14F-4D97-AF65-F5344CB8AC3E}">
        <p14:creationId xmlns:p14="http://schemas.microsoft.com/office/powerpoint/2010/main" val="4080845141"/>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469</a:t>
            </a:fld>
            <a:endParaRPr lang="zh-CN" altLang="en-US"/>
          </a:p>
        </p:txBody>
      </p:sp>
    </p:spTree>
    <p:extLst>
      <p:ext uri="{BB962C8B-B14F-4D97-AF65-F5344CB8AC3E}">
        <p14:creationId xmlns:p14="http://schemas.microsoft.com/office/powerpoint/2010/main" val="412820624"/>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470</a:t>
            </a:fld>
            <a:endParaRPr lang="zh-CN" altLang="en-US"/>
          </a:p>
        </p:txBody>
      </p:sp>
    </p:spTree>
    <p:extLst>
      <p:ext uri="{BB962C8B-B14F-4D97-AF65-F5344CB8AC3E}">
        <p14:creationId xmlns:p14="http://schemas.microsoft.com/office/powerpoint/2010/main" val="75183661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417</a:t>
            </a:fld>
            <a:endParaRPr lang="zh-CN" altLang="en-US"/>
          </a:p>
        </p:txBody>
      </p:sp>
    </p:spTree>
    <p:extLst>
      <p:ext uri="{BB962C8B-B14F-4D97-AF65-F5344CB8AC3E}">
        <p14:creationId xmlns:p14="http://schemas.microsoft.com/office/powerpoint/2010/main" val="2876841407"/>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471</a:t>
            </a:fld>
            <a:endParaRPr lang="zh-CN" altLang="en-US"/>
          </a:p>
        </p:txBody>
      </p:sp>
    </p:spTree>
    <p:extLst>
      <p:ext uri="{BB962C8B-B14F-4D97-AF65-F5344CB8AC3E}">
        <p14:creationId xmlns:p14="http://schemas.microsoft.com/office/powerpoint/2010/main" val="1160647973"/>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472</a:t>
            </a:fld>
            <a:endParaRPr lang="zh-CN" altLang="en-US"/>
          </a:p>
        </p:txBody>
      </p:sp>
    </p:spTree>
    <p:extLst>
      <p:ext uri="{BB962C8B-B14F-4D97-AF65-F5344CB8AC3E}">
        <p14:creationId xmlns:p14="http://schemas.microsoft.com/office/powerpoint/2010/main" val="3781777911"/>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473</a:t>
            </a:fld>
            <a:endParaRPr lang="zh-CN" altLang="en-US"/>
          </a:p>
        </p:txBody>
      </p:sp>
    </p:spTree>
    <p:extLst>
      <p:ext uri="{BB962C8B-B14F-4D97-AF65-F5344CB8AC3E}">
        <p14:creationId xmlns:p14="http://schemas.microsoft.com/office/powerpoint/2010/main" val="2773555891"/>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E93E190-BE1B-4E5C-A415-953B7DD554E9}" type="slidenum">
              <a:rPr kumimoji="0" lang="zh-CN" altLang="en-US" sz="1200" b="0" i="0" u="none" strike="noStrike" kern="1200" cap="none" spc="0" normalizeH="0" baseline="0" noProof="0" smtClean="0">
                <a:ln>
                  <a:noFill/>
                </a:ln>
                <a:solidFill>
                  <a:prstClr val="black"/>
                </a:solidFill>
                <a:effectLst/>
                <a:uLnTx/>
                <a:uFillTx/>
                <a:latin typeface="等线" panose="020F0502020204030204"/>
                <a:ea typeface="等线" panose="02010600030101010101" pitchFamily="2" charset="-122"/>
                <a:cs typeface="+mn-cs"/>
              </a:rPr>
              <a:pPr marL="0" marR="0" lvl="0" indent="0" algn="r" defTabSz="914400" rtl="0" eaLnBrk="1" fontAlgn="auto" latinLnBrk="0" hangingPunct="1">
                <a:lnSpc>
                  <a:spcPct val="100000"/>
                </a:lnSpc>
                <a:spcBef>
                  <a:spcPts val="0"/>
                </a:spcBef>
                <a:spcAft>
                  <a:spcPts val="0"/>
                </a:spcAft>
                <a:buClrTx/>
                <a:buSzTx/>
                <a:buFontTx/>
                <a:buNone/>
                <a:tabLst/>
                <a:defRPr/>
              </a:pPr>
              <a:t>474</a:t>
            </a:fld>
            <a:endParaRPr kumimoji="0" lang="zh-CN" altLang="en-US" sz="1200" b="0" i="0" u="none" strike="noStrike" kern="1200" cap="none" spc="0" normalizeH="0" baseline="0" noProof="0">
              <a:ln>
                <a:noFill/>
              </a:ln>
              <a:solidFill>
                <a:prstClr val="black"/>
              </a:solidFill>
              <a:effectLst/>
              <a:uLnTx/>
              <a:uFillTx/>
              <a:latin typeface="等线" panose="020F0502020204030204"/>
              <a:ea typeface="等线" panose="02010600030101010101" pitchFamily="2" charset="-122"/>
              <a:cs typeface="+mn-cs"/>
            </a:endParaRPr>
          </a:p>
        </p:txBody>
      </p:sp>
    </p:spTree>
    <p:extLst>
      <p:ext uri="{BB962C8B-B14F-4D97-AF65-F5344CB8AC3E}">
        <p14:creationId xmlns:p14="http://schemas.microsoft.com/office/powerpoint/2010/main" val="2529214966"/>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475</a:t>
            </a:fld>
            <a:endParaRPr lang="zh-CN" altLang="en-US"/>
          </a:p>
        </p:txBody>
      </p:sp>
    </p:spTree>
    <p:extLst>
      <p:ext uri="{BB962C8B-B14F-4D97-AF65-F5344CB8AC3E}">
        <p14:creationId xmlns:p14="http://schemas.microsoft.com/office/powerpoint/2010/main" val="637488065"/>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476</a:t>
            </a:fld>
            <a:endParaRPr lang="zh-CN" altLang="en-US"/>
          </a:p>
        </p:txBody>
      </p:sp>
    </p:spTree>
    <p:extLst>
      <p:ext uri="{BB962C8B-B14F-4D97-AF65-F5344CB8AC3E}">
        <p14:creationId xmlns:p14="http://schemas.microsoft.com/office/powerpoint/2010/main" val="334872134"/>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477</a:t>
            </a:fld>
            <a:endParaRPr lang="zh-CN" altLang="en-US"/>
          </a:p>
        </p:txBody>
      </p:sp>
    </p:spTree>
    <p:extLst>
      <p:ext uri="{BB962C8B-B14F-4D97-AF65-F5344CB8AC3E}">
        <p14:creationId xmlns:p14="http://schemas.microsoft.com/office/powerpoint/2010/main" val="1960088796"/>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478</a:t>
            </a:fld>
            <a:endParaRPr lang="zh-CN" altLang="en-US"/>
          </a:p>
        </p:txBody>
      </p:sp>
    </p:spTree>
    <p:extLst>
      <p:ext uri="{BB962C8B-B14F-4D97-AF65-F5344CB8AC3E}">
        <p14:creationId xmlns:p14="http://schemas.microsoft.com/office/powerpoint/2010/main" val="3972947284"/>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479</a:t>
            </a:fld>
            <a:endParaRPr lang="zh-CN" altLang="en-US"/>
          </a:p>
        </p:txBody>
      </p:sp>
    </p:spTree>
    <p:extLst>
      <p:ext uri="{BB962C8B-B14F-4D97-AF65-F5344CB8AC3E}">
        <p14:creationId xmlns:p14="http://schemas.microsoft.com/office/powerpoint/2010/main" val="1424824975"/>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480</a:t>
            </a:fld>
            <a:endParaRPr lang="zh-CN" altLang="en-US"/>
          </a:p>
        </p:txBody>
      </p:sp>
    </p:spTree>
    <p:extLst>
      <p:ext uri="{BB962C8B-B14F-4D97-AF65-F5344CB8AC3E}">
        <p14:creationId xmlns:p14="http://schemas.microsoft.com/office/powerpoint/2010/main" val="393024884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418</a:t>
            </a:fld>
            <a:endParaRPr lang="zh-CN" altLang="en-US"/>
          </a:p>
        </p:txBody>
      </p:sp>
    </p:spTree>
    <p:extLst>
      <p:ext uri="{BB962C8B-B14F-4D97-AF65-F5344CB8AC3E}">
        <p14:creationId xmlns:p14="http://schemas.microsoft.com/office/powerpoint/2010/main" val="1621848302"/>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481</a:t>
            </a:fld>
            <a:endParaRPr lang="zh-CN" altLang="en-US"/>
          </a:p>
        </p:txBody>
      </p:sp>
    </p:spTree>
    <p:extLst>
      <p:ext uri="{BB962C8B-B14F-4D97-AF65-F5344CB8AC3E}">
        <p14:creationId xmlns:p14="http://schemas.microsoft.com/office/powerpoint/2010/main" val="322079452"/>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482</a:t>
            </a:fld>
            <a:endParaRPr lang="zh-CN" altLang="en-US"/>
          </a:p>
        </p:txBody>
      </p:sp>
    </p:spTree>
    <p:extLst>
      <p:ext uri="{BB962C8B-B14F-4D97-AF65-F5344CB8AC3E}">
        <p14:creationId xmlns:p14="http://schemas.microsoft.com/office/powerpoint/2010/main" val="225175700"/>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483</a:t>
            </a:fld>
            <a:endParaRPr lang="zh-CN" altLang="en-US"/>
          </a:p>
        </p:txBody>
      </p:sp>
    </p:spTree>
    <p:extLst>
      <p:ext uri="{BB962C8B-B14F-4D97-AF65-F5344CB8AC3E}">
        <p14:creationId xmlns:p14="http://schemas.microsoft.com/office/powerpoint/2010/main" val="662748895"/>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484</a:t>
            </a:fld>
            <a:endParaRPr lang="zh-CN" altLang="en-US"/>
          </a:p>
        </p:txBody>
      </p:sp>
    </p:spTree>
    <p:extLst>
      <p:ext uri="{BB962C8B-B14F-4D97-AF65-F5344CB8AC3E}">
        <p14:creationId xmlns:p14="http://schemas.microsoft.com/office/powerpoint/2010/main" val="689192839"/>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485</a:t>
            </a:fld>
            <a:endParaRPr lang="zh-CN" altLang="en-US"/>
          </a:p>
        </p:txBody>
      </p:sp>
    </p:spTree>
    <p:extLst>
      <p:ext uri="{BB962C8B-B14F-4D97-AF65-F5344CB8AC3E}">
        <p14:creationId xmlns:p14="http://schemas.microsoft.com/office/powerpoint/2010/main" val="2800613091"/>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486</a:t>
            </a:fld>
            <a:endParaRPr lang="zh-CN" altLang="en-US"/>
          </a:p>
        </p:txBody>
      </p:sp>
    </p:spTree>
    <p:extLst>
      <p:ext uri="{BB962C8B-B14F-4D97-AF65-F5344CB8AC3E}">
        <p14:creationId xmlns:p14="http://schemas.microsoft.com/office/powerpoint/2010/main" val="3770247472"/>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487</a:t>
            </a:fld>
            <a:endParaRPr lang="zh-CN" altLang="en-US"/>
          </a:p>
        </p:txBody>
      </p:sp>
    </p:spTree>
    <p:extLst>
      <p:ext uri="{BB962C8B-B14F-4D97-AF65-F5344CB8AC3E}">
        <p14:creationId xmlns:p14="http://schemas.microsoft.com/office/powerpoint/2010/main" val="27683459"/>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E93E190-BE1B-4E5C-A415-953B7DD554E9}" type="slidenum">
              <a:rPr kumimoji="0" lang="zh-CN" altLang="en-US" sz="1200" b="0" i="0" u="none" strike="noStrike" kern="1200" cap="none" spc="0" normalizeH="0" baseline="0" noProof="0" smtClean="0">
                <a:ln>
                  <a:noFill/>
                </a:ln>
                <a:solidFill>
                  <a:prstClr val="black"/>
                </a:solidFill>
                <a:effectLst/>
                <a:uLnTx/>
                <a:uFillTx/>
                <a:latin typeface="等线" panose="020F0502020204030204"/>
                <a:ea typeface="等线" panose="02010600030101010101" pitchFamily="2" charset="-122"/>
                <a:cs typeface="+mn-cs"/>
              </a:rPr>
              <a:pPr marL="0" marR="0" lvl="0" indent="0" algn="r" defTabSz="914400" rtl="0" eaLnBrk="1" fontAlgn="auto" latinLnBrk="0" hangingPunct="1">
                <a:lnSpc>
                  <a:spcPct val="100000"/>
                </a:lnSpc>
                <a:spcBef>
                  <a:spcPts val="0"/>
                </a:spcBef>
                <a:spcAft>
                  <a:spcPts val="0"/>
                </a:spcAft>
                <a:buClrTx/>
                <a:buSzTx/>
                <a:buFontTx/>
                <a:buNone/>
                <a:tabLst/>
                <a:defRPr/>
              </a:pPr>
              <a:t>488</a:t>
            </a:fld>
            <a:endParaRPr kumimoji="0" lang="zh-CN" altLang="en-US" sz="1200" b="0" i="0" u="none" strike="noStrike" kern="1200" cap="none" spc="0" normalizeH="0" baseline="0" noProof="0">
              <a:ln>
                <a:noFill/>
              </a:ln>
              <a:solidFill>
                <a:prstClr val="black"/>
              </a:solidFill>
              <a:effectLst/>
              <a:uLnTx/>
              <a:uFillTx/>
              <a:latin typeface="等线" panose="020F0502020204030204"/>
              <a:ea typeface="等线" panose="02010600030101010101" pitchFamily="2" charset="-122"/>
              <a:cs typeface="+mn-cs"/>
            </a:endParaRPr>
          </a:p>
        </p:txBody>
      </p:sp>
    </p:spTree>
    <p:extLst>
      <p:ext uri="{BB962C8B-B14F-4D97-AF65-F5344CB8AC3E}">
        <p14:creationId xmlns:p14="http://schemas.microsoft.com/office/powerpoint/2010/main" val="2201803577"/>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489</a:t>
            </a:fld>
            <a:endParaRPr lang="zh-CN" altLang="en-US"/>
          </a:p>
        </p:txBody>
      </p:sp>
    </p:spTree>
    <p:extLst>
      <p:ext uri="{BB962C8B-B14F-4D97-AF65-F5344CB8AC3E}">
        <p14:creationId xmlns:p14="http://schemas.microsoft.com/office/powerpoint/2010/main" val="1817519512"/>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E93E190-BE1B-4E5C-A415-953B7DD554E9}" type="slidenum">
              <a:rPr kumimoji="0" lang="zh-CN" altLang="en-US" sz="1200" b="0" i="0" u="none" strike="noStrike" kern="1200" cap="none" spc="0" normalizeH="0" baseline="0" noProof="0" smtClean="0">
                <a:ln>
                  <a:noFill/>
                </a:ln>
                <a:solidFill>
                  <a:prstClr val="black"/>
                </a:solidFill>
                <a:effectLst/>
                <a:uLnTx/>
                <a:uFillTx/>
                <a:latin typeface="等线" panose="020F0502020204030204"/>
                <a:ea typeface="等线" panose="02010600030101010101" pitchFamily="2" charset="-122"/>
                <a:cs typeface="+mn-cs"/>
              </a:rPr>
              <a:pPr marL="0" marR="0" lvl="0" indent="0" algn="r" defTabSz="914400" rtl="0" eaLnBrk="1" fontAlgn="auto" latinLnBrk="0" hangingPunct="1">
                <a:lnSpc>
                  <a:spcPct val="100000"/>
                </a:lnSpc>
                <a:spcBef>
                  <a:spcPts val="0"/>
                </a:spcBef>
                <a:spcAft>
                  <a:spcPts val="0"/>
                </a:spcAft>
                <a:buClrTx/>
                <a:buSzTx/>
                <a:buFontTx/>
                <a:buNone/>
                <a:tabLst/>
                <a:defRPr/>
              </a:pPr>
              <a:t>490</a:t>
            </a:fld>
            <a:endParaRPr kumimoji="0" lang="zh-CN" altLang="en-US" sz="1200" b="0" i="0" u="none" strike="noStrike" kern="1200" cap="none" spc="0" normalizeH="0" baseline="0" noProof="0">
              <a:ln>
                <a:noFill/>
              </a:ln>
              <a:solidFill>
                <a:prstClr val="black"/>
              </a:solidFill>
              <a:effectLst/>
              <a:uLnTx/>
              <a:uFillTx/>
              <a:latin typeface="等线" panose="020F0502020204030204"/>
              <a:ea typeface="等线" panose="02010600030101010101" pitchFamily="2" charset="-122"/>
              <a:cs typeface="+mn-cs"/>
            </a:endParaRPr>
          </a:p>
        </p:txBody>
      </p:sp>
    </p:spTree>
    <p:extLst>
      <p:ext uri="{BB962C8B-B14F-4D97-AF65-F5344CB8AC3E}">
        <p14:creationId xmlns:p14="http://schemas.microsoft.com/office/powerpoint/2010/main" val="156634545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419</a:t>
            </a:fld>
            <a:endParaRPr lang="zh-CN" altLang="en-US"/>
          </a:p>
        </p:txBody>
      </p:sp>
    </p:spTree>
    <p:extLst>
      <p:ext uri="{BB962C8B-B14F-4D97-AF65-F5344CB8AC3E}">
        <p14:creationId xmlns:p14="http://schemas.microsoft.com/office/powerpoint/2010/main" val="2930901561"/>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491</a:t>
            </a:fld>
            <a:endParaRPr lang="zh-CN" altLang="en-US"/>
          </a:p>
        </p:txBody>
      </p:sp>
    </p:spTree>
    <p:extLst>
      <p:ext uri="{BB962C8B-B14F-4D97-AF65-F5344CB8AC3E}">
        <p14:creationId xmlns:p14="http://schemas.microsoft.com/office/powerpoint/2010/main" val="2777493211"/>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492</a:t>
            </a:fld>
            <a:endParaRPr lang="zh-CN" altLang="en-US"/>
          </a:p>
        </p:txBody>
      </p:sp>
    </p:spTree>
    <p:extLst>
      <p:ext uri="{BB962C8B-B14F-4D97-AF65-F5344CB8AC3E}">
        <p14:creationId xmlns:p14="http://schemas.microsoft.com/office/powerpoint/2010/main" val="3350688639"/>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493</a:t>
            </a:fld>
            <a:endParaRPr lang="zh-CN" altLang="en-US"/>
          </a:p>
        </p:txBody>
      </p:sp>
    </p:spTree>
    <p:extLst>
      <p:ext uri="{BB962C8B-B14F-4D97-AF65-F5344CB8AC3E}">
        <p14:creationId xmlns:p14="http://schemas.microsoft.com/office/powerpoint/2010/main" val="4168666286"/>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494</a:t>
            </a:fld>
            <a:endParaRPr lang="zh-CN" altLang="en-US"/>
          </a:p>
        </p:txBody>
      </p:sp>
    </p:spTree>
    <p:extLst>
      <p:ext uri="{BB962C8B-B14F-4D97-AF65-F5344CB8AC3E}">
        <p14:creationId xmlns:p14="http://schemas.microsoft.com/office/powerpoint/2010/main" val="3259755800"/>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495</a:t>
            </a:fld>
            <a:endParaRPr lang="zh-CN" altLang="en-US"/>
          </a:p>
        </p:txBody>
      </p:sp>
    </p:spTree>
    <p:extLst>
      <p:ext uri="{BB962C8B-B14F-4D97-AF65-F5344CB8AC3E}">
        <p14:creationId xmlns:p14="http://schemas.microsoft.com/office/powerpoint/2010/main" val="519383862"/>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496</a:t>
            </a:fld>
            <a:endParaRPr lang="zh-CN" altLang="en-US"/>
          </a:p>
        </p:txBody>
      </p:sp>
    </p:spTree>
    <p:extLst>
      <p:ext uri="{BB962C8B-B14F-4D97-AF65-F5344CB8AC3E}">
        <p14:creationId xmlns:p14="http://schemas.microsoft.com/office/powerpoint/2010/main" val="977829435"/>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497</a:t>
            </a:fld>
            <a:endParaRPr lang="zh-CN" altLang="en-US"/>
          </a:p>
        </p:txBody>
      </p:sp>
    </p:spTree>
    <p:extLst>
      <p:ext uri="{BB962C8B-B14F-4D97-AF65-F5344CB8AC3E}">
        <p14:creationId xmlns:p14="http://schemas.microsoft.com/office/powerpoint/2010/main" val="2805759251"/>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498</a:t>
            </a:fld>
            <a:endParaRPr lang="zh-CN" altLang="en-US"/>
          </a:p>
        </p:txBody>
      </p:sp>
    </p:spTree>
    <p:extLst>
      <p:ext uri="{BB962C8B-B14F-4D97-AF65-F5344CB8AC3E}">
        <p14:creationId xmlns:p14="http://schemas.microsoft.com/office/powerpoint/2010/main" val="1481035147"/>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E93E190-BE1B-4E5C-A415-953B7DD554E9}" type="slidenum">
              <a:rPr kumimoji="0" lang="zh-CN" altLang="en-US" sz="1200" b="0" i="0" u="none" strike="noStrike" kern="1200" cap="none" spc="0" normalizeH="0" baseline="0" noProof="0" smtClean="0">
                <a:ln>
                  <a:noFill/>
                </a:ln>
                <a:solidFill>
                  <a:prstClr val="black"/>
                </a:solidFill>
                <a:effectLst/>
                <a:uLnTx/>
                <a:uFillTx/>
                <a:latin typeface="等线" panose="020F0502020204030204"/>
                <a:ea typeface="等线" panose="02010600030101010101" pitchFamily="2" charset="-122"/>
                <a:cs typeface="+mn-cs"/>
              </a:rPr>
              <a:pPr marL="0" marR="0" lvl="0" indent="0" algn="r" defTabSz="914400" rtl="0" eaLnBrk="1" fontAlgn="auto" latinLnBrk="0" hangingPunct="1">
                <a:lnSpc>
                  <a:spcPct val="100000"/>
                </a:lnSpc>
                <a:spcBef>
                  <a:spcPts val="0"/>
                </a:spcBef>
                <a:spcAft>
                  <a:spcPts val="0"/>
                </a:spcAft>
                <a:buClrTx/>
                <a:buSzTx/>
                <a:buFontTx/>
                <a:buNone/>
                <a:tabLst/>
                <a:defRPr/>
              </a:pPr>
              <a:t>499</a:t>
            </a:fld>
            <a:endParaRPr kumimoji="0" lang="zh-CN" altLang="en-US" sz="1200" b="0" i="0" u="none" strike="noStrike" kern="1200" cap="none" spc="0" normalizeH="0" baseline="0" noProof="0">
              <a:ln>
                <a:noFill/>
              </a:ln>
              <a:solidFill>
                <a:prstClr val="black"/>
              </a:solidFill>
              <a:effectLst/>
              <a:uLnTx/>
              <a:uFillTx/>
              <a:latin typeface="等线" panose="020F0502020204030204"/>
              <a:ea typeface="等线" panose="02010600030101010101" pitchFamily="2" charset="-122"/>
              <a:cs typeface="+mn-cs"/>
            </a:endParaRPr>
          </a:p>
        </p:txBody>
      </p:sp>
    </p:spTree>
    <p:extLst>
      <p:ext uri="{BB962C8B-B14F-4D97-AF65-F5344CB8AC3E}">
        <p14:creationId xmlns:p14="http://schemas.microsoft.com/office/powerpoint/2010/main" val="2459489948"/>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500</a:t>
            </a:fld>
            <a:endParaRPr lang="zh-CN" altLang="en-US"/>
          </a:p>
        </p:txBody>
      </p:sp>
    </p:spTree>
    <p:extLst>
      <p:ext uri="{BB962C8B-B14F-4D97-AF65-F5344CB8AC3E}">
        <p14:creationId xmlns:p14="http://schemas.microsoft.com/office/powerpoint/2010/main" val="402642970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E93E190-BE1B-4E5C-A415-953B7DD554E9}" type="slidenum">
              <a:rPr kumimoji="0" lang="zh-CN" altLang="en-US" sz="1200" b="0" i="0" u="none" strike="noStrike" kern="1200" cap="none" spc="0" normalizeH="0" baseline="0" noProof="0" smtClean="0">
                <a:ln>
                  <a:noFill/>
                </a:ln>
                <a:solidFill>
                  <a:prstClr val="black"/>
                </a:solidFill>
                <a:effectLst/>
                <a:uLnTx/>
                <a:uFillTx/>
                <a:latin typeface="等线" panose="020F0502020204030204"/>
                <a:ea typeface="等线" panose="02010600030101010101" pitchFamily="2" charset="-122"/>
                <a:cs typeface="+mn-cs"/>
              </a:rPr>
              <a:pPr marL="0" marR="0" lvl="0" indent="0" algn="r" defTabSz="914400" rtl="0" eaLnBrk="1" fontAlgn="auto" latinLnBrk="0" hangingPunct="1">
                <a:lnSpc>
                  <a:spcPct val="100000"/>
                </a:lnSpc>
                <a:spcBef>
                  <a:spcPts val="0"/>
                </a:spcBef>
                <a:spcAft>
                  <a:spcPts val="0"/>
                </a:spcAft>
                <a:buClrTx/>
                <a:buSzTx/>
                <a:buFontTx/>
                <a:buNone/>
                <a:tabLst/>
                <a:defRPr/>
              </a:pPr>
              <a:t>420</a:t>
            </a:fld>
            <a:endParaRPr kumimoji="0" lang="zh-CN" altLang="en-US" sz="1200" b="0" i="0" u="none" strike="noStrike" kern="1200" cap="none" spc="0" normalizeH="0" baseline="0" noProof="0">
              <a:ln>
                <a:noFill/>
              </a:ln>
              <a:solidFill>
                <a:prstClr val="black"/>
              </a:solidFill>
              <a:effectLst/>
              <a:uLnTx/>
              <a:uFillTx/>
              <a:latin typeface="等线" panose="020F0502020204030204"/>
              <a:ea typeface="等线" panose="02010600030101010101" pitchFamily="2" charset="-122"/>
              <a:cs typeface="+mn-cs"/>
            </a:endParaRPr>
          </a:p>
        </p:txBody>
      </p:sp>
    </p:spTree>
    <p:extLst>
      <p:ext uri="{BB962C8B-B14F-4D97-AF65-F5344CB8AC3E}">
        <p14:creationId xmlns:p14="http://schemas.microsoft.com/office/powerpoint/2010/main" val="2584961302"/>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501</a:t>
            </a:fld>
            <a:endParaRPr lang="zh-CN" altLang="en-US"/>
          </a:p>
        </p:txBody>
      </p:sp>
    </p:spTree>
    <p:extLst>
      <p:ext uri="{BB962C8B-B14F-4D97-AF65-F5344CB8AC3E}">
        <p14:creationId xmlns:p14="http://schemas.microsoft.com/office/powerpoint/2010/main" val="3604900231"/>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502</a:t>
            </a:fld>
            <a:endParaRPr lang="zh-CN" altLang="en-US"/>
          </a:p>
        </p:txBody>
      </p:sp>
    </p:spTree>
    <p:extLst>
      <p:ext uri="{BB962C8B-B14F-4D97-AF65-F5344CB8AC3E}">
        <p14:creationId xmlns:p14="http://schemas.microsoft.com/office/powerpoint/2010/main" val="33047066"/>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503</a:t>
            </a:fld>
            <a:endParaRPr lang="zh-CN" altLang="en-US"/>
          </a:p>
        </p:txBody>
      </p:sp>
    </p:spTree>
    <p:extLst>
      <p:ext uri="{BB962C8B-B14F-4D97-AF65-F5344CB8AC3E}">
        <p14:creationId xmlns:p14="http://schemas.microsoft.com/office/powerpoint/2010/main" val="295061395"/>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504</a:t>
            </a:fld>
            <a:endParaRPr lang="zh-CN" altLang="en-US"/>
          </a:p>
        </p:txBody>
      </p:sp>
    </p:spTree>
    <p:extLst>
      <p:ext uri="{BB962C8B-B14F-4D97-AF65-F5344CB8AC3E}">
        <p14:creationId xmlns:p14="http://schemas.microsoft.com/office/powerpoint/2010/main" val="1249954231"/>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505</a:t>
            </a:fld>
            <a:endParaRPr lang="zh-CN" altLang="en-US"/>
          </a:p>
        </p:txBody>
      </p:sp>
    </p:spTree>
    <p:extLst>
      <p:ext uri="{BB962C8B-B14F-4D97-AF65-F5344CB8AC3E}">
        <p14:creationId xmlns:p14="http://schemas.microsoft.com/office/powerpoint/2010/main" val="17703497"/>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506</a:t>
            </a:fld>
            <a:endParaRPr lang="zh-CN" altLang="en-US"/>
          </a:p>
        </p:txBody>
      </p:sp>
    </p:spTree>
    <p:extLst>
      <p:ext uri="{BB962C8B-B14F-4D97-AF65-F5344CB8AC3E}">
        <p14:creationId xmlns:p14="http://schemas.microsoft.com/office/powerpoint/2010/main" val="3145044036"/>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507</a:t>
            </a:fld>
            <a:endParaRPr lang="zh-CN" altLang="en-US"/>
          </a:p>
        </p:txBody>
      </p:sp>
    </p:spTree>
    <p:extLst>
      <p:ext uri="{BB962C8B-B14F-4D97-AF65-F5344CB8AC3E}">
        <p14:creationId xmlns:p14="http://schemas.microsoft.com/office/powerpoint/2010/main" val="3996464391"/>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508</a:t>
            </a:fld>
            <a:endParaRPr lang="zh-CN" altLang="en-US"/>
          </a:p>
        </p:txBody>
      </p:sp>
    </p:spTree>
    <p:extLst>
      <p:ext uri="{BB962C8B-B14F-4D97-AF65-F5344CB8AC3E}">
        <p14:creationId xmlns:p14="http://schemas.microsoft.com/office/powerpoint/2010/main" val="1767734580"/>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509</a:t>
            </a:fld>
            <a:endParaRPr lang="zh-CN" altLang="en-US"/>
          </a:p>
        </p:txBody>
      </p:sp>
    </p:spTree>
    <p:extLst>
      <p:ext uri="{BB962C8B-B14F-4D97-AF65-F5344CB8AC3E}">
        <p14:creationId xmlns:p14="http://schemas.microsoft.com/office/powerpoint/2010/main" val="1672954607"/>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a:p>
        </p:txBody>
      </p:sp>
      <p:sp>
        <p:nvSpPr>
          <p:cNvPr id="4" name="灯片编号占位符 3"/>
          <p:cNvSpPr>
            <a:spLocks noGrp="1"/>
          </p:cNvSpPr>
          <p:nvPr>
            <p:ph type="sldNum" sz="quarter" idx="5"/>
          </p:nvPr>
        </p:nvSpPr>
        <p:spPr/>
        <p:txBody>
          <a:bodyPr/>
          <a:lstStyle/>
          <a:p>
            <a:fld id="{175DD2B1-1A58-4FDB-AD54-64407EF7A1E7}" type="slidenum">
              <a:rPr lang="zh-CN" altLang="en-US" smtClean="0"/>
              <a:t>510</a:t>
            </a:fld>
            <a:endParaRPr lang="zh-CN" altLang="en-US"/>
          </a:p>
        </p:txBody>
      </p:sp>
    </p:spTree>
    <p:extLst>
      <p:ext uri="{BB962C8B-B14F-4D97-AF65-F5344CB8AC3E}">
        <p14:creationId xmlns:p14="http://schemas.microsoft.com/office/powerpoint/2010/main" val="98230446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1.emf"/></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标题幻灯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127904501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7_标题幻灯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2222823063"/>
      </p:ext>
    </p:extLst>
  </p:cSld>
  <p:clrMapOvr>
    <a:masterClrMapping/>
  </p:clrMapOvr>
  <p:extLst>
    <p:ext uri="{DCECCB84-F9BA-43D5-87BE-67443E8EF086}">
      <p15:sldGuideLst xmlns:p15="http://schemas.microsoft.com/office/powerpoint/2012/main">
        <p15:guide id="1" orient="horz" pos="2160">
          <p15:clr>
            <a:srgbClr val="F26B43"/>
          </p15:clr>
        </p15:guide>
        <p15:guide id="2" pos="3840">
          <p15:clr>
            <a:srgbClr val="F26B43"/>
          </p15:clr>
        </p15:guide>
        <p15:guide id="3" pos="211">
          <p15:clr>
            <a:srgbClr val="F26B43"/>
          </p15:clr>
        </p15:guide>
        <p15:guide id="4" pos="7469">
          <p15:clr>
            <a:srgbClr val="F26B43"/>
          </p15:clr>
        </p15:guide>
        <p15:guide id="5" orient="horz" pos="346">
          <p15:clr>
            <a:srgbClr val="F26B43"/>
          </p15:clr>
        </p15:guide>
        <p15:guide id="6" orient="horz" pos="3974">
          <p15:clr>
            <a:srgbClr val="F26B43"/>
          </p15:clr>
        </p15:guide>
        <p15:guide id="7" orient="horz" pos="414">
          <p15:clr>
            <a:srgbClr val="F26B43"/>
          </p15:clr>
        </p15:guide>
        <p15:guide id="8" orient="horz" pos="3906">
          <p15:clr>
            <a:srgbClr val="F26B43"/>
          </p15:clr>
        </p15:guide>
        <p15:guide id="9" pos="279">
          <p15:clr>
            <a:srgbClr val="F26B43"/>
          </p15:clr>
        </p15:guide>
        <p15:guide id="10" pos="7401">
          <p15:clr>
            <a:srgbClr val="F26B43"/>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49643443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3_Blank">
    <p:spTree>
      <p:nvGrpSpPr>
        <p:cNvPr id="1" name=""/>
        <p:cNvGrpSpPr/>
        <p:nvPr/>
      </p:nvGrpSpPr>
      <p:grpSpPr>
        <a:xfrm>
          <a:off x="0" y="0"/>
          <a:ext cx="0" cy="0"/>
          <a:chOff x="0" y="0"/>
          <a:chExt cx="0" cy="0"/>
        </a:xfrm>
      </p:grpSpPr>
      <p:sp>
        <p:nvSpPr>
          <p:cNvPr id="11" name="Slide Number"/>
          <p:cNvSpPr txBox="1">
            <a:spLocks noGrp="1"/>
          </p:cNvSpPr>
          <p:nvPr>
            <p:ph type="sldNum" sz="quarter" idx="2"/>
          </p:nvPr>
        </p:nvSpPr>
        <p:spPr>
          <a:prstGeom prst="rect">
            <a:avLst/>
          </a:prstGeom>
        </p:spPr>
        <p:txBody>
          <a:bodyPr/>
          <a:lstStyle>
            <a:lvl1pPr>
              <a:defRPr>
                <a:latin typeface="OPPOSans R" panose="00020600040101010101" pitchFamily="18" charset="-122"/>
              </a:defRPr>
            </a:lvl1pPr>
          </a:lstStyle>
          <a:p>
            <a:fld id="{86CB4B4D-7CA3-9044-876B-883B54F8677D}" type="slidenum">
              <a:rPr lang="en-US" altLang="zh-CN" smtClean="0"/>
              <a:pPr/>
              <a:t>‹#›</a:t>
            </a:fld>
            <a:endParaRPr lang="en-US" altLang="zh-CN"/>
          </a:p>
        </p:txBody>
      </p:sp>
      <p:sp>
        <p:nvSpPr>
          <p:cNvPr id="3" name="Picture Placeholder 2">
            <a:extLst>
              <a:ext uri="{FF2B5EF4-FFF2-40B4-BE49-F238E27FC236}">
                <a16:creationId xmlns:a16="http://schemas.microsoft.com/office/drawing/2014/main" id="{4F8BD93B-8079-2F44-8C72-861A4EB58975}"/>
              </a:ext>
            </a:extLst>
          </p:cNvPr>
          <p:cNvSpPr>
            <a:spLocks noGrp="1"/>
          </p:cNvSpPr>
          <p:nvPr>
            <p:ph type="pic" sz="quarter" idx="10"/>
          </p:nvPr>
        </p:nvSpPr>
        <p:spPr>
          <a:xfrm>
            <a:off x="1038803" y="1538216"/>
            <a:ext cx="692944" cy="692150"/>
          </a:xfrm>
          <a:solidFill>
            <a:srgbClr val="ECECEC"/>
          </a:solidFill>
        </p:spPr>
        <p:txBody>
          <a:bodyPr anchor="ctr">
            <a:normAutofit/>
          </a:bodyPr>
          <a:lstStyle>
            <a:lvl1pPr marL="0" indent="0" algn="ctr">
              <a:buNone/>
              <a:defRPr sz="700">
                <a:solidFill>
                  <a:schemeClr val="tx2"/>
                </a:solidFill>
                <a:latin typeface="Barlow" pitchFamily="2" charset="77"/>
              </a:defRPr>
            </a:lvl1pPr>
          </a:lstStyle>
          <a:p>
            <a:endParaRPr lang="en-FI"/>
          </a:p>
        </p:txBody>
      </p:sp>
      <p:sp>
        <p:nvSpPr>
          <p:cNvPr id="5" name="Picture Placeholder 2">
            <a:extLst>
              <a:ext uri="{FF2B5EF4-FFF2-40B4-BE49-F238E27FC236}">
                <a16:creationId xmlns:a16="http://schemas.microsoft.com/office/drawing/2014/main" id="{B1DF3BC4-5BD3-7C48-8D93-C5CE16F92F79}"/>
              </a:ext>
            </a:extLst>
          </p:cNvPr>
          <p:cNvSpPr>
            <a:spLocks noGrp="1"/>
          </p:cNvSpPr>
          <p:nvPr>
            <p:ph type="pic" sz="quarter" idx="11"/>
          </p:nvPr>
        </p:nvSpPr>
        <p:spPr>
          <a:xfrm>
            <a:off x="2130233" y="1538216"/>
            <a:ext cx="692944" cy="692150"/>
          </a:xfrm>
          <a:solidFill>
            <a:srgbClr val="ECECEC"/>
          </a:solidFill>
        </p:spPr>
        <p:txBody>
          <a:bodyPr anchor="ctr">
            <a:normAutofit/>
          </a:bodyPr>
          <a:lstStyle>
            <a:lvl1pPr marL="0" indent="0" algn="ctr">
              <a:buNone/>
              <a:defRPr sz="700">
                <a:solidFill>
                  <a:schemeClr val="tx2"/>
                </a:solidFill>
                <a:latin typeface="Barlow" pitchFamily="2" charset="77"/>
              </a:defRPr>
            </a:lvl1pPr>
          </a:lstStyle>
          <a:p>
            <a:endParaRPr lang="en-FI"/>
          </a:p>
        </p:txBody>
      </p:sp>
      <p:sp>
        <p:nvSpPr>
          <p:cNvPr id="6" name="Picture Placeholder 2">
            <a:extLst>
              <a:ext uri="{FF2B5EF4-FFF2-40B4-BE49-F238E27FC236}">
                <a16:creationId xmlns:a16="http://schemas.microsoft.com/office/drawing/2014/main" id="{F102159C-D9F0-5041-8714-07CEC43B0DBC}"/>
              </a:ext>
            </a:extLst>
          </p:cNvPr>
          <p:cNvSpPr>
            <a:spLocks noGrp="1"/>
          </p:cNvSpPr>
          <p:nvPr>
            <p:ph type="pic" sz="quarter" idx="12"/>
          </p:nvPr>
        </p:nvSpPr>
        <p:spPr>
          <a:xfrm>
            <a:off x="3221664" y="1538216"/>
            <a:ext cx="692944" cy="692150"/>
          </a:xfrm>
          <a:solidFill>
            <a:srgbClr val="ECECEC"/>
          </a:solidFill>
        </p:spPr>
        <p:txBody>
          <a:bodyPr anchor="ctr">
            <a:normAutofit/>
          </a:bodyPr>
          <a:lstStyle>
            <a:lvl1pPr marL="0" indent="0" algn="ctr">
              <a:buNone/>
              <a:defRPr sz="700">
                <a:solidFill>
                  <a:schemeClr val="tx2"/>
                </a:solidFill>
                <a:latin typeface="Barlow" pitchFamily="2" charset="77"/>
              </a:defRPr>
            </a:lvl1pPr>
          </a:lstStyle>
          <a:p>
            <a:endParaRPr lang="en-FI"/>
          </a:p>
        </p:txBody>
      </p:sp>
      <p:sp>
        <p:nvSpPr>
          <p:cNvPr id="7" name="Picture Placeholder 2">
            <a:extLst>
              <a:ext uri="{FF2B5EF4-FFF2-40B4-BE49-F238E27FC236}">
                <a16:creationId xmlns:a16="http://schemas.microsoft.com/office/drawing/2014/main" id="{6EA155DB-3A89-C64A-9A42-C9ADB3B2942A}"/>
              </a:ext>
            </a:extLst>
          </p:cNvPr>
          <p:cNvSpPr>
            <a:spLocks noGrp="1"/>
          </p:cNvSpPr>
          <p:nvPr>
            <p:ph type="pic" sz="quarter" idx="13"/>
          </p:nvPr>
        </p:nvSpPr>
        <p:spPr>
          <a:xfrm>
            <a:off x="4313094" y="1538216"/>
            <a:ext cx="692944" cy="692150"/>
          </a:xfrm>
          <a:solidFill>
            <a:srgbClr val="ECECEC"/>
          </a:solidFill>
        </p:spPr>
        <p:txBody>
          <a:bodyPr anchor="ctr">
            <a:normAutofit/>
          </a:bodyPr>
          <a:lstStyle>
            <a:lvl1pPr marL="0" indent="0" algn="ctr">
              <a:buNone/>
              <a:defRPr sz="700">
                <a:solidFill>
                  <a:schemeClr val="tx2"/>
                </a:solidFill>
                <a:latin typeface="Barlow" pitchFamily="2" charset="77"/>
              </a:defRPr>
            </a:lvl1pPr>
          </a:lstStyle>
          <a:p>
            <a:endParaRPr lang="en-FI"/>
          </a:p>
        </p:txBody>
      </p:sp>
      <p:sp>
        <p:nvSpPr>
          <p:cNvPr id="8" name="Picture Placeholder 2">
            <a:extLst>
              <a:ext uri="{FF2B5EF4-FFF2-40B4-BE49-F238E27FC236}">
                <a16:creationId xmlns:a16="http://schemas.microsoft.com/office/drawing/2014/main" id="{E379B7C7-C43C-B74F-80E1-FA4D5DF631D9}"/>
              </a:ext>
            </a:extLst>
          </p:cNvPr>
          <p:cNvSpPr>
            <a:spLocks noGrp="1"/>
          </p:cNvSpPr>
          <p:nvPr>
            <p:ph type="pic" sz="quarter" idx="14"/>
          </p:nvPr>
        </p:nvSpPr>
        <p:spPr>
          <a:xfrm>
            <a:off x="5404525" y="1538216"/>
            <a:ext cx="692944" cy="692150"/>
          </a:xfrm>
          <a:solidFill>
            <a:srgbClr val="ECECEC"/>
          </a:solidFill>
        </p:spPr>
        <p:txBody>
          <a:bodyPr anchor="ctr">
            <a:normAutofit/>
          </a:bodyPr>
          <a:lstStyle>
            <a:lvl1pPr marL="0" indent="0" algn="ctr">
              <a:buNone/>
              <a:defRPr sz="700">
                <a:solidFill>
                  <a:schemeClr val="tx2"/>
                </a:solidFill>
                <a:latin typeface="Barlow" pitchFamily="2" charset="77"/>
              </a:defRPr>
            </a:lvl1pPr>
          </a:lstStyle>
          <a:p>
            <a:endParaRPr lang="en-FI"/>
          </a:p>
        </p:txBody>
      </p:sp>
      <p:sp>
        <p:nvSpPr>
          <p:cNvPr id="9" name="Picture Placeholder 2">
            <a:extLst>
              <a:ext uri="{FF2B5EF4-FFF2-40B4-BE49-F238E27FC236}">
                <a16:creationId xmlns:a16="http://schemas.microsoft.com/office/drawing/2014/main" id="{E89031F5-4FEE-FD4B-A3E8-71C79F2AE94E}"/>
              </a:ext>
            </a:extLst>
          </p:cNvPr>
          <p:cNvSpPr>
            <a:spLocks noGrp="1"/>
          </p:cNvSpPr>
          <p:nvPr>
            <p:ph type="pic" sz="quarter" idx="15"/>
          </p:nvPr>
        </p:nvSpPr>
        <p:spPr>
          <a:xfrm>
            <a:off x="6495955" y="1538216"/>
            <a:ext cx="692944" cy="692150"/>
          </a:xfrm>
          <a:solidFill>
            <a:srgbClr val="ECECEC"/>
          </a:solidFill>
        </p:spPr>
        <p:txBody>
          <a:bodyPr anchor="ctr">
            <a:normAutofit/>
          </a:bodyPr>
          <a:lstStyle>
            <a:lvl1pPr marL="0" indent="0" algn="ctr">
              <a:buNone/>
              <a:defRPr sz="700">
                <a:solidFill>
                  <a:schemeClr val="tx2"/>
                </a:solidFill>
                <a:latin typeface="Barlow" pitchFamily="2" charset="77"/>
              </a:defRPr>
            </a:lvl1pPr>
          </a:lstStyle>
          <a:p>
            <a:endParaRPr lang="en-FI"/>
          </a:p>
        </p:txBody>
      </p:sp>
      <p:sp>
        <p:nvSpPr>
          <p:cNvPr id="10" name="Picture Placeholder 2">
            <a:extLst>
              <a:ext uri="{FF2B5EF4-FFF2-40B4-BE49-F238E27FC236}">
                <a16:creationId xmlns:a16="http://schemas.microsoft.com/office/drawing/2014/main" id="{D23B3A17-978C-7846-8E21-C3AB145AE24B}"/>
              </a:ext>
            </a:extLst>
          </p:cNvPr>
          <p:cNvSpPr>
            <a:spLocks noGrp="1"/>
          </p:cNvSpPr>
          <p:nvPr>
            <p:ph type="pic" sz="quarter" idx="16"/>
          </p:nvPr>
        </p:nvSpPr>
        <p:spPr>
          <a:xfrm>
            <a:off x="7587386" y="1538216"/>
            <a:ext cx="692944" cy="692150"/>
          </a:xfrm>
          <a:solidFill>
            <a:srgbClr val="ECECEC"/>
          </a:solidFill>
        </p:spPr>
        <p:txBody>
          <a:bodyPr anchor="ctr">
            <a:normAutofit/>
          </a:bodyPr>
          <a:lstStyle>
            <a:lvl1pPr marL="0" indent="0" algn="ctr">
              <a:buNone/>
              <a:defRPr sz="700">
                <a:solidFill>
                  <a:schemeClr val="tx2"/>
                </a:solidFill>
                <a:latin typeface="Barlow" pitchFamily="2" charset="77"/>
              </a:defRPr>
            </a:lvl1pPr>
          </a:lstStyle>
          <a:p>
            <a:endParaRPr lang="en-FI"/>
          </a:p>
        </p:txBody>
      </p:sp>
      <p:sp>
        <p:nvSpPr>
          <p:cNvPr id="12" name="Picture Placeholder 2">
            <a:extLst>
              <a:ext uri="{FF2B5EF4-FFF2-40B4-BE49-F238E27FC236}">
                <a16:creationId xmlns:a16="http://schemas.microsoft.com/office/drawing/2014/main" id="{7E8D7DF0-A277-9D49-AA86-6E00770DF78F}"/>
              </a:ext>
            </a:extLst>
          </p:cNvPr>
          <p:cNvSpPr>
            <a:spLocks noGrp="1"/>
          </p:cNvSpPr>
          <p:nvPr>
            <p:ph type="pic" sz="quarter" idx="17"/>
          </p:nvPr>
        </p:nvSpPr>
        <p:spPr>
          <a:xfrm>
            <a:off x="8678816" y="1538216"/>
            <a:ext cx="692944" cy="692150"/>
          </a:xfrm>
          <a:solidFill>
            <a:srgbClr val="ECECEC"/>
          </a:solidFill>
        </p:spPr>
        <p:txBody>
          <a:bodyPr anchor="ctr">
            <a:normAutofit/>
          </a:bodyPr>
          <a:lstStyle>
            <a:lvl1pPr marL="0" indent="0" algn="ctr">
              <a:buNone/>
              <a:defRPr sz="700">
                <a:solidFill>
                  <a:schemeClr val="tx2"/>
                </a:solidFill>
                <a:latin typeface="Barlow" pitchFamily="2" charset="77"/>
              </a:defRPr>
            </a:lvl1pPr>
          </a:lstStyle>
          <a:p>
            <a:endParaRPr lang="en-FI"/>
          </a:p>
        </p:txBody>
      </p:sp>
      <p:sp>
        <p:nvSpPr>
          <p:cNvPr id="13" name="Picture Placeholder 2">
            <a:extLst>
              <a:ext uri="{FF2B5EF4-FFF2-40B4-BE49-F238E27FC236}">
                <a16:creationId xmlns:a16="http://schemas.microsoft.com/office/drawing/2014/main" id="{B014FAAE-7B3D-1243-9C9A-374862A76277}"/>
              </a:ext>
            </a:extLst>
          </p:cNvPr>
          <p:cNvSpPr>
            <a:spLocks noGrp="1"/>
          </p:cNvSpPr>
          <p:nvPr>
            <p:ph type="pic" sz="quarter" idx="18"/>
          </p:nvPr>
        </p:nvSpPr>
        <p:spPr>
          <a:xfrm>
            <a:off x="9770247" y="1538216"/>
            <a:ext cx="692944" cy="692150"/>
          </a:xfrm>
          <a:solidFill>
            <a:srgbClr val="ECECEC"/>
          </a:solidFill>
        </p:spPr>
        <p:txBody>
          <a:bodyPr anchor="ctr">
            <a:normAutofit/>
          </a:bodyPr>
          <a:lstStyle>
            <a:lvl1pPr marL="0" indent="0" algn="ctr">
              <a:buNone/>
              <a:defRPr sz="700">
                <a:solidFill>
                  <a:schemeClr val="tx2"/>
                </a:solidFill>
                <a:latin typeface="Barlow" pitchFamily="2" charset="77"/>
              </a:defRPr>
            </a:lvl1pPr>
          </a:lstStyle>
          <a:p>
            <a:endParaRPr lang="en-FI"/>
          </a:p>
        </p:txBody>
      </p:sp>
      <p:sp>
        <p:nvSpPr>
          <p:cNvPr id="14" name="Picture Placeholder 2">
            <a:extLst>
              <a:ext uri="{FF2B5EF4-FFF2-40B4-BE49-F238E27FC236}">
                <a16:creationId xmlns:a16="http://schemas.microsoft.com/office/drawing/2014/main" id="{6D52479F-440B-3741-AC4E-3222AD177211}"/>
              </a:ext>
            </a:extLst>
          </p:cNvPr>
          <p:cNvSpPr>
            <a:spLocks noGrp="1"/>
          </p:cNvSpPr>
          <p:nvPr>
            <p:ph type="pic" sz="quarter" idx="19"/>
          </p:nvPr>
        </p:nvSpPr>
        <p:spPr>
          <a:xfrm>
            <a:off x="10861676" y="1538216"/>
            <a:ext cx="692944" cy="692150"/>
          </a:xfrm>
          <a:solidFill>
            <a:srgbClr val="ECECEC"/>
          </a:solidFill>
        </p:spPr>
        <p:txBody>
          <a:bodyPr anchor="ctr">
            <a:normAutofit/>
          </a:bodyPr>
          <a:lstStyle>
            <a:lvl1pPr marL="0" indent="0" algn="ctr">
              <a:buNone/>
              <a:defRPr sz="700">
                <a:solidFill>
                  <a:schemeClr val="tx2"/>
                </a:solidFill>
                <a:latin typeface="Barlow" pitchFamily="2" charset="77"/>
              </a:defRPr>
            </a:lvl1pPr>
          </a:lstStyle>
          <a:p>
            <a:endParaRPr lang="en-FI"/>
          </a:p>
        </p:txBody>
      </p:sp>
      <p:sp>
        <p:nvSpPr>
          <p:cNvPr id="15" name="Picture Placeholder 2">
            <a:extLst>
              <a:ext uri="{FF2B5EF4-FFF2-40B4-BE49-F238E27FC236}">
                <a16:creationId xmlns:a16="http://schemas.microsoft.com/office/drawing/2014/main" id="{3CC4451C-AEBE-584F-8EE0-184C5488A27E}"/>
              </a:ext>
            </a:extLst>
          </p:cNvPr>
          <p:cNvSpPr>
            <a:spLocks noGrp="1"/>
          </p:cNvSpPr>
          <p:nvPr>
            <p:ph type="pic" sz="quarter" idx="20"/>
          </p:nvPr>
        </p:nvSpPr>
        <p:spPr>
          <a:xfrm>
            <a:off x="1038803" y="2535743"/>
            <a:ext cx="692944" cy="692150"/>
          </a:xfrm>
          <a:solidFill>
            <a:srgbClr val="ECECEC"/>
          </a:solidFill>
        </p:spPr>
        <p:txBody>
          <a:bodyPr anchor="ctr">
            <a:normAutofit/>
          </a:bodyPr>
          <a:lstStyle>
            <a:lvl1pPr marL="0" indent="0" algn="ctr">
              <a:buNone/>
              <a:defRPr sz="700">
                <a:solidFill>
                  <a:schemeClr val="tx2"/>
                </a:solidFill>
                <a:latin typeface="Barlow" pitchFamily="2" charset="77"/>
              </a:defRPr>
            </a:lvl1pPr>
          </a:lstStyle>
          <a:p>
            <a:endParaRPr lang="en-FI"/>
          </a:p>
        </p:txBody>
      </p:sp>
      <p:sp>
        <p:nvSpPr>
          <p:cNvPr id="16" name="Picture Placeholder 2">
            <a:extLst>
              <a:ext uri="{FF2B5EF4-FFF2-40B4-BE49-F238E27FC236}">
                <a16:creationId xmlns:a16="http://schemas.microsoft.com/office/drawing/2014/main" id="{D1B8F02C-FA1B-944C-8E50-52211C8D94B2}"/>
              </a:ext>
            </a:extLst>
          </p:cNvPr>
          <p:cNvSpPr>
            <a:spLocks noGrp="1"/>
          </p:cNvSpPr>
          <p:nvPr>
            <p:ph type="pic" sz="quarter" idx="21"/>
          </p:nvPr>
        </p:nvSpPr>
        <p:spPr>
          <a:xfrm>
            <a:off x="2130233" y="2535743"/>
            <a:ext cx="692944" cy="692150"/>
          </a:xfrm>
          <a:solidFill>
            <a:srgbClr val="ECECEC"/>
          </a:solidFill>
        </p:spPr>
        <p:txBody>
          <a:bodyPr anchor="ctr">
            <a:normAutofit/>
          </a:bodyPr>
          <a:lstStyle>
            <a:lvl1pPr marL="0" indent="0" algn="ctr">
              <a:buNone/>
              <a:defRPr sz="700">
                <a:solidFill>
                  <a:schemeClr val="tx2"/>
                </a:solidFill>
                <a:latin typeface="Barlow" pitchFamily="2" charset="77"/>
              </a:defRPr>
            </a:lvl1pPr>
          </a:lstStyle>
          <a:p>
            <a:endParaRPr lang="en-FI"/>
          </a:p>
        </p:txBody>
      </p:sp>
      <p:sp>
        <p:nvSpPr>
          <p:cNvPr id="17" name="Picture Placeholder 2">
            <a:extLst>
              <a:ext uri="{FF2B5EF4-FFF2-40B4-BE49-F238E27FC236}">
                <a16:creationId xmlns:a16="http://schemas.microsoft.com/office/drawing/2014/main" id="{51A6A264-4F9B-BD40-907B-F457C79C9D25}"/>
              </a:ext>
            </a:extLst>
          </p:cNvPr>
          <p:cNvSpPr>
            <a:spLocks noGrp="1"/>
          </p:cNvSpPr>
          <p:nvPr>
            <p:ph type="pic" sz="quarter" idx="22"/>
          </p:nvPr>
        </p:nvSpPr>
        <p:spPr>
          <a:xfrm>
            <a:off x="3221664" y="2535743"/>
            <a:ext cx="692944" cy="692150"/>
          </a:xfrm>
          <a:solidFill>
            <a:srgbClr val="ECECEC"/>
          </a:solidFill>
        </p:spPr>
        <p:txBody>
          <a:bodyPr anchor="ctr">
            <a:normAutofit/>
          </a:bodyPr>
          <a:lstStyle>
            <a:lvl1pPr marL="0" indent="0" algn="ctr">
              <a:buNone/>
              <a:defRPr sz="700">
                <a:solidFill>
                  <a:schemeClr val="tx2"/>
                </a:solidFill>
                <a:latin typeface="Barlow" pitchFamily="2" charset="77"/>
              </a:defRPr>
            </a:lvl1pPr>
          </a:lstStyle>
          <a:p>
            <a:endParaRPr lang="en-FI"/>
          </a:p>
        </p:txBody>
      </p:sp>
      <p:sp>
        <p:nvSpPr>
          <p:cNvPr id="18" name="Picture Placeholder 2">
            <a:extLst>
              <a:ext uri="{FF2B5EF4-FFF2-40B4-BE49-F238E27FC236}">
                <a16:creationId xmlns:a16="http://schemas.microsoft.com/office/drawing/2014/main" id="{09520C77-297B-D444-A69A-6D169F975D8D}"/>
              </a:ext>
            </a:extLst>
          </p:cNvPr>
          <p:cNvSpPr>
            <a:spLocks noGrp="1"/>
          </p:cNvSpPr>
          <p:nvPr>
            <p:ph type="pic" sz="quarter" idx="23"/>
          </p:nvPr>
        </p:nvSpPr>
        <p:spPr>
          <a:xfrm>
            <a:off x="4313094" y="2535743"/>
            <a:ext cx="692944" cy="692150"/>
          </a:xfrm>
          <a:solidFill>
            <a:srgbClr val="ECECEC"/>
          </a:solidFill>
        </p:spPr>
        <p:txBody>
          <a:bodyPr anchor="ctr">
            <a:normAutofit/>
          </a:bodyPr>
          <a:lstStyle>
            <a:lvl1pPr marL="0" indent="0" algn="ctr">
              <a:buNone/>
              <a:defRPr sz="700">
                <a:solidFill>
                  <a:schemeClr val="tx2"/>
                </a:solidFill>
                <a:latin typeface="Barlow" pitchFamily="2" charset="77"/>
              </a:defRPr>
            </a:lvl1pPr>
          </a:lstStyle>
          <a:p>
            <a:endParaRPr lang="en-FI"/>
          </a:p>
        </p:txBody>
      </p:sp>
      <p:sp>
        <p:nvSpPr>
          <p:cNvPr id="19" name="Picture Placeholder 2">
            <a:extLst>
              <a:ext uri="{FF2B5EF4-FFF2-40B4-BE49-F238E27FC236}">
                <a16:creationId xmlns:a16="http://schemas.microsoft.com/office/drawing/2014/main" id="{4F68D8D0-E5A8-3E4B-82EC-828483B3F524}"/>
              </a:ext>
            </a:extLst>
          </p:cNvPr>
          <p:cNvSpPr>
            <a:spLocks noGrp="1"/>
          </p:cNvSpPr>
          <p:nvPr>
            <p:ph type="pic" sz="quarter" idx="24"/>
          </p:nvPr>
        </p:nvSpPr>
        <p:spPr>
          <a:xfrm>
            <a:off x="5404525" y="2535743"/>
            <a:ext cx="692944" cy="692150"/>
          </a:xfrm>
          <a:solidFill>
            <a:srgbClr val="ECECEC"/>
          </a:solidFill>
        </p:spPr>
        <p:txBody>
          <a:bodyPr anchor="ctr">
            <a:normAutofit/>
          </a:bodyPr>
          <a:lstStyle>
            <a:lvl1pPr marL="0" indent="0" algn="ctr">
              <a:buNone/>
              <a:defRPr sz="700">
                <a:solidFill>
                  <a:schemeClr val="tx2"/>
                </a:solidFill>
                <a:latin typeface="Barlow" pitchFamily="2" charset="77"/>
              </a:defRPr>
            </a:lvl1pPr>
          </a:lstStyle>
          <a:p>
            <a:endParaRPr lang="en-FI"/>
          </a:p>
        </p:txBody>
      </p:sp>
      <p:sp>
        <p:nvSpPr>
          <p:cNvPr id="20" name="Picture Placeholder 2">
            <a:extLst>
              <a:ext uri="{FF2B5EF4-FFF2-40B4-BE49-F238E27FC236}">
                <a16:creationId xmlns:a16="http://schemas.microsoft.com/office/drawing/2014/main" id="{DCCA461E-704A-AB42-854E-611956698124}"/>
              </a:ext>
            </a:extLst>
          </p:cNvPr>
          <p:cNvSpPr>
            <a:spLocks noGrp="1"/>
          </p:cNvSpPr>
          <p:nvPr>
            <p:ph type="pic" sz="quarter" idx="25"/>
          </p:nvPr>
        </p:nvSpPr>
        <p:spPr>
          <a:xfrm>
            <a:off x="6495955" y="2535743"/>
            <a:ext cx="692944" cy="692150"/>
          </a:xfrm>
          <a:solidFill>
            <a:srgbClr val="ECECEC"/>
          </a:solidFill>
        </p:spPr>
        <p:txBody>
          <a:bodyPr anchor="ctr">
            <a:normAutofit/>
          </a:bodyPr>
          <a:lstStyle>
            <a:lvl1pPr marL="0" indent="0" algn="ctr">
              <a:buNone/>
              <a:defRPr sz="700">
                <a:solidFill>
                  <a:schemeClr val="tx2"/>
                </a:solidFill>
                <a:latin typeface="Barlow" pitchFamily="2" charset="77"/>
              </a:defRPr>
            </a:lvl1pPr>
          </a:lstStyle>
          <a:p>
            <a:endParaRPr lang="en-FI"/>
          </a:p>
        </p:txBody>
      </p:sp>
      <p:sp>
        <p:nvSpPr>
          <p:cNvPr id="21" name="Picture Placeholder 2">
            <a:extLst>
              <a:ext uri="{FF2B5EF4-FFF2-40B4-BE49-F238E27FC236}">
                <a16:creationId xmlns:a16="http://schemas.microsoft.com/office/drawing/2014/main" id="{AA94B49F-9685-6E4D-9E8C-FC6EA94E36CF}"/>
              </a:ext>
            </a:extLst>
          </p:cNvPr>
          <p:cNvSpPr>
            <a:spLocks noGrp="1"/>
          </p:cNvSpPr>
          <p:nvPr>
            <p:ph type="pic" sz="quarter" idx="26"/>
          </p:nvPr>
        </p:nvSpPr>
        <p:spPr>
          <a:xfrm>
            <a:off x="7587386" y="2535743"/>
            <a:ext cx="692944" cy="692150"/>
          </a:xfrm>
          <a:solidFill>
            <a:srgbClr val="ECECEC"/>
          </a:solidFill>
        </p:spPr>
        <p:txBody>
          <a:bodyPr anchor="ctr">
            <a:normAutofit/>
          </a:bodyPr>
          <a:lstStyle>
            <a:lvl1pPr marL="0" indent="0" algn="ctr">
              <a:buNone/>
              <a:defRPr sz="700">
                <a:solidFill>
                  <a:schemeClr val="tx2"/>
                </a:solidFill>
                <a:latin typeface="Barlow" pitchFamily="2" charset="77"/>
              </a:defRPr>
            </a:lvl1pPr>
          </a:lstStyle>
          <a:p>
            <a:endParaRPr lang="en-FI"/>
          </a:p>
        </p:txBody>
      </p:sp>
      <p:sp>
        <p:nvSpPr>
          <p:cNvPr id="22" name="Picture Placeholder 2">
            <a:extLst>
              <a:ext uri="{FF2B5EF4-FFF2-40B4-BE49-F238E27FC236}">
                <a16:creationId xmlns:a16="http://schemas.microsoft.com/office/drawing/2014/main" id="{D7E86C7A-5517-C24F-9954-A302C9A2226F}"/>
              </a:ext>
            </a:extLst>
          </p:cNvPr>
          <p:cNvSpPr>
            <a:spLocks noGrp="1"/>
          </p:cNvSpPr>
          <p:nvPr>
            <p:ph type="pic" sz="quarter" idx="27"/>
          </p:nvPr>
        </p:nvSpPr>
        <p:spPr>
          <a:xfrm>
            <a:off x="8678816" y="2535743"/>
            <a:ext cx="692944" cy="692150"/>
          </a:xfrm>
          <a:solidFill>
            <a:srgbClr val="ECECEC"/>
          </a:solidFill>
        </p:spPr>
        <p:txBody>
          <a:bodyPr anchor="ctr">
            <a:normAutofit/>
          </a:bodyPr>
          <a:lstStyle>
            <a:lvl1pPr marL="0" indent="0" algn="ctr">
              <a:buNone/>
              <a:defRPr sz="700">
                <a:solidFill>
                  <a:schemeClr val="tx2"/>
                </a:solidFill>
                <a:latin typeface="Barlow" pitchFamily="2" charset="77"/>
              </a:defRPr>
            </a:lvl1pPr>
          </a:lstStyle>
          <a:p>
            <a:endParaRPr lang="en-FI"/>
          </a:p>
        </p:txBody>
      </p:sp>
      <p:sp>
        <p:nvSpPr>
          <p:cNvPr id="23" name="Picture Placeholder 2">
            <a:extLst>
              <a:ext uri="{FF2B5EF4-FFF2-40B4-BE49-F238E27FC236}">
                <a16:creationId xmlns:a16="http://schemas.microsoft.com/office/drawing/2014/main" id="{AABF648A-DE94-1B4D-B714-1DEF5CD7A6CF}"/>
              </a:ext>
            </a:extLst>
          </p:cNvPr>
          <p:cNvSpPr>
            <a:spLocks noGrp="1"/>
          </p:cNvSpPr>
          <p:nvPr>
            <p:ph type="pic" sz="quarter" idx="28"/>
          </p:nvPr>
        </p:nvSpPr>
        <p:spPr>
          <a:xfrm>
            <a:off x="9770247" y="2535743"/>
            <a:ext cx="692944" cy="692150"/>
          </a:xfrm>
          <a:solidFill>
            <a:srgbClr val="ECECEC"/>
          </a:solidFill>
        </p:spPr>
        <p:txBody>
          <a:bodyPr anchor="ctr">
            <a:normAutofit/>
          </a:bodyPr>
          <a:lstStyle>
            <a:lvl1pPr marL="0" indent="0" algn="ctr">
              <a:buNone/>
              <a:defRPr sz="700">
                <a:solidFill>
                  <a:schemeClr val="tx2"/>
                </a:solidFill>
                <a:latin typeface="Barlow" pitchFamily="2" charset="77"/>
              </a:defRPr>
            </a:lvl1pPr>
          </a:lstStyle>
          <a:p>
            <a:endParaRPr lang="en-FI"/>
          </a:p>
        </p:txBody>
      </p:sp>
      <p:sp>
        <p:nvSpPr>
          <p:cNvPr id="24" name="Picture Placeholder 2">
            <a:extLst>
              <a:ext uri="{FF2B5EF4-FFF2-40B4-BE49-F238E27FC236}">
                <a16:creationId xmlns:a16="http://schemas.microsoft.com/office/drawing/2014/main" id="{40F46BBC-CE3D-FD4A-9DD0-E973482F39B5}"/>
              </a:ext>
            </a:extLst>
          </p:cNvPr>
          <p:cNvSpPr>
            <a:spLocks noGrp="1"/>
          </p:cNvSpPr>
          <p:nvPr>
            <p:ph type="pic" sz="quarter" idx="29"/>
          </p:nvPr>
        </p:nvSpPr>
        <p:spPr>
          <a:xfrm>
            <a:off x="10861676" y="2535743"/>
            <a:ext cx="692944" cy="692150"/>
          </a:xfrm>
          <a:solidFill>
            <a:srgbClr val="ECECEC"/>
          </a:solidFill>
        </p:spPr>
        <p:txBody>
          <a:bodyPr anchor="ctr">
            <a:normAutofit/>
          </a:bodyPr>
          <a:lstStyle>
            <a:lvl1pPr marL="0" indent="0" algn="ctr">
              <a:buNone/>
              <a:defRPr sz="700">
                <a:solidFill>
                  <a:schemeClr val="tx2"/>
                </a:solidFill>
                <a:latin typeface="Barlow" pitchFamily="2" charset="77"/>
              </a:defRPr>
            </a:lvl1pPr>
          </a:lstStyle>
          <a:p>
            <a:endParaRPr lang="en-FI"/>
          </a:p>
        </p:txBody>
      </p:sp>
      <p:sp>
        <p:nvSpPr>
          <p:cNvPr id="25" name="Picture Placeholder 2">
            <a:extLst>
              <a:ext uri="{FF2B5EF4-FFF2-40B4-BE49-F238E27FC236}">
                <a16:creationId xmlns:a16="http://schemas.microsoft.com/office/drawing/2014/main" id="{6B9FD7BD-14BD-C647-9E2A-8B5A542B4618}"/>
              </a:ext>
            </a:extLst>
          </p:cNvPr>
          <p:cNvSpPr>
            <a:spLocks noGrp="1"/>
          </p:cNvSpPr>
          <p:nvPr>
            <p:ph type="pic" sz="quarter" idx="30"/>
          </p:nvPr>
        </p:nvSpPr>
        <p:spPr>
          <a:xfrm>
            <a:off x="1038803" y="3533269"/>
            <a:ext cx="692944" cy="692150"/>
          </a:xfrm>
          <a:solidFill>
            <a:srgbClr val="ECECEC"/>
          </a:solidFill>
        </p:spPr>
        <p:txBody>
          <a:bodyPr anchor="ctr">
            <a:normAutofit/>
          </a:bodyPr>
          <a:lstStyle>
            <a:lvl1pPr marL="0" indent="0" algn="ctr">
              <a:buNone/>
              <a:defRPr sz="700">
                <a:solidFill>
                  <a:schemeClr val="tx2"/>
                </a:solidFill>
                <a:latin typeface="Barlow" pitchFamily="2" charset="77"/>
              </a:defRPr>
            </a:lvl1pPr>
          </a:lstStyle>
          <a:p>
            <a:endParaRPr lang="en-FI"/>
          </a:p>
        </p:txBody>
      </p:sp>
      <p:sp>
        <p:nvSpPr>
          <p:cNvPr id="26" name="Picture Placeholder 2">
            <a:extLst>
              <a:ext uri="{FF2B5EF4-FFF2-40B4-BE49-F238E27FC236}">
                <a16:creationId xmlns:a16="http://schemas.microsoft.com/office/drawing/2014/main" id="{5FE89C44-FA74-7F43-A016-EA8D7BC3F619}"/>
              </a:ext>
            </a:extLst>
          </p:cNvPr>
          <p:cNvSpPr>
            <a:spLocks noGrp="1"/>
          </p:cNvSpPr>
          <p:nvPr>
            <p:ph type="pic" sz="quarter" idx="31"/>
          </p:nvPr>
        </p:nvSpPr>
        <p:spPr>
          <a:xfrm>
            <a:off x="2130233" y="3533269"/>
            <a:ext cx="692944" cy="692150"/>
          </a:xfrm>
          <a:solidFill>
            <a:srgbClr val="ECECEC"/>
          </a:solidFill>
        </p:spPr>
        <p:txBody>
          <a:bodyPr anchor="ctr">
            <a:normAutofit/>
          </a:bodyPr>
          <a:lstStyle>
            <a:lvl1pPr marL="0" indent="0" algn="ctr">
              <a:buNone/>
              <a:defRPr sz="700">
                <a:solidFill>
                  <a:schemeClr val="tx2"/>
                </a:solidFill>
                <a:latin typeface="Barlow" pitchFamily="2" charset="77"/>
              </a:defRPr>
            </a:lvl1pPr>
          </a:lstStyle>
          <a:p>
            <a:endParaRPr lang="en-FI"/>
          </a:p>
        </p:txBody>
      </p:sp>
      <p:sp>
        <p:nvSpPr>
          <p:cNvPr id="27" name="Picture Placeholder 2">
            <a:extLst>
              <a:ext uri="{FF2B5EF4-FFF2-40B4-BE49-F238E27FC236}">
                <a16:creationId xmlns:a16="http://schemas.microsoft.com/office/drawing/2014/main" id="{065E179A-9EA3-8A4E-90C1-E95B7E3CF7E1}"/>
              </a:ext>
            </a:extLst>
          </p:cNvPr>
          <p:cNvSpPr>
            <a:spLocks noGrp="1"/>
          </p:cNvSpPr>
          <p:nvPr>
            <p:ph type="pic" sz="quarter" idx="32"/>
          </p:nvPr>
        </p:nvSpPr>
        <p:spPr>
          <a:xfrm>
            <a:off x="3221664" y="3533269"/>
            <a:ext cx="692944" cy="692150"/>
          </a:xfrm>
          <a:solidFill>
            <a:srgbClr val="ECECEC"/>
          </a:solidFill>
        </p:spPr>
        <p:txBody>
          <a:bodyPr anchor="ctr">
            <a:normAutofit/>
          </a:bodyPr>
          <a:lstStyle>
            <a:lvl1pPr marL="0" indent="0" algn="ctr">
              <a:buNone/>
              <a:defRPr sz="700">
                <a:solidFill>
                  <a:schemeClr val="tx2"/>
                </a:solidFill>
                <a:latin typeface="Barlow" pitchFamily="2" charset="77"/>
              </a:defRPr>
            </a:lvl1pPr>
          </a:lstStyle>
          <a:p>
            <a:endParaRPr lang="en-FI"/>
          </a:p>
        </p:txBody>
      </p:sp>
      <p:sp>
        <p:nvSpPr>
          <p:cNvPr id="28" name="Picture Placeholder 2">
            <a:extLst>
              <a:ext uri="{FF2B5EF4-FFF2-40B4-BE49-F238E27FC236}">
                <a16:creationId xmlns:a16="http://schemas.microsoft.com/office/drawing/2014/main" id="{2A7D512E-3208-AD44-96A0-C4605E88B61F}"/>
              </a:ext>
            </a:extLst>
          </p:cNvPr>
          <p:cNvSpPr>
            <a:spLocks noGrp="1"/>
          </p:cNvSpPr>
          <p:nvPr>
            <p:ph type="pic" sz="quarter" idx="33"/>
          </p:nvPr>
        </p:nvSpPr>
        <p:spPr>
          <a:xfrm>
            <a:off x="4313094" y="3533269"/>
            <a:ext cx="692944" cy="692150"/>
          </a:xfrm>
          <a:solidFill>
            <a:srgbClr val="ECECEC"/>
          </a:solidFill>
        </p:spPr>
        <p:txBody>
          <a:bodyPr anchor="ctr">
            <a:normAutofit/>
          </a:bodyPr>
          <a:lstStyle>
            <a:lvl1pPr marL="0" indent="0" algn="ctr">
              <a:buNone/>
              <a:defRPr sz="700">
                <a:solidFill>
                  <a:schemeClr val="tx2"/>
                </a:solidFill>
                <a:latin typeface="Barlow" pitchFamily="2" charset="77"/>
              </a:defRPr>
            </a:lvl1pPr>
          </a:lstStyle>
          <a:p>
            <a:endParaRPr lang="en-FI"/>
          </a:p>
        </p:txBody>
      </p:sp>
      <p:sp>
        <p:nvSpPr>
          <p:cNvPr id="29" name="Picture Placeholder 2">
            <a:extLst>
              <a:ext uri="{FF2B5EF4-FFF2-40B4-BE49-F238E27FC236}">
                <a16:creationId xmlns:a16="http://schemas.microsoft.com/office/drawing/2014/main" id="{A31690F5-7966-2A42-B6ED-9B834A09253D}"/>
              </a:ext>
            </a:extLst>
          </p:cNvPr>
          <p:cNvSpPr>
            <a:spLocks noGrp="1"/>
          </p:cNvSpPr>
          <p:nvPr>
            <p:ph type="pic" sz="quarter" idx="34"/>
          </p:nvPr>
        </p:nvSpPr>
        <p:spPr>
          <a:xfrm>
            <a:off x="5404525" y="3533269"/>
            <a:ext cx="692944" cy="692150"/>
          </a:xfrm>
          <a:solidFill>
            <a:srgbClr val="ECECEC"/>
          </a:solidFill>
        </p:spPr>
        <p:txBody>
          <a:bodyPr anchor="ctr">
            <a:normAutofit/>
          </a:bodyPr>
          <a:lstStyle>
            <a:lvl1pPr marL="0" indent="0" algn="ctr">
              <a:buNone/>
              <a:defRPr sz="700">
                <a:solidFill>
                  <a:schemeClr val="tx2"/>
                </a:solidFill>
                <a:latin typeface="Barlow" pitchFamily="2" charset="77"/>
              </a:defRPr>
            </a:lvl1pPr>
          </a:lstStyle>
          <a:p>
            <a:endParaRPr lang="en-FI"/>
          </a:p>
        </p:txBody>
      </p:sp>
      <p:sp>
        <p:nvSpPr>
          <p:cNvPr id="30" name="Picture Placeholder 2">
            <a:extLst>
              <a:ext uri="{FF2B5EF4-FFF2-40B4-BE49-F238E27FC236}">
                <a16:creationId xmlns:a16="http://schemas.microsoft.com/office/drawing/2014/main" id="{820B2DE4-F68C-3742-A1A4-F3D51E3B9B39}"/>
              </a:ext>
            </a:extLst>
          </p:cNvPr>
          <p:cNvSpPr>
            <a:spLocks noGrp="1"/>
          </p:cNvSpPr>
          <p:nvPr>
            <p:ph type="pic" sz="quarter" idx="35"/>
          </p:nvPr>
        </p:nvSpPr>
        <p:spPr>
          <a:xfrm>
            <a:off x="6495955" y="3533269"/>
            <a:ext cx="692944" cy="692150"/>
          </a:xfrm>
          <a:solidFill>
            <a:srgbClr val="ECECEC"/>
          </a:solidFill>
        </p:spPr>
        <p:txBody>
          <a:bodyPr anchor="ctr">
            <a:normAutofit/>
          </a:bodyPr>
          <a:lstStyle>
            <a:lvl1pPr marL="0" indent="0" algn="ctr">
              <a:buNone/>
              <a:defRPr sz="700">
                <a:solidFill>
                  <a:schemeClr val="tx2"/>
                </a:solidFill>
                <a:latin typeface="Barlow" pitchFamily="2" charset="77"/>
              </a:defRPr>
            </a:lvl1pPr>
          </a:lstStyle>
          <a:p>
            <a:endParaRPr lang="en-FI"/>
          </a:p>
        </p:txBody>
      </p:sp>
      <p:sp>
        <p:nvSpPr>
          <p:cNvPr id="31" name="Picture Placeholder 2">
            <a:extLst>
              <a:ext uri="{FF2B5EF4-FFF2-40B4-BE49-F238E27FC236}">
                <a16:creationId xmlns:a16="http://schemas.microsoft.com/office/drawing/2014/main" id="{54FD07A9-10CA-C040-94D1-D39BBA395FDC}"/>
              </a:ext>
            </a:extLst>
          </p:cNvPr>
          <p:cNvSpPr>
            <a:spLocks noGrp="1"/>
          </p:cNvSpPr>
          <p:nvPr>
            <p:ph type="pic" sz="quarter" idx="36"/>
          </p:nvPr>
        </p:nvSpPr>
        <p:spPr>
          <a:xfrm>
            <a:off x="7587386" y="3533269"/>
            <a:ext cx="692944" cy="692150"/>
          </a:xfrm>
          <a:solidFill>
            <a:srgbClr val="ECECEC"/>
          </a:solidFill>
        </p:spPr>
        <p:txBody>
          <a:bodyPr anchor="ctr">
            <a:normAutofit/>
          </a:bodyPr>
          <a:lstStyle>
            <a:lvl1pPr marL="0" indent="0" algn="ctr">
              <a:buNone/>
              <a:defRPr sz="700">
                <a:solidFill>
                  <a:schemeClr val="tx2"/>
                </a:solidFill>
                <a:latin typeface="Barlow" pitchFamily="2" charset="77"/>
              </a:defRPr>
            </a:lvl1pPr>
          </a:lstStyle>
          <a:p>
            <a:endParaRPr lang="en-FI"/>
          </a:p>
        </p:txBody>
      </p:sp>
      <p:sp>
        <p:nvSpPr>
          <p:cNvPr id="32" name="Picture Placeholder 2">
            <a:extLst>
              <a:ext uri="{FF2B5EF4-FFF2-40B4-BE49-F238E27FC236}">
                <a16:creationId xmlns:a16="http://schemas.microsoft.com/office/drawing/2014/main" id="{D303D480-E3A4-0749-BCDC-D207000664EE}"/>
              </a:ext>
            </a:extLst>
          </p:cNvPr>
          <p:cNvSpPr>
            <a:spLocks noGrp="1"/>
          </p:cNvSpPr>
          <p:nvPr>
            <p:ph type="pic" sz="quarter" idx="37"/>
          </p:nvPr>
        </p:nvSpPr>
        <p:spPr>
          <a:xfrm>
            <a:off x="8678816" y="3533269"/>
            <a:ext cx="692944" cy="692150"/>
          </a:xfrm>
          <a:solidFill>
            <a:srgbClr val="ECECEC"/>
          </a:solidFill>
        </p:spPr>
        <p:txBody>
          <a:bodyPr anchor="ctr">
            <a:normAutofit/>
          </a:bodyPr>
          <a:lstStyle>
            <a:lvl1pPr marL="0" indent="0" algn="ctr">
              <a:buNone/>
              <a:defRPr sz="700">
                <a:solidFill>
                  <a:schemeClr val="tx2"/>
                </a:solidFill>
                <a:latin typeface="Barlow" pitchFamily="2" charset="77"/>
              </a:defRPr>
            </a:lvl1pPr>
          </a:lstStyle>
          <a:p>
            <a:endParaRPr lang="en-FI"/>
          </a:p>
        </p:txBody>
      </p:sp>
      <p:sp>
        <p:nvSpPr>
          <p:cNvPr id="33" name="Picture Placeholder 2">
            <a:extLst>
              <a:ext uri="{FF2B5EF4-FFF2-40B4-BE49-F238E27FC236}">
                <a16:creationId xmlns:a16="http://schemas.microsoft.com/office/drawing/2014/main" id="{6E4FE63C-ACA9-C84D-B806-2314D1F5568D}"/>
              </a:ext>
            </a:extLst>
          </p:cNvPr>
          <p:cNvSpPr>
            <a:spLocks noGrp="1"/>
          </p:cNvSpPr>
          <p:nvPr>
            <p:ph type="pic" sz="quarter" idx="38"/>
          </p:nvPr>
        </p:nvSpPr>
        <p:spPr>
          <a:xfrm>
            <a:off x="9770247" y="3533269"/>
            <a:ext cx="692944" cy="692150"/>
          </a:xfrm>
          <a:solidFill>
            <a:srgbClr val="ECECEC"/>
          </a:solidFill>
        </p:spPr>
        <p:txBody>
          <a:bodyPr anchor="ctr">
            <a:normAutofit/>
          </a:bodyPr>
          <a:lstStyle>
            <a:lvl1pPr marL="0" indent="0" algn="ctr">
              <a:buNone/>
              <a:defRPr sz="700">
                <a:solidFill>
                  <a:schemeClr val="tx2"/>
                </a:solidFill>
                <a:latin typeface="Barlow" pitchFamily="2" charset="77"/>
              </a:defRPr>
            </a:lvl1pPr>
          </a:lstStyle>
          <a:p>
            <a:endParaRPr lang="en-FI"/>
          </a:p>
        </p:txBody>
      </p:sp>
      <p:sp>
        <p:nvSpPr>
          <p:cNvPr id="34" name="Picture Placeholder 2">
            <a:extLst>
              <a:ext uri="{FF2B5EF4-FFF2-40B4-BE49-F238E27FC236}">
                <a16:creationId xmlns:a16="http://schemas.microsoft.com/office/drawing/2014/main" id="{377EF0EB-CAB6-8449-BCE5-0E8273BFE1E9}"/>
              </a:ext>
            </a:extLst>
          </p:cNvPr>
          <p:cNvSpPr>
            <a:spLocks noGrp="1"/>
          </p:cNvSpPr>
          <p:nvPr>
            <p:ph type="pic" sz="quarter" idx="39"/>
          </p:nvPr>
        </p:nvSpPr>
        <p:spPr>
          <a:xfrm>
            <a:off x="10861676" y="3533269"/>
            <a:ext cx="692944" cy="692150"/>
          </a:xfrm>
          <a:solidFill>
            <a:srgbClr val="ECECEC"/>
          </a:solidFill>
        </p:spPr>
        <p:txBody>
          <a:bodyPr anchor="ctr">
            <a:normAutofit/>
          </a:bodyPr>
          <a:lstStyle>
            <a:lvl1pPr marL="0" indent="0" algn="ctr">
              <a:buNone/>
              <a:defRPr sz="700">
                <a:solidFill>
                  <a:schemeClr val="tx2"/>
                </a:solidFill>
                <a:latin typeface="Barlow" pitchFamily="2" charset="77"/>
              </a:defRPr>
            </a:lvl1pPr>
          </a:lstStyle>
          <a:p>
            <a:endParaRPr lang="en-FI"/>
          </a:p>
        </p:txBody>
      </p:sp>
    </p:spTree>
    <p:extLst>
      <p:ext uri="{BB962C8B-B14F-4D97-AF65-F5344CB8AC3E}">
        <p14:creationId xmlns:p14="http://schemas.microsoft.com/office/powerpoint/2010/main" val="2246231330"/>
      </p:ext>
    </p:extLst>
  </p:cSld>
  <p:clrMapOvr>
    <a:masterClrMapping/>
  </p:clrMapOvr>
  <p:transition spd="med"/>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3000">
                <a:latin typeface="OPPOSans R" panose="00020600040101010101" pitchFamily="18" charset="-122"/>
              </a:defRPr>
            </a:lvl1pPr>
          </a:lstStyle>
          <a:p>
            <a:r>
              <a:rPr lang="en-US" dirty="0"/>
              <a:t>Click to edit Master title style</a:t>
            </a:r>
          </a:p>
        </p:txBody>
      </p:sp>
      <p:sp>
        <p:nvSpPr>
          <p:cNvPr id="3" name="Subtitle 2"/>
          <p:cNvSpPr>
            <a:spLocks noGrp="1"/>
          </p:cNvSpPr>
          <p:nvPr>
            <p:ph type="subTitle" idx="1"/>
          </p:nvPr>
        </p:nvSpPr>
        <p:spPr>
          <a:xfrm>
            <a:off x="1524000" y="3602038"/>
            <a:ext cx="9144000" cy="1655763"/>
          </a:xfrm>
        </p:spPr>
        <p:txBody>
          <a:bodyPr/>
          <a:lstStyle>
            <a:lvl1pPr marL="0" indent="0" algn="ctr">
              <a:buNone/>
              <a:defRPr sz="1200">
                <a:latin typeface="OPPOSans R" panose="00020600040101010101" pitchFamily="18" charset="-122"/>
              </a:defRPr>
            </a:lvl1pPr>
            <a:lvl2pPr marL="228600" indent="0" algn="ctr">
              <a:buNone/>
              <a:defRPr sz="1000"/>
            </a:lvl2pPr>
            <a:lvl3pPr marL="457200" indent="0" algn="ctr">
              <a:buNone/>
              <a:defRPr sz="900"/>
            </a:lvl3pPr>
            <a:lvl4pPr marL="685800" indent="0" algn="ctr">
              <a:buNone/>
              <a:defRPr sz="800"/>
            </a:lvl4pPr>
            <a:lvl5pPr marL="914400" indent="0" algn="ctr">
              <a:buNone/>
              <a:defRPr sz="800"/>
            </a:lvl5pPr>
            <a:lvl6pPr marL="1143000" indent="0" algn="ctr">
              <a:buNone/>
              <a:defRPr sz="800"/>
            </a:lvl6pPr>
            <a:lvl7pPr marL="1371600" indent="0" algn="ctr">
              <a:buNone/>
              <a:defRPr sz="800"/>
            </a:lvl7pPr>
            <a:lvl8pPr marL="1600200" indent="0" algn="ctr">
              <a:buNone/>
              <a:defRPr sz="800"/>
            </a:lvl8pPr>
            <a:lvl9pPr marL="1828800" indent="0" algn="ctr">
              <a:buNone/>
              <a:defRPr sz="800"/>
            </a:lvl9pPr>
          </a:lstStyle>
          <a:p>
            <a:r>
              <a:rPr lang="en-US" dirty="0"/>
              <a:t>Click to edit Master subtitle style</a:t>
            </a:r>
          </a:p>
        </p:txBody>
      </p:sp>
      <p:sp>
        <p:nvSpPr>
          <p:cNvPr id="4" name="Rectangle 3">
            <a:extLst>
              <a:ext uri="{FF2B5EF4-FFF2-40B4-BE49-F238E27FC236}">
                <a16:creationId xmlns:a16="http://schemas.microsoft.com/office/drawing/2014/main" id="{212762B4-00C3-4B12-BCAB-DA38524E086C}"/>
              </a:ext>
            </a:extLst>
          </p:cNvPr>
          <p:cNvSpPr>
            <a:spLocks noGrp="1"/>
          </p:cNvSpPr>
          <p:nvPr>
            <p:ph type="sldNum" sz="quarter" idx="10"/>
          </p:nvPr>
        </p:nvSpPr>
        <p:spPr>
          <a:ln/>
        </p:spPr>
        <p:txBody>
          <a:bodyPr/>
          <a:lstStyle>
            <a:lvl1pPr>
              <a:defRPr>
                <a:latin typeface="OPPOSans R" panose="00020600040101010101" pitchFamily="18" charset="-122"/>
              </a:defRPr>
            </a:lvl1pPr>
          </a:lstStyle>
          <a:p>
            <a:fld id="{3555290B-10BF-4EA1-9B11-9CEA540A2EBE}" type="slidenum">
              <a:rPr lang="zh-CN" altLang="zh-CN" smtClean="0"/>
              <a:pPr/>
              <a:t>‹#›</a:t>
            </a:fld>
            <a:endParaRPr lang="zh-CN" altLang="zh-CN"/>
          </a:p>
        </p:txBody>
      </p:sp>
    </p:spTree>
    <p:extLst>
      <p:ext uri="{BB962C8B-B14F-4D97-AF65-F5344CB8AC3E}">
        <p14:creationId xmlns:p14="http://schemas.microsoft.com/office/powerpoint/2010/main" val="3642770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13" name="Object 12" hidden="1"/>
                      <p:cNvPicPr/>
                      <p:nvPr/>
                    </p:nvPicPr>
                    <p:blipFill>
                      <a:blip r:embed="rId4"/>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335412777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11" name="Slide Number"/>
          <p:cNvSpPr txBox="1">
            <a:spLocks noGrp="1"/>
          </p:cNvSpPr>
          <p:nvPr>
            <p:ph type="sldNum" sz="quarter" idx="2"/>
          </p:nvPr>
        </p:nvSpPr>
        <p:spPr>
          <a:prstGeom prst="rect">
            <a:avLst/>
          </a:prstGeom>
        </p:spPr>
        <p:txBody>
          <a:bodyPr/>
          <a:lstStyle>
            <a:lvl1pPr>
              <a:defRPr>
                <a:latin typeface="OPPOSans R" panose="00020600040101010101" pitchFamily="18" charset="-122"/>
              </a:defRPr>
            </a:lvl1pPr>
          </a:lstStyle>
          <a:p>
            <a:fld id="{86CB4B4D-7CA3-9044-876B-883B54F8677D}" type="slidenum">
              <a:rPr lang="en-US" altLang="zh-CN" smtClean="0"/>
              <a:pPr/>
              <a:t>‹#›</a:t>
            </a:fld>
            <a:endParaRPr lang="en-US" altLang="zh-CN"/>
          </a:p>
        </p:txBody>
      </p:sp>
      <p:sp>
        <p:nvSpPr>
          <p:cNvPr id="3" name="Picture Placeholder 2">
            <a:extLst>
              <a:ext uri="{FF2B5EF4-FFF2-40B4-BE49-F238E27FC236}">
                <a16:creationId xmlns:a16="http://schemas.microsoft.com/office/drawing/2014/main" id="{4F8BD93B-8079-2F44-8C72-861A4EB58975}"/>
              </a:ext>
            </a:extLst>
          </p:cNvPr>
          <p:cNvSpPr>
            <a:spLocks noGrp="1"/>
          </p:cNvSpPr>
          <p:nvPr>
            <p:ph type="pic" sz="quarter" idx="10"/>
          </p:nvPr>
        </p:nvSpPr>
        <p:spPr>
          <a:xfrm>
            <a:off x="1038803" y="1538216"/>
            <a:ext cx="692944" cy="692150"/>
          </a:xfrm>
          <a:solidFill>
            <a:srgbClr val="ECECEC"/>
          </a:solidFill>
        </p:spPr>
        <p:txBody>
          <a:bodyPr anchor="ctr">
            <a:normAutofit/>
          </a:bodyPr>
          <a:lstStyle>
            <a:lvl1pPr marL="0" indent="0" algn="ctr">
              <a:buNone/>
              <a:defRPr sz="700">
                <a:solidFill>
                  <a:schemeClr val="tx2"/>
                </a:solidFill>
                <a:latin typeface="Barlow" pitchFamily="2" charset="77"/>
              </a:defRPr>
            </a:lvl1pPr>
          </a:lstStyle>
          <a:p>
            <a:endParaRPr lang="en-FI"/>
          </a:p>
        </p:txBody>
      </p:sp>
      <p:sp>
        <p:nvSpPr>
          <p:cNvPr id="5" name="Picture Placeholder 2">
            <a:extLst>
              <a:ext uri="{FF2B5EF4-FFF2-40B4-BE49-F238E27FC236}">
                <a16:creationId xmlns:a16="http://schemas.microsoft.com/office/drawing/2014/main" id="{B1DF3BC4-5BD3-7C48-8D93-C5CE16F92F79}"/>
              </a:ext>
            </a:extLst>
          </p:cNvPr>
          <p:cNvSpPr>
            <a:spLocks noGrp="1"/>
          </p:cNvSpPr>
          <p:nvPr>
            <p:ph type="pic" sz="quarter" idx="11"/>
          </p:nvPr>
        </p:nvSpPr>
        <p:spPr>
          <a:xfrm>
            <a:off x="2130233" y="1538216"/>
            <a:ext cx="692944" cy="692150"/>
          </a:xfrm>
          <a:solidFill>
            <a:srgbClr val="ECECEC"/>
          </a:solidFill>
        </p:spPr>
        <p:txBody>
          <a:bodyPr anchor="ctr">
            <a:normAutofit/>
          </a:bodyPr>
          <a:lstStyle>
            <a:lvl1pPr marL="0" indent="0" algn="ctr">
              <a:buNone/>
              <a:defRPr sz="700">
                <a:solidFill>
                  <a:schemeClr val="tx2"/>
                </a:solidFill>
                <a:latin typeface="Barlow" pitchFamily="2" charset="77"/>
              </a:defRPr>
            </a:lvl1pPr>
          </a:lstStyle>
          <a:p>
            <a:endParaRPr lang="en-FI"/>
          </a:p>
        </p:txBody>
      </p:sp>
      <p:sp>
        <p:nvSpPr>
          <p:cNvPr id="6" name="Picture Placeholder 2">
            <a:extLst>
              <a:ext uri="{FF2B5EF4-FFF2-40B4-BE49-F238E27FC236}">
                <a16:creationId xmlns:a16="http://schemas.microsoft.com/office/drawing/2014/main" id="{F102159C-D9F0-5041-8714-07CEC43B0DBC}"/>
              </a:ext>
            </a:extLst>
          </p:cNvPr>
          <p:cNvSpPr>
            <a:spLocks noGrp="1"/>
          </p:cNvSpPr>
          <p:nvPr>
            <p:ph type="pic" sz="quarter" idx="12"/>
          </p:nvPr>
        </p:nvSpPr>
        <p:spPr>
          <a:xfrm>
            <a:off x="3221664" y="1538216"/>
            <a:ext cx="692944" cy="692150"/>
          </a:xfrm>
          <a:solidFill>
            <a:srgbClr val="ECECEC"/>
          </a:solidFill>
        </p:spPr>
        <p:txBody>
          <a:bodyPr anchor="ctr">
            <a:normAutofit/>
          </a:bodyPr>
          <a:lstStyle>
            <a:lvl1pPr marL="0" indent="0" algn="ctr">
              <a:buNone/>
              <a:defRPr sz="700">
                <a:solidFill>
                  <a:schemeClr val="tx2"/>
                </a:solidFill>
                <a:latin typeface="Barlow" pitchFamily="2" charset="77"/>
              </a:defRPr>
            </a:lvl1pPr>
          </a:lstStyle>
          <a:p>
            <a:endParaRPr lang="en-FI"/>
          </a:p>
        </p:txBody>
      </p:sp>
      <p:sp>
        <p:nvSpPr>
          <p:cNvPr id="7" name="Picture Placeholder 2">
            <a:extLst>
              <a:ext uri="{FF2B5EF4-FFF2-40B4-BE49-F238E27FC236}">
                <a16:creationId xmlns:a16="http://schemas.microsoft.com/office/drawing/2014/main" id="{6EA155DB-3A89-C64A-9A42-C9ADB3B2942A}"/>
              </a:ext>
            </a:extLst>
          </p:cNvPr>
          <p:cNvSpPr>
            <a:spLocks noGrp="1"/>
          </p:cNvSpPr>
          <p:nvPr>
            <p:ph type="pic" sz="quarter" idx="13"/>
          </p:nvPr>
        </p:nvSpPr>
        <p:spPr>
          <a:xfrm>
            <a:off x="4313094" y="1538216"/>
            <a:ext cx="692944" cy="692150"/>
          </a:xfrm>
          <a:solidFill>
            <a:srgbClr val="ECECEC"/>
          </a:solidFill>
        </p:spPr>
        <p:txBody>
          <a:bodyPr anchor="ctr">
            <a:normAutofit/>
          </a:bodyPr>
          <a:lstStyle>
            <a:lvl1pPr marL="0" indent="0" algn="ctr">
              <a:buNone/>
              <a:defRPr sz="700">
                <a:solidFill>
                  <a:schemeClr val="tx2"/>
                </a:solidFill>
                <a:latin typeface="Barlow" pitchFamily="2" charset="77"/>
              </a:defRPr>
            </a:lvl1pPr>
          </a:lstStyle>
          <a:p>
            <a:endParaRPr lang="en-FI"/>
          </a:p>
        </p:txBody>
      </p:sp>
      <p:sp>
        <p:nvSpPr>
          <p:cNvPr id="8" name="Picture Placeholder 2">
            <a:extLst>
              <a:ext uri="{FF2B5EF4-FFF2-40B4-BE49-F238E27FC236}">
                <a16:creationId xmlns:a16="http://schemas.microsoft.com/office/drawing/2014/main" id="{E379B7C7-C43C-B74F-80E1-FA4D5DF631D9}"/>
              </a:ext>
            </a:extLst>
          </p:cNvPr>
          <p:cNvSpPr>
            <a:spLocks noGrp="1"/>
          </p:cNvSpPr>
          <p:nvPr>
            <p:ph type="pic" sz="quarter" idx="14"/>
          </p:nvPr>
        </p:nvSpPr>
        <p:spPr>
          <a:xfrm>
            <a:off x="5404525" y="1538216"/>
            <a:ext cx="692944" cy="692150"/>
          </a:xfrm>
          <a:solidFill>
            <a:srgbClr val="ECECEC"/>
          </a:solidFill>
        </p:spPr>
        <p:txBody>
          <a:bodyPr anchor="ctr">
            <a:normAutofit/>
          </a:bodyPr>
          <a:lstStyle>
            <a:lvl1pPr marL="0" indent="0" algn="ctr">
              <a:buNone/>
              <a:defRPr sz="700">
                <a:solidFill>
                  <a:schemeClr val="tx2"/>
                </a:solidFill>
                <a:latin typeface="Barlow" pitchFamily="2" charset="77"/>
              </a:defRPr>
            </a:lvl1pPr>
          </a:lstStyle>
          <a:p>
            <a:endParaRPr lang="en-FI"/>
          </a:p>
        </p:txBody>
      </p:sp>
      <p:sp>
        <p:nvSpPr>
          <p:cNvPr id="9" name="Picture Placeholder 2">
            <a:extLst>
              <a:ext uri="{FF2B5EF4-FFF2-40B4-BE49-F238E27FC236}">
                <a16:creationId xmlns:a16="http://schemas.microsoft.com/office/drawing/2014/main" id="{E89031F5-4FEE-FD4B-A3E8-71C79F2AE94E}"/>
              </a:ext>
            </a:extLst>
          </p:cNvPr>
          <p:cNvSpPr>
            <a:spLocks noGrp="1"/>
          </p:cNvSpPr>
          <p:nvPr>
            <p:ph type="pic" sz="quarter" idx="15"/>
          </p:nvPr>
        </p:nvSpPr>
        <p:spPr>
          <a:xfrm>
            <a:off x="6495955" y="1538216"/>
            <a:ext cx="692944" cy="692150"/>
          </a:xfrm>
          <a:solidFill>
            <a:srgbClr val="ECECEC"/>
          </a:solidFill>
        </p:spPr>
        <p:txBody>
          <a:bodyPr anchor="ctr">
            <a:normAutofit/>
          </a:bodyPr>
          <a:lstStyle>
            <a:lvl1pPr marL="0" indent="0" algn="ctr">
              <a:buNone/>
              <a:defRPr sz="700">
                <a:solidFill>
                  <a:schemeClr val="tx2"/>
                </a:solidFill>
                <a:latin typeface="Barlow" pitchFamily="2" charset="77"/>
              </a:defRPr>
            </a:lvl1pPr>
          </a:lstStyle>
          <a:p>
            <a:endParaRPr lang="en-FI"/>
          </a:p>
        </p:txBody>
      </p:sp>
      <p:sp>
        <p:nvSpPr>
          <p:cNvPr id="10" name="Picture Placeholder 2">
            <a:extLst>
              <a:ext uri="{FF2B5EF4-FFF2-40B4-BE49-F238E27FC236}">
                <a16:creationId xmlns:a16="http://schemas.microsoft.com/office/drawing/2014/main" id="{D23B3A17-978C-7846-8E21-C3AB145AE24B}"/>
              </a:ext>
            </a:extLst>
          </p:cNvPr>
          <p:cNvSpPr>
            <a:spLocks noGrp="1"/>
          </p:cNvSpPr>
          <p:nvPr>
            <p:ph type="pic" sz="quarter" idx="16"/>
          </p:nvPr>
        </p:nvSpPr>
        <p:spPr>
          <a:xfrm>
            <a:off x="7587386" y="1538216"/>
            <a:ext cx="692944" cy="692150"/>
          </a:xfrm>
          <a:solidFill>
            <a:srgbClr val="ECECEC"/>
          </a:solidFill>
        </p:spPr>
        <p:txBody>
          <a:bodyPr anchor="ctr">
            <a:normAutofit/>
          </a:bodyPr>
          <a:lstStyle>
            <a:lvl1pPr marL="0" indent="0" algn="ctr">
              <a:buNone/>
              <a:defRPr sz="700">
                <a:solidFill>
                  <a:schemeClr val="tx2"/>
                </a:solidFill>
                <a:latin typeface="Barlow" pitchFamily="2" charset="77"/>
              </a:defRPr>
            </a:lvl1pPr>
          </a:lstStyle>
          <a:p>
            <a:endParaRPr lang="en-FI"/>
          </a:p>
        </p:txBody>
      </p:sp>
      <p:sp>
        <p:nvSpPr>
          <p:cNvPr id="12" name="Picture Placeholder 2">
            <a:extLst>
              <a:ext uri="{FF2B5EF4-FFF2-40B4-BE49-F238E27FC236}">
                <a16:creationId xmlns:a16="http://schemas.microsoft.com/office/drawing/2014/main" id="{7E8D7DF0-A277-9D49-AA86-6E00770DF78F}"/>
              </a:ext>
            </a:extLst>
          </p:cNvPr>
          <p:cNvSpPr>
            <a:spLocks noGrp="1"/>
          </p:cNvSpPr>
          <p:nvPr>
            <p:ph type="pic" sz="quarter" idx="17"/>
          </p:nvPr>
        </p:nvSpPr>
        <p:spPr>
          <a:xfrm>
            <a:off x="8678816" y="1538216"/>
            <a:ext cx="692944" cy="692150"/>
          </a:xfrm>
          <a:solidFill>
            <a:srgbClr val="ECECEC"/>
          </a:solidFill>
        </p:spPr>
        <p:txBody>
          <a:bodyPr anchor="ctr">
            <a:normAutofit/>
          </a:bodyPr>
          <a:lstStyle>
            <a:lvl1pPr marL="0" indent="0" algn="ctr">
              <a:buNone/>
              <a:defRPr sz="700">
                <a:solidFill>
                  <a:schemeClr val="tx2"/>
                </a:solidFill>
                <a:latin typeface="Barlow" pitchFamily="2" charset="77"/>
              </a:defRPr>
            </a:lvl1pPr>
          </a:lstStyle>
          <a:p>
            <a:endParaRPr lang="en-FI"/>
          </a:p>
        </p:txBody>
      </p:sp>
      <p:sp>
        <p:nvSpPr>
          <p:cNvPr id="13" name="Picture Placeholder 2">
            <a:extLst>
              <a:ext uri="{FF2B5EF4-FFF2-40B4-BE49-F238E27FC236}">
                <a16:creationId xmlns:a16="http://schemas.microsoft.com/office/drawing/2014/main" id="{B014FAAE-7B3D-1243-9C9A-374862A76277}"/>
              </a:ext>
            </a:extLst>
          </p:cNvPr>
          <p:cNvSpPr>
            <a:spLocks noGrp="1"/>
          </p:cNvSpPr>
          <p:nvPr>
            <p:ph type="pic" sz="quarter" idx="18"/>
          </p:nvPr>
        </p:nvSpPr>
        <p:spPr>
          <a:xfrm>
            <a:off x="9770247" y="1538216"/>
            <a:ext cx="692944" cy="692150"/>
          </a:xfrm>
          <a:solidFill>
            <a:srgbClr val="ECECEC"/>
          </a:solidFill>
        </p:spPr>
        <p:txBody>
          <a:bodyPr anchor="ctr">
            <a:normAutofit/>
          </a:bodyPr>
          <a:lstStyle>
            <a:lvl1pPr marL="0" indent="0" algn="ctr">
              <a:buNone/>
              <a:defRPr sz="700">
                <a:solidFill>
                  <a:schemeClr val="tx2"/>
                </a:solidFill>
                <a:latin typeface="Barlow" pitchFamily="2" charset="77"/>
              </a:defRPr>
            </a:lvl1pPr>
          </a:lstStyle>
          <a:p>
            <a:endParaRPr lang="en-FI"/>
          </a:p>
        </p:txBody>
      </p:sp>
      <p:sp>
        <p:nvSpPr>
          <p:cNvPr id="14" name="Picture Placeholder 2">
            <a:extLst>
              <a:ext uri="{FF2B5EF4-FFF2-40B4-BE49-F238E27FC236}">
                <a16:creationId xmlns:a16="http://schemas.microsoft.com/office/drawing/2014/main" id="{6D52479F-440B-3741-AC4E-3222AD177211}"/>
              </a:ext>
            </a:extLst>
          </p:cNvPr>
          <p:cNvSpPr>
            <a:spLocks noGrp="1"/>
          </p:cNvSpPr>
          <p:nvPr>
            <p:ph type="pic" sz="quarter" idx="19"/>
          </p:nvPr>
        </p:nvSpPr>
        <p:spPr>
          <a:xfrm>
            <a:off x="10861676" y="1538216"/>
            <a:ext cx="692944" cy="692150"/>
          </a:xfrm>
          <a:solidFill>
            <a:srgbClr val="ECECEC"/>
          </a:solidFill>
        </p:spPr>
        <p:txBody>
          <a:bodyPr anchor="ctr">
            <a:normAutofit/>
          </a:bodyPr>
          <a:lstStyle>
            <a:lvl1pPr marL="0" indent="0" algn="ctr">
              <a:buNone/>
              <a:defRPr sz="700">
                <a:solidFill>
                  <a:schemeClr val="tx2"/>
                </a:solidFill>
                <a:latin typeface="Barlow" pitchFamily="2" charset="77"/>
              </a:defRPr>
            </a:lvl1pPr>
          </a:lstStyle>
          <a:p>
            <a:endParaRPr lang="en-FI"/>
          </a:p>
        </p:txBody>
      </p:sp>
      <p:sp>
        <p:nvSpPr>
          <p:cNvPr id="15" name="Picture Placeholder 2">
            <a:extLst>
              <a:ext uri="{FF2B5EF4-FFF2-40B4-BE49-F238E27FC236}">
                <a16:creationId xmlns:a16="http://schemas.microsoft.com/office/drawing/2014/main" id="{3CC4451C-AEBE-584F-8EE0-184C5488A27E}"/>
              </a:ext>
            </a:extLst>
          </p:cNvPr>
          <p:cNvSpPr>
            <a:spLocks noGrp="1"/>
          </p:cNvSpPr>
          <p:nvPr>
            <p:ph type="pic" sz="quarter" idx="20"/>
          </p:nvPr>
        </p:nvSpPr>
        <p:spPr>
          <a:xfrm>
            <a:off x="1038803" y="2535743"/>
            <a:ext cx="692944" cy="692150"/>
          </a:xfrm>
          <a:solidFill>
            <a:srgbClr val="ECECEC"/>
          </a:solidFill>
        </p:spPr>
        <p:txBody>
          <a:bodyPr anchor="ctr">
            <a:normAutofit/>
          </a:bodyPr>
          <a:lstStyle>
            <a:lvl1pPr marL="0" indent="0" algn="ctr">
              <a:buNone/>
              <a:defRPr sz="700">
                <a:solidFill>
                  <a:schemeClr val="tx2"/>
                </a:solidFill>
                <a:latin typeface="Barlow" pitchFamily="2" charset="77"/>
              </a:defRPr>
            </a:lvl1pPr>
          </a:lstStyle>
          <a:p>
            <a:endParaRPr lang="en-FI"/>
          </a:p>
        </p:txBody>
      </p:sp>
      <p:sp>
        <p:nvSpPr>
          <p:cNvPr id="16" name="Picture Placeholder 2">
            <a:extLst>
              <a:ext uri="{FF2B5EF4-FFF2-40B4-BE49-F238E27FC236}">
                <a16:creationId xmlns:a16="http://schemas.microsoft.com/office/drawing/2014/main" id="{D1B8F02C-FA1B-944C-8E50-52211C8D94B2}"/>
              </a:ext>
            </a:extLst>
          </p:cNvPr>
          <p:cNvSpPr>
            <a:spLocks noGrp="1"/>
          </p:cNvSpPr>
          <p:nvPr>
            <p:ph type="pic" sz="quarter" idx="21"/>
          </p:nvPr>
        </p:nvSpPr>
        <p:spPr>
          <a:xfrm>
            <a:off x="2130233" y="2535743"/>
            <a:ext cx="692944" cy="692150"/>
          </a:xfrm>
          <a:solidFill>
            <a:srgbClr val="ECECEC"/>
          </a:solidFill>
        </p:spPr>
        <p:txBody>
          <a:bodyPr anchor="ctr">
            <a:normAutofit/>
          </a:bodyPr>
          <a:lstStyle>
            <a:lvl1pPr marL="0" indent="0" algn="ctr">
              <a:buNone/>
              <a:defRPr sz="700">
                <a:solidFill>
                  <a:schemeClr val="tx2"/>
                </a:solidFill>
                <a:latin typeface="Barlow" pitchFamily="2" charset="77"/>
              </a:defRPr>
            </a:lvl1pPr>
          </a:lstStyle>
          <a:p>
            <a:endParaRPr lang="en-FI"/>
          </a:p>
        </p:txBody>
      </p:sp>
      <p:sp>
        <p:nvSpPr>
          <p:cNvPr id="17" name="Picture Placeholder 2">
            <a:extLst>
              <a:ext uri="{FF2B5EF4-FFF2-40B4-BE49-F238E27FC236}">
                <a16:creationId xmlns:a16="http://schemas.microsoft.com/office/drawing/2014/main" id="{51A6A264-4F9B-BD40-907B-F457C79C9D25}"/>
              </a:ext>
            </a:extLst>
          </p:cNvPr>
          <p:cNvSpPr>
            <a:spLocks noGrp="1"/>
          </p:cNvSpPr>
          <p:nvPr>
            <p:ph type="pic" sz="quarter" idx="22"/>
          </p:nvPr>
        </p:nvSpPr>
        <p:spPr>
          <a:xfrm>
            <a:off x="3221664" y="2535743"/>
            <a:ext cx="692944" cy="692150"/>
          </a:xfrm>
          <a:solidFill>
            <a:srgbClr val="ECECEC"/>
          </a:solidFill>
        </p:spPr>
        <p:txBody>
          <a:bodyPr anchor="ctr">
            <a:normAutofit/>
          </a:bodyPr>
          <a:lstStyle>
            <a:lvl1pPr marL="0" indent="0" algn="ctr">
              <a:buNone/>
              <a:defRPr sz="700">
                <a:solidFill>
                  <a:schemeClr val="tx2"/>
                </a:solidFill>
                <a:latin typeface="Barlow" pitchFamily="2" charset="77"/>
              </a:defRPr>
            </a:lvl1pPr>
          </a:lstStyle>
          <a:p>
            <a:endParaRPr lang="en-FI"/>
          </a:p>
        </p:txBody>
      </p:sp>
      <p:sp>
        <p:nvSpPr>
          <p:cNvPr id="18" name="Picture Placeholder 2">
            <a:extLst>
              <a:ext uri="{FF2B5EF4-FFF2-40B4-BE49-F238E27FC236}">
                <a16:creationId xmlns:a16="http://schemas.microsoft.com/office/drawing/2014/main" id="{09520C77-297B-D444-A69A-6D169F975D8D}"/>
              </a:ext>
            </a:extLst>
          </p:cNvPr>
          <p:cNvSpPr>
            <a:spLocks noGrp="1"/>
          </p:cNvSpPr>
          <p:nvPr>
            <p:ph type="pic" sz="quarter" idx="23"/>
          </p:nvPr>
        </p:nvSpPr>
        <p:spPr>
          <a:xfrm>
            <a:off x="4313094" y="2535743"/>
            <a:ext cx="692944" cy="692150"/>
          </a:xfrm>
          <a:solidFill>
            <a:srgbClr val="ECECEC"/>
          </a:solidFill>
        </p:spPr>
        <p:txBody>
          <a:bodyPr anchor="ctr">
            <a:normAutofit/>
          </a:bodyPr>
          <a:lstStyle>
            <a:lvl1pPr marL="0" indent="0" algn="ctr">
              <a:buNone/>
              <a:defRPr sz="700">
                <a:solidFill>
                  <a:schemeClr val="tx2"/>
                </a:solidFill>
                <a:latin typeface="Barlow" pitchFamily="2" charset="77"/>
              </a:defRPr>
            </a:lvl1pPr>
          </a:lstStyle>
          <a:p>
            <a:endParaRPr lang="en-FI"/>
          </a:p>
        </p:txBody>
      </p:sp>
      <p:sp>
        <p:nvSpPr>
          <p:cNvPr id="19" name="Picture Placeholder 2">
            <a:extLst>
              <a:ext uri="{FF2B5EF4-FFF2-40B4-BE49-F238E27FC236}">
                <a16:creationId xmlns:a16="http://schemas.microsoft.com/office/drawing/2014/main" id="{4F68D8D0-E5A8-3E4B-82EC-828483B3F524}"/>
              </a:ext>
            </a:extLst>
          </p:cNvPr>
          <p:cNvSpPr>
            <a:spLocks noGrp="1"/>
          </p:cNvSpPr>
          <p:nvPr>
            <p:ph type="pic" sz="quarter" idx="24"/>
          </p:nvPr>
        </p:nvSpPr>
        <p:spPr>
          <a:xfrm>
            <a:off x="5404525" y="2535743"/>
            <a:ext cx="692944" cy="692150"/>
          </a:xfrm>
          <a:solidFill>
            <a:srgbClr val="ECECEC"/>
          </a:solidFill>
        </p:spPr>
        <p:txBody>
          <a:bodyPr anchor="ctr">
            <a:normAutofit/>
          </a:bodyPr>
          <a:lstStyle>
            <a:lvl1pPr marL="0" indent="0" algn="ctr">
              <a:buNone/>
              <a:defRPr sz="700">
                <a:solidFill>
                  <a:schemeClr val="tx2"/>
                </a:solidFill>
                <a:latin typeface="Barlow" pitchFamily="2" charset="77"/>
              </a:defRPr>
            </a:lvl1pPr>
          </a:lstStyle>
          <a:p>
            <a:endParaRPr lang="en-FI"/>
          </a:p>
        </p:txBody>
      </p:sp>
      <p:sp>
        <p:nvSpPr>
          <p:cNvPr id="20" name="Picture Placeholder 2">
            <a:extLst>
              <a:ext uri="{FF2B5EF4-FFF2-40B4-BE49-F238E27FC236}">
                <a16:creationId xmlns:a16="http://schemas.microsoft.com/office/drawing/2014/main" id="{DCCA461E-704A-AB42-854E-611956698124}"/>
              </a:ext>
            </a:extLst>
          </p:cNvPr>
          <p:cNvSpPr>
            <a:spLocks noGrp="1"/>
          </p:cNvSpPr>
          <p:nvPr>
            <p:ph type="pic" sz="quarter" idx="25"/>
          </p:nvPr>
        </p:nvSpPr>
        <p:spPr>
          <a:xfrm>
            <a:off x="6495955" y="2535743"/>
            <a:ext cx="692944" cy="692150"/>
          </a:xfrm>
          <a:solidFill>
            <a:srgbClr val="ECECEC"/>
          </a:solidFill>
        </p:spPr>
        <p:txBody>
          <a:bodyPr anchor="ctr">
            <a:normAutofit/>
          </a:bodyPr>
          <a:lstStyle>
            <a:lvl1pPr marL="0" indent="0" algn="ctr">
              <a:buNone/>
              <a:defRPr sz="700">
                <a:solidFill>
                  <a:schemeClr val="tx2"/>
                </a:solidFill>
                <a:latin typeface="Barlow" pitchFamily="2" charset="77"/>
              </a:defRPr>
            </a:lvl1pPr>
          </a:lstStyle>
          <a:p>
            <a:endParaRPr lang="en-FI"/>
          </a:p>
        </p:txBody>
      </p:sp>
      <p:sp>
        <p:nvSpPr>
          <p:cNvPr id="21" name="Picture Placeholder 2">
            <a:extLst>
              <a:ext uri="{FF2B5EF4-FFF2-40B4-BE49-F238E27FC236}">
                <a16:creationId xmlns:a16="http://schemas.microsoft.com/office/drawing/2014/main" id="{AA94B49F-9685-6E4D-9E8C-FC6EA94E36CF}"/>
              </a:ext>
            </a:extLst>
          </p:cNvPr>
          <p:cNvSpPr>
            <a:spLocks noGrp="1"/>
          </p:cNvSpPr>
          <p:nvPr>
            <p:ph type="pic" sz="quarter" idx="26"/>
          </p:nvPr>
        </p:nvSpPr>
        <p:spPr>
          <a:xfrm>
            <a:off x="7587386" y="2535743"/>
            <a:ext cx="692944" cy="692150"/>
          </a:xfrm>
          <a:solidFill>
            <a:srgbClr val="ECECEC"/>
          </a:solidFill>
        </p:spPr>
        <p:txBody>
          <a:bodyPr anchor="ctr">
            <a:normAutofit/>
          </a:bodyPr>
          <a:lstStyle>
            <a:lvl1pPr marL="0" indent="0" algn="ctr">
              <a:buNone/>
              <a:defRPr sz="700">
                <a:solidFill>
                  <a:schemeClr val="tx2"/>
                </a:solidFill>
                <a:latin typeface="Barlow" pitchFamily="2" charset="77"/>
              </a:defRPr>
            </a:lvl1pPr>
          </a:lstStyle>
          <a:p>
            <a:endParaRPr lang="en-FI"/>
          </a:p>
        </p:txBody>
      </p:sp>
      <p:sp>
        <p:nvSpPr>
          <p:cNvPr id="22" name="Picture Placeholder 2">
            <a:extLst>
              <a:ext uri="{FF2B5EF4-FFF2-40B4-BE49-F238E27FC236}">
                <a16:creationId xmlns:a16="http://schemas.microsoft.com/office/drawing/2014/main" id="{D7E86C7A-5517-C24F-9954-A302C9A2226F}"/>
              </a:ext>
            </a:extLst>
          </p:cNvPr>
          <p:cNvSpPr>
            <a:spLocks noGrp="1"/>
          </p:cNvSpPr>
          <p:nvPr>
            <p:ph type="pic" sz="quarter" idx="27"/>
          </p:nvPr>
        </p:nvSpPr>
        <p:spPr>
          <a:xfrm>
            <a:off x="8678816" y="2535743"/>
            <a:ext cx="692944" cy="692150"/>
          </a:xfrm>
          <a:solidFill>
            <a:srgbClr val="ECECEC"/>
          </a:solidFill>
        </p:spPr>
        <p:txBody>
          <a:bodyPr anchor="ctr">
            <a:normAutofit/>
          </a:bodyPr>
          <a:lstStyle>
            <a:lvl1pPr marL="0" indent="0" algn="ctr">
              <a:buNone/>
              <a:defRPr sz="700">
                <a:solidFill>
                  <a:schemeClr val="tx2"/>
                </a:solidFill>
                <a:latin typeface="Barlow" pitchFamily="2" charset="77"/>
              </a:defRPr>
            </a:lvl1pPr>
          </a:lstStyle>
          <a:p>
            <a:endParaRPr lang="en-FI"/>
          </a:p>
        </p:txBody>
      </p:sp>
      <p:sp>
        <p:nvSpPr>
          <p:cNvPr id="23" name="Picture Placeholder 2">
            <a:extLst>
              <a:ext uri="{FF2B5EF4-FFF2-40B4-BE49-F238E27FC236}">
                <a16:creationId xmlns:a16="http://schemas.microsoft.com/office/drawing/2014/main" id="{AABF648A-DE94-1B4D-B714-1DEF5CD7A6CF}"/>
              </a:ext>
            </a:extLst>
          </p:cNvPr>
          <p:cNvSpPr>
            <a:spLocks noGrp="1"/>
          </p:cNvSpPr>
          <p:nvPr>
            <p:ph type="pic" sz="quarter" idx="28"/>
          </p:nvPr>
        </p:nvSpPr>
        <p:spPr>
          <a:xfrm>
            <a:off x="9770247" y="2535743"/>
            <a:ext cx="692944" cy="692150"/>
          </a:xfrm>
          <a:solidFill>
            <a:srgbClr val="ECECEC"/>
          </a:solidFill>
        </p:spPr>
        <p:txBody>
          <a:bodyPr anchor="ctr">
            <a:normAutofit/>
          </a:bodyPr>
          <a:lstStyle>
            <a:lvl1pPr marL="0" indent="0" algn="ctr">
              <a:buNone/>
              <a:defRPr sz="700">
                <a:solidFill>
                  <a:schemeClr val="tx2"/>
                </a:solidFill>
                <a:latin typeface="Barlow" pitchFamily="2" charset="77"/>
              </a:defRPr>
            </a:lvl1pPr>
          </a:lstStyle>
          <a:p>
            <a:endParaRPr lang="en-FI"/>
          </a:p>
        </p:txBody>
      </p:sp>
      <p:sp>
        <p:nvSpPr>
          <p:cNvPr id="24" name="Picture Placeholder 2">
            <a:extLst>
              <a:ext uri="{FF2B5EF4-FFF2-40B4-BE49-F238E27FC236}">
                <a16:creationId xmlns:a16="http://schemas.microsoft.com/office/drawing/2014/main" id="{40F46BBC-CE3D-FD4A-9DD0-E973482F39B5}"/>
              </a:ext>
            </a:extLst>
          </p:cNvPr>
          <p:cNvSpPr>
            <a:spLocks noGrp="1"/>
          </p:cNvSpPr>
          <p:nvPr>
            <p:ph type="pic" sz="quarter" idx="29"/>
          </p:nvPr>
        </p:nvSpPr>
        <p:spPr>
          <a:xfrm>
            <a:off x="10861676" y="2535743"/>
            <a:ext cx="692944" cy="692150"/>
          </a:xfrm>
          <a:solidFill>
            <a:srgbClr val="ECECEC"/>
          </a:solidFill>
        </p:spPr>
        <p:txBody>
          <a:bodyPr anchor="ctr">
            <a:normAutofit/>
          </a:bodyPr>
          <a:lstStyle>
            <a:lvl1pPr marL="0" indent="0" algn="ctr">
              <a:buNone/>
              <a:defRPr sz="700">
                <a:solidFill>
                  <a:schemeClr val="tx2"/>
                </a:solidFill>
                <a:latin typeface="Barlow" pitchFamily="2" charset="77"/>
              </a:defRPr>
            </a:lvl1pPr>
          </a:lstStyle>
          <a:p>
            <a:endParaRPr lang="en-FI"/>
          </a:p>
        </p:txBody>
      </p:sp>
      <p:sp>
        <p:nvSpPr>
          <p:cNvPr id="25" name="Picture Placeholder 2">
            <a:extLst>
              <a:ext uri="{FF2B5EF4-FFF2-40B4-BE49-F238E27FC236}">
                <a16:creationId xmlns:a16="http://schemas.microsoft.com/office/drawing/2014/main" id="{6B9FD7BD-14BD-C647-9E2A-8B5A542B4618}"/>
              </a:ext>
            </a:extLst>
          </p:cNvPr>
          <p:cNvSpPr>
            <a:spLocks noGrp="1"/>
          </p:cNvSpPr>
          <p:nvPr>
            <p:ph type="pic" sz="quarter" idx="30"/>
          </p:nvPr>
        </p:nvSpPr>
        <p:spPr>
          <a:xfrm>
            <a:off x="1038803" y="3533269"/>
            <a:ext cx="692944" cy="692150"/>
          </a:xfrm>
          <a:solidFill>
            <a:srgbClr val="ECECEC"/>
          </a:solidFill>
        </p:spPr>
        <p:txBody>
          <a:bodyPr anchor="ctr">
            <a:normAutofit/>
          </a:bodyPr>
          <a:lstStyle>
            <a:lvl1pPr marL="0" indent="0" algn="ctr">
              <a:buNone/>
              <a:defRPr sz="700">
                <a:solidFill>
                  <a:schemeClr val="tx2"/>
                </a:solidFill>
                <a:latin typeface="Barlow" pitchFamily="2" charset="77"/>
              </a:defRPr>
            </a:lvl1pPr>
          </a:lstStyle>
          <a:p>
            <a:endParaRPr lang="en-FI"/>
          </a:p>
        </p:txBody>
      </p:sp>
      <p:sp>
        <p:nvSpPr>
          <p:cNvPr id="26" name="Picture Placeholder 2">
            <a:extLst>
              <a:ext uri="{FF2B5EF4-FFF2-40B4-BE49-F238E27FC236}">
                <a16:creationId xmlns:a16="http://schemas.microsoft.com/office/drawing/2014/main" id="{5FE89C44-FA74-7F43-A016-EA8D7BC3F619}"/>
              </a:ext>
            </a:extLst>
          </p:cNvPr>
          <p:cNvSpPr>
            <a:spLocks noGrp="1"/>
          </p:cNvSpPr>
          <p:nvPr>
            <p:ph type="pic" sz="quarter" idx="31"/>
          </p:nvPr>
        </p:nvSpPr>
        <p:spPr>
          <a:xfrm>
            <a:off x="2130233" y="3533269"/>
            <a:ext cx="692944" cy="692150"/>
          </a:xfrm>
          <a:solidFill>
            <a:srgbClr val="ECECEC"/>
          </a:solidFill>
        </p:spPr>
        <p:txBody>
          <a:bodyPr anchor="ctr">
            <a:normAutofit/>
          </a:bodyPr>
          <a:lstStyle>
            <a:lvl1pPr marL="0" indent="0" algn="ctr">
              <a:buNone/>
              <a:defRPr sz="700">
                <a:solidFill>
                  <a:schemeClr val="tx2"/>
                </a:solidFill>
                <a:latin typeface="Barlow" pitchFamily="2" charset="77"/>
              </a:defRPr>
            </a:lvl1pPr>
          </a:lstStyle>
          <a:p>
            <a:endParaRPr lang="en-FI"/>
          </a:p>
        </p:txBody>
      </p:sp>
      <p:sp>
        <p:nvSpPr>
          <p:cNvPr id="27" name="Picture Placeholder 2">
            <a:extLst>
              <a:ext uri="{FF2B5EF4-FFF2-40B4-BE49-F238E27FC236}">
                <a16:creationId xmlns:a16="http://schemas.microsoft.com/office/drawing/2014/main" id="{065E179A-9EA3-8A4E-90C1-E95B7E3CF7E1}"/>
              </a:ext>
            </a:extLst>
          </p:cNvPr>
          <p:cNvSpPr>
            <a:spLocks noGrp="1"/>
          </p:cNvSpPr>
          <p:nvPr>
            <p:ph type="pic" sz="quarter" idx="32"/>
          </p:nvPr>
        </p:nvSpPr>
        <p:spPr>
          <a:xfrm>
            <a:off x="3221664" y="3533269"/>
            <a:ext cx="692944" cy="692150"/>
          </a:xfrm>
          <a:solidFill>
            <a:srgbClr val="ECECEC"/>
          </a:solidFill>
        </p:spPr>
        <p:txBody>
          <a:bodyPr anchor="ctr">
            <a:normAutofit/>
          </a:bodyPr>
          <a:lstStyle>
            <a:lvl1pPr marL="0" indent="0" algn="ctr">
              <a:buNone/>
              <a:defRPr sz="700">
                <a:solidFill>
                  <a:schemeClr val="tx2"/>
                </a:solidFill>
                <a:latin typeface="Barlow" pitchFamily="2" charset="77"/>
              </a:defRPr>
            </a:lvl1pPr>
          </a:lstStyle>
          <a:p>
            <a:endParaRPr lang="en-FI"/>
          </a:p>
        </p:txBody>
      </p:sp>
      <p:sp>
        <p:nvSpPr>
          <p:cNvPr id="28" name="Picture Placeholder 2">
            <a:extLst>
              <a:ext uri="{FF2B5EF4-FFF2-40B4-BE49-F238E27FC236}">
                <a16:creationId xmlns:a16="http://schemas.microsoft.com/office/drawing/2014/main" id="{2A7D512E-3208-AD44-96A0-C4605E88B61F}"/>
              </a:ext>
            </a:extLst>
          </p:cNvPr>
          <p:cNvSpPr>
            <a:spLocks noGrp="1"/>
          </p:cNvSpPr>
          <p:nvPr>
            <p:ph type="pic" sz="quarter" idx="33"/>
          </p:nvPr>
        </p:nvSpPr>
        <p:spPr>
          <a:xfrm>
            <a:off x="4313094" y="3533269"/>
            <a:ext cx="692944" cy="692150"/>
          </a:xfrm>
          <a:solidFill>
            <a:srgbClr val="ECECEC"/>
          </a:solidFill>
        </p:spPr>
        <p:txBody>
          <a:bodyPr anchor="ctr">
            <a:normAutofit/>
          </a:bodyPr>
          <a:lstStyle>
            <a:lvl1pPr marL="0" indent="0" algn="ctr">
              <a:buNone/>
              <a:defRPr sz="700">
                <a:solidFill>
                  <a:schemeClr val="tx2"/>
                </a:solidFill>
                <a:latin typeface="Barlow" pitchFamily="2" charset="77"/>
              </a:defRPr>
            </a:lvl1pPr>
          </a:lstStyle>
          <a:p>
            <a:endParaRPr lang="en-FI"/>
          </a:p>
        </p:txBody>
      </p:sp>
      <p:sp>
        <p:nvSpPr>
          <p:cNvPr id="29" name="Picture Placeholder 2">
            <a:extLst>
              <a:ext uri="{FF2B5EF4-FFF2-40B4-BE49-F238E27FC236}">
                <a16:creationId xmlns:a16="http://schemas.microsoft.com/office/drawing/2014/main" id="{A31690F5-7966-2A42-B6ED-9B834A09253D}"/>
              </a:ext>
            </a:extLst>
          </p:cNvPr>
          <p:cNvSpPr>
            <a:spLocks noGrp="1"/>
          </p:cNvSpPr>
          <p:nvPr>
            <p:ph type="pic" sz="quarter" idx="34"/>
          </p:nvPr>
        </p:nvSpPr>
        <p:spPr>
          <a:xfrm>
            <a:off x="5404525" y="3533269"/>
            <a:ext cx="692944" cy="692150"/>
          </a:xfrm>
          <a:solidFill>
            <a:srgbClr val="ECECEC"/>
          </a:solidFill>
        </p:spPr>
        <p:txBody>
          <a:bodyPr anchor="ctr">
            <a:normAutofit/>
          </a:bodyPr>
          <a:lstStyle>
            <a:lvl1pPr marL="0" indent="0" algn="ctr">
              <a:buNone/>
              <a:defRPr sz="700">
                <a:solidFill>
                  <a:schemeClr val="tx2"/>
                </a:solidFill>
                <a:latin typeface="Barlow" pitchFamily="2" charset="77"/>
              </a:defRPr>
            </a:lvl1pPr>
          </a:lstStyle>
          <a:p>
            <a:endParaRPr lang="en-FI"/>
          </a:p>
        </p:txBody>
      </p:sp>
      <p:sp>
        <p:nvSpPr>
          <p:cNvPr id="30" name="Picture Placeholder 2">
            <a:extLst>
              <a:ext uri="{FF2B5EF4-FFF2-40B4-BE49-F238E27FC236}">
                <a16:creationId xmlns:a16="http://schemas.microsoft.com/office/drawing/2014/main" id="{820B2DE4-F68C-3742-A1A4-F3D51E3B9B39}"/>
              </a:ext>
            </a:extLst>
          </p:cNvPr>
          <p:cNvSpPr>
            <a:spLocks noGrp="1"/>
          </p:cNvSpPr>
          <p:nvPr>
            <p:ph type="pic" sz="quarter" idx="35"/>
          </p:nvPr>
        </p:nvSpPr>
        <p:spPr>
          <a:xfrm>
            <a:off x="6495955" y="3533269"/>
            <a:ext cx="692944" cy="692150"/>
          </a:xfrm>
          <a:solidFill>
            <a:srgbClr val="ECECEC"/>
          </a:solidFill>
        </p:spPr>
        <p:txBody>
          <a:bodyPr anchor="ctr">
            <a:normAutofit/>
          </a:bodyPr>
          <a:lstStyle>
            <a:lvl1pPr marL="0" indent="0" algn="ctr">
              <a:buNone/>
              <a:defRPr sz="700">
                <a:solidFill>
                  <a:schemeClr val="tx2"/>
                </a:solidFill>
                <a:latin typeface="Barlow" pitchFamily="2" charset="77"/>
              </a:defRPr>
            </a:lvl1pPr>
          </a:lstStyle>
          <a:p>
            <a:endParaRPr lang="en-FI"/>
          </a:p>
        </p:txBody>
      </p:sp>
      <p:sp>
        <p:nvSpPr>
          <p:cNvPr id="31" name="Picture Placeholder 2">
            <a:extLst>
              <a:ext uri="{FF2B5EF4-FFF2-40B4-BE49-F238E27FC236}">
                <a16:creationId xmlns:a16="http://schemas.microsoft.com/office/drawing/2014/main" id="{54FD07A9-10CA-C040-94D1-D39BBA395FDC}"/>
              </a:ext>
            </a:extLst>
          </p:cNvPr>
          <p:cNvSpPr>
            <a:spLocks noGrp="1"/>
          </p:cNvSpPr>
          <p:nvPr>
            <p:ph type="pic" sz="quarter" idx="36"/>
          </p:nvPr>
        </p:nvSpPr>
        <p:spPr>
          <a:xfrm>
            <a:off x="7587386" y="3533269"/>
            <a:ext cx="692944" cy="692150"/>
          </a:xfrm>
          <a:solidFill>
            <a:srgbClr val="ECECEC"/>
          </a:solidFill>
        </p:spPr>
        <p:txBody>
          <a:bodyPr anchor="ctr">
            <a:normAutofit/>
          </a:bodyPr>
          <a:lstStyle>
            <a:lvl1pPr marL="0" indent="0" algn="ctr">
              <a:buNone/>
              <a:defRPr sz="700">
                <a:solidFill>
                  <a:schemeClr val="tx2"/>
                </a:solidFill>
                <a:latin typeface="Barlow" pitchFamily="2" charset="77"/>
              </a:defRPr>
            </a:lvl1pPr>
          </a:lstStyle>
          <a:p>
            <a:endParaRPr lang="en-FI"/>
          </a:p>
        </p:txBody>
      </p:sp>
      <p:sp>
        <p:nvSpPr>
          <p:cNvPr id="32" name="Picture Placeholder 2">
            <a:extLst>
              <a:ext uri="{FF2B5EF4-FFF2-40B4-BE49-F238E27FC236}">
                <a16:creationId xmlns:a16="http://schemas.microsoft.com/office/drawing/2014/main" id="{D303D480-E3A4-0749-BCDC-D207000664EE}"/>
              </a:ext>
            </a:extLst>
          </p:cNvPr>
          <p:cNvSpPr>
            <a:spLocks noGrp="1"/>
          </p:cNvSpPr>
          <p:nvPr>
            <p:ph type="pic" sz="quarter" idx="37"/>
          </p:nvPr>
        </p:nvSpPr>
        <p:spPr>
          <a:xfrm>
            <a:off x="8678816" y="3533269"/>
            <a:ext cx="692944" cy="692150"/>
          </a:xfrm>
          <a:solidFill>
            <a:srgbClr val="ECECEC"/>
          </a:solidFill>
        </p:spPr>
        <p:txBody>
          <a:bodyPr anchor="ctr">
            <a:normAutofit/>
          </a:bodyPr>
          <a:lstStyle>
            <a:lvl1pPr marL="0" indent="0" algn="ctr">
              <a:buNone/>
              <a:defRPr sz="700">
                <a:solidFill>
                  <a:schemeClr val="tx2"/>
                </a:solidFill>
                <a:latin typeface="Barlow" pitchFamily="2" charset="77"/>
              </a:defRPr>
            </a:lvl1pPr>
          </a:lstStyle>
          <a:p>
            <a:endParaRPr lang="en-FI"/>
          </a:p>
        </p:txBody>
      </p:sp>
      <p:sp>
        <p:nvSpPr>
          <p:cNvPr id="33" name="Picture Placeholder 2">
            <a:extLst>
              <a:ext uri="{FF2B5EF4-FFF2-40B4-BE49-F238E27FC236}">
                <a16:creationId xmlns:a16="http://schemas.microsoft.com/office/drawing/2014/main" id="{6E4FE63C-ACA9-C84D-B806-2314D1F5568D}"/>
              </a:ext>
            </a:extLst>
          </p:cNvPr>
          <p:cNvSpPr>
            <a:spLocks noGrp="1"/>
          </p:cNvSpPr>
          <p:nvPr>
            <p:ph type="pic" sz="quarter" idx="38"/>
          </p:nvPr>
        </p:nvSpPr>
        <p:spPr>
          <a:xfrm>
            <a:off x="9770247" y="3533269"/>
            <a:ext cx="692944" cy="692150"/>
          </a:xfrm>
          <a:solidFill>
            <a:srgbClr val="ECECEC"/>
          </a:solidFill>
        </p:spPr>
        <p:txBody>
          <a:bodyPr anchor="ctr">
            <a:normAutofit/>
          </a:bodyPr>
          <a:lstStyle>
            <a:lvl1pPr marL="0" indent="0" algn="ctr">
              <a:buNone/>
              <a:defRPr sz="700">
                <a:solidFill>
                  <a:schemeClr val="tx2"/>
                </a:solidFill>
                <a:latin typeface="Barlow" pitchFamily="2" charset="77"/>
              </a:defRPr>
            </a:lvl1pPr>
          </a:lstStyle>
          <a:p>
            <a:endParaRPr lang="en-FI"/>
          </a:p>
        </p:txBody>
      </p:sp>
      <p:sp>
        <p:nvSpPr>
          <p:cNvPr id="34" name="Picture Placeholder 2">
            <a:extLst>
              <a:ext uri="{FF2B5EF4-FFF2-40B4-BE49-F238E27FC236}">
                <a16:creationId xmlns:a16="http://schemas.microsoft.com/office/drawing/2014/main" id="{377EF0EB-CAB6-8449-BCE5-0E8273BFE1E9}"/>
              </a:ext>
            </a:extLst>
          </p:cNvPr>
          <p:cNvSpPr>
            <a:spLocks noGrp="1"/>
          </p:cNvSpPr>
          <p:nvPr>
            <p:ph type="pic" sz="quarter" idx="39"/>
          </p:nvPr>
        </p:nvSpPr>
        <p:spPr>
          <a:xfrm>
            <a:off x="10861676" y="3533269"/>
            <a:ext cx="692944" cy="692150"/>
          </a:xfrm>
          <a:solidFill>
            <a:srgbClr val="ECECEC"/>
          </a:solidFill>
        </p:spPr>
        <p:txBody>
          <a:bodyPr anchor="ctr">
            <a:normAutofit/>
          </a:bodyPr>
          <a:lstStyle>
            <a:lvl1pPr marL="0" indent="0" algn="ctr">
              <a:buNone/>
              <a:defRPr sz="700">
                <a:solidFill>
                  <a:schemeClr val="tx2"/>
                </a:solidFill>
                <a:latin typeface="Barlow" pitchFamily="2" charset="77"/>
              </a:defRPr>
            </a:lvl1pPr>
          </a:lstStyle>
          <a:p>
            <a:endParaRPr lang="en-FI"/>
          </a:p>
        </p:txBody>
      </p:sp>
    </p:spTree>
    <p:extLst>
      <p:ext uri="{BB962C8B-B14F-4D97-AF65-F5344CB8AC3E}">
        <p14:creationId xmlns:p14="http://schemas.microsoft.com/office/powerpoint/2010/main" val="1917441105"/>
      </p:ext>
    </p:extLst>
  </p:cSld>
  <p:clrMapOvr>
    <a:masterClrMapping/>
  </p:clrMapOvr>
  <p:transition spd="med"/>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2_Blank">
    <p:spTree>
      <p:nvGrpSpPr>
        <p:cNvPr id="1" name=""/>
        <p:cNvGrpSpPr/>
        <p:nvPr/>
      </p:nvGrpSpPr>
      <p:grpSpPr>
        <a:xfrm>
          <a:off x="0" y="0"/>
          <a:ext cx="0" cy="0"/>
          <a:chOff x="0" y="0"/>
          <a:chExt cx="0" cy="0"/>
        </a:xfrm>
      </p:grpSpPr>
      <p:sp>
        <p:nvSpPr>
          <p:cNvPr id="11" name="Slide Number"/>
          <p:cNvSpPr txBox="1">
            <a:spLocks noGrp="1"/>
          </p:cNvSpPr>
          <p:nvPr>
            <p:ph type="sldNum" sz="quarter" idx="2"/>
          </p:nvPr>
        </p:nvSpPr>
        <p:spPr>
          <a:prstGeom prst="rect">
            <a:avLst/>
          </a:prstGeom>
        </p:spPr>
        <p:txBody>
          <a:bodyPr/>
          <a:lstStyle>
            <a:lvl1pPr>
              <a:defRPr>
                <a:latin typeface="OPPOSans R" panose="00020600040101010101" pitchFamily="18" charset="-122"/>
              </a:defRPr>
            </a:lvl1pPr>
          </a:lstStyle>
          <a:p>
            <a:fld id="{86CB4B4D-7CA3-9044-876B-883B54F8677D}" type="slidenum">
              <a:rPr lang="en-US" altLang="zh-CN" smtClean="0"/>
              <a:pPr/>
              <a:t>‹#›</a:t>
            </a:fld>
            <a:endParaRPr lang="en-US" altLang="zh-CN"/>
          </a:p>
        </p:txBody>
      </p:sp>
      <p:sp>
        <p:nvSpPr>
          <p:cNvPr id="3" name="Picture Placeholder 2">
            <a:extLst>
              <a:ext uri="{FF2B5EF4-FFF2-40B4-BE49-F238E27FC236}">
                <a16:creationId xmlns:a16="http://schemas.microsoft.com/office/drawing/2014/main" id="{4F8BD93B-8079-2F44-8C72-861A4EB58975}"/>
              </a:ext>
            </a:extLst>
          </p:cNvPr>
          <p:cNvSpPr>
            <a:spLocks noGrp="1"/>
          </p:cNvSpPr>
          <p:nvPr>
            <p:ph type="pic" sz="quarter" idx="10"/>
          </p:nvPr>
        </p:nvSpPr>
        <p:spPr>
          <a:xfrm>
            <a:off x="1038803" y="1538216"/>
            <a:ext cx="692944" cy="692150"/>
          </a:xfrm>
          <a:solidFill>
            <a:srgbClr val="ECECEC"/>
          </a:solidFill>
        </p:spPr>
        <p:txBody>
          <a:bodyPr anchor="ctr">
            <a:normAutofit/>
          </a:bodyPr>
          <a:lstStyle>
            <a:lvl1pPr marL="0" indent="0" algn="ctr">
              <a:buNone/>
              <a:defRPr sz="700">
                <a:solidFill>
                  <a:schemeClr val="tx2"/>
                </a:solidFill>
                <a:latin typeface="Barlow" pitchFamily="2" charset="77"/>
              </a:defRPr>
            </a:lvl1pPr>
          </a:lstStyle>
          <a:p>
            <a:endParaRPr lang="en-FI"/>
          </a:p>
        </p:txBody>
      </p:sp>
      <p:sp>
        <p:nvSpPr>
          <p:cNvPr id="5" name="Picture Placeholder 2">
            <a:extLst>
              <a:ext uri="{FF2B5EF4-FFF2-40B4-BE49-F238E27FC236}">
                <a16:creationId xmlns:a16="http://schemas.microsoft.com/office/drawing/2014/main" id="{B1DF3BC4-5BD3-7C48-8D93-C5CE16F92F79}"/>
              </a:ext>
            </a:extLst>
          </p:cNvPr>
          <p:cNvSpPr>
            <a:spLocks noGrp="1"/>
          </p:cNvSpPr>
          <p:nvPr>
            <p:ph type="pic" sz="quarter" idx="11"/>
          </p:nvPr>
        </p:nvSpPr>
        <p:spPr>
          <a:xfrm>
            <a:off x="2130233" y="1538216"/>
            <a:ext cx="692944" cy="692150"/>
          </a:xfrm>
          <a:solidFill>
            <a:srgbClr val="ECECEC"/>
          </a:solidFill>
        </p:spPr>
        <p:txBody>
          <a:bodyPr anchor="ctr">
            <a:normAutofit/>
          </a:bodyPr>
          <a:lstStyle>
            <a:lvl1pPr marL="0" indent="0" algn="ctr">
              <a:buNone/>
              <a:defRPr sz="700">
                <a:solidFill>
                  <a:schemeClr val="tx2"/>
                </a:solidFill>
                <a:latin typeface="Barlow" pitchFamily="2" charset="77"/>
              </a:defRPr>
            </a:lvl1pPr>
          </a:lstStyle>
          <a:p>
            <a:endParaRPr lang="en-FI"/>
          </a:p>
        </p:txBody>
      </p:sp>
      <p:sp>
        <p:nvSpPr>
          <p:cNvPr id="6" name="Picture Placeholder 2">
            <a:extLst>
              <a:ext uri="{FF2B5EF4-FFF2-40B4-BE49-F238E27FC236}">
                <a16:creationId xmlns:a16="http://schemas.microsoft.com/office/drawing/2014/main" id="{F102159C-D9F0-5041-8714-07CEC43B0DBC}"/>
              </a:ext>
            </a:extLst>
          </p:cNvPr>
          <p:cNvSpPr>
            <a:spLocks noGrp="1"/>
          </p:cNvSpPr>
          <p:nvPr>
            <p:ph type="pic" sz="quarter" idx="12"/>
          </p:nvPr>
        </p:nvSpPr>
        <p:spPr>
          <a:xfrm>
            <a:off x="3221664" y="1538216"/>
            <a:ext cx="692944" cy="692150"/>
          </a:xfrm>
          <a:solidFill>
            <a:srgbClr val="ECECEC"/>
          </a:solidFill>
        </p:spPr>
        <p:txBody>
          <a:bodyPr anchor="ctr">
            <a:normAutofit/>
          </a:bodyPr>
          <a:lstStyle>
            <a:lvl1pPr marL="0" indent="0" algn="ctr">
              <a:buNone/>
              <a:defRPr sz="700">
                <a:solidFill>
                  <a:schemeClr val="tx2"/>
                </a:solidFill>
                <a:latin typeface="Barlow" pitchFamily="2" charset="77"/>
              </a:defRPr>
            </a:lvl1pPr>
          </a:lstStyle>
          <a:p>
            <a:endParaRPr lang="en-FI"/>
          </a:p>
        </p:txBody>
      </p:sp>
      <p:sp>
        <p:nvSpPr>
          <p:cNvPr id="7" name="Picture Placeholder 2">
            <a:extLst>
              <a:ext uri="{FF2B5EF4-FFF2-40B4-BE49-F238E27FC236}">
                <a16:creationId xmlns:a16="http://schemas.microsoft.com/office/drawing/2014/main" id="{6EA155DB-3A89-C64A-9A42-C9ADB3B2942A}"/>
              </a:ext>
            </a:extLst>
          </p:cNvPr>
          <p:cNvSpPr>
            <a:spLocks noGrp="1"/>
          </p:cNvSpPr>
          <p:nvPr>
            <p:ph type="pic" sz="quarter" idx="13"/>
          </p:nvPr>
        </p:nvSpPr>
        <p:spPr>
          <a:xfrm>
            <a:off x="4313094" y="1538216"/>
            <a:ext cx="692944" cy="692150"/>
          </a:xfrm>
          <a:solidFill>
            <a:srgbClr val="ECECEC"/>
          </a:solidFill>
        </p:spPr>
        <p:txBody>
          <a:bodyPr anchor="ctr">
            <a:normAutofit/>
          </a:bodyPr>
          <a:lstStyle>
            <a:lvl1pPr marL="0" indent="0" algn="ctr">
              <a:buNone/>
              <a:defRPr sz="700">
                <a:solidFill>
                  <a:schemeClr val="tx2"/>
                </a:solidFill>
                <a:latin typeface="Barlow" pitchFamily="2" charset="77"/>
              </a:defRPr>
            </a:lvl1pPr>
          </a:lstStyle>
          <a:p>
            <a:endParaRPr lang="en-FI"/>
          </a:p>
        </p:txBody>
      </p:sp>
      <p:sp>
        <p:nvSpPr>
          <p:cNvPr id="8" name="Picture Placeholder 2">
            <a:extLst>
              <a:ext uri="{FF2B5EF4-FFF2-40B4-BE49-F238E27FC236}">
                <a16:creationId xmlns:a16="http://schemas.microsoft.com/office/drawing/2014/main" id="{E379B7C7-C43C-B74F-80E1-FA4D5DF631D9}"/>
              </a:ext>
            </a:extLst>
          </p:cNvPr>
          <p:cNvSpPr>
            <a:spLocks noGrp="1"/>
          </p:cNvSpPr>
          <p:nvPr>
            <p:ph type="pic" sz="quarter" idx="14"/>
          </p:nvPr>
        </p:nvSpPr>
        <p:spPr>
          <a:xfrm>
            <a:off x="5404525" y="1538216"/>
            <a:ext cx="692944" cy="692150"/>
          </a:xfrm>
          <a:solidFill>
            <a:srgbClr val="ECECEC"/>
          </a:solidFill>
        </p:spPr>
        <p:txBody>
          <a:bodyPr anchor="ctr">
            <a:normAutofit/>
          </a:bodyPr>
          <a:lstStyle>
            <a:lvl1pPr marL="0" indent="0" algn="ctr">
              <a:buNone/>
              <a:defRPr sz="700">
                <a:solidFill>
                  <a:schemeClr val="tx2"/>
                </a:solidFill>
                <a:latin typeface="Barlow" pitchFamily="2" charset="77"/>
              </a:defRPr>
            </a:lvl1pPr>
          </a:lstStyle>
          <a:p>
            <a:endParaRPr lang="en-FI"/>
          </a:p>
        </p:txBody>
      </p:sp>
      <p:sp>
        <p:nvSpPr>
          <p:cNvPr id="9" name="Picture Placeholder 2">
            <a:extLst>
              <a:ext uri="{FF2B5EF4-FFF2-40B4-BE49-F238E27FC236}">
                <a16:creationId xmlns:a16="http://schemas.microsoft.com/office/drawing/2014/main" id="{E89031F5-4FEE-FD4B-A3E8-71C79F2AE94E}"/>
              </a:ext>
            </a:extLst>
          </p:cNvPr>
          <p:cNvSpPr>
            <a:spLocks noGrp="1"/>
          </p:cNvSpPr>
          <p:nvPr>
            <p:ph type="pic" sz="quarter" idx="15"/>
          </p:nvPr>
        </p:nvSpPr>
        <p:spPr>
          <a:xfrm>
            <a:off x="6495955" y="1538216"/>
            <a:ext cx="692944" cy="692150"/>
          </a:xfrm>
          <a:solidFill>
            <a:srgbClr val="ECECEC"/>
          </a:solidFill>
        </p:spPr>
        <p:txBody>
          <a:bodyPr anchor="ctr">
            <a:normAutofit/>
          </a:bodyPr>
          <a:lstStyle>
            <a:lvl1pPr marL="0" indent="0" algn="ctr">
              <a:buNone/>
              <a:defRPr sz="700">
                <a:solidFill>
                  <a:schemeClr val="tx2"/>
                </a:solidFill>
                <a:latin typeface="Barlow" pitchFamily="2" charset="77"/>
              </a:defRPr>
            </a:lvl1pPr>
          </a:lstStyle>
          <a:p>
            <a:endParaRPr lang="en-FI"/>
          </a:p>
        </p:txBody>
      </p:sp>
      <p:sp>
        <p:nvSpPr>
          <p:cNvPr id="10" name="Picture Placeholder 2">
            <a:extLst>
              <a:ext uri="{FF2B5EF4-FFF2-40B4-BE49-F238E27FC236}">
                <a16:creationId xmlns:a16="http://schemas.microsoft.com/office/drawing/2014/main" id="{D23B3A17-978C-7846-8E21-C3AB145AE24B}"/>
              </a:ext>
            </a:extLst>
          </p:cNvPr>
          <p:cNvSpPr>
            <a:spLocks noGrp="1"/>
          </p:cNvSpPr>
          <p:nvPr>
            <p:ph type="pic" sz="quarter" idx="16"/>
          </p:nvPr>
        </p:nvSpPr>
        <p:spPr>
          <a:xfrm>
            <a:off x="7587386" y="1538216"/>
            <a:ext cx="692944" cy="692150"/>
          </a:xfrm>
          <a:solidFill>
            <a:srgbClr val="ECECEC"/>
          </a:solidFill>
        </p:spPr>
        <p:txBody>
          <a:bodyPr anchor="ctr">
            <a:normAutofit/>
          </a:bodyPr>
          <a:lstStyle>
            <a:lvl1pPr marL="0" indent="0" algn="ctr">
              <a:buNone/>
              <a:defRPr sz="700">
                <a:solidFill>
                  <a:schemeClr val="tx2"/>
                </a:solidFill>
                <a:latin typeface="Barlow" pitchFamily="2" charset="77"/>
              </a:defRPr>
            </a:lvl1pPr>
          </a:lstStyle>
          <a:p>
            <a:endParaRPr lang="en-FI"/>
          </a:p>
        </p:txBody>
      </p:sp>
      <p:sp>
        <p:nvSpPr>
          <p:cNvPr id="12" name="Picture Placeholder 2">
            <a:extLst>
              <a:ext uri="{FF2B5EF4-FFF2-40B4-BE49-F238E27FC236}">
                <a16:creationId xmlns:a16="http://schemas.microsoft.com/office/drawing/2014/main" id="{7E8D7DF0-A277-9D49-AA86-6E00770DF78F}"/>
              </a:ext>
            </a:extLst>
          </p:cNvPr>
          <p:cNvSpPr>
            <a:spLocks noGrp="1"/>
          </p:cNvSpPr>
          <p:nvPr>
            <p:ph type="pic" sz="quarter" idx="17"/>
          </p:nvPr>
        </p:nvSpPr>
        <p:spPr>
          <a:xfrm>
            <a:off x="8678816" y="1538216"/>
            <a:ext cx="692944" cy="692150"/>
          </a:xfrm>
          <a:solidFill>
            <a:srgbClr val="ECECEC"/>
          </a:solidFill>
        </p:spPr>
        <p:txBody>
          <a:bodyPr anchor="ctr">
            <a:normAutofit/>
          </a:bodyPr>
          <a:lstStyle>
            <a:lvl1pPr marL="0" indent="0" algn="ctr">
              <a:buNone/>
              <a:defRPr sz="700">
                <a:solidFill>
                  <a:schemeClr val="tx2"/>
                </a:solidFill>
                <a:latin typeface="Barlow" pitchFamily="2" charset="77"/>
              </a:defRPr>
            </a:lvl1pPr>
          </a:lstStyle>
          <a:p>
            <a:endParaRPr lang="en-FI"/>
          </a:p>
        </p:txBody>
      </p:sp>
      <p:sp>
        <p:nvSpPr>
          <p:cNvPr id="13" name="Picture Placeholder 2">
            <a:extLst>
              <a:ext uri="{FF2B5EF4-FFF2-40B4-BE49-F238E27FC236}">
                <a16:creationId xmlns:a16="http://schemas.microsoft.com/office/drawing/2014/main" id="{B014FAAE-7B3D-1243-9C9A-374862A76277}"/>
              </a:ext>
            </a:extLst>
          </p:cNvPr>
          <p:cNvSpPr>
            <a:spLocks noGrp="1"/>
          </p:cNvSpPr>
          <p:nvPr>
            <p:ph type="pic" sz="quarter" idx="18"/>
          </p:nvPr>
        </p:nvSpPr>
        <p:spPr>
          <a:xfrm>
            <a:off x="9770247" y="1538216"/>
            <a:ext cx="692944" cy="692150"/>
          </a:xfrm>
          <a:solidFill>
            <a:srgbClr val="ECECEC"/>
          </a:solidFill>
        </p:spPr>
        <p:txBody>
          <a:bodyPr anchor="ctr">
            <a:normAutofit/>
          </a:bodyPr>
          <a:lstStyle>
            <a:lvl1pPr marL="0" indent="0" algn="ctr">
              <a:buNone/>
              <a:defRPr sz="700">
                <a:solidFill>
                  <a:schemeClr val="tx2"/>
                </a:solidFill>
                <a:latin typeface="Barlow" pitchFamily="2" charset="77"/>
              </a:defRPr>
            </a:lvl1pPr>
          </a:lstStyle>
          <a:p>
            <a:endParaRPr lang="en-FI"/>
          </a:p>
        </p:txBody>
      </p:sp>
      <p:sp>
        <p:nvSpPr>
          <p:cNvPr id="14" name="Picture Placeholder 2">
            <a:extLst>
              <a:ext uri="{FF2B5EF4-FFF2-40B4-BE49-F238E27FC236}">
                <a16:creationId xmlns:a16="http://schemas.microsoft.com/office/drawing/2014/main" id="{6D52479F-440B-3741-AC4E-3222AD177211}"/>
              </a:ext>
            </a:extLst>
          </p:cNvPr>
          <p:cNvSpPr>
            <a:spLocks noGrp="1"/>
          </p:cNvSpPr>
          <p:nvPr>
            <p:ph type="pic" sz="quarter" idx="19"/>
          </p:nvPr>
        </p:nvSpPr>
        <p:spPr>
          <a:xfrm>
            <a:off x="10861676" y="1538216"/>
            <a:ext cx="692944" cy="692150"/>
          </a:xfrm>
          <a:solidFill>
            <a:srgbClr val="ECECEC"/>
          </a:solidFill>
        </p:spPr>
        <p:txBody>
          <a:bodyPr anchor="ctr">
            <a:normAutofit/>
          </a:bodyPr>
          <a:lstStyle>
            <a:lvl1pPr marL="0" indent="0" algn="ctr">
              <a:buNone/>
              <a:defRPr sz="700">
                <a:solidFill>
                  <a:schemeClr val="tx2"/>
                </a:solidFill>
                <a:latin typeface="Barlow" pitchFamily="2" charset="77"/>
              </a:defRPr>
            </a:lvl1pPr>
          </a:lstStyle>
          <a:p>
            <a:endParaRPr lang="en-FI"/>
          </a:p>
        </p:txBody>
      </p:sp>
      <p:sp>
        <p:nvSpPr>
          <p:cNvPr id="15" name="Picture Placeholder 2">
            <a:extLst>
              <a:ext uri="{FF2B5EF4-FFF2-40B4-BE49-F238E27FC236}">
                <a16:creationId xmlns:a16="http://schemas.microsoft.com/office/drawing/2014/main" id="{3CC4451C-AEBE-584F-8EE0-184C5488A27E}"/>
              </a:ext>
            </a:extLst>
          </p:cNvPr>
          <p:cNvSpPr>
            <a:spLocks noGrp="1"/>
          </p:cNvSpPr>
          <p:nvPr>
            <p:ph type="pic" sz="quarter" idx="20"/>
          </p:nvPr>
        </p:nvSpPr>
        <p:spPr>
          <a:xfrm>
            <a:off x="1038803" y="2535743"/>
            <a:ext cx="692944" cy="692150"/>
          </a:xfrm>
          <a:solidFill>
            <a:srgbClr val="ECECEC"/>
          </a:solidFill>
        </p:spPr>
        <p:txBody>
          <a:bodyPr anchor="ctr">
            <a:normAutofit/>
          </a:bodyPr>
          <a:lstStyle>
            <a:lvl1pPr marL="0" indent="0" algn="ctr">
              <a:buNone/>
              <a:defRPr sz="700">
                <a:solidFill>
                  <a:schemeClr val="tx2"/>
                </a:solidFill>
                <a:latin typeface="Barlow" pitchFamily="2" charset="77"/>
              </a:defRPr>
            </a:lvl1pPr>
          </a:lstStyle>
          <a:p>
            <a:endParaRPr lang="en-FI"/>
          </a:p>
        </p:txBody>
      </p:sp>
      <p:sp>
        <p:nvSpPr>
          <p:cNvPr id="16" name="Picture Placeholder 2">
            <a:extLst>
              <a:ext uri="{FF2B5EF4-FFF2-40B4-BE49-F238E27FC236}">
                <a16:creationId xmlns:a16="http://schemas.microsoft.com/office/drawing/2014/main" id="{D1B8F02C-FA1B-944C-8E50-52211C8D94B2}"/>
              </a:ext>
            </a:extLst>
          </p:cNvPr>
          <p:cNvSpPr>
            <a:spLocks noGrp="1"/>
          </p:cNvSpPr>
          <p:nvPr>
            <p:ph type="pic" sz="quarter" idx="21"/>
          </p:nvPr>
        </p:nvSpPr>
        <p:spPr>
          <a:xfrm>
            <a:off x="2130233" y="2535743"/>
            <a:ext cx="692944" cy="692150"/>
          </a:xfrm>
          <a:solidFill>
            <a:srgbClr val="ECECEC"/>
          </a:solidFill>
        </p:spPr>
        <p:txBody>
          <a:bodyPr anchor="ctr">
            <a:normAutofit/>
          </a:bodyPr>
          <a:lstStyle>
            <a:lvl1pPr marL="0" indent="0" algn="ctr">
              <a:buNone/>
              <a:defRPr sz="700">
                <a:solidFill>
                  <a:schemeClr val="tx2"/>
                </a:solidFill>
                <a:latin typeface="Barlow" pitchFamily="2" charset="77"/>
              </a:defRPr>
            </a:lvl1pPr>
          </a:lstStyle>
          <a:p>
            <a:endParaRPr lang="en-FI"/>
          </a:p>
        </p:txBody>
      </p:sp>
      <p:sp>
        <p:nvSpPr>
          <p:cNvPr id="17" name="Picture Placeholder 2">
            <a:extLst>
              <a:ext uri="{FF2B5EF4-FFF2-40B4-BE49-F238E27FC236}">
                <a16:creationId xmlns:a16="http://schemas.microsoft.com/office/drawing/2014/main" id="{51A6A264-4F9B-BD40-907B-F457C79C9D25}"/>
              </a:ext>
            </a:extLst>
          </p:cNvPr>
          <p:cNvSpPr>
            <a:spLocks noGrp="1"/>
          </p:cNvSpPr>
          <p:nvPr>
            <p:ph type="pic" sz="quarter" idx="22"/>
          </p:nvPr>
        </p:nvSpPr>
        <p:spPr>
          <a:xfrm>
            <a:off x="3221664" y="2535743"/>
            <a:ext cx="692944" cy="692150"/>
          </a:xfrm>
          <a:solidFill>
            <a:srgbClr val="ECECEC"/>
          </a:solidFill>
        </p:spPr>
        <p:txBody>
          <a:bodyPr anchor="ctr">
            <a:normAutofit/>
          </a:bodyPr>
          <a:lstStyle>
            <a:lvl1pPr marL="0" indent="0" algn="ctr">
              <a:buNone/>
              <a:defRPr sz="700">
                <a:solidFill>
                  <a:schemeClr val="tx2"/>
                </a:solidFill>
                <a:latin typeface="Barlow" pitchFamily="2" charset="77"/>
              </a:defRPr>
            </a:lvl1pPr>
          </a:lstStyle>
          <a:p>
            <a:endParaRPr lang="en-FI"/>
          </a:p>
        </p:txBody>
      </p:sp>
      <p:sp>
        <p:nvSpPr>
          <p:cNvPr id="18" name="Picture Placeholder 2">
            <a:extLst>
              <a:ext uri="{FF2B5EF4-FFF2-40B4-BE49-F238E27FC236}">
                <a16:creationId xmlns:a16="http://schemas.microsoft.com/office/drawing/2014/main" id="{09520C77-297B-D444-A69A-6D169F975D8D}"/>
              </a:ext>
            </a:extLst>
          </p:cNvPr>
          <p:cNvSpPr>
            <a:spLocks noGrp="1"/>
          </p:cNvSpPr>
          <p:nvPr>
            <p:ph type="pic" sz="quarter" idx="23"/>
          </p:nvPr>
        </p:nvSpPr>
        <p:spPr>
          <a:xfrm>
            <a:off x="4313094" y="2535743"/>
            <a:ext cx="692944" cy="692150"/>
          </a:xfrm>
          <a:solidFill>
            <a:srgbClr val="ECECEC"/>
          </a:solidFill>
        </p:spPr>
        <p:txBody>
          <a:bodyPr anchor="ctr">
            <a:normAutofit/>
          </a:bodyPr>
          <a:lstStyle>
            <a:lvl1pPr marL="0" indent="0" algn="ctr">
              <a:buNone/>
              <a:defRPr sz="700">
                <a:solidFill>
                  <a:schemeClr val="tx2"/>
                </a:solidFill>
                <a:latin typeface="Barlow" pitchFamily="2" charset="77"/>
              </a:defRPr>
            </a:lvl1pPr>
          </a:lstStyle>
          <a:p>
            <a:endParaRPr lang="en-FI"/>
          </a:p>
        </p:txBody>
      </p:sp>
      <p:sp>
        <p:nvSpPr>
          <p:cNvPr id="19" name="Picture Placeholder 2">
            <a:extLst>
              <a:ext uri="{FF2B5EF4-FFF2-40B4-BE49-F238E27FC236}">
                <a16:creationId xmlns:a16="http://schemas.microsoft.com/office/drawing/2014/main" id="{4F68D8D0-E5A8-3E4B-82EC-828483B3F524}"/>
              </a:ext>
            </a:extLst>
          </p:cNvPr>
          <p:cNvSpPr>
            <a:spLocks noGrp="1"/>
          </p:cNvSpPr>
          <p:nvPr>
            <p:ph type="pic" sz="quarter" idx="24"/>
          </p:nvPr>
        </p:nvSpPr>
        <p:spPr>
          <a:xfrm>
            <a:off x="5404525" y="2535743"/>
            <a:ext cx="692944" cy="692150"/>
          </a:xfrm>
          <a:solidFill>
            <a:srgbClr val="ECECEC"/>
          </a:solidFill>
        </p:spPr>
        <p:txBody>
          <a:bodyPr anchor="ctr">
            <a:normAutofit/>
          </a:bodyPr>
          <a:lstStyle>
            <a:lvl1pPr marL="0" indent="0" algn="ctr">
              <a:buNone/>
              <a:defRPr sz="700">
                <a:solidFill>
                  <a:schemeClr val="tx2"/>
                </a:solidFill>
                <a:latin typeface="Barlow" pitchFamily="2" charset="77"/>
              </a:defRPr>
            </a:lvl1pPr>
          </a:lstStyle>
          <a:p>
            <a:endParaRPr lang="en-FI"/>
          </a:p>
        </p:txBody>
      </p:sp>
      <p:sp>
        <p:nvSpPr>
          <p:cNvPr id="20" name="Picture Placeholder 2">
            <a:extLst>
              <a:ext uri="{FF2B5EF4-FFF2-40B4-BE49-F238E27FC236}">
                <a16:creationId xmlns:a16="http://schemas.microsoft.com/office/drawing/2014/main" id="{DCCA461E-704A-AB42-854E-611956698124}"/>
              </a:ext>
            </a:extLst>
          </p:cNvPr>
          <p:cNvSpPr>
            <a:spLocks noGrp="1"/>
          </p:cNvSpPr>
          <p:nvPr>
            <p:ph type="pic" sz="quarter" idx="25"/>
          </p:nvPr>
        </p:nvSpPr>
        <p:spPr>
          <a:xfrm>
            <a:off x="6495955" y="2535743"/>
            <a:ext cx="692944" cy="692150"/>
          </a:xfrm>
          <a:solidFill>
            <a:srgbClr val="ECECEC"/>
          </a:solidFill>
        </p:spPr>
        <p:txBody>
          <a:bodyPr anchor="ctr">
            <a:normAutofit/>
          </a:bodyPr>
          <a:lstStyle>
            <a:lvl1pPr marL="0" indent="0" algn="ctr">
              <a:buNone/>
              <a:defRPr sz="700">
                <a:solidFill>
                  <a:schemeClr val="tx2"/>
                </a:solidFill>
                <a:latin typeface="Barlow" pitchFamily="2" charset="77"/>
              </a:defRPr>
            </a:lvl1pPr>
          </a:lstStyle>
          <a:p>
            <a:endParaRPr lang="en-FI"/>
          </a:p>
        </p:txBody>
      </p:sp>
      <p:sp>
        <p:nvSpPr>
          <p:cNvPr id="21" name="Picture Placeholder 2">
            <a:extLst>
              <a:ext uri="{FF2B5EF4-FFF2-40B4-BE49-F238E27FC236}">
                <a16:creationId xmlns:a16="http://schemas.microsoft.com/office/drawing/2014/main" id="{AA94B49F-9685-6E4D-9E8C-FC6EA94E36CF}"/>
              </a:ext>
            </a:extLst>
          </p:cNvPr>
          <p:cNvSpPr>
            <a:spLocks noGrp="1"/>
          </p:cNvSpPr>
          <p:nvPr>
            <p:ph type="pic" sz="quarter" idx="26"/>
          </p:nvPr>
        </p:nvSpPr>
        <p:spPr>
          <a:xfrm>
            <a:off x="7587386" y="2535743"/>
            <a:ext cx="692944" cy="692150"/>
          </a:xfrm>
          <a:solidFill>
            <a:srgbClr val="ECECEC"/>
          </a:solidFill>
        </p:spPr>
        <p:txBody>
          <a:bodyPr anchor="ctr">
            <a:normAutofit/>
          </a:bodyPr>
          <a:lstStyle>
            <a:lvl1pPr marL="0" indent="0" algn="ctr">
              <a:buNone/>
              <a:defRPr sz="700">
                <a:solidFill>
                  <a:schemeClr val="tx2"/>
                </a:solidFill>
                <a:latin typeface="Barlow" pitchFamily="2" charset="77"/>
              </a:defRPr>
            </a:lvl1pPr>
          </a:lstStyle>
          <a:p>
            <a:endParaRPr lang="en-FI"/>
          </a:p>
        </p:txBody>
      </p:sp>
      <p:sp>
        <p:nvSpPr>
          <p:cNvPr id="22" name="Picture Placeholder 2">
            <a:extLst>
              <a:ext uri="{FF2B5EF4-FFF2-40B4-BE49-F238E27FC236}">
                <a16:creationId xmlns:a16="http://schemas.microsoft.com/office/drawing/2014/main" id="{D7E86C7A-5517-C24F-9954-A302C9A2226F}"/>
              </a:ext>
            </a:extLst>
          </p:cNvPr>
          <p:cNvSpPr>
            <a:spLocks noGrp="1"/>
          </p:cNvSpPr>
          <p:nvPr>
            <p:ph type="pic" sz="quarter" idx="27"/>
          </p:nvPr>
        </p:nvSpPr>
        <p:spPr>
          <a:xfrm>
            <a:off x="8678816" y="2535743"/>
            <a:ext cx="692944" cy="692150"/>
          </a:xfrm>
          <a:solidFill>
            <a:srgbClr val="ECECEC"/>
          </a:solidFill>
        </p:spPr>
        <p:txBody>
          <a:bodyPr anchor="ctr">
            <a:normAutofit/>
          </a:bodyPr>
          <a:lstStyle>
            <a:lvl1pPr marL="0" indent="0" algn="ctr">
              <a:buNone/>
              <a:defRPr sz="700">
                <a:solidFill>
                  <a:schemeClr val="tx2"/>
                </a:solidFill>
                <a:latin typeface="Barlow" pitchFamily="2" charset="77"/>
              </a:defRPr>
            </a:lvl1pPr>
          </a:lstStyle>
          <a:p>
            <a:endParaRPr lang="en-FI"/>
          </a:p>
        </p:txBody>
      </p:sp>
      <p:sp>
        <p:nvSpPr>
          <p:cNvPr id="23" name="Picture Placeholder 2">
            <a:extLst>
              <a:ext uri="{FF2B5EF4-FFF2-40B4-BE49-F238E27FC236}">
                <a16:creationId xmlns:a16="http://schemas.microsoft.com/office/drawing/2014/main" id="{AABF648A-DE94-1B4D-B714-1DEF5CD7A6CF}"/>
              </a:ext>
            </a:extLst>
          </p:cNvPr>
          <p:cNvSpPr>
            <a:spLocks noGrp="1"/>
          </p:cNvSpPr>
          <p:nvPr>
            <p:ph type="pic" sz="quarter" idx="28"/>
          </p:nvPr>
        </p:nvSpPr>
        <p:spPr>
          <a:xfrm>
            <a:off x="9770247" y="2535743"/>
            <a:ext cx="692944" cy="692150"/>
          </a:xfrm>
          <a:solidFill>
            <a:srgbClr val="ECECEC"/>
          </a:solidFill>
        </p:spPr>
        <p:txBody>
          <a:bodyPr anchor="ctr">
            <a:normAutofit/>
          </a:bodyPr>
          <a:lstStyle>
            <a:lvl1pPr marL="0" indent="0" algn="ctr">
              <a:buNone/>
              <a:defRPr sz="700">
                <a:solidFill>
                  <a:schemeClr val="tx2"/>
                </a:solidFill>
                <a:latin typeface="Barlow" pitchFamily="2" charset="77"/>
              </a:defRPr>
            </a:lvl1pPr>
          </a:lstStyle>
          <a:p>
            <a:endParaRPr lang="en-FI"/>
          </a:p>
        </p:txBody>
      </p:sp>
      <p:sp>
        <p:nvSpPr>
          <p:cNvPr id="24" name="Picture Placeholder 2">
            <a:extLst>
              <a:ext uri="{FF2B5EF4-FFF2-40B4-BE49-F238E27FC236}">
                <a16:creationId xmlns:a16="http://schemas.microsoft.com/office/drawing/2014/main" id="{40F46BBC-CE3D-FD4A-9DD0-E973482F39B5}"/>
              </a:ext>
            </a:extLst>
          </p:cNvPr>
          <p:cNvSpPr>
            <a:spLocks noGrp="1"/>
          </p:cNvSpPr>
          <p:nvPr>
            <p:ph type="pic" sz="quarter" idx="29"/>
          </p:nvPr>
        </p:nvSpPr>
        <p:spPr>
          <a:xfrm>
            <a:off x="10861676" y="2535743"/>
            <a:ext cx="692944" cy="692150"/>
          </a:xfrm>
          <a:solidFill>
            <a:srgbClr val="ECECEC"/>
          </a:solidFill>
        </p:spPr>
        <p:txBody>
          <a:bodyPr anchor="ctr">
            <a:normAutofit/>
          </a:bodyPr>
          <a:lstStyle>
            <a:lvl1pPr marL="0" indent="0" algn="ctr">
              <a:buNone/>
              <a:defRPr sz="700">
                <a:solidFill>
                  <a:schemeClr val="tx2"/>
                </a:solidFill>
                <a:latin typeface="Barlow" pitchFamily="2" charset="77"/>
              </a:defRPr>
            </a:lvl1pPr>
          </a:lstStyle>
          <a:p>
            <a:endParaRPr lang="en-FI"/>
          </a:p>
        </p:txBody>
      </p:sp>
      <p:sp>
        <p:nvSpPr>
          <p:cNvPr id="25" name="Picture Placeholder 2">
            <a:extLst>
              <a:ext uri="{FF2B5EF4-FFF2-40B4-BE49-F238E27FC236}">
                <a16:creationId xmlns:a16="http://schemas.microsoft.com/office/drawing/2014/main" id="{6B9FD7BD-14BD-C647-9E2A-8B5A542B4618}"/>
              </a:ext>
            </a:extLst>
          </p:cNvPr>
          <p:cNvSpPr>
            <a:spLocks noGrp="1"/>
          </p:cNvSpPr>
          <p:nvPr>
            <p:ph type="pic" sz="quarter" idx="30"/>
          </p:nvPr>
        </p:nvSpPr>
        <p:spPr>
          <a:xfrm>
            <a:off x="1038803" y="3533269"/>
            <a:ext cx="692944" cy="692150"/>
          </a:xfrm>
          <a:solidFill>
            <a:srgbClr val="ECECEC"/>
          </a:solidFill>
        </p:spPr>
        <p:txBody>
          <a:bodyPr anchor="ctr">
            <a:normAutofit/>
          </a:bodyPr>
          <a:lstStyle>
            <a:lvl1pPr marL="0" indent="0" algn="ctr">
              <a:buNone/>
              <a:defRPr sz="700">
                <a:solidFill>
                  <a:schemeClr val="tx2"/>
                </a:solidFill>
                <a:latin typeface="Barlow" pitchFamily="2" charset="77"/>
              </a:defRPr>
            </a:lvl1pPr>
          </a:lstStyle>
          <a:p>
            <a:endParaRPr lang="en-FI"/>
          </a:p>
        </p:txBody>
      </p:sp>
      <p:sp>
        <p:nvSpPr>
          <p:cNvPr id="26" name="Picture Placeholder 2">
            <a:extLst>
              <a:ext uri="{FF2B5EF4-FFF2-40B4-BE49-F238E27FC236}">
                <a16:creationId xmlns:a16="http://schemas.microsoft.com/office/drawing/2014/main" id="{5FE89C44-FA74-7F43-A016-EA8D7BC3F619}"/>
              </a:ext>
            </a:extLst>
          </p:cNvPr>
          <p:cNvSpPr>
            <a:spLocks noGrp="1"/>
          </p:cNvSpPr>
          <p:nvPr>
            <p:ph type="pic" sz="quarter" idx="31"/>
          </p:nvPr>
        </p:nvSpPr>
        <p:spPr>
          <a:xfrm>
            <a:off x="2130233" y="3533269"/>
            <a:ext cx="692944" cy="692150"/>
          </a:xfrm>
          <a:solidFill>
            <a:srgbClr val="ECECEC"/>
          </a:solidFill>
        </p:spPr>
        <p:txBody>
          <a:bodyPr anchor="ctr">
            <a:normAutofit/>
          </a:bodyPr>
          <a:lstStyle>
            <a:lvl1pPr marL="0" indent="0" algn="ctr">
              <a:buNone/>
              <a:defRPr sz="700">
                <a:solidFill>
                  <a:schemeClr val="tx2"/>
                </a:solidFill>
                <a:latin typeface="Barlow" pitchFamily="2" charset="77"/>
              </a:defRPr>
            </a:lvl1pPr>
          </a:lstStyle>
          <a:p>
            <a:endParaRPr lang="en-FI"/>
          </a:p>
        </p:txBody>
      </p:sp>
      <p:sp>
        <p:nvSpPr>
          <p:cNvPr id="27" name="Picture Placeholder 2">
            <a:extLst>
              <a:ext uri="{FF2B5EF4-FFF2-40B4-BE49-F238E27FC236}">
                <a16:creationId xmlns:a16="http://schemas.microsoft.com/office/drawing/2014/main" id="{065E179A-9EA3-8A4E-90C1-E95B7E3CF7E1}"/>
              </a:ext>
            </a:extLst>
          </p:cNvPr>
          <p:cNvSpPr>
            <a:spLocks noGrp="1"/>
          </p:cNvSpPr>
          <p:nvPr>
            <p:ph type="pic" sz="quarter" idx="32"/>
          </p:nvPr>
        </p:nvSpPr>
        <p:spPr>
          <a:xfrm>
            <a:off x="3221664" y="3533269"/>
            <a:ext cx="692944" cy="692150"/>
          </a:xfrm>
          <a:solidFill>
            <a:srgbClr val="ECECEC"/>
          </a:solidFill>
        </p:spPr>
        <p:txBody>
          <a:bodyPr anchor="ctr">
            <a:normAutofit/>
          </a:bodyPr>
          <a:lstStyle>
            <a:lvl1pPr marL="0" indent="0" algn="ctr">
              <a:buNone/>
              <a:defRPr sz="700">
                <a:solidFill>
                  <a:schemeClr val="tx2"/>
                </a:solidFill>
                <a:latin typeface="Barlow" pitchFamily="2" charset="77"/>
              </a:defRPr>
            </a:lvl1pPr>
          </a:lstStyle>
          <a:p>
            <a:endParaRPr lang="en-FI"/>
          </a:p>
        </p:txBody>
      </p:sp>
      <p:sp>
        <p:nvSpPr>
          <p:cNvPr id="28" name="Picture Placeholder 2">
            <a:extLst>
              <a:ext uri="{FF2B5EF4-FFF2-40B4-BE49-F238E27FC236}">
                <a16:creationId xmlns:a16="http://schemas.microsoft.com/office/drawing/2014/main" id="{2A7D512E-3208-AD44-96A0-C4605E88B61F}"/>
              </a:ext>
            </a:extLst>
          </p:cNvPr>
          <p:cNvSpPr>
            <a:spLocks noGrp="1"/>
          </p:cNvSpPr>
          <p:nvPr>
            <p:ph type="pic" sz="quarter" idx="33"/>
          </p:nvPr>
        </p:nvSpPr>
        <p:spPr>
          <a:xfrm>
            <a:off x="4313094" y="3533269"/>
            <a:ext cx="692944" cy="692150"/>
          </a:xfrm>
          <a:solidFill>
            <a:srgbClr val="ECECEC"/>
          </a:solidFill>
        </p:spPr>
        <p:txBody>
          <a:bodyPr anchor="ctr">
            <a:normAutofit/>
          </a:bodyPr>
          <a:lstStyle>
            <a:lvl1pPr marL="0" indent="0" algn="ctr">
              <a:buNone/>
              <a:defRPr sz="700">
                <a:solidFill>
                  <a:schemeClr val="tx2"/>
                </a:solidFill>
                <a:latin typeface="Barlow" pitchFamily="2" charset="77"/>
              </a:defRPr>
            </a:lvl1pPr>
          </a:lstStyle>
          <a:p>
            <a:endParaRPr lang="en-FI"/>
          </a:p>
        </p:txBody>
      </p:sp>
      <p:sp>
        <p:nvSpPr>
          <p:cNvPr id="29" name="Picture Placeholder 2">
            <a:extLst>
              <a:ext uri="{FF2B5EF4-FFF2-40B4-BE49-F238E27FC236}">
                <a16:creationId xmlns:a16="http://schemas.microsoft.com/office/drawing/2014/main" id="{A31690F5-7966-2A42-B6ED-9B834A09253D}"/>
              </a:ext>
            </a:extLst>
          </p:cNvPr>
          <p:cNvSpPr>
            <a:spLocks noGrp="1"/>
          </p:cNvSpPr>
          <p:nvPr>
            <p:ph type="pic" sz="quarter" idx="34"/>
          </p:nvPr>
        </p:nvSpPr>
        <p:spPr>
          <a:xfrm>
            <a:off x="5404525" y="3533269"/>
            <a:ext cx="692944" cy="692150"/>
          </a:xfrm>
          <a:solidFill>
            <a:srgbClr val="ECECEC"/>
          </a:solidFill>
        </p:spPr>
        <p:txBody>
          <a:bodyPr anchor="ctr">
            <a:normAutofit/>
          </a:bodyPr>
          <a:lstStyle>
            <a:lvl1pPr marL="0" indent="0" algn="ctr">
              <a:buNone/>
              <a:defRPr sz="700">
                <a:solidFill>
                  <a:schemeClr val="tx2"/>
                </a:solidFill>
                <a:latin typeface="Barlow" pitchFamily="2" charset="77"/>
              </a:defRPr>
            </a:lvl1pPr>
          </a:lstStyle>
          <a:p>
            <a:endParaRPr lang="en-FI"/>
          </a:p>
        </p:txBody>
      </p:sp>
      <p:sp>
        <p:nvSpPr>
          <p:cNvPr id="30" name="Picture Placeholder 2">
            <a:extLst>
              <a:ext uri="{FF2B5EF4-FFF2-40B4-BE49-F238E27FC236}">
                <a16:creationId xmlns:a16="http://schemas.microsoft.com/office/drawing/2014/main" id="{820B2DE4-F68C-3742-A1A4-F3D51E3B9B39}"/>
              </a:ext>
            </a:extLst>
          </p:cNvPr>
          <p:cNvSpPr>
            <a:spLocks noGrp="1"/>
          </p:cNvSpPr>
          <p:nvPr>
            <p:ph type="pic" sz="quarter" idx="35"/>
          </p:nvPr>
        </p:nvSpPr>
        <p:spPr>
          <a:xfrm>
            <a:off x="6495955" y="3533269"/>
            <a:ext cx="692944" cy="692150"/>
          </a:xfrm>
          <a:solidFill>
            <a:srgbClr val="ECECEC"/>
          </a:solidFill>
        </p:spPr>
        <p:txBody>
          <a:bodyPr anchor="ctr">
            <a:normAutofit/>
          </a:bodyPr>
          <a:lstStyle>
            <a:lvl1pPr marL="0" indent="0" algn="ctr">
              <a:buNone/>
              <a:defRPr sz="700">
                <a:solidFill>
                  <a:schemeClr val="tx2"/>
                </a:solidFill>
                <a:latin typeface="Barlow" pitchFamily="2" charset="77"/>
              </a:defRPr>
            </a:lvl1pPr>
          </a:lstStyle>
          <a:p>
            <a:endParaRPr lang="en-FI"/>
          </a:p>
        </p:txBody>
      </p:sp>
      <p:sp>
        <p:nvSpPr>
          <p:cNvPr id="31" name="Picture Placeholder 2">
            <a:extLst>
              <a:ext uri="{FF2B5EF4-FFF2-40B4-BE49-F238E27FC236}">
                <a16:creationId xmlns:a16="http://schemas.microsoft.com/office/drawing/2014/main" id="{54FD07A9-10CA-C040-94D1-D39BBA395FDC}"/>
              </a:ext>
            </a:extLst>
          </p:cNvPr>
          <p:cNvSpPr>
            <a:spLocks noGrp="1"/>
          </p:cNvSpPr>
          <p:nvPr>
            <p:ph type="pic" sz="quarter" idx="36"/>
          </p:nvPr>
        </p:nvSpPr>
        <p:spPr>
          <a:xfrm>
            <a:off x="7587386" y="3533269"/>
            <a:ext cx="692944" cy="692150"/>
          </a:xfrm>
          <a:solidFill>
            <a:srgbClr val="ECECEC"/>
          </a:solidFill>
        </p:spPr>
        <p:txBody>
          <a:bodyPr anchor="ctr">
            <a:normAutofit/>
          </a:bodyPr>
          <a:lstStyle>
            <a:lvl1pPr marL="0" indent="0" algn="ctr">
              <a:buNone/>
              <a:defRPr sz="700">
                <a:solidFill>
                  <a:schemeClr val="tx2"/>
                </a:solidFill>
                <a:latin typeface="Barlow" pitchFamily="2" charset="77"/>
              </a:defRPr>
            </a:lvl1pPr>
          </a:lstStyle>
          <a:p>
            <a:endParaRPr lang="en-FI"/>
          </a:p>
        </p:txBody>
      </p:sp>
      <p:sp>
        <p:nvSpPr>
          <p:cNvPr id="32" name="Picture Placeholder 2">
            <a:extLst>
              <a:ext uri="{FF2B5EF4-FFF2-40B4-BE49-F238E27FC236}">
                <a16:creationId xmlns:a16="http://schemas.microsoft.com/office/drawing/2014/main" id="{D303D480-E3A4-0749-BCDC-D207000664EE}"/>
              </a:ext>
            </a:extLst>
          </p:cNvPr>
          <p:cNvSpPr>
            <a:spLocks noGrp="1"/>
          </p:cNvSpPr>
          <p:nvPr>
            <p:ph type="pic" sz="quarter" idx="37"/>
          </p:nvPr>
        </p:nvSpPr>
        <p:spPr>
          <a:xfrm>
            <a:off x="8678816" y="3533269"/>
            <a:ext cx="692944" cy="692150"/>
          </a:xfrm>
          <a:solidFill>
            <a:srgbClr val="ECECEC"/>
          </a:solidFill>
        </p:spPr>
        <p:txBody>
          <a:bodyPr anchor="ctr">
            <a:normAutofit/>
          </a:bodyPr>
          <a:lstStyle>
            <a:lvl1pPr marL="0" indent="0" algn="ctr">
              <a:buNone/>
              <a:defRPr sz="700">
                <a:solidFill>
                  <a:schemeClr val="tx2"/>
                </a:solidFill>
                <a:latin typeface="Barlow" pitchFamily="2" charset="77"/>
              </a:defRPr>
            </a:lvl1pPr>
          </a:lstStyle>
          <a:p>
            <a:endParaRPr lang="en-FI"/>
          </a:p>
        </p:txBody>
      </p:sp>
      <p:sp>
        <p:nvSpPr>
          <p:cNvPr id="33" name="Picture Placeholder 2">
            <a:extLst>
              <a:ext uri="{FF2B5EF4-FFF2-40B4-BE49-F238E27FC236}">
                <a16:creationId xmlns:a16="http://schemas.microsoft.com/office/drawing/2014/main" id="{6E4FE63C-ACA9-C84D-B806-2314D1F5568D}"/>
              </a:ext>
            </a:extLst>
          </p:cNvPr>
          <p:cNvSpPr>
            <a:spLocks noGrp="1"/>
          </p:cNvSpPr>
          <p:nvPr>
            <p:ph type="pic" sz="quarter" idx="38"/>
          </p:nvPr>
        </p:nvSpPr>
        <p:spPr>
          <a:xfrm>
            <a:off x="9770247" y="3533269"/>
            <a:ext cx="692944" cy="692150"/>
          </a:xfrm>
          <a:solidFill>
            <a:srgbClr val="ECECEC"/>
          </a:solidFill>
        </p:spPr>
        <p:txBody>
          <a:bodyPr anchor="ctr">
            <a:normAutofit/>
          </a:bodyPr>
          <a:lstStyle>
            <a:lvl1pPr marL="0" indent="0" algn="ctr">
              <a:buNone/>
              <a:defRPr sz="700">
                <a:solidFill>
                  <a:schemeClr val="tx2"/>
                </a:solidFill>
                <a:latin typeface="Barlow" pitchFamily="2" charset="77"/>
              </a:defRPr>
            </a:lvl1pPr>
          </a:lstStyle>
          <a:p>
            <a:endParaRPr lang="en-FI"/>
          </a:p>
        </p:txBody>
      </p:sp>
      <p:sp>
        <p:nvSpPr>
          <p:cNvPr id="34" name="Picture Placeholder 2">
            <a:extLst>
              <a:ext uri="{FF2B5EF4-FFF2-40B4-BE49-F238E27FC236}">
                <a16:creationId xmlns:a16="http://schemas.microsoft.com/office/drawing/2014/main" id="{377EF0EB-CAB6-8449-BCE5-0E8273BFE1E9}"/>
              </a:ext>
            </a:extLst>
          </p:cNvPr>
          <p:cNvSpPr>
            <a:spLocks noGrp="1"/>
          </p:cNvSpPr>
          <p:nvPr>
            <p:ph type="pic" sz="quarter" idx="39"/>
          </p:nvPr>
        </p:nvSpPr>
        <p:spPr>
          <a:xfrm>
            <a:off x="10861676" y="3533269"/>
            <a:ext cx="692944" cy="692150"/>
          </a:xfrm>
          <a:solidFill>
            <a:srgbClr val="ECECEC"/>
          </a:solidFill>
        </p:spPr>
        <p:txBody>
          <a:bodyPr anchor="ctr">
            <a:normAutofit/>
          </a:bodyPr>
          <a:lstStyle>
            <a:lvl1pPr marL="0" indent="0" algn="ctr">
              <a:buNone/>
              <a:defRPr sz="700">
                <a:solidFill>
                  <a:schemeClr val="tx2"/>
                </a:solidFill>
                <a:latin typeface="Barlow" pitchFamily="2" charset="77"/>
              </a:defRPr>
            </a:lvl1pPr>
          </a:lstStyle>
          <a:p>
            <a:endParaRPr lang="en-FI"/>
          </a:p>
        </p:txBody>
      </p:sp>
    </p:spTree>
    <p:extLst>
      <p:ext uri="{BB962C8B-B14F-4D97-AF65-F5344CB8AC3E}">
        <p14:creationId xmlns:p14="http://schemas.microsoft.com/office/powerpoint/2010/main" val="3861893094"/>
      </p:ext>
    </p:extLst>
  </p:cSld>
  <p:clrMapOvr>
    <a:masterClrMapping/>
  </p:clrMapOvr>
  <p:transition spd="med"/>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4_Blank">
    <p:spTree>
      <p:nvGrpSpPr>
        <p:cNvPr id="1" name=""/>
        <p:cNvGrpSpPr/>
        <p:nvPr/>
      </p:nvGrpSpPr>
      <p:grpSpPr>
        <a:xfrm>
          <a:off x="0" y="0"/>
          <a:ext cx="0" cy="0"/>
          <a:chOff x="0" y="0"/>
          <a:chExt cx="0" cy="0"/>
        </a:xfrm>
      </p:grpSpPr>
      <p:sp>
        <p:nvSpPr>
          <p:cNvPr id="11" name="Slide Number"/>
          <p:cNvSpPr txBox="1">
            <a:spLocks noGrp="1"/>
          </p:cNvSpPr>
          <p:nvPr>
            <p:ph type="sldNum" sz="quarter" idx="2"/>
          </p:nvPr>
        </p:nvSpPr>
        <p:spPr>
          <a:prstGeom prst="rect">
            <a:avLst/>
          </a:prstGeom>
        </p:spPr>
        <p:txBody>
          <a:bodyPr/>
          <a:lstStyle>
            <a:lvl1pPr>
              <a:defRPr>
                <a:latin typeface="OPPOSans R" panose="00020600040101010101" pitchFamily="18" charset="-122"/>
              </a:defRPr>
            </a:lvl1pPr>
          </a:lstStyle>
          <a:p>
            <a:fld id="{86CB4B4D-7CA3-9044-876B-883B54F8677D}" type="slidenum">
              <a:rPr lang="en-US" altLang="zh-CN" smtClean="0"/>
              <a:pPr/>
              <a:t>‹#›</a:t>
            </a:fld>
            <a:endParaRPr lang="en-US" altLang="zh-CN"/>
          </a:p>
        </p:txBody>
      </p:sp>
      <p:sp>
        <p:nvSpPr>
          <p:cNvPr id="3" name="Picture Placeholder 2">
            <a:extLst>
              <a:ext uri="{FF2B5EF4-FFF2-40B4-BE49-F238E27FC236}">
                <a16:creationId xmlns:a16="http://schemas.microsoft.com/office/drawing/2014/main" id="{4F8BD93B-8079-2F44-8C72-861A4EB58975}"/>
              </a:ext>
            </a:extLst>
          </p:cNvPr>
          <p:cNvSpPr>
            <a:spLocks noGrp="1"/>
          </p:cNvSpPr>
          <p:nvPr>
            <p:ph type="pic" sz="quarter" idx="10"/>
          </p:nvPr>
        </p:nvSpPr>
        <p:spPr>
          <a:xfrm>
            <a:off x="1038803" y="1538216"/>
            <a:ext cx="692944" cy="692150"/>
          </a:xfrm>
          <a:solidFill>
            <a:srgbClr val="ECECEC"/>
          </a:solidFill>
        </p:spPr>
        <p:txBody>
          <a:bodyPr anchor="ctr">
            <a:normAutofit/>
          </a:bodyPr>
          <a:lstStyle>
            <a:lvl1pPr marL="0" indent="0" algn="ctr">
              <a:buNone/>
              <a:defRPr sz="700">
                <a:solidFill>
                  <a:schemeClr val="tx2"/>
                </a:solidFill>
                <a:latin typeface="Barlow" pitchFamily="2" charset="77"/>
              </a:defRPr>
            </a:lvl1pPr>
          </a:lstStyle>
          <a:p>
            <a:endParaRPr lang="en-FI"/>
          </a:p>
        </p:txBody>
      </p:sp>
      <p:sp>
        <p:nvSpPr>
          <p:cNvPr id="5" name="Picture Placeholder 2">
            <a:extLst>
              <a:ext uri="{FF2B5EF4-FFF2-40B4-BE49-F238E27FC236}">
                <a16:creationId xmlns:a16="http://schemas.microsoft.com/office/drawing/2014/main" id="{B1DF3BC4-5BD3-7C48-8D93-C5CE16F92F79}"/>
              </a:ext>
            </a:extLst>
          </p:cNvPr>
          <p:cNvSpPr>
            <a:spLocks noGrp="1"/>
          </p:cNvSpPr>
          <p:nvPr>
            <p:ph type="pic" sz="quarter" idx="11"/>
          </p:nvPr>
        </p:nvSpPr>
        <p:spPr>
          <a:xfrm>
            <a:off x="2130233" y="1538216"/>
            <a:ext cx="692944" cy="692150"/>
          </a:xfrm>
          <a:solidFill>
            <a:srgbClr val="ECECEC"/>
          </a:solidFill>
        </p:spPr>
        <p:txBody>
          <a:bodyPr anchor="ctr">
            <a:normAutofit/>
          </a:bodyPr>
          <a:lstStyle>
            <a:lvl1pPr marL="0" indent="0" algn="ctr">
              <a:buNone/>
              <a:defRPr sz="700">
                <a:solidFill>
                  <a:schemeClr val="tx2"/>
                </a:solidFill>
                <a:latin typeface="Barlow" pitchFamily="2" charset="77"/>
              </a:defRPr>
            </a:lvl1pPr>
          </a:lstStyle>
          <a:p>
            <a:endParaRPr lang="en-FI"/>
          </a:p>
        </p:txBody>
      </p:sp>
      <p:sp>
        <p:nvSpPr>
          <p:cNvPr id="6" name="Picture Placeholder 2">
            <a:extLst>
              <a:ext uri="{FF2B5EF4-FFF2-40B4-BE49-F238E27FC236}">
                <a16:creationId xmlns:a16="http://schemas.microsoft.com/office/drawing/2014/main" id="{F102159C-D9F0-5041-8714-07CEC43B0DBC}"/>
              </a:ext>
            </a:extLst>
          </p:cNvPr>
          <p:cNvSpPr>
            <a:spLocks noGrp="1"/>
          </p:cNvSpPr>
          <p:nvPr>
            <p:ph type="pic" sz="quarter" idx="12"/>
          </p:nvPr>
        </p:nvSpPr>
        <p:spPr>
          <a:xfrm>
            <a:off x="3221664" y="1538216"/>
            <a:ext cx="692944" cy="692150"/>
          </a:xfrm>
          <a:solidFill>
            <a:srgbClr val="ECECEC"/>
          </a:solidFill>
        </p:spPr>
        <p:txBody>
          <a:bodyPr anchor="ctr">
            <a:normAutofit/>
          </a:bodyPr>
          <a:lstStyle>
            <a:lvl1pPr marL="0" indent="0" algn="ctr">
              <a:buNone/>
              <a:defRPr sz="700">
                <a:solidFill>
                  <a:schemeClr val="tx2"/>
                </a:solidFill>
                <a:latin typeface="Barlow" pitchFamily="2" charset="77"/>
              </a:defRPr>
            </a:lvl1pPr>
          </a:lstStyle>
          <a:p>
            <a:endParaRPr lang="en-FI"/>
          </a:p>
        </p:txBody>
      </p:sp>
      <p:sp>
        <p:nvSpPr>
          <p:cNvPr id="7" name="Picture Placeholder 2">
            <a:extLst>
              <a:ext uri="{FF2B5EF4-FFF2-40B4-BE49-F238E27FC236}">
                <a16:creationId xmlns:a16="http://schemas.microsoft.com/office/drawing/2014/main" id="{6EA155DB-3A89-C64A-9A42-C9ADB3B2942A}"/>
              </a:ext>
            </a:extLst>
          </p:cNvPr>
          <p:cNvSpPr>
            <a:spLocks noGrp="1"/>
          </p:cNvSpPr>
          <p:nvPr>
            <p:ph type="pic" sz="quarter" idx="13"/>
          </p:nvPr>
        </p:nvSpPr>
        <p:spPr>
          <a:xfrm>
            <a:off x="4313094" y="1538216"/>
            <a:ext cx="692944" cy="692150"/>
          </a:xfrm>
          <a:solidFill>
            <a:srgbClr val="ECECEC"/>
          </a:solidFill>
        </p:spPr>
        <p:txBody>
          <a:bodyPr anchor="ctr">
            <a:normAutofit/>
          </a:bodyPr>
          <a:lstStyle>
            <a:lvl1pPr marL="0" indent="0" algn="ctr">
              <a:buNone/>
              <a:defRPr sz="700">
                <a:solidFill>
                  <a:schemeClr val="tx2"/>
                </a:solidFill>
                <a:latin typeface="Barlow" pitchFamily="2" charset="77"/>
              </a:defRPr>
            </a:lvl1pPr>
          </a:lstStyle>
          <a:p>
            <a:endParaRPr lang="en-FI"/>
          </a:p>
        </p:txBody>
      </p:sp>
      <p:sp>
        <p:nvSpPr>
          <p:cNvPr id="8" name="Picture Placeholder 2">
            <a:extLst>
              <a:ext uri="{FF2B5EF4-FFF2-40B4-BE49-F238E27FC236}">
                <a16:creationId xmlns:a16="http://schemas.microsoft.com/office/drawing/2014/main" id="{E379B7C7-C43C-B74F-80E1-FA4D5DF631D9}"/>
              </a:ext>
            </a:extLst>
          </p:cNvPr>
          <p:cNvSpPr>
            <a:spLocks noGrp="1"/>
          </p:cNvSpPr>
          <p:nvPr>
            <p:ph type="pic" sz="quarter" idx="14"/>
          </p:nvPr>
        </p:nvSpPr>
        <p:spPr>
          <a:xfrm>
            <a:off x="5404525" y="1538216"/>
            <a:ext cx="692944" cy="692150"/>
          </a:xfrm>
          <a:solidFill>
            <a:srgbClr val="ECECEC"/>
          </a:solidFill>
        </p:spPr>
        <p:txBody>
          <a:bodyPr anchor="ctr">
            <a:normAutofit/>
          </a:bodyPr>
          <a:lstStyle>
            <a:lvl1pPr marL="0" indent="0" algn="ctr">
              <a:buNone/>
              <a:defRPr sz="700">
                <a:solidFill>
                  <a:schemeClr val="tx2"/>
                </a:solidFill>
                <a:latin typeface="Barlow" pitchFamily="2" charset="77"/>
              </a:defRPr>
            </a:lvl1pPr>
          </a:lstStyle>
          <a:p>
            <a:endParaRPr lang="en-FI"/>
          </a:p>
        </p:txBody>
      </p:sp>
      <p:sp>
        <p:nvSpPr>
          <p:cNvPr id="9" name="Picture Placeholder 2">
            <a:extLst>
              <a:ext uri="{FF2B5EF4-FFF2-40B4-BE49-F238E27FC236}">
                <a16:creationId xmlns:a16="http://schemas.microsoft.com/office/drawing/2014/main" id="{E89031F5-4FEE-FD4B-A3E8-71C79F2AE94E}"/>
              </a:ext>
            </a:extLst>
          </p:cNvPr>
          <p:cNvSpPr>
            <a:spLocks noGrp="1"/>
          </p:cNvSpPr>
          <p:nvPr>
            <p:ph type="pic" sz="quarter" idx="15"/>
          </p:nvPr>
        </p:nvSpPr>
        <p:spPr>
          <a:xfrm>
            <a:off x="6495955" y="1538216"/>
            <a:ext cx="692944" cy="692150"/>
          </a:xfrm>
          <a:solidFill>
            <a:srgbClr val="ECECEC"/>
          </a:solidFill>
        </p:spPr>
        <p:txBody>
          <a:bodyPr anchor="ctr">
            <a:normAutofit/>
          </a:bodyPr>
          <a:lstStyle>
            <a:lvl1pPr marL="0" indent="0" algn="ctr">
              <a:buNone/>
              <a:defRPr sz="700">
                <a:solidFill>
                  <a:schemeClr val="tx2"/>
                </a:solidFill>
                <a:latin typeface="Barlow" pitchFamily="2" charset="77"/>
              </a:defRPr>
            </a:lvl1pPr>
          </a:lstStyle>
          <a:p>
            <a:endParaRPr lang="en-FI"/>
          </a:p>
        </p:txBody>
      </p:sp>
      <p:sp>
        <p:nvSpPr>
          <p:cNvPr id="10" name="Picture Placeholder 2">
            <a:extLst>
              <a:ext uri="{FF2B5EF4-FFF2-40B4-BE49-F238E27FC236}">
                <a16:creationId xmlns:a16="http://schemas.microsoft.com/office/drawing/2014/main" id="{D23B3A17-978C-7846-8E21-C3AB145AE24B}"/>
              </a:ext>
            </a:extLst>
          </p:cNvPr>
          <p:cNvSpPr>
            <a:spLocks noGrp="1"/>
          </p:cNvSpPr>
          <p:nvPr>
            <p:ph type="pic" sz="quarter" idx="16"/>
          </p:nvPr>
        </p:nvSpPr>
        <p:spPr>
          <a:xfrm>
            <a:off x="7587386" y="1538216"/>
            <a:ext cx="692944" cy="692150"/>
          </a:xfrm>
          <a:solidFill>
            <a:srgbClr val="ECECEC"/>
          </a:solidFill>
        </p:spPr>
        <p:txBody>
          <a:bodyPr anchor="ctr">
            <a:normAutofit/>
          </a:bodyPr>
          <a:lstStyle>
            <a:lvl1pPr marL="0" indent="0" algn="ctr">
              <a:buNone/>
              <a:defRPr sz="700">
                <a:solidFill>
                  <a:schemeClr val="tx2"/>
                </a:solidFill>
                <a:latin typeface="Barlow" pitchFamily="2" charset="77"/>
              </a:defRPr>
            </a:lvl1pPr>
          </a:lstStyle>
          <a:p>
            <a:endParaRPr lang="en-FI"/>
          </a:p>
        </p:txBody>
      </p:sp>
      <p:sp>
        <p:nvSpPr>
          <p:cNvPr id="12" name="Picture Placeholder 2">
            <a:extLst>
              <a:ext uri="{FF2B5EF4-FFF2-40B4-BE49-F238E27FC236}">
                <a16:creationId xmlns:a16="http://schemas.microsoft.com/office/drawing/2014/main" id="{7E8D7DF0-A277-9D49-AA86-6E00770DF78F}"/>
              </a:ext>
            </a:extLst>
          </p:cNvPr>
          <p:cNvSpPr>
            <a:spLocks noGrp="1"/>
          </p:cNvSpPr>
          <p:nvPr>
            <p:ph type="pic" sz="quarter" idx="17"/>
          </p:nvPr>
        </p:nvSpPr>
        <p:spPr>
          <a:xfrm>
            <a:off x="8678816" y="1538216"/>
            <a:ext cx="692944" cy="692150"/>
          </a:xfrm>
          <a:solidFill>
            <a:srgbClr val="ECECEC"/>
          </a:solidFill>
        </p:spPr>
        <p:txBody>
          <a:bodyPr anchor="ctr">
            <a:normAutofit/>
          </a:bodyPr>
          <a:lstStyle>
            <a:lvl1pPr marL="0" indent="0" algn="ctr">
              <a:buNone/>
              <a:defRPr sz="700">
                <a:solidFill>
                  <a:schemeClr val="tx2"/>
                </a:solidFill>
                <a:latin typeface="Barlow" pitchFamily="2" charset="77"/>
              </a:defRPr>
            </a:lvl1pPr>
          </a:lstStyle>
          <a:p>
            <a:endParaRPr lang="en-FI"/>
          </a:p>
        </p:txBody>
      </p:sp>
      <p:sp>
        <p:nvSpPr>
          <p:cNvPr id="13" name="Picture Placeholder 2">
            <a:extLst>
              <a:ext uri="{FF2B5EF4-FFF2-40B4-BE49-F238E27FC236}">
                <a16:creationId xmlns:a16="http://schemas.microsoft.com/office/drawing/2014/main" id="{B014FAAE-7B3D-1243-9C9A-374862A76277}"/>
              </a:ext>
            </a:extLst>
          </p:cNvPr>
          <p:cNvSpPr>
            <a:spLocks noGrp="1"/>
          </p:cNvSpPr>
          <p:nvPr>
            <p:ph type="pic" sz="quarter" idx="18"/>
          </p:nvPr>
        </p:nvSpPr>
        <p:spPr>
          <a:xfrm>
            <a:off x="9770247" y="1538216"/>
            <a:ext cx="692944" cy="692150"/>
          </a:xfrm>
          <a:solidFill>
            <a:srgbClr val="ECECEC"/>
          </a:solidFill>
        </p:spPr>
        <p:txBody>
          <a:bodyPr anchor="ctr">
            <a:normAutofit/>
          </a:bodyPr>
          <a:lstStyle>
            <a:lvl1pPr marL="0" indent="0" algn="ctr">
              <a:buNone/>
              <a:defRPr sz="700">
                <a:solidFill>
                  <a:schemeClr val="tx2"/>
                </a:solidFill>
                <a:latin typeface="Barlow" pitchFamily="2" charset="77"/>
              </a:defRPr>
            </a:lvl1pPr>
          </a:lstStyle>
          <a:p>
            <a:endParaRPr lang="en-FI"/>
          </a:p>
        </p:txBody>
      </p:sp>
      <p:sp>
        <p:nvSpPr>
          <p:cNvPr id="14" name="Picture Placeholder 2">
            <a:extLst>
              <a:ext uri="{FF2B5EF4-FFF2-40B4-BE49-F238E27FC236}">
                <a16:creationId xmlns:a16="http://schemas.microsoft.com/office/drawing/2014/main" id="{6D52479F-440B-3741-AC4E-3222AD177211}"/>
              </a:ext>
            </a:extLst>
          </p:cNvPr>
          <p:cNvSpPr>
            <a:spLocks noGrp="1"/>
          </p:cNvSpPr>
          <p:nvPr>
            <p:ph type="pic" sz="quarter" idx="19"/>
          </p:nvPr>
        </p:nvSpPr>
        <p:spPr>
          <a:xfrm>
            <a:off x="10861676" y="1538216"/>
            <a:ext cx="692944" cy="692150"/>
          </a:xfrm>
          <a:solidFill>
            <a:srgbClr val="ECECEC"/>
          </a:solidFill>
        </p:spPr>
        <p:txBody>
          <a:bodyPr anchor="ctr">
            <a:normAutofit/>
          </a:bodyPr>
          <a:lstStyle>
            <a:lvl1pPr marL="0" indent="0" algn="ctr">
              <a:buNone/>
              <a:defRPr sz="700">
                <a:solidFill>
                  <a:schemeClr val="tx2"/>
                </a:solidFill>
                <a:latin typeface="Barlow" pitchFamily="2" charset="77"/>
              </a:defRPr>
            </a:lvl1pPr>
          </a:lstStyle>
          <a:p>
            <a:endParaRPr lang="en-FI"/>
          </a:p>
        </p:txBody>
      </p:sp>
      <p:sp>
        <p:nvSpPr>
          <p:cNvPr id="15" name="Picture Placeholder 2">
            <a:extLst>
              <a:ext uri="{FF2B5EF4-FFF2-40B4-BE49-F238E27FC236}">
                <a16:creationId xmlns:a16="http://schemas.microsoft.com/office/drawing/2014/main" id="{3CC4451C-AEBE-584F-8EE0-184C5488A27E}"/>
              </a:ext>
            </a:extLst>
          </p:cNvPr>
          <p:cNvSpPr>
            <a:spLocks noGrp="1"/>
          </p:cNvSpPr>
          <p:nvPr>
            <p:ph type="pic" sz="quarter" idx="20"/>
          </p:nvPr>
        </p:nvSpPr>
        <p:spPr>
          <a:xfrm>
            <a:off x="1038803" y="2535743"/>
            <a:ext cx="692944" cy="692150"/>
          </a:xfrm>
          <a:solidFill>
            <a:srgbClr val="ECECEC"/>
          </a:solidFill>
        </p:spPr>
        <p:txBody>
          <a:bodyPr anchor="ctr">
            <a:normAutofit/>
          </a:bodyPr>
          <a:lstStyle>
            <a:lvl1pPr marL="0" indent="0" algn="ctr">
              <a:buNone/>
              <a:defRPr sz="700">
                <a:solidFill>
                  <a:schemeClr val="tx2"/>
                </a:solidFill>
                <a:latin typeface="Barlow" pitchFamily="2" charset="77"/>
              </a:defRPr>
            </a:lvl1pPr>
          </a:lstStyle>
          <a:p>
            <a:endParaRPr lang="en-FI"/>
          </a:p>
        </p:txBody>
      </p:sp>
      <p:sp>
        <p:nvSpPr>
          <p:cNvPr id="16" name="Picture Placeholder 2">
            <a:extLst>
              <a:ext uri="{FF2B5EF4-FFF2-40B4-BE49-F238E27FC236}">
                <a16:creationId xmlns:a16="http://schemas.microsoft.com/office/drawing/2014/main" id="{D1B8F02C-FA1B-944C-8E50-52211C8D94B2}"/>
              </a:ext>
            </a:extLst>
          </p:cNvPr>
          <p:cNvSpPr>
            <a:spLocks noGrp="1"/>
          </p:cNvSpPr>
          <p:nvPr>
            <p:ph type="pic" sz="quarter" idx="21"/>
          </p:nvPr>
        </p:nvSpPr>
        <p:spPr>
          <a:xfrm>
            <a:off x="2130233" y="2535743"/>
            <a:ext cx="692944" cy="692150"/>
          </a:xfrm>
          <a:solidFill>
            <a:srgbClr val="ECECEC"/>
          </a:solidFill>
        </p:spPr>
        <p:txBody>
          <a:bodyPr anchor="ctr">
            <a:normAutofit/>
          </a:bodyPr>
          <a:lstStyle>
            <a:lvl1pPr marL="0" indent="0" algn="ctr">
              <a:buNone/>
              <a:defRPr sz="700">
                <a:solidFill>
                  <a:schemeClr val="tx2"/>
                </a:solidFill>
                <a:latin typeface="Barlow" pitchFamily="2" charset="77"/>
              </a:defRPr>
            </a:lvl1pPr>
          </a:lstStyle>
          <a:p>
            <a:endParaRPr lang="en-FI"/>
          </a:p>
        </p:txBody>
      </p:sp>
      <p:sp>
        <p:nvSpPr>
          <p:cNvPr id="17" name="Picture Placeholder 2">
            <a:extLst>
              <a:ext uri="{FF2B5EF4-FFF2-40B4-BE49-F238E27FC236}">
                <a16:creationId xmlns:a16="http://schemas.microsoft.com/office/drawing/2014/main" id="{51A6A264-4F9B-BD40-907B-F457C79C9D25}"/>
              </a:ext>
            </a:extLst>
          </p:cNvPr>
          <p:cNvSpPr>
            <a:spLocks noGrp="1"/>
          </p:cNvSpPr>
          <p:nvPr>
            <p:ph type="pic" sz="quarter" idx="22"/>
          </p:nvPr>
        </p:nvSpPr>
        <p:spPr>
          <a:xfrm>
            <a:off x="3221664" y="2535743"/>
            <a:ext cx="692944" cy="692150"/>
          </a:xfrm>
          <a:solidFill>
            <a:srgbClr val="ECECEC"/>
          </a:solidFill>
        </p:spPr>
        <p:txBody>
          <a:bodyPr anchor="ctr">
            <a:normAutofit/>
          </a:bodyPr>
          <a:lstStyle>
            <a:lvl1pPr marL="0" indent="0" algn="ctr">
              <a:buNone/>
              <a:defRPr sz="700">
                <a:solidFill>
                  <a:schemeClr val="tx2"/>
                </a:solidFill>
                <a:latin typeface="Barlow" pitchFamily="2" charset="77"/>
              </a:defRPr>
            </a:lvl1pPr>
          </a:lstStyle>
          <a:p>
            <a:endParaRPr lang="en-FI"/>
          </a:p>
        </p:txBody>
      </p:sp>
      <p:sp>
        <p:nvSpPr>
          <p:cNvPr id="18" name="Picture Placeholder 2">
            <a:extLst>
              <a:ext uri="{FF2B5EF4-FFF2-40B4-BE49-F238E27FC236}">
                <a16:creationId xmlns:a16="http://schemas.microsoft.com/office/drawing/2014/main" id="{09520C77-297B-D444-A69A-6D169F975D8D}"/>
              </a:ext>
            </a:extLst>
          </p:cNvPr>
          <p:cNvSpPr>
            <a:spLocks noGrp="1"/>
          </p:cNvSpPr>
          <p:nvPr>
            <p:ph type="pic" sz="quarter" idx="23"/>
          </p:nvPr>
        </p:nvSpPr>
        <p:spPr>
          <a:xfrm>
            <a:off x="4313094" y="2535743"/>
            <a:ext cx="692944" cy="692150"/>
          </a:xfrm>
          <a:solidFill>
            <a:srgbClr val="ECECEC"/>
          </a:solidFill>
        </p:spPr>
        <p:txBody>
          <a:bodyPr anchor="ctr">
            <a:normAutofit/>
          </a:bodyPr>
          <a:lstStyle>
            <a:lvl1pPr marL="0" indent="0" algn="ctr">
              <a:buNone/>
              <a:defRPr sz="700">
                <a:solidFill>
                  <a:schemeClr val="tx2"/>
                </a:solidFill>
                <a:latin typeface="Barlow" pitchFamily="2" charset="77"/>
              </a:defRPr>
            </a:lvl1pPr>
          </a:lstStyle>
          <a:p>
            <a:endParaRPr lang="en-FI"/>
          </a:p>
        </p:txBody>
      </p:sp>
      <p:sp>
        <p:nvSpPr>
          <p:cNvPr id="19" name="Picture Placeholder 2">
            <a:extLst>
              <a:ext uri="{FF2B5EF4-FFF2-40B4-BE49-F238E27FC236}">
                <a16:creationId xmlns:a16="http://schemas.microsoft.com/office/drawing/2014/main" id="{4F68D8D0-E5A8-3E4B-82EC-828483B3F524}"/>
              </a:ext>
            </a:extLst>
          </p:cNvPr>
          <p:cNvSpPr>
            <a:spLocks noGrp="1"/>
          </p:cNvSpPr>
          <p:nvPr>
            <p:ph type="pic" sz="quarter" idx="24"/>
          </p:nvPr>
        </p:nvSpPr>
        <p:spPr>
          <a:xfrm>
            <a:off x="5404525" y="2535743"/>
            <a:ext cx="692944" cy="692150"/>
          </a:xfrm>
          <a:solidFill>
            <a:srgbClr val="ECECEC"/>
          </a:solidFill>
        </p:spPr>
        <p:txBody>
          <a:bodyPr anchor="ctr">
            <a:normAutofit/>
          </a:bodyPr>
          <a:lstStyle>
            <a:lvl1pPr marL="0" indent="0" algn="ctr">
              <a:buNone/>
              <a:defRPr sz="700">
                <a:solidFill>
                  <a:schemeClr val="tx2"/>
                </a:solidFill>
                <a:latin typeface="Barlow" pitchFamily="2" charset="77"/>
              </a:defRPr>
            </a:lvl1pPr>
          </a:lstStyle>
          <a:p>
            <a:endParaRPr lang="en-FI"/>
          </a:p>
        </p:txBody>
      </p:sp>
      <p:sp>
        <p:nvSpPr>
          <p:cNvPr id="20" name="Picture Placeholder 2">
            <a:extLst>
              <a:ext uri="{FF2B5EF4-FFF2-40B4-BE49-F238E27FC236}">
                <a16:creationId xmlns:a16="http://schemas.microsoft.com/office/drawing/2014/main" id="{DCCA461E-704A-AB42-854E-611956698124}"/>
              </a:ext>
            </a:extLst>
          </p:cNvPr>
          <p:cNvSpPr>
            <a:spLocks noGrp="1"/>
          </p:cNvSpPr>
          <p:nvPr>
            <p:ph type="pic" sz="quarter" idx="25"/>
          </p:nvPr>
        </p:nvSpPr>
        <p:spPr>
          <a:xfrm>
            <a:off x="6495955" y="2535743"/>
            <a:ext cx="692944" cy="692150"/>
          </a:xfrm>
          <a:solidFill>
            <a:srgbClr val="ECECEC"/>
          </a:solidFill>
        </p:spPr>
        <p:txBody>
          <a:bodyPr anchor="ctr">
            <a:normAutofit/>
          </a:bodyPr>
          <a:lstStyle>
            <a:lvl1pPr marL="0" indent="0" algn="ctr">
              <a:buNone/>
              <a:defRPr sz="700">
                <a:solidFill>
                  <a:schemeClr val="tx2"/>
                </a:solidFill>
                <a:latin typeface="Barlow" pitchFamily="2" charset="77"/>
              </a:defRPr>
            </a:lvl1pPr>
          </a:lstStyle>
          <a:p>
            <a:endParaRPr lang="en-FI"/>
          </a:p>
        </p:txBody>
      </p:sp>
      <p:sp>
        <p:nvSpPr>
          <p:cNvPr id="21" name="Picture Placeholder 2">
            <a:extLst>
              <a:ext uri="{FF2B5EF4-FFF2-40B4-BE49-F238E27FC236}">
                <a16:creationId xmlns:a16="http://schemas.microsoft.com/office/drawing/2014/main" id="{AA94B49F-9685-6E4D-9E8C-FC6EA94E36CF}"/>
              </a:ext>
            </a:extLst>
          </p:cNvPr>
          <p:cNvSpPr>
            <a:spLocks noGrp="1"/>
          </p:cNvSpPr>
          <p:nvPr>
            <p:ph type="pic" sz="quarter" idx="26"/>
          </p:nvPr>
        </p:nvSpPr>
        <p:spPr>
          <a:xfrm>
            <a:off x="7587386" y="2535743"/>
            <a:ext cx="692944" cy="692150"/>
          </a:xfrm>
          <a:solidFill>
            <a:srgbClr val="ECECEC"/>
          </a:solidFill>
        </p:spPr>
        <p:txBody>
          <a:bodyPr anchor="ctr">
            <a:normAutofit/>
          </a:bodyPr>
          <a:lstStyle>
            <a:lvl1pPr marL="0" indent="0" algn="ctr">
              <a:buNone/>
              <a:defRPr sz="700">
                <a:solidFill>
                  <a:schemeClr val="tx2"/>
                </a:solidFill>
                <a:latin typeface="Barlow" pitchFamily="2" charset="77"/>
              </a:defRPr>
            </a:lvl1pPr>
          </a:lstStyle>
          <a:p>
            <a:endParaRPr lang="en-FI"/>
          </a:p>
        </p:txBody>
      </p:sp>
      <p:sp>
        <p:nvSpPr>
          <p:cNvPr id="22" name="Picture Placeholder 2">
            <a:extLst>
              <a:ext uri="{FF2B5EF4-FFF2-40B4-BE49-F238E27FC236}">
                <a16:creationId xmlns:a16="http://schemas.microsoft.com/office/drawing/2014/main" id="{D7E86C7A-5517-C24F-9954-A302C9A2226F}"/>
              </a:ext>
            </a:extLst>
          </p:cNvPr>
          <p:cNvSpPr>
            <a:spLocks noGrp="1"/>
          </p:cNvSpPr>
          <p:nvPr>
            <p:ph type="pic" sz="quarter" idx="27"/>
          </p:nvPr>
        </p:nvSpPr>
        <p:spPr>
          <a:xfrm>
            <a:off x="8678816" y="2535743"/>
            <a:ext cx="692944" cy="692150"/>
          </a:xfrm>
          <a:solidFill>
            <a:srgbClr val="ECECEC"/>
          </a:solidFill>
        </p:spPr>
        <p:txBody>
          <a:bodyPr anchor="ctr">
            <a:normAutofit/>
          </a:bodyPr>
          <a:lstStyle>
            <a:lvl1pPr marL="0" indent="0" algn="ctr">
              <a:buNone/>
              <a:defRPr sz="700">
                <a:solidFill>
                  <a:schemeClr val="tx2"/>
                </a:solidFill>
                <a:latin typeface="Barlow" pitchFamily="2" charset="77"/>
              </a:defRPr>
            </a:lvl1pPr>
          </a:lstStyle>
          <a:p>
            <a:endParaRPr lang="en-FI"/>
          </a:p>
        </p:txBody>
      </p:sp>
      <p:sp>
        <p:nvSpPr>
          <p:cNvPr id="23" name="Picture Placeholder 2">
            <a:extLst>
              <a:ext uri="{FF2B5EF4-FFF2-40B4-BE49-F238E27FC236}">
                <a16:creationId xmlns:a16="http://schemas.microsoft.com/office/drawing/2014/main" id="{AABF648A-DE94-1B4D-B714-1DEF5CD7A6CF}"/>
              </a:ext>
            </a:extLst>
          </p:cNvPr>
          <p:cNvSpPr>
            <a:spLocks noGrp="1"/>
          </p:cNvSpPr>
          <p:nvPr>
            <p:ph type="pic" sz="quarter" idx="28"/>
          </p:nvPr>
        </p:nvSpPr>
        <p:spPr>
          <a:xfrm>
            <a:off x="9770247" y="2535743"/>
            <a:ext cx="692944" cy="692150"/>
          </a:xfrm>
          <a:solidFill>
            <a:srgbClr val="ECECEC"/>
          </a:solidFill>
        </p:spPr>
        <p:txBody>
          <a:bodyPr anchor="ctr">
            <a:normAutofit/>
          </a:bodyPr>
          <a:lstStyle>
            <a:lvl1pPr marL="0" indent="0" algn="ctr">
              <a:buNone/>
              <a:defRPr sz="700">
                <a:solidFill>
                  <a:schemeClr val="tx2"/>
                </a:solidFill>
                <a:latin typeface="Barlow" pitchFamily="2" charset="77"/>
              </a:defRPr>
            </a:lvl1pPr>
          </a:lstStyle>
          <a:p>
            <a:endParaRPr lang="en-FI"/>
          </a:p>
        </p:txBody>
      </p:sp>
      <p:sp>
        <p:nvSpPr>
          <p:cNvPr id="24" name="Picture Placeholder 2">
            <a:extLst>
              <a:ext uri="{FF2B5EF4-FFF2-40B4-BE49-F238E27FC236}">
                <a16:creationId xmlns:a16="http://schemas.microsoft.com/office/drawing/2014/main" id="{40F46BBC-CE3D-FD4A-9DD0-E973482F39B5}"/>
              </a:ext>
            </a:extLst>
          </p:cNvPr>
          <p:cNvSpPr>
            <a:spLocks noGrp="1"/>
          </p:cNvSpPr>
          <p:nvPr>
            <p:ph type="pic" sz="quarter" idx="29"/>
          </p:nvPr>
        </p:nvSpPr>
        <p:spPr>
          <a:xfrm>
            <a:off x="10861676" y="2535743"/>
            <a:ext cx="692944" cy="692150"/>
          </a:xfrm>
          <a:solidFill>
            <a:srgbClr val="ECECEC"/>
          </a:solidFill>
        </p:spPr>
        <p:txBody>
          <a:bodyPr anchor="ctr">
            <a:normAutofit/>
          </a:bodyPr>
          <a:lstStyle>
            <a:lvl1pPr marL="0" indent="0" algn="ctr">
              <a:buNone/>
              <a:defRPr sz="700">
                <a:solidFill>
                  <a:schemeClr val="tx2"/>
                </a:solidFill>
                <a:latin typeface="Barlow" pitchFamily="2" charset="77"/>
              </a:defRPr>
            </a:lvl1pPr>
          </a:lstStyle>
          <a:p>
            <a:endParaRPr lang="en-FI"/>
          </a:p>
        </p:txBody>
      </p:sp>
      <p:sp>
        <p:nvSpPr>
          <p:cNvPr id="25" name="Picture Placeholder 2">
            <a:extLst>
              <a:ext uri="{FF2B5EF4-FFF2-40B4-BE49-F238E27FC236}">
                <a16:creationId xmlns:a16="http://schemas.microsoft.com/office/drawing/2014/main" id="{6B9FD7BD-14BD-C647-9E2A-8B5A542B4618}"/>
              </a:ext>
            </a:extLst>
          </p:cNvPr>
          <p:cNvSpPr>
            <a:spLocks noGrp="1"/>
          </p:cNvSpPr>
          <p:nvPr>
            <p:ph type="pic" sz="quarter" idx="30"/>
          </p:nvPr>
        </p:nvSpPr>
        <p:spPr>
          <a:xfrm>
            <a:off x="1038803" y="3533269"/>
            <a:ext cx="692944" cy="692150"/>
          </a:xfrm>
          <a:solidFill>
            <a:srgbClr val="ECECEC"/>
          </a:solidFill>
        </p:spPr>
        <p:txBody>
          <a:bodyPr anchor="ctr">
            <a:normAutofit/>
          </a:bodyPr>
          <a:lstStyle>
            <a:lvl1pPr marL="0" indent="0" algn="ctr">
              <a:buNone/>
              <a:defRPr sz="700">
                <a:solidFill>
                  <a:schemeClr val="tx2"/>
                </a:solidFill>
                <a:latin typeface="Barlow" pitchFamily="2" charset="77"/>
              </a:defRPr>
            </a:lvl1pPr>
          </a:lstStyle>
          <a:p>
            <a:endParaRPr lang="en-FI"/>
          </a:p>
        </p:txBody>
      </p:sp>
      <p:sp>
        <p:nvSpPr>
          <p:cNvPr id="26" name="Picture Placeholder 2">
            <a:extLst>
              <a:ext uri="{FF2B5EF4-FFF2-40B4-BE49-F238E27FC236}">
                <a16:creationId xmlns:a16="http://schemas.microsoft.com/office/drawing/2014/main" id="{5FE89C44-FA74-7F43-A016-EA8D7BC3F619}"/>
              </a:ext>
            </a:extLst>
          </p:cNvPr>
          <p:cNvSpPr>
            <a:spLocks noGrp="1"/>
          </p:cNvSpPr>
          <p:nvPr>
            <p:ph type="pic" sz="quarter" idx="31"/>
          </p:nvPr>
        </p:nvSpPr>
        <p:spPr>
          <a:xfrm>
            <a:off x="2130233" y="3533269"/>
            <a:ext cx="692944" cy="692150"/>
          </a:xfrm>
          <a:solidFill>
            <a:srgbClr val="ECECEC"/>
          </a:solidFill>
        </p:spPr>
        <p:txBody>
          <a:bodyPr anchor="ctr">
            <a:normAutofit/>
          </a:bodyPr>
          <a:lstStyle>
            <a:lvl1pPr marL="0" indent="0" algn="ctr">
              <a:buNone/>
              <a:defRPr sz="700">
                <a:solidFill>
                  <a:schemeClr val="tx2"/>
                </a:solidFill>
                <a:latin typeface="Barlow" pitchFamily="2" charset="77"/>
              </a:defRPr>
            </a:lvl1pPr>
          </a:lstStyle>
          <a:p>
            <a:endParaRPr lang="en-FI"/>
          </a:p>
        </p:txBody>
      </p:sp>
      <p:sp>
        <p:nvSpPr>
          <p:cNvPr id="27" name="Picture Placeholder 2">
            <a:extLst>
              <a:ext uri="{FF2B5EF4-FFF2-40B4-BE49-F238E27FC236}">
                <a16:creationId xmlns:a16="http://schemas.microsoft.com/office/drawing/2014/main" id="{065E179A-9EA3-8A4E-90C1-E95B7E3CF7E1}"/>
              </a:ext>
            </a:extLst>
          </p:cNvPr>
          <p:cNvSpPr>
            <a:spLocks noGrp="1"/>
          </p:cNvSpPr>
          <p:nvPr>
            <p:ph type="pic" sz="quarter" idx="32"/>
          </p:nvPr>
        </p:nvSpPr>
        <p:spPr>
          <a:xfrm>
            <a:off x="3221664" y="3533269"/>
            <a:ext cx="692944" cy="692150"/>
          </a:xfrm>
          <a:solidFill>
            <a:srgbClr val="ECECEC"/>
          </a:solidFill>
        </p:spPr>
        <p:txBody>
          <a:bodyPr anchor="ctr">
            <a:normAutofit/>
          </a:bodyPr>
          <a:lstStyle>
            <a:lvl1pPr marL="0" indent="0" algn="ctr">
              <a:buNone/>
              <a:defRPr sz="700">
                <a:solidFill>
                  <a:schemeClr val="tx2"/>
                </a:solidFill>
                <a:latin typeface="Barlow" pitchFamily="2" charset="77"/>
              </a:defRPr>
            </a:lvl1pPr>
          </a:lstStyle>
          <a:p>
            <a:endParaRPr lang="en-FI"/>
          </a:p>
        </p:txBody>
      </p:sp>
      <p:sp>
        <p:nvSpPr>
          <p:cNvPr id="28" name="Picture Placeholder 2">
            <a:extLst>
              <a:ext uri="{FF2B5EF4-FFF2-40B4-BE49-F238E27FC236}">
                <a16:creationId xmlns:a16="http://schemas.microsoft.com/office/drawing/2014/main" id="{2A7D512E-3208-AD44-96A0-C4605E88B61F}"/>
              </a:ext>
            </a:extLst>
          </p:cNvPr>
          <p:cNvSpPr>
            <a:spLocks noGrp="1"/>
          </p:cNvSpPr>
          <p:nvPr>
            <p:ph type="pic" sz="quarter" idx="33"/>
          </p:nvPr>
        </p:nvSpPr>
        <p:spPr>
          <a:xfrm>
            <a:off x="4313094" y="3533269"/>
            <a:ext cx="692944" cy="692150"/>
          </a:xfrm>
          <a:solidFill>
            <a:srgbClr val="ECECEC"/>
          </a:solidFill>
        </p:spPr>
        <p:txBody>
          <a:bodyPr anchor="ctr">
            <a:normAutofit/>
          </a:bodyPr>
          <a:lstStyle>
            <a:lvl1pPr marL="0" indent="0" algn="ctr">
              <a:buNone/>
              <a:defRPr sz="700">
                <a:solidFill>
                  <a:schemeClr val="tx2"/>
                </a:solidFill>
                <a:latin typeface="Barlow" pitchFamily="2" charset="77"/>
              </a:defRPr>
            </a:lvl1pPr>
          </a:lstStyle>
          <a:p>
            <a:endParaRPr lang="en-FI"/>
          </a:p>
        </p:txBody>
      </p:sp>
      <p:sp>
        <p:nvSpPr>
          <p:cNvPr id="29" name="Picture Placeholder 2">
            <a:extLst>
              <a:ext uri="{FF2B5EF4-FFF2-40B4-BE49-F238E27FC236}">
                <a16:creationId xmlns:a16="http://schemas.microsoft.com/office/drawing/2014/main" id="{A31690F5-7966-2A42-B6ED-9B834A09253D}"/>
              </a:ext>
            </a:extLst>
          </p:cNvPr>
          <p:cNvSpPr>
            <a:spLocks noGrp="1"/>
          </p:cNvSpPr>
          <p:nvPr>
            <p:ph type="pic" sz="quarter" idx="34"/>
          </p:nvPr>
        </p:nvSpPr>
        <p:spPr>
          <a:xfrm>
            <a:off x="5404525" y="3533269"/>
            <a:ext cx="692944" cy="692150"/>
          </a:xfrm>
          <a:solidFill>
            <a:srgbClr val="ECECEC"/>
          </a:solidFill>
        </p:spPr>
        <p:txBody>
          <a:bodyPr anchor="ctr">
            <a:normAutofit/>
          </a:bodyPr>
          <a:lstStyle>
            <a:lvl1pPr marL="0" indent="0" algn="ctr">
              <a:buNone/>
              <a:defRPr sz="700">
                <a:solidFill>
                  <a:schemeClr val="tx2"/>
                </a:solidFill>
                <a:latin typeface="Barlow" pitchFamily="2" charset="77"/>
              </a:defRPr>
            </a:lvl1pPr>
          </a:lstStyle>
          <a:p>
            <a:endParaRPr lang="en-FI"/>
          </a:p>
        </p:txBody>
      </p:sp>
      <p:sp>
        <p:nvSpPr>
          <p:cNvPr id="30" name="Picture Placeholder 2">
            <a:extLst>
              <a:ext uri="{FF2B5EF4-FFF2-40B4-BE49-F238E27FC236}">
                <a16:creationId xmlns:a16="http://schemas.microsoft.com/office/drawing/2014/main" id="{820B2DE4-F68C-3742-A1A4-F3D51E3B9B39}"/>
              </a:ext>
            </a:extLst>
          </p:cNvPr>
          <p:cNvSpPr>
            <a:spLocks noGrp="1"/>
          </p:cNvSpPr>
          <p:nvPr>
            <p:ph type="pic" sz="quarter" idx="35"/>
          </p:nvPr>
        </p:nvSpPr>
        <p:spPr>
          <a:xfrm>
            <a:off x="6495955" y="3533269"/>
            <a:ext cx="692944" cy="692150"/>
          </a:xfrm>
          <a:solidFill>
            <a:srgbClr val="ECECEC"/>
          </a:solidFill>
        </p:spPr>
        <p:txBody>
          <a:bodyPr anchor="ctr">
            <a:normAutofit/>
          </a:bodyPr>
          <a:lstStyle>
            <a:lvl1pPr marL="0" indent="0" algn="ctr">
              <a:buNone/>
              <a:defRPr sz="700">
                <a:solidFill>
                  <a:schemeClr val="tx2"/>
                </a:solidFill>
                <a:latin typeface="Barlow" pitchFamily="2" charset="77"/>
              </a:defRPr>
            </a:lvl1pPr>
          </a:lstStyle>
          <a:p>
            <a:endParaRPr lang="en-FI"/>
          </a:p>
        </p:txBody>
      </p:sp>
      <p:sp>
        <p:nvSpPr>
          <p:cNvPr id="31" name="Picture Placeholder 2">
            <a:extLst>
              <a:ext uri="{FF2B5EF4-FFF2-40B4-BE49-F238E27FC236}">
                <a16:creationId xmlns:a16="http://schemas.microsoft.com/office/drawing/2014/main" id="{54FD07A9-10CA-C040-94D1-D39BBA395FDC}"/>
              </a:ext>
            </a:extLst>
          </p:cNvPr>
          <p:cNvSpPr>
            <a:spLocks noGrp="1"/>
          </p:cNvSpPr>
          <p:nvPr>
            <p:ph type="pic" sz="quarter" idx="36"/>
          </p:nvPr>
        </p:nvSpPr>
        <p:spPr>
          <a:xfrm>
            <a:off x="7587386" y="3533269"/>
            <a:ext cx="692944" cy="692150"/>
          </a:xfrm>
          <a:solidFill>
            <a:srgbClr val="ECECEC"/>
          </a:solidFill>
        </p:spPr>
        <p:txBody>
          <a:bodyPr anchor="ctr">
            <a:normAutofit/>
          </a:bodyPr>
          <a:lstStyle>
            <a:lvl1pPr marL="0" indent="0" algn="ctr">
              <a:buNone/>
              <a:defRPr sz="700">
                <a:solidFill>
                  <a:schemeClr val="tx2"/>
                </a:solidFill>
                <a:latin typeface="Barlow" pitchFamily="2" charset="77"/>
              </a:defRPr>
            </a:lvl1pPr>
          </a:lstStyle>
          <a:p>
            <a:endParaRPr lang="en-FI"/>
          </a:p>
        </p:txBody>
      </p:sp>
      <p:sp>
        <p:nvSpPr>
          <p:cNvPr id="32" name="Picture Placeholder 2">
            <a:extLst>
              <a:ext uri="{FF2B5EF4-FFF2-40B4-BE49-F238E27FC236}">
                <a16:creationId xmlns:a16="http://schemas.microsoft.com/office/drawing/2014/main" id="{D303D480-E3A4-0749-BCDC-D207000664EE}"/>
              </a:ext>
            </a:extLst>
          </p:cNvPr>
          <p:cNvSpPr>
            <a:spLocks noGrp="1"/>
          </p:cNvSpPr>
          <p:nvPr>
            <p:ph type="pic" sz="quarter" idx="37"/>
          </p:nvPr>
        </p:nvSpPr>
        <p:spPr>
          <a:xfrm>
            <a:off x="8678816" y="3533269"/>
            <a:ext cx="692944" cy="692150"/>
          </a:xfrm>
          <a:solidFill>
            <a:srgbClr val="ECECEC"/>
          </a:solidFill>
        </p:spPr>
        <p:txBody>
          <a:bodyPr anchor="ctr">
            <a:normAutofit/>
          </a:bodyPr>
          <a:lstStyle>
            <a:lvl1pPr marL="0" indent="0" algn="ctr">
              <a:buNone/>
              <a:defRPr sz="700">
                <a:solidFill>
                  <a:schemeClr val="tx2"/>
                </a:solidFill>
                <a:latin typeface="Barlow" pitchFamily="2" charset="77"/>
              </a:defRPr>
            </a:lvl1pPr>
          </a:lstStyle>
          <a:p>
            <a:endParaRPr lang="en-FI"/>
          </a:p>
        </p:txBody>
      </p:sp>
      <p:sp>
        <p:nvSpPr>
          <p:cNvPr id="33" name="Picture Placeholder 2">
            <a:extLst>
              <a:ext uri="{FF2B5EF4-FFF2-40B4-BE49-F238E27FC236}">
                <a16:creationId xmlns:a16="http://schemas.microsoft.com/office/drawing/2014/main" id="{6E4FE63C-ACA9-C84D-B806-2314D1F5568D}"/>
              </a:ext>
            </a:extLst>
          </p:cNvPr>
          <p:cNvSpPr>
            <a:spLocks noGrp="1"/>
          </p:cNvSpPr>
          <p:nvPr>
            <p:ph type="pic" sz="quarter" idx="38"/>
          </p:nvPr>
        </p:nvSpPr>
        <p:spPr>
          <a:xfrm>
            <a:off x="9770247" y="3533269"/>
            <a:ext cx="692944" cy="692150"/>
          </a:xfrm>
          <a:solidFill>
            <a:srgbClr val="ECECEC"/>
          </a:solidFill>
        </p:spPr>
        <p:txBody>
          <a:bodyPr anchor="ctr">
            <a:normAutofit/>
          </a:bodyPr>
          <a:lstStyle>
            <a:lvl1pPr marL="0" indent="0" algn="ctr">
              <a:buNone/>
              <a:defRPr sz="700">
                <a:solidFill>
                  <a:schemeClr val="tx2"/>
                </a:solidFill>
                <a:latin typeface="Barlow" pitchFamily="2" charset="77"/>
              </a:defRPr>
            </a:lvl1pPr>
          </a:lstStyle>
          <a:p>
            <a:endParaRPr lang="en-FI"/>
          </a:p>
        </p:txBody>
      </p:sp>
      <p:sp>
        <p:nvSpPr>
          <p:cNvPr id="34" name="Picture Placeholder 2">
            <a:extLst>
              <a:ext uri="{FF2B5EF4-FFF2-40B4-BE49-F238E27FC236}">
                <a16:creationId xmlns:a16="http://schemas.microsoft.com/office/drawing/2014/main" id="{377EF0EB-CAB6-8449-BCE5-0E8273BFE1E9}"/>
              </a:ext>
            </a:extLst>
          </p:cNvPr>
          <p:cNvSpPr>
            <a:spLocks noGrp="1"/>
          </p:cNvSpPr>
          <p:nvPr>
            <p:ph type="pic" sz="quarter" idx="39"/>
          </p:nvPr>
        </p:nvSpPr>
        <p:spPr>
          <a:xfrm>
            <a:off x="10861676" y="3533269"/>
            <a:ext cx="692944" cy="692150"/>
          </a:xfrm>
          <a:solidFill>
            <a:srgbClr val="ECECEC"/>
          </a:solidFill>
        </p:spPr>
        <p:txBody>
          <a:bodyPr anchor="ctr">
            <a:normAutofit/>
          </a:bodyPr>
          <a:lstStyle>
            <a:lvl1pPr marL="0" indent="0" algn="ctr">
              <a:buNone/>
              <a:defRPr sz="700">
                <a:solidFill>
                  <a:schemeClr val="tx2"/>
                </a:solidFill>
                <a:latin typeface="Barlow" pitchFamily="2" charset="77"/>
              </a:defRPr>
            </a:lvl1pPr>
          </a:lstStyle>
          <a:p>
            <a:endParaRPr lang="en-FI"/>
          </a:p>
        </p:txBody>
      </p:sp>
    </p:spTree>
    <p:extLst>
      <p:ext uri="{BB962C8B-B14F-4D97-AF65-F5344CB8AC3E}">
        <p14:creationId xmlns:p14="http://schemas.microsoft.com/office/powerpoint/2010/main" val="1662258026"/>
      </p:ext>
    </p:extLst>
  </p:cSld>
  <p:clrMapOvr>
    <a:masterClrMapping/>
  </p:clrMapOvr>
  <p:transition spd="med"/>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5_Blank">
    <p:spTree>
      <p:nvGrpSpPr>
        <p:cNvPr id="1" name=""/>
        <p:cNvGrpSpPr/>
        <p:nvPr/>
      </p:nvGrpSpPr>
      <p:grpSpPr>
        <a:xfrm>
          <a:off x="0" y="0"/>
          <a:ext cx="0" cy="0"/>
          <a:chOff x="0" y="0"/>
          <a:chExt cx="0" cy="0"/>
        </a:xfrm>
      </p:grpSpPr>
      <p:sp>
        <p:nvSpPr>
          <p:cNvPr id="11" name="Slide Number"/>
          <p:cNvSpPr txBox="1">
            <a:spLocks noGrp="1"/>
          </p:cNvSpPr>
          <p:nvPr>
            <p:ph type="sldNum" sz="quarter" idx="2"/>
          </p:nvPr>
        </p:nvSpPr>
        <p:spPr>
          <a:prstGeom prst="rect">
            <a:avLst/>
          </a:prstGeom>
        </p:spPr>
        <p:txBody>
          <a:bodyPr/>
          <a:lstStyle>
            <a:lvl1pPr>
              <a:defRPr>
                <a:latin typeface="OPPOSans R" panose="00020600040101010101" pitchFamily="18" charset="-122"/>
              </a:defRPr>
            </a:lvl1pPr>
          </a:lstStyle>
          <a:p>
            <a:fld id="{86CB4B4D-7CA3-9044-876B-883B54F8677D}" type="slidenum">
              <a:rPr lang="en-US" altLang="zh-CN" smtClean="0"/>
              <a:pPr/>
              <a:t>‹#›</a:t>
            </a:fld>
            <a:endParaRPr lang="en-US" altLang="zh-CN"/>
          </a:p>
        </p:txBody>
      </p:sp>
      <p:sp>
        <p:nvSpPr>
          <p:cNvPr id="3" name="Picture Placeholder 2">
            <a:extLst>
              <a:ext uri="{FF2B5EF4-FFF2-40B4-BE49-F238E27FC236}">
                <a16:creationId xmlns:a16="http://schemas.microsoft.com/office/drawing/2014/main" id="{4F8BD93B-8079-2F44-8C72-861A4EB58975}"/>
              </a:ext>
            </a:extLst>
          </p:cNvPr>
          <p:cNvSpPr>
            <a:spLocks noGrp="1"/>
          </p:cNvSpPr>
          <p:nvPr>
            <p:ph type="pic" sz="quarter" idx="10"/>
          </p:nvPr>
        </p:nvSpPr>
        <p:spPr>
          <a:xfrm>
            <a:off x="1038803" y="1538216"/>
            <a:ext cx="692944" cy="692150"/>
          </a:xfrm>
          <a:solidFill>
            <a:srgbClr val="ECECEC"/>
          </a:solidFill>
        </p:spPr>
        <p:txBody>
          <a:bodyPr anchor="ctr">
            <a:normAutofit/>
          </a:bodyPr>
          <a:lstStyle>
            <a:lvl1pPr marL="0" indent="0" algn="ctr">
              <a:buNone/>
              <a:defRPr sz="700">
                <a:solidFill>
                  <a:schemeClr val="tx2"/>
                </a:solidFill>
                <a:latin typeface="Barlow" pitchFamily="2" charset="77"/>
              </a:defRPr>
            </a:lvl1pPr>
          </a:lstStyle>
          <a:p>
            <a:endParaRPr lang="en-FI"/>
          </a:p>
        </p:txBody>
      </p:sp>
      <p:sp>
        <p:nvSpPr>
          <p:cNvPr id="5" name="Picture Placeholder 2">
            <a:extLst>
              <a:ext uri="{FF2B5EF4-FFF2-40B4-BE49-F238E27FC236}">
                <a16:creationId xmlns:a16="http://schemas.microsoft.com/office/drawing/2014/main" id="{B1DF3BC4-5BD3-7C48-8D93-C5CE16F92F79}"/>
              </a:ext>
            </a:extLst>
          </p:cNvPr>
          <p:cNvSpPr>
            <a:spLocks noGrp="1"/>
          </p:cNvSpPr>
          <p:nvPr>
            <p:ph type="pic" sz="quarter" idx="11"/>
          </p:nvPr>
        </p:nvSpPr>
        <p:spPr>
          <a:xfrm>
            <a:off x="2130233" y="1538216"/>
            <a:ext cx="692944" cy="692150"/>
          </a:xfrm>
          <a:solidFill>
            <a:srgbClr val="ECECEC"/>
          </a:solidFill>
        </p:spPr>
        <p:txBody>
          <a:bodyPr anchor="ctr">
            <a:normAutofit/>
          </a:bodyPr>
          <a:lstStyle>
            <a:lvl1pPr marL="0" indent="0" algn="ctr">
              <a:buNone/>
              <a:defRPr sz="700">
                <a:solidFill>
                  <a:schemeClr val="tx2"/>
                </a:solidFill>
                <a:latin typeface="Barlow" pitchFamily="2" charset="77"/>
              </a:defRPr>
            </a:lvl1pPr>
          </a:lstStyle>
          <a:p>
            <a:endParaRPr lang="en-FI"/>
          </a:p>
        </p:txBody>
      </p:sp>
      <p:sp>
        <p:nvSpPr>
          <p:cNvPr id="6" name="Picture Placeholder 2">
            <a:extLst>
              <a:ext uri="{FF2B5EF4-FFF2-40B4-BE49-F238E27FC236}">
                <a16:creationId xmlns:a16="http://schemas.microsoft.com/office/drawing/2014/main" id="{F102159C-D9F0-5041-8714-07CEC43B0DBC}"/>
              </a:ext>
            </a:extLst>
          </p:cNvPr>
          <p:cNvSpPr>
            <a:spLocks noGrp="1"/>
          </p:cNvSpPr>
          <p:nvPr>
            <p:ph type="pic" sz="quarter" idx="12"/>
          </p:nvPr>
        </p:nvSpPr>
        <p:spPr>
          <a:xfrm>
            <a:off x="3221664" y="1538216"/>
            <a:ext cx="692944" cy="692150"/>
          </a:xfrm>
          <a:solidFill>
            <a:srgbClr val="ECECEC"/>
          </a:solidFill>
        </p:spPr>
        <p:txBody>
          <a:bodyPr anchor="ctr">
            <a:normAutofit/>
          </a:bodyPr>
          <a:lstStyle>
            <a:lvl1pPr marL="0" indent="0" algn="ctr">
              <a:buNone/>
              <a:defRPr sz="700">
                <a:solidFill>
                  <a:schemeClr val="tx2"/>
                </a:solidFill>
                <a:latin typeface="Barlow" pitchFamily="2" charset="77"/>
              </a:defRPr>
            </a:lvl1pPr>
          </a:lstStyle>
          <a:p>
            <a:endParaRPr lang="en-FI"/>
          </a:p>
        </p:txBody>
      </p:sp>
      <p:sp>
        <p:nvSpPr>
          <p:cNvPr id="7" name="Picture Placeholder 2">
            <a:extLst>
              <a:ext uri="{FF2B5EF4-FFF2-40B4-BE49-F238E27FC236}">
                <a16:creationId xmlns:a16="http://schemas.microsoft.com/office/drawing/2014/main" id="{6EA155DB-3A89-C64A-9A42-C9ADB3B2942A}"/>
              </a:ext>
            </a:extLst>
          </p:cNvPr>
          <p:cNvSpPr>
            <a:spLocks noGrp="1"/>
          </p:cNvSpPr>
          <p:nvPr>
            <p:ph type="pic" sz="quarter" idx="13"/>
          </p:nvPr>
        </p:nvSpPr>
        <p:spPr>
          <a:xfrm>
            <a:off x="4313094" y="1538216"/>
            <a:ext cx="692944" cy="692150"/>
          </a:xfrm>
          <a:solidFill>
            <a:srgbClr val="ECECEC"/>
          </a:solidFill>
        </p:spPr>
        <p:txBody>
          <a:bodyPr anchor="ctr">
            <a:normAutofit/>
          </a:bodyPr>
          <a:lstStyle>
            <a:lvl1pPr marL="0" indent="0" algn="ctr">
              <a:buNone/>
              <a:defRPr sz="700">
                <a:solidFill>
                  <a:schemeClr val="tx2"/>
                </a:solidFill>
                <a:latin typeface="Barlow" pitchFamily="2" charset="77"/>
              </a:defRPr>
            </a:lvl1pPr>
          </a:lstStyle>
          <a:p>
            <a:endParaRPr lang="en-FI"/>
          </a:p>
        </p:txBody>
      </p:sp>
      <p:sp>
        <p:nvSpPr>
          <p:cNvPr id="8" name="Picture Placeholder 2">
            <a:extLst>
              <a:ext uri="{FF2B5EF4-FFF2-40B4-BE49-F238E27FC236}">
                <a16:creationId xmlns:a16="http://schemas.microsoft.com/office/drawing/2014/main" id="{E379B7C7-C43C-B74F-80E1-FA4D5DF631D9}"/>
              </a:ext>
            </a:extLst>
          </p:cNvPr>
          <p:cNvSpPr>
            <a:spLocks noGrp="1"/>
          </p:cNvSpPr>
          <p:nvPr>
            <p:ph type="pic" sz="quarter" idx="14"/>
          </p:nvPr>
        </p:nvSpPr>
        <p:spPr>
          <a:xfrm>
            <a:off x="5404525" y="1538216"/>
            <a:ext cx="692944" cy="692150"/>
          </a:xfrm>
          <a:solidFill>
            <a:srgbClr val="ECECEC"/>
          </a:solidFill>
        </p:spPr>
        <p:txBody>
          <a:bodyPr anchor="ctr">
            <a:normAutofit/>
          </a:bodyPr>
          <a:lstStyle>
            <a:lvl1pPr marL="0" indent="0" algn="ctr">
              <a:buNone/>
              <a:defRPr sz="700">
                <a:solidFill>
                  <a:schemeClr val="tx2"/>
                </a:solidFill>
                <a:latin typeface="Barlow" pitchFamily="2" charset="77"/>
              </a:defRPr>
            </a:lvl1pPr>
          </a:lstStyle>
          <a:p>
            <a:endParaRPr lang="en-FI"/>
          </a:p>
        </p:txBody>
      </p:sp>
      <p:sp>
        <p:nvSpPr>
          <p:cNvPr id="9" name="Picture Placeholder 2">
            <a:extLst>
              <a:ext uri="{FF2B5EF4-FFF2-40B4-BE49-F238E27FC236}">
                <a16:creationId xmlns:a16="http://schemas.microsoft.com/office/drawing/2014/main" id="{E89031F5-4FEE-FD4B-A3E8-71C79F2AE94E}"/>
              </a:ext>
            </a:extLst>
          </p:cNvPr>
          <p:cNvSpPr>
            <a:spLocks noGrp="1"/>
          </p:cNvSpPr>
          <p:nvPr>
            <p:ph type="pic" sz="quarter" idx="15"/>
          </p:nvPr>
        </p:nvSpPr>
        <p:spPr>
          <a:xfrm>
            <a:off x="6495955" y="1538216"/>
            <a:ext cx="692944" cy="692150"/>
          </a:xfrm>
          <a:solidFill>
            <a:srgbClr val="ECECEC"/>
          </a:solidFill>
        </p:spPr>
        <p:txBody>
          <a:bodyPr anchor="ctr">
            <a:normAutofit/>
          </a:bodyPr>
          <a:lstStyle>
            <a:lvl1pPr marL="0" indent="0" algn="ctr">
              <a:buNone/>
              <a:defRPr sz="700">
                <a:solidFill>
                  <a:schemeClr val="tx2"/>
                </a:solidFill>
                <a:latin typeface="Barlow" pitchFamily="2" charset="77"/>
              </a:defRPr>
            </a:lvl1pPr>
          </a:lstStyle>
          <a:p>
            <a:endParaRPr lang="en-FI"/>
          </a:p>
        </p:txBody>
      </p:sp>
      <p:sp>
        <p:nvSpPr>
          <p:cNvPr id="10" name="Picture Placeholder 2">
            <a:extLst>
              <a:ext uri="{FF2B5EF4-FFF2-40B4-BE49-F238E27FC236}">
                <a16:creationId xmlns:a16="http://schemas.microsoft.com/office/drawing/2014/main" id="{D23B3A17-978C-7846-8E21-C3AB145AE24B}"/>
              </a:ext>
            </a:extLst>
          </p:cNvPr>
          <p:cNvSpPr>
            <a:spLocks noGrp="1"/>
          </p:cNvSpPr>
          <p:nvPr>
            <p:ph type="pic" sz="quarter" idx="16"/>
          </p:nvPr>
        </p:nvSpPr>
        <p:spPr>
          <a:xfrm>
            <a:off x="7587386" y="1538216"/>
            <a:ext cx="692944" cy="692150"/>
          </a:xfrm>
          <a:solidFill>
            <a:srgbClr val="ECECEC"/>
          </a:solidFill>
        </p:spPr>
        <p:txBody>
          <a:bodyPr anchor="ctr">
            <a:normAutofit/>
          </a:bodyPr>
          <a:lstStyle>
            <a:lvl1pPr marL="0" indent="0" algn="ctr">
              <a:buNone/>
              <a:defRPr sz="700">
                <a:solidFill>
                  <a:schemeClr val="tx2"/>
                </a:solidFill>
                <a:latin typeface="Barlow" pitchFamily="2" charset="77"/>
              </a:defRPr>
            </a:lvl1pPr>
          </a:lstStyle>
          <a:p>
            <a:endParaRPr lang="en-FI"/>
          </a:p>
        </p:txBody>
      </p:sp>
      <p:sp>
        <p:nvSpPr>
          <p:cNvPr id="12" name="Picture Placeholder 2">
            <a:extLst>
              <a:ext uri="{FF2B5EF4-FFF2-40B4-BE49-F238E27FC236}">
                <a16:creationId xmlns:a16="http://schemas.microsoft.com/office/drawing/2014/main" id="{7E8D7DF0-A277-9D49-AA86-6E00770DF78F}"/>
              </a:ext>
            </a:extLst>
          </p:cNvPr>
          <p:cNvSpPr>
            <a:spLocks noGrp="1"/>
          </p:cNvSpPr>
          <p:nvPr>
            <p:ph type="pic" sz="quarter" idx="17"/>
          </p:nvPr>
        </p:nvSpPr>
        <p:spPr>
          <a:xfrm>
            <a:off x="8678816" y="1538216"/>
            <a:ext cx="692944" cy="692150"/>
          </a:xfrm>
          <a:solidFill>
            <a:srgbClr val="ECECEC"/>
          </a:solidFill>
        </p:spPr>
        <p:txBody>
          <a:bodyPr anchor="ctr">
            <a:normAutofit/>
          </a:bodyPr>
          <a:lstStyle>
            <a:lvl1pPr marL="0" indent="0" algn="ctr">
              <a:buNone/>
              <a:defRPr sz="700">
                <a:solidFill>
                  <a:schemeClr val="tx2"/>
                </a:solidFill>
                <a:latin typeface="Barlow" pitchFamily="2" charset="77"/>
              </a:defRPr>
            </a:lvl1pPr>
          </a:lstStyle>
          <a:p>
            <a:endParaRPr lang="en-FI"/>
          </a:p>
        </p:txBody>
      </p:sp>
      <p:sp>
        <p:nvSpPr>
          <p:cNvPr id="13" name="Picture Placeholder 2">
            <a:extLst>
              <a:ext uri="{FF2B5EF4-FFF2-40B4-BE49-F238E27FC236}">
                <a16:creationId xmlns:a16="http://schemas.microsoft.com/office/drawing/2014/main" id="{B014FAAE-7B3D-1243-9C9A-374862A76277}"/>
              </a:ext>
            </a:extLst>
          </p:cNvPr>
          <p:cNvSpPr>
            <a:spLocks noGrp="1"/>
          </p:cNvSpPr>
          <p:nvPr>
            <p:ph type="pic" sz="quarter" idx="18"/>
          </p:nvPr>
        </p:nvSpPr>
        <p:spPr>
          <a:xfrm>
            <a:off x="9770247" y="1538216"/>
            <a:ext cx="692944" cy="692150"/>
          </a:xfrm>
          <a:solidFill>
            <a:srgbClr val="ECECEC"/>
          </a:solidFill>
        </p:spPr>
        <p:txBody>
          <a:bodyPr anchor="ctr">
            <a:normAutofit/>
          </a:bodyPr>
          <a:lstStyle>
            <a:lvl1pPr marL="0" indent="0" algn="ctr">
              <a:buNone/>
              <a:defRPr sz="700">
                <a:solidFill>
                  <a:schemeClr val="tx2"/>
                </a:solidFill>
                <a:latin typeface="Barlow" pitchFamily="2" charset="77"/>
              </a:defRPr>
            </a:lvl1pPr>
          </a:lstStyle>
          <a:p>
            <a:endParaRPr lang="en-FI"/>
          </a:p>
        </p:txBody>
      </p:sp>
      <p:sp>
        <p:nvSpPr>
          <p:cNvPr id="14" name="Picture Placeholder 2">
            <a:extLst>
              <a:ext uri="{FF2B5EF4-FFF2-40B4-BE49-F238E27FC236}">
                <a16:creationId xmlns:a16="http://schemas.microsoft.com/office/drawing/2014/main" id="{6D52479F-440B-3741-AC4E-3222AD177211}"/>
              </a:ext>
            </a:extLst>
          </p:cNvPr>
          <p:cNvSpPr>
            <a:spLocks noGrp="1"/>
          </p:cNvSpPr>
          <p:nvPr>
            <p:ph type="pic" sz="quarter" idx="19"/>
          </p:nvPr>
        </p:nvSpPr>
        <p:spPr>
          <a:xfrm>
            <a:off x="10861676" y="1538216"/>
            <a:ext cx="692944" cy="692150"/>
          </a:xfrm>
          <a:solidFill>
            <a:srgbClr val="ECECEC"/>
          </a:solidFill>
        </p:spPr>
        <p:txBody>
          <a:bodyPr anchor="ctr">
            <a:normAutofit/>
          </a:bodyPr>
          <a:lstStyle>
            <a:lvl1pPr marL="0" indent="0" algn="ctr">
              <a:buNone/>
              <a:defRPr sz="700">
                <a:solidFill>
                  <a:schemeClr val="tx2"/>
                </a:solidFill>
                <a:latin typeface="Barlow" pitchFamily="2" charset="77"/>
              </a:defRPr>
            </a:lvl1pPr>
          </a:lstStyle>
          <a:p>
            <a:endParaRPr lang="en-FI"/>
          </a:p>
        </p:txBody>
      </p:sp>
      <p:sp>
        <p:nvSpPr>
          <p:cNvPr id="15" name="Picture Placeholder 2">
            <a:extLst>
              <a:ext uri="{FF2B5EF4-FFF2-40B4-BE49-F238E27FC236}">
                <a16:creationId xmlns:a16="http://schemas.microsoft.com/office/drawing/2014/main" id="{3CC4451C-AEBE-584F-8EE0-184C5488A27E}"/>
              </a:ext>
            </a:extLst>
          </p:cNvPr>
          <p:cNvSpPr>
            <a:spLocks noGrp="1"/>
          </p:cNvSpPr>
          <p:nvPr>
            <p:ph type="pic" sz="quarter" idx="20"/>
          </p:nvPr>
        </p:nvSpPr>
        <p:spPr>
          <a:xfrm>
            <a:off x="1038803" y="2535743"/>
            <a:ext cx="692944" cy="692150"/>
          </a:xfrm>
          <a:solidFill>
            <a:srgbClr val="ECECEC"/>
          </a:solidFill>
        </p:spPr>
        <p:txBody>
          <a:bodyPr anchor="ctr">
            <a:normAutofit/>
          </a:bodyPr>
          <a:lstStyle>
            <a:lvl1pPr marL="0" indent="0" algn="ctr">
              <a:buNone/>
              <a:defRPr sz="700">
                <a:solidFill>
                  <a:schemeClr val="tx2"/>
                </a:solidFill>
                <a:latin typeface="Barlow" pitchFamily="2" charset="77"/>
              </a:defRPr>
            </a:lvl1pPr>
          </a:lstStyle>
          <a:p>
            <a:endParaRPr lang="en-FI"/>
          </a:p>
        </p:txBody>
      </p:sp>
      <p:sp>
        <p:nvSpPr>
          <p:cNvPr id="16" name="Picture Placeholder 2">
            <a:extLst>
              <a:ext uri="{FF2B5EF4-FFF2-40B4-BE49-F238E27FC236}">
                <a16:creationId xmlns:a16="http://schemas.microsoft.com/office/drawing/2014/main" id="{D1B8F02C-FA1B-944C-8E50-52211C8D94B2}"/>
              </a:ext>
            </a:extLst>
          </p:cNvPr>
          <p:cNvSpPr>
            <a:spLocks noGrp="1"/>
          </p:cNvSpPr>
          <p:nvPr>
            <p:ph type="pic" sz="quarter" idx="21"/>
          </p:nvPr>
        </p:nvSpPr>
        <p:spPr>
          <a:xfrm>
            <a:off x="2130233" y="2535743"/>
            <a:ext cx="692944" cy="692150"/>
          </a:xfrm>
          <a:solidFill>
            <a:srgbClr val="ECECEC"/>
          </a:solidFill>
        </p:spPr>
        <p:txBody>
          <a:bodyPr anchor="ctr">
            <a:normAutofit/>
          </a:bodyPr>
          <a:lstStyle>
            <a:lvl1pPr marL="0" indent="0" algn="ctr">
              <a:buNone/>
              <a:defRPr sz="700">
                <a:solidFill>
                  <a:schemeClr val="tx2"/>
                </a:solidFill>
                <a:latin typeface="Barlow" pitchFamily="2" charset="77"/>
              </a:defRPr>
            </a:lvl1pPr>
          </a:lstStyle>
          <a:p>
            <a:endParaRPr lang="en-FI"/>
          </a:p>
        </p:txBody>
      </p:sp>
      <p:sp>
        <p:nvSpPr>
          <p:cNvPr id="17" name="Picture Placeholder 2">
            <a:extLst>
              <a:ext uri="{FF2B5EF4-FFF2-40B4-BE49-F238E27FC236}">
                <a16:creationId xmlns:a16="http://schemas.microsoft.com/office/drawing/2014/main" id="{51A6A264-4F9B-BD40-907B-F457C79C9D25}"/>
              </a:ext>
            </a:extLst>
          </p:cNvPr>
          <p:cNvSpPr>
            <a:spLocks noGrp="1"/>
          </p:cNvSpPr>
          <p:nvPr>
            <p:ph type="pic" sz="quarter" idx="22"/>
          </p:nvPr>
        </p:nvSpPr>
        <p:spPr>
          <a:xfrm>
            <a:off x="3221664" y="2535743"/>
            <a:ext cx="692944" cy="692150"/>
          </a:xfrm>
          <a:solidFill>
            <a:srgbClr val="ECECEC"/>
          </a:solidFill>
        </p:spPr>
        <p:txBody>
          <a:bodyPr anchor="ctr">
            <a:normAutofit/>
          </a:bodyPr>
          <a:lstStyle>
            <a:lvl1pPr marL="0" indent="0" algn="ctr">
              <a:buNone/>
              <a:defRPr sz="700">
                <a:solidFill>
                  <a:schemeClr val="tx2"/>
                </a:solidFill>
                <a:latin typeface="Barlow" pitchFamily="2" charset="77"/>
              </a:defRPr>
            </a:lvl1pPr>
          </a:lstStyle>
          <a:p>
            <a:endParaRPr lang="en-FI"/>
          </a:p>
        </p:txBody>
      </p:sp>
      <p:sp>
        <p:nvSpPr>
          <p:cNvPr id="18" name="Picture Placeholder 2">
            <a:extLst>
              <a:ext uri="{FF2B5EF4-FFF2-40B4-BE49-F238E27FC236}">
                <a16:creationId xmlns:a16="http://schemas.microsoft.com/office/drawing/2014/main" id="{09520C77-297B-D444-A69A-6D169F975D8D}"/>
              </a:ext>
            </a:extLst>
          </p:cNvPr>
          <p:cNvSpPr>
            <a:spLocks noGrp="1"/>
          </p:cNvSpPr>
          <p:nvPr>
            <p:ph type="pic" sz="quarter" idx="23"/>
          </p:nvPr>
        </p:nvSpPr>
        <p:spPr>
          <a:xfrm>
            <a:off x="4313094" y="2535743"/>
            <a:ext cx="692944" cy="692150"/>
          </a:xfrm>
          <a:solidFill>
            <a:srgbClr val="ECECEC"/>
          </a:solidFill>
        </p:spPr>
        <p:txBody>
          <a:bodyPr anchor="ctr">
            <a:normAutofit/>
          </a:bodyPr>
          <a:lstStyle>
            <a:lvl1pPr marL="0" indent="0" algn="ctr">
              <a:buNone/>
              <a:defRPr sz="700">
                <a:solidFill>
                  <a:schemeClr val="tx2"/>
                </a:solidFill>
                <a:latin typeface="Barlow" pitchFamily="2" charset="77"/>
              </a:defRPr>
            </a:lvl1pPr>
          </a:lstStyle>
          <a:p>
            <a:endParaRPr lang="en-FI"/>
          </a:p>
        </p:txBody>
      </p:sp>
      <p:sp>
        <p:nvSpPr>
          <p:cNvPr id="19" name="Picture Placeholder 2">
            <a:extLst>
              <a:ext uri="{FF2B5EF4-FFF2-40B4-BE49-F238E27FC236}">
                <a16:creationId xmlns:a16="http://schemas.microsoft.com/office/drawing/2014/main" id="{4F68D8D0-E5A8-3E4B-82EC-828483B3F524}"/>
              </a:ext>
            </a:extLst>
          </p:cNvPr>
          <p:cNvSpPr>
            <a:spLocks noGrp="1"/>
          </p:cNvSpPr>
          <p:nvPr>
            <p:ph type="pic" sz="quarter" idx="24"/>
          </p:nvPr>
        </p:nvSpPr>
        <p:spPr>
          <a:xfrm>
            <a:off x="5404525" y="2535743"/>
            <a:ext cx="692944" cy="692150"/>
          </a:xfrm>
          <a:solidFill>
            <a:srgbClr val="ECECEC"/>
          </a:solidFill>
        </p:spPr>
        <p:txBody>
          <a:bodyPr anchor="ctr">
            <a:normAutofit/>
          </a:bodyPr>
          <a:lstStyle>
            <a:lvl1pPr marL="0" indent="0" algn="ctr">
              <a:buNone/>
              <a:defRPr sz="700">
                <a:solidFill>
                  <a:schemeClr val="tx2"/>
                </a:solidFill>
                <a:latin typeface="Barlow" pitchFamily="2" charset="77"/>
              </a:defRPr>
            </a:lvl1pPr>
          </a:lstStyle>
          <a:p>
            <a:endParaRPr lang="en-FI"/>
          </a:p>
        </p:txBody>
      </p:sp>
      <p:sp>
        <p:nvSpPr>
          <p:cNvPr id="20" name="Picture Placeholder 2">
            <a:extLst>
              <a:ext uri="{FF2B5EF4-FFF2-40B4-BE49-F238E27FC236}">
                <a16:creationId xmlns:a16="http://schemas.microsoft.com/office/drawing/2014/main" id="{DCCA461E-704A-AB42-854E-611956698124}"/>
              </a:ext>
            </a:extLst>
          </p:cNvPr>
          <p:cNvSpPr>
            <a:spLocks noGrp="1"/>
          </p:cNvSpPr>
          <p:nvPr>
            <p:ph type="pic" sz="quarter" idx="25"/>
          </p:nvPr>
        </p:nvSpPr>
        <p:spPr>
          <a:xfrm>
            <a:off x="6495955" y="2535743"/>
            <a:ext cx="692944" cy="692150"/>
          </a:xfrm>
          <a:solidFill>
            <a:srgbClr val="ECECEC"/>
          </a:solidFill>
        </p:spPr>
        <p:txBody>
          <a:bodyPr anchor="ctr">
            <a:normAutofit/>
          </a:bodyPr>
          <a:lstStyle>
            <a:lvl1pPr marL="0" indent="0" algn="ctr">
              <a:buNone/>
              <a:defRPr sz="700">
                <a:solidFill>
                  <a:schemeClr val="tx2"/>
                </a:solidFill>
                <a:latin typeface="Barlow" pitchFamily="2" charset="77"/>
              </a:defRPr>
            </a:lvl1pPr>
          </a:lstStyle>
          <a:p>
            <a:endParaRPr lang="en-FI"/>
          </a:p>
        </p:txBody>
      </p:sp>
      <p:sp>
        <p:nvSpPr>
          <p:cNvPr id="21" name="Picture Placeholder 2">
            <a:extLst>
              <a:ext uri="{FF2B5EF4-FFF2-40B4-BE49-F238E27FC236}">
                <a16:creationId xmlns:a16="http://schemas.microsoft.com/office/drawing/2014/main" id="{AA94B49F-9685-6E4D-9E8C-FC6EA94E36CF}"/>
              </a:ext>
            </a:extLst>
          </p:cNvPr>
          <p:cNvSpPr>
            <a:spLocks noGrp="1"/>
          </p:cNvSpPr>
          <p:nvPr>
            <p:ph type="pic" sz="quarter" idx="26"/>
          </p:nvPr>
        </p:nvSpPr>
        <p:spPr>
          <a:xfrm>
            <a:off x="7587386" y="2535743"/>
            <a:ext cx="692944" cy="692150"/>
          </a:xfrm>
          <a:solidFill>
            <a:srgbClr val="ECECEC"/>
          </a:solidFill>
        </p:spPr>
        <p:txBody>
          <a:bodyPr anchor="ctr">
            <a:normAutofit/>
          </a:bodyPr>
          <a:lstStyle>
            <a:lvl1pPr marL="0" indent="0" algn="ctr">
              <a:buNone/>
              <a:defRPr sz="700">
                <a:solidFill>
                  <a:schemeClr val="tx2"/>
                </a:solidFill>
                <a:latin typeface="Barlow" pitchFamily="2" charset="77"/>
              </a:defRPr>
            </a:lvl1pPr>
          </a:lstStyle>
          <a:p>
            <a:endParaRPr lang="en-FI"/>
          </a:p>
        </p:txBody>
      </p:sp>
      <p:sp>
        <p:nvSpPr>
          <p:cNvPr id="22" name="Picture Placeholder 2">
            <a:extLst>
              <a:ext uri="{FF2B5EF4-FFF2-40B4-BE49-F238E27FC236}">
                <a16:creationId xmlns:a16="http://schemas.microsoft.com/office/drawing/2014/main" id="{D7E86C7A-5517-C24F-9954-A302C9A2226F}"/>
              </a:ext>
            </a:extLst>
          </p:cNvPr>
          <p:cNvSpPr>
            <a:spLocks noGrp="1"/>
          </p:cNvSpPr>
          <p:nvPr>
            <p:ph type="pic" sz="quarter" idx="27"/>
          </p:nvPr>
        </p:nvSpPr>
        <p:spPr>
          <a:xfrm>
            <a:off x="8678816" y="2535743"/>
            <a:ext cx="692944" cy="692150"/>
          </a:xfrm>
          <a:solidFill>
            <a:srgbClr val="ECECEC"/>
          </a:solidFill>
        </p:spPr>
        <p:txBody>
          <a:bodyPr anchor="ctr">
            <a:normAutofit/>
          </a:bodyPr>
          <a:lstStyle>
            <a:lvl1pPr marL="0" indent="0" algn="ctr">
              <a:buNone/>
              <a:defRPr sz="700">
                <a:solidFill>
                  <a:schemeClr val="tx2"/>
                </a:solidFill>
                <a:latin typeface="Barlow" pitchFamily="2" charset="77"/>
              </a:defRPr>
            </a:lvl1pPr>
          </a:lstStyle>
          <a:p>
            <a:endParaRPr lang="en-FI"/>
          </a:p>
        </p:txBody>
      </p:sp>
      <p:sp>
        <p:nvSpPr>
          <p:cNvPr id="23" name="Picture Placeholder 2">
            <a:extLst>
              <a:ext uri="{FF2B5EF4-FFF2-40B4-BE49-F238E27FC236}">
                <a16:creationId xmlns:a16="http://schemas.microsoft.com/office/drawing/2014/main" id="{AABF648A-DE94-1B4D-B714-1DEF5CD7A6CF}"/>
              </a:ext>
            </a:extLst>
          </p:cNvPr>
          <p:cNvSpPr>
            <a:spLocks noGrp="1"/>
          </p:cNvSpPr>
          <p:nvPr>
            <p:ph type="pic" sz="quarter" idx="28"/>
          </p:nvPr>
        </p:nvSpPr>
        <p:spPr>
          <a:xfrm>
            <a:off x="9770247" y="2535743"/>
            <a:ext cx="692944" cy="692150"/>
          </a:xfrm>
          <a:solidFill>
            <a:srgbClr val="ECECEC"/>
          </a:solidFill>
        </p:spPr>
        <p:txBody>
          <a:bodyPr anchor="ctr">
            <a:normAutofit/>
          </a:bodyPr>
          <a:lstStyle>
            <a:lvl1pPr marL="0" indent="0" algn="ctr">
              <a:buNone/>
              <a:defRPr sz="700">
                <a:solidFill>
                  <a:schemeClr val="tx2"/>
                </a:solidFill>
                <a:latin typeface="Barlow" pitchFamily="2" charset="77"/>
              </a:defRPr>
            </a:lvl1pPr>
          </a:lstStyle>
          <a:p>
            <a:endParaRPr lang="en-FI"/>
          </a:p>
        </p:txBody>
      </p:sp>
      <p:sp>
        <p:nvSpPr>
          <p:cNvPr id="24" name="Picture Placeholder 2">
            <a:extLst>
              <a:ext uri="{FF2B5EF4-FFF2-40B4-BE49-F238E27FC236}">
                <a16:creationId xmlns:a16="http://schemas.microsoft.com/office/drawing/2014/main" id="{40F46BBC-CE3D-FD4A-9DD0-E973482F39B5}"/>
              </a:ext>
            </a:extLst>
          </p:cNvPr>
          <p:cNvSpPr>
            <a:spLocks noGrp="1"/>
          </p:cNvSpPr>
          <p:nvPr>
            <p:ph type="pic" sz="quarter" idx="29"/>
          </p:nvPr>
        </p:nvSpPr>
        <p:spPr>
          <a:xfrm>
            <a:off x="10861676" y="2535743"/>
            <a:ext cx="692944" cy="692150"/>
          </a:xfrm>
          <a:solidFill>
            <a:srgbClr val="ECECEC"/>
          </a:solidFill>
        </p:spPr>
        <p:txBody>
          <a:bodyPr anchor="ctr">
            <a:normAutofit/>
          </a:bodyPr>
          <a:lstStyle>
            <a:lvl1pPr marL="0" indent="0" algn="ctr">
              <a:buNone/>
              <a:defRPr sz="700">
                <a:solidFill>
                  <a:schemeClr val="tx2"/>
                </a:solidFill>
                <a:latin typeface="Barlow" pitchFamily="2" charset="77"/>
              </a:defRPr>
            </a:lvl1pPr>
          </a:lstStyle>
          <a:p>
            <a:endParaRPr lang="en-FI"/>
          </a:p>
        </p:txBody>
      </p:sp>
      <p:sp>
        <p:nvSpPr>
          <p:cNvPr id="25" name="Picture Placeholder 2">
            <a:extLst>
              <a:ext uri="{FF2B5EF4-FFF2-40B4-BE49-F238E27FC236}">
                <a16:creationId xmlns:a16="http://schemas.microsoft.com/office/drawing/2014/main" id="{6B9FD7BD-14BD-C647-9E2A-8B5A542B4618}"/>
              </a:ext>
            </a:extLst>
          </p:cNvPr>
          <p:cNvSpPr>
            <a:spLocks noGrp="1"/>
          </p:cNvSpPr>
          <p:nvPr>
            <p:ph type="pic" sz="quarter" idx="30"/>
          </p:nvPr>
        </p:nvSpPr>
        <p:spPr>
          <a:xfrm>
            <a:off x="1038803" y="3533269"/>
            <a:ext cx="692944" cy="692150"/>
          </a:xfrm>
          <a:solidFill>
            <a:srgbClr val="ECECEC"/>
          </a:solidFill>
        </p:spPr>
        <p:txBody>
          <a:bodyPr anchor="ctr">
            <a:normAutofit/>
          </a:bodyPr>
          <a:lstStyle>
            <a:lvl1pPr marL="0" indent="0" algn="ctr">
              <a:buNone/>
              <a:defRPr sz="700">
                <a:solidFill>
                  <a:schemeClr val="tx2"/>
                </a:solidFill>
                <a:latin typeface="Barlow" pitchFamily="2" charset="77"/>
              </a:defRPr>
            </a:lvl1pPr>
          </a:lstStyle>
          <a:p>
            <a:endParaRPr lang="en-FI"/>
          </a:p>
        </p:txBody>
      </p:sp>
      <p:sp>
        <p:nvSpPr>
          <p:cNvPr id="26" name="Picture Placeholder 2">
            <a:extLst>
              <a:ext uri="{FF2B5EF4-FFF2-40B4-BE49-F238E27FC236}">
                <a16:creationId xmlns:a16="http://schemas.microsoft.com/office/drawing/2014/main" id="{5FE89C44-FA74-7F43-A016-EA8D7BC3F619}"/>
              </a:ext>
            </a:extLst>
          </p:cNvPr>
          <p:cNvSpPr>
            <a:spLocks noGrp="1"/>
          </p:cNvSpPr>
          <p:nvPr>
            <p:ph type="pic" sz="quarter" idx="31"/>
          </p:nvPr>
        </p:nvSpPr>
        <p:spPr>
          <a:xfrm>
            <a:off x="2130233" y="3533269"/>
            <a:ext cx="692944" cy="692150"/>
          </a:xfrm>
          <a:solidFill>
            <a:srgbClr val="ECECEC"/>
          </a:solidFill>
        </p:spPr>
        <p:txBody>
          <a:bodyPr anchor="ctr">
            <a:normAutofit/>
          </a:bodyPr>
          <a:lstStyle>
            <a:lvl1pPr marL="0" indent="0" algn="ctr">
              <a:buNone/>
              <a:defRPr sz="700">
                <a:solidFill>
                  <a:schemeClr val="tx2"/>
                </a:solidFill>
                <a:latin typeface="Barlow" pitchFamily="2" charset="77"/>
              </a:defRPr>
            </a:lvl1pPr>
          </a:lstStyle>
          <a:p>
            <a:endParaRPr lang="en-FI"/>
          </a:p>
        </p:txBody>
      </p:sp>
      <p:sp>
        <p:nvSpPr>
          <p:cNvPr id="27" name="Picture Placeholder 2">
            <a:extLst>
              <a:ext uri="{FF2B5EF4-FFF2-40B4-BE49-F238E27FC236}">
                <a16:creationId xmlns:a16="http://schemas.microsoft.com/office/drawing/2014/main" id="{065E179A-9EA3-8A4E-90C1-E95B7E3CF7E1}"/>
              </a:ext>
            </a:extLst>
          </p:cNvPr>
          <p:cNvSpPr>
            <a:spLocks noGrp="1"/>
          </p:cNvSpPr>
          <p:nvPr>
            <p:ph type="pic" sz="quarter" idx="32"/>
          </p:nvPr>
        </p:nvSpPr>
        <p:spPr>
          <a:xfrm>
            <a:off x="3221664" y="3533269"/>
            <a:ext cx="692944" cy="692150"/>
          </a:xfrm>
          <a:solidFill>
            <a:srgbClr val="ECECEC"/>
          </a:solidFill>
        </p:spPr>
        <p:txBody>
          <a:bodyPr anchor="ctr">
            <a:normAutofit/>
          </a:bodyPr>
          <a:lstStyle>
            <a:lvl1pPr marL="0" indent="0" algn="ctr">
              <a:buNone/>
              <a:defRPr sz="700">
                <a:solidFill>
                  <a:schemeClr val="tx2"/>
                </a:solidFill>
                <a:latin typeface="Barlow" pitchFamily="2" charset="77"/>
              </a:defRPr>
            </a:lvl1pPr>
          </a:lstStyle>
          <a:p>
            <a:endParaRPr lang="en-FI"/>
          </a:p>
        </p:txBody>
      </p:sp>
      <p:sp>
        <p:nvSpPr>
          <p:cNvPr id="28" name="Picture Placeholder 2">
            <a:extLst>
              <a:ext uri="{FF2B5EF4-FFF2-40B4-BE49-F238E27FC236}">
                <a16:creationId xmlns:a16="http://schemas.microsoft.com/office/drawing/2014/main" id="{2A7D512E-3208-AD44-96A0-C4605E88B61F}"/>
              </a:ext>
            </a:extLst>
          </p:cNvPr>
          <p:cNvSpPr>
            <a:spLocks noGrp="1"/>
          </p:cNvSpPr>
          <p:nvPr>
            <p:ph type="pic" sz="quarter" idx="33"/>
          </p:nvPr>
        </p:nvSpPr>
        <p:spPr>
          <a:xfrm>
            <a:off x="4313094" y="3533269"/>
            <a:ext cx="692944" cy="692150"/>
          </a:xfrm>
          <a:solidFill>
            <a:srgbClr val="ECECEC"/>
          </a:solidFill>
        </p:spPr>
        <p:txBody>
          <a:bodyPr anchor="ctr">
            <a:normAutofit/>
          </a:bodyPr>
          <a:lstStyle>
            <a:lvl1pPr marL="0" indent="0" algn="ctr">
              <a:buNone/>
              <a:defRPr sz="700">
                <a:solidFill>
                  <a:schemeClr val="tx2"/>
                </a:solidFill>
                <a:latin typeface="Barlow" pitchFamily="2" charset="77"/>
              </a:defRPr>
            </a:lvl1pPr>
          </a:lstStyle>
          <a:p>
            <a:endParaRPr lang="en-FI"/>
          </a:p>
        </p:txBody>
      </p:sp>
      <p:sp>
        <p:nvSpPr>
          <p:cNvPr id="29" name="Picture Placeholder 2">
            <a:extLst>
              <a:ext uri="{FF2B5EF4-FFF2-40B4-BE49-F238E27FC236}">
                <a16:creationId xmlns:a16="http://schemas.microsoft.com/office/drawing/2014/main" id="{A31690F5-7966-2A42-B6ED-9B834A09253D}"/>
              </a:ext>
            </a:extLst>
          </p:cNvPr>
          <p:cNvSpPr>
            <a:spLocks noGrp="1"/>
          </p:cNvSpPr>
          <p:nvPr>
            <p:ph type="pic" sz="quarter" idx="34"/>
          </p:nvPr>
        </p:nvSpPr>
        <p:spPr>
          <a:xfrm>
            <a:off x="5404525" y="3533269"/>
            <a:ext cx="692944" cy="692150"/>
          </a:xfrm>
          <a:solidFill>
            <a:srgbClr val="ECECEC"/>
          </a:solidFill>
        </p:spPr>
        <p:txBody>
          <a:bodyPr anchor="ctr">
            <a:normAutofit/>
          </a:bodyPr>
          <a:lstStyle>
            <a:lvl1pPr marL="0" indent="0" algn="ctr">
              <a:buNone/>
              <a:defRPr sz="700">
                <a:solidFill>
                  <a:schemeClr val="tx2"/>
                </a:solidFill>
                <a:latin typeface="Barlow" pitchFamily="2" charset="77"/>
              </a:defRPr>
            </a:lvl1pPr>
          </a:lstStyle>
          <a:p>
            <a:endParaRPr lang="en-FI"/>
          </a:p>
        </p:txBody>
      </p:sp>
      <p:sp>
        <p:nvSpPr>
          <p:cNvPr id="30" name="Picture Placeholder 2">
            <a:extLst>
              <a:ext uri="{FF2B5EF4-FFF2-40B4-BE49-F238E27FC236}">
                <a16:creationId xmlns:a16="http://schemas.microsoft.com/office/drawing/2014/main" id="{820B2DE4-F68C-3742-A1A4-F3D51E3B9B39}"/>
              </a:ext>
            </a:extLst>
          </p:cNvPr>
          <p:cNvSpPr>
            <a:spLocks noGrp="1"/>
          </p:cNvSpPr>
          <p:nvPr>
            <p:ph type="pic" sz="quarter" idx="35"/>
          </p:nvPr>
        </p:nvSpPr>
        <p:spPr>
          <a:xfrm>
            <a:off x="6495955" y="3533269"/>
            <a:ext cx="692944" cy="692150"/>
          </a:xfrm>
          <a:solidFill>
            <a:srgbClr val="ECECEC"/>
          </a:solidFill>
        </p:spPr>
        <p:txBody>
          <a:bodyPr anchor="ctr">
            <a:normAutofit/>
          </a:bodyPr>
          <a:lstStyle>
            <a:lvl1pPr marL="0" indent="0" algn="ctr">
              <a:buNone/>
              <a:defRPr sz="700">
                <a:solidFill>
                  <a:schemeClr val="tx2"/>
                </a:solidFill>
                <a:latin typeface="Barlow" pitchFamily="2" charset="77"/>
              </a:defRPr>
            </a:lvl1pPr>
          </a:lstStyle>
          <a:p>
            <a:endParaRPr lang="en-FI"/>
          </a:p>
        </p:txBody>
      </p:sp>
      <p:sp>
        <p:nvSpPr>
          <p:cNvPr id="31" name="Picture Placeholder 2">
            <a:extLst>
              <a:ext uri="{FF2B5EF4-FFF2-40B4-BE49-F238E27FC236}">
                <a16:creationId xmlns:a16="http://schemas.microsoft.com/office/drawing/2014/main" id="{54FD07A9-10CA-C040-94D1-D39BBA395FDC}"/>
              </a:ext>
            </a:extLst>
          </p:cNvPr>
          <p:cNvSpPr>
            <a:spLocks noGrp="1"/>
          </p:cNvSpPr>
          <p:nvPr>
            <p:ph type="pic" sz="quarter" idx="36"/>
          </p:nvPr>
        </p:nvSpPr>
        <p:spPr>
          <a:xfrm>
            <a:off x="7587386" y="3533269"/>
            <a:ext cx="692944" cy="692150"/>
          </a:xfrm>
          <a:solidFill>
            <a:srgbClr val="ECECEC"/>
          </a:solidFill>
        </p:spPr>
        <p:txBody>
          <a:bodyPr anchor="ctr">
            <a:normAutofit/>
          </a:bodyPr>
          <a:lstStyle>
            <a:lvl1pPr marL="0" indent="0" algn="ctr">
              <a:buNone/>
              <a:defRPr sz="700">
                <a:solidFill>
                  <a:schemeClr val="tx2"/>
                </a:solidFill>
                <a:latin typeface="Barlow" pitchFamily="2" charset="77"/>
              </a:defRPr>
            </a:lvl1pPr>
          </a:lstStyle>
          <a:p>
            <a:endParaRPr lang="en-FI"/>
          </a:p>
        </p:txBody>
      </p:sp>
      <p:sp>
        <p:nvSpPr>
          <p:cNvPr id="32" name="Picture Placeholder 2">
            <a:extLst>
              <a:ext uri="{FF2B5EF4-FFF2-40B4-BE49-F238E27FC236}">
                <a16:creationId xmlns:a16="http://schemas.microsoft.com/office/drawing/2014/main" id="{D303D480-E3A4-0749-BCDC-D207000664EE}"/>
              </a:ext>
            </a:extLst>
          </p:cNvPr>
          <p:cNvSpPr>
            <a:spLocks noGrp="1"/>
          </p:cNvSpPr>
          <p:nvPr>
            <p:ph type="pic" sz="quarter" idx="37"/>
          </p:nvPr>
        </p:nvSpPr>
        <p:spPr>
          <a:xfrm>
            <a:off x="8678816" y="3533269"/>
            <a:ext cx="692944" cy="692150"/>
          </a:xfrm>
          <a:solidFill>
            <a:srgbClr val="ECECEC"/>
          </a:solidFill>
        </p:spPr>
        <p:txBody>
          <a:bodyPr anchor="ctr">
            <a:normAutofit/>
          </a:bodyPr>
          <a:lstStyle>
            <a:lvl1pPr marL="0" indent="0" algn="ctr">
              <a:buNone/>
              <a:defRPr sz="700">
                <a:solidFill>
                  <a:schemeClr val="tx2"/>
                </a:solidFill>
                <a:latin typeface="Barlow" pitchFamily="2" charset="77"/>
              </a:defRPr>
            </a:lvl1pPr>
          </a:lstStyle>
          <a:p>
            <a:endParaRPr lang="en-FI"/>
          </a:p>
        </p:txBody>
      </p:sp>
      <p:sp>
        <p:nvSpPr>
          <p:cNvPr id="33" name="Picture Placeholder 2">
            <a:extLst>
              <a:ext uri="{FF2B5EF4-FFF2-40B4-BE49-F238E27FC236}">
                <a16:creationId xmlns:a16="http://schemas.microsoft.com/office/drawing/2014/main" id="{6E4FE63C-ACA9-C84D-B806-2314D1F5568D}"/>
              </a:ext>
            </a:extLst>
          </p:cNvPr>
          <p:cNvSpPr>
            <a:spLocks noGrp="1"/>
          </p:cNvSpPr>
          <p:nvPr>
            <p:ph type="pic" sz="quarter" idx="38"/>
          </p:nvPr>
        </p:nvSpPr>
        <p:spPr>
          <a:xfrm>
            <a:off x="9770247" y="3533269"/>
            <a:ext cx="692944" cy="692150"/>
          </a:xfrm>
          <a:solidFill>
            <a:srgbClr val="ECECEC"/>
          </a:solidFill>
        </p:spPr>
        <p:txBody>
          <a:bodyPr anchor="ctr">
            <a:normAutofit/>
          </a:bodyPr>
          <a:lstStyle>
            <a:lvl1pPr marL="0" indent="0" algn="ctr">
              <a:buNone/>
              <a:defRPr sz="700">
                <a:solidFill>
                  <a:schemeClr val="tx2"/>
                </a:solidFill>
                <a:latin typeface="Barlow" pitchFamily="2" charset="77"/>
              </a:defRPr>
            </a:lvl1pPr>
          </a:lstStyle>
          <a:p>
            <a:endParaRPr lang="en-FI"/>
          </a:p>
        </p:txBody>
      </p:sp>
      <p:sp>
        <p:nvSpPr>
          <p:cNvPr id="34" name="Picture Placeholder 2">
            <a:extLst>
              <a:ext uri="{FF2B5EF4-FFF2-40B4-BE49-F238E27FC236}">
                <a16:creationId xmlns:a16="http://schemas.microsoft.com/office/drawing/2014/main" id="{377EF0EB-CAB6-8449-BCE5-0E8273BFE1E9}"/>
              </a:ext>
            </a:extLst>
          </p:cNvPr>
          <p:cNvSpPr>
            <a:spLocks noGrp="1"/>
          </p:cNvSpPr>
          <p:nvPr>
            <p:ph type="pic" sz="quarter" idx="39"/>
          </p:nvPr>
        </p:nvSpPr>
        <p:spPr>
          <a:xfrm>
            <a:off x="10861676" y="3533269"/>
            <a:ext cx="692944" cy="692150"/>
          </a:xfrm>
          <a:solidFill>
            <a:srgbClr val="ECECEC"/>
          </a:solidFill>
        </p:spPr>
        <p:txBody>
          <a:bodyPr anchor="ctr">
            <a:normAutofit/>
          </a:bodyPr>
          <a:lstStyle>
            <a:lvl1pPr marL="0" indent="0" algn="ctr">
              <a:buNone/>
              <a:defRPr sz="700">
                <a:solidFill>
                  <a:schemeClr val="tx2"/>
                </a:solidFill>
                <a:latin typeface="Barlow" pitchFamily="2" charset="77"/>
              </a:defRPr>
            </a:lvl1pPr>
          </a:lstStyle>
          <a:p>
            <a:endParaRPr lang="en-FI"/>
          </a:p>
        </p:txBody>
      </p:sp>
    </p:spTree>
    <p:extLst>
      <p:ext uri="{BB962C8B-B14F-4D97-AF65-F5344CB8AC3E}">
        <p14:creationId xmlns:p14="http://schemas.microsoft.com/office/powerpoint/2010/main" val="541339152"/>
      </p:ext>
    </p:extLst>
  </p:cSld>
  <p:clrMapOvr>
    <a:masterClrMapping/>
  </p:clrMapOvr>
  <p:transition spd="med"/>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6_Blank">
    <p:spTree>
      <p:nvGrpSpPr>
        <p:cNvPr id="1" name=""/>
        <p:cNvGrpSpPr/>
        <p:nvPr/>
      </p:nvGrpSpPr>
      <p:grpSpPr>
        <a:xfrm>
          <a:off x="0" y="0"/>
          <a:ext cx="0" cy="0"/>
          <a:chOff x="0" y="0"/>
          <a:chExt cx="0" cy="0"/>
        </a:xfrm>
      </p:grpSpPr>
      <p:sp>
        <p:nvSpPr>
          <p:cNvPr id="11" name="Slide Number"/>
          <p:cNvSpPr txBox="1">
            <a:spLocks noGrp="1"/>
          </p:cNvSpPr>
          <p:nvPr>
            <p:ph type="sldNum" sz="quarter" idx="2"/>
          </p:nvPr>
        </p:nvSpPr>
        <p:spPr>
          <a:prstGeom prst="rect">
            <a:avLst/>
          </a:prstGeom>
        </p:spPr>
        <p:txBody>
          <a:bodyPr/>
          <a:lstStyle>
            <a:lvl1pPr>
              <a:defRPr>
                <a:latin typeface="OPPOSans R" panose="00020600040101010101" pitchFamily="18" charset="-122"/>
              </a:defRPr>
            </a:lvl1pPr>
          </a:lstStyle>
          <a:p>
            <a:fld id="{86CB4B4D-7CA3-9044-876B-883B54F8677D}" type="slidenum">
              <a:rPr lang="en-US" altLang="zh-CN" smtClean="0"/>
              <a:pPr/>
              <a:t>‹#›</a:t>
            </a:fld>
            <a:endParaRPr lang="en-US" altLang="zh-CN"/>
          </a:p>
        </p:txBody>
      </p:sp>
      <p:sp>
        <p:nvSpPr>
          <p:cNvPr id="3" name="Picture Placeholder 2">
            <a:extLst>
              <a:ext uri="{FF2B5EF4-FFF2-40B4-BE49-F238E27FC236}">
                <a16:creationId xmlns:a16="http://schemas.microsoft.com/office/drawing/2014/main" id="{4F8BD93B-8079-2F44-8C72-861A4EB58975}"/>
              </a:ext>
            </a:extLst>
          </p:cNvPr>
          <p:cNvSpPr>
            <a:spLocks noGrp="1"/>
          </p:cNvSpPr>
          <p:nvPr>
            <p:ph type="pic" sz="quarter" idx="10"/>
          </p:nvPr>
        </p:nvSpPr>
        <p:spPr>
          <a:xfrm>
            <a:off x="1038803" y="1538216"/>
            <a:ext cx="692944" cy="692150"/>
          </a:xfrm>
          <a:solidFill>
            <a:srgbClr val="ECECEC"/>
          </a:solidFill>
        </p:spPr>
        <p:txBody>
          <a:bodyPr anchor="ctr">
            <a:normAutofit/>
          </a:bodyPr>
          <a:lstStyle>
            <a:lvl1pPr marL="0" indent="0" algn="ctr">
              <a:buNone/>
              <a:defRPr sz="700">
                <a:solidFill>
                  <a:schemeClr val="tx2"/>
                </a:solidFill>
                <a:latin typeface="Barlow" pitchFamily="2" charset="77"/>
              </a:defRPr>
            </a:lvl1pPr>
          </a:lstStyle>
          <a:p>
            <a:endParaRPr lang="en-FI"/>
          </a:p>
        </p:txBody>
      </p:sp>
      <p:sp>
        <p:nvSpPr>
          <p:cNvPr id="5" name="Picture Placeholder 2">
            <a:extLst>
              <a:ext uri="{FF2B5EF4-FFF2-40B4-BE49-F238E27FC236}">
                <a16:creationId xmlns:a16="http://schemas.microsoft.com/office/drawing/2014/main" id="{B1DF3BC4-5BD3-7C48-8D93-C5CE16F92F79}"/>
              </a:ext>
            </a:extLst>
          </p:cNvPr>
          <p:cNvSpPr>
            <a:spLocks noGrp="1"/>
          </p:cNvSpPr>
          <p:nvPr>
            <p:ph type="pic" sz="quarter" idx="11"/>
          </p:nvPr>
        </p:nvSpPr>
        <p:spPr>
          <a:xfrm>
            <a:off x="2130233" y="1538216"/>
            <a:ext cx="692944" cy="692150"/>
          </a:xfrm>
          <a:solidFill>
            <a:srgbClr val="ECECEC"/>
          </a:solidFill>
        </p:spPr>
        <p:txBody>
          <a:bodyPr anchor="ctr">
            <a:normAutofit/>
          </a:bodyPr>
          <a:lstStyle>
            <a:lvl1pPr marL="0" indent="0" algn="ctr">
              <a:buNone/>
              <a:defRPr sz="700">
                <a:solidFill>
                  <a:schemeClr val="tx2"/>
                </a:solidFill>
                <a:latin typeface="Barlow" pitchFamily="2" charset="77"/>
              </a:defRPr>
            </a:lvl1pPr>
          </a:lstStyle>
          <a:p>
            <a:endParaRPr lang="en-FI"/>
          </a:p>
        </p:txBody>
      </p:sp>
      <p:sp>
        <p:nvSpPr>
          <p:cNvPr id="6" name="Picture Placeholder 2">
            <a:extLst>
              <a:ext uri="{FF2B5EF4-FFF2-40B4-BE49-F238E27FC236}">
                <a16:creationId xmlns:a16="http://schemas.microsoft.com/office/drawing/2014/main" id="{F102159C-D9F0-5041-8714-07CEC43B0DBC}"/>
              </a:ext>
            </a:extLst>
          </p:cNvPr>
          <p:cNvSpPr>
            <a:spLocks noGrp="1"/>
          </p:cNvSpPr>
          <p:nvPr>
            <p:ph type="pic" sz="quarter" idx="12"/>
          </p:nvPr>
        </p:nvSpPr>
        <p:spPr>
          <a:xfrm>
            <a:off x="3221664" y="1538216"/>
            <a:ext cx="692944" cy="692150"/>
          </a:xfrm>
          <a:solidFill>
            <a:srgbClr val="ECECEC"/>
          </a:solidFill>
        </p:spPr>
        <p:txBody>
          <a:bodyPr anchor="ctr">
            <a:normAutofit/>
          </a:bodyPr>
          <a:lstStyle>
            <a:lvl1pPr marL="0" indent="0" algn="ctr">
              <a:buNone/>
              <a:defRPr sz="700">
                <a:solidFill>
                  <a:schemeClr val="tx2"/>
                </a:solidFill>
                <a:latin typeface="Barlow" pitchFamily="2" charset="77"/>
              </a:defRPr>
            </a:lvl1pPr>
          </a:lstStyle>
          <a:p>
            <a:endParaRPr lang="en-FI"/>
          </a:p>
        </p:txBody>
      </p:sp>
      <p:sp>
        <p:nvSpPr>
          <p:cNvPr id="7" name="Picture Placeholder 2">
            <a:extLst>
              <a:ext uri="{FF2B5EF4-FFF2-40B4-BE49-F238E27FC236}">
                <a16:creationId xmlns:a16="http://schemas.microsoft.com/office/drawing/2014/main" id="{6EA155DB-3A89-C64A-9A42-C9ADB3B2942A}"/>
              </a:ext>
            </a:extLst>
          </p:cNvPr>
          <p:cNvSpPr>
            <a:spLocks noGrp="1"/>
          </p:cNvSpPr>
          <p:nvPr>
            <p:ph type="pic" sz="quarter" idx="13"/>
          </p:nvPr>
        </p:nvSpPr>
        <p:spPr>
          <a:xfrm>
            <a:off x="4313094" y="1538216"/>
            <a:ext cx="692944" cy="692150"/>
          </a:xfrm>
          <a:solidFill>
            <a:srgbClr val="ECECEC"/>
          </a:solidFill>
        </p:spPr>
        <p:txBody>
          <a:bodyPr anchor="ctr">
            <a:normAutofit/>
          </a:bodyPr>
          <a:lstStyle>
            <a:lvl1pPr marL="0" indent="0" algn="ctr">
              <a:buNone/>
              <a:defRPr sz="700">
                <a:solidFill>
                  <a:schemeClr val="tx2"/>
                </a:solidFill>
                <a:latin typeface="Barlow" pitchFamily="2" charset="77"/>
              </a:defRPr>
            </a:lvl1pPr>
          </a:lstStyle>
          <a:p>
            <a:endParaRPr lang="en-FI"/>
          </a:p>
        </p:txBody>
      </p:sp>
      <p:sp>
        <p:nvSpPr>
          <p:cNvPr id="8" name="Picture Placeholder 2">
            <a:extLst>
              <a:ext uri="{FF2B5EF4-FFF2-40B4-BE49-F238E27FC236}">
                <a16:creationId xmlns:a16="http://schemas.microsoft.com/office/drawing/2014/main" id="{E379B7C7-C43C-B74F-80E1-FA4D5DF631D9}"/>
              </a:ext>
            </a:extLst>
          </p:cNvPr>
          <p:cNvSpPr>
            <a:spLocks noGrp="1"/>
          </p:cNvSpPr>
          <p:nvPr>
            <p:ph type="pic" sz="quarter" idx="14"/>
          </p:nvPr>
        </p:nvSpPr>
        <p:spPr>
          <a:xfrm>
            <a:off x="5404525" y="1538216"/>
            <a:ext cx="692944" cy="692150"/>
          </a:xfrm>
          <a:solidFill>
            <a:srgbClr val="ECECEC"/>
          </a:solidFill>
        </p:spPr>
        <p:txBody>
          <a:bodyPr anchor="ctr">
            <a:normAutofit/>
          </a:bodyPr>
          <a:lstStyle>
            <a:lvl1pPr marL="0" indent="0" algn="ctr">
              <a:buNone/>
              <a:defRPr sz="700">
                <a:solidFill>
                  <a:schemeClr val="tx2"/>
                </a:solidFill>
                <a:latin typeface="Barlow" pitchFamily="2" charset="77"/>
              </a:defRPr>
            </a:lvl1pPr>
          </a:lstStyle>
          <a:p>
            <a:endParaRPr lang="en-FI"/>
          </a:p>
        </p:txBody>
      </p:sp>
      <p:sp>
        <p:nvSpPr>
          <p:cNvPr id="9" name="Picture Placeholder 2">
            <a:extLst>
              <a:ext uri="{FF2B5EF4-FFF2-40B4-BE49-F238E27FC236}">
                <a16:creationId xmlns:a16="http://schemas.microsoft.com/office/drawing/2014/main" id="{E89031F5-4FEE-FD4B-A3E8-71C79F2AE94E}"/>
              </a:ext>
            </a:extLst>
          </p:cNvPr>
          <p:cNvSpPr>
            <a:spLocks noGrp="1"/>
          </p:cNvSpPr>
          <p:nvPr>
            <p:ph type="pic" sz="quarter" idx="15"/>
          </p:nvPr>
        </p:nvSpPr>
        <p:spPr>
          <a:xfrm>
            <a:off x="6495955" y="1538216"/>
            <a:ext cx="692944" cy="692150"/>
          </a:xfrm>
          <a:solidFill>
            <a:srgbClr val="ECECEC"/>
          </a:solidFill>
        </p:spPr>
        <p:txBody>
          <a:bodyPr anchor="ctr">
            <a:normAutofit/>
          </a:bodyPr>
          <a:lstStyle>
            <a:lvl1pPr marL="0" indent="0" algn="ctr">
              <a:buNone/>
              <a:defRPr sz="700">
                <a:solidFill>
                  <a:schemeClr val="tx2"/>
                </a:solidFill>
                <a:latin typeface="Barlow" pitchFamily="2" charset="77"/>
              </a:defRPr>
            </a:lvl1pPr>
          </a:lstStyle>
          <a:p>
            <a:endParaRPr lang="en-FI"/>
          </a:p>
        </p:txBody>
      </p:sp>
      <p:sp>
        <p:nvSpPr>
          <p:cNvPr id="10" name="Picture Placeholder 2">
            <a:extLst>
              <a:ext uri="{FF2B5EF4-FFF2-40B4-BE49-F238E27FC236}">
                <a16:creationId xmlns:a16="http://schemas.microsoft.com/office/drawing/2014/main" id="{D23B3A17-978C-7846-8E21-C3AB145AE24B}"/>
              </a:ext>
            </a:extLst>
          </p:cNvPr>
          <p:cNvSpPr>
            <a:spLocks noGrp="1"/>
          </p:cNvSpPr>
          <p:nvPr>
            <p:ph type="pic" sz="quarter" idx="16"/>
          </p:nvPr>
        </p:nvSpPr>
        <p:spPr>
          <a:xfrm>
            <a:off x="7587386" y="1538216"/>
            <a:ext cx="692944" cy="692150"/>
          </a:xfrm>
          <a:solidFill>
            <a:srgbClr val="ECECEC"/>
          </a:solidFill>
        </p:spPr>
        <p:txBody>
          <a:bodyPr anchor="ctr">
            <a:normAutofit/>
          </a:bodyPr>
          <a:lstStyle>
            <a:lvl1pPr marL="0" indent="0" algn="ctr">
              <a:buNone/>
              <a:defRPr sz="700">
                <a:solidFill>
                  <a:schemeClr val="tx2"/>
                </a:solidFill>
                <a:latin typeface="Barlow" pitchFamily="2" charset="77"/>
              </a:defRPr>
            </a:lvl1pPr>
          </a:lstStyle>
          <a:p>
            <a:endParaRPr lang="en-FI"/>
          </a:p>
        </p:txBody>
      </p:sp>
      <p:sp>
        <p:nvSpPr>
          <p:cNvPr id="12" name="Picture Placeholder 2">
            <a:extLst>
              <a:ext uri="{FF2B5EF4-FFF2-40B4-BE49-F238E27FC236}">
                <a16:creationId xmlns:a16="http://schemas.microsoft.com/office/drawing/2014/main" id="{7E8D7DF0-A277-9D49-AA86-6E00770DF78F}"/>
              </a:ext>
            </a:extLst>
          </p:cNvPr>
          <p:cNvSpPr>
            <a:spLocks noGrp="1"/>
          </p:cNvSpPr>
          <p:nvPr>
            <p:ph type="pic" sz="quarter" idx="17"/>
          </p:nvPr>
        </p:nvSpPr>
        <p:spPr>
          <a:xfrm>
            <a:off x="8678816" y="1538216"/>
            <a:ext cx="692944" cy="692150"/>
          </a:xfrm>
          <a:solidFill>
            <a:srgbClr val="ECECEC"/>
          </a:solidFill>
        </p:spPr>
        <p:txBody>
          <a:bodyPr anchor="ctr">
            <a:normAutofit/>
          </a:bodyPr>
          <a:lstStyle>
            <a:lvl1pPr marL="0" indent="0" algn="ctr">
              <a:buNone/>
              <a:defRPr sz="700">
                <a:solidFill>
                  <a:schemeClr val="tx2"/>
                </a:solidFill>
                <a:latin typeface="Barlow" pitchFamily="2" charset="77"/>
              </a:defRPr>
            </a:lvl1pPr>
          </a:lstStyle>
          <a:p>
            <a:endParaRPr lang="en-FI"/>
          </a:p>
        </p:txBody>
      </p:sp>
      <p:sp>
        <p:nvSpPr>
          <p:cNvPr id="13" name="Picture Placeholder 2">
            <a:extLst>
              <a:ext uri="{FF2B5EF4-FFF2-40B4-BE49-F238E27FC236}">
                <a16:creationId xmlns:a16="http://schemas.microsoft.com/office/drawing/2014/main" id="{B014FAAE-7B3D-1243-9C9A-374862A76277}"/>
              </a:ext>
            </a:extLst>
          </p:cNvPr>
          <p:cNvSpPr>
            <a:spLocks noGrp="1"/>
          </p:cNvSpPr>
          <p:nvPr>
            <p:ph type="pic" sz="quarter" idx="18"/>
          </p:nvPr>
        </p:nvSpPr>
        <p:spPr>
          <a:xfrm>
            <a:off x="9770247" y="1538216"/>
            <a:ext cx="692944" cy="692150"/>
          </a:xfrm>
          <a:solidFill>
            <a:srgbClr val="ECECEC"/>
          </a:solidFill>
        </p:spPr>
        <p:txBody>
          <a:bodyPr anchor="ctr">
            <a:normAutofit/>
          </a:bodyPr>
          <a:lstStyle>
            <a:lvl1pPr marL="0" indent="0" algn="ctr">
              <a:buNone/>
              <a:defRPr sz="700">
                <a:solidFill>
                  <a:schemeClr val="tx2"/>
                </a:solidFill>
                <a:latin typeface="Barlow" pitchFamily="2" charset="77"/>
              </a:defRPr>
            </a:lvl1pPr>
          </a:lstStyle>
          <a:p>
            <a:endParaRPr lang="en-FI"/>
          </a:p>
        </p:txBody>
      </p:sp>
      <p:sp>
        <p:nvSpPr>
          <p:cNvPr id="14" name="Picture Placeholder 2">
            <a:extLst>
              <a:ext uri="{FF2B5EF4-FFF2-40B4-BE49-F238E27FC236}">
                <a16:creationId xmlns:a16="http://schemas.microsoft.com/office/drawing/2014/main" id="{6D52479F-440B-3741-AC4E-3222AD177211}"/>
              </a:ext>
            </a:extLst>
          </p:cNvPr>
          <p:cNvSpPr>
            <a:spLocks noGrp="1"/>
          </p:cNvSpPr>
          <p:nvPr>
            <p:ph type="pic" sz="quarter" idx="19"/>
          </p:nvPr>
        </p:nvSpPr>
        <p:spPr>
          <a:xfrm>
            <a:off x="10861676" y="1538216"/>
            <a:ext cx="692944" cy="692150"/>
          </a:xfrm>
          <a:solidFill>
            <a:srgbClr val="ECECEC"/>
          </a:solidFill>
        </p:spPr>
        <p:txBody>
          <a:bodyPr anchor="ctr">
            <a:normAutofit/>
          </a:bodyPr>
          <a:lstStyle>
            <a:lvl1pPr marL="0" indent="0" algn="ctr">
              <a:buNone/>
              <a:defRPr sz="700">
                <a:solidFill>
                  <a:schemeClr val="tx2"/>
                </a:solidFill>
                <a:latin typeface="Barlow" pitchFamily="2" charset="77"/>
              </a:defRPr>
            </a:lvl1pPr>
          </a:lstStyle>
          <a:p>
            <a:endParaRPr lang="en-FI"/>
          </a:p>
        </p:txBody>
      </p:sp>
      <p:sp>
        <p:nvSpPr>
          <p:cNvPr id="15" name="Picture Placeholder 2">
            <a:extLst>
              <a:ext uri="{FF2B5EF4-FFF2-40B4-BE49-F238E27FC236}">
                <a16:creationId xmlns:a16="http://schemas.microsoft.com/office/drawing/2014/main" id="{3CC4451C-AEBE-584F-8EE0-184C5488A27E}"/>
              </a:ext>
            </a:extLst>
          </p:cNvPr>
          <p:cNvSpPr>
            <a:spLocks noGrp="1"/>
          </p:cNvSpPr>
          <p:nvPr>
            <p:ph type="pic" sz="quarter" idx="20"/>
          </p:nvPr>
        </p:nvSpPr>
        <p:spPr>
          <a:xfrm>
            <a:off x="1038803" y="2535743"/>
            <a:ext cx="692944" cy="692150"/>
          </a:xfrm>
          <a:solidFill>
            <a:srgbClr val="ECECEC"/>
          </a:solidFill>
        </p:spPr>
        <p:txBody>
          <a:bodyPr anchor="ctr">
            <a:normAutofit/>
          </a:bodyPr>
          <a:lstStyle>
            <a:lvl1pPr marL="0" indent="0" algn="ctr">
              <a:buNone/>
              <a:defRPr sz="700">
                <a:solidFill>
                  <a:schemeClr val="tx2"/>
                </a:solidFill>
                <a:latin typeface="Barlow" pitchFamily="2" charset="77"/>
              </a:defRPr>
            </a:lvl1pPr>
          </a:lstStyle>
          <a:p>
            <a:endParaRPr lang="en-FI"/>
          </a:p>
        </p:txBody>
      </p:sp>
      <p:sp>
        <p:nvSpPr>
          <p:cNvPr id="16" name="Picture Placeholder 2">
            <a:extLst>
              <a:ext uri="{FF2B5EF4-FFF2-40B4-BE49-F238E27FC236}">
                <a16:creationId xmlns:a16="http://schemas.microsoft.com/office/drawing/2014/main" id="{D1B8F02C-FA1B-944C-8E50-52211C8D94B2}"/>
              </a:ext>
            </a:extLst>
          </p:cNvPr>
          <p:cNvSpPr>
            <a:spLocks noGrp="1"/>
          </p:cNvSpPr>
          <p:nvPr>
            <p:ph type="pic" sz="quarter" idx="21"/>
          </p:nvPr>
        </p:nvSpPr>
        <p:spPr>
          <a:xfrm>
            <a:off x="2130233" y="2535743"/>
            <a:ext cx="692944" cy="692150"/>
          </a:xfrm>
          <a:solidFill>
            <a:srgbClr val="ECECEC"/>
          </a:solidFill>
        </p:spPr>
        <p:txBody>
          <a:bodyPr anchor="ctr">
            <a:normAutofit/>
          </a:bodyPr>
          <a:lstStyle>
            <a:lvl1pPr marL="0" indent="0" algn="ctr">
              <a:buNone/>
              <a:defRPr sz="700">
                <a:solidFill>
                  <a:schemeClr val="tx2"/>
                </a:solidFill>
                <a:latin typeface="Barlow" pitchFamily="2" charset="77"/>
              </a:defRPr>
            </a:lvl1pPr>
          </a:lstStyle>
          <a:p>
            <a:endParaRPr lang="en-FI"/>
          </a:p>
        </p:txBody>
      </p:sp>
      <p:sp>
        <p:nvSpPr>
          <p:cNvPr id="17" name="Picture Placeholder 2">
            <a:extLst>
              <a:ext uri="{FF2B5EF4-FFF2-40B4-BE49-F238E27FC236}">
                <a16:creationId xmlns:a16="http://schemas.microsoft.com/office/drawing/2014/main" id="{51A6A264-4F9B-BD40-907B-F457C79C9D25}"/>
              </a:ext>
            </a:extLst>
          </p:cNvPr>
          <p:cNvSpPr>
            <a:spLocks noGrp="1"/>
          </p:cNvSpPr>
          <p:nvPr>
            <p:ph type="pic" sz="quarter" idx="22"/>
          </p:nvPr>
        </p:nvSpPr>
        <p:spPr>
          <a:xfrm>
            <a:off x="3221664" y="2535743"/>
            <a:ext cx="692944" cy="692150"/>
          </a:xfrm>
          <a:solidFill>
            <a:srgbClr val="ECECEC"/>
          </a:solidFill>
        </p:spPr>
        <p:txBody>
          <a:bodyPr anchor="ctr">
            <a:normAutofit/>
          </a:bodyPr>
          <a:lstStyle>
            <a:lvl1pPr marL="0" indent="0" algn="ctr">
              <a:buNone/>
              <a:defRPr sz="700">
                <a:solidFill>
                  <a:schemeClr val="tx2"/>
                </a:solidFill>
                <a:latin typeface="Barlow" pitchFamily="2" charset="77"/>
              </a:defRPr>
            </a:lvl1pPr>
          </a:lstStyle>
          <a:p>
            <a:endParaRPr lang="en-FI"/>
          </a:p>
        </p:txBody>
      </p:sp>
      <p:sp>
        <p:nvSpPr>
          <p:cNvPr id="18" name="Picture Placeholder 2">
            <a:extLst>
              <a:ext uri="{FF2B5EF4-FFF2-40B4-BE49-F238E27FC236}">
                <a16:creationId xmlns:a16="http://schemas.microsoft.com/office/drawing/2014/main" id="{09520C77-297B-D444-A69A-6D169F975D8D}"/>
              </a:ext>
            </a:extLst>
          </p:cNvPr>
          <p:cNvSpPr>
            <a:spLocks noGrp="1"/>
          </p:cNvSpPr>
          <p:nvPr>
            <p:ph type="pic" sz="quarter" idx="23"/>
          </p:nvPr>
        </p:nvSpPr>
        <p:spPr>
          <a:xfrm>
            <a:off x="4313094" y="2535743"/>
            <a:ext cx="692944" cy="692150"/>
          </a:xfrm>
          <a:solidFill>
            <a:srgbClr val="ECECEC"/>
          </a:solidFill>
        </p:spPr>
        <p:txBody>
          <a:bodyPr anchor="ctr">
            <a:normAutofit/>
          </a:bodyPr>
          <a:lstStyle>
            <a:lvl1pPr marL="0" indent="0" algn="ctr">
              <a:buNone/>
              <a:defRPr sz="700">
                <a:solidFill>
                  <a:schemeClr val="tx2"/>
                </a:solidFill>
                <a:latin typeface="Barlow" pitchFamily="2" charset="77"/>
              </a:defRPr>
            </a:lvl1pPr>
          </a:lstStyle>
          <a:p>
            <a:endParaRPr lang="en-FI"/>
          </a:p>
        </p:txBody>
      </p:sp>
      <p:sp>
        <p:nvSpPr>
          <p:cNvPr id="19" name="Picture Placeholder 2">
            <a:extLst>
              <a:ext uri="{FF2B5EF4-FFF2-40B4-BE49-F238E27FC236}">
                <a16:creationId xmlns:a16="http://schemas.microsoft.com/office/drawing/2014/main" id="{4F68D8D0-E5A8-3E4B-82EC-828483B3F524}"/>
              </a:ext>
            </a:extLst>
          </p:cNvPr>
          <p:cNvSpPr>
            <a:spLocks noGrp="1"/>
          </p:cNvSpPr>
          <p:nvPr>
            <p:ph type="pic" sz="quarter" idx="24"/>
          </p:nvPr>
        </p:nvSpPr>
        <p:spPr>
          <a:xfrm>
            <a:off x="5404525" y="2535743"/>
            <a:ext cx="692944" cy="692150"/>
          </a:xfrm>
          <a:solidFill>
            <a:srgbClr val="ECECEC"/>
          </a:solidFill>
        </p:spPr>
        <p:txBody>
          <a:bodyPr anchor="ctr">
            <a:normAutofit/>
          </a:bodyPr>
          <a:lstStyle>
            <a:lvl1pPr marL="0" indent="0" algn="ctr">
              <a:buNone/>
              <a:defRPr sz="700">
                <a:solidFill>
                  <a:schemeClr val="tx2"/>
                </a:solidFill>
                <a:latin typeface="Barlow" pitchFamily="2" charset="77"/>
              </a:defRPr>
            </a:lvl1pPr>
          </a:lstStyle>
          <a:p>
            <a:endParaRPr lang="en-FI"/>
          </a:p>
        </p:txBody>
      </p:sp>
      <p:sp>
        <p:nvSpPr>
          <p:cNvPr id="20" name="Picture Placeholder 2">
            <a:extLst>
              <a:ext uri="{FF2B5EF4-FFF2-40B4-BE49-F238E27FC236}">
                <a16:creationId xmlns:a16="http://schemas.microsoft.com/office/drawing/2014/main" id="{DCCA461E-704A-AB42-854E-611956698124}"/>
              </a:ext>
            </a:extLst>
          </p:cNvPr>
          <p:cNvSpPr>
            <a:spLocks noGrp="1"/>
          </p:cNvSpPr>
          <p:nvPr>
            <p:ph type="pic" sz="quarter" idx="25"/>
          </p:nvPr>
        </p:nvSpPr>
        <p:spPr>
          <a:xfrm>
            <a:off x="6495955" y="2535743"/>
            <a:ext cx="692944" cy="692150"/>
          </a:xfrm>
          <a:solidFill>
            <a:srgbClr val="ECECEC"/>
          </a:solidFill>
        </p:spPr>
        <p:txBody>
          <a:bodyPr anchor="ctr">
            <a:normAutofit/>
          </a:bodyPr>
          <a:lstStyle>
            <a:lvl1pPr marL="0" indent="0" algn="ctr">
              <a:buNone/>
              <a:defRPr sz="700">
                <a:solidFill>
                  <a:schemeClr val="tx2"/>
                </a:solidFill>
                <a:latin typeface="Barlow" pitchFamily="2" charset="77"/>
              </a:defRPr>
            </a:lvl1pPr>
          </a:lstStyle>
          <a:p>
            <a:endParaRPr lang="en-FI"/>
          </a:p>
        </p:txBody>
      </p:sp>
      <p:sp>
        <p:nvSpPr>
          <p:cNvPr id="21" name="Picture Placeholder 2">
            <a:extLst>
              <a:ext uri="{FF2B5EF4-FFF2-40B4-BE49-F238E27FC236}">
                <a16:creationId xmlns:a16="http://schemas.microsoft.com/office/drawing/2014/main" id="{AA94B49F-9685-6E4D-9E8C-FC6EA94E36CF}"/>
              </a:ext>
            </a:extLst>
          </p:cNvPr>
          <p:cNvSpPr>
            <a:spLocks noGrp="1"/>
          </p:cNvSpPr>
          <p:nvPr>
            <p:ph type="pic" sz="quarter" idx="26"/>
          </p:nvPr>
        </p:nvSpPr>
        <p:spPr>
          <a:xfrm>
            <a:off x="7587386" y="2535743"/>
            <a:ext cx="692944" cy="692150"/>
          </a:xfrm>
          <a:solidFill>
            <a:srgbClr val="ECECEC"/>
          </a:solidFill>
        </p:spPr>
        <p:txBody>
          <a:bodyPr anchor="ctr">
            <a:normAutofit/>
          </a:bodyPr>
          <a:lstStyle>
            <a:lvl1pPr marL="0" indent="0" algn="ctr">
              <a:buNone/>
              <a:defRPr sz="700">
                <a:solidFill>
                  <a:schemeClr val="tx2"/>
                </a:solidFill>
                <a:latin typeface="Barlow" pitchFamily="2" charset="77"/>
              </a:defRPr>
            </a:lvl1pPr>
          </a:lstStyle>
          <a:p>
            <a:endParaRPr lang="en-FI"/>
          </a:p>
        </p:txBody>
      </p:sp>
      <p:sp>
        <p:nvSpPr>
          <p:cNvPr id="22" name="Picture Placeholder 2">
            <a:extLst>
              <a:ext uri="{FF2B5EF4-FFF2-40B4-BE49-F238E27FC236}">
                <a16:creationId xmlns:a16="http://schemas.microsoft.com/office/drawing/2014/main" id="{D7E86C7A-5517-C24F-9954-A302C9A2226F}"/>
              </a:ext>
            </a:extLst>
          </p:cNvPr>
          <p:cNvSpPr>
            <a:spLocks noGrp="1"/>
          </p:cNvSpPr>
          <p:nvPr>
            <p:ph type="pic" sz="quarter" idx="27"/>
          </p:nvPr>
        </p:nvSpPr>
        <p:spPr>
          <a:xfrm>
            <a:off x="8678816" y="2535743"/>
            <a:ext cx="692944" cy="692150"/>
          </a:xfrm>
          <a:solidFill>
            <a:srgbClr val="ECECEC"/>
          </a:solidFill>
        </p:spPr>
        <p:txBody>
          <a:bodyPr anchor="ctr">
            <a:normAutofit/>
          </a:bodyPr>
          <a:lstStyle>
            <a:lvl1pPr marL="0" indent="0" algn="ctr">
              <a:buNone/>
              <a:defRPr sz="700">
                <a:solidFill>
                  <a:schemeClr val="tx2"/>
                </a:solidFill>
                <a:latin typeface="Barlow" pitchFamily="2" charset="77"/>
              </a:defRPr>
            </a:lvl1pPr>
          </a:lstStyle>
          <a:p>
            <a:endParaRPr lang="en-FI"/>
          </a:p>
        </p:txBody>
      </p:sp>
      <p:sp>
        <p:nvSpPr>
          <p:cNvPr id="23" name="Picture Placeholder 2">
            <a:extLst>
              <a:ext uri="{FF2B5EF4-FFF2-40B4-BE49-F238E27FC236}">
                <a16:creationId xmlns:a16="http://schemas.microsoft.com/office/drawing/2014/main" id="{AABF648A-DE94-1B4D-B714-1DEF5CD7A6CF}"/>
              </a:ext>
            </a:extLst>
          </p:cNvPr>
          <p:cNvSpPr>
            <a:spLocks noGrp="1"/>
          </p:cNvSpPr>
          <p:nvPr>
            <p:ph type="pic" sz="quarter" idx="28"/>
          </p:nvPr>
        </p:nvSpPr>
        <p:spPr>
          <a:xfrm>
            <a:off x="9770247" y="2535743"/>
            <a:ext cx="692944" cy="692150"/>
          </a:xfrm>
          <a:solidFill>
            <a:srgbClr val="ECECEC"/>
          </a:solidFill>
        </p:spPr>
        <p:txBody>
          <a:bodyPr anchor="ctr">
            <a:normAutofit/>
          </a:bodyPr>
          <a:lstStyle>
            <a:lvl1pPr marL="0" indent="0" algn="ctr">
              <a:buNone/>
              <a:defRPr sz="700">
                <a:solidFill>
                  <a:schemeClr val="tx2"/>
                </a:solidFill>
                <a:latin typeface="Barlow" pitchFamily="2" charset="77"/>
              </a:defRPr>
            </a:lvl1pPr>
          </a:lstStyle>
          <a:p>
            <a:endParaRPr lang="en-FI"/>
          </a:p>
        </p:txBody>
      </p:sp>
      <p:sp>
        <p:nvSpPr>
          <p:cNvPr id="24" name="Picture Placeholder 2">
            <a:extLst>
              <a:ext uri="{FF2B5EF4-FFF2-40B4-BE49-F238E27FC236}">
                <a16:creationId xmlns:a16="http://schemas.microsoft.com/office/drawing/2014/main" id="{40F46BBC-CE3D-FD4A-9DD0-E973482F39B5}"/>
              </a:ext>
            </a:extLst>
          </p:cNvPr>
          <p:cNvSpPr>
            <a:spLocks noGrp="1"/>
          </p:cNvSpPr>
          <p:nvPr>
            <p:ph type="pic" sz="quarter" idx="29"/>
          </p:nvPr>
        </p:nvSpPr>
        <p:spPr>
          <a:xfrm>
            <a:off x="10861676" y="2535743"/>
            <a:ext cx="692944" cy="692150"/>
          </a:xfrm>
          <a:solidFill>
            <a:srgbClr val="ECECEC"/>
          </a:solidFill>
        </p:spPr>
        <p:txBody>
          <a:bodyPr anchor="ctr">
            <a:normAutofit/>
          </a:bodyPr>
          <a:lstStyle>
            <a:lvl1pPr marL="0" indent="0" algn="ctr">
              <a:buNone/>
              <a:defRPr sz="700">
                <a:solidFill>
                  <a:schemeClr val="tx2"/>
                </a:solidFill>
                <a:latin typeface="Barlow" pitchFamily="2" charset="77"/>
              </a:defRPr>
            </a:lvl1pPr>
          </a:lstStyle>
          <a:p>
            <a:endParaRPr lang="en-FI"/>
          </a:p>
        </p:txBody>
      </p:sp>
      <p:sp>
        <p:nvSpPr>
          <p:cNvPr id="25" name="Picture Placeholder 2">
            <a:extLst>
              <a:ext uri="{FF2B5EF4-FFF2-40B4-BE49-F238E27FC236}">
                <a16:creationId xmlns:a16="http://schemas.microsoft.com/office/drawing/2014/main" id="{6B9FD7BD-14BD-C647-9E2A-8B5A542B4618}"/>
              </a:ext>
            </a:extLst>
          </p:cNvPr>
          <p:cNvSpPr>
            <a:spLocks noGrp="1"/>
          </p:cNvSpPr>
          <p:nvPr>
            <p:ph type="pic" sz="quarter" idx="30"/>
          </p:nvPr>
        </p:nvSpPr>
        <p:spPr>
          <a:xfrm>
            <a:off x="1038803" y="3533269"/>
            <a:ext cx="692944" cy="692150"/>
          </a:xfrm>
          <a:solidFill>
            <a:srgbClr val="ECECEC"/>
          </a:solidFill>
        </p:spPr>
        <p:txBody>
          <a:bodyPr anchor="ctr">
            <a:normAutofit/>
          </a:bodyPr>
          <a:lstStyle>
            <a:lvl1pPr marL="0" indent="0" algn="ctr">
              <a:buNone/>
              <a:defRPr sz="700">
                <a:solidFill>
                  <a:schemeClr val="tx2"/>
                </a:solidFill>
                <a:latin typeface="Barlow" pitchFamily="2" charset="77"/>
              </a:defRPr>
            </a:lvl1pPr>
          </a:lstStyle>
          <a:p>
            <a:endParaRPr lang="en-FI"/>
          </a:p>
        </p:txBody>
      </p:sp>
      <p:sp>
        <p:nvSpPr>
          <p:cNvPr id="26" name="Picture Placeholder 2">
            <a:extLst>
              <a:ext uri="{FF2B5EF4-FFF2-40B4-BE49-F238E27FC236}">
                <a16:creationId xmlns:a16="http://schemas.microsoft.com/office/drawing/2014/main" id="{5FE89C44-FA74-7F43-A016-EA8D7BC3F619}"/>
              </a:ext>
            </a:extLst>
          </p:cNvPr>
          <p:cNvSpPr>
            <a:spLocks noGrp="1"/>
          </p:cNvSpPr>
          <p:nvPr>
            <p:ph type="pic" sz="quarter" idx="31"/>
          </p:nvPr>
        </p:nvSpPr>
        <p:spPr>
          <a:xfrm>
            <a:off x="2130233" y="3533269"/>
            <a:ext cx="692944" cy="692150"/>
          </a:xfrm>
          <a:solidFill>
            <a:srgbClr val="ECECEC"/>
          </a:solidFill>
        </p:spPr>
        <p:txBody>
          <a:bodyPr anchor="ctr">
            <a:normAutofit/>
          </a:bodyPr>
          <a:lstStyle>
            <a:lvl1pPr marL="0" indent="0" algn="ctr">
              <a:buNone/>
              <a:defRPr sz="700">
                <a:solidFill>
                  <a:schemeClr val="tx2"/>
                </a:solidFill>
                <a:latin typeface="Barlow" pitchFamily="2" charset="77"/>
              </a:defRPr>
            </a:lvl1pPr>
          </a:lstStyle>
          <a:p>
            <a:endParaRPr lang="en-FI"/>
          </a:p>
        </p:txBody>
      </p:sp>
      <p:sp>
        <p:nvSpPr>
          <p:cNvPr id="27" name="Picture Placeholder 2">
            <a:extLst>
              <a:ext uri="{FF2B5EF4-FFF2-40B4-BE49-F238E27FC236}">
                <a16:creationId xmlns:a16="http://schemas.microsoft.com/office/drawing/2014/main" id="{065E179A-9EA3-8A4E-90C1-E95B7E3CF7E1}"/>
              </a:ext>
            </a:extLst>
          </p:cNvPr>
          <p:cNvSpPr>
            <a:spLocks noGrp="1"/>
          </p:cNvSpPr>
          <p:nvPr>
            <p:ph type="pic" sz="quarter" idx="32"/>
          </p:nvPr>
        </p:nvSpPr>
        <p:spPr>
          <a:xfrm>
            <a:off x="3221664" y="3533269"/>
            <a:ext cx="692944" cy="692150"/>
          </a:xfrm>
          <a:solidFill>
            <a:srgbClr val="ECECEC"/>
          </a:solidFill>
        </p:spPr>
        <p:txBody>
          <a:bodyPr anchor="ctr">
            <a:normAutofit/>
          </a:bodyPr>
          <a:lstStyle>
            <a:lvl1pPr marL="0" indent="0" algn="ctr">
              <a:buNone/>
              <a:defRPr sz="700">
                <a:solidFill>
                  <a:schemeClr val="tx2"/>
                </a:solidFill>
                <a:latin typeface="Barlow" pitchFamily="2" charset="77"/>
              </a:defRPr>
            </a:lvl1pPr>
          </a:lstStyle>
          <a:p>
            <a:endParaRPr lang="en-FI"/>
          </a:p>
        </p:txBody>
      </p:sp>
      <p:sp>
        <p:nvSpPr>
          <p:cNvPr id="28" name="Picture Placeholder 2">
            <a:extLst>
              <a:ext uri="{FF2B5EF4-FFF2-40B4-BE49-F238E27FC236}">
                <a16:creationId xmlns:a16="http://schemas.microsoft.com/office/drawing/2014/main" id="{2A7D512E-3208-AD44-96A0-C4605E88B61F}"/>
              </a:ext>
            </a:extLst>
          </p:cNvPr>
          <p:cNvSpPr>
            <a:spLocks noGrp="1"/>
          </p:cNvSpPr>
          <p:nvPr>
            <p:ph type="pic" sz="quarter" idx="33"/>
          </p:nvPr>
        </p:nvSpPr>
        <p:spPr>
          <a:xfrm>
            <a:off x="4313094" y="3533269"/>
            <a:ext cx="692944" cy="692150"/>
          </a:xfrm>
          <a:solidFill>
            <a:srgbClr val="ECECEC"/>
          </a:solidFill>
        </p:spPr>
        <p:txBody>
          <a:bodyPr anchor="ctr">
            <a:normAutofit/>
          </a:bodyPr>
          <a:lstStyle>
            <a:lvl1pPr marL="0" indent="0" algn="ctr">
              <a:buNone/>
              <a:defRPr sz="700">
                <a:solidFill>
                  <a:schemeClr val="tx2"/>
                </a:solidFill>
                <a:latin typeface="Barlow" pitchFamily="2" charset="77"/>
              </a:defRPr>
            </a:lvl1pPr>
          </a:lstStyle>
          <a:p>
            <a:endParaRPr lang="en-FI"/>
          </a:p>
        </p:txBody>
      </p:sp>
      <p:sp>
        <p:nvSpPr>
          <p:cNvPr id="29" name="Picture Placeholder 2">
            <a:extLst>
              <a:ext uri="{FF2B5EF4-FFF2-40B4-BE49-F238E27FC236}">
                <a16:creationId xmlns:a16="http://schemas.microsoft.com/office/drawing/2014/main" id="{A31690F5-7966-2A42-B6ED-9B834A09253D}"/>
              </a:ext>
            </a:extLst>
          </p:cNvPr>
          <p:cNvSpPr>
            <a:spLocks noGrp="1"/>
          </p:cNvSpPr>
          <p:nvPr>
            <p:ph type="pic" sz="quarter" idx="34"/>
          </p:nvPr>
        </p:nvSpPr>
        <p:spPr>
          <a:xfrm>
            <a:off x="5404525" y="3533269"/>
            <a:ext cx="692944" cy="692150"/>
          </a:xfrm>
          <a:solidFill>
            <a:srgbClr val="ECECEC"/>
          </a:solidFill>
        </p:spPr>
        <p:txBody>
          <a:bodyPr anchor="ctr">
            <a:normAutofit/>
          </a:bodyPr>
          <a:lstStyle>
            <a:lvl1pPr marL="0" indent="0" algn="ctr">
              <a:buNone/>
              <a:defRPr sz="700">
                <a:solidFill>
                  <a:schemeClr val="tx2"/>
                </a:solidFill>
                <a:latin typeface="Barlow" pitchFamily="2" charset="77"/>
              </a:defRPr>
            </a:lvl1pPr>
          </a:lstStyle>
          <a:p>
            <a:endParaRPr lang="en-FI"/>
          </a:p>
        </p:txBody>
      </p:sp>
      <p:sp>
        <p:nvSpPr>
          <p:cNvPr id="30" name="Picture Placeholder 2">
            <a:extLst>
              <a:ext uri="{FF2B5EF4-FFF2-40B4-BE49-F238E27FC236}">
                <a16:creationId xmlns:a16="http://schemas.microsoft.com/office/drawing/2014/main" id="{820B2DE4-F68C-3742-A1A4-F3D51E3B9B39}"/>
              </a:ext>
            </a:extLst>
          </p:cNvPr>
          <p:cNvSpPr>
            <a:spLocks noGrp="1"/>
          </p:cNvSpPr>
          <p:nvPr>
            <p:ph type="pic" sz="quarter" idx="35"/>
          </p:nvPr>
        </p:nvSpPr>
        <p:spPr>
          <a:xfrm>
            <a:off x="6495955" y="3533269"/>
            <a:ext cx="692944" cy="692150"/>
          </a:xfrm>
          <a:solidFill>
            <a:srgbClr val="ECECEC"/>
          </a:solidFill>
        </p:spPr>
        <p:txBody>
          <a:bodyPr anchor="ctr">
            <a:normAutofit/>
          </a:bodyPr>
          <a:lstStyle>
            <a:lvl1pPr marL="0" indent="0" algn="ctr">
              <a:buNone/>
              <a:defRPr sz="700">
                <a:solidFill>
                  <a:schemeClr val="tx2"/>
                </a:solidFill>
                <a:latin typeface="Barlow" pitchFamily="2" charset="77"/>
              </a:defRPr>
            </a:lvl1pPr>
          </a:lstStyle>
          <a:p>
            <a:endParaRPr lang="en-FI"/>
          </a:p>
        </p:txBody>
      </p:sp>
      <p:sp>
        <p:nvSpPr>
          <p:cNvPr id="31" name="Picture Placeholder 2">
            <a:extLst>
              <a:ext uri="{FF2B5EF4-FFF2-40B4-BE49-F238E27FC236}">
                <a16:creationId xmlns:a16="http://schemas.microsoft.com/office/drawing/2014/main" id="{54FD07A9-10CA-C040-94D1-D39BBA395FDC}"/>
              </a:ext>
            </a:extLst>
          </p:cNvPr>
          <p:cNvSpPr>
            <a:spLocks noGrp="1"/>
          </p:cNvSpPr>
          <p:nvPr>
            <p:ph type="pic" sz="quarter" idx="36"/>
          </p:nvPr>
        </p:nvSpPr>
        <p:spPr>
          <a:xfrm>
            <a:off x="7587386" y="3533269"/>
            <a:ext cx="692944" cy="692150"/>
          </a:xfrm>
          <a:solidFill>
            <a:srgbClr val="ECECEC"/>
          </a:solidFill>
        </p:spPr>
        <p:txBody>
          <a:bodyPr anchor="ctr">
            <a:normAutofit/>
          </a:bodyPr>
          <a:lstStyle>
            <a:lvl1pPr marL="0" indent="0" algn="ctr">
              <a:buNone/>
              <a:defRPr sz="700">
                <a:solidFill>
                  <a:schemeClr val="tx2"/>
                </a:solidFill>
                <a:latin typeface="Barlow" pitchFamily="2" charset="77"/>
              </a:defRPr>
            </a:lvl1pPr>
          </a:lstStyle>
          <a:p>
            <a:endParaRPr lang="en-FI"/>
          </a:p>
        </p:txBody>
      </p:sp>
      <p:sp>
        <p:nvSpPr>
          <p:cNvPr id="32" name="Picture Placeholder 2">
            <a:extLst>
              <a:ext uri="{FF2B5EF4-FFF2-40B4-BE49-F238E27FC236}">
                <a16:creationId xmlns:a16="http://schemas.microsoft.com/office/drawing/2014/main" id="{D303D480-E3A4-0749-BCDC-D207000664EE}"/>
              </a:ext>
            </a:extLst>
          </p:cNvPr>
          <p:cNvSpPr>
            <a:spLocks noGrp="1"/>
          </p:cNvSpPr>
          <p:nvPr>
            <p:ph type="pic" sz="quarter" idx="37"/>
          </p:nvPr>
        </p:nvSpPr>
        <p:spPr>
          <a:xfrm>
            <a:off x="8678816" y="3533269"/>
            <a:ext cx="692944" cy="692150"/>
          </a:xfrm>
          <a:solidFill>
            <a:srgbClr val="ECECEC"/>
          </a:solidFill>
        </p:spPr>
        <p:txBody>
          <a:bodyPr anchor="ctr">
            <a:normAutofit/>
          </a:bodyPr>
          <a:lstStyle>
            <a:lvl1pPr marL="0" indent="0" algn="ctr">
              <a:buNone/>
              <a:defRPr sz="700">
                <a:solidFill>
                  <a:schemeClr val="tx2"/>
                </a:solidFill>
                <a:latin typeface="Barlow" pitchFamily="2" charset="77"/>
              </a:defRPr>
            </a:lvl1pPr>
          </a:lstStyle>
          <a:p>
            <a:endParaRPr lang="en-FI"/>
          </a:p>
        </p:txBody>
      </p:sp>
      <p:sp>
        <p:nvSpPr>
          <p:cNvPr id="33" name="Picture Placeholder 2">
            <a:extLst>
              <a:ext uri="{FF2B5EF4-FFF2-40B4-BE49-F238E27FC236}">
                <a16:creationId xmlns:a16="http://schemas.microsoft.com/office/drawing/2014/main" id="{6E4FE63C-ACA9-C84D-B806-2314D1F5568D}"/>
              </a:ext>
            </a:extLst>
          </p:cNvPr>
          <p:cNvSpPr>
            <a:spLocks noGrp="1"/>
          </p:cNvSpPr>
          <p:nvPr>
            <p:ph type="pic" sz="quarter" idx="38"/>
          </p:nvPr>
        </p:nvSpPr>
        <p:spPr>
          <a:xfrm>
            <a:off x="9770247" y="3533269"/>
            <a:ext cx="692944" cy="692150"/>
          </a:xfrm>
          <a:solidFill>
            <a:srgbClr val="ECECEC"/>
          </a:solidFill>
        </p:spPr>
        <p:txBody>
          <a:bodyPr anchor="ctr">
            <a:normAutofit/>
          </a:bodyPr>
          <a:lstStyle>
            <a:lvl1pPr marL="0" indent="0" algn="ctr">
              <a:buNone/>
              <a:defRPr sz="700">
                <a:solidFill>
                  <a:schemeClr val="tx2"/>
                </a:solidFill>
                <a:latin typeface="Barlow" pitchFamily="2" charset="77"/>
              </a:defRPr>
            </a:lvl1pPr>
          </a:lstStyle>
          <a:p>
            <a:endParaRPr lang="en-FI"/>
          </a:p>
        </p:txBody>
      </p:sp>
      <p:sp>
        <p:nvSpPr>
          <p:cNvPr id="34" name="Picture Placeholder 2">
            <a:extLst>
              <a:ext uri="{FF2B5EF4-FFF2-40B4-BE49-F238E27FC236}">
                <a16:creationId xmlns:a16="http://schemas.microsoft.com/office/drawing/2014/main" id="{377EF0EB-CAB6-8449-BCE5-0E8273BFE1E9}"/>
              </a:ext>
            </a:extLst>
          </p:cNvPr>
          <p:cNvSpPr>
            <a:spLocks noGrp="1"/>
          </p:cNvSpPr>
          <p:nvPr>
            <p:ph type="pic" sz="quarter" idx="39"/>
          </p:nvPr>
        </p:nvSpPr>
        <p:spPr>
          <a:xfrm>
            <a:off x="10861676" y="3533269"/>
            <a:ext cx="692944" cy="692150"/>
          </a:xfrm>
          <a:solidFill>
            <a:srgbClr val="ECECEC"/>
          </a:solidFill>
        </p:spPr>
        <p:txBody>
          <a:bodyPr anchor="ctr">
            <a:normAutofit/>
          </a:bodyPr>
          <a:lstStyle>
            <a:lvl1pPr marL="0" indent="0" algn="ctr">
              <a:buNone/>
              <a:defRPr sz="700">
                <a:solidFill>
                  <a:schemeClr val="tx2"/>
                </a:solidFill>
                <a:latin typeface="Barlow" pitchFamily="2" charset="77"/>
              </a:defRPr>
            </a:lvl1pPr>
          </a:lstStyle>
          <a:p>
            <a:endParaRPr lang="en-FI"/>
          </a:p>
        </p:txBody>
      </p:sp>
    </p:spTree>
    <p:extLst>
      <p:ext uri="{BB962C8B-B14F-4D97-AF65-F5344CB8AC3E}">
        <p14:creationId xmlns:p14="http://schemas.microsoft.com/office/powerpoint/2010/main" val="489775341"/>
      </p:ext>
    </p:extLst>
  </p:cSld>
  <p:clrMapOvr>
    <a:masterClrMapping/>
  </p:clrMapOvr>
  <p:transition spd="med"/>
</p:sldLayout>
</file>

<file path=ppt/slideLayouts/slideLayout2.xml><?xml version="1.0" encoding="utf-8"?>
<p:sldLayout xmlns:a="http://schemas.openxmlformats.org/drawingml/2006/main" xmlns:r="http://schemas.openxmlformats.org/officeDocument/2006/relationships" xmlns:p="http://schemas.openxmlformats.org/presentationml/2006/main" type="blank">
  <p:cSld name="3_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1407986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13" name="Object 12" hidden="1"/>
                      <p:cNvPicPr/>
                      <p:nvPr/>
                    </p:nvPicPr>
                    <p:blipFill>
                      <a:blip r:embed="rId4"/>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194697621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8_标题幻灯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3110912290"/>
      </p:ext>
    </p:extLst>
  </p:cSld>
  <p:clrMapOvr>
    <a:masterClrMapping/>
  </p:clrMapOvr>
  <p:extLst>
    <p:ext uri="{DCECCB84-F9BA-43D5-87BE-67443E8EF086}">
      <p15:sldGuideLst xmlns:p15="http://schemas.microsoft.com/office/powerpoint/2012/main">
        <p15:guide id="1" orient="horz" pos="2160">
          <p15:clr>
            <a:srgbClr val="F26B43"/>
          </p15:clr>
        </p15:guide>
        <p15:guide id="2" pos="3840">
          <p15:clr>
            <a:srgbClr val="F26B43"/>
          </p15:clr>
        </p15:guide>
        <p15:guide id="3" pos="211">
          <p15:clr>
            <a:srgbClr val="F26B43"/>
          </p15:clr>
        </p15:guide>
        <p15:guide id="4" pos="7469">
          <p15:clr>
            <a:srgbClr val="F26B43"/>
          </p15:clr>
        </p15:guide>
        <p15:guide id="5" orient="horz" pos="346">
          <p15:clr>
            <a:srgbClr val="F26B43"/>
          </p15:clr>
        </p15:guide>
        <p15:guide id="6" orient="horz" pos="3974">
          <p15:clr>
            <a:srgbClr val="F26B43"/>
          </p15:clr>
        </p15:guide>
        <p15:guide id="7" orient="horz" pos="414">
          <p15:clr>
            <a:srgbClr val="F26B43"/>
          </p15:clr>
        </p15:guide>
        <p15:guide id="8" orient="horz" pos="3906">
          <p15:clr>
            <a:srgbClr val="F26B43"/>
          </p15:clr>
        </p15:guide>
        <p15:guide id="9" pos="279">
          <p15:clr>
            <a:srgbClr val="F26B43"/>
          </p15:clr>
        </p15:guide>
        <p15:guide id="10" pos="7401">
          <p15:clr>
            <a:srgbClr val="F26B43"/>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type="titleOnly">
  <p:cSld name="仅标题">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55686953-0345-4E37-8C80-846781373451}"/>
              </a:ext>
            </a:extLst>
          </p:cNvPr>
          <p:cNvSpPr>
            <a:spLocks noGrp="1"/>
          </p:cNvSpPr>
          <p:nvPr>
            <p:ph type="title"/>
          </p:nvPr>
        </p:nvSpPr>
        <p:spPr/>
        <p:txBody>
          <a:bodyPr/>
          <a:lstStyle/>
          <a:p>
            <a:r>
              <a:rPr lang="zh-CN" altLang="en-US"/>
              <a:t>单击此处编辑母版标题样式</a:t>
            </a:r>
          </a:p>
        </p:txBody>
      </p:sp>
      <p:sp>
        <p:nvSpPr>
          <p:cNvPr id="3" name="日期占位符 2">
            <a:extLst>
              <a:ext uri="{FF2B5EF4-FFF2-40B4-BE49-F238E27FC236}">
                <a16:creationId xmlns:a16="http://schemas.microsoft.com/office/drawing/2014/main" id="{F39F1DC7-61EE-4B46-AECA-0BD72F100705}"/>
              </a:ext>
            </a:extLst>
          </p:cNvPr>
          <p:cNvSpPr>
            <a:spLocks noGrp="1"/>
          </p:cNvSpPr>
          <p:nvPr>
            <p:ph type="dt" sz="half" idx="10"/>
          </p:nvPr>
        </p:nvSpPr>
        <p:spPr>
          <a:xfrm>
            <a:off x="660400" y="6235700"/>
            <a:ext cx="2832652" cy="237171"/>
          </a:xfrm>
        </p:spPr>
        <p:txBody>
          <a:bodyPr anchor="ctr"/>
          <a:lstStyle>
            <a:lvl1pPr>
              <a:defRPr sz="1050"/>
            </a:lvl1pPr>
          </a:lstStyle>
          <a:p>
            <a:fld id="{5D39EDE8-6621-41AF-AEA2-BA2A7B2C9BE1}" type="datetime1">
              <a:rPr lang="zh-CN" altLang="en-US" smtClean="0"/>
              <a:pPr/>
              <a:t>2023/3/18</a:t>
            </a:fld>
            <a:endParaRPr lang="zh-CN" altLang="en-US"/>
          </a:p>
        </p:txBody>
      </p:sp>
      <p:sp>
        <p:nvSpPr>
          <p:cNvPr id="4" name="页脚占位符 3">
            <a:extLst>
              <a:ext uri="{FF2B5EF4-FFF2-40B4-BE49-F238E27FC236}">
                <a16:creationId xmlns:a16="http://schemas.microsoft.com/office/drawing/2014/main" id="{C123769C-5D5E-4057-8280-9E417B6B1D4C}"/>
              </a:ext>
            </a:extLst>
          </p:cNvPr>
          <p:cNvSpPr>
            <a:spLocks noGrp="1"/>
          </p:cNvSpPr>
          <p:nvPr>
            <p:ph type="ftr" sz="quarter" idx="11"/>
          </p:nvPr>
        </p:nvSpPr>
        <p:spPr>
          <a:xfrm>
            <a:off x="3965161" y="6235700"/>
            <a:ext cx="4248978" cy="237171"/>
          </a:xfrm>
        </p:spPr>
        <p:txBody>
          <a:bodyPr anchor="ctr"/>
          <a:lstStyle>
            <a:lvl1pPr>
              <a:defRPr sz="1050"/>
            </a:lvl1pPr>
          </a:lstStyle>
          <a:p>
            <a:r>
              <a:rPr lang="zh-CN" altLang="en-US" dirty="0"/>
              <a:t>秋叶设计</a:t>
            </a:r>
            <a:r>
              <a:rPr lang="en-US" altLang="zh-CN" dirty="0"/>
              <a:t>——</a:t>
            </a:r>
            <a:r>
              <a:rPr lang="zh-CN" altLang="en-US" dirty="0"/>
              <a:t>让设计更简单！</a:t>
            </a:r>
          </a:p>
        </p:txBody>
      </p:sp>
      <p:sp>
        <p:nvSpPr>
          <p:cNvPr id="5" name="灯片编号占位符 4">
            <a:extLst>
              <a:ext uri="{FF2B5EF4-FFF2-40B4-BE49-F238E27FC236}">
                <a16:creationId xmlns:a16="http://schemas.microsoft.com/office/drawing/2014/main" id="{F155A00E-E874-4015-BD1D-E848A0807D07}"/>
              </a:ext>
            </a:extLst>
          </p:cNvPr>
          <p:cNvSpPr>
            <a:spLocks noGrp="1"/>
          </p:cNvSpPr>
          <p:nvPr>
            <p:ph type="sldNum" sz="quarter" idx="12"/>
          </p:nvPr>
        </p:nvSpPr>
        <p:spPr>
          <a:xfrm>
            <a:off x="8686248" y="6235700"/>
            <a:ext cx="2832652" cy="237171"/>
          </a:xfrm>
        </p:spPr>
        <p:txBody>
          <a:bodyPr anchor="ctr"/>
          <a:lstStyle>
            <a:lvl1pPr>
              <a:defRPr sz="1050"/>
            </a:lvl1pPr>
          </a:lstStyle>
          <a:p>
            <a:fld id="{4A2702D6-7180-491C-910B-B9B8CEB6939C}" type="slidenum">
              <a:rPr lang="zh-CN" altLang="en-US" smtClean="0"/>
              <a:pPr/>
              <a:t>‹#›</a:t>
            </a:fld>
            <a:endParaRPr lang="zh-CN" altLang="en-US"/>
          </a:p>
        </p:txBody>
      </p:sp>
    </p:spTree>
    <p:extLst>
      <p:ext uri="{BB962C8B-B14F-4D97-AF65-F5344CB8AC3E}">
        <p14:creationId xmlns:p14="http://schemas.microsoft.com/office/powerpoint/2010/main" val="336404946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9_标题幻灯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528015455"/>
      </p:ext>
    </p:extLst>
  </p:cSld>
  <p:clrMapOvr>
    <a:masterClrMapping/>
  </p:clrMapOvr>
  <p:extLst>
    <p:ext uri="{DCECCB84-F9BA-43D5-87BE-67443E8EF086}">
      <p15:sldGuideLst xmlns:p15="http://schemas.microsoft.com/office/powerpoint/2012/main">
        <p15:guide id="1" orient="horz" pos="686">
          <p15:clr>
            <a:srgbClr val="FBAE40"/>
          </p15:clr>
        </p15:guide>
        <p15:guide id="2" orient="horz" pos="618">
          <p15:clr>
            <a:srgbClr val="FBAE40"/>
          </p15:clr>
        </p15:guide>
        <p15:guide id="3" orient="horz" pos="3838">
          <p15:clr>
            <a:srgbClr val="FBAE40"/>
          </p15:clr>
        </p15:guide>
        <p15:guide id="4" orient="horz" pos="3906">
          <p15:clr>
            <a:srgbClr val="FBAE40"/>
          </p15:clr>
        </p15:guide>
        <p15:guide id="5" pos="415">
          <p15:clr>
            <a:srgbClr val="FBAE40"/>
          </p15:clr>
        </p15:guide>
        <p15:guide id="6" pos="7265">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0_标题幻灯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379192330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1_标题幻灯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127977085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2_标题幻灯片">
    <p:bg>
      <p:bgPr>
        <a:gradFill>
          <a:gsLst>
            <a:gs pos="0">
              <a:srgbClr val="F5F9FC"/>
            </a:gs>
            <a:gs pos="100000">
              <a:srgbClr val="DEE8F4"/>
            </a:gs>
          </a:gsLst>
          <a:lin ang="5400000" scaled="0"/>
        </a:gra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70123597"/>
      </p:ext>
    </p:extLst>
  </p:cSld>
  <p:clrMapOvr>
    <a:masterClrMapping/>
  </p:clrMapOvr>
  <p:extLst>
    <p:ext uri="{DCECCB84-F9BA-43D5-87BE-67443E8EF086}">
      <p15:sldGuideLst xmlns:p15="http://schemas.microsoft.com/office/powerpoint/2012/main">
        <p15:guide id="1" orient="horz" pos="346">
          <p15:clr>
            <a:srgbClr val="FBAE40"/>
          </p15:clr>
        </p15:guide>
        <p15:guide id="2" pos="438">
          <p15:clr>
            <a:srgbClr val="FBAE40"/>
          </p15:clr>
        </p15:guide>
        <p15:guide id="3" pos="665">
          <p15:clr>
            <a:srgbClr val="FBAE40"/>
          </p15:clr>
        </p15:guide>
        <p15:guide id="4" pos="7242">
          <p15:clr>
            <a:srgbClr val="FBAE40"/>
          </p15:clr>
        </p15:guide>
        <p15:guide id="5" pos="7015">
          <p15:clr>
            <a:srgbClr val="FBAE40"/>
          </p15:clr>
        </p15:guide>
        <p15:guide id="6" orient="horz" pos="459">
          <p15:clr>
            <a:srgbClr val="FBAE40"/>
          </p15:clr>
        </p15:guide>
        <p15:guide id="7" orient="horz" pos="3974">
          <p15:clr>
            <a:srgbClr val="FBAE40"/>
          </p15:clr>
        </p15:guide>
        <p15:guide id="8" orient="horz" pos="3861">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13_标题幻灯片">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1661655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userDrawn="1">
  <p:cSld name="2_标题和内容">
    <p:spTree>
      <p:nvGrpSpPr>
        <p:cNvPr id="1" name=""/>
        <p:cNvGrpSpPr/>
        <p:nvPr/>
      </p:nvGrpSpPr>
      <p:grpSpPr>
        <a:xfrm>
          <a:off x="0" y="0"/>
          <a:ext cx="0" cy="0"/>
          <a:chOff x="0" y="0"/>
          <a:chExt cx="0" cy="0"/>
        </a:xfrm>
      </p:grpSpPr>
    </p:spTree>
    <p:extLst>
      <p:ext uri="{BB962C8B-B14F-4D97-AF65-F5344CB8AC3E}">
        <p14:creationId xmlns:p14="http://schemas.microsoft.com/office/powerpoint/2010/main" val="3631973836"/>
      </p:ext>
    </p:extLst>
  </p:cSld>
  <p:clrMapOvr>
    <a:masterClrMapping/>
  </p:clrMapOvr>
  <mc:AlternateContent xmlns:mc="http://schemas.openxmlformats.org/markup-compatibility/2006" xmlns:p14="http://schemas.microsoft.com/office/powerpoint/2010/main">
    <mc:Choice Requires="p14">
      <p:transition spd="slow" p14:dur="2000" advTm="0"/>
    </mc:Choice>
    <mc:Fallback xmlns="">
      <p:transition spd="slow" advTm="0"/>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4_标题幻灯片">
    <p:spTree>
      <p:nvGrpSpPr>
        <p:cNvPr id="1" name=""/>
        <p:cNvGrpSpPr/>
        <p:nvPr/>
      </p:nvGrpSpPr>
      <p:grpSpPr>
        <a:xfrm>
          <a:off x="0" y="0"/>
          <a:ext cx="0" cy="0"/>
          <a:chOff x="0" y="0"/>
          <a:chExt cx="0" cy="0"/>
        </a:xfrm>
      </p:grpSpPr>
      <p:sp>
        <p:nvSpPr>
          <p:cNvPr id="2" name="矩形 1">
            <a:extLst>
              <a:ext uri="{FF2B5EF4-FFF2-40B4-BE49-F238E27FC236}">
                <a16:creationId xmlns:a16="http://schemas.microsoft.com/office/drawing/2014/main" id="{1A1885AF-6232-4517-9BEE-5B84F79AD756}"/>
              </a:ext>
            </a:extLst>
          </p:cNvPr>
          <p:cNvSpPr/>
          <p:nvPr userDrawn="1"/>
        </p:nvSpPr>
        <p:spPr>
          <a:xfrm>
            <a:off x="0" y="6752974"/>
            <a:ext cx="12192000" cy="134571"/>
          </a:xfrm>
          <a:prstGeom prst="rect">
            <a:avLst/>
          </a:prstGeom>
          <a:solidFill>
            <a:srgbClr val="1622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思源黑体" panose="020B0500000000000000" pitchFamily="34" charset="-122"/>
              <a:ea typeface="思源黑体" panose="020B0500000000000000" pitchFamily="34" charset="-122"/>
              <a:sym typeface="思源黑体" panose="020B0500000000000000" pitchFamily="34" charset="-122"/>
            </a:endParaRPr>
          </a:p>
        </p:txBody>
      </p:sp>
    </p:spTree>
    <p:extLst>
      <p:ext uri="{BB962C8B-B14F-4D97-AF65-F5344CB8AC3E}">
        <p14:creationId xmlns:p14="http://schemas.microsoft.com/office/powerpoint/2010/main" val="424816923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blank" preserve="1">
  <p:cSld name="4_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103201704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标题幻灯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3008955545"/>
      </p:ext>
    </p:extLst>
  </p:cSld>
  <p:clrMapOvr>
    <a:masterClrMapping/>
  </p:clrMapOvr>
  <p:extLst>
    <p:ext uri="{DCECCB84-F9BA-43D5-87BE-67443E8EF086}">
      <p15:sldGuideLst xmlns:p15="http://schemas.microsoft.com/office/powerpoint/2012/main">
        <p15:guide id="1" orient="horz" pos="2160">
          <p15:clr>
            <a:srgbClr val="F26B43"/>
          </p15:clr>
        </p15:guide>
        <p15:guide id="2" pos="3840">
          <p15:clr>
            <a:srgbClr val="F26B43"/>
          </p15:clr>
        </p15:guide>
        <p15:guide id="3" pos="211">
          <p15:clr>
            <a:srgbClr val="F26B43"/>
          </p15:clr>
        </p15:guide>
        <p15:guide id="4" pos="7469">
          <p15:clr>
            <a:srgbClr val="F26B43"/>
          </p15:clr>
        </p15:guide>
        <p15:guide id="5" orient="horz" pos="346">
          <p15:clr>
            <a:srgbClr val="F26B43"/>
          </p15:clr>
        </p15:guide>
        <p15:guide id="6" orient="horz" pos="3974">
          <p15:clr>
            <a:srgbClr val="F26B43"/>
          </p15:clr>
        </p15:guide>
        <p15:guide id="7" orient="horz" pos="414">
          <p15:clr>
            <a:srgbClr val="F26B43"/>
          </p15:clr>
        </p15:guide>
        <p15:guide id="8" orient="horz" pos="3906">
          <p15:clr>
            <a:srgbClr val="F26B43"/>
          </p15:clr>
        </p15:guide>
        <p15:guide id="9" pos="279">
          <p15:clr>
            <a:srgbClr val="F26B43"/>
          </p15:clr>
        </p15:guide>
        <p15:guide id="10" pos="7401">
          <p15:clr>
            <a:srgbClr val="F26B43"/>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_标题幻灯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1817088991"/>
      </p:ext>
    </p:extLst>
  </p:cSld>
  <p:clrMapOvr>
    <a:masterClrMapping/>
  </p:clrMapOvr>
  <p:extLst>
    <p:ext uri="{DCECCB84-F9BA-43D5-87BE-67443E8EF086}">
      <p15:sldGuideLst xmlns:p15="http://schemas.microsoft.com/office/powerpoint/2012/main">
        <p15:guide id="1" orient="horz" pos="2160">
          <p15:clr>
            <a:srgbClr val="F26B43"/>
          </p15:clr>
        </p15:guide>
        <p15:guide id="2" pos="3840">
          <p15:clr>
            <a:srgbClr val="F26B43"/>
          </p15:clr>
        </p15:guide>
        <p15:guide id="3" pos="211">
          <p15:clr>
            <a:srgbClr val="F26B43"/>
          </p15:clr>
        </p15:guide>
        <p15:guide id="4" pos="7469">
          <p15:clr>
            <a:srgbClr val="F26B43"/>
          </p15:clr>
        </p15:guide>
        <p15:guide id="5" orient="horz" pos="346">
          <p15:clr>
            <a:srgbClr val="F26B43"/>
          </p15:clr>
        </p15:guide>
        <p15:guide id="6" orient="horz" pos="3974">
          <p15:clr>
            <a:srgbClr val="F26B43"/>
          </p15:clr>
        </p15:guide>
        <p15:guide id="7" orient="horz" pos="414">
          <p15:clr>
            <a:srgbClr val="F26B43"/>
          </p15:clr>
        </p15:guide>
        <p15:guide id="8" orient="horz" pos="3906">
          <p15:clr>
            <a:srgbClr val="F26B43"/>
          </p15:clr>
        </p15:guide>
        <p15:guide id="9" pos="279">
          <p15:clr>
            <a:srgbClr val="F26B43"/>
          </p15:clr>
        </p15:guide>
        <p15:guide id="10" pos="7401">
          <p15:clr>
            <a:srgbClr val="F26B43"/>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3_标题幻灯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308872559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4_标题幻灯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3855683425"/>
      </p:ext>
    </p:extLst>
  </p:cSld>
  <p:clrMapOvr>
    <a:masterClrMapping/>
  </p:clrMapOvr>
  <p:extLst>
    <p:ext uri="{DCECCB84-F9BA-43D5-87BE-67443E8EF086}">
      <p15:sldGuideLst xmlns:p15="http://schemas.microsoft.com/office/powerpoint/2012/main">
        <p15:guide id="1" orient="horz" pos="2160">
          <p15:clr>
            <a:srgbClr val="F26B43"/>
          </p15:clr>
        </p15:guide>
        <p15:guide id="2" pos="3840">
          <p15:clr>
            <a:srgbClr val="F26B43"/>
          </p15:clr>
        </p15:guide>
        <p15:guide id="3" pos="211">
          <p15:clr>
            <a:srgbClr val="F26B43"/>
          </p15:clr>
        </p15:guide>
        <p15:guide id="4" pos="7469">
          <p15:clr>
            <a:srgbClr val="F26B43"/>
          </p15:clr>
        </p15:guide>
        <p15:guide id="5" orient="horz" pos="346">
          <p15:clr>
            <a:srgbClr val="F26B43"/>
          </p15:clr>
        </p15:guide>
        <p15:guide id="6" orient="horz" pos="3974">
          <p15:clr>
            <a:srgbClr val="F26B43"/>
          </p15:clr>
        </p15:guide>
        <p15:guide id="7" orient="horz" pos="414">
          <p15:clr>
            <a:srgbClr val="F26B43"/>
          </p15:clr>
        </p15:guide>
        <p15:guide id="8" orient="horz" pos="3906">
          <p15:clr>
            <a:srgbClr val="F26B43"/>
          </p15:clr>
        </p15:guide>
        <p15:guide id="9" pos="279">
          <p15:clr>
            <a:srgbClr val="F26B43"/>
          </p15:clr>
        </p15:guide>
        <p15:guide id="10" pos="7401">
          <p15:clr>
            <a:srgbClr val="F26B43"/>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5_标题幻灯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247989257"/>
      </p:ext>
    </p:extLst>
  </p:cSld>
  <p:clrMapOvr>
    <a:masterClrMapping/>
  </p:clrMapOvr>
  <p:extLst>
    <p:ext uri="{DCECCB84-F9BA-43D5-87BE-67443E8EF086}">
      <p15:sldGuideLst xmlns:p15="http://schemas.microsoft.com/office/powerpoint/2012/main">
        <p15:guide id="1" orient="horz" pos="2160">
          <p15:clr>
            <a:srgbClr val="F26B43"/>
          </p15:clr>
        </p15:guide>
        <p15:guide id="2" pos="3840">
          <p15:clr>
            <a:srgbClr val="F26B43"/>
          </p15:clr>
        </p15:guide>
        <p15:guide id="3" pos="211">
          <p15:clr>
            <a:srgbClr val="F26B43"/>
          </p15:clr>
        </p15:guide>
        <p15:guide id="4" pos="7469">
          <p15:clr>
            <a:srgbClr val="F26B43"/>
          </p15:clr>
        </p15:guide>
        <p15:guide id="5" orient="horz" pos="346">
          <p15:clr>
            <a:srgbClr val="F26B43"/>
          </p15:clr>
        </p15:guide>
        <p15:guide id="6" orient="horz" pos="3974">
          <p15:clr>
            <a:srgbClr val="F26B43"/>
          </p15:clr>
        </p15:guide>
        <p15:guide id="7" orient="horz" pos="414">
          <p15:clr>
            <a:srgbClr val="F26B43"/>
          </p15:clr>
        </p15:guide>
        <p15:guide id="8" orient="horz" pos="3906">
          <p15:clr>
            <a:srgbClr val="F26B43"/>
          </p15:clr>
        </p15:guide>
        <p15:guide id="9" pos="279">
          <p15:clr>
            <a:srgbClr val="F26B43"/>
          </p15:clr>
        </p15:guide>
        <p15:guide id="10" pos="7401">
          <p15:clr>
            <a:srgbClr val="F26B43"/>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6_标题幻灯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391372454"/>
      </p:ext>
    </p:extLst>
  </p:cSld>
  <p:clrMapOvr>
    <a:masterClrMapping/>
  </p:clrMapOvr>
  <p:extLst>
    <p:ext uri="{DCECCB84-F9BA-43D5-87BE-67443E8EF086}">
      <p15:sldGuideLst xmlns:p15="http://schemas.microsoft.com/office/powerpoint/2012/main">
        <p15:guide id="1" orient="horz" pos="459">
          <p15:clr>
            <a:srgbClr val="F26B43"/>
          </p15:clr>
        </p15:guide>
        <p15:guide id="2" orient="horz" pos="3861">
          <p15:clr>
            <a:srgbClr val="F26B43"/>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37916058"/>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6" r:id="rId3"/>
    <p:sldLayoutId id="2147484507" r:id="rId4"/>
    <p:sldLayoutId id="2147484505" r:id="rId5"/>
    <p:sldLayoutId id="2147484503" r:id="rId6"/>
    <p:sldLayoutId id="2147484495" r:id="rId7"/>
    <p:sldLayoutId id="2147484493" r:id="rId8"/>
    <p:sldLayoutId id="2147484486" r:id="rId9"/>
    <p:sldLayoutId id="2147484484" r:id="rId10"/>
    <p:sldLayoutId id="2147484509" r:id="rId11"/>
    <p:sldLayoutId id="2147484510" r:id="rId12"/>
    <p:sldLayoutId id="2147484511" r:id="rId13"/>
    <p:sldLayoutId id="2147484512" r:id="rId14"/>
    <p:sldLayoutId id="2147484464" r:id="rId15"/>
    <p:sldLayoutId id="2147484465" r:id="rId16"/>
    <p:sldLayoutId id="2147484467" r:id="rId17"/>
    <p:sldLayoutId id="2147484468" r:id="rId18"/>
    <p:sldLayoutId id="2147484469" r:id="rId19"/>
    <p:sldLayoutId id="2147484447" r:id="rId20"/>
    <p:sldLayoutId id="2147484415" r:id="rId21"/>
    <p:sldLayoutId id="2147484514" r:id="rId22"/>
    <p:sldLayoutId id="2147484292" r:id="rId23"/>
    <p:sldLayoutId id="2147484244" r:id="rId24"/>
    <p:sldLayoutId id="2147484242" r:id="rId25"/>
    <p:sldLayoutId id="2147484227" r:id="rId26"/>
    <p:sldLayoutId id="2147484205" r:id="rId27"/>
    <p:sldLayoutId id="2147483967" r:id="rId28"/>
    <p:sldLayoutId id="2147483941" r:id="rId29"/>
  </p:sldLayoutIdLst>
  <p:txStyles>
    <p:titleStyle>
      <a:lvl1pPr algn="l" defTabSz="742950" rtl="0" eaLnBrk="1" latinLnBrk="0" hangingPunct="1">
        <a:lnSpc>
          <a:spcPct val="90000"/>
        </a:lnSpc>
        <a:spcBef>
          <a:spcPct val="0"/>
        </a:spcBef>
        <a:buNone/>
        <a:defRPr sz="3575" kern="1200">
          <a:solidFill>
            <a:schemeClr val="tx1"/>
          </a:solidFill>
          <a:latin typeface="+mj-lt"/>
          <a:ea typeface="+mj-ea"/>
          <a:cs typeface="+mj-cs"/>
        </a:defRPr>
      </a:lvl1pPr>
    </p:titleStyle>
    <p:bodyStyle>
      <a:lvl1pPr marL="185738" indent="-185738" algn="l" defTabSz="742950" rtl="0" eaLnBrk="1" latinLnBrk="0" hangingPunct="1">
        <a:lnSpc>
          <a:spcPct val="90000"/>
        </a:lnSpc>
        <a:spcBef>
          <a:spcPts val="813"/>
        </a:spcBef>
        <a:buFont typeface="Arial" panose="020B0604020202020204" pitchFamily="34" charset="0"/>
        <a:buChar char="•"/>
        <a:defRPr sz="2275" kern="1200">
          <a:solidFill>
            <a:schemeClr val="tx1"/>
          </a:solidFill>
          <a:latin typeface="+mn-lt"/>
          <a:ea typeface="+mn-ea"/>
          <a:cs typeface="+mn-cs"/>
        </a:defRPr>
      </a:lvl1pPr>
      <a:lvl2pPr marL="557213" indent="-185738" algn="l" defTabSz="742950" rtl="0" eaLnBrk="1" latinLnBrk="0" hangingPunct="1">
        <a:lnSpc>
          <a:spcPct val="90000"/>
        </a:lnSpc>
        <a:spcBef>
          <a:spcPts val="406"/>
        </a:spcBef>
        <a:buFont typeface="Arial" panose="020B0604020202020204" pitchFamily="34" charset="0"/>
        <a:buChar char="•"/>
        <a:defRPr sz="1950" kern="1200">
          <a:solidFill>
            <a:schemeClr val="tx1"/>
          </a:solidFill>
          <a:latin typeface="+mn-lt"/>
          <a:ea typeface="+mn-ea"/>
          <a:cs typeface="+mn-cs"/>
        </a:defRPr>
      </a:lvl2pPr>
      <a:lvl3pPr marL="928688" indent="-185738" algn="l" defTabSz="742950" rtl="0" eaLnBrk="1" latinLnBrk="0" hangingPunct="1">
        <a:lnSpc>
          <a:spcPct val="90000"/>
        </a:lnSpc>
        <a:spcBef>
          <a:spcPts val="406"/>
        </a:spcBef>
        <a:buFont typeface="Arial" panose="020B0604020202020204" pitchFamily="34" charset="0"/>
        <a:buChar char="•"/>
        <a:defRPr sz="1625" kern="1200">
          <a:solidFill>
            <a:schemeClr val="tx1"/>
          </a:solidFill>
          <a:latin typeface="+mn-lt"/>
          <a:ea typeface="+mn-ea"/>
          <a:cs typeface="+mn-cs"/>
        </a:defRPr>
      </a:lvl3pPr>
      <a:lvl4pPr marL="130016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4pPr>
      <a:lvl5pPr marL="167163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5pPr>
      <a:lvl6pPr marL="204311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6pPr>
      <a:lvl7pPr marL="241458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7pPr>
      <a:lvl8pPr marL="2786063"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8pPr>
      <a:lvl9pPr marL="3157538" indent="-185738" algn="l" defTabSz="742950" rtl="0" eaLnBrk="1" latinLnBrk="0" hangingPunct="1">
        <a:lnSpc>
          <a:spcPct val="90000"/>
        </a:lnSpc>
        <a:spcBef>
          <a:spcPts val="406"/>
        </a:spcBef>
        <a:buFont typeface="Arial" panose="020B0604020202020204" pitchFamily="34" charset="0"/>
        <a:buChar char="•"/>
        <a:defRPr sz="1463" kern="1200">
          <a:solidFill>
            <a:schemeClr val="tx1"/>
          </a:solidFill>
          <a:latin typeface="+mn-lt"/>
          <a:ea typeface="+mn-ea"/>
          <a:cs typeface="+mn-cs"/>
        </a:defRPr>
      </a:lvl9pPr>
    </p:bodyStyle>
    <p:otherStyle>
      <a:defPPr>
        <a:defRPr lang="zh-CN"/>
      </a:defPPr>
      <a:lvl1pPr marL="0" algn="l" defTabSz="742950" rtl="0" eaLnBrk="1" latinLnBrk="0" hangingPunct="1">
        <a:defRPr sz="1463" kern="1200">
          <a:solidFill>
            <a:schemeClr val="tx1"/>
          </a:solidFill>
          <a:latin typeface="+mn-lt"/>
          <a:ea typeface="+mn-ea"/>
          <a:cs typeface="+mn-cs"/>
        </a:defRPr>
      </a:lvl1pPr>
      <a:lvl2pPr marL="371475" algn="l" defTabSz="742950" rtl="0" eaLnBrk="1" latinLnBrk="0" hangingPunct="1">
        <a:defRPr sz="1463" kern="1200">
          <a:solidFill>
            <a:schemeClr val="tx1"/>
          </a:solidFill>
          <a:latin typeface="+mn-lt"/>
          <a:ea typeface="+mn-ea"/>
          <a:cs typeface="+mn-cs"/>
        </a:defRPr>
      </a:lvl2pPr>
      <a:lvl3pPr marL="742950" algn="l" defTabSz="742950" rtl="0" eaLnBrk="1" latinLnBrk="0" hangingPunct="1">
        <a:defRPr sz="1463" kern="1200">
          <a:solidFill>
            <a:schemeClr val="tx1"/>
          </a:solidFill>
          <a:latin typeface="+mn-lt"/>
          <a:ea typeface="+mn-ea"/>
          <a:cs typeface="+mn-cs"/>
        </a:defRPr>
      </a:lvl3pPr>
      <a:lvl4pPr marL="1114425" algn="l" defTabSz="742950" rtl="0" eaLnBrk="1" latinLnBrk="0" hangingPunct="1">
        <a:defRPr sz="1463" kern="1200">
          <a:solidFill>
            <a:schemeClr val="tx1"/>
          </a:solidFill>
          <a:latin typeface="+mn-lt"/>
          <a:ea typeface="+mn-ea"/>
          <a:cs typeface="+mn-cs"/>
        </a:defRPr>
      </a:lvl4pPr>
      <a:lvl5pPr marL="1485900" algn="l" defTabSz="742950" rtl="0" eaLnBrk="1" latinLnBrk="0" hangingPunct="1">
        <a:defRPr sz="1463" kern="1200">
          <a:solidFill>
            <a:schemeClr val="tx1"/>
          </a:solidFill>
          <a:latin typeface="+mn-lt"/>
          <a:ea typeface="+mn-ea"/>
          <a:cs typeface="+mn-cs"/>
        </a:defRPr>
      </a:lvl5pPr>
      <a:lvl6pPr marL="1857375" algn="l" defTabSz="742950" rtl="0" eaLnBrk="1" latinLnBrk="0" hangingPunct="1">
        <a:defRPr sz="1463" kern="1200">
          <a:solidFill>
            <a:schemeClr val="tx1"/>
          </a:solidFill>
          <a:latin typeface="+mn-lt"/>
          <a:ea typeface="+mn-ea"/>
          <a:cs typeface="+mn-cs"/>
        </a:defRPr>
      </a:lvl6pPr>
      <a:lvl7pPr marL="2228850" algn="l" defTabSz="742950" rtl="0" eaLnBrk="1" latinLnBrk="0" hangingPunct="1">
        <a:defRPr sz="1463" kern="1200">
          <a:solidFill>
            <a:schemeClr val="tx1"/>
          </a:solidFill>
          <a:latin typeface="+mn-lt"/>
          <a:ea typeface="+mn-ea"/>
          <a:cs typeface="+mn-cs"/>
        </a:defRPr>
      </a:lvl7pPr>
      <a:lvl8pPr marL="2600325" algn="l" defTabSz="742950" rtl="0" eaLnBrk="1" latinLnBrk="0" hangingPunct="1">
        <a:defRPr sz="1463" kern="1200">
          <a:solidFill>
            <a:schemeClr val="tx1"/>
          </a:solidFill>
          <a:latin typeface="+mn-lt"/>
          <a:ea typeface="+mn-ea"/>
          <a:cs typeface="+mn-cs"/>
        </a:defRPr>
      </a:lvl8pPr>
      <a:lvl9pPr marL="2971800" algn="l" defTabSz="742950" rtl="0" eaLnBrk="1" latinLnBrk="0" hangingPunct="1">
        <a:defRPr sz="1463"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userDrawn="1">
          <p15:clr>
            <a:srgbClr val="F26B43"/>
          </p15:clr>
        </p15:guide>
        <p15:guide id="2" orient="horz" pos="2160" userDrawn="1">
          <p15:clr>
            <a:srgbClr val="F26B43"/>
          </p15:clr>
        </p15:guide>
        <p15:guide id="3" orient="horz" userDrawn="1">
          <p15:clr>
            <a:srgbClr val="C35EA4"/>
          </p15:clr>
        </p15:guide>
        <p15:guide id="4" orient="horz" pos="4315" userDrawn="1">
          <p15:clr>
            <a:srgbClr val="C35EA4"/>
          </p15:clr>
        </p15:guide>
        <p15:guide id="5" userDrawn="1">
          <p15:clr>
            <a:srgbClr val="C35EA4"/>
          </p15:clr>
        </p15:guide>
        <p15:guide id="6" pos="7680" userDrawn="1">
          <p15:clr>
            <a:srgbClr val="C35E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slideLayout" Target="../slideLayouts/slideLayout1.xml"/><Relationship Id="rId1" Type="http://schemas.openxmlformats.org/officeDocument/2006/relationships/themeOverride" Target="../theme/themeOverride1.xml"/></Relationships>
</file>

<file path=ppt/slides/_rels/slide10.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hemeOverride" Target="../theme/themeOverride9.xml"/></Relationships>
</file>

<file path=ppt/slides/_rels/slide100.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hemeOverride" Target="../theme/themeOverride99.xml"/></Relationships>
</file>

<file path=ppt/slides/_rels/slide101.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hemeOverride" Target="../theme/themeOverride100.xml"/></Relationships>
</file>

<file path=ppt/slides/_rels/slide102.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hemeOverride" Target="../theme/themeOverride101.xml"/></Relationships>
</file>

<file path=ppt/slides/_rels/slide103.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hemeOverride" Target="../theme/themeOverride102.xml"/></Relationships>
</file>

<file path=ppt/slides/_rels/slide104.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hemeOverride" Target="../theme/themeOverride103.xml"/></Relationships>
</file>

<file path=ppt/slides/_rels/slide105.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hemeOverride" Target="../theme/themeOverride104.xml"/></Relationships>
</file>

<file path=ppt/slides/_rels/slide106.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hemeOverride" Target="../theme/themeOverride105.xml"/></Relationships>
</file>

<file path=ppt/slides/_rels/slide107.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hemeOverride" Target="../theme/themeOverride106.xml"/></Relationships>
</file>

<file path=ppt/slides/_rels/slide108.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hemeOverride" Target="../theme/themeOverride107.xml"/></Relationships>
</file>

<file path=ppt/slides/_rels/slide109.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hemeOverride" Target="../theme/themeOverride108.xml"/></Relationships>
</file>

<file path=ppt/slides/_rels/slide11.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hemeOverride" Target="../theme/themeOverride10.xml"/></Relationships>
</file>

<file path=ppt/slides/_rels/slide110.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hemeOverride" Target="../theme/themeOverride109.xml"/></Relationships>
</file>

<file path=ppt/slides/_rels/slide111.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hemeOverride" Target="../theme/themeOverride110.xml"/></Relationships>
</file>

<file path=ppt/slides/_rels/slide112.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hemeOverride" Target="../theme/themeOverride111.xml"/></Relationships>
</file>

<file path=ppt/slides/_rels/slide113.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hemeOverride" Target="../theme/themeOverride112.xml"/></Relationships>
</file>

<file path=ppt/slides/_rels/slide114.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hemeOverride" Target="../theme/themeOverride113.xml"/></Relationships>
</file>

<file path=ppt/slides/_rels/slide115.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hemeOverride" Target="../theme/themeOverride114.xml"/></Relationships>
</file>

<file path=ppt/slides/_rels/slide116.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hemeOverride" Target="../theme/themeOverride115.xml"/></Relationships>
</file>

<file path=ppt/slides/_rels/slide117.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hemeOverride" Target="../theme/themeOverride116.xml"/></Relationships>
</file>

<file path=ppt/slides/_rels/slide118.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hemeOverride" Target="../theme/themeOverride117.xml"/></Relationships>
</file>

<file path=ppt/slides/_rels/slide119.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hemeOverride" Target="../theme/themeOverride118.xml"/></Relationships>
</file>

<file path=ppt/slides/_rels/slide12.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hemeOverride" Target="../theme/themeOverride11.xml"/></Relationships>
</file>

<file path=ppt/slides/_rels/slide120.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hemeOverride" Target="../theme/themeOverride119.xml"/></Relationships>
</file>

<file path=ppt/slides/_rels/slide121.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hemeOverride" Target="../theme/themeOverride120.xml"/></Relationships>
</file>

<file path=ppt/slides/_rels/slide122.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hemeOverride" Target="../theme/themeOverride121.xml"/></Relationships>
</file>

<file path=ppt/slides/_rels/slide123.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hemeOverride" Target="../theme/themeOverride122.xml"/></Relationships>
</file>

<file path=ppt/slides/_rels/slide124.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hemeOverride" Target="../theme/themeOverride123.xml"/></Relationships>
</file>

<file path=ppt/slides/_rels/slide125.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hemeOverride" Target="../theme/themeOverride124.xml"/></Relationships>
</file>

<file path=ppt/slides/_rels/slide126.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hemeOverride" Target="../theme/themeOverride125.xml"/></Relationships>
</file>

<file path=ppt/slides/_rels/slide127.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hemeOverride" Target="../theme/themeOverride126.xml"/></Relationships>
</file>

<file path=ppt/slides/_rels/slide128.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hemeOverride" Target="../theme/themeOverride127.xml"/></Relationships>
</file>

<file path=ppt/slides/_rels/slide129.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hemeOverride" Target="../theme/themeOverride128.xml"/></Relationships>
</file>

<file path=ppt/slides/_rels/slide13.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hemeOverride" Target="../theme/themeOverride12.xml"/></Relationships>
</file>

<file path=ppt/slides/_rels/slide130.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hemeOverride" Target="../theme/themeOverride129.xml"/></Relationships>
</file>

<file path=ppt/slides/_rels/slide131.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hemeOverride" Target="../theme/themeOverride130.xml"/></Relationships>
</file>

<file path=ppt/slides/_rels/slide132.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hemeOverride" Target="../theme/themeOverride131.xml"/></Relationships>
</file>

<file path=ppt/slides/_rels/slide133.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hemeOverride" Target="../theme/themeOverride132.xml"/></Relationships>
</file>

<file path=ppt/slides/_rels/slide134.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hemeOverride" Target="../theme/themeOverride133.xml"/></Relationships>
</file>

<file path=ppt/slides/_rels/slide135.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hemeOverride" Target="../theme/themeOverride134.xml"/></Relationships>
</file>

<file path=ppt/slides/_rels/slide136.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hemeOverride" Target="../theme/themeOverride135.xml"/></Relationships>
</file>

<file path=ppt/slides/_rels/slide137.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hemeOverride" Target="../theme/themeOverride136.xml"/></Relationships>
</file>

<file path=ppt/slides/_rels/slide138.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hemeOverride" Target="../theme/themeOverride137.xml"/></Relationships>
</file>

<file path=ppt/slides/_rels/slide139.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hemeOverride" Target="../theme/themeOverride138.xml"/></Relationships>
</file>

<file path=ppt/slides/_rels/slide14.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hemeOverride" Target="../theme/themeOverride13.xml"/></Relationships>
</file>

<file path=ppt/slides/_rels/slide140.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hemeOverride" Target="../theme/themeOverride139.xml"/></Relationships>
</file>

<file path=ppt/slides/_rels/slide141.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hemeOverride" Target="../theme/themeOverride140.xml"/></Relationships>
</file>

<file path=ppt/slides/_rels/slide142.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hemeOverride" Target="../theme/themeOverride141.xml"/></Relationships>
</file>

<file path=ppt/slides/_rels/slide143.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hemeOverride" Target="../theme/themeOverride142.xml"/></Relationships>
</file>

<file path=ppt/slides/_rels/slide144.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hemeOverride" Target="../theme/themeOverride143.xml"/></Relationships>
</file>

<file path=ppt/slides/_rels/slide145.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hemeOverride" Target="../theme/themeOverride144.xml"/></Relationships>
</file>

<file path=ppt/slides/_rels/slide146.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hemeOverride" Target="../theme/themeOverride145.xml"/></Relationships>
</file>

<file path=ppt/slides/_rels/slide147.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hemeOverride" Target="../theme/themeOverride146.xml"/></Relationships>
</file>

<file path=ppt/slides/_rels/slide148.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hemeOverride" Target="../theme/themeOverride147.xml"/></Relationships>
</file>

<file path=ppt/slides/_rels/slide149.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hemeOverride" Target="../theme/themeOverride148.xml"/></Relationships>
</file>

<file path=ppt/slides/_rels/slide15.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hemeOverride" Target="../theme/themeOverride14.xml"/></Relationships>
</file>

<file path=ppt/slides/_rels/slide150.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hemeOverride" Target="../theme/themeOverride149.xml"/></Relationships>
</file>

<file path=ppt/slides/_rels/slide151.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hemeOverride" Target="../theme/themeOverride150.xml"/></Relationships>
</file>

<file path=ppt/slides/_rels/slide152.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hemeOverride" Target="../theme/themeOverride151.xml"/></Relationships>
</file>

<file path=ppt/slides/_rels/slide153.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hemeOverride" Target="../theme/themeOverride152.xml"/></Relationships>
</file>

<file path=ppt/slides/_rels/slide154.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hemeOverride" Target="../theme/themeOverride153.xml"/></Relationships>
</file>

<file path=ppt/slides/_rels/slide155.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hemeOverride" Target="../theme/themeOverride154.xml"/></Relationships>
</file>

<file path=ppt/slides/_rels/slide156.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hemeOverride" Target="../theme/themeOverride155.xml"/></Relationships>
</file>

<file path=ppt/slides/_rels/slide157.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hemeOverride" Target="../theme/themeOverride156.xml"/></Relationships>
</file>

<file path=ppt/slides/_rels/slide158.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hemeOverride" Target="../theme/themeOverride157.xml"/></Relationships>
</file>

<file path=ppt/slides/_rels/slide159.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hemeOverride" Target="../theme/themeOverride158.xml"/></Relationships>
</file>

<file path=ppt/slides/_rels/slide16.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hemeOverride" Target="../theme/themeOverride15.xml"/></Relationships>
</file>

<file path=ppt/slides/_rels/slide160.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hemeOverride" Target="../theme/themeOverride159.xml"/></Relationships>
</file>

<file path=ppt/slides/_rels/slide161.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hemeOverride" Target="../theme/themeOverride160.xml"/></Relationships>
</file>

<file path=ppt/slides/_rels/slide162.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hemeOverride" Target="../theme/themeOverride161.xml"/></Relationships>
</file>

<file path=ppt/slides/_rels/slide163.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hemeOverride" Target="../theme/themeOverride162.xml"/></Relationships>
</file>

<file path=ppt/slides/_rels/slide164.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hemeOverride" Target="../theme/themeOverride163.xml"/></Relationships>
</file>

<file path=ppt/slides/_rels/slide165.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hemeOverride" Target="../theme/themeOverride164.xml"/></Relationships>
</file>

<file path=ppt/slides/_rels/slide166.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hemeOverride" Target="../theme/themeOverride165.xml"/></Relationships>
</file>

<file path=ppt/slides/_rels/slide167.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hemeOverride" Target="../theme/themeOverride166.xml"/></Relationships>
</file>

<file path=ppt/slides/_rels/slide168.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hemeOverride" Target="../theme/themeOverride167.xml"/></Relationships>
</file>

<file path=ppt/slides/_rels/slide169.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hemeOverride" Target="../theme/themeOverride168.xml"/></Relationships>
</file>

<file path=ppt/slides/_rels/slide17.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hemeOverride" Target="../theme/themeOverride16.xml"/></Relationships>
</file>

<file path=ppt/slides/_rels/slide170.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hemeOverride" Target="../theme/themeOverride169.xml"/></Relationships>
</file>

<file path=ppt/slides/_rels/slide171.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hemeOverride" Target="../theme/themeOverride170.xml"/></Relationships>
</file>

<file path=ppt/slides/_rels/slide172.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hemeOverride" Target="../theme/themeOverride171.xml"/></Relationships>
</file>

<file path=ppt/slides/_rels/slide173.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hemeOverride" Target="../theme/themeOverride172.xml"/></Relationships>
</file>

<file path=ppt/slides/_rels/slide174.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hemeOverride" Target="../theme/themeOverride173.xml"/></Relationships>
</file>

<file path=ppt/slides/_rels/slide175.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hemeOverride" Target="../theme/themeOverride174.xml"/></Relationships>
</file>

<file path=ppt/slides/_rels/slide176.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hemeOverride" Target="../theme/themeOverride175.xml"/></Relationships>
</file>

<file path=ppt/slides/_rels/slide177.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hemeOverride" Target="../theme/themeOverride176.xml"/></Relationships>
</file>

<file path=ppt/slides/_rels/slide178.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hemeOverride" Target="../theme/themeOverride177.xml"/></Relationships>
</file>

<file path=ppt/slides/_rels/slide179.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hemeOverride" Target="../theme/themeOverride178.xml"/></Relationships>
</file>

<file path=ppt/slides/_rels/slide18.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hemeOverride" Target="../theme/themeOverride17.xml"/></Relationships>
</file>

<file path=ppt/slides/_rels/slide180.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hemeOverride" Target="../theme/themeOverride179.xml"/></Relationships>
</file>

<file path=ppt/slides/_rels/slide181.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hemeOverride" Target="../theme/themeOverride180.xml"/></Relationships>
</file>

<file path=ppt/slides/_rels/slide182.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hemeOverride" Target="../theme/themeOverride181.xml"/></Relationships>
</file>

<file path=ppt/slides/_rels/slide183.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hemeOverride" Target="../theme/themeOverride182.xml"/></Relationships>
</file>

<file path=ppt/slides/_rels/slide184.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hemeOverride" Target="../theme/themeOverride183.xml"/></Relationships>
</file>

<file path=ppt/slides/_rels/slide185.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hemeOverride" Target="../theme/themeOverride184.xml"/></Relationships>
</file>

<file path=ppt/slides/_rels/slide186.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hemeOverride" Target="../theme/themeOverride185.xml"/></Relationships>
</file>

<file path=ppt/slides/_rels/slide187.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hemeOverride" Target="../theme/themeOverride186.xml"/></Relationships>
</file>

<file path=ppt/slides/_rels/slide188.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hemeOverride" Target="../theme/themeOverride187.xml"/></Relationships>
</file>

<file path=ppt/slides/_rels/slide189.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hemeOverride" Target="../theme/themeOverride188.xml"/></Relationships>
</file>

<file path=ppt/slides/_rels/slide19.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hemeOverride" Target="../theme/themeOverride18.xml"/></Relationships>
</file>

<file path=ppt/slides/_rels/slide190.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hemeOverride" Target="../theme/themeOverride189.xml"/></Relationships>
</file>

<file path=ppt/slides/_rels/slide191.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hemeOverride" Target="../theme/themeOverride190.xml"/></Relationships>
</file>

<file path=ppt/slides/_rels/slide192.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hemeOverride" Target="../theme/themeOverride191.xml"/></Relationships>
</file>

<file path=ppt/slides/_rels/slide193.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hemeOverride" Target="../theme/themeOverride192.xml"/></Relationships>
</file>

<file path=ppt/slides/_rels/slide194.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hemeOverride" Target="../theme/themeOverride193.xml"/></Relationships>
</file>

<file path=ppt/slides/_rels/slide195.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hemeOverride" Target="../theme/themeOverride194.xml"/></Relationships>
</file>

<file path=ppt/slides/_rels/slide196.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hemeOverride" Target="../theme/themeOverride195.xml"/></Relationships>
</file>

<file path=ppt/slides/_rels/slide197.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hemeOverride" Target="../theme/themeOverride196.xml"/></Relationships>
</file>

<file path=ppt/slides/_rels/slide198.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hemeOverride" Target="../theme/themeOverride197.xml"/></Relationships>
</file>

<file path=ppt/slides/_rels/slide199.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hemeOverride" Target="../theme/themeOverride198.xml"/></Relationships>
</file>

<file path=ppt/slides/_rels/slide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hemeOverride" Target="../theme/themeOverride19.xml"/></Relationships>
</file>

<file path=ppt/slides/_rels/slide200.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hemeOverride" Target="../theme/themeOverride199.xml"/></Relationships>
</file>

<file path=ppt/slides/_rels/slide201.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hemeOverride" Target="../theme/themeOverride200.xml"/></Relationships>
</file>

<file path=ppt/slides/_rels/slide202.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hemeOverride" Target="../theme/themeOverride201.xml"/></Relationships>
</file>

<file path=ppt/slides/_rels/slide203.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hemeOverride" Target="../theme/themeOverride202.xml"/></Relationships>
</file>

<file path=ppt/slides/_rels/slide204.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hemeOverride" Target="../theme/themeOverride203.xml"/></Relationships>
</file>

<file path=ppt/slides/_rels/slide205.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hemeOverride" Target="../theme/themeOverride204.xml"/></Relationships>
</file>

<file path=ppt/slides/_rels/slide206.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hemeOverride" Target="../theme/themeOverride205.xml"/></Relationships>
</file>

<file path=ppt/slides/_rels/slide207.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hemeOverride" Target="../theme/themeOverride206.xml"/></Relationships>
</file>

<file path=ppt/slides/_rels/slide208.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hemeOverride" Target="../theme/themeOverride207.xml"/></Relationships>
</file>

<file path=ppt/slides/_rels/slide209.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hemeOverride" Target="../theme/themeOverride208.xml"/></Relationships>
</file>

<file path=ppt/slides/_rels/slide21.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hemeOverride" Target="../theme/themeOverride20.xml"/></Relationships>
</file>

<file path=ppt/slides/_rels/slide210.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hemeOverride" Target="../theme/themeOverride209.xml"/></Relationships>
</file>

<file path=ppt/slides/_rels/slide211.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hemeOverride" Target="../theme/themeOverride210.xml"/></Relationships>
</file>

<file path=ppt/slides/_rels/slide212.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hemeOverride" Target="../theme/themeOverride211.xml"/></Relationships>
</file>

<file path=ppt/slides/_rels/slide213.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hemeOverride" Target="../theme/themeOverride212.xml"/></Relationships>
</file>

<file path=ppt/slides/_rels/slide214.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hemeOverride" Target="../theme/themeOverride213.xml"/></Relationships>
</file>

<file path=ppt/slides/_rels/slide215.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hemeOverride" Target="../theme/themeOverride214.xml"/></Relationships>
</file>

<file path=ppt/slides/_rels/slide216.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hemeOverride" Target="../theme/themeOverride215.xml"/></Relationships>
</file>

<file path=ppt/slides/_rels/slide217.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hemeOverride" Target="../theme/themeOverride216.xml"/></Relationships>
</file>

<file path=ppt/slides/_rels/slide218.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hemeOverride" Target="../theme/themeOverride217.xml"/></Relationships>
</file>

<file path=ppt/slides/_rels/slide219.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hemeOverride" Target="../theme/themeOverride218.xml"/></Relationships>
</file>

<file path=ppt/slides/_rels/slide22.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hemeOverride" Target="../theme/themeOverride21.xml"/></Relationships>
</file>

<file path=ppt/slides/_rels/slide220.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hemeOverride" Target="../theme/themeOverride219.xml"/></Relationships>
</file>

<file path=ppt/slides/_rels/slide221.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hemeOverride" Target="../theme/themeOverride220.xml"/></Relationships>
</file>

<file path=ppt/slides/_rels/slide222.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themeOverride" Target="../theme/themeOverride221.xml"/><Relationship Id="rId6" Type="http://schemas.openxmlformats.org/officeDocument/2006/relationships/slideLayout" Target="../slideLayouts/slideLayout2.xml"/><Relationship Id="rId5" Type="http://schemas.openxmlformats.org/officeDocument/2006/relationships/tags" Target="../tags/tag7.xml"/><Relationship Id="rId4" Type="http://schemas.openxmlformats.org/officeDocument/2006/relationships/tags" Target="../tags/tag6.xml"/></Relationships>
</file>

<file path=ppt/slides/_rels/slide223.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hemeOverride" Target="../theme/themeOverride222.xml"/></Relationships>
</file>

<file path=ppt/slides/_rels/slide224.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hemeOverride" Target="../theme/themeOverride223.xml"/></Relationships>
</file>

<file path=ppt/slides/_rels/slide225.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hemeOverride" Target="../theme/themeOverride224.xml"/></Relationships>
</file>

<file path=ppt/slides/_rels/slide22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xml"/><Relationship Id="rId1" Type="http://schemas.openxmlformats.org/officeDocument/2006/relationships/themeOverride" Target="../theme/themeOverride225.xml"/></Relationships>
</file>

<file path=ppt/slides/_rels/slide227.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hemeOverride" Target="../theme/themeOverride226.xml"/></Relationships>
</file>

<file path=ppt/slides/_rels/slide228.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hemeOverride" Target="../theme/themeOverride227.xml"/></Relationships>
</file>

<file path=ppt/slides/_rels/slide229.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hemeOverride" Target="../theme/themeOverride228.xml"/></Relationships>
</file>

<file path=ppt/slides/_rels/slide23.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hemeOverride" Target="../theme/themeOverride22.xml"/></Relationships>
</file>

<file path=ppt/slides/_rels/slide230.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hemeOverride" Target="../theme/themeOverride229.xml"/></Relationships>
</file>

<file path=ppt/slides/_rels/slide231.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hemeOverride" Target="../theme/themeOverride230.xml"/></Relationships>
</file>

<file path=ppt/slides/_rels/slide232.xml.rels><?xml version="1.0" encoding="UTF-8" standalone="yes"?>
<Relationships xmlns="http://schemas.openxmlformats.org/package/2006/relationships"><Relationship Id="rId3" Type="http://schemas.openxmlformats.org/officeDocument/2006/relationships/tags" Target="../tags/tag10.xml"/><Relationship Id="rId7" Type="http://schemas.openxmlformats.org/officeDocument/2006/relationships/slideLayout" Target="../slideLayouts/slideLayout2.xml"/><Relationship Id="rId2" Type="http://schemas.openxmlformats.org/officeDocument/2006/relationships/tags" Target="../tags/tag9.xml"/><Relationship Id="rId1" Type="http://schemas.openxmlformats.org/officeDocument/2006/relationships/themeOverride" Target="../theme/themeOverride231.xml"/><Relationship Id="rId6" Type="http://schemas.openxmlformats.org/officeDocument/2006/relationships/tags" Target="../tags/tag13.xml"/><Relationship Id="rId5" Type="http://schemas.openxmlformats.org/officeDocument/2006/relationships/tags" Target="../tags/tag12.xml"/><Relationship Id="rId4" Type="http://schemas.openxmlformats.org/officeDocument/2006/relationships/tags" Target="../tags/tag11.xml"/></Relationships>
</file>

<file path=ppt/slides/_rels/slide23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4.xml"/><Relationship Id="rId1" Type="http://schemas.openxmlformats.org/officeDocument/2006/relationships/themeOverride" Target="../theme/themeOverride232.xml"/></Relationships>
</file>

<file path=ppt/slides/_rels/slide234.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hemeOverride" Target="../theme/themeOverride233.xml"/></Relationships>
</file>

<file path=ppt/slides/_rels/slide235.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hemeOverride" Target="../theme/themeOverride234.xml"/></Relationships>
</file>

<file path=ppt/slides/_rels/slide236.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hemeOverride" Target="../theme/themeOverride235.xml"/></Relationships>
</file>

<file path=ppt/slides/_rels/slide237.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hemeOverride" Target="../theme/themeOverride236.xml"/></Relationships>
</file>

<file path=ppt/slides/_rels/slide238.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hemeOverride" Target="../theme/themeOverride237.xml"/></Relationships>
</file>

<file path=ppt/slides/_rels/slide239.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hemeOverride" Target="../theme/themeOverride238.xml"/></Relationships>
</file>

<file path=ppt/slides/_rels/slide24.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hemeOverride" Target="../theme/themeOverride23.xml"/></Relationships>
</file>

<file path=ppt/slides/_rels/slide240.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hemeOverride" Target="../theme/themeOverride239.xml"/></Relationships>
</file>

<file path=ppt/slides/_rels/slide241.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hemeOverride" Target="../theme/themeOverride240.xml"/></Relationships>
</file>

<file path=ppt/slides/_rels/slide242.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hemeOverride" Target="../theme/themeOverride241.xml"/></Relationships>
</file>

<file path=ppt/slides/_rels/slide243.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hemeOverride" Target="../theme/themeOverride242.xml"/></Relationships>
</file>

<file path=ppt/slides/_rels/slide244.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hemeOverride" Target="../theme/themeOverride243.xml"/></Relationships>
</file>

<file path=ppt/slides/_rels/slide24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5.xml"/><Relationship Id="rId1" Type="http://schemas.openxmlformats.org/officeDocument/2006/relationships/themeOverride" Target="../theme/themeOverride244.xml"/></Relationships>
</file>

<file path=ppt/slides/_rels/slide24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Layout" Target="../slideLayouts/slideLayout2.xml"/><Relationship Id="rId1" Type="http://schemas.openxmlformats.org/officeDocument/2006/relationships/themeOverride" Target="../theme/themeOverride245.xml"/></Relationships>
</file>

<file path=ppt/slides/_rels/slide247.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hemeOverride" Target="../theme/themeOverride246.xml"/></Relationships>
</file>

<file path=ppt/slides/_rels/slide248.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hemeOverride" Target="../theme/themeOverride247.xml"/></Relationships>
</file>

<file path=ppt/slides/_rels/slide24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6.xml"/><Relationship Id="rId1" Type="http://schemas.openxmlformats.org/officeDocument/2006/relationships/themeOverride" Target="../theme/themeOverride248.xml"/></Relationships>
</file>

<file path=ppt/slides/_rels/slide25.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hemeOverride" Target="../theme/themeOverride24.xml"/></Relationships>
</file>

<file path=ppt/slides/_rels/slide250.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hemeOverride" Target="../theme/themeOverride249.xml"/></Relationships>
</file>

<file path=ppt/slides/_rels/slide251.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hemeOverride" Target="../theme/themeOverride250.xml"/></Relationships>
</file>

<file path=ppt/slides/_rels/slide252.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hemeOverride" Target="../theme/themeOverride251.xml"/></Relationships>
</file>

<file path=ppt/slides/_rels/slide253.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hemeOverride" Target="../theme/themeOverride252.xml"/></Relationships>
</file>

<file path=ppt/slides/_rels/slide25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7.xml"/><Relationship Id="rId1" Type="http://schemas.openxmlformats.org/officeDocument/2006/relationships/themeOverride" Target="../theme/themeOverride253.xml"/></Relationships>
</file>

<file path=ppt/slides/_rels/slide255.xml.rels><?xml version="1.0" encoding="UTF-8" standalone="yes"?>
<Relationships xmlns="http://schemas.openxmlformats.org/package/2006/relationships"><Relationship Id="rId3" Type="http://schemas.openxmlformats.org/officeDocument/2006/relationships/tags" Target="../tags/tag19.xml"/><Relationship Id="rId2" Type="http://schemas.openxmlformats.org/officeDocument/2006/relationships/tags" Target="../tags/tag18.xml"/><Relationship Id="rId1" Type="http://schemas.openxmlformats.org/officeDocument/2006/relationships/themeOverride" Target="../theme/themeOverride254.xml"/><Relationship Id="rId6" Type="http://schemas.openxmlformats.org/officeDocument/2006/relationships/slideLayout" Target="../slideLayouts/slideLayout2.xml"/><Relationship Id="rId5" Type="http://schemas.openxmlformats.org/officeDocument/2006/relationships/tags" Target="../tags/tag21.xml"/><Relationship Id="rId4" Type="http://schemas.openxmlformats.org/officeDocument/2006/relationships/tags" Target="../tags/tag20.xml"/></Relationships>
</file>

<file path=ppt/slides/_rels/slide25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2.xml"/><Relationship Id="rId1" Type="http://schemas.openxmlformats.org/officeDocument/2006/relationships/themeOverride" Target="../theme/themeOverride255.xml"/></Relationships>
</file>

<file path=ppt/slides/_rels/slide25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3.xml"/><Relationship Id="rId1" Type="http://schemas.openxmlformats.org/officeDocument/2006/relationships/themeOverride" Target="../theme/themeOverride256.xml"/></Relationships>
</file>

<file path=ppt/slides/_rels/slide25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4.xml"/><Relationship Id="rId1" Type="http://schemas.openxmlformats.org/officeDocument/2006/relationships/themeOverride" Target="../theme/themeOverride257.xml"/></Relationships>
</file>

<file path=ppt/slides/_rels/slide259.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hemeOverride" Target="../theme/themeOverride258.xml"/></Relationships>
</file>

<file path=ppt/slides/_rels/slide26.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hemeOverride" Target="../theme/themeOverride25.xml"/></Relationships>
</file>

<file path=ppt/slides/_rels/slide260.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hemeOverride" Target="../theme/themeOverride259.xml"/></Relationships>
</file>

<file path=ppt/slides/_rels/slide26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5.xml"/><Relationship Id="rId1" Type="http://schemas.openxmlformats.org/officeDocument/2006/relationships/themeOverride" Target="../theme/themeOverride260.xml"/></Relationships>
</file>

<file path=ppt/slides/_rels/slide26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6.xml"/><Relationship Id="rId1" Type="http://schemas.openxmlformats.org/officeDocument/2006/relationships/themeOverride" Target="../theme/themeOverride261.xml"/></Relationships>
</file>

<file path=ppt/slides/_rels/slide263.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hemeOverride" Target="../theme/themeOverride262.xml"/></Relationships>
</file>

<file path=ppt/slides/_rels/slide264.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hemeOverride" Target="../theme/themeOverride263.xml"/></Relationships>
</file>

<file path=ppt/slides/_rels/slide265.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hemeOverride" Target="../theme/themeOverride264.xml"/></Relationships>
</file>

<file path=ppt/slides/_rels/slide266.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hemeOverride" Target="../theme/themeOverride265.xml"/></Relationships>
</file>

<file path=ppt/slides/_rels/slide26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7.xml"/><Relationship Id="rId1" Type="http://schemas.openxmlformats.org/officeDocument/2006/relationships/themeOverride" Target="../theme/themeOverride266.xml"/></Relationships>
</file>

<file path=ppt/slides/_rels/slide26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8.xml"/><Relationship Id="rId1" Type="http://schemas.openxmlformats.org/officeDocument/2006/relationships/themeOverride" Target="../theme/themeOverride267.xml"/></Relationships>
</file>

<file path=ppt/slides/_rels/slide26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9.xml"/><Relationship Id="rId1" Type="http://schemas.openxmlformats.org/officeDocument/2006/relationships/themeOverride" Target="../theme/themeOverride268.xml"/></Relationships>
</file>

<file path=ppt/slides/_rels/slide27.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hemeOverride" Target="../theme/themeOverride26.xml"/></Relationships>
</file>

<file path=ppt/slides/_rels/slide27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0.xml"/><Relationship Id="rId1" Type="http://schemas.openxmlformats.org/officeDocument/2006/relationships/themeOverride" Target="../theme/themeOverride269.xml"/></Relationships>
</file>

<file path=ppt/slides/_rels/slide271.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hemeOverride" Target="../theme/themeOverride270.xml"/></Relationships>
</file>

<file path=ppt/slides/_rels/slide272.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hemeOverride" Target="../theme/themeOverride271.xml"/></Relationships>
</file>

<file path=ppt/slides/_rels/slide273.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hemeOverride" Target="../theme/themeOverride272.xml"/></Relationships>
</file>

<file path=ppt/slides/_rels/slide27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1.xml"/><Relationship Id="rId1" Type="http://schemas.openxmlformats.org/officeDocument/2006/relationships/themeOverride" Target="../theme/themeOverride273.xml"/></Relationships>
</file>

<file path=ppt/slides/_rels/slide275.xml.rels><?xml version="1.0" encoding="UTF-8" standalone="yes"?>
<Relationships xmlns="http://schemas.openxmlformats.org/package/2006/relationships"><Relationship Id="rId3" Type="http://schemas.openxmlformats.org/officeDocument/2006/relationships/tags" Target="../tags/tag33.xml"/><Relationship Id="rId2" Type="http://schemas.openxmlformats.org/officeDocument/2006/relationships/tags" Target="../tags/tag32.xml"/><Relationship Id="rId1" Type="http://schemas.openxmlformats.org/officeDocument/2006/relationships/themeOverride" Target="../theme/themeOverride274.xml"/><Relationship Id="rId5" Type="http://schemas.openxmlformats.org/officeDocument/2006/relationships/slideLayout" Target="../slideLayouts/slideLayout2.xml"/><Relationship Id="rId4" Type="http://schemas.openxmlformats.org/officeDocument/2006/relationships/tags" Target="../tags/tag34.xml"/></Relationships>
</file>

<file path=ppt/slides/_rels/slide276.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hemeOverride" Target="../theme/themeOverride275.xml"/></Relationships>
</file>

<file path=ppt/slides/_rels/slide277.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hemeOverride" Target="../theme/themeOverride276.xml"/></Relationships>
</file>

<file path=ppt/slides/_rels/slide278.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hemeOverride" Target="../theme/themeOverride277.xml"/></Relationships>
</file>

<file path=ppt/slides/_rels/slide27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5.xml"/><Relationship Id="rId1" Type="http://schemas.openxmlformats.org/officeDocument/2006/relationships/themeOverride" Target="../theme/themeOverride278.xml"/></Relationships>
</file>

<file path=ppt/slides/_rels/slide28.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hemeOverride" Target="../theme/themeOverride27.xml"/></Relationships>
</file>

<file path=ppt/slides/_rels/slide28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6.xml"/><Relationship Id="rId1" Type="http://schemas.openxmlformats.org/officeDocument/2006/relationships/themeOverride" Target="../theme/themeOverride279.xml"/></Relationships>
</file>

<file path=ppt/slides/_rels/slide28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7.xml"/><Relationship Id="rId1" Type="http://schemas.openxmlformats.org/officeDocument/2006/relationships/themeOverride" Target="../theme/themeOverride280.xml"/></Relationships>
</file>

<file path=ppt/slides/_rels/slide28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8.xml"/><Relationship Id="rId1" Type="http://schemas.openxmlformats.org/officeDocument/2006/relationships/themeOverride" Target="../theme/themeOverride281.xml"/></Relationships>
</file>

<file path=ppt/slides/_rels/slide28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9.xml"/><Relationship Id="rId1" Type="http://schemas.openxmlformats.org/officeDocument/2006/relationships/themeOverride" Target="../theme/themeOverride282.xml"/></Relationships>
</file>

<file path=ppt/slides/_rels/slide284.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hemeOverride" Target="../theme/themeOverride283.xml"/></Relationships>
</file>

<file path=ppt/slides/_rels/slide285.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hemeOverride" Target="../theme/themeOverride284.xml"/></Relationships>
</file>

<file path=ppt/slides/_rels/slide286.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hemeOverride" Target="../theme/themeOverride285.xml"/></Relationships>
</file>

<file path=ppt/slides/_rels/slide287.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hemeOverride" Target="../theme/themeOverride286.xml"/></Relationships>
</file>

<file path=ppt/slides/_rels/slide288.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hemeOverride" Target="../theme/themeOverride287.xml"/></Relationships>
</file>

<file path=ppt/slides/_rels/slide289.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hemeOverride" Target="../theme/themeOverride288.xml"/></Relationships>
</file>

<file path=ppt/slides/_rels/slide29.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hemeOverride" Target="../theme/themeOverride28.xml"/></Relationships>
</file>

<file path=ppt/slides/_rels/slide290.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hemeOverride" Target="../theme/themeOverride289.xml"/></Relationships>
</file>

<file path=ppt/slides/_rels/slide291.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hemeOverride" Target="../theme/themeOverride290.xml"/></Relationships>
</file>

<file path=ppt/slides/_rels/slide29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0.xml"/><Relationship Id="rId1" Type="http://schemas.openxmlformats.org/officeDocument/2006/relationships/themeOverride" Target="../theme/themeOverride291.xml"/></Relationships>
</file>

<file path=ppt/slides/_rels/slide29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1.xml"/><Relationship Id="rId1" Type="http://schemas.openxmlformats.org/officeDocument/2006/relationships/themeOverride" Target="../theme/themeOverride292.xml"/><Relationship Id="rId4" Type="http://schemas.openxmlformats.org/officeDocument/2006/relationships/image" Target="../media/image7.png"/></Relationships>
</file>

<file path=ppt/slides/_rels/slide29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2.xml"/><Relationship Id="rId1" Type="http://schemas.openxmlformats.org/officeDocument/2006/relationships/themeOverride" Target="../theme/themeOverride293.xml"/></Relationships>
</file>

<file path=ppt/slides/_rels/slide295.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hemeOverride" Target="../theme/themeOverride294.xml"/></Relationships>
</file>

<file path=ppt/slides/_rels/slide296.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hemeOverride" Target="../theme/themeOverride295.xml"/></Relationships>
</file>

<file path=ppt/slides/_rels/slide297.xml.rels><?xml version="1.0" encoding="UTF-8" standalone="yes"?>
<Relationships xmlns="http://schemas.openxmlformats.org/package/2006/relationships"><Relationship Id="rId3" Type="http://schemas.openxmlformats.org/officeDocument/2006/relationships/tags" Target="../tags/tag44.xml"/><Relationship Id="rId2" Type="http://schemas.openxmlformats.org/officeDocument/2006/relationships/tags" Target="../tags/tag43.xml"/><Relationship Id="rId1" Type="http://schemas.openxmlformats.org/officeDocument/2006/relationships/themeOverride" Target="../theme/themeOverride296.xml"/><Relationship Id="rId6" Type="http://schemas.openxmlformats.org/officeDocument/2006/relationships/slideLayout" Target="../slideLayouts/slideLayout2.xml"/><Relationship Id="rId5" Type="http://schemas.openxmlformats.org/officeDocument/2006/relationships/tags" Target="../tags/tag46.xml"/><Relationship Id="rId4" Type="http://schemas.openxmlformats.org/officeDocument/2006/relationships/tags" Target="../tags/tag45.xml"/></Relationships>
</file>

<file path=ppt/slides/_rels/slide298.xml.rels><?xml version="1.0" encoding="UTF-8" standalone="yes"?>
<Relationships xmlns="http://schemas.openxmlformats.org/package/2006/relationships"><Relationship Id="rId8" Type="http://schemas.openxmlformats.org/officeDocument/2006/relationships/tags" Target="../tags/tag53.xml"/><Relationship Id="rId13" Type="http://schemas.openxmlformats.org/officeDocument/2006/relationships/tags" Target="../tags/tag58.xml"/><Relationship Id="rId3" Type="http://schemas.openxmlformats.org/officeDocument/2006/relationships/tags" Target="../tags/tag48.xml"/><Relationship Id="rId7" Type="http://schemas.openxmlformats.org/officeDocument/2006/relationships/tags" Target="../tags/tag52.xml"/><Relationship Id="rId12" Type="http://schemas.openxmlformats.org/officeDocument/2006/relationships/tags" Target="../tags/tag57.xml"/><Relationship Id="rId2" Type="http://schemas.openxmlformats.org/officeDocument/2006/relationships/tags" Target="../tags/tag47.xml"/><Relationship Id="rId1" Type="http://schemas.openxmlformats.org/officeDocument/2006/relationships/themeOverride" Target="../theme/themeOverride297.xml"/><Relationship Id="rId6" Type="http://schemas.openxmlformats.org/officeDocument/2006/relationships/tags" Target="../tags/tag51.xml"/><Relationship Id="rId11" Type="http://schemas.openxmlformats.org/officeDocument/2006/relationships/tags" Target="../tags/tag56.xml"/><Relationship Id="rId5" Type="http://schemas.openxmlformats.org/officeDocument/2006/relationships/tags" Target="../tags/tag50.xml"/><Relationship Id="rId10" Type="http://schemas.openxmlformats.org/officeDocument/2006/relationships/tags" Target="../tags/tag55.xml"/><Relationship Id="rId4" Type="http://schemas.openxmlformats.org/officeDocument/2006/relationships/tags" Target="../tags/tag49.xml"/><Relationship Id="rId9" Type="http://schemas.openxmlformats.org/officeDocument/2006/relationships/tags" Target="../tags/tag54.xml"/><Relationship Id="rId14" Type="http://schemas.openxmlformats.org/officeDocument/2006/relationships/slideLayout" Target="../slideLayouts/slideLayout2.xml"/></Relationships>
</file>

<file path=ppt/slides/_rels/slide299.xml.rels><?xml version="1.0" encoding="UTF-8" standalone="yes"?>
<Relationships xmlns="http://schemas.openxmlformats.org/package/2006/relationships"><Relationship Id="rId8" Type="http://schemas.openxmlformats.org/officeDocument/2006/relationships/tags" Target="../tags/tag65.xml"/><Relationship Id="rId13" Type="http://schemas.openxmlformats.org/officeDocument/2006/relationships/tags" Target="../tags/tag70.xml"/><Relationship Id="rId3" Type="http://schemas.openxmlformats.org/officeDocument/2006/relationships/tags" Target="../tags/tag60.xml"/><Relationship Id="rId7" Type="http://schemas.openxmlformats.org/officeDocument/2006/relationships/tags" Target="../tags/tag64.xml"/><Relationship Id="rId12" Type="http://schemas.openxmlformats.org/officeDocument/2006/relationships/tags" Target="../tags/tag69.xml"/><Relationship Id="rId2" Type="http://schemas.openxmlformats.org/officeDocument/2006/relationships/tags" Target="../tags/tag59.xml"/><Relationship Id="rId1" Type="http://schemas.openxmlformats.org/officeDocument/2006/relationships/themeOverride" Target="../theme/themeOverride298.xml"/><Relationship Id="rId6" Type="http://schemas.openxmlformats.org/officeDocument/2006/relationships/tags" Target="../tags/tag63.xml"/><Relationship Id="rId11" Type="http://schemas.openxmlformats.org/officeDocument/2006/relationships/tags" Target="../tags/tag68.xml"/><Relationship Id="rId5" Type="http://schemas.openxmlformats.org/officeDocument/2006/relationships/tags" Target="../tags/tag62.xml"/><Relationship Id="rId10" Type="http://schemas.openxmlformats.org/officeDocument/2006/relationships/tags" Target="../tags/tag67.xml"/><Relationship Id="rId4" Type="http://schemas.openxmlformats.org/officeDocument/2006/relationships/tags" Target="../tags/tag61.xml"/><Relationship Id="rId9" Type="http://schemas.openxmlformats.org/officeDocument/2006/relationships/tags" Target="../tags/tag66.xml"/><Relationship Id="rId14"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hemeOverride" Target="../theme/themeOverride2.xml"/></Relationships>
</file>

<file path=ppt/slides/_rels/slide30.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hemeOverride" Target="../theme/themeOverride29.xml"/></Relationships>
</file>

<file path=ppt/slides/_rels/slide300.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hemeOverride" Target="../theme/themeOverride299.xml"/></Relationships>
</file>

<file path=ppt/slides/_rels/slide30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1.xml"/><Relationship Id="rId1" Type="http://schemas.openxmlformats.org/officeDocument/2006/relationships/themeOverride" Target="../theme/themeOverride300.xml"/></Relationships>
</file>

<file path=ppt/slides/_rels/slide30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2.xml"/><Relationship Id="rId1" Type="http://schemas.openxmlformats.org/officeDocument/2006/relationships/themeOverride" Target="../theme/themeOverride301.xml"/></Relationships>
</file>

<file path=ppt/slides/_rels/slide30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3.xml"/><Relationship Id="rId1" Type="http://schemas.openxmlformats.org/officeDocument/2006/relationships/themeOverride" Target="../theme/themeOverride302.xml"/></Relationships>
</file>

<file path=ppt/slides/_rels/slide30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4.xml"/><Relationship Id="rId1" Type="http://schemas.openxmlformats.org/officeDocument/2006/relationships/themeOverride" Target="../theme/themeOverride303.xml"/></Relationships>
</file>

<file path=ppt/slides/_rels/slide30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5.xml"/><Relationship Id="rId1" Type="http://schemas.openxmlformats.org/officeDocument/2006/relationships/themeOverride" Target="../theme/themeOverride304.xml"/></Relationships>
</file>

<file path=ppt/slides/_rels/slide30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6.xml"/><Relationship Id="rId1" Type="http://schemas.openxmlformats.org/officeDocument/2006/relationships/themeOverride" Target="../theme/themeOverride305.xml"/></Relationships>
</file>

<file path=ppt/slides/_rels/slide30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7.xml"/><Relationship Id="rId1" Type="http://schemas.openxmlformats.org/officeDocument/2006/relationships/themeOverride" Target="../theme/themeOverride306.xml"/></Relationships>
</file>

<file path=ppt/slides/_rels/slide30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8.xml"/><Relationship Id="rId1" Type="http://schemas.openxmlformats.org/officeDocument/2006/relationships/themeOverride" Target="../theme/themeOverride307.xml"/></Relationships>
</file>

<file path=ppt/slides/_rels/slide30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9.xml"/><Relationship Id="rId1" Type="http://schemas.openxmlformats.org/officeDocument/2006/relationships/themeOverride" Target="../theme/themeOverride308.xml"/></Relationships>
</file>

<file path=ppt/slides/_rels/slide31.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hemeOverride" Target="../theme/themeOverride30.xml"/></Relationships>
</file>

<file path=ppt/slides/_rels/slide31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0.xml"/><Relationship Id="rId1" Type="http://schemas.openxmlformats.org/officeDocument/2006/relationships/themeOverride" Target="../theme/themeOverride309.xml"/></Relationships>
</file>

<file path=ppt/slides/_rels/slide31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1.xml"/><Relationship Id="rId1" Type="http://schemas.openxmlformats.org/officeDocument/2006/relationships/themeOverride" Target="../theme/themeOverride310.xml"/></Relationships>
</file>

<file path=ppt/slides/_rels/slide31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2.xml"/><Relationship Id="rId1" Type="http://schemas.openxmlformats.org/officeDocument/2006/relationships/themeOverride" Target="../theme/themeOverride311.xml"/></Relationships>
</file>

<file path=ppt/slides/_rels/slide31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3.xml"/><Relationship Id="rId1" Type="http://schemas.openxmlformats.org/officeDocument/2006/relationships/themeOverride" Target="../theme/themeOverride312.xml"/></Relationships>
</file>

<file path=ppt/slides/_rels/slide31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4.xml"/><Relationship Id="rId1" Type="http://schemas.openxmlformats.org/officeDocument/2006/relationships/themeOverride" Target="../theme/themeOverride313.xml"/></Relationships>
</file>

<file path=ppt/slides/_rels/slide31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5.xml"/><Relationship Id="rId1" Type="http://schemas.openxmlformats.org/officeDocument/2006/relationships/themeOverride" Target="../theme/themeOverride314.xml"/></Relationships>
</file>

<file path=ppt/slides/_rels/slide31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6.xml"/><Relationship Id="rId1" Type="http://schemas.openxmlformats.org/officeDocument/2006/relationships/themeOverride" Target="../theme/themeOverride315.xml"/></Relationships>
</file>

<file path=ppt/slides/_rels/slide31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7.xml"/><Relationship Id="rId1" Type="http://schemas.openxmlformats.org/officeDocument/2006/relationships/themeOverride" Target="../theme/themeOverride316.xml"/></Relationships>
</file>

<file path=ppt/slides/_rels/slide31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8.xml"/><Relationship Id="rId1" Type="http://schemas.openxmlformats.org/officeDocument/2006/relationships/themeOverride" Target="../theme/themeOverride317.xml"/></Relationships>
</file>

<file path=ppt/slides/_rels/slide31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9.xml"/><Relationship Id="rId1" Type="http://schemas.openxmlformats.org/officeDocument/2006/relationships/themeOverride" Target="../theme/themeOverride318.xml"/></Relationships>
</file>

<file path=ppt/slides/_rels/slide32.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hemeOverride" Target="../theme/themeOverride31.xml"/></Relationships>
</file>

<file path=ppt/slides/_rels/slide320.xml.rels><?xml version="1.0" encoding="UTF-8" standalone="yes"?>
<Relationships xmlns="http://schemas.openxmlformats.org/package/2006/relationships"><Relationship Id="rId3" Type="http://schemas.openxmlformats.org/officeDocument/2006/relationships/tags" Target="../tags/tag91.xml"/><Relationship Id="rId2" Type="http://schemas.openxmlformats.org/officeDocument/2006/relationships/tags" Target="../tags/tag90.xml"/><Relationship Id="rId1" Type="http://schemas.openxmlformats.org/officeDocument/2006/relationships/themeOverride" Target="../theme/themeOverride319.xml"/><Relationship Id="rId6" Type="http://schemas.openxmlformats.org/officeDocument/2006/relationships/slideLayout" Target="../slideLayouts/slideLayout2.xml"/><Relationship Id="rId5" Type="http://schemas.openxmlformats.org/officeDocument/2006/relationships/tags" Target="../tags/tag93.xml"/><Relationship Id="rId4" Type="http://schemas.openxmlformats.org/officeDocument/2006/relationships/tags" Target="../tags/tag92.xml"/></Relationships>
</file>

<file path=ppt/slides/_rels/slide32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94.xml"/><Relationship Id="rId1" Type="http://schemas.openxmlformats.org/officeDocument/2006/relationships/themeOverride" Target="../theme/themeOverride320.xml"/></Relationships>
</file>

<file path=ppt/slides/_rels/slide322.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hemeOverride" Target="../theme/themeOverride321.xml"/></Relationships>
</file>

<file path=ppt/slides/_rels/slide323.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hemeOverride" Target="../theme/themeOverride322.xml"/></Relationships>
</file>

<file path=ppt/slides/_rels/slide324.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hemeOverride" Target="../theme/themeOverride323.xml"/></Relationships>
</file>

<file path=ppt/slides/_rels/slide325.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hemeOverride" Target="../theme/themeOverride324.xml"/></Relationships>
</file>

<file path=ppt/slides/_rels/slide32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95.xml"/><Relationship Id="rId1" Type="http://schemas.openxmlformats.org/officeDocument/2006/relationships/themeOverride" Target="../theme/themeOverride325.xml"/></Relationships>
</file>

<file path=ppt/slides/_rels/slide327.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hemeOverride" Target="../theme/themeOverride326.xml"/></Relationships>
</file>

<file path=ppt/slides/_rels/slide328.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hemeOverride" Target="../theme/themeOverride327.xml"/></Relationships>
</file>

<file path=ppt/slides/_rels/slide329.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hemeOverride" Target="../theme/themeOverride328.xml"/></Relationships>
</file>

<file path=ppt/slides/_rels/slide33.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hemeOverride" Target="../theme/themeOverride32.xml"/></Relationships>
</file>

<file path=ppt/slides/_rels/slide330.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hemeOverride" Target="../theme/themeOverride329.xml"/></Relationships>
</file>

<file path=ppt/slides/_rels/slide331.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hemeOverride" Target="../theme/themeOverride330.xml"/></Relationships>
</file>

<file path=ppt/slides/_rels/slide332.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hemeOverride" Target="../theme/themeOverride331.xml"/></Relationships>
</file>

<file path=ppt/slides/_rels/slide333.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hemeOverride" Target="../theme/themeOverride332.xml"/></Relationships>
</file>

<file path=ppt/slides/_rels/slide334.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hemeOverride" Target="../theme/themeOverride333.xml"/></Relationships>
</file>

<file path=ppt/slides/_rels/slide335.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hemeOverride" Target="../theme/themeOverride334.xml"/></Relationships>
</file>

<file path=ppt/slides/_rels/slide336.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hemeOverride" Target="../theme/themeOverride335.xml"/></Relationships>
</file>

<file path=ppt/slides/_rels/slide337.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hemeOverride" Target="../theme/themeOverride336.xml"/></Relationships>
</file>

<file path=ppt/slides/_rels/slide338.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hemeOverride" Target="../theme/themeOverride337.xml"/></Relationships>
</file>

<file path=ppt/slides/_rels/slide33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96.xml"/><Relationship Id="rId1" Type="http://schemas.openxmlformats.org/officeDocument/2006/relationships/themeOverride" Target="../theme/themeOverride338.xml"/></Relationships>
</file>

<file path=ppt/slides/_rels/slide34.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hemeOverride" Target="../theme/themeOverride33.xml"/></Relationships>
</file>

<file path=ppt/slides/_rels/slide340.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hemeOverride" Target="../theme/themeOverride339.xml"/></Relationships>
</file>

<file path=ppt/slides/_rels/slide34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97.xml"/><Relationship Id="rId1" Type="http://schemas.openxmlformats.org/officeDocument/2006/relationships/themeOverride" Target="../theme/themeOverride340.xml"/></Relationships>
</file>

<file path=ppt/slides/_rels/slide342.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hemeOverride" Target="../theme/themeOverride341.xml"/></Relationships>
</file>

<file path=ppt/slides/_rels/slide343.xml.rels><?xml version="1.0" encoding="UTF-8" standalone="yes"?>
<Relationships xmlns="http://schemas.openxmlformats.org/package/2006/relationships"><Relationship Id="rId8" Type="http://schemas.openxmlformats.org/officeDocument/2006/relationships/tags" Target="../tags/tag104.xml"/><Relationship Id="rId3" Type="http://schemas.openxmlformats.org/officeDocument/2006/relationships/tags" Target="../tags/tag99.xml"/><Relationship Id="rId7" Type="http://schemas.openxmlformats.org/officeDocument/2006/relationships/tags" Target="../tags/tag103.xml"/><Relationship Id="rId2" Type="http://schemas.openxmlformats.org/officeDocument/2006/relationships/tags" Target="../tags/tag98.xml"/><Relationship Id="rId1" Type="http://schemas.openxmlformats.org/officeDocument/2006/relationships/themeOverride" Target="../theme/themeOverride342.xml"/><Relationship Id="rId6" Type="http://schemas.openxmlformats.org/officeDocument/2006/relationships/tags" Target="../tags/tag102.xml"/><Relationship Id="rId11" Type="http://schemas.openxmlformats.org/officeDocument/2006/relationships/slideLayout" Target="../slideLayouts/slideLayout2.xml"/><Relationship Id="rId5" Type="http://schemas.openxmlformats.org/officeDocument/2006/relationships/tags" Target="../tags/tag101.xml"/><Relationship Id="rId10" Type="http://schemas.openxmlformats.org/officeDocument/2006/relationships/tags" Target="../tags/tag106.xml"/><Relationship Id="rId4" Type="http://schemas.openxmlformats.org/officeDocument/2006/relationships/tags" Target="../tags/tag100.xml"/><Relationship Id="rId9" Type="http://schemas.openxmlformats.org/officeDocument/2006/relationships/tags" Target="../tags/tag105.xml"/></Relationships>
</file>

<file path=ppt/slides/_rels/slide344.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hemeOverride" Target="../theme/themeOverride343.xml"/></Relationships>
</file>

<file path=ppt/slides/_rels/slide345.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hemeOverride" Target="../theme/themeOverride344.xml"/></Relationships>
</file>

<file path=ppt/slides/_rels/slide346.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hemeOverride" Target="../theme/themeOverride345.xml"/></Relationships>
</file>

<file path=ppt/slides/_rels/slide347.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hemeOverride" Target="../theme/themeOverride346.xml"/></Relationships>
</file>

<file path=ppt/slides/_rels/slide348.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hemeOverride" Target="../theme/themeOverride347.xml"/></Relationships>
</file>

<file path=ppt/slides/_rels/slide349.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hemeOverride" Target="../theme/themeOverride348.xml"/></Relationships>
</file>

<file path=ppt/slides/_rels/slide35.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hemeOverride" Target="../theme/themeOverride34.xml"/></Relationships>
</file>

<file path=ppt/slides/_rels/slide350.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hemeOverride" Target="../theme/themeOverride349.xml"/></Relationships>
</file>

<file path=ppt/slides/_rels/slide351.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hemeOverride" Target="../theme/themeOverride350.xml"/></Relationships>
</file>

<file path=ppt/slides/_rels/slide352.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hemeOverride" Target="../theme/themeOverride351.xml"/></Relationships>
</file>

<file path=ppt/slides/_rels/slide353.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hemeOverride" Target="../theme/themeOverride352.xml"/></Relationships>
</file>

<file path=ppt/slides/_rels/slide354.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hemeOverride" Target="../theme/themeOverride353.xml"/></Relationships>
</file>

<file path=ppt/slides/_rels/slide355.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hemeOverride" Target="../theme/themeOverride354.xml"/></Relationships>
</file>

<file path=ppt/slides/_rels/slide356.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hemeOverride" Target="../theme/themeOverride355.xml"/></Relationships>
</file>

<file path=ppt/slides/_rels/slide357.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hemeOverride" Target="../theme/themeOverride356.xml"/></Relationships>
</file>

<file path=ppt/slides/_rels/slide358.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hemeOverride" Target="../theme/themeOverride357.xml"/></Relationships>
</file>

<file path=ppt/slides/_rels/slide359.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hemeOverride" Target="../theme/themeOverride358.xml"/></Relationships>
</file>

<file path=ppt/slides/_rels/slide36.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hemeOverride" Target="../theme/themeOverride35.xml"/></Relationships>
</file>

<file path=ppt/slides/_rels/slide360.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hemeOverride" Target="../theme/themeOverride359.xml"/></Relationships>
</file>

<file path=ppt/slides/_rels/slide36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Layout" Target="../slideLayouts/slideLayout3.xml"/><Relationship Id="rId1" Type="http://schemas.openxmlformats.org/officeDocument/2006/relationships/themeOverride" Target="../theme/themeOverride360.xml"/></Relationships>
</file>

<file path=ppt/slides/_rels/slide36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Layout" Target="../slideLayouts/slideLayout3.xml"/><Relationship Id="rId1" Type="http://schemas.openxmlformats.org/officeDocument/2006/relationships/themeOverride" Target="../theme/themeOverride361.xml"/></Relationships>
</file>

<file path=ppt/slides/_rels/slide363.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slideLayout" Target="../slideLayouts/slideLayout3.xml"/><Relationship Id="rId1" Type="http://schemas.openxmlformats.org/officeDocument/2006/relationships/themeOverride" Target="../theme/themeOverride362.xml"/></Relationships>
</file>

<file path=ppt/slides/_rels/slide364.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slideLayout" Target="../slideLayouts/slideLayout3.xml"/><Relationship Id="rId1" Type="http://schemas.openxmlformats.org/officeDocument/2006/relationships/themeOverride" Target="../theme/themeOverride363.xml"/></Relationships>
</file>

<file path=ppt/slides/_rels/slide365.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slideLayout" Target="../slideLayouts/slideLayout3.xml"/><Relationship Id="rId1" Type="http://schemas.openxmlformats.org/officeDocument/2006/relationships/themeOverride" Target="../theme/themeOverride364.xml"/></Relationships>
</file>

<file path=ppt/slides/_rels/slide366.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07.xml"/><Relationship Id="rId1" Type="http://schemas.openxmlformats.org/officeDocument/2006/relationships/themeOverride" Target="../theme/themeOverride365.xml"/><Relationship Id="rId4" Type="http://schemas.openxmlformats.org/officeDocument/2006/relationships/image" Target="../media/image13.png"/></Relationships>
</file>

<file path=ppt/slides/_rels/slide36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slideLayout" Target="../slideLayouts/slideLayout3.xml"/><Relationship Id="rId1" Type="http://schemas.openxmlformats.org/officeDocument/2006/relationships/themeOverride" Target="../theme/themeOverride366.xml"/><Relationship Id="rId4" Type="http://schemas.microsoft.com/office/2007/relationships/hdphoto" Target="../media/hdphoto1.wdp"/></Relationships>
</file>

<file path=ppt/slides/_rels/slide368.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hemeOverride" Target="../theme/themeOverride367.xml"/></Relationships>
</file>

<file path=ppt/slides/_rels/slide369.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hemeOverride" Target="../theme/themeOverride368.xml"/></Relationships>
</file>

<file path=ppt/slides/_rels/slide37.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hemeOverride" Target="../theme/themeOverride36.xml"/></Relationships>
</file>

<file path=ppt/slides/_rels/slide370.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hemeOverride" Target="../theme/themeOverride369.xml"/></Relationships>
</file>

<file path=ppt/slides/_rels/slide371.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hemeOverride" Target="../theme/themeOverride370.xml"/></Relationships>
</file>

<file path=ppt/slides/_rels/slide372.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hemeOverride" Target="../theme/themeOverride371.xml"/></Relationships>
</file>

<file path=ppt/slides/_rels/slide373.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08.xml"/><Relationship Id="rId1" Type="http://schemas.openxmlformats.org/officeDocument/2006/relationships/themeOverride" Target="../theme/themeOverride372.xml"/></Relationships>
</file>

<file path=ppt/slides/_rels/slide374.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09.xml"/><Relationship Id="rId1" Type="http://schemas.openxmlformats.org/officeDocument/2006/relationships/themeOverride" Target="../theme/themeOverride373.xml"/></Relationships>
</file>

<file path=ppt/slides/_rels/slide375.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10.xml"/><Relationship Id="rId1" Type="http://schemas.openxmlformats.org/officeDocument/2006/relationships/themeOverride" Target="../theme/themeOverride374.xml"/></Relationships>
</file>

<file path=ppt/slides/_rels/slide376.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hemeOverride" Target="../theme/themeOverride375.xml"/></Relationships>
</file>

<file path=ppt/slides/_rels/slide377.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hemeOverride" Target="../theme/themeOverride376.xml"/></Relationships>
</file>

<file path=ppt/slides/_rels/slide378.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11.xml"/><Relationship Id="rId1" Type="http://schemas.openxmlformats.org/officeDocument/2006/relationships/themeOverride" Target="../theme/themeOverride377.xml"/></Relationships>
</file>

<file path=ppt/slides/_rels/slide379.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12.xml"/><Relationship Id="rId1" Type="http://schemas.openxmlformats.org/officeDocument/2006/relationships/themeOverride" Target="../theme/themeOverride378.xml"/></Relationships>
</file>

<file path=ppt/slides/_rels/slide38.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hemeOverride" Target="../theme/themeOverride37.xml"/></Relationships>
</file>

<file path=ppt/slides/_rels/slide380.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13.xml"/><Relationship Id="rId1" Type="http://schemas.openxmlformats.org/officeDocument/2006/relationships/themeOverride" Target="../theme/themeOverride379.xml"/><Relationship Id="rId4" Type="http://schemas.openxmlformats.org/officeDocument/2006/relationships/image" Target="../media/image15.png"/></Relationships>
</file>

<file path=ppt/slides/_rels/slide38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14.xml"/><Relationship Id="rId1" Type="http://schemas.openxmlformats.org/officeDocument/2006/relationships/themeOverride" Target="../theme/themeOverride380.xml"/><Relationship Id="rId4" Type="http://schemas.openxmlformats.org/officeDocument/2006/relationships/image" Target="../media/image16.png"/></Relationships>
</file>

<file path=ppt/slides/_rels/slide382.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15.xml"/><Relationship Id="rId1" Type="http://schemas.openxmlformats.org/officeDocument/2006/relationships/themeOverride" Target="../theme/themeOverride381.xml"/><Relationship Id="rId4" Type="http://schemas.openxmlformats.org/officeDocument/2006/relationships/image" Target="../media/image17.png"/></Relationships>
</file>

<file path=ppt/slides/_rels/slide383.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16.xml"/><Relationship Id="rId1" Type="http://schemas.openxmlformats.org/officeDocument/2006/relationships/themeOverride" Target="../theme/themeOverride382.xml"/></Relationships>
</file>

<file path=ppt/slides/_rels/slide38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slideLayout" Target="../slideLayouts/slideLayout3.xml"/><Relationship Id="rId1" Type="http://schemas.openxmlformats.org/officeDocument/2006/relationships/themeOverride" Target="../theme/themeOverride383.xml"/></Relationships>
</file>

<file path=ppt/slides/_rels/slide385.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hemeOverride" Target="../theme/themeOverride384.xml"/></Relationships>
</file>

<file path=ppt/slides/_rels/slide386.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hemeOverride" Target="../theme/themeOverride385.xml"/></Relationships>
</file>

<file path=ppt/slides/_rels/slide387.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hemeOverride" Target="../theme/themeOverride386.xml"/></Relationships>
</file>

<file path=ppt/slides/_rels/slide388.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hemeOverride" Target="../theme/themeOverride387.xml"/></Relationships>
</file>

<file path=ppt/slides/_rels/slide389.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hemeOverride" Target="../theme/themeOverride388.xml"/></Relationships>
</file>

<file path=ppt/slides/_rels/slide39.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hemeOverride" Target="../theme/themeOverride38.xml"/></Relationships>
</file>

<file path=ppt/slides/_rels/slide390.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hemeOverride" Target="../theme/themeOverride389.xml"/></Relationships>
</file>

<file path=ppt/slides/_rels/slide391.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hemeOverride" Target="../theme/themeOverride390.xml"/></Relationships>
</file>

<file path=ppt/slides/_rels/slide392.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hemeOverride" Target="../theme/themeOverride391.xml"/></Relationships>
</file>

<file path=ppt/slides/_rels/slide393.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hemeOverride" Target="../theme/themeOverride392.xml"/></Relationships>
</file>

<file path=ppt/slides/_rels/slide394.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hemeOverride" Target="../theme/themeOverride393.xml"/></Relationships>
</file>

<file path=ppt/slides/_rels/slide395.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hemeOverride" Target="../theme/themeOverride394.xml"/></Relationships>
</file>

<file path=ppt/slides/_rels/slide396.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hemeOverride" Target="../theme/themeOverride395.xml"/></Relationships>
</file>

<file path=ppt/slides/_rels/slide397.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hemeOverride" Target="../theme/themeOverride396.xml"/></Relationships>
</file>

<file path=ppt/slides/_rels/slide398.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hemeOverride" Target="../theme/themeOverride397.xml"/></Relationships>
</file>

<file path=ppt/slides/_rels/slide399.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hemeOverride" Target="../theme/themeOverride398.xml"/></Relationships>
</file>

<file path=ppt/slides/_rels/slide4.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hemeOverride" Target="../theme/themeOverride3.xml"/></Relationships>
</file>

<file path=ppt/slides/_rels/slide40.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hemeOverride" Target="../theme/themeOverride39.xml"/></Relationships>
</file>

<file path=ppt/slides/_rels/slide400.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3.xml"/><Relationship Id="rId1" Type="http://schemas.openxmlformats.org/officeDocument/2006/relationships/themeOverride" Target="../theme/themeOverride399.xml"/></Relationships>
</file>

<file path=ppt/slides/_rels/slide401.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hemeOverride" Target="../theme/themeOverride400.xml"/></Relationships>
</file>

<file path=ppt/slides/_rels/slide402.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hemeOverride" Target="../theme/themeOverride401.xml"/></Relationships>
</file>

<file path=ppt/slides/_rels/slide403.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hemeOverride" Target="../theme/themeOverride402.xml"/></Relationships>
</file>

<file path=ppt/slides/_rels/slide404.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hemeOverride" Target="../theme/themeOverride403.xml"/></Relationships>
</file>

<file path=ppt/slides/_rels/slide405.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hemeOverride" Target="../theme/themeOverride404.xml"/></Relationships>
</file>

<file path=ppt/slides/_rels/slide406.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hemeOverride" Target="../theme/themeOverride405.xml"/></Relationships>
</file>

<file path=ppt/slides/_rels/slide407.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hemeOverride" Target="../theme/themeOverride406.xml"/></Relationships>
</file>

<file path=ppt/slides/_rels/slide408.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hemeOverride" Target="../theme/themeOverride407.xml"/></Relationships>
</file>

<file path=ppt/slides/_rels/slide409.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hemeOverride" Target="../theme/themeOverride408.xml"/></Relationships>
</file>

<file path=ppt/slides/_rels/slide41.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hemeOverride" Target="../theme/themeOverride40.xml"/></Relationships>
</file>

<file path=ppt/slides/_rels/slide410.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hemeOverride" Target="../theme/themeOverride409.xml"/></Relationships>
</file>

<file path=ppt/slides/_rels/slide411.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3.xml"/><Relationship Id="rId1" Type="http://schemas.openxmlformats.org/officeDocument/2006/relationships/themeOverride" Target="../theme/themeOverride410.xml"/></Relationships>
</file>

<file path=ppt/slides/_rels/slide412.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2.xml"/><Relationship Id="rId1" Type="http://schemas.openxmlformats.org/officeDocument/2006/relationships/themeOverride" Target="../theme/themeOverride411.xml"/></Relationships>
</file>

<file path=ppt/slides/_rels/slide413.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hemeOverride" Target="../theme/themeOverride412.xml"/></Relationships>
</file>

<file path=ppt/slides/_rels/slide414.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hemeOverride" Target="../theme/themeOverride413.xml"/></Relationships>
</file>

<file path=ppt/slides/_rels/slide415.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xml"/><Relationship Id="rId1" Type="http://schemas.openxmlformats.org/officeDocument/2006/relationships/themeOverride" Target="../theme/themeOverride414.xml"/></Relationships>
</file>

<file path=ppt/slides/_rels/slide416.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xml"/><Relationship Id="rId1" Type="http://schemas.openxmlformats.org/officeDocument/2006/relationships/themeOverride" Target="../theme/themeOverride415.xml"/></Relationships>
</file>

<file path=ppt/slides/_rels/slide417.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1.xml"/><Relationship Id="rId1" Type="http://schemas.openxmlformats.org/officeDocument/2006/relationships/themeOverride" Target="../theme/themeOverride416.xml"/></Relationships>
</file>

<file path=ppt/slides/_rels/slide418.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1.xml"/><Relationship Id="rId1" Type="http://schemas.openxmlformats.org/officeDocument/2006/relationships/themeOverride" Target="../theme/themeOverride417.xml"/></Relationships>
</file>

<file path=ppt/slides/_rels/slide419.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1.xml"/><Relationship Id="rId1" Type="http://schemas.openxmlformats.org/officeDocument/2006/relationships/themeOverride" Target="../theme/themeOverride418.xml"/></Relationships>
</file>

<file path=ppt/slides/_rels/slide42.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hemeOverride" Target="../theme/themeOverride41.xml"/></Relationships>
</file>

<file path=ppt/slides/_rels/slide420.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1.xml"/><Relationship Id="rId1" Type="http://schemas.openxmlformats.org/officeDocument/2006/relationships/themeOverride" Target="../theme/themeOverride419.xml"/></Relationships>
</file>

<file path=ppt/slides/_rels/slide421.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1.xml"/><Relationship Id="rId1" Type="http://schemas.openxmlformats.org/officeDocument/2006/relationships/themeOverride" Target="../theme/themeOverride420.xml"/></Relationships>
</file>

<file path=ppt/slides/_rels/slide422.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1.xml"/><Relationship Id="rId1" Type="http://schemas.openxmlformats.org/officeDocument/2006/relationships/themeOverride" Target="../theme/themeOverride421.xml"/></Relationships>
</file>

<file path=ppt/slides/_rels/slide423.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1.xml"/><Relationship Id="rId1" Type="http://schemas.openxmlformats.org/officeDocument/2006/relationships/themeOverride" Target="../theme/themeOverride422.xml"/></Relationships>
</file>

<file path=ppt/slides/_rels/slide424.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1.xml"/><Relationship Id="rId1" Type="http://schemas.openxmlformats.org/officeDocument/2006/relationships/themeOverride" Target="../theme/themeOverride423.xml"/></Relationships>
</file>

<file path=ppt/slides/_rels/slide425.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1.xml"/><Relationship Id="rId1" Type="http://schemas.openxmlformats.org/officeDocument/2006/relationships/themeOverride" Target="../theme/themeOverride424.xml"/></Relationships>
</file>

<file path=ppt/slides/_rels/slide426.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1.xml"/><Relationship Id="rId1" Type="http://schemas.openxmlformats.org/officeDocument/2006/relationships/themeOverride" Target="../theme/themeOverride425.xml"/></Relationships>
</file>

<file path=ppt/slides/_rels/slide427.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1.xml"/><Relationship Id="rId1" Type="http://schemas.openxmlformats.org/officeDocument/2006/relationships/themeOverride" Target="../theme/themeOverride426.xml"/></Relationships>
</file>

<file path=ppt/slides/_rels/slide428.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1.xml"/><Relationship Id="rId1" Type="http://schemas.openxmlformats.org/officeDocument/2006/relationships/themeOverride" Target="../theme/themeOverride427.xml"/></Relationships>
</file>

<file path=ppt/slides/_rels/slide429.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1.xml"/><Relationship Id="rId1" Type="http://schemas.openxmlformats.org/officeDocument/2006/relationships/themeOverride" Target="../theme/themeOverride428.xml"/></Relationships>
</file>

<file path=ppt/slides/_rels/slide43.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hemeOverride" Target="../theme/themeOverride42.xml"/></Relationships>
</file>

<file path=ppt/slides/_rels/slide430.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1.xml"/><Relationship Id="rId1" Type="http://schemas.openxmlformats.org/officeDocument/2006/relationships/themeOverride" Target="../theme/themeOverride429.xml"/></Relationships>
</file>

<file path=ppt/slides/_rels/slide431.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1.xml"/><Relationship Id="rId1" Type="http://schemas.openxmlformats.org/officeDocument/2006/relationships/themeOverride" Target="../theme/themeOverride430.xml"/></Relationships>
</file>

<file path=ppt/slides/_rels/slide432.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1.xml"/><Relationship Id="rId1" Type="http://schemas.openxmlformats.org/officeDocument/2006/relationships/themeOverride" Target="../theme/themeOverride431.xml"/></Relationships>
</file>

<file path=ppt/slides/_rels/slide433.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1.xml"/><Relationship Id="rId1" Type="http://schemas.openxmlformats.org/officeDocument/2006/relationships/themeOverride" Target="../theme/themeOverride432.xml"/></Relationships>
</file>

<file path=ppt/slides/_rels/slide434.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1.xml"/><Relationship Id="rId1" Type="http://schemas.openxmlformats.org/officeDocument/2006/relationships/themeOverride" Target="../theme/themeOverride433.xml"/></Relationships>
</file>

<file path=ppt/slides/_rels/slide435.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1.xml"/><Relationship Id="rId1" Type="http://schemas.openxmlformats.org/officeDocument/2006/relationships/themeOverride" Target="../theme/themeOverride434.xml"/></Relationships>
</file>

<file path=ppt/slides/_rels/slide436.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1.xml"/><Relationship Id="rId1" Type="http://schemas.openxmlformats.org/officeDocument/2006/relationships/themeOverride" Target="../theme/themeOverride435.xml"/></Relationships>
</file>

<file path=ppt/slides/_rels/slide437.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1.xml"/><Relationship Id="rId1" Type="http://schemas.openxmlformats.org/officeDocument/2006/relationships/themeOverride" Target="../theme/themeOverride436.xml"/></Relationships>
</file>

<file path=ppt/slides/_rels/slide438.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1.xml"/><Relationship Id="rId1" Type="http://schemas.openxmlformats.org/officeDocument/2006/relationships/themeOverride" Target="../theme/themeOverride437.xml"/></Relationships>
</file>

<file path=ppt/slides/_rels/slide439.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1.xml"/><Relationship Id="rId1" Type="http://schemas.openxmlformats.org/officeDocument/2006/relationships/themeOverride" Target="../theme/themeOverride438.xml"/></Relationships>
</file>

<file path=ppt/slides/_rels/slide44.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hemeOverride" Target="../theme/themeOverride43.xml"/></Relationships>
</file>

<file path=ppt/slides/_rels/slide440.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1.xml"/><Relationship Id="rId1" Type="http://schemas.openxmlformats.org/officeDocument/2006/relationships/themeOverride" Target="../theme/themeOverride439.xml"/></Relationships>
</file>

<file path=ppt/slides/_rels/slide441.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1.xml"/><Relationship Id="rId1" Type="http://schemas.openxmlformats.org/officeDocument/2006/relationships/themeOverride" Target="../theme/themeOverride440.xml"/></Relationships>
</file>

<file path=ppt/slides/_rels/slide442.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1.xml"/><Relationship Id="rId1" Type="http://schemas.openxmlformats.org/officeDocument/2006/relationships/themeOverride" Target="../theme/themeOverride441.xml"/></Relationships>
</file>

<file path=ppt/slides/_rels/slide443.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1.xml"/><Relationship Id="rId1" Type="http://schemas.openxmlformats.org/officeDocument/2006/relationships/themeOverride" Target="../theme/themeOverride442.xml"/></Relationships>
</file>

<file path=ppt/slides/_rels/slide444.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1.xml"/><Relationship Id="rId1" Type="http://schemas.openxmlformats.org/officeDocument/2006/relationships/themeOverride" Target="../theme/themeOverride443.xml"/></Relationships>
</file>

<file path=ppt/slides/_rels/slide445.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1.xml"/><Relationship Id="rId1" Type="http://schemas.openxmlformats.org/officeDocument/2006/relationships/themeOverride" Target="../theme/themeOverride444.xml"/></Relationships>
</file>

<file path=ppt/slides/_rels/slide446.xml.rels><?xml version="1.0" encoding="UTF-8" standalone="yes"?>
<Relationships xmlns="http://schemas.openxmlformats.org/package/2006/relationships"><Relationship Id="rId3" Type="http://schemas.openxmlformats.org/officeDocument/2006/relationships/notesSlide" Target="../notesSlides/notesSlide35.xml"/><Relationship Id="rId2" Type="http://schemas.openxmlformats.org/officeDocument/2006/relationships/slideLayout" Target="../slideLayouts/slideLayout1.xml"/><Relationship Id="rId1" Type="http://schemas.openxmlformats.org/officeDocument/2006/relationships/themeOverride" Target="../theme/themeOverride445.xml"/></Relationships>
</file>

<file path=ppt/slides/_rels/slide447.xml.rels><?xml version="1.0" encoding="UTF-8" standalone="yes"?>
<Relationships xmlns="http://schemas.openxmlformats.org/package/2006/relationships"><Relationship Id="rId3" Type="http://schemas.openxmlformats.org/officeDocument/2006/relationships/notesSlide" Target="../notesSlides/notesSlide36.xml"/><Relationship Id="rId2" Type="http://schemas.openxmlformats.org/officeDocument/2006/relationships/slideLayout" Target="../slideLayouts/slideLayout1.xml"/><Relationship Id="rId1" Type="http://schemas.openxmlformats.org/officeDocument/2006/relationships/themeOverride" Target="../theme/themeOverride446.xml"/></Relationships>
</file>

<file path=ppt/slides/_rels/slide448.xml.rels><?xml version="1.0" encoding="UTF-8" standalone="yes"?>
<Relationships xmlns="http://schemas.openxmlformats.org/package/2006/relationships"><Relationship Id="rId3" Type="http://schemas.openxmlformats.org/officeDocument/2006/relationships/notesSlide" Target="../notesSlides/notesSlide37.xml"/><Relationship Id="rId2" Type="http://schemas.openxmlformats.org/officeDocument/2006/relationships/slideLayout" Target="../slideLayouts/slideLayout1.xml"/><Relationship Id="rId1" Type="http://schemas.openxmlformats.org/officeDocument/2006/relationships/themeOverride" Target="../theme/themeOverride447.xml"/></Relationships>
</file>

<file path=ppt/slides/_rels/slide449.xml.rels><?xml version="1.0" encoding="UTF-8" standalone="yes"?>
<Relationships xmlns="http://schemas.openxmlformats.org/package/2006/relationships"><Relationship Id="rId3" Type="http://schemas.openxmlformats.org/officeDocument/2006/relationships/notesSlide" Target="../notesSlides/notesSlide38.xml"/><Relationship Id="rId2" Type="http://schemas.openxmlformats.org/officeDocument/2006/relationships/slideLayout" Target="../slideLayouts/slideLayout1.xml"/><Relationship Id="rId1" Type="http://schemas.openxmlformats.org/officeDocument/2006/relationships/themeOverride" Target="../theme/themeOverride448.xml"/></Relationships>
</file>

<file path=ppt/slides/_rels/slide45.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hemeOverride" Target="../theme/themeOverride44.xml"/></Relationships>
</file>

<file path=ppt/slides/_rels/slide450.xml.rels><?xml version="1.0" encoding="UTF-8" standalone="yes"?>
<Relationships xmlns="http://schemas.openxmlformats.org/package/2006/relationships"><Relationship Id="rId3" Type="http://schemas.openxmlformats.org/officeDocument/2006/relationships/notesSlide" Target="../notesSlides/notesSlide39.xml"/><Relationship Id="rId2" Type="http://schemas.openxmlformats.org/officeDocument/2006/relationships/slideLayout" Target="../slideLayouts/slideLayout1.xml"/><Relationship Id="rId1" Type="http://schemas.openxmlformats.org/officeDocument/2006/relationships/themeOverride" Target="../theme/themeOverride449.xml"/></Relationships>
</file>

<file path=ppt/slides/_rels/slide451.xml.rels><?xml version="1.0" encoding="UTF-8" standalone="yes"?>
<Relationships xmlns="http://schemas.openxmlformats.org/package/2006/relationships"><Relationship Id="rId3" Type="http://schemas.openxmlformats.org/officeDocument/2006/relationships/notesSlide" Target="../notesSlides/notesSlide40.xml"/><Relationship Id="rId2" Type="http://schemas.openxmlformats.org/officeDocument/2006/relationships/slideLayout" Target="../slideLayouts/slideLayout1.xml"/><Relationship Id="rId1" Type="http://schemas.openxmlformats.org/officeDocument/2006/relationships/themeOverride" Target="../theme/themeOverride450.xml"/></Relationships>
</file>

<file path=ppt/slides/_rels/slide452.xml.rels><?xml version="1.0" encoding="UTF-8" standalone="yes"?>
<Relationships xmlns="http://schemas.openxmlformats.org/package/2006/relationships"><Relationship Id="rId3" Type="http://schemas.openxmlformats.org/officeDocument/2006/relationships/notesSlide" Target="../notesSlides/notesSlide41.xml"/><Relationship Id="rId2" Type="http://schemas.openxmlformats.org/officeDocument/2006/relationships/slideLayout" Target="../slideLayouts/slideLayout1.xml"/><Relationship Id="rId1" Type="http://schemas.openxmlformats.org/officeDocument/2006/relationships/themeOverride" Target="../theme/themeOverride451.xml"/></Relationships>
</file>

<file path=ppt/slides/_rels/slide453.xml.rels><?xml version="1.0" encoding="UTF-8" standalone="yes"?>
<Relationships xmlns="http://schemas.openxmlformats.org/package/2006/relationships"><Relationship Id="rId3" Type="http://schemas.openxmlformats.org/officeDocument/2006/relationships/notesSlide" Target="../notesSlides/notesSlide42.xml"/><Relationship Id="rId2" Type="http://schemas.openxmlformats.org/officeDocument/2006/relationships/slideLayout" Target="../slideLayouts/slideLayout1.xml"/><Relationship Id="rId1" Type="http://schemas.openxmlformats.org/officeDocument/2006/relationships/themeOverride" Target="../theme/themeOverride452.xml"/></Relationships>
</file>

<file path=ppt/slides/_rels/slide454.xml.rels><?xml version="1.0" encoding="UTF-8" standalone="yes"?>
<Relationships xmlns="http://schemas.openxmlformats.org/package/2006/relationships"><Relationship Id="rId3" Type="http://schemas.openxmlformats.org/officeDocument/2006/relationships/notesSlide" Target="../notesSlides/notesSlide43.xml"/><Relationship Id="rId2" Type="http://schemas.openxmlformats.org/officeDocument/2006/relationships/slideLayout" Target="../slideLayouts/slideLayout1.xml"/><Relationship Id="rId1" Type="http://schemas.openxmlformats.org/officeDocument/2006/relationships/themeOverride" Target="../theme/themeOverride453.xml"/></Relationships>
</file>

<file path=ppt/slides/_rels/slide455.xml.rels><?xml version="1.0" encoding="UTF-8" standalone="yes"?>
<Relationships xmlns="http://schemas.openxmlformats.org/package/2006/relationships"><Relationship Id="rId3" Type="http://schemas.openxmlformats.org/officeDocument/2006/relationships/notesSlide" Target="../notesSlides/notesSlide44.xml"/><Relationship Id="rId2" Type="http://schemas.openxmlformats.org/officeDocument/2006/relationships/slideLayout" Target="../slideLayouts/slideLayout1.xml"/><Relationship Id="rId1" Type="http://schemas.openxmlformats.org/officeDocument/2006/relationships/themeOverride" Target="../theme/themeOverride454.xml"/></Relationships>
</file>

<file path=ppt/slides/_rels/slide456.xml.rels><?xml version="1.0" encoding="UTF-8" standalone="yes"?>
<Relationships xmlns="http://schemas.openxmlformats.org/package/2006/relationships"><Relationship Id="rId3" Type="http://schemas.openxmlformats.org/officeDocument/2006/relationships/notesSlide" Target="../notesSlides/notesSlide45.xml"/><Relationship Id="rId2" Type="http://schemas.openxmlformats.org/officeDocument/2006/relationships/slideLayout" Target="../slideLayouts/slideLayout1.xml"/><Relationship Id="rId1" Type="http://schemas.openxmlformats.org/officeDocument/2006/relationships/themeOverride" Target="../theme/themeOverride455.xml"/></Relationships>
</file>

<file path=ppt/slides/_rels/slide457.xml.rels><?xml version="1.0" encoding="UTF-8" standalone="yes"?>
<Relationships xmlns="http://schemas.openxmlformats.org/package/2006/relationships"><Relationship Id="rId3" Type="http://schemas.openxmlformats.org/officeDocument/2006/relationships/notesSlide" Target="../notesSlides/notesSlide46.xml"/><Relationship Id="rId2" Type="http://schemas.openxmlformats.org/officeDocument/2006/relationships/slideLayout" Target="../slideLayouts/slideLayout1.xml"/><Relationship Id="rId1" Type="http://schemas.openxmlformats.org/officeDocument/2006/relationships/themeOverride" Target="../theme/themeOverride456.xml"/></Relationships>
</file>

<file path=ppt/slides/_rels/slide458.xml.rels><?xml version="1.0" encoding="UTF-8" standalone="yes"?>
<Relationships xmlns="http://schemas.openxmlformats.org/package/2006/relationships"><Relationship Id="rId3" Type="http://schemas.openxmlformats.org/officeDocument/2006/relationships/notesSlide" Target="../notesSlides/notesSlide47.xml"/><Relationship Id="rId2" Type="http://schemas.openxmlformats.org/officeDocument/2006/relationships/slideLayout" Target="../slideLayouts/slideLayout1.xml"/><Relationship Id="rId1" Type="http://schemas.openxmlformats.org/officeDocument/2006/relationships/themeOverride" Target="../theme/themeOverride457.xml"/></Relationships>
</file>

<file path=ppt/slides/_rels/slide459.xml.rels><?xml version="1.0" encoding="UTF-8" standalone="yes"?>
<Relationships xmlns="http://schemas.openxmlformats.org/package/2006/relationships"><Relationship Id="rId3" Type="http://schemas.openxmlformats.org/officeDocument/2006/relationships/notesSlide" Target="../notesSlides/notesSlide48.xml"/><Relationship Id="rId2" Type="http://schemas.openxmlformats.org/officeDocument/2006/relationships/slideLayout" Target="../slideLayouts/slideLayout1.xml"/><Relationship Id="rId1" Type="http://schemas.openxmlformats.org/officeDocument/2006/relationships/themeOverride" Target="../theme/themeOverride458.xml"/></Relationships>
</file>

<file path=ppt/slides/_rels/slide4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Layout" Target="../slideLayouts/slideLayout1.xml"/><Relationship Id="rId1" Type="http://schemas.openxmlformats.org/officeDocument/2006/relationships/themeOverride" Target="../theme/themeOverride45.xml"/></Relationships>
</file>

<file path=ppt/slides/_rels/slide460.xml.rels><?xml version="1.0" encoding="UTF-8" standalone="yes"?>
<Relationships xmlns="http://schemas.openxmlformats.org/package/2006/relationships"><Relationship Id="rId3" Type="http://schemas.openxmlformats.org/officeDocument/2006/relationships/notesSlide" Target="../notesSlides/notesSlide49.xml"/><Relationship Id="rId2" Type="http://schemas.openxmlformats.org/officeDocument/2006/relationships/slideLayout" Target="../slideLayouts/slideLayout1.xml"/><Relationship Id="rId1" Type="http://schemas.openxmlformats.org/officeDocument/2006/relationships/themeOverride" Target="../theme/themeOverride459.xml"/></Relationships>
</file>

<file path=ppt/slides/_rels/slide461.xml.rels><?xml version="1.0" encoding="UTF-8" standalone="yes"?>
<Relationships xmlns="http://schemas.openxmlformats.org/package/2006/relationships"><Relationship Id="rId3" Type="http://schemas.openxmlformats.org/officeDocument/2006/relationships/notesSlide" Target="../notesSlides/notesSlide50.xml"/><Relationship Id="rId2" Type="http://schemas.openxmlformats.org/officeDocument/2006/relationships/slideLayout" Target="../slideLayouts/slideLayout1.xml"/><Relationship Id="rId1" Type="http://schemas.openxmlformats.org/officeDocument/2006/relationships/themeOverride" Target="../theme/themeOverride460.xml"/></Relationships>
</file>

<file path=ppt/slides/_rels/slide462.xml.rels><?xml version="1.0" encoding="UTF-8" standalone="yes"?>
<Relationships xmlns="http://schemas.openxmlformats.org/package/2006/relationships"><Relationship Id="rId3" Type="http://schemas.openxmlformats.org/officeDocument/2006/relationships/notesSlide" Target="../notesSlides/notesSlide51.xml"/><Relationship Id="rId2" Type="http://schemas.openxmlformats.org/officeDocument/2006/relationships/slideLayout" Target="../slideLayouts/slideLayout1.xml"/><Relationship Id="rId1" Type="http://schemas.openxmlformats.org/officeDocument/2006/relationships/themeOverride" Target="../theme/themeOverride461.xml"/></Relationships>
</file>

<file path=ppt/slides/_rels/slide463.xml.rels><?xml version="1.0" encoding="UTF-8" standalone="yes"?>
<Relationships xmlns="http://schemas.openxmlformats.org/package/2006/relationships"><Relationship Id="rId3" Type="http://schemas.openxmlformats.org/officeDocument/2006/relationships/notesSlide" Target="../notesSlides/notesSlide52.xml"/><Relationship Id="rId2" Type="http://schemas.openxmlformats.org/officeDocument/2006/relationships/slideLayout" Target="../slideLayouts/slideLayout1.xml"/><Relationship Id="rId1" Type="http://schemas.openxmlformats.org/officeDocument/2006/relationships/themeOverride" Target="../theme/themeOverride462.xml"/></Relationships>
</file>

<file path=ppt/slides/_rels/slide464.xml.rels><?xml version="1.0" encoding="UTF-8" standalone="yes"?>
<Relationships xmlns="http://schemas.openxmlformats.org/package/2006/relationships"><Relationship Id="rId3" Type="http://schemas.openxmlformats.org/officeDocument/2006/relationships/notesSlide" Target="../notesSlides/notesSlide53.xml"/><Relationship Id="rId2" Type="http://schemas.openxmlformats.org/officeDocument/2006/relationships/slideLayout" Target="../slideLayouts/slideLayout1.xml"/><Relationship Id="rId1" Type="http://schemas.openxmlformats.org/officeDocument/2006/relationships/themeOverride" Target="../theme/themeOverride463.xml"/></Relationships>
</file>

<file path=ppt/slides/_rels/slide465.xml.rels><?xml version="1.0" encoding="UTF-8" standalone="yes"?>
<Relationships xmlns="http://schemas.openxmlformats.org/package/2006/relationships"><Relationship Id="rId3" Type="http://schemas.openxmlformats.org/officeDocument/2006/relationships/notesSlide" Target="../notesSlides/notesSlide54.xml"/><Relationship Id="rId2" Type="http://schemas.openxmlformats.org/officeDocument/2006/relationships/slideLayout" Target="../slideLayouts/slideLayout1.xml"/><Relationship Id="rId1" Type="http://schemas.openxmlformats.org/officeDocument/2006/relationships/themeOverride" Target="../theme/themeOverride464.xml"/></Relationships>
</file>

<file path=ppt/slides/_rels/slide466.xml.rels><?xml version="1.0" encoding="UTF-8" standalone="yes"?>
<Relationships xmlns="http://schemas.openxmlformats.org/package/2006/relationships"><Relationship Id="rId3" Type="http://schemas.openxmlformats.org/officeDocument/2006/relationships/notesSlide" Target="../notesSlides/notesSlide55.xml"/><Relationship Id="rId2" Type="http://schemas.openxmlformats.org/officeDocument/2006/relationships/slideLayout" Target="../slideLayouts/slideLayout1.xml"/><Relationship Id="rId1" Type="http://schemas.openxmlformats.org/officeDocument/2006/relationships/themeOverride" Target="../theme/themeOverride465.xml"/></Relationships>
</file>

<file path=ppt/slides/_rels/slide467.xml.rels><?xml version="1.0" encoding="UTF-8" standalone="yes"?>
<Relationships xmlns="http://schemas.openxmlformats.org/package/2006/relationships"><Relationship Id="rId3" Type="http://schemas.openxmlformats.org/officeDocument/2006/relationships/notesSlide" Target="../notesSlides/notesSlide56.xml"/><Relationship Id="rId2" Type="http://schemas.openxmlformats.org/officeDocument/2006/relationships/slideLayout" Target="../slideLayouts/slideLayout1.xml"/><Relationship Id="rId1" Type="http://schemas.openxmlformats.org/officeDocument/2006/relationships/themeOverride" Target="../theme/themeOverride466.xml"/></Relationships>
</file>

<file path=ppt/slides/_rels/slide468.xml.rels><?xml version="1.0" encoding="UTF-8" standalone="yes"?>
<Relationships xmlns="http://schemas.openxmlformats.org/package/2006/relationships"><Relationship Id="rId3" Type="http://schemas.openxmlformats.org/officeDocument/2006/relationships/notesSlide" Target="../notesSlides/notesSlide57.xml"/><Relationship Id="rId2" Type="http://schemas.openxmlformats.org/officeDocument/2006/relationships/slideLayout" Target="../slideLayouts/slideLayout1.xml"/><Relationship Id="rId1" Type="http://schemas.openxmlformats.org/officeDocument/2006/relationships/themeOverride" Target="../theme/themeOverride467.xml"/></Relationships>
</file>

<file path=ppt/slides/_rels/slide469.xml.rels><?xml version="1.0" encoding="UTF-8" standalone="yes"?>
<Relationships xmlns="http://schemas.openxmlformats.org/package/2006/relationships"><Relationship Id="rId3" Type="http://schemas.openxmlformats.org/officeDocument/2006/relationships/notesSlide" Target="../notesSlides/notesSlide58.xml"/><Relationship Id="rId2" Type="http://schemas.openxmlformats.org/officeDocument/2006/relationships/slideLayout" Target="../slideLayouts/slideLayout1.xml"/><Relationship Id="rId1" Type="http://schemas.openxmlformats.org/officeDocument/2006/relationships/themeOverride" Target="../theme/themeOverride468.xml"/></Relationships>
</file>

<file path=ppt/slides/_rels/slide4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Layout" Target="../slideLayouts/slideLayout1.xml"/><Relationship Id="rId1" Type="http://schemas.openxmlformats.org/officeDocument/2006/relationships/themeOverride" Target="../theme/themeOverride46.xml"/></Relationships>
</file>

<file path=ppt/slides/_rels/slide470.xml.rels><?xml version="1.0" encoding="UTF-8" standalone="yes"?>
<Relationships xmlns="http://schemas.openxmlformats.org/package/2006/relationships"><Relationship Id="rId3" Type="http://schemas.openxmlformats.org/officeDocument/2006/relationships/notesSlide" Target="../notesSlides/notesSlide59.xml"/><Relationship Id="rId2" Type="http://schemas.openxmlformats.org/officeDocument/2006/relationships/slideLayout" Target="../slideLayouts/slideLayout1.xml"/><Relationship Id="rId1" Type="http://schemas.openxmlformats.org/officeDocument/2006/relationships/themeOverride" Target="../theme/themeOverride469.xml"/></Relationships>
</file>

<file path=ppt/slides/_rels/slide471.xml.rels><?xml version="1.0" encoding="UTF-8" standalone="yes"?>
<Relationships xmlns="http://schemas.openxmlformats.org/package/2006/relationships"><Relationship Id="rId3" Type="http://schemas.openxmlformats.org/officeDocument/2006/relationships/notesSlide" Target="../notesSlides/notesSlide60.xml"/><Relationship Id="rId2" Type="http://schemas.openxmlformats.org/officeDocument/2006/relationships/slideLayout" Target="../slideLayouts/slideLayout1.xml"/><Relationship Id="rId1" Type="http://schemas.openxmlformats.org/officeDocument/2006/relationships/themeOverride" Target="../theme/themeOverride470.xml"/></Relationships>
</file>

<file path=ppt/slides/_rels/slide472.xml.rels><?xml version="1.0" encoding="UTF-8" standalone="yes"?>
<Relationships xmlns="http://schemas.openxmlformats.org/package/2006/relationships"><Relationship Id="rId3" Type="http://schemas.openxmlformats.org/officeDocument/2006/relationships/notesSlide" Target="../notesSlides/notesSlide61.xml"/><Relationship Id="rId2" Type="http://schemas.openxmlformats.org/officeDocument/2006/relationships/slideLayout" Target="../slideLayouts/slideLayout1.xml"/><Relationship Id="rId1" Type="http://schemas.openxmlformats.org/officeDocument/2006/relationships/themeOverride" Target="../theme/themeOverride471.xml"/></Relationships>
</file>

<file path=ppt/slides/_rels/slide473.xml.rels><?xml version="1.0" encoding="UTF-8" standalone="yes"?>
<Relationships xmlns="http://schemas.openxmlformats.org/package/2006/relationships"><Relationship Id="rId3" Type="http://schemas.openxmlformats.org/officeDocument/2006/relationships/notesSlide" Target="../notesSlides/notesSlide62.xml"/><Relationship Id="rId2" Type="http://schemas.openxmlformats.org/officeDocument/2006/relationships/slideLayout" Target="../slideLayouts/slideLayout1.xml"/><Relationship Id="rId1" Type="http://schemas.openxmlformats.org/officeDocument/2006/relationships/themeOverride" Target="../theme/themeOverride472.xml"/></Relationships>
</file>

<file path=ppt/slides/_rels/slide474.xml.rels><?xml version="1.0" encoding="UTF-8" standalone="yes"?>
<Relationships xmlns="http://schemas.openxmlformats.org/package/2006/relationships"><Relationship Id="rId3" Type="http://schemas.openxmlformats.org/officeDocument/2006/relationships/notesSlide" Target="../notesSlides/notesSlide63.xml"/><Relationship Id="rId2" Type="http://schemas.openxmlformats.org/officeDocument/2006/relationships/slideLayout" Target="../slideLayouts/slideLayout1.xml"/><Relationship Id="rId1" Type="http://schemas.openxmlformats.org/officeDocument/2006/relationships/themeOverride" Target="../theme/themeOverride473.xml"/></Relationships>
</file>

<file path=ppt/slides/_rels/slide475.xml.rels><?xml version="1.0" encoding="UTF-8" standalone="yes"?>
<Relationships xmlns="http://schemas.openxmlformats.org/package/2006/relationships"><Relationship Id="rId3" Type="http://schemas.openxmlformats.org/officeDocument/2006/relationships/notesSlide" Target="../notesSlides/notesSlide64.xml"/><Relationship Id="rId2" Type="http://schemas.openxmlformats.org/officeDocument/2006/relationships/slideLayout" Target="../slideLayouts/slideLayout1.xml"/><Relationship Id="rId1" Type="http://schemas.openxmlformats.org/officeDocument/2006/relationships/themeOverride" Target="../theme/themeOverride474.xml"/></Relationships>
</file>

<file path=ppt/slides/_rels/slide476.xml.rels><?xml version="1.0" encoding="UTF-8" standalone="yes"?>
<Relationships xmlns="http://schemas.openxmlformats.org/package/2006/relationships"><Relationship Id="rId3" Type="http://schemas.openxmlformats.org/officeDocument/2006/relationships/notesSlide" Target="../notesSlides/notesSlide65.xml"/><Relationship Id="rId2" Type="http://schemas.openxmlformats.org/officeDocument/2006/relationships/slideLayout" Target="../slideLayouts/slideLayout1.xml"/><Relationship Id="rId1" Type="http://schemas.openxmlformats.org/officeDocument/2006/relationships/themeOverride" Target="../theme/themeOverride475.xml"/></Relationships>
</file>

<file path=ppt/slides/_rels/slide477.xml.rels><?xml version="1.0" encoding="UTF-8" standalone="yes"?>
<Relationships xmlns="http://schemas.openxmlformats.org/package/2006/relationships"><Relationship Id="rId3" Type="http://schemas.openxmlformats.org/officeDocument/2006/relationships/notesSlide" Target="../notesSlides/notesSlide66.xml"/><Relationship Id="rId2" Type="http://schemas.openxmlformats.org/officeDocument/2006/relationships/slideLayout" Target="../slideLayouts/slideLayout1.xml"/><Relationship Id="rId1" Type="http://schemas.openxmlformats.org/officeDocument/2006/relationships/themeOverride" Target="../theme/themeOverride476.xml"/></Relationships>
</file>

<file path=ppt/slides/_rels/slide478.xml.rels><?xml version="1.0" encoding="UTF-8" standalone="yes"?>
<Relationships xmlns="http://schemas.openxmlformats.org/package/2006/relationships"><Relationship Id="rId3" Type="http://schemas.openxmlformats.org/officeDocument/2006/relationships/notesSlide" Target="../notesSlides/notesSlide67.xml"/><Relationship Id="rId2" Type="http://schemas.openxmlformats.org/officeDocument/2006/relationships/slideLayout" Target="../slideLayouts/slideLayout1.xml"/><Relationship Id="rId1" Type="http://schemas.openxmlformats.org/officeDocument/2006/relationships/themeOverride" Target="../theme/themeOverride477.xml"/></Relationships>
</file>

<file path=ppt/slides/_rels/slide479.xml.rels><?xml version="1.0" encoding="UTF-8" standalone="yes"?>
<Relationships xmlns="http://schemas.openxmlformats.org/package/2006/relationships"><Relationship Id="rId3" Type="http://schemas.openxmlformats.org/officeDocument/2006/relationships/notesSlide" Target="../notesSlides/notesSlide68.xml"/><Relationship Id="rId2" Type="http://schemas.openxmlformats.org/officeDocument/2006/relationships/slideLayout" Target="../slideLayouts/slideLayout1.xml"/><Relationship Id="rId1" Type="http://schemas.openxmlformats.org/officeDocument/2006/relationships/themeOverride" Target="../theme/themeOverride478.xml"/></Relationships>
</file>

<file path=ppt/slides/_rels/slide4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Layout" Target="../slideLayouts/slideLayout1.xml"/><Relationship Id="rId1" Type="http://schemas.openxmlformats.org/officeDocument/2006/relationships/themeOverride" Target="../theme/themeOverride47.xml"/></Relationships>
</file>

<file path=ppt/slides/_rels/slide480.xml.rels><?xml version="1.0" encoding="UTF-8" standalone="yes"?>
<Relationships xmlns="http://schemas.openxmlformats.org/package/2006/relationships"><Relationship Id="rId3" Type="http://schemas.openxmlformats.org/officeDocument/2006/relationships/notesSlide" Target="../notesSlides/notesSlide69.xml"/><Relationship Id="rId2" Type="http://schemas.openxmlformats.org/officeDocument/2006/relationships/slideLayout" Target="../slideLayouts/slideLayout1.xml"/><Relationship Id="rId1" Type="http://schemas.openxmlformats.org/officeDocument/2006/relationships/themeOverride" Target="../theme/themeOverride479.xml"/></Relationships>
</file>

<file path=ppt/slides/_rels/slide481.xml.rels><?xml version="1.0" encoding="UTF-8" standalone="yes"?>
<Relationships xmlns="http://schemas.openxmlformats.org/package/2006/relationships"><Relationship Id="rId3" Type="http://schemas.openxmlformats.org/officeDocument/2006/relationships/notesSlide" Target="../notesSlides/notesSlide70.xml"/><Relationship Id="rId2" Type="http://schemas.openxmlformats.org/officeDocument/2006/relationships/slideLayout" Target="../slideLayouts/slideLayout1.xml"/><Relationship Id="rId1" Type="http://schemas.openxmlformats.org/officeDocument/2006/relationships/themeOverride" Target="../theme/themeOverride480.xml"/></Relationships>
</file>

<file path=ppt/slides/_rels/slide482.xml.rels><?xml version="1.0" encoding="UTF-8" standalone="yes"?>
<Relationships xmlns="http://schemas.openxmlformats.org/package/2006/relationships"><Relationship Id="rId3" Type="http://schemas.openxmlformats.org/officeDocument/2006/relationships/notesSlide" Target="../notesSlides/notesSlide71.xml"/><Relationship Id="rId2" Type="http://schemas.openxmlformats.org/officeDocument/2006/relationships/slideLayout" Target="../slideLayouts/slideLayout1.xml"/><Relationship Id="rId1" Type="http://schemas.openxmlformats.org/officeDocument/2006/relationships/themeOverride" Target="../theme/themeOverride481.xml"/></Relationships>
</file>

<file path=ppt/slides/_rels/slide483.xml.rels><?xml version="1.0" encoding="UTF-8" standalone="yes"?>
<Relationships xmlns="http://schemas.openxmlformats.org/package/2006/relationships"><Relationship Id="rId3" Type="http://schemas.openxmlformats.org/officeDocument/2006/relationships/notesSlide" Target="../notesSlides/notesSlide72.xml"/><Relationship Id="rId2" Type="http://schemas.openxmlformats.org/officeDocument/2006/relationships/slideLayout" Target="../slideLayouts/slideLayout1.xml"/><Relationship Id="rId1" Type="http://schemas.openxmlformats.org/officeDocument/2006/relationships/themeOverride" Target="../theme/themeOverride482.xml"/></Relationships>
</file>

<file path=ppt/slides/_rels/slide484.xml.rels><?xml version="1.0" encoding="UTF-8" standalone="yes"?>
<Relationships xmlns="http://schemas.openxmlformats.org/package/2006/relationships"><Relationship Id="rId3" Type="http://schemas.openxmlformats.org/officeDocument/2006/relationships/notesSlide" Target="../notesSlides/notesSlide73.xml"/><Relationship Id="rId2" Type="http://schemas.openxmlformats.org/officeDocument/2006/relationships/slideLayout" Target="../slideLayouts/slideLayout1.xml"/><Relationship Id="rId1" Type="http://schemas.openxmlformats.org/officeDocument/2006/relationships/themeOverride" Target="../theme/themeOverride483.xml"/></Relationships>
</file>

<file path=ppt/slides/_rels/slide485.xml.rels><?xml version="1.0" encoding="UTF-8" standalone="yes"?>
<Relationships xmlns="http://schemas.openxmlformats.org/package/2006/relationships"><Relationship Id="rId3" Type="http://schemas.openxmlformats.org/officeDocument/2006/relationships/notesSlide" Target="../notesSlides/notesSlide74.xml"/><Relationship Id="rId2" Type="http://schemas.openxmlformats.org/officeDocument/2006/relationships/slideLayout" Target="../slideLayouts/slideLayout1.xml"/><Relationship Id="rId1" Type="http://schemas.openxmlformats.org/officeDocument/2006/relationships/themeOverride" Target="../theme/themeOverride484.xml"/></Relationships>
</file>

<file path=ppt/slides/_rels/slide486.xml.rels><?xml version="1.0" encoding="UTF-8" standalone="yes"?>
<Relationships xmlns="http://schemas.openxmlformats.org/package/2006/relationships"><Relationship Id="rId3" Type="http://schemas.openxmlformats.org/officeDocument/2006/relationships/notesSlide" Target="../notesSlides/notesSlide75.xml"/><Relationship Id="rId2" Type="http://schemas.openxmlformats.org/officeDocument/2006/relationships/slideLayout" Target="../slideLayouts/slideLayout1.xml"/><Relationship Id="rId1" Type="http://schemas.openxmlformats.org/officeDocument/2006/relationships/themeOverride" Target="../theme/themeOverride485.xml"/></Relationships>
</file>

<file path=ppt/slides/_rels/slide487.xml.rels><?xml version="1.0" encoding="UTF-8" standalone="yes"?>
<Relationships xmlns="http://schemas.openxmlformats.org/package/2006/relationships"><Relationship Id="rId3" Type="http://schemas.openxmlformats.org/officeDocument/2006/relationships/notesSlide" Target="../notesSlides/notesSlide76.xml"/><Relationship Id="rId2" Type="http://schemas.openxmlformats.org/officeDocument/2006/relationships/slideLayout" Target="../slideLayouts/slideLayout1.xml"/><Relationship Id="rId1" Type="http://schemas.openxmlformats.org/officeDocument/2006/relationships/themeOverride" Target="../theme/themeOverride486.xml"/></Relationships>
</file>

<file path=ppt/slides/_rels/slide488.xml.rels><?xml version="1.0" encoding="UTF-8" standalone="yes"?>
<Relationships xmlns="http://schemas.openxmlformats.org/package/2006/relationships"><Relationship Id="rId3" Type="http://schemas.openxmlformats.org/officeDocument/2006/relationships/notesSlide" Target="../notesSlides/notesSlide77.xml"/><Relationship Id="rId2" Type="http://schemas.openxmlformats.org/officeDocument/2006/relationships/slideLayout" Target="../slideLayouts/slideLayout1.xml"/><Relationship Id="rId1" Type="http://schemas.openxmlformats.org/officeDocument/2006/relationships/themeOverride" Target="../theme/themeOverride487.xml"/></Relationships>
</file>

<file path=ppt/slides/_rels/slide489.xml.rels><?xml version="1.0" encoding="UTF-8" standalone="yes"?>
<Relationships xmlns="http://schemas.openxmlformats.org/package/2006/relationships"><Relationship Id="rId3" Type="http://schemas.openxmlformats.org/officeDocument/2006/relationships/notesSlide" Target="../notesSlides/notesSlide78.xml"/><Relationship Id="rId2" Type="http://schemas.openxmlformats.org/officeDocument/2006/relationships/slideLayout" Target="../slideLayouts/slideLayout1.xml"/><Relationship Id="rId1" Type="http://schemas.openxmlformats.org/officeDocument/2006/relationships/themeOverride" Target="../theme/themeOverride488.xml"/></Relationships>
</file>

<file path=ppt/slides/_rels/slide49.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hemeOverride" Target="../theme/themeOverride48.xml"/></Relationships>
</file>

<file path=ppt/slides/_rels/slide490.xml.rels><?xml version="1.0" encoding="UTF-8" standalone="yes"?>
<Relationships xmlns="http://schemas.openxmlformats.org/package/2006/relationships"><Relationship Id="rId3" Type="http://schemas.openxmlformats.org/officeDocument/2006/relationships/notesSlide" Target="../notesSlides/notesSlide79.xml"/><Relationship Id="rId2" Type="http://schemas.openxmlformats.org/officeDocument/2006/relationships/slideLayout" Target="../slideLayouts/slideLayout1.xml"/><Relationship Id="rId1" Type="http://schemas.openxmlformats.org/officeDocument/2006/relationships/themeOverride" Target="../theme/themeOverride489.xml"/></Relationships>
</file>

<file path=ppt/slides/_rels/slide491.xml.rels><?xml version="1.0" encoding="UTF-8" standalone="yes"?>
<Relationships xmlns="http://schemas.openxmlformats.org/package/2006/relationships"><Relationship Id="rId3" Type="http://schemas.openxmlformats.org/officeDocument/2006/relationships/notesSlide" Target="../notesSlides/notesSlide80.xml"/><Relationship Id="rId2" Type="http://schemas.openxmlformats.org/officeDocument/2006/relationships/slideLayout" Target="../slideLayouts/slideLayout1.xml"/><Relationship Id="rId1" Type="http://schemas.openxmlformats.org/officeDocument/2006/relationships/themeOverride" Target="../theme/themeOverride490.xml"/><Relationship Id="rId4" Type="http://schemas.openxmlformats.org/officeDocument/2006/relationships/image" Target="../media/image19.png"/></Relationships>
</file>

<file path=ppt/slides/_rels/slide492.xml.rels><?xml version="1.0" encoding="UTF-8" standalone="yes"?>
<Relationships xmlns="http://schemas.openxmlformats.org/package/2006/relationships"><Relationship Id="rId3" Type="http://schemas.openxmlformats.org/officeDocument/2006/relationships/notesSlide" Target="../notesSlides/notesSlide81.xml"/><Relationship Id="rId2" Type="http://schemas.openxmlformats.org/officeDocument/2006/relationships/slideLayout" Target="../slideLayouts/slideLayout1.xml"/><Relationship Id="rId1" Type="http://schemas.openxmlformats.org/officeDocument/2006/relationships/themeOverride" Target="../theme/themeOverride491.xml"/></Relationships>
</file>

<file path=ppt/slides/_rels/slide493.xml.rels><?xml version="1.0" encoding="UTF-8" standalone="yes"?>
<Relationships xmlns="http://schemas.openxmlformats.org/package/2006/relationships"><Relationship Id="rId3" Type="http://schemas.openxmlformats.org/officeDocument/2006/relationships/notesSlide" Target="../notesSlides/notesSlide82.xml"/><Relationship Id="rId2" Type="http://schemas.openxmlformats.org/officeDocument/2006/relationships/slideLayout" Target="../slideLayouts/slideLayout1.xml"/><Relationship Id="rId1" Type="http://schemas.openxmlformats.org/officeDocument/2006/relationships/themeOverride" Target="../theme/themeOverride492.xml"/></Relationships>
</file>

<file path=ppt/slides/_rels/slide494.xml.rels><?xml version="1.0" encoding="UTF-8" standalone="yes"?>
<Relationships xmlns="http://schemas.openxmlformats.org/package/2006/relationships"><Relationship Id="rId3" Type="http://schemas.openxmlformats.org/officeDocument/2006/relationships/notesSlide" Target="../notesSlides/notesSlide83.xml"/><Relationship Id="rId2" Type="http://schemas.openxmlformats.org/officeDocument/2006/relationships/slideLayout" Target="../slideLayouts/slideLayout1.xml"/><Relationship Id="rId1" Type="http://schemas.openxmlformats.org/officeDocument/2006/relationships/themeOverride" Target="../theme/themeOverride493.xml"/></Relationships>
</file>

<file path=ppt/slides/_rels/slide495.xml.rels><?xml version="1.0" encoding="UTF-8" standalone="yes"?>
<Relationships xmlns="http://schemas.openxmlformats.org/package/2006/relationships"><Relationship Id="rId3" Type="http://schemas.openxmlformats.org/officeDocument/2006/relationships/notesSlide" Target="../notesSlides/notesSlide84.xml"/><Relationship Id="rId2" Type="http://schemas.openxmlformats.org/officeDocument/2006/relationships/slideLayout" Target="../slideLayouts/slideLayout1.xml"/><Relationship Id="rId1" Type="http://schemas.openxmlformats.org/officeDocument/2006/relationships/themeOverride" Target="../theme/themeOverride494.xml"/></Relationships>
</file>

<file path=ppt/slides/_rels/slide496.xml.rels><?xml version="1.0" encoding="UTF-8" standalone="yes"?>
<Relationships xmlns="http://schemas.openxmlformats.org/package/2006/relationships"><Relationship Id="rId3" Type="http://schemas.openxmlformats.org/officeDocument/2006/relationships/notesSlide" Target="../notesSlides/notesSlide85.xml"/><Relationship Id="rId2" Type="http://schemas.openxmlformats.org/officeDocument/2006/relationships/slideLayout" Target="../slideLayouts/slideLayout1.xml"/><Relationship Id="rId1" Type="http://schemas.openxmlformats.org/officeDocument/2006/relationships/themeOverride" Target="../theme/themeOverride495.xml"/></Relationships>
</file>

<file path=ppt/slides/_rels/slide497.xml.rels><?xml version="1.0" encoding="UTF-8" standalone="yes"?>
<Relationships xmlns="http://schemas.openxmlformats.org/package/2006/relationships"><Relationship Id="rId3" Type="http://schemas.openxmlformats.org/officeDocument/2006/relationships/notesSlide" Target="../notesSlides/notesSlide86.xml"/><Relationship Id="rId2" Type="http://schemas.openxmlformats.org/officeDocument/2006/relationships/slideLayout" Target="../slideLayouts/slideLayout1.xml"/><Relationship Id="rId1" Type="http://schemas.openxmlformats.org/officeDocument/2006/relationships/themeOverride" Target="../theme/themeOverride496.xml"/></Relationships>
</file>

<file path=ppt/slides/_rels/slide498.xml.rels><?xml version="1.0" encoding="UTF-8" standalone="yes"?>
<Relationships xmlns="http://schemas.openxmlformats.org/package/2006/relationships"><Relationship Id="rId3" Type="http://schemas.openxmlformats.org/officeDocument/2006/relationships/notesSlide" Target="../notesSlides/notesSlide87.xml"/><Relationship Id="rId2" Type="http://schemas.openxmlformats.org/officeDocument/2006/relationships/slideLayout" Target="../slideLayouts/slideLayout1.xml"/><Relationship Id="rId1" Type="http://schemas.openxmlformats.org/officeDocument/2006/relationships/themeOverride" Target="../theme/themeOverride497.xml"/></Relationships>
</file>

<file path=ppt/slides/_rels/slide499.xml.rels><?xml version="1.0" encoding="UTF-8" standalone="yes"?>
<Relationships xmlns="http://schemas.openxmlformats.org/package/2006/relationships"><Relationship Id="rId3" Type="http://schemas.openxmlformats.org/officeDocument/2006/relationships/notesSlide" Target="../notesSlides/notesSlide88.xml"/><Relationship Id="rId2" Type="http://schemas.openxmlformats.org/officeDocument/2006/relationships/slideLayout" Target="../slideLayouts/slideLayout1.xml"/><Relationship Id="rId1" Type="http://schemas.openxmlformats.org/officeDocument/2006/relationships/themeOverride" Target="../theme/themeOverride498.xml"/></Relationships>
</file>

<file path=ppt/slides/_rels/slide5.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hemeOverride" Target="../theme/themeOverride4.xml"/></Relationships>
</file>

<file path=ppt/slides/_rels/slide50.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hemeOverride" Target="../theme/themeOverride49.xml"/></Relationships>
</file>

<file path=ppt/slides/_rels/slide500.xml.rels><?xml version="1.0" encoding="UTF-8" standalone="yes"?>
<Relationships xmlns="http://schemas.openxmlformats.org/package/2006/relationships"><Relationship Id="rId3" Type="http://schemas.openxmlformats.org/officeDocument/2006/relationships/notesSlide" Target="../notesSlides/notesSlide89.xml"/><Relationship Id="rId2" Type="http://schemas.openxmlformats.org/officeDocument/2006/relationships/slideLayout" Target="../slideLayouts/slideLayout1.xml"/><Relationship Id="rId1" Type="http://schemas.openxmlformats.org/officeDocument/2006/relationships/themeOverride" Target="../theme/themeOverride499.xml"/></Relationships>
</file>

<file path=ppt/slides/_rels/slide501.xml.rels><?xml version="1.0" encoding="UTF-8" standalone="yes"?>
<Relationships xmlns="http://schemas.openxmlformats.org/package/2006/relationships"><Relationship Id="rId3" Type="http://schemas.openxmlformats.org/officeDocument/2006/relationships/notesSlide" Target="../notesSlides/notesSlide90.xml"/><Relationship Id="rId2" Type="http://schemas.openxmlformats.org/officeDocument/2006/relationships/slideLayout" Target="../slideLayouts/slideLayout1.xml"/><Relationship Id="rId1" Type="http://schemas.openxmlformats.org/officeDocument/2006/relationships/themeOverride" Target="../theme/themeOverride500.xml"/></Relationships>
</file>

<file path=ppt/slides/_rels/slide502.xml.rels><?xml version="1.0" encoding="UTF-8" standalone="yes"?>
<Relationships xmlns="http://schemas.openxmlformats.org/package/2006/relationships"><Relationship Id="rId3" Type="http://schemas.openxmlformats.org/officeDocument/2006/relationships/notesSlide" Target="../notesSlides/notesSlide91.xml"/><Relationship Id="rId2" Type="http://schemas.openxmlformats.org/officeDocument/2006/relationships/slideLayout" Target="../slideLayouts/slideLayout1.xml"/><Relationship Id="rId1" Type="http://schemas.openxmlformats.org/officeDocument/2006/relationships/themeOverride" Target="../theme/themeOverride501.xml"/></Relationships>
</file>

<file path=ppt/slides/_rels/slide503.xml.rels><?xml version="1.0" encoding="UTF-8" standalone="yes"?>
<Relationships xmlns="http://schemas.openxmlformats.org/package/2006/relationships"><Relationship Id="rId3" Type="http://schemas.openxmlformats.org/officeDocument/2006/relationships/notesSlide" Target="../notesSlides/notesSlide92.xml"/><Relationship Id="rId2" Type="http://schemas.openxmlformats.org/officeDocument/2006/relationships/slideLayout" Target="../slideLayouts/slideLayout1.xml"/><Relationship Id="rId1" Type="http://schemas.openxmlformats.org/officeDocument/2006/relationships/themeOverride" Target="../theme/themeOverride502.xml"/></Relationships>
</file>

<file path=ppt/slides/_rels/slide504.xml.rels><?xml version="1.0" encoding="UTF-8" standalone="yes"?>
<Relationships xmlns="http://schemas.openxmlformats.org/package/2006/relationships"><Relationship Id="rId3" Type="http://schemas.openxmlformats.org/officeDocument/2006/relationships/notesSlide" Target="../notesSlides/notesSlide93.xml"/><Relationship Id="rId2" Type="http://schemas.openxmlformats.org/officeDocument/2006/relationships/slideLayout" Target="../slideLayouts/slideLayout1.xml"/><Relationship Id="rId1" Type="http://schemas.openxmlformats.org/officeDocument/2006/relationships/themeOverride" Target="../theme/themeOverride503.xml"/></Relationships>
</file>

<file path=ppt/slides/_rels/slide505.xml.rels><?xml version="1.0" encoding="UTF-8" standalone="yes"?>
<Relationships xmlns="http://schemas.openxmlformats.org/package/2006/relationships"><Relationship Id="rId3" Type="http://schemas.openxmlformats.org/officeDocument/2006/relationships/notesSlide" Target="../notesSlides/notesSlide94.xml"/><Relationship Id="rId2" Type="http://schemas.openxmlformats.org/officeDocument/2006/relationships/slideLayout" Target="../slideLayouts/slideLayout1.xml"/><Relationship Id="rId1" Type="http://schemas.openxmlformats.org/officeDocument/2006/relationships/themeOverride" Target="../theme/themeOverride504.xml"/><Relationship Id="rId5" Type="http://schemas.openxmlformats.org/officeDocument/2006/relationships/image" Target="../media/image21.svg"/><Relationship Id="rId4" Type="http://schemas.openxmlformats.org/officeDocument/2006/relationships/image" Target="../media/image20.png"/></Relationships>
</file>

<file path=ppt/slides/_rels/slide506.xml.rels><?xml version="1.0" encoding="UTF-8" standalone="yes"?>
<Relationships xmlns="http://schemas.openxmlformats.org/package/2006/relationships"><Relationship Id="rId3" Type="http://schemas.openxmlformats.org/officeDocument/2006/relationships/notesSlide" Target="../notesSlides/notesSlide95.xml"/><Relationship Id="rId2" Type="http://schemas.openxmlformats.org/officeDocument/2006/relationships/slideLayout" Target="../slideLayouts/slideLayout1.xml"/><Relationship Id="rId1" Type="http://schemas.openxmlformats.org/officeDocument/2006/relationships/themeOverride" Target="../theme/themeOverride505.xml"/></Relationships>
</file>

<file path=ppt/slides/_rels/slide507.xml.rels><?xml version="1.0" encoding="UTF-8" standalone="yes"?>
<Relationships xmlns="http://schemas.openxmlformats.org/package/2006/relationships"><Relationship Id="rId3" Type="http://schemas.openxmlformats.org/officeDocument/2006/relationships/notesSlide" Target="../notesSlides/notesSlide96.xml"/><Relationship Id="rId2" Type="http://schemas.openxmlformats.org/officeDocument/2006/relationships/slideLayout" Target="../slideLayouts/slideLayout1.xml"/><Relationship Id="rId1" Type="http://schemas.openxmlformats.org/officeDocument/2006/relationships/themeOverride" Target="../theme/themeOverride506.xml"/></Relationships>
</file>

<file path=ppt/slides/_rels/slide508.xml.rels><?xml version="1.0" encoding="UTF-8" standalone="yes"?>
<Relationships xmlns="http://schemas.openxmlformats.org/package/2006/relationships"><Relationship Id="rId3" Type="http://schemas.openxmlformats.org/officeDocument/2006/relationships/notesSlide" Target="../notesSlides/notesSlide97.xml"/><Relationship Id="rId2" Type="http://schemas.openxmlformats.org/officeDocument/2006/relationships/slideLayout" Target="../slideLayouts/slideLayout1.xml"/><Relationship Id="rId1" Type="http://schemas.openxmlformats.org/officeDocument/2006/relationships/themeOverride" Target="../theme/themeOverride507.xml"/></Relationships>
</file>

<file path=ppt/slides/_rels/slide509.xml.rels><?xml version="1.0" encoding="UTF-8" standalone="yes"?>
<Relationships xmlns="http://schemas.openxmlformats.org/package/2006/relationships"><Relationship Id="rId3" Type="http://schemas.openxmlformats.org/officeDocument/2006/relationships/notesSlide" Target="../notesSlides/notesSlide98.xml"/><Relationship Id="rId2" Type="http://schemas.openxmlformats.org/officeDocument/2006/relationships/slideLayout" Target="../slideLayouts/slideLayout1.xml"/><Relationship Id="rId1" Type="http://schemas.openxmlformats.org/officeDocument/2006/relationships/themeOverride" Target="../theme/themeOverride508.xml"/></Relationships>
</file>

<file path=ppt/slides/_rels/slide51.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hemeOverride" Target="../theme/themeOverride50.xml"/></Relationships>
</file>

<file path=ppt/slides/_rels/slide510.xml.rels><?xml version="1.0" encoding="UTF-8" standalone="yes"?>
<Relationships xmlns="http://schemas.openxmlformats.org/package/2006/relationships"><Relationship Id="rId3" Type="http://schemas.openxmlformats.org/officeDocument/2006/relationships/notesSlide" Target="../notesSlides/notesSlide99.xml"/><Relationship Id="rId2" Type="http://schemas.openxmlformats.org/officeDocument/2006/relationships/slideLayout" Target="../slideLayouts/slideLayout1.xml"/><Relationship Id="rId1" Type="http://schemas.openxmlformats.org/officeDocument/2006/relationships/themeOverride" Target="../theme/themeOverride509.xml"/></Relationships>
</file>

<file path=ppt/slides/_rels/slide511.xml.rels><?xml version="1.0" encoding="UTF-8" standalone="yes"?>
<Relationships xmlns="http://schemas.openxmlformats.org/package/2006/relationships"><Relationship Id="rId3" Type="http://schemas.openxmlformats.org/officeDocument/2006/relationships/notesSlide" Target="../notesSlides/notesSlide100.xml"/><Relationship Id="rId2" Type="http://schemas.openxmlformats.org/officeDocument/2006/relationships/slideLayout" Target="../slideLayouts/slideLayout1.xml"/><Relationship Id="rId1" Type="http://schemas.openxmlformats.org/officeDocument/2006/relationships/themeOverride" Target="../theme/themeOverride510.xml"/></Relationships>
</file>

<file path=ppt/slides/_rels/slide512.xml.rels><?xml version="1.0" encoding="UTF-8" standalone="yes"?>
<Relationships xmlns="http://schemas.openxmlformats.org/package/2006/relationships"><Relationship Id="rId3" Type="http://schemas.openxmlformats.org/officeDocument/2006/relationships/notesSlide" Target="../notesSlides/notesSlide101.xml"/><Relationship Id="rId2" Type="http://schemas.openxmlformats.org/officeDocument/2006/relationships/slideLayout" Target="../slideLayouts/slideLayout1.xml"/><Relationship Id="rId1" Type="http://schemas.openxmlformats.org/officeDocument/2006/relationships/themeOverride" Target="../theme/themeOverride511.xml"/></Relationships>
</file>

<file path=ppt/slides/_rels/slide513.xml.rels><?xml version="1.0" encoding="UTF-8" standalone="yes"?>
<Relationships xmlns="http://schemas.openxmlformats.org/package/2006/relationships"><Relationship Id="rId3" Type="http://schemas.openxmlformats.org/officeDocument/2006/relationships/notesSlide" Target="../notesSlides/notesSlide102.xml"/><Relationship Id="rId2" Type="http://schemas.openxmlformats.org/officeDocument/2006/relationships/slideLayout" Target="../slideLayouts/slideLayout1.xml"/><Relationship Id="rId1" Type="http://schemas.openxmlformats.org/officeDocument/2006/relationships/themeOverride" Target="../theme/themeOverride512.xml"/></Relationships>
</file>

<file path=ppt/slides/_rels/slide514.xml.rels><?xml version="1.0" encoding="UTF-8" standalone="yes"?>
<Relationships xmlns="http://schemas.openxmlformats.org/package/2006/relationships"><Relationship Id="rId3" Type="http://schemas.openxmlformats.org/officeDocument/2006/relationships/notesSlide" Target="../notesSlides/notesSlide103.xml"/><Relationship Id="rId2" Type="http://schemas.openxmlformats.org/officeDocument/2006/relationships/slideLayout" Target="../slideLayouts/slideLayout1.xml"/><Relationship Id="rId1" Type="http://schemas.openxmlformats.org/officeDocument/2006/relationships/themeOverride" Target="../theme/themeOverride513.xml"/></Relationships>
</file>

<file path=ppt/slides/_rels/slide515.xml.rels><?xml version="1.0" encoding="UTF-8" standalone="yes"?>
<Relationships xmlns="http://schemas.openxmlformats.org/package/2006/relationships"><Relationship Id="rId3" Type="http://schemas.openxmlformats.org/officeDocument/2006/relationships/notesSlide" Target="../notesSlides/notesSlide104.xml"/><Relationship Id="rId2" Type="http://schemas.openxmlformats.org/officeDocument/2006/relationships/slideLayout" Target="../slideLayouts/slideLayout1.xml"/><Relationship Id="rId1" Type="http://schemas.openxmlformats.org/officeDocument/2006/relationships/themeOverride" Target="../theme/themeOverride514.xml"/></Relationships>
</file>

<file path=ppt/slides/_rels/slide516.xml.rels><?xml version="1.0" encoding="UTF-8" standalone="yes"?>
<Relationships xmlns="http://schemas.openxmlformats.org/package/2006/relationships"><Relationship Id="rId3" Type="http://schemas.openxmlformats.org/officeDocument/2006/relationships/notesSlide" Target="../notesSlides/notesSlide105.xml"/><Relationship Id="rId2" Type="http://schemas.openxmlformats.org/officeDocument/2006/relationships/slideLayout" Target="../slideLayouts/slideLayout1.xml"/><Relationship Id="rId1" Type="http://schemas.openxmlformats.org/officeDocument/2006/relationships/themeOverride" Target="../theme/themeOverride515.xml"/></Relationships>
</file>

<file path=ppt/slides/_rels/slide517.xml.rels><?xml version="1.0" encoding="UTF-8" standalone="yes"?>
<Relationships xmlns="http://schemas.openxmlformats.org/package/2006/relationships"><Relationship Id="rId3" Type="http://schemas.openxmlformats.org/officeDocument/2006/relationships/notesSlide" Target="../notesSlides/notesSlide106.xml"/><Relationship Id="rId2" Type="http://schemas.openxmlformats.org/officeDocument/2006/relationships/slideLayout" Target="../slideLayouts/slideLayout1.xml"/><Relationship Id="rId1" Type="http://schemas.openxmlformats.org/officeDocument/2006/relationships/themeOverride" Target="../theme/themeOverride516.xml"/></Relationships>
</file>

<file path=ppt/slides/_rels/slide518.xml.rels><?xml version="1.0" encoding="UTF-8" standalone="yes"?>
<Relationships xmlns="http://schemas.openxmlformats.org/package/2006/relationships"><Relationship Id="rId3" Type="http://schemas.openxmlformats.org/officeDocument/2006/relationships/notesSlide" Target="../notesSlides/notesSlide107.xml"/><Relationship Id="rId2" Type="http://schemas.openxmlformats.org/officeDocument/2006/relationships/slideLayout" Target="../slideLayouts/slideLayout1.xml"/><Relationship Id="rId1" Type="http://schemas.openxmlformats.org/officeDocument/2006/relationships/themeOverride" Target="../theme/themeOverride517.xml"/></Relationships>
</file>

<file path=ppt/slides/_rels/slide519.xml.rels><?xml version="1.0" encoding="UTF-8" standalone="yes"?>
<Relationships xmlns="http://schemas.openxmlformats.org/package/2006/relationships"><Relationship Id="rId3" Type="http://schemas.openxmlformats.org/officeDocument/2006/relationships/notesSlide" Target="../notesSlides/notesSlide108.xml"/><Relationship Id="rId2" Type="http://schemas.openxmlformats.org/officeDocument/2006/relationships/slideLayout" Target="../slideLayouts/slideLayout1.xml"/><Relationship Id="rId1" Type="http://schemas.openxmlformats.org/officeDocument/2006/relationships/themeOverride" Target="../theme/themeOverride518.xml"/></Relationships>
</file>

<file path=ppt/slides/_rels/slide52.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hemeOverride" Target="../theme/themeOverride51.xml"/></Relationships>
</file>

<file path=ppt/slides/_rels/slide520.xml.rels><?xml version="1.0" encoding="UTF-8" standalone="yes"?>
<Relationships xmlns="http://schemas.openxmlformats.org/package/2006/relationships"><Relationship Id="rId3" Type="http://schemas.openxmlformats.org/officeDocument/2006/relationships/notesSlide" Target="../notesSlides/notesSlide109.xml"/><Relationship Id="rId2" Type="http://schemas.openxmlformats.org/officeDocument/2006/relationships/slideLayout" Target="../slideLayouts/slideLayout1.xml"/><Relationship Id="rId1" Type="http://schemas.openxmlformats.org/officeDocument/2006/relationships/themeOverride" Target="../theme/themeOverride519.xml"/></Relationships>
</file>

<file path=ppt/slides/_rels/slide521.xml.rels><?xml version="1.0" encoding="UTF-8" standalone="yes"?>
<Relationships xmlns="http://schemas.openxmlformats.org/package/2006/relationships"><Relationship Id="rId3" Type="http://schemas.openxmlformats.org/officeDocument/2006/relationships/notesSlide" Target="../notesSlides/notesSlide110.xml"/><Relationship Id="rId2" Type="http://schemas.openxmlformats.org/officeDocument/2006/relationships/slideLayout" Target="../slideLayouts/slideLayout1.xml"/><Relationship Id="rId1" Type="http://schemas.openxmlformats.org/officeDocument/2006/relationships/themeOverride" Target="../theme/themeOverride520.xml"/></Relationships>
</file>

<file path=ppt/slides/_rels/slide522.xml.rels><?xml version="1.0" encoding="UTF-8" standalone="yes"?>
<Relationships xmlns="http://schemas.openxmlformats.org/package/2006/relationships"><Relationship Id="rId3" Type="http://schemas.openxmlformats.org/officeDocument/2006/relationships/notesSlide" Target="../notesSlides/notesSlide111.xml"/><Relationship Id="rId2" Type="http://schemas.openxmlformats.org/officeDocument/2006/relationships/slideLayout" Target="../slideLayouts/slideLayout1.xml"/><Relationship Id="rId1" Type="http://schemas.openxmlformats.org/officeDocument/2006/relationships/themeOverride" Target="../theme/themeOverride521.xml"/></Relationships>
</file>

<file path=ppt/slides/_rels/slide523.xml.rels><?xml version="1.0" encoding="UTF-8" standalone="yes"?>
<Relationships xmlns="http://schemas.openxmlformats.org/package/2006/relationships"><Relationship Id="rId3" Type="http://schemas.openxmlformats.org/officeDocument/2006/relationships/notesSlide" Target="../notesSlides/notesSlide112.xml"/><Relationship Id="rId2" Type="http://schemas.openxmlformats.org/officeDocument/2006/relationships/slideLayout" Target="../slideLayouts/slideLayout1.xml"/><Relationship Id="rId1" Type="http://schemas.openxmlformats.org/officeDocument/2006/relationships/themeOverride" Target="../theme/themeOverride522.xml"/></Relationships>
</file>

<file path=ppt/slides/_rels/slide524.xml.rels><?xml version="1.0" encoding="UTF-8" standalone="yes"?>
<Relationships xmlns="http://schemas.openxmlformats.org/package/2006/relationships"><Relationship Id="rId3" Type="http://schemas.openxmlformats.org/officeDocument/2006/relationships/notesSlide" Target="../notesSlides/notesSlide113.xml"/><Relationship Id="rId2" Type="http://schemas.openxmlformats.org/officeDocument/2006/relationships/slideLayout" Target="../slideLayouts/slideLayout1.xml"/><Relationship Id="rId1" Type="http://schemas.openxmlformats.org/officeDocument/2006/relationships/themeOverride" Target="../theme/themeOverride523.xml"/></Relationships>
</file>

<file path=ppt/slides/_rels/slide525.xml.rels><?xml version="1.0" encoding="UTF-8" standalone="yes"?>
<Relationships xmlns="http://schemas.openxmlformats.org/package/2006/relationships"><Relationship Id="rId3" Type="http://schemas.openxmlformats.org/officeDocument/2006/relationships/notesSlide" Target="../notesSlides/notesSlide114.xml"/><Relationship Id="rId2" Type="http://schemas.openxmlformats.org/officeDocument/2006/relationships/slideLayout" Target="../slideLayouts/slideLayout1.xml"/><Relationship Id="rId1" Type="http://schemas.openxmlformats.org/officeDocument/2006/relationships/themeOverride" Target="../theme/themeOverride524.xml"/></Relationships>
</file>

<file path=ppt/slides/_rels/slide526.xml.rels><?xml version="1.0" encoding="UTF-8" standalone="yes"?>
<Relationships xmlns="http://schemas.openxmlformats.org/package/2006/relationships"><Relationship Id="rId3" Type="http://schemas.openxmlformats.org/officeDocument/2006/relationships/notesSlide" Target="../notesSlides/notesSlide115.xml"/><Relationship Id="rId2" Type="http://schemas.openxmlformats.org/officeDocument/2006/relationships/slideLayout" Target="../slideLayouts/slideLayout1.xml"/><Relationship Id="rId1" Type="http://schemas.openxmlformats.org/officeDocument/2006/relationships/themeOverride" Target="../theme/themeOverride525.xml"/></Relationships>
</file>

<file path=ppt/slides/_rels/slide527.xml.rels><?xml version="1.0" encoding="UTF-8" standalone="yes"?>
<Relationships xmlns="http://schemas.openxmlformats.org/package/2006/relationships"><Relationship Id="rId3" Type="http://schemas.openxmlformats.org/officeDocument/2006/relationships/notesSlide" Target="../notesSlides/notesSlide116.xml"/><Relationship Id="rId2" Type="http://schemas.openxmlformats.org/officeDocument/2006/relationships/slideLayout" Target="../slideLayouts/slideLayout1.xml"/><Relationship Id="rId1" Type="http://schemas.openxmlformats.org/officeDocument/2006/relationships/themeOverride" Target="../theme/themeOverride526.xml"/></Relationships>
</file>

<file path=ppt/slides/_rels/slide528.xml.rels><?xml version="1.0" encoding="UTF-8" standalone="yes"?>
<Relationships xmlns="http://schemas.openxmlformats.org/package/2006/relationships"><Relationship Id="rId3" Type="http://schemas.openxmlformats.org/officeDocument/2006/relationships/notesSlide" Target="../notesSlides/notesSlide117.xml"/><Relationship Id="rId2" Type="http://schemas.openxmlformats.org/officeDocument/2006/relationships/slideLayout" Target="../slideLayouts/slideLayout1.xml"/><Relationship Id="rId1" Type="http://schemas.openxmlformats.org/officeDocument/2006/relationships/themeOverride" Target="../theme/themeOverride527.xml"/></Relationships>
</file>

<file path=ppt/slides/_rels/slide529.xml.rels><?xml version="1.0" encoding="UTF-8" standalone="yes"?>
<Relationships xmlns="http://schemas.openxmlformats.org/package/2006/relationships"><Relationship Id="rId3" Type="http://schemas.openxmlformats.org/officeDocument/2006/relationships/notesSlide" Target="../notesSlides/notesSlide118.xml"/><Relationship Id="rId2" Type="http://schemas.openxmlformats.org/officeDocument/2006/relationships/slideLayout" Target="../slideLayouts/slideLayout1.xml"/><Relationship Id="rId1" Type="http://schemas.openxmlformats.org/officeDocument/2006/relationships/themeOverride" Target="../theme/themeOverride528.xml"/></Relationships>
</file>

<file path=ppt/slides/_rels/slide53.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hemeOverride" Target="../theme/themeOverride52.xml"/></Relationships>
</file>

<file path=ppt/slides/_rels/slide530.xml.rels><?xml version="1.0" encoding="UTF-8" standalone="yes"?>
<Relationships xmlns="http://schemas.openxmlformats.org/package/2006/relationships"><Relationship Id="rId3" Type="http://schemas.openxmlformats.org/officeDocument/2006/relationships/notesSlide" Target="../notesSlides/notesSlide119.xml"/><Relationship Id="rId2" Type="http://schemas.openxmlformats.org/officeDocument/2006/relationships/slideLayout" Target="../slideLayouts/slideLayout1.xml"/><Relationship Id="rId1" Type="http://schemas.openxmlformats.org/officeDocument/2006/relationships/themeOverride" Target="../theme/themeOverride529.xml"/></Relationships>
</file>

<file path=ppt/slides/_rels/slide531.xml.rels><?xml version="1.0" encoding="UTF-8" standalone="yes"?>
<Relationships xmlns="http://schemas.openxmlformats.org/package/2006/relationships"><Relationship Id="rId3" Type="http://schemas.openxmlformats.org/officeDocument/2006/relationships/notesSlide" Target="../notesSlides/notesSlide120.xml"/><Relationship Id="rId2" Type="http://schemas.openxmlformats.org/officeDocument/2006/relationships/slideLayout" Target="../slideLayouts/slideLayout1.xml"/><Relationship Id="rId1" Type="http://schemas.openxmlformats.org/officeDocument/2006/relationships/themeOverride" Target="../theme/themeOverride530.xml"/></Relationships>
</file>

<file path=ppt/slides/_rels/slide532.xml.rels><?xml version="1.0" encoding="UTF-8" standalone="yes"?>
<Relationships xmlns="http://schemas.openxmlformats.org/package/2006/relationships"><Relationship Id="rId3" Type="http://schemas.openxmlformats.org/officeDocument/2006/relationships/notesSlide" Target="../notesSlides/notesSlide121.xml"/><Relationship Id="rId2" Type="http://schemas.openxmlformats.org/officeDocument/2006/relationships/slideLayout" Target="../slideLayouts/slideLayout1.xml"/><Relationship Id="rId1" Type="http://schemas.openxmlformats.org/officeDocument/2006/relationships/themeOverride" Target="../theme/themeOverride531.xml"/></Relationships>
</file>

<file path=ppt/slides/_rels/slide533.xml.rels><?xml version="1.0" encoding="UTF-8" standalone="yes"?>
<Relationships xmlns="http://schemas.openxmlformats.org/package/2006/relationships"><Relationship Id="rId3" Type="http://schemas.openxmlformats.org/officeDocument/2006/relationships/notesSlide" Target="../notesSlides/notesSlide122.xml"/><Relationship Id="rId2" Type="http://schemas.openxmlformats.org/officeDocument/2006/relationships/slideLayout" Target="../slideLayouts/slideLayout1.xml"/><Relationship Id="rId1" Type="http://schemas.openxmlformats.org/officeDocument/2006/relationships/themeOverride" Target="../theme/themeOverride532.xml"/></Relationships>
</file>

<file path=ppt/slides/_rels/slide534.xml.rels><?xml version="1.0" encoding="UTF-8" standalone="yes"?>
<Relationships xmlns="http://schemas.openxmlformats.org/package/2006/relationships"><Relationship Id="rId3" Type="http://schemas.openxmlformats.org/officeDocument/2006/relationships/notesSlide" Target="../notesSlides/notesSlide123.xml"/><Relationship Id="rId2" Type="http://schemas.openxmlformats.org/officeDocument/2006/relationships/slideLayout" Target="../slideLayouts/slideLayout1.xml"/><Relationship Id="rId1" Type="http://schemas.openxmlformats.org/officeDocument/2006/relationships/themeOverride" Target="../theme/themeOverride533.xml"/></Relationships>
</file>

<file path=ppt/slides/_rels/slide535.xml.rels><?xml version="1.0" encoding="UTF-8" standalone="yes"?>
<Relationships xmlns="http://schemas.openxmlformats.org/package/2006/relationships"><Relationship Id="rId3" Type="http://schemas.openxmlformats.org/officeDocument/2006/relationships/notesSlide" Target="../notesSlides/notesSlide124.xml"/><Relationship Id="rId2" Type="http://schemas.openxmlformats.org/officeDocument/2006/relationships/slideLayout" Target="../slideLayouts/slideLayout1.xml"/><Relationship Id="rId1" Type="http://schemas.openxmlformats.org/officeDocument/2006/relationships/themeOverride" Target="../theme/themeOverride534.xml"/></Relationships>
</file>

<file path=ppt/slides/_rels/slide536.xml.rels><?xml version="1.0" encoding="UTF-8" standalone="yes"?>
<Relationships xmlns="http://schemas.openxmlformats.org/package/2006/relationships"><Relationship Id="rId3" Type="http://schemas.openxmlformats.org/officeDocument/2006/relationships/notesSlide" Target="../notesSlides/notesSlide125.xml"/><Relationship Id="rId2" Type="http://schemas.openxmlformats.org/officeDocument/2006/relationships/slideLayout" Target="../slideLayouts/slideLayout1.xml"/><Relationship Id="rId1" Type="http://schemas.openxmlformats.org/officeDocument/2006/relationships/themeOverride" Target="../theme/themeOverride535.xml"/></Relationships>
</file>

<file path=ppt/slides/_rels/slide537.xml.rels><?xml version="1.0" encoding="UTF-8" standalone="yes"?>
<Relationships xmlns="http://schemas.openxmlformats.org/package/2006/relationships"><Relationship Id="rId3" Type="http://schemas.openxmlformats.org/officeDocument/2006/relationships/notesSlide" Target="../notesSlides/notesSlide126.xml"/><Relationship Id="rId2" Type="http://schemas.openxmlformats.org/officeDocument/2006/relationships/slideLayout" Target="../slideLayouts/slideLayout1.xml"/><Relationship Id="rId1" Type="http://schemas.openxmlformats.org/officeDocument/2006/relationships/themeOverride" Target="../theme/themeOverride536.xml"/></Relationships>
</file>

<file path=ppt/slides/_rels/slide538.xml.rels><?xml version="1.0" encoding="UTF-8" standalone="yes"?>
<Relationships xmlns="http://schemas.openxmlformats.org/package/2006/relationships"><Relationship Id="rId3" Type="http://schemas.openxmlformats.org/officeDocument/2006/relationships/notesSlide" Target="../notesSlides/notesSlide127.xml"/><Relationship Id="rId2" Type="http://schemas.openxmlformats.org/officeDocument/2006/relationships/slideLayout" Target="../slideLayouts/slideLayout1.xml"/><Relationship Id="rId1" Type="http://schemas.openxmlformats.org/officeDocument/2006/relationships/themeOverride" Target="../theme/themeOverride537.xml"/></Relationships>
</file>

<file path=ppt/slides/_rels/slide539.xml.rels><?xml version="1.0" encoding="UTF-8" standalone="yes"?>
<Relationships xmlns="http://schemas.openxmlformats.org/package/2006/relationships"><Relationship Id="rId3" Type="http://schemas.openxmlformats.org/officeDocument/2006/relationships/notesSlide" Target="../notesSlides/notesSlide128.xml"/><Relationship Id="rId2" Type="http://schemas.openxmlformats.org/officeDocument/2006/relationships/slideLayout" Target="../slideLayouts/slideLayout1.xml"/><Relationship Id="rId1" Type="http://schemas.openxmlformats.org/officeDocument/2006/relationships/themeOverride" Target="../theme/themeOverride538.xml"/></Relationships>
</file>

<file path=ppt/slides/_rels/slide54.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hemeOverride" Target="../theme/themeOverride53.xml"/></Relationships>
</file>

<file path=ppt/slides/_rels/slide540.xml.rels><?xml version="1.0" encoding="UTF-8" standalone="yes"?>
<Relationships xmlns="http://schemas.openxmlformats.org/package/2006/relationships"><Relationship Id="rId3" Type="http://schemas.openxmlformats.org/officeDocument/2006/relationships/notesSlide" Target="../notesSlides/notesSlide129.xml"/><Relationship Id="rId2" Type="http://schemas.openxmlformats.org/officeDocument/2006/relationships/slideLayout" Target="../slideLayouts/slideLayout1.xml"/><Relationship Id="rId1" Type="http://schemas.openxmlformats.org/officeDocument/2006/relationships/themeOverride" Target="../theme/themeOverride539.xml"/></Relationships>
</file>

<file path=ppt/slides/_rels/slide541.xml.rels><?xml version="1.0" encoding="UTF-8" standalone="yes"?>
<Relationships xmlns="http://schemas.openxmlformats.org/package/2006/relationships"><Relationship Id="rId3" Type="http://schemas.openxmlformats.org/officeDocument/2006/relationships/notesSlide" Target="../notesSlides/notesSlide130.xml"/><Relationship Id="rId2" Type="http://schemas.openxmlformats.org/officeDocument/2006/relationships/slideLayout" Target="../slideLayouts/slideLayout1.xml"/><Relationship Id="rId1" Type="http://schemas.openxmlformats.org/officeDocument/2006/relationships/themeOverride" Target="../theme/themeOverride540.xml"/></Relationships>
</file>

<file path=ppt/slides/_rels/slide542.xml.rels><?xml version="1.0" encoding="UTF-8" standalone="yes"?>
<Relationships xmlns="http://schemas.openxmlformats.org/package/2006/relationships"><Relationship Id="rId3" Type="http://schemas.openxmlformats.org/officeDocument/2006/relationships/notesSlide" Target="../notesSlides/notesSlide131.xml"/><Relationship Id="rId2" Type="http://schemas.openxmlformats.org/officeDocument/2006/relationships/slideLayout" Target="../slideLayouts/slideLayout1.xml"/><Relationship Id="rId1" Type="http://schemas.openxmlformats.org/officeDocument/2006/relationships/themeOverride" Target="../theme/themeOverride541.xml"/></Relationships>
</file>

<file path=ppt/slides/_rels/slide543.xml.rels><?xml version="1.0" encoding="UTF-8" standalone="yes"?>
<Relationships xmlns="http://schemas.openxmlformats.org/package/2006/relationships"><Relationship Id="rId3" Type="http://schemas.openxmlformats.org/officeDocument/2006/relationships/notesSlide" Target="../notesSlides/notesSlide132.xml"/><Relationship Id="rId2" Type="http://schemas.openxmlformats.org/officeDocument/2006/relationships/slideLayout" Target="../slideLayouts/slideLayout1.xml"/><Relationship Id="rId1" Type="http://schemas.openxmlformats.org/officeDocument/2006/relationships/themeOverride" Target="../theme/themeOverride542.xml"/></Relationships>
</file>

<file path=ppt/slides/_rels/slide544.xml.rels><?xml version="1.0" encoding="UTF-8" standalone="yes"?>
<Relationships xmlns="http://schemas.openxmlformats.org/package/2006/relationships"><Relationship Id="rId3" Type="http://schemas.openxmlformats.org/officeDocument/2006/relationships/notesSlide" Target="../notesSlides/notesSlide133.xml"/><Relationship Id="rId2" Type="http://schemas.openxmlformats.org/officeDocument/2006/relationships/slideLayout" Target="../slideLayouts/slideLayout1.xml"/><Relationship Id="rId1" Type="http://schemas.openxmlformats.org/officeDocument/2006/relationships/themeOverride" Target="../theme/themeOverride543.xml"/></Relationships>
</file>

<file path=ppt/slides/_rels/slide545.xml.rels><?xml version="1.0" encoding="UTF-8" standalone="yes"?>
<Relationships xmlns="http://schemas.openxmlformats.org/package/2006/relationships"><Relationship Id="rId3" Type="http://schemas.openxmlformats.org/officeDocument/2006/relationships/notesSlide" Target="../notesSlides/notesSlide134.xml"/><Relationship Id="rId2" Type="http://schemas.openxmlformats.org/officeDocument/2006/relationships/slideLayout" Target="../slideLayouts/slideLayout1.xml"/><Relationship Id="rId1" Type="http://schemas.openxmlformats.org/officeDocument/2006/relationships/themeOverride" Target="../theme/themeOverride544.xml"/></Relationships>
</file>

<file path=ppt/slides/_rels/slide546.xml.rels><?xml version="1.0" encoding="UTF-8" standalone="yes"?>
<Relationships xmlns="http://schemas.openxmlformats.org/package/2006/relationships"><Relationship Id="rId3" Type="http://schemas.openxmlformats.org/officeDocument/2006/relationships/notesSlide" Target="../notesSlides/notesSlide135.xml"/><Relationship Id="rId2" Type="http://schemas.openxmlformats.org/officeDocument/2006/relationships/slideLayout" Target="../slideLayouts/slideLayout1.xml"/><Relationship Id="rId1" Type="http://schemas.openxmlformats.org/officeDocument/2006/relationships/themeOverride" Target="../theme/themeOverride545.xml"/></Relationships>
</file>

<file path=ppt/slides/_rels/slide547.xml.rels><?xml version="1.0" encoding="UTF-8" standalone="yes"?>
<Relationships xmlns="http://schemas.openxmlformats.org/package/2006/relationships"><Relationship Id="rId3" Type="http://schemas.openxmlformats.org/officeDocument/2006/relationships/notesSlide" Target="../notesSlides/notesSlide136.xml"/><Relationship Id="rId2" Type="http://schemas.openxmlformats.org/officeDocument/2006/relationships/slideLayout" Target="../slideLayouts/slideLayout1.xml"/><Relationship Id="rId1" Type="http://schemas.openxmlformats.org/officeDocument/2006/relationships/themeOverride" Target="../theme/themeOverride546.xml"/></Relationships>
</file>

<file path=ppt/slides/_rels/slide548.xml.rels><?xml version="1.0" encoding="UTF-8" standalone="yes"?>
<Relationships xmlns="http://schemas.openxmlformats.org/package/2006/relationships"><Relationship Id="rId3" Type="http://schemas.openxmlformats.org/officeDocument/2006/relationships/notesSlide" Target="../notesSlides/notesSlide137.xml"/><Relationship Id="rId2" Type="http://schemas.openxmlformats.org/officeDocument/2006/relationships/slideLayout" Target="../slideLayouts/slideLayout1.xml"/><Relationship Id="rId1" Type="http://schemas.openxmlformats.org/officeDocument/2006/relationships/themeOverride" Target="../theme/themeOverride547.xml"/></Relationships>
</file>

<file path=ppt/slides/_rels/slide549.xml.rels><?xml version="1.0" encoding="UTF-8" standalone="yes"?>
<Relationships xmlns="http://schemas.openxmlformats.org/package/2006/relationships"><Relationship Id="rId3" Type="http://schemas.openxmlformats.org/officeDocument/2006/relationships/notesSlide" Target="../notesSlides/notesSlide138.xml"/><Relationship Id="rId2" Type="http://schemas.openxmlformats.org/officeDocument/2006/relationships/slideLayout" Target="../slideLayouts/slideLayout1.xml"/><Relationship Id="rId1" Type="http://schemas.openxmlformats.org/officeDocument/2006/relationships/themeOverride" Target="../theme/themeOverride548.xml"/></Relationships>
</file>

<file path=ppt/slides/_rels/slide55.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hemeOverride" Target="../theme/themeOverride54.xml"/></Relationships>
</file>

<file path=ppt/slides/_rels/slide550.xml.rels><?xml version="1.0" encoding="UTF-8" standalone="yes"?>
<Relationships xmlns="http://schemas.openxmlformats.org/package/2006/relationships"><Relationship Id="rId3" Type="http://schemas.openxmlformats.org/officeDocument/2006/relationships/notesSlide" Target="../notesSlides/notesSlide139.xml"/><Relationship Id="rId2" Type="http://schemas.openxmlformats.org/officeDocument/2006/relationships/slideLayout" Target="../slideLayouts/slideLayout13.xml"/><Relationship Id="rId1" Type="http://schemas.openxmlformats.org/officeDocument/2006/relationships/themeOverride" Target="../theme/themeOverride549.xml"/></Relationships>
</file>

<file path=ppt/slides/_rels/slide551.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117.xml"/><Relationship Id="rId1" Type="http://schemas.openxmlformats.org/officeDocument/2006/relationships/themeOverride" Target="../theme/themeOverride550.xml"/><Relationship Id="rId4" Type="http://schemas.openxmlformats.org/officeDocument/2006/relationships/notesSlide" Target="../notesSlides/notesSlide140.xml"/></Relationships>
</file>

<file path=ppt/slides/_rels/slide552.xml.rels><?xml version="1.0" encoding="UTF-8" standalone="yes"?>
<Relationships xmlns="http://schemas.openxmlformats.org/package/2006/relationships"><Relationship Id="rId3" Type="http://schemas.openxmlformats.org/officeDocument/2006/relationships/notesSlide" Target="../notesSlides/notesSlide141.xml"/><Relationship Id="rId2" Type="http://schemas.openxmlformats.org/officeDocument/2006/relationships/slideLayout" Target="../slideLayouts/slideLayout11.xml"/><Relationship Id="rId1" Type="http://schemas.openxmlformats.org/officeDocument/2006/relationships/themeOverride" Target="../theme/themeOverride551.xml"/></Relationships>
</file>

<file path=ppt/slides/_rels/slide553.xml.rels><?xml version="1.0" encoding="UTF-8" standalone="yes"?>
<Relationships xmlns="http://schemas.openxmlformats.org/package/2006/relationships"><Relationship Id="rId3" Type="http://schemas.openxmlformats.org/officeDocument/2006/relationships/notesSlide" Target="../notesSlides/notesSlide142.xml"/><Relationship Id="rId2" Type="http://schemas.openxmlformats.org/officeDocument/2006/relationships/slideLayout" Target="../slideLayouts/slideLayout11.xml"/><Relationship Id="rId1" Type="http://schemas.openxmlformats.org/officeDocument/2006/relationships/themeOverride" Target="../theme/themeOverride552.xml"/></Relationships>
</file>

<file path=ppt/slides/_rels/slide554.xml.rels><?xml version="1.0" encoding="UTF-8" standalone="yes"?>
<Relationships xmlns="http://schemas.openxmlformats.org/package/2006/relationships"><Relationship Id="rId3" Type="http://schemas.openxmlformats.org/officeDocument/2006/relationships/notesSlide" Target="../notesSlides/notesSlide143.xml"/><Relationship Id="rId2" Type="http://schemas.openxmlformats.org/officeDocument/2006/relationships/slideLayout" Target="../slideLayouts/slideLayout11.xml"/><Relationship Id="rId1" Type="http://schemas.openxmlformats.org/officeDocument/2006/relationships/themeOverride" Target="../theme/themeOverride553.xml"/></Relationships>
</file>

<file path=ppt/slides/_rels/slide555.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556.xml.rels><?xml version="1.0" encoding="UTF-8" standalone="yes"?>
<Relationships xmlns="http://schemas.openxmlformats.org/package/2006/relationships"><Relationship Id="rId3" Type="http://schemas.openxmlformats.org/officeDocument/2006/relationships/notesSlide" Target="../notesSlides/notesSlide144.xml"/><Relationship Id="rId2" Type="http://schemas.openxmlformats.org/officeDocument/2006/relationships/slideLayout" Target="../slideLayouts/slideLayout1.xml"/><Relationship Id="rId1" Type="http://schemas.openxmlformats.org/officeDocument/2006/relationships/themeOverride" Target="../theme/themeOverride554.xml"/></Relationships>
</file>

<file path=ppt/slides/_rels/slide557.xml.rels><?xml version="1.0" encoding="UTF-8" standalone="yes"?>
<Relationships xmlns="http://schemas.openxmlformats.org/package/2006/relationships"><Relationship Id="rId3" Type="http://schemas.openxmlformats.org/officeDocument/2006/relationships/notesSlide" Target="../notesSlides/notesSlide145.xml"/><Relationship Id="rId2" Type="http://schemas.openxmlformats.org/officeDocument/2006/relationships/slideLayout" Target="../slideLayouts/slideLayout1.xml"/><Relationship Id="rId1" Type="http://schemas.openxmlformats.org/officeDocument/2006/relationships/themeOverride" Target="../theme/themeOverride555.xml"/></Relationships>
</file>

<file path=ppt/slides/_rels/slide558.xml.rels><?xml version="1.0" encoding="UTF-8" standalone="yes"?>
<Relationships xmlns="http://schemas.openxmlformats.org/package/2006/relationships"><Relationship Id="rId3" Type="http://schemas.openxmlformats.org/officeDocument/2006/relationships/notesSlide" Target="../notesSlides/notesSlide146.xml"/><Relationship Id="rId2" Type="http://schemas.openxmlformats.org/officeDocument/2006/relationships/slideLayout" Target="../slideLayouts/slideLayout1.xml"/><Relationship Id="rId1" Type="http://schemas.openxmlformats.org/officeDocument/2006/relationships/themeOverride" Target="../theme/themeOverride556.xml"/></Relationships>
</file>

<file path=ppt/slides/_rels/slide559.xml.rels><?xml version="1.0" encoding="UTF-8" standalone="yes"?>
<Relationships xmlns="http://schemas.openxmlformats.org/package/2006/relationships"><Relationship Id="rId3" Type="http://schemas.openxmlformats.org/officeDocument/2006/relationships/notesSlide" Target="../notesSlides/notesSlide147.xml"/><Relationship Id="rId2" Type="http://schemas.openxmlformats.org/officeDocument/2006/relationships/slideLayout" Target="../slideLayouts/slideLayout1.xml"/><Relationship Id="rId1" Type="http://schemas.openxmlformats.org/officeDocument/2006/relationships/themeOverride" Target="../theme/themeOverride557.xml"/></Relationships>
</file>

<file path=ppt/slides/_rels/slide56.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hemeOverride" Target="../theme/themeOverride55.xml"/></Relationships>
</file>

<file path=ppt/slides/_rels/slide560.xml.rels><?xml version="1.0" encoding="UTF-8" standalone="yes"?>
<Relationships xmlns="http://schemas.openxmlformats.org/package/2006/relationships"><Relationship Id="rId3" Type="http://schemas.openxmlformats.org/officeDocument/2006/relationships/notesSlide" Target="../notesSlides/notesSlide148.xml"/><Relationship Id="rId2" Type="http://schemas.openxmlformats.org/officeDocument/2006/relationships/slideLayout" Target="../slideLayouts/slideLayout1.xml"/><Relationship Id="rId1" Type="http://schemas.openxmlformats.org/officeDocument/2006/relationships/themeOverride" Target="../theme/themeOverride558.xml"/></Relationships>
</file>

<file path=ppt/slides/_rels/slide561.xml.rels><?xml version="1.0" encoding="UTF-8" standalone="yes"?>
<Relationships xmlns="http://schemas.openxmlformats.org/package/2006/relationships"><Relationship Id="rId3" Type="http://schemas.openxmlformats.org/officeDocument/2006/relationships/notesSlide" Target="../notesSlides/notesSlide149.xml"/><Relationship Id="rId2" Type="http://schemas.openxmlformats.org/officeDocument/2006/relationships/slideLayout" Target="../slideLayouts/slideLayout1.xml"/><Relationship Id="rId1" Type="http://schemas.openxmlformats.org/officeDocument/2006/relationships/themeOverride" Target="../theme/themeOverride559.xml"/></Relationships>
</file>

<file path=ppt/slides/_rels/slide562.xml.rels><?xml version="1.0" encoding="UTF-8" standalone="yes"?>
<Relationships xmlns="http://schemas.openxmlformats.org/package/2006/relationships"><Relationship Id="rId3" Type="http://schemas.openxmlformats.org/officeDocument/2006/relationships/notesSlide" Target="../notesSlides/notesSlide150.xml"/><Relationship Id="rId2" Type="http://schemas.openxmlformats.org/officeDocument/2006/relationships/slideLayout" Target="../slideLayouts/slideLayout1.xml"/><Relationship Id="rId1" Type="http://schemas.openxmlformats.org/officeDocument/2006/relationships/themeOverride" Target="../theme/themeOverride560.xml"/></Relationships>
</file>

<file path=ppt/slides/_rels/slide563.xml.rels><?xml version="1.0" encoding="UTF-8" standalone="yes"?>
<Relationships xmlns="http://schemas.openxmlformats.org/package/2006/relationships"><Relationship Id="rId3" Type="http://schemas.openxmlformats.org/officeDocument/2006/relationships/notesSlide" Target="../notesSlides/notesSlide151.xml"/><Relationship Id="rId2" Type="http://schemas.openxmlformats.org/officeDocument/2006/relationships/slideLayout" Target="../slideLayouts/slideLayout1.xml"/><Relationship Id="rId1" Type="http://schemas.openxmlformats.org/officeDocument/2006/relationships/themeOverride" Target="../theme/themeOverride561.xml"/></Relationships>
</file>

<file path=ppt/slides/_rels/slide564.xml.rels><?xml version="1.0" encoding="UTF-8" standalone="yes"?>
<Relationships xmlns="http://schemas.openxmlformats.org/package/2006/relationships"><Relationship Id="rId3" Type="http://schemas.openxmlformats.org/officeDocument/2006/relationships/notesSlide" Target="../notesSlides/notesSlide152.xml"/><Relationship Id="rId2" Type="http://schemas.openxmlformats.org/officeDocument/2006/relationships/slideLayout" Target="../slideLayouts/slideLayout1.xml"/><Relationship Id="rId1" Type="http://schemas.openxmlformats.org/officeDocument/2006/relationships/themeOverride" Target="../theme/themeOverride562.xml"/></Relationships>
</file>

<file path=ppt/slides/_rels/slide565.xml.rels><?xml version="1.0" encoding="UTF-8" standalone="yes"?>
<Relationships xmlns="http://schemas.openxmlformats.org/package/2006/relationships"><Relationship Id="rId3" Type="http://schemas.openxmlformats.org/officeDocument/2006/relationships/notesSlide" Target="../notesSlides/notesSlide153.xml"/><Relationship Id="rId2" Type="http://schemas.openxmlformats.org/officeDocument/2006/relationships/slideLayout" Target="../slideLayouts/slideLayout1.xml"/><Relationship Id="rId1" Type="http://schemas.openxmlformats.org/officeDocument/2006/relationships/themeOverride" Target="../theme/themeOverride563.xml"/></Relationships>
</file>

<file path=ppt/slides/_rels/slide566.xml.rels><?xml version="1.0" encoding="UTF-8" standalone="yes"?>
<Relationships xmlns="http://schemas.openxmlformats.org/package/2006/relationships"><Relationship Id="rId3" Type="http://schemas.openxmlformats.org/officeDocument/2006/relationships/notesSlide" Target="../notesSlides/notesSlide154.xml"/><Relationship Id="rId2" Type="http://schemas.openxmlformats.org/officeDocument/2006/relationships/slideLayout" Target="../slideLayouts/slideLayout1.xml"/><Relationship Id="rId1" Type="http://schemas.openxmlformats.org/officeDocument/2006/relationships/themeOverride" Target="../theme/themeOverride564.xml"/><Relationship Id="rId4" Type="http://schemas.openxmlformats.org/officeDocument/2006/relationships/image" Target="../media/image22.png"/></Relationships>
</file>

<file path=ppt/slides/_rels/slide567.xml.rels><?xml version="1.0" encoding="UTF-8" standalone="yes"?>
<Relationships xmlns="http://schemas.openxmlformats.org/package/2006/relationships"><Relationship Id="rId3" Type="http://schemas.openxmlformats.org/officeDocument/2006/relationships/notesSlide" Target="../notesSlides/notesSlide155.xml"/><Relationship Id="rId2" Type="http://schemas.openxmlformats.org/officeDocument/2006/relationships/slideLayout" Target="../slideLayouts/slideLayout1.xml"/><Relationship Id="rId1" Type="http://schemas.openxmlformats.org/officeDocument/2006/relationships/themeOverride" Target="../theme/themeOverride565.xml"/></Relationships>
</file>

<file path=ppt/slides/_rels/slide568.xml.rels><?xml version="1.0" encoding="UTF-8" standalone="yes"?>
<Relationships xmlns="http://schemas.openxmlformats.org/package/2006/relationships"><Relationship Id="rId3" Type="http://schemas.openxmlformats.org/officeDocument/2006/relationships/notesSlide" Target="../notesSlides/notesSlide156.xml"/><Relationship Id="rId2" Type="http://schemas.openxmlformats.org/officeDocument/2006/relationships/slideLayout" Target="../slideLayouts/slideLayout1.xml"/><Relationship Id="rId1" Type="http://schemas.openxmlformats.org/officeDocument/2006/relationships/themeOverride" Target="../theme/themeOverride566.xml"/></Relationships>
</file>

<file path=ppt/slides/_rels/slide569.xml.rels><?xml version="1.0" encoding="UTF-8" standalone="yes"?>
<Relationships xmlns="http://schemas.openxmlformats.org/package/2006/relationships"><Relationship Id="rId3" Type="http://schemas.openxmlformats.org/officeDocument/2006/relationships/notesSlide" Target="../notesSlides/notesSlide157.xml"/><Relationship Id="rId2" Type="http://schemas.openxmlformats.org/officeDocument/2006/relationships/slideLayout" Target="../slideLayouts/slideLayout1.xml"/><Relationship Id="rId1" Type="http://schemas.openxmlformats.org/officeDocument/2006/relationships/themeOverride" Target="../theme/themeOverride567.xml"/></Relationships>
</file>

<file path=ppt/slides/_rels/slide57.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hemeOverride" Target="../theme/themeOverride56.xml"/></Relationships>
</file>

<file path=ppt/slides/_rels/slide570.xml.rels><?xml version="1.0" encoding="UTF-8" standalone="yes"?>
<Relationships xmlns="http://schemas.openxmlformats.org/package/2006/relationships"><Relationship Id="rId3" Type="http://schemas.openxmlformats.org/officeDocument/2006/relationships/notesSlide" Target="../notesSlides/notesSlide158.xml"/><Relationship Id="rId2" Type="http://schemas.openxmlformats.org/officeDocument/2006/relationships/slideLayout" Target="../slideLayouts/slideLayout1.xml"/><Relationship Id="rId1" Type="http://schemas.openxmlformats.org/officeDocument/2006/relationships/themeOverride" Target="../theme/themeOverride568.xml"/><Relationship Id="rId4" Type="http://schemas.openxmlformats.org/officeDocument/2006/relationships/image" Target="../media/image19.png"/></Relationships>
</file>

<file path=ppt/slides/_rels/slide571.xml.rels><?xml version="1.0" encoding="UTF-8" standalone="yes"?>
<Relationships xmlns="http://schemas.openxmlformats.org/package/2006/relationships"><Relationship Id="rId3" Type="http://schemas.openxmlformats.org/officeDocument/2006/relationships/notesSlide" Target="../notesSlides/notesSlide159.xml"/><Relationship Id="rId2" Type="http://schemas.openxmlformats.org/officeDocument/2006/relationships/slideLayout" Target="../slideLayouts/slideLayout1.xml"/><Relationship Id="rId1" Type="http://schemas.openxmlformats.org/officeDocument/2006/relationships/themeOverride" Target="../theme/themeOverride569.xml"/></Relationships>
</file>

<file path=ppt/slides/_rels/slide572.xml.rels><?xml version="1.0" encoding="UTF-8" standalone="yes"?>
<Relationships xmlns="http://schemas.openxmlformats.org/package/2006/relationships"><Relationship Id="rId3" Type="http://schemas.openxmlformats.org/officeDocument/2006/relationships/notesSlide" Target="../notesSlides/notesSlide160.xml"/><Relationship Id="rId2" Type="http://schemas.openxmlformats.org/officeDocument/2006/relationships/slideLayout" Target="../slideLayouts/slideLayout1.xml"/><Relationship Id="rId1" Type="http://schemas.openxmlformats.org/officeDocument/2006/relationships/themeOverride" Target="../theme/themeOverride570.xml"/></Relationships>
</file>

<file path=ppt/slides/_rels/slide573.xml.rels><?xml version="1.0" encoding="UTF-8" standalone="yes"?>
<Relationships xmlns="http://schemas.openxmlformats.org/package/2006/relationships"><Relationship Id="rId3" Type="http://schemas.openxmlformats.org/officeDocument/2006/relationships/notesSlide" Target="../notesSlides/notesSlide161.xml"/><Relationship Id="rId2" Type="http://schemas.openxmlformats.org/officeDocument/2006/relationships/slideLayout" Target="../slideLayouts/slideLayout1.xml"/><Relationship Id="rId1" Type="http://schemas.openxmlformats.org/officeDocument/2006/relationships/themeOverride" Target="../theme/themeOverride571.xml"/></Relationships>
</file>

<file path=ppt/slides/_rels/slide574.xml.rels><?xml version="1.0" encoding="UTF-8" standalone="yes"?>
<Relationships xmlns="http://schemas.openxmlformats.org/package/2006/relationships"><Relationship Id="rId3" Type="http://schemas.openxmlformats.org/officeDocument/2006/relationships/notesSlide" Target="../notesSlides/notesSlide162.xml"/><Relationship Id="rId2" Type="http://schemas.openxmlformats.org/officeDocument/2006/relationships/slideLayout" Target="../slideLayouts/slideLayout1.xml"/><Relationship Id="rId1" Type="http://schemas.openxmlformats.org/officeDocument/2006/relationships/themeOverride" Target="../theme/themeOverride572.xml"/></Relationships>
</file>

<file path=ppt/slides/_rels/slide575.xml.rels><?xml version="1.0" encoding="UTF-8" standalone="yes"?>
<Relationships xmlns="http://schemas.openxmlformats.org/package/2006/relationships"><Relationship Id="rId3" Type="http://schemas.openxmlformats.org/officeDocument/2006/relationships/notesSlide" Target="../notesSlides/notesSlide163.xml"/><Relationship Id="rId2" Type="http://schemas.openxmlformats.org/officeDocument/2006/relationships/slideLayout" Target="../slideLayouts/slideLayout1.xml"/><Relationship Id="rId1" Type="http://schemas.openxmlformats.org/officeDocument/2006/relationships/themeOverride" Target="../theme/themeOverride573.xml"/><Relationship Id="rId4" Type="http://schemas.openxmlformats.org/officeDocument/2006/relationships/image" Target="../media/image23.png"/></Relationships>
</file>

<file path=ppt/slides/_rels/slide576.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118.xml"/><Relationship Id="rId1" Type="http://schemas.openxmlformats.org/officeDocument/2006/relationships/themeOverride" Target="../theme/themeOverride574.xml"/><Relationship Id="rId4" Type="http://schemas.openxmlformats.org/officeDocument/2006/relationships/notesSlide" Target="../notesSlides/notesSlide164.xml"/></Relationships>
</file>

<file path=ppt/slides/_rels/slide577.xml.rels><?xml version="1.0" encoding="UTF-8" standalone="yes"?>
<Relationships xmlns="http://schemas.openxmlformats.org/package/2006/relationships"><Relationship Id="rId3" Type="http://schemas.openxmlformats.org/officeDocument/2006/relationships/notesSlide" Target="../notesSlides/notesSlide165.xml"/><Relationship Id="rId2" Type="http://schemas.openxmlformats.org/officeDocument/2006/relationships/slideLayout" Target="../slideLayouts/slideLayout11.xml"/><Relationship Id="rId1" Type="http://schemas.openxmlformats.org/officeDocument/2006/relationships/themeOverride" Target="../theme/themeOverride575.xml"/><Relationship Id="rId6" Type="http://schemas.openxmlformats.org/officeDocument/2006/relationships/image" Target="../media/image26.png"/><Relationship Id="rId5" Type="http://schemas.openxmlformats.org/officeDocument/2006/relationships/image" Target="../media/image25.png"/><Relationship Id="rId4" Type="http://schemas.openxmlformats.org/officeDocument/2006/relationships/image" Target="../media/image24.png"/></Relationships>
</file>

<file path=ppt/slides/_rels/slide578.xml.rels><?xml version="1.0" encoding="UTF-8" standalone="yes"?>
<Relationships xmlns="http://schemas.openxmlformats.org/package/2006/relationships"><Relationship Id="rId3" Type="http://schemas.openxmlformats.org/officeDocument/2006/relationships/notesSlide" Target="../notesSlides/notesSlide166.xml"/><Relationship Id="rId2" Type="http://schemas.openxmlformats.org/officeDocument/2006/relationships/slideLayout" Target="../slideLayouts/slideLayout11.xml"/><Relationship Id="rId1" Type="http://schemas.openxmlformats.org/officeDocument/2006/relationships/themeOverride" Target="../theme/themeOverride576.xml"/><Relationship Id="rId4" Type="http://schemas.openxmlformats.org/officeDocument/2006/relationships/image" Target="../media/image27.png"/></Relationships>
</file>

<file path=ppt/slides/_rels/slide579.xml.rels><?xml version="1.0" encoding="UTF-8" standalone="yes"?>
<Relationships xmlns="http://schemas.openxmlformats.org/package/2006/relationships"><Relationship Id="rId3" Type="http://schemas.openxmlformats.org/officeDocument/2006/relationships/notesSlide" Target="../notesSlides/notesSlide167.xml"/><Relationship Id="rId2" Type="http://schemas.openxmlformats.org/officeDocument/2006/relationships/slideLayout" Target="../slideLayouts/slideLayout11.xml"/><Relationship Id="rId1" Type="http://schemas.openxmlformats.org/officeDocument/2006/relationships/themeOverride" Target="../theme/themeOverride577.xml"/></Relationships>
</file>

<file path=ppt/slides/_rels/slide58.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hemeOverride" Target="../theme/themeOverride57.xml"/></Relationships>
</file>

<file path=ppt/slides/_rels/slide580.xml.rels><?xml version="1.0" encoding="UTF-8" standalone="yes"?>
<Relationships xmlns="http://schemas.openxmlformats.org/package/2006/relationships"><Relationship Id="rId3" Type="http://schemas.openxmlformats.org/officeDocument/2006/relationships/notesSlide" Target="../notesSlides/notesSlide168.xml"/><Relationship Id="rId2" Type="http://schemas.openxmlformats.org/officeDocument/2006/relationships/slideLayout" Target="../slideLayouts/slideLayout11.xml"/><Relationship Id="rId1" Type="http://schemas.openxmlformats.org/officeDocument/2006/relationships/themeOverride" Target="../theme/themeOverride578.xml"/></Relationships>
</file>

<file path=ppt/slides/_rels/slide581.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notesSlide" Target="../notesSlides/notesSlide169.xml"/><Relationship Id="rId7" Type="http://schemas.openxmlformats.org/officeDocument/2006/relationships/image" Target="../media/image31.png"/><Relationship Id="rId2" Type="http://schemas.openxmlformats.org/officeDocument/2006/relationships/slideLayout" Target="../slideLayouts/slideLayout1.xml"/><Relationship Id="rId1" Type="http://schemas.openxmlformats.org/officeDocument/2006/relationships/themeOverride" Target="../theme/themeOverride579.xml"/><Relationship Id="rId6" Type="http://schemas.openxmlformats.org/officeDocument/2006/relationships/image" Target="../media/image30.png"/><Relationship Id="rId5" Type="http://schemas.openxmlformats.org/officeDocument/2006/relationships/image" Target="../media/image29.png"/><Relationship Id="rId4" Type="http://schemas.openxmlformats.org/officeDocument/2006/relationships/image" Target="../media/image28.png"/><Relationship Id="rId9" Type="http://schemas.openxmlformats.org/officeDocument/2006/relationships/image" Target="../media/image33.png"/></Relationships>
</file>

<file path=ppt/slides/_rels/slide582.xml.rels><?xml version="1.0" encoding="UTF-8" standalone="yes"?>
<Relationships xmlns="http://schemas.openxmlformats.org/package/2006/relationships"><Relationship Id="rId3" Type="http://schemas.openxmlformats.org/officeDocument/2006/relationships/notesSlide" Target="../notesSlides/notesSlide170.xml"/><Relationship Id="rId2" Type="http://schemas.openxmlformats.org/officeDocument/2006/relationships/slideLayout" Target="../slideLayouts/slideLayout2.xml"/><Relationship Id="rId1" Type="http://schemas.openxmlformats.org/officeDocument/2006/relationships/themeOverride" Target="../theme/themeOverride580.xml"/></Relationships>
</file>

<file path=ppt/slides/_rels/slide583.xml.rels><?xml version="1.0" encoding="UTF-8" standalone="yes"?>
<Relationships xmlns="http://schemas.openxmlformats.org/package/2006/relationships"><Relationship Id="rId3" Type="http://schemas.openxmlformats.org/officeDocument/2006/relationships/notesSlide" Target="../notesSlides/notesSlide171.xml"/><Relationship Id="rId2" Type="http://schemas.openxmlformats.org/officeDocument/2006/relationships/slideLayout" Target="../slideLayouts/slideLayout2.xml"/><Relationship Id="rId1" Type="http://schemas.openxmlformats.org/officeDocument/2006/relationships/themeOverride" Target="../theme/themeOverride581.xml"/><Relationship Id="rId5" Type="http://schemas.openxmlformats.org/officeDocument/2006/relationships/image" Target="../media/image35.svg"/><Relationship Id="rId4" Type="http://schemas.openxmlformats.org/officeDocument/2006/relationships/image" Target="../media/image34.png"/></Relationships>
</file>

<file path=ppt/slides/_rels/slide584.xml.rels><?xml version="1.0" encoding="UTF-8" standalone="yes"?>
<Relationships xmlns="http://schemas.openxmlformats.org/package/2006/relationships"><Relationship Id="rId3" Type="http://schemas.openxmlformats.org/officeDocument/2006/relationships/notesSlide" Target="../notesSlides/notesSlide172.xml"/><Relationship Id="rId2" Type="http://schemas.openxmlformats.org/officeDocument/2006/relationships/slideLayout" Target="../slideLayouts/slideLayout2.xml"/><Relationship Id="rId1" Type="http://schemas.openxmlformats.org/officeDocument/2006/relationships/themeOverride" Target="../theme/themeOverride582.xml"/></Relationships>
</file>

<file path=ppt/slides/_rels/slide585.xml.rels><?xml version="1.0" encoding="UTF-8" standalone="yes"?>
<Relationships xmlns="http://schemas.openxmlformats.org/package/2006/relationships"><Relationship Id="rId3" Type="http://schemas.openxmlformats.org/officeDocument/2006/relationships/notesSlide" Target="../notesSlides/notesSlide173.xml"/><Relationship Id="rId2" Type="http://schemas.openxmlformats.org/officeDocument/2006/relationships/slideLayout" Target="../slideLayouts/slideLayout2.xml"/><Relationship Id="rId1" Type="http://schemas.openxmlformats.org/officeDocument/2006/relationships/themeOverride" Target="../theme/themeOverride583.xml"/></Relationships>
</file>

<file path=ppt/slides/_rels/slide586.xml.rels><?xml version="1.0" encoding="UTF-8" standalone="yes"?>
<Relationships xmlns="http://schemas.openxmlformats.org/package/2006/relationships"><Relationship Id="rId3" Type="http://schemas.openxmlformats.org/officeDocument/2006/relationships/notesSlide" Target="../notesSlides/notesSlide174.xml"/><Relationship Id="rId2" Type="http://schemas.openxmlformats.org/officeDocument/2006/relationships/slideLayout" Target="../slideLayouts/slideLayout2.xml"/><Relationship Id="rId1" Type="http://schemas.openxmlformats.org/officeDocument/2006/relationships/themeOverride" Target="../theme/themeOverride584.xml"/></Relationships>
</file>

<file path=ppt/slides/_rels/slide587.xml.rels><?xml version="1.0" encoding="UTF-8" standalone="yes"?>
<Relationships xmlns="http://schemas.openxmlformats.org/package/2006/relationships"><Relationship Id="rId3" Type="http://schemas.openxmlformats.org/officeDocument/2006/relationships/notesSlide" Target="../notesSlides/notesSlide175.xml"/><Relationship Id="rId2" Type="http://schemas.openxmlformats.org/officeDocument/2006/relationships/slideLayout" Target="../slideLayouts/slideLayout2.xml"/><Relationship Id="rId1" Type="http://schemas.openxmlformats.org/officeDocument/2006/relationships/themeOverride" Target="../theme/themeOverride585.xml"/></Relationships>
</file>

<file path=ppt/slides/_rels/slide588.xml.rels><?xml version="1.0" encoding="UTF-8" standalone="yes"?>
<Relationships xmlns="http://schemas.openxmlformats.org/package/2006/relationships"><Relationship Id="rId3" Type="http://schemas.openxmlformats.org/officeDocument/2006/relationships/notesSlide" Target="../notesSlides/notesSlide176.xml"/><Relationship Id="rId2" Type="http://schemas.openxmlformats.org/officeDocument/2006/relationships/slideLayout" Target="../slideLayouts/slideLayout2.xml"/><Relationship Id="rId1" Type="http://schemas.openxmlformats.org/officeDocument/2006/relationships/themeOverride" Target="../theme/themeOverride586.xml"/></Relationships>
</file>

<file path=ppt/slides/_rels/slide589.xml.rels><?xml version="1.0" encoding="UTF-8" standalone="yes"?>
<Relationships xmlns="http://schemas.openxmlformats.org/package/2006/relationships"><Relationship Id="rId3" Type="http://schemas.openxmlformats.org/officeDocument/2006/relationships/notesSlide" Target="../notesSlides/notesSlide177.xml"/><Relationship Id="rId2" Type="http://schemas.openxmlformats.org/officeDocument/2006/relationships/slideLayout" Target="../slideLayouts/slideLayout2.xml"/><Relationship Id="rId1" Type="http://schemas.openxmlformats.org/officeDocument/2006/relationships/themeOverride" Target="../theme/themeOverride587.xml"/></Relationships>
</file>

<file path=ppt/slides/_rels/slide59.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hemeOverride" Target="../theme/themeOverride58.xml"/></Relationships>
</file>

<file path=ppt/slides/_rels/slide590.xml.rels><?xml version="1.0" encoding="UTF-8" standalone="yes"?>
<Relationships xmlns="http://schemas.openxmlformats.org/package/2006/relationships"><Relationship Id="rId3" Type="http://schemas.openxmlformats.org/officeDocument/2006/relationships/notesSlide" Target="../notesSlides/notesSlide178.xml"/><Relationship Id="rId2" Type="http://schemas.openxmlformats.org/officeDocument/2006/relationships/slideLayout" Target="../slideLayouts/slideLayout2.xml"/><Relationship Id="rId1" Type="http://schemas.openxmlformats.org/officeDocument/2006/relationships/themeOverride" Target="../theme/themeOverride588.xml"/></Relationships>
</file>

<file path=ppt/slides/_rels/slide591.xml.rels><?xml version="1.0" encoding="UTF-8" standalone="yes"?>
<Relationships xmlns="http://schemas.openxmlformats.org/package/2006/relationships"><Relationship Id="rId3" Type="http://schemas.openxmlformats.org/officeDocument/2006/relationships/notesSlide" Target="../notesSlides/notesSlide179.xml"/><Relationship Id="rId2" Type="http://schemas.openxmlformats.org/officeDocument/2006/relationships/slideLayout" Target="../slideLayouts/slideLayout2.xml"/><Relationship Id="rId1" Type="http://schemas.openxmlformats.org/officeDocument/2006/relationships/themeOverride" Target="../theme/themeOverride589.xml"/></Relationships>
</file>

<file path=ppt/slides/_rels/slide592.xml.rels><?xml version="1.0" encoding="UTF-8" standalone="yes"?>
<Relationships xmlns="http://schemas.openxmlformats.org/package/2006/relationships"><Relationship Id="rId3" Type="http://schemas.openxmlformats.org/officeDocument/2006/relationships/notesSlide" Target="../notesSlides/notesSlide180.xml"/><Relationship Id="rId2" Type="http://schemas.openxmlformats.org/officeDocument/2006/relationships/slideLayout" Target="../slideLayouts/slideLayout2.xml"/><Relationship Id="rId1" Type="http://schemas.openxmlformats.org/officeDocument/2006/relationships/themeOverride" Target="../theme/themeOverride590.xml"/></Relationships>
</file>

<file path=ppt/slides/_rels/slide593.xml.rels><?xml version="1.0" encoding="UTF-8" standalone="yes"?>
<Relationships xmlns="http://schemas.openxmlformats.org/package/2006/relationships"><Relationship Id="rId3" Type="http://schemas.openxmlformats.org/officeDocument/2006/relationships/notesSlide" Target="../notesSlides/notesSlide181.xml"/><Relationship Id="rId2" Type="http://schemas.openxmlformats.org/officeDocument/2006/relationships/slideLayout" Target="../slideLayouts/slideLayout2.xml"/><Relationship Id="rId1" Type="http://schemas.openxmlformats.org/officeDocument/2006/relationships/themeOverride" Target="../theme/themeOverride591.xml"/></Relationships>
</file>

<file path=ppt/slides/_rels/slide594.xml.rels><?xml version="1.0" encoding="UTF-8" standalone="yes"?>
<Relationships xmlns="http://schemas.openxmlformats.org/package/2006/relationships"><Relationship Id="rId3" Type="http://schemas.openxmlformats.org/officeDocument/2006/relationships/notesSlide" Target="../notesSlides/notesSlide182.xml"/><Relationship Id="rId2" Type="http://schemas.openxmlformats.org/officeDocument/2006/relationships/slideLayout" Target="../slideLayouts/slideLayout2.xml"/><Relationship Id="rId1" Type="http://schemas.openxmlformats.org/officeDocument/2006/relationships/themeOverride" Target="../theme/themeOverride592.xml"/></Relationships>
</file>

<file path=ppt/slides/_rels/slide595.xml.rels><?xml version="1.0" encoding="UTF-8" standalone="yes"?>
<Relationships xmlns="http://schemas.openxmlformats.org/package/2006/relationships"><Relationship Id="rId3" Type="http://schemas.openxmlformats.org/officeDocument/2006/relationships/notesSlide" Target="../notesSlides/notesSlide183.xml"/><Relationship Id="rId2" Type="http://schemas.openxmlformats.org/officeDocument/2006/relationships/slideLayout" Target="../slideLayouts/slideLayout2.xml"/><Relationship Id="rId1" Type="http://schemas.openxmlformats.org/officeDocument/2006/relationships/themeOverride" Target="../theme/themeOverride593.xml"/></Relationships>
</file>

<file path=ppt/slides/_rels/slide596.xml.rels><?xml version="1.0" encoding="UTF-8" standalone="yes"?>
<Relationships xmlns="http://schemas.openxmlformats.org/package/2006/relationships"><Relationship Id="rId3" Type="http://schemas.openxmlformats.org/officeDocument/2006/relationships/notesSlide" Target="../notesSlides/notesSlide184.xml"/><Relationship Id="rId2" Type="http://schemas.openxmlformats.org/officeDocument/2006/relationships/slideLayout" Target="../slideLayouts/slideLayout2.xml"/><Relationship Id="rId1" Type="http://schemas.openxmlformats.org/officeDocument/2006/relationships/themeOverride" Target="../theme/themeOverride594.xml"/></Relationships>
</file>

<file path=ppt/slides/_rels/slide597.xml.rels><?xml version="1.0" encoding="UTF-8" standalone="yes"?>
<Relationships xmlns="http://schemas.openxmlformats.org/package/2006/relationships"><Relationship Id="rId3" Type="http://schemas.openxmlformats.org/officeDocument/2006/relationships/notesSlide" Target="../notesSlides/notesSlide185.xml"/><Relationship Id="rId2" Type="http://schemas.openxmlformats.org/officeDocument/2006/relationships/slideLayout" Target="../slideLayouts/slideLayout2.xml"/><Relationship Id="rId1" Type="http://schemas.openxmlformats.org/officeDocument/2006/relationships/themeOverride" Target="../theme/themeOverride595.xml"/></Relationships>
</file>

<file path=ppt/slides/_rels/slide598.xml.rels><?xml version="1.0" encoding="UTF-8" standalone="yes"?>
<Relationships xmlns="http://schemas.openxmlformats.org/package/2006/relationships"><Relationship Id="rId3" Type="http://schemas.openxmlformats.org/officeDocument/2006/relationships/notesSlide" Target="../notesSlides/notesSlide186.xml"/><Relationship Id="rId2" Type="http://schemas.openxmlformats.org/officeDocument/2006/relationships/slideLayout" Target="../slideLayouts/slideLayout2.xml"/><Relationship Id="rId1" Type="http://schemas.openxmlformats.org/officeDocument/2006/relationships/themeOverride" Target="../theme/themeOverride596.xml"/></Relationships>
</file>

<file path=ppt/slides/_rels/slide599.xml.rels><?xml version="1.0" encoding="UTF-8" standalone="yes"?>
<Relationships xmlns="http://schemas.openxmlformats.org/package/2006/relationships"><Relationship Id="rId3" Type="http://schemas.openxmlformats.org/officeDocument/2006/relationships/notesSlide" Target="../notesSlides/notesSlide187.xml"/><Relationship Id="rId2" Type="http://schemas.openxmlformats.org/officeDocument/2006/relationships/slideLayout" Target="../slideLayouts/slideLayout2.xml"/><Relationship Id="rId1" Type="http://schemas.openxmlformats.org/officeDocument/2006/relationships/themeOverride" Target="../theme/themeOverride597.xml"/></Relationships>
</file>

<file path=ppt/slides/_rels/slide6.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hemeOverride" Target="../theme/themeOverride5.xml"/></Relationships>
</file>

<file path=ppt/slides/_rels/slide60.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hemeOverride" Target="../theme/themeOverride59.xml"/></Relationships>
</file>

<file path=ppt/slides/_rels/slide600.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notesSlide" Target="../notesSlides/notesSlide188.xml"/><Relationship Id="rId7" Type="http://schemas.microsoft.com/office/2007/relationships/hdphoto" Target="../media/hdphoto3.wdp"/><Relationship Id="rId2" Type="http://schemas.openxmlformats.org/officeDocument/2006/relationships/slideLayout" Target="../slideLayouts/slideLayout2.xml"/><Relationship Id="rId1" Type="http://schemas.openxmlformats.org/officeDocument/2006/relationships/themeOverride" Target="../theme/themeOverride598.xml"/><Relationship Id="rId6" Type="http://schemas.openxmlformats.org/officeDocument/2006/relationships/image" Target="../media/image37.png"/><Relationship Id="rId5" Type="http://schemas.microsoft.com/office/2007/relationships/hdphoto" Target="../media/hdphoto2.wdp"/><Relationship Id="rId4" Type="http://schemas.openxmlformats.org/officeDocument/2006/relationships/image" Target="../media/image36.png"/></Relationships>
</file>

<file path=ppt/slides/_rels/slide601.xml.rels><?xml version="1.0" encoding="UTF-8" standalone="yes"?>
<Relationships xmlns="http://schemas.openxmlformats.org/package/2006/relationships"><Relationship Id="rId3" Type="http://schemas.openxmlformats.org/officeDocument/2006/relationships/notesSlide" Target="../notesSlides/notesSlide189.xml"/><Relationship Id="rId2" Type="http://schemas.openxmlformats.org/officeDocument/2006/relationships/slideLayout" Target="../slideLayouts/slideLayout2.xml"/><Relationship Id="rId1" Type="http://schemas.openxmlformats.org/officeDocument/2006/relationships/themeOverride" Target="../theme/themeOverride599.xml"/></Relationships>
</file>

<file path=ppt/slides/_rels/slide602.xml.rels><?xml version="1.0" encoding="UTF-8" standalone="yes"?>
<Relationships xmlns="http://schemas.openxmlformats.org/package/2006/relationships"><Relationship Id="rId3" Type="http://schemas.openxmlformats.org/officeDocument/2006/relationships/notesSlide" Target="../notesSlides/notesSlide190.xml"/><Relationship Id="rId2" Type="http://schemas.openxmlformats.org/officeDocument/2006/relationships/slideLayout" Target="../slideLayouts/slideLayout2.xml"/><Relationship Id="rId1" Type="http://schemas.openxmlformats.org/officeDocument/2006/relationships/themeOverride" Target="../theme/themeOverride600.xml"/></Relationships>
</file>

<file path=ppt/slides/_rels/slide603.xml.rels><?xml version="1.0" encoding="UTF-8" standalone="yes"?>
<Relationships xmlns="http://schemas.openxmlformats.org/package/2006/relationships"><Relationship Id="rId3" Type="http://schemas.openxmlformats.org/officeDocument/2006/relationships/notesSlide" Target="../notesSlides/notesSlide191.xml"/><Relationship Id="rId2" Type="http://schemas.openxmlformats.org/officeDocument/2006/relationships/slideLayout" Target="../slideLayouts/slideLayout2.xml"/><Relationship Id="rId1" Type="http://schemas.openxmlformats.org/officeDocument/2006/relationships/themeOverride" Target="../theme/themeOverride601.xml"/></Relationships>
</file>

<file path=ppt/slides/_rels/slide604.xml.rels><?xml version="1.0" encoding="UTF-8" standalone="yes"?>
<Relationships xmlns="http://schemas.openxmlformats.org/package/2006/relationships"><Relationship Id="rId3" Type="http://schemas.openxmlformats.org/officeDocument/2006/relationships/notesSlide" Target="../notesSlides/notesSlide192.xml"/><Relationship Id="rId2" Type="http://schemas.openxmlformats.org/officeDocument/2006/relationships/slideLayout" Target="../slideLayouts/slideLayout2.xml"/><Relationship Id="rId1" Type="http://schemas.openxmlformats.org/officeDocument/2006/relationships/themeOverride" Target="../theme/themeOverride602.xml"/></Relationships>
</file>

<file path=ppt/slides/_rels/slide605.xml.rels><?xml version="1.0" encoding="UTF-8" standalone="yes"?>
<Relationships xmlns="http://schemas.openxmlformats.org/package/2006/relationships"><Relationship Id="rId3" Type="http://schemas.openxmlformats.org/officeDocument/2006/relationships/notesSlide" Target="../notesSlides/notesSlide193.xml"/><Relationship Id="rId2" Type="http://schemas.openxmlformats.org/officeDocument/2006/relationships/slideLayout" Target="../slideLayouts/slideLayout2.xml"/><Relationship Id="rId1" Type="http://schemas.openxmlformats.org/officeDocument/2006/relationships/themeOverride" Target="../theme/themeOverride603.xml"/></Relationships>
</file>

<file path=ppt/slides/_rels/slide606.xml.rels><?xml version="1.0" encoding="UTF-8" standalone="yes"?>
<Relationships xmlns="http://schemas.openxmlformats.org/package/2006/relationships"><Relationship Id="rId3" Type="http://schemas.openxmlformats.org/officeDocument/2006/relationships/notesSlide" Target="../notesSlides/notesSlide194.xml"/><Relationship Id="rId2" Type="http://schemas.openxmlformats.org/officeDocument/2006/relationships/slideLayout" Target="../slideLayouts/slideLayout2.xml"/><Relationship Id="rId1" Type="http://schemas.openxmlformats.org/officeDocument/2006/relationships/themeOverride" Target="../theme/themeOverride604.xml"/></Relationships>
</file>

<file path=ppt/slides/_rels/slide607.xml.rels><?xml version="1.0" encoding="UTF-8" standalone="yes"?>
<Relationships xmlns="http://schemas.openxmlformats.org/package/2006/relationships"><Relationship Id="rId3" Type="http://schemas.openxmlformats.org/officeDocument/2006/relationships/notesSlide" Target="../notesSlides/notesSlide195.xml"/><Relationship Id="rId2" Type="http://schemas.openxmlformats.org/officeDocument/2006/relationships/slideLayout" Target="../slideLayouts/slideLayout2.xml"/><Relationship Id="rId1" Type="http://schemas.openxmlformats.org/officeDocument/2006/relationships/themeOverride" Target="../theme/themeOverride605.xml"/></Relationships>
</file>

<file path=ppt/slides/_rels/slide608.xml.rels><?xml version="1.0" encoding="UTF-8" standalone="yes"?>
<Relationships xmlns="http://schemas.openxmlformats.org/package/2006/relationships"><Relationship Id="rId3" Type="http://schemas.openxmlformats.org/officeDocument/2006/relationships/notesSlide" Target="../notesSlides/notesSlide196.xml"/><Relationship Id="rId2" Type="http://schemas.openxmlformats.org/officeDocument/2006/relationships/slideLayout" Target="../slideLayouts/slideLayout2.xml"/><Relationship Id="rId1" Type="http://schemas.openxmlformats.org/officeDocument/2006/relationships/themeOverride" Target="../theme/themeOverride606.xml"/></Relationships>
</file>

<file path=ppt/slides/_rels/slide609.xml.rels><?xml version="1.0" encoding="UTF-8" standalone="yes"?>
<Relationships xmlns="http://schemas.openxmlformats.org/package/2006/relationships"><Relationship Id="rId3" Type="http://schemas.openxmlformats.org/officeDocument/2006/relationships/notesSlide" Target="../notesSlides/notesSlide197.xml"/><Relationship Id="rId2" Type="http://schemas.openxmlformats.org/officeDocument/2006/relationships/slideLayout" Target="../slideLayouts/slideLayout2.xml"/><Relationship Id="rId1" Type="http://schemas.openxmlformats.org/officeDocument/2006/relationships/themeOverride" Target="../theme/themeOverride607.xml"/></Relationships>
</file>

<file path=ppt/slides/_rels/slide61.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slideLayout" Target="../slideLayouts/slideLayout1.xml"/><Relationship Id="rId1" Type="http://schemas.openxmlformats.org/officeDocument/2006/relationships/themeOverride" Target="../theme/themeOverride60.xml"/></Relationships>
</file>

<file path=ppt/slides/_rels/slide610.xml.rels><?xml version="1.0" encoding="UTF-8" standalone="yes"?>
<Relationships xmlns="http://schemas.openxmlformats.org/package/2006/relationships"><Relationship Id="rId3" Type="http://schemas.openxmlformats.org/officeDocument/2006/relationships/notesSlide" Target="../notesSlides/notesSlide198.xml"/><Relationship Id="rId2" Type="http://schemas.openxmlformats.org/officeDocument/2006/relationships/slideLayout" Target="../slideLayouts/slideLayout2.xml"/><Relationship Id="rId1" Type="http://schemas.openxmlformats.org/officeDocument/2006/relationships/themeOverride" Target="../theme/themeOverride608.xml"/></Relationships>
</file>

<file path=ppt/slides/_rels/slide611.xml.rels><?xml version="1.0" encoding="UTF-8" standalone="yes"?>
<Relationships xmlns="http://schemas.openxmlformats.org/package/2006/relationships"><Relationship Id="rId3" Type="http://schemas.openxmlformats.org/officeDocument/2006/relationships/notesSlide" Target="../notesSlides/notesSlide199.xml"/><Relationship Id="rId2" Type="http://schemas.openxmlformats.org/officeDocument/2006/relationships/slideLayout" Target="../slideLayouts/slideLayout2.xml"/><Relationship Id="rId1" Type="http://schemas.openxmlformats.org/officeDocument/2006/relationships/themeOverride" Target="../theme/themeOverride609.xml"/></Relationships>
</file>

<file path=ppt/slides/_rels/slide612.xml.rels><?xml version="1.0" encoding="UTF-8" standalone="yes"?>
<Relationships xmlns="http://schemas.openxmlformats.org/package/2006/relationships"><Relationship Id="rId3" Type="http://schemas.openxmlformats.org/officeDocument/2006/relationships/notesSlide" Target="../notesSlides/notesSlide200.xml"/><Relationship Id="rId2" Type="http://schemas.openxmlformats.org/officeDocument/2006/relationships/slideLayout" Target="../slideLayouts/slideLayout2.xml"/><Relationship Id="rId1" Type="http://schemas.openxmlformats.org/officeDocument/2006/relationships/themeOverride" Target="../theme/themeOverride610.xml"/></Relationships>
</file>

<file path=ppt/slides/_rels/slide613.xml.rels><?xml version="1.0" encoding="UTF-8" standalone="yes"?>
<Relationships xmlns="http://schemas.openxmlformats.org/package/2006/relationships"><Relationship Id="rId3" Type="http://schemas.openxmlformats.org/officeDocument/2006/relationships/notesSlide" Target="../notesSlides/notesSlide201.xml"/><Relationship Id="rId2" Type="http://schemas.openxmlformats.org/officeDocument/2006/relationships/slideLayout" Target="../slideLayouts/slideLayout2.xml"/><Relationship Id="rId1" Type="http://schemas.openxmlformats.org/officeDocument/2006/relationships/themeOverride" Target="../theme/themeOverride611.xml"/></Relationships>
</file>

<file path=ppt/slides/_rels/slide614.xml.rels><?xml version="1.0" encoding="UTF-8" standalone="yes"?>
<Relationships xmlns="http://schemas.openxmlformats.org/package/2006/relationships"><Relationship Id="rId3" Type="http://schemas.openxmlformats.org/officeDocument/2006/relationships/notesSlide" Target="../notesSlides/notesSlide202.xml"/><Relationship Id="rId2" Type="http://schemas.openxmlformats.org/officeDocument/2006/relationships/slideLayout" Target="../slideLayouts/slideLayout2.xml"/><Relationship Id="rId1" Type="http://schemas.openxmlformats.org/officeDocument/2006/relationships/themeOverride" Target="../theme/themeOverride612.xml"/></Relationships>
</file>

<file path=ppt/slides/_rels/slide615.xml.rels><?xml version="1.0" encoding="UTF-8" standalone="yes"?>
<Relationships xmlns="http://schemas.openxmlformats.org/package/2006/relationships"><Relationship Id="rId3" Type="http://schemas.openxmlformats.org/officeDocument/2006/relationships/notesSlide" Target="../notesSlides/notesSlide203.xml"/><Relationship Id="rId2" Type="http://schemas.openxmlformats.org/officeDocument/2006/relationships/slideLayout" Target="../slideLayouts/slideLayout2.xml"/><Relationship Id="rId1" Type="http://schemas.openxmlformats.org/officeDocument/2006/relationships/themeOverride" Target="../theme/themeOverride613.xml"/></Relationships>
</file>

<file path=ppt/slides/_rels/slide616.xml.rels><?xml version="1.0" encoding="UTF-8" standalone="yes"?>
<Relationships xmlns="http://schemas.openxmlformats.org/package/2006/relationships"><Relationship Id="rId3" Type="http://schemas.openxmlformats.org/officeDocument/2006/relationships/notesSlide" Target="../notesSlides/notesSlide204.xml"/><Relationship Id="rId2" Type="http://schemas.openxmlformats.org/officeDocument/2006/relationships/slideLayout" Target="../slideLayouts/slideLayout2.xml"/><Relationship Id="rId1" Type="http://schemas.openxmlformats.org/officeDocument/2006/relationships/themeOverride" Target="../theme/themeOverride614.xml"/></Relationships>
</file>

<file path=ppt/slides/_rels/slide617.xml.rels><?xml version="1.0" encoding="UTF-8" standalone="yes"?>
<Relationships xmlns="http://schemas.openxmlformats.org/package/2006/relationships"><Relationship Id="rId3" Type="http://schemas.openxmlformats.org/officeDocument/2006/relationships/notesSlide" Target="../notesSlides/notesSlide205.xml"/><Relationship Id="rId2" Type="http://schemas.openxmlformats.org/officeDocument/2006/relationships/slideLayout" Target="../slideLayouts/slideLayout2.xml"/><Relationship Id="rId1" Type="http://schemas.openxmlformats.org/officeDocument/2006/relationships/themeOverride" Target="../theme/themeOverride615.xml"/></Relationships>
</file>

<file path=ppt/slides/_rels/slide618.xml.rels><?xml version="1.0" encoding="UTF-8" standalone="yes"?>
<Relationships xmlns="http://schemas.openxmlformats.org/package/2006/relationships"><Relationship Id="rId3" Type="http://schemas.openxmlformats.org/officeDocument/2006/relationships/notesSlide" Target="../notesSlides/notesSlide206.xml"/><Relationship Id="rId2" Type="http://schemas.openxmlformats.org/officeDocument/2006/relationships/slideLayout" Target="../slideLayouts/slideLayout2.xml"/><Relationship Id="rId1" Type="http://schemas.openxmlformats.org/officeDocument/2006/relationships/themeOverride" Target="../theme/themeOverride616.xml"/></Relationships>
</file>

<file path=ppt/slides/_rels/slide619.xml.rels><?xml version="1.0" encoding="UTF-8" standalone="yes"?>
<Relationships xmlns="http://schemas.openxmlformats.org/package/2006/relationships"><Relationship Id="rId3" Type="http://schemas.openxmlformats.org/officeDocument/2006/relationships/notesSlide" Target="../notesSlides/notesSlide207.xml"/><Relationship Id="rId2" Type="http://schemas.openxmlformats.org/officeDocument/2006/relationships/slideLayout" Target="../slideLayouts/slideLayout2.xml"/><Relationship Id="rId1" Type="http://schemas.openxmlformats.org/officeDocument/2006/relationships/themeOverride" Target="../theme/themeOverride617.xml"/></Relationships>
</file>

<file path=ppt/slides/_rels/slide62.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hemeOverride" Target="../theme/themeOverride61.xml"/></Relationships>
</file>

<file path=ppt/slides/_rels/slide620.xml.rels><?xml version="1.0" encoding="UTF-8" standalone="yes"?>
<Relationships xmlns="http://schemas.openxmlformats.org/package/2006/relationships"><Relationship Id="rId3" Type="http://schemas.openxmlformats.org/officeDocument/2006/relationships/notesSlide" Target="../notesSlides/notesSlide208.xml"/><Relationship Id="rId2" Type="http://schemas.openxmlformats.org/officeDocument/2006/relationships/slideLayout" Target="../slideLayouts/slideLayout2.xml"/><Relationship Id="rId1" Type="http://schemas.openxmlformats.org/officeDocument/2006/relationships/themeOverride" Target="../theme/themeOverride618.xml"/></Relationships>
</file>

<file path=ppt/slides/_rels/slide621.xml.rels><?xml version="1.0" encoding="UTF-8" standalone="yes"?>
<Relationships xmlns="http://schemas.openxmlformats.org/package/2006/relationships"><Relationship Id="rId3" Type="http://schemas.openxmlformats.org/officeDocument/2006/relationships/notesSlide" Target="../notesSlides/notesSlide209.xml"/><Relationship Id="rId2" Type="http://schemas.openxmlformats.org/officeDocument/2006/relationships/slideLayout" Target="../slideLayouts/slideLayout2.xml"/><Relationship Id="rId1" Type="http://schemas.openxmlformats.org/officeDocument/2006/relationships/themeOverride" Target="../theme/themeOverride619.xml"/></Relationships>
</file>

<file path=ppt/slides/_rels/slide622.xml.rels><?xml version="1.0" encoding="UTF-8" standalone="yes"?>
<Relationships xmlns="http://schemas.openxmlformats.org/package/2006/relationships"><Relationship Id="rId3" Type="http://schemas.openxmlformats.org/officeDocument/2006/relationships/notesSlide" Target="../notesSlides/notesSlide210.xml"/><Relationship Id="rId2" Type="http://schemas.openxmlformats.org/officeDocument/2006/relationships/slideLayout" Target="../slideLayouts/slideLayout2.xml"/><Relationship Id="rId1" Type="http://schemas.openxmlformats.org/officeDocument/2006/relationships/themeOverride" Target="../theme/themeOverride620.xml"/></Relationships>
</file>

<file path=ppt/slides/_rels/slide623.xml.rels><?xml version="1.0" encoding="UTF-8" standalone="yes"?>
<Relationships xmlns="http://schemas.openxmlformats.org/package/2006/relationships"><Relationship Id="rId3" Type="http://schemas.openxmlformats.org/officeDocument/2006/relationships/notesSlide" Target="../notesSlides/notesSlide211.xml"/><Relationship Id="rId2" Type="http://schemas.openxmlformats.org/officeDocument/2006/relationships/slideLayout" Target="../slideLayouts/slideLayout2.xml"/><Relationship Id="rId1" Type="http://schemas.openxmlformats.org/officeDocument/2006/relationships/themeOverride" Target="../theme/themeOverride621.xml"/></Relationships>
</file>

<file path=ppt/slides/_rels/slide624.xml.rels><?xml version="1.0" encoding="UTF-8" standalone="yes"?>
<Relationships xmlns="http://schemas.openxmlformats.org/package/2006/relationships"><Relationship Id="rId3" Type="http://schemas.openxmlformats.org/officeDocument/2006/relationships/notesSlide" Target="../notesSlides/notesSlide212.xml"/><Relationship Id="rId2" Type="http://schemas.openxmlformats.org/officeDocument/2006/relationships/slideLayout" Target="../slideLayouts/slideLayout2.xml"/><Relationship Id="rId1" Type="http://schemas.openxmlformats.org/officeDocument/2006/relationships/themeOverride" Target="../theme/themeOverride622.xml"/></Relationships>
</file>

<file path=ppt/slides/_rels/slide625.xml.rels><?xml version="1.0" encoding="UTF-8" standalone="yes"?>
<Relationships xmlns="http://schemas.openxmlformats.org/package/2006/relationships"><Relationship Id="rId3" Type="http://schemas.openxmlformats.org/officeDocument/2006/relationships/notesSlide" Target="../notesSlides/notesSlide213.xml"/><Relationship Id="rId2" Type="http://schemas.openxmlformats.org/officeDocument/2006/relationships/slideLayout" Target="../slideLayouts/slideLayout2.xml"/><Relationship Id="rId1" Type="http://schemas.openxmlformats.org/officeDocument/2006/relationships/themeOverride" Target="../theme/themeOverride623.xml"/></Relationships>
</file>

<file path=ppt/slides/_rels/slide626.xml.rels><?xml version="1.0" encoding="UTF-8" standalone="yes"?>
<Relationships xmlns="http://schemas.openxmlformats.org/package/2006/relationships"><Relationship Id="rId3" Type="http://schemas.openxmlformats.org/officeDocument/2006/relationships/notesSlide" Target="../notesSlides/notesSlide214.xml"/><Relationship Id="rId2" Type="http://schemas.openxmlformats.org/officeDocument/2006/relationships/slideLayout" Target="../slideLayouts/slideLayout2.xml"/><Relationship Id="rId1" Type="http://schemas.openxmlformats.org/officeDocument/2006/relationships/themeOverride" Target="../theme/themeOverride624.xml"/></Relationships>
</file>

<file path=ppt/slides/_rels/slide627.xml.rels><?xml version="1.0" encoding="UTF-8" standalone="yes"?>
<Relationships xmlns="http://schemas.openxmlformats.org/package/2006/relationships"><Relationship Id="rId3" Type="http://schemas.openxmlformats.org/officeDocument/2006/relationships/notesSlide" Target="../notesSlides/notesSlide215.xml"/><Relationship Id="rId2" Type="http://schemas.openxmlformats.org/officeDocument/2006/relationships/slideLayout" Target="../slideLayouts/slideLayout2.xml"/><Relationship Id="rId1" Type="http://schemas.openxmlformats.org/officeDocument/2006/relationships/themeOverride" Target="../theme/themeOverride625.xml"/></Relationships>
</file>

<file path=ppt/slides/_rels/slide628.xml.rels><?xml version="1.0" encoding="UTF-8" standalone="yes"?>
<Relationships xmlns="http://schemas.openxmlformats.org/package/2006/relationships"><Relationship Id="rId3" Type="http://schemas.openxmlformats.org/officeDocument/2006/relationships/notesSlide" Target="../notesSlides/notesSlide216.xml"/><Relationship Id="rId2" Type="http://schemas.openxmlformats.org/officeDocument/2006/relationships/slideLayout" Target="../slideLayouts/slideLayout2.xml"/><Relationship Id="rId1" Type="http://schemas.openxmlformats.org/officeDocument/2006/relationships/themeOverride" Target="../theme/themeOverride626.xml"/></Relationships>
</file>

<file path=ppt/slides/_rels/slide629.xml.rels><?xml version="1.0" encoding="UTF-8" standalone="yes"?>
<Relationships xmlns="http://schemas.openxmlformats.org/package/2006/relationships"><Relationship Id="rId3" Type="http://schemas.openxmlformats.org/officeDocument/2006/relationships/notesSlide" Target="../notesSlides/notesSlide217.xml"/><Relationship Id="rId2" Type="http://schemas.openxmlformats.org/officeDocument/2006/relationships/slideLayout" Target="../slideLayouts/slideLayout2.xml"/><Relationship Id="rId1" Type="http://schemas.openxmlformats.org/officeDocument/2006/relationships/themeOverride" Target="../theme/themeOverride627.xml"/></Relationships>
</file>

<file path=ppt/slides/_rels/slide63.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hemeOverride" Target="../theme/themeOverride62.xml"/></Relationships>
</file>

<file path=ppt/slides/_rels/slide630.xml.rels><?xml version="1.0" encoding="UTF-8" standalone="yes"?>
<Relationships xmlns="http://schemas.openxmlformats.org/package/2006/relationships"><Relationship Id="rId3" Type="http://schemas.openxmlformats.org/officeDocument/2006/relationships/notesSlide" Target="../notesSlides/notesSlide218.xml"/><Relationship Id="rId2" Type="http://schemas.openxmlformats.org/officeDocument/2006/relationships/slideLayout" Target="../slideLayouts/slideLayout2.xml"/><Relationship Id="rId1" Type="http://schemas.openxmlformats.org/officeDocument/2006/relationships/themeOverride" Target="../theme/themeOverride628.xml"/></Relationships>
</file>

<file path=ppt/slides/_rels/slide631.xml.rels><?xml version="1.0" encoding="UTF-8" standalone="yes"?>
<Relationships xmlns="http://schemas.openxmlformats.org/package/2006/relationships"><Relationship Id="rId3" Type="http://schemas.openxmlformats.org/officeDocument/2006/relationships/notesSlide" Target="../notesSlides/notesSlide219.xml"/><Relationship Id="rId2" Type="http://schemas.openxmlformats.org/officeDocument/2006/relationships/slideLayout" Target="../slideLayouts/slideLayout2.xml"/><Relationship Id="rId1" Type="http://schemas.openxmlformats.org/officeDocument/2006/relationships/themeOverride" Target="../theme/themeOverride629.xml"/><Relationship Id="rId5" Type="http://schemas.openxmlformats.org/officeDocument/2006/relationships/chart" Target="../charts/chart2.xml"/><Relationship Id="rId4" Type="http://schemas.openxmlformats.org/officeDocument/2006/relationships/chart" Target="../charts/chart1.xml"/></Relationships>
</file>

<file path=ppt/slides/_rels/slide632.xml.rels><?xml version="1.0" encoding="UTF-8" standalone="yes"?>
<Relationships xmlns="http://schemas.openxmlformats.org/package/2006/relationships"><Relationship Id="rId3" Type="http://schemas.openxmlformats.org/officeDocument/2006/relationships/notesSlide" Target="../notesSlides/notesSlide220.xml"/><Relationship Id="rId2" Type="http://schemas.openxmlformats.org/officeDocument/2006/relationships/slideLayout" Target="../slideLayouts/slideLayout2.xml"/><Relationship Id="rId1" Type="http://schemas.openxmlformats.org/officeDocument/2006/relationships/themeOverride" Target="../theme/themeOverride630.xml"/></Relationships>
</file>

<file path=ppt/slides/_rels/slide633.xml.rels><?xml version="1.0" encoding="UTF-8" standalone="yes"?>
<Relationships xmlns="http://schemas.openxmlformats.org/package/2006/relationships"><Relationship Id="rId8" Type="http://schemas.openxmlformats.org/officeDocument/2006/relationships/image" Target="../media/image39.png"/><Relationship Id="rId3" Type="http://schemas.openxmlformats.org/officeDocument/2006/relationships/notesSlide" Target="../notesSlides/notesSlide221.xml"/><Relationship Id="rId7" Type="http://schemas.openxmlformats.org/officeDocument/2006/relationships/chart" Target="../charts/chart6.xml"/><Relationship Id="rId2" Type="http://schemas.openxmlformats.org/officeDocument/2006/relationships/slideLayout" Target="../slideLayouts/slideLayout2.xml"/><Relationship Id="rId1" Type="http://schemas.openxmlformats.org/officeDocument/2006/relationships/themeOverride" Target="../theme/themeOverride631.xml"/><Relationship Id="rId6" Type="http://schemas.openxmlformats.org/officeDocument/2006/relationships/chart" Target="../charts/chart5.xml"/><Relationship Id="rId5" Type="http://schemas.openxmlformats.org/officeDocument/2006/relationships/chart" Target="../charts/chart4.xml"/><Relationship Id="rId4" Type="http://schemas.openxmlformats.org/officeDocument/2006/relationships/chart" Target="../charts/chart3.xml"/><Relationship Id="rId9" Type="http://schemas.microsoft.com/office/2007/relationships/hdphoto" Target="../media/hdphoto4.wdp"/></Relationships>
</file>

<file path=ppt/slides/_rels/slide634.xml.rels><?xml version="1.0" encoding="UTF-8" standalone="yes"?>
<Relationships xmlns="http://schemas.openxmlformats.org/package/2006/relationships"><Relationship Id="rId3" Type="http://schemas.openxmlformats.org/officeDocument/2006/relationships/notesSlide" Target="../notesSlides/notesSlide222.xml"/><Relationship Id="rId2" Type="http://schemas.openxmlformats.org/officeDocument/2006/relationships/slideLayout" Target="../slideLayouts/slideLayout2.xml"/><Relationship Id="rId1" Type="http://schemas.openxmlformats.org/officeDocument/2006/relationships/themeOverride" Target="../theme/themeOverride632.xml"/></Relationships>
</file>

<file path=ppt/slides/_rels/slide635.xml.rels><?xml version="1.0" encoding="UTF-8" standalone="yes"?>
<Relationships xmlns="http://schemas.openxmlformats.org/package/2006/relationships"><Relationship Id="rId8" Type="http://schemas.openxmlformats.org/officeDocument/2006/relationships/image" Target="../media/image44.png"/><Relationship Id="rId3" Type="http://schemas.openxmlformats.org/officeDocument/2006/relationships/notesSlide" Target="../notesSlides/notesSlide223.xml"/><Relationship Id="rId7" Type="http://schemas.openxmlformats.org/officeDocument/2006/relationships/image" Target="../media/image43.svg"/><Relationship Id="rId2" Type="http://schemas.openxmlformats.org/officeDocument/2006/relationships/slideLayout" Target="../slideLayouts/slideLayout2.xml"/><Relationship Id="rId1" Type="http://schemas.openxmlformats.org/officeDocument/2006/relationships/themeOverride" Target="../theme/themeOverride633.xml"/><Relationship Id="rId6" Type="http://schemas.openxmlformats.org/officeDocument/2006/relationships/image" Target="../media/image42.png"/><Relationship Id="rId5" Type="http://schemas.openxmlformats.org/officeDocument/2006/relationships/image" Target="../media/image41.svg"/><Relationship Id="rId4" Type="http://schemas.openxmlformats.org/officeDocument/2006/relationships/image" Target="../media/image40.png"/></Relationships>
</file>

<file path=ppt/slides/_rels/slide636.xml.rels><?xml version="1.0" encoding="UTF-8" standalone="yes"?>
<Relationships xmlns="http://schemas.openxmlformats.org/package/2006/relationships"><Relationship Id="rId3" Type="http://schemas.openxmlformats.org/officeDocument/2006/relationships/notesSlide" Target="../notesSlides/notesSlide224.xml"/><Relationship Id="rId2" Type="http://schemas.openxmlformats.org/officeDocument/2006/relationships/slideLayout" Target="../slideLayouts/slideLayout2.xml"/><Relationship Id="rId1" Type="http://schemas.openxmlformats.org/officeDocument/2006/relationships/themeOverride" Target="../theme/themeOverride634.xml"/></Relationships>
</file>

<file path=ppt/slides/_rels/slide637.xml.rels><?xml version="1.0" encoding="UTF-8" standalone="yes"?>
<Relationships xmlns="http://schemas.openxmlformats.org/package/2006/relationships"><Relationship Id="rId3" Type="http://schemas.openxmlformats.org/officeDocument/2006/relationships/notesSlide" Target="../notesSlides/notesSlide225.xml"/><Relationship Id="rId2" Type="http://schemas.openxmlformats.org/officeDocument/2006/relationships/slideLayout" Target="../slideLayouts/slideLayout2.xml"/><Relationship Id="rId1" Type="http://schemas.openxmlformats.org/officeDocument/2006/relationships/themeOverride" Target="../theme/themeOverride635.xml"/></Relationships>
</file>

<file path=ppt/slides/_rels/slide638.xml.rels><?xml version="1.0" encoding="UTF-8" standalone="yes"?>
<Relationships xmlns="http://schemas.openxmlformats.org/package/2006/relationships"><Relationship Id="rId3" Type="http://schemas.openxmlformats.org/officeDocument/2006/relationships/notesSlide" Target="../notesSlides/notesSlide226.xml"/><Relationship Id="rId2" Type="http://schemas.openxmlformats.org/officeDocument/2006/relationships/slideLayout" Target="../slideLayouts/slideLayout2.xml"/><Relationship Id="rId1" Type="http://schemas.openxmlformats.org/officeDocument/2006/relationships/themeOverride" Target="../theme/themeOverride636.xml"/><Relationship Id="rId5" Type="http://schemas.microsoft.com/office/2007/relationships/hdphoto" Target="../media/hdphoto4.wdp"/><Relationship Id="rId4" Type="http://schemas.openxmlformats.org/officeDocument/2006/relationships/image" Target="../media/image45.png"/></Relationships>
</file>

<file path=ppt/slides/_rels/slide639.xml.rels><?xml version="1.0" encoding="UTF-8" standalone="yes"?>
<Relationships xmlns="http://schemas.openxmlformats.org/package/2006/relationships"><Relationship Id="rId3" Type="http://schemas.openxmlformats.org/officeDocument/2006/relationships/notesSlide" Target="../notesSlides/notesSlide227.xml"/><Relationship Id="rId2" Type="http://schemas.openxmlformats.org/officeDocument/2006/relationships/slideLayout" Target="../slideLayouts/slideLayout2.xml"/><Relationship Id="rId1" Type="http://schemas.openxmlformats.org/officeDocument/2006/relationships/themeOverride" Target="../theme/themeOverride637.xml"/></Relationships>
</file>

<file path=ppt/slides/_rels/slide64.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hemeOverride" Target="../theme/themeOverride63.xml"/></Relationships>
</file>

<file path=ppt/slides/_rels/slide640.xml.rels><?xml version="1.0" encoding="UTF-8" standalone="yes"?>
<Relationships xmlns="http://schemas.openxmlformats.org/package/2006/relationships"><Relationship Id="rId3" Type="http://schemas.openxmlformats.org/officeDocument/2006/relationships/notesSlide" Target="../notesSlides/notesSlide228.xml"/><Relationship Id="rId2" Type="http://schemas.openxmlformats.org/officeDocument/2006/relationships/slideLayout" Target="../slideLayouts/slideLayout2.xml"/><Relationship Id="rId1" Type="http://schemas.openxmlformats.org/officeDocument/2006/relationships/themeOverride" Target="../theme/themeOverride638.xml"/><Relationship Id="rId6" Type="http://schemas.openxmlformats.org/officeDocument/2006/relationships/chart" Target="../charts/chart9.xml"/><Relationship Id="rId5" Type="http://schemas.openxmlformats.org/officeDocument/2006/relationships/chart" Target="../charts/chart8.xml"/><Relationship Id="rId4" Type="http://schemas.openxmlformats.org/officeDocument/2006/relationships/chart" Target="../charts/chart7.xml"/></Relationships>
</file>

<file path=ppt/slides/_rels/slide641.xml.rels><?xml version="1.0" encoding="UTF-8" standalone="yes"?>
<Relationships xmlns="http://schemas.openxmlformats.org/package/2006/relationships"><Relationship Id="rId3" Type="http://schemas.openxmlformats.org/officeDocument/2006/relationships/notesSlide" Target="../notesSlides/notesSlide229.xml"/><Relationship Id="rId2" Type="http://schemas.openxmlformats.org/officeDocument/2006/relationships/slideLayout" Target="../slideLayouts/slideLayout2.xml"/><Relationship Id="rId1" Type="http://schemas.openxmlformats.org/officeDocument/2006/relationships/themeOverride" Target="../theme/themeOverride639.xml"/></Relationships>
</file>

<file path=ppt/slides/_rels/slide642.xml.rels><?xml version="1.0" encoding="UTF-8" standalone="yes"?>
<Relationships xmlns="http://schemas.openxmlformats.org/package/2006/relationships"><Relationship Id="rId3" Type="http://schemas.openxmlformats.org/officeDocument/2006/relationships/notesSlide" Target="../notesSlides/notesSlide230.xml"/><Relationship Id="rId2" Type="http://schemas.openxmlformats.org/officeDocument/2006/relationships/slideLayout" Target="../slideLayouts/slideLayout2.xml"/><Relationship Id="rId1" Type="http://schemas.openxmlformats.org/officeDocument/2006/relationships/themeOverride" Target="../theme/themeOverride640.xml"/></Relationships>
</file>

<file path=ppt/slides/_rels/slide643.xml.rels><?xml version="1.0" encoding="UTF-8" standalone="yes"?>
<Relationships xmlns="http://schemas.openxmlformats.org/package/2006/relationships"><Relationship Id="rId8" Type="http://schemas.openxmlformats.org/officeDocument/2006/relationships/image" Target="../media/image47.png"/><Relationship Id="rId13" Type="http://schemas.microsoft.com/office/2007/relationships/hdphoto" Target="../media/hdphoto8.wdp"/><Relationship Id="rId3" Type="http://schemas.openxmlformats.org/officeDocument/2006/relationships/notesSlide" Target="../notesSlides/notesSlide231.xml"/><Relationship Id="rId7" Type="http://schemas.microsoft.com/office/2007/relationships/hdphoto" Target="../media/hdphoto5.wdp"/><Relationship Id="rId12" Type="http://schemas.openxmlformats.org/officeDocument/2006/relationships/image" Target="../media/image49.png"/><Relationship Id="rId2" Type="http://schemas.openxmlformats.org/officeDocument/2006/relationships/slideLayout" Target="../slideLayouts/slideLayout2.xml"/><Relationship Id="rId1" Type="http://schemas.openxmlformats.org/officeDocument/2006/relationships/themeOverride" Target="../theme/themeOverride641.xml"/><Relationship Id="rId6" Type="http://schemas.openxmlformats.org/officeDocument/2006/relationships/image" Target="../media/image46.png"/><Relationship Id="rId11" Type="http://schemas.microsoft.com/office/2007/relationships/hdphoto" Target="../media/hdphoto7.wdp"/><Relationship Id="rId5" Type="http://schemas.microsoft.com/office/2007/relationships/hdphoto" Target="../media/hdphoto3.wdp"/><Relationship Id="rId10" Type="http://schemas.openxmlformats.org/officeDocument/2006/relationships/image" Target="../media/image48.png"/><Relationship Id="rId4" Type="http://schemas.openxmlformats.org/officeDocument/2006/relationships/image" Target="../media/image37.png"/><Relationship Id="rId9" Type="http://schemas.microsoft.com/office/2007/relationships/hdphoto" Target="../media/hdphoto6.wdp"/></Relationships>
</file>

<file path=ppt/slides/_rels/slide644.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notesSlide" Target="../notesSlides/notesSlide232.xml"/><Relationship Id="rId7" Type="http://schemas.microsoft.com/office/2007/relationships/hdphoto" Target="../media/hdphoto3.wdp"/><Relationship Id="rId12" Type="http://schemas.microsoft.com/office/2007/relationships/hdphoto" Target="../media/hdphoto4.wdp"/><Relationship Id="rId2" Type="http://schemas.openxmlformats.org/officeDocument/2006/relationships/slideLayout" Target="../slideLayouts/slideLayout2.xml"/><Relationship Id="rId1" Type="http://schemas.openxmlformats.org/officeDocument/2006/relationships/themeOverride" Target="../theme/themeOverride642.xml"/><Relationship Id="rId6" Type="http://schemas.openxmlformats.org/officeDocument/2006/relationships/image" Target="../media/image37.png"/><Relationship Id="rId11" Type="http://schemas.openxmlformats.org/officeDocument/2006/relationships/image" Target="../media/image39.png"/><Relationship Id="rId5" Type="http://schemas.microsoft.com/office/2007/relationships/hdphoto" Target="../media/hdphoto7.wdp"/><Relationship Id="rId10" Type="http://schemas.microsoft.com/office/2007/relationships/hdphoto" Target="../media/hdphoto8.wdp"/><Relationship Id="rId4" Type="http://schemas.openxmlformats.org/officeDocument/2006/relationships/image" Target="../media/image48.png"/><Relationship Id="rId9" Type="http://schemas.openxmlformats.org/officeDocument/2006/relationships/image" Target="../media/image49.png"/></Relationships>
</file>

<file path=ppt/slides/_rels/slide645.xml.rels><?xml version="1.0" encoding="UTF-8" standalone="yes"?>
<Relationships xmlns="http://schemas.openxmlformats.org/package/2006/relationships"><Relationship Id="rId3" Type="http://schemas.openxmlformats.org/officeDocument/2006/relationships/notesSlide" Target="../notesSlides/notesSlide233.xml"/><Relationship Id="rId2" Type="http://schemas.openxmlformats.org/officeDocument/2006/relationships/slideLayout" Target="../slideLayouts/slideLayout2.xml"/><Relationship Id="rId1" Type="http://schemas.openxmlformats.org/officeDocument/2006/relationships/themeOverride" Target="../theme/themeOverride643.xml"/></Relationships>
</file>

<file path=ppt/slides/_rels/slide646.xml.rels><?xml version="1.0" encoding="UTF-8" standalone="yes"?>
<Relationships xmlns="http://schemas.openxmlformats.org/package/2006/relationships"><Relationship Id="rId3" Type="http://schemas.openxmlformats.org/officeDocument/2006/relationships/notesSlide" Target="../notesSlides/notesSlide234.xml"/><Relationship Id="rId2" Type="http://schemas.openxmlformats.org/officeDocument/2006/relationships/slideLayout" Target="../slideLayouts/slideLayout2.xml"/><Relationship Id="rId1" Type="http://schemas.openxmlformats.org/officeDocument/2006/relationships/themeOverride" Target="../theme/themeOverride644.xml"/></Relationships>
</file>

<file path=ppt/slides/_rels/slide647.xml.rels><?xml version="1.0" encoding="UTF-8" standalone="yes"?>
<Relationships xmlns="http://schemas.openxmlformats.org/package/2006/relationships"><Relationship Id="rId3" Type="http://schemas.openxmlformats.org/officeDocument/2006/relationships/notesSlide" Target="../notesSlides/notesSlide235.xml"/><Relationship Id="rId2" Type="http://schemas.openxmlformats.org/officeDocument/2006/relationships/slideLayout" Target="../slideLayouts/slideLayout2.xml"/><Relationship Id="rId1" Type="http://schemas.openxmlformats.org/officeDocument/2006/relationships/themeOverride" Target="../theme/themeOverride645.xml"/><Relationship Id="rId5" Type="http://schemas.microsoft.com/office/2007/relationships/hdphoto" Target="../media/hdphoto4.wdp"/><Relationship Id="rId4" Type="http://schemas.openxmlformats.org/officeDocument/2006/relationships/image" Target="../media/image39.png"/></Relationships>
</file>

<file path=ppt/slides/_rels/slide648.xml.rels><?xml version="1.0" encoding="UTF-8" standalone="yes"?>
<Relationships xmlns="http://schemas.openxmlformats.org/package/2006/relationships"><Relationship Id="rId3" Type="http://schemas.openxmlformats.org/officeDocument/2006/relationships/notesSlide" Target="../notesSlides/notesSlide236.xml"/><Relationship Id="rId2" Type="http://schemas.openxmlformats.org/officeDocument/2006/relationships/slideLayout" Target="../slideLayouts/slideLayout2.xml"/><Relationship Id="rId1" Type="http://schemas.openxmlformats.org/officeDocument/2006/relationships/themeOverride" Target="../theme/themeOverride646.xml"/></Relationships>
</file>

<file path=ppt/slides/_rels/slide649.xml.rels><?xml version="1.0" encoding="UTF-8" standalone="yes"?>
<Relationships xmlns="http://schemas.openxmlformats.org/package/2006/relationships"><Relationship Id="rId3" Type="http://schemas.openxmlformats.org/officeDocument/2006/relationships/notesSlide" Target="../notesSlides/notesSlide237.xml"/><Relationship Id="rId2" Type="http://schemas.openxmlformats.org/officeDocument/2006/relationships/slideLayout" Target="../slideLayouts/slideLayout2.xml"/><Relationship Id="rId1" Type="http://schemas.openxmlformats.org/officeDocument/2006/relationships/themeOverride" Target="../theme/themeOverride647.xml"/></Relationships>
</file>

<file path=ppt/slides/_rels/slide65.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hemeOverride" Target="../theme/themeOverride64.xml"/></Relationships>
</file>

<file path=ppt/slides/_rels/slide650.xml.rels><?xml version="1.0" encoding="UTF-8" standalone="yes"?>
<Relationships xmlns="http://schemas.openxmlformats.org/package/2006/relationships"><Relationship Id="rId3" Type="http://schemas.openxmlformats.org/officeDocument/2006/relationships/notesSlide" Target="../notesSlides/notesSlide238.xml"/><Relationship Id="rId2" Type="http://schemas.openxmlformats.org/officeDocument/2006/relationships/slideLayout" Target="../slideLayouts/slideLayout2.xml"/><Relationship Id="rId1" Type="http://schemas.openxmlformats.org/officeDocument/2006/relationships/themeOverride" Target="../theme/themeOverride648.xml"/></Relationships>
</file>

<file path=ppt/slides/_rels/slide651.xml.rels><?xml version="1.0" encoding="UTF-8" standalone="yes"?>
<Relationships xmlns="http://schemas.openxmlformats.org/package/2006/relationships"><Relationship Id="rId3" Type="http://schemas.openxmlformats.org/officeDocument/2006/relationships/notesSlide" Target="../notesSlides/notesSlide239.xml"/><Relationship Id="rId2" Type="http://schemas.openxmlformats.org/officeDocument/2006/relationships/slideLayout" Target="../slideLayouts/slideLayout2.xml"/><Relationship Id="rId1" Type="http://schemas.openxmlformats.org/officeDocument/2006/relationships/themeOverride" Target="../theme/themeOverride649.xml"/></Relationships>
</file>

<file path=ppt/slides/_rels/slide652.xml.rels><?xml version="1.0" encoding="UTF-8" standalone="yes"?>
<Relationships xmlns="http://schemas.openxmlformats.org/package/2006/relationships"><Relationship Id="rId3" Type="http://schemas.openxmlformats.org/officeDocument/2006/relationships/notesSlide" Target="../notesSlides/notesSlide240.xml"/><Relationship Id="rId2" Type="http://schemas.openxmlformats.org/officeDocument/2006/relationships/slideLayout" Target="../slideLayouts/slideLayout2.xml"/><Relationship Id="rId1" Type="http://schemas.openxmlformats.org/officeDocument/2006/relationships/themeOverride" Target="../theme/themeOverride650.xml"/></Relationships>
</file>

<file path=ppt/slides/_rels/slide653.xml.rels><?xml version="1.0" encoding="UTF-8" standalone="yes"?>
<Relationships xmlns="http://schemas.openxmlformats.org/package/2006/relationships"><Relationship Id="rId3" Type="http://schemas.openxmlformats.org/officeDocument/2006/relationships/notesSlide" Target="../notesSlides/notesSlide241.xml"/><Relationship Id="rId2" Type="http://schemas.openxmlformats.org/officeDocument/2006/relationships/slideLayout" Target="../slideLayouts/slideLayout2.xml"/><Relationship Id="rId1" Type="http://schemas.openxmlformats.org/officeDocument/2006/relationships/themeOverride" Target="../theme/themeOverride651.xml"/><Relationship Id="rId6" Type="http://schemas.openxmlformats.org/officeDocument/2006/relationships/chart" Target="../charts/chart12.xml"/><Relationship Id="rId5" Type="http://schemas.openxmlformats.org/officeDocument/2006/relationships/chart" Target="../charts/chart11.xml"/><Relationship Id="rId4" Type="http://schemas.openxmlformats.org/officeDocument/2006/relationships/chart" Target="../charts/chart10.xml"/></Relationships>
</file>

<file path=ppt/slides/_rels/slide654.xml.rels><?xml version="1.0" encoding="UTF-8" standalone="yes"?>
<Relationships xmlns="http://schemas.openxmlformats.org/package/2006/relationships"><Relationship Id="rId3" Type="http://schemas.openxmlformats.org/officeDocument/2006/relationships/notesSlide" Target="../notesSlides/notesSlide242.xml"/><Relationship Id="rId2" Type="http://schemas.openxmlformats.org/officeDocument/2006/relationships/slideLayout" Target="../slideLayouts/slideLayout2.xml"/><Relationship Id="rId1" Type="http://schemas.openxmlformats.org/officeDocument/2006/relationships/themeOverride" Target="../theme/themeOverride652.xml"/></Relationships>
</file>

<file path=ppt/slides/_rels/slide655.xml.rels><?xml version="1.0" encoding="UTF-8" standalone="yes"?>
<Relationships xmlns="http://schemas.openxmlformats.org/package/2006/relationships"><Relationship Id="rId3" Type="http://schemas.openxmlformats.org/officeDocument/2006/relationships/notesSlide" Target="../notesSlides/notesSlide243.xml"/><Relationship Id="rId2" Type="http://schemas.openxmlformats.org/officeDocument/2006/relationships/slideLayout" Target="../slideLayouts/slideLayout2.xml"/><Relationship Id="rId1" Type="http://schemas.openxmlformats.org/officeDocument/2006/relationships/themeOverride" Target="../theme/themeOverride653.xml"/></Relationships>
</file>

<file path=ppt/slides/_rels/slide656.xml.rels><?xml version="1.0" encoding="UTF-8" standalone="yes"?>
<Relationships xmlns="http://schemas.openxmlformats.org/package/2006/relationships"><Relationship Id="rId3" Type="http://schemas.openxmlformats.org/officeDocument/2006/relationships/notesSlide" Target="../notesSlides/notesSlide244.xml"/><Relationship Id="rId2" Type="http://schemas.openxmlformats.org/officeDocument/2006/relationships/slideLayout" Target="../slideLayouts/slideLayout2.xml"/><Relationship Id="rId1" Type="http://schemas.openxmlformats.org/officeDocument/2006/relationships/themeOverride" Target="../theme/themeOverride654.xml"/></Relationships>
</file>

<file path=ppt/slides/_rels/slide657.xml.rels><?xml version="1.0" encoding="UTF-8" standalone="yes"?>
<Relationships xmlns="http://schemas.openxmlformats.org/package/2006/relationships"><Relationship Id="rId8" Type="http://schemas.microsoft.com/office/2007/relationships/hdphoto" Target="../media/hdphoto2.wdp"/><Relationship Id="rId3" Type="http://schemas.openxmlformats.org/officeDocument/2006/relationships/notesSlide" Target="../notesSlides/notesSlide245.xml"/><Relationship Id="rId7" Type="http://schemas.openxmlformats.org/officeDocument/2006/relationships/image" Target="../media/image36.png"/><Relationship Id="rId2" Type="http://schemas.openxmlformats.org/officeDocument/2006/relationships/slideLayout" Target="../slideLayouts/slideLayout2.xml"/><Relationship Id="rId1" Type="http://schemas.openxmlformats.org/officeDocument/2006/relationships/themeOverride" Target="../theme/themeOverride655.xml"/><Relationship Id="rId6" Type="http://schemas.openxmlformats.org/officeDocument/2006/relationships/image" Target="../media/image51.png"/><Relationship Id="rId5" Type="http://schemas.openxmlformats.org/officeDocument/2006/relationships/image" Target="../media/image38.png"/><Relationship Id="rId4" Type="http://schemas.openxmlformats.org/officeDocument/2006/relationships/image" Target="../media/image50.png"/></Relationships>
</file>

<file path=ppt/slides/_rels/slide658.xml.rels><?xml version="1.0" encoding="UTF-8" standalone="yes"?>
<Relationships xmlns="http://schemas.openxmlformats.org/package/2006/relationships"><Relationship Id="rId3" Type="http://schemas.openxmlformats.org/officeDocument/2006/relationships/notesSlide" Target="../notesSlides/notesSlide246.xml"/><Relationship Id="rId2" Type="http://schemas.openxmlformats.org/officeDocument/2006/relationships/slideLayout" Target="../slideLayouts/slideLayout2.xml"/><Relationship Id="rId1" Type="http://schemas.openxmlformats.org/officeDocument/2006/relationships/themeOverride" Target="../theme/themeOverride656.xml"/><Relationship Id="rId6" Type="http://schemas.openxmlformats.org/officeDocument/2006/relationships/image" Target="../media/image54.png"/><Relationship Id="rId5" Type="http://schemas.openxmlformats.org/officeDocument/2006/relationships/image" Target="../media/image53.png"/><Relationship Id="rId4" Type="http://schemas.openxmlformats.org/officeDocument/2006/relationships/image" Target="../media/image52.png"/></Relationships>
</file>

<file path=ppt/slides/_rels/slide659.xml.rels><?xml version="1.0" encoding="UTF-8" standalone="yes"?>
<Relationships xmlns="http://schemas.openxmlformats.org/package/2006/relationships"><Relationship Id="rId3" Type="http://schemas.openxmlformats.org/officeDocument/2006/relationships/notesSlide" Target="../notesSlides/notesSlide247.xml"/><Relationship Id="rId2" Type="http://schemas.openxmlformats.org/officeDocument/2006/relationships/slideLayout" Target="../slideLayouts/slideLayout2.xml"/><Relationship Id="rId1" Type="http://schemas.openxmlformats.org/officeDocument/2006/relationships/themeOverride" Target="../theme/themeOverride657.xml"/></Relationships>
</file>

<file path=ppt/slides/_rels/slide66.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hemeOverride" Target="../theme/themeOverride65.xml"/></Relationships>
</file>

<file path=ppt/slides/_rels/slide660.xml.rels><?xml version="1.0" encoding="UTF-8" standalone="yes"?>
<Relationships xmlns="http://schemas.openxmlformats.org/package/2006/relationships"><Relationship Id="rId3" Type="http://schemas.openxmlformats.org/officeDocument/2006/relationships/notesSlide" Target="../notesSlides/notesSlide248.xml"/><Relationship Id="rId2" Type="http://schemas.openxmlformats.org/officeDocument/2006/relationships/slideLayout" Target="../slideLayouts/slideLayout2.xml"/><Relationship Id="rId1" Type="http://schemas.openxmlformats.org/officeDocument/2006/relationships/themeOverride" Target="../theme/themeOverride658.xml"/></Relationships>
</file>

<file path=ppt/slides/_rels/slide661.xml.rels><?xml version="1.0" encoding="UTF-8" standalone="yes"?>
<Relationships xmlns="http://schemas.openxmlformats.org/package/2006/relationships"><Relationship Id="rId3" Type="http://schemas.openxmlformats.org/officeDocument/2006/relationships/notesSlide" Target="../notesSlides/notesSlide249.xml"/><Relationship Id="rId2" Type="http://schemas.openxmlformats.org/officeDocument/2006/relationships/slideLayout" Target="../slideLayouts/slideLayout2.xml"/><Relationship Id="rId1" Type="http://schemas.openxmlformats.org/officeDocument/2006/relationships/themeOverride" Target="../theme/themeOverride659.xml"/></Relationships>
</file>

<file path=ppt/slides/_rels/slide662.xml.rels><?xml version="1.0" encoding="UTF-8" standalone="yes"?>
<Relationships xmlns="http://schemas.openxmlformats.org/package/2006/relationships"><Relationship Id="rId3" Type="http://schemas.openxmlformats.org/officeDocument/2006/relationships/notesSlide" Target="../notesSlides/notesSlide250.xml"/><Relationship Id="rId2" Type="http://schemas.openxmlformats.org/officeDocument/2006/relationships/slideLayout" Target="../slideLayouts/slideLayout2.xml"/><Relationship Id="rId1" Type="http://schemas.openxmlformats.org/officeDocument/2006/relationships/themeOverride" Target="../theme/themeOverride660.xml"/></Relationships>
</file>

<file path=ppt/slides/_rels/slide663.xml.rels><?xml version="1.0" encoding="UTF-8" standalone="yes"?>
<Relationships xmlns="http://schemas.openxmlformats.org/package/2006/relationships"><Relationship Id="rId3" Type="http://schemas.openxmlformats.org/officeDocument/2006/relationships/notesSlide" Target="../notesSlides/notesSlide251.xml"/><Relationship Id="rId2" Type="http://schemas.openxmlformats.org/officeDocument/2006/relationships/slideLayout" Target="../slideLayouts/slideLayout2.xml"/><Relationship Id="rId1" Type="http://schemas.openxmlformats.org/officeDocument/2006/relationships/themeOverride" Target="../theme/themeOverride661.xml"/></Relationships>
</file>

<file path=ppt/slides/_rels/slide664.xml.rels><?xml version="1.0" encoding="UTF-8" standalone="yes"?>
<Relationships xmlns="http://schemas.openxmlformats.org/package/2006/relationships"><Relationship Id="rId3" Type="http://schemas.openxmlformats.org/officeDocument/2006/relationships/notesSlide" Target="../notesSlides/notesSlide252.xml"/><Relationship Id="rId2" Type="http://schemas.openxmlformats.org/officeDocument/2006/relationships/slideLayout" Target="../slideLayouts/slideLayout2.xml"/><Relationship Id="rId1" Type="http://schemas.openxmlformats.org/officeDocument/2006/relationships/themeOverride" Target="../theme/themeOverride662.xml"/></Relationships>
</file>

<file path=ppt/slides/_rels/slide665.xml.rels><?xml version="1.0" encoding="UTF-8" standalone="yes"?>
<Relationships xmlns="http://schemas.openxmlformats.org/package/2006/relationships"><Relationship Id="rId3" Type="http://schemas.openxmlformats.org/officeDocument/2006/relationships/notesSlide" Target="../notesSlides/notesSlide253.xml"/><Relationship Id="rId2" Type="http://schemas.openxmlformats.org/officeDocument/2006/relationships/slideLayout" Target="../slideLayouts/slideLayout2.xml"/><Relationship Id="rId1" Type="http://schemas.openxmlformats.org/officeDocument/2006/relationships/themeOverride" Target="../theme/themeOverride663.xml"/></Relationships>
</file>

<file path=ppt/slides/_rels/slide666.xml.rels><?xml version="1.0" encoding="UTF-8" standalone="yes"?>
<Relationships xmlns="http://schemas.openxmlformats.org/package/2006/relationships"><Relationship Id="rId8" Type="http://schemas.openxmlformats.org/officeDocument/2006/relationships/chart" Target="../charts/chart17.xml"/><Relationship Id="rId3" Type="http://schemas.openxmlformats.org/officeDocument/2006/relationships/notesSlide" Target="../notesSlides/notesSlide254.xml"/><Relationship Id="rId7" Type="http://schemas.openxmlformats.org/officeDocument/2006/relationships/chart" Target="../charts/chart16.xml"/><Relationship Id="rId2" Type="http://schemas.openxmlformats.org/officeDocument/2006/relationships/slideLayout" Target="../slideLayouts/slideLayout2.xml"/><Relationship Id="rId1" Type="http://schemas.openxmlformats.org/officeDocument/2006/relationships/themeOverride" Target="../theme/themeOverride664.xml"/><Relationship Id="rId6" Type="http://schemas.openxmlformats.org/officeDocument/2006/relationships/chart" Target="../charts/chart15.xml"/><Relationship Id="rId5" Type="http://schemas.openxmlformats.org/officeDocument/2006/relationships/chart" Target="../charts/chart14.xml"/><Relationship Id="rId4" Type="http://schemas.openxmlformats.org/officeDocument/2006/relationships/chart" Target="../charts/chart13.xml"/></Relationships>
</file>

<file path=ppt/slides/_rels/slide667.xml.rels><?xml version="1.0" encoding="UTF-8" standalone="yes"?>
<Relationships xmlns="http://schemas.openxmlformats.org/package/2006/relationships"><Relationship Id="rId3" Type="http://schemas.openxmlformats.org/officeDocument/2006/relationships/notesSlide" Target="../notesSlides/notesSlide255.xml"/><Relationship Id="rId2" Type="http://schemas.openxmlformats.org/officeDocument/2006/relationships/slideLayout" Target="../slideLayouts/slideLayout2.xml"/><Relationship Id="rId1" Type="http://schemas.openxmlformats.org/officeDocument/2006/relationships/themeOverride" Target="../theme/themeOverride665.xml"/></Relationships>
</file>

<file path=ppt/slides/_rels/slide668.xml.rels><?xml version="1.0" encoding="UTF-8" standalone="yes"?>
<Relationships xmlns="http://schemas.openxmlformats.org/package/2006/relationships"><Relationship Id="rId3" Type="http://schemas.openxmlformats.org/officeDocument/2006/relationships/notesSlide" Target="../notesSlides/notesSlide256.xml"/><Relationship Id="rId2" Type="http://schemas.openxmlformats.org/officeDocument/2006/relationships/slideLayout" Target="../slideLayouts/slideLayout2.xml"/><Relationship Id="rId1" Type="http://schemas.openxmlformats.org/officeDocument/2006/relationships/themeOverride" Target="../theme/themeOverride666.xml"/></Relationships>
</file>

<file path=ppt/slides/_rels/slide669.xml.rels><?xml version="1.0" encoding="UTF-8" standalone="yes"?>
<Relationships xmlns="http://schemas.openxmlformats.org/package/2006/relationships"><Relationship Id="rId3" Type="http://schemas.openxmlformats.org/officeDocument/2006/relationships/notesSlide" Target="../notesSlides/notesSlide257.xml"/><Relationship Id="rId2" Type="http://schemas.openxmlformats.org/officeDocument/2006/relationships/slideLayout" Target="../slideLayouts/slideLayout2.xml"/><Relationship Id="rId1" Type="http://schemas.openxmlformats.org/officeDocument/2006/relationships/themeOverride" Target="../theme/themeOverride667.xml"/></Relationships>
</file>

<file path=ppt/slides/_rels/slide67.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hemeOverride" Target="../theme/themeOverride66.xml"/></Relationships>
</file>

<file path=ppt/slides/_rels/slide670.xml.rels><?xml version="1.0" encoding="UTF-8" standalone="yes"?>
<Relationships xmlns="http://schemas.openxmlformats.org/package/2006/relationships"><Relationship Id="rId3" Type="http://schemas.openxmlformats.org/officeDocument/2006/relationships/notesSlide" Target="../notesSlides/notesSlide258.xml"/><Relationship Id="rId2" Type="http://schemas.openxmlformats.org/officeDocument/2006/relationships/slideLayout" Target="../slideLayouts/slideLayout2.xml"/><Relationship Id="rId1" Type="http://schemas.openxmlformats.org/officeDocument/2006/relationships/themeOverride" Target="../theme/themeOverride668.xml"/></Relationships>
</file>

<file path=ppt/slides/_rels/slide671.xml.rels><?xml version="1.0" encoding="UTF-8" standalone="yes"?>
<Relationships xmlns="http://schemas.openxmlformats.org/package/2006/relationships"><Relationship Id="rId3" Type="http://schemas.openxmlformats.org/officeDocument/2006/relationships/notesSlide" Target="../notesSlides/notesSlide259.xml"/><Relationship Id="rId2" Type="http://schemas.openxmlformats.org/officeDocument/2006/relationships/slideLayout" Target="../slideLayouts/slideLayout2.xml"/><Relationship Id="rId1" Type="http://schemas.openxmlformats.org/officeDocument/2006/relationships/themeOverride" Target="../theme/themeOverride669.xml"/></Relationships>
</file>

<file path=ppt/slides/_rels/slide672.xml.rels><?xml version="1.0" encoding="UTF-8" standalone="yes"?>
<Relationships xmlns="http://schemas.openxmlformats.org/package/2006/relationships"><Relationship Id="rId8" Type="http://schemas.openxmlformats.org/officeDocument/2006/relationships/image" Target="../media/image57.png"/><Relationship Id="rId3" Type="http://schemas.openxmlformats.org/officeDocument/2006/relationships/notesSlide" Target="../notesSlides/notesSlide260.xml"/><Relationship Id="rId7" Type="http://schemas.microsoft.com/office/2007/relationships/hdphoto" Target="../media/hdphoto10.wdp"/><Relationship Id="rId2" Type="http://schemas.openxmlformats.org/officeDocument/2006/relationships/slideLayout" Target="../slideLayouts/slideLayout2.xml"/><Relationship Id="rId1" Type="http://schemas.openxmlformats.org/officeDocument/2006/relationships/themeOverride" Target="../theme/themeOverride670.xml"/><Relationship Id="rId6" Type="http://schemas.openxmlformats.org/officeDocument/2006/relationships/image" Target="../media/image56.png"/><Relationship Id="rId11" Type="http://schemas.microsoft.com/office/2007/relationships/hdphoto" Target="../media/hdphoto12.wdp"/><Relationship Id="rId5" Type="http://schemas.microsoft.com/office/2007/relationships/hdphoto" Target="../media/hdphoto9.wdp"/><Relationship Id="rId10" Type="http://schemas.openxmlformats.org/officeDocument/2006/relationships/image" Target="../media/image58.png"/><Relationship Id="rId4" Type="http://schemas.openxmlformats.org/officeDocument/2006/relationships/image" Target="../media/image55.png"/><Relationship Id="rId9" Type="http://schemas.microsoft.com/office/2007/relationships/hdphoto" Target="../media/hdphoto11.wdp"/></Relationships>
</file>

<file path=ppt/slides/_rels/slide673.xml.rels><?xml version="1.0" encoding="UTF-8" standalone="yes"?>
<Relationships xmlns="http://schemas.openxmlformats.org/package/2006/relationships"><Relationship Id="rId3" Type="http://schemas.openxmlformats.org/officeDocument/2006/relationships/notesSlide" Target="../notesSlides/notesSlide261.xml"/><Relationship Id="rId2" Type="http://schemas.openxmlformats.org/officeDocument/2006/relationships/slideLayout" Target="../slideLayouts/slideLayout2.xml"/><Relationship Id="rId1" Type="http://schemas.openxmlformats.org/officeDocument/2006/relationships/themeOverride" Target="../theme/themeOverride671.xml"/></Relationships>
</file>

<file path=ppt/slides/_rels/slide674.xml.rels><?xml version="1.0" encoding="UTF-8" standalone="yes"?>
<Relationships xmlns="http://schemas.openxmlformats.org/package/2006/relationships"><Relationship Id="rId3" Type="http://schemas.openxmlformats.org/officeDocument/2006/relationships/notesSlide" Target="../notesSlides/notesSlide262.xml"/><Relationship Id="rId2" Type="http://schemas.openxmlformats.org/officeDocument/2006/relationships/slideLayout" Target="../slideLayouts/slideLayout2.xml"/><Relationship Id="rId1" Type="http://schemas.openxmlformats.org/officeDocument/2006/relationships/themeOverride" Target="../theme/themeOverride672.xml"/></Relationships>
</file>

<file path=ppt/slides/_rels/slide675.xml.rels><?xml version="1.0" encoding="UTF-8" standalone="yes"?>
<Relationships xmlns="http://schemas.openxmlformats.org/package/2006/relationships"><Relationship Id="rId3" Type="http://schemas.openxmlformats.org/officeDocument/2006/relationships/notesSlide" Target="../notesSlides/notesSlide263.xml"/><Relationship Id="rId2" Type="http://schemas.openxmlformats.org/officeDocument/2006/relationships/slideLayout" Target="../slideLayouts/slideLayout2.xml"/><Relationship Id="rId1" Type="http://schemas.openxmlformats.org/officeDocument/2006/relationships/themeOverride" Target="../theme/themeOverride673.xml"/></Relationships>
</file>

<file path=ppt/slides/_rels/slide676.xml.rels><?xml version="1.0" encoding="UTF-8" standalone="yes"?>
<Relationships xmlns="http://schemas.openxmlformats.org/package/2006/relationships"><Relationship Id="rId3" Type="http://schemas.openxmlformats.org/officeDocument/2006/relationships/notesSlide" Target="../notesSlides/notesSlide264.xml"/><Relationship Id="rId2" Type="http://schemas.openxmlformats.org/officeDocument/2006/relationships/slideLayout" Target="../slideLayouts/slideLayout2.xml"/><Relationship Id="rId1" Type="http://schemas.openxmlformats.org/officeDocument/2006/relationships/themeOverride" Target="../theme/themeOverride674.xml"/></Relationships>
</file>

<file path=ppt/slides/_rels/slide677.xml.rels><?xml version="1.0" encoding="UTF-8" standalone="yes"?>
<Relationships xmlns="http://schemas.openxmlformats.org/package/2006/relationships"><Relationship Id="rId8" Type="http://schemas.openxmlformats.org/officeDocument/2006/relationships/image" Target="../media/image63.png"/><Relationship Id="rId3" Type="http://schemas.openxmlformats.org/officeDocument/2006/relationships/notesSlide" Target="../notesSlides/notesSlide265.xml"/><Relationship Id="rId7" Type="http://schemas.openxmlformats.org/officeDocument/2006/relationships/image" Target="../media/image62.svg"/><Relationship Id="rId2" Type="http://schemas.openxmlformats.org/officeDocument/2006/relationships/slideLayout" Target="../slideLayouts/slideLayout2.xml"/><Relationship Id="rId1" Type="http://schemas.openxmlformats.org/officeDocument/2006/relationships/themeOverride" Target="../theme/themeOverride675.xml"/><Relationship Id="rId6" Type="http://schemas.openxmlformats.org/officeDocument/2006/relationships/image" Target="../media/image61.png"/><Relationship Id="rId11" Type="http://schemas.openxmlformats.org/officeDocument/2006/relationships/image" Target="../media/image66.svg"/><Relationship Id="rId5" Type="http://schemas.openxmlformats.org/officeDocument/2006/relationships/image" Target="../media/image60.svg"/><Relationship Id="rId10" Type="http://schemas.openxmlformats.org/officeDocument/2006/relationships/image" Target="../media/image65.png"/><Relationship Id="rId4" Type="http://schemas.openxmlformats.org/officeDocument/2006/relationships/image" Target="../media/image59.png"/><Relationship Id="rId9" Type="http://schemas.openxmlformats.org/officeDocument/2006/relationships/image" Target="../media/image64.svg"/></Relationships>
</file>

<file path=ppt/slides/_rels/slide678.xml.rels><?xml version="1.0" encoding="UTF-8" standalone="yes"?>
<Relationships xmlns="http://schemas.openxmlformats.org/package/2006/relationships"><Relationship Id="rId3" Type="http://schemas.openxmlformats.org/officeDocument/2006/relationships/notesSlide" Target="../notesSlides/notesSlide266.xml"/><Relationship Id="rId2" Type="http://schemas.openxmlformats.org/officeDocument/2006/relationships/slideLayout" Target="../slideLayouts/slideLayout2.xml"/><Relationship Id="rId1" Type="http://schemas.openxmlformats.org/officeDocument/2006/relationships/themeOverride" Target="../theme/themeOverride676.xml"/></Relationships>
</file>

<file path=ppt/slides/_rels/slide679.xml.rels><?xml version="1.0" encoding="UTF-8" standalone="yes"?>
<Relationships xmlns="http://schemas.openxmlformats.org/package/2006/relationships"><Relationship Id="rId3" Type="http://schemas.openxmlformats.org/officeDocument/2006/relationships/notesSlide" Target="../notesSlides/notesSlide267.xml"/><Relationship Id="rId2" Type="http://schemas.openxmlformats.org/officeDocument/2006/relationships/slideLayout" Target="../slideLayouts/slideLayout2.xml"/><Relationship Id="rId1" Type="http://schemas.openxmlformats.org/officeDocument/2006/relationships/themeOverride" Target="../theme/themeOverride677.xml"/></Relationships>
</file>

<file path=ppt/slides/_rels/slide68.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hemeOverride" Target="../theme/themeOverride67.xml"/></Relationships>
</file>

<file path=ppt/slides/_rels/slide680.xml.rels><?xml version="1.0" encoding="UTF-8" standalone="yes"?>
<Relationships xmlns="http://schemas.openxmlformats.org/package/2006/relationships"><Relationship Id="rId3" Type="http://schemas.openxmlformats.org/officeDocument/2006/relationships/notesSlide" Target="../notesSlides/notesSlide268.xml"/><Relationship Id="rId2" Type="http://schemas.openxmlformats.org/officeDocument/2006/relationships/slideLayout" Target="../slideLayouts/slideLayout2.xml"/><Relationship Id="rId1" Type="http://schemas.openxmlformats.org/officeDocument/2006/relationships/themeOverride" Target="../theme/themeOverride678.xml"/></Relationships>
</file>

<file path=ppt/slides/_rels/slide681.xml.rels><?xml version="1.0" encoding="UTF-8" standalone="yes"?>
<Relationships xmlns="http://schemas.openxmlformats.org/package/2006/relationships"><Relationship Id="rId3" Type="http://schemas.openxmlformats.org/officeDocument/2006/relationships/notesSlide" Target="../notesSlides/notesSlide269.xml"/><Relationship Id="rId2" Type="http://schemas.openxmlformats.org/officeDocument/2006/relationships/slideLayout" Target="../slideLayouts/slideLayout2.xml"/><Relationship Id="rId1" Type="http://schemas.openxmlformats.org/officeDocument/2006/relationships/themeOverride" Target="../theme/themeOverride679.xml"/></Relationships>
</file>

<file path=ppt/slides/_rels/slide682.xml.rels><?xml version="1.0" encoding="UTF-8" standalone="yes"?>
<Relationships xmlns="http://schemas.openxmlformats.org/package/2006/relationships"><Relationship Id="rId3" Type="http://schemas.openxmlformats.org/officeDocument/2006/relationships/notesSlide" Target="../notesSlides/notesSlide270.xml"/><Relationship Id="rId2" Type="http://schemas.openxmlformats.org/officeDocument/2006/relationships/slideLayout" Target="../slideLayouts/slideLayout2.xml"/><Relationship Id="rId1" Type="http://schemas.openxmlformats.org/officeDocument/2006/relationships/themeOverride" Target="../theme/themeOverride680.xml"/></Relationships>
</file>

<file path=ppt/slides/_rels/slide683.xml.rels><?xml version="1.0" encoding="UTF-8" standalone="yes"?>
<Relationships xmlns="http://schemas.openxmlformats.org/package/2006/relationships"><Relationship Id="rId3" Type="http://schemas.openxmlformats.org/officeDocument/2006/relationships/notesSlide" Target="../notesSlides/notesSlide271.xml"/><Relationship Id="rId2" Type="http://schemas.openxmlformats.org/officeDocument/2006/relationships/slideLayout" Target="../slideLayouts/slideLayout2.xml"/><Relationship Id="rId1" Type="http://schemas.openxmlformats.org/officeDocument/2006/relationships/themeOverride" Target="../theme/themeOverride681.xml"/></Relationships>
</file>

<file path=ppt/slides/_rels/slide684.xml.rels><?xml version="1.0" encoding="UTF-8" standalone="yes"?>
<Relationships xmlns="http://schemas.openxmlformats.org/package/2006/relationships"><Relationship Id="rId3" Type="http://schemas.openxmlformats.org/officeDocument/2006/relationships/notesSlide" Target="../notesSlides/notesSlide272.xml"/><Relationship Id="rId2" Type="http://schemas.openxmlformats.org/officeDocument/2006/relationships/slideLayout" Target="../slideLayouts/slideLayout2.xml"/><Relationship Id="rId1" Type="http://schemas.openxmlformats.org/officeDocument/2006/relationships/themeOverride" Target="../theme/themeOverride682.xml"/></Relationships>
</file>

<file path=ppt/slides/_rels/slide685.xml.rels><?xml version="1.0" encoding="UTF-8" standalone="yes"?>
<Relationships xmlns="http://schemas.openxmlformats.org/package/2006/relationships"><Relationship Id="rId3" Type="http://schemas.openxmlformats.org/officeDocument/2006/relationships/notesSlide" Target="../notesSlides/notesSlide273.xml"/><Relationship Id="rId2" Type="http://schemas.openxmlformats.org/officeDocument/2006/relationships/slideLayout" Target="../slideLayouts/slideLayout2.xml"/><Relationship Id="rId1" Type="http://schemas.openxmlformats.org/officeDocument/2006/relationships/themeOverride" Target="../theme/themeOverride683.xml"/></Relationships>
</file>

<file path=ppt/slides/_rels/slide686.xml.rels><?xml version="1.0" encoding="UTF-8" standalone="yes"?>
<Relationships xmlns="http://schemas.openxmlformats.org/package/2006/relationships"><Relationship Id="rId3" Type="http://schemas.openxmlformats.org/officeDocument/2006/relationships/notesSlide" Target="../notesSlides/notesSlide274.xml"/><Relationship Id="rId2" Type="http://schemas.openxmlformats.org/officeDocument/2006/relationships/slideLayout" Target="../slideLayouts/slideLayout2.xml"/><Relationship Id="rId1" Type="http://schemas.openxmlformats.org/officeDocument/2006/relationships/themeOverride" Target="../theme/themeOverride684.xml"/><Relationship Id="rId4" Type="http://schemas.openxmlformats.org/officeDocument/2006/relationships/image" Target="../media/image67.png"/></Relationships>
</file>

<file path=ppt/slides/_rels/slide687.xml.rels><?xml version="1.0" encoding="UTF-8" standalone="yes"?>
<Relationships xmlns="http://schemas.openxmlformats.org/package/2006/relationships"><Relationship Id="rId3" Type="http://schemas.openxmlformats.org/officeDocument/2006/relationships/notesSlide" Target="../notesSlides/notesSlide275.xml"/><Relationship Id="rId2" Type="http://schemas.openxmlformats.org/officeDocument/2006/relationships/slideLayout" Target="../slideLayouts/slideLayout2.xml"/><Relationship Id="rId1" Type="http://schemas.openxmlformats.org/officeDocument/2006/relationships/themeOverride" Target="../theme/themeOverride685.xml"/></Relationships>
</file>

<file path=ppt/slides/_rels/slide688.xml.rels><?xml version="1.0" encoding="UTF-8" standalone="yes"?>
<Relationships xmlns="http://schemas.openxmlformats.org/package/2006/relationships"><Relationship Id="rId3" Type="http://schemas.openxmlformats.org/officeDocument/2006/relationships/notesSlide" Target="../notesSlides/notesSlide276.xml"/><Relationship Id="rId2" Type="http://schemas.openxmlformats.org/officeDocument/2006/relationships/slideLayout" Target="../slideLayouts/slideLayout1.xml"/><Relationship Id="rId1" Type="http://schemas.openxmlformats.org/officeDocument/2006/relationships/themeOverride" Target="../theme/themeOverride686.xml"/></Relationships>
</file>

<file path=ppt/slides/_rels/slide68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19.xml"/><Relationship Id="rId1" Type="http://schemas.openxmlformats.org/officeDocument/2006/relationships/themeOverride" Target="../theme/themeOverride687.xml"/><Relationship Id="rId4" Type="http://schemas.openxmlformats.org/officeDocument/2006/relationships/notesSlide" Target="../notesSlides/notesSlide277.xml"/></Relationships>
</file>

<file path=ppt/slides/_rels/slide69.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hemeOverride" Target="../theme/themeOverride68.xml"/></Relationships>
</file>

<file path=ppt/slides/_rels/slide690.xml.rels><?xml version="1.0" encoding="UTF-8" standalone="yes"?>
<Relationships xmlns="http://schemas.openxmlformats.org/package/2006/relationships"><Relationship Id="rId3" Type="http://schemas.openxmlformats.org/officeDocument/2006/relationships/notesSlide" Target="../notesSlides/notesSlide278.xml"/><Relationship Id="rId2" Type="http://schemas.openxmlformats.org/officeDocument/2006/relationships/slideLayout" Target="../slideLayouts/slideLayout2.xml"/><Relationship Id="rId1" Type="http://schemas.openxmlformats.org/officeDocument/2006/relationships/themeOverride" Target="../theme/themeOverride688.xml"/></Relationships>
</file>

<file path=ppt/slides/_rels/slide691.xml.rels><?xml version="1.0" encoding="UTF-8" standalone="yes"?>
<Relationships xmlns="http://schemas.openxmlformats.org/package/2006/relationships"><Relationship Id="rId3" Type="http://schemas.openxmlformats.org/officeDocument/2006/relationships/notesSlide" Target="../notesSlides/notesSlide279.xml"/><Relationship Id="rId2" Type="http://schemas.openxmlformats.org/officeDocument/2006/relationships/slideLayout" Target="../slideLayouts/slideLayout2.xml"/><Relationship Id="rId1" Type="http://schemas.openxmlformats.org/officeDocument/2006/relationships/themeOverride" Target="../theme/themeOverride689.xml"/></Relationships>
</file>

<file path=ppt/slides/_rels/slide692.xml.rels><?xml version="1.0" encoding="UTF-8" standalone="yes"?>
<Relationships xmlns="http://schemas.openxmlformats.org/package/2006/relationships"><Relationship Id="rId3" Type="http://schemas.openxmlformats.org/officeDocument/2006/relationships/notesSlide" Target="../notesSlides/notesSlide280.xml"/><Relationship Id="rId2" Type="http://schemas.openxmlformats.org/officeDocument/2006/relationships/slideLayout" Target="../slideLayouts/slideLayout1.xml"/><Relationship Id="rId1" Type="http://schemas.openxmlformats.org/officeDocument/2006/relationships/themeOverride" Target="../theme/themeOverride690.xml"/></Relationships>
</file>

<file path=ppt/slides/_rels/slide693.xml.rels><?xml version="1.0" encoding="UTF-8" standalone="yes"?>
<Relationships xmlns="http://schemas.openxmlformats.org/package/2006/relationships"><Relationship Id="rId3" Type="http://schemas.openxmlformats.org/officeDocument/2006/relationships/notesSlide" Target="../notesSlides/notesSlide281.xml"/><Relationship Id="rId2" Type="http://schemas.openxmlformats.org/officeDocument/2006/relationships/slideLayout" Target="../slideLayouts/slideLayout1.xml"/><Relationship Id="rId1" Type="http://schemas.openxmlformats.org/officeDocument/2006/relationships/themeOverride" Target="../theme/themeOverride691.xml"/></Relationships>
</file>

<file path=ppt/slides/_rels/slide694.xml.rels><?xml version="1.0" encoding="UTF-8" standalone="yes"?>
<Relationships xmlns="http://schemas.openxmlformats.org/package/2006/relationships"><Relationship Id="rId3" Type="http://schemas.openxmlformats.org/officeDocument/2006/relationships/tags" Target="../tags/tag121.xml"/><Relationship Id="rId2" Type="http://schemas.openxmlformats.org/officeDocument/2006/relationships/tags" Target="../tags/tag120.xml"/><Relationship Id="rId1" Type="http://schemas.openxmlformats.org/officeDocument/2006/relationships/themeOverride" Target="../theme/themeOverride692.xml"/><Relationship Id="rId5" Type="http://schemas.openxmlformats.org/officeDocument/2006/relationships/notesSlide" Target="../notesSlides/notesSlide282.xml"/><Relationship Id="rId4" Type="http://schemas.openxmlformats.org/officeDocument/2006/relationships/slideLayout" Target="../slideLayouts/slideLayout22.xml"/></Relationships>
</file>

<file path=ppt/slides/_rels/slide695.xml.rels><?xml version="1.0" encoding="UTF-8" standalone="yes"?>
<Relationships xmlns="http://schemas.openxmlformats.org/package/2006/relationships"><Relationship Id="rId3" Type="http://schemas.openxmlformats.org/officeDocument/2006/relationships/notesSlide" Target="../notesSlides/notesSlide283.xml"/><Relationship Id="rId2" Type="http://schemas.openxmlformats.org/officeDocument/2006/relationships/slideLayout" Target="../slideLayouts/slideLayout1.xml"/><Relationship Id="rId1" Type="http://schemas.openxmlformats.org/officeDocument/2006/relationships/themeOverride" Target="../theme/themeOverride693.xml"/></Relationships>
</file>

<file path=ppt/slides/_rels/slide696.xml.rels><?xml version="1.0" encoding="UTF-8" standalone="yes"?>
<Relationships xmlns="http://schemas.openxmlformats.org/package/2006/relationships"><Relationship Id="rId3" Type="http://schemas.openxmlformats.org/officeDocument/2006/relationships/notesSlide" Target="../notesSlides/notesSlide284.xml"/><Relationship Id="rId2" Type="http://schemas.openxmlformats.org/officeDocument/2006/relationships/slideLayout" Target="../slideLayouts/slideLayout1.xml"/><Relationship Id="rId1" Type="http://schemas.openxmlformats.org/officeDocument/2006/relationships/themeOverride" Target="../theme/themeOverride694.xml"/></Relationships>
</file>

<file path=ppt/slides/_rels/slide697.xml.rels><?xml version="1.0" encoding="UTF-8" standalone="yes"?>
<Relationships xmlns="http://schemas.openxmlformats.org/package/2006/relationships"><Relationship Id="rId3" Type="http://schemas.openxmlformats.org/officeDocument/2006/relationships/notesSlide" Target="../notesSlides/notesSlide285.xml"/><Relationship Id="rId2" Type="http://schemas.openxmlformats.org/officeDocument/2006/relationships/slideLayout" Target="../slideLayouts/slideLayout2.xml"/><Relationship Id="rId1" Type="http://schemas.openxmlformats.org/officeDocument/2006/relationships/themeOverride" Target="../theme/themeOverride695.xml"/><Relationship Id="rId4" Type="http://schemas.openxmlformats.org/officeDocument/2006/relationships/image" Target="../media/image68.png"/></Relationships>
</file>

<file path=ppt/slides/_rels/slide698.xml.rels><?xml version="1.0" encoding="UTF-8" standalone="yes"?>
<Relationships xmlns="http://schemas.openxmlformats.org/package/2006/relationships"><Relationship Id="rId3" Type="http://schemas.openxmlformats.org/officeDocument/2006/relationships/notesSlide" Target="../notesSlides/notesSlide286.xml"/><Relationship Id="rId2" Type="http://schemas.openxmlformats.org/officeDocument/2006/relationships/slideLayout" Target="../slideLayouts/slideLayout2.xml"/><Relationship Id="rId1" Type="http://schemas.openxmlformats.org/officeDocument/2006/relationships/themeOverride" Target="../theme/themeOverride696.xml"/></Relationships>
</file>

<file path=ppt/slides/_rels/slide699.xml.rels><?xml version="1.0" encoding="UTF-8" standalone="yes"?>
<Relationships xmlns="http://schemas.openxmlformats.org/package/2006/relationships"><Relationship Id="rId3" Type="http://schemas.openxmlformats.org/officeDocument/2006/relationships/notesSlide" Target="../notesSlides/notesSlide287.xml"/><Relationship Id="rId2" Type="http://schemas.openxmlformats.org/officeDocument/2006/relationships/slideLayout" Target="../slideLayouts/slideLayout2.xml"/><Relationship Id="rId1" Type="http://schemas.openxmlformats.org/officeDocument/2006/relationships/themeOverride" Target="../theme/themeOverride697.xml"/></Relationships>
</file>

<file path=ppt/slides/_rels/slide7.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hemeOverride" Target="../theme/themeOverride6.xml"/></Relationships>
</file>

<file path=ppt/slides/_rels/slide70.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hemeOverride" Target="../theme/themeOverride69.xml"/></Relationships>
</file>

<file path=ppt/slides/_rels/slide700.xml.rels><?xml version="1.0" encoding="UTF-8" standalone="yes"?>
<Relationships xmlns="http://schemas.openxmlformats.org/package/2006/relationships"><Relationship Id="rId3" Type="http://schemas.openxmlformats.org/officeDocument/2006/relationships/notesSlide" Target="../notesSlides/notesSlide288.xml"/><Relationship Id="rId2" Type="http://schemas.openxmlformats.org/officeDocument/2006/relationships/slideLayout" Target="../slideLayouts/slideLayout2.xml"/><Relationship Id="rId1" Type="http://schemas.openxmlformats.org/officeDocument/2006/relationships/themeOverride" Target="../theme/themeOverride698.xml"/></Relationships>
</file>

<file path=ppt/slides/_rels/slide701.xml.rels><?xml version="1.0" encoding="UTF-8" standalone="yes"?>
<Relationships xmlns="http://schemas.openxmlformats.org/package/2006/relationships"><Relationship Id="rId3" Type="http://schemas.openxmlformats.org/officeDocument/2006/relationships/notesSlide" Target="../notesSlides/notesSlide289.xml"/><Relationship Id="rId2" Type="http://schemas.openxmlformats.org/officeDocument/2006/relationships/slideLayout" Target="../slideLayouts/slideLayout2.xml"/><Relationship Id="rId1" Type="http://schemas.openxmlformats.org/officeDocument/2006/relationships/themeOverride" Target="../theme/themeOverride699.xml"/></Relationships>
</file>

<file path=ppt/slides/_rels/slide702.xml.rels><?xml version="1.0" encoding="UTF-8" standalone="yes"?>
<Relationships xmlns="http://schemas.openxmlformats.org/package/2006/relationships"><Relationship Id="rId3" Type="http://schemas.openxmlformats.org/officeDocument/2006/relationships/notesSlide" Target="../notesSlides/notesSlide290.xml"/><Relationship Id="rId2" Type="http://schemas.openxmlformats.org/officeDocument/2006/relationships/slideLayout" Target="../slideLayouts/slideLayout2.xml"/><Relationship Id="rId1" Type="http://schemas.openxmlformats.org/officeDocument/2006/relationships/themeOverride" Target="../theme/themeOverride700.xml"/></Relationships>
</file>

<file path=ppt/slides/_rels/slide703.xml.rels><?xml version="1.0" encoding="UTF-8" standalone="yes"?>
<Relationships xmlns="http://schemas.openxmlformats.org/package/2006/relationships"><Relationship Id="rId3" Type="http://schemas.openxmlformats.org/officeDocument/2006/relationships/notesSlide" Target="../notesSlides/notesSlide291.xml"/><Relationship Id="rId2" Type="http://schemas.openxmlformats.org/officeDocument/2006/relationships/slideLayout" Target="../slideLayouts/slideLayout2.xml"/><Relationship Id="rId1" Type="http://schemas.openxmlformats.org/officeDocument/2006/relationships/themeOverride" Target="../theme/themeOverride701.xml"/></Relationships>
</file>

<file path=ppt/slides/_rels/slide704.xml.rels><?xml version="1.0" encoding="UTF-8" standalone="yes"?>
<Relationships xmlns="http://schemas.openxmlformats.org/package/2006/relationships"><Relationship Id="rId3" Type="http://schemas.openxmlformats.org/officeDocument/2006/relationships/notesSlide" Target="../notesSlides/notesSlide292.xml"/><Relationship Id="rId2" Type="http://schemas.openxmlformats.org/officeDocument/2006/relationships/slideLayout" Target="../slideLayouts/slideLayout2.xml"/><Relationship Id="rId1" Type="http://schemas.openxmlformats.org/officeDocument/2006/relationships/themeOverride" Target="../theme/themeOverride702.xml"/></Relationships>
</file>

<file path=ppt/slides/_rels/slide705.xml.rels><?xml version="1.0" encoding="UTF-8" standalone="yes"?>
<Relationships xmlns="http://schemas.openxmlformats.org/package/2006/relationships"><Relationship Id="rId3" Type="http://schemas.openxmlformats.org/officeDocument/2006/relationships/notesSlide" Target="../notesSlides/notesSlide293.xml"/><Relationship Id="rId2" Type="http://schemas.openxmlformats.org/officeDocument/2006/relationships/slideLayout" Target="../slideLayouts/slideLayout2.xml"/><Relationship Id="rId1" Type="http://schemas.openxmlformats.org/officeDocument/2006/relationships/themeOverride" Target="../theme/themeOverride703.xml"/></Relationships>
</file>

<file path=ppt/slides/_rels/slide706.xml.rels><?xml version="1.0" encoding="UTF-8" standalone="yes"?>
<Relationships xmlns="http://schemas.openxmlformats.org/package/2006/relationships"><Relationship Id="rId3" Type="http://schemas.openxmlformats.org/officeDocument/2006/relationships/notesSlide" Target="../notesSlides/notesSlide294.xml"/><Relationship Id="rId2" Type="http://schemas.openxmlformats.org/officeDocument/2006/relationships/slideLayout" Target="../slideLayouts/slideLayout2.xml"/><Relationship Id="rId1" Type="http://schemas.openxmlformats.org/officeDocument/2006/relationships/themeOverride" Target="../theme/themeOverride704.xml"/></Relationships>
</file>

<file path=ppt/slides/_rels/slide707.xml.rels><?xml version="1.0" encoding="UTF-8" standalone="yes"?>
<Relationships xmlns="http://schemas.openxmlformats.org/package/2006/relationships"><Relationship Id="rId3" Type="http://schemas.openxmlformats.org/officeDocument/2006/relationships/notesSlide" Target="../notesSlides/notesSlide295.xml"/><Relationship Id="rId2" Type="http://schemas.openxmlformats.org/officeDocument/2006/relationships/slideLayout" Target="../slideLayouts/slideLayout2.xml"/><Relationship Id="rId1" Type="http://schemas.openxmlformats.org/officeDocument/2006/relationships/themeOverride" Target="../theme/themeOverride705.xml"/></Relationships>
</file>

<file path=ppt/slides/_rels/slide708.xml.rels><?xml version="1.0" encoding="UTF-8" standalone="yes"?>
<Relationships xmlns="http://schemas.openxmlformats.org/package/2006/relationships"><Relationship Id="rId3" Type="http://schemas.openxmlformats.org/officeDocument/2006/relationships/notesSlide" Target="../notesSlides/notesSlide296.xml"/><Relationship Id="rId2" Type="http://schemas.openxmlformats.org/officeDocument/2006/relationships/slideLayout" Target="../slideLayouts/slideLayout2.xml"/><Relationship Id="rId1" Type="http://schemas.openxmlformats.org/officeDocument/2006/relationships/themeOverride" Target="../theme/themeOverride706.xml"/></Relationships>
</file>

<file path=ppt/slides/_rels/slide709.xml.rels><?xml version="1.0" encoding="UTF-8" standalone="yes"?>
<Relationships xmlns="http://schemas.openxmlformats.org/package/2006/relationships"><Relationship Id="rId3" Type="http://schemas.openxmlformats.org/officeDocument/2006/relationships/notesSlide" Target="../notesSlides/notesSlide297.xml"/><Relationship Id="rId2" Type="http://schemas.openxmlformats.org/officeDocument/2006/relationships/slideLayout" Target="../slideLayouts/slideLayout2.xml"/><Relationship Id="rId1" Type="http://schemas.openxmlformats.org/officeDocument/2006/relationships/themeOverride" Target="../theme/themeOverride707.xml"/></Relationships>
</file>

<file path=ppt/slides/_rels/slide71.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hemeOverride" Target="../theme/themeOverride70.xml"/></Relationships>
</file>

<file path=ppt/slides/_rels/slide710.xml.rels><?xml version="1.0" encoding="UTF-8" standalone="yes"?>
<Relationships xmlns="http://schemas.openxmlformats.org/package/2006/relationships"><Relationship Id="rId3" Type="http://schemas.openxmlformats.org/officeDocument/2006/relationships/notesSlide" Target="../notesSlides/notesSlide298.xml"/><Relationship Id="rId2" Type="http://schemas.openxmlformats.org/officeDocument/2006/relationships/slideLayout" Target="../slideLayouts/slideLayout2.xml"/><Relationship Id="rId1" Type="http://schemas.openxmlformats.org/officeDocument/2006/relationships/themeOverride" Target="../theme/themeOverride708.xml"/></Relationships>
</file>

<file path=ppt/slides/_rels/slide711.xml.rels><?xml version="1.0" encoding="UTF-8" standalone="yes"?>
<Relationships xmlns="http://schemas.openxmlformats.org/package/2006/relationships"><Relationship Id="rId3" Type="http://schemas.openxmlformats.org/officeDocument/2006/relationships/notesSlide" Target="../notesSlides/notesSlide299.xml"/><Relationship Id="rId2" Type="http://schemas.openxmlformats.org/officeDocument/2006/relationships/slideLayout" Target="../slideLayouts/slideLayout2.xml"/><Relationship Id="rId1" Type="http://schemas.openxmlformats.org/officeDocument/2006/relationships/themeOverride" Target="../theme/themeOverride709.xml"/></Relationships>
</file>

<file path=ppt/slides/_rels/slide712.xml.rels><?xml version="1.0" encoding="UTF-8" standalone="yes"?>
<Relationships xmlns="http://schemas.openxmlformats.org/package/2006/relationships"><Relationship Id="rId3" Type="http://schemas.openxmlformats.org/officeDocument/2006/relationships/notesSlide" Target="../notesSlides/notesSlide300.xml"/><Relationship Id="rId2" Type="http://schemas.openxmlformats.org/officeDocument/2006/relationships/slideLayout" Target="../slideLayouts/slideLayout2.xml"/><Relationship Id="rId1" Type="http://schemas.openxmlformats.org/officeDocument/2006/relationships/themeOverride" Target="../theme/themeOverride710.xml"/></Relationships>
</file>

<file path=ppt/slides/_rels/slide713.xml.rels><?xml version="1.0" encoding="UTF-8" standalone="yes"?>
<Relationships xmlns="http://schemas.openxmlformats.org/package/2006/relationships"><Relationship Id="rId3" Type="http://schemas.openxmlformats.org/officeDocument/2006/relationships/notesSlide" Target="../notesSlides/notesSlide301.xml"/><Relationship Id="rId2" Type="http://schemas.openxmlformats.org/officeDocument/2006/relationships/slideLayout" Target="../slideLayouts/slideLayout2.xml"/><Relationship Id="rId1" Type="http://schemas.openxmlformats.org/officeDocument/2006/relationships/themeOverride" Target="../theme/themeOverride711.xml"/></Relationships>
</file>

<file path=ppt/slides/_rels/slide714.xml.rels><?xml version="1.0" encoding="UTF-8" standalone="yes"?>
<Relationships xmlns="http://schemas.openxmlformats.org/package/2006/relationships"><Relationship Id="rId3" Type="http://schemas.openxmlformats.org/officeDocument/2006/relationships/notesSlide" Target="../notesSlides/notesSlide302.xml"/><Relationship Id="rId2" Type="http://schemas.openxmlformats.org/officeDocument/2006/relationships/slideLayout" Target="../slideLayouts/slideLayout2.xml"/><Relationship Id="rId1" Type="http://schemas.openxmlformats.org/officeDocument/2006/relationships/themeOverride" Target="../theme/themeOverride712.xml"/></Relationships>
</file>

<file path=ppt/slides/_rels/slide715.xml.rels><?xml version="1.0" encoding="UTF-8" standalone="yes"?>
<Relationships xmlns="http://schemas.openxmlformats.org/package/2006/relationships"><Relationship Id="rId3" Type="http://schemas.openxmlformats.org/officeDocument/2006/relationships/notesSlide" Target="../notesSlides/notesSlide303.xml"/><Relationship Id="rId2" Type="http://schemas.openxmlformats.org/officeDocument/2006/relationships/slideLayout" Target="../slideLayouts/slideLayout2.xml"/><Relationship Id="rId1" Type="http://schemas.openxmlformats.org/officeDocument/2006/relationships/themeOverride" Target="../theme/themeOverride713.xml"/></Relationships>
</file>

<file path=ppt/slides/_rels/slide716.xml.rels><?xml version="1.0" encoding="UTF-8" standalone="yes"?>
<Relationships xmlns="http://schemas.openxmlformats.org/package/2006/relationships"><Relationship Id="rId3" Type="http://schemas.openxmlformats.org/officeDocument/2006/relationships/notesSlide" Target="../notesSlides/notesSlide304.xml"/><Relationship Id="rId2" Type="http://schemas.openxmlformats.org/officeDocument/2006/relationships/slideLayout" Target="../slideLayouts/slideLayout2.xml"/><Relationship Id="rId1" Type="http://schemas.openxmlformats.org/officeDocument/2006/relationships/themeOverride" Target="../theme/themeOverride714.xml"/></Relationships>
</file>

<file path=ppt/slides/_rels/slide717.xml.rels><?xml version="1.0" encoding="UTF-8" standalone="yes"?>
<Relationships xmlns="http://schemas.openxmlformats.org/package/2006/relationships"><Relationship Id="rId3" Type="http://schemas.openxmlformats.org/officeDocument/2006/relationships/notesSlide" Target="../notesSlides/notesSlide305.xml"/><Relationship Id="rId2" Type="http://schemas.openxmlformats.org/officeDocument/2006/relationships/slideLayout" Target="../slideLayouts/slideLayout2.xml"/><Relationship Id="rId1" Type="http://schemas.openxmlformats.org/officeDocument/2006/relationships/themeOverride" Target="../theme/themeOverride715.xml"/></Relationships>
</file>

<file path=ppt/slides/_rels/slide718.xml.rels><?xml version="1.0" encoding="UTF-8" standalone="yes"?>
<Relationships xmlns="http://schemas.openxmlformats.org/package/2006/relationships"><Relationship Id="rId3" Type="http://schemas.openxmlformats.org/officeDocument/2006/relationships/notesSlide" Target="../notesSlides/notesSlide306.xml"/><Relationship Id="rId2" Type="http://schemas.openxmlformats.org/officeDocument/2006/relationships/slideLayout" Target="../slideLayouts/slideLayout2.xml"/><Relationship Id="rId1" Type="http://schemas.openxmlformats.org/officeDocument/2006/relationships/themeOverride" Target="../theme/themeOverride716.xml"/></Relationships>
</file>

<file path=ppt/slides/_rels/slide719.xml.rels><?xml version="1.0" encoding="UTF-8" standalone="yes"?>
<Relationships xmlns="http://schemas.openxmlformats.org/package/2006/relationships"><Relationship Id="rId3" Type="http://schemas.openxmlformats.org/officeDocument/2006/relationships/notesSlide" Target="../notesSlides/notesSlide307.xml"/><Relationship Id="rId2" Type="http://schemas.openxmlformats.org/officeDocument/2006/relationships/slideLayout" Target="../slideLayouts/slideLayout2.xml"/><Relationship Id="rId1" Type="http://schemas.openxmlformats.org/officeDocument/2006/relationships/themeOverride" Target="../theme/themeOverride717.xml"/></Relationships>
</file>

<file path=ppt/slides/_rels/slide72.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hemeOverride" Target="../theme/themeOverride71.xml"/></Relationships>
</file>

<file path=ppt/slides/_rels/slide720.xml.rels><?xml version="1.0" encoding="UTF-8" standalone="yes"?>
<Relationships xmlns="http://schemas.openxmlformats.org/package/2006/relationships"><Relationship Id="rId3" Type="http://schemas.openxmlformats.org/officeDocument/2006/relationships/notesSlide" Target="../notesSlides/notesSlide308.xml"/><Relationship Id="rId2" Type="http://schemas.openxmlformats.org/officeDocument/2006/relationships/slideLayout" Target="../slideLayouts/slideLayout2.xml"/><Relationship Id="rId1" Type="http://schemas.openxmlformats.org/officeDocument/2006/relationships/themeOverride" Target="../theme/themeOverride718.xml"/></Relationships>
</file>

<file path=ppt/slides/_rels/slide721.xml.rels><?xml version="1.0" encoding="UTF-8" standalone="yes"?>
<Relationships xmlns="http://schemas.openxmlformats.org/package/2006/relationships"><Relationship Id="rId3" Type="http://schemas.openxmlformats.org/officeDocument/2006/relationships/notesSlide" Target="../notesSlides/notesSlide309.xml"/><Relationship Id="rId2" Type="http://schemas.openxmlformats.org/officeDocument/2006/relationships/slideLayout" Target="../slideLayouts/slideLayout2.xml"/><Relationship Id="rId1" Type="http://schemas.openxmlformats.org/officeDocument/2006/relationships/themeOverride" Target="../theme/themeOverride719.xml"/></Relationships>
</file>

<file path=ppt/slides/_rels/slide722.xml.rels><?xml version="1.0" encoding="UTF-8" standalone="yes"?>
<Relationships xmlns="http://schemas.openxmlformats.org/package/2006/relationships"><Relationship Id="rId3" Type="http://schemas.openxmlformats.org/officeDocument/2006/relationships/notesSlide" Target="../notesSlides/notesSlide310.xml"/><Relationship Id="rId2" Type="http://schemas.openxmlformats.org/officeDocument/2006/relationships/slideLayout" Target="../slideLayouts/slideLayout2.xml"/><Relationship Id="rId1" Type="http://schemas.openxmlformats.org/officeDocument/2006/relationships/themeOverride" Target="../theme/themeOverride720.xml"/></Relationships>
</file>

<file path=ppt/slides/_rels/slide723.xml.rels><?xml version="1.0" encoding="UTF-8" standalone="yes"?>
<Relationships xmlns="http://schemas.openxmlformats.org/package/2006/relationships"><Relationship Id="rId3" Type="http://schemas.openxmlformats.org/officeDocument/2006/relationships/notesSlide" Target="../notesSlides/notesSlide311.xml"/><Relationship Id="rId2" Type="http://schemas.openxmlformats.org/officeDocument/2006/relationships/slideLayout" Target="../slideLayouts/slideLayout2.xml"/><Relationship Id="rId1" Type="http://schemas.openxmlformats.org/officeDocument/2006/relationships/themeOverride" Target="../theme/themeOverride721.xml"/></Relationships>
</file>

<file path=ppt/slides/_rels/slide724.xml.rels><?xml version="1.0" encoding="UTF-8" standalone="yes"?>
<Relationships xmlns="http://schemas.openxmlformats.org/package/2006/relationships"><Relationship Id="rId3" Type="http://schemas.openxmlformats.org/officeDocument/2006/relationships/notesSlide" Target="../notesSlides/notesSlide312.xml"/><Relationship Id="rId2" Type="http://schemas.openxmlformats.org/officeDocument/2006/relationships/slideLayout" Target="../slideLayouts/slideLayout2.xml"/><Relationship Id="rId1" Type="http://schemas.openxmlformats.org/officeDocument/2006/relationships/themeOverride" Target="../theme/themeOverride722.xml"/></Relationships>
</file>

<file path=ppt/slides/_rels/slide725.xml.rels><?xml version="1.0" encoding="UTF-8" standalone="yes"?>
<Relationships xmlns="http://schemas.openxmlformats.org/package/2006/relationships"><Relationship Id="rId3" Type="http://schemas.openxmlformats.org/officeDocument/2006/relationships/notesSlide" Target="../notesSlides/notesSlide313.xml"/><Relationship Id="rId2" Type="http://schemas.openxmlformats.org/officeDocument/2006/relationships/slideLayout" Target="../slideLayouts/slideLayout2.xml"/><Relationship Id="rId1" Type="http://schemas.openxmlformats.org/officeDocument/2006/relationships/themeOverride" Target="../theme/themeOverride723.xml"/><Relationship Id="rId4" Type="http://schemas.openxmlformats.org/officeDocument/2006/relationships/image" Target="../media/image69.png"/></Relationships>
</file>

<file path=ppt/slides/_rels/slide726.xml.rels><?xml version="1.0" encoding="UTF-8" standalone="yes"?>
<Relationships xmlns="http://schemas.openxmlformats.org/package/2006/relationships"><Relationship Id="rId3" Type="http://schemas.openxmlformats.org/officeDocument/2006/relationships/notesSlide" Target="../notesSlides/notesSlide314.xml"/><Relationship Id="rId2" Type="http://schemas.openxmlformats.org/officeDocument/2006/relationships/slideLayout" Target="../slideLayouts/slideLayout2.xml"/><Relationship Id="rId1" Type="http://schemas.openxmlformats.org/officeDocument/2006/relationships/themeOverride" Target="../theme/themeOverride724.xml"/><Relationship Id="rId4" Type="http://schemas.openxmlformats.org/officeDocument/2006/relationships/image" Target="../media/image69.png"/></Relationships>
</file>

<file path=ppt/slides/_rels/slide727.xml.rels><?xml version="1.0" encoding="UTF-8" standalone="yes"?>
<Relationships xmlns="http://schemas.openxmlformats.org/package/2006/relationships"><Relationship Id="rId3" Type="http://schemas.openxmlformats.org/officeDocument/2006/relationships/notesSlide" Target="../notesSlides/notesSlide315.xml"/><Relationship Id="rId2" Type="http://schemas.openxmlformats.org/officeDocument/2006/relationships/slideLayout" Target="../slideLayouts/slideLayout2.xml"/><Relationship Id="rId1" Type="http://schemas.openxmlformats.org/officeDocument/2006/relationships/themeOverride" Target="../theme/themeOverride725.xml"/><Relationship Id="rId4" Type="http://schemas.openxmlformats.org/officeDocument/2006/relationships/image" Target="../media/image69.png"/></Relationships>
</file>

<file path=ppt/slides/_rels/slide728.xml.rels><?xml version="1.0" encoding="UTF-8" standalone="yes"?>
<Relationships xmlns="http://schemas.openxmlformats.org/package/2006/relationships"><Relationship Id="rId3" Type="http://schemas.openxmlformats.org/officeDocument/2006/relationships/notesSlide" Target="../notesSlides/notesSlide316.xml"/><Relationship Id="rId2" Type="http://schemas.openxmlformats.org/officeDocument/2006/relationships/slideLayout" Target="../slideLayouts/slideLayout2.xml"/><Relationship Id="rId1" Type="http://schemas.openxmlformats.org/officeDocument/2006/relationships/themeOverride" Target="../theme/themeOverride726.xml"/><Relationship Id="rId4" Type="http://schemas.openxmlformats.org/officeDocument/2006/relationships/image" Target="../media/image69.png"/></Relationships>
</file>

<file path=ppt/slides/_rels/slide729.xml.rels><?xml version="1.0" encoding="UTF-8" standalone="yes"?>
<Relationships xmlns="http://schemas.openxmlformats.org/package/2006/relationships"><Relationship Id="rId3" Type="http://schemas.openxmlformats.org/officeDocument/2006/relationships/notesSlide" Target="../notesSlides/notesSlide317.xml"/><Relationship Id="rId2" Type="http://schemas.openxmlformats.org/officeDocument/2006/relationships/slideLayout" Target="../slideLayouts/slideLayout2.xml"/><Relationship Id="rId1" Type="http://schemas.openxmlformats.org/officeDocument/2006/relationships/themeOverride" Target="../theme/themeOverride727.xml"/></Relationships>
</file>

<file path=ppt/slides/_rels/slide73.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hemeOverride" Target="../theme/themeOverride72.xml"/></Relationships>
</file>

<file path=ppt/slides/_rels/slide730.xml.rels><?xml version="1.0" encoding="UTF-8" standalone="yes"?>
<Relationships xmlns="http://schemas.openxmlformats.org/package/2006/relationships"><Relationship Id="rId3" Type="http://schemas.openxmlformats.org/officeDocument/2006/relationships/notesSlide" Target="../notesSlides/notesSlide318.xml"/><Relationship Id="rId2" Type="http://schemas.openxmlformats.org/officeDocument/2006/relationships/slideLayout" Target="../slideLayouts/slideLayout2.xml"/><Relationship Id="rId1" Type="http://schemas.openxmlformats.org/officeDocument/2006/relationships/themeOverride" Target="../theme/themeOverride728.xml"/></Relationships>
</file>

<file path=ppt/slides/_rels/slide731.xml.rels><?xml version="1.0" encoding="UTF-8" standalone="yes"?>
<Relationships xmlns="http://schemas.openxmlformats.org/package/2006/relationships"><Relationship Id="rId3" Type="http://schemas.openxmlformats.org/officeDocument/2006/relationships/notesSlide" Target="../notesSlides/notesSlide319.xml"/><Relationship Id="rId2" Type="http://schemas.openxmlformats.org/officeDocument/2006/relationships/slideLayout" Target="../slideLayouts/slideLayout2.xml"/><Relationship Id="rId1" Type="http://schemas.openxmlformats.org/officeDocument/2006/relationships/themeOverride" Target="../theme/themeOverride729.xml"/></Relationships>
</file>

<file path=ppt/slides/_rels/slide732.xml.rels><?xml version="1.0" encoding="UTF-8" standalone="yes"?>
<Relationships xmlns="http://schemas.openxmlformats.org/package/2006/relationships"><Relationship Id="rId3" Type="http://schemas.openxmlformats.org/officeDocument/2006/relationships/notesSlide" Target="../notesSlides/notesSlide320.xml"/><Relationship Id="rId2" Type="http://schemas.openxmlformats.org/officeDocument/2006/relationships/slideLayout" Target="../slideLayouts/slideLayout2.xml"/><Relationship Id="rId1" Type="http://schemas.openxmlformats.org/officeDocument/2006/relationships/themeOverride" Target="../theme/themeOverride730.xml"/></Relationships>
</file>

<file path=ppt/slides/_rels/slide733.xml.rels><?xml version="1.0" encoding="UTF-8" standalone="yes"?>
<Relationships xmlns="http://schemas.openxmlformats.org/package/2006/relationships"><Relationship Id="rId3" Type="http://schemas.openxmlformats.org/officeDocument/2006/relationships/notesSlide" Target="../notesSlides/notesSlide321.xml"/><Relationship Id="rId2" Type="http://schemas.openxmlformats.org/officeDocument/2006/relationships/slideLayout" Target="../slideLayouts/slideLayout2.xml"/><Relationship Id="rId1" Type="http://schemas.openxmlformats.org/officeDocument/2006/relationships/themeOverride" Target="../theme/themeOverride731.xml"/></Relationships>
</file>

<file path=ppt/slides/_rels/slide734.xml.rels><?xml version="1.0" encoding="UTF-8" standalone="yes"?>
<Relationships xmlns="http://schemas.openxmlformats.org/package/2006/relationships"><Relationship Id="rId3" Type="http://schemas.openxmlformats.org/officeDocument/2006/relationships/notesSlide" Target="../notesSlides/notesSlide322.xml"/><Relationship Id="rId2" Type="http://schemas.openxmlformats.org/officeDocument/2006/relationships/slideLayout" Target="../slideLayouts/slideLayout2.xml"/><Relationship Id="rId1" Type="http://schemas.openxmlformats.org/officeDocument/2006/relationships/themeOverride" Target="../theme/themeOverride732.xml"/></Relationships>
</file>

<file path=ppt/slides/_rels/slide735.xml.rels><?xml version="1.0" encoding="UTF-8" standalone="yes"?>
<Relationships xmlns="http://schemas.openxmlformats.org/package/2006/relationships"><Relationship Id="rId3" Type="http://schemas.openxmlformats.org/officeDocument/2006/relationships/notesSlide" Target="../notesSlides/notesSlide323.xml"/><Relationship Id="rId2" Type="http://schemas.openxmlformats.org/officeDocument/2006/relationships/slideLayout" Target="../slideLayouts/slideLayout2.xml"/><Relationship Id="rId1" Type="http://schemas.openxmlformats.org/officeDocument/2006/relationships/themeOverride" Target="../theme/themeOverride733.xml"/></Relationships>
</file>

<file path=ppt/slides/_rels/slide736.xml.rels><?xml version="1.0" encoding="UTF-8" standalone="yes"?>
<Relationships xmlns="http://schemas.openxmlformats.org/package/2006/relationships"><Relationship Id="rId3" Type="http://schemas.openxmlformats.org/officeDocument/2006/relationships/notesSlide" Target="../notesSlides/notesSlide324.xml"/><Relationship Id="rId2" Type="http://schemas.openxmlformats.org/officeDocument/2006/relationships/slideLayout" Target="../slideLayouts/slideLayout2.xml"/><Relationship Id="rId1" Type="http://schemas.openxmlformats.org/officeDocument/2006/relationships/themeOverride" Target="../theme/themeOverride734.xml"/></Relationships>
</file>

<file path=ppt/slides/_rels/slide737.xml.rels><?xml version="1.0" encoding="UTF-8" standalone="yes"?>
<Relationships xmlns="http://schemas.openxmlformats.org/package/2006/relationships"><Relationship Id="rId3" Type="http://schemas.openxmlformats.org/officeDocument/2006/relationships/notesSlide" Target="../notesSlides/notesSlide325.xml"/><Relationship Id="rId2" Type="http://schemas.openxmlformats.org/officeDocument/2006/relationships/slideLayout" Target="../slideLayouts/slideLayout2.xml"/><Relationship Id="rId1" Type="http://schemas.openxmlformats.org/officeDocument/2006/relationships/themeOverride" Target="../theme/themeOverride735.xml"/></Relationships>
</file>

<file path=ppt/slides/_rels/slide738.xml.rels><?xml version="1.0" encoding="UTF-8" standalone="yes"?>
<Relationships xmlns="http://schemas.openxmlformats.org/package/2006/relationships"><Relationship Id="rId3" Type="http://schemas.openxmlformats.org/officeDocument/2006/relationships/notesSlide" Target="../notesSlides/notesSlide326.xml"/><Relationship Id="rId2" Type="http://schemas.openxmlformats.org/officeDocument/2006/relationships/slideLayout" Target="../slideLayouts/slideLayout2.xml"/><Relationship Id="rId1" Type="http://schemas.openxmlformats.org/officeDocument/2006/relationships/themeOverride" Target="../theme/themeOverride736.xml"/></Relationships>
</file>

<file path=ppt/slides/_rels/slide739.xml.rels><?xml version="1.0" encoding="UTF-8" standalone="yes"?>
<Relationships xmlns="http://schemas.openxmlformats.org/package/2006/relationships"><Relationship Id="rId3" Type="http://schemas.openxmlformats.org/officeDocument/2006/relationships/notesSlide" Target="../notesSlides/notesSlide327.xml"/><Relationship Id="rId2" Type="http://schemas.openxmlformats.org/officeDocument/2006/relationships/slideLayout" Target="../slideLayouts/slideLayout2.xml"/><Relationship Id="rId1" Type="http://schemas.openxmlformats.org/officeDocument/2006/relationships/themeOverride" Target="../theme/themeOverride737.xml"/></Relationships>
</file>

<file path=ppt/slides/_rels/slide74.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hemeOverride" Target="../theme/themeOverride73.xml"/></Relationships>
</file>

<file path=ppt/slides/_rels/slide740.xml.rels><?xml version="1.0" encoding="UTF-8" standalone="yes"?>
<Relationships xmlns="http://schemas.openxmlformats.org/package/2006/relationships"><Relationship Id="rId3" Type="http://schemas.openxmlformats.org/officeDocument/2006/relationships/notesSlide" Target="../notesSlides/notesSlide328.xml"/><Relationship Id="rId2" Type="http://schemas.openxmlformats.org/officeDocument/2006/relationships/slideLayout" Target="../slideLayouts/slideLayout2.xml"/><Relationship Id="rId1" Type="http://schemas.openxmlformats.org/officeDocument/2006/relationships/themeOverride" Target="../theme/themeOverride738.xml"/></Relationships>
</file>

<file path=ppt/slides/_rels/slide741.xml.rels><?xml version="1.0" encoding="UTF-8" standalone="yes"?>
<Relationships xmlns="http://schemas.openxmlformats.org/package/2006/relationships"><Relationship Id="rId3" Type="http://schemas.openxmlformats.org/officeDocument/2006/relationships/notesSlide" Target="../notesSlides/notesSlide329.xml"/><Relationship Id="rId2" Type="http://schemas.openxmlformats.org/officeDocument/2006/relationships/slideLayout" Target="../slideLayouts/slideLayout2.xml"/><Relationship Id="rId1" Type="http://schemas.openxmlformats.org/officeDocument/2006/relationships/themeOverride" Target="../theme/themeOverride739.xml"/></Relationships>
</file>

<file path=ppt/slides/_rels/slide742.xml.rels><?xml version="1.0" encoding="UTF-8" standalone="yes"?>
<Relationships xmlns="http://schemas.openxmlformats.org/package/2006/relationships"><Relationship Id="rId3" Type="http://schemas.openxmlformats.org/officeDocument/2006/relationships/notesSlide" Target="../notesSlides/notesSlide330.xml"/><Relationship Id="rId2" Type="http://schemas.openxmlformats.org/officeDocument/2006/relationships/slideLayout" Target="../slideLayouts/slideLayout2.xml"/><Relationship Id="rId1" Type="http://schemas.openxmlformats.org/officeDocument/2006/relationships/themeOverride" Target="../theme/themeOverride740.xml"/></Relationships>
</file>

<file path=ppt/slides/_rels/slide743.xml.rels><?xml version="1.0" encoding="UTF-8" standalone="yes"?>
<Relationships xmlns="http://schemas.openxmlformats.org/package/2006/relationships"><Relationship Id="rId3" Type="http://schemas.openxmlformats.org/officeDocument/2006/relationships/notesSlide" Target="../notesSlides/notesSlide331.xml"/><Relationship Id="rId2" Type="http://schemas.openxmlformats.org/officeDocument/2006/relationships/slideLayout" Target="../slideLayouts/slideLayout2.xml"/><Relationship Id="rId1" Type="http://schemas.openxmlformats.org/officeDocument/2006/relationships/themeOverride" Target="../theme/themeOverride741.xml"/></Relationships>
</file>

<file path=ppt/slides/_rels/slide744.xml.rels><?xml version="1.0" encoding="UTF-8" standalone="yes"?>
<Relationships xmlns="http://schemas.openxmlformats.org/package/2006/relationships"><Relationship Id="rId3" Type="http://schemas.openxmlformats.org/officeDocument/2006/relationships/notesSlide" Target="../notesSlides/notesSlide332.xml"/><Relationship Id="rId2" Type="http://schemas.openxmlformats.org/officeDocument/2006/relationships/slideLayout" Target="../slideLayouts/slideLayout2.xml"/><Relationship Id="rId1" Type="http://schemas.openxmlformats.org/officeDocument/2006/relationships/themeOverride" Target="../theme/themeOverride742.xml"/></Relationships>
</file>

<file path=ppt/slides/_rels/slide745.xml.rels><?xml version="1.0" encoding="UTF-8" standalone="yes"?>
<Relationships xmlns="http://schemas.openxmlformats.org/package/2006/relationships"><Relationship Id="rId3" Type="http://schemas.openxmlformats.org/officeDocument/2006/relationships/notesSlide" Target="../notesSlides/notesSlide333.xml"/><Relationship Id="rId2" Type="http://schemas.openxmlformats.org/officeDocument/2006/relationships/slideLayout" Target="../slideLayouts/slideLayout2.xml"/><Relationship Id="rId1" Type="http://schemas.openxmlformats.org/officeDocument/2006/relationships/themeOverride" Target="../theme/themeOverride743.xml"/></Relationships>
</file>

<file path=ppt/slides/_rels/slide746.xml.rels><?xml version="1.0" encoding="UTF-8" standalone="yes"?>
<Relationships xmlns="http://schemas.openxmlformats.org/package/2006/relationships"><Relationship Id="rId3" Type="http://schemas.openxmlformats.org/officeDocument/2006/relationships/notesSlide" Target="../notesSlides/notesSlide334.xml"/><Relationship Id="rId2" Type="http://schemas.openxmlformats.org/officeDocument/2006/relationships/slideLayout" Target="../slideLayouts/slideLayout2.xml"/><Relationship Id="rId1" Type="http://schemas.openxmlformats.org/officeDocument/2006/relationships/themeOverride" Target="../theme/themeOverride744.xml"/></Relationships>
</file>

<file path=ppt/slides/_rels/slide747.xml.rels><?xml version="1.0" encoding="UTF-8" standalone="yes"?>
<Relationships xmlns="http://schemas.openxmlformats.org/package/2006/relationships"><Relationship Id="rId3" Type="http://schemas.openxmlformats.org/officeDocument/2006/relationships/notesSlide" Target="../notesSlides/notesSlide335.xml"/><Relationship Id="rId2" Type="http://schemas.openxmlformats.org/officeDocument/2006/relationships/slideLayout" Target="../slideLayouts/slideLayout2.xml"/><Relationship Id="rId1" Type="http://schemas.openxmlformats.org/officeDocument/2006/relationships/themeOverride" Target="../theme/themeOverride745.xml"/></Relationships>
</file>

<file path=ppt/slides/_rels/slide748.xml.rels><?xml version="1.0" encoding="UTF-8" standalone="yes"?>
<Relationships xmlns="http://schemas.openxmlformats.org/package/2006/relationships"><Relationship Id="rId3" Type="http://schemas.openxmlformats.org/officeDocument/2006/relationships/notesSlide" Target="../notesSlides/notesSlide336.xml"/><Relationship Id="rId2" Type="http://schemas.openxmlformats.org/officeDocument/2006/relationships/slideLayout" Target="../slideLayouts/slideLayout2.xml"/><Relationship Id="rId1" Type="http://schemas.openxmlformats.org/officeDocument/2006/relationships/themeOverride" Target="../theme/themeOverride746.xml"/></Relationships>
</file>

<file path=ppt/slides/_rels/slide749.xml.rels><?xml version="1.0" encoding="UTF-8" standalone="yes"?>
<Relationships xmlns="http://schemas.openxmlformats.org/package/2006/relationships"><Relationship Id="rId3" Type="http://schemas.openxmlformats.org/officeDocument/2006/relationships/notesSlide" Target="../notesSlides/notesSlide337.xml"/><Relationship Id="rId2" Type="http://schemas.openxmlformats.org/officeDocument/2006/relationships/slideLayout" Target="../slideLayouts/slideLayout2.xml"/><Relationship Id="rId1" Type="http://schemas.openxmlformats.org/officeDocument/2006/relationships/themeOverride" Target="../theme/themeOverride747.xml"/></Relationships>
</file>

<file path=ppt/slides/_rels/slide75.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hemeOverride" Target="../theme/themeOverride74.xml"/></Relationships>
</file>

<file path=ppt/slides/_rels/slide750.xml.rels><?xml version="1.0" encoding="UTF-8" standalone="yes"?>
<Relationships xmlns="http://schemas.openxmlformats.org/package/2006/relationships"><Relationship Id="rId3" Type="http://schemas.openxmlformats.org/officeDocument/2006/relationships/notesSlide" Target="../notesSlides/notesSlide338.xml"/><Relationship Id="rId2" Type="http://schemas.openxmlformats.org/officeDocument/2006/relationships/slideLayout" Target="../slideLayouts/slideLayout2.xml"/><Relationship Id="rId1" Type="http://schemas.openxmlformats.org/officeDocument/2006/relationships/themeOverride" Target="../theme/themeOverride748.xml"/></Relationships>
</file>

<file path=ppt/slides/_rels/slide751.xml.rels><?xml version="1.0" encoding="UTF-8" standalone="yes"?>
<Relationships xmlns="http://schemas.openxmlformats.org/package/2006/relationships"><Relationship Id="rId3" Type="http://schemas.openxmlformats.org/officeDocument/2006/relationships/notesSlide" Target="../notesSlides/notesSlide339.xml"/><Relationship Id="rId2" Type="http://schemas.openxmlformats.org/officeDocument/2006/relationships/slideLayout" Target="../slideLayouts/slideLayout2.xml"/><Relationship Id="rId1" Type="http://schemas.openxmlformats.org/officeDocument/2006/relationships/themeOverride" Target="../theme/themeOverride749.xml"/></Relationships>
</file>

<file path=ppt/slides/_rels/slide752.xml.rels><?xml version="1.0" encoding="UTF-8" standalone="yes"?>
<Relationships xmlns="http://schemas.openxmlformats.org/package/2006/relationships"><Relationship Id="rId3" Type="http://schemas.openxmlformats.org/officeDocument/2006/relationships/notesSlide" Target="../notesSlides/notesSlide340.xml"/><Relationship Id="rId2" Type="http://schemas.openxmlformats.org/officeDocument/2006/relationships/slideLayout" Target="../slideLayouts/slideLayout2.xml"/><Relationship Id="rId1" Type="http://schemas.openxmlformats.org/officeDocument/2006/relationships/themeOverride" Target="../theme/themeOverride750.xml"/></Relationships>
</file>

<file path=ppt/slides/_rels/slide753.xml.rels><?xml version="1.0" encoding="UTF-8" standalone="yes"?>
<Relationships xmlns="http://schemas.openxmlformats.org/package/2006/relationships"><Relationship Id="rId3" Type="http://schemas.openxmlformats.org/officeDocument/2006/relationships/notesSlide" Target="../notesSlides/notesSlide341.xml"/><Relationship Id="rId2" Type="http://schemas.openxmlformats.org/officeDocument/2006/relationships/slideLayout" Target="../slideLayouts/slideLayout2.xml"/><Relationship Id="rId1" Type="http://schemas.openxmlformats.org/officeDocument/2006/relationships/themeOverride" Target="../theme/themeOverride751.xml"/></Relationships>
</file>

<file path=ppt/slides/_rels/slide754.xml.rels><?xml version="1.0" encoding="UTF-8" standalone="yes"?>
<Relationships xmlns="http://schemas.openxmlformats.org/package/2006/relationships"><Relationship Id="rId3" Type="http://schemas.openxmlformats.org/officeDocument/2006/relationships/notesSlide" Target="../notesSlides/notesSlide342.xml"/><Relationship Id="rId2" Type="http://schemas.openxmlformats.org/officeDocument/2006/relationships/slideLayout" Target="../slideLayouts/slideLayout2.xml"/><Relationship Id="rId1" Type="http://schemas.openxmlformats.org/officeDocument/2006/relationships/themeOverride" Target="../theme/themeOverride752.xml"/></Relationships>
</file>

<file path=ppt/slides/_rels/slide755.xml.rels><?xml version="1.0" encoding="UTF-8" standalone="yes"?>
<Relationships xmlns="http://schemas.openxmlformats.org/package/2006/relationships"><Relationship Id="rId3" Type="http://schemas.openxmlformats.org/officeDocument/2006/relationships/notesSlide" Target="../notesSlides/notesSlide343.xml"/><Relationship Id="rId2" Type="http://schemas.openxmlformats.org/officeDocument/2006/relationships/slideLayout" Target="../slideLayouts/slideLayout2.xml"/><Relationship Id="rId1" Type="http://schemas.openxmlformats.org/officeDocument/2006/relationships/themeOverride" Target="../theme/themeOverride753.xml"/></Relationships>
</file>

<file path=ppt/slides/_rels/slide756.xml.rels><?xml version="1.0" encoding="UTF-8" standalone="yes"?>
<Relationships xmlns="http://schemas.openxmlformats.org/package/2006/relationships"><Relationship Id="rId3" Type="http://schemas.openxmlformats.org/officeDocument/2006/relationships/notesSlide" Target="../notesSlides/notesSlide344.xml"/><Relationship Id="rId2" Type="http://schemas.openxmlformats.org/officeDocument/2006/relationships/slideLayout" Target="../slideLayouts/slideLayout2.xml"/><Relationship Id="rId1" Type="http://schemas.openxmlformats.org/officeDocument/2006/relationships/themeOverride" Target="../theme/themeOverride754.xml"/></Relationships>
</file>

<file path=ppt/slides/_rels/slide757.xml.rels><?xml version="1.0" encoding="UTF-8" standalone="yes"?>
<Relationships xmlns="http://schemas.openxmlformats.org/package/2006/relationships"><Relationship Id="rId3" Type="http://schemas.openxmlformats.org/officeDocument/2006/relationships/notesSlide" Target="../notesSlides/notesSlide345.xml"/><Relationship Id="rId2" Type="http://schemas.openxmlformats.org/officeDocument/2006/relationships/slideLayout" Target="../slideLayouts/slideLayout2.xml"/><Relationship Id="rId1" Type="http://schemas.openxmlformats.org/officeDocument/2006/relationships/themeOverride" Target="../theme/themeOverride755.xml"/></Relationships>
</file>

<file path=ppt/slides/_rels/slide758.xml.rels><?xml version="1.0" encoding="UTF-8" standalone="yes"?>
<Relationships xmlns="http://schemas.openxmlformats.org/package/2006/relationships"><Relationship Id="rId3" Type="http://schemas.openxmlformats.org/officeDocument/2006/relationships/notesSlide" Target="../notesSlides/notesSlide346.xml"/><Relationship Id="rId2" Type="http://schemas.openxmlformats.org/officeDocument/2006/relationships/slideLayout" Target="../slideLayouts/slideLayout2.xml"/><Relationship Id="rId1" Type="http://schemas.openxmlformats.org/officeDocument/2006/relationships/themeOverride" Target="../theme/themeOverride756.xml"/></Relationships>
</file>

<file path=ppt/slides/_rels/slide759.xml.rels><?xml version="1.0" encoding="UTF-8" standalone="yes"?>
<Relationships xmlns="http://schemas.openxmlformats.org/package/2006/relationships"><Relationship Id="rId3" Type="http://schemas.openxmlformats.org/officeDocument/2006/relationships/notesSlide" Target="../notesSlides/notesSlide347.xml"/><Relationship Id="rId2" Type="http://schemas.openxmlformats.org/officeDocument/2006/relationships/slideLayout" Target="../slideLayouts/slideLayout2.xml"/><Relationship Id="rId1" Type="http://schemas.openxmlformats.org/officeDocument/2006/relationships/themeOverride" Target="../theme/themeOverride757.xml"/></Relationships>
</file>

<file path=ppt/slides/_rels/slide76.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hemeOverride" Target="../theme/themeOverride75.xml"/></Relationships>
</file>

<file path=ppt/slides/_rels/slide760.xml.rels><?xml version="1.0" encoding="UTF-8" standalone="yes"?>
<Relationships xmlns="http://schemas.openxmlformats.org/package/2006/relationships"><Relationship Id="rId3" Type="http://schemas.openxmlformats.org/officeDocument/2006/relationships/notesSlide" Target="../notesSlides/notesSlide348.xml"/><Relationship Id="rId2" Type="http://schemas.openxmlformats.org/officeDocument/2006/relationships/slideLayout" Target="../slideLayouts/slideLayout2.xml"/><Relationship Id="rId1" Type="http://schemas.openxmlformats.org/officeDocument/2006/relationships/themeOverride" Target="../theme/themeOverride758.xml"/></Relationships>
</file>

<file path=ppt/slides/_rels/slide761.xml.rels><?xml version="1.0" encoding="UTF-8" standalone="yes"?>
<Relationships xmlns="http://schemas.openxmlformats.org/package/2006/relationships"><Relationship Id="rId3" Type="http://schemas.openxmlformats.org/officeDocument/2006/relationships/notesSlide" Target="../notesSlides/notesSlide349.xml"/><Relationship Id="rId2" Type="http://schemas.openxmlformats.org/officeDocument/2006/relationships/slideLayout" Target="../slideLayouts/slideLayout2.xml"/><Relationship Id="rId1" Type="http://schemas.openxmlformats.org/officeDocument/2006/relationships/themeOverride" Target="../theme/themeOverride759.xml"/></Relationships>
</file>

<file path=ppt/slides/_rels/slide762.xml.rels><?xml version="1.0" encoding="UTF-8" standalone="yes"?>
<Relationships xmlns="http://schemas.openxmlformats.org/package/2006/relationships"><Relationship Id="rId3" Type="http://schemas.openxmlformats.org/officeDocument/2006/relationships/notesSlide" Target="../notesSlides/notesSlide350.xml"/><Relationship Id="rId2" Type="http://schemas.openxmlformats.org/officeDocument/2006/relationships/slideLayout" Target="../slideLayouts/slideLayout2.xml"/><Relationship Id="rId1" Type="http://schemas.openxmlformats.org/officeDocument/2006/relationships/themeOverride" Target="../theme/themeOverride760.xml"/></Relationships>
</file>

<file path=ppt/slides/_rels/slide763.xml.rels><?xml version="1.0" encoding="UTF-8" standalone="yes"?>
<Relationships xmlns="http://schemas.openxmlformats.org/package/2006/relationships"><Relationship Id="rId3" Type="http://schemas.openxmlformats.org/officeDocument/2006/relationships/notesSlide" Target="../notesSlides/notesSlide351.xml"/><Relationship Id="rId2" Type="http://schemas.openxmlformats.org/officeDocument/2006/relationships/slideLayout" Target="../slideLayouts/slideLayout2.xml"/><Relationship Id="rId1" Type="http://schemas.openxmlformats.org/officeDocument/2006/relationships/themeOverride" Target="../theme/themeOverride761.xml"/></Relationships>
</file>

<file path=ppt/slides/_rels/slide764.xml.rels><?xml version="1.0" encoding="UTF-8" standalone="yes"?>
<Relationships xmlns="http://schemas.openxmlformats.org/package/2006/relationships"><Relationship Id="rId3" Type="http://schemas.openxmlformats.org/officeDocument/2006/relationships/notesSlide" Target="../notesSlides/notesSlide352.xml"/><Relationship Id="rId2" Type="http://schemas.openxmlformats.org/officeDocument/2006/relationships/slideLayout" Target="../slideLayouts/slideLayout2.xml"/><Relationship Id="rId1" Type="http://schemas.openxmlformats.org/officeDocument/2006/relationships/themeOverride" Target="../theme/themeOverride762.xml"/></Relationships>
</file>

<file path=ppt/slides/_rels/slide765.xml.rels><?xml version="1.0" encoding="UTF-8" standalone="yes"?>
<Relationships xmlns="http://schemas.openxmlformats.org/package/2006/relationships"><Relationship Id="rId3" Type="http://schemas.openxmlformats.org/officeDocument/2006/relationships/notesSlide" Target="../notesSlides/notesSlide353.xml"/><Relationship Id="rId2" Type="http://schemas.openxmlformats.org/officeDocument/2006/relationships/slideLayout" Target="../slideLayouts/slideLayout2.xml"/><Relationship Id="rId1" Type="http://schemas.openxmlformats.org/officeDocument/2006/relationships/themeOverride" Target="../theme/themeOverride763.xml"/></Relationships>
</file>

<file path=ppt/slides/_rels/slide766.xml.rels><?xml version="1.0" encoding="UTF-8" standalone="yes"?>
<Relationships xmlns="http://schemas.openxmlformats.org/package/2006/relationships"><Relationship Id="rId3" Type="http://schemas.openxmlformats.org/officeDocument/2006/relationships/notesSlide" Target="../notesSlides/notesSlide354.xml"/><Relationship Id="rId2" Type="http://schemas.openxmlformats.org/officeDocument/2006/relationships/slideLayout" Target="../slideLayouts/slideLayout2.xml"/><Relationship Id="rId1" Type="http://schemas.openxmlformats.org/officeDocument/2006/relationships/themeOverride" Target="../theme/themeOverride764.xml"/></Relationships>
</file>

<file path=ppt/slides/_rels/slide767.xml.rels><?xml version="1.0" encoding="UTF-8" standalone="yes"?>
<Relationships xmlns="http://schemas.openxmlformats.org/package/2006/relationships"><Relationship Id="rId3" Type="http://schemas.openxmlformats.org/officeDocument/2006/relationships/notesSlide" Target="../notesSlides/notesSlide355.xml"/><Relationship Id="rId2" Type="http://schemas.openxmlformats.org/officeDocument/2006/relationships/slideLayout" Target="../slideLayouts/slideLayout2.xml"/><Relationship Id="rId1" Type="http://schemas.openxmlformats.org/officeDocument/2006/relationships/themeOverride" Target="../theme/themeOverride765.xml"/></Relationships>
</file>

<file path=ppt/slides/_rels/slide768.xml.rels><?xml version="1.0" encoding="UTF-8" standalone="yes"?>
<Relationships xmlns="http://schemas.openxmlformats.org/package/2006/relationships"><Relationship Id="rId3" Type="http://schemas.openxmlformats.org/officeDocument/2006/relationships/notesSlide" Target="../notesSlides/notesSlide356.xml"/><Relationship Id="rId2" Type="http://schemas.openxmlformats.org/officeDocument/2006/relationships/slideLayout" Target="../slideLayouts/slideLayout2.xml"/><Relationship Id="rId1" Type="http://schemas.openxmlformats.org/officeDocument/2006/relationships/themeOverride" Target="../theme/themeOverride766.xml"/></Relationships>
</file>

<file path=ppt/slides/_rels/slide769.xml.rels><?xml version="1.0" encoding="UTF-8" standalone="yes"?>
<Relationships xmlns="http://schemas.openxmlformats.org/package/2006/relationships"><Relationship Id="rId3" Type="http://schemas.openxmlformats.org/officeDocument/2006/relationships/notesSlide" Target="../notesSlides/notesSlide357.xml"/><Relationship Id="rId2" Type="http://schemas.openxmlformats.org/officeDocument/2006/relationships/slideLayout" Target="../slideLayouts/slideLayout2.xml"/><Relationship Id="rId1" Type="http://schemas.openxmlformats.org/officeDocument/2006/relationships/themeOverride" Target="../theme/themeOverride767.xml"/></Relationships>
</file>

<file path=ppt/slides/_rels/slide77.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hemeOverride" Target="../theme/themeOverride76.xml"/></Relationships>
</file>

<file path=ppt/slides/_rels/slide770.xml.rels><?xml version="1.0" encoding="UTF-8" standalone="yes"?>
<Relationships xmlns="http://schemas.openxmlformats.org/package/2006/relationships"><Relationship Id="rId3" Type="http://schemas.openxmlformats.org/officeDocument/2006/relationships/notesSlide" Target="../notesSlides/notesSlide358.xml"/><Relationship Id="rId2" Type="http://schemas.openxmlformats.org/officeDocument/2006/relationships/slideLayout" Target="../slideLayouts/slideLayout2.xml"/><Relationship Id="rId1" Type="http://schemas.openxmlformats.org/officeDocument/2006/relationships/themeOverride" Target="../theme/themeOverride768.xml"/></Relationships>
</file>

<file path=ppt/slides/_rels/slide771.xml.rels><?xml version="1.0" encoding="UTF-8" standalone="yes"?>
<Relationships xmlns="http://schemas.openxmlformats.org/package/2006/relationships"><Relationship Id="rId3" Type="http://schemas.openxmlformats.org/officeDocument/2006/relationships/notesSlide" Target="../notesSlides/notesSlide359.xml"/><Relationship Id="rId2" Type="http://schemas.openxmlformats.org/officeDocument/2006/relationships/slideLayout" Target="../slideLayouts/slideLayout2.xml"/><Relationship Id="rId1" Type="http://schemas.openxmlformats.org/officeDocument/2006/relationships/themeOverride" Target="../theme/themeOverride769.xml"/></Relationships>
</file>

<file path=ppt/slides/_rels/slide772.xml.rels><?xml version="1.0" encoding="UTF-8" standalone="yes"?>
<Relationships xmlns="http://schemas.openxmlformats.org/package/2006/relationships"><Relationship Id="rId3" Type="http://schemas.openxmlformats.org/officeDocument/2006/relationships/notesSlide" Target="../notesSlides/notesSlide360.xml"/><Relationship Id="rId2" Type="http://schemas.openxmlformats.org/officeDocument/2006/relationships/slideLayout" Target="../slideLayouts/slideLayout2.xml"/><Relationship Id="rId1" Type="http://schemas.openxmlformats.org/officeDocument/2006/relationships/themeOverride" Target="../theme/themeOverride770.xml"/></Relationships>
</file>

<file path=ppt/slides/_rels/slide773.xml.rels><?xml version="1.0" encoding="UTF-8" standalone="yes"?>
<Relationships xmlns="http://schemas.openxmlformats.org/package/2006/relationships"><Relationship Id="rId3" Type="http://schemas.openxmlformats.org/officeDocument/2006/relationships/notesSlide" Target="../notesSlides/notesSlide361.xml"/><Relationship Id="rId2" Type="http://schemas.openxmlformats.org/officeDocument/2006/relationships/slideLayout" Target="../slideLayouts/slideLayout2.xml"/><Relationship Id="rId1" Type="http://schemas.openxmlformats.org/officeDocument/2006/relationships/themeOverride" Target="../theme/themeOverride771.xml"/></Relationships>
</file>

<file path=ppt/slides/_rels/slide774.xml.rels><?xml version="1.0" encoding="UTF-8" standalone="yes"?>
<Relationships xmlns="http://schemas.openxmlformats.org/package/2006/relationships"><Relationship Id="rId3" Type="http://schemas.openxmlformats.org/officeDocument/2006/relationships/notesSlide" Target="../notesSlides/notesSlide362.xml"/><Relationship Id="rId2" Type="http://schemas.openxmlformats.org/officeDocument/2006/relationships/slideLayout" Target="../slideLayouts/slideLayout2.xml"/><Relationship Id="rId1" Type="http://schemas.openxmlformats.org/officeDocument/2006/relationships/themeOverride" Target="../theme/themeOverride772.xml"/></Relationships>
</file>

<file path=ppt/slides/_rels/slide775.xml.rels><?xml version="1.0" encoding="UTF-8" standalone="yes"?>
<Relationships xmlns="http://schemas.openxmlformats.org/package/2006/relationships"><Relationship Id="rId3" Type="http://schemas.openxmlformats.org/officeDocument/2006/relationships/notesSlide" Target="../notesSlides/notesSlide363.xml"/><Relationship Id="rId2" Type="http://schemas.openxmlformats.org/officeDocument/2006/relationships/slideLayout" Target="../slideLayouts/slideLayout2.xml"/><Relationship Id="rId1" Type="http://schemas.openxmlformats.org/officeDocument/2006/relationships/themeOverride" Target="../theme/themeOverride773.xml"/></Relationships>
</file>

<file path=ppt/slides/_rels/slide776.xml.rels><?xml version="1.0" encoding="UTF-8" standalone="yes"?>
<Relationships xmlns="http://schemas.openxmlformats.org/package/2006/relationships"><Relationship Id="rId3" Type="http://schemas.openxmlformats.org/officeDocument/2006/relationships/notesSlide" Target="../notesSlides/notesSlide364.xml"/><Relationship Id="rId2" Type="http://schemas.openxmlformats.org/officeDocument/2006/relationships/slideLayout" Target="../slideLayouts/slideLayout2.xml"/><Relationship Id="rId1" Type="http://schemas.openxmlformats.org/officeDocument/2006/relationships/themeOverride" Target="../theme/themeOverride774.xml"/></Relationships>
</file>

<file path=ppt/slides/_rels/slide777.xml.rels><?xml version="1.0" encoding="UTF-8" standalone="yes"?>
<Relationships xmlns="http://schemas.openxmlformats.org/package/2006/relationships"><Relationship Id="rId3" Type="http://schemas.openxmlformats.org/officeDocument/2006/relationships/notesSlide" Target="../notesSlides/notesSlide365.xml"/><Relationship Id="rId2" Type="http://schemas.openxmlformats.org/officeDocument/2006/relationships/slideLayout" Target="../slideLayouts/slideLayout2.xml"/><Relationship Id="rId1" Type="http://schemas.openxmlformats.org/officeDocument/2006/relationships/themeOverride" Target="../theme/themeOverride775.xml"/></Relationships>
</file>

<file path=ppt/slides/_rels/slide778.xml.rels><?xml version="1.0" encoding="UTF-8" standalone="yes"?>
<Relationships xmlns="http://schemas.openxmlformats.org/package/2006/relationships"><Relationship Id="rId3" Type="http://schemas.openxmlformats.org/officeDocument/2006/relationships/notesSlide" Target="../notesSlides/notesSlide366.xml"/><Relationship Id="rId2" Type="http://schemas.openxmlformats.org/officeDocument/2006/relationships/slideLayout" Target="../slideLayouts/slideLayout2.xml"/><Relationship Id="rId1" Type="http://schemas.openxmlformats.org/officeDocument/2006/relationships/themeOverride" Target="../theme/themeOverride776.xml"/></Relationships>
</file>

<file path=ppt/slides/_rels/slide779.xml.rels><?xml version="1.0" encoding="UTF-8" standalone="yes"?>
<Relationships xmlns="http://schemas.openxmlformats.org/package/2006/relationships"><Relationship Id="rId3" Type="http://schemas.openxmlformats.org/officeDocument/2006/relationships/notesSlide" Target="../notesSlides/notesSlide367.xml"/><Relationship Id="rId2" Type="http://schemas.openxmlformats.org/officeDocument/2006/relationships/slideLayout" Target="../slideLayouts/slideLayout2.xml"/><Relationship Id="rId1" Type="http://schemas.openxmlformats.org/officeDocument/2006/relationships/themeOverride" Target="../theme/themeOverride777.xml"/></Relationships>
</file>

<file path=ppt/slides/_rels/slide78.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hemeOverride" Target="../theme/themeOverride77.xml"/></Relationships>
</file>

<file path=ppt/slides/_rels/slide780.xml.rels><?xml version="1.0" encoding="UTF-8" standalone="yes"?>
<Relationships xmlns="http://schemas.openxmlformats.org/package/2006/relationships"><Relationship Id="rId3" Type="http://schemas.openxmlformats.org/officeDocument/2006/relationships/notesSlide" Target="../notesSlides/notesSlide368.xml"/><Relationship Id="rId2" Type="http://schemas.openxmlformats.org/officeDocument/2006/relationships/slideLayout" Target="../slideLayouts/slideLayout2.xml"/><Relationship Id="rId1" Type="http://schemas.openxmlformats.org/officeDocument/2006/relationships/themeOverride" Target="../theme/themeOverride778.xml"/></Relationships>
</file>

<file path=ppt/slides/_rels/slide781.xml.rels><?xml version="1.0" encoding="UTF-8" standalone="yes"?>
<Relationships xmlns="http://schemas.openxmlformats.org/package/2006/relationships"><Relationship Id="rId3" Type="http://schemas.openxmlformats.org/officeDocument/2006/relationships/notesSlide" Target="../notesSlides/notesSlide369.xml"/><Relationship Id="rId2" Type="http://schemas.openxmlformats.org/officeDocument/2006/relationships/slideLayout" Target="../slideLayouts/slideLayout2.xml"/><Relationship Id="rId1" Type="http://schemas.openxmlformats.org/officeDocument/2006/relationships/themeOverride" Target="../theme/themeOverride779.xml"/></Relationships>
</file>

<file path=ppt/slides/_rels/slide782.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122.xml"/><Relationship Id="rId1" Type="http://schemas.openxmlformats.org/officeDocument/2006/relationships/themeOverride" Target="../theme/themeOverride780.xml"/><Relationship Id="rId4" Type="http://schemas.openxmlformats.org/officeDocument/2006/relationships/notesSlide" Target="../notesSlides/notesSlide370.xml"/></Relationships>
</file>

<file path=ppt/slides/_rels/slide783.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123.xml"/><Relationship Id="rId1" Type="http://schemas.openxmlformats.org/officeDocument/2006/relationships/themeOverride" Target="../theme/themeOverride781.xml"/><Relationship Id="rId4" Type="http://schemas.openxmlformats.org/officeDocument/2006/relationships/notesSlide" Target="../notesSlides/notesSlide371.xml"/></Relationships>
</file>

<file path=ppt/slides/_rels/slide784.xml.rels><?xml version="1.0" encoding="UTF-8" standalone="yes"?>
<Relationships xmlns="http://schemas.openxmlformats.org/package/2006/relationships"><Relationship Id="rId3" Type="http://schemas.openxmlformats.org/officeDocument/2006/relationships/notesSlide" Target="../notesSlides/notesSlide372.xml"/><Relationship Id="rId2" Type="http://schemas.openxmlformats.org/officeDocument/2006/relationships/slideLayout" Target="../slideLayouts/slideLayout11.xml"/><Relationship Id="rId1" Type="http://schemas.openxmlformats.org/officeDocument/2006/relationships/themeOverride" Target="../theme/themeOverride782.xml"/></Relationships>
</file>

<file path=ppt/slides/_rels/slide785.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124.xml"/><Relationship Id="rId1" Type="http://schemas.openxmlformats.org/officeDocument/2006/relationships/themeOverride" Target="../theme/themeOverride783.xml"/><Relationship Id="rId4" Type="http://schemas.openxmlformats.org/officeDocument/2006/relationships/notesSlide" Target="../notesSlides/notesSlide373.xml"/></Relationships>
</file>

<file path=ppt/slides/_rels/slide786.xml.rels><?xml version="1.0" encoding="UTF-8" standalone="yes"?>
<Relationships xmlns="http://schemas.openxmlformats.org/package/2006/relationships"><Relationship Id="rId3" Type="http://schemas.openxmlformats.org/officeDocument/2006/relationships/notesSlide" Target="../notesSlides/notesSlide374.xml"/><Relationship Id="rId2" Type="http://schemas.openxmlformats.org/officeDocument/2006/relationships/slideLayout" Target="../slideLayouts/slideLayout12.xml"/><Relationship Id="rId1" Type="http://schemas.openxmlformats.org/officeDocument/2006/relationships/themeOverride" Target="../theme/themeOverride784.xml"/></Relationships>
</file>

<file path=ppt/slides/_rels/slide787.xml.rels><?xml version="1.0" encoding="UTF-8" standalone="yes"?>
<Relationships xmlns="http://schemas.openxmlformats.org/package/2006/relationships"><Relationship Id="rId3" Type="http://schemas.openxmlformats.org/officeDocument/2006/relationships/notesSlide" Target="../notesSlides/notesSlide375.xml"/><Relationship Id="rId2" Type="http://schemas.openxmlformats.org/officeDocument/2006/relationships/slideLayout" Target="../slideLayouts/slideLayout11.xml"/><Relationship Id="rId1" Type="http://schemas.openxmlformats.org/officeDocument/2006/relationships/themeOverride" Target="../theme/themeOverride785.xml"/></Relationships>
</file>

<file path=ppt/slides/_rels/slide788.xml.rels><?xml version="1.0" encoding="UTF-8" standalone="yes"?>
<Relationships xmlns="http://schemas.openxmlformats.org/package/2006/relationships"><Relationship Id="rId8" Type="http://schemas.openxmlformats.org/officeDocument/2006/relationships/image" Target="../media/image73.png"/><Relationship Id="rId3" Type="http://schemas.openxmlformats.org/officeDocument/2006/relationships/slideLayout" Target="../slideLayouts/slideLayout11.xml"/><Relationship Id="rId7" Type="http://schemas.openxmlformats.org/officeDocument/2006/relationships/image" Target="../media/image72.png"/><Relationship Id="rId2" Type="http://schemas.openxmlformats.org/officeDocument/2006/relationships/tags" Target="../tags/tag125.xml"/><Relationship Id="rId1" Type="http://schemas.openxmlformats.org/officeDocument/2006/relationships/themeOverride" Target="../theme/themeOverride786.xml"/><Relationship Id="rId6" Type="http://schemas.openxmlformats.org/officeDocument/2006/relationships/image" Target="../media/image71.png"/><Relationship Id="rId11" Type="http://schemas.openxmlformats.org/officeDocument/2006/relationships/image" Target="../media/image76.png"/><Relationship Id="rId5" Type="http://schemas.openxmlformats.org/officeDocument/2006/relationships/image" Target="../media/image70.png"/><Relationship Id="rId10" Type="http://schemas.openxmlformats.org/officeDocument/2006/relationships/image" Target="../media/image75.png"/><Relationship Id="rId4" Type="http://schemas.openxmlformats.org/officeDocument/2006/relationships/notesSlide" Target="../notesSlides/notesSlide376.xml"/><Relationship Id="rId9" Type="http://schemas.openxmlformats.org/officeDocument/2006/relationships/image" Target="../media/image74.png"/></Relationships>
</file>

<file path=ppt/slides/_rels/slide789.xml.rels><?xml version="1.0" encoding="UTF-8" standalone="yes"?>
<Relationships xmlns="http://schemas.openxmlformats.org/package/2006/relationships"><Relationship Id="rId3" Type="http://schemas.openxmlformats.org/officeDocument/2006/relationships/notesSlide" Target="../notesSlides/notesSlide377.xml"/><Relationship Id="rId2" Type="http://schemas.openxmlformats.org/officeDocument/2006/relationships/slideLayout" Target="../slideLayouts/slideLayout2.xml"/><Relationship Id="rId1" Type="http://schemas.openxmlformats.org/officeDocument/2006/relationships/themeOverride" Target="../theme/themeOverride787.xml"/></Relationships>
</file>

<file path=ppt/slides/_rels/slide79.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hemeOverride" Target="../theme/themeOverride78.xml"/></Relationships>
</file>

<file path=ppt/slides/_rels/slide790.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126.xml"/><Relationship Id="rId1" Type="http://schemas.openxmlformats.org/officeDocument/2006/relationships/themeOverride" Target="../theme/themeOverride788.xml"/><Relationship Id="rId4" Type="http://schemas.openxmlformats.org/officeDocument/2006/relationships/notesSlide" Target="../notesSlides/notesSlide378.xml"/></Relationships>
</file>

<file path=ppt/slides/_rels/slide791.xml.rels><?xml version="1.0" encoding="UTF-8" standalone="yes"?>
<Relationships xmlns="http://schemas.openxmlformats.org/package/2006/relationships"><Relationship Id="rId3" Type="http://schemas.openxmlformats.org/officeDocument/2006/relationships/notesSlide" Target="../notesSlides/notesSlide379.xml"/><Relationship Id="rId7" Type="http://schemas.openxmlformats.org/officeDocument/2006/relationships/image" Target="../media/image80.svg"/><Relationship Id="rId2" Type="http://schemas.openxmlformats.org/officeDocument/2006/relationships/slideLayout" Target="../slideLayouts/slideLayout11.xml"/><Relationship Id="rId1" Type="http://schemas.openxmlformats.org/officeDocument/2006/relationships/themeOverride" Target="../theme/themeOverride789.xml"/><Relationship Id="rId6" Type="http://schemas.openxmlformats.org/officeDocument/2006/relationships/image" Target="../media/image79.png"/><Relationship Id="rId5" Type="http://schemas.openxmlformats.org/officeDocument/2006/relationships/image" Target="../media/image78.svg"/><Relationship Id="rId4" Type="http://schemas.openxmlformats.org/officeDocument/2006/relationships/image" Target="../media/image77.png"/></Relationships>
</file>

<file path=ppt/slides/_rels/slide792.xml.rels><?xml version="1.0" encoding="UTF-8" standalone="yes"?>
<Relationships xmlns="http://schemas.openxmlformats.org/package/2006/relationships"><Relationship Id="rId3" Type="http://schemas.openxmlformats.org/officeDocument/2006/relationships/notesSlide" Target="../notesSlides/notesSlide380.xml"/><Relationship Id="rId2" Type="http://schemas.openxmlformats.org/officeDocument/2006/relationships/slideLayout" Target="../slideLayouts/slideLayout2.xml"/><Relationship Id="rId1" Type="http://schemas.openxmlformats.org/officeDocument/2006/relationships/themeOverride" Target="../theme/themeOverride790.xml"/></Relationships>
</file>

<file path=ppt/slides/_rels/slide793.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127.xml"/><Relationship Id="rId1" Type="http://schemas.openxmlformats.org/officeDocument/2006/relationships/themeOverride" Target="../theme/themeOverride791.xml"/><Relationship Id="rId4" Type="http://schemas.openxmlformats.org/officeDocument/2006/relationships/notesSlide" Target="../notesSlides/notesSlide381.xml"/></Relationships>
</file>

<file path=ppt/slides/_rels/slide794.xml.rels><?xml version="1.0" encoding="UTF-8" standalone="yes"?>
<Relationships xmlns="http://schemas.openxmlformats.org/package/2006/relationships"><Relationship Id="rId3" Type="http://schemas.openxmlformats.org/officeDocument/2006/relationships/notesSlide" Target="../notesSlides/notesSlide382.xml"/><Relationship Id="rId2" Type="http://schemas.openxmlformats.org/officeDocument/2006/relationships/slideLayout" Target="../slideLayouts/slideLayout11.xml"/><Relationship Id="rId1" Type="http://schemas.openxmlformats.org/officeDocument/2006/relationships/themeOverride" Target="../theme/themeOverride792.xml"/></Relationships>
</file>

<file path=ppt/slides/_rels/slide795.xml.rels><?xml version="1.0" encoding="UTF-8" standalone="yes"?>
<Relationships xmlns="http://schemas.openxmlformats.org/package/2006/relationships"><Relationship Id="rId3" Type="http://schemas.openxmlformats.org/officeDocument/2006/relationships/notesSlide" Target="../notesSlides/notesSlide383.xml"/><Relationship Id="rId2" Type="http://schemas.openxmlformats.org/officeDocument/2006/relationships/slideLayout" Target="../slideLayouts/slideLayout11.xml"/><Relationship Id="rId1" Type="http://schemas.openxmlformats.org/officeDocument/2006/relationships/themeOverride" Target="../theme/themeOverride793.xml"/></Relationships>
</file>

<file path=ppt/slides/_rels/slide796.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128.xml"/><Relationship Id="rId1" Type="http://schemas.openxmlformats.org/officeDocument/2006/relationships/themeOverride" Target="../theme/themeOverride794.xml"/><Relationship Id="rId4" Type="http://schemas.openxmlformats.org/officeDocument/2006/relationships/notesSlide" Target="../notesSlides/notesSlide384.xml"/></Relationships>
</file>

<file path=ppt/slides/_rels/slide797.xml.rels><?xml version="1.0" encoding="UTF-8" standalone="yes"?>
<Relationships xmlns="http://schemas.openxmlformats.org/package/2006/relationships"><Relationship Id="rId3" Type="http://schemas.openxmlformats.org/officeDocument/2006/relationships/notesSlide" Target="../notesSlides/notesSlide385.xml"/><Relationship Id="rId2" Type="http://schemas.openxmlformats.org/officeDocument/2006/relationships/slideLayout" Target="../slideLayouts/slideLayout11.xml"/><Relationship Id="rId1" Type="http://schemas.openxmlformats.org/officeDocument/2006/relationships/themeOverride" Target="../theme/themeOverride795.xml"/><Relationship Id="rId6" Type="http://schemas.openxmlformats.org/officeDocument/2006/relationships/image" Target="../media/image26.png"/><Relationship Id="rId5" Type="http://schemas.openxmlformats.org/officeDocument/2006/relationships/image" Target="../media/image25.png"/><Relationship Id="rId4" Type="http://schemas.openxmlformats.org/officeDocument/2006/relationships/image" Target="../media/image24.png"/></Relationships>
</file>

<file path=ppt/slides/_rels/slide798.xml.rels><?xml version="1.0" encoding="UTF-8" standalone="yes"?>
<Relationships xmlns="http://schemas.openxmlformats.org/package/2006/relationships"><Relationship Id="rId3" Type="http://schemas.openxmlformats.org/officeDocument/2006/relationships/notesSlide" Target="../notesSlides/notesSlide386.xml"/><Relationship Id="rId2" Type="http://schemas.openxmlformats.org/officeDocument/2006/relationships/slideLayout" Target="../slideLayouts/slideLayout11.xml"/><Relationship Id="rId1" Type="http://schemas.openxmlformats.org/officeDocument/2006/relationships/themeOverride" Target="../theme/themeOverride796.xml"/><Relationship Id="rId6" Type="http://schemas.openxmlformats.org/officeDocument/2006/relationships/image" Target="../media/image83.png"/><Relationship Id="rId5" Type="http://schemas.openxmlformats.org/officeDocument/2006/relationships/image" Target="../media/image82.png"/><Relationship Id="rId4" Type="http://schemas.openxmlformats.org/officeDocument/2006/relationships/image" Target="../media/image81.png"/></Relationships>
</file>

<file path=ppt/slides/_rels/slide799.xml.rels><?xml version="1.0" encoding="UTF-8" standalone="yes"?>
<Relationships xmlns="http://schemas.openxmlformats.org/package/2006/relationships"><Relationship Id="rId3" Type="http://schemas.openxmlformats.org/officeDocument/2006/relationships/notesSlide" Target="../notesSlides/notesSlide387.xml"/><Relationship Id="rId2" Type="http://schemas.openxmlformats.org/officeDocument/2006/relationships/slideLayout" Target="../slideLayouts/slideLayout12.xml"/><Relationship Id="rId1" Type="http://schemas.openxmlformats.org/officeDocument/2006/relationships/themeOverride" Target="../theme/themeOverride797.xml"/></Relationships>
</file>

<file path=ppt/slides/_rels/slide8.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hemeOverride" Target="../theme/themeOverride7.xml"/></Relationships>
</file>

<file path=ppt/slides/_rels/slide80.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hemeOverride" Target="../theme/themeOverride79.xml"/></Relationships>
</file>

<file path=ppt/slides/_rels/slide800.xml.rels><?xml version="1.0" encoding="UTF-8" standalone="yes"?>
<Relationships xmlns="http://schemas.openxmlformats.org/package/2006/relationships"><Relationship Id="rId3" Type="http://schemas.openxmlformats.org/officeDocument/2006/relationships/notesSlide" Target="../notesSlides/notesSlide388.xml"/><Relationship Id="rId2" Type="http://schemas.openxmlformats.org/officeDocument/2006/relationships/slideLayout" Target="../slideLayouts/slideLayout11.xml"/><Relationship Id="rId1" Type="http://schemas.openxmlformats.org/officeDocument/2006/relationships/themeOverride" Target="../theme/themeOverride798.xml"/></Relationships>
</file>

<file path=ppt/slides/_rels/slide801.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129.xml"/><Relationship Id="rId1" Type="http://schemas.openxmlformats.org/officeDocument/2006/relationships/themeOverride" Target="../theme/themeOverride799.xml"/><Relationship Id="rId4" Type="http://schemas.openxmlformats.org/officeDocument/2006/relationships/notesSlide" Target="../notesSlides/notesSlide389.xml"/></Relationships>
</file>

<file path=ppt/slides/_rels/slide802.xml.rels><?xml version="1.0" encoding="UTF-8" standalone="yes"?>
<Relationships xmlns="http://schemas.openxmlformats.org/package/2006/relationships"><Relationship Id="rId3" Type="http://schemas.openxmlformats.org/officeDocument/2006/relationships/notesSlide" Target="../notesSlides/notesSlide390.xml"/><Relationship Id="rId2" Type="http://schemas.openxmlformats.org/officeDocument/2006/relationships/slideLayout" Target="../slideLayouts/slideLayout11.xml"/><Relationship Id="rId1" Type="http://schemas.openxmlformats.org/officeDocument/2006/relationships/themeOverride" Target="../theme/themeOverride800.xml"/></Relationships>
</file>

<file path=ppt/slides/_rels/slide803.xml.rels><?xml version="1.0" encoding="UTF-8" standalone="yes"?>
<Relationships xmlns="http://schemas.openxmlformats.org/package/2006/relationships"><Relationship Id="rId3" Type="http://schemas.openxmlformats.org/officeDocument/2006/relationships/notesSlide" Target="../notesSlides/notesSlide391.xml"/><Relationship Id="rId2" Type="http://schemas.openxmlformats.org/officeDocument/2006/relationships/slideLayout" Target="../slideLayouts/slideLayout11.xml"/><Relationship Id="rId1" Type="http://schemas.openxmlformats.org/officeDocument/2006/relationships/themeOverride" Target="../theme/themeOverride801.xml"/></Relationships>
</file>

<file path=ppt/slides/_rels/slide804.xml.rels><?xml version="1.0" encoding="UTF-8" standalone="yes"?>
<Relationships xmlns="http://schemas.openxmlformats.org/package/2006/relationships"><Relationship Id="rId3" Type="http://schemas.openxmlformats.org/officeDocument/2006/relationships/notesSlide" Target="../notesSlides/notesSlide392.xml"/><Relationship Id="rId2" Type="http://schemas.openxmlformats.org/officeDocument/2006/relationships/slideLayout" Target="../slideLayouts/slideLayout13.xml"/><Relationship Id="rId1" Type="http://schemas.openxmlformats.org/officeDocument/2006/relationships/themeOverride" Target="../theme/themeOverride802.xml"/></Relationships>
</file>

<file path=ppt/slides/_rels/slide805.xml.rels><?xml version="1.0" encoding="UTF-8" standalone="yes"?>
<Relationships xmlns="http://schemas.openxmlformats.org/package/2006/relationships"><Relationship Id="rId3" Type="http://schemas.openxmlformats.org/officeDocument/2006/relationships/notesSlide" Target="../notesSlides/notesSlide393.xml"/><Relationship Id="rId2" Type="http://schemas.openxmlformats.org/officeDocument/2006/relationships/slideLayout" Target="../slideLayouts/slideLayout14.xml"/><Relationship Id="rId1" Type="http://schemas.openxmlformats.org/officeDocument/2006/relationships/themeOverride" Target="../theme/themeOverride803.xml"/></Relationships>
</file>

<file path=ppt/slides/_rels/slide806.xml.rels><?xml version="1.0" encoding="UTF-8" standalone="yes"?>
<Relationships xmlns="http://schemas.openxmlformats.org/package/2006/relationships"><Relationship Id="rId3" Type="http://schemas.openxmlformats.org/officeDocument/2006/relationships/notesSlide" Target="../notesSlides/notesSlide394.xml"/><Relationship Id="rId2" Type="http://schemas.openxmlformats.org/officeDocument/2006/relationships/slideLayout" Target="../slideLayouts/slideLayout11.xml"/><Relationship Id="rId1" Type="http://schemas.openxmlformats.org/officeDocument/2006/relationships/themeOverride" Target="../theme/themeOverride804.xml"/></Relationships>
</file>

<file path=ppt/slides/_rels/slide807.xml.rels><?xml version="1.0" encoding="UTF-8" standalone="yes"?>
<Relationships xmlns="http://schemas.openxmlformats.org/package/2006/relationships"><Relationship Id="rId3" Type="http://schemas.openxmlformats.org/officeDocument/2006/relationships/notesSlide" Target="../notesSlides/notesSlide395.xml"/><Relationship Id="rId2" Type="http://schemas.openxmlformats.org/officeDocument/2006/relationships/slideLayout" Target="../slideLayouts/slideLayout2.xml"/><Relationship Id="rId1" Type="http://schemas.openxmlformats.org/officeDocument/2006/relationships/themeOverride" Target="../theme/themeOverride805.xml"/></Relationships>
</file>

<file path=ppt/slides/_rels/slide808.xml.rels><?xml version="1.0" encoding="UTF-8" standalone="yes"?>
<Relationships xmlns="http://schemas.openxmlformats.org/package/2006/relationships"><Relationship Id="rId8" Type="http://schemas.openxmlformats.org/officeDocument/2006/relationships/image" Target="../media/image88.png"/><Relationship Id="rId3" Type="http://schemas.openxmlformats.org/officeDocument/2006/relationships/notesSlide" Target="../notesSlides/notesSlide396.xml"/><Relationship Id="rId7" Type="http://schemas.openxmlformats.org/officeDocument/2006/relationships/image" Target="../media/image87.png"/><Relationship Id="rId2" Type="http://schemas.openxmlformats.org/officeDocument/2006/relationships/slideLayout" Target="../slideLayouts/slideLayout11.xml"/><Relationship Id="rId1" Type="http://schemas.openxmlformats.org/officeDocument/2006/relationships/themeOverride" Target="../theme/themeOverride806.xml"/><Relationship Id="rId6" Type="http://schemas.openxmlformats.org/officeDocument/2006/relationships/image" Target="../media/image86.png"/><Relationship Id="rId5" Type="http://schemas.openxmlformats.org/officeDocument/2006/relationships/image" Target="../media/image85.png"/><Relationship Id="rId4" Type="http://schemas.openxmlformats.org/officeDocument/2006/relationships/image" Target="../media/image84.png"/><Relationship Id="rId9" Type="http://schemas.openxmlformats.org/officeDocument/2006/relationships/image" Target="../media/image89.svg"/></Relationships>
</file>

<file path=ppt/slides/_rels/slide809.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130.xml"/><Relationship Id="rId1" Type="http://schemas.openxmlformats.org/officeDocument/2006/relationships/themeOverride" Target="../theme/themeOverride807.xml"/><Relationship Id="rId4" Type="http://schemas.openxmlformats.org/officeDocument/2006/relationships/notesSlide" Target="../notesSlides/notesSlide397.xml"/></Relationships>
</file>

<file path=ppt/slides/_rels/slide81.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hemeOverride" Target="../theme/themeOverride80.xml"/></Relationships>
</file>

<file path=ppt/slides/_rels/slide810.xml.rels><?xml version="1.0" encoding="UTF-8" standalone="yes"?>
<Relationships xmlns="http://schemas.openxmlformats.org/package/2006/relationships"><Relationship Id="rId3" Type="http://schemas.openxmlformats.org/officeDocument/2006/relationships/notesSlide" Target="../notesSlides/notesSlide398.xml"/><Relationship Id="rId2" Type="http://schemas.openxmlformats.org/officeDocument/2006/relationships/slideLayout" Target="../slideLayouts/slideLayout11.xml"/><Relationship Id="rId1" Type="http://schemas.openxmlformats.org/officeDocument/2006/relationships/themeOverride" Target="../theme/themeOverride808.xml"/></Relationships>
</file>

<file path=ppt/slides/_rels/slide811.xml.rels><?xml version="1.0" encoding="UTF-8" standalone="yes"?>
<Relationships xmlns="http://schemas.openxmlformats.org/package/2006/relationships"><Relationship Id="rId3" Type="http://schemas.openxmlformats.org/officeDocument/2006/relationships/notesSlide" Target="../notesSlides/notesSlide399.xml"/><Relationship Id="rId2" Type="http://schemas.openxmlformats.org/officeDocument/2006/relationships/slideLayout" Target="../slideLayouts/slideLayout11.xml"/><Relationship Id="rId1" Type="http://schemas.openxmlformats.org/officeDocument/2006/relationships/themeOverride" Target="../theme/themeOverride809.xml"/></Relationships>
</file>

<file path=ppt/slides/_rels/slide812.xml.rels><?xml version="1.0" encoding="UTF-8" standalone="yes"?>
<Relationships xmlns="http://schemas.openxmlformats.org/package/2006/relationships"><Relationship Id="rId3" Type="http://schemas.openxmlformats.org/officeDocument/2006/relationships/notesSlide" Target="../notesSlides/notesSlide400.xml"/><Relationship Id="rId2" Type="http://schemas.openxmlformats.org/officeDocument/2006/relationships/slideLayout" Target="../slideLayouts/slideLayout11.xml"/><Relationship Id="rId1" Type="http://schemas.openxmlformats.org/officeDocument/2006/relationships/themeOverride" Target="../theme/themeOverride810.xml"/><Relationship Id="rId4" Type="http://schemas.openxmlformats.org/officeDocument/2006/relationships/image" Target="../media/image90.png"/></Relationships>
</file>

<file path=ppt/slides/_rels/slide813.xml.rels><?xml version="1.0" encoding="UTF-8" standalone="yes"?>
<Relationships xmlns="http://schemas.openxmlformats.org/package/2006/relationships"><Relationship Id="rId3" Type="http://schemas.openxmlformats.org/officeDocument/2006/relationships/tags" Target="../tags/tag132.xml"/><Relationship Id="rId7" Type="http://schemas.openxmlformats.org/officeDocument/2006/relationships/image" Target="../media/image91.jpeg"/><Relationship Id="rId2" Type="http://schemas.openxmlformats.org/officeDocument/2006/relationships/tags" Target="../tags/tag131.xml"/><Relationship Id="rId1" Type="http://schemas.openxmlformats.org/officeDocument/2006/relationships/themeOverride" Target="../theme/themeOverride811.xml"/><Relationship Id="rId6" Type="http://schemas.openxmlformats.org/officeDocument/2006/relationships/notesSlide" Target="../notesSlides/notesSlide401.xml"/><Relationship Id="rId5" Type="http://schemas.openxmlformats.org/officeDocument/2006/relationships/slideLayout" Target="../slideLayouts/slideLayout2.xml"/><Relationship Id="rId4" Type="http://schemas.openxmlformats.org/officeDocument/2006/relationships/tags" Target="../tags/tag133.xml"/></Relationships>
</file>

<file path=ppt/slides/_rels/slide814.xml.rels><?xml version="1.0" encoding="UTF-8" standalone="yes"?>
<Relationships xmlns="http://schemas.openxmlformats.org/package/2006/relationships"><Relationship Id="rId3" Type="http://schemas.openxmlformats.org/officeDocument/2006/relationships/tags" Target="../tags/tag135.xml"/><Relationship Id="rId7" Type="http://schemas.openxmlformats.org/officeDocument/2006/relationships/image" Target="../media/image91.jpeg"/><Relationship Id="rId2" Type="http://schemas.openxmlformats.org/officeDocument/2006/relationships/tags" Target="../tags/tag134.xml"/><Relationship Id="rId1" Type="http://schemas.openxmlformats.org/officeDocument/2006/relationships/themeOverride" Target="../theme/themeOverride812.xml"/><Relationship Id="rId6" Type="http://schemas.openxmlformats.org/officeDocument/2006/relationships/notesSlide" Target="../notesSlides/notesSlide402.xml"/><Relationship Id="rId5" Type="http://schemas.openxmlformats.org/officeDocument/2006/relationships/slideLayout" Target="../slideLayouts/slideLayout2.xml"/><Relationship Id="rId4" Type="http://schemas.openxmlformats.org/officeDocument/2006/relationships/tags" Target="../tags/tag136.xml"/></Relationships>
</file>

<file path=ppt/slides/_rels/slide815.xml.rels><?xml version="1.0" encoding="UTF-8" standalone="yes"?>
<Relationships xmlns="http://schemas.openxmlformats.org/package/2006/relationships"><Relationship Id="rId3" Type="http://schemas.openxmlformats.org/officeDocument/2006/relationships/notesSlide" Target="../notesSlides/notesSlide403.xml"/><Relationship Id="rId2" Type="http://schemas.openxmlformats.org/officeDocument/2006/relationships/slideLayout" Target="../slideLayouts/slideLayout1.xml"/><Relationship Id="rId1" Type="http://schemas.openxmlformats.org/officeDocument/2006/relationships/themeOverride" Target="../theme/themeOverride813.xml"/></Relationships>
</file>

<file path=ppt/slides/_rels/slide816.xml.rels><?xml version="1.0" encoding="UTF-8" standalone="yes"?>
<Relationships xmlns="http://schemas.openxmlformats.org/package/2006/relationships"><Relationship Id="rId3" Type="http://schemas.openxmlformats.org/officeDocument/2006/relationships/notesSlide" Target="../notesSlides/notesSlide404.xml"/><Relationship Id="rId2" Type="http://schemas.openxmlformats.org/officeDocument/2006/relationships/slideLayout" Target="../slideLayouts/slideLayout2.xml"/><Relationship Id="rId1" Type="http://schemas.openxmlformats.org/officeDocument/2006/relationships/themeOverride" Target="../theme/themeOverride814.xml"/></Relationships>
</file>

<file path=ppt/slides/_rels/slide817.xml.rels><?xml version="1.0" encoding="UTF-8" standalone="yes"?>
<Relationships xmlns="http://schemas.openxmlformats.org/package/2006/relationships"><Relationship Id="rId3" Type="http://schemas.openxmlformats.org/officeDocument/2006/relationships/notesSlide" Target="../notesSlides/notesSlide405.xml"/><Relationship Id="rId2" Type="http://schemas.openxmlformats.org/officeDocument/2006/relationships/slideLayout" Target="../slideLayouts/slideLayout1.xml"/><Relationship Id="rId1" Type="http://schemas.openxmlformats.org/officeDocument/2006/relationships/themeOverride" Target="../theme/themeOverride815.xml"/></Relationships>
</file>

<file path=ppt/slides/_rels/slide818.xml.rels><?xml version="1.0" encoding="UTF-8" standalone="yes"?>
<Relationships xmlns="http://schemas.openxmlformats.org/package/2006/relationships"><Relationship Id="rId3" Type="http://schemas.openxmlformats.org/officeDocument/2006/relationships/notesSlide" Target="../notesSlides/notesSlide406.xml"/><Relationship Id="rId2" Type="http://schemas.openxmlformats.org/officeDocument/2006/relationships/slideLayout" Target="../slideLayouts/slideLayout11.xml"/><Relationship Id="rId1" Type="http://schemas.openxmlformats.org/officeDocument/2006/relationships/themeOverride" Target="../theme/themeOverride816.xml"/></Relationships>
</file>

<file path=ppt/slides/_rels/slide82.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hemeOverride" Target="../theme/themeOverride81.xml"/></Relationships>
</file>

<file path=ppt/slides/_rels/slide83.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hemeOverride" Target="../theme/themeOverride82.xml"/></Relationships>
</file>

<file path=ppt/slides/_rels/slide84.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3.xml"/><Relationship Id="rId1" Type="http://schemas.openxmlformats.org/officeDocument/2006/relationships/themeOverride" Target="../theme/themeOverride83.xml"/></Relationships>
</file>

<file path=ppt/slides/_rels/slide85.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hemeOverride" Target="../theme/themeOverride84.xml"/></Relationships>
</file>

<file path=ppt/slides/_rels/slide86.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hemeOverride" Target="../theme/themeOverride85.xml"/></Relationships>
</file>

<file path=ppt/slides/_rels/slide87.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hemeOverride" Target="../theme/themeOverride86.xml"/></Relationships>
</file>

<file path=ppt/slides/_rels/slide88.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hemeOverride" Target="../theme/themeOverride87.xml"/></Relationships>
</file>

<file path=ppt/slides/_rels/slide89.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hemeOverride" Target="../theme/themeOverride88.xml"/></Relationships>
</file>

<file path=ppt/slides/_rels/slide9.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hemeOverride" Target="../theme/themeOverride8.xml"/></Relationships>
</file>

<file path=ppt/slides/_rels/slide90.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hemeOverride" Target="../theme/themeOverride89.xml"/></Relationships>
</file>

<file path=ppt/slides/_rels/slide91.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hemeOverride" Target="../theme/themeOverride90.xml"/></Relationships>
</file>

<file path=ppt/slides/_rels/slide92.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hemeOverride" Target="../theme/themeOverride91.xml"/></Relationships>
</file>

<file path=ppt/slides/_rels/slide93.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hemeOverride" Target="../theme/themeOverride92.xml"/></Relationships>
</file>

<file path=ppt/slides/_rels/slide94.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hemeOverride" Target="../theme/themeOverride93.xml"/></Relationships>
</file>

<file path=ppt/slides/_rels/slide95.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hemeOverride" Target="../theme/themeOverride94.xml"/></Relationships>
</file>

<file path=ppt/slides/_rels/slide96.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hemeOverride" Target="../theme/themeOverride95.xml"/></Relationships>
</file>

<file path=ppt/slides/_rels/slide97.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hemeOverride" Target="../theme/themeOverride96.xml"/></Relationships>
</file>

<file path=ppt/slides/_rels/slide98.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hemeOverride" Target="../theme/themeOverride97.xml"/></Relationships>
</file>

<file path=ppt/slides/_rels/slide99.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hemeOverride" Target="../theme/themeOverride98.xm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2" name="文本框 1">
            <a:extLst>
              <a:ext uri="{FF2B5EF4-FFF2-40B4-BE49-F238E27FC236}">
                <a16:creationId xmlns:a16="http://schemas.microsoft.com/office/drawing/2014/main" id="{977200B9-1909-4D78-84CB-B713416DCA36}"/>
              </a:ext>
            </a:extLst>
          </p:cNvPr>
          <p:cNvSpPr txBox="1"/>
          <p:nvPr/>
        </p:nvSpPr>
        <p:spPr>
          <a:xfrm>
            <a:off x="3566462" y="3399294"/>
            <a:ext cx="5059078" cy="1015663"/>
          </a:xfrm>
          <a:prstGeom prst="rect">
            <a:avLst/>
          </a:prstGeom>
          <a:noFill/>
        </p:spPr>
        <p:txBody>
          <a:bodyPr wrap="none" lIns="0" tIns="0" rIns="0" bIns="0" rtlCol="0" anchor="t">
            <a:spAutoFit/>
          </a:bodyPr>
          <a:lstStyle/>
          <a:p>
            <a:pPr algn="ctr"/>
            <a:r>
              <a:rPr lang="en-US" altLang="zh-CN" sz="6600" dirty="0">
                <a:gradFill>
                  <a:gsLst>
                    <a:gs pos="30078">
                      <a:srgbClr val="FCE1B6"/>
                    </a:gs>
                    <a:gs pos="90000">
                      <a:srgbClr val="F9BC5A"/>
                    </a:gs>
                    <a:gs pos="54000">
                      <a:schemeClr val="bg1"/>
                    </a:gs>
                    <a:gs pos="0">
                      <a:srgbClr val="F9BC5A"/>
                    </a:gs>
                  </a:gsLst>
                  <a:lin ang="13800000" scaled="0"/>
                </a:gradFill>
                <a:effectLst>
                  <a:outerShdw blurRad="50800" dist="38100" dir="2700000" algn="tl" rotWithShape="0">
                    <a:prstClr val="black">
                      <a:alpha val="30000"/>
                    </a:prstClr>
                  </a:outerShdw>
                </a:effectLst>
                <a:latin typeface="+mj-ea"/>
                <a:ea typeface="+mj-ea"/>
              </a:rPr>
              <a:t>PPT</a:t>
            </a:r>
            <a:r>
              <a:rPr lang="zh-CN" altLang="en-US" sz="6600" dirty="0">
                <a:gradFill>
                  <a:gsLst>
                    <a:gs pos="30078">
                      <a:srgbClr val="FCE1B6"/>
                    </a:gs>
                    <a:gs pos="90000">
                      <a:srgbClr val="F9BC5A"/>
                    </a:gs>
                    <a:gs pos="54000">
                      <a:schemeClr val="bg1"/>
                    </a:gs>
                    <a:gs pos="0">
                      <a:srgbClr val="F9BC5A"/>
                    </a:gs>
                  </a:gsLst>
                  <a:lin ang="13800000" scaled="0"/>
                </a:gradFill>
                <a:effectLst>
                  <a:outerShdw blurRad="50800" dist="38100" dir="2700000" algn="tl" rotWithShape="0">
                    <a:prstClr val="black">
                      <a:alpha val="30000"/>
                    </a:prstClr>
                  </a:outerShdw>
                </a:effectLst>
                <a:latin typeface="+mj-ea"/>
                <a:ea typeface="+mj-ea"/>
              </a:rPr>
              <a:t>版式手册</a:t>
            </a:r>
          </a:p>
        </p:txBody>
      </p:sp>
      <p:sp>
        <p:nvSpPr>
          <p:cNvPr id="3" name="文本框 2">
            <a:extLst>
              <a:ext uri="{FF2B5EF4-FFF2-40B4-BE49-F238E27FC236}">
                <a16:creationId xmlns:a16="http://schemas.microsoft.com/office/drawing/2014/main" id="{707EEB68-B06F-42D5-B8C0-89070EEC0AE3}"/>
              </a:ext>
            </a:extLst>
          </p:cNvPr>
          <p:cNvSpPr txBox="1"/>
          <p:nvPr/>
        </p:nvSpPr>
        <p:spPr>
          <a:xfrm>
            <a:off x="4838447" y="2267712"/>
            <a:ext cx="2515111" cy="1015663"/>
          </a:xfrm>
          <a:prstGeom prst="rect">
            <a:avLst/>
          </a:prstGeom>
          <a:noFill/>
        </p:spPr>
        <p:txBody>
          <a:bodyPr wrap="none" lIns="0" tIns="0" rIns="0" bIns="0" rtlCol="0" anchor="t">
            <a:spAutoFit/>
          </a:bodyPr>
          <a:lstStyle/>
          <a:p>
            <a:pPr algn="ctr"/>
            <a:r>
              <a:rPr lang="en-US" altLang="zh-CN" sz="6600" dirty="0">
                <a:gradFill>
                  <a:gsLst>
                    <a:gs pos="90000">
                      <a:srgbClr val="F9BC5A"/>
                    </a:gs>
                    <a:gs pos="54000">
                      <a:schemeClr val="bg1"/>
                    </a:gs>
                    <a:gs pos="0">
                      <a:srgbClr val="F9BC5A"/>
                    </a:gs>
                  </a:gsLst>
                  <a:lin ang="13800000" scaled="0"/>
                </a:gradFill>
                <a:effectLst>
                  <a:outerShdw blurRad="50800" dist="38100" dir="2700000" algn="tl" rotWithShape="0">
                    <a:prstClr val="black">
                      <a:alpha val="30000"/>
                    </a:prstClr>
                  </a:outerShdw>
                </a:effectLst>
                <a:latin typeface="+mj-ea"/>
                <a:ea typeface="+mj-ea"/>
              </a:rPr>
              <a:t>800</a:t>
            </a:r>
            <a:r>
              <a:rPr lang="zh-CN" altLang="en-US" sz="6600" dirty="0">
                <a:gradFill>
                  <a:gsLst>
                    <a:gs pos="90000">
                      <a:srgbClr val="F9BC5A"/>
                    </a:gs>
                    <a:gs pos="54000">
                      <a:schemeClr val="bg1"/>
                    </a:gs>
                    <a:gs pos="0">
                      <a:srgbClr val="F9BC5A"/>
                    </a:gs>
                  </a:gsLst>
                  <a:lin ang="13800000" scaled="0"/>
                </a:gradFill>
                <a:effectLst>
                  <a:outerShdw blurRad="50800" dist="38100" dir="2700000" algn="tl" rotWithShape="0">
                    <a:prstClr val="black">
                      <a:alpha val="30000"/>
                    </a:prstClr>
                  </a:outerShdw>
                </a:effectLst>
                <a:latin typeface="+mj-ea"/>
                <a:ea typeface="+mj-ea"/>
              </a:rPr>
              <a:t>页</a:t>
            </a:r>
          </a:p>
        </p:txBody>
      </p:sp>
      <p:cxnSp>
        <p:nvCxnSpPr>
          <p:cNvPr id="8" name="直接连接符 7">
            <a:extLst>
              <a:ext uri="{FF2B5EF4-FFF2-40B4-BE49-F238E27FC236}">
                <a16:creationId xmlns:a16="http://schemas.microsoft.com/office/drawing/2014/main" id="{5187A672-E965-41E0-864A-E7A49DABBBD1}"/>
              </a:ext>
            </a:extLst>
          </p:cNvPr>
          <p:cNvCxnSpPr>
            <a:cxnSpLocks/>
          </p:cNvCxnSpPr>
          <p:nvPr/>
        </p:nvCxnSpPr>
        <p:spPr>
          <a:xfrm flipH="1">
            <a:off x="3133651" y="2724912"/>
            <a:ext cx="1315801" cy="0"/>
          </a:xfrm>
          <a:prstGeom prst="line">
            <a:avLst/>
          </a:prstGeom>
          <a:ln w="28575">
            <a:gradFill>
              <a:gsLst>
                <a:gs pos="0">
                  <a:srgbClr val="FFE9C1"/>
                </a:gs>
                <a:gs pos="100000">
                  <a:srgbClr val="FFE9C1">
                    <a:alpha val="0"/>
                  </a:srgbClr>
                </a:gs>
              </a:gsLst>
              <a:lin ang="0" scaled="0"/>
            </a:gradFill>
          </a:ln>
        </p:spPr>
        <p:style>
          <a:lnRef idx="1">
            <a:schemeClr val="accent1"/>
          </a:lnRef>
          <a:fillRef idx="0">
            <a:schemeClr val="accent1"/>
          </a:fillRef>
          <a:effectRef idx="0">
            <a:schemeClr val="accent1"/>
          </a:effectRef>
          <a:fontRef idx="minor">
            <a:schemeClr val="tx1"/>
          </a:fontRef>
        </p:style>
      </p:cxnSp>
      <p:cxnSp>
        <p:nvCxnSpPr>
          <p:cNvPr id="9" name="直接连接符 8">
            <a:extLst>
              <a:ext uri="{FF2B5EF4-FFF2-40B4-BE49-F238E27FC236}">
                <a16:creationId xmlns:a16="http://schemas.microsoft.com/office/drawing/2014/main" id="{AC9BEBE1-1E83-46DB-96B6-8411F68BC3BC}"/>
              </a:ext>
            </a:extLst>
          </p:cNvPr>
          <p:cNvCxnSpPr>
            <a:cxnSpLocks/>
          </p:cNvCxnSpPr>
          <p:nvPr/>
        </p:nvCxnSpPr>
        <p:spPr>
          <a:xfrm>
            <a:off x="7673419" y="2724912"/>
            <a:ext cx="1269413" cy="0"/>
          </a:xfrm>
          <a:prstGeom prst="line">
            <a:avLst/>
          </a:prstGeom>
          <a:ln w="28575">
            <a:gradFill>
              <a:gsLst>
                <a:gs pos="0">
                  <a:srgbClr val="FFE9C1"/>
                </a:gs>
                <a:gs pos="100000">
                  <a:srgbClr val="FFE9C1">
                    <a:alpha val="0"/>
                  </a:srgbClr>
                </a:gs>
              </a:gsLst>
              <a:lin ang="0" scaled="0"/>
            </a:gradFill>
          </a:ln>
        </p:spPr>
        <p:style>
          <a:lnRef idx="1">
            <a:schemeClr val="accent1"/>
          </a:lnRef>
          <a:fillRef idx="0">
            <a:schemeClr val="accent1"/>
          </a:fillRef>
          <a:effectRef idx="0">
            <a:schemeClr val="accent1"/>
          </a:effectRef>
          <a:fontRef idx="minor">
            <a:schemeClr val="tx1"/>
          </a:fontRef>
        </p:style>
      </p:cxnSp>
      <p:sp>
        <p:nvSpPr>
          <p:cNvPr id="10" name="文本框 9">
            <a:extLst>
              <a:ext uri="{FF2B5EF4-FFF2-40B4-BE49-F238E27FC236}">
                <a16:creationId xmlns:a16="http://schemas.microsoft.com/office/drawing/2014/main" id="{BF5863A0-2237-47C2-971E-B8DD50D8DCCD}"/>
              </a:ext>
            </a:extLst>
          </p:cNvPr>
          <p:cNvSpPr txBox="1"/>
          <p:nvPr/>
        </p:nvSpPr>
        <p:spPr>
          <a:xfrm>
            <a:off x="3175156" y="4539913"/>
            <a:ext cx="5767675" cy="276999"/>
          </a:xfrm>
          <a:prstGeom prst="rect">
            <a:avLst/>
          </a:prstGeom>
          <a:noFill/>
        </p:spPr>
        <p:txBody>
          <a:bodyPr wrap="square" lIns="0" tIns="0" rIns="0" bIns="0" rtlCol="0" anchor="t">
            <a:spAutoFit/>
          </a:bodyPr>
          <a:lstStyle/>
          <a:p>
            <a:pPr algn="dist"/>
            <a:r>
              <a:rPr lang="en-US" altLang="zh-CN" dirty="0">
                <a:solidFill>
                  <a:schemeClr val="bg1"/>
                </a:solidFill>
                <a:latin typeface="+mn-ea"/>
              </a:rPr>
              <a:t>Custom Level Format Manual</a:t>
            </a:r>
            <a:endParaRPr lang="zh-CN" altLang="en-US" dirty="0">
              <a:solidFill>
                <a:schemeClr val="bg1"/>
              </a:solidFill>
              <a:latin typeface="+mn-ea"/>
            </a:endParaRPr>
          </a:p>
        </p:txBody>
      </p:sp>
    </p:spTree>
    <p:extLst>
      <p:ext uri="{BB962C8B-B14F-4D97-AF65-F5344CB8AC3E}">
        <p14:creationId xmlns:p14="http://schemas.microsoft.com/office/powerpoint/2010/main" val="1824055154"/>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文本框 10">
            <a:extLst>
              <a:ext uri="{FF2B5EF4-FFF2-40B4-BE49-F238E27FC236}">
                <a16:creationId xmlns:a16="http://schemas.microsoft.com/office/drawing/2014/main" id="{E4393356-E9A7-46D9-B5F5-0D21EC991A29}"/>
              </a:ext>
            </a:extLst>
          </p:cNvPr>
          <p:cNvSpPr txBox="1"/>
          <p:nvPr/>
        </p:nvSpPr>
        <p:spPr>
          <a:xfrm>
            <a:off x="1941017" y="2813447"/>
            <a:ext cx="8309967" cy="1107996"/>
          </a:xfrm>
          <a:prstGeom prst="rect">
            <a:avLst/>
          </a:prstGeom>
          <a:noFill/>
        </p:spPr>
        <p:txBody>
          <a:bodyPr wrap="none" lIns="0" tIns="0" rIns="0" bIns="0" rtlCol="0" anchor="t">
            <a:spAutoFit/>
          </a:bodyPr>
          <a:lstStyle/>
          <a:p>
            <a:pPr algn="ctr"/>
            <a:r>
              <a:rPr lang="zh-CN" altLang="en-US" sz="7200" dirty="0">
                <a:solidFill>
                  <a:schemeClr val="accent1">
                    <a:lumMod val="100000"/>
                  </a:schemeClr>
                </a:solidFill>
                <a:latin typeface="+mj-ea"/>
                <a:ea typeface="+mj-ea"/>
              </a:rPr>
              <a:t>输入你的封面大标题</a:t>
            </a:r>
          </a:p>
        </p:txBody>
      </p:sp>
      <p:sp>
        <p:nvSpPr>
          <p:cNvPr id="12" name="文本框 11">
            <a:extLst>
              <a:ext uri="{FF2B5EF4-FFF2-40B4-BE49-F238E27FC236}">
                <a16:creationId xmlns:a16="http://schemas.microsoft.com/office/drawing/2014/main" id="{08D1ED60-C0E7-408E-A5AA-59B489440FCB}"/>
              </a:ext>
            </a:extLst>
          </p:cNvPr>
          <p:cNvSpPr txBox="1"/>
          <p:nvPr/>
        </p:nvSpPr>
        <p:spPr>
          <a:xfrm>
            <a:off x="4095451" y="2275523"/>
            <a:ext cx="4001095" cy="369332"/>
          </a:xfrm>
          <a:prstGeom prst="rect">
            <a:avLst/>
          </a:prstGeom>
          <a:noFill/>
        </p:spPr>
        <p:txBody>
          <a:bodyPr wrap="none" lIns="0" tIns="0" rIns="0" bIns="0" rtlCol="0" anchor="t">
            <a:spAutoFit/>
          </a:bodyPr>
          <a:lstStyle/>
          <a:p>
            <a:pPr algn="ctr"/>
            <a:r>
              <a:rPr lang="zh-CN" altLang="en-US" sz="2400" dirty="0">
                <a:solidFill>
                  <a:schemeClr val="accent1">
                    <a:lumMod val="100000"/>
                  </a:schemeClr>
                </a:solidFill>
                <a:latin typeface="+mn-ea"/>
              </a:rPr>
              <a:t>输入你的副标题或大标题英文</a:t>
            </a:r>
          </a:p>
        </p:txBody>
      </p:sp>
      <p:cxnSp>
        <p:nvCxnSpPr>
          <p:cNvPr id="14" name="直接连接符 13">
            <a:extLst>
              <a:ext uri="{FF2B5EF4-FFF2-40B4-BE49-F238E27FC236}">
                <a16:creationId xmlns:a16="http://schemas.microsoft.com/office/drawing/2014/main" id="{99FDF5DC-EAFA-4C3B-B052-660243EB047F}"/>
              </a:ext>
            </a:extLst>
          </p:cNvPr>
          <p:cNvCxnSpPr/>
          <p:nvPr/>
        </p:nvCxnSpPr>
        <p:spPr>
          <a:xfrm flipH="1">
            <a:off x="2029968" y="2465975"/>
            <a:ext cx="1901952" cy="0"/>
          </a:xfrm>
          <a:prstGeom prst="line">
            <a:avLst/>
          </a:prstGeom>
          <a:ln w="19050">
            <a:solidFill>
              <a:schemeClr val="accent1">
                <a:lumMod val="100000"/>
              </a:schemeClr>
            </a:solidFill>
          </a:ln>
        </p:spPr>
        <p:style>
          <a:lnRef idx="1">
            <a:schemeClr val="accent1"/>
          </a:lnRef>
          <a:fillRef idx="0">
            <a:schemeClr val="accent1"/>
          </a:fillRef>
          <a:effectRef idx="0">
            <a:schemeClr val="accent1"/>
          </a:effectRef>
          <a:fontRef idx="minor">
            <a:schemeClr val="tx1"/>
          </a:fontRef>
        </p:style>
      </p:cxnSp>
      <p:cxnSp>
        <p:nvCxnSpPr>
          <p:cNvPr id="15" name="直接连接符 14">
            <a:extLst>
              <a:ext uri="{FF2B5EF4-FFF2-40B4-BE49-F238E27FC236}">
                <a16:creationId xmlns:a16="http://schemas.microsoft.com/office/drawing/2014/main" id="{C6CC629A-E754-4728-BB95-563C56597B63}"/>
              </a:ext>
            </a:extLst>
          </p:cNvPr>
          <p:cNvCxnSpPr/>
          <p:nvPr/>
        </p:nvCxnSpPr>
        <p:spPr>
          <a:xfrm flipH="1">
            <a:off x="8284464" y="2465975"/>
            <a:ext cx="1901952" cy="0"/>
          </a:xfrm>
          <a:prstGeom prst="line">
            <a:avLst/>
          </a:prstGeom>
          <a:ln w="19050">
            <a:solidFill>
              <a:schemeClr val="accent1">
                <a:lumMod val="100000"/>
              </a:schemeClr>
            </a:solidFill>
          </a:ln>
        </p:spPr>
        <p:style>
          <a:lnRef idx="1">
            <a:schemeClr val="accent1"/>
          </a:lnRef>
          <a:fillRef idx="0">
            <a:schemeClr val="accent1"/>
          </a:fillRef>
          <a:effectRef idx="0">
            <a:schemeClr val="accent1"/>
          </a:effectRef>
          <a:fontRef idx="minor">
            <a:schemeClr val="tx1"/>
          </a:fontRef>
        </p:style>
      </p:cxnSp>
      <p:grpSp>
        <p:nvGrpSpPr>
          <p:cNvPr id="18" name="组合 17">
            <a:extLst>
              <a:ext uri="{FF2B5EF4-FFF2-40B4-BE49-F238E27FC236}">
                <a16:creationId xmlns:a16="http://schemas.microsoft.com/office/drawing/2014/main" id="{FC799265-AC15-410F-82A2-679AB60B288F}"/>
              </a:ext>
            </a:extLst>
          </p:cNvPr>
          <p:cNvGrpSpPr/>
          <p:nvPr/>
        </p:nvGrpSpPr>
        <p:grpSpPr>
          <a:xfrm>
            <a:off x="4331702" y="4336256"/>
            <a:ext cx="1475214" cy="246221"/>
            <a:chOff x="4095451" y="4640913"/>
            <a:chExt cx="1475214" cy="246221"/>
          </a:xfrm>
        </p:grpSpPr>
        <p:sp>
          <p:nvSpPr>
            <p:cNvPr id="16" name="矩形 15">
              <a:extLst>
                <a:ext uri="{FF2B5EF4-FFF2-40B4-BE49-F238E27FC236}">
                  <a16:creationId xmlns:a16="http://schemas.microsoft.com/office/drawing/2014/main" id="{74C493E7-1B47-4349-BC5B-BF3163490795}"/>
                </a:ext>
              </a:extLst>
            </p:cNvPr>
            <p:cNvSpPr/>
            <p:nvPr/>
          </p:nvSpPr>
          <p:spPr>
            <a:xfrm>
              <a:off x="4095451" y="4672584"/>
              <a:ext cx="164592" cy="164592"/>
            </a:xfrm>
            <a:prstGeom prst="rect">
              <a:avLst/>
            </a:prstGeom>
            <a:solidFill>
              <a:schemeClr val="accent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p>
          </p:txBody>
        </p:sp>
        <p:sp>
          <p:nvSpPr>
            <p:cNvPr id="17" name="文本框 16">
              <a:extLst>
                <a:ext uri="{FF2B5EF4-FFF2-40B4-BE49-F238E27FC236}">
                  <a16:creationId xmlns:a16="http://schemas.microsoft.com/office/drawing/2014/main" id="{B804F6AA-7656-4EF8-84F0-3B3FB5CF0922}"/>
                </a:ext>
              </a:extLst>
            </p:cNvPr>
            <p:cNvSpPr txBox="1"/>
            <p:nvPr/>
          </p:nvSpPr>
          <p:spPr>
            <a:xfrm>
              <a:off x="4408487" y="4640913"/>
              <a:ext cx="1162178" cy="246221"/>
            </a:xfrm>
            <a:prstGeom prst="rect">
              <a:avLst/>
            </a:prstGeom>
            <a:noFill/>
          </p:spPr>
          <p:txBody>
            <a:bodyPr wrap="none" lIns="0" tIns="0" rIns="0" bIns="0" rtlCol="0" anchor="t">
              <a:spAutoFit/>
            </a:bodyPr>
            <a:lstStyle/>
            <a:p>
              <a:r>
                <a:rPr lang="zh-CN" altLang="en-US" sz="1600" dirty="0">
                  <a:solidFill>
                    <a:schemeClr val="accent1">
                      <a:lumMod val="100000"/>
                    </a:schemeClr>
                  </a:solidFill>
                  <a:latin typeface="+mn-ea"/>
                </a:rPr>
                <a:t>汇报人：</a:t>
              </a:r>
              <a:r>
                <a:rPr lang="en-US" altLang="zh-CN" sz="1600" dirty="0">
                  <a:solidFill>
                    <a:schemeClr val="accent1">
                      <a:lumMod val="100000"/>
                    </a:schemeClr>
                  </a:solidFill>
                  <a:latin typeface="+mn-ea"/>
                </a:rPr>
                <a:t>xxx</a:t>
              </a:r>
              <a:endParaRPr lang="zh-CN" altLang="en-US" sz="1600" dirty="0">
                <a:solidFill>
                  <a:schemeClr val="accent1">
                    <a:lumMod val="100000"/>
                  </a:schemeClr>
                </a:solidFill>
                <a:latin typeface="+mn-ea"/>
              </a:endParaRPr>
            </a:p>
          </p:txBody>
        </p:sp>
      </p:grpSp>
      <p:grpSp>
        <p:nvGrpSpPr>
          <p:cNvPr id="19" name="组合 18">
            <a:extLst>
              <a:ext uri="{FF2B5EF4-FFF2-40B4-BE49-F238E27FC236}">
                <a16:creationId xmlns:a16="http://schemas.microsoft.com/office/drawing/2014/main" id="{482B1619-178E-45D1-BC39-C5F4314075B6}"/>
              </a:ext>
            </a:extLst>
          </p:cNvPr>
          <p:cNvGrpSpPr/>
          <p:nvPr/>
        </p:nvGrpSpPr>
        <p:grpSpPr>
          <a:xfrm>
            <a:off x="6590270" y="4336256"/>
            <a:ext cx="1270029" cy="246221"/>
            <a:chOff x="4095451" y="4640913"/>
            <a:chExt cx="1270029" cy="246221"/>
          </a:xfrm>
        </p:grpSpPr>
        <p:sp>
          <p:nvSpPr>
            <p:cNvPr id="20" name="矩形 19">
              <a:extLst>
                <a:ext uri="{FF2B5EF4-FFF2-40B4-BE49-F238E27FC236}">
                  <a16:creationId xmlns:a16="http://schemas.microsoft.com/office/drawing/2014/main" id="{3A1AE345-38CE-49BE-9E58-2C20078777A3}"/>
                </a:ext>
              </a:extLst>
            </p:cNvPr>
            <p:cNvSpPr/>
            <p:nvPr/>
          </p:nvSpPr>
          <p:spPr>
            <a:xfrm>
              <a:off x="4095451" y="4672584"/>
              <a:ext cx="164592" cy="164592"/>
            </a:xfrm>
            <a:prstGeom prst="rect">
              <a:avLst/>
            </a:prstGeom>
            <a:solidFill>
              <a:schemeClr val="accent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p>
          </p:txBody>
        </p:sp>
        <p:sp>
          <p:nvSpPr>
            <p:cNvPr id="21" name="文本框 20">
              <a:extLst>
                <a:ext uri="{FF2B5EF4-FFF2-40B4-BE49-F238E27FC236}">
                  <a16:creationId xmlns:a16="http://schemas.microsoft.com/office/drawing/2014/main" id="{FCC3031D-C171-43E7-B549-82FC96054817}"/>
                </a:ext>
              </a:extLst>
            </p:cNvPr>
            <p:cNvSpPr txBox="1"/>
            <p:nvPr/>
          </p:nvSpPr>
          <p:spPr>
            <a:xfrm>
              <a:off x="4408487" y="4640913"/>
              <a:ext cx="956993" cy="246221"/>
            </a:xfrm>
            <a:prstGeom prst="rect">
              <a:avLst/>
            </a:prstGeom>
            <a:noFill/>
          </p:spPr>
          <p:txBody>
            <a:bodyPr wrap="none" lIns="0" tIns="0" rIns="0" bIns="0" rtlCol="0" anchor="t">
              <a:spAutoFit/>
            </a:bodyPr>
            <a:lstStyle/>
            <a:p>
              <a:r>
                <a:rPr lang="zh-CN" altLang="en-US" sz="1600" dirty="0">
                  <a:solidFill>
                    <a:schemeClr val="accent1">
                      <a:lumMod val="100000"/>
                    </a:schemeClr>
                  </a:solidFill>
                  <a:latin typeface="+mn-ea"/>
                </a:rPr>
                <a:t>单位：</a:t>
              </a:r>
              <a:r>
                <a:rPr lang="en-US" altLang="zh-CN" sz="1600" dirty="0">
                  <a:solidFill>
                    <a:schemeClr val="accent1">
                      <a:lumMod val="100000"/>
                    </a:schemeClr>
                  </a:solidFill>
                  <a:latin typeface="+mn-ea"/>
                </a:rPr>
                <a:t>xxx</a:t>
              </a:r>
              <a:endParaRPr lang="zh-CN" altLang="en-US" sz="1600" dirty="0">
                <a:solidFill>
                  <a:schemeClr val="accent1">
                    <a:lumMod val="100000"/>
                  </a:schemeClr>
                </a:solidFill>
                <a:latin typeface="+mn-ea"/>
              </a:endParaRPr>
            </a:p>
          </p:txBody>
        </p:sp>
      </p:grpSp>
      <p:sp>
        <p:nvSpPr>
          <p:cNvPr id="22" name="任意多边形: 形状 21">
            <a:extLst>
              <a:ext uri="{FF2B5EF4-FFF2-40B4-BE49-F238E27FC236}">
                <a16:creationId xmlns:a16="http://schemas.microsoft.com/office/drawing/2014/main" id="{E09DF6C7-8BDB-4653-BF78-B78276DC3E91}"/>
              </a:ext>
            </a:extLst>
          </p:cNvPr>
          <p:cNvSpPr/>
          <p:nvPr/>
        </p:nvSpPr>
        <p:spPr>
          <a:xfrm>
            <a:off x="0" y="3503214"/>
            <a:ext cx="12192000" cy="1029305"/>
          </a:xfrm>
          <a:custGeom>
            <a:avLst/>
            <a:gdLst>
              <a:gd name="connsiteX0" fmla="*/ 0 w 12192000"/>
              <a:gd name="connsiteY0" fmla="*/ 0 h 1029305"/>
              <a:gd name="connsiteX1" fmla="*/ 93596 w 12192000"/>
              <a:gd name="connsiteY1" fmla="*/ 23731 h 1029305"/>
              <a:gd name="connsiteX2" fmla="*/ 2543175 w 12192000"/>
              <a:gd name="connsiteY2" fmla="*/ 604931 h 1029305"/>
              <a:gd name="connsiteX3" fmla="*/ 6076950 w 12192000"/>
              <a:gd name="connsiteY3" fmla="*/ 357281 h 1029305"/>
              <a:gd name="connsiteX4" fmla="*/ 10534650 w 12192000"/>
              <a:gd name="connsiteY4" fmla="*/ 671606 h 1029305"/>
              <a:gd name="connsiteX5" fmla="*/ 12076137 w 12192000"/>
              <a:gd name="connsiteY5" fmla="*/ 494687 h 1029305"/>
              <a:gd name="connsiteX6" fmla="*/ 12192000 w 12192000"/>
              <a:gd name="connsiteY6" fmla="*/ 462477 h 1029305"/>
              <a:gd name="connsiteX7" fmla="*/ 12192000 w 12192000"/>
              <a:gd name="connsiteY7" fmla="*/ 878765 h 1029305"/>
              <a:gd name="connsiteX8" fmla="*/ 12013407 w 12192000"/>
              <a:gd name="connsiteY8" fmla="*/ 924019 h 1029305"/>
              <a:gd name="connsiteX9" fmla="*/ 10753725 w 12192000"/>
              <a:gd name="connsiteY9" fmla="*/ 1024031 h 1029305"/>
              <a:gd name="connsiteX10" fmla="*/ 6391275 w 12192000"/>
              <a:gd name="connsiteY10" fmla="*/ 433481 h 1029305"/>
              <a:gd name="connsiteX11" fmla="*/ 2343150 w 12192000"/>
              <a:gd name="connsiteY11" fmla="*/ 900206 h 1029305"/>
              <a:gd name="connsiteX12" fmla="*/ 251138 w 12192000"/>
              <a:gd name="connsiteY12" fmla="*/ 524787 h 1029305"/>
              <a:gd name="connsiteX13" fmla="*/ 0 w 12192000"/>
              <a:gd name="connsiteY13" fmla="*/ 447376 h 10293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92000" h="1029305">
                <a:moveTo>
                  <a:pt x="0" y="0"/>
                </a:moveTo>
                <a:lnTo>
                  <a:pt x="93596" y="23731"/>
                </a:lnTo>
                <a:cubicBezTo>
                  <a:pt x="706679" y="187989"/>
                  <a:pt x="1684139" y="549468"/>
                  <a:pt x="2543175" y="604931"/>
                </a:cubicBezTo>
                <a:cubicBezTo>
                  <a:pt x="3600450" y="673194"/>
                  <a:pt x="4745038" y="346169"/>
                  <a:pt x="6076950" y="357281"/>
                </a:cubicBezTo>
                <a:cubicBezTo>
                  <a:pt x="7408862" y="368393"/>
                  <a:pt x="9429750" y="681131"/>
                  <a:pt x="10534650" y="671606"/>
                </a:cubicBezTo>
                <a:cubicBezTo>
                  <a:pt x="11225213" y="665653"/>
                  <a:pt x="11692533" y="592727"/>
                  <a:pt x="12076137" y="494687"/>
                </a:cubicBezTo>
                <a:lnTo>
                  <a:pt x="12192000" y="462477"/>
                </a:lnTo>
                <a:lnTo>
                  <a:pt x="12192000" y="878765"/>
                </a:lnTo>
                <a:lnTo>
                  <a:pt x="12013407" y="924019"/>
                </a:lnTo>
                <a:cubicBezTo>
                  <a:pt x="11693128" y="995456"/>
                  <a:pt x="11281569" y="1046256"/>
                  <a:pt x="10753725" y="1024031"/>
                </a:cubicBezTo>
                <a:cubicBezTo>
                  <a:pt x="9698037" y="979581"/>
                  <a:pt x="7793037" y="454118"/>
                  <a:pt x="6391275" y="433481"/>
                </a:cubicBezTo>
                <a:cubicBezTo>
                  <a:pt x="4989513" y="412844"/>
                  <a:pt x="3500438" y="928781"/>
                  <a:pt x="2343150" y="900206"/>
                </a:cubicBezTo>
                <a:cubicBezTo>
                  <a:pt x="1619846" y="882347"/>
                  <a:pt x="840731" y="698296"/>
                  <a:pt x="251138" y="524787"/>
                </a:cubicBezTo>
                <a:lnTo>
                  <a:pt x="0" y="447376"/>
                </a:lnTo>
                <a:close/>
              </a:path>
            </a:pathLst>
          </a:custGeom>
          <a:solidFill>
            <a:schemeClr val="accent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6000" dirty="0"/>
          </a:p>
        </p:txBody>
      </p:sp>
    </p:spTree>
    <p:extLst>
      <p:ext uri="{BB962C8B-B14F-4D97-AF65-F5344CB8AC3E}">
        <p14:creationId xmlns:p14="http://schemas.microsoft.com/office/powerpoint/2010/main" val="1918113123"/>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a:extLst>
              <a:ext uri="{FF2B5EF4-FFF2-40B4-BE49-F238E27FC236}">
                <a16:creationId xmlns:a16="http://schemas.microsoft.com/office/drawing/2014/main" id="{FB20C9E8-9BAA-4B8E-9909-C4C158BC0E3B}"/>
              </a:ext>
            </a:extLst>
          </p:cNvPr>
          <p:cNvSpPr txBox="1"/>
          <p:nvPr/>
        </p:nvSpPr>
        <p:spPr>
          <a:xfrm>
            <a:off x="8504675" y="1549400"/>
            <a:ext cx="1354217" cy="2257028"/>
          </a:xfrm>
          <a:prstGeom prst="rect">
            <a:avLst/>
          </a:prstGeom>
          <a:noFill/>
        </p:spPr>
        <p:txBody>
          <a:bodyPr vert="eaVert" wrap="none" lIns="0" tIns="0" rIns="0" bIns="0" rtlCol="0" anchor="t">
            <a:spAutoFit/>
          </a:bodyPr>
          <a:lstStyle/>
          <a:p>
            <a:pPr algn="l"/>
            <a:r>
              <a:rPr lang="zh-CN" altLang="en-US" sz="8800" dirty="0">
                <a:solidFill>
                  <a:schemeClr val="accent1">
                    <a:lumMod val="100000"/>
                  </a:schemeClr>
                </a:solidFill>
              </a:rPr>
              <a:t>目录</a:t>
            </a:r>
          </a:p>
        </p:txBody>
      </p:sp>
      <p:sp>
        <p:nvSpPr>
          <p:cNvPr id="3" name="文本框 2">
            <a:extLst>
              <a:ext uri="{FF2B5EF4-FFF2-40B4-BE49-F238E27FC236}">
                <a16:creationId xmlns:a16="http://schemas.microsoft.com/office/drawing/2014/main" id="{F715A509-E4C9-44D8-A9CD-86E76B7F200C}"/>
              </a:ext>
            </a:extLst>
          </p:cNvPr>
          <p:cNvSpPr txBox="1"/>
          <p:nvPr/>
        </p:nvSpPr>
        <p:spPr>
          <a:xfrm>
            <a:off x="8187040" y="2172711"/>
            <a:ext cx="276999" cy="1330492"/>
          </a:xfrm>
          <a:prstGeom prst="rect">
            <a:avLst/>
          </a:prstGeom>
          <a:noFill/>
        </p:spPr>
        <p:txBody>
          <a:bodyPr vert="eaVert" wrap="none" lIns="0" tIns="0" rIns="0" bIns="0" rtlCol="0" anchor="t">
            <a:spAutoFit/>
          </a:bodyPr>
          <a:lstStyle/>
          <a:p>
            <a:pPr algn="l"/>
            <a:r>
              <a:rPr lang="en-US" altLang="zh-CN" dirty="0">
                <a:solidFill>
                  <a:schemeClr val="accent1">
                    <a:lumMod val="100000"/>
                  </a:schemeClr>
                </a:solidFill>
                <a:latin typeface="+mj-ea"/>
                <a:ea typeface="+mj-ea"/>
              </a:rPr>
              <a:t>CONTENTS</a:t>
            </a:r>
            <a:endParaRPr lang="zh-CN" altLang="en-US" dirty="0">
              <a:solidFill>
                <a:schemeClr val="accent1">
                  <a:lumMod val="100000"/>
                </a:schemeClr>
              </a:solidFill>
              <a:latin typeface="+mj-ea"/>
              <a:ea typeface="+mj-ea"/>
            </a:endParaRPr>
          </a:p>
        </p:txBody>
      </p:sp>
      <p:sp>
        <p:nvSpPr>
          <p:cNvPr id="6" name="任意多边形: 形状 5">
            <a:extLst>
              <a:ext uri="{FF2B5EF4-FFF2-40B4-BE49-F238E27FC236}">
                <a16:creationId xmlns:a16="http://schemas.microsoft.com/office/drawing/2014/main" id="{6F07351F-3CEB-4BE6-ABEE-3B5103D4288F}"/>
              </a:ext>
            </a:extLst>
          </p:cNvPr>
          <p:cNvSpPr/>
          <p:nvPr/>
        </p:nvSpPr>
        <p:spPr>
          <a:xfrm>
            <a:off x="8315587" y="1389888"/>
            <a:ext cx="1673352" cy="2514600"/>
          </a:xfrm>
          <a:custGeom>
            <a:avLst/>
            <a:gdLst>
              <a:gd name="connsiteX0" fmla="*/ 0 w 1673352"/>
              <a:gd name="connsiteY0" fmla="*/ 0 h 2514600"/>
              <a:gd name="connsiteX1" fmla="*/ 1673352 w 1673352"/>
              <a:gd name="connsiteY1" fmla="*/ 0 h 2514600"/>
              <a:gd name="connsiteX2" fmla="*/ 1673352 w 1673352"/>
              <a:gd name="connsiteY2" fmla="*/ 2514600 h 2514600"/>
              <a:gd name="connsiteX3" fmla="*/ 0 w 1673352"/>
              <a:gd name="connsiteY3" fmla="*/ 2514600 h 2514600"/>
              <a:gd name="connsiteX4" fmla="*/ 0 w 1673352"/>
              <a:gd name="connsiteY4" fmla="*/ 2166112 h 2514600"/>
              <a:gd name="connsiteX5" fmla="*/ 189088 w 1673352"/>
              <a:gd name="connsiteY5" fmla="*/ 2166112 h 2514600"/>
              <a:gd name="connsiteX6" fmla="*/ 189088 w 1673352"/>
              <a:gd name="connsiteY6" fmla="*/ 727837 h 2514600"/>
              <a:gd name="connsiteX7" fmla="*/ 0 w 1673352"/>
              <a:gd name="connsiteY7" fmla="*/ 727837 h 2514600"/>
              <a:gd name="connsiteX0" fmla="*/ 189088 w 1673352"/>
              <a:gd name="connsiteY0" fmla="*/ 727837 h 2514600"/>
              <a:gd name="connsiteX1" fmla="*/ 0 w 1673352"/>
              <a:gd name="connsiteY1" fmla="*/ 727837 h 2514600"/>
              <a:gd name="connsiteX2" fmla="*/ 0 w 1673352"/>
              <a:gd name="connsiteY2" fmla="*/ 0 h 2514600"/>
              <a:gd name="connsiteX3" fmla="*/ 1673352 w 1673352"/>
              <a:gd name="connsiteY3" fmla="*/ 0 h 2514600"/>
              <a:gd name="connsiteX4" fmla="*/ 1673352 w 1673352"/>
              <a:gd name="connsiteY4" fmla="*/ 2514600 h 2514600"/>
              <a:gd name="connsiteX5" fmla="*/ 0 w 1673352"/>
              <a:gd name="connsiteY5" fmla="*/ 2514600 h 2514600"/>
              <a:gd name="connsiteX6" fmla="*/ 0 w 1673352"/>
              <a:gd name="connsiteY6" fmla="*/ 2166112 h 2514600"/>
              <a:gd name="connsiteX7" fmla="*/ 189088 w 1673352"/>
              <a:gd name="connsiteY7" fmla="*/ 2166112 h 2514600"/>
              <a:gd name="connsiteX8" fmla="*/ 280528 w 1673352"/>
              <a:gd name="connsiteY8" fmla="*/ 819277 h 2514600"/>
              <a:gd name="connsiteX0" fmla="*/ 189088 w 1673352"/>
              <a:gd name="connsiteY0" fmla="*/ 727837 h 2514600"/>
              <a:gd name="connsiteX1" fmla="*/ 0 w 1673352"/>
              <a:gd name="connsiteY1" fmla="*/ 727837 h 2514600"/>
              <a:gd name="connsiteX2" fmla="*/ 0 w 1673352"/>
              <a:gd name="connsiteY2" fmla="*/ 0 h 2514600"/>
              <a:gd name="connsiteX3" fmla="*/ 1673352 w 1673352"/>
              <a:gd name="connsiteY3" fmla="*/ 0 h 2514600"/>
              <a:gd name="connsiteX4" fmla="*/ 1673352 w 1673352"/>
              <a:gd name="connsiteY4" fmla="*/ 2514600 h 2514600"/>
              <a:gd name="connsiteX5" fmla="*/ 0 w 1673352"/>
              <a:gd name="connsiteY5" fmla="*/ 2514600 h 2514600"/>
              <a:gd name="connsiteX6" fmla="*/ 0 w 1673352"/>
              <a:gd name="connsiteY6" fmla="*/ 2166112 h 2514600"/>
              <a:gd name="connsiteX7" fmla="*/ 189088 w 1673352"/>
              <a:gd name="connsiteY7" fmla="*/ 2166112 h 2514600"/>
              <a:gd name="connsiteX0" fmla="*/ 189088 w 1673352"/>
              <a:gd name="connsiteY0" fmla="*/ 727837 h 2514600"/>
              <a:gd name="connsiteX1" fmla="*/ 0 w 1673352"/>
              <a:gd name="connsiteY1" fmla="*/ 727837 h 2514600"/>
              <a:gd name="connsiteX2" fmla="*/ 0 w 1673352"/>
              <a:gd name="connsiteY2" fmla="*/ 0 h 2514600"/>
              <a:gd name="connsiteX3" fmla="*/ 1673352 w 1673352"/>
              <a:gd name="connsiteY3" fmla="*/ 0 h 2514600"/>
              <a:gd name="connsiteX4" fmla="*/ 1673352 w 1673352"/>
              <a:gd name="connsiteY4" fmla="*/ 2514600 h 2514600"/>
              <a:gd name="connsiteX5" fmla="*/ 0 w 1673352"/>
              <a:gd name="connsiteY5" fmla="*/ 2514600 h 2514600"/>
              <a:gd name="connsiteX6" fmla="*/ 0 w 1673352"/>
              <a:gd name="connsiteY6" fmla="*/ 2166112 h 2514600"/>
              <a:gd name="connsiteX0" fmla="*/ 0 w 1673352"/>
              <a:gd name="connsiteY0" fmla="*/ 727837 h 2514600"/>
              <a:gd name="connsiteX1" fmla="*/ 0 w 1673352"/>
              <a:gd name="connsiteY1" fmla="*/ 0 h 2514600"/>
              <a:gd name="connsiteX2" fmla="*/ 1673352 w 1673352"/>
              <a:gd name="connsiteY2" fmla="*/ 0 h 2514600"/>
              <a:gd name="connsiteX3" fmla="*/ 1673352 w 1673352"/>
              <a:gd name="connsiteY3" fmla="*/ 2514600 h 2514600"/>
              <a:gd name="connsiteX4" fmla="*/ 0 w 1673352"/>
              <a:gd name="connsiteY4" fmla="*/ 2514600 h 2514600"/>
              <a:gd name="connsiteX5" fmla="*/ 0 w 1673352"/>
              <a:gd name="connsiteY5" fmla="*/ 2166112 h 2514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73352" h="2514600">
                <a:moveTo>
                  <a:pt x="0" y="727837"/>
                </a:moveTo>
                <a:lnTo>
                  <a:pt x="0" y="0"/>
                </a:lnTo>
                <a:lnTo>
                  <a:pt x="1673352" y="0"/>
                </a:lnTo>
                <a:lnTo>
                  <a:pt x="1673352" y="2514600"/>
                </a:lnTo>
                <a:lnTo>
                  <a:pt x="0" y="2514600"/>
                </a:lnTo>
                <a:lnTo>
                  <a:pt x="0" y="2166112"/>
                </a:lnTo>
              </a:path>
            </a:pathLst>
          </a:cu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6000" dirty="0"/>
          </a:p>
        </p:txBody>
      </p:sp>
      <p:grpSp>
        <p:nvGrpSpPr>
          <p:cNvPr id="15" name="组合 14">
            <a:extLst>
              <a:ext uri="{FF2B5EF4-FFF2-40B4-BE49-F238E27FC236}">
                <a16:creationId xmlns:a16="http://schemas.microsoft.com/office/drawing/2014/main" id="{EA9B9490-3E6B-4036-B0C0-853A63E4139C}"/>
              </a:ext>
            </a:extLst>
          </p:cNvPr>
          <p:cNvGrpSpPr/>
          <p:nvPr/>
        </p:nvGrpSpPr>
        <p:grpSpPr>
          <a:xfrm>
            <a:off x="4862441" y="1796288"/>
            <a:ext cx="422386" cy="3831630"/>
            <a:chOff x="7622524" y="1549400"/>
            <a:chExt cx="422386" cy="3831630"/>
          </a:xfrm>
        </p:grpSpPr>
        <p:sp>
          <p:nvSpPr>
            <p:cNvPr id="16" name="文本框 15">
              <a:extLst>
                <a:ext uri="{FF2B5EF4-FFF2-40B4-BE49-F238E27FC236}">
                  <a16:creationId xmlns:a16="http://schemas.microsoft.com/office/drawing/2014/main" id="{6A152603-C9A3-4A45-9B95-EE078FEE0D0F}"/>
                </a:ext>
              </a:extLst>
            </p:cNvPr>
            <p:cNvSpPr txBox="1"/>
            <p:nvPr/>
          </p:nvSpPr>
          <p:spPr>
            <a:xfrm>
              <a:off x="7647734" y="1995488"/>
              <a:ext cx="369332" cy="3385542"/>
            </a:xfrm>
            <a:prstGeom prst="rect">
              <a:avLst/>
            </a:prstGeom>
            <a:noFill/>
          </p:spPr>
          <p:txBody>
            <a:bodyPr vert="eaVert" wrap="none" lIns="0" tIns="0" rIns="0" bIns="0" rtlCol="0" anchor="t">
              <a:spAutoFit/>
            </a:bodyPr>
            <a:lstStyle/>
            <a:p>
              <a:pPr algn="l"/>
              <a:r>
                <a:rPr lang="zh-CN" altLang="en-US" sz="2400" dirty="0">
                  <a:solidFill>
                    <a:schemeClr val="accent1"/>
                  </a:solidFill>
                </a:rPr>
                <a:t>在这里输入你的目录标题</a:t>
              </a:r>
            </a:p>
          </p:txBody>
        </p:sp>
        <p:sp>
          <p:nvSpPr>
            <p:cNvPr id="17" name="文本框 16">
              <a:extLst>
                <a:ext uri="{FF2B5EF4-FFF2-40B4-BE49-F238E27FC236}">
                  <a16:creationId xmlns:a16="http://schemas.microsoft.com/office/drawing/2014/main" id="{209D66D4-5D63-4D4A-B281-088CF04349B4}"/>
                </a:ext>
              </a:extLst>
            </p:cNvPr>
            <p:cNvSpPr txBox="1"/>
            <p:nvPr/>
          </p:nvSpPr>
          <p:spPr>
            <a:xfrm>
              <a:off x="7675744" y="1549400"/>
              <a:ext cx="304571" cy="276999"/>
            </a:xfrm>
            <a:prstGeom prst="rect">
              <a:avLst/>
            </a:prstGeom>
            <a:noFill/>
          </p:spPr>
          <p:txBody>
            <a:bodyPr wrap="none" lIns="0" tIns="0" rIns="0" bIns="0" rtlCol="0" anchor="t">
              <a:spAutoFit/>
            </a:bodyPr>
            <a:lstStyle/>
            <a:p>
              <a:pPr algn="l"/>
              <a:r>
                <a:rPr lang="en-US" altLang="zh-CN" dirty="0">
                  <a:solidFill>
                    <a:schemeClr val="accent1"/>
                  </a:solidFill>
                  <a:latin typeface="+mj-ea"/>
                  <a:ea typeface="+mj-ea"/>
                </a:rPr>
                <a:t>02</a:t>
              </a:r>
              <a:endParaRPr lang="zh-CN" altLang="en-US" dirty="0">
                <a:solidFill>
                  <a:schemeClr val="accent1"/>
                </a:solidFill>
                <a:latin typeface="+mj-ea"/>
                <a:ea typeface="+mj-ea"/>
              </a:endParaRPr>
            </a:p>
          </p:txBody>
        </p:sp>
        <p:cxnSp>
          <p:nvCxnSpPr>
            <p:cNvPr id="18" name="直接连接符 17">
              <a:extLst>
                <a:ext uri="{FF2B5EF4-FFF2-40B4-BE49-F238E27FC236}">
                  <a16:creationId xmlns:a16="http://schemas.microsoft.com/office/drawing/2014/main" id="{24C18179-27D0-4713-B202-D36DA4E8BCBC}"/>
                </a:ext>
              </a:extLst>
            </p:cNvPr>
            <p:cNvCxnSpPr>
              <a:cxnSpLocks/>
            </p:cNvCxnSpPr>
            <p:nvPr/>
          </p:nvCxnSpPr>
          <p:spPr>
            <a:xfrm flipH="1">
              <a:off x="7622524" y="1808131"/>
              <a:ext cx="422386" cy="187357"/>
            </a:xfrm>
            <a:prstGeom prst="line">
              <a:avLst/>
            </a:prstGeom>
            <a:ln w="19050"/>
          </p:spPr>
          <p:style>
            <a:lnRef idx="1">
              <a:schemeClr val="accent1"/>
            </a:lnRef>
            <a:fillRef idx="0">
              <a:schemeClr val="accent1"/>
            </a:fillRef>
            <a:effectRef idx="0">
              <a:schemeClr val="accent1"/>
            </a:effectRef>
            <a:fontRef idx="minor">
              <a:schemeClr val="tx1"/>
            </a:fontRef>
          </p:style>
        </p:cxnSp>
      </p:grpSp>
      <p:grpSp>
        <p:nvGrpSpPr>
          <p:cNvPr id="24" name="组合 23">
            <a:extLst>
              <a:ext uri="{FF2B5EF4-FFF2-40B4-BE49-F238E27FC236}">
                <a16:creationId xmlns:a16="http://schemas.microsoft.com/office/drawing/2014/main" id="{1DDFBCD3-BA73-42FC-879D-90D9FD6F0234}"/>
              </a:ext>
            </a:extLst>
          </p:cNvPr>
          <p:cNvGrpSpPr/>
          <p:nvPr/>
        </p:nvGrpSpPr>
        <p:grpSpPr>
          <a:xfrm>
            <a:off x="6192131" y="1796288"/>
            <a:ext cx="422386" cy="3831630"/>
            <a:chOff x="7622524" y="1549400"/>
            <a:chExt cx="422386" cy="3831630"/>
          </a:xfrm>
        </p:grpSpPr>
        <p:sp>
          <p:nvSpPr>
            <p:cNvPr id="25" name="文本框 24">
              <a:extLst>
                <a:ext uri="{FF2B5EF4-FFF2-40B4-BE49-F238E27FC236}">
                  <a16:creationId xmlns:a16="http://schemas.microsoft.com/office/drawing/2014/main" id="{04E42081-2BD7-4CD1-A9DF-73666E3207E4}"/>
                </a:ext>
              </a:extLst>
            </p:cNvPr>
            <p:cNvSpPr txBox="1"/>
            <p:nvPr/>
          </p:nvSpPr>
          <p:spPr>
            <a:xfrm>
              <a:off x="7647734" y="1995488"/>
              <a:ext cx="369332" cy="3385542"/>
            </a:xfrm>
            <a:prstGeom prst="rect">
              <a:avLst/>
            </a:prstGeom>
            <a:noFill/>
          </p:spPr>
          <p:txBody>
            <a:bodyPr vert="eaVert" wrap="none" lIns="0" tIns="0" rIns="0" bIns="0" rtlCol="0" anchor="t">
              <a:spAutoFit/>
            </a:bodyPr>
            <a:lstStyle/>
            <a:p>
              <a:pPr algn="l"/>
              <a:r>
                <a:rPr lang="zh-CN" altLang="en-US" sz="2400" dirty="0">
                  <a:solidFill>
                    <a:schemeClr val="accent1"/>
                  </a:solidFill>
                </a:rPr>
                <a:t>在这里输入你的目录标题</a:t>
              </a:r>
            </a:p>
          </p:txBody>
        </p:sp>
        <p:sp>
          <p:nvSpPr>
            <p:cNvPr id="26" name="文本框 25">
              <a:extLst>
                <a:ext uri="{FF2B5EF4-FFF2-40B4-BE49-F238E27FC236}">
                  <a16:creationId xmlns:a16="http://schemas.microsoft.com/office/drawing/2014/main" id="{44037B57-CB33-48AE-B095-CBD9041765A9}"/>
                </a:ext>
              </a:extLst>
            </p:cNvPr>
            <p:cNvSpPr txBox="1"/>
            <p:nvPr/>
          </p:nvSpPr>
          <p:spPr>
            <a:xfrm>
              <a:off x="7675744" y="1549400"/>
              <a:ext cx="262892" cy="276999"/>
            </a:xfrm>
            <a:prstGeom prst="rect">
              <a:avLst/>
            </a:prstGeom>
            <a:noFill/>
          </p:spPr>
          <p:txBody>
            <a:bodyPr wrap="none" lIns="0" tIns="0" rIns="0" bIns="0" rtlCol="0" anchor="t">
              <a:spAutoFit/>
            </a:bodyPr>
            <a:lstStyle/>
            <a:p>
              <a:pPr algn="l"/>
              <a:r>
                <a:rPr lang="en-US" altLang="zh-CN" dirty="0">
                  <a:solidFill>
                    <a:schemeClr val="accent1"/>
                  </a:solidFill>
                  <a:latin typeface="+mj-ea"/>
                  <a:ea typeface="+mj-ea"/>
                </a:rPr>
                <a:t>01</a:t>
              </a:r>
              <a:endParaRPr lang="zh-CN" altLang="en-US" dirty="0">
                <a:solidFill>
                  <a:schemeClr val="accent1"/>
                </a:solidFill>
                <a:latin typeface="+mj-ea"/>
                <a:ea typeface="+mj-ea"/>
              </a:endParaRPr>
            </a:p>
          </p:txBody>
        </p:sp>
        <p:cxnSp>
          <p:nvCxnSpPr>
            <p:cNvPr id="27" name="直接连接符 26">
              <a:extLst>
                <a:ext uri="{FF2B5EF4-FFF2-40B4-BE49-F238E27FC236}">
                  <a16:creationId xmlns:a16="http://schemas.microsoft.com/office/drawing/2014/main" id="{02E20264-DAA3-4A95-8069-91AD60742ED8}"/>
                </a:ext>
              </a:extLst>
            </p:cNvPr>
            <p:cNvCxnSpPr>
              <a:cxnSpLocks/>
            </p:cNvCxnSpPr>
            <p:nvPr/>
          </p:nvCxnSpPr>
          <p:spPr>
            <a:xfrm flipH="1">
              <a:off x="7622524" y="1808131"/>
              <a:ext cx="422386" cy="187357"/>
            </a:xfrm>
            <a:prstGeom prst="line">
              <a:avLst/>
            </a:prstGeom>
            <a:ln w="19050"/>
          </p:spPr>
          <p:style>
            <a:lnRef idx="1">
              <a:schemeClr val="accent1"/>
            </a:lnRef>
            <a:fillRef idx="0">
              <a:schemeClr val="accent1"/>
            </a:fillRef>
            <a:effectRef idx="0">
              <a:schemeClr val="accent1"/>
            </a:effectRef>
            <a:fontRef idx="minor">
              <a:schemeClr val="tx1"/>
            </a:fontRef>
          </p:style>
        </p:cxnSp>
      </p:grpSp>
      <p:grpSp>
        <p:nvGrpSpPr>
          <p:cNvPr id="28" name="组合 27">
            <a:extLst>
              <a:ext uri="{FF2B5EF4-FFF2-40B4-BE49-F238E27FC236}">
                <a16:creationId xmlns:a16="http://schemas.microsoft.com/office/drawing/2014/main" id="{7CF6AF8B-9A91-4E07-9A19-515AAE44F51F}"/>
              </a:ext>
            </a:extLst>
          </p:cNvPr>
          <p:cNvGrpSpPr/>
          <p:nvPr/>
        </p:nvGrpSpPr>
        <p:grpSpPr>
          <a:xfrm>
            <a:off x="3532751" y="1796288"/>
            <a:ext cx="422386" cy="3831630"/>
            <a:chOff x="7622524" y="1549400"/>
            <a:chExt cx="422386" cy="3831630"/>
          </a:xfrm>
        </p:grpSpPr>
        <p:sp>
          <p:nvSpPr>
            <p:cNvPr id="29" name="文本框 28">
              <a:extLst>
                <a:ext uri="{FF2B5EF4-FFF2-40B4-BE49-F238E27FC236}">
                  <a16:creationId xmlns:a16="http://schemas.microsoft.com/office/drawing/2014/main" id="{58379CFA-9920-4C14-B8CF-5EBEE87FACBA}"/>
                </a:ext>
              </a:extLst>
            </p:cNvPr>
            <p:cNvSpPr txBox="1"/>
            <p:nvPr/>
          </p:nvSpPr>
          <p:spPr>
            <a:xfrm>
              <a:off x="7647734" y="1995488"/>
              <a:ext cx="369332" cy="3385542"/>
            </a:xfrm>
            <a:prstGeom prst="rect">
              <a:avLst/>
            </a:prstGeom>
            <a:noFill/>
          </p:spPr>
          <p:txBody>
            <a:bodyPr vert="eaVert" wrap="none" lIns="0" tIns="0" rIns="0" bIns="0" rtlCol="0" anchor="t">
              <a:spAutoFit/>
            </a:bodyPr>
            <a:lstStyle/>
            <a:p>
              <a:pPr algn="l"/>
              <a:r>
                <a:rPr lang="zh-CN" altLang="en-US" sz="2400" dirty="0">
                  <a:solidFill>
                    <a:schemeClr val="accent1"/>
                  </a:solidFill>
                </a:rPr>
                <a:t>在这里输入你的目录标题</a:t>
              </a:r>
            </a:p>
          </p:txBody>
        </p:sp>
        <p:sp>
          <p:nvSpPr>
            <p:cNvPr id="30" name="文本框 29">
              <a:extLst>
                <a:ext uri="{FF2B5EF4-FFF2-40B4-BE49-F238E27FC236}">
                  <a16:creationId xmlns:a16="http://schemas.microsoft.com/office/drawing/2014/main" id="{AC7B6597-E50E-48BC-9448-F6F2FC801414}"/>
                </a:ext>
              </a:extLst>
            </p:cNvPr>
            <p:cNvSpPr txBox="1"/>
            <p:nvPr/>
          </p:nvSpPr>
          <p:spPr>
            <a:xfrm>
              <a:off x="7675744" y="1549400"/>
              <a:ext cx="304571" cy="276999"/>
            </a:xfrm>
            <a:prstGeom prst="rect">
              <a:avLst/>
            </a:prstGeom>
            <a:noFill/>
          </p:spPr>
          <p:txBody>
            <a:bodyPr wrap="none" lIns="0" tIns="0" rIns="0" bIns="0" rtlCol="0" anchor="t">
              <a:spAutoFit/>
            </a:bodyPr>
            <a:lstStyle/>
            <a:p>
              <a:pPr algn="l"/>
              <a:r>
                <a:rPr lang="en-US" altLang="zh-CN" dirty="0">
                  <a:solidFill>
                    <a:schemeClr val="accent1"/>
                  </a:solidFill>
                  <a:latin typeface="+mj-ea"/>
                  <a:ea typeface="+mj-ea"/>
                </a:rPr>
                <a:t>03</a:t>
              </a:r>
              <a:endParaRPr lang="zh-CN" altLang="en-US" dirty="0">
                <a:solidFill>
                  <a:schemeClr val="accent1"/>
                </a:solidFill>
                <a:latin typeface="+mj-ea"/>
                <a:ea typeface="+mj-ea"/>
              </a:endParaRPr>
            </a:p>
          </p:txBody>
        </p:sp>
        <p:cxnSp>
          <p:nvCxnSpPr>
            <p:cNvPr id="31" name="直接连接符 30">
              <a:extLst>
                <a:ext uri="{FF2B5EF4-FFF2-40B4-BE49-F238E27FC236}">
                  <a16:creationId xmlns:a16="http://schemas.microsoft.com/office/drawing/2014/main" id="{F8B3114C-EAC5-48B3-BD22-4D0E92792664}"/>
                </a:ext>
              </a:extLst>
            </p:cNvPr>
            <p:cNvCxnSpPr>
              <a:cxnSpLocks/>
            </p:cNvCxnSpPr>
            <p:nvPr/>
          </p:nvCxnSpPr>
          <p:spPr>
            <a:xfrm flipH="1">
              <a:off x="7622524" y="1808131"/>
              <a:ext cx="422386" cy="187357"/>
            </a:xfrm>
            <a:prstGeom prst="line">
              <a:avLst/>
            </a:prstGeom>
            <a:ln w="19050"/>
          </p:spPr>
          <p:style>
            <a:lnRef idx="1">
              <a:schemeClr val="accent1"/>
            </a:lnRef>
            <a:fillRef idx="0">
              <a:schemeClr val="accent1"/>
            </a:fillRef>
            <a:effectRef idx="0">
              <a:schemeClr val="accent1"/>
            </a:effectRef>
            <a:fontRef idx="minor">
              <a:schemeClr val="tx1"/>
            </a:fontRef>
          </p:style>
        </p:cxnSp>
      </p:grpSp>
      <p:grpSp>
        <p:nvGrpSpPr>
          <p:cNvPr id="32" name="组合 31">
            <a:extLst>
              <a:ext uri="{FF2B5EF4-FFF2-40B4-BE49-F238E27FC236}">
                <a16:creationId xmlns:a16="http://schemas.microsoft.com/office/drawing/2014/main" id="{6066BFB3-2EE8-4690-9BDF-A46EA92C829E}"/>
              </a:ext>
            </a:extLst>
          </p:cNvPr>
          <p:cNvGrpSpPr/>
          <p:nvPr/>
        </p:nvGrpSpPr>
        <p:grpSpPr>
          <a:xfrm>
            <a:off x="2203061" y="1796288"/>
            <a:ext cx="422386" cy="3831630"/>
            <a:chOff x="7622524" y="1549400"/>
            <a:chExt cx="422386" cy="3831630"/>
          </a:xfrm>
        </p:grpSpPr>
        <p:sp>
          <p:nvSpPr>
            <p:cNvPr id="33" name="文本框 32">
              <a:extLst>
                <a:ext uri="{FF2B5EF4-FFF2-40B4-BE49-F238E27FC236}">
                  <a16:creationId xmlns:a16="http://schemas.microsoft.com/office/drawing/2014/main" id="{75B96AC4-51CB-4B1F-B28C-310DEACB4A96}"/>
                </a:ext>
              </a:extLst>
            </p:cNvPr>
            <p:cNvSpPr txBox="1"/>
            <p:nvPr/>
          </p:nvSpPr>
          <p:spPr>
            <a:xfrm>
              <a:off x="7647734" y="1995488"/>
              <a:ext cx="369332" cy="3385542"/>
            </a:xfrm>
            <a:prstGeom prst="rect">
              <a:avLst/>
            </a:prstGeom>
            <a:noFill/>
          </p:spPr>
          <p:txBody>
            <a:bodyPr vert="eaVert" wrap="none" lIns="0" tIns="0" rIns="0" bIns="0" rtlCol="0" anchor="t">
              <a:spAutoFit/>
            </a:bodyPr>
            <a:lstStyle/>
            <a:p>
              <a:pPr algn="l"/>
              <a:r>
                <a:rPr lang="zh-CN" altLang="en-US" sz="2400" dirty="0">
                  <a:solidFill>
                    <a:schemeClr val="accent1"/>
                  </a:solidFill>
                </a:rPr>
                <a:t>在这里输入你的目录标题</a:t>
              </a:r>
            </a:p>
          </p:txBody>
        </p:sp>
        <p:sp>
          <p:nvSpPr>
            <p:cNvPr id="34" name="文本框 33">
              <a:extLst>
                <a:ext uri="{FF2B5EF4-FFF2-40B4-BE49-F238E27FC236}">
                  <a16:creationId xmlns:a16="http://schemas.microsoft.com/office/drawing/2014/main" id="{20FC02B2-4CB2-4B97-B3AE-D8F9F7467A77}"/>
                </a:ext>
              </a:extLst>
            </p:cNvPr>
            <p:cNvSpPr txBox="1"/>
            <p:nvPr/>
          </p:nvSpPr>
          <p:spPr>
            <a:xfrm>
              <a:off x="7675744" y="1549400"/>
              <a:ext cx="304571" cy="276999"/>
            </a:xfrm>
            <a:prstGeom prst="rect">
              <a:avLst/>
            </a:prstGeom>
            <a:noFill/>
          </p:spPr>
          <p:txBody>
            <a:bodyPr wrap="none" lIns="0" tIns="0" rIns="0" bIns="0" rtlCol="0" anchor="t">
              <a:spAutoFit/>
            </a:bodyPr>
            <a:lstStyle/>
            <a:p>
              <a:pPr algn="l"/>
              <a:r>
                <a:rPr lang="en-US" altLang="zh-CN" dirty="0">
                  <a:solidFill>
                    <a:schemeClr val="accent1"/>
                  </a:solidFill>
                  <a:latin typeface="+mj-ea"/>
                  <a:ea typeface="+mj-ea"/>
                </a:rPr>
                <a:t>04</a:t>
              </a:r>
              <a:endParaRPr lang="zh-CN" altLang="en-US" dirty="0">
                <a:solidFill>
                  <a:schemeClr val="accent1"/>
                </a:solidFill>
                <a:latin typeface="+mj-ea"/>
                <a:ea typeface="+mj-ea"/>
              </a:endParaRPr>
            </a:p>
          </p:txBody>
        </p:sp>
        <p:cxnSp>
          <p:nvCxnSpPr>
            <p:cNvPr id="35" name="直接连接符 34">
              <a:extLst>
                <a:ext uri="{FF2B5EF4-FFF2-40B4-BE49-F238E27FC236}">
                  <a16:creationId xmlns:a16="http://schemas.microsoft.com/office/drawing/2014/main" id="{91D8D18F-D39D-4384-9641-D5E29F40FD95}"/>
                </a:ext>
              </a:extLst>
            </p:cNvPr>
            <p:cNvCxnSpPr>
              <a:cxnSpLocks/>
            </p:cNvCxnSpPr>
            <p:nvPr/>
          </p:nvCxnSpPr>
          <p:spPr>
            <a:xfrm flipH="1">
              <a:off x="7622524" y="1808131"/>
              <a:ext cx="422386" cy="187357"/>
            </a:xfrm>
            <a:prstGeom prst="line">
              <a:avLst/>
            </a:prstGeom>
            <a:ln w="19050"/>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407147634"/>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圆角 1">
            <a:extLst>
              <a:ext uri="{FF2B5EF4-FFF2-40B4-BE49-F238E27FC236}">
                <a16:creationId xmlns:a16="http://schemas.microsoft.com/office/drawing/2014/main" id="{346A2E6B-EC39-4AEA-BFC0-54FFD5FEDC33}"/>
              </a:ext>
            </a:extLst>
          </p:cNvPr>
          <p:cNvSpPr/>
          <p:nvPr/>
        </p:nvSpPr>
        <p:spPr>
          <a:xfrm>
            <a:off x="5438775" y="-2057400"/>
            <a:ext cx="1314450" cy="3638550"/>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p>
        </p:txBody>
      </p:sp>
      <p:sp>
        <p:nvSpPr>
          <p:cNvPr id="4" name="文本框 3">
            <a:extLst>
              <a:ext uri="{FF2B5EF4-FFF2-40B4-BE49-F238E27FC236}">
                <a16:creationId xmlns:a16="http://schemas.microsoft.com/office/drawing/2014/main" id="{90ED32EA-7142-435E-A44A-5700D90A286F}"/>
              </a:ext>
            </a:extLst>
          </p:cNvPr>
          <p:cNvSpPr txBox="1"/>
          <p:nvPr/>
        </p:nvSpPr>
        <p:spPr>
          <a:xfrm>
            <a:off x="5757446" y="250952"/>
            <a:ext cx="677108" cy="1128514"/>
          </a:xfrm>
          <a:prstGeom prst="rect">
            <a:avLst/>
          </a:prstGeom>
          <a:noFill/>
        </p:spPr>
        <p:txBody>
          <a:bodyPr vert="eaVert" wrap="none" lIns="0" tIns="0" rIns="0" bIns="0" rtlCol="0" anchor="t">
            <a:spAutoFit/>
          </a:bodyPr>
          <a:lstStyle/>
          <a:p>
            <a:pPr algn="l"/>
            <a:r>
              <a:rPr lang="zh-CN" altLang="en-US" sz="4400" dirty="0">
                <a:solidFill>
                  <a:schemeClr val="bg1"/>
                </a:solidFill>
              </a:rPr>
              <a:t>目录</a:t>
            </a:r>
          </a:p>
        </p:txBody>
      </p:sp>
      <p:grpSp>
        <p:nvGrpSpPr>
          <p:cNvPr id="26" name="组合 25">
            <a:extLst>
              <a:ext uri="{FF2B5EF4-FFF2-40B4-BE49-F238E27FC236}">
                <a16:creationId xmlns:a16="http://schemas.microsoft.com/office/drawing/2014/main" id="{57E69221-4EC0-4D1C-87AC-B5B56AA8436B}"/>
              </a:ext>
            </a:extLst>
          </p:cNvPr>
          <p:cNvGrpSpPr/>
          <p:nvPr/>
        </p:nvGrpSpPr>
        <p:grpSpPr>
          <a:xfrm>
            <a:off x="8823952" y="2404682"/>
            <a:ext cx="878475" cy="3385542"/>
            <a:chOff x="9706658" y="2404682"/>
            <a:chExt cx="878475" cy="3385542"/>
          </a:xfrm>
        </p:grpSpPr>
        <p:sp>
          <p:nvSpPr>
            <p:cNvPr id="25" name="矩形: 圆角 24">
              <a:extLst>
                <a:ext uri="{FF2B5EF4-FFF2-40B4-BE49-F238E27FC236}">
                  <a16:creationId xmlns:a16="http://schemas.microsoft.com/office/drawing/2014/main" id="{8F33D7F2-0EB5-4617-B6FF-6D944EB21ACF}"/>
                </a:ext>
              </a:extLst>
            </p:cNvPr>
            <p:cNvSpPr/>
            <p:nvPr/>
          </p:nvSpPr>
          <p:spPr>
            <a:xfrm>
              <a:off x="10218421" y="2421731"/>
              <a:ext cx="366712" cy="897731"/>
            </a:xfrm>
            <a:prstGeom prst="roundRect">
              <a:avLst>
                <a:gd name="adj" fmla="val 50000"/>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solidFill>
                  <a:schemeClr val="accent1"/>
                </a:solidFill>
              </a:endParaRPr>
            </a:p>
          </p:txBody>
        </p:sp>
        <p:sp>
          <p:nvSpPr>
            <p:cNvPr id="5" name="文本框 4">
              <a:extLst>
                <a:ext uri="{FF2B5EF4-FFF2-40B4-BE49-F238E27FC236}">
                  <a16:creationId xmlns:a16="http://schemas.microsoft.com/office/drawing/2014/main" id="{4449D6EC-C7BA-474C-ADE8-B3F7CE584A1B}"/>
                </a:ext>
              </a:extLst>
            </p:cNvPr>
            <p:cNvSpPr txBox="1"/>
            <p:nvPr/>
          </p:nvSpPr>
          <p:spPr>
            <a:xfrm>
              <a:off x="9706658" y="2404682"/>
              <a:ext cx="369332" cy="3385542"/>
            </a:xfrm>
            <a:prstGeom prst="rect">
              <a:avLst/>
            </a:prstGeom>
            <a:noFill/>
          </p:spPr>
          <p:txBody>
            <a:bodyPr vert="eaVert" wrap="none" lIns="0" tIns="0" rIns="0" bIns="0" rtlCol="0" anchor="t">
              <a:spAutoFit/>
            </a:bodyPr>
            <a:lstStyle/>
            <a:p>
              <a:pPr algn="l"/>
              <a:r>
                <a:rPr lang="zh-CN" altLang="en-US" sz="2400" dirty="0">
                  <a:solidFill>
                    <a:schemeClr val="accent1"/>
                  </a:solidFill>
                </a:rPr>
                <a:t>在这里输入你的目录标题</a:t>
              </a:r>
            </a:p>
          </p:txBody>
        </p:sp>
        <p:sp>
          <p:nvSpPr>
            <p:cNvPr id="7" name="文本框 6">
              <a:extLst>
                <a:ext uri="{FF2B5EF4-FFF2-40B4-BE49-F238E27FC236}">
                  <a16:creationId xmlns:a16="http://schemas.microsoft.com/office/drawing/2014/main" id="{A030B95F-35C8-49D2-B857-9C8472D12276}"/>
                </a:ext>
              </a:extLst>
            </p:cNvPr>
            <p:cNvSpPr txBox="1"/>
            <p:nvPr/>
          </p:nvSpPr>
          <p:spPr>
            <a:xfrm>
              <a:off x="10266367" y="2524348"/>
              <a:ext cx="276999" cy="692497"/>
            </a:xfrm>
            <a:prstGeom prst="rect">
              <a:avLst/>
            </a:prstGeom>
            <a:noFill/>
          </p:spPr>
          <p:txBody>
            <a:bodyPr vert="eaVert" wrap="none" lIns="0" tIns="0" rIns="0" bIns="0" rtlCol="0" anchor="t">
              <a:spAutoFit/>
            </a:bodyPr>
            <a:lstStyle/>
            <a:p>
              <a:pPr algn="l"/>
              <a:r>
                <a:rPr lang="zh-CN" altLang="en-US" dirty="0">
                  <a:solidFill>
                    <a:schemeClr val="accent1"/>
                  </a:solidFill>
                </a:rPr>
                <a:t>第一章</a:t>
              </a:r>
            </a:p>
          </p:txBody>
        </p:sp>
      </p:grpSp>
      <p:grpSp>
        <p:nvGrpSpPr>
          <p:cNvPr id="27" name="组合 26">
            <a:extLst>
              <a:ext uri="{FF2B5EF4-FFF2-40B4-BE49-F238E27FC236}">
                <a16:creationId xmlns:a16="http://schemas.microsoft.com/office/drawing/2014/main" id="{F42E3F20-78C3-4354-A672-2DEC1C5DCB01}"/>
              </a:ext>
            </a:extLst>
          </p:cNvPr>
          <p:cNvGrpSpPr/>
          <p:nvPr/>
        </p:nvGrpSpPr>
        <p:grpSpPr>
          <a:xfrm>
            <a:off x="6712492" y="2404682"/>
            <a:ext cx="878475" cy="3385542"/>
            <a:chOff x="9706658" y="2404682"/>
            <a:chExt cx="878475" cy="3385542"/>
          </a:xfrm>
        </p:grpSpPr>
        <p:sp>
          <p:nvSpPr>
            <p:cNvPr id="28" name="矩形: 圆角 27">
              <a:extLst>
                <a:ext uri="{FF2B5EF4-FFF2-40B4-BE49-F238E27FC236}">
                  <a16:creationId xmlns:a16="http://schemas.microsoft.com/office/drawing/2014/main" id="{6F3095D5-4085-47F3-A4BB-43394917F1E3}"/>
                </a:ext>
              </a:extLst>
            </p:cNvPr>
            <p:cNvSpPr/>
            <p:nvPr/>
          </p:nvSpPr>
          <p:spPr>
            <a:xfrm>
              <a:off x="10218421" y="2421731"/>
              <a:ext cx="366712" cy="897731"/>
            </a:xfrm>
            <a:prstGeom prst="roundRect">
              <a:avLst>
                <a:gd name="adj" fmla="val 50000"/>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solidFill>
                  <a:schemeClr val="accent1"/>
                </a:solidFill>
              </a:endParaRPr>
            </a:p>
          </p:txBody>
        </p:sp>
        <p:sp>
          <p:nvSpPr>
            <p:cNvPr id="29" name="文本框 28">
              <a:extLst>
                <a:ext uri="{FF2B5EF4-FFF2-40B4-BE49-F238E27FC236}">
                  <a16:creationId xmlns:a16="http://schemas.microsoft.com/office/drawing/2014/main" id="{1EA6D8B1-2DF1-42DE-92C2-02CEF37ACDC7}"/>
                </a:ext>
              </a:extLst>
            </p:cNvPr>
            <p:cNvSpPr txBox="1"/>
            <p:nvPr/>
          </p:nvSpPr>
          <p:spPr>
            <a:xfrm>
              <a:off x="9706658" y="2404682"/>
              <a:ext cx="369332" cy="3385542"/>
            </a:xfrm>
            <a:prstGeom prst="rect">
              <a:avLst/>
            </a:prstGeom>
            <a:noFill/>
          </p:spPr>
          <p:txBody>
            <a:bodyPr vert="eaVert" wrap="none" lIns="0" tIns="0" rIns="0" bIns="0" rtlCol="0" anchor="t">
              <a:spAutoFit/>
            </a:bodyPr>
            <a:lstStyle/>
            <a:p>
              <a:pPr algn="l"/>
              <a:r>
                <a:rPr lang="zh-CN" altLang="en-US" sz="2400" dirty="0">
                  <a:solidFill>
                    <a:schemeClr val="accent1"/>
                  </a:solidFill>
                </a:rPr>
                <a:t>在这里输入你的目录标题</a:t>
              </a:r>
            </a:p>
          </p:txBody>
        </p:sp>
        <p:sp>
          <p:nvSpPr>
            <p:cNvPr id="30" name="文本框 29">
              <a:extLst>
                <a:ext uri="{FF2B5EF4-FFF2-40B4-BE49-F238E27FC236}">
                  <a16:creationId xmlns:a16="http://schemas.microsoft.com/office/drawing/2014/main" id="{045F553F-B767-4403-9ABC-3D66C9AFAF11}"/>
                </a:ext>
              </a:extLst>
            </p:cNvPr>
            <p:cNvSpPr txBox="1"/>
            <p:nvPr/>
          </p:nvSpPr>
          <p:spPr>
            <a:xfrm>
              <a:off x="10266367" y="2524348"/>
              <a:ext cx="276999" cy="692497"/>
            </a:xfrm>
            <a:prstGeom prst="rect">
              <a:avLst/>
            </a:prstGeom>
            <a:noFill/>
          </p:spPr>
          <p:txBody>
            <a:bodyPr vert="eaVert" wrap="none" lIns="0" tIns="0" rIns="0" bIns="0" rtlCol="0" anchor="t">
              <a:spAutoFit/>
            </a:bodyPr>
            <a:lstStyle/>
            <a:p>
              <a:pPr algn="l"/>
              <a:r>
                <a:rPr lang="zh-CN" altLang="en-US" dirty="0">
                  <a:solidFill>
                    <a:schemeClr val="accent1"/>
                  </a:solidFill>
                </a:rPr>
                <a:t>第二章</a:t>
              </a:r>
            </a:p>
          </p:txBody>
        </p:sp>
      </p:grpSp>
      <p:grpSp>
        <p:nvGrpSpPr>
          <p:cNvPr id="31" name="组合 30">
            <a:extLst>
              <a:ext uri="{FF2B5EF4-FFF2-40B4-BE49-F238E27FC236}">
                <a16:creationId xmlns:a16="http://schemas.microsoft.com/office/drawing/2014/main" id="{1A7200F9-3C18-4600-9D74-39F5C9A3E5EE}"/>
              </a:ext>
            </a:extLst>
          </p:cNvPr>
          <p:cNvGrpSpPr/>
          <p:nvPr/>
        </p:nvGrpSpPr>
        <p:grpSpPr>
          <a:xfrm>
            <a:off x="4601033" y="2404682"/>
            <a:ext cx="878475" cy="3385542"/>
            <a:chOff x="9706658" y="2404682"/>
            <a:chExt cx="878475" cy="3385542"/>
          </a:xfrm>
        </p:grpSpPr>
        <p:sp>
          <p:nvSpPr>
            <p:cNvPr id="32" name="矩形: 圆角 31">
              <a:extLst>
                <a:ext uri="{FF2B5EF4-FFF2-40B4-BE49-F238E27FC236}">
                  <a16:creationId xmlns:a16="http://schemas.microsoft.com/office/drawing/2014/main" id="{7B6A0861-D892-49CC-82BF-51D2CAACE446}"/>
                </a:ext>
              </a:extLst>
            </p:cNvPr>
            <p:cNvSpPr/>
            <p:nvPr/>
          </p:nvSpPr>
          <p:spPr>
            <a:xfrm>
              <a:off x="10218421" y="2421731"/>
              <a:ext cx="366712" cy="897731"/>
            </a:xfrm>
            <a:prstGeom prst="roundRect">
              <a:avLst>
                <a:gd name="adj" fmla="val 50000"/>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solidFill>
                  <a:schemeClr val="accent1"/>
                </a:solidFill>
              </a:endParaRPr>
            </a:p>
          </p:txBody>
        </p:sp>
        <p:sp>
          <p:nvSpPr>
            <p:cNvPr id="33" name="文本框 32">
              <a:extLst>
                <a:ext uri="{FF2B5EF4-FFF2-40B4-BE49-F238E27FC236}">
                  <a16:creationId xmlns:a16="http://schemas.microsoft.com/office/drawing/2014/main" id="{94D831BE-749B-4DBF-96DF-9BD6C50FA082}"/>
                </a:ext>
              </a:extLst>
            </p:cNvPr>
            <p:cNvSpPr txBox="1"/>
            <p:nvPr/>
          </p:nvSpPr>
          <p:spPr>
            <a:xfrm>
              <a:off x="9706658" y="2404682"/>
              <a:ext cx="369332" cy="3385542"/>
            </a:xfrm>
            <a:prstGeom prst="rect">
              <a:avLst/>
            </a:prstGeom>
            <a:noFill/>
          </p:spPr>
          <p:txBody>
            <a:bodyPr vert="eaVert" wrap="none" lIns="0" tIns="0" rIns="0" bIns="0" rtlCol="0" anchor="t">
              <a:spAutoFit/>
            </a:bodyPr>
            <a:lstStyle/>
            <a:p>
              <a:pPr algn="l"/>
              <a:r>
                <a:rPr lang="zh-CN" altLang="en-US" sz="2400" dirty="0">
                  <a:solidFill>
                    <a:schemeClr val="accent1"/>
                  </a:solidFill>
                </a:rPr>
                <a:t>在这里输入你的目录标题</a:t>
              </a:r>
            </a:p>
          </p:txBody>
        </p:sp>
        <p:sp>
          <p:nvSpPr>
            <p:cNvPr id="34" name="文本框 33">
              <a:extLst>
                <a:ext uri="{FF2B5EF4-FFF2-40B4-BE49-F238E27FC236}">
                  <a16:creationId xmlns:a16="http://schemas.microsoft.com/office/drawing/2014/main" id="{BC5DAC7E-900E-4428-9F6B-A157260D1814}"/>
                </a:ext>
              </a:extLst>
            </p:cNvPr>
            <p:cNvSpPr txBox="1"/>
            <p:nvPr/>
          </p:nvSpPr>
          <p:spPr>
            <a:xfrm>
              <a:off x="10266367" y="2524348"/>
              <a:ext cx="276999" cy="692497"/>
            </a:xfrm>
            <a:prstGeom prst="rect">
              <a:avLst/>
            </a:prstGeom>
            <a:noFill/>
          </p:spPr>
          <p:txBody>
            <a:bodyPr vert="eaVert" wrap="none" lIns="0" tIns="0" rIns="0" bIns="0" rtlCol="0" anchor="t">
              <a:spAutoFit/>
            </a:bodyPr>
            <a:lstStyle/>
            <a:p>
              <a:pPr algn="l"/>
              <a:r>
                <a:rPr lang="zh-CN" altLang="en-US" dirty="0">
                  <a:solidFill>
                    <a:schemeClr val="accent1"/>
                  </a:solidFill>
                </a:rPr>
                <a:t>第三章</a:t>
              </a:r>
            </a:p>
          </p:txBody>
        </p:sp>
      </p:grpSp>
      <p:grpSp>
        <p:nvGrpSpPr>
          <p:cNvPr id="35" name="组合 34">
            <a:extLst>
              <a:ext uri="{FF2B5EF4-FFF2-40B4-BE49-F238E27FC236}">
                <a16:creationId xmlns:a16="http://schemas.microsoft.com/office/drawing/2014/main" id="{4D64B489-44F5-4EF5-B6BC-C17897F71FAB}"/>
              </a:ext>
            </a:extLst>
          </p:cNvPr>
          <p:cNvGrpSpPr/>
          <p:nvPr/>
        </p:nvGrpSpPr>
        <p:grpSpPr>
          <a:xfrm>
            <a:off x="2489574" y="2404682"/>
            <a:ext cx="878475" cy="3385542"/>
            <a:chOff x="9706658" y="2404682"/>
            <a:chExt cx="878475" cy="3385542"/>
          </a:xfrm>
        </p:grpSpPr>
        <p:sp>
          <p:nvSpPr>
            <p:cNvPr id="36" name="矩形: 圆角 35">
              <a:extLst>
                <a:ext uri="{FF2B5EF4-FFF2-40B4-BE49-F238E27FC236}">
                  <a16:creationId xmlns:a16="http://schemas.microsoft.com/office/drawing/2014/main" id="{6C6E1102-20C7-48D6-A233-DA644C3FC190}"/>
                </a:ext>
              </a:extLst>
            </p:cNvPr>
            <p:cNvSpPr/>
            <p:nvPr/>
          </p:nvSpPr>
          <p:spPr>
            <a:xfrm>
              <a:off x="10218421" y="2421731"/>
              <a:ext cx="366712" cy="897731"/>
            </a:xfrm>
            <a:prstGeom prst="roundRect">
              <a:avLst>
                <a:gd name="adj" fmla="val 50000"/>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solidFill>
                  <a:schemeClr val="accent1"/>
                </a:solidFill>
              </a:endParaRPr>
            </a:p>
          </p:txBody>
        </p:sp>
        <p:sp>
          <p:nvSpPr>
            <p:cNvPr id="37" name="文本框 36">
              <a:extLst>
                <a:ext uri="{FF2B5EF4-FFF2-40B4-BE49-F238E27FC236}">
                  <a16:creationId xmlns:a16="http://schemas.microsoft.com/office/drawing/2014/main" id="{A1E38005-C4CB-40AD-9F90-BCEB525E4878}"/>
                </a:ext>
              </a:extLst>
            </p:cNvPr>
            <p:cNvSpPr txBox="1"/>
            <p:nvPr/>
          </p:nvSpPr>
          <p:spPr>
            <a:xfrm>
              <a:off x="9706658" y="2404682"/>
              <a:ext cx="369332" cy="3385542"/>
            </a:xfrm>
            <a:prstGeom prst="rect">
              <a:avLst/>
            </a:prstGeom>
            <a:noFill/>
          </p:spPr>
          <p:txBody>
            <a:bodyPr vert="eaVert" wrap="none" lIns="0" tIns="0" rIns="0" bIns="0" rtlCol="0" anchor="t">
              <a:spAutoFit/>
            </a:bodyPr>
            <a:lstStyle/>
            <a:p>
              <a:pPr algn="l"/>
              <a:r>
                <a:rPr lang="zh-CN" altLang="en-US" sz="2400" dirty="0">
                  <a:solidFill>
                    <a:schemeClr val="accent1"/>
                  </a:solidFill>
                </a:rPr>
                <a:t>在这里输入你的目录标题</a:t>
              </a:r>
            </a:p>
          </p:txBody>
        </p:sp>
        <p:sp>
          <p:nvSpPr>
            <p:cNvPr id="38" name="文本框 37">
              <a:extLst>
                <a:ext uri="{FF2B5EF4-FFF2-40B4-BE49-F238E27FC236}">
                  <a16:creationId xmlns:a16="http://schemas.microsoft.com/office/drawing/2014/main" id="{6D987339-29F4-43D6-8E2A-F6B4150A79B1}"/>
                </a:ext>
              </a:extLst>
            </p:cNvPr>
            <p:cNvSpPr txBox="1"/>
            <p:nvPr/>
          </p:nvSpPr>
          <p:spPr>
            <a:xfrm>
              <a:off x="10266367" y="2524348"/>
              <a:ext cx="276999" cy="692497"/>
            </a:xfrm>
            <a:prstGeom prst="rect">
              <a:avLst/>
            </a:prstGeom>
            <a:noFill/>
          </p:spPr>
          <p:txBody>
            <a:bodyPr vert="eaVert" wrap="none" lIns="0" tIns="0" rIns="0" bIns="0" rtlCol="0" anchor="t">
              <a:spAutoFit/>
            </a:bodyPr>
            <a:lstStyle/>
            <a:p>
              <a:pPr algn="l"/>
              <a:r>
                <a:rPr lang="zh-CN" altLang="en-US" dirty="0">
                  <a:solidFill>
                    <a:schemeClr val="accent1"/>
                  </a:solidFill>
                </a:rPr>
                <a:t>第四章</a:t>
              </a:r>
            </a:p>
          </p:txBody>
        </p:sp>
      </p:grpSp>
    </p:spTree>
    <p:extLst>
      <p:ext uri="{BB962C8B-B14F-4D97-AF65-F5344CB8AC3E}">
        <p14:creationId xmlns:p14="http://schemas.microsoft.com/office/powerpoint/2010/main" val="3490962517"/>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矩形: 圆角 4">
            <a:extLst>
              <a:ext uri="{FF2B5EF4-FFF2-40B4-BE49-F238E27FC236}">
                <a16:creationId xmlns:a16="http://schemas.microsoft.com/office/drawing/2014/main" id="{BA565A62-6F35-49DD-8A91-979CCA4B1D2C}"/>
              </a:ext>
            </a:extLst>
          </p:cNvPr>
          <p:cNvSpPr/>
          <p:nvPr/>
        </p:nvSpPr>
        <p:spPr>
          <a:xfrm>
            <a:off x="330200" y="355600"/>
            <a:ext cx="11531600" cy="6096000"/>
          </a:xfrm>
          <a:prstGeom prst="roundRect">
            <a:avLst>
              <a:gd name="adj" fmla="val 5000"/>
            </a:avLst>
          </a:prstGeom>
          <a:solidFill>
            <a:schemeClr val="accent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p>
        </p:txBody>
      </p:sp>
      <p:sp>
        <p:nvSpPr>
          <p:cNvPr id="4" name="任意多边形: 形状 3">
            <a:extLst>
              <a:ext uri="{FF2B5EF4-FFF2-40B4-BE49-F238E27FC236}">
                <a16:creationId xmlns:a16="http://schemas.microsoft.com/office/drawing/2014/main" id="{BA8F35DB-6B2F-465B-A1F8-54C022C7ACDA}"/>
              </a:ext>
            </a:extLst>
          </p:cNvPr>
          <p:cNvSpPr/>
          <p:nvPr/>
        </p:nvSpPr>
        <p:spPr>
          <a:xfrm>
            <a:off x="0" y="4296573"/>
            <a:ext cx="12192000" cy="2561428"/>
          </a:xfrm>
          <a:custGeom>
            <a:avLst/>
            <a:gdLst>
              <a:gd name="connsiteX0" fmla="*/ 0 w 12192000"/>
              <a:gd name="connsiteY0" fmla="*/ 0 h 2623229"/>
              <a:gd name="connsiteX1" fmla="*/ 227403 w 12192000"/>
              <a:gd name="connsiteY1" fmla="*/ 84806 h 2623229"/>
              <a:gd name="connsiteX2" fmla="*/ 6096000 w 12192000"/>
              <a:gd name="connsiteY2" fmla="*/ 908729 h 2623229"/>
              <a:gd name="connsiteX3" fmla="*/ 11964598 w 12192000"/>
              <a:gd name="connsiteY3" fmla="*/ 84806 h 2623229"/>
              <a:gd name="connsiteX4" fmla="*/ 12192000 w 12192000"/>
              <a:gd name="connsiteY4" fmla="*/ 0 h 2623229"/>
              <a:gd name="connsiteX5" fmla="*/ 12192000 w 12192000"/>
              <a:gd name="connsiteY5" fmla="*/ 2623229 h 2623229"/>
              <a:gd name="connsiteX6" fmla="*/ 0 w 12192000"/>
              <a:gd name="connsiteY6" fmla="*/ 2623229 h 2623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2623229">
                <a:moveTo>
                  <a:pt x="0" y="0"/>
                </a:moveTo>
                <a:lnTo>
                  <a:pt x="227403" y="84806"/>
                </a:lnTo>
                <a:cubicBezTo>
                  <a:pt x="1729308" y="593868"/>
                  <a:pt x="3804170" y="908729"/>
                  <a:pt x="6096000" y="908729"/>
                </a:cubicBezTo>
                <a:cubicBezTo>
                  <a:pt x="8387830" y="908729"/>
                  <a:pt x="10462693" y="593868"/>
                  <a:pt x="11964598" y="84806"/>
                </a:cubicBezTo>
                <a:lnTo>
                  <a:pt x="12192000" y="0"/>
                </a:lnTo>
                <a:lnTo>
                  <a:pt x="12192000" y="2623229"/>
                </a:lnTo>
                <a:lnTo>
                  <a:pt x="0" y="2623229"/>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6000" dirty="0"/>
          </a:p>
        </p:txBody>
      </p:sp>
      <p:sp>
        <p:nvSpPr>
          <p:cNvPr id="8" name="文本框 7">
            <a:extLst>
              <a:ext uri="{FF2B5EF4-FFF2-40B4-BE49-F238E27FC236}">
                <a16:creationId xmlns:a16="http://schemas.microsoft.com/office/drawing/2014/main" id="{2CDD6F24-16FD-4062-A117-81221D0494B1}"/>
              </a:ext>
            </a:extLst>
          </p:cNvPr>
          <p:cNvSpPr txBox="1"/>
          <p:nvPr/>
        </p:nvSpPr>
        <p:spPr>
          <a:xfrm>
            <a:off x="5400675" y="798836"/>
            <a:ext cx="1390650" cy="830997"/>
          </a:xfrm>
          <a:prstGeom prst="rect">
            <a:avLst/>
          </a:prstGeom>
          <a:noFill/>
        </p:spPr>
        <p:txBody>
          <a:bodyPr wrap="square" lIns="0" tIns="0" rIns="0" bIns="0" rtlCol="0" anchor="t">
            <a:spAutoFit/>
          </a:bodyPr>
          <a:lstStyle/>
          <a:p>
            <a:pPr algn="dist"/>
            <a:r>
              <a:rPr lang="zh-CN" altLang="en-US" sz="5400" dirty="0">
                <a:solidFill>
                  <a:schemeClr val="bg1"/>
                </a:solidFill>
                <a:latin typeface="+mj-ea"/>
                <a:ea typeface="+mj-ea"/>
              </a:rPr>
              <a:t>目录</a:t>
            </a:r>
          </a:p>
        </p:txBody>
      </p:sp>
      <p:grpSp>
        <p:nvGrpSpPr>
          <p:cNvPr id="9" name="组合 8">
            <a:extLst>
              <a:ext uri="{FF2B5EF4-FFF2-40B4-BE49-F238E27FC236}">
                <a16:creationId xmlns:a16="http://schemas.microsoft.com/office/drawing/2014/main" id="{F69CB0A0-F4B7-4867-8842-81439692CB1B}"/>
              </a:ext>
            </a:extLst>
          </p:cNvPr>
          <p:cNvGrpSpPr/>
          <p:nvPr/>
        </p:nvGrpSpPr>
        <p:grpSpPr>
          <a:xfrm>
            <a:off x="949516" y="2142338"/>
            <a:ext cx="2656713" cy="684292"/>
            <a:chOff x="1615995" y="3486156"/>
            <a:chExt cx="2656713" cy="684292"/>
          </a:xfrm>
        </p:grpSpPr>
        <p:sp>
          <p:nvSpPr>
            <p:cNvPr id="10" name="椭圆 9">
              <a:extLst>
                <a:ext uri="{FF2B5EF4-FFF2-40B4-BE49-F238E27FC236}">
                  <a16:creationId xmlns:a16="http://schemas.microsoft.com/office/drawing/2014/main" id="{3EDCA4B4-301D-4EC1-8FF0-EC0EEFBC4918}"/>
                </a:ext>
              </a:extLst>
            </p:cNvPr>
            <p:cNvSpPr/>
            <p:nvPr/>
          </p:nvSpPr>
          <p:spPr>
            <a:xfrm>
              <a:off x="1615995" y="3486156"/>
              <a:ext cx="684292" cy="684292"/>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050" dirty="0">
                  <a:solidFill>
                    <a:schemeClr val="bg1"/>
                  </a:solidFill>
                </a:rPr>
                <a:t>图标</a:t>
              </a:r>
            </a:p>
          </p:txBody>
        </p:sp>
        <p:sp>
          <p:nvSpPr>
            <p:cNvPr id="11" name="文本框 10">
              <a:extLst>
                <a:ext uri="{FF2B5EF4-FFF2-40B4-BE49-F238E27FC236}">
                  <a16:creationId xmlns:a16="http://schemas.microsoft.com/office/drawing/2014/main" id="{10868DF7-15C0-49DA-86B8-69B33D4703FF}"/>
                </a:ext>
              </a:extLst>
            </p:cNvPr>
            <p:cNvSpPr txBox="1"/>
            <p:nvPr/>
          </p:nvSpPr>
          <p:spPr>
            <a:xfrm>
              <a:off x="2426049" y="3535914"/>
              <a:ext cx="1846659" cy="369332"/>
            </a:xfrm>
            <a:prstGeom prst="rect">
              <a:avLst/>
            </a:prstGeom>
            <a:noFill/>
          </p:spPr>
          <p:txBody>
            <a:bodyPr wrap="none" lIns="0" tIns="0" rIns="0" bIns="0" rtlCol="0" anchor="t">
              <a:spAutoFit/>
            </a:bodyPr>
            <a:lstStyle/>
            <a:p>
              <a:r>
                <a:rPr lang="zh-CN" altLang="en-US" sz="2400" dirty="0">
                  <a:solidFill>
                    <a:schemeClr val="bg1"/>
                  </a:solidFill>
                  <a:latin typeface="+mj-ea"/>
                  <a:ea typeface="+mj-ea"/>
                </a:rPr>
                <a:t>输入目录标题</a:t>
              </a:r>
            </a:p>
          </p:txBody>
        </p:sp>
        <p:sp>
          <p:nvSpPr>
            <p:cNvPr id="12" name="文本框 11">
              <a:extLst>
                <a:ext uri="{FF2B5EF4-FFF2-40B4-BE49-F238E27FC236}">
                  <a16:creationId xmlns:a16="http://schemas.microsoft.com/office/drawing/2014/main" id="{18B60D35-7D24-418D-82FF-DFC2FDA60C56}"/>
                </a:ext>
              </a:extLst>
            </p:cNvPr>
            <p:cNvSpPr txBox="1"/>
            <p:nvPr/>
          </p:nvSpPr>
          <p:spPr>
            <a:xfrm>
              <a:off x="2426049" y="3905246"/>
              <a:ext cx="1803052" cy="215444"/>
            </a:xfrm>
            <a:prstGeom prst="rect">
              <a:avLst/>
            </a:prstGeom>
            <a:noFill/>
          </p:spPr>
          <p:txBody>
            <a:bodyPr wrap="square" lIns="0" tIns="0" rIns="0" bIns="0" rtlCol="0" anchor="t">
              <a:spAutoFit/>
            </a:bodyPr>
            <a:lstStyle/>
            <a:p>
              <a:pPr algn="dist"/>
              <a:r>
                <a:rPr lang="en-US" altLang="zh-CN" sz="1400" dirty="0">
                  <a:solidFill>
                    <a:schemeClr val="bg1"/>
                  </a:solidFill>
                </a:rPr>
                <a:t>Contents Title Here</a:t>
              </a:r>
              <a:endParaRPr lang="zh-CN" altLang="en-US" sz="1400" dirty="0">
                <a:solidFill>
                  <a:schemeClr val="bg1"/>
                </a:solidFill>
              </a:endParaRPr>
            </a:p>
          </p:txBody>
        </p:sp>
      </p:grpSp>
      <p:grpSp>
        <p:nvGrpSpPr>
          <p:cNvPr id="13" name="组合 12">
            <a:extLst>
              <a:ext uri="{FF2B5EF4-FFF2-40B4-BE49-F238E27FC236}">
                <a16:creationId xmlns:a16="http://schemas.microsoft.com/office/drawing/2014/main" id="{393CA0C5-9A35-4D9B-B738-40EDA480DE8F}"/>
              </a:ext>
            </a:extLst>
          </p:cNvPr>
          <p:cNvGrpSpPr/>
          <p:nvPr/>
        </p:nvGrpSpPr>
        <p:grpSpPr>
          <a:xfrm>
            <a:off x="4767644" y="2142338"/>
            <a:ext cx="2656713" cy="684292"/>
            <a:chOff x="1615995" y="3486156"/>
            <a:chExt cx="2656713" cy="684292"/>
          </a:xfrm>
        </p:grpSpPr>
        <p:sp>
          <p:nvSpPr>
            <p:cNvPr id="14" name="椭圆 13">
              <a:extLst>
                <a:ext uri="{FF2B5EF4-FFF2-40B4-BE49-F238E27FC236}">
                  <a16:creationId xmlns:a16="http://schemas.microsoft.com/office/drawing/2014/main" id="{B5BA23BA-DE41-492A-9D15-B2ACDD32709F}"/>
                </a:ext>
              </a:extLst>
            </p:cNvPr>
            <p:cNvSpPr/>
            <p:nvPr/>
          </p:nvSpPr>
          <p:spPr>
            <a:xfrm>
              <a:off x="1615995" y="3486156"/>
              <a:ext cx="684292" cy="684292"/>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050" dirty="0">
                  <a:solidFill>
                    <a:schemeClr val="bg1"/>
                  </a:solidFill>
                </a:rPr>
                <a:t>图标</a:t>
              </a:r>
            </a:p>
          </p:txBody>
        </p:sp>
        <p:sp>
          <p:nvSpPr>
            <p:cNvPr id="15" name="文本框 14">
              <a:extLst>
                <a:ext uri="{FF2B5EF4-FFF2-40B4-BE49-F238E27FC236}">
                  <a16:creationId xmlns:a16="http://schemas.microsoft.com/office/drawing/2014/main" id="{D4B6125C-831E-4F4E-A078-E40B94FBCF9E}"/>
                </a:ext>
              </a:extLst>
            </p:cNvPr>
            <p:cNvSpPr txBox="1"/>
            <p:nvPr/>
          </p:nvSpPr>
          <p:spPr>
            <a:xfrm>
              <a:off x="2426049" y="3535914"/>
              <a:ext cx="1846659" cy="369332"/>
            </a:xfrm>
            <a:prstGeom prst="rect">
              <a:avLst/>
            </a:prstGeom>
            <a:noFill/>
          </p:spPr>
          <p:txBody>
            <a:bodyPr wrap="none" lIns="0" tIns="0" rIns="0" bIns="0" rtlCol="0" anchor="t">
              <a:spAutoFit/>
            </a:bodyPr>
            <a:lstStyle/>
            <a:p>
              <a:r>
                <a:rPr lang="zh-CN" altLang="en-US" sz="2400" dirty="0">
                  <a:solidFill>
                    <a:schemeClr val="bg1"/>
                  </a:solidFill>
                  <a:latin typeface="+mj-ea"/>
                  <a:ea typeface="+mj-ea"/>
                </a:rPr>
                <a:t>输入目录标题</a:t>
              </a:r>
            </a:p>
          </p:txBody>
        </p:sp>
        <p:sp>
          <p:nvSpPr>
            <p:cNvPr id="16" name="文本框 15">
              <a:extLst>
                <a:ext uri="{FF2B5EF4-FFF2-40B4-BE49-F238E27FC236}">
                  <a16:creationId xmlns:a16="http://schemas.microsoft.com/office/drawing/2014/main" id="{D0C9A4C4-1133-4BF9-94FA-985773CA79FE}"/>
                </a:ext>
              </a:extLst>
            </p:cNvPr>
            <p:cNvSpPr txBox="1"/>
            <p:nvPr/>
          </p:nvSpPr>
          <p:spPr>
            <a:xfrm>
              <a:off x="2426049" y="3905246"/>
              <a:ext cx="1803052" cy="215444"/>
            </a:xfrm>
            <a:prstGeom prst="rect">
              <a:avLst/>
            </a:prstGeom>
            <a:noFill/>
          </p:spPr>
          <p:txBody>
            <a:bodyPr wrap="square" lIns="0" tIns="0" rIns="0" bIns="0" rtlCol="0" anchor="t">
              <a:spAutoFit/>
            </a:bodyPr>
            <a:lstStyle/>
            <a:p>
              <a:pPr algn="dist"/>
              <a:r>
                <a:rPr lang="en-US" altLang="zh-CN" sz="1400" dirty="0">
                  <a:solidFill>
                    <a:schemeClr val="bg1"/>
                  </a:solidFill>
                </a:rPr>
                <a:t>Contents Title Here</a:t>
              </a:r>
              <a:endParaRPr lang="zh-CN" altLang="en-US" sz="1400" dirty="0">
                <a:solidFill>
                  <a:schemeClr val="bg1"/>
                </a:solidFill>
              </a:endParaRPr>
            </a:p>
          </p:txBody>
        </p:sp>
      </p:grpSp>
      <p:grpSp>
        <p:nvGrpSpPr>
          <p:cNvPr id="17" name="组合 16">
            <a:extLst>
              <a:ext uri="{FF2B5EF4-FFF2-40B4-BE49-F238E27FC236}">
                <a16:creationId xmlns:a16="http://schemas.microsoft.com/office/drawing/2014/main" id="{EF550244-1CC8-418F-9AFD-65335A9CBC43}"/>
              </a:ext>
            </a:extLst>
          </p:cNvPr>
          <p:cNvGrpSpPr/>
          <p:nvPr/>
        </p:nvGrpSpPr>
        <p:grpSpPr>
          <a:xfrm>
            <a:off x="8585772" y="2142338"/>
            <a:ext cx="2656713" cy="684292"/>
            <a:chOff x="1615995" y="3486156"/>
            <a:chExt cx="2656713" cy="684292"/>
          </a:xfrm>
        </p:grpSpPr>
        <p:sp>
          <p:nvSpPr>
            <p:cNvPr id="18" name="椭圆 17">
              <a:extLst>
                <a:ext uri="{FF2B5EF4-FFF2-40B4-BE49-F238E27FC236}">
                  <a16:creationId xmlns:a16="http://schemas.microsoft.com/office/drawing/2014/main" id="{6BCD1A58-73BE-4BEF-89BF-083EF4686937}"/>
                </a:ext>
              </a:extLst>
            </p:cNvPr>
            <p:cNvSpPr/>
            <p:nvPr/>
          </p:nvSpPr>
          <p:spPr>
            <a:xfrm>
              <a:off x="1615995" y="3486156"/>
              <a:ext cx="684292" cy="684292"/>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050" dirty="0">
                  <a:solidFill>
                    <a:schemeClr val="bg1"/>
                  </a:solidFill>
                </a:rPr>
                <a:t>图标</a:t>
              </a:r>
            </a:p>
          </p:txBody>
        </p:sp>
        <p:sp>
          <p:nvSpPr>
            <p:cNvPr id="19" name="文本框 18">
              <a:extLst>
                <a:ext uri="{FF2B5EF4-FFF2-40B4-BE49-F238E27FC236}">
                  <a16:creationId xmlns:a16="http://schemas.microsoft.com/office/drawing/2014/main" id="{90F26BCC-F6F2-4E81-A69B-FC6B09AC35FC}"/>
                </a:ext>
              </a:extLst>
            </p:cNvPr>
            <p:cNvSpPr txBox="1"/>
            <p:nvPr/>
          </p:nvSpPr>
          <p:spPr>
            <a:xfrm>
              <a:off x="2426049" y="3535914"/>
              <a:ext cx="1846659" cy="369332"/>
            </a:xfrm>
            <a:prstGeom prst="rect">
              <a:avLst/>
            </a:prstGeom>
            <a:noFill/>
          </p:spPr>
          <p:txBody>
            <a:bodyPr wrap="none" lIns="0" tIns="0" rIns="0" bIns="0" rtlCol="0" anchor="t">
              <a:spAutoFit/>
            </a:bodyPr>
            <a:lstStyle/>
            <a:p>
              <a:r>
                <a:rPr lang="zh-CN" altLang="en-US" sz="2400" dirty="0">
                  <a:solidFill>
                    <a:schemeClr val="bg1"/>
                  </a:solidFill>
                  <a:latin typeface="+mj-ea"/>
                  <a:ea typeface="+mj-ea"/>
                </a:rPr>
                <a:t>输入目录标题</a:t>
              </a:r>
            </a:p>
          </p:txBody>
        </p:sp>
        <p:sp>
          <p:nvSpPr>
            <p:cNvPr id="20" name="文本框 19">
              <a:extLst>
                <a:ext uri="{FF2B5EF4-FFF2-40B4-BE49-F238E27FC236}">
                  <a16:creationId xmlns:a16="http://schemas.microsoft.com/office/drawing/2014/main" id="{40AEBFFD-D15F-4C67-BC9A-65E419513E30}"/>
                </a:ext>
              </a:extLst>
            </p:cNvPr>
            <p:cNvSpPr txBox="1"/>
            <p:nvPr/>
          </p:nvSpPr>
          <p:spPr>
            <a:xfrm>
              <a:off x="2426049" y="3905246"/>
              <a:ext cx="1803052" cy="215444"/>
            </a:xfrm>
            <a:prstGeom prst="rect">
              <a:avLst/>
            </a:prstGeom>
            <a:noFill/>
          </p:spPr>
          <p:txBody>
            <a:bodyPr wrap="square" lIns="0" tIns="0" rIns="0" bIns="0" rtlCol="0" anchor="t">
              <a:spAutoFit/>
            </a:bodyPr>
            <a:lstStyle/>
            <a:p>
              <a:pPr algn="dist"/>
              <a:r>
                <a:rPr lang="en-US" altLang="zh-CN" sz="1400" dirty="0">
                  <a:solidFill>
                    <a:schemeClr val="bg1"/>
                  </a:solidFill>
                </a:rPr>
                <a:t>Contents Title Here</a:t>
              </a:r>
              <a:endParaRPr lang="zh-CN" altLang="en-US" sz="1400" dirty="0">
                <a:solidFill>
                  <a:schemeClr val="bg1"/>
                </a:solidFill>
              </a:endParaRPr>
            </a:p>
          </p:txBody>
        </p:sp>
      </p:grpSp>
      <p:grpSp>
        <p:nvGrpSpPr>
          <p:cNvPr id="22" name="组合 21">
            <a:extLst>
              <a:ext uri="{FF2B5EF4-FFF2-40B4-BE49-F238E27FC236}">
                <a16:creationId xmlns:a16="http://schemas.microsoft.com/office/drawing/2014/main" id="{CAF26F46-B02D-49AF-A84E-D67409766BD2}"/>
              </a:ext>
            </a:extLst>
          </p:cNvPr>
          <p:cNvGrpSpPr/>
          <p:nvPr/>
        </p:nvGrpSpPr>
        <p:grpSpPr>
          <a:xfrm>
            <a:off x="949516" y="3339135"/>
            <a:ext cx="2656713" cy="684292"/>
            <a:chOff x="1615995" y="3486156"/>
            <a:chExt cx="2656713" cy="684292"/>
          </a:xfrm>
        </p:grpSpPr>
        <p:sp>
          <p:nvSpPr>
            <p:cNvPr id="23" name="椭圆 22">
              <a:extLst>
                <a:ext uri="{FF2B5EF4-FFF2-40B4-BE49-F238E27FC236}">
                  <a16:creationId xmlns:a16="http://schemas.microsoft.com/office/drawing/2014/main" id="{61EB596C-859B-46F3-A370-3B9E88CE49A1}"/>
                </a:ext>
              </a:extLst>
            </p:cNvPr>
            <p:cNvSpPr/>
            <p:nvPr/>
          </p:nvSpPr>
          <p:spPr>
            <a:xfrm>
              <a:off x="1615995" y="3486156"/>
              <a:ext cx="684292" cy="684292"/>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050" dirty="0">
                  <a:solidFill>
                    <a:schemeClr val="bg1"/>
                  </a:solidFill>
                </a:rPr>
                <a:t>图标</a:t>
              </a:r>
            </a:p>
          </p:txBody>
        </p:sp>
        <p:sp>
          <p:nvSpPr>
            <p:cNvPr id="24" name="文本框 23">
              <a:extLst>
                <a:ext uri="{FF2B5EF4-FFF2-40B4-BE49-F238E27FC236}">
                  <a16:creationId xmlns:a16="http://schemas.microsoft.com/office/drawing/2014/main" id="{93F452A3-5480-460E-A970-C4A4935EF712}"/>
                </a:ext>
              </a:extLst>
            </p:cNvPr>
            <p:cNvSpPr txBox="1"/>
            <p:nvPr/>
          </p:nvSpPr>
          <p:spPr>
            <a:xfrm>
              <a:off x="2426049" y="3535914"/>
              <a:ext cx="1846659" cy="369332"/>
            </a:xfrm>
            <a:prstGeom prst="rect">
              <a:avLst/>
            </a:prstGeom>
            <a:noFill/>
          </p:spPr>
          <p:txBody>
            <a:bodyPr wrap="none" lIns="0" tIns="0" rIns="0" bIns="0" rtlCol="0" anchor="t">
              <a:spAutoFit/>
            </a:bodyPr>
            <a:lstStyle/>
            <a:p>
              <a:r>
                <a:rPr lang="zh-CN" altLang="en-US" sz="2400" dirty="0">
                  <a:solidFill>
                    <a:schemeClr val="bg1"/>
                  </a:solidFill>
                  <a:latin typeface="+mj-ea"/>
                  <a:ea typeface="+mj-ea"/>
                </a:rPr>
                <a:t>输入目录标题</a:t>
              </a:r>
            </a:p>
          </p:txBody>
        </p:sp>
        <p:sp>
          <p:nvSpPr>
            <p:cNvPr id="25" name="文本框 24">
              <a:extLst>
                <a:ext uri="{FF2B5EF4-FFF2-40B4-BE49-F238E27FC236}">
                  <a16:creationId xmlns:a16="http://schemas.microsoft.com/office/drawing/2014/main" id="{9AEBFE3E-7700-46F6-94D9-124820506855}"/>
                </a:ext>
              </a:extLst>
            </p:cNvPr>
            <p:cNvSpPr txBox="1"/>
            <p:nvPr/>
          </p:nvSpPr>
          <p:spPr>
            <a:xfrm>
              <a:off x="2426049" y="3905246"/>
              <a:ext cx="1803052" cy="215444"/>
            </a:xfrm>
            <a:prstGeom prst="rect">
              <a:avLst/>
            </a:prstGeom>
            <a:noFill/>
          </p:spPr>
          <p:txBody>
            <a:bodyPr wrap="square" lIns="0" tIns="0" rIns="0" bIns="0" rtlCol="0" anchor="t">
              <a:spAutoFit/>
            </a:bodyPr>
            <a:lstStyle/>
            <a:p>
              <a:pPr algn="dist"/>
              <a:r>
                <a:rPr lang="en-US" altLang="zh-CN" sz="1400" dirty="0">
                  <a:solidFill>
                    <a:schemeClr val="bg1"/>
                  </a:solidFill>
                </a:rPr>
                <a:t>Contents Title Here</a:t>
              </a:r>
              <a:endParaRPr lang="zh-CN" altLang="en-US" sz="1400" dirty="0">
                <a:solidFill>
                  <a:schemeClr val="bg1"/>
                </a:solidFill>
              </a:endParaRPr>
            </a:p>
          </p:txBody>
        </p:sp>
      </p:grpSp>
      <p:grpSp>
        <p:nvGrpSpPr>
          <p:cNvPr id="26" name="组合 25">
            <a:extLst>
              <a:ext uri="{FF2B5EF4-FFF2-40B4-BE49-F238E27FC236}">
                <a16:creationId xmlns:a16="http://schemas.microsoft.com/office/drawing/2014/main" id="{CCDDD50F-EDED-4045-BD5E-E49CF9FF16C9}"/>
              </a:ext>
            </a:extLst>
          </p:cNvPr>
          <p:cNvGrpSpPr/>
          <p:nvPr/>
        </p:nvGrpSpPr>
        <p:grpSpPr>
          <a:xfrm>
            <a:off x="4767644" y="3339135"/>
            <a:ext cx="2656713" cy="684292"/>
            <a:chOff x="1615995" y="3486156"/>
            <a:chExt cx="2656713" cy="684292"/>
          </a:xfrm>
        </p:grpSpPr>
        <p:sp>
          <p:nvSpPr>
            <p:cNvPr id="27" name="椭圆 26">
              <a:extLst>
                <a:ext uri="{FF2B5EF4-FFF2-40B4-BE49-F238E27FC236}">
                  <a16:creationId xmlns:a16="http://schemas.microsoft.com/office/drawing/2014/main" id="{2BC83F0A-782F-4272-8C40-795C252C7C36}"/>
                </a:ext>
              </a:extLst>
            </p:cNvPr>
            <p:cNvSpPr/>
            <p:nvPr/>
          </p:nvSpPr>
          <p:spPr>
            <a:xfrm>
              <a:off x="1615995" y="3486156"/>
              <a:ext cx="684292" cy="684292"/>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050" dirty="0">
                  <a:solidFill>
                    <a:schemeClr val="bg1"/>
                  </a:solidFill>
                </a:rPr>
                <a:t>图标</a:t>
              </a:r>
            </a:p>
          </p:txBody>
        </p:sp>
        <p:sp>
          <p:nvSpPr>
            <p:cNvPr id="28" name="文本框 27">
              <a:extLst>
                <a:ext uri="{FF2B5EF4-FFF2-40B4-BE49-F238E27FC236}">
                  <a16:creationId xmlns:a16="http://schemas.microsoft.com/office/drawing/2014/main" id="{A4CD9DAF-235A-4737-BEBF-A6FA9F3E26DD}"/>
                </a:ext>
              </a:extLst>
            </p:cNvPr>
            <p:cNvSpPr txBox="1"/>
            <p:nvPr/>
          </p:nvSpPr>
          <p:spPr>
            <a:xfrm>
              <a:off x="2426049" y="3535914"/>
              <a:ext cx="1846659" cy="369332"/>
            </a:xfrm>
            <a:prstGeom prst="rect">
              <a:avLst/>
            </a:prstGeom>
            <a:noFill/>
          </p:spPr>
          <p:txBody>
            <a:bodyPr wrap="none" lIns="0" tIns="0" rIns="0" bIns="0" rtlCol="0" anchor="t">
              <a:spAutoFit/>
            </a:bodyPr>
            <a:lstStyle/>
            <a:p>
              <a:r>
                <a:rPr lang="zh-CN" altLang="en-US" sz="2400" dirty="0">
                  <a:solidFill>
                    <a:schemeClr val="bg1"/>
                  </a:solidFill>
                  <a:latin typeface="+mj-ea"/>
                  <a:ea typeface="+mj-ea"/>
                </a:rPr>
                <a:t>输入目录标题</a:t>
              </a:r>
            </a:p>
          </p:txBody>
        </p:sp>
        <p:sp>
          <p:nvSpPr>
            <p:cNvPr id="29" name="文本框 28">
              <a:extLst>
                <a:ext uri="{FF2B5EF4-FFF2-40B4-BE49-F238E27FC236}">
                  <a16:creationId xmlns:a16="http://schemas.microsoft.com/office/drawing/2014/main" id="{3F7B28CC-4DC8-4B73-AEA4-D370CBA5677B}"/>
                </a:ext>
              </a:extLst>
            </p:cNvPr>
            <p:cNvSpPr txBox="1"/>
            <p:nvPr/>
          </p:nvSpPr>
          <p:spPr>
            <a:xfrm>
              <a:off x="2426049" y="3905246"/>
              <a:ext cx="1803052" cy="215444"/>
            </a:xfrm>
            <a:prstGeom prst="rect">
              <a:avLst/>
            </a:prstGeom>
            <a:noFill/>
          </p:spPr>
          <p:txBody>
            <a:bodyPr wrap="square" lIns="0" tIns="0" rIns="0" bIns="0" rtlCol="0" anchor="t">
              <a:spAutoFit/>
            </a:bodyPr>
            <a:lstStyle/>
            <a:p>
              <a:pPr algn="dist"/>
              <a:r>
                <a:rPr lang="en-US" altLang="zh-CN" sz="1400" dirty="0">
                  <a:solidFill>
                    <a:schemeClr val="bg1"/>
                  </a:solidFill>
                </a:rPr>
                <a:t>Contents Title Here</a:t>
              </a:r>
              <a:endParaRPr lang="zh-CN" altLang="en-US" sz="1400" dirty="0">
                <a:solidFill>
                  <a:schemeClr val="bg1"/>
                </a:solidFill>
              </a:endParaRPr>
            </a:p>
          </p:txBody>
        </p:sp>
      </p:grpSp>
      <p:grpSp>
        <p:nvGrpSpPr>
          <p:cNvPr id="30" name="组合 29">
            <a:extLst>
              <a:ext uri="{FF2B5EF4-FFF2-40B4-BE49-F238E27FC236}">
                <a16:creationId xmlns:a16="http://schemas.microsoft.com/office/drawing/2014/main" id="{764652D8-2741-4207-A136-B385F994BC01}"/>
              </a:ext>
            </a:extLst>
          </p:cNvPr>
          <p:cNvGrpSpPr/>
          <p:nvPr/>
        </p:nvGrpSpPr>
        <p:grpSpPr>
          <a:xfrm>
            <a:off x="8585772" y="3339135"/>
            <a:ext cx="2656713" cy="684292"/>
            <a:chOff x="1615995" y="3486156"/>
            <a:chExt cx="2656713" cy="684292"/>
          </a:xfrm>
        </p:grpSpPr>
        <p:sp>
          <p:nvSpPr>
            <p:cNvPr id="31" name="椭圆 30">
              <a:extLst>
                <a:ext uri="{FF2B5EF4-FFF2-40B4-BE49-F238E27FC236}">
                  <a16:creationId xmlns:a16="http://schemas.microsoft.com/office/drawing/2014/main" id="{A426AA30-43BD-4258-9835-64762316E3D6}"/>
                </a:ext>
              </a:extLst>
            </p:cNvPr>
            <p:cNvSpPr/>
            <p:nvPr/>
          </p:nvSpPr>
          <p:spPr>
            <a:xfrm>
              <a:off x="1615995" y="3486156"/>
              <a:ext cx="684292" cy="684292"/>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050" dirty="0">
                  <a:solidFill>
                    <a:schemeClr val="bg1"/>
                  </a:solidFill>
                </a:rPr>
                <a:t>图标</a:t>
              </a:r>
            </a:p>
          </p:txBody>
        </p:sp>
        <p:sp>
          <p:nvSpPr>
            <p:cNvPr id="32" name="文本框 31">
              <a:extLst>
                <a:ext uri="{FF2B5EF4-FFF2-40B4-BE49-F238E27FC236}">
                  <a16:creationId xmlns:a16="http://schemas.microsoft.com/office/drawing/2014/main" id="{E67B3743-4772-4566-9149-E318E1386D04}"/>
                </a:ext>
              </a:extLst>
            </p:cNvPr>
            <p:cNvSpPr txBox="1"/>
            <p:nvPr/>
          </p:nvSpPr>
          <p:spPr>
            <a:xfrm>
              <a:off x="2426049" y="3535914"/>
              <a:ext cx="1846659" cy="369332"/>
            </a:xfrm>
            <a:prstGeom prst="rect">
              <a:avLst/>
            </a:prstGeom>
            <a:noFill/>
          </p:spPr>
          <p:txBody>
            <a:bodyPr wrap="none" lIns="0" tIns="0" rIns="0" bIns="0" rtlCol="0" anchor="t">
              <a:spAutoFit/>
            </a:bodyPr>
            <a:lstStyle/>
            <a:p>
              <a:r>
                <a:rPr lang="zh-CN" altLang="en-US" sz="2400" dirty="0">
                  <a:solidFill>
                    <a:schemeClr val="bg1"/>
                  </a:solidFill>
                  <a:latin typeface="+mj-ea"/>
                  <a:ea typeface="+mj-ea"/>
                </a:rPr>
                <a:t>输入目录标题</a:t>
              </a:r>
            </a:p>
          </p:txBody>
        </p:sp>
        <p:sp>
          <p:nvSpPr>
            <p:cNvPr id="33" name="文本框 32">
              <a:extLst>
                <a:ext uri="{FF2B5EF4-FFF2-40B4-BE49-F238E27FC236}">
                  <a16:creationId xmlns:a16="http://schemas.microsoft.com/office/drawing/2014/main" id="{757FC202-1631-4370-AA52-058B0FA6EF17}"/>
                </a:ext>
              </a:extLst>
            </p:cNvPr>
            <p:cNvSpPr txBox="1"/>
            <p:nvPr/>
          </p:nvSpPr>
          <p:spPr>
            <a:xfrm>
              <a:off x="2426049" y="3905246"/>
              <a:ext cx="1803052" cy="215444"/>
            </a:xfrm>
            <a:prstGeom prst="rect">
              <a:avLst/>
            </a:prstGeom>
            <a:noFill/>
          </p:spPr>
          <p:txBody>
            <a:bodyPr wrap="square" lIns="0" tIns="0" rIns="0" bIns="0" rtlCol="0" anchor="t">
              <a:spAutoFit/>
            </a:bodyPr>
            <a:lstStyle/>
            <a:p>
              <a:pPr algn="dist"/>
              <a:r>
                <a:rPr lang="en-US" altLang="zh-CN" sz="1400" dirty="0">
                  <a:solidFill>
                    <a:schemeClr val="bg1"/>
                  </a:solidFill>
                </a:rPr>
                <a:t>Contents Title Here</a:t>
              </a:r>
              <a:endParaRPr lang="zh-CN" altLang="en-US" sz="1400" dirty="0">
                <a:solidFill>
                  <a:schemeClr val="bg1"/>
                </a:solidFill>
              </a:endParaRPr>
            </a:p>
          </p:txBody>
        </p:sp>
      </p:grpSp>
      <p:sp>
        <p:nvSpPr>
          <p:cNvPr id="34" name="矩形: 圆角 33">
            <a:extLst>
              <a:ext uri="{FF2B5EF4-FFF2-40B4-BE49-F238E27FC236}">
                <a16:creationId xmlns:a16="http://schemas.microsoft.com/office/drawing/2014/main" id="{B7F64B85-E5AA-41FF-BB9B-10D0136EF0E2}"/>
              </a:ext>
            </a:extLst>
          </p:cNvPr>
          <p:cNvSpPr/>
          <p:nvPr/>
        </p:nvSpPr>
        <p:spPr>
          <a:xfrm>
            <a:off x="4877086" y="4877508"/>
            <a:ext cx="2437828" cy="548378"/>
          </a:xfrm>
          <a:prstGeom prst="roundRect">
            <a:avLst>
              <a:gd name="adj" fmla="val 50000"/>
            </a:avLst>
          </a:prstGeom>
          <a:solidFill>
            <a:schemeClr val="accent1">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000" dirty="0"/>
              <a:t>CONTENTS</a:t>
            </a:r>
            <a:endParaRPr lang="zh-CN" altLang="en-US" sz="2000" dirty="0"/>
          </a:p>
        </p:txBody>
      </p:sp>
      <p:grpSp>
        <p:nvGrpSpPr>
          <p:cNvPr id="38" name="组合 37">
            <a:extLst>
              <a:ext uri="{FF2B5EF4-FFF2-40B4-BE49-F238E27FC236}">
                <a16:creationId xmlns:a16="http://schemas.microsoft.com/office/drawing/2014/main" id="{B5D3BD16-1F32-445D-92DE-21B44261EFD7}"/>
              </a:ext>
            </a:extLst>
          </p:cNvPr>
          <p:cNvGrpSpPr/>
          <p:nvPr/>
        </p:nvGrpSpPr>
        <p:grpSpPr>
          <a:xfrm>
            <a:off x="3938651" y="1116624"/>
            <a:ext cx="1296924" cy="192024"/>
            <a:chOff x="4004890" y="1116624"/>
            <a:chExt cx="1296924" cy="192024"/>
          </a:xfrm>
        </p:grpSpPr>
        <p:sp>
          <p:nvSpPr>
            <p:cNvPr id="35" name="菱形 34">
              <a:extLst>
                <a:ext uri="{FF2B5EF4-FFF2-40B4-BE49-F238E27FC236}">
                  <a16:creationId xmlns:a16="http://schemas.microsoft.com/office/drawing/2014/main" id="{D4C84CFB-0EAB-4DD8-AA31-D2E87F0B749A}"/>
                </a:ext>
              </a:extLst>
            </p:cNvPr>
            <p:cNvSpPr/>
            <p:nvPr/>
          </p:nvSpPr>
          <p:spPr>
            <a:xfrm>
              <a:off x="5109790" y="1116624"/>
              <a:ext cx="192024" cy="192024"/>
            </a:xfrm>
            <a:prstGeom prst="diamond">
              <a:avLst/>
            </a:prstGeom>
            <a:noFill/>
            <a:ln w="317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p>
          </p:txBody>
        </p:sp>
        <p:cxnSp>
          <p:nvCxnSpPr>
            <p:cNvPr id="37" name="直接连接符 36">
              <a:extLst>
                <a:ext uri="{FF2B5EF4-FFF2-40B4-BE49-F238E27FC236}">
                  <a16:creationId xmlns:a16="http://schemas.microsoft.com/office/drawing/2014/main" id="{DC163904-282A-4E5D-97E9-0376077F4A85}"/>
                </a:ext>
              </a:extLst>
            </p:cNvPr>
            <p:cNvCxnSpPr/>
            <p:nvPr/>
          </p:nvCxnSpPr>
          <p:spPr>
            <a:xfrm flipH="1">
              <a:off x="4004890" y="1212636"/>
              <a:ext cx="1104900" cy="0"/>
            </a:xfrm>
            <a:prstGeom prst="line">
              <a:avLst/>
            </a:prstGeom>
            <a:ln w="31750" cap="rnd">
              <a:gradFill>
                <a:gsLst>
                  <a:gs pos="0">
                    <a:schemeClr val="bg1"/>
                  </a:gs>
                  <a:gs pos="100000">
                    <a:schemeClr val="bg1">
                      <a:alpha val="0"/>
                    </a:schemeClr>
                  </a:gs>
                </a:gsLst>
                <a:lin ang="0" scaled="0"/>
              </a:gradFill>
            </a:ln>
          </p:spPr>
          <p:style>
            <a:lnRef idx="1">
              <a:schemeClr val="accent1"/>
            </a:lnRef>
            <a:fillRef idx="0">
              <a:schemeClr val="accent1"/>
            </a:fillRef>
            <a:effectRef idx="0">
              <a:schemeClr val="accent1"/>
            </a:effectRef>
            <a:fontRef idx="minor">
              <a:schemeClr val="tx1"/>
            </a:fontRef>
          </p:style>
        </p:cxnSp>
      </p:grpSp>
      <p:grpSp>
        <p:nvGrpSpPr>
          <p:cNvPr id="39" name="组合 38">
            <a:extLst>
              <a:ext uri="{FF2B5EF4-FFF2-40B4-BE49-F238E27FC236}">
                <a16:creationId xmlns:a16="http://schemas.microsoft.com/office/drawing/2014/main" id="{6B34884D-3592-45B3-BE24-3A7F84B5A5D1}"/>
              </a:ext>
            </a:extLst>
          </p:cNvPr>
          <p:cNvGrpSpPr/>
          <p:nvPr/>
        </p:nvGrpSpPr>
        <p:grpSpPr>
          <a:xfrm flipH="1">
            <a:off x="6956425" y="1116624"/>
            <a:ext cx="1296924" cy="192024"/>
            <a:chOff x="4004890" y="1116624"/>
            <a:chExt cx="1296924" cy="192024"/>
          </a:xfrm>
        </p:grpSpPr>
        <p:sp>
          <p:nvSpPr>
            <p:cNvPr id="40" name="菱形 39">
              <a:extLst>
                <a:ext uri="{FF2B5EF4-FFF2-40B4-BE49-F238E27FC236}">
                  <a16:creationId xmlns:a16="http://schemas.microsoft.com/office/drawing/2014/main" id="{FCFAAD2E-F8F0-417F-8708-A1C7F7AC2CAA}"/>
                </a:ext>
              </a:extLst>
            </p:cNvPr>
            <p:cNvSpPr/>
            <p:nvPr/>
          </p:nvSpPr>
          <p:spPr>
            <a:xfrm>
              <a:off x="5109790" y="1116624"/>
              <a:ext cx="192024" cy="192024"/>
            </a:xfrm>
            <a:prstGeom prst="diamond">
              <a:avLst/>
            </a:prstGeom>
            <a:noFill/>
            <a:ln w="317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p>
          </p:txBody>
        </p:sp>
        <p:cxnSp>
          <p:nvCxnSpPr>
            <p:cNvPr id="41" name="直接连接符 40">
              <a:extLst>
                <a:ext uri="{FF2B5EF4-FFF2-40B4-BE49-F238E27FC236}">
                  <a16:creationId xmlns:a16="http://schemas.microsoft.com/office/drawing/2014/main" id="{D709ADEC-E1E7-4F7B-9AA8-6401B9305949}"/>
                </a:ext>
              </a:extLst>
            </p:cNvPr>
            <p:cNvCxnSpPr/>
            <p:nvPr/>
          </p:nvCxnSpPr>
          <p:spPr>
            <a:xfrm flipH="1">
              <a:off x="4004890" y="1212636"/>
              <a:ext cx="1104900" cy="0"/>
            </a:xfrm>
            <a:prstGeom prst="line">
              <a:avLst/>
            </a:prstGeom>
            <a:ln w="31750" cap="rnd">
              <a:gradFill>
                <a:gsLst>
                  <a:gs pos="0">
                    <a:schemeClr val="bg1"/>
                  </a:gs>
                  <a:gs pos="100000">
                    <a:schemeClr val="bg1">
                      <a:alpha val="0"/>
                    </a:schemeClr>
                  </a:gs>
                </a:gsLst>
                <a:lin ang="0" scaled="0"/>
              </a:gra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002832865"/>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圆角 1">
            <a:extLst>
              <a:ext uri="{FF2B5EF4-FFF2-40B4-BE49-F238E27FC236}">
                <a16:creationId xmlns:a16="http://schemas.microsoft.com/office/drawing/2014/main" id="{BCE4D200-F358-4B7F-8F54-88C2FB050389}"/>
              </a:ext>
            </a:extLst>
          </p:cNvPr>
          <p:cNvSpPr/>
          <p:nvPr/>
        </p:nvSpPr>
        <p:spPr>
          <a:xfrm>
            <a:off x="304800" y="361950"/>
            <a:ext cx="11582400" cy="6134100"/>
          </a:xfrm>
          <a:prstGeom prst="roundRect">
            <a:avLst>
              <a:gd name="adj" fmla="val 44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p>
        </p:txBody>
      </p:sp>
      <p:sp>
        <p:nvSpPr>
          <p:cNvPr id="3" name="矩形: 圆顶角 2">
            <a:extLst>
              <a:ext uri="{FF2B5EF4-FFF2-40B4-BE49-F238E27FC236}">
                <a16:creationId xmlns:a16="http://schemas.microsoft.com/office/drawing/2014/main" id="{309239FA-D36C-4F0C-A1B7-F23FE9B94E4A}"/>
              </a:ext>
            </a:extLst>
          </p:cNvPr>
          <p:cNvSpPr/>
          <p:nvPr/>
        </p:nvSpPr>
        <p:spPr>
          <a:xfrm rot="10800000">
            <a:off x="4245863" y="361947"/>
            <a:ext cx="3700272" cy="899923"/>
          </a:xfrm>
          <a:prstGeom prst="round2SameRect">
            <a:avLst>
              <a:gd name="adj1" fmla="val 25622"/>
              <a:gd name="adj2" fmla="val 0"/>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p>
        </p:txBody>
      </p:sp>
      <p:sp>
        <p:nvSpPr>
          <p:cNvPr id="4" name="文本框 3">
            <a:extLst>
              <a:ext uri="{FF2B5EF4-FFF2-40B4-BE49-F238E27FC236}">
                <a16:creationId xmlns:a16="http://schemas.microsoft.com/office/drawing/2014/main" id="{9711B577-7071-4687-A50C-955C486248AE}"/>
              </a:ext>
            </a:extLst>
          </p:cNvPr>
          <p:cNvSpPr txBox="1"/>
          <p:nvPr/>
        </p:nvSpPr>
        <p:spPr>
          <a:xfrm>
            <a:off x="4678144" y="504131"/>
            <a:ext cx="2957541" cy="615553"/>
          </a:xfrm>
          <a:prstGeom prst="rect">
            <a:avLst/>
          </a:prstGeom>
          <a:noFill/>
        </p:spPr>
        <p:txBody>
          <a:bodyPr wrap="none" lIns="0" tIns="0" rIns="0" bIns="0" rtlCol="0" anchor="t">
            <a:spAutoFit/>
          </a:bodyPr>
          <a:lstStyle/>
          <a:p>
            <a:pPr algn="ctr"/>
            <a:r>
              <a:rPr lang="en-US" altLang="zh-CN" sz="4000" dirty="0">
                <a:solidFill>
                  <a:schemeClr val="accent1">
                    <a:lumMod val="100000"/>
                  </a:schemeClr>
                </a:solidFill>
                <a:latin typeface="+mj-ea"/>
                <a:ea typeface="+mj-ea"/>
              </a:rPr>
              <a:t>CONTENTS</a:t>
            </a:r>
            <a:endParaRPr lang="zh-CN" altLang="en-US" sz="4000" dirty="0">
              <a:solidFill>
                <a:schemeClr val="accent1">
                  <a:lumMod val="100000"/>
                </a:schemeClr>
              </a:solidFill>
              <a:latin typeface="+mj-ea"/>
              <a:ea typeface="+mj-ea"/>
            </a:endParaRPr>
          </a:p>
        </p:txBody>
      </p:sp>
      <p:grpSp>
        <p:nvGrpSpPr>
          <p:cNvPr id="8" name="组合 7">
            <a:extLst>
              <a:ext uri="{FF2B5EF4-FFF2-40B4-BE49-F238E27FC236}">
                <a16:creationId xmlns:a16="http://schemas.microsoft.com/office/drawing/2014/main" id="{8D76C20A-CD32-46DA-8663-BBE08DB1333A}"/>
              </a:ext>
            </a:extLst>
          </p:cNvPr>
          <p:cNvGrpSpPr/>
          <p:nvPr/>
        </p:nvGrpSpPr>
        <p:grpSpPr>
          <a:xfrm>
            <a:off x="996257" y="2372677"/>
            <a:ext cx="2610328" cy="584776"/>
            <a:chOff x="1266825" y="1824037"/>
            <a:chExt cx="2610328" cy="584776"/>
          </a:xfrm>
        </p:grpSpPr>
        <p:sp>
          <p:nvSpPr>
            <p:cNvPr id="5" name="椭圆 4">
              <a:extLst>
                <a:ext uri="{FF2B5EF4-FFF2-40B4-BE49-F238E27FC236}">
                  <a16:creationId xmlns:a16="http://schemas.microsoft.com/office/drawing/2014/main" id="{FC672E6B-A549-4F16-8C5D-BE38D95328F9}"/>
                </a:ext>
              </a:extLst>
            </p:cNvPr>
            <p:cNvSpPr/>
            <p:nvPr/>
          </p:nvSpPr>
          <p:spPr>
            <a:xfrm>
              <a:off x="1266825" y="1857375"/>
              <a:ext cx="119063" cy="11906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p>
          </p:txBody>
        </p:sp>
        <p:sp>
          <p:nvSpPr>
            <p:cNvPr id="6" name="文本框 5">
              <a:extLst>
                <a:ext uri="{FF2B5EF4-FFF2-40B4-BE49-F238E27FC236}">
                  <a16:creationId xmlns:a16="http://schemas.microsoft.com/office/drawing/2014/main" id="{6277C1F4-7DC1-4B22-BEF2-9B50334FF404}"/>
                </a:ext>
              </a:extLst>
            </p:cNvPr>
            <p:cNvSpPr txBox="1"/>
            <p:nvPr/>
          </p:nvSpPr>
          <p:spPr>
            <a:xfrm>
              <a:off x="1591271" y="1824037"/>
              <a:ext cx="2285882" cy="369332"/>
            </a:xfrm>
            <a:prstGeom prst="rect">
              <a:avLst/>
            </a:prstGeom>
            <a:noFill/>
          </p:spPr>
          <p:txBody>
            <a:bodyPr wrap="none" lIns="0" tIns="0" rIns="0" bIns="0" rtlCol="0" anchor="t">
              <a:spAutoFit/>
            </a:bodyPr>
            <a:lstStyle/>
            <a:p>
              <a:r>
                <a:rPr lang="en-US" altLang="zh-CN" sz="2400" dirty="0">
                  <a:solidFill>
                    <a:schemeClr val="bg1"/>
                  </a:solidFill>
                  <a:latin typeface="+mj-ea"/>
                  <a:ea typeface="+mj-ea"/>
                </a:rPr>
                <a:t>01 </a:t>
              </a:r>
              <a:r>
                <a:rPr lang="zh-CN" altLang="en-US" sz="2400" dirty="0">
                  <a:solidFill>
                    <a:schemeClr val="bg1"/>
                  </a:solidFill>
                  <a:latin typeface="+mj-ea"/>
                  <a:ea typeface="+mj-ea"/>
                </a:rPr>
                <a:t>输入目录标题</a:t>
              </a:r>
            </a:p>
          </p:txBody>
        </p:sp>
        <p:sp>
          <p:nvSpPr>
            <p:cNvPr id="7" name="文本框 6">
              <a:extLst>
                <a:ext uri="{FF2B5EF4-FFF2-40B4-BE49-F238E27FC236}">
                  <a16:creationId xmlns:a16="http://schemas.microsoft.com/office/drawing/2014/main" id="{1BCFC42C-AE45-4186-9969-53763E8BAD93}"/>
                </a:ext>
              </a:extLst>
            </p:cNvPr>
            <p:cNvSpPr txBox="1"/>
            <p:nvPr/>
          </p:nvSpPr>
          <p:spPr>
            <a:xfrm>
              <a:off x="1591271" y="2193369"/>
              <a:ext cx="2255242" cy="215444"/>
            </a:xfrm>
            <a:prstGeom prst="rect">
              <a:avLst/>
            </a:prstGeom>
            <a:noFill/>
          </p:spPr>
          <p:txBody>
            <a:bodyPr wrap="square" lIns="0" tIns="0" rIns="0" bIns="0" rtlCol="0" anchor="t">
              <a:spAutoFit/>
            </a:bodyPr>
            <a:lstStyle/>
            <a:p>
              <a:pPr algn="dist"/>
              <a:r>
                <a:rPr lang="en-US" altLang="zh-CN" sz="1400" dirty="0">
                  <a:solidFill>
                    <a:schemeClr val="bg1"/>
                  </a:solidFill>
                </a:rPr>
                <a:t>Contents Title Here</a:t>
              </a:r>
              <a:endParaRPr lang="zh-CN" altLang="en-US" sz="1400" dirty="0">
                <a:solidFill>
                  <a:schemeClr val="bg1"/>
                </a:solidFill>
              </a:endParaRPr>
            </a:p>
          </p:txBody>
        </p:sp>
      </p:grpSp>
      <p:grpSp>
        <p:nvGrpSpPr>
          <p:cNvPr id="9" name="组合 8">
            <a:extLst>
              <a:ext uri="{FF2B5EF4-FFF2-40B4-BE49-F238E27FC236}">
                <a16:creationId xmlns:a16="http://schemas.microsoft.com/office/drawing/2014/main" id="{5BF4623F-33E1-4160-8D5B-3412A7AC7513}"/>
              </a:ext>
            </a:extLst>
          </p:cNvPr>
          <p:cNvGrpSpPr/>
          <p:nvPr/>
        </p:nvGrpSpPr>
        <p:grpSpPr>
          <a:xfrm>
            <a:off x="996257" y="3984367"/>
            <a:ext cx="2664830" cy="584776"/>
            <a:chOff x="1266825" y="1824037"/>
            <a:chExt cx="2664830" cy="584776"/>
          </a:xfrm>
        </p:grpSpPr>
        <p:sp>
          <p:nvSpPr>
            <p:cNvPr id="10" name="椭圆 9">
              <a:extLst>
                <a:ext uri="{FF2B5EF4-FFF2-40B4-BE49-F238E27FC236}">
                  <a16:creationId xmlns:a16="http://schemas.microsoft.com/office/drawing/2014/main" id="{690F7937-580B-4B10-9830-CA1332CC99D3}"/>
                </a:ext>
              </a:extLst>
            </p:cNvPr>
            <p:cNvSpPr/>
            <p:nvPr/>
          </p:nvSpPr>
          <p:spPr>
            <a:xfrm>
              <a:off x="1266825" y="1857375"/>
              <a:ext cx="119063" cy="11906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p>
          </p:txBody>
        </p:sp>
        <p:sp>
          <p:nvSpPr>
            <p:cNvPr id="11" name="文本框 10">
              <a:extLst>
                <a:ext uri="{FF2B5EF4-FFF2-40B4-BE49-F238E27FC236}">
                  <a16:creationId xmlns:a16="http://schemas.microsoft.com/office/drawing/2014/main" id="{99E0688A-73D5-4671-B030-CE07C06BB023}"/>
                </a:ext>
              </a:extLst>
            </p:cNvPr>
            <p:cNvSpPr txBox="1"/>
            <p:nvPr/>
          </p:nvSpPr>
          <p:spPr>
            <a:xfrm>
              <a:off x="1591271" y="1824037"/>
              <a:ext cx="2340384" cy="369332"/>
            </a:xfrm>
            <a:prstGeom prst="rect">
              <a:avLst/>
            </a:prstGeom>
            <a:noFill/>
          </p:spPr>
          <p:txBody>
            <a:bodyPr wrap="none" lIns="0" tIns="0" rIns="0" bIns="0" rtlCol="0" anchor="t">
              <a:spAutoFit/>
            </a:bodyPr>
            <a:lstStyle/>
            <a:p>
              <a:r>
                <a:rPr lang="en-US" altLang="zh-CN" sz="2400" dirty="0">
                  <a:solidFill>
                    <a:schemeClr val="bg1"/>
                  </a:solidFill>
                  <a:latin typeface="+mj-ea"/>
                  <a:ea typeface="+mj-ea"/>
                </a:rPr>
                <a:t>02 </a:t>
              </a:r>
              <a:r>
                <a:rPr lang="zh-CN" altLang="en-US" sz="2400" dirty="0">
                  <a:solidFill>
                    <a:schemeClr val="bg1"/>
                  </a:solidFill>
                  <a:latin typeface="+mj-ea"/>
                  <a:ea typeface="+mj-ea"/>
                </a:rPr>
                <a:t>输入目录标题</a:t>
              </a:r>
            </a:p>
          </p:txBody>
        </p:sp>
        <p:sp>
          <p:nvSpPr>
            <p:cNvPr id="12" name="文本框 11">
              <a:extLst>
                <a:ext uri="{FF2B5EF4-FFF2-40B4-BE49-F238E27FC236}">
                  <a16:creationId xmlns:a16="http://schemas.microsoft.com/office/drawing/2014/main" id="{0E8ABBE4-7BE3-469F-B4E3-497E6AADD939}"/>
                </a:ext>
              </a:extLst>
            </p:cNvPr>
            <p:cNvSpPr txBox="1"/>
            <p:nvPr/>
          </p:nvSpPr>
          <p:spPr>
            <a:xfrm>
              <a:off x="1591270" y="2193369"/>
              <a:ext cx="2307629" cy="215444"/>
            </a:xfrm>
            <a:prstGeom prst="rect">
              <a:avLst/>
            </a:prstGeom>
            <a:noFill/>
          </p:spPr>
          <p:txBody>
            <a:bodyPr wrap="square" lIns="0" tIns="0" rIns="0" bIns="0" rtlCol="0" anchor="t">
              <a:spAutoFit/>
            </a:bodyPr>
            <a:lstStyle/>
            <a:p>
              <a:pPr algn="dist"/>
              <a:r>
                <a:rPr lang="en-US" altLang="zh-CN" sz="1400" dirty="0">
                  <a:solidFill>
                    <a:schemeClr val="bg1"/>
                  </a:solidFill>
                </a:rPr>
                <a:t>Contents Title Here</a:t>
              </a:r>
              <a:endParaRPr lang="zh-CN" altLang="en-US" sz="1400" dirty="0">
                <a:solidFill>
                  <a:schemeClr val="bg1"/>
                </a:solidFill>
              </a:endParaRPr>
            </a:p>
          </p:txBody>
        </p:sp>
      </p:grpSp>
      <p:cxnSp>
        <p:nvCxnSpPr>
          <p:cNvPr id="48" name="直接连接符 47">
            <a:extLst>
              <a:ext uri="{FF2B5EF4-FFF2-40B4-BE49-F238E27FC236}">
                <a16:creationId xmlns:a16="http://schemas.microsoft.com/office/drawing/2014/main" id="{6B2FD2B8-D470-47E1-811F-E7D7D6EA2F0A}"/>
              </a:ext>
            </a:extLst>
          </p:cNvPr>
          <p:cNvCxnSpPr>
            <a:cxnSpLocks/>
          </p:cNvCxnSpPr>
          <p:nvPr/>
        </p:nvCxnSpPr>
        <p:spPr>
          <a:xfrm>
            <a:off x="1053407" y="2555875"/>
            <a:ext cx="0" cy="1428492"/>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nvGrpSpPr>
          <p:cNvPr id="54" name="组合 53">
            <a:extLst>
              <a:ext uri="{FF2B5EF4-FFF2-40B4-BE49-F238E27FC236}">
                <a16:creationId xmlns:a16="http://schemas.microsoft.com/office/drawing/2014/main" id="{C7149860-A6D7-4B5E-A6AC-99C024110E62}"/>
              </a:ext>
            </a:extLst>
          </p:cNvPr>
          <p:cNvGrpSpPr/>
          <p:nvPr/>
        </p:nvGrpSpPr>
        <p:grpSpPr>
          <a:xfrm>
            <a:off x="4763585" y="2372677"/>
            <a:ext cx="2664830" cy="584776"/>
            <a:chOff x="1266825" y="1824037"/>
            <a:chExt cx="2664830" cy="584776"/>
          </a:xfrm>
        </p:grpSpPr>
        <p:sp>
          <p:nvSpPr>
            <p:cNvPr id="60" name="椭圆 59">
              <a:extLst>
                <a:ext uri="{FF2B5EF4-FFF2-40B4-BE49-F238E27FC236}">
                  <a16:creationId xmlns:a16="http://schemas.microsoft.com/office/drawing/2014/main" id="{4A28E800-8A5F-461F-98FD-88F3FBB73E2C}"/>
                </a:ext>
              </a:extLst>
            </p:cNvPr>
            <p:cNvSpPr/>
            <p:nvPr/>
          </p:nvSpPr>
          <p:spPr>
            <a:xfrm>
              <a:off x="1266825" y="1857375"/>
              <a:ext cx="119063" cy="11906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p>
          </p:txBody>
        </p:sp>
        <p:sp>
          <p:nvSpPr>
            <p:cNvPr id="61" name="文本框 60">
              <a:extLst>
                <a:ext uri="{FF2B5EF4-FFF2-40B4-BE49-F238E27FC236}">
                  <a16:creationId xmlns:a16="http://schemas.microsoft.com/office/drawing/2014/main" id="{8C52BD0B-F53E-41D2-88EC-9DF7EF017E2A}"/>
                </a:ext>
              </a:extLst>
            </p:cNvPr>
            <p:cNvSpPr txBox="1"/>
            <p:nvPr/>
          </p:nvSpPr>
          <p:spPr>
            <a:xfrm>
              <a:off x="1591271" y="1824037"/>
              <a:ext cx="2340384" cy="369332"/>
            </a:xfrm>
            <a:prstGeom prst="rect">
              <a:avLst/>
            </a:prstGeom>
            <a:noFill/>
          </p:spPr>
          <p:txBody>
            <a:bodyPr wrap="none" lIns="0" tIns="0" rIns="0" bIns="0" rtlCol="0" anchor="t">
              <a:spAutoFit/>
            </a:bodyPr>
            <a:lstStyle/>
            <a:p>
              <a:r>
                <a:rPr lang="en-US" altLang="zh-CN" sz="2400" dirty="0">
                  <a:solidFill>
                    <a:schemeClr val="bg1"/>
                  </a:solidFill>
                  <a:latin typeface="+mj-ea"/>
                  <a:ea typeface="+mj-ea"/>
                </a:rPr>
                <a:t>03 </a:t>
              </a:r>
              <a:r>
                <a:rPr lang="zh-CN" altLang="en-US" sz="2400" dirty="0">
                  <a:solidFill>
                    <a:schemeClr val="bg1"/>
                  </a:solidFill>
                  <a:latin typeface="+mj-ea"/>
                  <a:ea typeface="+mj-ea"/>
                </a:rPr>
                <a:t>输入目录标题</a:t>
              </a:r>
            </a:p>
          </p:txBody>
        </p:sp>
        <p:sp>
          <p:nvSpPr>
            <p:cNvPr id="62" name="文本框 61">
              <a:extLst>
                <a:ext uri="{FF2B5EF4-FFF2-40B4-BE49-F238E27FC236}">
                  <a16:creationId xmlns:a16="http://schemas.microsoft.com/office/drawing/2014/main" id="{2236DBEF-8310-404B-8EE9-970F4118C726}"/>
                </a:ext>
              </a:extLst>
            </p:cNvPr>
            <p:cNvSpPr txBox="1"/>
            <p:nvPr/>
          </p:nvSpPr>
          <p:spPr>
            <a:xfrm>
              <a:off x="1591271" y="2193369"/>
              <a:ext cx="2255242" cy="215444"/>
            </a:xfrm>
            <a:prstGeom prst="rect">
              <a:avLst/>
            </a:prstGeom>
            <a:noFill/>
          </p:spPr>
          <p:txBody>
            <a:bodyPr wrap="square" lIns="0" tIns="0" rIns="0" bIns="0" rtlCol="0" anchor="t">
              <a:spAutoFit/>
            </a:bodyPr>
            <a:lstStyle/>
            <a:p>
              <a:pPr algn="dist"/>
              <a:r>
                <a:rPr lang="en-US" altLang="zh-CN" sz="1400" dirty="0">
                  <a:solidFill>
                    <a:schemeClr val="bg1"/>
                  </a:solidFill>
                </a:rPr>
                <a:t>Contents Title Here</a:t>
              </a:r>
              <a:endParaRPr lang="zh-CN" altLang="en-US" sz="1400" dirty="0">
                <a:solidFill>
                  <a:schemeClr val="bg1"/>
                </a:solidFill>
              </a:endParaRPr>
            </a:p>
          </p:txBody>
        </p:sp>
      </p:grpSp>
      <p:grpSp>
        <p:nvGrpSpPr>
          <p:cNvPr id="55" name="组合 54">
            <a:extLst>
              <a:ext uri="{FF2B5EF4-FFF2-40B4-BE49-F238E27FC236}">
                <a16:creationId xmlns:a16="http://schemas.microsoft.com/office/drawing/2014/main" id="{6FE04332-EC0D-49D6-9E97-21DC3122C43A}"/>
              </a:ext>
            </a:extLst>
          </p:cNvPr>
          <p:cNvGrpSpPr/>
          <p:nvPr/>
        </p:nvGrpSpPr>
        <p:grpSpPr>
          <a:xfrm>
            <a:off x="4763585" y="3984367"/>
            <a:ext cx="2664830" cy="584776"/>
            <a:chOff x="1266825" y="1824037"/>
            <a:chExt cx="2664830" cy="584776"/>
          </a:xfrm>
        </p:grpSpPr>
        <p:sp>
          <p:nvSpPr>
            <p:cNvPr id="57" name="椭圆 56">
              <a:extLst>
                <a:ext uri="{FF2B5EF4-FFF2-40B4-BE49-F238E27FC236}">
                  <a16:creationId xmlns:a16="http://schemas.microsoft.com/office/drawing/2014/main" id="{E3DD148B-3A6B-4070-8B75-FE265B267972}"/>
                </a:ext>
              </a:extLst>
            </p:cNvPr>
            <p:cNvSpPr/>
            <p:nvPr/>
          </p:nvSpPr>
          <p:spPr>
            <a:xfrm>
              <a:off x="1266825" y="1857375"/>
              <a:ext cx="119063" cy="11906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p>
          </p:txBody>
        </p:sp>
        <p:sp>
          <p:nvSpPr>
            <p:cNvPr id="58" name="文本框 57">
              <a:extLst>
                <a:ext uri="{FF2B5EF4-FFF2-40B4-BE49-F238E27FC236}">
                  <a16:creationId xmlns:a16="http://schemas.microsoft.com/office/drawing/2014/main" id="{B90B539B-9BD3-41AE-A8DE-69B632E54734}"/>
                </a:ext>
              </a:extLst>
            </p:cNvPr>
            <p:cNvSpPr txBox="1"/>
            <p:nvPr/>
          </p:nvSpPr>
          <p:spPr>
            <a:xfrm>
              <a:off x="1591271" y="1824037"/>
              <a:ext cx="2340384" cy="369332"/>
            </a:xfrm>
            <a:prstGeom prst="rect">
              <a:avLst/>
            </a:prstGeom>
            <a:noFill/>
          </p:spPr>
          <p:txBody>
            <a:bodyPr wrap="none" lIns="0" tIns="0" rIns="0" bIns="0" rtlCol="0" anchor="t">
              <a:spAutoFit/>
            </a:bodyPr>
            <a:lstStyle/>
            <a:p>
              <a:r>
                <a:rPr lang="en-US" altLang="zh-CN" sz="2400" dirty="0">
                  <a:solidFill>
                    <a:schemeClr val="bg1"/>
                  </a:solidFill>
                  <a:latin typeface="+mj-ea"/>
                  <a:ea typeface="+mj-ea"/>
                </a:rPr>
                <a:t>04 </a:t>
              </a:r>
              <a:r>
                <a:rPr lang="zh-CN" altLang="en-US" sz="2400" dirty="0">
                  <a:solidFill>
                    <a:schemeClr val="bg1"/>
                  </a:solidFill>
                  <a:latin typeface="+mj-ea"/>
                  <a:ea typeface="+mj-ea"/>
                </a:rPr>
                <a:t>输入目录标题</a:t>
              </a:r>
            </a:p>
          </p:txBody>
        </p:sp>
        <p:sp>
          <p:nvSpPr>
            <p:cNvPr id="59" name="文本框 58">
              <a:extLst>
                <a:ext uri="{FF2B5EF4-FFF2-40B4-BE49-F238E27FC236}">
                  <a16:creationId xmlns:a16="http://schemas.microsoft.com/office/drawing/2014/main" id="{99C555A4-48B7-44B6-BCA0-E60583184710}"/>
                </a:ext>
              </a:extLst>
            </p:cNvPr>
            <p:cNvSpPr txBox="1"/>
            <p:nvPr/>
          </p:nvSpPr>
          <p:spPr>
            <a:xfrm>
              <a:off x="1591270" y="2193369"/>
              <a:ext cx="2307629" cy="215444"/>
            </a:xfrm>
            <a:prstGeom prst="rect">
              <a:avLst/>
            </a:prstGeom>
            <a:noFill/>
          </p:spPr>
          <p:txBody>
            <a:bodyPr wrap="square" lIns="0" tIns="0" rIns="0" bIns="0" rtlCol="0" anchor="t">
              <a:spAutoFit/>
            </a:bodyPr>
            <a:lstStyle/>
            <a:p>
              <a:pPr algn="dist"/>
              <a:r>
                <a:rPr lang="en-US" altLang="zh-CN" sz="1400" dirty="0">
                  <a:solidFill>
                    <a:schemeClr val="bg1"/>
                  </a:solidFill>
                </a:rPr>
                <a:t>Contents Title Here</a:t>
              </a:r>
              <a:endParaRPr lang="zh-CN" altLang="en-US" sz="1400" dirty="0">
                <a:solidFill>
                  <a:schemeClr val="bg1"/>
                </a:solidFill>
              </a:endParaRPr>
            </a:p>
          </p:txBody>
        </p:sp>
      </p:grpSp>
      <p:cxnSp>
        <p:nvCxnSpPr>
          <p:cNvPr id="56" name="直接连接符 55">
            <a:extLst>
              <a:ext uri="{FF2B5EF4-FFF2-40B4-BE49-F238E27FC236}">
                <a16:creationId xmlns:a16="http://schemas.microsoft.com/office/drawing/2014/main" id="{199EADC6-7A21-4288-87D6-096F3A72000F}"/>
              </a:ext>
            </a:extLst>
          </p:cNvPr>
          <p:cNvCxnSpPr>
            <a:cxnSpLocks/>
          </p:cNvCxnSpPr>
          <p:nvPr/>
        </p:nvCxnSpPr>
        <p:spPr>
          <a:xfrm>
            <a:off x="4820735" y="2555875"/>
            <a:ext cx="0" cy="1428492"/>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nvGrpSpPr>
          <p:cNvPr id="64" name="组合 63">
            <a:extLst>
              <a:ext uri="{FF2B5EF4-FFF2-40B4-BE49-F238E27FC236}">
                <a16:creationId xmlns:a16="http://schemas.microsoft.com/office/drawing/2014/main" id="{963006D6-0E67-400D-AD71-D83029F3E77F}"/>
              </a:ext>
            </a:extLst>
          </p:cNvPr>
          <p:cNvGrpSpPr/>
          <p:nvPr/>
        </p:nvGrpSpPr>
        <p:grpSpPr>
          <a:xfrm>
            <a:off x="8530913" y="2372677"/>
            <a:ext cx="2664830" cy="584776"/>
            <a:chOff x="1266825" y="1824037"/>
            <a:chExt cx="2664830" cy="584776"/>
          </a:xfrm>
        </p:grpSpPr>
        <p:sp>
          <p:nvSpPr>
            <p:cNvPr id="70" name="椭圆 69">
              <a:extLst>
                <a:ext uri="{FF2B5EF4-FFF2-40B4-BE49-F238E27FC236}">
                  <a16:creationId xmlns:a16="http://schemas.microsoft.com/office/drawing/2014/main" id="{BB172229-BFDB-4064-A7D6-76F696F73E1A}"/>
                </a:ext>
              </a:extLst>
            </p:cNvPr>
            <p:cNvSpPr/>
            <p:nvPr/>
          </p:nvSpPr>
          <p:spPr>
            <a:xfrm>
              <a:off x="1266825" y="1857375"/>
              <a:ext cx="119063" cy="11906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p>
          </p:txBody>
        </p:sp>
        <p:sp>
          <p:nvSpPr>
            <p:cNvPr id="71" name="文本框 70">
              <a:extLst>
                <a:ext uri="{FF2B5EF4-FFF2-40B4-BE49-F238E27FC236}">
                  <a16:creationId xmlns:a16="http://schemas.microsoft.com/office/drawing/2014/main" id="{CA1C46CB-D228-4EED-9399-C74658702455}"/>
                </a:ext>
              </a:extLst>
            </p:cNvPr>
            <p:cNvSpPr txBox="1"/>
            <p:nvPr/>
          </p:nvSpPr>
          <p:spPr>
            <a:xfrm>
              <a:off x="1591271" y="1824037"/>
              <a:ext cx="2340384" cy="369332"/>
            </a:xfrm>
            <a:prstGeom prst="rect">
              <a:avLst/>
            </a:prstGeom>
            <a:noFill/>
          </p:spPr>
          <p:txBody>
            <a:bodyPr wrap="none" lIns="0" tIns="0" rIns="0" bIns="0" rtlCol="0" anchor="t">
              <a:spAutoFit/>
            </a:bodyPr>
            <a:lstStyle/>
            <a:p>
              <a:r>
                <a:rPr lang="en-US" altLang="zh-CN" sz="2400" dirty="0">
                  <a:solidFill>
                    <a:schemeClr val="bg1"/>
                  </a:solidFill>
                  <a:latin typeface="+mj-ea"/>
                  <a:ea typeface="+mj-ea"/>
                </a:rPr>
                <a:t>05 </a:t>
              </a:r>
              <a:r>
                <a:rPr lang="zh-CN" altLang="en-US" sz="2400" dirty="0">
                  <a:solidFill>
                    <a:schemeClr val="bg1"/>
                  </a:solidFill>
                  <a:latin typeface="+mj-ea"/>
                  <a:ea typeface="+mj-ea"/>
                </a:rPr>
                <a:t>输入目录标题</a:t>
              </a:r>
            </a:p>
          </p:txBody>
        </p:sp>
        <p:sp>
          <p:nvSpPr>
            <p:cNvPr id="72" name="文本框 71">
              <a:extLst>
                <a:ext uri="{FF2B5EF4-FFF2-40B4-BE49-F238E27FC236}">
                  <a16:creationId xmlns:a16="http://schemas.microsoft.com/office/drawing/2014/main" id="{521EF5AC-1041-495F-9222-1D504CC612C3}"/>
                </a:ext>
              </a:extLst>
            </p:cNvPr>
            <p:cNvSpPr txBox="1"/>
            <p:nvPr/>
          </p:nvSpPr>
          <p:spPr>
            <a:xfrm>
              <a:off x="1591271" y="2193369"/>
              <a:ext cx="2255242" cy="215444"/>
            </a:xfrm>
            <a:prstGeom prst="rect">
              <a:avLst/>
            </a:prstGeom>
            <a:noFill/>
          </p:spPr>
          <p:txBody>
            <a:bodyPr wrap="square" lIns="0" tIns="0" rIns="0" bIns="0" rtlCol="0" anchor="t">
              <a:spAutoFit/>
            </a:bodyPr>
            <a:lstStyle/>
            <a:p>
              <a:pPr algn="dist"/>
              <a:r>
                <a:rPr lang="en-US" altLang="zh-CN" sz="1400" dirty="0">
                  <a:solidFill>
                    <a:schemeClr val="bg1"/>
                  </a:solidFill>
                </a:rPr>
                <a:t>Contents Title Here</a:t>
              </a:r>
              <a:endParaRPr lang="zh-CN" altLang="en-US" sz="1400" dirty="0">
                <a:solidFill>
                  <a:schemeClr val="bg1"/>
                </a:solidFill>
              </a:endParaRPr>
            </a:p>
          </p:txBody>
        </p:sp>
      </p:grpSp>
      <p:grpSp>
        <p:nvGrpSpPr>
          <p:cNvPr id="65" name="组合 64">
            <a:extLst>
              <a:ext uri="{FF2B5EF4-FFF2-40B4-BE49-F238E27FC236}">
                <a16:creationId xmlns:a16="http://schemas.microsoft.com/office/drawing/2014/main" id="{3FE018D4-630F-4AC1-9C13-33BA4A0BA5D0}"/>
              </a:ext>
            </a:extLst>
          </p:cNvPr>
          <p:cNvGrpSpPr/>
          <p:nvPr/>
        </p:nvGrpSpPr>
        <p:grpSpPr>
          <a:xfrm>
            <a:off x="8530913" y="3984367"/>
            <a:ext cx="2664830" cy="584776"/>
            <a:chOff x="1266825" y="1824037"/>
            <a:chExt cx="2664830" cy="584776"/>
          </a:xfrm>
        </p:grpSpPr>
        <p:sp>
          <p:nvSpPr>
            <p:cNvPr id="67" name="椭圆 66">
              <a:extLst>
                <a:ext uri="{FF2B5EF4-FFF2-40B4-BE49-F238E27FC236}">
                  <a16:creationId xmlns:a16="http://schemas.microsoft.com/office/drawing/2014/main" id="{E47F2079-15C9-43EF-A052-A9444EA25E19}"/>
                </a:ext>
              </a:extLst>
            </p:cNvPr>
            <p:cNvSpPr/>
            <p:nvPr/>
          </p:nvSpPr>
          <p:spPr>
            <a:xfrm>
              <a:off x="1266825" y="1857375"/>
              <a:ext cx="119063" cy="11906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p>
          </p:txBody>
        </p:sp>
        <p:sp>
          <p:nvSpPr>
            <p:cNvPr id="68" name="文本框 67">
              <a:extLst>
                <a:ext uri="{FF2B5EF4-FFF2-40B4-BE49-F238E27FC236}">
                  <a16:creationId xmlns:a16="http://schemas.microsoft.com/office/drawing/2014/main" id="{8959BEA0-AB0A-4949-B9AC-A762752FEAC6}"/>
                </a:ext>
              </a:extLst>
            </p:cNvPr>
            <p:cNvSpPr txBox="1"/>
            <p:nvPr/>
          </p:nvSpPr>
          <p:spPr>
            <a:xfrm>
              <a:off x="1591271" y="1824037"/>
              <a:ext cx="2340384" cy="369332"/>
            </a:xfrm>
            <a:prstGeom prst="rect">
              <a:avLst/>
            </a:prstGeom>
            <a:noFill/>
          </p:spPr>
          <p:txBody>
            <a:bodyPr wrap="none" lIns="0" tIns="0" rIns="0" bIns="0" rtlCol="0" anchor="t">
              <a:spAutoFit/>
            </a:bodyPr>
            <a:lstStyle/>
            <a:p>
              <a:r>
                <a:rPr lang="en-US" altLang="zh-CN" sz="2400" dirty="0">
                  <a:solidFill>
                    <a:schemeClr val="bg1"/>
                  </a:solidFill>
                  <a:latin typeface="+mj-ea"/>
                  <a:ea typeface="+mj-ea"/>
                </a:rPr>
                <a:t>06 </a:t>
              </a:r>
              <a:r>
                <a:rPr lang="zh-CN" altLang="en-US" sz="2400" dirty="0">
                  <a:solidFill>
                    <a:schemeClr val="bg1"/>
                  </a:solidFill>
                  <a:latin typeface="+mj-ea"/>
                  <a:ea typeface="+mj-ea"/>
                </a:rPr>
                <a:t>输入目录标题</a:t>
              </a:r>
            </a:p>
          </p:txBody>
        </p:sp>
        <p:sp>
          <p:nvSpPr>
            <p:cNvPr id="69" name="文本框 68">
              <a:extLst>
                <a:ext uri="{FF2B5EF4-FFF2-40B4-BE49-F238E27FC236}">
                  <a16:creationId xmlns:a16="http://schemas.microsoft.com/office/drawing/2014/main" id="{EF8C2F46-312B-443E-A0F3-F3DCDBC0CCA6}"/>
                </a:ext>
              </a:extLst>
            </p:cNvPr>
            <p:cNvSpPr txBox="1"/>
            <p:nvPr/>
          </p:nvSpPr>
          <p:spPr>
            <a:xfrm>
              <a:off x="1591270" y="2193369"/>
              <a:ext cx="2307629" cy="215444"/>
            </a:xfrm>
            <a:prstGeom prst="rect">
              <a:avLst/>
            </a:prstGeom>
            <a:noFill/>
          </p:spPr>
          <p:txBody>
            <a:bodyPr wrap="square" lIns="0" tIns="0" rIns="0" bIns="0" rtlCol="0" anchor="t">
              <a:spAutoFit/>
            </a:bodyPr>
            <a:lstStyle/>
            <a:p>
              <a:pPr algn="dist"/>
              <a:r>
                <a:rPr lang="en-US" altLang="zh-CN" sz="1400" dirty="0">
                  <a:solidFill>
                    <a:schemeClr val="bg1"/>
                  </a:solidFill>
                </a:rPr>
                <a:t>Contents Title Here</a:t>
              </a:r>
              <a:endParaRPr lang="zh-CN" altLang="en-US" sz="1400" dirty="0">
                <a:solidFill>
                  <a:schemeClr val="bg1"/>
                </a:solidFill>
              </a:endParaRPr>
            </a:p>
          </p:txBody>
        </p:sp>
      </p:grpSp>
      <p:cxnSp>
        <p:nvCxnSpPr>
          <p:cNvPr id="66" name="直接连接符 65">
            <a:extLst>
              <a:ext uri="{FF2B5EF4-FFF2-40B4-BE49-F238E27FC236}">
                <a16:creationId xmlns:a16="http://schemas.microsoft.com/office/drawing/2014/main" id="{9E0E2952-9023-4C61-AF98-74FDAFED1460}"/>
              </a:ext>
            </a:extLst>
          </p:cNvPr>
          <p:cNvCxnSpPr>
            <a:cxnSpLocks/>
          </p:cNvCxnSpPr>
          <p:nvPr/>
        </p:nvCxnSpPr>
        <p:spPr>
          <a:xfrm>
            <a:off x="8588063" y="2555875"/>
            <a:ext cx="0" cy="1428492"/>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3776965"/>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矩形: 圆角 33">
            <a:extLst>
              <a:ext uri="{FF2B5EF4-FFF2-40B4-BE49-F238E27FC236}">
                <a16:creationId xmlns:a16="http://schemas.microsoft.com/office/drawing/2014/main" id="{A6E6D1A0-8312-4685-83FF-0DFF61D6C68C}"/>
              </a:ext>
            </a:extLst>
          </p:cNvPr>
          <p:cNvSpPr/>
          <p:nvPr/>
        </p:nvSpPr>
        <p:spPr>
          <a:xfrm>
            <a:off x="431800" y="2644238"/>
            <a:ext cx="11328400" cy="2623624"/>
          </a:xfrm>
          <a:prstGeom prst="roundRect">
            <a:avLst>
              <a:gd name="adj" fmla="val 6769"/>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5" name="文本框 4">
            <a:extLst>
              <a:ext uri="{FF2B5EF4-FFF2-40B4-BE49-F238E27FC236}">
                <a16:creationId xmlns:a16="http://schemas.microsoft.com/office/drawing/2014/main" id="{9C8A133B-440D-478F-ABDD-756E5A2D8C05}"/>
              </a:ext>
            </a:extLst>
          </p:cNvPr>
          <p:cNvSpPr txBox="1"/>
          <p:nvPr/>
        </p:nvSpPr>
        <p:spPr>
          <a:xfrm>
            <a:off x="4930775" y="721081"/>
            <a:ext cx="2152650" cy="1107996"/>
          </a:xfrm>
          <a:prstGeom prst="rect">
            <a:avLst/>
          </a:prstGeom>
          <a:noFill/>
        </p:spPr>
        <p:txBody>
          <a:bodyPr wrap="square" lIns="0" tIns="0" rIns="0" bIns="0" rtlCol="0" anchor="t">
            <a:spAutoFit/>
          </a:bodyPr>
          <a:lstStyle/>
          <a:p>
            <a:pPr algn="dist"/>
            <a:r>
              <a:rPr lang="zh-CN" altLang="en-US" sz="7200" dirty="0">
                <a:solidFill>
                  <a:schemeClr val="accent1"/>
                </a:solidFill>
                <a:latin typeface="+mj-ea"/>
                <a:ea typeface="+mj-ea"/>
              </a:rPr>
              <a:t>目录</a:t>
            </a:r>
          </a:p>
        </p:txBody>
      </p:sp>
      <p:sp>
        <p:nvSpPr>
          <p:cNvPr id="14" name="任意多边形: 形状 13">
            <a:extLst>
              <a:ext uri="{FF2B5EF4-FFF2-40B4-BE49-F238E27FC236}">
                <a16:creationId xmlns:a16="http://schemas.microsoft.com/office/drawing/2014/main" id="{E269087C-4960-4E3F-910D-C44C2E81A5CF}"/>
              </a:ext>
            </a:extLst>
          </p:cNvPr>
          <p:cNvSpPr/>
          <p:nvPr/>
        </p:nvSpPr>
        <p:spPr>
          <a:xfrm>
            <a:off x="3378200" y="1247515"/>
            <a:ext cx="2717800" cy="558800"/>
          </a:xfrm>
          <a:custGeom>
            <a:avLst/>
            <a:gdLst>
              <a:gd name="connsiteX0" fmla="*/ 0 w 2717800"/>
              <a:gd name="connsiteY0" fmla="*/ 0 h 558800"/>
              <a:gd name="connsiteX1" fmla="*/ 1543050 w 2717800"/>
              <a:gd name="connsiteY1" fmla="*/ 0 h 558800"/>
              <a:gd name="connsiteX2" fmla="*/ 984250 w 2717800"/>
              <a:gd name="connsiteY2" fmla="*/ 558800 h 558800"/>
              <a:gd name="connsiteX3" fmla="*/ 2717800 w 2717800"/>
              <a:gd name="connsiteY3" fmla="*/ 558800 h 558800"/>
            </a:gdLst>
            <a:ahLst/>
            <a:cxnLst>
              <a:cxn ang="0">
                <a:pos x="connsiteX0" y="connsiteY0"/>
              </a:cxn>
              <a:cxn ang="0">
                <a:pos x="connsiteX1" y="connsiteY1"/>
              </a:cxn>
              <a:cxn ang="0">
                <a:pos x="connsiteX2" y="connsiteY2"/>
              </a:cxn>
              <a:cxn ang="0">
                <a:pos x="connsiteX3" y="connsiteY3"/>
              </a:cxn>
            </a:cxnLst>
            <a:rect l="l" t="t" r="r" b="b"/>
            <a:pathLst>
              <a:path w="2717800" h="558800">
                <a:moveTo>
                  <a:pt x="0" y="0"/>
                </a:moveTo>
                <a:lnTo>
                  <a:pt x="1543050" y="0"/>
                </a:lnTo>
                <a:lnTo>
                  <a:pt x="984250" y="558800"/>
                </a:lnTo>
                <a:lnTo>
                  <a:pt x="2717800" y="558800"/>
                </a:lnTo>
              </a:path>
            </a:pathLst>
          </a:custGeom>
          <a:noFill/>
          <a:ln w="25400">
            <a:gradFill>
              <a:gsLst>
                <a:gs pos="0">
                  <a:schemeClr val="accent1">
                    <a:alpha val="0"/>
                  </a:schemeClr>
                </a:gs>
                <a:gs pos="73000">
                  <a:schemeClr val="accent1"/>
                </a:gs>
              </a:gsLst>
              <a:lin ang="0" scaled="0"/>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 name="任意多边形: 形状 14">
            <a:extLst>
              <a:ext uri="{FF2B5EF4-FFF2-40B4-BE49-F238E27FC236}">
                <a16:creationId xmlns:a16="http://schemas.microsoft.com/office/drawing/2014/main" id="{D815A927-7A43-4614-BB68-FA5D125406AB}"/>
              </a:ext>
            </a:extLst>
          </p:cNvPr>
          <p:cNvSpPr/>
          <p:nvPr/>
        </p:nvSpPr>
        <p:spPr>
          <a:xfrm flipH="1">
            <a:off x="6096000" y="1247515"/>
            <a:ext cx="2717800" cy="558800"/>
          </a:xfrm>
          <a:custGeom>
            <a:avLst/>
            <a:gdLst>
              <a:gd name="connsiteX0" fmla="*/ 0 w 2717800"/>
              <a:gd name="connsiteY0" fmla="*/ 0 h 558800"/>
              <a:gd name="connsiteX1" fmla="*/ 1543050 w 2717800"/>
              <a:gd name="connsiteY1" fmla="*/ 0 h 558800"/>
              <a:gd name="connsiteX2" fmla="*/ 984250 w 2717800"/>
              <a:gd name="connsiteY2" fmla="*/ 558800 h 558800"/>
              <a:gd name="connsiteX3" fmla="*/ 2717800 w 2717800"/>
              <a:gd name="connsiteY3" fmla="*/ 558800 h 558800"/>
            </a:gdLst>
            <a:ahLst/>
            <a:cxnLst>
              <a:cxn ang="0">
                <a:pos x="connsiteX0" y="connsiteY0"/>
              </a:cxn>
              <a:cxn ang="0">
                <a:pos x="connsiteX1" y="connsiteY1"/>
              </a:cxn>
              <a:cxn ang="0">
                <a:pos x="connsiteX2" y="connsiteY2"/>
              </a:cxn>
              <a:cxn ang="0">
                <a:pos x="connsiteX3" y="connsiteY3"/>
              </a:cxn>
            </a:cxnLst>
            <a:rect l="l" t="t" r="r" b="b"/>
            <a:pathLst>
              <a:path w="2717800" h="558800">
                <a:moveTo>
                  <a:pt x="0" y="0"/>
                </a:moveTo>
                <a:lnTo>
                  <a:pt x="1543050" y="0"/>
                </a:lnTo>
                <a:lnTo>
                  <a:pt x="984250" y="558800"/>
                </a:lnTo>
                <a:lnTo>
                  <a:pt x="2717800" y="558800"/>
                </a:lnTo>
              </a:path>
            </a:pathLst>
          </a:custGeom>
          <a:noFill/>
          <a:ln w="25400">
            <a:gradFill>
              <a:gsLst>
                <a:gs pos="0">
                  <a:schemeClr val="accent1">
                    <a:alpha val="0"/>
                  </a:schemeClr>
                </a:gs>
                <a:gs pos="73000">
                  <a:schemeClr val="accent1"/>
                </a:gs>
              </a:gsLst>
              <a:lin ang="0" scaled="0"/>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6" name="矩形: 圆角 15">
            <a:extLst>
              <a:ext uri="{FF2B5EF4-FFF2-40B4-BE49-F238E27FC236}">
                <a16:creationId xmlns:a16="http://schemas.microsoft.com/office/drawing/2014/main" id="{972AC0A8-2D19-4FE9-9CB8-D0B1CA2AEBBA}"/>
              </a:ext>
            </a:extLst>
          </p:cNvPr>
          <p:cNvSpPr/>
          <p:nvPr/>
        </p:nvSpPr>
        <p:spPr>
          <a:xfrm>
            <a:off x="635000" y="4077964"/>
            <a:ext cx="10922000" cy="510529"/>
          </a:xfrm>
          <a:prstGeom prst="roundRect">
            <a:avLst>
              <a:gd name="adj" fmla="val 50000"/>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p>
        </p:txBody>
      </p:sp>
      <p:sp>
        <p:nvSpPr>
          <p:cNvPr id="17" name="椭圆 16">
            <a:extLst>
              <a:ext uri="{FF2B5EF4-FFF2-40B4-BE49-F238E27FC236}">
                <a16:creationId xmlns:a16="http://schemas.microsoft.com/office/drawing/2014/main" id="{AF4972FA-B636-4596-B9B7-D4737E436406}"/>
              </a:ext>
            </a:extLst>
          </p:cNvPr>
          <p:cNvSpPr/>
          <p:nvPr/>
        </p:nvSpPr>
        <p:spPr>
          <a:xfrm>
            <a:off x="852488" y="4209403"/>
            <a:ext cx="247650" cy="24765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p>
        </p:txBody>
      </p:sp>
      <p:sp>
        <p:nvSpPr>
          <p:cNvPr id="18" name="椭圆 17">
            <a:extLst>
              <a:ext uri="{FF2B5EF4-FFF2-40B4-BE49-F238E27FC236}">
                <a16:creationId xmlns:a16="http://schemas.microsoft.com/office/drawing/2014/main" id="{02D239DF-3EBD-442C-8A36-441593B1CC41}"/>
              </a:ext>
            </a:extLst>
          </p:cNvPr>
          <p:cNvSpPr/>
          <p:nvPr/>
        </p:nvSpPr>
        <p:spPr>
          <a:xfrm>
            <a:off x="3412332" y="4204090"/>
            <a:ext cx="247650" cy="24765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p>
        </p:txBody>
      </p:sp>
      <p:sp>
        <p:nvSpPr>
          <p:cNvPr id="19" name="椭圆 18">
            <a:extLst>
              <a:ext uri="{FF2B5EF4-FFF2-40B4-BE49-F238E27FC236}">
                <a16:creationId xmlns:a16="http://schemas.microsoft.com/office/drawing/2014/main" id="{3C538C5A-618D-4946-B19F-F6BB93D536A6}"/>
              </a:ext>
            </a:extLst>
          </p:cNvPr>
          <p:cNvSpPr/>
          <p:nvPr/>
        </p:nvSpPr>
        <p:spPr>
          <a:xfrm>
            <a:off x="5972176" y="4204090"/>
            <a:ext cx="247650" cy="24765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p>
        </p:txBody>
      </p:sp>
      <p:sp>
        <p:nvSpPr>
          <p:cNvPr id="20" name="椭圆 19">
            <a:extLst>
              <a:ext uri="{FF2B5EF4-FFF2-40B4-BE49-F238E27FC236}">
                <a16:creationId xmlns:a16="http://schemas.microsoft.com/office/drawing/2014/main" id="{70130B65-284B-4EA5-880B-D7F87AC87D87}"/>
              </a:ext>
            </a:extLst>
          </p:cNvPr>
          <p:cNvSpPr/>
          <p:nvPr/>
        </p:nvSpPr>
        <p:spPr>
          <a:xfrm>
            <a:off x="8532020" y="4204090"/>
            <a:ext cx="247650" cy="24765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p>
        </p:txBody>
      </p:sp>
      <p:sp>
        <p:nvSpPr>
          <p:cNvPr id="24" name="流程图: 可选过程 23">
            <a:extLst>
              <a:ext uri="{FF2B5EF4-FFF2-40B4-BE49-F238E27FC236}">
                <a16:creationId xmlns:a16="http://schemas.microsoft.com/office/drawing/2014/main" id="{7DF6100E-253D-4934-940D-F1CCD026777E}"/>
              </a:ext>
            </a:extLst>
          </p:cNvPr>
          <p:cNvSpPr/>
          <p:nvPr/>
        </p:nvSpPr>
        <p:spPr>
          <a:xfrm>
            <a:off x="913448" y="3123190"/>
            <a:ext cx="1966912" cy="622300"/>
          </a:xfrm>
          <a:prstGeom prst="flowChartAlternateProcess">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dirty="0">
                <a:solidFill>
                  <a:schemeClr val="bg1"/>
                </a:solidFill>
                <a:latin typeface="+mj-ea"/>
                <a:ea typeface="+mj-ea"/>
              </a:rPr>
              <a:t>输入目录标题</a:t>
            </a:r>
          </a:p>
        </p:txBody>
      </p:sp>
      <p:sp>
        <p:nvSpPr>
          <p:cNvPr id="25" name="直角三角形 24">
            <a:extLst>
              <a:ext uri="{FF2B5EF4-FFF2-40B4-BE49-F238E27FC236}">
                <a16:creationId xmlns:a16="http://schemas.microsoft.com/office/drawing/2014/main" id="{FE1F0980-7D84-491E-A353-95C22F32A3D2}"/>
              </a:ext>
            </a:extLst>
          </p:cNvPr>
          <p:cNvSpPr/>
          <p:nvPr/>
        </p:nvSpPr>
        <p:spPr>
          <a:xfrm flipV="1">
            <a:off x="913448" y="3626374"/>
            <a:ext cx="233362" cy="213360"/>
          </a:xfrm>
          <a:prstGeom prst="r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p>
        </p:txBody>
      </p:sp>
      <p:sp>
        <p:nvSpPr>
          <p:cNvPr id="26" name="流程图: 可选过程 25">
            <a:extLst>
              <a:ext uri="{FF2B5EF4-FFF2-40B4-BE49-F238E27FC236}">
                <a16:creationId xmlns:a16="http://schemas.microsoft.com/office/drawing/2014/main" id="{B952FE6E-BAE8-4E1D-8CD7-F5BC147FB083}"/>
              </a:ext>
            </a:extLst>
          </p:cNvPr>
          <p:cNvSpPr/>
          <p:nvPr/>
        </p:nvSpPr>
        <p:spPr>
          <a:xfrm>
            <a:off x="3411247" y="3123190"/>
            <a:ext cx="1966912" cy="622300"/>
          </a:xfrm>
          <a:prstGeom prst="flowChartAlternateProcess">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dirty="0">
                <a:solidFill>
                  <a:schemeClr val="bg1"/>
                </a:solidFill>
                <a:latin typeface="+mj-ea"/>
                <a:ea typeface="+mj-ea"/>
              </a:rPr>
              <a:t>输入目录标题</a:t>
            </a:r>
          </a:p>
        </p:txBody>
      </p:sp>
      <p:sp>
        <p:nvSpPr>
          <p:cNvPr id="27" name="直角三角形 26">
            <a:extLst>
              <a:ext uri="{FF2B5EF4-FFF2-40B4-BE49-F238E27FC236}">
                <a16:creationId xmlns:a16="http://schemas.microsoft.com/office/drawing/2014/main" id="{88D0EDAF-6EDF-40FF-A6E6-9D61B67A82B5}"/>
              </a:ext>
            </a:extLst>
          </p:cNvPr>
          <p:cNvSpPr/>
          <p:nvPr/>
        </p:nvSpPr>
        <p:spPr>
          <a:xfrm flipV="1">
            <a:off x="3411247" y="3626374"/>
            <a:ext cx="233362" cy="213360"/>
          </a:xfrm>
          <a:prstGeom prst="r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p>
        </p:txBody>
      </p:sp>
      <p:sp>
        <p:nvSpPr>
          <p:cNvPr id="28" name="流程图: 可选过程 27">
            <a:extLst>
              <a:ext uri="{FF2B5EF4-FFF2-40B4-BE49-F238E27FC236}">
                <a16:creationId xmlns:a16="http://schemas.microsoft.com/office/drawing/2014/main" id="{D8C00B3C-DC70-46EE-80C6-378B9967CE8C}"/>
              </a:ext>
            </a:extLst>
          </p:cNvPr>
          <p:cNvSpPr/>
          <p:nvPr/>
        </p:nvSpPr>
        <p:spPr>
          <a:xfrm>
            <a:off x="6010673" y="3123190"/>
            <a:ext cx="1966912" cy="622300"/>
          </a:xfrm>
          <a:prstGeom prst="flowChartAlternateProcess">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dirty="0">
                <a:solidFill>
                  <a:schemeClr val="bg1"/>
                </a:solidFill>
                <a:latin typeface="+mj-ea"/>
                <a:ea typeface="+mj-ea"/>
              </a:rPr>
              <a:t>输入目录标题</a:t>
            </a:r>
          </a:p>
        </p:txBody>
      </p:sp>
      <p:sp>
        <p:nvSpPr>
          <p:cNvPr id="29" name="直角三角形 28">
            <a:extLst>
              <a:ext uri="{FF2B5EF4-FFF2-40B4-BE49-F238E27FC236}">
                <a16:creationId xmlns:a16="http://schemas.microsoft.com/office/drawing/2014/main" id="{AA7338B2-E678-4F3D-A62C-991621E75AB4}"/>
              </a:ext>
            </a:extLst>
          </p:cNvPr>
          <p:cNvSpPr/>
          <p:nvPr/>
        </p:nvSpPr>
        <p:spPr>
          <a:xfrm flipV="1">
            <a:off x="6010673" y="3626374"/>
            <a:ext cx="233362" cy="213360"/>
          </a:xfrm>
          <a:prstGeom prst="r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p>
        </p:txBody>
      </p:sp>
      <p:sp>
        <p:nvSpPr>
          <p:cNvPr id="30" name="流程图: 可选过程 29">
            <a:extLst>
              <a:ext uri="{FF2B5EF4-FFF2-40B4-BE49-F238E27FC236}">
                <a16:creationId xmlns:a16="http://schemas.microsoft.com/office/drawing/2014/main" id="{AF601AC2-C809-4E98-AB5E-69BA91D42141}"/>
              </a:ext>
            </a:extLst>
          </p:cNvPr>
          <p:cNvSpPr/>
          <p:nvPr/>
        </p:nvSpPr>
        <p:spPr>
          <a:xfrm>
            <a:off x="8532020" y="3123190"/>
            <a:ext cx="1966912" cy="622300"/>
          </a:xfrm>
          <a:prstGeom prst="flowChartAlternateProcess">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dirty="0">
                <a:solidFill>
                  <a:schemeClr val="bg1"/>
                </a:solidFill>
                <a:latin typeface="+mj-ea"/>
                <a:ea typeface="+mj-ea"/>
              </a:rPr>
              <a:t>输入目录标题</a:t>
            </a:r>
          </a:p>
        </p:txBody>
      </p:sp>
      <p:sp>
        <p:nvSpPr>
          <p:cNvPr id="31" name="直角三角形 30">
            <a:extLst>
              <a:ext uri="{FF2B5EF4-FFF2-40B4-BE49-F238E27FC236}">
                <a16:creationId xmlns:a16="http://schemas.microsoft.com/office/drawing/2014/main" id="{16FA2940-2783-4426-A60D-76D0093B4EF9}"/>
              </a:ext>
            </a:extLst>
          </p:cNvPr>
          <p:cNvSpPr/>
          <p:nvPr/>
        </p:nvSpPr>
        <p:spPr>
          <a:xfrm flipV="1">
            <a:off x="8532020" y="3626374"/>
            <a:ext cx="233362" cy="213360"/>
          </a:xfrm>
          <a:prstGeom prst="r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p>
        </p:txBody>
      </p:sp>
      <p:sp>
        <p:nvSpPr>
          <p:cNvPr id="32" name="椭圆 31">
            <a:extLst>
              <a:ext uri="{FF2B5EF4-FFF2-40B4-BE49-F238E27FC236}">
                <a16:creationId xmlns:a16="http://schemas.microsoft.com/office/drawing/2014/main" id="{78AA8094-2634-4472-828B-F992965AFDC1}"/>
              </a:ext>
            </a:extLst>
          </p:cNvPr>
          <p:cNvSpPr/>
          <p:nvPr/>
        </p:nvSpPr>
        <p:spPr>
          <a:xfrm>
            <a:off x="11110277" y="4204090"/>
            <a:ext cx="247650" cy="24765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p>
        </p:txBody>
      </p:sp>
      <p:sp>
        <p:nvSpPr>
          <p:cNvPr id="35" name="文本框 34">
            <a:extLst>
              <a:ext uri="{FF2B5EF4-FFF2-40B4-BE49-F238E27FC236}">
                <a16:creationId xmlns:a16="http://schemas.microsoft.com/office/drawing/2014/main" id="{96A18554-E213-4619-AE78-640A463258CB}"/>
              </a:ext>
            </a:extLst>
          </p:cNvPr>
          <p:cNvSpPr txBox="1"/>
          <p:nvPr/>
        </p:nvSpPr>
        <p:spPr>
          <a:xfrm>
            <a:off x="913448" y="4719932"/>
            <a:ext cx="756617" cy="276999"/>
          </a:xfrm>
          <a:prstGeom prst="rect">
            <a:avLst/>
          </a:prstGeom>
          <a:noFill/>
        </p:spPr>
        <p:txBody>
          <a:bodyPr wrap="none" lIns="0" tIns="0" rIns="0" bIns="0" rtlCol="0" anchor="t">
            <a:spAutoFit/>
          </a:bodyPr>
          <a:lstStyle/>
          <a:p>
            <a:pPr algn="l"/>
            <a:r>
              <a:rPr lang="en-US" altLang="zh-CN" dirty="0">
                <a:solidFill>
                  <a:schemeClr val="accent1">
                    <a:lumMod val="100000"/>
                  </a:schemeClr>
                </a:solidFill>
              </a:rPr>
              <a:t>Part 01</a:t>
            </a:r>
            <a:endParaRPr lang="zh-CN" altLang="en-US" dirty="0">
              <a:solidFill>
                <a:schemeClr val="accent1">
                  <a:lumMod val="100000"/>
                </a:schemeClr>
              </a:solidFill>
            </a:endParaRPr>
          </a:p>
        </p:txBody>
      </p:sp>
      <p:sp>
        <p:nvSpPr>
          <p:cNvPr id="36" name="文本框 35">
            <a:extLst>
              <a:ext uri="{FF2B5EF4-FFF2-40B4-BE49-F238E27FC236}">
                <a16:creationId xmlns:a16="http://schemas.microsoft.com/office/drawing/2014/main" id="{C3C1E06F-67CE-4752-AA58-22B13692B0F8}"/>
              </a:ext>
            </a:extLst>
          </p:cNvPr>
          <p:cNvSpPr txBox="1"/>
          <p:nvPr/>
        </p:nvSpPr>
        <p:spPr>
          <a:xfrm>
            <a:off x="3412332" y="4719932"/>
            <a:ext cx="803105" cy="276999"/>
          </a:xfrm>
          <a:prstGeom prst="rect">
            <a:avLst/>
          </a:prstGeom>
          <a:noFill/>
        </p:spPr>
        <p:txBody>
          <a:bodyPr wrap="none" lIns="0" tIns="0" rIns="0" bIns="0" rtlCol="0" anchor="t">
            <a:spAutoFit/>
          </a:bodyPr>
          <a:lstStyle/>
          <a:p>
            <a:pPr algn="l"/>
            <a:r>
              <a:rPr lang="en-US" altLang="zh-CN" dirty="0">
                <a:solidFill>
                  <a:schemeClr val="accent1">
                    <a:lumMod val="100000"/>
                  </a:schemeClr>
                </a:solidFill>
              </a:rPr>
              <a:t>Part 02</a:t>
            </a:r>
            <a:endParaRPr lang="zh-CN" altLang="en-US" dirty="0">
              <a:solidFill>
                <a:schemeClr val="accent1">
                  <a:lumMod val="100000"/>
                </a:schemeClr>
              </a:solidFill>
            </a:endParaRPr>
          </a:p>
        </p:txBody>
      </p:sp>
      <p:sp>
        <p:nvSpPr>
          <p:cNvPr id="37" name="文本框 36">
            <a:extLst>
              <a:ext uri="{FF2B5EF4-FFF2-40B4-BE49-F238E27FC236}">
                <a16:creationId xmlns:a16="http://schemas.microsoft.com/office/drawing/2014/main" id="{DCBB5A44-109B-4923-B250-CB9774AE3A6C}"/>
              </a:ext>
            </a:extLst>
          </p:cNvPr>
          <p:cNvSpPr txBox="1"/>
          <p:nvPr/>
        </p:nvSpPr>
        <p:spPr>
          <a:xfrm>
            <a:off x="5957704" y="4719932"/>
            <a:ext cx="803105" cy="276999"/>
          </a:xfrm>
          <a:prstGeom prst="rect">
            <a:avLst/>
          </a:prstGeom>
          <a:noFill/>
        </p:spPr>
        <p:txBody>
          <a:bodyPr wrap="none" lIns="0" tIns="0" rIns="0" bIns="0" rtlCol="0" anchor="t">
            <a:spAutoFit/>
          </a:bodyPr>
          <a:lstStyle/>
          <a:p>
            <a:pPr algn="l"/>
            <a:r>
              <a:rPr lang="en-US" altLang="zh-CN" dirty="0">
                <a:solidFill>
                  <a:schemeClr val="accent1">
                    <a:lumMod val="100000"/>
                  </a:schemeClr>
                </a:solidFill>
              </a:rPr>
              <a:t>Part 03</a:t>
            </a:r>
            <a:endParaRPr lang="zh-CN" altLang="en-US" dirty="0">
              <a:solidFill>
                <a:schemeClr val="accent1">
                  <a:lumMod val="100000"/>
                </a:schemeClr>
              </a:solidFill>
            </a:endParaRPr>
          </a:p>
        </p:txBody>
      </p:sp>
      <p:sp>
        <p:nvSpPr>
          <p:cNvPr id="38" name="文本框 37">
            <a:extLst>
              <a:ext uri="{FF2B5EF4-FFF2-40B4-BE49-F238E27FC236}">
                <a16:creationId xmlns:a16="http://schemas.microsoft.com/office/drawing/2014/main" id="{2CCCA024-34D1-48FC-A84C-93D11968BFCE}"/>
              </a:ext>
            </a:extLst>
          </p:cNvPr>
          <p:cNvSpPr txBox="1"/>
          <p:nvPr/>
        </p:nvSpPr>
        <p:spPr>
          <a:xfrm>
            <a:off x="8532020" y="4719932"/>
            <a:ext cx="803105" cy="276999"/>
          </a:xfrm>
          <a:prstGeom prst="rect">
            <a:avLst/>
          </a:prstGeom>
          <a:noFill/>
        </p:spPr>
        <p:txBody>
          <a:bodyPr wrap="none" lIns="0" tIns="0" rIns="0" bIns="0" rtlCol="0" anchor="t">
            <a:spAutoFit/>
          </a:bodyPr>
          <a:lstStyle/>
          <a:p>
            <a:pPr algn="l"/>
            <a:r>
              <a:rPr lang="en-US" altLang="zh-CN" dirty="0">
                <a:solidFill>
                  <a:schemeClr val="accent1">
                    <a:lumMod val="100000"/>
                  </a:schemeClr>
                </a:solidFill>
              </a:rPr>
              <a:t>Part 04</a:t>
            </a:r>
            <a:endParaRPr lang="zh-CN" altLang="en-US" dirty="0">
              <a:solidFill>
                <a:schemeClr val="accent1">
                  <a:lumMod val="100000"/>
                </a:schemeClr>
              </a:solidFill>
            </a:endParaRPr>
          </a:p>
        </p:txBody>
      </p:sp>
    </p:spTree>
    <p:extLst>
      <p:ext uri="{BB962C8B-B14F-4D97-AF65-F5344CB8AC3E}">
        <p14:creationId xmlns:p14="http://schemas.microsoft.com/office/powerpoint/2010/main" val="820940925"/>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a:extLst>
              <a:ext uri="{FF2B5EF4-FFF2-40B4-BE49-F238E27FC236}">
                <a16:creationId xmlns:a16="http://schemas.microsoft.com/office/drawing/2014/main" id="{FB0A693D-3379-42B5-A6C5-ED1395C741B9}"/>
              </a:ext>
            </a:extLst>
          </p:cNvPr>
          <p:cNvSpPr/>
          <p:nvPr/>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dirty="0">
              <a:solidFill>
                <a:schemeClr val="bg1"/>
              </a:solidFill>
              <a:latin typeface="+mj-ea"/>
              <a:ea typeface="+mj-ea"/>
            </a:endParaRPr>
          </a:p>
        </p:txBody>
      </p:sp>
      <p:sp>
        <p:nvSpPr>
          <p:cNvPr id="7" name="矩形: 圆角 6">
            <a:extLst>
              <a:ext uri="{FF2B5EF4-FFF2-40B4-BE49-F238E27FC236}">
                <a16:creationId xmlns:a16="http://schemas.microsoft.com/office/drawing/2014/main" id="{6329084A-B9F9-489E-A478-2194F14E16F1}"/>
              </a:ext>
            </a:extLst>
          </p:cNvPr>
          <p:cNvSpPr/>
          <p:nvPr/>
        </p:nvSpPr>
        <p:spPr>
          <a:xfrm>
            <a:off x="2035874" y="2324100"/>
            <a:ext cx="3691127" cy="1276350"/>
          </a:xfrm>
          <a:prstGeom prst="roundRect">
            <a:avLst>
              <a:gd name="adj" fmla="val 10664"/>
            </a:avLst>
          </a:prstGeom>
          <a:solidFill>
            <a:schemeClr val="bg1"/>
          </a:solidFill>
          <a:ln>
            <a:noFill/>
          </a:ln>
          <a:effectLst>
            <a:outerShdw blurRad="228600" sx="102000" sy="1020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zh-CN" altLang="en-US" sz="1600">
              <a:solidFill>
                <a:schemeClr val="bg1"/>
              </a:solidFill>
              <a:latin typeface="+mj-ea"/>
              <a:ea typeface="+mj-ea"/>
            </a:endParaRPr>
          </a:p>
        </p:txBody>
      </p:sp>
      <p:grpSp>
        <p:nvGrpSpPr>
          <p:cNvPr id="10" name="组合 9">
            <a:extLst>
              <a:ext uri="{FF2B5EF4-FFF2-40B4-BE49-F238E27FC236}">
                <a16:creationId xmlns:a16="http://schemas.microsoft.com/office/drawing/2014/main" id="{B4C3358E-4AB4-446B-8EDA-FD0EE987E2BB}"/>
              </a:ext>
            </a:extLst>
          </p:cNvPr>
          <p:cNvGrpSpPr/>
          <p:nvPr/>
        </p:nvGrpSpPr>
        <p:grpSpPr>
          <a:xfrm>
            <a:off x="2464250" y="2324099"/>
            <a:ext cx="325876" cy="916133"/>
            <a:chOff x="1701771" y="2254177"/>
            <a:chExt cx="1041402" cy="2927687"/>
          </a:xfrm>
        </p:grpSpPr>
        <p:sp>
          <p:nvSpPr>
            <p:cNvPr id="8" name="矩形 7">
              <a:extLst>
                <a:ext uri="{FF2B5EF4-FFF2-40B4-BE49-F238E27FC236}">
                  <a16:creationId xmlns:a16="http://schemas.microsoft.com/office/drawing/2014/main" id="{AA4F2972-7016-4458-96E8-8A878D96B233}"/>
                </a:ext>
              </a:extLst>
            </p:cNvPr>
            <p:cNvSpPr/>
            <p:nvPr/>
          </p:nvSpPr>
          <p:spPr>
            <a:xfrm>
              <a:off x="1701773" y="2254177"/>
              <a:ext cx="1041400" cy="2349645"/>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p>
          </p:txBody>
        </p:sp>
        <p:sp>
          <p:nvSpPr>
            <p:cNvPr id="9" name="箭头: V 形 8">
              <a:extLst>
                <a:ext uri="{FF2B5EF4-FFF2-40B4-BE49-F238E27FC236}">
                  <a16:creationId xmlns:a16="http://schemas.microsoft.com/office/drawing/2014/main" id="{09E05993-3A86-432E-BFB9-215290748921}"/>
                </a:ext>
              </a:extLst>
            </p:cNvPr>
            <p:cNvSpPr/>
            <p:nvPr/>
          </p:nvSpPr>
          <p:spPr>
            <a:xfrm rot="16200000">
              <a:off x="1665359" y="4104053"/>
              <a:ext cx="1114223" cy="1041399"/>
            </a:xfrm>
            <a:prstGeom prst="chevron">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solidFill>
                  <a:schemeClr val="tx1"/>
                </a:solidFill>
              </a:endParaRPr>
            </a:p>
          </p:txBody>
        </p:sp>
      </p:grpSp>
      <p:sp>
        <p:nvSpPr>
          <p:cNvPr id="11" name="文本框 10">
            <a:extLst>
              <a:ext uri="{FF2B5EF4-FFF2-40B4-BE49-F238E27FC236}">
                <a16:creationId xmlns:a16="http://schemas.microsoft.com/office/drawing/2014/main" id="{6C69422A-5679-4556-BCD7-204B3F089B73}"/>
              </a:ext>
            </a:extLst>
          </p:cNvPr>
          <p:cNvSpPr txBox="1"/>
          <p:nvPr/>
        </p:nvSpPr>
        <p:spPr>
          <a:xfrm>
            <a:off x="2534854" y="2402642"/>
            <a:ext cx="184666" cy="615553"/>
          </a:xfrm>
          <a:prstGeom prst="rect">
            <a:avLst/>
          </a:prstGeom>
          <a:noFill/>
        </p:spPr>
        <p:txBody>
          <a:bodyPr vert="eaVert" wrap="none" lIns="0" tIns="0" rIns="0" bIns="0" rtlCol="0" anchor="t">
            <a:spAutoFit/>
          </a:bodyPr>
          <a:lstStyle/>
          <a:p>
            <a:pPr algn="l"/>
            <a:r>
              <a:rPr lang="zh-CN" altLang="en-US" sz="1200" dirty="0">
                <a:solidFill>
                  <a:schemeClr val="accent1">
                    <a:lumMod val="100000"/>
                  </a:schemeClr>
                </a:solidFill>
              </a:rPr>
              <a:t>第一部分</a:t>
            </a:r>
          </a:p>
        </p:txBody>
      </p:sp>
      <p:sp>
        <p:nvSpPr>
          <p:cNvPr id="12" name="文本框 11">
            <a:extLst>
              <a:ext uri="{FF2B5EF4-FFF2-40B4-BE49-F238E27FC236}">
                <a16:creationId xmlns:a16="http://schemas.microsoft.com/office/drawing/2014/main" id="{3BF21D68-2406-489A-94CC-A74B16BE91A9}"/>
              </a:ext>
            </a:extLst>
          </p:cNvPr>
          <p:cNvSpPr txBox="1"/>
          <p:nvPr/>
        </p:nvSpPr>
        <p:spPr>
          <a:xfrm>
            <a:off x="3030482" y="2628912"/>
            <a:ext cx="2231380" cy="446276"/>
          </a:xfrm>
          <a:prstGeom prst="rect">
            <a:avLst/>
          </a:prstGeom>
          <a:noFill/>
        </p:spPr>
        <p:txBody>
          <a:bodyPr wrap="square" lIns="0" tIns="0" rIns="0" bIns="0" rtlCol="0" anchor="t">
            <a:spAutoFit/>
          </a:bodyPr>
          <a:lstStyle/>
          <a:p>
            <a:r>
              <a:rPr lang="zh-CN" altLang="en-US" sz="2900" dirty="0">
                <a:solidFill>
                  <a:schemeClr val="accent1"/>
                </a:solidFill>
                <a:latin typeface="+mj-ea"/>
                <a:ea typeface="+mj-ea"/>
              </a:rPr>
              <a:t>输入目录标题</a:t>
            </a:r>
          </a:p>
        </p:txBody>
      </p:sp>
      <p:sp>
        <p:nvSpPr>
          <p:cNvPr id="13" name="文本框 12">
            <a:extLst>
              <a:ext uri="{FF2B5EF4-FFF2-40B4-BE49-F238E27FC236}">
                <a16:creationId xmlns:a16="http://schemas.microsoft.com/office/drawing/2014/main" id="{EE296694-F919-4543-AD5B-46D5B584B867}"/>
              </a:ext>
            </a:extLst>
          </p:cNvPr>
          <p:cNvSpPr txBox="1"/>
          <p:nvPr/>
        </p:nvSpPr>
        <p:spPr>
          <a:xfrm>
            <a:off x="3030482" y="3075188"/>
            <a:ext cx="2189260" cy="215444"/>
          </a:xfrm>
          <a:prstGeom prst="rect">
            <a:avLst/>
          </a:prstGeom>
          <a:noFill/>
        </p:spPr>
        <p:txBody>
          <a:bodyPr wrap="square" lIns="0" tIns="0" rIns="0" bIns="0" rtlCol="0" anchor="t">
            <a:spAutoFit/>
          </a:bodyPr>
          <a:lstStyle/>
          <a:p>
            <a:pPr algn="dist"/>
            <a:r>
              <a:rPr lang="en-US" altLang="zh-CN" sz="1400" dirty="0">
                <a:solidFill>
                  <a:schemeClr val="accent1"/>
                </a:solidFill>
              </a:rPr>
              <a:t>Contents Title Here</a:t>
            </a:r>
            <a:endParaRPr lang="zh-CN" altLang="en-US" sz="1400" dirty="0">
              <a:solidFill>
                <a:schemeClr val="accent1"/>
              </a:solidFill>
            </a:endParaRPr>
          </a:p>
        </p:txBody>
      </p:sp>
      <p:sp>
        <p:nvSpPr>
          <p:cNvPr id="16" name="矩形: 圆角 15">
            <a:extLst>
              <a:ext uri="{FF2B5EF4-FFF2-40B4-BE49-F238E27FC236}">
                <a16:creationId xmlns:a16="http://schemas.microsoft.com/office/drawing/2014/main" id="{518E8D7D-BD1D-4EE5-BC10-015439F19459}"/>
              </a:ext>
            </a:extLst>
          </p:cNvPr>
          <p:cNvSpPr/>
          <p:nvPr/>
        </p:nvSpPr>
        <p:spPr>
          <a:xfrm>
            <a:off x="6464999" y="2324100"/>
            <a:ext cx="3691127" cy="1276350"/>
          </a:xfrm>
          <a:prstGeom prst="roundRect">
            <a:avLst>
              <a:gd name="adj" fmla="val 10664"/>
            </a:avLst>
          </a:prstGeom>
          <a:solidFill>
            <a:schemeClr val="bg1"/>
          </a:solidFill>
          <a:ln>
            <a:noFill/>
          </a:ln>
          <a:effectLst>
            <a:outerShdw blurRad="228600" sx="102000" sy="1020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zh-CN" altLang="en-US" sz="1600">
              <a:solidFill>
                <a:schemeClr val="bg1"/>
              </a:solidFill>
              <a:latin typeface="+mj-ea"/>
              <a:ea typeface="+mj-ea"/>
            </a:endParaRPr>
          </a:p>
        </p:txBody>
      </p:sp>
      <p:grpSp>
        <p:nvGrpSpPr>
          <p:cNvPr id="17" name="组合 16">
            <a:extLst>
              <a:ext uri="{FF2B5EF4-FFF2-40B4-BE49-F238E27FC236}">
                <a16:creationId xmlns:a16="http://schemas.microsoft.com/office/drawing/2014/main" id="{336CF746-1B4C-49F4-843F-91FD3BF69763}"/>
              </a:ext>
            </a:extLst>
          </p:cNvPr>
          <p:cNvGrpSpPr/>
          <p:nvPr/>
        </p:nvGrpSpPr>
        <p:grpSpPr>
          <a:xfrm>
            <a:off x="6893375" y="2324099"/>
            <a:ext cx="325876" cy="916133"/>
            <a:chOff x="1701771" y="2254177"/>
            <a:chExt cx="1041402" cy="2927687"/>
          </a:xfrm>
        </p:grpSpPr>
        <p:sp>
          <p:nvSpPr>
            <p:cNvPr id="21" name="矩形 20">
              <a:extLst>
                <a:ext uri="{FF2B5EF4-FFF2-40B4-BE49-F238E27FC236}">
                  <a16:creationId xmlns:a16="http://schemas.microsoft.com/office/drawing/2014/main" id="{16E865D9-9290-4D36-8C60-BE972062FA17}"/>
                </a:ext>
              </a:extLst>
            </p:cNvPr>
            <p:cNvSpPr/>
            <p:nvPr/>
          </p:nvSpPr>
          <p:spPr>
            <a:xfrm>
              <a:off x="1701773" y="2254177"/>
              <a:ext cx="1041400" cy="2349645"/>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p>
          </p:txBody>
        </p:sp>
        <p:sp>
          <p:nvSpPr>
            <p:cNvPr id="22" name="箭头: V 形 21">
              <a:extLst>
                <a:ext uri="{FF2B5EF4-FFF2-40B4-BE49-F238E27FC236}">
                  <a16:creationId xmlns:a16="http://schemas.microsoft.com/office/drawing/2014/main" id="{13E9DFC1-953D-4B6A-B25E-6D74A059422E}"/>
                </a:ext>
              </a:extLst>
            </p:cNvPr>
            <p:cNvSpPr/>
            <p:nvPr/>
          </p:nvSpPr>
          <p:spPr>
            <a:xfrm rot="16200000">
              <a:off x="1665359" y="4104053"/>
              <a:ext cx="1114223" cy="1041399"/>
            </a:xfrm>
            <a:prstGeom prst="chevron">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solidFill>
                  <a:schemeClr val="tx1"/>
                </a:solidFill>
              </a:endParaRPr>
            </a:p>
          </p:txBody>
        </p:sp>
      </p:grpSp>
      <p:sp>
        <p:nvSpPr>
          <p:cNvPr id="18" name="文本框 17">
            <a:extLst>
              <a:ext uri="{FF2B5EF4-FFF2-40B4-BE49-F238E27FC236}">
                <a16:creationId xmlns:a16="http://schemas.microsoft.com/office/drawing/2014/main" id="{08E4579D-E84A-433A-8BB9-FF1336DEEF2B}"/>
              </a:ext>
            </a:extLst>
          </p:cNvPr>
          <p:cNvSpPr txBox="1"/>
          <p:nvPr/>
        </p:nvSpPr>
        <p:spPr>
          <a:xfrm>
            <a:off x="6963979" y="2402642"/>
            <a:ext cx="184666" cy="615553"/>
          </a:xfrm>
          <a:prstGeom prst="rect">
            <a:avLst/>
          </a:prstGeom>
          <a:noFill/>
        </p:spPr>
        <p:txBody>
          <a:bodyPr vert="eaVert" wrap="none" lIns="0" tIns="0" rIns="0" bIns="0" rtlCol="0" anchor="t">
            <a:spAutoFit/>
          </a:bodyPr>
          <a:lstStyle/>
          <a:p>
            <a:pPr algn="l"/>
            <a:r>
              <a:rPr lang="zh-CN" altLang="en-US" sz="1200" dirty="0">
                <a:solidFill>
                  <a:schemeClr val="accent1">
                    <a:lumMod val="100000"/>
                  </a:schemeClr>
                </a:solidFill>
              </a:rPr>
              <a:t>第二部分</a:t>
            </a:r>
          </a:p>
        </p:txBody>
      </p:sp>
      <p:sp>
        <p:nvSpPr>
          <p:cNvPr id="19" name="文本框 18">
            <a:extLst>
              <a:ext uri="{FF2B5EF4-FFF2-40B4-BE49-F238E27FC236}">
                <a16:creationId xmlns:a16="http://schemas.microsoft.com/office/drawing/2014/main" id="{03B167BE-AFA4-4D53-862D-5CEA6BC226BA}"/>
              </a:ext>
            </a:extLst>
          </p:cNvPr>
          <p:cNvSpPr txBox="1"/>
          <p:nvPr/>
        </p:nvSpPr>
        <p:spPr>
          <a:xfrm>
            <a:off x="7459607" y="2628912"/>
            <a:ext cx="2231380" cy="446276"/>
          </a:xfrm>
          <a:prstGeom prst="rect">
            <a:avLst/>
          </a:prstGeom>
          <a:noFill/>
        </p:spPr>
        <p:txBody>
          <a:bodyPr wrap="square" lIns="0" tIns="0" rIns="0" bIns="0" rtlCol="0" anchor="t">
            <a:spAutoFit/>
          </a:bodyPr>
          <a:lstStyle/>
          <a:p>
            <a:r>
              <a:rPr lang="zh-CN" altLang="en-US" sz="2900" dirty="0">
                <a:solidFill>
                  <a:schemeClr val="accent1"/>
                </a:solidFill>
                <a:latin typeface="+mj-ea"/>
                <a:ea typeface="+mj-ea"/>
              </a:rPr>
              <a:t>输入目录标题</a:t>
            </a:r>
          </a:p>
        </p:txBody>
      </p:sp>
      <p:sp>
        <p:nvSpPr>
          <p:cNvPr id="20" name="文本框 19">
            <a:extLst>
              <a:ext uri="{FF2B5EF4-FFF2-40B4-BE49-F238E27FC236}">
                <a16:creationId xmlns:a16="http://schemas.microsoft.com/office/drawing/2014/main" id="{96E4C2F7-DD80-4CAC-A4A9-948FF2B68D50}"/>
              </a:ext>
            </a:extLst>
          </p:cNvPr>
          <p:cNvSpPr txBox="1"/>
          <p:nvPr/>
        </p:nvSpPr>
        <p:spPr>
          <a:xfrm>
            <a:off x="7459607" y="3075188"/>
            <a:ext cx="2189260" cy="215444"/>
          </a:xfrm>
          <a:prstGeom prst="rect">
            <a:avLst/>
          </a:prstGeom>
          <a:noFill/>
        </p:spPr>
        <p:txBody>
          <a:bodyPr wrap="square" lIns="0" tIns="0" rIns="0" bIns="0" rtlCol="0" anchor="t">
            <a:spAutoFit/>
          </a:bodyPr>
          <a:lstStyle/>
          <a:p>
            <a:pPr algn="dist"/>
            <a:r>
              <a:rPr lang="en-US" altLang="zh-CN" sz="1400" dirty="0">
                <a:solidFill>
                  <a:schemeClr val="accent1"/>
                </a:solidFill>
              </a:rPr>
              <a:t>Contents Title Here</a:t>
            </a:r>
            <a:endParaRPr lang="zh-CN" altLang="en-US" sz="1400" dirty="0">
              <a:solidFill>
                <a:schemeClr val="accent1"/>
              </a:solidFill>
            </a:endParaRPr>
          </a:p>
        </p:txBody>
      </p:sp>
      <p:sp>
        <p:nvSpPr>
          <p:cNvPr id="25" name="矩形: 圆角 24">
            <a:extLst>
              <a:ext uri="{FF2B5EF4-FFF2-40B4-BE49-F238E27FC236}">
                <a16:creationId xmlns:a16="http://schemas.microsoft.com/office/drawing/2014/main" id="{5F754D18-2D24-487D-B1D2-FF3E0596D743}"/>
              </a:ext>
            </a:extLst>
          </p:cNvPr>
          <p:cNvSpPr/>
          <p:nvPr/>
        </p:nvSpPr>
        <p:spPr>
          <a:xfrm>
            <a:off x="2035874" y="4143375"/>
            <a:ext cx="3691127" cy="1276350"/>
          </a:xfrm>
          <a:prstGeom prst="roundRect">
            <a:avLst>
              <a:gd name="adj" fmla="val 10664"/>
            </a:avLst>
          </a:prstGeom>
          <a:solidFill>
            <a:schemeClr val="bg1"/>
          </a:solidFill>
          <a:ln>
            <a:noFill/>
          </a:ln>
          <a:effectLst>
            <a:outerShdw blurRad="228600" sx="102000" sy="1020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zh-CN" altLang="en-US" sz="1600">
              <a:solidFill>
                <a:schemeClr val="bg1"/>
              </a:solidFill>
              <a:latin typeface="+mj-ea"/>
              <a:ea typeface="+mj-ea"/>
            </a:endParaRPr>
          </a:p>
        </p:txBody>
      </p:sp>
      <p:grpSp>
        <p:nvGrpSpPr>
          <p:cNvPr id="26" name="组合 25">
            <a:extLst>
              <a:ext uri="{FF2B5EF4-FFF2-40B4-BE49-F238E27FC236}">
                <a16:creationId xmlns:a16="http://schemas.microsoft.com/office/drawing/2014/main" id="{57CEE6DE-4C9C-4810-B79C-429DD1F95228}"/>
              </a:ext>
            </a:extLst>
          </p:cNvPr>
          <p:cNvGrpSpPr/>
          <p:nvPr/>
        </p:nvGrpSpPr>
        <p:grpSpPr>
          <a:xfrm>
            <a:off x="2464250" y="4143374"/>
            <a:ext cx="325876" cy="916133"/>
            <a:chOff x="1701771" y="2254177"/>
            <a:chExt cx="1041402" cy="2927687"/>
          </a:xfrm>
        </p:grpSpPr>
        <p:sp>
          <p:nvSpPr>
            <p:cNvPr id="30" name="矩形 29">
              <a:extLst>
                <a:ext uri="{FF2B5EF4-FFF2-40B4-BE49-F238E27FC236}">
                  <a16:creationId xmlns:a16="http://schemas.microsoft.com/office/drawing/2014/main" id="{D8A5C305-1686-4D9B-B773-56E6AEC83C14}"/>
                </a:ext>
              </a:extLst>
            </p:cNvPr>
            <p:cNvSpPr/>
            <p:nvPr/>
          </p:nvSpPr>
          <p:spPr>
            <a:xfrm>
              <a:off x="1701773" y="2254177"/>
              <a:ext cx="1041400" cy="2349645"/>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p>
          </p:txBody>
        </p:sp>
        <p:sp>
          <p:nvSpPr>
            <p:cNvPr id="31" name="箭头: V 形 30">
              <a:extLst>
                <a:ext uri="{FF2B5EF4-FFF2-40B4-BE49-F238E27FC236}">
                  <a16:creationId xmlns:a16="http://schemas.microsoft.com/office/drawing/2014/main" id="{2B21AB38-99E5-4E76-8F95-C6C556B589C1}"/>
                </a:ext>
              </a:extLst>
            </p:cNvPr>
            <p:cNvSpPr/>
            <p:nvPr/>
          </p:nvSpPr>
          <p:spPr>
            <a:xfrm rot="16200000">
              <a:off x="1665359" y="4104053"/>
              <a:ext cx="1114223" cy="1041399"/>
            </a:xfrm>
            <a:prstGeom prst="chevron">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solidFill>
                  <a:schemeClr val="tx1"/>
                </a:solidFill>
              </a:endParaRPr>
            </a:p>
          </p:txBody>
        </p:sp>
      </p:grpSp>
      <p:sp>
        <p:nvSpPr>
          <p:cNvPr id="27" name="文本框 26">
            <a:extLst>
              <a:ext uri="{FF2B5EF4-FFF2-40B4-BE49-F238E27FC236}">
                <a16:creationId xmlns:a16="http://schemas.microsoft.com/office/drawing/2014/main" id="{331ECF3D-3B69-4FCE-BE79-847E7E5324D8}"/>
              </a:ext>
            </a:extLst>
          </p:cNvPr>
          <p:cNvSpPr txBox="1"/>
          <p:nvPr/>
        </p:nvSpPr>
        <p:spPr>
          <a:xfrm>
            <a:off x="2534854" y="4221917"/>
            <a:ext cx="184666" cy="615553"/>
          </a:xfrm>
          <a:prstGeom prst="rect">
            <a:avLst/>
          </a:prstGeom>
          <a:noFill/>
        </p:spPr>
        <p:txBody>
          <a:bodyPr vert="eaVert" wrap="none" lIns="0" tIns="0" rIns="0" bIns="0" rtlCol="0" anchor="t">
            <a:spAutoFit/>
          </a:bodyPr>
          <a:lstStyle/>
          <a:p>
            <a:pPr algn="l"/>
            <a:r>
              <a:rPr lang="zh-CN" altLang="en-US" sz="1200" dirty="0">
                <a:solidFill>
                  <a:schemeClr val="accent1">
                    <a:lumMod val="100000"/>
                  </a:schemeClr>
                </a:solidFill>
              </a:rPr>
              <a:t>第三部分</a:t>
            </a:r>
          </a:p>
        </p:txBody>
      </p:sp>
      <p:sp>
        <p:nvSpPr>
          <p:cNvPr id="28" name="文本框 27">
            <a:extLst>
              <a:ext uri="{FF2B5EF4-FFF2-40B4-BE49-F238E27FC236}">
                <a16:creationId xmlns:a16="http://schemas.microsoft.com/office/drawing/2014/main" id="{9879E168-DE9D-4244-837C-A097B0ABCD71}"/>
              </a:ext>
            </a:extLst>
          </p:cNvPr>
          <p:cNvSpPr txBox="1"/>
          <p:nvPr/>
        </p:nvSpPr>
        <p:spPr>
          <a:xfrm>
            <a:off x="3030482" y="4448187"/>
            <a:ext cx="2231380" cy="446276"/>
          </a:xfrm>
          <a:prstGeom prst="rect">
            <a:avLst/>
          </a:prstGeom>
          <a:noFill/>
        </p:spPr>
        <p:txBody>
          <a:bodyPr wrap="square" lIns="0" tIns="0" rIns="0" bIns="0" rtlCol="0" anchor="t">
            <a:spAutoFit/>
          </a:bodyPr>
          <a:lstStyle/>
          <a:p>
            <a:r>
              <a:rPr lang="zh-CN" altLang="en-US" sz="2900" dirty="0">
                <a:solidFill>
                  <a:schemeClr val="accent1"/>
                </a:solidFill>
                <a:latin typeface="+mj-ea"/>
                <a:ea typeface="+mj-ea"/>
              </a:rPr>
              <a:t>输入目录标题</a:t>
            </a:r>
          </a:p>
        </p:txBody>
      </p:sp>
      <p:sp>
        <p:nvSpPr>
          <p:cNvPr id="29" name="文本框 28">
            <a:extLst>
              <a:ext uri="{FF2B5EF4-FFF2-40B4-BE49-F238E27FC236}">
                <a16:creationId xmlns:a16="http://schemas.microsoft.com/office/drawing/2014/main" id="{DF52F5B9-3F2D-47A5-96E3-6FBF17E6B0C9}"/>
              </a:ext>
            </a:extLst>
          </p:cNvPr>
          <p:cNvSpPr txBox="1"/>
          <p:nvPr/>
        </p:nvSpPr>
        <p:spPr>
          <a:xfrm>
            <a:off x="3030482" y="4894463"/>
            <a:ext cx="2189260" cy="215444"/>
          </a:xfrm>
          <a:prstGeom prst="rect">
            <a:avLst/>
          </a:prstGeom>
          <a:noFill/>
        </p:spPr>
        <p:txBody>
          <a:bodyPr wrap="square" lIns="0" tIns="0" rIns="0" bIns="0" rtlCol="0" anchor="t">
            <a:spAutoFit/>
          </a:bodyPr>
          <a:lstStyle/>
          <a:p>
            <a:pPr algn="dist"/>
            <a:r>
              <a:rPr lang="en-US" altLang="zh-CN" sz="1400" dirty="0">
                <a:solidFill>
                  <a:schemeClr val="accent1"/>
                </a:solidFill>
              </a:rPr>
              <a:t>Contents Title Here</a:t>
            </a:r>
            <a:endParaRPr lang="zh-CN" altLang="en-US" sz="1400" dirty="0">
              <a:solidFill>
                <a:schemeClr val="accent1"/>
              </a:solidFill>
            </a:endParaRPr>
          </a:p>
        </p:txBody>
      </p:sp>
      <p:sp>
        <p:nvSpPr>
          <p:cNvPr id="33" name="矩形: 圆角 32">
            <a:extLst>
              <a:ext uri="{FF2B5EF4-FFF2-40B4-BE49-F238E27FC236}">
                <a16:creationId xmlns:a16="http://schemas.microsoft.com/office/drawing/2014/main" id="{BF7BF53C-FCA9-442D-8DE5-F68FF0D061D1}"/>
              </a:ext>
            </a:extLst>
          </p:cNvPr>
          <p:cNvSpPr/>
          <p:nvPr/>
        </p:nvSpPr>
        <p:spPr>
          <a:xfrm>
            <a:off x="6464999" y="4143375"/>
            <a:ext cx="3691127" cy="1276350"/>
          </a:xfrm>
          <a:prstGeom prst="roundRect">
            <a:avLst>
              <a:gd name="adj" fmla="val 10664"/>
            </a:avLst>
          </a:prstGeom>
          <a:solidFill>
            <a:schemeClr val="bg1"/>
          </a:solidFill>
          <a:ln>
            <a:noFill/>
          </a:ln>
          <a:effectLst>
            <a:outerShdw blurRad="228600" sx="102000" sy="1020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zh-CN" altLang="en-US" sz="1600">
              <a:solidFill>
                <a:schemeClr val="bg1"/>
              </a:solidFill>
              <a:latin typeface="+mj-ea"/>
              <a:ea typeface="+mj-ea"/>
            </a:endParaRPr>
          </a:p>
        </p:txBody>
      </p:sp>
      <p:grpSp>
        <p:nvGrpSpPr>
          <p:cNvPr id="34" name="组合 33">
            <a:extLst>
              <a:ext uri="{FF2B5EF4-FFF2-40B4-BE49-F238E27FC236}">
                <a16:creationId xmlns:a16="http://schemas.microsoft.com/office/drawing/2014/main" id="{42E8FA64-97FA-4EEA-A37E-4EFD9262F17F}"/>
              </a:ext>
            </a:extLst>
          </p:cNvPr>
          <p:cNvGrpSpPr/>
          <p:nvPr/>
        </p:nvGrpSpPr>
        <p:grpSpPr>
          <a:xfrm>
            <a:off x="6893375" y="4143374"/>
            <a:ext cx="325876" cy="916133"/>
            <a:chOff x="1701771" y="2254177"/>
            <a:chExt cx="1041402" cy="2927687"/>
          </a:xfrm>
        </p:grpSpPr>
        <p:sp>
          <p:nvSpPr>
            <p:cNvPr id="38" name="矩形 37">
              <a:extLst>
                <a:ext uri="{FF2B5EF4-FFF2-40B4-BE49-F238E27FC236}">
                  <a16:creationId xmlns:a16="http://schemas.microsoft.com/office/drawing/2014/main" id="{D8BAA33F-C903-4EB2-8E33-7B1990E9DAE7}"/>
                </a:ext>
              </a:extLst>
            </p:cNvPr>
            <p:cNvSpPr/>
            <p:nvPr/>
          </p:nvSpPr>
          <p:spPr>
            <a:xfrm>
              <a:off x="1701773" y="2254177"/>
              <a:ext cx="1041400" cy="2349645"/>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p>
          </p:txBody>
        </p:sp>
        <p:sp>
          <p:nvSpPr>
            <p:cNvPr id="39" name="箭头: V 形 38">
              <a:extLst>
                <a:ext uri="{FF2B5EF4-FFF2-40B4-BE49-F238E27FC236}">
                  <a16:creationId xmlns:a16="http://schemas.microsoft.com/office/drawing/2014/main" id="{2C756B1A-41A8-42B6-B481-03B4AE9F94D1}"/>
                </a:ext>
              </a:extLst>
            </p:cNvPr>
            <p:cNvSpPr/>
            <p:nvPr/>
          </p:nvSpPr>
          <p:spPr>
            <a:xfrm rot="16200000">
              <a:off x="1665359" y="4104053"/>
              <a:ext cx="1114223" cy="1041399"/>
            </a:xfrm>
            <a:prstGeom prst="chevron">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solidFill>
                  <a:schemeClr val="tx1"/>
                </a:solidFill>
              </a:endParaRPr>
            </a:p>
          </p:txBody>
        </p:sp>
      </p:grpSp>
      <p:sp>
        <p:nvSpPr>
          <p:cNvPr id="35" name="文本框 34">
            <a:extLst>
              <a:ext uri="{FF2B5EF4-FFF2-40B4-BE49-F238E27FC236}">
                <a16:creationId xmlns:a16="http://schemas.microsoft.com/office/drawing/2014/main" id="{CECC806D-3BB1-4C3D-8BE0-9AE4358C21E5}"/>
              </a:ext>
            </a:extLst>
          </p:cNvPr>
          <p:cNvSpPr txBox="1"/>
          <p:nvPr/>
        </p:nvSpPr>
        <p:spPr>
          <a:xfrm>
            <a:off x="6963979" y="4221917"/>
            <a:ext cx="184666" cy="615553"/>
          </a:xfrm>
          <a:prstGeom prst="rect">
            <a:avLst/>
          </a:prstGeom>
          <a:noFill/>
        </p:spPr>
        <p:txBody>
          <a:bodyPr vert="eaVert" wrap="none" lIns="0" tIns="0" rIns="0" bIns="0" rtlCol="0" anchor="t">
            <a:spAutoFit/>
          </a:bodyPr>
          <a:lstStyle/>
          <a:p>
            <a:pPr algn="l"/>
            <a:r>
              <a:rPr lang="zh-CN" altLang="en-US" sz="1200" dirty="0">
                <a:solidFill>
                  <a:schemeClr val="accent1">
                    <a:lumMod val="100000"/>
                  </a:schemeClr>
                </a:solidFill>
              </a:rPr>
              <a:t>第四部分</a:t>
            </a:r>
          </a:p>
        </p:txBody>
      </p:sp>
      <p:sp>
        <p:nvSpPr>
          <p:cNvPr id="36" name="文本框 35">
            <a:extLst>
              <a:ext uri="{FF2B5EF4-FFF2-40B4-BE49-F238E27FC236}">
                <a16:creationId xmlns:a16="http://schemas.microsoft.com/office/drawing/2014/main" id="{9F65ED6A-15AD-4907-8000-338B853A03B8}"/>
              </a:ext>
            </a:extLst>
          </p:cNvPr>
          <p:cNvSpPr txBox="1"/>
          <p:nvPr/>
        </p:nvSpPr>
        <p:spPr>
          <a:xfrm>
            <a:off x="7459607" y="4448187"/>
            <a:ext cx="2231380" cy="446276"/>
          </a:xfrm>
          <a:prstGeom prst="rect">
            <a:avLst/>
          </a:prstGeom>
          <a:noFill/>
        </p:spPr>
        <p:txBody>
          <a:bodyPr wrap="square" lIns="0" tIns="0" rIns="0" bIns="0" rtlCol="0" anchor="t">
            <a:spAutoFit/>
          </a:bodyPr>
          <a:lstStyle/>
          <a:p>
            <a:r>
              <a:rPr lang="zh-CN" altLang="en-US" sz="2900" dirty="0">
                <a:solidFill>
                  <a:schemeClr val="accent1"/>
                </a:solidFill>
                <a:latin typeface="+mj-ea"/>
                <a:ea typeface="+mj-ea"/>
              </a:rPr>
              <a:t>输入目录标题</a:t>
            </a:r>
          </a:p>
        </p:txBody>
      </p:sp>
      <p:sp>
        <p:nvSpPr>
          <p:cNvPr id="37" name="文本框 36">
            <a:extLst>
              <a:ext uri="{FF2B5EF4-FFF2-40B4-BE49-F238E27FC236}">
                <a16:creationId xmlns:a16="http://schemas.microsoft.com/office/drawing/2014/main" id="{F6366779-328C-4874-B407-BF9E488258A8}"/>
              </a:ext>
            </a:extLst>
          </p:cNvPr>
          <p:cNvSpPr txBox="1"/>
          <p:nvPr/>
        </p:nvSpPr>
        <p:spPr>
          <a:xfrm>
            <a:off x="7459607" y="4894463"/>
            <a:ext cx="2189260" cy="215444"/>
          </a:xfrm>
          <a:prstGeom prst="rect">
            <a:avLst/>
          </a:prstGeom>
          <a:noFill/>
        </p:spPr>
        <p:txBody>
          <a:bodyPr wrap="square" lIns="0" tIns="0" rIns="0" bIns="0" rtlCol="0" anchor="t">
            <a:spAutoFit/>
          </a:bodyPr>
          <a:lstStyle/>
          <a:p>
            <a:pPr algn="dist"/>
            <a:r>
              <a:rPr lang="en-US" altLang="zh-CN" sz="1400" dirty="0">
                <a:solidFill>
                  <a:schemeClr val="accent1"/>
                </a:solidFill>
              </a:rPr>
              <a:t>Contents Title Here</a:t>
            </a:r>
            <a:endParaRPr lang="zh-CN" altLang="en-US" sz="1400" dirty="0">
              <a:solidFill>
                <a:schemeClr val="accent1"/>
              </a:solidFill>
            </a:endParaRPr>
          </a:p>
        </p:txBody>
      </p:sp>
      <p:sp>
        <p:nvSpPr>
          <p:cNvPr id="40" name="文本框 39">
            <a:extLst>
              <a:ext uri="{FF2B5EF4-FFF2-40B4-BE49-F238E27FC236}">
                <a16:creationId xmlns:a16="http://schemas.microsoft.com/office/drawing/2014/main" id="{66259B92-8705-44E9-93E5-A19E5023C2DD}"/>
              </a:ext>
            </a:extLst>
          </p:cNvPr>
          <p:cNvSpPr txBox="1"/>
          <p:nvPr/>
        </p:nvSpPr>
        <p:spPr>
          <a:xfrm>
            <a:off x="5400675" y="1028720"/>
            <a:ext cx="1390650" cy="830997"/>
          </a:xfrm>
          <a:prstGeom prst="rect">
            <a:avLst/>
          </a:prstGeom>
          <a:noFill/>
        </p:spPr>
        <p:txBody>
          <a:bodyPr wrap="square" lIns="0" tIns="0" rIns="0" bIns="0" rtlCol="0" anchor="t">
            <a:spAutoFit/>
          </a:bodyPr>
          <a:lstStyle/>
          <a:p>
            <a:pPr algn="dist"/>
            <a:r>
              <a:rPr lang="zh-CN" altLang="en-US" sz="5400" dirty="0">
                <a:solidFill>
                  <a:schemeClr val="bg1"/>
                </a:solidFill>
                <a:latin typeface="+mj-ea"/>
                <a:ea typeface="+mj-ea"/>
              </a:rPr>
              <a:t>目录</a:t>
            </a:r>
          </a:p>
        </p:txBody>
      </p:sp>
      <p:grpSp>
        <p:nvGrpSpPr>
          <p:cNvPr id="41" name="组合 40">
            <a:extLst>
              <a:ext uri="{FF2B5EF4-FFF2-40B4-BE49-F238E27FC236}">
                <a16:creationId xmlns:a16="http://schemas.microsoft.com/office/drawing/2014/main" id="{4D0B9185-6FCD-4D7A-8739-9694A4963089}"/>
              </a:ext>
            </a:extLst>
          </p:cNvPr>
          <p:cNvGrpSpPr/>
          <p:nvPr/>
        </p:nvGrpSpPr>
        <p:grpSpPr>
          <a:xfrm>
            <a:off x="3938651" y="1346508"/>
            <a:ext cx="1296924" cy="192024"/>
            <a:chOff x="4004890" y="1116624"/>
            <a:chExt cx="1296924" cy="192024"/>
          </a:xfrm>
        </p:grpSpPr>
        <p:sp>
          <p:nvSpPr>
            <p:cNvPr id="42" name="菱形 41">
              <a:extLst>
                <a:ext uri="{FF2B5EF4-FFF2-40B4-BE49-F238E27FC236}">
                  <a16:creationId xmlns:a16="http://schemas.microsoft.com/office/drawing/2014/main" id="{25AA34F6-E9CA-4610-8518-C7568D1285EA}"/>
                </a:ext>
              </a:extLst>
            </p:cNvPr>
            <p:cNvSpPr/>
            <p:nvPr/>
          </p:nvSpPr>
          <p:spPr>
            <a:xfrm>
              <a:off x="5109790" y="1116624"/>
              <a:ext cx="192024" cy="192024"/>
            </a:xfrm>
            <a:prstGeom prst="diamond">
              <a:avLst/>
            </a:prstGeom>
            <a:noFill/>
            <a:ln w="317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p>
          </p:txBody>
        </p:sp>
        <p:cxnSp>
          <p:nvCxnSpPr>
            <p:cNvPr id="43" name="直接连接符 42">
              <a:extLst>
                <a:ext uri="{FF2B5EF4-FFF2-40B4-BE49-F238E27FC236}">
                  <a16:creationId xmlns:a16="http://schemas.microsoft.com/office/drawing/2014/main" id="{40475956-DE5D-47AA-9FB9-ADE22D8D3F96}"/>
                </a:ext>
              </a:extLst>
            </p:cNvPr>
            <p:cNvCxnSpPr/>
            <p:nvPr/>
          </p:nvCxnSpPr>
          <p:spPr>
            <a:xfrm flipH="1">
              <a:off x="4004890" y="1212636"/>
              <a:ext cx="1104900" cy="0"/>
            </a:xfrm>
            <a:prstGeom prst="line">
              <a:avLst/>
            </a:prstGeom>
            <a:ln w="31750" cap="rnd">
              <a:gradFill>
                <a:gsLst>
                  <a:gs pos="0">
                    <a:schemeClr val="bg1"/>
                  </a:gs>
                  <a:gs pos="100000">
                    <a:schemeClr val="bg1">
                      <a:alpha val="0"/>
                    </a:schemeClr>
                  </a:gs>
                </a:gsLst>
                <a:lin ang="0" scaled="0"/>
              </a:gradFill>
            </a:ln>
          </p:spPr>
          <p:style>
            <a:lnRef idx="1">
              <a:schemeClr val="accent1"/>
            </a:lnRef>
            <a:fillRef idx="0">
              <a:schemeClr val="accent1"/>
            </a:fillRef>
            <a:effectRef idx="0">
              <a:schemeClr val="accent1"/>
            </a:effectRef>
            <a:fontRef idx="minor">
              <a:schemeClr val="tx1"/>
            </a:fontRef>
          </p:style>
        </p:cxnSp>
      </p:grpSp>
      <p:grpSp>
        <p:nvGrpSpPr>
          <p:cNvPr id="44" name="组合 43">
            <a:extLst>
              <a:ext uri="{FF2B5EF4-FFF2-40B4-BE49-F238E27FC236}">
                <a16:creationId xmlns:a16="http://schemas.microsoft.com/office/drawing/2014/main" id="{E57B9341-6E89-4118-ABF8-38117625D273}"/>
              </a:ext>
            </a:extLst>
          </p:cNvPr>
          <p:cNvGrpSpPr/>
          <p:nvPr/>
        </p:nvGrpSpPr>
        <p:grpSpPr>
          <a:xfrm flipH="1">
            <a:off x="6956425" y="1346508"/>
            <a:ext cx="1296924" cy="192024"/>
            <a:chOff x="4004890" y="1116624"/>
            <a:chExt cx="1296924" cy="192024"/>
          </a:xfrm>
        </p:grpSpPr>
        <p:sp>
          <p:nvSpPr>
            <p:cNvPr id="45" name="菱形 44">
              <a:extLst>
                <a:ext uri="{FF2B5EF4-FFF2-40B4-BE49-F238E27FC236}">
                  <a16:creationId xmlns:a16="http://schemas.microsoft.com/office/drawing/2014/main" id="{6E861752-9716-4568-A1B8-C3051DE350FD}"/>
                </a:ext>
              </a:extLst>
            </p:cNvPr>
            <p:cNvSpPr/>
            <p:nvPr/>
          </p:nvSpPr>
          <p:spPr>
            <a:xfrm>
              <a:off x="5109790" y="1116624"/>
              <a:ext cx="192024" cy="192024"/>
            </a:xfrm>
            <a:prstGeom prst="diamond">
              <a:avLst/>
            </a:prstGeom>
            <a:noFill/>
            <a:ln w="317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p>
          </p:txBody>
        </p:sp>
        <p:cxnSp>
          <p:nvCxnSpPr>
            <p:cNvPr id="46" name="直接连接符 45">
              <a:extLst>
                <a:ext uri="{FF2B5EF4-FFF2-40B4-BE49-F238E27FC236}">
                  <a16:creationId xmlns:a16="http://schemas.microsoft.com/office/drawing/2014/main" id="{687083E3-B24A-4641-99A6-7523DC2C3CD8}"/>
                </a:ext>
              </a:extLst>
            </p:cNvPr>
            <p:cNvCxnSpPr/>
            <p:nvPr/>
          </p:nvCxnSpPr>
          <p:spPr>
            <a:xfrm flipH="1">
              <a:off x="4004890" y="1212636"/>
              <a:ext cx="1104900" cy="0"/>
            </a:xfrm>
            <a:prstGeom prst="line">
              <a:avLst/>
            </a:prstGeom>
            <a:ln w="31750" cap="rnd">
              <a:gradFill>
                <a:gsLst>
                  <a:gs pos="0">
                    <a:schemeClr val="bg1"/>
                  </a:gs>
                  <a:gs pos="100000">
                    <a:schemeClr val="bg1">
                      <a:alpha val="0"/>
                    </a:schemeClr>
                  </a:gs>
                </a:gsLst>
                <a:lin ang="0" scaled="0"/>
              </a:gradFill>
            </a:ln>
          </p:spPr>
          <p:style>
            <a:lnRef idx="1">
              <a:schemeClr val="accent1"/>
            </a:lnRef>
            <a:fillRef idx="0">
              <a:schemeClr val="accent1"/>
            </a:fillRef>
            <a:effectRef idx="0">
              <a:schemeClr val="accent1"/>
            </a:effectRef>
            <a:fontRef idx="minor">
              <a:schemeClr val="tx1"/>
            </a:fontRef>
          </p:style>
        </p:cxnSp>
      </p:grpSp>
      <p:sp>
        <p:nvSpPr>
          <p:cNvPr id="49" name="任意多边形: 形状 48">
            <a:extLst>
              <a:ext uri="{FF2B5EF4-FFF2-40B4-BE49-F238E27FC236}">
                <a16:creationId xmlns:a16="http://schemas.microsoft.com/office/drawing/2014/main" id="{61D63D30-FB04-4037-87ED-58488139823B}"/>
              </a:ext>
            </a:extLst>
          </p:cNvPr>
          <p:cNvSpPr/>
          <p:nvPr/>
        </p:nvSpPr>
        <p:spPr>
          <a:xfrm>
            <a:off x="5359838" y="3233287"/>
            <a:ext cx="367163" cy="367163"/>
          </a:xfrm>
          <a:custGeom>
            <a:avLst/>
            <a:gdLst>
              <a:gd name="connsiteX0" fmla="*/ 367163 w 367163"/>
              <a:gd name="connsiteY0" fmla="*/ 0 h 367163"/>
              <a:gd name="connsiteX1" fmla="*/ 367163 w 367163"/>
              <a:gd name="connsiteY1" fmla="*/ 231053 h 367163"/>
              <a:gd name="connsiteX2" fmla="*/ 231053 w 367163"/>
              <a:gd name="connsiteY2" fmla="*/ 367163 h 367163"/>
              <a:gd name="connsiteX3" fmla="*/ 0 w 367163"/>
              <a:gd name="connsiteY3" fmla="*/ 367163 h 367163"/>
            </a:gdLst>
            <a:ahLst/>
            <a:cxnLst>
              <a:cxn ang="0">
                <a:pos x="connsiteX0" y="connsiteY0"/>
              </a:cxn>
              <a:cxn ang="0">
                <a:pos x="connsiteX1" y="connsiteY1"/>
              </a:cxn>
              <a:cxn ang="0">
                <a:pos x="connsiteX2" y="connsiteY2"/>
              </a:cxn>
              <a:cxn ang="0">
                <a:pos x="connsiteX3" y="connsiteY3"/>
              </a:cxn>
            </a:cxnLst>
            <a:rect l="l" t="t" r="r" b="b"/>
            <a:pathLst>
              <a:path w="367163" h="367163">
                <a:moveTo>
                  <a:pt x="367163" y="0"/>
                </a:moveTo>
                <a:lnTo>
                  <a:pt x="367163" y="231053"/>
                </a:lnTo>
                <a:cubicBezTo>
                  <a:pt x="367163" y="306224"/>
                  <a:pt x="306224" y="367163"/>
                  <a:pt x="231053" y="367163"/>
                </a:cubicBezTo>
                <a:lnTo>
                  <a:pt x="0" y="367163"/>
                </a:lnTo>
                <a:close/>
              </a:path>
            </a:pathLst>
          </a:cu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endParaRPr lang="zh-CN" altLang="en-US" sz="1600">
              <a:solidFill>
                <a:schemeClr val="bg1"/>
              </a:solidFill>
              <a:latin typeface="+mj-ea"/>
              <a:ea typeface="+mj-ea"/>
            </a:endParaRPr>
          </a:p>
        </p:txBody>
      </p:sp>
      <p:sp>
        <p:nvSpPr>
          <p:cNvPr id="50" name="任意多边形: 形状 49">
            <a:extLst>
              <a:ext uri="{FF2B5EF4-FFF2-40B4-BE49-F238E27FC236}">
                <a16:creationId xmlns:a16="http://schemas.microsoft.com/office/drawing/2014/main" id="{99C05532-90A9-4A1A-8C82-6FD6ACD9A15F}"/>
              </a:ext>
            </a:extLst>
          </p:cNvPr>
          <p:cNvSpPr/>
          <p:nvPr/>
        </p:nvSpPr>
        <p:spPr>
          <a:xfrm>
            <a:off x="9788963" y="3233287"/>
            <a:ext cx="367163" cy="367163"/>
          </a:xfrm>
          <a:custGeom>
            <a:avLst/>
            <a:gdLst>
              <a:gd name="connsiteX0" fmla="*/ 367163 w 367163"/>
              <a:gd name="connsiteY0" fmla="*/ 0 h 367163"/>
              <a:gd name="connsiteX1" fmla="*/ 367163 w 367163"/>
              <a:gd name="connsiteY1" fmla="*/ 231053 h 367163"/>
              <a:gd name="connsiteX2" fmla="*/ 231053 w 367163"/>
              <a:gd name="connsiteY2" fmla="*/ 367163 h 367163"/>
              <a:gd name="connsiteX3" fmla="*/ 0 w 367163"/>
              <a:gd name="connsiteY3" fmla="*/ 367163 h 367163"/>
            </a:gdLst>
            <a:ahLst/>
            <a:cxnLst>
              <a:cxn ang="0">
                <a:pos x="connsiteX0" y="connsiteY0"/>
              </a:cxn>
              <a:cxn ang="0">
                <a:pos x="connsiteX1" y="connsiteY1"/>
              </a:cxn>
              <a:cxn ang="0">
                <a:pos x="connsiteX2" y="connsiteY2"/>
              </a:cxn>
              <a:cxn ang="0">
                <a:pos x="connsiteX3" y="connsiteY3"/>
              </a:cxn>
            </a:cxnLst>
            <a:rect l="l" t="t" r="r" b="b"/>
            <a:pathLst>
              <a:path w="367163" h="367163">
                <a:moveTo>
                  <a:pt x="367163" y="0"/>
                </a:moveTo>
                <a:lnTo>
                  <a:pt x="367163" y="231053"/>
                </a:lnTo>
                <a:cubicBezTo>
                  <a:pt x="367163" y="306224"/>
                  <a:pt x="306224" y="367163"/>
                  <a:pt x="231053" y="367163"/>
                </a:cubicBezTo>
                <a:lnTo>
                  <a:pt x="0" y="367163"/>
                </a:lnTo>
                <a:close/>
              </a:path>
            </a:pathLst>
          </a:cu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endParaRPr lang="zh-CN" altLang="en-US" sz="1600">
              <a:solidFill>
                <a:schemeClr val="bg1"/>
              </a:solidFill>
              <a:latin typeface="+mj-ea"/>
              <a:ea typeface="+mj-ea"/>
            </a:endParaRPr>
          </a:p>
        </p:txBody>
      </p:sp>
      <p:sp>
        <p:nvSpPr>
          <p:cNvPr id="51" name="任意多边形: 形状 50">
            <a:extLst>
              <a:ext uri="{FF2B5EF4-FFF2-40B4-BE49-F238E27FC236}">
                <a16:creationId xmlns:a16="http://schemas.microsoft.com/office/drawing/2014/main" id="{B600866E-D035-468B-AF55-1B2AD3F5F178}"/>
              </a:ext>
            </a:extLst>
          </p:cNvPr>
          <p:cNvSpPr/>
          <p:nvPr/>
        </p:nvSpPr>
        <p:spPr>
          <a:xfrm>
            <a:off x="5359838" y="5056035"/>
            <a:ext cx="367163" cy="367163"/>
          </a:xfrm>
          <a:custGeom>
            <a:avLst/>
            <a:gdLst>
              <a:gd name="connsiteX0" fmla="*/ 367163 w 367163"/>
              <a:gd name="connsiteY0" fmla="*/ 0 h 367163"/>
              <a:gd name="connsiteX1" fmla="*/ 367163 w 367163"/>
              <a:gd name="connsiteY1" fmla="*/ 231053 h 367163"/>
              <a:gd name="connsiteX2" fmla="*/ 231053 w 367163"/>
              <a:gd name="connsiteY2" fmla="*/ 367163 h 367163"/>
              <a:gd name="connsiteX3" fmla="*/ 0 w 367163"/>
              <a:gd name="connsiteY3" fmla="*/ 367163 h 367163"/>
            </a:gdLst>
            <a:ahLst/>
            <a:cxnLst>
              <a:cxn ang="0">
                <a:pos x="connsiteX0" y="connsiteY0"/>
              </a:cxn>
              <a:cxn ang="0">
                <a:pos x="connsiteX1" y="connsiteY1"/>
              </a:cxn>
              <a:cxn ang="0">
                <a:pos x="connsiteX2" y="connsiteY2"/>
              </a:cxn>
              <a:cxn ang="0">
                <a:pos x="connsiteX3" y="connsiteY3"/>
              </a:cxn>
            </a:cxnLst>
            <a:rect l="l" t="t" r="r" b="b"/>
            <a:pathLst>
              <a:path w="367163" h="367163">
                <a:moveTo>
                  <a:pt x="367163" y="0"/>
                </a:moveTo>
                <a:lnTo>
                  <a:pt x="367163" y="231053"/>
                </a:lnTo>
                <a:cubicBezTo>
                  <a:pt x="367163" y="306224"/>
                  <a:pt x="306224" y="367163"/>
                  <a:pt x="231053" y="367163"/>
                </a:cubicBezTo>
                <a:lnTo>
                  <a:pt x="0" y="367163"/>
                </a:lnTo>
                <a:close/>
              </a:path>
            </a:pathLst>
          </a:cu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endParaRPr lang="zh-CN" altLang="en-US" sz="1600">
              <a:solidFill>
                <a:schemeClr val="bg1"/>
              </a:solidFill>
              <a:latin typeface="+mj-ea"/>
              <a:ea typeface="+mj-ea"/>
            </a:endParaRPr>
          </a:p>
        </p:txBody>
      </p:sp>
      <p:sp>
        <p:nvSpPr>
          <p:cNvPr id="52" name="任意多边形: 形状 51">
            <a:extLst>
              <a:ext uri="{FF2B5EF4-FFF2-40B4-BE49-F238E27FC236}">
                <a16:creationId xmlns:a16="http://schemas.microsoft.com/office/drawing/2014/main" id="{02BF3C57-82FD-4812-B0D1-29BBD9ACC11D}"/>
              </a:ext>
            </a:extLst>
          </p:cNvPr>
          <p:cNvSpPr/>
          <p:nvPr/>
        </p:nvSpPr>
        <p:spPr>
          <a:xfrm>
            <a:off x="9788963" y="5056035"/>
            <a:ext cx="367163" cy="367163"/>
          </a:xfrm>
          <a:custGeom>
            <a:avLst/>
            <a:gdLst>
              <a:gd name="connsiteX0" fmla="*/ 367163 w 367163"/>
              <a:gd name="connsiteY0" fmla="*/ 0 h 367163"/>
              <a:gd name="connsiteX1" fmla="*/ 367163 w 367163"/>
              <a:gd name="connsiteY1" fmla="*/ 231053 h 367163"/>
              <a:gd name="connsiteX2" fmla="*/ 231053 w 367163"/>
              <a:gd name="connsiteY2" fmla="*/ 367163 h 367163"/>
              <a:gd name="connsiteX3" fmla="*/ 0 w 367163"/>
              <a:gd name="connsiteY3" fmla="*/ 367163 h 367163"/>
            </a:gdLst>
            <a:ahLst/>
            <a:cxnLst>
              <a:cxn ang="0">
                <a:pos x="connsiteX0" y="connsiteY0"/>
              </a:cxn>
              <a:cxn ang="0">
                <a:pos x="connsiteX1" y="connsiteY1"/>
              </a:cxn>
              <a:cxn ang="0">
                <a:pos x="connsiteX2" y="connsiteY2"/>
              </a:cxn>
              <a:cxn ang="0">
                <a:pos x="connsiteX3" y="connsiteY3"/>
              </a:cxn>
            </a:cxnLst>
            <a:rect l="l" t="t" r="r" b="b"/>
            <a:pathLst>
              <a:path w="367163" h="367163">
                <a:moveTo>
                  <a:pt x="367163" y="0"/>
                </a:moveTo>
                <a:lnTo>
                  <a:pt x="367163" y="231053"/>
                </a:lnTo>
                <a:cubicBezTo>
                  <a:pt x="367163" y="306224"/>
                  <a:pt x="306224" y="367163"/>
                  <a:pt x="231053" y="367163"/>
                </a:cubicBezTo>
                <a:lnTo>
                  <a:pt x="0" y="367163"/>
                </a:lnTo>
                <a:close/>
              </a:path>
            </a:pathLst>
          </a:cu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endParaRPr lang="zh-CN" altLang="en-US" sz="1600">
              <a:solidFill>
                <a:schemeClr val="bg1"/>
              </a:solidFill>
              <a:latin typeface="+mj-ea"/>
              <a:ea typeface="+mj-ea"/>
            </a:endParaRPr>
          </a:p>
        </p:txBody>
      </p:sp>
    </p:spTree>
    <p:extLst>
      <p:ext uri="{BB962C8B-B14F-4D97-AF65-F5344CB8AC3E}">
        <p14:creationId xmlns:p14="http://schemas.microsoft.com/office/powerpoint/2010/main" val="603946614"/>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106.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sp>
        <p:nvSpPr>
          <p:cNvPr id="47" name="文本框 46">
            <a:extLst>
              <a:ext uri="{FF2B5EF4-FFF2-40B4-BE49-F238E27FC236}">
                <a16:creationId xmlns:a16="http://schemas.microsoft.com/office/drawing/2014/main" id="{68E02103-7D42-4D69-8C85-9B4069C76295}"/>
              </a:ext>
            </a:extLst>
          </p:cNvPr>
          <p:cNvSpPr txBox="1"/>
          <p:nvPr/>
        </p:nvSpPr>
        <p:spPr>
          <a:xfrm>
            <a:off x="4760285" y="668684"/>
            <a:ext cx="2802566" cy="553998"/>
          </a:xfrm>
          <a:prstGeom prst="rect">
            <a:avLst/>
          </a:prstGeom>
          <a:noFill/>
        </p:spPr>
        <p:txBody>
          <a:bodyPr wrap="square" lIns="0" tIns="0" rIns="0" bIns="0" rtlCol="0" anchor="t">
            <a:spAutoFit/>
          </a:bodyPr>
          <a:lstStyle/>
          <a:p>
            <a:pPr algn="dist"/>
            <a:r>
              <a:rPr lang="en-US" altLang="zh-CN" sz="3600" dirty="0">
                <a:solidFill>
                  <a:schemeClr val="accent1">
                    <a:alpha val="20000"/>
                  </a:schemeClr>
                </a:solidFill>
                <a:latin typeface="+mj-ea"/>
                <a:ea typeface="+mj-ea"/>
              </a:rPr>
              <a:t>CONTENTS</a:t>
            </a:r>
            <a:endParaRPr lang="zh-CN" altLang="en-US" sz="3600" dirty="0">
              <a:solidFill>
                <a:schemeClr val="accent1">
                  <a:alpha val="20000"/>
                </a:schemeClr>
              </a:solidFill>
              <a:latin typeface="+mj-ea"/>
              <a:ea typeface="+mj-ea"/>
            </a:endParaRPr>
          </a:p>
        </p:txBody>
      </p:sp>
      <p:sp>
        <p:nvSpPr>
          <p:cNvPr id="48" name="文本框 47">
            <a:extLst>
              <a:ext uri="{FF2B5EF4-FFF2-40B4-BE49-F238E27FC236}">
                <a16:creationId xmlns:a16="http://schemas.microsoft.com/office/drawing/2014/main" id="{0EA84B23-8C7F-4609-99C8-3156668AE5EB}"/>
              </a:ext>
            </a:extLst>
          </p:cNvPr>
          <p:cNvSpPr txBox="1"/>
          <p:nvPr/>
        </p:nvSpPr>
        <p:spPr>
          <a:xfrm>
            <a:off x="4759151" y="869483"/>
            <a:ext cx="2673698" cy="1354217"/>
          </a:xfrm>
          <a:prstGeom prst="rect">
            <a:avLst/>
          </a:prstGeom>
          <a:noFill/>
        </p:spPr>
        <p:txBody>
          <a:bodyPr wrap="square" lIns="0" tIns="0" rIns="0" bIns="0" rtlCol="0" anchor="t">
            <a:spAutoFit/>
          </a:bodyPr>
          <a:lstStyle/>
          <a:p>
            <a:pPr algn="dist"/>
            <a:r>
              <a:rPr lang="zh-CN" altLang="en-US" sz="8800" dirty="0">
                <a:solidFill>
                  <a:schemeClr val="accent1"/>
                </a:solidFill>
                <a:latin typeface="+mj-ea"/>
                <a:ea typeface="+mj-ea"/>
              </a:rPr>
              <a:t>目录</a:t>
            </a:r>
          </a:p>
        </p:txBody>
      </p:sp>
      <p:grpSp>
        <p:nvGrpSpPr>
          <p:cNvPr id="4" name="组合 3">
            <a:extLst>
              <a:ext uri="{FF2B5EF4-FFF2-40B4-BE49-F238E27FC236}">
                <a16:creationId xmlns:a16="http://schemas.microsoft.com/office/drawing/2014/main" id="{9E7621AD-3EF5-4BBA-AA2D-4131602B7CA5}"/>
              </a:ext>
            </a:extLst>
          </p:cNvPr>
          <p:cNvGrpSpPr/>
          <p:nvPr/>
        </p:nvGrpSpPr>
        <p:grpSpPr>
          <a:xfrm>
            <a:off x="2031365" y="2571919"/>
            <a:ext cx="3757296" cy="971212"/>
            <a:chOff x="1424305" y="2943394"/>
            <a:chExt cx="3757296" cy="971212"/>
          </a:xfrm>
        </p:grpSpPr>
        <p:sp>
          <p:nvSpPr>
            <p:cNvPr id="7" name="矩形: 圆角 6">
              <a:extLst>
                <a:ext uri="{FF2B5EF4-FFF2-40B4-BE49-F238E27FC236}">
                  <a16:creationId xmlns:a16="http://schemas.microsoft.com/office/drawing/2014/main" id="{6329084A-B9F9-489E-A478-2194F14E16F1}"/>
                </a:ext>
              </a:extLst>
            </p:cNvPr>
            <p:cNvSpPr/>
            <p:nvPr/>
          </p:nvSpPr>
          <p:spPr>
            <a:xfrm>
              <a:off x="1424305" y="2943394"/>
              <a:ext cx="3757296" cy="971212"/>
            </a:xfrm>
            <a:prstGeom prst="roundRect">
              <a:avLst>
                <a:gd name="adj" fmla="val 50000"/>
              </a:avLst>
            </a:prstGeom>
            <a:solidFill>
              <a:schemeClr val="bg1"/>
            </a:solidFill>
            <a:ln>
              <a:noFill/>
            </a:ln>
            <a:effectLst>
              <a:outerShdw blurRad="228600" sx="102000" sy="1020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zh-CN" altLang="en-US" sz="1400">
                <a:solidFill>
                  <a:schemeClr val="bg1"/>
                </a:solidFill>
                <a:latin typeface="+mj-ea"/>
                <a:ea typeface="+mj-ea"/>
              </a:endParaRPr>
            </a:p>
          </p:txBody>
        </p:sp>
        <p:sp>
          <p:nvSpPr>
            <p:cNvPr id="12" name="文本框 11">
              <a:extLst>
                <a:ext uri="{FF2B5EF4-FFF2-40B4-BE49-F238E27FC236}">
                  <a16:creationId xmlns:a16="http://schemas.microsoft.com/office/drawing/2014/main" id="{3BF21D68-2406-489A-94CC-A74B16BE91A9}"/>
                </a:ext>
              </a:extLst>
            </p:cNvPr>
            <p:cNvSpPr txBox="1"/>
            <p:nvPr/>
          </p:nvSpPr>
          <p:spPr>
            <a:xfrm>
              <a:off x="2649799" y="3095637"/>
              <a:ext cx="2231380" cy="446276"/>
            </a:xfrm>
            <a:prstGeom prst="rect">
              <a:avLst/>
            </a:prstGeom>
            <a:noFill/>
          </p:spPr>
          <p:txBody>
            <a:bodyPr wrap="square" lIns="0" tIns="0" rIns="0" bIns="0" rtlCol="0" anchor="t">
              <a:spAutoFit/>
            </a:bodyPr>
            <a:lstStyle/>
            <a:p>
              <a:r>
                <a:rPr lang="zh-CN" altLang="en-US" sz="2800" dirty="0">
                  <a:solidFill>
                    <a:schemeClr val="accent1"/>
                  </a:solidFill>
                  <a:latin typeface="+mj-ea"/>
                  <a:ea typeface="+mj-ea"/>
                </a:rPr>
                <a:t>输入目录标题</a:t>
              </a:r>
            </a:p>
          </p:txBody>
        </p:sp>
        <p:sp>
          <p:nvSpPr>
            <p:cNvPr id="13" name="文本框 12">
              <a:extLst>
                <a:ext uri="{FF2B5EF4-FFF2-40B4-BE49-F238E27FC236}">
                  <a16:creationId xmlns:a16="http://schemas.microsoft.com/office/drawing/2014/main" id="{EE296694-F919-4543-AD5B-46D5B584B867}"/>
                </a:ext>
              </a:extLst>
            </p:cNvPr>
            <p:cNvSpPr txBox="1"/>
            <p:nvPr/>
          </p:nvSpPr>
          <p:spPr>
            <a:xfrm>
              <a:off x="2649799" y="3541913"/>
              <a:ext cx="2109352" cy="184666"/>
            </a:xfrm>
            <a:prstGeom prst="rect">
              <a:avLst/>
            </a:prstGeom>
            <a:noFill/>
          </p:spPr>
          <p:txBody>
            <a:bodyPr wrap="square" lIns="0" tIns="0" rIns="0" bIns="0" rtlCol="0" anchor="t">
              <a:spAutoFit/>
            </a:bodyPr>
            <a:lstStyle/>
            <a:p>
              <a:pPr algn="dist"/>
              <a:r>
                <a:rPr lang="en-US" altLang="zh-CN" sz="1200" dirty="0">
                  <a:solidFill>
                    <a:schemeClr val="accent1"/>
                  </a:solidFill>
                </a:rPr>
                <a:t>Contents Title Here</a:t>
              </a:r>
              <a:endParaRPr lang="zh-CN" altLang="en-US" sz="1200" dirty="0">
                <a:solidFill>
                  <a:schemeClr val="accent1"/>
                </a:solidFill>
              </a:endParaRPr>
            </a:p>
          </p:txBody>
        </p:sp>
        <p:sp>
          <p:nvSpPr>
            <p:cNvPr id="3" name="文本框 2">
              <a:extLst>
                <a:ext uri="{FF2B5EF4-FFF2-40B4-BE49-F238E27FC236}">
                  <a16:creationId xmlns:a16="http://schemas.microsoft.com/office/drawing/2014/main" id="{C8CA87E0-4031-4032-B87E-1E55500A6FD2}"/>
                </a:ext>
              </a:extLst>
            </p:cNvPr>
            <p:cNvSpPr txBox="1"/>
            <p:nvPr/>
          </p:nvSpPr>
          <p:spPr>
            <a:xfrm>
              <a:off x="1763766" y="3013501"/>
              <a:ext cx="705321" cy="830997"/>
            </a:xfrm>
            <a:prstGeom prst="rect">
              <a:avLst/>
            </a:prstGeom>
            <a:noFill/>
          </p:spPr>
          <p:txBody>
            <a:bodyPr wrap="none" lIns="0" tIns="0" rIns="0" bIns="0" rtlCol="0" anchor="t">
              <a:spAutoFit/>
            </a:bodyPr>
            <a:lstStyle/>
            <a:p>
              <a:pPr algn="l"/>
              <a:r>
                <a:rPr lang="en-US" altLang="zh-CN" sz="5400" dirty="0">
                  <a:solidFill>
                    <a:schemeClr val="accent1">
                      <a:lumMod val="100000"/>
                    </a:schemeClr>
                  </a:solidFill>
                </a:rPr>
                <a:t>01</a:t>
              </a:r>
              <a:endParaRPr lang="zh-CN" altLang="en-US" sz="5400" dirty="0">
                <a:solidFill>
                  <a:schemeClr val="accent1">
                    <a:lumMod val="100000"/>
                  </a:schemeClr>
                </a:solidFill>
              </a:endParaRPr>
            </a:p>
          </p:txBody>
        </p:sp>
      </p:grpSp>
      <p:grpSp>
        <p:nvGrpSpPr>
          <p:cNvPr id="73" name="组合 72">
            <a:extLst>
              <a:ext uri="{FF2B5EF4-FFF2-40B4-BE49-F238E27FC236}">
                <a16:creationId xmlns:a16="http://schemas.microsoft.com/office/drawing/2014/main" id="{7E4F8010-BB79-4939-BC01-D3DE911C6B32}"/>
              </a:ext>
            </a:extLst>
          </p:cNvPr>
          <p:cNvGrpSpPr/>
          <p:nvPr/>
        </p:nvGrpSpPr>
        <p:grpSpPr>
          <a:xfrm>
            <a:off x="6403340" y="2571919"/>
            <a:ext cx="3757296" cy="971212"/>
            <a:chOff x="1424305" y="2943394"/>
            <a:chExt cx="3757296" cy="971212"/>
          </a:xfrm>
        </p:grpSpPr>
        <p:sp>
          <p:nvSpPr>
            <p:cNvPr id="74" name="矩形: 圆角 73">
              <a:extLst>
                <a:ext uri="{FF2B5EF4-FFF2-40B4-BE49-F238E27FC236}">
                  <a16:creationId xmlns:a16="http://schemas.microsoft.com/office/drawing/2014/main" id="{A7BE64AF-1E6A-4920-9185-8C05C01F278F}"/>
                </a:ext>
              </a:extLst>
            </p:cNvPr>
            <p:cNvSpPr/>
            <p:nvPr/>
          </p:nvSpPr>
          <p:spPr>
            <a:xfrm>
              <a:off x="1424305" y="2943394"/>
              <a:ext cx="3757296" cy="971212"/>
            </a:xfrm>
            <a:prstGeom prst="roundRect">
              <a:avLst>
                <a:gd name="adj" fmla="val 50000"/>
              </a:avLst>
            </a:prstGeom>
            <a:solidFill>
              <a:schemeClr val="bg1"/>
            </a:solidFill>
            <a:ln>
              <a:noFill/>
            </a:ln>
            <a:effectLst>
              <a:outerShdw blurRad="228600" sx="102000" sy="1020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zh-CN" altLang="en-US" sz="1400">
                <a:solidFill>
                  <a:schemeClr val="bg1"/>
                </a:solidFill>
                <a:latin typeface="+mj-ea"/>
                <a:ea typeface="+mj-ea"/>
              </a:endParaRPr>
            </a:p>
          </p:txBody>
        </p:sp>
        <p:sp>
          <p:nvSpPr>
            <p:cNvPr id="75" name="文本框 74">
              <a:extLst>
                <a:ext uri="{FF2B5EF4-FFF2-40B4-BE49-F238E27FC236}">
                  <a16:creationId xmlns:a16="http://schemas.microsoft.com/office/drawing/2014/main" id="{1DAA9052-4682-404D-868F-B8393FF80FEE}"/>
                </a:ext>
              </a:extLst>
            </p:cNvPr>
            <p:cNvSpPr txBox="1"/>
            <p:nvPr/>
          </p:nvSpPr>
          <p:spPr>
            <a:xfrm>
              <a:off x="2649799" y="3095637"/>
              <a:ext cx="2231380" cy="446276"/>
            </a:xfrm>
            <a:prstGeom prst="rect">
              <a:avLst/>
            </a:prstGeom>
            <a:noFill/>
          </p:spPr>
          <p:txBody>
            <a:bodyPr wrap="square" lIns="0" tIns="0" rIns="0" bIns="0" rtlCol="0" anchor="t">
              <a:spAutoFit/>
            </a:bodyPr>
            <a:lstStyle/>
            <a:p>
              <a:r>
                <a:rPr lang="zh-CN" altLang="en-US" sz="2800" dirty="0">
                  <a:solidFill>
                    <a:schemeClr val="accent1"/>
                  </a:solidFill>
                  <a:latin typeface="+mj-ea"/>
                  <a:ea typeface="+mj-ea"/>
                </a:rPr>
                <a:t>输入目录标题</a:t>
              </a:r>
            </a:p>
          </p:txBody>
        </p:sp>
        <p:sp>
          <p:nvSpPr>
            <p:cNvPr id="76" name="文本框 75">
              <a:extLst>
                <a:ext uri="{FF2B5EF4-FFF2-40B4-BE49-F238E27FC236}">
                  <a16:creationId xmlns:a16="http://schemas.microsoft.com/office/drawing/2014/main" id="{605BB186-63C8-4629-969E-027B29EF9B64}"/>
                </a:ext>
              </a:extLst>
            </p:cNvPr>
            <p:cNvSpPr txBox="1"/>
            <p:nvPr/>
          </p:nvSpPr>
          <p:spPr>
            <a:xfrm>
              <a:off x="2649799" y="3541913"/>
              <a:ext cx="2109352" cy="184666"/>
            </a:xfrm>
            <a:prstGeom prst="rect">
              <a:avLst/>
            </a:prstGeom>
            <a:noFill/>
          </p:spPr>
          <p:txBody>
            <a:bodyPr wrap="square" lIns="0" tIns="0" rIns="0" bIns="0" rtlCol="0" anchor="t">
              <a:spAutoFit/>
            </a:bodyPr>
            <a:lstStyle/>
            <a:p>
              <a:pPr algn="dist"/>
              <a:r>
                <a:rPr lang="en-US" altLang="zh-CN" sz="1200" dirty="0">
                  <a:solidFill>
                    <a:schemeClr val="accent1"/>
                  </a:solidFill>
                </a:rPr>
                <a:t>Contents Title Here</a:t>
              </a:r>
              <a:endParaRPr lang="zh-CN" altLang="en-US" sz="1200" dirty="0">
                <a:solidFill>
                  <a:schemeClr val="accent1"/>
                </a:solidFill>
              </a:endParaRPr>
            </a:p>
          </p:txBody>
        </p:sp>
        <p:sp>
          <p:nvSpPr>
            <p:cNvPr id="77" name="文本框 76">
              <a:extLst>
                <a:ext uri="{FF2B5EF4-FFF2-40B4-BE49-F238E27FC236}">
                  <a16:creationId xmlns:a16="http://schemas.microsoft.com/office/drawing/2014/main" id="{8BC98B5D-956E-4D8A-95F0-5EF5552ECED7}"/>
                </a:ext>
              </a:extLst>
            </p:cNvPr>
            <p:cNvSpPr txBox="1"/>
            <p:nvPr/>
          </p:nvSpPr>
          <p:spPr>
            <a:xfrm>
              <a:off x="1763766" y="3013501"/>
              <a:ext cx="846386" cy="830997"/>
            </a:xfrm>
            <a:prstGeom prst="rect">
              <a:avLst/>
            </a:prstGeom>
            <a:noFill/>
          </p:spPr>
          <p:txBody>
            <a:bodyPr wrap="none" lIns="0" tIns="0" rIns="0" bIns="0" rtlCol="0" anchor="t">
              <a:spAutoFit/>
            </a:bodyPr>
            <a:lstStyle/>
            <a:p>
              <a:pPr algn="l"/>
              <a:r>
                <a:rPr lang="en-US" altLang="zh-CN" sz="5400" dirty="0">
                  <a:solidFill>
                    <a:schemeClr val="accent1">
                      <a:lumMod val="100000"/>
                    </a:schemeClr>
                  </a:solidFill>
                </a:rPr>
                <a:t>02</a:t>
              </a:r>
              <a:endParaRPr lang="zh-CN" altLang="en-US" sz="5400" dirty="0">
                <a:solidFill>
                  <a:schemeClr val="accent1">
                    <a:lumMod val="100000"/>
                  </a:schemeClr>
                </a:solidFill>
              </a:endParaRPr>
            </a:p>
          </p:txBody>
        </p:sp>
      </p:grpSp>
      <p:grpSp>
        <p:nvGrpSpPr>
          <p:cNvPr id="78" name="组合 77">
            <a:extLst>
              <a:ext uri="{FF2B5EF4-FFF2-40B4-BE49-F238E27FC236}">
                <a16:creationId xmlns:a16="http://schemas.microsoft.com/office/drawing/2014/main" id="{BCEAA6D8-3B0C-43D6-9B29-643BDBCF1CEE}"/>
              </a:ext>
            </a:extLst>
          </p:cNvPr>
          <p:cNvGrpSpPr/>
          <p:nvPr/>
        </p:nvGrpSpPr>
        <p:grpSpPr>
          <a:xfrm>
            <a:off x="2031365" y="4148695"/>
            <a:ext cx="3757296" cy="971212"/>
            <a:chOff x="1424305" y="2943394"/>
            <a:chExt cx="3757296" cy="971212"/>
          </a:xfrm>
        </p:grpSpPr>
        <p:sp>
          <p:nvSpPr>
            <p:cNvPr id="79" name="矩形: 圆角 78">
              <a:extLst>
                <a:ext uri="{FF2B5EF4-FFF2-40B4-BE49-F238E27FC236}">
                  <a16:creationId xmlns:a16="http://schemas.microsoft.com/office/drawing/2014/main" id="{5A49D741-FC01-4549-89B8-0F7236B8570E}"/>
                </a:ext>
              </a:extLst>
            </p:cNvPr>
            <p:cNvSpPr/>
            <p:nvPr/>
          </p:nvSpPr>
          <p:spPr>
            <a:xfrm>
              <a:off x="1424305" y="2943394"/>
              <a:ext cx="3757296" cy="971212"/>
            </a:xfrm>
            <a:prstGeom prst="roundRect">
              <a:avLst>
                <a:gd name="adj" fmla="val 50000"/>
              </a:avLst>
            </a:prstGeom>
            <a:solidFill>
              <a:schemeClr val="bg1"/>
            </a:solidFill>
            <a:ln>
              <a:noFill/>
            </a:ln>
            <a:effectLst>
              <a:outerShdw blurRad="228600" sx="102000" sy="1020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zh-CN" altLang="en-US" sz="1400">
                <a:solidFill>
                  <a:schemeClr val="bg1"/>
                </a:solidFill>
                <a:latin typeface="+mj-ea"/>
                <a:ea typeface="+mj-ea"/>
              </a:endParaRPr>
            </a:p>
          </p:txBody>
        </p:sp>
        <p:sp>
          <p:nvSpPr>
            <p:cNvPr id="80" name="文本框 79">
              <a:extLst>
                <a:ext uri="{FF2B5EF4-FFF2-40B4-BE49-F238E27FC236}">
                  <a16:creationId xmlns:a16="http://schemas.microsoft.com/office/drawing/2014/main" id="{230DA539-9A7D-4869-9705-68E577E5986C}"/>
                </a:ext>
              </a:extLst>
            </p:cNvPr>
            <p:cNvSpPr txBox="1"/>
            <p:nvPr/>
          </p:nvSpPr>
          <p:spPr>
            <a:xfrm>
              <a:off x="2649799" y="3095637"/>
              <a:ext cx="2231380" cy="446276"/>
            </a:xfrm>
            <a:prstGeom prst="rect">
              <a:avLst/>
            </a:prstGeom>
            <a:noFill/>
          </p:spPr>
          <p:txBody>
            <a:bodyPr wrap="square" lIns="0" tIns="0" rIns="0" bIns="0" rtlCol="0" anchor="t">
              <a:spAutoFit/>
            </a:bodyPr>
            <a:lstStyle/>
            <a:p>
              <a:r>
                <a:rPr lang="zh-CN" altLang="en-US" sz="2800" dirty="0">
                  <a:solidFill>
                    <a:schemeClr val="accent1"/>
                  </a:solidFill>
                  <a:latin typeface="+mj-ea"/>
                  <a:ea typeface="+mj-ea"/>
                </a:rPr>
                <a:t>输入目录标题</a:t>
              </a:r>
            </a:p>
          </p:txBody>
        </p:sp>
        <p:sp>
          <p:nvSpPr>
            <p:cNvPr id="81" name="文本框 80">
              <a:extLst>
                <a:ext uri="{FF2B5EF4-FFF2-40B4-BE49-F238E27FC236}">
                  <a16:creationId xmlns:a16="http://schemas.microsoft.com/office/drawing/2014/main" id="{4BFC37B9-71EE-45CC-9B25-A9B4C1D8ECA9}"/>
                </a:ext>
              </a:extLst>
            </p:cNvPr>
            <p:cNvSpPr txBox="1"/>
            <p:nvPr/>
          </p:nvSpPr>
          <p:spPr>
            <a:xfrm>
              <a:off x="2649799" y="3541913"/>
              <a:ext cx="2109352" cy="184666"/>
            </a:xfrm>
            <a:prstGeom prst="rect">
              <a:avLst/>
            </a:prstGeom>
            <a:noFill/>
          </p:spPr>
          <p:txBody>
            <a:bodyPr wrap="square" lIns="0" tIns="0" rIns="0" bIns="0" rtlCol="0" anchor="t">
              <a:spAutoFit/>
            </a:bodyPr>
            <a:lstStyle/>
            <a:p>
              <a:pPr algn="dist"/>
              <a:r>
                <a:rPr lang="en-US" altLang="zh-CN" sz="1200" dirty="0">
                  <a:solidFill>
                    <a:schemeClr val="accent1"/>
                  </a:solidFill>
                </a:rPr>
                <a:t>Contents Title Here</a:t>
              </a:r>
              <a:endParaRPr lang="zh-CN" altLang="en-US" sz="1200" dirty="0">
                <a:solidFill>
                  <a:schemeClr val="accent1"/>
                </a:solidFill>
              </a:endParaRPr>
            </a:p>
          </p:txBody>
        </p:sp>
        <p:sp>
          <p:nvSpPr>
            <p:cNvPr id="82" name="文本框 81">
              <a:extLst>
                <a:ext uri="{FF2B5EF4-FFF2-40B4-BE49-F238E27FC236}">
                  <a16:creationId xmlns:a16="http://schemas.microsoft.com/office/drawing/2014/main" id="{6F622AFC-D83B-4267-810F-51A6A7F738E2}"/>
                </a:ext>
              </a:extLst>
            </p:cNvPr>
            <p:cNvSpPr txBox="1"/>
            <p:nvPr/>
          </p:nvSpPr>
          <p:spPr>
            <a:xfrm>
              <a:off x="1763766" y="3013501"/>
              <a:ext cx="846386" cy="830997"/>
            </a:xfrm>
            <a:prstGeom prst="rect">
              <a:avLst/>
            </a:prstGeom>
            <a:noFill/>
          </p:spPr>
          <p:txBody>
            <a:bodyPr wrap="none" lIns="0" tIns="0" rIns="0" bIns="0" rtlCol="0" anchor="t">
              <a:spAutoFit/>
            </a:bodyPr>
            <a:lstStyle/>
            <a:p>
              <a:pPr algn="l"/>
              <a:r>
                <a:rPr lang="en-US" altLang="zh-CN" sz="5400" dirty="0">
                  <a:solidFill>
                    <a:schemeClr val="accent1">
                      <a:lumMod val="100000"/>
                    </a:schemeClr>
                  </a:solidFill>
                </a:rPr>
                <a:t>03</a:t>
              </a:r>
              <a:endParaRPr lang="zh-CN" altLang="en-US" sz="5400" dirty="0">
                <a:solidFill>
                  <a:schemeClr val="accent1">
                    <a:lumMod val="100000"/>
                  </a:schemeClr>
                </a:solidFill>
              </a:endParaRPr>
            </a:p>
          </p:txBody>
        </p:sp>
      </p:grpSp>
      <p:grpSp>
        <p:nvGrpSpPr>
          <p:cNvPr id="83" name="组合 82">
            <a:extLst>
              <a:ext uri="{FF2B5EF4-FFF2-40B4-BE49-F238E27FC236}">
                <a16:creationId xmlns:a16="http://schemas.microsoft.com/office/drawing/2014/main" id="{05AF202A-059D-4C9B-9FC0-9675F1F4910F}"/>
              </a:ext>
            </a:extLst>
          </p:cNvPr>
          <p:cNvGrpSpPr/>
          <p:nvPr/>
        </p:nvGrpSpPr>
        <p:grpSpPr>
          <a:xfrm>
            <a:off x="6403340" y="4148695"/>
            <a:ext cx="3757296" cy="971212"/>
            <a:chOff x="1424305" y="2943394"/>
            <a:chExt cx="3757296" cy="971212"/>
          </a:xfrm>
        </p:grpSpPr>
        <p:sp>
          <p:nvSpPr>
            <p:cNvPr id="84" name="矩形: 圆角 83">
              <a:extLst>
                <a:ext uri="{FF2B5EF4-FFF2-40B4-BE49-F238E27FC236}">
                  <a16:creationId xmlns:a16="http://schemas.microsoft.com/office/drawing/2014/main" id="{394228B5-E48C-451C-8E91-185228BD2CCA}"/>
                </a:ext>
              </a:extLst>
            </p:cNvPr>
            <p:cNvSpPr/>
            <p:nvPr/>
          </p:nvSpPr>
          <p:spPr>
            <a:xfrm>
              <a:off x="1424305" y="2943394"/>
              <a:ext cx="3757296" cy="971212"/>
            </a:xfrm>
            <a:prstGeom prst="roundRect">
              <a:avLst>
                <a:gd name="adj" fmla="val 50000"/>
              </a:avLst>
            </a:prstGeom>
            <a:solidFill>
              <a:schemeClr val="bg1"/>
            </a:solidFill>
            <a:ln>
              <a:noFill/>
            </a:ln>
            <a:effectLst>
              <a:outerShdw blurRad="228600" sx="102000" sy="1020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zh-CN" altLang="en-US" sz="1400">
                <a:solidFill>
                  <a:schemeClr val="bg1"/>
                </a:solidFill>
                <a:latin typeface="+mj-ea"/>
                <a:ea typeface="+mj-ea"/>
              </a:endParaRPr>
            </a:p>
          </p:txBody>
        </p:sp>
        <p:sp>
          <p:nvSpPr>
            <p:cNvPr id="85" name="文本框 84">
              <a:extLst>
                <a:ext uri="{FF2B5EF4-FFF2-40B4-BE49-F238E27FC236}">
                  <a16:creationId xmlns:a16="http://schemas.microsoft.com/office/drawing/2014/main" id="{393B8DAC-797B-4929-A775-4AC70B1E490E}"/>
                </a:ext>
              </a:extLst>
            </p:cNvPr>
            <p:cNvSpPr txBox="1"/>
            <p:nvPr/>
          </p:nvSpPr>
          <p:spPr>
            <a:xfrm>
              <a:off x="2649799" y="3095637"/>
              <a:ext cx="2231380" cy="446276"/>
            </a:xfrm>
            <a:prstGeom prst="rect">
              <a:avLst/>
            </a:prstGeom>
            <a:noFill/>
          </p:spPr>
          <p:txBody>
            <a:bodyPr wrap="square" lIns="0" tIns="0" rIns="0" bIns="0" rtlCol="0" anchor="t">
              <a:spAutoFit/>
            </a:bodyPr>
            <a:lstStyle/>
            <a:p>
              <a:r>
                <a:rPr lang="zh-CN" altLang="en-US" sz="2800" dirty="0">
                  <a:solidFill>
                    <a:schemeClr val="accent1"/>
                  </a:solidFill>
                  <a:latin typeface="+mj-ea"/>
                  <a:ea typeface="+mj-ea"/>
                </a:rPr>
                <a:t>输入目录标题</a:t>
              </a:r>
            </a:p>
          </p:txBody>
        </p:sp>
        <p:sp>
          <p:nvSpPr>
            <p:cNvPr id="86" name="文本框 85">
              <a:extLst>
                <a:ext uri="{FF2B5EF4-FFF2-40B4-BE49-F238E27FC236}">
                  <a16:creationId xmlns:a16="http://schemas.microsoft.com/office/drawing/2014/main" id="{F9CDA2FD-DEFA-4E90-B573-F981F8644198}"/>
                </a:ext>
              </a:extLst>
            </p:cNvPr>
            <p:cNvSpPr txBox="1"/>
            <p:nvPr/>
          </p:nvSpPr>
          <p:spPr>
            <a:xfrm>
              <a:off x="2649799" y="3541913"/>
              <a:ext cx="2109352" cy="184666"/>
            </a:xfrm>
            <a:prstGeom prst="rect">
              <a:avLst/>
            </a:prstGeom>
            <a:noFill/>
          </p:spPr>
          <p:txBody>
            <a:bodyPr wrap="square" lIns="0" tIns="0" rIns="0" bIns="0" rtlCol="0" anchor="t">
              <a:spAutoFit/>
            </a:bodyPr>
            <a:lstStyle/>
            <a:p>
              <a:pPr algn="dist"/>
              <a:r>
                <a:rPr lang="en-US" altLang="zh-CN" sz="1200" dirty="0">
                  <a:solidFill>
                    <a:schemeClr val="accent1"/>
                  </a:solidFill>
                </a:rPr>
                <a:t>Contents Title Here</a:t>
              </a:r>
              <a:endParaRPr lang="zh-CN" altLang="en-US" sz="1200" dirty="0">
                <a:solidFill>
                  <a:schemeClr val="accent1"/>
                </a:solidFill>
              </a:endParaRPr>
            </a:p>
          </p:txBody>
        </p:sp>
        <p:sp>
          <p:nvSpPr>
            <p:cNvPr id="87" name="文本框 86">
              <a:extLst>
                <a:ext uri="{FF2B5EF4-FFF2-40B4-BE49-F238E27FC236}">
                  <a16:creationId xmlns:a16="http://schemas.microsoft.com/office/drawing/2014/main" id="{F7D98E71-219F-4DB1-85CF-D50B3F959714}"/>
                </a:ext>
              </a:extLst>
            </p:cNvPr>
            <p:cNvSpPr txBox="1"/>
            <p:nvPr/>
          </p:nvSpPr>
          <p:spPr>
            <a:xfrm>
              <a:off x="1763766" y="3013501"/>
              <a:ext cx="846386" cy="830997"/>
            </a:xfrm>
            <a:prstGeom prst="rect">
              <a:avLst/>
            </a:prstGeom>
            <a:noFill/>
          </p:spPr>
          <p:txBody>
            <a:bodyPr wrap="none" lIns="0" tIns="0" rIns="0" bIns="0" rtlCol="0" anchor="t">
              <a:spAutoFit/>
            </a:bodyPr>
            <a:lstStyle/>
            <a:p>
              <a:pPr algn="l"/>
              <a:r>
                <a:rPr lang="en-US" altLang="zh-CN" sz="5400" dirty="0">
                  <a:solidFill>
                    <a:schemeClr val="accent1">
                      <a:lumMod val="100000"/>
                    </a:schemeClr>
                  </a:solidFill>
                </a:rPr>
                <a:t>04</a:t>
              </a:r>
              <a:endParaRPr lang="zh-CN" altLang="en-US" sz="5400" dirty="0">
                <a:solidFill>
                  <a:schemeClr val="accent1">
                    <a:lumMod val="100000"/>
                  </a:schemeClr>
                </a:solidFill>
              </a:endParaRPr>
            </a:p>
          </p:txBody>
        </p:sp>
      </p:grpSp>
    </p:spTree>
    <p:extLst>
      <p:ext uri="{BB962C8B-B14F-4D97-AF65-F5344CB8AC3E}">
        <p14:creationId xmlns:p14="http://schemas.microsoft.com/office/powerpoint/2010/main" val="2836145049"/>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a:extLst>
              <a:ext uri="{FF2B5EF4-FFF2-40B4-BE49-F238E27FC236}">
                <a16:creationId xmlns:a16="http://schemas.microsoft.com/office/drawing/2014/main" id="{5CB6BB57-90C5-45A1-BDE0-DC98E3A6CF0C}"/>
              </a:ext>
            </a:extLst>
          </p:cNvPr>
          <p:cNvSpPr txBox="1"/>
          <p:nvPr/>
        </p:nvSpPr>
        <p:spPr>
          <a:xfrm>
            <a:off x="5047143" y="556590"/>
            <a:ext cx="2097714" cy="430887"/>
          </a:xfrm>
          <a:prstGeom prst="rect">
            <a:avLst/>
          </a:prstGeom>
          <a:noFill/>
        </p:spPr>
        <p:txBody>
          <a:bodyPr wrap="square" lIns="0" tIns="0" rIns="0" bIns="0" rtlCol="0" anchor="t">
            <a:spAutoFit/>
          </a:bodyPr>
          <a:lstStyle/>
          <a:p>
            <a:pPr algn="dist"/>
            <a:r>
              <a:rPr lang="en-US" altLang="zh-CN" sz="2800" dirty="0">
                <a:solidFill>
                  <a:schemeClr val="accent1">
                    <a:alpha val="20000"/>
                  </a:schemeClr>
                </a:solidFill>
                <a:latin typeface="+mj-ea"/>
                <a:ea typeface="+mj-ea"/>
              </a:rPr>
              <a:t>CONTENTS</a:t>
            </a:r>
            <a:endParaRPr lang="zh-CN" altLang="en-US" sz="2800" dirty="0">
              <a:solidFill>
                <a:schemeClr val="accent1">
                  <a:alpha val="20000"/>
                </a:schemeClr>
              </a:solidFill>
              <a:latin typeface="+mj-ea"/>
              <a:ea typeface="+mj-ea"/>
            </a:endParaRPr>
          </a:p>
        </p:txBody>
      </p:sp>
      <p:sp>
        <p:nvSpPr>
          <p:cNvPr id="3" name="文本框 2">
            <a:extLst>
              <a:ext uri="{FF2B5EF4-FFF2-40B4-BE49-F238E27FC236}">
                <a16:creationId xmlns:a16="http://schemas.microsoft.com/office/drawing/2014/main" id="{CEE1B9F8-16E7-4BF8-B7FE-5AA5F8F0DEDC}"/>
              </a:ext>
            </a:extLst>
          </p:cNvPr>
          <p:cNvSpPr txBox="1"/>
          <p:nvPr/>
        </p:nvSpPr>
        <p:spPr>
          <a:xfrm>
            <a:off x="5172075" y="757389"/>
            <a:ext cx="1847850" cy="1107996"/>
          </a:xfrm>
          <a:prstGeom prst="rect">
            <a:avLst/>
          </a:prstGeom>
          <a:noFill/>
        </p:spPr>
        <p:txBody>
          <a:bodyPr wrap="square" lIns="0" tIns="0" rIns="0" bIns="0" rtlCol="0" anchor="t">
            <a:spAutoFit/>
          </a:bodyPr>
          <a:lstStyle/>
          <a:p>
            <a:pPr algn="dist"/>
            <a:r>
              <a:rPr lang="zh-CN" altLang="en-US" sz="7200" dirty="0">
                <a:solidFill>
                  <a:schemeClr val="accent1"/>
                </a:solidFill>
                <a:latin typeface="+mj-ea"/>
                <a:ea typeface="+mj-ea"/>
              </a:rPr>
              <a:t>目录</a:t>
            </a:r>
          </a:p>
        </p:txBody>
      </p:sp>
      <p:sp>
        <p:nvSpPr>
          <p:cNvPr id="5" name="矩形: 圆角 4">
            <a:extLst>
              <a:ext uri="{FF2B5EF4-FFF2-40B4-BE49-F238E27FC236}">
                <a16:creationId xmlns:a16="http://schemas.microsoft.com/office/drawing/2014/main" id="{155FFFFA-F698-4F8C-9F0C-FB23BC749530}"/>
              </a:ext>
            </a:extLst>
          </p:cNvPr>
          <p:cNvSpPr/>
          <p:nvPr/>
        </p:nvSpPr>
        <p:spPr>
          <a:xfrm>
            <a:off x="576262" y="3086100"/>
            <a:ext cx="11039475" cy="2638425"/>
          </a:xfrm>
          <a:prstGeom prst="roundRect">
            <a:avLst>
              <a:gd name="adj" fmla="val 8126"/>
            </a:avLst>
          </a:prstGeom>
          <a:solidFill>
            <a:schemeClr val="accent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grpSp>
        <p:nvGrpSpPr>
          <p:cNvPr id="10" name="组合 9">
            <a:extLst>
              <a:ext uri="{FF2B5EF4-FFF2-40B4-BE49-F238E27FC236}">
                <a16:creationId xmlns:a16="http://schemas.microsoft.com/office/drawing/2014/main" id="{5D389488-020C-41B1-A441-403E82079101}"/>
              </a:ext>
            </a:extLst>
          </p:cNvPr>
          <p:cNvGrpSpPr/>
          <p:nvPr/>
        </p:nvGrpSpPr>
        <p:grpSpPr>
          <a:xfrm>
            <a:off x="992279" y="2486025"/>
            <a:ext cx="1846660" cy="2825862"/>
            <a:chOff x="1009350" y="2200275"/>
            <a:chExt cx="1846660" cy="2825862"/>
          </a:xfrm>
        </p:grpSpPr>
        <p:sp>
          <p:nvSpPr>
            <p:cNvPr id="6" name="椭圆 5">
              <a:extLst>
                <a:ext uri="{FF2B5EF4-FFF2-40B4-BE49-F238E27FC236}">
                  <a16:creationId xmlns:a16="http://schemas.microsoft.com/office/drawing/2014/main" id="{31449AEC-D424-42B0-BBFD-690E477CE4CC}"/>
                </a:ext>
              </a:extLst>
            </p:cNvPr>
            <p:cNvSpPr/>
            <p:nvPr/>
          </p:nvSpPr>
          <p:spPr>
            <a:xfrm>
              <a:off x="1352550" y="2200275"/>
              <a:ext cx="1200150" cy="120015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dirty="0">
                  <a:solidFill>
                    <a:schemeClr val="bg1"/>
                  </a:solidFill>
                  <a:latin typeface="+mj-ea"/>
                  <a:ea typeface="+mj-ea"/>
                </a:rPr>
                <a:t>图标</a:t>
              </a:r>
            </a:p>
          </p:txBody>
        </p:sp>
        <p:sp>
          <p:nvSpPr>
            <p:cNvPr id="7" name="文本框 6">
              <a:extLst>
                <a:ext uri="{FF2B5EF4-FFF2-40B4-BE49-F238E27FC236}">
                  <a16:creationId xmlns:a16="http://schemas.microsoft.com/office/drawing/2014/main" id="{54F299FC-A0FA-459D-BA97-CC0E77D816AB}"/>
                </a:ext>
              </a:extLst>
            </p:cNvPr>
            <p:cNvSpPr txBox="1"/>
            <p:nvPr/>
          </p:nvSpPr>
          <p:spPr>
            <a:xfrm>
              <a:off x="1640934" y="3587511"/>
              <a:ext cx="583494" cy="615553"/>
            </a:xfrm>
            <a:prstGeom prst="rect">
              <a:avLst/>
            </a:prstGeom>
            <a:noFill/>
          </p:spPr>
          <p:txBody>
            <a:bodyPr wrap="none" lIns="0" tIns="0" rIns="0" bIns="0" rtlCol="0" anchor="t">
              <a:spAutoFit/>
            </a:bodyPr>
            <a:lstStyle/>
            <a:p>
              <a:pPr algn="ctr"/>
              <a:r>
                <a:rPr lang="en-US" altLang="zh-CN" sz="4000" dirty="0">
                  <a:solidFill>
                    <a:schemeClr val="bg1"/>
                  </a:solidFill>
                  <a:latin typeface="+mj-ea"/>
                  <a:ea typeface="+mj-ea"/>
                </a:rPr>
                <a:t>01</a:t>
              </a:r>
              <a:endParaRPr lang="zh-CN" altLang="en-US" sz="4000" dirty="0">
                <a:solidFill>
                  <a:schemeClr val="bg1"/>
                </a:solidFill>
                <a:latin typeface="+mj-ea"/>
                <a:ea typeface="+mj-ea"/>
              </a:endParaRPr>
            </a:p>
          </p:txBody>
        </p:sp>
        <p:sp>
          <p:nvSpPr>
            <p:cNvPr id="8" name="文本框 7">
              <a:extLst>
                <a:ext uri="{FF2B5EF4-FFF2-40B4-BE49-F238E27FC236}">
                  <a16:creationId xmlns:a16="http://schemas.microsoft.com/office/drawing/2014/main" id="{F499FF09-AD63-4DA0-AE7D-7E9106558273}"/>
                </a:ext>
              </a:extLst>
            </p:cNvPr>
            <p:cNvSpPr txBox="1"/>
            <p:nvPr/>
          </p:nvSpPr>
          <p:spPr>
            <a:xfrm>
              <a:off x="1009351" y="4349511"/>
              <a:ext cx="1846659" cy="369332"/>
            </a:xfrm>
            <a:prstGeom prst="rect">
              <a:avLst/>
            </a:prstGeom>
            <a:noFill/>
          </p:spPr>
          <p:txBody>
            <a:bodyPr wrap="none" lIns="0" tIns="0" rIns="0" bIns="0" rtlCol="0" anchor="t">
              <a:spAutoFit/>
            </a:bodyPr>
            <a:lstStyle/>
            <a:p>
              <a:pPr algn="ctr"/>
              <a:r>
                <a:rPr lang="zh-CN" altLang="en-US" sz="2400" dirty="0">
                  <a:solidFill>
                    <a:schemeClr val="bg1"/>
                  </a:solidFill>
                  <a:latin typeface="+mj-ea"/>
                  <a:ea typeface="+mj-ea"/>
                </a:rPr>
                <a:t>输入目录标题</a:t>
              </a:r>
            </a:p>
          </p:txBody>
        </p:sp>
        <p:sp>
          <p:nvSpPr>
            <p:cNvPr id="9" name="文本框 8">
              <a:extLst>
                <a:ext uri="{FF2B5EF4-FFF2-40B4-BE49-F238E27FC236}">
                  <a16:creationId xmlns:a16="http://schemas.microsoft.com/office/drawing/2014/main" id="{E5B76352-62B6-49E5-AAB3-99611B6C7275}"/>
                </a:ext>
              </a:extLst>
            </p:cNvPr>
            <p:cNvSpPr txBox="1"/>
            <p:nvPr/>
          </p:nvSpPr>
          <p:spPr>
            <a:xfrm>
              <a:off x="1009350" y="4810693"/>
              <a:ext cx="1846660" cy="215444"/>
            </a:xfrm>
            <a:prstGeom prst="rect">
              <a:avLst/>
            </a:prstGeom>
            <a:noFill/>
          </p:spPr>
          <p:txBody>
            <a:bodyPr wrap="square" lIns="0" tIns="0" rIns="0" bIns="0" rtlCol="0" anchor="t">
              <a:spAutoFit/>
            </a:bodyPr>
            <a:lstStyle/>
            <a:p>
              <a:pPr algn="dist"/>
              <a:r>
                <a:rPr lang="en-US" altLang="zh-CN" sz="1400" dirty="0">
                  <a:solidFill>
                    <a:schemeClr val="bg1"/>
                  </a:solidFill>
                </a:rPr>
                <a:t>Contents Title Here</a:t>
              </a:r>
              <a:endParaRPr lang="zh-CN" altLang="en-US" sz="1400" dirty="0">
                <a:solidFill>
                  <a:schemeClr val="bg1"/>
                </a:solidFill>
              </a:endParaRPr>
            </a:p>
          </p:txBody>
        </p:sp>
      </p:grpSp>
      <p:grpSp>
        <p:nvGrpSpPr>
          <p:cNvPr id="11" name="组合 10">
            <a:extLst>
              <a:ext uri="{FF2B5EF4-FFF2-40B4-BE49-F238E27FC236}">
                <a16:creationId xmlns:a16="http://schemas.microsoft.com/office/drawing/2014/main" id="{4EB50346-8E90-4901-AB95-21DB178C3925}"/>
              </a:ext>
            </a:extLst>
          </p:cNvPr>
          <p:cNvGrpSpPr/>
          <p:nvPr/>
        </p:nvGrpSpPr>
        <p:grpSpPr>
          <a:xfrm>
            <a:off x="3779206" y="2486025"/>
            <a:ext cx="1846660" cy="2825862"/>
            <a:chOff x="1009350" y="2200275"/>
            <a:chExt cx="1846660" cy="2825862"/>
          </a:xfrm>
        </p:grpSpPr>
        <p:sp>
          <p:nvSpPr>
            <p:cNvPr id="12" name="椭圆 11">
              <a:extLst>
                <a:ext uri="{FF2B5EF4-FFF2-40B4-BE49-F238E27FC236}">
                  <a16:creationId xmlns:a16="http://schemas.microsoft.com/office/drawing/2014/main" id="{5BAB2479-F06A-4754-B09B-A393A434035F}"/>
                </a:ext>
              </a:extLst>
            </p:cNvPr>
            <p:cNvSpPr/>
            <p:nvPr/>
          </p:nvSpPr>
          <p:spPr>
            <a:xfrm>
              <a:off x="1352550" y="2200275"/>
              <a:ext cx="1200150" cy="120015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dirty="0">
                  <a:solidFill>
                    <a:schemeClr val="bg1"/>
                  </a:solidFill>
                  <a:latin typeface="+mj-ea"/>
                  <a:ea typeface="+mj-ea"/>
                </a:rPr>
                <a:t>图标</a:t>
              </a:r>
            </a:p>
          </p:txBody>
        </p:sp>
        <p:sp>
          <p:nvSpPr>
            <p:cNvPr id="13" name="文本框 12">
              <a:extLst>
                <a:ext uri="{FF2B5EF4-FFF2-40B4-BE49-F238E27FC236}">
                  <a16:creationId xmlns:a16="http://schemas.microsoft.com/office/drawing/2014/main" id="{5BA930BE-DBF7-46DC-BEDD-7A4E662320AC}"/>
                </a:ext>
              </a:extLst>
            </p:cNvPr>
            <p:cNvSpPr txBox="1"/>
            <p:nvPr/>
          </p:nvSpPr>
          <p:spPr>
            <a:xfrm>
              <a:off x="1594448" y="3587511"/>
              <a:ext cx="676467" cy="615553"/>
            </a:xfrm>
            <a:prstGeom prst="rect">
              <a:avLst/>
            </a:prstGeom>
            <a:noFill/>
          </p:spPr>
          <p:txBody>
            <a:bodyPr wrap="none" lIns="0" tIns="0" rIns="0" bIns="0" rtlCol="0" anchor="t">
              <a:spAutoFit/>
            </a:bodyPr>
            <a:lstStyle/>
            <a:p>
              <a:pPr algn="ctr"/>
              <a:r>
                <a:rPr lang="en-US" altLang="zh-CN" sz="4000" dirty="0">
                  <a:solidFill>
                    <a:schemeClr val="bg1"/>
                  </a:solidFill>
                  <a:latin typeface="+mj-ea"/>
                  <a:ea typeface="+mj-ea"/>
                </a:rPr>
                <a:t>02</a:t>
              </a:r>
              <a:endParaRPr lang="zh-CN" altLang="en-US" sz="4000" dirty="0">
                <a:solidFill>
                  <a:schemeClr val="bg1"/>
                </a:solidFill>
                <a:latin typeface="+mj-ea"/>
                <a:ea typeface="+mj-ea"/>
              </a:endParaRPr>
            </a:p>
          </p:txBody>
        </p:sp>
        <p:sp>
          <p:nvSpPr>
            <p:cNvPr id="14" name="文本框 13">
              <a:extLst>
                <a:ext uri="{FF2B5EF4-FFF2-40B4-BE49-F238E27FC236}">
                  <a16:creationId xmlns:a16="http://schemas.microsoft.com/office/drawing/2014/main" id="{641ED375-A37F-4634-B0BD-2459DAD10250}"/>
                </a:ext>
              </a:extLst>
            </p:cNvPr>
            <p:cNvSpPr txBox="1"/>
            <p:nvPr/>
          </p:nvSpPr>
          <p:spPr>
            <a:xfrm>
              <a:off x="1009351" y="4349511"/>
              <a:ext cx="1846659" cy="369332"/>
            </a:xfrm>
            <a:prstGeom prst="rect">
              <a:avLst/>
            </a:prstGeom>
            <a:noFill/>
          </p:spPr>
          <p:txBody>
            <a:bodyPr wrap="none" lIns="0" tIns="0" rIns="0" bIns="0" rtlCol="0" anchor="t">
              <a:spAutoFit/>
            </a:bodyPr>
            <a:lstStyle/>
            <a:p>
              <a:pPr algn="ctr"/>
              <a:r>
                <a:rPr lang="zh-CN" altLang="en-US" sz="2400" dirty="0">
                  <a:solidFill>
                    <a:schemeClr val="bg1"/>
                  </a:solidFill>
                  <a:latin typeface="+mj-ea"/>
                  <a:ea typeface="+mj-ea"/>
                </a:rPr>
                <a:t>输入目录标题</a:t>
              </a:r>
            </a:p>
          </p:txBody>
        </p:sp>
        <p:sp>
          <p:nvSpPr>
            <p:cNvPr id="15" name="文本框 14">
              <a:extLst>
                <a:ext uri="{FF2B5EF4-FFF2-40B4-BE49-F238E27FC236}">
                  <a16:creationId xmlns:a16="http://schemas.microsoft.com/office/drawing/2014/main" id="{3B3CEEE2-11EB-43B2-9557-99DA6E0700B2}"/>
                </a:ext>
              </a:extLst>
            </p:cNvPr>
            <p:cNvSpPr txBox="1"/>
            <p:nvPr/>
          </p:nvSpPr>
          <p:spPr>
            <a:xfrm>
              <a:off x="1009350" y="4810693"/>
              <a:ext cx="1846660" cy="215444"/>
            </a:xfrm>
            <a:prstGeom prst="rect">
              <a:avLst/>
            </a:prstGeom>
            <a:noFill/>
          </p:spPr>
          <p:txBody>
            <a:bodyPr wrap="square" lIns="0" tIns="0" rIns="0" bIns="0" rtlCol="0" anchor="t">
              <a:spAutoFit/>
            </a:bodyPr>
            <a:lstStyle/>
            <a:p>
              <a:pPr algn="dist"/>
              <a:r>
                <a:rPr lang="en-US" altLang="zh-CN" sz="1400" dirty="0">
                  <a:solidFill>
                    <a:schemeClr val="bg1"/>
                  </a:solidFill>
                </a:rPr>
                <a:t>Contents Title Here</a:t>
              </a:r>
              <a:endParaRPr lang="zh-CN" altLang="en-US" sz="1400" dirty="0">
                <a:solidFill>
                  <a:schemeClr val="bg1"/>
                </a:solidFill>
              </a:endParaRPr>
            </a:p>
          </p:txBody>
        </p:sp>
      </p:grpSp>
      <p:grpSp>
        <p:nvGrpSpPr>
          <p:cNvPr id="16" name="组合 15">
            <a:extLst>
              <a:ext uri="{FF2B5EF4-FFF2-40B4-BE49-F238E27FC236}">
                <a16:creationId xmlns:a16="http://schemas.microsoft.com/office/drawing/2014/main" id="{E23C411D-D3DD-437D-99B1-82B9688F74A5}"/>
              </a:ext>
            </a:extLst>
          </p:cNvPr>
          <p:cNvGrpSpPr/>
          <p:nvPr/>
        </p:nvGrpSpPr>
        <p:grpSpPr>
          <a:xfrm>
            <a:off x="6566133" y="2486025"/>
            <a:ext cx="1846660" cy="2825862"/>
            <a:chOff x="1009350" y="2200275"/>
            <a:chExt cx="1846660" cy="2825862"/>
          </a:xfrm>
        </p:grpSpPr>
        <p:sp>
          <p:nvSpPr>
            <p:cNvPr id="17" name="椭圆 16">
              <a:extLst>
                <a:ext uri="{FF2B5EF4-FFF2-40B4-BE49-F238E27FC236}">
                  <a16:creationId xmlns:a16="http://schemas.microsoft.com/office/drawing/2014/main" id="{75BD92C0-8F0D-4154-9CB2-673F41607D03}"/>
                </a:ext>
              </a:extLst>
            </p:cNvPr>
            <p:cNvSpPr/>
            <p:nvPr/>
          </p:nvSpPr>
          <p:spPr>
            <a:xfrm>
              <a:off x="1352550" y="2200275"/>
              <a:ext cx="1200150" cy="120015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dirty="0">
                  <a:solidFill>
                    <a:schemeClr val="bg1"/>
                  </a:solidFill>
                  <a:latin typeface="+mj-ea"/>
                  <a:ea typeface="+mj-ea"/>
                </a:rPr>
                <a:t>图标</a:t>
              </a:r>
            </a:p>
          </p:txBody>
        </p:sp>
        <p:sp>
          <p:nvSpPr>
            <p:cNvPr id="18" name="文本框 17">
              <a:extLst>
                <a:ext uri="{FF2B5EF4-FFF2-40B4-BE49-F238E27FC236}">
                  <a16:creationId xmlns:a16="http://schemas.microsoft.com/office/drawing/2014/main" id="{8B8E4052-0F95-4EC6-9B6F-1F6D752276DA}"/>
                </a:ext>
              </a:extLst>
            </p:cNvPr>
            <p:cNvSpPr txBox="1"/>
            <p:nvPr/>
          </p:nvSpPr>
          <p:spPr>
            <a:xfrm>
              <a:off x="1594448" y="3587511"/>
              <a:ext cx="676467" cy="615553"/>
            </a:xfrm>
            <a:prstGeom prst="rect">
              <a:avLst/>
            </a:prstGeom>
            <a:noFill/>
          </p:spPr>
          <p:txBody>
            <a:bodyPr wrap="none" lIns="0" tIns="0" rIns="0" bIns="0" rtlCol="0" anchor="t">
              <a:spAutoFit/>
            </a:bodyPr>
            <a:lstStyle/>
            <a:p>
              <a:pPr algn="ctr"/>
              <a:r>
                <a:rPr lang="en-US" altLang="zh-CN" sz="4000" dirty="0">
                  <a:solidFill>
                    <a:schemeClr val="bg1"/>
                  </a:solidFill>
                  <a:latin typeface="+mj-ea"/>
                  <a:ea typeface="+mj-ea"/>
                </a:rPr>
                <a:t>03</a:t>
              </a:r>
              <a:endParaRPr lang="zh-CN" altLang="en-US" sz="4000" dirty="0">
                <a:solidFill>
                  <a:schemeClr val="bg1"/>
                </a:solidFill>
                <a:latin typeface="+mj-ea"/>
                <a:ea typeface="+mj-ea"/>
              </a:endParaRPr>
            </a:p>
          </p:txBody>
        </p:sp>
        <p:sp>
          <p:nvSpPr>
            <p:cNvPr id="19" name="文本框 18">
              <a:extLst>
                <a:ext uri="{FF2B5EF4-FFF2-40B4-BE49-F238E27FC236}">
                  <a16:creationId xmlns:a16="http://schemas.microsoft.com/office/drawing/2014/main" id="{66E4E7CF-58DD-49BB-A053-65093781C6F9}"/>
                </a:ext>
              </a:extLst>
            </p:cNvPr>
            <p:cNvSpPr txBox="1"/>
            <p:nvPr/>
          </p:nvSpPr>
          <p:spPr>
            <a:xfrm>
              <a:off x="1009351" y="4349511"/>
              <a:ext cx="1846659" cy="369332"/>
            </a:xfrm>
            <a:prstGeom prst="rect">
              <a:avLst/>
            </a:prstGeom>
            <a:noFill/>
          </p:spPr>
          <p:txBody>
            <a:bodyPr wrap="none" lIns="0" tIns="0" rIns="0" bIns="0" rtlCol="0" anchor="t">
              <a:spAutoFit/>
            </a:bodyPr>
            <a:lstStyle/>
            <a:p>
              <a:pPr algn="ctr"/>
              <a:r>
                <a:rPr lang="zh-CN" altLang="en-US" sz="2400" dirty="0">
                  <a:solidFill>
                    <a:schemeClr val="bg1"/>
                  </a:solidFill>
                  <a:latin typeface="+mj-ea"/>
                  <a:ea typeface="+mj-ea"/>
                </a:rPr>
                <a:t>输入目录标题</a:t>
              </a:r>
            </a:p>
          </p:txBody>
        </p:sp>
        <p:sp>
          <p:nvSpPr>
            <p:cNvPr id="20" name="文本框 19">
              <a:extLst>
                <a:ext uri="{FF2B5EF4-FFF2-40B4-BE49-F238E27FC236}">
                  <a16:creationId xmlns:a16="http://schemas.microsoft.com/office/drawing/2014/main" id="{C4FD5C08-AE47-419C-96B6-0E23C9254661}"/>
                </a:ext>
              </a:extLst>
            </p:cNvPr>
            <p:cNvSpPr txBox="1"/>
            <p:nvPr/>
          </p:nvSpPr>
          <p:spPr>
            <a:xfrm>
              <a:off x="1009350" y="4810693"/>
              <a:ext cx="1846660" cy="215444"/>
            </a:xfrm>
            <a:prstGeom prst="rect">
              <a:avLst/>
            </a:prstGeom>
            <a:noFill/>
          </p:spPr>
          <p:txBody>
            <a:bodyPr wrap="square" lIns="0" tIns="0" rIns="0" bIns="0" rtlCol="0" anchor="t">
              <a:spAutoFit/>
            </a:bodyPr>
            <a:lstStyle/>
            <a:p>
              <a:pPr algn="dist"/>
              <a:r>
                <a:rPr lang="en-US" altLang="zh-CN" sz="1400" dirty="0">
                  <a:solidFill>
                    <a:schemeClr val="bg1"/>
                  </a:solidFill>
                </a:rPr>
                <a:t>Contents Title Here</a:t>
              </a:r>
              <a:endParaRPr lang="zh-CN" altLang="en-US" sz="1400" dirty="0">
                <a:solidFill>
                  <a:schemeClr val="bg1"/>
                </a:solidFill>
              </a:endParaRPr>
            </a:p>
          </p:txBody>
        </p:sp>
      </p:grpSp>
      <p:grpSp>
        <p:nvGrpSpPr>
          <p:cNvPr id="21" name="组合 20">
            <a:extLst>
              <a:ext uri="{FF2B5EF4-FFF2-40B4-BE49-F238E27FC236}">
                <a16:creationId xmlns:a16="http://schemas.microsoft.com/office/drawing/2014/main" id="{3423557F-D658-4DAC-8702-556C0C1B12EC}"/>
              </a:ext>
            </a:extLst>
          </p:cNvPr>
          <p:cNvGrpSpPr/>
          <p:nvPr/>
        </p:nvGrpSpPr>
        <p:grpSpPr>
          <a:xfrm>
            <a:off x="9353060" y="2486025"/>
            <a:ext cx="1846660" cy="2825862"/>
            <a:chOff x="1009350" y="2200275"/>
            <a:chExt cx="1846660" cy="2825862"/>
          </a:xfrm>
        </p:grpSpPr>
        <p:sp>
          <p:nvSpPr>
            <p:cNvPr id="22" name="椭圆 21">
              <a:extLst>
                <a:ext uri="{FF2B5EF4-FFF2-40B4-BE49-F238E27FC236}">
                  <a16:creationId xmlns:a16="http://schemas.microsoft.com/office/drawing/2014/main" id="{2A66FAD1-B351-46EC-B360-64503D1470FD}"/>
                </a:ext>
              </a:extLst>
            </p:cNvPr>
            <p:cNvSpPr/>
            <p:nvPr/>
          </p:nvSpPr>
          <p:spPr>
            <a:xfrm>
              <a:off x="1352550" y="2200275"/>
              <a:ext cx="1200150" cy="120015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dirty="0">
                  <a:solidFill>
                    <a:schemeClr val="bg1"/>
                  </a:solidFill>
                  <a:latin typeface="+mj-ea"/>
                  <a:ea typeface="+mj-ea"/>
                </a:rPr>
                <a:t>图标</a:t>
              </a:r>
            </a:p>
          </p:txBody>
        </p:sp>
        <p:sp>
          <p:nvSpPr>
            <p:cNvPr id="23" name="文本框 22">
              <a:extLst>
                <a:ext uri="{FF2B5EF4-FFF2-40B4-BE49-F238E27FC236}">
                  <a16:creationId xmlns:a16="http://schemas.microsoft.com/office/drawing/2014/main" id="{87620D24-2534-4B4B-9C46-EA704D11B715}"/>
                </a:ext>
              </a:extLst>
            </p:cNvPr>
            <p:cNvSpPr txBox="1"/>
            <p:nvPr/>
          </p:nvSpPr>
          <p:spPr>
            <a:xfrm>
              <a:off x="1594448" y="3587511"/>
              <a:ext cx="676467" cy="615553"/>
            </a:xfrm>
            <a:prstGeom prst="rect">
              <a:avLst/>
            </a:prstGeom>
            <a:noFill/>
          </p:spPr>
          <p:txBody>
            <a:bodyPr wrap="none" lIns="0" tIns="0" rIns="0" bIns="0" rtlCol="0" anchor="t">
              <a:spAutoFit/>
            </a:bodyPr>
            <a:lstStyle/>
            <a:p>
              <a:pPr algn="ctr"/>
              <a:r>
                <a:rPr lang="en-US" altLang="zh-CN" sz="4000" dirty="0">
                  <a:solidFill>
                    <a:schemeClr val="bg1"/>
                  </a:solidFill>
                  <a:latin typeface="+mj-ea"/>
                  <a:ea typeface="+mj-ea"/>
                </a:rPr>
                <a:t>04</a:t>
              </a:r>
              <a:endParaRPr lang="zh-CN" altLang="en-US" sz="4000" dirty="0">
                <a:solidFill>
                  <a:schemeClr val="bg1"/>
                </a:solidFill>
                <a:latin typeface="+mj-ea"/>
                <a:ea typeface="+mj-ea"/>
              </a:endParaRPr>
            </a:p>
          </p:txBody>
        </p:sp>
        <p:sp>
          <p:nvSpPr>
            <p:cNvPr id="24" name="文本框 23">
              <a:extLst>
                <a:ext uri="{FF2B5EF4-FFF2-40B4-BE49-F238E27FC236}">
                  <a16:creationId xmlns:a16="http://schemas.microsoft.com/office/drawing/2014/main" id="{4D1ACD88-1DF4-433B-AAB9-B4FFA02CAC85}"/>
                </a:ext>
              </a:extLst>
            </p:cNvPr>
            <p:cNvSpPr txBox="1"/>
            <p:nvPr/>
          </p:nvSpPr>
          <p:spPr>
            <a:xfrm>
              <a:off x="1009351" y="4349511"/>
              <a:ext cx="1846659" cy="369332"/>
            </a:xfrm>
            <a:prstGeom prst="rect">
              <a:avLst/>
            </a:prstGeom>
            <a:noFill/>
          </p:spPr>
          <p:txBody>
            <a:bodyPr wrap="none" lIns="0" tIns="0" rIns="0" bIns="0" rtlCol="0" anchor="t">
              <a:spAutoFit/>
            </a:bodyPr>
            <a:lstStyle/>
            <a:p>
              <a:pPr algn="ctr"/>
              <a:r>
                <a:rPr lang="zh-CN" altLang="en-US" sz="2400" dirty="0">
                  <a:solidFill>
                    <a:schemeClr val="bg1"/>
                  </a:solidFill>
                  <a:latin typeface="+mj-ea"/>
                  <a:ea typeface="+mj-ea"/>
                </a:rPr>
                <a:t>输入目录标题</a:t>
              </a:r>
            </a:p>
          </p:txBody>
        </p:sp>
        <p:sp>
          <p:nvSpPr>
            <p:cNvPr id="25" name="文本框 24">
              <a:extLst>
                <a:ext uri="{FF2B5EF4-FFF2-40B4-BE49-F238E27FC236}">
                  <a16:creationId xmlns:a16="http://schemas.microsoft.com/office/drawing/2014/main" id="{BB331BE4-FB7C-468D-9EC4-3B5EF2CCB623}"/>
                </a:ext>
              </a:extLst>
            </p:cNvPr>
            <p:cNvSpPr txBox="1"/>
            <p:nvPr/>
          </p:nvSpPr>
          <p:spPr>
            <a:xfrm>
              <a:off x="1009350" y="4810693"/>
              <a:ext cx="1846660" cy="215444"/>
            </a:xfrm>
            <a:prstGeom prst="rect">
              <a:avLst/>
            </a:prstGeom>
            <a:noFill/>
          </p:spPr>
          <p:txBody>
            <a:bodyPr wrap="square" lIns="0" tIns="0" rIns="0" bIns="0" rtlCol="0" anchor="t">
              <a:spAutoFit/>
            </a:bodyPr>
            <a:lstStyle/>
            <a:p>
              <a:pPr algn="dist"/>
              <a:r>
                <a:rPr lang="en-US" altLang="zh-CN" sz="1400" dirty="0">
                  <a:solidFill>
                    <a:schemeClr val="bg1"/>
                  </a:solidFill>
                </a:rPr>
                <a:t>Contents Title Here</a:t>
              </a:r>
              <a:endParaRPr lang="zh-CN" altLang="en-US" sz="1400" dirty="0">
                <a:solidFill>
                  <a:schemeClr val="bg1"/>
                </a:solidFill>
              </a:endParaRPr>
            </a:p>
          </p:txBody>
        </p:sp>
      </p:grpSp>
      <p:cxnSp>
        <p:nvCxnSpPr>
          <p:cNvPr id="29" name="直接连接符 28">
            <a:extLst>
              <a:ext uri="{FF2B5EF4-FFF2-40B4-BE49-F238E27FC236}">
                <a16:creationId xmlns:a16="http://schemas.microsoft.com/office/drawing/2014/main" id="{4200721B-78DA-43A6-B0FF-BD9EB3E3A60E}"/>
              </a:ext>
            </a:extLst>
          </p:cNvPr>
          <p:cNvCxnSpPr>
            <a:cxnSpLocks/>
          </p:cNvCxnSpPr>
          <p:nvPr/>
        </p:nvCxnSpPr>
        <p:spPr>
          <a:xfrm>
            <a:off x="3294846" y="3295650"/>
            <a:ext cx="0" cy="2200275"/>
          </a:xfrm>
          <a:prstGeom prst="line">
            <a:avLst/>
          </a:prstGeom>
          <a:ln w="31750">
            <a:gradFill>
              <a:gsLst>
                <a:gs pos="0">
                  <a:schemeClr val="accent1">
                    <a:lumMod val="5000"/>
                    <a:lumOff val="95000"/>
                    <a:alpha val="0"/>
                  </a:schemeClr>
                </a:gs>
                <a:gs pos="50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34" name="直接连接符 33">
            <a:extLst>
              <a:ext uri="{FF2B5EF4-FFF2-40B4-BE49-F238E27FC236}">
                <a16:creationId xmlns:a16="http://schemas.microsoft.com/office/drawing/2014/main" id="{887AF605-8AEA-4932-851E-0D535C44154A}"/>
              </a:ext>
            </a:extLst>
          </p:cNvPr>
          <p:cNvCxnSpPr>
            <a:cxnSpLocks/>
          </p:cNvCxnSpPr>
          <p:nvPr/>
        </p:nvCxnSpPr>
        <p:spPr>
          <a:xfrm>
            <a:off x="6104720" y="3295650"/>
            <a:ext cx="0" cy="2200275"/>
          </a:xfrm>
          <a:prstGeom prst="line">
            <a:avLst/>
          </a:prstGeom>
          <a:ln w="31750">
            <a:gradFill>
              <a:gsLst>
                <a:gs pos="0">
                  <a:schemeClr val="accent1">
                    <a:lumMod val="5000"/>
                    <a:lumOff val="95000"/>
                    <a:alpha val="0"/>
                  </a:schemeClr>
                </a:gs>
                <a:gs pos="50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35" name="直接连接符 34">
            <a:extLst>
              <a:ext uri="{FF2B5EF4-FFF2-40B4-BE49-F238E27FC236}">
                <a16:creationId xmlns:a16="http://schemas.microsoft.com/office/drawing/2014/main" id="{0222B9C7-8C06-4A6B-8C06-D8F6CEE072A4}"/>
              </a:ext>
            </a:extLst>
          </p:cNvPr>
          <p:cNvCxnSpPr>
            <a:cxnSpLocks/>
          </p:cNvCxnSpPr>
          <p:nvPr/>
        </p:nvCxnSpPr>
        <p:spPr>
          <a:xfrm>
            <a:off x="8981270" y="3295650"/>
            <a:ext cx="0" cy="2200275"/>
          </a:xfrm>
          <a:prstGeom prst="line">
            <a:avLst/>
          </a:prstGeom>
          <a:ln w="31750">
            <a:gradFill>
              <a:gsLst>
                <a:gs pos="0">
                  <a:schemeClr val="accent1">
                    <a:lumMod val="5000"/>
                    <a:lumOff val="95000"/>
                    <a:alpha val="0"/>
                  </a:schemeClr>
                </a:gs>
                <a:gs pos="50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8741168"/>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组合 6">
            <a:extLst>
              <a:ext uri="{FF2B5EF4-FFF2-40B4-BE49-F238E27FC236}">
                <a16:creationId xmlns:a16="http://schemas.microsoft.com/office/drawing/2014/main" id="{B4B5CFF6-D9CD-4161-8164-114DCA4C83CC}"/>
              </a:ext>
            </a:extLst>
          </p:cNvPr>
          <p:cNvGrpSpPr/>
          <p:nvPr/>
        </p:nvGrpSpPr>
        <p:grpSpPr>
          <a:xfrm>
            <a:off x="816865" y="1951346"/>
            <a:ext cx="2246375" cy="3489377"/>
            <a:chOff x="762001" y="1951346"/>
            <a:chExt cx="2552700" cy="3965203"/>
          </a:xfrm>
        </p:grpSpPr>
        <p:sp>
          <p:nvSpPr>
            <p:cNvPr id="2" name="矩形: 圆角 1">
              <a:extLst>
                <a:ext uri="{FF2B5EF4-FFF2-40B4-BE49-F238E27FC236}">
                  <a16:creationId xmlns:a16="http://schemas.microsoft.com/office/drawing/2014/main" id="{A95F68A9-7024-482D-A76B-8807586C4FD2}"/>
                </a:ext>
              </a:extLst>
            </p:cNvPr>
            <p:cNvSpPr/>
            <p:nvPr/>
          </p:nvSpPr>
          <p:spPr>
            <a:xfrm>
              <a:off x="762001" y="2849499"/>
              <a:ext cx="2552700" cy="3067050"/>
            </a:xfrm>
            <a:prstGeom prst="roundRect">
              <a:avLst>
                <a:gd name="adj" fmla="val 5311"/>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400">
                <a:solidFill>
                  <a:schemeClr val="bg1"/>
                </a:solidFill>
                <a:latin typeface="+mj-ea"/>
                <a:ea typeface="+mj-ea"/>
              </a:endParaRPr>
            </a:p>
          </p:txBody>
        </p:sp>
        <p:sp>
          <p:nvSpPr>
            <p:cNvPr id="3" name="等腰三角形 2">
              <a:extLst>
                <a:ext uri="{FF2B5EF4-FFF2-40B4-BE49-F238E27FC236}">
                  <a16:creationId xmlns:a16="http://schemas.microsoft.com/office/drawing/2014/main" id="{846656C4-F700-4498-B1DF-3BDFA7B9DBB5}"/>
                </a:ext>
              </a:extLst>
            </p:cNvPr>
            <p:cNvSpPr/>
            <p:nvPr/>
          </p:nvSpPr>
          <p:spPr>
            <a:xfrm>
              <a:off x="1869283" y="2658998"/>
              <a:ext cx="338137" cy="261937"/>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400">
                <a:solidFill>
                  <a:schemeClr val="bg1"/>
                </a:solidFill>
                <a:latin typeface="+mj-ea"/>
                <a:ea typeface="+mj-ea"/>
              </a:endParaRPr>
            </a:p>
          </p:txBody>
        </p:sp>
        <p:sp>
          <p:nvSpPr>
            <p:cNvPr id="4" name="文本框 3">
              <a:extLst>
                <a:ext uri="{FF2B5EF4-FFF2-40B4-BE49-F238E27FC236}">
                  <a16:creationId xmlns:a16="http://schemas.microsoft.com/office/drawing/2014/main" id="{2FF5FD5C-F946-44C0-9259-9441758E1002}"/>
                </a:ext>
              </a:extLst>
            </p:cNvPr>
            <p:cNvSpPr txBox="1"/>
            <p:nvPr/>
          </p:nvSpPr>
          <p:spPr>
            <a:xfrm>
              <a:off x="1739609" y="1951346"/>
              <a:ext cx="597483" cy="629543"/>
            </a:xfrm>
            <a:prstGeom prst="rect">
              <a:avLst/>
            </a:prstGeom>
            <a:noFill/>
          </p:spPr>
          <p:txBody>
            <a:bodyPr wrap="none" lIns="0" tIns="0" rIns="0" bIns="0" rtlCol="0" anchor="t">
              <a:spAutoFit/>
            </a:bodyPr>
            <a:lstStyle/>
            <a:p>
              <a:pPr algn="ctr"/>
              <a:r>
                <a:rPr lang="en-US" altLang="zh-CN" sz="3600" dirty="0">
                  <a:solidFill>
                    <a:schemeClr val="accent1"/>
                  </a:solidFill>
                  <a:latin typeface="+mj-ea"/>
                  <a:ea typeface="+mj-ea"/>
                </a:rPr>
                <a:t>01</a:t>
              </a:r>
              <a:endParaRPr lang="zh-CN" altLang="en-US" sz="3600" dirty="0">
                <a:solidFill>
                  <a:schemeClr val="accent1"/>
                </a:solidFill>
                <a:latin typeface="+mj-ea"/>
                <a:ea typeface="+mj-ea"/>
              </a:endParaRPr>
            </a:p>
          </p:txBody>
        </p:sp>
        <p:sp>
          <p:nvSpPr>
            <p:cNvPr id="5" name="文本框 4">
              <a:extLst>
                <a:ext uri="{FF2B5EF4-FFF2-40B4-BE49-F238E27FC236}">
                  <a16:creationId xmlns:a16="http://schemas.microsoft.com/office/drawing/2014/main" id="{DCD4A34A-0BD4-48CD-8319-ED8FB85AA65D}"/>
                </a:ext>
              </a:extLst>
            </p:cNvPr>
            <p:cNvSpPr txBox="1"/>
            <p:nvPr/>
          </p:nvSpPr>
          <p:spPr>
            <a:xfrm>
              <a:off x="1163985" y="4101688"/>
              <a:ext cx="1748731" cy="349747"/>
            </a:xfrm>
            <a:prstGeom prst="rect">
              <a:avLst/>
            </a:prstGeom>
            <a:noFill/>
          </p:spPr>
          <p:txBody>
            <a:bodyPr wrap="none" lIns="0" tIns="0" rIns="0" bIns="0" rtlCol="0" anchor="t">
              <a:spAutoFit/>
            </a:bodyPr>
            <a:lstStyle/>
            <a:p>
              <a:pPr algn="ctr"/>
              <a:r>
                <a:rPr lang="zh-CN" altLang="en-US" sz="2000" dirty="0">
                  <a:solidFill>
                    <a:schemeClr val="bg1"/>
                  </a:solidFill>
                  <a:latin typeface="+mj-ea"/>
                  <a:ea typeface="+mj-ea"/>
                </a:rPr>
                <a:t>输入目录标题</a:t>
              </a:r>
            </a:p>
          </p:txBody>
        </p:sp>
        <p:sp>
          <p:nvSpPr>
            <p:cNvPr id="6" name="文本框 5">
              <a:extLst>
                <a:ext uri="{FF2B5EF4-FFF2-40B4-BE49-F238E27FC236}">
                  <a16:creationId xmlns:a16="http://schemas.microsoft.com/office/drawing/2014/main" id="{05F69EA5-041F-42E9-9BB7-598D61609D6E}"/>
                </a:ext>
              </a:extLst>
            </p:cNvPr>
            <p:cNvSpPr txBox="1"/>
            <p:nvPr/>
          </p:nvSpPr>
          <p:spPr>
            <a:xfrm>
              <a:off x="1115021" y="4562870"/>
              <a:ext cx="1846660" cy="215444"/>
            </a:xfrm>
            <a:prstGeom prst="rect">
              <a:avLst/>
            </a:prstGeom>
            <a:noFill/>
          </p:spPr>
          <p:txBody>
            <a:bodyPr wrap="square" lIns="0" tIns="0" rIns="0" bIns="0" rtlCol="0" anchor="t">
              <a:spAutoFit/>
            </a:bodyPr>
            <a:lstStyle/>
            <a:p>
              <a:pPr algn="dist"/>
              <a:r>
                <a:rPr lang="en-US" altLang="zh-CN" sz="1200" dirty="0">
                  <a:solidFill>
                    <a:schemeClr val="bg1"/>
                  </a:solidFill>
                </a:rPr>
                <a:t>Contents Title Here</a:t>
              </a:r>
              <a:endParaRPr lang="zh-CN" altLang="en-US" sz="1200" dirty="0">
                <a:solidFill>
                  <a:schemeClr val="bg1"/>
                </a:solidFill>
              </a:endParaRPr>
            </a:p>
          </p:txBody>
        </p:sp>
      </p:grpSp>
      <p:grpSp>
        <p:nvGrpSpPr>
          <p:cNvPr id="26" name="组合 25">
            <a:extLst>
              <a:ext uri="{FF2B5EF4-FFF2-40B4-BE49-F238E27FC236}">
                <a16:creationId xmlns:a16="http://schemas.microsoft.com/office/drawing/2014/main" id="{01A4963C-D4DD-471F-BCF1-295E89EF0B71}"/>
              </a:ext>
            </a:extLst>
          </p:cNvPr>
          <p:cNvGrpSpPr/>
          <p:nvPr/>
        </p:nvGrpSpPr>
        <p:grpSpPr>
          <a:xfrm>
            <a:off x="3587497" y="1951346"/>
            <a:ext cx="2246375" cy="3489377"/>
            <a:chOff x="762001" y="1951346"/>
            <a:chExt cx="2552700" cy="3965203"/>
          </a:xfrm>
        </p:grpSpPr>
        <p:sp>
          <p:nvSpPr>
            <p:cNvPr id="27" name="矩形: 圆角 26">
              <a:extLst>
                <a:ext uri="{FF2B5EF4-FFF2-40B4-BE49-F238E27FC236}">
                  <a16:creationId xmlns:a16="http://schemas.microsoft.com/office/drawing/2014/main" id="{F33112EC-1CD1-4D7E-A605-10AF82D0E6D3}"/>
                </a:ext>
              </a:extLst>
            </p:cNvPr>
            <p:cNvSpPr/>
            <p:nvPr/>
          </p:nvSpPr>
          <p:spPr>
            <a:xfrm>
              <a:off x="762001" y="2849499"/>
              <a:ext cx="2552700" cy="3067050"/>
            </a:xfrm>
            <a:prstGeom prst="roundRect">
              <a:avLst>
                <a:gd name="adj" fmla="val 5311"/>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400">
                <a:solidFill>
                  <a:schemeClr val="bg1"/>
                </a:solidFill>
                <a:latin typeface="+mj-ea"/>
                <a:ea typeface="+mj-ea"/>
              </a:endParaRPr>
            </a:p>
          </p:txBody>
        </p:sp>
        <p:sp>
          <p:nvSpPr>
            <p:cNvPr id="28" name="等腰三角形 27">
              <a:extLst>
                <a:ext uri="{FF2B5EF4-FFF2-40B4-BE49-F238E27FC236}">
                  <a16:creationId xmlns:a16="http://schemas.microsoft.com/office/drawing/2014/main" id="{A4EA43A4-0958-415C-B989-4C998E360A52}"/>
                </a:ext>
              </a:extLst>
            </p:cNvPr>
            <p:cNvSpPr/>
            <p:nvPr/>
          </p:nvSpPr>
          <p:spPr>
            <a:xfrm>
              <a:off x="1869283" y="2658998"/>
              <a:ext cx="338137" cy="261937"/>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400">
                <a:solidFill>
                  <a:schemeClr val="bg1"/>
                </a:solidFill>
                <a:latin typeface="+mj-ea"/>
                <a:ea typeface="+mj-ea"/>
              </a:endParaRPr>
            </a:p>
          </p:txBody>
        </p:sp>
        <p:sp>
          <p:nvSpPr>
            <p:cNvPr id="29" name="文本框 28">
              <a:extLst>
                <a:ext uri="{FF2B5EF4-FFF2-40B4-BE49-F238E27FC236}">
                  <a16:creationId xmlns:a16="http://schemas.microsoft.com/office/drawing/2014/main" id="{E4F055CB-9AC4-4C33-9557-EA8CAA77EF7D}"/>
                </a:ext>
              </a:extLst>
            </p:cNvPr>
            <p:cNvSpPr txBox="1"/>
            <p:nvPr/>
          </p:nvSpPr>
          <p:spPr>
            <a:xfrm>
              <a:off x="1692248" y="1951346"/>
              <a:ext cx="692206" cy="629543"/>
            </a:xfrm>
            <a:prstGeom prst="rect">
              <a:avLst/>
            </a:prstGeom>
            <a:noFill/>
          </p:spPr>
          <p:txBody>
            <a:bodyPr wrap="none" lIns="0" tIns="0" rIns="0" bIns="0" rtlCol="0" anchor="t">
              <a:spAutoFit/>
            </a:bodyPr>
            <a:lstStyle/>
            <a:p>
              <a:pPr algn="ctr"/>
              <a:r>
                <a:rPr lang="en-US" altLang="zh-CN" sz="3600" dirty="0">
                  <a:solidFill>
                    <a:schemeClr val="accent1"/>
                  </a:solidFill>
                  <a:latin typeface="+mj-ea"/>
                  <a:ea typeface="+mj-ea"/>
                </a:rPr>
                <a:t>02</a:t>
              </a:r>
              <a:endParaRPr lang="zh-CN" altLang="en-US" sz="3600" dirty="0">
                <a:solidFill>
                  <a:schemeClr val="accent1"/>
                </a:solidFill>
                <a:latin typeface="+mj-ea"/>
                <a:ea typeface="+mj-ea"/>
              </a:endParaRPr>
            </a:p>
          </p:txBody>
        </p:sp>
        <p:sp>
          <p:nvSpPr>
            <p:cNvPr id="30" name="文本框 29">
              <a:extLst>
                <a:ext uri="{FF2B5EF4-FFF2-40B4-BE49-F238E27FC236}">
                  <a16:creationId xmlns:a16="http://schemas.microsoft.com/office/drawing/2014/main" id="{032C62B0-6BB1-43CC-BFE3-53A22C9791D0}"/>
                </a:ext>
              </a:extLst>
            </p:cNvPr>
            <p:cNvSpPr txBox="1"/>
            <p:nvPr/>
          </p:nvSpPr>
          <p:spPr>
            <a:xfrm>
              <a:off x="1163985" y="4101688"/>
              <a:ext cx="1748731" cy="349747"/>
            </a:xfrm>
            <a:prstGeom prst="rect">
              <a:avLst/>
            </a:prstGeom>
            <a:noFill/>
          </p:spPr>
          <p:txBody>
            <a:bodyPr wrap="none" lIns="0" tIns="0" rIns="0" bIns="0" rtlCol="0" anchor="t">
              <a:spAutoFit/>
            </a:bodyPr>
            <a:lstStyle/>
            <a:p>
              <a:pPr algn="ctr"/>
              <a:r>
                <a:rPr lang="zh-CN" altLang="en-US" sz="2000" dirty="0">
                  <a:solidFill>
                    <a:schemeClr val="bg1"/>
                  </a:solidFill>
                  <a:latin typeface="+mj-ea"/>
                  <a:ea typeface="+mj-ea"/>
                </a:rPr>
                <a:t>输入目录标题</a:t>
              </a:r>
            </a:p>
          </p:txBody>
        </p:sp>
        <p:sp>
          <p:nvSpPr>
            <p:cNvPr id="31" name="文本框 30">
              <a:extLst>
                <a:ext uri="{FF2B5EF4-FFF2-40B4-BE49-F238E27FC236}">
                  <a16:creationId xmlns:a16="http://schemas.microsoft.com/office/drawing/2014/main" id="{E252FB76-8102-4869-87F6-B6F78102A827}"/>
                </a:ext>
              </a:extLst>
            </p:cNvPr>
            <p:cNvSpPr txBox="1"/>
            <p:nvPr/>
          </p:nvSpPr>
          <p:spPr>
            <a:xfrm>
              <a:off x="1115021" y="4562870"/>
              <a:ext cx="1846660" cy="215444"/>
            </a:xfrm>
            <a:prstGeom prst="rect">
              <a:avLst/>
            </a:prstGeom>
            <a:noFill/>
          </p:spPr>
          <p:txBody>
            <a:bodyPr wrap="square" lIns="0" tIns="0" rIns="0" bIns="0" rtlCol="0" anchor="t">
              <a:spAutoFit/>
            </a:bodyPr>
            <a:lstStyle/>
            <a:p>
              <a:pPr algn="dist"/>
              <a:r>
                <a:rPr lang="en-US" altLang="zh-CN" sz="1200" dirty="0">
                  <a:solidFill>
                    <a:schemeClr val="bg1"/>
                  </a:solidFill>
                </a:rPr>
                <a:t>Contents Title Here</a:t>
              </a:r>
              <a:endParaRPr lang="zh-CN" altLang="en-US" sz="1200" dirty="0">
                <a:solidFill>
                  <a:schemeClr val="bg1"/>
                </a:solidFill>
              </a:endParaRPr>
            </a:p>
          </p:txBody>
        </p:sp>
      </p:grpSp>
      <p:grpSp>
        <p:nvGrpSpPr>
          <p:cNvPr id="32" name="组合 31">
            <a:extLst>
              <a:ext uri="{FF2B5EF4-FFF2-40B4-BE49-F238E27FC236}">
                <a16:creationId xmlns:a16="http://schemas.microsoft.com/office/drawing/2014/main" id="{84C7E479-B248-42C1-AFA5-7FC6EDAAC5C3}"/>
              </a:ext>
            </a:extLst>
          </p:cNvPr>
          <p:cNvGrpSpPr/>
          <p:nvPr/>
        </p:nvGrpSpPr>
        <p:grpSpPr>
          <a:xfrm>
            <a:off x="6358129" y="1951346"/>
            <a:ext cx="2246375" cy="3489377"/>
            <a:chOff x="762001" y="1951346"/>
            <a:chExt cx="2552700" cy="3965203"/>
          </a:xfrm>
        </p:grpSpPr>
        <p:sp>
          <p:nvSpPr>
            <p:cNvPr id="33" name="矩形: 圆角 32">
              <a:extLst>
                <a:ext uri="{FF2B5EF4-FFF2-40B4-BE49-F238E27FC236}">
                  <a16:creationId xmlns:a16="http://schemas.microsoft.com/office/drawing/2014/main" id="{6B717F37-5333-4D84-B435-0D6F1B1AFA87}"/>
                </a:ext>
              </a:extLst>
            </p:cNvPr>
            <p:cNvSpPr/>
            <p:nvPr/>
          </p:nvSpPr>
          <p:spPr>
            <a:xfrm>
              <a:off x="762001" y="2849499"/>
              <a:ext cx="2552700" cy="3067050"/>
            </a:xfrm>
            <a:prstGeom prst="roundRect">
              <a:avLst>
                <a:gd name="adj" fmla="val 5311"/>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400">
                <a:solidFill>
                  <a:schemeClr val="bg1"/>
                </a:solidFill>
                <a:latin typeface="+mj-ea"/>
                <a:ea typeface="+mj-ea"/>
              </a:endParaRPr>
            </a:p>
          </p:txBody>
        </p:sp>
        <p:sp>
          <p:nvSpPr>
            <p:cNvPr id="34" name="等腰三角形 33">
              <a:extLst>
                <a:ext uri="{FF2B5EF4-FFF2-40B4-BE49-F238E27FC236}">
                  <a16:creationId xmlns:a16="http://schemas.microsoft.com/office/drawing/2014/main" id="{CD77C832-F26F-4878-AD19-5234B4CFC4EE}"/>
                </a:ext>
              </a:extLst>
            </p:cNvPr>
            <p:cNvSpPr/>
            <p:nvPr/>
          </p:nvSpPr>
          <p:spPr>
            <a:xfrm>
              <a:off x="1869283" y="2658998"/>
              <a:ext cx="338137" cy="261937"/>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400">
                <a:solidFill>
                  <a:schemeClr val="bg1"/>
                </a:solidFill>
                <a:latin typeface="+mj-ea"/>
                <a:ea typeface="+mj-ea"/>
              </a:endParaRPr>
            </a:p>
          </p:txBody>
        </p:sp>
        <p:sp>
          <p:nvSpPr>
            <p:cNvPr id="35" name="文本框 34">
              <a:extLst>
                <a:ext uri="{FF2B5EF4-FFF2-40B4-BE49-F238E27FC236}">
                  <a16:creationId xmlns:a16="http://schemas.microsoft.com/office/drawing/2014/main" id="{790AFB51-5A0B-4FF5-9E87-6AE108D5494A}"/>
                </a:ext>
              </a:extLst>
            </p:cNvPr>
            <p:cNvSpPr txBox="1"/>
            <p:nvPr/>
          </p:nvSpPr>
          <p:spPr>
            <a:xfrm>
              <a:off x="1692248" y="1951346"/>
              <a:ext cx="692206" cy="629543"/>
            </a:xfrm>
            <a:prstGeom prst="rect">
              <a:avLst/>
            </a:prstGeom>
            <a:noFill/>
          </p:spPr>
          <p:txBody>
            <a:bodyPr wrap="none" lIns="0" tIns="0" rIns="0" bIns="0" rtlCol="0" anchor="t">
              <a:spAutoFit/>
            </a:bodyPr>
            <a:lstStyle/>
            <a:p>
              <a:pPr algn="ctr"/>
              <a:r>
                <a:rPr lang="en-US" altLang="zh-CN" sz="3600" dirty="0">
                  <a:solidFill>
                    <a:schemeClr val="accent1"/>
                  </a:solidFill>
                  <a:latin typeface="+mj-ea"/>
                  <a:ea typeface="+mj-ea"/>
                </a:rPr>
                <a:t>03</a:t>
              </a:r>
              <a:endParaRPr lang="zh-CN" altLang="en-US" sz="3600" dirty="0">
                <a:solidFill>
                  <a:schemeClr val="accent1"/>
                </a:solidFill>
                <a:latin typeface="+mj-ea"/>
                <a:ea typeface="+mj-ea"/>
              </a:endParaRPr>
            </a:p>
          </p:txBody>
        </p:sp>
        <p:sp>
          <p:nvSpPr>
            <p:cNvPr id="36" name="文本框 35">
              <a:extLst>
                <a:ext uri="{FF2B5EF4-FFF2-40B4-BE49-F238E27FC236}">
                  <a16:creationId xmlns:a16="http://schemas.microsoft.com/office/drawing/2014/main" id="{3922D90C-D37F-40B2-8C17-81B1CA0E4D03}"/>
                </a:ext>
              </a:extLst>
            </p:cNvPr>
            <p:cNvSpPr txBox="1"/>
            <p:nvPr/>
          </p:nvSpPr>
          <p:spPr>
            <a:xfrm>
              <a:off x="1163985" y="4101688"/>
              <a:ext cx="1748731" cy="349747"/>
            </a:xfrm>
            <a:prstGeom prst="rect">
              <a:avLst/>
            </a:prstGeom>
            <a:noFill/>
          </p:spPr>
          <p:txBody>
            <a:bodyPr wrap="none" lIns="0" tIns="0" rIns="0" bIns="0" rtlCol="0" anchor="t">
              <a:spAutoFit/>
            </a:bodyPr>
            <a:lstStyle/>
            <a:p>
              <a:pPr algn="ctr"/>
              <a:r>
                <a:rPr lang="zh-CN" altLang="en-US" sz="2000" dirty="0">
                  <a:solidFill>
                    <a:schemeClr val="bg1"/>
                  </a:solidFill>
                  <a:latin typeface="+mj-ea"/>
                  <a:ea typeface="+mj-ea"/>
                </a:rPr>
                <a:t>输入目录标题</a:t>
              </a:r>
            </a:p>
          </p:txBody>
        </p:sp>
        <p:sp>
          <p:nvSpPr>
            <p:cNvPr id="37" name="文本框 36">
              <a:extLst>
                <a:ext uri="{FF2B5EF4-FFF2-40B4-BE49-F238E27FC236}">
                  <a16:creationId xmlns:a16="http://schemas.microsoft.com/office/drawing/2014/main" id="{4D1829A2-9C7F-4450-BB78-A918FC7FB072}"/>
                </a:ext>
              </a:extLst>
            </p:cNvPr>
            <p:cNvSpPr txBox="1"/>
            <p:nvPr/>
          </p:nvSpPr>
          <p:spPr>
            <a:xfrm>
              <a:off x="1115021" y="4562870"/>
              <a:ext cx="1846660" cy="215444"/>
            </a:xfrm>
            <a:prstGeom prst="rect">
              <a:avLst/>
            </a:prstGeom>
            <a:noFill/>
          </p:spPr>
          <p:txBody>
            <a:bodyPr wrap="square" lIns="0" tIns="0" rIns="0" bIns="0" rtlCol="0" anchor="t">
              <a:spAutoFit/>
            </a:bodyPr>
            <a:lstStyle/>
            <a:p>
              <a:pPr algn="dist"/>
              <a:r>
                <a:rPr lang="en-US" altLang="zh-CN" sz="1200" dirty="0">
                  <a:solidFill>
                    <a:schemeClr val="bg1"/>
                  </a:solidFill>
                </a:rPr>
                <a:t>Contents Title Here</a:t>
              </a:r>
              <a:endParaRPr lang="zh-CN" altLang="en-US" sz="1200" dirty="0">
                <a:solidFill>
                  <a:schemeClr val="bg1"/>
                </a:solidFill>
              </a:endParaRPr>
            </a:p>
          </p:txBody>
        </p:sp>
      </p:grpSp>
      <p:grpSp>
        <p:nvGrpSpPr>
          <p:cNvPr id="38" name="组合 37">
            <a:extLst>
              <a:ext uri="{FF2B5EF4-FFF2-40B4-BE49-F238E27FC236}">
                <a16:creationId xmlns:a16="http://schemas.microsoft.com/office/drawing/2014/main" id="{6DD8C6F3-ABC7-4800-908D-EA710A8F7D3C}"/>
              </a:ext>
            </a:extLst>
          </p:cNvPr>
          <p:cNvGrpSpPr/>
          <p:nvPr/>
        </p:nvGrpSpPr>
        <p:grpSpPr>
          <a:xfrm>
            <a:off x="9128761" y="1951346"/>
            <a:ext cx="2246375" cy="3489377"/>
            <a:chOff x="762001" y="1951346"/>
            <a:chExt cx="2552700" cy="3965203"/>
          </a:xfrm>
        </p:grpSpPr>
        <p:sp>
          <p:nvSpPr>
            <p:cNvPr id="39" name="矩形: 圆角 38">
              <a:extLst>
                <a:ext uri="{FF2B5EF4-FFF2-40B4-BE49-F238E27FC236}">
                  <a16:creationId xmlns:a16="http://schemas.microsoft.com/office/drawing/2014/main" id="{9C72A50F-EDAA-4F8D-ABFF-D516A5861725}"/>
                </a:ext>
              </a:extLst>
            </p:cNvPr>
            <p:cNvSpPr/>
            <p:nvPr/>
          </p:nvSpPr>
          <p:spPr>
            <a:xfrm>
              <a:off x="762001" y="2849499"/>
              <a:ext cx="2552700" cy="3067050"/>
            </a:xfrm>
            <a:prstGeom prst="roundRect">
              <a:avLst>
                <a:gd name="adj" fmla="val 5311"/>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400">
                <a:solidFill>
                  <a:schemeClr val="bg1"/>
                </a:solidFill>
                <a:latin typeface="+mj-ea"/>
                <a:ea typeface="+mj-ea"/>
              </a:endParaRPr>
            </a:p>
          </p:txBody>
        </p:sp>
        <p:sp>
          <p:nvSpPr>
            <p:cNvPr id="40" name="等腰三角形 39">
              <a:extLst>
                <a:ext uri="{FF2B5EF4-FFF2-40B4-BE49-F238E27FC236}">
                  <a16:creationId xmlns:a16="http://schemas.microsoft.com/office/drawing/2014/main" id="{DA5E7E17-0E09-449D-A2DA-313D607F5E12}"/>
                </a:ext>
              </a:extLst>
            </p:cNvPr>
            <p:cNvSpPr/>
            <p:nvPr/>
          </p:nvSpPr>
          <p:spPr>
            <a:xfrm>
              <a:off x="1869283" y="2658998"/>
              <a:ext cx="338137" cy="261937"/>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400">
                <a:solidFill>
                  <a:schemeClr val="bg1"/>
                </a:solidFill>
                <a:latin typeface="+mj-ea"/>
                <a:ea typeface="+mj-ea"/>
              </a:endParaRPr>
            </a:p>
          </p:txBody>
        </p:sp>
        <p:sp>
          <p:nvSpPr>
            <p:cNvPr id="41" name="文本框 40">
              <a:extLst>
                <a:ext uri="{FF2B5EF4-FFF2-40B4-BE49-F238E27FC236}">
                  <a16:creationId xmlns:a16="http://schemas.microsoft.com/office/drawing/2014/main" id="{44F2B864-CD7B-4042-804F-7B6A87FBA403}"/>
                </a:ext>
              </a:extLst>
            </p:cNvPr>
            <p:cNvSpPr txBox="1"/>
            <p:nvPr/>
          </p:nvSpPr>
          <p:spPr>
            <a:xfrm>
              <a:off x="1692248" y="1951346"/>
              <a:ext cx="692206" cy="629543"/>
            </a:xfrm>
            <a:prstGeom prst="rect">
              <a:avLst/>
            </a:prstGeom>
            <a:noFill/>
          </p:spPr>
          <p:txBody>
            <a:bodyPr wrap="none" lIns="0" tIns="0" rIns="0" bIns="0" rtlCol="0" anchor="t">
              <a:spAutoFit/>
            </a:bodyPr>
            <a:lstStyle/>
            <a:p>
              <a:pPr algn="ctr"/>
              <a:r>
                <a:rPr lang="en-US" altLang="zh-CN" sz="3600" dirty="0">
                  <a:solidFill>
                    <a:schemeClr val="accent1"/>
                  </a:solidFill>
                  <a:latin typeface="+mj-ea"/>
                  <a:ea typeface="+mj-ea"/>
                </a:rPr>
                <a:t>04</a:t>
              </a:r>
              <a:endParaRPr lang="zh-CN" altLang="en-US" sz="3600" dirty="0">
                <a:solidFill>
                  <a:schemeClr val="accent1"/>
                </a:solidFill>
                <a:latin typeface="+mj-ea"/>
                <a:ea typeface="+mj-ea"/>
              </a:endParaRPr>
            </a:p>
          </p:txBody>
        </p:sp>
        <p:sp>
          <p:nvSpPr>
            <p:cNvPr id="42" name="文本框 41">
              <a:extLst>
                <a:ext uri="{FF2B5EF4-FFF2-40B4-BE49-F238E27FC236}">
                  <a16:creationId xmlns:a16="http://schemas.microsoft.com/office/drawing/2014/main" id="{3C52DEE7-E859-4E6A-8AE8-37A75CC3A84D}"/>
                </a:ext>
              </a:extLst>
            </p:cNvPr>
            <p:cNvSpPr txBox="1"/>
            <p:nvPr/>
          </p:nvSpPr>
          <p:spPr>
            <a:xfrm>
              <a:off x="1163985" y="4101688"/>
              <a:ext cx="1748731" cy="349747"/>
            </a:xfrm>
            <a:prstGeom prst="rect">
              <a:avLst/>
            </a:prstGeom>
            <a:noFill/>
          </p:spPr>
          <p:txBody>
            <a:bodyPr wrap="none" lIns="0" tIns="0" rIns="0" bIns="0" rtlCol="0" anchor="t">
              <a:spAutoFit/>
            </a:bodyPr>
            <a:lstStyle/>
            <a:p>
              <a:pPr algn="ctr"/>
              <a:r>
                <a:rPr lang="zh-CN" altLang="en-US" sz="2000" dirty="0">
                  <a:solidFill>
                    <a:schemeClr val="bg1"/>
                  </a:solidFill>
                  <a:latin typeface="+mj-ea"/>
                  <a:ea typeface="+mj-ea"/>
                </a:rPr>
                <a:t>输入目录标题</a:t>
              </a:r>
            </a:p>
          </p:txBody>
        </p:sp>
        <p:sp>
          <p:nvSpPr>
            <p:cNvPr id="43" name="文本框 42">
              <a:extLst>
                <a:ext uri="{FF2B5EF4-FFF2-40B4-BE49-F238E27FC236}">
                  <a16:creationId xmlns:a16="http://schemas.microsoft.com/office/drawing/2014/main" id="{AE59A5C2-FFFE-4702-AF46-86EE52453E26}"/>
                </a:ext>
              </a:extLst>
            </p:cNvPr>
            <p:cNvSpPr txBox="1"/>
            <p:nvPr/>
          </p:nvSpPr>
          <p:spPr>
            <a:xfrm>
              <a:off x="1115021" y="4562870"/>
              <a:ext cx="1846660" cy="215444"/>
            </a:xfrm>
            <a:prstGeom prst="rect">
              <a:avLst/>
            </a:prstGeom>
            <a:noFill/>
          </p:spPr>
          <p:txBody>
            <a:bodyPr wrap="square" lIns="0" tIns="0" rIns="0" bIns="0" rtlCol="0" anchor="t">
              <a:spAutoFit/>
            </a:bodyPr>
            <a:lstStyle/>
            <a:p>
              <a:pPr algn="dist"/>
              <a:r>
                <a:rPr lang="en-US" altLang="zh-CN" sz="1200" dirty="0">
                  <a:solidFill>
                    <a:schemeClr val="bg1"/>
                  </a:solidFill>
                </a:rPr>
                <a:t>Contents Title Here</a:t>
              </a:r>
              <a:endParaRPr lang="zh-CN" altLang="en-US" sz="1200" dirty="0">
                <a:solidFill>
                  <a:schemeClr val="bg1"/>
                </a:solidFill>
              </a:endParaRPr>
            </a:p>
          </p:txBody>
        </p:sp>
      </p:grpSp>
      <p:sp>
        <p:nvSpPr>
          <p:cNvPr id="45" name="文本框 44">
            <a:extLst>
              <a:ext uri="{FF2B5EF4-FFF2-40B4-BE49-F238E27FC236}">
                <a16:creationId xmlns:a16="http://schemas.microsoft.com/office/drawing/2014/main" id="{0194FBEB-973E-496D-B72F-0AE3B60577C4}"/>
              </a:ext>
            </a:extLst>
          </p:cNvPr>
          <p:cNvSpPr txBox="1"/>
          <p:nvPr/>
        </p:nvSpPr>
        <p:spPr>
          <a:xfrm>
            <a:off x="1974088" y="633067"/>
            <a:ext cx="2416937" cy="492443"/>
          </a:xfrm>
          <a:prstGeom prst="rect">
            <a:avLst/>
          </a:prstGeom>
          <a:noFill/>
        </p:spPr>
        <p:txBody>
          <a:bodyPr wrap="square" lIns="0" tIns="0" rIns="0" bIns="0" rtlCol="0" anchor="t">
            <a:spAutoFit/>
          </a:bodyPr>
          <a:lstStyle/>
          <a:p>
            <a:pPr algn="dist"/>
            <a:r>
              <a:rPr lang="en-US" altLang="zh-CN" sz="3200" dirty="0">
                <a:solidFill>
                  <a:schemeClr val="accent1">
                    <a:lumMod val="20000"/>
                    <a:lumOff val="80000"/>
                  </a:schemeClr>
                </a:solidFill>
                <a:latin typeface="+mj-ea"/>
                <a:ea typeface="+mj-ea"/>
              </a:rPr>
              <a:t>CONTENTS</a:t>
            </a:r>
            <a:endParaRPr lang="zh-CN" altLang="en-US" sz="3200" dirty="0">
              <a:solidFill>
                <a:schemeClr val="accent1">
                  <a:lumMod val="20000"/>
                  <a:lumOff val="80000"/>
                </a:schemeClr>
              </a:solidFill>
              <a:latin typeface="+mj-ea"/>
              <a:ea typeface="+mj-ea"/>
            </a:endParaRPr>
          </a:p>
        </p:txBody>
      </p:sp>
      <p:sp>
        <p:nvSpPr>
          <p:cNvPr id="46" name="文本框 45">
            <a:extLst>
              <a:ext uri="{FF2B5EF4-FFF2-40B4-BE49-F238E27FC236}">
                <a16:creationId xmlns:a16="http://schemas.microsoft.com/office/drawing/2014/main" id="{C6D18AD5-9130-4CD2-A6BB-8957872A9BBA}"/>
              </a:ext>
            </a:extLst>
          </p:cNvPr>
          <p:cNvSpPr txBox="1"/>
          <p:nvPr/>
        </p:nvSpPr>
        <p:spPr>
          <a:xfrm>
            <a:off x="398272" y="326778"/>
            <a:ext cx="1452626" cy="830997"/>
          </a:xfrm>
          <a:prstGeom prst="rect">
            <a:avLst/>
          </a:prstGeom>
          <a:noFill/>
        </p:spPr>
        <p:txBody>
          <a:bodyPr wrap="square" lIns="0" tIns="0" rIns="0" bIns="0" rtlCol="0" anchor="t">
            <a:spAutoFit/>
          </a:bodyPr>
          <a:lstStyle/>
          <a:p>
            <a:pPr algn="dist"/>
            <a:r>
              <a:rPr lang="zh-CN" altLang="en-US" sz="5400" dirty="0">
                <a:solidFill>
                  <a:schemeClr val="accent1"/>
                </a:solidFill>
                <a:latin typeface="+mj-ea"/>
                <a:ea typeface="+mj-ea"/>
              </a:rPr>
              <a:t>目录</a:t>
            </a:r>
          </a:p>
        </p:txBody>
      </p:sp>
      <p:cxnSp>
        <p:nvCxnSpPr>
          <p:cNvPr id="48" name="直接连接符 47">
            <a:extLst>
              <a:ext uri="{FF2B5EF4-FFF2-40B4-BE49-F238E27FC236}">
                <a16:creationId xmlns:a16="http://schemas.microsoft.com/office/drawing/2014/main" id="{C4E6F743-91AB-4B3E-A3AD-4CB956ED61AB}"/>
              </a:ext>
            </a:extLst>
          </p:cNvPr>
          <p:cNvCxnSpPr>
            <a:cxnSpLocks/>
          </p:cNvCxnSpPr>
          <p:nvPr/>
        </p:nvCxnSpPr>
        <p:spPr>
          <a:xfrm>
            <a:off x="2496312" y="2203704"/>
            <a:ext cx="1664208"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50" name="直接连接符 49">
            <a:extLst>
              <a:ext uri="{FF2B5EF4-FFF2-40B4-BE49-F238E27FC236}">
                <a16:creationId xmlns:a16="http://schemas.microsoft.com/office/drawing/2014/main" id="{C215667F-36D6-4240-A853-C8B8337B911D}"/>
              </a:ext>
            </a:extLst>
          </p:cNvPr>
          <p:cNvCxnSpPr>
            <a:cxnSpLocks/>
          </p:cNvCxnSpPr>
          <p:nvPr/>
        </p:nvCxnSpPr>
        <p:spPr>
          <a:xfrm>
            <a:off x="5233417" y="2203704"/>
            <a:ext cx="1664208"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51" name="直接连接符 50">
            <a:extLst>
              <a:ext uri="{FF2B5EF4-FFF2-40B4-BE49-F238E27FC236}">
                <a16:creationId xmlns:a16="http://schemas.microsoft.com/office/drawing/2014/main" id="{E1E1AD89-A226-462D-939E-3C354E7EA576}"/>
              </a:ext>
            </a:extLst>
          </p:cNvPr>
          <p:cNvCxnSpPr>
            <a:cxnSpLocks/>
          </p:cNvCxnSpPr>
          <p:nvPr/>
        </p:nvCxnSpPr>
        <p:spPr>
          <a:xfrm>
            <a:off x="8031481" y="2203704"/>
            <a:ext cx="1664208"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57" name="任意多边形: 形状 56">
            <a:extLst>
              <a:ext uri="{FF2B5EF4-FFF2-40B4-BE49-F238E27FC236}">
                <a16:creationId xmlns:a16="http://schemas.microsoft.com/office/drawing/2014/main" id="{1FB21904-DE08-418D-9780-CE22E2F4D40A}"/>
              </a:ext>
            </a:extLst>
          </p:cNvPr>
          <p:cNvSpPr/>
          <p:nvPr/>
        </p:nvSpPr>
        <p:spPr>
          <a:xfrm>
            <a:off x="0" y="6278894"/>
            <a:ext cx="12192000" cy="579107"/>
          </a:xfrm>
          <a:custGeom>
            <a:avLst/>
            <a:gdLst>
              <a:gd name="connsiteX0" fmla="*/ 2286000 w 12192000"/>
              <a:gd name="connsiteY0" fmla="*/ 1364 h 579107"/>
              <a:gd name="connsiteX1" fmla="*/ 12192000 w 12192000"/>
              <a:gd name="connsiteY1" fmla="*/ 129841 h 579107"/>
              <a:gd name="connsiteX2" fmla="*/ 12192000 w 12192000"/>
              <a:gd name="connsiteY2" fmla="*/ 579107 h 579107"/>
              <a:gd name="connsiteX3" fmla="*/ 0 w 12192000"/>
              <a:gd name="connsiteY3" fmla="*/ 579107 h 579107"/>
              <a:gd name="connsiteX4" fmla="*/ 0 w 12192000"/>
              <a:gd name="connsiteY4" fmla="*/ 129841 h 579107"/>
              <a:gd name="connsiteX5" fmla="*/ 2286000 w 12192000"/>
              <a:gd name="connsiteY5" fmla="*/ 1364 h 579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579107">
                <a:moveTo>
                  <a:pt x="2286000" y="1364"/>
                </a:moveTo>
                <a:cubicBezTo>
                  <a:pt x="5588000" y="-30042"/>
                  <a:pt x="8890000" y="495287"/>
                  <a:pt x="12192000" y="129841"/>
                </a:cubicBezTo>
                <a:lnTo>
                  <a:pt x="12192000" y="579107"/>
                </a:lnTo>
                <a:lnTo>
                  <a:pt x="0" y="579107"/>
                </a:lnTo>
                <a:lnTo>
                  <a:pt x="0" y="129841"/>
                </a:lnTo>
                <a:cubicBezTo>
                  <a:pt x="762000" y="45508"/>
                  <a:pt x="1524000" y="8612"/>
                  <a:pt x="2286000" y="1364"/>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l"/>
            <a:endParaRPr lang="zh-CN" altLang="en-US" sz="1600">
              <a:solidFill>
                <a:schemeClr val="bg1"/>
              </a:solidFill>
              <a:latin typeface="+mj-ea"/>
              <a:ea typeface="+mj-ea"/>
            </a:endParaRPr>
          </a:p>
        </p:txBody>
      </p:sp>
    </p:spTree>
    <p:extLst>
      <p:ext uri="{BB962C8B-B14F-4D97-AF65-F5344CB8AC3E}">
        <p14:creationId xmlns:p14="http://schemas.microsoft.com/office/powerpoint/2010/main" val="113108012"/>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a:extLst>
              <a:ext uri="{FF2B5EF4-FFF2-40B4-BE49-F238E27FC236}">
                <a16:creationId xmlns:a16="http://schemas.microsoft.com/office/drawing/2014/main" id="{37248F4E-0EB3-4CAB-ADCF-814B16F59F77}"/>
              </a:ext>
            </a:extLst>
          </p:cNvPr>
          <p:cNvSpPr txBox="1"/>
          <p:nvPr/>
        </p:nvSpPr>
        <p:spPr>
          <a:xfrm>
            <a:off x="1974088" y="633067"/>
            <a:ext cx="2416937" cy="492443"/>
          </a:xfrm>
          <a:prstGeom prst="rect">
            <a:avLst/>
          </a:prstGeom>
          <a:noFill/>
        </p:spPr>
        <p:txBody>
          <a:bodyPr wrap="square" lIns="0" tIns="0" rIns="0" bIns="0" rtlCol="0" anchor="t">
            <a:spAutoFit/>
          </a:bodyPr>
          <a:lstStyle/>
          <a:p>
            <a:pPr algn="dist"/>
            <a:r>
              <a:rPr lang="en-US" altLang="zh-CN" sz="3200" dirty="0">
                <a:solidFill>
                  <a:schemeClr val="accent1">
                    <a:lumMod val="20000"/>
                    <a:lumOff val="80000"/>
                  </a:schemeClr>
                </a:solidFill>
                <a:latin typeface="+mj-ea"/>
                <a:ea typeface="+mj-ea"/>
              </a:rPr>
              <a:t>CONTENTS</a:t>
            </a:r>
            <a:endParaRPr lang="zh-CN" altLang="en-US" sz="3200" dirty="0">
              <a:solidFill>
                <a:schemeClr val="accent1">
                  <a:lumMod val="20000"/>
                  <a:lumOff val="80000"/>
                </a:schemeClr>
              </a:solidFill>
              <a:latin typeface="+mj-ea"/>
              <a:ea typeface="+mj-ea"/>
            </a:endParaRPr>
          </a:p>
        </p:txBody>
      </p:sp>
      <p:sp>
        <p:nvSpPr>
          <p:cNvPr id="3" name="文本框 2">
            <a:extLst>
              <a:ext uri="{FF2B5EF4-FFF2-40B4-BE49-F238E27FC236}">
                <a16:creationId xmlns:a16="http://schemas.microsoft.com/office/drawing/2014/main" id="{463E98CA-7CE9-4257-B1C3-2D072D44E17C}"/>
              </a:ext>
            </a:extLst>
          </p:cNvPr>
          <p:cNvSpPr txBox="1"/>
          <p:nvPr/>
        </p:nvSpPr>
        <p:spPr>
          <a:xfrm>
            <a:off x="398272" y="326778"/>
            <a:ext cx="1452626" cy="830997"/>
          </a:xfrm>
          <a:prstGeom prst="rect">
            <a:avLst/>
          </a:prstGeom>
          <a:noFill/>
        </p:spPr>
        <p:txBody>
          <a:bodyPr wrap="square" lIns="0" tIns="0" rIns="0" bIns="0" rtlCol="0" anchor="t">
            <a:spAutoFit/>
          </a:bodyPr>
          <a:lstStyle/>
          <a:p>
            <a:pPr algn="dist"/>
            <a:r>
              <a:rPr lang="zh-CN" altLang="en-US" sz="5400" dirty="0">
                <a:solidFill>
                  <a:schemeClr val="accent1"/>
                </a:solidFill>
                <a:latin typeface="+mj-ea"/>
                <a:ea typeface="+mj-ea"/>
              </a:rPr>
              <a:t>目录</a:t>
            </a:r>
          </a:p>
        </p:txBody>
      </p:sp>
      <p:sp>
        <p:nvSpPr>
          <p:cNvPr id="5" name="矩形: 圆角 4">
            <a:extLst>
              <a:ext uri="{FF2B5EF4-FFF2-40B4-BE49-F238E27FC236}">
                <a16:creationId xmlns:a16="http://schemas.microsoft.com/office/drawing/2014/main" id="{B023B64D-D842-425B-85E7-57ABD7B4E922}"/>
              </a:ext>
            </a:extLst>
          </p:cNvPr>
          <p:cNvSpPr/>
          <p:nvPr/>
        </p:nvSpPr>
        <p:spPr>
          <a:xfrm>
            <a:off x="2349563" y="1924051"/>
            <a:ext cx="781178" cy="3781806"/>
          </a:xfrm>
          <a:prstGeom prst="roundRect">
            <a:avLst>
              <a:gd name="adj" fmla="val 50000"/>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6" name="文本框 5">
            <a:extLst>
              <a:ext uri="{FF2B5EF4-FFF2-40B4-BE49-F238E27FC236}">
                <a16:creationId xmlns:a16="http://schemas.microsoft.com/office/drawing/2014/main" id="{D58114B3-8D3A-4D7E-8388-AD3BEABE0A73}"/>
              </a:ext>
            </a:extLst>
          </p:cNvPr>
          <p:cNvSpPr txBox="1"/>
          <p:nvPr/>
        </p:nvSpPr>
        <p:spPr>
          <a:xfrm>
            <a:off x="2555486" y="2735818"/>
            <a:ext cx="369332" cy="2769989"/>
          </a:xfrm>
          <a:prstGeom prst="rect">
            <a:avLst/>
          </a:prstGeom>
          <a:noFill/>
        </p:spPr>
        <p:txBody>
          <a:bodyPr vert="eaVert" wrap="none" lIns="0" tIns="0" rIns="0" bIns="0" rtlCol="0" anchor="t">
            <a:spAutoFit/>
          </a:bodyPr>
          <a:lstStyle/>
          <a:p>
            <a:r>
              <a:rPr lang="zh-CN" altLang="en-US" sz="2400" dirty="0">
                <a:solidFill>
                  <a:schemeClr val="accent1"/>
                </a:solidFill>
              </a:rPr>
              <a:t>在这里输入目录标题</a:t>
            </a:r>
          </a:p>
        </p:txBody>
      </p:sp>
      <p:sp>
        <p:nvSpPr>
          <p:cNvPr id="7" name="椭圆 6">
            <a:extLst>
              <a:ext uri="{FF2B5EF4-FFF2-40B4-BE49-F238E27FC236}">
                <a16:creationId xmlns:a16="http://schemas.microsoft.com/office/drawing/2014/main" id="{746977ED-043B-46B7-B450-AAF2CA6B1A25}"/>
              </a:ext>
            </a:extLst>
          </p:cNvPr>
          <p:cNvSpPr/>
          <p:nvPr/>
        </p:nvSpPr>
        <p:spPr>
          <a:xfrm>
            <a:off x="2455712" y="2045494"/>
            <a:ext cx="568880" cy="56888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050" dirty="0">
                <a:solidFill>
                  <a:schemeClr val="bg1"/>
                </a:solidFill>
                <a:latin typeface="+mj-ea"/>
                <a:ea typeface="+mj-ea"/>
              </a:rPr>
              <a:t>01</a:t>
            </a:r>
            <a:endParaRPr lang="zh-CN" altLang="en-US" sz="1050" dirty="0">
              <a:solidFill>
                <a:schemeClr val="bg1"/>
              </a:solidFill>
              <a:latin typeface="+mj-ea"/>
              <a:ea typeface="+mj-ea"/>
            </a:endParaRPr>
          </a:p>
        </p:txBody>
      </p:sp>
      <p:sp>
        <p:nvSpPr>
          <p:cNvPr id="8" name="矩形: 圆角 7">
            <a:extLst>
              <a:ext uri="{FF2B5EF4-FFF2-40B4-BE49-F238E27FC236}">
                <a16:creationId xmlns:a16="http://schemas.microsoft.com/office/drawing/2014/main" id="{B881199F-7452-477F-8077-E956C630A67F}"/>
              </a:ext>
            </a:extLst>
          </p:cNvPr>
          <p:cNvSpPr/>
          <p:nvPr/>
        </p:nvSpPr>
        <p:spPr>
          <a:xfrm>
            <a:off x="4586795" y="1924051"/>
            <a:ext cx="781178" cy="3781806"/>
          </a:xfrm>
          <a:prstGeom prst="roundRect">
            <a:avLst>
              <a:gd name="adj" fmla="val 50000"/>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9" name="文本框 8">
            <a:extLst>
              <a:ext uri="{FF2B5EF4-FFF2-40B4-BE49-F238E27FC236}">
                <a16:creationId xmlns:a16="http://schemas.microsoft.com/office/drawing/2014/main" id="{F090E1B8-3813-49F1-BCB6-EF68E6997B5C}"/>
              </a:ext>
            </a:extLst>
          </p:cNvPr>
          <p:cNvSpPr txBox="1"/>
          <p:nvPr/>
        </p:nvSpPr>
        <p:spPr>
          <a:xfrm>
            <a:off x="4792718" y="2119602"/>
            <a:ext cx="369332" cy="2769989"/>
          </a:xfrm>
          <a:prstGeom prst="rect">
            <a:avLst/>
          </a:prstGeom>
          <a:noFill/>
        </p:spPr>
        <p:txBody>
          <a:bodyPr vert="eaVert" wrap="none" lIns="0" tIns="0" rIns="0" bIns="0" rtlCol="0" anchor="t">
            <a:spAutoFit/>
          </a:bodyPr>
          <a:lstStyle/>
          <a:p>
            <a:r>
              <a:rPr lang="zh-CN" altLang="en-US" sz="2400" dirty="0">
                <a:solidFill>
                  <a:schemeClr val="accent1"/>
                </a:solidFill>
              </a:rPr>
              <a:t>在这里输入目录标题</a:t>
            </a:r>
          </a:p>
        </p:txBody>
      </p:sp>
      <p:sp>
        <p:nvSpPr>
          <p:cNvPr id="10" name="椭圆 9">
            <a:extLst>
              <a:ext uri="{FF2B5EF4-FFF2-40B4-BE49-F238E27FC236}">
                <a16:creationId xmlns:a16="http://schemas.microsoft.com/office/drawing/2014/main" id="{56311FCE-DF67-4076-9B08-194B0B259AAF}"/>
              </a:ext>
            </a:extLst>
          </p:cNvPr>
          <p:cNvSpPr/>
          <p:nvPr/>
        </p:nvSpPr>
        <p:spPr>
          <a:xfrm>
            <a:off x="4692944" y="5013284"/>
            <a:ext cx="568880" cy="56888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050" dirty="0">
                <a:solidFill>
                  <a:schemeClr val="bg1"/>
                </a:solidFill>
                <a:latin typeface="+mj-ea"/>
                <a:ea typeface="+mj-ea"/>
              </a:rPr>
              <a:t>02</a:t>
            </a:r>
            <a:endParaRPr lang="zh-CN" altLang="en-US" sz="1050" dirty="0">
              <a:solidFill>
                <a:schemeClr val="bg1"/>
              </a:solidFill>
              <a:latin typeface="+mj-ea"/>
              <a:ea typeface="+mj-ea"/>
            </a:endParaRPr>
          </a:p>
        </p:txBody>
      </p:sp>
      <p:sp>
        <p:nvSpPr>
          <p:cNvPr id="13" name="矩形: 圆角 12">
            <a:extLst>
              <a:ext uri="{FF2B5EF4-FFF2-40B4-BE49-F238E27FC236}">
                <a16:creationId xmlns:a16="http://schemas.microsoft.com/office/drawing/2014/main" id="{1DD886A5-436B-4605-BA9B-C5631DBC473B}"/>
              </a:ext>
            </a:extLst>
          </p:cNvPr>
          <p:cNvSpPr/>
          <p:nvPr/>
        </p:nvSpPr>
        <p:spPr>
          <a:xfrm>
            <a:off x="6824027" y="1924051"/>
            <a:ext cx="781178" cy="3781806"/>
          </a:xfrm>
          <a:prstGeom prst="roundRect">
            <a:avLst>
              <a:gd name="adj" fmla="val 50000"/>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14" name="文本框 13">
            <a:extLst>
              <a:ext uri="{FF2B5EF4-FFF2-40B4-BE49-F238E27FC236}">
                <a16:creationId xmlns:a16="http://schemas.microsoft.com/office/drawing/2014/main" id="{29C5692B-49A6-4A59-BA3F-D58EE0F0DF6E}"/>
              </a:ext>
            </a:extLst>
          </p:cNvPr>
          <p:cNvSpPr txBox="1"/>
          <p:nvPr/>
        </p:nvSpPr>
        <p:spPr>
          <a:xfrm>
            <a:off x="7029950" y="2735818"/>
            <a:ext cx="369332" cy="2769989"/>
          </a:xfrm>
          <a:prstGeom prst="rect">
            <a:avLst/>
          </a:prstGeom>
          <a:noFill/>
        </p:spPr>
        <p:txBody>
          <a:bodyPr vert="eaVert" wrap="none" lIns="0" tIns="0" rIns="0" bIns="0" rtlCol="0" anchor="t">
            <a:spAutoFit/>
          </a:bodyPr>
          <a:lstStyle/>
          <a:p>
            <a:r>
              <a:rPr lang="zh-CN" altLang="en-US" sz="2400" dirty="0">
                <a:solidFill>
                  <a:schemeClr val="accent1"/>
                </a:solidFill>
              </a:rPr>
              <a:t>在这里输入目录标题</a:t>
            </a:r>
          </a:p>
        </p:txBody>
      </p:sp>
      <p:sp>
        <p:nvSpPr>
          <p:cNvPr id="15" name="椭圆 14">
            <a:extLst>
              <a:ext uri="{FF2B5EF4-FFF2-40B4-BE49-F238E27FC236}">
                <a16:creationId xmlns:a16="http://schemas.microsoft.com/office/drawing/2014/main" id="{D1AB5B6F-6991-4377-AC81-A46551B8EA1A}"/>
              </a:ext>
            </a:extLst>
          </p:cNvPr>
          <p:cNvSpPr/>
          <p:nvPr/>
        </p:nvSpPr>
        <p:spPr>
          <a:xfrm>
            <a:off x="6930176" y="2045494"/>
            <a:ext cx="568880" cy="56888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050" dirty="0">
                <a:solidFill>
                  <a:schemeClr val="bg1"/>
                </a:solidFill>
                <a:latin typeface="+mj-ea"/>
                <a:ea typeface="+mj-ea"/>
              </a:rPr>
              <a:t>03</a:t>
            </a:r>
            <a:endParaRPr lang="zh-CN" altLang="en-US" sz="1050" dirty="0">
              <a:solidFill>
                <a:schemeClr val="bg1"/>
              </a:solidFill>
              <a:latin typeface="+mj-ea"/>
              <a:ea typeface="+mj-ea"/>
            </a:endParaRPr>
          </a:p>
        </p:txBody>
      </p:sp>
      <p:sp>
        <p:nvSpPr>
          <p:cNvPr id="16" name="矩形: 圆角 15">
            <a:extLst>
              <a:ext uri="{FF2B5EF4-FFF2-40B4-BE49-F238E27FC236}">
                <a16:creationId xmlns:a16="http://schemas.microsoft.com/office/drawing/2014/main" id="{4AE3131A-0E8D-4895-A908-4844605C0E25}"/>
              </a:ext>
            </a:extLst>
          </p:cNvPr>
          <p:cNvSpPr/>
          <p:nvPr/>
        </p:nvSpPr>
        <p:spPr>
          <a:xfrm>
            <a:off x="9061259" y="1924051"/>
            <a:ext cx="781178" cy="3781806"/>
          </a:xfrm>
          <a:prstGeom prst="roundRect">
            <a:avLst>
              <a:gd name="adj" fmla="val 50000"/>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17" name="文本框 16">
            <a:extLst>
              <a:ext uri="{FF2B5EF4-FFF2-40B4-BE49-F238E27FC236}">
                <a16:creationId xmlns:a16="http://schemas.microsoft.com/office/drawing/2014/main" id="{4E4663FF-894F-436C-9E4B-D5AC55D5AB2D}"/>
              </a:ext>
            </a:extLst>
          </p:cNvPr>
          <p:cNvSpPr txBox="1"/>
          <p:nvPr/>
        </p:nvSpPr>
        <p:spPr>
          <a:xfrm>
            <a:off x="9267182" y="2119602"/>
            <a:ext cx="369332" cy="2769989"/>
          </a:xfrm>
          <a:prstGeom prst="rect">
            <a:avLst/>
          </a:prstGeom>
          <a:noFill/>
        </p:spPr>
        <p:txBody>
          <a:bodyPr vert="eaVert" wrap="none" lIns="0" tIns="0" rIns="0" bIns="0" rtlCol="0" anchor="t">
            <a:spAutoFit/>
          </a:bodyPr>
          <a:lstStyle/>
          <a:p>
            <a:r>
              <a:rPr lang="zh-CN" altLang="en-US" sz="2400" dirty="0">
                <a:solidFill>
                  <a:schemeClr val="accent1"/>
                </a:solidFill>
              </a:rPr>
              <a:t>在这里输入目录标题</a:t>
            </a:r>
          </a:p>
        </p:txBody>
      </p:sp>
      <p:sp>
        <p:nvSpPr>
          <p:cNvPr id="18" name="椭圆 17">
            <a:extLst>
              <a:ext uri="{FF2B5EF4-FFF2-40B4-BE49-F238E27FC236}">
                <a16:creationId xmlns:a16="http://schemas.microsoft.com/office/drawing/2014/main" id="{3EA94A18-B264-4443-91DA-EE9970906B6A}"/>
              </a:ext>
            </a:extLst>
          </p:cNvPr>
          <p:cNvSpPr/>
          <p:nvPr/>
        </p:nvSpPr>
        <p:spPr>
          <a:xfrm>
            <a:off x="9167408" y="5013284"/>
            <a:ext cx="568880" cy="56888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050" dirty="0">
                <a:solidFill>
                  <a:schemeClr val="bg1"/>
                </a:solidFill>
                <a:latin typeface="+mj-ea"/>
                <a:ea typeface="+mj-ea"/>
              </a:rPr>
              <a:t>04</a:t>
            </a:r>
            <a:endParaRPr lang="zh-CN" altLang="en-US" sz="1050" dirty="0">
              <a:solidFill>
                <a:schemeClr val="bg1"/>
              </a:solidFill>
              <a:latin typeface="+mj-ea"/>
              <a:ea typeface="+mj-ea"/>
            </a:endParaRPr>
          </a:p>
        </p:txBody>
      </p:sp>
    </p:spTree>
    <p:extLst>
      <p:ext uri="{BB962C8B-B14F-4D97-AF65-F5344CB8AC3E}">
        <p14:creationId xmlns:p14="http://schemas.microsoft.com/office/powerpoint/2010/main" val="583628536"/>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文本框 10">
            <a:extLst>
              <a:ext uri="{FF2B5EF4-FFF2-40B4-BE49-F238E27FC236}">
                <a16:creationId xmlns:a16="http://schemas.microsoft.com/office/drawing/2014/main" id="{E4393356-E9A7-46D9-B5F5-0D21EC991A29}"/>
              </a:ext>
            </a:extLst>
          </p:cNvPr>
          <p:cNvSpPr txBox="1"/>
          <p:nvPr/>
        </p:nvSpPr>
        <p:spPr>
          <a:xfrm>
            <a:off x="2089737" y="2689431"/>
            <a:ext cx="8309967" cy="1107996"/>
          </a:xfrm>
          <a:prstGeom prst="rect">
            <a:avLst/>
          </a:prstGeom>
          <a:noFill/>
        </p:spPr>
        <p:txBody>
          <a:bodyPr wrap="none" lIns="0" tIns="0" rIns="0" bIns="0" rtlCol="0" anchor="t">
            <a:spAutoFit/>
          </a:bodyPr>
          <a:lstStyle/>
          <a:p>
            <a:pPr algn="ctr"/>
            <a:r>
              <a:rPr lang="zh-CN" altLang="en-US" sz="7200" dirty="0">
                <a:solidFill>
                  <a:schemeClr val="accent1">
                    <a:lumMod val="100000"/>
                  </a:schemeClr>
                </a:solidFill>
                <a:latin typeface="+mj-ea"/>
                <a:ea typeface="+mj-ea"/>
              </a:rPr>
              <a:t>输入你的封面大标题</a:t>
            </a:r>
          </a:p>
        </p:txBody>
      </p:sp>
      <p:sp>
        <p:nvSpPr>
          <p:cNvPr id="12" name="文本框 11">
            <a:extLst>
              <a:ext uri="{FF2B5EF4-FFF2-40B4-BE49-F238E27FC236}">
                <a16:creationId xmlns:a16="http://schemas.microsoft.com/office/drawing/2014/main" id="{08D1ED60-C0E7-408E-A5AA-59B489440FCB}"/>
              </a:ext>
            </a:extLst>
          </p:cNvPr>
          <p:cNvSpPr txBox="1"/>
          <p:nvPr/>
        </p:nvSpPr>
        <p:spPr>
          <a:xfrm>
            <a:off x="2193483" y="2282654"/>
            <a:ext cx="2154436" cy="369332"/>
          </a:xfrm>
          <a:prstGeom prst="rect">
            <a:avLst/>
          </a:prstGeom>
          <a:noFill/>
        </p:spPr>
        <p:txBody>
          <a:bodyPr wrap="none" lIns="0" tIns="0" rIns="0" bIns="0" rtlCol="0" anchor="t">
            <a:spAutoFit/>
          </a:bodyPr>
          <a:lstStyle/>
          <a:p>
            <a:r>
              <a:rPr lang="zh-CN" altLang="en-US" sz="2400" dirty="0">
                <a:solidFill>
                  <a:schemeClr val="accent1">
                    <a:lumMod val="100000"/>
                  </a:schemeClr>
                </a:solidFill>
                <a:latin typeface="+mn-ea"/>
              </a:rPr>
              <a:t>输入你的副标题</a:t>
            </a:r>
          </a:p>
        </p:txBody>
      </p:sp>
      <p:grpSp>
        <p:nvGrpSpPr>
          <p:cNvPr id="18" name="组合 17">
            <a:extLst>
              <a:ext uri="{FF2B5EF4-FFF2-40B4-BE49-F238E27FC236}">
                <a16:creationId xmlns:a16="http://schemas.microsoft.com/office/drawing/2014/main" id="{FC799265-AC15-410F-82A2-679AB60B288F}"/>
              </a:ext>
            </a:extLst>
          </p:cNvPr>
          <p:cNvGrpSpPr/>
          <p:nvPr/>
        </p:nvGrpSpPr>
        <p:grpSpPr>
          <a:xfrm>
            <a:off x="2185987" y="3964841"/>
            <a:ext cx="1475214" cy="246221"/>
            <a:chOff x="4095451" y="4640913"/>
            <a:chExt cx="1475214" cy="246221"/>
          </a:xfrm>
        </p:grpSpPr>
        <p:sp>
          <p:nvSpPr>
            <p:cNvPr id="16" name="矩形 15">
              <a:extLst>
                <a:ext uri="{FF2B5EF4-FFF2-40B4-BE49-F238E27FC236}">
                  <a16:creationId xmlns:a16="http://schemas.microsoft.com/office/drawing/2014/main" id="{74C493E7-1B47-4349-BC5B-BF3163490795}"/>
                </a:ext>
              </a:extLst>
            </p:cNvPr>
            <p:cNvSpPr/>
            <p:nvPr/>
          </p:nvSpPr>
          <p:spPr>
            <a:xfrm>
              <a:off x="4095451" y="4672584"/>
              <a:ext cx="164592" cy="164592"/>
            </a:xfrm>
            <a:prstGeom prst="rect">
              <a:avLst/>
            </a:prstGeom>
            <a:solidFill>
              <a:schemeClr val="accent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p>
          </p:txBody>
        </p:sp>
        <p:sp>
          <p:nvSpPr>
            <p:cNvPr id="17" name="文本框 16">
              <a:extLst>
                <a:ext uri="{FF2B5EF4-FFF2-40B4-BE49-F238E27FC236}">
                  <a16:creationId xmlns:a16="http://schemas.microsoft.com/office/drawing/2014/main" id="{B804F6AA-7656-4EF8-84F0-3B3FB5CF0922}"/>
                </a:ext>
              </a:extLst>
            </p:cNvPr>
            <p:cNvSpPr txBox="1"/>
            <p:nvPr/>
          </p:nvSpPr>
          <p:spPr>
            <a:xfrm>
              <a:off x="4408487" y="4640913"/>
              <a:ext cx="1162178" cy="246221"/>
            </a:xfrm>
            <a:prstGeom prst="rect">
              <a:avLst/>
            </a:prstGeom>
            <a:noFill/>
          </p:spPr>
          <p:txBody>
            <a:bodyPr wrap="none" lIns="0" tIns="0" rIns="0" bIns="0" rtlCol="0" anchor="t">
              <a:spAutoFit/>
            </a:bodyPr>
            <a:lstStyle/>
            <a:p>
              <a:r>
                <a:rPr lang="zh-CN" altLang="en-US" sz="1600" dirty="0">
                  <a:solidFill>
                    <a:schemeClr val="accent1">
                      <a:lumMod val="100000"/>
                    </a:schemeClr>
                  </a:solidFill>
                  <a:latin typeface="+mn-ea"/>
                </a:rPr>
                <a:t>汇报人：</a:t>
              </a:r>
              <a:r>
                <a:rPr lang="en-US" altLang="zh-CN" sz="1600" dirty="0">
                  <a:solidFill>
                    <a:schemeClr val="accent1">
                      <a:lumMod val="100000"/>
                    </a:schemeClr>
                  </a:solidFill>
                  <a:latin typeface="+mn-ea"/>
                </a:rPr>
                <a:t>xxx</a:t>
              </a:r>
              <a:endParaRPr lang="zh-CN" altLang="en-US" sz="1600" dirty="0">
                <a:solidFill>
                  <a:schemeClr val="accent1">
                    <a:lumMod val="100000"/>
                  </a:schemeClr>
                </a:solidFill>
                <a:latin typeface="+mn-ea"/>
              </a:endParaRPr>
            </a:p>
          </p:txBody>
        </p:sp>
      </p:grpSp>
      <p:grpSp>
        <p:nvGrpSpPr>
          <p:cNvPr id="19" name="组合 18">
            <a:extLst>
              <a:ext uri="{FF2B5EF4-FFF2-40B4-BE49-F238E27FC236}">
                <a16:creationId xmlns:a16="http://schemas.microsoft.com/office/drawing/2014/main" id="{482B1619-178E-45D1-BC39-C5F4314075B6}"/>
              </a:ext>
            </a:extLst>
          </p:cNvPr>
          <p:cNvGrpSpPr/>
          <p:nvPr/>
        </p:nvGrpSpPr>
        <p:grpSpPr>
          <a:xfrm>
            <a:off x="2185987" y="4431230"/>
            <a:ext cx="1270029" cy="246221"/>
            <a:chOff x="4095451" y="4640913"/>
            <a:chExt cx="1270029" cy="246221"/>
          </a:xfrm>
        </p:grpSpPr>
        <p:sp>
          <p:nvSpPr>
            <p:cNvPr id="20" name="矩形 19">
              <a:extLst>
                <a:ext uri="{FF2B5EF4-FFF2-40B4-BE49-F238E27FC236}">
                  <a16:creationId xmlns:a16="http://schemas.microsoft.com/office/drawing/2014/main" id="{3A1AE345-38CE-49BE-9E58-2C20078777A3}"/>
                </a:ext>
              </a:extLst>
            </p:cNvPr>
            <p:cNvSpPr/>
            <p:nvPr/>
          </p:nvSpPr>
          <p:spPr>
            <a:xfrm>
              <a:off x="4095451" y="4672584"/>
              <a:ext cx="164592" cy="164592"/>
            </a:xfrm>
            <a:prstGeom prst="rect">
              <a:avLst/>
            </a:prstGeom>
            <a:solidFill>
              <a:schemeClr val="accent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p>
          </p:txBody>
        </p:sp>
        <p:sp>
          <p:nvSpPr>
            <p:cNvPr id="21" name="文本框 20">
              <a:extLst>
                <a:ext uri="{FF2B5EF4-FFF2-40B4-BE49-F238E27FC236}">
                  <a16:creationId xmlns:a16="http://schemas.microsoft.com/office/drawing/2014/main" id="{FCC3031D-C171-43E7-B549-82FC96054817}"/>
                </a:ext>
              </a:extLst>
            </p:cNvPr>
            <p:cNvSpPr txBox="1"/>
            <p:nvPr/>
          </p:nvSpPr>
          <p:spPr>
            <a:xfrm>
              <a:off x="4408487" y="4640913"/>
              <a:ext cx="956993" cy="246221"/>
            </a:xfrm>
            <a:prstGeom prst="rect">
              <a:avLst/>
            </a:prstGeom>
            <a:noFill/>
          </p:spPr>
          <p:txBody>
            <a:bodyPr wrap="none" lIns="0" tIns="0" rIns="0" bIns="0" rtlCol="0" anchor="t">
              <a:spAutoFit/>
            </a:bodyPr>
            <a:lstStyle/>
            <a:p>
              <a:r>
                <a:rPr lang="zh-CN" altLang="en-US" sz="1600" dirty="0">
                  <a:solidFill>
                    <a:schemeClr val="accent1">
                      <a:lumMod val="100000"/>
                    </a:schemeClr>
                  </a:solidFill>
                  <a:latin typeface="+mn-ea"/>
                </a:rPr>
                <a:t>单位：</a:t>
              </a:r>
              <a:r>
                <a:rPr lang="en-US" altLang="zh-CN" sz="1600" dirty="0">
                  <a:solidFill>
                    <a:schemeClr val="accent1">
                      <a:lumMod val="100000"/>
                    </a:schemeClr>
                  </a:solidFill>
                  <a:latin typeface="+mn-ea"/>
                </a:rPr>
                <a:t>xxx</a:t>
              </a:r>
              <a:endParaRPr lang="zh-CN" altLang="en-US" sz="1600" dirty="0">
                <a:solidFill>
                  <a:schemeClr val="accent1">
                    <a:lumMod val="100000"/>
                  </a:schemeClr>
                </a:solidFill>
                <a:latin typeface="+mn-ea"/>
              </a:endParaRPr>
            </a:p>
          </p:txBody>
        </p:sp>
      </p:grpSp>
      <p:grpSp>
        <p:nvGrpSpPr>
          <p:cNvPr id="5" name="组合 4">
            <a:extLst>
              <a:ext uri="{FF2B5EF4-FFF2-40B4-BE49-F238E27FC236}">
                <a16:creationId xmlns:a16="http://schemas.microsoft.com/office/drawing/2014/main" id="{45B368D5-ED72-4E19-82EE-3F4F53FE1921}"/>
              </a:ext>
            </a:extLst>
          </p:cNvPr>
          <p:cNvGrpSpPr/>
          <p:nvPr/>
        </p:nvGrpSpPr>
        <p:grpSpPr>
          <a:xfrm>
            <a:off x="1792296" y="1476375"/>
            <a:ext cx="3023835" cy="3419475"/>
            <a:chOff x="942623" y="902047"/>
            <a:chExt cx="3090862" cy="4541207"/>
          </a:xfrm>
        </p:grpSpPr>
        <p:cxnSp>
          <p:nvCxnSpPr>
            <p:cNvPr id="22" name="直接连接符 49">
              <a:extLst>
                <a:ext uri="{FF2B5EF4-FFF2-40B4-BE49-F238E27FC236}">
                  <a16:creationId xmlns:a16="http://schemas.microsoft.com/office/drawing/2014/main" id="{90B59CF2-38B4-420F-BBDF-D7F28633D981}"/>
                </a:ext>
              </a:extLst>
            </p:cNvPr>
            <p:cNvCxnSpPr/>
            <p:nvPr/>
          </p:nvCxnSpPr>
          <p:spPr>
            <a:xfrm>
              <a:off x="942623" y="902047"/>
              <a:ext cx="3090862" cy="0"/>
            </a:xfrm>
            <a:prstGeom prst="line">
              <a:avLst/>
            </a:prstGeom>
            <a:ln w="34925" cap="sq">
              <a:solidFill>
                <a:schemeClr val="accent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23" name="直接连接符 50">
              <a:extLst>
                <a:ext uri="{FF2B5EF4-FFF2-40B4-BE49-F238E27FC236}">
                  <a16:creationId xmlns:a16="http://schemas.microsoft.com/office/drawing/2014/main" id="{BE381DA9-3999-47AF-902B-83A6A2D04114}"/>
                </a:ext>
              </a:extLst>
            </p:cNvPr>
            <p:cNvCxnSpPr>
              <a:cxnSpLocks/>
            </p:cNvCxnSpPr>
            <p:nvPr/>
          </p:nvCxnSpPr>
          <p:spPr>
            <a:xfrm>
              <a:off x="942623" y="5443254"/>
              <a:ext cx="3089627" cy="0"/>
            </a:xfrm>
            <a:prstGeom prst="line">
              <a:avLst/>
            </a:prstGeom>
            <a:ln w="34925" cap="sq">
              <a:solidFill>
                <a:schemeClr val="accent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24" name="直接连接符 51">
              <a:extLst>
                <a:ext uri="{FF2B5EF4-FFF2-40B4-BE49-F238E27FC236}">
                  <a16:creationId xmlns:a16="http://schemas.microsoft.com/office/drawing/2014/main" id="{50F5782F-2214-4C92-9527-3BFAF9DB4CF1}"/>
                </a:ext>
              </a:extLst>
            </p:cNvPr>
            <p:cNvCxnSpPr>
              <a:cxnSpLocks/>
            </p:cNvCxnSpPr>
            <p:nvPr/>
          </p:nvCxnSpPr>
          <p:spPr>
            <a:xfrm>
              <a:off x="942623" y="902047"/>
              <a:ext cx="0" cy="4541207"/>
            </a:xfrm>
            <a:prstGeom prst="line">
              <a:avLst/>
            </a:prstGeom>
            <a:ln w="34925" cap="sq">
              <a:solidFill>
                <a:schemeClr val="accent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25" name="直接连接符 52">
              <a:extLst>
                <a:ext uri="{FF2B5EF4-FFF2-40B4-BE49-F238E27FC236}">
                  <a16:creationId xmlns:a16="http://schemas.microsoft.com/office/drawing/2014/main" id="{D3B3C7D5-4AFA-4E8F-852E-87FD20711793}"/>
                </a:ext>
              </a:extLst>
            </p:cNvPr>
            <p:cNvCxnSpPr>
              <a:cxnSpLocks/>
            </p:cNvCxnSpPr>
            <p:nvPr/>
          </p:nvCxnSpPr>
          <p:spPr>
            <a:xfrm>
              <a:off x="4033485" y="902047"/>
              <a:ext cx="0" cy="1388657"/>
            </a:xfrm>
            <a:prstGeom prst="line">
              <a:avLst/>
            </a:prstGeom>
            <a:ln w="34925" cap="sq">
              <a:solidFill>
                <a:schemeClr val="accent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26" name="直接连接符 53">
              <a:extLst>
                <a:ext uri="{FF2B5EF4-FFF2-40B4-BE49-F238E27FC236}">
                  <a16:creationId xmlns:a16="http://schemas.microsoft.com/office/drawing/2014/main" id="{BCFC068B-6BF5-4720-B040-7C61A02A78C8}"/>
                </a:ext>
              </a:extLst>
            </p:cNvPr>
            <p:cNvCxnSpPr>
              <a:cxnSpLocks/>
            </p:cNvCxnSpPr>
            <p:nvPr/>
          </p:nvCxnSpPr>
          <p:spPr>
            <a:xfrm>
              <a:off x="4033485" y="4275581"/>
              <a:ext cx="0" cy="1163194"/>
            </a:xfrm>
            <a:prstGeom prst="line">
              <a:avLst/>
            </a:prstGeom>
            <a:ln w="34925" cap="sq">
              <a:solidFill>
                <a:schemeClr val="accent1">
                  <a:lumMod val="75000"/>
                  <a:lumOff val="2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046893792"/>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圆角 1">
            <a:extLst>
              <a:ext uri="{FF2B5EF4-FFF2-40B4-BE49-F238E27FC236}">
                <a16:creationId xmlns:a16="http://schemas.microsoft.com/office/drawing/2014/main" id="{7244831A-9F80-469F-9B86-3434F42AF83E}"/>
              </a:ext>
            </a:extLst>
          </p:cNvPr>
          <p:cNvSpPr/>
          <p:nvPr/>
        </p:nvSpPr>
        <p:spPr>
          <a:xfrm>
            <a:off x="2378741" y="1566211"/>
            <a:ext cx="1858630" cy="2852491"/>
          </a:xfrm>
          <a:custGeom>
            <a:avLst/>
            <a:gdLst>
              <a:gd name="connsiteX0" fmla="*/ 0 w 1858630"/>
              <a:gd name="connsiteY0" fmla="*/ 929315 h 3781806"/>
              <a:gd name="connsiteX1" fmla="*/ 929315 w 1858630"/>
              <a:gd name="connsiteY1" fmla="*/ 0 h 3781806"/>
              <a:gd name="connsiteX2" fmla="*/ 929315 w 1858630"/>
              <a:gd name="connsiteY2" fmla="*/ 0 h 3781806"/>
              <a:gd name="connsiteX3" fmla="*/ 1858630 w 1858630"/>
              <a:gd name="connsiteY3" fmla="*/ 929315 h 3781806"/>
              <a:gd name="connsiteX4" fmla="*/ 1858630 w 1858630"/>
              <a:gd name="connsiteY4" fmla="*/ 2852491 h 3781806"/>
              <a:gd name="connsiteX5" fmla="*/ 929315 w 1858630"/>
              <a:gd name="connsiteY5" fmla="*/ 3781806 h 3781806"/>
              <a:gd name="connsiteX6" fmla="*/ 929315 w 1858630"/>
              <a:gd name="connsiteY6" fmla="*/ 3781806 h 3781806"/>
              <a:gd name="connsiteX7" fmla="*/ 0 w 1858630"/>
              <a:gd name="connsiteY7" fmla="*/ 2852491 h 3781806"/>
              <a:gd name="connsiteX8" fmla="*/ 0 w 1858630"/>
              <a:gd name="connsiteY8" fmla="*/ 929315 h 3781806"/>
              <a:gd name="connsiteX0" fmla="*/ 929315 w 1858630"/>
              <a:gd name="connsiteY0" fmla="*/ 3781806 h 3873246"/>
              <a:gd name="connsiteX1" fmla="*/ 0 w 1858630"/>
              <a:gd name="connsiteY1" fmla="*/ 2852491 h 3873246"/>
              <a:gd name="connsiteX2" fmla="*/ 0 w 1858630"/>
              <a:gd name="connsiteY2" fmla="*/ 929315 h 3873246"/>
              <a:gd name="connsiteX3" fmla="*/ 929315 w 1858630"/>
              <a:gd name="connsiteY3" fmla="*/ 0 h 3873246"/>
              <a:gd name="connsiteX4" fmla="*/ 929315 w 1858630"/>
              <a:gd name="connsiteY4" fmla="*/ 0 h 3873246"/>
              <a:gd name="connsiteX5" fmla="*/ 1858630 w 1858630"/>
              <a:gd name="connsiteY5" fmla="*/ 929315 h 3873246"/>
              <a:gd name="connsiteX6" fmla="*/ 1858630 w 1858630"/>
              <a:gd name="connsiteY6" fmla="*/ 2852491 h 3873246"/>
              <a:gd name="connsiteX7" fmla="*/ 929315 w 1858630"/>
              <a:gd name="connsiteY7" fmla="*/ 3781806 h 3873246"/>
              <a:gd name="connsiteX8" fmla="*/ 1020755 w 1858630"/>
              <a:gd name="connsiteY8" fmla="*/ 3873246 h 3873246"/>
              <a:gd name="connsiteX0" fmla="*/ 929315 w 1858630"/>
              <a:gd name="connsiteY0" fmla="*/ 3781806 h 3781806"/>
              <a:gd name="connsiteX1" fmla="*/ 0 w 1858630"/>
              <a:gd name="connsiteY1" fmla="*/ 2852491 h 3781806"/>
              <a:gd name="connsiteX2" fmla="*/ 0 w 1858630"/>
              <a:gd name="connsiteY2" fmla="*/ 929315 h 3781806"/>
              <a:gd name="connsiteX3" fmla="*/ 929315 w 1858630"/>
              <a:gd name="connsiteY3" fmla="*/ 0 h 3781806"/>
              <a:gd name="connsiteX4" fmla="*/ 929315 w 1858630"/>
              <a:gd name="connsiteY4" fmla="*/ 0 h 3781806"/>
              <a:gd name="connsiteX5" fmla="*/ 1858630 w 1858630"/>
              <a:gd name="connsiteY5" fmla="*/ 929315 h 3781806"/>
              <a:gd name="connsiteX6" fmla="*/ 1858630 w 1858630"/>
              <a:gd name="connsiteY6" fmla="*/ 2852491 h 3781806"/>
              <a:gd name="connsiteX7" fmla="*/ 929315 w 1858630"/>
              <a:gd name="connsiteY7" fmla="*/ 3781806 h 3781806"/>
              <a:gd name="connsiteX0" fmla="*/ 929315 w 1858630"/>
              <a:gd name="connsiteY0" fmla="*/ 3781806 h 3781806"/>
              <a:gd name="connsiteX1" fmla="*/ 0 w 1858630"/>
              <a:gd name="connsiteY1" fmla="*/ 2852491 h 3781806"/>
              <a:gd name="connsiteX2" fmla="*/ 0 w 1858630"/>
              <a:gd name="connsiteY2" fmla="*/ 929315 h 3781806"/>
              <a:gd name="connsiteX3" fmla="*/ 929315 w 1858630"/>
              <a:gd name="connsiteY3" fmla="*/ 0 h 3781806"/>
              <a:gd name="connsiteX4" fmla="*/ 929315 w 1858630"/>
              <a:gd name="connsiteY4" fmla="*/ 0 h 3781806"/>
              <a:gd name="connsiteX5" fmla="*/ 1858630 w 1858630"/>
              <a:gd name="connsiteY5" fmla="*/ 929315 h 3781806"/>
              <a:gd name="connsiteX6" fmla="*/ 1858630 w 1858630"/>
              <a:gd name="connsiteY6" fmla="*/ 2852491 h 3781806"/>
              <a:gd name="connsiteX0" fmla="*/ 0 w 1858630"/>
              <a:gd name="connsiteY0" fmla="*/ 2852491 h 2852491"/>
              <a:gd name="connsiteX1" fmla="*/ 0 w 1858630"/>
              <a:gd name="connsiteY1" fmla="*/ 929315 h 2852491"/>
              <a:gd name="connsiteX2" fmla="*/ 929315 w 1858630"/>
              <a:gd name="connsiteY2" fmla="*/ 0 h 2852491"/>
              <a:gd name="connsiteX3" fmla="*/ 929315 w 1858630"/>
              <a:gd name="connsiteY3" fmla="*/ 0 h 2852491"/>
              <a:gd name="connsiteX4" fmla="*/ 1858630 w 1858630"/>
              <a:gd name="connsiteY4" fmla="*/ 929315 h 2852491"/>
              <a:gd name="connsiteX5" fmla="*/ 1858630 w 1858630"/>
              <a:gd name="connsiteY5" fmla="*/ 2852491 h 28524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58630" h="2852491">
                <a:moveTo>
                  <a:pt x="0" y="2852491"/>
                </a:moveTo>
                <a:lnTo>
                  <a:pt x="0" y="929315"/>
                </a:lnTo>
                <a:cubicBezTo>
                  <a:pt x="0" y="416068"/>
                  <a:pt x="416068" y="0"/>
                  <a:pt x="929315" y="0"/>
                </a:cubicBezTo>
                <a:lnTo>
                  <a:pt x="929315" y="0"/>
                </a:lnTo>
                <a:cubicBezTo>
                  <a:pt x="1442562" y="0"/>
                  <a:pt x="1858630" y="416068"/>
                  <a:pt x="1858630" y="929315"/>
                </a:cubicBezTo>
                <a:lnTo>
                  <a:pt x="1858630" y="2852491"/>
                </a:lnTo>
              </a:path>
            </a:pathLst>
          </a:custGeom>
          <a:noFill/>
          <a:ln w="19050">
            <a:solidFill>
              <a:schemeClr val="accent1"/>
            </a:solidFill>
            <a:head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7" name="矩形: 圆角 1">
            <a:extLst>
              <a:ext uri="{FF2B5EF4-FFF2-40B4-BE49-F238E27FC236}">
                <a16:creationId xmlns:a16="http://schemas.microsoft.com/office/drawing/2014/main" id="{A6EA3DEC-B463-42C4-85DD-D3A9CE16F7A9}"/>
              </a:ext>
            </a:extLst>
          </p:cNvPr>
          <p:cNvSpPr/>
          <p:nvPr/>
        </p:nvSpPr>
        <p:spPr>
          <a:xfrm flipV="1">
            <a:off x="4237370" y="3459019"/>
            <a:ext cx="1858630" cy="2852491"/>
          </a:xfrm>
          <a:custGeom>
            <a:avLst/>
            <a:gdLst>
              <a:gd name="connsiteX0" fmla="*/ 0 w 1858630"/>
              <a:gd name="connsiteY0" fmla="*/ 929315 h 3781806"/>
              <a:gd name="connsiteX1" fmla="*/ 929315 w 1858630"/>
              <a:gd name="connsiteY1" fmla="*/ 0 h 3781806"/>
              <a:gd name="connsiteX2" fmla="*/ 929315 w 1858630"/>
              <a:gd name="connsiteY2" fmla="*/ 0 h 3781806"/>
              <a:gd name="connsiteX3" fmla="*/ 1858630 w 1858630"/>
              <a:gd name="connsiteY3" fmla="*/ 929315 h 3781806"/>
              <a:gd name="connsiteX4" fmla="*/ 1858630 w 1858630"/>
              <a:gd name="connsiteY4" fmla="*/ 2852491 h 3781806"/>
              <a:gd name="connsiteX5" fmla="*/ 929315 w 1858630"/>
              <a:gd name="connsiteY5" fmla="*/ 3781806 h 3781806"/>
              <a:gd name="connsiteX6" fmla="*/ 929315 w 1858630"/>
              <a:gd name="connsiteY6" fmla="*/ 3781806 h 3781806"/>
              <a:gd name="connsiteX7" fmla="*/ 0 w 1858630"/>
              <a:gd name="connsiteY7" fmla="*/ 2852491 h 3781806"/>
              <a:gd name="connsiteX8" fmla="*/ 0 w 1858630"/>
              <a:gd name="connsiteY8" fmla="*/ 929315 h 3781806"/>
              <a:gd name="connsiteX0" fmla="*/ 929315 w 1858630"/>
              <a:gd name="connsiteY0" fmla="*/ 3781806 h 3873246"/>
              <a:gd name="connsiteX1" fmla="*/ 0 w 1858630"/>
              <a:gd name="connsiteY1" fmla="*/ 2852491 h 3873246"/>
              <a:gd name="connsiteX2" fmla="*/ 0 w 1858630"/>
              <a:gd name="connsiteY2" fmla="*/ 929315 h 3873246"/>
              <a:gd name="connsiteX3" fmla="*/ 929315 w 1858630"/>
              <a:gd name="connsiteY3" fmla="*/ 0 h 3873246"/>
              <a:gd name="connsiteX4" fmla="*/ 929315 w 1858630"/>
              <a:gd name="connsiteY4" fmla="*/ 0 h 3873246"/>
              <a:gd name="connsiteX5" fmla="*/ 1858630 w 1858630"/>
              <a:gd name="connsiteY5" fmla="*/ 929315 h 3873246"/>
              <a:gd name="connsiteX6" fmla="*/ 1858630 w 1858630"/>
              <a:gd name="connsiteY6" fmla="*/ 2852491 h 3873246"/>
              <a:gd name="connsiteX7" fmla="*/ 929315 w 1858630"/>
              <a:gd name="connsiteY7" fmla="*/ 3781806 h 3873246"/>
              <a:gd name="connsiteX8" fmla="*/ 1020755 w 1858630"/>
              <a:gd name="connsiteY8" fmla="*/ 3873246 h 3873246"/>
              <a:gd name="connsiteX0" fmla="*/ 929315 w 1858630"/>
              <a:gd name="connsiteY0" fmla="*/ 3781806 h 3781806"/>
              <a:gd name="connsiteX1" fmla="*/ 0 w 1858630"/>
              <a:gd name="connsiteY1" fmla="*/ 2852491 h 3781806"/>
              <a:gd name="connsiteX2" fmla="*/ 0 w 1858630"/>
              <a:gd name="connsiteY2" fmla="*/ 929315 h 3781806"/>
              <a:gd name="connsiteX3" fmla="*/ 929315 w 1858630"/>
              <a:gd name="connsiteY3" fmla="*/ 0 h 3781806"/>
              <a:gd name="connsiteX4" fmla="*/ 929315 w 1858630"/>
              <a:gd name="connsiteY4" fmla="*/ 0 h 3781806"/>
              <a:gd name="connsiteX5" fmla="*/ 1858630 w 1858630"/>
              <a:gd name="connsiteY5" fmla="*/ 929315 h 3781806"/>
              <a:gd name="connsiteX6" fmla="*/ 1858630 w 1858630"/>
              <a:gd name="connsiteY6" fmla="*/ 2852491 h 3781806"/>
              <a:gd name="connsiteX7" fmla="*/ 929315 w 1858630"/>
              <a:gd name="connsiteY7" fmla="*/ 3781806 h 3781806"/>
              <a:gd name="connsiteX0" fmla="*/ 929315 w 1858630"/>
              <a:gd name="connsiteY0" fmla="*/ 3781806 h 3781806"/>
              <a:gd name="connsiteX1" fmla="*/ 0 w 1858630"/>
              <a:gd name="connsiteY1" fmla="*/ 2852491 h 3781806"/>
              <a:gd name="connsiteX2" fmla="*/ 0 w 1858630"/>
              <a:gd name="connsiteY2" fmla="*/ 929315 h 3781806"/>
              <a:gd name="connsiteX3" fmla="*/ 929315 w 1858630"/>
              <a:gd name="connsiteY3" fmla="*/ 0 h 3781806"/>
              <a:gd name="connsiteX4" fmla="*/ 929315 w 1858630"/>
              <a:gd name="connsiteY4" fmla="*/ 0 h 3781806"/>
              <a:gd name="connsiteX5" fmla="*/ 1858630 w 1858630"/>
              <a:gd name="connsiteY5" fmla="*/ 929315 h 3781806"/>
              <a:gd name="connsiteX6" fmla="*/ 1858630 w 1858630"/>
              <a:gd name="connsiteY6" fmla="*/ 2852491 h 3781806"/>
              <a:gd name="connsiteX0" fmla="*/ 0 w 1858630"/>
              <a:gd name="connsiteY0" fmla="*/ 2852491 h 2852491"/>
              <a:gd name="connsiteX1" fmla="*/ 0 w 1858630"/>
              <a:gd name="connsiteY1" fmla="*/ 929315 h 2852491"/>
              <a:gd name="connsiteX2" fmla="*/ 929315 w 1858630"/>
              <a:gd name="connsiteY2" fmla="*/ 0 h 2852491"/>
              <a:gd name="connsiteX3" fmla="*/ 929315 w 1858630"/>
              <a:gd name="connsiteY3" fmla="*/ 0 h 2852491"/>
              <a:gd name="connsiteX4" fmla="*/ 1858630 w 1858630"/>
              <a:gd name="connsiteY4" fmla="*/ 929315 h 2852491"/>
              <a:gd name="connsiteX5" fmla="*/ 1858630 w 1858630"/>
              <a:gd name="connsiteY5" fmla="*/ 2852491 h 28524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58630" h="2852491">
                <a:moveTo>
                  <a:pt x="0" y="2852491"/>
                </a:moveTo>
                <a:lnTo>
                  <a:pt x="0" y="929315"/>
                </a:lnTo>
                <a:cubicBezTo>
                  <a:pt x="0" y="416068"/>
                  <a:pt x="416068" y="0"/>
                  <a:pt x="929315" y="0"/>
                </a:cubicBezTo>
                <a:lnTo>
                  <a:pt x="929315" y="0"/>
                </a:lnTo>
                <a:cubicBezTo>
                  <a:pt x="1442562" y="0"/>
                  <a:pt x="1858630" y="416068"/>
                  <a:pt x="1858630" y="929315"/>
                </a:cubicBezTo>
                <a:lnTo>
                  <a:pt x="1858630" y="2852491"/>
                </a:lnTo>
              </a:path>
            </a:pathLst>
          </a:cu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8" name="矩形: 圆角 1">
            <a:extLst>
              <a:ext uri="{FF2B5EF4-FFF2-40B4-BE49-F238E27FC236}">
                <a16:creationId xmlns:a16="http://schemas.microsoft.com/office/drawing/2014/main" id="{B777E6F7-AD72-4C6C-A8E3-B7D8B672439E}"/>
              </a:ext>
            </a:extLst>
          </p:cNvPr>
          <p:cNvSpPr/>
          <p:nvPr/>
        </p:nvSpPr>
        <p:spPr>
          <a:xfrm>
            <a:off x="6096002" y="1566211"/>
            <a:ext cx="1858630" cy="2852491"/>
          </a:xfrm>
          <a:custGeom>
            <a:avLst/>
            <a:gdLst>
              <a:gd name="connsiteX0" fmla="*/ 0 w 1858630"/>
              <a:gd name="connsiteY0" fmla="*/ 929315 h 3781806"/>
              <a:gd name="connsiteX1" fmla="*/ 929315 w 1858630"/>
              <a:gd name="connsiteY1" fmla="*/ 0 h 3781806"/>
              <a:gd name="connsiteX2" fmla="*/ 929315 w 1858630"/>
              <a:gd name="connsiteY2" fmla="*/ 0 h 3781806"/>
              <a:gd name="connsiteX3" fmla="*/ 1858630 w 1858630"/>
              <a:gd name="connsiteY3" fmla="*/ 929315 h 3781806"/>
              <a:gd name="connsiteX4" fmla="*/ 1858630 w 1858630"/>
              <a:gd name="connsiteY4" fmla="*/ 2852491 h 3781806"/>
              <a:gd name="connsiteX5" fmla="*/ 929315 w 1858630"/>
              <a:gd name="connsiteY5" fmla="*/ 3781806 h 3781806"/>
              <a:gd name="connsiteX6" fmla="*/ 929315 w 1858630"/>
              <a:gd name="connsiteY6" fmla="*/ 3781806 h 3781806"/>
              <a:gd name="connsiteX7" fmla="*/ 0 w 1858630"/>
              <a:gd name="connsiteY7" fmla="*/ 2852491 h 3781806"/>
              <a:gd name="connsiteX8" fmla="*/ 0 w 1858630"/>
              <a:gd name="connsiteY8" fmla="*/ 929315 h 3781806"/>
              <a:gd name="connsiteX0" fmla="*/ 929315 w 1858630"/>
              <a:gd name="connsiteY0" fmla="*/ 3781806 h 3873246"/>
              <a:gd name="connsiteX1" fmla="*/ 0 w 1858630"/>
              <a:gd name="connsiteY1" fmla="*/ 2852491 h 3873246"/>
              <a:gd name="connsiteX2" fmla="*/ 0 w 1858630"/>
              <a:gd name="connsiteY2" fmla="*/ 929315 h 3873246"/>
              <a:gd name="connsiteX3" fmla="*/ 929315 w 1858630"/>
              <a:gd name="connsiteY3" fmla="*/ 0 h 3873246"/>
              <a:gd name="connsiteX4" fmla="*/ 929315 w 1858630"/>
              <a:gd name="connsiteY4" fmla="*/ 0 h 3873246"/>
              <a:gd name="connsiteX5" fmla="*/ 1858630 w 1858630"/>
              <a:gd name="connsiteY5" fmla="*/ 929315 h 3873246"/>
              <a:gd name="connsiteX6" fmla="*/ 1858630 w 1858630"/>
              <a:gd name="connsiteY6" fmla="*/ 2852491 h 3873246"/>
              <a:gd name="connsiteX7" fmla="*/ 929315 w 1858630"/>
              <a:gd name="connsiteY7" fmla="*/ 3781806 h 3873246"/>
              <a:gd name="connsiteX8" fmla="*/ 1020755 w 1858630"/>
              <a:gd name="connsiteY8" fmla="*/ 3873246 h 3873246"/>
              <a:gd name="connsiteX0" fmla="*/ 929315 w 1858630"/>
              <a:gd name="connsiteY0" fmla="*/ 3781806 h 3781806"/>
              <a:gd name="connsiteX1" fmla="*/ 0 w 1858630"/>
              <a:gd name="connsiteY1" fmla="*/ 2852491 h 3781806"/>
              <a:gd name="connsiteX2" fmla="*/ 0 w 1858630"/>
              <a:gd name="connsiteY2" fmla="*/ 929315 h 3781806"/>
              <a:gd name="connsiteX3" fmla="*/ 929315 w 1858630"/>
              <a:gd name="connsiteY3" fmla="*/ 0 h 3781806"/>
              <a:gd name="connsiteX4" fmla="*/ 929315 w 1858630"/>
              <a:gd name="connsiteY4" fmla="*/ 0 h 3781806"/>
              <a:gd name="connsiteX5" fmla="*/ 1858630 w 1858630"/>
              <a:gd name="connsiteY5" fmla="*/ 929315 h 3781806"/>
              <a:gd name="connsiteX6" fmla="*/ 1858630 w 1858630"/>
              <a:gd name="connsiteY6" fmla="*/ 2852491 h 3781806"/>
              <a:gd name="connsiteX7" fmla="*/ 929315 w 1858630"/>
              <a:gd name="connsiteY7" fmla="*/ 3781806 h 3781806"/>
              <a:gd name="connsiteX0" fmla="*/ 929315 w 1858630"/>
              <a:gd name="connsiteY0" fmla="*/ 3781806 h 3781806"/>
              <a:gd name="connsiteX1" fmla="*/ 0 w 1858630"/>
              <a:gd name="connsiteY1" fmla="*/ 2852491 h 3781806"/>
              <a:gd name="connsiteX2" fmla="*/ 0 w 1858630"/>
              <a:gd name="connsiteY2" fmla="*/ 929315 h 3781806"/>
              <a:gd name="connsiteX3" fmla="*/ 929315 w 1858630"/>
              <a:gd name="connsiteY3" fmla="*/ 0 h 3781806"/>
              <a:gd name="connsiteX4" fmla="*/ 929315 w 1858630"/>
              <a:gd name="connsiteY4" fmla="*/ 0 h 3781806"/>
              <a:gd name="connsiteX5" fmla="*/ 1858630 w 1858630"/>
              <a:gd name="connsiteY5" fmla="*/ 929315 h 3781806"/>
              <a:gd name="connsiteX6" fmla="*/ 1858630 w 1858630"/>
              <a:gd name="connsiteY6" fmla="*/ 2852491 h 3781806"/>
              <a:gd name="connsiteX0" fmla="*/ 0 w 1858630"/>
              <a:gd name="connsiteY0" fmla="*/ 2852491 h 2852491"/>
              <a:gd name="connsiteX1" fmla="*/ 0 w 1858630"/>
              <a:gd name="connsiteY1" fmla="*/ 929315 h 2852491"/>
              <a:gd name="connsiteX2" fmla="*/ 929315 w 1858630"/>
              <a:gd name="connsiteY2" fmla="*/ 0 h 2852491"/>
              <a:gd name="connsiteX3" fmla="*/ 929315 w 1858630"/>
              <a:gd name="connsiteY3" fmla="*/ 0 h 2852491"/>
              <a:gd name="connsiteX4" fmla="*/ 1858630 w 1858630"/>
              <a:gd name="connsiteY4" fmla="*/ 929315 h 2852491"/>
              <a:gd name="connsiteX5" fmla="*/ 1858630 w 1858630"/>
              <a:gd name="connsiteY5" fmla="*/ 2852491 h 28524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58630" h="2852491">
                <a:moveTo>
                  <a:pt x="0" y="2852491"/>
                </a:moveTo>
                <a:lnTo>
                  <a:pt x="0" y="929315"/>
                </a:lnTo>
                <a:cubicBezTo>
                  <a:pt x="0" y="416068"/>
                  <a:pt x="416068" y="0"/>
                  <a:pt x="929315" y="0"/>
                </a:cubicBezTo>
                <a:lnTo>
                  <a:pt x="929315" y="0"/>
                </a:lnTo>
                <a:cubicBezTo>
                  <a:pt x="1442562" y="0"/>
                  <a:pt x="1858630" y="416068"/>
                  <a:pt x="1858630" y="929315"/>
                </a:cubicBezTo>
                <a:lnTo>
                  <a:pt x="1858630" y="2852491"/>
                </a:lnTo>
              </a:path>
            </a:pathLst>
          </a:cu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9" name="矩形: 圆角 1">
            <a:extLst>
              <a:ext uri="{FF2B5EF4-FFF2-40B4-BE49-F238E27FC236}">
                <a16:creationId xmlns:a16="http://schemas.microsoft.com/office/drawing/2014/main" id="{DAB1E437-1A31-4364-9ED1-7EFB7242BD99}"/>
              </a:ext>
            </a:extLst>
          </p:cNvPr>
          <p:cNvSpPr/>
          <p:nvPr/>
        </p:nvSpPr>
        <p:spPr>
          <a:xfrm flipV="1">
            <a:off x="7954631" y="3459019"/>
            <a:ext cx="1858630" cy="2852491"/>
          </a:xfrm>
          <a:custGeom>
            <a:avLst/>
            <a:gdLst>
              <a:gd name="connsiteX0" fmla="*/ 0 w 1858630"/>
              <a:gd name="connsiteY0" fmla="*/ 929315 h 3781806"/>
              <a:gd name="connsiteX1" fmla="*/ 929315 w 1858630"/>
              <a:gd name="connsiteY1" fmla="*/ 0 h 3781806"/>
              <a:gd name="connsiteX2" fmla="*/ 929315 w 1858630"/>
              <a:gd name="connsiteY2" fmla="*/ 0 h 3781806"/>
              <a:gd name="connsiteX3" fmla="*/ 1858630 w 1858630"/>
              <a:gd name="connsiteY3" fmla="*/ 929315 h 3781806"/>
              <a:gd name="connsiteX4" fmla="*/ 1858630 w 1858630"/>
              <a:gd name="connsiteY4" fmla="*/ 2852491 h 3781806"/>
              <a:gd name="connsiteX5" fmla="*/ 929315 w 1858630"/>
              <a:gd name="connsiteY5" fmla="*/ 3781806 h 3781806"/>
              <a:gd name="connsiteX6" fmla="*/ 929315 w 1858630"/>
              <a:gd name="connsiteY6" fmla="*/ 3781806 h 3781806"/>
              <a:gd name="connsiteX7" fmla="*/ 0 w 1858630"/>
              <a:gd name="connsiteY7" fmla="*/ 2852491 h 3781806"/>
              <a:gd name="connsiteX8" fmla="*/ 0 w 1858630"/>
              <a:gd name="connsiteY8" fmla="*/ 929315 h 3781806"/>
              <a:gd name="connsiteX0" fmla="*/ 929315 w 1858630"/>
              <a:gd name="connsiteY0" fmla="*/ 3781806 h 3873246"/>
              <a:gd name="connsiteX1" fmla="*/ 0 w 1858630"/>
              <a:gd name="connsiteY1" fmla="*/ 2852491 h 3873246"/>
              <a:gd name="connsiteX2" fmla="*/ 0 w 1858630"/>
              <a:gd name="connsiteY2" fmla="*/ 929315 h 3873246"/>
              <a:gd name="connsiteX3" fmla="*/ 929315 w 1858630"/>
              <a:gd name="connsiteY3" fmla="*/ 0 h 3873246"/>
              <a:gd name="connsiteX4" fmla="*/ 929315 w 1858630"/>
              <a:gd name="connsiteY4" fmla="*/ 0 h 3873246"/>
              <a:gd name="connsiteX5" fmla="*/ 1858630 w 1858630"/>
              <a:gd name="connsiteY5" fmla="*/ 929315 h 3873246"/>
              <a:gd name="connsiteX6" fmla="*/ 1858630 w 1858630"/>
              <a:gd name="connsiteY6" fmla="*/ 2852491 h 3873246"/>
              <a:gd name="connsiteX7" fmla="*/ 929315 w 1858630"/>
              <a:gd name="connsiteY7" fmla="*/ 3781806 h 3873246"/>
              <a:gd name="connsiteX8" fmla="*/ 1020755 w 1858630"/>
              <a:gd name="connsiteY8" fmla="*/ 3873246 h 3873246"/>
              <a:gd name="connsiteX0" fmla="*/ 929315 w 1858630"/>
              <a:gd name="connsiteY0" fmla="*/ 3781806 h 3781806"/>
              <a:gd name="connsiteX1" fmla="*/ 0 w 1858630"/>
              <a:gd name="connsiteY1" fmla="*/ 2852491 h 3781806"/>
              <a:gd name="connsiteX2" fmla="*/ 0 w 1858630"/>
              <a:gd name="connsiteY2" fmla="*/ 929315 h 3781806"/>
              <a:gd name="connsiteX3" fmla="*/ 929315 w 1858630"/>
              <a:gd name="connsiteY3" fmla="*/ 0 h 3781806"/>
              <a:gd name="connsiteX4" fmla="*/ 929315 w 1858630"/>
              <a:gd name="connsiteY4" fmla="*/ 0 h 3781806"/>
              <a:gd name="connsiteX5" fmla="*/ 1858630 w 1858630"/>
              <a:gd name="connsiteY5" fmla="*/ 929315 h 3781806"/>
              <a:gd name="connsiteX6" fmla="*/ 1858630 w 1858630"/>
              <a:gd name="connsiteY6" fmla="*/ 2852491 h 3781806"/>
              <a:gd name="connsiteX7" fmla="*/ 929315 w 1858630"/>
              <a:gd name="connsiteY7" fmla="*/ 3781806 h 3781806"/>
              <a:gd name="connsiteX0" fmla="*/ 929315 w 1858630"/>
              <a:gd name="connsiteY0" fmla="*/ 3781806 h 3781806"/>
              <a:gd name="connsiteX1" fmla="*/ 0 w 1858630"/>
              <a:gd name="connsiteY1" fmla="*/ 2852491 h 3781806"/>
              <a:gd name="connsiteX2" fmla="*/ 0 w 1858630"/>
              <a:gd name="connsiteY2" fmla="*/ 929315 h 3781806"/>
              <a:gd name="connsiteX3" fmla="*/ 929315 w 1858630"/>
              <a:gd name="connsiteY3" fmla="*/ 0 h 3781806"/>
              <a:gd name="connsiteX4" fmla="*/ 929315 w 1858630"/>
              <a:gd name="connsiteY4" fmla="*/ 0 h 3781806"/>
              <a:gd name="connsiteX5" fmla="*/ 1858630 w 1858630"/>
              <a:gd name="connsiteY5" fmla="*/ 929315 h 3781806"/>
              <a:gd name="connsiteX6" fmla="*/ 1858630 w 1858630"/>
              <a:gd name="connsiteY6" fmla="*/ 2852491 h 3781806"/>
              <a:gd name="connsiteX0" fmla="*/ 0 w 1858630"/>
              <a:gd name="connsiteY0" fmla="*/ 2852491 h 2852491"/>
              <a:gd name="connsiteX1" fmla="*/ 0 w 1858630"/>
              <a:gd name="connsiteY1" fmla="*/ 929315 h 2852491"/>
              <a:gd name="connsiteX2" fmla="*/ 929315 w 1858630"/>
              <a:gd name="connsiteY2" fmla="*/ 0 h 2852491"/>
              <a:gd name="connsiteX3" fmla="*/ 929315 w 1858630"/>
              <a:gd name="connsiteY3" fmla="*/ 0 h 2852491"/>
              <a:gd name="connsiteX4" fmla="*/ 1858630 w 1858630"/>
              <a:gd name="connsiteY4" fmla="*/ 929315 h 2852491"/>
              <a:gd name="connsiteX5" fmla="*/ 1858630 w 1858630"/>
              <a:gd name="connsiteY5" fmla="*/ 2852491 h 28524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58630" h="2852491">
                <a:moveTo>
                  <a:pt x="0" y="2852491"/>
                </a:moveTo>
                <a:lnTo>
                  <a:pt x="0" y="929315"/>
                </a:lnTo>
                <a:cubicBezTo>
                  <a:pt x="0" y="416068"/>
                  <a:pt x="416068" y="0"/>
                  <a:pt x="929315" y="0"/>
                </a:cubicBezTo>
                <a:lnTo>
                  <a:pt x="929315" y="0"/>
                </a:lnTo>
                <a:cubicBezTo>
                  <a:pt x="1442562" y="0"/>
                  <a:pt x="1858630" y="416068"/>
                  <a:pt x="1858630" y="929315"/>
                </a:cubicBezTo>
                <a:lnTo>
                  <a:pt x="1858630" y="2852491"/>
                </a:lnTo>
              </a:path>
            </a:pathLst>
          </a:custGeom>
          <a:noFill/>
          <a:ln w="19050">
            <a:solidFill>
              <a:schemeClr val="accent1"/>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11" name="椭圆 10">
            <a:extLst>
              <a:ext uri="{FF2B5EF4-FFF2-40B4-BE49-F238E27FC236}">
                <a16:creationId xmlns:a16="http://schemas.microsoft.com/office/drawing/2014/main" id="{285DB209-69C2-4418-B091-A9309FD6414B}"/>
              </a:ext>
            </a:extLst>
          </p:cNvPr>
          <p:cNvSpPr/>
          <p:nvPr/>
        </p:nvSpPr>
        <p:spPr>
          <a:xfrm>
            <a:off x="2763840" y="1745281"/>
            <a:ext cx="1088428" cy="108842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400" dirty="0">
                <a:solidFill>
                  <a:schemeClr val="bg1"/>
                </a:solidFill>
                <a:latin typeface="+mj-ea"/>
                <a:ea typeface="+mj-ea"/>
              </a:rPr>
              <a:t>01</a:t>
            </a:r>
            <a:endParaRPr lang="zh-CN" altLang="en-US" sz="2400" dirty="0">
              <a:solidFill>
                <a:schemeClr val="bg1"/>
              </a:solidFill>
              <a:latin typeface="+mj-ea"/>
              <a:ea typeface="+mj-ea"/>
            </a:endParaRPr>
          </a:p>
        </p:txBody>
      </p:sp>
      <p:sp>
        <p:nvSpPr>
          <p:cNvPr id="12" name="文本框 11">
            <a:extLst>
              <a:ext uri="{FF2B5EF4-FFF2-40B4-BE49-F238E27FC236}">
                <a16:creationId xmlns:a16="http://schemas.microsoft.com/office/drawing/2014/main" id="{066C107A-271B-408F-B38A-392CB84649F4}"/>
              </a:ext>
            </a:extLst>
          </p:cNvPr>
          <p:cNvSpPr txBox="1"/>
          <p:nvPr/>
        </p:nvSpPr>
        <p:spPr>
          <a:xfrm>
            <a:off x="2591048" y="3012779"/>
            <a:ext cx="1434013" cy="446276"/>
          </a:xfrm>
          <a:prstGeom prst="rect">
            <a:avLst/>
          </a:prstGeom>
          <a:noFill/>
        </p:spPr>
        <p:txBody>
          <a:bodyPr wrap="square" lIns="0" tIns="0" rIns="0" bIns="0" rtlCol="0" anchor="t">
            <a:spAutoFit/>
          </a:bodyPr>
          <a:lstStyle/>
          <a:p>
            <a:pPr algn="ctr"/>
            <a:r>
              <a:rPr lang="zh-CN" altLang="en-US" sz="2800" dirty="0">
                <a:solidFill>
                  <a:schemeClr val="accent1"/>
                </a:solidFill>
                <a:latin typeface="+mj-ea"/>
                <a:ea typeface="+mj-ea"/>
              </a:rPr>
              <a:t>目录标题</a:t>
            </a:r>
          </a:p>
        </p:txBody>
      </p:sp>
      <p:sp>
        <p:nvSpPr>
          <p:cNvPr id="13" name="文本框 12">
            <a:extLst>
              <a:ext uri="{FF2B5EF4-FFF2-40B4-BE49-F238E27FC236}">
                <a16:creationId xmlns:a16="http://schemas.microsoft.com/office/drawing/2014/main" id="{899962CE-C58F-4C6F-9B08-803951CD2E69}"/>
              </a:ext>
            </a:extLst>
          </p:cNvPr>
          <p:cNvSpPr txBox="1"/>
          <p:nvPr/>
        </p:nvSpPr>
        <p:spPr>
          <a:xfrm>
            <a:off x="2614640" y="3446107"/>
            <a:ext cx="1386829" cy="169277"/>
          </a:xfrm>
          <a:prstGeom prst="rect">
            <a:avLst/>
          </a:prstGeom>
          <a:noFill/>
        </p:spPr>
        <p:txBody>
          <a:bodyPr wrap="square" lIns="0" tIns="0" rIns="0" bIns="0" rtlCol="0" anchor="t">
            <a:spAutoFit/>
          </a:bodyPr>
          <a:lstStyle/>
          <a:p>
            <a:pPr algn="dist"/>
            <a:r>
              <a:rPr lang="en-US" altLang="zh-CN" sz="1100" dirty="0">
                <a:solidFill>
                  <a:schemeClr val="accent1"/>
                </a:solidFill>
              </a:rPr>
              <a:t>Contents Title Here</a:t>
            </a:r>
            <a:endParaRPr lang="zh-CN" altLang="en-US" sz="1100" dirty="0">
              <a:solidFill>
                <a:schemeClr val="accent1"/>
              </a:solidFill>
            </a:endParaRPr>
          </a:p>
        </p:txBody>
      </p:sp>
      <p:sp>
        <p:nvSpPr>
          <p:cNvPr id="14" name="椭圆 13">
            <a:extLst>
              <a:ext uri="{FF2B5EF4-FFF2-40B4-BE49-F238E27FC236}">
                <a16:creationId xmlns:a16="http://schemas.microsoft.com/office/drawing/2014/main" id="{E5162FA3-88BB-428F-BBF7-405128D9CC31}"/>
              </a:ext>
            </a:extLst>
          </p:cNvPr>
          <p:cNvSpPr/>
          <p:nvPr/>
        </p:nvSpPr>
        <p:spPr>
          <a:xfrm>
            <a:off x="4622471" y="5012356"/>
            <a:ext cx="1088428" cy="108842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400" dirty="0">
                <a:solidFill>
                  <a:schemeClr val="bg1"/>
                </a:solidFill>
                <a:latin typeface="+mj-ea"/>
                <a:ea typeface="+mj-ea"/>
              </a:rPr>
              <a:t>02</a:t>
            </a:r>
            <a:endParaRPr lang="zh-CN" altLang="en-US" sz="2400" dirty="0">
              <a:solidFill>
                <a:schemeClr val="bg1"/>
              </a:solidFill>
              <a:latin typeface="+mj-ea"/>
              <a:ea typeface="+mj-ea"/>
            </a:endParaRPr>
          </a:p>
        </p:txBody>
      </p:sp>
      <p:sp>
        <p:nvSpPr>
          <p:cNvPr id="15" name="文本框 14">
            <a:extLst>
              <a:ext uri="{FF2B5EF4-FFF2-40B4-BE49-F238E27FC236}">
                <a16:creationId xmlns:a16="http://schemas.microsoft.com/office/drawing/2014/main" id="{33E1AE75-242D-4893-8B51-5CB95D60978B}"/>
              </a:ext>
            </a:extLst>
          </p:cNvPr>
          <p:cNvSpPr txBox="1"/>
          <p:nvPr/>
        </p:nvSpPr>
        <p:spPr>
          <a:xfrm>
            <a:off x="4449679" y="4355354"/>
            <a:ext cx="1434013" cy="446276"/>
          </a:xfrm>
          <a:prstGeom prst="rect">
            <a:avLst/>
          </a:prstGeom>
          <a:noFill/>
        </p:spPr>
        <p:txBody>
          <a:bodyPr wrap="square" lIns="0" tIns="0" rIns="0" bIns="0" rtlCol="0" anchor="t">
            <a:spAutoFit/>
          </a:bodyPr>
          <a:lstStyle/>
          <a:p>
            <a:pPr algn="ctr"/>
            <a:r>
              <a:rPr lang="zh-CN" altLang="en-US" sz="2800" dirty="0">
                <a:solidFill>
                  <a:schemeClr val="accent1"/>
                </a:solidFill>
                <a:latin typeface="+mj-ea"/>
                <a:ea typeface="+mj-ea"/>
              </a:rPr>
              <a:t>目录标题</a:t>
            </a:r>
          </a:p>
        </p:txBody>
      </p:sp>
      <p:sp>
        <p:nvSpPr>
          <p:cNvPr id="16" name="文本框 15">
            <a:extLst>
              <a:ext uri="{FF2B5EF4-FFF2-40B4-BE49-F238E27FC236}">
                <a16:creationId xmlns:a16="http://schemas.microsoft.com/office/drawing/2014/main" id="{C8CAC8B4-93C7-49FC-9007-5776F4C0C863}"/>
              </a:ext>
            </a:extLst>
          </p:cNvPr>
          <p:cNvSpPr txBox="1"/>
          <p:nvPr/>
        </p:nvSpPr>
        <p:spPr>
          <a:xfrm>
            <a:off x="4473271" y="4788682"/>
            <a:ext cx="1386829" cy="169277"/>
          </a:xfrm>
          <a:prstGeom prst="rect">
            <a:avLst/>
          </a:prstGeom>
          <a:noFill/>
        </p:spPr>
        <p:txBody>
          <a:bodyPr wrap="square" lIns="0" tIns="0" rIns="0" bIns="0" rtlCol="0" anchor="t">
            <a:spAutoFit/>
          </a:bodyPr>
          <a:lstStyle/>
          <a:p>
            <a:pPr algn="dist"/>
            <a:r>
              <a:rPr lang="en-US" altLang="zh-CN" sz="1100" dirty="0">
                <a:solidFill>
                  <a:schemeClr val="accent1"/>
                </a:solidFill>
              </a:rPr>
              <a:t>Contents Title Here</a:t>
            </a:r>
            <a:endParaRPr lang="zh-CN" altLang="en-US" sz="1100" dirty="0">
              <a:solidFill>
                <a:schemeClr val="accent1"/>
              </a:solidFill>
            </a:endParaRPr>
          </a:p>
        </p:txBody>
      </p:sp>
      <p:sp>
        <p:nvSpPr>
          <p:cNvPr id="24" name="椭圆 23">
            <a:extLst>
              <a:ext uri="{FF2B5EF4-FFF2-40B4-BE49-F238E27FC236}">
                <a16:creationId xmlns:a16="http://schemas.microsoft.com/office/drawing/2014/main" id="{063F0FBE-6E4A-485A-BB9F-033F7CF9A575}"/>
              </a:ext>
            </a:extLst>
          </p:cNvPr>
          <p:cNvSpPr/>
          <p:nvPr/>
        </p:nvSpPr>
        <p:spPr>
          <a:xfrm>
            <a:off x="6481100" y="1745281"/>
            <a:ext cx="1088428" cy="108842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400" dirty="0">
                <a:solidFill>
                  <a:schemeClr val="bg1"/>
                </a:solidFill>
                <a:latin typeface="+mj-ea"/>
                <a:ea typeface="+mj-ea"/>
              </a:rPr>
              <a:t>03</a:t>
            </a:r>
            <a:endParaRPr lang="zh-CN" altLang="en-US" sz="2400" dirty="0">
              <a:solidFill>
                <a:schemeClr val="bg1"/>
              </a:solidFill>
              <a:latin typeface="+mj-ea"/>
              <a:ea typeface="+mj-ea"/>
            </a:endParaRPr>
          </a:p>
        </p:txBody>
      </p:sp>
      <p:sp>
        <p:nvSpPr>
          <p:cNvPr id="25" name="文本框 24">
            <a:extLst>
              <a:ext uri="{FF2B5EF4-FFF2-40B4-BE49-F238E27FC236}">
                <a16:creationId xmlns:a16="http://schemas.microsoft.com/office/drawing/2014/main" id="{8A960B91-D5BD-4759-8167-7710C68DD5BA}"/>
              </a:ext>
            </a:extLst>
          </p:cNvPr>
          <p:cNvSpPr txBox="1"/>
          <p:nvPr/>
        </p:nvSpPr>
        <p:spPr>
          <a:xfrm>
            <a:off x="6308308" y="3012779"/>
            <a:ext cx="1434013" cy="446276"/>
          </a:xfrm>
          <a:prstGeom prst="rect">
            <a:avLst/>
          </a:prstGeom>
          <a:noFill/>
        </p:spPr>
        <p:txBody>
          <a:bodyPr wrap="square" lIns="0" tIns="0" rIns="0" bIns="0" rtlCol="0" anchor="t">
            <a:spAutoFit/>
          </a:bodyPr>
          <a:lstStyle/>
          <a:p>
            <a:pPr algn="ctr"/>
            <a:r>
              <a:rPr lang="zh-CN" altLang="en-US" sz="2800" dirty="0">
                <a:solidFill>
                  <a:schemeClr val="accent1"/>
                </a:solidFill>
                <a:latin typeface="+mj-ea"/>
                <a:ea typeface="+mj-ea"/>
              </a:rPr>
              <a:t>目录标题</a:t>
            </a:r>
          </a:p>
        </p:txBody>
      </p:sp>
      <p:sp>
        <p:nvSpPr>
          <p:cNvPr id="26" name="文本框 25">
            <a:extLst>
              <a:ext uri="{FF2B5EF4-FFF2-40B4-BE49-F238E27FC236}">
                <a16:creationId xmlns:a16="http://schemas.microsoft.com/office/drawing/2014/main" id="{1040DF82-A764-4D53-9F60-13AB6CD5E415}"/>
              </a:ext>
            </a:extLst>
          </p:cNvPr>
          <p:cNvSpPr txBox="1"/>
          <p:nvPr/>
        </p:nvSpPr>
        <p:spPr>
          <a:xfrm>
            <a:off x="6331900" y="3446107"/>
            <a:ext cx="1386829" cy="169277"/>
          </a:xfrm>
          <a:prstGeom prst="rect">
            <a:avLst/>
          </a:prstGeom>
          <a:noFill/>
        </p:spPr>
        <p:txBody>
          <a:bodyPr wrap="square" lIns="0" tIns="0" rIns="0" bIns="0" rtlCol="0" anchor="t">
            <a:spAutoFit/>
          </a:bodyPr>
          <a:lstStyle/>
          <a:p>
            <a:pPr algn="dist"/>
            <a:r>
              <a:rPr lang="en-US" altLang="zh-CN" sz="1100" dirty="0">
                <a:solidFill>
                  <a:schemeClr val="accent1"/>
                </a:solidFill>
              </a:rPr>
              <a:t>Contents Title Here</a:t>
            </a:r>
            <a:endParaRPr lang="zh-CN" altLang="en-US" sz="1100" dirty="0">
              <a:solidFill>
                <a:schemeClr val="accent1"/>
              </a:solidFill>
            </a:endParaRPr>
          </a:p>
        </p:txBody>
      </p:sp>
      <p:sp>
        <p:nvSpPr>
          <p:cNvPr id="27" name="椭圆 26">
            <a:extLst>
              <a:ext uri="{FF2B5EF4-FFF2-40B4-BE49-F238E27FC236}">
                <a16:creationId xmlns:a16="http://schemas.microsoft.com/office/drawing/2014/main" id="{E2CA19D0-8814-40EB-AF7B-5BB41E1309FF}"/>
              </a:ext>
            </a:extLst>
          </p:cNvPr>
          <p:cNvSpPr/>
          <p:nvPr/>
        </p:nvSpPr>
        <p:spPr>
          <a:xfrm>
            <a:off x="8339731" y="5012356"/>
            <a:ext cx="1088428" cy="108842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400" dirty="0">
                <a:solidFill>
                  <a:schemeClr val="bg1"/>
                </a:solidFill>
                <a:latin typeface="+mj-ea"/>
                <a:ea typeface="+mj-ea"/>
              </a:rPr>
              <a:t>04</a:t>
            </a:r>
            <a:endParaRPr lang="zh-CN" altLang="en-US" sz="2400" dirty="0">
              <a:solidFill>
                <a:schemeClr val="bg1"/>
              </a:solidFill>
              <a:latin typeface="+mj-ea"/>
              <a:ea typeface="+mj-ea"/>
            </a:endParaRPr>
          </a:p>
        </p:txBody>
      </p:sp>
      <p:sp>
        <p:nvSpPr>
          <p:cNvPr id="28" name="文本框 27">
            <a:extLst>
              <a:ext uri="{FF2B5EF4-FFF2-40B4-BE49-F238E27FC236}">
                <a16:creationId xmlns:a16="http://schemas.microsoft.com/office/drawing/2014/main" id="{AEED2350-8A08-4BB2-8301-0270281D0AD9}"/>
              </a:ext>
            </a:extLst>
          </p:cNvPr>
          <p:cNvSpPr txBox="1"/>
          <p:nvPr/>
        </p:nvSpPr>
        <p:spPr>
          <a:xfrm>
            <a:off x="8166939" y="4355354"/>
            <a:ext cx="1434013" cy="446276"/>
          </a:xfrm>
          <a:prstGeom prst="rect">
            <a:avLst/>
          </a:prstGeom>
          <a:noFill/>
        </p:spPr>
        <p:txBody>
          <a:bodyPr wrap="square" lIns="0" tIns="0" rIns="0" bIns="0" rtlCol="0" anchor="t">
            <a:spAutoFit/>
          </a:bodyPr>
          <a:lstStyle/>
          <a:p>
            <a:pPr algn="ctr"/>
            <a:r>
              <a:rPr lang="zh-CN" altLang="en-US" sz="2800" dirty="0">
                <a:solidFill>
                  <a:schemeClr val="accent1"/>
                </a:solidFill>
                <a:latin typeface="+mj-ea"/>
                <a:ea typeface="+mj-ea"/>
              </a:rPr>
              <a:t>目录标题</a:t>
            </a:r>
          </a:p>
        </p:txBody>
      </p:sp>
      <p:sp>
        <p:nvSpPr>
          <p:cNvPr id="29" name="文本框 28">
            <a:extLst>
              <a:ext uri="{FF2B5EF4-FFF2-40B4-BE49-F238E27FC236}">
                <a16:creationId xmlns:a16="http://schemas.microsoft.com/office/drawing/2014/main" id="{2943FCA7-7DAD-45E6-9263-22388927BB63}"/>
              </a:ext>
            </a:extLst>
          </p:cNvPr>
          <p:cNvSpPr txBox="1"/>
          <p:nvPr/>
        </p:nvSpPr>
        <p:spPr>
          <a:xfrm>
            <a:off x="8190531" y="4788682"/>
            <a:ext cx="1386829" cy="169277"/>
          </a:xfrm>
          <a:prstGeom prst="rect">
            <a:avLst/>
          </a:prstGeom>
          <a:noFill/>
        </p:spPr>
        <p:txBody>
          <a:bodyPr wrap="square" lIns="0" tIns="0" rIns="0" bIns="0" rtlCol="0" anchor="t">
            <a:spAutoFit/>
          </a:bodyPr>
          <a:lstStyle/>
          <a:p>
            <a:pPr algn="dist"/>
            <a:r>
              <a:rPr lang="en-US" altLang="zh-CN" sz="1100" dirty="0">
                <a:solidFill>
                  <a:schemeClr val="accent1"/>
                </a:solidFill>
              </a:rPr>
              <a:t>Contents Title Here</a:t>
            </a:r>
            <a:endParaRPr lang="zh-CN" altLang="en-US" sz="1100" dirty="0">
              <a:solidFill>
                <a:schemeClr val="accent1"/>
              </a:solidFill>
            </a:endParaRPr>
          </a:p>
        </p:txBody>
      </p:sp>
      <p:sp>
        <p:nvSpPr>
          <p:cNvPr id="30" name="文本框 29">
            <a:extLst>
              <a:ext uri="{FF2B5EF4-FFF2-40B4-BE49-F238E27FC236}">
                <a16:creationId xmlns:a16="http://schemas.microsoft.com/office/drawing/2014/main" id="{51AB938A-9663-40BA-9B5B-F30120139813}"/>
              </a:ext>
            </a:extLst>
          </p:cNvPr>
          <p:cNvSpPr txBox="1"/>
          <p:nvPr/>
        </p:nvSpPr>
        <p:spPr>
          <a:xfrm>
            <a:off x="2002663" y="546490"/>
            <a:ext cx="2416937" cy="492443"/>
          </a:xfrm>
          <a:prstGeom prst="rect">
            <a:avLst/>
          </a:prstGeom>
          <a:noFill/>
        </p:spPr>
        <p:txBody>
          <a:bodyPr wrap="square" lIns="0" tIns="0" rIns="0" bIns="0" rtlCol="0" anchor="t">
            <a:spAutoFit/>
          </a:bodyPr>
          <a:lstStyle/>
          <a:p>
            <a:pPr algn="dist"/>
            <a:r>
              <a:rPr lang="en-US" altLang="zh-CN" sz="3200" dirty="0">
                <a:solidFill>
                  <a:schemeClr val="accent1">
                    <a:lumMod val="20000"/>
                    <a:lumOff val="80000"/>
                  </a:schemeClr>
                </a:solidFill>
                <a:latin typeface="+mj-ea"/>
                <a:ea typeface="+mj-ea"/>
              </a:rPr>
              <a:t>CONTENTS</a:t>
            </a:r>
            <a:endParaRPr lang="zh-CN" altLang="en-US" sz="3200" dirty="0">
              <a:solidFill>
                <a:schemeClr val="accent1">
                  <a:lumMod val="20000"/>
                  <a:lumOff val="80000"/>
                </a:schemeClr>
              </a:solidFill>
              <a:latin typeface="+mj-ea"/>
              <a:ea typeface="+mj-ea"/>
            </a:endParaRPr>
          </a:p>
        </p:txBody>
      </p:sp>
      <p:sp>
        <p:nvSpPr>
          <p:cNvPr id="31" name="文本框 30">
            <a:extLst>
              <a:ext uri="{FF2B5EF4-FFF2-40B4-BE49-F238E27FC236}">
                <a16:creationId xmlns:a16="http://schemas.microsoft.com/office/drawing/2014/main" id="{DF4EB827-28B2-420C-8DE8-DF03CB709F10}"/>
              </a:ext>
            </a:extLst>
          </p:cNvPr>
          <p:cNvSpPr txBox="1"/>
          <p:nvPr/>
        </p:nvSpPr>
        <p:spPr>
          <a:xfrm>
            <a:off x="499872" y="212478"/>
            <a:ext cx="1452626" cy="830997"/>
          </a:xfrm>
          <a:prstGeom prst="rect">
            <a:avLst/>
          </a:prstGeom>
          <a:noFill/>
        </p:spPr>
        <p:txBody>
          <a:bodyPr wrap="square" lIns="0" tIns="0" rIns="0" bIns="0" rtlCol="0" anchor="t">
            <a:spAutoFit/>
          </a:bodyPr>
          <a:lstStyle/>
          <a:p>
            <a:pPr algn="dist"/>
            <a:r>
              <a:rPr lang="zh-CN" altLang="en-US" sz="5400" dirty="0">
                <a:solidFill>
                  <a:schemeClr val="accent1"/>
                </a:solidFill>
                <a:latin typeface="+mj-ea"/>
                <a:ea typeface="+mj-ea"/>
              </a:rPr>
              <a:t>目录</a:t>
            </a:r>
          </a:p>
        </p:txBody>
      </p:sp>
    </p:spTree>
    <p:extLst>
      <p:ext uri="{BB962C8B-B14F-4D97-AF65-F5344CB8AC3E}">
        <p14:creationId xmlns:p14="http://schemas.microsoft.com/office/powerpoint/2010/main" val="2155565041"/>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文本框 29">
            <a:extLst>
              <a:ext uri="{FF2B5EF4-FFF2-40B4-BE49-F238E27FC236}">
                <a16:creationId xmlns:a16="http://schemas.microsoft.com/office/drawing/2014/main" id="{51AB938A-9663-40BA-9B5B-F30120139813}"/>
              </a:ext>
            </a:extLst>
          </p:cNvPr>
          <p:cNvSpPr txBox="1"/>
          <p:nvPr/>
        </p:nvSpPr>
        <p:spPr>
          <a:xfrm>
            <a:off x="2002663" y="546490"/>
            <a:ext cx="2416937" cy="492443"/>
          </a:xfrm>
          <a:prstGeom prst="rect">
            <a:avLst/>
          </a:prstGeom>
          <a:noFill/>
        </p:spPr>
        <p:txBody>
          <a:bodyPr wrap="square" lIns="0" tIns="0" rIns="0" bIns="0" rtlCol="0" anchor="t">
            <a:spAutoFit/>
          </a:bodyPr>
          <a:lstStyle/>
          <a:p>
            <a:pPr algn="dist"/>
            <a:r>
              <a:rPr lang="en-US" altLang="zh-CN" sz="3200" dirty="0">
                <a:solidFill>
                  <a:schemeClr val="accent1">
                    <a:lumMod val="20000"/>
                    <a:lumOff val="80000"/>
                  </a:schemeClr>
                </a:solidFill>
                <a:latin typeface="+mj-ea"/>
                <a:ea typeface="+mj-ea"/>
              </a:rPr>
              <a:t>CONTENTS</a:t>
            </a:r>
            <a:endParaRPr lang="zh-CN" altLang="en-US" sz="3200" dirty="0">
              <a:solidFill>
                <a:schemeClr val="accent1">
                  <a:lumMod val="20000"/>
                  <a:lumOff val="80000"/>
                </a:schemeClr>
              </a:solidFill>
              <a:latin typeface="+mj-ea"/>
              <a:ea typeface="+mj-ea"/>
            </a:endParaRPr>
          </a:p>
        </p:txBody>
      </p:sp>
      <p:sp>
        <p:nvSpPr>
          <p:cNvPr id="31" name="文本框 30">
            <a:extLst>
              <a:ext uri="{FF2B5EF4-FFF2-40B4-BE49-F238E27FC236}">
                <a16:creationId xmlns:a16="http://schemas.microsoft.com/office/drawing/2014/main" id="{DF4EB827-28B2-420C-8DE8-DF03CB709F10}"/>
              </a:ext>
            </a:extLst>
          </p:cNvPr>
          <p:cNvSpPr txBox="1"/>
          <p:nvPr/>
        </p:nvSpPr>
        <p:spPr>
          <a:xfrm>
            <a:off x="499872" y="212478"/>
            <a:ext cx="1452626" cy="830997"/>
          </a:xfrm>
          <a:prstGeom prst="rect">
            <a:avLst/>
          </a:prstGeom>
          <a:noFill/>
        </p:spPr>
        <p:txBody>
          <a:bodyPr wrap="square" lIns="0" tIns="0" rIns="0" bIns="0" rtlCol="0" anchor="t">
            <a:spAutoFit/>
          </a:bodyPr>
          <a:lstStyle/>
          <a:p>
            <a:pPr algn="dist"/>
            <a:r>
              <a:rPr lang="zh-CN" altLang="en-US" sz="5400" dirty="0">
                <a:solidFill>
                  <a:schemeClr val="accent1"/>
                </a:solidFill>
                <a:latin typeface="+mj-ea"/>
                <a:ea typeface="+mj-ea"/>
              </a:rPr>
              <a:t>目录</a:t>
            </a:r>
          </a:p>
        </p:txBody>
      </p:sp>
      <p:grpSp>
        <p:nvGrpSpPr>
          <p:cNvPr id="4" name="组合 3">
            <a:extLst>
              <a:ext uri="{FF2B5EF4-FFF2-40B4-BE49-F238E27FC236}">
                <a16:creationId xmlns:a16="http://schemas.microsoft.com/office/drawing/2014/main" id="{AC1BD531-DD0C-4BD3-8EAD-30337A6B8EAB}"/>
              </a:ext>
            </a:extLst>
          </p:cNvPr>
          <p:cNvGrpSpPr/>
          <p:nvPr/>
        </p:nvGrpSpPr>
        <p:grpSpPr>
          <a:xfrm>
            <a:off x="1805713" y="2880360"/>
            <a:ext cx="1434013" cy="1774274"/>
            <a:chOff x="1095024" y="2880360"/>
            <a:chExt cx="1434013" cy="1774274"/>
          </a:xfrm>
        </p:grpSpPr>
        <p:sp>
          <p:nvSpPr>
            <p:cNvPr id="11" name="椭圆 10">
              <a:extLst>
                <a:ext uri="{FF2B5EF4-FFF2-40B4-BE49-F238E27FC236}">
                  <a16:creationId xmlns:a16="http://schemas.microsoft.com/office/drawing/2014/main" id="{285DB209-69C2-4418-B091-A9309FD6414B}"/>
                </a:ext>
              </a:extLst>
            </p:cNvPr>
            <p:cNvSpPr/>
            <p:nvPr/>
          </p:nvSpPr>
          <p:spPr>
            <a:xfrm>
              <a:off x="1363645" y="2880360"/>
              <a:ext cx="896770" cy="89677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400" dirty="0">
                  <a:solidFill>
                    <a:schemeClr val="bg1"/>
                  </a:solidFill>
                  <a:latin typeface="+mj-ea"/>
                  <a:ea typeface="+mj-ea"/>
                </a:rPr>
                <a:t>01</a:t>
              </a:r>
              <a:endParaRPr lang="zh-CN" altLang="en-US" sz="2400" dirty="0">
                <a:solidFill>
                  <a:schemeClr val="bg1"/>
                </a:solidFill>
                <a:latin typeface="+mj-ea"/>
                <a:ea typeface="+mj-ea"/>
              </a:endParaRPr>
            </a:p>
          </p:txBody>
        </p:sp>
        <p:sp>
          <p:nvSpPr>
            <p:cNvPr id="12" name="文本框 11">
              <a:extLst>
                <a:ext uri="{FF2B5EF4-FFF2-40B4-BE49-F238E27FC236}">
                  <a16:creationId xmlns:a16="http://schemas.microsoft.com/office/drawing/2014/main" id="{066C107A-271B-408F-B38A-392CB84649F4}"/>
                </a:ext>
              </a:extLst>
            </p:cNvPr>
            <p:cNvSpPr txBox="1"/>
            <p:nvPr/>
          </p:nvSpPr>
          <p:spPr>
            <a:xfrm>
              <a:off x="1095024" y="4052029"/>
              <a:ext cx="1434013" cy="446276"/>
            </a:xfrm>
            <a:prstGeom prst="rect">
              <a:avLst/>
            </a:prstGeom>
            <a:noFill/>
          </p:spPr>
          <p:txBody>
            <a:bodyPr wrap="square" lIns="0" tIns="0" rIns="0" bIns="0" rtlCol="0" anchor="t">
              <a:spAutoFit/>
            </a:bodyPr>
            <a:lstStyle/>
            <a:p>
              <a:pPr algn="ctr"/>
              <a:r>
                <a:rPr lang="zh-CN" altLang="en-US" sz="2800" dirty="0">
                  <a:solidFill>
                    <a:schemeClr val="accent1"/>
                  </a:solidFill>
                  <a:latin typeface="+mj-ea"/>
                  <a:ea typeface="+mj-ea"/>
                </a:rPr>
                <a:t>目录标题</a:t>
              </a:r>
            </a:p>
          </p:txBody>
        </p:sp>
        <p:sp>
          <p:nvSpPr>
            <p:cNvPr id="13" name="文本框 12">
              <a:extLst>
                <a:ext uri="{FF2B5EF4-FFF2-40B4-BE49-F238E27FC236}">
                  <a16:creationId xmlns:a16="http://schemas.microsoft.com/office/drawing/2014/main" id="{899962CE-C58F-4C6F-9B08-803951CD2E69}"/>
                </a:ext>
              </a:extLst>
            </p:cNvPr>
            <p:cNvSpPr txBox="1"/>
            <p:nvPr/>
          </p:nvSpPr>
          <p:spPr>
            <a:xfrm>
              <a:off x="1118616" y="4485357"/>
              <a:ext cx="1386829" cy="169277"/>
            </a:xfrm>
            <a:prstGeom prst="rect">
              <a:avLst/>
            </a:prstGeom>
            <a:noFill/>
          </p:spPr>
          <p:txBody>
            <a:bodyPr wrap="square" lIns="0" tIns="0" rIns="0" bIns="0" rtlCol="0" anchor="t">
              <a:spAutoFit/>
            </a:bodyPr>
            <a:lstStyle/>
            <a:p>
              <a:pPr algn="dist"/>
              <a:r>
                <a:rPr lang="en-US" altLang="zh-CN" sz="1100" dirty="0">
                  <a:solidFill>
                    <a:schemeClr val="accent1"/>
                  </a:solidFill>
                </a:rPr>
                <a:t>Contents Title Here</a:t>
              </a:r>
              <a:endParaRPr lang="zh-CN" altLang="en-US" sz="1100" dirty="0">
                <a:solidFill>
                  <a:schemeClr val="accent1"/>
                </a:solidFill>
              </a:endParaRPr>
            </a:p>
          </p:txBody>
        </p:sp>
      </p:grpSp>
      <p:sp>
        <p:nvSpPr>
          <p:cNvPr id="3" name="矩形: 圆角 2">
            <a:extLst>
              <a:ext uri="{FF2B5EF4-FFF2-40B4-BE49-F238E27FC236}">
                <a16:creationId xmlns:a16="http://schemas.microsoft.com/office/drawing/2014/main" id="{9339DEFA-CF1A-4E18-ADA3-0F6A4201C7D2}"/>
              </a:ext>
            </a:extLst>
          </p:cNvPr>
          <p:cNvSpPr/>
          <p:nvPr/>
        </p:nvSpPr>
        <p:spPr>
          <a:xfrm>
            <a:off x="2499128" y="2018481"/>
            <a:ext cx="2421292" cy="724429"/>
          </a:xfrm>
          <a:custGeom>
            <a:avLst/>
            <a:gdLst>
              <a:gd name="connsiteX0" fmla="*/ 0 w 2481809"/>
              <a:gd name="connsiteY0" fmla="*/ 240293 h 964722"/>
              <a:gd name="connsiteX1" fmla="*/ 240293 w 2481809"/>
              <a:gd name="connsiteY1" fmla="*/ 0 h 964722"/>
              <a:gd name="connsiteX2" fmla="*/ 2241516 w 2481809"/>
              <a:gd name="connsiteY2" fmla="*/ 0 h 964722"/>
              <a:gd name="connsiteX3" fmla="*/ 2481809 w 2481809"/>
              <a:gd name="connsiteY3" fmla="*/ 240293 h 964722"/>
              <a:gd name="connsiteX4" fmla="*/ 2481809 w 2481809"/>
              <a:gd name="connsiteY4" fmla="*/ 724429 h 964722"/>
              <a:gd name="connsiteX5" fmla="*/ 2241516 w 2481809"/>
              <a:gd name="connsiteY5" fmla="*/ 964722 h 964722"/>
              <a:gd name="connsiteX6" fmla="*/ 240293 w 2481809"/>
              <a:gd name="connsiteY6" fmla="*/ 964722 h 964722"/>
              <a:gd name="connsiteX7" fmla="*/ 0 w 2481809"/>
              <a:gd name="connsiteY7" fmla="*/ 724429 h 964722"/>
              <a:gd name="connsiteX8" fmla="*/ 0 w 2481809"/>
              <a:gd name="connsiteY8" fmla="*/ 240293 h 964722"/>
              <a:gd name="connsiteX0" fmla="*/ 240293 w 2481809"/>
              <a:gd name="connsiteY0" fmla="*/ 964722 h 1056162"/>
              <a:gd name="connsiteX1" fmla="*/ 0 w 2481809"/>
              <a:gd name="connsiteY1" fmla="*/ 724429 h 1056162"/>
              <a:gd name="connsiteX2" fmla="*/ 0 w 2481809"/>
              <a:gd name="connsiteY2" fmla="*/ 240293 h 1056162"/>
              <a:gd name="connsiteX3" fmla="*/ 240293 w 2481809"/>
              <a:gd name="connsiteY3" fmla="*/ 0 h 1056162"/>
              <a:gd name="connsiteX4" fmla="*/ 2241516 w 2481809"/>
              <a:gd name="connsiteY4" fmla="*/ 0 h 1056162"/>
              <a:gd name="connsiteX5" fmla="*/ 2481809 w 2481809"/>
              <a:gd name="connsiteY5" fmla="*/ 240293 h 1056162"/>
              <a:gd name="connsiteX6" fmla="*/ 2481809 w 2481809"/>
              <a:gd name="connsiteY6" fmla="*/ 724429 h 1056162"/>
              <a:gd name="connsiteX7" fmla="*/ 2241516 w 2481809"/>
              <a:gd name="connsiteY7" fmla="*/ 964722 h 1056162"/>
              <a:gd name="connsiteX8" fmla="*/ 331733 w 2481809"/>
              <a:gd name="connsiteY8" fmla="*/ 1056162 h 1056162"/>
              <a:gd name="connsiteX0" fmla="*/ 240293 w 2481809"/>
              <a:gd name="connsiteY0" fmla="*/ 964722 h 964722"/>
              <a:gd name="connsiteX1" fmla="*/ 0 w 2481809"/>
              <a:gd name="connsiteY1" fmla="*/ 724429 h 964722"/>
              <a:gd name="connsiteX2" fmla="*/ 0 w 2481809"/>
              <a:gd name="connsiteY2" fmla="*/ 240293 h 964722"/>
              <a:gd name="connsiteX3" fmla="*/ 240293 w 2481809"/>
              <a:gd name="connsiteY3" fmla="*/ 0 h 964722"/>
              <a:gd name="connsiteX4" fmla="*/ 2241516 w 2481809"/>
              <a:gd name="connsiteY4" fmla="*/ 0 h 964722"/>
              <a:gd name="connsiteX5" fmla="*/ 2481809 w 2481809"/>
              <a:gd name="connsiteY5" fmla="*/ 240293 h 964722"/>
              <a:gd name="connsiteX6" fmla="*/ 2481809 w 2481809"/>
              <a:gd name="connsiteY6" fmla="*/ 724429 h 964722"/>
              <a:gd name="connsiteX7" fmla="*/ 2241516 w 2481809"/>
              <a:gd name="connsiteY7" fmla="*/ 964722 h 964722"/>
              <a:gd name="connsiteX0" fmla="*/ 240293 w 2481809"/>
              <a:gd name="connsiteY0" fmla="*/ 964722 h 964722"/>
              <a:gd name="connsiteX1" fmla="*/ 0 w 2481809"/>
              <a:gd name="connsiteY1" fmla="*/ 724429 h 964722"/>
              <a:gd name="connsiteX2" fmla="*/ 0 w 2481809"/>
              <a:gd name="connsiteY2" fmla="*/ 240293 h 964722"/>
              <a:gd name="connsiteX3" fmla="*/ 240293 w 2481809"/>
              <a:gd name="connsiteY3" fmla="*/ 0 h 964722"/>
              <a:gd name="connsiteX4" fmla="*/ 2241516 w 2481809"/>
              <a:gd name="connsiteY4" fmla="*/ 0 h 964722"/>
              <a:gd name="connsiteX5" fmla="*/ 2481809 w 2481809"/>
              <a:gd name="connsiteY5" fmla="*/ 240293 h 964722"/>
              <a:gd name="connsiteX6" fmla="*/ 2481809 w 2481809"/>
              <a:gd name="connsiteY6" fmla="*/ 724429 h 964722"/>
              <a:gd name="connsiteX0" fmla="*/ 0 w 2481809"/>
              <a:gd name="connsiteY0" fmla="*/ 724429 h 724429"/>
              <a:gd name="connsiteX1" fmla="*/ 0 w 2481809"/>
              <a:gd name="connsiteY1" fmla="*/ 240293 h 724429"/>
              <a:gd name="connsiteX2" fmla="*/ 240293 w 2481809"/>
              <a:gd name="connsiteY2" fmla="*/ 0 h 724429"/>
              <a:gd name="connsiteX3" fmla="*/ 2241516 w 2481809"/>
              <a:gd name="connsiteY3" fmla="*/ 0 h 724429"/>
              <a:gd name="connsiteX4" fmla="*/ 2481809 w 2481809"/>
              <a:gd name="connsiteY4" fmla="*/ 240293 h 724429"/>
              <a:gd name="connsiteX5" fmla="*/ 2481809 w 2481809"/>
              <a:gd name="connsiteY5" fmla="*/ 724429 h 724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1809" h="724429">
                <a:moveTo>
                  <a:pt x="0" y="724429"/>
                </a:moveTo>
                <a:lnTo>
                  <a:pt x="0" y="240293"/>
                </a:lnTo>
                <a:cubicBezTo>
                  <a:pt x="0" y="107583"/>
                  <a:pt x="107583" y="0"/>
                  <a:pt x="240293" y="0"/>
                </a:cubicBezTo>
                <a:lnTo>
                  <a:pt x="2241516" y="0"/>
                </a:lnTo>
                <a:cubicBezTo>
                  <a:pt x="2374226" y="0"/>
                  <a:pt x="2481809" y="107583"/>
                  <a:pt x="2481809" y="240293"/>
                </a:cubicBezTo>
                <a:lnTo>
                  <a:pt x="2481809" y="724429"/>
                </a:lnTo>
              </a:path>
            </a:pathLst>
          </a:custGeom>
          <a:noFill/>
          <a:ln w="19050">
            <a:solidFill>
              <a:schemeClr val="accent1"/>
            </a:solidFill>
            <a:headEnd type="ova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grpSp>
        <p:nvGrpSpPr>
          <p:cNvPr id="34" name="组合 33">
            <a:extLst>
              <a:ext uri="{FF2B5EF4-FFF2-40B4-BE49-F238E27FC236}">
                <a16:creationId xmlns:a16="http://schemas.microsoft.com/office/drawing/2014/main" id="{F2BB3B3D-CE9C-456C-8C0A-A8169BB96F59}"/>
              </a:ext>
            </a:extLst>
          </p:cNvPr>
          <p:cNvGrpSpPr/>
          <p:nvPr/>
        </p:nvGrpSpPr>
        <p:grpSpPr>
          <a:xfrm>
            <a:off x="4187900" y="2880360"/>
            <a:ext cx="1434013" cy="1774274"/>
            <a:chOff x="1095024" y="2880360"/>
            <a:chExt cx="1434013" cy="1774274"/>
          </a:xfrm>
        </p:grpSpPr>
        <p:sp>
          <p:nvSpPr>
            <p:cNvPr id="35" name="椭圆 34">
              <a:extLst>
                <a:ext uri="{FF2B5EF4-FFF2-40B4-BE49-F238E27FC236}">
                  <a16:creationId xmlns:a16="http://schemas.microsoft.com/office/drawing/2014/main" id="{3DB2A23E-8445-4BB0-9791-32A0DDA6A560}"/>
                </a:ext>
              </a:extLst>
            </p:cNvPr>
            <p:cNvSpPr/>
            <p:nvPr/>
          </p:nvSpPr>
          <p:spPr>
            <a:xfrm>
              <a:off x="1363645" y="2880360"/>
              <a:ext cx="896770" cy="89677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400" dirty="0">
                  <a:solidFill>
                    <a:schemeClr val="bg1"/>
                  </a:solidFill>
                  <a:latin typeface="+mj-ea"/>
                  <a:ea typeface="+mj-ea"/>
                </a:rPr>
                <a:t>02</a:t>
              </a:r>
              <a:endParaRPr lang="zh-CN" altLang="en-US" sz="2400" dirty="0">
                <a:solidFill>
                  <a:schemeClr val="bg1"/>
                </a:solidFill>
                <a:latin typeface="+mj-ea"/>
                <a:ea typeface="+mj-ea"/>
              </a:endParaRPr>
            </a:p>
          </p:txBody>
        </p:sp>
        <p:sp>
          <p:nvSpPr>
            <p:cNvPr id="36" name="文本框 35">
              <a:extLst>
                <a:ext uri="{FF2B5EF4-FFF2-40B4-BE49-F238E27FC236}">
                  <a16:creationId xmlns:a16="http://schemas.microsoft.com/office/drawing/2014/main" id="{D84E04A3-E956-458C-98CE-2C4F8F4B5E08}"/>
                </a:ext>
              </a:extLst>
            </p:cNvPr>
            <p:cNvSpPr txBox="1"/>
            <p:nvPr/>
          </p:nvSpPr>
          <p:spPr>
            <a:xfrm>
              <a:off x="1095024" y="4052029"/>
              <a:ext cx="1434013" cy="446276"/>
            </a:xfrm>
            <a:prstGeom prst="rect">
              <a:avLst/>
            </a:prstGeom>
            <a:noFill/>
          </p:spPr>
          <p:txBody>
            <a:bodyPr wrap="square" lIns="0" tIns="0" rIns="0" bIns="0" rtlCol="0" anchor="t">
              <a:spAutoFit/>
            </a:bodyPr>
            <a:lstStyle/>
            <a:p>
              <a:pPr algn="ctr"/>
              <a:r>
                <a:rPr lang="zh-CN" altLang="en-US" sz="2800" dirty="0">
                  <a:solidFill>
                    <a:schemeClr val="accent1"/>
                  </a:solidFill>
                  <a:latin typeface="+mj-ea"/>
                  <a:ea typeface="+mj-ea"/>
                </a:rPr>
                <a:t>目录标题</a:t>
              </a:r>
            </a:p>
          </p:txBody>
        </p:sp>
        <p:sp>
          <p:nvSpPr>
            <p:cNvPr id="37" name="文本框 36">
              <a:extLst>
                <a:ext uri="{FF2B5EF4-FFF2-40B4-BE49-F238E27FC236}">
                  <a16:creationId xmlns:a16="http://schemas.microsoft.com/office/drawing/2014/main" id="{FA3C3B70-7D54-4D88-8775-93921EE35E17}"/>
                </a:ext>
              </a:extLst>
            </p:cNvPr>
            <p:cNvSpPr txBox="1"/>
            <p:nvPr/>
          </p:nvSpPr>
          <p:spPr>
            <a:xfrm>
              <a:off x="1118616" y="4485357"/>
              <a:ext cx="1386829" cy="169277"/>
            </a:xfrm>
            <a:prstGeom prst="rect">
              <a:avLst/>
            </a:prstGeom>
            <a:noFill/>
          </p:spPr>
          <p:txBody>
            <a:bodyPr wrap="square" lIns="0" tIns="0" rIns="0" bIns="0" rtlCol="0" anchor="t">
              <a:spAutoFit/>
            </a:bodyPr>
            <a:lstStyle/>
            <a:p>
              <a:pPr algn="dist"/>
              <a:r>
                <a:rPr lang="en-US" altLang="zh-CN" sz="1100" dirty="0">
                  <a:solidFill>
                    <a:schemeClr val="accent1"/>
                  </a:solidFill>
                </a:rPr>
                <a:t>Contents Title Here</a:t>
              </a:r>
              <a:endParaRPr lang="zh-CN" altLang="en-US" sz="1100" dirty="0">
                <a:solidFill>
                  <a:schemeClr val="accent1"/>
                </a:solidFill>
              </a:endParaRPr>
            </a:p>
          </p:txBody>
        </p:sp>
      </p:grpSp>
      <p:grpSp>
        <p:nvGrpSpPr>
          <p:cNvPr id="38" name="组合 37">
            <a:extLst>
              <a:ext uri="{FF2B5EF4-FFF2-40B4-BE49-F238E27FC236}">
                <a16:creationId xmlns:a16="http://schemas.microsoft.com/office/drawing/2014/main" id="{55989743-C8A8-4FE4-B96B-DB520C1FF4BB}"/>
              </a:ext>
            </a:extLst>
          </p:cNvPr>
          <p:cNvGrpSpPr/>
          <p:nvPr/>
        </p:nvGrpSpPr>
        <p:grpSpPr>
          <a:xfrm>
            <a:off x="6570087" y="2880360"/>
            <a:ext cx="1434013" cy="1774274"/>
            <a:chOff x="1095024" y="2880360"/>
            <a:chExt cx="1434013" cy="1774274"/>
          </a:xfrm>
        </p:grpSpPr>
        <p:sp>
          <p:nvSpPr>
            <p:cNvPr id="39" name="椭圆 38">
              <a:extLst>
                <a:ext uri="{FF2B5EF4-FFF2-40B4-BE49-F238E27FC236}">
                  <a16:creationId xmlns:a16="http://schemas.microsoft.com/office/drawing/2014/main" id="{71E7FBB4-A416-45DE-B2FC-1E370B044608}"/>
                </a:ext>
              </a:extLst>
            </p:cNvPr>
            <p:cNvSpPr/>
            <p:nvPr/>
          </p:nvSpPr>
          <p:spPr>
            <a:xfrm>
              <a:off x="1363645" y="2880360"/>
              <a:ext cx="896770" cy="89677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400" dirty="0">
                  <a:solidFill>
                    <a:schemeClr val="bg1"/>
                  </a:solidFill>
                  <a:latin typeface="+mj-ea"/>
                  <a:ea typeface="+mj-ea"/>
                </a:rPr>
                <a:t>03</a:t>
              </a:r>
              <a:endParaRPr lang="zh-CN" altLang="en-US" sz="2400" dirty="0">
                <a:solidFill>
                  <a:schemeClr val="bg1"/>
                </a:solidFill>
                <a:latin typeface="+mj-ea"/>
                <a:ea typeface="+mj-ea"/>
              </a:endParaRPr>
            </a:p>
          </p:txBody>
        </p:sp>
        <p:sp>
          <p:nvSpPr>
            <p:cNvPr id="40" name="文本框 39">
              <a:extLst>
                <a:ext uri="{FF2B5EF4-FFF2-40B4-BE49-F238E27FC236}">
                  <a16:creationId xmlns:a16="http://schemas.microsoft.com/office/drawing/2014/main" id="{D2FBFDF2-9463-41D8-910F-A77EF3BED61B}"/>
                </a:ext>
              </a:extLst>
            </p:cNvPr>
            <p:cNvSpPr txBox="1"/>
            <p:nvPr/>
          </p:nvSpPr>
          <p:spPr>
            <a:xfrm>
              <a:off x="1095024" y="4052029"/>
              <a:ext cx="1434013" cy="446276"/>
            </a:xfrm>
            <a:prstGeom prst="rect">
              <a:avLst/>
            </a:prstGeom>
            <a:noFill/>
          </p:spPr>
          <p:txBody>
            <a:bodyPr wrap="square" lIns="0" tIns="0" rIns="0" bIns="0" rtlCol="0" anchor="t">
              <a:spAutoFit/>
            </a:bodyPr>
            <a:lstStyle/>
            <a:p>
              <a:pPr algn="ctr"/>
              <a:r>
                <a:rPr lang="zh-CN" altLang="en-US" sz="2800" dirty="0">
                  <a:solidFill>
                    <a:schemeClr val="accent1"/>
                  </a:solidFill>
                  <a:latin typeface="+mj-ea"/>
                  <a:ea typeface="+mj-ea"/>
                </a:rPr>
                <a:t>目录标题</a:t>
              </a:r>
            </a:p>
          </p:txBody>
        </p:sp>
        <p:sp>
          <p:nvSpPr>
            <p:cNvPr id="41" name="文本框 40">
              <a:extLst>
                <a:ext uri="{FF2B5EF4-FFF2-40B4-BE49-F238E27FC236}">
                  <a16:creationId xmlns:a16="http://schemas.microsoft.com/office/drawing/2014/main" id="{20EACF28-2B82-4DA8-82F6-0F0CA7A23D17}"/>
                </a:ext>
              </a:extLst>
            </p:cNvPr>
            <p:cNvSpPr txBox="1"/>
            <p:nvPr/>
          </p:nvSpPr>
          <p:spPr>
            <a:xfrm>
              <a:off x="1118616" y="4485357"/>
              <a:ext cx="1386829" cy="169277"/>
            </a:xfrm>
            <a:prstGeom prst="rect">
              <a:avLst/>
            </a:prstGeom>
            <a:noFill/>
          </p:spPr>
          <p:txBody>
            <a:bodyPr wrap="square" lIns="0" tIns="0" rIns="0" bIns="0" rtlCol="0" anchor="t">
              <a:spAutoFit/>
            </a:bodyPr>
            <a:lstStyle/>
            <a:p>
              <a:pPr algn="dist"/>
              <a:r>
                <a:rPr lang="en-US" altLang="zh-CN" sz="1100" dirty="0">
                  <a:solidFill>
                    <a:schemeClr val="accent1"/>
                  </a:solidFill>
                </a:rPr>
                <a:t>Contents Title Here</a:t>
              </a:r>
              <a:endParaRPr lang="zh-CN" altLang="en-US" sz="1100" dirty="0">
                <a:solidFill>
                  <a:schemeClr val="accent1"/>
                </a:solidFill>
              </a:endParaRPr>
            </a:p>
          </p:txBody>
        </p:sp>
      </p:grpSp>
      <p:grpSp>
        <p:nvGrpSpPr>
          <p:cNvPr id="42" name="组合 41">
            <a:extLst>
              <a:ext uri="{FF2B5EF4-FFF2-40B4-BE49-F238E27FC236}">
                <a16:creationId xmlns:a16="http://schemas.microsoft.com/office/drawing/2014/main" id="{8C43CF99-E831-44C3-A1A2-A82DBD4C526E}"/>
              </a:ext>
            </a:extLst>
          </p:cNvPr>
          <p:cNvGrpSpPr/>
          <p:nvPr/>
        </p:nvGrpSpPr>
        <p:grpSpPr>
          <a:xfrm>
            <a:off x="8952274" y="2880360"/>
            <a:ext cx="1434013" cy="1774274"/>
            <a:chOff x="1095024" y="2880360"/>
            <a:chExt cx="1434013" cy="1774274"/>
          </a:xfrm>
        </p:grpSpPr>
        <p:sp>
          <p:nvSpPr>
            <p:cNvPr id="43" name="椭圆 42">
              <a:extLst>
                <a:ext uri="{FF2B5EF4-FFF2-40B4-BE49-F238E27FC236}">
                  <a16:creationId xmlns:a16="http://schemas.microsoft.com/office/drawing/2014/main" id="{DA492BF5-5C70-42DD-9E2F-A1A884BB1B1C}"/>
                </a:ext>
              </a:extLst>
            </p:cNvPr>
            <p:cNvSpPr/>
            <p:nvPr/>
          </p:nvSpPr>
          <p:spPr>
            <a:xfrm>
              <a:off x="1363645" y="2880360"/>
              <a:ext cx="896770" cy="89677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400" dirty="0">
                  <a:solidFill>
                    <a:schemeClr val="bg1"/>
                  </a:solidFill>
                  <a:latin typeface="+mj-ea"/>
                  <a:ea typeface="+mj-ea"/>
                </a:rPr>
                <a:t>04</a:t>
              </a:r>
              <a:endParaRPr lang="zh-CN" altLang="en-US" sz="2400" dirty="0">
                <a:solidFill>
                  <a:schemeClr val="bg1"/>
                </a:solidFill>
                <a:latin typeface="+mj-ea"/>
                <a:ea typeface="+mj-ea"/>
              </a:endParaRPr>
            </a:p>
          </p:txBody>
        </p:sp>
        <p:sp>
          <p:nvSpPr>
            <p:cNvPr id="44" name="文本框 43">
              <a:extLst>
                <a:ext uri="{FF2B5EF4-FFF2-40B4-BE49-F238E27FC236}">
                  <a16:creationId xmlns:a16="http://schemas.microsoft.com/office/drawing/2014/main" id="{9B807393-AF24-4F67-8C7E-872E78AC69B7}"/>
                </a:ext>
              </a:extLst>
            </p:cNvPr>
            <p:cNvSpPr txBox="1"/>
            <p:nvPr/>
          </p:nvSpPr>
          <p:spPr>
            <a:xfrm>
              <a:off x="1095024" y="4052029"/>
              <a:ext cx="1434013" cy="446276"/>
            </a:xfrm>
            <a:prstGeom prst="rect">
              <a:avLst/>
            </a:prstGeom>
            <a:noFill/>
          </p:spPr>
          <p:txBody>
            <a:bodyPr wrap="square" lIns="0" tIns="0" rIns="0" bIns="0" rtlCol="0" anchor="t">
              <a:spAutoFit/>
            </a:bodyPr>
            <a:lstStyle/>
            <a:p>
              <a:pPr algn="ctr"/>
              <a:r>
                <a:rPr lang="zh-CN" altLang="en-US" sz="2800" dirty="0">
                  <a:solidFill>
                    <a:schemeClr val="accent1"/>
                  </a:solidFill>
                  <a:latin typeface="+mj-ea"/>
                  <a:ea typeface="+mj-ea"/>
                </a:rPr>
                <a:t>目录标题</a:t>
              </a:r>
            </a:p>
          </p:txBody>
        </p:sp>
        <p:sp>
          <p:nvSpPr>
            <p:cNvPr id="45" name="文本框 44">
              <a:extLst>
                <a:ext uri="{FF2B5EF4-FFF2-40B4-BE49-F238E27FC236}">
                  <a16:creationId xmlns:a16="http://schemas.microsoft.com/office/drawing/2014/main" id="{63E1B0D1-58F9-4B2C-964E-629932E03617}"/>
                </a:ext>
              </a:extLst>
            </p:cNvPr>
            <p:cNvSpPr txBox="1"/>
            <p:nvPr/>
          </p:nvSpPr>
          <p:spPr>
            <a:xfrm>
              <a:off x="1118616" y="4485357"/>
              <a:ext cx="1386829" cy="169277"/>
            </a:xfrm>
            <a:prstGeom prst="rect">
              <a:avLst/>
            </a:prstGeom>
            <a:noFill/>
          </p:spPr>
          <p:txBody>
            <a:bodyPr wrap="square" lIns="0" tIns="0" rIns="0" bIns="0" rtlCol="0" anchor="t">
              <a:spAutoFit/>
            </a:bodyPr>
            <a:lstStyle/>
            <a:p>
              <a:pPr algn="dist"/>
              <a:r>
                <a:rPr lang="en-US" altLang="zh-CN" sz="1100" dirty="0">
                  <a:solidFill>
                    <a:schemeClr val="accent1"/>
                  </a:solidFill>
                </a:rPr>
                <a:t>Contents Title Here</a:t>
              </a:r>
              <a:endParaRPr lang="zh-CN" altLang="en-US" sz="1100" dirty="0">
                <a:solidFill>
                  <a:schemeClr val="accent1"/>
                </a:solidFill>
              </a:endParaRPr>
            </a:p>
          </p:txBody>
        </p:sp>
      </p:grpSp>
      <p:sp>
        <p:nvSpPr>
          <p:cNvPr id="46" name="矩形: 圆角 2">
            <a:extLst>
              <a:ext uri="{FF2B5EF4-FFF2-40B4-BE49-F238E27FC236}">
                <a16:creationId xmlns:a16="http://schemas.microsoft.com/office/drawing/2014/main" id="{EC31441F-7D89-4041-AF5E-1D5E24CBCAC9}"/>
              </a:ext>
            </a:extLst>
          </p:cNvPr>
          <p:cNvSpPr/>
          <p:nvPr/>
        </p:nvSpPr>
        <p:spPr>
          <a:xfrm flipV="1">
            <a:off x="4911171" y="4773204"/>
            <a:ext cx="2416937" cy="724429"/>
          </a:xfrm>
          <a:custGeom>
            <a:avLst/>
            <a:gdLst>
              <a:gd name="connsiteX0" fmla="*/ 0 w 2481809"/>
              <a:gd name="connsiteY0" fmla="*/ 240293 h 964722"/>
              <a:gd name="connsiteX1" fmla="*/ 240293 w 2481809"/>
              <a:gd name="connsiteY1" fmla="*/ 0 h 964722"/>
              <a:gd name="connsiteX2" fmla="*/ 2241516 w 2481809"/>
              <a:gd name="connsiteY2" fmla="*/ 0 h 964722"/>
              <a:gd name="connsiteX3" fmla="*/ 2481809 w 2481809"/>
              <a:gd name="connsiteY3" fmla="*/ 240293 h 964722"/>
              <a:gd name="connsiteX4" fmla="*/ 2481809 w 2481809"/>
              <a:gd name="connsiteY4" fmla="*/ 724429 h 964722"/>
              <a:gd name="connsiteX5" fmla="*/ 2241516 w 2481809"/>
              <a:gd name="connsiteY5" fmla="*/ 964722 h 964722"/>
              <a:gd name="connsiteX6" fmla="*/ 240293 w 2481809"/>
              <a:gd name="connsiteY6" fmla="*/ 964722 h 964722"/>
              <a:gd name="connsiteX7" fmla="*/ 0 w 2481809"/>
              <a:gd name="connsiteY7" fmla="*/ 724429 h 964722"/>
              <a:gd name="connsiteX8" fmla="*/ 0 w 2481809"/>
              <a:gd name="connsiteY8" fmla="*/ 240293 h 964722"/>
              <a:gd name="connsiteX0" fmla="*/ 240293 w 2481809"/>
              <a:gd name="connsiteY0" fmla="*/ 964722 h 1056162"/>
              <a:gd name="connsiteX1" fmla="*/ 0 w 2481809"/>
              <a:gd name="connsiteY1" fmla="*/ 724429 h 1056162"/>
              <a:gd name="connsiteX2" fmla="*/ 0 w 2481809"/>
              <a:gd name="connsiteY2" fmla="*/ 240293 h 1056162"/>
              <a:gd name="connsiteX3" fmla="*/ 240293 w 2481809"/>
              <a:gd name="connsiteY3" fmla="*/ 0 h 1056162"/>
              <a:gd name="connsiteX4" fmla="*/ 2241516 w 2481809"/>
              <a:gd name="connsiteY4" fmla="*/ 0 h 1056162"/>
              <a:gd name="connsiteX5" fmla="*/ 2481809 w 2481809"/>
              <a:gd name="connsiteY5" fmla="*/ 240293 h 1056162"/>
              <a:gd name="connsiteX6" fmla="*/ 2481809 w 2481809"/>
              <a:gd name="connsiteY6" fmla="*/ 724429 h 1056162"/>
              <a:gd name="connsiteX7" fmla="*/ 2241516 w 2481809"/>
              <a:gd name="connsiteY7" fmla="*/ 964722 h 1056162"/>
              <a:gd name="connsiteX8" fmla="*/ 331733 w 2481809"/>
              <a:gd name="connsiteY8" fmla="*/ 1056162 h 1056162"/>
              <a:gd name="connsiteX0" fmla="*/ 240293 w 2481809"/>
              <a:gd name="connsiteY0" fmla="*/ 964722 h 964722"/>
              <a:gd name="connsiteX1" fmla="*/ 0 w 2481809"/>
              <a:gd name="connsiteY1" fmla="*/ 724429 h 964722"/>
              <a:gd name="connsiteX2" fmla="*/ 0 w 2481809"/>
              <a:gd name="connsiteY2" fmla="*/ 240293 h 964722"/>
              <a:gd name="connsiteX3" fmla="*/ 240293 w 2481809"/>
              <a:gd name="connsiteY3" fmla="*/ 0 h 964722"/>
              <a:gd name="connsiteX4" fmla="*/ 2241516 w 2481809"/>
              <a:gd name="connsiteY4" fmla="*/ 0 h 964722"/>
              <a:gd name="connsiteX5" fmla="*/ 2481809 w 2481809"/>
              <a:gd name="connsiteY5" fmla="*/ 240293 h 964722"/>
              <a:gd name="connsiteX6" fmla="*/ 2481809 w 2481809"/>
              <a:gd name="connsiteY6" fmla="*/ 724429 h 964722"/>
              <a:gd name="connsiteX7" fmla="*/ 2241516 w 2481809"/>
              <a:gd name="connsiteY7" fmla="*/ 964722 h 964722"/>
              <a:gd name="connsiteX0" fmla="*/ 240293 w 2481809"/>
              <a:gd name="connsiteY0" fmla="*/ 964722 h 964722"/>
              <a:gd name="connsiteX1" fmla="*/ 0 w 2481809"/>
              <a:gd name="connsiteY1" fmla="*/ 724429 h 964722"/>
              <a:gd name="connsiteX2" fmla="*/ 0 w 2481809"/>
              <a:gd name="connsiteY2" fmla="*/ 240293 h 964722"/>
              <a:gd name="connsiteX3" fmla="*/ 240293 w 2481809"/>
              <a:gd name="connsiteY3" fmla="*/ 0 h 964722"/>
              <a:gd name="connsiteX4" fmla="*/ 2241516 w 2481809"/>
              <a:gd name="connsiteY4" fmla="*/ 0 h 964722"/>
              <a:gd name="connsiteX5" fmla="*/ 2481809 w 2481809"/>
              <a:gd name="connsiteY5" fmla="*/ 240293 h 964722"/>
              <a:gd name="connsiteX6" fmla="*/ 2481809 w 2481809"/>
              <a:gd name="connsiteY6" fmla="*/ 724429 h 964722"/>
              <a:gd name="connsiteX0" fmla="*/ 0 w 2481809"/>
              <a:gd name="connsiteY0" fmla="*/ 724429 h 724429"/>
              <a:gd name="connsiteX1" fmla="*/ 0 w 2481809"/>
              <a:gd name="connsiteY1" fmla="*/ 240293 h 724429"/>
              <a:gd name="connsiteX2" fmla="*/ 240293 w 2481809"/>
              <a:gd name="connsiteY2" fmla="*/ 0 h 724429"/>
              <a:gd name="connsiteX3" fmla="*/ 2241516 w 2481809"/>
              <a:gd name="connsiteY3" fmla="*/ 0 h 724429"/>
              <a:gd name="connsiteX4" fmla="*/ 2481809 w 2481809"/>
              <a:gd name="connsiteY4" fmla="*/ 240293 h 724429"/>
              <a:gd name="connsiteX5" fmla="*/ 2481809 w 2481809"/>
              <a:gd name="connsiteY5" fmla="*/ 724429 h 724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1809" h="724429">
                <a:moveTo>
                  <a:pt x="0" y="724429"/>
                </a:moveTo>
                <a:lnTo>
                  <a:pt x="0" y="240293"/>
                </a:lnTo>
                <a:cubicBezTo>
                  <a:pt x="0" y="107583"/>
                  <a:pt x="107583" y="0"/>
                  <a:pt x="240293" y="0"/>
                </a:cubicBezTo>
                <a:lnTo>
                  <a:pt x="2241516" y="0"/>
                </a:lnTo>
                <a:cubicBezTo>
                  <a:pt x="2374226" y="0"/>
                  <a:pt x="2481809" y="107583"/>
                  <a:pt x="2481809" y="240293"/>
                </a:cubicBezTo>
                <a:lnTo>
                  <a:pt x="2481809" y="724429"/>
                </a:lnTo>
              </a:path>
            </a:pathLst>
          </a:custGeom>
          <a:noFill/>
          <a:ln w="19050">
            <a:solidFill>
              <a:schemeClr val="accent1"/>
            </a:solidFill>
            <a:headEnd type="ova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47" name="矩形: 圆角 2">
            <a:extLst>
              <a:ext uri="{FF2B5EF4-FFF2-40B4-BE49-F238E27FC236}">
                <a16:creationId xmlns:a16="http://schemas.microsoft.com/office/drawing/2014/main" id="{032D9368-CFB7-41C8-A388-2A6C57D5025F}"/>
              </a:ext>
            </a:extLst>
          </p:cNvPr>
          <p:cNvSpPr/>
          <p:nvPr/>
        </p:nvSpPr>
        <p:spPr>
          <a:xfrm>
            <a:off x="7287093" y="2018481"/>
            <a:ext cx="2421292" cy="724429"/>
          </a:xfrm>
          <a:custGeom>
            <a:avLst/>
            <a:gdLst>
              <a:gd name="connsiteX0" fmla="*/ 0 w 2481809"/>
              <a:gd name="connsiteY0" fmla="*/ 240293 h 964722"/>
              <a:gd name="connsiteX1" fmla="*/ 240293 w 2481809"/>
              <a:gd name="connsiteY1" fmla="*/ 0 h 964722"/>
              <a:gd name="connsiteX2" fmla="*/ 2241516 w 2481809"/>
              <a:gd name="connsiteY2" fmla="*/ 0 h 964722"/>
              <a:gd name="connsiteX3" fmla="*/ 2481809 w 2481809"/>
              <a:gd name="connsiteY3" fmla="*/ 240293 h 964722"/>
              <a:gd name="connsiteX4" fmla="*/ 2481809 w 2481809"/>
              <a:gd name="connsiteY4" fmla="*/ 724429 h 964722"/>
              <a:gd name="connsiteX5" fmla="*/ 2241516 w 2481809"/>
              <a:gd name="connsiteY5" fmla="*/ 964722 h 964722"/>
              <a:gd name="connsiteX6" fmla="*/ 240293 w 2481809"/>
              <a:gd name="connsiteY6" fmla="*/ 964722 h 964722"/>
              <a:gd name="connsiteX7" fmla="*/ 0 w 2481809"/>
              <a:gd name="connsiteY7" fmla="*/ 724429 h 964722"/>
              <a:gd name="connsiteX8" fmla="*/ 0 w 2481809"/>
              <a:gd name="connsiteY8" fmla="*/ 240293 h 964722"/>
              <a:gd name="connsiteX0" fmla="*/ 240293 w 2481809"/>
              <a:gd name="connsiteY0" fmla="*/ 964722 h 1056162"/>
              <a:gd name="connsiteX1" fmla="*/ 0 w 2481809"/>
              <a:gd name="connsiteY1" fmla="*/ 724429 h 1056162"/>
              <a:gd name="connsiteX2" fmla="*/ 0 w 2481809"/>
              <a:gd name="connsiteY2" fmla="*/ 240293 h 1056162"/>
              <a:gd name="connsiteX3" fmla="*/ 240293 w 2481809"/>
              <a:gd name="connsiteY3" fmla="*/ 0 h 1056162"/>
              <a:gd name="connsiteX4" fmla="*/ 2241516 w 2481809"/>
              <a:gd name="connsiteY4" fmla="*/ 0 h 1056162"/>
              <a:gd name="connsiteX5" fmla="*/ 2481809 w 2481809"/>
              <a:gd name="connsiteY5" fmla="*/ 240293 h 1056162"/>
              <a:gd name="connsiteX6" fmla="*/ 2481809 w 2481809"/>
              <a:gd name="connsiteY6" fmla="*/ 724429 h 1056162"/>
              <a:gd name="connsiteX7" fmla="*/ 2241516 w 2481809"/>
              <a:gd name="connsiteY7" fmla="*/ 964722 h 1056162"/>
              <a:gd name="connsiteX8" fmla="*/ 331733 w 2481809"/>
              <a:gd name="connsiteY8" fmla="*/ 1056162 h 1056162"/>
              <a:gd name="connsiteX0" fmla="*/ 240293 w 2481809"/>
              <a:gd name="connsiteY0" fmla="*/ 964722 h 964722"/>
              <a:gd name="connsiteX1" fmla="*/ 0 w 2481809"/>
              <a:gd name="connsiteY1" fmla="*/ 724429 h 964722"/>
              <a:gd name="connsiteX2" fmla="*/ 0 w 2481809"/>
              <a:gd name="connsiteY2" fmla="*/ 240293 h 964722"/>
              <a:gd name="connsiteX3" fmla="*/ 240293 w 2481809"/>
              <a:gd name="connsiteY3" fmla="*/ 0 h 964722"/>
              <a:gd name="connsiteX4" fmla="*/ 2241516 w 2481809"/>
              <a:gd name="connsiteY4" fmla="*/ 0 h 964722"/>
              <a:gd name="connsiteX5" fmla="*/ 2481809 w 2481809"/>
              <a:gd name="connsiteY5" fmla="*/ 240293 h 964722"/>
              <a:gd name="connsiteX6" fmla="*/ 2481809 w 2481809"/>
              <a:gd name="connsiteY6" fmla="*/ 724429 h 964722"/>
              <a:gd name="connsiteX7" fmla="*/ 2241516 w 2481809"/>
              <a:gd name="connsiteY7" fmla="*/ 964722 h 964722"/>
              <a:gd name="connsiteX0" fmla="*/ 240293 w 2481809"/>
              <a:gd name="connsiteY0" fmla="*/ 964722 h 964722"/>
              <a:gd name="connsiteX1" fmla="*/ 0 w 2481809"/>
              <a:gd name="connsiteY1" fmla="*/ 724429 h 964722"/>
              <a:gd name="connsiteX2" fmla="*/ 0 w 2481809"/>
              <a:gd name="connsiteY2" fmla="*/ 240293 h 964722"/>
              <a:gd name="connsiteX3" fmla="*/ 240293 w 2481809"/>
              <a:gd name="connsiteY3" fmla="*/ 0 h 964722"/>
              <a:gd name="connsiteX4" fmla="*/ 2241516 w 2481809"/>
              <a:gd name="connsiteY4" fmla="*/ 0 h 964722"/>
              <a:gd name="connsiteX5" fmla="*/ 2481809 w 2481809"/>
              <a:gd name="connsiteY5" fmla="*/ 240293 h 964722"/>
              <a:gd name="connsiteX6" fmla="*/ 2481809 w 2481809"/>
              <a:gd name="connsiteY6" fmla="*/ 724429 h 964722"/>
              <a:gd name="connsiteX0" fmla="*/ 0 w 2481809"/>
              <a:gd name="connsiteY0" fmla="*/ 724429 h 724429"/>
              <a:gd name="connsiteX1" fmla="*/ 0 w 2481809"/>
              <a:gd name="connsiteY1" fmla="*/ 240293 h 724429"/>
              <a:gd name="connsiteX2" fmla="*/ 240293 w 2481809"/>
              <a:gd name="connsiteY2" fmla="*/ 0 h 724429"/>
              <a:gd name="connsiteX3" fmla="*/ 2241516 w 2481809"/>
              <a:gd name="connsiteY3" fmla="*/ 0 h 724429"/>
              <a:gd name="connsiteX4" fmla="*/ 2481809 w 2481809"/>
              <a:gd name="connsiteY4" fmla="*/ 240293 h 724429"/>
              <a:gd name="connsiteX5" fmla="*/ 2481809 w 2481809"/>
              <a:gd name="connsiteY5" fmla="*/ 724429 h 724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1809" h="724429">
                <a:moveTo>
                  <a:pt x="0" y="724429"/>
                </a:moveTo>
                <a:lnTo>
                  <a:pt x="0" y="240293"/>
                </a:lnTo>
                <a:cubicBezTo>
                  <a:pt x="0" y="107583"/>
                  <a:pt x="107583" y="0"/>
                  <a:pt x="240293" y="0"/>
                </a:cubicBezTo>
                <a:lnTo>
                  <a:pt x="2241516" y="0"/>
                </a:lnTo>
                <a:cubicBezTo>
                  <a:pt x="2374226" y="0"/>
                  <a:pt x="2481809" y="107583"/>
                  <a:pt x="2481809" y="240293"/>
                </a:cubicBezTo>
                <a:lnTo>
                  <a:pt x="2481809" y="724429"/>
                </a:lnTo>
              </a:path>
            </a:pathLst>
          </a:custGeom>
          <a:noFill/>
          <a:ln w="19050">
            <a:solidFill>
              <a:schemeClr val="accent1"/>
            </a:solidFill>
            <a:headEnd type="ova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Tree>
    <p:extLst>
      <p:ext uri="{BB962C8B-B14F-4D97-AF65-F5344CB8AC3E}">
        <p14:creationId xmlns:p14="http://schemas.microsoft.com/office/powerpoint/2010/main" val="1373177645"/>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a:extLst>
              <a:ext uri="{FF2B5EF4-FFF2-40B4-BE49-F238E27FC236}">
                <a16:creationId xmlns:a16="http://schemas.microsoft.com/office/drawing/2014/main" id="{E0F8826A-4CB5-4804-BC57-0390DF60720B}"/>
              </a:ext>
            </a:extLst>
          </p:cNvPr>
          <p:cNvSpPr txBox="1"/>
          <p:nvPr/>
        </p:nvSpPr>
        <p:spPr>
          <a:xfrm>
            <a:off x="2002663" y="546490"/>
            <a:ext cx="2416937" cy="492443"/>
          </a:xfrm>
          <a:prstGeom prst="rect">
            <a:avLst/>
          </a:prstGeom>
          <a:noFill/>
        </p:spPr>
        <p:txBody>
          <a:bodyPr wrap="square" lIns="0" tIns="0" rIns="0" bIns="0" rtlCol="0" anchor="t">
            <a:spAutoFit/>
          </a:bodyPr>
          <a:lstStyle/>
          <a:p>
            <a:pPr algn="dist"/>
            <a:r>
              <a:rPr lang="en-US" altLang="zh-CN" sz="3200" dirty="0">
                <a:solidFill>
                  <a:schemeClr val="accent1">
                    <a:lumMod val="20000"/>
                    <a:lumOff val="80000"/>
                  </a:schemeClr>
                </a:solidFill>
                <a:latin typeface="+mj-ea"/>
                <a:ea typeface="+mj-ea"/>
              </a:rPr>
              <a:t>CONTENTS</a:t>
            </a:r>
            <a:endParaRPr lang="zh-CN" altLang="en-US" sz="3200" dirty="0">
              <a:solidFill>
                <a:schemeClr val="accent1">
                  <a:lumMod val="20000"/>
                  <a:lumOff val="80000"/>
                </a:schemeClr>
              </a:solidFill>
              <a:latin typeface="+mj-ea"/>
              <a:ea typeface="+mj-ea"/>
            </a:endParaRPr>
          </a:p>
        </p:txBody>
      </p:sp>
      <p:sp>
        <p:nvSpPr>
          <p:cNvPr id="4" name="文本框 3">
            <a:extLst>
              <a:ext uri="{FF2B5EF4-FFF2-40B4-BE49-F238E27FC236}">
                <a16:creationId xmlns:a16="http://schemas.microsoft.com/office/drawing/2014/main" id="{68C23C45-97EA-4949-B798-1FD4B92CD38C}"/>
              </a:ext>
            </a:extLst>
          </p:cNvPr>
          <p:cNvSpPr txBox="1"/>
          <p:nvPr/>
        </p:nvSpPr>
        <p:spPr>
          <a:xfrm>
            <a:off x="499872" y="212478"/>
            <a:ext cx="1452626" cy="830997"/>
          </a:xfrm>
          <a:prstGeom prst="rect">
            <a:avLst/>
          </a:prstGeom>
          <a:noFill/>
        </p:spPr>
        <p:txBody>
          <a:bodyPr wrap="square" lIns="0" tIns="0" rIns="0" bIns="0" rtlCol="0" anchor="t">
            <a:spAutoFit/>
          </a:bodyPr>
          <a:lstStyle/>
          <a:p>
            <a:pPr algn="dist"/>
            <a:r>
              <a:rPr lang="zh-CN" altLang="en-US" sz="5400" dirty="0">
                <a:solidFill>
                  <a:schemeClr val="accent1"/>
                </a:solidFill>
                <a:latin typeface="+mj-ea"/>
                <a:ea typeface="+mj-ea"/>
              </a:rPr>
              <a:t>目录</a:t>
            </a:r>
          </a:p>
        </p:txBody>
      </p:sp>
      <p:sp>
        <p:nvSpPr>
          <p:cNvPr id="7" name="矩形: 圆顶角 6">
            <a:extLst>
              <a:ext uri="{FF2B5EF4-FFF2-40B4-BE49-F238E27FC236}">
                <a16:creationId xmlns:a16="http://schemas.microsoft.com/office/drawing/2014/main" id="{B26A0654-1C99-4ACB-AD59-2661F24F6A65}"/>
              </a:ext>
            </a:extLst>
          </p:cNvPr>
          <p:cNvSpPr/>
          <p:nvPr/>
        </p:nvSpPr>
        <p:spPr>
          <a:xfrm>
            <a:off x="1923986" y="2569464"/>
            <a:ext cx="1841628" cy="676656"/>
          </a:xfrm>
          <a:prstGeom prst="round2SameRect">
            <a:avLst>
              <a:gd name="adj1" fmla="val 50000"/>
              <a:gd name="adj2" fmla="val 0"/>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6" name="矩形 5">
            <a:extLst>
              <a:ext uri="{FF2B5EF4-FFF2-40B4-BE49-F238E27FC236}">
                <a16:creationId xmlns:a16="http://schemas.microsoft.com/office/drawing/2014/main" id="{0901B064-FB2D-4E21-BF52-3E4B96919A4B}"/>
              </a:ext>
            </a:extLst>
          </p:cNvPr>
          <p:cNvSpPr/>
          <p:nvPr/>
        </p:nvSpPr>
        <p:spPr>
          <a:xfrm>
            <a:off x="3170692" y="2203704"/>
            <a:ext cx="2296722" cy="104241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8" name="文本框 7">
            <a:extLst>
              <a:ext uri="{FF2B5EF4-FFF2-40B4-BE49-F238E27FC236}">
                <a16:creationId xmlns:a16="http://schemas.microsoft.com/office/drawing/2014/main" id="{A3EE9002-5138-4661-9923-041D005337BF}"/>
              </a:ext>
            </a:extLst>
          </p:cNvPr>
          <p:cNvSpPr txBox="1"/>
          <p:nvPr/>
        </p:nvSpPr>
        <p:spPr>
          <a:xfrm>
            <a:off x="2085674" y="2803424"/>
            <a:ext cx="923330" cy="276999"/>
          </a:xfrm>
          <a:prstGeom prst="rect">
            <a:avLst/>
          </a:prstGeom>
          <a:noFill/>
        </p:spPr>
        <p:txBody>
          <a:bodyPr wrap="none" lIns="0" tIns="0" rIns="0" bIns="0" rtlCol="0" anchor="t">
            <a:spAutoFit/>
          </a:bodyPr>
          <a:lstStyle/>
          <a:p>
            <a:pPr algn="l"/>
            <a:r>
              <a:rPr lang="zh-CN" altLang="en-US" dirty="0">
                <a:solidFill>
                  <a:schemeClr val="bg1"/>
                </a:solidFill>
              </a:rPr>
              <a:t>第一部分</a:t>
            </a:r>
          </a:p>
        </p:txBody>
      </p:sp>
      <p:sp>
        <p:nvSpPr>
          <p:cNvPr id="9" name="矩形 8">
            <a:extLst>
              <a:ext uri="{FF2B5EF4-FFF2-40B4-BE49-F238E27FC236}">
                <a16:creationId xmlns:a16="http://schemas.microsoft.com/office/drawing/2014/main" id="{CED58C43-794F-45EF-8971-1C93A0A88433}"/>
              </a:ext>
            </a:extLst>
          </p:cNvPr>
          <p:cNvSpPr/>
          <p:nvPr/>
        </p:nvSpPr>
        <p:spPr>
          <a:xfrm>
            <a:off x="3170692" y="2203704"/>
            <a:ext cx="442522" cy="263272"/>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a:solidFill>
                  <a:schemeClr val="bg1"/>
                </a:solidFill>
                <a:latin typeface="+mj-ea"/>
                <a:ea typeface="+mj-ea"/>
              </a:rPr>
              <a:t>01</a:t>
            </a:r>
            <a:endParaRPr lang="zh-CN" altLang="en-US" sz="1200" dirty="0">
              <a:solidFill>
                <a:schemeClr val="bg1"/>
              </a:solidFill>
              <a:latin typeface="+mj-ea"/>
              <a:ea typeface="+mj-ea"/>
            </a:endParaRPr>
          </a:p>
        </p:txBody>
      </p:sp>
      <p:sp>
        <p:nvSpPr>
          <p:cNvPr id="10" name="文本框 9">
            <a:extLst>
              <a:ext uri="{FF2B5EF4-FFF2-40B4-BE49-F238E27FC236}">
                <a16:creationId xmlns:a16="http://schemas.microsoft.com/office/drawing/2014/main" id="{68AAAAF0-6EAE-4866-AC6B-5F3454BC172C}"/>
              </a:ext>
            </a:extLst>
          </p:cNvPr>
          <p:cNvSpPr txBox="1"/>
          <p:nvPr/>
        </p:nvSpPr>
        <p:spPr>
          <a:xfrm>
            <a:off x="3684151" y="2502790"/>
            <a:ext cx="1434013" cy="446276"/>
          </a:xfrm>
          <a:prstGeom prst="rect">
            <a:avLst/>
          </a:prstGeom>
          <a:noFill/>
        </p:spPr>
        <p:txBody>
          <a:bodyPr wrap="square" lIns="0" tIns="0" rIns="0" bIns="0" rtlCol="0" anchor="t">
            <a:spAutoFit/>
          </a:bodyPr>
          <a:lstStyle/>
          <a:p>
            <a:pPr algn="ctr"/>
            <a:r>
              <a:rPr lang="zh-CN" altLang="en-US" sz="2800" dirty="0">
                <a:solidFill>
                  <a:schemeClr val="bg1"/>
                </a:solidFill>
                <a:latin typeface="+mj-ea"/>
                <a:ea typeface="+mj-ea"/>
              </a:rPr>
              <a:t>目录标题</a:t>
            </a:r>
          </a:p>
        </p:txBody>
      </p:sp>
      <p:sp>
        <p:nvSpPr>
          <p:cNvPr id="11" name="文本框 10">
            <a:extLst>
              <a:ext uri="{FF2B5EF4-FFF2-40B4-BE49-F238E27FC236}">
                <a16:creationId xmlns:a16="http://schemas.microsoft.com/office/drawing/2014/main" id="{86E9085B-BFDE-49F7-80A5-D70A70F28140}"/>
              </a:ext>
            </a:extLst>
          </p:cNvPr>
          <p:cNvSpPr txBox="1"/>
          <p:nvPr/>
        </p:nvSpPr>
        <p:spPr>
          <a:xfrm>
            <a:off x="3707743" y="2936118"/>
            <a:ext cx="1386829" cy="169277"/>
          </a:xfrm>
          <a:prstGeom prst="rect">
            <a:avLst/>
          </a:prstGeom>
          <a:noFill/>
        </p:spPr>
        <p:txBody>
          <a:bodyPr wrap="square" lIns="0" tIns="0" rIns="0" bIns="0" rtlCol="0" anchor="t">
            <a:spAutoFit/>
          </a:bodyPr>
          <a:lstStyle/>
          <a:p>
            <a:pPr algn="dist"/>
            <a:r>
              <a:rPr lang="en-US" altLang="zh-CN" sz="1100" dirty="0">
                <a:solidFill>
                  <a:schemeClr val="bg1"/>
                </a:solidFill>
              </a:rPr>
              <a:t>Contents Title Here</a:t>
            </a:r>
            <a:endParaRPr lang="zh-CN" altLang="en-US" sz="1100" dirty="0">
              <a:solidFill>
                <a:schemeClr val="bg1"/>
              </a:solidFill>
            </a:endParaRPr>
          </a:p>
        </p:txBody>
      </p:sp>
      <p:sp>
        <p:nvSpPr>
          <p:cNvPr id="14" name="矩形: 圆顶角 13">
            <a:extLst>
              <a:ext uri="{FF2B5EF4-FFF2-40B4-BE49-F238E27FC236}">
                <a16:creationId xmlns:a16="http://schemas.microsoft.com/office/drawing/2014/main" id="{0B2EC944-D7F3-4A71-85ED-E1A7CEF8BA28}"/>
              </a:ext>
            </a:extLst>
          </p:cNvPr>
          <p:cNvSpPr/>
          <p:nvPr/>
        </p:nvSpPr>
        <p:spPr>
          <a:xfrm>
            <a:off x="6724586" y="2569464"/>
            <a:ext cx="1841628" cy="676656"/>
          </a:xfrm>
          <a:prstGeom prst="round2SameRect">
            <a:avLst>
              <a:gd name="adj1" fmla="val 50000"/>
              <a:gd name="adj2" fmla="val 0"/>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15" name="矩形 14">
            <a:extLst>
              <a:ext uri="{FF2B5EF4-FFF2-40B4-BE49-F238E27FC236}">
                <a16:creationId xmlns:a16="http://schemas.microsoft.com/office/drawing/2014/main" id="{6B74B2BE-7847-4A3B-A81A-1033910F9856}"/>
              </a:ext>
            </a:extLst>
          </p:cNvPr>
          <p:cNvSpPr/>
          <p:nvPr/>
        </p:nvSpPr>
        <p:spPr>
          <a:xfrm>
            <a:off x="7971292" y="2203704"/>
            <a:ext cx="2296722" cy="104241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16" name="文本框 15">
            <a:extLst>
              <a:ext uri="{FF2B5EF4-FFF2-40B4-BE49-F238E27FC236}">
                <a16:creationId xmlns:a16="http://schemas.microsoft.com/office/drawing/2014/main" id="{4F88DC7D-91D7-4F47-B8E1-19D2CB565E5F}"/>
              </a:ext>
            </a:extLst>
          </p:cNvPr>
          <p:cNvSpPr txBox="1"/>
          <p:nvPr/>
        </p:nvSpPr>
        <p:spPr>
          <a:xfrm>
            <a:off x="6886274" y="2803424"/>
            <a:ext cx="923330" cy="276999"/>
          </a:xfrm>
          <a:prstGeom prst="rect">
            <a:avLst/>
          </a:prstGeom>
          <a:noFill/>
        </p:spPr>
        <p:txBody>
          <a:bodyPr wrap="none" lIns="0" tIns="0" rIns="0" bIns="0" rtlCol="0" anchor="t">
            <a:spAutoFit/>
          </a:bodyPr>
          <a:lstStyle/>
          <a:p>
            <a:pPr algn="l"/>
            <a:r>
              <a:rPr lang="zh-CN" altLang="en-US" dirty="0">
                <a:solidFill>
                  <a:schemeClr val="bg1"/>
                </a:solidFill>
              </a:rPr>
              <a:t>第二部分</a:t>
            </a:r>
          </a:p>
        </p:txBody>
      </p:sp>
      <p:sp>
        <p:nvSpPr>
          <p:cNvPr id="17" name="矩形 16">
            <a:extLst>
              <a:ext uri="{FF2B5EF4-FFF2-40B4-BE49-F238E27FC236}">
                <a16:creationId xmlns:a16="http://schemas.microsoft.com/office/drawing/2014/main" id="{97AEA547-F5E1-4739-BB4E-C57BF9330162}"/>
              </a:ext>
            </a:extLst>
          </p:cNvPr>
          <p:cNvSpPr/>
          <p:nvPr/>
        </p:nvSpPr>
        <p:spPr>
          <a:xfrm>
            <a:off x="7971292" y="2203704"/>
            <a:ext cx="442522" cy="263272"/>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a:solidFill>
                  <a:schemeClr val="bg1"/>
                </a:solidFill>
                <a:latin typeface="+mj-ea"/>
                <a:ea typeface="+mj-ea"/>
              </a:rPr>
              <a:t>02</a:t>
            </a:r>
            <a:endParaRPr lang="zh-CN" altLang="en-US" sz="1200" dirty="0">
              <a:solidFill>
                <a:schemeClr val="bg1"/>
              </a:solidFill>
              <a:latin typeface="+mj-ea"/>
              <a:ea typeface="+mj-ea"/>
            </a:endParaRPr>
          </a:p>
        </p:txBody>
      </p:sp>
      <p:sp>
        <p:nvSpPr>
          <p:cNvPr id="18" name="文本框 17">
            <a:extLst>
              <a:ext uri="{FF2B5EF4-FFF2-40B4-BE49-F238E27FC236}">
                <a16:creationId xmlns:a16="http://schemas.microsoft.com/office/drawing/2014/main" id="{59E184FD-2001-4FDB-BD2D-E755A5E6AA06}"/>
              </a:ext>
            </a:extLst>
          </p:cNvPr>
          <p:cNvSpPr txBox="1"/>
          <p:nvPr/>
        </p:nvSpPr>
        <p:spPr>
          <a:xfrm>
            <a:off x="8484751" y="2502790"/>
            <a:ext cx="1434013" cy="446276"/>
          </a:xfrm>
          <a:prstGeom prst="rect">
            <a:avLst/>
          </a:prstGeom>
          <a:noFill/>
        </p:spPr>
        <p:txBody>
          <a:bodyPr wrap="square" lIns="0" tIns="0" rIns="0" bIns="0" rtlCol="0" anchor="t">
            <a:spAutoFit/>
          </a:bodyPr>
          <a:lstStyle/>
          <a:p>
            <a:pPr algn="ctr"/>
            <a:r>
              <a:rPr lang="zh-CN" altLang="en-US" sz="2800" dirty="0">
                <a:solidFill>
                  <a:schemeClr val="bg1"/>
                </a:solidFill>
                <a:latin typeface="+mj-ea"/>
                <a:ea typeface="+mj-ea"/>
              </a:rPr>
              <a:t>目录标题</a:t>
            </a:r>
          </a:p>
        </p:txBody>
      </p:sp>
      <p:sp>
        <p:nvSpPr>
          <p:cNvPr id="19" name="文本框 18">
            <a:extLst>
              <a:ext uri="{FF2B5EF4-FFF2-40B4-BE49-F238E27FC236}">
                <a16:creationId xmlns:a16="http://schemas.microsoft.com/office/drawing/2014/main" id="{F365694C-BBB8-4BA2-A7D2-447A75BF5506}"/>
              </a:ext>
            </a:extLst>
          </p:cNvPr>
          <p:cNvSpPr txBox="1"/>
          <p:nvPr/>
        </p:nvSpPr>
        <p:spPr>
          <a:xfrm>
            <a:off x="8508343" y="2936118"/>
            <a:ext cx="1386829" cy="169277"/>
          </a:xfrm>
          <a:prstGeom prst="rect">
            <a:avLst/>
          </a:prstGeom>
          <a:noFill/>
        </p:spPr>
        <p:txBody>
          <a:bodyPr wrap="square" lIns="0" tIns="0" rIns="0" bIns="0" rtlCol="0" anchor="t">
            <a:spAutoFit/>
          </a:bodyPr>
          <a:lstStyle/>
          <a:p>
            <a:pPr algn="dist"/>
            <a:r>
              <a:rPr lang="en-US" altLang="zh-CN" sz="1100" dirty="0">
                <a:solidFill>
                  <a:schemeClr val="bg1"/>
                </a:solidFill>
              </a:rPr>
              <a:t>Contents Title Here</a:t>
            </a:r>
            <a:endParaRPr lang="zh-CN" altLang="en-US" sz="1100" dirty="0">
              <a:solidFill>
                <a:schemeClr val="bg1"/>
              </a:solidFill>
            </a:endParaRPr>
          </a:p>
        </p:txBody>
      </p:sp>
      <p:sp>
        <p:nvSpPr>
          <p:cNvPr id="22" name="矩形: 圆顶角 21">
            <a:extLst>
              <a:ext uri="{FF2B5EF4-FFF2-40B4-BE49-F238E27FC236}">
                <a16:creationId xmlns:a16="http://schemas.microsoft.com/office/drawing/2014/main" id="{D812E7FD-DA7E-4E53-9306-3D2506C8D9BA}"/>
              </a:ext>
            </a:extLst>
          </p:cNvPr>
          <p:cNvSpPr/>
          <p:nvPr/>
        </p:nvSpPr>
        <p:spPr>
          <a:xfrm>
            <a:off x="1923986" y="4434840"/>
            <a:ext cx="1841628" cy="676656"/>
          </a:xfrm>
          <a:prstGeom prst="round2SameRect">
            <a:avLst>
              <a:gd name="adj1" fmla="val 50000"/>
              <a:gd name="adj2" fmla="val 0"/>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23" name="矩形 22">
            <a:extLst>
              <a:ext uri="{FF2B5EF4-FFF2-40B4-BE49-F238E27FC236}">
                <a16:creationId xmlns:a16="http://schemas.microsoft.com/office/drawing/2014/main" id="{1DC6F471-FB2A-4B57-B2C6-05DB8425CD9B}"/>
              </a:ext>
            </a:extLst>
          </p:cNvPr>
          <p:cNvSpPr/>
          <p:nvPr/>
        </p:nvSpPr>
        <p:spPr>
          <a:xfrm>
            <a:off x="3170692" y="4069080"/>
            <a:ext cx="2296722" cy="104241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24" name="文本框 23">
            <a:extLst>
              <a:ext uri="{FF2B5EF4-FFF2-40B4-BE49-F238E27FC236}">
                <a16:creationId xmlns:a16="http://schemas.microsoft.com/office/drawing/2014/main" id="{50C43482-1B97-459E-8B8D-DBA819967E3E}"/>
              </a:ext>
            </a:extLst>
          </p:cNvPr>
          <p:cNvSpPr txBox="1"/>
          <p:nvPr/>
        </p:nvSpPr>
        <p:spPr>
          <a:xfrm>
            <a:off x="2085674" y="4668800"/>
            <a:ext cx="923330" cy="276999"/>
          </a:xfrm>
          <a:prstGeom prst="rect">
            <a:avLst/>
          </a:prstGeom>
          <a:noFill/>
        </p:spPr>
        <p:txBody>
          <a:bodyPr wrap="none" lIns="0" tIns="0" rIns="0" bIns="0" rtlCol="0" anchor="t">
            <a:spAutoFit/>
          </a:bodyPr>
          <a:lstStyle/>
          <a:p>
            <a:pPr algn="l"/>
            <a:r>
              <a:rPr lang="zh-CN" altLang="en-US" dirty="0">
                <a:solidFill>
                  <a:schemeClr val="bg1"/>
                </a:solidFill>
              </a:rPr>
              <a:t>第三部分</a:t>
            </a:r>
          </a:p>
        </p:txBody>
      </p:sp>
      <p:sp>
        <p:nvSpPr>
          <p:cNvPr id="25" name="矩形 24">
            <a:extLst>
              <a:ext uri="{FF2B5EF4-FFF2-40B4-BE49-F238E27FC236}">
                <a16:creationId xmlns:a16="http://schemas.microsoft.com/office/drawing/2014/main" id="{EC64E432-1EFB-49A6-BB04-FD07A82CD5FF}"/>
              </a:ext>
            </a:extLst>
          </p:cNvPr>
          <p:cNvSpPr/>
          <p:nvPr/>
        </p:nvSpPr>
        <p:spPr>
          <a:xfrm>
            <a:off x="3170692" y="4069080"/>
            <a:ext cx="442522" cy="263272"/>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a:solidFill>
                  <a:schemeClr val="bg1"/>
                </a:solidFill>
                <a:latin typeface="+mj-ea"/>
                <a:ea typeface="+mj-ea"/>
              </a:rPr>
              <a:t>03</a:t>
            </a:r>
            <a:endParaRPr lang="zh-CN" altLang="en-US" sz="1200" dirty="0">
              <a:solidFill>
                <a:schemeClr val="bg1"/>
              </a:solidFill>
              <a:latin typeface="+mj-ea"/>
              <a:ea typeface="+mj-ea"/>
            </a:endParaRPr>
          </a:p>
        </p:txBody>
      </p:sp>
      <p:sp>
        <p:nvSpPr>
          <p:cNvPr id="26" name="文本框 25">
            <a:extLst>
              <a:ext uri="{FF2B5EF4-FFF2-40B4-BE49-F238E27FC236}">
                <a16:creationId xmlns:a16="http://schemas.microsoft.com/office/drawing/2014/main" id="{6ACB0B79-4745-4041-9DFF-01552EB8042A}"/>
              </a:ext>
            </a:extLst>
          </p:cNvPr>
          <p:cNvSpPr txBox="1"/>
          <p:nvPr/>
        </p:nvSpPr>
        <p:spPr>
          <a:xfrm>
            <a:off x="3684151" y="4368166"/>
            <a:ext cx="1434013" cy="446276"/>
          </a:xfrm>
          <a:prstGeom prst="rect">
            <a:avLst/>
          </a:prstGeom>
          <a:noFill/>
        </p:spPr>
        <p:txBody>
          <a:bodyPr wrap="square" lIns="0" tIns="0" rIns="0" bIns="0" rtlCol="0" anchor="t">
            <a:spAutoFit/>
          </a:bodyPr>
          <a:lstStyle/>
          <a:p>
            <a:pPr algn="ctr"/>
            <a:r>
              <a:rPr lang="zh-CN" altLang="en-US" sz="2800" dirty="0">
                <a:solidFill>
                  <a:schemeClr val="bg1"/>
                </a:solidFill>
                <a:latin typeface="+mj-ea"/>
                <a:ea typeface="+mj-ea"/>
              </a:rPr>
              <a:t>目录标题</a:t>
            </a:r>
          </a:p>
        </p:txBody>
      </p:sp>
      <p:sp>
        <p:nvSpPr>
          <p:cNvPr id="27" name="文本框 26">
            <a:extLst>
              <a:ext uri="{FF2B5EF4-FFF2-40B4-BE49-F238E27FC236}">
                <a16:creationId xmlns:a16="http://schemas.microsoft.com/office/drawing/2014/main" id="{FB78ADEF-71C8-4F98-9A43-FEB9D34FEB78}"/>
              </a:ext>
            </a:extLst>
          </p:cNvPr>
          <p:cNvSpPr txBox="1"/>
          <p:nvPr/>
        </p:nvSpPr>
        <p:spPr>
          <a:xfrm>
            <a:off x="3707743" y="4801494"/>
            <a:ext cx="1386829" cy="169277"/>
          </a:xfrm>
          <a:prstGeom prst="rect">
            <a:avLst/>
          </a:prstGeom>
          <a:noFill/>
        </p:spPr>
        <p:txBody>
          <a:bodyPr wrap="square" lIns="0" tIns="0" rIns="0" bIns="0" rtlCol="0" anchor="t">
            <a:spAutoFit/>
          </a:bodyPr>
          <a:lstStyle/>
          <a:p>
            <a:pPr algn="dist"/>
            <a:r>
              <a:rPr lang="en-US" altLang="zh-CN" sz="1100" dirty="0">
                <a:solidFill>
                  <a:schemeClr val="bg1"/>
                </a:solidFill>
              </a:rPr>
              <a:t>Contents Title Here</a:t>
            </a:r>
            <a:endParaRPr lang="zh-CN" altLang="en-US" sz="1100" dirty="0">
              <a:solidFill>
                <a:schemeClr val="bg1"/>
              </a:solidFill>
            </a:endParaRPr>
          </a:p>
        </p:txBody>
      </p:sp>
      <p:sp>
        <p:nvSpPr>
          <p:cNvPr id="29" name="矩形: 圆顶角 28">
            <a:extLst>
              <a:ext uri="{FF2B5EF4-FFF2-40B4-BE49-F238E27FC236}">
                <a16:creationId xmlns:a16="http://schemas.microsoft.com/office/drawing/2014/main" id="{F7E9FE8F-E946-4607-91AE-9EB9974D1D98}"/>
              </a:ext>
            </a:extLst>
          </p:cNvPr>
          <p:cNvSpPr/>
          <p:nvPr/>
        </p:nvSpPr>
        <p:spPr>
          <a:xfrm>
            <a:off x="6724586" y="4434840"/>
            <a:ext cx="1841628" cy="676656"/>
          </a:xfrm>
          <a:prstGeom prst="round2SameRect">
            <a:avLst>
              <a:gd name="adj1" fmla="val 50000"/>
              <a:gd name="adj2" fmla="val 0"/>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30" name="矩形 29">
            <a:extLst>
              <a:ext uri="{FF2B5EF4-FFF2-40B4-BE49-F238E27FC236}">
                <a16:creationId xmlns:a16="http://schemas.microsoft.com/office/drawing/2014/main" id="{0E0CF793-F32F-483B-831F-EDE4AB002FC8}"/>
              </a:ext>
            </a:extLst>
          </p:cNvPr>
          <p:cNvSpPr/>
          <p:nvPr/>
        </p:nvSpPr>
        <p:spPr>
          <a:xfrm>
            <a:off x="7971292" y="4069080"/>
            <a:ext cx="2296722" cy="104241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31" name="文本框 30">
            <a:extLst>
              <a:ext uri="{FF2B5EF4-FFF2-40B4-BE49-F238E27FC236}">
                <a16:creationId xmlns:a16="http://schemas.microsoft.com/office/drawing/2014/main" id="{73E38F23-6DBF-46F7-930D-F1418F3E45CB}"/>
              </a:ext>
            </a:extLst>
          </p:cNvPr>
          <p:cNvSpPr txBox="1"/>
          <p:nvPr/>
        </p:nvSpPr>
        <p:spPr>
          <a:xfrm>
            <a:off x="6886274" y="4668800"/>
            <a:ext cx="923330" cy="276999"/>
          </a:xfrm>
          <a:prstGeom prst="rect">
            <a:avLst/>
          </a:prstGeom>
          <a:noFill/>
        </p:spPr>
        <p:txBody>
          <a:bodyPr wrap="none" lIns="0" tIns="0" rIns="0" bIns="0" rtlCol="0" anchor="t">
            <a:spAutoFit/>
          </a:bodyPr>
          <a:lstStyle/>
          <a:p>
            <a:pPr algn="l"/>
            <a:r>
              <a:rPr lang="zh-CN" altLang="en-US" dirty="0">
                <a:solidFill>
                  <a:schemeClr val="bg1"/>
                </a:solidFill>
              </a:rPr>
              <a:t>第四部分</a:t>
            </a:r>
          </a:p>
        </p:txBody>
      </p:sp>
      <p:sp>
        <p:nvSpPr>
          <p:cNvPr id="32" name="矩形 31">
            <a:extLst>
              <a:ext uri="{FF2B5EF4-FFF2-40B4-BE49-F238E27FC236}">
                <a16:creationId xmlns:a16="http://schemas.microsoft.com/office/drawing/2014/main" id="{73B6C018-2EF7-4427-B5DE-931239ED6459}"/>
              </a:ext>
            </a:extLst>
          </p:cNvPr>
          <p:cNvSpPr/>
          <p:nvPr/>
        </p:nvSpPr>
        <p:spPr>
          <a:xfrm>
            <a:off x="7971292" y="4069080"/>
            <a:ext cx="442522" cy="263272"/>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a:solidFill>
                  <a:schemeClr val="bg1"/>
                </a:solidFill>
                <a:latin typeface="+mj-ea"/>
                <a:ea typeface="+mj-ea"/>
              </a:rPr>
              <a:t>04</a:t>
            </a:r>
            <a:endParaRPr lang="zh-CN" altLang="en-US" sz="1200" dirty="0">
              <a:solidFill>
                <a:schemeClr val="bg1"/>
              </a:solidFill>
              <a:latin typeface="+mj-ea"/>
              <a:ea typeface="+mj-ea"/>
            </a:endParaRPr>
          </a:p>
        </p:txBody>
      </p:sp>
      <p:sp>
        <p:nvSpPr>
          <p:cNvPr id="33" name="文本框 32">
            <a:extLst>
              <a:ext uri="{FF2B5EF4-FFF2-40B4-BE49-F238E27FC236}">
                <a16:creationId xmlns:a16="http://schemas.microsoft.com/office/drawing/2014/main" id="{8B453208-BE5B-4B0C-8325-D5F5A6DA85DB}"/>
              </a:ext>
            </a:extLst>
          </p:cNvPr>
          <p:cNvSpPr txBox="1"/>
          <p:nvPr/>
        </p:nvSpPr>
        <p:spPr>
          <a:xfrm>
            <a:off x="8484751" y="4368166"/>
            <a:ext cx="1434013" cy="446276"/>
          </a:xfrm>
          <a:prstGeom prst="rect">
            <a:avLst/>
          </a:prstGeom>
          <a:noFill/>
        </p:spPr>
        <p:txBody>
          <a:bodyPr wrap="square" lIns="0" tIns="0" rIns="0" bIns="0" rtlCol="0" anchor="t">
            <a:spAutoFit/>
          </a:bodyPr>
          <a:lstStyle/>
          <a:p>
            <a:pPr algn="ctr"/>
            <a:r>
              <a:rPr lang="zh-CN" altLang="en-US" sz="2800" dirty="0">
                <a:solidFill>
                  <a:schemeClr val="bg1"/>
                </a:solidFill>
                <a:latin typeface="+mj-ea"/>
                <a:ea typeface="+mj-ea"/>
              </a:rPr>
              <a:t>目录标题</a:t>
            </a:r>
          </a:p>
        </p:txBody>
      </p:sp>
      <p:sp>
        <p:nvSpPr>
          <p:cNvPr id="34" name="文本框 33">
            <a:extLst>
              <a:ext uri="{FF2B5EF4-FFF2-40B4-BE49-F238E27FC236}">
                <a16:creationId xmlns:a16="http://schemas.microsoft.com/office/drawing/2014/main" id="{B8806411-CECF-4E25-BCC1-39195CEB4635}"/>
              </a:ext>
            </a:extLst>
          </p:cNvPr>
          <p:cNvSpPr txBox="1"/>
          <p:nvPr/>
        </p:nvSpPr>
        <p:spPr>
          <a:xfrm>
            <a:off x="8508343" y="4801494"/>
            <a:ext cx="1386829" cy="169277"/>
          </a:xfrm>
          <a:prstGeom prst="rect">
            <a:avLst/>
          </a:prstGeom>
          <a:noFill/>
        </p:spPr>
        <p:txBody>
          <a:bodyPr wrap="square" lIns="0" tIns="0" rIns="0" bIns="0" rtlCol="0" anchor="t">
            <a:spAutoFit/>
          </a:bodyPr>
          <a:lstStyle/>
          <a:p>
            <a:pPr algn="dist"/>
            <a:r>
              <a:rPr lang="en-US" altLang="zh-CN" sz="1100" dirty="0">
                <a:solidFill>
                  <a:schemeClr val="bg1"/>
                </a:solidFill>
              </a:rPr>
              <a:t>Contents Title Here</a:t>
            </a:r>
            <a:endParaRPr lang="zh-CN" altLang="en-US" sz="1100" dirty="0">
              <a:solidFill>
                <a:schemeClr val="bg1"/>
              </a:solidFill>
            </a:endParaRPr>
          </a:p>
        </p:txBody>
      </p:sp>
    </p:spTree>
    <p:extLst>
      <p:ext uri="{BB962C8B-B14F-4D97-AF65-F5344CB8AC3E}">
        <p14:creationId xmlns:p14="http://schemas.microsoft.com/office/powerpoint/2010/main" val="3552366800"/>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a:extLst>
              <a:ext uri="{FF2B5EF4-FFF2-40B4-BE49-F238E27FC236}">
                <a16:creationId xmlns:a16="http://schemas.microsoft.com/office/drawing/2014/main" id="{36C718F7-52D4-43AD-8E79-FE19FB34B794}"/>
              </a:ext>
            </a:extLst>
          </p:cNvPr>
          <p:cNvSpPr txBox="1"/>
          <p:nvPr/>
        </p:nvSpPr>
        <p:spPr>
          <a:xfrm>
            <a:off x="1890268" y="437463"/>
            <a:ext cx="2416937" cy="492443"/>
          </a:xfrm>
          <a:prstGeom prst="rect">
            <a:avLst/>
          </a:prstGeom>
          <a:noFill/>
        </p:spPr>
        <p:txBody>
          <a:bodyPr wrap="square" lIns="0" tIns="0" rIns="0" bIns="0" rtlCol="0" anchor="t">
            <a:spAutoFit/>
          </a:bodyPr>
          <a:lstStyle/>
          <a:p>
            <a:pPr algn="dist"/>
            <a:r>
              <a:rPr lang="en-US" altLang="zh-CN" sz="3200" dirty="0">
                <a:solidFill>
                  <a:schemeClr val="accent1">
                    <a:lumMod val="60000"/>
                    <a:lumOff val="40000"/>
                  </a:schemeClr>
                </a:solidFill>
                <a:latin typeface="+mj-ea"/>
                <a:ea typeface="+mj-ea"/>
              </a:rPr>
              <a:t>CONTENTS</a:t>
            </a:r>
            <a:endParaRPr lang="zh-CN" altLang="en-US" sz="3200" dirty="0">
              <a:solidFill>
                <a:schemeClr val="accent1">
                  <a:lumMod val="60000"/>
                  <a:lumOff val="40000"/>
                </a:schemeClr>
              </a:solidFill>
              <a:latin typeface="+mj-ea"/>
              <a:ea typeface="+mj-ea"/>
            </a:endParaRPr>
          </a:p>
        </p:txBody>
      </p:sp>
      <p:sp>
        <p:nvSpPr>
          <p:cNvPr id="3" name="文本框 2">
            <a:extLst>
              <a:ext uri="{FF2B5EF4-FFF2-40B4-BE49-F238E27FC236}">
                <a16:creationId xmlns:a16="http://schemas.microsoft.com/office/drawing/2014/main" id="{9FF44630-710C-4751-A9CE-472BD9EB5A86}"/>
              </a:ext>
            </a:extLst>
          </p:cNvPr>
          <p:cNvSpPr txBox="1"/>
          <p:nvPr/>
        </p:nvSpPr>
        <p:spPr>
          <a:xfrm>
            <a:off x="383286" y="303206"/>
            <a:ext cx="1308354" cy="760959"/>
          </a:xfrm>
          <a:prstGeom prst="rect">
            <a:avLst/>
          </a:prstGeom>
          <a:solidFill>
            <a:schemeClr val="accent1"/>
          </a:solidFill>
        </p:spPr>
        <p:txBody>
          <a:bodyPr wrap="square" lIns="72000" tIns="72000" rIns="72000" bIns="72000" rtlCol="0" anchor="t">
            <a:spAutoFit/>
          </a:bodyPr>
          <a:lstStyle/>
          <a:p>
            <a:pPr algn="ctr"/>
            <a:r>
              <a:rPr lang="zh-CN" altLang="en-US" sz="4000" dirty="0">
                <a:solidFill>
                  <a:schemeClr val="bg1"/>
                </a:solidFill>
                <a:latin typeface="+mj-ea"/>
                <a:ea typeface="+mj-ea"/>
              </a:rPr>
              <a:t>目录</a:t>
            </a:r>
          </a:p>
        </p:txBody>
      </p:sp>
      <p:cxnSp>
        <p:nvCxnSpPr>
          <p:cNvPr id="5" name="直接连接符 4">
            <a:extLst>
              <a:ext uri="{FF2B5EF4-FFF2-40B4-BE49-F238E27FC236}">
                <a16:creationId xmlns:a16="http://schemas.microsoft.com/office/drawing/2014/main" id="{99EFC53A-A092-4637-82CB-B70E3D0C007F}"/>
              </a:ext>
            </a:extLst>
          </p:cNvPr>
          <p:cNvCxnSpPr/>
          <p:nvPr/>
        </p:nvCxnSpPr>
        <p:spPr>
          <a:xfrm>
            <a:off x="1865376" y="303206"/>
            <a:ext cx="2414016" cy="0"/>
          </a:xfrm>
          <a:prstGeom prst="line">
            <a:avLst/>
          </a:prstGeom>
          <a:ln w="12700">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6" name="直接连接符 5">
            <a:extLst>
              <a:ext uri="{FF2B5EF4-FFF2-40B4-BE49-F238E27FC236}">
                <a16:creationId xmlns:a16="http://schemas.microsoft.com/office/drawing/2014/main" id="{8C381EE2-61CE-4FD5-8A52-4517E559669B}"/>
              </a:ext>
            </a:extLst>
          </p:cNvPr>
          <p:cNvCxnSpPr/>
          <p:nvPr/>
        </p:nvCxnSpPr>
        <p:spPr>
          <a:xfrm>
            <a:off x="1865376" y="1064165"/>
            <a:ext cx="2414016" cy="0"/>
          </a:xfrm>
          <a:prstGeom prst="line">
            <a:avLst/>
          </a:prstGeom>
          <a:ln w="12700">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grpSp>
        <p:nvGrpSpPr>
          <p:cNvPr id="15" name="组合 14">
            <a:extLst>
              <a:ext uri="{FF2B5EF4-FFF2-40B4-BE49-F238E27FC236}">
                <a16:creationId xmlns:a16="http://schemas.microsoft.com/office/drawing/2014/main" id="{75A0DEF9-97F3-48ED-92EC-32E71F58EEB8}"/>
              </a:ext>
            </a:extLst>
          </p:cNvPr>
          <p:cNvGrpSpPr/>
          <p:nvPr/>
        </p:nvGrpSpPr>
        <p:grpSpPr>
          <a:xfrm>
            <a:off x="1259205" y="1929383"/>
            <a:ext cx="4259580" cy="1499617"/>
            <a:chOff x="777240" y="2103120"/>
            <a:chExt cx="4259580" cy="1499617"/>
          </a:xfrm>
        </p:grpSpPr>
        <p:sp>
          <p:nvSpPr>
            <p:cNvPr id="8" name="矩形: 圆角 7">
              <a:extLst>
                <a:ext uri="{FF2B5EF4-FFF2-40B4-BE49-F238E27FC236}">
                  <a16:creationId xmlns:a16="http://schemas.microsoft.com/office/drawing/2014/main" id="{22BFA300-A88A-4818-BB77-153E7D474823}"/>
                </a:ext>
              </a:extLst>
            </p:cNvPr>
            <p:cNvSpPr/>
            <p:nvPr/>
          </p:nvSpPr>
          <p:spPr>
            <a:xfrm>
              <a:off x="777240" y="2103121"/>
              <a:ext cx="4259580" cy="1499616"/>
            </a:xfrm>
            <a:prstGeom prst="roundRect">
              <a:avLst>
                <a:gd name="adj" fmla="val 16667"/>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dirty="0">
                <a:solidFill>
                  <a:schemeClr val="bg1"/>
                </a:solidFill>
                <a:latin typeface="+mj-ea"/>
                <a:ea typeface="+mj-ea"/>
              </a:endParaRPr>
            </a:p>
          </p:txBody>
        </p:sp>
        <p:sp>
          <p:nvSpPr>
            <p:cNvPr id="11" name="矩形: 圆角 10">
              <a:extLst>
                <a:ext uri="{FF2B5EF4-FFF2-40B4-BE49-F238E27FC236}">
                  <a16:creationId xmlns:a16="http://schemas.microsoft.com/office/drawing/2014/main" id="{357939BE-356B-44EA-8C02-8F967793B92F}"/>
                </a:ext>
              </a:extLst>
            </p:cNvPr>
            <p:cNvSpPr/>
            <p:nvPr/>
          </p:nvSpPr>
          <p:spPr>
            <a:xfrm>
              <a:off x="1350562" y="2237380"/>
              <a:ext cx="3518618" cy="1191620"/>
            </a:xfrm>
            <a:prstGeom prst="roundRect">
              <a:avLst>
                <a:gd name="adj" fmla="val 16667"/>
              </a:avLst>
            </a:prstGeom>
            <a:solidFill>
              <a:schemeClr val="accent1">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10" name="矩形: 圆顶角 9">
              <a:extLst>
                <a:ext uri="{FF2B5EF4-FFF2-40B4-BE49-F238E27FC236}">
                  <a16:creationId xmlns:a16="http://schemas.microsoft.com/office/drawing/2014/main" id="{BF6BE35E-0B8D-441F-8F10-7A34CBAEE839}"/>
                </a:ext>
              </a:extLst>
            </p:cNvPr>
            <p:cNvSpPr/>
            <p:nvPr/>
          </p:nvSpPr>
          <p:spPr>
            <a:xfrm rot="16200000">
              <a:off x="1509522" y="1370838"/>
              <a:ext cx="1499616" cy="2964180"/>
            </a:xfrm>
            <a:prstGeom prst="round2SameRect">
              <a:avLst>
                <a:gd name="adj1" fmla="val 16159"/>
                <a:gd name="adj2"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12" name="文本框 11">
              <a:extLst>
                <a:ext uri="{FF2B5EF4-FFF2-40B4-BE49-F238E27FC236}">
                  <a16:creationId xmlns:a16="http://schemas.microsoft.com/office/drawing/2014/main" id="{205C3B94-4041-481D-BAD1-398CA3E7CE19}"/>
                </a:ext>
              </a:extLst>
            </p:cNvPr>
            <p:cNvSpPr txBox="1"/>
            <p:nvPr/>
          </p:nvSpPr>
          <p:spPr>
            <a:xfrm>
              <a:off x="1236262" y="2383475"/>
              <a:ext cx="2018086" cy="553998"/>
            </a:xfrm>
            <a:prstGeom prst="rect">
              <a:avLst/>
            </a:prstGeom>
            <a:noFill/>
          </p:spPr>
          <p:txBody>
            <a:bodyPr wrap="square" lIns="0" tIns="0" rIns="0" bIns="0" rtlCol="0" anchor="t">
              <a:spAutoFit/>
            </a:bodyPr>
            <a:lstStyle/>
            <a:p>
              <a:pPr algn="ctr"/>
              <a:r>
                <a:rPr lang="zh-CN" altLang="en-US" sz="3600" dirty="0">
                  <a:solidFill>
                    <a:schemeClr val="bg1"/>
                  </a:solidFill>
                  <a:latin typeface="+mj-ea"/>
                  <a:ea typeface="+mj-ea"/>
                </a:rPr>
                <a:t>目录标题</a:t>
              </a:r>
            </a:p>
          </p:txBody>
        </p:sp>
        <p:sp>
          <p:nvSpPr>
            <p:cNvPr id="13" name="文本框 12">
              <a:extLst>
                <a:ext uri="{FF2B5EF4-FFF2-40B4-BE49-F238E27FC236}">
                  <a16:creationId xmlns:a16="http://schemas.microsoft.com/office/drawing/2014/main" id="{88533656-49B1-40F7-B84B-C7ADF5D03F5A}"/>
                </a:ext>
              </a:extLst>
            </p:cNvPr>
            <p:cNvSpPr txBox="1"/>
            <p:nvPr/>
          </p:nvSpPr>
          <p:spPr>
            <a:xfrm>
              <a:off x="1350562" y="2960542"/>
              <a:ext cx="1789486" cy="215444"/>
            </a:xfrm>
            <a:prstGeom prst="rect">
              <a:avLst/>
            </a:prstGeom>
            <a:noFill/>
          </p:spPr>
          <p:txBody>
            <a:bodyPr wrap="square" lIns="0" tIns="0" rIns="0" bIns="0" rtlCol="0" anchor="t">
              <a:spAutoFit/>
            </a:bodyPr>
            <a:lstStyle/>
            <a:p>
              <a:pPr algn="dist"/>
              <a:r>
                <a:rPr lang="en-US" altLang="zh-CN" sz="1400" dirty="0">
                  <a:solidFill>
                    <a:schemeClr val="bg1"/>
                  </a:solidFill>
                </a:rPr>
                <a:t>Contents Title Here</a:t>
              </a:r>
              <a:endParaRPr lang="zh-CN" altLang="en-US" sz="1400" dirty="0">
                <a:solidFill>
                  <a:schemeClr val="bg1"/>
                </a:solidFill>
              </a:endParaRPr>
            </a:p>
          </p:txBody>
        </p:sp>
        <p:sp>
          <p:nvSpPr>
            <p:cNvPr id="14" name="文本框 13">
              <a:extLst>
                <a:ext uri="{FF2B5EF4-FFF2-40B4-BE49-F238E27FC236}">
                  <a16:creationId xmlns:a16="http://schemas.microsoft.com/office/drawing/2014/main" id="{30D36C28-B7A4-4E8B-B278-28BD4EA261E5}"/>
                </a:ext>
              </a:extLst>
            </p:cNvPr>
            <p:cNvSpPr txBox="1"/>
            <p:nvPr/>
          </p:nvSpPr>
          <p:spPr>
            <a:xfrm>
              <a:off x="3909656" y="2556191"/>
              <a:ext cx="696778" cy="553998"/>
            </a:xfrm>
            <a:prstGeom prst="rect">
              <a:avLst/>
            </a:prstGeom>
            <a:noFill/>
          </p:spPr>
          <p:txBody>
            <a:bodyPr wrap="square" lIns="0" tIns="0" rIns="0" bIns="0" rtlCol="0" anchor="t">
              <a:spAutoFit/>
            </a:bodyPr>
            <a:lstStyle/>
            <a:p>
              <a:pPr algn="ctr"/>
              <a:r>
                <a:rPr lang="en-US" altLang="zh-CN" sz="3600" dirty="0">
                  <a:solidFill>
                    <a:schemeClr val="bg1"/>
                  </a:solidFill>
                  <a:latin typeface="+mj-ea"/>
                  <a:ea typeface="+mj-ea"/>
                </a:rPr>
                <a:t>01</a:t>
              </a:r>
              <a:endParaRPr lang="zh-CN" altLang="en-US" sz="3600" dirty="0">
                <a:solidFill>
                  <a:schemeClr val="bg1"/>
                </a:solidFill>
                <a:latin typeface="+mj-ea"/>
                <a:ea typeface="+mj-ea"/>
              </a:endParaRPr>
            </a:p>
          </p:txBody>
        </p:sp>
      </p:grpSp>
      <p:grpSp>
        <p:nvGrpSpPr>
          <p:cNvPr id="16" name="组合 15">
            <a:extLst>
              <a:ext uri="{FF2B5EF4-FFF2-40B4-BE49-F238E27FC236}">
                <a16:creationId xmlns:a16="http://schemas.microsoft.com/office/drawing/2014/main" id="{D9C47B61-6594-44BF-ABBC-E2036985A77F}"/>
              </a:ext>
            </a:extLst>
          </p:cNvPr>
          <p:cNvGrpSpPr/>
          <p:nvPr/>
        </p:nvGrpSpPr>
        <p:grpSpPr>
          <a:xfrm>
            <a:off x="6673215" y="1929383"/>
            <a:ext cx="4259580" cy="1499617"/>
            <a:chOff x="777240" y="2103120"/>
            <a:chExt cx="4259580" cy="1499617"/>
          </a:xfrm>
        </p:grpSpPr>
        <p:sp>
          <p:nvSpPr>
            <p:cNvPr id="17" name="矩形: 圆角 16">
              <a:extLst>
                <a:ext uri="{FF2B5EF4-FFF2-40B4-BE49-F238E27FC236}">
                  <a16:creationId xmlns:a16="http://schemas.microsoft.com/office/drawing/2014/main" id="{85DFCED7-29A5-44F2-BA48-1B49966B25A3}"/>
                </a:ext>
              </a:extLst>
            </p:cNvPr>
            <p:cNvSpPr/>
            <p:nvPr/>
          </p:nvSpPr>
          <p:spPr>
            <a:xfrm>
              <a:off x="777240" y="2103121"/>
              <a:ext cx="4259580" cy="1499616"/>
            </a:xfrm>
            <a:prstGeom prst="roundRect">
              <a:avLst>
                <a:gd name="adj" fmla="val 16667"/>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dirty="0">
                <a:solidFill>
                  <a:schemeClr val="bg1"/>
                </a:solidFill>
                <a:latin typeface="+mj-ea"/>
                <a:ea typeface="+mj-ea"/>
              </a:endParaRPr>
            </a:p>
          </p:txBody>
        </p:sp>
        <p:sp>
          <p:nvSpPr>
            <p:cNvPr id="18" name="矩形: 圆角 17">
              <a:extLst>
                <a:ext uri="{FF2B5EF4-FFF2-40B4-BE49-F238E27FC236}">
                  <a16:creationId xmlns:a16="http://schemas.microsoft.com/office/drawing/2014/main" id="{4DD9635F-98DF-4E17-8C11-4E4485A0B1C1}"/>
                </a:ext>
              </a:extLst>
            </p:cNvPr>
            <p:cNvSpPr/>
            <p:nvPr/>
          </p:nvSpPr>
          <p:spPr>
            <a:xfrm>
              <a:off x="1350562" y="2237380"/>
              <a:ext cx="3518618" cy="1191620"/>
            </a:xfrm>
            <a:prstGeom prst="roundRect">
              <a:avLst>
                <a:gd name="adj" fmla="val 16667"/>
              </a:avLst>
            </a:prstGeom>
            <a:solidFill>
              <a:schemeClr val="accent1">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19" name="矩形: 圆顶角 18">
              <a:extLst>
                <a:ext uri="{FF2B5EF4-FFF2-40B4-BE49-F238E27FC236}">
                  <a16:creationId xmlns:a16="http://schemas.microsoft.com/office/drawing/2014/main" id="{FDA4BEAC-9900-4308-A789-82DDBB624AF7}"/>
                </a:ext>
              </a:extLst>
            </p:cNvPr>
            <p:cNvSpPr/>
            <p:nvPr/>
          </p:nvSpPr>
          <p:spPr>
            <a:xfrm rot="16200000">
              <a:off x="1509522" y="1370838"/>
              <a:ext cx="1499616" cy="2964180"/>
            </a:xfrm>
            <a:prstGeom prst="round2SameRect">
              <a:avLst>
                <a:gd name="adj1" fmla="val 16159"/>
                <a:gd name="adj2"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20" name="文本框 19">
              <a:extLst>
                <a:ext uri="{FF2B5EF4-FFF2-40B4-BE49-F238E27FC236}">
                  <a16:creationId xmlns:a16="http://schemas.microsoft.com/office/drawing/2014/main" id="{24AC5810-DB77-4BA5-A858-A359FD154A1E}"/>
                </a:ext>
              </a:extLst>
            </p:cNvPr>
            <p:cNvSpPr txBox="1"/>
            <p:nvPr/>
          </p:nvSpPr>
          <p:spPr>
            <a:xfrm>
              <a:off x="1236262" y="2383475"/>
              <a:ext cx="2018086" cy="553998"/>
            </a:xfrm>
            <a:prstGeom prst="rect">
              <a:avLst/>
            </a:prstGeom>
            <a:noFill/>
          </p:spPr>
          <p:txBody>
            <a:bodyPr wrap="square" lIns="0" tIns="0" rIns="0" bIns="0" rtlCol="0" anchor="t">
              <a:spAutoFit/>
            </a:bodyPr>
            <a:lstStyle/>
            <a:p>
              <a:pPr algn="ctr"/>
              <a:r>
                <a:rPr lang="zh-CN" altLang="en-US" sz="3600" dirty="0">
                  <a:solidFill>
                    <a:schemeClr val="bg1"/>
                  </a:solidFill>
                  <a:latin typeface="+mj-ea"/>
                  <a:ea typeface="+mj-ea"/>
                </a:rPr>
                <a:t>目录标题</a:t>
              </a:r>
            </a:p>
          </p:txBody>
        </p:sp>
        <p:sp>
          <p:nvSpPr>
            <p:cNvPr id="21" name="文本框 20">
              <a:extLst>
                <a:ext uri="{FF2B5EF4-FFF2-40B4-BE49-F238E27FC236}">
                  <a16:creationId xmlns:a16="http://schemas.microsoft.com/office/drawing/2014/main" id="{E4B54D44-4AB4-4293-935B-14551B0B5B19}"/>
                </a:ext>
              </a:extLst>
            </p:cNvPr>
            <p:cNvSpPr txBox="1"/>
            <p:nvPr/>
          </p:nvSpPr>
          <p:spPr>
            <a:xfrm>
              <a:off x="1350562" y="2960542"/>
              <a:ext cx="1789486" cy="215444"/>
            </a:xfrm>
            <a:prstGeom prst="rect">
              <a:avLst/>
            </a:prstGeom>
            <a:noFill/>
          </p:spPr>
          <p:txBody>
            <a:bodyPr wrap="square" lIns="0" tIns="0" rIns="0" bIns="0" rtlCol="0" anchor="t">
              <a:spAutoFit/>
            </a:bodyPr>
            <a:lstStyle/>
            <a:p>
              <a:pPr algn="dist"/>
              <a:r>
                <a:rPr lang="en-US" altLang="zh-CN" sz="1400" dirty="0">
                  <a:solidFill>
                    <a:schemeClr val="bg1"/>
                  </a:solidFill>
                </a:rPr>
                <a:t>Contents Title Here</a:t>
              </a:r>
              <a:endParaRPr lang="zh-CN" altLang="en-US" sz="1400" dirty="0">
                <a:solidFill>
                  <a:schemeClr val="bg1"/>
                </a:solidFill>
              </a:endParaRPr>
            </a:p>
          </p:txBody>
        </p:sp>
        <p:sp>
          <p:nvSpPr>
            <p:cNvPr id="22" name="文本框 21">
              <a:extLst>
                <a:ext uri="{FF2B5EF4-FFF2-40B4-BE49-F238E27FC236}">
                  <a16:creationId xmlns:a16="http://schemas.microsoft.com/office/drawing/2014/main" id="{F53C0BF0-6985-4A61-9D0E-85D08D678E64}"/>
                </a:ext>
              </a:extLst>
            </p:cNvPr>
            <p:cNvSpPr txBox="1"/>
            <p:nvPr/>
          </p:nvSpPr>
          <p:spPr>
            <a:xfrm>
              <a:off x="3909656" y="2556191"/>
              <a:ext cx="696778" cy="553998"/>
            </a:xfrm>
            <a:prstGeom prst="rect">
              <a:avLst/>
            </a:prstGeom>
            <a:noFill/>
          </p:spPr>
          <p:txBody>
            <a:bodyPr wrap="square" lIns="0" tIns="0" rIns="0" bIns="0" rtlCol="0" anchor="t">
              <a:spAutoFit/>
            </a:bodyPr>
            <a:lstStyle/>
            <a:p>
              <a:pPr algn="ctr"/>
              <a:r>
                <a:rPr lang="en-US" altLang="zh-CN" sz="3600" dirty="0">
                  <a:solidFill>
                    <a:schemeClr val="bg1"/>
                  </a:solidFill>
                  <a:latin typeface="+mj-ea"/>
                  <a:ea typeface="+mj-ea"/>
                </a:rPr>
                <a:t>02</a:t>
              </a:r>
              <a:endParaRPr lang="zh-CN" altLang="en-US" sz="3600" dirty="0">
                <a:solidFill>
                  <a:schemeClr val="bg1"/>
                </a:solidFill>
                <a:latin typeface="+mj-ea"/>
                <a:ea typeface="+mj-ea"/>
              </a:endParaRPr>
            </a:p>
          </p:txBody>
        </p:sp>
      </p:grpSp>
      <p:grpSp>
        <p:nvGrpSpPr>
          <p:cNvPr id="23" name="组合 22">
            <a:extLst>
              <a:ext uri="{FF2B5EF4-FFF2-40B4-BE49-F238E27FC236}">
                <a16:creationId xmlns:a16="http://schemas.microsoft.com/office/drawing/2014/main" id="{0B27BDA7-FAC1-4B9A-AE28-543B63255504}"/>
              </a:ext>
            </a:extLst>
          </p:cNvPr>
          <p:cNvGrpSpPr/>
          <p:nvPr/>
        </p:nvGrpSpPr>
        <p:grpSpPr>
          <a:xfrm>
            <a:off x="1259205" y="4015358"/>
            <a:ext cx="4259580" cy="1499617"/>
            <a:chOff x="777240" y="2103120"/>
            <a:chExt cx="4259580" cy="1499617"/>
          </a:xfrm>
        </p:grpSpPr>
        <p:sp>
          <p:nvSpPr>
            <p:cNvPr id="24" name="矩形: 圆角 23">
              <a:extLst>
                <a:ext uri="{FF2B5EF4-FFF2-40B4-BE49-F238E27FC236}">
                  <a16:creationId xmlns:a16="http://schemas.microsoft.com/office/drawing/2014/main" id="{9304445A-5787-4E50-8991-9B49A3086027}"/>
                </a:ext>
              </a:extLst>
            </p:cNvPr>
            <p:cNvSpPr/>
            <p:nvPr/>
          </p:nvSpPr>
          <p:spPr>
            <a:xfrm>
              <a:off x="777240" y="2103121"/>
              <a:ext cx="4259580" cy="1499616"/>
            </a:xfrm>
            <a:prstGeom prst="roundRect">
              <a:avLst>
                <a:gd name="adj" fmla="val 16667"/>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dirty="0">
                <a:solidFill>
                  <a:schemeClr val="bg1"/>
                </a:solidFill>
                <a:latin typeface="+mj-ea"/>
                <a:ea typeface="+mj-ea"/>
              </a:endParaRPr>
            </a:p>
          </p:txBody>
        </p:sp>
        <p:sp>
          <p:nvSpPr>
            <p:cNvPr id="25" name="矩形: 圆角 24">
              <a:extLst>
                <a:ext uri="{FF2B5EF4-FFF2-40B4-BE49-F238E27FC236}">
                  <a16:creationId xmlns:a16="http://schemas.microsoft.com/office/drawing/2014/main" id="{DC284819-C704-471B-8CED-6FEC3A7BC49C}"/>
                </a:ext>
              </a:extLst>
            </p:cNvPr>
            <p:cNvSpPr/>
            <p:nvPr/>
          </p:nvSpPr>
          <p:spPr>
            <a:xfrm>
              <a:off x="1350562" y="2237380"/>
              <a:ext cx="3518618" cy="1191620"/>
            </a:xfrm>
            <a:prstGeom prst="roundRect">
              <a:avLst>
                <a:gd name="adj" fmla="val 16667"/>
              </a:avLst>
            </a:prstGeom>
            <a:solidFill>
              <a:schemeClr val="accent1">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26" name="矩形: 圆顶角 25">
              <a:extLst>
                <a:ext uri="{FF2B5EF4-FFF2-40B4-BE49-F238E27FC236}">
                  <a16:creationId xmlns:a16="http://schemas.microsoft.com/office/drawing/2014/main" id="{F1C11F12-3536-4288-8509-A648F1E71C34}"/>
                </a:ext>
              </a:extLst>
            </p:cNvPr>
            <p:cNvSpPr/>
            <p:nvPr/>
          </p:nvSpPr>
          <p:spPr>
            <a:xfrm rot="16200000">
              <a:off x="1509522" y="1370838"/>
              <a:ext cx="1499616" cy="2964180"/>
            </a:xfrm>
            <a:prstGeom prst="round2SameRect">
              <a:avLst>
                <a:gd name="adj1" fmla="val 16159"/>
                <a:gd name="adj2"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27" name="文本框 26">
              <a:extLst>
                <a:ext uri="{FF2B5EF4-FFF2-40B4-BE49-F238E27FC236}">
                  <a16:creationId xmlns:a16="http://schemas.microsoft.com/office/drawing/2014/main" id="{BEF8B72E-31D8-4AE0-9BB5-FF56B6996C15}"/>
                </a:ext>
              </a:extLst>
            </p:cNvPr>
            <p:cNvSpPr txBox="1"/>
            <p:nvPr/>
          </p:nvSpPr>
          <p:spPr>
            <a:xfrm>
              <a:off x="1236262" y="2383475"/>
              <a:ext cx="2018086" cy="553998"/>
            </a:xfrm>
            <a:prstGeom prst="rect">
              <a:avLst/>
            </a:prstGeom>
            <a:noFill/>
          </p:spPr>
          <p:txBody>
            <a:bodyPr wrap="square" lIns="0" tIns="0" rIns="0" bIns="0" rtlCol="0" anchor="t">
              <a:spAutoFit/>
            </a:bodyPr>
            <a:lstStyle/>
            <a:p>
              <a:pPr algn="ctr"/>
              <a:r>
                <a:rPr lang="zh-CN" altLang="en-US" sz="3600" dirty="0">
                  <a:solidFill>
                    <a:schemeClr val="bg1"/>
                  </a:solidFill>
                  <a:latin typeface="+mj-ea"/>
                  <a:ea typeface="+mj-ea"/>
                </a:rPr>
                <a:t>目录标题</a:t>
              </a:r>
            </a:p>
          </p:txBody>
        </p:sp>
        <p:sp>
          <p:nvSpPr>
            <p:cNvPr id="28" name="文本框 27">
              <a:extLst>
                <a:ext uri="{FF2B5EF4-FFF2-40B4-BE49-F238E27FC236}">
                  <a16:creationId xmlns:a16="http://schemas.microsoft.com/office/drawing/2014/main" id="{9518C2D5-0814-4289-90CD-F9DF797768DC}"/>
                </a:ext>
              </a:extLst>
            </p:cNvPr>
            <p:cNvSpPr txBox="1"/>
            <p:nvPr/>
          </p:nvSpPr>
          <p:spPr>
            <a:xfrm>
              <a:off x="1350562" y="2960542"/>
              <a:ext cx="1789486" cy="215444"/>
            </a:xfrm>
            <a:prstGeom prst="rect">
              <a:avLst/>
            </a:prstGeom>
            <a:noFill/>
          </p:spPr>
          <p:txBody>
            <a:bodyPr wrap="square" lIns="0" tIns="0" rIns="0" bIns="0" rtlCol="0" anchor="t">
              <a:spAutoFit/>
            </a:bodyPr>
            <a:lstStyle/>
            <a:p>
              <a:pPr algn="dist"/>
              <a:r>
                <a:rPr lang="en-US" altLang="zh-CN" sz="1400" dirty="0">
                  <a:solidFill>
                    <a:schemeClr val="bg1"/>
                  </a:solidFill>
                </a:rPr>
                <a:t>Contents Title Here</a:t>
              </a:r>
              <a:endParaRPr lang="zh-CN" altLang="en-US" sz="1400" dirty="0">
                <a:solidFill>
                  <a:schemeClr val="bg1"/>
                </a:solidFill>
              </a:endParaRPr>
            </a:p>
          </p:txBody>
        </p:sp>
        <p:sp>
          <p:nvSpPr>
            <p:cNvPr id="29" name="文本框 28">
              <a:extLst>
                <a:ext uri="{FF2B5EF4-FFF2-40B4-BE49-F238E27FC236}">
                  <a16:creationId xmlns:a16="http://schemas.microsoft.com/office/drawing/2014/main" id="{15D12307-B076-4FB5-A526-6FD35CE2BCF6}"/>
                </a:ext>
              </a:extLst>
            </p:cNvPr>
            <p:cNvSpPr txBox="1"/>
            <p:nvPr/>
          </p:nvSpPr>
          <p:spPr>
            <a:xfrm>
              <a:off x="3909656" y="2556191"/>
              <a:ext cx="696778" cy="553998"/>
            </a:xfrm>
            <a:prstGeom prst="rect">
              <a:avLst/>
            </a:prstGeom>
            <a:noFill/>
          </p:spPr>
          <p:txBody>
            <a:bodyPr wrap="square" lIns="0" tIns="0" rIns="0" bIns="0" rtlCol="0" anchor="t">
              <a:spAutoFit/>
            </a:bodyPr>
            <a:lstStyle/>
            <a:p>
              <a:pPr algn="ctr"/>
              <a:r>
                <a:rPr lang="en-US" altLang="zh-CN" sz="3600" dirty="0">
                  <a:solidFill>
                    <a:schemeClr val="bg1"/>
                  </a:solidFill>
                  <a:latin typeface="+mj-ea"/>
                  <a:ea typeface="+mj-ea"/>
                </a:rPr>
                <a:t>03</a:t>
              </a:r>
              <a:endParaRPr lang="zh-CN" altLang="en-US" sz="3600" dirty="0">
                <a:solidFill>
                  <a:schemeClr val="bg1"/>
                </a:solidFill>
                <a:latin typeface="+mj-ea"/>
                <a:ea typeface="+mj-ea"/>
              </a:endParaRPr>
            </a:p>
          </p:txBody>
        </p:sp>
      </p:grpSp>
      <p:grpSp>
        <p:nvGrpSpPr>
          <p:cNvPr id="30" name="组合 29">
            <a:extLst>
              <a:ext uri="{FF2B5EF4-FFF2-40B4-BE49-F238E27FC236}">
                <a16:creationId xmlns:a16="http://schemas.microsoft.com/office/drawing/2014/main" id="{5C0CF485-00CA-42E4-AFBA-84B4F2478741}"/>
              </a:ext>
            </a:extLst>
          </p:cNvPr>
          <p:cNvGrpSpPr/>
          <p:nvPr/>
        </p:nvGrpSpPr>
        <p:grpSpPr>
          <a:xfrm>
            <a:off x="6673215" y="4015358"/>
            <a:ext cx="4259580" cy="1499617"/>
            <a:chOff x="777240" y="2103120"/>
            <a:chExt cx="4259580" cy="1499617"/>
          </a:xfrm>
        </p:grpSpPr>
        <p:sp>
          <p:nvSpPr>
            <p:cNvPr id="31" name="矩形: 圆角 30">
              <a:extLst>
                <a:ext uri="{FF2B5EF4-FFF2-40B4-BE49-F238E27FC236}">
                  <a16:creationId xmlns:a16="http://schemas.microsoft.com/office/drawing/2014/main" id="{36FB68A9-5495-4644-86D1-B3EDE99589C1}"/>
                </a:ext>
              </a:extLst>
            </p:cNvPr>
            <p:cNvSpPr/>
            <p:nvPr/>
          </p:nvSpPr>
          <p:spPr>
            <a:xfrm>
              <a:off x="777240" y="2103121"/>
              <a:ext cx="4259580" cy="1499616"/>
            </a:xfrm>
            <a:prstGeom prst="roundRect">
              <a:avLst>
                <a:gd name="adj" fmla="val 16667"/>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dirty="0">
                <a:solidFill>
                  <a:schemeClr val="bg1"/>
                </a:solidFill>
                <a:latin typeface="+mj-ea"/>
                <a:ea typeface="+mj-ea"/>
              </a:endParaRPr>
            </a:p>
          </p:txBody>
        </p:sp>
        <p:sp>
          <p:nvSpPr>
            <p:cNvPr id="32" name="矩形: 圆角 31">
              <a:extLst>
                <a:ext uri="{FF2B5EF4-FFF2-40B4-BE49-F238E27FC236}">
                  <a16:creationId xmlns:a16="http://schemas.microsoft.com/office/drawing/2014/main" id="{5E2A6C70-54DF-4B6D-8D20-9AE99EBEC306}"/>
                </a:ext>
              </a:extLst>
            </p:cNvPr>
            <p:cNvSpPr/>
            <p:nvPr/>
          </p:nvSpPr>
          <p:spPr>
            <a:xfrm>
              <a:off x="1350562" y="2237380"/>
              <a:ext cx="3518618" cy="1191620"/>
            </a:xfrm>
            <a:prstGeom prst="roundRect">
              <a:avLst>
                <a:gd name="adj" fmla="val 16667"/>
              </a:avLst>
            </a:prstGeom>
            <a:solidFill>
              <a:schemeClr val="accent1">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33" name="矩形: 圆顶角 32">
              <a:extLst>
                <a:ext uri="{FF2B5EF4-FFF2-40B4-BE49-F238E27FC236}">
                  <a16:creationId xmlns:a16="http://schemas.microsoft.com/office/drawing/2014/main" id="{9172473F-6495-46C2-9F86-4D5B805DB904}"/>
                </a:ext>
              </a:extLst>
            </p:cNvPr>
            <p:cNvSpPr/>
            <p:nvPr/>
          </p:nvSpPr>
          <p:spPr>
            <a:xfrm rot="16200000">
              <a:off x="1509522" y="1370838"/>
              <a:ext cx="1499616" cy="2964180"/>
            </a:xfrm>
            <a:prstGeom prst="round2SameRect">
              <a:avLst>
                <a:gd name="adj1" fmla="val 16159"/>
                <a:gd name="adj2"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34" name="文本框 33">
              <a:extLst>
                <a:ext uri="{FF2B5EF4-FFF2-40B4-BE49-F238E27FC236}">
                  <a16:creationId xmlns:a16="http://schemas.microsoft.com/office/drawing/2014/main" id="{A92744F8-7BAD-428A-82D4-5AEBB7C7772E}"/>
                </a:ext>
              </a:extLst>
            </p:cNvPr>
            <p:cNvSpPr txBox="1"/>
            <p:nvPr/>
          </p:nvSpPr>
          <p:spPr>
            <a:xfrm>
              <a:off x="1236262" y="2383475"/>
              <a:ext cx="2018086" cy="553998"/>
            </a:xfrm>
            <a:prstGeom prst="rect">
              <a:avLst/>
            </a:prstGeom>
            <a:noFill/>
          </p:spPr>
          <p:txBody>
            <a:bodyPr wrap="square" lIns="0" tIns="0" rIns="0" bIns="0" rtlCol="0" anchor="t">
              <a:spAutoFit/>
            </a:bodyPr>
            <a:lstStyle/>
            <a:p>
              <a:pPr algn="ctr"/>
              <a:r>
                <a:rPr lang="zh-CN" altLang="en-US" sz="3600" dirty="0">
                  <a:solidFill>
                    <a:schemeClr val="bg1"/>
                  </a:solidFill>
                  <a:latin typeface="+mj-ea"/>
                  <a:ea typeface="+mj-ea"/>
                </a:rPr>
                <a:t>目录标题</a:t>
              </a:r>
            </a:p>
          </p:txBody>
        </p:sp>
        <p:sp>
          <p:nvSpPr>
            <p:cNvPr id="35" name="文本框 34">
              <a:extLst>
                <a:ext uri="{FF2B5EF4-FFF2-40B4-BE49-F238E27FC236}">
                  <a16:creationId xmlns:a16="http://schemas.microsoft.com/office/drawing/2014/main" id="{A56BEB89-C264-4943-9FE4-4C438E8F8071}"/>
                </a:ext>
              </a:extLst>
            </p:cNvPr>
            <p:cNvSpPr txBox="1"/>
            <p:nvPr/>
          </p:nvSpPr>
          <p:spPr>
            <a:xfrm>
              <a:off x="1350562" y="2960542"/>
              <a:ext cx="1789486" cy="215444"/>
            </a:xfrm>
            <a:prstGeom prst="rect">
              <a:avLst/>
            </a:prstGeom>
            <a:noFill/>
          </p:spPr>
          <p:txBody>
            <a:bodyPr wrap="square" lIns="0" tIns="0" rIns="0" bIns="0" rtlCol="0" anchor="t">
              <a:spAutoFit/>
            </a:bodyPr>
            <a:lstStyle/>
            <a:p>
              <a:pPr algn="dist"/>
              <a:r>
                <a:rPr lang="en-US" altLang="zh-CN" sz="1400" dirty="0">
                  <a:solidFill>
                    <a:schemeClr val="bg1"/>
                  </a:solidFill>
                </a:rPr>
                <a:t>Contents Title Here</a:t>
              </a:r>
              <a:endParaRPr lang="zh-CN" altLang="en-US" sz="1400" dirty="0">
                <a:solidFill>
                  <a:schemeClr val="bg1"/>
                </a:solidFill>
              </a:endParaRPr>
            </a:p>
          </p:txBody>
        </p:sp>
        <p:sp>
          <p:nvSpPr>
            <p:cNvPr id="36" name="文本框 35">
              <a:extLst>
                <a:ext uri="{FF2B5EF4-FFF2-40B4-BE49-F238E27FC236}">
                  <a16:creationId xmlns:a16="http://schemas.microsoft.com/office/drawing/2014/main" id="{084CEAF0-E833-4F41-86A4-57B303742E6A}"/>
                </a:ext>
              </a:extLst>
            </p:cNvPr>
            <p:cNvSpPr txBox="1"/>
            <p:nvPr/>
          </p:nvSpPr>
          <p:spPr>
            <a:xfrm>
              <a:off x="3909656" y="2556191"/>
              <a:ext cx="696778" cy="553998"/>
            </a:xfrm>
            <a:prstGeom prst="rect">
              <a:avLst/>
            </a:prstGeom>
            <a:noFill/>
          </p:spPr>
          <p:txBody>
            <a:bodyPr wrap="square" lIns="0" tIns="0" rIns="0" bIns="0" rtlCol="0" anchor="t">
              <a:spAutoFit/>
            </a:bodyPr>
            <a:lstStyle/>
            <a:p>
              <a:pPr algn="ctr"/>
              <a:r>
                <a:rPr lang="en-US" altLang="zh-CN" sz="3600" dirty="0">
                  <a:solidFill>
                    <a:schemeClr val="bg1"/>
                  </a:solidFill>
                  <a:latin typeface="+mj-ea"/>
                  <a:ea typeface="+mj-ea"/>
                </a:rPr>
                <a:t>04</a:t>
              </a:r>
              <a:endParaRPr lang="zh-CN" altLang="en-US" sz="3600" dirty="0">
                <a:solidFill>
                  <a:schemeClr val="bg1"/>
                </a:solidFill>
                <a:latin typeface="+mj-ea"/>
                <a:ea typeface="+mj-ea"/>
              </a:endParaRPr>
            </a:p>
          </p:txBody>
        </p:sp>
      </p:grpSp>
    </p:spTree>
    <p:extLst>
      <p:ext uri="{BB962C8B-B14F-4D97-AF65-F5344CB8AC3E}">
        <p14:creationId xmlns:p14="http://schemas.microsoft.com/office/powerpoint/2010/main" val="1838650026"/>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文本框 3">
            <a:extLst>
              <a:ext uri="{FF2B5EF4-FFF2-40B4-BE49-F238E27FC236}">
                <a16:creationId xmlns:a16="http://schemas.microsoft.com/office/drawing/2014/main" id="{D2205FB5-AC73-B741-839C-197BAF3D3F77}"/>
              </a:ext>
            </a:extLst>
          </p:cNvPr>
          <p:cNvSpPr txBox="1"/>
          <p:nvPr/>
        </p:nvSpPr>
        <p:spPr>
          <a:xfrm>
            <a:off x="547084" y="2254992"/>
            <a:ext cx="2151230" cy="677108"/>
          </a:xfrm>
          <a:prstGeom prst="rect">
            <a:avLst/>
          </a:prstGeom>
          <a:noFill/>
        </p:spPr>
        <p:txBody>
          <a:bodyPr wrap="none" lIns="0" tIns="0" rIns="0" bIns="0" rtlCol="0" anchor="t">
            <a:spAutoFit/>
          </a:bodyPr>
          <a:lstStyle/>
          <a:p>
            <a:pPr algn="l"/>
            <a:r>
              <a:rPr kumimoji="1" lang="en-US" altLang="zh-CN" sz="4400" dirty="0">
                <a:solidFill>
                  <a:schemeClr val="accent1">
                    <a:lumMod val="100000"/>
                  </a:schemeClr>
                </a:solidFill>
              </a:rPr>
              <a:t>PART</a:t>
            </a:r>
            <a:r>
              <a:rPr kumimoji="1" lang="zh-CN" altLang="en-US" sz="4400" dirty="0">
                <a:solidFill>
                  <a:schemeClr val="accent1">
                    <a:lumMod val="100000"/>
                  </a:schemeClr>
                </a:solidFill>
              </a:rPr>
              <a:t> </a:t>
            </a:r>
            <a:r>
              <a:rPr kumimoji="1" lang="en-US" altLang="zh-CN" sz="4400" dirty="0">
                <a:solidFill>
                  <a:schemeClr val="accent1">
                    <a:lumMod val="100000"/>
                  </a:schemeClr>
                </a:solidFill>
              </a:rPr>
              <a:t>01</a:t>
            </a:r>
            <a:endParaRPr kumimoji="1" lang="zh-CN" altLang="en-US" sz="4400" dirty="0">
              <a:solidFill>
                <a:schemeClr val="accent1">
                  <a:lumMod val="100000"/>
                </a:schemeClr>
              </a:solidFill>
            </a:endParaRPr>
          </a:p>
        </p:txBody>
      </p:sp>
      <p:sp>
        <p:nvSpPr>
          <p:cNvPr id="5" name="矩形 4">
            <a:extLst>
              <a:ext uri="{FF2B5EF4-FFF2-40B4-BE49-F238E27FC236}">
                <a16:creationId xmlns:a16="http://schemas.microsoft.com/office/drawing/2014/main" id="{5E7F1668-5D52-0B49-8FD6-D88BC0E71788}"/>
              </a:ext>
            </a:extLst>
          </p:cNvPr>
          <p:cNvSpPr/>
          <p:nvPr/>
        </p:nvSpPr>
        <p:spPr>
          <a:xfrm>
            <a:off x="547084" y="3015436"/>
            <a:ext cx="4151376" cy="811763"/>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3600" dirty="0"/>
              <a:t>过渡页标题</a:t>
            </a:r>
          </a:p>
        </p:txBody>
      </p:sp>
      <p:sp>
        <p:nvSpPr>
          <p:cNvPr id="6" name="文本框 5">
            <a:extLst>
              <a:ext uri="{FF2B5EF4-FFF2-40B4-BE49-F238E27FC236}">
                <a16:creationId xmlns:a16="http://schemas.microsoft.com/office/drawing/2014/main" id="{4DA6DB14-2440-B945-9666-DAC7F4B48869}"/>
              </a:ext>
            </a:extLst>
          </p:cNvPr>
          <p:cNvSpPr txBox="1"/>
          <p:nvPr/>
        </p:nvSpPr>
        <p:spPr>
          <a:xfrm>
            <a:off x="7412732" y="846733"/>
            <a:ext cx="5417028" cy="5293757"/>
          </a:xfrm>
          <a:prstGeom prst="rect">
            <a:avLst/>
          </a:prstGeom>
          <a:noFill/>
        </p:spPr>
        <p:txBody>
          <a:bodyPr wrap="square" lIns="0" tIns="0" rIns="0" bIns="0" rtlCol="0" anchor="t">
            <a:spAutoFit/>
          </a:bodyPr>
          <a:lstStyle/>
          <a:p>
            <a:pPr algn="l"/>
            <a:r>
              <a:rPr kumimoji="1" lang="en-US" altLang="zh-CN" sz="34400" dirty="0">
                <a:solidFill>
                  <a:schemeClr val="accent1">
                    <a:lumMod val="20000"/>
                    <a:lumOff val="80000"/>
                  </a:schemeClr>
                </a:solidFill>
                <a:latin typeface="+mj-ea"/>
                <a:ea typeface="+mj-ea"/>
              </a:rPr>
              <a:t>01</a:t>
            </a:r>
            <a:endParaRPr kumimoji="1" lang="zh-CN" altLang="en-US" sz="34400" dirty="0">
              <a:solidFill>
                <a:schemeClr val="accent1">
                  <a:lumMod val="20000"/>
                  <a:lumOff val="80000"/>
                </a:schemeClr>
              </a:solidFill>
              <a:latin typeface="+mj-ea"/>
              <a:ea typeface="+mj-ea"/>
            </a:endParaRPr>
          </a:p>
        </p:txBody>
      </p:sp>
      <p:sp>
        <p:nvSpPr>
          <p:cNvPr id="8" name="十字形 7">
            <a:extLst>
              <a:ext uri="{FF2B5EF4-FFF2-40B4-BE49-F238E27FC236}">
                <a16:creationId xmlns:a16="http://schemas.microsoft.com/office/drawing/2014/main" id="{7FA42A49-317E-184D-9B08-5B0C84C217F2}"/>
              </a:ext>
            </a:extLst>
          </p:cNvPr>
          <p:cNvSpPr/>
          <p:nvPr/>
        </p:nvSpPr>
        <p:spPr>
          <a:xfrm>
            <a:off x="547084" y="437743"/>
            <a:ext cx="552142" cy="552142"/>
          </a:xfrm>
          <a:prstGeom prst="plus">
            <a:avLst>
              <a:gd name="adj" fmla="val 37333"/>
            </a:avLst>
          </a:prstGeom>
          <a:solidFill>
            <a:schemeClr val="accent1"/>
          </a:solidFill>
          <a:ln w="12700" cap="flat" cmpd="sng" algn="ctr">
            <a:noFill/>
            <a:prstDash val="solid"/>
            <a:miter lim="800000"/>
          </a:ln>
          <a:effectLst/>
          <a:extLst>
            <a:ext uri="{91240B29-F687-4F45-9708-019B960494DF}">
              <a14:hiddenLine xmlns:a14="http://schemas.microsoft.com/office/drawing/2010/main" w="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9" name="矩形 8">
            <a:extLst>
              <a:ext uri="{FF2B5EF4-FFF2-40B4-BE49-F238E27FC236}">
                <a16:creationId xmlns:a16="http://schemas.microsoft.com/office/drawing/2014/main" id="{83A14CB2-92CE-B447-865B-ED6A483E1C6B}"/>
              </a:ext>
            </a:extLst>
          </p:cNvPr>
          <p:cNvSpPr/>
          <p:nvPr/>
        </p:nvSpPr>
        <p:spPr>
          <a:xfrm>
            <a:off x="547084" y="6174392"/>
            <a:ext cx="279767" cy="279767"/>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grpSp>
        <p:nvGrpSpPr>
          <p:cNvPr id="15" name="组合 14">
            <a:extLst>
              <a:ext uri="{FF2B5EF4-FFF2-40B4-BE49-F238E27FC236}">
                <a16:creationId xmlns:a16="http://schemas.microsoft.com/office/drawing/2014/main" id="{F49BF9E6-9989-2F4B-8A6C-B0E496FF58F4}"/>
              </a:ext>
            </a:extLst>
          </p:cNvPr>
          <p:cNvGrpSpPr/>
          <p:nvPr/>
        </p:nvGrpSpPr>
        <p:grpSpPr>
          <a:xfrm>
            <a:off x="11396791" y="6140490"/>
            <a:ext cx="468991" cy="313669"/>
            <a:chOff x="11396791" y="6140490"/>
            <a:chExt cx="468991" cy="313669"/>
          </a:xfrm>
        </p:grpSpPr>
        <p:sp>
          <p:nvSpPr>
            <p:cNvPr id="10" name="矩形 9">
              <a:extLst>
                <a:ext uri="{FF2B5EF4-FFF2-40B4-BE49-F238E27FC236}">
                  <a16:creationId xmlns:a16="http://schemas.microsoft.com/office/drawing/2014/main" id="{DFC4006E-0A2A-8E46-B601-CA913DA3E9B5}"/>
                </a:ext>
              </a:extLst>
            </p:cNvPr>
            <p:cNvSpPr/>
            <p:nvPr/>
          </p:nvSpPr>
          <p:spPr>
            <a:xfrm>
              <a:off x="11396791" y="6140490"/>
              <a:ext cx="468991" cy="67805"/>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3" name="矩形 12">
              <a:extLst>
                <a:ext uri="{FF2B5EF4-FFF2-40B4-BE49-F238E27FC236}">
                  <a16:creationId xmlns:a16="http://schemas.microsoft.com/office/drawing/2014/main" id="{02775568-7093-4944-89F5-6249529D6F1B}"/>
                </a:ext>
              </a:extLst>
            </p:cNvPr>
            <p:cNvSpPr/>
            <p:nvPr/>
          </p:nvSpPr>
          <p:spPr>
            <a:xfrm>
              <a:off x="11396791" y="6253527"/>
              <a:ext cx="468991" cy="67805"/>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4" name="矩形 13">
              <a:extLst>
                <a:ext uri="{FF2B5EF4-FFF2-40B4-BE49-F238E27FC236}">
                  <a16:creationId xmlns:a16="http://schemas.microsoft.com/office/drawing/2014/main" id="{4B52B271-921B-E340-A0E6-3BFD29B5A654}"/>
                </a:ext>
              </a:extLst>
            </p:cNvPr>
            <p:cNvSpPr/>
            <p:nvPr/>
          </p:nvSpPr>
          <p:spPr>
            <a:xfrm>
              <a:off x="11396791" y="6386354"/>
              <a:ext cx="468991" cy="67805"/>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grpSp>
    </p:spTree>
    <p:extLst>
      <p:ext uri="{BB962C8B-B14F-4D97-AF65-F5344CB8AC3E}">
        <p14:creationId xmlns:p14="http://schemas.microsoft.com/office/powerpoint/2010/main" val="4230298890"/>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a:extLst>
              <a:ext uri="{FF2B5EF4-FFF2-40B4-BE49-F238E27FC236}">
                <a16:creationId xmlns:a16="http://schemas.microsoft.com/office/drawing/2014/main" id="{3F8DD486-24D2-8946-A481-22CD74715F8F}"/>
              </a:ext>
            </a:extLst>
          </p:cNvPr>
          <p:cNvSpPr txBox="1"/>
          <p:nvPr/>
        </p:nvSpPr>
        <p:spPr>
          <a:xfrm>
            <a:off x="4886206" y="2676118"/>
            <a:ext cx="4616648" cy="1107996"/>
          </a:xfrm>
          <a:prstGeom prst="rect">
            <a:avLst/>
          </a:prstGeom>
          <a:noFill/>
        </p:spPr>
        <p:txBody>
          <a:bodyPr wrap="none" lIns="0" tIns="0" rIns="0" bIns="0" rtlCol="0" anchor="t">
            <a:spAutoFit/>
          </a:bodyPr>
          <a:lstStyle/>
          <a:p>
            <a:r>
              <a:rPr kumimoji="1" lang="zh-CN" altLang="en-US" sz="7200" dirty="0">
                <a:solidFill>
                  <a:schemeClr val="accent1"/>
                </a:solidFill>
                <a:latin typeface="+mj-ea"/>
                <a:ea typeface="+mj-ea"/>
              </a:rPr>
              <a:t>过渡页标题</a:t>
            </a:r>
          </a:p>
        </p:txBody>
      </p:sp>
      <p:sp>
        <p:nvSpPr>
          <p:cNvPr id="4" name="文本框 3">
            <a:extLst>
              <a:ext uri="{FF2B5EF4-FFF2-40B4-BE49-F238E27FC236}">
                <a16:creationId xmlns:a16="http://schemas.microsoft.com/office/drawing/2014/main" id="{7E9C86BA-80FE-3047-A7CE-07BEC3B69057}"/>
              </a:ext>
            </a:extLst>
          </p:cNvPr>
          <p:cNvSpPr txBox="1"/>
          <p:nvPr/>
        </p:nvSpPr>
        <p:spPr>
          <a:xfrm>
            <a:off x="3060621" y="2590801"/>
            <a:ext cx="1676741" cy="1769715"/>
          </a:xfrm>
          <a:prstGeom prst="rect">
            <a:avLst/>
          </a:prstGeom>
          <a:noFill/>
        </p:spPr>
        <p:txBody>
          <a:bodyPr wrap="none" lIns="0" tIns="0" rIns="0" bIns="0" rtlCol="0" anchor="t">
            <a:spAutoFit/>
          </a:bodyPr>
          <a:lstStyle/>
          <a:p>
            <a:r>
              <a:rPr kumimoji="1" lang="en-US" altLang="zh-CN" sz="11500" dirty="0">
                <a:solidFill>
                  <a:schemeClr val="accent1"/>
                </a:solidFill>
                <a:latin typeface="+mj-ea"/>
                <a:ea typeface="+mj-ea"/>
              </a:rPr>
              <a:t>01</a:t>
            </a:r>
            <a:endParaRPr kumimoji="1" lang="zh-CN" altLang="en-US" sz="11500" dirty="0">
              <a:solidFill>
                <a:schemeClr val="accent1"/>
              </a:solidFill>
              <a:latin typeface="+mj-ea"/>
              <a:ea typeface="+mj-ea"/>
            </a:endParaRPr>
          </a:p>
        </p:txBody>
      </p:sp>
      <p:sp>
        <p:nvSpPr>
          <p:cNvPr id="5" name="文本框 4">
            <a:extLst>
              <a:ext uri="{FF2B5EF4-FFF2-40B4-BE49-F238E27FC236}">
                <a16:creationId xmlns:a16="http://schemas.microsoft.com/office/drawing/2014/main" id="{905CDE52-5675-264D-B941-95103AAB7757}"/>
              </a:ext>
            </a:extLst>
          </p:cNvPr>
          <p:cNvSpPr txBox="1"/>
          <p:nvPr/>
        </p:nvSpPr>
        <p:spPr>
          <a:xfrm>
            <a:off x="4907865" y="3784114"/>
            <a:ext cx="4559765" cy="307777"/>
          </a:xfrm>
          <a:prstGeom prst="rect">
            <a:avLst/>
          </a:prstGeom>
          <a:noFill/>
        </p:spPr>
        <p:txBody>
          <a:bodyPr wrap="square" lIns="0" tIns="0" rIns="0" bIns="0" rtlCol="0" anchor="t">
            <a:spAutoFit/>
          </a:bodyPr>
          <a:lstStyle/>
          <a:p>
            <a:pPr algn="dist"/>
            <a:r>
              <a:rPr kumimoji="1" lang="en-US" altLang="zh-CN" sz="2000" dirty="0">
                <a:solidFill>
                  <a:schemeClr val="accent1"/>
                </a:solidFill>
              </a:rPr>
              <a:t>Transition Page Title</a:t>
            </a:r>
            <a:endParaRPr kumimoji="1" lang="zh-CN" altLang="en-US" sz="2000" dirty="0">
              <a:solidFill>
                <a:schemeClr val="accent1"/>
              </a:solidFill>
            </a:endParaRPr>
          </a:p>
        </p:txBody>
      </p:sp>
      <p:cxnSp>
        <p:nvCxnSpPr>
          <p:cNvPr id="9" name="直线连接符 8">
            <a:extLst>
              <a:ext uri="{FF2B5EF4-FFF2-40B4-BE49-F238E27FC236}">
                <a16:creationId xmlns:a16="http://schemas.microsoft.com/office/drawing/2014/main" id="{453ACAF5-A45A-BA45-898B-C53AD9CE6F9A}"/>
              </a:ext>
            </a:extLst>
          </p:cNvPr>
          <p:cNvCxnSpPr>
            <a:cxnSpLocks/>
          </p:cNvCxnSpPr>
          <p:nvPr/>
        </p:nvCxnSpPr>
        <p:spPr>
          <a:xfrm flipH="1">
            <a:off x="3239146" y="2375485"/>
            <a:ext cx="6146222"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矩形 12">
            <a:extLst>
              <a:ext uri="{FF2B5EF4-FFF2-40B4-BE49-F238E27FC236}">
                <a16:creationId xmlns:a16="http://schemas.microsoft.com/office/drawing/2014/main" id="{6EC24543-3889-9D49-A44E-5F001FC669FF}"/>
              </a:ext>
            </a:extLst>
          </p:cNvPr>
          <p:cNvSpPr/>
          <p:nvPr/>
        </p:nvSpPr>
        <p:spPr>
          <a:xfrm>
            <a:off x="3060621" y="2337385"/>
            <a:ext cx="1752481" cy="7620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solidFill>
                <a:schemeClr val="accent1"/>
              </a:solidFill>
            </a:endParaRPr>
          </a:p>
        </p:txBody>
      </p:sp>
      <p:cxnSp>
        <p:nvCxnSpPr>
          <p:cNvPr id="15" name="直线连接符 14">
            <a:extLst>
              <a:ext uri="{FF2B5EF4-FFF2-40B4-BE49-F238E27FC236}">
                <a16:creationId xmlns:a16="http://schemas.microsoft.com/office/drawing/2014/main" id="{01490598-DBE6-B34D-81BD-A7DCFFB3FACE}"/>
              </a:ext>
            </a:extLst>
          </p:cNvPr>
          <p:cNvCxnSpPr>
            <a:cxnSpLocks/>
          </p:cNvCxnSpPr>
          <p:nvPr/>
        </p:nvCxnSpPr>
        <p:spPr>
          <a:xfrm flipH="1">
            <a:off x="3239146" y="4433712"/>
            <a:ext cx="6146222"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6" name="矩形 15">
            <a:extLst>
              <a:ext uri="{FF2B5EF4-FFF2-40B4-BE49-F238E27FC236}">
                <a16:creationId xmlns:a16="http://schemas.microsoft.com/office/drawing/2014/main" id="{F42F43A5-B825-FC4F-B803-8948C654A38F}"/>
              </a:ext>
            </a:extLst>
          </p:cNvPr>
          <p:cNvSpPr/>
          <p:nvPr/>
        </p:nvSpPr>
        <p:spPr>
          <a:xfrm>
            <a:off x="7632887" y="4395612"/>
            <a:ext cx="1752481" cy="7620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solidFill>
                <a:schemeClr val="accent1"/>
              </a:solidFill>
            </a:endParaRPr>
          </a:p>
        </p:txBody>
      </p:sp>
    </p:spTree>
    <p:extLst>
      <p:ext uri="{BB962C8B-B14F-4D97-AF65-F5344CB8AC3E}">
        <p14:creationId xmlns:p14="http://schemas.microsoft.com/office/powerpoint/2010/main" val="2716895312"/>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组合 3">
            <a:extLst>
              <a:ext uri="{FF2B5EF4-FFF2-40B4-BE49-F238E27FC236}">
                <a16:creationId xmlns:a16="http://schemas.microsoft.com/office/drawing/2014/main" id="{8023251E-EF0F-FD43-9C9A-A2F593789AF1}"/>
              </a:ext>
            </a:extLst>
          </p:cNvPr>
          <p:cNvGrpSpPr/>
          <p:nvPr/>
        </p:nvGrpSpPr>
        <p:grpSpPr>
          <a:xfrm>
            <a:off x="3787676" y="2721114"/>
            <a:ext cx="4616648" cy="1415773"/>
            <a:chOff x="3601936" y="2563103"/>
            <a:chExt cx="4616648" cy="1415773"/>
          </a:xfrm>
        </p:grpSpPr>
        <p:sp>
          <p:nvSpPr>
            <p:cNvPr id="2" name="文本框 1">
              <a:extLst>
                <a:ext uri="{FF2B5EF4-FFF2-40B4-BE49-F238E27FC236}">
                  <a16:creationId xmlns:a16="http://schemas.microsoft.com/office/drawing/2014/main" id="{DC895F4A-661B-454A-9C05-E9614686FF3D}"/>
                </a:ext>
              </a:extLst>
            </p:cNvPr>
            <p:cNvSpPr txBox="1"/>
            <p:nvPr/>
          </p:nvSpPr>
          <p:spPr>
            <a:xfrm>
              <a:off x="3601936" y="2563103"/>
              <a:ext cx="4616648" cy="1107996"/>
            </a:xfrm>
            <a:prstGeom prst="rect">
              <a:avLst/>
            </a:prstGeom>
            <a:noFill/>
          </p:spPr>
          <p:txBody>
            <a:bodyPr wrap="none" lIns="0" tIns="0" rIns="0" bIns="0" rtlCol="0" anchor="t">
              <a:spAutoFit/>
            </a:bodyPr>
            <a:lstStyle/>
            <a:p>
              <a:r>
                <a:rPr kumimoji="1" lang="zh-CN" altLang="en-US" sz="7200" dirty="0">
                  <a:solidFill>
                    <a:schemeClr val="accent1"/>
                  </a:solidFill>
                  <a:latin typeface="+mj-ea"/>
                  <a:ea typeface="+mj-ea"/>
                </a:rPr>
                <a:t>过渡页标题</a:t>
              </a:r>
            </a:p>
          </p:txBody>
        </p:sp>
        <p:sp>
          <p:nvSpPr>
            <p:cNvPr id="3" name="文本框 2">
              <a:extLst>
                <a:ext uri="{FF2B5EF4-FFF2-40B4-BE49-F238E27FC236}">
                  <a16:creationId xmlns:a16="http://schemas.microsoft.com/office/drawing/2014/main" id="{C6C86CD9-1AEF-EB4C-87F6-1961899C84D7}"/>
                </a:ext>
              </a:extLst>
            </p:cNvPr>
            <p:cNvSpPr txBox="1"/>
            <p:nvPr/>
          </p:nvSpPr>
          <p:spPr>
            <a:xfrm>
              <a:off x="3623595" y="3671099"/>
              <a:ext cx="4559765" cy="307777"/>
            </a:xfrm>
            <a:prstGeom prst="rect">
              <a:avLst/>
            </a:prstGeom>
            <a:noFill/>
          </p:spPr>
          <p:txBody>
            <a:bodyPr wrap="square" lIns="0" tIns="0" rIns="0" bIns="0" rtlCol="0" anchor="t">
              <a:spAutoFit/>
            </a:bodyPr>
            <a:lstStyle/>
            <a:p>
              <a:pPr algn="dist"/>
              <a:r>
                <a:rPr kumimoji="1" lang="en-US" altLang="zh-CN" sz="2000" dirty="0">
                  <a:solidFill>
                    <a:schemeClr val="accent1"/>
                  </a:solidFill>
                </a:rPr>
                <a:t>Transition Page Title</a:t>
              </a:r>
              <a:endParaRPr kumimoji="1" lang="zh-CN" altLang="en-US" sz="2000" dirty="0">
                <a:solidFill>
                  <a:schemeClr val="accent1"/>
                </a:solidFill>
              </a:endParaRPr>
            </a:p>
          </p:txBody>
        </p:sp>
      </p:grpSp>
      <p:sp>
        <p:nvSpPr>
          <p:cNvPr id="6" name="文本框 5">
            <a:extLst>
              <a:ext uri="{FF2B5EF4-FFF2-40B4-BE49-F238E27FC236}">
                <a16:creationId xmlns:a16="http://schemas.microsoft.com/office/drawing/2014/main" id="{FF6544F6-BB03-0B4B-9777-F3B8E62D3823}"/>
              </a:ext>
            </a:extLst>
          </p:cNvPr>
          <p:cNvSpPr txBox="1"/>
          <p:nvPr/>
        </p:nvSpPr>
        <p:spPr>
          <a:xfrm>
            <a:off x="5834710" y="2013735"/>
            <a:ext cx="522579" cy="615553"/>
          </a:xfrm>
          <a:prstGeom prst="rect">
            <a:avLst/>
          </a:prstGeom>
          <a:noFill/>
        </p:spPr>
        <p:txBody>
          <a:bodyPr wrap="none" lIns="0" tIns="0" rIns="0" bIns="0" rtlCol="0" anchor="t">
            <a:spAutoFit/>
          </a:bodyPr>
          <a:lstStyle/>
          <a:p>
            <a:pPr algn="l"/>
            <a:r>
              <a:rPr kumimoji="1" lang="en-US" altLang="zh-CN" sz="4000" dirty="0">
                <a:solidFill>
                  <a:schemeClr val="accent1"/>
                </a:solidFill>
              </a:rPr>
              <a:t>01</a:t>
            </a:r>
            <a:endParaRPr kumimoji="1" lang="zh-CN" altLang="en-US" sz="4000" dirty="0">
              <a:solidFill>
                <a:schemeClr val="accent1"/>
              </a:solidFill>
            </a:endParaRPr>
          </a:p>
        </p:txBody>
      </p:sp>
      <p:cxnSp>
        <p:nvCxnSpPr>
          <p:cNvPr id="8" name="直线连接符 7">
            <a:extLst>
              <a:ext uri="{FF2B5EF4-FFF2-40B4-BE49-F238E27FC236}">
                <a16:creationId xmlns:a16="http://schemas.microsoft.com/office/drawing/2014/main" id="{1AE10BE5-4E0B-354C-AC8D-4949AF3D5F0B}"/>
              </a:ext>
            </a:extLst>
          </p:cNvPr>
          <p:cNvCxnSpPr/>
          <p:nvPr/>
        </p:nvCxnSpPr>
        <p:spPr>
          <a:xfrm flipH="1">
            <a:off x="3787676" y="2321960"/>
            <a:ext cx="1863111"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9" name="直线连接符 8">
            <a:extLst>
              <a:ext uri="{FF2B5EF4-FFF2-40B4-BE49-F238E27FC236}">
                <a16:creationId xmlns:a16="http://schemas.microsoft.com/office/drawing/2014/main" id="{BED32A80-1EBE-4D4B-83E5-ECDF7C50EA86}"/>
              </a:ext>
            </a:extLst>
          </p:cNvPr>
          <p:cNvCxnSpPr/>
          <p:nvPr/>
        </p:nvCxnSpPr>
        <p:spPr>
          <a:xfrm flipH="1">
            <a:off x="6505989" y="2321960"/>
            <a:ext cx="1863111"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0" name="直线连接符 9">
            <a:extLst>
              <a:ext uri="{FF2B5EF4-FFF2-40B4-BE49-F238E27FC236}">
                <a16:creationId xmlns:a16="http://schemas.microsoft.com/office/drawing/2014/main" id="{6C6E9455-476A-7943-BA52-D0203A8E898D}"/>
              </a:ext>
            </a:extLst>
          </p:cNvPr>
          <p:cNvCxnSpPr>
            <a:cxnSpLocks/>
          </p:cNvCxnSpPr>
          <p:nvPr/>
        </p:nvCxnSpPr>
        <p:spPr>
          <a:xfrm flipH="1">
            <a:off x="3787676" y="4366518"/>
            <a:ext cx="4581424" cy="0"/>
          </a:xfrm>
          <a:prstGeom prst="line">
            <a:avLst/>
          </a:prstGeom>
          <a:ln w="19050"/>
        </p:spPr>
        <p:style>
          <a:lnRef idx="1">
            <a:schemeClr val="accent1"/>
          </a:lnRef>
          <a:fillRef idx="0">
            <a:schemeClr val="accent1"/>
          </a:fillRef>
          <a:effectRef idx="0">
            <a:schemeClr val="accent1"/>
          </a:effectRef>
          <a:fontRef idx="minor">
            <a:schemeClr val="tx1"/>
          </a:fontRef>
        </p:style>
      </p:cxnSp>
      <p:grpSp>
        <p:nvGrpSpPr>
          <p:cNvPr id="15" name="组合 14">
            <a:extLst>
              <a:ext uri="{FF2B5EF4-FFF2-40B4-BE49-F238E27FC236}">
                <a16:creationId xmlns:a16="http://schemas.microsoft.com/office/drawing/2014/main" id="{5B4F0567-5FB1-3A4B-BC8B-1A04A5BB3201}"/>
              </a:ext>
            </a:extLst>
          </p:cNvPr>
          <p:cNvGrpSpPr/>
          <p:nvPr/>
        </p:nvGrpSpPr>
        <p:grpSpPr>
          <a:xfrm rot="10800000">
            <a:off x="8735911" y="1491305"/>
            <a:ext cx="1863111" cy="5363097"/>
            <a:chOff x="1219114" y="0"/>
            <a:chExt cx="1863111" cy="5363097"/>
          </a:xfrm>
        </p:grpSpPr>
        <p:sp>
          <p:nvSpPr>
            <p:cNvPr id="16" name="平行四边形 15">
              <a:extLst>
                <a:ext uri="{FF2B5EF4-FFF2-40B4-BE49-F238E27FC236}">
                  <a16:creationId xmlns:a16="http://schemas.microsoft.com/office/drawing/2014/main" id="{C49865BA-E28C-A445-B772-69E1D1692754}"/>
                </a:ext>
              </a:extLst>
            </p:cNvPr>
            <p:cNvSpPr/>
            <p:nvPr/>
          </p:nvSpPr>
          <p:spPr>
            <a:xfrm>
              <a:off x="1219114" y="0"/>
              <a:ext cx="1863111" cy="5363097"/>
            </a:xfrm>
            <a:prstGeom prst="parallelogram">
              <a:avLst>
                <a:gd name="adj" fmla="val 80775"/>
              </a:avLst>
            </a:prstGeom>
            <a:gradFill>
              <a:gsLst>
                <a:gs pos="100000">
                  <a:schemeClr val="accent1">
                    <a:alpha val="0"/>
                  </a:schemeClr>
                </a:gs>
                <a:gs pos="0">
                  <a:schemeClr val="accent1"/>
                </a:gs>
              </a:gsLst>
              <a:lin ang="5400000" scaled="1"/>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solidFill>
                  <a:schemeClr val="accent1"/>
                </a:solidFill>
              </a:endParaRPr>
            </a:p>
          </p:txBody>
        </p:sp>
        <p:sp>
          <p:nvSpPr>
            <p:cNvPr id="17" name="平行四边形 16">
              <a:extLst>
                <a:ext uri="{FF2B5EF4-FFF2-40B4-BE49-F238E27FC236}">
                  <a16:creationId xmlns:a16="http://schemas.microsoft.com/office/drawing/2014/main" id="{8EE81A47-285F-0A49-BBC4-00E90175E833}"/>
                </a:ext>
              </a:extLst>
            </p:cNvPr>
            <p:cNvSpPr/>
            <p:nvPr/>
          </p:nvSpPr>
          <p:spPr>
            <a:xfrm>
              <a:off x="1856489" y="0"/>
              <a:ext cx="825908" cy="2219218"/>
            </a:xfrm>
            <a:prstGeom prst="parallelogram">
              <a:avLst>
                <a:gd name="adj" fmla="val 75596"/>
              </a:avLst>
            </a:prstGeom>
            <a:gradFill>
              <a:gsLst>
                <a:gs pos="100000">
                  <a:schemeClr val="accent1">
                    <a:alpha val="0"/>
                  </a:schemeClr>
                </a:gs>
                <a:gs pos="0">
                  <a:schemeClr val="accent1">
                    <a:alpha val="36000"/>
                  </a:schemeClr>
                </a:gs>
              </a:gsLst>
              <a:lin ang="5400000" scaled="1"/>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solidFill>
                  <a:schemeClr val="accent1"/>
                </a:solidFill>
              </a:endParaRPr>
            </a:p>
          </p:txBody>
        </p:sp>
      </p:grpSp>
      <p:grpSp>
        <p:nvGrpSpPr>
          <p:cNvPr id="5" name="组合 4">
            <a:extLst>
              <a:ext uri="{FF2B5EF4-FFF2-40B4-BE49-F238E27FC236}">
                <a16:creationId xmlns:a16="http://schemas.microsoft.com/office/drawing/2014/main" id="{1DC7AAD7-D7F0-43E4-A78F-87F5BD6B9722}"/>
              </a:ext>
            </a:extLst>
          </p:cNvPr>
          <p:cNvGrpSpPr/>
          <p:nvPr/>
        </p:nvGrpSpPr>
        <p:grpSpPr>
          <a:xfrm>
            <a:off x="945222" y="0"/>
            <a:ext cx="2510868" cy="6858000"/>
            <a:chOff x="945222" y="0"/>
            <a:chExt cx="2510868" cy="6858000"/>
          </a:xfrm>
        </p:grpSpPr>
        <p:grpSp>
          <p:nvGrpSpPr>
            <p:cNvPr id="14" name="组合 13">
              <a:extLst>
                <a:ext uri="{FF2B5EF4-FFF2-40B4-BE49-F238E27FC236}">
                  <a16:creationId xmlns:a16="http://schemas.microsoft.com/office/drawing/2014/main" id="{91ABC5FE-68A6-7A45-8D21-07BE9AE3FEE3}"/>
                </a:ext>
              </a:extLst>
            </p:cNvPr>
            <p:cNvGrpSpPr/>
            <p:nvPr/>
          </p:nvGrpSpPr>
          <p:grpSpPr>
            <a:xfrm>
              <a:off x="1592979" y="0"/>
              <a:ext cx="1863111" cy="5363097"/>
              <a:chOff x="1219114" y="0"/>
              <a:chExt cx="1863111" cy="5363097"/>
            </a:xfrm>
          </p:grpSpPr>
          <p:sp>
            <p:nvSpPr>
              <p:cNvPr id="12" name="平行四边形 11">
                <a:extLst>
                  <a:ext uri="{FF2B5EF4-FFF2-40B4-BE49-F238E27FC236}">
                    <a16:creationId xmlns:a16="http://schemas.microsoft.com/office/drawing/2014/main" id="{D8AE1AFD-418E-064F-89B6-3DAE6D4B36F6}"/>
                  </a:ext>
                </a:extLst>
              </p:cNvPr>
              <p:cNvSpPr/>
              <p:nvPr/>
            </p:nvSpPr>
            <p:spPr>
              <a:xfrm>
                <a:off x="1219114" y="0"/>
                <a:ext cx="1863111" cy="5363097"/>
              </a:xfrm>
              <a:prstGeom prst="parallelogram">
                <a:avLst>
                  <a:gd name="adj" fmla="val 80775"/>
                </a:avLst>
              </a:prstGeom>
              <a:gradFill>
                <a:gsLst>
                  <a:gs pos="100000">
                    <a:schemeClr val="accent1">
                      <a:alpha val="0"/>
                    </a:schemeClr>
                  </a:gs>
                  <a:gs pos="0">
                    <a:schemeClr val="accent1"/>
                  </a:gs>
                </a:gsLst>
                <a:lin ang="5400000" scaled="1"/>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solidFill>
                    <a:schemeClr val="accent1"/>
                  </a:solidFill>
                </a:endParaRPr>
              </a:p>
            </p:txBody>
          </p:sp>
          <p:sp>
            <p:nvSpPr>
              <p:cNvPr id="13" name="平行四边形 12">
                <a:extLst>
                  <a:ext uri="{FF2B5EF4-FFF2-40B4-BE49-F238E27FC236}">
                    <a16:creationId xmlns:a16="http://schemas.microsoft.com/office/drawing/2014/main" id="{0C77D1FC-6A1D-7442-B944-B26B78921016}"/>
                  </a:ext>
                </a:extLst>
              </p:cNvPr>
              <p:cNvSpPr/>
              <p:nvPr/>
            </p:nvSpPr>
            <p:spPr>
              <a:xfrm>
                <a:off x="1856489" y="0"/>
                <a:ext cx="825908" cy="2219218"/>
              </a:xfrm>
              <a:prstGeom prst="parallelogram">
                <a:avLst>
                  <a:gd name="adj" fmla="val 75596"/>
                </a:avLst>
              </a:prstGeom>
              <a:gradFill>
                <a:gsLst>
                  <a:gs pos="100000">
                    <a:schemeClr val="accent1">
                      <a:alpha val="0"/>
                    </a:schemeClr>
                  </a:gs>
                  <a:gs pos="0">
                    <a:schemeClr val="accent1">
                      <a:alpha val="36000"/>
                    </a:schemeClr>
                  </a:gs>
                </a:gsLst>
                <a:lin ang="5400000" scaled="1"/>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solidFill>
                    <a:schemeClr val="accent1"/>
                  </a:solidFill>
                </a:endParaRPr>
              </a:p>
            </p:txBody>
          </p:sp>
        </p:grpSp>
        <p:cxnSp>
          <p:nvCxnSpPr>
            <p:cNvPr id="20" name="直线连接符 19">
              <a:extLst>
                <a:ext uri="{FF2B5EF4-FFF2-40B4-BE49-F238E27FC236}">
                  <a16:creationId xmlns:a16="http://schemas.microsoft.com/office/drawing/2014/main" id="{2BCA4884-10BC-EC45-8BC5-A8CFC5F5FC00}"/>
                </a:ext>
              </a:extLst>
            </p:cNvPr>
            <p:cNvCxnSpPr/>
            <p:nvPr/>
          </p:nvCxnSpPr>
          <p:spPr>
            <a:xfrm flipH="1">
              <a:off x="945222" y="2476072"/>
              <a:ext cx="1285132" cy="4381928"/>
            </a:xfrm>
            <a:prstGeom prst="line">
              <a:avLst/>
            </a:prstGeom>
          </p:spPr>
          <p:style>
            <a:lnRef idx="1">
              <a:schemeClr val="accent1"/>
            </a:lnRef>
            <a:fillRef idx="0">
              <a:schemeClr val="accent1"/>
            </a:fillRef>
            <a:effectRef idx="0">
              <a:schemeClr val="accent1"/>
            </a:effectRef>
            <a:fontRef idx="minor">
              <a:schemeClr val="tx1"/>
            </a:fontRef>
          </p:style>
        </p:cxnSp>
      </p:grpSp>
      <p:cxnSp>
        <p:nvCxnSpPr>
          <p:cNvPr id="21" name="直线连接符 20">
            <a:extLst>
              <a:ext uri="{FF2B5EF4-FFF2-40B4-BE49-F238E27FC236}">
                <a16:creationId xmlns:a16="http://schemas.microsoft.com/office/drawing/2014/main" id="{D149CE0F-0A44-4241-9C13-1BA55528FFE8}"/>
              </a:ext>
            </a:extLst>
          </p:cNvPr>
          <p:cNvCxnSpPr>
            <a:cxnSpLocks/>
          </p:cNvCxnSpPr>
          <p:nvPr/>
        </p:nvCxnSpPr>
        <p:spPr>
          <a:xfrm flipH="1">
            <a:off x="10007427" y="-15410"/>
            <a:ext cx="1183187" cy="4381928"/>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66646471"/>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1">
            <a:extLst>
              <a:ext uri="{FF2B5EF4-FFF2-40B4-BE49-F238E27FC236}">
                <a16:creationId xmlns:a16="http://schemas.microsoft.com/office/drawing/2014/main" id="{72B3E6D8-0EA8-4C2D-8542-C9D9EDA922DF}"/>
              </a:ext>
            </a:extLst>
          </p:cNvPr>
          <p:cNvGrpSpPr/>
          <p:nvPr/>
        </p:nvGrpSpPr>
        <p:grpSpPr>
          <a:xfrm>
            <a:off x="-1" y="0"/>
            <a:ext cx="2931887" cy="5838825"/>
            <a:chOff x="-1" y="0"/>
            <a:chExt cx="2931887" cy="5838825"/>
          </a:xfrm>
        </p:grpSpPr>
        <p:sp>
          <p:nvSpPr>
            <p:cNvPr id="3" name="任意多边形: 形状 2">
              <a:extLst>
                <a:ext uri="{FF2B5EF4-FFF2-40B4-BE49-F238E27FC236}">
                  <a16:creationId xmlns:a16="http://schemas.microsoft.com/office/drawing/2014/main" id="{5583A924-27D5-4C69-B24F-5733DB5E8102}"/>
                </a:ext>
              </a:extLst>
            </p:cNvPr>
            <p:cNvSpPr/>
            <p:nvPr/>
          </p:nvSpPr>
          <p:spPr>
            <a:xfrm>
              <a:off x="1" y="2"/>
              <a:ext cx="2931885" cy="5448993"/>
            </a:xfrm>
            <a:custGeom>
              <a:avLst/>
              <a:gdLst>
                <a:gd name="connsiteX0" fmla="*/ 0 w 2931885"/>
                <a:gd name="connsiteY0" fmla="*/ 0 h 5448993"/>
                <a:gd name="connsiteX1" fmla="*/ 2931885 w 2931885"/>
                <a:gd name="connsiteY1" fmla="*/ 0 h 5448993"/>
                <a:gd name="connsiteX2" fmla="*/ 0 w 2931885"/>
                <a:gd name="connsiteY2" fmla="*/ 5448993 h 5448993"/>
              </a:gdLst>
              <a:ahLst/>
              <a:cxnLst>
                <a:cxn ang="0">
                  <a:pos x="connsiteX0" y="connsiteY0"/>
                </a:cxn>
                <a:cxn ang="0">
                  <a:pos x="connsiteX1" y="connsiteY1"/>
                </a:cxn>
                <a:cxn ang="0">
                  <a:pos x="connsiteX2" y="connsiteY2"/>
                </a:cxn>
              </a:cxnLst>
              <a:rect l="l" t="t" r="r" b="b"/>
              <a:pathLst>
                <a:path w="2931885" h="5448993">
                  <a:moveTo>
                    <a:pt x="0" y="0"/>
                  </a:moveTo>
                  <a:lnTo>
                    <a:pt x="2931885" y="0"/>
                  </a:lnTo>
                  <a:lnTo>
                    <a:pt x="0" y="5448993"/>
                  </a:lnTo>
                  <a:close/>
                </a:path>
              </a:pathLst>
            </a:custGeom>
            <a:solidFill>
              <a:schemeClr val="accent1">
                <a:lumMod val="75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dirty="0"/>
            </a:p>
          </p:txBody>
        </p:sp>
        <p:sp>
          <p:nvSpPr>
            <p:cNvPr id="4" name="任意多边形: 形状 3">
              <a:extLst>
                <a:ext uri="{FF2B5EF4-FFF2-40B4-BE49-F238E27FC236}">
                  <a16:creationId xmlns:a16="http://schemas.microsoft.com/office/drawing/2014/main" id="{D2ACEFB5-A7FB-4464-AB9E-AB26E8E587B8}"/>
                </a:ext>
              </a:extLst>
            </p:cNvPr>
            <p:cNvSpPr/>
            <p:nvPr/>
          </p:nvSpPr>
          <p:spPr>
            <a:xfrm rot="10800000">
              <a:off x="-1" y="0"/>
              <a:ext cx="2597936" cy="4828338"/>
            </a:xfrm>
            <a:custGeom>
              <a:avLst/>
              <a:gdLst>
                <a:gd name="connsiteX0" fmla="*/ 161924 w 2597936"/>
                <a:gd name="connsiteY0" fmla="*/ 4828338 h 4828338"/>
                <a:gd name="connsiteX1" fmla="*/ 0 w 2597936"/>
                <a:gd name="connsiteY1" fmla="*/ 4828338 h 4828338"/>
                <a:gd name="connsiteX2" fmla="*/ 2597936 w 2597936"/>
                <a:gd name="connsiteY2" fmla="*/ 0 h 4828338"/>
                <a:gd name="connsiteX3" fmla="*/ 2597936 w 2597936"/>
                <a:gd name="connsiteY3" fmla="*/ 300942 h 4828338"/>
              </a:gdLst>
              <a:ahLst/>
              <a:cxnLst>
                <a:cxn ang="0">
                  <a:pos x="connsiteX0" y="connsiteY0"/>
                </a:cxn>
                <a:cxn ang="0">
                  <a:pos x="connsiteX1" y="connsiteY1"/>
                </a:cxn>
                <a:cxn ang="0">
                  <a:pos x="connsiteX2" y="connsiteY2"/>
                </a:cxn>
                <a:cxn ang="0">
                  <a:pos x="connsiteX3" y="connsiteY3"/>
                </a:cxn>
              </a:cxnLst>
              <a:rect l="l" t="t" r="r" b="b"/>
              <a:pathLst>
                <a:path w="2597936" h="4828338">
                  <a:moveTo>
                    <a:pt x="161924" y="4828338"/>
                  </a:moveTo>
                  <a:lnTo>
                    <a:pt x="0" y="4828338"/>
                  </a:lnTo>
                  <a:lnTo>
                    <a:pt x="2597936" y="0"/>
                  </a:lnTo>
                  <a:lnTo>
                    <a:pt x="2597936" y="300942"/>
                  </a:lnTo>
                  <a:close/>
                </a:path>
              </a:pathLst>
            </a:custGeom>
            <a:solidFill>
              <a:schemeClr val="accent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p>
          </p:txBody>
        </p:sp>
        <p:cxnSp>
          <p:nvCxnSpPr>
            <p:cNvPr id="5" name="直接连接符 4">
              <a:extLst>
                <a:ext uri="{FF2B5EF4-FFF2-40B4-BE49-F238E27FC236}">
                  <a16:creationId xmlns:a16="http://schemas.microsoft.com/office/drawing/2014/main" id="{F0F3FA59-C548-4CAA-9BC9-96A1200D2458}"/>
                </a:ext>
              </a:extLst>
            </p:cNvPr>
            <p:cNvCxnSpPr>
              <a:cxnSpLocks/>
            </p:cNvCxnSpPr>
            <p:nvPr/>
          </p:nvCxnSpPr>
          <p:spPr>
            <a:xfrm flipH="1">
              <a:off x="0" y="1409005"/>
              <a:ext cx="2400300" cy="4429820"/>
            </a:xfrm>
            <a:prstGeom prst="line">
              <a:avLst/>
            </a:prstGeom>
            <a:ln w="25400">
              <a:gradFill>
                <a:gsLst>
                  <a:gs pos="0">
                    <a:schemeClr val="accent1"/>
                  </a:gs>
                  <a:gs pos="100000">
                    <a:schemeClr val="accent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grpSp>
      <p:grpSp>
        <p:nvGrpSpPr>
          <p:cNvPr id="6" name="组合 5">
            <a:extLst>
              <a:ext uri="{FF2B5EF4-FFF2-40B4-BE49-F238E27FC236}">
                <a16:creationId xmlns:a16="http://schemas.microsoft.com/office/drawing/2014/main" id="{5283F094-48DB-4924-AE66-29A5DBE685A1}"/>
              </a:ext>
            </a:extLst>
          </p:cNvPr>
          <p:cNvGrpSpPr/>
          <p:nvPr/>
        </p:nvGrpSpPr>
        <p:grpSpPr>
          <a:xfrm rot="10800000">
            <a:off x="9260112" y="1019175"/>
            <a:ext cx="2931887" cy="5838825"/>
            <a:chOff x="-1" y="0"/>
            <a:chExt cx="2931887" cy="5838825"/>
          </a:xfrm>
        </p:grpSpPr>
        <p:sp>
          <p:nvSpPr>
            <p:cNvPr id="7" name="任意多边形: 形状 6">
              <a:extLst>
                <a:ext uri="{FF2B5EF4-FFF2-40B4-BE49-F238E27FC236}">
                  <a16:creationId xmlns:a16="http://schemas.microsoft.com/office/drawing/2014/main" id="{B8A6FF2D-027B-48FE-8531-29594F7995CA}"/>
                </a:ext>
              </a:extLst>
            </p:cNvPr>
            <p:cNvSpPr/>
            <p:nvPr/>
          </p:nvSpPr>
          <p:spPr>
            <a:xfrm>
              <a:off x="1" y="2"/>
              <a:ext cx="2931885" cy="5448993"/>
            </a:xfrm>
            <a:custGeom>
              <a:avLst/>
              <a:gdLst>
                <a:gd name="connsiteX0" fmla="*/ 0 w 2931885"/>
                <a:gd name="connsiteY0" fmla="*/ 0 h 5448993"/>
                <a:gd name="connsiteX1" fmla="*/ 2931885 w 2931885"/>
                <a:gd name="connsiteY1" fmla="*/ 0 h 5448993"/>
                <a:gd name="connsiteX2" fmla="*/ 0 w 2931885"/>
                <a:gd name="connsiteY2" fmla="*/ 5448993 h 5448993"/>
              </a:gdLst>
              <a:ahLst/>
              <a:cxnLst>
                <a:cxn ang="0">
                  <a:pos x="connsiteX0" y="connsiteY0"/>
                </a:cxn>
                <a:cxn ang="0">
                  <a:pos x="connsiteX1" y="connsiteY1"/>
                </a:cxn>
                <a:cxn ang="0">
                  <a:pos x="connsiteX2" y="connsiteY2"/>
                </a:cxn>
              </a:cxnLst>
              <a:rect l="l" t="t" r="r" b="b"/>
              <a:pathLst>
                <a:path w="2931885" h="5448993">
                  <a:moveTo>
                    <a:pt x="0" y="0"/>
                  </a:moveTo>
                  <a:lnTo>
                    <a:pt x="2931885" y="0"/>
                  </a:lnTo>
                  <a:lnTo>
                    <a:pt x="0" y="5448993"/>
                  </a:lnTo>
                  <a:close/>
                </a:path>
              </a:pathLst>
            </a:custGeom>
            <a:solidFill>
              <a:schemeClr val="accent1">
                <a:lumMod val="75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p>
          </p:txBody>
        </p:sp>
        <p:sp>
          <p:nvSpPr>
            <p:cNvPr id="8" name="任意多边形: 形状 7">
              <a:extLst>
                <a:ext uri="{FF2B5EF4-FFF2-40B4-BE49-F238E27FC236}">
                  <a16:creationId xmlns:a16="http://schemas.microsoft.com/office/drawing/2014/main" id="{C2BA08E1-0E5D-4DD2-AEB1-FB9B18E02FBE}"/>
                </a:ext>
              </a:extLst>
            </p:cNvPr>
            <p:cNvSpPr/>
            <p:nvPr/>
          </p:nvSpPr>
          <p:spPr>
            <a:xfrm rot="10800000">
              <a:off x="-1" y="0"/>
              <a:ext cx="2597936" cy="4828338"/>
            </a:xfrm>
            <a:custGeom>
              <a:avLst/>
              <a:gdLst>
                <a:gd name="connsiteX0" fmla="*/ 161924 w 2597936"/>
                <a:gd name="connsiteY0" fmla="*/ 4828338 h 4828338"/>
                <a:gd name="connsiteX1" fmla="*/ 0 w 2597936"/>
                <a:gd name="connsiteY1" fmla="*/ 4828338 h 4828338"/>
                <a:gd name="connsiteX2" fmla="*/ 2597936 w 2597936"/>
                <a:gd name="connsiteY2" fmla="*/ 0 h 4828338"/>
                <a:gd name="connsiteX3" fmla="*/ 2597936 w 2597936"/>
                <a:gd name="connsiteY3" fmla="*/ 300942 h 4828338"/>
              </a:gdLst>
              <a:ahLst/>
              <a:cxnLst>
                <a:cxn ang="0">
                  <a:pos x="connsiteX0" y="connsiteY0"/>
                </a:cxn>
                <a:cxn ang="0">
                  <a:pos x="connsiteX1" y="connsiteY1"/>
                </a:cxn>
                <a:cxn ang="0">
                  <a:pos x="connsiteX2" y="connsiteY2"/>
                </a:cxn>
                <a:cxn ang="0">
                  <a:pos x="connsiteX3" y="connsiteY3"/>
                </a:cxn>
              </a:cxnLst>
              <a:rect l="l" t="t" r="r" b="b"/>
              <a:pathLst>
                <a:path w="2597936" h="4828338">
                  <a:moveTo>
                    <a:pt x="161924" y="4828338"/>
                  </a:moveTo>
                  <a:lnTo>
                    <a:pt x="0" y="4828338"/>
                  </a:lnTo>
                  <a:lnTo>
                    <a:pt x="2597936" y="0"/>
                  </a:lnTo>
                  <a:lnTo>
                    <a:pt x="2597936" y="300942"/>
                  </a:lnTo>
                  <a:close/>
                </a:path>
              </a:pathLst>
            </a:custGeom>
            <a:solidFill>
              <a:schemeClr val="accent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p>
          </p:txBody>
        </p:sp>
        <p:cxnSp>
          <p:nvCxnSpPr>
            <p:cNvPr id="9" name="直接连接符 8">
              <a:extLst>
                <a:ext uri="{FF2B5EF4-FFF2-40B4-BE49-F238E27FC236}">
                  <a16:creationId xmlns:a16="http://schemas.microsoft.com/office/drawing/2014/main" id="{519B14AC-7E64-4469-A946-1B5D0003D65F}"/>
                </a:ext>
              </a:extLst>
            </p:cNvPr>
            <p:cNvCxnSpPr>
              <a:cxnSpLocks/>
            </p:cNvCxnSpPr>
            <p:nvPr/>
          </p:nvCxnSpPr>
          <p:spPr>
            <a:xfrm flipH="1">
              <a:off x="0" y="1409005"/>
              <a:ext cx="2400300" cy="4429820"/>
            </a:xfrm>
            <a:prstGeom prst="line">
              <a:avLst/>
            </a:prstGeom>
            <a:noFill/>
            <a:ln>
              <a:gradFill>
                <a:gsLst>
                  <a:gs pos="88000">
                    <a:schemeClr val="accent1">
                      <a:alpha val="0"/>
                    </a:schemeClr>
                  </a:gs>
                  <a:gs pos="35000">
                    <a:schemeClr val="accent1"/>
                  </a:gs>
                </a:gsLst>
                <a:lin ang="0" scaled="0"/>
              </a:gradFill>
            </a:ln>
          </p:spPr>
          <p:style>
            <a:lnRef idx="2">
              <a:schemeClr val="accent1">
                <a:shade val="50000"/>
              </a:schemeClr>
            </a:lnRef>
            <a:fillRef idx="1">
              <a:schemeClr val="accent1"/>
            </a:fillRef>
            <a:effectRef idx="0">
              <a:schemeClr val="accent1"/>
            </a:effectRef>
            <a:fontRef idx="minor">
              <a:schemeClr val="lt1"/>
            </a:fontRef>
          </p:style>
        </p:cxnSp>
      </p:grpSp>
      <p:sp>
        <p:nvSpPr>
          <p:cNvPr id="10" name="文本框 9">
            <a:extLst>
              <a:ext uri="{FF2B5EF4-FFF2-40B4-BE49-F238E27FC236}">
                <a16:creationId xmlns:a16="http://schemas.microsoft.com/office/drawing/2014/main" id="{982029E0-0807-481D-9EB9-92183F6D1883}"/>
              </a:ext>
            </a:extLst>
          </p:cNvPr>
          <p:cNvSpPr txBox="1"/>
          <p:nvPr/>
        </p:nvSpPr>
        <p:spPr>
          <a:xfrm>
            <a:off x="3463474" y="2705100"/>
            <a:ext cx="5265052" cy="1015663"/>
          </a:xfrm>
          <a:prstGeom prst="rect">
            <a:avLst/>
          </a:prstGeom>
          <a:noFill/>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6600" b="0" i="0" u="none" strike="noStrike" kern="1200" cap="none" spc="0" normalizeH="0" baseline="0" noProof="0" dirty="0">
                <a:ln>
                  <a:noFill/>
                </a:ln>
                <a:solidFill>
                  <a:schemeClr val="accent1"/>
                </a:solidFill>
                <a:effectLst/>
                <a:uLnTx/>
                <a:uFillTx/>
                <a:latin typeface="OPPOSans H"/>
                <a:ea typeface="OPPOSans H"/>
                <a:cs typeface="+mn-cs"/>
              </a:rPr>
              <a:t>工作内容回顾</a:t>
            </a:r>
          </a:p>
        </p:txBody>
      </p:sp>
      <p:sp>
        <p:nvSpPr>
          <p:cNvPr id="11" name="文本框 10">
            <a:extLst>
              <a:ext uri="{FF2B5EF4-FFF2-40B4-BE49-F238E27FC236}">
                <a16:creationId xmlns:a16="http://schemas.microsoft.com/office/drawing/2014/main" id="{B8B71ECC-A037-4408-92C6-6F53BB9FEADF}"/>
              </a:ext>
            </a:extLst>
          </p:cNvPr>
          <p:cNvSpPr txBox="1"/>
          <p:nvPr/>
        </p:nvSpPr>
        <p:spPr>
          <a:xfrm>
            <a:off x="3621024" y="3720763"/>
            <a:ext cx="4983480" cy="430887"/>
          </a:xfrm>
          <a:prstGeom prst="rect">
            <a:avLst/>
          </a:prstGeom>
          <a:noFill/>
        </p:spPr>
        <p:txBody>
          <a:bodyPr wrap="square" lIns="0" tIns="0" rIns="0" bIns="0" rtlCol="0" anchor="t">
            <a:spAutoFit/>
          </a:bodyPr>
          <a:lstStyle/>
          <a:p>
            <a:pPr marL="0" marR="0" lvl="0" indent="0" algn="dist" defTabSz="914400" rtl="0" eaLnBrk="1" fontAlgn="auto" latinLnBrk="0" hangingPunct="1">
              <a:lnSpc>
                <a:spcPct val="100000"/>
              </a:lnSpc>
              <a:spcBef>
                <a:spcPts val="0"/>
              </a:spcBef>
              <a:spcAft>
                <a:spcPts val="0"/>
              </a:spcAft>
              <a:buClrTx/>
              <a:buSzTx/>
              <a:buFontTx/>
              <a:buNone/>
              <a:tabLst/>
              <a:defRPr/>
            </a:pPr>
            <a:r>
              <a:rPr kumimoji="0" lang="en-US" altLang="zh-CN" sz="2800" b="0" i="0" u="none" strike="noStrike" kern="1200" cap="none" spc="0" normalizeH="0" baseline="0" noProof="0" dirty="0">
                <a:ln>
                  <a:noFill/>
                </a:ln>
                <a:solidFill>
                  <a:schemeClr val="accent1"/>
                </a:solidFill>
                <a:effectLst/>
                <a:uLnTx/>
                <a:uFillTx/>
                <a:latin typeface="OPPOSans R"/>
                <a:ea typeface="OPPOSans R"/>
                <a:cs typeface="+mn-cs"/>
              </a:rPr>
              <a:t>Working Content Review</a:t>
            </a:r>
            <a:endParaRPr kumimoji="0" lang="zh-CN" altLang="en-US" sz="2800" b="0" i="0" u="none" strike="noStrike" kern="1200" cap="none" spc="0" normalizeH="0" baseline="0" noProof="0" dirty="0">
              <a:ln>
                <a:noFill/>
              </a:ln>
              <a:solidFill>
                <a:schemeClr val="accent1"/>
              </a:solidFill>
              <a:effectLst/>
              <a:uLnTx/>
              <a:uFillTx/>
              <a:latin typeface="OPPOSans R"/>
              <a:ea typeface="OPPOSans R"/>
              <a:cs typeface="+mn-cs"/>
            </a:endParaRPr>
          </a:p>
        </p:txBody>
      </p:sp>
      <p:sp>
        <p:nvSpPr>
          <p:cNvPr id="12" name="矩形: 圆角 11">
            <a:extLst>
              <a:ext uri="{FF2B5EF4-FFF2-40B4-BE49-F238E27FC236}">
                <a16:creationId xmlns:a16="http://schemas.microsoft.com/office/drawing/2014/main" id="{B31DE0CA-F3C9-4988-BE5E-AC750E2063C8}"/>
              </a:ext>
            </a:extLst>
          </p:cNvPr>
          <p:cNvSpPr/>
          <p:nvPr/>
        </p:nvSpPr>
        <p:spPr>
          <a:xfrm>
            <a:off x="5222747" y="1954173"/>
            <a:ext cx="1746504" cy="640080"/>
          </a:xfrm>
          <a:prstGeom prst="roundRect">
            <a:avLst>
              <a:gd name="adj" fmla="val 50000"/>
            </a:avLst>
          </a:prstGeom>
          <a:solidFill>
            <a:schemeClr val="accent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2800" b="0" i="0" u="none" strike="noStrike" kern="1200" cap="none" spc="0" normalizeH="0" baseline="0" noProof="0" dirty="0">
                <a:ln>
                  <a:noFill/>
                </a:ln>
                <a:solidFill>
                  <a:prstClr val="white"/>
                </a:solidFill>
                <a:effectLst/>
                <a:uLnTx/>
                <a:uFillTx/>
                <a:latin typeface="OPPOSans R"/>
                <a:ea typeface="OPPOSans R"/>
                <a:cs typeface="+mn-cs"/>
              </a:rPr>
              <a:t>Part 01</a:t>
            </a:r>
            <a:endParaRPr kumimoji="0" lang="zh-CN" altLang="en-US" sz="2800" b="0" i="0" u="none" strike="noStrike" kern="1200" cap="none" spc="0" normalizeH="0" baseline="0" noProof="0" dirty="0">
              <a:ln>
                <a:noFill/>
              </a:ln>
              <a:solidFill>
                <a:prstClr val="white"/>
              </a:solidFill>
              <a:effectLst/>
              <a:uLnTx/>
              <a:uFillTx/>
              <a:latin typeface="OPPOSans R"/>
              <a:ea typeface="OPPOSans R"/>
              <a:cs typeface="+mn-cs"/>
            </a:endParaRPr>
          </a:p>
        </p:txBody>
      </p:sp>
    </p:spTree>
    <p:extLst>
      <p:ext uri="{BB962C8B-B14F-4D97-AF65-F5344CB8AC3E}">
        <p14:creationId xmlns:p14="http://schemas.microsoft.com/office/powerpoint/2010/main" val="1226026662"/>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组合 6">
            <a:extLst>
              <a:ext uri="{FF2B5EF4-FFF2-40B4-BE49-F238E27FC236}">
                <a16:creationId xmlns:a16="http://schemas.microsoft.com/office/drawing/2014/main" id="{FC327E99-DD9F-6C45-811B-9CA02917E4BD}"/>
              </a:ext>
            </a:extLst>
          </p:cNvPr>
          <p:cNvGrpSpPr/>
          <p:nvPr/>
        </p:nvGrpSpPr>
        <p:grpSpPr>
          <a:xfrm>
            <a:off x="2689146" y="2544776"/>
            <a:ext cx="6813708" cy="2123658"/>
            <a:chOff x="3223031" y="2544776"/>
            <a:chExt cx="6813708" cy="2123658"/>
          </a:xfrm>
        </p:grpSpPr>
        <p:sp>
          <p:nvSpPr>
            <p:cNvPr id="3" name="文本框 2">
              <a:extLst>
                <a:ext uri="{FF2B5EF4-FFF2-40B4-BE49-F238E27FC236}">
                  <a16:creationId xmlns:a16="http://schemas.microsoft.com/office/drawing/2014/main" id="{3F8DD486-24D2-8946-A481-22CD74715F8F}"/>
                </a:ext>
              </a:extLst>
            </p:cNvPr>
            <p:cNvSpPr txBox="1"/>
            <p:nvPr/>
          </p:nvSpPr>
          <p:spPr>
            <a:xfrm>
              <a:off x="5420091" y="2676118"/>
              <a:ext cx="4616648" cy="1107996"/>
            </a:xfrm>
            <a:prstGeom prst="rect">
              <a:avLst/>
            </a:prstGeom>
            <a:noFill/>
          </p:spPr>
          <p:txBody>
            <a:bodyPr wrap="none" lIns="0" tIns="0" rIns="0" bIns="0" rtlCol="0" anchor="t">
              <a:spAutoFit/>
            </a:bodyPr>
            <a:lstStyle/>
            <a:p>
              <a:r>
                <a:rPr kumimoji="1" lang="zh-CN" altLang="en-US" sz="7200" dirty="0">
                  <a:solidFill>
                    <a:schemeClr val="accent1"/>
                  </a:solidFill>
                  <a:latin typeface="+mj-ea"/>
                  <a:ea typeface="+mj-ea"/>
                </a:rPr>
                <a:t>过渡页标题</a:t>
              </a:r>
            </a:p>
          </p:txBody>
        </p:sp>
        <p:sp>
          <p:nvSpPr>
            <p:cNvPr id="4" name="文本框 3">
              <a:extLst>
                <a:ext uri="{FF2B5EF4-FFF2-40B4-BE49-F238E27FC236}">
                  <a16:creationId xmlns:a16="http://schemas.microsoft.com/office/drawing/2014/main" id="{7E9C86BA-80FE-3047-A7CE-07BEC3B69057}"/>
                </a:ext>
              </a:extLst>
            </p:cNvPr>
            <p:cNvSpPr txBox="1"/>
            <p:nvPr/>
          </p:nvSpPr>
          <p:spPr>
            <a:xfrm>
              <a:off x="3223031" y="2544776"/>
              <a:ext cx="2011769" cy="2123658"/>
            </a:xfrm>
            <a:prstGeom prst="rect">
              <a:avLst/>
            </a:prstGeom>
            <a:noFill/>
          </p:spPr>
          <p:txBody>
            <a:bodyPr wrap="none" lIns="0" tIns="0" rIns="0" bIns="0" rtlCol="0" anchor="t">
              <a:spAutoFit/>
            </a:bodyPr>
            <a:lstStyle/>
            <a:p>
              <a:r>
                <a:rPr kumimoji="1" lang="en-US" altLang="zh-CN" sz="13800" dirty="0">
                  <a:solidFill>
                    <a:schemeClr val="accent1"/>
                  </a:solidFill>
                  <a:latin typeface="+mj-ea"/>
                  <a:ea typeface="+mj-ea"/>
                </a:rPr>
                <a:t>01</a:t>
              </a:r>
              <a:endParaRPr kumimoji="1" lang="zh-CN" altLang="en-US" sz="13800" dirty="0">
                <a:solidFill>
                  <a:schemeClr val="accent1"/>
                </a:solidFill>
                <a:latin typeface="+mj-ea"/>
                <a:ea typeface="+mj-ea"/>
              </a:endParaRPr>
            </a:p>
          </p:txBody>
        </p:sp>
        <p:sp>
          <p:nvSpPr>
            <p:cNvPr id="5" name="文本框 4">
              <a:extLst>
                <a:ext uri="{FF2B5EF4-FFF2-40B4-BE49-F238E27FC236}">
                  <a16:creationId xmlns:a16="http://schemas.microsoft.com/office/drawing/2014/main" id="{905CDE52-5675-264D-B941-95103AAB7757}"/>
                </a:ext>
              </a:extLst>
            </p:cNvPr>
            <p:cNvSpPr txBox="1"/>
            <p:nvPr/>
          </p:nvSpPr>
          <p:spPr>
            <a:xfrm>
              <a:off x="5441750" y="3985530"/>
              <a:ext cx="4559765" cy="307777"/>
            </a:xfrm>
            <a:prstGeom prst="rect">
              <a:avLst/>
            </a:prstGeom>
            <a:noFill/>
          </p:spPr>
          <p:txBody>
            <a:bodyPr wrap="square" lIns="0" tIns="0" rIns="0" bIns="0" rtlCol="0" anchor="t">
              <a:spAutoFit/>
            </a:bodyPr>
            <a:lstStyle/>
            <a:p>
              <a:pPr algn="dist"/>
              <a:r>
                <a:rPr kumimoji="1" lang="en-US" altLang="zh-CN" sz="2000" dirty="0">
                  <a:solidFill>
                    <a:schemeClr val="accent1"/>
                  </a:solidFill>
                </a:rPr>
                <a:t>Transition Page Title</a:t>
              </a:r>
              <a:endParaRPr kumimoji="1" lang="zh-CN" altLang="en-US" sz="2000" dirty="0">
                <a:solidFill>
                  <a:schemeClr val="accent1"/>
                </a:solidFill>
              </a:endParaRPr>
            </a:p>
          </p:txBody>
        </p:sp>
        <p:cxnSp>
          <p:nvCxnSpPr>
            <p:cNvPr id="6" name="直线连接符 5">
              <a:extLst>
                <a:ext uri="{FF2B5EF4-FFF2-40B4-BE49-F238E27FC236}">
                  <a16:creationId xmlns:a16="http://schemas.microsoft.com/office/drawing/2014/main" id="{8F6FC6B6-4C90-3345-BB36-F53429258DCD}"/>
                </a:ext>
              </a:extLst>
            </p:cNvPr>
            <p:cNvCxnSpPr>
              <a:cxnSpLocks/>
            </p:cNvCxnSpPr>
            <p:nvPr/>
          </p:nvCxnSpPr>
          <p:spPr>
            <a:xfrm>
              <a:off x="5441750" y="3840680"/>
              <a:ext cx="4477502" cy="0"/>
            </a:xfrm>
            <a:prstGeom prst="line">
              <a:avLst/>
            </a:prstGeom>
            <a:ln w="19050">
              <a:headEnd type="oval"/>
              <a:tailEnd type="ova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680137488"/>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椭圆 1">
            <a:extLst>
              <a:ext uri="{FF2B5EF4-FFF2-40B4-BE49-F238E27FC236}">
                <a16:creationId xmlns:a16="http://schemas.microsoft.com/office/drawing/2014/main" id="{A9EA3347-DAFF-FA4B-A487-91AEDFDF87C8}"/>
              </a:ext>
            </a:extLst>
          </p:cNvPr>
          <p:cNvSpPr/>
          <p:nvPr/>
        </p:nvSpPr>
        <p:spPr>
          <a:xfrm>
            <a:off x="1988734" y="2301318"/>
            <a:ext cx="2432116" cy="2432116"/>
          </a:xfrm>
          <a:prstGeom prst="ellipse">
            <a:avLst/>
          </a:prstGeom>
          <a:solidFill>
            <a:schemeClr val="accent1"/>
          </a:solidFill>
          <a:ln w="12700" cap="flat" cmpd="sng" algn="ctr">
            <a:noFill/>
            <a:prstDash val="solid"/>
            <a:miter lim="800000"/>
          </a:ln>
          <a:effectLst/>
          <a:extLst>
            <a:ext uri="{91240B29-F687-4F45-9708-019B960494DF}">
              <a14:hiddenLine xmlns:a14="http://schemas.microsoft.com/office/drawing/2010/main" w="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zh-CN" sz="8000" dirty="0">
                <a:latin typeface="+mj-lt"/>
              </a:rPr>
              <a:t>01</a:t>
            </a:r>
            <a:endParaRPr kumimoji="1" lang="zh-CN" altLang="en-US" sz="8000" dirty="0">
              <a:latin typeface="+mj-lt"/>
            </a:endParaRPr>
          </a:p>
        </p:txBody>
      </p:sp>
      <p:sp>
        <p:nvSpPr>
          <p:cNvPr id="3" name="椭圆 2">
            <a:extLst>
              <a:ext uri="{FF2B5EF4-FFF2-40B4-BE49-F238E27FC236}">
                <a16:creationId xmlns:a16="http://schemas.microsoft.com/office/drawing/2014/main" id="{89B4AE57-7593-5747-87AE-9B57F469C7A4}"/>
              </a:ext>
            </a:extLst>
          </p:cNvPr>
          <p:cNvSpPr/>
          <p:nvPr/>
        </p:nvSpPr>
        <p:spPr>
          <a:xfrm>
            <a:off x="1887397" y="2124566"/>
            <a:ext cx="843698" cy="843698"/>
          </a:xfrm>
          <a:prstGeom prst="ellipse">
            <a:avLst/>
          </a:prstGeom>
          <a:solidFill>
            <a:schemeClr val="accent1">
              <a:lumMod val="20000"/>
              <a:lumOff val="80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4" name="文本框 3">
            <a:extLst>
              <a:ext uri="{FF2B5EF4-FFF2-40B4-BE49-F238E27FC236}">
                <a16:creationId xmlns:a16="http://schemas.microsoft.com/office/drawing/2014/main" id="{FC344963-80E0-FC4C-AB62-A86235CBC3D7}"/>
              </a:ext>
            </a:extLst>
          </p:cNvPr>
          <p:cNvSpPr txBox="1"/>
          <p:nvPr/>
        </p:nvSpPr>
        <p:spPr>
          <a:xfrm>
            <a:off x="5174994" y="2546415"/>
            <a:ext cx="1191032" cy="276999"/>
          </a:xfrm>
          <a:prstGeom prst="rect">
            <a:avLst/>
          </a:prstGeom>
          <a:noFill/>
        </p:spPr>
        <p:txBody>
          <a:bodyPr wrap="none" lIns="0" tIns="0" rIns="0" bIns="0" rtlCol="0" anchor="t">
            <a:spAutoFit/>
          </a:bodyPr>
          <a:lstStyle/>
          <a:p>
            <a:pPr algn="l"/>
            <a:r>
              <a:rPr kumimoji="1" lang="en-US" altLang="zh-CN" dirty="0">
                <a:solidFill>
                  <a:schemeClr val="accent1">
                    <a:lumMod val="100000"/>
                  </a:schemeClr>
                </a:solidFill>
              </a:rPr>
              <a:t>PARE</a:t>
            </a:r>
            <a:r>
              <a:rPr kumimoji="1" lang="zh-CN" altLang="en-US" dirty="0">
                <a:solidFill>
                  <a:schemeClr val="accent1">
                    <a:lumMod val="100000"/>
                  </a:schemeClr>
                </a:solidFill>
              </a:rPr>
              <a:t> </a:t>
            </a:r>
            <a:r>
              <a:rPr kumimoji="1" lang="en-US" altLang="zh-CN" dirty="0">
                <a:solidFill>
                  <a:schemeClr val="accent1">
                    <a:lumMod val="100000"/>
                  </a:schemeClr>
                </a:solidFill>
              </a:rPr>
              <a:t>OEN</a:t>
            </a:r>
            <a:r>
              <a:rPr kumimoji="1" lang="zh-CN" altLang="en-US" dirty="0">
                <a:solidFill>
                  <a:schemeClr val="accent1">
                    <a:lumMod val="100000"/>
                  </a:schemeClr>
                </a:solidFill>
              </a:rPr>
              <a:t> </a:t>
            </a:r>
          </a:p>
        </p:txBody>
      </p:sp>
      <p:cxnSp>
        <p:nvCxnSpPr>
          <p:cNvPr id="6" name="直线连接符 5">
            <a:extLst>
              <a:ext uri="{FF2B5EF4-FFF2-40B4-BE49-F238E27FC236}">
                <a16:creationId xmlns:a16="http://schemas.microsoft.com/office/drawing/2014/main" id="{DFAB4D8C-5567-CA43-8E31-92B7EE1BD9C0}"/>
              </a:ext>
            </a:extLst>
          </p:cNvPr>
          <p:cNvCxnSpPr>
            <a:cxnSpLocks/>
          </p:cNvCxnSpPr>
          <p:nvPr/>
        </p:nvCxnSpPr>
        <p:spPr>
          <a:xfrm>
            <a:off x="6447934" y="2684914"/>
            <a:ext cx="3751547" cy="0"/>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7" name="直线连接符 6">
            <a:extLst>
              <a:ext uri="{FF2B5EF4-FFF2-40B4-BE49-F238E27FC236}">
                <a16:creationId xmlns:a16="http://schemas.microsoft.com/office/drawing/2014/main" id="{39F54587-6836-174D-94C6-FE62FF7C88F1}"/>
              </a:ext>
            </a:extLst>
          </p:cNvPr>
          <p:cNvCxnSpPr>
            <a:cxnSpLocks/>
          </p:cNvCxnSpPr>
          <p:nvPr/>
        </p:nvCxnSpPr>
        <p:spPr>
          <a:xfrm>
            <a:off x="5174995" y="4494860"/>
            <a:ext cx="5024486" cy="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9" name="文本框 8">
            <a:extLst>
              <a:ext uri="{FF2B5EF4-FFF2-40B4-BE49-F238E27FC236}">
                <a16:creationId xmlns:a16="http://schemas.microsoft.com/office/drawing/2014/main" id="{485BF3A6-D937-7148-AC50-90FAB02236D4}"/>
              </a:ext>
            </a:extLst>
          </p:cNvPr>
          <p:cNvSpPr txBox="1"/>
          <p:nvPr/>
        </p:nvSpPr>
        <p:spPr>
          <a:xfrm>
            <a:off x="5174994" y="3043584"/>
            <a:ext cx="5129609" cy="1231106"/>
          </a:xfrm>
          <a:prstGeom prst="rect">
            <a:avLst/>
          </a:prstGeom>
          <a:noFill/>
        </p:spPr>
        <p:txBody>
          <a:bodyPr wrap="none" lIns="0" tIns="0" rIns="0" bIns="0" rtlCol="0" anchor="t">
            <a:spAutoFit/>
          </a:bodyPr>
          <a:lstStyle/>
          <a:p>
            <a:r>
              <a:rPr kumimoji="1" lang="zh-CN" altLang="en-US" sz="8000" dirty="0">
                <a:solidFill>
                  <a:schemeClr val="accent1">
                    <a:lumMod val="100000"/>
                  </a:schemeClr>
                </a:solidFill>
              </a:rPr>
              <a:t>过渡页标题</a:t>
            </a:r>
          </a:p>
        </p:txBody>
      </p:sp>
      <p:sp>
        <p:nvSpPr>
          <p:cNvPr id="13" name="椭圆 12">
            <a:extLst>
              <a:ext uri="{FF2B5EF4-FFF2-40B4-BE49-F238E27FC236}">
                <a16:creationId xmlns:a16="http://schemas.microsoft.com/office/drawing/2014/main" id="{4C6F3D97-35FF-3243-A78A-42E99D1A5D8F}"/>
              </a:ext>
            </a:extLst>
          </p:cNvPr>
          <p:cNvSpPr/>
          <p:nvPr/>
        </p:nvSpPr>
        <p:spPr>
          <a:xfrm>
            <a:off x="-603316" y="6117996"/>
            <a:ext cx="1480008" cy="1480008"/>
          </a:xfrm>
          <a:prstGeom prst="ellipse">
            <a:avLst/>
          </a:prstGeom>
          <a:solidFill>
            <a:schemeClr val="accent1"/>
          </a:solidFill>
          <a:ln w="12700" cap="flat" cmpd="sng" algn="ctr">
            <a:noFill/>
            <a:prstDash val="solid"/>
            <a:miter lim="800000"/>
          </a:ln>
          <a:effectLst/>
          <a:extLst>
            <a:ext uri="{91240B29-F687-4F45-9708-019B960494DF}">
              <a14:hiddenLine xmlns:a14="http://schemas.microsoft.com/office/drawing/2010/main" w="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4" name="同心圆 13">
            <a:extLst>
              <a:ext uri="{FF2B5EF4-FFF2-40B4-BE49-F238E27FC236}">
                <a16:creationId xmlns:a16="http://schemas.microsoft.com/office/drawing/2014/main" id="{9FC5FC7A-6AAD-9A40-8726-7BA38E7B4A56}"/>
              </a:ext>
            </a:extLst>
          </p:cNvPr>
          <p:cNvSpPr/>
          <p:nvPr/>
        </p:nvSpPr>
        <p:spPr>
          <a:xfrm>
            <a:off x="11254033" y="-937967"/>
            <a:ext cx="1875934" cy="1875934"/>
          </a:xfrm>
          <a:prstGeom prst="donut">
            <a:avLst>
              <a:gd name="adj" fmla="val 15438"/>
            </a:avLst>
          </a:prstGeom>
          <a:solidFill>
            <a:schemeClr val="accent1">
              <a:lumMod val="20000"/>
              <a:lumOff val="80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solidFill>
                <a:schemeClr val="tx1"/>
              </a:solidFill>
            </a:endParaRPr>
          </a:p>
        </p:txBody>
      </p:sp>
    </p:spTree>
    <p:extLst>
      <p:ext uri="{BB962C8B-B14F-4D97-AF65-F5344CB8AC3E}">
        <p14:creationId xmlns:p14="http://schemas.microsoft.com/office/powerpoint/2010/main" val="4198427645"/>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文本框 26">
            <a:extLst>
              <a:ext uri="{FF2B5EF4-FFF2-40B4-BE49-F238E27FC236}">
                <a16:creationId xmlns:a16="http://schemas.microsoft.com/office/drawing/2014/main" id="{41D20ADA-E394-4992-905B-84B55629E2F3}"/>
              </a:ext>
            </a:extLst>
          </p:cNvPr>
          <p:cNvSpPr txBox="1"/>
          <p:nvPr/>
        </p:nvSpPr>
        <p:spPr>
          <a:xfrm>
            <a:off x="1941017" y="2643545"/>
            <a:ext cx="8309967" cy="1107996"/>
          </a:xfrm>
          <a:prstGeom prst="rect">
            <a:avLst/>
          </a:prstGeom>
          <a:noFill/>
        </p:spPr>
        <p:txBody>
          <a:bodyPr wrap="none" lIns="0" tIns="0" rIns="0" bIns="0" rtlCol="0" anchor="t">
            <a:spAutoFit/>
          </a:bodyPr>
          <a:lstStyle/>
          <a:p>
            <a:pPr algn="ctr"/>
            <a:r>
              <a:rPr lang="zh-CN" altLang="en-US" sz="7200" dirty="0">
                <a:solidFill>
                  <a:schemeClr val="accent1">
                    <a:lumMod val="100000"/>
                  </a:schemeClr>
                </a:solidFill>
                <a:latin typeface="+mj-ea"/>
                <a:ea typeface="+mj-ea"/>
              </a:rPr>
              <a:t>输入你的封面大标题</a:t>
            </a:r>
          </a:p>
        </p:txBody>
      </p:sp>
      <p:sp>
        <p:nvSpPr>
          <p:cNvPr id="28" name="文本框 27">
            <a:extLst>
              <a:ext uri="{FF2B5EF4-FFF2-40B4-BE49-F238E27FC236}">
                <a16:creationId xmlns:a16="http://schemas.microsoft.com/office/drawing/2014/main" id="{14CDC152-B0C2-4222-B43D-10C276BF24BA}"/>
              </a:ext>
            </a:extLst>
          </p:cNvPr>
          <p:cNvSpPr txBox="1"/>
          <p:nvPr/>
        </p:nvSpPr>
        <p:spPr>
          <a:xfrm>
            <a:off x="4095451" y="2051745"/>
            <a:ext cx="4001095" cy="369332"/>
          </a:xfrm>
          <a:prstGeom prst="rect">
            <a:avLst/>
          </a:prstGeom>
          <a:noFill/>
        </p:spPr>
        <p:txBody>
          <a:bodyPr wrap="none" lIns="0" tIns="0" rIns="0" bIns="0" rtlCol="0" anchor="t">
            <a:spAutoFit/>
          </a:bodyPr>
          <a:lstStyle/>
          <a:p>
            <a:pPr algn="ctr"/>
            <a:r>
              <a:rPr lang="zh-CN" altLang="en-US" sz="2400" dirty="0">
                <a:solidFill>
                  <a:schemeClr val="accent1">
                    <a:lumMod val="100000"/>
                  </a:schemeClr>
                </a:solidFill>
                <a:latin typeface="+mn-ea"/>
              </a:rPr>
              <a:t>输入你的副标题或大标题英文</a:t>
            </a:r>
          </a:p>
        </p:txBody>
      </p:sp>
      <p:grpSp>
        <p:nvGrpSpPr>
          <p:cNvPr id="31" name="组合 30">
            <a:extLst>
              <a:ext uri="{FF2B5EF4-FFF2-40B4-BE49-F238E27FC236}">
                <a16:creationId xmlns:a16="http://schemas.microsoft.com/office/drawing/2014/main" id="{E0238B48-3843-4D9E-A92C-A340E66B382C}"/>
              </a:ext>
            </a:extLst>
          </p:cNvPr>
          <p:cNvGrpSpPr/>
          <p:nvPr/>
        </p:nvGrpSpPr>
        <p:grpSpPr>
          <a:xfrm>
            <a:off x="4331702" y="4084193"/>
            <a:ext cx="1475214" cy="246221"/>
            <a:chOff x="4095451" y="4640913"/>
            <a:chExt cx="1475214" cy="246221"/>
          </a:xfrm>
        </p:grpSpPr>
        <p:sp>
          <p:nvSpPr>
            <p:cNvPr id="32" name="矩形 31">
              <a:extLst>
                <a:ext uri="{FF2B5EF4-FFF2-40B4-BE49-F238E27FC236}">
                  <a16:creationId xmlns:a16="http://schemas.microsoft.com/office/drawing/2014/main" id="{F7B00047-A3E8-4EAB-85C6-C4F3A0388729}"/>
                </a:ext>
              </a:extLst>
            </p:cNvPr>
            <p:cNvSpPr/>
            <p:nvPr/>
          </p:nvSpPr>
          <p:spPr>
            <a:xfrm>
              <a:off x="4095451" y="4672584"/>
              <a:ext cx="164592" cy="164592"/>
            </a:xfrm>
            <a:prstGeom prst="rect">
              <a:avLst/>
            </a:prstGeom>
            <a:solidFill>
              <a:schemeClr val="accent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p>
          </p:txBody>
        </p:sp>
        <p:sp>
          <p:nvSpPr>
            <p:cNvPr id="33" name="文本框 32">
              <a:extLst>
                <a:ext uri="{FF2B5EF4-FFF2-40B4-BE49-F238E27FC236}">
                  <a16:creationId xmlns:a16="http://schemas.microsoft.com/office/drawing/2014/main" id="{F62EBD45-A72A-4E3D-B9DF-2754AE8B0F2B}"/>
                </a:ext>
              </a:extLst>
            </p:cNvPr>
            <p:cNvSpPr txBox="1"/>
            <p:nvPr/>
          </p:nvSpPr>
          <p:spPr>
            <a:xfrm>
              <a:off x="4408487" y="4640913"/>
              <a:ext cx="1162178" cy="246221"/>
            </a:xfrm>
            <a:prstGeom prst="rect">
              <a:avLst/>
            </a:prstGeom>
            <a:noFill/>
          </p:spPr>
          <p:txBody>
            <a:bodyPr wrap="none" lIns="0" tIns="0" rIns="0" bIns="0" rtlCol="0" anchor="t">
              <a:spAutoFit/>
            </a:bodyPr>
            <a:lstStyle/>
            <a:p>
              <a:r>
                <a:rPr lang="zh-CN" altLang="en-US" sz="1600" dirty="0">
                  <a:solidFill>
                    <a:schemeClr val="accent1">
                      <a:lumMod val="100000"/>
                    </a:schemeClr>
                  </a:solidFill>
                  <a:latin typeface="+mn-ea"/>
                </a:rPr>
                <a:t>汇报人：</a:t>
              </a:r>
              <a:r>
                <a:rPr lang="en-US" altLang="zh-CN" sz="1600" dirty="0">
                  <a:solidFill>
                    <a:schemeClr val="accent1">
                      <a:lumMod val="100000"/>
                    </a:schemeClr>
                  </a:solidFill>
                  <a:latin typeface="+mn-ea"/>
                </a:rPr>
                <a:t>xxx</a:t>
              </a:r>
              <a:endParaRPr lang="zh-CN" altLang="en-US" sz="1600" dirty="0">
                <a:solidFill>
                  <a:schemeClr val="accent1">
                    <a:lumMod val="100000"/>
                  </a:schemeClr>
                </a:solidFill>
                <a:latin typeface="+mn-ea"/>
              </a:endParaRPr>
            </a:p>
          </p:txBody>
        </p:sp>
      </p:grpSp>
      <p:grpSp>
        <p:nvGrpSpPr>
          <p:cNvPr id="34" name="组合 33">
            <a:extLst>
              <a:ext uri="{FF2B5EF4-FFF2-40B4-BE49-F238E27FC236}">
                <a16:creationId xmlns:a16="http://schemas.microsoft.com/office/drawing/2014/main" id="{BC589ADF-DAA3-4303-A56D-6BAE7ED8A324}"/>
              </a:ext>
            </a:extLst>
          </p:cNvPr>
          <p:cNvGrpSpPr/>
          <p:nvPr/>
        </p:nvGrpSpPr>
        <p:grpSpPr>
          <a:xfrm>
            <a:off x="6590270" y="4084193"/>
            <a:ext cx="1270029" cy="246221"/>
            <a:chOff x="4095451" y="4640913"/>
            <a:chExt cx="1270029" cy="246221"/>
          </a:xfrm>
        </p:grpSpPr>
        <p:sp>
          <p:nvSpPr>
            <p:cNvPr id="35" name="矩形 34">
              <a:extLst>
                <a:ext uri="{FF2B5EF4-FFF2-40B4-BE49-F238E27FC236}">
                  <a16:creationId xmlns:a16="http://schemas.microsoft.com/office/drawing/2014/main" id="{BC00A417-64A2-4958-85CF-4AA72BE953A6}"/>
                </a:ext>
              </a:extLst>
            </p:cNvPr>
            <p:cNvSpPr/>
            <p:nvPr/>
          </p:nvSpPr>
          <p:spPr>
            <a:xfrm>
              <a:off x="4095451" y="4672584"/>
              <a:ext cx="164592" cy="164592"/>
            </a:xfrm>
            <a:prstGeom prst="rect">
              <a:avLst/>
            </a:prstGeom>
            <a:solidFill>
              <a:schemeClr val="accent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p>
          </p:txBody>
        </p:sp>
        <p:sp>
          <p:nvSpPr>
            <p:cNvPr id="36" name="文本框 35">
              <a:extLst>
                <a:ext uri="{FF2B5EF4-FFF2-40B4-BE49-F238E27FC236}">
                  <a16:creationId xmlns:a16="http://schemas.microsoft.com/office/drawing/2014/main" id="{BD515E46-2A54-4AAC-8747-ADA4B84B7B1C}"/>
                </a:ext>
              </a:extLst>
            </p:cNvPr>
            <p:cNvSpPr txBox="1"/>
            <p:nvPr/>
          </p:nvSpPr>
          <p:spPr>
            <a:xfrm>
              <a:off x="4408487" y="4640913"/>
              <a:ext cx="956993" cy="246221"/>
            </a:xfrm>
            <a:prstGeom prst="rect">
              <a:avLst/>
            </a:prstGeom>
            <a:noFill/>
          </p:spPr>
          <p:txBody>
            <a:bodyPr wrap="none" lIns="0" tIns="0" rIns="0" bIns="0" rtlCol="0" anchor="t">
              <a:spAutoFit/>
            </a:bodyPr>
            <a:lstStyle/>
            <a:p>
              <a:r>
                <a:rPr lang="zh-CN" altLang="en-US" sz="1600" dirty="0">
                  <a:solidFill>
                    <a:schemeClr val="accent1">
                      <a:lumMod val="100000"/>
                    </a:schemeClr>
                  </a:solidFill>
                  <a:latin typeface="+mn-ea"/>
                </a:rPr>
                <a:t>单位：</a:t>
              </a:r>
              <a:r>
                <a:rPr lang="en-US" altLang="zh-CN" sz="1600" dirty="0">
                  <a:solidFill>
                    <a:schemeClr val="accent1">
                      <a:lumMod val="100000"/>
                    </a:schemeClr>
                  </a:solidFill>
                  <a:latin typeface="+mn-ea"/>
                </a:rPr>
                <a:t>xxx</a:t>
              </a:r>
              <a:endParaRPr lang="zh-CN" altLang="en-US" sz="1600" dirty="0">
                <a:solidFill>
                  <a:schemeClr val="accent1">
                    <a:lumMod val="100000"/>
                  </a:schemeClr>
                </a:solidFill>
                <a:latin typeface="+mn-ea"/>
              </a:endParaRPr>
            </a:p>
          </p:txBody>
        </p:sp>
      </p:grpSp>
      <p:grpSp>
        <p:nvGrpSpPr>
          <p:cNvPr id="7" name="组合 6">
            <a:extLst>
              <a:ext uri="{FF2B5EF4-FFF2-40B4-BE49-F238E27FC236}">
                <a16:creationId xmlns:a16="http://schemas.microsoft.com/office/drawing/2014/main" id="{D1D4F773-7BC4-46D5-BEE3-4F4320C4B15C}"/>
              </a:ext>
            </a:extLst>
          </p:cNvPr>
          <p:cNvGrpSpPr/>
          <p:nvPr/>
        </p:nvGrpSpPr>
        <p:grpSpPr>
          <a:xfrm>
            <a:off x="3486151" y="1409700"/>
            <a:ext cx="5219700" cy="1045642"/>
            <a:chOff x="3486151" y="1409700"/>
            <a:chExt cx="5219700" cy="1045642"/>
          </a:xfrm>
        </p:grpSpPr>
        <p:cxnSp>
          <p:nvCxnSpPr>
            <p:cNvPr id="22" name="直接连接符 49">
              <a:extLst>
                <a:ext uri="{FF2B5EF4-FFF2-40B4-BE49-F238E27FC236}">
                  <a16:creationId xmlns:a16="http://schemas.microsoft.com/office/drawing/2014/main" id="{90B59CF2-38B4-420F-BBDF-D7F28633D981}"/>
                </a:ext>
              </a:extLst>
            </p:cNvPr>
            <p:cNvCxnSpPr>
              <a:cxnSpLocks/>
            </p:cNvCxnSpPr>
            <p:nvPr/>
          </p:nvCxnSpPr>
          <p:spPr>
            <a:xfrm>
              <a:off x="3486151" y="1409700"/>
              <a:ext cx="5219700" cy="0"/>
            </a:xfrm>
            <a:prstGeom prst="line">
              <a:avLst/>
            </a:prstGeom>
            <a:ln w="34925" cap="sq">
              <a:solidFill>
                <a:schemeClr val="accent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25" name="直接连接符 52">
              <a:extLst>
                <a:ext uri="{FF2B5EF4-FFF2-40B4-BE49-F238E27FC236}">
                  <a16:creationId xmlns:a16="http://schemas.microsoft.com/office/drawing/2014/main" id="{D3B3C7D5-4AFA-4E8F-852E-87FD20711793}"/>
                </a:ext>
              </a:extLst>
            </p:cNvPr>
            <p:cNvCxnSpPr>
              <a:cxnSpLocks/>
            </p:cNvCxnSpPr>
            <p:nvPr/>
          </p:nvCxnSpPr>
          <p:spPr>
            <a:xfrm>
              <a:off x="8705851" y="1409700"/>
              <a:ext cx="0" cy="1045642"/>
            </a:xfrm>
            <a:prstGeom prst="line">
              <a:avLst/>
            </a:prstGeom>
            <a:ln w="34925" cap="sq">
              <a:solidFill>
                <a:schemeClr val="accent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45" name="直接连接符 52">
              <a:extLst>
                <a:ext uri="{FF2B5EF4-FFF2-40B4-BE49-F238E27FC236}">
                  <a16:creationId xmlns:a16="http://schemas.microsoft.com/office/drawing/2014/main" id="{987E3D98-B158-4819-BE74-E49281C37B98}"/>
                </a:ext>
              </a:extLst>
            </p:cNvPr>
            <p:cNvCxnSpPr>
              <a:cxnSpLocks/>
            </p:cNvCxnSpPr>
            <p:nvPr/>
          </p:nvCxnSpPr>
          <p:spPr>
            <a:xfrm>
              <a:off x="3486151" y="1409700"/>
              <a:ext cx="0" cy="1045642"/>
            </a:xfrm>
            <a:prstGeom prst="line">
              <a:avLst/>
            </a:prstGeom>
            <a:ln w="34925" cap="sq">
              <a:solidFill>
                <a:schemeClr val="accent1">
                  <a:lumMod val="75000"/>
                  <a:lumOff val="25000"/>
                </a:schemeClr>
              </a:solidFill>
            </a:ln>
          </p:spPr>
          <p:style>
            <a:lnRef idx="1">
              <a:schemeClr val="accent1"/>
            </a:lnRef>
            <a:fillRef idx="0">
              <a:schemeClr val="accent1"/>
            </a:fillRef>
            <a:effectRef idx="0">
              <a:schemeClr val="accent1"/>
            </a:effectRef>
            <a:fontRef idx="minor">
              <a:schemeClr val="tx1"/>
            </a:fontRef>
          </p:style>
        </p:cxnSp>
      </p:grpSp>
      <p:grpSp>
        <p:nvGrpSpPr>
          <p:cNvPr id="46" name="组合 45">
            <a:extLst>
              <a:ext uri="{FF2B5EF4-FFF2-40B4-BE49-F238E27FC236}">
                <a16:creationId xmlns:a16="http://schemas.microsoft.com/office/drawing/2014/main" id="{9BF103F9-D818-4108-BC1C-436D66E35D84}"/>
              </a:ext>
            </a:extLst>
          </p:cNvPr>
          <p:cNvGrpSpPr/>
          <p:nvPr/>
        </p:nvGrpSpPr>
        <p:grpSpPr>
          <a:xfrm flipV="1">
            <a:off x="3486151" y="3807593"/>
            <a:ext cx="5219700" cy="1045642"/>
            <a:chOff x="3486151" y="1409700"/>
            <a:chExt cx="5219700" cy="1045642"/>
          </a:xfrm>
        </p:grpSpPr>
        <p:cxnSp>
          <p:nvCxnSpPr>
            <p:cNvPr id="47" name="直接连接符 49">
              <a:extLst>
                <a:ext uri="{FF2B5EF4-FFF2-40B4-BE49-F238E27FC236}">
                  <a16:creationId xmlns:a16="http://schemas.microsoft.com/office/drawing/2014/main" id="{31724765-9D7A-4C15-A657-CE4A161A4D43}"/>
                </a:ext>
              </a:extLst>
            </p:cNvPr>
            <p:cNvCxnSpPr>
              <a:cxnSpLocks/>
            </p:cNvCxnSpPr>
            <p:nvPr/>
          </p:nvCxnSpPr>
          <p:spPr>
            <a:xfrm>
              <a:off x="3486151" y="1409700"/>
              <a:ext cx="5219700" cy="0"/>
            </a:xfrm>
            <a:prstGeom prst="line">
              <a:avLst/>
            </a:prstGeom>
            <a:ln w="34925" cap="sq">
              <a:solidFill>
                <a:schemeClr val="accent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48" name="直接连接符 52">
              <a:extLst>
                <a:ext uri="{FF2B5EF4-FFF2-40B4-BE49-F238E27FC236}">
                  <a16:creationId xmlns:a16="http://schemas.microsoft.com/office/drawing/2014/main" id="{52F27888-37BE-4369-B6ED-21258DAAFE9B}"/>
                </a:ext>
              </a:extLst>
            </p:cNvPr>
            <p:cNvCxnSpPr>
              <a:cxnSpLocks/>
            </p:cNvCxnSpPr>
            <p:nvPr/>
          </p:nvCxnSpPr>
          <p:spPr>
            <a:xfrm>
              <a:off x="8705851" y="1409700"/>
              <a:ext cx="0" cy="1045642"/>
            </a:xfrm>
            <a:prstGeom prst="line">
              <a:avLst/>
            </a:prstGeom>
            <a:ln w="34925" cap="sq">
              <a:solidFill>
                <a:schemeClr val="accent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49" name="直接连接符 52">
              <a:extLst>
                <a:ext uri="{FF2B5EF4-FFF2-40B4-BE49-F238E27FC236}">
                  <a16:creationId xmlns:a16="http://schemas.microsoft.com/office/drawing/2014/main" id="{9360A3A1-2926-4556-B03B-E2A6D3270848}"/>
                </a:ext>
              </a:extLst>
            </p:cNvPr>
            <p:cNvCxnSpPr>
              <a:cxnSpLocks/>
            </p:cNvCxnSpPr>
            <p:nvPr/>
          </p:nvCxnSpPr>
          <p:spPr>
            <a:xfrm>
              <a:off x="3486151" y="1409700"/>
              <a:ext cx="0" cy="1045642"/>
            </a:xfrm>
            <a:prstGeom prst="line">
              <a:avLst/>
            </a:prstGeom>
            <a:ln w="34925" cap="sq">
              <a:solidFill>
                <a:schemeClr val="accent1">
                  <a:lumMod val="75000"/>
                  <a:lumOff val="2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008964582"/>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同心圆 6">
            <a:extLst>
              <a:ext uri="{FF2B5EF4-FFF2-40B4-BE49-F238E27FC236}">
                <a16:creationId xmlns:a16="http://schemas.microsoft.com/office/drawing/2014/main" id="{76550820-3A85-F94D-A2D3-946286963D10}"/>
              </a:ext>
            </a:extLst>
          </p:cNvPr>
          <p:cNvSpPr/>
          <p:nvPr/>
        </p:nvSpPr>
        <p:spPr>
          <a:xfrm>
            <a:off x="9652019" y="2474702"/>
            <a:ext cx="698992" cy="698992"/>
          </a:xfrm>
          <a:prstGeom prst="donut">
            <a:avLst>
              <a:gd name="adj" fmla="val 17790"/>
            </a:avLst>
          </a:prstGeom>
          <a:solidFill>
            <a:schemeClr val="accent1">
              <a:lumMod val="20000"/>
              <a:lumOff val="80000"/>
              <a:alpha val="40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solidFill>
                <a:schemeClr val="tx1"/>
              </a:solidFill>
            </a:endParaRPr>
          </a:p>
        </p:txBody>
      </p:sp>
      <p:sp>
        <p:nvSpPr>
          <p:cNvPr id="2" name="同心圆 1">
            <a:extLst>
              <a:ext uri="{FF2B5EF4-FFF2-40B4-BE49-F238E27FC236}">
                <a16:creationId xmlns:a16="http://schemas.microsoft.com/office/drawing/2014/main" id="{95F92159-0010-354D-90AE-977D41D8D2F2}"/>
              </a:ext>
            </a:extLst>
          </p:cNvPr>
          <p:cNvSpPr/>
          <p:nvPr/>
        </p:nvSpPr>
        <p:spPr>
          <a:xfrm>
            <a:off x="-2026763" y="1402237"/>
            <a:ext cx="4053526" cy="4053526"/>
          </a:xfrm>
          <a:prstGeom prst="donut">
            <a:avLst>
              <a:gd name="adj" fmla="val 17790"/>
            </a:avLst>
          </a:prstGeom>
          <a:solidFill>
            <a:schemeClr val="accent1"/>
          </a:solidFill>
          <a:ln w="12700" cap="flat" cmpd="sng" algn="ctr">
            <a:noFill/>
            <a:prstDash val="solid"/>
            <a:miter lim="800000"/>
          </a:ln>
          <a:effectLst/>
          <a:extLst>
            <a:ext uri="{91240B29-F687-4F45-9708-019B960494DF}">
              <a14:hiddenLine xmlns:a14="http://schemas.microsoft.com/office/drawing/2010/main" w="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solidFill>
                <a:schemeClr val="tx1"/>
              </a:solidFill>
            </a:endParaRPr>
          </a:p>
        </p:txBody>
      </p:sp>
      <p:sp>
        <p:nvSpPr>
          <p:cNvPr id="3" name="文本框 2">
            <a:extLst>
              <a:ext uri="{FF2B5EF4-FFF2-40B4-BE49-F238E27FC236}">
                <a16:creationId xmlns:a16="http://schemas.microsoft.com/office/drawing/2014/main" id="{B3A20959-5ABC-ED4F-94C2-FCF699A832FA}"/>
              </a:ext>
            </a:extLst>
          </p:cNvPr>
          <p:cNvSpPr txBox="1"/>
          <p:nvPr/>
        </p:nvSpPr>
        <p:spPr>
          <a:xfrm>
            <a:off x="5420091" y="2676118"/>
            <a:ext cx="4616648" cy="1107996"/>
          </a:xfrm>
          <a:prstGeom prst="rect">
            <a:avLst/>
          </a:prstGeom>
          <a:noFill/>
        </p:spPr>
        <p:txBody>
          <a:bodyPr wrap="none" lIns="0" tIns="0" rIns="0" bIns="0" rtlCol="0" anchor="t">
            <a:spAutoFit/>
          </a:bodyPr>
          <a:lstStyle/>
          <a:p>
            <a:r>
              <a:rPr kumimoji="1" lang="zh-CN" altLang="en-US" sz="7200" dirty="0">
                <a:solidFill>
                  <a:schemeClr val="accent1">
                    <a:lumMod val="100000"/>
                  </a:schemeClr>
                </a:solidFill>
                <a:latin typeface="+mj-ea"/>
                <a:ea typeface="+mj-ea"/>
              </a:rPr>
              <a:t>过渡页标题</a:t>
            </a:r>
          </a:p>
        </p:txBody>
      </p:sp>
      <p:sp>
        <p:nvSpPr>
          <p:cNvPr id="4" name="文本框 3">
            <a:extLst>
              <a:ext uri="{FF2B5EF4-FFF2-40B4-BE49-F238E27FC236}">
                <a16:creationId xmlns:a16="http://schemas.microsoft.com/office/drawing/2014/main" id="{C8DF96E2-D3F4-BC4E-AEBA-F2386828327A}"/>
              </a:ext>
            </a:extLst>
          </p:cNvPr>
          <p:cNvSpPr txBox="1"/>
          <p:nvPr/>
        </p:nvSpPr>
        <p:spPr>
          <a:xfrm>
            <a:off x="3223031" y="2544776"/>
            <a:ext cx="2011769" cy="2123658"/>
          </a:xfrm>
          <a:prstGeom prst="rect">
            <a:avLst/>
          </a:prstGeom>
          <a:noFill/>
        </p:spPr>
        <p:txBody>
          <a:bodyPr wrap="none" lIns="0" tIns="0" rIns="0" bIns="0" rtlCol="0" anchor="t">
            <a:spAutoFit/>
          </a:bodyPr>
          <a:lstStyle/>
          <a:p>
            <a:r>
              <a:rPr kumimoji="1" lang="en-US" altLang="zh-CN" sz="13800" dirty="0">
                <a:solidFill>
                  <a:schemeClr val="accent1">
                    <a:lumMod val="100000"/>
                  </a:schemeClr>
                </a:solidFill>
                <a:latin typeface="+mj-ea"/>
                <a:ea typeface="+mj-ea"/>
              </a:rPr>
              <a:t>01</a:t>
            </a:r>
            <a:endParaRPr kumimoji="1" lang="zh-CN" altLang="en-US" sz="13800" dirty="0">
              <a:solidFill>
                <a:schemeClr val="accent1">
                  <a:lumMod val="100000"/>
                </a:schemeClr>
              </a:solidFill>
              <a:latin typeface="+mj-ea"/>
              <a:ea typeface="+mj-ea"/>
            </a:endParaRPr>
          </a:p>
        </p:txBody>
      </p:sp>
      <p:sp>
        <p:nvSpPr>
          <p:cNvPr id="5" name="文本框 4">
            <a:extLst>
              <a:ext uri="{FF2B5EF4-FFF2-40B4-BE49-F238E27FC236}">
                <a16:creationId xmlns:a16="http://schemas.microsoft.com/office/drawing/2014/main" id="{D35B30D3-CC00-4547-88F9-370CB71C1BAC}"/>
              </a:ext>
            </a:extLst>
          </p:cNvPr>
          <p:cNvSpPr txBox="1"/>
          <p:nvPr/>
        </p:nvSpPr>
        <p:spPr>
          <a:xfrm>
            <a:off x="5441750" y="3985530"/>
            <a:ext cx="4559765" cy="307777"/>
          </a:xfrm>
          <a:prstGeom prst="rect">
            <a:avLst/>
          </a:prstGeom>
          <a:noFill/>
        </p:spPr>
        <p:txBody>
          <a:bodyPr wrap="square" lIns="0" tIns="0" rIns="0" bIns="0" rtlCol="0" anchor="t">
            <a:spAutoFit/>
          </a:bodyPr>
          <a:lstStyle/>
          <a:p>
            <a:pPr algn="dist"/>
            <a:r>
              <a:rPr kumimoji="1" lang="en-US" altLang="zh-CN" sz="2000" dirty="0">
                <a:solidFill>
                  <a:schemeClr val="accent1">
                    <a:lumMod val="100000"/>
                  </a:schemeClr>
                </a:solidFill>
              </a:rPr>
              <a:t>Transition Page Title</a:t>
            </a:r>
            <a:endParaRPr kumimoji="1" lang="zh-CN" altLang="en-US" sz="2000" dirty="0">
              <a:solidFill>
                <a:schemeClr val="accent1">
                  <a:lumMod val="100000"/>
                </a:schemeClr>
              </a:solidFill>
            </a:endParaRPr>
          </a:p>
        </p:txBody>
      </p:sp>
      <p:cxnSp>
        <p:nvCxnSpPr>
          <p:cNvPr id="9" name="直线连接符 8">
            <a:extLst>
              <a:ext uri="{FF2B5EF4-FFF2-40B4-BE49-F238E27FC236}">
                <a16:creationId xmlns:a16="http://schemas.microsoft.com/office/drawing/2014/main" id="{0964596F-40EC-0B4E-9F0C-9D059746CF33}"/>
              </a:ext>
            </a:extLst>
          </p:cNvPr>
          <p:cNvCxnSpPr>
            <a:cxnSpLocks/>
          </p:cNvCxnSpPr>
          <p:nvPr/>
        </p:nvCxnSpPr>
        <p:spPr>
          <a:xfrm>
            <a:off x="5441750" y="3840680"/>
            <a:ext cx="4477502" cy="0"/>
          </a:xfrm>
          <a:prstGeom prst="line">
            <a:avLst/>
          </a:prstGeom>
          <a:ln w="19050">
            <a:headEnd type="oval"/>
            <a:tailEnd type="oval"/>
          </a:ln>
        </p:spPr>
        <p:style>
          <a:lnRef idx="1">
            <a:schemeClr val="accent1"/>
          </a:lnRef>
          <a:fillRef idx="0">
            <a:schemeClr val="accent1"/>
          </a:fillRef>
          <a:effectRef idx="0">
            <a:schemeClr val="accent1"/>
          </a:effectRef>
          <a:fontRef idx="minor">
            <a:schemeClr val="tx1"/>
          </a:fontRef>
        </p:style>
      </p:cxnSp>
      <p:sp>
        <p:nvSpPr>
          <p:cNvPr id="11" name="椭圆 10">
            <a:extLst>
              <a:ext uri="{FF2B5EF4-FFF2-40B4-BE49-F238E27FC236}">
                <a16:creationId xmlns:a16="http://schemas.microsoft.com/office/drawing/2014/main" id="{1311F599-7885-7C40-90D2-C9DBA469003E}"/>
              </a:ext>
            </a:extLst>
          </p:cNvPr>
          <p:cNvSpPr/>
          <p:nvPr/>
        </p:nvSpPr>
        <p:spPr>
          <a:xfrm>
            <a:off x="11446934" y="6112934"/>
            <a:ext cx="1490132" cy="1490132"/>
          </a:xfrm>
          <a:prstGeom prst="ellipse">
            <a:avLst/>
          </a:prstGeom>
          <a:solidFill>
            <a:schemeClr val="accent1">
              <a:lumMod val="20000"/>
              <a:lumOff val="80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Tree>
    <p:extLst>
      <p:ext uri="{BB962C8B-B14F-4D97-AF65-F5344CB8AC3E}">
        <p14:creationId xmlns:p14="http://schemas.microsoft.com/office/powerpoint/2010/main" val="3533070562"/>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梯形 4">
            <a:extLst>
              <a:ext uri="{FF2B5EF4-FFF2-40B4-BE49-F238E27FC236}">
                <a16:creationId xmlns:a16="http://schemas.microsoft.com/office/drawing/2014/main" id="{E6EEF79B-AB33-A44E-B00B-0739D0899CF2}"/>
              </a:ext>
            </a:extLst>
          </p:cNvPr>
          <p:cNvSpPr/>
          <p:nvPr/>
        </p:nvSpPr>
        <p:spPr>
          <a:xfrm>
            <a:off x="3677192" y="3881941"/>
            <a:ext cx="4828310" cy="1049481"/>
          </a:xfrm>
          <a:prstGeom prst="trapezoid">
            <a:avLst>
              <a:gd name="adj" fmla="val 63614"/>
            </a:avLst>
          </a:prstGeom>
          <a:gradFill>
            <a:gsLst>
              <a:gs pos="9000">
                <a:schemeClr val="accent1">
                  <a:alpha val="0"/>
                </a:schemeClr>
              </a:gs>
              <a:gs pos="97000">
                <a:schemeClr val="accent1">
                  <a:alpha val="39000"/>
                </a:schemeClr>
              </a:gs>
            </a:gsLst>
            <a:lin ang="5400000" scaled="1"/>
          </a:gradFill>
          <a:ln w="381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4" name="梯形 3">
            <a:extLst>
              <a:ext uri="{FF2B5EF4-FFF2-40B4-BE49-F238E27FC236}">
                <a16:creationId xmlns:a16="http://schemas.microsoft.com/office/drawing/2014/main" id="{88947756-8416-5D4E-97DF-5846B3E4D8B5}"/>
              </a:ext>
            </a:extLst>
          </p:cNvPr>
          <p:cNvSpPr/>
          <p:nvPr/>
        </p:nvSpPr>
        <p:spPr>
          <a:xfrm>
            <a:off x="2912918" y="3450926"/>
            <a:ext cx="6366164" cy="1049481"/>
          </a:xfrm>
          <a:prstGeom prst="trapezoid">
            <a:avLst>
              <a:gd name="adj" fmla="val 63614"/>
            </a:avLst>
          </a:prstGeom>
          <a:noFill/>
          <a:ln w="38100" cap="flat" cmpd="sng" algn="ctr">
            <a:gradFill>
              <a:gsLst>
                <a:gs pos="9000">
                  <a:schemeClr val="accent1">
                    <a:alpha val="0"/>
                  </a:schemeClr>
                </a:gs>
                <a:gs pos="98000">
                  <a:schemeClr val="accent1"/>
                </a:gs>
              </a:gsLst>
              <a:lin ang="5400000" scaled="1"/>
            </a:gra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2" name="文本框 1">
            <a:extLst>
              <a:ext uri="{FF2B5EF4-FFF2-40B4-BE49-F238E27FC236}">
                <a16:creationId xmlns:a16="http://schemas.microsoft.com/office/drawing/2014/main" id="{5528FEE5-F956-D04A-A2B4-231C6ED2B607}"/>
              </a:ext>
            </a:extLst>
          </p:cNvPr>
          <p:cNvSpPr txBox="1"/>
          <p:nvPr/>
        </p:nvSpPr>
        <p:spPr>
          <a:xfrm>
            <a:off x="3787676" y="2867671"/>
            <a:ext cx="4616648" cy="1107996"/>
          </a:xfrm>
          <a:prstGeom prst="rect">
            <a:avLst/>
          </a:prstGeom>
          <a:noFill/>
        </p:spPr>
        <p:txBody>
          <a:bodyPr wrap="none" lIns="0" tIns="0" rIns="0" bIns="0" rtlCol="0" anchor="t">
            <a:spAutoFit/>
          </a:bodyPr>
          <a:lstStyle/>
          <a:p>
            <a:r>
              <a:rPr kumimoji="1" lang="zh-CN" altLang="en-US" sz="7200" dirty="0">
                <a:solidFill>
                  <a:schemeClr val="accent1">
                    <a:lumMod val="100000"/>
                  </a:schemeClr>
                </a:solidFill>
                <a:latin typeface="+mj-ea"/>
                <a:ea typeface="+mj-ea"/>
              </a:rPr>
              <a:t>过渡页标题</a:t>
            </a:r>
          </a:p>
        </p:txBody>
      </p:sp>
      <p:sp>
        <p:nvSpPr>
          <p:cNvPr id="3" name="文本框 2">
            <a:extLst>
              <a:ext uri="{FF2B5EF4-FFF2-40B4-BE49-F238E27FC236}">
                <a16:creationId xmlns:a16="http://schemas.microsoft.com/office/drawing/2014/main" id="{CC086F2E-E5F0-A843-AB92-767320A026A3}"/>
              </a:ext>
            </a:extLst>
          </p:cNvPr>
          <p:cNvSpPr txBox="1"/>
          <p:nvPr/>
        </p:nvSpPr>
        <p:spPr>
          <a:xfrm>
            <a:off x="3811465" y="3996241"/>
            <a:ext cx="4559765" cy="307777"/>
          </a:xfrm>
          <a:prstGeom prst="rect">
            <a:avLst/>
          </a:prstGeom>
          <a:noFill/>
        </p:spPr>
        <p:txBody>
          <a:bodyPr wrap="square" lIns="0" tIns="0" rIns="0" bIns="0" rtlCol="0" anchor="t">
            <a:spAutoFit/>
          </a:bodyPr>
          <a:lstStyle/>
          <a:p>
            <a:pPr algn="dist"/>
            <a:r>
              <a:rPr kumimoji="1" lang="en-US" altLang="zh-CN" sz="2000" dirty="0">
                <a:solidFill>
                  <a:schemeClr val="accent1">
                    <a:lumMod val="100000"/>
                  </a:schemeClr>
                </a:solidFill>
              </a:rPr>
              <a:t>Transition Page Title</a:t>
            </a:r>
            <a:endParaRPr kumimoji="1" lang="zh-CN" altLang="en-US" sz="2000" dirty="0">
              <a:solidFill>
                <a:schemeClr val="accent1">
                  <a:lumMod val="100000"/>
                </a:schemeClr>
              </a:solidFill>
            </a:endParaRPr>
          </a:p>
        </p:txBody>
      </p:sp>
      <p:sp>
        <p:nvSpPr>
          <p:cNvPr id="6" name="圆角矩形 5">
            <a:extLst>
              <a:ext uri="{FF2B5EF4-FFF2-40B4-BE49-F238E27FC236}">
                <a16:creationId xmlns:a16="http://schemas.microsoft.com/office/drawing/2014/main" id="{2215F18B-2BCB-CC4B-9898-6B300736C1BA}"/>
              </a:ext>
            </a:extLst>
          </p:cNvPr>
          <p:cNvSpPr/>
          <p:nvPr/>
        </p:nvSpPr>
        <p:spPr>
          <a:xfrm>
            <a:off x="5051713" y="1926579"/>
            <a:ext cx="2088573" cy="649465"/>
          </a:xfrm>
          <a:prstGeom prst="roundRect">
            <a:avLst>
              <a:gd name="adj" fmla="val 50000"/>
            </a:avLst>
          </a:prstGeom>
          <a:solidFill>
            <a:schemeClr val="accent1"/>
          </a:solidFill>
          <a:ln w="12700" cap="flat" cmpd="sng" algn="ctr">
            <a:noFill/>
            <a:prstDash val="solid"/>
            <a:miter lim="800000"/>
          </a:ln>
          <a:effectLst/>
          <a:extLst>
            <a:ext uri="{91240B29-F687-4F45-9708-019B960494DF}">
              <a14:hiddenLine xmlns:a14="http://schemas.microsoft.com/office/drawing/2010/main" w="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zh-CN" dirty="0"/>
              <a:t>PART</a:t>
            </a:r>
            <a:r>
              <a:rPr kumimoji="1" lang="zh-CN" altLang="en-US" dirty="0"/>
              <a:t> </a:t>
            </a:r>
            <a:r>
              <a:rPr kumimoji="1" lang="en-US" altLang="zh-CN" dirty="0"/>
              <a:t>OEN</a:t>
            </a:r>
            <a:r>
              <a:rPr kumimoji="1" lang="zh-CN" altLang="en-US" dirty="0"/>
              <a:t> </a:t>
            </a:r>
          </a:p>
        </p:txBody>
      </p:sp>
    </p:spTree>
    <p:extLst>
      <p:ext uri="{BB962C8B-B14F-4D97-AF65-F5344CB8AC3E}">
        <p14:creationId xmlns:p14="http://schemas.microsoft.com/office/powerpoint/2010/main" val="2416657559"/>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a:extLst>
              <a:ext uri="{FF2B5EF4-FFF2-40B4-BE49-F238E27FC236}">
                <a16:creationId xmlns:a16="http://schemas.microsoft.com/office/drawing/2014/main" id="{7168616A-AF6D-DE4A-B118-2DEDC9797FE1}"/>
              </a:ext>
            </a:extLst>
          </p:cNvPr>
          <p:cNvSpPr txBox="1"/>
          <p:nvPr/>
        </p:nvSpPr>
        <p:spPr>
          <a:xfrm>
            <a:off x="825102" y="2416384"/>
            <a:ext cx="4616648" cy="1107996"/>
          </a:xfrm>
          <a:prstGeom prst="rect">
            <a:avLst/>
          </a:prstGeom>
          <a:noFill/>
        </p:spPr>
        <p:txBody>
          <a:bodyPr wrap="none" lIns="0" tIns="0" rIns="0" bIns="0" rtlCol="0" anchor="t">
            <a:spAutoFit/>
          </a:bodyPr>
          <a:lstStyle/>
          <a:p>
            <a:r>
              <a:rPr kumimoji="1" lang="zh-CN" altLang="en-US" sz="7200" dirty="0">
                <a:solidFill>
                  <a:schemeClr val="accent1">
                    <a:lumMod val="100000"/>
                  </a:schemeClr>
                </a:solidFill>
                <a:latin typeface="+mj-ea"/>
                <a:ea typeface="+mj-ea"/>
              </a:rPr>
              <a:t>过渡页标题</a:t>
            </a:r>
          </a:p>
        </p:txBody>
      </p:sp>
      <p:sp>
        <p:nvSpPr>
          <p:cNvPr id="4" name="文本框 3">
            <a:extLst>
              <a:ext uri="{FF2B5EF4-FFF2-40B4-BE49-F238E27FC236}">
                <a16:creationId xmlns:a16="http://schemas.microsoft.com/office/drawing/2014/main" id="{3CF72DE6-38DC-3A42-B3A6-688A5394D65B}"/>
              </a:ext>
            </a:extLst>
          </p:cNvPr>
          <p:cNvSpPr txBox="1"/>
          <p:nvPr/>
        </p:nvSpPr>
        <p:spPr>
          <a:xfrm>
            <a:off x="5817104" y="1839303"/>
            <a:ext cx="3484928" cy="3677930"/>
          </a:xfrm>
          <a:prstGeom prst="rect">
            <a:avLst/>
          </a:prstGeom>
          <a:noFill/>
        </p:spPr>
        <p:txBody>
          <a:bodyPr wrap="none" lIns="0" tIns="0" rIns="0" bIns="0" rtlCol="0" anchor="t">
            <a:spAutoFit/>
          </a:bodyPr>
          <a:lstStyle/>
          <a:p>
            <a:r>
              <a:rPr kumimoji="1" lang="en-US" altLang="zh-CN" sz="23900" dirty="0">
                <a:solidFill>
                  <a:schemeClr val="accent1">
                    <a:lumMod val="100000"/>
                  </a:schemeClr>
                </a:solidFill>
                <a:latin typeface="+mj-ea"/>
                <a:ea typeface="+mj-ea"/>
              </a:rPr>
              <a:t>01</a:t>
            </a:r>
            <a:endParaRPr kumimoji="1" lang="zh-CN" altLang="en-US" sz="23900" dirty="0">
              <a:solidFill>
                <a:schemeClr val="accent1">
                  <a:lumMod val="100000"/>
                </a:schemeClr>
              </a:solidFill>
              <a:latin typeface="+mj-ea"/>
              <a:ea typeface="+mj-ea"/>
            </a:endParaRPr>
          </a:p>
        </p:txBody>
      </p:sp>
      <p:sp>
        <p:nvSpPr>
          <p:cNvPr id="5" name="文本框 4">
            <a:extLst>
              <a:ext uri="{FF2B5EF4-FFF2-40B4-BE49-F238E27FC236}">
                <a16:creationId xmlns:a16="http://schemas.microsoft.com/office/drawing/2014/main" id="{807D5FEF-1CD8-2443-9638-878578C13205}"/>
              </a:ext>
            </a:extLst>
          </p:cNvPr>
          <p:cNvSpPr txBox="1"/>
          <p:nvPr/>
        </p:nvSpPr>
        <p:spPr>
          <a:xfrm>
            <a:off x="881985" y="3524380"/>
            <a:ext cx="4559765" cy="307777"/>
          </a:xfrm>
          <a:prstGeom prst="rect">
            <a:avLst/>
          </a:prstGeom>
          <a:noFill/>
        </p:spPr>
        <p:txBody>
          <a:bodyPr wrap="square" lIns="0" tIns="0" rIns="0" bIns="0" rtlCol="0" anchor="t">
            <a:spAutoFit/>
          </a:bodyPr>
          <a:lstStyle/>
          <a:p>
            <a:pPr algn="dist"/>
            <a:r>
              <a:rPr kumimoji="1" lang="en-US" altLang="zh-CN" sz="2000" dirty="0">
                <a:solidFill>
                  <a:schemeClr val="accent1">
                    <a:lumMod val="100000"/>
                  </a:schemeClr>
                </a:solidFill>
              </a:rPr>
              <a:t>Transition Page Title</a:t>
            </a:r>
            <a:endParaRPr kumimoji="1" lang="zh-CN" altLang="en-US" sz="2000" dirty="0">
              <a:solidFill>
                <a:schemeClr val="accent1">
                  <a:lumMod val="100000"/>
                </a:schemeClr>
              </a:solidFill>
            </a:endParaRPr>
          </a:p>
        </p:txBody>
      </p:sp>
      <p:cxnSp>
        <p:nvCxnSpPr>
          <p:cNvPr id="6" name="直线连接符 5">
            <a:extLst>
              <a:ext uri="{FF2B5EF4-FFF2-40B4-BE49-F238E27FC236}">
                <a16:creationId xmlns:a16="http://schemas.microsoft.com/office/drawing/2014/main" id="{F5668459-90E5-3A4C-A252-4F565892862D}"/>
              </a:ext>
            </a:extLst>
          </p:cNvPr>
          <p:cNvCxnSpPr>
            <a:cxnSpLocks/>
          </p:cNvCxnSpPr>
          <p:nvPr/>
        </p:nvCxnSpPr>
        <p:spPr>
          <a:xfrm>
            <a:off x="-469800" y="2198916"/>
            <a:ext cx="5911550" cy="0"/>
          </a:xfrm>
          <a:prstGeom prst="line">
            <a:avLst/>
          </a:prstGeom>
          <a:ln w="19050">
            <a:headEnd type="oval"/>
            <a:tailEnd type="oval"/>
          </a:ln>
        </p:spPr>
        <p:style>
          <a:lnRef idx="1">
            <a:schemeClr val="accent1"/>
          </a:lnRef>
          <a:fillRef idx="0">
            <a:schemeClr val="accent1"/>
          </a:fillRef>
          <a:effectRef idx="0">
            <a:schemeClr val="accent1"/>
          </a:effectRef>
          <a:fontRef idx="minor">
            <a:schemeClr val="tx1"/>
          </a:fontRef>
        </p:style>
      </p:cxnSp>
      <p:cxnSp>
        <p:nvCxnSpPr>
          <p:cNvPr id="8" name="直线连接符 7">
            <a:extLst>
              <a:ext uri="{FF2B5EF4-FFF2-40B4-BE49-F238E27FC236}">
                <a16:creationId xmlns:a16="http://schemas.microsoft.com/office/drawing/2014/main" id="{A2A1F0A2-B5E7-3D4E-9D34-6E9E28375E48}"/>
              </a:ext>
            </a:extLst>
          </p:cNvPr>
          <p:cNvCxnSpPr>
            <a:cxnSpLocks/>
          </p:cNvCxnSpPr>
          <p:nvPr/>
        </p:nvCxnSpPr>
        <p:spPr>
          <a:xfrm>
            <a:off x="6096000" y="5212280"/>
            <a:ext cx="6186055" cy="0"/>
          </a:xfrm>
          <a:prstGeom prst="line">
            <a:avLst/>
          </a:prstGeom>
          <a:ln w="19050">
            <a:headEnd type="oval"/>
            <a:tailEnd type="ova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04967547"/>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a:extLst>
              <a:ext uri="{FF2B5EF4-FFF2-40B4-BE49-F238E27FC236}">
                <a16:creationId xmlns:a16="http://schemas.microsoft.com/office/drawing/2014/main" id="{3263C85E-D842-964C-B5E7-72B85E62F381}"/>
              </a:ext>
            </a:extLst>
          </p:cNvPr>
          <p:cNvSpPr/>
          <p:nvPr/>
        </p:nvSpPr>
        <p:spPr>
          <a:xfrm>
            <a:off x="6096000" y="0"/>
            <a:ext cx="6095999" cy="6858000"/>
          </a:xfrm>
          <a:prstGeom prst="rect">
            <a:avLst/>
          </a:prstGeom>
          <a:solidFill>
            <a:schemeClr val="accent1">
              <a:lumMod val="20000"/>
              <a:lumOff val="80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3" name="矩形 2">
            <a:extLst>
              <a:ext uri="{FF2B5EF4-FFF2-40B4-BE49-F238E27FC236}">
                <a16:creationId xmlns:a16="http://schemas.microsoft.com/office/drawing/2014/main" id="{0BF011AF-7447-004F-93F5-73E42956AAA8}"/>
              </a:ext>
            </a:extLst>
          </p:cNvPr>
          <p:cNvSpPr/>
          <p:nvPr/>
        </p:nvSpPr>
        <p:spPr>
          <a:xfrm>
            <a:off x="2447925" y="1838071"/>
            <a:ext cx="7296150" cy="3181858"/>
          </a:xfrm>
          <a:prstGeom prst="rect">
            <a:avLst/>
          </a:prstGeom>
          <a:solidFill>
            <a:schemeClr val="bg1"/>
          </a:solidFill>
          <a:ln w="0" cap="flat" cmpd="sng" algn="ctr">
            <a:solidFill>
              <a:schemeClr val="accent1">
                <a:shade val="50000"/>
              </a:schemeClr>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4" name="文本框 3">
            <a:extLst>
              <a:ext uri="{FF2B5EF4-FFF2-40B4-BE49-F238E27FC236}">
                <a16:creationId xmlns:a16="http://schemas.microsoft.com/office/drawing/2014/main" id="{C5A04F47-7767-A74F-A1E6-89A586C36E14}"/>
              </a:ext>
            </a:extLst>
          </p:cNvPr>
          <p:cNvSpPr txBox="1"/>
          <p:nvPr/>
        </p:nvSpPr>
        <p:spPr>
          <a:xfrm>
            <a:off x="2788201" y="3381095"/>
            <a:ext cx="4616648" cy="1107996"/>
          </a:xfrm>
          <a:prstGeom prst="rect">
            <a:avLst/>
          </a:prstGeom>
          <a:noFill/>
        </p:spPr>
        <p:txBody>
          <a:bodyPr wrap="none" lIns="0" tIns="0" rIns="0" bIns="0" rtlCol="0" anchor="t">
            <a:spAutoFit/>
          </a:bodyPr>
          <a:lstStyle/>
          <a:p>
            <a:r>
              <a:rPr kumimoji="1" lang="zh-CN" altLang="en-US" sz="7200" dirty="0">
                <a:solidFill>
                  <a:schemeClr val="accent1">
                    <a:lumMod val="100000"/>
                  </a:schemeClr>
                </a:solidFill>
                <a:latin typeface="+mj-ea"/>
                <a:ea typeface="+mj-ea"/>
              </a:rPr>
              <a:t>过渡页标题</a:t>
            </a:r>
          </a:p>
        </p:txBody>
      </p:sp>
      <p:sp>
        <p:nvSpPr>
          <p:cNvPr id="5" name="文本框 4">
            <a:extLst>
              <a:ext uri="{FF2B5EF4-FFF2-40B4-BE49-F238E27FC236}">
                <a16:creationId xmlns:a16="http://schemas.microsoft.com/office/drawing/2014/main" id="{8A0EC9AD-0D28-174B-962E-C17A37276DA5}"/>
              </a:ext>
            </a:extLst>
          </p:cNvPr>
          <p:cNvSpPr txBox="1"/>
          <p:nvPr/>
        </p:nvSpPr>
        <p:spPr>
          <a:xfrm>
            <a:off x="2788201" y="1997591"/>
            <a:ext cx="961802" cy="1015663"/>
          </a:xfrm>
          <a:prstGeom prst="rect">
            <a:avLst/>
          </a:prstGeom>
          <a:noFill/>
        </p:spPr>
        <p:txBody>
          <a:bodyPr wrap="none" lIns="0" tIns="0" rIns="0" bIns="0" rtlCol="0" anchor="t">
            <a:spAutoFit/>
          </a:bodyPr>
          <a:lstStyle/>
          <a:p>
            <a:r>
              <a:rPr kumimoji="1" lang="en-US" altLang="zh-CN" sz="6600" dirty="0">
                <a:solidFill>
                  <a:schemeClr val="accent1">
                    <a:lumMod val="100000"/>
                  </a:schemeClr>
                </a:solidFill>
                <a:latin typeface="+mj-ea"/>
                <a:ea typeface="+mj-ea"/>
              </a:rPr>
              <a:t>01</a:t>
            </a:r>
            <a:endParaRPr kumimoji="1" lang="zh-CN" altLang="en-US" sz="6600" dirty="0">
              <a:solidFill>
                <a:schemeClr val="accent1">
                  <a:lumMod val="100000"/>
                </a:schemeClr>
              </a:solidFill>
              <a:latin typeface="+mj-ea"/>
              <a:ea typeface="+mj-ea"/>
            </a:endParaRPr>
          </a:p>
        </p:txBody>
      </p:sp>
      <p:sp>
        <p:nvSpPr>
          <p:cNvPr id="6" name="十字形 5">
            <a:extLst>
              <a:ext uri="{FF2B5EF4-FFF2-40B4-BE49-F238E27FC236}">
                <a16:creationId xmlns:a16="http://schemas.microsoft.com/office/drawing/2014/main" id="{990D711A-AC7E-654B-9F36-5523B77914AE}"/>
              </a:ext>
            </a:extLst>
          </p:cNvPr>
          <p:cNvSpPr/>
          <p:nvPr/>
        </p:nvSpPr>
        <p:spPr>
          <a:xfrm>
            <a:off x="9119610" y="4441186"/>
            <a:ext cx="284189" cy="284189"/>
          </a:xfrm>
          <a:prstGeom prst="plus">
            <a:avLst>
              <a:gd name="adj" fmla="val 37333"/>
            </a:avLst>
          </a:prstGeom>
          <a:solidFill>
            <a:schemeClr val="accent1"/>
          </a:solidFill>
          <a:ln w="12700" cap="flat" cmpd="sng" algn="ctr">
            <a:noFill/>
            <a:prstDash val="solid"/>
            <a:miter lim="800000"/>
          </a:ln>
          <a:effectLst/>
          <a:extLst>
            <a:ext uri="{91240B29-F687-4F45-9708-019B960494DF}">
              <a14:hiddenLine xmlns:a14="http://schemas.microsoft.com/office/drawing/2010/main" w="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8" name="文本框 7">
            <a:extLst>
              <a:ext uri="{FF2B5EF4-FFF2-40B4-BE49-F238E27FC236}">
                <a16:creationId xmlns:a16="http://schemas.microsoft.com/office/drawing/2014/main" id="{1D617E20-9807-2D4B-BF5B-60B3E44DCFF3}"/>
              </a:ext>
            </a:extLst>
          </p:cNvPr>
          <p:cNvSpPr txBox="1"/>
          <p:nvPr/>
        </p:nvSpPr>
        <p:spPr>
          <a:xfrm>
            <a:off x="2816642" y="4441186"/>
            <a:ext cx="4559765" cy="307777"/>
          </a:xfrm>
          <a:prstGeom prst="rect">
            <a:avLst/>
          </a:prstGeom>
          <a:noFill/>
        </p:spPr>
        <p:txBody>
          <a:bodyPr wrap="square" lIns="0" tIns="0" rIns="0" bIns="0" rtlCol="0" anchor="t">
            <a:spAutoFit/>
          </a:bodyPr>
          <a:lstStyle/>
          <a:p>
            <a:pPr algn="dist"/>
            <a:r>
              <a:rPr kumimoji="1" lang="en-US" altLang="zh-CN" sz="2000" dirty="0">
                <a:solidFill>
                  <a:schemeClr val="accent1">
                    <a:lumMod val="100000"/>
                  </a:schemeClr>
                </a:solidFill>
              </a:rPr>
              <a:t>Transition Page Title</a:t>
            </a:r>
            <a:endParaRPr kumimoji="1" lang="zh-CN" altLang="en-US" sz="2000" dirty="0">
              <a:solidFill>
                <a:schemeClr val="accent1">
                  <a:lumMod val="100000"/>
                </a:schemeClr>
              </a:solidFill>
            </a:endParaRPr>
          </a:p>
        </p:txBody>
      </p:sp>
      <p:sp>
        <p:nvSpPr>
          <p:cNvPr id="9" name="矩形 8">
            <a:extLst>
              <a:ext uri="{FF2B5EF4-FFF2-40B4-BE49-F238E27FC236}">
                <a16:creationId xmlns:a16="http://schemas.microsoft.com/office/drawing/2014/main" id="{02E1FD3C-5F54-9D4D-96A7-0D2B2B547E37}"/>
              </a:ext>
            </a:extLst>
          </p:cNvPr>
          <p:cNvSpPr/>
          <p:nvPr/>
        </p:nvSpPr>
        <p:spPr>
          <a:xfrm>
            <a:off x="2816642" y="3097973"/>
            <a:ext cx="545758" cy="74801"/>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0" name="任意多边形: 形状 9">
            <a:extLst>
              <a:ext uri="{FF2B5EF4-FFF2-40B4-BE49-F238E27FC236}">
                <a16:creationId xmlns:a16="http://schemas.microsoft.com/office/drawing/2014/main" id="{785CAF57-55B1-4634-A737-C329A23756D3}"/>
              </a:ext>
            </a:extLst>
          </p:cNvPr>
          <p:cNvSpPr/>
          <p:nvPr/>
        </p:nvSpPr>
        <p:spPr>
          <a:xfrm>
            <a:off x="10304088" y="2816885"/>
            <a:ext cx="1219200" cy="1118208"/>
          </a:xfrm>
          <a:custGeom>
            <a:avLst/>
            <a:gdLst>
              <a:gd name="connsiteX0" fmla="*/ 1006264 w 1331826"/>
              <a:gd name="connsiteY0" fmla="*/ 238125 h 1221507"/>
              <a:gd name="connsiteX1" fmla="*/ 1123466 w 1331826"/>
              <a:gd name="connsiteY1" fmla="*/ 355327 h 1221507"/>
              <a:gd name="connsiteX2" fmla="*/ 1006264 w 1331826"/>
              <a:gd name="connsiteY2" fmla="*/ 472529 h 1221507"/>
              <a:gd name="connsiteX3" fmla="*/ 889062 w 1331826"/>
              <a:gd name="connsiteY3" fmla="*/ 355327 h 1221507"/>
              <a:gd name="connsiteX4" fmla="*/ 1006264 w 1331826"/>
              <a:gd name="connsiteY4" fmla="*/ 238125 h 1221507"/>
              <a:gd name="connsiteX5" fmla="*/ 172827 w 1331826"/>
              <a:gd name="connsiteY5" fmla="*/ 104180 h 1221507"/>
              <a:gd name="connsiteX6" fmla="*/ 105482 w 1331826"/>
              <a:gd name="connsiteY6" fmla="*/ 171152 h 1221507"/>
              <a:gd name="connsiteX7" fmla="*/ 105482 w 1331826"/>
              <a:gd name="connsiteY7" fmla="*/ 726281 h 1221507"/>
              <a:gd name="connsiteX8" fmla="*/ 179152 w 1331826"/>
              <a:gd name="connsiteY8" fmla="*/ 599777 h 1221507"/>
              <a:gd name="connsiteX9" fmla="*/ 303795 w 1331826"/>
              <a:gd name="connsiteY9" fmla="*/ 490761 h 1221507"/>
              <a:gd name="connsiteX10" fmla="*/ 414300 w 1331826"/>
              <a:gd name="connsiteY10" fmla="*/ 507504 h 1221507"/>
              <a:gd name="connsiteX11" fmla="*/ 731676 w 1331826"/>
              <a:gd name="connsiteY11" fmla="*/ 856878 h 1221507"/>
              <a:gd name="connsiteX12" fmla="*/ 780790 w 1331826"/>
              <a:gd name="connsiteY12" fmla="*/ 791022 h 1221507"/>
              <a:gd name="connsiteX13" fmla="*/ 988777 w 1331826"/>
              <a:gd name="connsiteY13" fmla="*/ 633264 h 1221507"/>
              <a:gd name="connsiteX14" fmla="*/ 1093329 w 1331826"/>
              <a:gd name="connsiteY14" fmla="*/ 666006 h 1221507"/>
              <a:gd name="connsiteX15" fmla="*/ 1227646 w 1331826"/>
              <a:gd name="connsiteY15" fmla="*/ 821159 h 1221507"/>
              <a:gd name="connsiteX16" fmla="*/ 1227646 w 1331826"/>
              <a:gd name="connsiteY16" fmla="*/ 171152 h 1221507"/>
              <a:gd name="connsiteX17" fmla="*/ 1160673 w 1331826"/>
              <a:gd name="connsiteY17" fmla="*/ 104180 h 1221507"/>
              <a:gd name="connsiteX18" fmla="*/ 172827 w 1331826"/>
              <a:gd name="connsiteY18" fmla="*/ 0 h 1221507"/>
              <a:gd name="connsiteX19" fmla="*/ 1160673 w 1331826"/>
              <a:gd name="connsiteY19" fmla="*/ 0 h 1221507"/>
              <a:gd name="connsiteX20" fmla="*/ 1331826 w 1331826"/>
              <a:gd name="connsiteY20" fmla="*/ 171152 h 1221507"/>
              <a:gd name="connsiteX21" fmla="*/ 1331826 w 1331826"/>
              <a:gd name="connsiteY21" fmla="*/ 1050355 h 1221507"/>
              <a:gd name="connsiteX22" fmla="*/ 1160673 w 1331826"/>
              <a:gd name="connsiteY22" fmla="*/ 1221507 h 1221507"/>
              <a:gd name="connsiteX23" fmla="*/ 172827 w 1331826"/>
              <a:gd name="connsiteY23" fmla="*/ 1221507 h 1221507"/>
              <a:gd name="connsiteX24" fmla="*/ 1674 w 1331826"/>
              <a:gd name="connsiteY24" fmla="*/ 1050355 h 1221507"/>
              <a:gd name="connsiteX25" fmla="*/ 1674 w 1331826"/>
              <a:gd name="connsiteY25" fmla="*/ 1006450 h 1221507"/>
              <a:gd name="connsiteX26" fmla="*/ 1674 w 1331826"/>
              <a:gd name="connsiteY26" fmla="*/ 980405 h 1221507"/>
              <a:gd name="connsiteX27" fmla="*/ 1674 w 1331826"/>
              <a:gd name="connsiteY27" fmla="*/ 171152 h 1221507"/>
              <a:gd name="connsiteX28" fmla="*/ 172827 w 1331826"/>
              <a:gd name="connsiteY28" fmla="*/ 0 h 1221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31826" h="1221507">
                <a:moveTo>
                  <a:pt x="1006264" y="238125"/>
                </a:moveTo>
                <a:cubicBezTo>
                  <a:pt x="1070993" y="238125"/>
                  <a:pt x="1123466" y="290598"/>
                  <a:pt x="1123466" y="355327"/>
                </a:cubicBezTo>
                <a:cubicBezTo>
                  <a:pt x="1123466" y="420056"/>
                  <a:pt x="1070993" y="472529"/>
                  <a:pt x="1006264" y="472529"/>
                </a:cubicBezTo>
                <a:cubicBezTo>
                  <a:pt x="941535" y="472529"/>
                  <a:pt x="889062" y="420056"/>
                  <a:pt x="889062" y="355327"/>
                </a:cubicBezTo>
                <a:cubicBezTo>
                  <a:pt x="889062" y="290598"/>
                  <a:pt x="941535" y="238125"/>
                  <a:pt x="1006264" y="238125"/>
                </a:cubicBezTo>
                <a:close/>
                <a:moveTo>
                  <a:pt x="172827" y="104180"/>
                </a:moveTo>
                <a:cubicBezTo>
                  <a:pt x="135620" y="104180"/>
                  <a:pt x="105854" y="133945"/>
                  <a:pt x="105482" y="171152"/>
                </a:cubicBezTo>
                <a:lnTo>
                  <a:pt x="105482" y="726281"/>
                </a:lnTo>
                <a:cubicBezTo>
                  <a:pt x="130411" y="676424"/>
                  <a:pt x="154967" y="634008"/>
                  <a:pt x="179152" y="599777"/>
                </a:cubicBezTo>
                <a:cubicBezTo>
                  <a:pt x="220824" y="540246"/>
                  <a:pt x="261751" y="504527"/>
                  <a:pt x="303795" y="490761"/>
                </a:cubicBezTo>
                <a:cubicBezTo>
                  <a:pt x="342491" y="478110"/>
                  <a:pt x="380442" y="483691"/>
                  <a:pt x="414300" y="507504"/>
                </a:cubicBezTo>
                <a:cubicBezTo>
                  <a:pt x="528526" y="587871"/>
                  <a:pt x="663215" y="762372"/>
                  <a:pt x="731676" y="856878"/>
                </a:cubicBezTo>
                <a:cubicBezTo>
                  <a:pt x="745443" y="837158"/>
                  <a:pt x="762186" y="814090"/>
                  <a:pt x="780790" y="791022"/>
                </a:cubicBezTo>
                <a:cubicBezTo>
                  <a:pt x="858552" y="693911"/>
                  <a:pt x="926641" y="642193"/>
                  <a:pt x="988777" y="633264"/>
                </a:cubicBezTo>
                <a:cubicBezTo>
                  <a:pt x="1028216" y="627683"/>
                  <a:pt x="1064307" y="638845"/>
                  <a:pt x="1093329" y="666006"/>
                </a:cubicBezTo>
                <a:cubicBezTo>
                  <a:pt x="1142070" y="711398"/>
                  <a:pt x="1188951" y="768697"/>
                  <a:pt x="1227646" y="821159"/>
                </a:cubicBezTo>
                <a:lnTo>
                  <a:pt x="1227646" y="171152"/>
                </a:lnTo>
                <a:cubicBezTo>
                  <a:pt x="1227646" y="134317"/>
                  <a:pt x="1197508" y="104180"/>
                  <a:pt x="1160673" y="104180"/>
                </a:cubicBezTo>
                <a:close/>
                <a:moveTo>
                  <a:pt x="172827" y="0"/>
                </a:moveTo>
                <a:lnTo>
                  <a:pt x="1160673" y="0"/>
                </a:lnTo>
                <a:cubicBezTo>
                  <a:pt x="1255179" y="0"/>
                  <a:pt x="1331826" y="76646"/>
                  <a:pt x="1331826" y="171152"/>
                </a:cubicBezTo>
                <a:lnTo>
                  <a:pt x="1331826" y="1050355"/>
                </a:lnTo>
                <a:cubicBezTo>
                  <a:pt x="1331826" y="1144860"/>
                  <a:pt x="1255179" y="1221507"/>
                  <a:pt x="1160673" y="1221507"/>
                </a:cubicBezTo>
                <a:lnTo>
                  <a:pt x="172827" y="1221507"/>
                </a:lnTo>
                <a:cubicBezTo>
                  <a:pt x="78321" y="1221507"/>
                  <a:pt x="1674" y="1144860"/>
                  <a:pt x="1674" y="1050355"/>
                </a:cubicBezTo>
                <a:lnTo>
                  <a:pt x="1674" y="1006450"/>
                </a:lnTo>
                <a:cubicBezTo>
                  <a:pt x="-558" y="997893"/>
                  <a:pt x="-558" y="989335"/>
                  <a:pt x="1674" y="980405"/>
                </a:cubicBezTo>
                <a:lnTo>
                  <a:pt x="1674" y="171152"/>
                </a:lnTo>
                <a:cubicBezTo>
                  <a:pt x="1674" y="76646"/>
                  <a:pt x="78321" y="0"/>
                  <a:pt x="172827" y="0"/>
                </a:cubicBezTo>
                <a:close/>
              </a:path>
            </a:pathLst>
          </a:custGeom>
          <a:solidFill>
            <a:schemeClr val="bg1"/>
          </a:solidFill>
          <a:ln w="1860" cap="flat">
            <a:noFill/>
            <a:prstDash val="solid"/>
            <a:miter/>
          </a:ln>
        </p:spPr>
        <p:txBody>
          <a:bodyPr rtlCol="0" anchor="ctr"/>
          <a:lstStyle/>
          <a:p>
            <a:endParaRPr lang="zh-CN" altLang="en-US"/>
          </a:p>
        </p:txBody>
      </p:sp>
    </p:spTree>
    <p:extLst>
      <p:ext uri="{BB962C8B-B14F-4D97-AF65-F5344CB8AC3E}">
        <p14:creationId xmlns:p14="http://schemas.microsoft.com/office/powerpoint/2010/main" val="4080077541"/>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a:extLst>
              <a:ext uri="{FF2B5EF4-FFF2-40B4-BE49-F238E27FC236}">
                <a16:creationId xmlns:a16="http://schemas.microsoft.com/office/drawing/2014/main" id="{33E6D9B2-037D-E646-AE10-C8165B92701D}"/>
              </a:ext>
            </a:extLst>
          </p:cNvPr>
          <p:cNvSpPr/>
          <p:nvPr/>
        </p:nvSpPr>
        <p:spPr>
          <a:xfrm>
            <a:off x="0" y="2358737"/>
            <a:ext cx="12192000" cy="2140527"/>
          </a:xfrm>
          <a:prstGeom prst="rect">
            <a:avLst/>
          </a:prstGeom>
          <a:solidFill>
            <a:schemeClr val="bg1">
              <a:lumMod val="85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6" name="矩形 5">
            <a:extLst>
              <a:ext uri="{FF2B5EF4-FFF2-40B4-BE49-F238E27FC236}">
                <a16:creationId xmlns:a16="http://schemas.microsoft.com/office/drawing/2014/main" id="{918DF213-7C5C-DA41-BF6E-412F94E68D23}"/>
              </a:ext>
            </a:extLst>
          </p:cNvPr>
          <p:cNvSpPr/>
          <p:nvPr/>
        </p:nvSpPr>
        <p:spPr>
          <a:xfrm>
            <a:off x="7518369" y="3377270"/>
            <a:ext cx="1800000" cy="1800000"/>
          </a:xfrm>
          <a:prstGeom prst="rect">
            <a:avLst/>
          </a:prstGeom>
          <a:solidFill>
            <a:schemeClr val="accent1">
              <a:lumMod val="75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3" name="矩形 2">
            <a:extLst>
              <a:ext uri="{FF2B5EF4-FFF2-40B4-BE49-F238E27FC236}">
                <a16:creationId xmlns:a16="http://schemas.microsoft.com/office/drawing/2014/main" id="{3F07B519-7B9F-4C43-B352-CCEA4265CF2C}"/>
              </a:ext>
            </a:extLst>
          </p:cNvPr>
          <p:cNvSpPr/>
          <p:nvPr/>
        </p:nvSpPr>
        <p:spPr>
          <a:xfrm>
            <a:off x="2873632" y="1906731"/>
            <a:ext cx="6172200" cy="3044537"/>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4" name="文本框 3">
            <a:extLst>
              <a:ext uri="{FF2B5EF4-FFF2-40B4-BE49-F238E27FC236}">
                <a16:creationId xmlns:a16="http://schemas.microsoft.com/office/drawing/2014/main" id="{90C0D8A3-AFF0-244D-89A8-110D477A9CC0}"/>
              </a:ext>
            </a:extLst>
          </p:cNvPr>
          <p:cNvSpPr txBox="1"/>
          <p:nvPr/>
        </p:nvSpPr>
        <p:spPr>
          <a:xfrm>
            <a:off x="3375833" y="3241964"/>
            <a:ext cx="4616648" cy="1107996"/>
          </a:xfrm>
          <a:prstGeom prst="rect">
            <a:avLst/>
          </a:prstGeom>
          <a:noFill/>
        </p:spPr>
        <p:txBody>
          <a:bodyPr wrap="none" lIns="0" tIns="0" rIns="0" bIns="0" rtlCol="0" anchor="t">
            <a:spAutoFit/>
          </a:bodyPr>
          <a:lstStyle/>
          <a:p>
            <a:r>
              <a:rPr kumimoji="1" lang="zh-CN" altLang="en-US" sz="7200" dirty="0">
                <a:solidFill>
                  <a:schemeClr val="bg1"/>
                </a:solidFill>
                <a:latin typeface="+mj-ea"/>
                <a:ea typeface="+mj-ea"/>
              </a:rPr>
              <a:t>过渡页标题</a:t>
            </a:r>
          </a:p>
        </p:txBody>
      </p:sp>
      <p:sp>
        <p:nvSpPr>
          <p:cNvPr id="5" name="文本框 4">
            <a:extLst>
              <a:ext uri="{FF2B5EF4-FFF2-40B4-BE49-F238E27FC236}">
                <a16:creationId xmlns:a16="http://schemas.microsoft.com/office/drawing/2014/main" id="{0F24379D-1A3C-654F-ABED-3DA6B43D2AE5}"/>
              </a:ext>
            </a:extLst>
          </p:cNvPr>
          <p:cNvSpPr txBox="1"/>
          <p:nvPr/>
        </p:nvSpPr>
        <p:spPr>
          <a:xfrm>
            <a:off x="3375833" y="2226301"/>
            <a:ext cx="961802" cy="1015663"/>
          </a:xfrm>
          <a:prstGeom prst="rect">
            <a:avLst/>
          </a:prstGeom>
          <a:noFill/>
        </p:spPr>
        <p:txBody>
          <a:bodyPr wrap="none" lIns="0" tIns="0" rIns="0" bIns="0" rtlCol="0" anchor="t">
            <a:spAutoFit/>
          </a:bodyPr>
          <a:lstStyle/>
          <a:p>
            <a:r>
              <a:rPr kumimoji="1" lang="en-US" altLang="zh-CN" sz="6600" dirty="0">
                <a:ln w="15875">
                  <a:solidFill>
                    <a:schemeClr val="bg1"/>
                  </a:solidFill>
                </a:ln>
                <a:noFill/>
                <a:latin typeface="+mj-ea"/>
                <a:ea typeface="+mj-ea"/>
              </a:rPr>
              <a:t>01</a:t>
            </a:r>
            <a:endParaRPr kumimoji="1" lang="zh-CN" altLang="en-US" sz="6600" dirty="0">
              <a:ln w="15875">
                <a:solidFill>
                  <a:schemeClr val="bg1"/>
                </a:solidFill>
              </a:ln>
              <a:noFill/>
              <a:latin typeface="+mj-ea"/>
              <a:ea typeface="+mj-ea"/>
            </a:endParaRPr>
          </a:p>
        </p:txBody>
      </p:sp>
    </p:spTree>
    <p:extLst>
      <p:ext uri="{BB962C8B-B14F-4D97-AF65-F5344CB8AC3E}">
        <p14:creationId xmlns:p14="http://schemas.microsoft.com/office/powerpoint/2010/main" val="404805115"/>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a:extLst>
              <a:ext uri="{FF2B5EF4-FFF2-40B4-BE49-F238E27FC236}">
                <a16:creationId xmlns:a16="http://schemas.microsoft.com/office/drawing/2014/main" id="{33E6D9B2-037D-E646-AE10-C8165B92701D}"/>
              </a:ext>
            </a:extLst>
          </p:cNvPr>
          <p:cNvSpPr/>
          <p:nvPr/>
        </p:nvSpPr>
        <p:spPr>
          <a:xfrm>
            <a:off x="0" y="2410690"/>
            <a:ext cx="12192000" cy="2888674"/>
          </a:xfrm>
          <a:prstGeom prst="rect">
            <a:avLst/>
          </a:prstGeom>
          <a:solidFill>
            <a:schemeClr val="accent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4" name="文本框 3">
            <a:extLst>
              <a:ext uri="{FF2B5EF4-FFF2-40B4-BE49-F238E27FC236}">
                <a16:creationId xmlns:a16="http://schemas.microsoft.com/office/drawing/2014/main" id="{90C0D8A3-AFF0-244D-89A8-110D477A9CC0}"/>
              </a:ext>
            </a:extLst>
          </p:cNvPr>
          <p:cNvSpPr txBox="1"/>
          <p:nvPr/>
        </p:nvSpPr>
        <p:spPr>
          <a:xfrm>
            <a:off x="725558" y="3411501"/>
            <a:ext cx="4616648" cy="1107996"/>
          </a:xfrm>
          <a:prstGeom prst="rect">
            <a:avLst/>
          </a:prstGeom>
          <a:noFill/>
        </p:spPr>
        <p:txBody>
          <a:bodyPr wrap="none" lIns="0" tIns="0" rIns="0" bIns="0" rtlCol="0" anchor="t">
            <a:spAutoFit/>
          </a:bodyPr>
          <a:lstStyle/>
          <a:p>
            <a:r>
              <a:rPr kumimoji="1" lang="zh-CN" altLang="en-US" sz="7200" dirty="0">
                <a:solidFill>
                  <a:schemeClr val="bg1"/>
                </a:solidFill>
                <a:latin typeface="+mj-ea"/>
                <a:ea typeface="+mj-ea"/>
              </a:rPr>
              <a:t>过渡页标题</a:t>
            </a:r>
          </a:p>
        </p:txBody>
      </p:sp>
      <p:sp>
        <p:nvSpPr>
          <p:cNvPr id="7" name="文本框 6">
            <a:extLst>
              <a:ext uri="{FF2B5EF4-FFF2-40B4-BE49-F238E27FC236}">
                <a16:creationId xmlns:a16="http://schemas.microsoft.com/office/drawing/2014/main" id="{F38A9374-E807-3845-A0FA-FB9721054758}"/>
              </a:ext>
            </a:extLst>
          </p:cNvPr>
          <p:cNvSpPr txBox="1"/>
          <p:nvPr/>
        </p:nvSpPr>
        <p:spPr>
          <a:xfrm>
            <a:off x="725558" y="640975"/>
            <a:ext cx="1676741" cy="1769715"/>
          </a:xfrm>
          <a:prstGeom prst="rect">
            <a:avLst/>
          </a:prstGeom>
          <a:noFill/>
        </p:spPr>
        <p:txBody>
          <a:bodyPr wrap="none" lIns="0" tIns="0" rIns="0" bIns="0" rtlCol="0" anchor="t">
            <a:spAutoFit/>
          </a:bodyPr>
          <a:lstStyle/>
          <a:p>
            <a:r>
              <a:rPr kumimoji="1" lang="en-US" altLang="zh-CN" sz="11500" dirty="0">
                <a:solidFill>
                  <a:schemeClr val="accent1"/>
                </a:solidFill>
                <a:latin typeface="+mj-ea"/>
                <a:ea typeface="+mj-ea"/>
              </a:rPr>
              <a:t>01</a:t>
            </a:r>
            <a:endParaRPr kumimoji="1" lang="zh-CN" altLang="en-US" sz="11500" dirty="0">
              <a:solidFill>
                <a:schemeClr val="accent1"/>
              </a:solidFill>
              <a:latin typeface="+mj-ea"/>
              <a:ea typeface="+mj-ea"/>
            </a:endParaRPr>
          </a:p>
        </p:txBody>
      </p:sp>
      <p:sp>
        <p:nvSpPr>
          <p:cNvPr id="8" name="文本框 7">
            <a:extLst>
              <a:ext uri="{FF2B5EF4-FFF2-40B4-BE49-F238E27FC236}">
                <a16:creationId xmlns:a16="http://schemas.microsoft.com/office/drawing/2014/main" id="{18A6CFE9-BA6C-F140-AA06-3152E80557E8}"/>
              </a:ext>
            </a:extLst>
          </p:cNvPr>
          <p:cNvSpPr txBox="1"/>
          <p:nvPr/>
        </p:nvSpPr>
        <p:spPr>
          <a:xfrm>
            <a:off x="2402299" y="862446"/>
            <a:ext cx="575479" cy="553998"/>
          </a:xfrm>
          <a:prstGeom prst="rect">
            <a:avLst/>
          </a:prstGeom>
          <a:noFill/>
        </p:spPr>
        <p:txBody>
          <a:bodyPr wrap="none" lIns="0" tIns="0" rIns="0" bIns="0" rtlCol="0" anchor="t">
            <a:spAutoFit/>
          </a:bodyPr>
          <a:lstStyle/>
          <a:p>
            <a:pPr algn="l"/>
            <a:r>
              <a:rPr kumimoji="1" lang="en-US" altLang="zh-CN" dirty="0">
                <a:solidFill>
                  <a:schemeClr val="accent1">
                    <a:lumMod val="100000"/>
                  </a:schemeClr>
                </a:solidFill>
              </a:rPr>
              <a:t>PART</a:t>
            </a:r>
          </a:p>
          <a:p>
            <a:pPr algn="l"/>
            <a:r>
              <a:rPr kumimoji="1" lang="en-US" altLang="zh-CN" dirty="0">
                <a:solidFill>
                  <a:schemeClr val="accent1">
                    <a:lumMod val="100000"/>
                  </a:schemeClr>
                </a:solidFill>
              </a:rPr>
              <a:t>ONE</a:t>
            </a:r>
          </a:p>
        </p:txBody>
      </p:sp>
      <p:sp>
        <p:nvSpPr>
          <p:cNvPr id="9" name="矩形 8">
            <a:extLst>
              <a:ext uri="{FF2B5EF4-FFF2-40B4-BE49-F238E27FC236}">
                <a16:creationId xmlns:a16="http://schemas.microsoft.com/office/drawing/2014/main" id="{2A719920-9C33-A945-BFE8-6B1A3E259153}"/>
              </a:ext>
            </a:extLst>
          </p:cNvPr>
          <p:cNvSpPr/>
          <p:nvPr/>
        </p:nvSpPr>
        <p:spPr>
          <a:xfrm>
            <a:off x="800101" y="2954004"/>
            <a:ext cx="498763" cy="72737"/>
          </a:xfrm>
          <a:prstGeom prst="rect">
            <a:avLst/>
          </a:prstGeom>
          <a:solidFill>
            <a:schemeClr val="bg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0" name="文本框 9">
            <a:extLst>
              <a:ext uri="{FF2B5EF4-FFF2-40B4-BE49-F238E27FC236}">
                <a16:creationId xmlns:a16="http://schemas.microsoft.com/office/drawing/2014/main" id="{0E13F60E-2109-3C42-ABD7-B137985815D8}"/>
              </a:ext>
            </a:extLst>
          </p:cNvPr>
          <p:cNvSpPr txBox="1"/>
          <p:nvPr/>
        </p:nvSpPr>
        <p:spPr>
          <a:xfrm>
            <a:off x="753999" y="4519497"/>
            <a:ext cx="4559765" cy="307777"/>
          </a:xfrm>
          <a:prstGeom prst="rect">
            <a:avLst/>
          </a:prstGeom>
          <a:noFill/>
        </p:spPr>
        <p:txBody>
          <a:bodyPr wrap="square" lIns="0" tIns="0" rIns="0" bIns="0" rtlCol="0" anchor="t">
            <a:spAutoFit/>
          </a:bodyPr>
          <a:lstStyle/>
          <a:p>
            <a:pPr algn="dist"/>
            <a:r>
              <a:rPr kumimoji="1" lang="en-US" altLang="zh-CN" sz="2000" dirty="0">
                <a:solidFill>
                  <a:schemeClr val="bg1"/>
                </a:solidFill>
              </a:rPr>
              <a:t>Transition Page Title</a:t>
            </a:r>
            <a:endParaRPr kumimoji="1" lang="zh-CN" altLang="en-US" sz="2000" dirty="0">
              <a:solidFill>
                <a:schemeClr val="bg1"/>
              </a:solidFill>
            </a:endParaRPr>
          </a:p>
        </p:txBody>
      </p:sp>
    </p:spTree>
    <p:extLst>
      <p:ext uri="{BB962C8B-B14F-4D97-AF65-F5344CB8AC3E}">
        <p14:creationId xmlns:p14="http://schemas.microsoft.com/office/powerpoint/2010/main" val="2054390506"/>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组合 4">
            <a:extLst>
              <a:ext uri="{FF2B5EF4-FFF2-40B4-BE49-F238E27FC236}">
                <a16:creationId xmlns:a16="http://schemas.microsoft.com/office/drawing/2014/main" id="{2706B906-549C-874E-934A-EA624DFD4C37}"/>
              </a:ext>
            </a:extLst>
          </p:cNvPr>
          <p:cNvGrpSpPr/>
          <p:nvPr/>
        </p:nvGrpSpPr>
        <p:grpSpPr>
          <a:xfrm>
            <a:off x="2220447" y="1939337"/>
            <a:ext cx="2720628" cy="1883103"/>
            <a:chOff x="2961408" y="2130137"/>
            <a:chExt cx="3287423" cy="2275417"/>
          </a:xfrm>
        </p:grpSpPr>
        <p:sp>
          <p:nvSpPr>
            <p:cNvPr id="3" name="矩形 2">
              <a:extLst>
                <a:ext uri="{FF2B5EF4-FFF2-40B4-BE49-F238E27FC236}">
                  <a16:creationId xmlns:a16="http://schemas.microsoft.com/office/drawing/2014/main" id="{2D170936-C4CB-464B-AD29-85E1229BFEAF}"/>
                </a:ext>
              </a:extLst>
            </p:cNvPr>
            <p:cNvSpPr/>
            <p:nvPr/>
          </p:nvSpPr>
          <p:spPr>
            <a:xfrm>
              <a:off x="3647208" y="2130137"/>
              <a:ext cx="2601623" cy="2275417"/>
            </a:xfrm>
            <a:prstGeom prst="rect">
              <a:avLst/>
            </a:prstGeom>
            <a:noFill/>
            <a:ln w="38100" cap="flat" cmpd="sng" algn="ctr">
              <a:solidFill>
                <a:schemeClr val="accent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2" name="矩形 1">
              <a:extLst>
                <a:ext uri="{FF2B5EF4-FFF2-40B4-BE49-F238E27FC236}">
                  <a16:creationId xmlns:a16="http://schemas.microsoft.com/office/drawing/2014/main" id="{F9B60DC9-F0EE-1843-920C-D071FA2A67AA}"/>
                </a:ext>
              </a:extLst>
            </p:cNvPr>
            <p:cNvSpPr/>
            <p:nvPr/>
          </p:nvSpPr>
          <p:spPr>
            <a:xfrm>
              <a:off x="2961408" y="2130137"/>
              <a:ext cx="1226128" cy="2275417"/>
            </a:xfrm>
            <a:prstGeom prst="rect">
              <a:avLst/>
            </a:prstGeom>
            <a:solidFill>
              <a:schemeClr val="accent1"/>
            </a:solidFill>
            <a:ln w="38100" cap="flat" cmpd="sng" algn="ctr">
              <a:solidFill>
                <a:schemeClr val="accent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grpSp>
      <p:sp>
        <p:nvSpPr>
          <p:cNvPr id="4" name="文本框 3">
            <a:extLst>
              <a:ext uri="{FF2B5EF4-FFF2-40B4-BE49-F238E27FC236}">
                <a16:creationId xmlns:a16="http://schemas.microsoft.com/office/drawing/2014/main" id="{DC6FBA89-F7A2-1B42-A7B6-5B4CDB273AA5}"/>
              </a:ext>
            </a:extLst>
          </p:cNvPr>
          <p:cNvSpPr txBox="1"/>
          <p:nvPr/>
        </p:nvSpPr>
        <p:spPr>
          <a:xfrm>
            <a:off x="3461350" y="2198200"/>
            <a:ext cx="1253548" cy="1477328"/>
          </a:xfrm>
          <a:prstGeom prst="rect">
            <a:avLst/>
          </a:prstGeom>
          <a:noFill/>
        </p:spPr>
        <p:txBody>
          <a:bodyPr wrap="none" lIns="0" tIns="0" rIns="0" bIns="0" rtlCol="0" anchor="t">
            <a:spAutoFit/>
          </a:bodyPr>
          <a:lstStyle/>
          <a:p>
            <a:pPr algn="l"/>
            <a:r>
              <a:rPr kumimoji="1" lang="en-US" altLang="zh-CN" sz="9600" dirty="0">
                <a:solidFill>
                  <a:schemeClr val="accent1"/>
                </a:solidFill>
              </a:rPr>
              <a:t>01</a:t>
            </a:r>
            <a:endParaRPr kumimoji="1" lang="zh-CN" altLang="en-US" sz="9600" dirty="0">
              <a:solidFill>
                <a:schemeClr val="accent1"/>
              </a:solidFill>
            </a:endParaRPr>
          </a:p>
        </p:txBody>
      </p:sp>
      <p:sp>
        <p:nvSpPr>
          <p:cNvPr id="6" name="文本框 5">
            <a:extLst>
              <a:ext uri="{FF2B5EF4-FFF2-40B4-BE49-F238E27FC236}">
                <a16:creationId xmlns:a16="http://schemas.microsoft.com/office/drawing/2014/main" id="{837B8593-83CF-FA4E-A553-80EC8E9C8898}"/>
              </a:ext>
            </a:extLst>
          </p:cNvPr>
          <p:cNvSpPr txBox="1"/>
          <p:nvPr/>
        </p:nvSpPr>
        <p:spPr>
          <a:xfrm>
            <a:off x="2543144" y="2198200"/>
            <a:ext cx="369332" cy="1498808"/>
          </a:xfrm>
          <a:prstGeom prst="rect">
            <a:avLst/>
          </a:prstGeom>
          <a:noFill/>
        </p:spPr>
        <p:txBody>
          <a:bodyPr vert="eaVert" wrap="none" lIns="0" tIns="0" rIns="0" bIns="0" rtlCol="0" anchor="t">
            <a:spAutoFit/>
          </a:bodyPr>
          <a:lstStyle/>
          <a:p>
            <a:pPr algn="l"/>
            <a:r>
              <a:rPr kumimoji="1" lang="en-US" altLang="zh-CN" sz="2400" dirty="0">
                <a:solidFill>
                  <a:schemeClr val="bg1"/>
                </a:solidFill>
              </a:rPr>
              <a:t>PART</a:t>
            </a:r>
            <a:r>
              <a:rPr kumimoji="1" lang="zh-CN" altLang="en-US" sz="2400" dirty="0">
                <a:solidFill>
                  <a:schemeClr val="bg1"/>
                </a:solidFill>
              </a:rPr>
              <a:t> </a:t>
            </a:r>
            <a:r>
              <a:rPr kumimoji="1" lang="en-US" altLang="zh-CN" sz="2400" dirty="0">
                <a:solidFill>
                  <a:schemeClr val="bg1"/>
                </a:solidFill>
              </a:rPr>
              <a:t>ONE</a:t>
            </a:r>
            <a:endParaRPr kumimoji="1" lang="zh-CN" altLang="en-US" sz="2400" dirty="0">
              <a:solidFill>
                <a:schemeClr val="bg1"/>
              </a:solidFill>
            </a:endParaRPr>
          </a:p>
        </p:txBody>
      </p:sp>
      <p:sp>
        <p:nvSpPr>
          <p:cNvPr id="7" name="文本框 6">
            <a:extLst>
              <a:ext uri="{FF2B5EF4-FFF2-40B4-BE49-F238E27FC236}">
                <a16:creationId xmlns:a16="http://schemas.microsoft.com/office/drawing/2014/main" id="{B295598B-E544-724A-A9E5-C1B317FD3631}"/>
              </a:ext>
            </a:extLst>
          </p:cNvPr>
          <p:cNvSpPr txBox="1"/>
          <p:nvPr/>
        </p:nvSpPr>
        <p:spPr>
          <a:xfrm>
            <a:off x="5354905" y="1860039"/>
            <a:ext cx="4616648" cy="1107996"/>
          </a:xfrm>
          <a:prstGeom prst="rect">
            <a:avLst/>
          </a:prstGeom>
          <a:noFill/>
        </p:spPr>
        <p:txBody>
          <a:bodyPr wrap="none" lIns="0" tIns="0" rIns="0" bIns="0" rtlCol="0" anchor="t">
            <a:spAutoFit/>
          </a:bodyPr>
          <a:lstStyle/>
          <a:p>
            <a:r>
              <a:rPr kumimoji="1" lang="zh-CN" altLang="en-US" sz="7200" dirty="0">
                <a:solidFill>
                  <a:schemeClr val="accent1"/>
                </a:solidFill>
                <a:latin typeface="+mj-ea"/>
                <a:ea typeface="+mj-ea"/>
              </a:rPr>
              <a:t>过渡页标题</a:t>
            </a:r>
          </a:p>
        </p:txBody>
      </p:sp>
      <p:sp>
        <p:nvSpPr>
          <p:cNvPr id="8" name="文本框 7">
            <a:extLst>
              <a:ext uri="{FF2B5EF4-FFF2-40B4-BE49-F238E27FC236}">
                <a16:creationId xmlns:a16="http://schemas.microsoft.com/office/drawing/2014/main" id="{41618FF7-B713-3A48-9649-BFD9838B41CE}"/>
              </a:ext>
            </a:extLst>
          </p:cNvPr>
          <p:cNvSpPr txBox="1"/>
          <p:nvPr/>
        </p:nvSpPr>
        <p:spPr>
          <a:xfrm>
            <a:off x="5383346" y="2988818"/>
            <a:ext cx="4559765" cy="307777"/>
          </a:xfrm>
          <a:prstGeom prst="rect">
            <a:avLst/>
          </a:prstGeom>
          <a:noFill/>
        </p:spPr>
        <p:txBody>
          <a:bodyPr wrap="square" lIns="0" tIns="0" rIns="0" bIns="0" rtlCol="0" anchor="t">
            <a:spAutoFit/>
          </a:bodyPr>
          <a:lstStyle/>
          <a:p>
            <a:pPr algn="dist"/>
            <a:r>
              <a:rPr kumimoji="1" lang="en-US" altLang="zh-CN" sz="2000" dirty="0">
                <a:solidFill>
                  <a:schemeClr val="accent1">
                    <a:lumMod val="100000"/>
                  </a:schemeClr>
                </a:solidFill>
              </a:rPr>
              <a:t>Transition Page Title</a:t>
            </a:r>
            <a:endParaRPr kumimoji="1" lang="zh-CN" altLang="en-US" sz="2000" dirty="0">
              <a:solidFill>
                <a:schemeClr val="accent1">
                  <a:lumMod val="100000"/>
                </a:schemeClr>
              </a:solidFill>
            </a:endParaRPr>
          </a:p>
        </p:txBody>
      </p:sp>
      <p:sp>
        <p:nvSpPr>
          <p:cNvPr id="9" name="椭圆 8">
            <a:extLst>
              <a:ext uri="{FF2B5EF4-FFF2-40B4-BE49-F238E27FC236}">
                <a16:creationId xmlns:a16="http://schemas.microsoft.com/office/drawing/2014/main" id="{12E5B6AF-870B-804E-AF14-E1950676A8C9}"/>
              </a:ext>
            </a:extLst>
          </p:cNvPr>
          <p:cNvSpPr>
            <a:spLocks noChangeAspect="1"/>
          </p:cNvSpPr>
          <p:nvPr/>
        </p:nvSpPr>
        <p:spPr>
          <a:xfrm>
            <a:off x="5383346" y="3641837"/>
            <a:ext cx="180000" cy="180000"/>
          </a:xfrm>
          <a:prstGeom prst="ellipse">
            <a:avLst/>
          </a:prstGeom>
          <a:solidFill>
            <a:schemeClr val="accent1"/>
          </a:solidFill>
          <a:ln w="12700" cap="flat" cmpd="sng" algn="ctr">
            <a:noFill/>
            <a:prstDash val="solid"/>
            <a:miter lim="800000"/>
          </a:ln>
          <a:effectLst/>
          <a:extLst>
            <a:ext uri="{91240B29-F687-4F45-9708-019B960494DF}">
              <a14:hiddenLine xmlns:a14="http://schemas.microsoft.com/office/drawing/2010/main" w="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0" name="椭圆 9">
            <a:extLst>
              <a:ext uri="{FF2B5EF4-FFF2-40B4-BE49-F238E27FC236}">
                <a16:creationId xmlns:a16="http://schemas.microsoft.com/office/drawing/2014/main" id="{38A9840D-3C2C-8349-AD40-732CF7218D70}"/>
              </a:ext>
            </a:extLst>
          </p:cNvPr>
          <p:cNvSpPr>
            <a:spLocks noChangeAspect="1"/>
          </p:cNvSpPr>
          <p:nvPr/>
        </p:nvSpPr>
        <p:spPr>
          <a:xfrm>
            <a:off x="5786758" y="3641837"/>
            <a:ext cx="180000" cy="180000"/>
          </a:xfrm>
          <a:prstGeom prst="ellipse">
            <a:avLst/>
          </a:prstGeom>
          <a:solidFill>
            <a:schemeClr val="accent1"/>
          </a:solidFill>
          <a:ln w="12700" cap="flat" cmpd="sng" algn="ctr">
            <a:noFill/>
            <a:prstDash val="solid"/>
            <a:miter lim="800000"/>
          </a:ln>
          <a:effectLst/>
          <a:extLst>
            <a:ext uri="{91240B29-F687-4F45-9708-019B960494DF}">
              <a14:hiddenLine xmlns:a14="http://schemas.microsoft.com/office/drawing/2010/main" w="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1" name="椭圆 10">
            <a:extLst>
              <a:ext uri="{FF2B5EF4-FFF2-40B4-BE49-F238E27FC236}">
                <a16:creationId xmlns:a16="http://schemas.microsoft.com/office/drawing/2014/main" id="{E36CCE82-8E80-C145-AB60-4D045E0A6A94}"/>
              </a:ext>
            </a:extLst>
          </p:cNvPr>
          <p:cNvSpPr>
            <a:spLocks noChangeAspect="1"/>
          </p:cNvSpPr>
          <p:nvPr/>
        </p:nvSpPr>
        <p:spPr>
          <a:xfrm>
            <a:off x="6190170" y="3641837"/>
            <a:ext cx="180000" cy="180000"/>
          </a:xfrm>
          <a:prstGeom prst="ellipse">
            <a:avLst/>
          </a:prstGeom>
          <a:solidFill>
            <a:schemeClr val="accent1"/>
          </a:solidFill>
          <a:ln w="12700" cap="flat" cmpd="sng" algn="ctr">
            <a:noFill/>
            <a:prstDash val="solid"/>
            <a:miter lim="800000"/>
          </a:ln>
          <a:effectLst/>
          <a:extLst>
            <a:ext uri="{91240B29-F687-4F45-9708-019B960494DF}">
              <a14:hiddenLine xmlns:a14="http://schemas.microsoft.com/office/drawing/2010/main" w="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4" name="矩形 13">
            <a:extLst>
              <a:ext uri="{FF2B5EF4-FFF2-40B4-BE49-F238E27FC236}">
                <a16:creationId xmlns:a16="http://schemas.microsoft.com/office/drawing/2014/main" id="{295F8B3F-CC2C-2247-B026-B4C7D6BCBDA5}"/>
              </a:ext>
            </a:extLst>
          </p:cNvPr>
          <p:cNvSpPr/>
          <p:nvPr/>
        </p:nvSpPr>
        <p:spPr>
          <a:xfrm>
            <a:off x="0" y="5141843"/>
            <a:ext cx="12192000" cy="1716157"/>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Tree>
    <p:extLst>
      <p:ext uri="{BB962C8B-B14F-4D97-AF65-F5344CB8AC3E}">
        <p14:creationId xmlns:p14="http://schemas.microsoft.com/office/powerpoint/2010/main" val="2080482601"/>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椭圆 9">
            <a:extLst>
              <a:ext uri="{FF2B5EF4-FFF2-40B4-BE49-F238E27FC236}">
                <a16:creationId xmlns:a16="http://schemas.microsoft.com/office/drawing/2014/main" id="{100D2F15-AB07-CA4B-BD3D-E98DDACA42A9}"/>
              </a:ext>
            </a:extLst>
          </p:cNvPr>
          <p:cNvSpPr/>
          <p:nvPr/>
        </p:nvSpPr>
        <p:spPr>
          <a:xfrm>
            <a:off x="-1736647" y="4743780"/>
            <a:ext cx="3473294" cy="3473294"/>
          </a:xfrm>
          <a:prstGeom prst="ellipse">
            <a:avLst/>
          </a:prstGeom>
          <a:gradFill>
            <a:gsLst>
              <a:gs pos="79000">
                <a:schemeClr val="accent1">
                  <a:alpha val="0"/>
                </a:schemeClr>
              </a:gs>
              <a:gs pos="0">
                <a:schemeClr val="accent1">
                  <a:alpha val="18000"/>
                </a:schemeClr>
              </a:gs>
            </a:gsLst>
            <a:lin ang="8400000" scaled="0"/>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8" name="平行四边形 7">
            <a:extLst>
              <a:ext uri="{FF2B5EF4-FFF2-40B4-BE49-F238E27FC236}">
                <a16:creationId xmlns:a16="http://schemas.microsoft.com/office/drawing/2014/main" id="{4BFDA509-6527-5740-BC66-1A375117D8E1}"/>
              </a:ext>
            </a:extLst>
          </p:cNvPr>
          <p:cNvSpPr/>
          <p:nvPr/>
        </p:nvSpPr>
        <p:spPr>
          <a:xfrm>
            <a:off x="2935760" y="4045194"/>
            <a:ext cx="6156476" cy="276999"/>
          </a:xfrm>
          <a:prstGeom prst="parallelogram">
            <a:avLst>
              <a:gd name="adj" fmla="val 27548"/>
            </a:avLst>
          </a:prstGeom>
          <a:gradFill>
            <a:gsLst>
              <a:gs pos="100000">
                <a:schemeClr val="accent1">
                  <a:alpha val="0"/>
                </a:schemeClr>
              </a:gs>
              <a:gs pos="0">
                <a:schemeClr val="accent1">
                  <a:alpha val="55000"/>
                </a:schemeClr>
              </a:gs>
            </a:gsLst>
            <a:lin ang="10800000" scaled="0"/>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5" name="平行四边形 4">
            <a:extLst>
              <a:ext uri="{FF2B5EF4-FFF2-40B4-BE49-F238E27FC236}">
                <a16:creationId xmlns:a16="http://schemas.microsoft.com/office/drawing/2014/main" id="{C9C90852-C63D-9B41-99BD-23B79564AADF}"/>
              </a:ext>
            </a:extLst>
          </p:cNvPr>
          <p:cNvSpPr/>
          <p:nvPr/>
        </p:nvSpPr>
        <p:spPr>
          <a:xfrm>
            <a:off x="3710240" y="2398678"/>
            <a:ext cx="5635780" cy="1827180"/>
          </a:xfrm>
          <a:prstGeom prst="parallelogram">
            <a:avLst>
              <a:gd name="adj" fmla="val 27548"/>
            </a:avLst>
          </a:prstGeom>
          <a:solidFill>
            <a:schemeClr val="accent1"/>
          </a:solidFill>
          <a:ln w="12700" cap="flat" cmpd="sng" algn="ctr">
            <a:noFill/>
            <a:prstDash val="solid"/>
            <a:miter lim="800000"/>
          </a:ln>
          <a:effectLst/>
          <a:extLst>
            <a:ext uri="{91240B29-F687-4F45-9708-019B960494DF}">
              <a14:hiddenLine xmlns:a14="http://schemas.microsoft.com/office/drawing/2010/main" w="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2" name="文本框 1">
            <a:extLst>
              <a:ext uri="{FF2B5EF4-FFF2-40B4-BE49-F238E27FC236}">
                <a16:creationId xmlns:a16="http://schemas.microsoft.com/office/drawing/2014/main" id="{A91ECECE-1D2E-054B-A8D2-F79B4CE120B8}"/>
              </a:ext>
            </a:extLst>
          </p:cNvPr>
          <p:cNvSpPr txBox="1"/>
          <p:nvPr/>
        </p:nvSpPr>
        <p:spPr>
          <a:xfrm>
            <a:off x="4492976" y="2603016"/>
            <a:ext cx="4231928" cy="1015663"/>
          </a:xfrm>
          <a:prstGeom prst="rect">
            <a:avLst/>
          </a:prstGeom>
          <a:noFill/>
        </p:spPr>
        <p:txBody>
          <a:bodyPr wrap="none" lIns="0" tIns="0" rIns="0" bIns="0" rtlCol="0" anchor="t">
            <a:spAutoFit/>
          </a:bodyPr>
          <a:lstStyle/>
          <a:p>
            <a:r>
              <a:rPr kumimoji="1" lang="zh-CN" altLang="en-US" sz="6600" dirty="0">
                <a:solidFill>
                  <a:schemeClr val="bg1"/>
                </a:solidFill>
                <a:latin typeface="+mj-ea"/>
                <a:ea typeface="+mj-ea"/>
              </a:rPr>
              <a:t>过渡页标题</a:t>
            </a:r>
          </a:p>
        </p:txBody>
      </p:sp>
      <p:sp>
        <p:nvSpPr>
          <p:cNvPr id="3" name="文本框 2">
            <a:extLst>
              <a:ext uri="{FF2B5EF4-FFF2-40B4-BE49-F238E27FC236}">
                <a16:creationId xmlns:a16="http://schemas.microsoft.com/office/drawing/2014/main" id="{9F1CEE21-5735-1841-AE95-D02D78C8435D}"/>
              </a:ext>
            </a:extLst>
          </p:cNvPr>
          <p:cNvSpPr txBox="1"/>
          <p:nvPr/>
        </p:nvSpPr>
        <p:spPr>
          <a:xfrm>
            <a:off x="2241889" y="1388614"/>
            <a:ext cx="1468351" cy="3677930"/>
          </a:xfrm>
          <a:prstGeom prst="rect">
            <a:avLst/>
          </a:prstGeom>
          <a:noFill/>
        </p:spPr>
        <p:txBody>
          <a:bodyPr wrap="none" lIns="0" tIns="0" rIns="0" bIns="0" rtlCol="0" anchor="t">
            <a:spAutoFit/>
          </a:bodyPr>
          <a:lstStyle/>
          <a:p>
            <a:r>
              <a:rPr kumimoji="1" lang="en-US" altLang="zh-CN" sz="23900" i="1" dirty="0">
                <a:solidFill>
                  <a:schemeClr val="accent1"/>
                </a:solidFill>
                <a:latin typeface="+mj-ea"/>
                <a:ea typeface="+mj-ea"/>
              </a:rPr>
              <a:t>1</a:t>
            </a:r>
            <a:endParaRPr kumimoji="1" lang="zh-CN" altLang="en-US" sz="23900" i="1" dirty="0">
              <a:solidFill>
                <a:schemeClr val="accent1"/>
              </a:solidFill>
              <a:latin typeface="+mj-ea"/>
              <a:ea typeface="+mj-ea"/>
            </a:endParaRPr>
          </a:p>
        </p:txBody>
      </p:sp>
      <p:sp>
        <p:nvSpPr>
          <p:cNvPr id="4" name="文本框 3">
            <a:extLst>
              <a:ext uri="{FF2B5EF4-FFF2-40B4-BE49-F238E27FC236}">
                <a16:creationId xmlns:a16="http://schemas.microsoft.com/office/drawing/2014/main" id="{AD2AA09D-5BEE-324F-8EBC-F8EDE7ACCC5E}"/>
              </a:ext>
            </a:extLst>
          </p:cNvPr>
          <p:cNvSpPr txBox="1"/>
          <p:nvPr/>
        </p:nvSpPr>
        <p:spPr>
          <a:xfrm>
            <a:off x="4492976" y="3617878"/>
            <a:ext cx="4104756" cy="276999"/>
          </a:xfrm>
          <a:prstGeom prst="rect">
            <a:avLst/>
          </a:prstGeom>
          <a:noFill/>
        </p:spPr>
        <p:txBody>
          <a:bodyPr wrap="square" lIns="0" tIns="0" rIns="0" bIns="0" rtlCol="0" anchor="t">
            <a:spAutoFit/>
          </a:bodyPr>
          <a:lstStyle/>
          <a:p>
            <a:pPr algn="dist"/>
            <a:r>
              <a:rPr kumimoji="1" lang="en-US" altLang="zh-CN" dirty="0">
                <a:solidFill>
                  <a:schemeClr val="bg1"/>
                </a:solidFill>
              </a:rPr>
              <a:t>Transition Page Title</a:t>
            </a:r>
            <a:endParaRPr kumimoji="1" lang="zh-CN" altLang="en-US" dirty="0">
              <a:solidFill>
                <a:schemeClr val="bg1"/>
              </a:solidFill>
            </a:endParaRPr>
          </a:p>
        </p:txBody>
      </p:sp>
      <p:sp>
        <p:nvSpPr>
          <p:cNvPr id="6" name="平行四边形 5">
            <a:extLst>
              <a:ext uri="{FF2B5EF4-FFF2-40B4-BE49-F238E27FC236}">
                <a16:creationId xmlns:a16="http://schemas.microsoft.com/office/drawing/2014/main" id="{D75DB722-386D-AF43-9573-DD597ECFA7ED}"/>
              </a:ext>
            </a:extLst>
          </p:cNvPr>
          <p:cNvSpPr/>
          <p:nvPr/>
        </p:nvSpPr>
        <p:spPr>
          <a:xfrm>
            <a:off x="2573313" y="3312268"/>
            <a:ext cx="515811" cy="1061392"/>
          </a:xfrm>
          <a:prstGeom prst="parallelogram">
            <a:avLst>
              <a:gd name="adj" fmla="val 72469"/>
            </a:avLst>
          </a:prstGeom>
          <a:gradFill>
            <a:gsLst>
              <a:gs pos="100000">
                <a:schemeClr val="accent1">
                  <a:alpha val="0"/>
                </a:schemeClr>
              </a:gs>
              <a:gs pos="0">
                <a:schemeClr val="accent1"/>
              </a:gs>
            </a:gsLst>
            <a:lin ang="5400000" scaled="1"/>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7" name="平行四边形 6">
            <a:extLst>
              <a:ext uri="{FF2B5EF4-FFF2-40B4-BE49-F238E27FC236}">
                <a16:creationId xmlns:a16="http://schemas.microsoft.com/office/drawing/2014/main" id="{75FC0B9C-D0DE-6F44-9AD1-7F8F283EA487}"/>
              </a:ext>
            </a:extLst>
          </p:cNvPr>
          <p:cNvSpPr/>
          <p:nvPr/>
        </p:nvSpPr>
        <p:spPr>
          <a:xfrm>
            <a:off x="3957167" y="1940669"/>
            <a:ext cx="288882" cy="594437"/>
          </a:xfrm>
          <a:prstGeom prst="parallelogram">
            <a:avLst>
              <a:gd name="adj" fmla="val 72469"/>
            </a:avLst>
          </a:prstGeom>
          <a:gradFill>
            <a:gsLst>
              <a:gs pos="100000">
                <a:schemeClr val="accent1">
                  <a:alpha val="0"/>
                </a:schemeClr>
              </a:gs>
              <a:gs pos="0">
                <a:schemeClr val="accent1"/>
              </a:gs>
            </a:gsLst>
            <a:lin ang="5400000" scaled="1"/>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9" name="平行四边形 8">
            <a:extLst>
              <a:ext uri="{FF2B5EF4-FFF2-40B4-BE49-F238E27FC236}">
                <a16:creationId xmlns:a16="http://schemas.microsoft.com/office/drawing/2014/main" id="{667C1907-A904-834A-8F8B-800A149C8CB9}"/>
              </a:ext>
            </a:extLst>
          </p:cNvPr>
          <p:cNvSpPr/>
          <p:nvPr/>
        </p:nvSpPr>
        <p:spPr>
          <a:xfrm>
            <a:off x="4246049" y="2102448"/>
            <a:ext cx="2949432" cy="165946"/>
          </a:xfrm>
          <a:prstGeom prst="parallelogram">
            <a:avLst>
              <a:gd name="adj" fmla="val 27548"/>
            </a:avLst>
          </a:prstGeom>
          <a:gradFill>
            <a:gsLst>
              <a:gs pos="100000">
                <a:schemeClr val="accent1">
                  <a:alpha val="0"/>
                </a:schemeClr>
              </a:gs>
              <a:gs pos="0">
                <a:schemeClr val="accent1">
                  <a:alpha val="55000"/>
                </a:schemeClr>
              </a:gs>
            </a:gsLst>
            <a:lin ang="10800000" scaled="0"/>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1" name="椭圆 10">
            <a:extLst>
              <a:ext uri="{FF2B5EF4-FFF2-40B4-BE49-F238E27FC236}">
                <a16:creationId xmlns:a16="http://schemas.microsoft.com/office/drawing/2014/main" id="{975DA6D1-AD9C-8C4B-945D-C0904557D784}"/>
              </a:ext>
            </a:extLst>
          </p:cNvPr>
          <p:cNvSpPr/>
          <p:nvPr/>
        </p:nvSpPr>
        <p:spPr>
          <a:xfrm>
            <a:off x="10598166" y="-1412011"/>
            <a:ext cx="3504788" cy="3504788"/>
          </a:xfrm>
          <a:prstGeom prst="ellipse">
            <a:avLst/>
          </a:prstGeom>
          <a:gradFill>
            <a:gsLst>
              <a:gs pos="100000">
                <a:schemeClr val="accent1">
                  <a:alpha val="0"/>
                </a:schemeClr>
              </a:gs>
              <a:gs pos="0">
                <a:schemeClr val="accent1">
                  <a:alpha val="18000"/>
                </a:schemeClr>
              </a:gs>
            </a:gsLst>
            <a:lin ang="8400000" scaled="0"/>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Tree>
    <p:extLst>
      <p:ext uri="{BB962C8B-B14F-4D97-AF65-F5344CB8AC3E}">
        <p14:creationId xmlns:p14="http://schemas.microsoft.com/office/powerpoint/2010/main" val="1209726248"/>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圆角矩形 1">
            <a:extLst>
              <a:ext uri="{FF2B5EF4-FFF2-40B4-BE49-F238E27FC236}">
                <a16:creationId xmlns:a16="http://schemas.microsoft.com/office/drawing/2014/main" id="{1092DA2F-90DB-614B-AD14-5CFA44B7B6E7}"/>
              </a:ext>
            </a:extLst>
          </p:cNvPr>
          <p:cNvSpPr/>
          <p:nvPr/>
        </p:nvSpPr>
        <p:spPr>
          <a:xfrm>
            <a:off x="542818" y="608744"/>
            <a:ext cx="11106364" cy="5640512"/>
          </a:xfrm>
          <a:prstGeom prst="roundRect">
            <a:avLst>
              <a:gd name="adj" fmla="val 6288"/>
            </a:avLst>
          </a:prstGeom>
          <a:solidFill>
            <a:schemeClr val="bg1">
              <a:lumMod val="85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3" name="对角圆角矩形 2">
            <a:extLst>
              <a:ext uri="{FF2B5EF4-FFF2-40B4-BE49-F238E27FC236}">
                <a16:creationId xmlns:a16="http://schemas.microsoft.com/office/drawing/2014/main" id="{3B33F8F8-0E54-E04E-AC6C-C99341544F3E}"/>
              </a:ext>
            </a:extLst>
          </p:cNvPr>
          <p:cNvSpPr/>
          <p:nvPr/>
        </p:nvSpPr>
        <p:spPr>
          <a:xfrm>
            <a:off x="6174769" y="3246634"/>
            <a:ext cx="5474413" cy="3002622"/>
          </a:xfrm>
          <a:prstGeom prst="round2DiagRect">
            <a:avLst>
              <a:gd name="adj1" fmla="val 10508"/>
              <a:gd name="adj2" fmla="val 0"/>
            </a:avLst>
          </a:prstGeom>
          <a:solidFill>
            <a:schemeClr val="accent1">
              <a:alpha val="13707"/>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4" name="文本框 3">
            <a:extLst>
              <a:ext uri="{FF2B5EF4-FFF2-40B4-BE49-F238E27FC236}">
                <a16:creationId xmlns:a16="http://schemas.microsoft.com/office/drawing/2014/main" id="{4EACD11F-A6F2-6441-A62E-312024CC13AB}"/>
              </a:ext>
            </a:extLst>
          </p:cNvPr>
          <p:cNvSpPr txBox="1"/>
          <p:nvPr/>
        </p:nvSpPr>
        <p:spPr>
          <a:xfrm>
            <a:off x="6684569" y="4462351"/>
            <a:ext cx="4616648" cy="1107996"/>
          </a:xfrm>
          <a:prstGeom prst="rect">
            <a:avLst/>
          </a:prstGeom>
          <a:noFill/>
        </p:spPr>
        <p:txBody>
          <a:bodyPr wrap="none" lIns="0" tIns="0" rIns="0" bIns="0" rtlCol="0" anchor="t">
            <a:spAutoFit/>
          </a:bodyPr>
          <a:lstStyle/>
          <a:p>
            <a:r>
              <a:rPr kumimoji="1" lang="zh-CN" altLang="en-US" sz="7200" dirty="0">
                <a:solidFill>
                  <a:schemeClr val="accent1"/>
                </a:solidFill>
                <a:latin typeface="+mj-ea"/>
                <a:ea typeface="+mj-ea"/>
              </a:rPr>
              <a:t>过渡页标题</a:t>
            </a:r>
          </a:p>
        </p:txBody>
      </p:sp>
      <p:sp>
        <p:nvSpPr>
          <p:cNvPr id="5" name="文本框 4">
            <a:extLst>
              <a:ext uri="{FF2B5EF4-FFF2-40B4-BE49-F238E27FC236}">
                <a16:creationId xmlns:a16="http://schemas.microsoft.com/office/drawing/2014/main" id="{6D75D482-206A-8E45-A39B-7E5E8C35A1A7}"/>
              </a:ext>
            </a:extLst>
          </p:cNvPr>
          <p:cNvSpPr txBox="1"/>
          <p:nvPr/>
        </p:nvSpPr>
        <p:spPr>
          <a:xfrm>
            <a:off x="7987008" y="2510169"/>
            <a:ext cx="2011769" cy="2123658"/>
          </a:xfrm>
          <a:prstGeom prst="rect">
            <a:avLst/>
          </a:prstGeom>
          <a:noFill/>
        </p:spPr>
        <p:txBody>
          <a:bodyPr wrap="none" lIns="0" tIns="0" rIns="0" bIns="0" rtlCol="0" anchor="t">
            <a:spAutoFit/>
          </a:bodyPr>
          <a:lstStyle/>
          <a:p>
            <a:r>
              <a:rPr kumimoji="1" lang="en-US" altLang="zh-CN" sz="13800" dirty="0">
                <a:solidFill>
                  <a:schemeClr val="accent1"/>
                </a:solidFill>
                <a:latin typeface="+mj-ea"/>
                <a:ea typeface="+mj-ea"/>
              </a:rPr>
              <a:t>01</a:t>
            </a:r>
            <a:endParaRPr kumimoji="1" lang="zh-CN" altLang="en-US" sz="13800" dirty="0">
              <a:solidFill>
                <a:schemeClr val="accent1"/>
              </a:solidFill>
              <a:latin typeface="+mj-ea"/>
              <a:ea typeface="+mj-ea"/>
            </a:endParaRPr>
          </a:p>
        </p:txBody>
      </p:sp>
      <p:sp>
        <p:nvSpPr>
          <p:cNvPr id="6" name="文本框 5">
            <a:extLst>
              <a:ext uri="{FF2B5EF4-FFF2-40B4-BE49-F238E27FC236}">
                <a16:creationId xmlns:a16="http://schemas.microsoft.com/office/drawing/2014/main" id="{D3989ECD-98F7-F240-BB47-C0BD52161A99}"/>
              </a:ext>
            </a:extLst>
          </p:cNvPr>
          <p:cNvSpPr txBox="1"/>
          <p:nvPr/>
        </p:nvSpPr>
        <p:spPr>
          <a:xfrm>
            <a:off x="6713009" y="5570347"/>
            <a:ext cx="4559765" cy="307777"/>
          </a:xfrm>
          <a:prstGeom prst="rect">
            <a:avLst/>
          </a:prstGeom>
          <a:noFill/>
        </p:spPr>
        <p:txBody>
          <a:bodyPr wrap="square" lIns="0" tIns="0" rIns="0" bIns="0" rtlCol="0" anchor="t">
            <a:spAutoFit/>
          </a:bodyPr>
          <a:lstStyle/>
          <a:p>
            <a:pPr algn="dist"/>
            <a:r>
              <a:rPr kumimoji="1" lang="en-US" altLang="zh-CN" sz="2000" dirty="0">
                <a:solidFill>
                  <a:schemeClr val="accent1"/>
                </a:solidFill>
              </a:rPr>
              <a:t>Transition Page Title</a:t>
            </a:r>
            <a:endParaRPr kumimoji="1" lang="zh-CN" altLang="en-US" sz="2000" dirty="0">
              <a:solidFill>
                <a:schemeClr val="accent1"/>
              </a:solidFill>
            </a:endParaRPr>
          </a:p>
        </p:txBody>
      </p:sp>
      <p:sp>
        <p:nvSpPr>
          <p:cNvPr id="7" name="任意多边形: 形状 6">
            <a:extLst>
              <a:ext uri="{FF2B5EF4-FFF2-40B4-BE49-F238E27FC236}">
                <a16:creationId xmlns:a16="http://schemas.microsoft.com/office/drawing/2014/main" id="{41DF5470-5FEA-4B01-BA0B-055BB95FC2F9}"/>
              </a:ext>
            </a:extLst>
          </p:cNvPr>
          <p:cNvSpPr/>
          <p:nvPr/>
        </p:nvSpPr>
        <p:spPr>
          <a:xfrm>
            <a:off x="3595393" y="2943048"/>
            <a:ext cx="1219200" cy="1118208"/>
          </a:xfrm>
          <a:custGeom>
            <a:avLst/>
            <a:gdLst>
              <a:gd name="connsiteX0" fmla="*/ 1006264 w 1331826"/>
              <a:gd name="connsiteY0" fmla="*/ 238125 h 1221507"/>
              <a:gd name="connsiteX1" fmla="*/ 1123466 w 1331826"/>
              <a:gd name="connsiteY1" fmla="*/ 355327 h 1221507"/>
              <a:gd name="connsiteX2" fmla="*/ 1006264 w 1331826"/>
              <a:gd name="connsiteY2" fmla="*/ 472529 h 1221507"/>
              <a:gd name="connsiteX3" fmla="*/ 889062 w 1331826"/>
              <a:gd name="connsiteY3" fmla="*/ 355327 h 1221507"/>
              <a:gd name="connsiteX4" fmla="*/ 1006264 w 1331826"/>
              <a:gd name="connsiteY4" fmla="*/ 238125 h 1221507"/>
              <a:gd name="connsiteX5" fmla="*/ 172827 w 1331826"/>
              <a:gd name="connsiteY5" fmla="*/ 104180 h 1221507"/>
              <a:gd name="connsiteX6" fmla="*/ 105482 w 1331826"/>
              <a:gd name="connsiteY6" fmla="*/ 171152 h 1221507"/>
              <a:gd name="connsiteX7" fmla="*/ 105482 w 1331826"/>
              <a:gd name="connsiteY7" fmla="*/ 726281 h 1221507"/>
              <a:gd name="connsiteX8" fmla="*/ 179152 w 1331826"/>
              <a:gd name="connsiteY8" fmla="*/ 599777 h 1221507"/>
              <a:gd name="connsiteX9" fmla="*/ 303795 w 1331826"/>
              <a:gd name="connsiteY9" fmla="*/ 490761 h 1221507"/>
              <a:gd name="connsiteX10" fmla="*/ 414300 w 1331826"/>
              <a:gd name="connsiteY10" fmla="*/ 507504 h 1221507"/>
              <a:gd name="connsiteX11" fmla="*/ 731676 w 1331826"/>
              <a:gd name="connsiteY11" fmla="*/ 856878 h 1221507"/>
              <a:gd name="connsiteX12" fmla="*/ 780790 w 1331826"/>
              <a:gd name="connsiteY12" fmla="*/ 791022 h 1221507"/>
              <a:gd name="connsiteX13" fmla="*/ 988777 w 1331826"/>
              <a:gd name="connsiteY13" fmla="*/ 633264 h 1221507"/>
              <a:gd name="connsiteX14" fmla="*/ 1093329 w 1331826"/>
              <a:gd name="connsiteY14" fmla="*/ 666006 h 1221507"/>
              <a:gd name="connsiteX15" fmla="*/ 1227646 w 1331826"/>
              <a:gd name="connsiteY15" fmla="*/ 821159 h 1221507"/>
              <a:gd name="connsiteX16" fmla="*/ 1227646 w 1331826"/>
              <a:gd name="connsiteY16" fmla="*/ 171152 h 1221507"/>
              <a:gd name="connsiteX17" fmla="*/ 1160673 w 1331826"/>
              <a:gd name="connsiteY17" fmla="*/ 104180 h 1221507"/>
              <a:gd name="connsiteX18" fmla="*/ 172827 w 1331826"/>
              <a:gd name="connsiteY18" fmla="*/ 0 h 1221507"/>
              <a:gd name="connsiteX19" fmla="*/ 1160673 w 1331826"/>
              <a:gd name="connsiteY19" fmla="*/ 0 h 1221507"/>
              <a:gd name="connsiteX20" fmla="*/ 1331826 w 1331826"/>
              <a:gd name="connsiteY20" fmla="*/ 171152 h 1221507"/>
              <a:gd name="connsiteX21" fmla="*/ 1331826 w 1331826"/>
              <a:gd name="connsiteY21" fmla="*/ 1050355 h 1221507"/>
              <a:gd name="connsiteX22" fmla="*/ 1160673 w 1331826"/>
              <a:gd name="connsiteY22" fmla="*/ 1221507 h 1221507"/>
              <a:gd name="connsiteX23" fmla="*/ 172827 w 1331826"/>
              <a:gd name="connsiteY23" fmla="*/ 1221507 h 1221507"/>
              <a:gd name="connsiteX24" fmla="*/ 1674 w 1331826"/>
              <a:gd name="connsiteY24" fmla="*/ 1050355 h 1221507"/>
              <a:gd name="connsiteX25" fmla="*/ 1674 w 1331826"/>
              <a:gd name="connsiteY25" fmla="*/ 1006450 h 1221507"/>
              <a:gd name="connsiteX26" fmla="*/ 1674 w 1331826"/>
              <a:gd name="connsiteY26" fmla="*/ 980405 h 1221507"/>
              <a:gd name="connsiteX27" fmla="*/ 1674 w 1331826"/>
              <a:gd name="connsiteY27" fmla="*/ 171152 h 1221507"/>
              <a:gd name="connsiteX28" fmla="*/ 172827 w 1331826"/>
              <a:gd name="connsiteY28" fmla="*/ 0 h 1221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31826" h="1221507">
                <a:moveTo>
                  <a:pt x="1006264" y="238125"/>
                </a:moveTo>
                <a:cubicBezTo>
                  <a:pt x="1070993" y="238125"/>
                  <a:pt x="1123466" y="290598"/>
                  <a:pt x="1123466" y="355327"/>
                </a:cubicBezTo>
                <a:cubicBezTo>
                  <a:pt x="1123466" y="420056"/>
                  <a:pt x="1070993" y="472529"/>
                  <a:pt x="1006264" y="472529"/>
                </a:cubicBezTo>
                <a:cubicBezTo>
                  <a:pt x="941535" y="472529"/>
                  <a:pt x="889062" y="420056"/>
                  <a:pt x="889062" y="355327"/>
                </a:cubicBezTo>
                <a:cubicBezTo>
                  <a:pt x="889062" y="290598"/>
                  <a:pt x="941535" y="238125"/>
                  <a:pt x="1006264" y="238125"/>
                </a:cubicBezTo>
                <a:close/>
                <a:moveTo>
                  <a:pt x="172827" y="104180"/>
                </a:moveTo>
                <a:cubicBezTo>
                  <a:pt x="135620" y="104180"/>
                  <a:pt x="105854" y="133945"/>
                  <a:pt x="105482" y="171152"/>
                </a:cubicBezTo>
                <a:lnTo>
                  <a:pt x="105482" y="726281"/>
                </a:lnTo>
                <a:cubicBezTo>
                  <a:pt x="130411" y="676424"/>
                  <a:pt x="154967" y="634008"/>
                  <a:pt x="179152" y="599777"/>
                </a:cubicBezTo>
                <a:cubicBezTo>
                  <a:pt x="220824" y="540246"/>
                  <a:pt x="261751" y="504527"/>
                  <a:pt x="303795" y="490761"/>
                </a:cubicBezTo>
                <a:cubicBezTo>
                  <a:pt x="342491" y="478110"/>
                  <a:pt x="380442" y="483691"/>
                  <a:pt x="414300" y="507504"/>
                </a:cubicBezTo>
                <a:cubicBezTo>
                  <a:pt x="528526" y="587871"/>
                  <a:pt x="663215" y="762372"/>
                  <a:pt x="731676" y="856878"/>
                </a:cubicBezTo>
                <a:cubicBezTo>
                  <a:pt x="745443" y="837158"/>
                  <a:pt x="762186" y="814090"/>
                  <a:pt x="780790" y="791022"/>
                </a:cubicBezTo>
                <a:cubicBezTo>
                  <a:pt x="858552" y="693911"/>
                  <a:pt x="926641" y="642193"/>
                  <a:pt x="988777" y="633264"/>
                </a:cubicBezTo>
                <a:cubicBezTo>
                  <a:pt x="1028216" y="627683"/>
                  <a:pt x="1064307" y="638845"/>
                  <a:pt x="1093329" y="666006"/>
                </a:cubicBezTo>
                <a:cubicBezTo>
                  <a:pt x="1142070" y="711398"/>
                  <a:pt x="1188951" y="768697"/>
                  <a:pt x="1227646" y="821159"/>
                </a:cubicBezTo>
                <a:lnTo>
                  <a:pt x="1227646" y="171152"/>
                </a:lnTo>
                <a:cubicBezTo>
                  <a:pt x="1227646" y="134317"/>
                  <a:pt x="1197508" y="104180"/>
                  <a:pt x="1160673" y="104180"/>
                </a:cubicBezTo>
                <a:close/>
                <a:moveTo>
                  <a:pt x="172827" y="0"/>
                </a:moveTo>
                <a:lnTo>
                  <a:pt x="1160673" y="0"/>
                </a:lnTo>
                <a:cubicBezTo>
                  <a:pt x="1255179" y="0"/>
                  <a:pt x="1331826" y="76646"/>
                  <a:pt x="1331826" y="171152"/>
                </a:cubicBezTo>
                <a:lnTo>
                  <a:pt x="1331826" y="1050355"/>
                </a:lnTo>
                <a:cubicBezTo>
                  <a:pt x="1331826" y="1144860"/>
                  <a:pt x="1255179" y="1221507"/>
                  <a:pt x="1160673" y="1221507"/>
                </a:cubicBezTo>
                <a:lnTo>
                  <a:pt x="172827" y="1221507"/>
                </a:lnTo>
                <a:cubicBezTo>
                  <a:pt x="78321" y="1221507"/>
                  <a:pt x="1674" y="1144860"/>
                  <a:pt x="1674" y="1050355"/>
                </a:cubicBezTo>
                <a:lnTo>
                  <a:pt x="1674" y="1006450"/>
                </a:lnTo>
                <a:cubicBezTo>
                  <a:pt x="-558" y="997893"/>
                  <a:pt x="-558" y="989335"/>
                  <a:pt x="1674" y="980405"/>
                </a:cubicBezTo>
                <a:lnTo>
                  <a:pt x="1674" y="171152"/>
                </a:lnTo>
                <a:cubicBezTo>
                  <a:pt x="1674" y="76646"/>
                  <a:pt x="78321" y="0"/>
                  <a:pt x="172827" y="0"/>
                </a:cubicBezTo>
                <a:close/>
              </a:path>
            </a:pathLst>
          </a:custGeom>
          <a:solidFill>
            <a:schemeClr val="bg1"/>
          </a:solidFill>
          <a:ln w="1860" cap="flat">
            <a:noFill/>
            <a:prstDash val="solid"/>
            <a:miter/>
          </a:ln>
        </p:spPr>
        <p:txBody>
          <a:bodyPr rtlCol="0" anchor="ctr"/>
          <a:lstStyle/>
          <a:p>
            <a:endParaRPr lang="zh-CN" altLang="en-US"/>
          </a:p>
        </p:txBody>
      </p:sp>
    </p:spTree>
    <p:extLst>
      <p:ext uri="{BB962C8B-B14F-4D97-AF65-F5344CB8AC3E}">
        <p14:creationId xmlns:p14="http://schemas.microsoft.com/office/powerpoint/2010/main" val="2195092739"/>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直接连接符 2">
            <a:extLst>
              <a:ext uri="{FF2B5EF4-FFF2-40B4-BE49-F238E27FC236}">
                <a16:creationId xmlns:a16="http://schemas.microsoft.com/office/drawing/2014/main" id="{73263CF6-F5B3-45AA-B194-A32F700E2113}"/>
              </a:ext>
            </a:extLst>
          </p:cNvPr>
          <p:cNvCxnSpPr>
            <a:cxnSpLocks/>
          </p:cNvCxnSpPr>
          <p:nvPr/>
        </p:nvCxnSpPr>
        <p:spPr>
          <a:xfrm>
            <a:off x="3577212" y="1965960"/>
            <a:ext cx="0" cy="2418588"/>
          </a:xfrm>
          <a:prstGeom prst="line">
            <a:avLst/>
          </a:prstGeom>
          <a:ln w="25400">
            <a:headEnd type="oval"/>
            <a:tailEnd type="oval"/>
          </a:ln>
        </p:spPr>
        <p:style>
          <a:lnRef idx="1">
            <a:schemeClr val="accent1"/>
          </a:lnRef>
          <a:fillRef idx="0">
            <a:schemeClr val="accent1"/>
          </a:fillRef>
          <a:effectRef idx="0">
            <a:schemeClr val="accent1"/>
          </a:effectRef>
          <a:fontRef idx="minor">
            <a:schemeClr val="tx1"/>
          </a:fontRef>
        </p:style>
      </p:cxnSp>
      <p:sp>
        <p:nvSpPr>
          <p:cNvPr id="5" name="文本框 4">
            <a:extLst>
              <a:ext uri="{FF2B5EF4-FFF2-40B4-BE49-F238E27FC236}">
                <a16:creationId xmlns:a16="http://schemas.microsoft.com/office/drawing/2014/main" id="{1F94421E-348C-48BF-BD7F-00CA5C872AAE}"/>
              </a:ext>
            </a:extLst>
          </p:cNvPr>
          <p:cNvSpPr txBox="1"/>
          <p:nvPr/>
        </p:nvSpPr>
        <p:spPr>
          <a:xfrm>
            <a:off x="3998141" y="3085314"/>
            <a:ext cx="4616648" cy="1107996"/>
          </a:xfrm>
          <a:prstGeom prst="rect">
            <a:avLst/>
          </a:prstGeom>
          <a:noFill/>
        </p:spPr>
        <p:txBody>
          <a:bodyPr wrap="none" lIns="0" tIns="0" rIns="0" bIns="0" rtlCol="0" anchor="t">
            <a:spAutoFit/>
          </a:bodyPr>
          <a:lstStyle/>
          <a:p>
            <a:r>
              <a:rPr kumimoji="1" lang="zh-CN" altLang="en-US" sz="7200" dirty="0">
                <a:solidFill>
                  <a:schemeClr val="accent1"/>
                </a:solidFill>
                <a:latin typeface="+mj-ea"/>
                <a:ea typeface="+mj-ea"/>
              </a:rPr>
              <a:t>过渡页标题</a:t>
            </a:r>
          </a:p>
        </p:txBody>
      </p:sp>
      <p:sp>
        <p:nvSpPr>
          <p:cNvPr id="6" name="文本框 5">
            <a:extLst>
              <a:ext uri="{FF2B5EF4-FFF2-40B4-BE49-F238E27FC236}">
                <a16:creationId xmlns:a16="http://schemas.microsoft.com/office/drawing/2014/main" id="{6FE41FAD-C00F-4F8B-B48A-1F9848A1349A}"/>
              </a:ext>
            </a:extLst>
          </p:cNvPr>
          <p:cNvSpPr txBox="1"/>
          <p:nvPr/>
        </p:nvSpPr>
        <p:spPr>
          <a:xfrm>
            <a:off x="4026581" y="4193310"/>
            <a:ext cx="4559765" cy="307777"/>
          </a:xfrm>
          <a:prstGeom prst="rect">
            <a:avLst/>
          </a:prstGeom>
          <a:noFill/>
        </p:spPr>
        <p:txBody>
          <a:bodyPr wrap="square" lIns="0" tIns="0" rIns="0" bIns="0" rtlCol="0" anchor="t">
            <a:spAutoFit/>
          </a:bodyPr>
          <a:lstStyle/>
          <a:p>
            <a:pPr algn="dist"/>
            <a:r>
              <a:rPr kumimoji="1" lang="en-US" altLang="zh-CN" sz="2000" dirty="0">
                <a:solidFill>
                  <a:schemeClr val="accent1"/>
                </a:solidFill>
              </a:rPr>
              <a:t>Transition Page Title</a:t>
            </a:r>
            <a:endParaRPr kumimoji="1" lang="zh-CN" altLang="en-US" sz="2000" dirty="0">
              <a:solidFill>
                <a:schemeClr val="accent1"/>
              </a:solidFill>
            </a:endParaRPr>
          </a:p>
        </p:txBody>
      </p:sp>
      <p:sp>
        <p:nvSpPr>
          <p:cNvPr id="7" name="文本框 6">
            <a:extLst>
              <a:ext uri="{FF2B5EF4-FFF2-40B4-BE49-F238E27FC236}">
                <a16:creationId xmlns:a16="http://schemas.microsoft.com/office/drawing/2014/main" id="{93E48001-6A36-4C45-967B-F6094A628866}"/>
              </a:ext>
            </a:extLst>
          </p:cNvPr>
          <p:cNvSpPr txBox="1"/>
          <p:nvPr/>
        </p:nvSpPr>
        <p:spPr>
          <a:xfrm>
            <a:off x="3998141" y="1796343"/>
            <a:ext cx="1282402" cy="1354217"/>
          </a:xfrm>
          <a:prstGeom prst="rect">
            <a:avLst/>
          </a:prstGeom>
          <a:noFill/>
        </p:spPr>
        <p:txBody>
          <a:bodyPr wrap="none" lIns="0" tIns="0" rIns="0" bIns="0" rtlCol="0" anchor="t">
            <a:spAutoFit/>
          </a:bodyPr>
          <a:lstStyle/>
          <a:p>
            <a:r>
              <a:rPr kumimoji="1" lang="en-US" altLang="zh-CN" sz="8800" dirty="0">
                <a:solidFill>
                  <a:schemeClr val="accent1"/>
                </a:solidFill>
                <a:latin typeface="+mj-ea"/>
                <a:ea typeface="+mj-ea"/>
              </a:rPr>
              <a:t>01</a:t>
            </a:r>
            <a:endParaRPr kumimoji="1" lang="zh-CN" altLang="en-US" sz="8800" dirty="0">
              <a:solidFill>
                <a:schemeClr val="accent1"/>
              </a:solidFill>
              <a:latin typeface="+mj-ea"/>
              <a:ea typeface="+mj-ea"/>
            </a:endParaRPr>
          </a:p>
        </p:txBody>
      </p:sp>
    </p:spTree>
    <p:extLst>
      <p:ext uri="{BB962C8B-B14F-4D97-AF65-F5344CB8AC3E}">
        <p14:creationId xmlns:p14="http://schemas.microsoft.com/office/powerpoint/2010/main" val="2502764611"/>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任意多边形: 形状 4">
            <a:extLst>
              <a:ext uri="{FF2B5EF4-FFF2-40B4-BE49-F238E27FC236}">
                <a16:creationId xmlns:a16="http://schemas.microsoft.com/office/drawing/2014/main" id="{21C3CCAF-3268-2A6F-9993-C5988B6556AA}"/>
              </a:ext>
            </a:extLst>
          </p:cNvPr>
          <p:cNvSpPr/>
          <p:nvPr/>
        </p:nvSpPr>
        <p:spPr>
          <a:xfrm>
            <a:off x="0" y="5712642"/>
            <a:ext cx="12223750" cy="1145357"/>
          </a:xfrm>
          <a:custGeom>
            <a:avLst/>
            <a:gdLst>
              <a:gd name="connsiteX0" fmla="*/ 12192000 w 12192000"/>
              <a:gd name="connsiteY0" fmla="*/ 0 h 1827750"/>
              <a:gd name="connsiteX1" fmla="*/ 12192000 w 12192000"/>
              <a:gd name="connsiteY1" fmla="*/ 1827750 h 1827750"/>
              <a:gd name="connsiteX2" fmla="*/ 0 w 12192000"/>
              <a:gd name="connsiteY2" fmla="*/ 1827750 h 1827750"/>
              <a:gd name="connsiteX3" fmla="*/ 0 w 12192000"/>
              <a:gd name="connsiteY3" fmla="*/ 0 h 1827750"/>
              <a:gd name="connsiteX4" fmla="*/ 98667 w 12192000"/>
              <a:gd name="connsiteY4" fmla="*/ 108121 h 1827750"/>
              <a:gd name="connsiteX5" fmla="*/ 2670176 w 12192000"/>
              <a:gd name="connsiteY5" fmla="*/ 687925 h 1827750"/>
              <a:gd name="connsiteX6" fmla="*/ 3305174 w 12192000"/>
              <a:gd name="connsiteY6" fmla="*/ 687925 h 1827750"/>
              <a:gd name="connsiteX7" fmla="*/ 6096000 w 12192000"/>
              <a:gd name="connsiteY7" fmla="*/ 1637250 h 1827750"/>
              <a:gd name="connsiteX8" fmla="*/ 8886826 w 12192000"/>
              <a:gd name="connsiteY8" fmla="*/ 687925 h 1827750"/>
              <a:gd name="connsiteX9" fmla="*/ 9521824 w 12192000"/>
              <a:gd name="connsiteY9" fmla="*/ 687925 h 1827750"/>
              <a:gd name="connsiteX10" fmla="*/ 12093333 w 12192000"/>
              <a:gd name="connsiteY10" fmla="*/ 108121 h 1827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2000" h="1827750">
                <a:moveTo>
                  <a:pt x="12192000" y="0"/>
                </a:moveTo>
                <a:lnTo>
                  <a:pt x="12192000" y="1827750"/>
                </a:lnTo>
                <a:lnTo>
                  <a:pt x="0" y="1827750"/>
                </a:lnTo>
                <a:lnTo>
                  <a:pt x="0" y="0"/>
                </a:lnTo>
                <a:lnTo>
                  <a:pt x="98667" y="108121"/>
                </a:lnTo>
                <a:cubicBezTo>
                  <a:pt x="522337" y="448848"/>
                  <a:pt x="1514178" y="687925"/>
                  <a:pt x="2670176" y="687925"/>
                </a:cubicBezTo>
                <a:lnTo>
                  <a:pt x="3305174" y="687925"/>
                </a:lnTo>
                <a:cubicBezTo>
                  <a:pt x="4846505" y="687925"/>
                  <a:pt x="6096000" y="1112952"/>
                  <a:pt x="6096000" y="1637250"/>
                </a:cubicBezTo>
                <a:cubicBezTo>
                  <a:pt x="6096000" y="1112952"/>
                  <a:pt x="7345495" y="687925"/>
                  <a:pt x="8886826" y="687925"/>
                </a:cubicBezTo>
                <a:lnTo>
                  <a:pt x="9521824" y="687925"/>
                </a:lnTo>
                <a:cubicBezTo>
                  <a:pt x="10677822" y="687925"/>
                  <a:pt x="11669663" y="448848"/>
                  <a:pt x="12093333" y="108121"/>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en-US" sz="1600">
              <a:solidFill>
                <a:schemeClr val="bg1"/>
              </a:solidFill>
              <a:latin typeface="+mj-ea"/>
              <a:ea typeface="+mj-ea"/>
            </a:endParaRPr>
          </a:p>
        </p:txBody>
      </p:sp>
      <p:sp>
        <p:nvSpPr>
          <p:cNvPr id="3" name="文本框 2">
            <a:extLst>
              <a:ext uri="{FF2B5EF4-FFF2-40B4-BE49-F238E27FC236}">
                <a16:creationId xmlns:a16="http://schemas.microsoft.com/office/drawing/2014/main" id="{52FF2139-7379-9B62-6AA1-1ACCC3ECD1BC}"/>
              </a:ext>
            </a:extLst>
          </p:cNvPr>
          <p:cNvSpPr txBox="1"/>
          <p:nvPr/>
        </p:nvSpPr>
        <p:spPr>
          <a:xfrm>
            <a:off x="1941017" y="2321004"/>
            <a:ext cx="8309967" cy="1107996"/>
          </a:xfrm>
          <a:prstGeom prst="rect">
            <a:avLst/>
          </a:prstGeom>
          <a:noFill/>
        </p:spPr>
        <p:txBody>
          <a:bodyPr wrap="none" lIns="0" tIns="0" rIns="0" bIns="0" rtlCol="0" anchor="t">
            <a:spAutoFit/>
          </a:bodyPr>
          <a:lstStyle/>
          <a:p>
            <a:pPr algn="ctr"/>
            <a:r>
              <a:rPr lang="zh-CN" altLang="en-US" sz="7200" dirty="0">
                <a:solidFill>
                  <a:schemeClr val="accent1">
                    <a:lumMod val="100000"/>
                  </a:schemeClr>
                </a:solidFill>
                <a:latin typeface="+mj-ea"/>
                <a:ea typeface="+mj-ea"/>
              </a:rPr>
              <a:t>输入你的封面大标题</a:t>
            </a:r>
          </a:p>
        </p:txBody>
      </p:sp>
      <p:sp>
        <p:nvSpPr>
          <p:cNvPr id="4" name="文本框 3">
            <a:extLst>
              <a:ext uri="{FF2B5EF4-FFF2-40B4-BE49-F238E27FC236}">
                <a16:creationId xmlns:a16="http://schemas.microsoft.com/office/drawing/2014/main" id="{05BEE2DD-5030-DD54-661B-61582CE937C6}"/>
              </a:ext>
            </a:extLst>
          </p:cNvPr>
          <p:cNvSpPr txBox="1"/>
          <p:nvPr/>
        </p:nvSpPr>
        <p:spPr>
          <a:xfrm>
            <a:off x="4095451" y="3511296"/>
            <a:ext cx="4001095" cy="369332"/>
          </a:xfrm>
          <a:prstGeom prst="rect">
            <a:avLst/>
          </a:prstGeom>
          <a:noFill/>
        </p:spPr>
        <p:txBody>
          <a:bodyPr wrap="none" lIns="0" tIns="0" rIns="0" bIns="0" rtlCol="0" anchor="t">
            <a:spAutoFit/>
          </a:bodyPr>
          <a:lstStyle/>
          <a:p>
            <a:pPr algn="ctr"/>
            <a:r>
              <a:rPr lang="zh-CN" altLang="en-US" sz="2400" dirty="0">
                <a:solidFill>
                  <a:schemeClr val="accent1">
                    <a:lumMod val="100000"/>
                  </a:schemeClr>
                </a:solidFill>
                <a:latin typeface="+mn-ea"/>
              </a:rPr>
              <a:t>输入你的副标题或大标题英文</a:t>
            </a:r>
          </a:p>
        </p:txBody>
      </p:sp>
      <p:cxnSp>
        <p:nvCxnSpPr>
          <p:cNvPr id="7" name="直接连接符 6">
            <a:extLst>
              <a:ext uri="{FF2B5EF4-FFF2-40B4-BE49-F238E27FC236}">
                <a16:creationId xmlns:a16="http://schemas.microsoft.com/office/drawing/2014/main" id="{FD64CD3B-0584-A822-BE8F-737486A491EF}"/>
              </a:ext>
            </a:extLst>
          </p:cNvPr>
          <p:cNvCxnSpPr/>
          <p:nvPr/>
        </p:nvCxnSpPr>
        <p:spPr>
          <a:xfrm flipH="1">
            <a:off x="2029968" y="3701748"/>
            <a:ext cx="1901952" cy="0"/>
          </a:xfrm>
          <a:prstGeom prst="line">
            <a:avLst/>
          </a:prstGeom>
          <a:ln w="19050">
            <a:solidFill>
              <a:schemeClr val="accent1">
                <a:lumMod val="100000"/>
              </a:schemeClr>
            </a:solidFill>
          </a:ln>
        </p:spPr>
        <p:style>
          <a:lnRef idx="1">
            <a:schemeClr val="accent1"/>
          </a:lnRef>
          <a:fillRef idx="0">
            <a:schemeClr val="accent1"/>
          </a:fillRef>
          <a:effectRef idx="0">
            <a:schemeClr val="accent1"/>
          </a:effectRef>
          <a:fontRef idx="minor">
            <a:schemeClr val="tx1"/>
          </a:fontRef>
        </p:style>
      </p:cxnSp>
      <p:cxnSp>
        <p:nvCxnSpPr>
          <p:cNvPr id="8" name="直接连接符 7">
            <a:extLst>
              <a:ext uri="{FF2B5EF4-FFF2-40B4-BE49-F238E27FC236}">
                <a16:creationId xmlns:a16="http://schemas.microsoft.com/office/drawing/2014/main" id="{D23886C4-9910-0E75-D80F-16C6AD9C1FB7}"/>
              </a:ext>
            </a:extLst>
          </p:cNvPr>
          <p:cNvCxnSpPr/>
          <p:nvPr/>
        </p:nvCxnSpPr>
        <p:spPr>
          <a:xfrm flipH="1">
            <a:off x="8284464" y="3701748"/>
            <a:ext cx="1901952" cy="0"/>
          </a:xfrm>
          <a:prstGeom prst="line">
            <a:avLst/>
          </a:prstGeom>
          <a:ln w="19050">
            <a:solidFill>
              <a:schemeClr val="accent1">
                <a:lumMod val="100000"/>
              </a:schemeClr>
            </a:solidFill>
          </a:ln>
        </p:spPr>
        <p:style>
          <a:lnRef idx="1">
            <a:schemeClr val="accent1"/>
          </a:lnRef>
          <a:fillRef idx="0">
            <a:schemeClr val="accent1"/>
          </a:fillRef>
          <a:effectRef idx="0">
            <a:schemeClr val="accent1"/>
          </a:effectRef>
          <a:fontRef idx="minor">
            <a:schemeClr val="tx1"/>
          </a:fontRef>
        </p:style>
      </p:cxnSp>
      <p:grpSp>
        <p:nvGrpSpPr>
          <p:cNvPr id="9" name="组合 8">
            <a:extLst>
              <a:ext uri="{FF2B5EF4-FFF2-40B4-BE49-F238E27FC236}">
                <a16:creationId xmlns:a16="http://schemas.microsoft.com/office/drawing/2014/main" id="{16E3B32A-A645-EE87-1AEE-B53F4A793376}"/>
              </a:ext>
            </a:extLst>
          </p:cNvPr>
          <p:cNvGrpSpPr/>
          <p:nvPr/>
        </p:nvGrpSpPr>
        <p:grpSpPr>
          <a:xfrm>
            <a:off x="4331702" y="4483893"/>
            <a:ext cx="1475214" cy="246221"/>
            <a:chOff x="4095451" y="4640913"/>
            <a:chExt cx="1475214" cy="246221"/>
          </a:xfrm>
        </p:grpSpPr>
        <p:sp>
          <p:nvSpPr>
            <p:cNvPr id="10" name="矩形 9">
              <a:extLst>
                <a:ext uri="{FF2B5EF4-FFF2-40B4-BE49-F238E27FC236}">
                  <a16:creationId xmlns:a16="http://schemas.microsoft.com/office/drawing/2014/main" id="{262AC777-4FDE-0366-0377-B76332CD8981}"/>
                </a:ext>
              </a:extLst>
            </p:cNvPr>
            <p:cNvSpPr/>
            <p:nvPr/>
          </p:nvSpPr>
          <p:spPr>
            <a:xfrm>
              <a:off x="4095451" y="4672584"/>
              <a:ext cx="164592" cy="164592"/>
            </a:xfrm>
            <a:prstGeom prst="rect">
              <a:avLst/>
            </a:prstGeom>
            <a:solidFill>
              <a:schemeClr val="accent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p>
          </p:txBody>
        </p:sp>
        <p:sp>
          <p:nvSpPr>
            <p:cNvPr id="11" name="文本框 10">
              <a:extLst>
                <a:ext uri="{FF2B5EF4-FFF2-40B4-BE49-F238E27FC236}">
                  <a16:creationId xmlns:a16="http://schemas.microsoft.com/office/drawing/2014/main" id="{5534548C-AA49-8D32-DA34-D21911BD4E91}"/>
                </a:ext>
              </a:extLst>
            </p:cNvPr>
            <p:cNvSpPr txBox="1"/>
            <p:nvPr/>
          </p:nvSpPr>
          <p:spPr>
            <a:xfrm>
              <a:off x="4408487" y="4640913"/>
              <a:ext cx="1162178" cy="246221"/>
            </a:xfrm>
            <a:prstGeom prst="rect">
              <a:avLst/>
            </a:prstGeom>
            <a:noFill/>
          </p:spPr>
          <p:txBody>
            <a:bodyPr wrap="none" lIns="0" tIns="0" rIns="0" bIns="0" rtlCol="0" anchor="t">
              <a:spAutoFit/>
            </a:bodyPr>
            <a:lstStyle/>
            <a:p>
              <a:r>
                <a:rPr lang="zh-CN" altLang="en-US" sz="1600" dirty="0">
                  <a:solidFill>
                    <a:schemeClr val="accent1">
                      <a:lumMod val="100000"/>
                    </a:schemeClr>
                  </a:solidFill>
                  <a:latin typeface="+mn-ea"/>
                </a:rPr>
                <a:t>汇报人：</a:t>
              </a:r>
              <a:r>
                <a:rPr lang="en-US" altLang="zh-CN" sz="1600" dirty="0">
                  <a:solidFill>
                    <a:schemeClr val="accent1">
                      <a:lumMod val="100000"/>
                    </a:schemeClr>
                  </a:solidFill>
                  <a:latin typeface="+mn-ea"/>
                </a:rPr>
                <a:t>xxx</a:t>
              </a:r>
              <a:endParaRPr lang="zh-CN" altLang="en-US" sz="1600" dirty="0">
                <a:solidFill>
                  <a:schemeClr val="accent1">
                    <a:lumMod val="100000"/>
                  </a:schemeClr>
                </a:solidFill>
                <a:latin typeface="+mn-ea"/>
              </a:endParaRPr>
            </a:p>
          </p:txBody>
        </p:sp>
      </p:grpSp>
      <p:grpSp>
        <p:nvGrpSpPr>
          <p:cNvPr id="12" name="组合 11">
            <a:extLst>
              <a:ext uri="{FF2B5EF4-FFF2-40B4-BE49-F238E27FC236}">
                <a16:creationId xmlns:a16="http://schemas.microsoft.com/office/drawing/2014/main" id="{15EE3C9D-5407-9AC8-145C-281BF1E49853}"/>
              </a:ext>
            </a:extLst>
          </p:cNvPr>
          <p:cNvGrpSpPr/>
          <p:nvPr/>
        </p:nvGrpSpPr>
        <p:grpSpPr>
          <a:xfrm>
            <a:off x="6590270" y="4483893"/>
            <a:ext cx="1270029" cy="246221"/>
            <a:chOff x="4095451" y="4640913"/>
            <a:chExt cx="1270029" cy="246221"/>
          </a:xfrm>
        </p:grpSpPr>
        <p:sp>
          <p:nvSpPr>
            <p:cNvPr id="13" name="矩形 12">
              <a:extLst>
                <a:ext uri="{FF2B5EF4-FFF2-40B4-BE49-F238E27FC236}">
                  <a16:creationId xmlns:a16="http://schemas.microsoft.com/office/drawing/2014/main" id="{2ACF2249-6B44-8B4C-64CF-BA25CD989C87}"/>
                </a:ext>
              </a:extLst>
            </p:cNvPr>
            <p:cNvSpPr/>
            <p:nvPr/>
          </p:nvSpPr>
          <p:spPr>
            <a:xfrm>
              <a:off x="4095451" y="4672584"/>
              <a:ext cx="164592" cy="164592"/>
            </a:xfrm>
            <a:prstGeom prst="rect">
              <a:avLst/>
            </a:prstGeom>
            <a:solidFill>
              <a:schemeClr val="accent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p>
          </p:txBody>
        </p:sp>
        <p:sp>
          <p:nvSpPr>
            <p:cNvPr id="14" name="文本框 13">
              <a:extLst>
                <a:ext uri="{FF2B5EF4-FFF2-40B4-BE49-F238E27FC236}">
                  <a16:creationId xmlns:a16="http://schemas.microsoft.com/office/drawing/2014/main" id="{7F6920F0-9463-3C6E-82EB-26B212F8FCDE}"/>
                </a:ext>
              </a:extLst>
            </p:cNvPr>
            <p:cNvSpPr txBox="1"/>
            <p:nvPr/>
          </p:nvSpPr>
          <p:spPr>
            <a:xfrm>
              <a:off x="4408487" y="4640913"/>
              <a:ext cx="956993" cy="246221"/>
            </a:xfrm>
            <a:prstGeom prst="rect">
              <a:avLst/>
            </a:prstGeom>
            <a:noFill/>
          </p:spPr>
          <p:txBody>
            <a:bodyPr wrap="none" lIns="0" tIns="0" rIns="0" bIns="0" rtlCol="0" anchor="t">
              <a:spAutoFit/>
            </a:bodyPr>
            <a:lstStyle/>
            <a:p>
              <a:r>
                <a:rPr lang="zh-CN" altLang="en-US" sz="1600" dirty="0">
                  <a:solidFill>
                    <a:schemeClr val="accent1">
                      <a:lumMod val="100000"/>
                    </a:schemeClr>
                  </a:solidFill>
                  <a:latin typeface="+mn-ea"/>
                </a:rPr>
                <a:t>单位：</a:t>
              </a:r>
              <a:r>
                <a:rPr lang="en-US" altLang="zh-CN" sz="1600" dirty="0">
                  <a:solidFill>
                    <a:schemeClr val="accent1">
                      <a:lumMod val="100000"/>
                    </a:schemeClr>
                  </a:solidFill>
                  <a:latin typeface="+mn-ea"/>
                </a:rPr>
                <a:t>xxx</a:t>
              </a:r>
              <a:endParaRPr lang="zh-CN" altLang="en-US" sz="1600" dirty="0">
                <a:solidFill>
                  <a:schemeClr val="accent1">
                    <a:lumMod val="100000"/>
                  </a:schemeClr>
                </a:solidFill>
                <a:latin typeface="+mn-ea"/>
              </a:endParaRPr>
            </a:p>
          </p:txBody>
        </p:sp>
      </p:grpSp>
      <p:sp>
        <p:nvSpPr>
          <p:cNvPr id="15" name="任意多边形: 形状 14">
            <a:extLst>
              <a:ext uri="{FF2B5EF4-FFF2-40B4-BE49-F238E27FC236}">
                <a16:creationId xmlns:a16="http://schemas.microsoft.com/office/drawing/2014/main" id="{3B5551BE-065D-33FF-B51A-0BC6EA276945}"/>
              </a:ext>
            </a:extLst>
          </p:cNvPr>
          <p:cNvSpPr/>
          <p:nvPr/>
        </p:nvSpPr>
        <p:spPr>
          <a:xfrm flipV="1">
            <a:off x="0" y="3672"/>
            <a:ext cx="12223750" cy="1145357"/>
          </a:xfrm>
          <a:custGeom>
            <a:avLst/>
            <a:gdLst>
              <a:gd name="connsiteX0" fmla="*/ 12192000 w 12192000"/>
              <a:gd name="connsiteY0" fmla="*/ 0 h 1827750"/>
              <a:gd name="connsiteX1" fmla="*/ 12192000 w 12192000"/>
              <a:gd name="connsiteY1" fmla="*/ 1827750 h 1827750"/>
              <a:gd name="connsiteX2" fmla="*/ 0 w 12192000"/>
              <a:gd name="connsiteY2" fmla="*/ 1827750 h 1827750"/>
              <a:gd name="connsiteX3" fmla="*/ 0 w 12192000"/>
              <a:gd name="connsiteY3" fmla="*/ 0 h 1827750"/>
              <a:gd name="connsiteX4" fmla="*/ 98667 w 12192000"/>
              <a:gd name="connsiteY4" fmla="*/ 108121 h 1827750"/>
              <a:gd name="connsiteX5" fmla="*/ 2670176 w 12192000"/>
              <a:gd name="connsiteY5" fmla="*/ 687925 h 1827750"/>
              <a:gd name="connsiteX6" fmla="*/ 3305174 w 12192000"/>
              <a:gd name="connsiteY6" fmla="*/ 687925 h 1827750"/>
              <a:gd name="connsiteX7" fmla="*/ 6096000 w 12192000"/>
              <a:gd name="connsiteY7" fmla="*/ 1637250 h 1827750"/>
              <a:gd name="connsiteX8" fmla="*/ 8886826 w 12192000"/>
              <a:gd name="connsiteY8" fmla="*/ 687925 h 1827750"/>
              <a:gd name="connsiteX9" fmla="*/ 9521824 w 12192000"/>
              <a:gd name="connsiteY9" fmla="*/ 687925 h 1827750"/>
              <a:gd name="connsiteX10" fmla="*/ 12093333 w 12192000"/>
              <a:gd name="connsiteY10" fmla="*/ 108121 h 1827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2000" h="1827750">
                <a:moveTo>
                  <a:pt x="12192000" y="0"/>
                </a:moveTo>
                <a:lnTo>
                  <a:pt x="12192000" y="1827750"/>
                </a:lnTo>
                <a:lnTo>
                  <a:pt x="0" y="1827750"/>
                </a:lnTo>
                <a:lnTo>
                  <a:pt x="0" y="0"/>
                </a:lnTo>
                <a:lnTo>
                  <a:pt x="98667" y="108121"/>
                </a:lnTo>
                <a:cubicBezTo>
                  <a:pt x="522337" y="448848"/>
                  <a:pt x="1514178" y="687925"/>
                  <a:pt x="2670176" y="687925"/>
                </a:cubicBezTo>
                <a:lnTo>
                  <a:pt x="3305174" y="687925"/>
                </a:lnTo>
                <a:cubicBezTo>
                  <a:pt x="4846505" y="687925"/>
                  <a:pt x="6096000" y="1112952"/>
                  <a:pt x="6096000" y="1637250"/>
                </a:cubicBezTo>
                <a:cubicBezTo>
                  <a:pt x="6096000" y="1112952"/>
                  <a:pt x="7345495" y="687925"/>
                  <a:pt x="8886826" y="687925"/>
                </a:cubicBezTo>
                <a:lnTo>
                  <a:pt x="9521824" y="687925"/>
                </a:lnTo>
                <a:cubicBezTo>
                  <a:pt x="10677822" y="687925"/>
                  <a:pt x="11669663" y="448848"/>
                  <a:pt x="12093333" y="108121"/>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en-US" sz="1600">
              <a:solidFill>
                <a:schemeClr val="bg1"/>
              </a:solidFill>
              <a:latin typeface="+mj-ea"/>
              <a:ea typeface="+mj-ea"/>
            </a:endParaRPr>
          </a:p>
        </p:txBody>
      </p:sp>
    </p:spTree>
    <p:extLst>
      <p:ext uri="{BB962C8B-B14F-4D97-AF65-F5344CB8AC3E}">
        <p14:creationId xmlns:p14="http://schemas.microsoft.com/office/powerpoint/2010/main" val="2777500927"/>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圆角矩形 11">
            <a:extLst>
              <a:ext uri="{FF2B5EF4-FFF2-40B4-BE49-F238E27FC236}">
                <a16:creationId xmlns:a16="http://schemas.microsoft.com/office/drawing/2014/main" id="{1171DB7C-6BFC-724B-9F4A-EDE7316CE52F}"/>
              </a:ext>
            </a:extLst>
          </p:cNvPr>
          <p:cNvSpPr/>
          <p:nvPr/>
        </p:nvSpPr>
        <p:spPr>
          <a:xfrm rot="2700000">
            <a:off x="3193395" y="526395"/>
            <a:ext cx="5805210" cy="5805210"/>
          </a:xfrm>
          <a:prstGeom prst="roundRect">
            <a:avLst>
              <a:gd name="adj" fmla="val 5135"/>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2" name="圆角矩形 1">
            <a:extLst>
              <a:ext uri="{FF2B5EF4-FFF2-40B4-BE49-F238E27FC236}">
                <a16:creationId xmlns:a16="http://schemas.microsoft.com/office/drawing/2014/main" id="{558C71E8-EC07-CF42-B2A3-14911DAC9073}"/>
              </a:ext>
            </a:extLst>
          </p:cNvPr>
          <p:cNvSpPr/>
          <p:nvPr/>
        </p:nvSpPr>
        <p:spPr>
          <a:xfrm rot="2700000">
            <a:off x="3816917" y="1245410"/>
            <a:ext cx="4558164" cy="4558164"/>
          </a:xfrm>
          <a:prstGeom prst="roundRect">
            <a:avLst>
              <a:gd name="adj" fmla="val 7449"/>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5" name="文本框 4">
            <a:extLst>
              <a:ext uri="{FF2B5EF4-FFF2-40B4-BE49-F238E27FC236}">
                <a16:creationId xmlns:a16="http://schemas.microsoft.com/office/drawing/2014/main" id="{F900DE6E-0941-9442-B20B-C09E8C7D301A}"/>
              </a:ext>
            </a:extLst>
          </p:cNvPr>
          <p:cNvSpPr txBox="1"/>
          <p:nvPr/>
        </p:nvSpPr>
        <p:spPr>
          <a:xfrm>
            <a:off x="5535159" y="2549634"/>
            <a:ext cx="1009892" cy="307777"/>
          </a:xfrm>
          <a:prstGeom prst="rect">
            <a:avLst/>
          </a:prstGeom>
          <a:noFill/>
        </p:spPr>
        <p:txBody>
          <a:bodyPr wrap="none" lIns="0" tIns="0" rIns="0" bIns="0" rtlCol="0">
            <a:spAutoFit/>
          </a:bodyPr>
          <a:lstStyle/>
          <a:p>
            <a:pPr algn="l"/>
            <a:r>
              <a:rPr kumimoji="1" lang="en-US" altLang="zh-CN" sz="2000" dirty="0">
                <a:solidFill>
                  <a:schemeClr val="bg1"/>
                </a:solidFill>
                <a:latin typeface="Alibaba PuHuiTi M" pitchFamily="18" charset="-122"/>
                <a:ea typeface="Alibaba PuHuiTi M" pitchFamily="18" charset="-122"/>
                <a:cs typeface="Alibaba PuHuiTi M" pitchFamily="18" charset="-122"/>
              </a:rPr>
              <a:t>PART</a:t>
            </a:r>
            <a:r>
              <a:rPr kumimoji="1" lang="zh-CN" altLang="en-US" sz="2000" dirty="0">
                <a:solidFill>
                  <a:schemeClr val="bg1"/>
                </a:solidFill>
                <a:latin typeface="Alibaba PuHuiTi M" pitchFamily="18" charset="-122"/>
                <a:ea typeface="Alibaba PuHuiTi M" pitchFamily="18" charset="-122"/>
                <a:cs typeface="Alibaba PuHuiTi M" pitchFamily="18" charset="-122"/>
              </a:rPr>
              <a:t> </a:t>
            </a:r>
            <a:r>
              <a:rPr kumimoji="1" lang="en-US" altLang="zh-CN" sz="2000" dirty="0">
                <a:solidFill>
                  <a:schemeClr val="bg1"/>
                </a:solidFill>
                <a:latin typeface="Alibaba PuHuiTi M" pitchFamily="18" charset="-122"/>
                <a:ea typeface="Alibaba PuHuiTi M" pitchFamily="18" charset="-122"/>
                <a:cs typeface="Alibaba PuHuiTi M" pitchFamily="18" charset="-122"/>
              </a:rPr>
              <a:t>01</a:t>
            </a:r>
            <a:endParaRPr kumimoji="1" lang="zh-CN" altLang="en-US" sz="2000" dirty="0">
              <a:solidFill>
                <a:schemeClr val="bg1"/>
              </a:solidFill>
              <a:latin typeface="Alibaba PuHuiTi M" pitchFamily="18" charset="-122"/>
              <a:ea typeface="Alibaba PuHuiTi M" pitchFamily="18" charset="-122"/>
              <a:cs typeface="Alibaba PuHuiTi M" pitchFamily="18" charset="-122"/>
            </a:endParaRPr>
          </a:p>
        </p:txBody>
      </p:sp>
      <p:cxnSp>
        <p:nvCxnSpPr>
          <p:cNvPr id="8" name="直线连接符 7">
            <a:extLst>
              <a:ext uri="{FF2B5EF4-FFF2-40B4-BE49-F238E27FC236}">
                <a16:creationId xmlns:a16="http://schemas.microsoft.com/office/drawing/2014/main" id="{5000307D-EA98-6149-8CDB-9786563C2B99}"/>
              </a:ext>
            </a:extLst>
          </p:cNvPr>
          <p:cNvCxnSpPr/>
          <p:nvPr/>
        </p:nvCxnSpPr>
        <p:spPr>
          <a:xfrm flipH="1">
            <a:off x="4493599" y="2720556"/>
            <a:ext cx="876959" cy="0"/>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 name="直线连接符 13">
            <a:extLst>
              <a:ext uri="{FF2B5EF4-FFF2-40B4-BE49-F238E27FC236}">
                <a16:creationId xmlns:a16="http://schemas.microsoft.com/office/drawing/2014/main" id="{38B69361-C48C-804B-9CD1-064458A3219F}"/>
              </a:ext>
            </a:extLst>
          </p:cNvPr>
          <p:cNvCxnSpPr/>
          <p:nvPr/>
        </p:nvCxnSpPr>
        <p:spPr>
          <a:xfrm flipH="1">
            <a:off x="6744328" y="2720556"/>
            <a:ext cx="876959" cy="0"/>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sp>
        <p:nvSpPr>
          <p:cNvPr id="4" name="直角三角形 3">
            <a:extLst>
              <a:ext uri="{FF2B5EF4-FFF2-40B4-BE49-F238E27FC236}">
                <a16:creationId xmlns:a16="http://schemas.microsoft.com/office/drawing/2014/main" id="{E079C072-2B56-1042-ABE6-B51C52B8581E}"/>
              </a:ext>
            </a:extLst>
          </p:cNvPr>
          <p:cNvSpPr/>
          <p:nvPr/>
        </p:nvSpPr>
        <p:spPr>
          <a:xfrm>
            <a:off x="0" y="5961413"/>
            <a:ext cx="896587" cy="896587"/>
          </a:xfrm>
          <a:prstGeom prst="r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5" name="直角三角形 14">
            <a:extLst>
              <a:ext uri="{FF2B5EF4-FFF2-40B4-BE49-F238E27FC236}">
                <a16:creationId xmlns:a16="http://schemas.microsoft.com/office/drawing/2014/main" id="{CF86490B-AE2B-7F45-A9D0-B95971327E88}"/>
              </a:ext>
            </a:extLst>
          </p:cNvPr>
          <p:cNvSpPr/>
          <p:nvPr/>
        </p:nvSpPr>
        <p:spPr>
          <a:xfrm rot="10800000">
            <a:off x="11295413" y="0"/>
            <a:ext cx="896587" cy="896587"/>
          </a:xfrm>
          <a:prstGeom prst="r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6" name="文本框 15">
            <a:extLst>
              <a:ext uri="{FF2B5EF4-FFF2-40B4-BE49-F238E27FC236}">
                <a16:creationId xmlns:a16="http://schemas.microsoft.com/office/drawing/2014/main" id="{9903218B-250F-4A5E-95D4-C0C33B1D4BAA}"/>
              </a:ext>
            </a:extLst>
          </p:cNvPr>
          <p:cNvSpPr txBox="1"/>
          <p:nvPr/>
        </p:nvSpPr>
        <p:spPr>
          <a:xfrm>
            <a:off x="3998141" y="3085314"/>
            <a:ext cx="4231928" cy="1015663"/>
          </a:xfrm>
          <a:prstGeom prst="rect">
            <a:avLst/>
          </a:prstGeom>
          <a:noFill/>
        </p:spPr>
        <p:txBody>
          <a:bodyPr wrap="none" lIns="0" tIns="0" rIns="0" bIns="0" rtlCol="0" anchor="t">
            <a:spAutoFit/>
          </a:bodyPr>
          <a:lstStyle/>
          <a:p>
            <a:r>
              <a:rPr kumimoji="1" lang="zh-CN" altLang="en-US" sz="6600" dirty="0">
                <a:solidFill>
                  <a:schemeClr val="bg1"/>
                </a:solidFill>
                <a:latin typeface="+mj-ea"/>
                <a:ea typeface="+mj-ea"/>
              </a:rPr>
              <a:t>过渡页标题</a:t>
            </a:r>
          </a:p>
        </p:txBody>
      </p:sp>
      <p:sp>
        <p:nvSpPr>
          <p:cNvPr id="17" name="文本框 16">
            <a:extLst>
              <a:ext uri="{FF2B5EF4-FFF2-40B4-BE49-F238E27FC236}">
                <a16:creationId xmlns:a16="http://schemas.microsoft.com/office/drawing/2014/main" id="{7F691D20-9BE2-4B01-AC08-8DCDCBA907F2}"/>
              </a:ext>
            </a:extLst>
          </p:cNvPr>
          <p:cNvSpPr txBox="1"/>
          <p:nvPr/>
        </p:nvSpPr>
        <p:spPr>
          <a:xfrm>
            <a:off x="4026581" y="4100977"/>
            <a:ext cx="4139011" cy="276999"/>
          </a:xfrm>
          <a:prstGeom prst="rect">
            <a:avLst/>
          </a:prstGeom>
          <a:noFill/>
        </p:spPr>
        <p:txBody>
          <a:bodyPr wrap="square" lIns="0" tIns="0" rIns="0" bIns="0" rtlCol="0" anchor="t">
            <a:spAutoFit/>
          </a:bodyPr>
          <a:lstStyle/>
          <a:p>
            <a:pPr algn="dist"/>
            <a:r>
              <a:rPr kumimoji="1" lang="en-US" altLang="zh-CN" dirty="0">
                <a:solidFill>
                  <a:schemeClr val="bg1"/>
                </a:solidFill>
              </a:rPr>
              <a:t>Transition Page Title</a:t>
            </a:r>
            <a:endParaRPr kumimoji="1" lang="zh-CN" altLang="en-US" dirty="0">
              <a:solidFill>
                <a:schemeClr val="bg1"/>
              </a:solidFill>
            </a:endParaRPr>
          </a:p>
        </p:txBody>
      </p:sp>
    </p:spTree>
    <p:extLst>
      <p:ext uri="{BB962C8B-B14F-4D97-AF65-F5344CB8AC3E}">
        <p14:creationId xmlns:p14="http://schemas.microsoft.com/office/powerpoint/2010/main" val="3535874254"/>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组合 6">
            <a:extLst>
              <a:ext uri="{FF2B5EF4-FFF2-40B4-BE49-F238E27FC236}">
                <a16:creationId xmlns:a16="http://schemas.microsoft.com/office/drawing/2014/main" id="{920A3C58-641A-8746-8877-7E4C4FD8323A}"/>
              </a:ext>
            </a:extLst>
          </p:cNvPr>
          <p:cNvGrpSpPr/>
          <p:nvPr/>
        </p:nvGrpSpPr>
        <p:grpSpPr>
          <a:xfrm>
            <a:off x="2069474" y="1936376"/>
            <a:ext cx="2985248" cy="2985248"/>
            <a:chOff x="2125528" y="1692442"/>
            <a:chExt cx="3473116" cy="3473116"/>
          </a:xfrm>
        </p:grpSpPr>
        <p:sp>
          <p:nvSpPr>
            <p:cNvPr id="12" name="圆角矩形 11">
              <a:extLst>
                <a:ext uri="{FF2B5EF4-FFF2-40B4-BE49-F238E27FC236}">
                  <a16:creationId xmlns:a16="http://schemas.microsoft.com/office/drawing/2014/main" id="{1171DB7C-6BFC-724B-9F4A-EDE7316CE52F}"/>
                </a:ext>
              </a:extLst>
            </p:cNvPr>
            <p:cNvSpPr/>
            <p:nvPr/>
          </p:nvSpPr>
          <p:spPr>
            <a:xfrm rot="2700000">
              <a:off x="2125528" y="1692442"/>
              <a:ext cx="3473116" cy="3473116"/>
            </a:xfrm>
            <a:prstGeom prst="roundRect">
              <a:avLst>
                <a:gd name="adj" fmla="val 5135"/>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1100"/>
            </a:p>
          </p:txBody>
        </p:sp>
        <p:sp>
          <p:nvSpPr>
            <p:cNvPr id="2" name="圆角矩形 1">
              <a:extLst>
                <a:ext uri="{FF2B5EF4-FFF2-40B4-BE49-F238E27FC236}">
                  <a16:creationId xmlns:a16="http://schemas.microsoft.com/office/drawing/2014/main" id="{558C71E8-EC07-CF42-B2A3-14911DAC9073}"/>
                </a:ext>
              </a:extLst>
            </p:cNvPr>
            <p:cNvSpPr/>
            <p:nvPr/>
          </p:nvSpPr>
          <p:spPr>
            <a:xfrm rot="2700000">
              <a:off x="2579361" y="2203407"/>
              <a:ext cx="2565448" cy="2565448"/>
            </a:xfrm>
            <a:prstGeom prst="roundRect">
              <a:avLst>
                <a:gd name="adj" fmla="val 7449"/>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1100"/>
            </a:p>
          </p:txBody>
        </p:sp>
      </p:grpSp>
      <p:sp>
        <p:nvSpPr>
          <p:cNvPr id="5" name="文本框 4">
            <a:extLst>
              <a:ext uri="{FF2B5EF4-FFF2-40B4-BE49-F238E27FC236}">
                <a16:creationId xmlns:a16="http://schemas.microsoft.com/office/drawing/2014/main" id="{F900DE6E-0941-9442-B20B-C09E8C7D301A}"/>
              </a:ext>
            </a:extLst>
          </p:cNvPr>
          <p:cNvSpPr txBox="1"/>
          <p:nvPr/>
        </p:nvSpPr>
        <p:spPr>
          <a:xfrm>
            <a:off x="2638659" y="3178354"/>
            <a:ext cx="2018181" cy="615553"/>
          </a:xfrm>
          <a:prstGeom prst="rect">
            <a:avLst/>
          </a:prstGeom>
          <a:noFill/>
        </p:spPr>
        <p:txBody>
          <a:bodyPr wrap="none" lIns="0" tIns="0" rIns="0" bIns="0" rtlCol="0">
            <a:spAutoFit/>
          </a:bodyPr>
          <a:lstStyle/>
          <a:p>
            <a:pPr algn="ctr"/>
            <a:r>
              <a:rPr kumimoji="1" lang="en-US" altLang="zh-CN" sz="4000" dirty="0">
                <a:solidFill>
                  <a:schemeClr val="bg1"/>
                </a:solidFill>
                <a:latin typeface="Alibaba PuHuiTi M" pitchFamily="18" charset="-122"/>
                <a:ea typeface="Alibaba PuHuiTi M" pitchFamily="18" charset="-122"/>
                <a:cs typeface="Alibaba PuHuiTi M" pitchFamily="18" charset="-122"/>
              </a:rPr>
              <a:t>PART</a:t>
            </a:r>
            <a:r>
              <a:rPr kumimoji="1" lang="zh-CN" altLang="en-US" sz="4000" dirty="0">
                <a:solidFill>
                  <a:schemeClr val="bg1"/>
                </a:solidFill>
                <a:latin typeface="Alibaba PuHuiTi M" pitchFamily="18" charset="-122"/>
                <a:ea typeface="Alibaba PuHuiTi M" pitchFamily="18" charset="-122"/>
                <a:cs typeface="Alibaba PuHuiTi M" pitchFamily="18" charset="-122"/>
              </a:rPr>
              <a:t> </a:t>
            </a:r>
            <a:r>
              <a:rPr kumimoji="1" lang="en-US" altLang="zh-CN" sz="4000" dirty="0">
                <a:solidFill>
                  <a:schemeClr val="bg1"/>
                </a:solidFill>
                <a:latin typeface="Alibaba PuHuiTi M" pitchFamily="18" charset="-122"/>
                <a:ea typeface="Alibaba PuHuiTi M" pitchFamily="18" charset="-122"/>
                <a:cs typeface="Alibaba PuHuiTi M" pitchFamily="18" charset="-122"/>
              </a:rPr>
              <a:t>01</a:t>
            </a:r>
            <a:endParaRPr kumimoji="1" lang="zh-CN" altLang="en-US" sz="4000" dirty="0">
              <a:solidFill>
                <a:schemeClr val="bg1"/>
              </a:solidFill>
              <a:latin typeface="Alibaba PuHuiTi M" pitchFamily="18" charset="-122"/>
              <a:ea typeface="Alibaba PuHuiTi M" pitchFamily="18" charset="-122"/>
              <a:cs typeface="Alibaba PuHuiTi M" pitchFamily="18" charset="-122"/>
            </a:endParaRPr>
          </a:p>
        </p:txBody>
      </p:sp>
      <p:sp>
        <p:nvSpPr>
          <p:cNvPr id="8" name="文本框 7">
            <a:extLst>
              <a:ext uri="{FF2B5EF4-FFF2-40B4-BE49-F238E27FC236}">
                <a16:creationId xmlns:a16="http://schemas.microsoft.com/office/drawing/2014/main" id="{20D99546-EE0C-4818-9DEF-D77A654E9A25}"/>
              </a:ext>
            </a:extLst>
          </p:cNvPr>
          <p:cNvSpPr txBox="1"/>
          <p:nvPr/>
        </p:nvSpPr>
        <p:spPr>
          <a:xfrm>
            <a:off x="5890598" y="2939010"/>
            <a:ext cx="4231928" cy="1015663"/>
          </a:xfrm>
          <a:prstGeom prst="rect">
            <a:avLst/>
          </a:prstGeom>
          <a:noFill/>
        </p:spPr>
        <p:txBody>
          <a:bodyPr wrap="none" lIns="0" tIns="0" rIns="0" bIns="0" rtlCol="0" anchor="t">
            <a:spAutoFit/>
          </a:bodyPr>
          <a:lstStyle/>
          <a:p>
            <a:r>
              <a:rPr kumimoji="1" lang="zh-CN" altLang="en-US" sz="6600" dirty="0">
                <a:solidFill>
                  <a:schemeClr val="accent1">
                    <a:lumMod val="100000"/>
                  </a:schemeClr>
                </a:solidFill>
                <a:latin typeface="+mj-ea"/>
                <a:ea typeface="+mj-ea"/>
              </a:rPr>
              <a:t>过渡页标题</a:t>
            </a:r>
          </a:p>
        </p:txBody>
      </p:sp>
      <p:sp>
        <p:nvSpPr>
          <p:cNvPr id="9" name="文本框 8">
            <a:extLst>
              <a:ext uri="{FF2B5EF4-FFF2-40B4-BE49-F238E27FC236}">
                <a16:creationId xmlns:a16="http://schemas.microsoft.com/office/drawing/2014/main" id="{5E90CB39-595A-48B5-90A4-96F0CCB7F62C}"/>
              </a:ext>
            </a:extLst>
          </p:cNvPr>
          <p:cNvSpPr txBox="1"/>
          <p:nvPr/>
        </p:nvSpPr>
        <p:spPr>
          <a:xfrm>
            <a:off x="5919038" y="3954673"/>
            <a:ext cx="4139011" cy="276999"/>
          </a:xfrm>
          <a:prstGeom prst="rect">
            <a:avLst/>
          </a:prstGeom>
          <a:noFill/>
        </p:spPr>
        <p:txBody>
          <a:bodyPr wrap="square" lIns="0" tIns="0" rIns="0" bIns="0" rtlCol="0" anchor="t">
            <a:spAutoFit/>
          </a:bodyPr>
          <a:lstStyle/>
          <a:p>
            <a:pPr algn="dist"/>
            <a:r>
              <a:rPr kumimoji="1" lang="en-US" altLang="zh-CN" dirty="0">
                <a:solidFill>
                  <a:schemeClr val="accent1">
                    <a:lumMod val="100000"/>
                  </a:schemeClr>
                </a:solidFill>
              </a:rPr>
              <a:t>Transition Page Title</a:t>
            </a:r>
            <a:endParaRPr kumimoji="1" lang="zh-CN" altLang="en-US" dirty="0">
              <a:solidFill>
                <a:schemeClr val="accent1">
                  <a:lumMod val="100000"/>
                </a:schemeClr>
              </a:solidFill>
            </a:endParaRPr>
          </a:p>
        </p:txBody>
      </p:sp>
    </p:spTree>
    <p:extLst>
      <p:ext uri="{BB962C8B-B14F-4D97-AF65-F5344CB8AC3E}">
        <p14:creationId xmlns:p14="http://schemas.microsoft.com/office/powerpoint/2010/main" val="165066551"/>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燕尾形 2">
            <a:extLst>
              <a:ext uri="{FF2B5EF4-FFF2-40B4-BE49-F238E27FC236}">
                <a16:creationId xmlns:a16="http://schemas.microsoft.com/office/drawing/2014/main" id="{594BA0BD-8A65-A443-84C9-AF97F24D7703}"/>
              </a:ext>
            </a:extLst>
          </p:cNvPr>
          <p:cNvSpPr/>
          <p:nvPr/>
        </p:nvSpPr>
        <p:spPr>
          <a:xfrm rot="16200000">
            <a:off x="5329381" y="-274706"/>
            <a:ext cx="1533238" cy="818354"/>
          </a:xfrm>
          <a:prstGeom prst="chevr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solidFill>
                <a:schemeClr val="tx1"/>
              </a:solidFill>
            </a:endParaRPr>
          </a:p>
        </p:txBody>
      </p:sp>
      <p:sp>
        <p:nvSpPr>
          <p:cNvPr id="11" name="文本框 10">
            <a:extLst>
              <a:ext uri="{FF2B5EF4-FFF2-40B4-BE49-F238E27FC236}">
                <a16:creationId xmlns:a16="http://schemas.microsoft.com/office/drawing/2014/main" id="{1BF63CD2-F561-E340-BF29-A1A86FB6FD97}"/>
              </a:ext>
            </a:extLst>
          </p:cNvPr>
          <p:cNvSpPr txBox="1"/>
          <p:nvPr/>
        </p:nvSpPr>
        <p:spPr>
          <a:xfrm>
            <a:off x="5256027" y="1840933"/>
            <a:ext cx="1679947" cy="1769715"/>
          </a:xfrm>
          <a:prstGeom prst="rect">
            <a:avLst/>
          </a:prstGeom>
          <a:noFill/>
        </p:spPr>
        <p:txBody>
          <a:bodyPr wrap="none" lIns="0" tIns="0" rIns="0" bIns="0" rtlCol="0">
            <a:spAutoFit/>
          </a:bodyPr>
          <a:lstStyle/>
          <a:p>
            <a:pPr algn="ctr"/>
            <a:r>
              <a:rPr kumimoji="1" lang="en-US" altLang="zh-CN" sz="11500" b="1" dirty="0">
                <a:solidFill>
                  <a:schemeClr val="accent1"/>
                </a:solidFill>
                <a:latin typeface="+mj-ea"/>
                <a:ea typeface="+mj-ea"/>
                <a:cs typeface="Alibaba PuHuiTi B" pitchFamily="18" charset="-122"/>
              </a:rPr>
              <a:t>01</a:t>
            </a:r>
            <a:endParaRPr kumimoji="1" lang="zh-CN" altLang="en-US" sz="11500" b="1" dirty="0">
              <a:solidFill>
                <a:schemeClr val="accent1"/>
              </a:solidFill>
              <a:latin typeface="+mj-ea"/>
              <a:ea typeface="+mj-ea"/>
              <a:cs typeface="Alibaba PuHuiTi B" pitchFamily="18" charset="-122"/>
            </a:endParaRPr>
          </a:p>
        </p:txBody>
      </p:sp>
      <p:sp>
        <p:nvSpPr>
          <p:cNvPr id="4" name="矩形 3">
            <a:extLst>
              <a:ext uri="{FF2B5EF4-FFF2-40B4-BE49-F238E27FC236}">
                <a16:creationId xmlns:a16="http://schemas.microsoft.com/office/drawing/2014/main" id="{5EC7C9EE-8B24-EA46-A5FA-5C17007C2185}"/>
              </a:ext>
            </a:extLst>
          </p:cNvPr>
          <p:cNvSpPr/>
          <p:nvPr/>
        </p:nvSpPr>
        <p:spPr>
          <a:xfrm>
            <a:off x="0" y="6562165"/>
            <a:ext cx="12192000" cy="29583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7" name="文本框 6">
            <a:extLst>
              <a:ext uri="{FF2B5EF4-FFF2-40B4-BE49-F238E27FC236}">
                <a16:creationId xmlns:a16="http://schemas.microsoft.com/office/drawing/2014/main" id="{11574799-7B0D-44B2-9B4A-DE8C9CD0C9EE}"/>
              </a:ext>
            </a:extLst>
          </p:cNvPr>
          <p:cNvSpPr txBox="1"/>
          <p:nvPr/>
        </p:nvSpPr>
        <p:spPr>
          <a:xfrm>
            <a:off x="3998054" y="3555218"/>
            <a:ext cx="4231928" cy="1015663"/>
          </a:xfrm>
          <a:prstGeom prst="rect">
            <a:avLst/>
          </a:prstGeom>
          <a:noFill/>
        </p:spPr>
        <p:txBody>
          <a:bodyPr wrap="none" lIns="0" tIns="0" rIns="0" bIns="0" rtlCol="0" anchor="t">
            <a:spAutoFit/>
          </a:bodyPr>
          <a:lstStyle/>
          <a:p>
            <a:r>
              <a:rPr kumimoji="1" lang="zh-CN" altLang="en-US" sz="6600" dirty="0">
                <a:solidFill>
                  <a:schemeClr val="accent1"/>
                </a:solidFill>
                <a:latin typeface="+mj-ea"/>
                <a:ea typeface="+mj-ea"/>
              </a:rPr>
              <a:t>过渡页标题</a:t>
            </a:r>
          </a:p>
        </p:txBody>
      </p:sp>
      <p:sp>
        <p:nvSpPr>
          <p:cNvPr id="8" name="文本框 7">
            <a:extLst>
              <a:ext uri="{FF2B5EF4-FFF2-40B4-BE49-F238E27FC236}">
                <a16:creationId xmlns:a16="http://schemas.microsoft.com/office/drawing/2014/main" id="{2CBA6B42-62BD-4F0E-AAC1-15CAAFCDA05E}"/>
              </a:ext>
            </a:extLst>
          </p:cNvPr>
          <p:cNvSpPr txBox="1"/>
          <p:nvPr/>
        </p:nvSpPr>
        <p:spPr>
          <a:xfrm>
            <a:off x="4026494" y="4570881"/>
            <a:ext cx="4139011" cy="276999"/>
          </a:xfrm>
          <a:prstGeom prst="rect">
            <a:avLst/>
          </a:prstGeom>
          <a:noFill/>
        </p:spPr>
        <p:txBody>
          <a:bodyPr wrap="square" lIns="0" tIns="0" rIns="0" bIns="0" rtlCol="0" anchor="t">
            <a:spAutoFit/>
          </a:bodyPr>
          <a:lstStyle/>
          <a:p>
            <a:pPr algn="dist"/>
            <a:r>
              <a:rPr kumimoji="1" lang="en-US" altLang="zh-CN" dirty="0">
                <a:solidFill>
                  <a:schemeClr val="accent1"/>
                </a:solidFill>
              </a:rPr>
              <a:t>Transition Page Title</a:t>
            </a:r>
            <a:endParaRPr kumimoji="1" lang="zh-CN" altLang="en-US" dirty="0">
              <a:solidFill>
                <a:schemeClr val="accent1"/>
              </a:solidFill>
            </a:endParaRPr>
          </a:p>
        </p:txBody>
      </p:sp>
    </p:spTree>
    <p:extLst>
      <p:ext uri="{BB962C8B-B14F-4D97-AF65-F5344CB8AC3E}">
        <p14:creationId xmlns:p14="http://schemas.microsoft.com/office/powerpoint/2010/main" val="4207790908"/>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矩形 3">
            <a:extLst>
              <a:ext uri="{FF2B5EF4-FFF2-40B4-BE49-F238E27FC236}">
                <a16:creationId xmlns:a16="http://schemas.microsoft.com/office/drawing/2014/main" id="{EBB8D6DF-CA5C-F342-8159-56CEBC6E3C46}"/>
              </a:ext>
            </a:extLst>
          </p:cNvPr>
          <p:cNvSpPr/>
          <p:nvPr/>
        </p:nvSpPr>
        <p:spPr>
          <a:xfrm>
            <a:off x="2081048" y="0"/>
            <a:ext cx="1944414" cy="592783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7" name="文本框 6">
            <a:extLst>
              <a:ext uri="{FF2B5EF4-FFF2-40B4-BE49-F238E27FC236}">
                <a16:creationId xmlns:a16="http://schemas.microsoft.com/office/drawing/2014/main" id="{A94E27FE-C96B-494E-8F2C-54C72CE70687}"/>
              </a:ext>
            </a:extLst>
          </p:cNvPr>
          <p:cNvSpPr txBox="1"/>
          <p:nvPr/>
        </p:nvSpPr>
        <p:spPr>
          <a:xfrm>
            <a:off x="2417589" y="4141076"/>
            <a:ext cx="1439498" cy="1477328"/>
          </a:xfrm>
          <a:prstGeom prst="rect">
            <a:avLst/>
          </a:prstGeom>
          <a:noFill/>
        </p:spPr>
        <p:txBody>
          <a:bodyPr wrap="none" lIns="0" tIns="0" rIns="0" bIns="0" rtlCol="0">
            <a:spAutoFit/>
          </a:bodyPr>
          <a:lstStyle/>
          <a:p>
            <a:pPr algn="ctr"/>
            <a:r>
              <a:rPr kumimoji="1" lang="en-US" altLang="zh-CN" sz="9600" dirty="0">
                <a:solidFill>
                  <a:schemeClr val="bg1"/>
                </a:solidFill>
                <a:latin typeface="Alibaba PuHuiTi M" pitchFamily="18" charset="-122"/>
                <a:ea typeface="Alibaba PuHuiTi M" pitchFamily="18" charset="-122"/>
                <a:cs typeface="Alibaba PuHuiTi M" pitchFamily="18" charset="-122"/>
              </a:rPr>
              <a:t>01</a:t>
            </a:r>
            <a:endParaRPr kumimoji="1" lang="zh-CN" altLang="en-US" sz="9600" dirty="0">
              <a:latin typeface="Alibaba PuHuiTi M" pitchFamily="18" charset="-122"/>
              <a:ea typeface="Alibaba PuHuiTi M" pitchFamily="18" charset="-122"/>
              <a:cs typeface="Alibaba PuHuiTi M" pitchFamily="18" charset="-122"/>
            </a:endParaRPr>
          </a:p>
        </p:txBody>
      </p:sp>
      <p:sp>
        <p:nvSpPr>
          <p:cNvPr id="15" name="矩形 14">
            <a:extLst>
              <a:ext uri="{FF2B5EF4-FFF2-40B4-BE49-F238E27FC236}">
                <a16:creationId xmlns:a16="http://schemas.microsoft.com/office/drawing/2014/main" id="{853D0256-4A9A-0347-9369-027820A781C2}"/>
              </a:ext>
            </a:extLst>
          </p:cNvPr>
          <p:cNvSpPr/>
          <p:nvPr/>
        </p:nvSpPr>
        <p:spPr>
          <a:xfrm>
            <a:off x="2081048" y="5618404"/>
            <a:ext cx="1944414" cy="309429"/>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cxnSp>
        <p:nvCxnSpPr>
          <p:cNvPr id="12" name="直线连接符 11">
            <a:extLst>
              <a:ext uri="{FF2B5EF4-FFF2-40B4-BE49-F238E27FC236}">
                <a16:creationId xmlns:a16="http://schemas.microsoft.com/office/drawing/2014/main" id="{8B427CC7-462E-0649-8361-EBBE5855FE54}"/>
              </a:ext>
            </a:extLst>
          </p:cNvPr>
          <p:cNvCxnSpPr>
            <a:cxnSpLocks/>
          </p:cNvCxnSpPr>
          <p:nvPr/>
        </p:nvCxnSpPr>
        <p:spPr>
          <a:xfrm flipH="1">
            <a:off x="2270234" y="4141076"/>
            <a:ext cx="1586853"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8" name="文本框 7">
            <a:extLst>
              <a:ext uri="{FF2B5EF4-FFF2-40B4-BE49-F238E27FC236}">
                <a16:creationId xmlns:a16="http://schemas.microsoft.com/office/drawing/2014/main" id="{3EF63EE1-A627-4342-BA28-60CA9A57D9CD}"/>
              </a:ext>
            </a:extLst>
          </p:cNvPr>
          <p:cNvSpPr txBox="1"/>
          <p:nvPr/>
        </p:nvSpPr>
        <p:spPr>
          <a:xfrm>
            <a:off x="4362003" y="4325742"/>
            <a:ext cx="4231928" cy="1015663"/>
          </a:xfrm>
          <a:prstGeom prst="rect">
            <a:avLst/>
          </a:prstGeom>
          <a:noFill/>
        </p:spPr>
        <p:txBody>
          <a:bodyPr wrap="none" lIns="0" tIns="0" rIns="0" bIns="0" rtlCol="0" anchor="t">
            <a:spAutoFit/>
          </a:bodyPr>
          <a:lstStyle/>
          <a:p>
            <a:r>
              <a:rPr kumimoji="1" lang="zh-CN" altLang="en-US" sz="6600" dirty="0">
                <a:solidFill>
                  <a:schemeClr val="accent1"/>
                </a:solidFill>
                <a:latin typeface="+mj-ea"/>
                <a:ea typeface="+mj-ea"/>
              </a:rPr>
              <a:t>过渡页标题</a:t>
            </a:r>
          </a:p>
        </p:txBody>
      </p:sp>
      <p:sp>
        <p:nvSpPr>
          <p:cNvPr id="9" name="文本框 8">
            <a:extLst>
              <a:ext uri="{FF2B5EF4-FFF2-40B4-BE49-F238E27FC236}">
                <a16:creationId xmlns:a16="http://schemas.microsoft.com/office/drawing/2014/main" id="{28C148F6-A2E4-4792-860B-432F0C5FA2EA}"/>
              </a:ext>
            </a:extLst>
          </p:cNvPr>
          <p:cNvSpPr txBox="1"/>
          <p:nvPr/>
        </p:nvSpPr>
        <p:spPr>
          <a:xfrm>
            <a:off x="4390443" y="5341405"/>
            <a:ext cx="4139011" cy="276999"/>
          </a:xfrm>
          <a:prstGeom prst="rect">
            <a:avLst/>
          </a:prstGeom>
          <a:noFill/>
        </p:spPr>
        <p:txBody>
          <a:bodyPr wrap="square" lIns="0" tIns="0" rIns="0" bIns="0" rtlCol="0" anchor="t">
            <a:spAutoFit/>
          </a:bodyPr>
          <a:lstStyle/>
          <a:p>
            <a:pPr algn="dist"/>
            <a:r>
              <a:rPr kumimoji="1" lang="en-US" altLang="zh-CN" dirty="0">
                <a:solidFill>
                  <a:schemeClr val="accent1"/>
                </a:solidFill>
              </a:rPr>
              <a:t>Transition Page Title</a:t>
            </a:r>
            <a:endParaRPr kumimoji="1" lang="zh-CN" altLang="en-US" dirty="0">
              <a:solidFill>
                <a:schemeClr val="accent1"/>
              </a:solidFill>
            </a:endParaRPr>
          </a:p>
        </p:txBody>
      </p:sp>
    </p:spTree>
    <p:extLst>
      <p:ext uri="{BB962C8B-B14F-4D97-AF65-F5344CB8AC3E}">
        <p14:creationId xmlns:p14="http://schemas.microsoft.com/office/powerpoint/2010/main" val="1543095984"/>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a:extLst>
              <a:ext uri="{FF2B5EF4-FFF2-40B4-BE49-F238E27FC236}">
                <a16:creationId xmlns:a16="http://schemas.microsoft.com/office/drawing/2014/main" id="{786A9D06-75D9-3C44-BABE-86D595E95D4F}"/>
              </a:ext>
            </a:extLst>
          </p:cNvPr>
          <p:cNvSpPr/>
          <p:nvPr/>
        </p:nvSpPr>
        <p:spPr>
          <a:xfrm>
            <a:off x="2339341" y="1828800"/>
            <a:ext cx="7513320" cy="1261242"/>
          </a:xfrm>
          <a:custGeom>
            <a:avLst/>
            <a:gdLst>
              <a:gd name="connsiteX0" fmla="*/ 0 w 8313683"/>
              <a:gd name="connsiteY0" fmla="*/ 0 h 2207173"/>
              <a:gd name="connsiteX1" fmla="*/ 8313683 w 8313683"/>
              <a:gd name="connsiteY1" fmla="*/ 0 h 2207173"/>
              <a:gd name="connsiteX2" fmla="*/ 8313683 w 8313683"/>
              <a:gd name="connsiteY2" fmla="*/ 2207173 h 2207173"/>
              <a:gd name="connsiteX3" fmla="*/ 0 w 8313683"/>
              <a:gd name="connsiteY3" fmla="*/ 2207173 h 2207173"/>
              <a:gd name="connsiteX4" fmla="*/ 0 w 8313683"/>
              <a:gd name="connsiteY4" fmla="*/ 0 h 2207173"/>
              <a:gd name="connsiteX0" fmla="*/ 0 w 8313683"/>
              <a:gd name="connsiteY0" fmla="*/ 2207173 h 2298613"/>
              <a:gd name="connsiteX1" fmla="*/ 0 w 8313683"/>
              <a:gd name="connsiteY1" fmla="*/ 0 h 2298613"/>
              <a:gd name="connsiteX2" fmla="*/ 8313683 w 8313683"/>
              <a:gd name="connsiteY2" fmla="*/ 0 h 2298613"/>
              <a:gd name="connsiteX3" fmla="*/ 8313683 w 8313683"/>
              <a:gd name="connsiteY3" fmla="*/ 2207173 h 2298613"/>
              <a:gd name="connsiteX4" fmla="*/ 91440 w 8313683"/>
              <a:gd name="connsiteY4" fmla="*/ 2298613 h 2298613"/>
              <a:gd name="connsiteX0" fmla="*/ 0 w 8313683"/>
              <a:gd name="connsiteY0" fmla="*/ 2207173 h 2207173"/>
              <a:gd name="connsiteX1" fmla="*/ 0 w 8313683"/>
              <a:gd name="connsiteY1" fmla="*/ 0 h 2207173"/>
              <a:gd name="connsiteX2" fmla="*/ 8313683 w 8313683"/>
              <a:gd name="connsiteY2" fmla="*/ 0 h 2207173"/>
              <a:gd name="connsiteX3" fmla="*/ 8313683 w 8313683"/>
              <a:gd name="connsiteY3" fmla="*/ 2207173 h 2207173"/>
            </a:gdLst>
            <a:ahLst/>
            <a:cxnLst>
              <a:cxn ang="0">
                <a:pos x="connsiteX0" y="connsiteY0"/>
              </a:cxn>
              <a:cxn ang="0">
                <a:pos x="connsiteX1" y="connsiteY1"/>
              </a:cxn>
              <a:cxn ang="0">
                <a:pos x="connsiteX2" y="connsiteY2"/>
              </a:cxn>
              <a:cxn ang="0">
                <a:pos x="connsiteX3" y="connsiteY3"/>
              </a:cxn>
            </a:cxnLst>
            <a:rect l="l" t="t" r="r" b="b"/>
            <a:pathLst>
              <a:path w="8313683" h="2207173">
                <a:moveTo>
                  <a:pt x="0" y="2207173"/>
                </a:moveTo>
                <a:lnTo>
                  <a:pt x="0" y="0"/>
                </a:lnTo>
                <a:lnTo>
                  <a:pt x="8313683" y="0"/>
                </a:lnTo>
                <a:lnTo>
                  <a:pt x="8313683" y="2207173"/>
                </a:lnTo>
              </a:path>
            </a:pathLst>
          </a:cu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solidFill>
                <a:schemeClr val="accent1"/>
              </a:solidFill>
            </a:endParaRPr>
          </a:p>
        </p:txBody>
      </p:sp>
      <p:sp>
        <p:nvSpPr>
          <p:cNvPr id="9" name="矩形 1">
            <a:extLst>
              <a:ext uri="{FF2B5EF4-FFF2-40B4-BE49-F238E27FC236}">
                <a16:creationId xmlns:a16="http://schemas.microsoft.com/office/drawing/2014/main" id="{ACD84752-872E-1F4F-A28F-958686F712EC}"/>
              </a:ext>
            </a:extLst>
          </p:cNvPr>
          <p:cNvSpPr/>
          <p:nvPr/>
        </p:nvSpPr>
        <p:spPr>
          <a:xfrm flipV="1">
            <a:off x="2339341" y="3975538"/>
            <a:ext cx="7513320" cy="1261242"/>
          </a:xfrm>
          <a:custGeom>
            <a:avLst/>
            <a:gdLst>
              <a:gd name="connsiteX0" fmla="*/ 0 w 8313683"/>
              <a:gd name="connsiteY0" fmla="*/ 0 h 2207173"/>
              <a:gd name="connsiteX1" fmla="*/ 8313683 w 8313683"/>
              <a:gd name="connsiteY1" fmla="*/ 0 h 2207173"/>
              <a:gd name="connsiteX2" fmla="*/ 8313683 w 8313683"/>
              <a:gd name="connsiteY2" fmla="*/ 2207173 h 2207173"/>
              <a:gd name="connsiteX3" fmla="*/ 0 w 8313683"/>
              <a:gd name="connsiteY3" fmla="*/ 2207173 h 2207173"/>
              <a:gd name="connsiteX4" fmla="*/ 0 w 8313683"/>
              <a:gd name="connsiteY4" fmla="*/ 0 h 2207173"/>
              <a:gd name="connsiteX0" fmla="*/ 0 w 8313683"/>
              <a:gd name="connsiteY0" fmla="*/ 2207173 h 2298613"/>
              <a:gd name="connsiteX1" fmla="*/ 0 w 8313683"/>
              <a:gd name="connsiteY1" fmla="*/ 0 h 2298613"/>
              <a:gd name="connsiteX2" fmla="*/ 8313683 w 8313683"/>
              <a:gd name="connsiteY2" fmla="*/ 0 h 2298613"/>
              <a:gd name="connsiteX3" fmla="*/ 8313683 w 8313683"/>
              <a:gd name="connsiteY3" fmla="*/ 2207173 h 2298613"/>
              <a:gd name="connsiteX4" fmla="*/ 91440 w 8313683"/>
              <a:gd name="connsiteY4" fmla="*/ 2298613 h 2298613"/>
              <a:gd name="connsiteX0" fmla="*/ 0 w 8313683"/>
              <a:gd name="connsiteY0" fmla="*/ 2207173 h 2207173"/>
              <a:gd name="connsiteX1" fmla="*/ 0 w 8313683"/>
              <a:gd name="connsiteY1" fmla="*/ 0 h 2207173"/>
              <a:gd name="connsiteX2" fmla="*/ 8313683 w 8313683"/>
              <a:gd name="connsiteY2" fmla="*/ 0 h 2207173"/>
              <a:gd name="connsiteX3" fmla="*/ 8313683 w 8313683"/>
              <a:gd name="connsiteY3" fmla="*/ 2207173 h 2207173"/>
            </a:gdLst>
            <a:ahLst/>
            <a:cxnLst>
              <a:cxn ang="0">
                <a:pos x="connsiteX0" y="connsiteY0"/>
              </a:cxn>
              <a:cxn ang="0">
                <a:pos x="connsiteX1" y="connsiteY1"/>
              </a:cxn>
              <a:cxn ang="0">
                <a:pos x="connsiteX2" y="connsiteY2"/>
              </a:cxn>
              <a:cxn ang="0">
                <a:pos x="connsiteX3" y="connsiteY3"/>
              </a:cxn>
            </a:cxnLst>
            <a:rect l="l" t="t" r="r" b="b"/>
            <a:pathLst>
              <a:path w="8313683" h="2207173">
                <a:moveTo>
                  <a:pt x="0" y="2207173"/>
                </a:moveTo>
                <a:lnTo>
                  <a:pt x="0" y="0"/>
                </a:lnTo>
                <a:lnTo>
                  <a:pt x="8313683" y="0"/>
                </a:lnTo>
                <a:lnTo>
                  <a:pt x="8313683" y="2207173"/>
                </a:lnTo>
              </a:path>
            </a:pathLst>
          </a:cu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solidFill>
                <a:schemeClr val="accent1"/>
              </a:solidFill>
            </a:endParaRPr>
          </a:p>
        </p:txBody>
      </p:sp>
      <p:sp>
        <p:nvSpPr>
          <p:cNvPr id="5" name="同侧圆角矩形 4">
            <a:extLst>
              <a:ext uri="{FF2B5EF4-FFF2-40B4-BE49-F238E27FC236}">
                <a16:creationId xmlns:a16="http://schemas.microsoft.com/office/drawing/2014/main" id="{0399D261-32C8-A84A-A62D-643FE542833E}"/>
              </a:ext>
            </a:extLst>
          </p:cNvPr>
          <p:cNvSpPr/>
          <p:nvPr/>
        </p:nvSpPr>
        <p:spPr>
          <a:xfrm>
            <a:off x="4770784" y="1278835"/>
            <a:ext cx="2650434" cy="549965"/>
          </a:xfrm>
          <a:prstGeom prst="round2Same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2400" dirty="0">
                <a:latin typeface="Alibaba PuHuiTi M" pitchFamily="18" charset="-122"/>
                <a:ea typeface="Alibaba PuHuiTi M" pitchFamily="18" charset="-122"/>
                <a:cs typeface="Alibaba PuHuiTi M" pitchFamily="18" charset="-122"/>
              </a:rPr>
              <a:t>第一部分</a:t>
            </a:r>
          </a:p>
        </p:txBody>
      </p:sp>
      <p:sp>
        <p:nvSpPr>
          <p:cNvPr id="6" name="直角三角形 5">
            <a:extLst>
              <a:ext uri="{FF2B5EF4-FFF2-40B4-BE49-F238E27FC236}">
                <a16:creationId xmlns:a16="http://schemas.microsoft.com/office/drawing/2014/main" id="{F1EED46A-744C-2C43-9E6E-8EAA6C4A2721}"/>
              </a:ext>
            </a:extLst>
          </p:cNvPr>
          <p:cNvSpPr/>
          <p:nvPr/>
        </p:nvSpPr>
        <p:spPr>
          <a:xfrm>
            <a:off x="2339339" y="5007505"/>
            <a:ext cx="229275" cy="229275"/>
          </a:xfrm>
          <a:prstGeom prst="r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solidFill>
                <a:schemeClr val="accent1"/>
              </a:solidFill>
            </a:endParaRPr>
          </a:p>
        </p:txBody>
      </p:sp>
      <p:sp>
        <p:nvSpPr>
          <p:cNvPr id="16" name="直角三角形 15">
            <a:extLst>
              <a:ext uri="{FF2B5EF4-FFF2-40B4-BE49-F238E27FC236}">
                <a16:creationId xmlns:a16="http://schemas.microsoft.com/office/drawing/2014/main" id="{7947F92F-C63D-2840-B39E-79B471B909C5}"/>
              </a:ext>
            </a:extLst>
          </p:cNvPr>
          <p:cNvSpPr/>
          <p:nvPr/>
        </p:nvSpPr>
        <p:spPr>
          <a:xfrm flipH="1">
            <a:off x="9623384" y="5007505"/>
            <a:ext cx="229275" cy="229275"/>
          </a:xfrm>
          <a:prstGeom prst="r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solidFill>
                <a:schemeClr val="accent1"/>
              </a:solidFill>
            </a:endParaRPr>
          </a:p>
        </p:txBody>
      </p:sp>
      <p:grpSp>
        <p:nvGrpSpPr>
          <p:cNvPr id="3" name="组合 2">
            <a:extLst>
              <a:ext uri="{FF2B5EF4-FFF2-40B4-BE49-F238E27FC236}">
                <a16:creationId xmlns:a16="http://schemas.microsoft.com/office/drawing/2014/main" id="{3D6B8AFE-E871-4015-9B91-C1767FFE6B39}"/>
              </a:ext>
            </a:extLst>
          </p:cNvPr>
          <p:cNvGrpSpPr/>
          <p:nvPr/>
        </p:nvGrpSpPr>
        <p:grpSpPr>
          <a:xfrm>
            <a:off x="3018235" y="2570590"/>
            <a:ext cx="6155531" cy="1985956"/>
            <a:chOff x="3264723" y="2475297"/>
            <a:chExt cx="6155531" cy="1985956"/>
          </a:xfrm>
        </p:grpSpPr>
        <p:sp>
          <p:nvSpPr>
            <p:cNvPr id="12" name="文本框 11">
              <a:extLst>
                <a:ext uri="{FF2B5EF4-FFF2-40B4-BE49-F238E27FC236}">
                  <a16:creationId xmlns:a16="http://schemas.microsoft.com/office/drawing/2014/main" id="{1B04023B-6F06-42F1-B376-1AB998EC9204}"/>
                </a:ext>
              </a:extLst>
            </p:cNvPr>
            <p:cNvSpPr txBox="1"/>
            <p:nvPr/>
          </p:nvSpPr>
          <p:spPr>
            <a:xfrm>
              <a:off x="3264723" y="2475297"/>
              <a:ext cx="6155531" cy="1477328"/>
            </a:xfrm>
            <a:prstGeom prst="rect">
              <a:avLst/>
            </a:prstGeom>
            <a:noFill/>
          </p:spPr>
          <p:txBody>
            <a:bodyPr wrap="none" lIns="0" tIns="0" rIns="0" bIns="0" rtlCol="0" anchor="t">
              <a:spAutoFit/>
            </a:bodyPr>
            <a:lstStyle/>
            <a:p>
              <a:r>
                <a:rPr kumimoji="1" lang="zh-CN" altLang="en-US" sz="9600" dirty="0">
                  <a:solidFill>
                    <a:schemeClr val="accent1"/>
                  </a:solidFill>
                  <a:latin typeface="+mj-ea"/>
                  <a:ea typeface="+mj-ea"/>
                </a:rPr>
                <a:t>过渡页标题</a:t>
              </a:r>
            </a:p>
          </p:txBody>
        </p:sp>
        <p:sp>
          <p:nvSpPr>
            <p:cNvPr id="14" name="文本框 13">
              <a:extLst>
                <a:ext uri="{FF2B5EF4-FFF2-40B4-BE49-F238E27FC236}">
                  <a16:creationId xmlns:a16="http://schemas.microsoft.com/office/drawing/2014/main" id="{B553FFB1-BB63-4235-8879-467C8A4C8301}"/>
                </a:ext>
              </a:extLst>
            </p:cNvPr>
            <p:cNvSpPr txBox="1"/>
            <p:nvPr/>
          </p:nvSpPr>
          <p:spPr>
            <a:xfrm>
              <a:off x="3306390" y="3845700"/>
              <a:ext cx="6113864" cy="615553"/>
            </a:xfrm>
            <a:prstGeom prst="rect">
              <a:avLst/>
            </a:prstGeom>
            <a:noFill/>
          </p:spPr>
          <p:txBody>
            <a:bodyPr wrap="square" lIns="0" tIns="0" rIns="0" bIns="0" rtlCol="0" anchor="t">
              <a:spAutoFit/>
            </a:bodyPr>
            <a:lstStyle/>
            <a:p>
              <a:pPr algn="dist"/>
              <a:r>
                <a:rPr kumimoji="1" lang="en-US" altLang="zh-CN" sz="4000" dirty="0">
                  <a:solidFill>
                    <a:schemeClr val="accent1"/>
                  </a:solidFill>
                </a:rPr>
                <a:t>Transition Page Title</a:t>
              </a:r>
              <a:endParaRPr kumimoji="1" lang="zh-CN" altLang="en-US" sz="4000" dirty="0">
                <a:solidFill>
                  <a:schemeClr val="accent1"/>
                </a:solidFill>
              </a:endParaRPr>
            </a:p>
          </p:txBody>
        </p:sp>
      </p:grpSp>
    </p:spTree>
    <p:extLst>
      <p:ext uri="{BB962C8B-B14F-4D97-AF65-F5344CB8AC3E}">
        <p14:creationId xmlns:p14="http://schemas.microsoft.com/office/powerpoint/2010/main" val="629963599"/>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1">
            <a:extLst>
              <a:ext uri="{FF2B5EF4-FFF2-40B4-BE49-F238E27FC236}">
                <a16:creationId xmlns:a16="http://schemas.microsoft.com/office/drawing/2014/main" id="{D394C603-89BB-1342-97D6-218CF757BCDF}"/>
              </a:ext>
            </a:extLst>
          </p:cNvPr>
          <p:cNvGrpSpPr/>
          <p:nvPr/>
        </p:nvGrpSpPr>
        <p:grpSpPr>
          <a:xfrm rot="16200000">
            <a:off x="4531860" y="-128395"/>
            <a:ext cx="3128282" cy="7322370"/>
            <a:chOff x="2339341" y="1828800"/>
            <a:chExt cx="7513320" cy="3407980"/>
          </a:xfrm>
        </p:grpSpPr>
        <p:sp>
          <p:nvSpPr>
            <p:cNvPr id="7" name="矩形 1">
              <a:extLst>
                <a:ext uri="{FF2B5EF4-FFF2-40B4-BE49-F238E27FC236}">
                  <a16:creationId xmlns:a16="http://schemas.microsoft.com/office/drawing/2014/main" id="{4B363D3B-33EE-2745-B646-EDDCE254784F}"/>
                </a:ext>
              </a:extLst>
            </p:cNvPr>
            <p:cNvSpPr/>
            <p:nvPr/>
          </p:nvSpPr>
          <p:spPr>
            <a:xfrm>
              <a:off x="2339341" y="1828800"/>
              <a:ext cx="7513320" cy="1261242"/>
            </a:xfrm>
            <a:custGeom>
              <a:avLst/>
              <a:gdLst>
                <a:gd name="connsiteX0" fmla="*/ 0 w 8313683"/>
                <a:gd name="connsiteY0" fmla="*/ 0 h 2207173"/>
                <a:gd name="connsiteX1" fmla="*/ 8313683 w 8313683"/>
                <a:gd name="connsiteY1" fmla="*/ 0 h 2207173"/>
                <a:gd name="connsiteX2" fmla="*/ 8313683 w 8313683"/>
                <a:gd name="connsiteY2" fmla="*/ 2207173 h 2207173"/>
                <a:gd name="connsiteX3" fmla="*/ 0 w 8313683"/>
                <a:gd name="connsiteY3" fmla="*/ 2207173 h 2207173"/>
                <a:gd name="connsiteX4" fmla="*/ 0 w 8313683"/>
                <a:gd name="connsiteY4" fmla="*/ 0 h 2207173"/>
                <a:gd name="connsiteX0" fmla="*/ 0 w 8313683"/>
                <a:gd name="connsiteY0" fmla="*/ 2207173 h 2298613"/>
                <a:gd name="connsiteX1" fmla="*/ 0 w 8313683"/>
                <a:gd name="connsiteY1" fmla="*/ 0 h 2298613"/>
                <a:gd name="connsiteX2" fmla="*/ 8313683 w 8313683"/>
                <a:gd name="connsiteY2" fmla="*/ 0 h 2298613"/>
                <a:gd name="connsiteX3" fmla="*/ 8313683 w 8313683"/>
                <a:gd name="connsiteY3" fmla="*/ 2207173 h 2298613"/>
                <a:gd name="connsiteX4" fmla="*/ 91440 w 8313683"/>
                <a:gd name="connsiteY4" fmla="*/ 2298613 h 2298613"/>
                <a:gd name="connsiteX0" fmla="*/ 0 w 8313683"/>
                <a:gd name="connsiteY0" fmla="*/ 2207173 h 2207173"/>
                <a:gd name="connsiteX1" fmla="*/ 0 w 8313683"/>
                <a:gd name="connsiteY1" fmla="*/ 0 h 2207173"/>
                <a:gd name="connsiteX2" fmla="*/ 8313683 w 8313683"/>
                <a:gd name="connsiteY2" fmla="*/ 0 h 2207173"/>
                <a:gd name="connsiteX3" fmla="*/ 8313683 w 8313683"/>
                <a:gd name="connsiteY3" fmla="*/ 2207173 h 2207173"/>
              </a:gdLst>
              <a:ahLst/>
              <a:cxnLst>
                <a:cxn ang="0">
                  <a:pos x="connsiteX0" y="connsiteY0"/>
                </a:cxn>
                <a:cxn ang="0">
                  <a:pos x="connsiteX1" y="connsiteY1"/>
                </a:cxn>
                <a:cxn ang="0">
                  <a:pos x="connsiteX2" y="connsiteY2"/>
                </a:cxn>
                <a:cxn ang="0">
                  <a:pos x="connsiteX3" y="connsiteY3"/>
                </a:cxn>
              </a:cxnLst>
              <a:rect l="l" t="t" r="r" b="b"/>
              <a:pathLst>
                <a:path w="8313683" h="2207173">
                  <a:moveTo>
                    <a:pt x="0" y="2207173"/>
                  </a:moveTo>
                  <a:lnTo>
                    <a:pt x="0" y="0"/>
                  </a:lnTo>
                  <a:lnTo>
                    <a:pt x="8313683" y="0"/>
                  </a:lnTo>
                  <a:lnTo>
                    <a:pt x="8313683" y="2207173"/>
                  </a:lnTo>
                </a:path>
              </a:pathLst>
            </a:cu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solidFill>
                  <a:schemeClr val="accent1"/>
                </a:solidFill>
              </a:endParaRPr>
            </a:p>
          </p:txBody>
        </p:sp>
        <p:sp>
          <p:nvSpPr>
            <p:cNvPr id="8" name="矩形 1">
              <a:extLst>
                <a:ext uri="{FF2B5EF4-FFF2-40B4-BE49-F238E27FC236}">
                  <a16:creationId xmlns:a16="http://schemas.microsoft.com/office/drawing/2014/main" id="{1FBE8DFA-42A0-BE42-8AE9-F5717C71B2CA}"/>
                </a:ext>
              </a:extLst>
            </p:cNvPr>
            <p:cNvSpPr/>
            <p:nvPr/>
          </p:nvSpPr>
          <p:spPr>
            <a:xfrm flipV="1">
              <a:off x="2339341" y="3975538"/>
              <a:ext cx="7513320" cy="1261242"/>
            </a:xfrm>
            <a:custGeom>
              <a:avLst/>
              <a:gdLst>
                <a:gd name="connsiteX0" fmla="*/ 0 w 8313683"/>
                <a:gd name="connsiteY0" fmla="*/ 0 h 2207173"/>
                <a:gd name="connsiteX1" fmla="*/ 8313683 w 8313683"/>
                <a:gd name="connsiteY1" fmla="*/ 0 h 2207173"/>
                <a:gd name="connsiteX2" fmla="*/ 8313683 w 8313683"/>
                <a:gd name="connsiteY2" fmla="*/ 2207173 h 2207173"/>
                <a:gd name="connsiteX3" fmla="*/ 0 w 8313683"/>
                <a:gd name="connsiteY3" fmla="*/ 2207173 h 2207173"/>
                <a:gd name="connsiteX4" fmla="*/ 0 w 8313683"/>
                <a:gd name="connsiteY4" fmla="*/ 0 h 2207173"/>
                <a:gd name="connsiteX0" fmla="*/ 0 w 8313683"/>
                <a:gd name="connsiteY0" fmla="*/ 2207173 h 2298613"/>
                <a:gd name="connsiteX1" fmla="*/ 0 w 8313683"/>
                <a:gd name="connsiteY1" fmla="*/ 0 h 2298613"/>
                <a:gd name="connsiteX2" fmla="*/ 8313683 w 8313683"/>
                <a:gd name="connsiteY2" fmla="*/ 0 h 2298613"/>
                <a:gd name="connsiteX3" fmla="*/ 8313683 w 8313683"/>
                <a:gd name="connsiteY3" fmla="*/ 2207173 h 2298613"/>
                <a:gd name="connsiteX4" fmla="*/ 91440 w 8313683"/>
                <a:gd name="connsiteY4" fmla="*/ 2298613 h 2298613"/>
                <a:gd name="connsiteX0" fmla="*/ 0 w 8313683"/>
                <a:gd name="connsiteY0" fmla="*/ 2207173 h 2207173"/>
                <a:gd name="connsiteX1" fmla="*/ 0 w 8313683"/>
                <a:gd name="connsiteY1" fmla="*/ 0 h 2207173"/>
                <a:gd name="connsiteX2" fmla="*/ 8313683 w 8313683"/>
                <a:gd name="connsiteY2" fmla="*/ 0 h 2207173"/>
                <a:gd name="connsiteX3" fmla="*/ 8313683 w 8313683"/>
                <a:gd name="connsiteY3" fmla="*/ 2207173 h 2207173"/>
              </a:gdLst>
              <a:ahLst/>
              <a:cxnLst>
                <a:cxn ang="0">
                  <a:pos x="connsiteX0" y="connsiteY0"/>
                </a:cxn>
                <a:cxn ang="0">
                  <a:pos x="connsiteX1" y="connsiteY1"/>
                </a:cxn>
                <a:cxn ang="0">
                  <a:pos x="connsiteX2" y="connsiteY2"/>
                </a:cxn>
                <a:cxn ang="0">
                  <a:pos x="connsiteX3" y="connsiteY3"/>
                </a:cxn>
              </a:cxnLst>
              <a:rect l="l" t="t" r="r" b="b"/>
              <a:pathLst>
                <a:path w="8313683" h="2207173">
                  <a:moveTo>
                    <a:pt x="0" y="2207173"/>
                  </a:moveTo>
                  <a:lnTo>
                    <a:pt x="0" y="0"/>
                  </a:lnTo>
                  <a:lnTo>
                    <a:pt x="8313683" y="0"/>
                  </a:lnTo>
                  <a:lnTo>
                    <a:pt x="8313683" y="2207173"/>
                  </a:lnTo>
                </a:path>
              </a:pathLst>
            </a:cu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solidFill>
                  <a:schemeClr val="accent1"/>
                </a:solidFill>
              </a:endParaRPr>
            </a:p>
          </p:txBody>
        </p:sp>
      </p:grpSp>
      <p:sp>
        <p:nvSpPr>
          <p:cNvPr id="5" name="文本框 4">
            <a:extLst>
              <a:ext uri="{FF2B5EF4-FFF2-40B4-BE49-F238E27FC236}">
                <a16:creationId xmlns:a16="http://schemas.microsoft.com/office/drawing/2014/main" id="{B0B85C70-A205-6E4D-AAC4-2358C6CB1C5B}"/>
              </a:ext>
            </a:extLst>
          </p:cNvPr>
          <p:cNvSpPr txBox="1"/>
          <p:nvPr/>
        </p:nvSpPr>
        <p:spPr>
          <a:xfrm>
            <a:off x="5251895" y="1753205"/>
            <a:ext cx="1731243" cy="430887"/>
          </a:xfrm>
          <a:prstGeom prst="rect">
            <a:avLst/>
          </a:prstGeom>
          <a:noFill/>
        </p:spPr>
        <p:txBody>
          <a:bodyPr wrap="none" lIns="0" tIns="0" rIns="0" bIns="0" rtlCol="0">
            <a:spAutoFit/>
          </a:bodyPr>
          <a:lstStyle/>
          <a:p>
            <a:pPr algn="ctr"/>
            <a:r>
              <a:rPr kumimoji="1" lang="en-US" altLang="zh-CN" sz="2800" dirty="0">
                <a:solidFill>
                  <a:schemeClr val="accent1"/>
                </a:solidFill>
                <a:latin typeface="Alibaba PuHuiTi R" pitchFamily="18" charset="-122"/>
                <a:ea typeface="Alibaba PuHuiTi R" pitchFamily="18" charset="-122"/>
                <a:cs typeface="Alibaba PuHuiTi R" pitchFamily="18" charset="-122"/>
              </a:rPr>
              <a:t>PART</a:t>
            </a:r>
            <a:r>
              <a:rPr kumimoji="1" lang="zh-CN" altLang="en-US" sz="2800" dirty="0">
                <a:solidFill>
                  <a:schemeClr val="accent1"/>
                </a:solidFill>
                <a:latin typeface="Alibaba PuHuiTi R" pitchFamily="18" charset="-122"/>
                <a:ea typeface="Alibaba PuHuiTi R" pitchFamily="18" charset="-122"/>
                <a:cs typeface="Alibaba PuHuiTi R" pitchFamily="18" charset="-122"/>
              </a:rPr>
              <a:t> </a:t>
            </a:r>
            <a:r>
              <a:rPr kumimoji="1" lang="en-US" altLang="zh-CN" sz="2800" dirty="0">
                <a:solidFill>
                  <a:schemeClr val="accent1"/>
                </a:solidFill>
                <a:latin typeface="Alibaba PuHuiTi R" pitchFamily="18" charset="-122"/>
                <a:ea typeface="Alibaba PuHuiTi R" pitchFamily="18" charset="-122"/>
                <a:cs typeface="Alibaba PuHuiTi R" pitchFamily="18" charset="-122"/>
              </a:rPr>
              <a:t>ONE</a:t>
            </a:r>
            <a:endParaRPr kumimoji="1" lang="zh-CN" altLang="en-US" sz="2800" dirty="0">
              <a:solidFill>
                <a:schemeClr val="accent1"/>
              </a:solidFill>
              <a:latin typeface="Alibaba PuHuiTi R" pitchFamily="18" charset="-122"/>
              <a:ea typeface="Alibaba PuHuiTi R" pitchFamily="18" charset="-122"/>
              <a:cs typeface="Alibaba PuHuiTi R" pitchFamily="18" charset="-122"/>
            </a:endParaRPr>
          </a:p>
        </p:txBody>
      </p:sp>
      <p:sp>
        <p:nvSpPr>
          <p:cNvPr id="18" name="文本框 17">
            <a:extLst>
              <a:ext uri="{FF2B5EF4-FFF2-40B4-BE49-F238E27FC236}">
                <a16:creationId xmlns:a16="http://schemas.microsoft.com/office/drawing/2014/main" id="{F5CA5BE0-C098-3F4B-8C0A-13D769145316}"/>
              </a:ext>
            </a:extLst>
          </p:cNvPr>
          <p:cNvSpPr txBox="1"/>
          <p:nvPr/>
        </p:nvSpPr>
        <p:spPr>
          <a:xfrm>
            <a:off x="5251903" y="4943043"/>
            <a:ext cx="1731236" cy="307777"/>
          </a:xfrm>
          <a:prstGeom prst="rect">
            <a:avLst/>
          </a:prstGeom>
          <a:noFill/>
        </p:spPr>
        <p:txBody>
          <a:bodyPr wrap="square" lIns="0" tIns="0" rIns="0" bIns="0" rtlCol="0">
            <a:spAutoFit/>
          </a:bodyPr>
          <a:lstStyle/>
          <a:p>
            <a:pPr algn="dist"/>
            <a:r>
              <a:rPr kumimoji="1" lang="zh-CN" altLang="en-US" sz="2000" dirty="0">
                <a:solidFill>
                  <a:schemeClr val="accent1"/>
                </a:solidFill>
                <a:latin typeface="Alibaba PuHuiTi R" pitchFamily="18" charset="-122"/>
                <a:ea typeface="Alibaba PuHuiTi R" pitchFamily="18" charset="-122"/>
                <a:cs typeface="Alibaba PuHuiTi R" pitchFamily="18" charset="-122"/>
              </a:rPr>
              <a:t>年终总结汇报</a:t>
            </a:r>
          </a:p>
        </p:txBody>
      </p:sp>
      <p:sp>
        <p:nvSpPr>
          <p:cNvPr id="6" name="直角三角形 5">
            <a:extLst>
              <a:ext uri="{FF2B5EF4-FFF2-40B4-BE49-F238E27FC236}">
                <a16:creationId xmlns:a16="http://schemas.microsoft.com/office/drawing/2014/main" id="{062D751A-79AE-C54D-B653-C009914FDF23}"/>
              </a:ext>
            </a:extLst>
          </p:cNvPr>
          <p:cNvSpPr/>
          <p:nvPr/>
        </p:nvSpPr>
        <p:spPr>
          <a:xfrm>
            <a:off x="0" y="5561704"/>
            <a:ext cx="1301675" cy="1301675"/>
          </a:xfrm>
          <a:prstGeom prst="r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9" name="直角三角形 18">
            <a:extLst>
              <a:ext uri="{FF2B5EF4-FFF2-40B4-BE49-F238E27FC236}">
                <a16:creationId xmlns:a16="http://schemas.microsoft.com/office/drawing/2014/main" id="{592D0AC6-DBA3-A848-ADB8-B887D7500193}"/>
              </a:ext>
            </a:extLst>
          </p:cNvPr>
          <p:cNvSpPr/>
          <p:nvPr/>
        </p:nvSpPr>
        <p:spPr>
          <a:xfrm rot="10800000">
            <a:off x="10890325" y="0"/>
            <a:ext cx="1301675" cy="1301675"/>
          </a:xfrm>
          <a:prstGeom prst="r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grpSp>
        <p:nvGrpSpPr>
          <p:cNvPr id="13" name="组合 12">
            <a:extLst>
              <a:ext uri="{FF2B5EF4-FFF2-40B4-BE49-F238E27FC236}">
                <a16:creationId xmlns:a16="http://schemas.microsoft.com/office/drawing/2014/main" id="{C1D496BC-D1F3-4C30-8260-AFCE58DEB9B1}"/>
              </a:ext>
            </a:extLst>
          </p:cNvPr>
          <p:cNvGrpSpPr/>
          <p:nvPr/>
        </p:nvGrpSpPr>
        <p:grpSpPr>
          <a:xfrm>
            <a:off x="3018235" y="2570590"/>
            <a:ext cx="6155531" cy="1985956"/>
            <a:chOff x="3264723" y="2475297"/>
            <a:chExt cx="6155531" cy="1985956"/>
          </a:xfrm>
        </p:grpSpPr>
        <p:sp>
          <p:nvSpPr>
            <p:cNvPr id="14" name="文本框 13">
              <a:extLst>
                <a:ext uri="{FF2B5EF4-FFF2-40B4-BE49-F238E27FC236}">
                  <a16:creationId xmlns:a16="http://schemas.microsoft.com/office/drawing/2014/main" id="{BDF0016A-5E91-4172-B5F0-418F55A116C2}"/>
                </a:ext>
              </a:extLst>
            </p:cNvPr>
            <p:cNvSpPr txBox="1"/>
            <p:nvPr/>
          </p:nvSpPr>
          <p:spPr>
            <a:xfrm>
              <a:off x="3264723" y="2475297"/>
              <a:ext cx="6155531" cy="1477328"/>
            </a:xfrm>
            <a:prstGeom prst="rect">
              <a:avLst/>
            </a:prstGeom>
            <a:noFill/>
          </p:spPr>
          <p:txBody>
            <a:bodyPr wrap="none" lIns="0" tIns="0" rIns="0" bIns="0" rtlCol="0" anchor="t">
              <a:spAutoFit/>
            </a:bodyPr>
            <a:lstStyle/>
            <a:p>
              <a:r>
                <a:rPr kumimoji="1" lang="zh-CN" altLang="en-US" sz="9600" dirty="0">
                  <a:solidFill>
                    <a:schemeClr val="accent1"/>
                  </a:solidFill>
                  <a:latin typeface="+mj-ea"/>
                  <a:ea typeface="+mj-ea"/>
                </a:rPr>
                <a:t>过渡页标题</a:t>
              </a:r>
            </a:p>
          </p:txBody>
        </p:sp>
        <p:sp>
          <p:nvSpPr>
            <p:cNvPr id="15" name="文本框 14">
              <a:extLst>
                <a:ext uri="{FF2B5EF4-FFF2-40B4-BE49-F238E27FC236}">
                  <a16:creationId xmlns:a16="http://schemas.microsoft.com/office/drawing/2014/main" id="{D2962EB0-FEF7-44AB-BAD5-9A3833DA134F}"/>
                </a:ext>
              </a:extLst>
            </p:cNvPr>
            <p:cNvSpPr txBox="1"/>
            <p:nvPr/>
          </p:nvSpPr>
          <p:spPr>
            <a:xfrm>
              <a:off x="3306390" y="3845700"/>
              <a:ext cx="6113864" cy="615553"/>
            </a:xfrm>
            <a:prstGeom prst="rect">
              <a:avLst/>
            </a:prstGeom>
            <a:noFill/>
          </p:spPr>
          <p:txBody>
            <a:bodyPr wrap="square" lIns="0" tIns="0" rIns="0" bIns="0" rtlCol="0" anchor="t">
              <a:spAutoFit/>
            </a:bodyPr>
            <a:lstStyle/>
            <a:p>
              <a:pPr algn="dist"/>
              <a:r>
                <a:rPr kumimoji="1" lang="en-US" altLang="zh-CN" sz="4000" dirty="0">
                  <a:solidFill>
                    <a:schemeClr val="accent1"/>
                  </a:solidFill>
                </a:rPr>
                <a:t>Transition Page Title</a:t>
              </a:r>
              <a:endParaRPr kumimoji="1" lang="zh-CN" altLang="en-US" sz="4000" dirty="0">
                <a:solidFill>
                  <a:schemeClr val="accent1"/>
                </a:solidFill>
              </a:endParaRPr>
            </a:p>
          </p:txBody>
        </p:sp>
      </p:grpSp>
    </p:spTree>
    <p:extLst>
      <p:ext uri="{BB962C8B-B14F-4D97-AF65-F5344CB8AC3E}">
        <p14:creationId xmlns:p14="http://schemas.microsoft.com/office/powerpoint/2010/main" val="3438171314"/>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平行四边形 3">
            <a:extLst>
              <a:ext uri="{FF2B5EF4-FFF2-40B4-BE49-F238E27FC236}">
                <a16:creationId xmlns:a16="http://schemas.microsoft.com/office/drawing/2014/main" id="{43347A2F-BB0C-7441-8864-48094E53923F}"/>
              </a:ext>
            </a:extLst>
          </p:cNvPr>
          <p:cNvSpPr/>
          <p:nvPr/>
        </p:nvSpPr>
        <p:spPr>
          <a:xfrm>
            <a:off x="-997529" y="1813955"/>
            <a:ext cx="5617029" cy="3230089"/>
          </a:xfrm>
          <a:prstGeom prst="parallelogram">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1" name="平行四边形 10">
            <a:extLst>
              <a:ext uri="{FF2B5EF4-FFF2-40B4-BE49-F238E27FC236}">
                <a16:creationId xmlns:a16="http://schemas.microsoft.com/office/drawing/2014/main" id="{DCD9F336-7A70-8246-87CF-FA750D10D595}"/>
              </a:ext>
            </a:extLst>
          </p:cNvPr>
          <p:cNvSpPr/>
          <p:nvPr/>
        </p:nvSpPr>
        <p:spPr>
          <a:xfrm>
            <a:off x="4191989" y="2182090"/>
            <a:ext cx="8657111" cy="2493817"/>
          </a:xfrm>
          <a:prstGeom prst="parallelogram">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6" name="文本框 5">
            <a:extLst>
              <a:ext uri="{FF2B5EF4-FFF2-40B4-BE49-F238E27FC236}">
                <a16:creationId xmlns:a16="http://schemas.microsoft.com/office/drawing/2014/main" id="{4C85E5E7-B0F3-F44E-B020-B3E8AC0F23ED}"/>
              </a:ext>
            </a:extLst>
          </p:cNvPr>
          <p:cNvSpPr txBox="1"/>
          <p:nvPr/>
        </p:nvSpPr>
        <p:spPr>
          <a:xfrm>
            <a:off x="937807" y="2321002"/>
            <a:ext cx="2362826" cy="2215991"/>
          </a:xfrm>
          <a:prstGeom prst="rect">
            <a:avLst/>
          </a:prstGeom>
          <a:noFill/>
        </p:spPr>
        <p:txBody>
          <a:bodyPr wrap="none" lIns="0" tIns="0" rIns="0" bIns="0" rtlCol="0">
            <a:spAutoFit/>
          </a:bodyPr>
          <a:lstStyle/>
          <a:p>
            <a:pPr algn="l"/>
            <a:r>
              <a:rPr kumimoji="1" lang="en-US" altLang="zh-CN" sz="7200" b="1" dirty="0">
                <a:solidFill>
                  <a:schemeClr val="bg1"/>
                </a:solidFill>
                <a:latin typeface="Alibaba PuHuiTi B" pitchFamily="18" charset="-122"/>
                <a:ea typeface="Alibaba PuHuiTi B" pitchFamily="18" charset="-122"/>
                <a:cs typeface="Alibaba PuHuiTi B" pitchFamily="18" charset="-122"/>
              </a:rPr>
              <a:t>PART</a:t>
            </a:r>
          </a:p>
          <a:p>
            <a:pPr algn="l"/>
            <a:r>
              <a:rPr kumimoji="1" lang="en-US" altLang="zh-CN" sz="7200" b="1" dirty="0">
                <a:solidFill>
                  <a:schemeClr val="bg1"/>
                </a:solidFill>
                <a:latin typeface="Alibaba PuHuiTi B" pitchFamily="18" charset="-122"/>
                <a:ea typeface="Alibaba PuHuiTi B" pitchFamily="18" charset="-122"/>
                <a:cs typeface="Alibaba PuHuiTi B" pitchFamily="18" charset="-122"/>
              </a:rPr>
              <a:t>01</a:t>
            </a:r>
            <a:endParaRPr kumimoji="1" lang="zh-CN" altLang="en-US" sz="7200" b="1" dirty="0">
              <a:solidFill>
                <a:schemeClr val="bg1"/>
              </a:solidFill>
              <a:latin typeface="Alibaba PuHuiTi B" pitchFamily="18" charset="-122"/>
              <a:ea typeface="Alibaba PuHuiTi B" pitchFamily="18" charset="-122"/>
              <a:cs typeface="Alibaba PuHuiTi B" pitchFamily="18" charset="-122"/>
            </a:endParaRPr>
          </a:p>
        </p:txBody>
      </p:sp>
      <p:sp>
        <p:nvSpPr>
          <p:cNvPr id="17" name="矩形 16">
            <a:extLst>
              <a:ext uri="{FF2B5EF4-FFF2-40B4-BE49-F238E27FC236}">
                <a16:creationId xmlns:a16="http://schemas.microsoft.com/office/drawing/2014/main" id="{88DCFE1D-C69F-1044-9642-BB1D426CF4FE}"/>
              </a:ext>
            </a:extLst>
          </p:cNvPr>
          <p:cNvSpPr/>
          <p:nvPr/>
        </p:nvSpPr>
        <p:spPr>
          <a:xfrm>
            <a:off x="9856519" y="2182090"/>
            <a:ext cx="2335481" cy="2493817"/>
          </a:xfrm>
          <a:prstGeom prst="rect">
            <a:avLst/>
          </a:prstGeom>
          <a:solidFill>
            <a:schemeClr val="accent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8" name="三角形 17">
            <a:extLst>
              <a:ext uri="{FF2B5EF4-FFF2-40B4-BE49-F238E27FC236}">
                <a16:creationId xmlns:a16="http://schemas.microsoft.com/office/drawing/2014/main" id="{7B135C07-30F3-CD4C-A1D1-0EEE2C30D1AF}"/>
              </a:ext>
            </a:extLst>
          </p:cNvPr>
          <p:cNvSpPr/>
          <p:nvPr/>
        </p:nvSpPr>
        <p:spPr>
          <a:xfrm rot="5400000">
            <a:off x="2315688" y="3766954"/>
            <a:ext cx="427035" cy="368134"/>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grpSp>
        <p:nvGrpSpPr>
          <p:cNvPr id="10" name="组合 9">
            <a:extLst>
              <a:ext uri="{FF2B5EF4-FFF2-40B4-BE49-F238E27FC236}">
                <a16:creationId xmlns:a16="http://schemas.microsoft.com/office/drawing/2014/main" id="{C7A610A1-449F-448F-BA85-AD03AA5E9942}"/>
              </a:ext>
            </a:extLst>
          </p:cNvPr>
          <p:cNvGrpSpPr/>
          <p:nvPr/>
        </p:nvGrpSpPr>
        <p:grpSpPr>
          <a:xfrm>
            <a:off x="4953436" y="2659555"/>
            <a:ext cx="4616648" cy="1538883"/>
            <a:chOff x="3264723" y="2475297"/>
            <a:chExt cx="4616648" cy="1538883"/>
          </a:xfrm>
        </p:grpSpPr>
        <p:sp>
          <p:nvSpPr>
            <p:cNvPr id="12" name="文本框 11">
              <a:extLst>
                <a:ext uri="{FF2B5EF4-FFF2-40B4-BE49-F238E27FC236}">
                  <a16:creationId xmlns:a16="http://schemas.microsoft.com/office/drawing/2014/main" id="{E05A5312-ED1F-4372-8D3F-80A0CBDDE0CC}"/>
                </a:ext>
              </a:extLst>
            </p:cNvPr>
            <p:cNvSpPr txBox="1"/>
            <p:nvPr/>
          </p:nvSpPr>
          <p:spPr>
            <a:xfrm>
              <a:off x="3264723" y="2475297"/>
              <a:ext cx="4616648" cy="1107996"/>
            </a:xfrm>
            <a:prstGeom prst="rect">
              <a:avLst/>
            </a:prstGeom>
            <a:noFill/>
          </p:spPr>
          <p:txBody>
            <a:bodyPr wrap="none" lIns="0" tIns="0" rIns="0" bIns="0" rtlCol="0" anchor="t">
              <a:spAutoFit/>
            </a:bodyPr>
            <a:lstStyle/>
            <a:p>
              <a:r>
                <a:rPr kumimoji="1" lang="zh-CN" altLang="en-US" sz="7200" dirty="0">
                  <a:solidFill>
                    <a:schemeClr val="bg1"/>
                  </a:solidFill>
                  <a:latin typeface="+mj-ea"/>
                  <a:ea typeface="+mj-ea"/>
                </a:rPr>
                <a:t>过渡页标题</a:t>
              </a:r>
            </a:p>
          </p:txBody>
        </p:sp>
        <p:sp>
          <p:nvSpPr>
            <p:cNvPr id="14" name="文本框 13">
              <a:extLst>
                <a:ext uri="{FF2B5EF4-FFF2-40B4-BE49-F238E27FC236}">
                  <a16:creationId xmlns:a16="http://schemas.microsoft.com/office/drawing/2014/main" id="{87D89EEB-CD35-4816-8FDF-7D5D7446D303}"/>
                </a:ext>
              </a:extLst>
            </p:cNvPr>
            <p:cNvSpPr txBox="1"/>
            <p:nvPr/>
          </p:nvSpPr>
          <p:spPr>
            <a:xfrm>
              <a:off x="3306390" y="3583293"/>
              <a:ext cx="4476695" cy="430887"/>
            </a:xfrm>
            <a:prstGeom prst="rect">
              <a:avLst/>
            </a:prstGeom>
            <a:noFill/>
          </p:spPr>
          <p:txBody>
            <a:bodyPr wrap="square" lIns="0" tIns="0" rIns="0" bIns="0" rtlCol="0" anchor="t">
              <a:spAutoFit/>
            </a:bodyPr>
            <a:lstStyle/>
            <a:p>
              <a:pPr algn="dist"/>
              <a:r>
                <a:rPr kumimoji="1" lang="en-US" altLang="zh-CN" sz="2800" dirty="0">
                  <a:solidFill>
                    <a:schemeClr val="bg1"/>
                  </a:solidFill>
                </a:rPr>
                <a:t>Transition Page Title</a:t>
              </a:r>
              <a:endParaRPr kumimoji="1" lang="zh-CN" altLang="en-US" sz="2800" dirty="0">
                <a:solidFill>
                  <a:schemeClr val="bg1"/>
                </a:solidFill>
              </a:endParaRPr>
            </a:p>
          </p:txBody>
        </p:sp>
      </p:grpSp>
    </p:spTree>
    <p:extLst>
      <p:ext uri="{BB962C8B-B14F-4D97-AF65-F5344CB8AC3E}">
        <p14:creationId xmlns:p14="http://schemas.microsoft.com/office/powerpoint/2010/main" val="3779790923"/>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平行四边形 13">
            <a:extLst>
              <a:ext uri="{FF2B5EF4-FFF2-40B4-BE49-F238E27FC236}">
                <a16:creationId xmlns:a16="http://schemas.microsoft.com/office/drawing/2014/main" id="{B515F715-FB9E-CD4B-BB2F-B428F829ADAD}"/>
              </a:ext>
            </a:extLst>
          </p:cNvPr>
          <p:cNvSpPr/>
          <p:nvPr/>
        </p:nvSpPr>
        <p:spPr>
          <a:xfrm>
            <a:off x="1889759" y="0"/>
            <a:ext cx="8412482" cy="6858000"/>
          </a:xfrm>
          <a:prstGeom prst="parallelogram">
            <a:avLst/>
          </a:prstGeom>
          <a:solidFill>
            <a:schemeClr val="accent1">
              <a:alpha val="4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2" name="平行四边形 1">
            <a:extLst>
              <a:ext uri="{FF2B5EF4-FFF2-40B4-BE49-F238E27FC236}">
                <a16:creationId xmlns:a16="http://schemas.microsoft.com/office/drawing/2014/main" id="{C4031372-2AA3-FF4D-84D4-31C3D49B5852}"/>
              </a:ext>
            </a:extLst>
          </p:cNvPr>
          <p:cNvSpPr/>
          <p:nvPr/>
        </p:nvSpPr>
        <p:spPr>
          <a:xfrm>
            <a:off x="2111829" y="0"/>
            <a:ext cx="7968343" cy="6858000"/>
          </a:xfrm>
          <a:prstGeom prst="parallelogram">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9" name="平行四边形 18">
            <a:extLst>
              <a:ext uri="{FF2B5EF4-FFF2-40B4-BE49-F238E27FC236}">
                <a16:creationId xmlns:a16="http://schemas.microsoft.com/office/drawing/2014/main" id="{186D1487-B57C-1043-9C1A-3F0B0A68C0FE}"/>
              </a:ext>
            </a:extLst>
          </p:cNvPr>
          <p:cNvSpPr/>
          <p:nvPr/>
        </p:nvSpPr>
        <p:spPr>
          <a:xfrm>
            <a:off x="-2888896" y="0"/>
            <a:ext cx="3733846" cy="3213556"/>
          </a:xfrm>
          <a:prstGeom prst="parallelogram">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20" name="平行四边形 19">
            <a:extLst>
              <a:ext uri="{FF2B5EF4-FFF2-40B4-BE49-F238E27FC236}">
                <a16:creationId xmlns:a16="http://schemas.microsoft.com/office/drawing/2014/main" id="{ECF6B43B-0C40-BD4B-A88F-F2DED25917CF}"/>
              </a:ext>
            </a:extLst>
          </p:cNvPr>
          <p:cNvSpPr/>
          <p:nvPr/>
        </p:nvSpPr>
        <p:spPr>
          <a:xfrm>
            <a:off x="11347050" y="3644444"/>
            <a:ext cx="3733846" cy="3213556"/>
          </a:xfrm>
          <a:prstGeom prst="parallelogram">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3" name="矩形 2">
            <a:extLst>
              <a:ext uri="{FF2B5EF4-FFF2-40B4-BE49-F238E27FC236}">
                <a16:creationId xmlns:a16="http://schemas.microsoft.com/office/drawing/2014/main" id="{8995C63E-F6D2-C84E-B2CF-3966052A9559}"/>
              </a:ext>
            </a:extLst>
          </p:cNvPr>
          <p:cNvSpPr/>
          <p:nvPr/>
        </p:nvSpPr>
        <p:spPr>
          <a:xfrm>
            <a:off x="3642898" y="2429773"/>
            <a:ext cx="4906204" cy="2213900"/>
          </a:xfrm>
          <a:prstGeom prst="rect">
            <a:avLst/>
          </a:prstGeom>
          <a:no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5" name="文本框 4">
            <a:extLst>
              <a:ext uri="{FF2B5EF4-FFF2-40B4-BE49-F238E27FC236}">
                <a16:creationId xmlns:a16="http://schemas.microsoft.com/office/drawing/2014/main" id="{D0A89FD4-6D01-DB40-8567-DB7BBCD34989}"/>
              </a:ext>
            </a:extLst>
          </p:cNvPr>
          <p:cNvSpPr txBox="1"/>
          <p:nvPr/>
        </p:nvSpPr>
        <p:spPr>
          <a:xfrm>
            <a:off x="5206043" y="2214328"/>
            <a:ext cx="1779911" cy="430887"/>
          </a:xfrm>
          <a:prstGeom prst="rect">
            <a:avLst/>
          </a:prstGeom>
          <a:solidFill>
            <a:schemeClr val="accent1"/>
          </a:solidFill>
        </p:spPr>
        <p:txBody>
          <a:bodyPr wrap="square" lIns="0" tIns="0" rIns="0" bIns="0" rtlCol="0">
            <a:spAutoFit/>
          </a:bodyPr>
          <a:lstStyle/>
          <a:p>
            <a:pPr algn="ctr"/>
            <a:r>
              <a:rPr kumimoji="1" lang="zh-CN" altLang="en-US" sz="2800" dirty="0">
                <a:solidFill>
                  <a:schemeClr val="bg1"/>
                </a:solidFill>
                <a:latin typeface="Alibaba PuHuiTi R" pitchFamily="18" charset="-122"/>
                <a:ea typeface="Alibaba PuHuiTi R" pitchFamily="18" charset="-122"/>
                <a:cs typeface="Alibaba PuHuiTi R" pitchFamily="18" charset="-122"/>
              </a:rPr>
              <a:t>第一部分</a:t>
            </a:r>
          </a:p>
        </p:txBody>
      </p:sp>
      <p:grpSp>
        <p:nvGrpSpPr>
          <p:cNvPr id="9" name="组合 8">
            <a:extLst>
              <a:ext uri="{FF2B5EF4-FFF2-40B4-BE49-F238E27FC236}">
                <a16:creationId xmlns:a16="http://schemas.microsoft.com/office/drawing/2014/main" id="{1D236EA8-7519-4C8A-8C45-704148438AE4}"/>
              </a:ext>
            </a:extLst>
          </p:cNvPr>
          <p:cNvGrpSpPr/>
          <p:nvPr/>
        </p:nvGrpSpPr>
        <p:grpSpPr>
          <a:xfrm>
            <a:off x="4211980" y="3003097"/>
            <a:ext cx="3847208" cy="1247822"/>
            <a:chOff x="3264723" y="2475297"/>
            <a:chExt cx="3847208" cy="1247822"/>
          </a:xfrm>
        </p:grpSpPr>
        <p:sp>
          <p:nvSpPr>
            <p:cNvPr id="10" name="文本框 9">
              <a:extLst>
                <a:ext uri="{FF2B5EF4-FFF2-40B4-BE49-F238E27FC236}">
                  <a16:creationId xmlns:a16="http://schemas.microsoft.com/office/drawing/2014/main" id="{52A9D921-2726-4811-9E1D-2DE76883644E}"/>
                </a:ext>
              </a:extLst>
            </p:cNvPr>
            <p:cNvSpPr txBox="1"/>
            <p:nvPr/>
          </p:nvSpPr>
          <p:spPr>
            <a:xfrm>
              <a:off x="3264723" y="2475297"/>
              <a:ext cx="3847207" cy="923330"/>
            </a:xfrm>
            <a:prstGeom prst="rect">
              <a:avLst/>
            </a:prstGeom>
            <a:noFill/>
          </p:spPr>
          <p:txBody>
            <a:bodyPr wrap="none" lIns="0" tIns="0" rIns="0" bIns="0" rtlCol="0" anchor="t">
              <a:spAutoFit/>
            </a:bodyPr>
            <a:lstStyle/>
            <a:p>
              <a:r>
                <a:rPr kumimoji="1" lang="zh-CN" altLang="en-US" sz="6000" dirty="0">
                  <a:solidFill>
                    <a:schemeClr val="bg1"/>
                  </a:solidFill>
                  <a:latin typeface="+mj-ea"/>
                  <a:ea typeface="+mj-ea"/>
                </a:rPr>
                <a:t>过渡页标题</a:t>
              </a:r>
            </a:p>
          </p:txBody>
        </p:sp>
        <p:sp>
          <p:nvSpPr>
            <p:cNvPr id="11" name="文本框 10">
              <a:extLst>
                <a:ext uri="{FF2B5EF4-FFF2-40B4-BE49-F238E27FC236}">
                  <a16:creationId xmlns:a16="http://schemas.microsoft.com/office/drawing/2014/main" id="{684F8183-DC8F-46B8-ABF2-7660B80EF091}"/>
                </a:ext>
              </a:extLst>
            </p:cNvPr>
            <p:cNvSpPr txBox="1"/>
            <p:nvPr/>
          </p:nvSpPr>
          <p:spPr>
            <a:xfrm>
              <a:off x="3306391" y="3415342"/>
              <a:ext cx="3805540" cy="307777"/>
            </a:xfrm>
            <a:prstGeom prst="rect">
              <a:avLst/>
            </a:prstGeom>
            <a:noFill/>
          </p:spPr>
          <p:txBody>
            <a:bodyPr wrap="square" lIns="0" tIns="0" rIns="0" bIns="0" rtlCol="0" anchor="t">
              <a:spAutoFit/>
            </a:bodyPr>
            <a:lstStyle/>
            <a:p>
              <a:pPr algn="dist"/>
              <a:r>
                <a:rPr kumimoji="1" lang="en-US" altLang="zh-CN" sz="2000" dirty="0">
                  <a:solidFill>
                    <a:schemeClr val="bg1"/>
                  </a:solidFill>
                </a:rPr>
                <a:t>Transition Page Title</a:t>
              </a:r>
              <a:endParaRPr kumimoji="1" lang="zh-CN" altLang="en-US" sz="2000" dirty="0">
                <a:solidFill>
                  <a:schemeClr val="bg1"/>
                </a:solidFill>
              </a:endParaRPr>
            </a:p>
          </p:txBody>
        </p:sp>
      </p:grpSp>
    </p:spTree>
    <p:extLst>
      <p:ext uri="{BB962C8B-B14F-4D97-AF65-F5344CB8AC3E}">
        <p14:creationId xmlns:p14="http://schemas.microsoft.com/office/powerpoint/2010/main" val="137069090"/>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任意形状 3">
            <a:extLst>
              <a:ext uri="{FF2B5EF4-FFF2-40B4-BE49-F238E27FC236}">
                <a16:creationId xmlns:a16="http://schemas.microsoft.com/office/drawing/2014/main" id="{AF866A11-AA82-1D47-A823-6FD2B2A1AF96}"/>
              </a:ext>
            </a:extLst>
          </p:cNvPr>
          <p:cNvSpPr/>
          <p:nvPr/>
        </p:nvSpPr>
        <p:spPr>
          <a:xfrm>
            <a:off x="1832224" y="0"/>
            <a:ext cx="8527552" cy="6858000"/>
          </a:xfrm>
          <a:custGeom>
            <a:avLst/>
            <a:gdLst>
              <a:gd name="connsiteX0" fmla="*/ 1729968 w 8527552"/>
              <a:gd name="connsiteY0" fmla="*/ 0 h 6858000"/>
              <a:gd name="connsiteX1" fmla="*/ 6797585 w 8527552"/>
              <a:gd name="connsiteY1" fmla="*/ 0 h 6858000"/>
              <a:gd name="connsiteX2" fmla="*/ 6814861 w 8527552"/>
              <a:gd name="connsiteY2" fmla="*/ 12286 h 6858000"/>
              <a:gd name="connsiteX3" fmla="*/ 8527552 w 8527552"/>
              <a:gd name="connsiteY3" fmla="*/ 3429000 h 6858000"/>
              <a:gd name="connsiteX4" fmla="*/ 6814861 w 8527552"/>
              <a:gd name="connsiteY4" fmla="*/ 6845715 h 6858000"/>
              <a:gd name="connsiteX5" fmla="*/ 6797585 w 8527552"/>
              <a:gd name="connsiteY5" fmla="*/ 6858000 h 6858000"/>
              <a:gd name="connsiteX6" fmla="*/ 1729967 w 8527552"/>
              <a:gd name="connsiteY6" fmla="*/ 6858000 h 6858000"/>
              <a:gd name="connsiteX7" fmla="*/ 1712691 w 8527552"/>
              <a:gd name="connsiteY7" fmla="*/ 6845715 h 6858000"/>
              <a:gd name="connsiteX8" fmla="*/ 0 w 8527552"/>
              <a:gd name="connsiteY8" fmla="*/ 3429000 h 6858000"/>
              <a:gd name="connsiteX9" fmla="*/ 1712691 w 8527552"/>
              <a:gd name="connsiteY9" fmla="*/ 12286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527552" h="6858000">
                <a:moveTo>
                  <a:pt x="1729968" y="0"/>
                </a:moveTo>
                <a:lnTo>
                  <a:pt x="6797585" y="0"/>
                </a:lnTo>
                <a:lnTo>
                  <a:pt x="6814861" y="12286"/>
                </a:lnTo>
                <a:cubicBezTo>
                  <a:pt x="7854570" y="789837"/>
                  <a:pt x="8527552" y="2030827"/>
                  <a:pt x="8527552" y="3429000"/>
                </a:cubicBezTo>
                <a:cubicBezTo>
                  <a:pt x="8527552" y="4827173"/>
                  <a:pt x="7854570" y="6068164"/>
                  <a:pt x="6814861" y="6845715"/>
                </a:cubicBezTo>
                <a:lnTo>
                  <a:pt x="6797585" y="6858000"/>
                </a:lnTo>
                <a:lnTo>
                  <a:pt x="1729967" y="6858000"/>
                </a:lnTo>
                <a:lnTo>
                  <a:pt x="1712691" y="6845715"/>
                </a:lnTo>
                <a:cubicBezTo>
                  <a:pt x="672983" y="6068164"/>
                  <a:pt x="0" y="4827173"/>
                  <a:pt x="0" y="3429000"/>
                </a:cubicBezTo>
                <a:cubicBezTo>
                  <a:pt x="0" y="2030827"/>
                  <a:pt x="672983" y="789837"/>
                  <a:pt x="1712691" y="12286"/>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zh-CN" altLang="en-US"/>
          </a:p>
        </p:txBody>
      </p:sp>
      <p:sp>
        <p:nvSpPr>
          <p:cNvPr id="8" name="椭圆 7">
            <a:extLst>
              <a:ext uri="{FF2B5EF4-FFF2-40B4-BE49-F238E27FC236}">
                <a16:creationId xmlns:a16="http://schemas.microsoft.com/office/drawing/2014/main" id="{41AFB70D-BB33-5842-8D5C-2EAEBD8BE055}"/>
              </a:ext>
            </a:extLst>
          </p:cNvPr>
          <p:cNvSpPr/>
          <p:nvPr/>
        </p:nvSpPr>
        <p:spPr>
          <a:xfrm>
            <a:off x="2246616" y="-420384"/>
            <a:ext cx="7698768" cy="7698768"/>
          </a:xfrm>
          <a:prstGeom prst="ellipse">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0" name="圆角矩形 9">
            <a:extLst>
              <a:ext uri="{FF2B5EF4-FFF2-40B4-BE49-F238E27FC236}">
                <a16:creationId xmlns:a16="http://schemas.microsoft.com/office/drawing/2014/main" id="{F6A89347-F836-4C40-8D25-B5A88562450C}"/>
              </a:ext>
            </a:extLst>
          </p:cNvPr>
          <p:cNvSpPr/>
          <p:nvPr/>
        </p:nvSpPr>
        <p:spPr>
          <a:xfrm>
            <a:off x="5326251" y="1982596"/>
            <a:ext cx="1539498" cy="464949"/>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zh-CN" dirty="0"/>
              <a:t>PART</a:t>
            </a:r>
            <a:r>
              <a:rPr kumimoji="1" lang="zh-CN" altLang="en-US" dirty="0"/>
              <a:t> </a:t>
            </a:r>
            <a:r>
              <a:rPr kumimoji="1" lang="en-US" altLang="zh-CN" dirty="0"/>
              <a:t>ONE</a:t>
            </a:r>
            <a:endParaRPr kumimoji="1" lang="zh-CN" altLang="en-US" dirty="0"/>
          </a:p>
        </p:txBody>
      </p:sp>
      <p:grpSp>
        <p:nvGrpSpPr>
          <p:cNvPr id="9" name="组合 8">
            <a:extLst>
              <a:ext uri="{FF2B5EF4-FFF2-40B4-BE49-F238E27FC236}">
                <a16:creationId xmlns:a16="http://schemas.microsoft.com/office/drawing/2014/main" id="{4B38790C-A3E1-44B6-8716-3D2763AD60D4}"/>
              </a:ext>
            </a:extLst>
          </p:cNvPr>
          <p:cNvGrpSpPr/>
          <p:nvPr/>
        </p:nvGrpSpPr>
        <p:grpSpPr>
          <a:xfrm>
            <a:off x="3039068" y="2655860"/>
            <a:ext cx="6113864" cy="1734658"/>
            <a:chOff x="3306390" y="2475297"/>
            <a:chExt cx="6113864" cy="1734658"/>
          </a:xfrm>
        </p:grpSpPr>
        <p:sp>
          <p:nvSpPr>
            <p:cNvPr id="11" name="文本框 10">
              <a:extLst>
                <a:ext uri="{FF2B5EF4-FFF2-40B4-BE49-F238E27FC236}">
                  <a16:creationId xmlns:a16="http://schemas.microsoft.com/office/drawing/2014/main" id="{E472B140-5F73-411F-B99B-C08623E23D43}"/>
                </a:ext>
              </a:extLst>
            </p:cNvPr>
            <p:cNvSpPr txBox="1"/>
            <p:nvPr/>
          </p:nvSpPr>
          <p:spPr>
            <a:xfrm>
              <a:off x="3798518" y="2475297"/>
              <a:ext cx="5129609" cy="1231106"/>
            </a:xfrm>
            <a:prstGeom prst="rect">
              <a:avLst/>
            </a:prstGeom>
            <a:noFill/>
          </p:spPr>
          <p:txBody>
            <a:bodyPr wrap="none" lIns="0" tIns="0" rIns="0" bIns="0" rtlCol="0" anchor="t">
              <a:spAutoFit/>
            </a:bodyPr>
            <a:lstStyle/>
            <a:p>
              <a:pPr algn="ctr"/>
              <a:r>
                <a:rPr kumimoji="1" lang="zh-CN" altLang="en-US" sz="8000" dirty="0">
                  <a:solidFill>
                    <a:schemeClr val="accent1"/>
                  </a:solidFill>
                  <a:latin typeface="+mj-ea"/>
                  <a:ea typeface="+mj-ea"/>
                </a:rPr>
                <a:t>过渡页标题</a:t>
              </a:r>
            </a:p>
          </p:txBody>
        </p:sp>
        <p:sp>
          <p:nvSpPr>
            <p:cNvPr id="12" name="文本框 11">
              <a:extLst>
                <a:ext uri="{FF2B5EF4-FFF2-40B4-BE49-F238E27FC236}">
                  <a16:creationId xmlns:a16="http://schemas.microsoft.com/office/drawing/2014/main" id="{5ED23CE5-4CBA-4BD5-BAD9-669A597DDA7A}"/>
                </a:ext>
              </a:extLst>
            </p:cNvPr>
            <p:cNvSpPr txBox="1"/>
            <p:nvPr/>
          </p:nvSpPr>
          <p:spPr>
            <a:xfrm>
              <a:off x="3306390" y="3717512"/>
              <a:ext cx="6113864" cy="492443"/>
            </a:xfrm>
            <a:prstGeom prst="rect">
              <a:avLst/>
            </a:prstGeom>
            <a:noFill/>
          </p:spPr>
          <p:txBody>
            <a:bodyPr wrap="square" lIns="0" tIns="0" rIns="0" bIns="0" rtlCol="0" anchor="t">
              <a:spAutoFit/>
            </a:bodyPr>
            <a:lstStyle/>
            <a:p>
              <a:pPr algn="ctr"/>
              <a:r>
                <a:rPr kumimoji="1" lang="en-US" altLang="zh-CN" sz="3200" dirty="0">
                  <a:solidFill>
                    <a:schemeClr val="accent1"/>
                  </a:solidFill>
                </a:rPr>
                <a:t>Transition Page Title</a:t>
              </a:r>
              <a:endParaRPr kumimoji="1" lang="zh-CN" altLang="en-US" sz="3200" dirty="0">
                <a:solidFill>
                  <a:schemeClr val="accent1"/>
                </a:solidFill>
              </a:endParaRPr>
            </a:p>
          </p:txBody>
        </p:sp>
      </p:grpSp>
    </p:spTree>
    <p:extLst>
      <p:ext uri="{BB962C8B-B14F-4D97-AF65-F5344CB8AC3E}">
        <p14:creationId xmlns:p14="http://schemas.microsoft.com/office/powerpoint/2010/main" val="3959978724"/>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弧 1">
            <a:extLst>
              <a:ext uri="{FF2B5EF4-FFF2-40B4-BE49-F238E27FC236}">
                <a16:creationId xmlns:a16="http://schemas.microsoft.com/office/drawing/2014/main" id="{5FD3D4CF-5B75-B748-BB58-9775C8541C72}"/>
              </a:ext>
            </a:extLst>
          </p:cNvPr>
          <p:cNvSpPr/>
          <p:nvPr/>
        </p:nvSpPr>
        <p:spPr>
          <a:xfrm>
            <a:off x="4148328" y="1307592"/>
            <a:ext cx="3895344" cy="3895344"/>
          </a:xfrm>
          <a:prstGeom prst="arc">
            <a:avLst>
              <a:gd name="adj1" fmla="val 11985834"/>
              <a:gd name="adj2" fmla="val 20316690"/>
            </a:avLst>
          </a:prstGeom>
          <a:ln w="28575">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zh-CN" altLang="en-US"/>
          </a:p>
        </p:txBody>
      </p:sp>
      <p:sp>
        <p:nvSpPr>
          <p:cNvPr id="11" name="弧 10">
            <a:extLst>
              <a:ext uri="{FF2B5EF4-FFF2-40B4-BE49-F238E27FC236}">
                <a16:creationId xmlns:a16="http://schemas.microsoft.com/office/drawing/2014/main" id="{9497D1C8-6841-D346-B678-8EB48BB4A55B}"/>
              </a:ext>
            </a:extLst>
          </p:cNvPr>
          <p:cNvSpPr/>
          <p:nvPr/>
        </p:nvSpPr>
        <p:spPr>
          <a:xfrm flipV="1">
            <a:off x="4148328" y="1307592"/>
            <a:ext cx="3895344" cy="3895344"/>
          </a:xfrm>
          <a:prstGeom prst="arc">
            <a:avLst>
              <a:gd name="adj1" fmla="val 11856532"/>
              <a:gd name="adj2" fmla="val 20480026"/>
            </a:avLst>
          </a:prstGeom>
          <a:ln w="28575">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zh-CN" altLang="en-US"/>
          </a:p>
        </p:txBody>
      </p:sp>
      <p:sp>
        <p:nvSpPr>
          <p:cNvPr id="3" name="椭圆 2">
            <a:extLst>
              <a:ext uri="{FF2B5EF4-FFF2-40B4-BE49-F238E27FC236}">
                <a16:creationId xmlns:a16="http://schemas.microsoft.com/office/drawing/2014/main" id="{917EA380-0A03-2646-8723-C304853B782D}"/>
              </a:ext>
            </a:extLst>
          </p:cNvPr>
          <p:cNvSpPr/>
          <p:nvPr/>
        </p:nvSpPr>
        <p:spPr>
          <a:xfrm>
            <a:off x="4693920" y="1517904"/>
            <a:ext cx="438912" cy="43891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5" name="矩形 14">
            <a:extLst>
              <a:ext uri="{FF2B5EF4-FFF2-40B4-BE49-F238E27FC236}">
                <a16:creationId xmlns:a16="http://schemas.microsoft.com/office/drawing/2014/main" id="{EBE02B8F-0EBA-9B4E-BF52-5FC6F507A96C}"/>
              </a:ext>
            </a:extLst>
          </p:cNvPr>
          <p:cNvSpPr/>
          <p:nvPr/>
        </p:nvSpPr>
        <p:spPr>
          <a:xfrm>
            <a:off x="5196840" y="4773168"/>
            <a:ext cx="1798320" cy="55778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4" name="文本框 13">
            <a:extLst>
              <a:ext uri="{FF2B5EF4-FFF2-40B4-BE49-F238E27FC236}">
                <a16:creationId xmlns:a16="http://schemas.microsoft.com/office/drawing/2014/main" id="{C6BA6E44-B110-9749-B976-A9E5198E00BF}"/>
              </a:ext>
            </a:extLst>
          </p:cNvPr>
          <p:cNvSpPr txBox="1"/>
          <p:nvPr/>
        </p:nvSpPr>
        <p:spPr>
          <a:xfrm>
            <a:off x="5359908" y="4470058"/>
            <a:ext cx="1472183" cy="1354217"/>
          </a:xfrm>
          <a:prstGeom prst="rect">
            <a:avLst/>
          </a:prstGeom>
          <a:noFill/>
        </p:spPr>
        <p:txBody>
          <a:bodyPr wrap="square" lIns="0" tIns="0" rIns="0" bIns="0" rtlCol="0">
            <a:spAutoFit/>
          </a:bodyPr>
          <a:lstStyle/>
          <a:p>
            <a:pPr algn="ctr"/>
            <a:r>
              <a:rPr kumimoji="1" lang="en-US" altLang="zh-CN" sz="8800" dirty="0">
                <a:solidFill>
                  <a:schemeClr val="accent1"/>
                </a:solidFill>
                <a:latin typeface="Alibaba PuHuiTi M" pitchFamily="18" charset="-122"/>
                <a:ea typeface="Alibaba PuHuiTi M" pitchFamily="18" charset="-122"/>
                <a:cs typeface="Alibaba PuHuiTi M" pitchFamily="18" charset="-122"/>
              </a:rPr>
              <a:t>01</a:t>
            </a:r>
            <a:endParaRPr kumimoji="1" lang="zh-CN" altLang="en-US" sz="8800" dirty="0">
              <a:solidFill>
                <a:schemeClr val="accent1"/>
              </a:solidFill>
              <a:latin typeface="Alibaba PuHuiTi M" pitchFamily="18" charset="-122"/>
              <a:ea typeface="Alibaba PuHuiTi M" pitchFamily="18" charset="-122"/>
              <a:cs typeface="Alibaba PuHuiTi M" pitchFamily="18" charset="-122"/>
            </a:endParaRPr>
          </a:p>
        </p:txBody>
      </p:sp>
      <p:sp>
        <p:nvSpPr>
          <p:cNvPr id="17" name="椭圆 16">
            <a:extLst>
              <a:ext uri="{FF2B5EF4-FFF2-40B4-BE49-F238E27FC236}">
                <a16:creationId xmlns:a16="http://schemas.microsoft.com/office/drawing/2014/main" id="{A0840FD7-A7FC-254F-9F6E-0BB6477896E1}"/>
              </a:ext>
            </a:extLst>
          </p:cNvPr>
          <p:cNvSpPr/>
          <p:nvPr/>
        </p:nvSpPr>
        <p:spPr>
          <a:xfrm>
            <a:off x="581891" y="-2085109"/>
            <a:ext cx="11028218" cy="11028218"/>
          </a:xfrm>
          <a:prstGeom prst="ellipse">
            <a:avLst/>
          </a:prstGeom>
          <a:noFill/>
          <a:ln w="635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grpSp>
        <p:nvGrpSpPr>
          <p:cNvPr id="10" name="组合 9">
            <a:extLst>
              <a:ext uri="{FF2B5EF4-FFF2-40B4-BE49-F238E27FC236}">
                <a16:creationId xmlns:a16="http://schemas.microsoft.com/office/drawing/2014/main" id="{7C23F7AE-F486-4558-937F-D03B2CEDC1E3}"/>
              </a:ext>
            </a:extLst>
          </p:cNvPr>
          <p:cNvGrpSpPr/>
          <p:nvPr/>
        </p:nvGrpSpPr>
        <p:grpSpPr>
          <a:xfrm>
            <a:off x="3039068" y="2582708"/>
            <a:ext cx="6113864" cy="1524986"/>
            <a:chOff x="3306390" y="2475297"/>
            <a:chExt cx="6113864" cy="1524986"/>
          </a:xfrm>
        </p:grpSpPr>
        <p:sp>
          <p:nvSpPr>
            <p:cNvPr id="16" name="文本框 15">
              <a:extLst>
                <a:ext uri="{FF2B5EF4-FFF2-40B4-BE49-F238E27FC236}">
                  <a16:creationId xmlns:a16="http://schemas.microsoft.com/office/drawing/2014/main" id="{98F34E94-94A7-4DF0-902D-AB2DE50AE242}"/>
                </a:ext>
              </a:extLst>
            </p:cNvPr>
            <p:cNvSpPr txBox="1"/>
            <p:nvPr/>
          </p:nvSpPr>
          <p:spPr>
            <a:xfrm>
              <a:off x="4054998" y="2475297"/>
              <a:ext cx="4616648" cy="1107996"/>
            </a:xfrm>
            <a:prstGeom prst="rect">
              <a:avLst/>
            </a:prstGeom>
            <a:noFill/>
          </p:spPr>
          <p:txBody>
            <a:bodyPr wrap="none" lIns="0" tIns="0" rIns="0" bIns="0" rtlCol="0" anchor="t">
              <a:spAutoFit/>
            </a:bodyPr>
            <a:lstStyle/>
            <a:p>
              <a:pPr algn="ctr"/>
              <a:r>
                <a:rPr kumimoji="1" lang="zh-CN" altLang="en-US" sz="7200" dirty="0">
                  <a:solidFill>
                    <a:schemeClr val="accent1"/>
                  </a:solidFill>
                  <a:latin typeface="+mj-ea"/>
                  <a:ea typeface="+mj-ea"/>
                </a:rPr>
                <a:t>过渡页标题</a:t>
              </a:r>
            </a:p>
          </p:txBody>
        </p:sp>
        <p:sp>
          <p:nvSpPr>
            <p:cNvPr id="18" name="文本框 17">
              <a:extLst>
                <a:ext uri="{FF2B5EF4-FFF2-40B4-BE49-F238E27FC236}">
                  <a16:creationId xmlns:a16="http://schemas.microsoft.com/office/drawing/2014/main" id="{7418D3BC-9573-496B-A524-98AE8D2FC166}"/>
                </a:ext>
              </a:extLst>
            </p:cNvPr>
            <p:cNvSpPr txBox="1"/>
            <p:nvPr/>
          </p:nvSpPr>
          <p:spPr>
            <a:xfrm>
              <a:off x="3306390" y="3569396"/>
              <a:ext cx="6113864" cy="430887"/>
            </a:xfrm>
            <a:prstGeom prst="rect">
              <a:avLst/>
            </a:prstGeom>
            <a:noFill/>
          </p:spPr>
          <p:txBody>
            <a:bodyPr wrap="square" lIns="0" tIns="0" rIns="0" bIns="0" rtlCol="0" anchor="t">
              <a:spAutoFit/>
            </a:bodyPr>
            <a:lstStyle/>
            <a:p>
              <a:pPr algn="ctr"/>
              <a:r>
                <a:rPr kumimoji="1" lang="en-US" altLang="zh-CN" sz="2800" dirty="0">
                  <a:solidFill>
                    <a:schemeClr val="accent1"/>
                  </a:solidFill>
                </a:rPr>
                <a:t>Transition Page Title</a:t>
              </a:r>
              <a:endParaRPr kumimoji="1" lang="zh-CN" altLang="en-US" sz="2800" dirty="0">
                <a:solidFill>
                  <a:schemeClr val="accent1"/>
                </a:solidFill>
              </a:endParaRPr>
            </a:p>
          </p:txBody>
        </p:sp>
      </p:grpSp>
    </p:spTree>
    <p:extLst>
      <p:ext uri="{BB962C8B-B14F-4D97-AF65-F5344CB8AC3E}">
        <p14:creationId xmlns:p14="http://schemas.microsoft.com/office/powerpoint/2010/main" val="3968290351"/>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文本框 10">
            <a:extLst>
              <a:ext uri="{FF2B5EF4-FFF2-40B4-BE49-F238E27FC236}">
                <a16:creationId xmlns:a16="http://schemas.microsoft.com/office/drawing/2014/main" id="{E4393356-E9A7-46D9-B5F5-0D21EC991A29}"/>
              </a:ext>
            </a:extLst>
          </p:cNvPr>
          <p:cNvSpPr txBox="1"/>
          <p:nvPr/>
        </p:nvSpPr>
        <p:spPr>
          <a:xfrm>
            <a:off x="1941017" y="1919645"/>
            <a:ext cx="8309967" cy="1107996"/>
          </a:xfrm>
          <a:prstGeom prst="rect">
            <a:avLst/>
          </a:prstGeom>
          <a:noFill/>
        </p:spPr>
        <p:txBody>
          <a:bodyPr wrap="none" lIns="0" tIns="0" rIns="0" bIns="0" rtlCol="0" anchor="t">
            <a:spAutoFit/>
          </a:bodyPr>
          <a:lstStyle/>
          <a:p>
            <a:pPr algn="ctr"/>
            <a:r>
              <a:rPr lang="zh-CN" altLang="en-US" sz="7200" dirty="0">
                <a:solidFill>
                  <a:schemeClr val="accent1">
                    <a:lumMod val="100000"/>
                  </a:schemeClr>
                </a:solidFill>
                <a:latin typeface="+mj-ea"/>
                <a:ea typeface="+mj-ea"/>
              </a:rPr>
              <a:t>输入你的封面大标题</a:t>
            </a:r>
          </a:p>
        </p:txBody>
      </p:sp>
      <p:sp>
        <p:nvSpPr>
          <p:cNvPr id="12" name="文本框 11">
            <a:extLst>
              <a:ext uri="{FF2B5EF4-FFF2-40B4-BE49-F238E27FC236}">
                <a16:creationId xmlns:a16="http://schemas.microsoft.com/office/drawing/2014/main" id="{08D1ED60-C0E7-408E-A5AA-59B489440FCB}"/>
              </a:ext>
            </a:extLst>
          </p:cNvPr>
          <p:cNvSpPr txBox="1"/>
          <p:nvPr/>
        </p:nvSpPr>
        <p:spPr>
          <a:xfrm>
            <a:off x="4095451" y="3109937"/>
            <a:ext cx="4001095" cy="369332"/>
          </a:xfrm>
          <a:prstGeom prst="rect">
            <a:avLst/>
          </a:prstGeom>
          <a:noFill/>
        </p:spPr>
        <p:txBody>
          <a:bodyPr wrap="none" lIns="0" tIns="0" rIns="0" bIns="0" rtlCol="0" anchor="t">
            <a:spAutoFit/>
          </a:bodyPr>
          <a:lstStyle/>
          <a:p>
            <a:pPr algn="ctr"/>
            <a:r>
              <a:rPr lang="zh-CN" altLang="en-US" sz="2400" dirty="0">
                <a:solidFill>
                  <a:schemeClr val="accent1">
                    <a:lumMod val="100000"/>
                  </a:schemeClr>
                </a:solidFill>
                <a:latin typeface="+mn-ea"/>
              </a:rPr>
              <a:t>输入你的副标题或大标题英文</a:t>
            </a:r>
          </a:p>
        </p:txBody>
      </p:sp>
      <p:cxnSp>
        <p:nvCxnSpPr>
          <p:cNvPr id="14" name="直接连接符 13">
            <a:extLst>
              <a:ext uri="{FF2B5EF4-FFF2-40B4-BE49-F238E27FC236}">
                <a16:creationId xmlns:a16="http://schemas.microsoft.com/office/drawing/2014/main" id="{99FDF5DC-EAFA-4C3B-B052-660243EB047F}"/>
              </a:ext>
            </a:extLst>
          </p:cNvPr>
          <p:cNvCxnSpPr/>
          <p:nvPr/>
        </p:nvCxnSpPr>
        <p:spPr>
          <a:xfrm flipH="1">
            <a:off x="2029968" y="3300389"/>
            <a:ext cx="1901952" cy="0"/>
          </a:xfrm>
          <a:prstGeom prst="line">
            <a:avLst/>
          </a:prstGeom>
          <a:ln w="19050">
            <a:solidFill>
              <a:schemeClr val="accent1">
                <a:lumMod val="100000"/>
              </a:schemeClr>
            </a:solidFill>
          </a:ln>
        </p:spPr>
        <p:style>
          <a:lnRef idx="1">
            <a:schemeClr val="accent1"/>
          </a:lnRef>
          <a:fillRef idx="0">
            <a:schemeClr val="accent1"/>
          </a:fillRef>
          <a:effectRef idx="0">
            <a:schemeClr val="accent1"/>
          </a:effectRef>
          <a:fontRef idx="minor">
            <a:schemeClr val="tx1"/>
          </a:fontRef>
        </p:style>
      </p:cxnSp>
      <p:cxnSp>
        <p:nvCxnSpPr>
          <p:cNvPr id="15" name="直接连接符 14">
            <a:extLst>
              <a:ext uri="{FF2B5EF4-FFF2-40B4-BE49-F238E27FC236}">
                <a16:creationId xmlns:a16="http://schemas.microsoft.com/office/drawing/2014/main" id="{C6CC629A-E754-4728-BB95-563C56597B63}"/>
              </a:ext>
            </a:extLst>
          </p:cNvPr>
          <p:cNvCxnSpPr/>
          <p:nvPr/>
        </p:nvCxnSpPr>
        <p:spPr>
          <a:xfrm flipH="1">
            <a:off x="8284464" y="3300389"/>
            <a:ext cx="1901952" cy="0"/>
          </a:xfrm>
          <a:prstGeom prst="line">
            <a:avLst/>
          </a:prstGeom>
          <a:ln w="19050">
            <a:solidFill>
              <a:schemeClr val="accent1">
                <a:lumMod val="100000"/>
              </a:schemeClr>
            </a:solidFill>
          </a:ln>
        </p:spPr>
        <p:style>
          <a:lnRef idx="1">
            <a:schemeClr val="accent1"/>
          </a:lnRef>
          <a:fillRef idx="0">
            <a:schemeClr val="accent1"/>
          </a:fillRef>
          <a:effectRef idx="0">
            <a:schemeClr val="accent1"/>
          </a:effectRef>
          <a:fontRef idx="minor">
            <a:schemeClr val="tx1"/>
          </a:fontRef>
        </p:style>
      </p:cxnSp>
      <p:grpSp>
        <p:nvGrpSpPr>
          <p:cNvPr id="18" name="组合 17">
            <a:extLst>
              <a:ext uri="{FF2B5EF4-FFF2-40B4-BE49-F238E27FC236}">
                <a16:creationId xmlns:a16="http://schemas.microsoft.com/office/drawing/2014/main" id="{FC799265-AC15-410F-82A2-679AB60B288F}"/>
              </a:ext>
            </a:extLst>
          </p:cNvPr>
          <p:cNvGrpSpPr/>
          <p:nvPr/>
        </p:nvGrpSpPr>
        <p:grpSpPr>
          <a:xfrm>
            <a:off x="4331702" y="4082534"/>
            <a:ext cx="1475214" cy="246221"/>
            <a:chOff x="4095451" y="4640913"/>
            <a:chExt cx="1475214" cy="246221"/>
          </a:xfrm>
        </p:grpSpPr>
        <p:sp>
          <p:nvSpPr>
            <p:cNvPr id="16" name="矩形 15">
              <a:extLst>
                <a:ext uri="{FF2B5EF4-FFF2-40B4-BE49-F238E27FC236}">
                  <a16:creationId xmlns:a16="http://schemas.microsoft.com/office/drawing/2014/main" id="{74C493E7-1B47-4349-BC5B-BF3163490795}"/>
                </a:ext>
              </a:extLst>
            </p:cNvPr>
            <p:cNvSpPr/>
            <p:nvPr/>
          </p:nvSpPr>
          <p:spPr>
            <a:xfrm>
              <a:off x="4095451" y="4672584"/>
              <a:ext cx="164592" cy="164592"/>
            </a:xfrm>
            <a:prstGeom prst="rect">
              <a:avLst/>
            </a:prstGeom>
            <a:solidFill>
              <a:schemeClr val="accent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p>
          </p:txBody>
        </p:sp>
        <p:sp>
          <p:nvSpPr>
            <p:cNvPr id="17" name="文本框 16">
              <a:extLst>
                <a:ext uri="{FF2B5EF4-FFF2-40B4-BE49-F238E27FC236}">
                  <a16:creationId xmlns:a16="http://schemas.microsoft.com/office/drawing/2014/main" id="{B804F6AA-7656-4EF8-84F0-3B3FB5CF0922}"/>
                </a:ext>
              </a:extLst>
            </p:cNvPr>
            <p:cNvSpPr txBox="1"/>
            <p:nvPr/>
          </p:nvSpPr>
          <p:spPr>
            <a:xfrm>
              <a:off x="4408487" y="4640913"/>
              <a:ext cx="1162178" cy="246221"/>
            </a:xfrm>
            <a:prstGeom prst="rect">
              <a:avLst/>
            </a:prstGeom>
            <a:noFill/>
          </p:spPr>
          <p:txBody>
            <a:bodyPr wrap="none" lIns="0" tIns="0" rIns="0" bIns="0" rtlCol="0" anchor="t">
              <a:spAutoFit/>
            </a:bodyPr>
            <a:lstStyle/>
            <a:p>
              <a:r>
                <a:rPr lang="zh-CN" altLang="en-US" sz="1600" dirty="0">
                  <a:solidFill>
                    <a:schemeClr val="accent1">
                      <a:lumMod val="100000"/>
                    </a:schemeClr>
                  </a:solidFill>
                  <a:latin typeface="+mn-ea"/>
                </a:rPr>
                <a:t>汇报人：</a:t>
              </a:r>
              <a:r>
                <a:rPr lang="en-US" altLang="zh-CN" sz="1600" dirty="0">
                  <a:solidFill>
                    <a:schemeClr val="accent1">
                      <a:lumMod val="100000"/>
                    </a:schemeClr>
                  </a:solidFill>
                  <a:latin typeface="+mn-ea"/>
                </a:rPr>
                <a:t>xxx</a:t>
              </a:r>
              <a:endParaRPr lang="zh-CN" altLang="en-US" sz="1600" dirty="0">
                <a:solidFill>
                  <a:schemeClr val="accent1">
                    <a:lumMod val="100000"/>
                  </a:schemeClr>
                </a:solidFill>
                <a:latin typeface="+mn-ea"/>
              </a:endParaRPr>
            </a:p>
          </p:txBody>
        </p:sp>
      </p:grpSp>
      <p:grpSp>
        <p:nvGrpSpPr>
          <p:cNvPr id="19" name="组合 18">
            <a:extLst>
              <a:ext uri="{FF2B5EF4-FFF2-40B4-BE49-F238E27FC236}">
                <a16:creationId xmlns:a16="http://schemas.microsoft.com/office/drawing/2014/main" id="{482B1619-178E-45D1-BC39-C5F4314075B6}"/>
              </a:ext>
            </a:extLst>
          </p:cNvPr>
          <p:cNvGrpSpPr/>
          <p:nvPr/>
        </p:nvGrpSpPr>
        <p:grpSpPr>
          <a:xfrm>
            <a:off x="6590270" y="4082534"/>
            <a:ext cx="1270029" cy="246221"/>
            <a:chOff x="4095451" y="4640913"/>
            <a:chExt cx="1270029" cy="246221"/>
          </a:xfrm>
        </p:grpSpPr>
        <p:sp>
          <p:nvSpPr>
            <p:cNvPr id="20" name="矩形 19">
              <a:extLst>
                <a:ext uri="{FF2B5EF4-FFF2-40B4-BE49-F238E27FC236}">
                  <a16:creationId xmlns:a16="http://schemas.microsoft.com/office/drawing/2014/main" id="{3A1AE345-38CE-49BE-9E58-2C20078777A3}"/>
                </a:ext>
              </a:extLst>
            </p:cNvPr>
            <p:cNvSpPr/>
            <p:nvPr/>
          </p:nvSpPr>
          <p:spPr>
            <a:xfrm>
              <a:off x="4095451" y="4672584"/>
              <a:ext cx="164592" cy="164592"/>
            </a:xfrm>
            <a:prstGeom prst="rect">
              <a:avLst/>
            </a:prstGeom>
            <a:solidFill>
              <a:schemeClr val="accent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p>
          </p:txBody>
        </p:sp>
        <p:sp>
          <p:nvSpPr>
            <p:cNvPr id="21" name="文本框 20">
              <a:extLst>
                <a:ext uri="{FF2B5EF4-FFF2-40B4-BE49-F238E27FC236}">
                  <a16:creationId xmlns:a16="http://schemas.microsoft.com/office/drawing/2014/main" id="{FCC3031D-C171-43E7-B549-82FC96054817}"/>
                </a:ext>
              </a:extLst>
            </p:cNvPr>
            <p:cNvSpPr txBox="1"/>
            <p:nvPr/>
          </p:nvSpPr>
          <p:spPr>
            <a:xfrm>
              <a:off x="4408487" y="4640913"/>
              <a:ext cx="956993" cy="246221"/>
            </a:xfrm>
            <a:prstGeom prst="rect">
              <a:avLst/>
            </a:prstGeom>
            <a:noFill/>
          </p:spPr>
          <p:txBody>
            <a:bodyPr wrap="none" lIns="0" tIns="0" rIns="0" bIns="0" rtlCol="0" anchor="t">
              <a:spAutoFit/>
            </a:bodyPr>
            <a:lstStyle/>
            <a:p>
              <a:r>
                <a:rPr lang="zh-CN" altLang="en-US" sz="1600" dirty="0">
                  <a:solidFill>
                    <a:schemeClr val="accent1">
                      <a:lumMod val="100000"/>
                    </a:schemeClr>
                  </a:solidFill>
                  <a:latin typeface="+mn-ea"/>
                </a:rPr>
                <a:t>单位：</a:t>
              </a:r>
              <a:r>
                <a:rPr lang="en-US" altLang="zh-CN" sz="1600" dirty="0">
                  <a:solidFill>
                    <a:schemeClr val="accent1">
                      <a:lumMod val="100000"/>
                    </a:schemeClr>
                  </a:solidFill>
                  <a:latin typeface="+mn-ea"/>
                </a:rPr>
                <a:t>xxx</a:t>
              </a:r>
              <a:endParaRPr lang="zh-CN" altLang="en-US" sz="1600" dirty="0">
                <a:solidFill>
                  <a:schemeClr val="accent1">
                    <a:lumMod val="100000"/>
                  </a:schemeClr>
                </a:solidFill>
                <a:latin typeface="+mn-ea"/>
              </a:endParaRPr>
            </a:p>
          </p:txBody>
        </p:sp>
      </p:grpSp>
      <p:sp>
        <p:nvSpPr>
          <p:cNvPr id="2" name="矩形 1">
            <a:extLst>
              <a:ext uri="{FF2B5EF4-FFF2-40B4-BE49-F238E27FC236}">
                <a16:creationId xmlns:a16="http://schemas.microsoft.com/office/drawing/2014/main" id="{0B661C19-E019-4DA4-A1E3-4AD7A03C027F}"/>
              </a:ext>
            </a:extLst>
          </p:cNvPr>
          <p:cNvSpPr/>
          <p:nvPr/>
        </p:nvSpPr>
        <p:spPr>
          <a:xfrm>
            <a:off x="0" y="4783883"/>
            <a:ext cx="12192000" cy="207411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p>
        </p:txBody>
      </p:sp>
    </p:spTree>
    <p:extLst>
      <p:ext uri="{BB962C8B-B14F-4D97-AF65-F5344CB8AC3E}">
        <p14:creationId xmlns:p14="http://schemas.microsoft.com/office/powerpoint/2010/main" val="1968988770"/>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任意多边形: 形状 7">
            <a:extLst>
              <a:ext uri="{FF2B5EF4-FFF2-40B4-BE49-F238E27FC236}">
                <a16:creationId xmlns:a16="http://schemas.microsoft.com/office/drawing/2014/main" id="{EAC13EE2-A807-414A-B2CF-77DD44970556}"/>
              </a:ext>
            </a:extLst>
          </p:cNvPr>
          <p:cNvSpPr/>
          <p:nvPr/>
        </p:nvSpPr>
        <p:spPr>
          <a:xfrm rot="5400000">
            <a:off x="5428549" y="-57850"/>
            <a:ext cx="1334902" cy="3846574"/>
          </a:xfrm>
          <a:custGeom>
            <a:avLst/>
            <a:gdLst>
              <a:gd name="connsiteX0" fmla="*/ 0 w 1334902"/>
              <a:gd name="connsiteY0" fmla="*/ 1923287 h 3846574"/>
              <a:gd name="connsiteX1" fmla="*/ 961644 w 1334902"/>
              <a:gd name="connsiteY1" fmla="*/ 0 h 3846574"/>
              <a:gd name="connsiteX2" fmla="*/ 1334902 w 1334902"/>
              <a:gd name="connsiteY2" fmla="*/ 0 h 3846574"/>
              <a:gd name="connsiteX3" fmla="*/ 1334902 w 1334902"/>
              <a:gd name="connsiteY3" fmla="*/ 3846574 h 3846574"/>
              <a:gd name="connsiteX4" fmla="*/ 961644 w 1334902"/>
              <a:gd name="connsiteY4" fmla="*/ 3846574 h 3846574"/>
              <a:gd name="connsiteX0" fmla="*/ 1334902 w 1426342"/>
              <a:gd name="connsiteY0" fmla="*/ 3846574 h 3938014"/>
              <a:gd name="connsiteX1" fmla="*/ 961644 w 1426342"/>
              <a:gd name="connsiteY1" fmla="*/ 3846574 h 3938014"/>
              <a:gd name="connsiteX2" fmla="*/ 0 w 1426342"/>
              <a:gd name="connsiteY2" fmla="*/ 1923287 h 3938014"/>
              <a:gd name="connsiteX3" fmla="*/ 961644 w 1426342"/>
              <a:gd name="connsiteY3" fmla="*/ 0 h 3938014"/>
              <a:gd name="connsiteX4" fmla="*/ 1334902 w 1426342"/>
              <a:gd name="connsiteY4" fmla="*/ 0 h 3938014"/>
              <a:gd name="connsiteX5" fmla="*/ 1426342 w 1426342"/>
              <a:gd name="connsiteY5" fmla="*/ 3938014 h 3938014"/>
              <a:gd name="connsiteX0" fmla="*/ 1334902 w 1334902"/>
              <a:gd name="connsiteY0" fmla="*/ 3846574 h 3846574"/>
              <a:gd name="connsiteX1" fmla="*/ 961644 w 1334902"/>
              <a:gd name="connsiteY1" fmla="*/ 3846574 h 3846574"/>
              <a:gd name="connsiteX2" fmla="*/ 0 w 1334902"/>
              <a:gd name="connsiteY2" fmla="*/ 1923287 h 3846574"/>
              <a:gd name="connsiteX3" fmla="*/ 961644 w 1334902"/>
              <a:gd name="connsiteY3" fmla="*/ 0 h 3846574"/>
              <a:gd name="connsiteX4" fmla="*/ 1334902 w 1334902"/>
              <a:gd name="connsiteY4" fmla="*/ 0 h 38465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4902" h="3846574">
                <a:moveTo>
                  <a:pt x="1334902" y="3846574"/>
                </a:moveTo>
                <a:lnTo>
                  <a:pt x="961644" y="3846574"/>
                </a:lnTo>
                <a:lnTo>
                  <a:pt x="0" y="1923287"/>
                </a:lnTo>
                <a:lnTo>
                  <a:pt x="961644" y="0"/>
                </a:lnTo>
                <a:lnTo>
                  <a:pt x="1334902" y="0"/>
                </a:lnTo>
              </a:path>
            </a:pathLst>
          </a:cu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l"/>
            <a:endParaRPr lang="zh-CN" altLang="en-US" sz="1600">
              <a:solidFill>
                <a:schemeClr val="accent1"/>
              </a:solidFill>
              <a:latin typeface="+mj-ea"/>
              <a:ea typeface="+mj-ea"/>
            </a:endParaRPr>
          </a:p>
        </p:txBody>
      </p:sp>
      <p:sp>
        <p:nvSpPr>
          <p:cNvPr id="5" name="文本框 4">
            <a:extLst>
              <a:ext uri="{FF2B5EF4-FFF2-40B4-BE49-F238E27FC236}">
                <a16:creationId xmlns:a16="http://schemas.microsoft.com/office/drawing/2014/main" id="{4FC6C063-5541-4425-B93B-D021195AAD31}"/>
              </a:ext>
            </a:extLst>
          </p:cNvPr>
          <p:cNvSpPr txBox="1"/>
          <p:nvPr/>
        </p:nvSpPr>
        <p:spPr>
          <a:xfrm>
            <a:off x="3531196" y="2874399"/>
            <a:ext cx="5129609" cy="1231106"/>
          </a:xfrm>
          <a:prstGeom prst="rect">
            <a:avLst/>
          </a:prstGeom>
          <a:noFill/>
        </p:spPr>
        <p:txBody>
          <a:bodyPr wrap="none" lIns="0" tIns="0" rIns="0" bIns="0" rtlCol="0" anchor="t">
            <a:spAutoFit/>
          </a:bodyPr>
          <a:lstStyle/>
          <a:p>
            <a:pPr algn="ctr"/>
            <a:r>
              <a:rPr kumimoji="1" lang="zh-CN" altLang="en-US" sz="8000" dirty="0">
                <a:solidFill>
                  <a:schemeClr val="accent1"/>
                </a:solidFill>
                <a:latin typeface="+mj-ea"/>
                <a:ea typeface="+mj-ea"/>
              </a:rPr>
              <a:t>过渡页标题</a:t>
            </a:r>
          </a:p>
        </p:txBody>
      </p:sp>
      <p:sp>
        <p:nvSpPr>
          <p:cNvPr id="6" name="文本框 5">
            <a:extLst>
              <a:ext uri="{FF2B5EF4-FFF2-40B4-BE49-F238E27FC236}">
                <a16:creationId xmlns:a16="http://schemas.microsoft.com/office/drawing/2014/main" id="{F233DB5A-D971-4CCB-9C35-06447F17E017}"/>
              </a:ext>
            </a:extLst>
          </p:cNvPr>
          <p:cNvSpPr txBox="1"/>
          <p:nvPr/>
        </p:nvSpPr>
        <p:spPr>
          <a:xfrm>
            <a:off x="3531196" y="4068929"/>
            <a:ext cx="5129609" cy="369332"/>
          </a:xfrm>
          <a:prstGeom prst="rect">
            <a:avLst/>
          </a:prstGeom>
          <a:noFill/>
        </p:spPr>
        <p:txBody>
          <a:bodyPr wrap="square" lIns="0" tIns="0" rIns="0" bIns="0" rtlCol="0" anchor="t">
            <a:spAutoFit/>
          </a:bodyPr>
          <a:lstStyle/>
          <a:p>
            <a:pPr algn="dist"/>
            <a:r>
              <a:rPr kumimoji="1" lang="en-US" altLang="zh-CN" sz="2400" dirty="0">
                <a:solidFill>
                  <a:schemeClr val="accent1"/>
                </a:solidFill>
              </a:rPr>
              <a:t>Transition Page Title</a:t>
            </a:r>
            <a:endParaRPr kumimoji="1" lang="zh-CN" altLang="en-US" sz="2400" dirty="0">
              <a:solidFill>
                <a:schemeClr val="accent1"/>
              </a:solidFill>
            </a:endParaRPr>
          </a:p>
        </p:txBody>
      </p:sp>
      <p:sp>
        <p:nvSpPr>
          <p:cNvPr id="9" name="任意多边形: 形状 8">
            <a:extLst>
              <a:ext uri="{FF2B5EF4-FFF2-40B4-BE49-F238E27FC236}">
                <a16:creationId xmlns:a16="http://schemas.microsoft.com/office/drawing/2014/main" id="{FD616E1D-4B3B-4033-B62A-CF519F1B32CF}"/>
              </a:ext>
            </a:extLst>
          </p:cNvPr>
          <p:cNvSpPr/>
          <p:nvPr/>
        </p:nvSpPr>
        <p:spPr>
          <a:xfrm rot="16200000" flipV="1">
            <a:off x="5428549" y="3233990"/>
            <a:ext cx="1334902" cy="3846574"/>
          </a:xfrm>
          <a:custGeom>
            <a:avLst/>
            <a:gdLst>
              <a:gd name="connsiteX0" fmla="*/ 0 w 1334902"/>
              <a:gd name="connsiteY0" fmla="*/ 1923287 h 3846574"/>
              <a:gd name="connsiteX1" fmla="*/ 961644 w 1334902"/>
              <a:gd name="connsiteY1" fmla="*/ 0 h 3846574"/>
              <a:gd name="connsiteX2" fmla="*/ 1334902 w 1334902"/>
              <a:gd name="connsiteY2" fmla="*/ 0 h 3846574"/>
              <a:gd name="connsiteX3" fmla="*/ 1334902 w 1334902"/>
              <a:gd name="connsiteY3" fmla="*/ 3846574 h 3846574"/>
              <a:gd name="connsiteX4" fmla="*/ 961644 w 1334902"/>
              <a:gd name="connsiteY4" fmla="*/ 3846574 h 3846574"/>
              <a:gd name="connsiteX0" fmla="*/ 1334902 w 1426342"/>
              <a:gd name="connsiteY0" fmla="*/ 3846574 h 3938014"/>
              <a:gd name="connsiteX1" fmla="*/ 961644 w 1426342"/>
              <a:gd name="connsiteY1" fmla="*/ 3846574 h 3938014"/>
              <a:gd name="connsiteX2" fmla="*/ 0 w 1426342"/>
              <a:gd name="connsiteY2" fmla="*/ 1923287 h 3938014"/>
              <a:gd name="connsiteX3" fmla="*/ 961644 w 1426342"/>
              <a:gd name="connsiteY3" fmla="*/ 0 h 3938014"/>
              <a:gd name="connsiteX4" fmla="*/ 1334902 w 1426342"/>
              <a:gd name="connsiteY4" fmla="*/ 0 h 3938014"/>
              <a:gd name="connsiteX5" fmla="*/ 1426342 w 1426342"/>
              <a:gd name="connsiteY5" fmla="*/ 3938014 h 3938014"/>
              <a:gd name="connsiteX0" fmla="*/ 1334902 w 1334902"/>
              <a:gd name="connsiteY0" fmla="*/ 3846574 h 3846574"/>
              <a:gd name="connsiteX1" fmla="*/ 961644 w 1334902"/>
              <a:gd name="connsiteY1" fmla="*/ 3846574 h 3846574"/>
              <a:gd name="connsiteX2" fmla="*/ 0 w 1334902"/>
              <a:gd name="connsiteY2" fmla="*/ 1923287 h 3846574"/>
              <a:gd name="connsiteX3" fmla="*/ 961644 w 1334902"/>
              <a:gd name="connsiteY3" fmla="*/ 0 h 3846574"/>
              <a:gd name="connsiteX4" fmla="*/ 1334902 w 1334902"/>
              <a:gd name="connsiteY4" fmla="*/ 0 h 38465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4902" h="3846574">
                <a:moveTo>
                  <a:pt x="1334902" y="3846574"/>
                </a:moveTo>
                <a:lnTo>
                  <a:pt x="961644" y="3846574"/>
                </a:lnTo>
                <a:lnTo>
                  <a:pt x="0" y="1923287"/>
                </a:lnTo>
                <a:lnTo>
                  <a:pt x="961644" y="0"/>
                </a:lnTo>
                <a:lnTo>
                  <a:pt x="1334902" y="0"/>
                </a:lnTo>
              </a:path>
            </a:pathLst>
          </a:cu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l"/>
            <a:endParaRPr lang="zh-CN" altLang="en-US" sz="1600">
              <a:solidFill>
                <a:schemeClr val="accent1"/>
              </a:solidFill>
              <a:latin typeface="+mj-ea"/>
              <a:ea typeface="+mj-ea"/>
            </a:endParaRPr>
          </a:p>
        </p:txBody>
      </p:sp>
      <p:sp>
        <p:nvSpPr>
          <p:cNvPr id="10" name="文本框 9">
            <a:extLst>
              <a:ext uri="{FF2B5EF4-FFF2-40B4-BE49-F238E27FC236}">
                <a16:creationId xmlns:a16="http://schemas.microsoft.com/office/drawing/2014/main" id="{D797A834-A8C3-4B06-8353-72F59E5658D1}"/>
              </a:ext>
            </a:extLst>
          </p:cNvPr>
          <p:cNvSpPr txBox="1"/>
          <p:nvPr/>
        </p:nvSpPr>
        <p:spPr>
          <a:xfrm>
            <a:off x="5658379" y="1925287"/>
            <a:ext cx="875240" cy="923330"/>
          </a:xfrm>
          <a:prstGeom prst="rect">
            <a:avLst/>
          </a:prstGeom>
          <a:noFill/>
        </p:spPr>
        <p:txBody>
          <a:bodyPr wrap="none" lIns="0" tIns="0" rIns="0" bIns="0" rtlCol="0">
            <a:spAutoFit/>
          </a:bodyPr>
          <a:lstStyle/>
          <a:p>
            <a:pPr algn="ctr"/>
            <a:r>
              <a:rPr kumimoji="1" lang="en-US" altLang="zh-CN" sz="6000" b="1" dirty="0">
                <a:solidFill>
                  <a:schemeClr val="accent1"/>
                </a:solidFill>
                <a:latin typeface="+mj-ea"/>
                <a:ea typeface="+mj-ea"/>
                <a:cs typeface="Alibaba PuHuiTi B" pitchFamily="18" charset="-122"/>
              </a:rPr>
              <a:t>01</a:t>
            </a:r>
            <a:endParaRPr kumimoji="1" lang="zh-CN" altLang="en-US" sz="6000" b="1" dirty="0">
              <a:solidFill>
                <a:schemeClr val="accent1"/>
              </a:solidFill>
              <a:latin typeface="+mj-ea"/>
              <a:ea typeface="+mj-ea"/>
              <a:cs typeface="Alibaba PuHuiTi B" pitchFamily="18" charset="-122"/>
            </a:endParaRPr>
          </a:p>
        </p:txBody>
      </p:sp>
      <p:cxnSp>
        <p:nvCxnSpPr>
          <p:cNvPr id="13" name="直接连接符 12">
            <a:extLst>
              <a:ext uri="{FF2B5EF4-FFF2-40B4-BE49-F238E27FC236}">
                <a16:creationId xmlns:a16="http://schemas.microsoft.com/office/drawing/2014/main" id="{3E17C1F5-B663-4ECF-BBD4-B8EA20AFA707}"/>
              </a:ext>
            </a:extLst>
          </p:cNvPr>
          <p:cNvCxnSpPr>
            <a:cxnSpLocks/>
          </p:cNvCxnSpPr>
          <p:nvPr/>
        </p:nvCxnSpPr>
        <p:spPr>
          <a:xfrm>
            <a:off x="4775200" y="5016500"/>
            <a:ext cx="915988" cy="455613"/>
          </a:xfrm>
          <a:prstGeom prst="line">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cxnSp>
      <p:cxnSp>
        <p:nvCxnSpPr>
          <p:cNvPr id="15" name="直接连接符 14">
            <a:extLst>
              <a:ext uri="{FF2B5EF4-FFF2-40B4-BE49-F238E27FC236}">
                <a16:creationId xmlns:a16="http://schemas.microsoft.com/office/drawing/2014/main" id="{5FC54240-5EF1-4996-846D-2A7391B594B0}"/>
              </a:ext>
            </a:extLst>
          </p:cNvPr>
          <p:cNvCxnSpPr>
            <a:cxnSpLocks/>
          </p:cNvCxnSpPr>
          <p:nvPr/>
        </p:nvCxnSpPr>
        <p:spPr>
          <a:xfrm>
            <a:off x="6533619" y="1592531"/>
            <a:ext cx="915988" cy="455613"/>
          </a:xfrm>
          <a:prstGeom prst="line">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cxnSp>
    </p:spTree>
    <p:extLst>
      <p:ext uri="{BB962C8B-B14F-4D97-AF65-F5344CB8AC3E}">
        <p14:creationId xmlns:p14="http://schemas.microsoft.com/office/powerpoint/2010/main" val="3444284245"/>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六边形 1">
            <a:extLst>
              <a:ext uri="{FF2B5EF4-FFF2-40B4-BE49-F238E27FC236}">
                <a16:creationId xmlns:a16="http://schemas.microsoft.com/office/drawing/2014/main" id="{375F3C1A-273C-46CB-A5D7-4BA9194B4BE2}"/>
              </a:ext>
            </a:extLst>
          </p:cNvPr>
          <p:cNvSpPr/>
          <p:nvPr/>
        </p:nvSpPr>
        <p:spPr>
          <a:xfrm rot="5400000">
            <a:off x="3998081" y="1620450"/>
            <a:ext cx="4195838" cy="3617100"/>
          </a:xfrm>
          <a:prstGeom prst="hexag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5" name="文本框 4">
            <a:extLst>
              <a:ext uri="{FF2B5EF4-FFF2-40B4-BE49-F238E27FC236}">
                <a16:creationId xmlns:a16="http://schemas.microsoft.com/office/drawing/2014/main" id="{4FC6C063-5541-4425-B93B-D021195AAD31}"/>
              </a:ext>
            </a:extLst>
          </p:cNvPr>
          <p:cNvSpPr txBox="1"/>
          <p:nvPr/>
        </p:nvSpPr>
        <p:spPr>
          <a:xfrm>
            <a:off x="4557117" y="3112524"/>
            <a:ext cx="3077766" cy="738664"/>
          </a:xfrm>
          <a:prstGeom prst="rect">
            <a:avLst/>
          </a:prstGeom>
          <a:noFill/>
        </p:spPr>
        <p:txBody>
          <a:bodyPr wrap="none" lIns="0" tIns="0" rIns="0" bIns="0" rtlCol="0" anchor="t">
            <a:spAutoFit/>
          </a:bodyPr>
          <a:lstStyle/>
          <a:p>
            <a:pPr algn="ctr"/>
            <a:r>
              <a:rPr kumimoji="1" lang="zh-CN" altLang="en-US" sz="4800" dirty="0">
                <a:solidFill>
                  <a:schemeClr val="bg1"/>
                </a:solidFill>
                <a:latin typeface="+mj-ea"/>
                <a:ea typeface="+mj-ea"/>
              </a:rPr>
              <a:t>过渡页标题</a:t>
            </a:r>
          </a:p>
        </p:txBody>
      </p:sp>
      <p:sp>
        <p:nvSpPr>
          <p:cNvPr id="6" name="文本框 5">
            <a:extLst>
              <a:ext uri="{FF2B5EF4-FFF2-40B4-BE49-F238E27FC236}">
                <a16:creationId xmlns:a16="http://schemas.microsoft.com/office/drawing/2014/main" id="{F233DB5A-D971-4CCB-9C35-06447F17E017}"/>
              </a:ext>
            </a:extLst>
          </p:cNvPr>
          <p:cNvSpPr txBox="1"/>
          <p:nvPr/>
        </p:nvSpPr>
        <p:spPr>
          <a:xfrm>
            <a:off x="4616785" y="3885963"/>
            <a:ext cx="2974642" cy="184666"/>
          </a:xfrm>
          <a:prstGeom prst="rect">
            <a:avLst/>
          </a:prstGeom>
          <a:noFill/>
        </p:spPr>
        <p:txBody>
          <a:bodyPr wrap="square" lIns="0" tIns="0" rIns="0" bIns="0" rtlCol="0" anchor="t">
            <a:spAutoFit/>
          </a:bodyPr>
          <a:lstStyle/>
          <a:p>
            <a:pPr algn="dist"/>
            <a:r>
              <a:rPr kumimoji="1" lang="en-US" altLang="zh-CN" sz="1200" dirty="0">
                <a:solidFill>
                  <a:schemeClr val="bg1"/>
                </a:solidFill>
              </a:rPr>
              <a:t>Transition Page Title</a:t>
            </a:r>
            <a:endParaRPr kumimoji="1" lang="zh-CN" altLang="en-US" sz="1200" dirty="0">
              <a:solidFill>
                <a:schemeClr val="bg1"/>
              </a:solidFill>
            </a:endParaRPr>
          </a:p>
        </p:txBody>
      </p:sp>
      <p:sp>
        <p:nvSpPr>
          <p:cNvPr id="10" name="文本框 9">
            <a:extLst>
              <a:ext uri="{FF2B5EF4-FFF2-40B4-BE49-F238E27FC236}">
                <a16:creationId xmlns:a16="http://schemas.microsoft.com/office/drawing/2014/main" id="{D797A834-A8C3-4B06-8353-72F59E5658D1}"/>
              </a:ext>
            </a:extLst>
          </p:cNvPr>
          <p:cNvSpPr txBox="1"/>
          <p:nvPr/>
        </p:nvSpPr>
        <p:spPr>
          <a:xfrm>
            <a:off x="5658379" y="2163412"/>
            <a:ext cx="875240" cy="923330"/>
          </a:xfrm>
          <a:prstGeom prst="rect">
            <a:avLst/>
          </a:prstGeom>
          <a:noFill/>
        </p:spPr>
        <p:txBody>
          <a:bodyPr wrap="none" lIns="0" tIns="0" rIns="0" bIns="0" rtlCol="0">
            <a:spAutoFit/>
          </a:bodyPr>
          <a:lstStyle/>
          <a:p>
            <a:pPr algn="ctr"/>
            <a:r>
              <a:rPr kumimoji="1" lang="en-US" altLang="zh-CN" sz="6000" b="1" dirty="0">
                <a:solidFill>
                  <a:schemeClr val="bg1"/>
                </a:solidFill>
                <a:latin typeface="+mj-ea"/>
                <a:ea typeface="+mj-ea"/>
                <a:cs typeface="Alibaba PuHuiTi B" pitchFamily="18" charset="-122"/>
              </a:rPr>
              <a:t>01</a:t>
            </a:r>
            <a:endParaRPr kumimoji="1" lang="zh-CN" altLang="en-US" sz="6000" b="1" dirty="0">
              <a:solidFill>
                <a:schemeClr val="bg1"/>
              </a:solidFill>
              <a:latin typeface="+mj-ea"/>
              <a:ea typeface="+mj-ea"/>
              <a:cs typeface="Alibaba PuHuiTi B" pitchFamily="18" charset="-122"/>
            </a:endParaRPr>
          </a:p>
        </p:txBody>
      </p:sp>
      <p:sp>
        <p:nvSpPr>
          <p:cNvPr id="11" name="六边形 10">
            <a:extLst>
              <a:ext uri="{FF2B5EF4-FFF2-40B4-BE49-F238E27FC236}">
                <a16:creationId xmlns:a16="http://schemas.microsoft.com/office/drawing/2014/main" id="{2CEC43F2-D8ED-4AE0-B82B-ED34F1DDA176}"/>
              </a:ext>
            </a:extLst>
          </p:cNvPr>
          <p:cNvSpPr/>
          <p:nvPr/>
        </p:nvSpPr>
        <p:spPr>
          <a:xfrm rot="5400000">
            <a:off x="3833162" y="1478279"/>
            <a:ext cx="4525674" cy="3901442"/>
          </a:xfrm>
          <a:prstGeom prst="hexagon">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grpSp>
        <p:nvGrpSpPr>
          <p:cNvPr id="14" name="组合 13">
            <a:extLst>
              <a:ext uri="{FF2B5EF4-FFF2-40B4-BE49-F238E27FC236}">
                <a16:creationId xmlns:a16="http://schemas.microsoft.com/office/drawing/2014/main" id="{A6969009-3F46-482A-9594-50105029CFC1}"/>
              </a:ext>
            </a:extLst>
          </p:cNvPr>
          <p:cNvGrpSpPr/>
          <p:nvPr/>
        </p:nvGrpSpPr>
        <p:grpSpPr>
          <a:xfrm>
            <a:off x="0" y="2644140"/>
            <a:ext cx="4062413" cy="1300225"/>
            <a:chOff x="0" y="2644140"/>
            <a:chExt cx="4062413" cy="1300225"/>
          </a:xfrm>
        </p:grpSpPr>
        <p:sp>
          <p:nvSpPr>
            <p:cNvPr id="18" name="任意多边形: 形状 17">
              <a:extLst>
                <a:ext uri="{FF2B5EF4-FFF2-40B4-BE49-F238E27FC236}">
                  <a16:creationId xmlns:a16="http://schemas.microsoft.com/office/drawing/2014/main" id="{078F9D74-0BAF-407C-BFED-39584EC66027}"/>
                </a:ext>
              </a:extLst>
            </p:cNvPr>
            <p:cNvSpPr/>
            <p:nvPr/>
          </p:nvSpPr>
          <p:spPr>
            <a:xfrm>
              <a:off x="0" y="2644140"/>
              <a:ext cx="4059238" cy="1300225"/>
            </a:xfrm>
            <a:custGeom>
              <a:avLst/>
              <a:gdLst>
                <a:gd name="connsiteX0" fmla="*/ 0 w 4062413"/>
                <a:gd name="connsiteY0" fmla="*/ 0 h 910082"/>
                <a:gd name="connsiteX1" fmla="*/ 31619 w 4062413"/>
                <a:gd name="connsiteY1" fmla="*/ 16430 h 910082"/>
                <a:gd name="connsiteX2" fmla="*/ 4062413 w 4062413"/>
                <a:gd name="connsiteY2" fmla="*/ 449358 h 910082"/>
                <a:gd name="connsiteX3" fmla="*/ 80829 w 4062413"/>
                <a:gd name="connsiteY3" fmla="*/ 809650 h 910082"/>
                <a:gd name="connsiteX4" fmla="*/ 0 w 4062413"/>
                <a:gd name="connsiteY4" fmla="*/ 793416 h 910082"/>
                <a:gd name="connsiteX0" fmla="*/ 0 w 4062413"/>
                <a:gd name="connsiteY0" fmla="*/ 0 h 917789"/>
                <a:gd name="connsiteX1" fmla="*/ 31619 w 4062413"/>
                <a:gd name="connsiteY1" fmla="*/ 16430 h 917789"/>
                <a:gd name="connsiteX2" fmla="*/ 4062413 w 4062413"/>
                <a:gd name="connsiteY2" fmla="*/ 494529 h 917789"/>
                <a:gd name="connsiteX3" fmla="*/ 80829 w 4062413"/>
                <a:gd name="connsiteY3" fmla="*/ 809650 h 917789"/>
                <a:gd name="connsiteX4" fmla="*/ 0 w 4062413"/>
                <a:gd name="connsiteY4" fmla="*/ 793416 h 917789"/>
                <a:gd name="connsiteX5" fmla="*/ 0 w 4062413"/>
                <a:gd name="connsiteY5" fmla="*/ 0 h 917789"/>
                <a:gd name="connsiteX0" fmla="*/ 0 w 4062413"/>
                <a:gd name="connsiteY0" fmla="*/ 0 h 912501"/>
                <a:gd name="connsiteX1" fmla="*/ 31619 w 4062413"/>
                <a:gd name="connsiteY1" fmla="*/ 16430 h 912501"/>
                <a:gd name="connsiteX2" fmla="*/ 4062413 w 4062413"/>
                <a:gd name="connsiteY2" fmla="*/ 494529 h 912501"/>
                <a:gd name="connsiteX3" fmla="*/ 80829 w 4062413"/>
                <a:gd name="connsiteY3" fmla="*/ 809650 h 912501"/>
                <a:gd name="connsiteX4" fmla="*/ 0 w 4062413"/>
                <a:gd name="connsiteY4" fmla="*/ 793416 h 912501"/>
                <a:gd name="connsiteX5" fmla="*/ 0 w 4062413"/>
                <a:gd name="connsiteY5" fmla="*/ 0 h 912501"/>
                <a:gd name="connsiteX0" fmla="*/ 0 w 4046538"/>
                <a:gd name="connsiteY0" fmla="*/ 0 h 913456"/>
                <a:gd name="connsiteX1" fmla="*/ 31619 w 4046538"/>
                <a:gd name="connsiteY1" fmla="*/ 16430 h 913456"/>
                <a:gd name="connsiteX2" fmla="*/ 4046538 w 4046538"/>
                <a:gd name="connsiteY2" fmla="*/ 500175 h 913456"/>
                <a:gd name="connsiteX3" fmla="*/ 80829 w 4046538"/>
                <a:gd name="connsiteY3" fmla="*/ 809650 h 913456"/>
                <a:gd name="connsiteX4" fmla="*/ 0 w 4046538"/>
                <a:gd name="connsiteY4" fmla="*/ 793416 h 913456"/>
                <a:gd name="connsiteX5" fmla="*/ 0 w 4046538"/>
                <a:gd name="connsiteY5" fmla="*/ 0 h 913456"/>
                <a:gd name="connsiteX0" fmla="*/ 0 w 4059238"/>
                <a:gd name="connsiteY0" fmla="*/ 0 h 928813"/>
                <a:gd name="connsiteX1" fmla="*/ 31619 w 4059238"/>
                <a:gd name="connsiteY1" fmla="*/ 16430 h 928813"/>
                <a:gd name="connsiteX2" fmla="*/ 4059238 w 4059238"/>
                <a:gd name="connsiteY2" fmla="*/ 579557 h 928813"/>
                <a:gd name="connsiteX3" fmla="*/ 80829 w 4059238"/>
                <a:gd name="connsiteY3" fmla="*/ 809650 h 928813"/>
                <a:gd name="connsiteX4" fmla="*/ 0 w 4059238"/>
                <a:gd name="connsiteY4" fmla="*/ 793416 h 928813"/>
                <a:gd name="connsiteX5" fmla="*/ 0 w 4059238"/>
                <a:gd name="connsiteY5" fmla="*/ 0 h 928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59238" h="928813">
                  <a:moveTo>
                    <a:pt x="0" y="0"/>
                  </a:moveTo>
                  <a:lnTo>
                    <a:pt x="31619" y="16430"/>
                  </a:lnTo>
                  <a:cubicBezTo>
                    <a:pt x="1244671" y="608619"/>
                    <a:pt x="2626730" y="851735"/>
                    <a:pt x="4059238" y="579557"/>
                  </a:cubicBezTo>
                  <a:cubicBezTo>
                    <a:pt x="3089358" y="818033"/>
                    <a:pt x="1692216" y="1090343"/>
                    <a:pt x="80829" y="809650"/>
                  </a:cubicBezTo>
                  <a:lnTo>
                    <a:pt x="0" y="793416"/>
                  </a:lnTo>
                  <a:lnTo>
                    <a:pt x="0" y="0"/>
                  </a:lnTo>
                  <a:close/>
                </a:path>
              </a:pathLst>
            </a:cu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l"/>
              <a:endParaRPr lang="zh-CN" altLang="en-US" sz="1600" dirty="0">
                <a:solidFill>
                  <a:schemeClr val="bg1"/>
                </a:solidFill>
                <a:latin typeface="+mj-ea"/>
                <a:ea typeface="+mj-ea"/>
              </a:endParaRPr>
            </a:p>
          </p:txBody>
        </p:sp>
        <p:sp>
          <p:nvSpPr>
            <p:cNvPr id="16" name="任意多边形: 形状 15">
              <a:extLst>
                <a:ext uri="{FF2B5EF4-FFF2-40B4-BE49-F238E27FC236}">
                  <a16:creationId xmlns:a16="http://schemas.microsoft.com/office/drawing/2014/main" id="{6ECDE892-0B8E-4829-B8CA-EE8C58327371}"/>
                </a:ext>
              </a:extLst>
            </p:cNvPr>
            <p:cNvSpPr/>
            <p:nvPr/>
          </p:nvSpPr>
          <p:spPr>
            <a:xfrm>
              <a:off x="0" y="3008991"/>
              <a:ext cx="4062413" cy="910082"/>
            </a:xfrm>
            <a:custGeom>
              <a:avLst/>
              <a:gdLst>
                <a:gd name="connsiteX0" fmla="*/ 0 w 4062413"/>
                <a:gd name="connsiteY0" fmla="*/ 0 h 910082"/>
                <a:gd name="connsiteX1" fmla="*/ 31619 w 4062413"/>
                <a:gd name="connsiteY1" fmla="*/ 16430 h 910082"/>
                <a:gd name="connsiteX2" fmla="*/ 4062413 w 4062413"/>
                <a:gd name="connsiteY2" fmla="*/ 449358 h 910082"/>
                <a:gd name="connsiteX3" fmla="*/ 80829 w 4062413"/>
                <a:gd name="connsiteY3" fmla="*/ 809650 h 910082"/>
                <a:gd name="connsiteX4" fmla="*/ 0 w 4062413"/>
                <a:gd name="connsiteY4" fmla="*/ 793416 h 9100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62413" h="910082">
                  <a:moveTo>
                    <a:pt x="0" y="0"/>
                  </a:moveTo>
                  <a:lnTo>
                    <a:pt x="31619" y="16430"/>
                  </a:lnTo>
                  <a:cubicBezTo>
                    <a:pt x="1244671" y="608619"/>
                    <a:pt x="2629905" y="721536"/>
                    <a:pt x="4062413" y="449358"/>
                  </a:cubicBezTo>
                  <a:cubicBezTo>
                    <a:pt x="3184608" y="721713"/>
                    <a:pt x="1692216" y="1090343"/>
                    <a:pt x="80829" y="809650"/>
                  </a:cubicBezTo>
                  <a:lnTo>
                    <a:pt x="0" y="793416"/>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l"/>
              <a:endParaRPr lang="zh-CN" altLang="en-US" sz="1600">
                <a:solidFill>
                  <a:schemeClr val="bg1"/>
                </a:solidFill>
                <a:latin typeface="+mj-ea"/>
                <a:ea typeface="+mj-ea"/>
              </a:endParaRPr>
            </a:p>
          </p:txBody>
        </p:sp>
      </p:grpSp>
      <p:grpSp>
        <p:nvGrpSpPr>
          <p:cNvPr id="19" name="组合 18">
            <a:extLst>
              <a:ext uri="{FF2B5EF4-FFF2-40B4-BE49-F238E27FC236}">
                <a16:creationId xmlns:a16="http://schemas.microsoft.com/office/drawing/2014/main" id="{FBDF27CE-D7CA-49E2-8857-B574165B4E44}"/>
              </a:ext>
            </a:extLst>
          </p:cNvPr>
          <p:cNvGrpSpPr/>
          <p:nvPr/>
        </p:nvGrpSpPr>
        <p:grpSpPr>
          <a:xfrm flipH="1" flipV="1">
            <a:off x="8129585" y="2644140"/>
            <a:ext cx="4062413" cy="1300225"/>
            <a:chOff x="0" y="2644140"/>
            <a:chExt cx="4062413" cy="1300225"/>
          </a:xfrm>
        </p:grpSpPr>
        <p:sp>
          <p:nvSpPr>
            <p:cNvPr id="20" name="任意多边形: 形状 19">
              <a:extLst>
                <a:ext uri="{FF2B5EF4-FFF2-40B4-BE49-F238E27FC236}">
                  <a16:creationId xmlns:a16="http://schemas.microsoft.com/office/drawing/2014/main" id="{08DF22AE-F33C-4229-A833-63F5B5F7C82B}"/>
                </a:ext>
              </a:extLst>
            </p:cNvPr>
            <p:cNvSpPr/>
            <p:nvPr/>
          </p:nvSpPr>
          <p:spPr>
            <a:xfrm>
              <a:off x="0" y="2644140"/>
              <a:ext cx="4059238" cy="1300225"/>
            </a:xfrm>
            <a:custGeom>
              <a:avLst/>
              <a:gdLst>
                <a:gd name="connsiteX0" fmla="*/ 0 w 4062413"/>
                <a:gd name="connsiteY0" fmla="*/ 0 h 910082"/>
                <a:gd name="connsiteX1" fmla="*/ 31619 w 4062413"/>
                <a:gd name="connsiteY1" fmla="*/ 16430 h 910082"/>
                <a:gd name="connsiteX2" fmla="*/ 4062413 w 4062413"/>
                <a:gd name="connsiteY2" fmla="*/ 449358 h 910082"/>
                <a:gd name="connsiteX3" fmla="*/ 80829 w 4062413"/>
                <a:gd name="connsiteY3" fmla="*/ 809650 h 910082"/>
                <a:gd name="connsiteX4" fmla="*/ 0 w 4062413"/>
                <a:gd name="connsiteY4" fmla="*/ 793416 h 910082"/>
                <a:gd name="connsiteX0" fmla="*/ 0 w 4062413"/>
                <a:gd name="connsiteY0" fmla="*/ 0 h 917789"/>
                <a:gd name="connsiteX1" fmla="*/ 31619 w 4062413"/>
                <a:gd name="connsiteY1" fmla="*/ 16430 h 917789"/>
                <a:gd name="connsiteX2" fmla="*/ 4062413 w 4062413"/>
                <a:gd name="connsiteY2" fmla="*/ 494529 h 917789"/>
                <a:gd name="connsiteX3" fmla="*/ 80829 w 4062413"/>
                <a:gd name="connsiteY3" fmla="*/ 809650 h 917789"/>
                <a:gd name="connsiteX4" fmla="*/ 0 w 4062413"/>
                <a:gd name="connsiteY4" fmla="*/ 793416 h 917789"/>
                <a:gd name="connsiteX5" fmla="*/ 0 w 4062413"/>
                <a:gd name="connsiteY5" fmla="*/ 0 h 917789"/>
                <a:gd name="connsiteX0" fmla="*/ 0 w 4062413"/>
                <a:gd name="connsiteY0" fmla="*/ 0 h 912501"/>
                <a:gd name="connsiteX1" fmla="*/ 31619 w 4062413"/>
                <a:gd name="connsiteY1" fmla="*/ 16430 h 912501"/>
                <a:gd name="connsiteX2" fmla="*/ 4062413 w 4062413"/>
                <a:gd name="connsiteY2" fmla="*/ 494529 h 912501"/>
                <a:gd name="connsiteX3" fmla="*/ 80829 w 4062413"/>
                <a:gd name="connsiteY3" fmla="*/ 809650 h 912501"/>
                <a:gd name="connsiteX4" fmla="*/ 0 w 4062413"/>
                <a:gd name="connsiteY4" fmla="*/ 793416 h 912501"/>
                <a:gd name="connsiteX5" fmla="*/ 0 w 4062413"/>
                <a:gd name="connsiteY5" fmla="*/ 0 h 912501"/>
                <a:gd name="connsiteX0" fmla="*/ 0 w 4046538"/>
                <a:gd name="connsiteY0" fmla="*/ 0 h 913456"/>
                <a:gd name="connsiteX1" fmla="*/ 31619 w 4046538"/>
                <a:gd name="connsiteY1" fmla="*/ 16430 h 913456"/>
                <a:gd name="connsiteX2" fmla="*/ 4046538 w 4046538"/>
                <a:gd name="connsiteY2" fmla="*/ 500175 h 913456"/>
                <a:gd name="connsiteX3" fmla="*/ 80829 w 4046538"/>
                <a:gd name="connsiteY3" fmla="*/ 809650 h 913456"/>
                <a:gd name="connsiteX4" fmla="*/ 0 w 4046538"/>
                <a:gd name="connsiteY4" fmla="*/ 793416 h 913456"/>
                <a:gd name="connsiteX5" fmla="*/ 0 w 4046538"/>
                <a:gd name="connsiteY5" fmla="*/ 0 h 913456"/>
                <a:gd name="connsiteX0" fmla="*/ 0 w 4059238"/>
                <a:gd name="connsiteY0" fmla="*/ 0 h 928813"/>
                <a:gd name="connsiteX1" fmla="*/ 31619 w 4059238"/>
                <a:gd name="connsiteY1" fmla="*/ 16430 h 928813"/>
                <a:gd name="connsiteX2" fmla="*/ 4059238 w 4059238"/>
                <a:gd name="connsiteY2" fmla="*/ 579557 h 928813"/>
                <a:gd name="connsiteX3" fmla="*/ 80829 w 4059238"/>
                <a:gd name="connsiteY3" fmla="*/ 809650 h 928813"/>
                <a:gd name="connsiteX4" fmla="*/ 0 w 4059238"/>
                <a:gd name="connsiteY4" fmla="*/ 793416 h 928813"/>
                <a:gd name="connsiteX5" fmla="*/ 0 w 4059238"/>
                <a:gd name="connsiteY5" fmla="*/ 0 h 928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59238" h="928813">
                  <a:moveTo>
                    <a:pt x="0" y="0"/>
                  </a:moveTo>
                  <a:lnTo>
                    <a:pt x="31619" y="16430"/>
                  </a:lnTo>
                  <a:cubicBezTo>
                    <a:pt x="1244671" y="608619"/>
                    <a:pt x="2626730" y="851735"/>
                    <a:pt x="4059238" y="579557"/>
                  </a:cubicBezTo>
                  <a:cubicBezTo>
                    <a:pt x="3089358" y="818033"/>
                    <a:pt x="1692216" y="1090343"/>
                    <a:pt x="80829" y="809650"/>
                  </a:cubicBezTo>
                  <a:lnTo>
                    <a:pt x="0" y="793416"/>
                  </a:lnTo>
                  <a:lnTo>
                    <a:pt x="0" y="0"/>
                  </a:lnTo>
                  <a:close/>
                </a:path>
              </a:pathLst>
            </a:cu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l"/>
              <a:endParaRPr lang="zh-CN" altLang="en-US" sz="1600" dirty="0">
                <a:solidFill>
                  <a:schemeClr val="bg1"/>
                </a:solidFill>
                <a:latin typeface="+mj-ea"/>
                <a:ea typeface="+mj-ea"/>
              </a:endParaRPr>
            </a:p>
          </p:txBody>
        </p:sp>
        <p:sp>
          <p:nvSpPr>
            <p:cNvPr id="21" name="任意多边形: 形状 20">
              <a:extLst>
                <a:ext uri="{FF2B5EF4-FFF2-40B4-BE49-F238E27FC236}">
                  <a16:creationId xmlns:a16="http://schemas.microsoft.com/office/drawing/2014/main" id="{BF5827CD-9BD1-41B5-B136-639EFEBBD542}"/>
                </a:ext>
              </a:extLst>
            </p:cNvPr>
            <p:cNvSpPr/>
            <p:nvPr/>
          </p:nvSpPr>
          <p:spPr>
            <a:xfrm>
              <a:off x="0" y="3008991"/>
              <a:ext cx="4062413" cy="910082"/>
            </a:xfrm>
            <a:custGeom>
              <a:avLst/>
              <a:gdLst>
                <a:gd name="connsiteX0" fmla="*/ 0 w 4062413"/>
                <a:gd name="connsiteY0" fmla="*/ 0 h 910082"/>
                <a:gd name="connsiteX1" fmla="*/ 31619 w 4062413"/>
                <a:gd name="connsiteY1" fmla="*/ 16430 h 910082"/>
                <a:gd name="connsiteX2" fmla="*/ 4062413 w 4062413"/>
                <a:gd name="connsiteY2" fmla="*/ 449358 h 910082"/>
                <a:gd name="connsiteX3" fmla="*/ 80829 w 4062413"/>
                <a:gd name="connsiteY3" fmla="*/ 809650 h 910082"/>
                <a:gd name="connsiteX4" fmla="*/ 0 w 4062413"/>
                <a:gd name="connsiteY4" fmla="*/ 793416 h 9100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62413" h="910082">
                  <a:moveTo>
                    <a:pt x="0" y="0"/>
                  </a:moveTo>
                  <a:lnTo>
                    <a:pt x="31619" y="16430"/>
                  </a:lnTo>
                  <a:cubicBezTo>
                    <a:pt x="1244671" y="608619"/>
                    <a:pt x="2629905" y="721536"/>
                    <a:pt x="4062413" y="449358"/>
                  </a:cubicBezTo>
                  <a:cubicBezTo>
                    <a:pt x="3184608" y="721713"/>
                    <a:pt x="1692216" y="1090343"/>
                    <a:pt x="80829" y="809650"/>
                  </a:cubicBezTo>
                  <a:lnTo>
                    <a:pt x="0" y="793416"/>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l"/>
              <a:endParaRPr lang="zh-CN" altLang="en-US" sz="1600">
                <a:solidFill>
                  <a:schemeClr val="bg1"/>
                </a:solidFill>
                <a:latin typeface="+mj-ea"/>
                <a:ea typeface="+mj-ea"/>
              </a:endParaRPr>
            </a:p>
          </p:txBody>
        </p:sp>
      </p:grpSp>
    </p:spTree>
    <p:extLst>
      <p:ext uri="{BB962C8B-B14F-4D97-AF65-F5344CB8AC3E}">
        <p14:creationId xmlns:p14="http://schemas.microsoft.com/office/powerpoint/2010/main" val="1086161080"/>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a:extLst>
              <a:ext uri="{FF2B5EF4-FFF2-40B4-BE49-F238E27FC236}">
                <a16:creationId xmlns:a16="http://schemas.microsoft.com/office/drawing/2014/main" id="{2E520EDF-0E9C-4DB8-926A-29E47DD06F60}"/>
              </a:ext>
            </a:extLst>
          </p:cNvPr>
          <p:cNvSpPr txBox="1"/>
          <p:nvPr/>
        </p:nvSpPr>
        <p:spPr>
          <a:xfrm>
            <a:off x="3463994" y="2784829"/>
            <a:ext cx="1285609" cy="1354217"/>
          </a:xfrm>
          <a:prstGeom prst="rect">
            <a:avLst/>
          </a:prstGeom>
          <a:noFill/>
        </p:spPr>
        <p:txBody>
          <a:bodyPr wrap="none" lIns="0" tIns="0" rIns="0" bIns="0" rtlCol="0">
            <a:spAutoFit/>
          </a:bodyPr>
          <a:lstStyle/>
          <a:p>
            <a:pPr algn="ctr"/>
            <a:r>
              <a:rPr kumimoji="1" lang="en-US" altLang="zh-CN" sz="8800" b="1" dirty="0">
                <a:solidFill>
                  <a:schemeClr val="accent1"/>
                </a:solidFill>
                <a:latin typeface="+mj-ea"/>
                <a:ea typeface="+mj-ea"/>
                <a:cs typeface="Alibaba PuHuiTi B" pitchFamily="18" charset="-122"/>
              </a:rPr>
              <a:t>01</a:t>
            </a:r>
            <a:endParaRPr kumimoji="1" lang="zh-CN" altLang="en-US" sz="8800" b="1" dirty="0">
              <a:solidFill>
                <a:schemeClr val="accent1"/>
              </a:solidFill>
              <a:latin typeface="+mj-ea"/>
              <a:ea typeface="+mj-ea"/>
              <a:cs typeface="Alibaba PuHuiTi B" pitchFamily="18" charset="-122"/>
            </a:endParaRPr>
          </a:p>
        </p:txBody>
      </p:sp>
      <p:grpSp>
        <p:nvGrpSpPr>
          <p:cNvPr id="6" name="组合 5">
            <a:extLst>
              <a:ext uri="{FF2B5EF4-FFF2-40B4-BE49-F238E27FC236}">
                <a16:creationId xmlns:a16="http://schemas.microsoft.com/office/drawing/2014/main" id="{7A9E2D57-718D-42AC-A7EA-0C523F635850}"/>
              </a:ext>
            </a:extLst>
          </p:cNvPr>
          <p:cNvGrpSpPr/>
          <p:nvPr/>
        </p:nvGrpSpPr>
        <p:grpSpPr>
          <a:xfrm>
            <a:off x="4144898" y="2148840"/>
            <a:ext cx="1481328" cy="2560320"/>
            <a:chOff x="3602736" y="2487169"/>
            <a:chExt cx="1481328" cy="1883662"/>
          </a:xfrm>
        </p:grpSpPr>
        <p:sp>
          <p:nvSpPr>
            <p:cNvPr id="4" name="矩形 3">
              <a:extLst>
                <a:ext uri="{FF2B5EF4-FFF2-40B4-BE49-F238E27FC236}">
                  <a16:creationId xmlns:a16="http://schemas.microsoft.com/office/drawing/2014/main" id="{77F62896-2353-43A6-8D74-1DCCC8227F5F}"/>
                </a:ext>
              </a:extLst>
            </p:cNvPr>
            <p:cNvSpPr/>
            <p:nvPr/>
          </p:nvSpPr>
          <p:spPr>
            <a:xfrm>
              <a:off x="3602736" y="2487169"/>
              <a:ext cx="1481328" cy="480166"/>
            </a:xfrm>
            <a:custGeom>
              <a:avLst/>
              <a:gdLst>
                <a:gd name="connsiteX0" fmla="*/ 0 w 2359152"/>
                <a:gd name="connsiteY0" fmla="*/ 0 h 1810512"/>
                <a:gd name="connsiteX1" fmla="*/ 2359152 w 2359152"/>
                <a:gd name="connsiteY1" fmla="*/ 0 h 1810512"/>
                <a:gd name="connsiteX2" fmla="*/ 2359152 w 2359152"/>
                <a:gd name="connsiteY2" fmla="*/ 1810512 h 1810512"/>
                <a:gd name="connsiteX3" fmla="*/ 0 w 2359152"/>
                <a:gd name="connsiteY3" fmla="*/ 1810512 h 1810512"/>
                <a:gd name="connsiteX4" fmla="*/ 0 w 2359152"/>
                <a:gd name="connsiteY4" fmla="*/ 0 h 1810512"/>
                <a:gd name="connsiteX0" fmla="*/ 0 w 2359152"/>
                <a:gd name="connsiteY0" fmla="*/ 1810512 h 1901952"/>
                <a:gd name="connsiteX1" fmla="*/ 0 w 2359152"/>
                <a:gd name="connsiteY1" fmla="*/ 0 h 1901952"/>
                <a:gd name="connsiteX2" fmla="*/ 2359152 w 2359152"/>
                <a:gd name="connsiteY2" fmla="*/ 0 h 1901952"/>
                <a:gd name="connsiteX3" fmla="*/ 2359152 w 2359152"/>
                <a:gd name="connsiteY3" fmla="*/ 1810512 h 1901952"/>
                <a:gd name="connsiteX4" fmla="*/ 91440 w 2359152"/>
                <a:gd name="connsiteY4" fmla="*/ 1901952 h 1901952"/>
                <a:gd name="connsiteX0" fmla="*/ 0 w 2359152"/>
                <a:gd name="connsiteY0" fmla="*/ 1810512 h 1810512"/>
                <a:gd name="connsiteX1" fmla="*/ 0 w 2359152"/>
                <a:gd name="connsiteY1" fmla="*/ 0 h 1810512"/>
                <a:gd name="connsiteX2" fmla="*/ 2359152 w 2359152"/>
                <a:gd name="connsiteY2" fmla="*/ 0 h 1810512"/>
                <a:gd name="connsiteX3" fmla="*/ 2359152 w 2359152"/>
                <a:gd name="connsiteY3" fmla="*/ 1810512 h 1810512"/>
              </a:gdLst>
              <a:ahLst/>
              <a:cxnLst>
                <a:cxn ang="0">
                  <a:pos x="connsiteX0" y="connsiteY0"/>
                </a:cxn>
                <a:cxn ang="0">
                  <a:pos x="connsiteX1" y="connsiteY1"/>
                </a:cxn>
                <a:cxn ang="0">
                  <a:pos x="connsiteX2" y="connsiteY2"/>
                </a:cxn>
                <a:cxn ang="0">
                  <a:pos x="connsiteX3" y="connsiteY3"/>
                </a:cxn>
              </a:cxnLst>
              <a:rect l="l" t="t" r="r" b="b"/>
              <a:pathLst>
                <a:path w="2359152" h="1810512">
                  <a:moveTo>
                    <a:pt x="0" y="1810512"/>
                  </a:moveTo>
                  <a:lnTo>
                    <a:pt x="0" y="0"/>
                  </a:lnTo>
                  <a:lnTo>
                    <a:pt x="2359152" y="0"/>
                  </a:lnTo>
                  <a:lnTo>
                    <a:pt x="2359152" y="1810512"/>
                  </a:lnTo>
                </a:path>
              </a:pathLst>
            </a:cu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accent1"/>
                </a:solidFill>
                <a:latin typeface="+mj-ea"/>
                <a:ea typeface="+mj-ea"/>
              </a:endParaRPr>
            </a:p>
          </p:txBody>
        </p:sp>
        <p:sp>
          <p:nvSpPr>
            <p:cNvPr id="5" name="矩形 3">
              <a:extLst>
                <a:ext uri="{FF2B5EF4-FFF2-40B4-BE49-F238E27FC236}">
                  <a16:creationId xmlns:a16="http://schemas.microsoft.com/office/drawing/2014/main" id="{6288CAAD-1D21-4EBC-A8E5-A3DF4CA7BAE4}"/>
                </a:ext>
              </a:extLst>
            </p:cNvPr>
            <p:cNvSpPr/>
            <p:nvPr/>
          </p:nvSpPr>
          <p:spPr>
            <a:xfrm flipV="1">
              <a:off x="3602736" y="3890665"/>
              <a:ext cx="1481328" cy="480166"/>
            </a:xfrm>
            <a:custGeom>
              <a:avLst/>
              <a:gdLst>
                <a:gd name="connsiteX0" fmla="*/ 0 w 2359152"/>
                <a:gd name="connsiteY0" fmla="*/ 0 h 1810512"/>
                <a:gd name="connsiteX1" fmla="*/ 2359152 w 2359152"/>
                <a:gd name="connsiteY1" fmla="*/ 0 h 1810512"/>
                <a:gd name="connsiteX2" fmla="*/ 2359152 w 2359152"/>
                <a:gd name="connsiteY2" fmla="*/ 1810512 h 1810512"/>
                <a:gd name="connsiteX3" fmla="*/ 0 w 2359152"/>
                <a:gd name="connsiteY3" fmla="*/ 1810512 h 1810512"/>
                <a:gd name="connsiteX4" fmla="*/ 0 w 2359152"/>
                <a:gd name="connsiteY4" fmla="*/ 0 h 1810512"/>
                <a:gd name="connsiteX0" fmla="*/ 0 w 2359152"/>
                <a:gd name="connsiteY0" fmla="*/ 1810512 h 1901952"/>
                <a:gd name="connsiteX1" fmla="*/ 0 w 2359152"/>
                <a:gd name="connsiteY1" fmla="*/ 0 h 1901952"/>
                <a:gd name="connsiteX2" fmla="*/ 2359152 w 2359152"/>
                <a:gd name="connsiteY2" fmla="*/ 0 h 1901952"/>
                <a:gd name="connsiteX3" fmla="*/ 2359152 w 2359152"/>
                <a:gd name="connsiteY3" fmla="*/ 1810512 h 1901952"/>
                <a:gd name="connsiteX4" fmla="*/ 91440 w 2359152"/>
                <a:gd name="connsiteY4" fmla="*/ 1901952 h 1901952"/>
                <a:gd name="connsiteX0" fmla="*/ 0 w 2359152"/>
                <a:gd name="connsiteY0" fmla="*/ 1810512 h 1810512"/>
                <a:gd name="connsiteX1" fmla="*/ 0 w 2359152"/>
                <a:gd name="connsiteY1" fmla="*/ 0 h 1810512"/>
                <a:gd name="connsiteX2" fmla="*/ 2359152 w 2359152"/>
                <a:gd name="connsiteY2" fmla="*/ 0 h 1810512"/>
                <a:gd name="connsiteX3" fmla="*/ 2359152 w 2359152"/>
                <a:gd name="connsiteY3" fmla="*/ 1810512 h 1810512"/>
              </a:gdLst>
              <a:ahLst/>
              <a:cxnLst>
                <a:cxn ang="0">
                  <a:pos x="connsiteX0" y="connsiteY0"/>
                </a:cxn>
                <a:cxn ang="0">
                  <a:pos x="connsiteX1" y="connsiteY1"/>
                </a:cxn>
                <a:cxn ang="0">
                  <a:pos x="connsiteX2" y="connsiteY2"/>
                </a:cxn>
                <a:cxn ang="0">
                  <a:pos x="connsiteX3" y="connsiteY3"/>
                </a:cxn>
              </a:cxnLst>
              <a:rect l="l" t="t" r="r" b="b"/>
              <a:pathLst>
                <a:path w="2359152" h="1810512">
                  <a:moveTo>
                    <a:pt x="0" y="1810512"/>
                  </a:moveTo>
                  <a:lnTo>
                    <a:pt x="0" y="0"/>
                  </a:lnTo>
                  <a:lnTo>
                    <a:pt x="2359152" y="0"/>
                  </a:lnTo>
                  <a:lnTo>
                    <a:pt x="2359152" y="1810512"/>
                  </a:lnTo>
                </a:path>
              </a:pathLst>
            </a:cu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accent1"/>
                </a:solidFill>
                <a:latin typeface="+mj-ea"/>
                <a:ea typeface="+mj-ea"/>
              </a:endParaRPr>
            </a:p>
          </p:txBody>
        </p:sp>
      </p:grpSp>
      <p:sp>
        <p:nvSpPr>
          <p:cNvPr id="7" name="文本框 6">
            <a:extLst>
              <a:ext uri="{FF2B5EF4-FFF2-40B4-BE49-F238E27FC236}">
                <a16:creationId xmlns:a16="http://schemas.microsoft.com/office/drawing/2014/main" id="{0E05BF04-504C-438E-BB79-851F6017A1D4}"/>
              </a:ext>
            </a:extLst>
          </p:cNvPr>
          <p:cNvSpPr txBox="1"/>
          <p:nvPr/>
        </p:nvSpPr>
        <p:spPr>
          <a:xfrm>
            <a:off x="4880799" y="2857798"/>
            <a:ext cx="3847207" cy="923330"/>
          </a:xfrm>
          <a:prstGeom prst="rect">
            <a:avLst/>
          </a:prstGeom>
          <a:noFill/>
        </p:spPr>
        <p:txBody>
          <a:bodyPr wrap="none" lIns="0" tIns="0" rIns="0" bIns="0" rtlCol="0" anchor="t">
            <a:spAutoFit/>
          </a:bodyPr>
          <a:lstStyle/>
          <a:p>
            <a:pPr algn="ctr"/>
            <a:r>
              <a:rPr kumimoji="1" lang="zh-CN" altLang="en-US" sz="6000" dirty="0">
                <a:solidFill>
                  <a:schemeClr val="accent1"/>
                </a:solidFill>
                <a:latin typeface="+mj-ea"/>
                <a:ea typeface="+mj-ea"/>
              </a:rPr>
              <a:t>过渡页标题</a:t>
            </a:r>
          </a:p>
        </p:txBody>
      </p:sp>
      <p:sp>
        <p:nvSpPr>
          <p:cNvPr id="8" name="文本框 7">
            <a:extLst>
              <a:ext uri="{FF2B5EF4-FFF2-40B4-BE49-F238E27FC236}">
                <a16:creationId xmlns:a16="http://schemas.microsoft.com/office/drawing/2014/main" id="{DC358AC4-B72E-4DB9-80CC-1245F594573E}"/>
              </a:ext>
            </a:extLst>
          </p:cNvPr>
          <p:cNvSpPr txBox="1"/>
          <p:nvPr/>
        </p:nvSpPr>
        <p:spPr>
          <a:xfrm>
            <a:off x="4958736" y="3718951"/>
            <a:ext cx="3693964" cy="215444"/>
          </a:xfrm>
          <a:prstGeom prst="rect">
            <a:avLst/>
          </a:prstGeom>
          <a:noFill/>
        </p:spPr>
        <p:txBody>
          <a:bodyPr wrap="square" lIns="0" tIns="0" rIns="0" bIns="0" rtlCol="0" anchor="t">
            <a:spAutoFit/>
          </a:bodyPr>
          <a:lstStyle/>
          <a:p>
            <a:pPr algn="dist"/>
            <a:r>
              <a:rPr kumimoji="1" lang="en-US" altLang="zh-CN" sz="1400" dirty="0">
                <a:solidFill>
                  <a:schemeClr val="accent1"/>
                </a:solidFill>
              </a:rPr>
              <a:t>Transition Page Title</a:t>
            </a:r>
            <a:endParaRPr kumimoji="1" lang="zh-CN" altLang="en-US" sz="1400" dirty="0">
              <a:solidFill>
                <a:schemeClr val="accent1"/>
              </a:solidFill>
            </a:endParaRPr>
          </a:p>
        </p:txBody>
      </p:sp>
    </p:spTree>
    <p:extLst>
      <p:ext uri="{BB962C8B-B14F-4D97-AF65-F5344CB8AC3E}">
        <p14:creationId xmlns:p14="http://schemas.microsoft.com/office/powerpoint/2010/main" val="61508577"/>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任意多边形: 形状 14">
            <a:extLst>
              <a:ext uri="{FF2B5EF4-FFF2-40B4-BE49-F238E27FC236}">
                <a16:creationId xmlns:a16="http://schemas.microsoft.com/office/drawing/2014/main" id="{C2D83E05-D0F4-4175-8161-9E45DE6804A0}"/>
              </a:ext>
            </a:extLst>
          </p:cNvPr>
          <p:cNvSpPr/>
          <p:nvPr/>
        </p:nvSpPr>
        <p:spPr>
          <a:xfrm rot="9314560">
            <a:off x="3532656" y="1423260"/>
            <a:ext cx="4796144" cy="3916144"/>
          </a:xfrm>
          <a:custGeom>
            <a:avLst/>
            <a:gdLst>
              <a:gd name="connsiteX0" fmla="*/ 1591865 w 4198424"/>
              <a:gd name="connsiteY0" fmla="*/ 8778 h 2723153"/>
              <a:gd name="connsiteX1" fmla="*/ 809 w 4198424"/>
              <a:gd name="connsiteY1" fmla="*/ 1032906 h 2723153"/>
              <a:gd name="connsiteX2" fmla="*/ 1783889 w 4198424"/>
              <a:gd name="connsiteY2" fmla="*/ 2715402 h 2723153"/>
              <a:gd name="connsiteX3" fmla="*/ 4197905 w 4198424"/>
              <a:gd name="connsiteY3" fmla="*/ 1590690 h 2723153"/>
              <a:gd name="connsiteX4" fmla="*/ 1591865 w 4198424"/>
              <a:gd name="connsiteY4" fmla="*/ 8778 h 2723153"/>
              <a:gd name="connsiteX0" fmla="*/ 1594766 w 4201325"/>
              <a:gd name="connsiteY0" fmla="*/ 2367 h 2716742"/>
              <a:gd name="connsiteX1" fmla="*/ 3710 w 4201325"/>
              <a:gd name="connsiteY1" fmla="*/ 1026495 h 2716742"/>
              <a:gd name="connsiteX2" fmla="*/ 1786790 w 4201325"/>
              <a:gd name="connsiteY2" fmla="*/ 2708991 h 2716742"/>
              <a:gd name="connsiteX3" fmla="*/ 4200806 w 4201325"/>
              <a:gd name="connsiteY3" fmla="*/ 1584279 h 2716742"/>
              <a:gd name="connsiteX4" fmla="*/ 1594766 w 4201325"/>
              <a:gd name="connsiteY4" fmla="*/ 2367 h 2716742"/>
              <a:gd name="connsiteX0" fmla="*/ 1984986 w 4198884"/>
              <a:gd name="connsiteY0" fmla="*/ 2093 h 2908776"/>
              <a:gd name="connsiteX1" fmla="*/ 738 w 4198884"/>
              <a:gd name="connsiteY1" fmla="*/ 1218245 h 2908776"/>
              <a:gd name="connsiteX2" fmla="*/ 1783818 w 4198884"/>
              <a:gd name="connsiteY2" fmla="*/ 2900741 h 2908776"/>
              <a:gd name="connsiteX3" fmla="*/ 4197834 w 4198884"/>
              <a:gd name="connsiteY3" fmla="*/ 1776029 h 2908776"/>
              <a:gd name="connsiteX4" fmla="*/ 1984986 w 4198884"/>
              <a:gd name="connsiteY4" fmla="*/ 2093 h 2908776"/>
              <a:gd name="connsiteX0" fmla="*/ 1984986 w 4198884"/>
              <a:gd name="connsiteY0" fmla="*/ 2093 h 2906141"/>
              <a:gd name="connsiteX1" fmla="*/ 738 w 4198884"/>
              <a:gd name="connsiteY1" fmla="*/ 1218245 h 2906141"/>
              <a:gd name="connsiteX2" fmla="*/ 1783818 w 4198884"/>
              <a:gd name="connsiteY2" fmla="*/ 2900741 h 2906141"/>
              <a:gd name="connsiteX3" fmla="*/ 4197834 w 4198884"/>
              <a:gd name="connsiteY3" fmla="*/ 1776029 h 2906141"/>
              <a:gd name="connsiteX4" fmla="*/ 1984986 w 4198884"/>
              <a:gd name="connsiteY4" fmla="*/ 2093 h 2906141"/>
              <a:gd name="connsiteX0" fmla="*/ 1985646 w 4199544"/>
              <a:gd name="connsiteY0" fmla="*/ 2093 h 2906141"/>
              <a:gd name="connsiteX1" fmla="*/ 1398 w 4199544"/>
              <a:gd name="connsiteY1" fmla="*/ 1218245 h 2906141"/>
              <a:gd name="connsiteX2" fmla="*/ 1784478 w 4199544"/>
              <a:gd name="connsiteY2" fmla="*/ 2900741 h 2906141"/>
              <a:gd name="connsiteX3" fmla="*/ 4198494 w 4199544"/>
              <a:gd name="connsiteY3" fmla="*/ 1776029 h 2906141"/>
              <a:gd name="connsiteX4" fmla="*/ 1985646 w 4199544"/>
              <a:gd name="connsiteY4" fmla="*/ 2093 h 2906141"/>
              <a:gd name="connsiteX0" fmla="*/ 1985646 w 4199544"/>
              <a:gd name="connsiteY0" fmla="*/ 2180 h 3243121"/>
              <a:gd name="connsiteX1" fmla="*/ 1398 w 4199544"/>
              <a:gd name="connsiteY1" fmla="*/ 1218332 h 3243121"/>
              <a:gd name="connsiteX2" fmla="*/ 1784478 w 4199544"/>
              <a:gd name="connsiteY2" fmla="*/ 3239156 h 3243121"/>
              <a:gd name="connsiteX3" fmla="*/ 4198494 w 4199544"/>
              <a:gd name="connsiteY3" fmla="*/ 1776116 h 3243121"/>
              <a:gd name="connsiteX4" fmla="*/ 1985646 w 4199544"/>
              <a:gd name="connsiteY4" fmla="*/ 2180 h 3243121"/>
              <a:gd name="connsiteX0" fmla="*/ 1985646 w 4199062"/>
              <a:gd name="connsiteY0" fmla="*/ 2320 h 3243589"/>
              <a:gd name="connsiteX1" fmla="*/ 1398 w 4199062"/>
              <a:gd name="connsiteY1" fmla="*/ 1218472 h 3243589"/>
              <a:gd name="connsiteX2" fmla="*/ 1784478 w 4199062"/>
              <a:gd name="connsiteY2" fmla="*/ 3239296 h 3243589"/>
              <a:gd name="connsiteX3" fmla="*/ 4198494 w 4199062"/>
              <a:gd name="connsiteY3" fmla="*/ 1776256 h 3243589"/>
              <a:gd name="connsiteX4" fmla="*/ 1985646 w 4199062"/>
              <a:gd name="connsiteY4" fmla="*/ 2320 h 3243589"/>
              <a:gd name="connsiteX0" fmla="*/ 1874828 w 4197602"/>
              <a:gd name="connsiteY0" fmla="*/ 2074 h 3325362"/>
              <a:gd name="connsiteX1" fmla="*/ 308 w 4197602"/>
              <a:gd name="connsiteY1" fmla="*/ 1300522 h 3325362"/>
              <a:gd name="connsiteX2" fmla="*/ 1783388 w 4197602"/>
              <a:gd name="connsiteY2" fmla="*/ 3321346 h 3325362"/>
              <a:gd name="connsiteX3" fmla="*/ 4197404 w 4197602"/>
              <a:gd name="connsiteY3" fmla="*/ 1858306 h 3325362"/>
              <a:gd name="connsiteX4" fmla="*/ 1874828 w 4197602"/>
              <a:gd name="connsiteY4" fmla="*/ 2074 h 3325362"/>
              <a:gd name="connsiteX0" fmla="*/ 1874828 w 4199532"/>
              <a:gd name="connsiteY0" fmla="*/ 2450 h 3326778"/>
              <a:gd name="connsiteX1" fmla="*/ 308 w 4199532"/>
              <a:gd name="connsiteY1" fmla="*/ 1300898 h 3326778"/>
              <a:gd name="connsiteX2" fmla="*/ 1783388 w 4199532"/>
              <a:gd name="connsiteY2" fmla="*/ 3321722 h 3326778"/>
              <a:gd name="connsiteX3" fmla="*/ 4197404 w 4199532"/>
              <a:gd name="connsiteY3" fmla="*/ 1858682 h 3326778"/>
              <a:gd name="connsiteX4" fmla="*/ 1874828 w 4199532"/>
              <a:gd name="connsiteY4" fmla="*/ 2450 h 33267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99532" h="3326778">
                <a:moveTo>
                  <a:pt x="1874828" y="2450"/>
                </a:moveTo>
                <a:cubicBezTo>
                  <a:pt x="398072" y="64934"/>
                  <a:pt x="15548" y="747686"/>
                  <a:pt x="308" y="1300898"/>
                </a:cubicBezTo>
                <a:cubicBezTo>
                  <a:pt x="-14932" y="1854110"/>
                  <a:pt x="535232" y="3247046"/>
                  <a:pt x="1783388" y="3321722"/>
                </a:cubicBezTo>
                <a:cubicBezTo>
                  <a:pt x="3031544" y="3396398"/>
                  <a:pt x="4145588" y="2631350"/>
                  <a:pt x="4197404" y="1858682"/>
                </a:cubicBezTo>
                <a:cubicBezTo>
                  <a:pt x="4249220" y="1086014"/>
                  <a:pt x="3351584" y="-60034"/>
                  <a:pt x="1874828" y="2450"/>
                </a:cubicBezTo>
                <a:close/>
              </a:path>
            </a:pathLst>
          </a:cu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7" name="任意多边形: 形状 6">
            <a:extLst>
              <a:ext uri="{FF2B5EF4-FFF2-40B4-BE49-F238E27FC236}">
                <a16:creationId xmlns:a16="http://schemas.microsoft.com/office/drawing/2014/main" id="{908BCF21-3D25-45EA-9215-F368B526CD33}"/>
              </a:ext>
            </a:extLst>
          </p:cNvPr>
          <p:cNvSpPr/>
          <p:nvPr/>
        </p:nvSpPr>
        <p:spPr>
          <a:xfrm rot="9035540">
            <a:off x="3710246" y="1568268"/>
            <a:ext cx="4440964" cy="3626131"/>
          </a:xfrm>
          <a:custGeom>
            <a:avLst/>
            <a:gdLst>
              <a:gd name="connsiteX0" fmla="*/ 1591865 w 4198424"/>
              <a:gd name="connsiteY0" fmla="*/ 8778 h 2723153"/>
              <a:gd name="connsiteX1" fmla="*/ 809 w 4198424"/>
              <a:gd name="connsiteY1" fmla="*/ 1032906 h 2723153"/>
              <a:gd name="connsiteX2" fmla="*/ 1783889 w 4198424"/>
              <a:gd name="connsiteY2" fmla="*/ 2715402 h 2723153"/>
              <a:gd name="connsiteX3" fmla="*/ 4197905 w 4198424"/>
              <a:gd name="connsiteY3" fmla="*/ 1590690 h 2723153"/>
              <a:gd name="connsiteX4" fmla="*/ 1591865 w 4198424"/>
              <a:gd name="connsiteY4" fmla="*/ 8778 h 2723153"/>
              <a:gd name="connsiteX0" fmla="*/ 1594766 w 4201325"/>
              <a:gd name="connsiteY0" fmla="*/ 2367 h 2716742"/>
              <a:gd name="connsiteX1" fmla="*/ 3710 w 4201325"/>
              <a:gd name="connsiteY1" fmla="*/ 1026495 h 2716742"/>
              <a:gd name="connsiteX2" fmla="*/ 1786790 w 4201325"/>
              <a:gd name="connsiteY2" fmla="*/ 2708991 h 2716742"/>
              <a:gd name="connsiteX3" fmla="*/ 4200806 w 4201325"/>
              <a:gd name="connsiteY3" fmla="*/ 1584279 h 2716742"/>
              <a:gd name="connsiteX4" fmla="*/ 1594766 w 4201325"/>
              <a:gd name="connsiteY4" fmla="*/ 2367 h 2716742"/>
              <a:gd name="connsiteX0" fmla="*/ 1984986 w 4198884"/>
              <a:gd name="connsiteY0" fmla="*/ 2093 h 2908776"/>
              <a:gd name="connsiteX1" fmla="*/ 738 w 4198884"/>
              <a:gd name="connsiteY1" fmla="*/ 1218245 h 2908776"/>
              <a:gd name="connsiteX2" fmla="*/ 1783818 w 4198884"/>
              <a:gd name="connsiteY2" fmla="*/ 2900741 h 2908776"/>
              <a:gd name="connsiteX3" fmla="*/ 4197834 w 4198884"/>
              <a:gd name="connsiteY3" fmla="*/ 1776029 h 2908776"/>
              <a:gd name="connsiteX4" fmla="*/ 1984986 w 4198884"/>
              <a:gd name="connsiteY4" fmla="*/ 2093 h 2908776"/>
              <a:gd name="connsiteX0" fmla="*/ 1984986 w 4198884"/>
              <a:gd name="connsiteY0" fmla="*/ 2093 h 2906141"/>
              <a:gd name="connsiteX1" fmla="*/ 738 w 4198884"/>
              <a:gd name="connsiteY1" fmla="*/ 1218245 h 2906141"/>
              <a:gd name="connsiteX2" fmla="*/ 1783818 w 4198884"/>
              <a:gd name="connsiteY2" fmla="*/ 2900741 h 2906141"/>
              <a:gd name="connsiteX3" fmla="*/ 4197834 w 4198884"/>
              <a:gd name="connsiteY3" fmla="*/ 1776029 h 2906141"/>
              <a:gd name="connsiteX4" fmla="*/ 1984986 w 4198884"/>
              <a:gd name="connsiteY4" fmla="*/ 2093 h 2906141"/>
              <a:gd name="connsiteX0" fmla="*/ 1985646 w 4199544"/>
              <a:gd name="connsiteY0" fmla="*/ 2093 h 2906141"/>
              <a:gd name="connsiteX1" fmla="*/ 1398 w 4199544"/>
              <a:gd name="connsiteY1" fmla="*/ 1218245 h 2906141"/>
              <a:gd name="connsiteX2" fmla="*/ 1784478 w 4199544"/>
              <a:gd name="connsiteY2" fmla="*/ 2900741 h 2906141"/>
              <a:gd name="connsiteX3" fmla="*/ 4198494 w 4199544"/>
              <a:gd name="connsiteY3" fmla="*/ 1776029 h 2906141"/>
              <a:gd name="connsiteX4" fmla="*/ 1985646 w 4199544"/>
              <a:gd name="connsiteY4" fmla="*/ 2093 h 2906141"/>
              <a:gd name="connsiteX0" fmla="*/ 1985646 w 4199544"/>
              <a:gd name="connsiteY0" fmla="*/ 2180 h 3243121"/>
              <a:gd name="connsiteX1" fmla="*/ 1398 w 4199544"/>
              <a:gd name="connsiteY1" fmla="*/ 1218332 h 3243121"/>
              <a:gd name="connsiteX2" fmla="*/ 1784478 w 4199544"/>
              <a:gd name="connsiteY2" fmla="*/ 3239156 h 3243121"/>
              <a:gd name="connsiteX3" fmla="*/ 4198494 w 4199544"/>
              <a:gd name="connsiteY3" fmla="*/ 1776116 h 3243121"/>
              <a:gd name="connsiteX4" fmla="*/ 1985646 w 4199544"/>
              <a:gd name="connsiteY4" fmla="*/ 2180 h 3243121"/>
              <a:gd name="connsiteX0" fmla="*/ 1985646 w 4199062"/>
              <a:gd name="connsiteY0" fmla="*/ 2320 h 3243589"/>
              <a:gd name="connsiteX1" fmla="*/ 1398 w 4199062"/>
              <a:gd name="connsiteY1" fmla="*/ 1218472 h 3243589"/>
              <a:gd name="connsiteX2" fmla="*/ 1784478 w 4199062"/>
              <a:gd name="connsiteY2" fmla="*/ 3239296 h 3243589"/>
              <a:gd name="connsiteX3" fmla="*/ 4198494 w 4199062"/>
              <a:gd name="connsiteY3" fmla="*/ 1776256 h 3243589"/>
              <a:gd name="connsiteX4" fmla="*/ 1985646 w 4199062"/>
              <a:gd name="connsiteY4" fmla="*/ 2320 h 3243589"/>
              <a:gd name="connsiteX0" fmla="*/ 1874828 w 4197602"/>
              <a:gd name="connsiteY0" fmla="*/ 2074 h 3325362"/>
              <a:gd name="connsiteX1" fmla="*/ 308 w 4197602"/>
              <a:gd name="connsiteY1" fmla="*/ 1300522 h 3325362"/>
              <a:gd name="connsiteX2" fmla="*/ 1783388 w 4197602"/>
              <a:gd name="connsiteY2" fmla="*/ 3321346 h 3325362"/>
              <a:gd name="connsiteX3" fmla="*/ 4197404 w 4197602"/>
              <a:gd name="connsiteY3" fmla="*/ 1858306 h 3325362"/>
              <a:gd name="connsiteX4" fmla="*/ 1874828 w 4197602"/>
              <a:gd name="connsiteY4" fmla="*/ 2074 h 3325362"/>
              <a:gd name="connsiteX0" fmla="*/ 1874828 w 4199532"/>
              <a:gd name="connsiteY0" fmla="*/ 2450 h 3326778"/>
              <a:gd name="connsiteX1" fmla="*/ 308 w 4199532"/>
              <a:gd name="connsiteY1" fmla="*/ 1300898 h 3326778"/>
              <a:gd name="connsiteX2" fmla="*/ 1783388 w 4199532"/>
              <a:gd name="connsiteY2" fmla="*/ 3321722 h 3326778"/>
              <a:gd name="connsiteX3" fmla="*/ 4197404 w 4199532"/>
              <a:gd name="connsiteY3" fmla="*/ 1858682 h 3326778"/>
              <a:gd name="connsiteX4" fmla="*/ 1874828 w 4199532"/>
              <a:gd name="connsiteY4" fmla="*/ 2450 h 33267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99532" h="3326778">
                <a:moveTo>
                  <a:pt x="1874828" y="2450"/>
                </a:moveTo>
                <a:cubicBezTo>
                  <a:pt x="398072" y="64934"/>
                  <a:pt x="15548" y="747686"/>
                  <a:pt x="308" y="1300898"/>
                </a:cubicBezTo>
                <a:cubicBezTo>
                  <a:pt x="-14932" y="1854110"/>
                  <a:pt x="535232" y="3247046"/>
                  <a:pt x="1783388" y="3321722"/>
                </a:cubicBezTo>
                <a:cubicBezTo>
                  <a:pt x="3031544" y="3396398"/>
                  <a:pt x="4145588" y="2631350"/>
                  <a:pt x="4197404" y="1858682"/>
                </a:cubicBezTo>
                <a:cubicBezTo>
                  <a:pt x="4249220" y="1086014"/>
                  <a:pt x="3351584" y="-60034"/>
                  <a:pt x="1874828" y="2450"/>
                </a:cubicBezTo>
                <a:close/>
              </a:path>
            </a:pathLst>
          </a:custGeom>
          <a:solidFill>
            <a:schemeClr val="accent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6" name="任意多边形: 形状 5">
            <a:extLst>
              <a:ext uri="{FF2B5EF4-FFF2-40B4-BE49-F238E27FC236}">
                <a16:creationId xmlns:a16="http://schemas.microsoft.com/office/drawing/2014/main" id="{DE269909-9CE9-4167-942C-781A83350EB1}"/>
              </a:ext>
            </a:extLst>
          </p:cNvPr>
          <p:cNvSpPr/>
          <p:nvPr/>
        </p:nvSpPr>
        <p:spPr>
          <a:xfrm rot="718028">
            <a:off x="3792251" y="1666713"/>
            <a:ext cx="4440964" cy="3518036"/>
          </a:xfrm>
          <a:custGeom>
            <a:avLst/>
            <a:gdLst>
              <a:gd name="connsiteX0" fmla="*/ 1591865 w 4198424"/>
              <a:gd name="connsiteY0" fmla="*/ 8778 h 2723153"/>
              <a:gd name="connsiteX1" fmla="*/ 809 w 4198424"/>
              <a:gd name="connsiteY1" fmla="*/ 1032906 h 2723153"/>
              <a:gd name="connsiteX2" fmla="*/ 1783889 w 4198424"/>
              <a:gd name="connsiteY2" fmla="*/ 2715402 h 2723153"/>
              <a:gd name="connsiteX3" fmla="*/ 4197905 w 4198424"/>
              <a:gd name="connsiteY3" fmla="*/ 1590690 h 2723153"/>
              <a:gd name="connsiteX4" fmla="*/ 1591865 w 4198424"/>
              <a:gd name="connsiteY4" fmla="*/ 8778 h 2723153"/>
              <a:gd name="connsiteX0" fmla="*/ 1594766 w 4201325"/>
              <a:gd name="connsiteY0" fmla="*/ 2367 h 2716742"/>
              <a:gd name="connsiteX1" fmla="*/ 3710 w 4201325"/>
              <a:gd name="connsiteY1" fmla="*/ 1026495 h 2716742"/>
              <a:gd name="connsiteX2" fmla="*/ 1786790 w 4201325"/>
              <a:gd name="connsiteY2" fmla="*/ 2708991 h 2716742"/>
              <a:gd name="connsiteX3" fmla="*/ 4200806 w 4201325"/>
              <a:gd name="connsiteY3" fmla="*/ 1584279 h 2716742"/>
              <a:gd name="connsiteX4" fmla="*/ 1594766 w 4201325"/>
              <a:gd name="connsiteY4" fmla="*/ 2367 h 2716742"/>
              <a:gd name="connsiteX0" fmla="*/ 1984986 w 4198884"/>
              <a:gd name="connsiteY0" fmla="*/ 2093 h 2908776"/>
              <a:gd name="connsiteX1" fmla="*/ 738 w 4198884"/>
              <a:gd name="connsiteY1" fmla="*/ 1218245 h 2908776"/>
              <a:gd name="connsiteX2" fmla="*/ 1783818 w 4198884"/>
              <a:gd name="connsiteY2" fmla="*/ 2900741 h 2908776"/>
              <a:gd name="connsiteX3" fmla="*/ 4197834 w 4198884"/>
              <a:gd name="connsiteY3" fmla="*/ 1776029 h 2908776"/>
              <a:gd name="connsiteX4" fmla="*/ 1984986 w 4198884"/>
              <a:gd name="connsiteY4" fmla="*/ 2093 h 2908776"/>
              <a:gd name="connsiteX0" fmla="*/ 1984986 w 4198884"/>
              <a:gd name="connsiteY0" fmla="*/ 2093 h 2906141"/>
              <a:gd name="connsiteX1" fmla="*/ 738 w 4198884"/>
              <a:gd name="connsiteY1" fmla="*/ 1218245 h 2906141"/>
              <a:gd name="connsiteX2" fmla="*/ 1783818 w 4198884"/>
              <a:gd name="connsiteY2" fmla="*/ 2900741 h 2906141"/>
              <a:gd name="connsiteX3" fmla="*/ 4197834 w 4198884"/>
              <a:gd name="connsiteY3" fmla="*/ 1776029 h 2906141"/>
              <a:gd name="connsiteX4" fmla="*/ 1984986 w 4198884"/>
              <a:gd name="connsiteY4" fmla="*/ 2093 h 2906141"/>
              <a:gd name="connsiteX0" fmla="*/ 1985646 w 4199544"/>
              <a:gd name="connsiteY0" fmla="*/ 2093 h 2906141"/>
              <a:gd name="connsiteX1" fmla="*/ 1398 w 4199544"/>
              <a:gd name="connsiteY1" fmla="*/ 1218245 h 2906141"/>
              <a:gd name="connsiteX2" fmla="*/ 1784478 w 4199544"/>
              <a:gd name="connsiteY2" fmla="*/ 2900741 h 2906141"/>
              <a:gd name="connsiteX3" fmla="*/ 4198494 w 4199544"/>
              <a:gd name="connsiteY3" fmla="*/ 1776029 h 2906141"/>
              <a:gd name="connsiteX4" fmla="*/ 1985646 w 4199544"/>
              <a:gd name="connsiteY4" fmla="*/ 2093 h 2906141"/>
              <a:gd name="connsiteX0" fmla="*/ 1985646 w 4199544"/>
              <a:gd name="connsiteY0" fmla="*/ 2180 h 3243121"/>
              <a:gd name="connsiteX1" fmla="*/ 1398 w 4199544"/>
              <a:gd name="connsiteY1" fmla="*/ 1218332 h 3243121"/>
              <a:gd name="connsiteX2" fmla="*/ 1784478 w 4199544"/>
              <a:gd name="connsiteY2" fmla="*/ 3239156 h 3243121"/>
              <a:gd name="connsiteX3" fmla="*/ 4198494 w 4199544"/>
              <a:gd name="connsiteY3" fmla="*/ 1776116 h 3243121"/>
              <a:gd name="connsiteX4" fmla="*/ 1985646 w 4199544"/>
              <a:gd name="connsiteY4" fmla="*/ 2180 h 3243121"/>
              <a:gd name="connsiteX0" fmla="*/ 1985646 w 4199062"/>
              <a:gd name="connsiteY0" fmla="*/ 2320 h 3243589"/>
              <a:gd name="connsiteX1" fmla="*/ 1398 w 4199062"/>
              <a:gd name="connsiteY1" fmla="*/ 1218472 h 3243589"/>
              <a:gd name="connsiteX2" fmla="*/ 1784478 w 4199062"/>
              <a:gd name="connsiteY2" fmla="*/ 3239296 h 3243589"/>
              <a:gd name="connsiteX3" fmla="*/ 4198494 w 4199062"/>
              <a:gd name="connsiteY3" fmla="*/ 1776256 h 3243589"/>
              <a:gd name="connsiteX4" fmla="*/ 1985646 w 4199062"/>
              <a:gd name="connsiteY4" fmla="*/ 2320 h 3243589"/>
              <a:gd name="connsiteX0" fmla="*/ 1874828 w 4197602"/>
              <a:gd name="connsiteY0" fmla="*/ 2074 h 3325362"/>
              <a:gd name="connsiteX1" fmla="*/ 308 w 4197602"/>
              <a:gd name="connsiteY1" fmla="*/ 1300522 h 3325362"/>
              <a:gd name="connsiteX2" fmla="*/ 1783388 w 4197602"/>
              <a:gd name="connsiteY2" fmla="*/ 3321346 h 3325362"/>
              <a:gd name="connsiteX3" fmla="*/ 4197404 w 4197602"/>
              <a:gd name="connsiteY3" fmla="*/ 1858306 h 3325362"/>
              <a:gd name="connsiteX4" fmla="*/ 1874828 w 4197602"/>
              <a:gd name="connsiteY4" fmla="*/ 2074 h 3325362"/>
              <a:gd name="connsiteX0" fmla="*/ 1874828 w 4199532"/>
              <a:gd name="connsiteY0" fmla="*/ 2450 h 3326778"/>
              <a:gd name="connsiteX1" fmla="*/ 308 w 4199532"/>
              <a:gd name="connsiteY1" fmla="*/ 1300898 h 3326778"/>
              <a:gd name="connsiteX2" fmla="*/ 1783388 w 4199532"/>
              <a:gd name="connsiteY2" fmla="*/ 3321722 h 3326778"/>
              <a:gd name="connsiteX3" fmla="*/ 4197404 w 4199532"/>
              <a:gd name="connsiteY3" fmla="*/ 1858682 h 3326778"/>
              <a:gd name="connsiteX4" fmla="*/ 1874828 w 4199532"/>
              <a:gd name="connsiteY4" fmla="*/ 2450 h 33267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99532" h="3326778">
                <a:moveTo>
                  <a:pt x="1874828" y="2450"/>
                </a:moveTo>
                <a:cubicBezTo>
                  <a:pt x="398072" y="64934"/>
                  <a:pt x="15548" y="747686"/>
                  <a:pt x="308" y="1300898"/>
                </a:cubicBezTo>
                <a:cubicBezTo>
                  <a:pt x="-14932" y="1854110"/>
                  <a:pt x="535232" y="3247046"/>
                  <a:pt x="1783388" y="3321722"/>
                </a:cubicBezTo>
                <a:cubicBezTo>
                  <a:pt x="3031544" y="3396398"/>
                  <a:pt x="4145588" y="2631350"/>
                  <a:pt x="4197404" y="1858682"/>
                </a:cubicBezTo>
                <a:cubicBezTo>
                  <a:pt x="4249220" y="1086014"/>
                  <a:pt x="3351584" y="-60034"/>
                  <a:pt x="1874828" y="2450"/>
                </a:cubicBezTo>
                <a:close/>
              </a:path>
            </a:pathLst>
          </a:custGeom>
          <a:solidFill>
            <a:schemeClr val="accent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2" name="任意多边形: 形状 1">
            <a:extLst>
              <a:ext uri="{FF2B5EF4-FFF2-40B4-BE49-F238E27FC236}">
                <a16:creationId xmlns:a16="http://schemas.microsoft.com/office/drawing/2014/main" id="{3F8FED4E-F8FC-452A-8930-22781F61B880}"/>
              </a:ext>
            </a:extLst>
          </p:cNvPr>
          <p:cNvSpPr/>
          <p:nvPr/>
        </p:nvSpPr>
        <p:spPr>
          <a:xfrm>
            <a:off x="3904874" y="1755648"/>
            <a:ext cx="4216432" cy="3340166"/>
          </a:xfrm>
          <a:custGeom>
            <a:avLst/>
            <a:gdLst>
              <a:gd name="connsiteX0" fmla="*/ 1591865 w 4198424"/>
              <a:gd name="connsiteY0" fmla="*/ 8778 h 2723153"/>
              <a:gd name="connsiteX1" fmla="*/ 809 w 4198424"/>
              <a:gd name="connsiteY1" fmla="*/ 1032906 h 2723153"/>
              <a:gd name="connsiteX2" fmla="*/ 1783889 w 4198424"/>
              <a:gd name="connsiteY2" fmla="*/ 2715402 h 2723153"/>
              <a:gd name="connsiteX3" fmla="*/ 4197905 w 4198424"/>
              <a:gd name="connsiteY3" fmla="*/ 1590690 h 2723153"/>
              <a:gd name="connsiteX4" fmla="*/ 1591865 w 4198424"/>
              <a:gd name="connsiteY4" fmla="*/ 8778 h 2723153"/>
              <a:gd name="connsiteX0" fmla="*/ 1594766 w 4201325"/>
              <a:gd name="connsiteY0" fmla="*/ 2367 h 2716742"/>
              <a:gd name="connsiteX1" fmla="*/ 3710 w 4201325"/>
              <a:gd name="connsiteY1" fmla="*/ 1026495 h 2716742"/>
              <a:gd name="connsiteX2" fmla="*/ 1786790 w 4201325"/>
              <a:gd name="connsiteY2" fmla="*/ 2708991 h 2716742"/>
              <a:gd name="connsiteX3" fmla="*/ 4200806 w 4201325"/>
              <a:gd name="connsiteY3" fmla="*/ 1584279 h 2716742"/>
              <a:gd name="connsiteX4" fmla="*/ 1594766 w 4201325"/>
              <a:gd name="connsiteY4" fmla="*/ 2367 h 2716742"/>
              <a:gd name="connsiteX0" fmla="*/ 1984986 w 4198884"/>
              <a:gd name="connsiteY0" fmla="*/ 2093 h 2908776"/>
              <a:gd name="connsiteX1" fmla="*/ 738 w 4198884"/>
              <a:gd name="connsiteY1" fmla="*/ 1218245 h 2908776"/>
              <a:gd name="connsiteX2" fmla="*/ 1783818 w 4198884"/>
              <a:gd name="connsiteY2" fmla="*/ 2900741 h 2908776"/>
              <a:gd name="connsiteX3" fmla="*/ 4197834 w 4198884"/>
              <a:gd name="connsiteY3" fmla="*/ 1776029 h 2908776"/>
              <a:gd name="connsiteX4" fmla="*/ 1984986 w 4198884"/>
              <a:gd name="connsiteY4" fmla="*/ 2093 h 2908776"/>
              <a:gd name="connsiteX0" fmla="*/ 1984986 w 4198884"/>
              <a:gd name="connsiteY0" fmla="*/ 2093 h 2906141"/>
              <a:gd name="connsiteX1" fmla="*/ 738 w 4198884"/>
              <a:gd name="connsiteY1" fmla="*/ 1218245 h 2906141"/>
              <a:gd name="connsiteX2" fmla="*/ 1783818 w 4198884"/>
              <a:gd name="connsiteY2" fmla="*/ 2900741 h 2906141"/>
              <a:gd name="connsiteX3" fmla="*/ 4197834 w 4198884"/>
              <a:gd name="connsiteY3" fmla="*/ 1776029 h 2906141"/>
              <a:gd name="connsiteX4" fmla="*/ 1984986 w 4198884"/>
              <a:gd name="connsiteY4" fmla="*/ 2093 h 2906141"/>
              <a:gd name="connsiteX0" fmla="*/ 1985646 w 4199544"/>
              <a:gd name="connsiteY0" fmla="*/ 2093 h 2906141"/>
              <a:gd name="connsiteX1" fmla="*/ 1398 w 4199544"/>
              <a:gd name="connsiteY1" fmla="*/ 1218245 h 2906141"/>
              <a:gd name="connsiteX2" fmla="*/ 1784478 w 4199544"/>
              <a:gd name="connsiteY2" fmla="*/ 2900741 h 2906141"/>
              <a:gd name="connsiteX3" fmla="*/ 4198494 w 4199544"/>
              <a:gd name="connsiteY3" fmla="*/ 1776029 h 2906141"/>
              <a:gd name="connsiteX4" fmla="*/ 1985646 w 4199544"/>
              <a:gd name="connsiteY4" fmla="*/ 2093 h 2906141"/>
              <a:gd name="connsiteX0" fmla="*/ 1985646 w 4199544"/>
              <a:gd name="connsiteY0" fmla="*/ 2180 h 3243121"/>
              <a:gd name="connsiteX1" fmla="*/ 1398 w 4199544"/>
              <a:gd name="connsiteY1" fmla="*/ 1218332 h 3243121"/>
              <a:gd name="connsiteX2" fmla="*/ 1784478 w 4199544"/>
              <a:gd name="connsiteY2" fmla="*/ 3239156 h 3243121"/>
              <a:gd name="connsiteX3" fmla="*/ 4198494 w 4199544"/>
              <a:gd name="connsiteY3" fmla="*/ 1776116 h 3243121"/>
              <a:gd name="connsiteX4" fmla="*/ 1985646 w 4199544"/>
              <a:gd name="connsiteY4" fmla="*/ 2180 h 3243121"/>
              <a:gd name="connsiteX0" fmla="*/ 1985646 w 4199062"/>
              <a:gd name="connsiteY0" fmla="*/ 2320 h 3243589"/>
              <a:gd name="connsiteX1" fmla="*/ 1398 w 4199062"/>
              <a:gd name="connsiteY1" fmla="*/ 1218472 h 3243589"/>
              <a:gd name="connsiteX2" fmla="*/ 1784478 w 4199062"/>
              <a:gd name="connsiteY2" fmla="*/ 3239296 h 3243589"/>
              <a:gd name="connsiteX3" fmla="*/ 4198494 w 4199062"/>
              <a:gd name="connsiteY3" fmla="*/ 1776256 h 3243589"/>
              <a:gd name="connsiteX4" fmla="*/ 1985646 w 4199062"/>
              <a:gd name="connsiteY4" fmla="*/ 2320 h 3243589"/>
              <a:gd name="connsiteX0" fmla="*/ 1874828 w 4197602"/>
              <a:gd name="connsiteY0" fmla="*/ 2074 h 3325362"/>
              <a:gd name="connsiteX1" fmla="*/ 308 w 4197602"/>
              <a:gd name="connsiteY1" fmla="*/ 1300522 h 3325362"/>
              <a:gd name="connsiteX2" fmla="*/ 1783388 w 4197602"/>
              <a:gd name="connsiteY2" fmla="*/ 3321346 h 3325362"/>
              <a:gd name="connsiteX3" fmla="*/ 4197404 w 4197602"/>
              <a:gd name="connsiteY3" fmla="*/ 1858306 h 3325362"/>
              <a:gd name="connsiteX4" fmla="*/ 1874828 w 4197602"/>
              <a:gd name="connsiteY4" fmla="*/ 2074 h 3325362"/>
              <a:gd name="connsiteX0" fmla="*/ 1874828 w 4199532"/>
              <a:gd name="connsiteY0" fmla="*/ 2450 h 3326778"/>
              <a:gd name="connsiteX1" fmla="*/ 308 w 4199532"/>
              <a:gd name="connsiteY1" fmla="*/ 1300898 h 3326778"/>
              <a:gd name="connsiteX2" fmla="*/ 1783388 w 4199532"/>
              <a:gd name="connsiteY2" fmla="*/ 3321722 h 3326778"/>
              <a:gd name="connsiteX3" fmla="*/ 4197404 w 4199532"/>
              <a:gd name="connsiteY3" fmla="*/ 1858682 h 3326778"/>
              <a:gd name="connsiteX4" fmla="*/ 1874828 w 4199532"/>
              <a:gd name="connsiteY4" fmla="*/ 2450 h 33267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99532" h="3326778">
                <a:moveTo>
                  <a:pt x="1874828" y="2450"/>
                </a:moveTo>
                <a:cubicBezTo>
                  <a:pt x="398072" y="64934"/>
                  <a:pt x="15548" y="747686"/>
                  <a:pt x="308" y="1300898"/>
                </a:cubicBezTo>
                <a:cubicBezTo>
                  <a:pt x="-14932" y="1854110"/>
                  <a:pt x="535232" y="3247046"/>
                  <a:pt x="1783388" y="3321722"/>
                </a:cubicBezTo>
                <a:cubicBezTo>
                  <a:pt x="3031544" y="3396398"/>
                  <a:pt x="4145588" y="2631350"/>
                  <a:pt x="4197404" y="1858682"/>
                </a:cubicBezTo>
                <a:cubicBezTo>
                  <a:pt x="4249220" y="1086014"/>
                  <a:pt x="3351584" y="-60034"/>
                  <a:pt x="1874828" y="245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3" name="文本框 2">
            <a:extLst>
              <a:ext uri="{FF2B5EF4-FFF2-40B4-BE49-F238E27FC236}">
                <a16:creationId xmlns:a16="http://schemas.microsoft.com/office/drawing/2014/main" id="{8B3BE9C0-4044-4C75-94CA-A3D379C63656}"/>
              </a:ext>
            </a:extLst>
          </p:cNvPr>
          <p:cNvSpPr txBox="1"/>
          <p:nvPr/>
        </p:nvSpPr>
        <p:spPr>
          <a:xfrm>
            <a:off x="4557117" y="3112524"/>
            <a:ext cx="3077766" cy="738664"/>
          </a:xfrm>
          <a:prstGeom prst="rect">
            <a:avLst/>
          </a:prstGeom>
          <a:noFill/>
        </p:spPr>
        <p:txBody>
          <a:bodyPr wrap="none" lIns="0" tIns="0" rIns="0" bIns="0" rtlCol="0" anchor="t">
            <a:spAutoFit/>
          </a:bodyPr>
          <a:lstStyle/>
          <a:p>
            <a:pPr algn="ctr"/>
            <a:r>
              <a:rPr kumimoji="1" lang="zh-CN" altLang="en-US" sz="4800" dirty="0">
                <a:solidFill>
                  <a:schemeClr val="bg1"/>
                </a:solidFill>
                <a:latin typeface="+mj-ea"/>
                <a:ea typeface="+mj-ea"/>
              </a:rPr>
              <a:t>过渡页标题</a:t>
            </a:r>
          </a:p>
        </p:txBody>
      </p:sp>
      <p:sp>
        <p:nvSpPr>
          <p:cNvPr id="4" name="文本框 3">
            <a:extLst>
              <a:ext uri="{FF2B5EF4-FFF2-40B4-BE49-F238E27FC236}">
                <a16:creationId xmlns:a16="http://schemas.microsoft.com/office/drawing/2014/main" id="{1C023ACF-C5F1-4F72-A5B8-EC676CF2E959}"/>
              </a:ext>
            </a:extLst>
          </p:cNvPr>
          <p:cNvSpPr txBox="1"/>
          <p:nvPr/>
        </p:nvSpPr>
        <p:spPr>
          <a:xfrm>
            <a:off x="4616785" y="3885963"/>
            <a:ext cx="2974642" cy="184666"/>
          </a:xfrm>
          <a:prstGeom prst="rect">
            <a:avLst/>
          </a:prstGeom>
          <a:noFill/>
        </p:spPr>
        <p:txBody>
          <a:bodyPr wrap="square" lIns="0" tIns="0" rIns="0" bIns="0" rtlCol="0" anchor="t">
            <a:spAutoFit/>
          </a:bodyPr>
          <a:lstStyle/>
          <a:p>
            <a:pPr algn="dist"/>
            <a:r>
              <a:rPr kumimoji="1" lang="en-US" altLang="zh-CN" sz="1200" dirty="0">
                <a:solidFill>
                  <a:schemeClr val="bg1"/>
                </a:solidFill>
              </a:rPr>
              <a:t>Transition Page Title</a:t>
            </a:r>
            <a:endParaRPr kumimoji="1" lang="zh-CN" altLang="en-US" sz="1200" dirty="0">
              <a:solidFill>
                <a:schemeClr val="bg1"/>
              </a:solidFill>
            </a:endParaRPr>
          </a:p>
        </p:txBody>
      </p:sp>
      <p:sp>
        <p:nvSpPr>
          <p:cNvPr id="5" name="文本框 4">
            <a:extLst>
              <a:ext uri="{FF2B5EF4-FFF2-40B4-BE49-F238E27FC236}">
                <a16:creationId xmlns:a16="http://schemas.microsoft.com/office/drawing/2014/main" id="{24863930-2348-4D64-AE17-CFCB28F2E6BB}"/>
              </a:ext>
            </a:extLst>
          </p:cNvPr>
          <p:cNvSpPr txBox="1"/>
          <p:nvPr/>
        </p:nvSpPr>
        <p:spPr>
          <a:xfrm>
            <a:off x="5658379" y="2163412"/>
            <a:ext cx="875240" cy="923330"/>
          </a:xfrm>
          <a:prstGeom prst="rect">
            <a:avLst/>
          </a:prstGeom>
          <a:noFill/>
        </p:spPr>
        <p:txBody>
          <a:bodyPr wrap="none" lIns="0" tIns="0" rIns="0" bIns="0" rtlCol="0">
            <a:spAutoFit/>
          </a:bodyPr>
          <a:lstStyle/>
          <a:p>
            <a:pPr algn="ctr"/>
            <a:r>
              <a:rPr kumimoji="1" lang="en-US" altLang="zh-CN" sz="6000" b="1" dirty="0">
                <a:solidFill>
                  <a:schemeClr val="bg1"/>
                </a:solidFill>
                <a:latin typeface="+mj-ea"/>
                <a:ea typeface="+mj-ea"/>
                <a:cs typeface="Alibaba PuHuiTi B" pitchFamily="18" charset="-122"/>
              </a:rPr>
              <a:t>01</a:t>
            </a:r>
            <a:endParaRPr kumimoji="1" lang="zh-CN" altLang="en-US" sz="6000" b="1" dirty="0">
              <a:solidFill>
                <a:schemeClr val="bg1"/>
              </a:solidFill>
              <a:latin typeface="+mj-ea"/>
              <a:ea typeface="+mj-ea"/>
              <a:cs typeface="Alibaba PuHuiTi B" pitchFamily="18" charset="-122"/>
            </a:endParaRPr>
          </a:p>
        </p:txBody>
      </p:sp>
      <p:sp>
        <p:nvSpPr>
          <p:cNvPr id="8" name="任意多边形: 形状 7">
            <a:extLst>
              <a:ext uri="{FF2B5EF4-FFF2-40B4-BE49-F238E27FC236}">
                <a16:creationId xmlns:a16="http://schemas.microsoft.com/office/drawing/2014/main" id="{E00C5024-E084-4976-88CF-1AE40C3AE035}"/>
              </a:ext>
            </a:extLst>
          </p:cNvPr>
          <p:cNvSpPr/>
          <p:nvPr/>
        </p:nvSpPr>
        <p:spPr>
          <a:xfrm rot="1510764">
            <a:off x="-457604" y="5899645"/>
            <a:ext cx="1653280" cy="1241650"/>
          </a:xfrm>
          <a:custGeom>
            <a:avLst/>
            <a:gdLst>
              <a:gd name="connsiteX0" fmla="*/ 1591865 w 4198424"/>
              <a:gd name="connsiteY0" fmla="*/ 8778 h 2723153"/>
              <a:gd name="connsiteX1" fmla="*/ 809 w 4198424"/>
              <a:gd name="connsiteY1" fmla="*/ 1032906 h 2723153"/>
              <a:gd name="connsiteX2" fmla="*/ 1783889 w 4198424"/>
              <a:gd name="connsiteY2" fmla="*/ 2715402 h 2723153"/>
              <a:gd name="connsiteX3" fmla="*/ 4197905 w 4198424"/>
              <a:gd name="connsiteY3" fmla="*/ 1590690 h 2723153"/>
              <a:gd name="connsiteX4" fmla="*/ 1591865 w 4198424"/>
              <a:gd name="connsiteY4" fmla="*/ 8778 h 2723153"/>
              <a:gd name="connsiteX0" fmla="*/ 1594766 w 4201325"/>
              <a:gd name="connsiteY0" fmla="*/ 2367 h 2716742"/>
              <a:gd name="connsiteX1" fmla="*/ 3710 w 4201325"/>
              <a:gd name="connsiteY1" fmla="*/ 1026495 h 2716742"/>
              <a:gd name="connsiteX2" fmla="*/ 1786790 w 4201325"/>
              <a:gd name="connsiteY2" fmla="*/ 2708991 h 2716742"/>
              <a:gd name="connsiteX3" fmla="*/ 4200806 w 4201325"/>
              <a:gd name="connsiteY3" fmla="*/ 1584279 h 2716742"/>
              <a:gd name="connsiteX4" fmla="*/ 1594766 w 4201325"/>
              <a:gd name="connsiteY4" fmla="*/ 2367 h 2716742"/>
              <a:gd name="connsiteX0" fmla="*/ 1984986 w 4198884"/>
              <a:gd name="connsiteY0" fmla="*/ 2093 h 2908776"/>
              <a:gd name="connsiteX1" fmla="*/ 738 w 4198884"/>
              <a:gd name="connsiteY1" fmla="*/ 1218245 h 2908776"/>
              <a:gd name="connsiteX2" fmla="*/ 1783818 w 4198884"/>
              <a:gd name="connsiteY2" fmla="*/ 2900741 h 2908776"/>
              <a:gd name="connsiteX3" fmla="*/ 4197834 w 4198884"/>
              <a:gd name="connsiteY3" fmla="*/ 1776029 h 2908776"/>
              <a:gd name="connsiteX4" fmla="*/ 1984986 w 4198884"/>
              <a:gd name="connsiteY4" fmla="*/ 2093 h 2908776"/>
              <a:gd name="connsiteX0" fmla="*/ 1984986 w 4198884"/>
              <a:gd name="connsiteY0" fmla="*/ 2093 h 2906141"/>
              <a:gd name="connsiteX1" fmla="*/ 738 w 4198884"/>
              <a:gd name="connsiteY1" fmla="*/ 1218245 h 2906141"/>
              <a:gd name="connsiteX2" fmla="*/ 1783818 w 4198884"/>
              <a:gd name="connsiteY2" fmla="*/ 2900741 h 2906141"/>
              <a:gd name="connsiteX3" fmla="*/ 4197834 w 4198884"/>
              <a:gd name="connsiteY3" fmla="*/ 1776029 h 2906141"/>
              <a:gd name="connsiteX4" fmla="*/ 1984986 w 4198884"/>
              <a:gd name="connsiteY4" fmla="*/ 2093 h 2906141"/>
              <a:gd name="connsiteX0" fmla="*/ 1985646 w 4199544"/>
              <a:gd name="connsiteY0" fmla="*/ 2093 h 2906141"/>
              <a:gd name="connsiteX1" fmla="*/ 1398 w 4199544"/>
              <a:gd name="connsiteY1" fmla="*/ 1218245 h 2906141"/>
              <a:gd name="connsiteX2" fmla="*/ 1784478 w 4199544"/>
              <a:gd name="connsiteY2" fmla="*/ 2900741 h 2906141"/>
              <a:gd name="connsiteX3" fmla="*/ 4198494 w 4199544"/>
              <a:gd name="connsiteY3" fmla="*/ 1776029 h 2906141"/>
              <a:gd name="connsiteX4" fmla="*/ 1985646 w 4199544"/>
              <a:gd name="connsiteY4" fmla="*/ 2093 h 2906141"/>
              <a:gd name="connsiteX0" fmla="*/ 1985646 w 4199544"/>
              <a:gd name="connsiteY0" fmla="*/ 2180 h 3243121"/>
              <a:gd name="connsiteX1" fmla="*/ 1398 w 4199544"/>
              <a:gd name="connsiteY1" fmla="*/ 1218332 h 3243121"/>
              <a:gd name="connsiteX2" fmla="*/ 1784478 w 4199544"/>
              <a:gd name="connsiteY2" fmla="*/ 3239156 h 3243121"/>
              <a:gd name="connsiteX3" fmla="*/ 4198494 w 4199544"/>
              <a:gd name="connsiteY3" fmla="*/ 1776116 h 3243121"/>
              <a:gd name="connsiteX4" fmla="*/ 1985646 w 4199544"/>
              <a:gd name="connsiteY4" fmla="*/ 2180 h 3243121"/>
              <a:gd name="connsiteX0" fmla="*/ 1985646 w 4199062"/>
              <a:gd name="connsiteY0" fmla="*/ 2320 h 3243589"/>
              <a:gd name="connsiteX1" fmla="*/ 1398 w 4199062"/>
              <a:gd name="connsiteY1" fmla="*/ 1218472 h 3243589"/>
              <a:gd name="connsiteX2" fmla="*/ 1784478 w 4199062"/>
              <a:gd name="connsiteY2" fmla="*/ 3239296 h 3243589"/>
              <a:gd name="connsiteX3" fmla="*/ 4198494 w 4199062"/>
              <a:gd name="connsiteY3" fmla="*/ 1776256 h 3243589"/>
              <a:gd name="connsiteX4" fmla="*/ 1985646 w 4199062"/>
              <a:gd name="connsiteY4" fmla="*/ 2320 h 3243589"/>
              <a:gd name="connsiteX0" fmla="*/ 1874828 w 4197602"/>
              <a:gd name="connsiteY0" fmla="*/ 2074 h 3325362"/>
              <a:gd name="connsiteX1" fmla="*/ 308 w 4197602"/>
              <a:gd name="connsiteY1" fmla="*/ 1300522 h 3325362"/>
              <a:gd name="connsiteX2" fmla="*/ 1783388 w 4197602"/>
              <a:gd name="connsiteY2" fmla="*/ 3321346 h 3325362"/>
              <a:gd name="connsiteX3" fmla="*/ 4197404 w 4197602"/>
              <a:gd name="connsiteY3" fmla="*/ 1858306 h 3325362"/>
              <a:gd name="connsiteX4" fmla="*/ 1874828 w 4197602"/>
              <a:gd name="connsiteY4" fmla="*/ 2074 h 3325362"/>
              <a:gd name="connsiteX0" fmla="*/ 1874828 w 4199532"/>
              <a:gd name="connsiteY0" fmla="*/ 2450 h 3326778"/>
              <a:gd name="connsiteX1" fmla="*/ 308 w 4199532"/>
              <a:gd name="connsiteY1" fmla="*/ 1300898 h 3326778"/>
              <a:gd name="connsiteX2" fmla="*/ 1783388 w 4199532"/>
              <a:gd name="connsiteY2" fmla="*/ 3321722 h 3326778"/>
              <a:gd name="connsiteX3" fmla="*/ 4197404 w 4199532"/>
              <a:gd name="connsiteY3" fmla="*/ 1858682 h 3326778"/>
              <a:gd name="connsiteX4" fmla="*/ 1874828 w 4199532"/>
              <a:gd name="connsiteY4" fmla="*/ 2450 h 33267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99532" h="3326778">
                <a:moveTo>
                  <a:pt x="1874828" y="2450"/>
                </a:moveTo>
                <a:cubicBezTo>
                  <a:pt x="398072" y="64934"/>
                  <a:pt x="15548" y="747686"/>
                  <a:pt x="308" y="1300898"/>
                </a:cubicBezTo>
                <a:cubicBezTo>
                  <a:pt x="-14932" y="1854110"/>
                  <a:pt x="535232" y="3247046"/>
                  <a:pt x="1783388" y="3321722"/>
                </a:cubicBezTo>
                <a:cubicBezTo>
                  <a:pt x="3031544" y="3396398"/>
                  <a:pt x="4145588" y="2631350"/>
                  <a:pt x="4197404" y="1858682"/>
                </a:cubicBezTo>
                <a:cubicBezTo>
                  <a:pt x="4249220" y="1086014"/>
                  <a:pt x="3351584" y="-60034"/>
                  <a:pt x="1874828" y="245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11" name="任意多边形: 形状 10">
            <a:extLst>
              <a:ext uri="{FF2B5EF4-FFF2-40B4-BE49-F238E27FC236}">
                <a16:creationId xmlns:a16="http://schemas.microsoft.com/office/drawing/2014/main" id="{E74653F7-F64F-46EA-A9C5-62B05AAED64E}"/>
              </a:ext>
            </a:extLst>
          </p:cNvPr>
          <p:cNvSpPr/>
          <p:nvPr/>
        </p:nvSpPr>
        <p:spPr>
          <a:xfrm>
            <a:off x="9717195" y="0"/>
            <a:ext cx="2474805" cy="1244524"/>
          </a:xfrm>
          <a:custGeom>
            <a:avLst/>
            <a:gdLst>
              <a:gd name="connsiteX0" fmla="*/ 3148 w 3132205"/>
              <a:gd name="connsiteY0" fmla="*/ 0 h 1575116"/>
              <a:gd name="connsiteX1" fmla="*/ 3132205 w 3132205"/>
              <a:gd name="connsiteY1" fmla="*/ 0 h 1575116"/>
              <a:gd name="connsiteX2" fmla="*/ 3132205 w 3132205"/>
              <a:gd name="connsiteY2" fmla="*/ 1536603 h 1575116"/>
              <a:gd name="connsiteX3" fmla="*/ 3095023 w 3132205"/>
              <a:gd name="connsiteY3" fmla="*/ 1547428 h 1575116"/>
              <a:gd name="connsiteX4" fmla="*/ 2929005 w 3132205"/>
              <a:gd name="connsiteY4" fmla="*/ 1574800 h 1575116"/>
              <a:gd name="connsiteX5" fmla="*/ 2065405 w 3132205"/>
              <a:gd name="connsiteY5" fmla="*/ 774700 h 1575116"/>
              <a:gd name="connsiteX6" fmla="*/ 668405 w 3132205"/>
              <a:gd name="connsiteY6" fmla="*/ 673100 h 1575116"/>
              <a:gd name="connsiteX7" fmla="*/ 167 w 3132205"/>
              <a:gd name="connsiteY7" fmla="*/ 14387 h 1575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32205" h="1575116">
                <a:moveTo>
                  <a:pt x="3148" y="0"/>
                </a:moveTo>
                <a:lnTo>
                  <a:pt x="3132205" y="0"/>
                </a:lnTo>
                <a:lnTo>
                  <a:pt x="3132205" y="1536603"/>
                </a:lnTo>
                <a:lnTo>
                  <a:pt x="3095023" y="1547428"/>
                </a:lnTo>
                <a:cubicBezTo>
                  <a:pt x="3033086" y="1563192"/>
                  <a:pt x="2976895" y="1572684"/>
                  <a:pt x="2929005" y="1574800"/>
                </a:cubicBezTo>
                <a:cubicBezTo>
                  <a:pt x="2545888" y="1591733"/>
                  <a:pt x="2442172" y="924983"/>
                  <a:pt x="2065405" y="774700"/>
                </a:cubicBezTo>
                <a:cubicBezTo>
                  <a:pt x="1688638" y="624417"/>
                  <a:pt x="981672" y="836083"/>
                  <a:pt x="668405" y="673100"/>
                </a:cubicBezTo>
                <a:cubicBezTo>
                  <a:pt x="433455" y="550863"/>
                  <a:pt x="-9855" y="257175"/>
                  <a:pt x="167" y="14387"/>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l"/>
            <a:endParaRPr lang="zh-CN" altLang="en-US" sz="1600">
              <a:solidFill>
                <a:schemeClr val="bg1"/>
              </a:solidFill>
              <a:latin typeface="+mj-ea"/>
              <a:ea typeface="+mj-ea"/>
            </a:endParaRPr>
          </a:p>
        </p:txBody>
      </p:sp>
      <p:sp>
        <p:nvSpPr>
          <p:cNvPr id="12" name="椭圆 11">
            <a:extLst>
              <a:ext uri="{FF2B5EF4-FFF2-40B4-BE49-F238E27FC236}">
                <a16:creationId xmlns:a16="http://schemas.microsoft.com/office/drawing/2014/main" id="{95FB7524-D8CB-4F04-A93E-9558185EBABB}"/>
              </a:ext>
            </a:extLst>
          </p:cNvPr>
          <p:cNvSpPr/>
          <p:nvPr/>
        </p:nvSpPr>
        <p:spPr>
          <a:xfrm rot="16544602">
            <a:off x="-1046175" y="-1327387"/>
            <a:ext cx="3504788" cy="3504788"/>
          </a:xfrm>
          <a:prstGeom prst="ellipse">
            <a:avLst/>
          </a:prstGeom>
          <a:gradFill>
            <a:gsLst>
              <a:gs pos="100000">
                <a:schemeClr val="accent1">
                  <a:alpha val="0"/>
                </a:schemeClr>
              </a:gs>
              <a:gs pos="0">
                <a:schemeClr val="accent1">
                  <a:alpha val="18000"/>
                </a:schemeClr>
              </a:gs>
            </a:gsLst>
            <a:lin ang="8400000" scaled="0"/>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3" name="椭圆 12">
            <a:extLst>
              <a:ext uri="{FF2B5EF4-FFF2-40B4-BE49-F238E27FC236}">
                <a16:creationId xmlns:a16="http://schemas.microsoft.com/office/drawing/2014/main" id="{B68CAE0A-64C9-4A5B-8542-851BAD8C7C83}"/>
              </a:ext>
            </a:extLst>
          </p:cNvPr>
          <p:cNvSpPr/>
          <p:nvPr/>
        </p:nvSpPr>
        <p:spPr>
          <a:xfrm>
            <a:off x="3340276" y="2154090"/>
            <a:ext cx="379763" cy="379763"/>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14" name="椭圆 13">
            <a:extLst>
              <a:ext uri="{FF2B5EF4-FFF2-40B4-BE49-F238E27FC236}">
                <a16:creationId xmlns:a16="http://schemas.microsoft.com/office/drawing/2014/main" id="{D8F316E7-725D-48CF-9826-31277925D3AE}"/>
              </a:ext>
            </a:extLst>
          </p:cNvPr>
          <p:cNvSpPr/>
          <p:nvPr/>
        </p:nvSpPr>
        <p:spPr>
          <a:xfrm>
            <a:off x="8256806" y="4392465"/>
            <a:ext cx="236685" cy="236685"/>
          </a:xfrm>
          <a:prstGeom prst="ellipse">
            <a:avLst/>
          </a:prstGeom>
          <a:solidFill>
            <a:schemeClr val="accent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Tree>
    <p:extLst>
      <p:ext uri="{BB962C8B-B14F-4D97-AF65-F5344CB8AC3E}">
        <p14:creationId xmlns:p14="http://schemas.microsoft.com/office/powerpoint/2010/main" val="2103668207"/>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椭圆 1">
            <a:extLst>
              <a:ext uri="{FF2B5EF4-FFF2-40B4-BE49-F238E27FC236}">
                <a16:creationId xmlns:a16="http://schemas.microsoft.com/office/drawing/2014/main" id="{72D10D09-42BB-4536-9ACB-3226A1A89D7D}"/>
              </a:ext>
            </a:extLst>
          </p:cNvPr>
          <p:cNvSpPr/>
          <p:nvPr/>
        </p:nvSpPr>
        <p:spPr>
          <a:xfrm>
            <a:off x="4248150" y="1581150"/>
            <a:ext cx="3695700" cy="36957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3" name="文本框 2">
            <a:extLst>
              <a:ext uri="{FF2B5EF4-FFF2-40B4-BE49-F238E27FC236}">
                <a16:creationId xmlns:a16="http://schemas.microsoft.com/office/drawing/2014/main" id="{D56FC5DD-29C4-49CC-A97F-2DDF270455FB}"/>
              </a:ext>
            </a:extLst>
          </p:cNvPr>
          <p:cNvSpPr txBox="1"/>
          <p:nvPr/>
        </p:nvSpPr>
        <p:spPr>
          <a:xfrm>
            <a:off x="4557117" y="3112524"/>
            <a:ext cx="3077766" cy="738664"/>
          </a:xfrm>
          <a:prstGeom prst="rect">
            <a:avLst/>
          </a:prstGeom>
          <a:noFill/>
        </p:spPr>
        <p:txBody>
          <a:bodyPr wrap="none" lIns="0" tIns="0" rIns="0" bIns="0" rtlCol="0" anchor="t">
            <a:spAutoFit/>
          </a:bodyPr>
          <a:lstStyle/>
          <a:p>
            <a:pPr algn="ctr"/>
            <a:r>
              <a:rPr kumimoji="1" lang="zh-CN" altLang="en-US" sz="4800" dirty="0">
                <a:solidFill>
                  <a:schemeClr val="bg1"/>
                </a:solidFill>
                <a:latin typeface="+mj-ea"/>
                <a:ea typeface="+mj-ea"/>
              </a:rPr>
              <a:t>过渡页标题</a:t>
            </a:r>
          </a:p>
        </p:txBody>
      </p:sp>
      <p:sp>
        <p:nvSpPr>
          <p:cNvPr id="4" name="文本框 3">
            <a:extLst>
              <a:ext uri="{FF2B5EF4-FFF2-40B4-BE49-F238E27FC236}">
                <a16:creationId xmlns:a16="http://schemas.microsoft.com/office/drawing/2014/main" id="{84561E50-CEF6-45BD-8084-1815B409B72B}"/>
              </a:ext>
            </a:extLst>
          </p:cNvPr>
          <p:cNvSpPr txBox="1"/>
          <p:nvPr/>
        </p:nvSpPr>
        <p:spPr>
          <a:xfrm>
            <a:off x="4616785" y="3857388"/>
            <a:ext cx="2974642" cy="184666"/>
          </a:xfrm>
          <a:prstGeom prst="rect">
            <a:avLst/>
          </a:prstGeom>
          <a:noFill/>
        </p:spPr>
        <p:txBody>
          <a:bodyPr wrap="square" lIns="0" tIns="0" rIns="0" bIns="0" rtlCol="0" anchor="t">
            <a:spAutoFit/>
          </a:bodyPr>
          <a:lstStyle/>
          <a:p>
            <a:pPr algn="dist"/>
            <a:r>
              <a:rPr kumimoji="1" lang="en-US" altLang="zh-CN" sz="1200" dirty="0">
                <a:solidFill>
                  <a:schemeClr val="bg1"/>
                </a:solidFill>
              </a:rPr>
              <a:t>Transition Page Title</a:t>
            </a:r>
            <a:endParaRPr kumimoji="1" lang="zh-CN" altLang="en-US" sz="1200" dirty="0">
              <a:solidFill>
                <a:schemeClr val="bg1"/>
              </a:solidFill>
            </a:endParaRPr>
          </a:p>
        </p:txBody>
      </p:sp>
      <p:sp>
        <p:nvSpPr>
          <p:cNvPr id="5" name="文本框 4">
            <a:extLst>
              <a:ext uri="{FF2B5EF4-FFF2-40B4-BE49-F238E27FC236}">
                <a16:creationId xmlns:a16="http://schemas.microsoft.com/office/drawing/2014/main" id="{3FEE8140-80DF-4884-BD3C-1917CE7C8BB2}"/>
              </a:ext>
            </a:extLst>
          </p:cNvPr>
          <p:cNvSpPr txBox="1"/>
          <p:nvPr/>
        </p:nvSpPr>
        <p:spPr>
          <a:xfrm>
            <a:off x="5658379" y="2163412"/>
            <a:ext cx="875240" cy="923330"/>
          </a:xfrm>
          <a:prstGeom prst="rect">
            <a:avLst/>
          </a:prstGeom>
          <a:noFill/>
        </p:spPr>
        <p:txBody>
          <a:bodyPr wrap="none" lIns="0" tIns="0" rIns="0" bIns="0" rtlCol="0">
            <a:spAutoFit/>
          </a:bodyPr>
          <a:lstStyle/>
          <a:p>
            <a:pPr algn="ctr"/>
            <a:r>
              <a:rPr kumimoji="1" lang="en-US" altLang="zh-CN" sz="6000" b="1" dirty="0">
                <a:solidFill>
                  <a:schemeClr val="bg1"/>
                </a:solidFill>
                <a:latin typeface="+mj-ea"/>
                <a:ea typeface="+mj-ea"/>
                <a:cs typeface="Alibaba PuHuiTi B" pitchFamily="18" charset="-122"/>
              </a:rPr>
              <a:t>01</a:t>
            </a:r>
            <a:endParaRPr kumimoji="1" lang="zh-CN" altLang="en-US" sz="6000" b="1" dirty="0">
              <a:solidFill>
                <a:schemeClr val="bg1"/>
              </a:solidFill>
              <a:latin typeface="+mj-ea"/>
              <a:ea typeface="+mj-ea"/>
              <a:cs typeface="Alibaba PuHuiTi B" pitchFamily="18" charset="-122"/>
            </a:endParaRPr>
          </a:p>
        </p:txBody>
      </p:sp>
      <p:sp>
        <p:nvSpPr>
          <p:cNvPr id="6" name="椭圆 5">
            <a:extLst>
              <a:ext uri="{FF2B5EF4-FFF2-40B4-BE49-F238E27FC236}">
                <a16:creationId xmlns:a16="http://schemas.microsoft.com/office/drawing/2014/main" id="{8CF8AAB3-4B92-4DD9-853D-DCCE36B49F69}"/>
              </a:ext>
            </a:extLst>
          </p:cNvPr>
          <p:cNvSpPr/>
          <p:nvPr/>
        </p:nvSpPr>
        <p:spPr>
          <a:xfrm rot="20952739">
            <a:off x="2814638" y="3071926"/>
            <a:ext cx="6562725" cy="1398666"/>
          </a:xfrm>
          <a:prstGeom prst="ellipse">
            <a:avLst/>
          </a:prstGeom>
          <a:noFill/>
          <a:ln w="69850">
            <a:gradFill>
              <a:gsLst>
                <a:gs pos="18000">
                  <a:schemeClr val="tx2">
                    <a:alpha val="0"/>
                  </a:schemeClr>
                </a:gs>
                <a:gs pos="100000">
                  <a:schemeClr val="tx2"/>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7" name="椭圆 6">
            <a:extLst>
              <a:ext uri="{FF2B5EF4-FFF2-40B4-BE49-F238E27FC236}">
                <a16:creationId xmlns:a16="http://schemas.microsoft.com/office/drawing/2014/main" id="{76AD0DC1-99A7-4CAD-837B-B8E3CC2A310C}"/>
              </a:ext>
            </a:extLst>
          </p:cNvPr>
          <p:cNvSpPr/>
          <p:nvPr/>
        </p:nvSpPr>
        <p:spPr>
          <a:xfrm>
            <a:off x="3581400" y="2265668"/>
            <a:ext cx="503588" cy="50358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8" name="椭圆 7">
            <a:extLst>
              <a:ext uri="{FF2B5EF4-FFF2-40B4-BE49-F238E27FC236}">
                <a16:creationId xmlns:a16="http://schemas.microsoft.com/office/drawing/2014/main" id="{6C39CAEE-76C4-407F-9975-E67A3B1223ED}"/>
              </a:ext>
            </a:extLst>
          </p:cNvPr>
          <p:cNvSpPr/>
          <p:nvPr/>
        </p:nvSpPr>
        <p:spPr>
          <a:xfrm>
            <a:off x="3804610" y="4933323"/>
            <a:ext cx="241306" cy="241306"/>
          </a:xfrm>
          <a:prstGeom prst="ellipse">
            <a:avLst/>
          </a:prstGeom>
          <a:solidFill>
            <a:schemeClr val="accent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9" name="椭圆 8">
            <a:extLst>
              <a:ext uri="{FF2B5EF4-FFF2-40B4-BE49-F238E27FC236}">
                <a16:creationId xmlns:a16="http://schemas.microsoft.com/office/drawing/2014/main" id="{09E32BED-2A00-4DAE-AC2E-89A875BF76B0}"/>
              </a:ext>
            </a:extLst>
          </p:cNvPr>
          <p:cNvSpPr/>
          <p:nvPr/>
        </p:nvSpPr>
        <p:spPr>
          <a:xfrm>
            <a:off x="8324612" y="3603942"/>
            <a:ext cx="372447" cy="37244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Tree>
    <p:extLst>
      <p:ext uri="{BB962C8B-B14F-4D97-AF65-F5344CB8AC3E}">
        <p14:creationId xmlns:p14="http://schemas.microsoft.com/office/powerpoint/2010/main" val="537135022"/>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圆角 1">
            <a:extLst>
              <a:ext uri="{FF2B5EF4-FFF2-40B4-BE49-F238E27FC236}">
                <a16:creationId xmlns:a16="http://schemas.microsoft.com/office/drawing/2014/main" id="{532DE981-2037-4754-9026-C591B50EF499}"/>
              </a:ext>
            </a:extLst>
          </p:cNvPr>
          <p:cNvSpPr/>
          <p:nvPr/>
        </p:nvSpPr>
        <p:spPr>
          <a:xfrm>
            <a:off x="579120" y="448056"/>
            <a:ext cx="11033760" cy="5961888"/>
          </a:xfrm>
          <a:prstGeom prst="roundRect">
            <a:avLst>
              <a:gd name="adj" fmla="val 4691"/>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3" name="矩形 2">
            <a:extLst>
              <a:ext uri="{FF2B5EF4-FFF2-40B4-BE49-F238E27FC236}">
                <a16:creationId xmlns:a16="http://schemas.microsoft.com/office/drawing/2014/main" id="{5C8947DD-B321-4C2F-99D5-694A936D6C14}"/>
              </a:ext>
            </a:extLst>
          </p:cNvPr>
          <p:cNvSpPr/>
          <p:nvPr/>
        </p:nvSpPr>
        <p:spPr>
          <a:xfrm>
            <a:off x="1822323" y="0"/>
            <a:ext cx="4054602"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4" name="文本框 3">
            <a:extLst>
              <a:ext uri="{FF2B5EF4-FFF2-40B4-BE49-F238E27FC236}">
                <a16:creationId xmlns:a16="http://schemas.microsoft.com/office/drawing/2014/main" id="{1662A33B-CE00-4EE9-9153-EC6AB10B8BD8}"/>
              </a:ext>
            </a:extLst>
          </p:cNvPr>
          <p:cNvSpPr txBox="1"/>
          <p:nvPr/>
        </p:nvSpPr>
        <p:spPr>
          <a:xfrm>
            <a:off x="2328988" y="3286482"/>
            <a:ext cx="3077766" cy="738664"/>
          </a:xfrm>
          <a:prstGeom prst="rect">
            <a:avLst/>
          </a:prstGeom>
          <a:noFill/>
        </p:spPr>
        <p:txBody>
          <a:bodyPr wrap="none" lIns="0" tIns="0" rIns="0" bIns="0" rtlCol="0" anchor="t">
            <a:spAutoFit/>
          </a:bodyPr>
          <a:lstStyle/>
          <a:p>
            <a:r>
              <a:rPr kumimoji="1" lang="zh-CN" altLang="en-US" sz="4800" dirty="0">
                <a:solidFill>
                  <a:schemeClr val="bg1"/>
                </a:solidFill>
                <a:latin typeface="+mj-ea"/>
                <a:ea typeface="+mj-ea"/>
              </a:rPr>
              <a:t>过渡页标题</a:t>
            </a:r>
          </a:p>
        </p:txBody>
      </p:sp>
      <p:sp>
        <p:nvSpPr>
          <p:cNvPr id="5" name="文本框 4">
            <a:extLst>
              <a:ext uri="{FF2B5EF4-FFF2-40B4-BE49-F238E27FC236}">
                <a16:creationId xmlns:a16="http://schemas.microsoft.com/office/drawing/2014/main" id="{CD3812A8-8D29-400C-BAAA-D3588D31253B}"/>
              </a:ext>
            </a:extLst>
          </p:cNvPr>
          <p:cNvSpPr txBox="1"/>
          <p:nvPr/>
        </p:nvSpPr>
        <p:spPr>
          <a:xfrm>
            <a:off x="2357428" y="4020907"/>
            <a:ext cx="2984391" cy="184666"/>
          </a:xfrm>
          <a:prstGeom prst="rect">
            <a:avLst/>
          </a:prstGeom>
          <a:noFill/>
        </p:spPr>
        <p:txBody>
          <a:bodyPr wrap="square" lIns="0" tIns="0" rIns="0" bIns="0" rtlCol="0" anchor="t">
            <a:spAutoFit/>
          </a:bodyPr>
          <a:lstStyle/>
          <a:p>
            <a:pPr algn="dist"/>
            <a:r>
              <a:rPr kumimoji="1" lang="en-US" altLang="zh-CN" sz="1200" dirty="0">
                <a:solidFill>
                  <a:schemeClr val="bg1"/>
                </a:solidFill>
              </a:rPr>
              <a:t>Transition Page Title</a:t>
            </a:r>
            <a:endParaRPr kumimoji="1" lang="zh-CN" altLang="en-US" sz="1200" dirty="0">
              <a:solidFill>
                <a:schemeClr val="bg1"/>
              </a:solidFill>
            </a:endParaRPr>
          </a:p>
        </p:txBody>
      </p:sp>
      <p:sp>
        <p:nvSpPr>
          <p:cNvPr id="6" name="文本框 5">
            <a:extLst>
              <a:ext uri="{FF2B5EF4-FFF2-40B4-BE49-F238E27FC236}">
                <a16:creationId xmlns:a16="http://schemas.microsoft.com/office/drawing/2014/main" id="{B51BEFB4-FEB8-496A-9919-32353247FB0A}"/>
              </a:ext>
            </a:extLst>
          </p:cNvPr>
          <p:cNvSpPr txBox="1"/>
          <p:nvPr/>
        </p:nvSpPr>
        <p:spPr>
          <a:xfrm>
            <a:off x="2328988" y="2375428"/>
            <a:ext cx="875240" cy="923330"/>
          </a:xfrm>
          <a:prstGeom prst="rect">
            <a:avLst/>
          </a:prstGeom>
          <a:noFill/>
        </p:spPr>
        <p:txBody>
          <a:bodyPr wrap="none" lIns="0" tIns="0" rIns="0" bIns="0" rtlCol="0" anchor="t">
            <a:spAutoFit/>
          </a:bodyPr>
          <a:lstStyle/>
          <a:p>
            <a:r>
              <a:rPr kumimoji="1" lang="en-US" altLang="zh-CN" sz="6000" dirty="0">
                <a:solidFill>
                  <a:schemeClr val="bg1"/>
                </a:solidFill>
                <a:latin typeface="+mj-ea"/>
                <a:ea typeface="+mj-ea"/>
              </a:rPr>
              <a:t>01</a:t>
            </a:r>
            <a:endParaRPr kumimoji="1" lang="zh-CN" altLang="en-US" sz="6000" dirty="0">
              <a:solidFill>
                <a:schemeClr val="bg1"/>
              </a:solidFill>
              <a:latin typeface="+mj-ea"/>
              <a:ea typeface="+mj-ea"/>
            </a:endParaRPr>
          </a:p>
        </p:txBody>
      </p:sp>
      <p:sp>
        <p:nvSpPr>
          <p:cNvPr id="8" name="十字形 7">
            <a:extLst>
              <a:ext uri="{FF2B5EF4-FFF2-40B4-BE49-F238E27FC236}">
                <a16:creationId xmlns:a16="http://schemas.microsoft.com/office/drawing/2014/main" id="{1303C9A9-DCB4-4F63-A92F-FAE001E4352B}"/>
              </a:ext>
            </a:extLst>
          </p:cNvPr>
          <p:cNvSpPr/>
          <p:nvPr/>
        </p:nvSpPr>
        <p:spPr>
          <a:xfrm>
            <a:off x="2357428" y="1795790"/>
            <a:ext cx="263164" cy="263164"/>
          </a:xfrm>
          <a:prstGeom prst="plus">
            <a:avLst>
              <a:gd name="adj" fmla="val 4192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Tree>
    <p:extLst>
      <p:ext uri="{BB962C8B-B14F-4D97-AF65-F5344CB8AC3E}">
        <p14:creationId xmlns:p14="http://schemas.microsoft.com/office/powerpoint/2010/main" val="1291411456"/>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a:extLst>
              <a:ext uri="{FF2B5EF4-FFF2-40B4-BE49-F238E27FC236}">
                <a16:creationId xmlns:a16="http://schemas.microsoft.com/office/drawing/2014/main" id="{7E3B3759-A06D-47AF-8A2D-D4FE2A0C1E4C}"/>
              </a:ext>
            </a:extLst>
          </p:cNvPr>
          <p:cNvSpPr/>
          <p:nvPr/>
        </p:nvSpPr>
        <p:spPr>
          <a:xfrm>
            <a:off x="6096000" y="0"/>
            <a:ext cx="3047998"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9" name="文本框 8">
            <a:extLst>
              <a:ext uri="{FF2B5EF4-FFF2-40B4-BE49-F238E27FC236}">
                <a16:creationId xmlns:a16="http://schemas.microsoft.com/office/drawing/2014/main" id="{2A59DE73-EA24-4F53-9940-F4D54D581F96}"/>
              </a:ext>
            </a:extLst>
          </p:cNvPr>
          <p:cNvSpPr txBox="1"/>
          <p:nvPr/>
        </p:nvSpPr>
        <p:spPr>
          <a:xfrm>
            <a:off x="860585" y="354001"/>
            <a:ext cx="3658552" cy="738664"/>
          </a:xfrm>
          <a:prstGeom prst="rect">
            <a:avLst/>
          </a:prstGeom>
          <a:noFill/>
        </p:spPr>
        <p:txBody>
          <a:bodyPr wrap="square" lIns="0" tIns="0" rIns="0" bIns="0" rtlCol="0" anchor="t">
            <a:spAutoFit/>
          </a:bodyPr>
          <a:lstStyle/>
          <a:p>
            <a:pPr algn="dist"/>
            <a:r>
              <a:rPr lang="en-US" altLang="zh-CN" sz="4800" dirty="0">
                <a:ln w="0">
                  <a:solidFill>
                    <a:schemeClr val="accent1">
                      <a:alpha val="14000"/>
                    </a:schemeClr>
                  </a:solidFill>
                </a:ln>
                <a:noFill/>
                <a:latin typeface="+mj-ea"/>
                <a:ea typeface="+mj-ea"/>
              </a:rPr>
              <a:t>CONTENTS</a:t>
            </a:r>
            <a:endParaRPr lang="zh-CN" altLang="en-US" sz="4800" dirty="0">
              <a:ln w="0">
                <a:solidFill>
                  <a:schemeClr val="accent1">
                    <a:alpha val="14000"/>
                  </a:schemeClr>
                </a:solidFill>
              </a:ln>
              <a:noFill/>
              <a:latin typeface="+mj-ea"/>
              <a:ea typeface="+mj-ea"/>
            </a:endParaRPr>
          </a:p>
        </p:txBody>
      </p:sp>
      <p:cxnSp>
        <p:nvCxnSpPr>
          <p:cNvPr id="4" name="直接连接符 3">
            <a:extLst>
              <a:ext uri="{FF2B5EF4-FFF2-40B4-BE49-F238E27FC236}">
                <a16:creationId xmlns:a16="http://schemas.microsoft.com/office/drawing/2014/main" id="{B43CC039-1AB8-4AC7-AA10-60C75A0D318C}"/>
              </a:ext>
            </a:extLst>
          </p:cNvPr>
          <p:cNvCxnSpPr/>
          <p:nvPr/>
        </p:nvCxnSpPr>
        <p:spPr>
          <a:xfrm>
            <a:off x="3048000" y="0"/>
            <a:ext cx="0" cy="6858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5" name="直接连接符 4">
            <a:extLst>
              <a:ext uri="{FF2B5EF4-FFF2-40B4-BE49-F238E27FC236}">
                <a16:creationId xmlns:a16="http://schemas.microsoft.com/office/drawing/2014/main" id="{9935EE45-662E-48C3-8194-3054E1A0F72F}"/>
              </a:ext>
            </a:extLst>
          </p:cNvPr>
          <p:cNvCxnSpPr/>
          <p:nvPr/>
        </p:nvCxnSpPr>
        <p:spPr>
          <a:xfrm>
            <a:off x="6096000" y="0"/>
            <a:ext cx="0" cy="6858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6" name="直接连接符 5">
            <a:extLst>
              <a:ext uri="{FF2B5EF4-FFF2-40B4-BE49-F238E27FC236}">
                <a16:creationId xmlns:a16="http://schemas.microsoft.com/office/drawing/2014/main" id="{D2701D7E-1C5C-4ED6-A6BC-4EFDA2029380}"/>
              </a:ext>
            </a:extLst>
          </p:cNvPr>
          <p:cNvCxnSpPr/>
          <p:nvPr/>
        </p:nvCxnSpPr>
        <p:spPr>
          <a:xfrm>
            <a:off x="9144000" y="0"/>
            <a:ext cx="0" cy="6858000"/>
          </a:xfrm>
          <a:prstGeom prst="line">
            <a:avLst/>
          </a:prstGeom>
        </p:spPr>
        <p:style>
          <a:lnRef idx="1">
            <a:schemeClr val="accent1"/>
          </a:lnRef>
          <a:fillRef idx="0">
            <a:schemeClr val="accent1"/>
          </a:fillRef>
          <a:effectRef idx="0">
            <a:schemeClr val="accent1"/>
          </a:effectRef>
          <a:fontRef idx="minor">
            <a:schemeClr val="tx1"/>
          </a:fontRef>
        </p:style>
      </p:cxnSp>
      <p:sp>
        <p:nvSpPr>
          <p:cNvPr id="8" name="文本框 7">
            <a:extLst>
              <a:ext uri="{FF2B5EF4-FFF2-40B4-BE49-F238E27FC236}">
                <a16:creationId xmlns:a16="http://schemas.microsoft.com/office/drawing/2014/main" id="{36D82F26-B297-4B52-96E1-FFF72DCF9E81}"/>
              </a:ext>
            </a:extLst>
          </p:cNvPr>
          <p:cNvSpPr txBox="1"/>
          <p:nvPr/>
        </p:nvSpPr>
        <p:spPr>
          <a:xfrm>
            <a:off x="400511" y="651405"/>
            <a:ext cx="1667049" cy="923330"/>
          </a:xfrm>
          <a:prstGeom prst="rect">
            <a:avLst/>
          </a:prstGeom>
          <a:noFill/>
        </p:spPr>
        <p:txBody>
          <a:bodyPr wrap="square" lIns="0" tIns="0" rIns="0" bIns="0" rtlCol="0" anchor="t">
            <a:spAutoFit/>
          </a:bodyPr>
          <a:lstStyle/>
          <a:p>
            <a:pPr algn="dist"/>
            <a:r>
              <a:rPr lang="zh-CN" altLang="en-US" sz="6000" dirty="0">
                <a:solidFill>
                  <a:schemeClr val="accent1"/>
                </a:solidFill>
                <a:latin typeface="+mj-ea"/>
                <a:ea typeface="+mj-ea"/>
              </a:rPr>
              <a:t>目录</a:t>
            </a:r>
          </a:p>
        </p:txBody>
      </p:sp>
      <p:grpSp>
        <p:nvGrpSpPr>
          <p:cNvPr id="14" name="组合 13">
            <a:extLst>
              <a:ext uri="{FF2B5EF4-FFF2-40B4-BE49-F238E27FC236}">
                <a16:creationId xmlns:a16="http://schemas.microsoft.com/office/drawing/2014/main" id="{93D12578-7D44-4898-B731-3268EED529B7}"/>
              </a:ext>
            </a:extLst>
          </p:cNvPr>
          <p:cNvGrpSpPr/>
          <p:nvPr/>
        </p:nvGrpSpPr>
        <p:grpSpPr>
          <a:xfrm>
            <a:off x="400511" y="3068115"/>
            <a:ext cx="1914279" cy="3317142"/>
            <a:chOff x="400511" y="3068115"/>
            <a:chExt cx="1914279" cy="3317142"/>
          </a:xfrm>
        </p:grpSpPr>
        <p:sp>
          <p:nvSpPr>
            <p:cNvPr id="10" name="文本框 9">
              <a:extLst>
                <a:ext uri="{FF2B5EF4-FFF2-40B4-BE49-F238E27FC236}">
                  <a16:creationId xmlns:a16="http://schemas.microsoft.com/office/drawing/2014/main" id="{56531BBC-0F40-4FBA-8E33-E564CE673EBE}"/>
                </a:ext>
              </a:extLst>
            </p:cNvPr>
            <p:cNvSpPr txBox="1"/>
            <p:nvPr/>
          </p:nvSpPr>
          <p:spPr>
            <a:xfrm>
              <a:off x="468131" y="3068115"/>
              <a:ext cx="1846659" cy="369332"/>
            </a:xfrm>
            <a:prstGeom prst="rect">
              <a:avLst/>
            </a:prstGeom>
            <a:noFill/>
          </p:spPr>
          <p:txBody>
            <a:bodyPr wrap="none" lIns="0" tIns="0" rIns="0" bIns="0" rtlCol="0" anchor="t">
              <a:spAutoFit/>
            </a:bodyPr>
            <a:lstStyle/>
            <a:p>
              <a:pPr algn="ctr"/>
              <a:r>
                <a:rPr lang="zh-CN" altLang="en-US" sz="2400" dirty="0">
                  <a:solidFill>
                    <a:schemeClr val="accent1">
                      <a:lumMod val="100000"/>
                    </a:schemeClr>
                  </a:solidFill>
                  <a:latin typeface="+mj-ea"/>
                  <a:ea typeface="+mj-ea"/>
                </a:rPr>
                <a:t>输入目录标题</a:t>
              </a:r>
            </a:p>
          </p:txBody>
        </p:sp>
        <p:sp>
          <p:nvSpPr>
            <p:cNvPr id="11" name="文本框 10">
              <a:extLst>
                <a:ext uri="{FF2B5EF4-FFF2-40B4-BE49-F238E27FC236}">
                  <a16:creationId xmlns:a16="http://schemas.microsoft.com/office/drawing/2014/main" id="{AE21B642-BED5-4AB8-A298-03754C78C1CE}"/>
                </a:ext>
              </a:extLst>
            </p:cNvPr>
            <p:cNvSpPr txBox="1"/>
            <p:nvPr/>
          </p:nvSpPr>
          <p:spPr>
            <a:xfrm>
              <a:off x="468130" y="3529297"/>
              <a:ext cx="1846660" cy="215444"/>
            </a:xfrm>
            <a:prstGeom prst="rect">
              <a:avLst/>
            </a:prstGeom>
            <a:noFill/>
          </p:spPr>
          <p:txBody>
            <a:bodyPr wrap="square" lIns="0" tIns="0" rIns="0" bIns="0" rtlCol="0" anchor="t">
              <a:spAutoFit/>
            </a:bodyPr>
            <a:lstStyle/>
            <a:p>
              <a:pPr algn="dist"/>
              <a:r>
                <a:rPr lang="en-US" altLang="zh-CN" sz="1400" dirty="0">
                  <a:solidFill>
                    <a:schemeClr val="accent1">
                      <a:lumMod val="100000"/>
                    </a:schemeClr>
                  </a:solidFill>
                </a:rPr>
                <a:t>Contents Title Here</a:t>
              </a:r>
              <a:endParaRPr lang="zh-CN" altLang="en-US" sz="1400" dirty="0">
                <a:solidFill>
                  <a:schemeClr val="accent1">
                    <a:lumMod val="100000"/>
                  </a:schemeClr>
                </a:solidFill>
              </a:endParaRPr>
            </a:p>
          </p:txBody>
        </p:sp>
        <p:sp>
          <p:nvSpPr>
            <p:cNvPr id="12" name="文本框 11">
              <a:extLst>
                <a:ext uri="{FF2B5EF4-FFF2-40B4-BE49-F238E27FC236}">
                  <a16:creationId xmlns:a16="http://schemas.microsoft.com/office/drawing/2014/main" id="{7FACFC73-B5DD-409B-994D-442ADCC1C294}"/>
                </a:ext>
              </a:extLst>
            </p:cNvPr>
            <p:cNvSpPr txBox="1"/>
            <p:nvPr/>
          </p:nvSpPr>
          <p:spPr>
            <a:xfrm>
              <a:off x="400511" y="5231542"/>
              <a:ext cx="1049967" cy="1107996"/>
            </a:xfrm>
            <a:prstGeom prst="rect">
              <a:avLst/>
            </a:prstGeom>
            <a:noFill/>
          </p:spPr>
          <p:txBody>
            <a:bodyPr wrap="none" lIns="0" tIns="0" rIns="0" bIns="0" rtlCol="0" anchor="t">
              <a:spAutoFit/>
            </a:bodyPr>
            <a:lstStyle/>
            <a:p>
              <a:pPr algn="dist"/>
              <a:r>
                <a:rPr lang="en-US" altLang="zh-CN" sz="7200" dirty="0">
                  <a:ln w="0">
                    <a:solidFill>
                      <a:schemeClr val="accent1"/>
                    </a:solidFill>
                  </a:ln>
                  <a:noFill/>
                  <a:latin typeface="+mj-ea"/>
                  <a:ea typeface="+mj-ea"/>
                </a:rPr>
                <a:t>01</a:t>
              </a:r>
              <a:endParaRPr lang="zh-CN" altLang="en-US" sz="7200" dirty="0">
                <a:ln w="0">
                  <a:solidFill>
                    <a:schemeClr val="accent1"/>
                  </a:solidFill>
                </a:ln>
                <a:noFill/>
                <a:latin typeface="+mj-ea"/>
                <a:ea typeface="+mj-ea"/>
              </a:endParaRPr>
            </a:p>
          </p:txBody>
        </p:sp>
        <p:sp>
          <p:nvSpPr>
            <p:cNvPr id="13" name="矩形 12">
              <a:extLst>
                <a:ext uri="{FF2B5EF4-FFF2-40B4-BE49-F238E27FC236}">
                  <a16:creationId xmlns:a16="http://schemas.microsoft.com/office/drawing/2014/main" id="{AE8B4A8E-E6D7-49FF-9C0A-66E2A7629D87}"/>
                </a:ext>
              </a:extLst>
            </p:cNvPr>
            <p:cNvSpPr/>
            <p:nvPr/>
          </p:nvSpPr>
          <p:spPr>
            <a:xfrm>
              <a:off x="468130" y="6339538"/>
              <a:ext cx="336733" cy="4571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p>
          </p:txBody>
        </p:sp>
      </p:grpSp>
      <p:grpSp>
        <p:nvGrpSpPr>
          <p:cNvPr id="15" name="组合 14">
            <a:extLst>
              <a:ext uri="{FF2B5EF4-FFF2-40B4-BE49-F238E27FC236}">
                <a16:creationId xmlns:a16="http://schemas.microsoft.com/office/drawing/2014/main" id="{DDB150BA-896F-47C8-AC9C-AE31B044A4BF}"/>
              </a:ext>
            </a:extLst>
          </p:cNvPr>
          <p:cNvGrpSpPr/>
          <p:nvPr/>
        </p:nvGrpSpPr>
        <p:grpSpPr>
          <a:xfrm>
            <a:off x="3410411" y="3068115"/>
            <a:ext cx="1914279" cy="3317142"/>
            <a:chOff x="400511" y="3068115"/>
            <a:chExt cx="1914279" cy="3317142"/>
          </a:xfrm>
        </p:grpSpPr>
        <p:sp>
          <p:nvSpPr>
            <p:cNvPr id="16" name="文本框 15">
              <a:extLst>
                <a:ext uri="{FF2B5EF4-FFF2-40B4-BE49-F238E27FC236}">
                  <a16:creationId xmlns:a16="http://schemas.microsoft.com/office/drawing/2014/main" id="{C8D119DD-9679-4DDC-B939-4C532948DF31}"/>
                </a:ext>
              </a:extLst>
            </p:cNvPr>
            <p:cNvSpPr txBox="1"/>
            <p:nvPr/>
          </p:nvSpPr>
          <p:spPr>
            <a:xfrm>
              <a:off x="468131" y="3068115"/>
              <a:ext cx="1846659" cy="369332"/>
            </a:xfrm>
            <a:prstGeom prst="rect">
              <a:avLst/>
            </a:prstGeom>
            <a:noFill/>
          </p:spPr>
          <p:txBody>
            <a:bodyPr wrap="none" lIns="0" tIns="0" rIns="0" bIns="0" rtlCol="0" anchor="t">
              <a:spAutoFit/>
            </a:bodyPr>
            <a:lstStyle/>
            <a:p>
              <a:pPr algn="ctr"/>
              <a:r>
                <a:rPr lang="zh-CN" altLang="en-US" sz="2400" dirty="0">
                  <a:solidFill>
                    <a:schemeClr val="accent1">
                      <a:lumMod val="100000"/>
                    </a:schemeClr>
                  </a:solidFill>
                  <a:latin typeface="+mj-ea"/>
                  <a:ea typeface="+mj-ea"/>
                </a:rPr>
                <a:t>输入目录标题</a:t>
              </a:r>
            </a:p>
          </p:txBody>
        </p:sp>
        <p:sp>
          <p:nvSpPr>
            <p:cNvPr id="17" name="文本框 16">
              <a:extLst>
                <a:ext uri="{FF2B5EF4-FFF2-40B4-BE49-F238E27FC236}">
                  <a16:creationId xmlns:a16="http://schemas.microsoft.com/office/drawing/2014/main" id="{9068A6C4-BF82-42A7-ABA4-293F424D41AC}"/>
                </a:ext>
              </a:extLst>
            </p:cNvPr>
            <p:cNvSpPr txBox="1"/>
            <p:nvPr/>
          </p:nvSpPr>
          <p:spPr>
            <a:xfrm>
              <a:off x="468130" y="3529297"/>
              <a:ext cx="1846660" cy="215444"/>
            </a:xfrm>
            <a:prstGeom prst="rect">
              <a:avLst/>
            </a:prstGeom>
            <a:noFill/>
          </p:spPr>
          <p:txBody>
            <a:bodyPr wrap="square" lIns="0" tIns="0" rIns="0" bIns="0" rtlCol="0" anchor="t">
              <a:spAutoFit/>
            </a:bodyPr>
            <a:lstStyle/>
            <a:p>
              <a:pPr algn="dist"/>
              <a:r>
                <a:rPr lang="en-US" altLang="zh-CN" sz="1400" dirty="0">
                  <a:solidFill>
                    <a:schemeClr val="accent1">
                      <a:lumMod val="100000"/>
                    </a:schemeClr>
                  </a:solidFill>
                </a:rPr>
                <a:t>Contents Title Here</a:t>
              </a:r>
              <a:endParaRPr lang="zh-CN" altLang="en-US" sz="1400" dirty="0">
                <a:solidFill>
                  <a:schemeClr val="accent1">
                    <a:lumMod val="100000"/>
                  </a:schemeClr>
                </a:solidFill>
              </a:endParaRPr>
            </a:p>
          </p:txBody>
        </p:sp>
        <p:sp>
          <p:nvSpPr>
            <p:cNvPr id="18" name="文本框 17">
              <a:extLst>
                <a:ext uri="{FF2B5EF4-FFF2-40B4-BE49-F238E27FC236}">
                  <a16:creationId xmlns:a16="http://schemas.microsoft.com/office/drawing/2014/main" id="{51E674FC-1AE0-4334-8B82-A6C3B7ADEF51}"/>
                </a:ext>
              </a:extLst>
            </p:cNvPr>
            <p:cNvSpPr txBox="1"/>
            <p:nvPr/>
          </p:nvSpPr>
          <p:spPr>
            <a:xfrm>
              <a:off x="400511" y="5231542"/>
              <a:ext cx="1215076" cy="1107996"/>
            </a:xfrm>
            <a:prstGeom prst="rect">
              <a:avLst/>
            </a:prstGeom>
            <a:noFill/>
          </p:spPr>
          <p:txBody>
            <a:bodyPr wrap="none" lIns="0" tIns="0" rIns="0" bIns="0" rtlCol="0" anchor="t">
              <a:spAutoFit/>
            </a:bodyPr>
            <a:lstStyle/>
            <a:p>
              <a:r>
                <a:rPr lang="en-US" altLang="zh-CN" sz="7200" dirty="0">
                  <a:ln w="0">
                    <a:solidFill>
                      <a:schemeClr val="accent1"/>
                    </a:solidFill>
                  </a:ln>
                  <a:noFill/>
                  <a:latin typeface="+mj-ea"/>
                  <a:ea typeface="+mj-ea"/>
                </a:rPr>
                <a:t>02</a:t>
              </a:r>
              <a:endParaRPr lang="zh-CN" altLang="en-US" sz="7200" dirty="0">
                <a:ln w="0">
                  <a:solidFill>
                    <a:schemeClr val="accent1"/>
                  </a:solidFill>
                </a:ln>
                <a:noFill/>
                <a:latin typeface="+mj-ea"/>
                <a:ea typeface="+mj-ea"/>
              </a:endParaRPr>
            </a:p>
          </p:txBody>
        </p:sp>
        <p:sp>
          <p:nvSpPr>
            <p:cNvPr id="19" name="矩形 18">
              <a:extLst>
                <a:ext uri="{FF2B5EF4-FFF2-40B4-BE49-F238E27FC236}">
                  <a16:creationId xmlns:a16="http://schemas.microsoft.com/office/drawing/2014/main" id="{06305B31-33C2-49AC-BA16-9570D35FE8CD}"/>
                </a:ext>
              </a:extLst>
            </p:cNvPr>
            <p:cNvSpPr/>
            <p:nvPr/>
          </p:nvSpPr>
          <p:spPr>
            <a:xfrm>
              <a:off x="468130" y="6339538"/>
              <a:ext cx="336733" cy="4571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p>
          </p:txBody>
        </p:sp>
      </p:grpSp>
      <p:sp>
        <p:nvSpPr>
          <p:cNvPr id="26" name="文本框 25">
            <a:extLst>
              <a:ext uri="{FF2B5EF4-FFF2-40B4-BE49-F238E27FC236}">
                <a16:creationId xmlns:a16="http://schemas.microsoft.com/office/drawing/2014/main" id="{3605A682-86C0-4FA9-86F9-25FAAAE56A6A}"/>
              </a:ext>
            </a:extLst>
          </p:cNvPr>
          <p:cNvSpPr txBox="1"/>
          <p:nvPr/>
        </p:nvSpPr>
        <p:spPr>
          <a:xfrm>
            <a:off x="6564130" y="3068115"/>
            <a:ext cx="1846659" cy="369332"/>
          </a:xfrm>
          <a:prstGeom prst="rect">
            <a:avLst/>
          </a:prstGeom>
          <a:noFill/>
        </p:spPr>
        <p:txBody>
          <a:bodyPr wrap="none" lIns="0" tIns="0" rIns="0" bIns="0" rtlCol="0" anchor="t">
            <a:spAutoFit/>
          </a:bodyPr>
          <a:lstStyle/>
          <a:p>
            <a:pPr algn="ctr"/>
            <a:r>
              <a:rPr lang="zh-CN" altLang="en-US" sz="2400" dirty="0">
                <a:solidFill>
                  <a:schemeClr val="bg1"/>
                </a:solidFill>
                <a:latin typeface="+mj-ea"/>
                <a:ea typeface="+mj-ea"/>
              </a:rPr>
              <a:t>输入目录标题</a:t>
            </a:r>
          </a:p>
        </p:txBody>
      </p:sp>
      <p:sp>
        <p:nvSpPr>
          <p:cNvPr id="27" name="文本框 26">
            <a:extLst>
              <a:ext uri="{FF2B5EF4-FFF2-40B4-BE49-F238E27FC236}">
                <a16:creationId xmlns:a16="http://schemas.microsoft.com/office/drawing/2014/main" id="{15E27516-803C-4BE9-9F35-97518B1F4BA3}"/>
              </a:ext>
            </a:extLst>
          </p:cNvPr>
          <p:cNvSpPr txBox="1"/>
          <p:nvPr/>
        </p:nvSpPr>
        <p:spPr>
          <a:xfrm>
            <a:off x="6564129" y="3529297"/>
            <a:ext cx="1846660" cy="215444"/>
          </a:xfrm>
          <a:prstGeom prst="rect">
            <a:avLst/>
          </a:prstGeom>
          <a:noFill/>
        </p:spPr>
        <p:txBody>
          <a:bodyPr wrap="square" lIns="0" tIns="0" rIns="0" bIns="0" rtlCol="0" anchor="t">
            <a:spAutoFit/>
          </a:bodyPr>
          <a:lstStyle/>
          <a:p>
            <a:pPr algn="dist"/>
            <a:r>
              <a:rPr lang="en-US" altLang="zh-CN" sz="1400" dirty="0">
                <a:solidFill>
                  <a:schemeClr val="bg1"/>
                </a:solidFill>
              </a:rPr>
              <a:t>Contents Title Here</a:t>
            </a:r>
            <a:endParaRPr lang="zh-CN" altLang="en-US" sz="1400" dirty="0">
              <a:solidFill>
                <a:schemeClr val="bg1"/>
              </a:solidFill>
            </a:endParaRPr>
          </a:p>
        </p:txBody>
      </p:sp>
      <p:sp>
        <p:nvSpPr>
          <p:cNvPr id="28" name="文本框 27">
            <a:extLst>
              <a:ext uri="{FF2B5EF4-FFF2-40B4-BE49-F238E27FC236}">
                <a16:creationId xmlns:a16="http://schemas.microsoft.com/office/drawing/2014/main" id="{D630698B-AB04-4B56-8580-801FA5BBE80D}"/>
              </a:ext>
            </a:extLst>
          </p:cNvPr>
          <p:cNvSpPr txBox="1"/>
          <p:nvPr/>
        </p:nvSpPr>
        <p:spPr>
          <a:xfrm>
            <a:off x="6496510" y="5231542"/>
            <a:ext cx="1215076" cy="1107996"/>
          </a:xfrm>
          <a:prstGeom prst="rect">
            <a:avLst/>
          </a:prstGeom>
          <a:noFill/>
        </p:spPr>
        <p:txBody>
          <a:bodyPr wrap="none" lIns="0" tIns="0" rIns="0" bIns="0" rtlCol="0" anchor="t">
            <a:spAutoFit/>
          </a:bodyPr>
          <a:lstStyle/>
          <a:p>
            <a:r>
              <a:rPr lang="en-US" altLang="zh-CN" sz="7200" dirty="0">
                <a:ln w="0">
                  <a:solidFill>
                    <a:schemeClr val="accent1"/>
                  </a:solidFill>
                </a:ln>
                <a:solidFill>
                  <a:schemeClr val="bg1"/>
                </a:solidFill>
                <a:latin typeface="+mj-ea"/>
                <a:ea typeface="+mj-ea"/>
              </a:rPr>
              <a:t>03</a:t>
            </a:r>
            <a:endParaRPr lang="zh-CN" altLang="en-US" sz="7200" dirty="0">
              <a:ln w="0">
                <a:solidFill>
                  <a:schemeClr val="accent1"/>
                </a:solidFill>
              </a:ln>
              <a:solidFill>
                <a:schemeClr val="bg1"/>
              </a:solidFill>
              <a:latin typeface="+mj-ea"/>
              <a:ea typeface="+mj-ea"/>
            </a:endParaRPr>
          </a:p>
        </p:txBody>
      </p:sp>
      <p:sp>
        <p:nvSpPr>
          <p:cNvPr id="29" name="矩形 28">
            <a:extLst>
              <a:ext uri="{FF2B5EF4-FFF2-40B4-BE49-F238E27FC236}">
                <a16:creationId xmlns:a16="http://schemas.microsoft.com/office/drawing/2014/main" id="{3F0A4A1D-3797-44FC-A49F-1E1D5862806D}"/>
              </a:ext>
            </a:extLst>
          </p:cNvPr>
          <p:cNvSpPr/>
          <p:nvPr/>
        </p:nvSpPr>
        <p:spPr>
          <a:xfrm>
            <a:off x="6564129" y="6339538"/>
            <a:ext cx="336733"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solidFill>
                <a:schemeClr val="bg1"/>
              </a:solidFill>
            </a:endParaRPr>
          </a:p>
        </p:txBody>
      </p:sp>
      <p:grpSp>
        <p:nvGrpSpPr>
          <p:cNvPr id="30" name="组合 29">
            <a:extLst>
              <a:ext uri="{FF2B5EF4-FFF2-40B4-BE49-F238E27FC236}">
                <a16:creationId xmlns:a16="http://schemas.microsoft.com/office/drawing/2014/main" id="{00F3F0E3-040A-4292-8D81-FD967505F06D}"/>
              </a:ext>
            </a:extLst>
          </p:cNvPr>
          <p:cNvGrpSpPr/>
          <p:nvPr/>
        </p:nvGrpSpPr>
        <p:grpSpPr>
          <a:xfrm>
            <a:off x="9528910" y="3068115"/>
            <a:ext cx="1914279" cy="3317142"/>
            <a:chOff x="400511" y="3068115"/>
            <a:chExt cx="1914279" cy="3317142"/>
          </a:xfrm>
        </p:grpSpPr>
        <p:sp>
          <p:nvSpPr>
            <p:cNvPr id="31" name="文本框 30">
              <a:extLst>
                <a:ext uri="{FF2B5EF4-FFF2-40B4-BE49-F238E27FC236}">
                  <a16:creationId xmlns:a16="http://schemas.microsoft.com/office/drawing/2014/main" id="{3BC6FE1A-1AD8-464B-B09D-F3F10C306A09}"/>
                </a:ext>
              </a:extLst>
            </p:cNvPr>
            <p:cNvSpPr txBox="1"/>
            <p:nvPr/>
          </p:nvSpPr>
          <p:spPr>
            <a:xfrm>
              <a:off x="468131" y="3068115"/>
              <a:ext cx="1846659" cy="369332"/>
            </a:xfrm>
            <a:prstGeom prst="rect">
              <a:avLst/>
            </a:prstGeom>
            <a:noFill/>
          </p:spPr>
          <p:txBody>
            <a:bodyPr wrap="none" lIns="0" tIns="0" rIns="0" bIns="0" rtlCol="0" anchor="t">
              <a:spAutoFit/>
            </a:bodyPr>
            <a:lstStyle/>
            <a:p>
              <a:pPr algn="ctr"/>
              <a:r>
                <a:rPr lang="zh-CN" altLang="en-US" sz="2400" dirty="0">
                  <a:solidFill>
                    <a:schemeClr val="accent1">
                      <a:lumMod val="100000"/>
                    </a:schemeClr>
                  </a:solidFill>
                  <a:latin typeface="+mj-ea"/>
                  <a:ea typeface="+mj-ea"/>
                </a:rPr>
                <a:t>输入目录标题</a:t>
              </a:r>
            </a:p>
          </p:txBody>
        </p:sp>
        <p:sp>
          <p:nvSpPr>
            <p:cNvPr id="32" name="文本框 31">
              <a:extLst>
                <a:ext uri="{FF2B5EF4-FFF2-40B4-BE49-F238E27FC236}">
                  <a16:creationId xmlns:a16="http://schemas.microsoft.com/office/drawing/2014/main" id="{7E76C5CA-338A-4494-89CE-EE5B46824432}"/>
                </a:ext>
              </a:extLst>
            </p:cNvPr>
            <p:cNvSpPr txBox="1"/>
            <p:nvPr/>
          </p:nvSpPr>
          <p:spPr>
            <a:xfrm>
              <a:off x="468130" y="3529297"/>
              <a:ext cx="1846660" cy="215444"/>
            </a:xfrm>
            <a:prstGeom prst="rect">
              <a:avLst/>
            </a:prstGeom>
            <a:noFill/>
          </p:spPr>
          <p:txBody>
            <a:bodyPr wrap="square" lIns="0" tIns="0" rIns="0" bIns="0" rtlCol="0" anchor="t">
              <a:spAutoFit/>
            </a:bodyPr>
            <a:lstStyle/>
            <a:p>
              <a:pPr algn="dist"/>
              <a:r>
                <a:rPr lang="en-US" altLang="zh-CN" sz="1400" dirty="0">
                  <a:solidFill>
                    <a:schemeClr val="accent1">
                      <a:lumMod val="100000"/>
                    </a:schemeClr>
                  </a:solidFill>
                </a:rPr>
                <a:t>Contents Title Here</a:t>
              </a:r>
              <a:endParaRPr lang="zh-CN" altLang="en-US" sz="1400" dirty="0">
                <a:solidFill>
                  <a:schemeClr val="accent1">
                    <a:lumMod val="100000"/>
                  </a:schemeClr>
                </a:solidFill>
              </a:endParaRPr>
            </a:p>
          </p:txBody>
        </p:sp>
        <p:sp>
          <p:nvSpPr>
            <p:cNvPr id="33" name="文本框 32">
              <a:extLst>
                <a:ext uri="{FF2B5EF4-FFF2-40B4-BE49-F238E27FC236}">
                  <a16:creationId xmlns:a16="http://schemas.microsoft.com/office/drawing/2014/main" id="{58C8F656-AF8D-4D15-96E0-DF4CED1D608E}"/>
                </a:ext>
              </a:extLst>
            </p:cNvPr>
            <p:cNvSpPr txBox="1"/>
            <p:nvPr/>
          </p:nvSpPr>
          <p:spPr>
            <a:xfrm>
              <a:off x="400511" y="5231542"/>
              <a:ext cx="1215076" cy="1107996"/>
            </a:xfrm>
            <a:prstGeom prst="rect">
              <a:avLst/>
            </a:prstGeom>
            <a:noFill/>
          </p:spPr>
          <p:txBody>
            <a:bodyPr wrap="none" lIns="0" tIns="0" rIns="0" bIns="0" rtlCol="0" anchor="t">
              <a:spAutoFit/>
            </a:bodyPr>
            <a:lstStyle/>
            <a:p>
              <a:r>
                <a:rPr lang="en-US" altLang="zh-CN" sz="7200" dirty="0">
                  <a:ln w="0">
                    <a:solidFill>
                      <a:schemeClr val="accent1"/>
                    </a:solidFill>
                  </a:ln>
                  <a:noFill/>
                  <a:latin typeface="+mj-ea"/>
                  <a:ea typeface="+mj-ea"/>
                </a:rPr>
                <a:t>04</a:t>
              </a:r>
              <a:endParaRPr lang="zh-CN" altLang="en-US" sz="7200" dirty="0">
                <a:ln w="0">
                  <a:solidFill>
                    <a:schemeClr val="accent1"/>
                  </a:solidFill>
                </a:ln>
                <a:noFill/>
                <a:latin typeface="+mj-ea"/>
                <a:ea typeface="+mj-ea"/>
              </a:endParaRPr>
            </a:p>
          </p:txBody>
        </p:sp>
        <p:sp>
          <p:nvSpPr>
            <p:cNvPr id="34" name="矩形 33">
              <a:extLst>
                <a:ext uri="{FF2B5EF4-FFF2-40B4-BE49-F238E27FC236}">
                  <a16:creationId xmlns:a16="http://schemas.microsoft.com/office/drawing/2014/main" id="{7A221768-E4F2-4CA9-97B7-BDBF88622B1A}"/>
                </a:ext>
              </a:extLst>
            </p:cNvPr>
            <p:cNvSpPr/>
            <p:nvPr/>
          </p:nvSpPr>
          <p:spPr>
            <a:xfrm>
              <a:off x="468130" y="6339538"/>
              <a:ext cx="336733" cy="4571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p>
          </p:txBody>
        </p:sp>
      </p:grpSp>
    </p:spTree>
    <p:extLst>
      <p:ext uri="{BB962C8B-B14F-4D97-AF65-F5344CB8AC3E}">
        <p14:creationId xmlns:p14="http://schemas.microsoft.com/office/powerpoint/2010/main" val="428711072"/>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矩形 35">
            <a:extLst>
              <a:ext uri="{FF2B5EF4-FFF2-40B4-BE49-F238E27FC236}">
                <a16:creationId xmlns:a16="http://schemas.microsoft.com/office/drawing/2014/main" id="{865CF248-3183-463D-B47E-E05429921019}"/>
              </a:ext>
            </a:extLst>
          </p:cNvPr>
          <p:cNvSpPr/>
          <p:nvPr/>
        </p:nvSpPr>
        <p:spPr>
          <a:xfrm>
            <a:off x="3343275" y="3186512"/>
            <a:ext cx="2798444" cy="154836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cxnSp>
        <p:nvCxnSpPr>
          <p:cNvPr id="13" name="直接连接符 12">
            <a:extLst>
              <a:ext uri="{FF2B5EF4-FFF2-40B4-BE49-F238E27FC236}">
                <a16:creationId xmlns:a16="http://schemas.microsoft.com/office/drawing/2014/main" id="{65FFB623-FE63-414C-9EA8-737BF8AA35A7}"/>
              </a:ext>
            </a:extLst>
          </p:cNvPr>
          <p:cNvCxnSpPr>
            <a:cxnSpLocks/>
          </p:cNvCxnSpPr>
          <p:nvPr/>
        </p:nvCxnSpPr>
        <p:spPr>
          <a:xfrm>
            <a:off x="802928" y="4734896"/>
            <a:ext cx="10586144" cy="0"/>
          </a:xfrm>
          <a:prstGeom prst="line">
            <a:avLst/>
          </a:prstGeom>
          <a:ln w="28575"/>
        </p:spPr>
        <p:style>
          <a:lnRef idx="1">
            <a:schemeClr val="accent1"/>
          </a:lnRef>
          <a:fillRef idx="0">
            <a:schemeClr val="accent1"/>
          </a:fillRef>
          <a:effectRef idx="0">
            <a:schemeClr val="accent1"/>
          </a:effectRef>
          <a:fontRef idx="minor">
            <a:schemeClr val="tx1"/>
          </a:fontRef>
        </p:style>
      </p:cxnSp>
      <p:grpSp>
        <p:nvGrpSpPr>
          <p:cNvPr id="18" name="组合 17">
            <a:extLst>
              <a:ext uri="{FF2B5EF4-FFF2-40B4-BE49-F238E27FC236}">
                <a16:creationId xmlns:a16="http://schemas.microsoft.com/office/drawing/2014/main" id="{D57FF752-93BB-456B-A6FB-B055294B1286}"/>
              </a:ext>
            </a:extLst>
          </p:cNvPr>
          <p:cNvGrpSpPr/>
          <p:nvPr/>
        </p:nvGrpSpPr>
        <p:grpSpPr>
          <a:xfrm>
            <a:off x="1029295" y="3428761"/>
            <a:ext cx="1846660" cy="1112004"/>
            <a:chOff x="1154311" y="2427665"/>
            <a:chExt cx="1846660" cy="1112004"/>
          </a:xfrm>
        </p:grpSpPr>
        <p:sp>
          <p:nvSpPr>
            <p:cNvPr id="6" name="文本框 5">
              <a:extLst>
                <a:ext uri="{FF2B5EF4-FFF2-40B4-BE49-F238E27FC236}">
                  <a16:creationId xmlns:a16="http://schemas.microsoft.com/office/drawing/2014/main" id="{F5B03F94-0EE0-4AF6-84C5-D36D577DED98}"/>
                </a:ext>
              </a:extLst>
            </p:cNvPr>
            <p:cNvSpPr txBox="1"/>
            <p:nvPr/>
          </p:nvSpPr>
          <p:spPr>
            <a:xfrm>
              <a:off x="1154312" y="2863043"/>
              <a:ext cx="1846659" cy="369332"/>
            </a:xfrm>
            <a:prstGeom prst="rect">
              <a:avLst/>
            </a:prstGeom>
            <a:noFill/>
          </p:spPr>
          <p:txBody>
            <a:bodyPr wrap="none" lIns="0" tIns="0" rIns="0" bIns="0" rtlCol="0" anchor="t">
              <a:spAutoFit/>
            </a:bodyPr>
            <a:lstStyle/>
            <a:p>
              <a:pPr algn="ctr"/>
              <a:r>
                <a:rPr lang="zh-CN" altLang="en-US" sz="2400" dirty="0">
                  <a:solidFill>
                    <a:schemeClr val="accent1">
                      <a:lumMod val="100000"/>
                    </a:schemeClr>
                  </a:solidFill>
                  <a:latin typeface="+mj-ea"/>
                  <a:ea typeface="+mj-ea"/>
                </a:rPr>
                <a:t>输入目录标题</a:t>
              </a:r>
            </a:p>
          </p:txBody>
        </p:sp>
        <p:sp>
          <p:nvSpPr>
            <p:cNvPr id="7" name="文本框 6">
              <a:extLst>
                <a:ext uri="{FF2B5EF4-FFF2-40B4-BE49-F238E27FC236}">
                  <a16:creationId xmlns:a16="http://schemas.microsoft.com/office/drawing/2014/main" id="{C9BEACB4-5987-44BB-B30B-BCB7616CF0B0}"/>
                </a:ext>
              </a:extLst>
            </p:cNvPr>
            <p:cNvSpPr txBox="1"/>
            <p:nvPr/>
          </p:nvSpPr>
          <p:spPr>
            <a:xfrm>
              <a:off x="1154311" y="3324225"/>
              <a:ext cx="1846660" cy="215444"/>
            </a:xfrm>
            <a:prstGeom prst="rect">
              <a:avLst/>
            </a:prstGeom>
            <a:noFill/>
          </p:spPr>
          <p:txBody>
            <a:bodyPr wrap="square" lIns="0" tIns="0" rIns="0" bIns="0" rtlCol="0" anchor="t">
              <a:spAutoFit/>
            </a:bodyPr>
            <a:lstStyle/>
            <a:p>
              <a:pPr algn="dist"/>
              <a:r>
                <a:rPr lang="en-US" altLang="zh-CN" sz="1400" dirty="0">
                  <a:solidFill>
                    <a:schemeClr val="accent1">
                      <a:lumMod val="100000"/>
                    </a:schemeClr>
                  </a:solidFill>
                </a:rPr>
                <a:t>Contents Title Here</a:t>
              </a:r>
              <a:endParaRPr lang="zh-CN" altLang="en-US" sz="1400" dirty="0">
                <a:solidFill>
                  <a:schemeClr val="accent1">
                    <a:lumMod val="100000"/>
                  </a:schemeClr>
                </a:solidFill>
              </a:endParaRPr>
            </a:p>
          </p:txBody>
        </p:sp>
        <p:sp>
          <p:nvSpPr>
            <p:cNvPr id="17" name="文本框 16">
              <a:extLst>
                <a:ext uri="{FF2B5EF4-FFF2-40B4-BE49-F238E27FC236}">
                  <a16:creationId xmlns:a16="http://schemas.microsoft.com/office/drawing/2014/main" id="{2F1C34E0-BB69-4E5A-B733-81705B9DA777}"/>
                </a:ext>
              </a:extLst>
            </p:cNvPr>
            <p:cNvSpPr txBox="1"/>
            <p:nvPr/>
          </p:nvSpPr>
          <p:spPr>
            <a:xfrm>
              <a:off x="1154311" y="2427665"/>
              <a:ext cx="349456" cy="369332"/>
            </a:xfrm>
            <a:prstGeom prst="rect">
              <a:avLst/>
            </a:prstGeom>
            <a:noFill/>
          </p:spPr>
          <p:txBody>
            <a:bodyPr wrap="none" lIns="0" tIns="0" rIns="0" bIns="0" rtlCol="0" anchor="t">
              <a:spAutoFit/>
            </a:bodyPr>
            <a:lstStyle/>
            <a:p>
              <a:pPr algn="ctr"/>
              <a:r>
                <a:rPr lang="en-US" altLang="zh-CN" sz="2400" dirty="0">
                  <a:solidFill>
                    <a:schemeClr val="accent1">
                      <a:lumMod val="100000"/>
                    </a:schemeClr>
                  </a:solidFill>
                  <a:latin typeface="+mj-ea"/>
                  <a:ea typeface="+mj-ea"/>
                </a:rPr>
                <a:t>01</a:t>
              </a:r>
              <a:endParaRPr lang="zh-CN" altLang="en-US" sz="2400" dirty="0">
                <a:solidFill>
                  <a:schemeClr val="accent1">
                    <a:lumMod val="100000"/>
                  </a:schemeClr>
                </a:solidFill>
                <a:latin typeface="+mj-ea"/>
                <a:ea typeface="+mj-ea"/>
              </a:endParaRPr>
            </a:p>
          </p:txBody>
        </p:sp>
      </p:grpSp>
      <p:grpSp>
        <p:nvGrpSpPr>
          <p:cNvPr id="19" name="组合 18">
            <a:extLst>
              <a:ext uri="{FF2B5EF4-FFF2-40B4-BE49-F238E27FC236}">
                <a16:creationId xmlns:a16="http://schemas.microsoft.com/office/drawing/2014/main" id="{959A1AE5-A468-4855-89C5-937B587DF1AE}"/>
              </a:ext>
            </a:extLst>
          </p:cNvPr>
          <p:cNvGrpSpPr/>
          <p:nvPr/>
        </p:nvGrpSpPr>
        <p:grpSpPr>
          <a:xfrm>
            <a:off x="3787846" y="3428761"/>
            <a:ext cx="1850359" cy="1112004"/>
            <a:chOff x="1150612" y="2427665"/>
            <a:chExt cx="1850359" cy="1112004"/>
          </a:xfrm>
        </p:grpSpPr>
        <p:sp>
          <p:nvSpPr>
            <p:cNvPr id="20" name="文本框 19">
              <a:extLst>
                <a:ext uri="{FF2B5EF4-FFF2-40B4-BE49-F238E27FC236}">
                  <a16:creationId xmlns:a16="http://schemas.microsoft.com/office/drawing/2014/main" id="{24061F88-54BF-4CBE-8BC1-5A934BDCC7BD}"/>
                </a:ext>
              </a:extLst>
            </p:cNvPr>
            <p:cNvSpPr txBox="1"/>
            <p:nvPr/>
          </p:nvSpPr>
          <p:spPr>
            <a:xfrm>
              <a:off x="1154312" y="2863043"/>
              <a:ext cx="1846659" cy="369332"/>
            </a:xfrm>
            <a:prstGeom prst="rect">
              <a:avLst/>
            </a:prstGeom>
            <a:noFill/>
          </p:spPr>
          <p:txBody>
            <a:bodyPr wrap="none" lIns="0" tIns="0" rIns="0" bIns="0" rtlCol="0" anchor="t">
              <a:spAutoFit/>
            </a:bodyPr>
            <a:lstStyle/>
            <a:p>
              <a:pPr algn="ctr"/>
              <a:r>
                <a:rPr lang="zh-CN" altLang="en-US" sz="2400" dirty="0">
                  <a:solidFill>
                    <a:schemeClr val="bg1"/>
                  </a:solidFill>
                  <a:latin typeface="+mj-ea"/>
                  <a:ea typeface="+mj-ea"/>
                </a:rPr>
                <a:t>输入目录标题</a:t>
              </a:r>
            </a:p>
          </p:txBody>
        </p:sp>
        <p:sp>
          <p:nvSpPr>
            <p:cNvPr id="21" name="文本框 20">
              <a:extLst>
                <a:ext uri="{FF2B5EF4-FFF2-40B4-BE49-F238E27FC236}">
                  <a16:creationId xmlns:a16="http://schemas.microsoft.com/office/drawing/2014/main" id="{D7F57ED3-2E27-4608-947C-CADEB72DB732}"/>
                </a:ext>
              </a:extLst>
            </p:cNvPr>
            <p:cNvSpPr txBox="1"/>
            <p:nvPr/>
          </p:nvSpPr>
          <p:spPr>
            <a:xfrm>
              <a:off x="1154311" y="3324225"/>
              <a:ext cx="1846660" cy="215444"/>
            </a:xfrm>
            <a:prstGeom prst="rect">
              <a:avLst/>
            </a:prstGeom>
            <a:noFill/>
          </p:spPr>
          <p:txBody>
            <a:bodyPr wrap="square" lIns="0" tIns="0" rIns="0" bIns="0" rtlCol="0" anchor="t">
              <a:spAutoFit/>
            </a:bodyPr>
            <a:lstStyle/>
            <a:p>
              <a:pPr algn="dist"/>
              <a:r>
                <a:rPr lang="en-US" altLang="zh-CN" sz="1400" dirty="0">
                  <a:solidFill>
                    <a:schemeClr val="bg1"/>
                  </a:solidFill>
                </a:rPr>
                <a:t>Contents Title Here</a:t>
              </a:r>
              <a:endParaRPr lang="zh-CN" altLang="en-US" sz="1400" dirty="0">
                <a:solidFill>
                  <a:schemeClr val="bg1"/>
                </a:solidFill>
              </a:endParaRPr>
            </a:p>
          </p:txBody>
        </p:sp>
        <p:sp>
          <p:nvSpPr>
            <p:cNvPr id="22" name="文本框 21">
              <a:extLst>
                <a:ext uri="{FF2B5EF4-FFF2-40B4-BE49-F238E27FC236}">
                  <a16:creationId xmlns:a16="http://schemas.microsoft.com/office/drawing/2014/main" id="{A05AF473-24BC-4EED-BF20-F46C1C2B4828}"/>
                </a:ext>
              </a:extLst>
            </p:cNvPr>
            <p:cNvSpPr txBox="1"/>
            <p:nvPr/>
          </p:nvSpPr>
          <p:spPr>
            <a:xfrm>
              <a:off x="1150612" y="2427665"/>
              <a:ext cx="403957" cy="369332"/>
            </a:xfrm>
            <a:prstGeom prst="rect">
              <a:avLst/>
            </a:prstGeom>
            <a:noFill/>
          </p:spPr>
          <p:txBody>
            <a:bodyPr wrap="none" lIns="0" tIns="0" rIns="0" bIns="0" rtlCol="0" anchor="t">
              <a:spAutoFit/>
            </a:bodyPr>
            <a:lstStyle/>
            <a:p>
              <a:pPr algn="ctr"/>
              <a:r>
                <a:rPr lang="en-US" altLang="zh-CN" sz="2400" dirty="0">
                  <a:solidFill>
                    <a:schemeClr val="bg1"/>
                  </a:solidFill>
                  <a:latin typeface="+mj-ea"/>
                  <a:ea typeface="+mj-ea"/>
                </a:rPr>
                <a:t>02</a:t>
              </a:r>
              <a:endParaRPr lang="zh-CN" altLang="en-US" sz="2400" dirty="0">
                <a:solidFill>
                  <a:schemeClr val="bg1"/>
                </a:solidFill>
                <a:latin typeface="+mj-ea"/>
                <a:ea typeface="+mj-ea"/>
              </a:endParaRPr>
            </a:p>
          </p:txBody>
        </p:sp>
      </p:grpSp>
      <p:grpSp>
        <p:nvGrpSpPr>
          <p:cNvPr id="23" name="组合 22">
            <a:extLst>
              <a:ext uri="{FF2B5EF4-FFF2-40B4-BE49-F238E27FC236}">
                <a16:creationId xmlns:a16="http://schemas.microsoft.com/office/drawing/2014/main" id="{F851D2D6-E294-4F60-84C0-D81DC9EDEEBB}"/>
              </a:ext>
            </a:extLst>
          </p:cNvPr>
          <p:cNvGrpSpPr/>
          <p:nvPr/>
        </p:nvGrpSpPr>
        <p:grpSpPr>
          <a:xfrm>
            <a:off x="6553795" y="3428761"/>
            <a:ext cx="1846660" cy="1112004"/>
            <a:chOff x="1154311" y="2427665"/>
            <a:chExt cx="1846660" cy="1112004"/>
          </a:xfrm>
        </p:grpSpPr>
        <p:sp>
          <p:nvSpPr>
            <p:cNvPr id="24" name="文本框 23">
              <a:extLst>
                <a:ext uri="{FF2B5EF4-FFF2-40B4-BE49-F238E27FC236}">
                  <a16:creationId xmlns:a16="http://schemas.microsoft.com/office/drawing/2014/main" id="{CC32F3A2-AFED-4502-AF03-0D63FFA91437}"/>
                </a:ext>
              </a:extLst>
            </p:cNvPr>
            <p:cNvSpPr txBox="1"/>
            <p:nvPr/>
          </p:nvSpPr>
          <p:spPr>
            <a:xfrm>
              <a:off x="1154312" y="2863043"/>
              <a:ext cx="1846659" cy="369332"/>
            </a:xfrm>
            <a:prstGeom prst="rect">
              <a:avLst/>
            </a:prstGeom>
            <a:noFill/>
          </p:spPr>
          <p:txBody>
            <a:bodyPr wrap="none" lIns="0" tIns="0" rIns="0" bIns="0" rtlCol="0" anchor="t">
              <a:spAutoFit/>
            </a:bodyPr>
            <a:lstStyle/>
            <a:p>
              <a:pPr algn="ctr"/>
              <a:r>
                <a:rPr lang="zh-CN" altLang="en-US" sz="2400" dirty="0">
                  <a:solidFill>
                    <a:schemeClr val="accent1">
                      <a:lumMod val="100000"/>
                    </a:schemeClr>
                  </a:solidFill>
                  <a:latin typeface="+mj-ea"/>
                  <a:ea typeface="+mj-ea"/>
                </a:rPr>
                <a:t>输入目录标题</a:t>
              </a:r>
            </a:p>
          </p:txBody>
        </p:sp>
        <p:sp>
          <p:nvSpPr>
            <p:cNvPr id="25" name="文本框 24">
              <a:extLst>
                <a:ext uri="{FF2B5EF4-FFF2-40B4-BE49-F238E27FC236}">
                  <a16:creationId xmlns:a16="http://schemas.microsoft.com/office/drawing/2014/main" id="{3FA17E3C-343A-4255-B20D-911EAE576811}"/>
                </a:ext>
              </a:extLst>
            </p:cNvPr>
            <p:cNvSpPr txBox="1"/>
            <p:nvPr/>
          </p:nvSpPr>
          <p:spPr>
            <a:xfrm>
              <a:off x="1154311" y="3324225"/>
              <a:ext cx="1846660" cy="215444"/>
            </a:xfrm>
            <a:prstGeom prst="rect">
              <a:avLst/>
            </a:prstGeom>
            <a:noFill/>
          </p:spPr>
          <p:txBody>
            <a:bodyPr wrap="square" lIns="0" tIns="0" rIns="0" bIns="0" rtlCol="0" anchor="t">
              <a:spAutoFit/>
            </a:bodyPr>
            <a:lstStyle/>
            <a:p>
              <a:pPr algn="dist"/>
              <a:r>
                <a:rPr lang="en-US" altLang="zh-CN" sz="1400" dirty="0">
                  <a:solidFill>
                    <a:schemeClr val="accent1">
                      <a:lumMod val="100000"/>
                    </a:schemeClr>
                  </a:solidFill>
                </a:rPr>
                <a:t>Contents Title Here</a:t>
              </a:r>
              <a:endParaRPr lang="zh-CN" altLang="en-US" sz="1400" dirty="0">
                <a:solidFill>
                  <a:schemeClr val="accent1">
                    <a:lumMod val="100000"/>
                  </a:schemeClr>
                </a:solidFill>
              </a:endParaRPr>
            </a:p>
          </p:txBody>
        </p:sp>
        <p:sp>
          <p:nvSpPr>
            <p:cNvPr id="26" name="文本框 25">
              <a:extLst>
                <a:ext uri="{FF2B5EF4-FFF2-40B4-BE49-F238E27FC236}">
                  <a16:creationId xmlns:a16="http://schemas.microsoft.com/office/drawing/2014/main" id="{DEF0A0E8-2460-4EB3-877B-3035804338A8}"/>
                </a:ext>
              </a:extLst>
            </p:cNvPr>
            <p:cNvSpPr txBox="1"/>
            <p:nvPr/>
          </p:nvSpPr>
          <p:spPr>
            <a:xfrm>
              <a:off x="1154311" y="2427665"/>
              <a:ext cx="403957" cy="369332"/>
            </a:xfrm>
            <a:prstGeom prst="rect">
              <a:avLst/>
            </a:prstGeom>
            <a:noFill/>
          </p:spPr>
          <p:txBody>
            <a:bodyPr wrap="none" lIns="0" tIns="0" rIns="0" bIns="0" rtlCol="0" anchor="t">
              <a:spAutoFit/>
            </a:bodyPr>
            <a:lstStyle/>
            <a:p>
              <a:pPr algn="ctr"/>
              <a:r>
                <a:rPr lang="en-US" altLang="zh-CN" sz="2400" dirty="0">
                  <a:solidFill>
                    <a:schemeClr val="accent1">
                      <a:lumMod val="100000"/>
                    </a:schemeClr>
                  </a:solidFill>
                  <a:latin typeface="+mj-ea"/>
                  <a:ea typeface="+mj-ea"/>
                </a:rPr>
                <a:t>03</a:t>
              </a:r>
              <a:endParaRPr lang="zh-CN" altLang="en-US" sz="2400" dirty="0">
                <a:solidFill>
                  <a:schemeClr val="accent1">
                    <a:lumMod val="100000"/>
                  </a:schemeClr>
                </a:solidFill>
                <a:latin typeface="+mj-ea"/>
                <a:ea typeface="+mj-ea"/>
              </a:endParaRPr>
            </a:p>
          </p:txBody>
        </p:sp>
      </p:grpSp>
      <p:grpSp>
        <p:nvGrpSpPr>
          <p:cNvPr id="27" name="组合 26">
            <a:extLst>
              <a:ext uri="{FF2B5EF4-FFF2-40B4-BE49-F238E27FC236}">
                <a16:creationId xmlns:a16="http://schemas.microsoft.com/office/drawing/2014/main" id="{CF604300-4C4A-4047-AFD2-819A4DCCEA58}"/>
              </a:ext>
            </a:extLst>
          </p:cNvPr>
          <p:cNvGrpSpPr/>
          <p:nvPr/>
        </p:nvGrpSpPr>
        <p:grpSpPr>
          <a:xfrm>
            <a:off x="9316045" y="3428761"/>
            <a:ext cx="1846660" cy="1112004"/>
            <a:chOff x="1154311" y="2427665"/>
            <a:chExt cx="1846660" cy="1112004"/>
          </a:xfrm>
        </p:grpSpPr>
        <p:sp>
          <p:nvSpPr>
            <p:cNvPr id="28" name="文本框 27">
              <a:extLst>
                <a:ext uri="{FF2B5EF4-FFF2-40B4-BE49-F238E27FC236}">
                  <a16:creationId xmlns:a16="http://schemas.microsoft.com/office/drawing/2014/main" id="{F351CD31-A3A7-4E7E-8BD6-1CC562B86B39}"/>
                </a:ext>
              </a:extLst>
            </p:cNvPr>
            <p:cNvSpPr txBox="1"/>
            <p:nvPr/>
          </p:nvSpPr>
          <p:spPr>
            <a:xfrm>
              <a:off x="1154312" y="2863043"/>
              <a:ext cx="1846659" cy="369332"/>
            </a:xfrm>
            <a:prstGeom prst="rect">
              <a:avLst/>
            </a:prstGeom>
            <a:noFill/>
          </p:spPr>
          <p:txBody>
            <a:bodyPr wrap="none" lIns="0" tIns="0" rIns="0" bIns="0" rtlCol="0" anchor="t">
              <a:spAutoFit/>
            </a:bodyPr>
            <a:lstStyle/>
            <a:p>
              <a:pPr algn="ctr"/>
              <a:r>
                <a:rPr lang="zh-CN" altLang="en-US" sz="2400" dirty="0">
                  <a:solidFill>
                    <a:schemeClr val="accent1">
                      <a:lumMod val="100000"/>
                    </a:schemeClr>
                  </a:solidFill>
                  <a:latin typeface="+mj-ea"/>
                  <a:ea typeface="+mj-ea"/>
                </a:rPr>
                <a:t>输入目录标题</a:t>
              </a:r>
            </a:p>
          </p:txBody>
        </p:sp>
        <p:sp>
          <p:nvSpPr>
            <p:cNvPr id="29" name="文本框 28">
              <a:extLst>
                <a:ext uri="{FF2B5EF4-FFF2-40B4-BE49-F238E27FC236}">
                  <a16:creationId xmlns:a16="http://schemas.microsoft.com/office/drawing/2014/main" id="{66339CED-67F9-400F-85D2-EF990F6BFE61}"/>
                </a:ext>
              </a:extLst>
            </p:cNvPr>
            <p:cNvSpPr txBox="1"/>
            <p:nvPr/>
          </p:nvSpPr>
          <p:spPr>
            <a:xfrm>
              <a:off x="1154311" y="3324225"/>
              <a:ext cx="1846660" cy="215444"/>
            </a:xfrm>
            <a:prstGeom prst="rect">
              <a:avLst/>
            </a:prstGeom>
            <a:noFill/>
          </p:spPr>
          <p:txBody>
            <a:bodyPr wrap="square" lIns="0" tIns="0" rIns="0" bIns="0" rtlCol="0" anchor="t">
              <a:spAutoFit/>
            </a:bodyPr>
            <a:lstStyle/>
            <a:p>
              <a:pPr algn="dist"/>
              <a:r>
                <a:rPr lang="en-US" altLang="zh-CN" sz="1400" dirty="0">
                  <a:solidFill>
                    <a:schemeClr val="accent1">
                      <a:lumMod val="100000"/>
                    </a:schemeClr>
                  </a:solidFill>
                </a:rPr>
                <a:t>Contents Title Here</a:t>
              </a:r>
              <a:endParaRPr lang="zh-CN" altLang="en-US" sz="1400" dirty="0">
                <a:solidFill>
                  <a:schemeClr val="accent1">
                    <a:lumMod val="100000"/>
                  </a:schemeClr>
                </a:solidFill>
              </a:endParaRPr>
            </a:p>
          </p:txBody>
        </p:sp>
        <p:sp>
          <p:nvSpPr>
            <p:cNvPr id="30" name="文本框 29">
              <a:extLst>
                <a:ext uri="{FF2B5EF4-FFF2-40B4-BE49-F238E27FC236}">
                  <a16:creationId xmlns:a16="http://schemas.microsoft.com/office/drawing/2014/main" id="{2D9752CE-A6FD-453E-AC68-C5440585FA47}"/>
                </a:ext>
              </a:extLst>
            </p:cNvPr>
            <p:cNvSpPr txBox="1"/>
            <p:nvPr/>
          </p:nvSpPr>
          <p:spPr>
            <a:xfrm>
              <a:off x="1154311" y="2427665"/>
              <a:ext cx="403957" cy="369332"/>
            </a:xfrm>
            <a:prstGeom prst="rect">
              <a:avLst/>
            </a:prstGeom>
            <a:noFill/>
          </p:spPr>
          <p:txBody>
            <a:bodyPr wrap="none" lIns="0" tIns="0" rIns="0" bIns="0" rtlCol="0" anchor="t">
              <a:spAutoFit/>
            </a:bodyPr>
            <a:lstStyle/>
            <a:p>
              <a:r>
                <a:rPr lang="en-US" altLang="zh-CN" sz="2400" dirty="0">
                  <a:solidFill>
                    <a:schemeClr val="accent1">
                      <a:lumMod val="100000"/>
                    </a:schemeClr>
                  </a:solidFill>
                  <a:latin typeface="+mj-ea"/>
                  <a:ea typeface="+mj-ea"/>
                </a:rPr>
                <a:t>04</a:t>
              </a:r>
              <a:endParaRPr lang="zh-CN" altLang="en-US" sz="2400" dirty="0">
                <a:solidFill>
                  <a:schemeClr val="accent1">
                    <a:lumMod val="100000"/>
                  </a:schemeClr>
                </a:solidFill>
                <a:latin typeface="+mj-ea"/>
                <a:ea typeface="+mj-ea"/>
              </a:endParaRPr>
            </a:p>
          </p:txBody>
        </p:sp>
      </p:grpSp>
      <p:sp>
        <p:nvSpPr>
          <p:cNvPr id="33" name="矩形 32">
            <a:extLst>
              <a:ext uri="{FF2B5EF4-FFF2-40B4-BE49-F238E27FC236}">
                <a16:creationId xmlns:a16="http://schemas.microsoft.com/office/drawing/2014/main" id="{A59AF6AE-3023-4665-8826-842028A10A18}"/>
              </a:ext>
            </a:extLst>
          </p:cNvPr>
          <p:cNvSpPr/>
          <p:nvPr/>
        </p:nvSpPr>
        <p:spPr>
          <a:xfrm>
            <a:off x="3343275" y="4540765"/>
            <a:ext cx="45719" cy="19413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34" name="矩形 33">
            <a:extLst>
              <a:ext uri="{FF2B5EF4-FFF2-40B4-BE49-F238E27FC236}">
                <a16:creationId xmlns:a16="http://schemas.microsoft.com/office/drawing/2014/main" id="{0BBC1B50-FC6F-4CD4-BCFB-E9D27C486553}"/>
              </a:ext>
            </a:extLst>
          </p:cNvPr>
          <p:cNvSpPr/>
          <p:nvPr/>
        </p:nvSpPr>
        <p:spPr>
          <a:xfrm>
            <a:off x="6096000" y="4540765"/>
            <a:ext cx="45719" cy="19413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35" name="矩形 34">
            <a:extLst>
              <a:ext uri="{FF2B5EF4-FFF2-40B4-BE49-F238E27FC236}">
                <a16:creationId xmlns:a16="http://schemas.microsoft.com/office/drawing/2014/main" id="{85567D03-7FF0-436F-9D87-BD2C7DDD1495}"/>
              </a:ext>
            </a:extLst>
          </p:cNvPr>
          <p:cNvSpPr/>
          <p:nvPr/>
        </p:nvSpPr>
        <p:spPr>
          <a:xfrm>
            <a:off x="8850248" y="4540765"/>
            <a:ext cx="45719" cy="19413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37" name="文本框 36">
            <a:extLst>
              <a:ext uri="{FF2B5EF4-FFF2-40B4-BE49-F238E27FC236}">
                <a16:creationId xmlns:a16="http://schemas.microsoft.com/office/drawing/2014/main" id="{EC8EC108-0DCA-4B6F-9EC3-DC812D68A755}"/>
              </a:ext>
            </a:extLst>
          </p:cNvPr>
          <p:cNvSpPr txBox="1"/>
          <p:nvPr/>
        </p:nvSpPr>
        <p:spPr>
          <a:xfrm>
            <a:off x="4760285" y="568090"/>
            <a:ext cx="2802566" cy="553998"/>
          </a:xfrm>
          <a:prstGeom prst="rect">
            <a:avLst/>
          </a:prstGeom>
          <a:noFill/>
        </p:spPr>
        <p:txBody>
          <a:bodyPr wrap="square" lIns="0" tIns="0" rIns="0" bIns="0" rtlCol="0" anchor="t">
            <a:spAutoFit/>
          </a:bodyPr>
          <a:lstStyle/>
          <a:p>
            <a:pPr algn="dist"/>
            <a:r>
              <a:rPr lang="en-US" altLang="zh-CN" sz="3600" dirty="0">
                <a:solidFill>
                  <a:schemeClr val="accent1">
                    <a:alpha val="20000"/>
                  </a:schemeClr>
                </a:solidFill>
                <a:latin typeface="+mj-ea"/>
                <a:ea typeface="+mj-ea"/>
              </a:rPr>
              <a:t>CONTENTS</a:t>
            </a:r>
            <a:endParaRPr lang="zh-CN" altLang="en-US" sz="3600" dirty="0">
              <a:solidFill>
                <a:schemeClr val="accent1">
                  <a:alpha val="20000"/>
                </a:schemeClr>
              </a:solidFill>
              <a:latin typeface="+mj-ea"/>
              <a:ea typeface="+mj-ea"/>
            </a:endParaRPr>
          </a:p>
        </p:txBody>
      </p:sp>
      <p:sp>
        <p:nvSpPr>
          <p:cNvPr id="38" name="文本框 37">
            <a:extLst>
              <a:ext uri="{FF2B5EF4-FFF2-40B4-BE49-F238E27FC236}">
                <a16:creationId xmlns:a16="http://schemas.microsoft.com/office/drawing/2014/main" id="{1B174AE8-C3B4-4648-A970-82FB48F978BE}"/>
              </a:ext>
            </a:extLst>
          </p:cNvPr>
          <p:cNvSpPr txBox="1"/>
          <p:nvPr/>
        </p:nvSpPr>
        <p:spPr>
          <a:xfrm>
            <a:off x="4759151" y="768889"/>
            <a:ext cx="2673698" cy="1354217"/>
          </a:xfrm>
          <a:prstGeom prst="rect">
            <a:avLst/>
          </a:prstGeom>
          <a:noFill/>
        </p:spPr>
        <p:txBody>
          <a:bodyPr wrap="square" lIns="0" tIns="0" rIns="0" bIns="0" rtlCol="0" anchor="t">
            <a:spAutoFit/>
          </a:bodyPr>
          <a:lstStyle/>
          <a:p>
            <a:pPr algn="dist"/>
            <a:r>
              <a:rPr lang="zh-CN" altLang="en-US" sz="8800" dirty="0">
                <a:solidFill>
                  <a:schemeClr val="accent1"/>
                </a:solidFill>
                <a:latin typeface="+mj-ea"/>
                <a:ea typeface="+mj-ea"/>
              </a:rPr>
              <a:t>目录</a:t>
            </a:r>
          </a:p>
        </p:txBody>
      </p:sp>
    </p:spTree>
    <p:extLst>
      <p:ext uri="{BB962C8B-B14F-4D97-AF65-F5344CB8AC3E}">
        <p14:creationId xmlns:p14="http://schemas.microsoft.com/office/powerpoint/2010/main" val="3983303558"/>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a:extLst>
              <a:ext uri="{FF2B5EF4-FFF2-40B4-BE49-F238E27FC236}">
                <a16:creationId xmlns:a16="http://schemas.microsoft.com/office/drawing/2014/main" id="{5936F660-1A07-4F25-AD8E-9BCF650A6AB0}"/>
              </a:ext>
            </a:extLst>
          </p:cNvPr>
          <p:cNvSpPr/>
          <p:nvPr/>
        </p:nvSpPr>
        <p:spPr>
          <a:xfrm>
            <a:off x="0" y="0"/>
            <a:ext cx="12192000" cy="3429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3" name="矩形: 圆角 2">
            <a:extLst>
              <a:ext uri="{FF2B5EF4-FFF2-40B4-BE49-F238E27FC236}">
                <a16:creationId xmlns:a16="http://schemas.microsoft.com/office/drawing/2014/main" id="{991BFE34-DE56-4C93-8ED3-AAF714CE88A4}"/>
              </a:ext>
            </a:extLst>
          </p:cNvPr>
          <p:cNvSpPr/>
          <p:nvPr/>
        </p:nvSpPr>
        <p:spPr>
          <a:xfrm>
            <a:off x="2143125" y="1773522"/>
            <a:ext cx="7905750" cy="3310956"/>
          </a:xfrm>
          <a:prstGeom prst="roundRect">
            <a:avLst>
              <a:gd name="adj" fmla="val 7994"/>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5" name="文本框 4">
            <a:extLst>
              <a:ext uri="{FF2B5EF4-FFF2-40B4-BE49-F238E27FC236}">
                <a16:creationId xmlns:a16="http://schemas.microsoft.com/office/drawing/2014/main" id="{532827C9-E8C5-4B86-9462-BCC0676898F8}"/>
              </a:ext>
            </a:extLst>
          </p:cNvPr>
          <p:cNvSpPr txBox="1"/>
          <p:nvPr/>
        </p:nvSpPr>
        <p:spPr>
          <a:xfrm>
            <a:off x="4018508" y="3175426"/>
            <a:ext cx="4154985" cy="830997"/>
          </a:xfrm>
          <a:prstGeom prst="rect">
            <a:avLst/>
          </a:prstGeom>
          <a:noFill/>
        </p:spPr>
        <p:txBody>
          <a:bodyPr wrap="none" lIns="0" tIns="0" rIns="0" bIns="0" rtlCol="0" anchor="t">
            <a:spAutoFit/>
          </a:bodyPr>
          <a:lstStyle/>
          <a:p>
            <a:pPr algn="ctr"/>
            <a:r>
              <a:rPr lang="zh-CN" altLang="en-US" sz="5400" dirty="0">
                <a:solidFill>
                  <a:schemeClr val="bg1"/>
                </a:solidFill>
                <a:latin typeface="+mj-ea"/>
                <a:ea typeface="+mj-ea"/>
              </a:rPr>
              <a:t>输入目录标题</a:t>
            </a:r>
          </a:p>
        </p:txBody>
      </p:sp>
      <p:sp>
        <p:nvSpPr>
          <p:cNvPr id="6" name="文本框 5">
            <a:extLst>
              <a:ext uri="{FF2B5EF4-FFF2-40B4-BE49-F238E27FC236}">
                <a16:creationId xmlns:a16="http://schemas.microsoft.com/office/drawing/2014/main" id="{358A5D29-53A1-4183-AA44-F00D3890308C}"/>
              </a:ext>
            </a:extLst>
          </p:cNvPr>
          <p:cNvSpPr txBox="1"/>
          <p:nvPr/>
        </p:nvSpPr>
        <p:spPr>
          <a:xfrm>
            <a:off x="4018508" y="4019522"/>
            <a:ext cx="4154985" cy="276999"/>
          </a:xfrm>
          <a:prstGeom prst="rect">
            <a:avLst/>
          </a:prstGeom>
          <a:noFill/>
        </p:spPr>
        <p:txBody>
          <a:bodyPr wrap="square" lIns="0" tIns="0" rIns="0" bIns="0" rtlCol="0" anchor="t">
            <a:spAutoFit/>
          </a:bodyPr>
          <a:lstStyle/>
          <a:p>
            <a:pPr algn="dist"/>
            <a:r>
              <a:rPr lang="en-US" altLang="zh-CN" dirty="0">
                <a:solidFill>
                  <a:schemeClr val="bg1"/>
                </a:solidFill>
              </a:rPr>
              <a:t>Contents Title Here</a:t>
            </a:r>
            <a:endParaRPr lang="zh-CN" altLang="en-US" dirty="0">
              <a:solidFill>
                <a:schemeClr val="bg1"/>
              </a:solidFill>
            </a:endParaRPr>
          </a:p>
        </p:txBody>
      </p:sp>
      <p:sp>
        <p:nvSpPr>
          <p:cNvPr id="7" name="文本框 6">
            <a:extLst>
              <a:ext uri="{FF2B5EF4-FFF2-40B4-BE49-F238E27FC236}">
                <a16:creationId xmlns:a16="http://schemas.microsoft.com/office/drawing/2014/main" id="{BCFD31C0-4CE1-4A9D-9497-D538410A6AC6}"/>
              </a:ext>
            </a:extLst>
          </p:cNvPr>
          <p:cNvSpPr txBox="1"/>
          <p:nvPr/>
        </p:nvSpPr>
        <p:spPr>
          <a:xfrm>
            <a:off x="5804253" y="2406848"/>
            <a:ext cx="583493" cy="615553"/>
          </a:xfrm>
          <a:prstGeom prst="rect">
            <a:avLst/>
          </a:prstGeom>
          <a:noFill/>
        </p:spPr>
        <p:txBody>
          <a:bodyPr wrap="none" lIns="0" tIns="0" rIns="0" bIns="0" rtlCol="0" anchor="t">
            <a:spAutoFit/>
          </a:bodyPr>
          <a:lstStyle/>
          <a:p>
            <a:pPr algn="ctr"/>
            <a:r>
              <a:rPr lang="en-US" altLang="zh-CN" sz="4000" dirty="0">
                <a:solidFill>
                  <a:schemeClr val="bg1"/>
                </a:solidFill>
                <a:latin typeface="+mj-ea"/>
                <a:ea typeface="+mj-ea"/>
              </a:rPr>
              <a:t>01</a:t>
            </a:r>
            <a:endParaRPr lang="zh-CN" altLang="en-US" sz="4000" dirty="0">
              <a:solidFill>
                <a:schemeClr val="bg1"/>
              </a:solidFill>
              <a:latin typeface="+mj-ea"/>
              <a:ea typeface="+mj-ea"/>
            </a:endParaRPr>
          </a:p>
        </p:txBody>
      </p:sp>
      <p:cxnSp>
        <p:nvCxnSpPr>
          <p:cNvPr id="10" name="直接连接符 9">
            <a:extLst>
              <a:ext uri="{FF2B5EF4-FFF2-40B4-BE49-F238E27FC236}">
                <a16:creationId xmlns:a16="http://schemas.microsoft.com/office/drawing/2014/main" id="{319DC522-B33C-4322-979E-750F952994E1}"/>
              </a:ext>
            </a:extLst>
          </p:cNvPr>
          <p:cNvCxnSpPr/>
          <p:nvPr/>
        </p:nvCxnSpPr>
        <p:spPr>
          <a:xfrm flipH="1">
            <a:off x="4104233" y="2714625"/>
            <a:ext cx="146789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1" name="直接连接符 10">
            <a:extLst>
              <a:ext uri="{FF2B5EF4-FFF2-40B4-BE49-F238E27FC236}">
                <a16:creationId xmlns:a16="http://schemas.microsoft.com/office/drawing/2014/main" id="{71F662E8-5C5D-40A0-9908-1B4F19CE6131}"/>
              </a:ext>
            </a:extLst>
          </p:cNvPr>
          <p:cNvCxnSpPr/>
          <p:nvPr/>
        </p:nvCxnSpPr>
        <p:spPr>
          <a:xfrm flipH="1">
            <a:off x="6705601" y="2714625"/>
            <a:ext cx="146789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83600771"/>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矩形 9">
            <a:extLst>
              <a:ext uri="{FF2B5EF4-FFF2-40B4-BE49-F238E27FC236}">
                <a16:creationId xmlns:a16="http://schemas.microsoft.com/office/drawing/2014/main" id="{A40E1940-2243-4289-9860-906B19CB8566}"/>
              </a:ext>
            </a:extLst>
          </p:cNvPr>
          <p:cNvSpPr/>
          <p:nvPr/>
        </p:nvSpPr>
        <p:spPr>
          <a:xfrm>
            <a:off x="0" y="3747255"/>
            <a:ext cx="12192000" cy="311074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2" name="矩形 1">
            <a:extLst>
              <a:ext uri="{FF2B5EF4-FFF2-40B4-BE49-F238E27FC236}">
                <a16:creationId xmlns:a16="http://schemas.microsoft.com/office/drawing/2014/main" id="{BD28CF81-B8BA-428F-8C49-1288F0EA5ADC}"/>
              </a:ext>
            </a:extLst>
          </p:cNvPr>
          <p:cNvSpPr/>
          <p:nvPr/>
        </p:nvSpPr>
        <p:spPr>
          <a:xfrm>
            <a:off x="7267575" y="1114424"/>
            <a:ext cx="2943225" cy="57435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3" name="矩形 2">
            <a:extLst>
              <a:ext uri="{FF2B5EF4-FFF2-40B4-BE49-F238E27FC236}">
                <a16:creationId xmlns:a16="http://schemas.microsoft.com/office/drawing/2014/main" id="{BBEE5120-3351-4CFB-BD8A-AD6EDBE56DD1}"/>
              </a:ext>
            </a:extLst>
          </p:cNvPr>
          <p:cNvSpPr/>
          <p:nvPr/>
        </p:nvSpPr>
        <p:spPr>
          <a:xfrm>
            <a:off x="7115174" y="990600"/>
            <a:ext cx="2838451" cy="5619750"/>
          </a:xfrm>
          <a:prstGeom prst="rect">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4" name="文本框 3">
            <a:extLst>
              <a:ext uri="{FF2B5EF4-FFF2-40B4-BE49-F238E27FC236}">
                <a16:creationId xmlns:a16="http://schemas.microsoft.com/office/drawing/2014/main" id="{78CA2445-160E-451B-98B5-84705428913B}"/>
              </a:ext>
            </a:extLst>
          </p:cNvPr>
          <p:cNvSpPr txBox="1"/>
          <p:nvPr/>
        </p:nvSpPr>
        <p:spPr>
          <a:xfrm>
            <a:off x="8153799" y="1756529"/>
            <a:ext cx="1285609" cy="1354217"/>
          </a:xfrm>
          <a:prstGeom prst="rect">
            <a:avLst/>
          </a:prstGeom>
          <a:noFill/>
        </p:spPr>
        <p:txBody>
          <a:bodyPr wrap="none" lIns="0" tIns="0" rIns="0" bIns="0" rtlCol="0">
            <a:spAutoFit/>
          </a:bodyPr>
          <a:lstStyle/>
          <a:p>
            <a:pPr algn="ctr"/>
            <a:r>
              <a:rPr kumimoji="1" lang="en-US" altLang="zh-CN" sz="8800" b="1" dirty="0">
                <a:solidFill>
                  <a:schemeClr val="bg1"/>
                </a:solidFill>
                <a:latin typeface="+mj-ea"/>
                <a:ea typeface="+mj-ea"/>
                <a:cs typeface="Alibaba PuHuiTi B" pitchFamily="18" charset="-122"/>
              </a:rPr>
              <a:t>01</a:t>
            </a:r>
            <a:endParaRPr kumimoji="1" lang="zh-CN" altLang="en-US" sz="8800" b="1" dirty="0">
              <a:solidFill>
                <a:schemeClr val="bg1"/>
              </a:solidFill>
              <a:latin typeface="+mj-ea"/>
              <a:ea typeface="+mj-ea"/>
              <a:cs typeface="Alibaba PuHuiTi B" pitchFamily="18" charset="-122"/>
            </a:endParaRPr>
          </a:p>
        </p:txBody>
      </p:sp>
      <p:grpSp>
        <p:nvGrpSpPr>
          <p:cNvPr id="13" name="组合 12">
            <a:extLst>
              <a:ext uri="{FF2B5EF4-FFF2-40B4-BE49-F238E27FC236}">
                <a16:creationId xmlns:a16="http://schemas.microsoft.com/office/drawing/2014/main" id="{454ED740-E65C-4854-8F1D-A8812DA067EE}"/>
              </a:ext>
            </a:extLst>
          </p:cNvPr>
          <p:cNvGrpSpPr/>
          <p:nvPr/>
        </p:nvGrpSpPr>
        <p:grpSpPr>
          <a:xfrm>
            <a:off x="1570090" y="1756529"/>
            <a:ext cx="4616650" cy="1384995"/>
            <a:chOff x="2008240" y="1971973"/>
            <a:chExt cx="4616650" cy="1384995"/>
          </a:xfrm>
        </p:grpSpPr>
        <p:sp>
          <p:nvSpPr>
            <p:cNvPr id="5" name="文本框 4">
              <a:extLst>
                <a:ext uri="{FF2B5EF4-FFF2-40B4-BE49-F238E27FC236}">
                  <a16:creationId xmlns:a16="http://schemas.microsoft.com/office/drawing/2014/main" id="{2A9245C8-B999-4204-ADF1-C96CDE1BABD2}"/>
                </a:ext>
              </a:extLst>
            </p:cNvPr>
            <p:cNvSpPr txBox="1"/>
            <p:nvPr/>
          </p:nvSpPr>
          <p:spPr>
            <a:xfrm>
              <a:off x="2008241" y="1971973"/>
              <a:ext cx="4616649" cy="1107996"/>
            </a:xfrm>
            <a:prstGeom prst="rect">
              <a:avLst/>
            </a:prstGeom>
            <a:noFill/>
          </p:spPr>
          <p:txBody>
            <a:bodyPr wrap="none" lIns="0" tIns="0" rIns="0" bIns="0" rtlCol="0" anchor="t">
              <a:spAutoFit/>
            </a:bodyPr>
            <a:lstStyle/>
            <a:p>
              <a:pPr algn="ctr"/>
              <a:r>
                <a:rPr kumimoji="1" lang="zh-CN" altLang="en-US" sz="7200" dirty="0">
                  <a:solidFill>
                    <a:schemeClr val="accent1">
                      <a:lumMod val="100000"/>
                    </a:schemeClr>
                  </a:solidFill>
                  <a:latin typeface="+mj-ea"/>
                  <a:ea typeface="+mj-ea"/>
                </a:rPr>
                <a:t>过渡页标题</a:t>
              </a:r>
            </a:p>
          </p:txBody>
        </p:sp>
        <p:sp>
          <p:nvSpPr>
            <p:cNvPr id="6" name="文本框 5">
              <a:extLst>
                <a:ext uri="{FF2B5EF4-FFF2-40B4-BE49-F238E27FC236}">
                  <a16:creationId xmlns:a16="http://schemas.microsoft.com/office/drawing/2014/main" id="{51656A44-958B-4331-B22F-8A47ADCDD954}"/>
                </a:ext>
              </a:extLst>
            </p:cNvPr>
            <p:cNvSpPr txBox="1"/>
            <p:nvPr/>
          </p:nvSpPr>
          <p:spPr>
            <a:xfrm>
              <a:off x="2008240" y="3079969"/>
              <a:ext cx="4616649" cy="276999"/>
            </a:xfrm>
            <a:prstGeom prst="rect">
              <a:avLst/>
            </a:prstGeom>
            <a:noFill/>
          </p:spPr>
          <p:txBody>
            <a:bodyPr wrap="square" lIns="0" tIns="0" rIns="0" bIns="0" rtlCol="0" anchor="t">
              <a:spAutoFit/>
            </a:bodyPr>
            <a:lstStyle/>
            <a:p>
              <a:pPr algn="dist"/>
              <a:r>
                <a:rPr kumimoji="1" lang="en-US" altLang="zh-CN" dirty="0">
                  <a:solidFill>
                    <a:schemeClr val="accent1">
                      <a:lumMod val="100000"/>
                    </a:schemeClr>
                  </a:solidFill>
                </a:rPr>
                <a:t>Transition Page Title</a:t>
              </a:r>
              <a:endParaRPr kumimoji="1" lang="zh-CN" altLang="en-US" dirty="0">
                <a:solidFill>
                  <a:schemeClr val="accent1">
                    <a:lumMod val="100000"/>
                  </a:schemeClr>
                </a:solidFill>
              </a:endParaRPr>
            </a:p>
          </p:txBody>
        </p:sp>
      </p:grpSp>
      <p:cxnSp>
        <p:nvCxnSpPr>
          <p:cNvPr id="8" name="直接连接符 7">
            <a:extLst>
              <a:ext uri="{FF2B5EF4-FFF2-40B4-BE49-F238E27FC236}">
                <a16:creationId xmlns:a16="http://schemas.microsoft.com/office/drawing/2014/main" id="{5D4C6F5A-FEA1-4A85-B27D-37597255C8C8}"/>
              </a:ext>
            </a:extLst>
          </p:cNvPr>
          <p:cNvCxnSpPr>
            <a:cxnSpLocks/>
          </p:cNvCxnSpPr>
          <p:nvPr/>
        </p:nvCxnSpPr>
        <p:spPr>
          <a:xfrm flipH="1">
            <a:off x="8177212" y="3429000"/>
            <a:ext cx="1123949" cy="1724025"/>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1" name="任意多边形: 形状 10">
            <a:extLst>
              <a:ext uri="{FF2B5EF4-FFF2-40B4-BE49-F238E27FC236}">
                <a16:creationId xmlns:a16="http://schemas.microsoft.com/office/drawing/2014/main" id="{79800C34-D45F-427A-A529-D841204872C3}"/>
              </a:ext>
            </a:extLst>
          </p:cNvPr>
          <p:cNvSpPr/>
          <p:nvPr/>
        </p:nvSpPr>
        <p:spPr>
          <a:xfrm>
            <a:off x="3706964" y="4743523"/>
            <a:ext cx="1219200" cy="1118208"/>
          </a:xfrm>
          <a:custGeom>
            <a:avLst/>
            <a:gdLst>
              <a:gd name="connsiteX0" fmla="*/ 1006264 w 1331826"/>
              <a:gd name="connsiteY0" fmla="*/ 238125 h 1221507"/>
              <a:gd name="connsiteX1" fmla="*/ 1123466 w 1331826"/>
              <a:gd name="connsiteY1" fmla="*/ 355327 h 1221507"/>
              <a:gd name="connsiteX2" fmla="*/ 1006264 w 1331826"/>
              <a:gd name="connsiteY2" fmla="*/ 472529 h 1221507"/>
              <a:gd name="connsiteX3" fmla="*/ 889062 w 1331826"/>
              <a:gd name="connsiteY3" fmla="*/ 355327 h 1221507"/>
              <a:gd name="connsiteX4" fmla="*/ 1006264 w 1331826"/>
              <a:gd name="connsiteY4" fmla="*/ 238125 h 1221507"/>
              <a:gd name="connsiteX5" fmla="*/ 172827 w 1331826"/>
              <a:gd name="connsiteY5" fmla="*/ 104180 h 1221507"/>
              <a:gd name="connsiteX6" fmla="*/ 105482 w 1331826"/>
              <a:gd name="connsiteY6" fmla="*/ 171152 h 1221507"/>
              <a:gd name="connsiteX7" fmla="*/ 105482 w 1331826"/>
              <a:gd name="connsiteY7" fmla="*/ 726281 h 1221507"/>
              <a:gd name="connsiteX8" fmla="*/ 179152 w 1331826"/>
              <a:gd name="connsiteY8" fmla="*/ 599777 h 1221507"/>
              <a:gd name="connsiteX9" fmla="*/ 303795 w 1331826"/>
              <a:gd name="connsiteY9" fmla="*/ 490761 h 1221507"/>
              <a:gd name="connsiteX10" fmla="*/ 414300 w 1331826"/>
              <a:gd name="connsiteY10" fmla="*/ 507504 h 1221507"/>
              <a:gd name="connsiteX11" fmla="*/ 731676 w 1331826"/>
              <a:gd name="connsiteY11" fmla="*/ 856878 h 1221507"/>
              <a:gd name="connsiteX12" fmla="*/ 780790 w 1331826"/>
              <a:gd name="connsiteY12" fmla="*/ 791022 h 1221507"/>
              <a:gd name="connsiteX13" fmla="*/ 988777 w 1331826"/>
              <a:gd name="connsiteY13" fmla="*/ 633264 h 1221507"/>
              <a:gd name="connsiteX14" fmla="*/ 1093329 w 1331826"/>
              <a:gd name="connsiteY14" fmla="*/ 666006 h 1221507"/>
              <a:gd name="connsiteX15" fmla="*/ 1227646 w 1331826"/>
              <a:gd name="connsiteY15" fmla="*/ 821159 h 1221507"/>
              <a:gd name="connsiteX16" fmla="*/ 1227646 w 1331826"/>
              <a:gd name="connsiteY16" fmla="*/ 171152 h 1221507"/>
              <a:gd name="connsiteX17" fmla="*/ 1160673 w 1331826"/>
              <a:gd name="connsiteY17" fmla="*/ 104180 h 1221507"/>
              <a:gd name="connsiteX18" fmla="*/ 172827 w 1331826"/>
              <a:gd name="connsiteY18" fmla="*/ 0 h 1221507"/>
              <a:gd name="connsiteX19" fmla="*/ 1160673 w 1331826"/>
              <a:gd name="connsiteY19" fmla="*/ 0 h 1221507"/>
              <a:gd name="connsiteX20" fmla="*/ 1331826 w 1331826"/>
              <a:gd name="connsiteY20" fmla="*/ 171152 h 1221507"/>
              <a:gd name="connsiteX21" fmla="*/ 1331826 w 1331826"/>
              <a:gd name="connsiteY21" fmla="*/ 1050355 h 1221507"/>
              <a:gd name="connsiteX22" fmla="*/ 1160673 w 1331826"/>
              <a:gd name="connsiteY22" fmla="*/ 1221507 h 1221507"/>
              <a:gd name="connsiteX23" fmla="*/ 172827 w 1331826"/>
              <a:gd name="connsiteY23" fmla="*/ 1221507 h 1221507"/>
              <a:gd name="connsiteX24" fmla="*/ 1674 w 1331826"/>
              <a:gd name="connsiteY24" fmla="*/ 1050355 h 1221507"/>
              <a:gd name="connsiteX25" fmla="*/ 1674 w 1331826"/>
              <a:gd name="connsiteY25" fmla="*/ 1006450 h 1221507"/>
              <a:gd name="connsiteX26" fmla="*/ 1674 w 1331826"/>
              <a:gd name="connsiteY26" fmla="*/ 980405 h 1221507"/>
              <a:gd name="connsiteX27" fmla="*/ 1674 w 1331826"/>
              <a:gd name="connsiteY27" fmla="*/ 171152 h 1221507"/>
              <a:gd name="connsiteX28" fmla="*/ 172827 w 1331826"/>
              <a:gd name="connsiteY28" fmla="*/ 0 h 1221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31826" h="1221507">
                <a:moveTo>
                  <a:pt x="1006264" y="238125"/>
                </a:moveTo>
                <a:cubicBezTo>
                  <a:pt x="1070993" y="238125"/>
                  <a:pt x="1123466" y="290598"/>
                  <a:pt x="1123466" y="355327"/>
                </a:cubicBezTo>
                <a:cubicBezTo>
                  <a:pt x="1123466" y="420056"/>
                  <a:pt x="1070993" y="472529"/>
                  <a:pt x="1006264" y="472529"/>
                </a:cubicBezTo>
                <a:cubicBezTo>
                  <a:pt x="941535" y="472529"/>
                  <a:pt x="889062" y="420056"/>
                  <a:pt x="889062" y="355327"/>
                </a:cubicBezTo>
                <a:cubicBezTo>
                  <a:pt x="889062" y="290598"/>
                  <a:pt x="941535" y="238125"/>
                  <a:pt x="1006264" y="238125"/>
                </a:cubicBezTo>
                <a:close/>
                <a:moveTo>
                  <a:pt x="172827" y="104180"/>
                </a:moveTo>
                <a:cubicBezTo>
                  <a:pt x="135620" y="104180"/>
                  <a:pt x="105854" y="133945"/>
                  <a:pt x="105482" y="171152"/>
                </a:cubicBezTo>
                <a:lnTo>
                  <a:pt x="105482" y="726281"/>
                </a:lnTo>
                <a:cubicBezTo>
                  <a:pt x="130411" y="676424"/>
                  <a:pt x="154967" y="634008"/>
                  <a:pt x="179152" y="599777"/>
                </a:cubicBezTo>
                <a:cubicBezTo>
                  <a:pt x="220824" y="540246"/>
                  <a:pt x="261751" y="504527"/>
                  <a:pt x="303795" y="490761"/>
                </a:cubicBezTo>
                <a:cubicBezTo>
                  <a:pt x="342491" y="478110"/>
                  <a:pt x="380442" y="483691"/>
                  <a:pt x="414300" y="507504"/>
                </a:cubicBezTo>
                <a:cubicBezTo>
                  <a:pt x="528526" y="587871"/>
                  <a:pt x="663215" y="762372"/>
                  <a:pt x="731676" y="856878"/>
                </a:cubicBezTo>
                <a:cubicBezTo>
                  <a:pt x="745443" y="837158"/>
                  <a:pt x="762186" y="814090"/>
                  <a:pt x="780790" y="791022"/>
                </a:cubicBezTo>
                <a:cubicBezTo>
                  <a:pt x="858552" y="693911"/>
                  <a:pt x="926641" y="642193"/>
                  <a:pt x="988777" y="633264"/>
                </a:cubicBezTo>
                <a:cubicBezTo>
                  <a:pt x="1028216" y="627683"/>
                  <a:pt x="1064307" y="638845"/>
                  <a:pt x="1093329" y="666006"/>
                </a:cubicBezTo>
                <a:cubicBezTo>
                  <a:pt x="1142070" y="711398"/>
                  <a:pt x="1188951" y="768697"/>
                  <a:pt x="1227646" y="821159"/>
                </a:cubicBezTo>
                <a:lnTo>
                  <a:pt x="1227646" y="171152"/>
                </a:lnTo>
                <a:cubicBezTo>
                  <a:pt x="1227646" y="134317"/>
                  <a:pt x="1197508" y="104180"/>
                  <a:pt x="1160673" y="104180"/>
                </a:cubicBezTo>
                <a:close/>
                <a:moveTo>
                  <a:pt x="172827" y="0"/>
                </a:moveTo>
                <a:lnTo>
                  <a:pt x="1160673" y="0"/>
                </a:lnTo>
                <a:cubicBezTo>
                  <a:pt x="1255179" y="0"/>
                  <a:pt x="1331826" y="76646"/>
                  <a:pt x="1331826" y="171152"/>
                </a:cubicBezTo>
                <a:lnTo>
                  <a:pt x="1331826" y="1050355"/>
                </a:lnTo>
                <a:cubicBezTo>
                  <a:pt x="1331826" y="1144860"/>
                  <a:pt x="1255179" y="1221507"/>
                  <a:pt x="1160673" y="1221507"/>
                </a:cubicBezTo>
                <a:lnTo>
                  <a:pt x="172827" y="1221507"/>
                </a:lnTo>
                <a:cubicBezTo>
                  <a:pt x="78321" y="1221507"/>
                  <a:pt x="1674" y="1144860"/>
                  <a:pt x="1674" y="1050355"/>
                </a:cubicBezTo>
                <a:lnTo>
                  <a:pt x="1674" y="1006450"/>
                </a:lnTo>
                <a:cubicBezTo>
                  <a:pt x="-558" y="997893"/>
                  <a:pt x="-558" y="989335"/>
                  <a:pt x="1674" y="980405"/>
                </a:cubicBezTo>
                <a:lnTo>
                  <a:pt x="1674" y="171152"/>
                </a:lnTo>
                <a:cubicBezTo>
                  <a:pt x="1674" y="76646"/>
                  <a:pt x="78321" y="0"/>
                  <a:pt x="172827" y="0"/>
                </a:cubicBezTo>
                <a:close/>
              </a:path>
            </a:pathLst>
          </a:custGeom>
          <a:solidFill>
            <a:schemeClr val="bg1"/>
          </a:solidFill>
          <a:ln w="1860" cap="flat">
            <a:noFill/>
            <a:prstDash val="solid"/>
            <a:miter/>
          </a:ln>
        </p:spPr>
        <p:txBody>
          <a:bodyPr rtlCol="0" anchor="ctr"/>
          <a:lstStyle/>
          <a:p>
            <a:endParaRPr lang="zh-CN" altLang="en-US"/>
          </a:p>
        </p:txBody>
      </p:sp>
      <p:sp>
        <p:nvSpPr>
          <p:cNvPr id="12" name="文本框 11">
            <a:extLst>
              <a:ext uri="{FF2B5EF4-FFF2-40B4-BE49-F238E27FC236}">
                <a16:creationId xmlns:a16="http://schemas.microsoft.com/office/drawing/2014/main" id="{752594FF-BD01-41DF-A635-AE77B6FD4BBD}"/>
              </a:ext>
            </a:extLst>
          </p:cNvPr>
          <p:cNvSpPr txBox="1"/>
          <p:nvPr/>
        </p:nvSpPr>
        <p:spPr>
          <a:xfrm>
            <a:off x="8073304" y="5471279"/>
            <a:ext cx="1438996" cy="215444"/>
          </a:xfrm>
          <a:prstGeom prst="rect">
            <a:avLst/>
          </a:prstGeom>
          <a:noFill/>
        </p:spPr>
        <p:txBody>
          <a:bodyPr wrap="square" lIns="0" tIns="0" rIns="0" bIns="0" rtlCol="0" anchor="t">
            <a:spAutoFit/>
          </a:bodyPr>
          <a:lstStyle/>
          <a:p>
            <a:pPr algn="dist"/>
            <a:r>
              <a:rPr kumimoji="1" lang="en-US" altLang="zh-CN" sz="1400" dirty="0">
                <a:solidFill>
                  <a:schemeClr val="bg1"/>
                </a:solidFill>
              </a:rPr>
              <a:t>PART ONE</a:t>
            </a:r>
            <a:endParaRPr kumimoji="1" lang="zh-CN" altLang="en-US" sz="1400" dirty="0">
              <a:solidFill>
                <a:schemeClr val="bg1"/>
              </a:solidFill>
            </a:endParaRPr>
          </a:p>
        </p:txBody>
      </p:sp>
    </p:spTree>
    <p:extLst>
      <p:ext uri="{BB962C8B-B14F-4D97-AF65-F5344CB8AC3E}">
        <p14:creationId xmlns:p14="http://schemas.microsoft.com/office/powerpoint/2010/main" val="1586675458"/>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文本框 10">
            <a:extLst>
              <a:ext uri="{FF2B5EF4-FFF2-40B4-BE49-F238E27FC236}">
                <a16:creationId xmlns:a16="http://schemas.microsoft.com/office/drawing/2014/main" id="{E4393356-E9A7-46D9-B5F5-0D21EC991A29}"/>
              </a:ext>
            </a:extLst>
          </p:cNvPr>
          <p:cNvSpPr txBox="1"/>
          <p:nvPr/>
        </p:nvSpPr>
        <p:spPr>
          <a:xfrm>
            <a:off x="1941017" y="1919645"/>
            <a:ext cx="8309967" cy="1107996"/>
          </a:xfrm>
          <a:prstGeom prst="rect">
            <a:avLst/>
          </a:prstGeom>
          <a:noFill/>
        </p:spPr>
        <p:txBody>
          <a:bodyPr wrap="none" lIns="0" tIns="0" rIns="0" bIns="0" rtlCol="0" anchor="t">
            <a:spAutoFit/>
          </a:bodyPr>
          <a:lstStyle/>
          <a:p>
            <a:pPr algn="ctr"/>
            <a:r>
              <a:rPr lang="zh-CN" altLang="en-US" sz="7200" dirty="0">
                <a:solidFill>
                  <a:schemeClr val="accent1">
                    <a:lumMod val="100000"/>
                  </a:schemeClr>
                </a:solidFill>
                <a:latin typeface="+mj-ea"/>
                <a:ea typeface="+mj-ea"/>
              </a:rPr>
              <a:t>输入你的封面大标题</a:t>
            </a:r>
          </a:p>
        </p:txBody>
      </p:sp>
      <p:sp>
        <p:nvSpPr>
          <p:cNvPr id="12" name="文本框 11">
            <a:extLst>
              <a:ext uri="{FF2B5EF4-FFF2-40B4-BE49-F238E27FC236}">
                <a16:creationId xmlns:a16="http://schemas.microsoft.com/office/drawing/2014/main" id="{08D1ED60-C0E7-408E-A5AA-59B489440FCB}"/>
              </a:ext>
            </a:extLst>
          </p:cNvPr>
          <p:cNvSpPr txBox="1"/>
          <p:nvPr/>
        </p:nvSpPr>
        <p:spPr>
          <a:xfrm>
            <a:off x="4095451" y="3109937"/>
            <a:ext cx="4001095" cy="369332"/>
          </a:xfrm>
          <a:prstGeom prst="rect">
            <a:avLst/>
          </a:prstGeom>
          <a:noFill/>
        </p:spPr>
        <p:txBody>
          <a:bodyPr wrap="none" lIns="0" tIns="0" rIns="0" bIns="0" rtlCol="0" anchor="t">
            <a:spAutoFit/>
          </a:bodyPr>
          <a:lstStyle/>
          <a:p>
            <a:pPr algn="ctr"/>
            <a:r>
              <a:rPr lang="zh-CN" altLang="en-US" sz="2400" dirty="0">
                <a:solidFill>
                  <a:schemeClr val="accent1">
                    <a:lumMod val="100000"/>
                  </a:schemeClr>
                </a:solidFill>
                <a:latin typeface="+mn-ea"/>
              </a:rPr>
              <a:t>输入你的副标题或大标题英文</a:t>
            </a:r>
          </a:p>
        </p:txBody>
      </p:sp>
      <p:cxnSp>
        <p:nvCxnSpPr>
          <p:cNvPr id="14" name="直接连接符 13">
            <a:extLst>
              <a:ext uri="{FF2B5EF4-FFF2-40B4-BE49-F238E27FC236}">
                <a16:creationId xmlns:a16="http://schemas.microsoft.com/office/drawing/2014/main" id="{99FDF5DC-EAFA-4C3B-B052-660243EB047F}"/>
              </a:ext>
            </a:extLst>
          </p:cNvPr>
          <p:cNvCxnSpPr/>
          <p:nvPr/>
        </p:nvCxnSpPr>
        <p:spPr>
          <a:xfrm flipH="1">
            <a:off x="2029968" y="3300389"/>
            <a:ext cx="1901952" cy="0"/>
          </a:xfrm>
          <a:prstGeom prst="line">
            <a:avLst/>
          </a:prstGeom>
          <a:ln w="19050">
            <a:solidFill>
              <a:schemeClr val="accent1">
                <a:lumMod val="100000"/>
              </a:schemeClr>
            </a:solidFill>
          </a:ln>
        </p:spPr>
        <p:style>
          <a:lnRef idx="1">
            <a:schemeClr val="accent1"/>
          </a:lnRef>
          <a:fillRef idx="0">
            <a:schemeClr val="accent1"/>
          </a:fillRef>
          <a:effectRef idx="0">
            <a:schemeClr val="accent1"/>
          </a:effectRef>
          <a:fontRef idx="minor">
            <a:schemeClr val="tx1"/>
          </a:fontRef>
        </p:style>
      </p:cxnSp>
      <p:cxnSp>
        <p:nvCxnSpPr>
          <p:cNvPr id="15" name="直接连接符 14">
            <a:extLst>
              <a:ext uri="{FF2B5EF4-FFF2-40B4-BE49-F238E27FC236}">
                <a16:creationId xmlns:a16="http://schemas.microsoft.com/office/drawing/2014/main" id="{C6CC629A-E754-4728-BB95-563C56597B63}"/>
              </a:ext>
            </a:extLst>
          </p:cNvPr>
          <p:cNvCxnSpPr/>
          <p:nvPr/>
        </p:nvCxnSpPr>
        <p:spPr>
          <a:xfrm flipH="1">
            <a:off x="8284464" y="3300389"/>
            <a:ext cx="1901952" cy="0"/>
          </a:xfrm>
          <a:prstGeom prst="line">
            <a:avLst/>
          </a:prstGeom>
          <a:ln w="19050">
            <a:solidFill>
              <a:schemeClr val="accent1">
                <a:lumMod val="100000"/>
              </a:schemeClr>
            </a:solidFill>
          </a:ln>
        </p:spPr>
        <p:style>
          <a:lnRef idx="1">
            <a:schemeClr val="accent1"/>
          </a:lnRef>
          <a:fillRef idx="0">
            <a:schemeClr val="accent1"/>
          </a:fillRef>
          <a:effectRef idx="0">
            <a:schemeClr val="accent1"/>
          </a:effectRef>
          <a:fontRef idx="minor">
            <a:schemeClr val="tx1"/>
          </a:fontRef>
        </p:style>
      </p:cxnSp>
      <p:grpSp>
        <p:nvGrpSpPr>
          <p:cNvPr id="18" name="组合 17">
            <a:extLst>
              <a:ext uri="{FF2B5EF4-FFF2-40B4-BE49-F238E27FC236}">
                <a16:creationId xmlns:a16="http://schemas.microsoft.com/office/drawing/2014/main" id="{FC799265-AC15-410F-82A2-679AB60B288F}"/>
              </a:ext>
            </a:extLst>
          </p:cNvPr>
          <p:cNvGrpSpPr/>
          <p:nvPr/>
        </p:nvGrpSpPr>
        <p:grpSpPr>
          <a:xfrm>
            <a:off x="4331702" y="4082534"/>
            <a:ext cx="1475214" cy="246221"/>
            <a:chOff x="4095451" y="4640913"/>
            <a:chExt cx="1475214" cy="246221"/>
          </a:xfrm>
        </p:grpSpPr>
        <p:sp>
          <p:nvSpPr>
            <p:cNvPr id="16" name="矩形 15">
              <a:extLst>
                <a:ext uri="{FF2B5EF4-FFF2-40B4-BE49-F238E27FC236}">
                  <a16:creationId xmlns:a16="http://schemas.microsoft.com/office/drawing/2014/main" id="{74C493E7-1B47-4349-BC5B-BF3163490795}"/>
                </a:ext>
              </a:extLst>
            </p:cNvPr>
            <p:cNvSpPr/>
            <p:nvPr/>
          </p:nvSpPr>
          <p:spPr>
            <a:xfrm>
              <a:off x="4095451" y="4672584"/>
              <a:ext cx="164592" cy="164592"/>
            </a:xfrm>
            <a:prstGeom prst="rect">
              <a:avLst/>
            </a:prstGeom>
            <a:solidFill>
              <a:schemeClr val="accent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p>
          </p:txBody>
        </p:sp>
        <p:sp>
          <p:nvSpPr>
            <p:cNvPr id="17" name="文本框 16">
              <a:extLst>
                <a:ext uri="{FF2B5EF4-FFF2-40B4-BE49-F238E27FC236}">
                  <a16:creationId xmlns:a16="http://schemas.microsoft.com/office/drawing/2014/main" id="{B804F6AA-7656-4EF8-84F0-3B3FB5CF0922}"/>
                </a:ext>
              </a:extLst>
            </p:cNvPr>
            <p:cNvSpPr txBox="1"/>
            <p:nvPr/>
          </p:nvSpPr>
          <p:spPr>
            <a:xfrm>
              <a:off x="4408487" y="4640913"/>
              <a:ext cx="1162178" cy="246221"/>
            </a:xfrm>
            <a:prstGeom prst="rect">
              <a:avLst/>
            </a:prstGeom>
            <a:noFill/>
          </p:spPr>
          <p:txBody>
            <a:bodyPr wrap="none" lIns="0" tIns="0" rIns="0" bIns="0" rtlCol="0" anchor="t">
              <a:spAutoFit/>
            </a:bodyPr>
            <a:lstStyle/>
            <a:p>
              <a:r>
                <a:rPr lang="zh-CN" altLang="en-US" sz="1600" dirty="0">
                  <a:solidFill>
                    <a:schemeClr val="accent1">
                      <a:lumMod val="100000"/>
                    </a:schemeClr>
                  </a:solidFill>
                  <a:latin typeface="+mn-ea"/>
                </a:rPr>
                <a:t>汇报人：</a:t>
              </a:r>
              <a:r>
                <a:rPr lang="en-US" altLang="zh-CN" sz="1600" dirty="0">
                  <a:solidFill>
                    <a:schemeClr val="accent1">
                      <a:lumMod val="100000"/>
                    </a:schemeClr>
                  </a:solidFill>
                  <a:latin typeface="+mn-ea"/>
                </a:rPr>
                <a:t>xxx</a:t>
              </a:r>
              <a:endParaRPr lang="zh-CN" altLang="en-US" sz="1600" dirty="0">
                <a:solidFill>
                  <a:schemeClr val="accent1">
                    <a:lumMod val="100000"/>
                  </a:schemeClr>
                </a:solidFill>
                <a:latin typeface="+mn-ea"/>
              </a:endParaRPr>
            </a:p>
          </p:txBody>
        </p:sp>
      </p:grpSp>
      <p:grpSp>
        <p:nvGrpSpPr>
          <p:cNvPr id="19" name="组合 18">
            <a:extLst>
              <a:ext uri="{FF2B5EF4-FFF2-40B4-BE49-F238E27FC236}">
                <a16:creationId xmlns:a16="http://schemas.microsoft.com/office/drawing/2014/main" id="{482B1619-178E-45D1-BC39-C5F4314075B6}"/>
              </a:ext>
            </a:extLst>
          </p:cNvPr>
          <p:cNvGrpSpPr/>
          <p:nvPr/>
        </p:nvGrpSpPr>
        <p:grpSpPr>
          <a:xfrm>
            <a:off x="6590270" y="4082534"/>
            <a:ext cx="1270029" cy="246221"/>
            <a:chOff x="4095451" y="4640913"/>
            <a:chExt cx="1270029" cy="246221"/>
          </a:xfrm>
        </p:grpSpPr>
        <p:sp>
          <p:nvSpPr>
            <p:cNvPr id="20" name="矩形 19">
              <a:extLst>
                <a:ext uri="{FF2B5EF4-FFF2-40B4-BE49-F238E27FC236}">
                  <a16:creationId xmlns:a16="http://schemas.microsoft.com/office/drawing/2014/main" id="{3A1AE345-38CE-49BE-9E58-2C20078777A3}"/>
                </a:ext>
              </a:extLst>
            </p:cNvPr>
            <p:cNvSpPr/>
            <p:nvPr/>
          </p:nvSpPr>
          <p:spPr>
            <a:xfrm>
              <a:off x="4095451" y="4672584"/>
              <a:ext cx="164592" cy="164592"/>
            </a:xfrm>
            <a:prstGeom prst="rect">
              <a:avLst/>
            </a:prstGeom>
            <a:solidFill>
              <a:schemeClr val="accent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p>
          </p:txBody>
        </p:sp>
        <p:sp>
          <p:nvSpPr>
            <p:cNvPr id="21" name="文本框 20">
              <a:extLst>
                <a:ext uri="{FF2B5EF4-FFF2-40B4-BE49-F238E27FC236}">
                  <a16:creationId xmlns:a16="http://schemas.microsoft.com/office/drawing/2014/main" id="{FCC3031D-C171-43E7-B549-82FC96054817}"/>
                </a:ext>
              </a:extLst>
            </p:cNvPr>
            <p:cNvSpPr txBox="1"/>
            <p:nvPr/>
          </p:nvSpPr>
          <p:spPr>
            <a:xfrm>
              <a:off x="4408487" y="4640913"/>
              <a:ext cx="956993" cy="246221"/>
            </a:xfrm>
            <a:prstGeom prst="rect">
              <a:avLst/>
            </a:prstGeom>
            <a:noFill/>
          </p:spPr>
          <p:txBody>
            <a:bodyPr wrap="none" lIns="0" tIns="0" rIns="0" bIns="0" rtlCol="0" anchor="t">
              <a:spAutoFit/>
            </a:bodyPr>
            <a:lstStyle/>
            <a:p>
              <a:r>
                <a:rPr lang="zh-CN" altLang="en-US" sz="1600" dirty="0">
                  <a:solidFill>
                    <a:schemeClr val="accent1">
                      <a:lumMod val="100000"/>
                    </a:schemeClr>
                  </a:solidFill>
                  <a:latin typeface="+mn-ea"/>
                </a:rPr>
                <a:t>单位：</a:t>
              </a:r>
              <a:r>
                <a:rPr lang="en-US" altLang="zh-CN" sz="1600" dirty="0">
                  <a:solidFill>
                    <a:schemeClr val="accent1">
                      <a:lumMod val="100000"/>
                    </a:schemeClr>
                  </a:solidFill>
                  <a:latin typeface="+mn-ea"/>
                </a:rPr>
                <a:t>xxx</a:t>
              </a:r>
              <a:endParaRPr lang="zh-CN" altLang="en-US" sz="1600" dirty="0">
                <a:solidFill>
                  <a:schemeClr val="accent1">
                    <a:lumMod val="100000"/>
                  </a:schemeClr>
                </a:solidFill>
                <a:latin typeface="+mn-ea"/>
              </a:endParaRPr>
            </a:p>
          </p:txBody>
        </p:sp>
      </p:grpSp>
      <p:sp>
        <p:nvSpPr>
          <p:cNvPr id="24" name="任意多边形: 形状 23">
            <a:extLst>
              <a:ext uri="{FF2B5EF4-FFF2-40B4-BE49-F238E27FC236}">
                <a16:creationId xmlns:a16="http://schemas.microsoft.com/office/drawing/2014/main" id="{72519736-A033-44B0-B003-24B3C6F3B1A4}"/>
              </a:ext>
            </a:extLst>
          </p:cNvPr>
          <p:cNvSpPr/>
          <p:nvPr/>
        </p:nvSpPr>
        <p:spPr>
          <a:xfrm>
            <a:off x="0" y="4783883"/>
            <a:ext cx="12192000" cy="2074117"/>
          </a:xfrm>
          <a:custGeom>
            <a:avLst/>
            <a:gdLst>
              <a:gd name="connsiteX0" fmla="*/ 0 w 12192000"/>
              <a:gd name="connsiteY0" fmla="*/ 0 h 2074117"/>
              <a:gd name="connsiteX1" fmla="*/ 5943613 w 12192000"/>
              <a:gd name="connsiteY1" fmla="*/ 0 h 2074117"/>
              <a:gd name="connsiteX2" fmla="*/ 6095999 w 12192000"/>
              <a:gd name="connsiteY2" fmla="*/ 262735 h 2074117"/>
              <a:gd name="connsiteX3" fmla="*/ 6248386 w 12192000"/>
              <a:gd name="connsiteY3" fmla="*/ 0 h 2074117"/>
              <a:gd name="connsiteX4" fmla="*/ 12192000 w 12192000"/>
              <a:gd name="connsiteY4" fmla="*/ 0 h 2074117"/>
              <a:gd name="connsiteX5" fmla="*/ 12192000 w 12192000"/>
              <a:gd name="connsiteY5" fmla="*/ 2074117 h 2074117"/>
              <a:gd name="connsiteX6" fmla="*/ 0 w 12192000"/>
              <a:gd name="connsiteY6" fmla="*/ 2074117 h 20741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2074117">
                <a:moveTo>
                  <a:pt x="0" y="0"/>
                </a:moveTo>
                <a:lnTo>
                  <a:pt x="5943613" y="0"/>
                </a:lnTo>
                <a:lnTo>
                  <a:pt x="6095999" y="262735"/>
                </a:lnTo>
                <a:lnTo>
                  <a:pt x="6248386" y="0"/>
                </a:lnTo>
                <a:lnTo>
                  <a:pt x="12192000" y="0"/>
                </a:lnTo>
                <a:lnTo>
                  <a:pt x="12192000" y="2074117"/>
                </a:lnTo>
                <a:lnTo>
                  <a:pt x="0" y="2074117"/>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6000" dirty="0"/>
          </a:p>
        </p:txBody>
      </p:sp>
    </p:spTree>
    <p:extLst>
      <p:ext uri="{BB962C8B-B14F-4D97-AF65-F5344CB8AC3E}">
        <p14:creationId xmlns:p14="http://schemas.microsoft.com/office/powerpoint/2010/main" val="3404510036"/>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流程图: 手动输入 1">
            <a:extLst>
              <a:ext uri="{FF2B5EF4-FFF2-40B4-BE49-F238E27FC236}">
                <a16:creationId xmlns:a16="http://schemas.microsoft.com/office/drawing/2014/main" id="{2A168D3D-BAC3-4EEC-B699-CB9C6BBA3117}"/>
              </a:ext>
            </a:extLst>
          </p:cNvPr>
          <p:cNvSpPr/>
          <p:nvPr/>
        </p:nvSpPr>
        <p:spPr>
          <a:xfrm rot="5400000">
            <a:off x="-723900" y="723899"/>
            <a:ext cx="6858002" cy="5410203"/>
          </a:xfrm>
          <a:prstGeom prst="flowChartManualInpu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grpSp>
        <p:nvGrpSpPr>
          <p:cNvPr id="4" name="组合 3">
            <a:extLst>
              <a:ext uri="{FF2B5EF4-FFF2-40B4-BE49-F238E27FC236}">
                <a16:creationId xmlns:a16="http://schemas.microsoft.com/office/drawing/2014/main" id="{1AB9244B-407C-4E4B-933D-39C6A274990E}"/>
              </a:ext>
            </a:extLst>
          </p:cNvPr>
          <p:cNvGrpSpPr/>
          <p:nvPr/>
        </p:nvGrpSpPr>
        <p:grpSpPr>
          <a:xfrm>
            <a:off x="5961115" y="2834580"/>
            <a:ext cx="4616650" cy="1384995"/>
            <a:chOff x="2008240" y="1971973"/>
            <a:chExt cx="4616650" cy="1384995"/>
          </a:xfrm>
        </p:grpSpPr>
        <p:sp>
          <p:nvSpPr>
            <p:cNvPr id="5" name="文本框 4">
              <a:extLst>
                <a:ext uri="{FF2B5EF4-FFF2-40B4-BE49-F238E27FC236}">
                  <a16:creationId xmlns:a16="http://schemas.microsoft.com/office/drawing/2014/main" id="{DACA44DF-798E-4A6F-92CB-ABEEC23E55B3}"/>
                </a:ext>
              </a:extLst>
            </p:cNvPr>
            <p:cNvSpPr txBox="1"/>
            <p:nvPr/>
          </p:nvSpPr>
          <p:spPr>
            <a:xfrm>
              <a:off x="2008241" y="1971973"/>
              <a:ext cx="4616649" cy="1107996"/>
            </a:xfrm>
            <a:prstGeom prst="rect">
              <a:avLst/>
            </a:prstGeom>
            <a:noFill/>
          </p:spPr>
          <p:txBody>
            <a:bodyPr wrap="none" lIns="0" tIns="0" rIns="0" bIns="0" rtlCol="0" anchor="t">
              <a:spAutoFit/>
            </a:bodyPr>
            <a:lstStyle/>
            <a:p>
              <a:pPr algn="ctr"/>
              <a:r>
                <a:rPr kumimoji="1" lang="zh-CN" altLang="en-US" sz="7200" dirty="0">
                  <a:solidFill>
                    <a:schemeClr val="accent1">
                      <a:lumMod val="100000"/>
                    </a:schemeClr>
                  </a:solidFill>
                  <a:latin typeface="+mj-ea"/>
                  <a:ea typeface="+mj-ea"/>
                </a:rPr>
                <a:t>过渡页标题</a:t>
              </a:r>
            </a:p>
          </p:txBody>
        </p:sp>
        <p:sp>
          <p:nvSpPr>
            <p:cNvPr id="6" name="文本框 5">
              <a:extLst>
                <a:ext uri="{FF2B5EF4-FFF2-40B4-BE49-F238E27FC236}">
                  <a16:creationId xmlns:a16="http://schemas.microsoft.com/office/drawing/2014/main" id="{BA90BCA6-BA2E-4D52-9B97-E26C546D8A8F}"/>
                </a:ext>
              </a:extLst>
            </p:cNvPr>
            <p:cNvSpPr txBox="1"/>
            <p:nvPr/>
          </p:nvSpPr>
          <p:spPr>
            <a:xfrm>
              <a:off x="2008240" y="3079969"/>
              <a:ext cx="4616649" cy="276999"/>
            </a:xfrm>
            <a:prstGeom prst="rect">
              <a:avLst/>
            </a:prstGeom>
            <a:noFill/>
          </p:spPr>
          <p:txBody>
            <a:bodyPr wrap="square" lIns="0" tIns="0" rIns="0" bIns="0" rtlCol="0" anchor="t">
              <a:spAutoFit/>
            </a:bodyPr>
            <a:lstStyle/>
            <a:p>
              <a:pPr algn="dist"/>
              <a:r>
                <a:rPr kumimoji="1" lang="en-US" altLang="zh-CN" dirty="0">
                  <a:solidFill>
                    <a:schemeClr val="accent1">
                      <a:lumMod val="100000"/>
                    </a:schemeClr>
                  </a:solidFill>
                </a:rPr>
                <a:t>Transition Page Title</a:t>
              </a:r>
              <a:endParaRPr kumimoji="1" lang="zh-CN" altLang="en-US" dirty="0">
                <a:solidFill>
                  <a:schemeClr val="accent1">
                    <a:lumMod val="100000"/>
                  </a:schemeClr>
                </a:solidFill>
              </a:endParaRPr>
            </a:p>
          </p:txBody>
        </p:sp>
      </p:grpSp>
      <p:sp>
        <p:nvSpPr>
          <p:cNvPr id="7" name="椭圆 6">
            <a:extLst>
              <a:ext uri="{FF2B5EF4-FFF2-40B4-BE49-F238E27FC236}">
                <a16:creationId xmlns:a16="http://schemas.microsoft.com/office/drawing/2014/main" id="{477D140A-9617-4057-BBE5-0F6F462FF9AB}"/>
              </a:ext>
            </a:extLst>
          </p:cNvPr>
          <p:cNvSpPr/>
          <p:nvPr/>
        </p:nvSpPr>
        <p:spPr>
          <a:xfrm>
            <a:off x="3907671" y="2540006"/>
            <a:ext cx="1777988" cy="1777988"/>
          </a:xfrm>
          <a:prstGeom prst="ellipse">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5400" dirty="0">
              <a:solidFill>
                <a:schemeClr val="bg1"/>
              </a:solidFill>
              <a:latin typeface="+mj-ea"/>
              <a:ea typeface="+mj-ea"/>
            </a:endParaRPr>
          </a:p>
        </p:txBody>
      </p:sp>
      <p:sp>
        <p:nvSpPr>
          <p:cNvPr id="3" name="椭圆 2">
            <a:extLst>
              <a:ext uri="{FF2B5EF4-FFF2-40B4-BE49-F238E27FC236}">
                <a16:creationId xmlns:a16="http://schemas.microsoft.com/office/drawing/2014/main" id="{21BCEA38-AC9D-4563-B123-2B550B53DD35}"/>
              </a:ext>
            </a:extLst>
          </p:cNvPr>
          <p:cNvSpPr/>
          <p:nvPr/>
        </p:nvSpPr>
        <p:spPr>
          <a:xfrm>
            <a:off x="4006090" y="2638425"/>
            <a:ext cx="1581150" cy="158115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5400" dirty="0">
                <a:solidFill>
                  <a:schemeClr val="bg1"/>
                </a:solidFill>
                <a:latin typeface="+mj-ea"/>
                <a:ea typeface="+mj-ea"/>
              </a:rPr>
              <a:t>01</a:t>
            </a:r>
            <a:endParaRPr lang="zh-CN" altLang="en-US" sz="5400" dirty="0">
              <a:solidFill>
                <a:schemeClr val="bg1"/>
              </a:solidFill>
              <a:latin typeface="+mj-ea"/>
              <a:ea typeface="+mj-ea"/>
            </a:endParaRPr>
          </a:p>
        </p:txBody>
      </p:sp>
      <p:sp>
        <p:nvSpPr>
          <p:cNvPr id="8" name="直角三角形 7">
            <a:extLst>
              <a:ext uri="{FF2B5EF4-FFF2-40B4-BE49-F238E27FC236}">
                <a16:creationId xmlns:a16="http://schemas.microsoft.com/office/drawing/2014/main" id="{722198D6-E326-4AA6-BFBE-0FAC55A89925}"/>
              </a:ext>
            </a:extLst>
          </p:cNvPr>
          <p:cNvSpPr/>
          <p:nvPr/>
        </p:nvSpPr>
        <p:spPr>
          <a:xfrm rot="10800000">
            <a:off x="11877672" y="0"/>
            <a:ext cx="314328" cy="1638300"/>
          </a:xfrm>
          <a:prstGeom prst="rtTriangle">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9" name="任意多边形: 形状 8">
            <a:extLst>
              <a:ext uri="{FF2B5EF4-FFF2-40B4-BE49-F238E27FC236}">
                <a16:creationId xmlns:a16="http://schemas.microsoft.com/office/drawing/2014/main" id="{A10093AE-90F4-47BE-89CF-90AB40F10B59}"/>
              </a:ext>
            </a:extLst>
          </p:cNvPr>
          <p:cNvSpPr/>
          <p:nvPr/>
        </p:nvSpPr>
        <p:spPr>
          <a:xfrm>
            <a:off x="1697189" y="2869896"/>
            <a:ext cx="1219200" cy="1118208"/>
          </a:xfrm>
          <a:custGeom>
            <a:avLst/>
            <a:gdLst>
              <a:gd name="connsiteX0" fmla="*/ 1006264 w 1331826"/>
              <a:gd name="connsiteY0" fmla="*/ 238125 h 1221507"/>
              <a:gd name="connsiteX1" fmla="*/ 1123466 w 1331826"/>
              <a:gd name="connsiteY1" fmla="*/ 355327 h 1221507"/>
              <a:gd name="connsiteX2" fmla="*/ 1006264 w 1331826"/>
              <a:gd name="connsiteY2" fmla="*/ 472529 h 1221507"/>
              <a:gd name="connsiteX3" fmla="*/ 889062 w 1331826"/>
              <a:gd name="connsiteY3" fmla="*/ 355327 h 1221507"/>
              <a:gd name="connsiteX4" fmla="*/ 1006264 w 1331826"/>
              <a:gd name="connsiteY4" fmla="*/ 238125 h 1221507"/>
              <a:gd name="connsiteX5" fmla="*/ 172827 w 1331826"/>
              <a:gd name="connsiteY5" fmla="*/ 104180 h 1221507"/>
              <a:gd name="connsiteX6" fmla="*/ 105482 w 1331826"/>
              <a:gd name="connsiteY6" fmla="*/ 171152 h 1221507"/>
              <a:gd name="connsiteX7" fmla="*/ 105482 w 1331826"/>
              <a:gd name="connsiteY7" fmla="*/ 726281 h 1221507"/>
              <a:gd name="connsiteX8" fmla="*/ 179152 w 1331826"/>
              <a:gd name="connsiteY8" fmla="*/ 599777 h 1221507"/>
              <a:gd name="connsiteX9" fmla="*/ 303795 w 1331826"/>
              <a:gd name="connsiteY9" fmla="*/ 490761 h 1221507"/>
              <a:gd name="connsiteX10" fmla="*/ 414300 w 1331826"/>
              <a:gd name="connsiteY10" fmla="*/ 507504 h 1221507"/>
              <a:gd name="connsiteX11" fmla="*/ 731676 w 1331826"/>
              <a:gd name="connsiteY11" fmla="*/ 856878 h 1221507"/>
              <a:gd name="connsiteX12" fmla="*/ 780790 w 1331826"/>
              <a:gd name="connsiteY12" fmla="*/ 791022 h 1221507"/>
              <a:gd name="connsiteX13" fmla="*/ 988777 w 1331826"/>
              <a:gd name="connsiteY13" fmla="*/ 633264 h 1221507"/>
              <a:gd name="connsiteX14" fmla="*/ 1093329 w 1331826"/>
              <a:gd name="connsiteY14" fmla="*/ 666006 h 1221507"/>
              <a:gd name="connsiteX15" fmla="*/ 1227646 w 1331826"/>
              <a:gd name="connsiteY15" fmla="*/ 821159 h 1221507"/>
              <a:gd name="connsiteX16" fmla="*/ 1227646 w 1331826"/>
              <a:gd name="connsiteY16" fmla="*/ 171152 h 1221507"/>
              <a:gd name="connsiteX17" fmla="*/ 1160673 w 1331826"/>
              <a:gd name="connsiteY17" fmla="*/ 104180 h 1221507"/>
              <a:gd name="connsiteX18" fmla="*/ 172827 w 1331826"/>
              <a:gd name="connsiteY18" fmla="*/ 0 h 1221507"/>
              <a:gd name="connsiteX19" fmla="*/ 1160673 w 1331826"/>
              <a:gd name="connsiteY19" fmla="*/ 0 h 1221507"/>
              <a:gd name="connsiteX20" fmla="*/ 1331826 w 1331826"/>
              <a:gd name="connsiteY20" fmla="*/ 171152 h 1221507"/>
              <a:gd name="connsiteX21" fmla="*/ 1331826 w 1331826"/>
              <a:gd name="connsiteY21" fmla="*/ 1050355 h 1221507"/>
              <a:gd name="connsiteX22" fmla="*/ 1160673 w 1331826"/>
              <a:gd name="connsiteY22" fmla="*/ 1221507 h 1221507"/>
              <a:gd name="connsiteX23" fmla="*/ 172827 w 1331826"/>
              <a:gd name="connsiteY23" fmla="*/ 1221507 h 1221507"/>
              <a:gd name="connsiteX24" fmla="*/ 1674 w 1331826"/>
              <a:gd name="connsiteY24" fmla="*/ 1050355 h 1221507"/>
              <a:gd name="connsiteX25" fmla="*/ 1674 w 1331826"/>
              <a:gd name="connsiteY25" fmla="*/ 1006450 h 1221507"/>
              <a:gd name="connsiteX26" fmla="*/ 1674 w 1331826"/>
              <a:gd name="connsiteY26" fmla="*/ 980405 h 1221507"/>
              <a:gd name="connsiteX27" fmla="*/ 1674 w 1331826"/>
              <a:gd name="connsiteY27" fmla="*/ 171152 h 1221507"/>
              <a:gd name="connsiteX28" fmla="*/ 172827 w 1331826"/>
              <a:gd name="connsiteY28" fmla="*/ 0 h 1221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31826" h="1221507">
                <a:moveTo>
                  <a:pt x="1006264" y="238125"/>
                </a:moveTo>
                <a:cubicBezTo>
                  <a:pt x="1070993" y="238125"/>
                  <a:pt x="1123466" y="290598"/>
                  <a:pt x="1123466" y="355327"/>
                </a:cubicBezTo>
                <a:cubicBezTo>
                  <a:pt x="1123466" y="420056"/>
                  <a:pt x="1070993" y="472529"/>
                  <a:pt x="1006264" y="472529"/>
                </a:cubicBezTo>
                <a:cubicBezTo>
                  <a:pt x="941535" y="472529"/>
                  <a:pt x="889062" y="420056"/>
                  <a:pt x="889062" y="355327"/>
                </a:cubicBezTo>
                <a:cubicBezTo>
                  <a:pt x="889062" y="290598"/>
                  <a:pt x="941535" y="238125"/>
                  <a:pt x="1006264" y="238125"/>
                </a:cubicBezTo>
                <a:close/>
                <a:moveTo>
                  <a:pt x="172827" y="104180"/>
                </a:moveTo>
                <a:cubicBezTo>
                  <a:pt x="135620" y="104180"/>
                  <a:pt x="105854" y="133945"/>
                  <a:pt x="105482" y="171152"/>
                </a:cubicBezTo>
                <a:lnTo>
                  <a:pt x="105482" y="726281"/>
                </a:lnTo>
                <a:cubicBezTo>
                  <a:pt x="130411" y="676424"/>
                  <a:pt x="154967" y="634008"/>
                  <a:pt x="179152" y="599777"/>
                </a:cubicBezTo>
                <a:cubicBezTo>
                  <a:pt x="220824" y="540246"/>
                  <a:pt x="261751" y="504527"/>
                  <a:pt x="303795" y="490761"/>
                </a:cubicBezTo>
                <a:cubicBezTo>
                  <a:pt x="342491" y="478110"/>
                  <a:pt x="380442" y="483691"/>
                  <a:pt x="414300" y="507504"/>
                </a:cubicBezTo>
                <a:cubicBezTo>
                  <a:pt x="528526" y="587871"/>
                  <a:pt x="663215" y="762372"/>
                  <a:pt x="731676" y="856878"/>
                </a:cubicBezTo>
                <a:cubicBezTo>
                  <a:pt x="745443" y="837158"/>
                  <a:pt x="762186" y="814090"/>
                  <a:pt x="780790" y="791022"/>
                </a:cubicBezTo>
                <a:cubicBezTo>
                  <a:pt x="858552" y="693911"/>
                  <a:pt x="926641" y="642193"/>
                  <a:pt x="988777" y="633264"/>
                </a:cubicBezTo>
                <a:cubicBezTo>
                  <a:pt x="1028216" y="627683"/>
                  <a:pt x="1064307" y="638845"/>
                  <a:pt x="1093329" y="666006"/>
                </a:cubicBezTo>
                <a:cubicBezTo>
                  <a:pt x="1142070" y="711398"/>
                  <a:pt x="1188951" y="768697"/>
                  <a:pt x="1227646" y="821159"/>
                </a:cubicBezTo>
                <a:lnTo>
                  <a:pt x="1227646" y="171152"/>
                </a:lnTo>
                <a:cubicBezTo>
                  <a:pt x="1227646" y="134317"/>
                  <a:pt x="1197508" y="104180"/>
                  <a:pt x="1160673" y="104180"/>
                </a:cubicBezTo>
                <a:close/>
                <a:moveTo>
                  <a:pt x="172827" y="0"/>
                </a:moveTo>
                <a:lnTo>
                  <a:pt x="1160673" y="0"/>
                </a:lnTo>
                <a:cubicBezTo>
                  <a:pt x="1255179" y="0"/>
                  <a:pt x="1331826" y="76646"/>
                  <a:pt x="1331826" y="171152"/>
                </a:cubicBezTo>
                <a:lnTo>
                  <a:pt x="1331826" y="1050355"/>
                </a:lnTo>
                <a:cubicBezTo>
                  <a:pt x="1331826" y="1144860"/>
                  <a:pt x="1255179" y="1221507"/>
                  <a:pt x="1160673" y="1221507"/>
                </a:cubicBezTo>
                <a:lnTo>
                  <a:pt x="172827" y="1221507"/>
                </a:lnTo>
                <a:cubicBezTo>
                  <a:pt x="78321" y="1221507"/>
                  <a:pt x="1674" y="1144860"/>
                  <a:pt x="1674" y="1050355"/>
                </a:cubicBezTo>
                <a:lnTo>
                  <a:pt x="1674" y="1006450"/>
                </a:lnTo>
                <a:cubicBezTo>
                  <a:pt x="-558" y="997893"/>
                  <a:pt x="-558" y="989335"/>
                  <a:pt x="1674" y="980405"/>
                </a:cubicBezTo>
                <a:lnTo>
                  <a:pt x="1674" y="171152"/>
                </a:lnTo>
                <a:cubicBezTo>
                  <a:pt x="1674" y="76646"/>
                  <a:pt x="78321" y="0"/>
                  <a:pt x="172827" y="0"/>
                </a:cubicBezTo>
                <a:close/>
              </a:path>
            </a:pathLst>
          </a:custGeom>
          <a:solidFill>
            <a:schemeClr val="bg1"/>
          </a:solidFill>
          <a:ln w="1860" cap="flat">
            <a:noFill/>
            <a:prstDash val="solid"/>
            <a:miter/>
          </a:ln>
        </p:spPr>
        <p:txBody>
          <a:bodyPr rtlCol="0" anchor="ctr"/>
          <a:lstStyle/>
          <a:p>
            <a:endParaRPr lang="zh-CN" altLang="en-US"/>
          </a:p>
        </p:txBody>
      </p:sp>
    </p:spTree>
    <p:extLst>
      <p:ext uri="{BB962C8B-B14F-4D97-AF65-F5344CB8AC3E}">
        <p14:creationId xmlns:p14="http://schemas.microsoft.com/office/powerpoint/2010/main" val="2318645378"/>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任意多边形: 形状 1">
            <a:extLst>
              <a:ext uri="{FF2B5EF4-FFF2-40B4-BE49-F238E27FC236}">
                <a16:creationId xmlns:a16="http://schemas.microsoft.com/office/drawing/2014/main" id="{C31D5213-D861-4793-8862-59F593B2A28F}"/>
              </a:ext>
            </a:extLst>
          </p:cNvPr>
          <p:cNvSpPr/>
          <p:nvPr/>
        </p:nvSpPr>
        <p:spPr>
          <a:xfrm>
            <a:off x="0" y="0"/>
            <a:ext cx="12192000" cy="3619500"/>
          </a:xfrm>
          <a:custGeom>
            <a:avLst/>
            <a:gdLst>
              <a:gd name="connsiteX0" fmla="*/ 0 w 12192000"/>
              <a:gd name="connsiteY0" fmla="*/ 0 h 5152104"/>
              <a:gd name="connsiteX1" fmla="*/ 12192000 w 12192000"/>
              <a:gd name="connsiteY1" fmla="*/ 0 h 5152104"/>
              <a:gd name="connsiteX2" fmla="*/ 12192000 w 12192000"/>
              <a:gd name="connsiteY2" fmla="*/ 914400 h 5152104"/>
              <a:gd name="connsiteX3" fmla="*/ 12192000 w 12192000"/>
              <a:gd name="connsiteY3" fmla="*/ 2273300 h 5152104"/>
              <a:gd name="connsiteX4" fmla="*/ 12192000 w 12192000"/>
              <a:gd name="connsiteY4" fmla="*/ 3817006 h 5152104"/>
              <a:gd name="connsiteX5" fmla="*/ 12046037 w 12192000"/>
              <a:gd name="connsiteY5" fmla="*/ 3906640 h 5152104"/>
              <a:gd name="connsiteX6" fmla="*/ 6096000 w 12192000"/>
              <a:gd name="connsiteY6" fmla="*/ 5152104 h 5152104"/>
              <a:gd name="connsiteX7" fmla="*/ 145963 w 12192000"/>
              <a:gd name="connsiteY7" fmla="*/ 3906640 h 5152104"/>
              <a:gd name="connsiteX8" fmla="*/ 0 w 12192000"/>
              <a:gd name="connsiteY8" fmla="*/ 3817006 h 5152104"/>
              <a:gd name="connsiteX9" fmla="*/ 0 w 12192000"/>
              <a:gd name="connsiteY9" fmla="*/ 2273300 h 5152104"/>
              <a:gd name="connsiteX10" fmla="*/ 0 w 12192000"/>
              <a:gd name="connsiteY10" fmla="*/ 914400 h 5152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2000" h="5152104">
                <a:moveTo>
                  <a:pt x="0" y="0"/>
                </a:moveTo>
                <a:lnTo>
                  <a:pt x="12192000" y="0"/>
                </a:lnTo>
                <a:lnTo>
                  <a:pt x="12192000" y="914400"/>
                </a:lnTo>
                <a:lnTo>
                  <a:pt x="12192000" y="2273300"/>
                </a:lnTo>
                <a:lnTo>
                  <a:pt x="12192000" y="3817006"/>
                </a:lnTo>
                <a:lnTo>
                  <a:pt x="12046037" y="3906640"/>
                </a:lnTo>
                <a:cubicBezTo>
                  <a:pt x="10756548" y="4658064"/>
                  <a:pt x="8572824" y="5152104"/>
                  <a:pt x="6096000" y="5152104"/>
                </a:cubicBezTo>
                <a:cubicBezTo>
                  <a:pt x="3619176" y="5152104"/>
                  <a:pt x="1435452" y="4658064"/>
                  <a:pt x="145963" y="3906640"/>
                </a:cubicBezTo>
                <a:lnTo>
                  <a:pt x="0" y="3817006"/>
                </a:lnTo>
                <a:lnTo>
                  <a:pt x="0" y="2273300"/>
                </a:lnTo>
                <a:lnTo>
                  <a:pt x="0" y="9144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6000" dirty="0"/>
          </a:p>
        </p:txBody>
      </p:sp>
      <p:sp>
        <p:nvSpPr>
          <p:cNvPr id="3" name="矩形: 圆角 2">
            <a:extLst>
              <a:ext uri="{FF2B5EF4-FFF2-40B4-BE49-F238E27FC236}">
                <a16:creationId xmlns:a16="http://schemas.microsoft.com/office/drawing/2014/main" id="{135B6379-06BB-40B3-9801-54653B1C066D}"/>
              </a:ext>
            </a:extLst>
          </p:cNvPr>
          <p:cNvSpPr/>
          <p:nvPr/>
        </p:nvSpPr>
        <p:spPr>
          <a:xfrm>
            <a:off x="3400425" y="2719387"/>
            <a:ext cx="5915025" cy="1419225"/>
          </a:xfrm>
          <a:prstGeom prst="roundRect">
            <a:avLst>
              <a:gd name="adj" fmla="val 50000"/>
            </a:avLst>
          </a:prstGeom>
          <a:solidFill>
            <a:schemeClr val="accent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6000">
                <a:solidFill>
                  <a:schemeClr val="bg1"/>
                </a:solidFill>
                <a:latin typeface="+mj-ea"/>
                <a:ea typeface="+mj-ea"/>
              </a:rPr>
              <a:t>过渡页标题</a:t>
            </a:r>
            <a:endParaRPr kumimoji="1" lang="zh-CN" altLang="en-US" sz="6000" dirty="0">
              <a:solidFill>
                <a:schemeClr val="bg1"/>
              </a:solidFill>
              <a:latin typeface="+mj-ea"/>
              <a:ea typeface="+mj-ea"/>
            </a:endParaRPr>
          </a:p>
        </p:txBody>
      </p:sp>
      <p:sp>
        <p:nvSpPr>
          <p:cNvPr id="5" name="文本框 4">
            <a:extLst>
              <a:ext uri="{FF2B5EF4-FFF2-40B4-BE49-F238E27FC236}">
                <a16:creationId xmlns:a16="http://schemas.microsoft.com/office/drawing/2014/main" id="{9A0307EC-8771-4613-904A-89D23B1CCE2A}"/>
              </a:ext>
            </a:extLst>
          </p:cNvPr>
          <p:cNvSpPr txBox="1"/>
          <p:nvPr/>
        </p:nvSpPr>
        <p:spPr>
          <a:xfrm>
            <a:off x="4847261" y="1892498"/>
            <a:ext cx="2497480" cy="615553"/>
          </a:xfrm>
          <a:prstGeom prst="rect">
            <a:avLst/>
          </a:prstGeom>
          <a:noFill/>
        </p:spPr>
        <p:txBody>
          <a:bodyPr wrap="none" lIns="0" tIns="0" rIns="0" bIns="0" rtlCol="0" anchor="t">
            <a:spAutoFit/>
          </a:bodyPr>
          <a:lstStyle/>
          <a:p>
            <a:pPr algn="ctr"/>
            <a:r>
              <a:rPr lang="en-US" altLang="zh-CN" sz="4000" dirty="0">
                <a:solidFill>
                  <a:schemeClr val="bg1"/>
                </a:solidFill>
              </a:rPr>
              <a:t>PART ONE</a:t>
            </a:r>
            <a:endParaRPr lang="zh-CN" altLang="en-US" sz="4000" dirty="0">
              <a:solidFill>
                <a:schemeClr val="bg1"/>
              </a:solidFill>
            </a:endParaRPr>
          </a:p>
        </p:txBody>
      </p:sp>
      <p:sp>
        <p:nvSpPr>
          <p:cNvPr id="6" name="文本框 5">
            <a:extLst>
              <a:ext uri="{FF2B5EF4-FFF2-40B4-BE49-F238E27FC236}">
                <a16:creationId xmlns:a16="http://schemas.microsoft.com/office/drawing/2014/main" id="{C9DE9FC2-C929-46C2-92EE-47878CB8F58C}"/>
              </a:ext>
            </a:extLst>
          </p:cNvPr>
          <p:cNvSpPr txBox="1"/>
          <p:nvPr/>
        </p:nvSpPr>
        <p:spPr>
          <a:xfrm>
            <a:off x="4049612" y="4349948"/>
            <a:ext cx="4616649" cy="276999"/>
          </a:xfrm>
          <a:prstGeom prst="rect">
            <a:avLst/>
          </a:prstGeom>
          <a:noFill/>
        </p:spPr>
        <p:txBody>
          <a:bodyPr wrap="square" lIns="0" tIns="0" rIns="0" bIns="0" rtlCol="0" anchor="t">
            <a:spAutoFit/>
          </a:bodyPr>
          <a:lstStyle/>
          <a:p>
            <a:pPr algn="dist"/>
            <a:r>
              <a:rPr kumimoji="1" lang="en-US" altLang="zh-CN" dirty="0">
                <a:solidFill>
                  <a:schemeClr val="accent1">
                    <a:lumMod val="100000"/>
                  </a:schemeClr>
                </a:solidFill>
              </a:rPr>
              <a:t>Transition Page Title</a:t>
            </a:r>
            <a:endParaRPr kumimoji="1" lang="zh-CN" altLang="en-US" dirty="0">
              <a:solidFill>
                <a:schemeClr val="accent1">
                  <a:lumMod val="100000"/>
                </a:schemeClr>
              </a:solidFill>
            </a:endParaRPr>
          </a:p>
        </p:txBody>
      </p:sp>
    </p:spTree>
    <p:extLst>
      <p:ext uri="{BB962C8B-B14F-4D97-AF65-F5344CB8AC3E}">
        <p14:creationId xmlns:p14="http://schemas.microsoft.com/office/powerpoint/2010/main" val="4053612736"/>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菱形 1">
            <a:extLst>
              <a:ext uri="{FF2B5EF4-FFF2-40B4-BE49-F238E27FC236}">
                <a16:creationId xmlns:a16="http://schemas.microsoft.com/office/drawing/2014/main" id="{F9665C7B-595A-48A6-BF86-EB60B59304E3}"/>
              </a:ext>
            </a:extLst>
          </p:cNvPr>
          <p:cNvSpPr/>
          <p:nvPr/>
        </p:nvSpPr>
        <p:spPr>
          <a:xfrm>
            <a:off x="628650" y="952500"/>
            <a:ext cx="4953000" cy="4953000"/>
          </a:xfrm>
          <a:prstGeom prst="diamond">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3" name="菱形 2">
            <a:extLst>
              <a:ext uri="{FF2B5EF4-FFF2-40B4-BE49-F238E27FC236}">
                <a16:creationId xmlns:a16="http://schemas.microsoft.com/office/drawing/2014/main" id="{EED9F434-AF9B-460F-BA24-FC8423427EF9}"/>
              </a:ext>
            </a:extLst>
          </p:cNvPr>
          <p:cNvSpPr/>
          <p:nvPr/>
        </p:nvSpPr>
        <p:spPr>
          <a:xfrm>
            <a:off x="2200275" y="1619250"/>
            <a:ext cx="3619500" cy="3619500"/>
          </a:xfrm>
          <a:prstGeom prst="diamond">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4" name="文本框 3">
            <a:extLst>
              <a:ext uri="{FF2B5EF4-FFF2-40B4-BE49-F238E27FC236}">
                <a16:creationId xmlns:a16="http://schemas.microsoft.com/office/drawing/2014/main" id="{486CD014-D81B-49EA-A57B-5B51A82698F7}"/>
              </a:ext>
            </a:extLst>
          </p:cNvPr>
          <p:cNvSpPr txBox="1"/>
          <p:nvPr/>
        </p:nvSpPr>
        <p:spPr>
          <a:xfrm>
            <a:off x="3426531" y="2813447"/>
            <a:ext cx="1166987" cy="1231106"/>
          </a:xfrm>
          <a:prstGeom prst="rect">
            <a:avLst/>
          </a:prstGeom>
          <a:noFill/>
        </p:spPr>
        <p:txBody>
          <a:bodyPr wrap="none" lIns="0" tIns="0" rIns="0" bIns="0" rtlCol="0" anchor="t">
            <a:spAutoFit/>
          </a:bodyPr>
          <a:lstStyle/>
          <a:p>
            <a:pPr algn="ctr"/>
            <a:r>
              <a:rPr lang="en-US" altLang="zh-CN" sz="8000" dirty="0">
                <a:solidFill>
                  <a:schemeClr val="bg1"/>
                </a:solidFill>
                <a:latin typeface="+mj-ea"/>
                <a:ea typeface="+mj-ea"/>
              </a:rPr>
              <a:t>01</a:t>
            </a:r>
            <a:endParaRPr lang="zh-CN" altLang="en-US" sz="8000" dirty="0">
              <a:solidFill>
                <a:schemeClr val="bg1"/>
              </a:solidFill>
              <a:latin typeface="+mj-ea"/>
              <a:ea typeface="+mj-ea"/>
            </a:endParaRPr>
          </a:p>
        </p:txBody>
      </p:sp>
      <p:grpSp>
        <p:nvGrpSpPr>
          <p:cNvPr id="5" name="组合 4">
            <a:extLst>
              <a:ext uri="{FF2B5EF4-FFF2-40B4-BE49-F238E27FC236}">
                <a16:creationId xmlns:a16="http://schemas.microsoft.com/office/drawing/2014/main" id="{B5993BA6-1FC0-4D59-94EC-7F274E7A0CCA}"/>
              </a:ext>
            </a:extLst>
          </p:cNvPr>
          <p:cNvGrpSpPr/>
          <p:nvPr/>
        </p:nvGrpSpPr>
        <p:grpSpPr>
          <a:xfrm>
            <a:off x="6096000" y="2813447"/>
            <a:ext cx="4616650" cy="1384995"/>
            <a:chOff x="2008240" y="1971973"/>
            <a:chExt cx="4616650" cy="1384995"/>
          </a:xfrm>
        </p:grpSpPr>
        <p:sp>
          <p:nvSpPr>
            <p:cNvPr id="6" name="文本框 5">
              <a:extLst>
                <a:ext uri="{FF2B5EF4-FFF2-40B4-BE49-F238E27FC236}">
                  <a16:creationId xmlns:a16="http://schemas.microsoft.com/office/drawing/2014/main" id="{9AAC1082-FE68-4B5C-8C57-51CB0CB07EC3}"/>
                </a:ext>
              </a:extLst>
            </p:cNvPr>
            <p:cNvSpPr txBox="1"/>
            <p:nvPr/>
          </p:nvSpPr>
          <p:spPr>
            <a:xfrm>
              <a:off x="2008241" y="1971973"/>
              <a:ext cx="4616649" cy="1107996"/>
            </a:xfrm>
            <a:prstGeom prst="rect">
              <a:avLst/>
            </a:prstGeom>
            <a:noFill/>
          </p:spPr>
          <p:txBody>
            <a:bodyPr wrap="none" lIns="0" tIns="0" rIns="0" bIns="0" rtlCol="0" anchor="t">
              <a:spAutoFit/>
            </a:bodyPr>
            <a:lstStyle/>
            <a:p>
              <a:pPr algn="ctr"/>
              <a:r>
                <a:rPr kumimoji="1" lang="zh-CN" altLang="en-US" sz="7200" dirty="0">
                  <a:solidFill>
                    <a:schemeClr val="accent1">
                      <a:lumMod val="100000"/>
                    </a:schemeClr>
                  </a:solidFill>
                  <a:latin typeface="+mj-ea"/>
                  <a:ea typeface="+mj-ea"/>
                </a:rPr>
                <a:t>过渡页标题</a:t>
              </a:r>
            </a:p>
          </p:txBody>
        </p:sp>
        <p:sp>
          <p:nvSpPr>
            <p:cNvPr id="7" name="文本框 6">
              <a:extLst>
                <a:ext uri="{FF2B5EF4-FFF2-40B4-BE49-F238E27FC236}">
                  <a16:creationId xmlns:a16="http://schemas.microsoft.com/office/drawing/2014/main" id="{39F6C5A0-2386-4404-8A7D-127C2D7F2F67}"/>
                </a:ext>
              </a:extLst>
            </p:cNvPr>
            <p:cNvSpPr txBox="1"/>
            <p:nvPr/>
          </p:nvSpPr>
          <p:spPr>
            <a:xfrm>
              <a:off x="2008240" y="3079969"/>
              <a:ext cx="4616649" cy="276999"/>
            </a:xfrm>
            <a:prstGeom prst="rect">
              <a:avLst/>
            </a:prstGeom>
            <a:noFill/>
          </p:spPr>
          <p:txBody>
            <a:bodyPr wrap="square" lIns="0" tIns="0" rIns="0" bIns="0" rtlCol="0" anchor="t">
              <a:spAutoFit/>
            </a:bodyPr>
            <a:lstStyle/>
            <a:p>
              <a:pPr algn="dist"/>
              <a:r>
                <a:rPr kumimoji="1" lang="en-US" altLang="zh-CN" dirty="0">
                  <a:solidFill>
                    <a:schemeClr val="accent1">
                      <a:lumMod val="100000"/>
                    </a:schemeClr>
                  </a:solidFill>
                </a:rPr>
                <a:t>Transition Page Title</a:t>
              </a:r>
              <a:endParaRPr kumimoji="1" lang="zh-CN" altLang="en-US" dirty="0">
                <a:solidFill>
                  <a:schemeClr val="accent1">
                    <a:lumMod val="100000"/>
                  </a:schemeClr>
                </a:solidFill>
              </a:endParaRPr>
            </a:p>
          </p:txBody>
        </p:sp>
      </p:grpSp>
      <p:sp>
        <p:nvSpPr>
          <p:cNvPr id="10" name="任意多边形: 形状 9">
            <a:extLst>
              <a:ext uri="{FF2B5EF4-FFF2-40B4-BE49-F238E27FC236}">
                <a16:creationId xmlns:a16="http://schemas.microsoft.com/office/drawing/2014/main" id="{79AB21AC-D56D-490E-BE23-33C9F0B4B934}"/>
              </a:ext>
            </a:extLst>
          </p:cNvPr>
          <p:cNvSpPr/>
          <p:nvPr/>
        </p:nvSpPr>
        <p:spPr>
          <a:xfrm>
            <a:off x="0" y="0"/>
            <a:ext cx="1147762" cy="1147762"/>
          </a:xfrm>
          <a:custGeom>
            <a:avLst/>
            <a:gdLst>
              <a:gd name="connsiteX0" fmla="*/ 0 w 1147762"/>
              <a:gd name="connsiteY0" fmla="*/ 0 h 1147762"/>
              <a:gd name="connsiteX1" fmla="*/ 1147762 w 1147762"/>
              <a:gd name="connsiteY1" fmla="*/ 0 h 1147762"/>
              <a:gd name="connsiteX2" fmla="*/ 0 w 1147762"/>
              <a:gd name="connsiteY2" fmla="*/ 1147762 h 1147762"/>
            </a:gdLst>
            <a:ahLst/>
            <a:cxnLst>
              <a:cxn ang="0">
                <a:pos x="connsiteX0" y="connsiteY0"/>
              </a:cxn>
              <a:cxn ang="0">
                <a:pos x="connsiteX1" y="connsiteY1"/>
              </a:cxn>
              <a:cxn ang="0">
                <a:pos x="connsiteX2" y="connsiteY2"/>
              </a:cxn>
            </a:cxnLst>
            <a:rect l="l" t="t" r="r" b="b"/>
            <a:pathLst>
              <a:path w="1147762" h="1147762">
                <a:moveTo>
                  <a:pt x="0" y="0"/>
                </a:moveTo>
                <a:lnTo>
                  <a:pt x="1147762" y="0"/>
                </a:lnTo>
                <a:lnTo>
                  <a:pt x="0" y="1147762"/>
                </a:lnTo>
                <a:close/>
              </a:path>
            </a:pathLst>
          </a:cu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l"/>
            <a:endParaRPr lang="zh-CN" altLang="en-US" sz="1600">
              <a:solidFill>
                <a:schemeClr val="bg1"/>
              </a:solidFill>
              <a:latin typeface="+mj-ea"/>
              <a:ea typeface="+mj-ea"/>
            </a:endParaRPr>
          </a:p>
        </p:txBody>
      </p:sp>
      <p:sp>
        <p:nvSpPr>
          <p:cNvPr id="15" name="任意多边形: 形状 14">
            <a:extLst>
              <a:ext uri="{FF2B5EF4-FFF2-40B4-BE49-F238E27FC236}">
                <a16:creationId xmlns:a16="http://schemas.microsoft.com/office/drawing/2014/main" id="{4D8A8CD4-74F9-4F0E-B845-C8A45E4C5BDD}"/>
              </a:ext>
            </a:extLst>
          </p:cNvPr>
          <p:cNvSpPr/>
          <p:nvPr/>
        </p:nvSpPr>
        <p:spPr>
          <a:xfrm>
            <a:off x="8943382" y="6024266"/>
            <a:ext cx="1667468" cy="833734"/>
          </a:xfrm>
          <a:custGeom>
            <a:avLst/>
            <a:gdLst>
              <a:gd name="connsiteX0" fmla="*/ 833734 w 1667468"/>
              <a:gd name="connsiteY0" fmla="*/ 0 h 833734"/>
              <a:gd name="connsiteX1" fmla="*/ 1667468 w 1667468"/>
              <a:gd name="connsiteY1" fmla="*/ 833734 h 833734"/>
              <a:gd name="connsiteX2" fmla="*/ 0 w 1667468"/>
              <a:gd name="connsiteY2" fmla="*/ 833734 h 833734"/>
            </a:gdLst>
            <a:ahLst/>
            <a:cxnLst>
              <a:cxn ang="0">
                <a:pos x="connsiteX0" y="connsiteY0"/>
              </a:cxn>
              <a:cxn ang="0">
                <a:pos x="connsiteX1" y="connsiteY1"/>
              </a:cxn>
              <a:cxn ang="0">
                <a:pos x="connsiteX2" y="connsiteY2"/>
              </a:cxn>
            </a:cxnLst>
            <a:rect l="l" t="t" r="r" b="b"/>
            <a:pathLst>
              <a:path w="1667468" h="833734">
                <a:moveTo>
                  <a:pt x="833734" y="0"/>
                </a:moveTo>
                <a:lnTo>
                  <a:pt x="1667468" y="833734"/>
                </a:lnTo>
                <a:lnTo>
                  <a:pt x="0" y="833734"/>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l"/>
            <a:endParaRPr lang="zh-CN" altLang="en-US" sz="1600">
              <a:solidFill>
                <a:schemeClr val="bg1"/>
              </a:solidFill>
              <a:latin typeface="+mj-ea"/>
              <a:ea typeface="+mj-ea"/>
            </a:endParaRPr>
          </a:p>
        </p:txBody>
      </p:sp>
      <p:sp>
        <p:nvSpPr>
          <p:cNvPr id="13" name="菱形 12">
            <a:extLst>
              <a:ext uri="{FF2B5EF4-FFF2-40B4-BE49-F238E27FC236}">
                <a16:creationId xmlns:a16="http://schemas.microsoft.com/office/drawing/2014/main" id="{B51A6F3C-7550-4425-8139-A2A28950D239}"/>
              </a:ext>
            </a:extLst>
          </p:cNvPr>
          <p:cNvSpPr/>
          <p:nvPr/>
        </p:nvSpPr>
        <p:spPr>
          <a:xfrm>
            <a:off x="10283579" y="6024266"/>
            <a:ext cx="572093" cy="572093"/>
          </a:xfrm>
          <a:prstGeom prst="diamond">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16" name="菱形 15">
            <a:extLst>
              <a:ext uri="{FF2B5EF4-FFF2-40B4-BE49-F238E27FC236}">
                <a16:creationId xmlns:a16="http://schemas.microsoft.com/office/drawing/2014/main" id="{06BFFAA5-45A7-4168-A474-0557EC839A9D}"/>
              </a:ext>
            </a:extLst>
          </p:cNvPr>
          <p:cNvSpPr/>
          <p:nvPr/>
        </p:nvSpPr>
        <p:spPr>
          <a:xfrm>
            <a:off x="10130882" y="5738219"/>
            <a:ext cx="286047" cy="286047"/>
          </a:xfrm>
          <a:prstGeom prst="diamond">
            <a:avLst/>
          </a:prstGeom>
          <a:solidFill>
            <a:schemeClr val="accent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Tree>
    <p:extLst>
      <p:ext uri="{BB962C8B-B14F-4D97-AF65-F5344CB8AC3E}">
        <p14:creationId xmlns:p14="http://schemas.microsoft.com/office/powerpoint/2010/main" val="320685834"/>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a:extLst>
              <a:ext uri="{FF2B5EF4-FFF2-40B4-BE49-F238E27FC236}">
                <a16:creationId xmlns:a16="http://schemas.microsoft.com/office/drawing/2014/main" id="{97236CC0-D240-42BC-BE1B-EA554D6904C0}"/>
              </a:ext>
            </a:extLst>
          </p:cNvPr>
          <p:cNvSpPr/>
          <p:nvPr/>
        </p:nvSpPr>
        <p:spPr>
          <a:xfrm>
            <a:off x="0" y="0"/>
            <a:ext cx="12192000" cy="48482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3" name="文本框 2">
            <a:extLst>
              <a:ext uri="{FF2B5EF4-FFF2-40B4-BE49-F238E27FC236}">
                <a16:creationId xmlns:a16="http://schemas.microsoft.com/office/drawing/2014/main" id="{FDE8D33A-797E-4389-BC03-8288DC50179F}"/>
              </a:ext>
            </a:extLst>
          </p:cNvPr>
          <p:cNvSpPr txBox="1"/>
          <p:nvPr/>
        </p:nvSpPr>
        <p:spPr>
          <a:xfrm>
            <a:off x="1783130" y="1400175"/>
            <a:ext cx="4185441" cy="4416594"/>
          </a:xfrm>
          <a:prstGeom prst="rect">
            <a:avLst/>
          </a:prstGeom>
          <a:noFill/>
        </p:spPr>
        <p:txBody>
          <a:bodyPr wrap="none" lIns="0" tIns="0" rIns="0" bIns="0" rtlCol="0" anchor="t">
            <a:spAutoFit/>
          </a:bodyPr>
          <a:lstStyle/>
          <a:p>
            <a:pPr algn="l"/>
            <a:r>
              <a:rPr lang="en-US" altLang="zh-CN" sz="28700" dirty="0">
                <a:solidFill>
                  <a:schemeClr val="bg1"/>
                </a:solidFill>
                <a:latin typeface="+mj-ea"/>
                <a:ea typeface="+mj-ea"/>
              </a:rPr>
              <a:t>01</a:t>
            </a:r>
            <a:endParaRPr lang="zh-CN" altLang="en-US" sz="28700" dirty="0">
              <a:solidFill>
                <a:schemeClr val="bg1"/>
              </a:solidFill>
              <a:latin typeface="+mj-ea"/>
              <a:ea typeface="+mj-ea"/>
            </a:endParaRPr>
          </a:p>
        </p:txBody>
      </p:sp>
      <p:sp>
        <p:nvSpPr>
          <p:cNvPr id="4" name="文本框 3">
            <a:extLst>
              <a:ext uri="{FF2B5EF4-FFF2-40B4-BE49-F238E27FC236}">
                <a16:creationId xmlns:a16="http://schemas.microsoft.com/office/drawing/2014/main" id="{186C8CF3-C7A9-41F4-A198-0B979C1D07DF}"/>
              </a:ext>
            </a:extLst>
          </p:cNvPr>
          <p:cNvSpPr txBox="1"/>
          <p:nvPr/>
        </p:nvSpPr>
        <p:spPr>
          <a:xfrm>
            <a:off x="5851549" y="2008613"/>
            <a:ext cx="4154985" cy="830997"/>
          </a:xfrm>
          <a:prstGeom prst="rect">
            <a:avLst/>
          </a:prstGeom>
          <a:noFill/>
        </p:spPr>
        <p:txBody>
          <a:bodyPr wrap="none" lIns="0" tIns="0" rIns="0" bIns="0" rtlCol="0" anchor="t">
            <a:spAutoFit/>
          </a:bodyPr>
          <a:lstStyle/>
          <a:p>
            <a:pPr algn="ctr"/>
            <a:r>
              <a:rPr lang="zh-CN" altLang="en-US" sz="5400" dirty="0">
                <a:solidFill>
                  <a:schemeClr val="bg1"/>
                </a:solidFill>
                <a:latin typeface="+mj-ea"/>
                <a:ea typeface="+mj-ea"/>
              </a:rPr>
              <a:t>输入目录标题</a:t>
            </a:r>
          </a:p>
        </p:txBody>
      </p:sp>
      <p:sp>
        <p:nvSpPr>
          <p:cNvPr id="5" name="文本框 4">
            <a:extLst>
              <a:ext uri="{FF2B5EF4-FFF2-40B4-BE49-F238E27FC236}">
                <a16:creationId xmlns:a16="http://schemas.microsoft.com/office/drawing/2014/main" id="{99457673-3BB6-4301-9417-6A799CB4FF60}"/>
              </a:ext>
            </a:extLst>
          </p:cNvPr>
          <p:cNvSpPr txBox="1"/>
          <p:nvPr/>
        </p:nvSpPr>
        <p:spPr>
          <a:xfrm>
            <a:off x="5851549" y="2852709"/>
            <a:ext cx="4154985" cy="276999"/>
          </a:xfrm>
          <a:prstGeom prst="rect">
            <a:avLst/>
          </a:prstGeom>
          <a:noFill/>
        </p:spPr>
        <p:txBody>
          <a:bodyPr wrap="square" lIns="0" tIns="0" rIns="0" bIns="0" rtlCol="0" anchor="t">
            <a:spAutoFit/>
          </a:bodyPr>
          <a:lstStyle/>
          <a:p>
            <a:pPr algn="dist"/>
            <a:r>
              <a:rPr lang="en-US" altLang="zh-CN" dirty="0">
                <a:solidFill>
                  <a:schemeClr val="bg1"/>
                </a:solidFill>
              </a:rPr>
              <a:t>Contents Title Here</a:t>
            </a:r>
            <a:endParaRPr lang="zh-CN" altLang="en-US" dirty="0">
              <a:solidFill>
                <a:schemeClr val="bg1"/>
              </a:solidFill>
            </a:endParaRPr>
          </a:p>
        </p:txBody>
      </p:sp>
    </p:spTree>
    <p:extLst>
      <p:ext uri="{BB962C8B-B14F-4D97-AF65-F5344CB8AC3E}">
        <p14:creationId xmlns:p14="http://schemas.microsoft.com/office/powerpoint/2010/main" val="2590670825"/>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任意多边形: 形状 7">
            <a:extLst>
              <a:ext uri="{FF2B5EF4-FFF2-40B4-BE49-F238E27FC236}">
                <a16:creationId xmlns:a16="http://schemas.microsoft.com/office/drawing/2014/main" id="{F2B5A130-83D1-4049-AAD8-93368023867F}"/>
              </a:ext>
            </a:extLst>
          </p:cNvPr>
          <p:cNvSpPr/>
          <p:nvPr/>
        </p:nvSpPr>
        <p:spPr>
          <a:xfrm>
            <a:off x="1" y="0"/>
            <a:ext cx="5778499" cy="6858000"/>
          </a:xfrm>
          <a:custGeom>
            <a:avLst/>
            <a:gdLst>
              <a:gd name="connsiteX0" fmla="*/ 0 w 6301463"/>
              <a:gd name="connsiteY0" fmla="*/ 0 h 6858000"/>
              <a:gd name="connsiteX1" fmla="*/ 4753077 w 6301463"/>
              <a:gd name="connsiteY1" fmla="*/ 0 h 6858000"/>
              <a:gd name="connsiteX2" fmla="*/ 4843289 w 6301463"/>
              <a:gd name="connsiteY2" fmla="*/ 69838 h 6858000"/>
              <a:gd name="connsiteX3" fmla="*/ 6299200 w 6301463"/>
              <a:gd name="connsiteY3" fmla="*/ 2273300 h 6858000"/>
              <a:gd name="connsiteX4" fmla="*/ 4490477 w 6301463"/>
              <a:gd name="connsiteY4" fmla="*/ 6720239 h 6858000"/>
              <a:gd name="connsiteX5" fmla="*/ 4392438 w 6301463"/>
              <a:gd name="connsiteY5" fmla="*/ 6858000 h 6858000"/>
              <a:gd name="connsiteX6" fmla="*/ 0 w 630146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01463" h="6858000">
                <a:moveTo>
                  <a:pt x="0" y="0"/>
                </a:moveTo>
                <a:lnTo>
                  <a:pt x="4753077" y="0"/>
                </a:lnTo>
                <a:lnTo>
                  <a:pt x="4843289" y="69838"/>
                </a:lnTo>
                <a:cubicBezTo>
                  <a:pt x="5553075" y="629246"/>
                  <a:pt x="6349471" y="1377686"/>
                  <a:pt x="6299200" y="2273300"/>
                </a:cubicBezTo>
                <a:cubicBezTo>
                  <a:pt x="6241389" y="3303257"/>
                  <a:pt x="5424707" y="5368733"/>
                  <a:pt x="4490477" y="6720239"/>
                </a:cubicBezTo>
                <a:lnTo>
                  <a:pt x="4392438" y="6858000"/>
                </a:lnTo>
                <a:lnTo>
                  <a:pt x="0" y="68580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l"/>
            <a:endParaRPr lang="zh-CN" altLang="en-US" sz="1600">
              <a:solidFill>
                <a:schemeClr val="bg1"/>
              </a:solidFill>
              <a:latin typeface="+mj-ea"/>
              <a:ea typeface="+mj-ea"/>
            </a:endParaRPr>
          </a:p>
        </p:txBody>
      </p:sp>
      <p:sp>
        <p:nvSpPr>
          <p:cNvPr id="9" name="文本框 8">
            <a:extLst>
              <a:ext uri="{FF2B5EF4-FFF2-40B4-BE49-F238E27FC236}">
                <a16:creationId xmlns:a16="http://schemas.microsoft.com/office/drawing/2014/main" id="{A68DC0E7-5D3F-4F09-BA64-81199EB23ED3}"/>
              </a:ext>
            </a:extLst>
          </p:cNvPr>
          <p:cNvSpPr txBox="1"/>
          <p:nvPr/>
        </p:nvSpPr>
        <p:spPr>
          <a:xfrm>
            <a:off x="1753666" y="2151727"/>
            <a:ext cx="2420534" cy="2554545"/>
          </a:xfrm>
          <a:prstGeom prst="rect">
            <a:avLst/>
          </a:prstGeom>
          <a:noFill/>
        </p:spPr>
        <p:txBody>
          <a:bodyPr wrap="none" lIns="0" tIns="0" rIns="0" bIns="0" rtlCol="0" anchor="t">
            <a:spAutoFit/>
          </a:bodyPr>
          <a:lstStyle/>
          <a:p>
            <a:pPr algn="l"/>
            <a:r>
              <a:rPr lang="en-US" altLang="zh-CN" sz="16600" dirty="0">
                <a:solidFill>
                  <a:schemeClr val="bg1"/>
                </a:solidFill>
                <a:latin typeface="+mj-ea"/>
                <a:ea typeface="+mj-ea"/>
              </a:rPr>
              <a:t>01</a:t>
            </a:r>
            <a:endParaRPr lang="zh-CN" altLang="en-US" sz="16600" dirty="0">
              <a:solidFill>
                <a:schemeClr val="bg1"/>
              </a:solidFill>
              <a:latin typeface="+mj-ea"/>
              <a:ea typeface="+mj-ea"/>
            </a:endParaRPr>
          </a:p>
        </p:txBody>
      </p:sp>
      <p:sp>
        <p:nvSpPr>
          <p:cNvPr id="10" name="文本框 9">
            <a:extLst>
              <a:ext uri="{FF2B5EF4-FFF2-40B4-BE49-F238E27FC236}">
                <a16:creationId xmlns:a16="http://schemas.microsoft.com/office/drawing/2014/main" id="{7ACFA734-3502-4707-99AE-E727AD931C9D}"/>
              </a:ext>
            </a:extLst>
          </p:cNvPr>
          <p:cNvSpPr txBox="1"/>
          <p:nvPr/>
        </p:nvSpPr>
        <p:spPr>
          <a:xfrm>
            <a:off x="4174200" y="2501900"/>
            <a:ext cx="307777" cy="1248740"/>
          </a:xfrm>
          <a:prstGeom prst="rect">
            <a:avLst/>
          </a:prstGeom>
          <a:noFill/>
        </p:spPr>
        <p:txBody>
          <a:bodyPr vert="eaVert" wrap="none" lIns="0" tIns="0" rIns="0" bIns="0" rtlCol="0" anchor="t">
            <a:spAutoFit/>
          </a:bodyPr>
          <a:lstStyle/>
          <a:p>
            <a:pPr algn="l"/>
            <a:r>
              <a:rPr lang="en-US" altLang="zh-CN" sz="2000" dirty="0">
                <a:solidFill>
                  <a:schemeClr val="bg1"/>
                </a:solidFill>
              </a:rPr>
              <a:t>PART ONE</a:t>
            </a:r>
            <a:endParaRPr lang="zh-CN" altLang="en-US" sz="2000" dirty="0">
              <a:solidFill>
                <a:schemeClr val="bg1"/>
              </a:solidFill>
            </a:endParaRPr>
          </a:p>
        </p:txBody>
      </p:sp>
      <p:grpSp>
        <p:nvGrpSpPr>
          <p:cNvPr id="11" name="组合 10">
            <a:extLst>
              <a:ext uri="{FF2B5EF4-FFF2-40B4-BE49-F238E27FC236}">
                <a16:creationId xmlns:a16="http://schemas.microsoft.com/office/drawing/2014/main" id="{06B98A1F-EC6F-4192-93AC-10F60DB08BB9}"/>
              </a:ext>
            </a:extLst>
          </p:cNvPr>
          <p:cNvGrpSpPr/>
          <p:nvPr/>
        </p:nvGrpSpPr>
        <p:grpSpPr>
          <a:xfrm>
            <a:off x="6299200" y="2736503"/>
            <a:ext cx="4616650" cy="1384995"/>
            <a:chOff x="2008240" y="1971973"/>
            <a:chExt cx="4616650" cy="1384995"/>
          </a:xfrm>
        </p:grpSpPr>
        <p:sp>
          <p:nvSpPr>
            <p:cNvPr id="12" name="文本框 11">
              <a:extLst>
                <a:ext uri="{FF2B5EF4-FFF2-40B4-BE49-F238E27FC236}">
                  <a16:creationId xmlns:a16="http://schemas.microsoft.com/office/drawing/2014/main" id="{E97CC915-8A31-410D-B5F7-64FDDEAA3577}"/>
                </a:ext>
              </a:extLst>
            </p:cNvPr>
            <p:cNvSpPr txBox="1"/>
            <p:nvPr/>
          </p:nvSpPr>
          <p:spPr>
            <a:xfrm>
              <a:off x="2008241" y="1971973"/>
              <a:ext cx="4616649" cy="1107996"/>
            </a:xfrm>
            <a:prstGeom prst="rect">
              <a:avLst/>
            </a:prstGeom>
            <a:noFill/>
          </p:spPr>
          <p:txBody>
            <a:bodyPr wrap="none" lIns="0" tIns="0" rIns="0" bIns="0" rtlCol="0" anchor="t">
              <a:spAutoFit/>
            </a:bodyPr>
            <a:lstStyle/>
            <a:p>
              <a:pPr algn="ctr"/>
              <a:r>
                <a:rPr kumimoji="1" lang="zh-CN" altLang="en-US" sz="7200" dirty="0">
                  <a:solidFill>
                    <a:schemeClr val="accent1">
                      <a:lumMod val="100000"/>
                    </a:schemeClr>
                  </a:solidFill>
                  <a:latin typeface="+mj-ea"/>
                  <a:ea typeface="+mj-ea"/>
                </a:rPr>
                <a:t>过渡页标题</a:t>
              </a:r>
            </a:p>
          </p:txBody>
        </p:sp>
        <p:sp>
          <p:nvSpPr>
            <p:cNvPr id="13" name="文本框 12">
              <a:extLst>
                <a:ext uri="{FF2B5EF4-FFF2-40B4-BE49-F238E27FC236}">
                  <a16:creationId xmlns:a16="http://schemas.microsoft.com/office/drawing/2014/main" id="{C9CDCA39-C575-4F10-AA65-E697EB45435E}"/>
                </a:ext>
              </a:extLst>
            </p:cNvPr>
            <p:cNvSpPr txBox="1"/>
            <p:nvPr/>
          </p:nvSpPr>
          <p:spPr>
            <a:xfrm>
              <a:off x="2008240" y="3079969"/>
              <a:ext cx="4616649" cy="276999"/>
            </a:xfrm>
            <a:prstGeom prst="rect">
              <a:avLst/>
            </a:prstGeom>
            <a:noFill/>
          </p:spPr>
          <p:txBody>
            <a:bodyPr wrap="square" lIns="0" tIns="0" rIns="0" bIns="0" rtlCol="0" anchor="t">
              <a:spAutoFit/>
            </a:bodyPr>
            <a:lstStyle/>
            <a:p>
              <a:pPr algn="dist"/>
              <a:r>
                <a:rPr kumimoji="1" lang="en-US" altLang="zh-CN" dirty="0">
                  <a:solidFill>
                    <a:schemeClr val="accent1">
                      <a:lumMod val="100000"/>
                    </a:schemeClr>
                  </a:solidFill>
                </a:rPr>
                <a:t>Transition Page Title</a:t>
              </a:r>
              <a:endParaRPr kumimoji="1" lang="zh-CN" altLang="en-US" dirty="0">
                <a:solidFill>
                  <a:schemeClr val="accent1">
                    <a:lumMod val="100000"/>
                  </a:schemeClr>
                </a:solidFill>
              </a:endParaRPr>
            </a:p>
          </p:txBody>
        </p:sp>
      </p:grpSp>
      <p:sp>
        <p:nvSpPr>
          <p:cNvPr id="14" name="矩形 13">
            <a:extLst>
              <a:ext uri="{FF2B5EF4-FFF2-40B4-BE49-F238E27FC236}">
                <a16:creationId xmlns:a16="http://schemas.microsoft.com/office/drawing/2014/main" id="{8CD24E0F-3AB4-4F8D-9D06-965B89D4C4C7}"/>
              </a:ext>
            </a:extLst>
          </p:cNvPr>
          <p:cNvSpPr/>
          <p:nvPr/>
        </p:nvSpPr>
        <p:spPr>
          <a:xfrm>
            <a:off x="1" y="2501900"/>
            <a:ext cx="228600" cy="174091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Tree>
    <p:extLst>
      <p:ext uri="{BB962C8B-B14F-4D97-AF65-F5344CB8AC3E}">
        <p14:creationId xmlns:p14="http://schemas.microsoft.com/office/powerpoint/2010/main" val="1348478131"/>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矩形 7">
            <a:extLst>
              <a:ext uri="{FF2B5EF4-FFF2-40B4-BE49-F238E27FC236}">
                <a16:creationId xmlns:a16="http://schemas.microsoft.com/office/drawing/2014/main" id="{B5BF4FE2-7078-4FC1-9D6D-9DD138D6F74F}"/>
              </a:ext>
            </a:extLst>
          </p:cNvPr>
          <p:cNvSpPr/>
          <p:nvPr/>
        </p:nvSpPr>
        <p:spPr>
          <a:xfrm>
            <a:off x="5113020" y="2224405"/>
            <a:ext cx="4265930" cy="15113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3" name="流程图: 手动输入 2">
            <a:extLst>
              <a:ext uri="{FF2B5EF4-FFF2-40B4-BE49-F238E27FC236}">
                <a16:creationId xmlns:a16="http://schemas.microsoft.com/office/drawing/2014/main" id="{F35650FF-2B39-4226-BF13-B00E0F8084E9}"/>
              </a:ext>
            </a:extLst>
          </p:cNvPr>
          <p:cNvSpPr/>
          <p:nvPr/>
        </p:nvSpPr>
        <p:spPr>
          <a:xfrm rot="5400000">
            <a:off x="3795395" y="769620"/>
            <a:ext cx="830580" cy="2795270"/>
          </a:xfrm>
          <a:prstGeom prst="flowChartManualInput">
            <a:avLst/>
          </a:prstGeom>
          <a:solidFill>
            <a:schemeClr val="accent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2" name="矩形 1">
            <a:extLst>
              <a:ext uri="{FF2B5EF4-FFF2-40B4-BE49-F238E27FC236}">
                <a16:creationId xmlns:a16="http://schemas.microsoft.com/office/drawing/2014/main" id="{68769572-CAAC-4436-B2FE-74655F0C0FB9}"/>
              </a:ext>
            </a:extLst>
          </p:cNvPr>
          <p:cNvSpPr/>
          <p:nvPr/>
        </p:nvSpPr>
        <p:spPr>
          <a:xfrm>
            <a:off x="2813050" y="2375535"/>
            <a:ext cx="6565900" cy="27305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4" name="文本框 3">
            <a:extLst>
              <a:ext uri="{FF2B5EF4-FFF2-40B4-BE49-F238E27FC236}">
                <a16:creationId xmlns:a16="http://schemas.microsoft.com/office/drawing/2014/main" id="{284D374C-5676-4424-969B-D2C0525A3855}"/>
              </a:ext>
            </a:extLst>
          </p:cNvPr>
          <p:cNvSpPr txBox="1"/>
          <p:nvPr/>
        </p:nvSpPr>
        <p:spPr>
          <a:xfrm>
            <a:off x="3207440" y="1817529"/>
            <a:ext cx="1564531" cy="492443"/>
          </a:xfrm>
          <a:prstGeom prst="rect">
            <a:avLst/>
          </a:prstGeom>
          <a:noFill/>
        </p:spPr>
        <p:txBody>
          <a:bodyPr wrap="none" lIns="0" tIns="0" rIns="0" bIns="0" rtlCol="0" anchor="t">
            <a:spAutoFit/>
          </a:bodyPr>
          <a:lstStyle/>
          <a:p>
            <a:pPr algn="l"/>
            <a:r>
              <a:rPr lang="en-US" altLang="zh-CN" sz="3200" dirty="0">
                <a:solidFill>
                  <a:schemeClr val="bg1"/>
                </a:solidFill>
              </a:rPr>
              <a:t>PART 01</a:t>
            </a:r>
            <a:endParaRPr lang="zh-CN" altLang="en-US" sz="3200" dirty="0">
              <a:solidFill>
                <a:schemeClr val="bg1"/>
              </a:solidFill>
            </a:endParaRPr>
          </a:p>
        </p:txBody>
      </p:sp>
      <p:sp>
        <p:nvSpPr>
          <p:cNvPr id="6" name="文本框 5">
            <a:extLst>
              <a:ext uri="{FF2B5EF4-FFF2-40B4-BE49-F238E27FC236}">
                <a16:creationId xmlns:a16="http://schemas.microsoft.com/office/drawing/2014/main" id="{72FCB3A5-0E03-4578-B41D-A28AD49E9F97}"/>
              </a:ext>
            </a:extLst>
          </p:cNvPr>
          <p:cNvSpPr txBox="1"/>
          <p:nvPr/>
        </p:nvSpPr>
        <p:spPr>
          <a:xfrm>
            <a:off x="3787676" y="2933542"/>
            <a:ext cx="4616649" cy="1107996"/>
          </a:xfrm>
          <a:prstGeom prst="rect">
            <a:avLst/>
          </a:prstGeom>
          <a:noFill/>
        </p:spPr>
        <p:txBody>
          <a:bodyPr wrap="none" lIns="0" tIns="0" rIns="0" bIns="0" rtlCol="0" anchor="t">
            <a:spAutoFit/>
          </a:bodyPr>
          <a:lstStyle/>
          <a:p>
            <a:pPr algn="ctr"/>
            <a:r>
              <a:rPr kumimoji="1" lang="zh-CN" altLang="en-US" sz="7200" dirty="0">
                <a:solidFill>
                  <a:schemeClr val="bg1"/>
                </a:solidFill>
                <a:latin typeface="+mj-ea"/>
                <a:ea typeface="+mj-ea"/>
              </a:rPr>
              <a:t>过渡页标题</a:t>
            </a:r>
          </a:p>
        </p:txBody>
      </p:sp>
      <p:sp>
        <p:nvSpPr>
          <p:cNvPr id="7" name="文本框 6">
            <a:extLst>
              <a:ext uri="{FF2B5EF4-FFF2-40B4-BE49-F238E27FC236}">
                <a16:creationId xmlns:a16="http://schemas.microsoft.com/office/drawing/2014/main" id="{6B956A6D-802E-4BB5-9AA9-3CB475D76285}"/>
              </a:ext>
            </a:extLst>
          </p:cNvPr>
          <p:cNvSpPr txBox="1"/>
          <p:nvPr/>
        </p:nvSpPr>
        <p:spPr>
          <a:xfrm>
            <a:off x="3787675" y="4041538"/>
            <a:ext cx="4616649" cy="276999"/>
          </a:xfrm>
          <a:prstGeom prst="rect">
            <a:avLst/>
          </a:prstGeom>
          <a:noFill/>
        </p:spPr>
        <p:txBody>
          <a:bodyPr wrap="square" lIns="0" tIns="0" rIns="0" bIns="0" rtlCol="0" anchor="t">
            <a:spAutoFit/>
          </a:bodyPr>
          <a:lstStyle/>
          <a:p>
            <a:pPr algn="dist"/>
            <a:r>
              <a:rPr kumimoji="1" lang="en-US" altLang="zh-CN" dirty="0">
                <a:solidFill>
                  <a:schemeClr val="bg1"/>
                </a:solidFill>
              </a:rPr>
              <a:t>Transition Page Title</a:t>
            </a:r>
            <a:endParaRPr kumimoji="1" lang="zh-CN" altLang="en-US" dirty="0">
              <a:solidFill>
                <a:schemeClr val="bg1"/>
              </a:solidFill>
            </a:endParaRPr>
          </a:p>
        </p:txBody>
      </p:sp>
    </p:spTree>
    <p:extLst>
      <p:ext uri="{BB962C8B-B14F-4D97-AF65-F5344CB8AC3E}">
        <p14:creationId xmlns:p14="http://schemas.microsoft.com/office/powerpoint/2010/main" val="431562340"/>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a:extLst>
              <a:ext uri="{FF2B5EF4-FFF2-40B4-BE49-F238E27FC236}">
                <a16:creationId xmlns:a16="http://schemas.microsoft.com/office/drawing/2014/main" id="{EFDD576C-1A83-4EB6-BDC7-27442D1BC235}"/>
              </a:ext>
            </a:extLst>
          </p:cNvPr>
          <p:cNvSpPr txBox="1"/>
          <p:nvPr/>
        </p:nvSpPr>
        <p:spPr>
          <a:xfrm>
            <a:off x="5257630" y="1219200"/>
            <a:ext cx="1676741" cy="1769715"/>
          </a:xfrm>
          <a:prstGeom prst="rect">
            <a:avLst/>
          </a:prstGeom>
          <a:noFill/>
        </p:spPr>
        <p:txBody>
          <a:bodyPr wrap="none" lIns="0" tIns="0" rIns="0" bIns="0" rtlCol="0" anchor="t">
            <a:spAutoFit/>
          </a:bodyPr>
          <a:lstStyle/>
          <a:p>
            <a:pPr algn="l"/>
            <a:r>
              <a:rPr lang="en-US" altLang="zh-CN" sz="11500" dirty="0">
                <a:gradFill>
                  <a:gsLst>
                    <a:gs pos="60000">
                      <a:schemeClr val="accent1"/>
                    </a:gs>
                    <a:gs pos="60000">
                      <a:schemeClr val="tx2">
                        <a:alpha val="0"/>
                      </a:schemeClr>
                    </a:gs>
                  </a:gsLst>
                  <a:lin ang="4200000" scaled="0"/>
                </a:gradFill>
                <a:latin typeface="+mj-ea"/>
                <a:ea typeface="+mj-ea"/>
              </a:rPr>
              <a:t>01</a:t>
            </a:r>
            <a:endParaRPr lang="zh-CN" altLang="en-US" sz="11500" dirty="0">
              <a:gradFill>
                <a:gsLst>
                  <a:gs pos="60000">
                    <a:schemeClr val="accent1"/>
                  </a:gs>
                  <a:gs pos="60000">
                    <a:schemeClr val="tx2">
                      <a:alpha val="0"/>
                    </a:schemeClr>
                  </a:gs>
                </a:gsLst>
                <a:lin ang="4200000" scaled="0"/>
              </a:gradFill>
              <a:latin typeface="+mj-ea"/>
              <a:ea typeface="+mj-ea"/>
            </a:endParaRPr>
          </a:p>
        </p:txBody>
      </p:sp>
      <p:cxnSp>
        <p:nvCxnSpPr>
          <p:cNvPr id="4" name="直接连接符 3">
            <a:extLst>
              <a:ext uri="{FF2B5EF4-FFF2-40B4-BE49-F238E27FC236}">
                <a16:creationId xmlns:a16="http://schemas.microsoft.com/office/drawing/2014/main" id="{C06A41E5-02A9-40A4-AA14-B026FE5038A1}"/>
              </a:ext>
            </a:extLst>
          </p:cNvPr>
          <p:cNvCxnSpPr>
            <a:cxnSpLocks/>
          </p:cNvCxnSpPr>
          <p:nvPr/>
        </p:nvCxnSpPr>
        <p:spPr>
          <a:xfrm flipH="1">
            <a:off x="5317331" y="2060575"/>
            <a:ext cx="1521619" cy="546894"/>
          </a:xfrm>
          <a:prstGeom prst="line">
            <a:avLst/>
          </a:prstGeom>
          <a:ln w="12700"/>
        </p:spPr>
        <p:style>
          <a:lnRef idx="1">
            <a:schemeClr val="accent1"/>
          </a:lnRef>
          <a:fillRef idx="0">
            <a:schemeClr val="accent1"/>
          </a:fillRef>
          <a:effectRef idx="0">
            <a:schemeClr val="accent1"/>
          </a:effectRef>
          <a:fontRef idx="minor">
            <a:schemeClr val="tx1"/>
          </a:fontRef>
        </p:style>
      </p:cxnSp>
      <p:grpSp>
        <p:nvGrpSpPr>
          <p:cNvPr id="19" name="组合 18">
            <a:extLst>
              <a:ext uri="{FF2B5EF4-FFF2-40B4-BE49-F238E27FC236}">
                <a16:creationId xmlns:a16="http://schemas.microsoft.com/office/drawing/2014/main" id="{F7A41762-4515-48F5-8790-CEFD2E0FFBCC}"/>
              </a:ext>
            </a:extLst>
          </p:cNvPr>
          <p:cNvGrpSpPr/>
          <p:nvPr/>
        </p:nvGrpSpPr>
        <p:grpSpPr>
          <a:xfrm>
            <a:off x="3787675" y="2865537"/>
            <a:ext cx="4616650" cy="1384995"/>
            <a:chOff x="2008240" y="1971973"/>
            <a:chExt cx="4616650" cy="1384995"/>
          </a:xfrm>
        </p:grpSpPr>
        <p:sp>
          <p:nvSpPr>
            <p:cNvPr id="20" name="文本框 19">
              <a:extLst>
                <a:ext uri="{FF2B5EF4-FFF2-40B4-BE49-F238E27FC236}">
                  <a16:creationId xmlns:a16="http://schemas.microsoft.com/office/drawing/2014/main" id="{8BFF984F-040C-4F8F-819C-9C66CB6EEED5}"/>
                </a:ext>
              </a:extLst>
            </p:cNvPr>
            <p:cNvSpPr txBox="1"/>
            <p:nvPr/>
          </p:nvSpPr>
          <p:spPr>
            <a:xfrm>
              <a:off x="2008241" y="1971973"/>
              <a:ext cx="4616649" cy="1107996"/>
            </a:xfrm>
            <a:prstGeom prst="rect">
              <a:avLst/>
            </a:prstGeom>
            <a:noFill/>
          </p:spPr>
          <p:txBody>
            <a:bodyPr wrap="none" lIns="0" tIns="0" rIns="0" bIns="0" rtlCol="0" anchor="t">
              <a:spAutoFit/>
            </a:bodyPr>
            <a:lstStyle/>
            <a:p>
              <a:pPr algn="ctr"/>
              <a:r>
                <a:rPr kumimoji="1" lang="zh-CN" altLang="en-US" sz="7200" dirty="0">
                  <a:solidFill>
                    <a:schemeClr val="accent1">
                      <a:lumMod val="100000"/>
                    </a:schemeClr>
                  </a:solidFill>
                  <a:latin typeface="+mj-ea"/>
                  <a:ea typeface="+mj-ea"/>
                </a:rPr>
                <a:t>过渡页标题</a:t>
              </a:r>
            </a:p>
          </p:txBody>
        </p:sp>
        <p:sp>
          <p:nvSpPr>
            <p:cNvPr id="21" name="文本框 20">
              <a:extLst>
                <a:ext uri="{FF2B5EF4-FFF2-40B4-BE49-F238E27FC236}">
                  <a16:creationId xmlns:a16="http://schemas.microsoft.com/office/drawing/2014/main" id="{BB1C00BC-DA52-428F-9396-3D1F392631D9}"/>
                </a:ext>
              </a:extLst>
            </p:cNvPr>
            <p:cNvSpPr txBox="1"/>
            <p:nvPr/>
          </p:nvSpPr>
          <p:spPr>
            <a:xfrm>
              <a:off x="2008240" y="3079969"/>
              <a:ext cx="4616649" cy="276999"/>
            </a:xfrm>
            <a:prstGeom prst="rect">
              <a:avLst/>
            </a:prstGeom>
            <a:noFill/>
          </p:spPr>
          <p:txBody>
            <a:bodyPr wrap="square" lIns="0" tIns="0" rIns="0" bIns="0" rtlCol="0" anchor="t">
              <a:spAutoFit/>
            </a:bodyPr>
            <a:lstStyle/>
            <a:p>
              <a:pPr algn="dist"/>
              <a:r>
                <a:rPr kumimoji="1" lang="en-US" altLang="zh-CN" dirty="0">
                  <a:solidFill>
                    <a:schemeClr val="accent1">
                      <a:lumMod val="100000"/>
                    </a:schemeClr>
                  </a:solidFill>
                </a:rPr>
                <a:t>Transition Page Title</a:t>
              </a:r>
              <a:endParaRPr kumimoji="1" lang="zh-CN" altLang="en-US" dirty="0">
                <a:solidFill>
                  <a:schemeClr val="accent1">
                    <a:lumMod val="100000"/>
                  </a:schemeClr>
                </a:solidFill>
              </a:endParaRPr>
            </a:p>
          </p:txBody>
        </p:sp>
      </p:grpSp>
    </p:spTree>
    <p:extLst>
      <p:ext uri="{BB962C8B-B14F-4D97-AF65-F5344CB8AC3E}">
        <p14:creationId xmlns:p14="http://schemas.microsoft.com/office/powerpoint/2010/main" val="3996820004"/>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等腰三角形 1">
            <a:extLst>
              <a:ext uri="{FF2B5EF4-FFF2-40B4-BE49-F238E27FC236}">
                <a16:creationId xmlns:a16="http://schemas.microsoft.com/office/drawing/2014/main" id="{3E02EF52-F39B-4763-B500-00D59ED5F416}"/>
              </a:ext>
            </a:extLst>
          </p:cNvPr>
          <p:cNvSpPr/>
          <p:nvPr/>
        </p:nvSpPr>
        <p:spPr>
          <a:xfrm rot="9813563">
            <a:off x="4267263" y="2220482"/>
            <a:ext cx="3657474" cy="3038064"/>
          </a:xfrm>
          <a:prstGeom prst="triangle">
            <a:avLst/>
          </a:prstGeom>
          <a:noFill/>
          <a:ln w="857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4" name="文本框 3">
            <a:extLst>
              <a:ext uri="{FF2B5EF4-FFF2-40B4-BE49-F238E27FC236}">
                <a16:creationId xmlns:a16="http://schemas.microsoft.com/office/drawing/2014/main" id="{A0F61688-061C-4E9B-B9CF-0D3A1140977B}"/>
              </a:ext>
            </a:extLst>
          </p:cNvPr>
          <p:cNvSpPr txBox="1"/>
          <p:nvPr/>
        </p:nvSpPr>
        <p:spPr>
          <a:xfrm>
            <a:off x="5517266" y="1591972"/>
            <a:ext cx="1157469" cy="1107996"/>
          </a:xfrm>
          <a:prstGeom prst="rect">
            <a:avLst/>
          </a:prstGeom>
          <a:solidFill>
            <a:schemeClr val="bg1"/>
          </a:solidFill>
        </p:spPr>
        <p:txBody>
          <a:bodyPr wrap="none" lIns="108000" tIns="0" rIns="108000" bIns="0" rtlCol="0" anchor="t">
            <a:spAutoFit/>
          </a:bodyPr>
          <a:lstStyle/>
          <a:p>
            <a:pPr algn="l"/>
            <a:r>
              <a:rPr lang="en-US" altLang="zh-CN" sz="7200" dirty="0">
                <a:solidFill>
                  <a:schemeClr val="accent1">
                    <a:lumMod val="100000"/>
                  </a:schemeClr>
                </a:solidFill>
              </a:rPr>
              <a:t>01</a:t>
            </a:r>
            <a:endParaRPr lang="zh-CN" altLang="en-US" sz="7200" dirty="0">
              <a:solidFill>
                <a:schemeClr val="accent1">
                  <a:lumMod val="100000"/>
                </a:schemeClr>
              </a:solidFill>
            </a:endParaRPr>
          </a:p>
        </p:txBody>
      </p:sp>
      <p:grpSp>
        <p:nvGrpSpPr>
          <p:cNvPr id="5" name="组合 4">
            <a:extLst>
              <a:ext uri="{FF2B5EF4-FFF2-40B4-BE49-F238E27FC236}">
                <a16:creationId xmlns:a16="http://schemas.microsoft.com/office/drawing/2014/main" id="{A458DEFF-0880-47F5-948F-1C14CDBEC043}"/>
              </a:ext>
            </a:extLst>
          </p:cNvPr>
          <p:cNvGrpSpPr/>
          <p:nvPr/>
        </p:nvGrpSpPr>
        <p:grpSpPr>
          <a:xfrm>
            <a:off x="3787675" y="3047016"/>
            <a:ext cx="4616650" cy="1384985"/>
            <a:chOff x="2008240" y="1971973"/>
            <a:chExt cx="4616650" cy="1384985"/>
          </a:xfrm>
          <a:solidFill>
            <a:schemeClr val="bg1"/>
          </a:solidFill>
        </p:grpSpPr>
        <p:sp>
          <p:nvSpPr>
            <p:cNvPr id="6" name="文本框 5">
              <a:extLst>
                <a:ext uri="{FF2B5EF4-FFF2-40B4-BE49-F238E27FC236}">
                  <a16:creationId xmlns:a16="http://schemas.microsoft.com/office/drawing/2014/main" id="{9F96F3E3-819F-4C18-ACF8-7E3CE8F1A815}"/>
                </a:ext>
              </a:extLst>
            </p:cNvPr>
            <p:cNvSpPr txBox="1"/>
            <p:nvPr/>
          </p:nvSpPr>
          <p:spPr>
            <a:xfrm>
              <a:off x="2008241" y="1971973"/>
              <a:ext cx="4616649" cy="1107996"/>
            </a:xfrm>
            <a:prstGeom prst="rect">
              <a:avLst/>
            </a:prstGeom>
            <a:grpFill/>
          </p:spPr>
          <p:txBody>
            <a:bodyPr wrap="none" lIns="0" tIns="0" rIns="0" bIns="0" rtlCol="0" anchor="t">
              <a:spAutoFit/>
            </a:bodyPr>
            <a:lstStyle/>
            <a:p>
              <a:pPr algn="ctr"/>
              <a:r>
                <a:rPr kumimoji="1" lang="zh-CN" altLang="en-US" sz="7200" dirty="0">
                  <a:solidFill>
                    <a:schemeClr val="accent1">
                      <a:lumMod val="100000"/>
                    </a:schemeClr>
                  </a:solidFill>
                  <a:latin typeface="+mj-ea"/>
                  <a:ea typeface="+mj-ea"/>
                </a:rPr>
                <a:t>过渡页标题</a:t>
              </a:r>
            </a:p>
          </p:txBody>
        </p:sp>
        <p:sp>
          <p:nvSpPr>
            <p:cNvPr id="7" name="文本框 6">
              <a:extLst>
                <a:ext uri="{FF2B5EF4-FFF2-40B4-BE49-F238E27FC236}">
                  <a16:creationId xmlns:a16="http://schemas.microsoft.com/office/drawing/2014/main" id="{E0180571-4F96-4AA4-B42F-930C33A0C693}"/>
                </a:ext>
              </a:extLst>
            </p:cNvPr>
            <p:cNvSpPr txBox="1"/>
            <p:nvPr/>
          </p:nvSpPr>
          <p:spPr>
            <a:xfrm>
              <a:off x="2008240" y="2992715"/>
              <a:ext cx="4616649" cy="364243"/>
            </a:xfrm>
            <a:prstGeom prst="rect">
              <a:avLst/>
            </a:prstGeom>
            <a:grpFill/>
          </p:spPr>
          <p:txBody>
            <a:bodyPr wrap="square" lIns="108000" tIns="0" rIns="0" bIns="86400" rtlCol="0" anchor="t">
              <a:spAutoFit/>
            </a:bodyPr>
            <a:lstStyle/>
            <a:p>
              <a:pPr algn="dist"/>
              <a:r>
                <a:rPr kumimoji="1" lang="en-US" altLang="zh-CN" dirty="0">
                  <a:solidFill>
                    <a:schemeClr val="accent1">
                      <a:lumMod val="100000"/>
                    </a:schemeClr>
                  </a:solidFill>
                </a:rPr>
                <a:t>Transition Page Title</a:t>
              </a:r>
              <a:endParaRPr kumimoji="1" lang="zh-CN" altLang="en-US" dirty="0">
                <a:solidFill>
                  <a:schemeClr val="accent1">
                    <a:lumMod val="100000"/>
                  </a:schemeClr>
                </a:solidFill>
              </a:endParaRPr>
            </a:p>
          </p:txBody>
        </p:sp>
      </p:grpSp>
      <p:sp>
        <p:nvSpPr>
          <p:cNvPr id="8" name="矩形 7">
            <a:extLst>
              <a:ext uri="{FF2B5EF4-FFF2-40B4-BE49-F238E27FC236}">
                <a16:creationId xmlns:a16="http://schemas.microsoft.com/office/drawing/2014/main" id="{57C6F9FF-3EEE-4656-A349-1D977AF1D2AD}"/>
              </a:ext>
            </a:extLst>
          </p:cNvPr>
          <p:cNvSpPr/>
          <p:nvPr/>
        </p:nvSpPr>
        <p:spPr>
          <a:xfrm>
            <a:off x="5931408" y="2800411"/>
            <a:ext cx="329184" cy="4571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Tree>
    <p:extLst>
      <p:ext uri="{BB962C8B-B14F-4D97-AF65-F5344CB8AC3E}">
        <p14:creationId xmlns:p14="http://schemas.microsoft.com/office/powerpoint/2010/main" val="3837232199"/>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任意多边形: 形状 3">
            <a:extLst>
              <a:ext uri="{FF2B5EF4-FFF2-40B4-BE49-F238E27FC236}">
                <a16:creationId xmlns:a16="http://schemas.microsoft.com/office/drawing/2014/main" id="{108655F7-E5EF-4ABE-A335-0242C019FA27}"/>
              </a:ext>
            </a:extLst>
          </p:cNvPr>
          <p:cNvSpPr/>
          <p:nvPr/>
        </p:nvSpPr>
        <p:spPr>
          <a:xfrm rot="5400000">
            <a:off x="-510823" y="1939573"/>
            <a:ext cx="5429249" cy="4407604"/>
          </a:xfrm>
          <a:custGeom>
            <a:avLst/>
            <a:gdLst>
              <a:gd name="connsiteX0" fmla="*/ 0 w 4800600"/>
              <a:gd name="connsiteY0" fmla="*/ 4407604 h 4407604"/>
              <a:gd name="connsiteX1" fmla="*/ 0 w 4800600"/>
              <a:gd name="connsiteY1" fmla="*/ 2270787 h 4407604"/>
              <a:gd name="connsiteX2" fmla="*/ 4800600 w 4800600"/>
              <a:gd name="connsiteY2" fmla="*/ 0 h 4407604"/>
              <a:gd name="connsiteX3" fmla="*/ 4800600 w 4800600"/>
              <a:gd name="connsiteY3" fmla="*/ 4407604 h 4407604"/>
            </a:gdLst>
            <a:ahLst/>
            <a:cxnLst>
              <a:cxn ang="0">
                <a:pos x="connsiteX0" y="connsiteY0"/>
              </a:cxn>
              <a:cxn ang="0">
                <a:pos x="connsiteX1" y="connsiteY1"/>
              </a:cxn>
              <a:cxn ang="0">
                <a:pos x="connsiteX2" y="connsiteY2"/>
              </a:cxn>
              <a:cxn ang="0">
                <a:pos x="connsiteX3" y="connsiteY3"/>
              </a:cxn>
            </a:cxnLst>
            <a:rect l="l" t="t" r="r" b="b"/>
            <a:pathLst>
              <a:path w="4800600" h="4407604">
                <a:moveTo>
                  <a:pt x="0" y="4407604"/>
                </a:moveTo>
                <a:lnTo>
                  <a:pt x="0" y="2270787"/>
                </a:lnTo>
                <a:lnTo>
                  <a:pt x="4800600" y="0"/>
                </a:lnTo>
                <a:lnTo>
                  <a:pt x="4800600" y="4407604"/>
                </a:lnTo>
                <a:close/>
              </a:path>
            </a:pathLst>
          </a:custGeom>
          <a:solidFill>
            <a:schemeClr val="accent1">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l"/>
            <a:endParaRPr lang="zh-CN" altLang="en-US" sz="1600">
              <a:solidFill>
                <a:schemeClr val="bg1"/>
              </a:solidFill>
              <a:latin typeface="+mj-ea"/>
              <a:ea typeface="+mj-ea"/>
            </a:endParaRPr>
          </a:p>
        </p:txBody>
      </p:sp>
      <p:sp>
        <p:nvSpPr>
          <p:cNvPr id="29" name="任意多边形: 形状 28">
            <a:extLst>
              <a:ext uri="{FF2B5EF4-FFF2-40B4-BE49-F238E27FC236}">
                <a16:creationId xmlns:a16="http://schemas.microsoft.com/office/drawing/2014/main" id="{CFC1CF87-C315-4334-A8D1-09E79F1AA2DB}"/>
              </a:ext>
            </a:extLst>
          </p:cNvPr>
          <p:cNvSpPr/>
          <p:nvPr/>
        </p:nvSpPr>
        <p:spPr>
          <a:xfrm rot="5400000">
            <a:off x="-393152" y="2856346"/>
            <a:ext cx="4394807" cy="3608503"/>
          </a:xfrm>
          <a:custGeom>
            <a:avLst/>
            <a:gdLst>
              <a:gd name="connsiteX0" fmla="*/ 0 w 4394807"/>
              <a:gd name="connsiteY0" fmla="*/ 3608503 h 3608503"/>
              <a:gd name="connsiteX1" fmla="*/ 0 w 4394807"/>
              <a:gd name="connsiteY1" fmla="*/ 1838131 h 3608503"/>
              <a:gd name="connsiteX2" fmla="*/ 4394807 w 4394807"/>
              <a:gd name="connsiteY2" fmla="*/ 0 h 3608503"/>
              <a:gd name="connsiteX3" fmla="*/ 4394807 w 4394807"/>
              <a:gd name="connsiteY3" fmla="*/ 3608503 h 3608503"/>
            </a:gdLst>
            <a:ahLst/>
            <a:cxnLst>
              <a:cxn ang="0">
                <a:pos x="connsiteX0" y="connsiteY0"/>
              </a:cxn>
              <a:cxn ang="0">
                <a:pos x="connsiteX1" y="connsiteY1"/>
              </a:cxn>
              <a:cxn ang="0">
                <a:pos x="connsiteX2" y="connsiteY2"/>
              </a:cxn>
              <a:cxn ang="0">
                <a:pos x="connsiteX3" y="connsiteY3"/>
              </a:cxn>
            </a:cxnLst>
            <a:rect l="l" t="t" r="r" b="b"/>
            <a:pathLst>
              <a:path w="4394807" h="3608503">
                <a:moveTo>
                  <a:pt x="0" y="3608503"/>
                </a:moveTo>
                <a:lnTo>
                  <a:pt x="0" y="1838131"/>
                </a:lnTo>
                <a:lnTo>
                  <a:pt x="4394807" y="0"/>
                </a:lnTo>
                <a:lnTo>
                  <a:pt x="4394807" y="3608503"/>
                </a:lnTo>
                <a:close/>
              </a:path>
            </a:pathLst>
          </a:custGeom>
          <a:solidFill>
            <a:schemeClr val="accent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l"/>
            <a:endParaRPr lang="zh-CN" altLang="en-US" sz="1600">
              <a:solidFill>
                <a:schemeClr val="bg1"/>
              </a:solidFill>
              <a:latin typeface="+mj-ea"/>
              <a:ea typeface="+mj-ea"/>
            </a:endParaRPr>
          </a:p>
        </p:txBody>
      </p:sp>
      <p:sp>
        <p:nvSpPr>
          <p:cNvPr id="26" name="任意多边形: 形状 25">
            <a:extLst>
              <a:ext uri="{FF2B5EF4-FFF2-40B4-BE49-F238E27FC236}">
                <a16:creationId xmlns:a16="http://schemas.microsoft.com/office/drawing/2014/main" id="{46A6DFD8-6AA5-4AD5-B4CB-164C37D28B31}"/>
              </a:ext>
            </a:extLst>
          </p:cNvPr>
          <p:cNvSpPr/>
          <p:nvPr/>
        </p:nvSpPr>
        <p:spPr>
          <a:xfrm rot="16200000">
            <a:off x="9502761" y="994552"/>
            <a:ext cx="3683792" cy="1694686"/>
          </a:xfrm>
          <a:custGeom>
            <a:avLst/>
            <a:gdLst>
              <a:gd name="connsiteX0" fmla="*/ 3683792 w 3683792"/>
              <a:gd name="connsiteY0" fmla="*/ 0 h 1694686"/>
              <a:gd name="connsiteX1" fmla="*/ 3683792 w 3683792"/>
              <a:gd name="connsiteY1" fmla="*/ 1694685 h 1694686"/>
              <a:gd name="connsiteX2" fmla="*/ 2025924 w 3683792"/>
              <a:gd name="connsiteY2" fmla="*/ 1694685 h 1694686"/>
              <a:gd name="connsiteX3" fmla="*/ 2025924 w 3683792"/>
              <a:gd name="connsiteY3" fmla="*/ 1694686 h 1694686"/>
              <a:gd name="connsiteX4" fmla="*/ 0 w 3683792"/>
              <a:gd name="connsiteY4" fmla="*/ 1694686 h 1694686"/>
              <a:gd name="connsiteX5" fmla="*/ 1596293 w 3683792"/>
              <a:gd name="connsiteY5" fmla="*/ 1027035 h 1694686"/>
              <a:gd name="connsiteX6" fmla="*/ 1596293 w 3683792"/>
              <a:gd name="connsiteY6" fmla="*/ 873098 h 1694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683792" h="1694686">
                <a:moveTo>
                  <a:pt x="3683792" y="0"/>
                </a:moveTo>
                <a:lnTo>
                  <a:pt x="3683792" y="1694685"/>
                </a:lnTo>
                <a:lnTo>
                  <a:pt x="2025924" y="1694685"/>
                </a:lnTo>
                <a:lnTo>
                  <a:pt x="2025924" y="1694686"/>
                </a:lnTo>
                <a:lnTo>
                  <a:pt x="0" y="1694686"/>
                </a:lnTo>
                <a:lnTo>
                  <a:pt x="1596293" y="1027035"/>
                </a:lnTo>
                <a:lnTo>
                  <a:pt x="1596293" y="873098"/>
                </a:lnTo>
                <a:close/>
              </a:path>
            </a:pathLst>
          </a:custGeom>
          <a:solidFill>
            <a:schemeClr val="accent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l"/>
            <a:endParaRPr lang="zh-CN" altLang="en-US" sz="1600">
              <a:solidFill>
                <a:schemeClr val="bg1"/>
              </a:solidFill>
              <a:latin typeface="+mj-ea"/>
              <a:ea typeface="+mj-ea"/>
            </a:endParaRPr>
          </a:p>
        </p:txBody>
      </p:sp>
      <p:sp>
        <p:nvSpPr>
          <p:cNvPr id="9" name="任意多边形: 形状 8">
            <a:extLst>
              <a:ext uri="{FF2B5EF4-FFF2-40B4-BE49-F238E27FC236}">
                <a16:creationId xmlns:a16="http://schemas.microsoft.com/office/drawing/2014/main" id="{B4A032B2-45A5-49CB-8435-A5DD05BE0728}"/>
              </a:ext>
            </a:extLst>
          </p:cNvPr>
          <p:cNvSpPr/>
          <p:nvPr/>
        </p:nvSpPr>
        <p:spPr>
          <a:xfrm flipV="1">
            <a:off x="1" y="2390773"/>
            <a:ext cx="8083295" cy="2398343"/>
          </a:xfrm>
          <a:custGeom>
            <a:avLst/>
            <a:gdLst>
              <a:gd name="connsiteX0" fmla="*/ 0 w 6998405"/>
              <a:gd name="connsiteY0" fmla="*/ 2076452 h 2076452"/>
              <a:gd name="connsiteX1" fmla="*/ 6142741 w 6998405"/>
              <a:gd name="connsiteY1" fmla="*/ 2076452 h 2076452"/>
              <a:gd name="connsiteX2" fmla="*/ 6998405 w 6998405"/>
              <a:gd name="connsiteY2" fmla="*/ 0 h 2076452"/>
              <a:gd name="connsiteX3" fmla="*/ 0 w 6998405"/>
              <a:gd name="connsiteY3" fmla="*/ 0 h 2076452"/>
            </a:gdLst>
            <a:ahLst/>
            <a:cxnLst>
              <a:cxn ang="0">
                <a:pos x="connsiteX0" y="connsiteY0"/>
              </a:cxn>
              <a:cxn ang="0">
                <a:pos x="connsiteX1" y="connsiteY1"/>
              </a:cxn>
              <a:cxn ang="0">
                <a:pos x="connsiteX2" y="connsiteY2"/>
              </a:cxn>
              <a:cxn ang="0">
                <a:pos x="connsiteX3" y="connsiteY3"/>
              </a:cxn>
            </a:cxnLst>
            <a:rect l="l" t="t" r="r" b="b"/>
            <a:pathLst>
              <a:path w="6998405" h="2076452">
                <a:moveTo>
                  <a:pt x="0" y="2076452"/>
                </a:moveTo>
                <a:lnTo>
                  <a:pt x="6142741" y="2076452"/>
                </a:lnTo>
                <a:lnTo>
                  <a:pt x="6998405" y="0"/>
                </a:ln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l"/>
            <a:endParaRPr lang="zh-CN" altLang="en-US" sz="1600">
              <a:solidFill>
                <a:schemeClr val="bg1"/>
              </a:solidFill>
              <a:latin typeface="+mj-ea"/>
              <a:ea typeface="+mj-ea"/>
            </a:endParaRPr>
          </a:p>
        </p:txBody>
      </p:sp>
      <p:grpSp>
        <p:nvGrpSpPr>
          <p:cNvPr id="14" name="组合 13">
            <a:extLst>
              <a:ext uri="{FF2B5EF4-FFF2-40B4-BE49-F238E27FC236}">
                <a16:creationId xmlns:a16="http://schemas.microsoft.com/office/drawing/2014/main" id="{3C28FB04-5921-4E55-971A-E2BD365511FD}"/>
              </a:ext>
            </a:extLst>
          </p:cNvPr>
          <p:cNvGrpSpPr/>
          <p:nvPr/>
        </p:nvGrpSpPr>
        <p:grpSpPr>
          <a:xfrm>
            <a:off x="2203801" y="2897446"/>
            <a:ext cx="4616650" cy="1384995"/>
            <a:chOff x="2008240" y="1971973"/>
            <a:chExt cx="4616650" cy="1384995"/>
          </a:xfrm>
        </p:grpSpPr>
        <p:sp>
          <p:nvSpPr>
            <p:cNvPr id="15" name="文本框 14">
              <a:extLst>
                <a:ext uri="{FF2B5EF4-FFF2-40B4-BE49-F238E27FC236}">
                  <a16:creationId xmlns:a16="http://schemas.microsoft.com/office/drawing/2014/main" id="{738333BA-E22B-4957-81E1-A5C90D543670}"/>
                </a:ext>
              </a:extLst>
            </p:cNvPr>
            <p:cNvSpPr txBox="1"/>
            <p:nvPr/>
          </p:nvSpPr>
          <p:spPr>
            <a:xfrm>
              <a:off x="2008241" y="1971973"/>
              <a:ext cx="4616649" cy="1107996"/>
            </a:xfrm>
            <a:prstGeom prst="rect">
              <a:avLst/>
            </a:prstGeom>
            <a:noFill/>
          </p:spPr>
          <p:txBody>
            <a:bodyPr wrap="none" lIns="0" tIns="0" rIns="0" bIns="0" rtlCol="0" anchor="t">
              <a:spAutoFit/>
            </a:bodyPr>
            <a:lstStyle/>
            <a:p>
              <a:pPr algn="ctr"/>
              <a:r>
                <a:rPr kumimoji="1" lang="zh-CN" altLang="en-US" sz="7200" dirty="0">
                  <a:solidFill>
                    <a:schemeClr val="bg1"/>
                  </a:solidFill>
                  <a:latin typeface="+mj-ea"/>
                  <a:ea typeface="+mj-ea"/>
                </a:rPr>
                <a:t>过渡页标题</a:t>
              </a:r>
            </a:p>
          </p:txBody>
        </p:sp>
        <p:sp>
          <p:nvSpPr>
            <p:cNvPr id="16" name="文本框 15">
              <a:extLst>
                <a:ext uri="{FF2B5EF4-FFF2-40B4-BE49-F238E27FC236}">
                  <a16:creationId xmlns:a16="http://schemas.microsoft.com/office/drawing/2014/main" id="{CB24AE2A-44A7-4E27-A557-5A7C8380DFCB}"/>
                </a:ext>
              </a:extLst>
            </p:cNvPr>
            <p:cNvSpPr txBox="1"/>
            <p:nvPr/>
          </p:nvSpPr>
          <p:spPr>
            <a:xfrm>
              <a:off x="2008240" y="3079969"/>
              <a:ext cx="4616649" cy="276999"/>
            </a:xfrm>
            <a:prstGeom prst="rect">
              <a:avLst/>
            </a:prstGeom>
            <a:noFill/>
          </p:spPr>
          <p:txBody>
            <a:bodyPr wrap="square" lIns="0" tIns="0" rIns="0" bIns="0" rtlCol="0" anchor="t">
              <a:spAutoFit/>
            </a:bodyPr>
            <a:lstStyle/>
            <a:p>
              <a:pPr algn="dist"/>
              <a:r>
                <a:rPr kumimoji="1" lang="en-US" altLang="zh-CN" dirty="0">
                  <a:solidFill>
                    <a:schemeClr val="bg1"/>
                  </a:solidFill>
                </a:rPr>
                <a:t>Transition Page Title</a:t>
              </a:r>
              <a:endParaRPr kumimoji="1" lang="zh-CN" altLang="en-US" dirty="0">
                <a:solidFill>
                  <a:schemeClr val="bg1"/>
                </a:solidFill>
              </a:endParaRPr>
            </a:p>
          </p:txBody>
        </p:sp>
      </p:grpSp>
      <p:sp>
        <p:nvSpPr>
          <p:cNvPr id="19" name="任意多边形: 形状 18">
            <a:extLst>
              <a:ext uri="{FF2B5EF4-FFF2-40B4-BE49-F238E27FC236}">
                <a16:creationId xmlns:a16="http://schemas.microsoft.com/office/drawing/2014/main" id="{4835D8B7-9710-4EE2-B272-CF95A0EDE7DB}"/>
              </a:ext>
            </a:extLst>
          </p:cNvPr>
          <p:cNvSpPr/>
          <p:nvPr/>
        </p:nvSpPr>
        <p:spPr>
          <a:xfrm rot="10800000" flipV="1">
            <a:off x="7451971" y="2390773"/>
            <a:ext cx="4740028" cy="2398343"/>
          </a:xfrm>
          <a:custGeom>
            <a:avLst/>
            <a:gdLst>
              <a:gd name="connsiteX0" fmla="*/ 4740028 w 4740028"/>
              <a:gd name="connsiteY0" fmla="*/ 0 h 2398343"/>
              <a:gd name="connsiteX1" fmla="*/ 0 w 4740028"/>
              <a:gd name="connsiteY1" fmla="*/ 0 h 2398343"/>
              <a:gd name="connsiteX2" fmla="*/ 0 w 4740028"/>
              <a:gd name="connsiteY2" fmla="*/ 2398343 h 2398343"/>
              <a:gd name="connsiteX3" fmla="*/ 3751720 w 4740028"/>
              <a:gd name="connsiteY3" fmla="*/ 2398343 h 2398343"/>
            </a:gdLst>
            <a:ahLst/>
            <a:cxnLst>
              <a:cxn ang="0">
                <a:pos x="connsiteX0" y="connsiteY0"/>
              </a:cxn>
              <a:cxn ang="0">
                <a:pos x="connsiteX1" y="connsiteY1"/>
              </a:cxn>
              <a:cxn ang="0">
                <a:pos x="connsiteX2" y="connsiteY2"/>
              </a:cxn>
              <a:cxn ang="0">
                <a:pos x="connsiteX3" y="connsiteY3"/>
              </a:cxn>
            </a:cxnLst>
            <a:rect l="l" t="t" r="r" b="b"/>
            <a:pathLst>
              <a:path w="4740028" h="2398343">
                <a:moveTo>
                  <a:pt x="4740028" y="0"/>
                </a:moveTo>
                <a:lnTo>
                  <a:pt x="0" y="0"/>
                </a:lnTo>
                <a:lnTo>
                  <a:pt x="0" y="2398343"/>
                </a:lnTo>
                <a:lnTo>
                  <a:pt x="3751720" y="239834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l"/>
            <a:endParaRPr lang="zh-CN" altLang="en-US" sz="1600">
              <a:solidFill>
                <a:schemeClr val="bg1"/>
              </a:solidFill>
              <a:latin typeface="+mj-ea"/>
              <a:ea typeface="+mj-ea"/>
            </a:endParaRPr>
          </a:p>
        </p:txBody>
      </p:sp>
      <p:sp>
        <p:nvSpPr>
          <p:cNvPr id="21" name="文本框 20">
            <a:extLst>
              <a:ext uri="{FF2B5EF4-FFF2-40B4-BE49-F238E27FC236}">
                <a16:creationId xmlns:a16="http://schemas.microsoft.com/office/drawing/2014/main" id="{983F5AED-A178-428E-BA55-34FA3F2CC575}"/>
              </a:ext>
            </a:extLst>
          </p:cNvPr>
          <p:cNvSpPr txBox="1"/>
          <p:nvPr/>
        </p:nvSpPr>
        <p:spPr>
          <a:xfrm>
            <a:off x="8988343" y="3022199"/>
            <a:ext cx="2677015" cy="923330"/>
          </a:xfrm>
          <a:prstGeom prst="rect">
            <a:avLst/>
          </a:prstGeom>
          <a:noFill/>
        </p:spPr>
        <p:txBody>
          <a:bodyPr wrap="none" lIns="0" tIns="0" rIns="0" bIns="0" rtlCol="0" anchor="t">
            <a:spAutoFit/>
          </a:bodyPr>
          <a:lstStyle/>
          <a:p>
            <a:pPr algn="ctr"/>
            <a:r>
              <a:rPr kumimoji="1" lang="zh-CN" altLang="en-US" sz="6000" dirty="0">
                <a:solidFill>
                  <a:schemeClr val="bg1"/>
                </a:solidFill>
                <a:latin typeface="+mj-ea"/>
                <a:ea typeface="+mj-ea"/>
              </a:rPr>
              <a:t>第</a:t>
            </a:r>
            <a:r>
              <a:rPr kumimoji="1" lang="en-US" altLang="zh-CN" sz="6000" dirty="0">
                <a:solidFill>
                  <a:schemeClr val="bg1"/>
                </a:solidFill>
                <a:latin typeface="+mj-ea"/>
                <a:ea typeface="+mj-ea"/>
              </a:rPr>
              <a:t>1</a:t>
            </a:r>
            <a:r>
              <a:rPr kumimoji="1" lang="zh-CN" altLang="en-US" sz="6000" dirty="0">
                <a:solidFill>
                  <a:schemeClr val="bg1"/>
                </a:solidFill>
                <a:latin typeface="+mj-ea"/>
                <a:ea typeface="+mj-ea"/>
              </a:rPr>
              <a:t>部分</a:t>
            </a:r>
          </a:p>
        </p:txBody>
      </p:sp>
    </p:spTree>
    <p:extLst>
      <p:ext uri="{BB962C8B-B14F-4D97-AF65-F5344CB8AC3E}">
        <p14:creationId xmlns:p14="http://schemas.microsoft.com/office/powerpoint/2010/main" val="1688158521"/>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任意多边形: 形状 3">
            <a:extLst>
              <a:ext uri="{FF2B5EF4-FFF2-40B4-BE49-F238E27FC236}">
                <a16:creationId xmlns:a16="http://schemas.microsoft.com/office/drawing/2014/main" id="{8E5B38B7-0A92-40B8-8ED5-5F093F1676CE}"/>
              </a:ext>
            </a:extLst>
          </p:cNvPr>
          <p:cNvSpPr/>
          <p:nvPr/>
        </p:nvSpPr>
        <p:spPr>
          <a:xfrm>
            <a:off x="0" y="1691640"/>
            <a:ext cx="10195560" cy="3474720"/>
          </a:xfrm>
          <a:custGeom>
            <a:avLst/>
            <a:gdLst>
              <a:gd name="connsiteX0" fmla="*/ 0 w 10195560"/>
              <a:gd name="connsiteY0" fmla="*/ 0 h 3474720"/>
              <a:gd name="connsiteX1" fmla="*/ 10195560 w 10195560"/>
              <a:gd name="connsiteY1" fmla="*/ 0 h 3474720"/>
              <a:gd name="connsiteX2" fmla="*/ 10195560 w 10195560"/>
              <a:gd name="connsiteY2" fmla="*/ 1530157 h 3474720"/>
              <a:gd name="connsiteX3" fmla="*/ 9838314 w 10195560"/>
              <a:gd name="connsiteY3" fmla="*/ 1737360 h 3474720"/>
              <a:gd name="connsiteX4" fmla="*/ 10195560 w 10195560"/>
              <a:gd name="connsiteY4" fmla="*/ 1944562 h 3474720"/>
              <a:gd name="connsiteX5" fmla="*/ 10195560 w 10195560"/>
              <a:gd name="connsiteY5" fmla="*/ 3474720 h 3474720"/>
              <a:gd name="connsiteX6" fmla="*/ 0 w 10195560"/>
              <a:gd name="connsiteY6" fmla="*/ 3474720 h 3474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195560" h="3474720">
                <a:moveTo>
                  <a:pt x="0" y="0"/>
                </a:moveTo>
                <a:lnTo>
                  <a:pt x="10195560" y="0"/>
                </a:lnTo>
                <a:lnTo>
                  <a:pt x="10195560" y="1530157"/>
                </a:lnTo>
                <a:lnTo>
                  <a:pt x="9838314" y="1737360"/>
                </a:lnTo>
                <a:lnTo>
                  <a:pt x="10195560" y="1944562"/>
                </a:lnTo>
                <a:lnTo>
                  <a:pt x="10195560" y="3474720"/>
                </a:lnTo>
                <a:lnTo>
                  <a:pt x="0" y="347472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l"/>
            <a:endParaRPr lang="zh-CN" altLang="en-US" sz="1600">
              <a:solidFill>
                <a:schemeClr val="bg1"/>
              </a:solidFill>
              <a:latin typeface="+mj-ea"/>
              <a:ea typeface="+mj-ea"/>
            </a:endParaRPr>
          </a:p>
        </p:txBody>
      </p:sp>
      <p:grpSp>
        <p:nvGrpSpPr>
          <p:cNvPr id="5" name="组合 4">
            <a:extLst>
              <a:ext uri="{FF2B5EF4-FFF2-40B4-BE49-F238E27FC236}">
                <a16:creationId xmlns:a16="http://schemas.microsoft.com/office/drawing/2014/main" id="{59C5338D-635D-490E-A594-9CE8B666E5A7}"/>
              </a:ext>
            </a:extLst>
          </p:cNvPr>
          <p:cNvGrpSpPr/>
          <p:nvPr/>
        </p:nvGrpSpPr>
        <p:grpSpPr>
          <a:xfrm>
            <a:off x="4517233" y="2736502"/>
            <a:ext cx="4616650" cy="1384995"/>
            <a:chOff x="2008240" y="1971973"/>
            <a:chExt cx="4616650" cy="1384995"/>
          </a:xfrm>
        </p:grpSpPr>
        <p:sp>
          <p:nvSpPr>
            <p:cNvPr id="6" name="文本框 5">
              <a:extLst>
                <a:ext uri="{FF2B5EF4-FFF2-40B4-BE49-F238E27FC236}">
                  <a16:creationId xmlns:a16="http://schemas.microsoft.com/office/drawing/2014/main" id="{D1BA5F15-6795-4424-B374-9F4ADC7D5BDD}"/>
                </a:ext>
              </a:extLst>
            </p:cNvPr>
            <p:cNvSpPr txBox="1"/>
            <p:nvPr/>
          </p:nvSpPr>
          <p:spPr>
            <a:xfrm>
              <a:off x="2008241" y="1971973"/>
              <a:ext cx="4616649" cy="1107996"/>
            </a:xfrm>
            <a:prstGeom prst="rect">
              <a:avLst/>
            </a:prstGeom>
            <a:noFill/>
          </p:spPr>
          <p:txBody>
            <a:bodyPr wrap="none" lIns="0" tIns="0" rIns="0" bIns="0" rtlCol="0" anchor="t">
              <a:spAutoFit/>
            </a:bodyPr>
            <a:lstStyle/>
            <a:p>
              <a:pPr algn="ctr"/>
              <a:r>
                <a:rPr kumimoji="1" lang="zh-CN" altLang="en-US" sz="7200" dirty="0">
                  <a:solidFill>
                    <a:schemeClr val="bg1"/>
                  </a:solidFill>
                  <a:latin typeface="+mj-ea"/>
                  <a:ea typeface="+mj-ea"/>
                </a:rPr>
                <a:t>过渡页标题</a:t>
              </a:r>
            </a:p>
          </p:txBody>
        </p:sp>
        <p:sp>
          <p:nvSpPr>
            <p:cNvPr id="7" name="文本框 6">
              <a:extLst>
                <a:ext uri="{FF2B5EF4-FFF2-40B4-BE49-F238E27FC236}">
                  <a16:creationId xmlns:a16="http://schemas.microsoft.com/office/drawing/2014/main" id="{D075E2B1-60A8-41E6-A53C-DE34B3A075DC}"/>
                </a:ext>
              </a:extLst>
            </p:cNvPr>
            <p:cNvSpPr txBox="1"/>
            <p:nvPr/>
          </p:nvSpPr>
          <p:spPr>
            <a:xfrm>
              <a:off x="2008240" y="3079969"/>
              <a:ext cx="4616649" cy="276999"/>
            </a:xfrm>
            <a:prstGeom prst="rect">
              <a:avLst/>
            </a:prstGeom>
            <a:noFill/>
          </p:spPr>
          <p:txBody>
            <a:bodyPr wrap="square" lIns="0" tIns="0" rIns="0" bIns="0" rtlCol="0" anchor="t">
              <a:spAutoFit/>
            </a:bodyPr>
            <a:lstStyle/>
            <a:p>
              <a:pPr algn="dist"/>
              <a:r>
                <a:rPr kumimoji="1" lang="en-US" altLang="zh-CN" dirty="0">
                  <a:solidFill>
                    <a:schemeClr val="bg1"/>
                  </a:solidFill>
                </a:rPr>
                <a:t>Transition Page Title</a:t>
              </a:r>
              <a:endParaRPr kumimoji="1" lang="zh-CN" altLang="en-US" dirty="0">
                <a:solidFill>
                  <a:schemeClr val="bg1"/>
                </a:solidFill>
              </a:endParaRPr>
            </a:p>
          </p:txBody>
        </p:sp>
      </p:grpSp>
      <p:sp>
        <p:nvSpPr>
          <p:cNvPr id="8" name="文本框 7">
            <a:extLst>
              <a:ext uri="{FF2B5EF4-FFF2-40B4-BE49-F238E27FC236}">
                <a16:creationId xmlns:a16="http://schemas.microsoft.com/office/drawing/2014/main" id="{C17B6371-DE77-44AB-9AF4-F28284F6F80A}"/>
              </a:ext>
            </a:extLst>
          </p:cNvPr>
          <p:cNvSpPr txBox="1"/>
          <p:nvPr/>
        </p:nvSpPr>
        <p:spPr>
          <a:xfrm>
            <a:off x="1051610" y="2323719"/>
            <a:ext cx="3484928" cy="3677930"/>
          </a:xfrm>
          <a:prstGeom prst="rect">
            <a:avLst/>
          </a:prstGeom>
          <a:noFill/>
        </p:spPr>
        <p:txBody>
          <a:bodyPr wrap="none" lIns="0" tIns="0" rIns="0" bIns="0" rtlCol="0" anchor="t">
            <a:spAutoFit/>
          </a:bodyPr>
          <a:lstStyle/>
          <a:p>
            <a:pPr algn="l"/>
            <a:r>
              <a:rPr lang="en-US" altLang="zh-CN" sz="23900" dirty="0">
                <a:solidFill>
                  <a:schemeClr val="bg1"/>
                </a:solidFill>
                <a:latin typeface="+mj-ea"/>
                <a:ea typeface="+mj-ea"/>
              </a:rPr>
              <a:t>01</a:t>
            </a:r>
            <a:endParaRPr lang="zh-CN" altLang="en-US" sz="23900" dirty="0">
              <a:solidFill>
                <a:schemeClr val="bg1"/>
              </a:solidFill>
              <a:latin typeface="+mj-ea"/>
              <a:ea typeface="+mj-ea"/>
            </a:endParaRPr>
          </a:p>
        </p:txBody>
      </p:sp>
      <p:sp>
        <p:nvSpPr>
          <p:cNvPr id="9" name="矩形 8">
            <a:extLst>
              <a:ext uri="{FF2B5EF4-FFF2-40B4-BE49-F238E27FC236}">
                <a16:creationId xmlns:a16="http://schemas.microsoft.com/office/drawing/2014/main" id="{A3846B5C-533A-40C0-911E-0F1A1D72409A}"/>
              </a:ext>
            </a:extLst>
          </p:cNvPr>
          <p:cNvSpPr/>
          <p:nvPr/>
        </p:nvSpPr>
        <p:spPr>
          <a:xfrm>
            <a:off x="0" y="3635524"/>
            <a:ext cx="1801368" cy="69494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10" name="文本框 9">
            <a:extLst>
              <a:ext uri="{FF2B5EF4-FFF2-40B4-BE49-F238E27FC236}">
                <a16:creationId xmlns:a16="http://schemas.microsoft.com/office/drawing/2014/main" id="{D62C3FD8-A182-4C8F-B3E8-944DCCD15C6D}"/>
              </a:ext>
            </a:extLst>
          </p:cNvPr>
          <p:cNvSpPr txBox="1"/>
          <p:nvPr/>
        </p:nvSpPr>
        <p:spPr>
          <a:xfrm>
            <a:off x="621792" y="3817064"/>
            <a:ext cx="1588576" cy="369332"/>
          </a:xfrm>
          <a:prstGeom prst="rect">
            <a:avLst/>
          </a:prstGeom>
          <a:noFill/>
        </p:spPr>
        <p:txBody>
          <a:bodyPr wrap="none" lIns="0" tIns="0" rIns="0" bIns="0" rtlCol="0" anchor="t">
            <a:spAutoFit/>
          </a:bodyPr>
          <a:lstStyle/>
          <a:p>
            <a:pPr algn="l"/>
            <a:r>
              <a:rPr lang="en-US" altLang="zh-CN" sz="2400" dirty="0">
                <a:solidFill>
                  <a:schemeClr val="bg1"/>
                </a:solidFill>
              </a:rPr>
              <a:t>PART ONE </a:t>
            </a:r>
            <a:endParaRPr lang="zh-CN" altLang="en-US" sz="2400" dirty="0">
              <a:solidFill>
                <a:schemeClr val="bg1"/>
              </a:solidFill>
            </a:endParaRPr>
          </a:p>
        </p:txBody>
      </p:sp>
    </p:spTree>
    <p:extLst>
      <p:ext uri="{BB962C8B-B14F-4D97-AF65-F5344CB8AC3E}">
        <p14:creationId xmlns:p14="http://schemas.microsoft.com/office/powerpoint/2010/main" val="1933609580"/>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文本框 10">
            <a:extLst>
              <a:ext uri="{FF2B5EF4-FFF2-40B4-BE49-F238E27FC236}">
                <a16:creationId xmlns:a16="http://schemas.microsoft.com/office/drawing/2014/main" id="{E4393356-E9A7-46D9-B5F5-0D21EC991A29}"/>
              </a:ext>
            </a:extLst>
          </p:cNvPr>
          <p:cNvSpPr txBox="1"/>
          <p:nvPr/>
        </p:nvSpPr>
        <p:spPr>
          <a:xfrm>
            <a:off x="1941017" y="1919645"/>
            <a:ext cx="8309967" cy="1107996"/>
          </a:xfrm>
          <a:prstGeom prst="rect">
            <a:avLst/>
          </a:prstGeom>
          <a:noFill/>
        </p:spPr>
        <p:txBody>
          <a:bodyPr wrap="none" lIns="0" tIns="0" rIns="0" bIns="0" rtlCol="0" anchor="t">
            <a:spAutoFit/>
          </a:bodyPr>
          <a:lstStyle/>
          <a:p>
            <a:pPr algn="ctr"/>
            <a:r>
              <a:rPr lang="zh-CN" altLang="en-US" sz="7200" dirty="0">
                <a:solidFill>
                  <a:schemeClr val="accent1">
                    <a:lumMod val="100000"/>
                  </a:schemeClr>
                </a:solidFill>
                <a:latin typeface="+mj-ea"/>
                <a:ea typeface="+mj-ea"/>
              </a:rPr>
              <a:t>输入你的封面大标题</a:t>
            </a:r>
          </a:p>
        </p:txBody>
      </p:sp>
      <p:sp>
        <p:nvSpPr>
          <p:cNvPr id="12" name="文本框 11">
            <a:extLst>
              <a:ext uri="{FF2B5EF4-FFF2-40B4-BE49-F238E27FC236}">
                <a16:creationId xmlns:a16="http://schemas.microsoft.com/office/drawing/2014/main" id="{08D1ED60-C0E7-408E-A5AA-59B489440FCB}"/>
              </a:ext>
            </a:extLst>
          </p:cNvPr>
          <p:cNvSpPr txBox="1"/>
          <p:nvPr/>
        </p:nvSpPr>
        <p:spPr>
          <a:xfrm>
            <a:off x="4095451" y="3109937"/>
            <a:ext cx="4001095" cy="369332"/>
          </a:xfrm>
          <a:prstGeom prst="rect">
            <a:avLst/>
          </a:prstGeom>
          <a:noFill/>
        </p:spPr>
        <p:txBody>
          <a:bodyPr wrap="none" lIns="0" tIns="0" rIns="0" bIns="0" rtlCol="0" anchor="t">
            <a:spAutoFit/>
          </a:bodyPr>
          <a:lstStyle/>
          <a:p>
            <a:pPr algn="ctr"/>
            <a:r>
              <a:rPr lang="zh-CN" altLang="en-US" sz="2400" dirty="0">
                <a:solidFill>
                  <a:schemeClr val="accent1">
                    <a:lumMod val="100000"/>
                  </a:schemeClr>
                </a:solidFill>
                <a:latin typeface="+mn-ea"/>
              </a:rPr>
              <a:t>输入你的副标题或大标题英文</a:t>
            </a:r>
          </a:p>
        </p:txBody>
      </p:sp>
      <p:cxnSp>
        <p:nvCxnSpPr>
          <p:cNvPr id="14" name="直接连接符 13">
            <a:extLst>
              <a:ext uri="{FF2B5EF4-FFF2-40B4-BE49-F238E27FC236}">
                <a16:creationId xmlns:a16="http://schemas.microsoft.com/office/drawing/2014/main" id="{99FDF5DC-EAFA-4C3B-B052-660243EB047F}"/>
              </a:ext>
            </a:extLst>
          </p:cNvPr>
          <p:cNvCxnSpPr/>
          <p:nvPr/>
        </p:nvCxnSpPr>
        <p:spPr>
          <a:xfrm flipH="1">
            <a:off x="2029968" y="3300389"/>
            <a:ext cx="1901952" cy="0"/>
          </a:xfrm>
          <a:prstGeom prst="line">
            <a:avLst/>
          </a:prstGeom>
          <a:ln w="19050">
            <a:solidFill>
              <a:schemeClr val="accent1">
                <a:lumMod val="100000"/>
              </a:schemeClr>
            </a:solidFill>
          </a:ln>
        </p:spPr>
        <p:style>
          <a:lnRef idx="1">
            <a:schemeClr val="accent1"/>
          </a:lnRef>
          <a:fillRef idx="0">
            <a:schemeClr val="accent1"/>
          </a:fillRef>
          <a:effectRef idx="0">
            <a:schemeClr val="accent1"/>
          </a:effectRef>
          <a:fontRef idx="minor">
            <a:schemeClr val="tx1"/>
          </a:fontRef>
        </p:style>
      </p:cxnSp>
      <p:cxnSp>
        <p:nvCxnSpPr>
          <p:cNvPr id="15" name="直接连接符 14">
            <a:extLst>
              <a:ext uri="{FF2B5EF4-FFF2-40B4-BE49-F238E27FC236}">
                <a16:creationId xmlns:a16="http://schemas.microsoft.com/office/drawing/2014/main" id="{C6CC629A-E754-4728-BB95-563C56597B63}"/>
              </a:ext>
            </a:extLst>
          </p:cNvPr>
          <p:cNvCxnSpPr/>
          <p:nvPr/>
        </p:nvCxnSpPr>
        <p:spPr>
          <a:xfrm flipH="1">
            <a:off x="8284464" y="3300389"/>
            <a:ext cx="1901952" cy="0"/>
          </a:xfrm>
          <a:prstGeom prst="line">
            <a:avLst/>
          </a:prstGeom>
          <a:ln w="19050">
            <a:solidFill>
              <a:schemeClr val="accent1">
                <a:lumMod val="100000"/>
              </a:schemeClr>
            </a:solidFill>
          </a:ln>
        </p:spPr>
        <p:style>
          <a:lnRef idx="1">
            <a:schemeClr val="accent1"/>
          </a:lnRef>
          <a:fillRef idx="0">
            <a:schemeClr val="accent1"/>
          </a:fillRef>
          <a:effectRef idx="0">
            <a:schemeClr val="accent1"/>
          </a:effectRef>
          <a:fontRef idx="minor">
            <a:schemeClr val="tx1"/>
          </a:fontRef>
        </p:style>
      </p:cxnSp>
      <p:grpSp>
        <p:nvGrpSpPr>
          <p:cNvPr id="18" name="组合 17">
            <a:extLst>
              <a:ext uri="{FF2B5EF4-FFF2-40B4-BE49-F238E27FC236}">
                <a16:creationId xmlns:a16="http://schemas.microsoft.com/office/drawing/2014/main" id="{FC799265-AC15-410F-82A2-679AB60B288F}"/>
              </a:ext>
            </a:extLst>
          </p:cNvPr>
          <p:cNvGrpSpPr/>
          <p:nvPr/>
        </p:nvGrpSpPr>
        <p:grpSpPr>
          <a:xfrm>
            <a:off x="4331702" y="4082534"/>
            <a:ext cx="1475214" cy="246221"/>
            <a:chOff x="4095451" y="4640913"/>
            <a:chExt cx="1475214" cy="246221"/>
          </a:xfrm>
        </p:grpSpPr>
        <p:sp>
          <p:nvSpPr>
            <p:cNvPr id="16" name="矩形 15">
              <a:extLst>
                <a:ext uri="{FF2B5EF4-FFF2-40B4-BE49-F238E27FC236}">
                  <a16:creationId xmlns:a16="http://schemas.microsoft.com/office/drawing/2014/main" id="{74C493E7-1B47-4349-BC5B-BF3163490795}"/>
                </a:ext>
              </a:extLst>
            </p:cNvPr>
            <p:cNvSpPr/>
            <p:nvPr/>
          </p:nvSpPr>
          <p:spPr>
            <a:xfrm>
              <a:off x="4095451" y="4672584"/>
              <a:ext cx="164592" cy="164592"/>
            </a:xfrm>
            <a:prstGeom prst="rect">
              <a:avLst/>
            </a:prstGeom>
            <a:solidFill>
              <a:schemeClr val="accent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p>
          </p:txBody>
        </p:sp>
        <p:sp>
          <p:nvSpPr>
            <p:cNvPr id="17" name="文本框 16">
              <a:extLst>
                <a:ext uri="{FF2B5EF4-FFF2-40B4-BE49-F238E27FC236}">
                  <a16:creationId xmlns:a16="http://schemas.microsoft.com/office/drawing/2014/main" id="{B804F6AA-7656-4EF8-84F0-3B3FB5CF0922}"/>
                </a:ext>
              </a:extLst>
            </p:cNvPr>
            <p:cNvSpPr txBox="1"/>
            <p:nvPr/>
          </p:nvSpPr>
          <p:spPr>
            <a:xfrm>
              <a:off x="4408487" y="4640913"/>
              <a:ext cx="1162178" cy="246221"/>
            </a:xfrm>
            <a:prstGeom prst="rect">
              <a:avLst/>
            </a:prstGeom>
            <a:noFill/>
          </p:spPr>
          <p:txBody>
            <a:bodyPr wrap="none" lIns="0" tIns="0" rIns="0" bIns="0" rtlCol="0" anchor="t">
              <a:spAutoFit/>
            </a:bodyPr>
            <a:lstStyle/>
            <a:p>
              <a:r>
                <a:rPr lang="zh-CN" altLang="en-US" sz="1600" dirty="0">
                  <a:solidFill>
                    <a:schemeClr val="accent1">
                      <a:lumMod val="100000"/>
                    </a:schemeClr>
                  </a:solidFill>
                  <a:latin typeface="+mn-ea"/>
                </a:rPr>
                <a:t>汇报人：</a:t>
              </a:r>
              <a:r>
                <a:rPr lang="en-US" altLang="zh-CN" sz="1600" dirty="0">
                  <a:solidFill>
                    <a:schemeClr val="accent1">
                      <a:lumMod val="100000"/>
                    </a:schemeClr>
                  </a:solidFill>
                  <a:latin typeface="+mn-ea"/>
                </a:rPr>
                <a:t>xxx</a:t>
              </a:r>
              <a:endParaRPr lang="zh-CN" altLang="en-US" sz="1600" dirty="0">
                <a:solidFill>
                  <a:schemeClr val="accent1">
                    <a:lumMod val="100000"/>
                  </a:schemeClr>
                </a:solidFill>
                <a:latin typeface="+mn-ea"/>
              </a:endParaRPr>
            </a:p>
          </p:txBody>
        </p:sp>
      </p:grpSp>
      <p:grpSp>
        <p:nvGrpSpPr>
          <p:cNvPr id="19" name="组合 18">
            <a:extLst>
              <a:ext uri="{FF2B5EF4-FFF2-40B4-BE49-F238E27FC236}">
                <a16:creationId xmlns:a16="http://schemas.microsoft.com/office/drawing/2014/main" id="{482B1619-178E-45D1-BC39-C5F4314075B6}"/>
              </a:ext>
            </a:extLst>
          </p:cNvPr>
          <p:cNvGrpSpPr/>
          <p:nvPr/>
        </p:nvGrpSpPr>
        <p:grpSpPr>
          <a:xfrm>
            <a:off x="6590270" y="4082534"/>
            <a:ext cx="1270029" cy="246221"/>
            <a:chOff x="4095451" y="4640913"/>
            <a:chExt cx="1270029" cy="246221"/>
          </a:xfrm>
        </p:grpSpPr>
        <p:sp>
          <p:nvSpPr>
            <p:cNvPr id="20" name="矩形 19">
              <a:extLst>
                <a:ext uri="{FF2B5EF4-FFF2-40B4-BE49-F238E27FC236}">
                  <a16:creationId xmlns:a16="http://schemas.microsoft.com/office/drawing/2014/main" id="{3A1AE345-38CE-49BE-9E58-2C20078777A3}"/>
                </a:ext>
              </a:extLst>
            </p:cNvPr>
            <p:cNvSpPr/>
            <p:nvPr/>
          </p:nvSpPr>
          <p:spPr>
            <a:xfrm>
              <a:off x="4095451" y="4672584"/>
              <a:ext cx="164592" cy="164592"/>
            </a:xfrm>
            <a:prstGeom prst="rect">
              <a:avLst/>
            </a:prstGeom>
            <a:solidFill>
              <a:schemeClr val="accent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p>
          </p:txBody>
        </p:sp>
        <p:sp>
          <p:nvSpPr>
            <p:cNvPr id="21" name="文本框 20">
              <a:extLst>
                <a:ext uri="{FF2B5EF4-FFF2-40B4-BE49-F238E27FC236}">
                  <a16:creationId xmlns:a16="http://schemas.microsoft.com/office/drawing/2014/main" id="{FCC3031D-C171-43E7-B549-82FC96054817}"/>
                </a:ext>
              </a:extLst>
            </p:cNvPr>
            <p:cNvSpPr txBox="1"/>
            <p:nvPr/>
          </p:nvSpPr>
          <p:spPr>
            <a:xfrm>
              <a:off x="4408487" y="4640913"/>
              <a:ext cx="956993" cy="246221"/>
            </a:xfrm>
            <a:prstGeom prst="rect">
              <a:avLst/>
            </a:prstGeom>
            <a:noFill/>
          </p:spPr>
          <p:txBody>
            <a:bodyPr wrap="none" lIns="0" tIns="0" rIns="0" bIns="0" rtlCol="0" anchor="t">
              <a:spAutoFit/>
            </a:bodyPr>
            <a:lstStyle/>
            <a:p>
              <a:r>
                <a:rPr lang="zh-CN" altLang="en-US" sz="1600" dirty="0">
                  <a:solidFill>
                    <a:schemeClr val="accent1">
                      <a:lumMod val="100000"/>
                    </a:schemeClr>
                  </a:solidFill>
                  <a:latin typeface="+mn-ea"/>
                </a:rPr>
                <a:t>单位：</a:t>
              </a:r>
              <a:r>
                <a:rPr lang="en-US" altLang="zh-CN" sz="1600" dirty="0">
                  <a:solidFill>
                    <a:schemeClr val="accent1">
                      <a:lumMod val="100000"/>
                    </a:schemeClr>
                  </a:solidFill>
                  <a:latin typeface="+mn-ea"/>
                </a:rPr>
                <a:t>xxx</a:t>
              </a:r>
              <a:endParaRPr lang="zh-CN" altLang="en-US" sz="1600" dirty="0">
                <a:solidFill>
                  <a:schemeClr val="accent1">
                    <a:lumMod val="100000"/>
                  </a:schemeClr>
                </a:solidFill>
                <a:latin typeface="+mn-ea"/>
              </a:endParaRPr>
            </a:p>
          </p:txBody>
        </p:sp>
      </p:grpSp>
      <p:sp>
        <p:nvSpPr>
          <p:cNvPr id="22" name="任意多边形: 形状 21">
            <a:extLst>
              <a:ext uri="{FF2B5EF4-FFF2-40B4-BE49-F238E27FC236}">
                <a16:creationId xmlns:a16="http://schemas.microsoft.com/office/drawing/2014/main" id="{CA85D76F-9E99-44DF-B42C-C0402DFA9DB1}"/>
              </a:ext>
            </a:extLst>
          </p:cNvPr>
          <p:cNvSpPr/>
          <p:nvPr/>
        </p:nvSpPr>
        <p:spPr>
          <a:xfrm>
            <a:off x="0" y="4813300"/>
            <a:ext cx="12192000" cy="2044700"/>
          </a:xfrm>
          <a:custGeom>
            <a:avLst/>
            <a:gdLst>
              <a:gd name="connsiteX0" fmla="*/ 0 w 12192000"/>
              <a:gd name="connsiteY0" fmla="*/ 0 h 1704980"/>
              <a:gd name="connsiteX1" fmla="*/ 145697 w 12192000"/>
              <a:gd name="connsiteY1" fmla="*/ 17875 h 1704980"/>
              <a:gd name="connsiteX2" fmla="*/ 6096000 w 12192000"/>
              <a:gd name="connsiteY2" fmla="*/ 306224 h 1704980"/>
              <a:gd name="connsiteX3" fmla="*/ 12046304 w 12192000"/>
              <a:gd name="connsiteY3" fmla="*/ 17875 h 1704980"/>
              <a:gd name="connsiteX4" fmla="*/ 12192000 w 12192000"/>
              <a:gd name="connsiteY4" fmla="*/ 0 h 1704980"/>
              <a:gd name="connsiteX5" fmla="*/ 12192000 w 12192000"/>
              <a:gd name="connsiteY5" fmla="*/ 1704980 h 1704980"/>
              <a:gd name="connsiteX6" fmla="*/ 0 w 12192000"/>
              <a:gd name="connsiteY6" fmla="*/ 1704980 h 1704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1704980">
                <a:moveTo>
                  <a:pt x="0" y="0"/>
                </a:moveTo>
                <a:lnTo>
                  <a:pt x="145697" y="17875"/>
                </a:lnTo>
                <a:cubicBezTo>
                  <a:pt x="1762699" y="198013"/>
                  <a:pt x="3835734" y="306224"/>
                  <a:pt x="6096000" y="306224"/>
                </a:cubicBezTo>
                <a:cubicBezTo>
                  <a:pt x="8356267" y="306224"/>
                  <a:pt x="10429302" y="198013"/>
                  <a:pt x="12046304" y="17875"/>
                </a:cubicBezTo>
                <a:lnTo>
                  <a:pt x="12192000" y="0"/>
                </a:lnTo>
                <a:lnTo>
                  <a:pt x="12192000" y="1704980"/>
                </a:lnTo>
                <a:lnTo>
                  <a:pt x="0" y="170498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6000" dirty="0"/>
          </a:p>
        </p:txBody>
      </p:sp>
    </p:spTree>
    <p:extLst>
      <p:ext uri="{BB962C8B-B14F-4D97-AF65-F5344CB8AC3E}">
        <p14:creationId xmlns:p14="http://schemas.microsoft.com/office/powerpoint/2010/main" val="200796371"/>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a:extLst>
              <a:ext uri="{FF2B5EF4-FFF2-40B4-BE49-F238E27FC236}">
                <a16:creationId xmlns:a16="http://schemas.microsoft.com/office/drawing/2014/main" id="{FBCC5CB3-B539-4FE8-B27D-2BFAB3840BEF}"/>
              </a:ext>
            </a:extLst>
          </p:cNvPr>
          <p:cNvSpPr/>
          <p:nvPr/>
        </p:nvSpPr>
        <p:spPr>
          <a:xfrm>
            <a:off x="0" y="-1"/>
            <a:ext cx="12192000" cy="325956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3" name="矩形 2">
            <a:extLst>
              <a:ext uri="{FF2B5EF4-FFF2-40B4-BE49-F238E27FC236}">
                <a16:creationId xmlns:a16="http://schemas.microsoft.com/office/drawing/2014/main" id="{0678D901-F842-4E71-9FDB-4C1F8BCD9F5C}"/>
              </a:ext>
            </a:extLst>
          </p:cNvPr>
          <p:cNvSpPr/>
          <p:nvPr/>
        </p:nvSpPr>
        <p:spPr>
          <a:xfrm>
            <a:off x="0" y="2235708"/>
            <a:ext cx="3825551" cy="205637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8800" dirty="0">
                <a:solidFill>
                  <a:schemeClr val="bg1"/>
                </a:solidFill>
                <a:latin typeface="+mj-ea"/>
                <a:ea typeface="+mj-ea"/>
              </a:rPr>
              <a:t>ONE</a:t>
            </a:r>
            <a:endParaRPr lang="zh-CN" altLang="en-US" sz="1400">
              <a:solidFill>
                <a:schemeClr val="bg1"/>
              </a:solidFill>
              <a:latin typeface="+mj-ea"/>
              <a:ea typeface="+mj-ea"/>
            </a:endParaRPr>
          </a:p>
        </p:txBody>
      </p:sp>
      <p:sp>
        <p:nvSpPr>
          <p:cNvPr id="6" name="文本框 5">
            <a:extLst>
              <a:ext uri="{FF2B5EF4-FFF2-40B4-BE49-F238E27FC236}">
                <a16:creationId xmlns:a16="http://schemas.microsoft.com/office/drawing/2014/main" id="{865B640C-E3DE-4B19-8C76-43D063DB8824}"/>
              </a:ext>
            </a:extLst>
          </p:cNvPr>
          <p:cNvSpPr txBox="1"/>
          <p:nvPr/>
        </p:nvSpPr>
        <p:spPr>
          <a:xfrm>
            <a:off x="4098758" y="3333154"/>
            <a:ext cx="4616649" cy="1107996"/>
          </a:xfrm>
          <a:prstGeom prst="rect">
            <a:avLst/>
          </a:prstGeom>
          <a:noFill/>
        </p:spPr>
        <p:txBody>
          <a:bodyPr wrap="none" lIns="0" tIns="0" rIns="0" bIns="0" rtlCol="0" anchor="t">
            <a:spAutoFit/>
          </a:bodyPr>
          <a:lstStyle/>
          <a:p>
            <a:pPr algn="ctr"/>
            <a:r>
              <a:rPr kumimoji="1" lang="zh-CN" altLang="en-US" sz="7200" dirty="0">
                <a:solidFill>
                  <a:schemeClr val="accent1">
                    <a:lumMod val="100000"/>
                  </a:schemeClr>
                </a:solidFill>
                <a:latin typeface="+mj-ea"/>
                <a:ea typeface="+mj-ea"/>
              </a:rPr>
              <a:t>过渡页标题</a:t>
            </a:r>
          </a:p>
        </p:txBody>
      </p:sp>
      <p:sp>
        <p:nvSpPr>
          <p:cNvPr id="7" name="文本框 6">
            <a:extLst>
              <a:ext uri="{FF2B5EF4-FFF2-40B4-BE49-F238E27FC236}">
                <a16:creationId xmlns:a16="http://schemas.microsoft.com/office/drawing/2014/main" id="{2AEBE238-54E4-49DA-83FA-28A2A1FA874D}"/>
              </a:ext>
            </a:extLst>
          </p:cNvPr>
          <p:cNvSpPr txBox="1"/>
          <p:nvPr/>
        </p:nvSpPr>
        <p:spPr>
          <a:xfrm>
            <a:off x="8783285" y="3751393"/>
            <a:ext cx="1331100" cy="641242"/>
          </a:xfrm>
          <a:prstGeom prst="rect">
            <a:avLst/>
          </a:prstGeom>
          <a:noFill/>
        </p:spPr>
        <p:txBody>
          <a:bodyPr wrap="square" lIns="108000" tIns="0" rIns="0" bIns="86400" rtlCol="0" anchor="t">
            <a:spAutoFit/>
          </a:bodyPr>
          <a:lstStyle/>
          <a:p>
            <a:r>
              <a:rPr kumimoji="1" lang="en-US" altLang="zh-CN" dirty="0">
                <a:solidFill>
                  <a:schemeClr val="accent1">
                    <a:lumMod val="100000"/>
                  </a:schemeClr>
                </a:solidFill>
              </a:rPr>
              <a:t>Transition </a:t>
            </a:r>
          </a:p>
          <a:p>
            <a:r>
              <a:rPr kumimoji="1" lang="en-US" altLang="zh-CN" dirty="0">
                <a:solidFill>
                  <a:schemeClr val="accent1">
                    <a:lumMod val="100000"/>
                  </a:schemeClr>
                </a:solidFill>
              </a:rPr>
              <a:t>Page Title</a:t>
            </a:r>
            <a:endParaRPr kumimoji="1" lang="zh-CN" altLang="en-US" dirty="0">
              <a:solidFill>
                <a:schemeClr val="accent1">
                  <a:lumMod val="100000"/>
                </a:schemeClr>
              </a:solidFill>
            </a:endParaRPr>
          </a:p>
        </p:txBody>
      </p:sp>
      <p:sp>
        <p:nvSpPr>
          <p:cNvPr id="9" name="矩形 8">
            <a:extLst>
              <a:ext uri="{FF2B5EF4-FFF2-40B4-BE49-F238E27FC236}">
                <a16:creationId xmlns:a16="http://schemas.microsoft.com/office/drawing/2014/main" id="{B5B5DA6E-8B99-4C64-ACAA-DF09E174F94E}"/>
              </a:ext>
            </a:extLst>
          </p:cNvPr>
          <p:cNvSpPr/>
          <p:nvPr/>
        </p:nvSpPr>
        <p:spPr>
          <a:xfrm>
            <a:off x="11756571" y="3844212"/>
            <a:ext cx="435429" cy="44787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dirty="0">
              <a:solidFill>
                <a:schemeClr val="bg1"/>
              </a:solidFill>
              <a:latin typeface="+mj-ea"/>
              <a:ea typeface="+mj-ea"/>
            </a:endParaRPr>
          </a:p>
        </p:txBody>
      </p:sp>
    </p:spTree>
    <p:extLst>
      <p:ext uri="{BB962C8B-B14F-4D97-AF65-F5344CB8AC3E}">
        <p14:creationId xmlns:p14="http://schemas.microsoft.com/office/powerpoint/2010/main" val="524891479"/>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a:extLst>
              <a:ext uri="{FF2B5EF4-FFF2-40B4-BE49-F238E27FC236}">
                <a16:creationId xmlns:a16="http://schemas.microsoft.com/office/drawing/2014/main" id="{2DE2912B-0381-4E78-BD82-5D7B41E78628}"/>
              </a:ext>
            </a:extLst>
          </p:cNvPr>
          <p:cNvSpPr/>
          <p:nvPr/>
        </p:nvSpPr>
        <p:spPr>
          <a:xfrm>
            <a:off x="0" y="2016252"/>
            <a:ext cx="12192000" cy="2825496"/>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3" name="矩形 2">
            <a:extLst>
              <a:ext uri="{FF2B5EF4-FFF2-40B4-BE49-F238E27FC236}">
                <a16:creationId xmlns:a16="http://schemas.microsoft.com/office/drawing/2014/main" id="{FDF76128-41C0-40BC-9CA4-F92BC546A92B}"/>
              </a:ext>
            </a:extLst>
          </p:cNvPr>
          <p:cNvSpPr/>
          <p:nvPr/>
        </p:nvSpPr>
        <p:spPr>
          <a:xfrm>
            <a:off x="1280160" y="0"/>
            <a:ext cx="2743200" cy="51206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4" name="箭头: V 形 3">
            <a:extLst>
              <a:ext uri="{FF2B5EF4-FFF2-40B4-BE49-F238E27FC236}">
                <a16:creationId xmlns:a16="http://schemas.microsoft.com/office/drawing/2014/main" id="{203C06E6-3D32-4B14-9F84-0C4C1441A7B4}"/>
              </a:ext>
            </a:extLst>
          </p:cNvPr>
          <p:cNvSpPr/>
          <p:nvPr/>
        </p:nvSpPr>
        <p:spPr>
          <a:xfrm rot="16200000">
            <a:off x="1863090" y="3742182"/>
            <a:ext cx="1577340" cy="2743200"/>
          </a:xfrm>
          <a:prstGeom prst="chevron">
            <a:avLst>
              <a:gd name="adj" fmla="val 43623"/>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5" name="文本框 4">
            <a:extLst>
              <a:ext uri="{FF2B5EF4-FFF2-40B4-BE49-F238E27FC236}">
                <a16:creationId xmlns:a16="http://schemas.microsoft.com/office/drawing/2014/main" id="{80B3502B-4AC5-4A15-B268-EA83BC899798}"/>
              </a:ext>
            </a:extLst>
          </p:cNvPr>
          <p:cNvSpPr txBox="1"/>
          <p:nvPr/>
        </p:nvSpPr>
        <p:spPr>
          <a:xfrm>
            <a:off x="1728216" y="4140446"/>
            <a:ext cx="1717832" cy="369332"/>
          </a:xfrm>
          <a:prstGeom prst="rect">
            <a:avLst/>
          </a:prstGeom>
          <a:noFill/>
        </p:spPr>
        <p:txBody>
          <a:bodyPr wrap="square" lIns="0" tIns="0" rIns="0" bIns="0" rtlCol="0" anchor="t">
            <a:spAutoFit/>
          </a:bodyPr>
          <a:lstStyle/>
          <a:p>
            <a:pPr algn="dist"/>
            <a:r>
              <a:rPr lang="en-US" altLang="zh-CN" sz="2400" dirty="0">
                <a:solidFill>
                  <a:schemeClr val="bg1"/>
                </a:solidFill>
              </a:rPr>
              <a:t>PART ONE </a:t>
            </a:r>
            <a:endParaRPr lang="zh-CN" altLang="en-US" sz="2400" dirty="0">
              <a:solidFill>
                <a:schemeClr val="bg1"/>
              </a:solidFill>
            </a:endParaRPr>
          </a:p>
        </p:txBody>
      </p:sp>
      <p:sp>
        <p:nvSpPr>
          <p:cNvPr id="6" name="文本框 5">
            <a:extLst>
              <a:ext uri="{FF2B5EF4-FFF2-40B4-BE49-F238E27FC236}">
                <a16:creationId xmlns:a16="http://schemas.microsoft.com/office/drawing/2014/main" id="{AA803A1D-F59D-4E88-968A-76FB4B68AD2F}"/>
              </a:ext>
            </a:extLst>
          </p:cNvPr>
          <p:cNvSpPr txBox="1"/>
          <p:nvPr/>
        </p:nvSpPr>
        <p:spPr>
          <a:xfrm>
            <a:off x="1600250" y="2081525"/>
            <a:ext cx="2011769" cy="2123658"/>
          </a:xfrm>
          <a:prstGeom prst="rect">
            <a:avLst/>
          </a:prstGeom>
          <a:noFill/>
        </p:spPr>
        <p:txBody>
          <a:bodyPr wrap="none" lIns="0" tIns="0" rIns="0" bIns="0" rtlCol="0" anchor="t">
            <a:spAutoFit/>
          </a:bodyPr>
          <a:lstStyle/>
          <a:p>
            <a:pPr algn="l"/>
            <a:r>
              <a:rPr lang="en-US" altLang="zh-CN" sz="13800" dirty="0">
                <a:solidFill>
                  <a:schemeClr val="bg1"/>
                </a:solidFill>
                <a:latin typeface="+mj-ea"/>
                <a:ea typeface="+mj-ea"/>
              </a:rPr>
              <a:t>01</a:t>
            </a:r>
            <a:endParaRPr lang="zh-CN" altLang="en-US" sz="13800" dirty="0">
              <a:solidFill>
                <a:schemeClr val="bg1"/>
              </a:solidFill>
              <a:latin typeface="+mj-ea"/>
              <a:ea typeface="+mj-ea"/>
            </a:endParaRPr>
          </a:p>
        </p:txBody>
      </p:sp>
      <p:sp>
        <p:nvSpPr>
          <p:cNvPr id="7" name="文本框 6">
            <a:extLst>
              <a:ext uri="{FF2B5EF4-FFF2-40B4-BE49-F238E27FC236}">
                <a16:creationId xmlns:a16="http://schemas.microsoft.com/office/drawing/2014/main" id="{3E19388D-2BCA-48C4-8769-4C430F418258}"/>
              </a:ext>
            </a:extLst>
          </p:cNvPr>
          <p:cNvSpPr txBox="1"/>
          <p:nvPr/>
        </p:nvSpPr>
        <p:spPr>
          <a:xfrm>
            <a:off x="4683974" y="2775370"/>
            <a:ext cx="4616649" cy="1107996"/>
          </a:xfrm>
          <a:prstGeom prst="rect">
            <a:avLst/>
          </a:prstGeom>
          <a:noFill/>
        </p:spPr>
        <p:txBody>
          <a:bodyPr wrap="none" lIns="0" tIns="0" rIns="0" bIns="0" rtlCol="0" anchor="t">
            <a:spAutoFit/>
          </a:bodyPr>
          <a:lstStyle/>
          <a:p>
            <a:pPr algn="ctr"/>
            <a:r>
              <a:rPr kumimoji="1" lang="zh-CN" altLang="en-US" sz="7200" dirty="0">
                <a:solidFill>
                  <a:schemeClr val="accent1">
                    <a:lumMod val="100000"/>
                  </a:schemeClr>
                </a:solidFill>
                <a:latin typeface="+mj-ea"/>
                <a:ea typeface="+mj-ea"/>
              </a:rPr>
              <a:t>过渡页标题</a:t>
            </a:r>
          </a:p>
        </p:txBody>
      </p:sp>
      <p:sp>
        <p:nvSpPr>
          <p:cNvPr id="8" name="文本框 7">
            <a:extLst>
              <a:ext uri="{FF2B5EF4-FFF2-40B4-BE49-F238E27FC236}">
                <a16:creationId xmlns:a16="http://schemas.microsoft.com/office/drawing/2014/main" id="{9B0D7BC0-2048-401E-8EFD-55445BEA08DC}"/>
              </a:ext>
            </a:extLst>
          </p:cNvPr>
          <p:cNvSpPr txBox="1"/>
          <p:nvPr/>
        </p:nvSpPr>
        <p:spPr>
          <a:xfrm>
            <a:off x="9368501" y="3193609"/>
            <a:ext cx="1331100" cy="641242"/>
          </a:xfrm>
          <a:prstGeom prst="rect">
            <a:avLst/>
          </a:prstGeom>
          <a:noFill/>
        </p:spPr>
        <p:txBody>
          <a:bodyPr wrap="square" lIns="108000" tIns="0" rIns="0" bIns="86400" rtlCol="0" anchor="t">
            <a:spAutoFit/>
          </a:bodyPr>
          <a:lstStyle/>
          <a:p>
            <a:r>
              <a:rPr kumimoji="1" lang="en-US" altLang="zh-CN" dirty="0">
                <a:solidFill>
                  <a:schemeClr val="accent1">
                    <a:lumMod val="100000"/>
                  </a:schemeClr>
                </a:solidFill>
              </a:rPr>
              <a:t>Transition </a:t>
            </a:r>
          </a:p>
          <a:p>
            <a:r>
              <a:rPr kumimoji="1" lang="en-US" altLang="zh-CN" dirty="0">
                <a:solidFill>
                  <a:schemeClr val="accent1">
                    <a:lumMod val="100000"/>
                  </a:schemeClr>
                </a:solidFill>
              </a:rPr>
              <a:t>Page Title</a:t>
            </a:r>
            <a:endParaRPr kumimoji="1" lang="zh-CN" altLang="en-US" dirty="0">
              <a:solidFill>
                <a:schemeClr val="accent1">
                  <a:lumMod val="100000"/>
                </a:schemeClr>
              </a:solidFill>
            </a:endParaRPr>
          </a:p>
        </p:txBody>
      </p:sp>
    </p:spTree>
    <p:extLst>
      <p:ext uri="{BB962C8B-B14F-4D97-AF65-F5344CB8AC3E}">
        <p14:creationId xmlns:p14="http://schemas.microsoft.com/office/powerpoint/2010/main" val="3727251524"/>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162.xml><?xml version="1.0" encoding="utf-8"?>
<p:sld xmlns:a="http://schemas.openxmlformats.org/drawingml/2006/main" xmlns:r="http://schemas.openxmlformats.org/officeDocument/2006/relationships" xmlns:p="http://schemas.openxmlformats.org/presentationml/2006/main">
  <p:cSld>
    <p:bg>
      <p:bgPr>
        <a:solidFill>
          <a:schemeClr val="bg1">
            <a:lumMod val="85000"/>
          </a:schemeClr>
        </a:solidFill>
        <a:effectLst/>
      </p:bgPr>
    </p:bg>
    <p:spTree>
      <p:nvGrpSpPr>
        <p:cNvPr id="1" name=""/>
        <p:cNvGrpSpPr/>
        <p:nvPr/>
      </p:nvGrpSpPr>
      <p:grpSpPr>
        <a:xfrm>
          <a:off x="0" y="0"/>
          <a:ext cx="0" cy="0"/>
          <a:chOff x="0" y="0"/>
          <a:chExt cx="0" cy="0"/>
        </a:xfrm>
      </p:grpSpPr>
      <p:sp>
        <p:nvSpPr>
          <p:cNvPr id="2" name="矩形 1">
            <a:extLst>
              <a:ext uri="{FF2B5EF4-FFF2-40B4-BE49-F238E27FC236}">
                <a16:creationId xmlns:a16="http://schemas.microsoft.com/office/drawing/2014/main" id="{20E97BCA-DFD3-46F6-AEDF-2BC708320C89}"/>
              </a:ext>
            </a:extLst>
          </p:cNvPr>
          <p:cNvSpPr/>
          <p:nvPr/>
        </p:nvSpPr>
        <p:spPr>
          <a:xfrm>
            <a:off x="0" y="3489210"/>
            <a:ext cx="12192000" cy="336879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3" name="椭圆 2">
            <a:extLst>
              <a:ext uri="{FF2B5EF4-FFF2-40B4-BE49-F238E27FC236}">
                <a16:creationId xmlns:a16="http://schemas.microsoft.com/office/drawing/2014/main" id="{DB1211CD-D961-4090-83FF-80078C378568}"/>
              </a:ext>
            </a:extLst>
          </p:cNvPr>
          <p:cNvSpPr/>
          <p:nvPr/>
        </p:nvSpPr>
        <p:spPr>
          <a:xfrm>
            <a:off x="5425440" y="2853947"/>
            <a:ext cx="1341120" cy="134112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4" name="文本框 3">
            <a:extLst>
              <a:ext uri="{FF2B5EF4-FFF2-40B4-BE49-F238E27FC236}">
                <a16:creationId xmlns:a16="http://schemas.microsoft.com/office/drawing/2014/main" id="{B1160F8B-5EB4-41F3-ACC1-B25228435658}"/>
              </a:ext>
            </a:extLst>
          </p:cNvPr>
          <p:cNvSpPr txBox="1"/>
          <p:nvPr/>
        </p:nvSpPr>
        <p:spPr>
          <a:xfrm>
            <a:off x="5913258" y="3093620"/>
            <a:ext cx="365485" cy="430887"/>
          </a:xfrm>
          <a:prstGeom prst="rect">
            <a:avLst/>
          </a:prstGeom>
          <a:noFill/>
        </p:spPr>
        <p:txBody>
          <a:bodyPr wrap="none" lIns="0" tIns="0" rIns="0" bIns="0" rtlCol="0" anchor="t">
            <a:spAutoFit/>
          </a:bodyPr>
          <a:lstStyle/>
          <a:p>
            <a:pPr algn="ctr"/>
            <a:r>
              <a:rPr lang="en-US" altLang="zh-CN" sz="2800" dirty="0">
                <a:solidFill>
                  <a:schemeClr val="bg1"/>
                </a:solidFill>
              </a:rPr>
              <a:t>01</a:t>
            </a:r>
            <a:endParaRPr lang="zh-CN" altLang="en-US" sz="2800" dirty="0">
              <a:solidFill>
                <a:schemeClr val="bg1"/>
              </a:solidFill>
            </a:endParaRPr>
          </a:p>
        </p:txBody>
      </p:sp>
      <p:grpSp>
        <p:nvGrpSpPr>
          <p:cNvPr id="5" name="组合 4">
            <a:extLst>
              <a:ext uri="{FF2B5EF4-FFF2-40B4-BE49-F238E27FC236}">
                <a16:creationId xmlns:a16="http://schemas.microsoft.com/office/drawing/2014/main" id="{118FA73E-FE6F-4D00-BD6B-6A9D17925CF6}"/>
              </a:ext>
            </a:extLst>
          </p:cNvPr>
          <p:cNvGrpSpPr/>
          <p:nvPr/>
        </p:nvGrpSpPr>
        <p:grpSpPr>
          <a:xfrm>
            <a:off x="3787675" y="4004053"/>
            <a:ext cx="4616650" cy="1384995"/>
            <a:chOff x="2008240" y="1971973"/>
            <a:chExt cx="4616650" cy="1384995"/>
          </a:xfrm>
        </p:grpSpPr>
        <p:sp>
          <p:nvSpPr>
            <p:cNvPr id="6" name="文本框 5">
              <a:extLst>
                <a:ext uri="{FF2B5EF4-FFF2-40B4-BE49-F238E27FC236}">
                  <a16:creationId xmlns:a16="http://schemas.microsoft.com/office/drawing/2014/main" id="{A9D3888B-FCB7-42F4-B801-EC3A175F4FBF}"/>
                </a:ext>
              </a:extLst>
            </p:cNvPr>
            <p:cNvSpPr txBox="1"/>
            <p:nvPr/>
          </p:nvSpPr>
          <p:spPr>
            <a:xfrm>
              <a:off x="2008241" y="1971973"/>
              <a:ext cx="4616649" cy="1107996"/>
            </a:xfrm>
            <a:prstGeom prst="rect">
              <a:avLst/>
            </a:prstGeom>
            <a:noFill/>
          </p:spPr>
          <p:txBody>
            <a:bodyPr wrap="none" lIns="0" tIns="0" rIns="0" bIns="0" rtlCol="0" anchor="t">
              <a:spAutoFit/>
            </a:bodyPr>
            <a:lstStyle/>
            <a:p>
              <a:pPr algn="ctr"/>
              <a:r>
                <a:rPr kumimoji="1" lang="zh-CN" altLang="en-US" sz="7200" dirty="0">
                  <a:solidFill>
                    <a:schemeClr val="bg1"/>
                  </a:solidFill>
                  <a:latin typeface="+mj-ea"/>
                  <a:ea typeface="+mj-ea"/>
                </a:rPr>
                <a:t>过渡页标题</a:t>
              </a:r>
            </a:p>
          </p:txBody>
        </p:sp>
        <p:sp>
          <p:nvSpPr>
            <p:cNvPr id="7" name="文本框 6">
              <a:extLst>
                <a:ext uri="{FF2B5EF4-FFF2-40B4-BE49-F238E27FC236}">
                  <a16:creationId xmlns:a16="http://schemas.microsoft.com/office/drawing/2014/main" id="{98DA4BB9-553F-419A-BA93-47D7D71449F7}"/>
                </a:ext>
              </a:extLst>
            </p:cNvPr>
            <p:cNvSpPr txBox="1"/>
            <p:nvPr/>
          </p:nvSpPr>
          <p:spPr>
            <a:xfrm>
              <a:off x="2008240" y="3079969"/>
              <a:ext cx="4616649" cy="276999"/>
            </a:xfrm>
            <a:prstGeom prst="rect">
              <a:avLst/>
            </a:prstGeom>
            <a:noFill/>
          </p:spPr>
          <p:txBody>
            <a:bodyPr wrap="square" lIns="0" tIns="0" rIns="0" bIns="0" rtlCol="0" anchor="t">
              <a:spAutoFit/>
            </a:bodyPr>
            <a:lstStyle/>
            <a:p>
              <a:pPr algn="dist"/>
              <a:r>
                <a:rPr kumimoji="1" lang="en-US" altLang="zh-CN" dirty="0">
                  <a:solidFill>
                    <a:schemeClr val="bg1"/>
                  </a:solidFill>
                </a:rPr>
                <a:t>Transition Page Title</a:t>
              </a:r>
              <a:endParaRPr kumimoji="1" lang="zh-CN" altLang="en-US" dirty="0">
                <a:solidFill>
                  <a:schemeClr val="bg1"/>
                </a:solidFill>
              </a:endParaRPr>
            </a:p>
          </p:txBody>
        </p:sp>
      </p:grpSp>
      <p:sp>
        <p:nvSpPr>
          <p:cNvPr id="8" name="任意多边形: 形状 7">
            <a:extLst>
              <a:ext uri="{FF2B5EF4-FFF2-40B4-BE49-F238E27FC236}">
                <a16:creationId xmlns:a16="http://schemas.microsoft.com/office/drawing/2014/main" id="{41FEDC0E-CB3A-4DFE-A563-BFEBA2167749}"/>
              </a:ext>
            </a:extLst>
          </p:cNvPr>
          <p:cNvSpPr/>
          <p:nvPr/>
        </p:nvSpPr>
        <p:spPr>
          <a:xfrm>
            <a:off x="5486400" y="1139894"/>
            <a:ext cx="1219200" cy="1118208"/>
          </a:xfrm>
          <a:custGeom>
            <a:avLst/>
            <a:gdLst>
              <a:gd name="connsiteX0" fmla="*/ 1006264 w 1331826"/>
              <a:gd name="connsiteY0" fmla="*/ 238125 h 1221507"/>
              <a:gd name="connsiteX1" fmla="*/ 1123466 w 1331826"/>
              <a:gd name="connsiteY1" fmla="*/ 355327 h 1221507"/>
              <a:gd name="connsiteX2" fmla="*/ 1006264 w 1331826"/>
              <a:gd name="connsiteY2" fmla="*/ 472529 h 1221507"/>
              <a:gd name="connsiteX3" fmla="*/ 889062 w 1331826"/>
              <a:gd name="connsiteY3" fmla="*/ 355327 h 1221507"/>
              <a:gd name="connsiteX4" fmla="*/ 1006264 w 1331826"/>
              <a:gd name="connsiteY4" fmla="*/ 238125 h 1221507"/>
              <a:gd name="connsiteX5" fmla="*/ 172827 w 1331826"/>
              <a:gd name="connsiteY5" fmla="*/ 104180 h 1221507"/>
              <a:gd name="connsiteX6" fmla="*/ 105482 w 1331826"/>
              <a:gd name="connsiteY6" fmla="*/ 171152 h 1221507"/>
              <a:gd name="connsiteX7" fmla="*/ 105482 w 1331826"/>
              <a:gd name="connsiteY7" fmla="*/ 726281 h 1221507"/>
              <a:gd name="connsiteX8" fmla="*/ 179152 w 1331826"/>
              <a:gd name="connsiteY8" fmla="*/ 599777 h 1221507"/>
              <a:gd name="connsiteX9" fmla="*/ 303795 w 1331826"/>
              <a:gd name="connsiteY9" fmla="*/ 490761 h 1221507"/>
              <a:gd name="connsiteX10" fmla="*/ 414300 w 1331826"/>
              <a:gd name="connsiteY10" fmla="*/ 507504 h 1221507"/>
              <a:gd name="connsiteX11" fmla="*/ 731676 w 1331826"/>
              <a:gd name="connsiteY11" fmla="*/ 856878 h 1221507"/>
              <a:gd name="connsiteX12" fmla="*/ 780790 w 1331826"/>
              <a:gd name="connsiteY12" fmla="*/ 791022 h 1221507"/>
              <a:gd name="connsiteX13" fmla="*/ 988777 w 1331826"/>
              <a:gd name="connsiteY13" fmla="*/ 633264 h 1221507"/>
              <a:gd name="connsiteX14" fmla="*/ 1093329 w 1331826"/>
              <a:gd name="connsiteY14" fmla="*/ 666006 h 1221507"/>
              <a:gd name="connsiteX15" fmla="*/ 1227646 w 1331826"/>
              <a:gd name="connsiteY15" fmla="*/ 821159 h 1221507"/>
              <a:gd name="connsiteX16" fmla="*/ 1227646 w 1331826"/>
              <a:gd name="connsiteY16" fmla="*/ 171152 h 1221507"/>
              <a:gd name="connsiteX17" fmla="*/ 1160673 w 1331826"/>
              <a:gd name="connsiteY17" fmla="*/ 104180 h 1221507"/>
              <a:gd name="connsiteX18" fmla="*/ 172827 w 1331826"/>
              <a:gd name="connsiteY18" fmla="*/ 0 h 1221507"/>
              <a:gd name="connsiteX19" fmla="*/ 1160673 w 1331826"/>
              <a:gd name="connsiteY19" fmla="*/ 0 h 1221507"/>
              <a:gd name="connsiteX20" fmla="*/ 1331826 w 1331826"/>
              <a:gd name="connsiteY20" fmla="*/ 171152 h 1221507"/>
              <a:gd name="connsiteX21" fmla="*/ 1331826 w 1331826"/>
              <a:gd name="connsiteY21" fmla="*/ 1050355 h 1221507"/>
              <a:gd name="connsiteX22" fmla="*/ 1160673 w 1331826"/>
              <a:gd name="connsiteY22" fmla="*/ 1221507 h 1221507"/>
              <a:gd name="connsiteX23" fmla="*/ 172827 w 1331826"/>
              <a:gd name="connsiteY23" fmla="*/ 1221507 h 1221507"/>
              <a:gd name="connsiteX24" fmla="*/ 1674 w 1331826"/>
              <a:gd name="connsiteY24" fmla="*/ 1050355 h 1221507"/>
              <a:gd name="connsiteX25" fmla="*/ 1674 w 1331826"/>
              <a:gd name="connsiteY25" fmla="*/ 1006450 h 1221507"/>
              <a:gd name="connsiteX26" fmla="*/ 1674 w 1331826"/>
              <a:gd name="connsiteY26" fmla="*/ 980405 h 1221507"/>
              <a:gd name="connsiteX27" fmla="*/ 1674 w 1331826"/>
              <a:gd name="connsiteY27" fmla="*/ 171152 h 1221507"/>
              <a:gd name="connsiteX28" fmla="*/ 172827 w 1331826"/>
              <a:gd name="connsiteY28" fmla="*/ 0 h 1221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31826" h="1221507">
                <a:moveTo>
                  <a:pt x="1006264" y="238125"/>
                </a:moveTo>
                <a:cubicBezTo>
                  <a:pt x="1070993" y="238125"/>
                  <a:pt x="1123466" y="290598"/>
                  <a:pt x="1123466" y="355327"/>
                </a:cubicBezTo>
                <a:cubicBezTo>
                  <a:pt x="1123466" y="420056"/>
                  <a:pt x="1070993" y="472529"/>
                  <a:pt x="1006264" y="472529"/>
                </a:cubicBezTo>
                <a:cubicBezTo>
                  <a:pt x="941535" y="472529"/>
                  <a:pt x="889062" y="420056"/>
                  <a:pt x="889062" y="355327"/>
                </a:cubicBezTo>
                <a:cubicBezTo>
                  <a:pt x="889062" y="290598"/>
                  <a:pt x="941535" y="238125"/>
                  <a:pt x="1006264" y="238125"/>
                </a:cubicBezTo>
                <a:close/>
                <a:moveTo>
                  <a:pt x="172827" y="104180"/>
                </a:moveTo>
                <a:cubicBezTo>
                  <a:pt x="135620" y="104180"/>
                  <a:pt x="105854" y="133945"/>
                  <a:pt x="105482" y="171152"/>
                </a:cubicBezTo>
                <a:lnTo>
                  <a:pt x="105482" y="726281"/>
                </a:lnTo>
                <a:cubicBezTo>
                  <a:pt x="130411" y="676424"/>
                  <a:pt x="154967" y="634008"/>
                  <a:pt x="179152" y="599777"/>
                </a:cubicBezTo>
                <a:cubicBezTo>
                  <a:pt x="220824" y="540246"/>
                  <a:pt x="261751" y="504527"/>
                  <a:pt x="303795" y="490761"/>
                </a:cubicBezTo>
                <a:cubicBezTo>
                  <a:pt x="342491" y="478110"/>
                  <a:pt x="380442" y="483691"/>
                  <a:pt x="414300" y="507504"/>
                </a:cubicBezTo>
                <a:cubicBezTo>
                  <a:pt x="528526" y="587871"/>
                  <a:pt x="663215" y="762372"/>
                  <a:pt x="731676" y="856878"/>
                </a:cubicBezTo>
                <a:cubicBezTo>
                  <a:pt x="745443" y="837158"/>
                  <a:pt x="762186" y="814090"/>
                  <a:pt x="780790" y="791022"/>
                </a:cubicBezTo>
                <a:cubicBezTo>
                  <a:pt x="858552" y="693911"/>
                  <a:pt x="926641" y="642193"/>
                  <a:pt x="988777" y="633264"/>
                </a:cubicBezTo>
                <a:cubicBezTo>
                  <a:pt x="1028216" y="627683"/>
                  <a:pt x="1064307" y="638845"/>
                  <a:pt x="1093329" y="666006"/>
                </a:cubicBezTo>
                <a:cubicBezTo>
                  <a:pt x="1142070" y="711398"/>
                  <a:pt x="1188951" y="768697"/>
                  <a:pt x="1227646" y="821159"/>
                </a:cubicBezTo>
                <a:lnTo>
                  <a:pt x="1227646" y="171152"/>
                </a:lnTo>
                <a:cubicBezTo>
                  <a:pt x="1227646" y="134317"/>
                  <a:pt x="1197508" y="104180"/>
                  <a:pt x="1160673" y="104180"/>
                </a:cubicBezTo>
                <a:close/>
                <a:moveTo>
                  <a:pt x="172827" y="0"/>
                </a:moveTo>
                <a:lnTo>
                  <a:pt x="1160673" y="0"/>
                </a:lnTo>
                <a:cubicBezTo>
                  <a:pt x="1255179" y="0"/>
                  <a:pt x="1331826" y="76646"/>
                  <a:pt x="1331826" y="171152"/>
                </a:cubicBezTo>
                <a:lnTo>
                  <a:pt x="1331826" y="1050355"/>
                </a:lnTo>
                <a:cubicBezTo>
                  <a:pt x="1331826" y="1144860"/>
                  <a:pt x="1255179" y="1221507"/>
                  <a:pt x="1160673" y="1221507"/>
                </a:cubicBezTo>
                <a:lnTo>
                  <a:pt x="172827" y="1221507"/>
                </a:lnTo>
                <a:cubicBezTo>
                  <a:pt x="78321" y="1221507"/>
                  <a:pt x="1674" y="1144860"/>
                  <a:pt x="1674" y="1050355"/>
                </a:cubicBezTo>
                <a:lnTo>
                  <a:pt x="1674" y="1006450"/>
                </a:lnTo>
                <a:cubicBezTo>
                  <a:pt x="-558" y="997893"/>
                  <a:pt x="-558" y="989335"/>
                  <a:pt x="1674" y="980405"/>
                </a:cubicBezTo>
                <a:lnTo>
                  <a:pt x="1674" y="171152"/>
                </a:lnTo>
                <a:cubicBezTo>
                  <a:pt x="1674" y="76646"/>
                  <a:pt x="78321" y="0"/>
                  <a:pt x="172827" y="0"/>
                </a:cubicBezTo>
                <a:close/>
              </a:path>
            </a:pathLst>
          </a:custGeom>
          <a:solidFill>
            <a:schemeClr val="bg1"/>
          </a:solidFill>
          <a:ln w="1860" cap="flat">
            <a:noFill/>
            <a:prstDash val="solid"/>
            <a:miter/>
          </a:ln>
        </p:spPr>
        <p:txBody>
          <a:bodyPr rtlCol="0" anchor="ctr"/>
          <a:lstStyle/>
          <a:p>
            <a:endParaRPr lang="zh-CN" altLang="en-US"/>
          </a:p>
        </p:txBody>
      </p:sp>
    </p:spTree>
    <p:extLst>
      <p:ext uri="{BB962C8B-B14F-4D97-AF65-F5344CB8AC3E}">
        <p14:creationId xmlns:p14="http://schemas.microsoft.com/office/powerpoint/2010/main" val="3611936645"/>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a:extLst>
              <a:ext uri="{FF2B5EF4-FFF2-40B4-BE49-F238E27FC236}">
                <a16:creationId xmlns:a16="http://schemas.microsoft.com/office/drawing/2014/main" id="{339DBB51-77CE-4BAD-B865-4EEA689D4720}"/>
              </a:ext>
            </a:extLst>
          </p:cNvPr>
          <p:cNvSpPr/>
          <p:nvPr/>
        </p:nvSpPr>
        <p:spPr>
          <a:xfrm>
            <a:off x="4706112" y="1956816"/>
            <a:ext cx="2779776" cy="277977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3" name="矩形 2">
            <a:extLst>
              <a:ext uri="{FF2B5EF4-FFF2-40B4-BE49-F238E27FC236}">
                <a16:creationId xmlns:a16="http://schemas.microsoft.com/office/drawing/2014/main" id="{575E3174-2566-412C-A5E5-09FE7E6A3F2E}"/>
              </a:ext>
            </a:extLst>
          </p:cNvPr>
          <p:cNvSpPr/>
          <p:nvPr/>
        </p:nvSpPr>
        <p:spPr>
          <a:xfrm>
            <a:off x="4290822" y="1541526"/>
            <a:ext cx="830580" cy="830580"/>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400" dirty="0">
                <a:solidFill>
                  <a:schemeClr val="bg1"/>
                </a:solidFill>
                <a:latin typeface="+mj-ea"/>
                <a:ea typeface="+mj-ea"/>
              </a:rPr>
              <a:t>01</a:t>
            </a:r>
            <a:endParaRPr lang="zh-CN" altLang="en-US" sz="2400" dirty="0">
              <a:solidFill>
                <a:schemeClr val="bg1"/>
              </a:solidFill>
              <a:latin typeface="+mj-ea"/>
              <a:ea typeface="+mj-ea"/>
            </a:endParaRPr>
          </a:p>
        </p:txBody>
      </p:sp>
      <p:grpSp>
        <p:nvGrpSpPr>
          <p:cNvPr id="4" name="组合 3">
            <a:extLst>
              <a:ext uri="{FF2B5EF4-FFF2-40B4-BE49-F238E27FC236}">
                <a16:creationId xmlns:a16="http://schemas.microsoft.com/office/drawing/2014/main" id="{5194C91D-E4D7-4143-AF02-F9C31384EF25}"/>
              </a:ext>
            </a:extLst>
          </p:cNvPr>
          <p:cNvGrpSpPr/>
          <p:nvPr/>
        </p:nvGrpSpPr>
        <p:grpSpPr>
          <a:xfrm>
            <a:off x="4941836" y="2961637"/>
            <a:ext cx="2324596" cy="743575"/>
            <a:chOff x="3162401" y="1971973"/>
            <a:chExt cx="2324596" cy="743575"/>
          </a:xfrm>
        </p:grpSpPr>
        <p:sp>
          <p:nvSpPr>
            <p:cNvPr id="5" name="文本框 4">
              <a:extLst>
                <a:ext uri="{FF2B5EF4-FFF2-40B4-BE49-F238E27FC236}">
                  <a16:creationId xmlns:a16="http://schemas.microsoft.com/office/drawing/2014/main" id="{781CC040-5ED1-4E12-9F07-B2B0357E8EA9}"/>
                </a:ext>
              </a:extLst>
            </p:cNvPr>
            <p:cNvSpPr txBox="1"/>
            <p:nvPr/>
          </p:nvSpPr>
          <p:spPr>
            <a:xfrm>
              <a:off x="3162401" y="1971973"/>
              <a:ext cx="2308324" cy="553998"/>
            </a:xfrm>
            <a:prstGeom prst="rect">
              <a:avLst/>
            </a:prstGeom>
            <a:noFill/>
          </p:spPr>
          <p:txBody>
            <a:bodyPr wrap="none" lIns="0" tIns="0" rIns="0" bIns="0" rtlCol="0" anchor="t">
              <a:spAutoFit/>
            </a:bodyPr>
            <a:lstStyle/>
            <a:p>
              <a:pPr algn="ctr"/>
              <a:r>
                <a:rPr kumimoji="1" lang="zh-CN" altLang="en-US" sz="3600" dirty="0">
                  <a:solidFill>
                    <a:schemeClr val="bg1"/>
                  </a:solidFill>
                  <a:latin typeface="+mj-ea"/>
                  <a:ea typeface="+mj-ea"/>
                </a:rPr>
                <a:t>过渡页标题</a:t>
              </a:r>
            </a:p>
          </p:txBody>
        </p:sp>
        <p:sp>
          <p:nvSpPr>
            <p:cNvPr id="6" name="文本框 5">
              <a:extLst>
                <a:ext uri="{FF2B5EF4-FFF2-40B4-BE49-F238E27FC236}">
                  <a16:creationId xmlns:a16="http://schemas.microsoft.com/office/drawing/2014/main" id="{EB5BCB86-3F52-428B-90D3-C31DCB23B11D}"/>
                </a:ext>
              </a:extLst>
            </p:cNvPr>
            <p:cNvSpPr txBox="1"/>
            <p:nvPr/>
          </p:nvSpPr>
          <p:spPr>
            <a:xfrm>
              <a:off x="3178672" y="2577049"/>
              <a:ext cx="2308325" cy="138499"/>
            </a:xfrm>
            <a:prstGeom prst="rect">
              <a:avLst/>
            </a:prstGeom>
            <a:noFill/>
          </p:spPr>
          <p:txBody>
            <a:bodyPr wrap="square" lIns="0" tIns="0" rIns="0" bIns="0" rtlCol="0" anchor="t">
              <a:spAutoFit/>
            </a:bodyPr>
            <a:lstStyle/>
            <a:p>
              <a:pPr algn="dist"/>
              <a:r>
                <a:rPr kumimoji="1" lang="en-US" altLang="zh-CN" sz="900" dirty="0">
                  <a:solidFill>
                    <a:schemeClr val="bg1"/>
                  </a:solidFill>
                </a:rPr>
                <a:t>Transition Page Title</a:t>
              </a:r>
              <a:endParaRPr kumimoji="1" lang="zh-CN" altLang="en-US" sz="900" dirty="0">
                <a:solidFill>
                  <a:schemeClr val="bg1"/>
                </a:solidFill>
              </a:endParaRPr>
            </a:p>
          </p:txBody>
        </p:sp>
      </p:grpSp>
      <p:sp>
        <p:nvSpPr>
          <p:cNvPr id="7" name="矩形 6">
            <a:extLst>
              <a:ext uri="{FF2B5EF4-FFF2-40B4-BE49-F238E27FC236}">
                <a16:creationId xmlns:a16="http://schemas.microsoft.com/office/drawing/2014/main" id="{6F2211F6-54F7-426E-86CC-D438895F6991}"/>
              </a:ext>
            </a:extLst>
          </p:cNvPr>
          <p:cNvSpPr/>
          <p:nvPr/>
        </p:nvSpPr>
        <p:spPr>
          <a:xfrm>
            <a:off x="7485888" y="4395216"/>
            <a:ext cx="341376" cy="341376"/>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dirty="0">
              <a:solidFill>
                <a:schemeClr val="bg1"/>
              </a:solidFill>
              <a:latin typeface="+mj-ea"/>
              <a:ea typeface="+mj-ea"/>
            </a:endParaRPr>
          </a:p>
        </p:txBody>
      </p:sp>
      <p:sp>
        <p:nvSpPr>
          <p:cNvPr id="8" name="矩形 7">
            <a:extLst>
              <a:ext uri="{FF2B5EF4-FFF2-40B4-BE49-F238E27FC236}">
                <a16:creationId xmlns:a16="http://schemas.microsoft.com/office/drawing/2014/main" id="{D76E76AA-152E-4AAD-84F5-87A8ED5269B5}"/>
              </a:ext>
            </a:extLst>
          </p:cNvPr>
          <p:cNvSpPr/>
          <p:nvPr/>
        </p:nvSpPr>
        <p:spPr>
          <a:xfrm>
            <a:off x="4101846" y="1347596"/>
            <a:ext cx="162179" cy="162179"/>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dirty="0">
              <a:solidFill>
                <a:schemeClr val="bg1"/>
              </a:solidFill>
              <a:latin typeface="+mj-ea"/>
              <a:ea typeface="+mj-ea"/>
            </a:endParaRPr>
          </a:p>
        </p:txBody>
      </p:sp>
      <p:sp>
        <p:nvSpPr>
          <p:cNvPr id="9" name="矩形 8">
            <a:extLst>
              <a:ext uri="{FF2B5EF4-FFF2-40B4-BE49-F238E27FC236}">
                <a16:creationId xmlns:a16="http://schemas.microsoft.com/office/drawing/2014/main" id="{C816D2E9-A509-4CB0-B41A-AD6AA67BF995}"/>
              </a:ext>
            </a:extLst>
          </p:cNvPr>
          <p:cNvSpPr/>
          <p:nvPr/>
        </p:nvSpPr>
        <p:spPr>
          <a:xfrm>
            <a:off x="4048696" y="1541526"/>
            <a:ext cx="106299" cy="106299"/>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dirty="0">
              <a:solidFill>
                <a:schemeClr val="bg1"/>
              </a:solidFill>
              <a:latin typeface="+mj-ea"/>
              <a:ea typeface="+mj-ea"/>
            </a:endParaRPr>
          </a:p>
        </p:txBody>
      </p:sp>
      <p:sp>
        <p:nvSpPr>
          <p:cNvPr id="10" name="矩形 9">
            <a:extLst>
              <a:ext uri="{FF2B5EF4-FFF2-40B4-BE49-F238E27FC236}">
                <a16:creationId xmlns:a16="http://schemas.microsoft.com/office/drawing/2014/main" id="{D2008BB3-9D3E-45DE-ADB2-A5E295FFF121}"/>
              </a:ext>
            </a:extLst>
          </p:cNvPr>
          <p:cNvSpPr/>
          <p:nvPr/>
        </p:nvSpPr>
        <p:spPr>
          <a:xfrm>
            <a:off x="4304093" y="1347596"/>
            <a:ext cx="106299" cy="106299"/>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dirty="0">
              <a:solidFill>
                <a:schemeClr val="bg1"/>
              </a:solidFill>
              <a:latin typeface="+mj-ea"/>
              <a:ea typeface="+mj-ea"/>
            </a:endParaRPr>
          </a:p>
        </p:txBody>
      </p:sp>
    </p:spTree>
    <p:extLst>
      <p:ext uri="{BB962C8B-B14F-4D97-AF65-F5344CB8AC3E}">
        <p14:creationId xmlns:p14="http://schemas.microsoft.com/office/powerpoint/2010/main" val="1631932512"/>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箭头: 五边形 13">
            <a:extLst>
              <a:ext uri="{FF2B5EF4-FFF2-40B4-BE49-F238E27FC236}">
                <a16:creationId xmlns:a16="http://schemas.microsoft.com/office/drawing/2014/main" id="{2D94E890-5602-47D7-A8AB-25DEB62469B5}"/>
              </a:ext>
            </a:extLst>
          </p:cNvPr>
          <p:cNvSpPr/>
          <p:nvPr/>
        </p:nvSpPr>
        <p:spPr>
          <a:xfrm rot="5400000">
            <a:off x="3237340" y="1027527"/>
            <a:ext cx="5717320" cy="3733831"/>
          </a:xfrm>
          <a:prstGeom prst="homePlate">
            <a:avLst>
              <a:gd name="adj" fmla="val 33830"/>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2" name="箭头: 五边形 1">
            <a:extLst>
              <a:ext uri="{FF2B5EF4-FFF2-40B4-BE49-F238E27FC236}">
                <a16:creationId xmlns:a16="http://schemas.microsoft.com/office/drawing/2014/main" id="{DC6A7900-00E6-4634-9A40-E196F3E81292}"/>
              </a:ext>
            </a:extLst>
          </p:cNvPr>
          <p:cNvSpPr/>
          <p:nvPr/>
        </p:nvSpPr>
        <p:spPr>
          <a:xfrm rot="5400000">
            <a:off x="3339083" y="890002"/>
            <a:ext cx="5513834" cy="3733831"/>
          </a:xfrm>
          <a:prstGeom prst="homePlate">
            <a:avLst>
              <a:gd name="adj" fmla="val 3383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grpSp>
        <p:nvGrpSpPr>
          <p:cNvPr id="3" name="组合 2">
            <a:extLst>
              <a:ext uri="{FF2B5EF4-FFF2-40B4-BE49-F238E27FC236}">
                <a16:creationId xmlns:a16="http://schemas.microsoft.com/office/drawing/2014/main" id="{EF910431-FC84-40FB-AAE2-629757F28488}"/>
              </a:ext>
            </a:extLst>
          </p:cNvPr>
          <p:cNvGrpSpPr/>
          <p:nvPr/>
        </p:nvGrpSpPr>
        <p:grpSpPr>
          <a:xfrm>
            <a:off x="4685358" y="2454145"/>
            <a:ext cx="2821285" cy="846385"/>
            <a:chOff x="2905921" y="1971973"/>
            <a:chExt cx="2821285" cy="846385"/>
          </a:xfrm>
        </p:grpSpPr>
        <p:sp>
          <p:nvSpPr>
            <p:cNvPr id="4" name="文本框 3">
              <a:extLst>
                <a:ext uri="{FF2B5EF4-FFF2-40B4-BE49-F238E27FC236}">
                  <a16:creationId xmlns:a16="http://schemas.microsoft.com/office/drawing/2014/main" id="{C8865966-F536-47FE-A0F2-C5514E0F0B1D}"/>
                </a:ext>
              </a:extLst>
            </p:cNvPr>
            <p:cNvSpPr txBox="1"/>
            <p:nvPr/>
          </p:nvSpPr>
          <p:spPr>
            <a:xfrm>
              <a:off x="2905921" y="1971973"/>
              <a:ext cx="2821285" cy="677108"/>
            </a:xfrm>
            <a:prstGeom prst="rect">
              <a:avLst/>
            </a:prstGeom>
            <a:noFill/>
          </p:spPr>
          <p:txBody>
            <a:bodyPr wrap="none" lIns="0" tIns="0" rIns="0" bIns="0" rtlCol="0" anchor="t">
              <a:spAutoFit/>
            </a:bodyPr>
            <a:lstStyle/>
            <a:p>
              <a:pPr algn="ctr"/>
              <a:r>
                <a:rPr kumimoji="1" lang="zh-CN" altLang="en-US" sz="4400" dirty="0">
                  <a:solidFill>
                    <a:schemeClr val="bg1"/>
                  </a:solidFill>
                  <a:latin typeface="+mj-ea"/>
                  <a:ea typeface="+mj-ea"/>
                </a:rPr>
                <a:t>过渡页标题</a:t>
              </a:r>
            </a:p>
          </p:txBody>
        </p:sp>
        <p:sp>
          <p:nvSpPr>
            <p:cNvPr id="5" name="文本框 4">
              <a:extLst>
                <a:ext uri="{FF2B5EF4-FFF2-40B4-BE49-F238E27FC236}">
                  <a16:creationId xmlns:a16="http://schemas.microsoft.com/office/drawing/2014/main" id="{58AC5B6B-E182-49C3-AA99-9516067A8C8B}"/>
                </a:ext>
              </a:extLst>
            </p:cNvPr>
            <p:cNvSpPr txBox="1"/>
            <p:nvPr/>
          </p:nvSpPr>
          <p:spPr>
            <a:xfrm>
              <a:off x="2949131" y="2649081"/>
              <a:ext cx="2719984" cy="169277"/>
            </a:xfrm>
            <a:prstGeom prst="rect">
              <a:avLst/>
            </a:prstGeom>
            <a:noFill/>
          </p:spPr>
          <p:txBody>
            <a:bodyPr wrap="square" lIns="0" tIns="0" rIns="0" bIns="0" rtlCol="0" anchor="t">
              <a:spAutoFit/>
            </a:bodyPr>
            <a:lstStyle/>
            <a:p>
              <a:pPr algn="dist"/>
              <a:r>
                <a:rPr kumimoji="1" lang="en-US" altLang="zh-CN" sz="1100" dirty="0">
                  <a:solidFill>
                    <a:schemeClr val="bg1"/>
                  </a:solidFill>
                </a:rPr>
                <a:t>Transition Page Title</a:t>
              </a:r>
              <a:endParaRPr kumimoji="1" lang="zh-CN" altLang="en-US" sz="1100" dirty="0">
                <a:solidFill>
                  <a:schemeClr val="bg1"/>
                </a:solidFill>
              </a:endParaRPr>
            </a:p>
          </p:txBody>
        </p:sp>
      </p:grpSp>
      <p:sp>
        <p:nvSpPr>
          <p:cNvPr id="6" name="文本框 5">
            <a:extLst>
              <a:ext uri="{FF2B5EF4-FFF2-40B4-BE49-F238E27FC236}">
                <a16:creationId xmlns:a16="http://schemas.microsoft.com/office/drawing/2014/main" id="{2F3313B6-F073-440C-8350-D215F1BC9E2E}"/>
              </a:ext>
            </a:extLst>
          </p:cNvPr>
          <p:cNvSpPr txBox="1"/>
          <p:nvPr/>
        </p:nvSpPr>
        <p:spPr>
          <a:xfrm>
            <a:off x="5702464" y="649276"/>
            <a:ext cx="787075" cy="830997"/>
          </a:xfrm>
          <a:prstGeom prst="rect">
            <a:avLst/>
          </a:prstGeom>
          <a:noFill/>
        </p:spPr>
        <p:txBody>
          <a:bodyPr wrap="none" lIns="0" tIns="0" rIns="0" bIns="0" rtlCol="0" anchor="t">
            <a:spAutoFit/>
          </a:bodyPr>
          <a:lstStyle/>
          <a:p>
            <a:pPr algn="ctr"/>
            <a:r>
              <a:rPr lang="en-US" altLang="zh-CN" sz="5400" dirty="0">
                <a:solidFill>
                  <a:schemeClr val="bg1"/>
                </a:solidFill>
                <a:latin typeface="+mj-ea"/>
                <a:ea typeface="+mj-ea"/>
              </a:rPr>
              <a:t>01</a:t>
            </a:r>
            <a:endParaRPr lang="zh-CN" altLang="en-US" sz="5400" dirty="0">
              <a:solidFill>
                <a:schemeClr val="bg1"/>
              </a:solidFill>
              <a:latin typeface="+mj-ea"/>
              <a:ea typeface="+mj-ea"/>
            </a:endParaRPr>
          </a:p>
        </p:txBody>
      </p:sp>
      <p:cxnSp>
        <p:nvCxnSpPr>
          <p:cNvPr id="9" name="直接连接符 8">
            <a:extLst>
              <a:ext uri="{FF2B5EF4-FFF2-40B4-BE49-F238E27FC236}">
                <a16:creationId xmlns:a16="http://schemas.microsoft.com/office/drawing/2014/main" id="{C5E8ECF8-4DBD-4525-8592-64F1254D8917}"/>
              </a:ext>
            </a:extLst>
          </p:cNvPr>
          <p:cNvCxnSpPr>
            <a:cxnSpLocks/>
          </p:cNvCxnSpPr>
          <p:nvPr/>
        </p:nvCxnSpPr>
        <p:spPr>
          <a:xfrm flipH="1">
            <a:off x="5702464" y="1287780"/>
            <a:ext cx="881216" cy="1053096"/>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直角三角形 11">
            <a:extLst>
              <a:ext uri="{FF2B5EF4-FFF2-40B4-BE49-F238E27FC236}">
                <a16:creationId xmlns:a16="http://schemas.microsoft.com/office/drawing/2014/main" id="{65319A33-A0E5-44B7-A4F8-61BA2490A3F2}"/>
              </a:ext>
            </a:extLst>
          </p:cNvPr>
          <p:cNvSpPr/>
          <p:nvPr/>
        </p:nvSpPr>
        <p:spPr>
          <a:xfrm>
            <a:off x="0" y="5248274"/>
            <a:ext cx="2320388" cy="1609726"/>
          </a:xfrm>
          <a:prstGeom prst="r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13" name="直角三角形 12">
            <a:extLst>
              <a:ext uri="{FF2B5EF4-FFF2-40B4-BE49-F238E27FC236}">
                <a16:creationId xmlns:a16="http://schemas.microsoft.com/office/drawing/2014/main" id="{95F7C01B-5578-44B3-BB3C-79122EF87214}"/>
              </a:ext>
            </a:extLst>
          </p:cNvPr>
          <p:cNvSpPr/>
          <p:nvPr/>
        </p:nvSpPr>
        <p:spPr>
          <a:xfrm flipH="1">
            <a:off x="9871612" y="5248274"/>
            <a:ext cx="2320388" cy="1609726"/>
          </a:xfrm>
          <a:prstGeom prst="r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16" name="矩形 15">
            <a:extLst>
              <a:ext uri="{FF2B5EF4-FFF2-40B4-BE49-F238E27FC236}">
                <a16:creationId xmlns:a16="http://schemas.microsoft.com/office/drawing/2014/main" id="{47FC2091-096C-4918-B2E8-F8949B6E38A4}"/>
              </a:ext>
            </a:extLst>
          </p:cNvPr>
          <p:cNvSpPr/>
          <p:nvPr/>
        </p:nvSpPr>
        <p:spPr>
          <a:xfrm>
            <a:off x="8028034" y="0"/>
            <a:ext cx="96791" cy="4162425"/>
          </a:xfrm>
          <a:prstGeom prst="rect">
            <a:avLst/>
          </a:prstGeom>
          <a:gradFill>
            <a:gsLst>
              <a:gs pos="0">
                <a:schemeClr val="accent1"/>
              </a:gs>
              <a:gs pos="100000">
                <a:schemeClr val="accent1">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17" name="矩形 16">
            <a:extLst>
              <a:ext uri="{FF2B5EF4-FFF2-40B4-BE49-F238E27FC236}">
                <a16:creationId xmlns:a16="http://schemas.microsoft.com/office/drawing/2014/main" id="{2AEC8522-828F-4A0F-9EFC-33EAF14BB58B}"/>
              </a:ext>
            </a:extLst>
          </p:cNvPr>
          <p:cNvSpPr/>
          <p:nvPr/>
        </p:nvSpPr>
        <p:spPr>
          <a:xfrm>
            <a:off x="4063587" y="0"/>
            <a:ext cx="96791" cy="4162425"/>
          </a:xfrm>
          <a:prstGeom prst="rect">
            <a:avLst/>
          </a:prstGeom>
          <a:gradFill>
            <a:gsLst>
              <a:gs pos="0">
                <a:schemeClr val="accent1"/>
              </a:gs>
              <a:gs pos="100000">
                <a:schemeClr val="accent1">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Tree>
    <p:extLst>
      <p:ext uri="{BB962C8B-B14F-4D97-AF65-F5344CB8AC3E}">
        <p14:creationId xmlns:p14="http://schemas.microsoft.com/office/powerpoint/2010/main" val="501027872"/>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a:extLst>
              <a:ext uri="{FF2B5EF4-FFF2-40B4-BE49-F238E27FC236}">
                <a16:creationId xmlns:a16="http://schemas.microsoft.com/office/drawing/2014/main" id="{3BA07EDD-8409-4753-BF9C-86D537161E09}"/>
              </a:ext>
            </a:extLst>
          </p:cNvPr>
          <p:cNvSpPr txBox="1"/>
          <p:nvPr/>
        </p:nvSpPr>
        <p:spPr>
          <a:xfrm>
            <a:off x="279364" y="816169"/>
            <a:ext cx="3314735" cy="364243"/>
          </a:xfrm>
          <a:prstGeom prst="rect">
            <a:avLst/>
          </a:prstGeom>
          <a:noFill/>
        </p:spPr>
        <p:txBody>
          <a:bodyPr wrap="square" lIns="108000" tIns="0" rIns="0" bIns="86400" rtlCol="0" anchor="t">
            <a:spAutoFit/>
          </a:bodyPr>
          <a:lstStyle/>
          <a:p>
            <a:r>
              <a:rPr kumimoji="1" lang="en-US" altLang="zh-CN" dirty="0">
                <a:solidFill>
                  <a:schemeClr val="accent1">
                    <a:lumMod val="100000"/>
                  </a:schemeClr>
                </a:solidFill>
              </a:rPr>
              <a:t>Enter </a:t>
            </a:r>
            <a:r>
              <a:rPr kumimoji="1" lang="zh-CN" altLang="en-US" dirty="0">
                <a:solidFill>
                  <a:schemeClr val="accent1">
                    <a:lumMod val="100000"/>
                  </a:schemeClr>
                </a:solidFill>
              </a:rPr>
              <a:t>关键词标题</a:t>
            </a:r>
          </a:p>
        </p:txBody>
      </p:sp>
      <p:sp>
        <p:nvSpPr>
          <p:cNvPr id="4" name="文本框 3">
            <a:extLst>
              <a:ext uri="{FF2B5EF4-FFF2-40B4-BE49-F238E27FC236}">
                <a16:creationId xmlns:a16="http://schemas.microsoft.com/office/drawing/2014/main" id="{636362BD-14A2-4131-907F-8C0D52A99014}"/>
              </a:ext>
            </a:extLst>
          </p:cNvPr>
          <p:cNvSpPr txBox="1"/>
          <p:nvPr/>
        </p:nvSpPr>
        <p:spPr>
          <a:xfrm>
            <a:off x="301976" y="264758"/>
            <a:ext cx="3416320" cy="523220"/>
          </a:xfrm>
          <a:prstGeom prst="rect">
            <a:avLst/>
          </a:prstGeom>
          <a:noFill/>
        </p:spPr>
        <p:txBody>
          <a:bodyPr wrap="none" rtlCol="0">
            <a:spAutoFit/>
          </a:bodyPr>
          <a:lstStyle/>
          <a:p>
            <a:r>
              <a:rPr kumimoji="1" lang="zh-CN" altLang="en-US" sz="2800" b="1" dirty="0">
                <a:solidFill>
                  <a:schemeClr val="accent1"/>
                </a:solidFill>
                <a:latin typeface="Microsoft YaHei" panose="020B0503020204020204" pitchFamily="34" charset="-122"/>
                <a:ea typeface="Microsoft YaHei" panose="020B0503020204020204" pitchFamily="34" charset="-122"/>
              </a:rPr>
              <a:t>在这里输入你的标题</a:t>
            </a:r>
          </a:p>
        </p:txBody>
      </p:sp>
    </p:spTree>
    <p:extLst>
      <p:ext uri="{BB962C8B-B14F-4D97-AF65-F5344CB8AC3E}">
        <p14:creationId xmlns:p14="http://schemas.microsoft.com/office/powerpoint/2010/main" val="2566086707"/>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 name="矩形 68">
            <a:extLst>
              <a:ext uri="{FF2B5EF4-FFF2-40B4-BE49-F238E27FC236}">
                <a16:creationId xmlns:a16="http://schemas.microsoft.com/office/drawing/2014/main" id="{4D5DFE46-EBC8-7B49-A100-D4BF2079B10E}"/>
              </a:ext>
            </a:extLst>
          </p:cNvPr>
          <p:cNvSpPr/>
          <p:nvPr/>
        </p:nvSpPr>
        <p:spPr>
          <a:xfrm>
            <a:off x="0" y="6411705"/>
            <a:ext cx="12192000" cy="446296"/>
          </a:xfrm>
          <a:prstGeom prst="rect">
            <a:avLst/>
          </a:prstGeom>
          <a:solidFill>
            <a:schemeClr val="accent1">
              <a:alpha val="7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cxnSp>
        <p:nvCxnSpPr>
          <p:cNvPr id="12" name="直线连接符 11">
            <a:extLst>
              <a:ext uri="{FF2B5EF4-FFF2-40B4-BE49-F238E27FC236}">
                <a16:creationId xmlns:a16="http://schemas.microsoft.com/office/drawing/2014/main" id="{BCFD0843-E0B8-1E41-84B0-CF5FDB12E31D}"/>
              </a:ext>
            </a:extLst>
          </p:cNvPr>
          <p:cNvCxnSpPr/>
          <p:nvPr/>
        </p:nvCxnSpPr>
        <p:spPr>
          <a:xfrm>
            <a:off x="263526" y="862409"/>
            <a:ext cx="102687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3" name="矩形 12">
            <a:extLst>
              <a:ext uri="{FF2B5EF4-FFF2-40B4-BE49-F238E27FC236}">
                <a16:creationId xmlns:a16="http://schemas.microsoft.com/office/drawing/2014/main" id="{2A0FCAB6-FA47-3349-8366-A372187B7C77}"/>
              </a:ext>
            </a:extLst>
          </p:cNvPr>
          <p:cNvSpPr/>
          <p:nvPr/>
        </p:nvSpPr>
        <p:spPr>
          <a:xfrm>
            <a:off x="9329981" y="798163"/>
            <a:ext cx="2862020" cy="10848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1351"/>
          </a:p>
        </p:txBody>
      </p:sp>
      <p:sp>
        <p:nvSpPr>
          <p:cNvPr id="68" name="文本框 67">
            <a:extLst>
              <a:ext uri="{FF2B5EF4-FFF2-40B4-BE49-F238E27FC236}">
                <a16:creationId xmlns:a16="http://schemas.microsoft.com/office/drawing/2014/main" id="{153891F7-5EC9-AB46-AC73-692263FB5D73}"/>
              </a:ext>
            </a:extLst>
          </p:cNvPr>
          <p:cNvSpPr txBox="1"/>
          <p:nvPr/>
        </p:nvSpPr>
        <p:spPr>
          <a:xfrm>
            <a:off x="777464" y="281439"/>
            <a:ext cx="3416320" cy="523220"/>
          </a:xfrm>
          <a:prstGeom prst="rect">
            <a:avLst/>
          </a:prstGeom>
          <a:noFill/>
        </p:spPr>
        <p:txBody>
          <a:bodyPr wrap="none" rtlCol="0">
            <a:spAutoFit/>
          </a:bodyPr>
          <a:lstStyle/>
          <a:p>
            <a:r>
              <a:rPr kumimoji="1" lang="zh-CN" altLang="en-US" sz="2800" b="1" dirty="0">
                <a:solidFill>
                  <a:schemeClr val="accent1"/>
                </a:solidFill>
                <a:latin typeface="Microsoft YaHei" panose="020B0503020204020204" pitchFamily="34" charset="-122"/>
                <a:ea typeface="Microsoft YaHei" panose="020B0503020204020204" pitchFamily="34" charset="-122"/>
              </a:rPr>
              <a:t>在这里输入你的标题</a:t>
            </a:r>
          </a:p>
        </p:txBody>
      </p:sp>
      <p:sp>
        <p:nvSpPr>
          <p:cNvPr id="2" name="矩形 1">
            <a:extLst>
              <a:ext uri="{FF2B5EF4-FFF2-40B4-BE49-F238E27FC236}">
                <a16:creationId xmlns:a16="http://schemas.microsoft.com/office/drawing/2014/main" id="{87CC5207-698B-974D-B1D4-FD3C9D276C3B}"/>
              </a:ext>
            </a:extLst>
          </p:cNvPr>
          <p:cNvSpPr/>
          <p:nvPr/>
        </p:nvSpPr>
        <p:spPr>
          <a:xfrm>
            <a:off x="0" y="6534086"/>
            <a:ext cx="12192000" cy="32391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3" name="燕尾形 2">
            <a:extLst>
              <a:ext uri="{FF2B5EF4-FFF2-40B4-BE49-F238E27FC236}">
                <a16:creationId xmlns:a16="http://schemas.microsoft.com/office/drawing/2014/main" id="{DF247D8F-190E-FB49-BF40-FD5A5C381CE1}"/>
              </a:ext>
            </a:extLst>
          </p:cNvPr>
          <p:cNvSpPr/>
          <p:nvPr/>
        </p:nvSpPr>
        <p:spPr>
          <a:xfrm rot="16200000">
            <a:off x="39859" y="47762"/>
            <a:ext cx="965460" cy="418809"/>
          </a:xfrm>
          <a:prstGeom prst="chevron">
            <a:avLst>
              <a:gd name="adj" fmla="val 34999"/>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solidFill>
                <a:schemeClr val="tx1"/>
              </a:solidFill>
            </a:endParaRPr>
          </a:p>
        </p:txBody>
      </p:sp>
    </p:spTree>
    <p:extLst>
      <p:ext uri="{BB962C8B-B14F-4D97-AF65-F5344CB8AC3E}">
        <p14:creationId xmlns:p14="http://schemas.microsoft.com/office/powerpoint/2010/main" val="2940716652"/>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2" name="直线连接符 11">
            <a:extLst>
              <a:ext uri="{FF2B5EF4-FFF2-40B4-BE49-F238E27FC236}">
                <a16:creationId xmlns:a16="http://schemas.microsoft.com/office/drawing/2014/main" id="{BCFD0843-E0B8-1E41-84B0-CF5FDB12E31D}"/>
              </a:ext>
            </a:extLst>
          </p:cNvPr>
          <p:cNvCxnSpPr>
            <a:cxnSpLocks/>
          </p:cNvCxnSpPr>
          <p:nvPr/>
        </p:nvCxnSpPr>
        <p:spPr>
          <a:xfrm>
            <a:off x="263526" y="964009"/>
            <a:ext cx="11615290" cy="0"/>
          </a:xfrm>
          <a:prstGeom prst="line">
            <a:avLst/>
          </a:prstGeom>
          <a:ln w="19050">
            <a:solidFill>
              <a:schemeClr val="accent1"/>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68" name="文本框 67">
            <a:extLst>
              <a:ext uri="{FF2B5EF4-FFF2-40B4-BE49-F238E27FC236}">
                <a16:creationId xmlns:a16="http://schemas.microsoft.com/office/drawing/2014/main" id="{153891F7-5EC9-AB46-AC73-692263FB5D73}"/>
              </a:ext>
            </a:extLst>
          </p:cNvPr>
          <p:cNvSpPr txBox="1"/>
          <p:nvPr/>
        </p:nvSpPr>
        <p:spPr>
          <a:xfrm>
            <a:off x="777464" y="281439"/>
            <a:ext cx="3416320" cy="523220"/>
          </a:xfrm>
          <a:prstGeom prst="rect">
            <a:avLst/>
          </a:prstGeom>
          <a:noFill/>
        </p:spPr>
        <p:txBody>
          <a:bodyPr wrap="none" rtlCol="0">
            <a:spAutoFit/>
          </a:bodyPr>
          <a:lstStyle/>
          <a:p>
            <a:r>
              <a:rPr kumimoji="1" lang="zh-CN" altLang="en-US" sz="2800" b="1" dirty="0">
                <a:solidFill>
                  <a:schemeClr val="accent1"/>
                </a:solidFill>
                <a:latin typeface="Microsoft YaHei" panose="020B0503020204020204" pitchFamily="34" charset="-122"/>
                <a:ea typeface="Microsoft YaHei" panose="020B0503020204020204" pitchFamily="34" charset="-122"/>
              </a:rPr>
              <a:t>在这里输入你的标题</a:t>
            </a:r>
          </a:p>
        </p:txBody>
      </p:sp>
      <p:sp>
        <p:nvSpPr>
          <p:cNvPr id="3" name="燕尾形 2">
            <a:extLst>
              <a:ext uri="{FF2B5EF4-FFF2-40B4-BE49-F238E27FC236}">
                <a16:creationId xmlns:a16="http://schemas.microsoft.com/office/drawing/2014/main" id="{DF247D8F-190E-FB49-BF40-FD5A5C381CE1}"/>
              </a:ext>
            </a:extLst>
          </p:cNvPr>
          <p:cNvSpPr/>
          <p:nvPr/>
        </p:nvSpPr>
        <p:spPr>
          <a:xfrm rot="16200000">
            <a:off x="39859" y="47762"/>
            <a:ext cx="965460" cy="418809"/>
          </a:xfrm>
          <a:prstGeom prst="chevron">
            <a:avLst>
              <a:gd name="adj" fmla="val 34999"/>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solidFill>
                <a:schemeClr val="tx1"/>
              </a:solidFill>
            </a:endParaRPr>
          </a:p>
        </p:txBody>
      </p:sp>
      <p:cxnSp>
        <p:nvCxnSpPr>
          <p:cNvPr id="9" name="直线连接符 8">
            <a:extLst>
              <a:ext uri="{FF2B5EF4-FFF2-40B4-BE49-F238E27FC236}">
                <a16:creationId xmlns:a16="http://schemas.microsoft.com/office/drawing/2014/main" id="{F9B7FE6F-734F-1D48-9A67-EEE8536D19BF}"/>
              </a:ext>
            </a:extLst>
          </p:cNvPr>
          <p:cNvCxnSpPr>
            <a:cxnSpLocks/>
          </p:cNvCxnSpPr>
          <p:nvPr/>
        </p:nvCxnSpPr>
        <p:spPr>
          <a:xfrm>
            <a:off x="263526" y="6539309"/>
            <a:ext cx="11615290" cy="0"/>
          </a:xfrm>
          <a:prstGeom prst="line">
            <a:avLst/>
          </a:prstGeom>
          <a:ln w="19050">
            <a:solidFill>
              <a:schemeClr val="accent1"/>
            </a:solidFill>
            <a:headEnd type="oval"/>
            <a:tailEnd type="ova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06357128"/>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任意形状 9">
            <a:extLst>
              <a:ext uri="{FF2B5EF4-FFF2-40B4-BE49-F238E27FC236}">
                <a16:creationId xmlns:a16="http://schemas.microsoft.com/office/drawing/2014/main" id="{FC66EB05-D186-9747-9344-ED28279113FF}"/>
              </a:ext>
            </a:extLst>
          </p:cNvPr>
          <p:cNvSpPr/>
          <p:nvPr/>
        </p:nvSpPr>
        <p:spPr>
          <a:xfrm>
            <a:off x="0" y="6457950"/>
            <a:ext cx="12192000" cy="400050"/>
          </a:xfrm>
          <a:custGeom>
            <a:avLst/>
            <a:gdLst>
              <a:gd name="connsiteX0" fmla="*/ 12192000 w 12192000"/>
              <a:gd name="connsiteY0" fmla="*/ 0 h 329410"/>
              <a:gd name="connsiteX1" fmla="*/ 12192000 w 12192000"/>
              <a:gd name="connsiteY1" fmla="*/ 329410 h 329410"/>
              <a:gd name="connsiteX2" fmla="*/ 0 w 12192000"/>
              <a:gd name="connsiteY2" fmla="*/ 329410 h 329410"/>
              <a:gd name="connsiteX3" fmla="*/ 0 w 12192000"/>
              <a:gd name="connsiteY3" fmla="*/ 29375 h 329410"/>
              <a:gd name="connsiteX4" fmla="*/ 577089 w 12192000"/>
              <a:gd name="connsiteY4" fmla="*/ 49593 h 329410"/>
              <a:gd name="connsiteX5" fmla="*/ 5704114 w 12192000"/>
              <a:gd name="connsiteY5" fmla="*/ 124873 h 329410"/>
              <a:gd name="connsiteX6" fmla="*/ 11982536 w 12192000"/>
              <a:gd name="connsiteY6" fmla="*/ 9255 h 329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329410">
                <a:moveTo>
                  <a:pt x="12192000" y="0"/>
                </a:moveTo>
                <a:lnTo>
                  <a:pt x="12192000" y="329410"/>
                </a:lnTo>
                <a:lnTo>
                  <a:pt x="0" y="329410"/>
                </a:lnTo>
                <a:lnTo>
                  <a:pt x="0" y="29375"/>
                </a:lnTo>
                <a:lnTo>
                  <a:pt x="577089" y="49593"/>
                </a:lnTo>
                <a:cubicBezTo>
                  <a:pt x="2152931" y="98068"/>
                  <a:pt x="3885480" y="124873"/>
                  <a:pt x="5704114" y="124873"/>
                </a:cubicBezTo>
                <a:cubicBezTo>
                  <a:pt x="7977407" y="124873"/>
                  <a:pt x="10116192" y="82990"/>
                  <a:pt x="11982536" y="9255"/>
                </a:cubicBezTo>
                <a:close/>
              </a:path>
            </a:pathLst>
          </a:custGeom>
          <a:solidFill>
            <a:schemeClr val="accent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zh-CN" altLang="en-US"/>
          </a:p>
        </p:txBody>
      </p:sp>
      <p:sp>
        <p:nvSpPr>
          <p:cNvPr id="6" name="矩形 5">
            <a:extLst>
              <a:ext uri="{FF2B5EF4-FFF2-40B4-BE49-F238E27FC236}">
                <a16:creationId xmlns:a16="http://schemas.microsoft.com/office/drawing/2014/main" id="{E6EA2274-970A-DF46-AA51-6EAABB285D18}"/>
              </a:ext>
            </a:extLst>
          </p:cNvPr>
          <p:cNvSpPr/>
          <p:nvPr/>
        </p:nvSpPr>
        <p:spPr>
          <a:xfrm>
            <a:off x="0" y="483353"/>
            <a:ext cx="108488" cy="4678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4" name="文本框 13">
            <a:extLst>
              <a:ext uri="{FF2B5EF4-FFF2-40B4-BE49-F238E27FC236}">
                <a16:creationId xmlns:a16="http://schemas.microsoft.com/office/drawing/2014/main" id="{5DFC4421-0C87-2843-BB29-0F437B7A90B5}"/>
              </a:ext>
            </a:extLst>
          </p:cNvPr>
          <p:cNvSpPr txBox="1"/>
          <p:nvPr/>
        </p:nvSpPr>
        <p:spPr>
          <a:xfrm>
            <a:off x="165281" y="455670"/>
            <a:ext cx="3416320" cy="523220"/>
          </a:xfrm>
          <a:prstGeom prst="rect">
            <a:avLst/>
          </a:prstGeom>
          <a:noFill/>
        </p:spPr>
        <p:txBody>
          <a:bodyPr wrap="none" rtlCol="0">
            <a:spAutoFit/>
          </a:bodyPr>
          <a:lstStyle/>
          <a:p>
            <a:r>
              <a:rPr kumimoji="1" lang="zh-CN" altLang="en-US" sz="2800" b="1" dirty="0">
                <a:solidFill>
                  <a:schemeClr val="accent1">
                    <a:lumMod val="100000"/>
                  </a:schemeClr>
                </a:solidFill>
                <a:latin typeface="Microsoft YaHei" panose="020B0503020204020204" pitchFamily="34" charset="-122"/>
                <a:ea typeface="Microsoft YaHei" panose="020B0503020204020204" pitchFamily="34" charset="-122"/>
              </a:rPr>
              <a:t>在这里输入你的标题</a:t>
            </a:r>
          </a:p>
        </p:txBody>
      </p:sp>
      <p:cxnSp>
        <p:nvCxnSpPr>
          <p:cNvPr id="8" name="直线连接符 7">
            <a:extLst>
              <a:ext uri="{FF2B5EF4-FFF2-40B4-BE49-F238E27FC236}">
                <a16:creationId xmlns:a16="http://schemas.microsoft.com/office/drawing/2014/main" id="{3EB49A0F-34CF-5E49-99F4-DB865C0975D5}"/>
              </a:ext>
            </a:extLst>
          </p:cNvPr>
          <p:cNvCxnSpPr>
            <a:cxnSpLocks/>
          </p:cNvCxnSpPr>
          <p:nvPr/>
        </p:nvCxnSpPr>
        <p:spPr>
          <a:xfrm>
            <a:off x="3581601" y="883534"/>
            <a:ext cx="8610399" cy="0"/>
          </a:xfrm>
          <a:prstGeom prst="line">
            <a:avLst/>
          </a:prstGeom>
          <a:ln w="25400">
            <a:solidFill>
              <a:schemeClr val="accent1">
                <a:lumMod val="10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0685795"/>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7" name="直线连接符 6">
            <a:extLst>
              <a:ext uri="{FF2B5EF4-FFF2-40B4-BE49-F238E27FC236}">
                <a16:creationId xmlns:a16="http://schemas.microsoft.com/office/drawing/2014/main" id="{30E42402-421A-374B-8999-63F75ABB37F2}"/>
              </a:ext>
            </a:extLst>
          </p:cNvPr>
          <p:cNvCxnSpPr>
            <a:cxnSpLocks/>
          </p:cNvCxnSpPr>
          <p:nvPr/>
        </p:nvCxnSpPr>
        <p:spPr>
          <a:xfrm>
            <a:off x="263526" y="964009"/>
            <a:ext cx="11615290" cy="0"/>
          </a:xfrm>
          <a:prstGeom prst="line">
            <a:avLst/>
          </a:prstGeom>
          <a:ln w="19050">
            <a:solidFill>
              <a:schemeClr val="accent1">
                <a:lumMod val="100000"/>
              </a:schemeClr>
            </a:solidFill>
            <a:headEnd type="oval"/>
            <a:tailEnd type="oval"/>
          </a:ln>
        </p:spPr>
        <p:style>
          <a:lnRef idx="1">
            <a:schemeClr val="accent1"/>
          </a:lnRef>
          <a:fillRef idx="0">
            <a:schemeClr val="accent1"/>
          </a:fillRef>
          <a:effectRef idx="0">
            <a:schemeClr val="accent1"/>
          </a:effectRef>
          <a:fontRef idx="minor">
            <a:schemeClr val="tx1"/>
          </a:fontRef>
        </p:style>
      </p:cxnSp>
      <p:grpSp>
        <p:nvGrpSpPr>
          <p:cNvPr id="3" name="组合 2">
            <a:extLst>
              <a:ext uri="{FF2B5EF4-FFF2-40B4-BE49-F238E27FC236}">
                <a16:creationId xmlns:a16="http://schemas.microsoft.com/office/drawing/2014/main" id="{7C59B6F3-3A33-6142-B4E3-22ED20219D4A}"/>
              </a:ext>
            </a:extLst>
          </p:cNvPr>
          <p:cNvGrpSpPr/>
          <p:nvPr/>
        </p:nvGrpSpPr>
        <p:grpSpPr>
          <a:xfrm>
            <a:off x="263526" y="0"/>
            <a:ext cx="549274" cy="349857"/>
            <a:chOff x="263526" y="0"/>
            <a:chExt cx="549274" cy="665326"/>
          </a:xfrm>
        </p:grpSpPr>
        <p:sp>
          <p:nvSpPr>
            <p:cNvPr id="2" name="矩形 1">
              <a:extLst>
                <a:ext uri="{FF2B5EF4-FFF2-40B4-BE49-F238E27FC236}">
                  <a16:creationId xmlns:a16="http://schemas.microsoft.com/office/drawing/2014/main" id="{E4D34FDC-C3D2-B148-9420-6D61AB2A2262}"/>
                </a:ext>
              </a:extLst>
            </p:cNvPr>
            <p:cNvSpPr/>
            <p:nvPr/>
          </p:nvSpPr>
          <p:spPr>
            <a:xfrm>
              <a:off x="263526" y="0"/>
              <a:ext cx="549274" cy="660400"/>
            </a:xfrm>
            <a:prstGeom prst="rect">
              <a:avLst/>
            </a:prstGeom>
            <a:solidFill>
              <a:schemeClr val="accent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9" name="矩形 8">
              <a:extLst>
                <a:ext uri="{FF2B5EF4-FFF2-40B4-BE49-F238E27FC236}">
                  <a16:creationId xmlns:a16="http://schemas.microsoft.com/office/drawing/2014/main" id="{FC9E2F98-A759-B14E-9F6A-820F00302BEB}"/>
                </a:ext>
              </a:extLst>
            </p:cNvPr>
            <p:cNvSpPr/>
            <p:nvPr/>
          </p:nvSpPr>
          <p:spPr>
            <a:xfrm>
              <a:off x="263526" y="548639"/>
              <a:ext cx="549274" cy="116687"/>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grpSp>
      <p:sp>
        <p:nvSpPr>
          <p:cNvPr id="11" name="文本框 10">
            <a:extLst>
              <a:ext uri="{FF2B5EF4-FFF2-40B4-BE49-F238E27FC236}">
                <a16:creationId xmlns:a16="http://schemas.microsoft.com/office/drawing/2014/main" id="{E2E33E25-4B10-2045-9D30-3D97889C618B}"/>
              </a:ext>
            </a:extLst>
          </p:cNvPr>
          <p:cNvSpPr txBox="1"/>
          <p:nvPr/>
        </p:nvSpPr>
        <p:spPr>
          <a:xfrm>
            <a:off x="165281" y="392733"/>
            <a:ext cx="3416320" cy="523220"/>
          </a:xfrm>
          <a:prstGeom prst="rect">
            <a:avLst/>
          </a:prstGeom>
          <a:noFill/>
        </p:spPr>
        <p:txBody>
          <a:bodyPr wrap="none" rtlCol="0">
            <a:spAutoFit/>
          </a:bodyPr>
          <a:lstStyle/>
          <a:p>
            <a:r>
              <a:rPr kumimoji="1" lang="zh-CN" altLang="en-US" sz="2800" b="1" dirty="0">
                <a:solidFill>
                  <a:schemeClr val="accent1">
                    <a:lumMod val="100000"/>
                  </a:schemeClr>
                </a:solidFill>
                <a:latin typeface="Microsoft YaHei" panose="020B0503020204020204" pitchFamily="34" charset="-122"/>
                <a:ea typeface="Microsoft YaHei" panose="020B0503020204020204" pitchFamily="34" charset="-122"/>
              </a:rPr>
              <a:t>在这里输入你的标题</a:t>
            </a:r>
          </a:p>
        </p:txBody>
      </p:sp>
      <p:grpSp>
        <p:nvGrpSpPr>
          <p:cNvPr id="17" name="组合 16">
            <a:extLst>
              <a:ext uri="{FF2B5EF4-FFF2-40B4-BE49-F238E27FC236}">
                <a16:creationId xmlns:a16="http://schemas.microsoft.com/office/drawing/2014/main" id="{ECBAC9BF-2212-CF47-8D5B-754818FD0CBB}"/>
              </a:ext>
            </a:extLst>
          </p:cNvPr>
          <p:cNvGrpSpPr/>
          <p:nvPr/>
        </p:nvGrpSpPr>
        <p:grpSpPr>
          <a:xfrm>
            <a:off x="0" y="6016752"/>
            <a:ext cx="6096000" cy="849927"/>
            <a:chOff x="0" y="6016752"/>
            <a:chExt cx="6096000" cy="849927"/>
          </a:xfrm>
        </p:grpSpPr>
        <p:sp>
          <p:nvSpPr>
            <p:cNvPr id="16" name="直角三角形 15">
              <a:extLst>
                <a:ext uri="{FF2B5EF4-FFF2-40B4-BE49-F238E27FC236}">
                  <a16:creationId xmlns:a16="http://schemas.microsoft.com/office/drawing/2014/main" id="{C0E3C6AC-69CE-1F42-8685-899501F795E7}"/>
                </a:ext>
              </a:extLst>
            </p:cNvPr>
            <p:cNvSpPr/>
            <p:nvPr/>
          </p:nvSpPr>
          <p:spPr>
            <a:xfrm>
              <a:off x="0" y="6016752"/>
              <a:ext cx="6096000" cy="849927"/>
            </a:xfrm>
            <a:prstGeom prst="rtTriangle">
              <a:avLst/>
            </a:prstGeom>
            <a:solidFill>
              <a:schemeClr val="accent1">
                <a:lumMod val="100000"/>
                <a:alpha val="5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5" name="直角三角形 14">
              <a:extLst>
                <a:ext uri="{FF2B5EF4-FFF2-40B4-BE49-F238E27FC236}">
                  <a16:creationId xmlns:a16="http://schemas.microsoft.com/office/drawing/2014/main" id="{9FF73FF7-A484-734E-96D0-87CF49D6D961}"/>
                </a:ext>
              </a:extLst>
            </p:cNvPr>
            <p:cNvSpPr/>
            <p:nvPr/>
          </p:nvSpPr>
          <p:spPr>
            <a:xfrm>
              <a:off x="0" y="6263646"/>
              <a:ext cx="6096000" cy="594354"/>
            </a:xfrm>
            <a:prstGeom prst="rtTriangle">
              <a:avLst/>
            </a:prstGeom>
            <a:solidFill>
              <a:schemeClr val="accent1">
                <a:lumMod val="100000"/>
                <a:alpha val="5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2" name="直角三角形 11">
              <a:extLst>
                <a:ext uri="{FF2B5EF4-FFF2-40B4-BE49-F238E27FC236}">
                  <a16:creationId xmlns:a16="http://schemas.microsoft.com/office/drawing/2014/main" id="{99B16F25-3D8C-7D45-99C6-7E9C5991457A}"/>
                </a:ext>
              </a:extLst>
            </p:cNvPr>
            <p:cNvSpPr/>
            <p:nvPr/>
          </p:nvSpPr>
          <p:spPr>
            <a:xfrm>
              <a:off x="0" y="6465266"/>
              <a:ext cx="6096000" cy="392733"/>
            </a:xfrm>
            <a:prstGeom prst="rtTriangle">
              <a:avLst/>
            </a:prstGeom>
            <a:solidFill>
              <a:schemeClr val="accent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grpSp>
      <p:grpSp>
        <p:nvGrpSpPr>
          <p:cNvPr id="18" name="组合 17">
            <a:extLst>
              <a:ext uri="{FF2B5EF4-FFF2-40B4-BE49-F238E27FC236}">
                <a16:creationId xmlns:a16="http://schemas.microsoft.com/office/drawing/2014/main" id="{0BBA12B7-3E43-904C-8F29-9384CD954330}"/>
              </a:ext>
            </a:extLst>
          </p:cNvPr>
          <p:cNvGrpSpPr/>
          <p:nvPr/>
        </p:nvGrpSpPr>
        <p:grpSpPr>
          <a:xfrm flipH="1">
            <a:off x="6096000" y="6016752"/>
            <a:ext cx="6096000" cy="849927"/>
            <a:chOff x="0" y="6016752"/>
            <a:chExt cx="6096000" cy="849927"/>
          </a:xfrm>
        </p:grpSpPr>
        <p:sp>
          <p:nvSpPr>
            <p:cNvPr id="19" name="直角三角形 18">
              <a:extLst>
                <a:ext uri="{FF2B5EF4-FFF2-40B4-BE49-F238E27FC236}">
                  <a16:creationId xmlns:a16="http://schemas.microsoft.com/office/drawing/2014/main" id="{D8072DD4-420B-2847-BEC5-65FC6300121A}"/>
                </a:ext>
              </a:extLst>
            </p:cNvPr>
            <p:cNvSpPr/>
            <p:nvPr/>
          </p:nvSpPr>
          <p:spPr>
            <a:xfrm>
              <a:off x="0" y="6016752"/>
              <a:ext cx="6096000" cy="849927"/>
            </a:xfrm>
            <a:prstGeom prst="rtTriangle">
              <a:avLst/>
            </a:prstGeom>
            <a:solidFill>
              <a:schemeClr val="accent1">
                <a:lumMod val="100000"/>
                <a:alpha val="5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20" name="直角三角形 19">
              <a:extLst>
                <a:ext uri="{FF2B5EF4-FFF2-40B4-BE49-F238E27FC236}">
                  <a16:creationId xmlns:a16="http://schemas.microsoft.com/office/drawing/2014/main" id="{672AE527-2196-F446-9D0A-4711689FF6E4}"/>
                </a:ext>
              </a:extLst>
            </p:cNvPr>
            <p:cNvSpPr/>
            <p:nvPr/>
          </p:nvSpPr>
          <p:spPr>
            <a:xfrm>
              <a:off x="0" y="6263646"/>
              <a:ext cx="6096000" cy="594354"/>
            </a:xfrm>
            <a:prstGeom prst="rtTriangle">
              <a:avLst/>
            </a:prstGeom>
            <a:solidFill>
              <a:schemeClr val="accent1">
                <a:lumMod val="100000"/>
                <a:alpha val="5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21" name="直角三角形 20">
              <a:extLst>
                <a:ext uri="{FF2B5EF4-FFF2-40B4-BE49-F238E27FC236}">
                  <a16:creationId xmlns:a16="http://schemas.microsoft.com/office/drawing/2014/main" id="{3DFD6924-8B58-7640-B5FD-3944D3C2CC99}"/>
                </a:ext>
              </a:extLst>
            </p:cNvPr>
            <p:cNvSpPr/>
            <p:nvPr/>
          </p:nvSpPr>
          <p:spPr>
            <a:xfrm>
              <a:off x="0" y="6465266"/>
              <a:ext cx="6096000" cy="392733"/>
            </a:xfrm>
            <a:prstGeom prst="rtTriangle">
              <a:avLst/>
            </a:prstGeom>
            <a:solidFill>
              <a:schemeClr val="accent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grpSp>
    </p:spTree>
    <p:extLst>
      <p:ext uri="{BB962C8B-B14F-4D97-AF65-F5344CB8AC3E}">
        <p14:creationId xmlns:p14="http://schemas.microsoft.com/office/powerpoint/2010/main" val="1085593049"/>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bg1">
            <a:lumMod val="75000"/>
          </a:schemeClr>
        </a:solidFill>
        <a:effectLst/>
      </p:bgPr>
    </p:bg>
    <p:spTree>
      <p:nvGrpSpPr>
        <p:cNvPr id="1" name=""/>
        <p:cNvGrpSpPr/>
        <p:nvPr/>
      </p:nvGrpSpPr>
      <p:grpSpPr>
        <a:xfrm>
          <a:off x="0" y="0"/>
          <a:ext cx="0" cy="0"/>
          <a:chOff x="0" y="0"/>
          <a:chExt cx="0" cy="0"/>
        </a:xfrm>
      </p:grpSpPr>
      <p:sp>
        <p:nvSpPr>
          <p:cNvPr id="22" name="任意多边形: 形状 21">
            <a:extLst>
              <a:ext uri="{FF2B5EF4-FFF2-40B4-BE49-F238E27FC236}">
                <a16:creationId xmlns:a16="http://schemas.microsoft.com/office/drawing/2014/main" id="{CA85D76F-9E99-44DF-B42C-C0402DFA9DB1}"/>
              </a:ext>
            </a:extLst>
          </p:cNvPr>
          <p:cNvSpPr/>
          <p:nvPr/>
        </p:nvSpPr>
        <p:spPr>
          <a:xfrm>
            <a:off x="0" y="2349500"/>
            <a:ext cx="12192000" cy="4508500"/>
          </a:xfrm>
          <a:custGeom>
            <a:avLst/>
            <a:gdLst>
              <a:gd name="connsiteX0" fmla="*/ 0 w 12192000"/>
              <a:gd name="connsiteY0" fmla="*/ 0 h 1704980"/>
              <a:gd name="connsiteX1" fmla="*/ 145697 w 12192000"/>
              <a:gd name="connsiteY1" fmla="*/ 17875 h 1704980"/>
              <a:gd name="connsiteX2" fmla="*/ 6096000 w 12192000"/>
              <a:gd name="connsiteY2" fmla="*/ 306224 h 1704980"/>
              <a:gd name="connsiteX3" fmla="*/ 12046304 w 12192000"/>
              <a:gd name="connsiteY3" fmla="*/ 17875 h 1704980"/>
              <a:gd name="connsiteX4" fmla="*/ 12192000 w 12192000"/>
              <a:gd name="connsiteY4" fmla="*/ 0 h 1704980"/>
              <a:gd name="connsiteX5" fmla="*/ 12192000 w 12192000"/>
              <a:gd name="connsiteY5" fmla="*/ 1704980 h 1704980"/>
              <a:gd name="connsiteX6" fmla="*/ 0 w 12192000"/>
              <a:gd name="connsiteY6" fmla="*/ 1704980 h 1704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1704980">
                <a:moveTo>
                  <a:pt x="0" y="0"/>
                </a:moveTo>
                <a:lnTo>
                  <a:pt x="145697" y="17875"/>
                </a:lnTo>
                <a:cubicBezTo>
                  <a:pt x="1762699" y="198013"/>
                  <a:pt x="3835734" y="306224"/>
                  <a:pt x="6096000" y="306224"/>
                </a:cubicBezTo>
                <a:cubicBezTo>
                  <a:pt x="8356267" y="306224"/>
                  <a:pt x="10429302" y="198013"/>
                  <a:pt x="12046304" y="17875"/>
                </a:cubicBezTo>
                <a:lnTo>
                  <a:pt x="12192000" y="0"/>
                </a:lnTo>
                <a:lnTo>
                  <a:pt x="12192000" y="1704980"/>
                </a:lnTo>
                <a:lnTo>
                  <a:pt x="0" y="170498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6000" dirty="0"/>
          </a:p>
        </p:txBody>
      </p:sp>
      <p:sp>
        <p:nvSpPr>
          <p:cNvPr id="13" name="任意多边形: 形状 12">
            <a:extLst>
              <a:ext uri="{FF2B5EF4-FFF2-40B4-BE49-F238E27FC236}">
                <a16:creationId xmlns:a16="http://schemas.microsoft.com/office/drawing/2014/main" id="{F9BA58F3-A3A0-4120-A971-9BDA56CB4565}"/>
              </a:ext>
            </a:extLst>
          </p:cNvPr>
          <p:cNvSpPr/>
          <p:nvPr/>
        </p:nvSpPr>
        <p:spPr>
          <a:xfrm>
            <a:off x="5430087" y="1332532"/>
            <a:ext cx="1331826" cy="1221507"/>
          </a:xfrm>
          <a:custGeom>
            <a:avLst/>
            <a:gdLst>
              <a:gd name="connsiteX0" fmla="*/ 1006264 w 1331826"/>
              <a:gd name="connsiteY0" fmla="*/ 238125 h 1221507"/>
              <a:gd name="connsiteX1" fmla="*/ 1123466 w 1331826"/>
              <a:gd name="connsiteY1" fmla="*/ 355327 h 1221507"/>
              <a:gd name="connsiteX2" fmla="*/ 1006264 w 1331826"/>
              <a:gd name="connsiteY2" fmla="*/ 472529 h 1221507"/>
              <a:gd name="connsiteX3" fmla="*/ 889062 w 1331826"/>
              <a:gd name="connsiteY3" fmla="*/ 355327 h 1221507"/>
              <a:gd name="connsiteX4" fmla="*/ 1006264 w 1331826"/>
              <a:gd name="connsiteY4" fmla="*/ 238125 h 1221507"/>
              <a:gd name="connsiteX5" fmla="*/ 172827 w 1331826"/>
              <a:gd name="connsiteY5" fmla="*/ 104180 h 1221507"/>
              <a:gd name="connsiteX6" fmla="*/ 105482 w 1331826"/>
              <a:gd name="connsiteY6" fmla="*/ 171152 h 1221507"/>
              <a:gd name="connsiteX7" fmla="*/ 105482 w 1331826"/>
              <a:gd name="connsiteY7" fmla="*/ 726281 h 1221507"/>
              <a:gd name="connsiteX8" fmla="*/ 179152 w 1331826"/>
              <a:gd name="connsiteY8" fmla="*/ 599777 h 1221507"/>
              <a:gd name="connsiteX9" fmla="*/ 303795 w 1331826"/>
              <a:gd name="connsiteY9" fmla="*/ 490761 h 1221507"/>
              <a:gd name="connsiteX10" fmla="*/ 414300 w 1331826"/>
              <a:gd name="connsiteY10" fmla="*/ 507504 h 1221507"/>
              <a:gd name="connsiteX11" fmla="*/ 731676 w 1331826"/>
              <a:gd name="connsiteY11" fmla="*/ 856878 h 1221507"/>
              <a:gd name="connsiteX12" fmla="*/ 780790 w 1331826"/>
              <a:gd name="connsiteY12" fmla="*/ 791022 h 1221507"/>
              <a:gd name="connsiteX13" fmla="*/ 988777 w 1331826"/>
              <a:gd name="connsiteY13" fmla="*/ 633264 h 1221507"/>
              <a:gd name="connsiteX14" fmla="*/ 1093329 w 1331826"/>
              <a:gd name="connsiteY14" fmla="*/ 666006 h 1221507"/>
              <a:gd name="connsiteX15" fmla="*/ 1227646 w 1331826"/>
              <a:gd name="connsiteY15" fmla="*/ 821159 h 1221507"/>
              <a:gd name="connsiteX16" fmla="*/ 1227646 w 1331826"/>
              <a:gd name="connsiteY16" fmla="*/ 171152 h 1221507"/>
              <a:gd name="connsiteX17" fmla="*/ 1160673 w 1331826"/>
              <a:gd name="connsiteY17" fmla="*/ 104180 h 1221507"/>
              <a:gd name="connsiteX18" fmla="*/ 172827 w 1331826"/>
              <a:gd name="connsiteY18" fmla="*/ 0 h 1221507"/>
              <a:gd name="connsiteX19" fmla="*/ 1160673 w 1331826"/>
              <a:gd name="connsiteY19" fmla="*/ 0 h 1221507"/>
              <a:gd name="connsiteX20" fmla="*/ 1331826 w 1331826"/>
              <a:gd name="connsiteY20" fmla="*/ 171152 h 1221507"/>
              <a:gd name="connsiteX21" fmla="*/ 1331826 w 1331826"/>
              <a:gd name="connsiteY21" fmla="*/ 1050355 h 1221507"/>
              <a:gd name="connsiteX22" fmla="*/ 1160673 w 1331826"/>
              <a:gd name="connsiteY22" fmla="*/ 1221507 h 1221507"/>
              <a:gd name="connsiteX23" fmla="*/ 172827 w 1331826"/>
              <a:gd name="connsiteY23" fmla="*/ 1221507 h 1221507"/>
              <a:gd name="connsiteX24" fmla="*/ 1674 w 1331826"/>
              <a:gd name="connsiteY24" fmla="*/ 1050355 h 1221507"/>
              <a:gd name="connsiteX25" fmla="*/ 1674 w 1331826"/>
              <a:gd name="connsiteY25" fmla="*/ 1006450 h 1221507"/>
              <a:gd name="connsiteX26" fmla="*/ 1674 w 1331826"/>
              <a:gd name="connsiteY26" fmla="*/ 980405 h 1221507"/>
              <a:gd name="connsiteX27" fmla="*/ 1674 w 1331826"/>
              <a:gd name="connsiteY27" fmla="*/ 171152 h 1221507"/>
              <a:gd name="connsiteX28" fmla="*/ 172827 w 1331826"/>
              <a:gd name="connsiteY28" fmla="*/ 0 h 1221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31826" h="1221507">
                <a:moveTo>
                  <a:pt x="1006264" y="238125"/>
                </a:moveTo>
                <a:cubicBezTo>
                  <a:pt x="1070993" y="238125"/>
                  <a:pt x="1123466" y="290598"/>
                  <a:pt x="1123466" y="355327"/>
                </a:cubicBezTo>
                <a:cubicBezTo>
                  <a:pt x="1123466" y="420056"/>
                  <a:pt x="1070993" y="472529"/>
                  <a:pt x="1006264" y="472529"/>
                </a:cubicBezTo>
                <a:cubicBezTo>
                  <a:pt x="941535" y="472529"/>
                  <a:pt x="889062" y="420056"/>
                  <a:pt x="889062" y="355327"/>
                </a:cubicBezTo>
                <a:cubicBezTo>
                  <a:pt x="889062" y="290598"/>
                  <a:pt x="941535" y="238125"/>
                  <a:pt x="1006264" y="238125"/>
                </a:cubicBezTo>
                <a:close/>
                <a:moveTo>
                  <a:pt x="172827" y="104180"/>
                </a:moveTo>
                <a:cubicBezTo>
                  <a:pt x="135620" y="104180"/>
                  <a:pt x="105854" y="133945"/>
                  <a:pt x="105482" y="171152"/>
                </a:cubicBezTo>
                <a:lnTo>
                  <a:pt x="105482" y="726281"/>
                </a:lnTo>
                <a:cubicBezTo>
                  <a:pt x="130411" y="676424"/>
                  <a:pt x="154967" y="634008"/>
                  <a:pt x="179152" y="599777"/>
                </a:cubicBezTo>
                <a:cubicBezTo>
                  <a:pt x="220824" y="540246"/>
                  <a:pt x="261751" y="504527"/>
                  <a:pt x="303795" y="490761"/>
                </a:cubicBezTo>
                <a:cubicBezTo>
                  <a:pt x="342491" y="478110"/>
                  <a:pt x="380442" y="483691"/>
                  <a:pt x="414300" y="507504"/>
                </a:cubicBezTo>
                <a:cubicBezTo>
                  <a:pt x="528526" y="587871"/>
                  <a:pt x="663215" y="762372"/>
                  <a:pt x="731676" y="856878"/>
                </a:cubicBezTo>
                <a:cubicBezTo>
                  <a:pt x="745443" y="837158"/>
                  <a:pt x="762186" y="814090"/>
                  <a:pt x="780790" y="791022"/>
                </a:cubicBezTo>
                <a:cubicBezTo>
                  <a:pt x="858552" y="693911"/>
                  <a:pt x="926641" y="642193"/>
                  <a:pt x="988777" y="633264"/>
                </a:cubicBezTo>
                <a:cubicBezTo>
                  <a:pt x="1028216" y="627683"/>
                  <a:pt x="1064307" y="638845"/>
                  <a:pt x="1093329" y="666006"/>
                </a:cubicBezTo>
                <a:cubicBezTo>
                  <a:pt x="1142070" y="711398"/>
                  <a:pt x="1188951" y="768697"/>
                  <a:pt x="1227646" y="821159"/>
                </a:cubicBezTo>
                <a:lnTo>
                  <a:pt x="1227646" y="171152"/>
                </a:lnTo>
                <a:cubicBezTo>
                  <a:pt x="1227646" y="134317"/>
                  <a:pt x="1197508" y="104180"/>
                  <a:pt x="1160673" y="104180"/>
                </a:cubicBezTo>
                <a:close/>
                <a:moveTo>
                  <a:pt x="172827" y="0"/>
                </a:moveTo>
                <a:lnTo>
                  <a:pt x="1160673" y="0"/>
                </a:lnTo>
                <a:cubicBezTo>
                  <a:pt x="1255179" y="0"/>
                  <a:pt x="1331826" y="76646"/>
                  <a:pt x="1331826" y="171152"/>
                </a:cubicBezTo>
                <a:lnTo>
                  <a:pt x="1331826" y="1050355"/>
                </a:lnTo>
                <a:cubicBezTo>
                  <a:pt x="1331826" y="1144860"/>
                  <a:pt x="1255179" y="1221507"/>
                  <a:pt x="1160673" y="1221507"/>
                </a:cubicBezTo>
                <a:lnTo>
                  <a:pt x="172827" y="1221507"/>
                </a:lnTo>
                <a:cubicBezTo>
                  <a:pt x="78321" y="1221507"/>
                  <a:pt x="1674" y="1144860"/>
                  <a:pt x="1674" y="1050355"/>
                </a:cubicBezTo>
                <a:lnTo>
                  <a:pt x="1674" y="1006450"/>
                </a:lnTo>
                <a:cubicBezTo>
                  <a:pt x="-558" y="997893"/>
                  <a:pt x="-558" y="989335"/>
                  <a:pt x="1674" y="980405"/>
                </a:cubicBezTo>
                <a:lnTo>
                  <a:pt x="1674" y="171152"/>
                </a:lnTo>
                <a:cubicBezTo>
                  <a:pt x="1674" y="76646"/>
                  <a:pt x="78321" y="0"/>
                  <a:pt x="172827" y="0"/>
                </a:cubicBezTo>
                <a:close/>
              </a:path>
            </a:pathLst>
          </a:custGeom>
          <a:solidFill>
            <a:schemeClr val="bg1"/>
          </a:solidFill>
          <a:ln w="1860" cap="flat">
            <a:noFill/>
            <a:prstDash val="solid"/>
            <a:miter/>
          </a:ln>
        </p:spPr>
        <p:txBody>
          <a:bodyPr rtlCol="0" anchor="ctr"/>
          <a:lstStyle/>
          <a:p>
            <a:endParaRPr lang="zh-CN" altLang="en-US"/>
          </a:p>
        </p:txBody>
      </p:sp>
      <p:sp>
        <p:nvSpPr>
          <p:cNvPr id="23" name="文本框 22">
            <a:extLst>
              <a:ext uri="{FF2B5EF4-FFF2-40B4-BE49-F238E27FC236}">
                <a16:creationId xmlns:a16="http://schemas.microsoft.com/office/drawing/2014/main" id="{D8B9BD33-C2A6-4E40-B8D3-C148915C0DB8}"/>
              </a:ext>
            </a:extLst>
          </p:cNvPr>
          <p:cNvSpPr txBox="1"/>
          <p:nvPr/>
        </p:nvSpPr>
        <p:spPr>
          <a:xfrm>
            <a:off x="2287265" y="3934257"/>
            <a:ext cx="7617471" cy="1015663"/>
          </a:xfrm>
          <a:prstGeom prst="rect">
            <a:avLst/>
          </a:prstGeom>
          <a:noFill/>
        </p:spPr>
        <p:txBody>
          <a:bodyPr wrap="none" lIns="0" tIns="0" rIns="0" bIns="0" rtlCol="0" anchor="t">
            <a:spAutoFit/>
          </a:bodyPr>
          <a:lstStyle/>
          <a:p>
            <a:pPr algn="ctr"/>
            <a:r>
              <a:rPr lang="zh-CN" altLang="en-US" sz="6600" dirty="0">
                <a:solidFill>
                  <a:schemeClr val="bg1"/>
                </a:solidFill>
                <a:latin typeface="+mj-ea"/>
                <a:ea typeface="+mj-ea"/>
              </a:rPr>
              <a:t>输入你的封面大标题</a:t>
            </a:r>
          </a:p>
        </p:txBody>
      </p:sp>
      <p:sp>
        <p:nvSpPr>
          <p:cNvPr id="24" name="文本框 23">
            <a:extLst>
              <a:ext uri="{FF2B5EF4-FFF2-40B4-BE49-F238E27FC236}">
                <a16:creationId xmlns:a16="http://schemas.microsoft.com/office/drawing/2014/main" id="{80F7986E-926F-4DEB-89E9-085437FDA794}"/>
              </a:ext>
            </a:extLst>
          </p:cNvPr>
          <p:cNvSpPr txBox="1"/>
          <p:nvPr/>
        </p:nvSpPr>
        <p:spPr>
          <a:xfrm>
            <a:off x="4400105" y="5083779"/>
            <a:ext cx="3334246" cy="307777"/>
          </a:xfrm>
          <a:prstGeom prst="rect">
            <a:avLst/>
          </a:prstGeom>
          <a:noFill/>
        </p:spPr>
        <p:txBody>
          <a:bodyPr wrap="none" lIns="0" tIns="0" rIns="0" bIns="0" rtlCol="0" anchor="t">
            <a:spAutoFit/>
          </a:bodyPr>
          <a:lstStyle/>
          <a:p>
            <a:pPr algn="ctr"/>
            <a:r>
              <a:rPr lang="zh-CN" altLang="en-US" sz="2000" dirty="0">
                <a:solidFill>
                  <a:schemeClr val="bg1"/>
                </a:solidFill>
                <a:latin typeface="+mn-ea"/>
              </a:rPr>
              <a:t>输入你的副标题或大标题英文</a:t>
            </a:r>
          </a:p>
        </p:txBody>
      </p:sp>
      <p:cxnSp>
        <p:nvCxnSpPr>
          <p:cNvPr id="25" name="直接连接符 24">
            <a:extLst>
              <a:ext uri="{FF2B5EF4-FFF2-40B4-BE49-F238E27FC236}">
                <a16:creationId xmlns:a16="http://schemas.microsoft.com/office/drawing/2014/main" id="{59718709-7E61-4578-AF3F-48B5F95A21B0}"/>
              </a:ext>
            </a:extLst>
          </p:cNvPr>
          <p:cNvCxnSpPr>
            <a:cxnSpLocks/>
          </p:cNvCxnSpPr>
          <p:nvPr/>
        </p:nvCxnSpPr>
        <p:spPr>
          <a:xfrm flipH="1">
            <a:off x="2392909" y="5237667"/>
            <a:ext cx="1874291"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6" name="直接连接符 25">
            <a:extLst>
              <a:ext uri="{FF2B5EF4-FFF2-40B4-BE49-F238E27FC236}">
                <a16:creationId xmlns:a16="http://schemas.microsoft.com/office/drawing/2014/main" id="{B29D7511-2464-4EDF-B533-49A591B93D53}"/>
              </a:ext>
            </a:extLst>
          </p:cNvPr>
          <p:cNvCxnSpPr>
            <a:cxnSpLocks/>
          </p:cNvCxnSpPr>
          <p:nvPr/>
        </p:nvCxnSpPr>
        <p:spPr>
          <a:xfrm flipH="1">
            <a:off x="7848600" y="5237667"/>
            <a:ext cx="1892947"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grpSp>
        <p:nvGrpSpPr>
          <p:cNvPr id="27" name="组合 26">
            <a:extLst>
              <a:ext uri="{FF2B5EF4-FFF2-40B4-BE49-F238E27FC236}">
                <a16:creationId xmlns:a16="http://schemas.microsoft.com/office/drawing/2014/main" id="{CD58E446-CADD-49C1-98AB-9939475422A2}"/>
              </a:ext>
            </a:extLst>
          </p:cNvPr>
          <p:cNvGrpSpPr/>
          <p:nvPr/>
        </p:nvGrpSpPr>
        <p:grpSpPr>
          <a:xfrm>
            <a:off x="4400105" y="5684518"/>
            <a:ext cx="1314771" cy="219442"/>
            <a:chOff x="4095451" y="4640913"/>
            <a:chExt cx="1475214" cy="246221"/>
          </a:xfrm>
        </p:grpSpPr>
        <p:sp>
          <p:nvSpPr>
            <p:cNvPr id="28" name="矩形 27">
              <a:extLst>
                <a:ext uri="{FF2B5EF4-FFF2-40B4-BE49-F238E27FC236}">
                  <a16:creationId xmlns:a16="http://schemas.microsoft.com/office/drawing/2014/main" id="{ED49C1B8-63CB-48BE-92D0-D325B3E846B6}"/>
                </a:ext>
              </a:extLst>
            </p:cNvPr>
            <p:cNvSpPr/>
            <p:nvPr/>
          </p:nvSpPr>
          <p:spPr>
            <a:xfrm>
              <a:off x="4095451" y="4672584"/>
              <a:ext cx="164592" cy="1645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solidFill>
                  <a:schemeClr val="bg1"/>
                </a:solidFill>
              </a:endParaRPr>
            </a:p>
          </p:txBody>
        </p:sp>
        <p:sp>
          <p:nvSpPr>
            <p:cNvPr id="29" name="文本框 28">
              <a:extLst>
                <a:ext uri="{FF2B5EF4-FFF2-40B4-BE49-F238E27FC236}">
                  <a16:creationId xmlns:a16="http://schemas.microsoft.com/office/drawing/2014/main" id="{75D0EADD-4C88-4B11-8780-DB8B0EAF5C44}"/>
                </a:ext>
              </a:extLst>
            </p:cNvPr>
            <p:cNvSpPr txBox="1"/>
            <p:nvPr/>
          </p:nvSpPr>
          <p:spPr>
            <a:xfrm>
              <a:off x="4408487" y="4640913"/>
              <a:ext cx="1162178" cy="246221"/>
            </a:xfrm>
            <a:prstGeom prst="rect">
              <a:avLst/>
            </a:prstGeom>
            <a:noFill/>
          </p:spPr>
          <p:txBody>
            <a:bodyPr wrap="none" lIns="0" tIns="0" rIns="0" bIns="0" rtlCol="0" anchor="t">
              <a:spAutoFit/>
            </a:bodyPr>
            <a:lstStyle/>
            <a:p>
              <a:r>
                <a:rPr lang="zh-CN" altLang="en-US" sz="1600" dirty="0">
                  <a:solidFill>
                    <a:schemeClr val="bg1"/>
                  </a:solidFill>
                  <a:latin typeface="+mn-ea"/>
                </a:rPr>
                <a:t>汇报人：</a:t>
              </a:r>
              <a:r>
                <a:rPr lang="en-US" altLang="zh-CN" sz="1600" dirty="0">
                  <a:solidFill>
                    <a:schemeClr val="bg1"/>
                  </a:solidFill>
                  <a:latin typeface="+mn-ea"/>
                </a:rPr>
                <a:t>xxx</a:t>
              </a:r>
              <a:endParaRPr lang="zh-CN" altLang="en-US" sz="1600" dirty="0">
                <a:solidFill>
                  <a:schemeClr val="bg1"/>
                </a:solidFill>
                <a:latin typeface="+mn-ea"/>
              </a:endParaRPr>
            </a:p>
          </p:txBody>
        </p:sp>
      </p:grpSp>
      <p:grpSp>
        <p:nvGrpSpPr>
          <p:cNvPr id="30" name="组合 29">
            <a:extLst>
              <a:ext uri="{FF2B5EF4-FFF2-40B4-BE49-F238E27FC236}">
                <a16:creationId xmlns:a16="http://schemas.microsoft.com/office/drawing/2014/main" id="{69443CD1-489A-4F79-999A-B3A3B2BB0883}"/>
              </a:ext>
            </a:extLst>
          </p:cNvPr>
          <p:cNvGrpSpPr/>
          <p:nvPr/>
        </p:nvGrpSpPr>
        <p:grpSpPr>
          <a:xfrm>
            <a:off x="6413034" y="5684518"/>
            <a:ext cx="1131902" cy="219442"/>
            <a:chOff x="4095451" y="4640913"/>
            <a:chExt cx="1270029" cy="246221"/>
          </a:xfrm>
        </p:grpSpPr>
        <p:sp>
          <p:nvSpPr>
            <p:cNvPr id="31" name="矩形 30">
              <a:extLst>
                <a:ext uri="{FF2B5EF4-FFF2-40B4-BE49-F238E27FC236}">
                  <a16:creationId xmlns:a16="http://schemas.microsoft.com/office/drawing/2014/main" id="{E2FFFB47-367F-48F6-892D-9E10ADFAE8B4}"/>
                </a:ext>
              </a:extLst>
            </p:cNvPr>
            <p:cNvSpPr/>
            <p:nvPr/>
          </p:nvSpPr>
          <p:spPr>
            <a:xfrm>
              <a:off x="4095451" y="4672584"/>
              <a:ext cx="164592" cy="1645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solidFill>
                  <a:schemeClr val="bg1"/>
                </a:solidFill>
              </a:endParaRPr>
            </a:p>
          </p:txBody>
        </p:sp>
        <p:sp>
          <p:nvSpPr>
            <p:cNvPr id="32" name="文本框 31">
              <a:extLst>
                <a:ext uri="{FF2B5EF4-FFF2-40B4-BE49-F238E27FC236}">
                  <a16:creationId xmlns:a16="http://schemas.microsoft.com/office/drawing/2014/main" id="{46EDEEF0-5C15-49E3-97D1-BCB3FDB3B8AB}"/>
                </a:ext>
              </a:extLst>
            </p:cNvPr>
            <p:cNvSpPr txBox="1"/>
            <p:nvPr/>
          </p:nvSpPr>
          <p:spPr>
            <a:xfrm>
              <a:off x="4408487" y="4640913"/>
              <a:ext cx="956993" cy="246221"/>
            </a:xfrm>
            <a:prstGeom prst="rect">
              <a:avLst/>
            </a:prstGeom>
            <a:noFill/>
          </p:spPr>
          <p:txBody>
            <a:bodyPr wrap="none" lIns="0" tIns="0" rIns="0" bIns="0" rtlCol="0" anchor="t">
              <a:spAutoFit/>
            </a:bodyPr>
            <a:lstStyle/>
            <a:p>
              <a:r>
                <a:rPr lang="zh-CN" altLang="en-US" sz="1600" dirty="0">
                  <a:solidFill>
                    <a:schemeClr val="bg1"/>
                  </a:solidFill>
                  <a:latin typeface="+mn-ea"/>
                </a:rPr>
                <a:t>单位：</a:t>
              </a:r>
              <a:r>
                <a:rPr lang="en-US" altLang="zh-CN" sz="1600" dirty="0">
                  <a:solidFill>
                    <a:schemeClr val="bg1"/>
                  </a:solidFill>
                  <a:latin typeface="+mn-ea"/>
                </a:rPr>
                <a:t>xxx</a:t>
              </a:r>
              <a:endParaRPr lang="zh-CN" altLang="en-US" sz="1600" dirty="0">
                <a:solidFill>
                  <a:schemeClr val="bg1"/>
                </a:solidFill>
                <a:latin typeface="+mn-ea"/>
              </a:endParaRPr>
            </a:p>
          </p:txBody>
        </p:sp>
      </p:grpSp>
    </p:spTree>
    <p:extLst>
      <p:ext uri="{BB962C8B-B14F-4D97-AF65-F5344CB8AC3E}">
        <p14:creationId xmlns:p14="http://schemas.microsoft.com/office/powerpoint/2010/main" val="4052870958"/>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手动输入 21">
            <a:extLst>
              <a:ext uri="{FF2B5EF4-FFF2-40B4-BE49-F238E27FC236}">
                <a16:creationId xmlns:a16="http://schemas.microsoft.com/office/drawing/2014/main" id="{25990E4E-5F21-B142-951C-06CE0C032541}"/>
              </a:ext>
            </a:extLst>
          </p:cNvPr>
          <p:cNvSpPr/>
          <p:nvPr/>
        </p:nvSpPr>
        <p:spPr>
          <a:xfrm rot="16200000" flipV="1">
            <a:off x="146693" y="206875"/>
            <a:ext cx="585216" cy="878601"/>
          </a:xfrm>
          <a:prstGeom prst="flowChartManualInput">
            <a:avLst/>
          </a:prstGeom>
          <a:solidFill>
            <a:schemeClr val="accent1">
              <a:lumMod val="100000"/>
              <a:alpha val="4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4" name="手动输入 3">
            <a:extLst>
              <a:ext uri="{FF2B5EF4-FFF2-40B4-BE49-F238E27FC236}">
                <a16:creationId xmlns:a16="http://schemas.microsoft.com/office/drawing/2014/main" id="{5F17E027-CA48-144D-ABAA-203F7D751191}"/>
              </a:ext>
            </a:extLst>
          </p:cNvPr>
          <p:cNvSpPr/>
          <p:nvPr/>
        </p:nvSpPr>
        <p:spPr>
          <a:xfrm rot="16200000" flipV="1">
            <a:off x="114300" y="169164"/>
            <a:ext cx="585216" cy="813816"/>
          </a:xfrm>
          <a:prstGeom prst="flowChartManualInput">
            <a:avLst/>
          </a:prstGeom>
          <a:solidFill>
            <a:schemeClr val="accent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cxnSp>
        <p:nvCxnSpPr>
          <p:cNvPr id="6" name="直线连接符 5">
            <a:extLst>
              <a:ext uri="{FF2B5EF4-FFF2-40B4-BE49-F238E27FC236}">
                <a16:creationId xmlns:a16="http://schemas.microsoft.com/office/drawing/2014/main" id="{1B9B610F-6C80-A740-9E7E-F36CF3DC0A72}"/>
              </a:ext>
            </a:extLst>
          </p:cNvPr>
          <p:cNvCxnSpPr>
            <a:cxnSpLocks/>
          </p:cNvCxnSpPr>
          <p:nvPr/>
        </p:nvCxnSpPr>
        <p:spPr>
          <a:xfrm>
            <a:off x="0" y="938784"/>
            <a:ext cx="12192000" cy="0"/>
          </a:xfrm>
          <a:prstGeom prst="line">
            <a:avLst/>
          </a:prstGeom>
          <a:ln w="19050">
            <a:solidFill>
              <a:schemeClr val="accent1">
                <a:lumMod val="100000"/>
              </a:schemeClr>
            </a:solidFill>
          </a:ln>
        </p:spPr>
        <p:style>
          <a:lnRef idx="1">
            <a:schemeClr val="accent1"/>
          </a:lnRef>
          <a:fillRef idx="0">
            <a:schemeClr val="accent1"/>
          </a:fillRef>
          <a:effectRef idx="0">
            <a:schemeClr val="accent1"/>
          </a:effectRef>
          <a:fontRef idx="minor">
            <a:schemeClr val="tx1"/>
          </a:fontRef>
        </p:style>
      </p:cxnSp>
      <p:sp>
        <p:nvSpPr>
          <p:cNvPr id="23" name="文本框 22">
            <a:extLst>
              <a:ext uri="{FF2B5EF4-FFF2-40B4-BE49-F238E27FC236}">
                <a16:creationId xmlns:a16="http://schemas.microsoft.com/office/drawing/2014/main" id="{59F3A418-950B-8341-B7C9-7CA889E1F06A}"/>
              </a:ext>
            </a:extLst>
          </p:cNvPr>
          <p:cNvSpPr txBox="1"/>
          <p:nvPr/>
        </p:nvSpPr>
        <p:spPr>
          <a:xfrm>
            <a:off x="878602" y="380513"/>
            <a:ext cx="3416320" cy="523220"/>
          </a:xfrm>
          <a:prstGeom prst="rect">
            <a:avLst/>
          </a:prstGeom>
          <a:noFill/>
        </p:spPr>
        <p:txBody>
          <a:bodyPr wrap="none" rtlCol="0">
            <a:spAutoFit/>
          </a:bodyPr>
          <a:lstStyle/>
          <a:p>
            <a:r>
              <a:rPr kumimoji="1" lang="zh-CN" altLang="en-US" sz="2800" b="1" dirty="0">
                <a:solidFill>
                  <a:schemeClr val="accent1">
                    <a:lumMod val="100000"/>
                  </a:schemeClr>
                </a:solidFill>
                <a:latin typeface="Microsoft YaHei" panose="020B0503020204020204" pitchFamily="34" charset="-122"/>
                <a:ea typeface="Microsoft YaHei" panose="020B0503020204020204" pitchFamily="34" charset="-122"/>
              </a:rPr>
              <a:t>在这里输入你的标题</a:t>
            </a:r>
          </a:p>
        </p:txBody>
      </p:sp>
      <p:sp>
        <p:nvSpPr>
          <p:cNvPr id="24" name="任意形状 23">
            <a:extLst>
              <a:ext uri="{FF2B5EF4-FFF2-40B4-BE49-F238E27FC236}">
                <a16:creationId xmlns:a16="http://schemas.microsoft.com/office/drawing/2014/main" id="{32EADAE9-219D-2E4C-AAB0-6183703460BE}"/>
              </a:ext>
            </a:extLst>
          </p:cNvPr>
          <p:cNvSpPr/>
          <p:nvPr/>
        </p:nvSpPr>
        <p:spPr>
          <a:xfrm>
            <a:off x="0" y="6457950"/>
            <a:ext cx="12192000" cy="400050"/>
          </a:xfrm>
          <a:custGeom>
            <a:avLst/>
            <a:gdLst>
              <a:gd name="connsiteX0" fmla="*/ 12192000 w 12192000"/>
              <a:gd name="connsiteY0" fmla="*/ 0 h 329410"/>
              <a:gd name="connsiteX1" fmla="*/ 12192000 w 12192000"/>
              <a:gd name="connsiteY1" fmla="*/ 329410 h 329410"/>
              <a:gd name="connsiteX2" fmla="*/ 0 w 12192000"/>
              <a:gd name="connsiteY2" fmla="*/ 329410 h 329410"/>
              <a:gd name="connsiteX3" fmla="*/ 0 w 12192000"/>
              <a:gd name="connsiteY3" fmla="*/ 29375 h 329410"/>
              <a:gd name="connsiteX4" fmla="*/ 577089 w 12192000"/>
              <a:gd name="connsiteY4" fmla="*/ 49593 h 329410"/>
              <a:gd name="connsiteX5" fmla="*/ 5704114 w 12192000"/>
              <a:gd name="connsiteY5" fmla="*/ 124873 h 329410"/>
              <a:gd name="connsiteX6" fmla="*/ 11982536 w 12192000"/>
              <a:gd name="connsiteY6" fmla="*/ 9255 h 329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329410">
                <a:moveTo>
                  <a:pt x="12192000" y="0"/>
                </a:moveTo>
                <a:lnTo>
                  <a:pt x="12192000" y="329410"/>
                </a:lnTo>
                <a:lnTo>
                  <a:pt x="0" y="329410"/>
                </a:lnTo>
                <a:lnTo>
                  <a:pt x="0" y="29375"/>
                </a:lnTo>
                <a:lnTo>
                  <a:pt x="577089" y="49593"/>
                </a:lnTo>
                <a:cubicBezTo>
                  <a:pt x="2152931" y="98068"/>
                  <a:pt x="3885480" y="124873"/>
                  <a:pt x="5704114" y="124873"/>
                </a:cubicBezTo>
                <a:cubicBezTo>
                  <a:pt x="7977407" y="124873"/>
                  <a:pt x="10116192" y="82990"/>
                  <a:pt x="11982536" y="9255"/>
                </a:cubicBezTo>
                <a:close/>
              </a:path>
            </a:pathLst>
          </a:custGeom>
          <a:solidFill>
            <a:schemeClr val="accent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zh-CN" altLang="en-US"/>
          </a:p>
        </p:txBody>
      </p:sp>
      <p:sp>
        <p:nvSpPr>
          <p:cNvPr id="25" name="任意形状 24">
            <a:extLst>
              <a:ext uri="{FF2B5EF4-FFF2-40B4-BE49-F238E27FC236}">
                <a16:creationId xmlns:a16="http://schemas.microsoft.com/office/drawing/2014/main" id="{2C27EB3D-D296-284C-BFB7-9A6C8E765C7E}"/>
              </a:ext>
            </a:extLst>
          </p:cNvPr>
          <p:cNvSpPr/>
          <p:nvPr/>
        </p:nvSpPr>
        <p:spPr>
          <a:xfrm flipH="1">
            <a:off x="0" y="6347445"/>
            <a:ext cx="12192000" cy="502242"/>
          </a:xfrm>
          <a:custGeom>
            <a:avLst/>
            <a:gdLst>
              <a:gd name="connsiteX0" fmla="*/ 12192000 w 12192000"/>
              <a:gd name="connsiteY0" fmla="*/ 0 h 329410"/>
              <a:gd name="connsiteX1" fmla="*/ 12192000 w 12192000"/>
              <a:gd name="connsiteY1" fmla="*/ 329410 h 329410"/>
              <a:gd name="connsiteX2" fmla="*/ 0 w 12192000"/>
              <a:gd name="connsiteY2" fmla="*/ 329410 h 329410"/>
              <a:gd name="connsiteX3" fmla="*/ 0 w 12192000"/>
              <a:gd name="connsiteY3" fmla="*/ 29375 h 329410"/>
              <a:gd name="connsiteX4" fmla="*/ 577089 w 12192000"/>
              <a:gd name="connsiteY4" fmla="*/ 49593 h 329410"/>
              <a:gd name="connsiteX5" fmla="*/ 5704114 w 12192000"/>
              <a:gd name="connsiteY5" fmla="*/ 124873 h 329410"/>
              <a:gd name="connsiteX6" fmla="*/ 11982536 w 12192000"/>
              <a:gd name="connsiteY6" fmla="*/ 9255 h 329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329410">
                <a:moveTo>
                  <a:pt x="12192000" y="0"/>
                </a:moveTo>
                <a:lnTo>
                  <a:pt x="12192000" y="329410"/>
                </a:lnTo>
                <a:lnTo>
                  <a:pt x="0" y="329410"/>
                </a:lnTo>
                <a:lnTo>
                  <a:pt x="0" y="29375"/>
                </a:lnTo>
                <a:lnTo>
                  <a:pt x="577089" y="49593"/>
                </a:lnTo>
                <a:cubicBezTo>
                  <a:pt x="2152931" y="98068"/>
                  <a:pt x="3885480" y="124873"/>
                  <a:pt x="5704114" y="124873"/>
                </a:cubicBezTo>
                <a:cubicBezTo>
                  <a:pt x="7977407" y="124873"/>
                  <a:pt x="10116192" y="82990"/>
                  <a:pt x="11982536" y="9255"/>
                </a:cubicBezTo>
                <a:close/>
              </a:path>
            </a:pathLst>
          </a:custGeom>
          <a:solidFill>
            <a:schemeClr val="accent1">
              <a:lumMod val="100000"/>
              <a:alpha val="3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zh-CN" altLang="en-US"/>
          </a:p>
        </p:txBody>
      </p:sp>
    </p:spTree>
    <p:extLst>
      <p:ext uri="{BB962C8B-B14F-4D97-AF65-F5344CB8AC3E}">
        <p14:creationId xmlns:p14="http://schemas.microsoft.com/office/powerpoint/2010/main" val="4249134870"/>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1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a:extLst>
              <a:ext uri="{FF2B5EF4-FFF2-40B4-BE49-F238E27FC236}">
                <a16:creationId xmlns:a16="http://schemas.microsoft.com/office/drawing/2014/main" id="{1455E406-8963-43BF-9662-F06EEE357D00}"/>
              </a:ext>
            </a:extLst>
          </p:cNvPr>
          <p:cNvSpPr/>
          <p:nvPr/>
        </p:nvSpPr>
        <p:spPr>
          <a:xfrm>
            <a:off x="0" y="790575"/>
            <a:ext cx="9267825" cy="857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cxnSp>
        <p:nvCxnSpPr>
          <p:cNvPr id="4" name="直接连接符 3">
            <a:extLst>
              <a:ext uri="{FF2B5EF4-FFF2-40B4-BE49-F238E27FC236}">
                <a16:creationId xmlns:a16="http://schemas.microsoft.com/office/drawing/2014/main" id="{C1EDFEF6-4A35-466F-B233-C780C7C20C0C}"/>
              </a:ext>
            </a:extLst>
          </p:cNvPr>
          <p:cNvCxnSpPr>
            <a:cxnSpLocks/>
          </p:cNvCxnSpPr>
          <p:nvPr/>
        </p:nvCxnSpPr>
        <p:spPr>
          <a:xfrm>
            <a:off x="9007475" y="833437"/>
            <a:ext cx="3184525"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6" name="文本框 5">
            <a:extLst>
              <a:ext uri="{FF2B5EF4-FFF2-40B4-BE49-F238E27FC236}">
                <a16:creationId xmlns:a16="http://schemas.microsoft.com/office/drawing/2014/main" id="{85B09BF3-E925-40A8-9FDD-CD0B9C96CBCC}"/>
              </a:ext>
            </a:extLst>
          </p:cNvPr>
          <p:cNvSpPr txBox="1"/>
          <p:nvPr/>
        </p:nvSpPr>
        <p:spPr>
          <a:xfrm>
            <a:off x="124222" y="182393"/>
            <a:ext cx="3416320" cy="523220"/>
          </a:xfrm>
          <a:prstGeom prst="rect">
            <a:avLst/>
          </a:prstGeom>
          <a:noFill/>
        </p:spPr>
        <p:txBody>
          <a:bodyPr wrap="none" rtlCol="0">
            <a:spAutoFit/>
          </a:bodyPr>
          <a:lstStyle/>
          <a:p>
            <a:r>
              <a:rPr kumimoji="1" lang="zh-CN" altLang="en-US" sz="2800" b="1" dirty="0">
                <a:solidFill>
                  <a:schemeClr val="accent1">
                    <a:lumMod val="100000"/>
                  </a:schemeClr>
                </a:solidFill>
                <a:latin typeface="Microsoft YaHei" panose="020B0503020204020204" pitchFamily="34" charset="-122"/>
                <a:ea typeface="Microsoft YaHei" panose="020B0503020204020204" pitchFamily="34" charset="-122"/>
              </a:rPr>
              <a:t>在这里输入你的标题</a:t>
            </a:r>
          </a:p>
        </p:txBody>
      </p:sp>
      <p:sp>
        <p:nvSpPr>
          <p:cNvPr id="12" name="任意多边形: 形状 11">
            <a:extLst>
              <a:ext uri="{FF2B5EF4-FFF2-40B4-BE49-F238E27FC236}">
                <a16:creationId xmlns:a16="http://schemas.microsoft.com/office/drawing/2014/main" id="{48845B44-67B4-4E90-96F6-1BCAF4817A4B}"/>
              </a:ext>
            </a:extLst>
          </p:cNvPr>
          <p:cNvSpPr/>
          <p:nvPr/>
        </p:nvSpPr>
        <p:spPr>
          <a:xfrm>
            <a:off x="0" y="833438"/>
            <a:ext cx="5239512" cy="109538"/>
          </a:xfrm>
          <a:custGeom>
            <a:avLst/>
            <a:gdLst>
              <a:gd name="connsiteX0" fmla="*/ 0 w 5239512"/>
              <a:gd name="connsiteY0" fmla="*/ 0 h 109538"/>
              <a:gd name="connsiteX1" fmla="*/ 5239512 w 5239512"/>
              <a:gd name="connsiteY1" fmla="*/ 0 h 109538"/>
              <a:gd name="connsiteX2" fmla="*/ 5212128 w 5239512"/>
              <a:gd name="connsiteY2" fmla="*/ 109538 h 109538"/>
              <a:gd name="connsiteX3" fmla="*/ 0 w 5239512"/>
              <a:gd name="connsiteY3" fmla="*/ 109538 h 109538"/>
            </a:gdLst>
            <a:ahLst/>
            <a:cxnLst>
              <a:cxn ang="0">
                <a:pos x="connsiteX0" y="connsiteY0"/>
              </a:cxn>
              <a:cxn ang="0">
                <a:pos x="connsiteX1" y="connsiteY1"/>
              </a:cxn>
              <a:cxn ang="0">
                <a:pos x="connsiteX2" y="connsiteY2"/>
              </a:cxn>
              <a:cxn ang="0">
                <a:pos x="connsiteX3" y="connsiteY3"/>
              </a:cxn>
            </a:cxnLst>
            <a:rect l="l" t="t" r="r" b="b"/>
            <a:pathLst>
              <a:path w="5239512" h="109538">
                <a:moveTo>
                  <a:pt x="0" y="0"/>
                </a:moveTo>
                <a:lnTo>
                  <a:pt x="5239512" y="0"/>
                </a:lnTo>
                <a:lnTo>
                  <a:pt x="5212128" y="109538"/>
                </a:lnTo>
                <a:lnTo>
                  <a:pt x="0" y="109538"/>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l"/>
            <a:endParaRPr lang="zh-CN" altLang="en-US" sz="1600">
              <a:solidFill>
                <a:schemeClr val="bg1"/>
              </a:solidFill>
              <a:latin typeface="+mj-ea"/>
              <a:ea typeface="+mj-ea"/>
            </a:endParaRPr>
          </a:p>
        </p:txBody>
      </p:sp>
    </p:spTree>
    <p:extLst>
      <p:ext uri="{BB962C8B-B14F-4D97-AF65-F5344CB8AC3E}">
        <p14:creationId xmlns:p14="http://schemas.microsoft.com/office/powerpoint/2010/main" val="3468299293"/>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1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椭圆 1">
            <a:extLst>
              <a:ext uri="{FF2B5EF4-FFF2-40B4-BE49-F238E27FC236}">
                <a16:creationId xmlns:a16="http://schemas.microsoft.com/office/drawing/2014/main" id="{58C5CB09-5213-430D-8AF5-92DD1AAA7215}"/>
              </a:ext>
            </a:extLst>
          </p:cNvPr>
          <p:cNvSpPr/>
          <p:nvPr/>
        </p:nvSpPr>
        <p:spPr>
          <a:xfrm>
            <a:off x="-1152525" y="-1152525"/>
            <a:ext cx="2305050" cy="2305050"/>
          </a:xfrm>
          <a:prstGeom prst="ellipse">
            <a:avLst/>
          </a:prstGeom>
          <a:gradFill flip="none" rotWithShape="1">
            <a:gsLst>
              <a:gs pos="0">
                <a:schemeClr val="accent1">
                  <a:alpha val="0"/>
                </a:schemeClr>
              </a:gs>
              <a:gs pos="100000">
                <a:schemeClr val="accent1"/>
              </a:gs>
            </a:gsLst>
            <a:lin ang="102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 name="文本框 3">
            <a:extLst>
              <a:ext uri="{FF2B5EF4-FFF2-40B4-BE49-F238E27FC236}">
                <a16:creationId xmlns:a16="http://schemas.microsoft.com/office/drawing/2014/main" id="{DC5B172B-B4D8-4C24-A238-AD57544A4D64}"/>
              </a:ext>
            </a:extLst>
          </p:cNvPr>
          <p:cNvSpPr txBox="1"/>
          <p:nvPr/>
        </p:nvSpPr>
        <p:spPr>
          <a:xfrm>
            <a:off x="476647" y="315743"/>
            <a:ext cx="3416320" cy="523220"/>
          </a:xfrm>
          <a:prstGeom prst="rect">
            <a:avLst/>
          </a:prstGeom>
          <a:noFill/>
        </p:spPr>
        <p:txBody>
          <a:bodyPr wrap="none" rtlCol="0">
            <a:spAutoFit/>
          </a:bodyPr>
          <a:lstStyle/>
          <a:p>
            <a:r>
              <a:rPr kumimoji="1" lang="zh-CN" altLang="en-US" sz="2800" b="1" dirty="0">
                <a:solidFill>
                  <a:schemeClr val="accent1">
                    <a:lumMod val="100000"/>
                  </a:schemeClr>
                </a:solidFill>
                <a:latin typeface="Microsoft YaHei" panose="020B0503020204020204" pitchFamily="34" charset="-122"/>
                <a:ea typeface="Microsoft YaHei" panose="020B0503020204020204" pitchFamily="34" charset="-122"/>
              </a:rPr>
              <a:t>在这里输入你的标题</a:t>
            </a:r>
          </a:p>
        </p:txBody>
      </p:sp>
    </p:spTree>
    <p:extLst>
      <p:ext uri="{BB962C8B-B14F-4D97-AF65-F5344CB8AC3E}">
        <p14:creationId xmlns:p14="http://schemas.microsoft.com/office/powerpoint/2010/main" val="3910954722"/>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矩形 19">
            <a:extLst>
              <a:ext uri="{FF2B5EF4-FFF2-40B4-BE49-F238E27FC236}">
                <a16:creationId xmlns:a16="http://schemas.microsoft.com/office/drawing/2014/main" id="{BB73A483-9344-164B-9B6C-63FF475BD619}"/>
              </a:ext>
            </a:extLst>
          </p:cNvPr>
          <p:cNvSpPr/>
          <p:nvPr/>
        </p:nvSpPr>
        <p:spPr>
          <a:xfrm>
            <a:off x="9267889" y="6781531"/>
            <a:ext cx="2924111" cy="111544"/>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cxnSp>
        <p:nvCxnSpPr>
          <p:cNvPr id="4" name="直线连接符 3">
            <a:extLst>
              <a:ext uri="{FF2B5EF4-FFF2-40B4-BE49-F238E27FC236}">
                <a16:creationId xmlns:a16="http://schemas.microsoft.com/office/drawing/2014/main" id="{03BEAD9B-72D2-2B47-BAC0-CA6393758864}"/>
              </a:ext>
            </a:extLst>
          </p:cNvPr>
          <p:cNvCxnSpPr>
            <a:cxnSpLocks/>
          </p:cNvCxnSpPr>
          <p:nvPr/>
        </p:nvCxnSpPr>
        <p:spPr>
          <a:xfrm>
            <a:off x="0" y="843148"/>
            <a:ext cx="12192000" cy="0"/>
          </a:xfrm>
          <a:prstGeom prst="line">
            <a:avLst/>
          </a:prstGeom>
          <a:ln w="25400">
            <a:solidFill>
              <a:schemeClr val="accent1">
                <a:lumMod val="100000"/>
              </a:schemeClr>
            </a:solidFill>
          </a:ln>
        </p:spPr>
        <p:style>
          <a:lnRef idx="1">
            <a:schemeClr val="accent1"/>
          </a:lnRef>
          <a:fillRef idx="0">
            <a:schemeClr val="accent1"/>
          </a:fillRef>
          <a:effectRef idx="0">
            <a:schemeClr val="accent1"/>
          </a:effectRef>
          <a:fontRef idx="minor">
            <a:schemeClr val="tx1"/>
          </a:fontRef>
        </p:style>
      </p:cxnSp>
      <p:sp>
        <p:nvSpPr>
          <p:cNvPr id="11" name="文本框 10">
            <a:extLst>
              <a:ext uri="{FF2B5EF4-FFF2-40B4-BE49-F238E27FC236}">
                <a16:creationId xmlns:a16="http://schemas.microsoft.com/office/drawing/2014/main" id="{14596B8A-98E7-CF4B-9A5C-55741C9AA439}"/>
              </a:ext>
            </a:extLst>
          </p:cNvPr>
          <p:cNvSpPr txBox="1"/>
          <p:nvPr/>
        </p:nvSpPr>
        <p:spPr>
          <a:xfrm>
            <a:off x="3706547" y="277274"/>
            <a:ext cx="1747273" cy="369332"/>
          </a:xfrm>
          <a:prstGeom prst="rect">
            <a:avLst/>
          </a:prstGeom>
          <a:noFill/>
        </p:spPr>
        <p:txBody>
          <a:bodyPr wrap="none" lIns="0" tIns="0" rIns="0" bIns="0" rtlCol="0">
            <a:spAutoFit/>
          </a:bodyPr>
          <a:lstStyle/>
          <a:p>
            <a:pPr algn="l"/>
            <a:r>
              <a:rPr kumimoji="1" lang="en-US" altLang="zh-CN" sz="2400" dirty="0">
                <a:solidFill>
                  <a:schemeClr val="bg1">
                    <a:lumMod val="75000"/>
                  </a:schemeClr>
                </a:solidFill>
                <a:latin typeface="Alibaba PuHuiTi M" pitchFamily="18" charset="-122"/>
                <a:ea typeface="Alibaba PuHuiTi M" pitchFamily="18" charset="-122"/>
                <a:cs typeface="Alibaba PuHuiTi M" pitchFamily="18" charset="-122"/>
              </a:rPr>
              <a:t>02.</a:t>
            </a:r>
            <a:r>
              <a:rPr kumimoji="1" lang="zh-CN" altLang="en-US" sz="2400" dirty="0">
                <a:solidFill>
                  <a:schemeClr val="bg1">
                    <a:lumMod val="75000"/>
                  </a:schemeClr>
                </a:solidFill>
                <a:latin typeface="Alibaba PuHuiTi M" pitchFamily="18" charset="-122"/>
                <a:ea typeface="Alibaba PuHuiTi M" pitchFamily="18" charset="-122"/>
                <a:cs typeface="Alibaba PuHuiTi M" pitchFamily="18" charset="-122"/>
              </a:rPr>
              <a:t> 存在问题</a:t>
            </a:r>
          </a:p>
        </p:txBody>
      </p:sp>
      <p:sp>
        <p:nvSpPr>
          <p:cNvPr id="12" name="文本框 11">
            <a:extLst>
              <a:ext uri="{FF2B5EF4-FFF2-40B4-BE49-F238E27FC236}">
                <a16:creationId xmlns:a16="http://schemas.microsoft.com/office/drawing/2014/main" id="{1C05FAD3-5FCA-EC45-9AE5-DF1C784D2CEE}"/>
              </a:ext>
            </a:extLst>
          </p:cNvPr>
          <p:cNvSpPr txBox="1"/>
          <p:nvPr/>
        </p:nvSpPr>
        <p:spPr>
          <a:xfrm>
            <a:off x="6738179" y="277274"/>
            <a:ext cx="1747273" cy="369332"/>
          </a:xfrm>
          <a:prstGeom prst="rect">
            <a:avLst/>
          </a:prstGeom>
          <a:noFill/>
        </p:spPr>
        <p:txBody>
          <a:bodyPr wrap="none" lIns="0" tIns="0" rIns="0" bIns="0" rtlCol="0">
            <a:spAutoFit/>
          </a:bodyPr>
          <a:lstStyle/>
          <a:p>
            <a:pPr algn="l"/>
            <a:r>
              <a:rPr kumimoji="1" lang="en-US" altLang="zh-CN" sz="2400" dirty="0">
                <a:solidFill>
                  <a:schemeClr val="bg1">
                    <a:lumMod val="75000"/>
                  </a:schemeClr>
                </a:solidFill>
                <a:latin typeface="Alibaba PuHuiTi M" pitchFamily="18" charset="-122"/>
                <a:ea typeface="Alibaba PuHuiTi M" pitchFamily="18" charset="-122"/>
                <a:cs typeface="Alibaba PuHuiTi M" pitchFamily="18" charset="-122"/>
              </a:rPr>
              <a:t>03.</a:t>
            </a:r>
            <a:r>
              <a:rPr kumimoji="1" lang="zh-CN" altLang="en-US" sz="2400" dirty="0">
                <a:solidFill>
                  <a:schemeClr val="bg1">
                    <a:lumMod val="75000"/>
                  </a:schemeClr>
                </a:solidFill>
                <a:latin typeface="Alibaba PuHuiTi M" pitchFamily="18" charset="-122"/>
                <a:ea typeface="Alibaba PuHuiTi M" pitchFamily="18" charset="-122"/>
                <a:cs typeface="Alibaba PuHuiTi M" pitchFamily="18" charset="-122"/>
              </a:rPr>
              <a:t> 亮点经验</a:t>
            </a:r>
          </a:p>
        </p:txBody>
      </p:sp>
      <p:sp>
        <p:nvSpPr>
          <p:cNvPr id="13" name="文本框 12">
            <a:extLst>
              <a:ext uri="{FF2B5EF4-FFF2-40B4-BE49-F238E27FC236}">
                <a16:creationId xmlns:a16="http://schemas.microsoft.com/office/drawing/2014/main" id="{148F84DB-AFAA-024D-8CF5-7BFBCF2A1F55}"/>
              </a:ext>
            </a:extLst>
          </p:cNvPr>
          <p:cNvSpPr txBox="1"/>
          <p:nvPr/>
        </p:nvSpPr>
        <p:spPr>
          <a:xfrm>
            <a:off x="9769812" y="277274"/>
            <a:ext cx="1747273" cy="369332"/>
          </a:xfrm>
          <a:prstGeom prst="rect">
            <a:avLst/>
          </a:prstGeom>
          <a:noFill/>
        </p:spPr>
        <p:txBody>
          <a:bodyPr wrap="none" lIns="0" tIns="0" rIns="0" bIns="0" rtlCol="0">
            <a:spAutoFit/>
          </a:bodyPr>
          <a:lstStyle/>
          <a:p>
            <a:pPr algn="l"/>
            <a:r>
              <a:rPr kumimoji="1" lang="en-US" altLang="zh-CN" sz="2400" dirty="0">
                <a:solidFill>
                  <a:schemeClr val="bg1">
                    <a:lumMod val="75000"/>
                  </a:schemeClr>
                </a:solidFill>
                <a:latin typeface="Alibaba PuHuiTi M" pitchFamily="18" charset="-122"/>
                <a:ea typeface="Alibaba PuHuiTi M" pitchFamily="18" charset="-122"/>
                <a:cs typeface="Alibaba PuHuiTi M" pitchFamily="18" charset="-122"/>
              </a:rPr>
              <a:t>04.</a:t>
            </a:r>
            <a:r>
              <a:rPr kumimoji="1" lang="zh-CN" altLang="en-US" sz="2400" dirty="0">
                <a:solidFill>
                  <a:schemeClr val="bg1">
                    <a:lumMod val="75000"/>
                  </a:schemeClr>
                </a:solidFill>
                <a:latin typeface="Alibaba PuHuiTi M" pitchFamily="18" charset="-122"/>
                <a:ea typeface="Alibaba PuHuiTi M" pitchFamily="18" charset="-122"/>
                <a:cs typeface="Alibaba PuHuiTi M" pitchFamily="18" charset="-122"/>
              </a:rPr>
              <a:t> 未来展望</a:t>
            </a:r>
          </a:p>
        </p:txBody>
      </p:sp>
      <p:sp>
        <p:nvSpPr>
          <p:cNvPr id="5" name="矩形 4">
            <a:extLst>
              <a:ext uri="{FF2B5EF4-FFF2-40B4-BE49-F238E27FC236}">
                <a16:creationId xmlns:a16="http://schemas.microsoft.com/office/drawing/2014/main" id="{6DB662A1-28C8-C14A-B792-874738498CE5}"/>
              </a:ext>
            </a:extLst>
          </p:cNvPr>
          <p:cNvSpPr/>
          <p:nvPr/>
        </p:nvSpPr>
        <p:spPr>
          <a:xfrm>
            <a:off x="565833" y="792378"/>
            <a:ext cx="1965435" cy="101539"/>
          </a:xfrm>
          <a:prstGeom prst="rect">
            <a:avLst/>
          </a:prstGeom>
          <a:solidFill>
            <a:schemeClr val="accent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9" name="梯形 18">
            <a:extLst>
              <a:ext uri="{FF2B5EF4-FFF2-40B4-BE49-F238E27FC236}">
                <a16:creationId xmlns:a16="http://schemas.microsoft.com/office/drawing/2014/main" id="{7AF49A6A-A8F3-3A47-AC8C-112D7E8DE7BB}"/>
              </a:ext>
            </a:extLst>
          </p:cNvPr>
          <p:cNvSpPr/>
          <p:nvPr/>
        </p:nvSpPr>
        <p:spPr>
          <a:xfrm>
            <a:off x="-282763" y="6704226"/>
            <a:ext cx="9725891" cy="153774"/>
          </a:xfrm>
          <a:prstGeom prst="trapezoid">
            <a:avLst/>
          </a:prstGeom>
          <a:solidFill>
            <a:schemeClr val="accent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Tree>
    <p:extLst>
      <p:ext uri="{BB962C8B-B14F-4D97-AF65-F5344CB8AC3E}">
        <p14:creationId xmlns:p14="http://schemas.microsoft.com/office/powerpoint/2010/main" val="1404335314"/>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矩形 3">
            <a:extLst>
              <a:ext uri="{FF2B5EF4-FFF2-40B4-BE49-F238E27FC236}">
                <a16:creationId xmlns:a16="http://schemas.microsoft.com/office/drawing/2014/main" id="{920EDBC5-5268-864E-A109-493BC70D4D29}"/>
              </a:ext>
            </a:extLst>
          </p:cNvPr>
          <p:cNvSpPr/>
          <p:nvPr/>
        </p:nvSpPr>
        <p:spPr>
          <a:xfrm>
            <a:off x="0" y="387275"/>
            <a:ext cx="12192000" cy="74325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2" name="同侧圆角矩形 1">
            <a:extLst>
              <a:ext uri="{FF2B5EF4-FFF2-40B4-BE49-F238E27FC236}">
                <a16:creationId xmlns:a16="http://schemas.microsoft.com/office/drawing/2014/main" id="{95F09CE5-0002-AD40-9736-5805F3495A36}"/>
              </a:ext>
            </a:extLst>
          </p:cNvPr>
          <p:cNvSpPr/>
          <p:nvPr/>
        </p:nvSpPr>
        <p:spPr>
          <a:xfrm rot="5400000">
            <a:off x="134469" y="59169"/>
            <a:ext cx="742278" cy="1398494"/>
          </a:xfrm>
          <a:prstGeom prst="round2SameRect">
            <a:avLst>
              <a:gd name="adj1" fmla="val 50000"/>
              <a:gd name="adj2" fmla="val 0"/>
            </a:avLst>
          </a:prstGeom>
          <a:solidFill>
            <a:schemeClr val="accent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6" name="文本框 15">
            <a:extLst>
              <a:ext uri="{FF2B5EF4-FFF2-40B4-BE49-F238E27FC236}">
                <a16:creationId xmlns:a16="http://schemas.microsoft.com/office/drawing/2014/main" id="{D2AE78EF-35AB-7742-8E45-7706F033C786}"/>
              </a:ext>
            </a:extLst>
          </p:cNvPr>
          <p:cNvSpPr txBox="1"/>
          <p:nvPr/>
        </p:nvSpPr>
        <p:spPr>
          <a:xfrm>
            <a:off x="1301166" y="496805"/>
            <a:ext cx="3416320" cy="523220"/>
          </a:xfrm>
          <a:prstGeom prst="rect">
            <a:avLst/>
          </a:prstGeom>
          <a:noFill/>
        </p:spPr>
        <p:txBody>
          <a:bodyPr wrap="none" rtlCol="0">
            <a:spAutoFit/>
          </a:bodyPr>
          <a:lstStyle/>
          <a:p>
            <a:r>
              <a:rPr kumimoji="1" lang="zh-CN" altLang="en-US" sz="2800" b="1" dirty="0">
                <a:solidFill>
                  <a:schemeClr val="accent1">
                    <a:lumMod val="100000"/>
                  </a:schemeClr>
                </a:solidFill>
                <a:latin typeface="Microsoft YaHei" panose="020B0503020204020204" pitchFamily="34" charset="-122"/>
                <a:ea typeface="Microsoft YaHei" panose="020B0503020204020204" pitchFamily="34" charset="-122"/>
              </a:rPr>
              <a:t>在这里输入你的标题</a:t>
            </a:r>
          </a:p>
        </p:txBody>
      </p:sp>
      <p:sp>
        <p:nvSpPr>
          <p:cNvPr id="5" name="椭圆 4">
            <a:extLst>
              <a:ext uri="{FF2B5EF4-FFF2-40B4-BE49-F238E27FC236}">
                <a16:creationId xmlns:a16="http://schemas.microsoft.com/office/drawing/2014/main" id="{A7A68BA8-CFA9-4B45-9124-D679C570B156}"/>
              </a:ext>
            </a:extLst>
          </p:cNvPr>
          <p:cNvSpPr/>
          <p:nvPr/>
        </p:nvSpPr>
        <p:spPr>
          <a:xfrm>
            <a:off x="505608" y="466735"/>
            <a:ext cx="583359" cy="58335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zh-CN" sz="900" dirty="0">
                <a:solidFill>
                  <a:schemeClr val="accent1">
                    <a:lumMod val="100000"/>
                  </a:schemeClr>
                </a:solidFill>
              </a:rPr>
              <a:t>logo</a:t>
            </a:r>
            <a:endParaRPr kumimoji="1" lang="zh-CN" altLang="en-US" sz="900" dirty="0">
              <a:solidFill>
                <a:schemeClr val="accent1">
                  <a:lumMod val="100000"/>
                </a:schemeClr>
              </a:solidFill>
            </a:endParaRPr>
          </a:p>
        </p:txBody>
      </p:sp>
      <p:sp>
        <p:nvSpPr>
          <p:cNvPr id="18" name="任意形状 17">
            <a:extLst>
              <a:ext uri="{FF2B5EF4-FFF2-40B4-BE49-F238E27FC236}">
                <a16:creationId xmlns:a16="http://schemas.microsoft.com/office/drawing/2014/main" id="{A8E8C986-41AB-7C41-A974-4D92A4611551}"/>
              </a:ext>
            </a:extLst>
          </p:cNvPr>
          <p:cNvSpPr/>
          <p:nvPr/>
        </p:nvSpPr>
        <p:spPr>
          <a:xfrm>
            <a:off x="0" y="6457950"/>
            <a:ext cx="12192000" cy="400050"/>
          </a:xfrm>
          <a:custGeom>
            <a:avLst/>
            <a:gdLst>
              <a:gd name="connsiteX0" fmla="*/ 12192000 w 12192000"/>
              <a:gd name="connsiteY0" fmla="*/ 0 h 329410"/>
              <a:gd name="connsiteX1" fmla="*/ 12192000 w 12192000"/>
              <a:gd name="connsiteY1" fmla="*/ 329410 h 329410"/>
              <a:gd name="connsiteX2" fmla="*/ 0 w 12192000"/>
              <a:gd name="connsiteY2" fmla="*/ 329410 h 329410"/>
              <a:gd name="connsiteX3" fmla="*/ 0 w 12192000"/>
              <a:gd name="connsiteY3" fmla="*/ 29375 h 329410"/>
              <a:gd name="connsiteX4" fmla="*/ 577089 w 12192000"/>
              <a:gd name="connsiteY4" fmla="*/ 49593 h 329410"/>
              <a:gd name="connsiteX5" fmla="*/ 5704114 w 12192000"/>
              <a:gd name="connsiteY5" fmla="*/ 124873 h 329410"/>
              <a:gd name="connsiteX6" fmla="*/ 11982536 w 12192000"/>
              <a:gd name="connsiteY6" fmla="*/ 9255 h 329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329410">
                <a:moveTo>
                  <a:pt x="12192000" y="0"/>
                </a:moveTo>
                <a:lnTo>
                  <a:pt x="12192000" y="329410"/>
                </a:lnTo>
                <a:lnTo>
                  <a:pt x="0" y="329410"/>
                </a:lnTo>
                <a:lnTo>
                  <a:pt x="0" y="29375"/>
                </a:lnTo>
                <a:lnTo>
                  <a:pt x="577089" y="49593"/>
                </a:lnTo>
                <a:cubicBezTo>
                  <a:pt x="2152931" y="98068"/>
                  <a:pt x="3885480" y="124873"/>
                  <a:pt x="5704114" y="124873"/>
                </a:cubicBezTo>
                <a:cubicBezTo>
                  <a:pt x="7977407" y="124873"/>
                  <a:pt x="10116192" y="82990"/>
                  <a:pt x="11982536" y="9255"/>
                </a:cubicBezTo>
                <a:close/>
              </a:path>
            </a:pathLst>
          </a:custGeom>
          <a:solidFill>
            <a:schemeClr val="accent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zh-CN" altLang="en-US"/>
          </a:p>
        </p:txBody>
      </p:sp>
      <p:sp>
        <p:nvSpPr>
          <p:cNvPr id="19" name="任意形状 18">
            <a:extLst>
              <a:ext uri="{FF2B5EF4-FFF2-40B4-BE49-F238E27FC236}">
                <a16:creationId xmlns:a16="http://schemas.microsoft.com/office/drawing/2014/main" id="{AF57B987-5F99-C946-9712-3AB0D4ABC191}"/>
              </a:ext>
            </a:extLst>
          </p:cNvPr>
          <p:cNvSpPr/>
          <p:nvPr/>
        </p:nvSpPr>
        <p:spPr>
          <a:xfrm flipH="1">
            <a:off x="0" y="6347445"/>
            <a:ext cx="12192000" cy="502242"/>
          </a:xfrm>
          <a:custGeom>
            <a:avLst/>
            <a:gdLst>
              <a:gd name="connsiteX0" fmla="*/ 12192000 w 12192000"/>
              <a:gd name="connsiteY0" fmla="*/ 0 h 329410"/>
              <a:gd name="connsiteX1" fmla="*/ 12192000 w 12192000"/>
              <a:gd name="connsiteY1" fmla="*/ 329410 h 329410"/>
              <a:gd name="connsiteX2" fmla="*/ 0 w 12192000"/>
              <a:gd name="connsiteY2" fmla="*/ 329410 h 329410"/>
              <a:gd name="connsiteX3" fmla="*/ 0 w 12192000"/>
              <a:gd name="connsiteY3" fmla="*/ 29375 h 329410"/>
              <a:gd name="connsiteX4" fmla="*/ 577089 w 12192000"/>
              <a:gd name="connsiteY4" fmla="*/ 49593 h 329410"/>
              <a:gd name="connsiteX5" fmla="*/ 5704114 w 12192000"/>
              <a:gd name="connsiteY5" fmla="*/ 124873 h 329410"/>
              <a:gd name="connsiteX6" fmla="*/ 11982536 w 12192000"/>
              <a:gd name="connsiteY6" fmla="*/ 9255 h 329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329410">
                <a:moveTo>
                  <a:pt x="12192000" y="0"/>
                </a:moveTo>
                <a:lnTo>
                  <a:pt x="12192000" y="329410"/>
                </a:lnTo>
                <a:lnTo>
                  <a:pt x="0" y="329410"/>
                </a:lnTo>
                <a:lnTo>
                  <a:pt x="0" y="29375"/>
                </a:lnTo>
                <a:lnTo>
                  <a:pt x="577089" y="49593"/>
                </a:lnTo>
                <a:cubicBezTo>
                  <a:pt x="2152931" y="98068"/>
                  <a:pt x="3885480" y="124873"/>
                  <a:pt x="5704114" y="124873"/>
                </a:cubicBezTo>
                <a:cubicBezTo>
                  <a:pt x="7977407" y="124873"/>
                  <a:pt x="10116192" y="82990"/>
                  <a:pt x="11982536" y="9255"/>
                </a:cubicBezTo>
                <a:close/>
              </a:path>
            </a:pathLst>
          </a:custGeom>
          <a:solidFill>
            <a:schemeClr val="accent1">
              <a:lumMod val="100000"/>
              <a:alpha val="3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zh-CN" altLang="en-US"/>
          </a:p>
        </p:txBody>
      </p:sp>
    </p:spTree>
    <p:extLst>
      <p:ext uri="{BB962C8B-B14F-4D97-AF65-F5344CB8AC3E}">
        <p14:creationId xmlns:p14="http://schemas.microsoft.com/office/powerpoint/2010/main" val="251674820"/>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1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燕尾形 7">
            <a:extLst>
              <a:ext uri="{FF2B5EF4-FFF2-40B4-BE49-F238E27FC236}">
                <a16:creationId xmlns:a16="http://schemas.microsoft.com/office/drawing/2014/main" id="{6F2D9F08-D347-EC41-BEF7-F2182669065D}"/>
              </a:ext>
            </a:extLst>
          </p:cNvPr>
          <p:cNvSpPr/>
          <p:nvPr/>
        </p:nvSpPr>
        <p:spPr>
          <a:xfrm rot="16200000">
            <a:off x="39859" y="47762"/>
            <a:ext cx="965460" cy="418809"/>
          </a:xfrm>
          <a:prstGeom prst="chevron">
            <a:avLst>
              <a:gd name="adj" fmla="val 34999"/>
            </a:avLst>
          </a:prstGeom>
          <a:solidFill>
            <a:schemeClr val="accent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solidFill>
                <a:schemeClr val="tx1"/>
              </a:solidFill>
            </a:endParaRPr>
          </a:p>
        </p:txBody>
      </p:sp>
      <p:sp>
        <p:nvSpPr>
          <p:cNvPr id="9" name="文本框 8">
            <a:extLst>
              <a:ext uri="{FF2B5EF4-FFF2-40B4-BE49-F238E27FC236}">
                <a16:creationId xmlns:a16="http://schemas.microsoft.com/office/drawing/2014/main" id="{8DCCFB9E-51E1-4448-AB3D-567CE6B96A1F}"/>
              </a:ext>
            </a:extLst>
          </p:cNvPr>
          <p:cNvSpPr txBox="1"/>
          <p:nvPr/>
        </p:nvSpPr>
        <p:spPr>
          <a:xfrm>
            <a:off x="852279" y="216677"/>
            <a:ext cx="3416320" cy="523220"/>
          </a:xfrm>
          <a:prstGeom prst="rect">
            <a:avLst/>
          </a:prstGeom>
          <a:noFill/>
        </p:spPr>
        <p:txBody>
          <a:bodyPr wrap="none" rtlCol="0">
            <a:spAutoFit/>
          </a:bodyPr>
          <a:lstStyle/>
          <a:p>
            <a:r>
              <a:rPr kumimoji="1" lang="zh-CN" altLang="en-US" sz="2800" b="1" dirty="0">
                <a:solidFill>
                  <a:schemeClr val="accent1">
                    <a:lumMod val="100000"/>
                  </a:schemeClr>
                </a:solidFill>
                <a:latin typeface="Microsoft YaHei" panose="020B0503020204020204" pitchFamily="34" charset="-122"/>
                <a:ea typeface="Microsoft YaHei" panose="020B0503020204020204" pitchFamily="34" charset="-122"/>
              </a:rPr>
              <a:t>在这里输入你的标题</a:t>
            </a:r>
          </a:p>
        </p:txBody>
      </p:sp>
      <p:sp>
        <p:nvSpPr>
          <p:cNvPr id="3" name="矩形 2">
            <a:extLst>
              <a:ext uri="{FF2B5EF4-FFF2-40B4-BE49-F238E27FC236}">
                <a16:creationId xmlns:a16="http://schemas.microsoft.com/office/drawing/2014/main" id="{BAF66D73-BDFA-F948-949E-7232C38EDD62}"/>
              </a:ext>
            </a:extLst>
          </p:cNvPr>
          <p:cNvSpPr/>
          <p:nvPr/>
        </p:nvSpPr>
        <p:spPr>
          <a:xfrm>
            <a:off x="313184" y="6434051"/>
            <a:ext cx="11878816" cy="182880"/>
          </a:xfrm>
          <a:prstGeom prst="rect">
            <a:avLst/>
          </a:prstGeom>
          <a:gradFill flip="none" rotWithShape="1">
            <a:gsLst>
              <a:gs pos="100000">
                <a:schemeClr val="accent1">
                  <a:lumMod val="100000"/>
                </a:schemeClr>
              </a:gs>
              <a:gs pos="0">
                <a:schemeClr val="accent1">
                  <a:lumMod val="100000"/>
                </a:schemeClr>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Tree>
    <p:extLst>
      <p:ext uri="{BB962C8B-B14F-4D97-AF65-F5344CB8AC3E}">
        <p14:creationId xmlns:p14="http://schemas.microsoft.com/office/powerpoint/2010/main" val="1714810237"/>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1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a:extLst>
              <a:ext uri="{FF2B5EF4-FFF2-40B4-BE49-F238E27FC236}">
                <a16:creationId xmlns:a16="http://schemas.microsoft.com/office/drawing/2014/main" id="{775294BB-A3B4-3B47-8DCD-E776932489E2}"/>
              </a:ext>
            </a:extLst>
          </p:cNvPr>
          <p:cNvSpPr/>
          <p:nvPr/>
        </p:nvSpPr>
        <p:spPr>
          <a:xfrm>
            <a:off x="744307" y="472038"/>
            <a:ext cx="4602134" cy="55715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3" name="平行四边形 2">
            <a:extLst>
              <a:ext uri="{FF2B5EF4-FFF2-40B4-BE49-F238E27FC236}">
                <a16:creationId xmlns:a16="http://schemas.microsoft.com/office/drawing/2014/main" id="{9B45E6D8-E3ED-CD49-AD29-DBF394E9B177}"/>
              </a:ext>
            </a:extLst>
          </p:cNvPr>
          <p:cNvSpPr/>
          <p:nvPr/>
        </p:nvSpPr>
        <p:spPr>
          <a:xfrm>
            <a:off x="517849" y="396551"/>
            <a:ext cx="1329995" cy="632646"/>
          </a:xfrm>
          <a:prstGeom prst="parallelogram">
            <a:avLst/>
          </a:prstGeom>
          <a:solidFill>
            <a:schemeClr val="accent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zh-CN" sz="3600" dirty="0">
                <a:latin typeface="Alibaba PuHuiTi M" pitchFamily="18" charset="-122"/>
                <a:ea typeface="Alibaba PuHuiTi M" pitchFamily="18" charset="-122"/>
                <a:cs typeface="Alibaba PuHuiTi M" pitchFamily="18" charset="-122"/>
              </a:rPr>
              <a:t>01</a:t>
            </a:r>
            <a:endParaRPr kumimoji="1" lang="zh-CN" altLang="en-US" sz="3600" dirty="0">
              <a:latin typeface="Alibaba PuHuiTi M" pitchFamily="18" charset="-122"/>
              <a:ea typeface="Alibaba PuHuiTi M" pitchFamily="18" charset="-122"/>
              <a:cs typeface="Alibaba PuHuiTi M" pitchFamily="18" charset="-122"/>
            </a:endParaRPr>
          </a:p>
        </p:txBody>
      </p:sp>
      <p:sp>
        <p:nvSpPr>
          <p:cNvPr id="5" name="文本框 4">
            <a:extLst>
              <a:ext uri="{FF2B5EF4-FFF2-40B4-BE49-F238E27FC236}">
                <a16:creationId xmlns:a16="http://schemas.microsoft.com/office/drawing/2014/main" id="{80B447BC-BC3F-2E47-B28F-E349303BB54A}"/>
              </a:ext>
            </a:extLst>
          </p:cNvPr>
          <p:cNvSpPr txBox="1"/>
          <p:nvPr/>
        </p:nvSpPr>
        <p:spPr>
          <a:xfrm>
            <a:off x="1847844" y="489007"/>
            <a:ext cx="3416320" cy="523220"/>
          </a:xfrm>
          <a:prstGeom prst="rect">
            <a:avLst/>
          </a:prstGeom>
          <a:noFill/>
        </p:spPr>
        <p:txBody>
          <a:bodyPr wrap="none" rtlCol="0">
            <a:spAutoFit/>
          </a:bodyPr>
          <a:lstStyle/>
          <a:p>
            <a:r>
              <a:rPr kumimoji="1" lang="zh-CN" altLang="en-US" sz="2800" b="1" dirty="0">
                <a:solidFill>
                  <a:schemeClr val="accent1">
                    <a:lumMod val="100000"/>
                  </a:schemeClr>
                </a:solidFill>
                <a:latin typeface="Microsoft YaHei" panose="020B0503020204020204" pitchFamily="34" charset="-122"/>
                <a:ea typeface="Microsoft YaHei" panose="020B0503020204020204" pitchFamily="34" charset="-122"/>
              </a:rPr>
              <a:t>在这里输入你的标题</a:t>
            </a:r>
          </a:p>
        </p:txBody>
      </p:sp>
      <p:grpSp>
        <p:nvGrpSpPr>
          <p:cNvPr id="11" name="组合 10">
            <a:extLst>
              <a:ext uri="{FF2B5EF4-FFF2-40B4-BE49-F238E27FC236}">
                <a16:creationId xmlns:a16="http://schemas.microsoft.com/office/drawing/2014/main" id="{E02F4B6E-E74A-3248-8208-44FAF67E2549}"/>
              </a:ext>
            </a:extLst>
          </p:cNvPr>
          <p:cNvGrpSpPr/>
          <p:nvPr/>
        </p:nvGrpSpPr>
        <p:grpSpPr>
          <a:xfrm>
            <a:off x="0" y="5778500"/>
            <a:ext cx="12192000" cy="1079500"/>
            <a:chOff x="0" y="5422900"/>
            <a:chExt cx="12192000" cy="1435100"/>
          </a:xfrm>
        </p:grpSpPr>
        <p:sp>
          <p:nvSpPr>
            <p:cNvPr id="10" name="任意形状 9">
              <a:extLst>
                <a:ext uri="{FF2B5EF4-FFF2-40B4-BE49-F238E27FC236}">
                  <a16:creationId xmlns:a16="http://schemas.microsoft.com/office/drawing/2014/main" id="{640FD726-8C29-BC45-9B68-77BD86BB5242}"/>
                </a:ext>
              </a:extLst>
            </p:cNvPr>
            <p:cNvSpPr/>
            <p:nvPr/>
          </p:nvSpPr>
          <p:spPr>
            <a:xfrm>
              <a:off x="0" y="5422900"/>
              <a:ext cx="12192000" cy="1418130"/>
            </a:xfrm>
            <a:custGeom>
              <a:avLst/>
              <a:gdLst>
                <a:gd name="connsiteX0" fmla="*/ 12192000 w 12192000"/>
                <a:gd name="connsiteY0" fmla="*/ 0 h 1477190"/>
                <a:gd name="connsiteX1" fmla="*/ 12192000 w 12192000"/>
                <a:gd name="connsiteY1" fmla="*/ 1477190 h 1477190"/>
                <a:gd name="connsiteX2" fmla="*/ 0 w 12192000"/>
                <a:gd name="connsiteY2" fmla="*/ 1477190 h 1477190"/>
                <a:gd name="connsiteX3" fmla="*/ 0 w 12192000"/>
                <a:gd name="connsiteY3" fmla="*/ 616803 h 1477190"/>
                <a:gd name="connsiteX4" fmla="*/ 367945 w 12192000"/>
                <a:gd name="connsiteY4" fmla="*/ 681796 h 1477190"/>
                <a:gd name="connsiteX5" fmla="*/ 7692993 w 12192000"/>
                <a:gd name="connsiteY5" fmla="*/ 785031 h 1477190"/>
                <a:gd name="connsiteX6" fmla="*/ 12089741 w 12192000"/>
                <a:gd name="connsiteY6" fmla="*/ 27411 h 1477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1477190">
                  <a:moveTo>
                    <a:pt x="12192000" y="0"/>
                  </a:moveTo>
                  <a:lnTo>
                    <a:pt x="12192000" y="1477190"/>
                  </a:lnTo>
                  <a:lnTo>
                    <a:pt x="0" y="1477190"/>
                  </a:lnTo>
                  <a:lnTo>
                    <a:pt x="0" y="616803"/>
                  </a:lnTo>
                  <a:lnTo>
                    <a:pt x="367945" y="681796"/>
                  </a:lnTo>
                  <a:cubicBezTo>
                    <a:pt x="2390166" y="1012876"/>
                    <a:pt x="4944560" y="1071926"/>
                    <a:pt x="7692993" y="785031"/>
                  </a:cubicBezTo>
                  <a:cubicBezTo>
                    <a:pt x="9263526" y="621091"/>
                    <a:pt x="10748736" y="359710"/>
                    <a:pt x="12089741" y="27411"/>
                  </a:cubicBezTo>
                  <a:close/>
                </a:path>
              </a:pathLst>
            </a:custGeom>
            <a:solidFill>
              <a:schemeClr val="accent1">
                <a:lumMod val="100000"/>
                <a:alpha val="4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zh-CN" altLang="en-US"/>
            </a:p>
          </p:txBody>
        </p:sp>
        <p:sp>
          <p:nvSpPr>
            <p:cNvPr id="9" name="任意形状 8">
              <a:extLst>
                <a:ext uri="{FF2B5EF4-FFF2-40B4-BE49-F238E27FC236}">
                  <a16:creationId xmlns:a16="http://schemas.microsoft.com/office/drawing/2014/main" id="{4593F33B-CE53-1E4E-81C7-F6BCF0FEB448}"/>
                </a:ext>
              </a:extLst>
            </p:cNvPr>
            <p:cNvSpPr/>
            <p:nvPr/>
          </p:nvSpPr>
          <p:spPr>
            <a:xfrm>
              <a:off x="0" y="5664200"/>
              <a:ext cx="12192000" cy="1193800"/>
            </a:xfrm>
            <a:custGeom>
              <a:avLst/>
              <a:gdLst>
                <a:gd name="connsiteX0" fmla="*/ 12192000 w 12192000"/>
                <a:gd name="connsiteY0" fmla="*/ 0 h 1477190"/>
                <a:gd name="connsiteX1" fmla="*/ 12192000 w 12192000"/>
                <a:gd name="connsiteY1" fmla="*/ 1477190 h 1477190"/>
                <a:gd name="connsiteX2" fmla="*/ 0 w 12192000"/>
                <a:gd name="connsiteY2" fmla="*/ 1477190 h 1477190"/>
                <a:gd name="connsiteX3" fmla="*/ 0 w 12192000"/>
                <a:gd name="connsiteY3" fmla="*/ 616803 h 1477190"/>
                <a:gd name="connsiteX4" fmla="*/ 367945 w 12192000"/>
                <a:gd name="connsiteY4" fmla="*/ 681796 h 1477190"/>
                <a:gd name="connsiteX5" fmla="*/ 7692993 w 12192000"/>
                <a:gd name="connsiteY5" fmla="*/ 785031 h 1477190"/>
                <a:gd name="connsiteX6" fmla="*/ 12089741 w 12192000"/>
                <a:gd name="connsiteY6" fmla="*/ 27411 h 1477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1477190">
                  <a:moveTo>
                    <a:pt x="12192000" y="0"/>
                  </a:moveTo>
                  <a:lnTo>
                    <a:pt x="12192000" y="1477190"/>
                  </a:lnTo>
                  <a:lnTo>
                    <a:pt x="0" y="1477190"/>
                  </a:lnTo>
                  <a:lnTo>
                    <a:pt x="0" y="616803"/>
                  </a:lnTo>
                  <a:lnTo>
                    <a:pt x="367945" y="681796"/>
                  </a:lnTo>
                  <a:cubicBezTo>
                    <a:pt x="2390166" y="1012876"/>
                    <a:pt x="4944560" y="1071926"/>
                    <a:pt x="7692993" y="785031"/>
                  </a:cubicBezTo>
                  <a:cubicBezTo>
                    <a:pt x="9263526" y="621091"/>
                    <a:pt x="10748736" y="359710"/>
                    <a:pt x="12089741" y="27411"/>
                  </a:cubicBezTo>
                  <a:close/>
                </a:path>
              </a:pathLst>
            </a:custGeom>
            <a:solidFill>
              <a:schemeClr val="accent1">
                <a:lumMod val="100000"/>
                <a:alpha val="4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zh-CN" altLang="en-US"/>
            </a:p>
          </p:txBody>
        </p:sp>
        <p:sp>
          <p:nvSpPr>
            <p:cNvPr id="8" name="任意形状 7">
              <a:extLst>
                <a:ext uri="{FF2B5EF4-FFF2-40B4-BE49-F238E27FC236}">
                  <a16:creationId xmlns:a16="http://schemas.microsoft.com/office/drawing/2014/main" id="{9D6844D7-A29C-3944-8432-A08263541426}"/>
                </a:ext>
              </a:extLst>
            </p:cNvPr>
            <p:cNvSpPr/>
            <p:nvPr/>
          </p:nvSpPr>
          <p:spPr>
            <a:xfrm>
              <a:off x="0" y="5918200"/>
              <a:ext cx="12192000" cy="939800"/>
            </a:xfrm>
            <a:custGeom>
              <a:avLst/>
              <a:gdLst>
                <a:gd name="connsiteX0" fmla="*/ 12192000 w 12192000"/>
                <a:gd name="connsiteY0" fmla="*/ 0 h 1477190"/>
                <a:gd name="connsiteX1" fmla="*/ 12192000 w 12192000"/>
                <a:gd name="connsiteY1" fmla="*/ 1477190 h 1477190"/>
                <a:gd name="connsiteX2" fmla="*/ 0 w 12192000"/>
                <a:gd name="connsiteY2" fmla="*/ 1477190 h 1477190"/>
                <a:gd name="connsiteX3" fmla="*/ 0 w 12192000"/>
                <a:gd name="connsiteY3" fmla="*/ 616803 h 1477190"/>
                <a:gd name="connsiteX4" fmla="*/ 367945 w 12192000"/>
                <a:gd name="connsiteY4" fmla="*/ 681796 h 1477190"/>
                <a:gd name="connsiteX5" fmla="*/ 7692993 w 12192000"/>
                <a:gd name="connsiteY5" fmla="*/ 785031 h 1477190"/>
                <a:gd name="connsiteX6" fmla="*/ 12089741 w 12192000"/>
                <a:gd name="connsiteY6" fmla="*/ 27411 h 1477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1477190">
                  <a:moveTo>
                    <a:pt x="12192000" y="0"/>
                  </a:moveTo>
                  <a:lnTo>
                    <a:pt x="12192000" y="1477190"/>
                  </a:lnTo>
                  <a:lnTo>
                    <a:pt x="0" y="1477190"/>
                  </a:lnTo>
                  <a:lnTo>
                    <a:pt x="0" y="616803"/>
                  </a:lnTo>
                  <a:lnTo>
                    <a:pt x="367945" y="681796"/>
                  </a:lnTo>
                  <a:cubicBezTo>
                    <a:pt x="2390166" y="1012876"/>
                    <a:pt x="4944560" y="1071926"/>
                    <a:pt x="7692993" y="785031"/>
                  </a:cubicBezTo>
                  <a:cubicBezTo>
                    <a:pt x="9263526" y="621091"/>
                    <a:pt x="10748736" y="359710"/>
                    <a:pt x="12089741" y="27411"/>
                  </a:cubicBezTo>
                  <a:close/>
                </a:path>
              </a:pathLst>
            </a:custGeom>
            <a:solidFill>
              <a:schemeClr val="accent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zh-CN" altLang="en-US"/>
            </a:p>
          </p:txBody>
        </p:sp>
      </p:grpSp>
    </p:spTree>
    <p:extLst>
      <p:ext uri="{BB962C8B-B14F-4D97-AF65-F5344CB8AC3E}">
        <p14:creationId xmlns:p14="http://schemas.microsoft.com/office/powerpoint/2010/main" val="3560133710"/>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1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矩形 4">
            <a:extLst>
              <a:ext uri="{FF2B5EF4-FFF2-40B4-BE49-F238E27FC236}">
                <a16:creationId xmlns:a16="http://schemas.microsoft.com/office/drawing/2014/main" id="{D808C7DC-1733-4A6B-A275-95BD30E460EB}"/>
              </a:ext>
            </a:extLst>
          </p:cNvPr>
          <p:cNvSpPr/>
          <p:nvPr/>
        </p:nvSpPr>
        <p:spPr>
          <a:xfrm>
            <a:off x="493776" y="283464"/>
            <a:ext cx="11698224" cy="67665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4" name="任意多边形: 形状 3">
            <a:extLst>
              <a:ext uri="{FF2B5EF4-FFF2-40B4-BE49-F238E27FC236}">
                <a16:creationId xmlns:a16="http://schemas.microsoft.com/office/drawing/2014/main" id="{4957BC37-D246-4FC4-9D3D-92F9C5824EC8}"/>
              </a:ext>
            </a:extLst>
          </p:cNvPr>
          <p:cNvSpPr/>
          <p:nvPr/>
        </p:nvSpPr>
        <p:spPr>
          <a:xfrm>
            <a:off x="0" y="283464"/>
            <a:ext cx="1353312" cy="676656"/>
          </a:xfrm>
          <a:custGeom>
            <a:avLst/>
            <a:gdLst>
              <a:gd name="connsiteX0" fmla="*/ 0 w 1353312"/>
              <a:gd name="connsiteY0" fmla="*/ 0 h 676656"/>
              <a:gd name="connsiteX1" fmla="*/ 1353312 w 1353312"/>
              <a:gd name="connsiteY1" fmla="*/ 0 h 676656"/>
              <a:gd name="connsiteX2" fmla="*/ 1184148 w 1353312"/>
              <a:gd name="connsiteY2" fmla="*/ 676656 h 676656"/>
              <a:gd name="connsiteX3" fmla="*/ 0 w 1353312"/>
              <a:gd name="connsiteY3" fmla="*/ 676656 h 676656"/>
            </a:gdLst>
            <a:ahLst/>
            <a:cxnLst>
              <a:cxn ang="0">
                <a:pos x="connsiteX0" y="connsiteY0"/>
              </a:cxn>
              <a:cxn ang="0">
                <a:pos x="connsiteX1" y="connsiteY1"/>
              </a:cxn>
              <a:cxn ang="0">
                <a:pos x="connsiteX2" y="connsiteY2"/>
              </a:cxn>
              <a:cxn ang="0">
                <a:pos x="connsiteX3" y="connsiteY3"/>
              </a:cxn>
            </a:cxnLst>
            <a:rect l="l" t="t" r="r" b="b"/>
            <a:pathLst>
              <a:path w="1353312" h="676656">
                <a:moveTo>
                  <a:pt x="0" y="0"/>
                </a:moveTo>
                <a:lnTo>
                  <a:pt x="1353312" y="0"/>
                </a:lnTo>
                <a:lnTo>
                  <a:pt x="1184148" y="676656"/>
                </a:lnTo>
                <a:lnTo>
                  <a:pt x="0" y="676656"/>
                </a:lnTo>
                <a:close/>
              </a:path>
            </a:pathLst>
          </a:custGeom>
          <a:solidFill>
            <a:schemeClr val="accent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lang="en-US" altLang="zh-CN" sz="1600" dirty="0">
                <a:solidFill>
                  <a:schemeClr val="bg1"/>
                </a:solidFill>
                <a:latin typeface="+mj-ea"/>
                <a:ea typeface="+mj-ea"/>
              </a:rPr>
              <a:t>01</a:t>
            </a:r>
            <a:endParaRPr lang="zh-CN" altLang="en-US" sz="1600" dirty="0">
              <a:solidFill>
                <a:schemeClr val="bg1"/>
              </a:solidFill>
              <a:latin typeface="+mj-ea"/>
              <a:ea typeface="+mj-ea"/>
            </a:endParaRPr>
          </a:p>
        </p:txBody>
      </p:sp>
      <p:sp>
        <p:nvSpPr>
          <p:cNvPr id="6" name="文本框 5">
            <a:extLst>
              <a:ext uri="{FF2B5EF4-FFF2-40B4-BE49-F238E27FC236}">
                <a16:creationId xmlns:a16="http://schemas.microsoft.com/office/drawing/2014/main" id="{9683C0EE-56EF-4871-9F08-4D9A7AE5AC3F}"/>
              </a:ext>
            </a:extLst>
          </p:cNvPr>
          <p:cNvSpPr txBox="1"/>
          <p:nvPr/>
        </p:nvSpPr>
        <p:spPr>
          <a:xfrm>
            <a:off x="1353312" y="360182"/>
            <a:ext cx="3416320" cy="523220"/>
          </a:xfrm>
          <a:prstGeom prst="rect">
            <a:avLst/>
          </a:prstGeom>
          <a:noFill/>
        </p:spPr>
        <p:txBody>
          <a:bodyPr wrap="none" rtlCol="0">
            <a:spAutoFit/>
          </a:bodyPr>
          <a:lstStyle/>
          <a:p>
            <a:r>
              <a:rPr kumimoji="1" lang="zh-CN" altLang="en-US" sz="2800" b="1" dirty="0">
                <a:solidFill>
                  <a:schemeClr val="bg1"/>
                </a:solidFill>
                <a:latin typeface="Microsoft YaHei" panose="020B0503020204020204" pitchFamily="34" charset="-122"/>
                <a:ea typeface="Microsoft YaHei" panose="020B0503020204020204" pitchFamily="34" charset="-122"/>
              </a:rPr>
              <a:t>在这里输入你的标题</a:t>
            </a:r>
          </a:p>
        </p:txBody>
      </p:sp>
      <p:sp>
        <p:nvSpPr>
          <p:cNvPr id="7" name="矩形 6">
            <a:extLst>
              <a:ext uri="{FF2B5EF4-FFF2-40B4-BE49-F238E27FC236}">
                <a16:creationId xmlns:a16="http://schemas.microsoft.com/office/drawing/2014/main" id="{AF913433-CC09-4D26-A9EE-DBFB9644D6DA}"/>
              </a:ext>
            </a:extLst>
          </p:cNvPr>
          <p:cNvSpPr/>
          <p:nvPr/>
        </p:nvSpPr>
        <p:spPr>
          <a:xfrm>
            <a:off x="12058650" y="283464"/>
            <a:ext cx="133350" cy="676656"/>
          </a:xfrm>
          <a:prstGeom prst="rect">
            <a:avLst/>
          </a:prstGeom>
          <a:solidFill>
            <a:schemeClr val="accent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Tree>
    <p:extLst>
      <p:ext uri="{BB962C8B-B14F-4D97-AF65-F5344CB8AC3E}">
        <p14:creationId xmlns:p14="http://schemas.microsoft.com/office/powerpoint/2010/main" val="4103030134"/>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1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组合 4">
            <a:extLst>
              <a:ext uri="{FF2B5EF4-FFF2-40B4-BE49-F238E27FC236}">
                <a16:creationId xmlns:a16="http://schemas.microsoft.com/office/drawing/2014/main" id="{A790798D-23DD-4339-9FD5-FC30D077F5A7}"/>
              </a:ext>
            </a:extLst>
          </p:cNvPr>
          <p:cNvGrpSpPr/>
          <p:nvPr/>
        </p:nvGrpSpPr>
        <p:grpSpPr>
          <a:xfrm>
            <a:off x="429768" y="411480"/>
            <a:ext cx="4523232" cy="696043"/>
            <a:chOff x="429768" y="411480"/>
            <a:chExt cx="5526271" cy="850392"/>
          </a:xfrm>
        </p:grpSpPr>
        <p:sp>
          <p:nvSpPr>
            <p:cNvPr id="3" name="矩形 2">
              <a:extLst>
                <a:ext uri="{FF2B5EF4-FFF2-40B4-BE49-F238E27FC236}">
                  <a16:creationId xmlns:a16="http://schemas.microsoft.com/office/drawing/2014/main" id="{8E07040E-0187-4748-83B0-A7C6EA39DE1A}"/>
                </a:ext>
              </a:extLst>
            </p:cNvPr>
            <p:cNvSpPr/>
            <p:nvPr/>
          </p:nvSpPr>
          <p:spPr>
            <a:xfrm>
              <a:off x="704088" y="411480"/>
              <a:ext cx="5251951" cy="85039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2" name="箭头: 五边形 1">
              <a:extLst>
                <a:ext uri="{FF2B5EF4-FFF2-40B4-BE49-F238E27FC236}">
                  <a16:creationId xmlns:a16="http://schemas.microsoft.com/office/drawing/2014/main" id="{AF522868-B2DF-45FD-9F2E-D299FE805DED}"/>
                </a:ext>
              </a:extLst>
            </p:cNvPr>
            <p:cNvSpPr/>
            <p:nvPr/>
          </p:nvSpPr>
          <p:spPr>
            <a:xfrm>
              <a:off x="429768" y="411480"/>
              <a:ext cx="1216152" cy="850392"/>
            </a:xfrm>
            <a:prstGeom prst="homePlat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800" dirty="0">
                  <a:solidFill>
                    <a:schemeClr val="bg1"/>
                  </a:solidFill>
                  <a:latin typeface="+mj-ea"/>
                  <a:ea typeface="+mj-ea"/>
                </a:rPr>
                <a:t>01</a:t>
              </a:r>
              <a:endParaRPr lang="zh-CN" altLang="en-US" sz="2800" dirty="0">
                <a:solidFill>
                  <a:schemeClr val="bg1"/>
                </a:solidFill>
                <a:latin typeface="+mj-ea"/>
                <a:ea typeface="+mj-ea"/>
              </a:endParaRPr>
            </a:p>
          </p:txBody>
        </p:sp>
        <p:sp>
          <p:nvSpPr>
            <p:cNvPr id="4" name="文本框 3">
              <a:extLst>
                <a:ext uri="{FF2B5EF4-FFF2-40B4-BE49-F238E27FC236}">
                  <a16:creationId xmlns:a16="http://schemas.microsoft.com/office/drawing/2014/main" id="{C5274A7E-905B-4410-8112-E396A35744C7}"/>
                </a:ext>
              </a:extLst>
            </p:cNvPr>
            <p:cNvSpPr txBox="1"/>
            <p:nvPr/>
          </p:nvSpPr>
          <p:spPr>
            <a:xfrm>
              <a:off x="1734142" y="493606"/>
              <a:ext cx="4186984" cy="639245"/>
            </a:xfrm>
            <a:prstGeom prst="rect">
              <a:avLst/>
            </a:prstGeom>
            <a:noFill/>
          </p:spPr>
          <p:txBody>
            <a:bodyPr wrap="square" rtlCol="0">
              <a:spAutoFit/>
            </a:bodyPr>
            <a:lstStyle/>
            <a:p>
              <a:r>
                <a:rPr kumimoji="1" lang="zh-CN" altLang="en-US" sz="2800" b="1" dirty="0">
                  <a:solidFill>
                    <a:schemeClr val="accent1">
                      <a:lumMod val="100000"/>
                    </a:schemeClr>
                  </a:solidFill>
                  <a:latin typeface="Microsoft YaHei" panose="020B0503020204020204" pitchFamily="34" charset="-122"/>
                  <a:ea typeface="Microsoft YaHei" panose="020B0503020204020204" pitchFamily="34" charset="-122"/>
                </a:rPr>
                <a:t>在这里输入你的标题</a:t>
              </a:r>
            </a:p>
          </p:txBody>
        </p:sp>
      </p:grpSp>
      <p:sp>
        <p:nvSpPr>
          <p:cNvPr id="6" name="任意形状 12">
            <a:extLst>
              <a:ext uri="{FF2B5EF4-FFF2-40B4-BE49-F238E27FC236}">
                <a16:creationId xmlns:a16="http://schemas.microsoft.com/office/drawing/2014/main" id="{C724430E-4D46-4341-8946-598D400E0CEB}"/>
              </a:ext>
            </a:extLst>
          </p:cNvPr>
          <p:cNvSpPr/>
          <p:nvPr/>
        </p:nvSpPr>
        <p:spPr>
          <a:xfrm>
            <a:off x="0" y="6464698"/>
            <a:ext cx="12192000" cy="393302"/>
          </a:xfrm>
          <a:custGeom>
            <a:avLst/>
            <a:gdLst>
              <a:gd name="connsiteX0" fmla="*/ 12192000 w 12192000"/>
              <a:gd name="connsiteY0" fmla="*/ 0 h 909447"/>
              <a:gd name="connsiteX1" fmla="*/ 12192000 w 12192000"/>
              <a:gd name="connsiteY1" fmla="*/ 909447 h 909447"/>
              <a:gd name="connsiteX2" fmla="*/ 0 w 12192000"/>
              <a:gd name="connsiteY2" fmla="*/ 909447 h 909447"/>
              <a:gd name="connsiteX3" fmla="*/ 0 w 12192000"/>
              <a:gd name="connsiteY3" fmla="*/ 401788 h 909447"/>
              <a:gd name="connsiteX4" fmla="*/ 271475 w 12192000"/>
              <a:gd name="connsiteY4" fmla="*/ 389839 h 909447"/>
              <a:gd name="connsiteX5" fmla="*/ 8190271 w 12192000"/>
              <a:gd name="connsiteY5" fmla="*/ 639060 h 909447"/>
              <a:gd name="connsiteX6" fmla="*/ 12049480 w 12192000"/>
              <a:gd name="connsiteY6" fmla="*/ 34242 h 909447"/>
              <a:gd name="connsiteX0" fmla="*/ 12192000 w 12192000"/>
              <a:gd name="connsiteY0" fmla="*/ 0 h 909447"/>
              <a:gd name="connsiteX1" fmla="*/ 12192000 w 12192000"/>
              <a:gd name="connsiteY1" fmla="*/ 909447 h 909447"/>
              <a:gd name="connsiteX2" fmla="*/ 0 w 12192000"/>
              <a:gd name="connsiteY2" fmla="*/ 909447 h 909447"/>
              <a:gd name="connsiteX3" fmla="*/ 0 w 12192000"/>
              <a:gd name="connsiteY3" fmla="*/ 401788 h 909447"/>
              <a:gd name="connsiteX4" fmla="*/ 8190271 w 12192000"/>
              <a:gd name="connsiteY4" fmla="*/ 639060 h 909447"/>
              <a:gd name="connsiteX5" fmla="*/ 12049480 w 12192000"/>
              <a:gd name="connsiteY5" fmla="*/ 34242 h 909447"/>
              <a:gd name="connsiteX6" fmla="*/ 12192000 w 12192000"/>
              <a:gd name="connsiteY6" fmla="*/ 0 h 909447"/>
              <a:gd name="connsiteX0" fmla="*/ 12192000 w 12192000"/>
              <a:gd name="connsiteY0" fmla="*/ 0 h 909447"/>
              <a:gd name="connsiteX1" fmla="*/ 12192000 w 12192000"/>
              <a:gd name="connsiteY1" fmla="*/ 909447 h 909447"/>
              <a:gd name="connsiteX2" fmla="*/ 0 w 12192000"/>
              <a:gd name="connsiteY2" fmla="*/ 909447 h 909447"/>
              <a:gd name="connsiteX3" fmla="*/ 0 w 12192000"/>
              <a:gd name="connsiteY3" fmla="*/ 401788 h 909447"/>
              <a:gd name="connsiteX4" fmla="*/ 12049480 w 12192000"/>
              <a:gd name="connsiteY4" fmla="*/ 34242 h 909447"/>
              <a:gd name="connsiteX5" fmla="*/ 12192000 w 12192000"/>
              <a:gd name="connsiteY5" fmla="*/ 0 h 909447"/>
              <a:gd name="connsiteX0" fmla="*/ 12192000 w 12192000"/>
              <a:gd name="connsiteY0" fmla="*/ 0 h 909447"/>
              <a:gd name="connsiteX1" fmla="*/ 12192000 w 12192000"/>
              <a:gd name="connsiteY1" fmla="*/ 909447 h 909447"/>
              <a:gd name="connsiteX2" fmla="*/ 0 w 12192000"/>
              <a:gd name="connsiteY2" fmla="*/ 909447 h 909447"/>
              <a:gd name="connsiteX3" fmla="*/ 0 w 12192000"/>
              <a:gd name="connsiteY3" fmla="*/ 401788 h 909447"/>
              <a:gd name="connsiteX4" fmla="*/ 12192000 w 12192000"/>
              <a:gd name="connsiteY4" fmla="*/ 0 h 909447"/>
              <a:gd name="connsiteX0" fmla="*/ 12192000 w 12192000"/>
              <a:gd name="connsiteY0" fmla="*/ 0 h 909447"/>
              <a:gd name="connsiteX1" fmla="*/ 12192000 w 12192000"/>
              <a:gd name="connsiteY1" fmla="*/ 909447 h 909447"/>
              <a:gd name="connsiteX2" fmla="*/ 0 w 12192000"/>
              <a:gd name="connsiteY2" fmla="*/ 909447 h 909447"/>
              <a:gd name="connsiteX3" fmla="*/ 0 w 12192000"/>
              <a:gd name="connsiteY3" fmla="*/ 401788 h 909447"/>
              <a:gd name="connsiteX4" fmla="*/ 12192000 w 12192000"/>
              <a:gd name="connsiteY4" fmla="*/ 0 h 909447"/>
              <a:gd name="connsiteX0" fmla="*/ 12192000 w 12192000"/>
              <a:gd name="connsiteY0" fmla="*/ 0 h 909447"/>
              <a:gd name="connsiteX1" fmla="*/ 12192000 w 12192000"/>
              <a:gd name="connsiteY1" fmla="*/ 909447 h 909447"/>
              <a:gd name="connsiteX2" fmla="*/ 0 w 12192000"/>
              <a:gd name="connsiteY2" fmla="*/ 909447 h 909447"/>
              <a:gd name="connsiteX3" fmla="*/ 0 w 12192000"/>
              <a:gd name="connsiteY3" fmla="*/ 401788 h 909447"/>
              <a:gd name="connsiteX4" fmla="*/ 12192000 w 12192000"/>
              <a:gd name="connsiteY4" fmla="*/ 0 h 9094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909447">
                <a:moveTo>
                  <a:pt x="12192000" y="0"/>
                </a:moveTo>
                <a:lnTo>
                  <a:pt x="12192000" y="909447"/>
                </a:lnTo>
                <a:lnTo>
                  <a:pt x="0" y="909447"/>
                </a:lnTo>
                <a:lnTo>
                  <a:pt x="0" y="401788"/>
                </a:lnTo>
                <a:cubicBezTo>
                  <a:pt x="2540000" y="700478"/>
                  <a:pt x="6289368" y="812355"/>
                  <a:pt x="12192000" y="0"/>
                </a:cubicBezTo>
                <a:close/>
              </a:path>
            </a:pathLst>
          </a:custGeom>
          <a:solidFill>
            <a:schemeClr val="accent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zh-CN" altLang="en-US"/>
          </a:p>
        </p:txBody>
      </p:sp>
    </p:spTree>
    <p:extLst>
      <p:ext uri="{BB962C8B-B14F-4D97-AF65-F5344CB8AC3E}">
        <p14:creationId xmlns:p14="http://schemas.microsoft.com/office/powerpoint/2010/main" val="2508243128"/>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1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矩形 23">
            <a:extLst>
              <a:ext uri="{FF2B5EF4-FFF2-40B4-BE49-F238E27FC236}">
                <a16:creationId xmlns:a16="http://schemas.microsoft.com/office/drawing/2014/main" id="{7A313A53-6F75-3A45-A5A0-CBF480BC378A}"/>
              </a:ext>
            </a:extLst>
          </p:cNvPr>
          <p:cNvSpPr/>
          <p:nvPr/>
        </p:nvSpPr>
        <p:spPr>
          <a:xfrm>
            <a:off x="0" y="6486525"/>
            <a:ext cx="12192000" cy="371475"/>
          </a:xfrm>
          <a:prstGeom prst="rect">
            <a:avLst/>
          </a:prstGeom>
          <a:solidFill>
            <a:schemeClr val="accent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cxnSp>
        <p:nvCxnSpPr>
          <p:cNvPr id="15" name="直线连接符 14">
            <a:extLst>
              <a:ext uri="{FF2B5EF4-FFF2-40B4-BE49-F238E27FC236}">
                <a16:creationId xmlns:a16="http://schemas.microsoft.com/office/drawing/2014/main" id="{273911D4-DB5F-C74D-969A-B5804601C1A9}"/>
              </a:ext>
            </a:extLst>
          </p:cNvPr>
          <p:cNvCxnSpPr>
            <a:cxnSpLocks/>
          </p:cNvCxnSpPr>
          <p:nvPr/>
        </p:nvCxnSpPr>
        <p:spPr>
          <a:xfrm>
            <a:off x="0" y="832513"/>
            <a:ext cx="12192000" cy="0"/>
          </a:xfrm>
          <a:prstGeom prst="line">
            <a:avLst/>
          </a:prstGeom>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grpSp>
        <p:nvGrpSpPr>
          <p:cNvPr id="20" name="组合 19">
            <a:extLst>
              <a:ext uri="{FF2B5EF4-FFF2-40B4-BE49-F238E27FC236}">
                <a16:creationId xmlns:a16="http://schemas.microsoft.com/office/drawing/2014/main" id="{AD89813C-FB27-F54B-8F84-42488633EE60}"/>
              </a:ext>
            </a:extLst>
          </p:cNvPr>
          <p:cNvGrpSpPr/>
          <p:nvPr/>
        </p:nvGrpSpPr>
        <p:grpSpPr>
          <a:xfrm>
            <a:off x="320040" y="247972"/>
            <a:ext cx="475827" cy="492691"/>
            <a:chOff x="320040" y="137160"/>
            <a:chExt cx="475827" cy="603504"/>
          </a:xfrm>
        </p:grpSpPr>
        <p:sp>
          <p:nvSpPr>
            <p:cNvPr id="17" name="圆角矩形 16">
              <a:extLst>
                <a:ext uri="{FF2B5EF4-FFF2-40B4-BE49-F238E27FC236}">
                  <a16:creationId xmlns:a16="http://schemas.microsoft.com/office/drawing/2014/main" id="{A1F7D033-AC1C-A442-8567-BC95EDB45B8E}"/>
                </a:ext>
              </a:extLst>
            </p:cNvPr>
            <p:cNvSpPr/>
            <p:nvPr/>
          </p:nvSpPr>
          <p:spPr>
            <a:xfrm>
              <a:off x="320040" y="137160"/>
              <a:ext cx="68731" cy="603504"/>
            </a:xfrm>
            <a:prstGeom prst="roundRect">
              <a:avLst>
                <a:gd name="adj" fmla="val 50000"/>
              </a:avLst>
            </a:prstGeom>
            <a:solidFill>
              <a:schemeClr val="accent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8" name="圆角矩形 17">
              <a:extLst>
                <a:ext uri="{FF2B5EF4-FFF2-40B4-BE49-F238E27FC236}">
                  <a16:creationId xmlns:a16="http://schemas.microsoft.com/office/drawing/2014/main" id="{D2744E32-B6AB-F446-A8DE-1AB047D2970C}"/>
                </a:ext>
              </a:extLst>
            </p:cNvPr>
            <p:cNvSpPr/>
            <p:nvPr/>
          </p:nvSpPr>
          <p:spPr>
            <a:xfrm>
              <a:off x="532982" y="319414"/>
              <a:ext cx="68731" cy="421249"/>
            </a:xfrm>
            <a:prstGeom prst="roundRect">
              <a:avLst>
                <a:gd name="adj" fmla="val 50000"/>
              </a:avLst>
            </a:prstGeom>
            <a:solidFill>
              <a:schemeClr val="accent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9" name="圆角矩形 18">
              <a:extLst>
                <a:ext uri="{FF2B5EF4-FFF2-40B4-BE49-F238E27FC236}">
                  <a16:creationId xmlns:a16="http://schemas.microsoft.com/office/drawing/2014/main" id="{70BD55BA-61EC-B747-826A-222A7CE593A3}"/>
                </a:ext>
              </a:extLst>
            </p:cNvPr>
            <p:cNvSpPr/>
            <p:nvPr/>
          </p:nvSpPr>
          <p:spPr>
            <a:xfrm>
              <a:off x="727136" y="234648"/>
              <a:ext cx="68731" cy="506016"/>
            </a:xfrm>
            <a:prstGeom prst="roundRect">
              <a:avLst>
                <a:gd name="adj" fmla="val 50000"/>
              </a:avLst>
            </a:prstGeom>
            <a:solidFill>
              <a:schemeClr val="accent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grpSp>
      <p:sp>
        <p:nvSpPr>
          <p:cNvPr id="21" name="文本框 20">
            <a:extLst>
              <a:ext uri="{FF2B5EF4-FFF2-40B4-BE49-F238E27FC236}">
                <a16:creationId xmlns:a16="http://schemas.microsoft.com/office/drawing/2014/main" id="{4C711925-DC8C-A645-9725-725D3C186E05}"/>
              </a:ext>
            </a:extLst>
          </p:cNvPr>
          <p:cNvSpPr txBox="1"/>
          <p:nvPr/>
        </p:nvSpPr>
        <p:spPr>
          <a:xfrm>
            <a:off x="921290" y="307101"/>
            <a:ext cx="3416320" cy="523220"/>
          </a:xfrm>
          <a:prstGeom prst="rect">
            <a:avLst/>
          </a:prstGeom>
          <a:noFill/>
        </p:spPr>
        <p:txBody>
          <a:bodyPr wrap="none" rtlCol="0">
            <a:spAutoFit/>
          </a:bodyPr>
          <a:lstStyle/>
          <a:p>
            <a:r>
              <a:rPr kumimoji="1" lang="zh-CN" altLang="en-US" sz="2800" b="1" dirty="0">
                <a:solidFill>
                  <a:schemeClr val="accent1">
                    <a:lumMod val="100000"/>
                  </a:schemeClr>
                </a:solidFill>
                <a:latin typeface="Microsoft YaHei" panose="020B0503020204020204" pitchFamily="34" charset="-122"/>
                <a:ea typeface="Microsoft YaHei" panose="020B0503020204020204" pitchFamily="34" charset="-122"/>
              </a:rPr>
              <a:t>在这里输入你的标题</a:t>
            </a:r>
          </a:p>
        </p:txBody>
      </p:sp>
      <p:sp>
        <p:nvSpPr>
          <p:cNvPr id="22" name="矩形 21">
            <a:extLst>
              <a:ext uri="{FF2B5EF4-FFF2-40B4-BE49-F238E27FC236}">
                <a16:creationId xmlns:a16="http://schemas.microsoft.com/office/drawing/2014/main" id="{F9C66E75-F375-0C4E-9B71-825ADA79BAA9}"/>
              </a:ext>
            </a:extLst>
          </p:cNvPr>
          <p:cNvSpPr/>
          <p:nvPr/>
        </p:nvSpPr>
        <p:spPr>
          <a:xfrm>
            <a:off x="0" y="6486525"/>
            <a:ext cx="76200" cy="371475"/>
          </a:xfrm>
          <a:prstGeom prst="rect">
            <a:avLst/>
          </a:prstGeom>
          <a:solidFill>
            <a:schemeClr val="accent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23" name="矩形 22">
            <a:extLst>
              <a:ext uri="{FF2B5EF4-FFF2-40B4-BE49-F238E27FC236}">
                <a16:creationId xmlns:a16="http://schemas.microsoft.com/office/drawing/2014/main" id="{8B5BFF66-EF47-454C-BA1B-4CE44A1A0813}"/>
              </a:ext>
            </a:extLst>
          </p:cNvPr>
          <p:cNvSpPr/>
          <p:nvPr/>
        </p:nvSpPr>
        <p:spPr>
          <a:xfrm>
            <a:off x="12115800" y="6486525"/>
            <a:ext cx="76200" cy="371475"/>
          </a:xfrm>
          <a:prstGeom prst="rect">
            <a:avLst/>
          </a:prstGeom>
          <a:solidFill>
            <a:schemeClr val="accent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Tree>
    <p:extLst>
      <p:ext uri="{BB962C8B-B14F-4D97-AF65-F5344CB8AC3E}">
        <p14:creationId xmlns:p14="http://schemas.microsoft.com/office/powerpoint/2010/main" val="3705619946"/>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文本框 10">
            <a:extLst>
              <a:ext uri="{FF2B5EF4-FFF2-40B4-BE49-F238E27FC236}">
                <a16:creationId xmlns:a16="http://schemas.microsoft.com/office/drawing/2014/main" id="{E4393356-E9A7-46D9-B5F5-0D21EC991A29}"/>
              </a:ext>
            </a:extLst>
          </p:cNvPr>
          <p:cNvSpPr txBox="1"/>
          <p:nvPr/>
        </p:nvSpPr>
        <p:spPr>
          <a:xfrm>
            <a:off x="1941017" y="1919645"/>
            <a:ext cx="8309967" cy="1107996"/>
          </a:xfrm>
          <a:prstGeom prst="rect">
            <a:avLst/>
          </a:prstGeom>
          <a:noFill/>
        </p:spPr>
        <p:txBody>
          <a:bodyPr wrap="none" lIns="0" tIns="0" rIns="0" bIns="0" rtlCol="0" anchor="t">
            <a:spAutoFit/>
          </a:bodyPr>
          <a:lstStyle/>
          <a:p>
            <a:pPr algn="ctr"/>
            <a:r>
              <a:rPr lang="zh-CN" altLang="en-US" sz="7200" dirty="0">
                <a:solidFill>
                  <a:schemeClr val="accent1">
                    <a:lumMod val="100000"/>
                  </a:schemeClr>
                </a:solidFill>
                <a:latin typeface="+mj-ea"/>
                <a:ea typeface="+mj-ea"/>
              </a:rPr>
              <a:t>输入你的封面大标题</a:t>
            </a:r>
          </a:p>
        </p:txBody>
      </p:sp>
      <p:sp>
        <p:nvSpPr>
          <p:cNvPr id="12" name="文本框 11">
            <a:extLst>
              <a:ext uri="{FF2B5EF4-FFF2-40B4-BE49-F238E27FC236}">
                <a16:creationId xmlns:a16="http://schemas.microsoft.com/office/drawing/2014/main" id="{08D1ED60-C0E7-408E-A5AA-59B489440FCB}"/>
              </a:ext>
            </a:extLst>
          </p:cNvPr>
          <p:cNvSpPr txBox="1"/>
          <p:nvPr/>
        </p:nvSpPr>
        <p:spPr>
          <a:xfrm>
            <a:off x="4095451" y="3109937"/>
            <a:ext cx="4001095" cy="369332"/>
          </a:xfrm>
          <a:prstGeom prst="rect">
            <a:avLst/>
          </a:prstGeom>
          <a:noFill/>
        </p:spPr>
        <p:txBody>
          <a:bodyPr wrap="none" lIns="0" tIns="0" rIns="0" bIns="0" rtlCol="0" anchor="t">
            <a:spAutoFit/>
          </a:bodyPr>
          <a:lstStyle/>
          <a:p>
            <a:pPr algn="ctr"/>
            <a:r>
              <a:rPr lang="zh-CN" altLang="en-US" sz="2400" dirty="0">
                <a:solidFill>
                  <a:schemeClr val="accent1">
                    <a:lumMod val="100000"/>
                  </a:schemeClr>
                </a:solidFill>
                <a:latin typeface="+mn-ea"/>
              </a:rPr>
              <a:t>输入你的副标题或大标题英文</a:t>
            </a:r>
          </a:p>
        </p:txBody>
      </p:sp>
      <p:cxnSp>
        <p:nvCxnSpPr>
          <p:cNvPr id="14" name="直接连接符 13">
            <a:extLst>
              <a:ext uri="{FF2B5EF4-FFF2-40B4-BE49-F238E27FC236}">
                <a16:creationId xmlns:a16="http://schemas.microsoft.com/office/drawing/2014/main" id="{99FDF5DC-EAFA-4C3B-B052-660243EB047F}"/>
              </a:ext>
            </a:extLst>
          </p:cNvPr>
          <p:cNvCxnSpPr/>
          <p:nvPr/>
        </p:nvCxnSpPr>
        <p:spPr>
          <a:xfrm flipH="1">
            <a:off x="2029968" y="3300389"/>
            <a:ext cx="1901952" cy="0"/>
          </a:xfrm>
          <a:prstGeom prst="line">
            <a:avLst/>
          </a:prstGeom>
          <a:ln w="19050">
            <a:solidFill>
              <a:schemeClr val="accent1">
                <a:lumMod val="100000"/>
              </a:schemeClr>
            </a:solidFill>
          </a:ln>
        </p:spPr>
        <p:style>
          <a:lnRef idx="1">
            <a:schemeClr val="accent1"/>
          </a:lnRef>
          <a:fillRef idx="0">
            <a:schemeClr val="accent1"/>
          </a:fillRef>
          <a:effectRef idx="0">
            <a:schemeClr val="accent1"/>
          </a:effectRef>
          <a:fontRef idx="minor">
            <a:schemeClr val="tx1"/>
          </a:fontRef>
        </p:style>
      </p:cxnSp>
      <p:cxnSp>
        <p:nvCxnSpPr>
          <p:cNvPr id="15" name="直接连接符 14">
            <a:extLst>
              <a:ext uri="{FF2B5EF4-FFF2-40B4-BE49-F238E27FC236}">
                <a16:creationId xmlns:a16="http://schemas.microsoft.com/office/drawing/2014/main" id="{C6CC629A-E754-4728-BB95-563C56597B63}"/>
              </a:ext>
            </a:extLst>
          </p:cNvPr>
          <p:cNvCxnSpPr/>
          <p:nvPr/>
        </p:nvCxnSpPr>
        <p:spPr>
          <a:xfrm flipH="1">
            <a:off x="8284464" y="3300389"/>
            <a:ext cx="1901952" cy="0"/>
          </a:xfrm>
          <a:prstGeom prst="line">
            <a:avLst/>
          </a:prstGeom>
          <a:ln w="19050">
            <a:solidFill>
              <a:schemeClr val="accent1">
                <a:lumMod val="100000"/>
              </a:schemeClr>
            </a:solidFill>
          </a:ln>
        </p:spPr>
        <p:style>
          <a:lnRef idx="1">
            <a:schemeClr val="accent1"/>
          </a:lnRef>
          <a:fillRef idx="0">
            <a:schemeClr val="accent1"/>
          </a:fillRef>
          <a:effectRef idx="0">
            <a:schemeClr val="accent1"/>
          </a:effectRef>
          <a:fontRef idx="minor">
            <a:schemeClr val="tx1"/>
          </a:fontRef>
        </p:style>
      </p:cxnSp>
      <p:grpSp>
        <p:nvGrpSpPr>
          <p:cNvPr id="18" name="组合 17">
            <a:extLst>
              <a:ext uri="{FF2B5EF4-FFF2-40B4-BE49-F238E27FC236}">
                <a16:creationId xmlns:a16="http://schemas.microsoft.com/office/drawing/2014/main" id="{FC799265-AC15-410F-82A2-679AB60B288F}"/>
              </a:ext>
            </a:extLst>
          </p:cNvPr>
          <p:cNvGrpSpPr/>
          <p:nvPr/>
        </p:nvGrpSpPr>
        <p:grpSpPr>
          <a:xfrm>
            <a:off x="4331702" y="4082534"/>
            <a:ext cx="1475214" cy="246221"/>
            <a:chOff x="4095451" y="4640913"/>
            <a:chExt cx="1475214" cy="246221"/>
          </a:xfrm>
        </p:grpSpPr>
        <p:sp>
          <p:nvSpPr>
            <p:cNvPr id="16" name="矩形 15">
              <a:extLst>
                <a:ext uri="{FF2B5EF4-FFF2-40B4-BE49-F238E27FC236}">
                  <a16:creationId xmlns:a16="http://schemas.microsoft.com/office/drawing/2014/main" id="{74C493E7-1B47-4349-BC5B-BF3163490795}"/>
                </a:ext>
              </a:extLst>
            </p:cNvPr>
            <p:cNvSpPr/>
            <p:nvPr/>
          </p:nvSpPr>
          <p:spPr>
            <a:xfrm>
              <a:off x="4095451" y="4672584"/>
              <a:ext cx="164592" cy="164592"/>
            </a:xfrm>
            <a:prstGeom prst="rect">
              <a:avLst/>
            </a:prstGeom>
            <a:solidFill>
              <a:schemeClr val="accent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p>
          </p:txBody>
        </p:sp>
        <p:sp>
          <p:nvSpPr>
            <p:cNvPr id="17" name="文本框 16">
              <a:extLst>
                <a:ext uri="{FF2B5EF4-FFF2-40B4-BE49-F238E27FC236}">
                  <a16:creationId xmlns:a16="http://schemas.microsoft.com/office/drawing/2014/main" id="{B804F6AA-7656-4EF8-84F0-3B3FB5CF0922}"/>
                </a:ext>
              </a:extLst>
            </p:cNvPr>
            <p:cNvSpPr txBox="1"/>
            <p:nvPr/>
          </p:nvSpPr>
          <p:spPr>
            <a:xfrm>
              <a:off x="4408487" y="4640913"/>
              <a:ext cx="1162178" cy="246221"/>
            </a:xfrm>
            <a:prstGeom prst="rect">
              <a:avLst/>
            </a:prstGeom>
            <a:noFill/>
          </p:spPr>
          <p:txBody>
            <a:bodyPr wrap="none" lIns="0" tIns="0" rIns="0" bIns="0" rtlCol="0" anchor="t">
              <a:spAutoFit/>
            </a:bodyPr>
            <a:lstStyle/>
            <a:p>
              <a:r>
                <a:rPr lang="zh-CN" altLang="en-US" sz="1600" dirty="0">
                  <a:solidFill>
                    <a:schemeClr val="accent1">
                      <a:lumMod val="100000"/>
                    </a:schemeClr>
                  </a:solidFill>
                  <a:latin typeface="+mn-ea"/>
                </a:rPr>
                <a:t>汇报人：</a:t>
              </a:r>
              <a:r>
                <a:rPr lang="en-US" altLang="zh-CN" sz="1600" dirty="0">
                  <a:solidFill>
                    <a:schemeClr val="accent1">
                      <a:lumMod val="100000"/>
                    </a:schemeClr>
                  </a:solidFill>
                  <a:latin typeface="+mn-ea"/>
                </a:rPr>
                <a:t>xxx</a:t>
              </a:r>
              <a:endParaRPr lang="zh-CN" altLang="en-US" sz="1600" dirty="0">
                <a:solidFill>
                  <a:schemeClr val="accent1">
                    <a:lumMod val="100000"/>
                  </a:schemeClr>
                </a:solidFill>
                <a:latin typeface="+mn-ea"/>
              </a:endParaRPr>
            </a:p>
          </p:txBody>
        </p:sp>
      </p:grpSp>
      <p:grpSp>
        <p:nvGrpSpPr>
          <p:cNvPr id="19" name="组合 18">
            <a:extLst>
              <a:ext uri="{FF2B5EF4-FFF2-40B4-BE49-F238E27FC236}">
                <a16:creationId xmlns:a16="http://schemas.microsoft.com/office/drawing/2014/main" id="{482B1619-178E-45D1-BC39-C5F4314075B6}"/>
              </a:ext>
            </a:extLst>
          </p:cNvPr>
          <p:cNvGrpSpPr/>
          <p:nvPr/>
        </p:nvGrpSpPr>
        <p:grpSpPr>
          <a:xfrm>
            <a:off x="6590270" y="4082534"/>
            <a:ext cx="1270029" cy="246221"/>
            <a:chOff x="4095451" y="4640913"/>
            <a:chExt cx="1270029" cy="246221"/>
          </a:xfrm>
        </p:grpSpPr>
        <p:sp>
          <p:nvSpPr>
            <p:cNvPr id="20" name="矩形 19">
              <a:extLst>
                <a:ext uri="{FF2B5EF4-FFF2-40B4-BE49-F238E27FC236}">
                  <a16:creationId xmlns:a16="http://schemas.microsoft.com/office/drawing/2014/main" id="{3A1AE345-38CE-49BE-9E58-2C20078777A3}"/>
                </a:ext>
              </a:extLst>
            </p:cNvPr>
            <p:cNvSpPr/>
            <p:nvPr/>
          </p:nvSpPr>
          <p:spPr>
            <a:xfrm>
              <a:off x="4095451" y="4672584"/>
              <a:ext cx="164592" cy="164592"/>
            </a:xfrm>
            <a:prstGeom prst="rect">
              <a:avLst/>
            </a:prstGeom>
            <a:solidFill>
              <a:schemeClr val="accent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p>
          </p:txBody>
        </p:sp>
        <p:sp>
          <p:nvSpPr>
            <p:cNvPr id="21" name="文本框 20">
              <a:extLst>
                <a:ext uri="{FF2B5EF4-FFF2-40B4-BE49-F238E27FC236}">
                  <a16:creationId xmlns:a16="http://schemas.microsoft.com/office/drawing/2014/main" id="{FCC3031D-C171-43E7-B549-82FC96054817}"/>
                </a:ext>
              </a:extLst>
            </p:cNvPr>
            <p:cNvSpPr txBox="1"/>
            <p:nvPr/>
          </p:nvSpPr>
          <p:spPr>
            <a:xfrm>
              <a:off x="4408487" y="4640913"/>
              <a:ext cx="956993" cy="246221"/>
            </a:xfrm>
            <a:prstGeom prst="rect">
              <a:avLst/>
            </a:prstGeom>
            <a:noFill/>
          </p:spPr>
          <p:txBody>
            <a:bodyPr wrap="none" lIns="0" tIns="0" rIns="0" bIns="0" rtlCol="0" anchor="t">
              <a:spAutoFit/>
            </a:bodyPr>
            <a:lstStyle/>
            <a:p>
              <a:r>
                <a:rPr lang="zh-CN" altLang="en-US" sz="1600" dirty="0">
                  <a:solidFill>
                    <a:schemeClr val="accent1">
                      <a:lumMod val="100000"/>
                    </a:schemeClr>
                  </a:solidFill>
                  <a:latin typeface="+mn-ea"/>
                </a:rPr>
                <a:t>单位：</a:t>
              </a:r>
              <a:r>
                <a:rPr lang="en-US" altLang="zh-CN" sz="1600" dirty="0">
                  <a:solidFill>
                    <a:schemeClr val="accent1">
                      <a:lumMod val="100000"/>
                    </a:schemeClr>
                  </a:solidFill>
                  <a:latin typeface="+mn-ea"/>
                </a:rPr>
                <a:t>xxx</a:t>
              </a:r>
              <a:endParaRPr lang="zh-CN" altLang="en-US" sz="1600" dirty="0">
                <a:solidFill>
                  <a:schemeClr val="accent1">
                    <a:lumMod val="100000"/>
                  </a:schemeClr>
                </a:solidFill>
                <a:latin typeface="+mn-ea"/>
              </a:endParaRPr>
            </a:p>
          </p:txBody>
        </p:sp>
      </p:grpSp>
      <p:sp>
        <p:nvSpPr>
          <p:cNvPr id="22" name="任意多边形: 形状 21">
            <a:extLst>
              <a:ext uri="{FF2B5EF4-FFF2-40B4-BE49-F238E27FC236}">
                <a16:creationId xmlns:a16="http://schemas.microsoft.com/office/drawing/2014/main" id="{5042540F-B0B3-4EFD-BFD2-F9C0D212FFA0}"/>
              </a:ext>
            </a:extLst>
          </p:cNvPr>
          <p:cNvSpPr/>
          <p:nvPr/>
        </p:nvSpPr>
        <p:spPr>
          <a:xfrm>
            <a:off x="0" y="4969972"/>
            <a:ext cx="12192000" cy="1888029"/>
          </a:xfrm>
          <a:custGeom>
            <a:avLst/>
            <a:gdLst>
              <a:gd name="connsiteX0" fmla="*/ 2286000 w 12192000"/>
              <a:gd name="connsiteY0" fmla="*/ 1993 h 1888029"/>
              <a:gd name="connsiteX1" fmla="*/ 12192000 w 12192000"/>
              <a:gd name="connsiteY1" fmla="*/ 189800 h 1888029"/>
              <a:gd name="connsiteX2" fmla="*/ 12192000 w 12192000"/>
              <a:gd name="connsiteY2" fmla="*/ 1888029 h 1888029"/>
              <a:gd name="connsiteX3" fmla="*/ 0 w 12192000"/>
              <a:gd name="connsiteY3" fmla="*/ 1888029 h 1888029"/>
              <a:gd name="connsiteX4" fmla="*/ 0 w 12192000"/>
              <a:gd name="connsiteY4" fmla="*/ 189800 h 1888029"/>
              <a:gd name="connsiteX5" fmla="*/ 2286000 w 12192000"/>
              <a:gd name="connsiteY5" fmla="*/ 1993 h 18880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1888029">
                <a:moveTo>
                  <a:pt x="2286000" y="1993"/>
                </a:moveTo>
                <a:cubicBezTo>
                  <a:pt x="5588000" y="-43916"/>
                  <a:pt x="8890000" y="724008"/>
                  <a:pt x="12192000" y="189800"/>
                </a:cubicBezTo>
                <a:lnTo>
                  <a:pt x="12192000" y="1888029"/>
                </a:lnTo>
                <a:lnTo>
                  <a:pt x="0" y="1888029"/>
                </a:lnTo>
                <a:lnTo>
                  <a:pt x="0" y="189800"/>
                </a:lnTo>
                <a:cubicBezTo>
                  <a:pt x="762000" y="66522"/>
                  <a:pt x="1524000" y="12587"/>
                  <a:pt x="2286000" y="1993"/>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6000" dirty="0"/>
          </a:p>
        </p:txBody>
      </p:sp>
    </p:spTree>
    <p:extLst>
      <p:ext uri="{BB962C8B-B14F-4D97-AF65-F5344CB8AC3E}">
        <p14:creationId xmlns:p14="http://schemas.microsoft.com/office/powerpoint/2010/main" val="1231690795"/>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1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椭圆 1">
            <a:extLst>
              <a:ext uri="{FF2B5EF4-FFF2-40B4-BE49-F238E27FC236}">
                <a16:creationId xmlns:a16="http://schemas.microsoft.com/office/drawing/2014/main" id="{8106368C-6FD9-DB4D-A488-980B05E14A1A}"/>
              </a:ext>
            </a:extLst>
          </p:cNvPr>
          <p:cNvSpPr/>
          <p:nvPr/>
        </p:nvSpPr>
        <p:spPr>
          <a:xfrm>
            <a:off x="347472" y="329184"/>
            <a:ext cx="493776" cy="493776"/>
          </a:xfrm>
          <a:prstGeom prst="ellipse">
            <a:avLst/>
          </a:prstGeom>
          <a:solidFill>
            <a:schemeClr val="accent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8" name="椭圆 7">
            <a:extLst>
              <a:ext uri="{FF2B5EF4-FFF2-40B4-BE49-F238E27FC236}">
                <a16:creationId xmlns:a16="http://schemas.microsoft.com/office/drawing/2014/main" id="{A5DF8D8D-9B59-A44C-B496-35774B639628}"/>
              </a:ext>
            </a:extLst>
          </p:cNvPr>
          <p:cNvSpPr/>
          <p:nvPr/>
        </p:nvSpPr>
        <p:spPr>
          <a:xfrm>
            <a:off x="676656" y="329184"/>
            <a:ext cx="493776" cy="493776"/>
          </a:xfrm>
          <a:prstGeom prst="ellipse">
            <a:avLst/>
          </a:prstGeom>
          <a:solidFill>
            <a:schemeClr val="accent1">
              <a:lumMod val="100000"/>
              <a:alpha val="4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9" name="文本框 8">
            <a:extLst>
              <a:ext uri="{FF2B5EF4-FFF2-40B4-BE49-F238E27FC236}">
                <a16:creationId xmlns:a16="http://schemas.microsoft.com/office/drawing/2014/main" id="{F76F684F-98A3-F148-AB71-4AFC6770C599}"/>
              </a:ext>
            </a:extLst>
          </p:cNvPr>
          <p:cNvSpPr txBox="1"/>
          <p:nvPr/>
        </p:nvSpPr>
        <p:spPr>
          <a:xfrm>
            <a:off x="1300216" y="327172"/>
            <a:ext cx="3416320" cy="523220"/>
          </a:xfrm>
          <a:prstGeom prst="rect">
            <a:avLst/>
          </a:prstGeom>
          <a:noFill/>
        </p:spPr>
        <p:txBody>
          <a:bodyPr wrap="none" rtlCol="0">
            <a:spAutoFit/>
          </a:bodyPr>
          <a:lstStyle/>
          <a:p>
            <a:r>
              <a:rPr kumimoji="1" lang="zh-CN" altLang="en-US" sz="2800" b="1" dirty="0">
                <a:solidFill>
                  <a:schemeClr val="accent1">
                    <a:lumMod val="100000"/>
                  </a:schemeClr>
                </a:solidFill>
                <a:latin typeface="Microsoft YaHei" panose="020B0503020204020204" pitchFamily="34" charset="-122"/>
                <a:ea typeface="Microsoft YaHei" panose="020B0503020204020204" pitchFamily="34" charset="-122"/>
              </a:rPr>
              <a:t>在这里输入你的标题</a:t>
            </a:r>
          </a:p>
        </p:txBody>
      </p:sp>
      <p:cxnSp>
        <p:nvCxnSpPr>
          <p:cNvPr id="12" name="直线连接符 11">
            <a:extLst>
              <a:ext uri="{FF2B5EF4-FFF2-40B4-BE49-F238E27FC236}">
                <a16:creationId xmlns:a16="http://schemas.microsoft.com/office/drawing/2014/main" id="{65B2CA37-8F3D-A14D-92AF-EDEE1114ADD0}"/>
              </a:ext>
            </a:extLst>
          </p:cNvPr>
          <p:cNvCxnSpPr>
            <a:cxnSpLocks/>
          </p:cNvCxnSpPr>
          <p:nvPr/>
        </p:nvCxnSpPr>
        <p:spPr>
          <a:xfrm>
            <a:off x="0" y="989452"/>
            <a:ext cx="12192000" cy="0"/>
          </a:xfrm>
          <a:prstGeom prst="line">
            <a:avLst/>
          </a:prstGeom>
          <a:ln w="25400">
            <a:solidFill>
              <a:schemeClr val="accent1">
                <a:lumMod val="100000"/>
              </a:schemeClr>
            </a:solidFill>
          </a:ln>
        </p:spPr>
        <p:style>
          <a:lnRef idx="1">
            <a:schemeClr val="accent1"/>
          </a:lnRef>
          <a:fillRef idx="0">
            <a:schemeClr val="accent1"/>
          </a:fillRef>
          <a:effectRef idx="0">
            <a:schemeClr val="accent1"/>
          </a:effectRef>
          <a:fontRef idx="minor">
            <a:schemeClr val="tx1"/>
          </a:fontRef>
        </p:style>
      </p:cxnSp>
      <p:sp>
        <p:nvSpPr>
          <p:cNvPr id="15" name="任意形状 14">
            <a:extLst>
              <a:ext uri="{FF2B5EF4-FFF2-40B4-BE49-F238E27FC236}">
                <a16:creationId xmlns:a16="http://schemas.microsoft.com/office/drawing/2014/main" id="{A7499A74-DAD8-4841-B8F8-7160916DC5C7}"/>
              </a:ext>
            </a:extLst>
          </p:cNvPr>
          <p:cNvSpPr/>
          <p:nvPr/>
        </p:nvSpPr>
        <p:spPr>
          <a:xfrm>
            <a:off x="1204970" y="6339950"/>
            <a:ext cx="10987030" cy="518050"/>
          </a:xfrm>
          <a:custGeom>
            <a:avLst/>
            <a:gdLst>
              <a:gd name="connsiteX0" fmla="*/ 10987030 w 10987030"/>
              <a:gd name="connsiteY0" fmla="*/ 0 h 518050"/>
              <a:gd name="connsiteX1" fmla="*/ 10987030 w 10987030"/>
              <a:gd name="connsiteY1" fmla="*/ 518050 h 518050"/>
              <a:gd name="connsiteX2" fmla="*/ 0 w 10987030"/>
              <a:gd name="connsiteY2" fmla="*/ 518050 h 518050"/>
              <a:gd name="connsiteX3" fmla="*/ 721075 w 10987030"/>
              <a:gd name="connsiteY3" fmla="*/ 511453 h 518050"/>
              <a:gd name="connsiteX4" fmla="*/ 7984847 w 10987030"/>
              <a:gd name="connsiteY4" fmla="*/ 225330 h 518050"/>
              <a:gd name="connsiteX5" fmla="*/ 10140488 w 10987030"/>
              <a:gd name="connsiteY5" fmla="*/ 72216 h 518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987030" h="518050">
                <a:moveTo>
                  <a:pt x="10987030" y="0"/>
                </a:moveTo>
                <a:lnTo>
                  <a:pt x="10987030" y="518050"/>
                </a:lnTo>
                <a:lnTo>
                  <a:pt x="0" y="518050"/>
                </a:lnTo>
                <a:lnTo>
                  <a:pt x="721075" y="511453"/>
                </a:lnTo>
                <a:cubicBezTo>
                  <a:pt x="2989849" y="481848"/>
                  <a:pt x="5436585" y="388368"/>
                  <a:pt x="7984847" y="225330"/>
                </a:cubicBezTo>
                <a:cubicBezTo>
                  <a:pt x="8712922" y="178748"/>
                  <a:pt x="9432053" y="127590"/>
                  <a:pt x="10140488" y="72216"/>
                </a:cubicBezTo>
                <a:close/>
              </a:path>
            </a:pathLst>
          </a:custGeom>
          <a:solidFill>
            <a:schemeClr val="accent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zh-CN" altLang="en-US"/>
          </a:p>
        </p:txBody>
      </p:sp>
      <p:sp>
        <p:nvSpPr>
          <p:cNvPr id="16" name="任意形状 15">
            <a:extLst>
              <a:ext uri="{FF2B5EF4-FFF2-40B4-BE49-F238E27FC236}">
                <a16:creationId xmlns:a16="http://schemas.microsoft.com/office/drawing/2014/main" id="{712C418D-432D-7345-B360-D8FF684BE33B}"/>
              </a:ext>
            </a:extLst>
          </p:cNvPr>
          <p:cNvSpPr/>
          <p:nvPr/>
        </p:nvSpPr>
        <p:spPr>
          <a:xfrm flipH="1">
            <a:off x="92862" y="6339950"/>
            <a:ext cx="10987030" cy="518050"/>
          </a:xfrm>
          <a:custGeom>
            <a:avLst/>
            <a:gdLst>
              <a:gd name="connsiteX0" fmla="*/ 10987030 w 10987030"/>
              <a:gd name="connsiteY0" fmla="*/ 0 h 518050"/>
              <a:gd name="connsiteX1" fmla="*/ 10987030 w 10987030"/>
              <a:gd name="connsiteY1" fmla="*/ 518050 h 518050"/>
              <a:gd name="connsiteX2" fmla="*/ 0 w 10987030"/>
              <a:gd name="connsiteY2" fmla="*/ 518050 h 518050"/>
              <a:gd name="connsiteX3" fmla="*/ 721075 w 10987030"/>
              <a:gd name="connsiteY3" fmla="*/ 511453 h 518050"/>
              <a:gd name="connsiteX4" fmla="*/ 7984847 w 10987030"/>
              <a:gd name="connsiteY4" fmla="*/ 225330 h 518050"/>
              <a:gd name="connsiteX5" fmla="*/ 10140488 w 10987030"/>
              <a:gd name="connsiteY5" fmla="*/ 72216 h 518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987030" h="518050">
                <a:moveTo>
                  <a:pt x="10987030" y="0"/>
                </a:moveTo>
                <a:lnTo>
                  <a:pt x="10987030" y="518050"/>
                </a:lnTo>
                <a:lnTo>
                  <a:pt x="0" y="518050"/>
                </a:lnTo>
                <a:lnTo>
                  <a:pt x="721075" y="511453"/>
                </a:lnTo>
                <a:cubicBezTo>
                  <a:pt x="2989849" y="481848"/>
                  <a:pt x="5436585" y="388368"/>
                  <a:pt x="7984847" y="225330"/>
                </a:cubicBezTo>
                <a:cubicBezTo>
                  <a:pt x="8712922" y="178748"/>
                  <a:pt x="9432053" y="127590"/>
                  <a:pt x="10140488" y="72216"/>
                </a:cubicBezTo>
                <a:close/>
              </a:path>
            </a:pathLst>
          </a:custGeom>
          <a:solidFill>
            <a:schemeClr val="accent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zh-CN" altLang="en-US"/>
          </a:p>
        </p:txBody>
      </p:sp>
    </p:spTree>
    <p:extLst>
      <p:ext uri="{BB962C8B-B14F-4D97-AF65-F5344CB8AC3E}">
        <p14:creationId xmlns:p14="http://schemas.microsoft.com/office/powerpoint/2010/main" val="687553173"/>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1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矩形 2">
            <a:extLst>
              <a:ext uri="{FF2B5EF4-FFF2-40B4-BE49-F238E27FC236}">
                <a16:creationId xmlns:a16="http://schemas.microsoft.com/office/drawing/2014/main" id="{FB0A73A6-25DC-C745-9F7A-4A9AA90DA9E2}"/>
              </a:ext>
            </a:extLst>
          </p:cNvPr>
          <p:cNvSpPr/>
          <p:nvPr/>
        </p:nvSpPr>
        <p:spPr>
          <a:xfrm>
            <a:off x="0" y="0"/>
            <a:ext cx="12192000" cy="742950"/>
          </a:xfrm>
          <a:prstGeom prst="rect">
            <a:avLst/>
          </a:prstGeom>
          <a:solidFill>
            <a:schemeClr val="accent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4" name="矩形 3">
            <a:extLst>
              <a:ext uri="{FF2B5EF4-FFF2-40B4-BE49-F238E27FC236}">
                <a16:creationId xmlns:a16="http://schemas.microsoft.com/office/drawing/2014/main" id="{B9C8BA1B-1BF6-E749-BB1B-9591BBB7EF42}"/>
              </a:ext>
            </a:extLst>
          </p:cNvPr>
          <p:cNvSpPr/>
          <p:nvPr/>
        </p:nvSpPr>
        <p:spPr>
          <a:xfrm>
            <a:off x="371475" y="0"/>
            <a:ext cx="723900" cy="838200"/>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zh-CN" sz="3600" dirty="0">
                <a:latin typeface="Alibaba PuHuiTi R" pitchFamily="18" charset="-122"/>
                <a:ea typeface="Alibaba PuHuiTi R" pitchFamily="18" charset="-122"/>
                <a:cs typeface="Alibaba PuHuiTi R" pitchFamily="18" charset="-122"/>
              </a:rPr>
              <a:t>01</a:t>
            </a:r>
            <a:endParaRPr kumimoji="1" lang="zh-CN" altLang="en-US" sz="3600" dirty="0">
              <a:latin typeface="Alibaba PuHuiTi R" pitchFamily="18" charset="-122"/>
              <a:ea typeface="Alibaba PuHuiTi R" pitchFamily="18" charset="-122"/>
              <a:cs typeface="Alibaba PuHuiTi R" pitchFamily="18" charset="-122"/>
            </a:endParaRPr>
          </a:p>
        </p:txBody>
      </p:sp>
      <p:sp>
        <p:nvSpPr>
          <p:cNvPr id="5" name="直角三角形 4">
            <a:extLst>
              <a:ext uri="{FF2B5EF4-FFF2-40B4-BE49-F238E27FC236}">
                <a16:creationId xmlns:a16="http://schemas.microsoft.com/office/drawing/2014/main" id="{AFA62D4A-0074-D44F-A847-37847238FDE7}"/>
              </a:ext>
            </a:extLst>
          </p:cNvPr>
          <p:cNvSpPr/>
          <p:nvPr/>
        </p:nvSpPr>
        <p:spPr>
          <a:xfrm rot="10800000" flipH="1">
            <a:off x="1095375" y="742950"/>
            <a:ext cx="103161" cy="95250"/>
          </a:xfrm>
          <a:prstGeom prst="rtTriangl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1" name="文本框 10">
            <a:extLst>
              <a:ext uri="{FF2B5EF4-FFF2-40B4-BE49-F238E27FC236}">
                <a16:creationId xmlns:a16="http://schemas.microsoft.com/office/drawing/2014/main" id="{E8D7B3E5-C0B8-AD4F-B7E2-32577734E029}"/>
              </a:ext>
            </a:extLst>
          </p:cNvPr>
          <p:cNvSpPr txBox="1"/>
          <p:nvPr/>
        </p:nvSpPr>
        <p:spPr>
          <a:xfrm>
            <a:off x="1198536" y="127994"/>
            <a:ext cx="3416320" cy="523220"/>
          </a:xfrm>
          <a:prstGeom prst="rect">
            <a:avLst/>
          </a:prstGeom>
          <a:noFill/>
        </p:spPr>
        <p:txBody>
          <a:bodyPr wrap="none" rtlCol="0">
            <a:spAutoFit/>
          </a:bodyPr>
          <a:lstStyle/>
          <a:p>
            <a:r>
              <a:rPr kumimoji="1" lang="zh-CN" altLang="en-US" sz="2800" b="1" dirty="0">
                <a:solidFill>
                  <a:schemeClr val="bg1"/>
                </a:solidFill>
                <a:latin typeface="Microsoft YaHei" panose="020B0503020204020204" pitchFamily="34" charset="-122"/>
                <a:ea typeface="Microsoft YaHei" panose="020B0503020204020204" pitchFamily="34" charset="-122"/>
              </a:rPr>
              <a:t>在这里输入你的标题</a:t>
            </a:r>
          </a:p>
        </p:txBody>
      </p:sp>
      <p:cxnSp>
        <p:nvCxnSpPr>
          <p:cNvPr id="7" name="直线连接符 6">
            <a:extLst>
              <a:ext uri="{FF2B5EF4-FFF2-40B4-BE49-F238E27FC236}">
                <a16:creationId xmlns:a16="http://schemas.microsoft.com/office/drawing/2014/main" id="{581D7B25-3A28-C34E-9D65-F87080777124}"/>
              </a:ext>
            </a:extLst>
          </p:cNvPr>
          <p:cNvCxnSpPr/>
          <p:nvPr/>
        </p:nvCxnSpPr>
        <p:spPr>
          <a:xfrm>
            <a:off x="0" y="6774426"/>
            <a:ext cx="12192000" cy="0"/>
          </a:xfrm>
          <a:prstGeom prst="line">
            <a:avLst/>
          </a:prstGeom>
          <a:ln w="190500" cmpd="thinThick">
            <a:solidFill>
              <a:schemeClr val="accent1">
                <a:lumMod val="10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22939292"/>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1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任意多边形: 形状 5">
            <a:extLst>
              <a:ext uri="{FF2B5EF4-FFF2-40B4-BE49-F238E27FC236}">
                <a16:creationId xmlns:a16="http://schemas.microsoft.com/office/drawing/2014/main" id="{7AC41658-6729-41C2-A99A-C469CE604361}"/>
              </a:ext>
            </a:extLst>
          </p:cNvPr>
          <p:cNvSpPr/>
          <p:nvPr/>
        </p:nvSpPr>
        <p:spPr>
          <a:xfrm flipV="1">
            <a:off x="1" y="552449"/>
            <a:ext cx="4181475" cy="514350"/>
          </a:xfrm>
          <a:custGeom>
            <a:avLst/>
            <a:gdLst>
              <a:gd name="connsiteX0" fmla="*/ 0 w 4181475"/>
              <a:gd name="connsiteY0" fmla="*/ 514350 h 514350"/>
              <a:gd name="connsiteX1" fmla="*/ 4181475 w 4181475"/>
              <a:gd name="connsiteY1" fmla="*/ 514350 h 514350"/>
              <a:gd name="connsiteX2" fmla="*/ 4052888 w 4181475"/>
              <a:gd name="connsiteY2" fmla="*/ 0 h 514350"/>
              <a:gd name="connsiteX3" fmla="*/ 0 w 4181475"/>
              <a:gd name="connsiteY3" fmla="*/ 0 h 514350"/>
            </a:gdLst>
            <a:ahLst/>
            <a:cxnLst>
              <a:cxn ang="0">
                <a:pos x="connsiteX0" y="connsiteY0"/>
              </a:cxn>
              <a:cxn ang="0">
                <a:pos x="connsiteX1" y="connsiteY1"/>
              </a:cxn>
              <a:cxn ang="0">
                <a:pos x="connsiteX2" y="connsiteY2"/>
              </a:cxn>
              <a:cxn ang="0">
                <a:pos x="connsiteX3" y="connsiteY3"/>
              </a:cxn>
            </a:cxnLst>
            <a:rect l="l" t="t" r="r" b="b"/>
            <a:pathLst>
              <a:path w="4181475" h="514350">
                <a:moveTo>
                  <a:pt x="0" y="514350"/>
                </a:moveTo>
                <a:lnTo>
                  <a:pt x="4181475" y="514350"/>
                </a:lnTo>
                <a:lnTo>
                  <a:pt x="4052888" y="0"/>
                </a:lnTo>
                <a:lnTo>
                  <a:pt x="0" y="0"/>
                </a:lnTo>
                <a:close/>
              </a:path>
            </a:pathLst>
          </a:custGeom>
          <a:solidFill>
            <a:schemeClr val="accent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l"/>
            <a:endParaRPr lang="zh-CN" altLang="en-US" sz="1600">
              <a:solidFill>
                <a:schemeClr val="bg1"/>
              </a:solidFill>
              <a:latin typeface="+mj-ea"/>
              <a:ea typeface="+mj-ea"/>
            </a:endParaRPr>
          </a:p>
        </p:txBody>
      </p:sp>
      <p:sp>
        <p:nvSpPr>
          <p:cNvPr id="2" name="矩形 1">
            <a:extLst>
              <a:ext uri="{FF2B5EF4-FFF2-40B4-BE49-F238E27FC236}">
                <a16:creationId xmlns:a16="http://schemas.microsoft.com/office/drawing/2014/main" id="{A25DD588-AB24-4CAC-91E7-3A5C4E01344A}"/>
              </a:ext>
            </a:extLst>
          </p:cNvPr>
          <p:cNvSpPr/>
          <p:nvPr/>
        </p:nvSpPr>
        <p:spPr>
          <a:xfrm>
            <a:off x="0" y="0"/>
            <a:ext cx="12192000" cy="8096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3" name="文本框 2">
            <a:extLst>
              <a:ext uri="{FF2B5EF4-FFF2-40B4-BE49-F238E27FC236}">
                <a16:creationId xmlns:a16="http://schemas.microsoft.com/office/drawing/2014/main" id="{46835FD8-BEEE-4AD7-B0DD-B170F193FF28}"/>
              </a:ext>
            </a:extLst>
          </p:cNvPr>
          <p:cNvSpPr txBox="1"/>
          <p:nvPr/>
        </p:nvSpPr>
        <p:spPr>
          <a:xfrm>
            <a:off x="346832" y="143202"/>
            <a:ext cx="3416320" cy="523220"/>
          </a:xfrm>
          <a:prstGeom prst="rect">
            <a:avLst/>
          </a:prstGeom>
          <a:noFill/>
        </p:spPr>
        <p:txBody>
          <a:bodyPr wrap="none" rtlCol="0">
            <a:spAutoFit/>
          </a:bodyPr>
          <a:lstStyle/>
          <a:p>
            <a:r>
              <a:rPr kumimoji="1" lang="zh-CN" altLang="en-US" sz="2800" b="1" dirty="0">
                <a:solidFill>
                  <a:schemeClr val="bg1"/>
                </a:solidFill>
                <a:latin typeface="Microsoft YaHei" panose="020B0503020204020204" pitchFamily="34" charset="-122"/>
                <a:ea typeface="Microsoft YaHei" panose="020B0503020204020204" pitchFamily="34" charset="-122"/>
              </a:rPr>
              <a:t>在这里输入你的标题</a:t>
            </a:r>
          </a:p>
        </p:txBody>
      </p:sp>
      <p:cxnSp>
        <p:nvCxnSpPr>
          <p:cNvPr id="8" name="直接连接符 7">
            <a:extLst>
              <a:ext uri="{FF2B5EF4-FFF2-40B4-BE49-F238E27FC236}">
                <a16:creationId xmlns:a16="http://schemas.microsoft.com/office/drawing/2014/main" id="{478F7095-3B51-4A97-BEB4-ECF30180F073}"/>
              </a:ext>
            </a:extLst>
          </p:cNvPr>
          <p:cNvCxnSpPr/>
          <p:nvPr/>
        </p:nvCxnSpPr>
        <p:spPr>
          <a:xfrm>
            <a:off x="0" y="6677025"/>
            <a:ext cx="107823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1" name="任意多边形: 形状 10">
            <a:extLst>
              <a:ext uri="{FF2B5EF4-FFF2-40B4-BE49-F238E27FC236}">
                <a16:creationId xmlns:a16="http://schemas.microsoft.com/office/drawing/2014/main" id="{854036A9-031A-4579-BF02-F335A28174D1}"/>
              </a:ext>
            </a:extLst>
          </p:cNvPr>
          <p:cNvSpPr/>
          <p:nvPr/>
        </p:nvSpPr>
        <p:spPr>
          <a:xfrm>
            <a:off x="10710864" y="6577014"/>
            <a:ext cx="1481137" cy="109536"/>
          </a:xfrm>
          <a:custGeom>
            <a:avLst/>
            <a:gdLst>
              <a:gd name="connsiteX0" fmla="*/ 27384 w 1481137"/>
              <a:gd name="connsiteY0" fmla="*/ 0 h 109536"/>
              <a:gd name="connsiteX1" fmla="*/ 1481137 w 1481137"/>
              <a:gd name="connsiteY1" fmla="*/ 0 h 109536"/>
              <a:gd name="connsiteX2" fmla="*/ 1481137 w 1481137"/>
              <a:gd name="connsiteY2" fmla="*/ 109536 h 109536"/>
              <a:gd name="connsiteX3" fmla="*/ 0 w 1481137"/>
              <a:gd name="connsiteY3" fmla="*/ 109536 h 109536"/>
            </a:gdLst>
            <a:ahLst/>
            <a:cxnLst>
              <a:cxn ang="0">
                <a:pos x="connsiteX0" y="connsiteY0"/>
              </a:cxn>
              <a:cxn ang="0">
                <a:pos x="connsiteX1" y="connsiteY1"/>
              </a:cxn>
              <a:cxn ang="0">
                <a:pos x="connsiteX2" y="connsiteY2"/>
              </a:cxn>
              <a:cxn ang="0">
                <a:pos x="connsiteX3" y="connsiteY3"/>
              </a:cxn>
            </a:cxnLst>
            <a:rect l="l" t="t" r="r" b="b"/>
            <a:pathLst>
              <a:path w="1481137" h="109536">
                <a:moveTo>
                  <a:pt x="27384" y="0"/>
                </a:moveTo>
                <a:lnTo>
                  <a:pt x="1481137" y="0"/>
                </a:lnTo>
                <a:lnTo>
                  <a:pt x="1481137" y="109536"/>
                </a:lnTo>
                <a:lnTo>
                  <a:pt x="0" y="109536"/>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l"/>
            <a:endParaRPr lang="zh-CN" altLang="en-US" sz="1600">
              <a:solidFill>
                <a:schemeClr val="bg1"/>
              </a:solidFill>
              <a:latin typeface="+mj-ea"/>
              <a:ea typeface="+mj-ea"/>
            </a:endParaRPr>
          </a:p>
        </p:txBody>
      </p:sp>
    </p:spTree>
    <p:extLst>
      <p:ext uri="{BB962C8B-B14F-4D97-AF65-F5344CB8AC3E}">
        <p14:creationId xmlns:p14="http://schemas.microsoft.com/office/powerpoint/2010/main" val="3518879797"/>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1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同心圆 1">
            <a:extLst>
              <a:ext uri="{FF2B5EF4-FFF2-40B4-BE49-F238E27FC236}">
                <a16:creationId xmlns:a16="http://schemas.microsoft.com/office/drawing/2014/main" id="{50DE7F7B-DEAE-6249-9CB1-52D8ECE3C9A5}"/>
              </a:ext>
            </a:extLst>
          </p:cNvPr>
          <p:cNvSpPr/>
          <p:nvPr/>
        </p:nvSpPr>
        <p:spPr>
          <a:xfrm>
            <a:off x="393290" y="314633"/>
            <a:ext cx="481781" cy="481781"/>
          </a:xfrm>
          <a:prstGeom prst="donut">
            <a:avLst/>
          </a:prstGeom>
          <a:solidFill>
            <a:schemeClr val="accent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solidFill>
                <a:schemeClr val="tx1"/>
              </a:solidFill>
            </a:endParaRPr>
          </a:p>
        </p:txBody>
      </p:sp>
      <p:cxnSp>
        <p:nvCxnSpPr>
          <p:cNvPr id="8" name="直线连接符 7">
            <a:extLst>
              <a:ext uri="{FF2B5EF4-FFF2-40B4-BE49-F238E27FC236}">
                <a16:creationId xmlns:a16="http://schemas.microsoft.com/office/drawing/2014/main" id="{F23FE225-B122-3043-8B22-4802B773A8E0}"/>
              </a:ext>
            </a:extLst>
          </p:cNvPr>
          <p:cNvCxnSpPr>
            <a:cxnSpLocks/>
          </p:cNvCxnSpPr>
          <p:nvPr/>
        </p:nvCxnSpPr>
        <p:spPr>
          <a:xfrm>
            <a:off x="612058" y="776445"/>
            <a:ext cx="10967884" cy="9831"/>
          </a:xfrm>
          <a:prstGeom prst="line">
            <a:avLst/>
          </a:prstGeom>
          <a:ln w="28575">
            <a:solidFill>
              <a:schemeClr val="accent1">
                <a:lumMod val="100000"/>
              </a:schemeClr>
            </a:solidFill>
          </a:ln>
        </p:spPr>
        <p:style>
          <a:lnRef idx="1">
            <a:schemeClr val="accent1"/>
          </a:lnRef>
          <a:fillRef idx="0">
            <a:schemeClr val="accent1"/>
          </a:fillRef>
          <a:effectRef idx="0">
            <a:schemeClr val="accent1"/>
          </a:effectRef>
          <a:fontRef idx="minor">
            <a:schemeClr val="tx1"/>
          </a:fontRef>
        </p:style>
      </p:cxnSp>
      <p:sp>
        <p:nvSpPr>
          <p:cNvPr id="10" name="文本框 9">
            <a:extLst>
              <a:ext uri="{FF2B5EF4-FFF2-40B4-BE49-F238E27FC236}">
                <a16:creationId xmlns:a16="http://schemas.microsoft.com/office/drawing/2014/main" id="{DD478800-9E88-5F4F-872B-22F70191E2C7}"/>
              </a:ext>
            </a:extLst>
          </p:cNvPr>
          <p:cNvSpPr txBox="1"/>
          <p:nvPr/>
        </p:nvSpPr>
        <p:spPr>
          <a:xfrm>
            <a:off x="953003" y="253225"/>
            <a:ext cx="3416320" cy="523220"/>
          </a:xfrm>
          <a:prstGeom prst="rect">
            <a:avLst/>
          </a:prstGeom>
          <a:noFill/>
        </p:spPr>
        <p:txBody>
          <a:bodyPr wrap="none" rtlCol="0">
            <a:spAutoFit/>
          </a:bodyPr>
          <a:lstStyle/>
          <a:p>
            <a:r>
              <a:rPr kumimoji="1" lang="zh-CN" altLang="en-US" sz="2800" b="1" dirty="0">
                <a:solidFill>
                  <a:schemeClr val="accent1">
                    <a:lumMod val="100000"/>
                  </a:schemeClr>
                </a:solidFill>
                <a:latin typeface="Microsoft YaHei" panose="020B0503020204020204" pitchFamily="34" charset="-122"/>
                <a:ea typeface="Microsoft YaHei" panose="020B0503020204020204" pitchFamily="34" charset="-122"/>
              </a:rPr>
              <a:t>在这里输入你的标题</a:t>
            </a:r>
          </a:p>
        </p:txBody>
      </p:sp>
      <p:sp>
        <p:nvSpPr>
          <p:cNvPr id="13" name="任意形状 12">
            <a:extLst>
              <a:ext uri="{FF2B5EF4-FFF2-40B4-BE49-F238E27FC236}">
                <a16:creationId xmlns:a16="http://schemas.microsoft.com/office/drawing/2014/main" id="{40775319-06FD-CF47-9B1A-C84C6DB5FBC6}"/>
              </a:ext>
            </a:extLst>
          </p:cNvPr>
          <p:cNvSpPr/>
          <p:nvPr/>
        </p:nvSpPr>
        <p:spPr>
          <a:xfrm>
            <a:off x="0" y="6464698"/>
            <a:ext cx="12192000" cy="393302"/>
          </a:xfrm>
          <a:custGeom>
            <a:avLst/>
            <a:gdLst>
              <a:gd name="connsiteX0" fmla="*/ 12192000 w 12192000"/>
              <a:gd name="connsiteY0" fmla="*/ 0 h 909447"/>
              <a:gd name="connsiteX1" fmla="*/ 12192000 w 12192000"/>
              <a:gd name="connsiteY1" fmla="*/ 909447 h 909447"/>
              <a:gd name="connsiteX2" fmla="*/ 0 w 12192000"/>
              <a:gd name="connsiteY2" fmla="*/ 909447 h 909447"/>
              <a:gd name="connsiteX3" fmla="*/ 0 w 12192000"/>
              <a:gd name="connsiteY3" fmla="*/ 401788 h 909447"/>
              <a:gd name="connsiteX4" fmla="*/ 271475 w 12192000"/>
              <a:gd name="connsiteY4" fmla="*/ 389839 h 909447"/>
              <a:gd name="connsiteX5" fmla="*/ 8190271 w 12192000"/>
              <a:gd name="connsiteY5" fmla="*/ 639060 h 909447"/>
              <a:gd name="connsiteX6" fmla="*/ 12049480 w 12192000"/>
              <a:gd name="connsiteY6" fmla="*/ 34242 h 909447"/>
              <a:gd name="connsiteX0" fmla="*/ 12192000 w 12192000"/>
              <a:gd name="connsiteY0" fmla="*/ 0 h 909447"/>
              <a:gd name="connsiteX1" fmla="*/ 12192000 w 12192000"/>
              <a:gd name="connsiteY1" fmla="*/ 909447 h 909447"/>
              <a:gd name="connsiteX2" fmla="*/ 0 w 12192000"/>
              <a:gd name="connsiteY2" fmla="*/ 909447 h 909447"/>
              <a:gd name="connsiteX3" fmla="*/ 0 w 12192000"/>
              <a:gd name="connsiteY3" fmla="*/ 401788 h 909447"/>
              <a:gd name="connsiteX4" fmla="*/ 8190271 w 12192000"/>
              <a:gd name="connsiteY4" fmla="*/ 639060 h 909447"/>
              <a:gd name="connsiteX5" fmla="*/ 12049480 w 12192000"/>
              <a:gd name="connsiteY5" fmla="*/ 34242 h 909447"/>
              <a:gd name="connsiteX6" fmla="*/ 12192000 w 12192000"/>
              <a:gd name="connsiteY6" fmla="*/ 0 h 909447"/>
              <a:gd name="connsiteX0" fmla="*/ 12192000 w 12192000"/>
              <a:gd name="connsiteY0" fmla="*/ 0 h 909447"/>
              <a:gd name="connsiteX1" fmla="*/ 12192000 w 12192000"/>
              <a:gd name="connsiteY1" fmla="*/ 909447 h 909447"/>
              <a:gd name="connsiteX2" fmla="*/ 0 w 12192000"/>
              <a:gd name="connsiteY2" fmla="*/ 909447 h 909447"/>
              <a:gd name="connsiteX3" fmla="*/ 0 w 12192000"/>
              <a:gd name="connsiteY3" fmla="*/ 401788 h 909447"/>
              <a:gd name="connsiteX4" fmla="*/ 12049480 w 12192000"/>
              <a:gd name="connsiteY4" fmla="*/ 34242 h 909447"/>
              <a:gd name="connsiteX5" fmla="*/ 12192000 w 12192000"/>
              <a:gd name="connsiteY5" fmla="*/ 0 h 909447"/>
              <a:gd name="connsiteX0" fmla="*/ 12192000 w 12192000"/>
              <a:gd name="connsiteY0" fmla="*/ 0 h 909447"/>
              <a:gd name="connsiteX1" fmla="*/ 12192000 w 12192000"/>
              <a:gd name="connsiteY1" fmla="*/ 909447 h 909447"/>
              <a:gd name="connsiteX2" fmla="*/ 0 w 12192000"/>
              <a:gd name="connsiteY2" fmla="*/ 909447 h 909447"/>
              <a:gd name="connsiteX3" fmla="*/ 0 w 12192000"/>
              <a:gd name="connsiteY3" fmla="*/ 401788 h 909447"/>
              <a:gd name="connsiteX4" fmla="*/ 12192000 w 12192000"/>
              <a:gd name="connsiteY4" fmla="*/ 0 h 909447"/>
              <a:gd name="connsiteX0" fmla="*/ 12192000 w 12192000"/>
              <a:gd name="connsiteY0" fmla="*/ 0 h 909447"/>
              <a:gd name="connsiteX1" fmla="*/ 12192000 w 12192000"/>
              <a:gd name="connsiteY1" fmla="*/ 909447 h 909447"/>
              <a:gd name="connsiteX2" fmla="*/ 0 w 12192000"/>
              <a:gd name="connsiteY2" fmla="*/ 909447 h 909447"/>
              <a:gd name="connsiteX3" fmla="*/ 0 w 12192000"/>
              <a:gd name="connsiteY3" fmla="*/ 401788 h 909447"/>
              <a:gd name="connsiteX4" fmla="*/ 12192000 w 12192000"/>
              <a:gd name="connsiteY4" fmla="*/ 0 h 909447"/>
              <a:gd name="connsiteX0" fmla="*/ 12192000 w 12192000"/>
              <a:gd name="connsiteY0" fmla="*/ 0 h 909447"/>
              <a:gd name="connsiteX1" fmla="*/ 12192000 w 12192000"/>
              <a:gd name="connsiteY1" fmla="*/ 909447 h 909447"/>
              <a:gd name="connsiteX2" fmla="*/ 0 w 12192000"/>
              <a:gd name="connsiteY2" fmla="*/ 909447 h 909447"/>
              <a:gd name="connsiteX3" fmla="*/ 0 w 12192000"/>
              <a:gd name="connsiteY3" fmla="*/ 401788 h 909447"/>
              <a:gd name="connsiteX4" fmla="*/ 12192000 w 12192000"/>
              <a:gd name="connsiteY4" fmla="*/ 0 h 9094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909447">
                <a:moveTo>
                  <a:pt x="12192000" y="0"/>
                </a:moveTo>
                <a:lnTo>
                  <a:pt x="12192000" y="909447"/>
                </a:lnTo>
                <a:lnTo>
                  <a:pt x="0" y="909447"/>
                </a:lnTo>
                <a:lnTo>
                  <a:pt x="0" y="401788"/>
                </a:lnTo>
                <a:cubicBezTo>
                  <a:pt x="2540000" y="700478"/>
                  <a:pt x="6289368" y="812355"/>
                  <a:pt x="12192000" y="0"/>
                </a:cubicBezTo>
                <a:close/>
              </a:path>
            </a:pathLst>
          </a:custGeom>
          <a:solidFill>
            <a:schemeClr val="accent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zh-CN" altLang="en-US"/>
          </a:p>
        </p:txBody>
      </p:sp>
    </p:spTree>
    <p:extLst>
      <p:ext uri="{BB962C8B-B14F-4D97-AF65-F5344CB8AC3E}">
        <p14:creationId xmlns:p14="http://schemas.microsoft.com/office/powerpoint/2010/main" val="3501862396"/>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1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文本框 3">
            <a:extLst>
              <a:ext uri="{FF2B5EF4-FFF2-40B4-BE49-F238E27FC236}">
                <a16:creationId xmlns:a16="http://schemas.microsoft.com/office/drawing/2014/main" id="{16BE6F25-E0C5-4F9F-BA55-7FE19CF4E5C9}"/>
              </a:ext>
            </a:extLst>
          </p:cNvPr>
          <p:cNvSpPr txBox="1"/>
          <p:nvPr/>
        </p:nvSpPr>
        <p:spPr>
          <a:xfrm>
            <a:off x="770123" y="168930"/>
            <a:ext cx="3416320" cy="523220"/>
          </a:xfrm>
          <a:prstGeom prst="rect">
            <a:avLst/>
          </a:prstGeom>
          <a:noFill/>
        </p:spPr>
        <p:txBody>
          <a:bodyPr wrap="none" rtlCol="0">
            <a:spAutoFit/>
          </a:bodyPr>
          <a:lstStyle/>
          <a:p>
            <a:r>
              <a:rPr kumimoji="1" lang="zh-CN" altLang="en-US" sz="2800" b="1" dirty="0">
                <a:solidFill>
                  <a:schemeClr val="accent1">
                    <a:lumMod val="100000"/>
                  </a:schemeClr>
                </a:solidFill>
                <a:latin typeface="Microsoft YaHei" panose="020B0503020204020204" pitchFamily="34" charset="-122"/>
                <a:ea typeface="Microsoft YaHei" panose="020B0503020204020204" pitchFamily="34" charset="-122"/>
              </a:rPr>
              <a:t>在这里输入你的标题</a:t>
            </a:r>
          </a:p>
        </p:txBody>
      </p:sp>
      <p:sp>
        <p:nvSpPr>
          <p:cNvPr id="7" name="任意形状 12">
            <a:extLst>
              <a:ext uri="{FF2B5EF4-FFF2-40B4-BE49-F238E27FC236}">
                <a16:creationId xmlns:a16="http://schemas.microsoft.com/office/drawing/2014/main" id="{DA7081DA-11A6-45F2-BEC3-9691DF0C8636}"/>
              </a:ext>
            </a:extLst>
          </p:cNvPr>
          <p:cNvSpPr/>
          <p:nvPr/>
        </p:nvSpPr>
        <p:spPr>
          <a:xfrm>
            <a:off x="0" y="6464698"/>
            <a:ext cx="12192000" cy="393302"/>
          </a:xfrm>
          <a:custGeom>
            <a:avLst/>
            <a:gdLst>
              <a:gd name="connsiteX0" fmla="*/ 12192000 w 12192000"/>
              <a:gd name="connsiteY0" fmla="*/ 0 h 909447"/>
              <a:gd name="connsiteX1" fmla="*/ 12192000 w 12192000"/>
              <a:gd name="connsiteY1" fmla="*/ 909447 h 909447"/>
              <a:gd name="connsiteX2" fmla="*/ 0 w 12192000"/>
              <a:gd name="connsiteY2" fmla="*/ 909447 h 909447"/>
              <a:gd name="connsiteX3" fmla="*/ 0 w 12192000"/>
              <a:gd name="connsiteY3" fmla="*/ 401788 h 909447"/>
              <a:gd name="connsiteX4" fmla="*/ 271475 w 12192000"/>
              <a:gd name="connsiteY4" fmla="*/ 389839 h 909447"/>
              <a:gd name="connsiteX5" fmla="*/ 8190271 w 12192000"/>
              <a:gd name="connsiteY5" fmla="*/ 639060 h 909447"/>
              <a:gd name="connsiteX6" fmla="*/ 12049480 w 12192000"/>
              <a:gd name="connsiteY6" fmla="*/ 34242 h 909447"/>
              <a:gd name="connsiteX0" fmla="*/ 12192000 w 12192000"/>
              <a:gd name="connsiteY0" fmla="*/ 0 h 909447"/>
              <a:gd name="connsiteX1" fmla="*/ 12192000 w 12192000"/>
              <a:gd name="connsiteY1" fmla="*/ 909447 h 909447"/>
              <a:gd name="connsiteX2" fmla="*/ 0 w 12192000"/>
              <a:gd name="connsiteY2" fmla="*/ 909447 h 909447"/>
              <a:gd name="connsiteX3" fmla="*/ 0 w 12192000"/>
              <a:gd name="connsiteY3" fmla="*/ 401788 h 909447"/>
              <a:gd name="connsiteX4" fmla="*/ 8190271 w 12192000"/>
              <a:gd name="connsiteY4" fmla="*/ 639060 h 909447"/>
              <a:gd name="connsiteX5" fmla="*/ 12049480 w 12192000"/>
              <a:gd name="connsiteY5" fmla="*/ 34242 h 909447"/>
              <a:gd name="connsiteX6" fmla="*/ 12192000 w 12192000"/>
              <a:gd name="connsiteY6" fmla="*/ 0 h 909447"/>
              <a:gd name="connsiteX0" fmla="*/ 12192000 w 12192000"/>
              <a:gd name="connsiteY0" fmla="*/ 0 h 909447"/>
              <a:gd name="connsiteX1" fmla="*/ 12192000 w 12192000"/>
              <a:gd name="connsiteY1" fmla="*/ 909447 h 909447"/>
              <a:gd name="connsiteX2" fmla="*/ 0 w 12192000"/>
              <a:gd name="connsiteY2" fmla="*/ 909447 h 909447"/>
              <a:gd name="connsiteX3" fmla="*/ 0 w 12192000"/>
              <a:gd name="connsiteY3" fmla="*/ 401788 h 909447"/>
              <a:gd name="connsiteX4" fmla="*/ 12049480 w 12192000"/>
              <a:gd name="connsiteY4" fmla="*/ 34242 h 909447"/>
              <a:gd name="connsiteX5" fmla="*/ 12192000 w 12192000"/>
              <a:gd name="connsiteY5" fmla="*/ 0 h 909447"/>
              <a:gd name="connsiteX0" fmla="*/ 12192000 w 12192000"/>
              <a:gd name="connsiteY0" fmla="*/ 0 h 909447"/>
              <a:gd name="connsiteX1" fmla="*/ 12192000 w 12192000"/>
              <a:gd name="connsiteY1" fmla="*/ 909447 h 909447"/>
              <a:gd name="connsiteX2" fmla="*/ 0 w 12192000"/>
              <a:gd name="connsiteY2" fmla="*/ 909447 h 909447"/>
              <a:gd name="connsiteX3" fmla="*/ 0 w 12192000"/>
              <a:gd name="connsiteY3" fmla="*/ 401788 h 909447"/>
              <a:gd name="connsiteX4" fmla="*/ 12192000 w 12192000"/>
              <a:gd name="connsiteY4" fmla="*/ 0 h 909447"/>
              <a:gd name="connsiteX0" fmla="*/ 12192000 w 12192000"/>
              <a:gd name="connsiteY0" fmla="*/ 0 h 909447"/>
              <a:gd name="connsiteX1" fmla="*/ 12192000 w 12192000"/>
              <a:gd name="connsiteY1" fmla="*/ 909447 h 909447"/>
              <a:gd name="connsiteX2" fmla="*/ 0 w 12192000"/>
              <a:gd name="connsiteY2" fmla="*/ 909447 h 909447"/>
              <a:gd name="connsiteX3" fmla="*/ 0 w 12192000"/>
              <a:gd name="connsiteY3" fmla="*/ 401788 h 909447"/>
              <a:gd name="connsiteX4" fmla="*/ 12192000 w 12192000"/>
              <a:gd name="connsiteY4" fmla="*/ 0 h 909447"/>
              <a:gd name="connsiteX0" fmla="*/ 12192000 w 12192000"/>
              <a:gd name="connsiteY0" fmla="*/ 0 h 909447"/>
              <a:gd name="connsiteX1" fmla="*/ 12192000 w 12192000"/>
              <a:gd name="connsiteY1" fmla="*/ 909447 h 909447"/>
              <a:gd name="connsiteX2" fmla="*/ 0 w 12192000"/>
              <a:gd name="connsiteY2" fmla="*/ 909447 h 909447"/>
              <a:gd name="connsiteX3" fmla="*/ 0 w 12192000"/>
              <a:gd name="connsiteY3" fmla="*/ 401788 h 909447"/>
              <a:gd name="connsiteX4" fmla="*/ 12192000 w 12192000"/>
              <a:gd name="connsiteY4" fmla="*/ 0 h 9094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909447">
                <a:moveTo>
                  <a:pt x="12192000" y="0"/>
                </a:moveTo>
                <a:lnTo>
                  <a:pt x="12192000" y="909447"/>
                </a:lnTo>
                <a:lnTo>
                  <a:pt x="0" y="909447"/>
                </a:lnTo>
                <a:lnTo>
                  <a:pt x="0" y="401788"/>
                </a:lnTo>
                <a:cubicBezTo>
                  <a:pt x="2540000" y="700478"/>
                  <a:pt x="6289368" y="812355"/>
                  <a:pt x="12192000" y="0"/>
                </a:cubicBezTo>
                <a:close/>
              </a:path>
            </a:pathLst>
          </a:custGeom>
          <a:solidFill>
            <a:schemeClr val="accent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zh-CN" altLang="en-US"/>
          </a:p>
        </p:txBody>
      </p:sp>
    </p:spTree>
    <p:extLst>
      <p:ext uri="{BB962C8B-B14F-4D97-AF65-F5344CB8AC3E}">
        <p14:creationId xmlns:p14="http://schemas.microsoft.com/office/powerpoint/2010/main" val="896445655"/>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1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椭圆 4">
            <a:extLst>
              <a:ext uri="{FF2B5EF4-FFF2-40B4-BE49-F238E27FC236}">
                <a16:creationId xmlns:a16="http://schemas.microsoft.com/office/drawing/2014/main" id="{8D945702-3D11-4A41-981F-ED880009D470}"/>
              </a:ext>
            </a:extLst>
          </p:cNvPr>
          <p:cNvSpPr/>
          <p:nvPr/>
        </p:nvSpPr>
        <p:spPr>
          <a:xfrm>
            <a:off x="606891" y="383054"/>
            <a:ext cx="223837" cy="22383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6" name="文本框 5">
            <a:extLst>
              <a:ext uri="{FF2B5EF4-FFF2-40B4-BE49-F238E27FC236}">
                <a16:creationId xmlns:a16="http://schemas.microsoft.com/office/drawing/2014/main" id="{AB693482-F16E-4A60-AB8B-C80DED6CF35E}"/>
              </a:ext>
            </a:extLst>
          </p:cNvPr>
          <p:cNvSpPr txBox="1"/>
          <p:nvPr/>
        </p:nvSpPr>
        <p:spPr>
          <a:xfrm>
            <a:off x="830728" y="233363"/>
            <a:ext cx="3416320" cy="523220"/>
          </a:xfrm>
          <a:prstGeom prst="rect">
            <a:avLst/>
          </a:prstGeom>
          <a:noFill/>
        </p:spPr>
        <p:txBody>
          <a:bodyPr wrap="none" rtlCol="0">
            <a:spAutoFit/>
          </a:bodyPr>
          <a:lstStyle/>
          <a:p>
            <a:r>
              <a:rPr kumimoji="1" lang="zh-CN" altLang="en-US" sz="2800" b="1" dirty="0">
                <a:solidFill>
                  <a:schemeClr val="accent1">
                    <a:lumMod val="100000"/>
                  </a:schemeClr>
                </a:solidFill>
                <a:latin typeface="Microsoft YaHei" panose="020B0503020204020204" pitchFamily="34" charset="-122"/>
                <a:ea typeface="Microsoft YaHei" panose="020B0503020204020204" pitchFamily="34" charset="-122"/>
              </a:rPr>
              <a:t>在这里输入你的标题</a:t>
            </a:r>
          </a:p>
        </p:txBody>
      </p:sp>
    </p:spTree>
    <p:extLst>
      <p:ext uri="{BB962C8B-B14F-4D97-AF65-F5344CB8AC3E}">
        <p14:creationId xmlns:p14="http://schemas.microsoft.com/office/powerpoint/2010/main" val="4099469030"/>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1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椭圆 2">
            <a:extLst>
              <a:ext uri="{FF2B5EF4-FFF2-40B4-BE49-F238E27FC236}">
                <a16:creationId xmlns:a16="http://schemas.microsoft.com/office/drawing/2014/main" id="{56E76FAB-AA97-4187-A14C-CE5F7C7DB6FC}"/>
              </a:ext>
            </a:extLst>
          </p:cNvPr>
          <p:cNvSpPr/>
          <p:nvPr/>
        </p:nvSpPr>
        <p:spPr>
          <a:xfrm>
            <a:off x="657225" y="161925"/>
            <a:ext cx="1066800" cy="1066800"/>
          </a:xfrm>
          <a:prstGeom prst="ellipse">
            <a:avLst/>
          </a:prstGeom>
          <a:solidFill>
            <a:schemeClr val="accent1"/>
          </a:solidFill>
          <a:ln w="635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800" dirty="0">
                <a:solidFill>
                  <a:schemeClr val="bg1"/>
                </a:solidFill>
                <a:latin typeface="+mj-ea"/>
                <a:ea typeface="+mj-ea"/>
              </a:rPr>
              <a:t>01</a:t>
            </a:r>
            <a:endParaRPr lang="zh-CN" altLang="en-US" sz="2800" dirty="0">
              <a:solidFill>
                <a:schemeClr val="bg1"/>
              </a:solidFill>
              <a:latin typeface="+mj-ea"/>
              <a:ea typeface="+mj-ea"/>
            </a:endParaRPr>
          </a:p>
        </p:txBody>
      </p:sp>
      <p:sp>
        <p:nvSpPr>
          <p:cNvPr id="4" name="文本框 3">
            <a:extLst>
              <a:ext uri="{FF2B5EF4-FFF2-40B4-BE49-F238E27FC236}">
                <a16:creationId xmlns:a16="http://schemas.microsoft.com/office/drawing/2014/main" id="{8948214C-9277-4662-AC79-49009D1DA8BA}"/>
              </a:ext>
            </a:extLst>
          </p:cNvPr>
          <p:cNvSpPr txBox="1"/>
          <p:nvPr/>
        </p:nvSpPr>
        <p:spPr>
          <a:xfrm>
            <a:off x="1804157" y="421914"/>
            <a:ext cx="3416320" cy="523220"/>
          </a:xfrm>
          <a:prstGeom prst="rect">
            <a:avLst/>
          </a:prstGeom>
          <a:noFill/>
        </p:spPr>
        <p:txBody>
          <a:bodyPr wrap="none" rtlCol="0">
            <a:spAutoFit/>
          </a:bodyPr>
          <a:lstStyle/>
          <a:p>
            <a:r>
              <a:rPr kumimoji="1" lang="zh-CN" altLang="en-US" sz="2800" b="1" dirty="0">
                <a:solidFill>
                  <a:schemeClr val="bg1"/>
                </a:solidFill>
                <a:latin typeface="Microsoft YaHei" panose="020B0503020204020204" pitchFamily="34" charset="-122"/>
                <a:ea typeface="Microsoft YaHei" panose="020B0503020204020204" pitchFamily="34" charset="-122"/>
              </a:rPr>
              <a:t>在这里输入你的标题</a:t>
            </a:r>
          </a:p>
        </p:txBody>
      </p:sp>
      <p:sp>
        <p:nvSpPr>
          <p:cNvPr id="14" name="任意多边形: 形状 13">
            <a:extLst>
              <a:ext uri="{FF2B5EF4-FFF2-40B4-BE49-F238E27FC236}">
                <a16:creationId xmlns:a16="http://schemas.microsoft.com/office/drawing/2014/main" id="{C1918A14-D82D-4B07-AE4C-1C796F235923}"/>
              </a:ext>
            </a:extLst>
          </p:cNvPr>
          <p:cNvSpPr/>
          <p:nvPr/>
        </p:nvSpPr>
        <p:spPr>
          <a:xfrm rot="10800000">
            <a:off x="10507657" y="438149"/>
            <a:ext cx="1684343" cy="728663"/>
          </a:xfrm>
          <a:custGeom>
            <a:avLst/>
            <a:gdLst>
              <a:gd name="connsiteX0" fmla="*/ 1504058 w 1684343"/>
              <a:gd name="connsiteY0" fmla="*/ 728663 h 728663"/>
              <a:gd name="connsiteX1" fmla="*/ 0 w 1684343"/>
              <a:gd name="connsiteY1" fmla="*/ 728663 h 728663"/>
              <a:gd name="connsiteX2" fmla="*/ 0 w 1684343"/>
              <a:gd name="connsiteY2" fmla="*/ 0 h 728663"/>
              <a:gd name="connsiteX3" fmla="*/ 1267317 w 1684343"/>
              <a:gd name="connsiteY3" fmla="*/ 0 h 728663"/>
              <a:gd name="connsiteX4" fmla="*/ 1418778 w 1684343"/>
              <a:gd name="connsiteY4" fmla="*/ 82738 h 728663"/>
              <a:gd name="connsiteX5" fmla="*/ 1655518 w 1684343"/>
              <a:gd name="connsiteY5" fmla="*/ 451402 h 728663"/>
              <a:gd name="connsiteX6" fmla="*/ 1504058 w 1684343"/>
              <a:gd name="connsiteY6" fmla="*/ 728663 h 7286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4343" h="728663">
                <a:moveTo>
                  <a:pt x="1504058" y="728663"/>
                </a:moveTo>
                <a:lnTo>
                  <a:pt x="0" y="728663"/>
                </a:lnTo>
                <a:lnTo>
                  <a:pt x="0" y="0"/>
                </a:lnTo>
                <a:lnTo>
                  <a:pt x="1267317" y="0"/>
                </a:lnTo>
                <a:cubicBezTo>
                  <a:pt x="1328576" y="0"/>
                  <a:pt x="1385677" y="31192"/>
                  <a:pt x="1418778" y="82738"/>
                </a:cubicBezTo>
                <a:lnTo>
                  <a:pt x="1655518" y="451402"/>
                </a:lnTo>
                <a:cubicBezTo>
                  <a:pt x="1732434" y="571179"/>
                  <a:pt x="1646404" y="728663"/>
                  <a:pt x="1504058" y="728663"/>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zh-CN" altLang="en-US" sz="1600">
              <a:solidFill>
                <a:schemeClr val="bg1"/>
              </a:solidFill>
              <a:latin typeface="+mj-ea"/>
              <a:ea typeface="+mj-ea"/>
            </a:endParaRPr>
          </a:p>
        </p:txBody>
      </p:sp>
    </p:spTree>
    <p:extLst>
      <p:ext uri="{BB962C8B-B14F-4D97-AF65-F5344CB8AC3E}">
        <p14:creationId xmlns:p14="http://schemas.microsoft.com/office/powerpoint/2010/main" val="3682819229"/>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1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平行四边形 1">
            <a:extLst>
              <a:ext uri="{FF2B5EF4-FFF2-40B4-BE49-F238E27FC236}">
                <a16:creationId xmlns:a16="http://schemas.microsoft.com/office/drawing/2014/main" id="{4594F764-9442-48ED-B91A-C2F79F9430A7}"/>
              </a:ext>
            </a:extLst>
          </p:cNvPr>
          <p:cNvSpPr/>
          <p:nvPr/>
        </p:nvSpPr>
        <p:spPr>
          <a:xfrm>
            <a:off x="431800" y="234950"/>
            <a:ext cx="5143500" cy="609600"/>
          </a:xfrm>
          <a:prstGeom prst="parallelogram">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5" name="任意多边形: 形状 4">
            <a:extLst>
              <a:ext uri="{FF2B5EF4-FFF2-40B4-BE49-F238E27FC236}">
                <a16:creationId xmlns:a16="http://schemas.microsoft.com/office/drawing/2014/main" id="{CED0F0B5-C174-4BD4-A5DD-95ED590F9549}"/>
              </a:ext>
            </a:extLst>
          </p:cNvPr>
          <p:cNvSpPr/>
          <p:nvPr/>
        </p:nvSpPr>
        <p:spPr>
          <a:xfrm>
            <a:off x="269875" y="234950"/>
            <a:ext cx="259080" cy="609600"/>
          </a:xfrm>
          <a:custGeom>
            <a:avLst/>
            <a:gdLst>
              <a:gd name="connsiteX0" fmla="*/ 152400 w 259080"/>
              <a:gd name="connsiteY0" fmla="*/ 0 h 609600"/>
              <a:gd name="connsiteX1" fmla="*/ 259080 w 259080"/>
              <a:gd name="connsiteY1" fmla="*/ 0 h 609600"/>
              <a:gd name="connsiteX2" fmla="*/ 106680 w 259080"/>
              <a:gd name="connsiteY2" fmla="*/ 609600 h 609600"/>
              <a:gd name="connsiteX3" fmla="*/ 0 w 259080"/>
              <a:gd name="connsiteY3" fmla="*/ 609600 h 609600"/>
            </a:gdLst>
            <a:ahLst/>
            <a:cxnLst>
              <a:cxn ang="0">
                <a:pos x="connsiteX0" y="connsiteY0"/>
              </a:cxn>
              <a:cxn ang="0">
                <a:pos x="connsiteX1" y="connsiteY1"/>
              </a:cxn>
              <a:cxn ang="0">
                <a:pos x="connsiteX2" y="connsiteY2"/>
              </a:cxn>
              <a:cxn ang="0">
                <a:pos x="connsiteX3" y="connsiteY3"/>
              </a:cxn>
            </a:cxnLst>
            <a:rect l="l" t="t" r="r" b="b"/>
            <a:pathLst>
              <a:path w="259080" h="609600">
                <a:moveTo>
                  <a:pt x="152400" y="0"/>
                </a:moveTo>
                <a:lnTo>
                  <a:pt x="259080" y="0"/>
                </a:lnTo>
                <a:lnTo>
                  <a:pt x="106680" y="609600"/>
                </a:lnTo>
                <a:lnTo>
                  <a:pt x="0" y="6096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l"/>
            <a:endParaRPr lang="zh-CN" altLang="en-US" sz="1600">
              <a:solidFill>
                <a:schemeClr val="bg1"/>
              </a:solidFill>
              <a:latin typeface="+mj-ea"/>
              <a:ea typeface="+mj-ea"/>
            </a:endParaRPr>
          </a:p>
        </p:txBody>
      </p:sp>
      <p:sp>
        <p:nvSpPr>
          <p:cNvPr id="6" name="任意多边形: 形状 5">
            <a:extLst>
              <a:ext uri="{FF2B5EF4-FFF2-40B4-BE49-F238E27FC236}">
                <a16:creationId xmlns:a16="http://schemas.microsoft.com/office/drawing/2014/main" id="{73131EB3-1679-4544-AFD2-9EE95B1429AA}"/>
              </a:ext>
            </a:extLst>
          </p:cNvPr>
          <p:cNvSpPr/>
          <p:nvPr/>
        </p:nvSpPr>
        <p:spPr>
          <a:xfrm>
            <a:off x="5395595" y="234950"/>
            <a:ext cx="259080" cy="609600"/>
          </a:xfrm>
          <a:custGeom>
            <a:avLst/>
            <a:gdLst>
              <a:gd name="connsiteX0" fmla="*/ 152400 w 259080"/>
              <a:gd name="connsiteY0" fmla="*/ 0 h 609600"/>
              <a:gd name="connsiteX1" fmla="*/ 259080 w 259080"/>
              <a:gd name="connsiteY1" fmla="*/ 0 h 609600"/>
              <a:gd name="connsiteX2" fmla="*/ 106680 w 259080"/>
              <a:gd name="connsiteY2" fmla="*/ 609600 h 609600"/>
              <a:gd name="connsiteX3" fmla="*/ 0 w 259080"/>
              <a:gd name="connsiteY3" fmla="*/ 609600 h 609600"/>
            </a:gdLst>
            <a:ahLst/>
            <a:cxnLst>
              <a:cxn ang="0">
                <a:pos x="connsiteX0" y="connsiteY0"/>
              </a:cxn>
              <a:cxn ang="0">
                <a:pos x="connsiteX1" y="connsiteY1"/>
              </a:cxn>
              <a:cxn ang="0">
                <a:pos x="connsiteX2" y="connsiteY2"/>
              </a:cxn>
              <a:cxn ang="0">
                <a:pos x="connsiteX3" y="connsiteY3"/>
              </a:cxn>
            </a:cxnLst>
            <a:rect l="l" t="t" r="r" b="b"/>
            <a:pathLst>
              <a:path w="259080" h="609600">
                <a:moveTo>
                  <a:pt x="152400" y="0"/>
                </a:moveTo>
                <a:lnTo>
                  <a:pt x="259080" y="0"/>
                </a:lnTo>
                <a:lnTo>
                  <a:pt x="106680" y="609600"/>
                </a:lnTo>
                <a:lnTo>
                  <a:pt x="0" y="609600"/>
                </a:lnTo>
                <a:close/>
              </a:path>
            </a:pathLst>
          </a:custGeom>
          <a:solidFill>
            <a:schemeClr val="accent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l"/>
            <a:endParaRPr lang="zh-CN" altLang="en-US" sz="1600">
              <a:solidFill>
                <a:schemeClr val="bg1"/>
              </a:solidFill>
              <a:latin typeface="+mj-ea"/>
              <a:ea typeface="+mj-ea"/>
            </a:endParaRPr>
          </a:p>
        </p:txBody>
      </p:sp>
      <p:sp>
        <p:nvSpPr>
          <p:cNvPr id="8" name="矩形 7">
            <a:extLst>
              <a:ext uri="{FF2B5EF4-FFF2-40B4-BE49-F238E27FC236}">
                <a16:creationId xmlns:a16="http://schemas.microsoft.com/office/drawing/2014/main" id="{7663DDFE-31A2-42F3-940E-B82F7604DC58}"/>
              </a:ext>
            </a:extLst>
          </p:cNvPr>
          <p:cNvSpPr/>
          <p:nvPr/>
        </p:nvSpPr>
        <p:spPr>
          <a:xfrm>
            <a:off x="0" y="6715125"/>
            <a:ext cx="12192000" cy="1428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9" name="任意形状 12">
            <a:extLst>
              <a:ext uri="{FF2B5EF4-FFF2-40B4-BE49-F238E27FC236}">
                <a16:creationId xmlns:a16="http://schemas.microsoft.com/office/drawing/2014/main" id="{1177722D-7BDD-4267-AFE3-DA86C2C6BB4D}"/>
              </a:ext>
            </a:extLst>
          </p:cNvPr>
          <p:cNvSpPr/>
          <p:nvPr/>
        </p:nvSpPr>
        <p:spPr>
          <a:xfrm>
            <a:off x="0" y="6464698"/>
            <a:ext cx="12192000" cy="393302"/>
          </a:xfrm>
          <a:custGeom>
            <a:avLst/>
            <a:gdLst>
              <a:gd name="connsiteX0" fmla="*/ 12192000 w 12192000"/>
              <a:gd name="connsiteY0" fmla="*/ 0 h 909447"/>
              <a:gd name="connsiteX1" fmla="*/ 12192000 w 12192000"/>
              <a:gd name="connsiteY1" fmla="*/ 909447 h 909447"/>
              <a:gd name="connsiteX2" fmla="*/ 0 w 12192000"/>
              <a:gd name="connsiteY2" fmla="*/ 909447 h 909447"/>
              <a:gd name="connsiteX3" fmla="*/ 0 w 12192000"/>
              <a:gd name="connsiteY3" fmla="*/ 401788 h 909447"/>
              <a:gd name="connsiteX4" fmla="*/ 271475 w 12192000"/>
              <a:gd name="connsiteY4" fmla="*/ 389839 h 909447"/>
              <a:gd name="connsiteX5" fmla="*/ 8190271 w 12192000"/>
              <a:gd name="connsiteY5" fmla="*/ 639060 h 909447"/>
              <a:gd name="connsiteX6" fmla="*/ 12049480 w 12192000"/>
              <a:gd name="connsiteY6" fmla="*/ 34242 h 909447"/>
              <a:gd name="connsiteX0" fmla="*/ 12192000 w 12192000"/>
              <a:gd name="connsiteY0" fmla="*/ 0 h 909447"/>
              <a:gd name="connsiteX1" fmla="*/ 12192000 w 12192000"/>
              <a:gd name="connsiteY1" fmla="*/ 909447 h 909447"/>
              <a:gd name="connsiteX2" fmla="*/ 0 w 12192000"/>
              <a:gd name="connsiteY2" fmla="*/ 909447 h 909447"/>
              <a:gd name="connsiteX3" fmla="*/ 0 w 12192000"/>
              <a:gd name="connsiteY3" fmla="*/ 401788 h 909447"/>
              <a:gd name="connsiteX4" fmla="*/ 8190271 w 12192000"/>
              <a:gd name="connsiteY4" fmla="*/ 639060 h 909447"/>
              <a:gd name="connsiteX5" fmla="*/ 12049480 w 12192000"/>
              <a:gd name="connsiteY5" fmla="*/ 34242 h 909447"/>
              <a:gd name="connsiteX6" fmla="*/ 12192000 w 12192000"/>
              <a:gd name="connsiteY6" fmla="*/ 0 h 909447"/>
              <a:gd name="connsiteX0" fmla="*/ 12192000 w 12192000"/>
              <a:gd name="connsiteY0" fmla="*/ 0 h 909447"/>
              <a:gd name="connsiteX1" fmla="*/ 12192000 w 12192000"/>
              <a:gd name="connsiteY1" fmla="*/ 909447 h 909447"/>
              <a:gd name="connsiteX2" fmla="*/ 0 w 12192000"/>
              <a:gd name="connsiteY2" fmla="*/ 909447 h 909447"/>
              <a:gd name="connsiteX3" fmla="*/ 0 w 12192000"/>
              <a:gd name="connsiteY3" fmla="*/ 401788 h 909447"/>
              <a:gd name="connsiteX4" fmla="*/ 12049480 w 12192000"/>
              <a:gd name="connsiteY4" fmla="*/ 34242 h 909447"/>
              <a:gd name="connsiteX5" fmla="*/ 12192000 w 12192000"/>
              <a:gd name="connsiteY5" fmla="*/ 0 h 909447"/>
              <a:gd name="connsiteX0" fmla="*/ 12192000 w 12192000"/>
              <a:gd name="connsiteY0" fmla="*/ 0 h 909447"/>
              <a:gd name="connsiteX1" fmla="*/ 12192000 w 12192000"/>
              <a:gd name="connsiteY1" fmla="*/ 909447 h 909447"/>
              <a:gd name="connsiteX2" fmla="*/ 0 w 12192000"/>
              <a:gd name="connsiteY2" fmla="*/ 909447 h 909447"/>
              <a:gd name="connsiteX3" fmla="*/ 0 w 12192000"/>
              <a:gd name="connsiteY3" fmla="*/ 401788 h 909447"/>
              <a:gd name="connsiteX4" fmla="*/ 12192000 w 12192000"/>
              <a:gd name="connsiteY4" fmla="*/ 0 h 909447"/>
              <a:gd name="connsiteX0" fmla="*/ 12192000 w 12192000"/>
              <a:gd name="connsiteY0" fmla="*/ 0 h 909447"/>
              <a:gd name="connsiteX1" fmla="*/ 12192000 w 12192000"/>
              <a:gd name="connsiteY1" fmla="*/ 909447 h 909447"/>
              <a:gd name="connsiteX2" fmla="*/ 0 w 12192000"/>
              <a:gd name="connsiteY2" fmla="*/ 909447 h 909447"/>
              <a:gd name="connsiteX3" fmla="*/ 0 w 12192000"/>
              <a:gd name="connsiteY3" fmla="*/ 401788 h 909447"/>
              <a:gd name="connsiteX4" fmla="*/ 12192000 w 12192000"/>
              <a:gd name="connsiteY4" fmla="*/ 0 h 909447"/>
              <a:gd name="connsiteX0" fmla="*/ 12192000 w 12192000"/>
              <a:gd name="connsiteY0" fmla="*/ 0 h 909447"/>
              <a:gd name="connsiteX1" fmla="*/ 12192000 w 12192000"/>
              <a:gd name="connsiteY1" fmla="*/ 909447 h 909447"/>
              <a:gd name="connsiteX2" fmla="*/ 0 w 12192000"/>
              <a:gd name="connsiteY2" fmla="*/ 909447 h 909447"/>
              <a:gd name="connsiteX3" fmla="*/ 0 w 12192000"/>
              <a:gd name="connsiteY3" fmla="*/ 401788 h 909447"/>
              <a:gd name="connsiteX4" fmla="*/ 12192000 w 12192000"/>
              <a:gd name="connsiteY4" fmla="*/ 0 h 9094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909447">
                <a:moveTo>
                  <a:pt x="12192000" y="0"/>
                </a:moveTo>
                <a:lnTo>
                  <a:pt x="12192000" y="909447"/>
                </a:lnTo>
                <a:lnTo>
                  <a:pt x="0" y="909447"/>
                </a:lnTo>
                <a:lnTo>
                  <a:pt x="0" y="401788"/>
                </a:lnTo>
                <a:cubicBezTo>
                  <a:pt x="2540000" y="700478"/>
                  <a:pt x="6289368" y="812355"/>
                  <a:pt x="12192000" y="0"/>
                </a:cubicBezTo>
                <a:close/>
              </a:path>
            </a:pathLst>
          </a:custGeom>
          <a:solidFill>
            <a:schemeClr val="accent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zh-CN" altLang="en-US"/>
          </a:p>
        </p:txBody>
      </p:sp>
    </p:spTree>
    <p:extLst>
      <p:ext uri="{BB962C8B-B14F-4D97-AF65-F5344CB8AC3E}">
        <p14:creationId xmlns:p14="http://schemas.microsoft.com/office/powerpoint/2010/main" val="1852727806"/>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1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箭头: V 形 1">
            <a:extLst>
              <a:ext uri="{FF2B5EF4-FFF2-40B4-BE49-F238E27FC236}">
                <a16:creationId xmlns:a16="http://schemas.microsoft.com/office/drawing/2014/main" id="{201A447D-A747-42B7-A490-7786F46A523A}"/>
              </a:ext>
            </a:extLst>
          </p:cNvPr>
          <p:cNvSpPr/>
          <p:nvPr/>
        </p:nvSpPr>
        <p:spPr>
          <a:xfrm>
            <a:off x="250825" y="222250"/>
            <a:ext cx="704850" cy="704850"/>
          </a:xfrm>
          <a:prstGeom prst="chevr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3" name="箭头: V 形 2">
            <a:extLst>
              <a:ext uri="{FF2B5EF4-FFF2-40B4-BE49-F238E27FC236}">
                <a16:creationId xmlns:a16="http://schemas.microsoft.com/office/drawing/2014/main" id="{B2EADA78-3AFE-4901-84C0-B2725B393FDA}"/>
              </a:ext>
            </a:extLst>
          </p:cNvPr>
          <p:cNvSpPr/>
          <p:nvPr/>
        </p:nvSpPr>
        <p:spPr>
          <a:xfrm>
            <a:off x="647702" y="330200"/>
            <a:ext cx="352424" cy="488950"/>
          </a:xfrm>
          <a:prstGeom prst="chevron">
            <a:avLst>
              <a:gd name="adj" fmla="val 67089"/>
            </a:avLst>
          </a:prstGeom>
          <a:solidFill>
            <a:schemeClr val="accent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4" name="文本框 3">
            <a:extLst>
              <a:ext uri="{FF2B5EF4-FFF2-40B4-BE49-F238E27FC236}">
                <a16:creationId xmlns:a16="http://schemas.microsoft.com/office/drawing/2014/main" id="{275B8CB3-CE68-43DA-80D3-423BFB6A4D1F}"/>
              </a:ext>
            </a:extLst>
          </p:cNvPr>
          <p:cNvSpPr txBox="1"/>
          <p:nvPr/>
        </p:nvSpPr>
        <p:spPr>
          <a:xfrm>
            <a:off x="1000126" y="313065"/>
            <a:ext cx="3416320" cy="523220"/>
          </a:xfrm>
          <a:prstGeom prst="rect">
            <a:avLst/>
          </a:prstGeom>
          <a:noFill/>
        </p:spPr>
        <p:txBody>
          <a:bodyPr wrap="none" rtlCol="0">
            <a:spAutoFit/>
          </a:bodyPr>
          <a:lstStyle/>
          <a:p>
            <a:r>
              <a:rPr kumimoji="1" lang="zh-CN" altLang="en-US" sz="2800" b="1" dirty="0">
                <a:solidFill>
                  <a:schemeClr val="accent1">
                    <a:lumMod val="100000"/>
                  </a:schemeClr>
                </a:solidFill>
                <a:latin typeface="Microsoft YaHei" panose="020B0503020204020204" pitchFamily="34" charset="-122"/>
                <a:ea typeface="Microsoft YaHei" panose="020B0503020204020204" pitchFamily="34" charset="-122"/>
              </a:rPr>
              <a:t>在这里输入你的标题</a:t>
            </a:r>
          </a:p>
        </p:txBody>
      </p:sp>
      <p:sp>
        <p:nvSpPr>
          <p:cNvPr id="5" name="任意形状 12">
            <a:extLst>
              <a:ext uri="{FF2B5EF4-FFF2-40B4-BE49-F238E27FC236}">
                <a16:creationId xmlns:a16="http://schemas.microsoft.com/office/drawing/2014/main" id="{06FFCA24-596C-4A03-A13E-08486B995ADA}"/>
              </a:ext>
            </a:extLst>
          </p:cNvPr>
          <p:cNvSpPr/>
          <p:nvPr/>
        </p:nvSpPr>
        <p:spPr>
          <a:xfrm>
            <a:off x="0" y="6464698"/>
            <a:ext cx="12192000" cy="393302"/>
          </a:xfrm>
          <a:custGeom>
            <a:avLst/>
            <a:gdLst>
              <a:gd name="connsiteX0" fmla="*/ 12192000 w 12192000"/>
              <a:gd name="connsiteY0" fmla="*/ 0 h 909447"/>
              <a:gd name="connsiteX1" fmla="*/ 12192000 w 12192000"/>
              <a:gd name="connsiteY1" fmla="*/ 909447 h 909447"/>
              <a:gd name="connsiteX2" fmla="*/ 0 w 12192000"/>
              <a:gd name="connsiteY2" fmla="*/ 909447 h 909447"/>
              <a:gd name="connsiteX3" fmla="*/ 0 w 12192000"/>
              <a:gd name="connsiteY3" fmla="*/ 401788 h 909447"/>
              <a:gd name="connsiteX4" fmla="*/ 271475 w 12192000"/>
              <a:gd name="connsiteY4" fmla="*/ 389839 h 909447"/>
              <a:gd name="connsiteX5" fmla="*/ 8190271 w 12192000"/>
              <a:gd name="connsiteY5" fmla="*/ 639060 h 909447"/>
              <a:gd name="connsiteX6" fmla="*/ 12049480 w 12192000"/>
              <a:gd name="connsiteY6" fmla="*/ 34242 h 909447"/>
              <a:gd name="connsiteX0" fmla="*/ 12192000 w 12192000"/>
              <a:gd name="connsiteY0" fmla="*/ 0 h 909447"/>
              <a:gd name="connsiteX1" fmla="*/ 12192000 w 12192000"/>
              <a:gd name="connsiteY1" fmla="*/ 909447 h 909447"/>
              <a:gd name="connsiteX2" fmla="*/ 0 w 12192000"/>
              <a:gd name="connsiteY2" fmla="*/ 909447 h 909447"/>
              <a:gd name="connsiteX3" fmla="*/ 0 w 12192000"/>
              <a:gd name="connsiteY3" fmla="*/ 401788 h 909447"/>
              <a:gd name="connsiteX4" fmla="*/ 8190271 w 12192000"/>
              <a:gd name="connsiteY4" fmla="*/ 639060 h 909447"/>
              <a:gd name="connsiteX5" fmla="*/ 12049480 w 12192000"/>
              <a:gd name="connsiteY5" fmla="*/ 34242 h 909447"/>
              <a:gd name="connsiteX6" fmla="*/ 12192000 w 12192000"/>
              <a:gd name="connsiteY6" fmla="*/ 0 h 909447"/>
              <a:gd name="connsiteX0" fmla="*/ 12192000 w 12192000"/>
              <a:gd name="connsiteY0" fmla="*/ 0 h 909447"/>
              <a:gd name="connsiteX1" fmla="*/ 12192000 w 12192000"/>
              <a:gd name="connsiteY1" fmla="*/ 909447 h 909447"/>
              <a:gd name="connsiteX2" fmla="*/ 0 w 12192000"/>
              <a:gd name="connsiteY2" fmla="*/ 909447 h 909447"/>
              <a:gd name="connsiteX3" fmla="*/ 0 w 12192000"/>
              <a:gd name="connsiteY3" fmla="*/ 401788 h 909447"/>
              <a:gd name="connsiteX4" fmla="*/ 12049480 w 12192000"/>
              <a:gd name="connsiteY4" fmla="*/ 34242 h 909447"/>
              <a:gd name="connsiteX5" fmla="*/ 12192000 w 12192000"/>
              <a:gd name="connsiteY5" fmla="*/ 0 h 909447"/>
              <a:gd name="connsiteX0" fmla="*/ 12192000 w 12192000"/>
              <a:gd name="connsiteY0" fmla="*/ 0 h 909447"/>
              <a:gd name="connsiteX1" fmla="*/ 12192000 w 12192000"/>
              <a:gd name="connsiteY1" fmla="*/ 909447 h 909447"/>
              <a:gd name="connsiteX2" fmla="*/ 0 w 12192000"/>
              <a:gd name="connsiteY2" fmla="*/ 909447 h 909447"/>
              <a:gd name="connsiteX3" fmla="*/ 0 w 12192000"/>
              <a:gd name="connsiteY3" fmla="*/ 401788 h 909447"/>
              <a:gd name="connsiteX4" fmla="*/ 12192000 w 12192000"/>
              <a:gd name="connsiteY4" fmla="*/ 0 h 909447"/>
              <a:gd name="connsiteX0" fmla="*/ 12192000 w 12192000"/>
              <a:gd name="connsiteY0" fmla="*/ 0 h 909447"/>
              <a:gd name="connsiteX1" fmla="*/ 12192000 w 12192000"/>
              <a:gd name="connsiteY1" fmla="*/ 909447 h 909447"/>
              <a:gd name="connsiteX2" fmla="*/ 0 w 12192000"/>
              <a:gd name="connsiteY2" fmla="*/ 909447 h 909447"/>
              <a:gd name="connsiteX3" fmla="*/ 0 w 12192000"/>
              <a:gd name="connsiteY3" fmla="*/ 401788 h 909447"/>
              <a:gd name="connsiteX4" fmla="*/ 12192000 w 12192000"/>
              <a:gd name="connsiteY4" fmla="*/ 0 h 909447"/>
              <a:gd name="connsiteX0" fmla="*/ 12192000 w 12192000"/>
              <a:gd name="connsiteY0" fmla="*/ 0 h 909447"/>
              <a:gd name="connsiteX1" fmla="*/ 12192000 w 12192000"/>
              <a:gd name="connsiteY1" fmla="*/ 909447 h 909447"/>
              <a:gd name="connsiteX2" fmla="*/ 0 w 12192000"/>
              <a:gd name="connsiteY2" fmla="*/ 909447 h 909447"/>
              <a:gd name="connsiteX3" fmla="*/ 0 w 12192000"/>
              <a:gd name="connsiteY3" fmla="*/ 401788 h 909447"/>
              <a:gd name="connsiteX4" fmla="*/ 12192000 w 12192000"/>
              <a:gd name="connsiteY4" fmla="*/ 0 h 9094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909447">
                <a:moveTo>
                  <a:pt x="12192000" y="0"/>
                </a:moveTo>
                <a:lnTo>
                  <a:pt x="12192000" y="909447"/>
                </a:lnTo>
                <a:lnTo>
                  <a:pt x="0" y="909447"/>
                </a:lnTo>
                <a:lnTo>
                  <a:pt x="0" y="401788"/>
                </a:lnTo>
                <a:cubicBezTo>
                  <a:pt x="2540000" y="700478"/>
                  <a:pt x="6289368" y="812355"/>
                  <a:pt x="12192000" y="0"/>
                </a:cubicBezTo>
                <a:close/>
              </a:path>
            </a:pathLst>
          </a:custGeom>
          <a:solidFill>
            <a:schemeClr val="accent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zh-CN" altLang="en-US"/>
          </a:p>
        </p:txBody>
      </p:sp>
    </p:spTree>
    <p:extLst>
      <p:ext uri="{BB962C8B-B14F-4D97-AF65-F5344CB8AC3E}">
        <p14:creationId xmlns:p14="http://schemas.microsoft.com/office/powerpoint/2010/main" val="1015713417"/>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1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任意多边形: 形状 6">
            <a:extLst>
              <a:ext uri="{FF2B5EF4-FFF2-40B4-BE49-F238E27FC236}">
                <a16:creationId xmlns:a16="http://schemas.microsoft.com/office/drawing/2014/main" id="{23B0905E-7132-4351-87DE-8FB4826E0F4D}"/>
              </a:ext>
            </a:extLst>
          </p:cNvPr>
          <p:cNvSpPr/>
          <p:nvPr/>
        </p:nvSpPr>
        <p:spPr>
          <a:xfrm>
            <a:off x="347472" y="365759"/>
            <a:ext cx="694944" cy="912971"/>
          </a:xfrm>
          <a:custGeom>
            <a:avLst/>
            <a:gdLst>
              <a:gd name="connsiteX0" fmla="*/ 0 w 694944"/>
              <a:gd name="connsiteY0" fmla="*/ 0 h 912971"/>
              <a:gd name="connsiteX1" fmla="*/ 694944 w 694944"/>
              <a:gd name="connsiteY1" fmla="*/ 0 h 912971"/>
              <a:gd name="connsiteX2" fmla="*/ 694944 w 694944"/>
              <a:gd name="connsiteY2" fmla="*/ 208246 h 912971"/>
              <a:gd name="connsiteX3" fmla="*/ 249428 w 694944"/>
              <a:gd name="connsiteY3" fmla="*/ 208246 h 912971"/>
              <a:gd name="connsiteX4" fmla="*/ 249428 w 694944"/>
              <a:gd name="connsiteY4" fmla="*/ 704725 h 912971"/>
              <a:gd name="connsiteX5" fmla="*/ 694944 w 694944"/>
              <a:gd name="connsiteY5" fmla="*/ 704725 h 912971"/>
              <a:gd name="connsiteX6" fmla="*/ 694944 w 694944"/>
              <a:gd name="connsiteY6" fmla="*/ 912971 h 912971"/>
              <a:gd name="connsiteX7" fmla="*/ 0 w 694944"/>
              <a:gd name="connsiteY7" fmla="*/ 912971 h 912971"/>
              <a:gd name="connsiteX0" fmla="*/ 249428 w 694944"/>
              <a:gd name="connsiteY0" fmla="*/ 208246 h 912971"/>
              <a:gd name="connsiteX1" fmla="*/ 249428 w 694944"/>
              <a:gd name="connsiteY1" fmla="*/ 704725 h 912971"/>
              <a:gd name="connsiteX2" fmla="*/ 694944 w 694944"/>
              <a:gd name="connsiteY2" fmla="*/ 704725 h 912971"/>
              <a:gd name="connsiteX3" fmla="*/ 694944 w 694944"/>
              <a:gd name="connsiteY3" fmla="*/ 912971 h 912971"/>
              <a:gd name="connsiteX4" fmla="*/ 0 w 694944"/>
              <a:gd name="connsiteY4" fmla="*/ 912971 h 912971"/>
              <a:gd name="connsiteX5" fmla="*/ 0 w 694944"/>
              <a:gd name="connsiteY5" fmla="*/ 0 h 912971"/>
              <a:gd name="connsiteX6" fmla="*/ 694944 w 694944"/>
              <a:gd name="connsiteY6" fmla="*/ 0 h 912971"/>
              <a:gd name="connsiteX7" fmla="*/ 694944 w 694944"/>
              <a:gd name="connsiteY7" fmla="*/ 208246 h 912971"/>
              <a:gd name="connsiteX8" fmla="*/ 340868 w 694944"/>
              <a:gd name="connsiteY8" fmla="*/ 299686 h 912971"/>
              <a:gd name="connsiteX0" fmla="*/ 249428 w 694944"/>
              <a:gd name="connsiteY0" fmla="*/ 208246 h 912971"/>
              <a:gd name="connsiteX1" fmla="*/ 249428 w 694944"/>
              <a:gd name="connsiteY1" fmla="*/ 704725 h 912971"/>
              <a:gd name="connsiteX2" fmla="*/ 694944 w 694944"/>
              <a:gd name="connsiteY2" fmla="*/ 704725 h 912971"/>
              <a:gd name="connsiteX3" fmla="*/ 694944 w 694944"/>
              <a:gd name="connsiteY3" fmla="*/ 912971 h 912971"/>
              <a:gd name="connsiteX4" fmla="*/ 0 w 694944"/>
              <a:gd name="connsiteY4" fmla="*/ 912971 h 912971"/>
              <a:gd name="connsiteX5" fmla="*/ 0 w 694944"/>
              <a:gd name="connsiteY5" fmla="*/ 0 h 912971"/>
              <a:gd name="connsiteX6" fmla="*/ 694944 w 694944"/>
              <a:gd name="connsiteY6" fmla="*/ 0 h 912971"/>
              <a:gd name="connsiteX7" fmla="*/ 694944 w 694944"/>
              <a:gd name="connsiteY7" fmla="*/ 208246 h 912971"/>
              <a:gd name="connsiteX0" fmla="*/ 249428 w 694944"/>
              <a:gd name="connsiteY0" fmla="*/ 704725 h 912971"/>
              <a:gd name="connsiteX1" fmla="*/ 694944 w 694944"/>
              <a:gd name="connsiteY1" fmla="*/ 704725 h 912971"/>
              <a:gd name="connsiteX2" fmla="*/ 694944 w 694944"/>
              <a:gd name="connsiteY2" fmla="*/ 912971 h 912971"/>
              <a:gd name="connsiteX3" fmla="*/ 0 w 694944"/>
              <a:gd name="connsiteY3" fmla="*/ 912971 h 912971"/>
              <a:gd name="connsiteX4" fmla="*/ 0 w 694944"/>
              <a:gd name="connsiteY4" fmla="*/ 0 h 912971"/>
              <a:gd name="connsiteX5" fmla="*/ 694944 w 694944"/>
              <a:gd name="connsiteY5" fmla="*/ 0 h 912971"/>
              <a:gd name="connsiteX6" fmla="*/ 694944 w 694944"/>
              <a:gd name="connsiteY6" fmla="*/ 208246 h 912971"/>
              <a:gd name="connsiteX0" fmla="*/ 694944 w 694944"/>
              <a:gd name="connsiteY0" fmla="*/ 704725 h 912971"/>
              <a:gd name="connsiteX1" fmla="*/ 694944 w 694944"/>
              <a:gd name="connsiteY1" fmla="*/ 912971 h 912971"/>
              <a:gd name="connsiteX2" fmla="*/ 0 w 694944"/>
              <a:gd name="connsiteY2" fmla="*/ 912971 h 912971"/>
              <a:gd name="connsiteX3" fmla="*/ 0 w 694944"/>
              <a:gd name="connsiteY3" fmla="*/ 0 h 912971"/>
              <a:gd name="connsiteX4" fmla="*/ 694944 w 694944"/>
              <a:gd name="connsiteY4" fmla="*/ 0 h 912971"/>
              <a:gd name="connsiteX5" fmla="*/ 694944 w 694944"/>
              <a:gd name="connsiteY5" fmla="*/ 208246 h 912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94944" h="912971">
                <a:moveTo>
                  <a:pt x="694944" y="704725"/>
                </a:moveTo>
                <a:lnTo>
                  <a:pt x="694944" y="912971"/>
                </a:lnTo>
                <a:lnTo>
                  <a:pt x="0" y="912971"/>
                </a:lnTo>
                <a:lnTo>
                  <a:pt x="0" y="0"/>
                </a:lnTo>
                <a:lnTo>
                  <a:pt x="694944" y="0"/>
                </a:lnTo>
                <a:lnTo>
                  <a:pt x="694944" y="208246"/>
                </a:lnTo>
              </a:path>
            </a:pathLst>
          </a:cu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l"/>
            <a:endParaRPr lang="zh-CN" altLang="en-US" sz="1600">
              <a:solidFill>
                <a:schemeClr val="bg1"/>
              </a:solidFill>
              <a:latin typeface="+mj-ea"/>
              <a:ea typeface="+mj-ea"/>
            </a:endParaRPr>
          </a:p>
        </p:txBody>
      </p:sp>
      <p:sp>
        <p:nvSpPr>
          <p:cNvPr id="5" name="文本框 4">
            <a:extLst>
              <a:ext uri="{FF2B5EF4-FFF2-40B4-BE49-F238E27FC236}">
                <a16:creationId xmlns:a16="http://schemas.microsoft.com/office/drawing/2014/main" id="{93B33568-0160-4429-A104-18A147FAA8FC}"/>
              </a:ext>
            </a:extLst>
          </p:cNvPr>
          <p:cNvSpPr txBox="1"/>
          <p:nvPr/>
        </p:nvSpPr>
        <p:spPr>
          <a:xfrm>
            <a:off x="563118" y="560634"/>
            <a:ext cx="3416320" cy="523220"/>
          </a:xfrm>
          <a:prstGeom prst="rect">
            <a:avLst/>
          </a:prstGeom>
          <a:noFill/>
        </p:spPr>
        <p:txBody>
          <a:bodyPr wrap="none" rtlCol="0">
            <a:spAutoFit/>
          </a:bodyPr>
          <a:lstStyle/>
          <a:p>
            <a:r>
              <a:rPr kumimoji="1" lang="zh-CN" altLang="en-US" sz="2800" b="1" dirty="0">
                <a:solidFill>
                  <a:schemeClr val="accent1">
                    <a:lumMod val="100000"/>
                  </a:schemeClr>
                </a:solidFill>
                <a:latin typeface="Microsoft YaHei" panose="020B0503020204020204" pitchFamily="34" charset="-122"/>
                <a:ea typeface="Microsoft YaHei" panose="020B0503020204020204" pitchFamily="34" charset="-122"/>
              </a:rPr>
              <a:t>在这里输入你的标题</a:t>
            </a:r>
          </a:p>
        </p:txBody>
      </p:sp>
      <p:sp>
        <p:nvSpPr>
          <p:cNvPr id="8" name="任意形状 12">
            <a:extLst>
              <a:ext uri="{FF2B5EF4-FFF2-40B4-BE49-F238E27FC236}">
                <a16:creationId xmlns:a16="http://schemas.microsoft.com/office/drawing/2014/main" id="{235AC60A-A6A2-4595-A98A-46B9EC17B69B}"/>
              </a:ext>
            </a:extLst>
          </p:cNvPr>
          <p:cNvSpPr/>
          <p:nvPr/>
        </p:nvSpPr>
        <p:spPr>
          <a:xfrm>
            <a:off x="0" y="6464698"/>
            <a:ext cx="12192000" cy="393302"/>
          </a:xfrm>
          <a:custGeom>
            <a:avLst/>
            <a:gdLst>
              <a:gd name="connsiteX0" fmla="*/ 12192000 w 12192000"/>
              <a:gd name="connsiteY0" fmla="*/ 0 h 909447"/>
              <a:gd name="connsiteX1" fmla="*/ 12192000 w 12192000"/>
              <a:gd name="connsiteY1" fmla="*/ 909447 h 909447"/>
              <a:gd name="connsiteX2" fmla="*/ 0 w 12192000"/>
              <a:gd name="connsiteY2" fmla="*/ 909447 h 909447"/>
              <a:gd name="connsiteX3" fmla="*/ 0 w 12192000"/>
              <a:gd name="connsiteY3" fmla="*/ 401788 h 909447"/>
              <a:gd name="connsiteX4" fmla="*/ 271475 w 12192000"/>
              <a:gd name="connsiteY4" fmla="*/ 389839 h 909447"/>
              <a:gd name="connsiteX5" fmla="*/ 8190271 w 12192000"/>
              <a:gd name="connsiteY5" fmla="*/ 639060 h 909447"/>
              <a:gd name="connsiteX6" fmla="*/ 12049480 w 12192000"/>
              <a:gd name="connsiteY6" fmla="*/ 34242 h 909447"/>
              <a:gd name="connsiteX0" fmla="*/ 12192000 w 12192000"/>
              <a:gd name="connsiteY0" fmla="*/ 0 h 909447"/>
              <a:gd name="connsiteX1" fmla="*/ 12192000 w 12192000"/>
              <a:gd name="connsiteY1" fmla="*/ 909447 h 909447"/>
              <a:gd name="connsiteX2" fmla="*/ 0 w 12192000"/>
              <a:gd name="connsiteY2" fmla="*/ 909447 h 909447"/>
              <a:gd name="connsiteX3" fmla="*/ 0 w 12192000"/>
              <a:gd name="connsiteY3" fmla="*/ 401788 h 909447"/>
              <a:gd name="connsiteX4" fmla="*/ 8190271 w 12192000"/>
              <a:gd name="connsiteY4" fmla="*/ 639060 h 909447"/>
              <a:gd name="connsiteX5" fmla="*/ 12049480 w 12192000"/>
              <a:gd name="connsiteY5" fmla="*/ 34242 h 909447"/>
              <a:gd name="connsiteX6" fmla="*/ 12192000 w 12192000"/>
              <a:gd name="connsiteY6" fmla="*/ 0 h 909447"/>
              <a:gd name="connsiteX0" fmla="*/ 12192000 w 12192000"/>
              <a:gd name="connsiteY0" fmla="*/ 0 h 909447"/>
              <a:gd name="connsiteX1" fmla="*/ 12192000 w 12192000"/>
              <a:gd name="connsiteY1" fmla="*/ 909447 h 909447"/>
              <a:gd name="connsiteX2" fmla="*/ 0 w 12192000"/>
              <a:gd name="connsiteY2" fmla="*/ 909447 h 909447"/>
              <a:gd name="connsiteX3" fmla="*/ 0 w 12192000"/>
              <a:gd name="connsiteY3" fmla="*/ 401788 h 909447"/>
              <a:gd name="connsiteX4" fmla="*/ 12049480 w 12192000"/>
              <a:gd name="connsiteY4" fmla="*/ 34242 h 909447"/>
              <a:gd name="connsiteX5" fmla="*/ 12192000 w 12192000"/>
              <a:gd name="connsiteY5" fmla="*/ 0 h 909447"/>
              <a:gd name="connsiteX0" fmla="*/ 12192000 w 12192000"/>
              <a:gd name="connsiteY0" fmla="*/ 0 h 909447"/>
              <a:gd name="connsiteX1" fmla="*/ 12192000 w 12192000"/>
              <a:gd name="connsiteY1" fmla="*/ 909447 h 909447"/>
              <a:gd name="connsiteX2" fmla="*/ 0 w 12192000"/>
              <a:gd name="connsiteY2" fmla="*/ 909447 h 909447"/>
              <a:gd name="connsiteX3" fmla="*/ 0 w 12192000"/>
              <a:gd name="connsiteY3" fmla="*/ 401788 h 909447"/>
              <a:gd name="connsiteX4" fmla="*/ 12192000 w 12192000"/>
              <a:gd name="connsiteY4" fmla="*/ 0 h 909447"/>
              <a:gd name="connsiteX0" fmla="*/ 12192000 w 12192000"/>
              <a:gd name="connsiteY0" fmla="*/ 0 h 909447"/>
              <a:gd name="connsiteX1" fmla="*/ 12192000 w 12192000"/>
              <a:gd name="connsiteY1" fmla="*/ 909447 h 909447"/>
              <a:gd name="connsiteX2" fmla="*/ 0 w 12192000"/>
              <a:gd name="connsiteY2" fmla="*/ 909447 h 909447"/>
              <a:gd name="connsiteX3" fmla="*/ 0 w 12192000"/>
              <a:gd name="connsiteY3" fmla="*/ 401788 h 909447"/>
              <a:gd name="connsiteX4" fmla="*/ 12192000 w 12192000"/>
              <a:gd name="connsiteY4" fmla="*/ 0 h 909447"/>
              <a:gd name="connsiteX0" fmla="*/ 12192000 w 12192000"/>
              <a:gd name="connsiteY0" fmla="*/ 0 h 909447"/>
              <a:gd name="connsiteX1" fmla="*/ 12192000 w 12192000"/>
              <a:gd name="connsiteY1" fmla="*/ 909447 h 909447"/>
              <a:gd name="connsiteX2" fmla="*/ 0 w 12192000"/>
              <a:gd name="connsiteY2" fmla="*/ 909447 h 909447"/>
              <a:gd name="connsiteX3" fmla="*/ 0 w 12192000"/>
              <a:gd name="connsiteY3" fmla="*/ 401788 h 909447"/>
              <a:gd name="connsiteX4" fmla="*/ 12192000 w 12192000"/>
              <a:gd name="connsiteY4" fmla="*/ 0 h 9094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909447">
                <a:moveTo>
                  <a:pt x="12192000" y="0"/>
                </a:moveTo>
                <a:lnTo>
                  <a:pt x="12192000" y="909447"/>
                </a:lnTo>
                <a:lnTo>
                  <a:pt x="0" y="909447"/>
                </a:lnTo>
                <a:lnTo>
                  <a:pt x="0" y="401788"/>
                </a:lnTo>
                <a:cubicBezTo>
                  <a:pt x="2540000" y="700478"/>
                  <a:pt x="6289368" y="812355"/>
                  <a:pt x="12192000" y="0"/>
                </a:cubicBezTo>
                <a:close/>
              </a:path>
            </a:pathLst>
          </a:custGeom>
          <a:solidFill>
            <a:schemeClr val="accent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zh-CN" altLang="en-US"/>
          </a:p>
        </p:txBody>
      </p:sp>
    </p:spTree>
    <p:extLst>
      <p:ext uri="{BB962C8B-B14F-4D97-AF65-F5344CB8AC3E}">
        <p14:creationId xmlns:p14="http://schemas.microsoft.com/office/powerpoint/2010/main" val="2525521934"/>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a:extLst>
              <a:ext uri="{FF2B5EF4-FFF2-40B4-BE49-F238E27FC236}">
                <a16:creationId xmlns:a16="http://schemas.microsoft.com/office/drawing/2014/main" id="{F682F9CF-E3FB-4D92-9D66-55D5787E1B96}"/>
              </a:ext>
            </a:extLst>
          </p:cNvPr>
          <p:cNvSpPr/>
          <p:nvPr/>
        </p:nvSpPr>
        <p:spPr>
          <a:xfrm>
            <a:off x="1466850" y="1874520"/>
            <a:ext cx="9258300" cy="228790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p>
        </p:txBody>
      </p:sp>
      <p:sp>
        <p:nvSpPr>
          <p:cNvPr id="11" name="文本框 10">
            <a:extLst>
              <a:ext uri="{FF2B5EF4-FFF2-40B4-BE49-F238E27FC236}">
                <a16:creationId xmlns:a16="http://schemas.microsoft.com/office/drawing/2014/main" id="{E4393356-E9A7-46D9-B5F5-0D21EC991A29}"/>
              </a:ext>
            </a:extLst>
          </p:cNvPr>
          <p:cNvSpPr txBox="1"/>
          <p:nvPr/>
        </p:nvSpPr>
        <p:spPr>
          <a:xfrm>
            <a:off x="1941017" y="2813447"/>
            <a:ext cx="8309967" cy="1107996"/>
          </a:xfrm>
          <a:prstGeom prst="rect">
            <a:avLst/>
          </a:prstGeom>
          <a:noFill/>
        </p:spPr>
        <p:txBody>
          <a:bodyPr wrap="none" lIns="0" tIns="0" rIns="0" bIns="0" rtlCol="0" anchor="t">
            <a:spAutoFit/>
          </a:bodyPr>
          <a:lstStyle/>
          <a:p>
            <a:pPr algn="ctr"/>
            <a:r>
              <a:rPr lang="zh-CN" altLang="en-US" sz="7200" dirty="0">
                <a:solidFill>
                  <a:schemeClr val="bg1"/>
                </a:solidFill>
                <a:latin typeface="+mj-ea"/>
                <a:ea typeface="+mj-ea"/>
              </a:rPr>
              <a:t>输入你的封面大标题</a:t>
            </a:r>
          </a:p>
        </p:txBody>
      </p:sp>
      <p:sp>
        <p:nvSpPr>
          <p:cNvPr id="12" name="文本框 11">
            <a:extLst>
              <a:ext uri="{FF2B5EF4-FFF2-40B4-BE49-F238E27FC236}">
                <a16:creationId xmlns:a16="http://schemas.microsoft.com/office/drawing/2014/main" id="{08D1ED60-C0E7-408E-A5AA-59B489440FCB}"/>
              </a:ext>
            </a:extLst>
          </p:cNvPr>
          <p:cNvSpPr txBox="1"/>
          <p:nvPr/>
        </p:nvSpPr>
        <p:spPr>
          <a:xfrm>
            <a:off x="4095451" y="2275523"/>
            <a:ext cx="4001095" cy="369332"/>
          </a:xfrm>
          <a:prstGeom prst="rect">
            <a:avLst/>
          </a:prstGeom>
          <a:noFill/>
        </p:spPr>
        <p:txBody>
          <a:bodyPr wrap="none" lIns="0" tIns="0" rIns="0" bIns="0" rtlCol="0" anchor="t">
            <a:spAutoFit/>
          </a:bodyPr>
          <a:lstStyle/>
          <a:p>
            <a:pPr algn="ctr"/>
            <a:r>
              <a:rPr lang="zh-CN" altLang="en-US" sz="2400" dirty="0">
                <a:solidFill>
                  <a:schemeClr val="bg1"/>
                </a:solidFill>
                <a:latin typeface="+mn-ea"/>
              </a:rPr>
              <a:t>输入你的副标题或大标题英文</a:t>
            </a:r>
          </a:p>
        </p:txBody>
      </p:sp>
      <p:cxnSp>
        <p:nvCxnSpPr>
          <p:cNvPr id="14" name="直接连接符 13">
            <a:extLst>
              <a:ext uri="{FF2B5EF4-FFF2-40B4-BE49-F238E27FC236}">
                <a16:creationId xmlns:a16="http://schemas.microsoft.com/office/drawing/2014/main" id="{99FDF5DC-EAFA-4C3B-B052-660243EB047F}"/>
              </a:ext>
            </a:extLst>
          </p:cNvPr>
          <p:cNvCxnSpPr/>
          <p:nvPr/>
        </p:nvCxnSpPr>
        <p:spPr>
          <a:xfrm flipH="1">
            <a:off x="2029968" y="2465975"/>
            <a:ext cx="1901952"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 name="直接连接符 14">
            <a:extLst>
              <a:ext uri="{FF2B5EF4-FFF2-40B4-BE49-F238E27FC236}">
                <a16:creationId xmlns:a16="http://schemas.microsoft.com/office/drawing/2014/main" id="{C6CC629A-E754-4728-BB95-563C56597B63}"/>
              </a:ext>
            </a:extLst>
          </p:cNvPr>
          <p:cNvCxnSpPr/>
          <p:nvPr/>
        </p:nvCxnSpPr>
        <p:spPr>
          <a:xfrm flipH="1">
            <a:off x="8284464" y="2465975"/>
            <a:ext cx="1901952"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grpSp>
        <p:nvGrpSpPr>
          <p:cNvPr id="18" name="组合 17">
            <a:extLst>
              <a:ext uri="{FF2B5EF4-FFF2-40B4-BE49-F238E27FC236}">
                <a16:creationId xmlns:a16="http://schemas.microsoft.com/office/drawing/2014/main" id="{FC799265-AC15-410F-82A2-679AB60B288F}"/>
              </a:ext>
            </a:extLst>
          </p:cNvPr>
          <p:cNvGrpSpPr/>
          <p:nvPr/>
        </p:nvGrpSpPr>
        <p:grpSpPr>
          <a:xfrm>
            <a:off x="4331702" y="4509896"/>
            <a:ext cx="1475214" cy="246221"/>
            <a:chOff x="4095451" y="4640913"/>
            <a:chExt cx="1475214" cy="246221"/>
          </a:xfrm>
        </p:grpSpPr>
        <p:sp>
          <p:nvSpPr>
            <p:cNvPr id="16" name="矩形 15">
              <a:extLst>
                <a:ext uri="{FF2B5EF4-FFF2-40B4-BE49-F238E27FC236}">
                  <a16:creationId xmlns:a16="http://schemas.microsoft.com/office/drawing/2014/main" id="{74C493E7-1B47-4349-BC5B-BF3163490795}"/>
                </a:ext>
              </a:extLst>
            </p:cNvPr>
            <p:cNvSpPr/>
            <p:nvPr/>
          </p:nvSpPr>
          <p:spPr>
            <a:xfrm>
              <a:off x="4095451" y="4672584"/>
              <a:ext cx="164592" cy="164592"/>
            </a:xfrm>
            <a:prstGeom prst="rect">
              <a:avLst/>
            </a:prstGeom>
            <a:solidFill>
              <a:schemeClr val="accent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p>
          </p:txBody>
        </p:sp>
        <p:sp>
          <p:nvSpPr>
            <p:cNvPr id="17" name="文本框 16">
              <a:extLst>
                <a:ext uri="{FF2B5EF4-FFF2-40B4-BE49-F238E27FC236}">
                  <a16:creationId xmlns:a16="http://schemas.microsoft.com/office/drawing/2014/main" id="{B804F6AA-7656-4EF8-84F0-3B3FB5CF0922}"/>
                </a:ext>
              </a:extLst>
            </p:cNvPr>
            <p:cNvSpPr txBox="1"/>
            <p:nvPr/>
          </p:nvSpPr>
          <p:spPr>
            <a:xfrm>
              <a:off x="4408487" y="4640913"/>
              <a:ext cx="1162178" cy="246221"/>
            </a:xfrm>
            <a:prstGeom prst="rect">
              <a:avLst/>
            </a:prstGeom>
            <a:noFill/>
          </p:spPr>
          <p:txBody>
            <a:bodyPr wrap="none" lIns="0" tIns="0" rIns="0" bIns="0" rtlCol="0" anchor="t">
              <a:spAutoFit/>
            </a:bodyPr>
            <a:lstStyle/>
            <a:p>
              <a:r>
                <a:rPr lang="zh-CN" altLang="en-US" sz="1600" dirty="0">
                  <a:solidFill>
                    <a:schemeClr val="accent1">
                      <a:lumMod val="100000"/>
                    </a:schemeClr>
                  </a:solidFill>
                  <a:latin typeface="+mn-ea"/>
                </a:rPr>
                <a:t>汇报人：</a:t>
              </a:r>
              <a:r>
                <a:rPr lang="en-US" altLang="zh-CN" sz="1600" dirty="0">
                  <a:solidFill>
                    <a:schemeClr val="accent1">
                      <a:lumMod val="100000"/>
                    </a:schemeClr>
                  </a:solidFill>
                  <a:latin typeface="+mn-ea"/>
                </a:rPr>
                <a:t>xxx</a:t>
              </a:r>
              <a:endParaRPr lang="zh-CN" altLang="en-US" sz="1600" dirty="0">
                <a:solidFill>
                  <a:schemeClr val="accent1">
                    <a:lumMod val="100000"/>
                  </a:schemeClr>
                </a:solidFill>
                <a:latin typeface="+mn-ea"/>
              </a:endParaRPr>
            </a:p>
          </p:txBody>
        </p:sp>
      </p:grpSp>
      <p:grpSp>
        <p:nvGrpSpPr>
          <p:cNvPr id="19" name="组合 18">
            <a:extLst>
              <a:ext uri="{FF2B5EF4-FFF2-40B4-BE49-F238E27FC236}">
                <a16:creationId xmlns:a16="http://schemas.microsoft.com/office/drawing/2014/main" id="{482B1619-178E-45D1-BC39-C5F4314075B6}"/>
              </a:ext>
            </a:extLst>
          </p:cNvPr>
          <p:cNvGrpSpPr/>
          <p:nvPr/>
        </p:nvGrpSpPr>
        <p:grpSpPr>
          <a:xfrm>
            <a:off x="6590270" y="4509896"/>
            <a:ext cx="1270029" cy="246221"/>
            <a:chOff x="4095451" y="4640913"/>
            <a:chExt cx="1270029" cy="246221"/>
          </a:xfrm>
        </p:grpSpPr>
        <p:sp>
          <p:nvSpPr>
            <p:cNvPr id="20" name="矩形 19">
              <a:extLst>
                <a:ext uri="{FF2B5EF4-FFF2-40B4-BE49-F238E27FC236}">
                  <a16:creationId xmlns:a16="http://schemas.microsoft.com/office/drawing/2014/main" id="{3A1AE345-38CE-49BE-9E58-2C20078777A3}"/>
                </a:ext>
              </a:extLst>
            </p:cNvPr>
            <p:cNvSpPr/>
            <p:nvPr/>
          </p:nvSpPr>
          <p:spPr>
            <a:xfrm>
              <a:off x="4095451" y="4672584"/>
              <a:ext cx="164592" cy="164592"/>
            </a:xfrm>
            <a:prstGeom prst="rect">
              <a:avLst/>
            </a:prstGeom>
            <a:solidFill>
              <a:schemeClr val="accent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p>
          </p:txBody>
        </p:sp>
        <p:sp>
          <p:nvSpPr>
            <p:cNvPr id="21" name="文本框 20">
              <a:extLst>
                <a:ext uri="{FF2B5EF4-FFF2-40B4-BE49-F238E27FC236}">
                  <a16:creationId xmlns:a16="http://schemas.microsoft.com/office/drawing/2014/main" id="{FCC3031D-C171-43E7-B549-82FC96054817}"/>
                </a:ext>
              </a:extLst>
            </p:cNvPr>
            <p:cNvSpPr txBox="1"/>
            <p:nvPr/>
          </p:nvSpPr>
          <p:spPr>
            <a:xfrm>
              <a:off x="4408487" y="4640913"/>
              <a:ext cx="956993" cy="246221"/>
            </a:xfrm>
            <a:prstGeom prst="rect">
              <a:avLst/>
            </a:prstGeom>
            <a:noFill/>
          </p:spPr>
          <p:txBody>
            <a:bodyPr wrap="none" lIns="0" tIns="0" rIns="0" bIns="0" rtlCol="0" anchor="t">
              <a:spAutoFit/>
            </a:bodyPr>
            <a:lstStyle/>
            <a:p>
              <a:r>
                <a:rPr lang="zh-CN" altLang="en-US" sz="1600" dirty="0">
                  <a:solidFill>
                    <a:schemeClr val="accent1">
                      <a:lumMod val="100000"/>
                    </a:schemeClr>
                  </a:solidFill>
                  <a:latin typeface="+mn-ea"/>
                </a:rPr>
                <a:t>单位：</a:t>
              </a:r>
              <a:r>
                <a:rPr lang="en-US" altLang="zh-CN" sz="1600" dirty="0">
                  <a:solidFill>
                    <a:schemeClr val="accent1">
                      <a:lumMod val="100000"/>
                    </a:schemeClr>
                  </a:solidFill>
                  <a:latin typeface="+mn-ea"/>
                </a:rPr>
                <a:t>xxx</a:t>
              </a:r>
              <a:endParaRPr lang="zh-CN" altLang="en-US" sz="1600" dirty="0">
                <a:solidFill>
                  <a:schemeClr val="accent1">
                    <a:lumMod val="100000"/>
                  </a:schemeClr>
                </a:solidFill>
                <a:latin typeface="+mn-ea"/>
              </a:endParaRPr>
            </a:p>
          </p:txBody>
        </p:sp>
      </p:grpSp>
    </p:spTree>
    <p:extLst>
      <p:ext uri="{BB962C8B-B14F-4D97-AF65-F5344CB8AC3E}">
        <p14:creationId xmlns:p14="http://schemas.microsoft.com/office/powerpoint/2010/main" val="21200258"/>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1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a:extLst>
              <a:ext uri="{FF2B5EF4-FFF2-40B4-BE49-F238E27FC236}">
                <a16:creationId xmlns:a16="http://schemas.microsoft.com/office/drawing/2014/main" id="{50466115-9CFE-4E17-BBF5-C642C1D486EF}"/>
              </a:ext>
            </a:extLst>
          </p:cNvPr>
          <p:cNvSpPr/>
          <p:nvPr/>
        </p:nvSpPr>
        <p:spPr>
          <a:xfrm>
            <a:off x="400050" y="328612"/>
            <a:ext cx="73026" cy="45481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cxnSp>
        <p:nvCxnSpPr>
          <p:cNvPr id="5" name="直接连接符 4">
            <a:extLst>
              <a:ext uri="{FF2B5EF4-FFF2-40B4-BE49-F238E27FC236}">
                <a16:creationId xmlns:a16="http://schemas.microsoft.com/office/drawing/2014/main" id="{8F4DAA2E-2C5D-4E2C-9724-849638052A38}"/>
              </a:ext>
            </a:extLst>
          </p:cNvPr>
          <p:cNvCxnSpPr>
            <a:cxnSpLocks/>
          </p:cNvCxnSpPr>
          <p:nvPr/>
        </p:nvCxnSpPr>
        <p:spPr>
          <a:xfrm>
            <a:off x="654050" y="764847"/>
            <a:ext cx="11031982"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8" name="平行四边形 7">
            <a:extLst>
              <a:ext uri="{FF2B5EF4-FFF2-40B4-BE49-F238E27FC236}">
                <a16:creationId xmlns:a16="http://schemas.microsoft.com/office/drawing/2014/main" id="{C068AE2B-A42A-48CE-ADAD-420C7AB55703}"/>
              </a:ext>
            </a:extLst>
          </p:cNvPr>
          <p:cNvSpPr/>
          <p:nvPr/>
        </p:nvSpPr>
        <p:spPr>
          <a:xfrm flipH="1">
            <a:off x="11547030" y="559911"/>
            <a:ext cx="167132" cy="213131"/>
          </a:xfrm>
          <a:prstGeom prst="parallelogram">
            <a:avLst>
              <a:gd name="adj" fmla="val 47796"/>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10" name="平行四边形 9">
            <a:extLst>
              <a:ext uri="{FF2B5EF4-FFF2-40B4-BE49-F238E27FC236}">
                <a16:creationId xmlns:a16="http://schemas.microsoft.com/office/drawing/2014/main" id="{002FC41E-AAAB-4FCF-A02A-7A73402BDF11}"/>
              </a:ext>
            </a:extLst>
          </p:cNvPr>
          <p:cNvSpPr/>
          <p:nvPr/>
        </p:nvSpPr>
        <p:spPr>
          <a:xfrm flipH="1">
            <a:off x="11170794" y="559911"/>
            <a:ext cx="167132" cy="213131"/>
          </a:xfrm>
          <a:prstGeom prst="parallelogram">
            <a:avLst>
              <a:gd name="adj" fmla="val 47796"/>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11" name="任意形状 12">
            <a:extLst>
              <a:ext uri="{FF2B5EF4-FFF2-40B4-BE49-F238E27FC236}">
                <a16:creationId xmlns:a16="http://schemas.microsoft.com/office/drawing/2014/main" id="{6455A9DA-041E-4A89-A107-1282E6C42F63}"/>
              </a:ext>
            </a:extLst>
          </p:cNvPr>
          <p:cNvSpPr/>
          <p:nvPr/>
        </p:nvSpPr>
        <p:spPr>
          <a:xfrm>
            <a:off x="0" y="6464698"/>
            <a:ext cx="12192000" cy="393302"/>
          </a:xfrm>
          <a:custGeom>
            <a:avLst/>
            <a:gdLst>
              <a:gd name="connsiteX0" fmla="*/ 12192000 w 12192000"/>
              <a:gd name="connsiteY0" fmla="*/ 0 h 909447"/>
              <a:gd name="connsiteX1" fmla="*/ 12192000 w 12192000"/>
              <a:gd name="connsiteY1" fmla="*/ 909447 h 909447"/>
              <a:gd name="connsiteX2" fmla="*/ 0 w 12192000"/>
              <a:gd name="connsiteY2" fmla="*/ 909447 h 909447"/>
              <a:gd name="connsiteX3" fmla="*/ 0 w 12192000"/>
              <a:gd name="connsiteY3" fmla="*/ 401788 h 909447"/>
              <a:gd name="connsiteX4" fmla="*/ 271475 w 12192000"/>
              <a:gd name="connsiteY4" fmla="*/ 389839 h 909447"/>
              <a:gd name="connsiteX5" fmla="*/ 8190271 w 12192000"/>
              <a:gd name="connsiteY5" fmla="*/ 639060 h 909447"/>
              <a:gd name="connsiteX6" fmla="*/ 12049480 w 12192000"/>
              <a:gd name="connsiteY6" fmla="*/ 34242 h 909447"/>
              <a:gd name="connsiteX0" fmla="*/ 12192000 w 12192000"/>
              <a:gd name="connsiteY0" fmla="*/ 0 h 909447"/>
              <a:gd name="connsiteX1" fmla="*/ 12192000 w 12192000"/>
              <a:gd name="connsiteY1" fmla="*/ 909447 h 909447"/>
              <a:gd name="connsiteX2" fmla="*/ 0 w 12192000"/>
              <a:gd name="connsiteY2" fmla="*/ 909447 h 909447"/>
              <a:gd name="connsiteX3" fmla="*/ 0 w 12192000"/>
              <a:gd name="connsiteY3" fmla="*/ 401788 h 909447"/>
              <a:gd name="connsiteX4" fmla="*/ 8190271 w 12192000"/>
              <a:gd name="connsiteY4" fmla="*/ 639060 h 909447"/>
              <a:gd name="connsiteX5" fmla="*/ 12049480 w 12192000"/>
              <a:gd name="connsiteY5" fmla="*/ 34242 h 909447"/>
              <a:gd name="connsiteX6" fmla="*/ 12192000 w 12192000"/>
              <a:gd name="connsiteY6" fmla="*/ 0 h 909447"/>
              <a:gd name="connsiteX0" fmla="*/ 12192000 w 12192000"/>
              <a:gd name="connsiteY0" fmla="*/ 0 h 909447"/>
              <a:gd name="connsiteX1" fmla="*/ 12192000 w 12192000"/>
              <a:gd name="connsiteY1" fmla="*/ 909447 h 909447"/>
              <a:gd name="connsiteX2" fmla="*/ 0 w 12192000"/>
              <a:gd name="connsiteY2" fmla="*/ 909447 h 909447"/>
              <a:gd name="connsiteX3" fmla="*/ 0 w 12192000"/>
              <a:gd name="connsiteY3" fmla="*/ 401788 h 909447"/>
              <a:gd name="connsiteX4" fmla="*/ 12049480 w 12192000"/>
              <a:gd name="connsiteY4" fmla="*/ 34242 h 909447"/>
              <a:gd name="connsiteX5" fmla="*/ 12192000 w 12192000"/>
              <a:gd name="connsiteY5" fmla="*/ 0 h 909447"/>
              <a:gd name="connsiteX0" fmla="*/ 12192000 w 12192000"/>
              <a:gd name="connsiteY0" fmla="*/ 0 h 909447"/>
              <a:gd name="connsiteX1" fmla="*/ 12192000 w 12192000"/>
              <a:gd name="connsiteY1" fmla="*/ 909447 h 909447"/>
              <a:gd name="connsiteX2" fmla="*/ 0 w 12192000"/>
              <a:gd name="connsiteY2" fmla="*/ 909447 h 909447"/>
              <a:gd name="connsiteX3" fmla="*/ 0 w 12192000"/>
              <a:gd name="connsiteY3" fmla="*/ 401788 h 909447"/>
              <a:gd name="connsiteX4" fmla="*/ 12192000 w 12192000"/>
              <a:gd name="connsiteY4" fmla="*/ 0 h 909447"/>
              <a:gd name="connsiteX0" fmla="*/ 12192000 w 12192000"/>
              <a:gd name="connsiteY0" fmla="*/ 0 h 909447"/>
              <a:gd name="connsiteX1" fmla="*/ 12192000 w 12192000"/>
              <a:gd name="connsiteY1" fmla="*/ 909447 h 909447"/>
              <a:gd name="connsiteX2" fmla="*/ 0 w 12192000"/>
              <a:gd name="connsiteY2" fmla="*/ 909447 h 909447"/>
              <a:gd name="connsiteX3" fmla="*/ 0 w 12192000"/>
              <a:gd name="connsiteY3" fmla="*/ 401788 h 909447"/>
              <a:gd name="connsiteX4" fmla="*/ 12192000 w 12192000"/>
              <a:gd name="connsiteY4" fmla="*/ 0 h 909447"/>
              <a:gd name="connsiteX0" fmla="*/ 12192000 w 12192000"/>
              <a:gd name="connsiteY0" fmla="*/ 0 h 909447"/>
              <a:gd name="connsiteX1" fmla="*/ 12192000 w 12192000"/>
              <a:gd name="connsiteY1" fmla="*/ 909447 h 909447"/>
              <a:gd name="connsiteX2" fmla="*/ 0 w 12192000"/>
              <a:gd name="connsiteY2" fmla="*/ 909447 h 909447"/>
              <a:gd name="connsiteX3" fmla="*/ 0 w 12192000"/>
              <a:gd name="connsiteY3" fmla="*/ 401788 h 909447"/>
              <a:gd name="connsiteX4" fmla="*/ 12192000 w 12192000"/>
              <a:gd name="connsiteY4" fmla="*/ 0 h 9094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909447">
                <a:moveTo>
                  <a:pt x="12192000" y="0"/>
                </a:moveTo>
                <a:lnTo>
                  <a:pt x="12192000" y="909447"/>
                </a:lnTo>
                <a:lnTo>
                  <a:pt x="0" y="909447"/>
                </a:lnTo>
                <a:lnTo>
                  <a:pt x="0" y="401788"/>
                </a:lnTo>
                <a:cubicBezTo>
                  <a:pt x="2540000" y="700478"/>
                  <a:pt x="6289368" y="812355"/>
                  <a:pt x="12192000" y="0"/>
                </a:cubicBezTo>
                <a:close/>
              </a:path>
            </a:pathLst>
          </a:custGeom>
          <a:solidFill>
            <a:schemeClr val="accent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zh-CN" altLang="en-US"/>
          </a:p>
        </p:txBody>
      </p:sp>
    </p:spTree>
    <p:extLst>
      <p:ext uri="{BB962C8B-B14F-4D97-AF65-F5344CB8AC3E}">
        <p14:creationId xmlns:p14="http://schemas.microsoft.com/office/powerpoint/2010/main" val="1992113504"/>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1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平行四边形 1">
            <a:extLst>
              <a:ext uri="{FF2B5EF4-FFF2-40B4-BE49-F238E27FC236}">
                <a16:creationId xmlns:a16="http://schemas.microsoft.com/office/drawing/2014/main" id="{ECA1F2DC-ADD2-4ECC-920A-9BA7DCB7797F}"/>
              </a:ext>
            </a:extLst>
          </p:cNvPr>
          <p:cNvSpPr/>
          <p:nvPr/>
        </p:nvSpPr>
        <p:spPr>
          <a:xfrm flipH="1">
            <a:off x="11668125" y="0"/>
            <a:ext cx="323850" cy="685800"/>
          </a:xfrm>
          <a:prstGeom prst="parallelogram">
            <a:avLst>
              <a:gd name="adj" fmla="val 4853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3" name="平行四边形 2">
            <a:extLst>
              <a:ext uri="{FF2B5EF4-FFF2-40B4-BE49-F238E27FC236}">
                <a16:creationId xmlns:a16="http://schemas.microsoft.com/office/drawing/2014/main" id="{0B848144-91A7-4F99-88D1-06FD2A2411B3}"/>
              </a:ext>
            </a:extLst>
          </p:cNvPr>
          <p:cNvSpPr/>
          <p:nvPr/>
        </p:nvSpPr>
        <p:spPr>
          <a:xfrm flipH="1">
            <a:off x="11410950" y="0"/>
            <a:ext cx="323850" cy="685800"/>
          </a:xfrm>
          <a:prstGeom prst="parallelogram">
            <a:avLst>
              <a:gd name="adj" fmla="val 4853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6" name="任意多边形: 形状 5">
            <a:extLst>
              <a:ext uri="{FF2B5EF4-FFF2-40B4-BE49-F238E27FC236}">
                <a16:creationId xmlns:a16="http://schemas.microsoft.com/office/drawing/2014/main" id="{E1D6A9AC-A757-4A80-A3AB-478BB17CDF8D}"/>
              </a:ext>
            </a:extLst>
          </p:cNvPr>
          <p:cNvSpPr/>
          <p:nvPr/>
        </p:nvSpPr>
        <p:spPr>
          <a:xfrm flipH="1">
            <a:off x="0" y="0"/>
            <a:ext cx="11477626" cy="685800"/>
          </a:xfrm>
          <a:custGeom>
            <a:avLst/>
            <a:gdLst>
              <a:gd name="connsiteX0" fmla="*/ 161369 w 11477626"/>
              <a:gd name="connsiteY0" fmla="*/ 0 h 685800"/>
              <a:gd name="connsiteX1" fmla="*/ 11477626 w 11477626"/>
              <a:gd name="connsiteY1" fmla="*/ 0 h 685800"/>
              <a:gd name="connsiteX2" fmla="*/ 11477626 w 11477626"/>
              <a:gd name="connsiteY2" fmla="*/ 685800 h 685800"/>
              <a:gd name="connsiteX3" fmla="*/ 0 w 11477626"/>
              <a:gd name="connsiteY3" fmla="*/ 685800 h 685800"/>
            </a:gdLst>
            <a:ahLst/>
            <a:cxnLst>
              <a:cxn ang="0">
                <a:pos x="connsiteX0" y="connsiteY0"/>
              </a:cxn>
              <a:cxn ang="0">
                <a:pos x="connsiteX1" y="connsiteY1"/>
              </a:cxn>
              <a:cxn ang="0">
                <a:pos x="connsiteX2" y="connsiteY2"/>
              </a:cxn>
              <a:cxn ang="0">
                <a:pos x="connsiteX3" y="connsiteY3"/>
              </a:cxn>
            </a:cxnLst>
            <a:rect l="l" t="t" r="r" b="b"/>
            <a:pathLst>
              <a:path w="11477626" h="685800">
                <a:moveTo>
                  <a:pt x="161369" y="0"/>
                </a:moveTo>
                <a:lnTo>
                  <a:pt x="11477626" y="0"/>
                </a:lnTo>
                <a:lnTo>
                  <a:pt x="11477626" y="685800"/>
                </a:lnTo>
                <a:lnTo>
                  <a:pt x="0" y="6858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l"/>
            <a:endParaRPr lang="zh-CN" altLang="en-US" sz="1600">
              <a:solidFill>
                <a:schemeClr val="bg1"/>
              </a:solidFill>
              <a:latin typeface="+mj-ea"/>
              <a:ea typeface="+mj-ea"/>
            </a:endParaRPr>
          </a:p>
        </p:txBody>
      </p:sp>
      <p:grpSp>
        <p:nvGrpSpPr>
          <p:cNvPr id="11" name="组合 10">
            <a:extLst>
              <a:ext uri="{FF2B5EF4-FFF2-40B4-BE49-F238E27FC236}">
                <a16:creationId xmlns:a16="http://schemas.microsoft.com/office/drawing/2014/main" id="{E75A4928-76E5-4315-B7F3-47AAA4A376AB}"/>
              </a:ext>
            </a:extLst>
          </p:cNvPr>
          <p:cNvGrpSpPr/>
          <p:nvPr/>
        </p:nvGrpSpPr>
        <p:grpSpPr>
          <a:xfrm>
            <a:off x="457200" y="-1"/>
            <a:ext cx="695325" cy="1095376"/>
            <a:chOff x="457200" y="-1"/>
            <a:chExt cx="695325" cy="1390650"/>
          </a:xfrm>
        </p:grpSpPr>
        <p:sp>
          <p:nvSpPr>
            <p:cNvPr id="8" name="矩形 7">
              <a:extLst>
                <a:ext uri="{FF2B5EF4-FFF2-40B4-BE49-F238E27FC236}">
                  <a16:creationId xmlns:a16="http://schemas.microsoft.com/office/drawing/2014/main" id="{4993693A-4636-4C94-8DAC-FFC8278A5C98}"/>
                </a:ext>
              </a:extLst>
            </p:cNvPr>
            <p:cNvSpPr/>
            <p:nvPr/>
          </p:nvSpPr>
          <p:spPr>
            <a:xfrm>
              <a:off x="457200" y="-1"/>
              <a:ext cx="695325" cy="1019175"/>
            </a:xfrm>
            <a:prstGeom prst="rect">
              <a:avLst/>
            </a:prstGeom>
            <a:solidFill>
              <a:schemeClr val="accent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9" name="箭头: V 形 8">
              <a:extLst>
                <a:ext uri="{FF2B5EF4-FFF2-40B4-BE49-F238E27FC236}">
                  <a16:creationId xmlns:a16="http://schemas.microsoft.com/office/drawing/2014/main" id="{AE028A8E-A035-4809-9E20-4DB4F6C33660}"/>
                </a:ext>
              </a:extLst>
            </p:cNvPr>
            <p:cNvSpPr/>
            <p:nvPr/>
          </p:nvSpPr>
          <p:spPr>
            <a:xfrm rot="16200000">
              <a:off x="421481" y="659604"/>
              <a:ext cx="766764" cy="695325"/>
            </a:xfrm>
            <a:prstGeom prst="chevron">
              <a:avLst/>
            </a:prstGeom>
            <a:solidFill>
              <a:schemeClr val="accent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grpSp>
      <p:sp>
        <p:nvSpPr>
          <p:cNvPr id="10" name="文本框 9">
            <a:extLst>
              <a:ext uri="{FF2B5EF4-FFF2-40B4-BE49-F238E27FC236}">
                <a16:creationId xmlns:a16="http://schemas.microsoft.com/office/drawing/2014/main" id="{A3AC80AD-70D1-42B5-93FC-71FFBDA82B6F}"/>
              </a:ext>
            </a:extLst>
          </p:cNvPr>
          <p:cNvSpPr txBox="1"/>
          <p:nvPr/>
        </p:nvSpPr>
        <p:spPr>
          <a:xfrm>
            <a:off x="1216025" y="95323"/>
            <a:ext cx="3427031" cy="523220"/>
          </a:xfrm>
          <a:prstGeom prst="rect">
            <a:avLst/>
          </a:prstGeom>
          <a:noFill/>
        </p:spPr>
        <p:txBody>
          <a:bodyPr wrap="square" rtlCol="0">
            <a:spAutoFit/>
          </a:bodyPr>
          <a:lstStyle/>
          <a:p>
            <a:r>
              <a:rPr kumimoji="1" lang="zh-CN" altLang="en-US" sz="2800" b="1" dirty="0">
                <a:solidFill>
                  <a:schemeClr val="bg1"/>
                </a:solidFill>
                <a:latin typeface="Microsoft YaHei" panose="020B0503020204020204" pitchFamily="34" charset="-122"/>
                <a:ea typeface="Microsoft YaHei" panose="020B0503020204020204" pitchFamily="34" charset="-122"/>
              </a:rPr>
              <a:t>在这里输入你的标题</a:t>
            </a:r>
          </a:p>
        </p:txBody>
      </p:sp>
    </p:spTree>
    <p:extLst>
      <p:ext uri="{BB962C8B-B14F-4D97-AF65-F5344CB8AC3E}">
        <p14:creationId xmlns:p14="http://schemas.microsoft.com/office/powerpoint/2010/main" val="2392030285"/>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1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a:extLst>
              <a:ext uri="{FF2B5EF4-FFF2-40B4-BE49-F238E27FC236}">
                <a16:creationId xmlns:a16="http://schemas.microsoft.com/office/drawing/2014/main" id="{33813DCF-C598-429A-B286-29C7028249BD}"/>
              </a:ext>
            </a:extLst>
          </p:cNvPr>
          <p:cNvSpPr/>
          <p:nvPr/>
        </p:nvSpPr>
        <p:spPr>
          <a:xfrm>
            <a:off x="347384" y="347384"/>
            <a:ext cx="221735" cy="221735"/>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Tree>
    <p:extLst>
      <p:ext uri="{BB962C8B-B14F-4D97-AF65-F5344CB8AC3E}">
        <p14:creationId xmlns:p14="http://schemas.microsoft.com/office/powerpoint/2010/main" val="289532488"/>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1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a:extLst>
              <a:ext uri="{FF2B5EF4-FFF2-40B4-BE49-F238E27FC236}">
                <a16:creationId xmlns:a16="http://schemas.microsoft.com/office/drawing/2014/main" id="{6CDE085E-6832-4EA1-8F26-923773E06CAF}"/>
              </a:ext>
            </a:extLst>
          </p:cNvPr>
          <p:cNvSpPr/>
          <p:nvPr/>
        </p:nvSpPr>
        <p:spPr>
          <a:xfrm>
            <a:off x="1" y="342900"/>
            <a:ext cx="438912" cy="3524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3" name="矩形 2">
            <a:extLst>
              <a:ext uri="{FF2B5EF4-FFF2-40B4-BE49-F238E27FC236}">
                <a16:creationId xmlns:a16="http://schemas.microsoft.com/office/drawing/2014/main" id="{D867572A-56ED-4B54-81F1-BBEAE1B369A0}"/>
              </a:ext>
            </a:extLst>
          </p:cNvPr>
          <p:cNvSpPr/>
          <p:nvPr/>
        </p:nvSpPr>
        <p:spPr>
          <a:xfrm>
            <a:off x="514161" y="342900"/>
            <a:ext cx="152400" cy="3524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Tree>
    <p:extLst>
      <p:ext uri="{BB962C8B-B14F-4D97-AF65-F5344CB8AC3E}">
        <p14:creationId xmlns:p14="http://schemas.microsoft.com/office/powerpoint/2010/main" val="734621958"/>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1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任意多边形: 形状 1">
            <a:extLst>
              <a:ext uri="{FF2B5EF4-FFF2-40B4-BE49-F238E27FC236}">
                <a16:creationId xmlns:a16="http://schemas.microsoft.com/office/drawing/2014/main" id="{AD68A848-5BF6-4562-B3E2-360B4B7331BF}"/>
              </a:ext>
            </a:extLst>
          </p:cNvPr>
          <p:cNvSpPr/>
          <p:nvPr/>
        </p:nvSpPr>
        <p:spPr>
          <a:xfrm>
            <a:off x="0" y="548063"/>
            <a:ext cx="3690938" cy="260154"/>
          </a:xfrm>
          <a:custGeom>
            <a:avLst/>
            <a:gdLst>
              <a:gd name="connsiteX0" fmla="*/ 0 w 4151376"/>
              <a:gd name="connsiteY0" fmla="*/ 292608 h 292608"/>
              <a:gd name="connsiteX1" fmla="*/ 3858768 w 4151376"/>
              <a:gd name="connsiteY1" fmla="*/ 292608 h 292608"/>
              <a:gd name="connsiteX2" fmla="*/ 4151376 w 4151376"/>
              <a:gd name="connsiteY2" fmla="*/ 0 h 292608"/>
            </a:gdLst>
            <a:ahLst/>
            <a:cxnLst>
              <a:cxn ang="0">
                <a:pos x="connsiteX0" y="connsiteY0"/>
              </a:cxn>
              <a:cxn ang="0">
                <a:pos x="connsiteX1" y="connsiteY1"/>
              </a:cxn>
              <a:cxn ang="0">
                <a:pos x="connsiteX2" y="connsiteY2"/>
              </a:cxn>
            </a:cxnLst>
            <a:rect l="l" t="t" r="r" b="b"/>
            <a:pathLst>
              <a:path w="4151376" h="292608">
                <a:moveTo>
                  <a:pt x="0" y="292608"/>
                </a:moveTo>
                <a:lnTo>
                  <a:pt x="3858768" y="292608"/>
                </a:lnTo>
                <a:lnTo>
                  <a:pt x="4151376" y="0"/>
                </a:lnTo>
              </a:path>
            </a:pathLst>
          </a:cu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 name="文本框 2">
            <a:extLst>
              <a:ext uri="{FF2B5EF4-FFF2-40B4-BE49-F238E27FC236}">
                <a16:creationId xmlns:a16="http://schemas.microsoft.com/office/drawing/2014/main" id="{6DAF4B82-BCC9-4E50-B2F9-9031DEE6B31D}"/>
              </a:ext>
            </a:extLst>
          </p:cNvPr>
          <p:cNvSpPr txBox="1"/>
          <p:nvPr/>
        </p:nvSpPr>
        <p:spPr>
          <a:xfrm>
            <a:off x="90709" y="253999"/>
            <a:ext cx="3427031" cy="523220"/>
          </a:xfrm>
          <a:prstGeom prst="rect">
            <a:avLst/>
          </a:prstGeom>
          <a:noFill/>
        </p:spPr>
        <p:txBody>
          <a:bodyPr wrap="square" rtlCol="0">
            <a:spAutoFit/>
          </a:bodyPr>
          <a:lstStyle/>
          <a:p>
            <a:r>
              <a:rPr kumimoji="1" lang="zh-CN" altLang="en-US" sz="2800" b="1" dirty="0">
                <a:solidFill>
                  <a:schemeClr val="accent1">
                    <a:lumMod val="100000"/>
                  </a:schemeClr>
                </a:solidFill>
                <a:latin typeface="Microsoft YaHei" panose="020B0503020204020204" pitchFamily="34" charset="-122"/>
                <a:ea typeface="Microsoft YaHei" panose="020B0503020204020204" pitchFamily="34" charset="-122"/>
              </a:rPr>
              <a:t>在这里输入你的标题</a:t>
            </a:r>
          </a:p>
        </p:txBody>
      </p:sp>
      <p:sp>
        <p:nvSpPr>
          <p:cNvPr id="4" name="矩形 3">
            <a:extLst>
              <a:ext uri="{FF2B5EF4-FFF2-40B4-BE49-F238E27FC236}">
                <a16:creationId xmlns:a16="http://schemas.microsoft.com/office/drawing/2014/main" id="{B8C930E5-6C01-47E6-9129-CFB186C177BF}"/>
              </a:ext>
            </a:extLst>
          </p:cNvPr>
          <p:cNvSpPr/>
          <p:nvPr/>
        </p:nvSpPr>
        <p:spPr>
          <a:xfrm>
            <a:off x="0" y="789165"/>
            <a:ext cx="1038225" cy="537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5" name="椭圆 4">
            <a:extLst>
              <a:ext uri="{FF2B5EF4-FFF2-40B4-BE49-F238E27FC236}">
                <a16:creationId xmlns:a16="http://schemas.microsoft.com/office/drawing/2014/main" id="{B0CF7EAB-62A0-43E1-8037-1D8E7E849AC8}"/>
              </a:ext>
            </a:extLst>
          </p:cNvPr>
          <p:cNvSpPr/>
          <p:nvPr/>
        </p:nvSpPr>
        <p:spPr>
          <a:xfrm>
            <a:off x="3657600" y="513319"/>
            <a:ext cx="66675" cy="6667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Tree>
    <p:extLst>
      <p:ext uri="{BB962C8B-B14F-4D97-AF65-F5344CB8AC3E}">
        <p14:creationId xmlns:p14="http://schemas.microsoft.com/office/powerpoint/2010/main" val="2985086696"/>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1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圆角 1">
            <a:extLst>
              <a:ext uri="{FF2B5EF4-FFF2-40B4-BE49-F238E27FC236}">
                <a16:creationId xmlns:a16="http://schemas.microsoft.com/office/drawing/2014/main" id="{1DBCB537-1F96-42BF-9928-1A9815085BF7}"/>
              </a:ext>
            </a:extLst>
          </p:cNvPr>
          <p:cNvSpPr/>
          <p:nvPr/>
        </p:nvSpPr>
        <p:spPr>
          <a:xfrm>
            <a:off x="-542925" y="304800"/>
            <a:ext cx="2286000" cy="590550"/>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3" name="文本框 2">
            <a:extLst>
              <a:ext uri="{FF2B5EF4-FFF2-40B4-BE49-F238E27FC236}">
                <a16:creationId xmlns:a16="http://schemas.microsoft.com/office/drawing/2014/main" id="{11F724B5-FE47-4ECB-91F4-706CF4F751FF}"/>
              </a:ext>
            </a:extLst>
          </p:cNvPr>
          <p:cNvSpPr txBox="1"/>
          <p:nvPr/>
        </p:nvSpPr>
        <p:spPr>
          <a:xfrm>
            <a:off x="466725" y="461575"/>
            <a:ext cx="923330" cy="276999"/>
          </a:xfrm>
          <a:prstGeom prst="rect">
            <a:avLst/>
          </a:prstGeom>
          <a:noFill/>
        </p:spPr>
        <p:txBody>
          <a:bodyPr wrap="none" lIns="0" tIns="0" rIns="0" bIns="0" rtlCol="0" anchor="t">
            <a:spAutoFit/>
          </a:bodyPr>
          <a:lstStyle/>
          <a:p>
            <a:pPr algn="l"/>
            <a:r>
              <a:rPr lang="zh-CN" altLang="en-US" dirty="0">
                <a:solidFill>
                  <a:schemeClr val="bg1"/>
                </a:solidFill>
                <a:latin typeface="+mj-ea"/>
                <a:ea typeface="+mj-ea"/>
              </a:rPr>
              <a:t>第一部分</a:t>
            </a:r>
          </a:p>
        </p:txBody>
      </p:sp>
      <p:sp>
        <p:nvSpPr>
          <p:cNvPr id="4" name="文本框 3">
            <a:extLst>
              <a:ext uri="{FF2B5EF4-FFF2-40B4-BE49-F238E27FC236}">
                <a16:creationId xmlns:a16="http://schemas.microsoft.com/office/drawing/2014/main" id="{6D3DAD59-6D68-49DA-9173-2B8AC37CC011}"/>
              </a:ext>
            </a:extLst>
          </p:cNvPr>
          <p:cNvSpPr txBox="1"/>
          <p:nvPr/>
        </p:nvSpPr>
        <p:spPr>
          <a:xfrm>
            <a:off x="1852834" y="339179"/>
            <a:ext cx="3427031" cy="523220"/>
          </a:xfrm>
          <a:prstGeom prst="rect">
            <a:avLst/>
          </a:prstGeom>
          <a:noFill/>
        </p:spPr>
        <p:txBody>
          <a:bodyPr wrap="square" rtlCol="0">
            <a:spAutoFit/>
          </a:bodyPr>
          <a:lstStyle/>
          <a:p>
            <a:r>
              <a:rPr kumimoji="1" lang="zh-CN" altLang="en-US" sz="2800" b="1" dirty="0">
                <a:solidFill>
                  <a:schemeClr val="accent1">
                    <a:lumMod val="100000"/>
                  </a:schemeClr>
                </a:solidFill>
                <a:latin typeface="Microsoft YaHei" panose="020B0503020204020204" pitchFamily="34" charset="-122"/>
                <a:ea typeface="Microsoft YaHei" panose="020B0503020204020204" pitchFamily="34" charset="-122"/>
              </a:rPr>
              <a:t>在这里输入你的标题</a:t>
            </a:r>
          </a:p>
        </p:txBody>
      </p:sp>
    </p:spTree>
    <p:extLst>
      <p:ext uri="{BB962C8B-B14F-4D97-AF65-F5344CB8AC3E}">
        <p14:creationId xmlns:p14="http://schemas.microsoft.com/office/powerpoint/2010/main" val="3457456070"/>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1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组合 3">
            <a:extLst>
              <a:ext uri="{FF2B5EF4-FFF2-40B4-BE49-F238E27FC236}">
                <a16:creationId xmlns:a16="http://schemas.microsoft.com/office/drawing/2014/main" id="{0796BB36-8491-43BA-9EE0-7ED81BB3462F}"/>
              </a:ext>
            </a:extLst>
          </p:cNvPr>
          <p:cNvGrpSpPr/>
          <p:nvPr/>
        </p:nvGrpSpPr>
        <p:grpSpPr>
          <a:xfrm>
            <a:off x="0" y="907923"/>
            <a:ext cx="3547872" cy="198501"/>
            <a:chOff x="-285750" y="752475"/>
            <a:chExt cx="3838575" cy="290512"/>
          </a:xfrm>
        </p:grpSpPr>
        <p:sp>
          <p:nvSpPr>
            <p:cNvPr id="2" name="平行四边形 1">
              <a:extLst>
                <a:ext uri="{FF2B5EF4-FFF2-40B4-BE49-F238E27FC236}">
                  <a16:creationId xmlns:a16="http://schemas.microsoft.com/office/drawing/2014/main" id="{820A6109-F8D0-4815-B148-6F6573DE3D21}"/>
                </a:ext>
              </a:extLst>
            </p:cNvPr>
            <p:cNvSpPr/>
            <p:nvPr/>
          </p:nvSpPr>
          <p:spPr>
            <a:xfrm>
              <a:off x="-285750" y="752475"/>
              <a:ext cx="3524250" cy="142875"/>
            </a:xfrm>
            <a:prstGeom prst="parallelogram">
              <a:avLst/>
            </a:prstGeom>
            <a:gradFill>
              <a:gsLst>
                <a:gs pos="0">
                  <a:srgbClr val="373E8F">
                    <a:alpha val="0"/>
                  </a:srgbClr>
                </a:gs>
                <a:gs pos="100000">
                  <a:srgbClr val="373E8F"/>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3" name="平行四边形 2">
              <a:extLst>
                <a:ext uri="{FF2B5EF4-FFF2-40B4-BE49-F238E27FC236}">
                  <a16:creationId xmlns:a16="http://schemas.microsoft.com/office/drawing/2014/main" id="{BDF33B4C-D760-47FA-ADC8-41E2C3BF8203}"/>
                </a:ext>
              </a:extLst>
            </p:cNvPr>
            <p:cNvSpPr/>
            <p:nvPr/>
          </p:nvSpPr>
          <p:spPr>
            <a:xfrm>
              <a:off x="952500" y="823912"/>
              <a:ext cx="2600325" cy="219075"/>
            </a:xfrm>
            <a:prstGeom prst="parallelogram">
              <a:avLst/>
            </a:prstGeom>
            <a:gradFill>
              <a:gsLst>
                <a:gs pos="0">
                  <a:srgbClr val="373E8F">
                    <a:alpha val="0"/>
                  </a:srgbClr>
                </a:gs>
                <a:gs pos="100000">
                  <a:srgbClr val="373E8F">
                    <a:alpha val="63000"/>
                  </a:srgb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grpSp>
      <p:sp>
        <p:nvSpPr>
          <p:cNvPr id="5" name="文本框 4">
            <a:extLst>
              <a:ext uri="{FF2B5EF4-FFF2-40B4-BE49-F238E27FC236}">
                <a16:creationId xmlns:a16="http://schemas.microsoft.com/office/drawing/2014/main" id="{39753CDD-B332-411E-8048-EEA7EC309362}"/>
              </a:ext>
            </a:extLst>
          </p:cNvPr>
          <p:cNvSpPr txBox="1"/>
          <p:nvPr/>
        </p:nvSpPr>
        <p:spPr>
          <a:xfrm>
            <a:off x="243490" y="302413"/>
            <a:ext cx="3427031" cy="523220"/>
          </a:xfrm>
          <a:prstGeom prst="rect">
            <a:avLst/>
          </a:prstGeom>
          <a:noFill/>
        </p:spPr>
        <p:txBody>
          <a:bodyPr wrap="square" rtlCol="0">
            <a:spAutoFit/>
          </a:bodyPr>
          <a:lstStyle/>
          <a:p>
            <a:r>
              <a:rPr kumimoji="1" lang="zh-CN" altLang="en-US" sz="2800" b="1" dirty="0">
                <a:solidFill>
                  <a:schemeClr val="accent1">
                    <a:lumMod val="100000"/>
                  </a:schemeClr>
                </a:solidFill>
                <a:latin typeface="Microsoft YaHei" panose="020B0503020204020204" pitchFamily="34" charset="-122"/>
                <a:ea typeface="Microsoft YaHei" panose="020B0503020204020204" pitchFamily="34" charset="-122"/>
              </a:rPr>
              <a:t>在这里输入你的标题</a:t>
            </a:r>
          </a:p>
        </p:txBody>
      </p:sp>
    </p:spTree>
    <p:extLst>
      <p:ext uri="{BB962C8B-B14F-4D97-AF65-F5344CB8AC3E}">
        <p14:creationId xmlns:p14="http://schemas.microsoft.com/office/powerpoint/2010/main" val="1558996547"/>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1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a:extLst>
              <a:ext uri="{FF2B5EF4-FFF2-40B4-BE49-F238E27FC236}">
                <a16:creationId xmlns:a16="http://schemas.microsoft.com/office/drawing/2014/main" id="{62B3CAE3-61BC-4ECE-968B-B5A3BB0A9065}"/>
              </a:ext>
            </a:extLst>
          </p:cNvPr>
          <p:cNvSpPr txBox="1"/>
          <p:nvPr/>
        </p:nvSpPr>
        <p:spPr>
          <a:xfrm>
            <a:off x="800769" y="302413"/>
            <a:ext cx="3427031" cy="523220"/>
          </a:xfrm>
          <a:prstGeom prst="rect">
            <a:avLst/>
          </a:prstGeom>
          <a:noFill/>
        </p:spPr>
        <p:txBody>
          <a:bodyPr wrap="square" rtlCol="0">
            <a:spAutoFit/>
          </a:bodyPr>
          <a:lstStyle/>
          <a:p>
            <a:r>
              <a:rPr kumimoji="1" lang="zh-CN" altLang="en-US" sz="2800" b="1" dirty="0">
                <a:solidFill>
                  <a:schemeClr val="accent1">
                    <a:lumMod val="100000"/>
                  </a:schemeClr>
                </a:solidFill>
                <a:latin typeface="Microsoft YaHei" panose="020B0503020204020204" pitchFamily="34" charset="-122"/>
                <a:ea typeface="Microsoft YaHei" panose="020B0503020204020204" pitchFamily="34" charset="-122"/>
              </a:rPr>
              <a:t>在这里输入你的标题</a:t>
            </a:r>
          </a:p>
        </p:txBody>
      </p:sp>
      <p:sp>
        <p:nvSpPr>
          <p:cNvPr id="3" name="矩形: 圆角 2">
            <a:extLst>
              <a:ext uri="{FF2B5EF4-FFF2-40B4-BE49-F238E27FC236}">
                <a16:creationId xmlns:a16="http://schemas.microsoft.com/office/drawing/2014/main" id="{80E4943A-054F-4169-811C-16B04ABE4A66}"/>
              </a:ext>
            </a:extLst>
          </p:cNvPr>
          <p:cNvSpPr/>
          <p:nvPr/>
        </p:nvSpPr>
        <p:spPr>
          <a:xfrm rot="2700000">
            <a:off x="-744965" y="-7161"/>
            <a:ext cx="1717729" cy="225030"/>
          </a:xfrm>
          <a:prstGeom prst="roundRect">
            <a:avLst>
              <a:gd name="adj" fmla="val 50000"/>
            </a:avLst>
          </a:prstGeom>
          <a:gradFill>
            <a:gsLst>
              <a:gs pos="100000">
                <a:schemeClr val="accent1">
                  <a:alpha val="0"/>
                </a:schemeClr>
              </a:gs>
              <a:gs pos="45000">
                <a:srgbClr val="031761">
                  <a:alpha val="40000"/>
                </a:srgbClr>
              </a:gs>
              <a:gs pos="0">
                <a:schemeClr val="accent1"/>
              </a:gs>
            </a:gsLst>
            <a:lin ang="9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4" name="矩形: 圆角 3">
            <a:extLst>
              <a:ext uri="{FF2B5EF4-FFF2-40B4-BE49-F238E27FC236}">
                <a16:creationId xmlns:a16="http://schemas.microsoft.com/office/drawing/2014/main" id="{AACE980E-0807-4B87-9450-240EC6283D0D}"/>
              </a:ext>
            </a:extLst>
          </p:cNvPr>
          <p:cNvSpPr/>
          <p:nvPr/>
        </p:nvSpPr>
        <p:spPr>
          <a:xfrm rot="2700000">
            <a:off x="-432098" y="491979"/>
            <a:ext cx="1229890" cy="144088"/>
          </a:xfrm>
          <a:prstGeom prst="roundRect">
            <a:avLst>
              <a:gd name="adj" fmla="val 50000"/>
            </a:avLst>
          </a:prstGeom>
          <a:gradFill>
            <a:gsLst>
              <a:gs pos="100000">
                <a:schemeClr val="accent1">
                  <a:alpha val="0"/>
                </a:schemeClr>
              </a:gs>
              <a:gs pos="0">
                <a:schemeClr val="accent1">
                  <a:alpha val="31000"/>
                </a:schemeClr>
              </a:gs>
            </a:gsLst>
            <a:lin ang="9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cxnSp>
        <p:nvCxnSpPr>
          <p:cNvPr id="6" name="直接连接符 5">
            <a:extLst>
              <a:ext uri="{FF2B5EF4-FFF2-40B4-BE49-F238E27FC236}">
                <a16:creationId xmlns:a16="http://schemas.microsoft.com/office/drawing/2014/main" id="{94946623-AB3D-40DF-A564-AC89AEE6BA6F}"/>
              </a:ext>
            </a:extLst>
          </p:cNvPr>
          <p:cNvCxnSpPr>
            <a:cxnSpLocks/>
          </p:cNvCxnSpPr>
          <p:nvPr/>
        </p:nvCxnSpPr>
        <p:spPr>
          <a:xfrm>
            <a:off x="4227800" y="564023"/>
            <a:ext cx="7586248" cy="0"/>
          </a:xfrm>
          <a:prstGeom prst="line">
            <a:avLst/>
          </a:prstGeom>
          <a:noFill/>
          <a:ln w="28575">
            <a:gradFill>
              <a:gsLst>
                <a:gs pos="100000">
                  <a:schemeClr val="accent1">
                    <a:alpha val="0"/>
                  </a:schemeClr>
                </a:gs>
                <a:gs pos="0">
                  <a:schemeClr val="accent1"/>
                </a:gs>
              </a:gsLst>
              <a:lin ang="0" scaled="0"/>
            </a:gradFill>
            <a:headEnd type="none"/>
          </a:ln>
        </p:spPr>
        <p:style>
          <a:lnRef idx="2">
            <a:schemeClr val="accent1">
              <a:shade val="50000"/>
            </a:schemeClr>
          </a:lnRef>
          <a:fillRef idx="1">
            <a:schemeClr val="accent1"/>
          </a:fillRef>
          <a:effectRef idx="0">
            <a:schemeClr val="accent1"/>
          </a:effectRef>
          <a:fontRef idx="minor">
            <a:schemeClr val="lt1"/>
          </a:fontRef>
        </p:style>
      </p:cxnSp>
    </p:spTree>
    <p:extLst>
      <p:ext uri="{BB962C8B-B14F-4D97-AF65-F5344CB8AC3E}">
        <p14:creationId xmlns:p14="http://schemas.microsoft.com/office/powerpoint/2010/main" val="3423919590"/>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1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矩形: 圆角 2">
            <a:extLst>
              <a:ext uri="{FF2B5EF4-FFF2-40B4-BE49-F238E27FC236}">
                <a16:creationId xmlns:a16="http://schemas.microsoft.com/office/drawing/2014/main" id="{013284F3-C0C0-4C59-B23D-E8505F1D4AAD}"/>
              </a:ext>
            </a:extLst>
          </p:cNvPr>
          <p:cNvSpPr/>
          <p:nvPr/>
        </p:nvSpPr>
        <p:spPr>
          <a:xfrm rot="16200000">
            <a:off x="740407" y="485775"/>
            <a:ext cx="421644" cy="421644"/>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6" name="文本框 5">
            <a:extLst>
              <a:ext uri="{FF2B5EF4-FFF2-40B4-BE49-F238E27FC236}">
                <a16:creationId xmlns:a16="http://schemas.microsoft.com/office/drawing/2014/main" id="{8494FDF5-E58E-40C5-A15C-2ADA05732C3A}"/>
              </a:ext>
            </a:extLst>
          </p:cNvPr>
          <p:cNvSpPr txBox="1"/>
          <p:nvPr/>
        </p:nvSpPr>
        <p:spPr>
          <a:xfrm>
            <a:off x="1277019" y="445288"/>
            <a:ext cx="3427031" cy="523220"/>
          </a:xfrm>
          <a:prstGeom prst="rect">
            <a:avLst/>
          </a:prstGeom>
          <a:noFill/>
        </p:spPr>
        <p:txBody>
          <a:bodyPr wrap="square" rtlCol="0">
            <a:spAutoFit/>
          </a:bodyPr>
          <a:lstStyle/>
          <a:p>
            <a:r>
              <a:rPr kumimoji="1" lang="zh-CN" altLang="en-US" sz="2800" b="1" dirty="0">
                <a:solidFill>
                  <a:schemeClr val="accent1">
                    <a:lumMod val="100000"/>
                  </a:schemeClr>
                </a:solidFill>
                <a:latin typeface="Microsoft YaHei" panose="020B0503020204020204" pitchFamily="34" charset="-122"/>
                <a:ea typeface="Microsoft YaHei" panose="020B0503020204020204" pitchFamily="34" charset="-122"/>
              </a:rPr>
              <a:t>在这里输入你的标题</a:t>
            </a:r>
          </a:p>
        </p:txBody>
      </p:sp>
      <p:sp>
        <p:nvSpPr>
          <p:cNvPr id="7" name="任意多边形: 形状 6">
            <a:extLst>
              <a:ext uri="{FF2B5EF4-FFF2-40B4-BE49-F238E27FC236}">
                <a16:creationId xmlns:a16="http://schemas.microsoft.com/office/drawing/2014/main" id="{463FE056-3261-4D74-96D7-02A47256BC7C}"/>
              </a:ext>
            </a:extLst>
          </p:cNvPr>
          <p:cNvSpPr/>
          <p:nvPr/>
        </p:nvSpPr>
        <p:spPr>
          <a:xfrm rot="8100000">
            <a:off x="11169544" y="6166165"/>
            <a:ext cx="1482938" cy="821693"/>
          </a:xfrm>
          <a:custGeom>
            <a:avLst/>
            <a:gdLst>
              <a:gd name="connsiteX0" fmla="*/ 741468 w 1482938"/>
              <a:gd name="connsiteY0" fmla="*/ 0 h 821693"/>
              <a:gd name="connsiteX1" fmla="*/ 1482938 w 1482938"/>
              <a:gd name="connsiteY1" fmla="*/ 741469 h 821693"/>
              <a:gd name="connsiteX2" fmla="*/ 1395875 w 1482938"/>
              <a:gd name="connsiteY2" fmla="*/ 800169 h 821693"/>
              <a:gd name="connsiteX3" fmla="*/ 1289260 w 1482938"/>
              <a:gd name="connsiteY3" fmla="*/ 821693 h 821693"/>
              <a:gd name="connsiteX4" fmla="*/ 193678 w 1482938"/>
              <a:gd name="connsiteY4" fmla="*/ 821693 h 821693"/>
              <a:gd name="connsiteX5" fmla="*/ 0 w 1482938"/>
              <a:gd name="connsiteY5" fmla="*/ 741469 h 8216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82938" h="821693">
                <a:moveTo>
                  <a:pt x="741468" y="0"/>
                </a:moveTo>
                <a:lnTo>
                  <a:pt x="1482938" y="741469"/>
                </a:lnTo>
                <a:lnTo>
                  <a:pt x="1395875" y="800169"/>
                </a:lnTo>
                <a:cubicBezTo>
                  <a:pt x="1363106" y="814029"/>
                  <a:pt x="1327078" y="821693"/>
                  <a:pt x="1289260" y="821693"/>
                </a:cubicBezTo>
                <a:lnTo>
                  <a:pt x="193678" y="821693"/>
                </a:lnTo>
                <a:cubicBezTo>
                  <a:pt x="118042" y="821693"/>
                  <a:pt x="49566" y="791035"/>
                  <a:pt x="0" y="741469"/>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l"/>
            <a:endParaRPr lang="zh-CN" altLang="en-US" sz="1600">
              <a:solidFill>
                <a:schemeClr val="bg1"/>
              </a:solidFill>
              <a:latin typeface="+mj-ea"/>
              <a:ea typeface="+mj-ea"/>
            </a:endParaRPr>
          </a:p>
        </p:txBody>
      </p:sp>
    </p:spTree>
    <p:extLst>
      <p:ext uri="{BB962C8B-B14F-4D97-AF65-F5344CB8AC3E}">
        <p14:creationId xmlns:p14="http://schemas.microsoft.com/office/powerpoint/2010/main" val="1027785753"/>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1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a:extLst>
              <a:ext uri="{FF2B5EF4-FFF2-40B4-BE49-F238E27FC236}">
                <a16:creationId xmlns:a16="http://schemas.microsoft.com/office/drawing/2014/main" id="{C3B09F9F-F3E8-49AC-B1F8-5B60C52662B9}"/>
              </a:ext>
            </a:extLst>
          </p:cNvPr>
          <p:cNvSpPr/>
          <p:nvPr/>
        </p:nvSpPr>
        <p:spPr>
          <a:xfrm>
            <a:off x="328612" y="0"/>
            <a:ext cx="190500" cy="11049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3" name="矩形 2">
            <a:extLst>
              <a:ext uri="{FF2B5EF4-FFF2-40B4-BE49-F238E27FC236}">
                <a16:creationId xmlns:a16="http://schemas.microsoft.com/office/drawing/2014/main" id="{AC1F0AD9-42FE-4E93-88EB-CE9DF6192F20}"/>
              </a:ext>
            </a:extLst>
          </p:cNvPr>
          <p:cNvSpPr/>
          <p:nvPr/>
        </p:nvSpPr>
        <p:spPr>
          <a:xfrm>
            <a:off x="0" y="223837"/>
            <a:ext cx="4191000" cy="6572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4" name="矩形 3">
            <a:extLst>
              <a:ext uri="{FF2B5EF4-FFF2-40B4-BE49-F238E27FC236}">
                <a16:creationId xmlns:a16="http://schemas.microsoft.com/office/drawing/2014/main" id="{C297C014-7778-4DF8-A11F-1C8FFDB23867}"/>
              </a:ext>
            </a:extLst>
          </p:cNvPr>
          <p:cNvSpPr/>
          <p:nvPr/>
        </p:nvSpPr>
        <p:spPr>
          <a:xfrm>
            <a:off x="0" y="223837"/>
            <a:ext cx="676275" cy="657225"/>
          </a:xfrm>
          <a:prstGeom prst="rect">
            <a:avLst/>
          </a:prstGeom>
          <a:solidFill>
            <a:schemeClr val="accent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600" dirty="0">
                <a:solidFill>
                  <a:schemeClr val="bg1"/>
                </a:solidFill>
                <a:latin typeface="+mj-ea"/>
                <a:ea typeface="+mj-ea"/>
              </a:rPr>
              <a:t>01</a:t>
            </a:r>
            <a:endParaRPr lang="zh-CN" altLang="en-US" sz="1600" dirty="0">
              <a:solidFill>
                <a:schemeClr val="bg1"/>
              </a:solidFill>
              <a:latin typeface="+mj-ea"/>
              <a:ea typeface="+mj-ea"/>
            </a:endParaRPr>
          </a:p>
        </p:txBody>
      </p:sp>
    </p:spTree>
    <p:extLst>
      <p:ext uri="{BB962C8B-B14F-4D97-AF65-F5344CB8AC3E}">
        <p14:creationId xmlns:p14="http://schemas.microsoft.com/office/powerpoint/2010/main" val="1200036667"/>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图片 1">
            <a:extLst>
              <a:ext uri="{FF2B5EF4-FFF2-40B4-BE49-F238E27FC236}">
                <a16:creationId xmlns:a16="http://schemas.microsoft.com/office/drawing/2014/main" id="{F228D7FD-DA20-75A0-ECC1-C726C465C8C3}"/>
              </a:ext>
            </a:extLst>
          </p:cNvPr>
          <p:cNvPicPr>
            <a:picLocks noChangeAspect="1"/>
          </p:cNvPicPr>
          <p:nvPr/>
        </p:nvPicPr>
        <p:blipFill>
          <a:blip r:embed="rId2"/>
          <a:stretch>
            <a:fillRect/>
          </a:stretch>
        </p:blipFill>
        <p:spPr>
          <a:xfrm>
            <a:off x="4048125" y="1381125"/>
            <a:ext cx="4095750" cy="4095750"/>
          </a:xfrm>
          <a:prstGeom prst="rect">
            <a:avLst/>
          </a:prstGeom>
        </p:spPr>
      </p:pic>
      <p:sp>
        <p:nvSpPr>
          <p:cNvPr id="3" name="文本框 2">
            <a:extLst>
              <a:ext uri="{FF2B5EF4-FFF2-40B4-BE49-F238E27FC236}">
                <a16:creationId xmlns:a16="http://schemas.microsoft.com/office/drawing/2014/main" id="{F6D7CC63-2B16-B92B-3F71-019B47A596C8}"/>
              </a:ext>
            </a:extLst>
          </p:cNvPr>
          <p:cNvSpPr txBox="1"/>
          <p:nvPr/>
        </p:nvSpPr>
        <p:spPr>
          <a:xfrm>
            <a:off x="4283003" y="5476875"/>
            <a:ext cx="3625993" cy="276999"/>
          </a:xfrm>
          <a:prstGeom prst="rect">
            <a:avLst/>
          </a:prstGeom>
          <a:noFill/>
        </p:spPr>
        <p:txBody>
          <a:bodyPr wrap="none" lIns="0" tIns="0" rIns="0" bIns="0" rtlCol="0" anchor="t">
            <a:spAutoFit/>
          </a:bodyPr>
          <a:lstStyle/>
          <a:p>
            <a:pPr algn="l"/>
            <a:r>
              <a:rPr lang="zh-CN" altLang="en-US" dirty="0"/>
              <a:t>更多</a:t>
            </a:r>
            <a:r>
              <a:rPr lang="en-US" altLang="zh-CN" dirty="0"/>
              <a:t>PPT</a:t>
            </a:r>
            <a:r>
              <a:rPr lang="zh-CN" altLang="en-US" dirty="0"/>
              <a:t>干货请关注秋叶</a:t>
            </a:r>
            <a:r>
              <a:rPr lang="en-US" altLang="zh-CN" dirty="0"/>
              <a:t>PPT</a:t>
            </a:r>
            <a:r>
              <a:rPr lang="zh-CN" altLang="en-US" dirty="0"/>
              <a:t>公众号</a:t>
            </a:r>
            <a:endParaRPr lang="en-US" dirty="0"/>
          </a:p>
        </p:txBody>
      </p:sp>
    </p:spTree>
    <p:extLst>
      <p:ext uri="{BB962C8B-B14F-4D97-AF65-F5344CB8AC3E}">
        <p14:creationId xmlns:p14="http://schemas.microsoft.com/office/powerpoint/2010/main" val="156965682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a:extLst>
              <a:ext uri="{FF2B5EF4-FFF2-40B4-BE49-F238E27FC236}">
                <a16:creationId xmlns:a16="http://schemas.microsoft.com/office/drawing/2014/main" id="{F682F9CF-E3FB-4D92-9D66-55D5787E1B96}"/>
              </a:ext>
            </a:extLst>
          </p:cNvPr>
          <p:cNvSpPr/>
          <p:nvPr/>
        </p:nvSpPr>
        <p:spPr>
          <a:xfrm>
            <a:off x="1606296" y="1874520"/>
            <a:ext cx="8875776" cy="278892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p>
        </p:txBody>
      </p:sp>
      <p:sp>
        <p:nvSpPr>
          <p:cNvPr id="11" name="文本框 10">
            <a:extLst>
              <a:ext uri="{FF2B5EF4-FFF2-40B4-BE49-F238E27FC236}">
                <a16:creationId xmlns:a16="http://schemas.microsoft.com/office/drawing/2014/main" id="{E4393356-E9A7-46D9-B5F5-0D21EC991A29}"/>
              </a:ext>
            </a:extLst>
          </p:cNvPr>
          <p:cNvSpPr txBox="1"/>
          <p:nvPr/>
        </p:nvSpPr>
        <p:spPr>
          <a:xfrm>
            <a:off x="1941017" y="2813447"/>
            <a:ext cx="8309967" cy="1107996"/>
          </a:xfrm>
          <a:prstGeom prst="rect">
            <a:avLst/>
          </a:prstGeom>
          <a:noFill/>
        </p:spPr>
        <p:txBody>
          <a:bodyPr wrap="none" lIns="0" tIns="0" rIns="0" bIns="0" rtlCol="0" anchor="t">
            <a:spAutoFit/>
          </a:bodyPr>
          <a:lstStyle/>
          <a:p>
            <a:pPr algn="ctr"/>
            <a:r>
              <a:rPr lang="zh-CN" altLang="en-US" sz="7200" dirty="0">
                <a:solidFill>
                  <a:schemeClr val="bg1"/>
                </a:solidFill>
                <a:latin typeface="+mj-ea"/>
                <a:ea typeface="+mj-ea"/>
              </a:rPr>
              <a:t>输入你的封面大标题</a:t>
            </a:r>
          </a:p>
        </p:txBody>
      </p:sp>
      <p:sp>
        <p:nvSpPr>
          <p:cNvPr id="12" name="文本框 11">
            <a:extLst>
              <a:ext uri="{FF2B5EF4-FFF2-40B4-BE49-F238E27FC236}">
                <a16:creationId xmlns:a16="http://schemas.microsoft.com/office/drawing/2014/main" id="{08D1ED60-C0E7-408E-A5AA-59B489440FCB}"/>
              </a:ext>
            </a:extLst>
          </p:cNvPr>
          <p:cNvSpPr txBox="1"/>
          <p:nvPr/>
        </p:nvSpPr>
        <p:spPr>
          <a:xfrm>
            <a:off x="4095451" y="2275523"/>
            <a:ext cx="4001095" cy="369332"/>
          </a:xfrm>
          <a:prstGeom prst="rect">
            <a:avLst/>
          </a:prstGeom>
          <a:noFill/>
        </p:spPr>
        <p:txBody>
          <a:bodyPr wrap="none" lIns="0" tIns="0" rIns="0" bIns="0" rtlCol="0" anchor="t">
            <a:spAutoFit/>
          </a:bodyPr>
          <a:lstStyle/>
          <a:p>
            <a:pPr algn="ctr"/>
            <a:r>
              <a:rPr lang="zh-CN" altLang="en-US" sz="2400" dirty="0">
                <a:solidFill>
                  <a:schemeClr val="bg1"/>
                </a:solidFill>
                <a:latin typeface="+mn-ea"/>
              </a:rPr>
              <a:t>输入你的副标题或大标题英文</a:t>
            </a:r>
          </a:p>
        </p:txBody>
      </p:sp>
      <p:cxnSp>
        <p:nvCxnSpPr>
          <p:cNvPr id="14" name="直接连接符 13">
            <a:extLst>
              <a:ext uri="{FF2B5EF4-FFF2-40B4-BE49-F238E27FC236}">
                <a16:creationId xmlns:a16="http://schemas.microsoft.com/office/drawing/2014/main" id="{99FDF5DC-EAFA-4C3B-B052-660243EB047F}"/>
              </a:ext>
            </a:extLst>
          </p:cNvPr>
          <p:cNvCxnSpPr/>
          <p:nvPr/>
        </p:nvCxnSpPr>
        <p:spPr>
          <a:xfrm flipH="1">
            <a:off x="2029968" y="2465975"/>
            <a:ext cx="1901952"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 name="直接连接符 14">
            <a:extLst>
              <a:ext uri="{FF2B5EF4-FFF2-40B4-BE49-F238E27FC236}">
                <a16:creationId xmlns:a16="http://schemas.microsoft.com/office/drawing/2014/main" id="{C6CC629A-E754-4728-BB95-563C56597B63}"/>
              </a:ext>
            </a:extLst>
          </p:cNvPr>
          <p:cNvCxnSpPr/>
          <p:nvPr/>
        </p:nvCxnSpPr>
        <p:spPr>
          <a:xfrm flipH="1">
            <a:off x="8284464" y="2465975"/>
            <a:ext cx="1901952"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grpSp>
        <p:nvGrpSpPr>
          <p:cNvPr id="18" name="组合 17">
            <a:extLst>
              <a:ext uri="{FF2B5EF4-FFF2-40B4-BE49-F238E27FC236}">
                <a16:creationId xmlns:a16="http://schemas.microsoft.com/office/drawing/2014/main" id="{FC799265-AC15-410F-82A2-679AB60B288F}"/>
              </a:ext>
            </a:extLst>
          </p:cNvPr>
          <p:cNvGrpSpPr/>
          <p:nvPr/>
        </p:nvGrpSpPr>
        <p:grpSpPr>
          <a:xfrm>
            <a:off x="4331702" y="4145803"/>
            <a:ext cx="1475214" cy="246221"/>
            <a:chOff x="4095451" y="4640913"/>
            <a:chExt cx="1475214" cy="246221"/>
          </a:xfrm>
        </p:grpSpPr>
        <p:sp>
          <p:nvSpPr>
            <p:cNvPr id="16" name="矩形 15">
              <a:extLst>
                <a:ext uri="{FF2B5EF4-FFF2-40B4-BE49-F238E27FC236}">
                  <a16:creationId xmlns:a16="http://schemas.microsoft.com/office/drawing/2014/main" id="{74C493E7-1B47-4349-BC5B-BF3163490795}"/>
                </a:ext>
              </a:extLst>
            </p:cNvPr>
            <p:cNvSpPr/>
            <p:nvPr/>
          </p:nvSpPr>
          <p:spPr>
            <a:xfrm>
              <a:off x="4095451" y="4672584"/>
              <a:ext cx="164592" cy="1645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solidFill>
                  <a:schemeClr val="bg1"/>
                </a:solidFill>
              </a:endParaRPr>
            </a:p>
          </p:txBody>
        </p:sp>
        <p:sp>
          <p:nvSpPr>
            <p:cNvPr id="17" name="文本框 16">
              <a:extLst>
                <a:ext uri="{FF2B5EF4-FFF2-40B4-BE49-F238E27FC236}">
                  <a16:creationId xmlns:a16="http://schemas.microsoft.com/office/drawing/2014/main" id="{B804F6AA-7656-4EF8-84F0-3B3FB5CF0922}"/>
                </a:ext>
              </a:extLst>
            </p:cNvPr>
            <p:cNvSpPr txBox="1"/>
            <p:nvPr/>
          </p:nvSpPr>
          <p:spPr>
            <a:xfrm>
              <a:off x="4408487" y="4640913"/>
              <a:ext cx="1162178" cy="246221"/>
            </a:xfrm>
            <a:prstGeom prst="rect">
              <a:avLst/>
            </a:prstGeom>
            <a:noFill/>
          </p:spPr>
          <p:txBody>
            <a:bodyPr wrap="none" lIns="0" tIns="0" rIns="0" bIns="0" rtlCol="0" anchor="t">
              <a:spAutoFit/>
            </a:bodyPr>
            <a:lstStyle/>
            <a:p>
              <a:r>
                <a:rPr lang="zh-CN" altLang="en-US" sz="1600" dirty="0">
                  <a:solidFill>
                    <a:schemeClr val="bg1"/>
                  </a:solidFill>
                  <a:latin typeface="+mn-ea"/>
                </a:rPr>
                <a:t>汇报人：</a:t>
              </a:r>
              <a:r>
                <a:rPr lang="en-US" altLang="zh-CN" sz="1600" dirty="0">
                  <a:solidFill>
                    <a:schemeClr val="bg1"/>
                  </a:solidFill>
                  <a:latin typeface="+mn-ea"/>
                </a:rPr>
                <a:t>xxx</a:t>
              </a:r>
              <a:endParaRPr lang="zh-CN" altLang="en-US" sz="1600" dirty="0">
                <a:solidFill>
                  <a:schemeClr val="bg1"/>
                </a:solidFill>
                <a:latin typeface="+mn-ea"/>
              </a:endParaRPr>
            </a:p>
          </p:txBody>
        </p:sp>
      </p:grpSp>
      <p:grpSp>
        <p:nvGrpSpPr>
          <p:cNvPr id="19" name="组合 18">
            <a:extLst>
              <a:ext uri="{FF2B5EF4-FFF2-40B4-BE49-F238E27FC236}">
                <a16:creationId xmlns:a16="http://schemas.microsoft.com/office/drawing/2014/main" id="{482B1619-178E-45D1-BC39-C5F4314075B6}"/>
              </a:ext>
            </a:extLst>
          </p:cNvPr>
          <p:cNvGrpSpPr/>
          <p:nvPr/>
        </p:nvGrpSpPr>
        <p:grpSpPr>
          <a:xfrm>
            <a:off x="6590270" y="4145803"/>
            <a:ext cx="1270029" cy="246221"/>
            <a:chOff x="4095451" y="4640913"/>
            <a:chExt cx="1270029" cy="246221"/>
          </a:xfrm>
        </p:grpSpPr>
        <p:sp>
          <p:nvSpPr>
            <p:cNvPr id="20" name="矩形 19">
              <a:extLst>
                <a:ext uri="{FF2B5EF4-FFF2-40B4-BE49-F238E27FC236}">
                  <a16:creationId xmlns:a16="http://schemas.microsoft.com/office/drawing/2014/main" id="{3A1AE345-38CE-49BE-9E58-2C20078777A3}"/>
                </a:ext>
              </a:extLst>
            </p:cNvPr>
            <p:cNvSpPr/>
            <p:nvPr/>
          </p:nvSpPr>
          <p:spPr>
            <a:xfrm>
              <a:off x="4095451" y="4672584"/>
              <a:ext cx="164592" cy="1645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solidFill>
                  <a:schemeClr val="bg1"/>
                </a:solidFill>
              </a:endParaRPr>
            </a:p>
          </p:txBody>
        </p:sp>
        <p:sp>
          <p:nvSpPr>
            <p:cNvPr id="21" name="文本框 20">
              <a:extLst>
                <a:ext uri="{FF2B5EF4-FFF2-40B4-BE49-F238E27FC236}">
                  <a16:creationId xmlns:a16="http://schemas.microsoft.com/office/drawing/2014/main" id="{FCC3031D-C171-43E7-B549-82FC96054817}"/>
                </a:ext>
              </a:extLst>
            </p:cNvPr>
            <p:cNvSpPr txBox="1"/>
            <p:nvPr/>
          </p:nvSpPr>
          <p:spPr>
            <a:xfrm>
              <a:off x="4408487" y="4640913"/>
              <a:ext cx="956993" cy="246221"/>
            </a:xfrm>
            <a:prstGeom prst="rect">
              <a:avLst/>
            </a:prstGeom>
            <a:noFill/>
          </p:spPr>
          <p:txBody>
            <a:bodyPr wrap="none" lIns="0" tIns="0" rIns="0" bIns="0" rtlCol="0" anchor="t">
              <a:spAutoFit/>
            </a:bodyPr>
            <a:lstStyle/>
            <a:p>
              <a:r>
                <a:rPr lang="zh-CN" altLang="en-US" sz="1600" dirty="0">
                  <a:solidFill>
                    <a:schemeClr val="bg1"/>
                  </a:solidFill>
                  <a:latin typeface="+mn-ea"/>
                </a:rPr>
                <a:t>单位：</a:t>
              </a:r>
              <a:r>
                <a:rPr lang="en-US" altLang="zh-CN" sz="1600" dirty="0">
                  <a:solidFill>
                    <a:schemeClr val="bg1"/>
                  </a:solidFill>
                  <a:latin typeface="+mn-ea"/>
                </a:rPr>
                <a:t>xxx</a:t>
              </a:r>
              <a:endParaRPr lang="zh-CN" altLang="en-US" sz="1600" dirty="0">
                <a:solidFill>
                  <a:schemeClr val="bg1"/>
                </a:solidFill>
                <a:latin typeface="+mn-ea"/>
              </a:endParaRPr>
            </a:p>
          </p:txBody>
        </p:sp>
      </p:grpSp>
    </p:spTree>
    <p:extLst>
      <p:ext uri="{BB962C8B-B14F-4D97-AF65-F5344CB8AC3E}">
        <p14:creationId xmlns:p14="http://schemas.microsoft.com/office/powerpoint/2010/main" val="81924179"/>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2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组合 8">
            <a:extLst>
              <a:ext uri="{FF2B5EF4-FFF2-40B4-BE49-F238E27FC236}">
                <a16:creationId xmlns:a16="http://schemas.microsoft.com/office/drawing/2014/main" id="{0E102EBC-A1EA-48E3-83EE-C8A78AA6D7EA}"/>
              </a:ext>
            </a:extLst>
          </p:cNvPr>
          <p:cNvGrpSpPr/>
          <p:nvPr/>
        </p:nvGrpSpPr>
        <p:grpSpPr>
          <a:xfrm>
            <a:off x="3317875" y="556842"/>
            <a:ext cx="1008063" cy="130916"/>
            <a:chOff x="3317875" y="556842"/>
            <a:chExt cx="1008063" cy="130916"/>
          </a:xfrm>
        </p:grpSpPr>
        <p:sp>
          <p:nvSpPr>
            <p:cNvPr id="6" name="菱形 5">
              <a:extLst>
                <a:ext uri="{FF2B5EF4-FFF2-40B4-BE49-F238E27FC236}">
                  <a16:creationId xmlns:a16="http://schemas.microsoft.com/office/drawing/2014/main" id="{DEC36D87-62DD-4D33-9D0C-16B300AB92F7}"/>
                </a:ext>
              </a:extLst>
            </p:cNvPr>
            <p:cNvSpPr/>
            <p:nvPr/>
          </p:nvSpPr>
          <p:spPr>
            <a:xfrm flipH="1">
              <a:off x="4195022" y="556842"/>
              <a:ext cx="130916" cy="130916"/>
            </a:xfrm>
            <a:prstGeom prst="diamond">
              <a:avLst/>
            </a:prstGeom>
            <a:solidFill>
              <a:schemeClr val="accent1">
                <a:alpha val="26000"/>
              </a:schemeClr>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7" name="直接连接符 6">
              <a:extLst>
                <a:ext uri="{FF2B5EF4-FFF2-40B4-BE49-F238E27FC236}">
                  <a16:creationId xmlns:a16="http://schemas.microsoft.com/office/drawing/2014/main" id="{77614044-9001-4670-87B3-5BE0A7F62FE2}"/>
                </a:ext>
              </a:extLst>
            </p:cNvPr>
            <p:cNvCxnSpPr>
              <a:cxnSpLocks/>
            </p:cNvCxnSpPr>
            <p:nvPr/>
          </p:nvCxnSpPr>
          <p:spPr>
            <a:xfrm flipH="1">
              <a:off x="3317875" y="622300"/>
              <a:ext cx="881909" cy="0"/>
            </a:xfrm>
            <a:prstGeom prst="line">
              <a:avLst/>
            </a:prstGeom>
            <a:ln w="15875">
              <a:gradFill>
                <a:gsLst>
                  <a:gs pos="0">
                    <a:schemeClr val="accent1">
                      <a:lumMod val="5000"/>
                      <a:lumOff val="95000"/>
                    </a:schemeClr>
                  </a:gs>
                  <a:gs pos="100000">
                    <a:schemeClr val="bg1">
                      <a:alpha val="0"/>
                    </a:schemeClr>
                  </a:gs>
                </a:gsLst>
                <a:lin ang="0" scaled="0"/>
              </a:gradFill>
            </a:ln>
          </p:spPr>
          <p:style>
            <a:lnRef idx="1">
              <a:schemeClr val="accent1"/>
            </a:lnRef>
            <a:fillRef idx="0">
              <a:schemeClr val="accent1"/>
            </a:fillRef>
            <a:effectRef idx="0">
              <a:schemeClr val="accent1"/>
            </a:effectRef>
            <a:fontRef idx="minor">
              <a:schemeClr val="tx1"/>
            </a:fontRef>
          </p:style>
        </p:cxnSp>
      </p:grpSp>
      <p:grpSp>
        <p:nvGrpSpPr>
          <p:cNvPr id="10" name="组合 9">
            <a:extLst>
              <a:ext uri="{FF2B5EF4-FFF2-40B4-BE49-F238E27FC236}">
                <a16:creationId xmlns:a16="http://schemas.microsoft.com/office/drawing/2014/main" id="{336D5219-9012-462D-A637-104E29FCED29}"/>
              </a:ext>
            </a:extLst>
          </p:cNvPr>
          <p:cNvGrpSpPr/>
          <p:nvPr/>
        </p:nvGrpSpPr>
        <p:grpSpPr>
          <a:xfrm flipH="1">
            <a:off x="7809515" y="556842"/>
            <a:ext cx="1008063" cy="130916"/>
            <a:chOff x="3317875" y="556842"/>
            <a:chExt cx="1008063" cy="130916"/>
          </a:xfrm>
        </p:grpSpPr>
        <p:sp>
          <p:nvSpPr>
            <p:cNvPr id="11" name="菱形 10">
              <a:extLst>
                <a:ext uri="{FF2B5EF4-FFF2-40B4-BE49-F238E27FC236}">
                  <a16:creationId xmlns:a16="http://schemas.microsoft.com/office/drawing/2014/main" id="{7E862DC5-6A0A-454F-9D56-901BAD067FCD}"/>
                </a:ext>
              </a:extLst>
            </p:cNvPr>
            <p:cNvSpPr/>
            <p:nvPr/>
          </p:nvSpPr>
          <p:spPr>
            <a:xfrm flipH="1">
              <a:off x="4195022" y="556842"/>
              <a:ext cx="130916" cy="130916"/>
            </a:xfrm>
            <a:prstGeom prst="diamond">
              <a:avLst/>
            </a:prstGeom>
            <a:solidFill>
              <a:schemeClr val="accent1">
                <a:alpha val="26000"/>
              </a:schemeClr>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12" name="直接连接符 11">
              <a:extLst>
                <a:ext uri="{FF2B5EF4-FFF2-40B4-BE49-F238E27FC236}">
                  <a16:creationId xmlns:a16="http://schemas.microsoft.com/office/drawing/2014/main" id="{746DA4F9-3C67-4A22-9115-1174C4D5FD0C}"/>
                </a:ext>
              </a:extLst>
            </p:cNvPr>
            <p:cNvCxnSpPr>
              <a:cxnSpLocks/>
            </p:cNvCxnSpPr>
            <p:nvPr/>
          </p:nvCxnSpPr>
          <p:spPr>
            <a:xfrm flipH="1">
              <a:off x="3317875" y="622300"/>
              <a:ext cx="881909" cy="0"/>
            </a:xfrm>
            <a:prstGeom prst="line">
              <a:avLst/>
            </a:prstGeom>
            <a:ln w="15875">
              <a:gradFill>
                <a:gsLst>
                  <a:gs pos="0">
                    <a:schemeClr val="accent1">
                      <a:lumMod val="5000"/>
                      <a:lumOff val="95000"/>
                    </a:schemeClr>
                  </a:gs>
                  <a:gs pos="100000">
                    <a:schemeClr val="bg1">
                      <a:alpha val="0"/>
                    </a:schemeClr>
                  </a:gs>
                </a:gsLst>
                <a:lin ang="0" scaled="0"/>
              </a:gra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353467670"/>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2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平行四边形 3">
            <a:extLst>
              <a:ext uri="{FF2B5EF4-FFF2-40B4-BE49-F238E27FC236}">
                <a16:creationId xmlns:a16="http://schemas.microsoft.com/office/drawing/2014/main" id="{4D8281C0-5333-45FB-94F0-E74EC26C0DDC}"/>
              </a:ext>
            </a:extLst>
          </p:cNvPr>
          <p:cNvSpPr/>
          <p:nvPr/>
        </p:nvSpPr>
        <p:spPr>
          <a:xfrm>
            <a:off x="6498413" y="647633"/>
            <a:ext cx="1738425" cy="126189"/>
          </a:xfrm>
          <a:prstGeom prst="parallelogram">
            <a:avLst>
              <a:gd name="adj" fmla="val 77108"/>
            </a:avLst>
          </a:prstGeom>
          <a:gradFill>
            <a:gsLst>
              <a:gs pos="17000">
                <a:schemeClr val="accent1">
                  <a:alpha val="0"/>
                </a:schemeClr>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 name="平行四边形 1">
            <a:extLst>
              <a:ext uri="{FF2B5EF4-FFF2-40B4-BE49-F238E27FC236}">
                <a16:creationId xmlns:a16="http://schemas.microsoft.com/office/drawing/2014/main" id="{49EB3D4C-52C8-4239-A086-38206770CF1E}"/>
              </a:ext>
            </a:extLst>
          </p:cNvPr>
          <p:cNvSpPr/>
          <p:nvPr/>
        </p:nvSpPr>
        <p:spPr>
          <a:xfrm flipH="1">
            <a:off x="3885134" y="944765"/>
            <a:ext cx="1738425" cy="126189"/>
          </a:xfrm>
          <a:prstGeom prst="parallelogram">
            <a:avLst>
              <a:gd name="adj" fmla="val 77108"/>
            </a:avLst>
          </a:prstGeom>
          <a:gradFill>
            <a:gsLst>
              <a:gs pos="17000">
                <a:schemeClr val="accent1">
                  <a:alpha val="0"/>
                </a:schemeClr>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 name="文本框 2">
            <a:extLst>
              <a:ext uri="{FF2B5EF4-FFF2-40B4-BE49-F238E27FC236}">
                <a16:creationId xmlns:a16="http://schemas.microsoft.com/office/drawing/2014/main" id="{9319B925-7D31-410B-9512-E47199CF3CA9}"/>
              </a:ext>
            </a:extLst>
          </p:cNvPr>
          <p:cNvSpPr txBox="1"/>
          <p:nvPr/>
        </p:nvSpPr>
        <p:spPr>
          <a:xfrm>
            <a:off x="4382484" y="603183"/>
            <a:ext cx="3427031" cy="523220"/>
          </a:xfrm>
          <a:prstGeom prst="rect">
            <a:avLst/>
          </a:prstGeom>
          <a:noFill/>
        </p:spPr>
        <p:txBody>
          <a:bodyPr wrap="square" rtlCol="0">
            <a:spAutoFit/>
          </a:bodyPr>
          <a:lstStyle/>
          <a:p>
            <a:r>
              <a:rPr kumimoji="1" lang="zh-CN" altLang="en-US" sz="2800" b="1" dirty="0">
                <a:solidFill>
                  <a:schemeClr val="accent1"/>
                </a:solidFill>
                <a:latin typeface="Microsoft YaHei" panose="020B0503020204020204" pitchFamily="34" charset="-122"/>
                <a:ea typeface="Microsoft YaHei" panose="020B0503020204020204" pitchFamily="34" charset="-122"/>
              </a:rPr>
              <a:t>在这里输入你的标题</a:t>
            </a:r>
          </a:p>
        </p:txBody>
      </p:sp>
      <p:sp>
        <p:nvSpPr>
          <p:cNvPr id="5" name="平行四边形 4">
            <a:extLst>
              <a:ext uri="{FF2B5EF4-FFF2-40B4-BE49-F238E27FC236}">
                <a16:creationId xmlns:a16="http://schemas.microsoft.com/office/drawing/2014/main" id="{9710C4FD-8CF8-4EE9-957B-638D2BFE6FBC}"/>
              </a:ext>
            </a:extLst>
          </p:cNvPr>
          <p:cNvSpPr/>
          <p:nvPr/>
        </p:nvSpPr>
        <p:spPr>
          <a:xfrm>
            <a:off x="7536028" y="879707"/>
            <a:ext cx="1143151" cy="64943"/>
          </a:xfrm>
          <a:prstGeom prst="parallelogram">
            <a:avLst>
              <a:gd name="adj" fmla="val 77108"/>
            </a:avLst>
          </a:prstGeom>
          <a:gradFill>
            <a:gsLst>
              <a:gs pos="17000">
                <a:schemeClr val="accent1">
                  <a:alpha val="0"/>
                </a:schemeClr>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 name="平行四边形 5">
            <a:extLst>
              <a:ext uri="{FF2B5EF4-FFF2-40B4-BE49-F238E27FC236}">
                <a16:creationId xmlns:a16="http://schemas.microsoft.com/office/drawing/2014/main" id="{95A79176-62F8-40C5-AF7F-5815D2B0F9FF}"/>
              </a:ext>
            </a:extLst>
          </p:cNvPr>
          <p:cNvSpPr/>
          <p:nvPr/>
        </p:nvSpPr>
        <p:spPr>
          <a:xfrm flipH="1">
            <a:off x="3446095" y="811905"/>
            <a:ext cx="1143151" cy="64943"/>
          </a:xfrm>
          <a:prstGeom prst="parallelogram">
            <a:avLst>
              <a:gd name="adj" fmla="val 77108"/>
            </a:avLst>
          </a:prstGeom>
          <a:gradFill>
            <a:gsLst>
              <a:gs pos="17000">
                <a:schemeClr val="accent1">
                  <a:alpha val="0"/>
                </a:schemeClr>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extLst>
      <p:ext uri="{BB962C8B-B14F-4D97-AF65-F5344CB8AC3E}">
        <p14:creationId xmlns:p14="http://schemas.microsoft.com/office/powerpoint/2010/main" val="3769918609"/>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2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a:extLst>
              <a:ext uri="{FF2B5EF4-FFF2-40B4-BE49-F238E27FC236}">
                <a16:creationId xmlns:a16="http://schemas.microsoft.com/office/drawing/2014/main" id="{1BB9F1DE-D790-4C8E-876A-5299E242A3FA}"/>
              </a:ext>
            </a:extLst>
          </p:cNvPr>
          <p:cNvSpPr txBox="1"/>
          <p:nvPr/>
        </p:nvSpPr>
        <p:spPr>
          <a:xfrm>
            <a:off x="4382485" y="603183"/>
            <a:ext cx="3427031" cy="523220"/>
          </a:xfrm>
          <a:prstGeom prst="rect">
            <a:avLst/>
          </a:prstGeom>
          <a:noFill/>
        </p:spPr>
        <p:txBody>
          <a:bodyPr wrap="square" rtlCol="0">
            <a:spAutoFit/>
          </a:bodyPr>
          <a:lstStyle/>
          <a:p>
            <a:r>
              <a:rPr kumimoji="1" lang="zh-CN" altLang="en-US" sz="2800" b="1" dirty="0">
                <a:solidFill>
                  <a:schemeClr val="accent1"/>
                </a:solidFill>
                <a:latin typeface="Microsoft YaHei" panose="020B0503020204020204" pitchFamily="34" charset="-122"/>
                <a:ea typeface="Microsoft YaHei" panose="020B0503020204020204" pitchFamily="34" charset="-122"/>
              </a:rPr>
              <a:t>在这里输入你的标题</a:t>
            </a:r>
          </a:p>
        </p:txBody>
      </p:sp>
      <p:grpSp>
        <p:nvGrpSpPr>
          <p:cNvPr id="7" name="组合 6">
            <a:extLst>
              <a:ext uri="{FF2B5EF4-FFF2-40B4-BE49-F238E27FC236}">
                <a16:creationId xmlns:a16="http://schemas.microsoft.com/office/drawing/2014/main" id="{3FFD9D8D-7A1E-4627-87E1-B5761233EEB1}"/>
              </a:ext>
            </a:extLst>
          </p:cNvPr>
          <p:cNvGrpSpPr/>
          <p:nvPr/>
        </p:nvGrpSpPr>
        <p:grpSpPr>
          <a:xfrm>
            <a:off x="4216401" y="827087"/>
            <a:ext cx="2156618" cy="342106"/>
            <a:chOff x="4216401" y="827087"/>
            <a:chExt cx="2156618" cy="342106"/>
          </a:xfrm>
        </p:grpSpPr>
        <p:sp>
          <p:nvSpPr>
            <p:cNvPr id="5" name="任意多边形: 形状 4">
              <a:extLst>
                <a:ext uri="{FF2B5EF4-FFF2-40B4-BE49-F238E27FC236}">
                  <a16:creationId xmlns:a16="http://schemas.microsoft.com/office/drawing/2014/main" id="{8DACC78C-CD2A-4978-87B3-83890AE17A7F}"/>
                </a:ext>
              </a:extLst>
            </p:cNvPr>
            <p:cNvSpPr/>
            <p:nvPr/>
          </p:nvSpPr>
          <p:spPr>
            <a:xfrm>
              <a:off x="4271169" y="896143"/>
              <a:ext cx="2101850" cy="273050"/>
            </a:xfrm>
            <a:custGeom>
              <a:avLst/>
              <a:gdLst>
                <a:gd name="connsiteX0" fmla="*/ 0 w 2101850"/>
                <a:gd name="connsiteY0" fmla="*/ 0 h 273050"/>
                <a:gd name="connsiteX1" fmla="*/ 139700 w 2101850"/>
                <a:gd name="connsiteY1" fmla="*/ 273050 h 273050"/>
                <a:gd name="connsiteX2" fmla="*/ 2101850 w 2101850"/>
                <a:gd name="connsiteY2" fmla="*/ 273050 h 273050"/>
              </a:gdLst>
              <a:ahLst/>
              <a:cxnLst>
                <a:cxn ang="0">
                  <a:pos x="connsiteX0" y="connsiteY0"/>
                </a:cxn>
                <a:cxn ang="0">
                  <a:pos x="connsiteX1" y="connsiteY1"/>
                </a:cxn>
                <a:cxn ang="0">
                  <a:pos x="connsiteX2" y="connsiteY2"/>
                </a:cxn>
              </a:cxnLst>
              <a:rect l="l" t="t" r="r" b="b"/>
              <a:pathLst>
                <a:path w="2101850" h="273050">
                  <a:moveTo>
                    <a:pt x="0" y="0"/>
                  </a:moveTo>
                  <a:lnTo>
                    <a:pt x="139700" y="273050"/>
                  </a:lnTo>
                  <a:lnTo>
                    <a:pt x="2101850" y="273050"/>
                  </a:lnTo>
                </a:path>
              </a:pathLst>
            </a:custGeom>
            <a:noFill/>
            <a:ln w="19050">
              <a:gradFill>
                <a:gsLst>
                  <a:gs pos="0">
                    <a:schemeClr val="accent1">
                      <a:alpha val="0"/>
                    </a:schemeClr>
                  </a:gs>
                  <a:gs pos="100000">
                    <a:schemeClr val="accent1"/>
                  </a:gs>
                </a:gsLst>
                <a:lin ang="10800000" scaled="0"/>
              </a:gradFill>
              <a:head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 name="椭圆 5">
              <a:extLst>
                <a:ext uri="{FF2B5EF4-FFF2-40B4-BE49-F238E27FC236}">
                  <a16:creationId xmlns:a16="http://schemas.microsoft.com/office/drawing/2014/main" id="{EF067CA3-D29A-4D6E-BAD8-B005CD9E7031}"/>
                </a:ext>
              </a:extLst>
            </p:cNvPr>
            <p:cNvSpPr/>
            <p:nvPr/>
          </p:nvSpPr>
          <p:spPr>
            <a:xfrm>
              <a:off x="4216401" y="827087"/>
              <a:ext cx="80962" cy="80962"/>
            </a:xfrm>
            <a:prstGeom prst="ellipse">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grpSp>
      <p:grpSp>
        <p:nvGrpSpPr>
          <p:cNvPr id="8" name="组合 7">
            <a:extLst>
              <a:ext uri="{FF2B5EF4-FFF2-40B4-BE49-F238E27FC236}">
                <a16:creationId xmlns:a16="http://schemas.microsoft.com/office/drawing/2014/main" id="{EB148CD3-A9CF-4BA6-983A-0D1726FD9317}"/>
              </a:ext>
            </a:extLst>
          </p:cNvPr>
          <p:cNvGrpSpPr/>
          <p:nvPr/>
        </p:nvGrpSpPr>
        <p:grpSpPr>
          <a:xfrm flipH="1" flipV="1">
            <a:off x="5764214" y="554037"/>
            <a:ext cx="2156618" cy="342106"/>
            <a:chOff x="4216401" y="827087"/>
            <a:chExt cx="2156618" cy="342106"/>
          </a:xfrm>
        </p:grpSpPr>
        <p:sp>
          <p:nvSpPr>
            <p:cNvPr id="9" name="任意多边形: 形状 8">
              <a:extLst>
                <a:ext uri="{FF2B5EF4-FFF2-40B4-BE49-F238E27FC236}">
                  <a16:creationId xmlns:a16="http://schemas.microsoft.com/office/drawing/2014/main" id="{D2B3E936-BAA3-42F3-ADE9-6F2649095FF7}"/>
                </a:ext>
              </a:extLst>
            </p:cNvPr>
            <p:cNvSpPr/>
            <p:nvPr/>
          </p:nvSpPr>
          <p:spPr>
            <a:xfrm>
              <a:off x="4271169" y="896143"/>
              <a:ext cx="2101850" cy="273050"/>
            </a:xfrm>
            <a:custGeom>
              <a:avLst/>
              <a:gdLst>
                <a:gd name="connsiteX0" fmla="*/ 0 w 2101850"/>
                <a:gd name="connsiteY0" fmla="*/ 0 h 273050"/>
                <a:gd name="connsiteX1" fmla="*/ 139700 w 2101850"/>
                <a:gd name="connsiteY1" fmla="*/ 273050 h 273050"/>
                <a:gd name="connsiteX2" fmla="*/ 2101850 w 2101850"/>
                <a:gd name="connsiteY2" fmla="*/ 273050 h 273050"/>
              </a:gdLst>
              <a:ahLst/>
              <a:cxnLst>
                <a:cxn ang="0">
                  <a:pos x="connsiteX0" y="connsiteY0"/>
                </a:cxn>
                <a:cxn ang="0">
                  <a:pos x="connsiteX1" y="connsiteY1"/>
                </a:cxn>
                <a:cxn ang="0">
                  <a:pos x="connsiteX2" y="connsiteY2"/>
                </a:cxn>
              </a:cxnLst>
              <a:rect l="l" t="t" r="r" b="b"/>
              <a:pathLst>
                <a:path w="2101850" h="273050">
                  <a:moveTo>
                    <a:pt x="0" y="0"/>
                  </a:moveTo>
                  <a:lnTo>
                    <a:pt x="139700" y="273050"/>
                  </a:lnTo>
                  <a:lnTo>
                    <a:pt x="2101850" y="273050"/>
                  </a:lnTo>
                </a:path>
              </a:pathLst>
            </a:custGeom>
            <a:noFill/>
            <a:ln w="19050">
              <a:gradFill>
                <a:gsLst>
                  <a:gs pos="0">
                    <a:schemeClr val="accent1">
                      <a:alpha val="0"/>
                    </a:schemeClr>
                  </a:gs>
                  <a:gs pos="100000">
                    <a:schemeClr val="accent1"/>
                  </a:gs>
                </a:gsLst>
                <a:lin ang="10800000" scaled="0"/>
              </a:gradFill>
              <a:head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椭圆 9">
              <a:extLst>
                <a:ext uri="{FF2B5EF4-FFF2-40B4-BE49-F238E27FC236}">
                  <a16:creationId xmlns:a16="http://schemas.microsoft.com/office/drawing/2014/main" id="{FE657C2D-6602-4470-BE28-F8005EE3F278}"/>
                </a:ext>
              </a:extLst>
            </p:cNvPr>
            <p:cNvSpPr/>
            <p:nvPr/>
          </p:nvSpPr>
          <p:spPr>
            <a:xfrm>
              <a:off x="4216401" y="827087"/>
              <a:ext cx="80962" cy="80962"/>
            </a:xfrm>
            <a:prstGeom prst="ellipse">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grpSp>
    </p:spTree>
    <p:extLst>
      <p:ext uri="{BB962C8B-B14F-4D97-AF65-F5344CB8AC3E}">
        <p14:creationId xmlns:p14="http://schemas.microsoft.com/office/powerpoint/2010/main" val="593221170"/>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2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梯形 1">
            <a:extLst>
              <a:ext uri="{FF2B5EF4-FFF2-40B4-BE49-F238E27FC236}">
                <a16:creationId xmlns:a16="http://schemas.microsoft.com/office/drawing/2014/main" id="{90B6B507-5F20-48DD-AAC3-9BAFE1CC81B9}"/>
              </a:ext>
            </a:extLst>
          </p:cNvPr>
          <p:cNvSpPr/>
          <p:nvPr/>
        </p:nvSpPr>
        <p:spPr>
          <a:xfrm>
            <a:off x="4102100" y="935903"/>
            <a:ext cx="3987800" cy="190500"/>
          </a:xfrm>
          <a:prstGeom prst="trapezoid">
            <a:avLst>
              <a:gd name="adj" fmla="val 183222"/>
            </a:avLst>
          </a:prstGeom>
          <a:gradFill>
            <a:gsLst>
              <a:gs pos="100000">
                <a:schemeClr val="accent1">
                  <a:alpha val="42000"/>
                </a:schemeClr>
              </a:gs>
              <a:gs pos="0">
                <a:schemeClr val="accent1">
                  <a:alpha val="0"/>
                </a:schemeClr>
              </a:gs>
            </a:gsLst>
            <a:lin ang="5400000" scaled="1"/>
          </a:gradFill>
          <a:ln cap="rnd">
            <a:gradFill>
              <a:gsLst>
                <a:gs pos="100000">
                  <a:schemeClr val="accent1"/>
                </a:gs>
                <a:gs pos="1000">
                  <a:schemeClr val="accent1">
                    <a:alpha val="0"/>
                  </a:schemeClr>
                </a:gs>
              </a:gsLst>
              <a:lin ang="5400000" scaled="1"/>
            </a:gra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 name="文本框 2">
            <a:extLst>
              <a:ext uri="{FF2B5EF4-FFF2-40B4-BE49-F238E27FC236}">
                <a16:creationId xmlns:a16="http://schemas.microsoft.com/office/drawing/2014/main" id="{1147ACD9-1A3D-4C52-9817-E567CD534DAB}"/>
              </a:ext>
            </a:extLst>
          </p:cNvPr>
          <p:cNvSpPr txBox="1"/>
          <p:nvPr/>
        </p:nvSpPr>
        <p:spPr>
          <a:xfrm>
            <a:off x="4382484" y="603183"/>
            <a:ext cx="3427031" cy="523220"/>
          </a:xfrm>
          <a:prstGeom prst="rect">
            <a:avLst/>
          </a:prstGeom>
          <a:noFill/>
        </p:spPr>
        <p:txBody>
          <a:bodyPr wrap="square" rtlCol="0">
            <a:spAutoFit/>
          </a:bodyPr>
          <a:lstStyle/>
          <a:p>
            <a:r>
              <a:rPr kumimoji="1" lang="zh-CN" altLang="en-US" sz="2800" b="1" dirty="0">
                <a:solidFill>
                  <a:schemeClr val="accent1"/>
                </a:solidFill>
                <a:latin typeface="Microsoft YaHei" panose="020B0503020204020204" pitchFamily="34" charset="-122"/>
                <a:ea typeface="Microsoft YaHei" panose="020B0503020204020204" pitchFamily="34" charset="-122"/>
              </a:rPr>
              <a:t>在这里输入你的标题</a:t>
            </a:r>
          </a:p>
        </p:txBody>
      </p:sp>
      <p:sp>
        <p:nvSpPr>
          <p:cNvPr id="5" name="梯形 4">
            <a:extLst>
              <a:ext uri="{FF2B5EF4-FFF2-40B4-BE49-F238E27FC236}">
                <a16:creationId xmlns:a16="http://schemas.microsoft.com/office/drawing/2014/main" id="{F76217E0-405E-4215-8128-4E1906F5C49C}"/>
              </a:ext>
            </a:extLst>
          </p:cNvPr>
          <p:cNvSpPr/>
          <p:nvPr/>
        </p:nvSpPr>
        <p:spPr>
          <a:xfrm>
            <a:off x="4546600" y="1086926"/>
            <a:ext cx="3098800" cy="190500"/>
          </a:xfrm>
          <a:prstGeom prst="trapezoid">
            <a:avLst>
              <a:gd name="adj" fmla="val 183222"/>
            </a:avLst>
          </a:prstGeom>
          <a:gradFill>
            <a:gsLst>
              <a:gs pos="100000">
                <a:schemeClr val="accent1">
                  <a:alpha val="42000"/>
                </a:schemeClr>
              </a:gs>
              <a:gs pos="0">
                <a:schemeClr val="accent1">
                  <a:alpha val="0"/>
                </a:schemeClr>
              </a:gs>
            </a:gsLst>
            <a:lin ang="5400000" scaled="1"/>
          </a:gra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extLst>
      <p:ext uri="{BB962C8B-B14F-4D97-AF65-F5344CB8AC3E}">
        <p14:creationId xmlns:p14="http://schemas.microsoft.com/office/powerpoint/2010/main" val="1117930226"/>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2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a:extLst>
              <a:ext uri="{FF2B5EF4-FFF2-40B4-BE49-F238E27FC236}">
                <a16:creationId xmlns:a16="http://schemas.microsoft.com/office/drawing/2014/main" id="{1147ACD9-1A3D-4C52-9817-E567CD534DAB}"/>
              </a:ext>
            </a:extLst>
          </p:cNvPr>
          <p:cNvSpPr txBox="1"/>
          <p:nvPr/>
        </p:nvSpPr>
        <p:spPr>
          <a:xfrm>
            <a:off x="4382484" y="603183"/>
            <a:ext cx="3427031" cy="523220"/>
          </a:xfrm>
          <a:prstGeom prst="rect">
            <a:avLst/>
          </a:prstGeom>
          <a:noFill/>
        </p:spPr>
        <p:txBody>
          <a:bodyPr wrap="square" rtlCol="0">
            <a:spAutoFit/>
          </a:bodyPr>
          <a:lstStyle/>
          <a:p>
            <a:r>
              <a:rPr kumimoji="1" lang="zh-CN" altLang="en-US" sz="2800" b="1" dirty="0">
                <a:solidFill>
                  <a:schemeClr val="accent1"/>
                </a:solidFill>
                <a:latin typeface="Microsoft YaHei" panose="020B0503020204020204" pitchFamily="34" charset="-122"/>
                <a:ea typeface="Microsoft YaHei" panose="020B0503020204020204" pitchFamily="34" charset="-122"/>
              </a:rPr>
              <a:t>在这里输入你的标题</a:t>
            </a:r>
          </a:p>
        </p:txBody>
      </p:sp>
      <p:sp>
        <p:nvSpPr>
          <p:cNvPr id="4" name="任意多边形: 形状 3">
            <a:extLst>
              <a:ext uri="{FF2B5EF4-FFF2-40B4-BE49-F238E27FC236}">
                <a16:creationId xmlns:a16="http://schemas.microsoft.com/office/drawing/2014/main" id="{C45CE035-AABE-43F1-ADA8-2ACB35F19D0C}"/>
              </a:ext>
            </a:extLst>
          </p:cNvPr>
          <p:cNvSpPr/>
          <p:nvPr/>
        </p:nvSpPr>
        <p:spPr>
          <a:xfrm>
            <a:off x="4108450" y="914400"/>
            <a:ext cx="3625850" cy="330200"/>
          </a:xfrm>
          <a:custGeom>
            <a:avLst/>
            <a:gdLst>
              <a:gd name="connsiteX0" fmla="*/ 241300 w 3625850"/>
              <a:gd name="connsiteY0" fmla="*/ 0 h 330200"/>
              <a:gd name="connsiteX1" fmla="*/ 0 w 3625850"/>
              <a:gd name="connsiteY1" fmla="*/ 241300 h 330200"/>
              <a:gd name="connsiteX2" fmla="*/ 1854200 w 3625850"/>
              <a:gd name="connsiteY2" fmla="*/ 241300 h 330200"/>
              <a:gd name="connsiteX3" fmla="*/ 1943100 w 3625850"/>
              <a:gd name="connsiteY3" fmla="*/ 330200 h 330200"/>
              <a:gd name="connsiteX4" fmla="*/ 3625850 w 3625850"/>
              <a:gd name="connsiteY4" fmla="*/ 330200 h 330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25850" h="330200">
                <a:moveTo>
                  <a:pt x="241300" y="0"/>
                </a:moveTo>
                <a:lnTo>
                  <a:pt x="0" y="241300"/>
                </a:lnTo>
                <a:lnTo>
                  <a:pt x="1854200" y="241300"/>
                </a:lnTo>
                <a:lnTo>
                  <a:pt x="1943100" y="330200"/>
                </a:lnTo>
                <a:lnTo>
                  <a:pt x="3625850" y="330200"/>
                </a:lnTo>
              </a:path>
            </a:pathLst>
          </a:custGeom>
          <a:noFill/>
          <a:ln w="25400">
            <a:gradFill>
              <a:gsLst>
                <a:gs pos="100000">
                  <a:schemeClr val="accent1">
                    <a:alpha val="0"/>
                  </a:schemeClr>
                </a:gs>
                <a:gs pos="0">
                  <a:schemeClr val="accent1"/>
                </a:gs>
              </a:gsLst>
              <a:lin ang="0" scaled="0"/>
            </a:gradFill>
            <a:head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extLst>
      <p:ext uri="{BB962C8B-B14F-4D97-AF65-F5344CB8AC3E}">
        <p14:creationId xmlns:p14="http://schemas.microsoft.com/office/powerpoint/2010/main" val="1255093437"/>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2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a:extLst>
              <a:ext uri="{FF2B5EF4-FFF2-40B4-BE49-F238E27FC236}">
                <a16:creationId xmlns:a16="http://schemas.microsoft.com/office/drawing/2014/main" id="{807032D7-FD97-4A6B-926A-A1BB6D5D5A51}"/>
              </a:ext>
            </a:extLst>
          </p:cNvPr>
          <p:cNvSpPr txBox="1"/>
          <p:nvPr/>
        </p:nvSpPr>
        <p:spPr>
          <a:xfrm>
            <a:off x="4382485" y="603183"/>
            <a:ext cx="3427031" cy="523220"/>
          </a:xfrm>
          <a:prstGeom prst="rect">
            <a:avLst/>
          </a:prstGeom>
          <a:noFill/>
        </p:spPr>
        <p:txBody>
          <a:bodyPr wrap="square" rtlCol="0">
            <a:spAutoFit/>
          </a:bodyPr>
          <a:lstStyle/>
          <a:p>
            <a:r>
              <a:rPr kumimoji="1" lang="zh-CN" altLang="en-US" sz="2800" b="1" dirty="0">
                <a:solidFill>
                  <a:schemeClr val="accent1"/>
                </a:solidFill>
                <a:latin typeface="Microsoft YaHei" panose="020B0503020204020204" pitchFamily="34" charset="-122"/>
                <a:ea typeface="Microsoft YaHei" panose="020B0503020204020204" pitchFamily="34" charset="-122"/>
              </a:rPr>
              <a:t>在这里输入你的标题</a:t>
            </a:r>
          </a:p>
        </p:txBody>
      </p:sp>
      <p:grpSp>
        <p:nvGrpSpPr>
          <p:cNvPr id="11" name="组合 10">
            <a:extLst>
              <a:ext uri="{FF2B5EF4-FFF2-40B4-BE49-F238E27FC236}">
                <a16:creationId xmlns:a16="http://schemas.microsoft.com/office/drawing/2014/main" id="{0885DD84-CB94-4A7A-B9F9-871968532303}"/>
              </a:ext>
            </a:extLst>
          </p:cNvPr>
          <p:cNvGrpSpPr/>
          <p:nvPr/>
        </p:nvGrpSpPr>
        <p:grpSpPr>
          <a:xfrm>
            <a:off x="708660" y="722903"/>
            <a:ext cx="3561080" cy="199333"/>
            <a:chOff x="708660" y="722903"/>
            <a:chExt cx="3561080" cy="199333"/>
          </a:xfrm>
        </p:grpSpPr>
        <p:sp>
          <p:nvSpPr>
            <p:cNvPr id="2" name="任意多边形: 形状 1">
              <a:extLst>
                <a:ext uri="{FF2B5EF4-FFF2-40B4-BE49-F238E27FC236}">
                  <a16:creationId xmlns:a16="http://schemas.microsoft.com/office/drawing/2014/main" id="{1EA46135-7667-4FBF-B22F-BAF551E5D301}"/>
                </a:ext>
              </a:extLst>
            </p:cNvPr>
            <p:cNvSpPr/>
            <p:nvPr/>
          </p:nvSpPr>
          <p:spPr>
            <a:xfrm flipH="1">
              <a:off x="708660" y="807350"/>
              <a:ext cx="3561080" cy="114886"/>
            </a:xfrm>
            <a:custGeom>
              <a:avLst/>
              <a:gdLst>
                <a:gd name="connsiteX0" fmla="*/ 0 w 3561080"/>
                <a:gd name="connsiteY0" fmla="*/ 208280 h 208280"/>
                <a:gd name="connsiteX1" fmla="*/ 208280 w 3561080"/>
                <a:gd name="connsiteY1" fmla="*/ 0 h 208280"/>
                <a:gd name="connsiteX2" fmla="*/ 3561080 w 3561080"/>
                <a:gd name="connsiteY2" fmla="*/ 0 h 208280"/>
              </a:gdLst>
              <a:ahLst/>
              <a:cxnLst>
                <a:cxn ang="0">
                  <a:pos x="connsiteX0" y="connsiteY0"/>
                </a:cxn>
                <a:cxn ang="0">
                  <a:pos x="connsiteX1" y="connsiteY1"/>
                </a:cxn>
                <a:cxn ang="0">
                  <a:pos x="connsiteX2" y="connsiteY2"/>
                </a:cxn>
              </a:cxnLst>
              <a:rect l="l" t="t" r="r" b="b"/>
              <a:pathLst>
                <a:path w="3561080" h="208280">
                  <a:moveTo>
                    <a:pt x="0" y="208280"/>
                  </a:moveTo>
                  <a:lnTo>
                    <a:pt x="208280" y="0"/>
                  </a:lnTo>
                  <a:lnTo>
                    <a:pt x="3561080" y="0"/>
                  </a:lnTo>
                </a:path>
              </a:pathLst>
            </a:custGeom>
            <a:noFill/>
            <a:ln w="25400">
              <a:gradFill>
                <a:gsLst>
                  <a:gs pos="100000">
                    <a:schemeClr val="accent1">
                      <a:alpha val="0"/>
                    </a:schemeClr>
                  </a:gs>
                  <a:gs pos="0">
                    <a:schemeClr val="accent1"/>
                  </a:gs>
                </a:gsLst>
                <a:lin ang="0" scaled="0"/>
              </a:gradFill>
              <a:head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6" name="直接连接符 5">
              <a:extLst>
                <a:ext uri="{FF2B5EF4-FFF2-40B4-BE49-F238E27FC236}">
                  <a16:creationId xmlns:a16="http://schemas.microsoft.com/office/drawing/2014/main" id="{76BA737B-138C-4474-8B3C-12F5D76645E3}"/>
                </a:ext>
              </a:extLst>
            </p:cNvPr>
            <p:cNvCxnSpPr>
              <a:cxnSpLocks/>
            </p:cNvCxnSpPr>
            <p:nvPr/>
          </p:nvCxnSpPr>
          <p:spPr>
            <a:xfrm>
              <a:off x="2781301" y="887209"/>
              <a:ext cx="1223486" cy="0"/>
            </a:xfrm>
            <a:prstGeom prst="line">
              <a:avLst/>
            </a:prstGeom>
            <a:noFill/>
            <a:ln w="25400">
              <a:gradFill>
                <a:gsLst>
                  <a:gs pos="0">
                    <a:schemeClr val="accent1">
                      <a:alpha val="0"/>
                    </a:schemeClr>
                  </a:gs>
                  <a:gs pos="100000">
                    <a:schemeClr val="accent1"/>
                  </a:gs>
                </a:gsLst>
                <a:lin ang="0" scaled="0"/>
              </a:gradFill>
              <a:headEnd type="none"/>
            </a:ln>
          </p:spPr>
          <p:style>
            <a:lnRef idx="2">
              <a:schemeClr val="accent1">
                <a:shade val="50000"/>
              </a:schemeClr>
            </a:lnRef>
            <a:fillRef idx="1">
              <a:schemeClr val="accent1"/>
            </a:fillRef>
            <a:effectRef idx="0">
              <a:schemeClr val="accent1"/>
            </a:effectRef>
            <a:fontRef idx="minor">
              <a:schemeClr val="lt1"/>
            </a:fontRef>
          </p:style>
        </p:cxnSp>
        <p:cxnSp>
          <p:nvCxnSpPr>
            <p:cNvPr id="9" name="直接连接符 8">
              <a:extLst>
                <a:ext uri="{FF2B5EF4-FFF2-40B4-BE49-F238E27FC236}">
                  <a16:creationId xmlns:a16="http://schemas.microsoft.com/office/drawing/2014/main" id="{8F7D563A-A645-4F54-88B6-52BDF6D5F5FE}"/>
                </a:ext>
              </a:extLst>
            </p:cNvPr>
            <p:cNvCxnSpPr>
              <a:cxnSpLocks/>
            </p:cNvCxnSpPr>
            <p:nvPr/>
          </p:nvCxnSpPr>
          <p:spPr>
            <a:xfrm>
              <a:off x="1690688" y="722903"/>
              <a:ext cx="2071212" cy="0"/>
            </a:xfrm>
            <a:prstGeom prst="line">
              <a:avLst/>
            </a:prstGeom>
            <a:noFill/>
            <a:ln w="25400">
              <a:gradFill>
                <a:gsLst>
                  <a:gs pos="0">
                    <a:schemeClr val="accent1">
                      <a:alpha val="0"/>
                    </a:schemeClr>
                  </a:gs>
                  <a:gs pos="100000">
                    <a:schemeClr val="accent1"/>
                  </a:gs>
                </a:gsLst>
                <a:lin ang="0" scaled="0"/>
              </a:gradFill>
              <a:headEnd type="none"/>
            </a:ln>
          </p:spPr>
          <p:style>
            <a:lnRef idx="2">
              <a:schemeClr val="accent1">
                <a:shade val="50000"/>
              </a:schemeClr>
            </a:lnRef>
            <a:fillRef idx="1">
              <a:schemeClr val="accent1"/>
            </a:fillRef>
            <a:effectRef idx="0">
              <a:schemeClr val="accent1"/>
            </a:effectRef>
            <a:fontRef idx="minor">
              <a:schemeClr val="lt1"/>
            </a:fontRef>
          </p:style>
        </p:cxnSp>
      </p:grpSp>
      <p:grpSp>
        <p:nvGrpSpPr>
          <p:cNvPr id="12" name="组合 11">
            <a:extLst>
              <a:ext uri="{FF2B5EF4-FFF2-40B4-BE49-F238E27FC236}">
                <a16:creationId xmlns:a16="http://schemas.microsoft.com/office/drawing/2014/main" id="{8A4E0BC2-0CA0-45E4-983A-DEF401A85AD2}"/>
              </a:ext>
            </a:extLst>
          </p:cNvPr>
          <p:cNvGrpSpPr/>
          <p:nvPr/>
        </p:nvGrpSpPr>
        <p:grpSpPr>
          <a:xfrm flipH="1">
            <a:off x="7922260" y="722903"/>
            <a:ext cx="3561080" cy="199333"/>
            <a:chOff x="708660" y="722903"/>
            <a:chExt cx="3561080" cy="199333"/>
          </a:xfrm>
        </p:grpSpPr>
        <p:sp>
          <p:nvSpPr>
            <p:cNvPr id="13" name="任意多边形: 形状 12">
              <a:extLst>
                <a:ext uri="{FF2B5EF4-FFF2-40B4-BE49-F238E27FC236}">
                  <a16:creationId xmlns:a16="http://schemas.microsoft.com/office/drawing/2014/main" id="{EC90C92A-CB47-4995-A840-CE709F6AD404}"/>
                </a:ext>
              </a:extLst>
            </p:cNvPr>
            <p:cNvSpPr/>
            <p:nvPr/>
          </p:nvSpPr>
          <p:spPr>
            <a:xfrm flipH="1">
              <a:off x="708660" y="807350"/>
              <a:ext cx="3561080" cy="114886"/>
            </a:xfrm>
            <a:custGeom>
              <a:avLst/>
              <a:gdLst>
                <a:gd name="connsiteX0" fmla="*/ 0 w 3561080"/>
                <a:gd name="connsiteY0" fmla="*/ 208280 h 208280"/>
                <a:gd name="connsiteX1" fmla="*/ 208280 w 3561080"/>
                <a:gd name="connsiteY1" fmla="*/ 0 h 208280"/>
                <a:gd name="connsiteX2" fmla="*/ 3561080 w 3561080"/>
                <a:gd name="connsiteY2" fmla="*/ 0 h 208280"/>
              </a:gdLst>
              <a:ahLst/>
              <a:cxnLst>
                <a:cxn ang="0">
                  <a:pos x="connsiteX0" y="connsiteY0"/>
                </a:cxn>
                <a:cxn ang="0">
                  <a:pos x="connsiteX1" y="connsiteY1"/>
                </a:cxn>
                <a:cxn ang="0">
                  <a:pos x="connsiteX2" y="connsiteY2"/>
                </a:cxn>
              </a:cxnLst>
              <a:rect l="l" t="t" r="r" b="b"/>
              <a:pathLst>
                <a:path w="3561080" h="208280">
                  <a:moveTo>
                    <a:pt x="0" y="208280"/>
                  </a:moveTo>
                  <a:lnTo>
                    <a:pt x="208280" y="0"/>
                  </a:lnTo>
                  <a:lnTo>
                    <a:pt x="3561080" y="0"/>
                  </a:lnTo>
                </a:path>
              </a:pathLst>
            </a:custGeom>
            <a:noFill/>
            <a:ln w="25400">
              <a:gradFill>
                <a:gsLst>
                  <a:gs pos="100000">
                    <a:schemeClr val="accent1">
                      <a:alpha val="0"/>
                    </a:schemeClr>
                  </a:gs>
                  <a:gs pos="0">
                    <a:schemeClr val="accent1"/>
                  </a:gs>
                </a:gsLst>
                <a:lin ang="0" scaled="0"/>
              </a:gradFill>
              <a:head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14" name="直接连接符 13">
              <a:extLst>
                <a:ext uri="{FF2B5EF4-FFF2-40B4-BE49-F238E27FC236}">
                  <a16:creationId xmlns:a16="http://schemas.microsoft.com/office/drawing/2014/main" id="{61F2C70C-F111-4AEF-B6CB-40F8A6D0322E}"/>
                </a:ext>
              </a:extLst>
            </p:cNvPr>
            <p:cNvCxnSpPr>
              <a:cxnSpLocks/>
            </p:cNvCxnSpPr>
            <p:nvPr/>
          </p:nvCxnSpPr>
          <p:spPr>
            <a:xfrm>
              <a:off x="2781301" y="887209"/>
              <a:ext cx="1223486" cy="0"/>
            </a:xfrm>
            <a:prstGeom prst="line">
              <a:avLst/>
            </a:prstGeom>
            <a:noFill/>
            <a:ln w="25400">
              <a:gradFill>
                <a:gsLst>
                  <a:gs pos="0">
                    <a:schemeClr val="accent1">
                      <a:alpha val="0"/>
                    </a:schemeClr>
                  </a:gs>
                  <a:gs pos="100000">
                    <a:schemeClr val="accent1"/>
                  </a:gs>
                </a:gsLst>
                <a:lin ang="0" scaled="0"/>
              </a:gradFill>
              <a:headEnd type="none"/>
            </a:ln>
          </p:spPr>
          <p:style>
            <a:lnRef idx="2">
              <a:schemeClr val="accent1">
                <a:shade val="50000"/>
              </a:schemeClr>
            </a:lnRef>
            <a:fillRef idx="1">
              <a:schemeClr val="accent1"/>
            </a:fillRef>
            <a:effectRef idx="0">
              <a:schemeClr val="accent1"/>
            </a:effectRef>
            <a:fontRef idx="minor">
              <a:schemeClr val="lt1"/>
            </a:fontRef>
          </p:style>
        </p:cxnSp>
        <p:cxnSp>
          <p:nvCxnSpPr>
            <p:cNvPr id="15" name="直接连接符 14">
              <a:extLst>
                <a:ext uri="{FF2B5EF4-FFF2-40B4-BE49-F238E27FC236}">
                  <a16:creationId xmlns:a16="http://schemas.microsoft.com/office/drawing/2014/main" id="{DEE8F815-1694-4B68-9C37-8FDDF082FEEB}"/>
                </a:ext>
              </a:extLst>
            </p:cNvPr>
            <p:cNvCxnSpPr>
              <a:cxnSpLocks/>
            </p:cNvCxnSpPr>
            <p:nvPr/>
          </p:nvCxnSpPr>
          <p:spPr>
            <a:xfrm>
              <a:off x="1690688" y="722903"/>
              <a:ext cx="2071212" cy="0"/>
            </a:xfrm>
            <a:prstGeom prst="line">
              <a:avLst/>
            </a:prstGeom>
            <a:noFill/>
            <a:ln w="25400">
              <a:gradFill>
                <a:gsLst>
                  <a:gs pos="0">
                    <a:schemeClr val="accent1">
                      <a:alpha val="0"/>
                    </a:schemeClr>
                  </a:gs>
                  <a:gs pos="100000">
                    <a:schemeClr val="accent1"/>
                  </a:gs>
                </a:gsLst>
                <a:lin ang="0" scaled="0"/>
              </a:gradFill>
              <a:headEnd type="none"/>
            </a:ln>
          </p:spPr>
          <p:style>
            <a:lnRef idx="2">
              <a:schemeClr val="accent1">
                <a:shade val="50000"/>
              </a:schemeClr>
            </a:lnRef>
            <a:fillRef idx="1">
              <a:schemeClr val="accent1"/>
            </a:fillRef>
            <a:effectRef idx="0">
              <a:schemeClr val="accent1"/>
            </a:effectRef>
            <a:fontRef idx="minor">
              <a:schemeClr val="lt1"/>
            </a:fontRef>
          </p:style>
        </p:cxnSp>
      </p:grpSp>
    </p:spTree>
    <p:extLst>
      <p:ext uri="{BB962C8B-B14F-4D97-AF65-F5344CB8AC3E}">
        <p14:creationId xmlns:p14="http://schemas.microsoft.com/office/powerpoint/2010/main" val="3259666261"/>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2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a:extLst>
              <a:ext uri="{FF2B5EF4-FFF2-40B4-BE49-F238E27FC236}">
                <a16:creationId xmlns:a16="http://schemas.microsoft.com/office/drawing/2014/main" id="{807032D7-FD97-4A6B-926A-A1BB6D5D5A51}"/>
              </a:ext>
            </a:extLst>
          </p:cNvPr>
          <p:cNvSpPr txBox="1"/>
          <p:nvPr/>
        </p:nvSpPr>
        <p:spPr>
          <a:xfrm>
            <a:off x="4382485" y="603183"/>
            <a:ext cx="3427031" cy="523220"/>
          </a:xfrm>
          <a:prstGeom prst="rect">
            <a:avLst/>
          </a:prstGeom>
          <a:noFill/>
        </p:spPr>
        <p:txBody>
          <a:bodyPr wrap="square" rtlCol="0">
            <a:spAutoFit/>
          </a:bodyPr>
          <a:lstStyle/>
          <a:p>
            <a:r>
              <a:rPr kumimoji="1" lang="zh-CN" altLang="en-US" sz="2800" b="1" dirty="0">
                <a:solidFill>
                  <a:schemeClr val="accent1"/>
                </a:solidFill>
                <a:latin typeface="Microsoft YaHei" panose="020B0503020204020204" pitchFamily="34" charset="-122"/>
                <a:ea typeface="Microsoft YaHei" panose="020B0503020204020204" pitchFamily="34" charset="-122"/>
              </a:rPr>
              <a:t>在这里输入你的标题</a:t>
            </a:r>
          </a:p>
        </p:txBody>
      </p:sp>
      <p:sp>
        <p:nvSpPr>
          <p:cNvPr id="4" name="任意多边形: 形状 3">
            <a:extLst>
              <a:ext uri="{FF2B5EF4-FFF2-40B4-BE49-F238E27FC236}">
                <a16:creationId xmlns:a16="http://schemas.microsoft.com/office/drawing/2014/main" id="{D3A39806-1264-4B76-B04B-608B670887D7}"/>
              </a:ext>
            </a:extLst>
          </p:cNvPr>
          <p:cNvSpPr/>
          <p:nvPr/>
        </p:nvSpPr>
        <p:spPr>
          <a:xfrm>
            <a:off x="1057275" y="942975"/>
            <a:ext cx="5200650" cy="266700"/>
          </a:xfrm>
          <a:custGeom>
            <a:avLst/>
            <a:gdLst>
              <a:gd name="connsiteX0" fmla="*/ 0 w 5200650"/>
              <a:gd name="connsiteY0" fmla="*/ 0 h 266700"/>
              <a:gd name="connsiteX1" fmla="*/ 3086100 w 5200650"/>
              <a:gd name="connsiteY1" fmla="*/ 0 h 266700"/>
              <a:gd name="connsiteX2" fmla="*/ 3352800 w 5200650"/>
              <a:gd name="connsiteY2" fmla="*/ 266700 h 266700"/>
              <a:gd name="connsiteX3" fmla="*/ 5200650 w 5200650"/>
              <a:gd name="connsiteY3" fmla="*/ 266700 h 266700"/>
            </a:gdLst>
            <a:ahLst/>
            <a:cxnLst>
              <a:cxn ang="0">
                <a:pos x="connsiteX0" y="connsiteY0"/>
              </a:cxn>
              <a:cxn ang="0">
                <a:pos x="connsiteX1" y="connsiteY1"/>
              </a:cxn>
              <a:cxn ang="0">
                <a:pos x="connsiteX2" y="connsiteY2"/>
              </a:cxn>
              <a:cxn ang="0">
                <a:pos x="connsiteX3" y="connsiteY3"/>
              </a:cxn>
            </a:cxnLst>
            <a:rect l="l" t="t" r="r" b="b"/>
            <a:pathLst>
              <a:path w="5200650" h="266700">
                <a:moveTo>
                  <a:pt x="0" y="0"/>
                </a:moveTo>
                <a:lnTo>
                  <a:pt x="3086100" y="0"/>
                </a:lnTo>
                <a:lnTo>
                  <a:pt x="3352800" y="266700"/>
                </a:lnTo>
                <a:lnTo>
                  <a:pt x="5200650" y="266700"/>
                </a:lnTo>
              </a:path>
            </a:pathLst>
          </a:custGeom>
          <a:noFill/>
          <a:ln w="25400">
            <a:gradFill>
              <a:gsLst>
                <a:gs pos="0">
                  <a:schemeClr val="accent1">
                    <a:alpha val="0"/>
                  </a:schemeClr>
                </a:gs>
                <a:gs pos="100000">
                  <a:schemeClr val="accent1"/>
                </a:gs>
              </a:gsLst>
              <a:lin ang="0" scaled="0"/>
            </a:gradFill>
            <a:head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 name="流程图: 手动输入 4">
            <a:extLst>
              <a:ext uri="{FF2B5EF4-FFF2-40B4-BE49-F238E27FC236}">
                <a16:creationId xmlns:a16="http://schemas.microsoft.com/office/drawing/2014/main" id="{4971CB52-08BF-46C1-A1F0-2305E0DD2B0A}"/>
              </a:ext>
            </a:extLst>
          </p:cNvPr>
          <p:cNvSpPr/>
          <p:nvPr/>
        </p:nvSpPr>
        <p:spPr>
          <a:xfrm rot="16200000" flipH="1">
            <a:off x="6051948" y="1013222"/>
            <a:ext cx="59531" cy="352423"/>
          </a:xfrm>
          <a:prstGeom prst="flowChartManualInpu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16" name="任意多边形: 形状 15">
            <a:extLst>
              <a:ext uri="{FF2B5EF4-FFF2-40B4-BE49-F238E27FC236}">
                <a16:creationId xmlns:a16="http://schemas.microsoft.com/office/drawing/2014/main" id="{4222D50C-C086-4A59-BE28-23A9293ADAA1}"/>
              </a:ext>
            </a:extLst>
          </p:cNvPr>
          <p:cNvSpPr/>
          <p:nvPr/>
        </p:nvSpPr>
        <p:spPr>
          <a:xfrm flipH="1">
            <a:off x="6257925" y="942975"/>
            <a:ext cx="5200650" cy="266700"/>
          </a:xfrm>
          <a:custGeom>
            <a:avLst/>
            <a:gdLst>
              <a:gd name="connsiteX0" fmla="*/ 0 w 5200650"/>
              <a:gd name="connsiteY0" fmla="*/ 0 h 266700"/>
              <a:gd name="connsiteX1" fmla="*/ 3086100 w 5200650"/>
              <a:gd name="connsiteY1" fmla="*/ 0 h 266700"/>
              <a:gd name="connsiteX2" fmla="*/ 3352800 w 5200650"/>
              <a:gd name="connsiteY2" fmla="*/ 266700 h 266700"/>
              <a:gd name="connsiteX3" fmla="*/ 5200650 w 5200650"/>
              <a:gd name="connsiteY3" fmla="*/ 266700 h 266700"/>
            </a:gdLst>
            <a:ahLst/>
            <a:cxnLst>
              <a:cxn ang="0">
                <a:pos x="connsiteX0" y="connsiteY0"/>
              </a:cxn>
              <a:cxn ang="0">
                <a:pos x="connsiteX1" y="connsiteY1"/>
              </a:cxn>
              <a:cxn ang="0">
                <a:pos x="connsiteX2" y="connsiteY2"/>
              </a:cxn>
              <a:cxn ang="0">
                <a:pos x="connsiteX3" y="connsiteY3"/>
              </a:cxn>
            </a:cxnLst>
            <a:rect l="l" t="t" r="r" b="b"/>
            <a:pathLst>
              <a:path w="5200650" h="266700">
                <a:moveTo>
                  <a:pt x="0" y="0"/>
                </a:moveTo>
                <a:lnTo>
                  <a:pt x="3086100" y="0"/>
                </a:lnTo>
                <a:lnTo>
                  <a:pt x="3352800" y="266700"/>
                </a:lnTo>
                <a:lnTo>
                  <a:pt x="5200650" y="266700"/>
                </a:lnTo>
              </a:path>
            </a:pathLst>
          </a:custGeom>
          <a:noFill/>
          <a:ln w="25400">
            <a:gradFill>
              <a:gsLst>
                <a:gs pos="0">
                  <a:schemeClr val="accent1">
                    <a:alpha val="0"/>
                  </a:schemeClr>
                </a:gs>
                <a:gs pos="100000">
                  <a:schemeClr val="accent1"/>
                </a:gs>
              </a:gsLst>
              <a:lin ang="0" scaled="0"/>
            </a:gradFill>
            <a:head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7" name="流程图: 手动输入 16">
            <a:extLst>
              <a:ext uri="{FF2B5EF4-FFF2-40B4-BE49-F238E27FC236}">
                <a16:creationId xmlns:a16="http://schemas.microsoft.com/office/drawing/2014/main" id="{55DF4B52-4565-4D26-8328-B187BB900DA9}"/>
              </a:ext>
            </a:extLst>
          </p:cNvPr>
          <p:cNvSpPr/>
          <p:nvPr/>
        </p:nvSpPr>
        <p:spPr>
          <a:xfrm rot="5400000">
            <a:off x="6404371" y="1013222"/>
            <a:ext cx="59531" cy="352423"/>
          </a:xfrm>
          <a:prstGeom prst="flowChartManualInpu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Tree>
    <p:extLst>
      <p:ext uri="{BB962C8B-B14F-4D97-AF65-F5344CB8AC3E}">
        <p14:creationId xmlns:p14="http://schemas.microsoft.com/office/powerpoint/2010/main" val="3241297122"/>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2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a:extLst>
              <a:ext uri="{FF2B5EF4-FFF2-40B4-BE49-F238E27FC236}">
                <a16:creationId xmlns:a16="http://schemas.microsoft.com/office/drawing/2014/main" id="{C9AB2ECF-23DC-4916-9C10-3365D2660889}"/>
              </a:ext>
            </a:extLst>
          </p:cNvPr>
          <p:cNvSpPr txBox="1"/>
          <p:nvPr/>
        </p:nvSpPr>
        <p:spPr>
          <a:xfrm>
            <a:off x="4382485" y="603183"/>
            <a:ext cx="3427031" cy="523220"/>
          </a:xfrm>
          <a:prstGeom prst="rect">
            <a:avLst/>
          </a:prstGeom>
          <a:noFill/>
        </p:spPr>
        <p:txBody>
          <a:bodyPr wrap="square" rtlCol="0">
            <a:spAutoFit/>
          </a:bodyPr>
          <a:lstStyle/>
          <a:p>
            <a:r>
              <a:rPr kumimoji="1" lang="zh-CN" altLang="en-US" sz="2800" b="1" dirty="0">
                <a:solidFill>
                  <a:schemeClr val="accent1"/>
                </a:solidFill>
                <a:latin typeface="Microsoft YaHei" panose="020B0503020204020204" pitchFamily="34" charset="-122"/>
                <a:ea typeface="Microsoft YaHei" panose="020B0503020204020204" pitchFamily="34" charset="-122"/>
              </a:rPr>
              <a:t>在这里输入你的标题</a:t>
            </a:r>
          </a:p>
        </p:txBody>
      </p:sp>
      <p:cxnSp>
        <p:nvCxnSpPr>
          <p:cNvPr id="6" name="直接连接符 5">
            <a:extLst>
              <a:ext uri="{FF2B5EF4-FFF2-40B4-BE49-F238E27FC236}">
                <a16:creationId xmlns:a16="http://schemas.microsoft.com/office/drawing/2014/main" id="{F4DA0DDA-70CF-4402-801D-73F167F0EF16}"/>
              </a:ext>
            </a:extLst>
          </p:cNvPr>
          <p:cNvCxnSpPr/>
          <p:nvPr/>
        </p:nvCxnSpPr>
        <p:spPr>
          <a:xfrm>
            <a:off x="4519612" y="1146969"/>
            <a:ext cx="3152775" cy="0"/>
          </a:xfrm>
          <a:prstGeom prst="line">
            <a:avLst/>
          </a:prstGeom>
          <a:noFill/>
          <a:ln w="25400">
            <a:gradFill>
              <a:gsLst>
                <a:gs pos="0">
                  <a:schemeClr val="accent1">
                    <a:alpha val="0"/>
                  </a:schemeClr>
                </a:gs>
                <a:gs pos="100000">
                  <a:schemeClr val="accent1"/>
                </a:gs>
              </a:gsLst>
              <a:lin ang="0" scaled="0"/>
            </a:gradFill>
            <a:headEnd type="none"/>
          </a:ln>
        </p:spPr>
        <p:style>
          <a:lnRef idx="2">
            <a:schemeClr val="accent1">
              <a:shade val="50000"/>
            </a:schemeClr>
          </a:lnRef>
          <a:fillRef idx="1">
            <a:schemeClr val="accent1"/>
          </a:fillRef>
          <a:effectRef idx="0">
            <a:schemeClr val="accent1"/>
          </a:effectRef>
          <a:fontRef idx="minor">
            <a:schemeClr val="lt1"/>
          </a:fontRef>
        </p:style>
      </p:cxnSp>
      <p:sp>
        <p:nvSpPr>
          <p:cNvPr id="7" name="平行四边形 6">
            <a:extLst>
              <a:ext uri="{FF2B5EF4-FFF2-40B4-BE49-F238E27FC236}">
                <a16:creationId xmlns:a16="http://schemas.microsoft.com/office/drawing/2014/main" id="{39995FA7-1859-4510-A73E-771D15C01624}"/>
              </a:ext>
            </a:extLst>
          </p:cNvPr>
          <p:cNvSpPr/>
          <p:nvPr/>
        </p:nvSpPr>
        <p:spPr>
          <a:xfrm flipH="1">
            <a:off x="5379240" y="445226"/>
            <a:ext cx="207169" cy="126274"/>
          </a:xfrm>
          <a:prstGeom prst="parallelogram">
            <a:avLst>
              <a:gd name="adj" fmla="val 99746"/>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8" name="平行四边形 7">
            <a:extLst>
              <a:ext uri="{FF2B5EF4-FFF2-40B4-BE49-F238E27FC236}">
                <a16:creationId xmlns:a16="http://schemas.microsoft.com/office/drawing/2014/main" id="{699CC6E5-C279-45A8-9778-35ADD679E35E}"/>
              </a:ext>
            </a:extLst>
          </p:cNvPr>
          <p:cNvSpPr/>
          <p:nvPr/>
        </p:nvSpPr>
        <p:spPr>
          <a:xfrm flipH="1">
            <a:off x="5500945" y="445226"/>
            <a:ext cx="207169" cy="126274"/>
          </a:xfrm>
          <a:prstGeom prst="parallelogram">
            <a:avLst>
              <a:gd name="adj" fmla="val 99746"/>
            </a:avLst>
          </a:prstGeom>
          <a:solidFill>
            <a:schemeClr val="accent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9" name="平行四边形 8">
            <a:extLst>
              <a:ext uri="{FF2B5EF4-FFF2-40B4-BE49-F238E27FC236}">
                <a16:creationId xmlns:a16="http://schemas.microsoft.com/office/drawing/2014/main" id="{49E30B87-5D67-4A53-A8C6-74249F2670A5}"/>
              </a:ext>
            </a:extLst>
          </p:cNvPr>
          <p:cNvSpPr/>
          <p:nvPr/>
        </p:nvSpPr>
        <p:spPr>
          <a:xfrm flipH="1">
            <a:off x="5622650" y="445226"/>
            <a:ext cx="207169" cy="126274"/>
          </a:xfrm>
          <a:prstGeom prst="parallelogram">
            <a:avLst>
              <a:gd name="adj" fmla="val 99746"/>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10" name="平行四边形 9">
            <a:extLst>
              <a:ext uri="{FF2B5EF4-FFF2-40B4-BE49-F238E27FC236}">
                <a16:creationId xmlns:a16="http://schemas.microsoft.com/office/drawing/2014/main" id="{F9CA33AE-3BD4-4AAF-AB04-8782B85119B5}"/>
              </a:ext>
            </a:extLst>
          </p:cNvPr>
          <p:cNvSpPr/>
          <p:nvPr/>
        </p:nvSpPr>
        <p:spPr>
          <a:xfrm flipH="1">
            <a:off x="5744355" y="445226"/>
            <a:ext cx="207169" cy="126274"/>
          </a:xfrm>
          <a:prstGeom prst="parallelogram">
            <a:avLst>
              <a:gd name="adj" fmla="val 99746"/>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11" name="平行四边形 10">
            <a:extLst>
              <a:ext uri="{FF2B5EF4-FFF2-40B4-BE49-F238E27FC236}">
                <a16:creationId xmlns:a16="http://schemas.microsoft.com/office/drawing/2014/main" id="{804FB44F-F800-4313-90AC-E008EF946AD0}"/>
              </a:ext>
            </a:extLst>
          </p:cNvPr>
          <p:cNvSpPr/>
          <p:nvPr/>
        </p:nvSpPr>
        <p:spPr>
          <a:xfrm flipH="1">
            <a:off x="5866059" y="445226"/>
            <a:ext cx="207169" cy="126274"/>
          </a:xfrm>
          <a:prstGeom prst="parallelogram">
            <a:avLst>
              <a:gd name="adj" fmla="val 99746"/>
            </a:avLst>
          </a:prstGeom>
          <a:solidFill>
            <a:schemeClr val="accent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cxnSp>
        <p:nvCxnSpPr>
          <p:cNvPr id="12" name="直接连接符 11">
            <a:extLst>
              <a:ext uri="{FF2B5EF4-FFF2-40B4-BE49-F238E27FC236}">
                <a16:creationId xmlns:a16="http://schemas.microsoft.com/office/drawing/2014/main" id="{B4D0C16C-AAF2-455E-A7B5-4CA45150905A}"/>
              </a:ext>
            </a:extLst>
          </p:cNvPr>
          <p:cNvCxnSpPr/>
          <p:nvPr/>
        </p:nvCxnSpPr>
        <p:spPr>
          <a:xfrm>
            <a:off x="4519612" y="1220787"/>
            <a:ext cx="3152775" cy="0"/>
          </a:xfrm>
          <a:prstGeom prst="line">
            <a:avLst/>
          </a:prstGeom>
          <a:noFill/>
          <a:ln w="19050" cap="rnd">
            <a:gradFill>
              <a:gsLst>
                <a:gs pos="0">
                  <a:schemeClr val="accent1">
                    <a:alpha val="0"/>
                  </a:schemeClr>
                </a:gs>
                <a:gs pos="100000">
                  <a:schemeClr val="accent1"/>
                </a:gs>
              </a:gsLst>
              <a:lin ang="0" scaled="0"/>
            </a:gradFill>
            <a:prstDash val="sysDot"/>
            <a:headEnd type="none"/>
          </a:ln>
        </p:spPr>
        <p:style>
          <a:lnRef idx="2">
            <a:schemeClr val="accent1">
              <a:shade val="50000"/>
            </a:schemeClr>
          </a:lnRef>
          <a:fillRef idx="1">
            <a:schemeClr val="accent1"/>
          </a:fillRef>
          <a:effectRef idx="0">
            <a:schemeClr val="accent1"/>
          </a:effectRef>
          <a:fontRef idx="minor">
            <a:schemeClr val="lt1"/>
          </a:fontRef>
        </p:style>
      </p:cxnSp>
    </p:spTree>
    <p:extLst>
      <p:ext uri="{BB962C8B-B14F-4D97-AF65-F5344CB8AC3E}">
        <p14:creationId xmlns:p14="http://schemas.microsoft.com/office/powerpoint/2010/main" val="2874054965"/>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2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任意形状 65">
            <a:extLst>
              <a:ext uri="{FF2B5EF4-FFF2-40B4-BE49-F238E27FC236}">
                <a16:creationId xmlns:a16="http://schemas.microsoft.com/office/drawing/2014/main" id="{F840C702-82E1-4FDD-8574-191614367E26}"/>
              </a:ext>
            </a:extLst>
          </p:cNvPr>
          <p:cNvSpPr/>
          <p:nvPr/>
        </p:nvSpPr>
        <p:spPr>
          <a:xfrm flipH="1">
            <a:off x="3367021" y="771766"/>
            <a:ext cx="915452" cy="186053"/>
          </a:xfrm>
          <a:custGeom>
            <a:avLst/>
            <a:gdLst>
              <a:gd name="connsiteX0" fmla="*/ 0 w 960895"/>
              <a:gd name="connsiteY0" fmla="*/ 147234 h 278970"/>
              <a:gd name="connsiteX1" fmla="*/ 216976 w 960895"/>
              <a:gd name="connsiteY1" fmla="*/ 147234 h 278970"/>
              <a:gd name="connsiteX2" fmla="*/ 309966 w 960895"/>
              <a:gd name="connsiteY2" fmla="*/ 0 h 278970"/>
              <a:gd name="connsiteX3" fmla="*/ 449450 w 960895"/>
              <a:gd name="connsiteY3" fmla="*/ 278970 h 278970"/>
              <a:gd name="connsiteX4" fmla="*/ 557939 w 960895"/>
              <a:gd name="connsiteY4" fmla="*/ 46495 h 278970"/>
              <a:gd name="connsiteX5" fmla="*/ 627681 w 960895"/>
              <a:gd name="connsiteY5" fmla="*/ 193729 h 278970"/>
              <a:gd name="connsiteX6" fmla="*/ 681925 w 960895"/>
              <a:gd name="connsiteY6" fmla="*/ 69743 h 278970"/>
              <a:gd name="connsiteX7" fmla="*/ 720671 w 960895"/>
              <a:gd name="connsiteY7" fmla="*/ 139485 h 278970"/>
              <a:gd name="connsiteX8" fmla="*/ 960895 w 960895"/>
              <a:gd name="connsiteY8" fmla="*/ 139485 h 278970"/>
              <a:gd name="connsiteX0" fmla="*/ 0 w 1372642"/>
              <a:gd name="connsiteY0" fmla="*/ 147234 h 278970"/>
              <a:gd name="connsiteX1" fmla="*/ 216976 w 1372642"/>
              <a:gd name="connsiteY1" fmla="*/ 147234 h 278970"/>
              <a:gd name="connsiteX2" fmla="*/ 309966 w 1372642"/>
              <a:gd name="connsiteY2" fmla="*/ 0 h 278970"/>
              <a:gd name="connsiteX3" fmla="*/ 449450 w 1372642"/>
              <a:gd name="connsiteY3" fmla="*/ 278970 h 278970"/>
              <a:gd name="connsiteX4" fmla="*/ 557939 w 1372642"/>
              <a:gd name="connsiteY4" fmla="*/ 46495 h 278970"/>
              <a:gd name="connsiteX5" fmla="*/ 627681 w 1372642"/>
              <a:gd name="connsiteY5" fmla="*/ 193729 h 278970"/>
              <a:gd name="connsiteX6" fmla="*/ 681925 w 1372642"/>
              <a:gd name="connsiteY6" fmla="*/ 69743 h 278970"/>
              <a:gd name="connsiteX7" fmla="*/ 720671 w 1372642"/>
              <a:gd name="connsiteY7" fmla="*/ 139485 h 278970"/>
              <a:gd name="connsiteX8" fmla="*/ 1372642 w 1372642"/>
              <a:gd name="connsiteY8" fmla="*/ 139485 h 2789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72642" h="278970">
                <a:moveTo>
                  <a:pt x="0" y="147234"/>
                </a:moveTo>
                <a:lnTo>
                  <a:pt x="216976" y="147234"/>
                </a:lnTo>
                <a:lnTo>
                  <a:pt x="309966" y="0"/>
                </a:lnTo>
                <a:lnTo>
                  <a:pt x="449450" y="278970"/>
                </a:lnTo>
                <a:lnTo>
                  <a:pt x="557939" y="46495"/>
                </a:lnTo>
                <a:lnTo>
                  <a:pt x="627681" y="193729"/>
                </a:lnTo>
                <a:lnTo>
                  <a:pt x="681925" y="69743"/>
                </a:lnTo>
                <a:lnTo>
                  <a:pt x="720671" y="139485"/>
                </a:lnTo>
                <a:lnTo>
                  <a:pt x="1372642" y="139485"/>
                </a:lnTo>
              </a:path>
            </a:pathLst>
          </a:custGeom>
          <a:noFill/>
          <a:ln w="25400">
            <a:gradFill>
              <a:gsLst>
                <a:gs pos="100000">
                  <a:schemeClr val="accent1">
                    <a:alpha val="0"/>
                  </a:schemeClr>
                </a:gs>
                <a:gs pos="0">
                  <a:schemeClr val="accent1"/>
                </a:gs>
              </a:gsLst>
              <a:lin ang="0" scaled="0"/>
            </a:gradFill>
            <a:head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zh-CN" altLang="en-US" sz="1800" b="0" i="0" u="none" strike="noStrike" kern="1200" cap="none" spc="0" normalizeH="0" baseline="0" noProof="0">
              <a:ln>
                <a:noFill/>
              </a:ln>
              <a:solidFill>
                <a:prstClr val="black"/>
              </a:solidFill>
              <a:effectLst/>
              <a:uLnTx/>
              <a:uFillTx/>
              <a:latin typeface="等线" panose="020F0502020204030204"/>
              <a:ea typeface="等线" panose="02010600030101010101" pitchFamily="2" charset="-122"/>
              <a:cs typeface="+mn-cs"/>
            </a:endParaRPr>
          </a:p>
        </p:txBody>
      </p:sp>
      <p:sp>
        <p:nvSpPr>
          <p:cNvPr id="3" name="文本框 2">
            <a:extLst>
              <a:ext uri="{FF2B5EF4-FFF2-40B4-BE49-F238E27FC236}">
                <a16:creationId xmlns:a16="http://schemas.microsoft.com/office/drawing/2014/main" id="{98CD87C9-BB64-40E9-8501-8EB5BE8029B9}"/>
              </a:ext>
            </a:extLst>
          </p:cNvPr>
          <p:cNvSpPr txBox="1"/>
          <p:nvPr/>
        </p:nvSpPr>
        <p:spPr>
          <a:xfrm>
            <a:off x="4382485" y="603183"/>
            <a:ext cx="3427031" cy="523220"/>
          </a:xfrm>
          <a:prstGeom prst="rect">
            <a:avLst/>
          </a:prstGeom>
          <a:noFill/>
        </p:spPr>
        <p:txBody>
          <a:bodyPr wrap="square" rtlCol="0">
            <a:spAutoFit/>
          </a:bodyPr>
          <a:lstStyle/>
          <a:p>
            <a:r>
              <a:rPr kumimoji="1" lang="zh-CN" altLang="en-US" sz="2800" b="1" dirty="0">
                <a:solidFill>
                  <a:schemeClr val="accent1"/>
                </a:solidFill>
                <a:latin typeface="Microsoft YaHei" panose="020B0503020204020204" pitchFamily="34" charset="-122"/>
                <a:ea typeface="Microsoft YaHei" panose="020B0503020204020204" pitchFamily="34" charset="-122"/>
              </a:rPr>
              <a:t>在这里输入你的标题</a:t>
            </a:r>
          </a:p>
        </p:txBody>
      </p:sp>
      <p:sp>
        <p:nvSpPr>
          <p:cNvPr id="4" name="任意形状 65">
            <a:extLst>
              <a:ext uri="{FF2B5EF4-FFF2-40B4-BE49-F238E27FC236}">
                <a16:creationId xmlns:a16="http://schemas.microsoft.com/office/drawing/2014/main" id="{05E3A595-55B5-4E66-9C44-92CE980F8875}"/>
              </a:ext>
            </a:extLst>
          </p:cNvPr>
          <p:cNvSpPr/>
          <p:nvPr/>
        </p:nvSpPr>
        <p:spPr>
          <a:xfrm>
            <a:off x="7809516" y="771766"/>
            <a:ext cx="915452" cy="186053"/>
          </a:xfrm>
          <a:custGeom>
            <a:avLst/>
            <a:gdLst>
              <a:gd name="connsiteX0" fmla="*/ 0 w 960895"/>
              <a:gd name="connsiteY0" fmla="*/ 147234 h 278970"/>
              <a:gd name="connsiteX1" fmla="*/ 216976 w 960895"/>
              <a:gd name="connsiteY1" fmla="*/ 147234 h 278970"/>
              <a:gd name="connsiteX2" fmla="*/ 309966 w 960895"/>
              <a:gd name="connsiteY2" fmla="*/ 0 h 278970"/>
              <a:gd name="connsiteX3" fmla="*/ 449450 w 960895"/>
              <a:gd name="connsiteY3" fmla="*/ 278970 h 278970"/>
              <a:gd name="connsiteX4" fmla="*/ 557939 w 960895"/>
              <a:gd name="connsiteY4" fmla="*/ 46495 h 278970"/>
              <a:gd name="connsiteX5" fmla="*/ 627681 w 960895"/>
              <a:gd name="connsiteY5" fmla="*/ 193729 h 278970"/>
              <a:gd name="connsiteX6" fmla="*/ 681925 w 960895"/>
              <a:gd name="connsiteY6" fmla="*/ 69743 h 278970"/>
              <a:gd name="connsiteX7" fmla="*/ 720671 w 960895"/>
              <a:gd name="connsiteY7" fmla="*/ 139485 h 278970"/>
              <a:gd name="connsiteX8" fmla="*/ 960895 w 960895"/>
              <a:gd name="connsiteY8" fmla="*/ 139485 h 278970"/>
              <a:gd name="connsiteX0" fmla="*/ 0 w 1372642"/>
              <a:gd name="connsiteY0" fmla="*/ 147234 h 278970"/>
              <a:gd name="connsiteX1" fmla="*/ 216976 w 1372642"/>
              <a:gd name="connsiteY1" fmla="*/ 147234 h 278970"/>
              <a:gd name="connsiteX2" fmla="*/ 309966 w 1372642"/>
              <a:gd name="connsiteY2" fmla="*/ 0 h 278970"/>
              <a:gd name="connsiteX3" fmla="*/ 449450 w 1372642"/>
              <a:gd name="connsiteY3" fmla="*/ 278970 h 278970"/>
              <a:gd name="connsiteX4" fmla="*/ 557939 w 1372642"/>
              <a:gd name="connsiteY4" fmla="*/ 46495 h 278970"/>
              <a:gd name="connsiteX5" fmla="*/ 627681 w 1372642"/>
              <a:gd name="connsiteY5" fmla="*/ 193729 h 278970"/>
              <a:gd name="connsiteX6" fmla="*/ 681925 w 1372642"/>
              <a:gd name="connsiteY6" fmla="*/ 69743 h 278970"/>
              <a:gd name="connsiteX7" fmla="*/ 720671 w 1372642"/>
              <a:gd name="connsiteY7" fmla="*/ 139485 h 278970"/>
              <a:gd name="connsiteX8" fmla="*/ 1372642 w 1372642"/>
              <a:gd name="connsiteY8" fmla="*/ 139485 h 2789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72642" h="278970">
                <a:moveTo>
                  <a:pt x="0" y="147234"/>
                </a:moveTo>
                <a:lnTo>
                  <a:pt x="216976" y="147234"/>
                </a:lnTo>
                <a:lnTo>
                  <a:pt x="309966" y="0"/>
                </a:lnTo>
                <a:lnTo>
                  <a:pt x="449450" y="278970"/>
                </a:lnTo>
                <a:lnTo>
                  <a:pt x="557939" y="46495"/>
                </a:lnTo>
                <a:lnTo>
                  <a:pt x="627681" y="193729"/>
                </a:lnTo>
                <a:lnTo>
                  <a:pt x="681925" y="69743"/>
                </a:lnTo>
                <a:lnTo>
                  <a:pt x="720671" y="139485"/>
                </a:lnTo>
                <a:lnTo>
                  <a:pt x="1372642" y="139485"/>
                </a:lnTo>
              </a:path>
            </a:pathLst>
          </a:custGeom>
          <a:noFill/>
          <a:ln w="25400">
            <a:gradFill>
              <a:gsLst>
                <a:gs pos="100000">
                  <a:schemeClr val="accent1">
                    <a:alpha val="0"/>
                  </a:schemeClr>
                </a:gs>
                <a:gs pos="0">
                  <a:schemeClr val="accent1"/>
                </a:gs>
              </a:gsLst>
              <a:lin ang="0" scaled="0"/>
            </a:gradFill>
            <a:head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zh-CN" altLang="en-US" sz="1800" b="0" i="0" u="none" strike="noStrike" kern="1200" cap="none" spc="0" normalizeH="0" baseline="0" noProof="0">
              <a:ln>
                <a:noFill/>
              </a:ln>
              <a:solidFill>
                <a:prstClr val="black"/>
              </a:solidFill>
              <a:effectLst/>
              <a:uLnTx/>
              <a:uFillTx/>
              <a:latin typeface="等线" panose="020F0502020204030204"/>
              <a:ea typeface="等线" panose="02010600030101010101" pitchFamily="2" charset="-122"/>
              <a:cs typeface="+mn-cs"/>
            </a:endParaRPr>
          </a:p>
        </p:txBody>
      </p:sp>
    </p:spTree>
    <p:extLst>
      <p:ext uri="{BB962C8B-B14F-4D97-AF65-F5344CB8AC3E}">
        <p14:creationId xmlns:p14="http://schemas.microsoft.com/office/powerpoint/2010/main" val="1407353304"/>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2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箭头: 五边形 2">
            <a:extLst>
              <a:ext uri="{FF2B5EF4-FFF2-40B4-BE49-F238E27FC236}">
                <a16:creationId xmlns:a16="http://schemas.microsoft.com/office/drawing/2014/main" id="{AC581020-AFD5-4C46-9BE1-2AA2C8A86F58}"/>
              </a:ext>
            </a:extLst>
          </p:cNvPr>
          <p:cNvSpPr/>
          <p:nvPr/>
        </p:nvSpPr>
        <p:spPr>
          <a:xfrm>
            <a:off x="5310188" y="626668"/>
            <a:ext cx="2928938" cy="476250"/>
          </a:xfrm>
          <a:prstGeom prst="homePlate">
            <a:avLst/>
          </a:prstGeom>
          <a:gradFill>
            <a:gsLst>
              <a:gs pos="17000">
                <a:schemeClr val="accent1">
                  <a:alpha val="0"/>
                </a:schemeClr>
              </a:gs>
              <a:gs pos="100000">
                <a:schemeClr val="accent1">
                  <a:alpha val="28000"/>
                </a:schemeClr>
              </a:gs>
            </a:gsLst>
            <a:lin ang="0" scaled="0"/>
          </a:gradFill>
          <a:ln>
            <a:gradFill>
              <a:gsLst>
                <a:gs pos="62000">
                  <a:schemeClr val="accent1">
                    <a:alpha val="0"/>
                  </a:schemeClr>
                </a:gs>
                <a:gs pos="100000">
                  <a:schemeClr val="accent1"/>
                </a:gs>
              </a:gsLst>
              <a:lin ang="0" scaled="0"/>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 name="箭头: 五边形 4">
            <a:extLst>
              <a:ext uri="{FF2B5EF4-FFF2-40B4-BE49-F238E27FC236}">
                <a16:creationId xmlns:a16="http://schemas.microsoft.com/office/drawing/2014/main" id="{FB5BAE80-5CA6-40A7-B764-E5644BCFC949}"/>
              </a:ext>
            </a:extLst>
          </p:cNvPr>
          <p:cNvSpPr/>
          <p:nvPr/>
        </p:nvSpPr>
        <p:spPr>
          <a:xfrm flipH="1">
            <a:off x="3952875" y="626668"/>
            <a:ext cx="2928938" cy="476250"/>
          </a:xfrm>
          <a:prstGeom prst="homePlate">
            <a:avLst/>
          </a:prstGeom>
          <a:gradFill>
            <a:gsLst>
              <a:gs pos="17000">
                <a:schemeClr val="accent1">
                  <a:alpha val="0"/>
                </a:schemeClr>
              </a:gs>
              <a:gs pos="100000">
                <a:schemeClr val="accent1">
                  <a:alpha val="28000"/>
                </a:schemeClr>
              </a:gs>
            </a:gsLst>
            <a:lin ang="0" scaled="0"/>
          </a:gradFill>
          <a:ln>
            <a:gradFill>
              <a:gsLst>
                <a:gs pos="62000">
                  <a:schemeClr val="accent1">
                    <a:alpha val="0"/>
                  </a:schemeClr>
                </a:gs>
                <a:gs pos="100000">
                  <a:schemeClr val="accent1"/>
                </a:gs>
              </a:gsLst>
              <a:lin ang="0" scaled="0"/>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 name="文本框 1">
            <a:extLst>
              <a:ext uri="{FF2B5EF4-FFF2-40B4-BE49-F238E27FC236}">
                <a16:creationId xmlns:a16="http://schemas.microsoft.com/office/drawing/2014/main" id="{127258EF-DBDA-4E24-9DD1-398BB1BB1930}"/>
              </a:ext>
            </a:extLst>
          </p:cNvPr>
          <p:cNvSpPr txBox="1"/>
          <p:nvPr/>
        </p:nvSpPr>
        <p:spPr>
          <a:xfrm>
            <a:off x="4382485" y="603183"/>
            <a:ext cx="3427031" cy="523220"/>
          </a:xfrm>
          <a:prstGeom prst="rect">
            <a:avLst/>
          </a:prstGeom>
          <a:noFill/>
        </p:spPr>
        <p:txBody>
          <a:bodyPr wrap="square" rtlCol="0">
            <a:spAutoFit/>
          </a:bodyPr>
          <a:lstStyle/>
          <a:p>
            <a:r>
              <a:rPr kumimoji="1" lang="zh-CN" altLang="en-US" sz="2800" b="1" dirty="0">
                <a:solidFill>
                  <a:schemeClr val="accent1"/>
                </a:solidFill>
                <a:latin typeface="Microsoft YaHei" panose="020B0503020204020204" pitchFamily="34" charset="-122"/>
                <a:ea typeface="Microsoft YaHei" panose="020B0503020204020204" pitchFamily="34" charset="-122"/>
              </a:rPr>
              <a:t>在这里输入你的标题</a:t>
            </a:r>
          </a:p>
        </p:txBody>
      </p:sp>
    </p:spTree>
    <p:extLst>
      <p:ext uri="{BB962C8B-B14F-4D97-AF65-F5344CB8AC3E}">
        <p14:creationId xmlns:p14="http://schemas.microsoft.com/office/powerpoint/2010/main" val="1006117083"/>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矩形 12">
            <a:extLst>
              <a:ext uri="{FF2B5EF4-FFF2-40B4-BE49-F238E27FC236}">
                <a16:creationId xmlns:a16="http://schemas.microsoft.com/office/drawing/2014/main" id="{986D2FFF-C5C5-48FB-96A0-1BED3E6D9EB3}"/>
              </a:ext>
            </a:extLst>
          </p:cNvPr>
          <p:cNvSpPr/>
          <p:nvPr/>
        </p:nvSpPr>
        <p:spPr>
          <a:xfrm>
            <a:off x="1758696" y="2026920"/>
            <a:ext cx="8875776" cy="2788920"/>
          </a:xfrm>
          <a:prstGeom prst="rect">
            <a:avLst/>
          </a:prstGeom>
          <a:noFill/>
          <a:ln w="28575">
            <a:solidFill>
              <a:schemeClr val="accent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p>
        </p:txBody>
      </p:sp>
      <p:sp>
        <p:nvSpPr>
          <p:cNvPr id="2" name="矩形 1">
            <a:extLst>
              <a:ext uri="{FF2B5EF4-FFF2-40B4-BE49-F238E27FC236}">
                <a16:creationId xmlns:a16="http://schemas.microsoft.com/office/drawing/2014/main" id="{F682F9CF-E3FB-4D92-9D66-55D5787E1B96}"/>
              </a:ext>
            </a:extLst>
          </p:cNvPr>
          <p:cNvSpPr/>
          <p:nvPr/>
        </p:nvSpPr>
        <p:spPr>
          <a:xfrm>
            <a:off x="1606296" y="1874520"/>
            <a:ext cx="8875776" cy="278892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p>
        </p:txBody>
      </p:sp>
      <p:sp>
        <p:nvSpPr>
          <p:cNvPr id="11" name="文本框 10">
            <a:extLst>
              <a:ext uri="{FF2B5EF4-FFF2-40B4-BE49-F238E27FC236}">
                <a16:creationId xmlns:a16="http://schemas.microsoft.com/office/drawing/2014/main" id="{E4393356-E9A7-46D9-B5F5-0D21EC991A29}"/>
              </a:ext>
            </a:extLst>
          </p:cNvPr>
          <p:cNvSpPr txBox="1"/>
          <p:nvPr/>
        </p:nvSpPr>
        <p:spPr>
          <a:xfrm>
            <a:off x="1941017" y="2813447"/>
            <a:ext cx="8309967" cy="1107996"/>
          </a:xfrm>
          <a:prstGeom prst="rect">
            <a:avLst/>
          </a:prstGeom>
          <a:noFill/>
        </p:spPr>
        <p:txBody>
          <a:bodyPr wrap="none" lIns="0" tIns="0" rIns="0" bIns="0" rtlCol="0" anchor="t">
            <a:spAutoFit/>
          </a:bodyPr>
          <a:lstStyle/>
          <a:p>
            <a:pPr algn="ctr"/>
            <a:r>
              <a:rPr lang="zh-CN" altLang="en-US" sz="7200" dirty="0">
                <a:solidFill>
                  <a:schemeClr val="bg1"/>
                </a:solidFill>
                <a:latin typeface="+mj-ea"/>
                <a:ea typeface="+mj-ea"/>
              </a:rPr>
              <a:t>输入你的封面大标题</a:t>
            </a:r>
          </a:p>
        </p:txBody>
      </p:sp>
      <p:sp>
        <p:nvSpPr>
          <p:cNvPr id="12" name="文本框 11">
            <a:extLst>
              <a:ext uri="{FF2B5EF4-FFF2-40B4-BE49-F238E27FC236}">
                <a16:creationId xmlns:a16="http://schemas.microsoft.com/office/drawing/2014/main" id="{08D1ED60-C0E7-408E-A5AA-59B489440FCB}"/>
              </a:ext>
            </a:extLst>
          </p:cNvPr>
          <p:cNvSpPr txBox="1"/>
          <p:nvPr/>
        </p:nvSpPr>
        <p:spPr>
          <a:xfrm>
            <a:off x="4095451" y="2275523"/>
            <a:ext cx="4001095" cy="369332"/>
          </a:xfrm>
          <a:prstGeom prst="rect">
            <a:avLst/>
          </a:prstGeom>
          <a:noFill/>
        </p:spPr>
        <p:txBody>
          <a:bodyPr wrap="none" lIns="0" tIns="0" rIns="0" bIns="0" rtlCol="0" anchor="t">
            <a:spAutoFit/>
          </a:bodyPr>
          <a:lstStyle/>
          <a:p>
            <a:pPr algn="ctr"/>
            <a:r>
              <a:rPr lang="zh-CN" altLang="en-US" sz="2400" dirty="0">
                <a:solidFill>
                  <a:schemeClr val="bg1"/>
                </a:solidFill>
                <a:latin typeface="+mn-ea"/>
              </a:rPr>
              <a:t>输入你的副标题或大标题英文</a:t>
            </a:r>
          </a:p>
        </p:txBody>
      </p:sp>
      <p:cxnSp>
        <p:nvCxnSpPr>
          <p:cNvPr id="14" name="直接连接符 13">
            <a:extLst>
              <a:ext uri="{FF2B5EF4-FFF2-40B4-BE49-F238E27FC236}">
                <a16:creationId xmlns:a16="http://schemas.microsoft.com/office/drawing/2014/main" id="{99FDF5DC-EAFA-4C3B-B052-660243EB047F}"/>
              </a:ext>
            </a:extLst>
          </p:cNvPr>
          <p:cNvCxnSpPr/>
          <p:nvPr/>
        </p:nvCxnSpPr>
        <p:spPr>
          <a:xfrm flipH="1">
            <a:off x="2029968" y="2465975"/>
            <a:ext cx="1901952"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 name="直接连接符 14">
            <a:extLst>
              <a:ext uri="{FF2B5EF4-FFF2-40B4-BE49-F238E27FC236}">
                <a16:creationId xmlns:a16="http://schemas.microsoft.com/office/drawing/2014/main" id="{C6CC629A-E754-4728-BB95-563C56597B63}"/>
              </a:ext>
            </a:extLst>
          </p:cNvPr>
          <p:cNvCxnSpPr/>
          <p:nvPr/>
        </p:nvCxnSpPr>
        <p:spPr>
          <a:xfrm flipH="1">
            <a:off x="8284464" y="2465975"/>
            <a:ext cx="1901952"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grpSp>
        <p:nvGrpSpPr>
          <p:cNvPr id="18" name="组合 17">
            <a:extLst>
              <a:ext uri="{FF2B5EF4-FFF2-40B4-BE49-F238E27FC236}">
                <a16:creationId xmlns:a16="http://schemas.microsoft.com/office/drawing/2014/main" id="{FC799265-AC15-410F-82A2-679AB60B288F}"/>
              </a:ext>
            </a:extLst>
          </p:cNvPr>
          <p:cNvGrpSpPr/>
          <p:nvPr/>
        </p:nvGrpSpPr>
        <p:grpSpPr>
          <a:xfrm>
            <a:off x="4331702" y="4145803"/>
            <a:ext cx="1475214" cy="246221"/>
            <a:chOff x="4095451" y="4640913"/>
            <a:chExt cx="1475214" cy="246221"/>
          </a:xfrm>
        </p:grpSpPr>
        <p:sp>
          <p:nvSpPr>
            <p:cNvPr id="16" name="矩形 15">
              <a:extLst>
                <a:ext uri="{FF2B5EF4-FFF2-40B4-BE49-F238E27FC236}">
                  <a16:creationId xmlns:a16="http://schemas.microsoft.com/office/drawing/2014/main" id="{74C493E7-1B47-4349-BC5B-BF3163490795}"/>
                </a:ext>
              </a:extLst>
            </p:cNvPr>
            <p:cNvSpPr/>
            <p:nvPr/>
          </p:nvSpPr>
          <p:spPr>
            <a:xfrm>
              <a:off x="4095451" y="4672584"/>
              <a:ext cx="164592" cy="1645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solidFill>
                  <a:schemeClr val="bg1"/>
                </a:solidFill>
              </a:endParaRPr>
            </a:p>
          </p:txBody>
        </p:sp>
        <p:sp>
          <p:nvSpPr>
            <p:cNvPr id="17" name="文本框 16">
              <a:extLst>
                <a:ext uri="{FF2B5EF4-FFF2-40B4-BE49-F238E27FC236}">
                  <a16:creationId xmlns:a16="http://schemas.microsoft.com/office/drawing/2014/main" id="{B804F6AA-7656-4EF8-84F0-3B3FB5CF0922}"/>
                </a:ext>
              </a:extLst>
            </p:cNvPr>
            <p:cNvSpPr txBox="1"/>
            <p:nvPr/>
          </p:nvSpPr>
          <p:spPr>
            <a:xfrm>
              <a:off x="4408487" y="4640913"/>
              <a:ext cx="1162178" cy="246221"/>
            </a:xfrm>
            <a:prstGeom prst="rect">
              <a:avLst/>
            </a:prstGeom>
            <a:noFill/>
          </p:spPr>
          <p:txBody>
            <a:bodyPr wrap="none" lIns="0" tIns="0" rIns="0" bIns="0" rtlCol="0" anchor="t">
              <a:spAutoFit/>
            </a:bodyPr>
            <a:lstStyle/>
            <a:p>
              <a:r>
                <a:rPr lang="zh-CN" altLang="en-US" sz="1600" dirty="0">
                  <a:solidFill>
                    <a:schemeClr val="bg1"/>
                  </a:solidFill>
                  <a:latin typeface="+mn-ea"/>
                </a:rPr>
                <a:t>汇报人：</a:t>
              </a:r>
              <a:r>
                <a:rPr lang="en-US" altLang="zh-CN" sz="1600" dirty="0">
                  <a:solidFill>
                    <a:schemeClr val="bg1"/>
                  </a:solidFill>
                  <a:latin typeface="+mn-ea"/>
                </a:rPr>
                <a:t>xxx</a:t>
              </a:r>
              <a:endParaRPr lang="zh-CN" altLang="en-US" sz="1600" dirty="0">
                <a:solidFill>
                  <a:schemeClr val="bg1"/>
                </a:solidFill>
                <a:latin typeface="+mn-ea"/>
              </a:endParaRPr>
            </a:p>
          </p:txBody>
        </p:sp>
      </p:grpSp>
      <p:grpSp>
        <p:nvGrpSpPr>
          <p:cNvPr id="19" name="组合 18">
            <a:extLst>
              <a:ext uri="{FF2B5EF4-FFF2-40B4-BE49-F238E27FC236}">
                <a16:creationId xmlns:a16="http://schemas.microsoft.com/office/drawing/2014/main" id="{482B1619-178E-45D1-BC39-C5F4314075B6}"/>
              </a:ext>
            </a:extLst>
          </p:cNvPr>
          <p:cNvGrpSpPr/>
          <p:nvPr/>
        </p:nvGrpSpPr>
        <p:grpSpPr>
          <a:xfrm>
            <a:off x="6590270" y="4145803"/>
            <a:ext cx="1270029" cy="246221"/>
            <a:chOff x="4095451" y="4640913"/>
            <a:chExt cx="1270029" cy="246221"/>
          </a:xfrm>
        </p:grpSpPr>
        <p:sp>
          <p:nvSpPr>
            <p:cNvPr id="20" name="矩形 19">
              <a:extLst>
                <a:ext uri="{FF2B5EF4-FFF2-40B4-BE49-F238E27FC236}">
                  <a16:creationId xmlns:a16="http://schemas.microsoft.com/office/drawing/2014/main" id="{3A1AE345-38CE-49BE-9E58-2C20078777A3}"/>
                </a:ext>
              </a:extLst>
            </p:cNvPr>
            <p:cNvSpPr/>
            <p:nvPr/>
          </p:nvSpPr>
          <p:spPr>
            <a:xfrm>
              <a:off x="4095451" y="4672584"/>
              <a:ext cx="164592" cy="1645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solidFill>
                  <a:schemeClr val="bg1"/>
                </a:solidFill>
              </a:endParaRPr>
            </a:p>
          </p:txBody>
        </p:sp>
        <p:sp>
          <p:nvSpPr>
            <p:cNvPr id="21" name="文本框 20">
              <a:extLst>
                <a:ext uri="{FF2B5EF4-FFF2-40B4-BE49-F238E27FC236}">
                  <a16:creationId xmlns:a16="http://schemas.microsoft.com/office/drawing/2014/main" id="{FCC3031D-C171-43E7-B549-82FC96054817}"/>
                </a:ext>
              </a:extLst>
            </p:cNvPr>
            <p:cNvSpPr txBox="1"/>
            <p:nvPr/>
          </p:nvSpPr>
          <p:spPr>
            <a:xfrm>
              <a:off x="4408487" y="4640913"/>
              <a:ext cx="956993" cy="246221"/>
            </a:xfrm>
            <a:prstGeom prst="rect">
              <a:avLst/>
            </a:prstGeom>
            <a:noFill/>
          </p:spPr>
          <p:txBody>
            <a:bodyPr wrap="none" lIns="0" tIns="0" rIns="0" bIns="0" rtlCol="0" anchor="t">
              <a:spAutoFit/>
            </a:bodyPr>
            <a:lstStyle/>
            <a:p>
              <a:r>
                <a:rPr lang="zh-CN" altLang="en-US" sz="1600" dirty="0">
                  <a:solidFill>
                    <a:schemeClr val="bg1"/>
                  </a:solidFill>
                  <a:latin typeface="+mn-ea"/>
                </a:rPr>
                <a:t>单位：</a:t>
              </a:r>
              <a:r>
                <a:rPr lang="en-US" altLang="zh-CN" sz="1600" dirty="0">
                  <a:solidFill>
                    <a:schemeClr val="bg1"/>
                  </a:solidFill>
                  <a:latin typeface="+mn-ea"/>
                </a:rPr>
                <a:t>xxx</a:t>
              </a:r>
              <a:endParaRPr lang="zh-CN" altLang="en-US" sz="1600" dirty="0">
                <a:solidFill>
                  <a:schemeClr val="bg1"/>
                </a:solidFill>
                <a:latin typeface="+mn-ea"/>
              </a:endParaRPr>
            </a:p>
          </p:txBody>
        </p:sp>
      </p:grpSp>
    </p:spTree>
    <p:extLst>
      <p:ext uri="{BB962C8B-B14F-4D97-AF65-F5344CB8AC3E}">
        <p14:creationId xmlns:p14="http://schemas.microsoft.com/office/powerpoint/2010/main" val="1999878397"/>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2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a:extLst>
              <a:ext uri="{FF2B5EF4-FFF2-40B4-BE49-F238E27FC236}">
                <a16:creationId xmlns:a16="http://schemas.microsoft.com/office/drawing/2014/main" id="{A7528258-C3F7-40E1-9530-63F33415083C}"/>
              </a:ext>
            </a:extLst>
          </p:cNvPr>
          <p:cNvSpPr txBox="1"/>
          <p:nvPr/>
        </p:nvSpPr>
        <p:spPr>
          <a:xfrm>
            <a:off x="4382485" y="603183"/>
            <a:ext cx="3427031" cy="523220"/>
          </a:xfrm>
          <a:prstGeom prst="rect">
            <a:avLst/>
          </a:prstGeom>
          <a:noFill/>
        </p:spPr>
        <p:txBody>
          <a:bodyPr wrap="square" rtlCol="0">
            <a:spAutoFit/>
          </a:bodyPr>
          <a:lstStyle/>
          <a:p>
            <a:r>
              <a:rPr kumimoji="1" lang="zh-CN" altLang="en-US" sz="2800" b="1" dirty="0">
                <a:solidFill>
                  <a:schemeClr val="accent1"/>
                </a:solidFill>
                <a:latin typeface="Microsoft YaHei" panose="020B0503020204020204" pitchFamily="34" charset="-122"/>
                <a:ea typeface="Microsoft YaHei" panose="020B0503020204020204" pitchFamily="34" charset="-122"/>
              </a:rPr>
              <a:t>在这里输入你的标题</a:t>
            </a:r>
          </a:p>
        </p:txBody>
      </p:sp>
      <p:grpSp>
        <p:nvGrpSpPr>
          <p:cNvPr id="6" name="组合 5">
            <a:extLst>
              <a:ext uri="{FF2B5EF4-FFF2-40B4-BE49-F238E27FC236}">
                <a16:creationId xmlns:a16="http://schemas.microsoft.com/office/drawing/2014/main" id="{5EE56F6B-558D-4780-BFA8-C44FA99B0144}"/>
              </a:ext>
            </a:extLst>
          </p:cNvPr>
          <p:cNvGrpSpPr/>
          <p:nvPr/>
        </p:nvGrpSpPr>
        <p:grpSpPr>
          <a:xfrm>
            <a:off x="2881808" y="759621"/>
            <a:ext cx="1500677" cy="210344"/>
            <a:chOff x="2881808" y="789782"/>
            <a:chExt cx="1500677" cy="210344"/>
          </a:xfrm>
        </p:grpSpPr>
        <p:sp>
          <p:nvSpPr>
            <p:cNvPr id="3" name="平行四边形 2">
              <a:extLst>
                <a:ext uri="{FF2B5EF4-FFF2-40B4-BE49-F238E27FC236}">
                  <a16:creationId xmlns:a16="http://schemas.microsoft.com/office/drawing/2014/main" id="{09EA53D4-1C50-4A8A-9DFA-0668DAF3451C}"/>
                </a:ext>
              </a:extLst>
            </p:cNvPr>
            <p:cNvSpPr/>
            <p:nvPr/>
          </p:nvSpPr>
          <p:spPr>
            <a:xfrm>
              <a:off x="4188321" y="789782"/>
              <a:ext cx="194164" cy="210344"/>
            </a:xfrm>
            <a:prstGeom prst="parallelogram">
              <a:avLst>
                <a:gd name="adj" fmla="val 53561"/>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cxnSp>
          <p:nvCxnSpPr>
            <p:cNvPr id="5" name="直接连接符 4">
              <a:extLst>
                <a:ext uri="{FF2B5EF4-FFF2-40B4-BE49-F238E27FC236}">
                  <a16:creationId xmlns:a16="http://schemas.microsoft.com/office/drawing/2014/main" id="{88E5EF61-C9B0-47F8-8319-3CE4C98857C2}"/>
                </a:ext>
              </a:extLst>
            </p:cNvPr>
            <p:cNvCxnSpPr>
              <a:stCxn id="3" idx="5"/>
            </p:cNvCxnSpPr>
            <p:nvPr/>
          </p:nvCxnSpPr>
          <p:spPr>
            <a:xfrm flipH="1" flipV="1">
              <a:off x="2881808" y="890588"/>
              <a:ext cx="1358511" cy="4366"/>
            </a:xfrm>
            <a:prstGeom prst="line">
              <a:avLst/>
            </a:prstGeom>
            <a:gradFill>
              <a:gsLst>
                <a:gs pos="17000">
                  <a:schemeClr val="accent1">
                    <a:alpha val="0"/>
                  </a:schemeClr>
                </a:gs>
                <a:gs pos="100000">
                  <a:schemeClr val="accent1">
                    <a:alpha val="28000"/>
                  </a:schemeClr>
                </a:gs>
              </a:gsLst>
              <a:lin ang="0" scaled="0"/>
            </a:gradFill>
            <a:ln w="28575">
              <a:gradFill>
                <a:gsLst>
                  <a:gs pos="0">
                    <a:schemeClr val="accent1">
                      <a:alpha val="0"/>
                    </a:schemeClr>
                  </a:gs>
                  <a:gs pos="100000">
                    <a:schemeClr val="accent1"/>
                  </a:gs>
                </a:gsLst>
                <a:lin ang="10800000" scaled="0"/>
              </a:gradFill>
            </a:ln>
          </p:spPr>
          <p:style>
            <a:lnRef idx="2">
              <a:schemeClr val="accent1">
                <a:shade val="50000"/>
              </a:schemeClr>
            </a:lnRef>
            <a:fillRef idx="1">
              <a:schemeClr val="accent1"/>
            </a:fillRef>
            <a:effectRef idx="0">
              <a:schemeClr val="accent1"/>
            </a:effectRef>
            <a:fontRef idx="minor">
              <a:schemeClr val="lt1"/>
            </a:fontRef>
          </p:style>
        </p:cxnSp>
      </p:grpSp>
      <p:grpSp>
        <p:nvGrpSpPr>
          <p:cNvPr id="7" name="组合 6">
            <a:extLst>
              <a:ext uri="{FF2B5EF4-FFF2-40B4-BE49-F238E27FC236}">
                <a16:creationId xmlns:a16="http://schemas.microsoft.com/office/drawing/2014/main" id="{77A832BC-757D-41E6-8F7E-AF12364762EA}"/>
              </a:ext>
            </a:extLst>
          </p:cNvPr>
          <p:cNvGrpSpPr/>
          <p:nvPr/>
        </p:nvGrpSpPr>
        <p:grpSpPr>
          <a:xfrm flipH="1" flipV="1">
            <a:off x="7752366" y="759621"/>
            <a:ext cx="1487977" cy="210344"/>
            <a:chOff x="2894508" y="789782"/>
            <a:chExt cx="1487977" cy="210344"/>
          </a:xfrm>
        </p:grpSpPr>
        <p:sp>
          <p:nvSpPr>
            <p:cNvPr id="8" name="平行四边形 7">
              <a:extLst>
                <a:ext uri="{FF2B5EF4-FFF2-40B4-BE49-F238E27FC236}">
                  <a16:creationId xmlns:a16="http://schemas.microsoft.com/office/drawing/2014/main" id="{188E9025-B70C-4655-9B6C-A867018DF975}"/>
                </a:ext>
              </a:extLst>
            </p:cNvPr>
            <p:cNvSpPr/>
            <p:nvPr/>
          </p:nvSpPr>
          <p:spPr>
            <a:xfrm>
              <a:off x="4188321" y="789782"/>
              <a:ext cx="194164" cy="210344"/>
            </a:xfrm>
            <a:prstGeom prst="parallelogram">
              <a:avLst>
                <a:gd name="adj" fmla="val 53561"/>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cxnSp>
          <p:nvCxnSpPr>
            <p:cNvPr id="9" name="直接连接符 8">
              <a:extLst>
                <a:ext uri="{FF2B5EF4-FFF2-40B4-BE49-F238E27FC236}">
                  <a16:creationId xmlns:a16="http://schemas.microsoft.com/office/drawing/2014/main" id="{852F9BD2-2DB3-4A38-B709-7F6C4D45AB96}"/>
                </a:ext>
              </a:extLst>
            </p:cNvPr>
            <p:cNvCxnSpPr>
              <a:cxnSpLocks/>
            </p:cNvCxnSpPr>
            <p:nvPr/>
          </p:nvCxnSpPr>
          <p:spPr>
            <a:xfrm flipH="1" flipV="1">
              <a:off x="2894508" y="890588"/>
              <a:ext cx="1358511" cy="4366"/>
            </a:xfrm>
            <a:prstGeom prst="line">
              <a:avLst/>
            </a:prstGeom>
            <a:gradFill>
              <a:gsLst>
                <a:gs pos="17000">
                  <a:schemeClr val="accent1">
                    <a:alpha val="0"/>
                  </a:schemeClr>
                </a:gs>
                <a:gs pos="100000">
                  <a:schemeClr val="accent1">
                    <a:alpha val="28000"/>
                  </a:schemeClr>
                </a:gs>
              </a:gsLst>
              <a:lin ang="0" scaled="0"/>
            </a:gradFill>
            <a:ln w="28575">
              <a:gradFill>
                <a:gsLst>
                  <a:gs pos="0">
                    <a:schemeClr val="accent1">
                      <a:alpha val="0"/>
                    </a:schemeClr>
                  </a:gs>
                  <a:gs pos="100000">
                    <a:schemeClr val="accent1"/>
                  </a:gs>
                </a:gsLst>
                <a:lin ang="10800000" scaled="0"/>
              </a:gradFill>
            </a:ln>
          </p:spPr>
          <p:style>
            <a:lnRef idx="2">
              <a:schemeClr val="accent1">
                <a:shade val="50000"/>
              </a:schemeClr>
            </a:lnRef>
            <a:fillRef idx="1">
              <a:schemeClr val="accent1"/>
            </a:fillRef>
            <a:effectRef idx="0">
              <a:schemeClr val="accent1"/>
            </a:effectRef>
            <a:fontRef idx="minor">
              <a:schemeClr val="lt1"/>
            </a:fontRef>
          </p:style>
        </p:cxnSp>
      </p:grpSp>
    </p:spTree>
    <p:extLst>
      <p:ext uri="{BB962C8B-B14F-4D97-AF65-F5344CB8AC3E}">
        <p14:creationId xmlns:p14="http://schemas.microsoft.com/office/powerpoint/2010/main" val="2934596058"/>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2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a:extLst>
              <a:ext uri="{FF2B5EF4-FFF2-40B4-BE49-F238E27FC236}">
                <a16:creationId xmlns:a16="http://schemas.microsoft.com/office/drawing/2014/main" id="{A7528258-C3F7-40E1-9530-63F33415083C}"/>
              </a:ext>
            </a:extLst>
          </p:cNvPr>
          <p:cNvSpPr txBox="1"/>
          <p:nvPr/>
        </p:nvSpPr>
        <p:spPr>
          <a:xfrm>
            <a:off x="4382485" y="603183"/>
            <a:ext cx="3427031" cy="523220"/>
          </a:xfrm>
          <a:prstGeom prst="rect">
            <a:avLst/>
          </a:prstGeom>
          <a:noFill/>
        </p:spPr>
        <p:txBody>
          <a:bodyPr wrap="square" rtlCol="0">
            <a:spAutoFit/>
          </a:bodyPr>
          <a:lstStyle/>
          <a:p>
            <a:r>
              <a:rPr kumimoji="1" lang="zh-CN" altLang="en-US" sz="2800" b="1" dirty="0">
                <a:solidFill>
                  <a:schemeClr val="accent1"/>
                </a:solidFill>
                <a:latin typeface="Microsoft YaHei" panose="020B0503020204020204" pitchFamily="34" charset="-122"/>
                <a:ea typeface="Microsoft YaHei" panose="020B0503020204020204" pitchFamily="34" charset="-122"/>
              </a:rPr>
              <a:t>在这里输入你的标题</a:t>
            </a:r>
          </a:p>
        </p:txBody>
      </p:sp>
      <p:grpSp>
        <p:nvGrpSpPr>
          <p:cNvPr id="12" name="组合 11">
            <a:extLst>
              <a:ext uri="{FF2B5EF4-FFF2-40B4-BE49-F238E27FC236}">
                <a16:creationId xmlns:a16="http://schemas.microsoft.com/office/drawing/2014/main" id="{DF975380-99A3-4903-93F0-351152510BFA}"/>
              </a:ext>
            </a:extLst>
          </p:cNvPr>
          <p:cNvGrpSpPr/>
          <p:nvPr/>
        </p:nvGrpSpPr>
        <p:grpSpPr>
          <a:xfrm>
            <a:off x="1407319" y="759621"/>
            <a:ext cx="2975166" cy="210344"/>
            <a:chOff x="1407319" y="759621"/>
            <a:chExt cx="2975166" cy="210344"/>
          </a:xfrm>
        </p:grpSpPr>
        <p:sp>
          <p:nvSpPr>
            <p:cNvPr id="3" name="平行四边形 2">
              <a:extLst>
                <a:ext uri="{FF2B5EF4-FFF2-40B4-BE49-F238E27FC236}">
                  <a16:creationId xmlns:a16="http://schemas.microsoft.com/office/drawing/2014/main" id="{09EA53D4-1C50-4A8A-9DFA-0668DAF3451C}"/>
                </a:ext>
              </a:extLst>
            </p:cNvPr>
            <p:cNvSpPr/>
            <p:nvPr/>
          </p:nvSpPr>
          <p:spPr>
            <a:xfrm>
              <a:off x="4188321" y="759621"/>
              <a:ext cx="194164" cy="210344"/>
            </a:xfrm>
            <a:prstGeom prst="parallelogram">
              <a:avLst>
                <a:gd name="adj" fmla="val 7073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cxnSp>
          <p:nvCxnSpPr>
            <p:cNvPr id="5" name="直接连接符 4">
              <a:extLst>
                <a:ext uri="{FF2B5EF4-FFF2-40B4-BE49-F238E27FC236}">
                  <a16:creationId xmlns:a16="http://schemas.microsoft.com/office/drawing/2014/main" id="{88E5EF61-C9B0-47F8-8319-3CE4C98857C2}"/>
                </a:ext>
              </a:extLst>
            </p:cNvPr>
            <p:cNvCxnSpPr>
              <a:cxnSpLocks/>
            </p:cNvCxnSpPr>
            <p:nvPr/>
          </p:nvCxnSpPr>
          <p:spPr>
            <a:xfrm flipH="1">
              <a:off x="1407319" y="824313"/>
              <a:ext cx="2914756" cy="0"/>
            </a:xfrm>
            <a:prstGeom prst="line">
              <a:avLst/>
            </a:prstGeom>
            <a:gradFill>
              <a:gsLst>
                <a:gs pos="17000">
                  <a:schemeClr val="accent1">
                    <a:alpha val="0"/>
                  </a:schemeClr>
                </a:gs>
                <a:gs pos="100000">
                  <a:schemeClr val="accent1">
                    <a:alpha val="28000"/>
                  </a:schemeClr>
                </a:gs>
              </a:gsLst>
              <a:lin ang="0" scaled="0"/>
            </a:gradFill>
            <a:ln w="28575">
              <a:gradFill>
                <a:gsLst>
                  <a:gs pos="0">
                    <a:schemeClr val="accent1">
                      <a:alpha val="0"/>
                    </a:schemeClr>
                  </a:gs>
                  <a:gs pos="55000">
                    <a:schemeClr val="accent1"/>
                  </a:gs>
                </a:gsLst>
                <a:lin ang="10800000" scaled="0"/>
              </a:gradFill>
            </a:ln>
          </p:spPr>
          <p:style>
            <a:lnRef idx="2">
              <a:schemeClr val="accent1">
                <a:shade val="50000"/>
              </a:schemeClr>
            </a:lnRef>
            <a:fillRef idx="1">
              <a:schemeClr val="accent1"/>
            </a:fillRef>
            <a:effectRef idx="0">
              <a:schemeClr val="accent1"/>
            </a:effectRef>
            <a:fontRef idx="minor">
              <a:schemeClr val="lt1"/>
            </a:fontRef>
          </p:style>
        </p:cxnSp>
        <p:sp>
          <p:nvSpPr>
            <p:cNvPr id="10" name="任意多边形: 形状 9">
              <a:extLst>
                <a:ext uri="{FF2B5EF4-FFF2-40B4-BE49-F238E27FC236}">
                  <a16:creationId xmlns:a16="http://schemas.microsoft.com/office/drawing/2014/main" id="{4367E2E5-258E-4F6F-92DD-5ED059F0598E}"/>
                </a:ext>
              </a:extLst>
            </p:cNvPr>
            <p:cNvSpPr/>
            <p:nvPr/>
          </p:nvSpPr>
          <p:spPr>
            <a:xfrm>
              <a:off x="3202781" y="831056"/>
              <a:ext cx="1100138" cy="50007"/>
            </a:xfrm>
            <a:custGeom>
              <a:avLst/>
              <a:gdLst>
                <a:gd name="connsiteX0" fmla="*/ 1064419 w 1100138"/>
                <a:gd name="connsiteY0" fmla="*/ 50007 h 50007"/>
                <a:gd name="connsiteX1" fmla="*/ 50007 w 1100138"/>
                <a:gd name="connsiteY1" fmla="*/ 50007 h 50007"/>
                <a:gd name="connsiteX2" fmla="*/ 0 w 1100138"/>
                <a:gd name="connsiteY2" fmla="*/ 0 h 50007"/>
                <a:gd name="connsiteX3" fmla="*/ 1100138 w 1100138"/>
                <a:gd name="connsiteY3" fmla="*/ 0 h 50007"/>
                <a:gd name="connsiteX4" fmla="*/ 1064419 w 1100138"/>
                <a:gd name="connsiteY4" fmla="*/ 50007 h 5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0138" h="50007">
                  <a:moveTo>
                    <a:pt x="1064419" y="50007"/>
                  </a:moveTo>
                  <a:lnTo>
                    <a:pt x="50007" y="50007"/>
                  </a:lnTo>
                  <a:lnTo>
                    <a:pt x="0" y="0"/>
                  </a:lnTo>
                  <a:lnTo>
                    <a:pt x="1100138" y="0"/>
                  </a:lnTo>
                  <a:lnTo>
                    <a:pt x="1064419" y="50007"/>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grpSp>
      <p:grpSp>
        <p:nvGrpSpPr>
          <p:cNvPr id="13" name="组合 12">
            <a:extLst>
              <a:ext uri="{FF2B5EF4-FFF2-40B4-BE49-F238E27FC236}">
                <a16:creationId xmlns:a16="http://schemas.microsoft.com/office/drawing/2014/main" id="{322ADFBE-C73C-4889-8B38-F1AE3CF9D2BA}"/>
              </a:ext>
            </a:extLst>
          </p:cNvPr>
          <p:cNvGrpSpPr/>
          <p:nvPr/>
        </p:nvGrpSpPr>
        <p:grpSpPr>
          <a:xfrm flipH="1" flipV="1">
            <a:off x="7763669" y="759621"/>
            <a:ext cx="2975166" cy="210344"/>
            <a:chOff x="1407319" y="759621"/>
            <a:chExt cx="2975166" cy="210344"/>
          </a:xfrm>
        </p:grpSpPr>
        <p:sp>
          <p:nvSpPr>
            <p:cNvPr id="14" name="平行四边形 13">
              <a:extLst>
                <a:ext uri="{FF2B5EF4-FFF2-40B4-BE49-F238E27FC236}">
                  <a16:creationId xmlns:a16="http://schemas.microsoft.com/office/drawing/2014/main" id="{24589C8F-A92F-45CB-BDD4-F4A8C0536256}"/>
                </a:ext>
              </a:extLst>
            </p:cNvPr>
            <p:cNvSpPr/>
            <p:nvPr/>
          </p:nvSpPr>
          <p:spPr>
            <a:xfrm>
              <a:off x="4188321" y="759621"/>
              <a:ext cx="194164" cy="210344"/>
            </a:xfrm>
            <a:prstGeom prst="parallelogram">
              <a:avLst>
                <a:gd name="adj" fmla="val 7073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cxnSp>
          <p:nvCxnSpPr>
            <p:cNvPr id="15" name="直接连接符 14">
              <a:extLst>
                <a:ext uri="{FF2B5EF4-FFF2-40B4-BE49-F238E27FC236}">
                  <a16:creationId xmlns:a16="http://schemas.microsoft.com/office/drawing/2014/main" id="{5B45CAD5-7C4B-4701-B9F0-BA270B3DE7B2}"/>
                </a:ext>
              </a:extLst>
            </p:cNvPr>
            <p:cNvCxnSpPr>
              <a:cxnSpLocks/>
            </p:cNvCxnSpPr>
            <p:nvPr/>
          </p:nvCxnSpPr>
          <p:spPr>
            <a:xfrm flipH="1">
              <a:off x="1407319" y="824313"/>
              <a:ext cx="2914756" cy="0"/>
            </a:xfrm>
            <a:prstGeom prst="line">
              <a:avLst/>
            </a:prstGeom>
            <a:gradFill>
              <a:gsLst>
                <a:gs pos="17000">
                  <a:schemeClr val="accent1">
                    <a:alpha val="0"/>
                  </a:schemeClr>
                </a:gs>
                <a:gs pos="100000">
                  <a:schemeClr val="accent1">
                    <a:alpha val="28000"/>
                  </a:schemeClr>
                </a:gs>
              </a:gsLst>
              <a:lin ang="0" scaled="0"/>
            </a:gradFill>
            <a:ln w="28575">
              <a:gradFill>
                <a:gsLst>
                  <a:gs pos="0">
                    <a:schemeClr val="accent1">
                      <a:alpha val="0"/>
                    </a:schemeClr>
                  </a:gs>
                  <a:gs pos="55000">
                    <a:schemeClr val="accent1"/>
                  </a:gs>
                </a:gsLst>
                <a:lin ang="10800000" scaled="0"/>
              </a:gradFill>
            </a:ln>
          </p:spPr>
          <p:style>
            <a:lnRef idx="2">
              <a:schemeClr val="accent1">
                <a:shade val="50000"/>
              </a:schemeClr>
            </a:lnRef>
            <a:fillRef idx="1">
              <a:schemeClr val="accent1"/>
            </a:fillRef>
            <a:effectRef idx="0">
              <a:schemeClr val="accent1"/>
            </a:effectRef>
            <a:fontRef idx="minor">
              <a:schemeClr val="lt1"/>
            </a:fontRef>
          </p:style>
        </p:cxnSp>
        <p:sp>
          <p:nvSpPr>
            <p:cNvPr id="16" name="任意多边形: 形状 15">
              <a:extLst>
                <a:ext uri="{FF2B5EF4-FFF2-40B4-BE49-F238E27FC236}">
                  <a16:creationId xmlns:a16="http://schemas.microsoft.com/office/drawing/2014/main" id="{CE8B6C42-02B7-4BE8-913B-F43CB2BDB21F}"/>
                </a:ext>
              </a:extLst>
            </p:cNvPr>
            <p:cNvSpPr/>
            <p:nvPr/>
          </p:nvSpPr>
          <p:spPr>
            <a:xfrm>
              <a:off x="3202781" y="831056"/>
              <a:ext cx="1100138" cy="50007"/>
            </a:xfrm>
            <a:custGeom>
              <a:avLst/>
              <a:gdLst>
                <a:gd name="connsiteX0" fmla="*/ 1064419 w 1100138"/>
                <a:gd name="connsiteY0" fmla="*/ 50007 h 50007"/>
                <a:gd name="connsiteX1" fmla="*/ 50007 w 1100138"/>
                <a:gd name="connsiteY1" fmla="*/ 50007 h 50007"/>
                <a:gd name="connsiteX2" fmla="*/ 0 w 1100138"/>
                <a:gd name="connsiteY2" fmla="*/ 0 h 50007"/>
                <a:gd name="connsiteX3" fmla="*/ 1100138 w 1100138"/>
                <a:gd name="connsiteY3" fmla="*/ 0 h 50007"/>
                <a:gd name="connsiteX4" fmla="*/ 1064419 w 1100138"/>
                <a:gd name="connsiteY4" fmla="*/ 50007 h 5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0138" h="50007">
                  <a:moveTo>
                    <a:pt x="1064419" y="50007"/>
                  </a:moveTo>
                  <a:lnTo>
                    <a:pt x="50007" y="50007"/>
                  </a:lnTo>
                  <a:lnTo>
                    <a:pt x="0" y="0"/>
                  </a:lnTo>
                  <a:lnTo>
                    <a:pt x="1100138" y="0"/>
                  </a:lnTo>
                  <a:lnTo>
                    <a:pt x="1064419" y="50007"/>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grpSp>
    </p:spTree>
    <p:extLst>
      <p:ext uri="{BB962C8B-B14F-4D97-AF65-F5344CB8AC3E}">
        <p14:creationId xmlns:p14="http://schemas.microsoft.com/office/powerpoint/2010/main" val="123816232"/>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2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a:extLst>
              <a:ext uri="{FF2B5EF4-FFF2-40B4-BE49-F238E27FC236}">
                <a16:creationId xmlns:a16="http://schemas.microsoft.com/office/drawing/2014/main" id="{A47DC32B-AF15-4379-9CE6-38D612B68C8B}"/>
              </a:ext>
            </a:extLst>
          </p:cNvPr>
          <p:cNvSpPr txBox="1"/>
          <p:nvPr/>
        </p:nvSpPr>
        <p:spPr>
          <a:xfrm>
            <a:off x="4382485" y="603183"/>
            <a:ext cx="3427031" cy="523220"/>
          </a:xfrm>
          <a:prstGeom prst="rect">
            <a:avLst/>
          </a:prstGeom>
          <a:noFill/>
        </p:spPr>
        <p:txBody>
          <a:bodyPr wrap="square" rtlCol="0">
            <a:spAutoFit/>
          </a:bodyPr>
          <a:lstStyle/>
          <a:p>
            <a:r>
              <a:rPr kumimoji="1" lang="zh-CN" altLang="en-US" sz="2800" b="1" dirty="0">
                <a:solidFill>
                  <a:schemeClr val="accent1"/>
                </a:solidFill>
                <a:latin typeface="Microsoft YaHei" panose="020B0503020204020204" pitchFamily="34" charset="-122"/>
                <a:ea typeface="Microsoft YaHei" panose="020B0503020204020204" pitchFamily="34" charset="-122"/>
              </a:rPr>
              <a:t>在这里输入你的标题</a:t>
            </a:r>
          </a:p>
        </p:txBody>
      </p:sp>
      <p:sp>
        <p:nvSpPr>
          <p:cNvPr id="3" name="矩形 2">
            <a:extLst>
              <a:ext uri="{FF2B5EF4-FFF2-40B4-BE49-F238E27FC236}">
                <a16:creationId xmlns:a16="http://schemas.microsoft.com/office/drawing/2014/main" id="{EC7FF16E-76D8-4C1F-947A-A64DB7228CAA}"/>
              </a:ext>
            </a:extLst>
          </p:cNvPr>
          <p:cNvSpPr/>
          <p:nvPr/>
        </p:nvSpPr>
        <p:spPr>
          <a:xfrm>
            <a:off x="4293997" y="587308"/>
            <a:ext cx="148813" cy="14881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4" name="矩形 3">
            <a:extLst>
              <a:ext uri="{FF2B5EF4-FFF2-40B4-BE49-F238E27FC236}">
                <a16:creationId xmlns:a16="http://schemas.microsoft.com/office/drawing/2014/main" id="{7A9F4889-9851-4726-994C-0DA6A39F027A}"/>
              </a:ext>
            </a:extLst>
          </p:cNvPr>
          <p:cNvSpPr/>
          <p:nvPr/>
        </p:nvSpPr>
        <p:spPr>
          <a:xfrm>
            <a:off x="4215035" y="509742"/>
            <a:ext cx="71216" cy="7121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5" name="矩形 4">
            <a:extLst>
              <a:ext uri="{FF2B5EF4-FFF2-40B4-BE49-F238E27FC236}">
                <a16:creationId xmlns:a16="http://schemas.microsoft.com/office/drawing/2014/main" id="{DA9C1C97-4009-48D5-99A0-5B8D4B6EE3F6}"/>
              </a:ext>
            </a:extLst>
          </p:cNvPr>
          <p:cNvSpPr/>
          <p:nvPr/>
        </p:nvSpPr>
        <p:spPr>
          <a:xfrm>
            <a:off x="7776337" y="884488"/>
            <a:ext cx="148813" cy="14881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Tree>
    <p:extLst>
      <p:ext uri="{BB962C8B-B14F-4D97-AF65-F5344CB8AC3E}">
        <p14:creationId xmlns:p14="http://schemas.microsoft.com/office/powerpoint/2010/main" val="3469131725"/>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2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a:extLst>
              <a:ext uri="{FF2B5EF4-FFF2-40B4-BE49-F238E27FC236}">
                <a16:creationId xmlns:a16="http://schemas.microsoft.com/office/drawing/2014/main" id="{A47DC32B-AF15-4379-9CE6-38D612B68C8B}"/>
              </a:ext>
            </a:extLst>
          </p:cNvPr>
          <p:cNvSpPr txBox="1"/>
          <p:nvPr/>
        </p:nvSpPr>
        <p:spPr>
          <a:xfrm>
            <a:off x="4382485" y="603183"/>
            <a:ext cx="3427031" cy="523220"/>
          </a:xfrm>
          <a:prstGeom prst="rect">
            <a:avLst/>
          </a:prstGeom>
          <a:noFill/>
        </p:spPr>
        <p:txBody>
          <a:bodyPr wrap="square" rtlCol="0">
            <a:spAutoFit/>
          </a:bodyPr>
          <a:lstStyle/>
          <a:p>
            <a:r>
              <a:rPr kumimoji="1" lang="zh-CN" altLang="en-US" sz="2800" b="1" dirty="0">
                <a:solidFill>
                  <a:schemeClr val="accent1"/>
                </a:solidFill>
                <a:latin typeface="Microsoft YaHei" panose="020B0503020204020204" pitchFamily="34" charset="-122"/>
                <a:ea typeface="Microsoft YaHei" panose="020B0503020204020204" pitchFamily="34" charset="-122"/>
              </a:rPr>
              <a:t>在这里输入你的标题</a:t>
            </a:r>
          </a:p>
        </p:txBody>
      </p:sp>
      <p:sp>
        <p:nvSpPr>
          <p:cNvPr id="3" name="椭圆 2">
            <a:extLst>
              <a:ext uri="{FF2B5EF4-FFF2-40B4-BE49-F238E27FC236}">
                <a16:creationId xmlns:a16="http://schemas.microsoft.com/office/drawing/2014/main" id="{EC7FF16E-76D8-4C1F-947A-A64DB7228CAA}"/>
              </a:ext>
            </a:extLst>
          </p:cNvPr>
          <p:cNvSpPr/>
          <p:nvPr/>
        </p:nvSpPr>
        <p:spPr>
          <a:xfrm>
            <a:off x="4293997" y="587308"/>
            <a:ext cx="148813" cy="148813"/>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4" name="椭圆 3">
            <a:extLst>
              <a:ext uri="{FF2B5EF4-FFF2-40B4-BE49-F238E27FC236}">
                <a16:creationId xmlns:a16="http://schemas.microsoft.com/office/drawing/2014/main" id="{7A9F4889-9851-4726-994C-0DA6A39F027A}"/>
              </a:ext>
            </a:extLst>
          </p:cNvPr>
          <p:cNvSpPr/>
          <p:nvPr/>
        </p:nvSpPr>
        <p:spPr>
          <a:xfrm>
            <a:off x="4215035" y="509742"/>
            <a:ext cx="71216" cy="7121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5" name="椭圆 4">
            <a:extLst>
              <a:ext uri="{FF2B5EF4-FFF2-40B4-BE49-F238E27FC236}">
                <a16:creationId xmlns:a16="http://schemas.microsoft.com/office/drawing/2014/main" id="{DA9C1C97-4009-48D5-99A0-5B8D4B6EE3F6}"/>
              </a:ext>
            </a:extLst>
          </p:cNvPr>
          <p:cNvSpPr/>
          <p:nvPr/>
        </p:nvSpPr>
        <p:spPr>
          <a:xfrm>
            <a:off x="7776337" y="884488"/>
            <a:ext cx="148813" cy="148813"/>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Tree>
    <p:extLst>
      <p:ext uri="{BB962C8B-B14F-4D97-AF65-F5344CB8AC3E}">
        <p14:creationId xmlns:p14="http://schemas.microsoft.com/office/powerpoint/2010/main" val="3227554589"/>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2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圆: 空心 5">
            <a:extLst>
              <a:ext uri="{FF2B5EF4-FFF2-40B4-BE49-F238E27FC236}">
                <a16:creationId xmlns:a16="http://schemas.microsoft.com/office/drawing/2014/main" id="{591F9520-7F5F-4F55-AC87-B16AA9927EE3}"/>
              </a:ext>
            </a:extLst>
          </p:cNvPr>
          <p:cNvSpPr/>
          <p:nvPr/>
        </p:nvSpPr>
        <p:spPr>
          <a:xfrm>
            <a:off x="4260215" y="491413"/>
            <a:ext cx="373380" cy="373380"/>
          </a:xfrm>
          <a:prstGeom prst="donut">
            <a:avLst/>
          </a:prstGeom>
          <a:gradFill>
            <a:gsLst>
              <a:gs pos="100000">
                <a:schemeClr val="accent1">
                  <a:alpha val="0"/>
                </a:schemeClr>
              </a:gs>
              <a:gs pos="45000">
                <a:srgbClr val="031761">
                  <a:alpha val="40000"/>
                </a:srgbClr>
              </a:gs>
              <a:gs pos="0">
                <a:schemeClr val="accent1"/>
              </a:gs>
            </a:gsLst>
            <a:lin ang="1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2" name="文本框 1">
            <a:extLst>
              <a:ext uri="{FF2B5EF4-FFF2-40B4-BE49-F238E27FC236}">
                <a16:creationId xmlns:a16="http://schemas.microsoft.com/office/drawing/2014/main" id="{A47DC32B-AF15-4379-9CE6-38D612B68C8B}"/>
              </a:ext>
            </a:extLst>
          </p:cNvPr>
          <p:cNvSpPr txBox="1"/>
          <p:nvPr/>
        </p:nvSpPr>
        <p:spPr>
          <a:xfrm>
            <a:off x="4382485" y="603183"/>
            <a:ext cx="3427031" cy="523220"/>
          </a:xfrm>
          <a:prstGeom prst="rect">
            <a:avLst/>
          </a:prstGeom>
          <a:noFill/>
        </p:spPr>
        <p:txBody>
          <a:bodyPr wrap="square" rtlCol="0">
            <a:spAutoFit/>
          </a:bodyPr>
          <a:lstStyle/>
          <a:p>
            <a:r>
              <a:rPr kumimoji="1" lang="zh-CN" altLang="en-US" sz="2800" b="1" dirty="0">
                <a:solidFill>
                  <a:schemeClr val="accent1"/>
                </a:solidFill>
                <a:latin typeface="Microsoft YaHei" panose="020B0503020204020204" pitchFamily="34" charset="-122"/>
                <a:ea typeface="Microsoft YaHei" panose="020B0503020204020204" pitchFamily="34" charset="-122"/>
              </a:rPr>
              <a:t>在这里输入你的标题</a:t>
            </a:r>
          </a:p>
        </p:txBody>
      </p:sp>
      <p:sp>
        <p:nvSpPr>
          <p:cNvPr id="7" name="椭圆 6">
            <a:extLst>
              <a:ext uri="{FF2B5EF4-FFF2-40B4-BE49-F238E27FC236}">
                <a16:creationId xmlns:a16="http://schemas.microsoft.com/office/drawing/2014/main" id="{0405D816-1E89-4653-8E4E-60DCC577C162}"/>
              </a:ext>
            </a:extLst>
          </p:cNvPr>
          <p:cNvSpPr/>
          <p:nvPr/>
        </p:nvSpPr>
        <p:spPr>
          <a:xfrm>
            <a:off x="4633595" y="426648"/>
            <a:ext cx="120650" cy="120650"/>
          </a:xfrm>
          <a:prstGeom prst="ellipse">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8" name="椭圆 7">
            <a:extLst>
              <a:ext uri="{FF2B5EF4-FFF2-40B4-BE49-F238E27FC236}">
                <a16:creationId xmlns:a16="http://schemas.microsoft.com/office/drawing/2014/main" id="{1791DB3F-FA81-475C-BCDC-FC9CC9C1EDA3}"/>
              </a:ext>
            </a:extLst>
          </p:cNvPr>
          <p:cNvSpPr/>
          <p:nvPr/>
        </p:nvSpPr>
        <p:spPr>
          <a:xfrm>
            <a:off x="7745095" y="909248"/>
            <a:ext cx="120650" cy="120650"/>
          </a:xfrm>
          <a:prstGeom prst="ellipse">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Tree>
    <p:extLst>
      <p:ext uri="{BB962C8B-B14F-4D97-AF65-F5344CB8AC3E}">
        <p14:creationId xmlns:p14="http://schemas.microsoft.com/office/powerpoint/2010/main" val="2666432431"/>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2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任意形状 9">
            <a:extLst>
              <a:ext uri="{FF2B5EF4-FFF2-40B4-BE49-F238E27FC236}">
                <a16:creationId xmlns:a16="http://schemas.microsoft.com/office/drawing/2014/main" id="{79C0392D-8AB4-4C9C-BB47-E593C645F444}"/>
              </a:ext>
            </a:extLst>
          </p:cNvPr>
          <p:cNvSpPr/>
          <p:nvPr/>
        </p:nvSpPr>
        <p:spPr>
          <a:xfrm>
            <a:off x="0" y="6457950"/>
            <a:ext cx="12192000" cy="400050"/>
          </a:xfrm>
          <a:custGeom>
            <a:avLst/>
            <a:gdLst>
              <a:gd name="connsiteX0" fmla="*/ 12192000 w 12192000"/>
              <a:gd name="connsiteY0" fmla="*/ 0 h 329410"/>
              <a:gd name="connsiteX1" fmla="*/ 12192000 w 12192000"/>
              <a:gd name="connsiteY1" fmla="*/ 329410 h 329410"/>
              <a:gd name="connsiteX2" fmla="*/ 0 w 12192000"/>
              <a:gd name="connsiteY2" fmla="*/ 329410 h 329410"/>
              <a:gd name="connsiteX3" fmla="*/ 0 w 12192000"/>
              <a:gd name="connsiteY3" fmla="*/ 29375 h 329410"/>
              <a:gd name="connsiteX4" fmla="*/ 577089 w 12192000"/>
              <a:gd name="connsiteY4" fmla="*/ 49593 h 329410"/>
              <a:gd name="connsiteX5" fmla="*/ 5704114 w 12192000"/>
              <a:gd name="connsiteY5" fmla="*/ 124873 h 329410"/>
              <a:gd name="connsiteX6" fmla="*/ 11982536 w 12192000"/>
              <a:gd name="connsiteY6" fmla="*/ 9255 h 329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329410">
                <a:moveTo>
                  <a:pt x="12192000" y="0"/>
                </a:moveTo>
                <a:lnTo>
                  <a:pt x="12192000" y="329410"/>
                </a:lnTo>
                <a:lnTo>
                  <a:pt x="0" y="329410"/>
                </a:lnTo>
                <a:lnTo>
                  <a:pt x="0" y="29375"/>
                </a:lnTo>
                <a:lnTo>
                  <a:pt x="577089" y="49593"/>
                </a:lnTo>
                <a:cubicBezTo>
                  <a:pt x="2152931" y="98068"/>
                  <a:pt x="3885480" y="124873"/>
                  <a:pt x="5704114" y="124873"/>
                </a:cubicBezTo>
                <a:cubicBezTo>
                  <a:pt x="7977407" y="124873"/>
                  <a:pt x="10116192" y="82990"/>
                  <a:pt x="11982536" y="9255"/>
                </a:cubicBezTo>
                <a:close/>
              </a:path>
            </a:pathLst>
          </a:custGeom>
          <a:solidFill>
            <a:schemeClr val="accent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zh-CN" altLang="en-US"/>
          </a:p>
        </p:txBody>
      </p:sp>
      <p:grpSp>
        <p:nvGrpSpPr>
          <p:cNvPr id="27" name="组合 26">
            <a:extLst>
              <a:ext uri="{FF2B5EF4-FFF2-40B4-BE49-F238E27FC236}">
                <a16:creationId xmlns:a16="http://schemas.microsoft.com/office/drawing/2014/main" id="{0C97C6E4-23D8-4682-9ACA-46D795DC1D19}"/>
              </a:ext>
            </a:extLst>
          </p:cNvPr>
          <p:cNvGrpSpPr/>
          <p:nvPr/>
        </p:nvGrpSpPr>
        <p:grpSpPr>
          <a:xfrm>
            <a:off x="928231" y="1675721"/>
            <a:ext cx="3900944" cy="3309323"/>
            <a:chOff x="826631" y="1570673"/>
            <a:chExt cx="3900944" cy="3309323"/>
          </a:xfrm>
        </p:grpSpPr>
        <p:sp>
          <p:nvSpPr>
            <p:cNvPr id="29" name="文本框 28">
              <a:extLst>
                <a:ext uri="{FF2B5EF4-FFF2-40B4-BE49-F238E27FC236}">
                  <a16:creationId xmlns:a16="http://schemas.microsoft.com/office/drawing/2014/main" id="{DA2A178F-6849-446C-9B60-813FF19B58B4}"/>
                </a:ext>
              </a:extLst>
            </p:cNvPr>
            <p:cNvSpPr txBox="1"/>
            <p:nvPr/>
          </p:nvSpPr>
          <p:spPr>
            <a:xfrm>
              <a:off x="826631" y="1570673"/>
              <a:ext cx="644880" cy="416560"/>
            </a:xfrm>
            <a:custGeom>
              <a:avLst/>
              <a:gdLst/>
              <a:ahLst/>
              <a:cxnLst/>
              <a:rect l="l" t="t" r="r" b="b"/>
              <a:pathLst>
                <a:path w="711556" h="459629">
                  <a:moveTo>
                    <a:pt x="648462" y="448"/>
                  </a:moveTo>
                  <a:cubicBezTo>
                    <a:pt x="651164" y="-319"/>
                    <a:pt x="653647" y="-100"/>
                    <a:pt x="655911" y="1105"/>
                  </a:cubicBezTo>
                  <a:cubicBezTo>
                    <a:pt x="658174" y="2310"/>
                    <a:pt x="659781" y="3844"/>
                    <a:pt x="660730" y="5706"/>
                  </a:cubicBezTo>
                  <a:lnTo>
                    <a:pt x="664235" y="19726"/>
                  </a:lnTo>
                  <a:cubicBezTo>
                    <a:pt x="665185" y="21589"/>
                    <a:pt x="665477" y="23560"/>
                    <a:pt x="665112" y="25642"/>
                  </a:cubicBezTo>
                  <a:cubicBezTo>
                    <a:pt x="664747" y="27723"/>
                    <a:pt x="663286" y="29256"/>
                    <a:pt x="660730" y="30242"/>
                  </a:cubicBezTo>
                  <a:cubicBezTo>
                    <a:pt x="633054" y="44957"/>
                    <a:pt x="611292" y="66791"/>
                    <a:pt x="595446" y="95746"/>
                  </a:cubicBezTo>
                  <a:cubicBezTo>
                    <a:pt x="579599" y="124700"/>
                    <a:pt x="567477" y="156612"/>
                    <a:pt x="559079" y="191481"/>
                  </a:cubicBezTo>
                  <a:cubicBezTo>
                    <a:pt x="561818" y="191408"/>
                    <a:pt x="565104" y="191116"/>
                    <a:pt x="568938" y="190605"/>
                  </a:cubicBezTo>
                  <a:cubicBezTo>
                    <a:pt x="572772" y="190094"/>
                    <a:pt x="576496" y="189802"/>
                    <a:pt x="580111" y="189729"/>
                  </a:cubicBezTo>
                  <a:cubicBezTo>
                    <a:pt x="617792" y="190788"/>
                    <a:pt x="648900" y="204005"/>
                    <a:pt x="673437" y="229381"/>
                  </a:cubicBezTo>
                  <a:cubicBezTo>
                    <a:pt x="697973" y="254758"/>
                    <a:pt x="710679" y="285939"/>
                    <a:pt x="711556" y="322926"/>
                  </a:cubicBezTo>
                  <a:cubicBezTo>
                    <a:pt x="710460" y="362360"/>
                    <a:pt x="697316" y="394783"/>
                    <a:pt x="672122" y="420196"/>
                  </a:cubicBezTo>
                  <a:cubicBezTo>
                    <a:pt x="646928" y="445608"/>
                    <a:pt x="616258" y="458753"/>
                    <a:pt x="580111" y="459629"/>
                  </a:cubicBezTo>
                  <a:cubicBezTo>
                    <a:pt x="539472" y="459410"/>
                    <a:pt x="505077" y="445827"/>
                    <a:pt x="476926" y="418881"/>
                  </a:cubicBezTo>
                  <a:cubicBezTo>
                    <a:pt x="448775" y="391935"/>
                    <a:pt x="434097" y="352940"/>
                    <a:pt x="432892" y="301895"/>
                  </a:cubicBezTo>
                  <a:cubicBezTo>
                    <a:pt x="433330" y="240043"/>
                    <a:pt x="452171" y="180601"/>
                    <a:pt x="489414" y="123568"/>
                  </a:cubicBezTo>
                  <a:cubicBezTo>
                    <a:pt x="526656" y="66536"/>
                    <a:pt x="579672" y="25496"/>
                    <a:pt x="648462" y="448"/>
                  </a:cubicBezTo>
                  <a:close/>
                  <a:moveTo>
                    <a:pt x="215570" y="448"/>
                  </a:moveTo>
                  <a:cubicBezTo>
                    <a:pt x="218272" y="-319"/>
                    <a:pt x="220755" y="-100"/>
                    <a:pt x="223018" y="1105"/>
                  </a:cubicBezTo>
                  <a:cubicBezTo>
                    <a:pt x="225282" y="2310"/>
                    <a:pt x="226889" y="3844"/>
                    <a:pt x="227838" y="5706"/>
                  </a:cubicBezTo>
                  <a:lnTo>
                    <a:pt x="231343" y="19726"/>
                  </a:lnTo>
                  <a:cubicBezTo>
                    <a:pt x="232293" y="21589"/>
                    <a:pt x="232585" y="23560"/>
                    <a:pt x="232220" y="25642"/>
                  </a:cubicBezTo>
                  <a:cubicBezTo>
                    <a:pt x="231854" y="27723"/>
                    <a:pt x="230394" y="29256"/>
                    <a:pt x="227838" y="30242"/>
                  </a:cubicBezTo>
                  <a:cubicBezTo>
                    <a:pt x="199285" y="44957"/>
                    <a:pt x="177086" y="66791"/>
                    <a:pt x="161239" y="95746"/>
                  </a:cubicBezTo>
                  <a:cubicBezTo>
                    <a:pt x="145393" y="124700"/>
                    <a:pt x="133709" y="156612"/>
                    <a:pt x="126187" y="191481"/>
                  </a:cubicBezTo>
                  <a:cubicBezTo>
                    <a:pt x="128853" y="191408"/>
                    <a:pt x="131847" y="191116"/>
                    <a:pt x="135169" y="190605"/>
                  </a:cubicBezTo>
                  <a:cubicBezTo>
                    <a:pt x="138492" y="190094"/>
                    <a:pt x="141924" y="189802"/>
                    <a:pt x="145466" y="189729"/>
                  </a:cubicBezTo>
                  <a:cubicBezTo>
                    <a:pt x="183913" y="190788"/>
                    <a:pt x="215241" y="204005"/>
                    <a:pt x="239449" y="229381"/>
                  </a:cubicBezTo>
                  <a:cubicBezTo>
                    <a:pt x="263657" y="254758"/>
                    <a:pt x="276144" y="285939"/>
                    <a:pt x="276911" y="322926"/>
                  </a:cubicBezTo>
                  <a:cubicBezTo>
                    <a:pt x="275925" y="362360"/>
                    <a:pt x="263000" y="394783"/>
                    <a:pt x="238135" y="420196"/>
                  </a:cubicBezTo>
                  <a:cubicBezTo>
                    <a:pt x="213270" y="445608"/>
                    <a:pt x="182380" y="458753"/>
                    <a:pt x="145466" y="459629"/>
                  </a:cubicBezTo>
                  <a:cubicBezTo>
                    <a:pt x="104900" y="459410"/>
                    <a:pt x="70798" y="445827"/>
                    <a:pt x="43158" y="418881"/>
                  </a:cubicBezTo>
                  <a:cubicBezTo>
                    <a:pt x="15518" y="391935"/>
                    <a:pt x="1132" y="352940"/>
                    <a:pt x="0" y="301895"/>
                  </a:cubicBezTo>
                  <a:cubicBezTo>
                    <a:pt x="438" y="240043"/>
                    <a:pt x="19279" y="180601"/>
                    <a:pt x="56521" y="123568"/>
                  </a:cubicBezTo>
                  <a:cubicBezTo>
                    <a:pt x="93764" y="66536"/>
                    <a:pt x="146780" y="25496"/>
                    <a:pt x="215570" y="448"/>
                  </a:cubicBezTo>
                  <a:close/>
                </a:path>
              </a:pathLst>
            </a:custGeom>
            <a:solidFill>
              <a:schemeClr val="accent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nSpc>
                  <a:spcPct val="120000"/>
                </a:lnSpc>
              </a:pPr>
              <a:endParaRPr lang="zh-CN" altLang="en-US" sz="13800" dirty="0">
                <a:solidFill>
                  <a:schemeClr val="tx1">
                    <a:lumMod val="75000"/>
                    <a:lumOff val="25000"/>
                  </a:schemeClr>
                </a:solidFill>
                <a:cs typeface="+mn-ea"/>
                <a:sym typeface="+mn-lt"/>
              </a:endParaRPr>
            </a:p>
          </p:txBody>
        </p:sp>
        <p:cxnSp>
          <p:nvCxnSpPr>
            <p:cNvPr id="33" name="直接连接符 32">
              <a:extLst>
                <a:ext uri="{FF2B5EF4-FFF2-40B4-BE49-F238E27FC236}">
                  <a16:creationId xmlns:a16="http://schemas.microsoft.com/office/drawing/2014/main" id="{DAE79A4A-021D-4358-BB30-B77E62913626}"/>
                </a:ext>
              </a:extLst>
            </p:cNvPr>
            <p:cNvCxnSpPr/>
            <p:nvPr/>
          </p:nvCxnSpPr>
          <p:spPr>
            <a:xfrm>
              <a:off x="826631" y="2602622"/>
              <a:ext cx="269240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34" name="文本框 33">
              <a:extLst>
                <a:ext uri="{FF2B5EF4-FFF2-40B4-BE49-F238E27FC236}">
                  <a16:creationId xmlns:a16="http://schemas.microsoft.com/office/drawing/2014/main" id="{830E2D74-9842-424C-AE5A-0C353F6E3473}"/>
                </a:ext>
              </a:extLst>
            </p:cNvPr>
            <p:cNvSpPr txBox="1"/>
            <p:nvPr/>
          </p:nvSpPr>
          <p:spPr>
            <a:xfrm>
              <a:off x="826631" y="2136210"/>
              <a:ext cx="3089578" cy="338554"/>
            </a:xfrm>
            <a:prstGeom prst="rect">
              <a:avLst/>
            </a:prstGeom>
            <a:noFill/>
          </p:spPr>
          <p:txBody>
            <a:bodyPr wrap="square" lIns="0" tIns="0" rIns="0" bIns="0" rtlCol="0">
              <a:spAutoFit/>
            </a:bodyPr>
            <a:lstStyle/>
            <a:p>
              <a:r>
                <a:rPr lang="zh-CN" altLang="en-US" sz="2200" b="1" spc="300" dirty="0">
                  <a:solidFill>
                    <a:schemeClr val="accent1"/>
                  </a:solidFill>
                  <a:cs typeface="+mn-ea"/>
                  <a:sym typeface="+mn-lt"/>
                </a:rPr>
                <a:t>关键词标题</a:t>
              </a:r>
            </a:p>
          </p:txBody>
        </p:sp>
        <p:sp>
          <p:nvSpPr>
            <p:cNvPr id="46" name="矩形 45">
              <a:extLst>
                <a:ext uri="{FF2B5EF4-FFF2-40B4-BE49-F238E27FC236}">
                  <a16:creationId xmlns:a16="http://schemas.microsoft.com/office/drawing/2014/main" id="{206B7B80-6CC5-44D9-B3CE-F611642F17DF}"/>
                </a:ext>
              </a:extLst>
            </p:cNvPr>
            <p:cNvSpPr/>
            <p:nvPr/>
          </p:nvSpPr>
          <p:spPr>
            <a:xfrm>
              <a:off x="826631" y="2696770"/>
              <a:ext cx="3900944" cy="2183226"/>
            </a:xfrm>
            <a:prstGeom prst="rect">
              <a:avLst/>
            </a:prstGeom>
            <a:noFill/>
          </p:spPr>
          <p:txBody>
            <a:bodyPr wrap="square" lIns="0" tIns="0" rIns="0" bIns="0" rtlCol="0">
              <a:spAutoFit/>
            </a:bodyPr>
            <a:lstStyle/>
            <a:p>
              <a:pPr>
                <a:lnSpc>
                  <a:spcPct val="150000"/>
                </a:lnSpc>
              </a:pPr>
              <a:r>
                <a:rPr lang="en-US" altLang="zh-CN" sz="1600" dirty="0">
                  <a:solidFill>
                    <a:schemeClr val="tx1">
                      <a:lumMod val="65000"/>
                      <a:lumOff val="35000"/>
                    </a:schemeClr>
                  </a:solidFill>
                  <a:cs typeface="+mn-ea"/>
                  <a:sym typeface="+mn-lt"/>
                </a:rPr>
                <a:t>Lorem ipsum dolor sit amet, consectetur adipisicing elit, sed do eiusmod temporLorem ipsum dolor sit amet, consectetur adipisicing elit, sed do eiusmod tempor</a:t>
              </a:r>
              <a:endParaRPr lang="zh-CN" altLang="en-US" sz="1600" dirty="0">
                <a:solidFill>
                  <a:schemeClr val="tx1">
                    <a:lumMod val="65000"/>
                    <a:lumOff val="35000"/>
                  </a:schemeClr>
                </a:solidFill>
                <a:cs typeface="+mn-ea"/>
                <a:sym typeface="+mn-lt"/>
              </a:endParaRPr>
            </a:p>
            <a:p>
              <a:pPr>
                <a:lnSpc>
                  <a:spcPct val="150000"/>
                </a:lnSpc>
              </a:pPr>
              <a:endParaRPr lang="zh-CN" altLang="en-US" sz="1600" dirty="0">
                <a:solidFill>
                  <a:schemeClr val="tx1">
                    <a:lumMod val="65000"/>
                    <a:lumOff val="35000"/>
                  </a:schemeClr>
                </a:solidFill>
                <a:cs typeface="+mn-ea"/>
                <a:sym typeface="+mn-lt"/>
              </a:endParaRPr>
            </a:p>
          </p:txBody>
        </p:sp>
      </p:grpSp>
      <p:cxnSp>
        <p:nvCxnSpPr>
          <p:cNvPr id="47" name="直接连接符 46">
            <a:extLst>
              <a:ext uri="{FF2B5EF4-FFF2-40B4-BE49-F238E27FC236}">
                <a16:creationId xmlns:a16="http://schemas.microsoft.com/office/drawing/2014/main" id="{FB246D72-2C79-4688-AFA1-9FECB0F2E17D}"/>
              </a:ext>
            </a:extLst>
          </p:cNvPr>
          <p:cNvCxnSpPr>
            <a:cxnSpLocks/>
          </p:cNvCxnSpPr>
          <p:nvPr/>
        </p:nvCxnSpPr>
        <p:spPr>
          <a:xfrm>
            <a:off x="6096000" y="1543050"/>
            <a:ext cx="0" cy="4219575"/>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53" name="等腰三角形 52">
            <a:extLst>
              <a:ext uri="{FF2B5EF4-FFF2-40B4-BE49-F238E27FC236}">
                <a16:creationId xmlns:a16="http://schemas.microsoft.com/office/drawing/2014/main" id="{2F06A624-5B46-4471-B1AE-846CD06CDA21}"/>
              </a:ext>
            </a:extLst>
          </p:cNvPr>
          <p:cNvSpPr/>
          <p:nvPr/>
        </p:nvSpPr>
        <p:spPr>
          <a:xfrm rot="5400000">
            <a:off x="916710" y="5523223"/>
            <a:ext cx="167054" cy="144012"/>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zh-CN" altLang="en-US">
              <a:cs typeface="+mn-ea"/>
              <a:sym typeface="+mn-lt"/>
            </a:endParaRPr>
          </a:p>
        </p:txBody>
      </p:sp>
      <p:sp>
        <p:nvSpPr>
          <p:cNvPr id="54" name="等腰三角形 53">
            <a:extLst>
              <a:ext uri="{FF2B5EF4-FFF2-40B4-BE49-F238E27FC236}">
                <a16:creationId xmlns:a16="http://schemas.microsoft.com/office/drawing/2014/main" id="{6B42AB10-7BB6-4939-B6DC-5680235B12F6}"/>
              </a:ext>
            </a:extLst>
          </p:cNvPr>
          <p:cNvSpPr/>
          <p:nvPr/>
        </p:nvSpPr>
        <p:spPr>
          <a:xfrm rot="5400000">
            <a:off x="988716" y="5523223"/>
            <a:ext cx="167054" cy="144012"/>
          </a:xfrm>
          <a:prstGeom prst="triangle">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zh-CN" altLang="en-US">
              <a:cs typeface="+mn-ea"/>
              <a:sym typeface="+mn-lt"/>
            </a:endParaRPr>
          </a:p>
        </p:txBody>
      </p:sp>
      <p:grpSp>
        <p:nvGrpSpPr>
          <p:cNvPr id="57" name="组合 56">
            <a:extLst>
              <a:ext uri="{FF2B5EF4-FFF2-40B4-BE49-F238E27FC236}">
                <a16:creationId xmlns:a16="http://schemas.microsoft.com/office/drawing/2014/main" id="{F14BE33E-99F4-445D-AA58-1D363192EDBE}"/>
              </a:ext>
            </a:extLst>
          </p:cNvPr>
          <p:cNvGrpSpPr/>
          <p:nvPr/>
        </p:nvGrpSpPr>
        <p:grpSpPr>
          <a:xfrm>
            <a:off x="7205206" y="1675721"/>
            <a:ext cx="3900944" cy="3309323"/>
            <a:chOff x="826631" y="1570673"/>
            <a:chExt cx="3900944" cy="3309323"/>
          </a:xfrm>
        </p:grpSpPr>
        <p:sp>
          <p:nvSpPr>
            <p:cNvPr id="58" name="文本框 57">
              <a:extLst>
                <a:ext uri="{FF2B5EF4-FFF2-40B4-BE49-F238E27FC236}">
                  <a16:creationId xmlns:a16="http://schemas.microsoft.com/office/drawing/2014/main" id="{C7B77F1D-97E2-4384-A0D0-5E0E4C28C703}"/>
                </a:ext>
              </a:extLst>
            </p:cNvPr>
            <p:cNvSpPr txBox="1"/>
            <p:nvPr/>
          </p:nvSpPr>
          <p:spPr>
            <a:xfrm>
              <a:off x="826631" y="1570673"/>
              <a:ext cx="644880" cy="416560"/>
            </a:xfrm>
            <a:custGeom>
              <a:avLst/>
              <a:gdLst/>
              <a:ahLst/>
              <a:cxnLst/>
              <a:rect l="l" t="t" r="r" b="b"/>
              <a:pathLst>
                <a:path w="711556" h="459629">
                  <a:moveTo>
                    <a:pt x="648462" y="448"/>
                  </a:moveTo>
                  <a:cubicBezTo>
                    <a:pt x="651164" y="-319"/>
                    <a:pt x="653647" y="-100"/>
                    <a:pt x="655911" y="1105"/>
                  </a:cubicBezTo>
                  <a:cubicBezTo>
                    <a:pt x="658174" y="2310"/>
                    <a:pt x="659781" y="3844"/>
                    <a:pt x="660730" y="5706"/>
                  </a:cubicBezTo>
                  <a:lnTo>
                    <a:pt x="664235" y="19726"/>
                  </a:lnTo>
                  <a:cubicBezTo>
                    <a:pt x="665185" y="21589"/>
                    <a:pt x="665477" y="23560"/>
                    <a:pt x="665112" y="25642"/>
                  </a:cubicBezTo>
                  <a:cubicBezTo>
                    <a:pt x="664747" y="27723"/>
                    <a:pt x="663286" y="29256"/>
                    <a:pt x="660730" y="30242"/>
                  </a:cubicBezTo>
                  <a:cubicBezTo>
                    <a:pt x="633054" y="44957"/>
                    <a:pt x="611292" y="66791"/>
                    <a:pt x="595446" y="95746"/>
                  </a:cubicBezTo>
                  <a:cubicBezTo>
                    <a:pt x="579599" y="124700"/>
                    <a:pt x="567477" y="156612"/>
                    <a:pt x="559079" y="191481"/>
                  </a:cubicBezTo>
                  <a:cubicBezTo>
                    <a:pt x="561818" y="191408"/>
                    <a:pt x="565104" y="191116"/>
                    <a:pt x="568938" y="190605"/>
                  </a:cubicBezTo>
                  <a:cubicBezTo>
                    <a:pt x="572772" y="190094"/>
                    <a:pt x="576496" y="189802"/>
                    <a:pt x="580111" y="189729"/>
                  </a:cubicBezTo>
                  <a:cubicBezTo>
                    <a:pt x="617792" y="190788"/>
                    <a:pt x="648900" y="204005"/>
                    <a:pt x="673437" y="229381"/>
                  </a:cubicBezTo>
                  <a:cubicBezTo>
                    <a:pt x="697973" y="254758"/>
                    <a:pt x="710679" y="285939"/>
                    <a:pt x="711556" y="322926"/>
                  </a:cubicBezTo>
                  <a:cubicBezTo>
                    <a:pt x="710460" y="362360"/>
                    <a:pt x="697316" y="394783"/>
                    <a:pt x="672122" y="420196"/>
                  </a:cubicBezTo>
                  <a:cubicBezTo>
                    <a:pt x="646928" y="445608"/>
                    <a:pt x="616258" y="458753"/>
                    <a:pt x="580111" y="459629"/>
                  </a:cubicBezTo>
                  <a:cubicBezTo>
                    <a:pt x="539472" y="459410"/>
                    <a:pt x="505077" y="445827"/>
                    <a:pt x="476926" y="418881"/>
                  </a:cubicBezTo>
                  <a:cubicBezTo>
                    <a:pt x="448775" y="391935"/>
                    <a:pt x="434097" y="352940"/>
                    <a:pt x="432892" y="301895"/>
                  </a:cubicBezTo>
                  <a:cubicBezTo>
                    <a:pt x="433330" y="240043"/>
                    <a:pt x="452171" y="180601"/>
                    <a:pt x="489414" y="123568"/>
                  </a:cubicBezTo>
                  <a:cubicBezTo>
                    <a:pt x="526656" y="66536"/>
                    <a:pt x="579672" y="25496"/>
                    <a:pt x="648462" y="448"/>
                  </a:cubicBezTo>
                  <a:close/>
                  <a:moveTo>
                    <a:pt x="215570" y="448"/>
                  </a:moveTo>
                  <a:cubicBezTo>
                    <a:pt x="218272" y="-319"/>
                    <a:pt x="220755" y="-100"/>
                    <a:pt x="223018" y="1105"/>
                  </a:cubicBezTo>
                  <a:cubicBezTo>
                    <a:pt x="225282" y="2310"/>
                    <a:pt x="226889" y="3844"/>
                    <a:pt x="227838" y="5706"/>
                  </a:cubicBezTo>
                  <a:lnTo>
                    <a:pt x="231343" y="19726"/>
                  </a:lnTo>
                  <a:cubicBezTo>
                    <a:pt x="232293" y="21589"/>
                    <a:pt x="232585" y="23560"/>
                    <a:pt x="232220" y="25642"/>
                  </a:cubicBezTo>
                  <a:cubicBezTo>
                    <a:pt x="231854" y="27723"/>
                    <a:pt x="230394" y="29256"/>
                    <a:pt x="227838" y="30242"/>
                  </a:cubicBezTo>
                  <a:cubicBezTo>
                    <a:pt x="199285" y="44957"/>
                    <a:pt x="177086" y="66791"/>
                    <a:pt x="161239" y="95746"/>
                  </a:cubicBezTo>
                  <a:cubicBezTo>
                    <a:pt x="145393" y="124700"/>
                    <a:pt x="133709" y="156612"/>
                    <a:pt x="126187" y="191481"/>
                  </a:cubicBezTo>
                  <a:cubicBezTo>
                    <a:pt x="128853" y="191408"/>
                    <a:pt x="131847" y="191116"/>
                    <a:pt x="135169" y="190605"/>
                  </a:cubicBezTo>
                  <a:cubicBezTo>
                    <a:pt x="138492" y="190094"/>
                    <a:pt x="141924" y="189802"/>
                    <a:pt x="145466" y="189729"/>
                  </a:cubicBezTo>
                  <a:cubicBezTo>
                    <a:pt x="183913" y="190788"/>
                    <a:pt x="215241" y="204005"/>
                    <a:pt x="239449" y="229381"/>
                  </a:cubicBezTo>
                  <a:cubicBezTo>
                    <a:pt x="263657" y="254758"/>
                    <a:pt x="276144" y="285939"/>
                    <a:pt x="276911" y="322926"/>
                  </a:cubicBezTo>
                  <a:cubicBezTo>
                    <a:pt x="275925" y="362360"/>
                    <a:pt x="263000" y="394783"/>
                    <a:pt x="238135" y="420196"/>
                  </a:cubicBezTo>
                  <a:cubicBezTo>
                    <a:pt x="213270" y="445608"/>
                    <a:pt x="182380" y="458753"/>
                    <a:pt x="145466" y="459629"/>
                  </a:cubicBezTo>
                  <a:cubicBezTo>
                    <a:pt x="104900" y="459410"/>
                    <a:pt x="70798" y="445827"/>
                    <a:pt x="43158" y="418881"/>
                  </a:cubicBezTo>
                  <a:cubicBezTo>
                    <a:pt x="15518" y="391935"/>
                    <a:pt x="1132" y="352940"/>
                    <a:pt x="0" y="301895"/>
                  </a:cubicBezTo>
                  <a:cubicBezTo>
                    <a:pt x="438" y="240043"/>
                    <a:pt x="19279" y="180601"/>
                    <a:pt x="56521" y="123568"/>
                  </a:cubicBezTo>
                  <a:cubicBezTo>
                    <a:pt x="93764" y="66536"/>
                    <a:pt x="146780" y="25496"/>
                    <a:pt x="215570" y="448"/>
                  </a:cubicBezTo>
                  <a:close/>
                </a:path>
              </a:pathLst>
            </a:custGeom>
            <a:solidFill>
              <a:schemeClr val="accent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nSpc>
                  <a:spcPct val="120000"/>
                </a:lnSpc>
              </a:pPr>
              <a:endParaRPr lang="zh-CN" altLang="en-US" sz="13800" dirty="0">
                <a:solidFill>
                  <a:schemeClr val="tx1">
                    <a:lumMod val="75000"/>
                    <a:lumOff val="25000"/>
                  </a:schemeClr>
                </a:solidFill>
                <a:cs typeface="+mn-ea"/>
                <a:sym typeface="+mn-lt"/>
              </a:endParaRPr>
            </a:p>
          </p:txBody>
        </p:sp>
        <p:cxnSp>
          <p:nvCxnSpPr>
            <p:cNvPr id="59" name="直接连接符 58">
              <a:extLst>
                <a:ext uri="{FF2B5EF4-FFF2-40B4-BE49-F238E27FC236}">
                  <a16:creationId xmlns:a16="http://schemas.microsoft.com/office/drawing/2014/main" id="{011B9605-4DC6-4B0B-8673-BFE933AB8154}"/>
                </a:ext>
              </a:extLst>
            </p:cNvPr>
            <p:cNvCxnSpPr/>
            <p:nvPr/>
          </p:nvCxnSpPr>
          <p:spPr>
            <a:xfrm>
              <a:off x="826631" y="2602622"/>
              <a:ext cx="269240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60" name="文本框 59">
              <a:extLst>
                <a:ext uri="{FF2B5EF4-FFF2-40B4-BE49-F238E27FC236}">
                  <a16:creationId xmlns:a16="http://schemas.microsoft.com/office/drawing/2014/main" id="{EB6C8ABB-10EE-40E7-BB64-F87C9336ACE7}"/>
                </a:ext>
              </a:extLst>
            </p:cNvPr>
            <p:cNvSpPr txBox="1"/>
            <p:nvPr/>
          </p:nvSpPr>
          <p:spPr>
            <a:xfrm>
              <a:off x="826631" y="2136210"/>
              <a:ext cx="3089578" cy="338554"/>
            </a:xfrm>
            <a:prstGeom prst="rect">
              <a:avLst/>
            </a:prstGeom>
            <a:noFill/>
          </p:spPr>
          <p:txBody>
            <a:bodyPr wrap="square" lIns="0" tIns="0" rIns="0" bIns="0" rtlCol="0">
              <a:spAutoFit/>
            </a:bodyPr>
            <a:lstStyle/>
            <a:p>
              <a:r>
                <a:rPr lang="zh-CN" altLang="en-US" sz="2200" b="1" spc="300" dirty="0">
                  <a:solidFill>
                    <a:schemeClr val="accent1"/>
                  </a:solidFill>
                  <a:cs typeface="+mn-ea"/>
                  <a:sym typeface="+mn-lt"/>
                </a:rPr>
                <a:t>关键词标题</a:t>
              </a:r>
            </a:p>
          </p:txBody>
        </p:sp>
        <p:sp>
          <p:nvSpPr>
            <p:cNvPr id="61" name="矩形 60">
              <a:extLst>
                <a:ext uri="{FF2B5EF4-FFF2-40B4-BE49-F238E27FC236}">
                  <a16:creationId xmlns:a16="http://schemas.microsoft.com/office/drawing/2014/main" id="{0EFBC824-C20E-48D8-AAE5-E519BEAEC6C7}"/>
                </a:ext>
              </a:extLst>
            </p:cNvPr>
            <p:cNvSpPr/>
            <p:nvPr/>
          </p:nvSpPr>
          <p:spPr>
            <a:xfrm>
              <a:off x="826631" y="2696770"/>
              <a:ext cx="3900944" cy="2183226"/>
            </a:xfrm>
            <a:prstGeom prst="rect">
              <a:avLst/>
            </a:prstGeom>
            <a:noFill/>
          </p:spPr>
          <p:txBody>
            <a:bodyPr wrap="square" lIns="0" tIns="0" rIns="0" bIns="0" rtlCol="0">
              <a:spAutoFit/>
            </a:bodyPr>
            <a:lstStyle/>
            <a:p>
              <a:pPr>
                <a:lnSpc>
                  <a:spcPct val="150000"/>
                </a:lnSpc>
              </a:pPr>
              <a:r>
                <a:rPr lang="en-US" altLang="zh-CN" sz="1600" dirty="0">
                  <a:solidFill>
                    <a:schemeClr val="tx1">
                      <a:lumMod val="65000"/>
                      <a:lumOff val="35000"/>
                    </a:schemeClr>
                  </a:solidFill>
                  <a:cs typeface="+mn-ea"/>
                  <a:sym typeface="+mn-lt"/>
                </a:rPr>
                <a:t>Lorem ipsum dolor sit amet, consectetur adipisicing elit, sed do eiusmod temporLorem ipsum dolor sit amet, consectetur adipisicing elit, sed do eiusmod tempor</a:t>
              </a:r>
              <a:endParaRPr lang="zh-CN" altLang="en-US" sz="1600" dirty="0">
                <a:solidFill>
                  <a:schemeClr val="tx1">
                    <a:lumMod val="65000"/>
                    <a:lumOff val="35000"/>
                  </a:schemeClr>
                </a:solidFill>
                <a:cs typeface="+mn-ea"/>
                <a:sym typeface="+mn-lt"/>
              </a:endParaRPr>
            </a:p>
            <a:p>
              <a:pPr>
                <a:lnSpc>
                  <a:spcPct val="150000"/>
                </a:lnSpc>
              </a:pPr>
              <a:endParaRPr lang="zh-CN" altLang="en-US" sz="1600" dirty="0">
                <a:solidFill>
                  <a:schemeClr val="tx1">
                    <a:lumMod val="65000"/>
                    <a:lumOff val="35000"/>
                  </a:schemeClr>
                </a:solidFill>
                <a:cs typeface="+mn-ea"/>
                <a:sym typeface="+mn-lt"/>
              </a:endParaRPr>
            </a:p>
          </p:txBody>
        </p:sp>
      </p:grpSp>
      <p:sp>
        <p:nvSpPr>
          <p:cNvPr id="62" name="等腰三角形 61">
            <a:extLst>
              <a:ext uri="{FF2B5EF4-FFF2-40B4-BE49-F238E27FC236}">
                <a16:creationId xmlns:a16="http://schemas.microsoft.com/office/drawing/2014/main" id="{D6350C6F-6144-497F-91C1-159E0560EA55}"/>
              </a:ext>
            </a:extLst>
          </p:cNvPr>
          <p:cNvSpPr/>
          <p:nvPr/>
        </p:nvSpPr>
        <p:spPr>
          <a:xfrm rot="5400000">
            <a:off x="7193685" y="5523223"/>
            <a:ext cx="167054" cy="144012"/>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zh-CN" altLang="en-US">
              <a:cs typeface="+mn-ea"/>
              <a:sym typeface="+mn-lt"/>
            </a:endParaRPr>
          </a:p>
        </p:txBody>
      </p:sp>
      <p:sp>
        <p:nvSpPr>
          <p:cNvPr id="63" name="等腰三角形 62">
            <a:extLst>
              <a:ext uri="{FF2B5EF4-FFF2-40B4-BE49-F238E27FC236}">
                <a16:creationId xmlns:a16="http://schemas.microsoft.com/office/drawing/2014/main" id="{4EF043C3-0891-426B-9868-6D4E4A99B84F}"/>
              </a:ext>
            </a:extLst>
          </p:cNvPr>
          <p:cNvSpPr/>
          <p:nvPr/>
        </p:nvSpPr>
        <p:spPr>
          <a:xfrm rot="5400000">
            <a:off x="7265691" y="5523223"/>
            <a:ext cx="167054" cy="144012"/>
          </a:xfrm>
          <a:prstGeom prst="triangle">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zh-CN" altLang="en-US">
              <a:cs typeface="+mn-ea"/>
              <a:sym typeface="+mn-lt"/>
            </a:endParaRPr>
          </a:p>
        </p:txBody>
      </p:sp>
    </p:spTree>
    <p:extLst>
      <p:ext uri="{BB962C8B-B14F-4D97-AF65-F5344CB8AC3E}">
        <p14:creationId xmlns:p14="http://schemas.microsoft.com/office/powerpoint/2010/main" val="859183176"/>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2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任意形状 9">
            <a:extLst>
              <a:ext uri="{FF2B5EF4-FFF2-40B4-BE49-F238E27FC236}">
                <a16:creationId xmlns:a16="http://schemas.microsoft.com/office/drawing/2014/main" id="{79C0392D-8AB4-4C9C-BB47-E593C645F444}"/>
              </a:ext>
            </a:extLst>
          </p:cNvPr>
          <p:cNvSpPr/>
          <p:nvPr/>
        </p:nvSpPr>
        <p:spPr>
          <a:xfrm>
            <a:off x="0" y="6457950"/>
            <a:ext cx="12192000" cy="400050"/>
          </a:xfrm>
          <a:custGeom>
            <a:avLst/>
            <a:gdLst>
              <a:gd name="connsiteX0" fmla="*/ 12192000 w 12192000"/>
              <a:gd name="connsiteY0" fmla="*/ 0 h 329410"/>
              <a:gd name="connsiteX1" fmla="*/ 12192000 w 12192000"/>
              <a:gd name="connsiteY1" fmla="*/ 329410 h 329410"/>
              <a:gd name="connsiteX2" fmla="*/ 0 w 12192000"/>
              <a:gd name="connsiteY2" fmla="*/ 329410 h 329410"/>
              <a:gd name="connsiteX3" fmla="*/ 0 w 12192000"/>
              <a:gd name="connsiteY3" fmla="*/ 29375 h 329410"/>
              <a:gd name="connsiteX4" fmla="*/ 577089 w 12192000"/>
              <a:gd name="connsiteY4" fmla="*/ 49593 h 329410"/>
              <a:gd name="connsiteX5" fmla="*/ 5704114 w 12192000"/>
              <a:gd name="connsiteY5" fmla="*/ 124873 h 329410"/>
              <a:gd name="connsiteX6" fmla="*/ 11982536 w 12192000"/>
              <a:gd name="connsiteY6" fmla="*/ 9255 h 329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329410">
                <a:moveTo>
                  <a:pt x="12192000" y="0"/>
                </a:moveTo>
                <a:lnTo>
                  <a:pt x="12192000" y="329410"/>
                </a:lnTo>
                <a:lnTo>
                  <a:pt x="0" y="329410"/>
                </a:lnTo>
                <a:lnTo>
                  <a:pt x="0" y="29375"/>
                </a:lnTo>
                <a:lnTo>
                  <a:pt x="577089" y="49593"/>
                </a:lnTo>
                <a:cubicBezTo>
                  <a:pt x="2152931" y="98068"/>
                  <a:pt x="3885480" y="124873"/>
                  <a:pt x="5704114" y="124873"/>
                </a:cubicBezTo>
                <a:cubicBezTo>
                  <a:pt x="7977407" y="124873"/>
                  <a:pt x="10116192" y="82990"/>
                  <a:pt x="11982536" y="9255"/>
                </a:cubicBezTo>
                <a:close/>
              </a:path>
            </a:pathLst>
          </a:custGeom>
          <a:solidFill>
            <a:schemeClr val="accent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zh-CN" altLang="en-US"/>
          </a:p>
        </p:txBody>
      </p:sp>
      <p:sp>
        <p:nvSpPr>
          <p:cNvPr id="10" name="文本框 9">
            <a:extLst>
              <a:ext uri="{FF2B5EF4-FFF2-40B4-BE49-F238E27FC236}">
                <a16:creationId xmlns:a16="http://schemas.microsoft.com/office/drawing/2014/main" id="{A771ED46-CF2D-497D-AED2-92EB3807D5B9}"/>
              </a:ext>
            </a:extLst>
          </p:cNvPr>
          <p:cNvSpPr txBox="1"/>
          <p:nvPr/>
        </p:nvSpPr>
        <p:spPr>
          <a:xfrm>
            <a:off x="918736" y="2261784"/>
            <a:ext cx="1795363" cy="430887"/>
          </a:xfrm>
          <a:prstGeom prst="rect">
            <a:avLst/>
          </a:prstGeom>
          <a:noFill/>
        </p:spPr>
        <p:txBody>
          <a:bodyPr wrap="none" lIns="0" tIns="0" rIns="0" bIns="0" rtlCol="0" anchor="t">
            <a:spAutoFit/>
          </a:bodyPr>
          <a:lstStyle/>
          <a:p>
            <a:pPr algn="dist"/>
            <a:r>
              <a:rPr lang="zh-CN" altLang="en-US" sz="2800" dirty="0">
                <a:solidFill>
                  <a:schemeClr val="accent1"/>
                </a:solidFill>
                <a:latin typeface="+mj-ea"/>
                <a:ea typeface="+mj-ea"/>
              </a:rPr>
              <a:t>关键词标题</a:t>
            </a:r>
          </a:p>
        </p:txBody>
      </p:sp>
      <p:sp>
        <p:nvSpPr>
          <p:cNvPr id="11" name="文本框 10">
            <a:extLst>
              <a:ext uri="{FF2B5EF4-FFF2-40B4-BE49-F238E27FC236}">
                <a16:creationId xmlns:a16="http://schemas.microsoft.com/office/drawing/2014/main" id="{E9529F98-A975-4553-8FF6-DCB0233D4C1F}"/>
              </a:ext>
            </a:extLst>
          </p:cNvPr>
          <p:cNvSpPr txBox="1"/>
          <p:nvPr/>
        </p:nvSpPr>
        <p:spPr>
          <a:xfrm>
            <a:off x="812196" y="2872951"/>
            <a:ext cx="2008442" cy="1102353"/>
          </a:xfrm>
          <a:prstGeom prst="rect">
            <a:avLst/>
          </a:prstGeom>
          <a:noFill/>
        </p:spPr>
        <p:txBody>
          <a:bodyPr wrap="square" lIns="0" tIns="0" rIns="0" bIns="0" rtlCol="0" anchor="t">
            <a:spAutoFit/>
          </a:bodyPr>
          <a:lstStyle/>
          <a:p>
            <a:pPr algn="ctr">
              <a:lnSpc>
                <a:spcPct val="130000"/>
              </a:lnSpc>
            </a:pPr>
            <a:r>
              <a:rPr lang="en-US" altLang="zh-CN" sz="1400" b="0" dirty="0">
                <a:solidFill>
                  <a:schemeClr val="accent1"/>
                </a:solidFill>
                <a:effectLst/>
                <a:latin typeface="+mn-ea"/>
              </a:rPr>
              <a:t>Lorem ipsum dolor sit amet, consectetur adipisicing elit, sed do eiusmod tempor</a:t>
            </a:r>
            <a:endParaRPr lang="zh-CN" altLang="en-US" sz="1400" b="0" dirty="0">
              <a:solidFill>
                <a:schemeClr val="accent1"/>
              </a:solidFill>
              <a:effectLst/>
              <a:latin typeface="+mn-ea"/>
            </a:endParaRPr>
          </a:p>
        </p:txBody>
      </p:sp>
      <p:sp>
        <p:nvSpPr>
          <p:cNvPr id="24" name="文本框 23">
            <a:extLst>
              <a:ext uri="{FF2B5EF4-FFF2-40B4-BE49-F238E27FC236}">
                <a16:creationId xmlns:a16="http://schemas.microsoft.com/office/drawing/2014/main" id="{98E17469-DCE1-4C79-A7C0-C1C8861C0EB2}"/>
              </a:ext>
            </a:extLst>
          </p:cNvPr>
          <p:cNvSpPr txBox="1"/>
          <p:nvPr/>
        </p:nvSpPr>
        <p:spPr>
          <a:xfrm>
            <a:off x="3785761" y="2261784"/>
            <a:ext cx="1795363" cy="430887"/>
          </a:xfrm>
          <a:prstGeom prst="rect">
            <a:avLst/>
          </a:prstGeom>
          <a:noFill/>
        </p:spPr>
        <p:txBody>
          <a:bodyPr wrap="none" lIns="0" tIns="0" rIns="0" bIns="0" rtlCol="0" anchor="t">
            <a:spAutoFit/>
          </a:bodyPr>
          <a:lstStyle/>
          <a:p>
            <a:pPr algn="dist"/>
            <a:r>
              <a:rPr lang="zh-CN" altLang="en-US" sz="2800" dirty="0">
                <a:solidFill>
                  <a:schemeClr val="accent1"/>
                </a:solidFill>
                <a:latin typeface="+mj-ea"/>
                <a:ea typeface="+mj-ea"/>
              </a:rPr>
              <a:t>关键词标题</a:t>
            </a:r>
          </a:p>
        </p:txBody>
      </p:sp>
      <p:sp>
        <p:nvSpPr>
          <p:cNvPr id="25" name="文本框 24">
            <a:extLst>
              <a:ext uri="{FF2B5EF4-FFF2-40B4-BE49-F238E27FC236}">
                <a16:creationId xmlns:a16="http://schemas.microsoft.com/office/drawing/2014/main" id="{3738B47C-4564-4005-AAC4-28AE5D1CC13C}"/>
              </a:ext>
            </a:extLst>
          </p:cNvPr>
          <p:cNvSpPr txBox="1"/>
          <p:nvPr/>
        </p:nvSpPr>
        <p:spPr>
          <a:xfrm>
            <a:off x="3679221" y="2872951"/>
            <a:ext cx="2008442" cy="1102353"/>
          </a:xfrm>
          <a:prstGeom prst="rect">
            <a:avLst/>
          </a:prstGeom>
          <a:noFill/>
        </p:spPr>
        <p:txBody>
          <a:bodyPr wrap="square" lIns="0" tIns="0" rIns="0" bIns="0" rtlCol="0" anchor="t">
            <a:spAutoFit/>
          </a:bodyPr>
          <a:lstStyle/>
          <a:p>
            <a:pPr algn="ctr">
              <a:lnSpc>
                <a:spcPct val="130000"/>
              </a:lnSpc>
            </a:pPr>
            <a:r>
              <a:rPr lang="en-US" altLang="zh-CN" sz="1400" b="0" dirty="0">
                <a:solidFill>
                  <a:schemeClr val="accent1"/>
                </a:solidFill>
                <a:effectLst/>
                <a:latin typeface="+mn-ea"/>
              </a:rPr>
              <a:t>Lorem ipsum dolor sit amet, consectetur adipisicing elit, sed do eiusmod tempor</a:t>
            </a:r>
            <a:endParaRPr lang="zh-CN" altLang="en-US" sz="1400" b="0" dirty="0">
              <a:solidFill>
                <a:schemeClr val="accent1"/>
              </a:solidFill>
              <a:effectLst/>
              <a:latin typeface="+mn-ea"/>
            </a:endParaRPr>
          </a:p>
        </p:txBody>
      </p:sp>
      <p:sp>
        <p:nvSpPr>
          <p:cNvPr id="28" name="文本框 27">
            <a:extLst>
              <a:ext uri="{FF2B5EF4-FFF2-40B4-BE49-F238E27FC236}">
                <a16:creationId xmlns:a16="http://schemas.microsoft.com/office/drawing/2014/main" id="{9170219B-09AA-4F62-964F-240B9CDD48F0}"/>
              </a:ext>
            </a:extLst>
          </p:cNvPr>
          <p:cNvSpPr txBox="1"/>
          <p:nvPr/>
        </p:nvSpPr>
        <p:spPr>
          <a:xfrm>
            <a:off x="6652786" y="2261784"/>
            <a:ext cx="1795363" cy="430887"/>
          </a:xfrm>
          <a:prstGeom prst="rect">
            <a:avLst/>
          </a:prstGeom>
          <a:noFill/>
        </p:spPr>
        <p:txBody>
          <a:bodyPr wrap="none" lIns="0" tIns="0" rIns="0" bIns="0" rtlCol="0" anchor="t">
            <a:spAutoFit/>
          </a:bodyPr>
          <a:lstStyle/>
          <a:p>
            <a:pPr algn="dist"/>
            <a:r>
              <a:rPr lang="zh-CN" altLang="en-US" sz="2800" dirty="0">
                <a:solidFill>
                  <a:schemeClr val="accent1"/>
                </a:solidFill>
                <a:latin typeface="+mj-ea"/>
                <a:ea typeface="+mj-ea"/>
              </a:rPr>
              <a:t>关键词标题</a:t>
            </a:r>
          </a:p>
        </p:txBody>
      </p:sp>
      <p:sp>
        <p:nvSpPr>
          <p:cNvPr id="29" name="文本框 28">
            <a:extLst>
              <a:ext uri="{FF2B5EF4-FFF2-40B4-BE49-F238E27FC236}">
                <a16:creationId xmlns:a16="http://schemas.microsoft.com/office/drawing/2014/main" id="{58180A2F-8F29-47EC-AAB7-59ADF80421EB}"/>
              </a:ext>
            </a:extLst>
          </p:cNvPr>
          <p:cNvSpPr txBox="1"/>
          <p:nvPr/>
        </p:nvSpPr>
        <p:spPr>
          <a:xfrm>
            <a:off x="6546246" y="2872951"/>
            <a:ext cx="2008442" cy="1102353"/>
          </a:xfrm>
          <a:prstGeom prst="rect">
            <a:avLst/>
          </a:prstGeom>
          <a:noFill/>
        </p:spPr>
        <p:txBody>
          <a:bodyPr wrap="square" lIns="0" tIns="0" rIns="0" bIns="0" rtlCol="0" anchor="t">
            <a:spAutoFit/>
          </a:bodyPr>
          <a:lstStyle/>
          <a:p>
            <a:pPr algn="ctr">
              <a:lnSpc>
                <a:spcPct val="130000"/>
              </a:lnSpc>
            </a:pPr>
            <a:r>
              <a:rPr lang="en-US" altLang="zh-CN" sz="1400" b="0" dirty="0">
                <a:solidFill>
                  <a:schemeClr val="accent1"/>
                </a:solidFill>
                <a:effectLst/>
                <a:latin typeface="+mn-ea"/>
              </a:rPr>
              <a:t>Lorem ipsum dolor sit amet, consectetur adipisicing elit, sed do eiusmod tempor</a:t>
            </a:r>
            <a:endParaRPr lang="zh-CN" altLang="en-US" sz="1400" b="0" dirty="0">
              <a:solidFill>
                <a:schemeClr val="accent1"/>
              </a:solidFill>
              <a:effectLst/>
              <a:latin typeface="+mn-ea"/>
            </a:endParaRPr>
          </a:p>
        </p:txBody>
      </p:sp>
      <p:sp>
        <p:nvSpPr>
          <p:cNvPr id="32" name="文本框 31">
            <a:extLst>
              <a:ext uri="{FF2B5EF4-FFF2-40B4-BE49-F238E27FC236}">
                <a16:creationId xmlns:a16="http://schemas.microsoft.com/office/drawing/2014/main" id="{F6F2520A-5C20-4FCB-AE5C-1DFE09339614}"/>
              </a:ext>
            </a:extLst>
          </p:cNvPr>
          <p:cNvSpPr txBox="1"/>
          <p:nvPr/>
        </p:nvSpPr>
        <p:spPr>
          <a:xfrm>
            <a:off x="9519811" y="2261784"/>
            <a:ext cx="1795363" cy="430887"/>
          </a:xfrm>
          <a:prstGeom prst="rect">
            <a:avLst/>
          </a:prstGeom>
          <a:noFill/>
        </p:spPr>
        <p:txBody>
          <a:bodyPr wrap="none" lIns="0" tIns="0" rIns="0" bIns="0" rtlCol="0" anchor="t">
            <a:spAutoFit/>
          </a:bodyPr>
          <a:lstStyle/>
          <a:p>
            <a:pPr algn="dist"/>
            <a:r>
              <a:rPr lang="zh-CN" altLang="en-US" sz="2800" dirty="0">
                <a:solidFill>
                  <a:schemeClr val="accent1"/>
                </a:solidFill>
                <a:latin typeface="+mj-ea"/>
                <a:ea typeface="+mj-ea"/>
              </a:rPr>
              <a:t>关键词标题</a:t>
            </a:r>
          </a:p>
        </p:txBody>
      </p:sp>
      <p:sp>
        <p:nvSpPr>
          <p:cNvPr id="33" name="文本框 32">
            <a:extLst>
              <a:ext uri="{FF2B5EF4-FFF2-40B4-BE49-F238E27FC236}">
                <a16:creationId xmlns:a16="http://schemas.microsoft.com/office/drawing/2014/main" id="{63848042-998B-415F-B7D6-A767FBB9DF09}"/>
              </a:ext>
            </a:extLst>
          </p:cNvPr>
          <p:cNvSpPr txBox="1"/>
          <p:nvPr/>
        </p:nvSpPr>
        <p:spPr>
          <a:xfrm>
            <a:off x="9413271" y="2872951"/>
            <a:ext cx="2008442" cy="1102353"/>
          </a:xfrm>
          <a:prstGeom prst="rect">
            <a:avLst/>
          </a:prstGeom>
          <a:noFill/>
        </p:spPr>
        <p:txBody>
          <a:bodyPr wrap="square" lIns="0" tIns="0" rIns="0" bIns="0" rtlCol="0" anchor="t">
            <a:spAutoFit/>
          </a:bodyPr>
          <a:lstStyle/>
          <a:p>
            <a:pPr algn="ctr">
              <a:lnSpc>
                <a:spcPct val="130000"/>
              </a:lnSpc>
            </a:pPr>
            <a:r>
              <a:rPr lang="en-US" altLang="zh-CN" sz="1400" b="0" dirty="0">
                <a:solidFill>
                  <a:schemeClr val="accent1"/>
                </a:solidFill>
                <a:effectLst/>
                <a:latin typeface="+mn-ea"/>
              </a:rPr>
              <a:t>Lorem ipsum dolor sit amet, consectetur adipisicing elit, sed do eiusmod tempor</a:t>
            </a:r>
            <a:endParaRPr lang="zh-CN" altLang="en-US" sz="1400" b="0" dirty="0">
              <a:solidFill>
                <a:schemeClr val="accent1"/>
              </a:solidFill>
              <a:effectLst/>
              <a:latin typeface="+mn-ea"/>
            </a:endParaRPr>
          </a:p>
        </p:txBody>
      </p:sp>
      <p:cxnSp>
        <p:nvCxnSpPr>
          <p:cNvPr id="36" name="直接连接符 35">
            <a:extLst>
              <a:ext uri="{FF2B5EF4-FFF2-40B4-BE49-F238E27FC236}">
                <a16:creationId xmlns:a16="http://schemas.microsoft.com/office/drawing/2014/main" id="{15EB47E3-0288-4862-A308-21916A1A7D7B}"/>
              </a:ext>
            </a:extLst>
          </p:cNvPr>
          <p:cNvCxnSpPr/>
          <p:nvPr/>
        </p:nvCxnSpPr>
        <p:spPr>
          <a:xfrm>
            <a:off x="1569720" y="2796540"/>
            <a:ext cx="419100" cy="0"/>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37" name="直接连接符 36">
            <a:extLst>
              <a:ext uri="{FF2B5EF4-FFF2-40B4-BE49-F238E27FC236}">
                <a16:creationId xmlns:a16="http://schemas.microsoft.com/office/drawing/2014/main" id="{89B7B76E-442A-4677-B232-EF0123BEBD5B}"/>
              </a:ext>
            </a:extLst>
          </p:cNvPr>
          <p:cNvCxnSpPr/>
          <p:nvPr/>
        </p:nvCxnSpPr>
        <p:spPr>
          <a:xfrm>
            <a:off x="4442460" y="2796540"/>
            <a:ext cx="419100" cy="0"/>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38" name="直接连接符 37">
            <a:extLst>
              <a:ext uri="{FF2B5EF4-FFF2-40B4-BE49-F238E27FC236}">
                <a16:creationId xmlns:a16="http://schemas.microsoft.com/office/drawing/2014/main" id="{9B3A5BA9-F77F-4584-A24F-5D1DB7970E83}"/>
              </a:ext>
            </a:extLst>
          </p:cNvPr>
          <p:cNvCxnSpPr/>
          <p:nvPr/>
        </p:nvCxnSpPr>
        <p:spPr>
          <a:xfrm>
            <a:off x="7315200" y="2796540"/>
            <a:ext cx="419100" cy="0"/>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39" name="直接连接符 38">
            <a:extLst>
              <a:ext uri="{FF2B5EF4-FFF2-40B4-BE49-F238E27FC236}">
                <a16:creationId xmlns:a16="http://schemas.microsoft.com/office/drawing/2014/main" id="{9512BDB5-E35D-4A10-B547-E747828FE7C0}"/>
              </a:ext>
            </a:extLst>
          </p:cNvPr>
          <p:cNvCxnSpPr/>
          <p:nvPr/>
        </p:nvCxnSpPr>
        <p:spPr>
          <a:xfrm>
            <a:off x="10180320" y="2796540"/>
            <a:ext cx="419100" cy="0"/>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41" name="直接连接符 40">
            <a:extLst>
              <a:ext uri="{FF2B5EF4-FFF2-40B4-BE49-F238E27FC236}">
                <a16:creationId xmlns:a16="http://schemas.microsoft.com/office/drawing/2014/main" id="{D4590C12-0AB2-4795-9D79-4861905A7F2B}"/>
              </a:ext>
            </a:extLst>
          </p:cNvPr>
          <p:cNvCxnSpPr/>
          <p:nvPr/>
        </p:nvCxnSpPr>
        <p:spPr>
          <a:xfrm>
            <a:off x="3228975" y="2290360"/>
            <a:ext cx="0" cy="1965022"/>
          </a:xfrm>
          <a:prstGeom prst="line">
            <a:avLst/>
          </a:prstGeom>
        </p:spPr>
        <p:style>
          <a:lnRef idx="1">
            <a:schemeClr val="accent1"/>
          </a:lnRef>
          <a:fillRef idx="0">
            <a:schemeClr val="accent1"/>
          </a:fillRef>
          <a:effectRef idx="0">
            <a:schemeClr val="accent1"/>
          </a:effectRef>
          <a:fontRef idx="minor">
            <a:schemeClr val="tx1"/>
          </a:fontRef>
        </p:style>
      </p:cxnSp>
      <p:cxnSp>
        <p:nvCxnSpPr>
          <p:cNvPr id="42" name="直接连接符 41">
            <a:extLst>
              <a:ext uri="{FF2B5EF4-FFF2-40B4-BE49-F238E27FC236}">
                <a16:creationId xmlns:a16="http://schemas.microsoft.com/office/drawing/2014/main" id="{1A2D4CE0-3709-49B4-BFBF-32BCBA8B960C}"/>
              </a:ext>
            </a:extLst>
          </p:cNvPr>
          <p:cNvCxnSpPr/>
          <p:nvPr/>
        </p:nvCxnSpPr>
        <p:spPr>
          <a:xfrm>
            <a:off x="6134100" y="2290360"/>
            <a:ext cx="0" cy="1965022"/>
          </a:xfrm>
          <a:prstGeom prst="line">
            <a:avLst/>
          </a:prstGeom>
        </p:spPr>
        <p:style>
          <a:lnRef idx="1">
            <a:schemeClr val="accent1"/>
          </a:lnRef>
          <a:fillRef idx="0">
            <a:schemeClr val="accent1"/>
          </a:fillRef>
          <a:effectRef idx="0">
            <a:schemeClr val="accent1"/>
          </a:effectRef>
          <a:fontRef idx="minor">
            <a:schemeClr val="tx1"/>
          </a:fontRef>
        </p:style>
      </p:cxnSp>
      <p:cxnSp>
        <p:nvCxnSpPr>
          <p:cNvPr id="43" name="直接连接符 42">
            <a:extLst>
              <a:ext uri="{FF2B5EF4-FFF2-40B4-BE49-F238E27FC236}">
                <a16:creationId xmlns:a16="http://schemas.microsoft.com/office/drawing/2014/main" id="{97548C78-AAB3-4A8B-A02B-62E5A0A1C8E2}"/>
              </a:ext>
            </a:extLst>
          </p:cNvPr>
          <p:cNvCxnSpPr/>
          <p:nvPr/>
        </p:nvCxnSpPr>
        <p:spPr>
          <a:xfrm>
            <a:off x="9020175" y="2290360"/>
            <a:ext cx="0" cy="1965022"/>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78898590"/>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2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任意形状 9">
            <a:extLst>
              <a:ext uri="{FF2B5EF4-FFF2-40B4-BE49-F238E27FC236}">
                <a16:creationId xmlns:a16="http://schemas.microsoft.com/office/drawing/2014/main" id="{79C0392D-8AB4-4C9C-BB47-E593C645F444}"/>
              </a:ext>
            </a:extLst>
          </p:cNvPr>
          <p:cNvSpPr/>
          <p:nvPr/>
        </p:nvSpPr>
        <p:spPr>
          <a:xfrm>
            <a:off x="0" y="6457950"/>
            <a:ext cx="12192000" cy="400050"/>
          </a:xfrm>
          <a:custGeom>
            <a:avLst/>
            <a:gdLst>
              <a:gd name="connsiteX0" fmla="*/ 12192000 w 12192000"/>
              <a:gd name="connsiteY0" fmla="*/ 0 h 329410"/>
              <a:gd name="connsiteX1" fmla="*/ 12192000 w 12192000"/>
              <a:gd name="connsiteY1" fmla="*/ 329410 h 329410"/>
              <a:gd name="connsiteX2" fmla="*/ 0 w 12192000"/>
              <a:gd name="connsiteY2" fmla="*/ 329410 h 329410"/>
              <a:gd name="connsiteX3" fmla="*/ 0 w 12192000"/>
              <a:gd name="connsiteY3" fmla="*/ 29375 h 329410"/>
              <a:gd name="connsiteX4" fmla="*/ 577089 w 12192000"/>
              <a:gd name="connsiteY4" fmla="*/ 49593 h 329410"/>
              <a:gd name="connsiteX5" fmla="*/ 5704114 w 12192000"/>
              <a:gd name="connsiteY5" fmla="*/ 124873 h 329410"/>
              <a:gd name="connsiteX6" fmla="*/ 11982536 w 12192000"/>
              <a:gd name="connsiteY6" fmla="*/ 9255 h 329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329410">
                <a:moveTo>
                  <a:pt x="12192000" y="0"/>
                </a:moveTo>
                <a:lnTo>
                  <a:pt x="12192000" y="329410"/>
                </a:lnTo>
                <a:lnTo>
                  <a:pt x="0" y="329410"/>
                </a:lnTo>
                <a:lnTo>
                  <a:pt x="0" y="29375"/>
                </a:lnTo>
                <a:lnTo>
                  <a:pt x="577089" y="49593"/>
                </a:lnTo>
                <a:cubicBezTo>
                  <a:pt x="2152931" y="98068"/>
                  <a:pt x="3885480" y="124873"/>
                  <a:pt x="5704114" y="124873"/>
                </a:cubicBezTo>
                <a:cubicBezTo>
                  <a:pt x="7977407" y="124873"/>
                  <a:pt x="10116192" y="82990"/>
                  <a:pt x="11982536" y="9255"/>
                </a:cubicBezTo>
                <a:close/>
              </a:path>
            </a:pathLst>
          </a:custGeom>
          <a:solidFill>
            <a:schemeClr val="accent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zh-CN" altLang="en-US"/>
          </a:p>
        </p:txBody>
      </p:sp>
      <p:sp>
        <p:nvSpPr>
          <p:cNvPr id="7" name="矩形: 圆角 6">
            <a:extLst>
              <a:ext uri="{FF2B5EF4-FFF2-40B4-BE49-F238E27FC236}">
                <a16:creationId xmlns:a16="http://schemas.microsoft.com/office/drawing/2014/main" id="{7BEAE8DC-9230-44AB-B70F-407BAFB7694E}"/>
              </a:ext>
            </a:extLst>
          </p:cNvPr>
          <p:cNvSpPr/>
          <p:nvPr/>
        </p:nvSpPr>
        <p:spPr>
          <a:xfrm>
            <a:off x="492443" y="1929384"/>
            <a:ext cx="2606040" cy="2999232"/>
          </a:xfrm>
          <a:prstGeom prst="roundRect">
            <a:avLst>
              <a:gd name="adj" fmla="val 8246"/>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accent1"/>
              </a:solidFill>
              <a:latin typeface="+mj-ea"/>
              <a:ea typeface="+mj-ea"/>
            </a:endParaRPr>
          </a:p>
        </p:txBody>
      </p:sp>
      <p:sp>
        <p:nvSpPr>
          <p:cNvPr id="10" name="文本框 9">
            <a:extLst>
              <a:ext uri="{FF2B5EF4-FFF2-40B4-BE49-F238E27FC236}">
                <a16:creationId xmlns:a16="http://schemas.microsoft.com/office/drawing/2014/main" id="{A771ED46-CF2D-497D-AED2-92EB3807D5B9}"/>
              </a:ext>
            </a:extLst>
          </p:cNvPr>
          <p:cNvSpPr txBox="1"/>
          <p:nvPr/>
        </p:nvSpPr>
        <p:spPr>
          <a:xfrm>
            <a:off x="918736" y="2461303"/>
            <a:ext cx="1795363" cy="430887"/>
          </a:xfrm>
          <a:prstGeom prst="rect">
            <a:avLst/>
          </a:prstGeom>
          <a:noFill/>
        </p:spPr>
        <p:txBody>
          <a:bodyPr wrap="none" lIns="0" tIns="0" rIns="0" bIns="0" rtlCol="0" anchor="t">
            <a:spAutoFit/>
          </a:bodyPr>
          <a:lstStyle/>
          <a:p>
            <a:pPr algn="dist"/>
            <a:r>
              <a:rPr lang="zh-CN" altLang="en-US" sz="2800" dirty="0">
                <a:solidFill>
                  <a:schemeClr val="accent1"/>
                </a:solidFill>
                <a:latin typeface="+mj-ea"/>
                <a:ea typeface="+mj-ea"/>
              </a:rPr>
              <a:t>关键词标题</a:t>
            </a:r>
          </a:p>
        </p:txBody>
      </p:sp>
      <p:sp>
        <p:nvSpPr>
          <p:cNvPr id="11" name="文本框 10">
            <a:extLst>
              <a:ext uri="{FF2B5EF4-FFF2-40B4-BE49-F238E27FC236}">
                <a16:creationId xmlns:a16="http://schemas.microsoft.com/office/drawing/2014/main" id="{E9529F98-A975-4553-8FF6-DCB0233D4C1F}"/>
              </a:ext>
            </a:extLst>
          </p:cNvPr>
          <p:cNvSpPr txBox="1"/>
          <p:nvPr/>
        </p:nvSpPr>
        <p:spPr>
          <a:xfrm>
            <a:off x="812196" y="3072470"/>
            <a:ext cx="2008442" cy="1102353"/>
          </a:xfrm>
          <a:prstGeom prst="rect">
            <a:avLst/>
          </a:prstGeom>
          <a:noFill/>
        </p:spPr>
        <p:txBody>
          <a:bodyPr wrap="square" lIns="0" tIns="0" rIns="0" bIns="0" rtlCol="0" anchor="t">
            <a:spAutoFit/>
          </a:bodyPr>
          <a:lstStyle/>
          <a:p>
            <a:pPr algn="ctr">
              <a:lnSpc>
                <a:spcPct val="130000"/>
              </a:lnSpc>
            </a:pPr>
            <a:r>
              <a:rPr lang="en-US" altLang="zh-CN" sz="1400" b="0" dirty="0">
                <a:solidFill>
                  <a:schemeClr val="accent1"/>
                </a:solidFill>
                <a:effectLst/>
                <a:latin typeface="+mn-ea"/>
              </a:rPr>
              <a:t>Lorem ipsum dolor sit amet, consectetur adipisicing elit, sed do eiusmod tempor</a:t>
            </a:r>
            <a:endParaRPr lang="zh-CN" altLang="en-US" sz="1400" b="0" dirty="0">
              <a:solidFill>
                <a:schemeClr val="accent1"/>
              </a:solidFill>
              <a:effectLst/>
              <a:latin typeface="+mn-ea"/>
            </a:endParaRPr>
          </a:p>
        </p:txBody>
      </p:sp>
      <p:sp>
        <p:nvSpPr>
          <p:cNvPr id="23" name="矩形: 圆角 22">
            <a:extLst>
              <a:ext uri="{FF2B5EF4-FFF2-40B4-BE49-F238E27FC236}">
                <a16:creationId xmlns:a16="http://schemas.microsoft.com/office/drawing/2014/main" id="{7A0A591C-9319-485B-898B-18C6B5FF7869}"/>
              </a:ext>
            </a:extLst>
          </p:cNvPr>
          <p:cNvSpPr/>
          <p:nvPr/>
        </p:nvSpPr>
        <p:spPr>
          <a:xfrm>
            <a:off x="3359468" y="1929384"/>
            <a:ext cx="2606040" cy="2999232"/>
          </a:xfrm>
          <a:prstGeom prst="roundRect">
            <a:avLst>
              <a:gd name="adj" fmla="val 8246"/>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accent1"/>
              </a:solidFill>
              <a:latin typeface="+mj-ea"/>
              <a:ea typeface="+mj-ea"/>
            </a:endParaRPr>
          </a:p>
        </p:txBody>
      </p:sp>
      <p:sp>
        <p:nvSpPr>
          <p:cNvPr id="24" name="文本框 23">
            <a:extLst>
              <a:ext uri="{FF2B5EF4-FFF2-40B4-BE49-F238E27FC236}">
                <a16:creationId xmlns:a16="http://schemas.microsoft.com/office/drawing/2014/main" id="{98E17469-DCE1-4C79-A7C0-C1C8861C0EB2}"/>
              </a:ext>
            </a:extLst>
          </p:cNvPr>
          <p:cNvSpPr txBox="1"/>
          <p:nvPr/>
        </p:nvSpPr>
        <p:spPr>
          <a:xfrm>
            <a:off x="3785761" y="2461303"/>
            <a:ext cx="1795363" cy="430887"/>
          </a:xfrm>
          <a:prstGeom prst="rect">
            <a:avLst/>
          </a:prstGeom>
          <a:noFill/>
        </p:spPr>
        <p:txBody>
          <a:bodyPr wrap="none" lIns="0" tIns="0" rIns="0" bIns="0" rtlCol="0" anchor="t">
            <a:spAutoFit/>
          </a:bodyPr>
          <a:lstStyle/>
          <a:p>
            <a:pPr algn="dist"/>
            <a:r>
              <a:rPr lang="zh-CN" altLang="en-US" sz="2800" dirty="0">
                <a:solidFill>
                  <a:schemeClr val="accent1"/>
                </a:solidFill>
                <a:latin typeface="+mj-ea"/>
                <a:ea typeface="+mj-ea"/>
              </a:rPr>
              <a:t>关键词标题</a:t>
            </a:r>
          </a:p>
        </p:txBody>
      </p:sp>
      <p:sp>
        <p:nvSpPr>
          <p:cNvPr id="25" name="文本框 24">
            <a:extLst>
              <a:ext uri="{FF2B5EF4-FFF2-40B4-BE49-F238E27FC236}">
                <a16:creationId xmlns:a16="http://schemas.microsoft.com/office/drawing/2014/main" id="{3738B47C-4564-4005-AAC4-28AE5D1CC13C}"/>
              </a:ext>
            </a:extLst>
          </p:cNvPr>
          <p:cNvSpPr txBox="1"/>
          <p:nvPr/>
        </p:nvSpPr>
        <p:spPr>
          <a:xfrm>
            <a:off x="3679221" y="3072470"/>
            <a:ext cx="2008442" cy="1102353"/>
          </a:xfrm>
          <a:prstGeom prst="rect">
            <a:avLst/>
          </a:prstGeom>
          <a:noFill/>
        </p:spPr>
        <p:txBody>
          <a:bodyPr wrap="square" lIns="0" tIns="0" rIns="0" bIns="0" rtlCol="0" anchor="t">
            <a:spAutoFit/>
          </a:bodyPr>
          <a:lstStyle/>
          <a:p>
            <a:pPr algn="ctr">
              <a:lnSpc>
                <a:spcPct val="130000"/>
              </a:lnSpc>
            </a:pPr>
            <a:r>
              <a:rPr lang="en-US" altLang="zh-CN" sz="1400" b="0" dirty="0">
                <a:solidFill>
                  <a:schemeClr val="accent1"/>
                </a:solidFill>
                <a:effectLst/>
                <a:latin typeface="+mn-ea"/>
              </a:rPr>
              <a:t>Lorem ipsum dolor sit amet, consectetur adipisicing elit, sed do eiusmod tempor</a:t>
            </a:r>
            <a:endParaRPr lang="zh-CN" altLang="en-US" sz="1400" b="0" dirty="0">
              <a:solidFill>
                <a:schemeClr val="accent1"/>
              </a:solidFill>
              <a:effectLst/>
              <a:latin typeface="+mn-ea"/>
            </a:endParaRPr>
          </a:p>
        </p:txBody>
      </p:sp>
      <p:sp>
        <p:nvSpPr>
          <p:cNvPr id="27" name="矩形: 圆角 26">
            <a:extLst>
              <a:ext uri="{FF2B5EF4-FFF2-40B4-BE49-F238E27FC236}">
                <a16:creationId xmlns:a16="http://schemas.microsoft.com/office/drawing/2014/main" id="{4C176105-FAB2-45E1-91DB-A67283555471}"/>
              </a:ext>
            </a:extLst>
          </p:cNvPr>
          <p:cNvSpPr/>
          <p:nvPr/>
        </p:nvSpPr>
        <p:spPr>
          <a:xfrm>
            <a:off x="6226493" y="1929384"/>
            <a:ext cx="2606040" cy="2999232"/>
          </a:xfrm>
          <a:prstGeom prst="roundRect">
            <a:avLst>
              <a:gd name="adj" fmla="val 8246"/>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accent1"/>
              </a:solidFill>
              <a:latin typeface="+mj-ea"/>
              <a:ea typeface="+mj-ea"/>
            </a:endParaRPr>
          </a:p>
        </p:txBody>
      </p:sp>
      <p:sp>
        <p:nvSpPr>
          <p:cNvPr id="28" name="文本框 27">
            <a:extLst>
              <a:ext uri="{FF2B5EF4-FFF2-40B4-BE49-F238E27FC236}">
                <a16:creationId xmlns:a16="http://schemas.microsoft.com/office/drawing/2014/main" id="{9170219B-09AA-4F62-964F-240B9CDD48F0}"/>
              </a:ext>
            </a:extLst>
          </p:cNvPr>
          <p:cNvSpPr txBox="1"/>
          <p:nvPr/>
        </p:nvSpPr>
        <p:spPr>
          <a:xfrm>
            <a:off x="6652786" y="2461303"/>
            <a:ext cx="1795363" cy="430887"/>
          </a:xfrm>
          <a:prstGeom prst="rect">
            <a:avLst/>
          </a:prstGeom>
          <a:noFill/>
        </p:spPr>
        <p:txBody>
          <a:bodyPr wrap="none" lIns="0" tIns="0" rIns="0" bIns="0" rtlCol="0" anchor="t">
            <a:spAutoFit/>
          </a:bodyPr>
          <a:lstStyle/>
          <a:p>
            <a:pPr algn="dist"/>
            <a:r>
              <a:rPr lang="zh-CN" altLang="en-US" sz="2800" dirty="0">
                <a:solidFill>
                  <a:schemeClr val="accent1"/>
                </a:solidFill>
                <a:latin typeface="+mj-ea"/>
                <a:ea typeface="+mj-ea"/>
              </a:rPr>
              <a:t>关键词标题</a:t>
            </a:r>
          </a:p>
        </p:txBody>
      </p:sp>
      <p:sp>
        <p:nvSpPr>
          <p:cNvPr id="29" name="文本框 28">
            <a:extLst>
              <a:ext uri="{FF2B5EF4-FFF2-40B4-BE49-F238E27FC236}">
                <a16:creationId xmlns:a16="http://schemas.microsoft.com/office/drawing/2014/main" id="{58180A2F-8F29-47EC-AAB7-59ADF80421EB}"/>
              </a:ext>
            </a:extLst>
          </p:cNvPr>
          <p:cNvSpPr txBox="1"/>
          <p:nvPr/>
        </p:nvSpPr>
        <p:spPr>
          <a:xfrm>
            <a:off x="6546246" y="3072470"/>
            <a:ext cx="2008442" cy="1102353"/>
          </a:xfrm>
          <a:prstGeom prst="rect">
            <a:avLst/>
          </a:prstGeom>
          <a:noFill/>
        </p:spPr>
        <p:txBody>
          <a:bodyPr wrap="square" lIns="0" tIns="0" rIns="0" bIns="0" rtlCol="0" anchor="t">
            <a:spAutoFit/>
          </a:bodyPr>
          <a:lstStyle/>
          <a:p>
            <a:pPr algn="ctr">
              <a:lnSpc>
                <a:spcPct val="130000"/>
              </a:lnSpc>
            </a:pPr>
            <a:r>
              <a:rPr lang="en-US" altLang="zh-CN" sz="1400" b="0" dirty="0">
                <a:solidFill>
                  <a:schemeClr val="accent1"/>
                </a:solidFill>
                <a:effectLst/>
                <a:latin typeface="+mn-ea"/>
              </a:rPr>
              <a:t>Lorem ipsum dolor sit amet, consectetur adipisicing elit, sed do eiusmod tempor</a:t>
            </a:r>
            <a:endParaRPr lang="zh-CN" altLang="en-US" sz="1400" b="0" dirty="0">
              <a:solidFill>
                <a:schemeClr val="accent1"/>
              </a:solidFill>
              <a:effectLst/>
              <a:latin typeface="+mn-ea"/>
            </a:endParaRPr>
          </a:p>
        </p:txBody>
      </p:sp>
      <p:sp>
        <p:nvSpPr>
          <p:cNvPr id="31" name="矩形: 圆角 30">
            <a:extLst>
              <a:ext uri="{FF2B5EF4-FFF2-40B4-BE49-F238E27FC236}">
                <a16:creationId xmlns:a16="http://schemas.microsoft.com/office/drawing/2014/main" id="{9A516C9D-E83F-44FC-B776-028D0C694904}"/>
              </a:ext>
            </a:extLst>
          </p:cNvPr>
          <p:cNvSpPr/>
          <p:nvPr/>
        </p:nvSpPr>
        <p:spPr>
          <a:xfrm>
            <a:off x="9093518" y="1929384"/>
            <a:ext cx="2606040" cy="2999232"/>
          </a:xfrm>
          <a:prstGeom prst="roundRect">
            <a:avLst>
              <a:gd name="adj" fmla="val 8246"/>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accent1"/>
              </a:solidFill>
              <a:latin typeface="+mj-ea"/>
              <a:ea typeface="+mj-ea"/>
            </a:endParaRPr>
          </a:p>
        </p:txBody>
      </p:sp>
      <p:sp>
        <p:nvSpPr>
          <p:cNvPr id="32" name="文本框 31">
            <a:extLst>
              <a:ext uri="{FF2B5EF4-FFF2-40B4-BE49-F238E27FC236}">
                <a16:creationId xmlns:a16="http://schemas.microsoft.com/office/drawing/2014/main" id="{F6F2520A-5C20-4FCB-AE5C-1DFE09339614}"/>
              </a:ext>
            </a:extLst>
          </p:cNvPr>
          <p:cNvSpPr txBox="1"/>
          <p:nvPr/>
        </p:nvSpPr>
        <p:spPr>
          <a:xfrm>
            <a:off x="9519811" y="2461303"/>
            <a:ext cx="1795363" cy="430887"/>
          </a:xfrm>
          <a:prstGeom prst="rect">
            <a:avLst/>
          </a:prstGeom>
          <a:noFill/>
        </p:spPr>
        <p:txBody>
          <a:bodyPr wrap="none" lIns="0" tIns="0" rIns="0" bIns="0" rtlCol="0" anchor="t">
            <a:spAutoFit/>
          </a:bodyPr>
          <a:lstStyle/>
          <a:p>
            <a:pPr algn="dist"/>
            <a:r>
              <a:rPr lang="zh-CN" altLang="en-US" sz="2800" dirty="0">
                <a:solidFill>
                  <a:schemeClr val="accent1"/>
                </a:solidFill>
                <a:latin typeface="+mj-ea"/>
                <a:ea typeface="+mj-ea"/>
              </a:rPr>
              <a:t>关键词标题</a:t>
            </a:r>
          </a:p>
        </p:txBody>
      </p:sp>
      <p:sp>
        <p:nvSpPr>
          <p:cNvPr id="33" name="文本框 32">
            <a:extLst>
              <a:ext uri="{FF2B5EF4-FFF2-40B4-BE49-F238E27FC236}">
                <a16:creationId xmlns:a16="http://schemas.microsoft.com/office/drawing/2014/main" id="{63848042-998B-415F-B7D6-A767FBB9DF09}"/>
              </a:ext>
            </a:extLst>
          </p:cNvPr>
          <p:cNvSpPr txBox="1"/>
          <p:nvPr/>
        </p:nvSpPr>
        <p:spPr>
          <a:xfrm>
            <a:off x="9413271" y="3072470"/>
            <a:ext cx="2008442" cy="1102353"/>
          </a:xfrm>
          <a:prstGeom prst="rect">
            <a:avLst/>
          </a:prstGeom>
          <a:noFill/>
        </p:spPr>
        <p:txBody>
          <a:bodyPr wrap="square" lIns="0" tIns="0" rIns="0" bIns="0" rtlCol="0" anchor="t">
            <a:spAutoFit/>
          </a:bodyPr>
          <a:lstStyle/>
          <a:p>
            <a:pPr algn="ctr">
              <a:lnSpc>
                <a:spcPct val="130000"/>
              </a:lnSpc>
            </a:pPr>
            <a:r>
              <a:rPr lang="en-US" altLang="zh-CN" sz="1400" b="0" dirty="0">
                <a:solidFill>
                  <a:schemeClr val="accent1"/>
                </a:solidFill>
                <a:effectLst/>
                <a:latin typeface="+mn-ea"/>
              </a:rPr>
              <a:t>Lorem ipsum dolor sit amet, consectetur adipisicing elit, sed do eiusmod tempor</a:t>
            </a:r>
            <a:endParaRPr lang="zh-CN" altLang="en-US" sz="1400" b="0" dirty="0">
              <a:solidFill>
                <a:schemeClr val="accent1"/>
              </a:solidFill>
              <a:effectLst/>
              <a:latin typeface="+mn-ea"/>
            </a:endParaRPr>
          </a:p>
        </p:txBody>
      </p:sp>
      <p:cxnSp>
        <p:nvCxnSpPr>
          <p:cNvPr id="36" name="直接连接符 35">
            <a:extLst>
              <a:ext uri="{FF2B5EF4-FFF2-40B4-BE49-F238E27FC236}">
                <a16:creationId xmlns:a16="http://schemas.microsoft.com/office/drawing/2014/main" id="{15EB47E3-0288-4862-A308-21916A1A7D7B}"/>
              </a:ext>
            </a:extLst>
          </p:cNvPr>
          <p:cNvCxnSpPr/>
          <p:nvPr/>
        </p:nvCxnSpPr>
        <p:spPr>
          <a:xfrm>
            <a:off x="1569720" y="2996059"/>
            <a:ext cx="419100" cy="0"/>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37" name="直接连接符 36">
            <a:extLst>
              <a:ext uri="{FF2B5EF4-FFF2-40B4-BE49-F238E27FC236}">
                <a16:creationId xmlns:a16="http://schemas.microsoft.com/office/drawing/2014/main" id="{89B7B76E-442A-4677-B232-EF0123BEBD5B}"/>
              </a:ext>
            </a:extLst>
          </p:cNvPr>
          <p:cNvCxnSpPr/>
          <p:nvPr/>
        </p:nvCxnSpPr>
        <p:spPr>
          <a:xfrm>
            <a:off x="4442460" y="2996059"/>
            <a:ext cx="419100" cy="0"/>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38" name="直接连接符 37">
            <a:extLst>
              <a:ext uri="{FF2B5EF4-FFF2-40B4-BE49-F238E27FC236}">
                <a16:creationId xmlns:a16="http://schemas.microsoft.com/office/drawing/2014/main" id="{9B3A5BA9-F77F-4584-A24F-5D1DB7970E83}"/>
              </a:ext>
            </a:extLst>
          </p:cNvPr>
          <p:cNvCxnSpPr/>
          <p:nvPr/>
        </p:nvCxnSpPr>
        <p:spPr>
          <a:xfrm>
            <a:off x="7315200" y="2996059"/>
            <a:ext cx="419100" cy="0"/>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39" name="直接连接符 38">
            <a:extLst>
              <a:ext uri="{FF2B5EF4-FFF2-40B4-BE49-F238E27FC236}">
                <a16:creationId xmlns:a16="http://schemas.microsoft.com/office/drawing/2014/main" id="{9512BDB5-E35D-4A10-B547-E747828FE7C0}"/>
              </a:ext>
            </a:extLst>
          </p:cNvPr>
          <p:cNvCxnSpPr/>
          <p:nvPr/>
        </p:nvCxnSpPr>
        <p:spPr>
          <a:xfrm>
            <a:off x="10180320" y="2996059"/>
            <a:ext cx="419100" cy="0"/>
          </a:xfrm>
          <a:prstGeom prst="line">
            <a:avLst/>
          </a:prstGeom>
          <a:ln w="28575"/>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83121905"/>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2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组合 7">
            <a:extLst>
              <a:ext uri="{FF2B5EF4-FFF2-40B4-BE49-F238E27FC236}">
                <a16:creationId xmlns:a16="http://schemas.microsoft.com/office/drawing/2014/main" id="{3AE478B1-15A4-4EA8-9E4F-970AD10844EC}"/>
              </a:ext>
            </a:extLst>
          </p:cNvPr>
          <p:cNvGrpSpPr/>
          <p:nvPr/>
        </p:nvGrpSpPr>
        <p:grpSpPr>
          <a:xfrm>
            <a:off x="2267458" y="2157641"/>
            <a:ext cx="3404131" cy="867756"/>
            <a:chOff x="1060450" y="2057057"/>
            <a:chExt cx="3404131" cy="867756"/>
          </a:xfrm>
        </p:grpSpPr>
        <p:sp>
          <p:nvSpPr>
            <p:cNvPr id="2" name="文本框 1">
              <a:extLst>
                <a:ext uri="{FF2B5EF4-FFF2-40B4-BE49-F238E27FC236}">
                  <a16:creationId xmlns:a16="http://schemas.microsoft.com/office/drawing/2014/main" id="{81092518-DAC2-4EAF-902B-AA1E82BB13CE}"/>
                </a:ext>
              </a:extLst>
            </p:cNvPr>
            <p:cNvSpPr txBox="1"/>
            <p:nvPr/>
          </p:nvSpPr>
          <p:spPr>
            <a:xfrm>
              <a:off x="1289482" y="2057057"/>
              <a:ext cx="1538883" cy="369332"/>
            </a:xfrm>
            <a:prstGeom prst="rect">
              <a:avLst/>
            </a:prstGeom>
            <a:noFill/>
          </p:spPr>
          <p:txBody>
            <a:bodyPr wrap="none" lIns="0" tIns="0" rIns="0" bIns="0" rtlCol="0" anchor="t">
              <a:spAutoFit/>
            </a:bodyPr>
            <a:lstStyle/>
            <a:p>
              <a:pPr algn="ctr"/>
              <a:r>
                <a:rPr lang="zh-CN" altLang="en-US" sz="2400" dirty="0">
                  <a:solidFill>
                    <a:schemeClr val="accent1"/>
                  </a:solidFill>
                  <a:latin typeface="+mj-ea"/>
                  <a:ea typeface="+mj-ea"/>
                </a:rPr>
                <a:t>关键词标题</a:t>
              </a:r>
            </a:p>
          </p:txBody>
        </p:sp>
        <p:sp>
          <p:nvSpPr>
            <p:cNvPr id="3" name="文本框 2">
              <a:extLst>
                <a:ext uri="{FF2B5EF4-FFF2-40B4-BE49-F238E27FC236}">
                  <a16:creationId xmlns:a16="http://schemas.microsoft.com/office/drawing/2014/main" id="{ABB2007D-A327-4912-AF41-EBEBF33AA8E8}"/>
                </a:ext>
              </a:extLst>
            </p:cNvPr>
            <p:cNvSpPr txBox="1"/>
            <p:nvPr/>
          </p:nvSpPr>
          <p:spPr>
            <a:xfrm>
              <a:off x="1305328" y="2460006"/>
              <a:ext cx="3159253" cy="464807"/>
            </a:xfrm>
            <a:prstGeom prst="rect">
              <a:avLst/>
            </a:prstGeom>
            <a:noFill/>
          </p:spPr>
          <p:txBody>
            <a:bodyPr wrap="square" lIns="0" tIns="0" rIns="0" bIns="0" rtlCol="0" anchor="t">
              <a:spAutoFit/>
            </a:bodyPr>
            <a:lstStyle/>
            <a:p>
              <a:pPr>
                <a:lnSpc>
                  <a:spcPct val="130000"/>
                </a:lnSpc>
              </a:pPr>
              <a:r>
                <a:rPr lang="en-US" altLang="zh-CN" sz="1200" b="0" dirty="0">
                  <a:solidFill>
                    <a:schemeClr val="tx1">
                      <a:lumMod val="75000"/>
                      <a:lumOff val="25000"/>
                    </a:schemeClr>
                  </a:solidFill>
                  <a:effectLst/>
                  <a:latin typeface="+mn-ea"/>
                </a:rPr>
                <a:t>Lorem ipsum dolor sit amet consectetur adipisicing elit sed do eiusmod tempor</a:t>
              </a:r>
              <a:endParaRPr lang="zh-CN" altLang="en-US" sz="1200" b="0" dirty="0">
                <a:solidFill>
                  <a:schemeClr val="tx1">
                    <a:lumMod val="75000"/>
                    <a:lumOff val="25000"/>
                  </a:schemeClr>
                </a:solidFill>
                <a:effectLst/>
                <a:latin typeface="+mn-ea"/>
              </a:endParaRPr>
            </a:p>
          </p:txBody>
        </p:sp>
        <p:sp>
          <p:nvSpPr>
            <p:cNvPr id="4" name="椭圆 3">
              <a:extLst>
                <a:ext uri="{FF2B5EF4-FFF2-40B4-BE49-F238E27FC236}">
                  <a16:creationId xmlns:a16="http://schemas.microsoft.com/office/drawing/2014/main" id="{1AFBBDAB-347D-4921-B9AB-049B3DF8C788}"/>
                </a:ext>
              </a:extLst>
            </p:cNvPr>
            <p:cNvSpPr/>
            <p:nvPr/>
          </p:nvSpPr>
          <p:spPr>
            <a:xfrm>
              <a:off x="1060450" y="2089150"/>
              <a:ext cx="95250" cy="9525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5" name="椭圆 4">
              <a:extLst>
                <a:ext uri="{FF2B5EF4-FFF2-40B4-BE49-F238E27FC236}">
                  <a16:creationId xmlns:a16="http://schemas.microsoft.com/office/drawing/2014/main" id="{7D49A536-642B-4371-825A-D45C5C1B95D6}"/>
                </a:ext>
              </a:extLst>
            </p:cNvPr>
            <p:cNvSpPr/>
            <p:nvPr/>
          </p:nvSpPr>
          <p:spPr>
            <a:xfrm>
              <a:off x="1060450" y="2794000"/>
              <a:ext cx="95250" cy="9525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cxnSp>
          <p:nvCxnSpPr>
            <p:cNvPr id="7" name="直接连接符 6">
              <a:extLst>
                <a:ext uri="{FF2B5EF4-FFF2-40B4-BE49-F238E27FC236}">
                  <a16:creationId xmlns:a16="http://schemas.microsoft.com/office/drawing/2014/main" id="{83566D8A-2EE0-443F-9E72-341EB4F184CF}"/>
                </a:ext>
              </a:extLst>
            </p:cNvPr>
            <p:cNvCxnSpPr>
              <a:stCxn id="4" idx="4"/>
              <a:endCxn id="5" idx="0"/>
            </p:cNvCxnSpPr>
            <p:nvPr/>
          </p:nvCxnSpPr>
          <p:spPr>
            <a:xfrm>
              <a:off x="1108075" y="2184400"/>
              <a:ext cx="0" cy="609600"/>
            </a:xfrm>
            <a:prstGeom prst="line">
              <a:avLst/>
            </a:prstGeom>
            <a:ln w="12700"/>
          </p:spPr>
          <p:style>
            <a:lnRef idx="1">
              <a:schemeClr val="accent1"/>
            </a:lnRef>
            <a:fillRef idx="0">
              <a:schemeClr val="accent1"/>
            </a:fillRef>
            <a:effectRef idx="0">
              <a:schemeClr val="accent1"/>
            </a:effectRef>
            <a:fontRef idx="minor">
              <a:schemeClr val="tx1"/>
            </a:fontRef>
          </p:style>
        </p:cxnSp>
      </p:grpSp>
      <p:grpSp>
        <p:nvGrpSpPr>
          <p:cNvPr id="9" name="组合 8">
            <a:extLst>
              <a:ext uri="{FF2B5EF4-FFF2-40B4-BE49-F238E27FC236}">
                <a16:creationId xmlns:a16="http://schemas.microsoft.com/office/drawing/2014/main" id="{76D795B1-693C-4DF8-92F9-6FEC0FB34802}"/>
              </a:ext>
            </a:extLst>
          </p:cNvPr>
          <p:cNvGrpSpPr/>
          <p:nvPr/>
        </p:nvGrpSpPr>
        <p:grpSpPr>
          <a:xfrm>
            <a:off x="6464554" y="2157641"/>
            <a:ext cx="3404131" cy="867756"/>
            <a:chOff x="1060450" y="2057057"/>
            <a:chExt cx="3404131" cy="867756"/>
          </a:xfrm>
        </p:grpSpPr>
        <p:sp>
          <p:nvSpPr>
            <p:cNvPr id="10" name="文本框 9">
              <a:extLst>
                <a:ext uri="{FF2B5EF4-FFF2-40B4-BE49-F238E27FC236}">
                  <a16:creationId xmlns:a16="http://schemas.microsoft.com/office/drawing/2014/main" id="{8CD1BDA3-4ED5-4821-B95C-AF2B2EFDC009}"/>
                </a:ext>
              </a:extLst>
            </p:cNvPr>
            <p:cNvSpPr txBox="1"/>
            <p:nvPr/>
          </p:nvSpPr>
          <p:spPr>
            <a:xfrm>
              <a:off x="1289482" y="2057057"/>
              <a:ext cx="1538883" cy="369332"/>
            </a:xfrm>
            <a:prstGeom prst="rect">
              <a:avLst/>
            </a:prstGeom>
            <a:noFill/>
          </p:spPr>
          <p:txBody>
            <a:bodyPr wrap="none" lIns="0" tIns="0" rIns="0" bIns="0" rtlCol="0" anchor="t">
              <a:spAutoFit/>
            </a:bodyPr>
            <a:lstStyle/>
            <a:p>
              <a:pPr algn="ctr"/>
              <a:r>
                <a:rPr lang="zh-CN" altLang="en-US" sz="2400" dirty="0">
                  <a:solidFill>
                    <a:schemeClr val="accent1"/>
                  </a:solidFill>
                  <a:latin typeface="+mj-ea"/>
                  <a:ea typeface="+mj-ea"/>
                </a:rPr>
                <a:t>关键词标题</a:t>
              </a:r>
            </a:p>
          </p:txBody>
        </p:sp>
        <p:sp>
          <p:nvSpPr>
            <p:cNvPr id="11" name="文本框 10">
              <a:extLst>
                <a:ext uri="{FF2B5EF4-FFF2-40B4-BE49-F238E27FC236}">
                  <a16:creationId xmlns:a16="http://schemas.microsoft.com/office/drawing/2014/main" id="{8DBD93FF-6F01-4C12-8A86-B3D7AB52B10B}"/>
                </a:ext>
              </a:extLst>
            </p:cNvPr>
            <p:cNvSpPr txBox="1"/>
            <p:nvPr/>
          </p:nvSpPr>
          <p:spPr>
            <a:xfrm>
              <a:off x="1305328" y="2460006"/>
              <a:ext cx="3159253" cy="464807"/>
            </a:xfrm>
            <a:prstGeom prst="rect">
              <a:avLst/>
            </a:prstGeom>
            <a:noFill/>
          </p:spPr>
          <p:txBody>
            <a:bodyPr wrap="square" lIns="0" tIns="0" rIns="0" bIns="0" rtlCol="0" anchor="t">
              <a:spAutoFit/>
            </a:bodyPr>
            <a:lstStyle/>
            <a:p>
              <a:pPr>
                <a:lnSpc>
                  <a:spcPct val="130000"/>
                </a:lnSpc>
              </a:pPr>
              <a:r>
                <a:rPr lang="en-US" altLang="zh-CN" sz="1200" b="0" dirty="0">
                  <a:solidFill>
                    <a:schemeClr val="tx1">
                      <a:lumMod val="75000"/>
                      <a:lumOff val="25000"/>
                    </a:schemeClr>
                  </a:solidFill>
                  <a:effectLst/>
                  <a:latin typeface="+mn-ea"/>
                </a:rPr>
                <a:t>Lorem ipsum dolor sit amet consectetur adipisicing elit sed do eiusmod tempor</a:t>
              </a:r>
              <a:endParaRPr lang="zh-CN" altLang="en-US" sz="1200" b="0" dirty="0">
                <a:solidFill>
                  <a:schemeClr val="tx1">
                    <a:lumMod val="75000"/>
                    <a:lumOff val="25000"/>
                  </a:schemeClr>
                </a:solidFill>
                <a:effectLst/>
                <a:latin typeface="+mn-ea"/>
              </a:endParaRPr>
            </a:p>
          </p:txBody>
        </p:sp>
        <p:sp>
          <p:nvSpPr>
            <p:cNvPr id="12" name="椭圆 11">
              <a:extLst>
                <a:ext uri="{FF2B5EF4-FFF2-40B4-BE49-F238E27FC236}">
                  <a16:creationId xmlns:a16="http://schemas.microsoft.com/office/drawing/2014/main" id="{92A70B77-351B-4EA4-83DC-78586B7AFDF0}"/>
                </a:ext>
              </a:extLst>
            </p:cNvPr>
            <p:cNvSpPr/>
            <p:nvPr/>
          </p:nvSpPr>
          <p:spPr>
            <a:xfrm>
              <a:off x="1060450" y="2089150"/>
              <a:ext cx="95250" cy="9525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13" name="椭圆 12">
              <a:extLst>
                <a:ext uri="{FF2B5EF4-FFF2-40B4-BE49-F238E27FC236}">
                  <a16:creationId xmlns:a16="http://schemas.microsoft.com/office/drawing/2014/main" id="{57986271-FDE8-440E-B891-061F91BFF33D}"/>
                </a:ext>
              </a:extLst>
            </p:cNvPr>
            <p:cNvSpPr/>
            <p:nvPr/>
          </p:nvSpPr>
          <p:spPr>
            <a:xfrm>
              <a:off x="1060450" y="2794000"/>
              <a:ext cx="95250" cy="9525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cxnSp>
          <p:nvCxnSpPr>
            <p:cNvPr id="14" name="直接连接符 13">
              <a:extLst>
                <a:ext uri="{FF2B5EF4-FFF2-40B4-BE49-F238E27FC236}">
                  <a16:creationId xmlns:a16="http://schemas.microsoft.com/office/drawing/2014/main" id="{5846C705-6183-4672-955A-19CD94DD8DE1}"/>
                </a:ext>
              </a:extLst>
            </p:cNvPr>
            <p:cNvCxnSpPr>
              <a:stCxn id="12" idx="4"/>
              <a:endCxn id="13" idx="0"/>
            </p:cNvCxnSpPr>
            <p:nvPr/>
          </p:nvCxnSpPr>
          <p:spPr>
            <a:xfrm>
              <a:off x="1108075" y="2184400"/>
              <a:ext cx="0" cy="609600"/>
            </a:xfrm>
            <a:prstGeom prst="line">
              <a:avLst/>
            </a:prstGeom>
            <a:ln w="12700"/>
          </p:spPr>
          <p:style>
            <a:lnRef idx="1">
              <a:schemeClr val="accent1"/>
            </a:lnRef>
            <a:fillRef idx="0">
              <a:schemeClr val="accent1"/>
            </a:fillRef>
            <a:effectRef idx="0">
              <a:schemeClr val="accent1"/>
            </a:effectRef>
            <a:fontRef idx="minor">
              <a:schemeClr val="tx1"/>
            </a:fontRef>
          </p:style>
        </p:cxnSp>
      </p:grpSp>
      <p:grpSp>
        <p:nvGrpSpPr>
          <p:cNvPr id="15" name="组合 14">
            <a:extLst>
              <a:ext uri="{FF2B5EF4-FFF2-40B4-BE49-F238E27FC236}">
                <a16:creationId xmlns:a16="http://schemas.microsoft.com/office/drawing/2014/main" id="{92148575-AA0D-4BE9-9CFE-F72DE3AEE735}"/>
              </a:ext>
            </a:extLst>
          </p:cNvPr>
          <p:cNvGrpSpPr/>
          <p:nvPr/>
        </p:nvGrpSpPr>
        <p:grpSpPr>
          <a:xfrm>
            <a:off x="2267458" y="3904145"/>
            <a:ext cx="3404131" cy="867756"/>
            <a:chOff x="1060450" y="2057057"/>
            <a:chExt cx="3404131" cy="867756"/>
          </a:xfrm>
        </p:grpSpPr>
        <p:sp>
          <p:nvSpPr>
            <p:cNvPr id="16" name="文本框 15">
              <a:extLst>
                <a:ext uri="{FF2B5EF4-FFF2-40B4-BE49-F238E27FC236}">
                  <a16:creationId xmlns:a16="http://schemas.microsoft.com/office/drawing/2014/main" id="{7B89002C-E3CD-49ED-BF14-BC01F08451F6}"/>
                </a:ext>
              </a:extLst>
            </p:cNvPr>
            <p:cNvSpPr txBox="1"/>
            <p:nvPr/>
          </p:nvSpPr>
          <p:spPr>
            <a:xfrm>
              <a:off x="1289482" y="2057057"/>
              <a:ext cx="1538883" cy="369332"/>
            </a:xfrm>
            <a:prstGeom prst="rect">
              <a:avLst/>
            </a:prstGeom>
            <a:noFill/>
          </p:spPr>
          <p:txBody>
            <a:bodyPr wrap="none" lIns="0" tIns="0" rIns="0" bIns="0" rtlCol="0" anchor="t">
              <a:spAutoFit/>
            </a:bodyPr>
            <a:lstStyle/>
            <a:p>
              <a:pPr algn="ctr"/>
              <a:r>
                <a:rPr lang="zh-CN" altLang="en-US" sz="2400" dirty="0">
                  <a:solidFill>
                    <a:schemeClr val="accent1"/>
                  </a:solidFill>
                  <a:latin typeface="+mj-ea"/>
                  <a:ea typeface="+mj-ea"/>
                </a:rPr>
                <a:t>关键词标题</a:t>
              </a:r>
            </a:p>
          </p:txBody>
        </p:sp>
        <p:sp>
          <p:nvSpPr>
            <p:cNvPr id="17" name="文本框 16">
              <a:extLst>
                <a:ext uri="{FF2B5EF4-FFF2-40B4-BE49-F238E27FC236}">
                  <a16:creationId xmlns:a16="http://schemas.microsoft.com/office/drawing/2014/main" id="{B309DC5B-ED90-4F1A-A3ED-15997373181F}"/>
                </a:ext>
              </a:extLst>
            </p:cNvPr>
            <p:cNvSpPr txBox="1"/>
            <p:nvPr/>
          </p:nvSpPr>
          <p:spPr>
            <a:xfrm>
              <a:off x="1305328" y="2460006"/>
              <a:ext cx="3159253" cy="464807"/>
            </a:xfrm>
            <a:prstGeom prst="rect">
              <a:avLst/>
            </a:prstGeom>
            <a:noFill/>
          </p:spPr>
          <p:txBody>
            <a:bodyPr wrap="square" lIns="0" tIns="0" rIns="0" bIns="0" rtlCol="0" anchor="t">
              <a:spAutoFit/>
            </a:bodyPr>
            <a:lstStyle/>
            <a:p>
              <a:pPr>
                <a:lnSpc>
                  <a:spcPct val="130000"/>
                </a:lnSpc>
              </a:pPr>
              <a:r>
                <a:rPr lang="en-US" altLang="zh-CN" sz="1200" b="0" dirty="0">
                  <a:solidFill>
                    <a:schemeClr val="tx1">
                      <a:lumMod val="75000"/>
                      <a:lumOff val="25000"/>
                    </a:schemeClr>
                  </a:solidFill>
                  <a:effectLst/>
                  <a:latin typeface="+mn-ea"/>
                </a:rPr>
                <a:t>Lorem ipsum dolor sit amet consectetur adipisicing elit sed do eiusmod tempor</a:t>
              </a:r>
              <a:endParaRPr lang="zh-CN" altLang="en-US" sz="1200" b="0" dirty="0">
                <a:solidFill>
                  <a:schemeClr val="tx1">
                    <a:lumMod val="75000"/>
                    <a:lumOff val="25000"/>
                  </a:schemeClr>
                </a:solidFill>
                <a:effectLst/>
                <a:latin typeface="+mn-ea"/>
              </a:endParaRPr>
            </a:p>
          </p:txBody>
        </p:sp>
        <p:sp>
          <p:nvSpPr>
            <p:cNvPr id="18" name="椭圆 17">
              <a:extLst>
                <a:ext uri="{FF2B5EF4-FFF2-40B4-BE49-F238E27FC236}">
                  <a16:creationId xmlns:a16="http://schemas.microsoft.com/office/drawing/2014/main" id="{FC71C0CC-15C4-4202-9CF7-FB8959D78393}"/>
                </a:ext>
              </a:extLst>
            </p:cNvPr>
            <p:cNvSpPr/>
            <p:nvPr/>
          </p:nvSpPr>
          <p:spPr>
            <a:xfrm>
              <a:off x="1060450" y="2089150"/>
              <a:ext cx="95250" cy="9525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19" name="椭圆 18">
              <a:extLst>
                <a:ext uri="{FF2B5EF4-FFF2-40B4-BE49-F238E27FC236}">
                  <a16:creationId xmlns:a16="http://schemas.microsoft.com/office/drawing/2014/main" id="{AA57E254-9ED0-49B7-AB8C-78F6549FC75E}"/>
                </a:ext>
              </a:extLst>
            </p:cNvPr>
            <p:cNvSpPr/>
            <p:nvPr/>
          </p:nvSpPr>
          <p:spPr>
            <a:xfrm>
              <a:off x="1060450" y="2794000"/>
              <a:ext cx="95250" cy="9525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cxnSp>
          <p:nvCxnSpPr>
            <p:cNvPr id="20" name="直接连接符 19">
              <a:extLst>
                <a:ext uri="{FF2B5EF4-FFF2-40B4-BE49-F238E27FC236}">
                  <a16:creationId xmlns:a16="http://schemas.microsoft.com/office/drawing/2014/main" id="{1A9B83E1-9C7E-49E4-8BB2-DE1095287D04}"/>
                </a:ext>
              </a:extLst>
            </p:cNvPr>
            <p:cNvCxnSpPr>
              <a:stCxn id="18" idx="4"/>
              <a:endCxn id="19" idx="0"/>
            </p:cNvCxnSpPr>
            <p:nvPr/>
          </p:nvCxnSpPr>
          <p:spPr>
            <a:xfrm>
              <a:off x="1108075" y="2184400"/>
              <a:ext cx="0" cy="609600"/>
            </a:xfrm>
            <a:prstGeom prst="line">
              <a:avLst/>
            </a:prstGeom>
            <a:ln w="12700"/>
          </p:spPr>
          <p:style>
            <a:lnRef idx="1">
              <a:schemeClr val="accent1"/>
            </a:lnRef>
            <a:fillRef idx="0">
              <a:schemeClr val="accent1"/>
            </a:fillRef>
            <a:effectRef idx="0">
              <a:schemeClr val="accent1"/>
            </a:effectRef>
            <a:fontRef idx="minor">
              <a:schemeClr val="tx1"/>
            </a:fontRef>
          </p:style>
        </p:cxnSp>
      </p:grpSp>
      <p:grpSp>
        <p:nvGrpSpPr>
          <p:cNvPr id="21" name="组合 20">
            <a:extLst>
              <a:ext uri="{FF2B5EF4-FFF2-40B4-BE49-F238E27FC236}">
                <a16:creationId xmlns:a16="http://schemas.microsoft.com/office/drawing/2014/main" id="{D830A6DD-2FEF-41FC-B5FB-0240893A2BA5}"/>
              </a:ext>
            </a:extLst>
          </p:cNvPr>
          <p:cNvGrpSpPr/>
          <p:nvPr/>
        </p:nvGrpSpPr>
        <p:grpSpPr>
          <a:xfrm>
            <a:off x="6464554" y="3904145"/>
            <a:ext cx="3404131" cy="867756"/>
            <a:chOff x="1060450" y="2057057"/>
            <a:chExt cx="3404131" cy="867756"/>
          </a:xfrm>
        </p:grpSpPr>
        <p:sp>
          <p:nvSpPr>
            <p:cNvPr id="22" name="文本框 21">
              <a:extLst>
                <a:ext uri="{FF2B5EF4-FFF2-40B4-BE49-F238E27FC236}">
                  <a16:creationId xmlns:a16="http://schemas.microsoft.com/office/drawing/2014/main" id="{48346AA6-3DF7-4424-AC25-9E260051A592}"/>
                </a:ext>
              </a:extLst>
            </p:cNvPr>
            <p:cNvSpPr txBox="1"/>
            <p:nvPr/>
          </p:nvSpPr>
          <p:spPr>
            <a:xfrm>
              <a:off x="1289482" y="2057057"/>
              <a:ext cx="1538883" cy="369332"/>
            </a:xfrm>
            <a:prstGeom prst="rect">
              <a:avLst/>
            </a:prstGeom>
            <a:noFill/>
          </p:spPr>
          <p:txBody>
            <a:bodyPr wrap="none" lIns="0" tIns="0" rIns="0" bIns="0" rtlCol="0" anchor="t">
              <a:spAutoFit/>
            </a:bodyPr>
            <a:lstStyle/>
            <a:p>
              <a:pPr algn="ctr"/>
              <a:r>
                <a:rPr lang="zh-CN" altLang="en-US" sz="2400" dirty="0">
                  <a:solidFill>
                    <a:schemeClr val="accent1"/>
                  </a:solidFill>
                  <a:latin typeface="+mj-ea"/>
                  <a:ea typeface="+mj-ea"/>
                </a:rPr>
                <a:t>关键词标题</a:t>
              </a:r>
            </a:p>
          </p:txBody>
        </p:sp>
        <p:sp>
          <p:nvSpPr>
            <p:cNvPr id="23" name="文本框 22">
              <a:extLst>
                <a:ext uri="{FF2B5EF4-FFF2-40B4-BE49-F238E27FC236}">
                  <a16:creationId xmlns:a16="http://schemas.microsoft.com/office/drawing/2014/main" id="{4BFFFBF8-370E-4C5C-B09C-D070680BE1EB}"/>
                </a:ext>
              </a:extLst>
            </p:cNvPr>
            <p:cNvSpPr txBox="1"/>
            <p:nvPr/>
          </p:nvSpPr>
          <p:spPr>
            <a:xfrm>
              <a:off x="1305328" y="2460006"/>
              <a:ext cx="3159253" cy="464807"/>
            </a:xfrm>
            <a:prstGeom prst="rect">
              <a:avLst/>
            </a:prstGeom>
            <a:noFill/>
          </p:spPr>
          <p:txBody>
            <a:bodyPr wrap="square" lIns="0" tIns="0" rIns="0" bIns="0" rtlCol="0" anchor="t">
              <a:spAutoFit/>
            </a:bodyPr>
            <a:lstStyle/>
            <a:p>
              <a:pPr>
                <a:lnSpc>
                  <a:spcPct val="130000"/>
                </a:lnSpc>
              </a:pPr>
              <a:r>
                <a:rPr lang="en-US" altLang="zh-CN" sz="1200" b="0" dirty="0">
                  <a:solidFill>
                    <a:schemeClr val="tx1">
                      <a:lumMod val="75000"/>
                      <a:lumOff val="25000"/>
                    </a:schemeClr>
                  </a:solidFill>
                  <a:effectLst/>
                  <a:latin typeface="+mn-ea"/>
                </a:rPr>
                <a:t>Lorem ipsum dolor sit amet consectetur adipisicing elit sed do eiusmod tempor</a:t>
              </a:r>
              <a:endParaRPr lang="zh-CN" altLang="en-US" sz="1200" b="0" dirty="0">
                <a:solidFill>
                  <a:schemeClr val="tx1">
                    <a:lumMod val="75000"/>
                    <a:lumOff val="25000"/>
                  </a:schemeClr>
                </a:solidFill>
                <a:effectLst/>
                <a:latin typeface="+mn-ea"/>
              </a:endParaRPr>
            </a:p>
          </p:txBody>
        </p:sp>
        <p:sp>
          <p:nvSpPr>
            <p:cNvPr id="24" name="椭圆 23">
              <a:extLst>
                <a:ext uri="{FF2B5EF4-FFF2-40B4-BE49-F238E27FC236}">
                  <a16:creationId xmlns:a16="http://schemas.microsoft.com/office/drawing/2014/main" id="{C4674D2C-C21F-4455-8380-FF84C50D845A}"/>
                </a:ext>
              </a:extLst>
            </p:cNvPr>
            <p:cNvSpPr/>
            <p:nvPr/>
          </p:nvSpPr>
          <p:spPr>
            <a:xfrm>
              <a:off x="1060450" y="2089150"/>
              <a:ext cx="95250" cy="9525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25" name="椭圆 24">
              <a:extLst>
                <a:ext uri="{FF2B5EF4-FFF2-40B4-BE49-F238E27FC236}">
                  <a16:creationId xmlns:a16="http://schemas.microsoft.com/office/drawing/2014/main" id="{C9E32BB7-539A-40E3-90B6-DA1DF5E220AD}"/>
                </a:ext>
              </a:extLst>
            </p:cNvPr>
            <p:cNvSpPr/>
            <p:nvPr/>
          </p:nvSpPr>
          <p:spPr>
            <a:xfrm>
              <a:off x="1060450" y="2794000"/>
              <a:ext cx="95250" cy="9525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cxnSp>
          <p:nvCxnSpPr>
            <p:cNvPr id="26" name="直接连接符 25">
              <a:extLst>
                <a:ext uri="{FF2B5EF4-FFF2-40B4-BE49-F238E27FC236}">
                  <a16:creationId xmlns:a16="http://schemas.microsoft.com/office/drawing/2014/main" id="{68D64548-1D9B-45AC-8FBD-E1758380140A}"/>
                </a:ext>
              </a:extLst>
            </p:cNvPr>
            <p:cNvCxnSpPr>
              <a:stCxn id="24" idx="4"/>
              <a:endCxn id="25" idx="0"/>
            </p:cNvCxnSpPr>
            <p:nvPr/>
          </p:nvCxnSpPr>
          <p:spPr>
            <a:xfrm>
              <a:off x="1108075" y="2184400"/>
              <a:ext cx="0" cy="609600"/>
            </a:xfrm>
            <a:prstGeom prst="line">
              <a:avLst/>
            </a:prstGeom>
            <a:ln w="12700"/>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659966245"/>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2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任意形状 9">
            <a:extLst>
              <a:ext uri="{FF2B5EF4-FFF2-40B4-BE49-F238E27FC236}">
                <a16:creationId xmlns:a16="http://schemas.microsoft.com/office/drawing/2014/main" id="{79C0392D-8AB4-4C9C-BB47-E593C645F444}"/>
              </a:ext>
            </a:extLst>
          </p:cNvPr>
          <p:cNvSpPr/>
          <p:nvPr/>
        </p:nvSpPr>
        <p:spPr>
          <a:xfrm>
            <a:off x="0" y="6457950"/>
            <a:ext cx="12192000" cy="400050"/>
          </a:xfrm>
          <a:custGeom>
            <a:avLst/>
            <a:gdLst>
              <a:gd name="connsiteX0" fmla="*/ 12192000 w 12192000"/>
              <a:gd name="connsiteY0" fmla="*/ 0 h 329410"/>
              <a:gd name="connsiteX1" fmla="*/ 12192000 w 12192000"/>
              <a:gd name="connsiteY1" fmla="*/ 329410 h 329410"/>
              <a:gd name="connsiteX2" fmla="*/ 0 w 12192000"/>
              <a:gd name="connsiteY2" fmla="*/ 329410 h 329410"/>
              <a:gd name="connsiteX3" fmla="*/ 0 w 12192000"/>
              <a:gd name="connsiteY3" fmla="*/ 29375 h 329410"/>
              <a:gd name="connsiteX4" fmla="*/ 577089 w 12192000"/>
              <a:gd name="connsiteY4" fmla="*/ 49593 h 329410"/>
              <a:gd name="connsiteX5" fmla="*/ 5704114 w 12192000"/>
              <a:gd name="connsiteY5" fmla="*/ 124873 h 329410"/>
              <a:gd name="connsiteX6" fmla="*/ 11982536 w 12192000"/>
              <a:gd name="connsiteY6" fmla="*/ 9255 h 329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329410">
                <a:moveTo>
                  <a:pt x="12192000" y="0"/>
                </a:moveTo>
                <a:lnTo>
                  <a:pt x="12192000" y="329410"/>
                </a:lnTo>
                <a:lnTo>
                  <a:pt x="0" y="329410"/>
                </a:lnTo>
                <a:lnTo>
                  <a:pt x="0" y="29375"/>
                </a:lnTo>
                <a:lnTo>
                  <a:pt x="577089" y="49593"/>
                </a:lnTo>
                <a:cubicBezTo>
                  <a:pt x="2152931" y="98068"/>
                  <a:pt x="3885480" y="124873"/>
                  <a:pt x="5704114" y="124873"/>
                </a:cubicBezTo>
                <a:cubicBezTo>
                  <a:pt x="7977407" y="124873"/>
                  <a:pt x="10116192" y="82990"/>
                  <a:pt x="11982536" y="9255"/>
                </a:cubicBezTo>
                <a:close/>
              </a:path>
            </a:pathLst>
          </a:custGeom>
          <a:solidFill>
            <a:schemeClr val="accent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zh-CN" altLang="en-US"/>
          </a:p>
        </p:txBody>
      </p:sp>
      <p:sp>
        <p:nvSpPr>
          <p:cNvPr id="4" name="矩形 3">
            <a:extLst>
              <a:ext uri="{FF2B5EF4-FFF2-40B4-BE49-F238E27FC236}">
                <a16:creationId xmlns:a16="http://schemas.microsoft.com/office/drawing/2014/main" id="{4FD8F3A2-AB91-4A3D-A898-B7CBE3EEF210}"/>
              </a:ext>
            </a:extLst>
          </p:cNvPr>
          <p:cNvSpPr/>
          <p:nvPr/>
        </p:nvSpPr>
        <p:spPr>
          <a:xfrm>
            <a:off x="347384" y="347384"/>
            <a:ext cx="221735" cy="221735"/>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grpSp>
        <p:nvGrpSpPr>
          <p:cNvPr id="12" name="组合 11">
            <a:extLst>
              <a:ext uri="{FF2B5EF4-FFF2-40B4-BE49-F238E27FC236}">
                <a16:creationId xmlns:a16="http://schemas.microsoft.com/office/drawing/2014/main" id="{004ECD7E-B6ED-4CBC-931F-43DD1F506D26}"/>
              </a:ext>
            </a:extLst>
          </p:cNvPr>
          <p:cNvGrpSpPr/>
          <p:nvPr/>
        </p:nvGrpSpPr>
        <p:grpSpPr>
          <a:xfrm>
            <a:off x="492443" y="1929384"/>
            <a:ext cx="2606040" cy="2999232"/>
            <a:chOff x="1161288" y="1929384"/>
            <a:chExt cx="2606040" cy="2999232"/>
          </a:xfrm>
        </p:grpSpPr>
        <p:sp>
          <p:nvSpPr>
            <p:cNvPr id="7" name="矩形: 圆角 6">
              <a:extLst>
                <a:ext uri="{FF2B5EF4-FFF2-40B4-BE49-F238E27FC236}">
                  <a16:creationId xmlns:a16="http://schemas.microsoft.com/office/drawing/2014/main" id="{7BEAE8DC-9230-44AB-B70F-407BAFB7694E}"/>
                </a:ext>
              </a:extLst>
            </p:cNvPr>
            <p:cNvSpPr/>
            <p:nvPr/>
          </p:nvSpPr>
          <p:spPr>
            <a:xfrm>
              <a:off x="1161288" y="1929384"/>
              <a:ext cx="2606040" cy="2999232"/>
            </a:xfrm>
            <a:prstGeom prst="roundRect">
              <a:avLst>
                <a:gd name="adj" fmla="val 8246"/>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10" name="文本框 9">
              <a:extLst>
                <a:ext uri="{FF2B5EF4-FFF2-40B4-BE49-F238E27FC236}">
                  <a16:creationId xmlns:a16="http://schemas.microsoft.com/office/drawing/2014/main" id="{A771ED46-CF2D-497D-AED2-92EB3807D5B9}"/>
                </a:ext>
              </a:extLst>
            </p:cNvPr>
            <p:cNvSpPr txBox="1"/>
            <p:nvPr/>
          </p:nvSpPr>
          <p:spPr>
            <a:xfrm>
              <a:off x="1587581" y="2383309"/>
              <a:ext cx="1795363" cy="430887"/>
            </a:xfrm>
            <a:prstGeom prst="rect">
              <a:avLst/>
            </a:prstGeom>
            <a:noFill/>
          </p:spPr>
          <p:txBody>
            <a:bodyPr wrap="none" lIns="0" tIns="0" rIns="0" bIns="0" rtlCol="0" anchor="t">
              <a:spAutoFit/>
            </a:bodyPr>
            <a:lstStyle/>
            <a:p>
              <a:pPr algn="dist"/>
              <a:r>
                <a:rPr lang="zh-CN" altLang="en-US" sz="2800" dirty="0">
                  <a:solidFill>
                    <a:schemeClr val="bg1"/>
                  </a:solidFill>
                  <a:latin typeface="+mj-ea"/>
                  <a:ea typeface="+mj-ea"/>
                </a:rPr>
                <a:t>关键词标题</a:t>
              </a:r>
            </a:p>
          </p:txBody>
        </p:sp>
        <p:sp>
          <p:nvSpPr>
            <p:cNvPr id="11" name="文本框 10">
              <a:extLst>
                <a:ext uri="{FF2B5EF4-FFF2-40B4-BE49-F238E27FC236}">
                  <a16:creationId xmlns:a16="http://schemas.microsoft.com/office/drawing/2014/main" id="{E9529F98-A975-4553-8FF6-DCB0233D4C1F}"/>
                </a:ext>
              </a:extLst>
            </p:cNvPr>
            <p:cNvSpPr txBox="1"/>
            <p:nvPr/>
          </p:nvSpPr>
          <p:spPr>
            <a:xfrm>
              <a:off x="1481041" y="2872951"/>
              <a:ext cx="2008442" cy="1102353"/>
            </a:xfrm>
            <a:prstGeom prst="rect">
              <a:avLst/>
            </a:prstGeom>
            <a:noFill/>
          </p:spPr>
          <p:txBody>
            <a:bodyPr wrap="square" lIns="0" tIns="0" rIns="0" bIns="0" rtlCol="0" anchor="t">
              <a:spAutoFit/>
            </a:bodyPr>
            <a:lstStyle/>
            <a:p>
              <a:pPr algn="ctr">
                <a:lnSpc>
                  <a:spcPct val="130000"/>
                </a:lnSpc>
              </a:pPr>
              <a:r>
                <a:rPr lang="en-US" altLang="zh-CN" sz="1400" b="0" dirty="0">
                  <a:solidFill>
                    <a:schemeClr val="bg1"/>
                  </a:solidFill>
                  <a:effectLst/>
                  <a:latin typeface="+mn-ea"/>
                </a:rPr>
                <a:t>Lorem ipsum dolor sit amet, consectetur adipisicing elit, sed do eiusmod tempor</a:t>
              </a:r>
              <a:endParaRPr lang="zh-CN" altLang="en-US" sz="1400" b="0" dirty="0">
                <a:solidFill>
                  <a:schemeClr val="bg1"/>
                </a:solidFill>
                <a:effectLst/>
                <a:latin typeface="+mn-ea"/>
              </a:endParaRPr>
            </a:p>
          </p:txBody>
        </p:sp>
      </p:grpSp>
      <p:grpSp>
        <p:nvGrpSpPr>
          <p:cNvPr id="22" name="组合 21">
            <a:extLst>
              <a:ext uri="{FF2B5EF4-FFF2-40B4-BE49-F238E27FC236}">
                <a16:creationId xmlns:a16="http://schemas.microsoft.com/office/drawing/2014/main" id="{54F0ACB1-55C0-4700-8ADD-A77C9E3F993B}"/>
              </a:ext>
            </a:extLst>
          </p:cNvPr>
          <p:cNvGrpSpPr/>
          <p:nvPr/>
        </p:nvGrpSpPr>
        <p:grpSpPr>
          <a:xfrm>
            <a:off x="3359468" y="1929384"/>
            <a:ext cx="2606040" cy="2999232"/>
            <a:chOff x="1161288" y="1929384"/>
            <a:chExt cx="2606040" cy="2999232"/>
          </a:xfrm>
        </p:grpSpPr>
        <p:sp>
          <p:nvSpPr>
            <p:cNvPr id="23" name="矩形: 圆角 22">
              <a:extLst>
                <a:ext uri="{FF2B5EF4-FFF2-40B4-BE49-F238E27FC236}">
                  <a16:creationId xmlns:a16="http://schemas.microsoft.com/office/drawing/2014/main" id="{7A0A591C-9319-485B-898B-18C6B5FF7869}"/>
                </a:ext>
              </a:extLst>
            </p:cNvPr>
            <p:cNvSpPr/>
            <p:nvPr/>
          </p:nvSpPr>
          <p:spPr>
            <a:xfrm>
              <a:off x="1161288" y="1929384"/>
              <a:ext cx="2606040" cy="2999232"/>
            </a:xfrm>
            <a:prstGeom prst="roundRect">
              <a:avLst>
                <a:gd name="adj" fmla="val 8246"/>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24" name="文本框 23">
              <a:extLst>
                <a:ext uri="{FF2B5EF4-FFF2-40B4-BE49-F238E27FC236}">
                  <a16:creationId xmlns:a16="http://schemas.microsoft.com/office/drawing/2014/main" id="{98E17469-DCE1-4C79-A7C0-C1C8861C0EB2}"/>
                </a:ext>
              </a:extLst>
            </p:cNvPr>
            <p:cNvSpPr txBox="1"/>
            <p:nvPr/>
          </p:nvSpPr>
          <p:spPr>
            <a:xfrm>
              <a:off x="1587581" y="2383309"/>
              <a:ext cx="1795363" cy="430887"/>
            </a:xfrm>
            <a:prstGeom prst="rect">
              <a:avLst/>
            </a:prstGeom>
            <a:noFill/>
          </p:spPr>
          <p:txBody>
            <a:bodyPr wrap="none" lIns="0" tIns="0" rIns="0" bIns="0" rtlCol="0" anchor="t">
              <a:spAutoFit/>
            </a:bodyPr>
            <a:lstStyle/>
            <a:p>
              <a:pPr algn="dist"/>
              <a:r>
                <a:rPr lang="zh-CN" altLang="en-US" sz="2800" dirty="0">
                  <a:solidFill>
                    <a:schemeClr val="bg1"/>
                  </a:solidFill>
                  <a:latin typeface="+mj-ea"/>
                  <a:ea typeface="+mj-ea"/>
                </a:rPr>
                <a:t>关键词标题</a:t>
              </a:r>
            </a:p>
          </p:txBody>
        </p:sp>
        <p:sp>
          <p:nvSpPr>
            <p:cNvPr id="25" name="文本框 24">
              <a:extLst>
                <a:ext uri="{FF2B5EF4-FFF2-40B4-BE49-F238E27FC236}">
                  <a16:creationId xmlns:a16="http://schemas.microsoft.com/office/drawing/2014/main" id="{3738B47C-4564-4005-AAC4-28AE5D1CC13C}"/>
                </a:ext>
              </a:extLst>
            </p:cNvPr>
            <p:cNvSpPr txBox="1"/>
            <p:nvPr/>
          </p:nvSpPr>
          <p:spPr>
            <a:xfrm>
              <a:off x="1481041" y="2872951"/>
              <a:ext cx="2008442" cy="1102353"/>
            </a:xfrm>
            <a:prstGeom prst="rect">
              <a:avLst/>
            </a:prstGeom>
            <a:noFill/>
          </p:spPr>
          <p:txBody>
            <a:bodyPr wrap="square" lIns="0" tIns="0" rIns="0" bIns="0" rtlCol="0" anchor="t">
              <a:spAutoFit/>
            </a:bodyPr>
            <a:lstStyle/>
            <a:p>
              <a:pPr algn="ctr">
                <a:lnSpc>
                  <a:spcPct val="130000"/>
                </a:lnSpc>
              </a:pPr>
              <a:r>
                <a:rPr lang="en-US" altLang="zh-CN" sz="1400" b="0" dirty="0">
                  <a:solidFill>
                    <a:schemeClr val="bg1"/>
                  </a:solidFill>
                  <a:effectLst/>
                  <a:latin typeface="+mn-ea"/>
                </a:rPr>
                <a:t>Lorem ipsum dolor sit amet, consectetur adipisicing elit, sed do eiusmod tempor</a:t>
              </a:r>
              <a:endParaRPr lang="zh-CN" altLang="en-US" sz="1400" b="0" dirty="0">
                <a:solidFill>
                  <a:schemeClr val="bg1"/>
                </a:solidFill>
                <a:effectLst/>
                <a:latin typeface="+mn-ea"/>
              </a:endParaRPr>
            </a:p>
          </p:txBody>
        </p:sp>
      </p:grpSp>
      <p:grpSp>
        <p:nvGrpSpPr>
          <p:cNvPr id="26" name="组合 25">
            <a:extLst>
              <a:ext uri="{FF2B5EF4-FFF2-40B4-BE49-F238E27FC236}">
                <a16:creationId xmlns:a16="http://schemas.microsoft.com/office/drawing/2014/main" id="{F6DD4223-B430-4437-95D3-152C761747C5}"/>
              </a:ext>
            </a:extLst>
          </p:cNvPr>
          <p:cNvGrpSpPr/>
          <p:nvPr/>
        </p:nvGrpSpPr>
        <p:grpSpPr>
          <a:xfrm>
            <a:off x="6226493" y="1929384"/>
            <a:ext cx="2606040" cy="2999232"/>
            <a:chOff x="1161288" y="1929384"/>
            <a:chExt cx="2606040" cy="2999232"/>
          </a:xfrm>
        </p:grpSpPr>
        <p:sp>
          <p:nvSpPr>
            <p:cNvPr id="27" name="矩形: 圆角 26">
              <a:extLst>
                <a:ext uri="{FF2B5EF4-FFF2-40B4-BE49-F238E27FC236}">
                  <a16:creationId xmlns:a16="http://schemas.microsoft.com/office/drawing/2014/main" id="{4C176105-FAB2-45E1-91DB-A67283555471}"/>
                </a:ext>
              </a:extLst>
            </p:cNvPr>
            <p:cNvSpPr/>
            <p:nvPr/>
          </p:nvSpPr>
          <p:spPr>
            <a:xfrm>
              <a:off x="1161288" y="1929384"/>
              <a:ext cx="2606040" cy="2999232"/>
            </a:xfrm>
            <a:prstGeom prst="roundRect">
              <a:avLst>
                <a:gd name="adj" fmla="val 8246"/>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28" name="文本框 27">
              <a:extLst>
                <a:ext uri="{FF2B5EF4-FFF2-40B4-BE49-F238E27FC236}">
                  <a16:creationId xmlns:a16="http://schemas.microsoft.com/office/drawing/2014/main" id="{9170219B-09AA-4F62-964F-240B9CDD48F0}"/>
                </a:ext>
              </a:extLst>
            </p:cNvPr>
            <p:cNvSpPr txBox="1"/>
            <p:nvPr/>
          </p:nvSpPr>
          <p:spPr>
            <a:xfrm>
              <a:off x="1587581" y="2383309"/>
              <a:ext cx="1795363" cy="430887"/>
            </a:xfrm>
            <a:prstGeom prst="rect">
              <a:avLst/>
            </a:prstGeom>
            <a:noFill/>
          </p:spPr>
          <p:txBody>
            <a:bodyPr wrap="none" lIns="0" tIns="0" rIns="0" bIns="0" rtlCol="0" anchor="t">
              <a:spAutoFit/>
            </a:bodyPr>
            <a:lstStyle/>
            <a:p>
              <a:pPr algn="dist"/>
              <a:r>
                <a:rPr lang="zh-CN" altLang="en-US" sz="2800" dirty="0">
                  <a:solidFill>
                    <a:schemeClr val="bg1"/>
                  </a:solidFill>
                  <a:latin typeface="+mj-ea"/>
                  <a:ea typeface="+mj-ea"/>
                </a:rPr>
                <a:t>关键词标题</a:t>
              </a:r>
            </a:p>
          </p:txBody>
        </p:sp>
        <p:sp>
          <p:nvSpPr>
            <p:cNvPr id="29" name="文本框 28">
              <a:extLst>
                <a:ext uri="{FF2B5EF4-FFF2-40B4-BE49-F238E27FC236}">
                  <a16:creationId xmlns:a16="http://schemas.microsoft.com/office/drawing/2014/main" id="{58180A2F-8F29-47EC-AAB7-59ADF80421EB}"/>
                </a:ext>
              </a:extLst>
            </p:cNvPr>
            <p:cNvSpPr txBox="1"/>
            <p:nvPr/>
          </p:nvSpPr>
          <p:spPr>
            <a:xfrm>
              <a:off x="1481041" y="2872951"/>
              <a:ext cx="2008442" cy="1102353"/>
            </a:xfrm>
            <a:prstGeom prst="rect">
              <a:avLst/>
            </a:prstGeom>
            <a:noFill/>
          </p:spPr>
          <p:txBody>
            <a:bodyPr wrap="square" lIns="0" tIns="0" rIns="0" bIns="0" rtlCol="0" anchor="t">
              <a:spAutoFit/>
            </a:bodyPr>
            <a:lstStyle/>
            <a:p>
              <a:pPr algn="ctr">
                <a:lnSpc>
                  <a:spcPct val="130000"/>
                </a:lnSpc>
              </a:pPr>
              <a:r>
                <a:rPr lang="en-US" altLang="zh-CN" sz="1400" b="0" dirty="0">
                  <a:solidFill>
                    <a:schemeClr val="bg1"/>
                  </a:solidFill>
                  <a:effectLst/>
                  <a:latin typeface="+mn-ea"/>
                </a:rPr>
                <a:t>Lorem ipsum dolor sit amet, consectetur adipisicing elit, sed do eiusmod tempor</a:t>
              </a:r>
              <a:endParaRPr lang="zh-CN" altLang="en-US" sz="1400" b="0" dirty="0">
                <a:solidFill>
                  <a:schemeClr val="bg1"/>
                </a:solidFill>
                <a:effectLst/>
                <a:latin typeface="+mn-ea"/>
              </a:endParaRPr>
            </a:p>
          </p:txBody>
        </p:sp>
      </p:grpSp>
      <p:grpSp>
        <p:nvGrpSpPr>
          <p:cNvPr id="30" name="组合 29">
            <a:extLst>
              <a:ext uri="{FF2B5EF4-FFF2-40B4-BE49-F238E27FC236}">
                <a16:creationId xmlns:a16="http://schemas.microsoft.com/office/drawing/2014/main" id="{97408E2F-1726-4E8E-A2B5-92F0BC759F0B}"/>
              </a:ext>
            </a:extLst>
          </p:cNvPr>
          <p:cNvGrpSpPr/>
          <p:nvPr/>
        </p:nvGrpSpPr>
        <p:grpSpPr>
          <a:xfrm>
            <a:off x="9093518" y="1929384"/>
            <a:ext cx="2606040" cy="2999232"/>
            <a:chOff x="1161288" y="1929384"/>
            <a:chExt cx="2606040" cy="2999232"/>
          </a:xfrm>
        </p:grpSpPr>
        <p:sp>
          <p:nvSpPr>
            <p:cNvPr id="31" name="矩形: 圆角 30">
              <a:extLst>
                <a:ext uri="{FF2B5EF4-FFF2-40B4-BE49-F238E27FC236}">
                  <a16:creationId xmlns:a16="http://schemas.microsoft.com/office/drawing/2014/main" id="{9A516C9D-E83F-44FC-B776-028D0C694904}"/>
                </a:ext>
              </a:extLst>
            </p:cNvPr>
            <p:cNvSpPr/>
            <p:nvPr/>
          </p:nvSpPr>
          <p:spPr>
            <a:xfrm>
              <a:off x="1161288" y="1929384"/>
              <a:ext cx="2606040" cy="2999232"/>
            </a:xfrm>
            <a:prstGeom prst="roundRect">
              <a:avLst>
                <a:gd name="adj" fmla="val 8246"/>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32" name="文本框 31">
              <a:extLst>
                <a:ext uri="{FF2B5EF4-FFF2-40B4-BE49-F238E27FC236}">
                  <a16:creationId xmlns:a16="http://schemas.microsoft.com/office/drawing/2014/main" id="{F6F2520A-5C20-4FCB-AE5C-1DFE09339614}"/>
                </a:ext>
              </a:extLst>
            </p:cNvPr>
            <p:cNvSpPr txBox="1"/>
            <p:nvPr/>
          </p:nvSpPr>
          <p:spPr>
            <a:xfrm>
              <a:off x="1587581" y="2383309"/>
              <a:ext cx="1795363" cy="430887"/>
            </a:xfrm>
            <a:prstGeom prst="rect">
              <a:avLst/>
            </a:prstGeom>
            <a:noFill/>
          </p:spPr>
          <p:txBody>
            <a:bodyPr wrap="none" lIns="0" tIns="0" rIns="0" bIns="0" rtlCol="0" anchor="t">
              <a:spAutoFit/>
            </a:bodyPr>
            <a:lstStyle/>
            <a:p>
              <a:pPr algn="dist"/>
              <a:r>
                <a:rPr lang="zh-CN" altLang="en-US" sz="2800" dirty="0">
                  <a:solidFill>
                    <a:schemeClr val="bg1"/>
                  </a:solidFill>
                  <a:latin typeface="+mj-ea"/>
                  <a:ea typeface="+mj-ea"/>
                </a:rPr>
                <a:t>关键词标题</a:t>
              </a:r>
            </a:p>
          </p:txBody>
        </p:sp>
        <p:sp>
          <p:nvSpPr>
            <p:cNvPr id="33" name="文本框 32">
              <a:extLst>
                <a:ext uri="{FF2B5EF4-FFF2-40B4-BE49-F238E27FC236}">
                  <a16:creationId xmlns:a16="http://schemas.microsoft.com/office/drawing/2014/main" id="{63848042-998B-415F-B7D6-A767FBB9DF09}"/>
                </a:ext>
              </a:extLst>
            </p:cNvPr>
            <p:cNvSpPr txBox="1"/>
            <p:nvPr/>
          </p:nvSpPr>
          <p:spPr>
            <a:xfrm>
              <a:off x="1481041" y="2872951"/>
              <a:ext cx="2008442" cy="1102353"/>
            </a:xfrm>
            <a:prstGeom prst="rect">
              <a:avLst/>
            </a:prstGeom>
            <a:noFill/>
          </p:spPr>
          <p:txBody>
            <a:bodyPr wrap="square" lIns="0" tIns="0" rIns="0" bIns="0" rtlCol="0" anchor="t">
              <a:spAutoFit/>
            </a:bodyPr>
            <a:lstStyle/>
            <a:p>
              <a:pPr algn="ctr">
                <a:lnSpc>
                  <a:spcPct val="130000"/>
                </a:lnSpc>
              </a:pPr>
              <a:r>
                <a:rPr lang="en-US" altLang="zh-CN" sz="1400" b="0" dirty="0">
                  <a:solidFill>
                    <a:schemeClr val="bg1"/>
                  </a:solidFill>
                  <a:effectLst/>
                  <a:latin typeface="+mn-ea"/>
                </a:rPr>
                <a:t>Lorem ipsum dolor sit amet, consectetur adipisicing elit, sed do eiusmod tempor</a:t>
              </a:r>
              <a:endParaRPr lang="zh-CN" altLang="en-US" sz="1400" b="0" dirty="0">
                <a:solidFill>
                  <a:schemeClr val="bg1"/>
                </a:solidFill>
                <a:effectLst/>
                <a:latin typeface="+mn-ea"/>
              </a:endParaRPr>
            </a:p>
          </p:txBody>
        </p:sp>
      </p:grpSp>
    </p:spTree>
    <p:extLst>
      <p:ext uri="{BB962C8B-B14F-4D97-AF65-F5344CB8AC3E}">
        <p14:creationId xmlns:p14="http://schemas.microsoft.com/office/powerpoint/2010/main" val="21730527"/>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任意多边形: 形状 21">
            <a:extLst>
              <a:ext uri="{FF2B5EF4-FFF2-40B4-BE49-F238E27FC236}">
                <a16:creationId xmlns:a16="http://schemas.microsoft.com/office/drawing/2014/main" id="{F09885BE-F905-492F-B6C3-3FCCCF437CFD}"/>
              </a:ext>
            </a:extLst>
          </p:cNvPr>
          <p:cNvSpPr/>
          <p:nvPr/>
        </p:nvSpPr>
        <p:spPr>
          <a:xfrm rot="10800000">
            <a:off x="1658112" y="1545336"/>
            <a:ext cx="8875776" cy="4117848"/>
          </a:xfrm>
          <a:custGeom>
            <a:avLst/>
            <a:gdLst>
              <a:gd name="connsiteX0" fmla="*/ 8875776 w 8875776"/>
              <a:gd name="connsiteY0" fmla="*/ 4117848 h 4117848"/>
              <a:gd name="connsiteX1" fmla="*/ 0 w 8875776"/>
              <a:gd name="connsiteY1" fmla="*/ 4117848 h 4117848"/>
              <a:gd name="connsiteX2" fmla="*/ 0 w 8875776"/>
              <a:gd name="connsiteY2" fmla="*/ 701040 h 4117848"/>
              <a:gd name="connsiteX3" fmla="*/ 0 w 8875776"/>
              <a:gd name="connsiteY3" fmla="*/ 670560 h 4117848"/>
              <a:gd name="connsiteX4" fmla="*/ 0 w 8875776"/>
              <a:gd name="connsiteY4" fmla="*/ 0 h 4117848"/>
              <a:gd name="connsiteX5" fmla="*/ 670560 w 8875776"/>
              <a:gd name="connsiteY5" fmla="*/ 670560 h 4117848"/>
              <a:gd name="connsiteX6" fmla="*/ 8875776 w 8875776"/>
              <a:gd name="connsiteY6" fmla="*/ 670560 h 4117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875776" h="4117848">
                <a:moveTo>
                  <a:pt x="8875776" y="4117848"/>
                </a:moveTo>
                <a:lnTo>
                  <a:pt x="0" y="4117848"/>
                </a:lnTo>
                <a:lnTo>
                  <a:pt x="0" y="701040"/>
                </a:lnTo>
                <a:lnTo>
                  <a:pt x="0" y="670560"/>
                </a:lnTo>
                <a:lnTo>
                  <a:pt x="0" y="0"/>
                </a:lnTo>
                <a:lnTo>
                  <a:pt x="670560" y="670560"/>
                </a:lnTo>
                <a:lnTo>
                  <a:pt x="8875776" y="67056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6000" dirty="0"/>
          </a:p>
        </p:txBody>
      </p:sp>
      <p:sp>
        <p:nvSpPr>
          <p:cNvPr id="11" name="文本框 10">
            <a:extLst>
              <a:ext uri="{FF2B5EF4-FFF2-40B4-BE49-F238E27FC236}">
                <a16:creationId xmlns:a16="http://schemas.microsoft.com/office/drawing/2014/main" id="{E4393356-E9A7-46D9-B5F5-0D21EC991A29}"/>
              </a:ext>
            </a:extLst>
          </p:cNvPr>
          <p:cNvSpPr txBox="1"/>
          <p:nvPr/>
        </p:nvSpPr>
        <p:spPr>
          <a:xfrm>
            <a:off x="1941017" y="2813447"/>
            <a:ext cx="8309967" cy="1107996"/>
          </a:xfrm>
          <a:prstGeom prst="rect">
            <a:avLst/>
          </a:prstGeom>
          <a:noFill/>
        </p:spPr>
        <p:txBody>
          <a:bodyPr wrap="none" lIns="0" tIns="0" rIns="0" bIns="0" rtlCol="0" anchor="t">
            <a:spAutoFit/>
          </a:bodyPr>
          <a:lstStyle/>
          <a:p>
            <a:pPr algn="ctr"/>
            <a:r>
              <a:rPr lang="zh-CN" altLang="en-US" sz="7200" dirty="0">
                <a:solidFill>
                  <a:schemeClr val="bg1"/>
                </a:solidFill>
                <a:latin typeface="+mj-ea"/>
                <a:ea typeface="+mj-ea"/>
              </a:rPr>
              <a:t>输入你的封面大标题</a:t>
            </a:r>
          </a:p>
        </p:txBody>
      </p:sp>
      <p:sp>
        <p:nvSpPr>
          <p:cNvPr id="12" name="文本框 11">
            <a:extLst>
              <a:ext uri="{FF2B5EF4-FFF2-40B4-BE49-F238E27FC236}">
                <a16:creationId xmlns:a16="http://schemas.microsoft.com/office/drawing/2014/main" id="{08D1ED60-C0E7-408E-A5AA-59B489440FCB}"/>
              </a:ext>
            </a:extLst>
          </p:cNvPr>
          <p:cNvSpPr txBox="1"/>
          <p:nvPr/>
        </p:nvSpPr>
        <p:spPr>
          <a:xfrm>
            <a:off x="4095451" y="2275523"/>
            <a:ext cx="4001095" cy="369332"/>
          </a:xfrm>
          <a:prstGeom prst="rect">
            <a:avLst/>
          </a:prstGeom>
          <a:noFill/>
        </p:spPr>
        <p:txBody>
          <a:bodyPr wrap="none" lIns="0" tIns="0" rIns="0" bIns="0" rtlCol="0" anchor="t">
            <a:spAutoFit/>
          </a:bodyPr>
          <a:lstStyle/>
          <a:p>
            <a:pPr algn="ctr"/>
            <a:r>
              <a:rPr lang="zh-CN" altLang="en-US" sz="2400" dirty="0">
                <a:solidFill>
                  <a:schemeClr val="bg1"/>
                </a:solidFill>
                <a:latin typeface="+mn-ea"/>
              </a:rPr>
              <a:t>输入你的副标题或大标题英文</a:t>
            </a:r>
          </a:p>
        </p:txBody>
      </p:sp>
      <p:cxnSp>
        <p:nvCxnSpPr>
          <p:cNvPr id="14" name="直接连接符 13">
            <a:extLst>
              <a:ext uri="{FF2B5EF4-FFF2-40B4-BE49-F238E27FC236}">
                <a16:creationId xmlns:a16="http://schemas.microsoft.com/office/drawing/2014/main" id="{99FDF5DC-EAFA-4C3B-B052-660243EB047F}"/>
              </a:ext>
            </a:extLst>
          </p:cNvPr>
          <p:cNvCxnSpPr/>
          <p:nvPr/>
        </p:nvCxnSpPr>
        <p:spPr>
          <a:xfrm flipH="1">
            <a:off x="2029968" y="2465975"/>
            <a:ext cx="1901952"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 name="直接连接符 14">
            <a:extLst>
              <a:ext uri="{FF2B5EF4-FFF2-40B4-BE49-F238E27FC236}">
                <a16:creationId xmlns:a16="http://schemas.microsoft.com/office/drawing/2014/main" id="{C6CC629A-E754-4728-BB95-563C56597B63}"/>
              </a:ext>
            </a:extLst>
          </p:cNvPr>
          <p:cNvCxnSpPr/>
          <p:nvPr/>
        </p:nvCxnSpPr>
        <p:spPr>
          <a:xfrm flipH="1">
            <a:off x="8284464" y="2465975"/>
            <a:ext cx="1901952"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grpSp>
        <p:nvGrpSpPr>
          <p:cNvPr id="18" name="组合 17">
            <a:extLst>
              <a:ext uri="{FF2B5EF4-FFF2-40B4-BE49-F238E27FC236}">
                <a16:creationId xmlns:a16="http://schemas.microsoft.com/office/drawing/2014/main" id="{FC799265-AC15-410F-82A2-679AB60B288F}"/>
              </a:ext>
            </a:extLst>
          </p:cNvPr>
          <p:cNvGrpSpPr/>
          <p:nvPr/>
        </p:nvGrpSpPr>
        <p:grpSpPr>
          <a:xfrm>
            <a:off x="4331702" y="4145803"/>
            <a:ext cx="1475214" cy="246221"/>
            <a:chOff x="4095451" y="4640913"/>
            <a:chExt cx="1475214" cy="246221"/>
          </a:xfrm>
        </p:grpSpPr>
        <p:sp>
          <p:nvSpPr>
            <p:cNvPr id="16" name="矩形 15">
              <a:extLst>
                <a:ext uri="{FF2B5EF4-FFF2-40B4-BE49-F238E27FC236}">
                  <a16:creationId xmlns:a16="http://schemas.microsoft.com/office/drawing/2014/main" id="{74C493E7-1B47-4349-BC5B-BF3163490795}"/>
                </a:ext>
              </a:extLst>
            </p:cNvPr>
            <p:cNvSpPr/>
            <p:nvPr/>
          </p:nvSpPr>
          <p:spPr>
            <a:xfrm>
              <a:off x="4095451" y="4672584"/>
              <a:ext cx="164592" cy="1645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solidFill>
                  <a:schemeClr val="bg1"/>
                </a:solidFill>
              </a:endParaRPr>
            </a:p>
          </p:txBody>
        </p:sp>
        <p:sp>
          <p:nvSpPr>
            <p:cNvPr id="17" name="文本框 16">
              <a:extLst>
                <a:ext uri="{FF2B5EF4-FFF2-40B4-BE49-F238E27FC236}">
                  <a16:creationId xmlns:a16="http://schemas.microsoft.com/office/drawing/2014/main" id="{B804F6AA-7656-4EF8-84F0-3B3FB5CF0922}"/>
                </a:ext>
              </a:extLst>
            </p:cNvPr>
            <p:cNvSpPr txBox="1"/>
            <p:nvPr/>
          </p:nvSpPr>
          <p:spPr>
            <a:xfrm>
              <a:off x="4408487" y="4640913"/>
              <a:ext cx="1162178" cy="246221"/>
            </a:xfrm>
            <a:prstGeom prst="rect">
              <a:avLst/>
            </a:prstGeom>
            <a:noFill/>
          </p:spPr>
          <p:txBody>
            <a:bodyPr wrap="none" lIns="0" tIns="0" rIns="0" bIns="0" rtlCol="0" anchor="t">
              <a:spAutoFit/>
            </a:bodyPr>
            <a:lstStyle/>
            <a:p>
              <a:r>
                <a:rPr lang="zh-CN" altLang="en-US" sz="1600" dirty="0">
                  <a:solidFill>
                    <a:schemeClr val="bg1"/>
                  </a:solidFill>
                  <a:latin typeface="+mn-ea"/>
                </a:rPr>
                <a:t>汇报人：</a:t>
              </a:r>
              <a:r>
                <a:rPr lang="en-US" altLang="zh-CN" sz="1600" dirty="0">
                  <a:solidFill>
                    <a:schemeClr val="bg1"/>
                  </a:solidFill>
                  <a:latin typeface="+mn-ea"/>
                </a:rPr>
                <a:t>xxx</a:t>
              </a:r>
              <a:endParaRPr lang="zh-CN" altLang="en-US" sz="1600" dirty="0">
                <a:solidFill>
                  <a:schemeClr val="bg1"/>
                </a:solidFill>
                <a:latin typeface="+mn-ea"/>
              </a:endParaRPr>
            </a:p>
          </p:txBody>
        </p:sp>
      </p:grpSp>
      <p:grpSp>
        <p:nvGrpSpPr>
          <p:cNvPr id="19" name="组合 18">
            <a:extLst>
              <a:ext uri="{FF2B5EF4-FFF2-40B4-BE49-F238E27FC236}">
                <a16:creationId xmlns:a16="http://schemas.microsoft.com/office/drawing/2014/main" id="{482B1619-178E-45D1-BC39-C5F4314075B6}"/>
              </a:ext>
            </a:extLst>
          </p:cNvPr>
          <p:cNvGrpSpPr/>
          <p:nvPr/>
        </p:nvGrpSpPr>
        <p:grpSpPr>
          <a:xfrm>
            <a:off x="6590270" y="4145803"/>
            <a:ext cx="1270029" cy="246221"/>
            <a:chOff x="4095451" y="4640913"/>
            <a:chExt cx="1270029" cy="246221"/>
          </a:xfrm>
        </p:grpSpPr>
        <p:sp>
          <p:nvSpPr>
            <p:cNvPr id="20" name="矩形 19">
              <a:extLst>
                <a:ext uri="{FF2B5EF4-FFF2-40B4-BE49-F238E27FC236}">
                  <a16:creationId xmlns:a16="http://schemas.microsoft.com/office/drawing/2014/main" id="{3A1AE345-38CE-49BE-9E58-2C20078777A3}"/>
                </a:ext>
              </a:extLst>
            </p:cNvPr>
            <p:cNvSpPr/>
            <p:nvPr/>
          </p:nvSpPr>
          <p:spPr>
            <a:xfrm>
              <a:off x="4095451" y="4672584"/>
              <a:ext cx="164592" cy="1645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solidFill>
                  <a:schemeClr val="bg1"/>
                </a:solidFill>
              </a:endParaRPr>
            </a:p>
          </p:txBody>
        </p:sp>
        <p:sp>
          <p:nvSpPr>
            <p:cNvPr id="21" name="文本框 20">
              <a:extLst>
                <a:ext uri="{FF2B5EF4-FFF2-40B4-BE49-F238E27FC236}">
                  <a16:creationId xmlns:a16="http://schemas.microsoft.com/office/drawing/2014/main" id="{FCC3031D-C171-43E7-B549-82FC96054817}"/>
                </a:ext>
              </a:extLst>
            </p:cNvPr>
            <p:cNvSpPr txBox="1"/>
            <p:nvPr/>
          </p:nvSpPr>
          <p:spPr>
            <a:xfrm>
              <a:off x="4408487" y="4640913"/>
              <a:ext cx="956993" cy="246221"/>
            </a:xfrm>
            <a:prstGeom prst="rect">
              <a:avLst/>
            </a:prstGeom>
            <a:noFill/>
          </p:spPr>
          <p:txBody>
            <a:bodyPr wrap="none" lIns="0" tIns="0" rIns="0" bIns="0" rtlCol="0" anchor="t">
              <a:spAutoFit/>
            </a:bodyPr>
            <a:lstStyle/>
            <a:p>
              <a:r>
                <a:rPr lang="zh-CN" altLang="en-US" sz="1600" dirty="0">
                  <a:solidFill>
                    <a:schemeClr val="bg1"/>
                  </a:solidFill>
                  <a:latin typeface="+mn-ea"/>
                </a:rPr>
                <a:t>单位：</a:t>
              </a:r>
              <a:r>
                <a:rPr lang="en-US" altLang="zh-CN" sz="1600" dirty="0">
                  <a:solidFill>
                    <a:schemeClr val="bg1"/>
                  </a:solidFill>
                  <a:latin typeface="+mn-ea"/>
                </a:rPr>
                <a:t>xxx</a:t>
              </a:r>
              <a:endParaRPr lang="zh-CN" altLang="en-US" sz="1600" dirty="0">
                <a:solidFill>
                  <a:schemeClr val="bg1"/>
                </a:solidFill>
                <a:latin typeface="+mn-ea"/>
              </a:endParaRPr>
            </a:p>
          </p:txBody>
        </p:sp>
      </p:grpSp>
    </p:spTree>
    <p:extLst>
      <p:ext uri="{BB962C8B-B14F-4D97-AF65-F5344CB8AC3E}">
        <p14:creationId xmlns:p14="http://schemas.microsoft.com/office/powerpoint/2010/main" val="3147349097"/>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2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任意形状 9">
            <a:extLst>
              <a:ext uri="{FF2B5EF4-FFF2-40B4-BE49-F238E27FC236}">
                <a16:creationId xmlns:a16="http://schemas.microsoft.com/office/drawing/2014/main" id="{79C0392D-8AB4-4C9C-BB47-E593C645F444}"/>
              </a:ext>
            </a:extLst>
          </p:cNvPr>
          <p:cNvSpPr/>
          <p:nvPr/>
        </p:nvSpPr>
        <p:spPr>
          <a:xfrm>
            <a:off x="0" y="6457950"/>
            <a:ext cx="12192000" cy="400050"/>
          </a:xfrm>
          <a:custGeom>
            <a:avLst/>
            <a:gdLst>
              <a:gd name="connsiteX0" fmla="*/ 12192000 w 12192000"/>
              <a:gd name="connsiteY0" fmla="*/ 0 h 329410"/>
              <a:gd name="connsiteX1" fmla="*/ 12192000 w 12192000"/>
              <a:gd name="connsiteY1" fmla="*/ 329410 h 329410"/>
              <a:gd name="connsiteX2" fmla="*/ 0 w 12192000"/>
              <a:gd name="connsiteY2" fmla="*/ 329410 h 329410"/>
              <a:gd name="connsiteX3" fmla="*/ 0 w 12192000"/>
              <a:gd name="connsiteY3" fmla="*/ 29375 h 329410"/>
              <a:gd name="connsiteX4" fmla="*/ 577089 w 12192000"/>
              <a:gd name="connsiteY4" fmla="*/ 49593 h 329410"/>
              <a:gd name="connsiteX5" fmla="*/ 5704114 w 12192000"/>
              <a:gd name="connsiteY5" fmla="*/ 124873 h 329410"/>
              <a:gd name="connsiteX6" fmla="*/ 11982536 w 12192000"/>
              <a:gd name="connsiteY6" fmla="*/ 9255 h 329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329410">
                <a:moveTo>
                  <a:pt x="12192000" y="0"/>
                </a:moveTo>
                <a:lnTo>
                  <a:pt x="12192000" y="329410"/>
                </a:lnTo>
                <a:lnTo>
                  <a:pt x="0" y="329410"/>
                </a:lnTo>
                <a:lnTo>
                  <a:pt x="0" y="29375"/>
                </a:lnTo>
                <a:lnTo>
                  <a:pt x="577089" y="49593"/>
                </a:lnTo>
                <a:cubicBezTo>
                  <a:pt x="2152931" y="98068"/>
                  <a:pt x="3885480" y="124873"/>
                  <a:pt x="5704114" y="124873"/>
                </a:cubicBezTo>
                <a:cubicBezTo>
                  <a:pt x="7977407" y="124873"/>
                  <a:pt x="10116192" y="82990"/>
                  <a:pt x="11982536" y="9255"/>
                </a:cubicBezTo>
                <a:close/>
              </a:path>
            </a:pathLst>
          </a:custGeom>
          <a:solidFill>
            <a:schemeClr val="accent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zh-CN" altLang="en-US"/>
          </a:p>
        </p:txBody>
      </p:sp>
      <p:sp>
        <p:nvSpPr>
          <p:cNvPr id="4" name="矩形 3">
            <a:extLst>
              <a:ext uri="{FF2B5EF4-FFF2-40B4-BE49-F238E27FC236}">
                <a16:creationId xmlns:a16="http://schemas.microsoft.com/office/drawing/2014/main" id="{4FD8F3A2-AB91-4A3D-A898-B7CBE3EEF210}"/>
              </a:ext>
            </a:extLst>
          </p:cNvPr>
          <p:cNvSpPr/>
          <p:nvPr/>
        </p:nvSpPr>
        <p:spPr>
          <a:xfrm>
            <a:off x="347384" y="347384"/>
            <a:ext cx="221735" cy="221735"/>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7" name="矩形: 圆角 6">
            <a:extLst>
              <a:ext uri="{FF2B5EF4-FFF2-40B4-BE49-F238E27FC236}">
                <a16:creationId xmlns:a16="http://schemas.microsoft.com/office/drawing/2014/main" id="{7BEAE8DC-9230-44AB-B70F-407BAFB7694E}"/>
              </a:ext>
            </a:extLst>
          </p:cNvPr>
          <p:cNvSpPr/>
          <p:nvPr/>
        </p:nvSpPr>
        <p:spPr>
          <a:xfrm>
            <a:off x="623316" y="1792224"/>
            <a:ext cx="2606040" cy="3621024"/>
          </a:xfrm>
          <a:prstGeom prst="roundRect">
            <a:avLst>
              <a:gd name="adj" fmla="val 8246"/>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10" name="文本框 9">
            <a:extLst>
              <a:ext uri="{FF2B5EF4-FFF2-40B4-BE49-F238E27FC236}">
                <a16:creationId xmlns:a16="http://schemas.microsoft.com/office/drawing/2014/main" id="{A771ED46-CF2D-497D-AED2-92EB3807D5B9}"/>
              </a:ext>
            </a:extLst>
          </p:cNvPr>
          <p:cNvSpPr txBox="1"/>
          <p:nvPr/>
        </p:nvSpPr>
        <p:spPr>
          <a:xfrm>
            <a:off x="1049609" y="3009506"/>
            <a:ext cx="1795363" cy="430887"/>
          </a:xfrm>
          <a:prstGeom prst="rect">
            <a:avLst/>
          </a:prstGeom>
          <a:noFill/>
        </p:spPr>
        <p:txBody>
          <a:bodyPr wrap="none" lIns="0" tIns="0" rIns="0" bIns="0" rtlCol="0" anchor="t">
            <a:spAutoFit/>
          </a:bodyPr>
          <a:lstStyle/>
          <a:p>
            <a:pPr algn="dist"/>
            <a:r>
              <a:rPr lang="zh-CN" altLang="en-US" sz="2800" dirty="0">
                <a:solidFill>
                  <a:schemeClr val="bg1"/>
                </a:solidFill>
                <a:latin typeface="+mj-ea"/>
                <a:ea typeface="+mj-ea"/>
              </a:rPr>
              <a:t>关键词标题</a:t>
            </a:r>
          </a:p>
        </p:txBody>
      </p:sp>
      <p:sp>
        <p:nvSpPr>
          <p:cNvPr id="11" name="文本框 10">
            <a:extLst>
              <a:ext uri="{FF2B5EF4-FFF2-40B4-BE49-F238E27FC236}">
                <a16:creationId xmlns:a16="http://schemas.microsoft.com/office/drawing/2014/main" id="{E9529F98-A975-4553-8FF6-DCB0233D4C1F}"/>
              </a:ext>
            </a:extLst>
          </p:cNvPr>
          <p:cNvSpPr txBox="1"/>
          <p:nvPr/>
        </p:nvSpPr>
        <p:spPr>
          <a:xfrm>
            <a:off x="943069" y="3499148"/>
            <a:ext cx="2008442" cy="1102353"/>
          </a:xfrm>
          <a:prstGeom prst="rect">
            <a:avLst/>
          </a:prstGeom>
          <a:noFill/>
        </p:spPr>
        <p:txBody>
          <a:bodyPr wrap="square" lIns="0" tIns="0" rIns="0" bIns="0" rtlCol="0" anchor="t">
            <a:spAutoFit/>
          </a:bodyPr>
          <a:lstStyle/>
          <a:p>
            <a:pPr algn="ctr">
              <a:lnSpc>
                <a:spcPct val="130000"/>
              </a:lnSpc>
            </a:pPr>
            <a:r>
              <a:rPr lang="en-US" altLang="zh-CN" sz="1400" b="0" dirty="0">
                <a:solidFill>
                  <a:schemeClr val="bg1"/>
                </a:solidFill>
                <a:effectLst/>
                <a:latin typeface="+mn-ea"/>
              </a:rPr>
              <a:t>Lorem ipsum dolor sit amet, consectetur adipisicing elit, sed do eiusmod tempor</a:t>
            </a:r>
            <a:endParaRPr lang="zh-CN" altLang="en-US" sz="1400" b="0" dirty="0">
              <a:solidFill>
                <a:schemeClr val="bg1"/>
              </a:solidFill>
              <a:effectLst/>
              <a:latin typeface="+mn-ea"/>
            </a:endParaRPr>
          </a:p>
        </p:txBody>
      </p:sp>
      <p:sp>
        <p:nvSpPr>
          <p:cNvPr id="8" name="椭圆 7">
            <a:extLst>
              <a:ext uri="{FF2B5EF4-FFF2-40B4-BE49-F238E27FC236}">
                <a16:creationId xmlns:a16="http://schemas.microsoft.com/office/drawing/2014/main" id="{1C4766AB-F6B8-4A91-AE46-C1381A2013D1}"/>
              </a:ext>
            </a:extLst>
          </p:cNvPr>
          <p:cNvSpPr/>
          <p:nvPr/>
        </p:nvSpPr>
        <p:spPr>
          <a:xfrm>
            <a:off x="1582674" y="2145492"/>
            <a:ext cx="676656" cy="676656"/>
          </a:xfrm>
          <a:prstGeom prst="ellipse">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050" dirty="0">
                <a:solidFill>
                  <a:schemeClr val="bg1"/>
                </a:solidFill>
                <a:latin typeface="+mj-ea"/>
                <a:ea typeface="+mj-ea"/>
              </a:rPr>
              <a:t>icon</a:t>
            </a:r>
            <a:endParaRPr lang="zh-CN" altLang="en-US" sz="1050" dirty="0">
              <a:solidFill>
                <a:schemeClr val="bg1"/>
              </a:solidFill>
              <a:latin typeface="+mj-ea"/>
              <a:ea typeface="+mj-ea"/>
            </a:endParaRPr>
          </a:p>
        </p:txBody>
      </p:sp>
      <p:sp>
        <p:nvSpPr>
          <p:cNvPr id="22" name="矩形: 圆角 21">
            <a:extLst>
              <a:ext uri="{FF2B5EF4-FFF2-40B4-BE49-F238E27FC236}">
                <a16:creationId xmlns:a16="http://schemas.microsoft.com/office/drawing/2014/main" id="{0BC0B50D-5C4E-4436-BA18-E5C69C5E41A4}"/>
              </a:ext>
            </a:extLst>
          </p:cNvPr>
          <p:cNvSpPr/>
          <p:nvPr/>
        </p:nvSpPr>
        <p:spPr>
          <a:xfrm>
            <a:off x="3403092" y="1792224"/>
            <a:ext cx="2606040" cy="3621024"/>
          </a:xfrm>
          <a:prstGeom prst="roundRect">
            <a:avLst>
              <a:gd name="adj" fmla="val 8246"/>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23" name="文本框 22">
            <a:extLst>
              <a:ext uri="{FF2B5EF4-FFF2-40B4-BE49-F238E27FC236}">
                <a16:creationId xmlns:a16="http://schemas.microsoft.com/office/drawing/2014/main" id="{52F155AE-E059-4BA8-94D4-A7AF55968F54}"/>
              </a:ext>
            </a:extLst>
          </p:cNvPr>
          <p:cNvSpPr txBox="1"/>
          <p:nvPr/>
        </p:nvSpPr>
        <p:spPr>
          <a:xfrm>
            <a:off x="3829385" y="3009506"/>
            <a:ext cx="1795363" cy="430887"/>
          </a:xfrm>
          <a:prstGeom prst="rect">
            <a:avLst/>
          </a:prstGeom>
          <a:noFill/>
        </p:spPr>
        <p:txBody>
          <a:bodyPr wrap="none" lIns="0" tIns="0" rIns="0" bIns="0" rtlCol="0" anchor="t">
            <a:spAutoFit/>
          </a:bodyPr>
          <a:lstStyle/>
          <a:p>
            <a:pPr algn="dist"/>
            <a:r>
              <a:rPr lang="zh-CN" altLang="en-US" sz="2800" dirty="0">
                <a:solidFill>
                  <a:schemeClr val="bg1"/>
                </a:solidFill>
                <a:latin typeface="+mj-ea"/>
                <a:ea typeface="+mj-ea"/>
              </a:rPr>
              <a:t>关键词标题</a:t>
            </a:r>
          </a:p>
        </p:txBody>
      </p:sp>
      <p:sp>
        <p:nvSpPr>
          <p:cNvPr id="24" name="文本框 23">
            <a:extLst>
              <a:ext uri="{FF2B5EF4-FFF2-40B4-BE49-F238E27FC236}">
                <a16:creationId xmlns:a16="http://schemas.microsoft.com/office/drawing/2014/main" id="{E0F089CB-A524-46C0-9432-751E08333DFB}"/>
              </a:ext>
            </a:extLst>
          </p:cNvPr>
          <p:cNvSpPr txBox="1"/>
          <p:nvPr/>
        </p:nvSpPr>
        <p:spPr>
          <a:xfrm>
            <a:off x="3722845" y="3499148"/>
            <a:ext cx="2008442" cy="1102353"/>
          </a:xfrm>
          <a:prstGeom prst="rect">
            <a:avLst/>
          </a:prstGeom>
          <a:noFill/>
        </p:spPr>
        <p:txBody>
          <a:bodyPr wrap="square" lIns="0" tIns="0" rIns="0" bIns="0" rtlCol="0" anchor="t">
            <a:spAutoFit/>
          </a:bodyPr>
          <a:lstStyle/>
          <a:p>
            <a:pPr algn="ctr">
              <a:lnSpc>
                <a:spcPct val="130000"/>
              </a:lnSpc>
            </a:pPr>
            <a:r>
              <a:rPr lang="en-US" altLang="zh-CN" sz="1400" b="0" dirty="0">
                <a:solidFill>
                  <a:schemeClr val="bg1"/>
                </a:solidFill>
                <a:effectLst/>
                <a:latin typeface="+mn-ea"/>
              </a:rPr>
              <a:t>Lorem ipsum dolor sit amet, consectetur adipisicing elit, sed do eiusmod tempor</a:t>
            </a:r>
            <a:endParaRPr lang="zh-CN" altLang="en-US" sz="1400" b="0" dirty="0">
              <a:solidFill>
                <a:schemeClr val="bg1"/>
              </a:solidFill>
              <a:effectLst/>
              <a:latin typeface="+mn-ea"/>
            </a:endParaRPr>
          </a:p>
        </p:txBody>
      </p:sp>
      <p:sp>
        <p:nvSpPr>
          <p:cNvPr id="25" name="椭圆 24">
            <a:extLst>
              <a:ext uri="{FF2B5EF4-FFF2-40B4-BE49-F238E27FC236}">
                <a16:creationId xmlns:a16="http://schemas.microsoft.com/office/drawing/2014/main" id="{03558B3B-FD54-43B7-ABA9-7F4AF2A45A20}"/>
              </a:ext>
            </a:extLst>
          </p:cNvPr>
          <p:cNvSpPr/>
          <p:nvPr/>
        </p:nvSpPr>
        <p:spPr>
          <a:xfrm>
            <a:off x="4362450" y="2145492"/>
            <a:ext cx="676656" cy="676656"/>
          </a:xfrm>
          <a:prstGeom prst="ellipse">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050" dirty="0">
                <a:solidFill>
                  <a:schemeClr val="bg1"/>
                </a:solidFill>
                <a:latin typeface="+mj-ea"/>
                <a:ea typeface="+mj-ea"/>
              </a:rPr>
              <a:t>icon</a:t>
            </a:r>
            <a:endParaRPr lang="zh-CN" altLang="en-US" sz="1050" dirty="0">
              <a:solidFill>
                <a:schemeClr val="bg1"/>
              </a:solidFill>
              <a:latin typeface="+mj-ea"/>
              <a:ea typeface="+mj-ea"/>
            </a:endParaRPr>
          </a:p>
        </p:txBody>
      </p:sp>
      <p:sp>
        <p:nvSpPr>
          <p:cNvPr id="27" name="矩形: 圆角 26">
            <a:extLst>
              <a:ext uri="{FF2B5EF4-FFF2-40B4-BE49-F238E27FC236}">
                <a16:creationId xmlns:a16="http://schemas.microsoft.com/office/drawing/2014/main" id="{D3B974F2-FDA2-4345-B6C2-C755596D4FDA}"/>
              </a:ext>
            </a:extLst>
          </p:cNvPr>
          <p:cNvSpPr/>
          <p:nvPr/>
        </p:nvSpPr>
        <p:spPr>
          <a:xfrm>
            <a:off x="6182868" y="1792224"/>
            <a:ext cx="2606040" cy="3621024"/>
          </a:xfrm>
          <a:prstGeom prst="roundRect">
            <a:avLst>
              <a:gd name="adj" fmla="val 8246"/>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28" name="文本框 27">
            <a:extLst>
              <a:ext uri="{FF2B5EF4-FFF2-40B4-BE49-F238E27FC236}">
                <a16:creationId xmlns:a16="http://schemas.microsoft.com/office/drawing/2014/main" id="{5CAB18B2-B1C1-4044-9B26-A85B23C7E31A}"/>
              </a:ext>
            </a:extLst>
          </p:cNvPr>
          <p:cNvSpPr txBox="1"/>
          <p:nvPr/>
        </p:nvSpPr>
        <p:spPr>
          <a:xfrm>
            <a:off x="6609161" y="3009506"/>
            <a:ext cx="1795363" cy="430887"/>
          </a:xfrm>
          <a:prstGeom prst="rect">
            <a:avLst/>
          </a:prstGeom>
          <a:noFill/>
        </p:spPr>
        <p:txBody>
          <a:bodyPr wrap="none" lIns="0" tIns="0" rIns="0" bIns="0" rtlCol="0" anchor="t">
            <a:spAutoFit/>
          </a:bodyPr>
          <a:lstStyle/>
          <a:p>
            <a:pPr algn="dist"/>
            <a:r>
              <a:rPr lang="zh-CN" altLang="en-US" sz="2800" dirty="0">
                <a:solidFill>
                  <a:schemeClr val="bg1"/>
                </a:solidFill>
                <a:latin typeface="+mj-ea"/>
                <a:ea typeface="+mj-ea"/>
              </a:rPr>
              <a:t>关键词标题</a:t>
            </a:r>
          </a:p>
        </p:txBody>
      </p:sp>
      <p:sp>
        <p:nvSpPr>
          <p:cNvPr id="29" name="文本框 28">
            <a:extLst>
              <a:ext uri="{FF2B5EF4-FFF2-40B4-BE49-F238E27FC236}">
                <a16:creationId xmlns:a16="http://schemas.microsoft.com/office/drawing/2014/main" id="{62EB25C1-54A9-4C2F-AA84-355006387DA0}"/>
              </a:ext>
            </a:extLst>
          </p:cNvPr>
          <p:cNvSpPr txBox="1"/>
          <p:nvPr/>
        </p:nvSpPr>
        <p:spPr>
          <a:xfrm>
            <a:off x="6502621" y="3499148"/>
            <a:ext cx="2008442" cy="1102353"/>
          </a:xfrm>
          <a:prstGeom prst="rect">
            <a:avLst/>
          </a:prstGeom>
          <a:noFill/>
        </p:spPr>
        <p:txBody>
          <a:bodyPr wrap="square" lIns="0" tIns="0" rIns="0" bIns="0" rtlCol="0" anchor="t">
            <a:spAutoFit/>
          </a:bodyPr>
          <a:lstStyle/>
          <a:p>
            <a:pPr algn="ctr">
              <a:lnSpc>
                <a:spcPct val="130000"/>
              </a:lnSpc>
            </a:pPr>
            <a:r>
              <a:rPr lang="en-US" altLang="zh-CN" sz="1400" b="0" dirty="0">
                <a:solidFill>
                  <a:schemeClr val="bg1"/>
                </a:solidFill>
                <a:effectLst/>
                <a:latin typeface="+mn-ea"/>
              </a:rPr>
              <a:t>Lorem ipsum dolor sit amet, consectetur adipisicing elit, sed do eiusmod tempor</a:t>
            </a:r>
            <a:endParaRPr lang="zh-CN" altLang="en-US" sz="1400" b="0" dirty="0">
              <a:solidFill>
                <a:schemeClr val="bg1"/>
              </a:solidFill>
              <a:effectLst/>
              <a:latin typeface="+mn-ea"/>
            </a:endParaRPr>
          </a:p>
        </p:txBody>
      </p:sp>
      <p:sp>
        <p:nvSpPr>
          <p:cNvPr id="30" name="椭圆 29">
            <a:extLst>
              <a:ext uri="{FF2B5EF4-FFF2-40B4-BE49-F238E27FC236}">
                <a16:creationId xmlns:a16="http://schemas.microsoft.com/office/drawing/2014/main" id="{AA152A27-0DDA-4A7D-86C5-A4C41B30A3D6}"/>
              </a:ext>
            </a:extLst>
          </p:cNvPr>
          <p:cNvSpPr/>
          <p:nvPr/>
        </p:nvSpPr>
        <p:spPr>
          <a:xfrm>
            <a:off x="7142226" y="2145492"/>
            <a:ext cx="676656" cy="676656"/>
          </a:xfrm>
          <a:prstGeom prst="ellipse">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050" dirty="0">
                <a:solidFill>
                  <a:schemeClr val="bg1"/>
                </a:solidFill>
                <a:latin typeface="+mj-ea"/>
                <a:ea typeface="+mj-ea"/>
              </a:rPr>
              <a:t>icon</a:t>
            </a:r>
            <a:endParaRPr lang="zh-CN" altLang="en-US" sz="1050" dirty="0">
              <a:solidFill>
                <a:schemeClr val="bg1"/>
              </a:solidFill>
              <a:latin typeface="+mj-ea"/>
              <a:ea typeface="+mj-ea"/>
            </a:endParaRPr>
          </a:p>
        </p:txBody>
      </p:sp>
      <p:sp>
        <p:nvSpPr>
          <p:cNvPr id="32" name="矩形: 圆角 31">
            <a:extLst>
              <a:ext uri="{FF2B5EF4-FFF2-40B4-BE49-F238E27FC236}">
                <a16:creationId xmlns:a16="http://schemas.microsoft.com/office/drawing/2014/main" id="{28313645-BA61-454C-AA47-E5D8E4C715FA}"/>
              </a:ext>
            </a:extLst>
          </p:cNvPr>
          <p:cNvSpPr/>
          <p:nvPr/>
        </p:nvSpPr>
        <p:spPr>
          <a:xfrm>
            <a:off x="8962644" y="1792224"/>
            <a:ext cx="2606040" cy="3621024"/>
          </a:xfrm>
          <a:prstGeom prst="roundRect">
            <a:avLst>
              <a:gd name="adj" fmla="val 8246"/>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33" name="文本框 32">
            <a:extLst>
              <a:ext uri="{FF2B5EF4-FFF2-40B4-BE49-F238E27FC236}">
                <a16:creationId xmlns:a16="http://schemas.microsoft.com/office/drawing/2014/main" id="{1704B34F-F38E-40EE-A22F-717CB8F73F34}"/>
              </a:ext>
            </a:extLst>
          </p:cNvPr>
          <p:cNvSpPr txBox="1"/>
          <p:nvPr/>
        </p:nvSpPr>
        <p:spPr>
          <a:xfrm>
            <a:off x="9388937" y="3009506"/>
            <a:ext cx="1795363" cy="430887"/>
          </a:xfrm>
          <a:prstGeom prst="rect">
            <a:avLst/>
          </a:prstGeom>
          <a:noFill/>
        </p:spPr>
        <p:txBody>
          <a:bodyPr wrap="none" lIns="0" tIns="0" rIns="0" bIns="0" rtlCol="0" anchor="t">
            <a:spAutoFit/>
          </a:bodyPr>
          <a:lstStyle/>
          <a:p>
            <a:pPr algn="dist"/>
            <a:r>
              <a:rPr lang="zh-CN" altLang="en-US" sz="2800" dirty="0">
                <a:solidFill>
                  <a:schemeClr val="bg1"/>
                </a:solidFill>
                <a:latin typeface="+mj-ea"/>
                <a:ea typeface="+mj-ea"/>
              </a:rPr>
              <a:t>关键词标题</a:t>
            </a:r>
          </a:p>
        </p:txBody>
      </p:sp>
      <p:sp>
        <p:nvSpPr>
          <p:cNvPr id="34" name="文本框 33">
            <a:extLst>
              <a:ext uri="{FF2B5EF4-FFF2-40B4-BE49-F238E27FC236}">
                <a16:creationId xmlns:a16="http://schemas.microsoft.com/office/drawing/2014/main" id="{FEDFE546-1201-4DAF-81A9-75B7C54EAA6E}"/>
              </a:ext>
            </a:extLst>
          </p:cNvPr>
          <p:cNvSpPr txBox="1"/>
          <p:nvPr/>
        </p:nvSpPr>
        <p:spPr>
          <a:xfrm>
            <a:off x="9282397" y="3499148"/>
            <a:ext cx="2008442" cy="1102353"/>
          </a:xfrm>
          <a:prstGeom prst="rect">
            <a:avLst/>
          </a:prstGeom>
          <a:noFill/>
        </p:spPr>
        <p:txBody>
          <a:bodyPr wrap="square" lIns="0" tIns="0" rIns="0" bIns="0" rtlCol="0" anchor="t">
            <a:spAutoFit/>
          </a:bodyPr>
          <a:lstStyle/>
          <a:p>
            <a:pPr algn="ctr">
              <a:lnSpc>
                <a:spcPct val="130000"/>
              </a:lnSpc>
            </a:pPr>
            <a:r>
              <a:rPr lang="en-US" altLang="zh-CN" sz="1400" b="0" dirty="0">
                <a:solidFill>
                  <a:schemeClr val="bg1"/>
                </a:solidFill>
                <a:effectLst/>
                <a:latin typeface="+mn-ea"/>
              </a:rPr>
              <a:t>Lorem ipsum dolor sit amet, consectetur adipisicing elit, sed do eiusmod tempor</a:t>
            </a:r>
            <a:endParaRPr lang="zh-CN" altLang="en-US" sz="1400" b="0" dirty="0">
              <a:solidFill>
                <a:schemeClr val="bg1"/>
              </a:solidFill>
              <a:effectLst/>
              <a:latin typeface="+mn-ea"/>
            </a:endParaRPr>
          </a:p>
        </p:txBody>
      </p:sp>
      <p:sp>
        <p:nvSpPr>
          <p:cNvPr id="35" name="椭圆 34">
            <a:extLst>
              <a:ext uri="{FF2B5EF4-FFF2-40B4-BE49-F238E27FC236}">
                <a16:creationId xmlns:a16="http://schemas.microsoft.com/office/drawing/2014/main" id="{7625B0F9-6159-456B-912E-D63B712FA905}"/>
              </a:ext>
            </a:extLst>
          </p:cNvPr>
          <p:cNvSpPr/>
          <p:nvPr/>
        </p:nvSpPr>
        <p:spPr>
          <a:xfrm>
            <a:off x="9922002" y="2145492"/>
            <a:ext cx="676656" cy="676656"/>
          </a:xfrm>
          <a:prstGeom prst="ellipse">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050" dirty="0">
                <a:solidFill>
                  <a:schemeClr val="bg1"/>
                </a:solidFill>
                <a:latin typeface="+mj-ea"/>
                <a:ea typeface="+mj-ea"/>
              </a:rPr>
              <a:t>icon</a:t>
            </a:r>
            <a:endParaRPr lang="zh-CN" altLang="en-US" sz="1050" dirty="0">
              <a:solidFill>
                <a:schemeClr val="bg1"/>
              </a:solidFill>
              <a:latin typeface="+mj-ea"/>
              <a:ea typeface="+mj-ea"/>
            </a:endParaRPr>
          </a:p>
        </p:txBody>
      </p:sp>
    </p:spTree>
    <p:extLst>
      <p:ext uri="{BB962C8B-B14F-4D97-AF65-F5344CB8AC3E}">
        <p14:creationId xmlns:p14="http://schemas.microsoft.com/office/powerpoint/2010/main" val="33336261"/>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2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矩形 8">
            <a:extLst>
              <a:ext uri="{FF2B5EF4-FFF2-40B4-BE49-F238E27FC236}">
                <a16:creationId xmlns:a16="http://schemas.microsoft.com/office/drawing/2014/main" id="{FAD7B10A-DEE9-457B-A69B-287EB98A7C00}"/>
              </a:ext>
            </a:extLst>
          </p:cNvPr>
          <p:cNvSpPr/>
          <p:nvPr/>
        </p:nvSpPr>
        <p:spPr>
          <a:xfrm>
            <a:off x="0" y="3429000"/>
            <a:ext cx="12192000" cy="3429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7" name="矩形: 圆角 6">
            <a:extLst>
              <a:ext uri="{FF2B5EF4-FFF2-40B4-BE49-F238E27FC236}">
                <a16:creationId xmlns:a16="http://schemas.microsoft.com/office/drawing/2014/main" id="{7BEAE8DC-9230-44AB-B70F-407BAFB7694E}"/>
              </a:ext>
            </a:extLst>
          </p:cNvPr>
          <p:cNvSpPr/>
          <p:nvPr/>
        </p:nvSpPr>
        <p:spPr>
          <a:xfrm>
            <a:off x="397336" y="1792224"/>
            <a:ext cx="2606040" cy="3621024"/>
          </a:xfrm>
          <a:prstGeom prst="roundRect">
            <a:avLst>
              <a:gd name="adj" fmla="val 8246"/>
            </a:avLst>
          </a:prstGeom>
          <a:solidFill>
            <a:schemeClr val="bg1"/>
          </a:solidFill>
          <a:ln>
            <a:noFill/>
          </a:ln>
          <a:effectLst>
            <a:outerShdw blurRad="228600" sx="102000" sy="1020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10" name="文本框 9">
            <a:extLst>
              <a:ext uri="{FF2B5EF4-FFF2-40B4-BE49-F238E27FC236}">
                <a16:creationId xmlns:a16="http://schemas.microsoft.com/office/drawing/2014/main" id="{A771ED46-CF2D-497D-AED2-92EB3807D5B9}"/>
              </a:ext>
            </a:extLst>
          </p:cNvPr>
          <p:cNvSpPr txBox="1"/>
          <p:nvPr/>
        </p:nvSpPr>
        <p:spPr>
          <a:xfrm>
            <a:off x="823629" y="2867941"/>
            <a:ext cx="1795363" cy="430887"/>
          </a:xfrm>
          <a:prstGeom prst="rect">
            <a:avLst/>
          </a:prstGeom>
          <a:noFill/>
        </p:spPr>
        <p:txBody>
          <a:bodyPr wrap="none" lIns="0" tIns="0" rIns="0" bIns="0" rtlCol="0" anchor="t">
            <a:spAutoFit/>
          </a:bodyPr>
          <a:lstStyle/>
          <a:p>
            <a:pPr algn="dist"/>
            <a:r>
              <a:rPr lang="zh-CN" altLang="en-US" sz="2800" dirty="0">
                <a:solidFill>
                  <a:schemeClr val="accent1"/>
                </a:solidFill>
                <a:latin typeface="+mj-ea"/>
                <a:ea typeface="+mj-ea"/>
              </a:rPr>
              <a:t>关键词标题</a:t>
            </a:r>
          </a:p>
        </p:txBody>
      </p:sp>
      <p:sp>
        <p:nvSpPr>
          <p:cNvPr id="11" name="文本框 10">
            <a:extLst>
              <a:ext uri="{FF2B5EF4-FFF2-40B4-BE49-F238E27FC236}">
                <a16:creationId xmlns:a16="http://schemas.microsoft.com/office/drawing/2014/main" id="{E9529F98-A975-4553-8FF6-DCB0233D4C1F}"/>
              </a:ext>
            </a:extLst>
          </p:cNvPr>
          <p:cNvSpPr txBox="1"/>
          <p:nvPr/>
        </p:nvSpPr>
        <p:spPr>
          <a:xfrm>
            <a:off x="717089" y="3357583"/>
            <a:ext cx="2008442" cy="1102353"/>
          </a:xfrm>
          <a:prstGeom prst="rect">
            <a:avLst/>
          </a:prstGeom>
          <a:noFill/>
        </p:spPr>
        <p:txBody>
          <a:bodyPr wrap="square" lIns="0" tIns="0" rIns="0" bIns="0" rtlCol="0" anchor="t">
            <a:spAutoFit/>
          </a:bodyPr>
          <a:lstStyle/>
          <a:p>
            <a:pPr algn="ctr">
              <a:lnSpc>
                <a:spcPct val="130000"/>
              </a:lnSpc>
            </a:pPr>
            <a:r>
              <a:rPr lang="en-US" altLang="zh-CN" sz="1400" b="0" dirty="0">
                <a:solidFill>
                  <a:schemeClr val="accent1"/>
                </a:solidFill>
                <a:effectLst/>
                <a:latin typeface="+mn-ea"/>
              </a:rPr>
              <a:t>Lorem ipsum dolor sit amet, consectetur adipisicing elit, sed do eiusmod tempor</a:t>
            </a:r>
            <a:endParaRPr lang="zh-CN" altLang="en-US" sz="1400" b="0" dirty="0">
              <a:solidFill>
                <a:schemeClr val="accent1"/>
              </a:solidFill>
              <a:effectLst/>
              <a:latin typeface="+mn-ea"/>
            </a:endParaRPr>
          </a:p>
        </p:txBody>
      </p:sp>
      <p:sp>
        <p:nvSpPr>
          <p:cNvPr id="8" name="椭圆 7">
            <a:extLst>
              <a:ext uri="{FF2B5EF4-FFF2-40B4-BE49-F238E27FC236}">
                <a16:creationId xmlns:a16="http://schemas.microsoft.com/office/drawing/2014/main" id="{1C4766AB-F6B8-4A91-AE46-C1381A2013D1}"/>
              </a:ext>
            </a:extLst>
          </p:cNvPr>
          <p:cNvSpPr/>
          <p:nvPr/>
        </p:nvSpPr>
        <p:spPr>
          <a:xfrm>
            <a:off x="1356694" y="2003927"/>
            <a:ext cx="676656" cy="676656"/>
          </a:xfrm>
          <a:prstGeom prst="ellipse">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050" dirty="0">
                <a:solidFill>
                  <a:schemeClr val="accent1"/>
                </a:solidFill>
                <a:latin typeface="+mj-ea"/>
                <a:ea typeface="+mj-ea"/>
              </a:rPr>
              <a:t>icon</a:t>
            </a:r>
            <a:endParaRPr lang="zh-CN" altLang="en-US" sz="1050" dirty="0">
              <a:solidFill>
                <a:schemeClr val="accent1"/>
              </a:solidFill>
              <a:latin typeface="+mj-ea"/>
              <a:ea typeface="+mj-ea"/>
            </a:endParaRPr>
          </a:p>
        </p:txBody>
      </p:sp>
      <p:sp>
        <p:nvSpPr>
          <p:cNvPr id="22" name="矩形: 圆角 21">
            <a:extLst>
              <a:ext uri="{FF2B5EF4-FFF2-40B4-BE49-F238E27FC236}">
                <a16:creationId xmlns:a16="http://schemas.microsoft.com/office/drawing/2014/main" id="{0BC0B50D-5C4E-4436-BA18-E5C69C5E41A4}"/>
              </a:ext>
            </a:extLst>
          </p:cNvPr>
          <p:cNvSpPr/>
          <p:nvPr/>
        </p:nvSpPr>
        <p:spPr>
          <a:xfrm>
            <a:off x="3327765" y="1792224"/>
            <a:ext cx="2606040" cy="3621024"/>
          </a:xfrm>
          <a:prstGeom prst="roundRect">
            <a:avLst>
              <a:gd name="adj" fmla="val 8246"/>
            </a:avLst>
          </a:prstGeom>
          <a:solidFill>
            <a:schemeClr val="bg1"/>
          </a:solidFill>
          <a:ln>
            <a:noFill/>
          </a:ln>
          <a:effectLst>
            <a:outerShdw blurRad="228600" sx="102000" sy="1020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23" name="文本框 22">
            <a:extLst>
              <a:ext uri="{FF2B5EF4-FFF2-40B4-BE49-F238E27FC236}">
                <a16:creationId xmlns:a16="http://schemas.microsoft.com/office/drawing/2014/main" id="{52F155AE-E059-4BA8-94D4-A7AF55968F54}"/>
              </a:ext>
            </a:extLst>
          </p:cNvPr>
          <p:cNvSpPr txBox="1"/>
          <p:nvPr/>
        </p:nvSpPr>
        <p:spPr>
          <a:xfrm>
            <a:off x="3754058" y="2867941"/>
            <a:ext cx="1795363" cy="430887"/>
          </a:xfrm>
          <a:prstGeom prst="rect">
            <a:avLst/>
          </a:prstGeom>
          <a:noFill/>
        </p:spPr>
        <p:txBody>
          <a:bodyPr wrap="none" lIns="0" tIns="0" rIns="0" bIns="0" rtlCol="0" anchor="t">
            <a:spAutoFit/>
          </a:bodyPr>
          <a:lstStyle/>
          <a:p>
            <a:pPr algn="dist"/>
            <a:r>
              <a:rPr lang="zh-CN" altLang="en-US" sz="2800" dirty="0">
                <a:solidFill>
                  <a:schemeClr val="accent1"/>
                </a:solidFill>
                <a:latin typeface="+mj-ea"/>
                <a:ea typeface="+mj-ea"/>
              </a:rPr>
              <a:t>关键词标题</a:t>
            </a:r>
          </a:p>
        </p:txBody>
      </p:sp>
      <p:sp>
        <p:nvSpPr>
          <p:cNvPr id="24" name="文本框 23">
            <a:extLst>
              <a:ext uri="{FF2B5EF4-FFF2-40B4-BE49-F238E27FC236}">
                <a16:creationId xmlns:a16="http://schemas.microsoft.com/office/drawing/2014/main" id="{E0F089CB-A524-46C0-9432-751E08333DFB}"/>
              </a:ext>
            </a:extLst>
          </p:cNvPr>
          <p:cNvSpPr txBox="1"/>
          <p:nvPr/>
        </p:nvSpPr>
        <p:spPr>
          <a:xfrm>
            <a:off x="3647518" y="3357583"/>
            <a:ext cx="2008442" cy="1102353"/>
          </a:xfrm>
          <a:prstGeom prst="rect">
            <a:avLst/>
          </a:prstGeom>
          <a:noFill/>
        </p:spPr>
        <p:txBody>
          <a:bodyPr wrap="square" lIns="0" tIns="0" rIns="0" bIns="0" rtlCol="0" anchor="t">
            <a:spAutoFit/>
          </a:bodyPr>
          <a:lstStyle/>
          <a:p>
            <a:pPr algn="ctr">
              <a:lnSpc>
                <a:spcPct val="130000"/>
              </a:lnSpc>
            </a:pPr>
            <a:r>
              <a:rPr lang="en-US" altLang="zh-CN" sz="1400" b="0" dirty="0">
                <a:solidFill>
                  <a:schemeClr val="accent1"/>
                </a:solidFill>
                <a:effectLst/>
                <a:latin typeface="+mn-ea"/>
              </a:rPr>
              <a:t>Lorem ipsum dolor sit amet, consectetur adipisicing elit, sed do eiusmod tempor</a:t>
            </a:r>
            <a:endParaRPr lang="zh-CN" altLang="en-US" sz="1400" b="0" dirty="0">
              <a:solidFill>
                <a:schemeClr val="accent1"/>
              </a:solidFill>
              <a:effectLst/>
              <a:latin typeface="+mn-ea"/>
            </a:endParaRPr>
          </a:p>
        </p:txBody>
      </p:sp>
      <p:sp>
        <p:nvSpPr>
          <p:cNvPr id="25" name="椭圆 24">
            <a:extLst>
              <a:ext uri="{FF2B5EF4-FFF2-40B4-BE49-F238E27FC236}">
                <a16:creationId xmlns:a16="http://schemas.microsoft.com/office/drawing/2014/main" id="{03558B3B-FD54-43B7-ABA9-7F4AF2A45A20}"/>
              </a:ext>
            </a:extLst>
          </p:cNvPr>
          <p:cNvSpPr/>
          <p:nvPr/>
        </p:nvSpPr>
        <p:spPr>
          <a:xfrm>
            <a:off x="4287123" y="2003927"/>
            <a:ext cx="676656" cy="676656"/>
          </a:xfrm>
          <a:prstGeom prst="ellipse">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050" dirty="0">
                <a:solidFill>
                  <a:schemeClr val="accent1"/>
                </a:solidFill>
                <a:latin typeface="+mj-ea"/>
                <a:ea typeface="+mj-ea"/>
              </a:rPr>
              <a:t>icon</a:t>
            </a:r>
            <a:endParaRPr lang="zh-CN" altLang="en-US" sz="1050" dirty="0">
              <a:solidFill>
                <a:schemeClr val="accent1"/>
              </a:solidFill>
              <a:latin typeface="+mj-ea"/>
              <a:ea typeface="+mj-ea"/>
            </a:endParaRPr>
          </a:p>
        </p:txBody>
      </p:sp>
      <p:sp>
        <p:nvSpPr>
          <p:cNvPr id="27" name="矩形: 圆角 26">
            <a:extLst>
              <a:ext uri="{FF2B5EF4-FFF2-40B4-BE49-F238E27FC236}">
                <a16:creationId xmlns:a16="http://schemas.microsoft.com/office/drawing/2014/main" id="{D3B974F2-FDA2-4345-B6C2-C755596D4FDA}"/>
              </a:ext>
            </a:extLst>
          </p:cNvPr>
          <p:cNvSpPr/>
          <p:nvPr/>
        </p:nvSpPr>
        <p:spPr>
          <a:xfrm>
            <a:off x="6258194" y="1792224"/>
            <a:ext cx="2606040" cy="3621024"/>
          </a:xfrm>
          <a:prstGeom prst="roundRect">
            <a:avLst>
              <a:gd name="adj" fmla="val 8246"/>
            </a:avLst>
          </a:prstGeom>
          <a:solidFill>
            <a:schemeClr val="bg1"/>
          </a:solidFill>
          <a:ln>
            <a:noFill/>
          </a:ln>
          <a:effectLst>
            <a:outerShdw blurRad="228600" sx="102000" sy="1020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28" name="文本框 27">
            <a:extLst>
              <a:ext uri="{FF2B5EF4-FFF2-40B4-BE49-F238E27FC236}">
                <a16:creationId xmlns:a16="http://schemas.microsoft.com/office/drawing/2014/main" id="{5CAB18B2-B1C1-4044-9B26-A85B23C7E31A}"/>
              </a:ext>
            </a:extLst>
          </p:cNvPr>
          <p:cNvSpPr txBox="1"/>
          <p:nvPr/>
        </p:nvSpPr>
        <p:spPr>
          <a:xfrm>
            <a:off x="6684487" y="2867941"/>
            <a:ext cx="1795363" cy="430887"/>
          </a:xfrm>
          <a:prstGeom prst="rect">
            <a:avLst/>
          </a:prstGeom>
          <a:noFill/>
        </p:spPr>
        <p:txBody>
          <a:bodyPr wrap="none" lIns="0" tIns="0" rIns="0" bIns="0" rtlCol="0" anchor="t">
            <a:spAutoFit/>
          </a:bodyPr>
          <a:lstStyle/>
          <a:p>
            <a:pPr algn="dist"/>
            <a:r>
              <a:rPr lang="zh-CN" altLang="en-US" sz="2800" dirty="0">
                <a:solidFill>
                  <a:schemeClr val="accent1"/>
                </a:solidFill>
                <a:latin typeface="+mj-ea"/>
                <a:ea typeface="+mj-ea"/>
              </a:rPr>
              <a:t>关键词标题</a:t>
            </a:r>
          </a:p>
        </p:txBody>
      </p:sp>
      <p:sp>
        <p:nvSpPr>
          <p:cNvPr id="29" name="文本框 28">
            <a:extLst>
              <a:ext uri="{FF2B5EF4-FFF2-40B4-BE49-F238E27FC236}">
                <a16:creationId xmlns:a16="http://schemas.microsoft.com/office/drawing/2014/main" id="{62EB25C1-54A9-4C2F-AA84-355006387DA0}"/>
              </a:ext>
            </a:extLst>
          </p:cNvPr>
          <p:cNvSpPr txBox="1"/>
          <p:nvPr/>
        </p:nvSpPr>
        <p:spPr>
          <a:xfrm>
            <a:off x="6577947" y="3357583"/>
            <a:ext cx="2008442" cy="1102353"/>
          </a:xfrm>
          <a:prstGeom prst="rect">
            <a:avLst/>
          </a:prstGeom>
          <a:noFill/>
        </p:spPr>
        <p:txBody>
          <a:bodyPr wrap="square" lIns="0" tIns="0" rIns="0" bIns="0" rtlCol="0" anchor="t">
            <a:spAutoFit/>
          </a:bodyPr>
          <a:lstStyle/>
          <a:p>
            <a:pPr algn="ctr">
              <a:lnSpc>
                <a:spcPct val="130000"/>
              </a:lnSpc>
            </a:pPr>
            <a:r>
              <a:rPr lang="en-US" altLang="zh-CN" sz="1400" b="0" dirty="0">
                <a:solidFill>
                  <a:schemeClr val="accent1"/>
                </a:solidFill>
                <a:effectLst/>
                <a:latin typeface="+mn-ea"/>
              </a:rPr>
              <a:t>Lorem ipsum dolor sit amet, consectetur adipisicing elit, sed do eiusmod tempor</a:t>
            </a:r>
            <a:endParaRPr lang="zh-CN" altLang="en-US" sz="1400" b="0" dirty="0">
              <a:solidFill>
                <a:schemeClr val="accent1"/>
              </a:solidFill>
              <a:effectLst/>
              <a:latin typeface="+mn-ea"/>
            </a:endParaRPr>
          </a:p>
        </p:txBody>
      </p:sp>
      <p:sp>
        <p:nvSpPr>
          <p:cNvPr id="30" name="椭圆 29">
            <a:extLst>
              <a:ext uri="{FF2B5EF4-FFF2-40B4-BE49-F238E27FC236}">
                <a16:creationId xmlns:a16="http://schemas.microsoft.com/office/drawing/2014/main" id="{AA152A27-0DDA-4A7D-86C5-A4C41B30A3D6}"/>
              </a:ext>
            </a:extLst>
          </p:cNvPr>
          <p:cNvSpPr/>
          <p:nvPr/>
        </p:nvSpPr>
        <p:spPr>
          <a:xfrm>
            <a:off x="7217552" y="2003927"/>
            <a:ext cx="676656" cy="676656"/>
          </a:xfrm>
          <a:prstGeom prst="ellipse">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050" dirty="0">
                <a:solidFill>
                  <a:schemeClr val="accent1"/>
                </a:solidFill>
                <a:latin typeface="+mj-ea"/>
                <a:ea typeface="+mj-ea"/>
              </a:rPr>
              <a:t>icon</a:t>
            </a:r>
            <a:endParaRPr lang="zh-CN" altLang="en-US" sz="1050" dirty="0">
              <a:solidFill>
                <a:schemeClr val="accent1"/>
              </a:solidFill>
              <a:latin typeface="+mj-ea"/>
              <a:ea typeface="+mj-ea"/>
            </a:endParaRPr>
          </a:p>
        </p:txBody>
      </p:sp>
      <p:sp>
        <p:nvSpPr>
          <p:cNvPr id="32" name="矩形: 圆角 31">
            <a:extLst>
              <a:ext uri="{FF2B5EF4-FFF2-40B4-BE49-F238E27FC236}">
                <a16:creationId xmlns:a16="http://schemas.microsoft.com/office/drawing/2014/main" id="{28313645-BA61-454C-AA47-E5D8E4C715FA}"/>
              </a:ext>
            </a:extLst>
          </p:cNvPr>
          <p:cNvSpPr/>
          <p:nvPr/>
        </p:nvSpPr>
        <p:spPr>
          <a:xfrm>
            <a:off x="9188624" y="1792224"/>
            <a:ext cx="2606040" cy="3621024"/>
          </a:xfrm>
          <a:prstGeom prst="roundRect">
            <a:avLst>
              <a:gd name="adj" fmla="val 8246"/>
            </a:avLst>
          </a:prstGeom>
          <a:solidFill>
            <a:schemeClr val="bg1"/>
          </a:solidFill>
          <a:ln>
            <a:noFill/>
          </a:ln>
          <a:effectLst>
            <a:outerShdw blurRad="228600" sx="102000" sy="1020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33" name="文本框 32">
            <a:extLst>
              <a:ext uri="{FF2B5EF4-FFF2-40B4-BE49-F238E27FC236}">
                <a16:creationId xmlns:a16="http://schemas.microsoft.com/office/drawing/2014/main" id="{1704B34F-F38E-40EE-A22F-717CB8F73F34}"/>
              </a:ext>
            </a:extLst>
          </p:cNvPr>
          <p:cNvSpPr txBox="1"/>
          <p:nvPr/>
        </p:nvSpPr>
        <p:spPr>
          <a:xfrm>
            <a:off x="9614917" y="2867941"/>
            <a:ext cx="1795363" cy="430887"/>
          </a:xfrm>
          <a:prstGeom prst="rect">
            <a:avLst/>
          </a:prstGeom>
          <a:noFill/>
        </p:spPr>
        <p:txBody>
          <a:bodyPr wrap="none" lIns="0" tIns="0" rIns="0" bIns="0" rtlCol="0" anchor="t">
            <a:spAutoFit/>
          </a:bodyPr>
          <a:lstStyle/>
          <a:p>
            <a:pPr algn="dist"/>
            <a:r>
              <a:rPr lang="zh-CN" altLang="en-US" sz="2800" dirty="0">
                <a:solidFill>
                  <a:schemeClr val="accent1"/>
                </a:solidFill>
                <a:latin typeface="+mj-ea"/>
                <a:ea typeface="+mj-ea"/>
              </a:rPr>
              <a:t>关键词标题</a:t>
            </a:r>
          </a:p>
        </p:txBody>
      </p:sp>
      <p:sp>
        <p:nvSpPr>
          <p:cNvPr id="34" name="文本框 33">
            <a:extLst>
              <a:ext uri="{FF2B5EF4-FFF2-40B4-BE49-F238E27FC236}">
                <a16:creationId xmlns:a16="http://schemas.microsoft.com/office/drawing/2014/main" id="{FEDFE546-1201-4DAF-81A9-75B7C54EAA6E}"/>
              </a:ext>
            </a:extLst>
          </p:cNvPr>
          <p:cNvSpPr txBox="1"/>
          <p:nvPr/>
        </p:nvSpPr>
        <p:spPr>
          <a:xfrm>
            <a:off x="9508377" y="3357583"/>
            <a:ext cx="2008442" cy="1102353"/>
          </a:xfrm>
          <a:prstGeom prst="rect">
            <a:avLst/>
          </a:prstGeom>
          <a:noFill/>
        </p:spPr>
        <p:txBody>
          <a:bodyPr wrap="square" lIns="0" tIns="0" rIns="0" bIns="0" rtlCol="0" anchor="t">
            <a:spAutoFit/>
          </a:bodyPr>
          <a:lstStyle/>
          <a:p>
            <a:pPr algn="ctr">
              <a:lnSpc>
                <a:spcPct val="130000"/>
              </a:lnSpc>
            </a:pPr>
            <a:r>
              <a:rPr lang="en-US" altLang="zh-CN" sz="1400" b="0" dirty="0">
                <a:solidFill>
                  <a:schemeClr val="accent1"/>
                </a:solidFill>
                <a:effectLst/>
                <a:latin typeface="+mn-ea"/>
              </a:rPr>
              <a:t>Lorem ipsum dolor sit amet, consectetur adipisicing elit, sed do eiusmod tempor</a:t>
            </a:r>
            <a:endParaRPr lang="zh-CN" altLang="en-US" sz="1400" b="0" dirty="0">
              <a:solidFill>
                <a:schemeClr val="accent1"/>
              </a:solidFill>
              <a:effectLst/>
              <a:latin typeface="+mn-ea"/>
            </a:endParaRPr>
          </a:p>
        </p:txBody>
      </p:sp>
      <p:sp>
        <p:nvSpPr>
          <p:cNvPr id="35" name="椭圆 34">
            <a:extLst>
              <a:ext uri="{FF2B5EF4-FFF2-40B4-BE49-F238E27FC236}">
                <a16:creationId xmlns:a16="http://schemas.microsoft.com/office/drawing/2014/main" id="{7625B0F9-6159-456B-912E-D63B712FA905}"/>
              </a:ext>
            </a:extLst>
          </p:cNvPr>
          <p:cNvSpPr/>
          <p:nvPr/>
        </p:nvSpPr>
        <p:spPr>
          <a:xfrm>
            <a:off x="10147982" y="2003927"/>
            <a:ext cx="676656" cy="676656"/>
          </a:xfrm>
          <a:prstGeom prst="ellipse">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050" dirty="0">
                <a:solidFill>
                  <a:schemeClr val="accent1"/>
                </a:solidFill>
                <a:latin typeface="+mj-ea"/>
                <a:ea typeface="+mj-ea"/>
              </a:rPr>
              <a:t>icon</a:t>
            </a:r>
            <a:endParaRPr lang="zh-CN" altLang="en-US" sz="1050" dirty="0">
              <a:solidFill>
                <a:schemeClr val="accent1"/>
              </a:solidFill>
              <a:latin typeface="+mj-ea"/>
              <a:ea typeface="+mj-ea"/>
            </a:endParaRPr>
          </a:p>
        </p:txBody>
      </p:sp>
    </p:spTree>
    <p:extLst>
      <p:ext uri="{BB962C8B-B14F-4D97-AF65-F5344CB8AC3E}">
        <p14:creationId xmlns:p14="http://schemas.microsoft.com/office/powerpoint/2010/main" val="4012138580"/>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2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圆角矩形 10">
            <a:extLst>
              <a:ext uri="{FF2B5EF4-FFF2-40B4-BE49-F238E27FC236}">
                <a16:creationId xmlns:a16="http://schemas.microsoft.com/office/drawing/2014/main" id="{69BEED6B-EE88-428F-B475-E5EBD8860D4D}"/>
              </a:ext>
            </a:extLst>
          </p:cNvPr>
          <p:cNvSpPr/>
          <p:nvPr/>
        </p:nvSpPr>
        <p:spPr>
          <a:xfrm>
            <a:off x="1499616" y="1905000"/>
            <a:ext cx="3914775" cy="1343316"/>
          </a:xfrm>
          <a:prstGeom prst="roundRect">
            <a:avLst>
              <a:gd name="adj" fmla="val 0"/>
            </a:avLst>
          </a:prstGeom>
          <a:solidFill>
            <a:sysClr val="window" lastClr="FFFFFF"/>
          </a:solidFill>
          <a:ln w="12700" cap="flat" cmpd="sng" algn="ctr">
            <a:noFill/>
            <a:prstDash val="solid"/>
            <a:miter lim="800000"/>
          </a:ln>
          <a:effectLst>
            <a:outerShdw blurRad="127000" algn="ctr" rotWithShape="0">
              <a:schemeClr val="accent1">
                <a:lumMod val="50000"/>
                <a:alpha val="25000"/>
              </a:schemeClr>
            </a:outerShdw>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800" b="0" i="0" u="none" strike="noStrike" kern="0" cap="none" spc="0" normalizeH="0" baseline="0" noProof="0" dirty="0">
                <a:ln>
                  <a:noFill/>
                </a:ln>
                <a:solidFill>
                  <a:prstClr val="white"/>
                </a:solidFill>
                <a:effectLst/>
                <a:uLnTx/>
                <a:uFillTx/>
              </a:rPr>
              <a:t>电商体量增速迅猛</a:t>
            </a:r>
            <a:endParaRPr kumimoji="0" lang="en-US" altLang="zh-CN" sz="1800" b="0" i="0" u="none" strike="noStrike" kern="0" cap="none" spc="0" normalizeH="0" baseline="0" noProof="0" dirty="0">
              <a:ln>
                <a:noFill/>
              </a:ln>
              <a:solidFill>
                <a:prstClr val="white"/>
              </a:solidFill>
              <a:effectLst/>
              <a:uLnTx/>
              <a:uFillTx/>
            </a:endParaRPr>
          </a:p>
        </p:txBody>
      </p:sp>
      <p:sp>
        <p:nvSpPr>
          <p:cNvPr id="3" name="梯形 2">
            <a:extLst>
              <a:ext uri="{FF2B5EF4-FFF2-40B4-BE49-F238E27FC236}">
                <a16:creationId xmlns:a16="http://schemas.microsoft.com/office/drawing/2014/main" id="{DEC38CEA-BFE9-42CF-A025-3556B1A9BCFC}"/>
              </a:ext>
            </a:extLst>
          </p:cNvPr>
          <p:cNvSpPr/>
          <p:nvPr>
            <p:custDataLst>
              <p:tags r:id="rId2"/>
            </p:custDataLst>
          </p:nvPr>
        </p:nvSpPr>
        <p:spPr>
          <a:xfrm rot="10800000">
            <a:off x="1499614" y="3248313"/>
            <a:ext cx="3914776" cy="180685"/>
          </a:xfrm>
          <a:prstGeom prst="trapezoid">
            <a:avLst>
              <a:gd name="adj" fmla="val 196907"/>
            </a:avLst>
          </a:prstGeom>
          <a:gradFill flip="none" rotWithShape="1">
            <a:gsLst>
              <a:gs pos="0">
                <a:schemeClr val="accent1">
                  <a:alpha val="0"/>
                </a:schemeClr>
              </a:gs>
              <a:gs pos="100000">
                <a:schemeClr val="accent1">
                  <a:alpha val="30000"/>
                </a:schemeClr>
              </a:gs>
            </a:gsLst>
            <a:lin ang="5400000" scaled="1"/>
            <a:tileRect/>
          </a:gra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endParaRPr>
          </a:p>
        </p:txBody>
      </p:sp>
      <p:sp>
        <p:nvSpPr>
          <p:cNvPr id="4" name="文本框 3">
            <a:extLst>
              <a:ext uri="{FF2B5EF4-FFF2-40B4-BE49-F238E27FC236}">
                <a16:creationId xmlns:a16="http://schemas.microsoft.com/office/drawing/2014/main" id="{3B86FC1F-94B7-489D-9671-05DA0D82A7DB}"/>
              </a:ext>
            </a:extLst>
          </p:cNvPr>
          <p:cNvSpPr txBox="1"/>
          <p:nvPr/>
        </p:nvSpPr>
        <p:spPr>
          <a:xfrm>
            <a:off x="2543912" y="2140929"/>
            <a:ext cx="1154162" cy="276999"/>
          </a:xfrm>
          <a:prstGeom prst="rect">
            <a:avLst/>
          </a:prstGeom>
          <a:noFill/>
        </p:spPr>
        <p:txBody>
          <a:bodyPr wrap="none" lIns="0" tIns="0" rIns="0" bIns="0" rtlCol="0" anchor="t">
            <a:spAutoFit/>
          </a:bodyPr>
          <a:lstStyle/>
          <a:p>
            <a:r>
              <a:rPr lang="zh-CN" altLang="en-US" dirty="0">
                <a:solidFill>
                  <a:schemeClr val="accent1"/>
                </a:solidFill>
                <a:latin typeface="+mj-ea"/>
                <a:ea typeface="+mj-ea"/>
              </a:rPr>
              <a:t>关键词标题</a:t>
            </a:r>
          </a:p>
        </p:txBody>
      </p:sp>
      <p:sp>
        <p:nvSpPr>
          <p:cNvPr id="5" name="文本框 4">
            <a:extLst>
              <a:ext uri="{FF2B5EF4-FFF2-40B4-BE49-F238E27FC236}">
                <a16:creationId xmlns:a16="http://schemas.microsoft.com/office/drawing/2014/main" id="{30C06DF4-4B74-41CC-ADFA-5D5719ED21B1}"/>
              </a:ext>
            </a:extLst>
          </p:cNvPr>
          <p:cNvSpPr txBox="1"/>
          <p:nvPr/>
        </p:nvSpPr>
        <p:spPr>
          <a:xfrm>
            <a:off x="2543912" y="2450351"/>
            <a:ext cx="2788373" cy="406714"/>
          </a:xfrm>
          <a:prstGeom prst="rect">
            <a:avLst/>
          </a:prstGeom>
          <a:noFill/>
        </p:spPr>
        <p:txBody>
          <a:bodyPr wrap="square" lIns="0" tIns="0" rIns="0" bIns="0" rtlCol="0" anchor="t">
            <a:spAutoFit/>
          </a:bodyPr>
          <a:lstStyle/>
          <a:p>
            <a:pPr>
              <a:lnSpc>
                <a:spcPct val="130000"/>
              </a:lnSpc>
            </a:pPr>
            <a:r>
              <a:rPr lang="en-US" altLang="zh-CN" sz="1050" b="0" dirty="0">
                <a:solidFill>
                  <a:schemeClr val="tx1">
                    <a:lumMod val="75000"/>
                    <a:lumOff val="25000"/>
                  </a:schemeClr>
                </a:solidFill>
                <a:effectLst/>
                <a:latin typeface="+mn-ea"/>
              </a:rPr>
              <a:t>Lorem ipsum dolor sit amet, consectetur adipisicing elit, sed do eiusmod tempor</a:t>
            </a:r>
            <a:endParaRPr lang="zh-CN" altLang="en-US" sz="1050" b="0" dirty="0">
              <a:solidFill>
                <a:schemeClr val="tx1">
                  <a:lumMod val="75000"/>
                  <a:lumOff val="25000"/>
                </a:schemeClr>
              </a:solidFill>
              <a:effectLst/>
              <a:latin typeface="+mn-ea"/>
            </a:endParaRPr>
          </a:p>
        </p:txBody>
      </p:sp>
      <p:sp>
        <p:nvSpPr>
          <p:cNvPr id="6" name="椭圆 5">
            <a:extLst>
              <a:ext uri="{FF2B5EF4-FFF2-40B4-BE49-F238E27FC236}">
                <a16:creationId xmlns:a16="http://schemas.microsoft.com/office/drawing/2014/main" id="{FD4DCB41-2E30-4441-A282-4D23A4177819}"/>
              </a:ext>
            </a:extLst>
          </p:cNvPr>
          <p:cNvSpPr/>
          <p:nvPr/>
        </p:nvSpPr>
        <p:spPr>
          <a:xfrm>
            <a:off x="1664577" y="2138068"/>
            <a:ext cx="714375" cy="71437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9" name="圆角矩形 10">
            <a:extLst>
              <a:ext uri="{FF2B5EF4-FFF2-40B4-BE49-F238E27FC236}">
                <a16:creationId xmlns:a16="http://schemas.microsoft.com/office/drawing/2014/main" id="{916E1E30-2F0A-49EC-9AD6-AA81D0C4ED05}"/>
              </a:ext>
            </a:extLst>
          </p:cNvPr>
          <p:cNvSpPr/>
          <p:nvPr/>
        </p:nvSpPr>
        <p:spPr>
          <a:xfrm>
            <a:off x="6481191" y="1905000"/>
            <a:ext cx="3914775" cy="1343316"/>
          </a:xfrm>
          <a:prstGeom prst="roundRect">
            <a:avLst>
              <a:gd name="adj" fmla="val 0"/>
            </a:avLst>
          </a:prstGeom>
          <a:solidFill>
            <a:sysClr val="window" lastClr="FFFFFF"/>
          </a:solidFill>
          <a:ln w="12700" cap="flat" cmpd="sng" algn="ctr">
            <a:noFill/>
            <a:prstDash val="solid"/>
            <a:miter lim="800000"/>
          </a:ln>
          <a:effectLst>
            <a:outerShdw blurRad="127000" algn="ctr" rotWithShape="0">
              <a:schemeClr val="accent1">
                <a:lumMod val="50000"/>
                <a:alpha val="25000"/>
              </a:schemeClr>
            </a:outerShdw>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800" b="0" i="0" u="none" strike="noStrike" kern="0" cap="none" spc="0" normalizeH="0" baseline="0" noProof="0" dirty="0">
                <a:ln>
                  <a:noFill/>
                </a:ln>
                <a:solidFill>
                  <a:prstClr val="white"/>
                </a:solidFill>
                <a:effectLst/>
                <a:uLnTx/>
                <a:uFillTx/>
              </a:rPr>
              <a:t>电商体量增速迅猛</a:t>
            </a:r>
            <a:endParaRPr kumimoji="0" lang="en-US" altLang="zh-CN" sz="1800" b="0" i="0" u="none" strike="noStrike" kern="0" cap="none" spc="0" normalizeH="0" baseline="0" noProof="0" dirty="0">
              <a:ln>
                <a:noFill/>
              </a:ln>
              <a:solidFill>
                <a:prstClr val="white"/>
              </a:solidFill>
              <a:effectLst/>
              <a:uLnTx/>
              <a:uFillTx/>
            </a:endParaRPr>
          </a:p>
        </p:txBody>
      </p:sp>
      <p:sp>
        <p:nvSpPr>
          <p:cNvPr id="10" name="梯形 9">
            <a:extLst>
              <a:ext uri="{FF2B5EF4-FFF2-40B4-BE49-F238E27FC236}">
                <a16:creationId xmlns:a16="http://schemas.microsoft.com/office/drawing/2014/main" id="{F8FB96D8-97F0-469C-AEC9-5D9815B0F91F}"/>
              </a:ext>
            </a:extLst>
          </p:cNvPr>
          <p:cNvSpPr/>
          <p:nvPr>
            <p:custDataLst>
              <p:tags r:id="rId3"/>
            </p:custDataLst>
          </p:nvPr>
        </p:nvSpPr>
        <p:spPr>
          <a:xfrm rot="10800000">
            <a:off x="6481189" y="3248313"/>
            <a:ext cx="3914776" cy="180685"/>
          </a:xfrm>
          <a:prstGeom prst="trapezoid">
            <a:avLst>
              <a:gd name="adj" fmla="val 196907"/>
            </a:avLst>
          </a:prstGeom>
          <a:gradFill flip="none" rotWithShape="1">
            <a:gsLst>
              <a:gs pos="0">
                <a:schemeClr val="accent1">
                  <a:alpha val="0"/>
                </a:schemeClr>
              </a:gs>
              <a:gs pos="100000">
                <a:schemeClr val="accent1">
                  <a:alpha val="30000"/>
                </a:schemeClr>
              </a:gs>
            </a:gsLst>
            <a:lin ang="5400000" scaled="1"/>
            <a:tileRect/>
          </a:gra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endParaRPr>
          </a:p>
        </p:txBody>
      </p:sp>
      <p:sp>
        <p:nvSpPr>
          <p:cNvPr id="11" name="文本框 10">
            <a:extLst>
              <a:ext uri="{FF2B5EF4-FFF2-40B4-BE49-F238E27FC236}">
                <a16:creationId xmlns:a16="http://schemas.microsoft.com/office/drawing/2014/main" id="{94763E02-348D-46A2-B258-B77705CD3152}"/>
              </a:ext>
            </a:extLst>
          </p:cNvPr>
          <p:cNvSpPr txBox="1"/>
          <p:nvPr/>
        </p:nvSpPr>
        <p:spPr>
          <a:xfrm>
            <a:off x="7525487" y="2140929"/>
            <a:ext cx="1154162" cy="276999"/>
          </a:xfrm>
          <a:prstGeom prst="rect">
            <a:avLst/>
          </a:prstGeom>
          <a:noFill/>
        </p:spPr>
        <p:txBody>
          <a:bodyPr wrap="none" lIns="0" tIns="0" rIns="0" bIns="0" rtlCol="0" anchor="t">
            <a:spAutoFit/>
          </a:bodyPr>
          <a:lstStyle/>
          <a:p>
            <a:r>
              <a:rPr lang="zh-CN" altLang="en-US" dirty="0">
                <a:solidFill>
                  <a:schemeClr val="accent1"/>
                </a:solidFill>
                <a:latin typeface="+mj-ea"/>
                <a:ea typeface="+mj-ea"/>
              </a:rPr>
              <a:t>关键词标题</a:t>
            </a:r>
          </a:p>
        </p:txBody>
      </p:sp>
      <p:sp>
        <p:nvSpPr>
          <p:cNvPr id="12" name="文本框 11">
            <a:extLst>
              <a:ext uri="{FF2B5EF4-FFF2-40B4-BE49-F238E27FC236}">
                <a16:creationId xmlns:a16="http://schemas.microsoft.com/office/drawing/2014/main" id="{2195A20F-6CCF-41A5-809B-4F88DD0DB478}"/>
              </a:ext>
            </a:extLst>
          </p:cNvPr>
          <p:cNvSpPr txBox="1"/>
          <p:nvPr/>
        </p:nvSpPr>
        <p:spPr>
          <a:xfrm>
            <a:off x="7525487" y="2450351"/>
            <a:ext cx="2788373" cy="406714"/>
          </a:xfrm>
          <a:prstGeom prst="rect">
            <a:avLst/>
          </a:prstGeom>
          <a:noFill/>
        </p:spPr>
        <p:txBody>
          <a:bodyPr wrap="square" lIns="0" tIns="0" rIns="0" bIns="0" rtlCol="0" anchor="t">
            <a:spAutoFit/>
          </a:bodyPr>
          <a:lstStyle/>
          <a:p>
            <a:pPr>
              <a:lnSpc>
                <a:spcPct val="130000"/>
              </a:lnSpc>
            </a:pPr>
            <a:r>
              <a:rPr lang="en-US" altLang="zh-CN" sz="1050" b="0" dirty="0">
                <a:solidFill>
                  <a:schemeClr val="tx1">
                    <a:lumMod val="75000"/>
                    <a:lumOff val="25000"/>
                  </a:schemeClr>
                </a:solidFill>
                <a:effectLst/>
                <a:latin typeface="+mn-ea"/>
              </a:rPr>
              <a:t>Lorem ipsum dolor sit amet, consectetur adipisicing elit, sed do eiusmod tempor</a:t>
            </a:r>
            <a:endParaRPr lang="zh-CN" altLang="en-US" sz="1050" b="0" dirty="0">
              <a:solidFill>
                <a:schemeClr val="tx1">
                  <a:lumMod val="75000"/>
                  <a:lumOff val="25000"/>
                </a:schemeClr>
              </a:solidFill>
              <a:effectLst/>
              <a:latin typeface="+mn-ea"/>
            </a:endParaRPr>
          </a:p>
        </p:txBody>
      </p:sp>
      <p:sp>
        <p:nvSpPr>
          <p:cNvPr id="13" name="椭圆 12">
            <a:extLst>
              <a:ext uri="{FF2B5EF4-FFF2-40B4-BE49-F238E27FC236}">
                <a16:creationId xmlns:a16="http://schemas.microsoft.com/office/drawing/2014/main" id="{7E6B3C55-232B-41D3-964B-2565E719D3B3}"/>
              </a:ext>
            </a:extLst>
          </p:cNvPr>
          <p:cNvSpPr/>
          <p:nvPr/>
        </p:nvSpPr>
        <p:spPr>
          <a:xfrm>
            <a:off x="6646152" y="2138068"/>
            <a:ext cx="714375" cy="71437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15" name="圆角矩形 10">
            <a:extLst>
              <a:ext uri="{FF2B5EF4-FFF2-40B4-BE49-F238E27FC236}">
                <a16:creationId xmlns:a16="http://schemas.microsoft.com/office/drawing/2014/main" id="{9781E5AA-D202-4171-BC38-7657D5C2A670}"/>
              </a:ext>
            </a:extLst>
          </p:cNvPr>
          <p:cNvSpPr/>
          <p:nvPr/>
        </p:nvSpPr>
        <p:spPr>
          <a:xfrm>
            <a:off x="1499616" y="3981450"/>
            <a:ext cx="3914775" cy="1343316"/>
          </a:xfrm>
          <a:prstGeom prst="roundRect">
            <a:avLst>
              <a:gd name="adj" fmla="val 0"/>
            </a:avLst>
          </a:prstGeom>
          <a:solidFill>
            <a:sysClr val="window" lastClr="FFFFFF"/>
          </a:solidFill>
          <a:ln w="12700" cap="flat" cmpd="sng" algn="ctr">
            <a:noFill/>
            <a:prstDash val="solid"/>
            <a:miter lim="800000"/>
          </a:ln>
          <a:effectLst>
            <a:outerShdw blurRad="127000" algn="ctr" rotWithShape="0">
              <a:schemeClr val="accent1">
                <a:lumMod val="50000"/>
                <a:alpha val="25000"/>
              </a:schemeClr>
            </a:outerShdw>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800" b="0" i="0" u="none" strike="noStrike" kern="0" cap="none" spc="0" normalizeH="0" baseline="0" noProof="0" dirty="0">
                <a:ln>
                  <a:noFill/>
                </a:ln>
                <a:solidFill>
                  <a:prstClr val="white"/>
                </a:solidFill>
                <a:effectLst/>
                <a:uLnTx/>
                <a:uFillTx/>
              </a:rPr>
              <a:t>电商体量增速迅猛</a:t>
            </a:r>
            <a:endParaRPr kumimoji="0" lang="en-US" altLang="zh-CN" sz="1800" b="0" i="0" u="none" strike="noStrike" kern="0" cap="none" spc="0" normalizeH="0" baseline="0" noProof="0" dirty="0">
              <a:ln>
                <a:noFill/>
              </a:ln>
              <a:solidFill>
                <a:prstClr val="white"/>
              </a:solidFill>
              <a:effectLst/>
              <a:uLnTx/>
              <a:uFillTx/>
            </a:endParaRPr>
          </a:p>
        </p:txBody>
      </p:sp>
      <p:sp>
        <p:nvSpPr>
          <p:cNvPr id="16" name="梯形 15">
            <a:extLst>
              <a:ext uri="{FF2B5EF4-FFF2-40B4-BE49-F238E27FC236}">
                <a16:creationId xmlns:a16="http://schemas.microsoft.com/office/drawing/2014/main" id="{F97DEF33-7C64-4B29-9816-7BF11C36A482}"/>
              </a:ext>
            </a:extLst>
          </p:cNvPr>
          <p:cNvSpPr/>
          <p:nvPr>
            <p:custDataLst>
              <p:tags r:id="rId4"/>
            </p:custDataLst>
          </p:nvPr>
        </p:nvSpPr>
        <p:spPr>
          <a:xfrm rot="10800000">
            <a:off x="1499614" y="5324763"/>
            <a:ext cx="3914776" cy="180685"/>
          </a:xfrm>
          <a:prstGeom prst="trapezoid">
            <a:avLst>
              <a:gd name="adj" fmla="val 196907"/>
            </a:avLst>
          </a:prstGeom>
          <a:gradFill flip="none" rotWithShape="1">
            <a:gsLst>
              <a:gs pos="0">
                <a:schemeClr val="accent1">
                  <a:alpha val="0"/>
                </a:schemeClr>
              </a:gs>
              <a:gs pos="100000">
                <a:schemeClr val="accent1">
                  <a:alpha val="30000"/>
                </a:schemeClr>
              </a:gs>
            </a:gsLst>
            <a:lin ang="5400000" scaled="1"/>
            <a:tileRect/>
          </a:gra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endParaRPr>
          </a:p>
        </p:txBody>
      </p:sp>
      <p:sp>
        <p:nvSpPr>
          <p:cNvPr id="17" name="文本框 16">
            <a:extLst>
              <a:ext uri="{FF2B5EF4-FFF2-40B4-BE49-F238E27FC236}">
                <a16:creationId xmlns:a16="http://schemas.microsoft.com/office/drawing/2014/main" id="{EF41F66E-1FFB-4E9C-9E46-308C1FEB9CD5}"/>
              </a:ext>
            </a:extLst>
          </p:cNvPr>
          <p:cNvSpPr txBox="1"/>
          <p:nvPr/>
        </p:nvSpPr>
        <p:spPr>
          <a:xfrm>
            <a:off x="2543912" y="4217379"/>
            <a:ext cx="1154162" cy="276999"/>
          </a:xfrm>
          <a:prstGeom prst="rect">
            <a:avLst/>
          </a:prstGeom>
          <a:noFill/>
        </p:spPr>
        <p:txBody>
          <a:bodyPr wrap="none" lIns="0" tIns="0" rIns="0" bIns="0" rtlCol="0" anchor="t">
            <a:spAutoFit/>
          </a:bodyPr>
          <a:lstStyle/>
          <a:p>
            <a:r>
              <a:rPr lang="zh-CN" altLang="en-US" dirty="0">
                <a:solidFill>
                  <a:schemeClr val="accent1"/>
                </a:solidFill>
                <a:latin typeface="+mj-ea"/>
                <a:ea typeface="+mj-ea"/>
              </a:rPr>
              <a:t>关键词标题</a:t>
            </a:r>
          </a:p>
        </p:txBody>
      </p:sp>
      <p:sp>
        <p:nvSpPr>
          <p:cNvPr id="18" name="文本框 17">
            <a:extLst>
              <a:ext uri="{FF2B5EF4-FFF2-40B4-BE49-F238E27FC236}">
                <a16:creationId xmlns:a16="http://schemas.microsoft.com/office/drawing/2014/main" id="{1F27BADB-75BE-4F0E-AF1F-674EA3C206AE}"/>
              </a:ext>
            </a:extLst>
          </p:cNvPr>
          <p:cNvSpPr txBox="1"/>
          <p:nvPr/>
        </p:nvSpPr>
        <p:spPr>
          <a:xfrm>
            <a:off x="2543912" y="4526801"/>
            <a:ext cx="2788373" cy="406714"/>
          </a:xfrm>
          <a:prstGeom prst="rect">
            <a:avLst/>
          </a:prstGeom>
          <a:noFill/>
        </p:spPr>
        <p:txBody>
          <a:bodyPr wrap="square" lIns="0" tIns="0" rIns="0" bIns="0" rtlCol="0" anchor="t">
            <a:spAutoFit/>
          </a:bodyPr>
          <a:lstStyle/>
          <a:p>
            <a:pPr>
              <a:lnSpc>
                <a:spcPct val="130000"/>
              </a:lnSpc>
            </a:pPr>
            <a:r>
              <a:rPr lang="en-US" altLang="zh-CN" sz="1050" b="0" dirty="0">
                <a:solidFill>
                  <a:schemeClr val="tx1">
                    <a:lumMod val="75000"/>
                    <a:lumOff val="25000"/>
                  </a:schemeClr>
                </a:solidFill>
                <a:effectLst/>
                <a:latin typeface="+mn-ea"/>
              </a:rPr>
              <a:t>Lorem ipsum dolor sit amet, consectetur adipisicing elit, sed do eiusmod tempor</a:t>
            </a:r>
            <a:endParaRPr lang="zh-CN" altLang="en-US" sz="1050" b="0" dirty="0">
              <a:solidFill>
                <a:schemeClr val="tx1">
                  <a:lumMod val="75000"/>
                  <a:lumOff val="25000"/>
                </a:schemeClr>
              </a:solidFill>
              <a:effectLst/>
              <a:latin typeface="+mn-ea"/>
            </a:endParaRPr>
          </a:p>
        </p:txBody>
      </p:sp>
      <p:sp>
        <p:nvSpPr>
          <p:cNvPr id="19" name="椭圆 18">
            <a:extLst>
              <a:ext uri="{FF2B5EF4-FFF2-40B4-BE49-F238E27FC236}">
                <a16:creationId xmlns:a16="http://schemas.microsoft.com/office/drawing/2014/main" id="{FFB4C947-522E-495F-A53F-62D6322B7A1E}"/>
              </a:ext>
            </a:extLst>
          </p:cNvPr>
          <p:cNvSpPr/>
          <p:nvPr/>
        </p:nvSpPr>
        <p:spPr>
          <a:xfrm>
            <a:off x="1664577" y="4214518"/>
            <a:ext cx="714375" cy="71437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21" name="圆角矩形 10">
            <a:extLst>
              <a:ext uri="{FF2B5EF4-FFF2-40B4-BE49-F238E27FC236}">
                <a16:creationId xmlns:a16="http://schemas.microsoft.com/office/drawing/2014/main" id="{D6B7F220-444B-4CDE-90D9-D1732F70FF93}"/>
              </a:ext>
            </a:extLst>
          </p:cNvPr>
          <p:cNvSpPr/>
          <p:nvPr/>
        </p:nvSpPr>
        <p:spPr>
          <a:xfrm>
            <a:off x="6481191" y="3981450"/>
            <a:ext cx="3914775" cy="1343316"/>
          </a:xfrm>
          <a:prstGeom prst="roundRect">
            <a:avLst>
              <a:gd name="adj" fmla="val 0"/>
            </a:avLst>
          </a:prstGeom>
          <a:solidFill>
            <a:sysClr val="window" lastClr="FFFFFF"/>
          </a:solidFill>
          <a:ln w="12700" cap="flat" cmpd="sng" algn="ctr">
            <a:noFill/>
            <a:prstDash val="solid"/>
            <a:miter lim="800000"/>
          </a:ln>
          <a:effectLst>
            <a:outerShdw blurRad="127000" algn="ctr" rotWithShape="0">
              <a:schemeClr val="accent1">
                <a:lumMod val="50000"/>
                <a:alpha val="25000"/>
              </a:schemeClr>
            </a:outerShdw>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800" b="0" i="0" u="none" strike="noStrike" kern="0" cap="none" spc="0" normalizeH="0" baseline="0" noProof="0" dirty="0">
                <a:ln>
                  <a:noFill/>
                </a:ln>
                <a:solidFill>
                  <a:prstClr val="white"/>
                </a:solidFill>
                <a:effectLst/>
                <a:uLnTx/>
                <a:uFillTx/>
              </a:rPr>
              <a:t>电商体量增速迅猛</a:t>
            </a:r>
            <a:endParaRPr kumimoji="0" lang="en-US" altLang="zh-CN" sz="1800" b="0" i="0" u="none" strike="noStrike" kern="0" cap="none" spc="0" normalizeH="0" baseline="0" noProof="0" dirty="0">
              <a:ln>
                <a:noFill/>
              </a:ln>
              <a:solidFill>
                <a:prstClr val="white"/>
              </a:solidFill>
              <a:effectLst/>
              <a:uLnTx/>
              <a:uFillTx/>
            </a:endParaRPr>
          </a:p>
        </p:txBody>
      </p:sp>
      <p:sp>
        <p:nvSpPr>
          <p:cNvPr id="22" name="梯形 21">
            <a:extLst>
              <a:ext uri="{FF2B5EF4-FFF2-40B4-BE49-F238E27FC236}">
                <a16:creationId xmlns:a16="http://schemas.microsoft.com/office/drawing/2014/main" id="{0595D425-D66D-452D-B34E-871639E880C8}"/>
              </a:ext>
            </a:extLst>
          </p:cNvPr>
          <p:cNvSpPr/>
          <p:nvPr>
            <p:custDataLst>
              <p:tags r:id="rId5"/>
            </p:custDataLst>
          </p:nvPr>
        </p:nvSpPr>
        <p:spPr>
          <a:xfrm rot="10800000">
            <a:off x="6481189" y="5324763"/>
            <a:ext cx="3914776" cy="180685"/>
          </a:xfrm>
          <a:prstGeom prst="trapezoid">
            <a:avLst>
              <a:gd name="adj" fmla="val 196907"/>
            </a:avLst>
          </a:prstGeom>
          <a:gradFill flip="none" rotWithShape="1">
            <a:gsLst>
              <a:gs pos="0">
                <a:schemeClr val="accent1">
                  <a:alpha val="0"/>
                </a:schemeClr>
              </a:gs>
              <a:gs pos="100000">
                <a:schemeClr val="accent1">
                  <a:alpha val="30000"/>
                </a:schemeClr>
              </a:gs>
            </a:gsLst>
            <a:lin ang="5400000" scaled="1"/>
            <a:tileRect/>
          </a:gra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endParaRPr>
          </a:p>
        </p:txBody>
      </p:sp>
      <p:sp>
        <p:nvSpPr>
          <p:cNvPr id="23" name="文本框 22">
            <a:extLst>
              <a:ext uri="{FF2B5EF4-FFF2-40B4-BE49-F238E27FC236}">
                <a16:creationId xmlns:a16="http://schemas.microsoft.com/office/drawing/2014/main" id="{68BA06DF-EA29-4D36-A13C-B0A79A5B738A}"/>
              </a:ext>
            </a:extLst>
          </p:cNvPr>
          <p:cNvSpPr txBox="1"/>
          <p:nvPr/>
        </p:nvSpPr>
        <p:spPr>
          <a:xfrm>
            <a:off x="7525487" y="4217379"/>
            <a:ext cx="1154162" cy="276999"/>
          </a:xfrm>
          <a:prstGeom prst="rect">
            <a:avLst/>
          </a:prstGeom>
          <a:noFill/>
        </p:spPr>
        <p:txBody>
          <a:bodyPr wrap="none" lIns="0" tIns="0" rIns="0" bIns="0" rtlCol="0" anchor="t">
            <a:spAutoFit/>
          </a:bodyPr>
          <a:lstStyle/>
          <a:p>
            <a:r>
              <a:rPr lang="zh-CN" altLang="en-US" dirty="0">
                <a:solidFill>
                  <a:schemeClr val="accent1"/>
                </a:solidFill>
                <a:latin typeface="+mj-ea"/>
                <a:ea typeface="+mj-ea"/>
              </a:rPr>
              <a:t>关键词标题</a:t>
            </a:r>
          </a:p>
        </p:txBody>
      </p:sp>
      <p:sp>
        <p:nvSpPr>
          <p:cNvPr id="24" name="文本框 23">
            <a:extLst>
              <a:ext uri="{FF2B5EF4-FFF2-40B4-BE49-F238E27FC236}">
                <a16:creationId xmlns:a16="http://schemas.microsoft.com/office/drawing/2014/main" id="{07978CD4-9067-4E34-A5E0-C3D3E75A6B42}"/>
              </a:ext>
            </a:extLst>
          </p:cNvPr>
          <p:cNvSpPr txBox="1"/>
          <p:nvPr/>
        </p:nvSpPr>
        <p:spPr>
          <a:xfrm>
            <a:off x="7525487" y="4526801"/>
            <a:ext cx="2788373" cy="406714"/>
          </a:xfrm>
          <a:prstGeom prst="rect">
            <a:avLst/>
          </a:prstGeom>
          <a:noFill/>
        </p:spPr>
        <p:txBody>
          <a:bodyPr wrap="square" lIns="0" tIns="0" rIns="0" bIns="0" rtlCol="0" anchor="t">
            <a:spAutoFit/>
          </a:bodyPr>
          <a:lstStyle/>
          <a:p>
            <a:pPr>
              <a:lnSpc>
                <a:spcPct val="130000"/>
              </a:lnSpc>
            </a:pPr>
            <a:r>
              <a:rPr lang="en-US" altLang="zh-CN" sz="1050" b="0" dirty="0">
                <a:solidFill>
                  <a:schemeClr val="tx1">
                    <a:lumMod val="75000"/>
                    <a:lumOff val="25000"/>
                  </a:schemeClr>
                </a:solidFill>
                <a:effectLst/>
                <a:latin typeface="+mn-ea"/>
              </a:rPr>
              <a:t>Lorem ipsum dolor sit amet, consectetur adipisicing elit, sed do eiusmod tempor</a:t>
            </a:r>
            <a:endParaRPr lang="zh-CN" altLang="en-US" sz="1050" b="0" dirty="0">
              <a:solidFill>
                <a:schemeClr val="tx1">
                  <a:lumMod val="75000"/>
                  <a:lumOff val="25000"/>
                </a:schemeClr>
              </a:solidFill>
              <a:effectLst/>
              <a:latin typeface="+mn-ea"/>
            </a:endParaRPr>
          </a:p>
        </p:txBody>
      </p:sp>
      <p:sp>
        <p:nvSpPr>
          <p:cNvPr id="25" name="椭圆 24">
            <a:extLst>
              <a:ext uri="{FF2B5EF4-FFF2-40B4-BE49-F238E27FC236}">
                <a16:creationId xmlns:a16="http://schemas.microsoft.com/office/drawing/2014/main" id="{F5D608D1-6589-449E-B191-47CA4DD33F41}"/>
              </a:ext>
            </a:extLst>
          </p:cNvPr>
          <p:cNvSpPr/>
          <p:nvPr/>
        </p:nvSpPr>
        <p:spPr>
          <a:xfrm>
            <a:off x="6646152" y="4214518"/>
            <a:ext cx="714375" cy="71437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26" name="iconfont-1191-801535">
            <a:extLst>
              <a:ext uri="{FF2B5EF4-FFF2-40B4-BE49-F238E27FC236}">
                <a16:creationId xmlns:a16="http://schemas.microsoft.com/office/drawing/2014/main" id="{AEFCBA9C-80C0-4497-93E7-FF4D276CD77A}"/>
              </a:ext>
            </a:extLst>
          </p:cNvPr>
          <p:cNvSpPr/>
          <p:nvPr/>
        </p:nvSpPr>
        <p:spPr>
          <a:xfrm>
            <a:off x="1893593" y="2341753"/>
            <a:ext cx="273381" cy="346851"/>
          </a:xfrm>
          <a:custGeom>
            <a:avLst/>
            <a:gdLst>
              <a:gd name="T0" fmla="*/ 3166 w 6332"/>
              <a:gd name="T1" fmla="*/ 0 h 8034"/>
              <a:gd name="T2" fmla="*/ 0 w 6332"/>
              <a:gd name="T3" fmla="*/ 3166 h 8034"/>
              <a:gd name="T4" fmla="*/ 2481 w 6332"/>
              <a:gd name="T5" fmla="*/ 7590 h 8034"/>
              <a:gd name="T6" fmla="*/ 3853 w 6332"/>
              <a:gd name="T7" fmla="*/ 7588 h 8034"/>
              <a:gd name="T8" fmla="*/ 6332 w 6332"/>
              <a:gd name="T9" fmla="*/ 3166 h 8034"/>
              <a:gd name="T10" fmla="*/ 3166 w 6332"/>
              <a:gd name="T11" fmla="*/ 0 h 8034"/>
              <a:gd name="T12" fmla="*/ 3166 w 6332"/>
              <a:gd name="T13" fmla="*/ 0 h 8034"/>
              <a:gd name="T14" fmla="*/ 3166 w 6332"/>
              <a:gd name="T15" fmla="*/ 0 h 8034"/>
              <a:gd name="T16" fmla="*/ 3166 w 6332"/>
              <a:gd name="T17" fmla="*/ 0 h 8034"/>
              <a:gd name="T18" fmla="*/ 3166 w 6332"/>
              <a:gd name="T19" fmla="*/ 4529 h 8034"/>
              <a:gd name="T20" fmla="*/ 1702 w 6332"/>
              <a:gd name="T21" fmla="*/ 3065 h 8034"/>
              <a:gd name="T22" fmla="*/ 3166 w 6332"/>
              <a:gd name="T23" fmla="*/ 1600 h 8034"/>
              <a:gd name="T24" fmla="*/ 4630 w 6332"/>
              <a:gd name="T25" fmla="*/ 3065 h 8034"/>
              <a:gd name="T26" fmla="*/ 3166 w 6332"/>
              <a:gd name="T27" fmla="*/ 4529 h 8034"/>
              <a:gd name="T28" fmla="*/ 3166 w 6332"/>
              <a:gd name="T29" fmla="*/ 4529 h 8034"/>
              <a:gd name="T30" fmla="*/ 3166 w 6332"/>
              <a:gd name="T31" fmla="*/ 4529 h 8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332" h="8034">
                <a:moveTo>
                  <a:pt x="3166" y="0"/>
                </a:moveTo>
                <a:cubicBezTo>
                  <a:pt x="1418" y="0"/>
                  <a:pt x="0" y="1418"/>
                  <a:pt x="0" y="3166"/>
                </a:cubicBezTo>
                <a:cubicBezTo>
                  <a:pt x="0" y="4914"/>
                  <a:pt x="2481" y="7590"/>
                  <a:pt x="2481" y="7590"/>
                </a:cubicBezTo>
                <a:cubicBezTo>
                  <a:pt x="2859" y="8031"/>
                  <a:pt x="3478" y="8034"/>
                  <a:pt x="3853" y="7588"/>
                </a:cubicBezTo>
                <a:cubicBezTo>
                  <a:pt x="3853" y="7588"/>
                  <a:pt x="6332" y="4914"/>
                  <a:pt x="6332" y="3166"/>
                </a:cubicBezTo>
                <a:cubicBezTo>
                  <a:pt x="6332" y="1418"/>
                  <a:pt x="4914" y="0"/>
                  <a:pt x="3166" y="0"/>
                </a:cubicBezTo>
                <a:lnTo>
                  <a:pt x="3166" y="0"/>
                </a:lnTo>
                <a:lnTo>
                  <a:pt x="3166" y="0"/>
                </a:lnTo>
                <a:lnTo>
                  <a:pt x="3166" y="0"/>
                </a:lnTo>
                <a:close/>
                <a:moveTo>
                  <a:pt x="3166" y="4529"/>
                </a:moveTo>
                <a:cubicBezTo>
                  <a:pt x="2357" y="4529"/>
                  <a:pt x="1702" y="3874"/>
                  <a:pt x="1702" y="3065"/>
                </a:cubicBezTo>
                <a:cubicBezTo>
                  <a:pt x="1702" y="2256"/>
                  <a:pt x="2357" y="1600"/>
                  <a:pt x="3166" y="1600"/>
                </a:cubicBezTo>
                <a:cubicBezTo>
                  <a:pt x="3975" y="1600"/>
                  <a:pt x="4630" y="2256"/>
                  <a:pt x="4630" y="3065"/>
                </a:cubicBezTo>
                <a:cubicBezTo>
                  <a:pt x="4630" y="3874"/>
                  <a:pt x="3975" y="4529"/>
                  <a:pt x="3166" y="4529"/>
                </a:cubicBezTo>
                <a:lnTo>
                  <a:pt x="3166" y="4529"/>
                </a:lnTo>
                <a:close/>
                <a:moveTo>
                  <a:pt x="3166" y="4529"/>
                </a:move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 name="iconfont-1191-801535">
            <a:extLst>
              <a:ext uri="{FF2B5EF4-FFF2-40B4-BE49-F238E27FC236}">
                <a16:creationId xmlns:a16="http://schemas.microsoft.com/office/drawing/2014/main" id="{A23D459A-6F8E-46A6-81C1-B0FE5E1ED3DB}"/>
              </a:ext>
            </a:extLst>
          </p:cNvPr>
          <p:cNvSpPr/>
          <p:nvPr/>
        </p:nvSpPr>
        <p:spPr>
          <a:xfrm>
            <a:off x="1789319" y="4362500"/>
            <a:ext cx="442386" cy="333579"/>
          </a:xfrm>
          <a:custGeom>
            <a:avLst/>
            <a:gdLst>
              <a:gd name="T0" fmla="*/ 10397 w 12867"/>
              <a:gd name="T1" fmla="*/ 3762 h 9701"/>
              <a:gd name="T2" fmla="*/ 12479 w 12867"/>
              <a:gd name="T3" fmla="*/ 6910 h 9701"/>
              <a:gd name="T4" fmla="*/ 12802 w 12867"/>
              <a:gd name="T5" fmla="*/ 9701 h 9701"/>
              <a:gd name="T6" fmla="*/ 12096 w 12867"/>
              <a:gd name="T7" fmla="*/ 8604 h 9701"/>
              <a:gd name="T8" fmla="*/ 9701 w 12867"/>
              <a:gd name="T9" fmla="*/ 6645 h 9701"/>
              <a:gd name="T10" fmla="*/ 6140 w 12867"/>
              <a:gd name="T11" fmla="*/ 6140 h 9701"/>
              <a:gd name="T12" fmla="*/ 6140 w 12867"/>
              <a:gd name="T13" fmla="*/ 8699 h 9701"/>
              <a:gd name="T14" fmla="*/ 0 w 12867"/>
              <a:gd name="T15" fmla="*/ 4350 h 9701"/>
              <a:gd name="T16" fmla="*/ 6140 w 12867"/>
              <a:gd name="T17" fmla="*/ 0 h 9701"/>
              <a:gd name="T18" fmla="*/ 6140 w 12867"/>
              <a:gd name="T19" fmla="*/ 2583 h 9701"/>
              <a:gd name="T20" fmla="*/ 8386 w 12867"/>
              <a:gd name="T21" fmla="*/ 2853 h 9701"/>
              <a:gd name="T22" fmla="*/ 10397 w 12867"/>
              <a:gd name="T23" fmla="*/ 3762 h 9701"/>
              <a:gd name="T24" fmla="*/ 10397 w 12867"/>
              <a:gd name="T25" fmla="*/ 3762 h 97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867" h="9701">
                <a:moveTo>
                  <a:pt x="10397" y="3762"/>
                </a:moveTo>
                <a:cubicBezTo>
                  <a:pt x="11157" y="4215"/>
                  <a:pt x="12090" y="5438"/>
                  <a:pt x="12479" y="6910"/>
                </a:cubicBezTo>
                <a:cubicBezTo>
                  <a:pt x="12867" y="8382"/>
                  <a:pt x="12802" y="9701"/>
                  <a:pt x="12802" y="9701"/>
                </a:cubicBezTo>
                <a:cubicBezTo>
                  <a:pt x="12802" y="9701"/>
                  <a:pt x="12300" y="8889"/>
                  <a:pt x="12096" y="8604"/>
                </a:cubicBezTo>
                <a:cubicBezTo>
                  <a:pt x="11892" y="8320"/>
                  <a:pt x="11034" y="7260"/>
                  <a:pt x="9701" y="6645"/>
                </a:cubicBezTo>
                <a:cubicBezTo>
                  <a:pt x="8368" y="6031"/>
                  <a:pt x="6140" y="6140"/>
                  <a:pt x="6140" y="6140"/>
                </a:cubicBezTo>
                <a:lnTo>
                  <a:pt x="6140" y="8699"/>
                </a:lnTo>
                <a:lnTo>
                  <a:pt x="0" y="4350"/>
                </a:lnTo>
                <a:lnTo>
                  <a:pt x="6140" y="0"/>
                </a:lnTo>
                <a:lnTo>
                  <a:pt x="6140" y="2583"/>
                </a:lnTo>
                <a:cubicBezTo>
                  <a:pt x="6140" y="2583"/>
                  <a:pt x="7615" y="2694"/>
                  <a:pt x="8386" y="2853"/>
                </a:cubicBezTo>
                <a:cubicBezTo>
                  <a:pt x="9685" y="3122"/>
                  <a:pt x="10397" y="3762"/>
                  <a:pt x="10397" y="3762"/>
                </a:cubicBezTo>
                <a:close/>
                <a:moveTo>
                  <a:pt x="10397" y="3762"/>
                </a:move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sp>
        <p:nvSpPr>
          <p:cNvPr id="28" name="iconfont-1191-801535">
            <a:extLst>
              <a:ext uri="{FF2B5EF4-FFF2-40B4-BE49-F238E27FC236}">
                <a16:creationId xmlns:a16="http://schemas.microsoft.com/office/drawing/2014/main" id="{44587F6A-EC01-4304-91BB-9310BDFA5C3B}"/>
              </a:ext>
            </a:extLst>
          </p:cNvPr>
          <p:cNvSpPr/>
          <p:nvPr/>
        </p:nvSpPr>
        <p:spPr>
          <a:xfrm>
            <a:off x="6866049" y="2315891"/>
            <a:ext cx="307012" cy="358728"/>
          </a:xfrm>
          <a:custGeom>
            <a:avLst/>
            <a:gdLst>
              <a:gd name="T0" fmla="*/ 8209 w 10908"/>
              <a:gd name="T1" fmla="*/ 2143 h 12744"/>
              <a:gd name="T2" fmla="*/ 8209 w 10908"/>
              <a:gd name="T3" fmla="*/ 1057 h 12744"/>
              <a:gd name="T4" fmla="*/ 7124 w 10908"/>
              <a:gd name="T5" fmla="*/ 0 h 12744"/>
              <a:gd name="T6" fmla="*/ 3840 w 10908"/>
              <a:gd name="T7" fmla="*/ 0 h 12744"/>
              <a:gd name="T8" fmla="*/ 2755 w 10908"/>
              <a:gd name="T9" fmla="*/ 1057 h 12744"/>
              <a:gd name="T10" fmla="*/ 2755 w 10908"/>
              <a:gd name="T11" fmla="*/ 2115 h 12744"/>
              <a:gd name="T12" fmla="*/ 0 w 10908"/>
              <a:gd name="T13" fmla="*/ 2115 h 12744"/>
              <a:gd name="T14" fmla="*/ 0 w 10908"/>
              <a:gd name="T15" fmla="*/ 3172 h 12744"/>
              <a:gd name="T16" fmla="*/ 1085 w 10908"/>
              <a:gd name="T17" fmla="*/ 3172 h 12744"/>
              <a:gd name="T18" fmla="*/ 1085 w 10908"/>
              <a:gd name="T19" fmla="*/ 11687 h 12744"/>
              <a:gd name="T20" fmla="*/ 2171 w 10908"/>
              <a:gd name="T21" fmla="*/ 12744 h 12744"/>
              <a:gd name="T22" fmla="*/ 8738 w 10908"/>
              <a:gd name="T23" fmla="*/ 12744 h 12744"/>
              <a:gd name="T24" fmla="*/ 9823 w 10908"/>
              <a:gd name="T25" fmla="*/ 11687 h 12744"/>
              <a:gd name="T26" fmla="*/ 9823 w 10908"/>
              <a:gd name="T27" fmla="*/ 3200 h 12744"/>
              <a:gd name="T28" fmla="*/ 10908 w 10908"/>
              <a:gd name="T29" fmla="*/ 3200 h 12744"/>
              <a:gd name="T30" fmla="*/ 10908 w 10908"/>
              <a:gd name="T31" fmla="*/ 2143 h 12744"/>
              <a:gd name="T32" fmla="*/ 8209 w 10908"/>
              <a:gd name="T33" fmla="*/ 2143 h 12744"/>
              <a:gd name="T34" fmla="*/ 4870 w 10908"/>
              <a:gd name="T35" fmla="*/ 10963 h 12744"/>
              <a:gd name="T36" fmla="*/ 3645 w 10908"/>
              <a:gd name="T37" fmla="*/ 10963 h 12744"/>
              <a:gd name="T38" fmla="*/ 3645 w 10908"/>
              <a:gd name="T39" fmla="*/ 4257 h 12744"/>
              <a:gd name="T40" fmla="*/ 4870 w 10908"/>
              <a:gd name="T41" fmla="*/ 4257 h 12744"/>
              <a:gd name="T42" fmla="*/ 4870 w 10908"/>
              <a:gd name="T43" fmla="*/ 10963 h 12744"/>
              <a:gd name="T44" fmla="*/ 7319 w 10908"/>
              <a:gd name="T45" fmla="*/ 10963 h 12744"/>
              <a:gd name="T46" fmla="*/ 6094 w 10908"/>
              <a:gd name="T47" fmla="*/ 10963 h 12744"/>
              <a:gd name="T48" fmla="*/ 6094 w 10908"/>
              <a:gd name="T49" fmla="*/ 4257 h 12744"/>
              <a:gd name="T50" fmla="*/ 7319 w 10908"/>
              <a:gd name="T51" fmla="*/ 4257 h 12744"/>
              <a:gd name="T52" fmla="*/ 7319 w 10908"/>
              <a:gd name="T53" fmla="*/ 10963 h 127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0908" h="12744">
                <a:moveTo>
                  <a:pt x="8209" y="2143"/>
                </a:moveTo>
                <a:lnTo>
                  <a:pt x="8209" y="1057"/>
                </a:lnTo>
                <a:cubicBezTo>
                  <a:pt x="8209" y="473"/>
                  <a:pt x="7708" y="0"/>
                  <a:pt x="7124" y="0"/>
                </a:cubicBezTo>
                <a:lnTo>
                  <a:pt x="3840" y="0"/>
                </a:lnTo>
                <a:cubicBezTo>
                  <a:pt x="3228" y="0"/>
                  <a:pt x="2755" y="473"/>
                  <a:pt x="2755" y="1057"/>
                </a:cubicBezTo>
                <a:lnTo>
                  <a:pt x="2755" y="2115"/>
                </a:lnTo>
                <a:lnTo>
                  <a:pt x="0" y="2115"/>
                </a:lnTo>
                <a:lnTo>
                  <a:pt x="0" y="3172"/>
                </a:lnTo>
                <a:lnTo>
                  <a:pt x="1085" y="3172"/>
                </a:lnTo>
                <a:lnTo>
                  <a:pt x="1085" y="11687"/>
                </a:lnTo>
                <a:cubicBezTo>
                  <a:pt x="1085" y="12271"/>
                  <a:pt x="1586" y="12744"/>
                  <a:pt x="2171" y="12744"/>
                </a:cubicBezTo>
                <a:lnTo>
                  <a:pt x="8738" y="12744"/>
                </a:lnTo>
                <a:cubicBezTo>
                  <a:pt x="9350" y="12744"/>
                  <a:pt x="9823" y="12271"/>
                  <a:pt x="9823" y="11687"/>
                </a:cubicBezTo>
                <a:lnTo>
                  <a:pt x="9823" y="3200"/>
                </a:lnTo>
                <a:lnTo>
                  <a:pt x="10908" y="3200"/>
                </a:lnTo>
                <a:lnTo>
                  <a:pt x="10908" y="2143"/>
                </a:lnTo>
                <a:lnTo>
                  <a:pt x="8209" y="2143"/>
                </a:lnTo>
                <a:close/>
                <a:moveTo>
                  <a:pt x="4870" y="10963"/>
                </a:moveTo>
                <a:lnTo>
                  <a:pt x="3645" y="10963"/>
                </a:lnTo>
                <a:lnTo>
                  <a:pt x="3645" y="4257"/>
                </a:lnTo>
                <a:lnTo>
                  <a:pt x="4870" y="4257"/>
                </a:lnTo>
                <a:lnTo>
                  <a:pt x="4870" y="10963"/>
                </a:lnTo>
                <a:close/>
                <a:moveTo>
                  <a:pt x="7319" y="10963"/>
                </a:moveTo>
                <a:lnTo>
                  <a:pt x="6094" y="10963"/>
                </a:lnTo>
                <a:lnTo>
                  <a:pt x="6094" y="4257"/>
                </a:lnTo>
                <a:lnTo>
                  <a:pt x="7319" y="4257"/>
                </a:lnTo>
                <a:lnTo>
                  <a:pt x="7319" y="1096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sp>
        <p:nvSpPr>
          <p:cNvPr id="29" name="iconfont-1191-801535">
            <a:extLst>
              <a:ext uri="{FF2B5EF4-FFF2-40B4-BE49-F238E27FC236}">
                <a16:creationId xmlns:a16="http://schemas.microsoft.com/office/drawing/2014/main" id="{1BED95D6-1B90-460D-980C-4CEA237B7332}"/>
              </a:ext>
            </a:extLst>
          </p:cNvPr>
          <p:cNvSpPr/>
          <p:nvPr/>
        </p:nvSpPr>
        <p:spPr>
          <a:xfrm>
            <a:off x="6817226" y="4369093"/>
            <a:ext cx="372226" cy="371918"/>
          </a:xfrm>
          <a:custGeom>
            <a:avLst/>
            <a:gdLst>
              <a:gd name="T0" fmla="*/ 11212 w 12607"/>
              <a:gd name="T1" fmla="*/ 4855 h 12594"/>
              <a:gd name="T2" fmla="*/ 11019 w 12607"/>
              <a:gd name="T3" fmla="*/ 4855 h 12594"/>
              <a:gd name="T4" fmla="*/ 10644 w 12607"/>
              <a:gd name="T5" fmla="*/ 3981 h 12594"/>
              <a:gd name="T6" fmla="*/ 10796 w 12607"/>
              <a:gd name="T7" fmla="*/ 3830 h 12594"/>
              <a:gd name="T8" fmla="*/ 10796 w 12607"/>
              <a:gd name="T9" fmla="*/ 1864 h 12594"/>
              <a:gd name="T10" fmla="*/ 10755 w 12607"/>
              <a:gd name="T11" fmla="*/ 1823 h 12594"/>
              <a:gd name="T12" fmla="*/ 8781 w 12607"/>
              <a:gd name="T13" fmla="*/ 1823 h 12594"/>
              <a:gd name="T14" fmla="*/ 8611 w 12607"/>
              <a:gd name="T15" fmla="*/ 1992 h 12594"/>
              <a:gd name="T16" fmla="*/ 7729 w 12607"/>
              <a:gd name="T17" fmla="*/ 1634 h 12594"/>
              <a:gd name="T18" fmla="*/ 7729 w 12607"/>
              <a:gd name="T19" fmla="*/ 1390 h 12594"/>
              <a:gd name="T20" fmla="*/ 6333 w 12607"/>
              <a:gd name="T21" fmla="*/ 0 h 12594"/>
              <a:gd name="T22" fmla="*/ 6274 w 12607"/>
              <a:gd name="T23" fmla="*/ 0 h 12594"/>
              <a:gd name="T24" fmla="*/ 4878 w 12607"/>
              <a:gd name="T25" fmla="*/ 1390 h 12594"/>
              <a:gd name="T26" fmla="*/ 4878 w 12607"/>
              <a:gd name="T27" fmla="*/ 1652 h 12594"/>
              <a:gd name="T28" fmla="*/ 4033 w 12607"/>
              <a:gd name="T29" fmla="*/ 2003 h 12594"/>
              <a:gd name="T30" fmla="*/ 3852 w 12607"/>
              <a:gd name="T31" fmla="*/ 1823 h 12594"/>
              <a:gd name="T32" fmla="*/ 1878 w 12607"/>
              <a:gd name="T33" fmla="*/ 1823 h 12594"/>
              <a:gd name="T34" fmla="*/ 1837 w 12607"/>
              <a:gd name="T35" fmla="*/ 1864 h 12594"/>
              <a:gd name="T36" fmla="*/ 1837 w 12607"/>
              <a:gd name="T37" fmla="*/ 3830 h 12594"/>
              <a:gd name="T38" fmla="*/ 2012 w 12607"/>
              <a:gd name="T39" fmla="*/ 4004 h 12594"/>
              <a:gd name="T40" fmla="*/ 1650 w 12607"/>
              <a:gd name="T41" fmla="*/ 4855 h 12594"/>
              <a:gd name="T42" fmla="*/ 1396 w 12607"/>
              <a:gd name="T43" fmla="*/ 4855 h 12594"/>
              <a:gd name="T44" fmla="*/ 0 w 12607"/>
              <a:gd name="T45" fmla="*/ 6245 h 12594"/>
              <a:gd name="T46" fmla="*/ 0 w 12607"/>
              <a:gd name="T47" fmla="*/ 6304 h 12594"/>
              <a:gd name="T48" fmla="*/ 1396 w 12607"/>
              <a:gd name="T49" fmla="*/ 7694 h 12594"/>
              <a:gd name="T50" fmla="*/ 1618 w 12607"/>
              <a:gd name="T51" fmla="*/ 7694 h 12594"/>
              <a:gd name="T52" fmla="*/ 1983 w 12607"/>
              <a:gd name="T53" fmla="*/ 8593 h 12594"/>
              <a:gd name="T54" fmla="*/ 1814 w 12607"/>
              <a:gd name="T55" fmla="*/ 8761 h 12594"/>
              <a:gd name="T56" fmla="*/ 1814 w 12607"/>
              <a:gd name="T57" fmla="*/ 10728 h 12594"/>
              <a:gd name="T58" fmla="*/ 1855 w 12607"/>
              <a:gd name="T59" fmla="*/ 10769 h 12594"/>
              <a:gd name="T60" fmla="*/ 3829 w 12607"/>
              <a:gd name="T61" fmla="*/ 10769 h 12594"/>
              <a:gd name="T62" fmla="*/ 3981 w 12607"/>
              <a:gd name="T63" fmla="*/ 10618 h 12594"/>
              <a:gd name="T64" fmla="*/ 4878 w 12607"/>
              <a:gd name="T65" fmla="*/ 10999 h 12594"/>
              <a:gd name="T66" fmla="*/ 4878 w 12607"/>
              <a:gd name="T67" fmla="*/ 11204 h 12594"/>
              <a:gd name="T68" fmla="*/ 6274 w 12607"/>
              <a:gd name="T69" fmla="*/ 12594 h 12594"/>
              <a:gd name="T70" fmla="*/ 6333 w 12607"/>
              <a:gd name="T71" fmla="*/ 12594 h 12594"/>
              <a:gd name="T72" fmla="*/ 7729 w 12607"/>
              <a:gd name="T73" fmla="*/ 11204 h 12594"/>
              <a:gd name="T74" fmla="*/ 7729 w 12607"/>
              <a:gd name="T75" fmla="*/ 11016 h 12594"/>
              <a:gd name="T76" fmla="*/ 8664 w 12607"/>
              <a:gd name="T77" fmla="*/ 10630 h 12594"/>
              <a:gd name="T78" fmla="*/ 8803 w 12607"/>
              <a:gd name="T79" fmla="*/ 10769 h 12594"/>
              <a:gd name="T80" fmla="*/ 10777 w 12607"/>
              <a:gd name="T81" fmla="*/ 10769 h 12594"/>
              <a:gd name="T82" fmla="*/ 10819 w 12607"/>
              <a:gd name="T83" fmla="*/ 10728 h 12594"/>
              <a:gd name="T84" fmla="*/ 10819 w 12607"/>
              <a:gd name="T85" fmla="*/ 8761 h 12594"/>
              <a:gd name="T86" fmla="*/ 10673 w 12607"/>
              <a:gd name="T87" fmla="*/ 8616 h 12594"/>
              <a:gd name="T88" fmla="*/ 11051 w 12607"/>
              <a:gd name="T89" fmla="*/ 7694 h 12594"/>
              <a:gd name="T90" fmla="*/ 11211 w 12607"/>
              <a:gd name="T91" fmla="*/ 7694 h 12594"/>
              <a:gd name="T92" fmla="*/ 12607 w 12607"/>
              <a:gd name="T93" fmla="*/ 6304 h 12594"/>
              <a:gd name="T94" fmla="*/ 12607 w 12607"/>
              <a:gd name="T95" fmla="*/ 6245 h 12594"/>
              <a:gd name="T96" fmla="*/ 11212 w 12607"/>
              <a:gd name="T97" fmla="*/ 4855 h 12594"/>
              <a:gd name="T98" fmla="*/ 6337 w 12607"/>
              <a:gd name="T99" fmla="*/ 8498 h 12594"/>
              <a:gd name="T100" fmla="*/ 4152 w 12607"/>
              <a:gd name="T101" fmla="*/ 6323 h 12594"/>
              <a:gd name="T102" fmla="*/ 6337 w 12607"/>
              <a:gd name="T103" fmla="*/ 4146 h 12594"/>
              <a:gd name="T104" fmla="*/ 8521 w 12607"/>
              <a:gd name="T105" fmla="*/ 6323 h 12594"/>
              <a:gd name="T106" fmla="*/ 6337 w 12607"/>
              <a:gd name="T107" fmla="*/ 8498 h 12594"/>
              <a:gd name="T108" fmla="*/ 6337 w 12607"/>
              <a:gd name="T109" fmla="*/ 8498 h 125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2607" h="12594">
                <a:moveTo>
                  <a:pt x="11212" y="4855"/>
                </a:moveTo>
                <a:lnTo>
                  <a:pt x="11019" y="4855"/>
                </a:lnTo>
                <a:cubicBezTo>
                  <a:pt x="10923" y="4550"/>
                  <a:pt x="10796" y="4258"/>
                  <a:pt x="10644" y="3981"/>
                </a:cubicBezTo>
                <a:lnTo>
                  <a:pt x="10796" y="3830"/>
                </a:lnTo>
                <a:cubicBezTo>
                  <a:pt x="11341" y="3287"/>
                  <a:pt x="11341" y="2407"/>
                  <a:pt x="10796" y="1864"/>
                </a:cubicBezTo>
                <a:lnTo>
                  <a:pt x="10755" y="1823"/>
                </a:lnTo>
                <a:cubicBezTo>
                  <a:pt x="10209" y="1279"/>
                  <a:pt x="9326" y="1279"/>
                  <a:pt x="8781" y="1823"/>
                </a:cubicBezTo>
                <a:lnTo>
                  <a:pt x="8611" y="1992"/>
                </a:lnTo>
                <a:cubicBezTo>
                  <a:pt x="8332" y="1846"/>
                  <a:pt x="8037" y="1725"/>
                  <a:pt x="7729" y="1634"/>
                </a:cubicBezTo>
                <a:lnTo>
                  <a:pt x="7729" y="1390"/>
                </a:lnTo>
                <a:cubicBezTo>
                  <a:pt x="7729" y="622"/>
                  <a:pt x="7104" y="0"/>
                  <a:pt x="6333" y="0"/>
                </a:cubicBezTo>
                <a:lnTo>
                  <a:pt x="6274" y="0"/>
                </a:lnTo>
                <a:cubicBezTo>
                  <a:pt x="5503" y="0"/>
                  <a:pt x="4878" y="622"/>
                  <a:pt x="4878" y="1390"/>
                </a:cubicBezTo>
                <a:lnTo>
                  <a:pt x="4878" y="1652"/>
                </a:lnTo>
                <a:cubicBezTo>
                  <a:pt x="4584" y="1742"/>
                  <a:pt x="4301" y="1861"/>
                  <a:pt x="4033" y="2003"/>
                </a:cubicBezTo>
                <a:lnTo>
                  <a:pt x="3852" y="1823"/>
                </a:lnTo>
                <a:cubicBezTo>
                  <a:pt x="3307" y="1280"/>
                  <a:pt x="2423" y="1280"/>
                  <a:pt x="1878" y="1823"/>
                </a:cubicBezTo>
                <a:lnTo>
                  <a:pt x="1837" y="1864"/>
                </a:lnTo>
                <a:cubicBezTo>
                  <a:pt x="1292" y="2407"/>
                  <a:pt x="1292" y="3287"/>
                  <a:pt x="1837" y="3830"/>
                </a:cubicBezTo>
                <a:lnTo>
                  <a:pt x="2012" y="4004"/>
                </a:lnTo>
                <a:cubicBezTo>
                  <a:pt x="1865" y="4274"/>
                  <a:pt x="1743" y="4558"/>
                  <a:pt x="1650" y="4855"/>
                </a:cubicBezTo>
                <a:lnTo>
                  <a:pt x="1396" y="4855"/>
                </a:lnTo>
                <a:cubicBezTo>
                  <a:pt x="625" y="4855"/>
                  <a:pt x="0" y="5478"/>
                  <a:pt x="0" y="6245"/>
                </a:cubicBezTo>
                <a:lnTo>
                  <a:pt x="0" y="6304"/>
                </a:lnTo>
                <a:cubicBezTo>
                  <a:pt x="0" y="7072"/>
                  <a:pt x="625" y="7694"/>
                  <a:pt x="1396" y="7694"/>
                </a:cubicBezTo>
                <a:lnTo>
                  <a:pt x="1618" y="7694"/>
                </a:lnTo>
                <a:cubicBezTo>
                  <a:pt x="1710" y="8008"/>
                  <a:pt x="1833" y="8308"/>
                  <a:pt x="1983" y="8593"/>
                </a:cubicBezTo>
                <a:lnTo>
                  <a:pt x="1814" y="8761"/>
                </a:lnTo>
                <a:cubicBezTo>
                  <a:pt x="1269" y="9304"/>
                  <a:pt x="1269" y="10185"/>
                  <a:pt x="1814" y="10728"/>
                </a:cubicBezTo>
                <a:lnTo>
                  <a:pt x="1855" y="10769"/>
                </a:lnTo>
                <a:cubicBezTo>
                  <a:pt x="2400" y="11312"/>
                  <a:pt x="3284" y="11312"/>
                  <a:pt x="3829" y="10769"/>
                </a:cubicBezTo>
                <a:lnTo>
                  <a:pt x="3981" y="10618"/>
                </a:lnTo>
                <a:cubicBezTo>
                  <a:pt x="4264" y="10773"/>
                  <a:pt x="4564" y="10902"/>
                  <a:pt x="4878" y="10999"/>
                </a:cubicBezTo>
                <a:lnTo>
                  <a:pt x="4878" y="11204"/>
                </a:lnTo>
                <a:cubicBezTo>
                  <a:pt x="4878" y="11972"/>
                  <a:pt x="5503" y="12594"/>
                  <a:pt x="6274" y="12594"/>
                </a:cubicBezTo>
                <a:lnTo>
                  <a:pt x="6333" y="12594"/>
                </a:lnTo>
                <a:cubicBezTo>
                  <a:pt x="7104" y="12594"/>
                  <a:pt x="7729" y="11972"/>
                  <a:pt x="7729" y="11204"/>
                </a:cubicBezTo>
                <a:lnTo>
                  <a:pt x="7729" y="11016"/>
                </a:lnTo>
                <a:cubicBezTo>
                  <a:pt x="8056" y="10920"/>
                  <a:pt x="8368" y="10788"/>
                  <a:pt x="8664" y="10630"/>
                </a:cubicBezTo>
                <a:lnTo>
                  <a:pt x="8803" y="10769"/>
                </a:lnTo>
                <a:cubicBezTo>
                  <a:pt x="9348" y="11312"/>
                  <a:pt x="10233" y="11312"/>
                  <a:pt x="10777" y="10769"/>
                </a:cubicBezTo>
                <a:lnTo>
                  <a:pt x="10819" y="10728"/>
                </a:lnTo>
                <a:cubicBezTo>
                  <a:pt x="11364" y="10185"/>
                  <a:pt x="11364" y="9304"/>
                  <a:pt x="10819" y="8761"/>
                </a:cubicBezTo>
                <a:lnTo>
                  <a:pt x="10673" y="8616"/>
                </a:lnTo>
                <a:cubicBezTo>
                  <a:pt x="10828" y="8324"/>
                  <a:pt x="10956" y="8017"/>
                  <a:pt x="11051" y="7694"/>
                </a:cubicBezTo>
                <a:lnTo>
                  <a:pt x="11211" y="7694"/>
                </a:lnTo>
                <a:cubicBezTo>
                  <a:pt x="11982" y="7694"/>
                  <a:pt x="12607" y="7071"/>
                  <a:pt x="12607" y="6304"/>
                </a:cubicBezTo>
                <a:lnTo>
                  <a:pt x="12607" y="6245"/>
                </a:lnTo>
                <a:cubicBezTo>
                  <a:pt x="12607" y="5477"/>
                  <a:pt x="11982" y="4855"/>
                  <a:pt x="11212" y="4855"/>
                </a:cubicBezTo>
                <a:close/>
                <a:moveTo>
                  <a:pt x="6337" y="8498"/>
                </a:moveTo>
                <a:cubicBezTo>
                  <a:pt x="5130" y="8498"/>
                  <a:pt x="4152" y="7524"/>
                  <a:pt x="4152" y="6323"/>
                </a:cubicBezTo>
                <a:cubicBezTo>
                  <a:pt x="4152" y="5120"/>
                  <a:pt x="5130" y="4146"/>
                  <a:pt x="6337" y="4146"/>
                </a:cubicBezTo>
                <a:cubicBezTo>
                  <a:pt x="7544" y="4146"/>
                  <a:pt x="8521" y="5120"/>
                  <a:pt x="8521" y="6323"/>
                </a:cubicBezTo>
                <a:cubicBezTo>
                  <a:pt x="8521" y="7524"/>
                  <a:pt x="7544" y="8498"/>
                  <a:pt x="6337" y="8498"/>
                </a:cubicBezTo>
                <a:close/>
                <a:moveTo>
                  <a:pt x="6337" y="8498"/>
                </a:move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spTree>
    <p:extLst>
      <p:ext uri="{BB962C8B-B14F-4D97-AF65-F5344CB8AC3E}">
        <p14:creationId xmlns:p14="http://schemas.microsoft.com/office/powerpoint/2010/main" val="844577010"/>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2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任意形状 9">
            <a:extLst>
              <a:ext uri="{FF2B5EF4-FFF2-40B4-BE49-F238E27FC236}">
                <a16:creationId xmlns:a16="http://schemas.microsoft.com/office/drawing/2014/main" id="{79C0392D-8AB4-4C9C-BB47-E593C645F444}"/>
              </a:ext>
            </a:extLst>
          </p:cNvPr>
          <p:cNvSpPr/>
          <p:nvPr/>
        </p:nvSpPr>
        <p:spPr>
          <a:xfrm>
            <a:off x="0" y="6457950"/>
            <a:ext cx="12192000" cy="400050"/>
          </a:xfrm>
          <a:custGeom>
            <a:avLst/>
            <a:gdLst>
              <a:gd name="connsiteX0" fmla="*/ 12192000 w 12192000"/>
              <a:gd name="connsiteY0" fmla="*/ 0 h 329410"/>
              <a:gd name="connsiteX1" fmla="*/ 12192000 w 12192000"/>
              <a:gd name="connsiteY1" fmla="*/ 329410 h 329410"/>
              <a:gd name="connsiteX2" fmla="*/ 0 w 12192000"/>
              <a:gd name="connsiteY2" fmla="*/ 329410 h 329410"/>
              <a:gd name="connsiteX3" fmla="*/ 0 w 12192000"/>
              <a:gd name="connsiteY3" fmla="*/ 29375 h 329410"/>
              <a:gd name="connsiteX4" fmla="*/ 577089 w 12192000"/>
              <a:gd name="connsiteY4" fmla="*/ 49593 h 329410"/>
              <a:gd name="connsiteX5" fmla="*/ 5704114 w 12192000"/>
              <a:gd name="connsiteY5" fmla="*/ 124873 h 329410"/>
              <a:gd name="connsiteX6" fmla="*/ 11982536 w 12192000"/>
              <a:gd name="connsiteY6" fmla="*/ 9255 h 329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329410">
                <a:moveTo>
                  <a:pt x="12192000" y="0"/>
                </a:moveTo>
                <a:lnTo>
                  <a:pt x="12192000" y="329410"/>
                </a:lnTo>
                <a:lnTo>
                  <a:pt x="0" y="329410"/>
                </a:lnTo>
                <a:lnTo>
                  <a:pt x="0" y="29375"/>
                </a:lnTo>
                <a:lnTo>
                  <a:pt x="577089" y="49593"/>
                </a:lnTo>
                <a:cubicBezTo>
                  <a:pt x="2152931" y="98068"/>
                  <a:pt x="3885480" y="124873"/>
                  <a:pt x="5704114" y="124873"/>
                </a:cubicBezTo>
                <a:cubicBezTo>
                  <a:pt x="7977407" y="124873"/>
                  <a:pt x="10116192" y="82990"/>
                  <a:pt x="11982536" y="9255"/>
                </a:cubicBezTo>
                <a:close/>
              </a:path>
            </a:pathLst>
          </a:custGeom>
          <a:solidFill>
            <a:schemeClr val="accent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zh-CN" altLang="en-US"/>
          </a:p>
        </p:txBody>
      </p:sp>
      <p:sp>
        <p:nvSpPr>
          <p:cNvPr id="7" name="矩形: 圆角 6">
            <a:extLst>
              <a:ext uri="{FF2B5EF4-FFF2-40B4-BE49-F238E27FC236}">
                <a16:creationId xmlns:a16="http://schemas.microsoft.com/office/drawing/2014/main" id="{7BEAE8DC-9230-44AB-B70F-407BAFB7694E}"/>
              </a:ext>
            </a:extLst>
          </p:cNvPr>
          <p:cNvSpPr/>
          <p:nvPr/>
        </p:nvSpPr>
        <p:spPr>
          <a:xfrm>
            <a:off x="595884" y="1961025"/>
            <a:ext cx="2606040" cy="3060700"/>
          </a:xfrm>
          <a:prstGeom prst="roundRect">
            <a:avLst>
              <a:gd name="adj" fmla="val 8246"/>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11" name="文本框 10">
            <a:extLst>
              <a:ext uri="{FF2B5EF4-FFF2-40B4-BE49-F238E27FC236}">
                <a16:creationId xmlns:a16="http://schemas.microsoft.com/office/drawing/2014/main" id="{E9529F98-A975-4553-8FF6-DCB0233D4C1F}"/>
              </a:ext>
            </a:extLst>
          </p:cNvPr>
          <p:cNvSpPr txBox="1"/>
          <p:nvPr/>
        </p:nvSpPr>
        <p:spPr>
          <a:xfrm>
            <a:off x="894683" y="3051658"/>
            <a:ext cx="2008442" cy="1102353"/>
          </a:xfrm>
          <a:prstGeom prst="rect">
            <a:avLst/>
          </a:prstGeom>
          <a:noFill/>
        </p:spPr>
        <p:txBody>
          <a:bodyPr wrap="square" lIns="0" tIns="0" rIns="0" bIns="0" rtlCol="0" anchor="t">
            <a:spAutoFit/>
          </a:bodyPr>
          <a:lstStyle/>
          <a:p>
            <a:pPr algn="ctr">
              <a:lnSpc>
                <a:spcPct val="130000"/>
              </a:lnSpc>
            </a:pPr>
            <a:r>
              <a:rPr lang="en-US" altLang="zh-CN" sz="1400" b="0" dirty="0">
                <a:solidFill>
                  <a:schemeClr val="bg1"/>
                </a:solidFill>
                <a:effectLst/>
                <a:latin typeface="+mn-ea"/>
              </a:rPr>
              <a:t>Lorem ipsum dolor sit amet, consectetur adipisicing elit, sed do eiusmod tempor</a:t>
            </a:r>
            <a:endParaRPr lang="zh-CN" altLang="en-US" sz="1400" b="0" dirty="0">
              <a:solidFill>
                <a:schemeClr val="bg1"/>
              </a:solidFill>
              <a:effectLst/>
              <a:latin typeface="+mn-ea"/>
            </a:endParaRPr>
          </a:p>
        </p:txBody>
      </p:sp>
      <p:sp>
        <p:nvSpPr>
          <p:cNvPr id="9" name="矩形: 圆角 8">
            <a:extLst>
              <a:ext uri="{FF2B5EF4-FFF2-40B4-BE49-F238E27FC236}">
                <a16:creationId xmlns:a16="http://schemas.microsoft.com/office/drawing/2014/main" id="{5891974E-341A-4803-A3D6-BAB59473BDF1}"/>
              </a:ext>
            </a:extLst>
          </p:cNvPr>
          <p:cNvSpPr/>
          <p:nvPr/>
        </p:nvSpPr>
        <p:spPr>
          <a:xfrm>
            <a:off x="1100330" y="2401507"/>
            <a:ext cx="1597150" cy="485874"/>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000" dirty="0">
                <a:solidFill>
                  <a:schemeClr val="accent1"/>
                </a:solidFill>
                <a:latin typeface="+mj-ea"/>
                <a:ea typeface="+mj-ea"/>
              </a:rPr>
              <a:t>关键词标题</a:t>
            </a:r>
          </a:p>
        </p:txBody>
      </p:sp>
      <p:sp>
        <p:nvSpPr>
          <p:cNvPr id="49" name="矩形: 圆角 48">
            <a:extLst>
              <a:ext uri="{FF2B5EF4-FFF2-40B4-BE49-F238E27FC236}">
                <a16:creationId xmlns:a16="http://schemas.microsoft.com/office/drawing/2014/main" id="{769F8404-2570-4F9A-8AF2-6ABBB04571B2}"/>
              </a:ext>
            </a:extLst>
          </p:cNvPr>
          <p:cNvSpPr/>
          <p:nvPr/>
        </p:nvSpPr>
        <p:spPr>
          <a:xfrm>
            <a:off x="3393948" y="1961025"/>
            <a:ext cx="2606040" cy="3060700"/>
          </a:xfrm>
          <a:prstGeom prst="roundRect">
            <a:avLst>
              <a:gd name="adj" fmla="val 8246"/>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50" name="文本框 49">
            <a:extLst>
              <a:ext uri="{FF2B5EF4-FFF2-40B4-BE49-F238E27FC236}">
                <a16:creationId xmlns:a16="http://schemas.microsoft.com/office/drawing/2014/main" id="{6F091C77-2BAC-435B-8290-72C66E07E2FB}"/>
              </a:ext>
            </a:extLst>
          </p:cNvPr>
          <p:cNvSpPr txBox="1"/>
          <p:nvPr/>
        </p:nvSpPr>
        <p:spPr>
          <a:xfrm>
            <a:off x="3692747" y="3051658"/>
            <a:ext cx="2008442" cy="1102353"/>
          </a:xfrm>
          <a:prstGeom prst="rect">
            <a:avLst/>
          </a:prstGeom>
          <a:noFill/>
        </p:spPr>
        <p:txBody>
          <a:bodyPr wrap="square" lIns="0" tIns="0" rIns="0" bIns="0" rtlCol="0" anchor="t">
            <a:spAutoFit/>
          </a:bodyPr>
          <a:lstStyle/>
          <a:p>
            <a:pPr algn="ctr">
              <a:lnSpc>
                <a:spcPct val="130000"/>
              </a:lnSpc>
            </a:pPr>
            <a:r>
              <a:rPr lang="en-US" altLang="zh-CN" sz="1400" b="0" dirty="0">
                <a:solidFill>
                  <a:schemeClr val="bg1"/>
                </a:solidFill>
                <a:effectLst/>
                <a:latin typeface="+mn-ea"/>
              </a:rPr>
              <a:t>Lorem ipsum dolor sit amet, consectetur adipisicing elit, sed do eiusmod tempor</a:t>
            </a:r>
            <a:endParaRPr lang="zh-CN" altLang="en-US" sz="1400" b="0" dirty="0">
              <a:solidFill>
                <a:schemeClr val="bg1"/>
              </a:solidFill>
              <a:effectLst/>
              <a:latin typeface="+mn-ea"/>
            </a:endParaRPr>
          </a:p>
        </p:txBody>
      </p:sp>
      <p:sp>
        <p:nvSpPr>
          <p:cNvPr id="51" name="矩形: 圆角 50">
            <a:extLst>
              <a:ext uri="{FF2B5EF4-FFF2-40B4-BE49-F238E27FC236}">
                <a16:creationId xmlns:a16="http://schemas.microsoft.com/office/drawing/2014/main" id="{C0464CBE-8979-41CD-ADCA-C62C0E0D3325}"/>
              </a:ext>
            </a:extLst>
          </p:cNvPr>
          <p:cNvSpPr/>
          <p:nvPr/>
        </p:nvSpPr>
        <p:spPr>
          <a:xfrm>
            <a:off x="3898394" y="2401507"/>
            <a:ext cx="1597150" cy="485874"/>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000">
                <a:solidFill>
                  <a:schemeClr val="accent1"/>
                </a:solidFill>
                <a:latin typeface="+mj-ea"/>
                <a:ea typeface="+mj-ea"/>
              </a:rPr>
              <a:t>关键词标题</a:t>
            </a:r>
            <a:endParaRPr lang="zh-CN" altLang="en-US" sz="2000" dirty="0">
              <a:solidFill>
                <a:schemeClr val="accent1"/>
              </a:solidFill>
              <a:latin typeface="+mj-ea"/>
              <a:ea typeface="+mj-ea"/>
            </a:endParaRPr>
          </a:p>
        </p:txBody>
      </p:sp>
      <p:sp>
        <p:nvSpPr>
          <p:cNvPr id="53" name="矩形: 圆角 52">
            <a:extLst>
              <a:ext uri="{FF2B5EF4-FFF2-40B4-BE49-F238E27FC236}">
                <a16:creationId xmlns:a16="http://schemas.microsoft.com/office/drawing/2014/main" id="{C5F05B3E-A495-4844-9059-7916622EC4BC}"/>
              </a:ext>
            </a:extLst>
          </p:cNvPr>
          <p:cNvSpPr/>
          <p:nvPr/>
        </p:nvSpPr>
        <p:spPr>
          <a:xfrm>
            <a:off x="6192012" y="1961025"/>
            <a:ext cx="2606040" cy="3060700"/>
          </a:xfrm>
          <a:prstGeom prst="roundRect">
            <a:avLst>
              <a:gd name="adj" fmla="val 8246"/>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54" name="文本框 53">
            <a:extLst>
              <a:ext uri="{FF2B5EF4-FFF2-40B4-BE49-F238E27FC236}">
                <a16:creationId xmlns:a16="http://schemas.microsoft.com/office/drawing/2014/main" id="{AC9B3181-C1E4-4F44-A298-3DFEA2A1EE41}"/>
              </a:ext>
            </a:extLst>
          </p:cNvPr>
          <p:cNvSpPr txBox="1"/>
          <p:nvPr/>
        </p:nvSpPr>
        <p:spPr>
          <a:xfrm>
            <a:off x="6490811" y="3051658"/>
            <a:ext cx="2008442" cy="1102353"/>
          </a:xfrm>
          <a:prstGeom prst="rect">
            <a:avLst/>
          </a:prstGeom>
          <a:noFill/>
        </p:spPr>
        <p:txBody>
          <a:bodyPr wrap="square" lIns="0" tIns="0" rIns="0" bIns="0" rtlCol="0" anchor="t">
            <a:spAutoFit/>
          </a:bodyPr>
          <a:lstStyle/>
          <a:p>
            <a:pPr algn="ctr">
              <a:lnSpc>
                <a:spcPct val="130000"/>
              </a:lnSpc>
            </a:pPr>
            <a:r>
              <a:rPr lang="en-US" altLang="zh-CN" sz="1400" b="0" dirty="0">
                <a:solidFill>
                  <a:schemeClr val="bg1"/>
                </a:solidFill>
                <a:effectLst/>
                <a:latin typeface="+mn-ea"/>
              </a:rPr>
              <a:t>Lorem ipsum dolor sit amet, consectetur adipisicing elit, sed do eiusmod tempor</a:t>
            </a:r>
            <a:endParaRPr lang="zh-CN" altLang="en-US" sz="1400" b="0" dirty="0">
              <a:solidFill>
                <a:schemeClr val="bg1"/>
              </a:solidFill>
              <a:effectLst/>
              <a:latin typeface="+mn-ea"/>
            </a:endParaRPr>
          </a:p>
        </p:txBody>
      </p:sp>
      <p:sp>
        <p:nvSpPr>
          <p:cNvPr id="55" name="矩形: 圆角 54">
            <a:extLst>
              <a:ext uri="{FF2B5EF4-FFF2-40B4-BE49-F238E27FC236}">
                <a16:creationId xmlns:a16="http://schemas.microsoft.com/office/drawing/2014/main" id="{BC0FEFEA-E73D-4726-8168-8A70BC488675}"/>
              </a:ext>
            </a:extLst>
          </p:cNvPr>
          <p:cNvSpPr/>
          <p:nvPr/>
        </p:nvSpPr>
        <p:spPr>
          <a:xfrm>
            <a:off x="6696458" y="2401507"/>
            <a:ext cx="1597150" cy="485874"/>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000">
                <a:solidFill>
                  <a:schemeClr val="accent1"/>
                </a:solidFill>
                <a:latin typeface="+mj-ea"/>
                <a:ea typeface="+mj-ea"/>
              </a:rPr>
              <a:t>关键词标题</a:t>
            </a:r>
            <a:endParaRPr lang="zh-CN" altLang="en-US" sz="2000" dirty="0">
              <a:solidFill>
                <a:schemeClr val="accent1"/>
              </a:solidFill>
              <a:latin typeface="+mj-ea"/>
              <a:ea typeface="+mj-ea"/>
            </a:endParaRPr>
          </a:p>
        </p:txBody>
      </p:sp>
      <p:sp>
        <p:nvSpPr>
          <p:cNvPr id="57" name="矩形: 圆角 56">
            <a:extLst>
              <a:ext uri="{FF2B5EF4-FFF2-40B4-BE49-F238E27FC236}">
                <a16:creationId xmlns:a16="http://schemas.microsoft.com/office/drawing/2014/main" id="{7D7E47AE-1DAD-449D-B258-B7D7501443C3}"/>
              </a:ext>
            </a:extLst>
          </p:cNvPr>
          <p:cNvSpPr/>
          <p:nvPr/>
        </p:nvSpPr>
        <p:spPr>
          <a:xfrm>
            <a:off x="8990076" y="1961025"/>
            <a:ext cx="2606040" cy="3060700"/>
          </a:xfrm>
          <a:prstGeom prst="roundRect">
            <a:avLst>
              <a:gd name="adj" fmla="val 8246"/>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58" name="文本框 57">
            <a:extLst>
              <a:ext uri="{FF2B5EF4-FFF2-40B4-BE49-F238E27FC236}">
                <a16:creationId xmlns:a16="http://schemas.microsoft.com/office/drawing/2014/main" id="{02F36373-842B-4640-8791-3F4B076AB473}"/>
              </a:ext>
            </a:extLst>
          </p:cNvPr>
          <p:cNvSpPr txBox="1"/>
          <p:nvPr/>
        </p:nvSpPr>
        <p:spPr>
          <a:xfrm>
            <a:off x="9288875" y="3051658"/>
            <a:ext cx="2008442" cy="1102353"/>
          </a:xfrm>
          <a:prstGeom prst="rect">
            <a:avLst/>
          </a:prstGeom>
          <a:noFill/>
        </p:spPr>
        <p:txBody>
          <a:bodyPr wrap="square" lIns="0" tIns="0" rIns="0" bIns="0" rtlCol="0" anchor="t">
            <a:spAutoFit/>
          </a:bodyPr>
          <a:lstStyle/>
          <a:p>
            <a:pPr algn="ctr">
              <a:lnSpc>
                <a:spcPct val="130000"/>
              </a:lnSpc>
            </a:pPr>
            <a:r>
              <a:rPr lang="en-US" altLang="zh-CN" sz="1400" b="0" dirty="0">
                <a:solidFill>
                  <a:schemeClr val="bg1"/>
                </a:solidFill>
                <a:effectLst/>
                <a:latin typeface="+mn-ea"/>
              </a:rPr>
              <a:t>Lorem ipsum dolor sit amet, consectetur adipisicing elit, sed do eiusmod tempor</a:t>
            </a:r>
            <a:endParaRPr lang="zh-CN" altLang="en-US" sz="1400" b="0" dirty="0">
              <a:solidFill>
                <a:schemeClr val="bg1"/>
              </a:solidFill>
              <a:effectLst/>
              <a:latin typeface="+mn-ea"/>
            </a:endParaRPr>
          </a:p>
        </p:txBody>
      </p:sp>
      <p:sp>
        <p:nvSpPr>
          <p:cNvPr id="59" name="矩形: 圆角 58">
            <a:extLst>
              <a:ext uri="{FF2B5EF4-FFF2-40B4-BE49-F238E27FC236}">
                <a16:creationId xmlns:a16="http://schemas.microsoft.com/office/drawing/2014/main" id="{A1747B45-19C2-4C2B-A496-EFF121EE6C4C}"/>
              </a:ext>
            </a:extLst>
          </p:cNvPr>
          <p:cNvSpPr/>
          <p:nvPr/>
        </p:nvSpPr>
        <p:spPr>
          <a:xfrm>
            <a:off x="9494522" y="2401507"/>
            <a:ext cx="1597150" cy="485874"/>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000">
                <a:solidFill>
                  <a:schemeClr val="accent1"/>
                </a:solidFill>
                <a:latin typeface="+mj-ea"/>
                <a:ea typeface="+mj-ea"/>
              </a:rPr>
              <a:t>关键词标题</a:t>
            </a:r>
            <a:endParaRPr lang="zh-CN" altLang="en-US" sz="2000" dirty="0">
              <a:solidFill>
                <a:schemeClr val="accent1"/>
              </a:solidFill>
              <a:latin typeface="+mj-ea"/>
              <a:ea typeface="+mj-ea"/>
            </a:endParaRPr>
          </a:p>
        </p:txBody>
      </p:sp>
    </p:spTree>
    <p:extLst>
      <p:ext uri="{BB962C8B-B14F-4D97-AF65-F5344CB8AC3E}">
        <p14:creationId xmlns:p14="http://schemas.microsoft.com/office/powerpoint/2010/main" val="2473741440"/>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2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任意形状 9">
            <a:extLst>
              <a:ext uri="{FF2B5EF4-FFF2-40B4-BE49-F238E27FC236}">
                <a16:creationId xmlns:a16="http://schemas.microsoft.com/office/drawing/2014/main" id="{79C0392D-8AB4-4C9C-BB47-E593C645F444}"/>
              </a:ext>
            </a:extLst>
          </p:cNvPr>
          <p:cNvSpPr/>
          <p:nvPr/>
        </p:nvSpPr>
        <p:spPr>
          <a:xfrm>
            <a:off x="0" y="6457950"/>
            <a:ext cx="12192000" cy="400050"/>
          </a:xfrm>
          <a:custGeom>
            <a:avLst/>
            <a:gdLst>
              <a:gd name="connsiteX0" fmla="*/ 12192000 w 12192000"/>
              <a:gd name="connsiteY0" fmla="*/ 0 h 329410"/>
              <a:gd name="connsiteX1" fmla="*/ 12192000 w 12192000"/>
              <a:gd name="connsiteY1" fmla="*/ 329410 h 329410"/>
              <a:gd name="connsiteX2" fmla="*/ 0 w 12192000"/>
              <a:gd name="connsiteY2" fmla="*/ 329410 h 329410"/>
              <a:gd name="connsiteX3" fmla="*/ 0 w 12192000"/>
              <a:gd name="connsiteY3" fmla="*/ 29375 h 329410"/>
              <a:gd name="connsiteX4" fmla="*/ 577089 w 12192000"/>
              <a:gd name="connsiteY4" fmla="*/ 49593 h 329410"/>
              <a:gd name="connsiteX5" fmla="*/ 5704114 w 12192000"/>
              <a:gd name="connsiteY5" fmla="*/ 124873 h 329410"/>
              <a:gd name="connsiteX6" fmla="*/ 11982536 w 12192000"/>
              <a:gd name="connsiteY6" fmla="*/ 9255 h 329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329410">
                <a:moveTo>
                  <a:pt x="12192000" y="0"/>
                </a:moveTo>
                <a:lnTo>
                  <a:pt x="12192000" y="329410"/>
                </a:lnTo>
                <a:lnTo>
                  <a:pt x="0" y="329410"/>
                </a:lnTo>
                <a:lnTo>
                  <a:pt x="0" y="29375"/>
                </a:lnTo>
                <a:lnTo>
                  <a:pt x="577089" y="49593"/>
                </a:lnTo>
                <a:cubicBezTo>
                  <a:pt x="2152931" y="98068"/>
                  <a:pt x="3885480" y="124873"/>
                  <a:pt x="5704114" y="124873"/>
                </a:cubicBezTo>
                <a:cubicBezTo>
                  <a:pt x="7977407" y="124873"/>
                  <a:pt x="10116192" y="82990"/>
                  <a:pt x="11982536" y="9255"/>
                </a:cubicBezTo>
                <a:close/>
              </a:path>
            </a:pathLst>
          </a:custGeom>
          <a:solidFill>
            <a:schemeClr val="accent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zh-CN" altLang="en-US"/>
          </a:p>
        </p:txBody>
      </p:sp>
      <p:sp>
        <p:nvSpPr>
          <p:cNvPr id="7" name="矩形: 圆角 6">
            <a:extLst>
              <a:ext uri="{FF2B5EF4-FFF2-40B4-BE49-F238E27FC236}">
                <a16:creationId xmlns:a16="http://schemas.microsoft.com/office/drawing/2014/main" id="{7BEAE8DC-9230-44AB-B70F-407BAFB7694E}"/>
              </a:ext>
            </a:extLst>
          </p:cNvPr>
          <p:cNvSpPr/>
          <p:nvPr/>
        </p:nvSpPr>
        <p:spPr>
          <a:xfrm>
            <a:off x="441113" y="1961025"/>
            <a:ext cx="2606040" cy="3060700"/>
          </a:xfrm>
          <a:prstGeom prst="roundRect">
            <a:avLst>
              <a:gd name="adj" fmla="val 8246"/>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11" name="文本框 10">
            <a:extLst>
              <a:ext uri="{FF2B5EF4-FFF2-40B4-BE49-F238E27FC236}">
                <a16:creationId xmlns:a16="http://schemas.microsoft.com/office/drawing/2014/main" id="{E9529F98-A975-4553-8FF6-DCB0233D4C1F}"/>
              </a:ext>
            </a:extLst>
          </p:cNvPr>
          <p:cNvSpPr txBox="1"/>
          <p:nvPr/>
        </p:nvSpPr>
        <p:spPr>
          <a:xfrm>
            <a:off x="739911" y="3051658"/>
            <a:ext cx="2008442" cy="1102353"/>
          </a:xfrm>
          <a:prstGeom prst="rect">
            <a:avLst/>
          </a:prstGeom>
          <a:noFill/>
        </p:spPr>
        <p:txBody>
          <a:bodyPr wrap="square" lIns="0" tIns="0" rIns="0" bIns="0" rtlCol="0" anchor="t">
            <a:spAutoFit/>
          </a:bodyPr>
          <a:lstStyle/>
          <a:p>
            <a:pPr algn="ctr">
              <a:lnSpc>
                <a:spcPct val="130000"/>
              </a:lnSpc>
            </a:pPr>
            <a:r>
              <a:rPr lang="en-US" altLang="zh-CN" sz="1400" b="0" dirty="0">
                <a:solidFill>
                  <a:schemeClr val="bg1"/>
                </a:solidFill>
                <a:effectLst/>
                <a:latin typeface="+mn-ea"/>
              </a:rPr>
              <a:t>Lorem ipsum dolor sit amet, consectetur adipisicing elit, sed do eiusmod tempor</a:t>
            </a:r>
            <a:endParaRPr lang="zh-CN" altLang="en-US" sz="1400" b="0" dirty="0">
              <a:solidFill>
                <a:schemeClr val="bg1"/>
              </a:solidFill>
              <a:effectLst/>
              <a:latin typeface="+mn-ea"/>
            </a:endParaRPr>
          </a:p>
        </p:txBody>
      </p:sp>
      <p:sp>
        <p:nvSpPr>
          <p:cNvPr id="9" name="矩形: 圆角 8">
            <a:extLst>
              <a:ext uri="{FF2B5EF4-FFF2-40B4-BE49-F238E27FC236}">
                <a16:creationId xmlns:a16="http://schemas.microsoft.com/office/drawing/2014/main" id="{5891974E-341A-4803-A3D6-BAB59473BDF1}"/>
              </a:ext>
            </a:extLst>
          </p:cNvPr>
          <p:cNvSpPr/>
          <p:nvPr/>
        </p:nvSpPr>
        <p:spPr>
          <a:xfrm>
            <a:off x="347388" y="2385199"/>
            <a:ext cx="2793490" cy="485874"/>
          </a:xfrm>
          <a:prstGeom prst="roundRect">
            <a:avLst>
              <a:gd name="adj" fmla="val 0"/>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400" dirty="0">
                <a:solidFill>
                  <a:schemeClr val="bg1"/>
                </a:solidFill>
                <a:latin typeface="+mj-ea"/>
                <a:ea typeface="+mj-ea"/>
              </a:rPr>
              <a:t>关键词标题</a:t>
            </a:r>
          </a:p>
        </p:txBody>
      </p:sp>
      <p:sp>
        <p:nvSpPr>
          <p:cNvPr id="8" name="直角三角形 7">
            <a:extLst>
              <a:ext uri="{FF2B5EF4-FFF2-40B4-BE49-F238E27FC236}">
                <a16:creationId xmlns:a16="http://schemas.microsoft.com/office/drawing/2014/main" id="{9E65A2F3-FB3E-470F-9BF0-B8937F0CF5FF}"/>
              </a:ext>
            </a:extLst>
          </p:cNvPr>
          <p:cNvSpPr/>
          <p:nvPr/>
        </p:nvSpPr>
        <p:spPr>
          <a:xfrm rot="10800000">
            <a:off x="347384" y="2871071"/>
            <a:ext cx="102743" cy="106443"/>
          </a:xfrm>
          <a:prstGeom prst="rtTriangle">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20" name="直角三角形 19">
            <a:extLst>
              <a:ext uri="{FF2B5EF4-FFF2-40B4-BE49-F238E27FC236}">
                <a16:creationId xmlns:a16="http://schemas.microsoft.com/office/drawing/2014/main" id="{B2960F63-2A01-458C-A05E-F264A69207EF}"/>
              </a:ext>
            </a:extLst>
          </p:cNvPr>
          <p:cNvSpPr/>
          <p:nvPr/>
        </p:nvSpPr>
        <p:spPr>
          <a:xfrm rot="10800000" flipH="1">
            <a:off x="3042644" y="2871071"/>
            <a:ext cx="102743" cy="106443"/>
          </a:xfrm>
          <a:prstGeom prst="rtTriangle">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42" name="矩形: 圆角 41">
            <a:extLst>
              <a:ext uri="{FF2B5EF4-FFF2-40B4-BE49-F238E27FC236}">
                <a16:creationId xmlns:a16="http://schemas.microsoft.com/office/drawing/2014/main" id="{A1E4B76D-F217-400C-B453-5EA090359544}"/>
              </a:ext>
            </a:extLst>
          </p:cNvPr>
          <p:cNvSpPr/>
          <p:nvPr/>
        </p:nvSpPr>
        <p:spPr>
          <a:xfrm>
            <a:off x="3391726" y="1961025"/>
            <a:ext cx="2606040" cy="3060700"/>
          </a:xfrm>
          <a:prstGeom prst="roundRect">
            <a:avLst>
              <a:gd name="adj" fmla="val 8246"/>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43" name="文本框 42">
            <a:extLst>
              <a:ext uri="{FF2B5EF4-FFF2-40B4-BE49-F238E27FC236}">
                <a16:creationId xmlns:a16="http://schemas.microsoft.com/office/drawing/2014/main" id="{DAC4B850-874A-4FEF-BD76-98E230CEAE3E}"/>
              </a:ext>
            </a:extLst>
          </p:cNvPr>
          <p:cNvSpPr txBox="1"/>
          <p:nvPr/>
        </p:nvSpPr>
        <p:spPr>
          <a:xfrm>
            <a:off x="3690524" y="3051658"/>
            <a:ext cx="2008442" cy="1102353"/>
          </a:xfrm>
          <a:prstGeom prst="rect">
            <a:avLst/>
          </a:prstGeom>
          <a:noFill/>
        </p:spPr>
        <p:txBody>
          <a:bodyPr wrap="square" lIns="0" tIns="0" rIns="0" bIns="0" rtlCol="0" anchor="t">
            <a:spAutoFit/>
          </a:bodyPr>
          <a:lstStyle/>
          <a:p>
            <a:pPr algn="ctr">
              <a:lnSpc>
                <a:spcPct val="130000"/>
              </a:lnSpc>
            </a:pPr>
            <a:r>
              <a:rPr lang="en-US" altLang="zh-CN" sz="1400" b="0" dirty="0">
                <a:solidFill>
                  <a:schemeClr val="bg1"/>
                </a:solidFill>
                <a:effectLst/>
                <a:latin typeface="+mn-ea"/>
              </a:rPr>
              <a:t>Lorem ipsum dolor sit amet, consectetur adipisicing elit, sed do eiusmod tempor</a:t>
            </a:r>
            <a:endParaRPr lang="zh-CN" altLang="en-US" sz="1400" b="0" dirty="0">
              <a:solidFill>
                <a:schemeClr val="bg1"/>
              </a:solidFill>
              <a:effectLst/>
              <a:latin typeface="+mn-ea"/>
            </a:endParaRPr>
          </a:p>
        </p:txBody>
      </p:sp>
      <p:sp>
        <p:nvSpPr>
          <p:cNvPr id="44" name="矩形: 圆角 43">
            <a:extLst>
              <a:ext uri="{FF2B5EF4-FFF2-40B4-BE49-F238E27FC236}">
                <a16:creationId xmlns:a16="http://schemas.microsoft.com/office/drawing/2014/main" id="{B36C1EB8-4C02-4BB3-BBEC-F7A86D0F6D17}"/>
              </a:ext>
            </a:extLst>
          </p:cNvPr>
          <p:cNvSpPr/>
          <p:nvPr/>
        </p:nvSpPr>
        <p:spPr>
          <a:xfrm>
            <a:off x="3298001" y="2385199"/>
            <a:ext cx="2793490" cy="485874"/>
          </a:xfrm>
          <a:prstGeom prst="roundRect">
            <a:avLst>
              <a:gd name="adj" fmla="val 0"/>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400" dirty="0">
                <a:solidFill>
                  <a:schemeClr val="bg1"/>
                </a:solidFill>
                <a:latin typeface="+mj-ea"/>
                <a:ea typeface="+mj-ea"/>
              </a:rPr>
              <a:t>关键词标题</a:t>
            </a:r>
          </a:p>
        </p:txBody>
      </p:sp>
      <p:sp>
        <p:nvSpPr>
          <p:cNvPr id="45" name="直角三角形 44">
            <a:extLst>
              <a:ext uri="{FF2B5EF4-FFF2-40B4-BE49-F238E27FC236}">
                <a16:creationId xmlns:a16="http://schemas.microsoft.com/office/drawing/2014/main" id="{B7BE873D-35F9-4C28-A730-25D6D85461CE}"/>
              </a:ext>
            </a:extLst>
          </p:cNvPr>
          <p:cNvSpPr/>
          <p:nvPr/>
        </p:nvSpPr>
        <p:spPr>
          <a:xfrm rot="10800000">
            <a:off x="3297997" y="2871071"/>
            <a:ext cx="102743" cy="106443"/>
          </a:xfrm>
          <a:prstGeom prst="rtTriangle">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46" name="直角三角形 45">
            <a:extLst>
              <a:ext uri="{FF2B5EF4-FFF2-40B4-BE49-F238E27FC236}">
                <a16:creationId xmlns:a16="http://schemas.microsoft.com/office/drawing/2014/main" id="{AE93D59F-9C6B-4B68-AEC9-2F95E8EE16C4}"/>
              </a:ext>
            </a:extLst>
          </p:cNvPr>
          <p:cNvSpPr/>
          <p:nvPr/>
        </p:nvSpPr>
        <p:spPr>
          <a:xfrm rot="10800000" flipH="1">
            <a:off x="5993257" y="2871071"/>
            <a:ext cx="102743" cy="106443"/>
          </a:xfrm>
          <a:prstGeom prst="rtTriangle">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48" name="矩形: 圆角 47">
            <a:extLst>
              <a:ext uri="{FF2B5EF4-FFF2-40B4-BE49-F238E27FC236}">
                <a16:creationId xmlns:a16="http://schemas.microsoft.com/office/drawing/2014/main" id="{20030E66-D539-4BE0-9B74-24418846D1F5}"/>
              </a:ext>
            </a:extLst>
          </p:cNvPr>
          <p:cNvSpPr/>
          <p:nvPr/>
        </p:nvSpPr>
        <p:spPr>
          <a:xfrm>
            <a:off x="6342339" y="1961025"/>
            <a:ext cx="2606040" cy="3060700"/>
          </a:xfrm>
          <a:prstGeom prst="roundRect">
            <a:avLst>
              <a:gd name="adj" fmla="val 8246"/>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52" name="文本框 51">
            <a:extLst>
              <a:ext uri="{FF2B5EF4-FFF2-40B4-BE49-F238E27FC236}">
                <a16:creationId xmlns:a16="http://schemas.microsoft.com/office/drawing/2014/main" id="{8481115B-08FF-445C-994D-29E90AC7E416}"/>
              </a:ext>
            </a:extLst>
          </p:cNvPr>
          <p:cNvSpPr txBox="1"/>
          <p:nvPr/>
        </p:nvSpPr>
        <p:spPr>
          <a:xfrm>
            <a:off x="6641137" y="3051658"/>
            <a:ext cx="2008442" cy="1102353"/>
          </a:xfrm>
          <a:prstGeom prst="rect">
            <a:avLst/>
          </a:prstGeom>
          <a:noFill/>
        </p:spPr>
        <p:txBody>
          <a:bodyPr wrap="square" lIns="0" tIns="0" rIns="0" bIns="0" rtlCol="0" anchor="t">
            <a:spAutoFit/>
          </a:bodyPr>
          <a:lstStyle/>
          <a:p>
            <a:pPr algn="ctr">
              <a:lnSpc>
                <a:spcPct val="130000"/>
              </a:lnSpc>
            </a:pPr>
            <a:r>
              <a:rPr lang="en-US" altLang="zh-CN" sz="1400" b="0" dirty="0">
                <a:solidFill>
                  <a:schemeClr val="bg1"/>
                </a:solidFill>
                <a:effectLst/>
                <a:latin typeface="+mn-ea"/>
              </a:rPr>
              <a:t>Lorem ipsum dolor sit amet, consectetur adipisicing elit, sed do eiusmod tempor</a:t>
            </a:r>
            <a:endParaRPr lang="zh-CN" altLang="en-US" sz="1400" b="0" dirty="0">
              <a:solidFill>
                <a:schemeClr val="bg1"/>
              </a:solidFill>
              <a:effectLst/>
              <a:latin typeface="+mn-ea"/>
            </a:endParaRPr>
          </a:p>
        </p:txBody>
      </p:sp>
      <p:sp>
        <p:nvSpPr>
          <p:cNvPr id="56" name="矩形: 圆角 55">
            <a:extLst>
              <a:ext uri="{FF2B5EF4-FFF2-40B4-BE49-F238E27FC236}">
                <a16:creationId xmlns:a16="http://schemas.microsoft.com/office/drawing/2014/main" id="{01E3B1AE-04D6-42FA-876B-9332F9ADAE01}"/>
              </a:ext>
            </a:extLst>
          </p:cNvPr>
          <p:cNvSpPr/>
          <p:nvPr/>
        </p:nvSpPr>
        <p:spPr>
          <a:xfrm>
            <a:off x="6248614" y="2385199"/>
            <a:ext cx="2793490" cy="485874"/>
          </a:xfrm>
          <a:prstGeom prst="roundRect">
            <a:avLst>
              <a:gd name="adj" fmla="val 0"/>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400" dirty="0">
                <a:solidFill>
                  <a:schemeClr val="bg1"/>
                </a:solidFill>
                <a:latin typeface="+mj-ea"/>
                <a:ea typeface="+mj-ea"/>
              </a:rPr>
              <a:t>关键词标题</a:t>
            </a:r>
          </a:p>
        </p:txBody>
      </p:sp>
      <p:sp>
        <p:nvSpPr>
          <p:cNvPr id="60" name="直角三角形 59">
            <a:extLst>
              <a:ext uri="{FF2B5EF4-FFF2-40B4-BE49-F238E27FC236}">
                <a16:creationId xmlns:a16="http://schemas.microsoft.com/office/drawing/2014/main" id="{95534D20-7C89-4385-86EB-DEEAA5D465DA}"/>
              </a:ext>
            </a:extLst>
          </p:cNvPr>
          <p:cNvSpPr/>
          <p:nvPr/>
        </p:nvSpPr>
        <p:spPr>
          <a:xfrm rot="10800000">
            <a:off x="6248610" y="2871071"/>
            <a:ext cx="102743" cy="106443"/>
          </a:xfrm>
          <a:prstGeom prst="rtTriangle">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61" name="直角三角形 60">
            <a:extLst>
              <a:ext uri="{FF2B5EF4-FFF2-40B4-BE49-F238E27FC236}">
                <a16:creationId xmlns:a16="http://schemas.microsoft.com/office/drawing/2014/main" id="{464C7CAB-C08B-400B-8E52-4A0E92101BC8}"/>
              </a:ext>
            </a:extLst>
          </p:cNvPr>
          <p:cNvSpPr/>
          <p:nvPr/>
        </p:nvSpPr>
        <p:spPr>
          <a:xfrm rot="10800000" flipH="1">
            <a:off x="8943870" y="2871071"/>
            <a:ext cx="102743" cy="106443"/>
          </a:xfrm>
          <a:prstGeom prst="rtTriangle">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63" name="矩形: 圆角 62">
            <a:extLst>
              <a:ext uri="{FF2B5EF4-FFF2-40B4-BE49-F238E27FC236}">
                <a16:creationId xmlns:a16="http://schemas.microsoft.com/office/drawing/2014/main" id="{F6945C39-B887-4888-B35A-5B265219820A}"/>
              </a:ext>
            </a:extLst>
          </p:cNvPr>
          <p:cNvSpPr/>
          <p:nvPr/>
        </p:nvSpPr>
        <p:spPr>
          <a:xfrm>
            <a:off x="9292952" y="1961025"/>
            <a:ext cx="2606040" cy="3060700"/>
          </a:xfrm>
          <a:prstGeom prst="roundRect">
            <a:avLst>
              <a:gd name="adj" fmla="val 8246"/>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64" name="文本框 63">
            <a:extLst>
              <a:ext uri="{FF2B5EF4-FFF2-40B4-BE49-F238E27FC236}">
                <a16:creationId xmlns:a16="http://schemas.microsoft.com/office/drawing/2014/main" id="{6DDF8AFC-C861-4E17-B3FA-2AE3AC1D6D1E}"/>
              </a:ext>
            </a:extLst>
          </p:cNvPr>
          <p:cNvSpPr txBox="1"/>
          <p:nvPr/>
        </p:nvSpPr>
        <p:spPr>
          <a:xfrm>
            <a:off x="9591750" y="3051658"/>
            <a:ext cx="2008442" cy="1102353"/>
          </a:xfrm>
          <a:prstGeom prst="rect">
            <a:avLst/>
          </a:prstGeom>
          <a:noFill/>
        </p:spPr>
        <p:txBody>
          <a:bodyPr wrap="square" lIns="0" tIns="0" rIns="0" bIns="0" rtlCol="0" anchor="t">
            <a:spAutoFit/>
          </a:bodyPr>
          <a:lstStyle/>
          <a:p>
            <a:pPr algn="ctr">
              <a:lnSpc>
                <a:spcPct val="130000"/>
              </a:lnSpc>
            </a:pPr>
            <a:r>
              <a:rPr lang="en-US" altLang="zh-CN" sz="1400" b="0" dirty="0">
                <a:solidFill>
                  <a:schemeClr val="bg1"/>
                </a:solidFill>
                <a:effectLst/>
                <a:latin typeface="+mn-ea"/>
              </a:rPr>
              <a:t>Lorem ipsum dolor sit amet, consectetur adipisicing elit, sed do eiusmod tempor</a:t>
            </a:r>
            <a:endParaRPr lang="zh-CN" altLang="en-US" sz="1400" b="0" dirty="0">
              <a:solidFill>
                <a:schemeClr val="bg1"/>
              </a:solidFill>
              <a:effectLst/>
              <a:latin typeface="+mn-ea"/>
            </a:endParaRPr>
          </a:p>
        </p:txBody>
      </p:sp>
      <p:sp>
        <p:nvSpPr>
          <p:cNvPr id="65" name="矩形: 圆角 64">
            <a:extLst>
              <a:ext uri="{FF2B5EF4-FFF2-40B4-BE49-F238E27FC236}">
                <a16:creationId xmlns:a16="http://schemas.microsoft.com/office/drawing/2014/main" id="{B4C4B1FC-6F2B-4EE4-87E7-BC990A6702C6}"/>
              </a:ext>
            </a:extLst>
          </p:cNvPr>
          <p:cNvSpPr/>
          <p:nvPr/>
        </p:nvSpPr>
        <p:spPr>
          <a:xfrm>
            <a:off x="9199227" y="2385199"/>
            <a:ext cx="2793490" cy="485874"/>
          </a:xfrm>
          <a:prstGeom prst="roundRect">
            <a:avLst>
              <a:gd name="adj" fmla="val 0"/>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400" dirty="0">
                <a:solidFill>
                  <a:schemeClr val="bg1"/>
                </a:solidFill>
                <a:latin typeface="+mj-ea"/>
                <a:ea typeface="+mj-ea"/>
              </a:rPr>
              <a:t>关键词标题</a:t>
            </a:r>
          </a:p>
        </p:txBody>
      </p:sp>
      <p:sp>
        <p:nvSpPr>
          <p:cNvPr id="66" name="直角三角形 65">
            <a:extLst>
              <a:ext uri="{FF2B5EF4-FFF2-40B4-BE49-F238E27FC236}">
                <a16:creationId xmlns:a16="http://schemas.microsoft.com/office/drawing/2014/main" id="{6AC7D592-6F14-4AB3-9EBF-369F9C1F90F8}"/>
              </a:ext>
            </a:extLst>
          </p:cNvPr>
          <p:cNvSpPr/>
          <p:nvPr/>
        </p:nvSpPr>
        <p:spPr>
          <a:xfrm rot="10800000">
            <a:off x="9199223" y="2871071"/>
            <a:ext cx="102743" cy="106443"/>
          </a:xfrm>
          <a:prstGeom prst="rtTriangle">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67" name="直角三角形 66">
            <a:extLst>
              <a:ext uri="{FF2B5EF4-FFF2-40B4-BE49-F238E27FC236}">
                <a16:creationId xmlns:a16="http://schemas.microsoft.com/office/drawing/2014/main" id="{65BC8025-6B0B-43DE-BBE7-341877C32D86}"/>
              </a:ext>
            </a:extLst>
          </p:cNvPr>
          <p:cNvSpPr/>
          <p:nvPr/>
        </p:nvSpPr>
        <p:spPr>
          <a:xfrm rot="10800000" flipH="1">
            <a:off x="11894483" y="2871071"/>
            <a:ext cx="102743" cy="106443"/>
          </a:xfrm>
          <a:prstGeom prst="rtTriangle">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Tree>
    <p:extLst>
      <p:ext uri="{BB962C8B-B14F-4D97-AF65-F5344CB8AC3E}">
        <p14:creationId xmlns:p14="http://schemas.microsoft.com/office/powerpoint/2010/main" val="2367279673"/>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2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任意形状 9">
            <a:extLst>
              <a:ext uri="{FF2B5EF4-FFF2-40B4-BE49-F238E27FC236}">
                <a16:creationId xmlns:a16="http://schemas.microsoft.com/office/drawing/2014/main" id="{79C0392D-8AB4-4C9C-BB47-E593C645F444}"/>
              </a:ext>
            </a:extLst>
          </p:cNvPr>
          <p:cNvSpPr/>
          <p:nvPr/>
        </p:nvSpPr>
        <p:spPr>
          <a:xfrm>
            <a:off x="0" y="6457950"/>
            <a:ext cx="12192000" cy="400050"/>
          </a:xfrm>
          <a:custGeom>
            <a:avLst/>
            <a:gdLst>
              <a:gd name="connsiteX0" fmla="*/ 12192000 w 12192000"/>
              <a:gd name="connsiteY0" fmla="*/ 0 h 329410"/>
              <a:gd name="connsiteX1" fmla="*/ 12192000 w 12192000"/>
              <a:gd name="connsiteY1" fmla="*/ 329410 h 329410"/>
              <a:gd name="connsiteX2" fmla="*/ 0 w 12192000"/>
              <a:gd name="connsiteY2" fmla="*/ 329410 h 329410"/>
              <a:gd name="connsiteX3" fmla="*/ 0 w 12192000"/>
              <a:gd name="connsiteY3" fmla="*/ 29375 h 329410"/>
              <a:gd name="connsiteX4" fmla="*/ 577089 w 12192000"/>
              <a:gd name="connsiteY4" fmla="*/ 49593 h 329410"/>
              <a:gd name="connsiteX5" fmla="*/ 5704114 w 12192000"/>
              <a:gd name="connsiteY5" fmla="*/ 124873 h 329410"/>
              <a:gd name="connsiteX6" fmla="*/ 11982536 w 12192000"/>
              <a:gd name="connsiteY6" fmla="*/ 9255 h 329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329410">
                <a:moveTo>
                  <a:pt x="12192000" y="0"/>
                </a:moveTo>
                <a:lnTo>
                  <a:pt x="12192000" y="329410"/>
                </a:lnTo>
                <a:lnTo>
                  <a:pt x="0" y="329410"/>
                </a:lnTo>
                <a:lnTo>
                  <a:pt x="0" y="29375"/>
                </a:lnTo>
                <a:lnTo>
                  <a:pt x="577089" y="49593"/>
                </a:lnTo>
                <a:cubicBezTo>
                  <a:pt x="2152931" y="98068"/>
                  <a:pt x="3885480" y="124873"/>
                  <a:pt x="5704114" y="124873"/>
                </a:cubicBezTo>
                <a:cubicBezTo>
                  <a:pt x="7977407" y="124873"/>
                  <a:pt x="10116192" y="82990"/>
                  <a:pt x="11982536" y="9255"/>
                </a:cubicBezTo>
                <a:close/>
              </a:path>
            </a:pathLst>
          </a:custGeom>
          <a:solidFill>
            <a:schemeClr val="accent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zh-CN" altLang="en-US"/>
          </a:p>
        </p:txBody>
      </p:sp>
      <p:sp>
        <p:nvSpPr>
          <p:cNvPr id="7" name="矩形: 圆角 6">
            <a:extLst>
              <a:ext uri="{FF2B5EF4-FFF2-40B4-BE49-F238E27FC236}">
                <a16:creationId xmlns:a16="http://schemas.microsoft.com/office/drawing/2014/main" id="{7BEAE8DC-9230-44AB-B70F-407BAFB7694E}"/>
              </a:ext>
            </a:extLst>
          </p:cNvPr>
          <p:cNvSpPr/>
          <p:nvPr/>
        </p:nvSpPr>
        <p:spPr>
          <a:xfrm>
            <a:off x="458252" y="1961024"/>
            <a:ext cx="2679124" cy="2711559"/>
          </a:xfrm>
          <a:prstGeom prst="roundRect">
            <a:avLst>
              <a:gd name="adj" fmla="val 4833"/>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11" name="文本框 10">
            <a:extLst>
              <a:ext uri="{FF2B5EF4-FFF2-40B4-BE49-F238E27FC236}">
                <a16:creationId xmlns:a16="http://schemas.microsoft.com/office/drawing/2014/main" id="{E9529F98-A975-4553-8FF6-DCB0233D4C1F}"/>
              </a:ext>
            </a:extLst>
          </p:cNvPr>
          <p:cNvSpPr txBox="1"/>
          <p:nvPr/>
        </p:nvSpPr>
        <p:spPr>
          <a:xfrm>
            <a:off x="745905" y="2599029"/>
            <a:ext cx="2103816" cy="1102353"/>
          </a:xfrm>
          <a:prstGeom prst="rect">
            <a:avLst/>
          </a:prstGeom>
          <a:noFill/>
        </p:spPr>
        <p:txBody>
          <a:bodyPr wrap="square" lIns="0" tIns="0" rIns="0" bIns="0" rtlCol="0" anchor="t">
            <a:spAutoFit/>
          </a:bodyPr>
          <a:lstStyle/>
          <a:p>
            <a:pPr algn="ctr">
              <a:lnSpc>
                <a:spcPct val="130000"/>
              </a:lnSpc>
            </a:pPr>
            <a:r>
              <a:rPr lang="en-US" altLang="zh-CN" sz="1400" b="0" dirty="0">
                <a:solidFill>
                  <a:schemeClr val="bg1"/>
                </a:solidFill>
                <a:effectLst/>
                <a:latin typeface="+mn-ea"/>
              </a:rPr>
              <a:t>Lorem ipsum dolor sit amet, consectetur adipisicing elit, sed do eiusmod tempor</a:t>
            </a:r>
            <a:endParaRPr lang="zh-CN" altLang="en-US" sz="1400" b="0" dirty="0">
              <a:solidFill>
                <a:schemeClr val="bg1"/>
              </a:solidFill>
              <a:effectLst/>
              <a:latin typeface="+mn-ea"/>
            </a:endParaRPr>
          </a:p>
        </p:txBody>
      </p:sp>
      <p:sp>
        <p:nvSpPr>
          <p:cNvPr id="9" name="矩形: 圆角 8">
            <a:extLst>
              <a:ext uri="{FF2B5EF4-FFF2-40B4-BE49-F238E27FC236}">
                <a16:creationId xmlns:a16="http://schemas.microsoft.com/office/drawing/2014/main" id="{5891974E-341A-4803-A3D6-BAB59473BDF1}"/>
              </a:ext>
            </a:extLst>
          </p:cNvPr>
          <p:cNvSpPr/>
          <p:nvPr/>
        </p:nvSpPr>
        <p:spPr>
          <a:xfrm>
            <a:off x="745907" y="1847672"/>
            <a:ext cx="2103814" cy="485874"/>
          </a:xfrm>
          <a:prstGeom prst="roundRect">
            <a:avLst>
              <a:gd name="adj" fmla="val 0"/>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400" dirty="0">
                <a:solidFill>
                  <a:schemeClr val="bg1"/>
                </a:solidFill>
                <a:latin typeface="+mj-ea"/>
                <a:ea typeface="+mj-ea"/>
              </a:rPr>
              <a:t>关键词标题</a:t>
            </a:r>
          </a:p>
        </p:txBody>
      </p:sp>
      <p:sp>
        <p:nvSpPr>
          <p:cNvPr id="12" name="直角三角形 11">
            <a:extLst>
              <a:ext uri="{FF2B5EF4-FFF2-40B4-BE49-F238E27FC236}">
                <a16:creationId xmlns:a16="http://schemas.microsoft.com/office/drawing/2014/main" id="{9EB868AF-A44D-4AF7-A805-B7403B0635FB}"/>
              </a:ext>
            </a:extLst>
          </p:cNvPr>
          <p:cNvSpPr/>
          <p:nvPr/>
        </p:nvSpPr>
        <p:spPr>
          <a:xfrm>
            <a:off x="2849721" y="1847671"/>
            <a:ext cx="50006" cy="113353"/>
          </a:xfrm>
          <a:prstGeom prst="rtTriangle">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34" name="直角三角形 33">
            <a:extLst>
              <a:ext uri="{FF2B5EF4-FFF2-40B4-BE49-F238E27FC236}">
                <a16:creationId xmlns:a16="http://schemas.microsoft.com/office/drawing/2014/main" id="{FC6F8656-8BD6-46DE-A776-F731439A3D9F}"/>
              </a:ext>
            </a:extLst>
          </p:cNvPr>
          <p:cNvSpPr/>
          <p:nvPr/>
        </p:nvSpPr>
        <p:spPr>
          <a:xfrm flipH="1">
            <a:off x="695899" y="1847671"/>
            <a:ext cx="50006" cy="113353"/>
          </a:xfrm>
          <a:prstGeom prst="rtTriangle">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13" name="矩形 12">
            <a:extLst>
              <a:ext uri="{FF2B5EF4-FFF2-40B4-BE49-F238E27FC236}">
                <a16:creationId xmlns:a16="http://schemas.microsoft.com/office/drawing/2014/main" id="{D301E72A-3E3A-4BB3-BE31-793EC95565F0}"/>
              </a:ext>
            </a:extLst>
          </p:cNvPr>
          <p:cNvSpPr/>
          <p:nvPr/>
        </p:nvSpPr>
        <p:spPr>
          <a:xfrm>
            <a:off x="458252" y="4471988"/>
            <a:ext cx="2679124" cy="200595"/>
          </a:xfrm>
          <a:prstGeom prst="rect">
            <a:avLst/>
          </a:prstGeom>
          <a:solidFill>
            <a:schemeClr val="accent1">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57" name="矩形: 圆角 56">
            <a:extLst>
              <a:ext uri="{FF2B5EF4-FFF2-40B4-BE49-F238E27FC236}">
                <a16:creationId xmlns:a16="http://schemas.microsoft.com/office/drawing/2014/main" id="{45EF08D9-531A-49AB-9B61-E313D4F425EF}"/>
              </a:ext>
            </a:extLst>
          </p:cNvPr>
          <p:cNvSpPr/>
          <p:nvPr/>
        </p:nvSpPr>
        <p:spPr>
          <a:xfrm>
            <a:off x="3372902" y="1961024"/>
            <a:ext cx="2679124" cy="2711559"/>
          </a:xfrm>
          <a:prstGeom prst="roundRect">
            <a:avLst>
              <a:gd name="adj" fmla="val 4833"/>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58" name="文本框 57">
            <a:extLst>
              <a:ext uri="{FF2B5EF4-FFF2-40B4-BE49-F238E27FC236}">
                <a16:creationId xmlns:a16="http://schemas.microsoft.com/office/drawing/2014/main" id="{8076497E-D656-4343-AC2D-9786B84E9A13}"/>
              </a:ext>
            </a:extLst>
          </p:cNvPr>
          <p:cNvSpPr txBox="1"/>
          <p:nvPr/>
        </p:nvSpPr>
        <p:spPr>
          <a:xfrm>
            <a:off x="3660555" y="2599029"/>
            <a:ext cx="2103816" cy="1102353"/>
          </a:xfrm>
          <a:prstGeom prst="rect">
            <a:avLst/>
          </a:prstGeom>
          <a:noFill/>
        </p:spPr>
        <p:txBody>
          <a:bodyPr wrap="square" lIns="0" tIns="0" rIns="0" bIns="0" rtlCol="0" anchor="t">
            <a:spAutoFit/>
          </a:bodyPr>
          <a:lstStyle/>
          <a:p>
            <a:pPr algn="ctr">
              <a:lnSpc>
                <a:spcPct val="130000"/>
              </a:lnSpc>
            </a:pPr>
            <a:r>
              <a:rPr lang="en-US" altLang="zh-CN" sz="1400" b="0" dirty="0">
                <a:solidFill>
                  <a:schemeClr val="bg1"/>
                </a:solidFill>
                <a:effectLst/>
                <a:latin typeface="+mn-ea"/>
              </a:rPr>
              <a:t>Lorem ipsum dolor sit amet, consectetur adipisicing elit, sed do eiusmod tempor</a:t>
            </a:r>
            <a:endParaRPr lang="zh-CN" altLang="en-US" sz="1400" b="0" dirty="0">
              <a:solidFill>
                <a:schemeClr val="bg1"/>
              </a:solidFill>
              <a:effectLst/>
              <a:latin typeface="+mn-ea"/>
            </a:endParaRPr>
          </a:p>
        </p:txBody>
      </p:sp>
      <p:sp>
        <p:nvSpPr>
          <p:cNvPr id="59" name="矩形: 圆角 58">
            <a:extLst>
              <a:ext uri="{FF2B5EF4-FFF2-40B4-BE49-F238E27FC236}">
                <a16:creationId xmlns:a16="http://schemas.microsoft.com/office/drawing/2014/main" id="{6204CBBD-C08A-4898-8C33-7B405834C49F}"/>
              </a:ext>
            </a:extLst>
          </p:cNvPr>
          <p:cNvSpPr/>
          <p:nvPr/>
        </p:nvSpPr>
        <p:spPr>
          <a:xfrm>
            <a:off x="3660557" y="1847672"/>
            <a:ext cx="2103814" cy="485874"/>
          </a:xfrm>
          <a:prstGeom prst="roundRect">
            <a:avLst>
              <a:gd name="adj" fmla="val 0"/>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400" dirty="0">
                <a:solidFill>
                  <a:schemeClr val="bg1"/>
                </a:solidFill>
                <a:latin typeface="+mj-ea"/>
                <a:ea typeface="+mj-ea"/>
              </a:rPr>
              <a:t>关键词标题</a:t>
            </a:r>
          </a:p>
        </p:txBody>
      </p:sp>
      <p:sp>
        <p:nvSpPr>
          <p:cNvPr id="60" name="直角三角形 59">
            <a:extLst>
              <a:ext uri="{FF2B5EF4-FFF2-40B4-BE49-F238E27FC236}">
                <a16:creationId xmlns:a16="http://schemas.microsoft.com/office/drawing/2014/main" id="{AE604B31-47FB-458C-9E6A-1E8667F3F3AF}"/>
              </a:ext>
            </a:extLst>
          </p:cNvPr>
          <p:cNvSpPr/>
          <p:nvPr/>
        </p:nvSpPr>
        <p:spPr>
          <a:xfrm>
            <a:off x="5764371" y="1847671"/>
            <a:ext cx="50006" cy="113353"/>
          </a:xfrm>
          <a:prstGeom prst="rtTriangle">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61" name="直角三角形 60">
            <a:extLst>
              <a:ext uri="{FF2B5EF4-FFF2-40B4-BE49-F238E27FC236}">
                <a16:creationId xmlns:a16="http://schemas.microsoft.com/office/drawing/2014/main" id="{0243B936-249C-46F7-A8DA-4A50AE17DA32}"/>
              </a:ext>
            </a:extLst>
          </p:cNvPr>
          <p:cNvSpPr/>
          <p:nvPr/>
        </p:nvSpPr>
        <p:spPr>
          <a:xfrm flipH="1">
            <a:off x="3610549" y="1847671"/>
            <a:ext cx="50006" cy="113353"/>
          </a:xfrm>
          <a:prstGeom prst="rtTriangle">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62" name="矩形 61">
            <a:extLst>
              <a:ext uri="{FF2B5EF4-FFF2-40B4-BE49-F238E27FC236}">
                <a16:creationId xmlns:a16="http://schemas.microsoft.com/office/drawing/2014/main" id="{61F51B4D-9625-472D-A633-336F20EA1CDA}"/>
              </a:ext>
            </a:extLst>
          </p:cNvPr>
          <p:cNvSpPr/>
          <p:nvPr/>
        </p:nvSpPr>
        <p:spPr>
          <a:xfrm>
            <a:off x="3372902" y="4471988"/>
            <a:ext cx="2679124" cy="200595"/>
          </a:xfrm>
          <a:prstGeom prst="rect">
            <a:avLst/>
          </a:prstGeom>
          <a:solidFill>
            <a:schemeClr val="accent1">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64" name="矩形: 圆角 63">
            <a:extLst>
              <a:ext uri="{FF2B5EF4-FFF2-40B4-BE49-F238E27FC236}">
                <a16:creationId xmlns:a16="http://schemas.microsoft.com/office/drawing/2014/main" id="{762BDF33-13A0-4570-87E5-6CA4342E8342}"/>
              </a:ext>
            </a:extLst>
          </p:cNvPr>
          <p:cNvSpPr/>
          <p:nvPr/>
        </p:nvSpPr>
        <p:spPr>
          <a:xfrm>
            <a:off x="6287552" y="1961024"/>
            <a:ext cx="2679124" cy="2711559"/>
          </a:xfrm>
          <a:prstGeom prst="roundRect">
            <a:avLst>
              <a:gd name="adj" fmla="val 4833"/>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65" name="文本框 64">
            <a:extLst>
              <a:ext uri="{FF2B5EF4-FFF2-40B4-BE49-F238E27FC236}">
                <a16:creationId xmlns:a16="http://schemas.microsoft.com/office/drawing/2014/main" id="{C8D30638-778D-414A-B853-1226697D4BFF}"/>
              </a:ext>
            </a:extLst>
          </p:cNvPr>
          <p:cNvSpPr txBox="1"/>
          <p:nvPr/>
        </p:nvSpPr>
        <p:spPr>
          <a:xfrm>
            <a:off x="6575205" y="2599029"/>
            <a:ext cx="2103816" cy="1102353"/>
          </a:xfrm>
          <a:prstGeom prst="rect">
            <a:avLst/>
          </a:prstGeom>
          <a:noFill/>
        </p:spPr>
        <p:txBody>
          <a:bodyPr wrap="square" lIns="0" tIns="0" rIns="0" bIns="0" rtlCol="0" anchor="t">
            <a:spAutoFit/>
          </a:bodyPr>
          <a:lstStyle/>
          <a:p>
            <a:pPr algn="ctr">
              <a:lnSpc>
                <a:spcPct val="130000"/>
              </a:lnSpc>
            </a:pPr>
            <a:r>
              <a:rPr lang="en-US" altLang="zh-CN" sz="1400" b="0" dirty="0">
                <a:solidFill>
                  <a:schemeClr val="bg1"/>
                </a:solidFill>
                <a:effectLst/>
                <a:latin typeface="+mn-ea"/>
              </a:rPr>
              <a:t>Lorem ipsum dolor sit amet, consectetur adipisicing elit, sed do eiusmod tempor</a:t>
            </a:r>
            <a:endParaRPr lang="zh-CN" altLang="en-US" sz="1400" b="0" dirty="0">
              <a:solidFill>
                <a:schemeClr val="bg1"/>
              </a:solidFill>
              <a:effectLst/>
              <a:latin typeface="+mn-ea"/>
            </a:endParaRPr>
          </a:p>
        </p:txBody>
      </p:sp>
      <p:sp>
        <p:nvSpPr>
          <p:cNvPr id="66" name="矩形: 圆角 65">
            <a:extLst>
              <a:ext uri="{FF2B5EF4-FFF2-40B4-BE49-F238E27FC236}">
                <a16:creationId xmlns:a16="http://schemas.microsoft.com/office/drawing/2014/main" id="{B19BEC75-F82B-4BC1-82F1-C9C2242C986B}"/>
              </a:ext>
            </a:extLst>
          </p:cNvPr>
          <p:cNvSpPr/>
          <p:nvPr/>
        </p:nvSpPr>
        <p:spPr>
          <a:xfrm>
            <a:off x="6575207" y="1847672"/>
            <a:ext cx="2103814" cy="485874"/>
          </a:xfrm>
          <a:prstGeom prst="roundRect">
            <a:avLst>
              <a:gd name="adj" fmla="val 0"/>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400" dirty="0">
                <a:solidFill>
                  <a:schemeClr val="bg1"/>
                </a:solidFill>
                <a:latin typeface="+mj-ea"/>
                <a:ea typeface="+mj-ea"/>
              </a:rPr>
              <a:t>关键词标题</a:t>
            </a:r>
          </a:p>
        </p:txBody>
      </p:sp>
      <p:sp>
        <p:nvSpPr>
          <p:cNvPr id="67" name="直角三角形 66">
            <a:extLst>
              <a:ext uri="{FF2B5EF4-FFF2-40B4-BE49-F238E27FC236}">
                <a16:creationId xmlns:a16="http://schemas.microsoft.com/office/drawing/2014/main" id="{EBDCE44F-D43D-4DD6-BCB3-221FB2BC4D88}"/>
              </a:ext>
            </a:extLst>
          </p:cNvPr>
          <p:cNvSpPr/>
          <p:nvPr/>
        </p:nvSpPr>
        <p:spPr>
          <a:xfrm>
            <a:off x="8679021" y="1847671"/>
            <a:ext cx="50006" cy="113353"/>
          </a:xfrm>
          <a:prstGeom prst="rtTriangle">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68" name="直角三角形 67">
            <a:extLst>
              <a:ext uri="{FF2B5EF4-FFF2-40B4-BE49-F238E27FC236}">
                <a16:creationId xmlns:a16="http://schemas.microsoft.com/office/drawing/2014/main" id="{9E5AAE99-EFAF-4E59-B8B3-3AD01CBCD039}"/>
              </a:ext>
            </a:extLst>
          </p:cNvPr>
          <p:cNvSpPr/>
          <p:nvPr/>
        </p:nvSpPr>
        <p:spPr>
          <a:xfrm flipH="1">
            <a:off x="6525199" y="1847671"/>
            <a:ext cx="50006" cy="113353"/>
          </a:xfrm>
          <a:prstGeom prst="rtTriangle">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69" name="矩形 68">
            <a:extLst>
              <a:ext uri="{FF2B5EF4-FFF2-40B4-BE49-F238E27FC236}">
                <a16:creationId xmlns:a16="http://schemas.microsoft.com/office/drawing/2014/main" id="{91626E17-D934-44FC-A0CC-00C646BFC2F8}"/>
              </a:ext>
            </a:extLst>
          </p:cNvPr>
          <p:cNvSpPr/>
          <p:nvPr/>
        </p:nvSpPr>
        <p:spPr>
          <a:xfrm>
            <a:off x="6287552" y="4471988"/>
            <a:ext cx="2679124" cy="200595"/>
          </a:xfrm>
          <a:prstGeom prst="rect">
            <a:avLst/>
          </a:prstGeom>
          <a:solidFill>
            <a:schemeClr val="accent1">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71" name="矩形: 圆角 70">
            <a:extLst>
              <a:ext uri="{FF2B5EF4-FFF2-40B4-BE49-F238E27FC236}">
                <a16:creationId xmlns:a16="http://schemas.microsoft.com/office/drawing/2014/main" id="{8C38123C-8F74-43ED-81E2-7CF44F2462A0}"/>
              </a:ext>
            </a:extLst>
          </p:cNvPr>
          <p:cNvSpPr/>
          <p:nvPr/>
        </p:nvSpPr>
        <p:spPr>
          <a:xfrm>
            <a:off x="9202202" y="1961024"/>
            <a:ext cx="2679124" cy="2711559"/>
          </a:xfrm>
          <a:prstGeom prst="roundRect">
            <a:avLst>
              <a:gd name="adj" fmla="val 4833"/>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72" name="文本框 71">
            <a:extLst>
              <a:ext uri="{FF2B5EF4-FFF2-40B4-BE49-F238E27FC236}">
                <a16:creationId xmlns:a16="http://schemas.microsoft.com/office/drawing/2014/main" id="{C2E94BF2-C7FF-477C-BF08-170B11360ED8}"/>
              </a:ext>
            </a:extLst>
          </p:cNvPr>
          <p:cNvSpPr txBox="1"/>
          <p:nvPr/>
        </p:nvSpPr>
        <p:spPr>
          <a:xfrm>
            <a:off x="9489855" y="2599029"/>
            <a:ext cx="2103816" cy="1102353"/>
          </a:xfrm>
          <a:prstGeom prst="rect">
            <a:avLst/>
          </a:prstGeom>
          <a:noFill/>
        </p:spPr>
        <p:txBody>
          <a:bodyPr wrap="square" lIns="0" tIns="0" rIns="0" bIns="0" rtlCol="0" anchor="t">
            <a:spAutoFit/>
          </a:bodyPr>
          <a:lstStyle/>
          <a:p>
            <a:pPr algn="ctr">
              <a:lnSpc>
                <a:spcPct val="130000"/>
              </a:lnSpc>
            </a:pPr>
            <a:r>
              <a:rPr lang="en-US" altLang="zh-CN" sz="1400" b="0" dirty="0">
                <a:solidFill>
                  <a:schemeClr val="bg1"/>
                </a:solidFill>
                <a:effectLst/>
                <a:latin typeface="+mn-ea"/>
              </a:rPr>
              <a:t>Lorem ipsum dolor sit amet, consectetur adipisicing elit, sed do eiusmod tempor</a:t>
            </a:r>
            <a:endParaRPr lang="zh-CN" altLang="en-US" sz="1400" b="0" dirty="0">
              <a:solidFill>
                <a:schemeClr val="bg1"/>
              </a:solidFill>
              <a:effectLst/>
              <a:latin typeface="+mn-ea"/>
            </a:endParaRPr>
          </a:p>
        </p:txBody>
      </p:sp>
      <p:sp>
        <p:nvSpPr>
          <p:cNvPr id="73" name="矩形: 圆角 72">
            <a:extLst>
              <a:ext uri="{FF2B5EF4-FFF2-40B4-BE49-F238E27FC236}">
                <a16:creationId xmlns:a16="http://schemas.microsoft.com/office/drawing/2014/main" id="{3CF15174-D0F7-453C-97ED-77B6C1FD8BF9}"/>
              </a:ext>
            </a:extLst>
          </p:cNvPr>
          <p:cNvSpPr/>
          <p:nvPr/>
        </p:nvSpPr>
        <p:spPr>
          <a:xfrm>
            <a:off x="9489857" y="1847672"/>
            <a:ext cx="2103814" cy="485874"/>
          </a:xfrm>
          <a:prstGeom prst="roundRect">
            <a:avLst>
              <a:gd name="adj" fmla="val 0"/>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400" dirty="0">
                <a:solidFill>
                  <a:schemeClr val="bg1"/>
                </a:solidFill>
                <a:latin typeface="+mj-ea"/>
                <a:ea typeface="+mj-ea"/>
              </a:rPr>
              <a:t>关键词标题</a:t>
            </a:r>
          </a:p>
        </p:txBody>
      </p:sp>
      <p:sp>
        <p:nvSpPr>
          <p:cNvPr id="74" name="直角三角形 73">
            <a:extLst>
              <a:ext uri="{FF2B5EF4-FFF2-40B4-BE49-F238E27FC236}">
                <a16:creationId xmlns:a16="http://schemas.microsoft.com/office/drawing/2014/main" id="{D8E52030-7C85-4323-A2D4-0309EBB54FFA}"/>
              </a:ext>
            </a:extLst>
          </p:cNvPr>
          <p:cNvSpPr/>
          <p:nvPr/>
        </p:nvSpPr>
        <p:spPr>
          <a:xfrm>
            <a:off x="11593671" y="1847671"/>
            <a:ext cx="50006" cy="113353"/>
          </a:xfrm>
          <a:prstGeom prst="rtTriangle">
            <a:avLst/>
          </a:prstGeom>
          <a:solidFill>
            <a:schemeClr val="accent1">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75" name="直角三角形 74">
            <a:extLst>
              <a:ext uri="{FF2B5EF4-FFF2-40B4-BE49-F238E27FC236}">
                <a16:creationId xmlns:a16="http://schemas.microsoft.com/office/drawing/2014/main" id="{566E949E-BB10-442C-8BE0-AFA9E5709EB2}"/>
              </a:ext>
            </a:extLst>
          </p:cNvPr>
          <p:cNvSpPr/>
          <p:nvPr/>
        </p:nvSpPr>
        <p:spPr>
          <a:xfrm flipH="1">
            <a:off x="9439849" y="1847671"/>
            <a:ext cx="50006" cy="113353"/>
          </a:xfrm>
          <a:prstGeom prst="rtTriangle">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76" name="矩形 75">
            <a:extLst>
              <a:ext uri="{FF2B5EF4-FFF2-40B4-BE49-F238E27FC236}">
                <a16:creationId xmlns:a16="http://schemas.microsoft.com/office/drawing/2014/main" id="{C439AA47-A0D5-4576-B51E-5316A1E08880}"/>
              </a:ext>
            </a:extLst>
          </p:cNvPr>
          <p:cNvSpPr/>
          <p:nvPr/>
        </p:nvSpPr>
        <p:spPr>
          <a:xfrm>
            <a:off x="9202202" y="4471988"/>
            <a:ext cx="2679124" cy="200595"/>
          </a:xfrm>
          <a:prstGeom prst="rect">
            <a:avLst/>
          </a:prstGeom>
          <a:solidFill>
            <a:schemeClr val="accent1">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Tree>
    <p:extLst>
      <p:ext uri="{BB962C8B-B14F-4D97-AF65-F5344CB8AC3E}">
        <p14:creationId xmlns:p14="http://schemas.microsoft.com/office/powerpoint/2010/main" val="4068324385"/>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2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任意形状 9">
            <a:extLst>
              <a:ext uri="{FF2B5EF4-FFF2-40B4-BE49-F238E27FC236}">
                <a16:creationId xmlns:a16="http://schemas.microsoft.com/office/drawing/2014/main" id="{79C0392D-8AB4-4C9C-BB47-E593C645F444}"/>
              </a:ext>
            </a:extLst>
          </p:cNvPr>
          <p:cNvSpPr/>
          <p:nvPr/>
        </p:nvSpPr>
        <p:spPr>
          <a:xfrm>
            <a:off x="0" y="6457950"/>
            <a:ext cx="12192000" cy="400050"/>
          </a:xfrm>
          <a:custGeom>
            <a:avLst/>
            <a:gdLst>
              <a:gd name="connsiteX0" fmla="*/ 12192000 w 12192000"/>
              <a:gd name="connsiteY0" fmla="*/ 0 h 329410"/>
              <a:gd name="connsiteX1" fmla="*/ 12192000 w 12192000"/>
              <a:gd name="connsiteY1" fmla="*/ 329410 h 329410"/>
              <a:gd name="connsiteX2" fmla="*/ 0 w 12192000"/>
              <a:gd name="connsiteY2" fmla="*/ 329410 h 329410"/>
              <a:gd name="connsiteX3" fmla="*/ 0 w 12192000"/>
              <a:gd name="connsiteY3" fmla="*/ 29375 h 329410"/>
              <a:gd name="connsiteX4" fmla="*/ 577089 w 12192000"/>
              <a:gd name="connsiteY4" fmla="*/ 49593 h 329410"/>
              <a:gd name="connsiteX5" fmla="*/ 5704114 w 12192000"/>
              <a:gd name="connsiteY5" fmla="*/ 124873 h 329410"/>
              <a:gd name="connsiteX6" fmla="*/ 11982536 w 12192000"/>
              <a:gd name="connsiteY6" fmla="*/ 9255 h 329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329410">
                <a:moveTo>
                  <a:pt x="12192000" y="0"/>
                </a:moveTo>
                <a:lnTo>
                  <a:pt x="12192000" y="329410"/>
                </a:lnTo>
                <a:lnTo>
                  <a:pt x="0" y="329410"/>
                </a:lnTo>
                <a:lnTo>
                  <a:pt x="0" y="29375"/>
                </a:lnTo>
                <a:lnTo>
                  <a:pt x="577089" y="49593"/>
                </a:lnTo>
                <a:cubicBezTo>
                  <a:pt x="2152931" y="98068"/>
                  <a:pt x="3885480" y="124873"/>
                  <a:pt x="5704114" y="124873"/>
                </a:cubicBezTo>
                <a:cubicBezTo>
                  <a:pt x="7977407" y="124873"/>
                  <a:pt x="10116192" y="82990"/>
                  <a:pt x="11982536" y="9255"/>
                </a:cubicBezTo>
                <a:close/>
              </a:path>
            </a:pathLst>
          </a:custGeom>
          <a:solidFill>
            <a:schemeClr val="accent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zh-CN" altLang="en-US"/>
          </a:p>
        </p:txBody>
      </p:sp>
      <p:sp>
        <p:nvSpPr>
          <p:cNvPr id="7" name="矩形: 圆角 6">
            <a:extLst>
              <a:ext uri="{FF2B5EF4-FFF2-40B4-BE49-F238E27FC236}">
                <a16:creationId xmlns:a16="http://schemas.microsoft.com/office/drawing/2014/main" id="{F876E35B-7D3D-4D3B-A06A-B4DCBE000958}"/>
              </a:ext>
            </a:extLst>
          </p:cNvPr>
          <p:cNvSpPr/>
          <p:nvPr/>
        </p:nvSpPr>
        <p:spPr>
          <a:xfrm>
            <a:off x="1501140" y="1691084"/>
            <a:ext cx="3063240" cy="3973115"/>
          </a:xfrm>
          <a:prstGeom prst="roundRect">
            <a:avLst>
              <a:gd name="adj" fmla="val 9786"/>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49" name="矩形: 圆角 48">
            <a:extLst>
              <a:ext uri="{FF2B5EF4-FFF2-40B4-BE49-F238E27FC236}">
                <a16:creationId xmlns:a16="http://schemas.microsoft.com/office/drawing/2014/main" id="{F912D7B9-24A1-45BA-8A70-73E217279726}"/>
              </a:ext>
            </a:extLst>
          </p:cNvPr>
          <p:cNvSpPr/>
          <p:nvPr/>
        </p:nvSpPr>
        <p:spPr>
          <a:xfrm>
            <a:off x="4564380" y="1691084"/>
            <a:ext cx="3063240" cy="3973115"/>
          </a:xfrm>
          <a:prstGeom prst="roundRect">
            <a:avLst>
              <a:gd name="adj" fmla="val 9786"/>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grpSp>
        <p:nvGrpSpPr>
          <p:cNvPr id="13" name="组合 12">
            <a:extLst>
              <a:ext uri="{FF2B5EF4-FFF2-40B4-BE49-F238E27FC236}">
                <a16:creationId xmlns:a16="http://schemas.microsoft.com/office/drawing/2014/main" id="{79FF163D-7E29-4321-B6A9-E99307B1A0E4}"/>
              </a:ext>
            </a:extLst>
          </p:cNvPr>
          <p:cNvGrpSpPr/>
          <p:nvPr/>
        </p:nvGrpSpPr>
        <p:grpSpPr>
          <a:xfrm>
            <a:off x="4320540" y="2613660"/>
            <a:ext cx="487680" cy="487680"/>
            <a:chOff x="5852160" y="2613660"/>
            <a:chExt cx="487680" cy="487680"/>
          </a:xfrm>
        </p:grpSpPr>
        <p:sp>
          <p:nvSpPr>
            <p:cNvPr id="11" name="椭圆 10">
              <a:extLst>
                <a:ext uri="{FF2B5EF4-FFF2-40B4-BE49-F238E27FC236}">
                  <a16:creationId xmlns:a16="http://schemas.microsoft.com/office/drawing/2014/main" id="{84F18C2D-CF83-4DF1-865A-7925A1DF9914}"/>
                </a:ext>
              </a:extLst>
            </p:cNvPr>
            <p:cNvSpPr/>
            <p:nvPr/>
          </p:nvSpPr>
          <p:spPr>
            <a:xfrm>
              <a:off x="5852160" y="2613660"/>
              <a:ext cx="487680" cy="487680"/>
            </a:xfrm>
            <a:prstGeom prst="ellipse">
              <a:avLst/>
            </a:prstGeom>
            <a:solidFill>
              <a:schemeClr val="bg1"/>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12" name="箭头: V 形 11">
              <a:extLst>
                <a:ext uri="{FF2B5EF4-FFF2-40B4-BE49-F238E27FC236}">
                  <a16:creationId xmlns:a16="http://schemas.microsoft.com/office/drawing/2014/main" id="{2A4D2CFD-4EDD-4F7D-9D1F-69E2DF55FACD}"/>
                </a:ext>
              </a:extLst>
            </p:cNvPr>
            <p:cNvSpPr/>
            <p:nvPr/>
          </p:nvSpPr>
          <p:spPr>
            <a:xfrm rot="5400000">
              <a:off x="5974080" y="2735580"/>
              <a:ext cx="243840" cy="243840"/>
            </a:xfrm>
            <a:prstGeom prst="chevr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grpSp>
      <p:grpSp>
        <p:nvGrpSpPr>
          <p:cNvPr id="60" name="组合 59">
            <a:extLst>
              <a:ext uri="{FF2B5EF4-FFF2-40B4-BE49-F238E27FC236}">
                <a16:creationId xmlns:a16="http://schemas.microsoft.com/office/drawing/2014/main" id="{E54BB59A-88B2-4A60-A4E5-8163AD8A02E8}"/>
              </a:ext>
            </a:extLst>
          </p:cNvPr>
          <p:cNvGrpSpPr/>
          <p:nvPr/>
        </p:nvGrpSpPr>
        <p:grpSpPr>
          <a:xfrm>
            <a:off x="4320540" y="4038600"/>
            <a:ext cx="487680" cy="487680"/>
            <a:chOff x="5852160" y="2613660"/>
            <a:chExt cx="487680" cy="487680"/>
          </a:xfrm>
        </p:grpSpPr>
        <p:sp>
          <p:nvSpPr>
            <p:cNvPr id="61" name="椭圆 60">
              <a:extLst>
                <a:ext uri="{FF2B5EF4-FFF2-40B4-BE49-F238E27FC236}">
                  <a16:creationId xmlns:a16="http://schemas.microsoft.com/office/drawing/2014/main" id="{34C2C18F-CC39-4AE0-BABD-11BBA347F9DD}"/>
                </a:ext>
              </a:extLst>
            </p:cNvPr>
            <p:cNvSpPr/>
            <p:nvPr/>
          </p:nvSpPr>
          <p:spPr>
            <a:xfrm>
              <a:off x="5852160" y="2613660"/>
              <a:ext cx="487680" cy="487680"/>
            </a:xfrm>
            <a:prstGeom prst="ellipse">
              <a:avLst/>
            </a:prstGeom>
            <a:solidFill>
              <a:schemeClr val="bg1"/>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62" name="箭头: V 形 61">
              <a:extLst>
                <a:ext uri="{FF2B5EF4-FFF2-40B4-BE49-F238E27FC236}">
                  <a16:creationId xmlns:a16="http://schemas.microsoft.com/office/drawing/2014/main" id="{538825CA-29F8-4E24-BBDE-529EBD0CE0A9}"/>
                </a:ext>
              </a:extLst>
            </p:cNvPr>
            <p:cNvSpPr/>
            <p:nvPr/>
          </p:nvSpPr>
          <p:spPr>
            <a:xfrm rot="5400000">
              <a:off x="5974080" y="2735580"/>
              <a:ext cx="243840" cy="243840"/>
            </a:xfrm>
            <a:prstGeom prst="chevr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grpSp>
      <p:sp>
        <p:nvSpPr>
          <p:cNvPr id="63" name="文本框 62">
            <a:extLst>
              <a:ext uri="{FF2B5EF4-FFF2-40B4-BE49-F238E27FC236}">
                <a16:creationId xmlns:a16="http://schemas.microsoft.com/office/drawing/2014/main" id="{25B82B95-ACBF-428C-AD6B-E396B6E2E30F}"/>
              </a:ext>
            </a:extLst>
          </p:cNvPr>
          <p:cNvSpPr txBox="1"/>
          <p:nvPr/>
        </p:nvSpPr>
        <p:spPr>
          <a:xfrm>
            <a:off x="2028539" y="3151470"/>
            <a:ext cx="2008442" cy="1102353"/>
          </a:xfrm>
          <a:prstGeom prst="rect">
            <a:avLst/>
          </a:prstGeom>
          <a:noFill/>
        </p:spPr>
        <p:txBody>
          <a:bodyPr wrap="square" lIns="0" tIns="0" rIns="0" bIns="0" rtlCol="0" anchor="t">
            <a:spAutoFit/>
          </a:bodyPr>
          <a:lstStyle/>
          <a:p>
            <a:pPr algn="ctr">
              <a:lnSpc>
                <a:spcPct val="130000"/>
              </a:lnSpc>
            </a:pPr>
            <a:r>
              <a:rPr lang="en-US" altLang="zh-CN" sz="1400" b="0" dirty="0">
                <a:solidFill>
                  <a:schemeClr val="bg1"/>
                </a:solidFill>
                <a:effectLst/>
                <a:latin typeface="+mn-ea"/>
              </a:rPr>
              <a:t>Lorem ipsum dolor sit amet, consectetur adipisicing elit, sed do eiusmod tempor</a:t>
            </a:r>
            <a:endParaRPr lang="zh-CN" altLang="en-US" sz="1400" b="0" dirty="0">
              <a:solidFill>
                <a:schemeClr val="bg1"/>
              </a:solidFill>
              <a:effectLst/>
              <a:latin typeface="+mn-ea"/>
            </a:endParaRPr>
          </a:p>
        </p:txBody>
      </p:sp>
      <p:sp>
        <p:nvSpPr>
          <p:cNvPr id="64" name="矩形: 圆角 63">
            <a:extLst>
              <a:ext uri="{FF2B5EF4-FFF2-40B4-BE49-F238E27FC236}">
                <a16:creationId xmlns:a16="http://schemas.microsoft.com/office/drawing/2014/main" id="{537F6071-22B9-4A88-9655-D2B0215EF13E}"/>
              </a:ext>
            </a:extLst>
          </p:cNvPr>
          <p:cNvSpPr/>
          <p:nvPr/>
        </p:nvSpPr>
        <p:spPr>
          <a:xfrm>
            <a:off x="2234186" y="2501319"/>
            <a:ext cx="1597150" cy="485874"/>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000" dirty="0">
                <a:solidFill>
                  <a:schemeClr val="accent1"/>
                </a:solidFill>
                <a:latin typeface="+mj-ea"/>
                <a:ea typeface="+mj-ea"/>
              </a:rPr>
              <a:t>关键词标题</a:t>
            </a:r>
          </a:p>
        </p:txBody>
      </p:sp>
      <p:sp>
        <p:nvSpPr>
          <p:cNvPr id="65" name="文本框 64">
            <a:extLst>
              <a:ext uri="{FF2B5EF4-FFF2-40B4-BE49-F238E27FC236}">
                <a16:creationId xmlns:a16="http://schemas.microsoft.com/office/drawing/2014/main" id="{52EEDCB8-71F6-46C5-89D8-A5A74B1AED93}"/>
              </a:ext>
            </a:extLst>
          </p:cNvPr>
          <p:cNvSpPr txBox="1"/>
          <p:nvPr/>
        </p:nvSpPr>
        <p:spPr>
          <a:xfrm>
            <a:off x="5213699" y="3151470"/>
            <a:ext cx="2008442" cy="1102353"/>
          </a:xfrm>
          <a:prstGeom prst="rect">
            <a:avLst/>
          </a:prstGeom>
          <a:noFill/>
        </p:spPr>
        <p:txBody>
          <a:bodyPr wrap="square" lIns="0" tIns="0" rIns="0" bIns="0" rtlCol="0" anchor="t">
            <a:spAutoFit/>
          </a:bodyPr>
          <a:lstStyle/>
          <a:p>
            <a:pPr algn="ctr">
              <a:lnSpc>
                <a:spcPct val="130000"/>
              </a:lnSpc>
            </a:pPr>
            <a:r>
              <a:rPr lang="en-US" altLang="zh-CN" sz="1400" b="0" dirty="0">
                <a:solidFill>
                  <a:schemeClr val="bg1"/>
                </a:solidFill>
                <a:effectLst/>
                <a:latin typeface="+mn-ea"/>
              </a:rPr>
              <a:t>Lorem ipsum dolor sit amet, consectetur adipisicing elit, sed do eiusmod tempor</a:t>
            </a:r>
            <a:endParaRPr lang="zh-CN" altLang="en-US" sz="1400" b="0" dirty="0">
              <a:solidFill>
                <a:schemeClr val="bg1"/>
              </a:solidFill>
              <a:effectLst/>
              <a:latin typeface="+mn-ea"/>
            </a:endParaRPr>
          </a:p>
        </p:txBody>
      </p:sp>
      <p:sp>
        <p:nvSpPr>
          <p:cNvPr id="66" name="矩形: 圆角 65">
            <a:extLst>
              <a:ext uri="{FF2B5EF4-FFF2-40B4-BE49-F238E27FC236}">
                <a16:creationId xmlns:a16="http://schemas.microsoft.com/office/drawing/2014/main" id="{615C21BE-CF88-4B6D-B930-4FC76CD902B7}"/>
              </a:ext>
            </a:extLst>
          </p:cNvPr>
          <p:cNvSpPr/>
          <p:nvPr/>
        </p:nvSpPr>
        <p:spPr>
          <a:xfrm>
            <a:off x="5419346" y="2501319"/>
            <a:ext cx="1597150" cy="485874"/>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000" dirty="0">
                <a:solidFill>
                  <a:schemeClr val="bg1"/>
                </a:solidFill>
                <a:latin typeface="+mj-ea"/>
                <a:ea typeface="+mj-ea"/>
              </a:rPr>
              <a:t>关键词标题</a:t>
            </a:r>
          </a:p>
        </p:txBody>
      </p:sp>
      <p:sp>
        <p:nvSpPr>
          <p:cNvPr id="67" name="矩形: 圆角 66">
            <a:extLst>
              <a:ext uri="{FF2B5EF4-FFF2-40B4-BE49-F238E27FC236}">
                <a16:creationId xmlns:a16="http://schemas.microsoft.com/office/drawing/2014/main" id="{630CE880-BB21-416F-906B-10B2B280FAF1}"/>
              </a:ext>
            </a:extLst>
          </p:cNvPr>
          <p:cNvSpPr/>
          <p:nvPr/>
        </p:nvSpPr>
        <p:spPr>
          <a:xfrm>
            <a:off x="7627620" y="1691084"/>
            <a:ext cx="3063240" cy="3973115"/>
          </a:xfrm>
          <a:prstGeom prst="roundRect">
            <a:avLst>
              <a:gd name="adj" fmla="val 9786"/>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68" name="文本框 67">
            <a:extLst>
              <a:ext uri="{FF2B5EF4-FFF2-40B4-BE49-F238E27FC236}">
                <a16:creationId xmlns:a16="http://schemas.microsoft.com/office/drawing/2014/main" id="{C557643F-F431-4ED1-ACB3-BBE7288DE23D}"/>
              </a:ext>
            </a:extLst>
          </p:cNvPr>
          <p:cNvSpPr txBox="1"/>
          <p:nvPr/>
        </p:nvSpPr>
        <p:spPr>
          <a:xfrm>
            <a:off x="8296798" y="3151470"/>
            <a:ext cx="2008442" cy="1102353"/>
          </a:xfrm>
          <a:prstGeom prst="rect">
            <a:avLst/>
          </a:prstGeom>
          <a:noFill/>
        </p:spPr>
        <p:txBody>
          <a:bodyPr wrap="square" lIns="0" tIns="0" rIns="0" bIns="0" rtlCol="0" anchor="t">
            <a:spAutoFit/>
          </a:bodyPr>
          <a:lstStyle/>
          <a:p>
            <a:pPr algn="ctr">
              <a:lnSpc>
                <a:spcPct val="130000"/>
              </a:lnSpc>
            </a:pPr>
            <a:r>
              <a:rPr lang="en-US" altLang="zh-CN" sz="1400" b="0" dirty="0">
                <a:solidFill>
                  <a:schemeClr val="bg1"/>
                </a:solidFill>
                <a:effectLst/>
                <a:latin typeface="+mn-ea"/>
              </a:rPr>
              <a:t>Lorem ipsum dolor sit amet, consectetur adipisicing elit, sed do eiusmod tempor</a:t>
            </a:r>
            <a:endParaRPr lang="zh-CN" altLang="en-US" sz="1400" b="0" dirty="0">
              <a:solidFill>
                <a:schemeClr val="bg1"/>
              </a:solidFill>
              <a:effectLst/>
              <a:latin typeface="+mn-ea"/>
            </a:endParaRPr>
          </a:p>
        </p:txBody>
      </p:sp>
      <p:sp>
        <p:nvSpPr>
          <p:cNvPr id="71" name="矩形: 圆角 70">
            <a:extLst>
              <a:ext uri="{FF2B5EF4-FFF2-40B4-BE49-F238E27FC236}">
                <a16:creationId xmlns:a16="http://schemas.microsoft.com/office/drawing/2014/main" id="{70CEE76E-7351-4ADD-B585-27DB8E755B07}"/>
              </a:ext>
            </a:extLst>
          </p:cNvPr>
          <p:cNvSpPr/>
          <p:nvPr/>
        </p:nvSpPr>
        <p:spPr>
          <a:xfrm>
            <a:off x="8502445" y="2501319"/>
            <a:ext cx="1597150" cy="485874"/>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000" dirty="0">
                <a:solidFill>
                  <a:schemeClr val="accent1"/>
                </a:solidFill>
                <a:latin typeface="+mj-ea"/>
                <a:ea typeface="+mj-ea"/>
              </a:rPr>
              <a:t>关键词标题</a:t>
            </a:r>
          </a:p>
        </p:txBody>
      </p:sp>
      <p:grpSp>
        <p:nvGrpSpPr>
          <p:cNvPr id="74" name="组合 73">
            <a:extLst>
              <a:ext uri="{FF2B5EF4-FFF2-40B4-BE49-F238E27FC236}">
                <a16:creationId xmlns:a16="http://schemas.microsoft.com/office/drawing/2014/main" id="{38D60044-2964-4F76-961F-31A9ED083594}"/>
              </a:ext>
            </a:extLst>
          </p:cNvPr>
          <p:cNvGrpSpPr/>
          <p:nvPr/>
        </p:nvGrpSpPr>
        <p:grpSpPr>
          <a:xfrm flipV="1">
            <a:off x="7403639" y="2613660"/>
            <a:ext cx="487680" cy="487680"/>
            <a:chOff x="5852160" y="2613660"/>
            <a:chExt cx="487680" cy="487680"/>
          </a:xfrm>
        </p:grpSpPr>
        <p:sp>
          <p:nvSpPr>
            <p:cNvPr id="77" name="椭圆 76">
              <a:extLst>
                <a:ext uri="{FF2B5EF4-FFF2-40B4-BE49-F238E27FC236}">
                  <a16:creationId xmlns:a16="http://schemas.microsoft.com/office/drawing/2014/main" id="{242950BB-0DB8-491B-9477-765F7BFB0C7F}"/>
                </a:ext>
              </a:extLst>
            </p:cNvPr>
            <p:cNvSpPr/>
            <p:nvPr/>
          </p:nvSpPr>
          <p:spPr>
            <a:xfrm>
              <a:off x="5852160" y="2613660"/>
              <a:ext cx="487680" cy="487680"/>
            </a:xfrm>
            <a:prstGeom prst="ellipse">
              <a:avLst/>
            </a:prstGeom>
            <a:solidFill>
              <a:schemeClr val="bg1"/>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86" name="箭头: V 形 85">
              <a:extLst>
                <a:ext uri="{FF2B5EF4-FFF2-40B4-BE49-F238E27FC236}">
                  <a16:creationId xmlns:a16="http://schemas.microsoft.com/office/drawing/2014/main" id="{D08356C6-353D-482F-A9C9-E5A6FC0282CE}"/>
                </a:ext>
              </a:extLst>
            </p:cNvPr>
            <p:cNvSpPr/>
            <p:nvPr/>
          </p:nvSpPr>
          <p:spPr>
            <a:xfrm rot="5400000">
              <a:off x="5974080" y="2735580"/>
              <a:ext cx="243840" cy="243840"/>
            </a:xfrm>
            <a:prstGeom prst="chevr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grpSp>
      <p:grpSp>
        <p:nvGrpSpPr>
          <p:cNvPr id="88" name="组合 87">
            <a:extLst>
              <a:ext uri="{FF2B5EF4-FFF2-40B4-BE49-F238E27FC236}">
                <a16:creationId xmlns:a16="http://schemas.microsoft.com/office/drawing/2014/main" id="{5657899D-3BD0-484E-A7BE-D69805CB6481}"/>
              </a:ext>
            </a:extLst>
          </p:cNvPr>
          <p:cNvGrpSpPr/>
          <p:nvPr/>
        </p:nvGrpSpPr>
        <p:grpSpPr>
          <a:xfrm flipV="1">
            <a:off x="7403639" y="4038600"/>
            <a:ext cx="487680" cy="487680"/>
            <a:chOff x="5852160" y="2613660"/>
            <a:chExt cx="487680" cy="487680"/>
          </a:xfrm>
        </p:grpSpPr>
        <p:sp>
          <p:nvSpPr>
            <p:cNvPr id="89" name="椭圆 88">
              <a:extLst>
                <a:ext uri="{FF2B5EF4-FFF2-40B4-BE49-F238E27FC236}">
                  <a16:creationId xmlns:a16="http://schemas.microsoft.com/office/drawing/2014/main" id="{62BFDDCF-31D1-4DCE-B3D2-9F7417CEEFEC}"/>
                </a:ext>
              </a:extLst>
            </p:cNvPr>
            <p:cNvSpPr/>
            <p:nvPr/>
          </p:nvSpPr>
          <p:spPr>
            <a:xfrm>
              <a:off x="5852160" y="2613660"/>
              <a:ext cx="487680" cy="487680"/>
            </a:xfrm>
            <a:prstGeom prst="ellipse">
              <a:avLst/>
            </a:prstGeom>
            <a:solidFill>
              <a:schemeClr val="bg1"/>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91" name="箭头: V 形 90">
              <a:extLst>
                <a:ext uri="{FF2B5EF4-FFF2-40B4-BE49-F238E27FC236}">
                  <a16:creationId xmlns:a16="http://schemas.microsoft.com/office/drawing/2014/main" id="{63285A80-838F-435A-9A1E-EA062F15ACD7}"/>
                </a:ext>
              </a:extLst>
            </p:cNvPr>
            <p:cNvSpPr/>
            <p:nvPr/>
          </p:nvSpPr>
          <p:spPr>
            <a:xfrm rot="5400000">
              <a:off x="5974080" y="2735580"/>
              <a:ext cx="243840" cy="243840"/>
            </a:xfrm>
            <a:prstGeom prst="chevr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grpSp>
    </p:spTree>
    <p:custDataLst>
      <p:tags r:id="rId2"/>
    </p:custDataLst>
    <p:extLst>
      <p:ext uri="{BB962C8B-B14F-4D97-AF65-F5344CB8AC3E}">
        <p14:creationId xmlns:p14="http://schemas.microsoft.com/office/powerpoint/2010/main" val="3812955421"/>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2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0" name="组合 29">
            <a:extLst>
              <a:ext uri="{FF2B5EF4-FFF2-40B4-BE49-F238E27FC236}">
                <a16:creationId xmlns:a16="http://schemas.microsoft.com/office/drawing/2014/main" id="{4345B043-EE3B-4470-B18E-0F6D85607573}"/>
              </a:ext>
            </a:extLst>
          </p:cNvPr>
          <p:cNvGrpSpPr/>
          <p:nvPr/>
        </p:nvGrpSpPr>
        <p:grpSpPr>
          <a:xfrm>
            <a:off x="1202817" y="1632325"/>
            <a:ext cx="2571750" cy="1499374"/>
            <a:chOff x="590550" y="1447026"/>
            <a:chExt cx="2571750" cy="1499374"/>
          </a:xfrm>
        </p:grpSpPr>
        <p:grpSp>
          <p:nvGrpSpPr>
            <p:cNvPr id="29" name="组合 28">
              <a:extLst>
                <a:ext uri="{FF2B5EF4-FFF2-40B4-BE49-F238E27FC236}">
                  <a16:creationId xmlns:a16="http://schemas.microsoft.com/office/drawing/2014/main" id="{3D7DBAF3-B6C9-4E83-AD72-AA7E56749581}"/>
                </a:ext>
              </a:extLst>
            </p:cNvPr>
            <p:cNvGrpSpPr/>
            <p:nvPr/>
          </p:nvGrpSpPr>
          <p:grpSpPr>
            <a:xfrm>
              <a:off x="723900" y="1809750"/>
              <a:ext cx="2438400" cy="1136650"/>
              <a:chOff x="723900" y="1809750"/>
              <a:chExt cx="2292349" cy="1136650"/>
            </a:xfrm>
          </p:grpSpPr>
          <p:sp>
            <p:nvSpPr>
              <p:cNvPr id="37" name="矩形 36">
                <a:extLst>
                  <a:ext uri="{FF2B5EF4-FFF2-40B4-BE49-F238E27FC236}">
                    <a16:creationId xmlns:a16="http://schemas.microsoft.com/office/drawing/2014/main" id="{1596FDE8-6EF2-49AD-ACB2-5180A9BD7E75}"/>
                  </a:ext>
                </a:extLst>
              </p:cNvPr>
              <p:cNvSpPr/>
              <p:nvPr/>
            </p:nvSpPr>
            <p:spPr>
              <a:xfrm flipH="1" flipV="1">
                <a:off x="835023" y="1892300"/>
                <a:ext cx="2181226" cy="1054100"/>
              </a:xfrm>
              <a:prstGeom prst="rect">
                <a:avLst/>
              </a:prstGeom>
              <a:noFill/>
              <a:ln w="19050">
                <a:gradFill>
                  <a:gsLst>
                    <a:gs pos="0">
                      <a:schemeClr val="accent1"/>
                    </a:gs>
                    <a:gs pos="62000">
                      <a:schemeClr val="accent1">
                        <a:alpha val="0"/>
                      </a:schemeClr>
                    </a:gs>
                  </a:gsLst>
                  <a:lin ang="3600000" scaled="0"/>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3" name="矩形 2">
                <a:extLst>
                  <a:ext uri="{FF2B5EF4-FFF2-40B4-BE49-F238E27FC236}">
                    <a16:creationId xmlns:a16="http://schemas.microsoft.com/office/drawing/2014/main" id="{1AAF3D89-1F49-47E7-A296-AD906FDA2582}"/>
                  </a:ext>
                </a:extLst>
              </p:cNvPr>
              <p:cNvSpPr/>
              <p:nvPr/>
            </p:nvSpPr>
            <p:spPr>
              <a:xfrm>
                <a:off x="723900" y="1809750"/>
                <a:ext cx="2181225" cy="1009650"/>
              </a:xfrm>
              <a:prstGeom prst="rect">
                <a:avLst/>
              </a:prstGeom>
              <a:solidFill>
                <a:schemeClr val="bg1"/>
              </a:solidFill>
              <a:ln w="19050">
                <a:gradFill>
                  <a:gsLst>
                    <a:gs pos="0">
                      <a:schemeClr val="accent1"/>
                    </a:gs>
                    <a:gs pos="72000">
                      <a:schemeClr val="accent1">
                        <a:alpha val="0"/>
                      </a:schemeClr>
                    </a:gs>
                  </a:gsLst>
                  <a:lin ang="3600000" scaled="0"/>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grpSp>
        <p:sp>
          <p:nvSpPr>
            <p:cNvPr id="9" name="矩形 8">
              <a:extLst>
                <a:ext uri="{FF2B5EF4-FFF2-40B4-BE49-F238E27FC236}">
                  <a16:creationId xmlns:a16="http://schemas.microsoft.com/office/drawing/2014/main" id="{10065853-C721-406A-91FA-E890C6C8E583}"/>
                </a:ext>
              </a:extLst>
            </p:cNvPr>
            <p:cNvSpPr/>
            <p:nvPr/>
          </p:nvSpPr>
          <p:spPr>
            <a:xfrm>
              <a:off x="590550" y="1676400"/>
              <a:ext cx="266700" cy="2667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38" name="文本框 37">
              <a:extLst>
                <a:ext uri="{FF2B5EF4-FFF2-40B4-BE49-F238E27FC236}">
                  <a16:creationId xmlns:a16="http://schemas.microsoft.com/office/drawing/2014/main" id="{CBA97B9C-8C43-4A57-A3C0-0A82B34B2F22}"/>
                </a:ext>
              </a:extLst>
            </p:cNvPr>
            <p:cNvSpPr txBox="1"/>
            <p:nvPr/>
          </p:nvSpPr>
          <p:spPr>
            <a:xfrm>
              <a:off x="865313" y="2024393"/>
              <a:ext cx="2141412" cy="619721"/>
            </a:xfrm>
            <a:prstGeom prst="rect">
              <a:avLst/>
            </a:prstGeom>
            <a:noFill/>
          </p:spPr>
          <p:txBody>
            <a:bodyPr wrap="square" lIns="0" tIns="0" rIns="0" bIns="0" rtlCol="0" anchor="t">
              <a:spAutoFit/>
            </a:bodyPr>
            <a:lstStyle/>
            <a:p>
              <a:pPr>
                <a:lnSpc>
                  <a:spcPct val="130000"/>
                </a:lnSpc>
              </a:pPr>
              <a:r>
                <a:rPr lang="en-US" altLang="zh-CN" sz="1600" b="0" dirty="0">
                  <a:solidFill>
                    <a:schemeClr val="tx1">
                      <a:lumMod val="75000"/>
                      <a:lumOff val="25000"/>
                    </a:schemeClr>
                  </a:solidFill>
                  <a:effectLst/>
                  <a:latin typeface="+mn-ea"/>
                </a:rPr>
                <a:t>Lorem ipsum dolor sit amet, consectetur</a:t>
              </a:r>
              <a:endParaRPr lang="zh-CN" altLang="en-US" sz="1600" b="0" dirty="0">
                <a:solidFill>
                  <a:schemeClr val="tx1">
                    <a:lumMod val="75000"/>
                    <a:lumOff val="25000"/>
                  </a:schemeClr>
                </a:solidFill>
                <a:effectLst/>
                <a:latin typeface="+mn-ea"/>
              </a:endParaRPr>
            </a:p>
          </p:txBody>
        </p:sp>
        <p:sp>
          <p:nvSpPr>
            <p:cNvPr id="39" name="文本框 38">
              <a:extLst>
                <a:ext uri="{FF2B5EF4-FFF2-40B4-BE49-F238E27FC236}">
                  <a16:creationId xmlns:a16="http://schemas.microsoft.com/office/drawing/2014/main" id="{028638D9-DE83-49D6-B6F7-AACB9F47590F}"/>
                </a:ext>
              </a:extLst>
            </p:cNvPr>
            <p:cNvSpPr txBox="1"/>
            <p:nvPr/>
          </p:nvSpPr>
          <p:spPr>
            <a:xfrm>
              <a:off x="936623" y="1447026"/>
              <a:ext cx="1547340" cy="307777"/>
            </a:xfrm>
            <a:prstGeom prst="rect">
              <a:avLst/>
            </a:prstGeom>
            <a:noFill/>
          </p:spPr>
          <p:txBody>
            <a:bodyPr wrap="square" lIns="0" tIns="0" rIns="0" bIns="0" rtlCol="0" anchor="t">
              <a:spAutoFit/>
            </a:bodyPr>
            <a:lstStyle/>
            <a:p>
              <a:r>
                <a:rPr lang="zh-CN" altLang="en-US" sz="2000" dirty="0">
                  <a:solidFill>
                    <a:schemeClr val="accent1"/>
                  </a:solidFill>
                  <a:latin typeface="+mj-ea"/>
                  <a:ea typeface="+mj-ea"/>
                </a:rPr>
                <a:t>关键词标题</a:t>
              </a:r>
            </a:p>
          </p:txBody>
        </p:sp>
      </p:grpSp>
      <p:grpSp>
        <p:nvGrpSpPr>
          <p:cNvPr id="40" name="组合 39">
            <a:extLst>
              <a:ext uri="{FF2B5EF4-FFF2-40B4-BE49-F238E27FC236}">
                <a16:creationId xmlns:a16="http://schemas.microsoft.com/office/drawing/2014/main" id="{C2EE6758-675F-41C3-8ED8-4DBC3755A24F}"/>
              </a:ext>
            </a:extLst>
          </p:cNvPr>
          <p:cNvGrpSpPr/>
          <p:nvPr/>
        </p:nvGrpSpPr>
        <p:grpSpPr>
          <a:xfrm>
            <a:off x="4810125" y="1632325"/>
            <a:ext cx="2571750" cy="1499374"/>
            <a:chOff x="590550" y="1447026"/>
            <a:chExt cx="2571750" cy="1499374"/>
          </a:xfrm>
        </p:grpSpPr>
        <p:grpSp>
          <p:nvGrpSpPr>
            <p:cNvPr id="41" name="组合 40">
              <a:extLst>
                <a:ext uri="{FF2B5EF4-FFF2-40B4-BE49-F238E27FC236}">
                  <a16:creationId xmlns:a16="http://schemas.microsoft.com/office/drawing/2014/main" id="{62A7DB31-A9D3-469E-8A9B-24FB58A1AD0C}"/>
                </a:ext>
              </a:extLst>
            </p:cNvPr>
            <p:cNvGrpSpPr/>
            <p:nvPr/>
          </p:nvGrpSpPr>
          <p:grpSpPr>
            <a:xfrm>
              <a:off x="723900" y="1809750"/>
              <a:ext cx="2438400" cy="1136650"/>
              <a:chOff x="723900" y="1809750"/>
              <a:chExt cx="2292349" cy="1136650"/>
            </a:xfrm>
          </p:grpSpPr>
          <p:sp>
            <p:nvSpPr>
              <p:cNvPr id="45" name="矩形 44">
                <a:extLst>
                  <a:ext uri="{FF2B5EF4-FFF2-40B4-BE49-F238E27FC236}">
                    <a16:creationId xmlns:a16="http://schemas.microsoft.com/office/drawing/2014/main" id="{21A1F694-17C9-4475-8EAB-A739F25E400C}"/>
                  </a:ext>
                </a:extLst>
              </p:cNvPr>
              <p:cNvSpPr/>
              <p:nvPr/>
            </p:nvSpPr>
            <p:spPr>
              <a:xfrm flipH="1" flipV="1">
                <a:off x="835023" y="1892300"/>
                <a:ext cx="2181226" cy="1054100"/>
              </a:xfrm>
              <a:prstGeom prst="rect">
                <a:avLst/>
              </a:prstGeom>
              <a:noFill/>
              <a:ln w="19050">
                <a:gradFill>
                  <a:gsLst>
                    <a:gs pos="0">
                      <a:schemeClr val="accent1"/>
                    </a:gs>
                    <a:gs pos="62000">
                      <a:schemeClr val="accent1">
                        <a:alpha val="0"/>
                      </a:schemeClr>
                    </a:gs>
                  </a:gsLst>
                  <a:lin ang="3600000" scaled="0"/>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46" name="矩形 45">
                <a:extLst>
                  <a:ext uri="{FF2B5EF4-FFF2-40B4-BE49-F238E27FC236}">
                    <a16:creationId xmlns:a16="http://schemas.microsoft.com/office/drawing/2014/main" id="{19EA8473-67E2-440F-8F6A-B1241D536B9B}"/>
                  </a:ext>
                </a:extLst>
              </p:cNvPr>
              <p:cNvSpPr/>
              <p:nvPr/>
            </p:nvSpPr>
            <p:spPr>
              <a:xfrm>
                <a:off x="723900" y="1809750"/>
                <a:ext cx="2181225" cy="1009650"/>
              </a:xfrm>
              <a:prstGeom prst="rect">
                <a:avLst/>
              </a:prstGeom>
              <a:solidFill>
                <a:schemeClr val="bg1"/>
              </a:solidFill>
              <a:ln w="19050">
                <a:gradFill>
                  <a:gsLst>
                    <a:gs pos="0">
                      <a:schemeClr val="accent1"/>
                    </a:gs>
                    <a:gs pos="72000">
                      <a:schemeClr val="accent1">
                        <a:alpha val="0"/>
                      </a:schemeClr>
                    </a:gs>
                  </a:gsLst>
                  <a:lin ang="3600000" scaled="0"/>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grpSp>
        <p:sp>
          <p:nvSpPr>
            <p:cNvPr id="42" name="矩形 41">
              <a:extLst>
                <a:ext uri="{FF2B5EF4-FFF2-40B4-BE49-F238E27FC236}">
                  <a16:creationId xmlns:a16="http://schemas.microsoft.com/office/drawing/2014/main" id="{2724122B-2AEE-477B-9340-B10131EB9A9B}"/>
                </a:ext>
              </a:extLst>
            </p:cNvPr>
            <p:cNvSpPr/>
            <p:nvPr/>
          </p:nvSpPr>
          <p:spPr>
            <a:xfrm>
              <a:off x="590550" y="1676400"/>
              <a:ext cx="266700" cy="2667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43" name="文本框 42">
              <a:extLst>
                <a:ext uri="{FF2B5EF4-FFF2-40B4-BE49-F238E27FC236}">
                  <a16:creationId xmlns:a16="http://schemas.microsoft.com/office/drawing/2014/main" id="{476DF262-F45D-46DB-B22A-FBEB1E068700}"/>
                </a:ext>
              </a:extLst>
            </p:cNvPr>
            <p:cNvSpPr txBox="1"/>
            <p:nvPr/>
          </p:nvSpPr>
          <p:spPr>
            <a:xfrm>
              <a:off x="865313" y="2024393"/>
              <a:ext cx="2141412" cy="619721"/>
            </a:xfrm>
            <a:prstGeom prst="rect">
              <a:avLst/>
            </a:prstGeom>
            <a:noFill/>
          </p:spPr>
          <p:txBody>
            <a:bodyPr wrap="square" lIns="0" tIns="0" rIns="0" bIns="0" rtlCol="0" anchor="t">
              <a:spAutoFit/>
            </a:bodyPr>
            <a:lstStyle/>
            <a:p>
              <a:pPr>
                <a:lnSpc>
                  <a:spcPct val="130000"/>
                </a:lnSpc>
              </a:pPr>
              <a:r>
                <a:rPr lang="en-US" altLang="zh-CN" sz="1600" b="0" dirty="0">
                  <a:solidFill>
                    <a:schemeClr val="tx1">
                      <a:lumMod val="75000"/>
                      <a:lumOff val="25000"/>
                    </a:schemeClr>
                  </a:solidFill>
                  <a:effectLst/>
                  <a:latin typeface="+mn-ea"/>
                </a:rPr>
                <a:t>Lorem ipsum dolor sit amet, consectetur</a:t>
              </a:r>
              <a:endParaRPr lang="zh-CN" altLang="en-US" sz="1600" b="0" dirty="0">
                <a:solidFill>
                  <a:schemeClr val="tx1">
                    <a:lumMod val="75000"/>
                    <a:lumOff val="25000"/>
                  </a:schemeClr>
                </a:solidFill>
                <a:effectLst/>
                <a:latin typeface="+mn-ea"/>
              </a:endParaRPr>
            </a:p>
          </p:txBody>
        </p:sp>
        <p:sp>
          <p:nvSpPr>
            <p:cNvPr id="44" name="文本框 43">
              <a:extLst>
                <a:ext uri="{FF2B5EF4-FFF2-40B4-BE49-F238E27FC236}">
                  <a16:creationId xmlns:a16="http://schemas.microsoft.com/office/drawing/2014/main" id="{924197D2-5178-4354-A556-23DA56336C0C}"/>
                </a:ext>
              </a:extLst>
            </p:cNvPr>
            <p:cNvSpPr txBox="1"/>
            <p:nvPr/>
          </p:nvSpPr>
          <p:spPr>
            <a:xfrm>
              <a:off x="936623" y="1447026"/>
              <a:ext cx="1547340" cy="307777"/>
            </a:xfrm>
            <a:prstGeom prst="rect">
              <a:avLst/>
            </a:prstGeom>
            <a:noFill/>
          </p:spPr>
          <p:txBody>
            <a:bodyPr wrap="square" lIns="0" tIns="0" rIns="0" bIns="0" rtlCol="0" anchor="t">
              <a:spAutoFit/>
            </a:bodyPr>
            <a:lstStyle/>
            <a:p>
              <a:r>
                <a:rPr lang="zh-CN" altLang="en-US" sz="2000" dirty="0">
                  <a:solidFill>
                    <a:schemeClr val="accent1"/>
                  </a:solidFill>
                  <a:latin typeface="+mj-ea"/>
                  <a:ea typeface="+mj-ea"/>
                </a:rPr>
                <a:t>关键词标题</a:t>
              </a:r>
            </a:p>
          </p:txBody>
        </p:sp>
      </p:grpSp>
      <p:grpSp>
        <p:nvGrpSpPr>
          <p:cNvPr id="47" name="组合 46">
            <a:extLst>
              <a:ext uri="{FF2B5EF4-FFF2-40B4-BE49-F238E27FC236}">
                <a16:creationId xmlns:a16="http://schemas.microsoft.com/office/drawing/2014/main" id="{33E33469-50D6-4744-8172-E7A2733A6B03}"/>
              </a:ext>
            </a:extLst>
          </p:cNvPr>
          <p:cNvGrpSpPr/>
          <p:nvPr/>
        </p:nvGrpSpPr>
        <p:grpSpPr>
          <a:xfrm>
            <a:off x="8417433" y="1632325"/>
            <a:ext cx="2571750" cy="1499374"/>
            <a:chOff x="590550" y="1447026"/>
            <a:chExt cx="2571750" cy="1499374"/>
          </a:xfrm>
        </p:grpSpPr>
        <p:grpSp>
          <p:nvGrpSpPr>
            <p:cNvPr id="48" name="组合 47">
              <a:extLst>
                <a:ext uri="{FF2B5EF4-FFF2-40B4-BE49-F238E27FC236}">
                  <a16:creationId xmlns:a16="http://schemas.microsoft.com/office/drawing/2014/main" id="{1E8DFC7C-BC18-45B8-AF8B-4F67E69223B7}"/>
                </a:ext>
              </a:extLst>
            </p:cNvPr>
            <p:cNvGrpSpPr/>
            <p:nvPr/>
          </p:nvGrpSpPr>
          <p:grpSpPr>
            <a:xfrm>
              <a:off x="723900" y="1809750"/>
              <a:ext cx="2438400" cy="1136650"/>
              <a:chOff x="723900" y="1809750"/>
              <a:chExt cx="2292349" cy="1136650"/>
            </a:xfrm>
          </p:grpSpPr>
          <p:sp>
            <p:nvSpPr>
              <p:cNvPr id="52" name="矩形 51">
                <a:extLst>
                  <a:ext uri="{FF2B5EF4-FFF2-40B4-BE49-F238E27FC236}">
                    <a16:creationId xmlns:a16="http://schemas.microsoft.com/office/drawing/2014/main" id="{3D21AB90-956F-4084-893E-883F8D1178B1}"/>
                  </a:ext>
                </a:extLst>
              </p:cNvPr>
              <p:cNvSpPr/>
              <p:nvPr/>
            </p:nvSpPr>
            <p:spPr>
              <a:xfrm flipH="1" flipV="1">
                <a:off x="835023" y="1892300"/>
                <a:ext cx="2181226" cy="1054100"/>
              </a:xfrm>
              <a:prstGeom prst="rect">
                <a:avLst/>
              </a:prstGeom>
              <a:noFill/>
              <a:ln w="19050">
                <a:gradFill>
                  <a:gsLst>
                    <a:gs pos="0">
                      <a:schemeClr val="accent1"/>
                    </a:gs>
                    <a:gs pos="62000">
                      <a:schemeClr val="accent1">
                        <a:alpha val="0"/>
                      </a:schemeClr>
                    </a:gs>
                  </a:gsLst>
                  <a:lin ang="3600000" scaled="0"/>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53" name="矩形 52">
                <a:extLst>
                  <a:ext uri="{FF2B5EF4-FFF2-40B4-BE49-F238E27FC236}">
                    <a16:creationId xmlns:a16="http://schemas.microsoft.com/office/drawing/2014/main" id="{F3A71694-FC66-4FA0-95F1-EBDAAE4F21C2}"/>
                  </a:ext>
                </a:extLst>
              </p:cNvPr>
              <p:cNvSpPr/>
              <p:nvPr/>
            </p:nvSpPr>
            <p:spPr>
              <a:xfrm>
                <a:off x="723900" y="1809750"/>
                <a:ext cx="2181225" cy="1009650"/>
              </a:xfrm>
              <a:prstGeom prst="rect">
                <a:avLst/>
              </a:prstGeom>
              <a:solidFill>
                <a:schemeClr val="bg1"/>
              </a:solidFill>
              <a:ln w="19050">
                <a:gradFill>
                  <a:gsLst>
                    <a:gs pos="0">
                      <a:schemeClr val="accent1"/>
                    </a:gs>
                    <a:gs pos="72000">
                      <a:schemeClr val="accent1">
                        <a:alpha val="0"/>
                      </a:schemeClr>
                    </a:gs>
                  </a:gsLst>
                  <a:lin ang="3600000" scaled="0"/>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grpSp>
        <p:sp>
          <p:nvSpPr>
            <p:cNvPr id="49" name="矩形 48">
              <a:extLst>
                <a:ext uri="{FF2B5EF4-FFF2-40B4-BE49-F238E27FC236}">
                  <a16:creationId xmlns:a16="http://schemas.microsoft.com/office/drawing/2014/main" id="{8CE84C60-113D-4A57-BA78-B2564933AB77}"/>
                </a:ext>
              </a:extLst>
            </p:cNvPr>
            <p:cNvSpPr/>
            <p:nvPr/>
          </p:nvSpPr>
          <p:spPr>
            <a:xfrm>
              <a:off x="590550" y="1676400"/>
              <a:ext cx="266700" cy="2667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50" name="文本框 49">
              <a:extLst>
                <a:ext uri="{FF2B5EF4-FFF2-40B4-BE49-F238E27FC236}">
                  <a16:creationId xmlns:a16="http://schemas.microsoft.com/office/drawing/2014/main" id="{BE74CEAD-A754-43BA-A15A-F2AF4E663C81}"/>
                </a:ext>
              </a:extLst>
            </p:cNvPr>
            <p:cNvSpPr txBox="1"/>
            <p:nvPr/>
          </p:nvSpPr>
          <p:spPr>
            <a:xfrm>
              <a:off x="865313" y="2024393"/>
              <a:ext cx="2141412" cy="619721"/>
            </a:xfrm>
            <a:prstGeom prst="rect">
              <a:avLst/>
            </a:prstGeom>
            <a:noFill/>
          </p:spPr>
          <p:txBody>
            <a:bodyPr wrap="square" lIns="0" tIns="0" rIns="0" bIns="0" rtlCol="0" anchor="t">
              <a:spAutoFit/>
            </a:bodyPr>
            <a:lstStyle/>
            <a:p>
              <a:pPr>
                <a:lnSpc>
                  <a:spcPct val="130000"/>
                </a:lnSpc>
              </a:pPr>
              <a:r>
                <a:rPr lang="en-US" altLang="zh-CN" sz="1600" b="0" dirty="0">
                  <a:solidFill>
                    <a:schemeClr val="tx1">
                      <a:lumMod val="75000"/>
                      <a:lumOff val="25000"/>
                    </a:schemeClr>
                  </a:solidFill>
                  <a:effectLst/>
                  <a:latin typeface="+mn-ea"/>
                </a:rPr>
                <a:t>Lorem ipsum dolor sit amet, consectetur</a:t>
              </a:r>
              <a:endParaRPr lang="zh-CN" altLang="en-US" sz="1600" b="0" dirty="0">
                <a:solidFill>
                  <a:schemeClr val="tx1">
                    <a:lumMod val="75000"/>
                    <a:lumOff val="25000"/>
                  </a:schemeClr>
                </a:solidFill>
                <a:effectLst/>
                <a:latin typeface="+mn-ea"/>
              </a:endParaRPr>
            </a:p>
          </p:txBody>
        </p:sp>
        <p:sp>
          <p:nvSpPr>
            <p:cNvPr id="51" name="文本框 50">
              <a:extLst>
                <a:ext uri="{FF2B5EF4-FFF2-40B4-BE49-F238E27FC236}">
                  <a16:creationId xmlns:a16="http://schemas.microsoft.com/office/drawing/2014/main" id="{ECF97349-D901-4683-88C7-9F8CCD826687}"/>
                </a:ext>
              </a:extLst>
            </p:cNvPr>
            <p:cNvSpPr txBox="1"/>
            <p:nvPr/>
          </p:nvSpPr>
          <p:spPr>
            <a:xfrm>
              <a:off x="936623" y="1447026"/>
              <a:ext cx="1547340" cy="307777"/>
            </a:xfrm>
            <a:prstGeom prst="rect">
              <a:avLst/>
            </a:prstGeom>
            <a:noFill/>
          </p:spPr>
          <p:txBody>
            <a:bodyPr wrap="square" lIns="0" tIns="0" rIns="0" bIns="0" rtlCol="0" anchor="t">
              <a:spAutoFit/>
            </a:bodyPr>
            <a:lstStyle/>
            <a:p>
              <a:r>
                <a:rPr lang="zh-CN" altLang="en-US" sz="2000" dirty="0">
                  <a:solidFill>
                    <a:schemeClr val="accent1"/>
                  </a:solidFill>
                  <a:latin typeface="+mj-ea"/>
                  <a:ea typeface="+mj-ea"/>
                </a:rPr>
                <a:t>关键词标题</a:t>
              </a:r>
            </a:p>
          </p:txBody>
        </p:sp>
      </p:grpSp>
      <p:grpSp>
        <p:nvGrpSpPr>
          <p:cNvPr id="54" name="组合 53">
            <a:extLst>
              <a:ext uri="{FF2B5EF4-FFF2-40B4-BE49-F238E27FC236}">
                <a16:creationId xmlns:a16="http://schemas.microsoft.com/office/drawing/2014/main" id="{9C0EDEC9-620C-4212-B4D2-764BAD34ADB1}"/>
              </a:ext>
            </a:extLst>
          </p:cNvPr>
          <p:cNvGrpSpPr/>
          <p:nvPr/>
        </p:nvGrpSpPr>
        <p:grpSpPr>
          <a:xfrm>
            <a:off x="2867025" y="3726301"/>
            <a:ext cx="2571750" cy="1499374"/>
            <a:chOff x="590550" y="1447026"/>
            <a:chExt cx="2571750" cy="1499374"/>
          </a:xfrm>
        </p:grpSpPr>
        <p:grpSp>
          <p:nvGrpSpPr>
            <p:cNvPr id="55" name="组合 54">
              <a:extLst>
                <a:ext uri="{FF2B5EF4-FFF2-40B4-BE49-F238E27FC236}">
                  <a16:creationId xmlns:a16="http://schemas.microsoft.com/office/drawing/2014/main" id="{4E6725D5-F405-4D78-9AE1-F945907D98A3}"/>
                </a:ext>
              </a:extLst>
            </p:cNvPr>
            <p:cNvGrpSpPr/>
            <p:nvPr/>
          </p:nvGrpSpPr>
          <p:grpSpPr>
            <a:xfrm>
              <a:off x="723900" y="1809750"/>
              <a:ext cx="2438400" cy="1136650"/>
              <a:chOff x="723900" y="1809750"/>
              <a:chExt cx="2292349" cy="1136650"/>
            </a:xfrm>
          </p:grpSpPr>
          <p:sp>
            <p:nvSpPr>
              <p:cNvPr id="59" name="矩形 58">
                <a:extLst>
                  <a:ext uri="{FF2B5EF4-FFF2-40B4-BE49-F238E27FC236}">
                    <a16:creationId xmlns:a16="http://schemas.microsoft.com/office/drawing/2014/main" id="{2B0397F0-980C-4F5C-80B7-F2804E9A9F14}"/>
                  </a:ext>
                </a:extLst>
              </p:cNvPr>
              <p:cNvSpPr/>
              <p:nvPr/>
            </p:nvSpPr>
            <p:spPr>
              <a:xfrm flipH="1" flipV="1">
                <a:off x="835023" y="1892300"/>
                <a:ext cx="2181226" cy="1054100"/>
              </a:xfrm>
              <a:prstGeom prst="rect">
                <a:avLst/>
              </a:prstGeom>
              <a:noFill/>
              <a:ln w="19050">
                <a:gradFill>
                  <a:gsLst>
                    <a:gs pos="0">
                      <a:schemeClr val="accent1"/>
                    </a:gs>
                    <a:gs pos="62000">
                      <a:schemeClr val="accent1">
                        <a:alpha val="0"/>
                      </a:schemeClr>
                    </a:gs>
                  </a:gsLst>
                  <a:lin ang="3600000" scaled="0"/>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60" name="矩形 59">
                <a:extLst>
                  <a:ext uri="{FF2B5EF4-FFF2-40B4-BE49-F238E27FC236}">
                    <a16:creationId xmlns:a16="http://schemas.microsoft.com/office/drawing/2014/main" id="{852EBE12-2D0F-4A71-96D9-1F9E92F69095}"/>
                  </a:ext>
                </a:extLst>
              </p:cNvPr>
              <p:cNvSpPr/>
              <p:nvPr/>
            </p:nvSpPr>
            <p:spPr>
              <a:xfrm>
                <a:off x="723900" y="1809750"/>
                <a:ext cx="2181225" cy="1009650"/>
              </a:xfrm>
              <a:prstGeom prst="rect">
                <a:avLst/>
              </a:prstGeom>
              <a:solidFill>
                <a:schemeClr val="bg1"/>
              </a:solidFill>
              <a:ln w="19050">
                <a:gradFill>
                  <a:gsLst>
                    <a:gs pos="0">
                      <a:schemeClr val="accent1"/>
                    </a:gs>
                    <a:gs pos="72000">
                      <a:schemeClr val="accent1">
                        <a:alpha val="0"/>
                      </a:schemeClr>
                    </a:gs>
                  </a:gsLst>
                  <a:lin ang="3600000" scaled="0"/>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grpSp>
        <p:sp>
          <p:nvSpPr>
            <p:cNvPr id="56" name="矩形 55">
              <a:extLst>
                <a:ext uri="{FF2B5EF4-FFF2-40B4-BE49-F238E27FC236}">
                  <a16:creationId xmlns:a16="http://schemas.microsoft.com/office/drawing/2014/main" id="{B718AC10-009E-4798-B68D-F43F66AE6E0C}"/>
                </a:ext>
              </a:extLst>
            </p:cNvPr>
            <p:cNvSpPr/>
            <p:nvPr/>
          </p:nvSpPr>
          <p:spPr>
            <a:xfrm>
              <a:off x="590550" y="1676400"/>
              <a:ext cx="266700" cy="2667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57" name="文本框 56">
              <a:extLst>
                <a:ext uri="{FF2B5EF4-FFF2-40B4-BE49-F238E27FC236}">
                  <a16:creationId xmlns:a16="http://schemas.microsoft.com/office/drawing/2014/main" id="{6E87CD76-9487-42C4-A41D-4EB921B25203}"/>
                </a:ext>
              </a:extLst>
            </p:cNvPr>
            <p:cNvSpPr txBox="1"/>
            <p:nvPr/>
          </p:nvSpPr>
          <p:spPr>
            <a:xfrm>
              <a:off x="865313" y="2024393"/>
              <a:ext cx="2141412" cy="619721"/>
            </a:xfrm>
            <a:prstGeom prst="rect">
              <a:avLst/>
            </a:prstGeom>
            <a:noFill/>
          </p:spPr>
          <p:txBody>
            <a:bodyPr wrap="square" lIns="0" tIns="0" rIns="0" bIns="0" rtlCol="0" anchor="t">
              <a:spAutoFit/>
            </a:bodyPr>
            <a:lstStyle/>
            <a:p>
              <a:pPr>
                <a:lnSpc>
                  <a:spcPct val="130000"/>
                </a:lnSpc>
              </a:pPr>
              <a:r>
                <a:rPr lang="en-US" altLang="zh-CN" sz="1600" b="0" dirty="0">
                  <a:solidFill>
                    <a:schemeClr val="tx1">
                      <a:lumMod val="75000"/>
                      <a:lumOff val="25000"/>
                    </a:schemeClr>
                  </a:solidFill>
                  <a:effectLst/>
                  <a:latin typeface="+mn-ea"/>
                </a:rPr>
                <a:t>Lorem ipsum dolor sit amet, consectetur</a:t>
              </a:r>
              <a:endParaRPr lang="zh-CN" altLang="en-US" sz="1600" b="0" dirty="0">
                <a:solidFill>
                  <a:schemeClr val="tx1">
                    <a:lumMod val="75000"/>
                    <a:lumOff val="25000"/>
                  </a:schemeClr>
                </a:solidFill>
                <a:effectLst/>
                <a:latin typeface="+mn-ea"/>
              </a:endParaRPr>
            </a:p>
          </p:txBody>
        </p:sp>
        <p:sp>
          <p:nvSpPr>
            <p:cNvPr id="58" name="文本框 57">
              <a:extLst>
                <a:ext uri="{FF2B5EF4-FFF2-40B4-BE49-F238E27FC236}">
                  <a16:creationId xmlns:a16="http://schemas.microsoft.com/office/drawing/2014/main" id="{F24B6478-310F-4EFC-8046-AF2AA99A534C}"/>
                </a:ext>
              </a:extLst>
            </p:cNvPr>
            <p:cNvSpPr txBox="1"/>
            <p:nvPr/>
          </p:nvSpPr>
          <p:spPr>
            <a:xfrm>
              <a:off x="936623" y="1447026"/>
              <a:ext cx="1547340" cy="307777"/>
            </a:xfrm>
            <a:prstGeom prst="rect">
              <a:avLst/>
            </a:prstGeom>
            <a:noFill/>
          </p:spPr>
          <p:txBody>
            <a:bodyPr wrap="square" lIns="0" tIns="0" rIns="0" bIns="0" rtlCol="0" anchor="t">
              <a:spAutoFit/>
            </a:bodyPr>
            <a:lstStyle/>
            <a:p>
              <a:r>
                <a:rPr lang="zh-CN" altLang="en-US" sz="2000" dirty="0">
                  <a:solidFill>
                    <a:schemeClr val="accent1"/>
                  </a:solidFill>
                  <a:latin typeface="+mj-ea"/>
                  <a:ea typeface="+mj-ea"/>
                </a:rPr>
                <a:t>关键词标题</a:t>
              </a:r>
            </a:p>
          </p:txBody>
        </p:sp>
      </p:grpSp>
      <p:grpSp>
        <p:nvGrpSpPr>
          <p:cNvPr id="61" name="组合 60">
            <a:extLst>
              <a:ext uri="{FF2B5EF4-FFF2-40B4-BE49-F238E27FC236}">
                <a16:creationId xmlns:a16="http://schemas.microsoft.com/office/drawing/2014/main" id="{D874ECCE-C1CA-4779-B1F1-08D4F1BA33B2}"/>
              </a:ext>
            </a:extLst>
          </p:cNvPr>
          <p:cNvGrpSpPr/>
          <p:nvPr/>
        </p:nvGrpSpPr>
        <p:grpSpPr>
          <a:xfrm>
            <a:off x="6890385" y="3726301"/>
            <a:ext cx="2571750" cy="1499374"/>
            <a:chOff x="590550" y="1447026"/>
            <a:chExt cx="2571750" cy="1499374"/>
          </a:xfrm>
        </p:grpSpPr>
        <p:grpSp>
          <p:nvGrpSpPr>
            <p:cNvPr id="62" name="组合 61">
              <a:extLst>
                <a:ext uri="{FF2B5EF4-FFF2-40B4-BE49-F238E27FC236}">
                  <a16:creationId xmlns:a16="http://schemas.microsoft.com/office/drawing/2014/main" id="{F8264FA7-D06E-4C6F-8CE5-AE945D050797}"/>
                </a:ext>
              </a:extLst>
            </p:cNvPr>
            <p:cNvGrpSpPr/>
            <p:nvPr/>
          </p:nvGrpSpPr>
          <p:grpSpPr>
            <a:xfrm>
              <a:off x="723900" y="1809750"/>
              <a:ext cx="2438400" cy="1136650"/>
              <a:chOff x="723900" y="1809750"/>
              <a:chExt cx="2292349" cy="1136650"/>
            </a:xfrm>
          </p:grpSpPr>
          <p:sp>
            <p:nvSpPr>
              <p:cNvPr id="66" name="矩形 65">
                <a:extLst>
                  <a:ext uri="{FF2B5EF4-FFF2-40B4-BE49-F238E27FC236}">
                    <a16:creationId xmlns:a16="http://schemas.microsoft.com/office/drawing/2014/main" id="{2C88FC2C-A792-4F66-8DCD-8088D1250B42}"/>
                  </a:ext>
                </a:extLst>
              </p:cNvPr>
              <p:cNvSpPr/>
              <p:nvPr/>
            </p:nvSpPr>
            <p:spPr>
              <a:xfrm flipH="1" flipV="1">
                <a:off x="835023" y="1892300"/>
                <a:ext cx="2181226" cy="1054100"/>
              </a:xfrm>
              <a:prstGeom prst="rect">
                <a:avLst/>
              </a:prstGeom>
              <a:noFill/>
              <a:ln w="19050">
                <a:gradFill>
                  <a:gsLst>
                    <a:gs pos="0">
                      <a:schemeClr val="accent1"/>
                    </a:gs>
                    <a:gs pos="62000">
                      <a:schemeClr val="accent1">
                        <a:alpha val="0"/>
                      </a:schemeClr>
                    </a:gs>
                  </a:gsLst>
                  <a:lin ang="3600000" scaled="0"/>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67" name="矩形 66">
                <a:extLst>
                  <a:ext uri="{FF2B5EF4-FFF2-40B4-BE49-F238E27FC236}">
                    <a16:creationId xmlns:a16="http://schemas.microsoft.com/office/drawing/2014/main" id="{40F3A9B0-8955-42CC-83BD-D9C985BA222A}"/>
                  </a:ext>
                </a:extLst>
              </p:cNvPr>
              <p:cNvSpPr/>
              <p:nvPr/>
            </p:nvSpPr>
            <p:spPr>
              <a:xfrm>
                <a:off x="723900" y="1809750"/>
                <a:ext cx="2181225" cy="1009650"/>
              </a:xfrm>
              <a:prstGeom prst="rect">
                <a:avLst/>
              </a:prstGeom>
              <a:solidFill>
                <a:schemeClr val="bg1"/>
              </a:solidFill>
              <a:ln w="19050">
                <a:gradFill>
                  <a:gsLst>
                    <a:gs pos="0">
                      <a:schemeClr val="accent1"/>
                    </a:gs>
                    <a:gs pos="72000">
                      <a:schemeClr val="accent1">
                        <a:alpha val="0"/>
                      </a:schemeClr>
                    </a:gs>
                  </a:gsLst>
                  <a:lin ang="3600000" scaled="0"/>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grpSp>
        <p:sp>
          <p:nvSpPr>
            <p:cNvPr id="63" name="矩形 62">
              <a:extLst>
                <a:ext uri="{FF2B5EF4-FFF2-40B4-BE49-F238E27FC236}">
                  <a16:creationId xmlns:a16="http://schemas.microsoft.com/office/drawing/2014/main" id="{A2050A52-D9C4-447E-912C-70E0CD326FEE}"/>
                </a:ext>
              </a:extLst>
            </p:cNvPr>
            <p:cNvSpPr/>
            <p:nvPr/>
          </p:nvSpPr>
          <p:spPr>
            <a:xfrm>
              <a:off x="590550" y="1676400"/>
              <a:ext cx="266700" cy="2667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64" name="文本框 63">
              <a:extLst>
                <a:ext uri="{FF2B5EF4-FFF2-40B4-BE49-F238E27FC236}">
                  <a16:creationId xmlns:a16="http://schemas.microsoft.com/office/drawing/2014/main" id="{1F645A81-90DD-4B2C-B944-AD0E6535F9EA}"/>
                </a:ext>
              </a:extLst>
            </p:cNvPr>
            <p:cNvSpPr txBox="1"/>
            <p:nvPr/>
          </p:nvSpPr>
          <p:spPr>
            <a:xfrm>
              <a:off x="865313" y="2024393"/>
              <a:ext cx="2141412" cy="619721"/>
            </a:xfrm>
            <a:prstGeom prst="rect">
              <a:avLst/>
            </a:prstGeom>
            <a:noFill/>
          </p:spPr>
          <p:txBody>
            <a:bodyPr wrap="square" lIns="0" tIns="0" rIns="0" bIns="0" rtlCol="0" anchor="t">
              <a:spAutoFit/>
            </a:bodyPr>
            <a:lstStyle/>
            <a:p>
              <a:pPr>
                <a:lnSpc>
                  <a:spcPct val="130000"/>
                </a:lnSpc>
              </a:pPr>
              <a:r>
                <a:rPr lang="en-US" altLang="zh-CN" sz="1600" b="0" dirty="0">
                  <a:solidFill>
                    <a:schemeClr val="tx1">
                      <a:lumMod val="75000"/>
                      <a:lumOff val="25000"/>
                    </a:schemeClr>
                  </a:solidFill>
                  <a:effectLst/>
                  <a:latin typeface="+mn-ea"/>
                </a:rPr>
                <a:t>Lorem ipsum dolor sit amet, consectetur</a:t>
              </a:r>
              <a:endParaRPr lang="zh-CN" altLang="en-US" sz="1600" b="0" dirty="0">
                <a:solidFill>
                  <a:schemeClr val="tx1">
                    <a:lumMod val="75000"/>
                    <a:lumOff val="25000"/>
                  </a:schemeClr>
                </a:solidFill>
                <a:effectLst/>
                <a:latin typeface="+mn-ea"/>
              </a:endParaRPr>
            </a:p>
          </p:txBody>
        </p:sp>
        <p:sp>
          <p:nvSpPr>
            <p:cNvPr id="65" name="文本框 64">
              <a:extLst>
                <a:ext uri="{FF2B5EF4-FFF2-40B4-BE49-F238E27FC236}">
                  <a16:creationId xmlns:a16="http://schemas.microsoft.com/office/drawing/2014/main" id="{03C3C54F-83A5-4866-ACE5-52CD3BABBB51}"/>
                </a:ext>
              </a:extLst>
            </p:cNvPr>
            <p:cNvSpPr txBox="1"/>
            <p:nvPr/>
          </p:nvSpPr>
          <p:spPr>
            <a:xfrm>
              <a:off x="936623" y="1447026"/>
              <a:ext cx="1547340" cy="307777"/>
            </a:xfrm>
            <a:prstGeom prst="rect">
              <a:avLst/>
            </a:prstGeom>
            <a:noFill/>
          </p:spPr>
          <p:txBody>
            <a:bodyPr wrap="square" lIns="0" tIns="0" rIns="0" bIns="0" rtlCol="0" anchor="t">
              <a:spAutoFit/>
            </a:bodyPr>
            <a:lstStyle/>
            <a:p>
              <a:r>
                <a:rPr lang="zh-CN" altLang="en-US" sz="2000" dirty="0">
                  <a:solidFill>
                    <a:schemeClr val="accent1"/>
                  </a:solidFill>
                  <a:latin typeface="+mj-ea"/>
                  <a:ea typeface="+mj-ea"/>
                </a:rPr>
                <a:t>关键词标题</a:t>
              </a:r>
            </a:p>
          </p:txBody>
        </p:sp>
      </p:grpSp>
    </p:spTree>
    <p:extLst>
      <p:ext uri="{BB962C8B-B14F-4D97-AF65-F5344CB8AC3E}">
        <p14:creationId xmlns:p14="http://schemas.microsoft.com/office/powerpoint/2010/main" val="2599290877"/>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2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任意形状 9">
            <a:extLst>
              <a:ext uri="{FF2B5EF4-FFF2-40B4-BE49-F238E27FC236}">
                <a16:creationId xmlns:a16="http://schemas.microsoft.com/office/drawing/2014/main" id="{79C0392D-8AB4-4C9C-BB47-E593C645F444}"/>
              </a:ext>
            </a:extLst>
          </p:cNvPr>
          <p:cNvSpPr/>
          <p:nvPr/>
        </p:nvSpPr>
        <p:spPr>
          <a:xfrm>
            <a:off x="0" y="6457950"/>
            <a:ext cx="12192000" cy="400050"/>
          </a:xfrm>
          <a:custGeom>
            <a:avLst/>
            <a:gdLst>
              <a:gd name="connsiteX0" fmla="*/ 12192000 w 12192000"/>
              <a:gd name="connsiteY0" fmla="*/ 0 h 329410"/>
              <a:gd name="connsiteX1" fmla="*/ 12192000 w 12192000"/>
              <a:gd name="connsiteY1" fmla="*/ 329410 h 329410"/>
              <a:gd name="connsiteX2" fmla="*/ 0 w 12192000"/>
              <a:gd name="connsiteY2" fmla="*/ 329410 h 329410"/>
              <a:gd name="connsiteX3" fmla="*/ 0 w 12192000"/>
              <a:gd name="connsiteY3" fmla="*/ 29375 h 329410"/>
              <a:gd name="connsiteX4" fmla="*/ 577089 w 12192000"/>
              <a:gd name="connsiteY4" fmla="*/ 49593 h 329410"/>
              <a:gd name="connsiteX5" fmla="*/ 5704114 w 12192000"/>
              <a:gd name="connsiteY5" fmla="*/ 124873 h 329410"/>
              <a:gd name="connsiteX6" fmla="*/ 11982536 w 12192000"/>
              <a:gd name="connsiteY6" fmla="*/ 9255 h 329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329410">
                <a:moveTo>
                  <a:pt x="12192000" y="0"/>
                </a:moveTo>
                <a:lnTo>
                  <a:pt x="12192000" y="329410"/>
                </a:lnTo>
                <a:lnTo>
                  <a:pt x="0" y="329410"/>
                </a:lnTo>
                <a:lnTo>
                  <a:pt x="0" y="29375"/>
                </a:lnTo>
                <a:lnTo>
                  <a:pt x="577089" y="49593"/>
                </a:lnTo>
                <a:cubicBezTo>
                  <a:pt x="2152931" y="98068"/>
                  <a:pt x="3885480" y="124873"/>
                  <a:pt x="5704114" y="124873"/>
                </a:cubicBezTo>
                <a:cubicBezTo>
                  <a:pt x="7977407" y="124873"/>
                  <a:pt x="10116192" y="82990"/>
                  <a:pt x="11982536" y="9255"/>
                </a:cubicBezTo>
                <a:close/>
              </a:path>
            </a:pathLst>
          </a:custGeom>
          <a:solidFill>
            <a:schemeClr val="accent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zh-CN" altLang="en-US"/>
          </a:p>
        </p:txBody>
      </p:sp>
      <p:sp>
        <p:nvSpPr>
          <p:cNvPr id="35" name="Rectangle 2">
            <a:extLst>
              <a:ext uri="{FF2B5EF4-FFF2-40B4-BE49-F238E27FC236}">
                <a16:creationId xmlns:a16="http://schemas.microsoft.com/office/drawing/2014/main" id="{C3D5775B-2C85-4268-A185-33AE39337965}"/>
              </a:ext>
            </a:extLst>
          </p:cNvPr>
          <p:cNvSpPr/>
          <p:nvPr/>
        </p:nvSpPr>
        <p:spPr>
          <a:xfrm>
            <a:off x="1242190" y="1724085"/>
            <a:ext cx="4588301" cy="80185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mn-ea"/>
              <a:cs typeface="+mn-cs"/>
            </a:endParaRPr>
          </a:p>
        </p:txBody>
      </p:sp>
      <p:sp>
        <p:nvSpPr>
          <p:cNvPr id="36" name="TextBox 7">
            <a:extLst>
              <a:ext uri="{FF2B5EF4-FFF2-40B4-BE49-F238E27FC236}">
                <a16:creationId xmlns:a16="http://schemas.microsoft.com/office/drawing/2014/main" id="{5E69D7F8-E8C9-4251-B71C-E8D1D18BEC1F}"/>
              </a:ext>
            </a:extLst>
          </p:cNvPr>
          <p:cNvSpPr txBox="1"/>
          <p:nvPr/>
        </p:nvSpPr>
        <p:spPr>
          <a:xfrm>
            <a:off x="1382867" y="1800698"/>
            <a:ext cx="4314274" cy="621773"/>
          </a:xfrm>
          <a:prstGeom prst="rect">
            <a:avLst/>
          </a:prstGeom>
          <a:noFill/>
        </p:spPr>
        <p:txBody>
          <a:bodyPr wrap="square" lIns="0" rIns="0" rtlCol="0">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altLang="zh-CN" sz="1200" b="0" i="0" u="none" strike="noStrike" kern="1200" cap="none" spc="0" normalizeH="0" baseline="0" noProof="0" dirty="0">
                <a:ln>
                  <a:noFill/>
                </a:ln>
                <a:solidFill>
                  <a:prstClr val="white"/>
                </a:solidFill>
                <a:effectLst/>
                <a:uLnTx/>
                <a:uFillTx/>
                <a:latin typeface="+mn-ea"/>
                <a:cs typeface="Roboto Condensed Light" panose="02000000000000000000" pitchFamily="2" charset="0"/>
              </a:rPr>
              <a:t>Lorem ipsum dolor sit amet, consectetur adipisicing elit, sed do eiusmod tempor</a:t>
            </a:r>
            <a:endParaRPr kumimoji="0" lang="zh-CN" altLang="en-US" sz="1200" b="0" i="0" u="none" strike="noStrike" kern="1200" cap="none" spc="0" normalizeH="0" baseline="0" noProof="0" dirty="0">
              <a:ln>
                <a:noFill/>
              </a:ln>
              <a:solidFill>
                <a:prstClr val="white"/>
              </a:solidFill>
              <a:effectLst/>
              <a:uLnTx/>
              <a:uFillTx/>
              <a:latin typeface="+mn-ea"/>
              <a:cs typeface="Roboto Condensed Light" panose="02000000000000000000" pitchFamily="2" charset="0"/>
            </a:endParaRPr>
          </a:p>
        </p:txBody>
      </p:sp>
      <p:sp>
        <p:nvSpPr>
          <p:cNvPr id="38" name="Rectangle 13">
            <a:extLst>
              <a:ext uri="{FF2B5EF4-FFF2-40B4-BE49-F238E27FC236}">
                <a16:creationId xmlns:a16="http://schemas.microsoft.com/office/drawing/2014/main" id="{080A3D88-2A16-4CA5-9CA8-9CA6BD9E2EB2}"/>
              </a:ext>
            </a:extLst>
          </p:cNvPr>
          <p:cNvSpPr/>
          <p:nvPr/>
        </p:nvSpPr>
        <p:spPr>
          <a:xfrm>
            <a:off x="484585" y="1724084"/>
            <a:ext cx="669131" cy="801859"/>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mn-ea"/>
                <a:cs typeface="+mn-cs"/>
              </a:rPr>
              <a:t>01</a:t>
            </a:r>
          </a:p>
        </p:txBody>
      </p:sp>
      <p:sp>
        <p:nvSpPr>
          <p:cNvPr id="43" name="Rectangle 2">
            <a:extLst>
              <a:ext uri="{FF2B5EF4-FFF2-40B4-BE49-F238E27FC236}">
                <a16:creationId xmlns:a16="http://schemas.microsoft.com/office/drawing/2014/main" id="{F2F8D18C-3C9A-43A2-A84B-24C96CD003AE}"/>
              </a:ext>
            </a:extLst>
          </p:cNvPr>
          <p:cNvSpPr/>
          <p:nvPr/>
        </p:nvSpPr>
        <p:spPr>
          <a:xfrm>
            <a:off x="7119115" y="1724085"/>
            <a:ext cx="4588301" cy="80185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mn-ea"/>
              <a:cs typeface="+mn-cs"/>
            </a:endParaRPr>
          </a:p>
        </p:txBody>
      </p:sp>
      <p:sp>
        <p:nvSpPr>
          <p:cNvPr id="44" name="TextBox 7">
            <a:extLst>
              <a:ext uri="{FF2B5EF4-FFF2-40B4-BE49-F238E27FC236}">
                <a16:creationId xmlns:a16="http://schemas.microsoft.com/office/drawing/2014/main" id="{C53F4ADF-7DE0-43A3-B46C-86B2DDA9C74E}"/>
              </a:ext>
            </a:extLst>
          </p:cNvPr>
          <p:cNvSpPr txBox="1"/>
          <p:nvPr/>
        </p:nvSpPr>
        <p:spPr>
          <a:xfrm>
            <a:off x="7259792" y="1800698"/>
            <a:ext cx="4314274" cy="621773"/>
          </a:xfrm>
          <a:prstGeom prst="rect">
            <a:avLst/>
          </a:prstGeom>
          <a:noFill/>
        </p:spPr>
        <p:txBody>
          <a:bodyPr wrap="square" lIns="0" rIns="0" rtlCol="0">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altLang="zh-CN" sz="1200" b="0" i="0" u="none" strike="noStrike" kern="1200" cap="none" spc="0" normalizeH="0" baseline="0" noProof="0" dirty="0">
                <a:ln>
                  <a:noFill/>
                </a:ln>
                <a:solidFill>
                  <a:prstClr val="white"/>
                </a:solidFill>
                <a:effectLst/>
                <a:uLnTx/>
                <a:uFillTx/>
                <a:latin typeface="+mn-ea"/>
                <a:cs typeface="Roboto Condensed Light" panose="02000000000000000000" pitchFamily="2" charset="0"/>
              </a:rPr>
              <a:t>Lorem ipsum dolor sit amet, consectetur adipisicing elit, sed do eiusmod tempor</a:t>
            </a:r>
            <a:endParaRPr kumimoji="0" lang="zh-CN" altLang="en-US" sz="1200" b="0" i="0" u="none" strike="noStrike" kern="1200" cap="none" spc="0" normalizeH="0" baseline="0" noProof="0" dirty="0">
              <a:ln>
                <a:noFill/>
              </a:ln>
              <a:solidFill>
                <a:prstClr val="white"/>
              </a:solidFill>
              <a:effectLst/>
              <a:uLnTx/>
              <a:uFillTx/>
              <a:latin typeface="+mn-ea"/>
              <a:cs typeface="Roboto Condensed Light" panose="02000000000000000000" pitchFamily="2" charset="0"/>
            </a:endParaRPr>
          </a:p>
        </p:txBody>
      </p:sp>
      <p:sp>
        <p:nvSpPr>
          <p:cNvPr id="45" name="Rectangle 13">
            <a:extLst>
              <a:ext uri="{FF2B5EF4-FFF2-40B4-BE49-F238E27FC236}">
                <a16:creationId xmlns:a16="http://schemas.microsoft.com/office/drawing/2014/main" id="{23C68EB0-CAF4-4612-8A85-9B79E0BC12B3}"/>
              </a:ext>
            </a:extLst>
          </p:cNvPr>
          <p:cNvSpPr/>
          <p:nvPr/>
        </p:nvSpPr>
        <p:spPr>
          <a:xfrm>
            <a:off x="6361510" y="1724084"/>
            <a:ext cx="669131" cy="801859"/>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mn-ea"/>
                <a:cs typeface="+mn-cs"/>
              </a:rPr>
              <a:t>02</a:t>
            </a:r>
          </a:p>
        </p:txBody>
      </p:sp>
      <p:sp>
        <p:nvSpPr>
          <p:cNvPr id="46" name="Rectangle 2">
            <a:extLst>
              <a:ext uri="{FF2B5EF4-FFF2-40B4-BE49-F238E27FC236}">
                <a16:creationId xmlns:a16="http://schemas.microsoft.com/office/drawing/2014/main" id="{53234E78-FB9A-4671-807A-0EC92CF0FFE7}"/>
              </a:ext>
            </a:extLst>
          </p:cNvPr>
          <p:cNvSpPr/>
          <p:nvPr/>
        </p:nvSpPr>
        <p:spPr>
          <a:xfrm>
            <a:off x="1242190" y="3050852"/>
            <a:ext cx="4588301" cy="80185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mn-ea"/>
              <a:cs typeface="+mn-cs"/>
            </a:endParaRPr>
          </a:p>
        </p:txBody>
      </p:sp>
      <p:sp>
        <p:nvSpPr>
          <p:cNvPr id="47" name="TextBox 7">
            <a:extLst>
              <a:ext uri="{FF2B5EF4-FFF2-40B4-BE49-F238E27FC236}">
                <a16:creationId xmlns:a16="http://schemas.microsoft.com/office/drawing/2014/main" id="{16C886F0-F247-4351-AD8B-BAB50D82AF61}"/>
              </a:ext>
            </a:extLst>
          </p:cNvPr>
          <p:cNvSpPr txBox="1"/>
          <p:nvPr/>
        </p:nvSpPr>
        <p:spPr>
          <a:xfrm>
            <a:off x="1382867" y="3127465"/>
            <a:ext cx="4314274" cy="621773"/>
          </a:xfrm>
          <a:prstGeom prst="rect">
            <a:avLst/>
          </a:prstGeom>
          <a:noFill/>
        </p:spPr>
        <p:txBody>
          <a:bodyPr wrap="square" lIns="0" rIns="0" rtlCol="0">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altLang="zh-CN" sz="1200" b="0" i="0" u="none" strike="noStrike" kern="1200" cap="none" spc="0" normalizeH="0" baseline="0" noProof="0" dirty="0">
                <a:ln>
                  <a:noFill/>
                </a:ln>
                <a:solidFill>
                  <a:prstClr val="white"/>
                </a:solidFill>
                <a:effectLst/>
                <a:uLnTx/>
                <a:uFillTx/>
                <a:latin typeface="+mn-ea"/>
                <a:cs typeface="Roboto Condensed Light" panose="02000000000000000000" pitchFamily="2" charset="0"/>
              </a:rPr>
              <a:t>Lorem ipsum dolor sit amet, consectetur adipisicing elit, sed do eiusmod tempor</a:t>
            </a:r>
            <a:endParaRPr kumimoji="0" lang="zh-CN" altLang="en-US" sz="1200" b="0" i="0" u="none" strike="noStrike" kern="1200" cap="none" spc="0" normalizeH="0" baseline="0" noProof="0" dirty="0">
              <a:ln>
                <a:noFill/>
              </a:ln>
              <a:solidFill>
                <a:prstClr val="white"/>
              </a:solidFill>
              <a:effectLst/>
              <a:uLnTx/>
              <a:uFillTx/>
              <a:latin typeface="+mn-ea"/>
              <a:cs typeface="Roboto Condensed Light" panose="02000000000000000000" pitchFamily="2" charset="0"/>
            </a:endParaRPr>
          </a:p>
        </p:txBody>
      </p:sp>
      <p:sp>
        <p:nvSpPr>
          <p:cNvPr id="48" name="Rectangle 13">
            <a:extLst>
              <a:ext uri="{FF2B5EF4-FFF2-40B4-BE49-F238E27FC236}">
                <a16:creationId xmlns:a16="http://schemas.microsoft.com/office/drawing/2014/main" id="{8AE307C2-CE85-49BA-B06D-D73C0620438C}"/>
              </a:ext>
            </a:extLst>
          </p:cNvPr>
          <p:cNvSpPr/>
          <p:nvPr/>
        </p:nvSpPr>
        <p:spPr>
          <a:xfrm>
            <a:off x="484585" y="3050851"/>
            <a:ext cx="669131" cy="801859"/>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mn-ea"/>
                <a:cs typeface="+mn-cs"/>
              </a:rPr>
              <a:t>03</a:t>
            </a:r>
          </a:p>
        </p:txBody>
      </p:sp>
      <p:sp>
        <p:nvSpPr>
          <p:cNvPr id="49" name="Rectangle 2">
            <a:extLst>
              <a:ext uri="{FF2B5EF4-FFF2-40B4-BE49-F238E27FC236}">
                <a16:creationId xmlns:a16="http://schemas.microsoft.com/office/drawing/2014/main" id="{5FFD1DCE-96EA-43F4-A3C0-5A66BB25D861}"/>
              </a:ext>
            </a:extLst>
          </p:cNvPr>
          <p:cNvSpPr/>
          <p:nvPr/>
        </p:nvSpPr>
        <p:spPr>
          <a:xfrm>
            <a:off x="7119115" y="3050852"/>
            <a:ext cx="4588301" cy="80185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mn-ea"/>
              <a:cs typeface="+mn-cs"/>
            </a:endParaRPr>
          </a:p>
        </p:txBody>
      </p:sp>
      <p:sp>
        <p:nvSpPr>
          <p:cNvPr id="50" name="TextBox 7">
            <a:extLst>
              <a:ext uri="{FF2B5EF4-FFF2-40B4-BE49-F238E27FC236}">
                <a16:creationId xmlns:a16="http://schemas.microsoft.com/office/drawing/2014/main" id="{7E3F1EE3-0B06-469C-A0DE-F504E68D4AB3}"/>
              </a:ext>
            </a:extLst>
          </p:cNvPr>
          <p:cNvSpPr txBox="1"/>
          <p:nvPr/>
        </p:nvSpPr>
        <p:spPr>
          <a:xfrm>
            <a:off x="7259792" y="3127465"/>
            <a:ext cx="4314274" cy="621773"/>
          </a:xfrm>
          <a:prstGeom prst="rect">
            <a:avLst/>
          </a:prstGeom>
          <a:noFill/>
        </p:spPr>
        <p:txBody>
          <a:bodyPr wrap="square" lIns="0" rIns="0" rtlCol="0">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altLang="zh-CN" sz="1200" b="0" i="0" u="none" strike="noStrike" kern="1200" cap="none" spc="0" normalizeH="0" baseline="0" noProof="0" dirty="0">
                <a:ln>
                  <a:noFill/>
                </a:ln>
                <a:solidFill>
                  <a:prstClr val="white"/>
                </a:solidFill>
                <a:effectLst/>
                <a:uLnTx/>
                <a:uFillTx/>
                <a:latin typeface="+mn-ea"/>
                <a:cs typeface="Roboto Condensed Light" panose="02000000000000000000" pitchFamily="2" charset="0"/>
              </a:rPr>
              <a:t>Lorem ipsum dolor sit amet, consectetur adipisicing elit, sed do eiusmod tempor</a:t>
            </a:r>
            <a:endParaRPr kumimoji="0" lang="zh-CN" altLang="en-US" sz="1200" b="0" i="0" u="none" strike="noStrike" kern="1200" cap="none" spc="0" normalizeH="0" baseline="0" noProof="0" dirty="0">
              <a:ln>
                <a:noFill/>
              </a:ln>
              <a:solidFill>
                <a:prstClr val="white"/>
              </a:solidFill>
              <a:effectLst/>
              <a:uLnTx/>
              <a:uFillTx/>
              <a:latin typeface="+mn-ea"/>
              <a:cs typeface="Roboto Condensed Light" panose="02000000000000000000" pitchFamily="2" charset="0"/>
            </a:endParaRPr>
          </a:p>
        </p:txBody>
      </p:sp>
      <p:sp>
        <p:nvSpPr>
          <p:cNvPr id="51" name="Rectangle 13">
            <a:extLst>
              <a:ext uri="{FF2B5EF4-FFF2-40B4-BE49-F238E27FC236}">
                <a16:creationId xmlns:a16="http://schemas.microsoft.com/office/drawing/2014/main" id="{100D8B51-99AC-4A5D-9C76-783084F5B0B6}"/>
              </a:ext>
            </a:extLst>
          </p:cNvPr>
          <p:cNvSpPr/>
          <p:nvPr/>
        </p:nvSpPr>
        <p:spPr>
          <a:xfrm>
            <a:off x="6361510" y="3050851"/>
            <a:ext cx="669131" cy="801859"/>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mn-ea"/>
                <a:cs typeface="+mn-cs"/>
              </a:rPr>
              <a:t>04</a:t>
            </a:r>
          </a:p>
        </p:txBody>
      </p:sp>
      <p:sp>
        <p:nvSpPr>
          <p:cNvPr id="85" name="Rectangle 2">
            <a:extLst>
              <a:ext uri="{FF2B5EF4-FFF2-40B4-BE49-F238E27FC236}">
                <a16:creationId xmlns:a16="http://schemas.microsoft.com/office/drawing/2014/main" id="{8C693E6D-EB08-45DB-A53B-A5400D3DB940}"/>
              </a:ext>
            </a:extLst>
          </p:cNvPr>
          <p:cNvSpPr/>
          <p:nvPr/>
        </p:nvSpPr>
        <p:spPr>
          <a:xfrm>
            <a:off x="1242190" y="4377618"/>
            <a:ext cx="4588301" cy="80185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mn-ea"/>
              <a:cs typeface="+mn-cs"/>
            </a:endParaRPr>
          </a:p>
        </p:txBody>
      </p:sp>
      <p:sp>
        <p:nvSpPr>
          <p:cNvPr id="86" name="TextBox 7">
            <a:extLst>
              <a:ext uri="{FF2B5EF4-FFF2-40B4-BE49-F238E27FC236}">
                <a16:creationId xmlns:a16="http://schemas.microsoft.com/office/drawing/2014/main" id="{BCA9A58C-4A92-45CF-8002-65B13FB56969}"/>
              </a:ext>
            </a:extLst>
          </p:cNvPr>
          <p:cNvSpPr txBox="1"/>
          <p:nvPr/>
        </p:nvSpPr>
        <p:spPr>
          <a:xfrm>
            <a:off x="1382867" y="4454231"/>
            <a:ext cx="4314274" cy="621773"/>
          </a:xfrm>
          <a:prstGeom prst="rect">
            <a:avLst/>
          </a:prstGeom>
          <a:noFill/>
        </p:spPr>
        <p:txBody>
          <a:bodyPr wrap="square" lIns="0" rIns="0" rtlCol="0">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altLang="zh-CN" sz="1200" b="0" i="0" u="none" strike="noStrike" kern="1200" cap="none" spc="0" normalizeH="0" baseline="0" noProof="0" dirty="0">
                <a:ln>
                  <a:noFill/>
                </a:ln>
                <a:solidFill>
                  <a:prstClr val="white"/>
                </a:solidFill>
                <a:effectLst/>
                <a:uLnTx/>
                <a:uFillTx/>
                <a:latin typeface="+mn-ea"/>
                <a:cs typeface="Roboto Condensed Light" panose="02000000000000000000" pitchFamily="2" charset="0"/>
              </a:rPr>
              <a:t>Lorem ipsum dolor sit amet, consectetur adipisicing elit, sed do eiusmod tempor</a:t>
            </a:r>
            <a:endParaRPr kumimoji="0" lang="zh-CN" altLang="en-US" sz="1200" b="0" i="0" u="none" strike="noStrike" kern="1200" cap="none" spc="0" normalizeH="0" baseline="0" noProof="0" dirty="0">
              <a:ln>
                <a:noFill/>
              </a:ln>
              <a:solidFill>
                <a:prstClr val="white"/>
              </a:solidFill>
              <a:effectLst/>
              <a:uLnTx/>
              <a:uFillTx/>
              <a:latin typeface="+mn-ea"/>
              <a:cs typeface="Roboto Condensed Light" panose="02000000000000000000" pitchFamily="2" charset="0"/>
            </a:endParaRPr>
          </a:p>
        </p:txBody>
      </p:sp>
      <p:sp>
        <p:nvSpPr>
          <p:cNvPr id="87" name="Rectangle 13">
            <a:extLst>
              <a:ext uri="{FF2B5EF4-FFF2-40B4-BE49-F238E27FC236}">
                <a16:creationId xmlns:a16="http://schemas.microsoft.com/office/drawing/2014/main" id="{7A7235E5-CE9E-45D1-A921-144AE9B26764}"/>
              </a:ext>
            </a:extLst>
          </p:cNvPr>
          <p:cNvSpPr/>
          <p:nvPr/>
        </p:nvSpPr>
        <p:spPr>
          <a:xfrm>
            <a:off x="484585" y="4377617"/>
            <a:ext cx="669131" cy="801859"/>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mn-ea"/>
                <a:cs typeface="+mn-cs"/>
              </a:rPr>
              <a:t>05</a:t>
            </a:r>
          </a:p>
        </p:txBody>
      </p:sp>
      <p:sp>
        <p:nvSpPr>
          <p:cNvPr id="88" name="Rectangle 2">
            <a:extLst>
              <a:ext uri="{FF2B5EF4-FFF2-40B4-BE49-F238E27FC236}">
                <a16:creationId xmlns:a16="http://schemas.microsoft.com/office/drawing/2014/main" id="{706FDFDE-4CE5-48BB-9960-A648F86C7284}"/>
              </a:ext>
            </a:extLst>
          </p:cNvPr>
          <p:cNvSpPr/>
          <p:nvPr/>
        </p:nvSpPr>
        <p:spPr>
          <a:xfrm>
            <a:off x="7119115" y="4377618"/>
            <a:ext cx="4588301" cy="80185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mn-ea"/>
              <a:cs typeface="+mn-cs"/>
            </a:endParaRPr>
          </a:p>
        </p:txBody>
      </p:sp>
      <p:sp>
        <p:nvSpPr>
          <p:cNvPr id="89" name="TextBox 7">
            <a:extLst>
              <a:ext uri="{FF2B5EF4-FFF2-40B4-BE49-F238E27FC236}">
                <a16:creationId xmlns:a16="http://schemas.microsoft.com/office/drawing/2014/main" id="{5F8DD469-2DD9-4C0D-9A04-C401FEDCFBCB}"/>
              </a:ext>
            </a:extLst>
          </p:cNvPr>
          <p:cNvSpPr txBox="1"/>
          <p:nvPr/>
        </p:nvSpPr>
        <p:spPr>
          <a:xfrm>
            <a:off x="7259792" y="4454231"/>
            <a:ext cx="4314274" cy="621773"/>
          </a:xfrm>
          <a:prstGeom prst="rect">
            <a:avLst/>
          </a:prstGeom>
          <a:noFill/>
        </p:spPr>
        <p:txBody>
          <a:bodyPr wrap="square" lIns="0" rIns="0" rtlCol="0">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altLang="zh-CN" sz="1200" b="0" i="0" u="none" strike="noStrike" kern="1200" cap="none" spc="0" normalizeH="0" baseline="0" noProof="0" dirty="0">
                <a:ln>
                  <a:noFill/>
                </a:ln>
                <a:solidFill>
                  <a:prstClr val="white"/>
                </a:solidFill>
                <a:effectLst/>
                <a:uLnTx/>
                <a:uFillTx/>
                <a:latin typeface="+mn-ea"/>
                <a:cs typeface="Roboto Condensed Light" panose="02000000000000000000" pitchFamily="2" charset="0"/>
              </a:rPr>
              <a:t>Lorem ipsum dolor sit amet, consectetur adipisicing elit, sed do eiusmod tempor</a:t>
            </a:r>
            <a:endParaRPr kumimoji="0" lang="zh-CN" altLang="en-US" sz="1200" b="0" i="0" u="none" strike="noStrike" kern="1200" cap="none" spc="0" normalizeH="0" baseline="0" noProof="0" dirty="0">
              <a:ln>
                <a:noFill/>
              </a:ln>
              <a:solidFill>
                <a:prstClr val="white"/>
              </a:solidFill>
              <a:effectLst/>
              <a:uLnTx/>
              <a:uFillTx/>
              <a:latin typeface="+mn-ea"/>
              <a:cs typeface="Roboto Condensed Light" panose="02000000000000000000" pitchFamily="2" charset="0"/>
            </a:endParaRPr>
          </a:p>
        </p:txBody>
      </p:sp>
      <p:sp>
        <p:nvSpPr>
          <p:cNvPr id="90" name="Rectangle 13">
            <a:extLst>
              <a:ext uri="{FF2B5EF4-FFF2-40B4-BE49-F238E27FC236}">
                <a16:creationId xmlns:a16="http://schemas.microsoft.com/office/drawing/2014/main" id="{64AC65F6-FF83-40ED-AFD2-1DD542A46006}"/>
              </a:ext>
            </a:extLst>
          </p:cNvPr>
          <p:cNvSpPr/>
          <p:nvPr/>
        </p:nvSpPr>
        <p:spPr>
          <a:xfrm>
            <a:off x="6361510" y="4377617"/>
            <a:ext cx="669131" cy="801859"/>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mn-ea"/>
                <a:cs typeface="+mn-cs"/>
              </a:rPr>
              <a:t>06</a:t>
            </a:r>
          </a:p>
        </p:txBody>
      </p:sp>
    </p:spTree>
    <p:extLst>
      <p:ext uri="{BB962C8B-B14F-4D97-AF65-F5344CB8AC3E}">
        <p14:creationId xmlns:p14="http://schemas.microsoft.com/office/powerpoint/2010/main" val="742393771"/>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2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任意形状 9">
            <a:extLst>
              <a:ext uri="{FF2B5EF4-FFF2-40B4-BE49-F238E27FC236}">
                <a16:creationId xmlns:a16="http://schemas.microsoft.com/office/drawing/2014/main" id="{79C0392D-8AB4-4C9C-BB47-E593C645F444}"/>
              </a:ext>
            </a:extLst>
          </p:cNvPr>
          <p:cNvSpPr/>
          <p:nvPr/>
        </p:nvSpPr>
        <p:spPr>
          <a:xfrm>
            <a:off x="0" y="6457950"/>
            <a:ext cx="12192000" cy="400050"/>
          </a:xfrm>
          <a:custGeom>
            <a:avLst/>
            <a:gdLst>
              <a:gd name="connsiteX0" fmla="*/ 12192000 w 12192000"/>
              <a:gd name="connsiteY0" fmla="*/ 0 h 329410"/>
              <a:gd name="connsiteX1" fmla="*/ 12192000 w 12192000"/>
              <a:gd name="connsiteY1" fmla="*/ 329410 h 329410"/>
              <a:gd name="connsiteX2" fmla="*/ 0 w 12192000"/>
              <a:gd name="connsiteY2" fmla="*/ 329410 h 329410"/>
              <a:gd name="connsiteX3" fmla="*/ 0 w 12192000"/>
              <a:gd name="connsiteY3" fmla="*/ 29375 h 329410"/>
              <a:gd name="connsiteX4" fmla="*/ 577089 w 12192000"/>
              <a:gd name="connsiteY4" fmla="*/ 49593 h 329410"/>
              <a:gd name="connsiteX5" fmla="*/ 5704114 w 12192000"/>
              <a:gd name="connsiteY5" fmla="*/ 124873 h 329410"/>
              <a:gd name="connsiteX6" fmla="*/ 11982536 w 12192000"/>
              <a:gd name="connsiteY6" fmla="*/ 9255 h 329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329410">
                <a:moveTo>
                  <a:pt x="12192000" y="0"/>
                </a:moveTo>
                <a:lnTo>
                  <a:pt x="12192000" y="329410"/>
                </a:lnTo>
                <a:lnTo>
                  <a:pt x="0" y="329410"/>
                </a:lnTo>
                <a:lnTo>
                  <a:pt x="0" y="29375"/>
                </a:lnTo>
                <a:lnTo>
                  <a:pt x="577089" y="49593"/>
                </a:lnTo>
                <a:cubicBezTo>
                  <a:pt x="2152931" y="98068"/>
                  <a:pt x="3885480" y="124873"/>
                  <a:pt x="5704114" y="124873"/>
                </a:cubicBezTo>
                <a:cubicBezTo>
                  <a:pt x="7977407" y="124873"/>
                  <a:pt x="10116192" y="82990"/>
                  <a:pt x="11982536" y="9255"/>
                </a:cubicBezTo>
                <a:close/>
              </a:path>
            </a:pathLst>
          </a:custGeom>
          <a:solidFill>
            <a:schemeClr val="accent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zh-CN" altLang="en-US"/>
          </a:p>
        </p:txBody>
      </p:sp>
      <p:sp>
        <p:nvSpPr>
          <p:cNvPr id="7" name="矩形: 圆角 6">
            <a:extLst>
              <a:ext uri="{FF2B5EF4-FFF2-40B4-BE49-F238E27FC236}">
                <a16:creationId xmlns:a16="http://schemas.microsoft.com/office/drawing/2014/main" id="{B87E104B-EB9F-4BFF-8130-0F741008C8F2}"/>
              </a:ext>
            </a:extLst>
          </p:cNvPr>
          <p:cNvSpPr/>
          <p:nvPr/>
        </p:nvSpPr>
        <p:spPr>
          <a:xfrm>
            <a:off x="604901" y="1776175"/>
            <a:ext cx="5073523" cy="1280160"/>
          </a:xfrm>
          <a:prstGeom prst="roundRect">
            <a:avLst>
              <a:gd name="adj" fmla="val 11994"/>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20" name="文本框 19">
            <a:extLst>
              <a:ext uri="{FF2B5EF4-FFF2-40B4-BE49-F238E27FC236}">
                <a16:creationId xmlns:a16="http://schemas.microsoft.com/office/drawing/2014/main" id="{E7E9BBBD-B019-4264-82FD-5552F408E280}"/>
              </a:ext>
            </a:extLst>
          </p:cNvPr>
          <p:cNvSpPr txBox="1"/>
          <p:nvPr/>
        </p:nvSpPr>
        <p:spPr>
          <a:xfrm>
            <a:off x="866729" y="2000333"/>
            <a:ext cx="2067874" cy="369332"/>
          </a:xfrm>
          <a:prstGeom prst="rect">
            <a:avLst/>
          </a:prstGeom>
          <a:noFill/>
        </p:spPr>
        <p:txBody>
          <a:bodyPr wrap="none" lIns="0" tIns="0" rIns="0" bIns="0" rtlCol="0" anchor="t">
            <a:spAutoFit/>
          </a:bodyPr>
          <a:lstStyle/>
          <a:p>
            <a:r>
              <a:rPr lang="en-US" altLang="zh-CN" sz="2400" dirty="0">
                <a:solidFill>
                  <a:schemeClr val="bg1"/>
                </a:solidFill>
                <a:latin typeface="+mj-ea"/>
                <a:ea typeface="+mj-ea"/>
              </a:rPr>
              <a:t>01.</a:t>
            </a:r>
            <a:r>
              <a:rPr lang="zh-CN" altLang="en-US" sz="2400" dirty="0">
                <a:solidFill>
                  <a:schemeClr val="bg1"/>
                </a:solidFill>
                <a:latin typeface="+mj-ea"/>
                <a:ea typeface="+mj-ea"/>
              </a:rPr>
              <a:t> 关键词标题</a:t>
            </a:r>
          </a:p>
        </p:txBody>
      </p:sp>
      <p:sp>
        <p:nvSpPr>
          <p:cNvPr id="21" name="文本框 20">
            <a:extLst>
              <a:ext uri="{FF2B5EF4-FFF2-40B4-BE49-F238E27FC236}">
                <a16:creationId xmlns:a16="http://schemas.microsoft.com/office/drawing/2014/main" id="{79601539-2085-4926-AD6D-C90C07F27AA3}"/>
              </a:ext>
            </a:extLst>
          </p:cNvPr>
          <p:cNvSpPr txBox="1"/>
          <p:nvPr/>
        </p:nvSpPr>
        <p:spPr>
          <a:xfrm>
            <a:off x="866729" y="2409778"/>
            <a:ext cx="4650151" cy="462563"/>
          </a:xfrm>
          <a:prstGeom prst="rect">
            <a:avLst/>
          </a:prstGeom>
          <a:noFill/>
        </p:spPr>
        <p:txBody>
          <a:bodyPr wrap="square" lIns="0" tIns="0" rIns="0" bIns="0" rtlCol="0" anchor="t">
            <a:spAutoFit/>
          </a:bodyPr>
          <a:lstStyle/>
          <a:p>
            <a:pPr>
              <a:lnSpc>
                <a:spcPct val="130000"/>
              </a:lnSpc>
            </a:pPr>
            <a:r>
              <a:rPr lang="en-US" altLang="zh-CN" sz="1200" b="0" dirty="0">
                <a:solidFill>
                  <a:schemeClr val="bg1"/>
                </a:solidFill>
                <a:effectLst/>
                <a:latin typeface="+mn-ea"/>
              </a:rPr>
              <a:t>Lorem ipsum dolor sit amet, consectetur adipisicing elit, sed do eiusmod tempor</a:t>
            </a:r>
            <a:endParaRPr lang="zh-CN" altLang="en-US" sz="1200" b="0" dirty="0">
              <a:solidFill>
                <a:schemeClr val="bg1"/>
              </a:solidFill>
              <a:effectLst/>
              <a:latin typeface="+mn-ea"/>
            </a:endParaRPr>
          </a:p>
        </p:txBody>
      </p:sp>
      <p:sp>
        <p:nvSpPr>
          <p:cNvPr id="27" name="矩形: 圆角 26">
            <a:extLst>
              <a:ext uri="{FF2B5EF4-FFF2-40B4-BE49-F238E27FC236}">
                <a16:creationId xmlns:a16="http://schemas.microsoft.com/office/drawing/2014/main" id="{E78004FE-787A-40B6-A211-805FA3E1F3B9}"/>
              </a:ext>
            </a:extLst>
          </p:cNvPr>
          <p:cNvSpPr/>
          <p:nvPr/>
        </p:nvSpPr>
        <p:spPr>
          <a:xfrm>
            <a:off x="6513576" y="1776175"/>
            <a:ext cx="5073523" cy="1280160"/>
          </a:xfrm>
          <a:prstGeom prst="roundRect">
            <a:avLst>
              <a:gd name="adj" fmla="val 11994"/>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28" name="文本框 27">
            <a:extLst>
              <a:ext uri="{FF2B5EF4-FFF2-40B4-BE49-F238E27FC236}">
                <a16:creationId xmlns:a16="http://schemas.microsoft.com/office/drawing/2014/main" id="{DCF89069-A9D6-476C-852A-38262C543DF6}"/>
              </a:ext>
            </a:extLst>
          </p:cNvPr>
          <p:cNvSpPr txBox="1"/>
          <p:nvPr/>
        </p:nvSpPr>
        <p:spPr>
          <a:xfrm>
            <a:off x="6775404" y="2000333"/>
            <a:ext cx="2122376" cy="369332"/>
          </a:xfrm>
          <a:prstGeom prst="rect">
            <a:avLst/>
          </a:prstGeom>
          <a:noFill/>
        </p:spPr>
        <p:txBody>
          <a:bodyPr wrap="none" lIns="0" tIns="0" rIns="0" bIns="0" rtlCol="0" anchor="t">
            <a:spAutoFit/>
          </a:bodyPr>
          <a:lstStyle/>
          <a:p>
            <a:r>
              <a:rPr lang="en-US" altLang="zh-CN" sz="2400" dirty="0">
                <a:solidFill>
                  <a:schemeClr val="bg1"/>
                </a:solidFill>
                <a:latin typeface="+mj-ea"/>
                <a:ea typeface="+mj-ea"/>
              </a:rPr>
              <a:t>02.</a:t>
            </a:r>
            <a:r>
              <a:rPr lang="zh-CN" altLang="en-US" sz="2400" dirty="0">
                <a:solidFill>
                  <a:schemeClr val="bg1"/>
                </a:solidFill>
                <a:latin typeface="+mj-ea"/>
                <a:ea typeface="+mj-ea"/>
              </a:rPr>
              <a:t> 关键词标题</a:t>
            </a:r>
          </a:p>
        </p:txBody>
      </p:sp>
      <p:sp>
        <p:nvSpPr>
          <p:cNvPr id="29" name="文本框 28">
            <a:extLst>
              <a:ext uri="{FF2B5EF4-FFF2-40B4-BE49-F238E27FC236}">
                <a16:creationId xmlns:a16="http://schemas.microsoft.com/office/drawing/2014/main" id="{CF6F172F-050B-40D9-A476-4579CEF5B62F}"/>
              </a:ext>
            </a:extLst>
          </p:cNvPr>
          <p:cNvSpPr txBox="1"/>
          <p:nvPr/>
        </p:nvSpPr>
        <p:spPr>
          <a:xfrm>
            <a:off x="6775404" y="2409778"/>
            <a:ext cx="4650151" cy="462563"/>
          </a:xfrm>
          <a:prstGeom prst="rect">
            <a:avLst/>
          </a:prstGeom>
          <a:noFill/>
        </p:spPr>
        <p:txBody>
          <a:bodyPr wrap="square" lIns="0" tIns="0" rIns="0" bIns="0" rtlCol="0" anchor="t">
            <a:spAutoFit/>
          </a:bodyPr>
          <a:lstStyle/>
          <a:p>
            <a:pPr>
              <a:lnSpc>
                <a:spcPct val="130000"/>
              </a:lnSpc>
            </a:pPr>
            <a:r>
              <a:rPr lang="en-US" altLang="zh-CN" sz="1200" b="0" dirty="0">
                <a:solidFill>
                  <a:schemeClr val="bg1"/>
                </a:solidFill>
                <a:effectLst/>
                <a:latin typeface="+mn-ea"/>
              </a:rPr>
              <a:t>Lorem ipsum dolor sit amet, consectetur adipisicing elit, sed do eiusmod tempor</a:t>
            </a:r>
            <a:endParaRPr lang="zh-CN" altLang="en-US" sz="1200" b="0" dirty="0">
              <a:solidFill>
                <a:schemeClr val="bg1"/>
              </a:solidFill>
              <a:effectLst/>
              <a:latin typeface="+mn-ea"/>
            </a:endParaRPr>
          </a:p>
        </p:txBody>
      </p:sp>
      <p:sp>
        <p:nvSpPr>
          <p:cNvPr id="30" name="矩形: 圆角 29">
            <a:extLst>
              <a:ext uri="{FF2B5EF4-FFF2-40B4-BE49-F238E27FC236}">
                <a16:creationId xmlns:a16="http://schemas.microsoft.com/office/drawing/2014/main" id="{9239D4B2-590E-491C-804C-4D243C7AC477}"/>
              </a:ext>
            </a:extLst>
          </p:cNvPr>
          <p:cNvSpPr/>
          <p:nvPr/>
        </p:nvSpPr>
        <p:spPr>
          <a:xfrm>
            <a:off x="604901" y="3711340"/>
            <a:ext cx="5073523" cy="1280160"/>
          </a:xfrm>
          <a:prstGeom prst="roundRect">
            <a:avLst>
              <a:gd name="adj" fmla="val 11994"/>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31" name="文本框 30">
            <a:extLst>
              <a:ext uri="{FF2B5EF4-FFF2-40B4-BE49-F238E27FC236}">
                <a16:creationId xmlns:a16="http://schemas.microsoft.com/office/drawing/2014/main" id="{BE34EDBA-FEFC-482F-A4E7-82D40EB0B7E2}"/>
              </a:ext>
            </a:extLst>
          </p:cNvPr>
          <p:cNvSpPr txBox="1"/>
          <p:nvPr/>
        </p:nvSpPr>
        <p:spPr>
          <a:xfrm>
            <a:off x="866729" y="3935498"/>
            <a:ext cx="2122376" cy="369332"/>
          </a:xfrm>
          <a:prstGeom prst="rect">
            <a:avLst/>
          </a:prstGeom>
          <a:noFill/>
        </p:spPr>
        <p:txBody>
          <a:bodyPr wrap="none" lIns="0" tIns="0" rIns="0" bIns="0" rtlCol="0" anchor="t">
            <a:spAutoFit/>
          </a:bodyPr>
          <a:lstStyle/>
          <a:p>
            <a:r>
              <a:rPr lang="en-US" altLang="zh-CN" sz="2400" dirty="0">
                <a:solidFill>
                  <a:schemeClr val="bg1"/>
                </a:solidFill>
                <a:latin typeface="+mj-ea"/>
                <a:ea typeface="+mj-ea"/>
              </a:rPr>
              <a:t>03.</a:t>
            </a:r>
            <a:r>
              <a:rPr lang="zh-CN" altLang="en-US" sz="2400" dirty="0">
                <a:solidFill>
                  <a:schemeClr val="bg1"/>
                </a:solidFill>
                <a:latin typeface="+mj-ea"/>
                <a:ea typeface="+mj-ea"/>
              </a:rPr>
              <a:t> 关键词标题</a:t>
            </a:r>
          </a:p>
        </p:txBody>
      </p:sp>
      <p:sp>
        <p:nvSpPr>
          <p:cNvPr id="32" name="文本框 31">
            <a:extLst>
              <a:ext uri="{FF2B5EF4-FFF2-40B4-BE49-F238E27FC236}">
                <a16:creationId xmlns:a16="http://schemas.microsoft.com/office/drawing/2014/main" id="{2D2FECFD-31B4-4031-B4C6-D8094404C118}"/>
              </a:ext>
            </a:extLst>
          </p:cNvPr>
          <p:cNvSpPr txBox="1"/>
          <p:nvPr/>
        </p:nvSpPr>
        <p:spPr>
          <a:xfrm>
            <a:off x="866729" y="4344943"/>
            <a:ext cx="4650151" cy="462563"/>
          </a:xfrm>
          <a:prstGeom prst="rect">
            <a:avLst/>
          </a:prstGeom>
          <a:noFill/>
        </p:spPr>
        <p:txBody>
          <a:bodyPr wrap="square" lIns="0" tIns="0" rIns="0" bIns="0" rtlCol="0" anchor="t">
            <a:spAutoFit/>
          </a:bodyPr>
          <a:lstStyle/>
          <a:p>
            <a:pPr>
              <a:lnSpc>
                <a:spcPct val="130000"/>
              </a:lnSpc>
            </a:pPr>
            <a:r>
              <a:rPr lang="en-US" altLang="zh-CN" sz="1200" b="0" dirty="0">
                <a:solidFill>
                  <a:schemeClr val="bg1"/>
                </a:solidFill>
                <a:effectLst/>
                <a:latin typeface="+mn-ea"/>
              </a:rPr>
              <a:t>Lorem ipsum dolor sit amet, consectetur adipisicing elit, sed do eiusmod tempor</a:t>
            </a:r>
            <a:endParaRPr lang="zh-CN" altLang="en-US" sz="1200" b="0" dirty="0">
              <a:solidFill>
                <a:schemeClr val="bg1"/>
              </a:solidFill>
              <a:effectLst/>
              <a:latin typeface="+mn-ea"/>
            </a:endParaRPr>
          </a:p>
        </p:txBody>
      </p:sp>
      <p:sp>
        <p:nvSpPr>
          <p:cNvPr id="33" name="矩形: 圆角 32">
            <a:extLst>
              <a:ext uri="{FF2B5EF4-FFF2-40B4-BE49-F238E27FC236}">
                <a16:creationId xmlns:a16="http://schemas.microsoft.com/office/drawing/2014/main" id="{E5F4D9A2-5CD5-47DD-9C8F-825EA345FAAE}"/>
              </a:ext>
            </a:extLst>
          </p:cNvPr>
          <p:cNvSpPr/>
          <p:nvPr/>
        </p:nvSpPr>
        <p:spPr>
          <a:xfrm>
            <a:off x="6513576" y="3711340"/>
            <a:ext cx="5073523" cy="1280160"/>
          </a:xfrm>
          <a:prstGeom prst="roundRect">
            <a:avLst>
              <a:gd name="adj" fmla="val 11994"/>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34" name="文本框 33">
            <a:extLst>
              <a:ext uri="{FF2B5EF4-FFF2-40B4-BE49-F238E27FC236}">
                <a16:creationId xmlns:a16="http://schemas.microsoft.com/office/drawing/2014/main" id="{2BCE99A6-7DF2-4715-8BBA-B7AAF93FC996}"/>
              </a:ext>
            </a:extLst>
          </p:cNvPr>
          <p:cNvSpPr txBox="1"/>
          <p:nvPr/>
        </p:nvSpPr>
        <p:spPr>
          <a:xfrm>
            <a:off x="6775404" y="3935498"/>
            <a:ext cx="2122376" cy="369332"/>
          </a:xfrm>
          <a:prstGeom prst="rect">
            <a:avLst/>
          </a:prstGeom>
          <a:noFill/>
        </p:spPr>
        <p:txBody>
          <a:bodyPr wrap="none" lIns="0" tIns="0" rIns="0" bIns="0" rtlCol="0" anchor="t">
            <a:spAutoFit/>
          </a:bodyPr>
          <a:lstStyle/>
          <a:p>
            <a:r>
              <a:rPr lang="en-US" altLang="zh-CN" sz="2400" dirty="0">
                <a:solidFill>
                  <a:schemeClr val="bg1"/>
                </a:solidFill>
                <a:latin typeface="+mj-ea"/>
                <a:ea typeface="+mj-ea"/>
              </a:rPr>
              <a:t>04.</a:t>
            </a:r>
            <a:r>
              <a:rPr lang="zh-CN" altLang="en-US" sz="2400" dirty="0">
                <a:solidFill>
                  <a:schemeClr val="bg1"/>
                </a:solidFill>
                <a:latin typeface="+mj-ea"/>
                <a:ea typeface="+mj-ea"/>
              </a:rPr>
              <a:t> 关键词标题</a:t>
            </a:r>
          </a:p>
        </p:txBody>
      </p:sp>
      <p:sp>
        <p:nvSpPr>
          <p:cNvPr id="37" name="文本框 36">
            <a:extLst>
              <a:ext uri="{FF2B5EF4-FFF2-40B4-BE49-F238E27FC236}">
                <a16:creationId xmlns:a16="http://schemas.microsoft.com/office/drawing/2014/main" id="{A59E606A-EE6A-4825-B1AF-88AF33C330AB}"/>
              </a:ext>
            </a:extLst>
          </p:cNvPr>
          <p:cNvSpPr txBox="1"/>
          <p:nvPr/>
        </p:nvSpPr>
        <p:spPr>
          <a:xfrm>
            <a:off x="6775404" y="4344943"/>
            <a:ext cx="4650151" cy="462563"/>
          </a:xfrm>
          <a:prstGeom prst="rect">
            <a:avLst/>
          </a:prstGeom>
          <a:noFill/>
        </p:spPr>
        <p:txBody>
          <a:bodyPr wrap="square" lIns="0" tIns="0" rIns="0" bIns="0" rtlCol="0" anchor="t">
            <a:spAutoFit/>
          </a:bodyPr>
          <a:lstStyle/>
          <a:p>
            <a:pPr>
              <a:lnSpc>
                <a:spcPct val="130000"/>
              </a:lnSpc>
            </a:pPr>
            <a:r>
              <a:rPr lang="en-US" altLang="zh-CN" sz="1200" b="0" dirty="0">
                <a:solidFill>
                  <a:schemeClr val="bg1"/>
                </a:solidFill>
                <a:effectLst/>
                <a:latin typeface="+mn-ea"/>
              </a:rPr>
              <a:t>Lorem ipsum dolor sit amet, consectetur adipisicing elit, sed do eiusmod tempor</a:t>
            </a:r>
            <a:endParaRPr lang="zh-CN" altLang="en-US" sz="1200" b="0" dirty="0">
              <a:solidFill>
                <a:schemeClr val="bg1"/>
              </a:solidFill>
              <a:effectLst/>
              <a:latin typeface="+mn-ea"/>
            </a:endParaRPr>
          </a:p>
        </p:txBody>
      </p:sp>
    </p:spTree>
    <p:extLst>
      <p:ext uri="{BB962C8B-B14F-4D97-AF65-F5344CB8AC3E}">
        <p14:creationId xmlns:p14="http://schemas.microsoft.com/office/powerpoint/2010/main" val="1668661100"/>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矩形 12">
            <a:extLst>
              <a:ext uri="{FF2B5EF4-FFF2-40B4-BE49-F238E27FC236}">
                <a16:creationId xmlns:a16="http://schemas.microsoft.com/office/drawing/2014/main" id="{B510CFE6-396C-4B42-9348-BE274EC0EA4F}"/>
              </a:ext>
            </a:extLst>
          </p:cNvPr>
          <p:cNvSpPr/>
          <p:nvPr/>
        </p:nvSpPr>
        <p:spPr>
          <a:xfrm>
            <a:off x="0" y="1743075"/>
            <a:ext cx="12192000" cy="3051810"/>
          </a:xfrm>
          <a:prstGeom prst="rect">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p>
        </p:txBody>
      </p:sp>
      <p:sp>
        <p:nvSpPr>
          <p:cNvPr id="2" name="矩形 1">
            <a:extLst>
              <a:ext uri="{FF2B5EF4-FFF2-40B4-BE49-F238E27FC236}">
                <a16:creationId xmlns:a16="http://schemas.microsoft.com/office/drawing/2014/main" id="{F682F9CF-E3FB-4D92-9D66-55D5787E1B96}"/>
              </a:ext>
            </a:extLst>
          </p:cNvPr>
          <p:cNvSpPr/>
          <p:nvPr/>
        </p:nvSpPr>
        <p:spPr>
          <a:xfrm>
            <a:off x="0" y="1874520"/>
            <a:ext cx="12192000" cy="278892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p>
        </p:txBody>
      </p:sp>
      <p:sp>
        <p:nvSpPr>
          <p:cNvPr id="11" name="文本框 10">
            <a:extLst>
              <a:ext uri="{FF2B5EF4-FFF2-40B4-BE49-F238E27FC236}">
                <a16:creationId xmlns:a16="http://schemas.microsoft.com/office/drawing/2014/main" id="{E4393356-E9A7-46D9-B5F5-0D21EC991A29}"/>
              </a:ext>
            </a:extLst>
          </p:cNvPr>
          <p:cNvSpPr txBox="1"/>
          <p:nvPr/>
        </p:nvSpPr>
        <p:spPr>
          <a:xfrm>
            <a:off x="1941017" y="2813447"/>
            <a:ext cx="8309967" cy="1107996"/>
          </a:xfrm>
          <a:prstGeom prst="rect">
            <a:avLst/>
          </a:prstGeom>
          <a:noFill/>
        </p:spPr>
        <p:txBody>
          <a:bodyPr wrap="none" lIns="0" tIns="0" rIns="0" bIns="0" rtlCol="0" anchor="t">
            <a:spAutoFit/>
          </a:bodyPr>
          <a:lstStyle/>
          <a:p>
            <a:pPr algn="ctr"/>
            <a:r>
              <a:rPr lang="zh-CN" altLang="en-US" sz="7200" dirty="0">
                <a:solidFill>
                  <a:schemeClr val="bg1"/>
                </a:solidFill>
                <a:latin typeface="+mj-ea"/>
                <a:ea typeface="+mj-ea"/>
              </a:rPr>
              <a:t>输入你的封面大标题</a:t>
            </a:r>
          </a:p>
        </p:txBody>
      </p:sp>
      <p:sp>
        <p:nvSpPr>
          <p:cNvPr id="12" name="文本框 11">
            <a:extLst>
              <a:ext uri="{FF2B5EF4-FFF2-40B4-BE49-F238E27FC236}">
                <a16:creationId xmlns:a16="http://schemas.microsoft.com/office/drawing/2014/main" id="{08D1ED60-C0E7-408E-A5AA-59B489440FCB}"/>
              </a:ext>
            </a:extLst>
          </p:cNvPr>
          <p:cNvSpPr txBox="1"/>
          <p:nvPr/>
        </p:nvSpPr>
        <p:spPr>
          <a:xfrm>
            <a:off x="4095451" y="2275523"/>
            <a:ext cx="4001095" cy="369332"/>
          </a:xfrm>
          <a:prstGeom prst="rect">
            <a:avLst/>
          </a:prstGeom>
          <a:noFill/>
        </p:spPr>
        <p:txBody>
          <a:bodyPr wrap="none" lIns="0" tIns="0" rIns="0" bIns="0" rtlCol="0" anchor="t">
            <a:spAutoFit/>
          </a:bodyPr>
          <a:lstStyle/>
          <a:p>
            <a:pPr algn="ctr"/>
            <a:r>
              <a:rPr lang="zh-CN" altLang="en-US" sz="2400" dirty="0">
                <a:solidFill>
                  <a:schemeClr val="bg1"/>
                </a:solidFill>
                <a:latin typeface="+mn-ea"/>
              </a:rPr>
              <a:t>输入你的副标题或大标题英文</a:t>
            </a:r>
          </a:p>
        </p:txBody>
      </p:sp>
      <p:cxnSp>
        <p:nvCxnSpPr>
          <p:cNvPr id="14" name="直接连接符 13">
            <a:extLst>
              <a:ext uri="{FF2B5EF4-FFF2-40B4-BE49-F238E27FC236}">
                <a16:creationId xmlns:a16="http://schemas.microsoft.com/office/drawing/2014/main" id="{99FDF5DC-EAFA-4C3B-B052-660243EB047F}"/>
              </a:ext>
            </a:extLst>
          </p:cNvPr>
          <p:cNvCxnSpPr/>
          <p:nvPr/>
        </p:nvCxnSpPr>
        <p:spPr>
          <a:xfrm flipH="1">
            <a:off x="2029968" y="2465975"/>
            <a:ext cx="1901952"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 name="直接连接符 14">
            <a:extLst>
              <a:ext uri="{FF2B5EF4-FFF2-40B4-BE49-F238E27FC236}">
                <a16:creationId xmlns:a16="http://schemas.microsoft.com/office/drawing/2014/main" id="{C6CC629A-E754-4728-BB95-563C56597B63}"/>
              </a:ext>
            </a:extLst>
          </p:cNvPr>
          <p:cNvCxnSpPr/>
          <p:nvPr/>
        </p:nvCxnSpPr>
        <p:spPr>
          <a:xfrm flipH="1">
            <a:off x="8284464" y="2465975"/>
            <a:ext cx="1901952"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grpSp>
        <p:nvGrpSpPr>
          <p:cNvPr id="18" name="组合 17">
            <a:extLst>
              <a:ext uri="{FF2B5EF4-FFF2-40B4-BE49-F238E27FC236}">
                <a16:creationId xmlns:a16="http://schemas.microsoft.com/office/drawing/2014/main" id="{FC799265-AC15-410F-82A2-679AB60B288F}"/>
              </a:ext>
            </a:extLst>
          </p:cNvPr>
          <p:cNvGrpSpPr/>
          <p:nvPr/>
        </p:nvGrpSpPr>
        <p:grpSpPr>
          <a:xfrm>
            <a:off x="4331702" y="4145803"/>
            <a:ext cx="1475214" cy="246221"/>
            <a:chOff x="4095451" y="4640913"/>
            <a:chExt cx="1475214" cy="246221"/>
          </a:xfrm>
        </p:grpSpPr>
        <p:sp>
          <p:nvSpPr>
            <p:cNvPr id="16" name="矩形 15">
              <a:extLst>
                <a:ext uri="{FF2B5EF4-FFF2-40B4-BE49-F238E27FC236}">
                  <a16:creationId xmlns:a16="http://schemas.microsoft.com/office/drawing/2014/main" id="{74C493E7-1B47-4349-BC5B-BF3163490795}"/>
                </a:ext>
              </a:extLst>
            </p:cNvPr>
            <p:cNvSpPr/>
            <p:nvPr/>
          </p:nvSpPr>
          <p:spPr>
            <a:xfrm>
              <a:off x="4095451" y="4672584"/>
              <a:ext cx="164592" cy="1645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solidFill>
                  <a:schemeClr val="bg1"/>
                </a:solidFill>
              </a:endParaRPr>
            </a:p>
          </p:txBody>
        </p:sp>
        <p:sp>
          <p:nvSpPr>
            <p:cNvPr id="17" name="文本框 16">
              <a:extLst>
                <a:ext uri="{FF2B5EF4-FFF2-40B4-BE49-F238E27FC236}">
                  <a16:creationId xmlns:a16="http://schemas.microsoft.com/office/drawing/2014/main" id="{B804F6AA-7656-4EF8-84F0-3B3FB5CF0922}"/>
                </a:ext>
              </a:extLst>
            </p:cNvPr>
            <p:cNvSpPr txBox="1"/>
            <p:nvPr/>
          </p:nvSpPr>
          <p:spPr>
            <a:xfrm>
              <a:off x="4408487" y="4640913"/>
              <a:ext cx="1162178" cy="246221"/>
            </a:xfrm>
            <a:prstGeom prst="rect">
              <a:avLst/>
            </a:prstGeom>
            <a:noFill/>
          </p:spPr>
          <p:txBody>
            <a:bodyPr wrap="none" lIns="0" tIns="0" rIns="0" bIns="0" rtlCol="0" anchor="t">
              <a:spAutoFit/>
            </a:bodyPr>
            <a:lstStyle/>
            <a:p>
              <a:r>
                <a:rPr lang="zh-CN" altLang="en-US" sz="1600" dirty="0">
                  <a:solidFill>
                    <a:schemeClr val="bg1"/>
                  </a:solidFill>
                  <a:latin typeface="+mn-ea"/>
                </a:rPr>
                <a:t>汇报人：</a:t>
              </a:r>
              <a:r>
                <a:rPr lang="en-US" altLang="zh-CN" sz="1600" dirty="0">
                  <a:solidFill>
                    <a:schemeClr val="bg1"/>
                  </a:solidFill>
                  <a:latin typeface="+mn-ea"/>
                </a:rPr>
                <a:t>xxx</a:t>
              </a:r>
              <a:endParaRPr lang="zh-CN" altLang="en-US" sz="1600" dirty="0">
                <a:solidFill>
                  <a:schemeClr val="bg1"/>
                </a:solidFill>
                <a:latin typeface="+mn-ea"/>
              </a:endParaRPr>
            </a:p>
          </p:txBody>
        </p:sp>
      </p:grpSp>
      <p:grpSp>
        <p:nvGrpSpPr>
          <p:cNvPr id="19" name="组合 18">
            <a:extLst>
              <a:ext uri="{FF2B5EF4-FFF2-40B4-BE49-F238E27FC236}">
                <a16:creationId xmlns:a16="http://schemas.microsoft.com/office/drawing/2014/main" id="{482B1619-178E-45D1-BC39-C5F4314075B6}"/>
              </a:ext>
            </a:extLst>
          </p:cNvPr>
          <p:cNvGrpSpPr/>
          <p:nvPr/>
        </p:nvGrpSpPr>
        <p:grpSpPr>
          <a:xfrm>
            <a:off x="6590270" y="4145803"/>
            <a:ext cx="1270029" cy="246221"/>
            <a:chOff x="4095451" y="4640913"/>
            <a:chExt cx="1270029" cy="246221"/>
          </a:xfrm>
        </p:grpSpPr>
        <p:sp>
          <p:nvSpPr>
            <p:cNvPr id="20" name="矩形 19">
              <a:extLst>
                <a:ext uri="{FF2B5EF4-FFF2-40B4-BE49-F238E27FC236}">
                  <a16:creationId xmlns:a16="http://schemas.microsoft.com/office/drawing/2014/main" id="{3A1AE345-38CE-49BE-9E58-2C20078777A3}"/>
                </a:ext>
              </a:extLst>
            </p:cNvPr>
            <p:cNvSpPr/>
            <p:nvPr/>
          </p:nvSpPr>
          <p:spPr>
            <a:xfrm>
              <a:off x="4095451" y="4672584"/>
              <a:ext cx="164592" cy="1645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solidFill>
                  <a:schemeClr val="bg1"/>
                </a:solidFill>
              </a:endParaRPr>
            </a:p>
          </p:txBody>
        </p:sp>
        <p:sp>
          <p:nvSpPr>
            <p:cNvPr id="21" name="文本框 20">
              <a:extLst>
                <a:ext uri="{FF2B5EF4-FFF2-40B4-BE49-F238E27FC236}">
                  <a16:creationId xmlns:a16="http://schemas.microsoft.com/office/drawing/2014/main" id="{FCC3031D-C171-43E7-B549-82FC96054817}"/>
                </a:ext>
              </a:extLst>
            </p:cNvPr>
            <p:cNvSpPr txBox="1"/>
            <p:nvPr/>
          </p:nvSpPr>
          <p:spPr>
            <a:xfrm>
              <a:off x="4408487" y="4640913"/>
              <a:ext cx="956993" cy="246221"/>
            </a:xfrm>
            <a:prstGeom prst="rect">
              <a:avLst/>
            </a:prstGeom>
            <a:noFill/>
          </p:spPr>
          <p:txBody>
            <a:bodyPr wrap="none" lIns="0" tIns="0" rIns="0" bIns="0" rtlCol="0" anchor="t">
              <a:spAutoFit/>
            </a:bodyPr>
            <a:lstStyle/>
            <a:p>
              <a:r>
                <a:rPr lang="zh-CN" altLang="en-US" sz="1600" dirty="0">
                  <a:solidFill>
                    <a:schemeClr val="bg1"/>
                  </a:solidFill>
                  <a:latin typeface="+mn-ea"/>
                </a:rPr>
                <a:t>单位：</a:t>
              </a:r>
              <a:r>
                <a:rPr lang="en-US" altLang="zh-CN" sz="1600" dirty="0">
                  <a:solidFill>
                    <a:schemeClr val="bg1"/>
                  </a:solidFill>
                  <a:latin typeface="+mn-ea"/>
                </a:rPr>
                <a:t>xxx</a:t>
              </a:r>
              <a:endParaRPr lang="zh-CN" altLang="en-US" sz="1600" dirty="0">
                <a:solidFill>
                  <a:schemeClr val="bg1"/>
                </a:solidFill>
                <a:latin typeface="+mn-ea"/>
              </a:endParaRPr>
            </a:p>
          </p:txBody>
        </p:sp>
      </p:grpSp>
    </p:spTree>
    <p:extLst>
      <p:ext uri="{BB962C8B-B14F-4D97-AF65-F5344CB8AC3E}">
        <p14:creationId xmlns:p14="http://schemas.microsoft.com/office/powerpoint/2010/main" val="3803568103"/>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2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任意形状 9">
            <a:extLst>
              <a:ext uri="{FF2B5EF4-FFF2-40B4-BE49-F238E27FC236}">
                <a16:creationId xmlns:a16="http://schemas.microsoft.com/office/drawing/2014/main" id="{79C0392D-8AB4-4C9C-BB47-E593C645F444}"/>
              </a:ext>
            </a:extLst>
          </p:cNvPr>
          <p:cNvSpPr/>
          <p:nvPr/>
        </p:nvSpPr>
        <p:spPr>
          <a:xfrm>
            <a:off x="0" y="6457950"/>
            <a:ext cx="12192000" cy="400050"/>
          </a:xfrm>
          <a:custGeom>
            <a:avLst/>
            <a:gdLst>
              <a:gd name="connsiteX0" fmla="*/ 12192000 w 12192000"/>
              <a:gd name="connsiteY0" fmla="*/ 0 h 329410"/>
              <a:gd name="connsiteX1" fmla="*/ 12192000 w 12192000"/>
              <a:gd name="connsiteY1" fmla="*/ 329410 h 329410"/>
              <a:gd name="connsiteX2" fmla="*/ 0 w 12192000"/>
              <a:gd name="connsiteY2" fmla="*/ 329410 h 329410"/>
              <a:gd name="connsiteX3" fmla="*/ 0 w 12192000"/>
              <a:gd name="connsiteY3" fmla="*/ 29375 h 329410"/>
              <a:gd name="connsiteX4" fmla="*/ 577089 w 12192000"/>
              <a:gd name="connsiteY4" fmla="*/ 49593 h 329410"/>
              <a:gd name="connsiteX5" fmla="*/ 5704114 w 12192000"/>
              <a:gd name="connsiteY5" fmla="*/ 124873 h 329410"/>
              <a:gd name="connsiteX6" fmla="*/ 11982536 w 12192000"/>
              <a:gd name="connsiteY6" fmla="*/ 9255 h 329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329410">
                <a:moveTo>
                  <a:pt x="12192000" y="0"/>
                </a:moveTo>
                <a:lnTo>
                  <a:pt x="12192000" y="329410"/>
                </a:lnTo>
                <a:lnTo>
                  <a:pt x="0" y="329410"/>
                </a:lnTo>
                <a:lnTo>
                  <a:pt x="0" y="29375"/>
                </a:lnTo>
                <a:lnTo>
                  <a:pt x="577089" y="49593"/>
                </a:lnTo>
                <a:cubicBezTo>
                  <a:pt x="2152931" y="98068"/>
                  <a:pt x="3885480" y="124873"/>
                  <a:pt x="5704114" y="124873"/>
                </a:cubicBezTo>
                <a:cubicBezTo>
                  <a:pt x="7977407" y="124873"/>
                  <a:pt x="10116192" y="82990"/>
                  <a:pt x="11982536" y="9255"/>
                </a:cubicBezTo>
                <a:close/>
              </a:path>
            </a:pathLst>
          </a:custGeom>
          <a:solidFill>
            <a:schemeClr val="accent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zh-CN" altLang="en-US"/>
          </a:p>
        </p:txBody>
      </p:sp>
      <p:grpSp>
        <p:nvGrpSpPr>
          <p:cNvPr id="8" name="组合 7">
            <a:extLst>
              <a:ext uri="{FF2B5EF4-FFF2-40B4-BE49-F238E27FC236}">
                <a16:creationId xmlns:a16="http://schemas.microsoft.com/office/drawing/2014/main" id="{FAB8F5F9-B1AE-44F2-8A70-7124D25C53DB}"/>
              </a:ext>
            </a:extLst>
          </p:cNvPr>
          <p:cNvGrpSpPr/>
          <p:nvPr/>
        </p:nvGrpSpPr>
        <p:grpSpPr>
          <a:xfrm>
            <a:off x="770335" y="1437847"/>
            <a:ext cx="10651331" cy="1046273"/>
            <a:chOff x="569119" y="1437847"/>
            <a:chExt cx="10651331" cy="1046273"/>
          </a:xfrm>
        </p:grpSpPr>
        <p:sp>
          <p:nvSpPr>
            <p:cNvPr id="19" name="矩形: 圆角 18">
              <a:extLst>
                <a:ext uri="{FF2B5EF4-FFF2-40B4-BE49-F238E27FC236}">
                  <a16:creationId xmlns:a16="http://schemas.microsoft.com/office/drawing/2014/main" id="{77427D71-0FD6-4070-B82C-B38381F234A9}"/>
                </a:ext>
              </a:extLst>
            </p:cNvPr>
            <p:cNvSpPr/>
            <p:nvPr/>
          </p:nvSpPr>
          <p:spPr>
            <a:xfrm>
              <a:off x="569119" y="1437847"/>
              <a:ext cx="10651331" cy="1046273"/>
            </a:xfrm>
            <a:prstGeom prst="roundRect">
              <a:avLst>
                <a:gd name="adj" fmla="val 11994"/>
              </a:avLst>
            </a:prstGeom>
            <a:solidFill>
              <a:schemeClr val="bg1">
                <a:lumMod val="95000"/>
              </a:schemeClr>
            </a:solidFill>
            <a:ln>
              <a:noFill/>
            </a:ln>
            <a:effectLst>
              <a:outerShdw blurRad="228600" dist="165100" dir="5400000" algn="t"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22" name="矩形: 圆角 21">
              <a:extLst>
                <a:ext uri="{FF2B5EF4-FFF2-40B4-BE49-F238E27FC236}">
                  <a16:creationId xmlns:a16="http://schemas.microsoft.com/office/drawing/2014/main" id="{A2D8ABA7-BEB8-4420-A3AE-5A025EB4FFD6}"/>
                </a:ext>
              </a:extLst>
            </p:cNvPr>
            <p:cNvSpPr/>
            <p:nvPr/>
          </p:nvSpPr>
          <p:spPr>
            <a:xfrm>
              <a:off x="569119" y="1437847"/>
              <a:ext cx="1031081" cy="1046273"/>
            </a:xfrm>
            <a:prstGeom prst="roundRect">
              <a:avLst>
                <a:gd name="adj" fmla="val 11994"/>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800" dirty="0">
                  <a:solidFill>
                    <a:schemeClr val="bg1"/>
                  </a:solidFill>
                  <a:latin typeface="+mj-ea"/>
                  <a:ea typeface="+mj-ea"/>
                </a:rPr>
                <a:t>01</a:t>
              </a:r>
              <a:endParaRPr lang="zh-CN" altLang="en-US" sz="2800" dirty="0">
                <a:solidFill>
                  <a:schemeClr val="bg1"/>
                </a:solidFill>
                <a:latin typeface="+mj-ea"/>
                <a:ea typeface="+mj-ea"/>
              </a:endParaRPr>
            </a:p>
          </p:txBody>
        </p:sp>
        <p:sp>
          <p:nvSpPr>
            <p:cNvPr id="23" name="文本框 22">
              <a:extLst>
                <a:ext uri="{FF2B5EF4-FFF2-40B4-BE49-F238E27FC236}">
                  <a16:creationId xmlns:a16="http://schemas.microsoft.com/office/drawing/2014/main" id="{BC33FD24-46FC-4BB7-B919-C326CF140E74}"/>
                </a:ext>
              </a:extLst>
            </p:cNvPr>
            <p:cNvSpPr txBox="1"/>
            <p:nvPr/>
          </p:nvSpPr>
          <p:spPr>
            <a:xfrm>
              <a:off x="1896023" y="1652597"/>
              <a:ext cx="9077371" cy="299634"/>
            </a:xfrm>
            <a:prstGeom prst="rect">
              <a:avLst/>
            </a:prstGeom>
            <a:noFill/>
          </p:spPr>
          <p:txBody>
            <a:bodyPr wrap="square" lIns="0" tIns="0" rIns="0" bIns="0" rtlCol="0" anchor="t">
              <a:spAutoFit/>
            </a:bodyPr>
            <a:lstStyle/>
            <a:p>
              <a:pPr>
                <a:lnSpc>
                  <a:spcPct val="130000"/>
                </a:lnSpc>
              </a:pPr>
              <a:r>
                <a:rPr lang="en-US" altLang="zh-CN" sz="1600" b="0" dirty="0">
                  <a:solidFill>
                    <a:schemeClr val="accent1"/>
                  </a:solidFill>
                  <a:effectLst/>
                  <a:latin typeface="+mn-ea"/>
                </a:rPr>
                <a:t>Lorem ipsum dolor sit amet, consectetur adipisicing elit, sed do eiusmod tempor</a:t>
              </a:r>
              <a:endParaRPr lang="zh-CN" altLang="en-US" sz="1600" b="0" dirty="0">
                <a:solidFill>
                  <a:schemeClr val="accent1"/>
                </a:solidFill>
                <a:effectLst/>
                <a:latin typeface="+mn-ea"/>
              </a:endParaRPr>
            </a:p>
          </p:txBody>
        </p:sp>
      </p:grpSp>
      <p:grpSp>
        <p:nvGrpSpPr>
          <p:cNvPr id="24" name="组合 23">
            <a:extLst>
              <a:ext uri="{FF2B5EF4-FFF2-40B4-BE49-F238E27FC236}">
                <a16:creationId xmlns:a16="http://schemas.microsoft.com/office/drawing/2014/main" id="{FBE639C7-7EA4-4AB0-81C2-09C21E44748F}"/>
              </a:ext>
            </a:extLst>
          </p:cNvPr>
          <p:cNvGrpSpPr/>
          <p:nvPr/>
        </p:nvGrpSpPr>
        <p:grpSpPr>
          <a:xfrm>
            <a:off x="770335" y="3030791"/>
            <a:ext cx="10651331" cy="1046273"/>
            <a:chOff x="569119" y="1437847"/>
            <a:chExt cx="10651331" cy="1046273"/>
          </a:xfrm>
        </p:grpSpPr>
        <p:sp>
          <p:nvSpPr>
            <p:cNvPr id="25" name="矩形: 圆角 24">
              <a:extLst>
                <a:ext uri="{FF2B5EF4-FFF2-40B4-BE49-F238E27FC236}">
                  <a16:creationId xmlns:a16="http://schemas.microsoft.com/office/drawing/2014/main" id="{511B3738-A4ED-4E6D-B7FA-EA1619B8516C}"/>
                </a:ext>
              </a:extLst>
            </p:cNvPr>
            <p:cNvSpPr/>
            <p:nvPr/>
          </p:nvSpPr>
          <p:spPr>
            <a:xfrm>
              <a:off x="569119" y="1437847"/>
              <a:ext cx="10651331" cy="1046273"/>
            </a:xfrm>
            <a:prstGeom prst="roundRect">
              <a:avLst>
                <a:gd name="adj" fmla="val 11994"/>
              </a:avLst>
            </a:prstGeom>
            <a:solidFill>
              <a:schemeClr val="bg1">
                <a:lumMod val="95000"/>
              </a:schemeClr>
            </a:solidFill>
            <a:ln>
              <a:noFill/>
            </a:ln>
            <a:effectLst>
              <a:outerShdw blurRad="228600" dist="165100" dir="5400000" algn="t"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26" name="矩形: 圆角 25">
              <a:extLst>
                <a:ext uri="{FF2B5EF4-FFF2-40B4-BE49-F238E27FC236}">
                  <a16:creationId xmlns:a16="http://schemas.microsoft.com/office/drawing/2014/main" id="{AF339BB7-40F2-4A4C-99D1-D12D7068813B}"/>
                </a:ext>
              </a:extLst>
            </p:cNvPr>
            <p:cNvSpPr/>
            <p:nvPr/>
          </p:nvSpPr>
          <p:spPr>
            <a:xfrm>
              <a:off x="10189368" y="1437847"/>
              <a:ext cx="1031081" cy="1046273"/>
            </a:xfrm>
            <a:prstGeom prst="roundRect">
              <a:avLst>
                <a:gd name="adj" fmla="val 11994"/>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800" dirty="0">
                  <a:solidFill>
                    <a:schemeClr val="bg1"/>
                  </a:solidFill>
                  <a:latin typeface="+mj-ea"/>
                  <a:ea typeface="+mj-ea"/>
                </a:rPr>
                <a:t>02</a:t>
              </a:r>
              <a:endParaRPr lang="zh-CN" altLang="en-US" sz="2800" dirty="0">
                <a:solidFill>
                  <a:schemeClr val="bg1"/>
                </a:solidFill>
                <a:latin typeface="+mj-ea"/>
                <a:ea typeface="+mj-ea"/>
              </a:endParaRPr>
            </a:p>
          </p:txBody>
        </p:sp>
        <p:sp>
          <p:nvSpPr>
            <p:cNvPr id="35" name="文本框 34">
              <a:extLst>
                <a:ext uri="{FF2B5EF4-FFF2-40B4-BE49-F238E27FC236}">
                  <a16:creationId xmlns:a16="http://schemas.microsoft.com/office/drawing/2014/main" id="{1BE71FB3-A696-4448-9A21-E5250CF1A616}"/>
                </a:ext>
              </a:extLst>
            </p:cNvPr>
            <p:cNvSpPr txBox="1"/>
            <p:nvPr/>
          </p:nvSpPr>
          <p:spPr>
            <a:xfrm>
              <a:off x="840558" y="1652597"/>
              <a:ext cx="9077371" cy="299634"/>
            </a:xfrm>
            <a:prstGeom prst="rect">
              <a:avLst/>
            </a:prstGeom>
            <a:noFill/>
          </p:spPr>
          <p:txBody>
            <a:bodyPr wrap="square" lIns="0" tIns="0" rIns="0" bIns="0" rtlCol="0" anchor="t">
              <a:spAutoFit/>
            </a:bodyPr>
            <a:lstStyle/>
            <a:p>
              <a:pPr>
                <a:lnSpc>
                  <a:spcPct val="130000"/>
                </a:lnSpc>
              </a:pPr>
              <a:r>
                <a:rPr lang="en-US" altLang="zh-CN" sz="1600" b="0" dirty="0">
                  <a:solidFill>
                    <a:schemeClr val="accent1"/>
                  </a:solidFill>
                  <a:effectLst/>
                  <a:latin typeface="+mn-ea"/>
                </a:rPr>
                <a:t>Lorem ipsum dolor sit amet, consectetur adipisicing elit, sed do eiusmod tempor</a:t>
              </a:r>
              <a:endParaRPr lang="zh-CN" altLang="en-US" sz="1600" b="0" dirty="0">
                <a:solidFill>
                  <a:schemeClr val="accent1"/>
                </a:solidFill>
                <a:effectLst/>
                <a:latin typeface="+mn-ea"/>
              </a:endParaRPr>
            </a:p>
          </p:txBody>
        </p:sp>
      </p:grpSp>
      <p:grpSp>
        <p:nvGrpSpPr>
          <p:cNvPr id="36" name="组合 35">
            <a:extLst>
              <a:ext uri="{FF2B5EF4-FFF2-40B4-BE49-F238E27FC236}">
                <a16:creationId xmlns:a16="http://schemas.microsoft.com/office/drawing/2014/main" id="{33C741D8-5D5B-436A-B085-B03D00008767}"/>
              </a:ext>
            </a:extLst>
          </p:cNvPr>
          <p:cNvGrpSpPr/>
          <p:nvPr/>
        </p:nvGrpSpPr>
        <p:grpSpPr>
          <a:xfrm>
            <a:off x="770335" y="4623735"/>
            <a:ext cx="10651331" cy="1046273"/>
            <a:chOff x="569119" y="1437847"/>
            <a:chExt cx="10651331" cy="1046273"/>
          </a:xfrm>
        </p:grpSpPr>
        <p:sp>
          <p:nvSpPr>
            <p:cNvPr id="38" name="矩形: 圆角 37">
              <a:extLst>
                <a:ext uri="{FF2B5EF4-FFF2-40B4-BE49-F238E27FC236}">
                  <a16:creationId xmlns:a16="http://schemas.microsoft.com/office/drawing/2014/main" id="{45F63028-2765-451C-B04E-EFE1B5956CAE}"/>
                </a:ext>
              </a:extLst>
            </p:cNvPr>
            <p:cNvSpPr/>
            <p:nvPr/>
          </p:nvSpPr>
          <p:spPr>
            <a:xfrm>
              <a:off x="569119" y="1437847"/>
              <a:ext cx="10651331" cy="1046273"/>
            </a:xfrm>
            <a:prstGeom prst="roundRect">
              <a:avLst>
                <a:gd name="adj" fmla="val 11994"/>
              </a:avLst>
            </a:prstGeom>
            <a:solidFill>
              <a:schemeClr val="bg1">
                <a:lumMod val="95000"/>
              </a:schemeClr>
            </a:solidFill>
            <a:ln>
              <a:noFill/>
            </a:ln>
            <a:effectLst>
              <a:outerShdw blurRad="228600" dist="165100" dir="5400000" algn="t"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39" name="矩形: 圆角 38">
              <a:extLst>
                <a:ext uri="{FF2B5EF4-FFF2-40B4-BE49-F238E27FC236}">
                  <a16:creationId xmlns:a16="http://schemas.microsoft.com/office/drawing/2014/main" id="{DA463F44-2863-46DC-ABC9-8F6F62A47CA3}"/>
                </a:ext>
              </a:extLst>
            </p:cNvPr>
            <p:cNvSpPr/>
            <p:nvPr/>
          </p:nvSpPr>
          <p:spPr>
            <a:xfrm>
              <a:off x="569119" y="1437847"/>
              <a:ext cx="1031081" cy="1046273"/>
            </a:xfrm>
            <a:prstGeom prst="roundRect">
              <a:avLst>
                <a:gd name="adj" fmla="val 11994"/>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800" dirty="0">
                  <a:solidFill>
                    <a:schemeClr val="bg1"/>
                  </a:solidFill>
                  <a:latin typeface="+mj-ea"/>
                  <a:ea typeface="+mj-ea"/>
                </a:rPr>
                <a:t>03</a:t>
              </a:r>
              <a:endParaRPr lang="zh-CN" altLang="en-US" sz="2800" dirty="0">
                <a:solidFill>
                  <a:schemeClr val="bg1"/>
                </a:solidFill>
                <a:latin typeface="+mj-ea"/>
                <a:ea typeface="+mj-ea"/>
              </a:endParaRPr>
            </a:p>
          </p:txBody>
        </p:sp>
        <p:sp>
          <p:nvSpPr>
            <p:cNvPr id="40" name="文本框 39">
              <a:extLst>
                <a:ext uri="{FF2B5EF4-FFF2-40B4-BE49-F238E27FC236}">
                  <a16:creationId xmlns:a16="http://schemas.microsoft.com/office/drawing/2014/main" id="{979AEDD0-851F-4F78-9B4A-8A63620BDFE1}"/>
                </a:ext>
              </a:extLst>
            </p:cNvPr>
            <p:cNvSpPr txBox="1"/>
            <p:nvPr/>
          </p:nvSpPr>
          <p:spPr>
            <a:xfrm>
              <a:off x="1896023" y="1652597"/>
              <a:ext cx="9077371" cy="299634"/>
            </a:xfrm>
            <a:prstGeom prst="rect">
              <a:avLst/>
            </a:prstGeom>
            <a:noFill/>
          </p:spPr>
          <p:txBody>
            <a:bodyPr wrap="square" lIns="0" tIns="0" rIns="0" bIns="0" rtlCol="0" anchor="t">
              <a:spAutoFit/>
            </a:bodyPr>
            <a:lstStyle/>
            <a:p>
              <a:pPr>
                <a:lnSpc>
                  <a:spcPct val="130000"/>
                </a:lnSpc>
              </a:pPr>
              <a:r>
                <a:rPr lang="en-US" altLang="zh-CN" sz="1600" b="0" dirty="0">
                  <a:solidFill>
                    <a:schemeClr val="accent1"/>
                  </a:solidFill>
                  <a:effectLst/>
                  <a:latin typeface="+mn-ea"/>
                </a:rPr>
                <a:t>Lorem ipsum dolor sit amet, consectetur adipisicing elit, sed do eiusmod tempor</a:t>
              </a:r>
              <a:endParaRPr lang="zh-CN" altLang="en-US" sz="1600" b="0" dirty="0">
                <a:solidFill>
                  <a:schemeClr val="accent1"/>
                </a:solidFill>
                <a:effectLst/>
                <a:latin typeface="+mn-ea"/>
              </a:endParaRPr>
            </a:p>
          </p:txBody>
        </p:sp>
      </p:grpSp>
    </p:spTree>
    <p:extLst>
      <p:ext uri="{BB962C8B-B14F-4D97-AF65-F5344CB8AC3E}">
        <p14:creationId xmlns:p14="http://schemas.microsoft.com/office/powerpoint/2010/main" val="3790734046"/>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2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任意形状 9">
            <a:extLst>
              <a:ext uri="{FF2B5EF4-FFF2-40B4-BE49-F238E27FC236}">
                <a16:creationId xmlns:a16="http://schemas.microsoft.com/office/drawing/2014/main" id="{79C0392D-8AB4-4C9C-BB47-E593C645F444}"/>
              </a:ext>
            </a:extLst>
          </p:cNvPr>
          <p:cNvSpPr/>
          <p:nvPr/>
        </p:nvSpPr>
        <p:spPr>
          <a:xfrm>
            <a:off x="0" y="6457950"/>
            <a:ext cx="12192000" cy="400050"/>
          </a:xfrm>
          <a:custGeom>
            <a:avLst/>
            <a:gdLst>
              <a:gd name="connsiteX0" fmla="*/ 12192000 w 12192000"/>
              <a:gd name="connsiteY0" fmla="*/ 0 h 329410"/>
              <a:gd name="connsiteX1" fmla="*/ 12192000 w 12192000"/>
              <a:gd name="connsiteY1" fmla="*/ 329410 h 329410"/>
              <a:gd name="connsiteX2" fmla="*/ 0 w 12192000"/>
              <a:gd name="connsiteY2" fmla="*/ 329410 h 329410"/>
              <a:gd name="connsiteX3" fmla="*/ 0 w 12192000"/>
              <a:gd name="connsiteY3" fmla="*/ 29375 h 329410"/>
              <a:gd name="connsiteX4" fmla="*/ 577089 w 12192000"/>
              <a:gd name="connsiteY4" fmla="*/ 49593 h 329410"/>
              <a:gd name="connsiteX5" fmla="*/ 5704114 w 12192000"/>
              <a:gd name="connsiteY5" fmla="*/ 124873 h 329410"/>
              <a:gd name="connsiteX6" fmla="*/ 11982536 w 12192000"/>
              <a:gd name="connsiteY6" fmla="*/ 9255 h 329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329410">
                <a:moveTo>
                  <a:pt x="12192000" y="0"/>
                </a:moveTo>
                <a:lnTo>
                  <a:pt x="12192000" y="329410"/>
                </a:lnTo>
                <a:lnTo>
                  <a:pt x="0" y="329410"/>
                </a:lnTo>
                <a:lnTo>
                  <a:pt x="0" y="29375"/>
                </a:lnTo>
                <a:lnTo>
                  <a:pt x="577089" y="49593"/>
                </a:lnTo>
                <a:cubicBezTo>
                  <a:pt x="2152931" y="98068"/>
                  <a:pt x="3885480" y="124873"/>
                  <a:pt x="5704114" y="124873"/>
                </a:cubicBezTo>
                <a:cubicBezTo>
                  <a:pt x="7977407" y="124873"/>
                  <a:pt x="10116192" y="82990"/>
                  <a:pt x="11982536" y="9255"/>
                </a:cubicBezTo>
                <a:close/>
              </a:path>
            </a:pathLst>
          </a:custGeom>
          <a:solidFill>
            <a:schemeClr val="accent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zh-CN" altLang="en-US"/>
          </a:p>
        </p:txBody>
      </p:sp>
      <p:sp>
        <p:nvSpPr>
          <p:cNvPr id="7" name="矩形 6">
            <a:extLst>
              <a:ext uri="{FF2B5EF4-FFF2-40B4-BE49-F238E27FC236}">
                <a16:creationId xmlns:a16="http://schemas.microsoft.com/office/drawing/2014/main" id="{239125E5-6FD6-4073-91A3-FA346204A23E}"/>
              </a:ext>
            </a:extLst>
          </p:cNvPr>
          <p:cNvSpPr/>
          <p:nvPr/>
        </p:nvSpPr>
        <p:spPr>
          <a:xfrm>
            <a:off x="0" y="1535427"/>
            <a:ext cx="12192000" cy="208693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9" name="椭圆 8">
            <a:extLst>
              <a:ext uri="{FF2B5EF4-FFF2-40B4-BE49-F238E27FC236}">
                <a16:creationId xmlns:a16="http://schemas.microsoft.com/office/drawing/2014/main" id="{6AD76325-A598-4F8E-A1A8-A656B788B6BA}"/>
              </a:ext>
            </a:extLst>
          </p:cNvPr>
          <p:cNvSpPr/>
          <p:nvPr/>
        </p:nvSpPr>
        <p:spPr>
          <a:xfrm>
            <a:off x="1247775" y="2981805"/>
            <a:ext cx="1257300" cy="1257300"/>
          </a:xfrm>
          <a:prstGeom prst="ellipse">
            <a:avLst/>
          </a:prstGeom>
          <a:solidFill>
            <a:schemeClr val="accent1"/>
          </a:solidFill>
          <a:ln w="28575">
            <a:solidFill>
              <a:schemeClr val="bg1"/>
            </a:solidFill>
          </a:ln>
          <a:effectLst>
            <a:outerShdw blurRad="2286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dirty="0">
                <a:solidFill>
                  <a:schemeClr val="bg1"/>
                </a:solidFill>
                <a:latin typeface="+mj-ea"/>
                <a:ea typeface="+mj-ea"/>
              </a:rPr>
              <a:t>关键词</a:t>
            </a:r>
          </a:p>
        </p:txBody>
      </p:sp>
      <p:sp>
        <p:nvSpPr>
          <p:cNvPr id="28" name="文本框 27">
            <a:extLst>
              <a:ext uri="{FF2B5EF4-FFF2-40B4-BE49-F238E27FC236}">
                <a16:creationId xmlns:a16="http://schemas.microsoft.com/office/drawing/2014/main" id="{AA17BC03-D161-4150-A7F8-05ECD0BE76EB}"/>
              </a:ext>
            </a:extLst>
          </p:cNvPr>
          <p:cNvSpPr txBox="1"/>
          <p:nvPr/>
        </p:nvSpPr>
        <p:spPr>
          <a:xfrm>
            <a:off x="676275" y="4342467"/>
            <a:ext cx="2400300" cy="1259897"/>
          </a:xfrm>
          <a:prstGeom prst="rect">
            <a:avLst/>
          </a:prstGeom>
          <a:noFill/>
        </p:spPr>
        <p:txBody>
          <a:bodyPr wrap="square" lIns="0" tIns="0" rIns="0" bIns="0" rtlCol="0" anchor="t">
            <a:spAutoFit/>
          </a:bodyPr>
          <a:lstStyle/>
          <a:p>
            <a:pPr algn="ctr">
              <a:lnSpc>
                <a:spcPct val="130000"/>
              </a:lnSpc>
            </a:pPr>
            <a:r>
              <a:rPr lang="en-US" altLang="zh-CN" sz="1600" b="0" dirty="0">
                <a:solidFill>
                  <a:schemeClr val="accent1"/>
                </a:solidFill>
                <a:effectLst/>
                <a:latin typeface="+mn-ea"/>
              </a:rPr>
              <a:t>Lorem ipsum dolor sit amet, consectetur adipisicing elit, sed do eiusmod tempor</a:t>
            </a:r>
            <a:endParaRPr lang="zh-CN" altLang="en-US" sz="1600" b="0" dirty="0">
              <a:solidFill>
                <a:schemeClr val="accent1"/>
              </a:solidFill>
              <a:effectLst/>
              <a:latin typeface="+mn-ea"/>
            </a:endParaRPr>
          </a:p>
        </p:txBody>
      </p:sp>
      <p:sp>
        <p:nvSpPr>
          <p:cNvPr id="29" name="椭圆 28">
            <a:extLst>
              <a:ext uri="{FF2B5EF4-FFF2-40B4-BE49-F238E27FC236}">
                <a16:creationId xmlns:a16="http://schemas.microsoft.com/office/drawing/2014/main" id="{F0DE2896-A958-439B-B59E-190E6EEA2450}"/>
              </a:ext>
            </a:extLst>
          </p:cNvPr>
          <p:cNvSpPr/>
          <p:nvPr/>
        </p:nvSpPr>
        <p:spPr>
          <a:xfrm>
            <a:off x="5467350" y="2981805"/>
            <a:ext cx="1257300" cy="1257300"/>
          </a:xfrm>
          <a:prstGeom prst="ellipse">
            <a:avLst/>
          </a:prstGeom>
          <a:solidFill>
            <a:schemeClr val="accent1"/>
          </a:solidFill>
          <a:ln w="28575">
            <a:solidFill>
              <a:schemeClr val="bg1"/>
            </a:solidFill>
          </a:ln>
          <a:effectLst>
            <a:outerShdw blurRad="2286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dirty="0">
                <a:solidFill>
                  <a:schemeClr val="bg1"/>
                </a:solidFill>
                <a:latin typeface="+mj-ea"/>
                <a:ea typeface="+mj-ea"/>
              </a:rPr>
              <a:t>关键词</a:t>
            </a:r>
          </a:p>
        </p:txBody>
      </p:sp>
      <p:sp>
        <p:nvSpPr>
          <p:cNvPr id="31" name="椭圆 30">
            <a:extLst>
              <a:ext uri="{FF2B5EF4-FFF2-40B4-BE49-F238E27FC236}">
                <a16:creationId xmlns:a16="http://schemas.microsoft.com/office/drawing/2014/main" id="{EBF1BD57-A9B4-468B-9AA5-944DE346B895}"/>
              </a:ext>
            </a:extLst>
          </p:cNvPr>
          <p:cNvSpPr/>
          <p:nvPr/>
        </p:nvSpPr>
        <p:spPr>
          <a:xfrm>
            <a:off x="9153525" y="2981805"/>
            <a:ext cx="1257300" cy="1257300"/>
          </a:xfrm>
          <a:prstGeom prst="ellipse">
            <a:avLst/>
          </a:prstGeom>
          <a:solidFill>
            <a:schemeClr val="accent1"/>
          </a:solidFill>
          <a:ln w="28575">
            <a:solidFill>
              <a:schemeClr val="bg1"/>
            </a:solidFill>
          </a:ln>
          <a:effectLst>
            <a:outerShdw blurRad="2286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dirty="0">
                <a:solidFill>
                  <a:schemeClr val="bg1"/>
                </a:solidFill>
                <a:latin typeface="+mj-ea"/>
                <a:ea typeface="+mj-ea"/>
              </a:rPr>
              <a:t>关键词</a:t>
            </a:r>
          </a:p>
        </p:txBody>
      </p:sp>
      <p:sp>
        <p:nvSpPr>
          <p:cNvPr id="10" name="文本框 9">
            <a:extLst>
              <a:ext uri="{FF2B5EF4-FFF2-40B4-BE49-F238E27FC236}">
                <a16:creationId xmlns:a16="http://schemas.microsoft.com/office/drawing/2014/main" id="{1AB481C3-2A99-4DA9-84E8-15ED10EC7131}"/>
              </a:ext>
            </a:extLst>
          </p:cNvPr>
          <p:cNvSpPr txBox="1"/>
          <p:nvPr/>
        </p:nvSpPr>
        <p:spPr>
          <a:xfrm>
            <a:off x="3824116" y="2035473"/>
            <a:ext cx="3949800" cy="677108"/>
          </a:xfrm>
          <a:prstGeom prst="rect">
            <a:avLst/>
          </a:prstGeom>
          <a:noFill/>
        </p:spPr>
        <p:txBody>
          <a:bodyPr wrap="none" lIns="0" tIns="0" rIns="0" bIns="0" rtlCol="0" anchor="t">
            <a:spAutoFit/>
          </a:bodyPr>
          <a:lstStyle/>
          <a:p>
            <a:pPr algn="ctr"/>
            <a:r>
              <a:rPr lang="zh-CN" altLang="en-US" sz="4400" dirty="0">
                <a:solidFill>
                  <a:schemeClr val="bg1"/>
                </a:solidFill>
                <a:latin typeface="+mj-ea"/>
                <a:ea typeface="+mj-ea"/>
              </a:rPr>
              <a:t>一句总结性短语</a:t>
            </a:r>
          </a:p>
        </p:txBody>
      </p:sp>
      <p:sp>
        <p:nvSpPr>
          <p:cNvPr id="33" name="文本框 32">
            <a:extLst>
              <a:ext uri="{FF2B5EF4-FFF2-40B4-BE49-F238E27FC236}">
                <a16:creationId xmlns:a16="http://schemas.microsoft.com/office/drawing/2014/main" id="{80D2CAA1-0938-42DE-83E4-004019284680}"/>
              </a:ext>
            </a:extLst>
          </p:cNvPr>
          <p:cNvSpPr txBox="1"/>
          <p:nvPr/>
        </p:nvSpPr>
        <p:spPr>
          <a:xfrm>
            <a:off x="4895850" y="4342467"/>
            <a:ext cx="2400300" cy="1259897"/>
          </a:xfrm>
          <a:prstGeom prst="rect">
            <a:avLst/>
          </a:prstGeom>
          <a:noFill/>
        </p:spPr>
        <p:txBody>
          <a:bodyPr wrap="square" lIns="0" tIns="0" rIns="0" bIns="0" rtlCol="0" anchor="t">
            <a:spAutoFit/>
          </a:bodyPr>
          <a:lstStyle/>
          <a:p>
            <a:pPr algn="ctr">
              <a:lnSpc>
                <a:spcPct val="130000"/>
              </a:lnSpc>
            </a:pPr>
            <a:r>
              <a:rPr lang="en-US" altLang="zh-CN" sz="1600" b="0" dirty="0">
                <a:solidFill>
                  <a:schemeClr val="accent1"/>
                </a:solidFill>
                <a:effectLst/>
                <a:latin typeface="+mn-ea"/>
              </a:rPr>
              <a:t>Lorem ipsum dolor sit amet, consectetur adipisicing elit, sed do eiusmod tempor</a:t>
            </a:r>
            <a:endParaRPr lang="zh-CN" altLang="en-US" sz="1600" b="0" dirty="0">
              <a:solidFill>
                <a:schemeClr val="accent1"/>
              </a:solidFill>
              <a:effectLst/>
              <a:latin typeface="+mn-ea"/>
            </a:endParaRPr>
          </a:p>
        </p:txBody>
      </p:sp>
      <p:sp>
        <p:nvSpPr>
          <p:cNvPr id="34" name="文本框 33">
            <a:extLst>
              <a:ext uri="{FF2B5EF4-FFF2-40B4-BE49-F238E27FC236}">
                <a16:creationId xmlns:a16="http://schemas.microsoft.com/office/drawing/2014/main" id="{180EC7CC-8286-4AC0-A175-BA4BCA746ABF}"/>
              </a:ext>
            </a:extLst>
          </p:cNvPr>
          <p:cNvSpPr txBox="1"/>
          <p:nvPr/>
        </p:nvSpPr>
        <p:spPr>
          <a:xfrm>
            <a:off x="8582025" y="4342467"/>
            <a:ext cx="2400300" cy="1259897"/>
          </a:xfrm>
          <a:prstGeom prst="rect">
            <a:avLst/>
          </a:prstGeom>
          <a:noFill/>
        </p:spPr>
        <p:txBody>
          <a:bodyPr wrap="square" lIns="0" tIns="0" rIns="0" bIns="0" rtlCol="0" anchor="t">
            <a:spAutoFit/>
          </a:bodyPr>
          <a:lstStyle/>
          <a:p>
            <a:pPr algn="ctr">
              <a:lnSpc>
                <a:spcPct val="130000"/>
              </a:lnSpc>
            </a:pPr>
            <a:r>
              <a:rPr lang="en-US" altLang="zh-CN" sz="1600" b="0" dirty="0">
                <a:solidFill>
                  <a:schemeClr val="accent1"/>
                </a:solidFill>
                <a:effectLst/>
                <a:latin typeface="+mn-ea"/>
              </a:rPr>
              <a:t>Lorem ipsum dolor sit amet, consectetur adipisicing elit, sed do eiusmod tempor</a:t>
            </a:r>
            <a:endParaRPr lang="zh-CN" altLang="en-US" sz="1600" b="0" dirty="0">
              <a:solidFill>
                <a:schemeClr val="accent1"/>
              </a:solidFill>
              <a:effectLst/>
              <a:latin typeface="+mn-ea"/>
            </a:endParaRPr>
          </a:p>
        </p:txBody>
      </p:sp>
    </p:spTree>
    <p:extLst>
      <p:ext uri="{BB962C8B-B14F-4D97-AF65-F5344CB8AC3E}">
        <p14:creationId xmlns:p14="http://schemas.microsoft.com/office/powerpoint/2010/main" val="656719916"/>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2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矩形: 圆角 2">
            <a:extLst>
              <a:ext uri="{FF2B5EF4-FFF2-40B4-BE49-F238E27FC236}">
                <a16:creationId xmlns:a16="http://schemas.microsoft.com/office/drawing/2014/main" id="{B519BCB8-62A8-48B0-BE40-0F7D3BD72DF7}"/>
              </a:ext>
            </a:extLst>
          </p:cNvPr>
          <p:cNvSpPr/>
          <p:nvPr>
            <p:custDataLst>
              <p:tags r:id="rId2"/>
            </p:custDataLst>
          </p:nvPr>
        </p:nvSpPr>
        <p:spPr>
          <a:xfrm>
            <a:off x="4099551" y="1351411"/>
            <a:ext cx="4456996" cy="751332"/>
          </a:xfrm>
          <a:prstGeom prst="roundRect">
            <a:avLst>
              <a:gd name="adj" fmla="val 17195"/>
            </a:avLst>
          </a:prstGeom>
          <a:gradFill>
            <a:gsLst>
              <a:gs pos="0">
                <a:schemeClr val="accent1"/>
              </a:gs>
              <a:gs pos="100000">
                <a:schemeClr val="accent1">
                  <a:lumMod val="75000"/>
                </a:schemeClr>
              </a:gs>
            </a:gsLst>
            <a:lin ang="2700000" scaled="0"/>
          </a:gradFill>
          <a:ln w="25400" cap="flat" cmpd="sng" algn="ctr">
            <a:noFill/>
            <a:prstDash val="solid"/>
            <a:miter lim="800000"/>
          </a:ln>
          <a:effectLst>
            <a:outerShdw blurRad="294640" dist="103124" dir="2699993" algn="tl" rotWithShape="0">
              <a:schemeClr val="accent1">
                <a:lumMod val="50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106070" tIns="53035" rIns="106070" bIns="53035" rtlCol="0" anchor="ctr"/>
          <a:lstStyle/>
          <a:p>
            <a:pPr algn="ctr"/>
            <a:r>
              <a:rPr lang="zh-CN" altLang="en-US" sz="2784">
                <a:solidFill>
                  <a:schemeClr val="bg1"/>
                </a:solidFill>
                <a:latin typeface="+mj-ea"/>
                <a:ea typeface="+mj-ea"/>
              </a:rPr>
              <a:t>关键词标题</a:t>
            </a:r>
            <a:endParaRPr lang="zh-CN" altLang="en-US" sz="2784" dirty="0">
              <a:solidFill>
                <a:schemeClr val="bg1"/>
              </a:solidFill>
              <a:latin typeface="+mj-ea"/>
              <a:ea typeface="+mj-ea"/>
            </a:endParaRPr>
          </a:p>
        </p:txBody>
      </p:sp>
      <p:sp>
        <p:nvSpPr>
          <p:cNvPr id="4" name="矩形: 圆角 3">
            <a:extLst>
              <a:ext uri="{FF2B5EF4-FFF2-40B4-BE49-F238E27FC236}">
                <a16:creationId xmlns:a16="http://schemas.microsoft.com/office/drawing/2014/main" id="{029C15A5-7FD3-402C-BA68-AA6C23067273}"/>
              </a:ext>
            </a:extLst>
          </p:cNvPr>
          <p:cNvSpPr/>
          <p:nvPr>
            <p:custDataLst>
              <p:tags r:id="rId3"/>
            </p:custDataLst>
          </p:nvPr>
        </p:nvSpPr>
        <p:spPr>
          <a:xfrm>
            <a:off x="3917936" y="1243755"/>
            <a:ext cx="4811362" cy="972311"/>
          </a:xfrm>
          <a:prstGeom prst="roundRect">
            <a:avLst>
              <a:gd name="adj" fmla="val 17195"/>
            </a:avLst>
          </a:prstGeom>
          <a:noFill/>
          <a:ln w="29464" cap="flat" cmpd="sng" algn="ctr">
            <a:solidFill>
              <a:schemeClr val="accent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106070" tIns="53035" rIns="106070" bIns="53035" rtlCol="0" anchor="ctr"/>
          <a:lstStyle/>
          <a:p>
            <a:pPr algn="ctr"/>
            <a:endParaRPr lang="zh-CN" altLang="en-US" sz="2088"/>
          </a:p>
        </p:txBody>
      </p:sp>
      <p:sp>
        <p:nvSpPr>
          <p:cNvPr id="5" name="矩形: 圆角 4">
            <a:extLst>
              <a:ext uri="{FF2B5EF4-FFF2-40B4-BE49-F238E27FC236}">
                <a16:creationId xmlns:a16="http://schemas.microsoft.com/office/drawing/2014/main" id="{645C3ADB-5606-4FD6-BDE1-11ADECAFE20D}"/>
              </a:ext>
            </a:extLst>
          </p:cNvPr>
          <p:cNvSpPr/>
          <p:nvPr>
            <p:custDataLst>
              <p:tags r:id="rId4"/>
            </p:custDataLst>
          </p:nvPr>
        </p:nvSpPr>
        <p:spPr>
          <a:xfrm>
            <a:off x="2095325" y="3180153"/>
            <a:ext cx="1897642" cy="2187129"/>
          </a:xfrm>
          <a:prstGeom prst="roundRect">
            <a:avLst>
              <a:gd name="adj" fmla="val 17195"/>
            </a:avLst>
          </a:prstGeom>
          <a:gradFill>
            <a:gsLst>
              <a:gs pos="0">
                <a:schemeClr val="accent1"/>
              </a:gs>
              <a:gs pos="100000">
                <a:schemeClr val="accent1">
                  <a:lumMod val="75000"/>
                </a:schemeClr>
              </a:gs>
            </a:gsLst>
            <a:lin ang="2700000" scaled="0"/>
          </a:gradFill>
          <a:ln w="25400" cap="flat" cmpd="sng" algn="ctr">
            <a:noFill/>
            <a:prstDash val="solid"/>
            <a:miter lim="800000"/>
          </a:ln>
          <a:effectLst>
            <a:outerShdw blurRad="294640" dist="103124" dir="2699993" algn="tl" rotWithShape="0">
              <a:schemeClr val="accent1">
                <a:lumMod val="50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106070" tIns="53035" rIns="106070" bIns="53035" rtlCol="0" anchor="ctr"/>
          <a:lstStyle/>
          <a:p>
            <a:pPr algn="ctr"/>
            <a:endParaRPr lang="zh-CN" altLang="en-US" sz="2088"/>
          </a:p>
        </p:txBody>
      </p:sp>
      <p:sp>
        <p:nvSpPr>
          <p:cNvPr id="12" name="任意多边形: 形状 11">
            <a:extLst>
              <a:ext uri="{FF2B5EF4-FFF2-40B4-BE49-F238E27FC236}">
                <a16:creationId xmlns:a16="http://schemas.microsoft.com/office/drawing/2014/main" id="{AD159BCC-0853-4557-B4E3-165F5269553B}"/>
              </a:ext>
            </a:extLst>
          </p:cNvPr>
          <p:cNvSpPr/>
          <p:nvPr/>
        </p:nvSpPr>
        <p:spPr>
          <a:xfrm>
            <a:off x="1959745" y="3046992"/>
            <a:ext cx="2185402" cy="1126590"/>
          </a:xfrm>
          <a:custGeom>
            <a:avLst/>
            <a:gdLst>
              <a:gd name="connsiteX0" fmla="*/ 323948 w 1883968"/>
              <a:gd name="connsiteY0" fmla="*/ 0 h 971198"/>
              <a:gd name="connsiteX1" fmla="*/ 1560020 w 1883968"/>
              <a:gd name="connsiteY1" fmla="*/ 0 h 971198"/>
              <a:gd name="connsiteX2" fmla="*/ 1883968 w 1883968"/>
              <a:gd name="connsiteY2" fmla="*/ 323948 h 971198"/>
              <a:gd name="connsiteX3" fmla="*/ 1883968 w 1883968"/>
              <a:gd name="connsiteY3" fmla="*/ 971198 h 971198"/>
              <a:gd name="connsiteX4" fmla="*/ 0 w 1883968"/>
              <a:gd name="connsiteY4" fmla="*/ 971198 h 971198"/>
              <a:gd name="connsiteX5" fmla="*/ 0 w 1883968"/>
              <a:gd name="connsiteY5" fmla="*/ 323948 h 971198"/>
              <a:gd name="connsiteX6" fmla="*/ 323948 w 1883968"/>
              <a:gd name="connsiteY6" fmla="*/ 0 h 971198"/>
              <a:gd name="connsiteX0" fmla="*/ 0 w 1883968"/>
              <a:gd name="connsiteY0" fmla="*/ 971198 h 1062638"/>
              <a:gd name="connsiteX1" fmla="*/ 0 w 1883968"/>
              <a:gd name="connsiteY1" fmla="*/ 323948 h 1062638"/>
              <a:gd name="connsiteX2" fmla="*/ 323948 w 1883968"/>
              <a:gd name="connsiteY2" fmla="*/ 0 h 1062638"/>
              <a:gd name="connsiteX3" fmla="*/ 1560020 w 1883968"/>
              <a:gd name="connsiteY3" fmla="*/ 0 h 1062638"/>
              <a:gd name="connsiteX4" fmla="*/ 1883968 w 1883968"/>
              <a:gd name="connsiteY4" fmla="*/ 323948 h 1062638"/>
              <a:gd name="connsiteX5" fmla="*/ 1883968 w 1883968"/>
              <a:gd name="connsiteY5" fmla="*/ 971198 h 1062638"/>
              <a:gd name="connsiteX6" fmla="*/ 91440 w 1883968"/>
              <a:gd name="connsiteY6" fmla="*/ 1062638 h 1062638"/>
              <a:gd name="connsiteX0" fmla="*/ 0 w 1883968"/>
              <a:gd name="connsiteY0" fmla="*/ 971198 h 971198"/>
              <a:gd name="connsiteX1" fmla="*/ 0 w 1883968"/>
              <a:gd name="connsiteY1" fmla="*/ 323948 h 971198"/>
              <a:gd name="connsiteX2" fmla="*/ 323948 w 1883968"/>
              <a:gd name="connsiteY2" fmla="*/ 0 h 971198"/>
              <a:gd name="connsiteX3" fmla="*/ 1560020 w 1883968"/>
              <a:gd name="connsiteY3" fmla="*/ 0 h 971198"/>
              <a:gd name="connsiteX4" fmla="*/ 1883968 w 1883968"/>
              <a:gd name="connsiteY4" fmla="*/ 323948 h 971198"/>
              <a:gd name="connsiteX5" fmla="*/ 1883968 w 1883968"/>
              <a:gd name="connsiteY5" fmla="*/ 971198 h 9711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83968" h="971198">
                <a:moveTo>
                  <a:pt x="0" y="971198"/>
                </a:moveTo>
                <a:lnTo>
                  <a:pt x="0" y="323948"/>
                </a:lnTo>
                <a:cubicBezTo>
                  <a:pt x="0" y="145036"/>
                  <a:pt x="145036" y="0"/>
                  <a:pt x="323948" y="0"/>
                </a:cubicBezTo>
                <a:lnTo>
                  <a:pt x="1560020" y="0"/>
                </a:lnTo>
                <a:cubicBezTo>
                  <a:pt x="1738932" y="0"/>
                  <a:pt x="1883968" y="145036"/>
                  <a:pt x="1883968" y="323948"/>
                </a:cubicBezTo>
                <a:lnTo>
                  <a:pt x="1883968" y="971198"/>
                </a:lnTo>
              </a:path>
            </a:pathLst>
          </a:custGeom>
          <a:noFill/>
          <a:ln w="22098" cap="flat" cmpd="sng" algn="ctr">
            <a:solidFill>
              <a:schemeClr val="accent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106070" tIns="53035" rIns="106070" bIns="53035" rtlCol="0" anchor="ctr">
            <a:noAutofit/>
          </a:bodyPr>
          <a:lstStyle/>
          <a:p>
            <a:pPr algn="ctr"/>
            <a:endParaRPr lang="zh-CN" altLang="en-US" sz="2088"/>
          </a:p>
        </p:txBody>
      </p:sp>
      <p:sp>
        <p:nvSpPr>
          <p:cNvPr id="15" name="任意多边形: 形状 14">
            <a:extLst>
              <a:ext uri="{FF2B5EF4-FFF2-40B4-BE49-F238E27FC236}">
                <a16:creationId xmlns:a16="http://schemas.microsoft.com/office/drawing/2014/main" id="{3A9C54AD-60F2-4EBF-93DF-6CDB0143B11B}"/>
              </a:ext>
            </a:extLst>
          </p:cNvPr>
          <p:cNvSpPr/>
          <p:nvPr/>
        </p:nvSpPr>
        <p:spPr>
          <a:xfrm>
            <a:off x="1959745" y="4345379"/>
            <a:ext cx="2185402" cy="1126590"/>
          </a:xfrm>
          <a:custGeom>
            <a:avLst/>
            <a:gdLst>
              <a:gd name="connsiteX0" fmla="*/ 0 w 1883968"/>
              <a:gd name="connsiteY0" fmla="*/ 0 h 971198"/>
              <a:gd name="connsiteX1" fmla="*/ 1883968 w 1883968"/>
              <a:gd name="connsiteY1" fmla="*/ 0 h 971198"/>
              <a:gd name="connsiteX2" fmla="*/ 1883968 w 1883968"/>
              <a:gd name="connsiteY2" fmla="*/ 647250 h 971198"/>
              <a:gd name="connsiteX3" fmla="*/ 1560020 w 1883968"/>
              <a:gd name="connsiteY3" fmla="*/ 971198 h 971198"/>
              <a:gd name="connsiteX4" fmla="*/ 323948 w 1883968"/>
              <a:gd name="connsiteY4" fmla="*/ 971198 h 971198"/>
              <a:gd name="connsiteX5" fmla="*/ 0 w 1883968"/>
              <a:gd name="connsiteY5" fmla="*/ 647250 h 971198"/>
              <a:gd name="connsiteX0" fmla="*/ 1883968 w 1975408"/>
              <a:gd name="connsiteY0" fmla="*/ 0 h 971198"/>
              <a:gd name="connsiteX1" fmla="*/ 1883968 w 1975408"/>
              <a:gd name="connsiteY1" fmla="*/ 647250 h 971198"/>
              <a:gd name="connsiteX2" fmla="*/ 1560020 w 1975408"/>
              <a:gd name="connsiteY2" fmla="*/ 971198 h 971198"/>
              <a:gd name="connsiteX3" fmla="*/ 323948 w 1975408"/>
              <a:gd name="connsiteY3" fmla="*/ 971198 h 971198"/>
              <a:gd name="connsiteX4" fmla="*/ 0 w 1975408"/>
              <a:gd name="connsiteY4" fmla="*/ 647250 h 971198"/>
              <a:gd name="connsiteX5" fmla="*/ 0 w 1975408"/>
              <a:gd name="connsiteY5" fmla="*/ 0 h 971198"/>
              <a:gd name="connsiteX6" fmla="*/ 1975408 w 1975408"/>
              <a:gd name="connsiteY6" fmla="*/ 91440 h 971198"/>
              <a:gd name="connsiteX0" fmla="*/ 1883968 w 1883968"/>
              <a:gd name="connsiteY0" fmla="*/ 0 h 971198"/>
              <a:gd name="connsiteX1" fmla="*/ 1883968 w 1883968"/>
              <a:gd name="connsiteY1" fmla="*/ 647250 h 971198"/>
              <a:gd name="connsiteX2" fmla="*/ 1560020 w 1883968"/>
              <a:gd name="connsiteY2" fmla="*/ 971198 h 971198"/>
              <a:gd name="connsiteX3" fmla="*/ 323948 w 1883968"/>
              <a:gd name="connsiteY3" fmla="*/ 971198 h 971198"/>
              <a:gd name="connsiteX4" fmla="*/ 0 w 1883968"/>
              <a:gd name="connsiteY4" fmla="*/ 647250 h 971198"/>
              <a:gd name="connsiteX5" fmla="*/ 0 w 1883968"/>
              <a:gd name="connsiteY5" fmla="*/ 0 h 9711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83968" h="971198">
                <a:moveTo>
                  <a:pt x="1883968" y="0"/>
                </a:moveTo>
                <a:lnTo>
                  <a:pt x="1883968" y="647250"/>
                </a:lnTo>
                <a:cubicBezTo>
                  <a:pt x="1883968" y="826162"/>
                  <a:pt x="1738932" y="971198"/>
                  <a:pt x="1560020" y="971198"/>
                </a:cubicBezTo>
                <a:lnTo>
                  <a:pt x="323948" y="971198"/>
                </a:lnTo>
                <a:cubicBezTo>
                  <a:pt x="145036" y="971198"/>
                  <a:pt x="0" y="826162"/>
                  <a:pt x="0" y="647250"/>
                </a:cubicBezTo>
                <a:lnTo>
                  <a:pt x="0" y="0"/>
                </a:lnTo>
              </a:path>
            </a:pathLst>
          </a:custGeom>
          <a:noFill/>
          <a:ln w="22098" cap="flat" cmpd="sng" algn="ctr">
            <a:solidFill>
              <a:schemeClr val="accent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106070" tIns="53035" rIns="106070" bIns="53035" rtlCol="0" anchor="ctr">
            <a:noAutofit/>
          </a:bodyPr>
          <a:lstStyle/>
          <a:p>
            <a:pPr algn="ctr"/>
            <a:endParaRPr lang="zh-CN" altLang="en-US" sz="2088"/>
          </a:p>
        </p:txBody>
      </p:sp>
      <p:sp>
        <p:nvSpPr>
          <p:cNvPr id="16" name="椭圆 15">
            <a:extLst>
              <a:ext uri="{FF2B5EF4-FFF2-40B4-BE49-F238E27FC236}">
                <a16:creationId xmlns:a16="http://schemas.microsoft.com/office/drawing/2014/main" id="{F7F7849E-1B87-401C-8460-9B58BCD45508}"/>
              </a:ext>
            </a:extLst>
          </p:cNvPr>
          <p:cNvSpPr/>
          <p:nvPr/>
        </p:nvSpPr>
        <p:spPr>
          <a:xfrm>
            <a:off x="4069310" y="4267719"/>
            <a:ext cx="155321" cy="155321"/>
          </a:xfrm>
          <a:prstGeom prst="ellipse">
            <a:avLst/>
          </a:prstGeom>
          <a:solidFill>
            <a:schemeClr val="bg1"/>
          </a:solidFill>
          <a:ln w="22098">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106070" tIns="53035" rIns="106070" bIns="53035" rtlCol="0" anchor="ctr"/>
          <a:lstStyle/>
          <a:p>
            <a:pPr algn="l"/>
            <a:endParaRPr lang="zh-CN" altLang="en-US" sz="1856">
              <a:solidFill>
                <a:schemeClr val="bg1"/>
              </a:solidFill>
              <a:latin typeface="+mj-ea"/>
              <a:ea typeface="+mj-ea"/>
            </a:endParaRPr>
          </a:p>
        </p:txBody>
      </p:sp>
      <p:sp>
        <p:nvSpPr>
          <p:cNvPr id="17" name="椭圆 16">
            <a:extLst>
              <a:ext uri="{FF2B5EF4-FFF2-40B4-BE49-F238E27FC236}">
                <a16:creationId xmlns:a16="http://schemas.microsoft.com/office/drawing/2014/main" id="{90C183AE-A538-4B97-8C2F-07A2C5D04C64}"/>
              </a:ext>
            </a:extLst>
          </p:cNvPr>
          <p:cNvSpPr/>
          <p:nvPr/>
        </p:nvSpPr>
        <p:spPr>
          <a:xfrm>
            <a:off x="4100880" y="4299290"/>
            <a:ext cx="92178" cy="92178"/>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06070" tIns="53035" rIns="106070" bIns="53035" rtlCol="0" anchor="ctr"/>
          <a:lstStyle/>
          <a:p>
            <a:pPr algn="l"/>
            <a:endParaRPr lang="zh-CN" altLang="en-US" sz="1856">
              <a:solidFill>
                <a:schemeClr val="bg1"/>
              </a:solidFill>
              <a:latin typeface="+mj-ea"/>
              <a:ea typeface="+mj-ea"/>
            </a:endParaRPr>
          </a:p>
        </p:txBody>
      </p:sp>
      <p:sp>
        <p:nvSpPr>
          <p:cNvPr id="18" name="椭圆 17">
            <a:extLst>
              <a:ext uri="{FF2B5EF4-FFF2-40B4-BE49-F238E27FC236}">
                <a16:creationId xmlns:a16="http://schemas.microsoft.com/office/drawing/2014/main" id="{09BE5F00-D02B-4A58-8137-4CC23918FDD2}"/>
              </a:ext>
            </a:extLst>
          </p:cNvPr>
          <p:cNvSpPr/>
          <p:nvPr/>
        </p:nvSpPr>
        <p:spPr>
          <a:xfrm>
            <a:off x="1885292" y="4267719"/>
            <a:ext cx="155321" cy="155321"/>
          </a:xfrm>
          <a:prstGeom prst="ellipse">
            <a:avLst/>
          </a:prstGeom>
          <a:solidFill>
            <a:schemeClr val="bg1"/>
          </a:solidFill>
          <a:ln w="22098">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106070" tIns="53035" rIns="106070" bIns="53035" rtlCol="0" anchor="ctr"/>
          <a:lstStyle/>
          <a:p>
            <a:pPr algn="l"/>
            <a:endParaRPr lang="zh-CN" altLang="en-US" sz="1856">
              <a:solidFill>
                <a:schemeClr val="bg1"/>
              </a:solidFill>
              <a:latin typeface="+mj-ea"/>
              <a:ea typeface="+mj-ea"/>
            </a:endParaRPr>
          </a:p>
        </p:txBody>
      </p:sp>
      <p:sp>
        <p:nvSpPr>
          <p:cNvPr id="20" name="椭圆 19">
            <a:extLst>
              <a:ext uri="{FF2B5EF4-FFF2-40B4-BE49-F238E27FC236}">
                <a16:creationId xmlns:a16="http://schemas.microsoft.com/office/drawing/2014/main" id="{5BCEF380-8FBA-4F47-A182-891BC02CBF10}"/>
              </a:ext>
            </a:extLst>
          </p:cNvPr>
          <p:cNvSpPr/>
          <p:nvPr/>
        </p:nvSpPr>
        <p:spPr>
          <a:xfrm>
            <a:off x="2966489" y="2969332"/>
            <a:ext cx="155321" cy="155321"/>
          </a:xfrm>
          <a:prstGeom prst="ellipse">
            <a:avLst/>
          </a:prstGeom>
          <a:solidFill>
            <a:schemeClr val="bg1"/>
          </a:solidFill>
          <a:ln w="22098">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106070" tIns="53035" rIns="106070" bIns="53035" rtlCol="0" anchor="ctr"/>
          <a:lstStyle/>
          <a:p>
            <a:pPr algn="l"/>
            <a:endParaRPr lang="zh-CN" altLang="en-US" sz="1856">
              <a:solidFill>
                <a:schemeClr val="bg1"/>
              </a:solidFill>
              <a:latin typeface="+mj-ea"/>
              <a:ea typeface="+mj-ea"/>
            </a:endParaRPr>
          </a:p>
        </p:txBody>
      </p:sp>
      <p:sp>
        <p:nvSpPr>
          <p:cNvPr id="21" name="椭圆 20">
            <a:extLst>
              <a:ext uri="{FF2B5EF4-FFF2-40B4-BE49-F238E27FC236}">
                <a16:creationId xmlns:a16="http://schemas.microsoft.com/office/drawing/2014/main" id="{C57292B4-6D7E-4E0A-82ED-A362128BF986}"/>
              </a:ext>
            </a:extLst>
          </p:cNvPr>
          <p:cNvSpPr/>
          <p:nvPr/>
        </p:nvSpPr>
        <p:spPr>
          <a:xfrm>
            <a:off x="2998059" y="3000902"/>
            <a:ext cx="92178" cy="92178"/>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06070" tIns="53035" rIns="106070" bIns="53035" rtlCol="0" anchor="ctr"/>
          <a:lstStyle/>
          <a:p>
            <a:pPr algn="l"/>
            <a:endParaRPr lang="zh-CN" altLang="en-US" sz="1856">
              <a:solidFill>
                <a:schemeClr val="bg1"/>
              </a:solidFill>
              <a:latin typeface="+mj-ea"/>
              <a:ea typeface="+mj-ea"/>
            </a:endParaRPr>
          </a:p>
        </p:txBody>
      </p:sp>
      <p:sp>
        <p:nvSpPr>
          <p:cNvPr id="24" name="矩形: 圆角 23">
            <a:extLst>
              <a:ext uri="{FF2B5EF4-FFF2-40B4-BE49-F238E27FC236}">
                <a16:creationId xmlns:a16="http://schemas.microsoft.com/office/drawing/2014/main" id="{C78F28A7-F6C5-41E5-997F-124517B328E5}"/>
              </a:ext>
            </a:extLst>
          </p:cNvPr>
          <p:cNvSpPr/>
          <p:nvPr>
            <p:custDataLst>
              <p:tags r:id="rId5"/>
            </p:custDataLst>
          </p:nvPr>
        </p:nvSpPr>
        <p:spPr>
          <a:xfrm>
            <a:off x="5368415" y="3199642"/>
            <a:ext cx="1897642" cy="2187129"/>
          </a:xfrm>
          <a:prstGeom prst="roundRect">
            <a:avLst>
              <a:gd name="adj" fmla="val 17195"/>
            </a:avLst>
          </a:prstGeom>
          <a:gradFill>
            <a:gsLst>
              <a:gs pos="0">
                <a:schemeClr val="accent1"/>
              </a:gs>
              <a:gs pos="100000">
                <a:schemeClr val="accent1">
                  <a:lumMod val="75000"/>
                </a:schemeClr>
              </a:gs>
            </a:gsLst>
            <a:lin ang="2700000" scaled="0"/>
          </a:gradFill>
          <a:ln w="25400" cap="flat" cmpd="sng" algn="ctr">
            <a:noFill/>
            <a:prstDash val="solid"/>
            <a:miter lim="800000"/>
          </a:ln>
          <a:effectLst>
            <a:outerShdw blurRad="294640" dist="103124" dir="2699993" algn="tl" rotWithShape="0">
              <a:schemeClr val="accent1">
                <a:lumMod val="50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106070" tIns="53035" rIns="106070" bIns="53035" rtlCol="0" anchor="ctr"/>
          <a:lstStyle/>
          <a:p>
            <a:pPr algn="ctr"/>
            <a:endParaRPr lang="zh-CN" altLang="en-US" sz="2088"/>
          </a:p>
        </p:txBody>
      </p:sp>
      <p:sp>
        <p:nvSpPr>
          <p:cNvPr id="25" name="任意多边形: 形状 24">
            <a:extLst>
              <a:ext uri="{FF2B5EF4-FFF2-40B4-BE49-F238E27FC236}">
                <a16:creationId xmlns:a16="http://schemas.microsoft.com/office/drawing/2014/main" id="{017A31BC-9DD7-46AD-9EBA-705063EF5D00}"/>
              </a:ext>
            </a:extLst>
          </p:cNvPr>
          <p:cNvSpPr/>
          <p:nvPr/>
        </p:nvSpPr>
        <p:spPr>
          <a:xfrm>
            <a:off x="5232833" y="3066480"/>
            <a:ext cx="2185402" cy="1126590"/>
          </a:xfrm>
          <a:custGeom>
            <a:avLst/>
            <a:gdLst>
              <a:gd name="connsiteX0" fmla="*/ 323948 w 1883968"/>
              <a:gd name="connsiteY0" fmla="*/ 0 h 971198"/>
              <a:gd name="connsiteX1" fmla="*/ 1560020 w 1883968"/>
              <a:gd name="connsiteY1" fmla="*/ 0 h 971198"/>
              <a:gd name="connsiteX2" fmla="*/ 1883968 w 1883968"/>
              <a:gd name="connsiteY2" fmla="*/ 323948 h 971198"/>
              <a:gd name="connsiteX3" fmla="*/ 1883968 w 1883968"/>
              <a:gd name="connsiteY3" fmla="*/ 971198 h 971198"/>
              <a:gd name="connsiteX4" fmla="*/ 0 w 1883968"/>
              <a:gd name="connsiteY4" fmla="*/ 971198 h 971198"/>
              <a:gd name="connsiteX5" fmla="*/ 0 w 1883968"/>
              <a:gd name="connsiteY5" fmla="*/ 323948 h 971198"/>
              <a:gd name="connsiteX6" fmla="*/ 323948 w 1883968"/>
              <a:gd name="connsiteY6" fmla="*/ 0 h 971198"/>
              <a:gd name="connsiteX0" fmla="*/ 0 w 1883968"/>
              <a:gd name="connsiteY0" fmla="*/ 971198 h 1062638"/>
              <a:gd name="connsiteX1" fmla="*/ 0 w 1883968"/>
              <a:gd name="connsiteY1" fmla="*/ 323948 h 1062638"/>
              <a:gd name="connsiteX2" fmla="*/ 323948 w 1883968"/>
              <a:gd name="connsiteY2" fmla="*/ 0 h 1062638"/>
              <a:gd name="connsiteX3" fmla="*/ 1560020 w 1883968"/>
              <a:gd name="connsiteY3" fmla="*/ 0 h 1062638"/>
              <a:gd name="connsiteX4" fmla="*/ 1883968 w 1883968"/>
              <a:gd name="connsiteY4" fmla="*/ 323948 h 1062638"/>
              <a:gd name="connsiteX5" fmla="*/ 1883968 w 1883968"/>
              <a:gd name="connsiteY5" fmla="*/ 971198 h 1062638"/>
              <a:gd name="connsiteX6" fmla="*/ 91440 w 1883968"/>
              <a:gd name="connsiteY6" fmla="*/ 1062638 h 1062638"/>
              <a:gd name="connsiteX0" fmla="*/ 0 w 1883968"/>
              <a:gd name="connsiteY0" fmla="*/ 971198 h 971198"/>
              <a:gd name="connsiteX1" fmla="*/ 0 w 1883968"/>
              <a:gd name="connsiteY1" fmla="*/ 323948 h 971198"/>
              <a:gd name="connsiteX2" fmla="*/ 323948 w 1883968"/>
              <a:gd name="connsiteY2" fmla="*/ 0 h 971198"/>
              <a:gd name="connsiteX3" fmla="*/ 1560020 w 1883968"/>
              <a:gd name="connsiteY3" fmla="*/ 0 h 971198"/>
              <a:gd name="connsiteX4" fmla="*/ 1883968 w 1883968"/>
              <a:gd name="connsiteY4" fmla="*/ 323948 h 971198"/>
              <a:gd name="connsiteX5" fmla="*/ 1883968 w 1883968"/>
              <a:gd name="connsiteY5" fmla="*/ 971198 h 9711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83968" h="971198">
                <a:moveTo>
                  <a:pt x="0" y="971198"/>
                </a:moveTo>
                <a:lnTo>
                  <a:pt x="0" y="323948"/>
                </a:lnTo>
                <a:cubicBezTo>
                  <a:pt x="0" y="145036"/>
                  <a:pt x="145036" y="0"/>
                  <a:pt x="323948" y="0"/>
                </a:cubicBezTo>
                <a:lnTo>
                  <a:pt x="1560020" y="0"/>
                </a:lnTo>
                <a:cubicBezTo>
                  <a:pt x="1738932" y="0"/>
                  <a:pt x="1883968" y="145036"/>
                  <a:pt x="1883968" y="323948"/>
                </a:cubicBezTo>
                <a:lnTo>
                  <a:pt x="1883968" y="971198"/>
                </a:lnTo>
              </a:path>
            </a:pathLst>
          </a:custGeom>
          <a:noFill/>
          <a:ln w="22098" cap="flat" cmpd="sng" algn="ctr">
            <a:solidFill>
              <a:schemeClr val="accent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106070" tIns="53035" rIns="106070" bIns="53035" rtlCol="0" anchor="ctr">
            <a:noAutofit/>
          </a:bodyPr>
          <a:lstStyle/>
          <a:p>
            <a:pPr algn="ctr"/>
            <a:endParaRPr lang="zh-CN" altLang="en-US" sz="2088"/>
          </a:p>
        </p:txBody>
      </p:sp>
      <p:sp>
        <p:nvSpPr>
          <p:cNvPr id="26" name="任意多边形: 形状 25">
            <a:extLst>
              <a:ext uri="{FF2B5EF4-FFF2-40B4-BE49-F238E27FC236}">
                <a16:creationId xmlns:a16="http://schemas.microsoft.com/office/drawing/2014/main" id="{A52DD020-0E44-4C11-9B2E-9C4615918F9D}"/>
              </a:ext>
            </a:extLst>
          </p:cNvPr>
          <p:cNvSpPr/>
          <p:nvPr/>
        </p:nvSpPr>
        <p:spPr>
          <a:xfrm>
            <a:off x="5232833" y="4364868"/>
            <a:ext cx="2185402" cy="1126590"/>
          </a:xfrm>
          <a:custGeom>
            <a:avLst/>
            <a:gdLst>
              <a:gd name="connsiteX0" fmla="*/ 0 w 1883968"/>
              <a:gd name="connsiteY0" fmla="*/ 0 h 971198"/>
              <a:gd name="connsiteX1" fmla="*/ 1883968 w 1883968"/>
              <a:gd name="connsiteY1" fmla="*/ 0 h 971198"/>
              <a:gd name="connsiteX2" fmla="*/ 1883968 w 1883968"/>
              <a:gd name="connsiteY2" fmla="*/ 647250 h 971198"/>
              <a:gd name="connsiteX3" fmla="*/ 1560020 w 1883968"/>
              <a:gd name="connsiteY3" fmla="*/ 971198 h 971198"/>
              <a:gd name="connsiteX4" fmla="*/ 323948 w 1883968"/>
              <a:gd name="connsiteY4" fmla="*/ 971198 h 971198"/>
              <a:gd name="connsiteX5" fmla="*/ 0 w 1883968"/>
              <a:gd name="connsiteY5" fmla="*/ 647250 h 971198"/>
              <a:gd name="connsiteX0" fmla="*/ 1883968 w 1975408"/>
              <a:gd name="connsiteY0" fmla="*/ 0 h 971198"/>
              <a:gd name="connsiteX1" fmla="*/ 1883968 w 1975408"/>
              <a:gd name="connsiteY1" fmla="*/ 647250 h 971198"/>
              <a:gd name="connsiteX2" fmla="*/ 1560020 w 1975408"/>
              <a:gd name="connsiteY2" fmla="*/ 971198 h 971198"/>
              <a:gd name="connsiteX3" fmla="*/ 323948 w 1975408"/>
              <a:gd name="connsiteY3" fmla="*/ 971198 h 971198"/>
              <a:gd name="connsiteX4" fmla="*/ 0 w 1975408"/>
              <a:gd name="connsiteY4" fmla="*/ 647250 h 971198"/>
              <a:gd name="connsiteX5" fmla="*/ 0 w 1975408"/>
              <a:gd name="connsiteY5" fmla="*/ 0 h 971198"/>
              <a:gd name="connsiteX6" fmla="*/ 1975408 w 1975408"/>
              <a:gd name="connsiteY6" fmla="*/ 91440 h 971198"/>
              <a:gd name="connsiteX0" fmla="*/ 1883968 w 1883968"/>
              <a:gd name="connsiteY0" fmla="*/ 0 h 971198"/>
              <a:gd name="connsiteX1" fmla="*/ 1883968 w 1883968"/>
              <a:gd name="connsiteY1" fmla="*/ 647250 h 971198"/>
              <a:gd name="connsiteX2" fmla="*/ 1560020 w 1883968"/>
              <a:gd name="connsiteY2" fmla="*/ 971198 h 971198"/>
              <a:gd name="connsiteX3" fmla="*/ 323948 w 1883968"/>
              <a:gd name="connsiteY3" fmla="*/ 971198 h 971198"/>
              <a:gd name="connsiteX4" fmla="*/ 0 w 1883968"/>
              <a:gd name="connsiteY4" fmla="*/ 647250 h 971198"/>
              <a:gd name="connsiteX5" fmla="*/ 0 w 1883968"/>
              <a:gd name="connsiteY5" fmla="*/ 0 h 9711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83968" h="971198">
                <a:moveTo>
                  <a:pt x="1883968" y="0"/>
                </a:moveTo>
                <a:lnTo>
                  <a:pt x="1883968" y="647250"/>
                </a:lnTo>
                <a:cubicBezTo>
                  <a:pt x="1883968" y="826162"/>
                  <a:pt x="1738932" y="971198"/>
                  <a:pt x="1560020" y="971198"/>
                </a:cubicBezTo>
                <a:lnTo>
                  <a:pt x="323948" y="971198"/>
                </a:lnTo>
                <a:cubicBezTo>
                  <a:pt x="145036" y="971198"/>
                  <a:pt x="0" y="826162"/>
                  <a:pt x="0" y="647250"/>
                </a:cubicBezTo>
                <a:lnTo>
                  <a:pt x="0" y="0"/>
                </a:lnTo>
              </a:path>
            </a:pathLst>
          </a:custGeom>
          <a:noFill/>
          <a:ln w="22098" cap="flat" cmpd="sng" algn="ctr">
            <a:solidFill>
              <a:schemeClr val="accent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106070" tIns="53035" rIns="106070" bIns="53035" rtlCol="0" anchor="ctr">
            <a:noAutofit/>
          </a:bodyPr>
          <a:lstStyle/>
          <a:p>
            <a:pPr algn="ctr"/>
            <a:endParaRPr lang="zh-CN" altLang="en-US" sz="2088"/>
          </a:p>
        </p:txBody>
      </p:sp>
      <p:sp>
        <p:nvSpPr>
          <p:cNvPr id="27" name="椭圆 26">
            <a:extLst>
              <a:ext uri="{FF2B5EF4-FFF2-40B4-BE49-F238E27FC236}">
                <a16:creationId xmlns:a16="http://schemas.microsoft.com/office/drawing/2014/main" id="{2FB14059-DE52-4634-B005-C989FD36C9E2}"/>
              </a:ext>
            </a:extLst>
          </p:cNvPr>
          <p:cNvSpPr/>
          <p:nvPr/>
        </p:nvSpPr>
        <p:spPr>
          <a:xfrm>
            <a:off x="7342399" y="4287208"/>
            <a:ext cx="155321" cy="155321"/>
          </a:xfrm>
          <a:prstGeom prst="ellipse">
            <a:avLst/>
          </a:prstGeom>
          <a:solidFill>
            <a:schemeClr val="bg1"/>
          </a:solidFill>
          <a:ln w="22098">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106070" tIns="53035" rIns="106070" bIns="53035" rtlCol="0" anchor="ctr"/>
          <a:lstStyle/>
          <a:p>
            <a:pPr algn="l"/>
            <a:endParaRPr lang="zh-CN" altLang="en-US" sz="1856">
              <a:solidFill>
                <a:schemeClr val="bg1"/>
              </a:solidFill>
              <a:latin typeface="+mj-ea"/>
              <a:ea typeface="+mj-ea"/>
            </a:endParaRPr>
          </a:p>
        </p:txBody>
      </p:sp>
      <p:sp>
        <p:nvSpPr>
          <p:cNvPr id="28" name="椭圆 27">
            <a:extLst>
              <a:ext uri="{FF2B5EF4-FFF2-40B4-BE49-F238E27FC236}">
                <a16:creationId xmlns:a16="http://schemas.microsoft.com/office/drawing/2014/main" id="{2BC88147-2C99-40B8-8CBD-334E0304EFF8}"/>
              </a:ext>
            </a:extLst>
          </p:cNvPr>
          <p:cNvSpPr/>
          <p:nvPr/>
        </p:nvSpPr>
        <p:spPr>
          <a:xfrm>
            <a:off x="7373970" y="4318779"/>
            <a:ext cx="92178" cy="92178"/>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06070" tIns="53035" rIns="106070" bIns="53035" rtlCol="0" anchor="ctr"/>
          <a:lstStyle/>
          <a:p>
            <a:pPr algn="l"/>
            <a:endParaRPr lang="zh-CN" altLang="en-US" sz="1856">
              <a:solidFill>
                <a:schemeClr val="bg1"/>
              </a:solidFill>
              <a:latin typeface="+mj-ea"/>
              <a:ea typeface="+mj-ea"/>
            </a:endParaRPr>
          </a:p>
        </p:txBody>
      </p:sp>
      <p:sp>
        <p:nvSpPr>
          <p:cNvPr id="29" name="椭圆 28">
            <a:extLst>
              <a:ext uri="{FF2B5EF4-FFF2-40B4-BE49-F238E27FC236}">
                <a16:creationId xmlns:a16="http://schemas.microsoft.com/office/drawing/2014/main" id="{EA160D0A-F939-4DC0-AF8D-2DEDDB9887C4}"/>
              </a:ext>
            </a:extLst>
          </p:cNvPr>
          <p:cNvSpPr/>
          <p:nvPr/>
        </p:nvSpPr>
        <p:spPr>
          <a:xfrm>
            <a:off x="5158380" y="4287208"/>
            <a:ext cx="155321" cy="155321"/>
          </a:xfrm>
          <a:prstGeom prst="ellipse">
            <a:avLst/>
          </a:prstGeom>
          <a:solidFill>
            <a:schemeClr val="bg1"/>
          </a:solidFill>
          <a:ln w="22098">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106070" tIns="53035" rIns="106070" bIns="53035" rtlCol="0" anchor="ctr"/>
          <a:lstStyle/>
          <a:p>
            <a:pPr algn="l"/>
            <a:endParaRPr lang="zh-CN" altLang="en-US" sz="1856">
              <a:solidFill>
                <a:schemeClr val="bg1"/>
              </a:solidFill>
              <a:latin typeface="+mj-ea"/>
              <a:ea typeface="+mj-ea"/>
            </a:endParaRPr>
          </a:p>
        </p:txBody>
      </p:sp>
      <p:sp>
        <p:nvSpPr>
          <p:cNvPr id="30" name="椭圆 29">
            <a:extLst>
              <a:ext uri="{FF2B5EF4-FFF2-40B4-BE49-F238E27FC236}">
                <a16:creationId xmlns:a16="http://schemas.microsoft.com/office/drawing/2014/main" id="{2F5FA3A5-5405-489D-AD42-9BA13C821993}"/>
              </a:ext>
            </a:extLst>
          </p:cNvPr>
          <p:cNvSpPr/>
          <p:nvPr/>
        </p:nvSpPr>
        <p:spPr>
          <a:xfrm>
            <a:off x="6239577" y="2988821"/>
            <a:ext cx="155321" cy="155321"/>
          </a:xfrm>
          <a:prstGeom prst="ellipse">
            <a:avLst/>
          </a:prstGeom>
          <a:solidFill>
            <a:schemeClr val="bg1"/>
          </a:solidFill>
          <a:ln w="22098">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106070" tIns="53035" rIns="106070" bIns="53035" rtlCol="0" anchor="ctr"/>
          <a:lstStyle/>
          <a:p>
            <a:pPr algn="l"/>
            <a:endParaRPr lang="zh-CN" altLang="en-US" sz="1856">
              <a:solidFill>
                <a:schemeClr val="bg1"/>
              </a:solidFill>
              <a:latin typeface="+mj-ea"/>
              <a:ea typeface="+mj-ea"/>
            </a:endParaRPr>
          </a:p>
        </p:txBody>
      </p:sp>
      <p:sp>
        <p:nvSpPr>
          <p:cNvPr id="31" name="椭圆 30">
            <a:extLst>
              <a:ext uri="{FF2B5EF4-FFF2-40B4-BE49-F238E27FC236}">
                <a16:creationId xmlns:a16="http://schemas.microsoft.com/office/drawing/2014/main" id="{CCF4447B-8B2A-4159-B8BF-43DFB5383667}"/>
              </a:ext>
            </a:extLst>
          </p:cNvPr>
          <p:cNvSpPr/>
          <p:nvPr/>
        </p:nvSpPr>
        <p:spPr>
          <a:xfrm>
            <a:off x="6271147" y="3020391"/>
            <a:ext cx="92178" cy="92178"/>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06070" tIns="53035" rIns="106070" bIns="53035" rtlCol="0" anchor="ctr"/>
          <a:lstStyle/>
          <a:p>
            <a:pPr algn="l"/>
            <a:endParaRPr lang="zh-CN" altLang="en-US" sz="1856">
              <a:solidFill>
                <a:schemeClr val="bg1"/>
              </a:solidFill>
              <a:latin typeface="+mj-ea"/>
              <a:ea typeface="+mj-ea"/>
            </a:endParaRPr>
          </a:p>
        </p:txBody>
      </p:sp>
      <p:sp>
        <p:nvSpPr>
          <p:cNvPr id="33" name="矩形: 圆角 32">
            <a:extLst>
              <a:ext uri="{FF2B5EF4-FFF2-40B4-BE49-F238E27FC236}">
                <a16:creationId xmlns:a16="http://schemas.microsoft.com/office/drawing/2014/main" id="{0C328349-1D28-438B-8AB1-9B3B2010B4BC}"/>
              </a:ext>
            </a:extLst>
          </p:cNvPr>
          <p:cNvSpPr/>
          <p:nvPr>
            <p:custDataLst>
              <p:tags r:id="rId6"/>
            </p:custDataLst>
          </p:nvPr>
        </p:nvSpPr>
        <p:spPr>
          <a:xfrm>
            <a:off x="8668128" y="3174070"/>
            <a:ext cx="1897642" cy="2187129"/>
          </a:xfrm>
          <a:prstGeom prst="roundRect">
            <a:avLst>
              <a:gd name="adj" fmla="val 17195"/>
            </a:avLst>
          </a:prstGeom>
          <a:gradFill>
            <a:gsLst>
              <a:gs pos="0">
                <a:schemeClr val="accent1"/>
              </a:gs>
              <a:gs pos="100000">
                <a:schemeClr val="accent1">
                  <a:lumMod val="75000"/>
                </a:schemeClr>
              </a:gs>
            </a:gsLst>
            <a:lin ang="2700000" scaled="0"/>
          </a:gradFill>
          <a:ln w="25400" cap="flat" cmpd="sng" algn="ctr">
            <a:noFill/>
            <a:prstDash val="solid"/>
            <a:miter lim="800000"/>
          </a:ln>
          <a:effectLst>
            <a:outerShdw blurRad="294640" dist="103124" dir="2699993" algn="tl" rotWithShape="0">
              <a:schemeClr val="accent1">
                <a:lumMod val="50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106070" tIns="53035" rIns="106070" bIns="53035" rtlCol="0" anchor="ctr"/>
          <a:lstStyle/>
          <a:p>
            <a:pPr algn="ctr"/>
            <a:endParaRPr lang="zh-CN" altLang="en-US" sz="2088"/>
          </a:p>
        </p:txBody>
      </p:sp>
      <p:sp>
        <p:nvSpPr>
          <p:cNvPr id="34" name="任意多边形: 形状 33">
            <a:extLst>
              <a:ext uri="{FF2B5EF4-FFF2-40B4-BE49-F238E27FC236}">
                <a16:creationId xmlns:a16="http://schemas.microsoft.com/office/drawing/2014/main" id="{BD79AC10-4EAD-4B53-8B43-6FBDE6F4E29C}"/>
              </a:ext>
            </a:extLst>
          </p:cNvPr>
          <p:cNvSpPr/>
          <p:nvPr/>
        </p:nvSpPr>
        <p:spPr>
          <a:xfrm>
            <a:off x="8532548" y="3040909"/>
            <a:ext cx="2185402" cy="1126590"/>
          </a:xfrm>
          <a:custGeom>
            <a:avLst/>
            <a:gdLst>
              <a:gd name="connsiteX0" fmla="*/ 323948 w 1883968"/>
              <a:gd name="connsiteY0" fmla="*/ 0 h 971198"/>
              <a:gd name="connsiteX1" fmla="*/ 1560020 w 1883968"/>
              <a:gd name="connsiteY1" fmla="*/ 0 h 971198"/>
              <a:gd name="connsiteX2" fmla="*/ 1883968 w 1883968"/>
              <a:gd name="connsiteY2" fmla="*/ 323948 h 971198"/>
              <a:gd name="connsiteX3" fmla="*/ 1883968 w 1883968"/>
              <a:gd name="connsiteY3" fmla="*/ 971198 h 971198"/>
              <a:gd name="connsiteX4" fmla="*/ 0 w 1883968"/>
              <a:gd name="connsiteY4" fmla="*/ 971198 h 971198"/>
              <a:gd name="connsiteX5" fmla="*/ 0 w 1883968"/>
              <a:gd name="connsiteY5" fmla="*/ 323948 h 971198"/>
              <a:gd name="connsiteX6" fmla="*/ 323948 w 1883968"/>
              <a:gd name="connsiteY6" fmla="*/ 0 h 971198"/>
              <a:gd name="connsiteX0" fmla="*/ 0 w 1883968"/>
              <a:gd name="connsiteY0" fmla="*/ 971198 h 1062638"/>
              <a:gd name="connsiteX1" fmla="*/ 0 w 1883968"/>
              <a:gd name="connsiteY1" fmla="*/ 323948 h 1062638"/>
              <a:gd name="connsiteX2" fmla="*/ 323948 w 1883968"/>
              <a:gd name="connsiteY2" fmla="*/ 0 h 1062638"/>
              <a:gd name="connsiteX3" fmla="*/ 1560020 w 1883968"/>
              <a:gd name="connsiteY3" fmla="*/ 0 h 1062638"/>
              <a:gd name="connsiteX4" fmla="*/ 1883968 w 1883968"/>
              <a:gd name="connsiteY4" fmla="*/ 323948 h 1062638"/>
              <a:gd name="connsiteX5" fmla="*/ 1883968 w 1883968"/>
              <a:gd name="connsiteY5" fmla="*/ 971198 h 1062638"/>
              <a:gd name="connsiteX6" fmla="*/ 91440 w 1883968"/>
              <a:gd name="connsiteY6" fmla="*/ 1062638 h 1062638"/>
              <a:gd name="connsiteX0" fmla="*/ 0 w 1883968"/>
              <a:gd name="connsiteY0" fmla="*/ 971198 h 971198"/>
              <a:gd name="connsiteX1" fmla="*/ 0 w 1883968"/>
              <a:gd name="connsiteY1" fmla="*/ 323948 h 971198"/>
              <a:gd name="connsiteX2" fmla="*/ 323948 w 1883968"/>
              <a:gd name="connsiteY2" fmla="*/ 0 h 971198"/>
              <a:gd name="connsiteX3" fmla="*/ 1560020 w 1883968"/>
              <a:gd name="connsiteY3" fmla="*/ 0 h 971198"/>
              <a:gd name="connsiteX4" fmla="*/ 1883968 w 1883968"/>
              <a:gd name="connsiteY4" fmla="*/ 323948 h 971198"/>
              <a:gd name="connsiteX5" fmla="*/ 1883968 w 1883968"/>
              <a:gd name="connsiteY5" fmla="*/ 971198 h 9711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83968" h="971198">
                <a:moveTo>
                  <a:pt x="0" y="971198"/>
                </a:moveTo>
                <a:lnTo>
                  <a:pt x="0" y="323948"/>
                </a:lnTo>
                <a:cubicBezTo>
                  <a:pt x="0" y="145036"/>
                  <a:pt x="145036" y="0"/>
                  <a:pt x="323948" y="0"/>
                </a:cubicBezTo>
                <a:lnTo>
                  <a:pt x="1560020" y="0"/>
                </a:lnTo>
                <a:cubicBezTo>
                  <a:pt x="1738932" y="0"/>
                  <a:pt x="1883968" y="145036"/>
                  <a:pt x="1883968" y="323948"/>
                </a:cubicBezTo>
                <a:lnTo>
                  <a:pt x="1883968" y="971198"/>
                </a:lnTo>
              </a:path>
            </a:pathLst>
          </a:custGeom>
          <a:noFill/>
          <a:ln w="22098" cap="flat" cmpd="sng" algn="ctr">
            <a:solidFill>
              <a:schemeClr val="accent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106070" tIns="53035" rIns="106070" bIns="53035" rtlCol="0" anchor="ctr">
            <a:noAutofit/>
          </a:bodyPr>
          <a:lstStyle/>
          <a:p>
            <a:pPr algn="ctr"/>
            <a:endParaRPr lang="zh-CN" altLang="en-US" sz="2088"/>
          </a:p>
        </p:txBody>
      </p:sp>
      <p:sp>
        <p:nvSpPr>
          <p:cNvPr id="35" name="任意多边形: 形状 34">
            <a:extLst>
              <a:ext uri="{FF2B5EF4-FFF2-40B4-BE49-F238E27FC236}">
                <a16:creationId xmlns:a16="http://schemas.microsoft.com/office/drawing/2014/main" id="{499B7AEC-BD7E-4FB4-B7C9-B79953AA358B}"/>
              </a:ext>
            </a:extLst>
          </p:cNvPr>
          <p:cNvSpPr/>
          <p:nvPr/>
        </p:nvSpPr>
        <p:spPr>
          <a:xfrm>
            <a:off x="8532548" y="4339296"/>
            <a:ext cx="2185402" cy="1126590"/>
          </a:xfrm>
          <a:custGeom>
            <a:avLst/>
            <a:gdLst>
              <a:gd name="connsiteX0" fmla="*/ 0 w 1883968"/>
              <a:gd name="connsiteY0" fmla="*/ 0 h 971198"/>
              <a:gd name="connsiteX1" fmla="*/ 1883968 w 1883968"/>
              <a:gd name="connsiteY1" fmla="*/ 0 h 971198"/>
              <a:gd name="connsiteX2" fmla="*/ 1883968 w 1883968"/>
              <a:gd name="connsiteY2" fmla="*/ 647250 h 971198"/>
              <a:gd name="connsiteX3" fmla="*/ 1560020 w 1883968"/>
              <a:gd name="connsiteY3" fmla="*/ 971198 h 971198"/>
              <a:gd name="connsiteX4" fmla="*/ 323948 w 1883968"/>
              <a:gd name="connsiteY4" fmla="*/ 971198 h 971198"/>
              <a:gd name="connsiteX5" fmla="*/ 0 w 1883968"/>
              <a:gd name="connsiteY5" fmla="*/ 647250 h 971198"/>
              <a:gd name="connsiteX0" fmla="*/ 1883968 w 1975408"/>
              <a:gd name="connsiteY0" fmla="*/ 0 h 971198"/>
              <a:gd name="connsiteX1" fmla="*/ 1883968 w 1975408"/>
              <a:gd name="connsiteY1" fmla="*/ 647250 h 971198"/>
              <a:gd name="connsiteX2" fmla="*/ 1560020 w 1975408"/>
              <a:gd name="connsiteY2" fmla="*/ 971198 h 971198"/>
              <a:gd name="connsiteX3" fmla="*/ 323948 w 1975408"/>
              <a:gd name="connsiteY3" fmla="*/ 971198 h 971198"/>
              <a:gd name="connsiteX4" fmla="*/ 0 w 1975408"/>
              <a:gd name="connsiteY4" fmla="*/ 647250 h 971198"/>
              <a:gd name="connsiteX5" fmla="*/ 0 w 1975408"/>
              <a:gd name="connsiteY5" fmla="*/ 0 h 971198"/>
              <a:gd name="connsiteX6" fmla="*/ 1975408 w 1975408"/>
              <a:gd name="connsiteY6" fmla="*/ 91440 h 971198"/>
              <a:gd name="connsiteX0" fmla="*/ 1883968 w 1883968"/>
              <a:gd name="connsiteY0" fmla="*/ 0 h 971198"/>
              <a:gd name="connsiteX1" fmla="*/ 1883968 w 1883968"/>
              <a:gd name="connsiteY1" fmla="*/ 647250 h 971198"/>
              <a:gd name="connsiteX2" fmla="*/ 1560020 w 1883968"/>
              <a:gd name="connsiteY2" fmla="*/ 971198 h 971198"/>
              <a:gd name="connsiteX3" fmla="*/ 323948 w 1883968"/>
              <a:gd name="connsiteY3" fmla="*/ 971198 h 971198"/>
              <a:gd name="connsiteX4" fmla="*/ 0 w 1883968"/>
              <a:gd name="connsiteY4" fmla="*/ 647250 h 971198"/>
              <a:gd name="connsiteX5" fmla="*/ 0 w 1883968"/>
              <a:gd name="connsiteY5" fmla="*/ 0 h 9711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83968" h="971198">
                <a:moveTo>
                  <a:pt x="1883968" y="0"/>
                </a:moveTo>
                <a:lnTo>
                  <a:pt x="1883968" y="647250"/>
                </a:lnTo>
                <a:cubicBezTo>
                  <a:pt x="1883968" y="826162"/>
                  <a:pt x="1738932" y="971198"/>
                  <a:pt x="1560020" y="971198"/>
                </a:cubicBezTo>
                <a:lnTo>
                  <a:pt x="323948" y="971198"/>
                </a:lnTo>
                <a:cubicBezTo>
                  <a:pt x="145036" y="971198"/>
                  <a:pt x="0" y="826162"/>
                  <a:pt x="0" y="647250"/>
                </a:cubicBezTo>
                <a:lnTo>
                  <a:pt x="0" y="0"/>
                </a:lnTo>
              </a:path>
            </a:pathLst>
          </a:custGeom>
          <a:noFill/>
          <a:ln w="22098" cap="flat" cmpd="sng" algn="ctr">
            <a:solidFill>
              <a:schemeClr val="accent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106070" tIns="53035" rIns="106070" bIns="53035" rtlCol="0" anchor="ctr">
            <a:noAutofit/>
          </a:bodyPr>
          <a:lstStyle/>
          <a:p>
            <a:pPr algn="ctr"/>
            <a:endParaRPr lang="zh-CN" altLang="en-US" sz="2088"/>
          </a:p>
        </p:txBody>
      </p:sp>
      <p:sp>
        <p:nvSpPr>
          <p:cNvPr id="36" name="椭圆 35">
            <a:extLst>
              <a:ext uri="{FF2B5EF4-FFF2-40B4-BE49-F238E27FC236}">
                <a16:creationId xmlns:a16="http://schemas.microsoft.com/office/drawing/2014/main" id="{04D0E516-B00A-478B-9F6E-746C2B288179}"/>
              </a:ext>
            </a:extLst>
          </p:cNvPr>
          <p:cNvSpPr/>
          <p:nvPr/>
        </p:nvSpPr>
        <p:spPr>
          <a:xfrm>
            <a:off x="10642112" y="4261636"/>
            <a:ext cx="155321" cy="155321"/>
          </a:xfrm>
          <a:prstGeom prst="ellipse">
            <a:avLst/>
          </a:prstGeom>
          <a:solidFill>
            <a:schemeClr val="bg1"/>
          </a:solidFill>
          <a:ln w="22098">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106070" tIns="53035" rIns="106070" bIns="53035" rtlCol="0" anchor="ctr"/>
          <a:lstStyle/>
          <a:p>
            <a:pPr algn="l"/>
            <a:endParaRPr lang="zh-CN" altLang="en-US" sz="1856">
              <a:solidFill>
                <a:schemeClr val="bg1"/>
              </a:solidFill>
              <a:latin typeface="+mj-ea"/>
              <a:ea typeface="+mj-ea"/>
            </a:endParaRPr>
          </a:p>
        </p:txBody>
      </p:sp>
      <p:sp>
        <p:nvSpPr>
          <p:cNvPr id="37" name="椭圆 36">
            <a:extLst>
              <a:ext uri="{FF2B5EF4-FFF2-40B4-BE49-F238E27FC236}">
                <a16:creationId xmlns:a16="http://schemas.microsoft.com/office/drawing/2014/main" id="{971FB84C-6E33-459D-A831-B261B3CD3B3A}"/>
              </a:ext>
            </a:extLst>
          </p:cNvPr>
          <p:cNvSpPr/>
          <p:nvPr/>
        </p:nvSpPr>
        <p:spPr>
          <a:xfrm>
            <a:off x="10673683" y="4293205"/>
            <a:ext cx="92178" cy="92178"/>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06070" tIns="53035" rIns="106070" bIns="53035" rtlCol="0" anchor="ctr"/>
          <a:lstStyle/>
          <a:p>
            <a:pPr algn="l"/>
            <a:endParaRPr lang="zh-CN" altLang="en-US" sz="1856">
              <a:solidFill>
                <a:schemeClr val="bg1"/>
              </a:solidFill>
              <a:latin typeface="+mj-ea"/>
              <a:ea typeface="+mj-ea"/>
            </a:endParaRPr>
          </a:p>
        </p:txBody>
      </p:sp>
      <p:sp>
        <p:nvSpPr>
          <p:cNvPr id="38" name="椭圆 37">
            <a:extLst>
              <a:ext uri="{FF2B5EF4-FFF2-40B4-BE49-F238E27FC236}">
                <a16:creationId xmlns:a16="http://schemas.microsoft.com/office/drawing/2014/main" id="{2E1A2A6C-73CC-4D34-A7BE-4036204A5D80}"/>
              </a:ext>
            </a:extLst>
          </p:cNvPr>
          <p:cNvSpPr/>
          <p:nvPr/>
        </p:nvSpPr>
        <p:spPr>
          <a:xfrm>
            <a:off x="8458093" y="4261636"/>
            <a:ext cx="155321" cy="155321"/>
          </a:xfrm>
          <a:prstGeom prst="ellipse">
            <a:avLst/>
          </a:prstGeom>
          <a:solidFill>
            <a:schemeClr val="bg1"/>
          </a:solidFill>
          <a:ln w="22098">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106070" tIns="53035" rIns="106070" bIns="53035" rtlCol="0" anchor="ctr"/>
          <a:lstStyle/>
          <a:p>
            <a:pPr algn="l"/>
            <a:endParaRPr lang="zh-CN" altLang="en-US" sz="1856">
              <a:solidFill>
                <a:schemeClr val="bg1"/>
              </a:solidFill>
              <a:latin typeface="+mj-ea"/>
              <a:ea typeface="+mj-ea"/>
            </a:endParaRPr>
          </a:p>
        </p:txBody>
      </p:sp>
      <p:sp>
        <p:nvSpPr>
          <p:cNvPr id="39" name="椭圆 38">
            <a:extLst>
              <a:ext uri="{FF2B5EF4-FFF2-40B4-BE49-F238E27FC236}">
                <a16:creationId xmlns:a16="http://schemas.microsoft.com/office/drawing/2014/main" id="{5D388AD0-9DD0-423D-B195-AC35FB35C869}"/>
              </a:ext>
            </a:extLst>
          </p:cNvPr>
          <p:cNvSpPr/>
          <p:nvPr/>
        </p:nvSpPr>
        <p:spPr>
          <a:xfrm>
            <a:off x="9539291" y="2963249"/>
            <a:ext cx="155321" cy="155321"/>
          </a:xfrm>
          <a:prstGeom prst="ellipse">
            <a:avLst/>
          </a:prstGeom>
          <a:solidFill>
            <a:schemeClr val="bg1"/>
          </a:solidFill>
          <a:ln w="22098">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106070" tIns="53035" rIns="106070" bIns="53035" rtlCol="0" anchor="ctr"/>
          <a:lstStyle/>
          <a:p>
            <a:pPr algn="l"/>
            <a:endParaRPr lang="zh-CN" altLang="en-US" sz="1856">
              <a:solidFill>
                <a:schemeClr val="bg1"/>
              </a:solidFill>
              <a:latin typeface="+mj-ea"/>
              <a:ea typeface="+mj-ea"/>
            </a:endParaRPr>
          </a:p>
        </p:txBody>
      </p:sp>
      <p:sp>
        <p:nvSpPr>
          <p:cNvPr id="40" name="椭圆 39">
            <a:extLst>
              <a:ext uri="{FF2B5EF4-FFF2-40B4-BE49-F238E27FC236}">
                <a16:creationId xmlns:a16="http://schemas.microsoft.com/office/drawing/2014/main" id="{55EC8FB1-EE92-49FE-8433-A57E9CFCC101}"/>
              </a:ext>
            </a:extLst>
          </p:cNvPr>
          <p:cNvSpPr/>
          <p:nvPr/>
        </p:nvSpPr>
        <p:spPr>
          <a:xfrm>
            <a:off x="9570860" y="2994820"/>
            <a:ext cx="92178" cy="92178"/>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06070" tIns="53035" rIns="106070" bIns="53035" rtlCol="0" anchor="ctr"/>
          <a:lstStyle/>
          <a:p>
            <a:pPr algn="l"/>
            <a:endParaRPr lang="zh-CN" altLang="en-US" sz="1856">
              <a:solidFill>
                <a:schemeClr val="bg1"/>
              </a:solidFill>
              <a:latin typeface="+mj-ea"/>
              <a:ea typeface="+mj-ea"/>
            </a:endParaRPr>
          </a:p>
        </p:txBody>
      </p:sp>
      <p:sp>
        <p:nvSpPr>
          <p:cNvPr id="42" name="Freeform 40">
            <a:extLst>
              <a:ext uri="{FF2B5EF4-FFF2-40B4-BE49-F238E27FC236}">
                <a16:creationId xmlns:a16="http://schemas.microsoft.com/office/drawing/2014/main" id="{6FA62B87-BDF9-45B7-9C0F-933296076DBB}"/>
              </a:ext>
            </a:extLst>
          </p:cNvPr>
          <p:cNvSpPr/>
          <p:nvPr/>
        </p:nvSpPr>
        <p:spPr>
          <a:xfrm>
            <a:off x="3049074" y="2210401"/>
            <a:ext cx="2854542" cy="752847"/>
          </a:xfrm>
          <a:custGeom>
            <a:avLst/>
            <a:gdLst/>
            <a:ahLst/>
            <a:cxnLst/>
            <a:rect l="0" t="0" r="0" b="0"/>
            <a:pathLst>
              <a:path w="2447366" h="645460">
                <a:moveTo>
                  <a:pt x="2447365" y="0"/>
                </a:moveTo>
                <a:lnTo>
                  <a:pt x="2447365" y="178730"/>
                </a:lnTo>
                <a:cubicBezTo>
                  <a:pt x="2447365" y="258218"/>
                  <a:pt x="2382853" y="322730"/>
                  <a:pt x="2303365" y="322730"/>
                </a:cubicBezTo>
                <a:lnTo>
                  <a:pt x="144000" y="322730"/>
                </a:lnTo>
                <a:cubicBezTo>
                  <a:pt x="64512" y="322730"/>
                  <a:pt x="0" y="387242"/>
                  <a:pt x="0" y="466730"/>
                </a:cubicBezTo>
                <a:lnTo>
                  <a:pt x="0" y="645459"/>
                </a:lnTo>
              </a:path>
            </a:pathLst>
          </a:custGeom>
          <a:noFill/>
          <a:ln w="22098">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106070" tIns="53035" rIns="106070" bIns="53035" rtlCol="0" anchor="ctr"/>
          <a:lstStyle/>
          <a:p>
            <a:pPr algn="ctr"/>
            <a:endParaRPr lang="zh-CN" altLang="en-US" sz="2088">
              <a:solidFill>
                <a:schemeClr val="lt1"/>
              </a:solidFill>
            </a:endParaRPr>
          </a:p>
        </p:txBody>
      </p:sp>
      <p:sp>
        <p:nvSpPr>
          <p:cNvPr id="43" name="Freeform 40">
            <a:extLst>
              <a:ext uri="{FF2B5EF4-FFF2-40B4-BE49-F238E27FC236}">
                <a16:creationId xmlns:a16="http://schemas.microsoft.com/office/drawing/2014/main" id="{CAB5BE92-6D42-4DF5-8AF1-B29FFA4E1F48}"/>
              </a:ext>
            </a:extLst>
          </p:cNvPr>
          <p:cNvSpPr/>
          <p:nvPr/>
        </p:nvSpPr>
        <p:spPr>
          <a:xfrm flipH="1">
            <a:off x="6752481" y="2210401"/>
            <a:ext cx="2854542" cy="752847"/>
          </a:xfrm>
          <a:custGeom>
            <a:avLst/>
            <a:gdLst/>
            <a:ahLst/>
            <a:cxnLst/>
            <a:rect l="0" t="0" r="0" b="0"/>
            <a:pathLst>
              <a:path w="2447366" h="645460">
                <a:moveTo>
                  <a:pt x="2447365" y="0"/>
                </a:moveTo>
                <a:lnTo>
                  <a:pt x="2447365" y="178730"/>
                </a:lnTo>
                <a:cubicBezTo>
                  <a:pt x="2447365" y="258218"/>
                  <a:pt x="2382853" y="322730"/>
                  <a:pt x="2303365" y="322730"/>
                </a:cubicBezTo>
                <a:lnTo>
                  <a:pt x="144000" y="322730"/>
                </a:lnTo>
                <a:cubicBezTo>
                  <a:pt x="64512" y="322730"/>
                  <a:pt x="0" y="387242"/>
                  <a:pt x="0" y="466730"/>
                </a:cubicBezTo>
                <a:lnTo>
                  <a:pt x="0" y="645459"/>
                </a:lnTo>
              </a:path>
            </a:pathLst>
          </a:custGeom>
          <a:noFill/>
          <a:ln w="22098">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106070" tIns="53035" rIns="106070" bIns="53035" rtlCol="0" anchor="ctr"/>
          <a:lstStyle/>
          <a:p>
            <a:pPr algn="ctr"/>
            <a:endParaRPr lang="zh-CN" altLang="en-US" sz="2088">
              <a:solidFill>
                <a:schemeClr val="lt1"/>
              </a:solidFill>
            </a:endParaRPr>
          </a:p>
        </p:txBody>
      </p:sp>
      <p:sp>
        <p:nvSpPr>
          <p:cNvPr id="45" name="椭圆 44">
            <a:extLst>
              <a:ext uri="{FF2B5EF4-FFF2-40B4-BE49-F238E27FC236}">
                <a16:creationId xmlns:a16="http://schemas.microsoft.com/office/drawing/2014/main" id="{7FB35C58-06D5-4617-9888-CC6ABB75DAC6}"/>
              </a:ext>
            </a:extLst>
          </p:cNvPr>
          <p:cNvSpPr/>
          <p:nvPr/>
        </p:nvSpPr>
        <p:spPr>
          <a:xfrm>
            <a:off x="5825956" y="2138404"/>
            <a:ext cx="155321" cy="155321"/>
          </a:xfrm>
          <a:prstGeom prst="ellipse">
            <a:avLst/>
          </a:prstGeom>
          <a:solidFill>
            <a:schemeClr val="bg1"/>
          </a:solidFill>
          <a:ln w="22098">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106070" tIns="53035" rIns="106070" bIns="53035" rtlCol="0" anchor="ctr"/>
          <a:lstStyle/>
          <a:p>
            <a:pPr algn="l"/>
            <a:endParaRPr lang="zh-CN" altLang="en-US" sz="1856">
              <a:solidFill>
                <a:schemeClr val="bg1"/>
              </a:solidFill>
              <a:latin typeface="+mj-ea"/>
              <a:ea typeface="+mj-ea"/>
            </a:endParaRPr>
          </a:p>
        </p:txBody>
      </p:sp>
      <p:sp>
        <p:nvSpPr>
          <p:cNvPr id="46" name="椭圆 45">
            <a:extLst>
              <a:ext uri="{FF2B5EF4-FFF2-40B4-BE49-F238E27FC236}">
                <a16:creationId xmlns:a16="http://schemas.microsoft.com/office/drawing/2014/main" id="{251BC37A-D3D9-494E-8EFE-5CEBD918ABA6}"/>
              </a:ext>
            </a:extLst>
          </p:cNvPr>
          <p:cNvSpPr/>
          <p:nvPr/>
        </p:nvSpPr>
        <p:spPr>
          <a:xfrm>
            <a:off x="6669363" y="2138404"/>
            <a:ext cx="155321" cy="155321"/>
          </a:xfrm>
          <a:prstGeom prst="ellipse">
            <a:avLst/>
          </a:prstGeom>
          <a:solidFill>
            <a:schemeClr val="bg1"/>
          </a:solidFill>
          <a:ln w="22098">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106070" tIns="53035" rIns="106070" bIns="53035" rtlCol="0" anchor="ctr"/>
          <a:lstStyle/>
          <a:p>
            <a:pPr algn="l"/>
            <a:endParaRPr lang="zh-CN" altLang="en-US" sz="1856">
              <a:solidFill>
                <a:schemeClr val="bg1"/>
              </a:solidFill>
              <a:latin typeface="+mj-ea"/>
              <a:ea typeface="+mj-ea"/>
            </a:endParaRPr>
          </a:p>
        </p:txBody>
      </p:sp>
      <p:sp>
        <p:nvSpPr>
          <p:cNvPr id="47" name="椭圆 46">
            <a:extLst>
              <a:ext uri="{FF2B5EF4-FFF2-40B4-BE49-F238E27FC236}">
                <a16:creationId xmlns:a16="http://schemas.microsoft.com/office/drawing/2014/main" id="{16B84DBB-4090-4D6B-9B3F-12385E91FB4F}"/>
              </a:ext>
            </a:extLst>
          </p:cNvPr>
          <p:cNvSpPr/>
          <p:nvPr/>
        </p:nvSpPr>
        <p:spPr>
          <a:xfrm>
            <a:off x="6247660" y="2138404"/>
            <a:ext cx="155321" cy="155321"/>
          </a:xfrm>
          <a:prstGeom prst="ellipse">
            <a:avLst/>
          </a:prstGeom>
          <a:solidFill>
            <a:schemeClr val="bg1"/>
          </a:solidFill>
          <a:ln w="22098">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106070" tIns="53035" rIns="106070" bIns="53035" rtlCol="0" anchor="ctr"/>
          <a:lstStyle/>
          <a:p>
            <a:pPr algn="l"/>
            <a:endParaRPr lang="zh-CN" altLang="en-US" sz="1856">
              <a:solidFill>
                <a:schemeClr val="bg1"/>
              </a:solidFill>
              <a:latin typeface="+mj-ea"/>
              <a:ea typeface="+mj-ea"/>
            </a:endParaRPr>
          </a:p>
        </p:txBody>
      </p:sp>
      <p:cxnSp>
        <p:nvCxnSpPr>
          <p:cNvPr id="50" name="直接连接符 49">
            <a:extLst>
              <a:ext uri="{FF2B5EF4-FFF2-40B4-BE49-F238E27FC236}">
                <a16:creationId xmlns:a16="http://schemas.microsoft.com/office/drawing/2014/main" id="{487E0CC5-8946-46EC-84E2-BB66C8AD1AD5}"/>
              </a:ext>
            </a:extLst>
          </p:cNvPr>
          <p:cNvCxnSpPr>
            <a:cxnSpLocks/>
          </p:cNvCxnSpPr>
          <p:nvPr/>
        </p:nvCxnSpPr>
        <p:spPr>
          <a:xfrm flipH="1">
            <a:off x="6317238" y="2293725"/>
            <a:ext cx="8083" cy="695095"/>
          </a:xfrm>
          <a:prstGeom prst="line">
            <a:avLst/>
          </a:prstGeom>
          <a:noFill/>
          <a:ln w="22098">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cxnSp>
      <p:sp>
        <p:nvSpPr>
          <p:cNvPr id="48" name="文本框 47">
            <a:extLst>
              <a:ext uri="{FF2B5EF4-FFF2-40B4-BE49-F238E27FC236}">
                <a16:creationId xmlns:a16="http://schemas.microsoft.com/office/drawing/2014/main" id="{1AC5A5A6-E560-4660-9311-FE6100ABB8F9}"/>
              </a:ext>
            </a:extLst>
          </p:cNvPr>
          <p:cNvSpPr txBox="1"/>
          <p:nvPr/>
        </p:nvSpPr>
        <p:spPr>
          <a:xfrm>
            <a:off x="2379661" y="4398293"/>
            <a:ext cx="1338828" cy="321319"/>
          </a:xfrm>
          <a:prstGeom prst="rect">
            <a:avLst/>
          </a:prstGeom>
          <a:noFill/>
          <a:effectLst/>
        </p:spPr>
        <p:txBody>
          <a:bodyPr wrap="none" lIns="0" tIns="0" rIns="0" bIns="0" rtlCol="0" anchor="t">
            <a:spAutoFit/>
          </a:bodyPr>
          <a:lstStyle/>
          <a:p>
            <a:pPr algn="l"/>
            <a:r>
              <a:rPr lang="zh-CN" altLang="en-US" sz="2088" dirty="0">
                <a:solidFill>
                  <a:schemeClr val="bg1"/>
                </a:solidFill>
                <a:latin typeface="+mj-ea"/>
                <a:ea typeface="+mj-ea"/>
              </a:rPr>
              <a:t>关键词标题</a:t>
            </a:r>
          </a:p>
        </p:txBody>
      </p:sp>
      <p:sp>
        <p:nvSpPr>
          <p:cNvPr id="49" name="文本框 48">
            <a:extLst>
              <a:ext uri="{FF2B5EF4-FFF2-40B4-BE49-F238E27FC236}">
                <a16:creationId xmlns:a16="http://schemas.microsoft.com/office/drawing/2014/main" id="{70669A40-7272-4798-8F7F-013A1E3C8D68}"/>
              </a:ext>
            </a:extLst>
          </p:cNvPr>
          <p:cNvSpPr txBox="1"/>
          <p:nvPr/>
        </p:nvSpPr>
        <p:spPr>
          <a:xfrm>
            <a:off x="5716459" y="4398293"/>
            <a:ext cx="1338828" cy="321319"/>
          </a:xfrm>
          <a:prstGeom prst="rect">
            <a:avLst/>
          </a:prstGeom>
          <a:noFill/>
          <a:effectLst/>
        </p:spPr>
        <p:txBody>
          <a:bodyPr wrap="none" lIns="0" tIns="0" rIns="0" bIns="0" rtlCol="0" anchor="t">
            <a:spAutoFit/>
          </a:bodyPr>
          <a:lstStyle/>
          <a:p>
            <a:pPr algn="l"/>
            <a:r>
              <a:rPr lang="zh-CN" altLang="en-US" sz="2088" dirty="0">
                <a:solidFill>
                  <a:schemeClr val="bg1"/>
                </a:solidFill>
                <a:latin typeface="+mj-ea"/>
                <a:ea typeface="+mj-ea"/>
              </a:rPr>
              <a:t>关键词标题</a:t>
            </a:r>
          </a:p>
        </p:txBody>
      </p:sp>
      <p:sp>
        <p:nvSpPr>
          <p:cNvPr id="51" name="文本框 50">
            <a:extLst>
              <a:ext uri="{FF2B5EF4-FFF2-40B4-BE49-F238E27FC236}">
                <a16:creationId xmlns:a16="http://schemas.microsoft.com/office/drawing/2014/main" id="{F8AB991E-FC64-4F0E-A881-2FE22543449F}"/>
              </a:ext>
            </a:extLst>
          </p:cNvPr>
          <p:cNvSpPr txBox="1"/>
          <p:nvPr/>
        </p:nvSpPr>
        <p:spPr>
          <a:xfrm>
            <a:off x="9054364" y="4398293"/>
            <a:ext cx="1338828" cy="321319"/>
          </a:xfrm>
          <a:prstGeom prst="rect">
            <a:avLst/>
          </a:prstGeom>
          <a:noFill/>
          <a:effectLst/>
        </p:spPr>
        <p:txBody>
          <a:bodyPr wrap="none" lIns="0" tIns="0" rIns="0" bIns="0" rtlCol="0" anchor="t">
            <a:spAutoFit/>
          </a:bodyPr>
          <a:lstStyle/>
          <a:p>
            <a:pPr algn="l"/>
            <a:r>
              <a:rPr lang="zh-CN" altLang="en-US" sz="2088" dirty="0">
                <a:solidFill>
                  <a:schemeClr val="bg1"/>
                </a:solidFill>
                <a:latin typeface="+mj-ea"/>
                <a:ea typeface="+mj-ea"/>
              </a:rPr>
              <a:t>关键词标题</a:t>
            </a:r>
          </a:p>
        </p:txBody>
      </p:sp>
      <p:sp>
        <p:nvSpPr>
          <p:cNvPr id="52" name="iconfont-1179-866479">
            <a:extLst>
              <a:ext uri="{FF2B5EF4-FFF2-40B4-BE49-F238E27FC236}">
                <a16:creationId xmlns:a16="http://schemas.microsoft.com/office/drawing/2014/main" id="{FBEEDEC5-DEE9-4880-B2EB-17AD3F15B4E2}"/>
              </a:ext>
            </a:extLst>
          </p:cNvPr>
          <p:cNvSpPr/>
          <p:nvPr/>
        </p:nvSpPr>
        <p:spPr>
          <a:xfrm>
            <a:off x="2750507" y="3589067"/>
            <a:ext cx="597136" cy="707235"/>
          </a:xfrm>
          <a:custGeom>
            <a:avLst/>
            <a:gdLst>
              <a:gd name="T0" fmla="*/ 6573 w 9390"/>
              <a:gd name="T1" fmla="*/ 3437 h 11120"/>
              <a:gd name="T2" fmla="*/ 7967 w 9390"/>
              <a:gd name="T3" fmla="*/ 1730 h 11120"/>
              <a:gd name="T4" fmla="*/ 5311 w 9390"/>
              <a:gd name="T5" fmla="*/ 1140 h 11120"/>
              <a:gd name="T6" fmla="*/ 3129 w 9390"/>
              <a:gd name="T7" fmla="*/ 876 h 11120"/>
              <a:gd name="T8" fmla="*/ 2455 w 9390"/>
              <a:gd name="T9" fmla="*/ 3147 h 11120"/>
              <a:gd name="T10" fmla="*/ 7438 w 9390"/>
              <a:gd name="T11" fmla="*/ 4336 h 11120"/>
              <a:gd name="T12" fmla="*/ 2969 w 9390"/>
              <a:gd name="T13" fmla="*/ 4006 h 11120"/>
              <a:gd name="T14" fmla="*/ 0 w 9390"/>
              <a:gd name="T15" fmla="*/ 8570 h 11120"/>
              <a:gd name="T16" fmla="*/ 6860 w 9390"/>
              <a:gd name="T17" fmla="*/ 11120 h 11120"/>
              <a:gd name="T18" fmla="*/ 7438 w 9390"/>
              <a:gd name="T19" fmla="*/ 4336 h 11120"/>
              <a:gd name="T20" fmla="*/ 5549 w 9390"/>
              <a:gd name="T21" fmla="*/ 7248 h 11120"/>
              <a:gd name="T22" fmla="*/ 5919 w 9390"/>
              <a:gd name="T23" fmla="*/ 7515 h 11120"/>
              <a:gd name="T24" fmla="*/ 6098 w 9390"/>
              <a:gd name="T25" fmla="*/ 7695 h 11120"/>
              <a:gd name="T26" fmla="*/ 5384 w 9390"/>
              <a:gd name="T27" fmla="*/ 7874 h 11120"/>
              <a:gd name="T28" fmla="*/ 5195 w 9390"/>
              <a:gd name="T29" fmla="*/ 8151 h 11120"/>
              <a:gd name="T30" fmla="*/ 5919 w 9390"/>
              <a:gd name="T31" fmla="*/ 8331 h 11120"/>
              <a:gd name="T32" fmla="*/ 5919 w 9390"/>
              <a:gd name="T33" fmla="*/ 8690 h 11120"/>
              <a:gd name="T34" fmla="*/ 5195 w 9390"/>
              <a:gd name="T35" fmla="*/ 8870 h 11120"/>
              <a:gd name="T36" fmla="*/ 5015 w 9390"/>
              <a:gd name="T37" fmla="*/ 9507 h 11120"/>
              <a:gd name="T38" fmla="*/ 4510 w 9390"/>
              <a:gd name="T39" fmla="*/ 9327 h 11120"/>
              <a:gd name="T40" fmla="*/ 4330 w 9390"/>
              <a:gd name="T41" fmla="*/ 8690 h 11120"/>
              <a:gd name="T42" fmla="*/ 3612 w 9390"/>
              <a:gd name="T43" fmla="*/ 8510 h 11120"/>
              <a:gd name="T44" fmla="*/ 4329 w 9390"/>
              <a:gd name="T45" fmla="*/ 8331 h 11120"/>
              <a:gd name="T46" fmla="*/ 4511 w 9390"/>
              <a:gd name="T47" fmla="*/ 8063 h 11120"/>
              <a:gd name="T48" fmla="*/ 3792 w 9390"/>
              <a:gd name="T49" fmla="*/ 7873 h 11120"/>
              <a:gd name="T50" fmla="*/ 3612 w 9390"/>
              <a:gd name="T51" fmla="*/ 7694 h 11120"/>
              <a:gd name="T52" fmla="*/ 3999 w 9390"/>
              <a:gd name="T53" fmla="*/ 7514 h 11120"/>
              <a:gd name="T54" fmla="*/ 3406 w 9390"/>
              <a:gd name="T55" fmla="*/ 5887 h 11120"/>
              <a:gd name="T56" fmla="*/ 3920 w 9390"/>
              <a:gd name="T57" fmla="*/ 5620 h 11120"/>
              <a:gd name="T58" fmla="*/ 4691 w 9390"/>
              <a:gd name="T59" fmla="*/ 6937 h 11120"/>
              <a:gd name="T60" fmla="*/ 5623 w 9390"/>
              <a:gd name="T61" fmla="*/ 5719 h 11120"/>
              <a:gd name="T62" fmla="*/ 6140 w 9390"/>
              <a:gd name="T63" fmla="*/ 5620 h 1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390" h="11120">
                <a:moveTo>
                  <a:pt x="3078" y="3437"/>
                </a:moveTo>
                <a:lnTo>
                  <a:pt x="6573" y="3437"/>
                </a:lnTo>
                <a:cubicBezTo>
                  <a:pt x="6809" y="3437"/>
                  <a:pt x="7036" y="3338"/>
                  <a:pt x="7187" y="3157"/>
                </a:cubicBezTo>
                <a:cubicBezTo>
                  <a:pt x="7548" y="2728"/>
                  <a:pt x="7890" y="2202"/>
                  <a:pt x="7967" y="1730"/>
                </a:cubicBezTo>
                <a:cubicBezTo>
                  <a:pt x="8121" y="786"/>
                  <a:pt x="7717" y="307"/>
                  <a:pt x="6544" y="307"/>
                </a:cubicBezTo>
                <a:cubicBezTo>
                  <a:pt x="5370" y="307"/>
                  <a:pt x="5767" y="1077"/>
                  <a:pt x="5311" y="1140"/>
                </a:cubicBezTo>
                <a:cubicBezTo>
                  <a:pt x="4971" y="1187"/>
                  <a:pt x="4983" y="739"/>
                  <a:pt x="4449" y="308"/>
                </a:cubicBezTo>
                <a:cubicBezTo>
                  <a:pt x="4066" y="0"/>
                  <a:pt x="3636" y="871"/>
                  <a:pt x="3129" y="876"/>
                </a:cubicBezTo>
                <a:cubicBezTo>
                  <a:pt x="2538" y="884"/>
                  <a:pt x="1707" y="720"/>
                  <a:pt x="1707" y="1730"/>
                </a:cubicBezTo>
                <a:cubicBezTo>
                  <a:pt x="1707" y="2138"/>
                  <a:pt x="2065" y="2690"/>
                  <a:pt x="2455" y="3147"/>
                </a:cubicBezTo>
                <a:cubicBezTo>
                  <a:pt x="2612" y="3330"/>
                  <a:pt x="2838" y="3437"/>
                  <a:pt x="3078" y="3437"/>
                </a:cubicBezTo>
                <a:close/>
                <a:moveTo>
                  <a:pt x="7438" y="4336"/>
                </a:moveTo>
                <a:cubicBezTo>
                  <a:pt x="7252" y="4125"/>
                  <a:pt x="6981" y="4006"/>
                  <a:pt x="6699" y="4006"/>
                </a:cubicBezTo>
                <a:lnTo>
                  <a:pt x="2969" y="4006"/>
                </a:lnTo>
                <a:cubicBezTo>
                  <a:pt x="2700" y="4006"/>
                  <a:pt x="2440" y="4115"/>
                  <a:pt x="2253" y="4310"/>
                </a:cubicBezTo>
                <a:cubicBezTo>
                  <a:pt x="1081" y="5538"/>
                  <a:pt x="0" y="7291"/>
                  <a:pt x="0" y="8570"/>
                </a:cubicBezTo>
                <a:cubicBezTo>
                  <a:pt x="0" y="9697"/>
                  <a:pt x="1133" y="11120"/>
                  <a:pt x="2530" y="11120"/>
                </a:cubicBezTo>
                <a:lnTo>
                  <a:pt x="6860" y="11120"/>
                </a:lnTo>
                <a:cubicBezTo>
                  <a:pt x="8257" y="11120"/>
                  <a:pt x="9390" y="9709"/>
                  <a:pt x="9390" y="8570"/>
                </a:cubicBezTo>
                <a:cubicBezTo>
                  <a:pt x="9390" y="7268"/>
                  <a:pt x="8520" y="5564"/>
                  <a:pt x="7438" y="4336"/>
                </a:cubicBezTo>
                <a:close/>
                <a:moveTo>
                  <a:pt x="6299" y="5888"/>
                </a:moveTo>
                <a:lnTo>
                  <a:pt x="5549" y="7248"/>
                </a:lnTo>
                <a:cubicBezTo>
                  <a:pt x="5483" y="7368"/>
                  <a:pt x="5570" y="7515"/>
                  <a:pt x="5706" y="7515"/>
                </a:cubicBezTo>
                <a:lnTo>
                  <a:pt x="5919" y="7515"/>
                </a:lnTo>
                <a:cubicBezTo>
                  <a:pt x="6017" y="7515"/>
                  <a:pt x="6098" y="7595"/>
                  <a:pt x="6098" y="7695"/>
                </a:cubicBezTo>
                <a:lnTo>
                  <a:pt x="6098" y="7695"/>
                </a:lnTo>
                <a:cubicBezTo>
                  <a:pt x="6098" y="7793"/>
                  <a:pt x="6018" y="7874"/>
                  <a:pt x="5919" y="7874"/>
                </a:cubicBezTo>
                <a:lnTo>
                  <a:pt x="5384" y="7874"/>
                </a:lnTo>
                <a:cubicBezTo>
                  <a:pt x="5279" y="7874"/>
                  <a:pt x="5196" y="7958"/>
                  <a:pt x="5195" y="8062"/>
                </a:cubicBezTo>
                <a:lnTo>
                  <a:pt x="5195" y="8151"/>
                </a:lnTo>
                <a:cubicBezTo>
                  <a:pt x="5195" y="8249"/>
                  <a:pt x="5275" y="8331"/>
                  <a:pt x="5375" y="8331"/>
                </a:cubicBezTo>
                <a:lnTo>
                  <a:pt x="5919" y="8331"/>
                </a:lnTo>
                <a:cubicBezTo>
                  <a:pt x="6017" y="8331"/>
                  <a:pt x="6098" y="8411"/>
                  <a:pt x="6098" y="8510"/>
                </a:cubicBezTo>
                <a:cubicBezTo>
                  <a:pt x="6098" y="8610"/>
                  <a:pt x="6018" y="8690"/>
                  <a:pt x="5919" y="8690"/>
                </a:cubicBezTo>
                <a:lnTo>
                  <a:pt x="5375" y="8690"/>
                </a:lnTo>
                <a:cubicBezTo>
                  <a:pt x="5276" y="8690"/>
                  <a:pt x="5195" y="8770"/>
                  <a:pt x="5195" y="8870"/>
                </a:cubicBezTo>
                <a:lnTo>
                  <a:pt x="5195" y="9327"/>
                </a:lnTo>
                <a:cubicBezTo>
                  <a:pt x="5195" y="9426"/>
                  <a:pt x="5115" y="9507"/>
                  <a:pt x="5015" y="9507"/>
                </a:cubicBezTo>
                <a:lnTo>
                  <a:pt x="4690" y="9507"/>
                </a:lnTo>
                <a:cubicBezTo>
                  <a:pt x="4591" y="9507"/>
                  <a:pt x="4510" y="9427"/>
                  <a:pt x="4510" y="9327"/>
                </a:cubicBezTo>
                <a:lnTo>
                  <a:pt x="4510" y="8870"/>
                </a:lnTo>
                <a:cubicBezTo>
                  <a:pt x="4510" y="8771"/>
                  <a:pt x="4430" y="8690"/>
                  <a:pt x="4330" y="8690"/>
                </a:cubicBezTo>
                <a:lnTo>
                  <a:pt x="3792" y="8690"/>
                </a:lnTo>
                <a:cubicBezTo>
                  <a:pt x="3693" y="8690"/>
                  <a:pt x="3612" y="8610"/>
                  <a:pt x="3612" y="8510"/>
                </a:cubicBezTo>
                <a:cubicBezTo>
                  <a:pt x="3612" y="8411"/>
                  <a:pt x="3692" y="8331"/>
                  <a:pt x="3792" y="8331"/>
                </a:cubicBezTo>
                <a:lnTo>
                  <a:pt x="4329" y="8331"/>
                </a:lnTo>
                <a:cubicBezTo>
                  <a:pt x="4429" y="8331"/>
                  <a:pt x="4509" y="8251"/>
                  <a:pt x="4510" y="8151"/>
                </a:cubicBezTo>
                <a:lnTo>
                  <a:pt x="4511" y="8063"/>
                </a:lnTo>
                <a:cubicBezTo>
                  <a:pt x="4512" y="7959"/>
                  <a:pt x="4427" y="7873"/>
                  <a:pt x="4322" y="7873"/>
                </a:cubicBezTo>
                <a:lnTo>
                  <a:pt x="3792" y="7873"/>
                </a:lnTo>
                <a:cubicBezTo>
                  <a:pt x="3693" y="7873"/>
                  <a:pt x="3612" y="7793"/>
                  <a:pt x="3612" y="7694"/>
                </a:cubicBezTo>
                <a:lnTo>
                  <a:pt x="3612" y="7694"/>
                </a:lnTo>
                <a:cubicBezTo>
                  <a:pt x="3612" y="7595"/>
                  <a:pt x="3692" y="7514"/>
                  <a:pt x="3792" y="7514"/>
                </a:cubicBezTo>
                <a:lnTo>
                  <a:pt x="3999" y="7514"/>
                </a:lnTo>
                <a:cubicBezTo>
                  <a:pt x="4136" y="7514"/>
                  <a:pt x="4221" y="7367"/>
                  <a:pt x="4156" y="7247"/>
                </a:cubicBezTo>
                <a:lnTo>
                  <a:pt x="3406" y="5887"/>
                </a:lnTo>
                <a:cubicBezTo>
                  <a:pt x="3340" y="5767"/>
                  <a:pt x="3426" y="5620"/>
                  <a:pt x="3562" y="5620"/>
                </a:cubicBezTo>
                <a:lnTo>
                  <a:pt x="3920" y="5620"/>
                </a:lnTo>
                <a:cubicBezTo>
                  <a:pt x="3988" y="5620"/>
                  <a:pt x="4050" y="5659"/>
                  <a:pt x="4080" y="5719"/>
                </a:cubicBezTo>
                <a:lnTo>
                  <a:pt x="4691" y="6937"/>
                </a:lnTo>
                <a:cubicBezTo>
                  <a:pt x="4756" y="7069"/>
                  <a:pt x="4945" y="7069"/>
                  <a:pt x="5012" y="6937"/>
                </a:cubicBezTo>
                <a:lnTo>
                  <a:pt x="5623" y="5719"/>
                </a:lnTo>
                <a:cubicBezTo>
                  <a:pt x="5653" y="5659"/>
                  <a:pt x="5715" y="5620"/>
                  <a:pt x="5783" y="5620"/>
                </a:cubicBezTo>
                <a:lnTo>
                  <a:pt x="6140" y="5620"/>
                </a:lnTo>
                <a:cubicBezTo>
                  <a:pt x="6278" y="5622"/>
                  <a:pt x="6365" y="5768"/>
                  <a:pt x="6299" y="5888"/>
                </a:cubicBez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06070" tIns="53035" rIns="106070" bIns="53035" rtlCol="0" anchor="ctr"/>
          <a:lstStyle/>
          <a:p>
            <a:pPr algn="ctr"/>
            <a:endParaRPr lang="en-US" sz="2088" dirty="0"/>
          </a:p>
        </p:txBody>
      </p:sp>
      <p:sp>
        <p:nvSpPr>
          <p:cNvPr id="53" name="iconfont-1187-868110">
            <a:extLst>
              <a:ext uri="{FF2B5EF4-FFF2-40B4-BE49-F238E27FC236}">
                <a16:creationId xmlns:a16="http://schemas.microsoft.com/office/drawing/2014/main" id="{AB337514-5AFD-4701-BAA9-6F19CBCB796E}"/>
              </a:ext>
            </a:extLst>
          </p:cNvPr>
          <p:cNvSpPr/>
          <p:nvPr/>
        </p:nvSpPr>
        <p:spPr>
          <a:xfrm>
            <a:off x="6103020" y="3648760"/>
            <a:ext cx="565709" cy="545550"/>
          </a:xfrm>
          <a:custGeom>
            <a:avLst/>
            <a:gdLst>
              <a:gd name="T0" fmla="*/ 11888 w 12803"/>
              <a:gd name="T1" fmla="*/ 0 h 12345"/>
              <a:gd name="T2" fmla="*/ 914 w 12803"/>
              <a:gd name="T3" fmla="*/ 0 h 12345"/>
              <a:gd name="T4" fmla="*/ 0 w 12803"/>
              <a:gd name="T5" fmla="*/ 914 h 12345"/>
              <a:gd name="T6" fmla="*/ 0 w 12803"/>
              <a:gd name="T7" fmla="*/ 8687 h 12345"/>
              <a:gd name="T8" fmla="*/ 914 w 12803"/>
              <a:gd name="T9" fmla="*/ 9602 h 12345"/>
              <a:gd name="T10" fmla="*/ 3201 w 12803"/>
              <a:gd name="T11" fmla="*/ 9602 h 12345"/>
              <a:gd name="T12" fmla="*/ 3201 w 12803"/>
              <a:gd name="T13" fmla="*/ 12345 h 12345"/>
              <a:gd name="T14" fmla="*/ 8230 w 12803"/>
              <a:gd name="T15" fmla="*/ 9602 h 12345"/>
              <a:gd name="T16" fmla="*/ 11888 w 12803"/>
              <a:gd name="T17" fmla="*/ 9602 h 12345"/>
              <a:gd name="T18" fmla="*/ 12803 w 12803"/>
              <a:gd name="T19" fmla="*/ 8687 h 12345"/>
              <a:gd name="T20" fmla="*/ 12803 w 12803"/>
              <a:gd name="T21" fmla="*/ 914 h 12345"/>
              <a:gd name="T22" fmla="*/ 11888 w 12803"/>
              <a:gd name="T23" fmla="*/ 0 h 12345"/>
              <a:gd name="T24" fmla="*/ 3201 w 12803"/>
              <a:gd name="T25" fmla="*/ 5487 h 12345"/>
              <a:gd name="T26" fmla="*/ 2286 w 12803"/>
              <a:gd name="T27" fmla="*/ 4572 h 12345"/>
              <a:gd name="T28" fmla="*/ 3201 w 12803"/>
              <a:gd name="T29" fmla="*/ 3658 h 12345"/>
              <a:gd name="T30" fmla="*/ 4115 w 12803"/>
              <a:gd name="T31" fmla="*/ 4572 h 12345"/>
              <a:gd name="T32" fmla="*/ 3201 w 12803"/>
              <a:gd name="T33" fmla="*/ 5487 h 12345"/>
              <a:gd name="T34" fmla="*/ 6401 w 12803"/>
              <a:gd name="T35" fmla="*/ 5487 h 12345"/>
              <a:gd name="T36" fmla="*/ 5487 w 12803"/>
              <a:gd name="T37" fmla="*/ 4572 h 12345"/>
              <a:gd name="T38" fmla="*/ 6401 w 12803"/>
              <a:gd name="T39" fmla="*/ 3658 h 12345"/>
              <a:gd name="T40" fmla="*/ 7316 w 12803"/>
              <a:gd name="T41" fmla="*/ 4572 h 12345"/>
              <a:gd name="T42" fmla="*/ 6401 w 12803"/>
              <a:gd name="T43" fmla="*/ 5487 h 12345"/>
              <a:gd name="T44" fmla="*/ 9602 w 12803"/>
              <a:gd name="T45" fmla="*/ 5487 h 12345"/>
              <a:gd name="T46" fmla="*/ 8687 w 12803"/>
              <a:gd name="T47" fmla="*/ 4572 h 12345"/>
              <a:gd name="T48" fmla="*/ 9602 w 12803"/>
              <a:gd name="T49" fmla="*/ 3658 h 12345"/>
              <a:gd name="T50" fmla="*/ 10516 w 12803"/>
              <a:gd name="T51" fmla="*/ 4572 h 12345"/>
              <a:gd name="T52" fmla="*/ 9602 w 12803"/>
              <a:gd name="T53" fmla="*/ 5487 h 12345"/>
              <a:gd name="T54" fmla="*/ 9602 w 12803"/>
              <a:gd name="T55" fmla="*/ 5487 h 123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2803" h="12345">
                <a:moveTo>
                  <a:pt x="11888" y="0"/>
                </a:moveTo>
                <a:lnTo>
                  <a:pt x="914" y="0"/>
                </a:lnTo>
                <a:cubicBezTo>
                  <a:pt x="409" y="0"/>
                  <a:pt x="0" y="409"/>
                  <a:pt x="0" y="914"/>
                </a:cubicBezTo>
                <a:lnTo>
                  <a:pt x="0" y="8687"/>
                </a:lnTo>
                <a:cubicBezTo>
                  <a:pt x="0" y="9193"/>
                  <a:pt x="409" y="9602"/>
                  <a:pt x="914" y="9602"/>
                </a:cubicBezTo>
                <a:lnTo>
                  <a:pt x="3201" y="9602"/>
                </a:lnTo>
                <a:lnTo>
                  <a:pt x="3201" y="12345"/>
                </a:lnTo>
                <a:lnTo>
                  <a:pt x="8230" y="9602"/>
                </a:lnTo>
                <a:lnTo>
                  <a:pt x="11888" y="9602"/>
                </a:lnTo>
                <a:cubicBezTo>
                  <a:pt x="12393" y="9602"/>
                  <a:pt x="12803" y="9193"/>
                  <a:pt x="12803" y="8687"/>
                </a:cubicBezTo>
                <a:lnTo>
                  <a:pt x="12803" y="914"/>
                </a:lnTo>
                <a:cubicBezTo>
                  <a:pt x="12803" y="409"/>
                  <a:pt x="12393" y="0"/>
                  <a:pt x="11888" y="0"/>
                </a:cubicBezTo>
                <a:close/>
                <a:moveTo>
                  <a:pt x="3201" y="5487"/>
                </a:moveTo>
                <a:cubicBezTo>
                  <a:pt x="2695" y="5487"/>
                  <a:pt x="2286" y="5077"/>
                  <a:pt x="2286" y="4572"/>
                </a:cubicBezTo>
                <a:cubicBezTo>
                  <a:pt x="2286" y="4067"/>
                  <a:pt x="2695" y="3658"/>
                  <a:pt x="3201" y="3658"/>
                </a:cubicBezTo>
                <a:cubicBezTo>
                  <a:pt x="3706" y="3658"/>
                  <a:pt x="4115" y="4067"/>
                  <a:pt x="4115" y="4572"/>
                </a:cubicBezTo>
                <a:cubicBezTo>
                  <a:pt x="4115" y="5077"/>
                  <a:pt x="3706" y="5487"/>
                  <a:pt x="3201" y="5487"/>
                </a:cubicBezTo>
                <a:close/>
                <a:moveTo>
                  <a:pt x="6401" y="5487"/>
                </a:moveTo>
                <a:cubicBezTo>
                  <a:pt x="5896" y="5487"/>
                  <a:pt x="5487" y="5077"/>
                  <a:pt x="5487" y="4572"/>
                </a:cubicBezTo>
                <a:cubicBezTo>
                  <a:pt x="5487" y="4067"/>
                  <a:pt x="5896" y="3658"/>
                  <a:pt x="6401" y="3658"/>
                </a:cubicBezTo>
                <a:cubicBezTo>
                  <a:pt x="6907" y="3658"/>
                  <a:pt x="7316" y="4067"/>
                  <a:pt x="7316" y="4572"/>
                </a:cubicBezTo>
                <a:cubicBezTo>
                  <a:pt x="7316" y="5077"/>
                  <a:pt x="6907" y="5487"/>
                  <a:pt x="6401" y="5487"/>
                </a:cubicBezTo>
                <a:close/>
                <a:moveTo>
                  <a:pt x="9602" y="5487"/>
                </a:moveTo>
                <a:cubicBezTo>
                  <a:pt x="9097" y="5487"/>
                  <a:pt x="8687" y="5077"/>
                  <a:pt x="8687" y="4572"/>
                </a:cubicBezTo>
                <a:cubicBezTo>
                  <a:pt x="8687" y="4067"/>
                  <a:pt x="9097" y="3658"/>
                  <a:pt x="9602" y="3658"/>
                </a:cubicBezTo>
                <a:cubicBezTo>
                  <a:pt x="10107" y="3658"/>
                  <a:pt x="10516" y="4067"/>
                  <a:pt x="10516" y="4572"/>
                </a:cubicBezTo>
                <a:cubicBezTo>
                  <a:pt x="10516" y="5077"/>
                  <a:pt x="10107" y="5487"/>
                  <a:pt x="9602" y="5487"/>
                </a:cubicBezTo>
                <a:close/>
                <a:moveTo>
                  <a:pt x="9602" y="5487"/>
                </a:move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06070" tIns="53035" rIns="106070" bIns="53035" rtlCol="0" anchor="ctr"/>
          <a:lstStyle/>
          <a:p>
            <a:pPr algn="ctr"/>
            <a:endParaRPr lang="en-US" sz="2088" dirty="0"/>
          </a:p>
        </p:txBody>
      </p:sp>
      <p:sp>
        <p:nvSpPr>
          <p:cNvPr id="54" name="iconfont-1186-646597">
            <a:extLst>
              <a:ext uri="{FF2B5EF4-FFF2-40B4-BE49-F238E27FC236}">
                <a16:creationId xmlns:a16="http://schemas.microsoft.com/office/drawing/2014/main" id="{581CC0BA-1F45-4296-98A3-203AA0C194ED}"/>
              </a:ext>
            </a:extLst>
          </p:cNvPr>
          <p:cNvSpPr/>
          <p:nvPr/>
        </p:nvSpPr>
        <p:spPr>
          <a:xfrm>
            <a:off x="9496676" y="3677330"/>
            <a:ext cx="454200" cy="530709"/>
          </a:xfrm>
          <a:custGeom>
            <a:avLst/>
            <a:gdLst>
              <a:gd name="T0" fmla="*/ 8209 w 10908"/>
              <a:gd name="T1" fmla="*/ 2143 h 12744"/>
              <a:gd name="T2" fmla="*/ 8209 w 10908"/>
              <a:gd name="T3" fmla="*/ 1057 h 12744"/>
              <a:gd name="T4" fmla="*/ 7124 w 10908"/>
              <a:gd name="T5" fmla="*/ 0 h 12744"/>
              <a:gd name="T6" fmla="*/ 3840 w 10908"/>
              <a:gd name="T7" fmla="*/ 0 h 12744"/>
              <a:gd name="T8" fmla="*/ 2755 w 10908"/>
              <a:gd name="T9" fmla="*/ 1057 h 12744"/>
              <a:gd name="T10" fmla="*/ 2755 w 10908"/>
              <a:gd name="T11" fmla="*/ 2115 h 12744"/>
              <a:gd name="T12" fmla="*/ 0 w 10908"/>
              <a:gd name="T13" fmla="*/ 2115 h 12744"/>
              <a:gd name="T14" fmla="*/ 0 w 10908"/>
              <a:gd name="T15" fmla="*/ 3172 h 12744"/>
              <a:gd name="T16" fmla="*/ 1085 w 10908"/>
              <a:gd name="T17" fmla="*/ 3172 h 12744"/>
              <a:gd name="T18" fmla="*/ 1085 w 10908"/>
              <a:gd name="T19" fmla="*/ 11687 h 12744"/>
              <a:gd name="T20" fmla="*/ 2171 w 10908"/>
              <a:gd name="T21" fmla="*/ 12744 h 12744"/>
              <a:gd name="T22" fmla="*/ 8738 w 10908"/>
              <a:gd name="T23" fmla="*/ 12744 h 12744"/>
              <a:gd name="T24" fmla="*/ 9823 w 10908"/>
              <a:gd name="T25" fmla="*/ 11687 h 12744"/>
              <a:gd name="T26" fmla="*/ 9823 w 10908"/>
              <a:gd name="T27" fmla="*/ 3200 h 12744"/>
              <a:gd name="T28" fmla="*/ 10908 w 10908"/>
              <a:gd name="T29" fmla="*/ 3200 h 12744"/>
              <a:gd name="T30" fmla="*/ 10908 w 10908"/>
              <a:gd name="T31" fmla="*/ 2143 h 12744"/>
              <a:gd name="T32" fmla="*/ 8209 w 10908"/>
              <a:gd name="T33" fmla="*/ 2143 h 12744"/>
              <a:gd name="T34" fmla="*/ 4870 w 10908"/>
              <a:gd name="T35" fmla="*/ 10963 h 12744"/>
              <a:gd name="T36" fmla="*/ 3645 w 10908"/>
              <a:gd name="T37" fmla="*/ 10963 h 12744"/>
              <a:gd name="T38" fmla="*/ 3645 w 10908"/>
              <a:gd name="T39" fmla="*/ 4257 h 12744"/>
              <a:gd name="T40" fmla="*/ 4870 w 10908"/>
              <a:gd name="T41" fmla="*/ 4257 h 12744"/>
              <a:gd name="T42" fmla="*/ 4870 w 10908"/>
              <a:gd name="T43" fmla="*/ 10963 h 12744"/>
              <a:gd name="T44" fmla="*/ 7319 w 10908"/>
              <a:gd name="T45" fmla="*/ 10963 h 12744"/>
              <a:gd name="T46" fmla="*/ 6094 w 10908"/>
              <a:gd name="T47" fmla="*/ 10963 h 12744"/>
              <a:gd name="T48" fmla="*/ 6094 w 10908"/>
              <a:gd name="T49" fmla="*/ 4257 h 12744"/>
              <a:gd name="T50" fmla="*/ 7319 w 10908"/>
              <a:gd name="T51" fmla="*/ 4257 h 12744"/>
              <a:gd name="T52" fmla="*/ 7319 w 10908"/>
              <a:gd name="T53" fmla="*/ 10963 h 127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0908" h="12744">
                <a:moveTo>
                  <a:pt x="8209" y="2143"/>
                </a:moveTo>
                <a:lnTo>
                  <a:pt x="8209" y="1057"/>
                </a:lnTo>
                <a:cubicBezTo>
                  <a:pt x="8209" y="473"/>
                  <a:pt x="7708" y="0"/>
                  <a:pt x="7124" y="0"/>
                </a:cubicBezTo>
                <a:lnTo>
                  <a:pt x="3840" y="0"/>
                </a:lnTo>
                <a:cubicBezTo>
                  <a:pt x="3228" y="0"/>
                  <a:pt x="2755" y="473"/>
                  <a:pt x="2755" y="1057"/>
                </a:cubicBezTo>
                <a:lnTo>
                  <a:pt x="2755" y="2115"/>
                </a:lnTo>
                <a:lnTo>
                  <a:pt x="0" y="2115"/>
                </a:lnTo>
                <a:lnTo>
                  <a:pt x="0" y="3172"/>
                </a:lnTo>
                <a:lnTo>
                  <a:pt x="1085" y="3172"/>
                </a:lnTo>
                <a:lnTo>
                  <a:pt x="1085" y="11687"/>
                </a:lnTo>
                <a:cubicBezTo>
                  <a:pt x="1085" y="12271"/>
                  <a:pt x="1586" y="12744"/>
                  <a:pt x="2171" y="12744"/>
                </a:cubicBezTo>
                <a:lnTo>
                  <a:pt x="8738" y="12744"/>
                </a:lnTo>
                <a:cubicBezTo>
                  <a:pt x="9350" y="12744"/>
                  <a:pt x="9823" y="12271"/>
                  <a:pt x="9823" y="11687"/>
                </a:cubicBezTo>
                <a:lnTo>
                  <a:pt x="9823" y="3200"/>
                </a:lnTo>
                <a:lnTo>
                  <a:pt x="10908" y="3200"/>
                </a:lnTo>
                <a:lnTo>
                  <a:pt x="10908" y="2143"/>
                </a:lnTo>
                <a:lnTo>
                  <a:pt x="8209" y="2143"/>
                </a:lnTo>
                <a:close/>
                <a:moveTo>
                  <a:pt x="4870" y="10963"/>
                </a:moveTo>
                <a:lnTo>
                  <a:pt x="3645" y="10963"/>
                </a:lnTo>
                <a:lnTo>
                  <a:pt x="3645" y="4257"/>
                </a:lnTo>
                <a:lnTo>
                  <a:pt x="4870" y="4257"/>
                </a:lnTo>
                <a:lnTo>
                  <a:pt x="4870" y="10963"/>
                </a:lnTo>
                <a:close/>
                <a:moveTo>
                  <a:pt x="7319" y="10963"/>
                </a:moveTo>
                <a:lnTo>
                  <a:pt x="6094" y="10963"/>
                </a:lnTo>
                <a:lnTo>
                  <a:pt x="6094" y="4257"/>
                </a:lnTo>
                <a:lnTo>
                  <a:pt x="7319" y="4257"/>
                </a:lnTo>
                <a:lnTo>
                  <a:pt x="7319" y="10963"/>
                </a:ln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06070" tIns="53035" rIns="106070" bIns="53035" rtlCol="0" anchor="ctr"/>
          <a:lstStyle/>
          <a:p>
            <a:pPr algn="ctr"/>
            <a:endParaRPr lang="en-US" sz="2088" dirty="0"/>
          </a:p>
        </p:txBody>
      </p:sp>
    </p:spTree>
    <p:extLst>
      <p:ext uri="{BB962C8B-B14F-4D97-AF65-F5344CB8AC3E}">
        <p14:creationId xmlns:p14="http://schemas.microsoft.com/office/powerpoint/2010/main" val="738307195"/>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2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椭圆 1">
            <a:extLst>
              <a:ext uri="{FF2B5EF4-FFF2-40B4-BE49-F238E27FC236}">
                <a16:creationId xmlns:a16="http://schemas.microsoft.com/office/drawing/2014/main" id="{319C2F98-5E48-4216-8F05-7C758C3290E5}"/>
              </a:ext>
            </a:extLst>
          </p:cNvPr>
          <p:cNvSpPr/>
          <p:nvPr/>
        </p:nvSpPr>
        <p:spPr>
          <a:xfrm>
            <a:off x="2303583" y="2347546"/>
            <a:ext cx="1828802" cy="1828802"/>
          </a:xfrm>
          <a:prstGeom prst="ellipse">
            <a:avLst/>
          </a:prstGeom>
          <a:gradFill>
            <a:gsLst>
              <a:gs pos="0">
                <a:schemeClr val="accent1"/>
              </a:gs>
              <a:gs pos="100000">
                <a:schemeClr val="accent1">
                  <a:lumMod val="75000"/>
                </a:schemeClr>
              </a:gs>
            </a:gsLst>
            <a:lin ang="2700000" scaled="0"/>
          </a:gradFill>
          <a:ln w="25400" cap="flat" cmpd="sng" algn="ctr">
            <a:noFill/>
            <a:prstDash val="solid"/>
            <a:miter lim="800000"/>
          </a:ln>
          <a:effectLst>
            <a:outerShdw blurRad="254000" dist="88900" dir="2700000" algn="tl" rotWithShape="0">
              <a:schemeClr val="accent1">
                <a:lumMod val="50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 name="椭圆 4">
            <a:extLst>
              <a:ext uri="{FF2B5EF4-FFF2-40B4-BE49-F238E27FC236}">
                <a16:creationId xmlns:a16="http://schemas.microsoft.com/office/drawing/2014/main" id="{11AC45E3-647F-40DB-B784-4CD16104E129}"/>
              </a:ext>
            </a:extLst>
          </p:cNvPr>
          <p:cNvSpPr/>
          <p:nvPr/>
        </p:nvSpPr>
        <p:spPr>
          <a:xfrm>
            <a:off x="2127737" y="2171700"/>
            <a:ext cx="2180494" cy="2180494"/>
          </a:xfrm>
          <a:prstGeom prst="ellipse">
            <a:avLst/>
          </a:prstGeom>
          <a:noFill/>
          <a:ln w="25400" cap="flat" cmpd="sng" algn="ctr">
            <a:gradFill>
              <a:gsLst>
                <a:gs pos="0">
                  <a:schemeClr val="accent1"/>
                </a:gs>
                <a:gs pos="100000">
                  <a:schemeClr val="accent1">
                    <a:lumMod val="50000"/>
                  </a:schemeClr>
                </a:gs>
              </a:gsLst>
              <a:lin ang="2700000" scaled="0"/>
            </a:gra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 name="弧形 5">
            <a:extLst>
              <a:ext uri="{FF2B5EF4-FFF2-40B4-BE49-F238E27FC236}">
                <a16:creationId xmlns:a16="http://schemas.microsoft.com/office/drawing/2014/main" id="{52CF0248-7B78-465A-AE1F-C3EE4801AAC5}"/>
              </a:ext>
            </a:extLst>
          </p:cNvPr>
          <p:cNvSpPr/>
          <p:nvPr/>
        </p:nvSpPr>
        <p:spPr>
          <a:xfrm>
            <a:off x="2127737" y="2171700"/>
            <a:ext cx="2180494" cy="2180494"/>
          </a:xfrm>
          <a:prstGeom prst="arc">
            <a:avLst/>
          </a:prstGeom>
          <a:noFill/>
          <a:ln w="114300" cap="flat" cmpd="sng" algn="ctr">
            <a:gradFill>
              <a:gsLst>
                <a:gs pos="0">
                  <a:schemeClr val="accent1"/>
                </a:gs>
                <a:gs pos="100000">
                  <a:schemeClr val="accent1">
                    <a:lumMod val="50000"/>
                  </a:schemeClr>
                </a:gs>
              </a:gsLst>
              <a:lin ang="2700000" scaled="0"/>
            </a:gra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 name="椭圆 6">
            <a:extLst>
              <a:ext uri="{FF2B5EF4-FFF2-40B4-BE49-F238E27FC236}">
                <a16:creationId xmlns:a16="http://schemas.microsoft.com/office/drawing/2014/main" id="{CB8BED2F-69F9-43B7-9D43-B27C4C2489CF}"/>
              </a:ext>
            </a:extLst>
          </p:cNvPr>
          <p:cNvSpPr/>
          <p:nvPr/>
        </p:nvSpPr>
        <p:spPr>
          <a:xfrm>
            <a:off x="5460022" y="2347546"/>
            <a:ext cx="1828802" cy="1828802"/>
          </a:xfrm>
          <a:prstGeom prst="ellipse">
            <a:avLst/>
          </a:prstGeom>
          <a:gradFill>
            <a:gsLst>
              <a:gs pos="0">
                <a:schemeClr val="accent1"/>
              </a:gs>
              <a:gs pos="100000">
                <a:schemeClr val="accent1">
                  <a:lumMod val="75000"/>
                </a:schemeClr>
              </a:gs>
            </a:gsLst>
            <a:lin ang="2700000" scaled="0"/>
          </a:gradFill>
          <a:ln w="25400" cap="flat" cmpd="sng" algn="ctr">
            <a:noFill/>
            <a:prstDash val="solid"/>
            <a:miter lim="800000"/>
          </a:ln>
          <a:effectLst>
            <a:outerShdw blurRad="254000" dist="88900" dir="2700000" algn="tl" rotWithShape="0">
              <a:schemeClr val="accent1">
                <a:lumMod val="50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 name="椭圆 7">
            <a:extLst>
              <a:ext uri="{FF2B5EF4-FFF2-40B4-BE49-F238E27FC236}">
                <a16:creationId xmlns:a16="http://schemas.microsoft.com/office/drawing/2014/main" id="{0A4EAB21-25D3-4127-9147-DFAAA5D730B3}"/>
              </a:ext>
            </a:extLst>
          </p:cNvPr>
          <p:cNvSpPr/>
          <p:nvPr/>
        </p:nvSpPr>
        <p:spPr>
          <a:xfrm>
            <a:off x="5284176" y="2171700"/>
            <a:ext cx="2180494" cy="2180494"/>
          </a:xfrm>
          <a:prstGeom prst="ellipse">
            <a:avLst/>
          </a:prstGeom>
          <a:noFill/>
          <a:ln w="25400" cap="flat" cmpd="sng" algn="ctr">
            <a:gradFill>
              <a:gsLst>
                <a:gs pos="0">
                  <a:schemeClr val="accent1"/>
                </a:gs>
                <a:gs pos="100000">
                  <a:schemeClr val="accent1">
                    <a:lumMod val="50000"/>
                  </a:schemeClr>
                </a:gs>
              </a:gsLst>
              <a:lin ang="2700000" scaled="0"/>
            </a:gra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 name="弧形 8">
            <a:extLst>
              <a:ext uri="{FF2B5EF4-FFF2-40B4-BE49-F238E27FC236}">
                <a16:creationId xmlns:a16="http://schemas.microsoft.com/office/drawing/2014/main" id="{F6C97EDA-3BE4-4233-A2A4-FA24A9D79B19}"/>
              </a:ext>
            </a:extLst>
          </p:cNvPr>
          <p:cNvSpPr/>
          <p:nvPr/>
        </p:nvSpPr>
        <p:spPr>
          <a:xfrm>
            <a:off x="5284176" y="2171700"/>
            <a:ext cx="2180494" cy="2180494"/>
          </a:xfrm>
          <a:prstGeom prst="arc">
            <a:avLst>
              <a:gd name="adj1" fmla="val 10962296"/>
              <a:gd name="adj2" fmla="val 0"/>
            </a:avLst>
          </a:prstGeom>
          <a:noFill/>
          <a:ln w="114300" cap="flat" cmpd="sng" algn="ctr">
            <a:gradFill>
              <a:gsLst>
                <a:gs pos="0">
                  <a:schemeClr val="accent1"/>
                </a:gs>
                <a:gs pos="100000">
                  <a:schemeClr val="accent1">
                    <a:lumMod val="50000"/>
                  </a:schemeClr>
                </a:gs>
              </a:gsLst>
              <a:lin ang="2700000" scaled="0"/>
            </a:gra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椭圆 9">
            <a:extLst>
              <a:ext uri="{FF2B5EF4-FFF2-40B4-BE49-F238E27FC236}">
                <a16:creationId xmlns:a16="http://schemas.microsoft.com/office/drawing/2014/main" id="{22658E85-1262-4EC4-880C-E4F660101AE5}"/>
              </a:ext>
            </a:extLst>
          </p:cNvPr>
          <p:cNvSpPr/>
          <p:nvPr/>
        </p:nvSpPr>
        <p:spPr>
          <a:xfrm>
            <a:off x="8590084" y="2347546"/>
            <a:ext cx="1828802" cy="1828802"/>
          </a:xfrm>
          <a:prstGeom prst="ellipse">
            <a:avLst/>
          </a:prstGeom>
          <a:gradFill>
            <a:gsLst>
              <a:gs pos="0">
                <a:schemeClr val="accent1"/>
              </a:gs>
              <a:gs pos="100000">
                <a:schemeClr val="accent1">
                  <a:lumMod val="75000"/>
                </a:schemeClr>
              </a:gs>
            </a:gsLst>
            <a:lin ang="2700000" scaled="0"/>
          </a:gradFill>
          <a:ln w="25400" cap="flat" cmpd="sng" algn="ctr">
            <a:noFill/>
            <a:prstDash val="solid"/>
            <a:miter lim="800000"/>
          </a:ln>
          <a:effectLst>
            <a:outerShdw blurRad="254000" dist="88900" dir="2700000" algn="tl" rotWithShape="0">
              <a:schemeClr val="accent1">
                <a:lumMod val="50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 name="椭圆 10">
            <a:extLst>
              <a:ext uri="{FF2B5EF4-FFF2-40B4-BE49-F238E27FC236}">
                <a16:creationId xmlns:a16="http://schemas.microsoft.com/office/drawing/2014/main" id="{8567915B-9B85-4BA0-98CE-E6A5AE649DBB}"/>
              </a:ext>
            </a:extLst>
          </p:cNvPr>
          <p:cNvSpPr/>
          <p:nvPr/>
        </p:nvSpPr>
        <p:spPr>
          <a:xfrm>
            <a:off x="8414238" y="2171700"/>
            <a:ext cx="2180494" cy="2180494"/>
          </a:xfrm>
          <a:prstGeom prst="ellipse">
            <a:avLst/>
          </a:prstGeom>
          <a:noFill/>
          <a:ln w="25400" cap="flat" cmpd="sng" algn="ctr">
            <a:gradFill>
              <a:gsLst>
                <a:gs pos="0">
                  <a:schemeClr val="accent1"/>
                </a:gs>
                <a:gs pos="100000">
                  <a:schemeClr val="accent1">
                    <a:lumMod val="50000"/>
                  </a:schemeClr>
                </a:gs>
              </a:gsLst>
              <a:lin ang="2700000" scaled="0"/>
            </a:gra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 name="弧形 11">
            <a:extLst>
              <a:ext uri="{FF2B5EF4-FFF2-40B4-BE49-F238E27FC236}">
                <a16:creationId xmlns:a16="http://schemas.microsoft.com/office/drawing/2014/main" id="{F1EBD956-AEEF-49D1-8E73-55DA738DE1F9}"/>
              </a:ext>
            </a:extLst>
          </p:cNvPr>
          <p:cNvSpPr/>
          <p:nvPr/>
        </p:nvSpPr>
        <p:spPr>
          <a:xfrm>
            <a:off x="8414238" y="2171700"/>
            <a:ext cx="2180494" cy="2180494"/>
          </a:xfrm>
          <a:prstGeom prst="arc">
            <a:avLst>
              <a:gd name="adj1" fmla="val 10962296"/>
              <a:gd name="adj2" fmla="val 5494161"/>
            </a:avLst>
          </a:prstGeom>
          <a:noFill/>
          <a:ln w="114300" cap="flat" cmpd="sng" algn="ctr">
            <a:gradFill>
              <a:gsLst>
                <a:gs pos="0">
                  <a:schemeClr val="accent1"/>
                </a:gs>
                <a:gs pos="100000">
                  <a:schemeClr val="accent1">
                    <a:lumMod val="50000"/>
                  </a:schemeClr>
                </a:gs>
              </a:gsLst>
              <a:lin ang="2700000" scaled="0"/>
            </a:gra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 name="文本框 2">
            <a:extLst>
              <a:ext uri="{FF2B5EF4-FFF2-40B4-BE49-F238E27FC236}">
                <a16:creationId xmlns:a16="http://schemas.microsoft.com/office/drawing/2014/main" id="{06959DDA-7BAF-49E3-A97E-2FE59551EFF0}"/>
              </a:ext>
            </a:extLst>
          </p:cNvPr>
          <p:cNvSpPr txBox="1"/>
          <p:nvPr/>
        </p:nvSpPr>
        <p:spPr>
          <a:xfrm>
            <a:off x="2640903" y="3345180"/>
            <a:ext cx="1154162" cy="276999"/>
          </a:xfrm>
          <a:prstGeom prst="rect">
            <a:avLst/>
          </a:prstGeom>
          <a:noFill/>
        </p:spPr>
        <p:txBody>
          <a:bodyPr wrap="none" lIns="0" tIns="0" rIns="0" bIns="0" rtlCol="0" anchor="t">
            <a:spAutoFit/>
          </a:bodyPr>
          <a:lstStyle/>
          <a:p>
            <a:pPr algn="l"/>
            <a:r>
              <a:rPr lang="zh-CN" altLang="en-US" dirty="0">
                <a:solidFill>
                  <a:schemeClr val="bg1"/>
                </a:solidFill>
                <a:latin typeface="+mj-ea"/>
                <a:ea typeface="+mj-ea"/>
              </a:rPr>
              <a:t>关键词标题</a:t>
            </a:r>
          </a:p>
        </p:txBody>
      </p:sp>
      <p:sp>
        <p:nvSpPr>
          <p:cNvPr id="13" name="文本框 12">
            <a:extLst>
              <a:ext uri="{FF2B5EF4-FFF2-40B4-BE49-F238E27FC236}">
                <a16:creationId xmlns:a16="http://schemas.microsoft.com/office/drawing/2014/main" id="{04041A45-BEBD-4296-98DB-4906B3F6E2F3}"/>
              </a:ext>
            </a:extLst>
          </p:cNvPr>
          <p:cNvSpPr txBox="1"/>
          <p:nvPr/>
        </p:nvSpPr>
        <p:spPr>
          <a:xfrm>
            <a:off x="5797342" y="3345180"/>
            <a:ext cx="1154162" cy="276999"/>
          </a:xfrm>
          <a:prstGeom prst="rect">
            <a:avLst/>
          </a:prstGeom>
          <a:noFill/>
        </p:spPr>
        <p:txBody>
          <a:bodyPr wrap="none" lIns="0" tIns="0" rIns="0" bIns="0" rtlCol="0" anchor="t">
            <a:spAutoFit/>
          </a:bodyPr>
          <a:lstStyle/>
          <a:p>
            <a:pPr algn="l"/>
            <a:r>
              <a:rPr lang="zh-CN" altLang="en-US" dirty="0">
                <a:solidFill>
                  <a:schemeClr val="bg1"/>
                </a:solidFill>
                <a:latin typeface="+mj-ea"/>
                <a:ea typeface="+mj-ea"/>
              </a:rPr>
              <a:t>关键词标题</a:t>
            </a:r>
          </a:p>
        </p:txBody>
      </p:sp>
      <p:sp>
        <p:nvSpPr>
          <p:cNvPr id="14" name="文本框 13">
            <a:extLst>
              <a:ext uri="{FF2B5EF4-FFF2-40B4-BE49-F238E27FC236}">
                <a16:creationId xmlns:a16="http://schemas.microsoft.com/office/drawing/2014/main" id="{836922C8-5B08-4F84-BDAF-0AB5A299A3A9}"/>
              </a:ext>
            </a:extLst>
          </p:cNvPr>
          <p:cNvSpPr txBox="1"/>
          <p:nvPr/>
        </p:nvSpPr>
        <p:spPr>
          <a:xfrm>
            <a:off x="8927404" y="3345180"/>
            <a:ext cx="1154162" cy="276999"/>
          </a:xfrm>
          <a:prstGeom prst="rect">
            <a:avLst/>
          </a:prstGeom>
          <a:noFill/>
        </p:spPr>
        <p:txBody>
          <a:bodyPr wrap="none" lIns="0" tIns="0" rIns="0" bIns="0" rtlCol="0" anchor="t">
            <a:spAutoFit/>
          </a:bodyPr>
          <a:lstStyle/>
          <a:p>
            <a:pPr algn="l"/>
            <a:r>
              <a:rPr lang="zh-CN" altLang="en-US" dirty="0">
                <a:solidFill>
                  <a:schemeClr val="bg1"/>
                </a:solidFill>
                <a:latin typeface="+mj-ea"/>
                <a:ea typeface="+mj-ea"/>
              </a:rPr>
              <a:t>关键词标题</a:t>
            </a:r>
          </a:p>
        </p:txBody>
      </p:sp>
      <p:sp>
        <p:nvSpPr>
          <p:cNvPr id="15" name="iconfont-1179-866479">
            <a:extLst>
              <a:ext uri="{FF2B5EF4-FFF2-40B4-BE49-F238E27FC236}">
                <a16:creationId xmlns:a16="http://schemas.microsoft.com/office/drawing/2014/main" id="{1FDE17C2-0664-4F47-BE6F-A448994D5321}"/>
              </a:ext>
            </a:extLst>
          </p:cNvPr>
          <p:cNvSpPr/>
          <p:nvPr/>
        </p:nvSpPr>
        <p:spPr>
          <a:xfrm>
            <a:off x="2960598" y="2647572"/>
            <a:ext cx="514772" cy="609685"/>
          </a:xfrm>
          <a:custGeom>
            <a:avLst/>
            <a:gdLst>
              <a:gd name="T0" fmla="*/ 6573 w 9390"/>
              <a:gd name="T1" fmla="*/ 3437 h 11120"/>
              <a:gd name="T2" fmla="*/ 7967 w 9390"/>
              <a:gd name="T3" fmla="*/ 1730 h 11120"/>
              <a:gd name="T4" fmla="*/ 5311 w 9390"/>
              <a:gd name="T5" fmla="*/ 1140 h 11120"/>
              <a:gd name="T6" fmla="*/ 3129 w 9390"/>
              <a:gd name="T7" fmla="*/ 876 h 11120"/>
              <a:gd name="T8" fmla="*/ 2455 w 9390"/>
              <a:gd name="T9" fmla="*/ 3147 h 11120"/>
              <a:gd name="T10" fmla="*/ 7438 w 9390"/>
              <a:gd name="T11" fmla="*/ 4336 h 11120"/>
              <a:gd name="T12" fmla="*/ 2969 w 9390"/>
              <a:gd name="T13" fmla="*/ 4006 h 11120"/>
              <a:gd name="T14" fmla="*/ 0 w 9390"/>
              <a:gd name="T15" fmla="*/ 8570 h 11120"/>
              <a:gd name="T16" fmla="*/ 6860 w 9390"/>
              <a:gd name="T17" fmla="*/ 11120 h 11120"/>
              <a:gd name="T18" fmla="*/ 7438 w 9390"/>
              <a:gd name="T19" fmla="*/ 4336 h 11120"/>
              <a:gd name="T20" fmla="*/ 5549 w 9390"/>
              <a:gd name="T21" fmla="*/ 7248 h 11120"/>
              <a:gd name="T22" fmla="*/ 5919 w 9390"/>
              <a:gd name="T23" fmla="*/ 7515 h 11120"/>
              <a:gd name="T24" fmla="*/ 6098 w 9390"/>
              <a:gd name="T25" fmla="*/ 7695 h 11120"/>
              <a:gd name="T26" fmla="*/ 5384 w 9390"/>
              <a:gd name="T27" fmla="*/ 7874 h 11120"/>
              <a:gd name="T28" fmla="*/ 5195 w 9390"/>
              <a:gd name="T29" fmla="*/ 8151 h 11120"/>
              <a:gd name="T30" fmla="*/ 5919 w 9390"/>
              <a:gd name="T31" fmla="*/ 8331 h 11120"/>
              <a:gd name="T32" fmla="*/ 5919 w 9390"/>
              <a:gd name="T33" fmla="*/ 8690 h 11120"/>
              <a:gd name="T34" fmla="*/ 5195 w 9390"/>
              <a:gd name="T35" fmla="*/ 8870 h 11120"/>
              <a:gd name="T36" fmla="*/ 5015 w 9390"/>
              <a:gd name="T37" fmla="*/ 9507 h 11120"/>
              <a:gd name="T38" fmla="*/ 4510 w 9390"/>
              <a:gd name="T39" fmla="*/ 9327 h 11120"/>
              <a:gd name="T40" fmla="*/ 4330 w 9390"/>
              <a:gd name="T41" fmla="*/ 8690 h 11120"/>
              <a:gd name="T42" fmla="*/ 3612 w 9390"/>
              <a:gd name="T43" fmla="*/ 8510 h 11120"/>
              <a:gd name="T44" fmla="*/ 4329 w 9390"/>
              <a:gd name="T45" fmla="*/ 8331 h 11120"/>
              <a:gd name="T46" fmla="*/ 4511 w 9390"/>
              <a:gd name="T47" fmla="*/ 8063 h 11120"/>
              <a:gd name="T48" fmla="*/ 3792 w 9390"/>
              <a:gd name="T49" fmla="*/ 7873 h 11120"/>
              <a:gd name="T50" fmla="*/ 3612 w 9390"/>
              <a:gd name="T51" fmla="*/ 7694 h 11120"/>
              <a:gd name="T52" fmla="*/ 3999 w 9390"/>
              <a:gd name="T53" fmla="*/ 7514 h 11120"/>
              <a:gd name="T54" fmla="*/ 3406 w 9390"/>
              <a:gd name="T55" fmla="*/ 5887 h 11120"/>
              <a:gd name="T56" fmla="*/ 3920 w 9390"/>
              <a:gd name="T57" fmla="*/ 5620 h 11120"/>
              <a:gd name="T58" fmla="*/ 4691 w 9390"/>
              <a:gd name="T59" fmla="*/ 6937 h 11120"/>
              <a:gd name="T60" fmla="*/ 5623 w 9390"/>
              <a:gd name="T61" fmla="*/ 5719 h 11120"/>
              <a:gd name="T62" fmla="*/ 6140 w 9390"/>
              <a:gd name="T63" fmla="*/ 5620 h 1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390" h="11120">
                <a:moveTo>
                  <a:pt x="3078" y="3437"/>
                </a:moveTo>
                <a:lnTo>
                  <a:pt x="6573" y="3437"/>
                </a:lnTo>
                <a:cubicBezTo>
                  <a:pt x="6809" y="3437"/>
                  <a:pt x="7036" y="3338"/>
                  <a:pt x="7187" y="3157"/>
                </a:cubicBezTo>
                <a:cubicBezTo>
                  <a:pt x="7548" y="2728"/>
                  <a:pt x="7890" y="2202"/>
                  <a:pt x="7967" y="1730"/>
                </a:cubicBezTo>
                <a:cubicBezTo>
                  <a:pt x="8121" y="786"/>
                  <a:pt x="7717" y="307"/>
                  <a:pt x="6544" y="307"/>
                </a:cubicBezTo>
                <a:cubicBezTo>
                  <a:pt x="5370" y="307"/>
                  <a:pt x="5767" y="1077"/>
                  <a:pt x="5311" y="1140"/>
                </a:cubicBezTo>
                <a:cubicBezTo>
                  <a:pt x="4971" y="1187"/>
                  <a:pt x="4983" y="739"/>
                  <a:pt x="4449" y="308"/>
                </a:cubicBezTo>
                <a:cubicBezTo>
                  <a:pt x="4066" y="0"/>
                  <a:pt x="3636" y="871"/>
                  <a:pt x="3129" y="876"/>
                </a:cubicBezTo>
                <a:cubicBezTo>
                  <a:pt x="2538" y="884"/>
                  <a:pt x="1707" y="720"/>
                  <a:pt x="1707" y="1730"/>
                </a:cubicBezTo>
                <a:cubicBezTo>
                  <a:pt x="1707" y="2138"/>
                  <a:pt x="2065" y="2690"/>
                  <a:pt x="2455" y="3147"/>
                </a:cubicBezTo>
                <a:cubicBezTo>
                  <a:pt x="2612" y="3330"/>
                  <a:pt x="2838" y="3437"/>
                  <a:pt x="3078" y="3437"/>
                </a:cubicBezTo>
                <a:close/>
                <a:moveTo>
                  <a:pt x="7438" y="4336"/>
                </a:moveTo>
                <a:cubicBezTo>
                  <a:pt x="7252" y="4125"/>
                  <a:pt x="6981" y="4006"/>
                  <a:pt x="6699" y="4006"/>
                </a:cubicBezTo>
                <a:lnTo>
                  <a:pt x="2969" y="4006"/>
                </a:lnTo>
                <a:cubicBezTo>
                  <a:pt x="2700" y="4006"/>
                  <a:pt x="2440" y="4115"/>
                  <a:pt x="2253" y="4310"/>
                </a:cubicBezTo>
                <a:cubicBezTo>
                  <a:pt x="1081" y="5538"/>
                  <a:pt x="0" y="7291"/>
                  <a:pt x="0" y="8570"/>
                </a:cubicBezTo>
                <a:cubicBezTo>
                  <a:pt x="0" y="9697"/>
                  <a:pt x="1133" y="11120"/>
                  <a:pt x="2530" y="11120"/>
                </a:cubicBezTo>
                <a:lnTo>
                  <a:pt x="6860" y="11120"/>
                </a:lnTo>
                <a:cubicBezTo>
                  <a:pt x="8257" y="11120"/>
                  <a:pt x="9390" y="9709"/>
                  <a:pt x="9390" y="8570"/>
                </a:cubicBezTo>
                <a:cubicBezTo>
                  <a:pt x="9390" y="7268"/>
                  <a:pt x="8520" y="5564"/>
                  <a:pt x="7438" y="4336"/>
                </a:cubicBezTo>
                <a:close/>
                <a:moveTo>
                  <a:pt x="6299" y="5888"/>
                </a:moveTo>
                <a:lnTo>
                  <a:pt x="5549" y="7248"/>
                </a:lnTo>
                <a:cubicBezTo>
                  <a:pt x="5483" y="7368"/>
                  <a:pt x="5570" y="7515"/>
                  <a:pt x="5706" y="7515"/>
                </a:cubicBezTo>
                <a:lnTo>
                  <a:pt x="5919" y="7515"/>
                </a:lnTo>
                <a:cubicBezTo>
                  <a:pt x="6017" y="7515"/>
                  <a:pt x="6098" y="7595"/>
                  <a:pt x="6098" y="7695"/>
                </a:cubicBezTo>
                <a:lnTo>
                  <a:pt x="6098" y="7695"/>
                </a:lnTo>
                <a:cubicBezTo>
                  <a:pt x="6098" y="7793"/>
                  <a:pt x="6018" y="7874"/>
                  <a:pt x="5919" y="7874"/>
                </a:cubicBezTo>
                <a:lnTo>
                  <a:pt x="5384" y="7874"/>
                </a:lnTo>
                <a:cubicBezTo>
                  <a:pt x="5279" y="7874"/>
                  <a:pt x="5196" y="7958"/>
                  <a:pt x="5195" y="8062"/>
                </a:cubicBezTo>
                <a:lnTo>
                  <a:pt x="5195" y="8151"/>
                </a:lnTo>
                <a:cubicBezTo>
                  <a:pt x="5195" y="8249"/>
                  <a:pt x="5275" y="8331"/>
                  <a:pt x="5375" y="8331"/>
                </a:cubicBezTo>
                <a:lnTo>
                  <a:pt x="5919" y="8331"/>
                </a:lnTo>
                <a:cubicBezTo>
                  <a:pt x="6017" y="8331"/>
                  <a:pt x="6098" y="8411"/>
                  <a:pt x="6098" y="8510"/>
                </a:cubicBezTo>
                <a:cubicBezTo>
                  <a:pt x="6098" y="8610"/>
                  <a:pt x="6018" y="8690"/>
                  <a:pt x="5919" y="8690"/>
                </a:cubicBezTo>
                <a:lnTo>
                  <a:pt x="5375" y="8690"/>
                </a:lnTo>
                <a:cubicBezTo>
                  <a:pt x="5276" y="8690"/>
                  <a:pt x="5195" y="8770"/>
                  <a:pt x="5195" y="8870"/>
                </a:cubicBezTo>
                <a:lnTo>
                  <a:pt x="5195" y="9327"/>
                </a:lnTo>
                <a:cubicBezTo>
                  <a:pt x="5195" y="9426"/>
                  <a:pt x="5115" y="9507"/>
                  <a:pt x="5015" y="9507"/>
                </a:cubicBezTo>
                <a:lnTo>
                  <a:pt x="4690" y="9507"/>
                </a:lnTo>
                <a:cubicBezTo>
                  <a:pt x="4591" y="9507"/>
                  <a:pt x="4510" y="9427"/>
                  <a:pt x="4510" y="9327"/>
                </a:cubicBezTo>
                <a:lnTo>
                  <a:pt x="4510" y="8870"/>
                </a:lnTo>
                <a:cubicBezTo>
                  <a:pt x="4510" y="8771"/>
                  <a:pt x="4430" y="8690"/>
                  <a:pt x="4330" y="8690"/>
                </a:cubicBezTo>
                <a:lnTo>
                  <a:pt x="3792" y="8690"/>
                </a:lnTo>
                <a:cubicBezTo>
                  <a:pt x="3693" y="8690"/>
                  <a:pt x="3612" y="8610"/>
                  <a:pt x="3612" y="8510"/>
                </a:cubicBezTo>
                <a:cubicBezTo>
                  <a:pt x="3612" y="8411"/>
                  <a:pt x="3692" y="8331"/>
                  <a:pt x="3792" y="8331"/>
                </a:cubicBezTo>
                <a:lnTo>
                  <a:pt x="4329" y="8331"/>
                </a:lnTo>
                <a:cubicBezTo>
                  <a:pt x="4429" y="8331"/>
                  <a:pt x="4509" y="8251"/>
                  <a:pt x="4510" y="8151"/>
                </a:cubicBezTo>
                <a:lnTo>
                  <a:pt x="4511" y="8063"/>
                </a:lnTo>
                <a:cubicBezTo>
                  <a:pt x="4512" y="7959"/>
                  <a:pt x="4427" y="7873"/>
                  <a:pt x="4322" y="7873"/>
                </a:cubicBezTo>
                <a:lnTo>
                  <a:pt x="3792" y="7873"/>
                </a:lnTo>
                <a:cubicBezTo>
                  <a:pt x="3693" y="7873"/>
                  <a:pt x="3612" y="7793"/>
                  <a:pt x="3612" y="7694"/>
                </a:cubicBezTo>
                <a:lnTo>
                  <a:pt x="3612" y="7694"/>
                </a:lnTo>
                <a:cubicBezTo>
                  <a:pt x="3612" y="7595"/>
                  <a:pt x="3692" y="7514"/>
                  <a:pt x="3792" y="7514"/>
                </a:cubicBezTo>
                <a:lnTo>
                  <a:pt x="3999" y="7514"/>
                </a:lnTo>
                <a:cubicBezTo>
                  <a:pt x="4136" y="7514"/>
                  <a:pt x="4221" y="7367"/>
                  <a:pt x="4156" y="7247"/>
                </a:cubicBezTo>
                <a:lnTo>
                  <a:pt x="3406" y="5887"/>
                </a:lnTo>
                <a:cubicBezTo>
                  <a:pt x="3340" y="5767"/>
                  <a:pt x="3426" y="5620"/>
                  <a:pt x="3562" y="5620"/>
                </a:cubicBezTo>
                <a:lnTo>
                  <a:pt x="3920" y="5620"/>
                </a:lnTo>
                <a:cubicBezTo>
                  <a:pt x="3988" y="5620"/>
                  <a:pt x="4050" y="5659"/>
                  <a:pt x="4080" y="5719"/>
                </a:cubicBezTo>
                <a:lnTo>
                  <a:pt x="4691" y="6937"/>
                </a:lnTo>
                <a:cubicBezTo>
                  <a:pt x="4756" y="7069"/>
                  <a:pt x="4945" y="7069"/>
                  <a:pt x="5012" y="6937"/>
                </a:cubicBezTo>
                <a:lnTo>
                  <a:pt x="5623" y="5719"/>
                </a:lnTo>
                <a:cubicBezTo>
                  <a:pt x="5653" y="5659"/>
                  <a:pt x="5715" y="5620"/>
                  <a:pt x="5783" y="5620"/>
                </a:cubicBezTo>
                <a:lnTo>
                  <a:pt x="6140" y="5620"/>
                </a:lnTo>
                <a:cubicBezTo>
                  <a:pt x="6278" y="5622"/>
                  <a:pt x="6365" y="5768"/>
                  <a:pt x="6299" y="588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iconfont-1187-868110">
            <a:extLst>
              <a:ext uri="{FF2B5EF4-FFF2-40B4-BE49-F238E27FC236}">
                <a16:creationId xmlns:a16="http://schemas.microsoft.com/office/drawing/2014/main" id="{3AC537E0-3896-4BDD-8511-B3B7DD1535B6}"/>
              </a:ext>
            </a:extLst>
          </p:cNvPr>
          <p:cNvSpPr/>
          <p:nvPr/>
        </p:nvSpPr>
        <p:spPr>
          <a:xfrm>
            <a:off x="6130583" y="2699032"/>
            <a:ext cx="487680" cy="470302"/>
          </a:xfrm>
          <a:custGeom>
            <a:avLst/>
            <a:gdLst>
              <a:gd name="T0" fmla="*/ 11888 w 12803"/>
              <a:gd name="T1" fmla="*/ 0 h 12345"/>
              <a:gd name="T2" fmla="*/ 914 w 12803"/>
              <a:gd name="T3" fmla="*/ 0 h 12345"/>
              <a:gd name="T4" fmla="*/ 0 w 12803"/>
              <a:gd name="T5" fmla="*/ 914 h 12345"/>
              <a:gd name="T6" fmla="*/ 0 w 12803"/>
              <a:gd name="T7" fmla="*/ 8687 h 12345"/>
              <a:gd name="T8" fmla="*/ 914 w 12803"/>
              <a:gd name="T9" fmla="*/ 9602 h 12345"/>
              <a:gd name="T10" fmla="*/ 3201 w 12803"/>
              <a:gd name="T11" fmla="*/ 9602 h 12345"/>
              <a:gd name="T12" fmla="*/ 3201 w 12803"/>
              <a:gd name="T13" fmla="*/ 12345 h 12345"/>
              <a:gd name="T14" fmla="*/ 8230 w 12803"/>
              <a:gd name="T15" fmla="*/ 9602 h 12345"/>
              <a:gd name="T16" fmla="*/ 11888 w 12803"/>
              <a:gd name="T17" fmla="*/ 9602 h 12345"/>
              <a:gd name="T18" fmla="*/ 12803 w 12803"/>
              <a:gd name="T19" fmla="*/ 8687 h 12345"/>
              <a:gd name="T20" fmla="*/ 12803 w 12803"/>
              <a:gd name="T21" fmla="*/ 914 h 12345"/>
              <a:gd name="T22" fmla="*/ 11888 w 12803"/>
              <a:gd name="T23" fmla="*/ 0 h 12345"/>
              <a:gd name="T24" fmla="*/ 3201 w 12803"/>
              <a:gd name="T25" fmla="*/ 5487 h 12345"/>
              <a:gd name="T26" fmla="*/ 2286 w 12803"/>
              <a:gd name="T27" fmla="*/ 4572 h 12345"/>
              <a:gd name="T28" fmla="*/ 3201 w 12803"/>
              <a:gd name="T29" fmla="*/ 3658 h 12345"/>
              <a:gd name="T30" fmla="*/ 4115 w 12803"/>
              <a:gd name="T31" fmla="*/ 4572 h 12345"/>
              <a:gd name="T32" fmla="*/ 3201 w 12803"/>
              <a:gd name="T33" fmla="*/ 5487 h 12345"/>
              <a:gd name="T34" fmla="*/ 6401 w 12803"/>
              <a:gd name="T35" fmla="*/ 5487 h 12345"/>
              <a:gd name="T36" fmla="*/ 5487 w 12803"/>
              <a:gd name="T37" fmla="*/ 4572 h 12345"/>
              <a:gd name="T38" fmla="*/ 6401 w 12803"/>
              <a:gd name="T39" fmla="*/ 3658 h 12345"/>
              <a:gd name="T40" fmla="*/ 7316 w 12803"/>
              <a:gd name="T41" fmla="*/ 4572 h 12345"/>
              <a:gd name="T42" fmla="*/ 6401 w 12803"/>
              <a:gd name="T43" fmla="*/ 5487 h 12345"/>
              <a:gd name="T44" fmla="*/ 9602 w 12803"/>
              <a:gd name="T45" fmla="*/ 5487 h 12345"/>
              <a:gd name="T46" fmla="*/ 8687 w 12803"/>
              <a:gd name="T47" fmla="*/ 4572 h 12345"/>
              <a:gd name="T48" fmla="*/ 9602 w 12803"/>
              <a:gd name="T49" fmla="*/ 3658 h 12345"/>
              <a:gd name="T50" fmla="*/ 10516 w 12803"/>
              <a:gd name="T51" fmla="*/ 4572 h 12345"/>
              <a:gd name="T52" fmla="*/ 9602 w 12803"/>
              <a:gd name="T53" fmla="*/ 5487 h 12345"/>
              <a:gd name="T54" fmla="*/ 9602 w 12803"/>
              <a:gd name="T55" fmla="*/ 5487 h 123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2803" h="12345">
                <a:moveTo>
                  <a:pt x="11888" y="0"/>
                </a:moveTo>
                <a:lnTo>
                  <a:pt x="914" y="0"/>
                </a:lnTo>
                <a:cubicBezTo>
                  <a:pt x="409" y="0"/>
                  <a:pt x="0" y="409"/>
                  <a:pt x="0" y="914"/>
                </a:cubicBezTo>
                <a:lnTo>
                  <a:pt x="0" y="8687"/>
                </a:lnTo>
                <a:cubicBezTo>
                  <a:pt x="0" y="9193"/>
                  <a:pt x="409" y="9602"/>
                  <a:pt x="914" y="9602"/>
                </a:cubicBezTo>
                <a:lnTo>
                  <a:pt x="3201" y="9602"/>
                </a:lnTo>
                <a:lnTo>
                  <a:pt x="3201" y="12345"/>
                </a:lnTo>
                <a:lnTo>
                  <a:pt x="8230" y="9602"/>
                </a:lnTo>
                <a:lnTo>
                  <a:pt x="11888" y="9602"/>
                </a:lnTo>
                <a:cubicBezTo>
                  <a:pt x="12393" y="9602"/>
                  <a:pt x="12803" y="9193"/>
                  <a:pt x="12803" y="8687"/>
                </a:cubicBezTo>
                <a:lnTo>
                  <a:pt x="12803" y="914"/>
                </a:lnTo>
                <a:cubicBezTo>
                  <a:pt x="12803" y="409"/>
                  <a:pt x="12393" y="0"/>
                  <a:pt x="11888" y="0"/>
                </a:cubicBezTo>
                <a:close/>
                <a:moveTo>
                  <a:pt x="3201" y="5487"/>
                </a:moveTo>
                <a:cubicBezTo>
                  <a:pt x="2695" y="5487"/>
                  <a:pt x="2286" y="5077"/>
                  <a:pt x="2286" y="4572"/>
                </a:cubicBezTo>
                <a:cubicBezTo>
                  <a:pt x="2286" y="4067"/>
                  <a:pt x="2695" y="3658"/>
                  <a:pt x="3201" y="3658"/>
                </a:cubicBezTo>
                <a:cubicBezTo>
                  <a:pt x="3706" y="3658"/>
                  <a:pt x="4115" y="4067"/>
                  <a:pt x="4115" y="4572"/>
                </a:cubicBezTo>
                <a:cubicBezTo>
                  <a:pt x="4115" y="5077"/>
                  <a:pt x="3706" y="5487"/>
                  <a:pt x="3201" y="5487"/>
                </a:cubicBezTo>
                <a:close/>
                <a:moveTo>
                  <a:pt x="6401" y="5487"/>
                </a:moveTo>
                <a:cubicBezTo>
                  <a:pt x="5896" y="5487"/>
                  <a:pt x="5487" y="5077"/>
                  <a:pt x="5487" y="4572"/>
                </a:cubicBezTo>
                <a:cubicBezTo>
                  <a:pt x="5487" y="4067"/>
                  <a:pt x="5896" y="3658"/>
                  <a:pt x="6401" y="3658"/>
                </a:cubicBezTo>
                <a:cubicBezTo>
                  <a:pt x="6907" y="3658"/>
                  <a:pt x="7316" y="4067"/>
                  <a:pt x="7316" y="4572"/>
                </a:cubicBezTo>
                <a:cubicBezTo>
                  <a:pt x="7316" y="5077"/>
                  <a:pt x="6907" y="5487"/>
                  <a:pt x="6401" y="5487"/>
                </a:cubicBezTo>
                <a:close/>
                <a:moveTo>
                  <a:pt x="9602" y="5487"/>
                </a:moveTo>
                <a:cubicBezTo>
                  <a:pt x="9097" y="5487"/>
                  <a:pt x="8687" y="5077"/>
                  <a:pt x="8687" y="4572"/>
                </a:cubicBezTo>
                <a:cubicBezTo>
                  <a:pt x="8687" y="4067"/>
                  <a:pt x="9097" y="3658"/>
                  <a:pt x="9602" y="3658"/>
                </a:cubicBezTo>
                <a:cubicBezTo>
                  <a:pt x="10107" y="3658"/>
                  <a:pt x="10516" y="4067"/>
                  <a:pt x="10516" y="4572"/>
                </a:cubicBezTo>
                <a:cubicBezTo>
                  <a:pt x="10516" y="5077"/>
                  <a:pt x="10107" y="5487"/>
                  <a:pt x="9602" y="5487"/>
                </a:cubicBezTo>
                <a:close/>
                <a:moveTo>
                  <a:pt x="9602" y="5487"/>
                </a:move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iconfont-1186-646597">
            <a:extLst>
              <a:ext uri="{FF2B5EF4-FFF2-40B4-BE49-F238E27FC236}">
                <a16:creationId xmlns:a16="http://schemas.microsoft.com/office/drawing/2014/main" id="{C9F07FB7-6E00-45ED-8BE5-AA37D3F44AB7}"/>
              </a:ext>
            </a:extLst>
          </p:cNvPr>
          <p:cNvSpPr/>
          <p:nvPr/>
        </p:nvSpPr>
        <p:spPr>
          <a:xfrm>
            <a:off x="9308709" y="2723660"/>
            <a:ext cx="391552" cy="457508"/>
          </a:xfrm>
          <a:custGeom>
            <a:avLst/>
            <a:gdLst>
              <a:gd name="T0" fmla="*/ 8209 w 10908"/>
              <a:gd name="T1" fmla="*/ 2143 h 12744"/>
              <a:gd name="T2" fmla="*/ 8209 w 10908"/>
              <a:gd name="T3" fmla="*/ 1057 h 12744"/>
              <a:gd name="T4" fmla="*/ 7124 w 10908"/>
              <a:gd name="T5" fmla="*/ 0 h 12744"/>
              <a:gd name="T6" fmla="*/ 3840 w 10908"/>
              <a:gd name="T7" fmla="*/ 0 h 12744"/>
              <a:gd name="T8" fmla="*/ 2755 w 10908"/>
              <a:gd name="T9" fmla="*/ 1057 h 12744"/>
              <a:gd name="T10" fmla="*/ 2755 w 10908"/>
              <a:gd name="T11" fmla="*/ 2115 h 12744"/>
              <a:gd name="T12" fmla="*/ 0 w 10908"/>
              <a:gd name="T13" fmla="*/ 2115 h 12744"/>
              <a:gd name="T14" fmla="*/ 0 w 10908"/>
              <a:gd name="T15" fmla="*/ 3172 h 12744"/>
              <a:gd name="T16" fmla="*/ 1085 w 10908"/>
              <a:gd name="T17" fmla="*/ 3172 h 12744"/>
              <a:gd name="T18" fmla="*/ 1085 w 10908"/>
              <a:gd name="T19" fmla="*/ 11687 h 12744"/>
              <a:gd name="T20" fmla="*/ 2171 w 10908"/>
              <a:gd name="T21" fmla="*/ 12744 h 12744"/>
              <a:gd name="T22" fmla="*/ 8738 w 10908"/>
              <a:gd name="T23" fmla="*/ 12744 h 12744"/>
              <a:gd name="T24" fmla="*/ 9823 w 10908"/>
              <a:gd name="T25" fmla="*/ 11687 h 12744"/>
              <a:gd name="T26" fmla="*/ 9823 w 10908"/>
              <a:gd name="T27" fmla="*/ 3200 h 12744"/>
              <a:gd name="T28" fmla="*/ 10908 w 10908"/>
              <a:gd name="T29" fmla="*/ 3200 h 12744"/>
              <a:gd name="T30" fmla="*/ 10908 w 10908"/>
              <a:gd name="T31" fmla="*/ 2143 h 12744"/>
              <a:gd name="T32" fmla="*/ 8209 w 10908"/>
              <a:gd name="T33" fmla="*/ 2143 h 12744"/>
              <a:gd name="T34" fmla="*/ 4870 w 10908"/>
              <a:gd name="T35" fmla="*/ 10963 h 12744"/>
              <a:gd name="T36" fmla="*/ 3645 w 10908"/>
              <a:gd name="T37" fmla="*/ 10963 h 12744"/>
              <a:gd name="T38" fmla="*/ 3645 w 10908"/>
              <a:gd name="T39" fmla="*/ 4257 h 12744"/>
              <a:gd name="T40" fmla="*/ 4870 w 10908"/>
              <a:gd name="T41" fmla="*/ 4257 h 12744"/>
              <a:gd name="T42" fmla="*/ 4870 w 10908"/>
              <a:gd name="T43" fmla="*/ 10963 h 12744"/>
              <a:gd name="T44" fmla="*/ 7319 w 10908"/>
              <a:gd name="T45" fmla="*/ 10963 h 12744"/>
              <a:gd name="T46" fmla="*/ 6094 w 10908"/>
              <a:gd name="T47" fmla="*/ 10963 h 12744"/>
              <a:gd name="T48" fmla="*/ 6094 w 10908"/>
              <a:gd name="T49" fmla="*/ 4257 h 12744"/>
              <a:gd name="T50" fmla="*/ 7319 w 10908"/>
              <a:gd name="T51" fmla="*/ 4257 h 12744"/>
              <a:gd name="T52" fmla="*/ 7319 w 10908"/>
              <a:gd name="T53" fmla="*/ 10963 h 127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0908" h="12744">
                <a:moveTo>
                  <a:pt x="8209" y="2143"/>
                </a:moveTo>
                <a:lnTo>
                  <a:pt x="8209" y="1057"/>
                </a:lnTo>
                <a:cubicBezTo>
                  <a:pt x="8209" y="473"/>
                  <a:pt x="7708" y="0"/>
                  <a:pt x="7124" y="0"/>
                </a:cubicBezTo>
                <a:lnTo>
                  <a:pt x="3840" y="0"/>
                </a:lnTo>
                <a:cubicBezTo>
                  <a:pt x="3228" y="0"/>
                  <a:pt x="2755" y="473"/>
                  <a:pt x="2755" y="1057"/>
                </a:cubicBezTo>
                <a:lnTo>
                  <a:pt x="2755" y="2115"/>
                </a:lnTo>
                <a:lnTo>
                  <a:pt x="0" y="2115"/>
                </a:lnTo>
                <a:lnTo>
                  <a:pt x="0" y="3172"/>
                </a:lnTo>
                <a:lnTo>
                  <a:pt x="1085" y="3172"/>
                </a:lnTo>
                <a:lnTo>
                  <a:pt x="1085" y="11687"/>
                </a:lnTo>
                <a:cubicBezTo>
                  <a:pt x="1085" y="12271"/>
                  <a:pt x="1586" y="12744"/>
                  <a:pt x="2171" y="12744"/>
                </a:cubicBezTo>
                <a:lnTo>
                  <a:pt x="8738" y="12744"/>
                </a:lnTo>
                <a:cubicBezTo>
                  <a:pt x="9350" y="12744"/>
                  <a:pt x="9823" y="12271"/>
                  <a:pt x="9823" y="11687"/>
                </a:cubicBezTo>
                <a:lnTo>
                  <a:pt x="9823" y="3200"/>
                </a:lnTo>
                <a:lnTo>
                  <a:pt x="10908" y="3200"/>
                </a:lnTo>
                <a:lnTo>
                  <a:pt x="10908" y="2143"/>
                </a:lnTo>
                <a:lnTo>
                  <a:pt x="8209" y="2143"/>
                </a:lnTo>
                <a:close/>
                <a:moveTo>
                  <a:pt x="4870" y="10963"/>
                </a:moveTo>
                <a:lnTo>
                  <a:pt x="3645" y="10963"/>
                </a:lnTo>
                <a:lnTo>
                  <a:pt x="3645" y="4257"/>
                </a:lnTo>
                <a:lnTo>
                  <a:pt x="4870" y="4257"/>
                </a:lnTo>
                <a:lnTo>
                  <a:pt x="4870" y="10963"/>
                </a:lnTo>
                <a:close/>
                <a:moveTo>
                  <a:pt x="7319" y="10963"/>
                </a:moveTo>
                <a:lnTo>
                  <a:pt x="6094" y="10963"/>
                </a:lnTo>
                <a:lnTo>
                  <a:pt x="6094" y="4257"/>
                </a:lnTo>
                <a:lnTo>
                  <a:pt x="7319" y="4257"/>
                </a:lnTo>
                <a:lnTo>
                  <a:pt x="7319" y="1096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custDataLst>
      <p:tags r:id="rId2"/>
    </p:custDataLst>
    <p:extLst>
      <p:ext uri="{BB962C8B-B14F-4D97-AF65-F5344CB8AC3E}">
        <p14:creationId xmlns:p14="http://schemas.microsoft.com/office/powerpoint/2010/main" val="4225017194"/>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2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任意多边形: 形状 11">
            <a:extLst>
              <a:ext uri="{FF2B5EF4-FFF2-40B4-BE49-F238E27FC236}">
                <a16:creationId xmlns:a16="http://schemas.microsoft.com/office/drawing/2014/main" id="{E488B194-942B-45A9-ABA8-5F54CCB93247}"/>
              </a:ext>
            </a:extLst>
          </p:cNvPr>
          <p:cNvSpPr/>
          <p:nvPr/>
        </p:nvSpPr>
        <p:spPr>
          <a:xfrm flipH="1" flipV="1">
            <a:off x="2436146" y="3216925"/>
            <a:ext cx="2039417" cy="1020724"/>
          </a:xfrm>
          <a:custGeom>
            <a:avLst/>
            <a:gdLst>
              <a:gd name="connsiteX0" fmla="*/ 1021763 w 2039417"/>
              <a:gd name="connsiteY0" fmla="*/ 53 h 1020724"/>
              <a:gd name="connsiteX1" fmla="*/ 2036170 w 2039417"/>
              <a:gd name="connsiteY1" fmla="*/ 932893 h 1020724"/>
              <a:gd name="connsiteX2" fmla="*/ 2039417 w 2039417"/>
              <a:gd name="connsiteY2" fmla="*/ 1010550 h 1020724"/>
              <a:gd name="connsiteX3" fmla="*/ 1772661 w 2039417"/>
              <a:gd name="connsiteY3" fmla="*/ 748428 h 1020724"/>
              <a:gd name="connsiteX4" fmla="*/ 1719716 w 2039417"/>
              <a:gd name="connsiteY4" fmla="*/ 837539 h 1020724"/>
              <a:gd name="connsiteX5" fmla="*/ 1692938 w 2039417"/>
              <a:gd name="connsiteY5" fmla="*/ 748482 h 1020724"/>
              <a:gd name="connsiteX6" fmla="*/ 1018823 w 2039417"/>
              <a:gd name="connsiteY6" fmla="*/ 292348 h 1020724"/>
              <a:gd name="connsiteX7" fmla="*/ 274585 w 2039417"/>
              <a:gd name="connsiteY7" fmla="*/ 1020724 h 1020724"/>
              <a:gd name="connsiteX8" fmla="*/ 162507 w 2039417"/>
              <a:gd name="connsiteY8" fmla="*/ 1019437 h 1020724"/>
              <a:gd name="connsiteX9" fmla="*/ 0 w 2039417"/>
              <a:gd name="connsiteY9" fmla="*/ 859752 h 1020724"/>
              <a:gd name="connsiteX10" fmla="*/ 5544 w 2039417"/>
              <a:gd name="connsiteY10" fmla="*/ 810401 h 1020724"/>
              <a:gd name="connsiteX11" fmla="*/ 1021763 w 2039417"/>
              <a:gd name="connsiteY11" fmla="*/ 53 h 10207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39417" h="1020724">
                <a:moveTo>
                  <a:pt x="1021763" y="53"/>
                </a:moveTo>
                <a:cubicBezTo>
                  <a:pt x="1554076" y="5405"/>
                  <a:pt x="1988037" y="413983"/>
                  <a:pt x="2036170" y="932893"/>
                </a:cubicBezTo>
                <a:lnTo>
                  <a:pt x="2039417" y="1010550"/>
                </a:lnTo>
                <a:lnTo>
                  <a:pt x="1772661" y="748428"/>
                </a:lnTo>
                <a:lnTo>
                  <a:pt x="1719716" y="837539"/>
                </a:lnTo>
                <a:lnTo>
                  <a:pt x="1692938" y="748482"/>
                </a:lnTo>
                <a:cubicBezTo>
                  <a:pt x="1583556" y="483248"/>
                  <a:pt x="1323724" y="295413"/>
                  <a:pt x="1018823" y="292348"/>
                </a:cubicBezTo>
                <a:cubicBezTo>
                  <a:pt x="612290" y="288261"/>
                  <a:pt x="279255" y="614197"/>
                  <a:pt x="274585" y="1020724"/>
                </a:cubicBezTo>
                <a:lnTo>
                  <a:pt x="162507" y="1019437"/>
                </a:lnTo>
                <a:lnTo>
                  <a:pt x="0" y="859752"/>
                </a:lnTo>
                <a:lnTo>
                  <a:pt x="5544" y="810401"/>
                </a:lnTo>
                <a:cubicBezTo>
                  <a:pt x="106709" y="342970"/>
                  <a:pt x="524938" y="-4942"/>
                  <a:pt x="1021763" y="53"/>
                </a:cubicBezTo>
                <a:close/>
              </a:path>
            </a:pathLst>
          </a:custGeom>
          <a:solidFill>
            <a:schemeClr val="bg1">
              <a:lumMod val="85000"/>
            </a:schemeClr>
          </a:solidFill>
          <a:ln w="254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p>
        </p:txBody>
      </p:sp>
      <p:sp>
        <p:nvSpPr>
          <p:cNvPr id="11" name="任意多边形: 形状 10">
            <a:extLst>
              <a:ext uri="{FF2B5EF4-FFF2-40B4-BE49-F238E27FC236}">
                <a16:creationId xmlns:a16="http://schemas.microsoft.com/office/drawing/2014/main" id="{B67F07CA-1188-449B-A388-CA68D75BFE74}"/>
              </a:ext>
            </a:extLst>
          </p:cNvPr>
          <p:cNvSpPr/>
          <p:nvPr/>
        </p:nvSpPr>
        <p:spPr>
          <a:xfrm>
            <a:off x="2436146" y="2179271"/>
            <a:ext cx="2039417" cy="1020724"/>
          </a:xfrm>
          <a:custGeom>
            <a:avLst/>
            <a:gdLst>
              <a:gd name="connsiteX0" fmla="*/ 1021763 w 2039417"/>
              <a:gd name="connsiteY0" fmla="*/ 53 h 1020724"/>
              <a:gd name="connsiteX1" fmla="*/ 2036170 w 2039417"/>
              <a:gd name="connsiteY1" fmla="*/ 932893 h 1020724"/>
              <a:gd name="connsiteX2" fmla="*/ 2039417 w 2039417"/>
              <a:gd name="connsiteY2" fmla="*/ 1010550 h 1020724"/>
              <a:gd name="connsiteX3" fmla="*/ 1772661 w 2039417"/>
              <a:gd name="connsiteY3" fmla="*/ 748428 h 1020724"/>
              <a:gd name="connsiteX4" fmla="*/ 1719716 w 2039417"/>
              <a:gd name="connsiteY4" fmla="*/ 837539 h 1020724"/>
              <a:gd name="connsiteX5" fmla="*/ 1692938 w 2039417"/>
              <a:gd name="connsiteY5" fmla="*/ 748482 h 1020724"/>
              <a:gd name="connsiteX6" fmla="*/ 1018823 w 2039417"/>
              <a:gd name="connsiteY6" fmla="*/ 292348 h 1020724"/>
              <a:gd name="connsiteX7" fmla="*/ 274585 w 2039417"/>
              <a:gd name="connsiteY7" fmla="*/ 1020724 h 1020724"/>
              <a:gd name="connsiteX8" fmla="*/ 162507 w 2039417"/>
              <a:gd name="connsiteY8" fmla="*/ 1019437 h 1020724"/>
              <a:gd name="connsiteX9" fmla="*/ 0 w 2039417"/>
              <a:gd name="connsiteY9" fmla="*/ 859752 h 1020724"/>
              <a:gd name="connsiteX10" fmla="*/ 5544 w 2039417"/>
              <a:gd name="connsiteY10" fmla="*/ 810401 h 1020724"/>
              <a:gd name="connsiteX11" fmla="*/ 1021763 w 2039417"/>
              <a:gd name="connsiteY11" fmla="*/ 53 h 10207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39417" h="1020724">
                <a:moveTo>
                  <a:pt x="1021763" y="53"/>
                </a:moveTo>
                <a:cubicBezTo>
                  <a:pt x="1554076" y="5405"/>
                  <a:pt x="1988037" y="413983"/>
                  <a:pt x="2036170" y="932893"/>
                </a:cubicBezTo>
                <a:lnTo>
                  <a:pt x="2039417" y="1010550"/>
                </a:lnTo>
                <a:lnTo>
                  <a:pt x="1772661" y="748428"/>
                </a:lnTo>
                <a:lnTo>
                  <a:pt x="1719716" y="837539"/>
                </a:lnTo>
                <a:lnTo>
                  <a:pt x="1692938" y="748482"/>
                </a:lnTo>
                <a:cubicBezTo>
                  <a:pt x="1583556" y="483248"/>
                  <a:pt x="1323724" y="295413"/>
                  <a:pt x="1018823" y="292348"/>
                </a:cubicBezTo>
                <a:cubicBezTo>
                  <a:pt x="612290" y="288261"/>
                  <a:pt x="279255" y="614197"/>
                  <a:pt x="274585" y="1020724"/>
                </a:cubicBezTo>
                <a:lnTo>
                  <a:pt x="162507" y="1019437"/>
                </a:lnTo>
                <a:lnTo>
                  <a:pt x="0" y="859752"/>
                </a:lnTo>
                <a:lnTo>
                  <a:pt x="5544" y="810401"/>
                </a:lnTo>
                <a:cubicBezTo>
                  <a:pt x="106709" y="342970"/>
                  <a:pt x="524938" y="-4942"/>
                  <a:pt x="1021763" y="53"/>
                </a:cubicBezTo>
                <a:close/>
              </a:path>
            </a:pathLst>
          </a:custGeom>
          <a:solidFill>
            <a:schemeClr val="bg1">
              <a:lumMod val="85000"/>
            </a:schemeClr>
          </a:solidFill>
          <a:ln w="254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p>
        </p:txBody>
      </p:sp>
      <p:sp>
        <p:nvSpPr>
          <p:cNvPr id="3" name="椭圆 2">
            <a:extLst>
              <a:ext uri="{FF2B5EF4-FFF2-40B4-BE49-F238E27FC236}">
                <a16:creationId xmlns:a16="http://schemas.microsoft.com/office/drawing/2014/main" id="{0A4588E2-C32D-40B7-9EF7-C58BACE050E0}"/>
              </a:ext>
            </a:extLst>
          </p:cNvPr>
          <p:cNvSpPr/>
          <p:nvPr/>
        </p:nvSpPr>
        <p:spPr>
          <a:xfrm>
            <a:off x="2533160" y="2294059"/>
            <a:ext cx="1828802" cy="1828802"/>
          </a:xfrm>
          <a:prstGeom prst="ellipse">
            <a:avLst/>
          </a:prstGeom>
          <a:gradFill>
            <a:gsLst>
              <a:gs pos="0">
                <a:schemeClr val="accent1"/>
              </a:gs>
              <a:gs pos="100000">
                <a:schemeClr val="accent1">
                  <a:lumMod val="75000"/>
                </a:schemeClr>
              </a:gs>
            </a:gsLst>
            <a:lin ang="2700000" scaled="0"/>
          </a:gradFill>
          <a:ln w="25400" cap="flat" cmpd="sng" algn="ctr">
            <a:noFill/>
            <a:prstDash val="solid"/>
            <a:miter lim="800000"/>
          </a:ln>
          <a:effectLst>
            <a:outerShdw blurRad="254000" dist="88900" dir="2700000" algn="tl" rotWithShape="0">
              <a:schemeClr val="accent1">
                <a:lumMod val="50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3" name="弧形 12">
            <a:extLst>
              <a:ext uri="{FF2B5EF4-FFF2-40B4-BE49-F238E27FC236}">
                <a16:creationId xmlns:a16="http://schemas.microsoft.com/office/drawing/2014/main" id="{638C90A6-0897-4720-B093-F3FD863144A8}"/>
              </a:ext>
            </a:extLst>
          </p:cNvPr>
          <p:cNvSpPr/>
          <p:nvPr/>
        </p:nvSpPr>
        <p:spPr>
          <a:xfrm>
            <a:off x="2272322" y="2033221"/>
            <a:ext cx="2350478" cy="2350478"/>
          </a:xfrm>
          <a:prstGeom prst="arc">
            <a:avLst>
              <a:gd name="adj1" fmla="val 18335805"/>
              <a:gd name="adj2" fmla="val 7787436"/>
            </a:avLst>
          </a:prstGeom>
          <a:noFill/>
          <a:ln w="25400" cap="flat" cmpd="sng" algn="ctr">
            <a:solidFill>
              <a:schemeClr val="accent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4" name="弧形 13">
            <a:extLst>
              <a:ext uri="{FF2B5EF4-FFF2-40B4-BE49-F238E27FC236}">
                <a16:creationId xmlns:a16="http://schemas.microsoft.com/office/drawing/2014/main" id="{1CBEAD2E-6D71-4744-93CC-89850FAFCC3C}"/>
              </a:ext>
            </a:extLst>
          </p:cNvPr>
          <p:cNvSpPr/>
          <p:nvPr/>
        </p:nvSpPr>
        <p:spPr>
          <a:xfrm>
            <a:off x="2272322" y="2033221"/>
            <a:ext cx="2350478" cy="2350478"/>
          </a:xfrm>
          <a:prstGeom prst="arc">
            <a:avLst>
              <a:gd name="adj1" fmla="val 8197226"/>
              <a:gd name="adj2" fmla="val 17756139"/>
            </a:avLst>
          </a:prstGeom>
          <a:noFill/>
          <a:ln w="28575" cap="rnd" cmpd="sng" algn="ctr">
            <a:solidFill>
              <a:schemeClr val="accent1"/>
            </a:solidFill>
            <a:prstDash val="sysDot"/>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 name="任意多边形: 形状 14">
            <a:extLst>
              <a:ext uri="{FF2B5EF4-FFF2-40B4-BE49-F238E27FC236}">
                <a16:creationId xmlns:a16="http://schemas.microsoft.com/office/drawing/2014/main" id="{B9899AC7-581E-4301-A6F2-688CB18FBC9B}"/>
              </a:ext>
            </a:extLst>
          </p:cNvPr>
          <p:cNvSpPr/>
          <p:nvPr/>
        </p:nvSpPr>
        <p:spPr>
          <a:xfrm flipH="1" flipV="1">
            <a:off x="5312696" y="3216925"/>
            <a:ext cx="2039417" cy="1020724"/>
          </a:xfrm>
          <a:custGeom>
            <a:avLst/>
            <a:gdLst>
              <a:gd name="connsiteX0" fmla="*/ 1021763 w 2039417"/>
              <a:gd name="connsiteY0" fmla="*/ 53 h 1020724"/>
              <a:gd name="connsiteX1" fmla="*/ 2036170 w 2039417"/>
              <a:gd name="connsiteY1" fmla="*/ 932893 h 1020724"/>
              <a:gd name="connsiteX2" fmla="*/ 2039417 w 2039417"/>
              <a:gd name="connsiteY2" fmla="*/ 1010550 h 1020724"/>
              <a:gd name="connsiteX3" fmla="*/ 1772661 w 2039417"/>
              <a:gd name="connsiteY3" fmla="*/ 748428 h 1020724"/>
              <a:gd name="connsiteX4" fmla="*/ 1719716 w 2039417"/>
              <a:gd name="connsiteY4" fmla="*/ 837539 h 1020724"/>
              <a:gd name="connsiteX5" fmla="*/ 1692938 w 2039417"/>
              <a:gd name="connsiteY5" fmla="*/ 748482 h 1020724"/>
              <a:gd name="connsiteX6" fmla="*/ 1018823 w 2039417"/>
              <a:gd name="connsiteY6" fmla="*/ 292348 h 1020724"/>
              <a:gd name="connsiteX7" fmla="*/ 274585 w 2039417"/>
              <a:gd name="connsiteY7" fmla="*/ 1020724 h 1020724"/>
              <a:gd name="connsiteX8" fmla="*/ 162507 w 2039417"/>
              <a:gd name="connsiteY8" fmla="*/ 1019437 h 1020724"/>
              <a:gd name="connsiteX9" fmla="*/ 0 w 2039417"/>
              <a:gd name="connsiteY9" fmla="*/ 859752 h 1020724"/>
              <a:gd name="connsiteX10" fmla="*/ 5544 w 2039417"/>
              <a:gd name="connsiteY10" fmla="*/ 810401 h 1020724"/>
              <a:gd name="connsiteX11" fmla="*/ 1021763 w 2039417"/>
              <a:gd name="connsiteY11" fmla="*/ 53 h 10207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39417" h="1020724">
                <a:moveTo>
                  <a:pt x="1021763" y="53"/>
                </a:moveTo>
                <a:cubicBezTo>
                  <a:pt x="1554076" y="5405"/>
                  <a:pt x="1988037" y="413983"/>
                  <a:pt x="2036170" y="932893"/>
                </a:cubicBezTo>
                <a:lnTo>
                  <a:pt x="2039417" y="1010550"/>
                </a:lnTo>
                <a:lnTo>
                  <a:pt x="1772661" y="748428"/>
                </a:lnTo>
                <a:lnTo>
                  <a:pt x="1719716" y="837539"/>
                </a:lnTo>
                <a:lnTo>
                  <a:pt x="1692938" y="748482"/>
                </a:lnTo>
                <a:cubicBezTo>
                  <a:pt x="1583556" y="483248"/>
                  <a:pt x="1323724" y="295413"/>
                  <a:pt x="1018823" y="292348"/>
                </a:cubicBezTo>
                <a:cubicBezTo>
                  <a:pt x="612290" y="288261"/>
                  <a:pt x="279255" y="614197"/>
                  <a:pt x="274585" y="1020724"/>
                </a:cubicBezTo>
                <a:lnTo>
                  <a:pt x="162507" y="1019437"/>
                </a:lnTo>
                <a:lnTo>
                  <a:pt x="0" y="859752"/>
                </a:lnTo>
                <a:lnTo>
                  <a:pt x="5544" y="810401"/>
                </a:lnTo>
                <a:cubicBezTo>
                  <a:pt x="106709" y="342970"/>
                  <a:pt x="524938" y="-4942"/>
                  <a:pt x="1021763" y="53"/>
                </a:cubicBezTo>
                <a:close/>
              </a:path>
            </a:pathLst>
          </a:custGeom>
          <a:solidFill>
            <a:schemeClr val="bg1">
              <a:lumMod val="85000"/>
            </a:schemeClr>
          </a:solidFill>
          <a:ln w="254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p>
        </p:txBody>
      </p:sp>
      <p:sp>
        <p:nvSpPr>
          <p:cNvPr id="16" name="任意多边形: 形状 15">
            <a:extLst>
              <a:ext uri="{FF2B5EF4-FFF2-40B4-BE49-F238E27FC236}">
                <a16:creationId xmlns:a16="http://schemas.microsoft.com/office/drawing/2014/main" id="{55154627-4B6C-45A5-8914-8297AD41429C}"/>
              </a:ext>
            </a:extLst>
          </p:cNvPr>
          <p:cNvSpPr/>
          <p:nvPr/>
        </p:nvSpPr>
        <p:spPr>
          <a:xfrm>
            <a:off x="5312696" y="2179271"/>
            <a:ext cx="2039417" cy="1020724"/>
          </a:xfrm>
          <a:custGeom>
            <a:avLst/>
            <a:gdLst>
              <a:gd name="connsiteX0" fmla="*/ 1021763 w 2039417"/>
              <a:gd name="connsiteY0" fmla="*/ 53 h 1020724"/>
              <a:gd name="connsiteX1" fmla="*/ 2036170 w 2039417"/>
              <a:gd name="connsiteY1" fmla="*/ 932893 h 1020724"/>
              <a:gd name="connsiteX2" fmla="*/ 2039417 w 2039417"/>
              <a:gd name="connsiteY2" fmla="*/ 1010550 h 1020724"/>
              <a:gd name="connsiteX3" fmla="*/ 1772661 w 2039417"/>
              <a:gd name="connsiteY3" fmla="*/ 748428 h 1020724"/>
              <a:gd name="connsiteX4" fmla="*/ 1719716 w 2039417"/>
              <a:gd name="connsiteY4" fmla="*/ 837539 h 1020724"/>
              <a:gd name="connsiteX5" fmla="*/ 1692938 w 2039417"/>
              <a:gd name="connsiteY5" fmla="*/ 748482 h 1020724"/>
              <a:gd name="connsiteX6" fmla="*/ 1018823 w 2039417"/>
              <a:gd name="connsiteY6" fmla="*/ 292348 h 1020724"/>
              <a:gd name="connsiteX7" fmla="*/ 274585 w 2039417"/>
              <a:gd name="connsiteY7" fmla="*/ 1020724 h 1020724"/>
              <a:gd name="connsiteX8" fmla="*/ 162507 w 2039417"/>
              <a:gd name="connsiteY8" fmla="*/ 1019437 h 1020724"/>
              <a:gd name="connsiteX9" fmla="*/ 0 w 2039417"/>
              <a:gd name="connsiteY9" fmla="*/ 859752 h 1020724"/>
              <a:gd name="connsiteX10" fmla="*/ 5544 w 2039417"/>
              <a:gd name="connsiteY10" fmla="*/ 810401 h 1020724"/>
              <a:gd name="connsiteX11" fmla="*/ 1021763 w 2039417"/>
              <a:gd name="connsiteY11" fmla="*/ 53 h 10207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39417" h="1020724">
                <a:moveTo>
                  <a:pt x="1021763" y="53"/>
                </a:moveTo>
                <a:cubicBezTo>
                  <a:pt x="1554076" y="5405"/>
                  <a:pt x="1988037" y="413983"/>
                  <a:pt x="2036170" y="932893"/>
                </a:cubicBezTo>
                <a:lnTo>
                  <a:pt x="2039417" y="1010550"/>
                </a:lnTo>
                <a:lnTo>
                  <a:pt x="1772661" y="748428"/>
                </a:lnTo>
                <a:lnTo>
                  <a:pt x="1719716" y="837539"/>
                </a:lnTo>
                <a:lnTo>
                  <a:pt x="1692938" y="748482"/>
                </a:lnTo>
                <a:cubicBezTo>
                  <a:pt x="1583556" y="483248"/>
                  <a:pt x="1323724" y="295413"/>
                  <a:pt x="1018823" y="292348"/>
                </a:cubicBezTo>
                <a:cubicBezTo>
                  <a:pt x="612290" y="288261"/>
                  <a:pt x="279255" y="614197"/>
                  <a:pt x="274585" y="1020724"/>
                </a:cubicBezTo>
                <a:lnTo>
                  <a:pt x="162507" y="1019437"/>
                </a:lnTo>
                <a:lnTo>
                  <a:pt x="0" y="859752"/>
                </a:lnTo>
                <a:lnTo>
                  <a:pt x="5544" y="810401"/>
                </a:lnTo>
                <a:cubicBezTo>
                  <a:pt x="106709" y="342970"/>
                  <a:pt x="524938" y="-4942"/>
                  <a:pt x="1021763" y="53"/>
                </a:cubicBezTo>
                <a:close/>
              </a:path>
            </a:pathLst>
          </a:custGeom>
          <a:solidFill>
            <a:schemeClr val="bg1">
              <a:lumMod val="85000"/>
            </a:schemeClr>
          </a:solidFill>
          <a:ln w="254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p>
        </p:txBody>
      </p:sp>
      <p:sp>
        <p:nvSpPr>
          <p:cNvPr id="17" name="椭圆 16">
            <a:extLst>
              <a:ext uri="{FF2B5EF4-FFF2-40B4-BE49-F238E27FC236}">
                <a16:creationId xmlns:a16="http://schemas.microsoft.com/office/drawing/2014/main" id="{83BB80B3-206E-4DC6-B30A-C2294C9505FC}"/>
              </a:ext>
            </a:extLst>
          </p:cNvPr>
          <p:cNvSpPr/>
          <p:nvPr/>
        </p:nvSpPr>
        <p:spPr>
          <a:xfrm>
            <a:off x="5409710" y="2294059"/>
            <a:ext cx="1828802" cy="1828802"/>
          </a:xfrm>
          <a:prstGeom prst="ellipse">
            <a:avLst/>
          </a:prstGeom>
          <a:gradFill>
            <a:gsLst>
              <a:gs pos="0">
                <a:schemeClr val="accent1"/>
              </a:gs>
              <a:gs pos="100000">
                <a:schemeClr val="accent1">
                  <a:lumMod val="75000"/>
                </a:schemeClr>
              </a:gs>
            </a:gsLst>
            <a:lin ang="2700000" scaled="0"/>
          </a:gradFill>
          <a:ln w="25400" cap="flat" cmpd="sng" algn="ctr">
            <a:noFill/>
            <a:prstDash val="solid"/>
            <a:miter lim="800000"/>
          </a:ln>
          <a:effectLst>
            <a:outerShdw blurRad="254000" dist="88900" dir="2700000" algn="tl" rotWithShape="0">
              <a:schemeClr val="accent1">
                <a:lumMod val="50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8" name="弧形 17">
            <a:extLst>
              <a:ext uri="{FF2B5EF4-FFF2-40B4-BE49-F238E27FC236}">
                <a16:creationId xmlns:a16="http://schemas.microsoft.com/office/drawing/2014/main" id="{CB5FC5D9-5C6A-4BDA-AD58-2779EF43F645}"/>
              </a:ext>
            </a:extLst>
          </p:cNvPr>
          <p:cNvSpPr/>
          <p:nvPr/>
        </p:nvSpPr>
        <p:spPr>
          <a:xfrm>
            <a:off x="5148872" y="2033221"/>
            <a:ext cx="2350478" cy="2350478"/>
          </a:xfrm>
          <a:prstGeom prst="arc">
            <a:avLst>
              <a:gd name="adj1" fmla="val 21017"/>
              <a:gd name="adj2" fmla="val 10823162"/>
            </a:avLst>
          </a:prstGeom>
          <a:noFill/>
          <a:ln w="25400" cap="flat" cmpd="sng" algn="ctr">
            <a:solidFill>
              <a:schemeClr val="accent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9" name="弧形 18">
            <a:extLst>
              <a:ext uri="{FF2B5EF4-FFF2-40B4-BE49-F238E27FC236}">
                <a16:creationId xmlns:a16="http://schemas.microsoft.com/office/drawing/2014/main" id="{FCD14FCE-DCBB-4DF5-A434-2E858F734245}"/>
              </a:ext>
            </a:extLst>
          </p:cNvPr>
          <p:cNvSpPr/>
          <p:nvPr/>
        </p:nvSpPr>
        <p:spPr>
          <a:xfrm>
            <a:off x="5148872" y="2033221"/>
            <a:ext cx="2350478" cy="2350478"/>
          </a:xfrm>
          <a:prstGeom prst="arc">
            <a:avLst>
              <a:gd name="adj1" fmla="val 11148512"/>
              <a:gd name="adj2" fmla="val 21331089"/>
            </a:avLst>
          </a:prstGeom>
          <a:noFill/>
          <a:ln w="28575" cap="rnd" cmpd="sng" algn="ctr">
            <a:solidFill>
              <a:schemeClr val="accent1"/>
            </a:solidFill>
            <a:prstDash val="sysDot"/>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21" name="直接连接符 20">
            <a:extLst>
              <a:ext uri="{FF2B5EF4-FFF2-40B4-BE49-F238E27FC236}">
                <a16:creationId xmlns:a16="http://schemas.microsoft.com/office/drawing/2014/main" id="{5668B754-C91F-4315-8D28-344609F7F99E}"/>
              </a:ext>
            </a:extLst>
          </p:cNvPr>
          <p:cNvCxnSpPr>
            <a:cxnSpLocks/>
          </p:cNvCxnSpPr>
          <p:nvPr/>
        </p:nvCxnSpPr>
        <p:spPr>
          <a:xfrm flipH="1">
            <a:off x="4622774" y="3209897"/>
            <a:ext cx="526098" cy="7918"/>
          </a:xfrm>
          <a:prstGeom prst="line">
            <a:avLst/>
          </a:prstGeom>
          <a:noFill/>
          <a:ln w="25400" cap="flat" cmpd="sng" algn="ctr">
            <a:solidFill>
              <a:schemeClr val="accent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cxnSp>
      <p:sp>
        <p:nvSpPr>
          <p:cNvPr id="31" name="椭圆 30">
            <a:extLst>
              <a:ext uri="{FF2B5EF4-FFF2-40B4-BE49-F238E27FC236}">
                <a16:creationId xmlns:a16="http://schemas.microsoft.com/office/drawing/2014/main" id="{67EBE400-5743-44C5-8E06-A4198DC1A446}"/>
              </a:ext>
            </a:extLst>
          </p:cNvPr>
          <p:cNvSpPr/>
          <p:nvPr/>
        </p:nvSpPr>
        <p:spPr>
          <a:xfrm>
            <a:off x="5094111" y="3157056"/>
            <a:ext cx="113601" cy="113601"/>
          </a:xfrm>
          <a:prstGeom prst="ellipse">
            <a:avLst/>
          </a:prstGeom>
          <a:solidFill>
            <a:schemeClr val="bg1"/>
          </a:solidFill>
          <a:ln w="25400" cap="flat" cmpd="sng" algn="ctr">
            <a:solidFill>
              <a:schemeClr val="accent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2" name="椭圆 31">
            <a:extLst>
              <a:ext uri="{FF2B5EF4-FFF2-40B4-BE49-F238E27FC236}">
                <a16:creationId xmlns:a16="http://schemas.microsoft.com/office/drawing/2014/main" id="{DAC6C504-5992-4D6A-88DD-77C3696D3E27}"/>
              </a:ext>
            </a:extLst>
          </p:cNvPr>
          <p:cNvSpPr/>
          <p:nvPr/>
        </p:nvSpPr>
        <p:spPr>
          <a:xfrm>
            <a:off x="4573411" y="3157056"/>
            <a:ext cx="113601" cy="113601"/>
          </a:xfrm>
          <a:prstGeom prst="ellipse">
            <a:avLst/>
          </a:prstGeom>
          <a:solidFill>
            <a:schemeClr val="bg1"/>
          </a:solidFill>
          <a:ln w="25400" cap="flat" cmpd="sng" algn="ctr">
            <a:solidFill>
              <a:schemeClr val="accent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3" name="椭圆 32">
            <a:extLst>
              <a:ext uri="{FF2B5EF4-FFF2-40B4-BE49-F238E27FC236}">
                <a16:creationId xmlns:a16="http://schemas.microsoft.com/office/drawing/2014/main" id="{37F838B3-29EA-4C7B-A428-823B26C40725}"/>
              </a:ext>
            </a:extLst>
          </p:cNvPr>
          <p:cNvSpPr>
            <a:spLocks noChangeAspect="1"/>
          </p:cNvSpPr>
          <p:nvPr/>
        </p:nvSpPr>
        <p:spPr>
          <a:xfrm>
            <a:off x="4612211" y="3195856"/>
            <a:ext cx="36000" cy="36000"/>
          </a:xfrm>
          <a:prstGeom prst="ellipse">
            <a:avLst/>
          </a:prstGeom>
          <a:solidFill>
            <a:schemeClr val="accent1"/>
          </a:solidFill>
          <a:ln w="254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4" name="椭圆 33">
            <a:extLst>
              <a:ext uri="{FF2B5EF4-FFF2-40B4-BE49-F238E27FC236}">
                <a16:creationId xmlns:a16="http://schemas.microsoft.com/office/drawing/2014/main" id="{7C03B3FF-C79A-43CA-85C5-58844FB39317}"/>
              </a:ext>
            </a:extLst>
          </p:cNvPr>
          <p:cNvSpPr>
            <a:spLocks noChangeAspect="1"/>
          </p:cNvSpPr>
          <p:nvPr/>
        </p:nvSpPr>
        <p:spPr>
          <a:xfrm>
            <a:off x="5126561" y="3195856"/>
            <a:ext cx="36000" cy="36000"/>
          </a:xfrm>
          <a:prstGeom prst="ellipse">
            <a:avLst/>
          </a:prstGeom>
          <a:solidFill>
            <a:schemeClr val="accent1"/>
          </a:solidFill>
          <a:ln w="254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5" name="任意多边形: 形状 34">
            <a:extLst>
              <a:ext uri="{FF2B5EF4-FFF2-40B4-BE49-F238E27FC236}">
                <a16:creationId xmlns:a16="http://schemas.microsoft.com/office/drawing/2014/main" id="{A7388AA8-DB70-4328-9452-2AF537E4F536}"/>
              </a:ext>
            </a:extLst>
          </p:cNvPr>
          <p:cNvSpPr/>
          <p:nvPr/>
        </p:nvSpPr>
        <p:spPr>
          <a:xfrm flipH="1" flipV="1">
            <a:off x="8190199" y="3216925"/>
            <a:ext cx="2039417" cy="1020724"/>
          </a:xfrm>
          <a:custGeom>
            <a:avLst/>
            <a:gdLst>
              <a:gd name="connsiteX0" fmla="*/ 1021763 w 2039417"/>
              <a:gd name="connsiteY0" fmla="*/ 53 h 1020724"/>
              <a:gd name="connsiteX1" fmla="*/ 2036170 w 2039417"/>
              <a:gd name="connsiteY1" fmla="*/ 932893 h 1020724"/>
              <a:gd name="connsiteX2" fmla="*/ 2039417 w 2039417"/>
              <a:gd name="connsiteY2" fmla="*/ 1010550 h 1020724"/>
              <a:gd name="connsiteX3" fmla="*/ 1772661 w 2039417"/>
              <a:gd name="connsiteY3" fmla="*/ 748428 h 1020724"/>
              <a:gd name="connsiteX4" fmla="*/ 1719716 w 2039417"/>
              <a:gd name="connsiteY4" fmla="*/ 837539 h 1020724"/>
              <a:gd name="connsiteX5" fmla="*/ 1692938 w 2039417"/>
              <a:gd name="connsiteY5" fmla="*/ 748482 h 1020724"/>
              <a:gd name="connsiteX6" fmla="*/ 1018823 w 2039417"/>
              <a:gd name="connsiteY6" fmla="*/ 292348 h 1020724"/>
              <a:gd name="connsiteX7" fmla="*/ 274585 w 2039417"/>
              <a:gd name="connsiteY7" fmla="*/ 1020724 h 1020724"/>
              <a:gd name="connsiteX8" fmla="*/ 162507 w 2039417"/>
              <a:gd name="connsiteY8" fmla="*/ 1019437 h 1020724"/>
              <a:gd name="connsiteX9" fmla="*/ 0 w 2039417"/>
              <a:gd name="connsiteY9" fmla="*/ 859752 h 1020724"/>
              <a:gd name="connsiteX10" fmla="*/ 5544 w 2039417"/>
              <a:gd name="connsiteY10" fmla="*/ 810401 h 1020724"/>
              <a:gd name="connsiteX11" fmla="*/ 1021763 w 2039417"/>
              <a:gd name="connsiteY11" fmla="*/ 53 h 10207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39417" h="1020724">
                <a:moveTo>
                  <a:pt x="1021763" y="53"/>
                </a:moveTo>
                <a:cubicBezTo>
                  <a:pt x="1554076" y="5405"/>
                  <a:pt x="1988037" y="413983"/>
                  <a:pt x="2036170" y="932893"/>
                </a:cubicBezTo>
                <a:lnTo>
                  <a:pt x="2039417" y="1010550"/>
                </a:lnTo>
                <a:lnTo>
                  <a:pt x="1772661" y="748428"/>
                </a:lnTo>
                <a:lnTo>
                  <a:pt x="1719716" y="837539"/>
                </a:lnTo>
                <a:lnTo>
                  <a:pt x="1692938" y="748482"/>
                </a:lnTo>
                <a:cubicBezTo>
                  <a:pt x="1583556" y="483248"/>
                  <a:pt x="1323724" y="295413"/>
                  <a:pt x="1018823" y="292348"/>
                </a:cubicBezTo>
                <a:cubicBezTo>
                  <a:pt x="612290" y="288261"/>
                  <a:pt x="279255" y="614197"/>
                  <a:pt x="274585" y="1020724"/>
                </a:cubicBezTo>
                <a:lnTo>
                  <a:pt x="162507" y="1019437"/>
                </a:lnTo>
                <a:lnTo>
                  <a:pt x="0" y="859752"/>
                </a:lnTo>
                <a:lnTo>
                  <a:pt x="5544" y="810401"/>
                </a:lnTo>
                <a:cubicBezTo>
                  <a:pt x="106709" y="342970"/>
                  <a:pt x="524938" y="-4942"/>
                  <a:pt x="1021763" y="53"/>
                </a:cubicBezTo>
                <a:close/>
              </a:path>
            </a:pathLst>
          </a:custGeom>
          <a:solidFill>
            <a:schemeClr val="bg1">
              <a:lumMod val="85000"/>
            </a:schemeClr>
          </a:solidFill>
          <a:ln w="254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p>
        </p:txBody>
      </p:sp>
      <p:sp>
        <p:nvSpPr>
          <p:cNvPr id="36" name="任意多边形: 形状 35">
            <a:extLst>
              <a:ext uri="{FF2B5EF4-FFF2-40B4-BE49-F238E27FC236}">
                <a16:creationId xmlns:a16="http://schemas.microsoft.com/office/drawing/2014/main" id="{407A5EE5-AC56-44FC-99DB-06DCCDBEFB49}"/>
              </a:ext>
            </a:extLst>
          </p:cNvPr>
          <p:cNvSpPr/>
          <p:nvPr/>
        </p:nvSpPr>
        <p:spPr>
          <a:xfrm>
            <a:off x="8190199" y="2179271"/>
            <a:ext cx="2039417" cy="1020724"/>
          </a:xfrm>
          <a:custGeom>
            <a:avLst/>
            <a:gdLst>
              <a:gd name="connsiteX0" fmla="*/ 1021763 w 2039417"/>
              <a:gd name="connsiteY0" fmla="*/ 53 h 1020724"/>
              <a:gd name="connsiteX1" fmla="*/ 2036170 w 2039417"/>
              <a:gd name="connsiteY1" fmla="*/ 932893 h 1020724"/>
              <a:gd name="connsiteX2" fmla="*/ 2039417 w 2039417"/>
              <a:gd name="connsiteY2" fmla="*/ 1010550 h 1020724"/>
              <a:gd name="connsiteX3" fmla="*/ 1772661 w 2039417"/>
              <a:gd name="connsiteY3" fmla="*/ 748428 h 1020724"/>
              <a:gd name="connsiteX4" fmla="*/ 1719716 w 2039417"/>
              <a:gd name="connsiteY4" fmla="*/ 837539 h 1020724"/>
              <a:gd name="connsiteX5" fmla="*/ 1692938 w 2039417"/>
              <a:gd name="connsiteY5" fmla="*/ 748482 h 1020724"/>
              <a:gd name="connsiteX6" fmla="*/ 1018823 w 2039417"/>
              <a:gd name="connsiteY6" fmla="*/ 292348 h 1020724"/>
              <a:gd name="connsiteX7" fmla="*/ 274585 w 2039417"/>
              <a:gd name="connsiteY7" fmla="*/ 1020724 h 1020724"/>
              <a:gd name="connsiteX8" fmla="*/ 162507 w 2039417"/>
              <a:gd name="connsiteY8" fmla="*/ 1019437 h 1020724"/>
              <a:gd name="connsiteX9" fmla="*/ 0 w 2039417"/>
              <a:gd name="connsiteY9" fmla="*/ 859752 h 1020724"/>
              <a:gd name="connsiteX10" fmla="*/ 5544 w 2039417"/>
              <a:gd name="connsiteY10" fmla="*/ 810401 h 1020724"/>
              <a:gd name="connsiteX11" fmla="*/ 1021763 w 2039417"/>
              <a:gd name="connsiteY11" fmla="*/ 53 h 10207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39417" h="1020724">
                <a:moveTo>
                  <a:pt x="1021763" y="53"/>
                </a:moveTo>
                <a:cubicBezTo>
                  <a:pt x="1554076" y="5405"/>
                  <a:pt x="1988037" y="413983"/>
                  <a:pt x="2036170" y="932893"/>
                </a:cubicBezTo>
                <a:lnTo>
                  <a:pt x="2039417" y="1010550"/>
                </a:lnTo>
                <a:lnTo>
                  <a:pt x="1772661" y="748428"/>
                </a:lnTo>
                <a:lnTo>
                  <a:pt x="1719716" y="837539"/>
                </a:lnTo>
                <a:lnTo>
                  <a:pt x="1692938" y="748482"/>
                </a:lnTo>
                <a:cubicBezTo>
                  <a:pt x="1583556" y="483248"/>
                  <a:pt x="1323724" y="295413"/>
                  <a:pt x="1018823" y="292348"/>
                </a:cubicBezTo>
                <a:cubicBezTo>
                  <a:pt x="612290" y="288261"/>
                  <a:pt x="279255" y="614197"/>
                  <a:pt x="274585" y="1020724"/>
                </a:cubicBezTo>
                <a:lnTo>
                  <a:pt x="162507" y="1019437"/>
                </a:lnTo>
                <a:lnTo>
                  <a:pt x="0" y="859752"/>
                </a:lnTo>
                <a:lnTo>
                  <a:pt x="5544" y="810401"/>
                </a:lnTo>
                <a:cubicBezTo>
                  <a:pt x="106709" y="342970"/>
                  <a:pt x="524938" y="-4942"/>
                  <a:pt x="1021763" y="53"/>
                </a:cubicBezTo>
                <a:close/>
              </a:path>
            </a:pathLst>
          </a:custGeom>
          <a:solidFill>
            <a:schemeClr val="bg1">
              <a:lumMod val="85000"/>
            </a:schemeClr>
          </a:solidFill>
          <a:ln w="254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p>
        </p:txBody>
      </p:sp>
      <p:sp>
        <p:nvSpPr>
          <p:cNvPr id="37" name="椭圆 36">
            <a:extLst>
              <a:ext uri="{FF2B5EF4-FFF2-40B4-BE49-F238E27FC236}">
                <a16:creationId xmlns:a16="http://schemas.microsoft.com/office/drawing/2014/main" id="{27A8214B-CEBC-44BA-B530-9CE6420EBF11}"/>
              </a:ext>
            </a:extLst>
          </p:cNvPr>
          <p:cNvSpPr/>
          <p:nvPr/>
        </p:nvSpPr>
        <p:spPr>
          <a:xfrm>
            <a:off x="8287213" y="2294059"/>
            <a:ext cx="1828802" cy="1828802"/>
          </a:xfrm>
          <a:prstGeom prst="ellipse">
            <a:avLst/>
          </a:prstGeom>
          <a:gradFill>
            <a:gsLst>
              <a:gs pos="0">
                <a:schemeClr val="accent1"/>
              </a:gs>
              <a:gs pos="100000">
                <a:schemeClr val="accent1">
                  <a:lumMod val="75000"/>
                </a:schemeClr>
              </a:gs>
            </a:gsLst>
            <a:lin ang="2700000" scaled="0"/>
          </a:gradFill>
          <a:ln w="25400" cap="flat" cmpd="sng" algn="ctr">
            <a:noFill/>
            <a:prstDash val="solid"/>
            <a:miter lim="800000"/>
          </a:ln>
          <a:effectLst>
            <a:outerShdw blurRad="254000" dist="88900" dir="2700000" algn="tl" rotWithShape="0">
              <a:schemeClr val="accent1">
                <a:lumMod val="50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8" name="弧形 37">
            <a:extLst>
              <a:ext uri="{FF2B5EF4-FFF2-40B4-BE49-F238E27FC236}">
                <a16:creationId xmlns:a16="http://schemas.microsoft.com/office/drawing/2014/main" id="{1825842E-4626-4F9E-A3DA-32A9EEEC12EA}"/>
              </a:ext>
            </a:extLst>
          </p:cNvPr>
          <p:cNvSpPr/>
          <p:nvPr/>
        </p:nvSpPr>
        <p:spPr>
          <a:xfrm>
            <a:off x="8026375" y="2033221"/>
            <a:ext cx="2350478" cy="2350478"/>
          </a:xfrm>
          <a:prstGeom prst="arc">
            <a:avLst>
              <a:gd name="adj1" fmla="val 5209733"/>
              <a:gd name="adj2" fmla="val 16197179"/>
            </a:avLst>
          </a:prstGeom>
          <a:noFill/>
          <a:ln w="25400" cap="flat" cmpd="sng" algn="ctr">
            <a:solidFill>
              <a:schemeClr val="accent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9" name="弧形 38">
            <a:extLst>
              <a:ext uri="{FF2B5EF4-FFF2-40B4-BE49-F238E27FC236}">
                <a16:creationId xmlns:a16="http://schemas.microsoft.com/office/drawing/2014/main" id="{5F977512-67BF-4F0D-BADB-D0B115155E7C}"/>
              </a:ext>
            </a:extLst>
          </p:cNvPr>
          <p:cNvSpPr/>
          <p:nvPr/>
        </p:nvSpPr>
        <p:spPr>
          <a:xfrm>
            <a:off x="8026375" y="2033221"/>
            <a:ext cx="2350478" cy="2350478"/>
          </a:xfrm>
          <a:prstGeom prst="arc">
            <a:avLst>
              <a:gd name="adj1" fmla="val 16837427"/>
              <a:gd name="adj2" fmla="val 4708022"/>
            </a:avLst>
          </a:prstGeom>
          <a:noFill/>
          <a:ln w="28575" cap="rnd" cmpd="sng" algn="ctr">
            <a:solidFill>
              <a:schemeClr val="accent1"/>
            </a:solidFill>
            <a:prstDash val="sysDot"/>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42" name="直接连接符 41">
            <a:extLst>
              <a:ext uri="{FF2B5EF4-FFF2-40B4-BE49-F238E27FC236}">
                <a16:creationId xmlns:a16="http://schemas.microsoft.com/office/drawing/2014/main" id="{DE839C75-9A88-463F-952C-B377E1229FBF}"/>
              </a:ext>
            </a:extLst>
          </p:cNvPr>
          <p:cNvCxnSpPr>
            <a:cxnSpLocks/>
          </p:cNvCxnSpPr>
          <p:nvPr/>
        </p:nvCxnSpPr>
        <p:spPr>
          <a:xfrm flipH="1">
            <a:off x="7489134" y="3209897"/>
            <a:ext cx="526098" cy="7918"/>
          </a:xfrm>
          <a:prstGeom prst="line">
            <a:avLst/>
          </a:prstGeom>
          <a:noFill/>
          <a:ln w="25400" cap="flat" cmpd="sng" algn="ctr">
            <a:solidFill>
              <a:schemeClr val="accent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cxnSp>
      <p:sp>
        <p:nvSpPr>
          <p:cNvPr id="43" name="椭圆 42">
            <a:extLst>
              <a:ext uri="{FF2B5EF4-FFF2-40B4-BE49-F238E27FC236}">
                <a16:creationId xmlns:a16="http://schemas.microsoft.com/office/drawing/2014/main" id="{A8DEF276-20CC-44CB-AD19-E466BEC40175}"/>
              </a:ext>
            </a:extLst>
          </p:cNvPr>
          <p:cNvSpPr/>
          <p:nvPr/>
        </p:nvSpPr>
        <p:spPr>
          <a:xfrm>
            <a:off x="7960471" y="3157056"/>
            <a:ext cx="113601" cy="113601"/>
          </a:xfrm>
          <a:prstGeom prst="ellipse">
            <a:avLst/>
          </a:prstGeom>
          <a:solidFill>
            <a:schemeClr val="bg1"/>
          </a:solidFill>
          <a:ln w="25400" cap="flat" cmpd="sng" algn="ctr">
            <a:solidFill>
              <a:schemeClr val="accent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4" name="椭圆 43">
            <a:extLst>
              <a:ext uri="{FF2B5EF4-FFF2-40B4-BE49-F238E27FC236}">
                <a16:creationId xmlns:a16="http://schemas.microsoft.com/office/drawing/2014/main" id="{0F86FBBA-EE87-46AD-8D27-9FEDCE27E761}"/>
              </a:ext>
            </a:extLst>
          </p:cNvPr>
          <p:cNvSpPr/>
          <p:nvPr/>
        </p:nvSpPr>
        <p:spPr>
          <a:xfrm>
            <a:off x="7439771" y="3157056"/>
            <a:ext cx="113601" cy="113601"/>
          </a:xfrm>
          <a:prstGeom prst="ellipse">
            <a:avLst/>
          </a:prstGeom>
          <a:solidFill>
            <a:schemeClr val="bg1"/>
          </a:solidFill>
          <a:ln w="25400" cap="flat" cmpd="sng" algn="ctr">
            <a:solidFill>
              <a:schemeClr val="accent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5" name="椭圆 44">
            <a:extLst>
              <a:ext uri="{FF2B5EF4-FFF2-40B4-BE49-F238E27FC236}">
                <a16:creationId xmlns:a16="http://schemas.microsoft.com/office/drawing/2014/main" id="{9EBC6506-2D47-44D9-924A-011C21420DB8}"/>
              </a:ext>
            </a:extLst>
          </p:cNvPr>
          <p:cNvSpPr>
            <a:spLocks noChangeAspect="1"/>
          </p:cNvSpPr>
          <p:nvPr/>
        </p:nvSpPr>
        <p:spPr>
          <a:xfrm>
            <a:off x="7478571" y="3195856"/>
            <a:ext cx="36000" cy="36000"/>
          </a:xfrm>
          <a:prstGeom prst="ellipse">
            <a:avLst/>
          </a:prstGeom>
          <a:solidFill>
            <a:schemeClr val="accent1"/>
          </a:solidFill>
          <a:ln w="254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6" name="椭圆 45">
            <a:extLst>
              <a:ext uri="{FF2B5EF4-FFF2-40B4-BE49-F238E27FC236}">
                <a16:creationId xmlns:a16="http://schemas.microsoft.com/office/drawing/2014/main" id="{34D6C583-ADBB-407B-911B-76F2A843CD5D}"/>
              </a:ext>
            </a:extLst>
          </p:cNvPr>
          <p:cNvSpPr>
            <a:spLocks noChangeAspect="1"/>
          </p:cNvSpPr>
          <p:nvPr/>
        </p:nvSpPr>
        <p:spPr>
          <a:xfrm>
            <a:off x="7992921" y="3195856"/>
            <a:ext cx="36000" cy="36000"/>
          </a:xfrm>
          <a:prstGeom prst="ellipse">
            <a:avLst/>
          </a:prstGeom>
          <a:solidFill>
            <a:schemeClr val="accent1"/>
          </a:solidFill>
          <a:ln w="254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7" name="文本框 26">
            <a:extLst>
              <a:ext uri="{FF2B5EF4-FFF2-40B4-BE49-F238E27FC236}">
                <a16:creationId xmlns:a16="http://schemas.microsoft.com/office/drawing/2014/main" id="{6D842EE0-5533-4A60-86DE-205522667FE6}"/>
              </a:ext>
            </a:extLst>
          </p:cNvPr>
          <p:cNvSpPr txBox="1"/>
          <p:nvPr/>
        </p:nvSpPr>
        <p:spPr>
          <a:xfrm>
            <a:off x="2870480" y="3345180"/>
            <a:ext cx="1154162" cy="276999"/>
          </a:xfrm>
          <a:prstGeom prst="rect">
            <a:avLst/>
          </a:prstGeom>
          <a:noFill/>
        </p:spPr>
        <p:txBody>
          <a:bodyPr wrap="none" lIns="0" tIns="0" rIns="0" bIns="0" rtlCol="0" anchor="t">
            <a:spAutoFit/>
          </a:bodyPr>
          <a:lstStyle/>
          <a:p>
            <a:pPr algn="l"/>
            <a:r>
              <a:rPr lang="zh-CN" altLang="en-US" dirty="0">
                <a:solidFill>
                  <a:schemeClr val="bg1"/>
                </a:solidFill>
                <a:latin typeface="+mj-ea"/>
                <a:ea typeface="+mj-ea"/>
              </a:rPr>
              <a:t>关键词标题</a:t>
            </a:r>
          </a:p>
        </p:txBody>
      </p:sp>
      <p:sp>
        <p:nvSpPr>
          <p:cNvPr id="28" name="文本框 27">
            <a:extLst>
              <a:ext uri="{FF2B5EF4-FFF2-40B4-BE49-F238E27FC236}">
                <a16:creationId xmlns:a16="http://schemas.microsoft.com/office/drawing/2014/main" id="{3610ACD2-5FFF-4C26-8202-45EB5A7F3892}"/>
              </a:ext>
            </a:extLst>
          </p:cNvPr>
          <p:cNvSpPr txBox="1"/>
          <p:nvPr/>
        </p:nvSpPr>
        <p:spPr>
          <a:xfrm>
            <a:off x="5747030" y="3345180"/>
            <a:ext cx="1154162" cy="276999"/>
          </a:xfrm>
          <a:prstGeom prst="rect">
            <a:avLst/>
          </a:prstGeom>
          <a:noFill/>
        </p:spPr>
        <p:txBody>
          <a:bodyPr wrap="none" lIns="0" tIns="0" rIns="0" bIns="0" rtlCol="0" anchor="t">
            <a:spAutoFit/>
          </a:bodyPr>
          <a:lstStyle/>
          <a:p>
            <a:pPr algn="l"/>
            <a:r>
              <a:rPr lang="zh-CN" altLang="en-US" dirty="0">
                <a:solidFill>
                  <a:schemeClr val="bg1"/>
                </a:solidFill>
                <a:latin typeface="+mj-ea"/>
                <a:ea typeface="+mj-ea"/>
              </a:rPr>
              <a:t>关键词标题</a:t>
            </a:r>
          </a:p>
        </p:txBody>
      </p:sp>
      <p:sp>
        <p:nvSpPr>
          <p:cNvPr id="29" name="文本框 28">
            <a:extLst>
              <a:ext uri="{FF2B5EF4-FFF2-40B4-BE49-F238E27FC236}">
                <a16:creationId xmlns:a16="http://schemas.microsoft.com/office/drawing/2014/main" id="{BF1A4953-DE75-49BE-9C4F-B436ED9DF8B1}"/>
              </a:ext>
            </a:extLst>
          </p:cNvPr>
          <p:cNvSpPr txBox="1"/>
          <p:nvPr/>
        </p:nvSpPr>
        <p:spPr>
          <a:xfrm>
            <a:off x="8624533" y="3345180"/>
            <a:ext cx="1154162" cy="276999"/>
          </a:xfrm>
          <a:prstGeom prst="rect">
            <a:avLst/>
          </a:prstGeom>
          <a:noFill/>
        </p:spPr>
        <p:txBody>
          <a:bodyPr wrap="none" lIns="0" tIns="0" rIns="0" bIns="0" rtlCol="0" anchor="t">
            <a:spAutoFit/>
          </a:bodyPr>
          <a:lstStyle/>
          <a:p>
            <a:pPr algn="l"/>
            <a:r>
              <a:rPr lang="zh-CN" altLang="en-US" dirty="0">
                <a:solidFill>
                  <a:schemeClr val="bg1"/>
                </a:solidFill>
                <a:latin typeface="+mj-ea"/>
                <a:ea typeface="+mj-ea"/>
              </a:rPr>
              <a:t>关键词标题</a:t>
            </a:r>
          </a:p>
        </p:txBody>
      </p:sp>
      <p:sp>
        <p:nvSpPr>
          <p:cNvPr id="30" name="iconfont-1179-866479">
            <a:extLst>
              <a:ext uri="{FF2B5EF4-FFF2-40B4-BE49-F238E27FC236}">
                <a16:creationId xmlns:a16="http://schemas.microsoft.com/office/drawing/2014/main" id="{297223E3-B2DD-4D5F-BF97-9C2BE1A92589}"/>
              </a:ext>
            </a:extLst>
          </p:cNvPr>
          <p:cNvSpPr/>
          <p:nvPr/>
        </p:nvSpPr>
        <p:spPr>
          <a:xfrm>
            <a:off x="3190175" y="2647572"/>
            <a:ext cx="514772" cy="609685"/>
          </a:xfrm>
          <a:custGeom>
            <a:avLst/>
            <a:gdLst>
              <a:gd name="T0" fmla="*/ 6573 w 9390"/>
              <a:gd name="T1" fmla="*/ 3437 h 11120"/>
              <a:gd name="T2" fmla="*/ 7967 w 9390"/>
              <a:gd name="T3" fmla="*/ 1730 h 11120"/>
              <a:gd name="T4" fmla="*/ 5311 w 9390"/>
              <a:gd name="T5" fmla="*/ 1140 h 11120"/>
              <a:gd name="T6" fmla="*/ 3129 w 9390"/>
              <a:gd name="T7" fmla="*/ 876 h 11120"/>
              <a:gd name="T8" fmla="*/ 2455 w 9390"/>
              <a:gd name="T9" fmla="*/ 3147 h 11120"/>
              <a:gd name="T10" fmla="*/ 7438 w 9390"/>
              <a:gd name="T11" fmla="*/ 4336 h 11120"/>
              <a:gd name="T12" fmla="*/ 2969 w 9390"/>
              <a:gd name="T13" fmla="*/ 4006 h 11120"/>
              <a:gd name="T14" fmla="*/ 0 w 9390"/>
              <a:gd name="T15" fmla="*/ 8570 h 11120"/>
              <a:gd name="T16" fmla="*/ 6860 w 9390"/>
              <a:gd name="T17" fmla="*/ 11120 h 11120"/>
              <a:gd name="T18" fmla="*/ 7438 w 9390"/>
              <a:gd name="T19" fmla="*/ 4336 h 11120"/>
              <a:gd name="T20" fmla="*/ 5549 w 9390"/>
              <a:gd name="T21" fmla="*/ 7248 h 11120"/>
              <a:gd name="T22" fmla="*/ 5919 w 9390"/>
              <a:gd name="T23" fmla="*/ 7515 h 11120"/>
              <a:gd name="T24" fmla="*/ 6098 w 9390"/>
              <a:gd name="T25" fmla="*/ 7695 h 11120"/>
              <a:gd name="T26" fmla="*/ 5384 w 9390"/>
              <a:gd name="T27" fmla="*/ 7874 h 11120"/>
              <a:gd name="T28" fmla="*/ 5195 w 9390"/>
              <a:gd name="T29" fmla="*/ 8151 h 11120"/>
              <a:gd name="T30" fmla="*/ 5919 w 9390"/>
              <a:gd name="T31" fmla="*/ 8331 h 11120"/>
              <a:gd name="T32" fmla="*/ 5919 w 9390"/>
              <a:gd name="T33" fmla="*/ 8690 h 11120"/>
              <a:gd name="T34" fmla="*/ 5195 w 9390"/>
              <a:gd name="T35" fmla="*/ 8870 h 11120"/>
              <a:gd name="T36" fmla="*/ 5015 w 9390"/>
              <a:gd name="T37" fmla="*/ 9507 h 11120"/>
              <a:gd name="T38" fmla="*/ 4510 w 9390"/>
              <a:gd name="T39" fmla="*/ 9327 h 11120"/>
              <a:gd name="T40" fmla="*/ 4330 w 9390"/>
              <a:gd name="T41" fmla="*/ 8690 h 11120"/>
              <a:gd name="T42" fmla="*/ 3612 w 9390"/>
              <a:gd name="T43" fmla="*/ 8510 h 11120"/>
              <a:gd name="T44" fmla="*/ 4329 w 9390"/>
              <a:gd name="T45" fmla="*/ 8331 h 11120"/>
              <a:gd name="T46" fmla="*/ 4511 w 9390"/>
              <a:gd name="T47" fmla="*/ 8063 h 11120"/>
              <a:gd name="T48" fmla="*/ 3792 w 9390"/>
              <a:gd name="T49" fmla="*/ 7873 h 11120"/>
              <a:gd name="T50" fmla="*/ 3612 w 9390"/>
              <a:gd name="T51" fmla="*/ 7694 h 11120"/>
              <a:gd name="T52" fmla="*/ 3999 w 9390"/>
              <a:gd name="T53" fmla="*/ 7514 h 11120"/>
              <a:gd name="T54" fmla="*/ 3406 w 9390"/>
              <a:gd name="T55" fmla="*/ 5887 h 11120"/>
              <a:gd name="T56" fmla="*/ 3920 w 9390"/>
              <a:gd name="T57" fmla="*/ 5620 h 11120"/>
              <a:gd name="T58" fmla="*/ 4691 w 9390"/>
              <a:gd name="T59" fmla="*/ 6937 h 11120"/>
              <a:gd name="T60" fmla="*/ 5623 w 9390"/>
              <a:gd name="T61" fmla="*/ 5719 h 11120"/>
              <a:gd name="T62" fmla="*/ 6140 w 9390"/>
              <a:gd name="T63" fmla="*/ 5620 h 1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390" h="11120">
                <a:moveTo>
                  <a:pt x="3078" y="3437"/>
                </a:moveTo>
                <a:lnTo>
                  <a:pt x="6573" y="3437"/>
                </a:lnTo>
                <a:cubicBezTo>
                  <a:pt x="6809" y="3437"/>
                  <a:pt x="7036" y="3338"/>
                  <a:pt x="7187" y="3157"/>
                </a:cubicBezTo>
                <a:cubicBezTo>
                  <a:pt x="7548" y="2728"/>
                  <a:pt x="7890" y="2202"/>
                  <a:pt x="7967" y="1730"/>
                </a:cubicBezTo>
                <a:cubicBezTo>
                  <a:pt x="8121" y="786"/>
                  <a:pt x="7717" y="307"/>
                  <a:pt x="6544" y="307"/>
                </a:cubicBezTo>
                <a:cubicBezTo>
                  <a:pt x="5370" y="307"/>
                  <a:pt x="5767" y="1077"/>
                  <a:pt x="5311" y="1140"/>
                </a:cubicBezTo>
                <a:cubicBezTo>
                  <a:pt x="4971" y="1187"/>
                  <a:pt x="4983" y="739"/>
                  <a:pt x="4449" y="308"/>
                </a:cubicBezTo>
                <a:cubicBezTo>
                  <a:pt x="4066" y="0"/>
                  <a:pt x="3636" y="871"/>
                  <a:pt x="3129" y="876"/>
                </a:cubicBezTo>
                <a:cubicBezTo>
                  <a:pt x="2538" y="884"/>
                  <a:pt x="1707" y="720"/>
                  <a:pt x="1707" y="1730"/>
                </a:cubicBezTo>
                <a:cubicBezTo>
                  <a:pt x="1707" y="2138"/>
                  <a:pt x="2065" y="2690"/>
                  <a:pt x="2455" y="3147"/>
                </a:cubicBezTo>
                <a:cubicBezTo>
                  <a:pt x="2612" y="3330"/>
                  <a:pt x="2838" y="3437"/>
                  <a:pt x="3078" y="3437"/>
                </a:cubicBezTo>
                <a:close/>
                <a:moveTo>
                  <a:pt x="7438" y="4336"/>
                </a:moveTo>
                <a:cubicBezTo>
                  <a:pt x="7252" y="4125"/>
                  <a:pt x="6981" y="4006"/>
                  <a:pt x="6699" y="4006"/>
                </a:cubicBezTo>
                <a:lnTo>
                  <a:pt x="2969" y="4006"/>
                </a:lnTo>
                <a:cubicBezTo>
                  <a:pt x="2700" y="4006"/>
                  <a:pt x="2440" y="4115"/>
                  <a:pt x="2253" y="4310"/>
                </a:cubicBezTo>
                <a:cubicBezTo>
                  <a:pt x="1081" y="5538"/>
                  <a:pt x="0" y="7291"/>
                  <a:pt x="0" y="8570"/>
                </a:cubicBezTo>
                <a:cubicBezTo>
                  <a:pt x="0" y="9697"/>
                  <a:pt x="1133" y="11120"/>
                  <a:pt x="2530" y="11120"/>
                </a:cubicBezTo>
                <a:lnTo>
                  <a:pt x="6860" y="11120"/>
                </a:lnTo>
                <a:cubicBezTo>
                  <a:pt x="8257" y="11120"/>
                  <a:pt x="9390" y="9709"/>
                  <a:pt x="9390" y="8570"/>
                </a:cubicBezTo>
                <a:cubicBezTo>
                  <a:pt x="9390" y="7268"/>
                  <a:pt x="8520" y="5564"/>
                  <a:pt x="7438" y="4336"/>
                </a:cubicBezTo>
                <a:close/>
                <a:moveTo>
                  <a:pt x="6299" y="5888"/>
                </a:moveTo>
                <a:lnTo>
                  <a:pt x="5549" y="7248"/>
                </a:lnTo>
                <a:cubicBezTo>
                  <a:pt x="5483" y="7368"/>
                  <a:pt x="5570" y="7515"/>
                  <a:pt x="5706" y="7515"/>
                </a:cubicBezTo>
                <a:lnTo>
                  <a:pt x="5919" y="7515"/>
                </a:lnTo>
                <a:cubicBezTo>
                  <a:pt x="6017" y="7515"/>
                  <a:pt x="6098" y="7595"/>
                  <a:pt x="6098" y="7695"/>
                </a:cubicBezTo>
                <a:lnTo>
                  <a:pt x="6098" y="7695"/>
                </a:lnTo>
                <a:cubicBezTo>
                  <a:pt x="6098" y="7793"/>
                  <a:pt x="6018" y="7874"/>
                  <a:pt x="5919" y="7874"/>
                </a:cubicBezTo>
                <a:lnTo>
                  <a:pt x="5384" y="7874"/>
                </a:lnTo>
                <a:cubicBezTo>
                  <a:pt x="5279" y="7874"/>
                  <a:pt x="5196" y="7958"/>
                  <a:pt x="5195" y="8062"/>
                </a:cubicBezTo>
                <a:lnTo>
                  <a:pt x="5195" y="8151"/>
                </a:lnTo>
                <a:cubicBezTo>
                  <a:pt x="5195" y="8249"/>
                  <a:pt x="5275" y="8331"/>
                  <a:pt x="5375" y="8331"/>
                </a:cubicBezTo>
                <a:lnTo>
                  <a:pt x="5919" y="8331"/>
                </a:lnTo>
                <a:cubicBezTo>
                  <a:pt x="6017" y="8331"/>
                  <a:pt x="6098" y="8411"/>
                  <a:pt x="6098" y="8510"/>
                </a:cubicBezTo>
                <a:cubicBezTo>
                  <a:pt x="6098" y="8610"/>
                  <a:pt x="6018" y="8690"/>
                  <a:pt x="5919" y="8690"/>
                </a:cubicBezTo>
                <a:lnTo>
                  <a:pt x="5375" y="8690"/>
                </a:lnTo>
                <a:cubicBezTo>
                  <a:pt x="5276" y="8690"/>
                  <a:pt x="5195" y="8770"/>
                  <a:pt x="5195" y="8870"/>
                </a:cubicBezTo>
                <a:lnTo>
                  <a:pt x="5195" y="9327"/>
                </a:lnTo>
                <a:cubicBezTo>
                  <a:pt x="5195" y="9426"/>
                  <a:pt x="5115" y="9507"/>
                  <a:pt x="5015" y="9507"/>
                </a:cubicBezTo>
                <a:lnTo>
                  <a:pt x="4690" y="9507"/>
                </a:lnTo>
                <a:cubicBezTo>
                  <a:pt x="4591" y="9507"/>
                  <a:pt x="4510" y="9427"/>
                  <a:pt x="4510" y="9327"/>
                </a:cubicBezTo>
                <a:lnTo>
                  <a:pt x="4510" y="8870"/>
                </a:lnTo>
                <a:cubicBezTo>
                  <a:pt x="4510" y="8771"/>
                  <a:pt x="4430" y="8690"/>
                  <a:pt x="4330" y="8690"/>
                </a:cubicBezTo>
                <a:lnTo>
                  <a:pt x="3792" y="8690"/>
                </a:lnTo>
                <a:cubicBezTo>
                  <a:pt x="3693" y="8690"/>
                  <a:pt x="3612" y="8610"/>
                  <a:pt x="3612" y="8510"/>
                </a:cubicBezTo>
                <a:cubicBezTo>
                  <a:pt x="3612" y="8411"/>
                  <a:pt x="3692" y="8331"/>
                  <a:pt x="3792" y="8331"/>
                </a:cubicBezTo>
                <a:lnTo>
                  <a:pt x="4329" y="8331"/>
                </a:lnTo>
                <a:cubicBezTo>
                  <a:pt x="4429" y="8331"/>
                  <a:pt x="4509" y="8251"/>
                  <a:pt x="4510" y="8151"/>
                </a:cubicBezTo>
                <a:lnTo>
                  <a:pt x="4511" y="8063"/>
                </a:lnTo>
                <a:cubicBezTo>
                  <a:pt x="4512" y="7959"/>
                  <a:pt x="4427" y="7873"/>
                  <a:pt x="4322" y="7873"/>
                </a:cubicBezTo>
                <a:lnTo>
                  <a:pt x="3792" y="7873"/>
                </a:lnTo>
                <a:cubicBezTo>
                  <a:pt x="3693" y="7873"/>
                  <a:pt x="3612" y="7793"/>
                  <a:pt x="3612" y="7694"/>
                </a:cubicBezTo>
                <a:lnTo>
                  <a:pt x="3612" y="7694"/>
                </a:lnTo>
                <a:cubicBezTo>
                  <a:pt x="3612" y="7595"/>
                  <a:pt x="3692" y="7514"/>
                  <a:pt x="3792" y="7514"/>
                </a:cubicBezTo>
                <a:lnTo>
                  <a:pt x="3999" y="7514"/>
                </a:lnTo>
                <a:cubicBezTo>
                  <a:pt x="4136" y="7514"/>
                  <a:pt x="4221" y="7367"/>
                  <a:pt x="4156" y="7247"/>
                </a:cubicBezTo>
                <a:lnTo>
                  <a:pt x="3406" y="5887"/>
                </a:lnTo>
                <a:cubicBezTo>
                  <a:pt x="3340" y="5767"/>
                  <a:pt x="3426" y="5620"/>
                  <a:pt x="3562" y="5620"/>
                </a:cubicBezTo>
                <a:lnTo>
                  <a:pt x="3920" y="5620"/>
                </a:lnTo>
                <a:cubicBezTo>
                  <a:pt x="3988" y="5620"/>
                  <a:pt x="4050" y="5659"/>
                  <a:pt x="4080" y="5719"/>
                </a:cubicBezTo>
                <a:lnTo>
                  <a:pt x="4691" y="6937"/>
                </a:lnTo>
                <a:cubicBezTo>
                  <a:pt x="4756" y="7069"/>
                  <a:pt x="4945" y="7069"/>
                  <a:pt x="5012" y="6937"/>
                </a:cubicBezTo>
                <a:lnTo>
                  <a:pt x="5623" y="5719"/>
                </a:lnTo>
                <a:cubicBezTo>
                  <a:pt x="5653" y="5659"/>
                  <a:pt x="5715" y="5620"/>
                  <a:pt x="5783" y="5620"/>
                </a:cubicBezTo>
                <a:lnTo>
                  <a:pt x="6140" y="5620"/>
                </a:lnTo>
                <a:cubicBezTo>
                  <a:pt x="6278" y="5622"/>
                  <a:pt x="6365" y="5768"/>
                  <a:pt x="6299" y="588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0" name="iconfont-1187-868110">
            <a:extLst>
              <a:ext uri="{FF2B5EF4-FFF2-40B4-BE49-F238E27FC236}">
                <a16:creationId xmlns:a16="http://schemas.microsoft.com/office/drawing/2014/main" id="{BF33BB8A-1A93-42CF-A7EE-795CB3204C5A}"/>
              </a:ext>
            </a:extLst>
          </p:cNvPr>
          <p:cNvSpPr/>
          <p:nvPr/>
        </p:nvSpPr>
        <p:spPr>
          <a:xfrm>
            <a:off x="6080271" y="2699032"/>
            <a:ext cx="487680" cy="470302"/>
          </a:xfrm>
          <a:custGeom>
            <a:avLst/>
            <a:gdLst>
              <a:gd name="T0" fmla="*/ 11888 w 12803"/>
              <a:gd name="T1" fmla="*/ 0 h 12345"/>
              <a:gd name="T2" fmla="*/ 914 w 12803"/>
              <a:gd name="T3" fmla="*/ 0 h 12345"/>
              <a:gd name="T4" fmla="*/ 0 w 12803"/>
              <a:gd name="T5" fmla="*/ 914 h 12345"/>
              <a:gd name="T6" fmla="*/ 0 w 12803"/>
              <a:gd name="T7" fmla="*/ 8687 h 12345"/>
              <a:gd name="T8" fmla="*/ 914 w 12803"/>
              <a:gd name="T9" fmla="*/ 9602 h 12345"/>
              <a:gd name="T10" fmla="*/ 3201 w 12803"/>
              <a:gd name="T11" fmla="*/ 9602 h 12345"/>
              <a:gd name="T12" fmla="*/ 3201 w 12803"/>
              <a:gd name="T13" fmla="*/ 12345 h 12345"/>
              <a:gd name="T14" fmla="*/ 8230 w 12803"/>
              <a:gd name="T15" fmla="*/ 9602 h 12345"/>
              <a:gd name="T16" fmla="*/ 11888 w 12803"/>
              <a:gd name="T17" fmla="*/ 9602 h 12345"/>
              <a:gd name="T18" fmla="*/ 12803 w 12803"/>
              <a:gd name="T19" fmla="*/ 8687 h 12345"/>
              <a:gd name="T20" fmla="*/ 12803 w 12803"/>
              <a:gd name="T21" fmla="*/ 914 h 12345"/>
              <a:gd name="T22" fmla="*/ 11888 w 12803"/>
              <a:gd name="T23" fmla="*/ 0 h 12345"/>
              <a:gd name="T24" fmla="*/ 3201 w 12803"/>
              <a:gd name="T25" fmla="*/ 5487 h 12345"/>
              <a:gd name="T26" fmla="*/ 2286 w 12803"/>
              <a:gd name="T27" fmla="*/ 4572 h 12345"/>
              <a:gd name="T28" fmla="*/ 3201 w 12803"/>
              <a:gd name="T29" fmla="*/ 3658 h 12345"/>
              <a:gd name="T30" fmla="*/ 4115 w 12803"/>
              <a:gd name="T31" fmla="*/ 4572 h 12345"/>
              <a:gd name="T32" fmla="*/ 3201 w 12803"/>
              <a:gd name="T33" fmla="*/ 5487 h 12345"/>
              <a:gd name="T34" fmla="*/ 6401 w 12803"/>
              <a:gd name="T35" fmla="*/ 5487 h 12345"/>
              <a:gd name="T36" fmla="*/ 5487 w 12803"/>
              <a:gd name="T37" fmla="*/ 4572 h 12345"/>
              <a:gd name="T38" fmla="*/ 6401 w 12803"/>
              <a:gd name="T39" fmla="*/ 3658 h 12345"/>
              <a:gd name="T40" fmla="*/ 7316 w 12803"/>
              <a:gd name="T41" fmla="*/ 4572 h 12345"/>
              <a:gd name="T42" fmla="*/ 6401 w 12803"/>
              <a:gd name="T43" fmla="*/ 5487 h 12345"/>
              <a:gd name="T44" fmla="*/ 9602 w 12803"/>
              <a:gd name="T45" fmla="*/ 5487 h 12345"/>
              <a:gd name="T46" fmla="*/ 8687 w 12803"/>
              <a:gd name="T47" fmla="*/ 4572 h 12345"/>
              <a:gd name="T48" fmla="*/ 9602 w 12803"/>
              <a:gd name="T49" fmla="*/ 3658 h 12345"/>
              <a:gd name="T50" fmla="*/ 10516 w 12803"/>
              <a:gd name="T51" fmla="*/ 4572 h 12345"/>
              <a:gd name="T52" fmla="*/ 9602 w 12803"/>
              <a:gd name="T53" fmla="*/ 5487 h 12345"/>
              <a:gd name="T54" fmla="*/ 9602 w 12803"/>
              <a:gd name="T55" fmla="*/ 5487 h 123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2803" h="12345">
                <a:moveTo>
                  <a:pt x="11888" y="0"/>
                </a:moveTo>
                <a:lnTo>
                  <a:pt x="914" y="0"/>
                </a:lnTo>
                <a:cubicBezTo>
                  <a:pt x="409" y="0"/>
                  <a:pt x="0" y="409"/>
                  <a:pt x="0" y="914"/>
                </a:cubicBezTo>
                <a:lnTo>
                  <a:pt x="0" y="8687"/>
                </a:lnTo>
                <a:cubicBezTo>
                  <a:pt x="0" y="9193"/>
                  <a:pt x="409" y="9602"/>
                  <a:pt x="914" y="9602"/>
                </a:cubicBezTo>
                <a:lnTo>
                  <a:pt x="3201" y="9602"/>
                </a:lnTo>
                <a:lnTo>
                  <a:pt x="3201" y="12345"/>
                </a:lnTo>
                <a:lnTo>
                  <a:pt x="8230" y="9602"/>
                </a:lnTo>
                <a:lnTo>
                  <a:pt x="11888" y="9602"/>
                </a:lnTo>
                <a:cubicBezTo>
                  <a:pt x="12393" y="9602"/>
                  <a:pt x="12803" y="9193"/>
                  <a:pt x="12803" y="8687"/>
                </a:cubicBezTo>
                <a:lnTo>
                  <a:pt x="12803" y="914"/>
                </a:lnTo>
                <a:cubicBezTo>
                  <a:pt x="12803" y="409"/>
                  <a:pt x="12393" y="0"/>
                  <a:pt x="11888" y="0"/>
                </a:cubicBezTo>
                <a:close/>
                <a:moveTo>
                  <a:pt x="3201" y="5487"/>
                </a:moveTo>
                <a:cubicBezTo>
                  <a:pt x="2695" y="5487"/>
                  <a:pt x="2286" y="5077"/>
                  <a:pt x="2286" y="4572"/>
                </a:cubicBezTo>
                <a:cubicBezTo>
                  <a:pt x="2286" y="4067"/>
                  <a:pt x="2695" y="3658"/>
                  <a:pt x="3201" y="3658"/>
                </a:cubicBezTo>
                <a:cubicBezTo>
                  <a:pt x="3706" y="3658"/>
                  <a:pt x="4115" y="4067"/>
                  <a:pt x="4115" y="4572"/>
                </a:cubicBezTo>
                <a:cubicBezTo>
                  <a:pt x="4115" y="5077"/>
                  <a:pt x="3706" y="5487"/>
                  <a:pt x="3201" y="5487"/>
                </a:cubicBezTo>
                <a:close/>
                <a:moveTo>
                  <a:pt x="6401" y="5487"/>
                </a:moveTo>
                <a:cubicBezTo>
                  <a:pt x="5896" y="5487"/>
                  <a:pt x="5487" y="5077"/>
                  <a:pt x="5487" y="4572"/>
                </a:cubicBezTo>
                <a:cubicBezTo>
                  <a:pt x="5487" y="4067"/>
                  <a:pt x="5896" y="3658"/>
                  <a:pt x="6401" y="3658"/>
                </a:cubicBezTo>
                <a:cubicBezTo>
                  <a:pt x="6907" y="3658"/>
                  <a:pt x="7316" y="4067"/>
                  <a:pt x="7316" y="4572"/>
                </a:cubicBezTo>
                <a:cubicBezTo>
                  <a:pt x="7316" y="5077"/>
                  <a:pt x="6907" y="5487"/>
                  <a:pt x="6401" y="5487"/>
                </a:cubicBezTo>
                <a:close/>
                <a:moveTo>
                  <a:pt x="9602" y="5487"/>
                </a:moveTo>
                <a:cubicBezTo>
                  <a:pt x="9097" y="5487"/>
                  <a:pt x="8687" y="5077"/>
                  <a:pt x="8687" y="4572"/>
                </a:cubicBezTo>
                <a:cubicBezTo>
                  <a:pt x="8687" y="4067"/>
                  <a:pt x="9097" y="3658"/>
                  <a:pt x="9602" y="3658"/>
                </a:cubicBezTo>
                <a:cubicBezTo>
                  <a:pt x="10107" y="3658"/>
                  <a:pt x="10516" y="4067"/>
                  <a:pt x="10516" y="4572"/>
                </a:cubicBezTo>
                <a:cubicBezTo>
                  <a:pt x="10516" y="5077"/>
                  <a:pt x="10107" y="5487"/>
                  <a:pt x="9602" y="5487"/>
                </a:cubicBezTo>
                <a:close/>
                <a:moveTo>
                  <a:pt x="9602" y="5487"/>
                </a:move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1" name="iconfont-1186-646597">
            <a:extLst>
              <a:ext uri="{FF2B5EF4-FFF2-40B4-BE49-F238E27FC236}">
                <a16:creationId xmlns:a16="http://schemas.microsoft.com/office/drawing/2014/main" id="{B12325FE-3B80-4878-BC60-D34E74588DAD}"/>
              </a:ext>
            </a:extLst>
          </p:cNvPr>
          <p:cNvSpPr/>
          <p:nvPr/>
        </p:nvSpPr>
        <p:spPr>
          <a:xfrm>
            <a:off x="9005838" y="2723660"/>
            <a:ext cx="391552" cy="457508"/>
          </a:xfrm>
          <a:custGeom>
            <a:avLst/>
            <a:gdLst>
              <a:gd name="T0" fmla="*/ 8209 w 10908"/>
              <a:gd name="T1" fmla="*/ 2143 h 12744"/>
              <a:gd name="T2" fmla="*/ 8209 w 10908"/>
              <a:gd name="T3" fmla="*/ 1057 h 12744"/>
              <a:gd name="T4" fmla="*/ 7124 w 10908"/>
              <a:gd name="T5" fmla="*/ 0 h 12744"/>
              <a:gd name="T6" fmla="*/ 3840 w 10908"/>
              <a:gd name="T7" fmla="*/ 0 h 12744"/>
              <a:gd name="T8" fmla="*/ 2755 w 10908"/>
              <a:gd name="T9" fmla="*/ 1057 h 12744"/>
              <a:gd name="T10" fmla="*/ 2755 w 10908"/>
              <a:gd name="T11" fmla="*/ 2115 h 12744"/>
              <a:gd name="T12" fmla="*/ 0 w 10908"/>
              <a:gd name="T13" fmla="*/ 2115 h 12744"/>
              <a:gd name="T14" fmla="*/ 0 w 10908"/>
              <a:gd name="T15" fmla="*/ 3172 h 12744"/>
              <a:gd name="T16" fmla="*/ 1085 w 10908"/>
              <a:gd name="T17" fmla="*/ 3172 h 12744"/>
              <a:gd name="T18" fmla="*/ 1085 w 10908"/>
              <a:gd name="T19" fmla="*/ 11687 h 12744"/>
              <a:gd name="T20" fmla="*/ 2171 w 10908"/>
              <a:gd name="T21" fmla="*/ 12744 h 12744"/>
              <a:gd name="T22" fmla="*/ 8738 w 10908"/>
              <a:gd name="T23" fmla="*/ 12744 h 12744"/>
              <a:gd name="T24" fmla="*/ 9823 w 10908"/>
              <a:gd name="T25" fmla="*/ 11687 h 12744"/>
              <a:gd name="T26" fmla="*/ 9823 w 10908"/>
              <a:gd name="T27" fmla="*/ 3200 h 12744"/>
              <a:gd name="T28" fmla="*/ 10908 w 10908"/>
              <a:gd name="T29" fmla="*/ 3200 h 12744"/>
              <a:gd name="T30" fmla="*/ 10908 w 10908"/>
              <a:gd name="T31" fmla="*/ 2143 h 12744"/>
              <a:gd name="T32" fmla="*/ 8209 w 10908"/>
              <a:gd name="T33" fmla="*/ 2143 h 12744"/>
              <a:gd name="T34" fmla="*/ 4870 w 10908"/>
              <a:gd name="T35" fmla="*/ 10963 h 12744"/>
              <a:gd name="T36" fmla="*/ 3645 w 10908"/>
              <a:gd name="T37" fmla="*/ 10963 h 12744"/>
              <a:gd name="T38" fmla="*/ 3645 w 10908"/>
              <a:gd name="T39" fmla="*/ 4257 h 12744"/>
              <a:gd name="T40" fmla="*/ 4870 w 10908"/>
              <a:gd name="T41" fmla="*/ 4257 h 12744"/>
              <a:gd name="T42" fmla="*/ 4870 w 10908"/>
              <a:gd name="T43" fmla="*/ 10963 h 12744"/>
              <a:gd name="T44" fmla="*/ 7319 w 10908"/>
              <a:gd name="T45" fmla="*/ 10963 h 12744"/>
              <a:gd name="T46" fmla="*/ 6094 w 10908"/>
              <a:gd name="T47" fmla="*/ 10963 h 12744"/>
              <a:gd name="T48" fmla="*/ 6094 w 10908"/>
              <a:gd name="T49" fmla="*/ 4257 h 12744"/>
              <a:gd name="T50" fmla="*/ 7319 w 10908"/>
              <a:gd name="T51" fmla="*/ 4257 h 12744"/>
              <a:gd name="T52" fmla="*/ 7319 w 10908"/>
              <a:gd name="T53" fmla="*/ 10963 h 127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0908" h="12744">
                <a:moveTo>
                  <a:pt x="8209" y="2143"/>
                </a:moveTo>
                <a:lnTo>
                  <a:pt x="8209" y="1057"/>
                </a:lnTo>
                <a:cubicBezTo>
                  <a:pt x="8209" y="473"/>
                  <a:pt x="7708" y="0"/>
                  <a:pt x="7124" y="0"/>
                </a:cubicBezTo>
                <a:lnTo>
                  <a:pt x="3840" y="0"/>
                </a:lnTo>
                <a:cubicBezTo>
                  <a:pt x="3228" y="0"/>
                  <a:pt x="2755" y="473"/>
                  <a:pt x="2755" y="1057"/>
                </a:cubicBezTo>
                <a:lnTo>
                  <a:pt x="2755" y="2115"/>
                </a:lnTo>
                <a:lnTo>
                  <a:pt x="0" y="2115"/>
                </a:lnTo>
                <a:lnTo>
                  <a:pt x="0" y="3172"/>
                </a:lnTo>
                <a:lnTo>
                  <a:pt x="1085" y="3172"/>
                </a:lnTo>
                <a:lnTo>
                  <a:pt x="1085" y="11687"/>
                </a:lnTo>
                <a:cubicBezTo>
                  <a:pt x="1085" y="12271"/>
                  <a:pt x="1586" y="12744"/>
                  <a:pt x="2171" y="12744"/>
                </a:cubicBezTo>
                <a:lnTo>
                  <a:pt x="8738" y="12744"/>
                </a:lnTo>
                <a:cubicBezTo>
                  <a:pt x="9350" y="12744"/>
                  <a:pt x="9823" y="12271"/>
                  <a:pt x="9823" y="11687"/>
                </a:cubicBezTo>
                <a:lnTo>
                  <a:pt x="9823" y="3200"/>
                </a:lnTo>
                <a:lnTo>
                  <a:pt x="10908" y="3200"/>
                </a:lnTo>
                <a:lnTo>
                  <a:pt x="10908" y="2143"/>
                </a:lnTo>
                <a:lnTo>
                  <a:pt x="8209" y="2143"/>
                </a:lnTo>
                <a:close/>
                <a:moveTo>
                  <a:pt x="4870" y="10963"/>
                </a:moveTo>
                <a:lnTo>
                  <a:pt x="3645" y="10963"/>
                </a:lnTo>
                <a:lnTo>
                  <a:pt x="3645" y="4257"/>
                </a:lnTo>
                <a:lnTo>
                  <a:pt x="4870" y="4257"/>
                </a:lnTo>
                <a:lnTo>
                  <a:pt x="4870" y="10963"/>
                </a:lnTo>
                <a:close/>
                <a:moveTo>
                  <a:pt x="7319" y="10963"/>
                </a:moveTo>
                <a:lnTo>
                  <a:pt x="6094" y="10963"/>
                </a:lnTo>
                <a:lnTo>
                  <a:pt x="6094" y="4257"/>
                </a:lnTo>
                <a:lnTo>
                  <a:pt x="7319" y="4257"/>
                </a:lnTo>
                <a:lnTo>
                  <a:pt x="7319" y="1096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923571350"/>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2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组合 11">
            <a:extLst>
              <a:ext uri="{FF2B5EF4-FFF2-40B4-BE49-F238E27FC236}">
                <a16:creationId xmlns:a16="http://schemas.microsoft.com/office/drawing/2014/main" id="{1BFF224F-CEE0-40F7-90A8-179CF1DB725A}"/>
              </a:ext>
            </a:extLst>
          </p:cNvPr>
          <p:cNvGrpSpPr/>
          <p:nvPr/>
        </p:nvGrpSpPr>
        <p:grpSpPr>
          <a:xfrm>
            <a:off x="2042989" y="2253761"/>
            <a:ext cx="2350478" cy="2350478"/>
            <a:chOff x="2042989" y="2253761"/>
            <a:chExt cx="2350478" cy="2350478"/>
          </a:xfrm>
        </p:grpSpPr>
        <p:sp>
          <p:nvSpPr>
            <p:cNvPr id="3" name="椭圆 2">
              <a:extLst>
                <a:ext uri="{FF2B5EF4-FFF2-40B4-BE49-F238E27FC236}">
                  <a16:creationId xmlns:a16="http://schemas.microsoft.com/office/drawing/2014/main" id="{2CBAE842-1FEA-44C1-98FF-988585FA033D}"/>
                </a:ext>
              </a:extLst>
            </p:cNvPr>
            <p:cNvSpPr/>
            <p:nvPr/>
          </p:nvSpPr>
          <p:spPr>
            <a:xfrm>
              <a:off x="2303827" y="2514599"/>
              <a:ext cx="1828802" cy="1828802"/>
            </a:xfrm>
            <a:prstGeom prst="ellipse">
              <a:avLst/>
            </a:prstGeom>
            <a:gradFill>
              <a:gsLst>
                <a:gs pos="0">
                  <a:schemeClr val="accent1"/>
                </a:gs>
                <a:gs pos="100000">
                  <a:schemeClr val="accent1">
                    <a:lumMod val="75000"/>
                  </a:schemeClr>
                </a:gs>
              </a:gsLst>
              <a:lin ang="2700000" scaled="0"/>
            </a:gradFill>
            <a:ln w="25400" cap="flat" cmpd="sng" algn="ctr">
              <a:noFill/>
              <a:prstDash val="solid"/>
              <a:miter lim="800000"/>
            </a:ln>
            <a:effectLst>
              <a:outerShdw blurRad="254000" dist="88900" dir="2700000" algn="tl" rotWithShape="0">
                <a:schemeClr val="accent1">
                  <a:lumMod val="50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 name="弧形 3">
              <a:extLst>
                <a:ext uri="{FF2B5EF4-FFF2-40B4-BE49-F238E27FC236}">
                  <a16:creationId xmlns:a16="http://schemas.microsoft.com/office/drawing/2014/main" id="{437502F1-B166-4173-ADA3-E5302DC72CAB}"/>
                </a:ext>
              </a:extLst>
            </p:cNvPr>
            <p:cNvSpPr/>
            <p:nvPr/>
          </p:nvSpPr>
          <p:spPr>
            <a:xfrm>
              <a:off x="2042989" y="2253761"/>
              <a:ext cx="2350478" cy="2350478"/>
            </a:xfrm>
            <a:prstGeom prst="arc">
              <a:avLst>
                <a:gd name="adj1" fmla="val 12947235"/>
                <a:gd name="adj2" fmla="val 6077557"/>
              </a:avLst>
            </a:prstGeom>
            <a:noFill/>
            <a:ln w="25400" cap="flat" cmpd="sng" algn="ctr">
              <a:solidFill>
                <a:schemeClr val="accent1"/>
              </a:solidFill>
              <a:prstDash val="solid"/>
              <a:miter lim="800000"/>
              <a:headEnd type="oval"/>
              <a:tailEnd type="ova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 name="弧形 4">
              <a:extLst>
                <a:ext uri="{FF2B5EF4-FFF2-40B4-BE49-F238E27FC236}">
                  <a16:creationId xmlns:a16="http://schemas.microsoft.com/office/drawing/2014/main" id="{8AB09D85-11B1-4045-8018-F4CEA6637A70}"/>
                </a:ext>
              </a:extLst>
            </p:cNvPr>
            <p:cNvSpPr/>
            <p:nvPr/>
          </p:nvSpPr>
          <p:spPr>
            <a:xfrm>
              <a:off x="2042989" y="2253761"/>
              <a:ext cx="2350478" cy="2350478"/>
            </a:xfrm>
            <a:prstGeom prst="arc">
              <a:avLst>
                <a:gd name="adj1" fmla="val 6276595"/>
                <a:gd name="adj2" fmla="val 12716082"/>
              </a:avLst>
            </a:prstGeom>
            <a:noFill/>
            <a:ln w="155575" cap="flat" cmpd="sng" algn="ctr">
              <a:solidFill>
                <a:schemeClr val="accent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13" name="组合 12">
            <a:extLst>
              <a:ext uri="{FF2B5EF4-FFF2-40B4-BE49-F238E27FC236}">
                <a16:creationId xmlns:a16="http://schemas.microsoft.com/office/drawing/2014/main" id="{EB76789C-266B-4035-9E73-193CDD3F7A8D}"/>
              </a:ext>
            </a:extLst>
          </p:cNvPr>
          <p:cNvGrpSpPr/>
          <p:nvPr/>
        </p:nvGrpSpPr>
        <p:grpSpPr>
          <a:xfrm>
            <a:off x="5014789" y="2253761"/>
            <a:ext cx="2350478" cy="2350478"/>
            <a:chOff x="5014789" y="2253761"/>
            <a:chExt cx="2350478" cy="2350478"/>
          </a:xfrm>
        </p:grpSpPr>
        <p:sp>
          <p:nvSpPr>
            <p:cNvPr id="6" name="椭圆 5">
              <a:extLst>
                <a:ext uri="{FF2B5EF4-FFF2-40B4-BE49-F238E27FC236}">
                  <a16:creationId xmlns:a16="http://schemas.microsoft.com/office/drawing/2014/main" id="{0C7FE817-F590-45FE-930E-C20D9C7AA3CC}"/>
                </a:ext>
              </a:extLst>
            </p:cNvPr>
            <p:cNvSpPr/>
            <p:nvPr/>
          </p:nvSpPr>
          <p:spPr>
            <a:xfrm>
              <a:off x="5275627" y="2514599"/>
              <a:ext cx="1828802" cy="1828802"/>
            </a:xfrm>
            <a:prstGeom prst="ellipse">
              <a:avLst/>
            </a:prstGeom>
            <a:gradFill>
              <a:gsLst>
                <a:gs pos="0">
                  <a:schemeClr val="accent1"/>
                </a:gs>
                <a:gs pos="100000">
                  <a:schemeClr val="accent1">
                    <a:lumMod val="75000"/>
                  </a:schemeClr>
                </a:gs>
              </a:gsLst>
              <a:lin ang="2700000" scaled="0"/>
            </a:gradFill>
            <a:ln w="25400" cap="flat" cmpd="sng" algn="ctr">
              <a:noFill/>
              <a:prstDash val="solid"/>
              <a:miter lim="800000"/>
            </a:ln>
            <a:effectLst>
              <a:outerShdw blurRad="254000" dist="88900" dir="2700000" algn="tl" rotWithShape="0">
                <a:schemeClr val="accent1">
                  <a:lumMod val="50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 name="弧形 6">
              <a:extLst>
                <a:ext uri="{FF2B5EF4-FFF2-40B4-BE49-F238E27FC236}">
                  <a16:creationId xmlns:a16="http://schemas.microsoft.com/office/drawing/2014/main" id="{07EEA138-4491-45E7-8DEE-8A7A8A2F82C6}"/>
                </a:ext>
              </a:extLst>
            </p:cNvPr>
            <p:cNvSpPr/>
            <p:nvPr/>
          </p:nvSpPr>
          <p:spPr>
            <a:xfrm>
              <a:off x="5014789" y="2253761"/>
              <a:ext cx="2350478" cy="2350478"/>
            </a:xfrm>
            <a:prstGeom prst="arc">
              <a:avLst>
                <a:gd name="adj1" fmla="val 20724576"/>
                <a:gd name="adj2" fmla="val 11456280"/>
              </a:avLst>
            </a:prstGeom>
            <a:noFill/>
            <a:ln w="25400" cap="flat" cmpd="sng" algn="ctr">
              <a:solidFill>
                <a:schemeClr val="accent1"/>
              </a:solidFill>
              <a:prstDash val="solid"/>
              <a:miter lim="800000"/>
              <a:headEnd type="oval"/>
              <a:tailEnd type="ova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 name="弧形 7">
              <a:extLst>
                <a:ext uri="{FF2B5EF4-FFF2-40B4-BE49-F238E27FC236}">
                  <a16:creationId xmlns:a16="http://schemas.microsoft.com/office/drawing/2014/main" id="{B81C2BE4-C082-4241-BC3D-CE2BED2E1FC0}"/>
                </a:ext>
              </a:extLst>
            </p:cNvPr>
            <p:cNvSpPr/>
            <p:nvPr/>
          </p:nvSpPr>
          <p:spPr>
            <a:xfrm>
              <a:off x="5014789" y="2253761"/>
              <a:ext cx="2350478" cy="2350478"/>
            </a:xfrm>
            <a:prstGeom prst="arc">
              <a:avLst>
                <a:gd name="adj1" fmla="val 11702847"/>
                <a:gd name="adj2" fmla="val 20424812"/>
              </a:avLst>
            </a:prstGeom>
            <a:noFill/>
            <a:ln w="155575" cap="flat" cmpd="sng" algn="ctr">
              <a:solidFill>
                <a:schemeClr val="accent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14" name="组合 13">
            <a:extLst>
              <a:ext uri="{FF2B5EF4-FFF2-40B4-BE49-F238E27FC236}">
                <a16:creationId xmlns:a16="http://schemas.microsoft.com/office/drawing/2014/main" id="{06EA5CFF-380A-44F7-9D44-C1A34B9F66B0}"/>
              </a:ext>
            </a:extLst>
          </p:cNvPr>
          <p:cNvGrpSpPr/>
          <p:nvPr/>
        </p:nvGrpSpPr>
        <p:grpSpPr>
          <a:xfrm>
            <a:off x="7986589" y="2253761"/>
            <a:ext cx="2350478" cy="2350478"/>
            <a:chOff x="7986589" y="2253761"/>
            <a:chExt cx="2350478" cy="2350478"/>
          </a:xfrm>
        </p:grpSpPr>
        <p:sp>
          <p:nvSpPr>
            <p:cNvPr id="9" name="椭圆 8">
              <a:extLst>
                <a:ext uri="{FF2B5EF4-FFF2-40B4-BE49-F238E27FC236}">
                  <a16:creationId xmlns:a16="http://schemas.microsoft.com/office/drawing/2014/main" id="{0FF0439A-5B9D-410E-976B-F3389408BAF7}"/>
                </a:ext>
              </a:extLst>
            </p:cNvPr>
            <p:cNvSpPr/>
            <p:nvPr/>
          </p:nvSpPr>
          <p:spPr>
            <a:xfrm>
              <a:off x="8247427" y="2514599"/>
              <a:ext cx="1828802" cy="1828802"/>
            </a:xfrm>
            <a:prstGeom prst="ellipse">
              <a:avLst/>
            </a:prstGeom>
            <a:gradFill>
              <a:gsLst>
                <a:gs pos="0">
                  <a:schemeClr val="accent1"/>
                </a:gs>
                <a:gs pos="100000">
                  <a:schemeClr val="accent1">
                    <a:lumMod val="75000"/>
                  </a:schemeClr>
                </a:gs>
              </a:gsLst>
              <a:lin ang="2700000" scaled="0"/>
            </a:gradFill>
            <a:ln w="25400" cap="flat" cmpd="sng" algn="ctr">
              <a:noFill/>
              <a:prstDash val="solid"/>
              <a:miter lim="800000"/>
            </a:ln>
            <a:effectLst>
              <a:outerShdw blurRad="254000" dist="88900" dir="2700000" algn="tl" rotWithShape="0">
                <a:schemeClr val="accent1">
                  <a:lumMod val="50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弧形 9">
              <a:extLst>
                <a:ext uri="{FF2B5EF4-FFF2-40B4-BE49-F238E27FC236}">
                  <a16:creationId xmlns:a16="http://schemas.microsoft.com/office/drawing/2014/main" id="{30093468-336F-466B-AF45-75DA8AC5627D}"/>
                </a:ext>
              </a:extLst>
            </p:cNvPr>
            <p:cNvSpPr/>
            <p:nvPr/>
          </p:nvSpPr>
          <p:spPr>
            <a:xfrm>
              <a:off x="7986589" y="2253761"/>
              <a:ext cx="2350478" cy="2350478"/>
            </a:xfrm>
            <a:prstGeom prst="arc">
              <a:avLst>
                <a:gd name="adj1" fmla="val 4461327"/>
                <a:gd name="adj2" fmla="val 20592142"/>
              </a:avLst>
            </a:prstGeom>
            <a:noFill/>
            <a:ln w="25400" cap="flat" cmpd="sng" algn="ctr">
              <a:solidFill>
                <a:schemeClr val="accent1"/>
              </a:solidFill>
              <a:prstDash val="solid"/>
              <a:miter lim="800000"/>
              <a:headEnd type="oval"/>
              <a:tailEnd type="ova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 name="弧形 10">
              <a:extLst>
                <a:ext uri="{FF2B5EF4-FFF2-40B4-BE49-F238E27FC236}">
                  <a16:creationId xmlns:a16="http://schemas.microsoft.com/office/drawing/2014/main" id="{6481DA5C-6169-43E4-A7C7-FAA6CF81A570}"/>
                </a:ext>
              </a:extLst>
            </p:cNvPr>
            <p:cNvSpPr/>
            <p:nvPr/>
          </p:nvSpPr>
          <p:spPr>
            <a:xfrm>
              <a:off x="7986589" y="2253761"/>
              <a:ext cx="2350478" cy="2350478"/>
            </a:xfrm>
            <a:prstGeom prst="arc">
              <a:avLst>
                <a:gd name="adj1" fmla="val 20884791"/>
                <a:gd name="adj2" fmla="val 4134772"/>
              </a:avLst>
            </a:prstGeom>
            <a:noFill/>
            <a:ln w="155575" cap="flat" cmpd="sng" algn="ctr">
              <a:solidFill>
                <a:schemeClr val="accent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15" name="文本框 14">
            <a:extLst>
              <a:ext uri="{FF2B5EF4-FFF2-40B4-BE49-F238E27FC236}">
                <a16:creationId xmlns:a16="http://schemas.microsoft.com/office/drawing/2014/main" id="{2616C14A-6C63-4058-82AE-1581AE45F03C}"/>
              </a:ext>
            </a:extLst>
          </p:cNvPr>
          <p:cNvSpPr txBox="1"/>
          <p:nvPr/>
        </p:nvSpPr>
        <p:spPr>
          <a:xfrm>
            <a:off x="2649878" y="3608429"/>
            <a:ext cx="1154162" cy="276999"/>
          </a:xfrm>
          <a:prstGeom prst="rect">
            <a:avLst/>
          </a:prstGeom>
          <a:noFill/>
        </p:spPr>
        <p:txBody>
          <a:bodyPr wrap="none" lIns="0" tIns="0" rIns="0" bIns="0" rtlCol="0" anchor="t">
            <a:spAutoFit/>
          </a:bodyPr>
          <a:lstStyle/>
          <a:p>
            <a:pPr algn="l"/>
            <a:r>
              <a:rPr lang="zh-CN" altLang="en-US" dirty="0">
                <a:solidFill>
                  <a:schemeClr val="bg1"/>
                </a:solidFill>
                <a:latin typeface="+mj-ea"/>
                <a:ea typeface="+mj-ea"/>
              </a:rPr>
              <a:t>关键词标题</a:t>
            </a:r>
          </a:p>
        </p:txBody>
      </p:sp>
      <p:sp>
        <p:nvSpPr>
          <p:cNvPr id="16" name="文本框 15">
            <a:extLst>
              <a:ext uri="{FF2B5EF4-FFF2-40B4-BE49-F238E27FC236}">
                <a16:creationId xmlns:a16="http://schemas.microsoft.com/office/drawing/2014/main" id="{08F22FD5-C6EC-4B92-9DF5-3E802574AB55}"/>
              </a:ext>
            </a:extLst>
          </p:cNvPr>
          <p:cNvSpPr txBox="1"/>
          <p:nvPr/>
        </p:nvSpPr>
        <p:spPr>
          <a:xfrm>
            <a:off x="5632254" y="3608429"/>
            <a:ext cx="1154162" cy="276999"/>
          </a:xfrm>
          <a:prstGeom prst="rect">
            <a:avLst/>
          </a:prstGeom>
          <a:noFill/>
        </p:spPr>
        <p:txBody>
          <a:bodyPr wrap="none" lIns="0" tIns="0" rIns="0" bIns="0" rtlCol="0" anchor="t">
            <a:spAutoFit/>
          </a:bodyPr>
          <a:lstStyle/>
          <a:p>
            <a:pPr algn="l"/>
            <a:r>
              <a:rPr lang="zh-CN" altLang="en-US" dirty="0">
                <a:solidFill>
                  <a:schemeClr val="bg1"/>
                </a:solidFill>
                <a:latin typeface="+mj-ea"/>
                <a:ea typeface="+mj-ea"/>
              </a:rPr>
              <a:t>关键词标题</a:t>
            </a:r>
          </a:p>
        </p:txBody>
      </p:sp>
      <p:sp>
        <p:nvSpPr>
          <p:cNvPr id="17" name="文本框 16">
            <a:extLst>
              <a:ext uri="{FF2B5EF4-FFF2-40B4-BE49-F238E27FC236}">
                <a16:creationId xmlns:a16="http://schemas.microsoft.com/office/drawing/2014/main" id="{A2AE1F7B-7332-4E6B-B625-951CA600F8EE}"/>
              </a:ext>
            </a:extLst>
          </p:cNvPr>
          <p:cNvSpPr txBox="1"/>
          <p:nvPr/>
        </p:nvSpPr>
        <p:spPr>
          <a:xfrm>
            <a:off x="8613481" y="3608429"/>
            <a:ext cx="1154162" cy="276999"/>
          </a:xfrm>
          <a:prstGeom prst="rect">
            <a:avLst/>
          </a:prstGeom>
          <a:noFill/>
        </p:spPr>
        <p:txBody>
          <a:bodyPr wrap="none" lIns="0" tIns="0" rIns="0" bIns="0" rtlCol="0" anchor="t">
            <a:spAutoFit/>
          </a:bodyPr>
          <a:lstStyle/>
          <a:p>
            <a:pPr algn="l"/>
            <a:r>
              <a:rPr lang="zh-CN" altLang="en-US" dirty="0">
                <a:solidFill>
                  <a:schemeClr val="bg1"/>
                </a:solidFill>
                <a:latin typeface="+mj-ea"/>
                <a:ea typeface="+mj-ea"/>
              </a:rPr>
              <a:t>关键词标题</a:t>
            </a:r>
          </a:p>
        </p:txBody>
      </p:sp>
      <p:sp>
        <p:nvSpPr>
          <p:cNvPr id="18" name="iconfont-1179-866479">
            <a:extLst>
              <a:ext uri="{FF2B5EF4-FFF2-40B4-BE49-F238E27FC236}">
                <a16:creationId xmlns:a16="http://schemas.microsoft.com/office/drawing/2014/main" id="{8F9921C5-10FE-4CA4-8FFB-BC7592DD56D5}"/>
              </a:ext>
            </a:extLst>
          </p:cNvPr>
          <p:cNvSpPr/>
          <p:nvPr/>
        </p:nvSpPr>
        <p:spPr>
          <a:xfrm>
            <a:off x="2969573" y="2910821"/>
            <a:ext cx="514772" cy="609685"/>
          </a:xfrm>
          <a:custGeom>
            <a:avLst/>
            <a:gdLst>
              <a:gd name="T0" fmla="*/ 6573 w 9390"/>
              <a:gd name="T1" fmla="*/ 3437 h 11120"/>
              <a:gd name="T2" fmla="*/ 7967 w 9390"/>
              <a:gd name="T3" fmla="*/ 1730 h 11120"/>
              <a:gd name="T4" fmla="*/ 5311 w 9390"/>
              <a:gd name="T5" fmla="*/ 1140 h 11120"/>
              <a:gd name="T6" fmla="*/ 3129 w 9390"/>
              <a:gd name="T7" fmla="*/ 876 h 11120"/>
              <a:gd name="T8" fmla="*/ 2455 w 9390"/>
              <a:gd name="T9" fmla="*/ 3147 h 11120"/>
              <a:gd name="T10" fmla="*/ 7438 w 9390"/>
              <a:gd name="T11" fmla="*/ 4336 h 11120"/>
              <a:gd name="T12" fmla="*/ 2969 w 9390"/>
              <a:gd name="T13" fmla="*/ 4006 h 11120"/>
              <a:gd name="T14" fmla="*/ 0 w 9390"/>
              <a:gd name="T15" fmla="*/ 8570 h 11120"/>
              <a:gd name="T16" fmla="*/ 6860 w 9390"/>
              <a:gd name="T17" fmla="*/ 11120 h 11120"/>
              <a:gd name="T18" fmla="*/ 7438 w 9390"/>
              <a:gd name="T19" fmla="*/ 4336 h 11120"/>
              <a:gd name="T20" fmla="*/ 5549 w 9390"/>
              <a:gd name="T21" fmla="*/ 7248 h 11120"/>
              <a:gd name="T22" fmla="*/ 5919 w 9390"/>
              <a:gd name="T23" fmla="*/ 7515 h 11120"/>
              <a:gd name="T24" fmla="*/ 6098 w 9390"/>
              <a:gd name="T25" fmla="*/ 7695 h 11120"/>
              <a:gd name="T26" fmla="*/ 5384 w 9390"/>
              <a:gd name="T27" fmla="*/ 7874 h 11120"/>
              <a:gd name="T28" fmla="*/ 5195 w 9390"/>
              <a:gd name="T29" fmla="*/ 8151 h 11120"/>
              <a:gd name="T30" fmla="*/ 5919 w 9390"/>
              <a:gd name="T31" fmla="*/ 8331 h 11120"/>
              <a:gd name="T32" fmla="*/ 5919 w 9390"/>
              <a:gd name="T33" fmla="*/ 8690 h 11120"/>
              <a:gd name="T34" fmla="*/ 5195 w 9390"/>
              <a:gd name="T35" fmla="*/ 8870 h 11120"/>
              <a:gd name="T36" fmla="*/ 5015 w 9390"/>
              <a:gd name="T37" fmla="*/ 9507 h 11120"/>
              <a:gd name="T38" fmla="*/ 4510 w 9390"/>
              <a:gd name="T39" fmla="*/ 9327 h 11120"/>
              <a:gd name="T40" fmla="*/ 4330 w 9390"/>
              <a:gd name="T41" fmla="*/ 8690 h 11120"/>
              <a:gd name="T42" fmla="*/ 3612 w 9390"/>
              <a:gd name="T43" fmla="*/ 8510 h 11120"/>
              <a:gd name="T44" fmla="*/ 4329 w 9390"/>
              <a:gd name="T45" fmla="*/ 8331 h 11120"/>
              <a:gd name="T46" fmla="*/ 4511 w 9390"/>
              <a:gd name="T47" fmla="*/ 8063 h 11120"/>
              <a:gd name="T48" fmla="*/ 3792 w 9390"/>
              <a:gd name="T49" fmla="*/ 7873 h 11120"/>
              <a:gd name="T50" fmla="*/ 3612 w 9390"/>
              <a:gd name="T51" fmla="*/ 7694 h 11120"/>
              <a:gd name="T52" fmla="*/ 3999 w 9390"/>
              <a:gd name="T53" fmla="*/ 7514 h 11120"/>
              <a:gd name="T54" fmla="*/ 3406 w 9390"/>
              <a:gd name="T55" fmla="*/ 5887 h 11120"/>
              <a:gd name="T56" fmla="*/ 3920 w 9390"/>
              <a:gd name="T57" fmla="*/ 5620 h 11120"/>
              <a:gd name="T58" fmla="*/ 4691 w 9390"/>
              <a:gd name="T59" fmla="*/ 6937 h 11120"/>
              <a:gd name="T60" fmla="*/ 5623 w 9390"/>
              <a:gd name="T61" fmla="*/ 5719 h 11120"/>
              <a:gd name="T62" fmla="*/ 6140 w 9390"/>
              <a:gd name="T63" fmla="*/ 5620 h 1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390" h="11120">
                <a:moveTo>
                  <a:pt x="3078" y="3437"/>
                </a:moveTo>
                <a:lnTo>
                  <a:pt x="6573" y="3437"/>
                </a:lnTo>
                <a:cubicBezTo>
                  <a:pt x="6809" y="3437"/>
                  <a:pt x="7036" y="3338"/>
                  <a:pt x="7187" y="3157"/>
                </a:cubicBezTo>
                <a:cubicBezTo>
                  <a:pt x="7548" y="2728"/>
                  <a:pt x="7890" y="2202"/>
                  <a:pt x="7967" y="1730"/>
                </a:cubicBezTo>
                <a:cubicBezTo>
                  <a:pt x="8121" y="786"/>
                  <a:pt x="7717" y="307"/>
                  <a:pt x="6544" y="307"/>
                </a:cubicBezTo>
                <a:cubicBezTo>
                  <a:pt x="5370" y="307"/>
                  <a:pt x="5767" y="1077"/>
                  <a:pt x="5311" y="1140"/>
                </a:cubicBezTo>
                <a:cubicBezTo>
                  <a:pt x="4971" y="1187"/>
                  <a:pt x="4983" y="739"/>
                  <a:pt x="4449" y="308"/>
                </a:cubicBezTo>
                <a:cubicBezTo>
                  <a:pt x="4066" y="0"/>
                  <a:pt x="3636" y="871"/>
                  <a:pt x="3129" y="876"/>
                </a:cubicBezTo>
                <a:cubicBezTo>
                  <a:pt x="2538" y="884"/>
                  <a:pt x="1707" y="720"/>
                  <a:pt x="1707" y="1730"/>
                </a:cubicBezTo>
                <a:cubicBezTo>
                  <a:pt x="1707" y="2138"/>
                  <a:pt x="2065" y="2690"/>
                  <a:pt x="2455" y="3147"/>
                </a:cubicBezTo>
                <a:cubicBezTo>
                  <a:pt x="2612" y="3330"/>
                  <a:pt x="2838" y="3437"/>
                  <a:pt x="3078" y="3437"/>
                </a:cubicBezTo>
                <a:close/>
                <a:moveTo>
                  <a:pt x="7438" y="4336"/>
                </a:moveTo>
                <a:cubicBezTo>
                  <a:pt x="7252" y="4125"/>
                  <a:pt x="6981" y="4006"/>
                  <a:pt x="6699" y="4006"/>
                </a:cubicBezTo>
                <a:lnTo>
                  <a:pt x="2969" y="4006"/>
                </a:lnTo>
                <a:cubicBezTo>
                  <a:pt x="2700" y="4006"/>
                  <a:pt x="2440" y="4115"/>
                  <a:pt x="2253" y="4310"/>
                </a:cubicBezTo>
                <a:cubicBezTo>
                  <a:pt x="1081" y="5538"/>
                  <a:pt x="0" y="7291"/>
                  <a:pt x="0" y="8570"/>
                </a:cubicBezTo>
                <a:cubicBezTo>
                  <a:pt x="0" y="9697"/>
                  <a:pt x="1133" y="11120"/>
                  <a:pt x="2530" y="11120"/>
                </a:cubicBezTo>
                <a:lnTo>
                  <a:pt x="6860" y="11120"/>
                </a:lnTo>
                <a:cubicBezTo>
                  <a:pt x="8257" y="11120"/>
                  <a:pt x="9390" y="9709"/>
                  <a:pt x="9390" y="8570"/>
                </a:cubicBezTo>
                <a:cubicBezTo>
                  <a:pt x="9390" y="7268"/>
                  <a:pt x="8520" y="5564"/>
                  <a:pt x="7438" y="4336"/>
                </a:cubicBezTo>
                <a:close/>
                <a:moveTo>
                  <a:pt x="6299" y="5888"/>
                </a:moveTo>
                <a:lnTo>
                  <a:pt x="5549" y="7248"/>
                </a:lnTo>
                <a:cubicBezTo>
                  <a:pt x="5483" y="7368"/>
                  <a:pt x="5570" y="7515"/>
                  <a:pt x="5706" y="7515"/>
                </a:cubicBezTo>
                <a:lnTo>
                  <a:pt x="5919" y="7515"/>
                </a:lnTo>
                <a:cubicBezTo>
                  <a:pt x="6017" y="7515"/>
                  <a:pt x="6098" y="7595"/>
                  <a:pt x="6098" y="7695"/>
                </a:cubicBezTo>
                <a:lnTo>
                  <a:pt x="6098" y="7695"/>
                </a:lnTo>
                <a:cubicBezTo>
                  <a:pt x="6098" y="7793"/>
                  <a:pt x="6018" y="7874"/>
                  <a:pt x="5919" y="7874"/>
                </a:cubicBezTo>
                <a:lnTo>
                  <a:pt x="5384" y="7874"/>
                </a:lnTo>
                <a:cubicBezTo>
                  <a:pt x="5279" y="7874"/>
                  <a:pt x="5196" y="7958"/>
                  <a:pt x="5195" y="8062"/>
                </a:cubicBezTo>
                <a:lnTo>
                  <a:pt x="5195" y="8151"/>
                </a:lnTo>
                <a:cubicBezTo>
                  <a:pt x="5195" y="8249"/>
                  <a:pt x="5275" y="8331"/>
                  <a:pt x="5375" y="8331"/>
                </a:cubicBezTo>
                <a:lnTo>
                  <a:pt x="5919" y="8331"/>
                </a:lnTo>
                <a:cubicBezTo>
                  <a:pt x="6017" y="8331"/>
                  <a:pt x="6098" y="8411"/>
                  <a:pt x="6098" y="8510"/>
                </a:cubicBezTo>
                <a:cubicBezTo>
                  <a:pt x="6098" y="8610"/>
                  <a:pt x="6018" y="8690"/>
                  <a:pt x="5919" y="8690"/>
                </a:cubicBezTo>
                <a:lnTo>
                  <a:pt x="5375" y="8690"/>
                </a:lnTo>
                <a:cubicBezTo>
                  <a:pt x="5276" y="8690"/>
                  <a:pt x="5195" y="8770"/>
                  <a:pt x="5195" y="8870"/>
                </a:cubicBezTo>
                <a:lnTo>
                  <a:pt x="5195" y="9327"/>
                </a:lnTo>
                <a:cubicBezTo>
                  <a:pt x="5195" y="9426"/>
                  <a:pt x="5115" y="9507"/>
                  <a:pt x="5015" y="9507"/>
                </a:cubicBezTo>
                <a:lnTo>
                  <a:pt x="4690" y="9507"/>
                </a:lnTo>
                <a:cubicBezTo>
                  <a:pt x="4591" y="9507"/>
                  <a:pt x="4510" y="9427"/>
                  <a:pt x="4510" y="9327"/>
                </a:cubicBezTo>
                <a:lnTo>
                  <a:pt x="4510" y="8870"/>
                </a:lnTo>
                <a:cubicBezTo>
                  <a:pt x="4510" y="8771"/>
                  <a:pt x="4430" y="8690"/>
                  <a:pt x="4330" y="8690"/>
                </a:cubicBezTo>
                <a:lnTo>
                  <a:pt x="3792" y="8690"/>
                </a:lnTo>
                <a:cubicBezTo>
                  <a:pt x="3693" y="8690"/>
                  <a:pt x="3612" y="8610"/>
                  <a:pt x="3612" y="8510"/>
                </a:cubicBezTo>
                <a:cubicBezTo>
                  <a:pt x="3612" y="8411"/>
                  <a:pt x="3692" y="8331"/>
                  <a:pt x="3792" y="8331"/>
                </a:cubicBezTo>
                <a:lnTo>
                  <a:pt x="4329" y="8331"/>
                </a:lnTo>
                <a:cubicBezTo>
                  <a:pt x="4429" y="8331"/>
                  <a:pt x="4509" y="8251"/>
                  <a:pt x="4510" y="8151"/>
                </a:cubicBezTo>
                <a:lnTo>
                  <a:pt x="4511" y="8063"/>
                </a:lnTo>
                <a:cubicBezTo>
                  <a:pt x="4512" y="7959"/>
                  <a:pt x="4427" y="7873"/>
                  <a:pt x="4322" y="7873"/>
                </a:cubicBezTo>
                <a:lnTo>
                  <a:pt x="3792" y="7873"/>
                </a:lnTo>
                <a:cubicBezTo>
                  <a:pt x="3693" y="7873"/>
                  <a:pt x="3612" y="7793"/>
                  <a:pt x="3612" y="7694"/>
                </a:cubicBezTo>
                <a:lnTo>
                  <a:pt x="3612" y="7694"/>
                </a:lnTo>
                <a:cubicBezTo>
                  <a:pt x="3612" y="7595"/>
                  <a:pt x="3692" y="7514"/>
                  <a:pt x="3792" y="7514"/>
                </a:cubicBezTo>
                <a:lnTo>
                  <a:pt x="3999" y="7514"/>
                </a:lnTo>
                <a:cubicBezTo>
                  <a:pt x="4136" y="7514"/>
                  <a:pt x="4221" y="7367"/>
                  <a:pt x="4156" y="7247"/>
                </a:cubicBezTo>
                <a:lnTo>
                  <a:pt x="3406" y="5887"/>
                </a:lnTo>
                <a:cubicBezTo>
                  <a:pt x="3340" y="5767"/>
                  <a:pt x="3426" y="5620"/>
                  <a:pt x="3562" y="5620"/>
                </a:cubicBezTo>
                <a:lnTo>
                  <a:pt x="3920" y="5620"/>
                </a:lnTo>
                <a:cubicBezTo>
                  <a:pt x="3988" y="5620"/>
                  <a:pt x="4050" y="5659"/>
                  <a:pt x="4080" y="5719"/>
                </a:cubicBezTo>
                <a:lnTo>
                  <a:pt x="4691" y="6937"/>
                </a:lnTo>
                <a:cubicBezTo>
                  <a:pt x="4756" y="7069"/>
                  <a:pt x="4945" y="7069"/>
                  <a:pt x="5012" y="6937"/>
                </a:cubicBezTo>
                <a:lnTo>
                  <a:pt x="5623" y="5719"/>
                </a:lnTo>
                <a:cubicBezTo>
                  <a:pt x="5653" y="5659"/>
                  <a:pt x="5715" y="5620"/>
                  <a:pt x="5783" y="5620"/>
                </a:cubicBezTo>
                <a:lnTo>
                  <a:pt x="6140" y="5620"/>
                </a:lnTo>
                <a:cubicBezTo>
                  <a:pt x="6278" y="5622"/>
                  <a:pt x="6365" y="5768"/>
                  <a:pt x="6299" y="588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 name="iconfont-1187-868110">
            <a:extLst>
              <a:ext uri="{FF2B5EF4-FFF2-40B4-BE49-F238E27FC236}">
                <a16:creationId xmlns:a16="http://schemas.microsoft.com/office/drawing/2014/main" id="{0DF578EA-7642-4EEC-BF32-944A043C3B6C}"/>
              </a:ext>
            </a:extLst>
          </p:cNvPr>
          <p:cNvSpPr/>
          <p:nvPr/>
        </p:nvSpPr>
        <p:spPr>
          <a:xfrm>
            <a:off x="5965495" y="2962281"/>
            <a:ext cx="487680" cy="470302"/>
          </a:xfrm>
          <a:custGeom>
            <a:avLst/>
            <a:gdLst>
              <a:gd name="T0" fmla="*/ 11888 w 12803"/>
              <a:gd name="T1" fmla="*/ 0 h 12345"/>
              <a:gd name="T2" fmla="*/ 914 w 12803"/>
              <a:gd name="T3" fmla="*/ 0 h 12345"/>
              <a:gd name="T4" fmla="*/ 0 w 12803"/>
              <a:gd name="T5" fmla="*/ 914 h 12345"/>
              <a:gd name="T6" fmla="*/ 0 w 12803"/>
              <a:gd name="T7" fmla="*/ 8687 h 12345"/>
              <a:gd name="T8" fmla="*/ 914 w 12803"/>
              <a:gd name="T9" fmla="*/ 9602 h 12345"/>
              <a:gd name="T10" fmla="*/ 3201 w 12803"/>
              <a:gd name="T11" fmla="*/ 9602 h 12345"/>
              <a:gd name="T12" fmla="*/ 3201 w 12803"/>
              <a:gd name="T13" fmla="*/ 12345 h 12345"/>
              <a:gd name="T14" fmla="*/ 8230 w 12803"/>
              <a:gd name="T15" fmla="*/ 9602 h 12345"/>
              <a:gd name="T16" fmla="*/ 11888 w 12803"/>
              <a:gd name="T17" fmla="*/ 9602 h 12345"/>
              <a:gd name="T18" fmla="*/ 12803 w 12803"/>
              <a:gd name="T19" fmla="*/ 8687 h 12345"/>
              <a:gd name="T20" fmla="*/ 12803 w 12803"/>
              <a:gd name="T21" fmla="*/ 914 h 12345"/>
              <a:gd name="T22" fmla="*/ 11888 w 12803"/>
              <a:gd name="T23" fmla="*/ 0 h 12345"/>
              <a:gd name="T24" fmla="*/ 3201 w 12803"/>
              <a:gd name="T25" fmla="*/ 5487 h 12345"/>
              <a:gd name="T26" fmla="*/ 2286 w 12803"/>
              <a:gd name="T27" fmla="*/ 4572 h 12345"/>
              <a:gd name="T28" fmla="*/ 3201 w 12803"/>
              <a:gd name="T29" fmla="*/ 3658 h 12345"/>
              <a:gd name="T30" fmla="*/ 4115 w 12803"/>
              <a:gd name="T31" fmla="*/ 4572 h 12345"/>
              <a:gd name="T32" fmla="*/ 3201 w 12803"/>
              <a:gd name="T33" fmla="*/ 5487 h 12345"/>
              <a:gd name="T34" fmla="*/ 6401 w 12803"/>
              <a:gd name="T35" fmla="*/ 5487 h 12345"/>
              <a:gd name="T36" fmla="*/ 5487 w 12803"/>
              <a:gd name="T37" fmla="*/ 4572 h 12345"/>
              <a:gd name="T38" fmla="*/ 6401 w 12803"/>
              <a:gd name="T39" fmla="*/ 3658 h 12345"/>
              <a:gd name="T40" fmla="*/ 7316 w 12803"/>
              <a:gd name="T41" fmla="*/ 4572 h 12345"/>
              <a:gd name="T42" fmla="*/ 6401 w 12803"/>
              <a:gd name="T43" fmla="*/ 5487 h 12345"/>
              <a:gd name="T44" fmla="*/ 9602 w 12803"/>
              <a:gd name="T45" fmla="*/ 5487 h 12345"/>
              <a:gd name="T46" fmla="*/ 8687 w 12803"/>
              <a:gd name="T47" fmla="*/ 4572 h 12345"/>
              <a:gd name="T48" fmla="*/ 9602 w 12803"/>
              <a:gd name="T49" fmla="*/ 3658 h 12345"/>
              <a:gd name="T50" fmla="*/ 10516 w 12803"/>
              <a:gd name="T51" fmla="*/ 4572 h 12345"/>
              <a:gd name="T52" fmla="*/ 9602 w 12803"/>
              <a:gd name="T53" fmla="*/ 5487 h 12345"/>
              <a:gd name="T54" fmla="*/ 9602 w 12803"/>
              <a:gd name="T55" fmla="*/ 5487 h 123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2803" h="12345">
                <a:moveTo>
                  <a:pt x="11888" y="0"/>
                </a:moveTo>
                <a:lnTo>
                  <a:pt x="914" y="0"/>
                </a:lnTo>
                <a:cubicBezTo>
                  <a:pt x="409" y="0"/>
                  <a:pt x="0" y="409"/>
                  <a:pt x="0" y="914"/>
                </a:cubicBezTo>
                <a:lnTo>
                  <a:pt x="0" y="8687"/>
                </a:lnTo>
                <a:cubicBezTo>
                  <a:pt x="0" y="9193"/>
                  <a:pt x="409" y="9602"/>
                  <a:pt x="914" y="9602"/>
                </a:cubicBezTo>
                <a:lnTo>
                  <a:pt x="3201" y="9602"/>
                </a:lnTo>
                <a:lnTo>
                  <a:pt x="3201" y="12345"/>
                </a:lnTo>
                <a:lnTo>
                  <a:pt x="8230" y="9602"/>
                </a:lnTo>
                <a:lnTo>
                  <a:pt x="11888" y="9602"/>
                </a:lnTo>
                <a:cubicBezTo>
                  <a:pt x="12393" y="9602"/>
                  <a:pt x="12803" y="9193"/>
                  <a:pt x="12803" y="8687"/>
                </a:cubicBezTo>
                <a:lnTo>
                  <a:pt x="12803" y="914"/>
                </a:lnTo>
                <a:cubicBezTo>
                  <a:pt x="12803" y="409"/>
                  <a:pt x="12393" y="0"/>
                  <a:pt x="11888" y="0"/>
                </a:cubicBezTo>
                <a:close/>
                <a:moveTo>
                  <a:pt x="3201" y="5487"/>
                </a:moveTo>
                <a:cubicBezTo>
                  <a:pt x="2695" y="5487"/>
                  <a:pt x="2286" y="5077"/>
                  <a:pt x="2286" y="4572"/>
                </a:cubicBezTo>
                <a:cubicBezTo>
                  <a:pt x="2286" y="4067"/>
                  <a:pt x="2695" y="3658"/>
                  <a:pt x="3201" y="3658"/>
                </a:cubicBezTo>
                <a:cubicBezTo>
                  <a:pt x="3706" y="3658"/>
                  <a:pt x="4115" y="4067"/>
                  <a:pt x="4115" y="4572"/>
                </a:cubicBezTo>
                <a:cubicBezTo>
                  <a:pt x="4115" y="5077"/>
                  <a:pt x="3706" y="5487"/>
                  <a:pt x="3201" y="5487"/>
                </a:cubicBezTo>
                <a:close/>
                <a:moveTo>
                  <a:pt x="6401" y="5487"/>
                </a:moveTo>
                <a:cubicBezTo>
                  <a:pt x="5896" y="5487"/>
                  <a:pt x="5487" y="5077"/>
                  <a:pt x="5487" y="4572"/>
                </a:cubicBezTo>
                <a:cubicBezTo>
                  <a:pt x="5487" y="4067"/>
                  <a:pt x="5896" y="3658"/>
                  <a:pt x="6401" y="3658"/>
                </a:cubicBezTo>
                <a:cubicBezTo>
                  <a:pt x="6907" y="3658"/>
                  <a:pt x="7316" y="4067"/>
                  <a:pt x="7316" y="4572"/>
                </a:cubicBezTo>
                <a:cubicBezTo>
                  <a:pt x="7316" y="5077"/>
                  <a:pt x="6907" y="5487"/>
                  <a:pt x="6401" y="5487"/>
                </a:cubicBezTo>
                <a:close/>
                <a:moveTo>
                  <a:pt x="9602" y="5487"/>
                </a:moveTo>
                <a:cubicBezTo>
                  <a:pt x="9097" y="5487"/>
                  <a:pt x="8687" y="5077"/>
                  <a:pt x="8687" y="4572"/>
                </a:cubicBezTo>
                <a:cubicBezTo>
                  <a:pt x="8687" y="4067"/>
                  <a:pt x="9097" y="3658"/>
                  <a:pt x="9602" y="3658"/>
                </a:cubicBezTo>
                <a:cubicBezTo>
                  <a:pt x="10107" y="3658"/>
                  <a:pt x="10516" y="4067"/>
                  <a:pt x="10516" y="4572"/>
                </a:cubicBezTo>
                <a:cubicBezTo>
                  <a:pt x="10516" y="5077"/>
                  <a:pt x="10107" y="5487"/>
                  <a:pt x="9602" y="5487"/>
                </a:cubicBezTo>
                <a:close/>
                <a:moveTo>
                  <a:pt x="9602" y="5487"/>
                </a:move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iconfont-1186-646597">
            <a:extLst>
              <a:ext uri="{FF2B5EF4-FFF2-40B4-BE49-F238E27FC236}">
                <a16:creationId xmlns:a16="http://schemas.microsoft.com/office/drawing/2014/main" id="{2A1ED905-EF2F-444D-883D-06CC99272301}"/>
              </a:ext>
            </a:extLst>
          </p:cNvPr>
          <p:cNvSpPr/>
          <p:nvPr/>
        </p:nvSpPr>
        <p:spPr>
          <a:xfrm>
            <a:off x="8994786" y="2986909"/>
            <a:ext cx="391552" cy="457508"/>
          </a:xfrm>
          <a:custGeom>
            <a:avLst/>
            <a:gdLst>
              <a:gd name="T0" fmla="*/ 8209 w 10908"/>
              <a:gd name="T1" fmla="*/ 2143 h 12744"/>
              <a:gd name="T2" fmla="*/ 8209 w 10908"/>
              <a:gd name="T3" fmla="*/ 1057 h 12744"/>
              <a:gd name="T4" fmla="*/ 7124 w 10908"/>
              <a:gd name="T5" fmla="*/ 0 h 12744"/>
              <a:gd name="T6" fmla="*/ 3840 w 10908"/>
              <a:gd name="T7" fmla="*/ 0 h 12744"/>
              <a:gd name="T8" fmla="*/ 2755 w 10908"/>
              <a:gd name="T9" fmla="*/ 1057 h 12744"/>
              <a:gd name="T10" fmla="*/ 2755 w 10908"/>
              <a:gd name="T11" fmla="*/ 2115 h 12744"/>
              <a:gd name="T12" fmla="*/ 0 w 10908"/>
              <a:gd name="T13" fmla="*/ 2115 h 12744"/>
              <a:gd name="T14" fmla="*/ 0 w 10908"/>
              <a:gd name="T15" fmla="*/ 3172 h 12744"/>
              <a:gd name="T16" fmla="*/ 1085 w 10908"/>
              <a:gd name="T17" fmla="*/ 3172 h 12744"/>
              <a:gd name="T18" fmla="*/ 1085 w 10908"/>
              <a:gd name="T19" fmla="*/ 11687 h 12744"/>
              <a:gd name="T20" fmla="*/ 2171 w 10908"/>
              <a:gd name="T21" fmla="*/ 12744 h 12744"/>
              <a:gd name="T22" fmla="*/ 8738 w 10908"/>
              <a:gd name="T23" fmla="*/ 12744 h 12744"/>
              <a:gd name="T24" fmla="*/ 9823 w 10908"/>
              <a:gd name="T25" fmla="*/ 11687 h 12744"/>
              <a:gd name="T26" fmla="*/ 9823 w 10908"/>
              <a:gd name="T27" fmla="*/ 3200 h 12744"/>
              <a:gd name="T28" fmla="*/ 10908 w 10908"/>
              <a:gd name="T29" fmla="*/ 3200 h 12744"/>
              <a:gd name="T30" fmla="*/ 10908 w 10908"/>
              <a:gd name="T31" fmla="*/ 2143 h 12744"/>
              <a:gd name="T32" fmla="*/ 8209 w 10908"/>
              <a:gd name="T33" fmla="*/ 2143 h 12744"/>
              <a:gd name="T34" fmla="*/ 4870 w 10908"/>
              <a:gd name="T35" fmla="*/ 10963 h 12744"/>
              <a:gd name="T36" fmla="*/ 3645 w 10908"/>
              <a:gd name="T37" fmla="*/ 10963 h 12744"/>
              <a:gd name="T38" fmla="*/ 3645 w 10908"/>
              <a:gd name="T39" fmla="*/ 4257 h 12744"/>
              <a:gd name="T40" fmla="*/ 4870 w 10908"/>
              <a:gd name="T41" fmla="*/ 4257 h 12744"/>
              <a:gd name="T42" fmla="*/ 4870 w 10908"/>
              <a:gd name="T43" fmla="*/ 10963 h 12744"/>
              <a:gd name="T44" fmla="*/ 7319 w 10908"/>
              <a:gd name="T45" fmla="*/ 10963 h 12744"/>
              <a:gd name="T46" fmla="*/ 6094 w 10908"/>
              <a:gd name="T47" fmla="*/ 10963 h 12744"/>
              <a:gd name="T48" fmla="*/ 6094 w 10908"/>
              <a:gd name="T49" fmla="*/ 4257 h 12744"/>
              <a:gd name="T50" fmla="*/ 7319 w 10908"/>
              <a:gd name="T51" fmla="*/ 4257 h 12744"/>
              <a:gd name="T52" fmla="*/ 7319 w 10908"/>
              <a:gd name="T53" fmla="*/ 10963 h 127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0908" h="12744">
                <a:moveTo>
                  <a:pt x="8209" y="2143"/>
                </a:moveTo>
                <a:lnTo>
                  <a:pt x="8209" y="1057"/>
                </a:lnTo>
                <a:cubicBezTo>
                  <a:pt x="8209" y="473"/>
                  <a:pt x="7708" y="0"/>
                  <a:pt x="7124" y="0"/>
                </a:cubicBezTo>
                <a:lnTo>
                  <a:pt x="3840" y="0"/>
                </a:lnTo>
                <a:cubicBezTo>
                  <a:pt x="3228" y="0"/>
                  <a:pt x="2755" y="473"/>
                  <a:pt x="2755" y="1057"/>
                </a:cubicBezTo>
                <a:lnTo>
                  <a:pt x="2755" y="2115"/>
                </a:lnTo>
                <a:lnTo>
                  <a:pt x="0" y="2115"/>
                </a:lnTo>
                <a:lnTo>
                  <a:pt x="0" y="3172"/>
                </a:lnTo>
                <a:lnTo>
                  <a:pt x="1085" y="3172"/>
                </a:lnTo>
                <a:lnTo>
                  <a:pt x="1085" y="11687"/>
                </a:lnTo>
                <a:cubicBezTo>
                  <a:pt x="1085" y="12271"/>
                  <a:pt x="1586" y="12744"/>
                  <a:pt x="2171" y="12744"/>
                </a:cubicBezTo>
                <a:lnTo>
                  <a:pt x="8738" y="12744"/>
                </a:lnTo>
                <a:cubicBezTo>
                  <a:pt x="9350" y="12744"/>
                  <a:pt x="9823" y="12271"/>
                  <a:pt x="9823" y="11687"/>
                </a:cubicBezTo>
                <a:lnTo>
                  <a:pt x="9823" y="3200"/>
                </a:lnTo>
                <a:lnTo>
                  <a:pt x="10908" y="3200"/>
                </a:lnTo>
                <a:lnTo>
                  <a:pt x="10908" y="2143"/>
                </a:lnTo>
                <a:lnTo>
                  <a:pt x="8209" y="2143"/>
                </a:lnTo>
                <a:close/>
                <a:moveTo>
                  <a:pt x="4870" y="10963"/>
                </a:moveTo>
                <a:lnTo>
                  <a:pt x="3645" y="10963"/>
                </a:lnTo>
                <a:lnTo>
                  <a:pt x="3645" y="4257"/>
                </a:lnTo>
                <a:lnTo>
                  <a:pt x="4870" y="4257"/>
                </a:lnTo>
                <a:lnTo>
                  <a:pt x="4870" y="10963"/>
                </a:lnTo>
                <a:close/>
                <a:moveTo>
                  <a:pt x="7319" y="10963"/>
                </a:moveTo>
                <a:lnTo>
                  <a:pt x="6094" y="10963"/>
                </a:lnTo>
                <a:lnTo>
                  <a:pt x="6094" y="4257"/>
                </a:lnTo>
                <a:lnTo>
                  <a:pt x="7319" y="4257"/>
                </a:lnTo>
                <a:lnTo>
                  <a:pt x="7319" y="1096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506028181"/>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2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椭圆 3">
            <a:extLst>
              <a:ext uri="{FF2B5EF4-FFF2-40B4-BE49-F238E27FC236}">
                <a16:creationId xmlns:a16="http://schemas.microsoft.com/office/drawing/2014/main" id="{FEE6B448-B849-4A9A-9A9D-9714ADE58110}"/>
              </a:ext>
            </a:extLst>
          </p:cNvPr>
          <p:cNvSpPr/>
          <p:nvPr/>
        </p:nvSpPr>
        <p:spPr>
          <a:xfrm>
            <a:off x="5170852" y="2514599"/>
            <a:ext cx="1828802" cy="1828802"/>
          </a:xfrm>
          <a:prstGeom prst="ellipse">
            <a:avLst/>
          </a:prstGeom>
          <a:gradFill>
            <a:gsLst>
              <a:gs pos="0">
                <a:schemeClr val="accent1"/>
              </a:gs>
              <a:gs pos="100000">
                <a:schemeClr val="accent1">
                  <a:lumMod val="75000"/>
                </a:schemeClr>
              </a:gs>
            </a:gsLst>
            <a:lin ang="2700000" scaled="0"/>
          </a:gradFill>
          <a:ln w="25400" cap="flat" cmpd="sng" algn="ctr">
            <a:noFill/>
            <a:prstDash val="solid"/>
            <a:miter lim="800000"/>
          </a:ln>
          <a:effectLst>
            <a:outerShdw blurRad="254000" dist="88900" dir="2700000" algn="tl" rotWithShape="0">
              <a:schemeClr val="accent1">
                <a:lumMod val="50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 name="弧形 4">
            <a:extLst>
              <a:ext uri="{FF2B5EF4-FFF2-40B4-BE49-F238E27FC236}">
                <a16:creationId xmlns:a16="http://schemas.microsoft.com/office/drawing/2014/main" id="{0BCE12D3-0A88-4804-ADFA-18BB5F7577C8}"/>
              </a:ext>
            </a:extLst>
          </p:cNvPr>
          <p:cNvSpPr/>
          <p:nvPr/>
        </p:nvSpPr>
        <p:spPr>
          <a:xfrm>
            <a:off x="4910014" y="2253761"/>
            <a:ext cx="2350478" cy="2350478"/>
          </a:xfrm>
          <a:prstGeom prst="arc">
            <a:avLst>
              <a:gd name="adj1" fmla="val 12947235"/>
              <a:gd name="adj2" fmla="val 15334976"/>
            </a:avLst>
          </a:prstGeom>
          <a:noFill/>
          <a:ln w="25400" cap="flat" cmpd="sng" algn="ctr">
            <a:solidFill>
              <a:schemeClr val="accent1"/>
            </a:solidFill>
            <a:prstDash val="solid"/>
            <a:miter lim="800000"/>
            <a:headEnd type="none"/>
            <a:tailEnd type="none"/>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 name="弧形 6">
            <a:extLst>
              <a:ext uri="{FF2B5EF4-FFF2-40B4-BE49-F238E27FC236}">
                <a16:creationId xmlns:a16="http://schemas.microsoft.com/office/drawing/2014/main" id="{0E54B0E4-0E22-4F4B-8714-B2339D0FC9C4}"/>
              </a:ext>
            </a:extLst>
          </p:cNvPr>
          <p:cNvSpPr/>
          <p:nvPr/>
        </p:nvSpPr>
        <p:spPr>
          <a:xfrm>
            <a:off x="4910014" y="2253761"/>
            <a:ext cx="2350478" cy="2350478"/>
          </a:xfrm>
          <a:prstGeom prst="arc">
            <a:avLst>
              <a:gd name="adj1" fmla="val 10531014"/>
              <a:gd name="adj2" fmla="val 12654201"/>
            </a:avLst>
          </a:prstGeom>
          <a:noFill/>
          <a:ln w="25400" cap="flat" cmpd="sng" algn="ctr">
            <a:solidFill>
              <a:schemeClr val="accent1"/>
            </a:solidFill>
            <a:prstDash val="solid"/>
            <a:miter lim="800000"/>
            <a:headEnd type="oval"/>
            <a:tailEnd type="none"/>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 name="弧形 8">
            <a:extLst>
              <a:ext uri="{FF2B5EF4-FFF2-40B4-BE49-F238E27FC236}">
                <a16:creationId xmlns:a16="http://schemas.microsoft.com/office/drawing/2014/main" id="{66BD0B62-D7DB-4384-9403-759C405E5C1A}"/>
              </a:ext>
            </a:extLst>
          </p:cNvPr>
          <p:cNvSpPr/>
          <p:nvPr/>
        </p:nvSpPr>
        <p:spPr>
          <a:xfrm>
            <a:off x="4910014" y="2253761"/>
            <a:ext cx="2350478" cy="2350478"/>
          </a:xfrm>
          <a:prstGeom prst="arc">
            <a:avLst>
              <a:gd name="adj1" fmla="val 9194216"/>
              <a:gd name="adj2" fmla="val 10224935"/>
            </a:avLst>
          </a:prstGeom>
          <a:noFill/>
          <a:ln w="25400" cap="flat" cmpd="sng" algn="ctr">
            <a:solidFill>
              <a:schemeClr val="accent1"/>
            </a:solidFill>
            <a:prstDash val="solid"/>
            <a:miter lim="800000"/>
            <a:headEnd type="none"/>
            <a:tailEnd type="none"/>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弧形 9">
            <a:extLst>
              <a:ext uri="{FF2B5EF4-FFF2-40B4-BE49-F238E27FC236}">
                <a16:creationId xmlns:a16="http://schemas.microsoft.com/office/drawing/2014/main" id="{C9BFFD15-B82A-4F96-BF7C-F3DC76513F80}"/>
              </a:ext>
            </a:extLst>
          </p:cNvPr>
          <p:cNvSpPr/>
          <p:nvPr/>
        </p:nvSpPr>
        <p:spPr>
          <a:xfrm>
            <a:off x="4910014" y="2253761"/>
            <a:ext cx="2350478" cy="2350478"/>
          </a:xfrm>
          <a:prstGeom prst="arc">
            <a:avLst>
              <a:gd name="adj1" fmla="val 5241815"/>
              <a:gd name="adj2" fmla="val 9051982"/>
            </a:avLst>
          </a:prstGeom>
          <a:noFill/>
          <a:ln w="25400" cap="flat" cmpd="sng" algn="ctr">
            <a:solidFill>
              <a:schemeClr val="accent1"/>
            </a:solidFill>
            <a:prstDash val="solid"/>
            <a:miter lim="800000"/>
            <a:headEnd type="oval"/>
            <a:tailEnd type="none"/>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 name="弧形 10">
            <a:extLst>
              <a:ext uri="{FF2B5EF4-FFF2-40B4-BE49-F238E27FC236}">
                <a16:creationId xmlns:a16="http://schemas.microsoft.com/office/drawing/2014/main" id="{EDE373F7-42B9-4C40-91A1-FB60545A705A}"/>
              </a:ext>
            </a:extLst>
          </p:cNvPr>
          <p:cNvSpPr/>
          <p:nvPr/>
        </p:nvSpPr>
        <p:spPr>
          <a:xfrm>
            <a:off x="4910014" y="2253761"/>
            <a:ext cx="2350478" cy="2350478"/>
          </a:xfrm>
          <a:prstGeom prst="arc">
            <a:avLst>
              <a:gd name="adj1" fmla="val 1983261"/>
              <a:gd name="adj2" fmla="val 4886885"/>
            </a:avLst>
          </a:prstGeom>
          <a:noFill/>
          <a:ln w="25400" cap="flat" cmpd="sng" algn="ctr">
            <a:solidFill>
              <a:schemeClr val="accent1"/>
            </a:solidFill>
            <a:prstDash val="solid"/>
            <a:miter lim="800000"/>
            <a:headEnd type="none"/>
            <a:tailEnd type="none"/>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 name="弧形 11">
            <a:extLst>
              <a:ext uri="{FF2B5EF4-FFF2-40B4-BE49-F238E27FC236}">
                <a16:creationId xmlns:a16="http://schemas.microsoft.com/office/drawing/2014/main" id="{77A4A239-C15B-4D6D-A2E4-0F9C3224217C}"/>
              </a:ext>
            </a:extLst>
          </p:cNvPr>
          <p:cNvSpPr/>
          <p:nvPr/>
        </p:nvSpPr>
        <p:spPr>
          <a:xfrm>
            <a:off x="4910014" y="2253761"/>
            <a:ext cx="2350478" cy="2350478"/>
          </a:xfrm>
          <a:prstGeom prst="arc">
            <a:avLst>
              <a:gd name="adj1" fmla="val 138107"/>
              <a:gd name="adj2" fmla="val 1817282"/>
            </a:avLst>
          </a:prstGeom>
          <a:noFill/>
          <a:ln w="25400" cap="flat" cmpd="sng" algn="ctr">
            <a:solidFill>
              <a:schemeClr val="accent1"/>
            </a:solidFill>
            <a:prstDash val="solid"/>
            <a:miter lim="800000"/>
            <a:headEnd type="oval"/>
            <a:tailEnd type="none"/>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3" name="弧形 12">
            <a:extLst>
              <a:ext uri="{FF2B5EF4-FFF2-40B4-BE49-F238E27FC236}">
                <a16:creationId xmlns:a16="http://schemas.microsoft.com/office/drawing/2014/main" id="{43CB81F2-0B28-4016-8B10-6D80651F13CC}"/>
              </a:ext>
            </a:extLst>
          </p:cNvPr>
          <p:cNvSpPr/>
          <p:nvPr/>
        </p:nvSpPr>
        <p:spPr>
          <a:xfrm>
            <a:off x="4910014" y="2253761"/>
            <a:ext cx="2350478" cy="2350478"/>
          </a:xfrm>
          <a:prstGeom prst="arc">
            <a:avLst>
              <a:gd name="adj1" fmla="val 19913688"/>
              <a:gd name="adj2" fmla="val 21506966"/>
            </a:avLst>
          </a:prstGeom>
          <a:noFill/>
          <a:ln w="25400" cap="flat" cmpd="sng" algn="ctr">
            <a:solidFill>
              <a:schemeClr val="accent1"/>
            </a:solidFill>
            <a:prstDash val="solid"/>
            <a:miter lim="800000"/>
            <a:headEnd type="none"/>
            <a:tailEnd type="none"/>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4" name="弧形 13">
            <a:extLst>
              <a:ext uri="{FF2B5EF4-FFF2-40B4-BE49-F238E27FC236}">
                <a16:creationId xmlns:a16="http://schemas.microsoft.com/office/drawing/2014/main" id="{4C517A39-1667-4A9A-AEEA-B97B795CA0D1}"/>
              </a:ext>
            </a:extLst>
          </p:cNvPr>
          <p:cNvSpPr/>
          <p:nvPr/>
        </p:nvSpPr>
        <p:spPr>
          <a:xfrm>
            <a:off x="4910014" y="2253761"/>
            <a:ext cx="2350478" cy="2350478"/>
          </a:xfrm>
          <a:prstGeom prst="arc">
            <a:avLst>
              <a:gd name="adj1" fmla="val 15789769"/>
              <a:gd name="adj2" fmla="val 19801853"/>
            </a:avLst>
          </a:prstGeom>
          <a:noFill/>
          <a:ln w="25400" cap="flat" cmpd="sng" algn="ctr">
            <a:solidFill>
              <a:schemeClr val="accent1"/>
            </a:solidFill>
            <a:prstDash val="solid"/>
            <a:miter lim="800000"/>
            <a:headEnd type="oval"/>
            <a:tailEnd type="none"/>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 name="任意多边形: 形状 14">
            <a:extLst>
              <a:ext uri="{FF2B5EF4-FFF2-40B4-BE49-F238E27FC236}">
                <a16:creationId xmlns:a16="http://schemas.microsoft.com/office/drawing/2014/main" id="{D7E4B7B6-A27C-4B24-8B09-5EABE4A4DAD7}"/>
              </a:ext>
            </a:extLst>
          </p:cNvPr>
          <p:cNvSpPr/>
          <p:nvPr/>
        </p:nvSpPr>
        <p:spPr>
          <a:xfrm>
            <a:off x="3248025" y="2133600"/>
            <a:ext cx="1819275" cy="695325"/>
          </a:xfrm>
          <a:custGeom>
            <a:avLst/>
            <a:gdLst>
              <a:gd name="connsiteX0" fmla="*/ 1819275 w 1819275"/>
              <a:gd name="connsiteY0" fmla="*/ 695325 h 695325"/>
              <a:gd name="connsiteX1" fmla="*/ 1123950 w 1819275"/>
              <a:gd name="connsiteY1" fmla="*/ 0 h 695325"/>
              <a:gd name="connsiteX2" fmla="*/ 0 w 1819275"/>
              <a:gd name="connsiteY2" fmla="*/ 0 h 695325"/>
            </a:gdLst>
            <a:ahLst/>
            <a:cxnLst>
              <a:cxn ang="0">
                <a:pos x="connsiteX0" y="connsiteY0"/>
              </a:cxn>
              <a:cxn ang="0">
                <a:pos x="connsiteX1" y="connsiteY1"/>
              </a:cxn>
              <a:cxn ang="0">
                <a:pos x="connsiteX2" y="connsiteY2"/>
              </a:cxn>
            </a:cxnLst>
            <a:rect l="l" t="t" r="r" b="b"/>
            <a:pathLst>
              <a:path w="1819275" h="695325">
                <a:moveTo>
                  <a:pt x="1819275" y="695325"/>
                </a:moveTo>
                <a:lnTo>
                  <a:pt x="1123950" y="0"/>
                </a:lnTo>
                <a:lnTo>
                  <a:pt x="0" y="0"/>
                </a:lnTo>
              </a:path>
            </a:pathLst>
          </a:custGeom>
          <a:no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6" name="任意多边形: 形状 15">
            <a:extLst>
              <a:ext uri="{FF2B5EF4-FFF2-40B4-BE49-F238E27FC236}">
                <a16:creationId xmlns:a16="http://schemas.microsoft.com/office/drawing/2014/main" id="{06A1AB6F-112C-4182-989E-51DFE745D0CE}"/>
              </a:ext>
            </a:extLst>
          </p:cNvPr>
          <p:cNvSpPr/>
          <p:nvPr/>
        </p:nvSpPr>
        <p:spPr>
          <a:xfrm flipV="1">
            <a:off x="3248025" y="4010025"/>
            <a:ext cx="1819275" cy="695325"/>
          </a:xfrm>
          <a:custGeom>
            <a:avLst/>
            <a:gdLst>
              <a:gd name="connsiteX0" fmla="*/ 1819275 w 1819275"/>
              <a:gd name="connsiteY0" fmla="*/ 695325 h 695325"/>
              <a:gd name="connsiteX1" fmla="*/ 1123950 w 1819275"/>
              <a:gd name="connsiteY1" fmla="*/ 0 h 695325"/>
              <a:gd name="connsiteX2" fmla="*/ 0 w 1819275"/>
              <a:gd name="connsiteY2" fmla="*/ 0 h 695325"/>
            </a:gdLst>
            <a:ahLst/>
            <a:cxnLst>
              <a:cxn ang="0">
                <a:pos x="connsiteX0" y="connsiteY0"/>
              </a:cxn>
              <a:cxn ang="0">
                <a:pos x="connsiteX1" y="connsiteY1"/>
              </a:cxn>
              <a:cxn ang="0">
                <a:pos x="connsiteX2" y="connsiteY2"/>
              </a:cxn>
            </a:cxnLst>
            <a:rect l="l" t="t" r="r" b="b"/>
            <a:pathLst>
              <a:path w="1819275" h="695325">
                <a:moveTo>
                  <a:pt x="1819275" y="695325"/>
                </a:moveTo>
                <a:lnTo>
                  <a:pt x="1123950" y="0"/>
                </a:lnTo>
                <a:lnTo>
                  <a:pt x="0" y="0"/>
                </a:lnTo>
              </a:path>
            </a:pathLst>
          </a:custGeom>
          <a:no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7" name="任意多边形: 形状 16">
            <a:extLst>
              <a:ext uri="{FF2B5EF4-FFF2-40B4-BE49-F238E27FC236}">
                <a16:creationId xmlns:a16="http://schemas.microsoft.com/office/drawing/2014/main" id="{CC816EE0-54AC-403D-86B9-0C2373B935AE}"/>
              </a:ext>
            </a:extLst>
          </p:cNvPr>
          <p:cNvSpPr/>
          <p:nvPr/>
        </p:nvSpPr>
        <p:spPr>
          <a:xfrm flipH="1" flipV="1">
            <a:off x="7103206" y="4010025"/>
            <a:ext cx="1819275" cy="695325"/>
          </a:xfrm>
          <a:custGeom>
            <a:avLst/>
            <a:gdLst>
              <a:gd name="connsiteX0" fmla="*/ 1819275 w 1819275"/>
              <a:gd name="connsiteY0" fmla="*/ 695325 h 695325"/>
              <a:gd name="connsiteX1" fmla="*/ 1123950 w 1819275"/>
              <a:gd name="connsiteY1" fmla="*/ 0 h 695325"/>
              <a:gd name="connsiteX2" fmla="*/ 0 w 1819275"/>
              <a:gd name="connsiteY2" fmla="*/ 0 h 695325"/>
            </a:gdLst>
            <a:ahLst/>
            <a:cxnLst>
              <a:cxn ang="0">
                <a:pos x="connsiteX0" y="connsiteY0"/>
              </a:cxn>
              <a:cxn ang="0">
                <a:pos x="connsiteX1" y="connsiteY1"/>
              </a:cxn>
              <a:cxn ang="0">
                <a:pos x="connsiteX2" y="connsiteY2"/>
              </a:cxn>
            </a:cxnLst>
            <a:rect l="l" t="t" r="r" b="b"/>
            <a:pathLst>
              <a:path w="1819275" h="695325">
                <a:moveTo>
                  <a:pt x="1819275" y="695325"/>
                </a:moveTo>
                <a:lnTo>
                  <a:pt x="1123950" y="0"/>
                </a:lnTo>
                <a:lnTo>
                  <a:pt x="0" y="0"/>
                </a:lnTo>
              </a:path>
            </a:pathLst>
          </a:custGeom>
          <a:no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8" name="任意多边形: 形状 17">
            <a:extLst>
              <a:ext uri="{FF2B5EF4-FFF2-40B4-BE49-F238E27FC236}">
                <a16:creationId xmlns:a16="http://schemas.microsoft.com/office/drawing/2014/main" id="{05E71BC5-7370-4A69-B3DC-3F3C634B8CF4}"/>
              </a:ext>
            </a:extLst>
          </p:cNvPr>
          <p:cNvSpPr/>
          <p:nvPr/>
        </p:nvSpPr>
        <p:spPr>
          <a:xfrm flipH="1">
            <a:off x="7083425" y="2133600"/>
            <a:ext cx="1819275" cy="695325"/>
          </a:xfrm>
          <a:custGeom>
            <a:avLst/>
            <a:gdLst>
              <a:gd name="connsiteX0" fmla="*/ 1819275 w 1819275"/>
              <a:gd name="connsiteY0" fmla="*/ 695325 h 695325"/>
              <a:gd name="connsiteX1" fmla="*/ 1123950 w 1819275"/>
              <a:gd name="connsiteY1" fmla="*/ 0 h 695325"/>
              <a:gd name="connsiteX2" fmla="*/ 0 w 1819275"/>
              <a:gd name="connsiteY2" fmla="*/ 0 h 695325"/>
            </a:gdLst>
            <a:ahLst/>
            <a:cxnLst>
              <a:cxn ang="0">
                <a:pos x="connsiteX0" y="connsiteY0"/>
              </a:cxn>
              <a:cxn ang="0">
                <a:pos x="connsiteX1" y="connsiteY1"/>
              </a:cxn>
              <a:cxn ang="0">
                <a:pos x="connsiteX2" y="connsiteY2"/>
              </a:cxn>
            </a:cxnLst>
            <a:rect l="l" t="t" r="r" b="b"/>
            <a:pathLst>
              <a:path w="1819275" h="695325">
                <a:moveTo>
                  <a:pt x="1819275" y="695325"/>
                </a:moveTo>
                <a:lnTo>
                  <a:pt x="1123950" y="0"/>
                </a:lnTo>
                <a:lnTo>
                  <a:pt x="0" y="0"/>
                </a:lnTo>
              </a:path>
            </a:pathLst>
          </a:custGeom>
          <a:no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9" name="文本框 18">
            <a:extLst>
              <a:ext uri="{FF2B5EF4-FFF2-40B4-BE49-F238E27FC236}">
                <a16:creationId xmlns:a16="http://schemas.microsoft.com/office/drawing/2014/main" id="{74CDE8A1-28B6-4BFE-8D17-874C622894DB}"/>
              </a:ext>
            </a:extLst>
          </p:cNvPr>
          <p:cNvSpPr txBox="1"/>
          <p:nvPr/>
        </p:nvSpPr>
        <p:spPr>
          <a:xfrm>
            <a:off x="5542000" y="3526533"/>
            <a:ext cx="1154162" cy="276999"/>
          </a:xfrm>
          <a:prstGeom prst="rect">
            <a:avLst/>
          </a:prstGeom>
          <a:noFill/>
        </p:spPr>
        <p:txBody>
          <a:bodyPr wrap="none" lIns="0" tIns="0" rIns="0" bIns="0" rtlCol="0" anchor="t">
            <a:spAutoFit/>
          </a:bodyPr>
          <a:lstStyle/>
          <a:p>
            <a:pPr algn="l"/>
            <a:r>
              <a:rPr lang="zh-CN" altLang="en-US" dirty="0">
                <a:solidFill>
                  <a:schemeClr val="bg1"/>
                </a:solidFill>
                <a:latin typeface="+mj-ea"/>
                <a:ea typeface="+mj-ea"/>
              </a:rPr>
              <a:t>关键词标题</a:t>
            </a:r>
          </a:p>
        </p:txBody>
      </p:sp>
      <p:sp>
        <p:nvSpPr>
          <p:cNvPr id="20" name="iconfont-1179-866479">
            <a:extLst>
              <a:ext uri="{FF2B5EF4-FFF2-40B4-BE49-F238E27FC236}">
                <a16:creationId xmlns:a16="http://schemas.microsoft.com/office/drawing/2014/main" id="{CF0687F5-02E7-4109-9B61-72749468C1D4}"/>
              </a:ext>
            </a:extLst>
          </p:cNvPr>
          <p:cNvSpPr/>
          <p:nvPr/>
        </p:nvSpPr>
        <p:spPr>
          <a:xfrm>
            <a:off x="5861695" y="2828925"/>
            <a:ext cx="514772" cy="609685"/>
          </a:xfrm>
          <a:custGeom>
            <a:avLst/>
            <a:gdLst>
              <a:gd name="T0" fmla="*/ 6573 w 9390"/>
              <a:gd name="T1" fmla="*/ 3437 h 11120"/>
              <a:gd name="T2" fmla="*/ 7967 w 9390"/>
              <a:gd name="T3" fmla="*/ 1730 h 11120"/>
              <a:gd name="T4" fmla="*/ 5311 w 9390"/>
              <a:gd name="T5" fmla="*/ 1140 h 11120"/>
              <a:gd name="T6" fmla="*/ 3129 w 9390"/>
              <a:gd name="T7" fmla="*/ 876 h 11120"/>
              <a:gd name="T8" fmla="*/ 2455 w 9390"/>
              <a:gd name="T9" fmla="*/ 3147 h 11120"/>
              <a:gd name="T10" fmla="*/ 7438 w 9390"/>
              <a:gd name="T11" fmla="*/ 4336 h 11120"/>
              <a:gd name="T12" fmla="*/ 2969 w 9390"/>
              <a:gd name="T13" fmla="*/ 4006 h 11120"/>
              <a:gd name="T14" fmla="*/ 0 w 9390"/>
              <a:gd name="T15" fmla="*/ 8570 h 11120"/>
              <a:gd name="T16" fmla="*/ 6860 w 9390"/>
              <a:gd name="T17" fmla="*/ 11120 h 11120"/>
              <a:gd name="T18" fmla="*/ 7438 w 9390"/>
              <a:gd name="T19" fmla="*/ 4336 h 11120"/>
              <a:gd name="T20" fmla="*/ 5549 w 9390"/>
              <a:gd name="T21" fmla="*/ 7248 h 11120"/>
              <a:gd name="T22" fmla="*/ 5919 w 9390"/>
              <a:gd name="T23" fmla="*/ 7515 h 11120"/>
              <a:gd name="T24" fmla="*/ 6098 w 9390"/>
              <a:gd name="T25" fmla="*/ 7695 h 11120"/>
              <a:gd name="T26" fmla="*/ 5384 w 9390"/>
              <a:gd name="T27" fmla="*/ 7874 h 11120"/>
              <a:gd name="T28" fmla="*/ 5195 w 9390"/>
              <a:gd name="T29" fmla="*/ 8151 h 11120"/>
              <a:gd name="T30" fmla="*/ 5919 w 9390"/>
              <a:gd name="T31" fmla="*/ 8331 h 11120"/>
              <a:gd name="T32" fmla="*/ 5919 w 9390"/>
              <a:gd name="T33" fmla="*/ 8690 h 11120"/>
              <a:gd name="T34" fmla="*/ 5195 w 9390"/>
              <a:gd name="T35" fmla="*/ 8870 h 11120"/>
              <a:gd name="T36" fmla="*/ 5015 w 9390"/>
              <a:gd name="T37" fmla="*/ 9507 h 11120"/>
              <a:gd name="T38" fmla="*/ 4510 w 9390"/>
              <a:gd name="T39" fmla="*/ 9327 h 11120"/>
              <a:gd name="T40" fmla="*/ 4330 w 9390"/>
              <a:gd name="T41" fmla="*/ 8690 h 11120"/>
              <a:gd name="T42" fmla="*/ 3612 w 9390"/>
              <a:gd name="T43" fmla="*/ 8510 h 11120"/>
              <a:gd name="T44" fmla="*/ 4329 w 9390"/>
              <a:gd name="T45" fmla="*/ 8331 h 11120"/>
              <a:gd name="T46" fmla="*/ 4511 w 9390"/>
              <a:gd name="T47" fmla="*/ 8063 h 11120"/>
              <a:gd name="T48" fmla="*/ 3792 w 9390"/>
              <a:gd name="T49" fmla="*/ 7873 h 11120"/>
              <a:gd name="T50" fmla="*/ 3612 w 9390"/>
              <a:gd name="T51" fmla="*/ 7694 h 11120"/>
              <a:gd name="T52" fmla="*/ 3999 w 9390"/>
              <a:gd name="T53" fmla="*/ 7514 h 11120"/>
              <a:gd name="T54" fmla="*/ 3406 w 9390"/>
              <a:gd name="T55" fmla="*/ 5887 h 11120"/>
              <a:gd name="T56" fmla="*/ 3920 w 9390"/>
              <a:gd name="T57" fmla="*/ 5620 h 11120"/>
              <a:gd name="T58" fmla="*/ 4691 w 9390"/>
              <a:gd name="T59" fmla="*/ 6937 h 11120"/>
              <a:gd name="T60" fmla="*/ 5623 w 9390"/>
              <a:gd name="T61" fmla="*/ 5719 h 11120"/>
              <a:gd name="T62" fmla="*/ 6140 w 9390"/>
              <a:gd name="T63" fmla="*/ 5620 h 1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390" h="11120">
                <a:moveTo>
                  <a:pt x="3078" y="3437"/>
                </a:moveTo>
                <a:lnTo>
                  <a:pt x="6573" y="3437"/>
                </a:lnTo>
                <a:cubicBezTo>
                  <a:pt x="6809" y="3437"/>
                  <a:pt x="7036" y="3338"/>
                  <a:pt x="7187" y="3157"/>
                </a:cubicBezTo>
                <a:cubicBezTo>
                  <a:pt x="7548" y="2728"/>
                  <a:pt x="7890" y="2202"/>
                  <a:pt x="7967" y="1730"/>
                </a:cubicBezTo>
                <a:cubicBezTo>
                  <a:pt x="8121" y="786"/>
                  <a:pt x="7717" y="307"/>
                  <a:pt x="6544" y="307"/>
                </a:cubicBezTo>
                <a:cubicBezTo>
                  <a:pt x="5370" y="307"/>
                  <a:pt x="5767" y="1077"/>
                  <a:pt x="5311" y="1140"/>
                </a:cubicBezTo>
                <a:cubicBezTo>
                  <a:pt x="4971" y="1187"/>
                  <a:pt x="4983" y="739"/>
                  <a:pt x="4449" y="308"/>
                </a:cubicBezTo>
                <a:cubicBezTo>
                  <a:pt x="4066" y="0"/>
                  <a:pt x="3636" y="871"/>
                  <a:pt x="3129" y="876"/>
                </a:cubicBezTo>
                <a:cubicBezTo>
                  <a:pt x="2538" y="884"/>
                  <a:pt x="1707" y="720"/>
                  <a:pt x="1707" y="1730"/>
                </a:cubicBezTo>
                <a:cubicBezTo>
                  <a:pt x="1707" y="2138"/>
                  <a:pt x="2065" y="2690"/>
                  <a:pt x="2455" y="3147"/>
                </a:cubicBezTo>
                <a:cubicBezTo>
                  <a:pt x="2612" y="3330"/>
                  <a:pt x="2838" y="3437"/>
                  <a:pt x="3078" y="3437"/>
                </a:cubicBezTo>
                <a:close/>
                <a:moveTo>
                  <a:pt x="7438" y="4336"/>
                </a:moveTo>
                <a:cubicBezTo>
                  <a:pt x="7252" y="4125"/>
                  <a:pt x="6981" y="4006"/>
                  <a:pt x="6699" y="4006"/>
                </a:cubicBezTo>
                <a:lnTo>
                  <a:pt x="2969" y="4006"/>
                </a:lnTo>
                <a:cubicBezTo>
                  <a:pt x="2700" y="4006"/>
                  <a:pt x="2440" y="4115"/>
                  <a:pt x="2253" y="4310"/>
                </a:cubicBezTo>
                <a:cubicBezTo>
                  <a:pt x="1081" y="5538"/>
                  <a:pt x="0" y="7291"/>
                  <a:pt x="0" y="8570"/>
                </a:cubicBezTo>
                <a:cubicBezTo>
                  <a:pt x="0" y="9697"/>
                  <a:pt x="1133" y="11120"/>
                  <a:pt x="2530" y="11120"/>
                </a:cubicBezTo>
                <a:lnTo>
                  <a:pt x="6860" y="11120"/>
                </a:lnTo>
                <a:cubicBezTo>
                  <a:pt x="8257" y="11120"/>
                  <a:pt x="9390" y="9709"/>
                  <a:pt x="9390" y="8570"/>
                </a:cubicBezTo>
                <a:cubicBezTo>
                  <a:pt x="9390" y="7268"/>
                  <a:pt x="8520" y="5564"/>
                  <a:pt x="7438" y="4336"/>
                </a:cubicBezTo>
                <a:close/>
                <a:moveTo>
                  <a:pt x="6299" y="5888"/>
                </a:moveTo>
                <a:lnTo>
                  <a:pt x="5549" y="7248"/>
                </a:lnTo>
                <a:cubicBezTo>
                  <a:pt x="5483" y="7368"/>
                  <a:pt x="5570" y="7515"/>
                  <a:pt x="5706" y="7515"/>
                </a:cubicBezTo>
                <a:lnTo>
                  <a:pt x="5919" y="7515"/>
                </a:lnTo>
                <a:cubicBezTo>
                  <a:pt x="6017" y="7515"/>
                  <a:pt x="6098" y="7595"/>
                  <a:pt x="6098" y="7695"/>
                </a:cubicBezTo>
                <a:lnTo>
                  <a:pt x="6098" y="7695"/>
                </a:lnTo>
                <a:cubicBezTo>
                  <a:pt x="6098" y="7793"/>
                  <a:pt x="6018" y="7874"/>
                  <a:pt x="5919" y="7874"/>
                </a:cubicBezTo>
                <a:lnTo>
                  <a:pt x="5384" y="7874"/>
                </a:lnTo>
                <a:cubicBezTo>
                  <a:pt x="5279" y="7874"/>
                  <a:pt x="5196" y="7958"/>
                  <a:pt x="5195" y="8062"/>
                </a:cubicBezTo>
                <a:lnTo>
                  <a:pt x="5195" y="8151"/>
                </a:lnTo>
                <a:cubicBezTo>
                  <a:pt x="5195" y="8249"/>
                  <a:pt x="5275" y="8331"/>
                  <a:pt x="5375" y="8331"/>
                </a:cubicBezTo>
                <a:lnTo>
                  <a:pt x="5919" y="8331"/>
                </a:lnTo>
                <a:cubicBezTo>
                  <a:pt x="6017" y="8331"/>
                  <a:pt x="6098" y="8411"/>
                  <a:pt x="6098" y="8510"/>
                </a:cubicBezTo>
                <a:cubicBezTo>
                  <a:pt x="6098" y="8610"/>
                  <a:pt x="6018" y="8690"/>
                  <a:pt x="5919" y="8690"/>
                </a:cubicBezTo>
                <a:lnTo>
                  <a:pt x="5375" y="8690"/>
                </a:lnTo>
                <a:cubicBezTo>
                  <a:pt x="5276" y="8690"/>
                  <a:pt x="5195" y="8770"/>
                  <a:pt x="5195" y="8870"/>
                </a:cubicBezTo>
                <a:lnTo>
                  <a:pt x="5195" y="9327"/>
                </a:lnTo>
                <a:cubicBezTo>
                  <a:pt x="5195" y="9426"/>
                  <a:pt x="5115" y="9507"/>
                  <a:pt x="5015" y="9507"/>
                </a:cubicBezTo>
                <a:lnTo>
                  <a:pt x="4690" y="9507"/>
                </a:lnTo>
                <a:cubicBezTo>
                  <a:pt x="4591" y="9507"/>
                  <a:pt x="4510" y="9427"/>
                  <a:pt x="4510" y="9327"/>
                </a:cubicBezTo>
                <a:lnTo>
                  <a:pt x="4510" y="8870"/>
                </a:lnTo>
                <a:cubicBezTo>
                  <a:pt x="4510" y="8771"/>
                  <a:pt x="4430" y="8690"/>
                  <a:pt x="4330" y="8690"/>
                </a:cubicBezTo>
                <a:lnTo>
                  <a:pt x="3792" y="8690"/>
                </a:lnTo>
                <a:cubicBezTo>
                  <a:pt x="3693" y="8690"/>
                  <a:pt x="3612" y="8610"/>
                  <a:pt x="3612" y="8510"/>
                </a:cubicBezTo>
                <a:cubicBezTo>
                  <a:pt x="3612" y="8411"/>
                  <a:pt x="3692" y="8331"/>
                  <a:pt x="3792" y="8331"/>
                </a:cubicBezTo>
                <a:lnTo>
                  <a:pt x="4329" y="8331"/>
                </a:lnTo>
                <a:cubicBezTo>
                  <a:pt x="4429" y="8331"/>
                  <a:pt x="4509" y="8251"/>
                  <a:pt x="4510" y="8151"/>
                </a:cubicBezTo>
                <a:lnTo>
                  <a:pt x="4511" y="8063"/>
                </a:lnTo>
                <a:cubicBezTo>
                  <a:pt x="4512" y="7959"/>
                  <a:pt x="4427" y="7873"/>
                  <a:pt x="4322" y="7873"/>
                </a:cubicBezTo>
                <a:lnTo>
                  <a:pt x="3792" y="7873"/>
                </a:lnTo>
                <a:cubicBezTo>
                  <a:pt x="3693" y="7873"/>
                  <a:pt x="3612" y="7793"/>
                  <a:pt x="3612" y="7694"/>
                </a:cubicBezTo>
                <a:lnTo>
                  <a:pt x="3612" y="7694"/>
                </a:lnTo>
                <a:cubicBezTo>
                  <a:pt x="3612" y="7595"/>
                  <a:pt x="3692" y="7514"/>
                  <a:pt x="3792" y="7514"/>
                </a:cubicBezTo>
                <a:lnTo>
                  <a:pt x="3999" y="7514"/>
                </a:lnTo>
                <a:cubicBezTo>
                  <a:pt x="4136" y="7514"/>
                  <a:pt x="4221" y="7367"/>
                  <a:pt x="4156" y="7247"/>
                </a:cubicBezTo>
                <a:lnTo>
                  <a:pt x="3406" y="5887"/>
                </a:lnTo>
                <a:cubicBezTo>
                  <a:pt x="3340" y="5767"/>
                  <a:pt x="3426" y="5620"/>
                  <a:pt x="3562" y="5620"/>
                </a:cubicBezTo>
                <a:lnTo>
                  <a:pt x="3920" y="5620"/>
                </a:lnTo>
                <a:cubicBezTo>
                  <a:pt x="3988" y="5620"/>
                  <a:pt x="4050" y="5659"/>
                  <a:pt x="4080" y="5719"/>
                </a:cubicBezTo>
                <a:lnTo>
                  <a:pt x="4691" y="6937"/>
                </a:lnTo>
                <a:cubicBezTo>
                  <a:pt x="4756" y="7069"/>
                  <a:pt x="4945" y="7069"/>
                  <a:pt x="5012" y="6937"/>
                </a:cubicBezTo>
                <a:lnTo>
                  <a:pt x="5623" y="5719"/>
                </a:lnTo>
                <a:cubicBezTo>
                  <a:pt x="5653" y="5659"/>
                  <a:pt x="5715" y="5620"/>
                  <a:pt x="5783" y="5620"/>
                </a:cubicBezTo>
                <a:lnTo>
                  <a:pt x="6140" y="5620"/>
                </a:lnTo>
                <a:cubicBezTo>
                  <a:pt x="6278" y="5622"/>
                  <a:pt x="6365" y="5768"/>
                  <a:pt x="6299" y="588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 name="椭圆 20">
            <a:extLst>
              <a:ext uri="{FF2B5EF4-FFF2-40B4-BE49-F238E27FC236}">
                <a16:creationId xmlns:a16="http://schemas.microsoft.com/office/drawing/2014/main" id="{CA2365D5-1D8C-42D6-8299-95D8E50AE8C3}"/>
              </a:ext>
            </a:extLst>
          </p:cNvPr>
          <p:cNvSpPr/>
          <p:nvPr/>
        </p:nvSpPr>
        <p:spPr>
          <a:xfrm>
            <a:off x="3122491" y="2089883"/>
            <a:ext cx="87434" cy="8743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22" name="椭圆 21">
            <a:extLst>
              <a:ext uri="{FF2B5EF4-FFF2-40B4-BE49-F238E27FC236}">
                <a16:creationId xmlns:a16="http://schemas.microsoft.com/office/drawing/2014/main" id="{9E261DB7-240C-439E-8DAF-D4CFE43B89B4}"/>
              </a:ext>
            </a:extLst>
          </p:cNvPr>
          <p:cNvSpPr/>
          <p:nvPr/>
        </p:nvSpPr>
        <p:spPr>
          <a:xfrm>
            <a:off x="3122491" y="4661633"/>
            <a:ext cx="87434" cy="8743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23" name="椭圆 22">
            <a:extLst>
              <a:ext uri="{FF2B5EF4-FFF2-40B4-BE49-F238E27FC236}">
                <a16:creationId xmlns:a16="http://schemas.microsoft.com/office/drawing/2014/main" id="{BA3A70C6-4F6C-4173-AE79-4A26E89E2F32}"/>
              </a:ext>
            </a:extLst>
          </p:cNvPr>
          <p:cNvSpPr/>
          <p:nvPr/>
        </p:nvSpPr>
        <p:spPr>
          <a:xfrm>
            <a:off x="8995752" y="2089883"/>
            <a:ext cx="87434" cy="8743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24" name="椭圆 23">
            <a:extLst>
              <a:ext uri="{FF2B5EF4-FFF2-40B4-BE49-F238E27FC236}">
                <a16:creationId xmlns:a16="http://schemas.microsoft.com/office/drawing/2014/main" id="{5ECF1E8F-D982-4D93-B2C3-42E2CCBA5FF4}"/>
              </a:ext>
            </a:extLst>
          </p:cNvPr>
          <p:cNvSpPr/>
          <p:nvPr/>
        </p:nvSpPr>
        <p:spPr>
          <a:xfrm>
            <a:off x="8995752" y="4661633"/>
            <a:ext cx="87434" cy="8743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25" name="文本框 24">
            <a:extLst>
              <a:ext uri="{FF2B5EF4-FFF2-40B4-BE49-F238E27FC236}">
                <a16:creationId xmlns:a16="http://schemas.microsoft.com/office/drawing/2014/main" id="{72EB3588-E2ED-43C5-AB08-A341C69BEBDD}"/>
              </a:ext>
            </a:extLst>
          </p:cNvPr>
          <p:cNvSpPr txBox="1"/>
          <p:nvPr/>
        </p:nvSpPr>
        <p:spPr>
          <a:xfrm>
            <a:off x="388144" y="2384568"/>
            <a:ext cx="2583525" cy="387286"/>
          </a:xfrm>
          <a:prstGeom prst="rect">
            <a:avLst/>
          </a:prstGeom>
          <a:noFill/>
        </p:spPr>
        <p:txBody>
          <a:bodyPr wrap="square" lIns="0" tIns="0" rIns="0" bIns="0" rtlCol="0" anchor="t">
            <a:spAutoFit/>
          </a:bodyPr>
          <a:lstStyle/>
          <a:p>
            <a:pPr algn="r">
              <a:lnSpc>
                <a:spcPct val="130000"/>
              </a:lnSpc>
            </a:pPr>
            <a:r>
              <a:rPr lang="en-US" altLang="zh-CN" sz="1000" b="0" dirty="0">
                <a:solidFill>
                  <a:schemeClr val="tx1">
                    <a:lumMod val="75000"/>
                    <a:lumOff val="25000"/>
                  </a:schemeClr>
                </a:solidFill>
                <a:effectLst/>
                <a:latin typeface="+mn-ea"/>
              </a:rPr>
              <a:t>Lorem ipsum dolor sit amet, consectetur adipisicing elit, sed do eiusmod tempor</a:t>
            </a:r>
            <a:endParaRPr lang="zh-CN" altLang="en-US" sz="1000" b="0" dirty="0">
              <a:solidFill>
                <a:schemeClr val="tx1">
                  <a:lumMod val="75000"/>
                  <a:lumOff val="25000"/>
                </a:schemeClr>
              </a:solidFill>
              <a:effectLst/>
              <a:latin typeface="+mn-ea"/>
            </a:endParaRPr>
          </a:p>
        </p:txBody>
      </p:sp>
      <p:sp>
        <p:nvSpPr>
          <p:cNvPr id="26" name="文本框 25">
            <a:extLst>
              <a:ext uri="{FF2B5EF4-FFF2-40B4-BE49-F238E27FC236}">
                <a16:creationId xmlns:a16="http://schemas.microsoft.com/office/drawing/2014/main" id="{2943398B-AB96-425B-87D5-D17E8C778D7A}"/>
              </a:ext>
            </a:extLst>
          </p:cNvPr>
          <p:cNvSpPr txBox="1"/>
          <p:nvPr/>
        </p:nvSpPr>
        <p:spPr>
          <a:xfrm>
            <a:off x="1689267" y="2007525"/>
            <a:ext cx="1282402" cy="307777"/>
          </a:xfrm>
          <a:prstGeom prst="rect">
            <a:avLst/>
          </a:prstGeom>
          <a:noFill/>
        </p:spPr>
        <p:txBody>
          <a:bodyPr wrap="none" lIns="0" tIns="0" rIns="0" bIns="0" rtlCol="0" anchor="t">
            <a:spAutoFit/>
          </a:bodyPr>
          <a:lstStyle/>
          <a:p>
            <a:pPr algn="r"/>
            <a:r>
              <a:rPr lang="zh-CN" altLang="en-US" sz="2000" dirty="0">
                <a:solidFill>
                  <a:schemeClr val="accent1"/>
                </a:solidFill>
                <a:latin typeface="+mj-ea"/>
                <a:ea typeface="+mj-ea"/>
              </a:rPr>
              <a:t>关键词标题</a:t>
            </a:r>
          </a:p>
        </p:txBody>
      </p:sp>
      <p:sp>
        <p:nvSpPr>
          <p:cNvPr id="27" name="文本框 26">
            <a:extLst>
              <a:ext uri="{FF2B5EF4-FFF2-40B4-BE49-F238E27FC236}">
                <a16:creationId xmlns:a16="http://schemas.microsoft.com/office/drawing/2014/main" id="{D54F611D-F59E-4B17-BBEE-9DF638B5873D}"/>
              </a:ext>
            </a:extLst>
          </p:cNvPr>
          <p:cNvSpPr txBox="1"/>
          <p:nvPr/>
        </p:nvSpPr>
        <p:spPr>
          <a:xfrm>
            <a:off x="388144" y="4927743"/>
            <a:ext cx="2583525" cy="387286"/>
          </a:xfrm>
          <a:prstGeom prst="rect">
            <a:avLst/>
          </a:prstGeom>
          <a:noFill/>
        </p:spPr>
        <p:txBody>
          <a:bodyPr wrap="square" lIns="0" tIns="0" rIns="0" bIns="0" rtlCol="0" anchor="t">
            <a:spAutoFit/>
          </a:bodyPr>
          <a:lstStyle/>
          <a:p>
            <a:pPr algn="r">
              <a:lnSpc>
                <a:spcPct val="130000"/>
              </a:lnSpc>
            </a:pPr>
            <a:r>
              <a:rPr lang="en-US" altLang="zh-CN" sz="1000" b="0" dirty="0">
                <a:solidFill>
                  <a:schemeClr val="tx1">
                    <a:lumMod val="75000"/>
                    <a:lumOff val="25000"/>
                  </a:schemeClr>
                </a:solidFill>
                <a:effectLst/>
                <a:latin typeface="+mn-ea"/>
              </a:rPr>
              <a:t>Lorem ipsum dolor sit amet, consectetur adipisicing elit, sed do eiusmod tempor</a:t>
            </a:r>
            <a:endParaRPr lang="zh-CN" altLang="en-US" sz="1000" b="0" dirty="0">
              <a:solidFill>
                <a:schemeClr val="tx1">
                  <a:lumMod val="75000"/>
                  <a:lumOff val="25000"/>
                </a:schemeClr>
              </a:solidFill>
              <a:effectLst/>
              <a:latin typeface="+mn-ea"/>
            </a:endParaRPr>
          </a:p>
        </p:txBody>
      </p:sp>
      <p:sp>
        <p:nvSpPr>
          <p:cNvPr id="28" name="文本框 27">
            <a:extLst>
              <a:ext uri="{FF2B5EF4-FFF2-40B4-BE49-F238E27FC236}">
                <a16:creationId xmlns:a16="http://schemas.microsoft.com/office/drawing/2014/main" id="{1B85B06A-92CB-4EC9-8440-01D5B50233A4}"/>
              </a:ext>
            </a:extLst>
          </p:cNvPr>
          <p:cNvSpPr txBox="1"/>
          <p:nvPr/>
        </p:nvSpPr>
        <p:spPr>
          <a:xfrm>
            <a:off x="1689267" y="4550700"/>
            <a:ext cx="1282402" cy="307777"/>
          </a:xfrm>
          <a:prstGeom prst="rect">
            <a:avLst/>
          </a:prstGeom>
          <a:noFill/>
        </p:spPr>
        <p:txBody>
          <a:bodyPr wrap="none" lIns="0" tIns="0" rIns="0" bIns="0" rtlCol="0" anchor="t">
            <a:spAutoFit/>
          </a:bodyPr>
          <a:lstStyle/>
          <a:p>
            <a:pPr algn="r"/>
            <a:r>
              <a:rPr lang="zh-CN" altLang="en-US" sz="2000" dirty="0">
                <a:solidFill>
                  <a:schemeClr val="accent1"/>
                </a:solidFill>
                <a:latin typeface="+mj-ea"/>
                <a:ea typeface="+mj-ea"/>
              </a:rPr>
              <a:t>关键词标题</a:t>
            </a:r>
          </a:p>
        </p:txBody>
      </p:sp>
      <p:sp>
        <p:nvSpPr>
          <p:cNvPr id="29" name="文本框 28">
            <a:extLst>
              <a:ext uri="{FF2B5EF4-FFF2-40B4-BE49-F238E27FC236}">
                <a16:creationId xmlns:a16="http://schemas.microsoft.com/office/drawing/2014/main" id="{437BB12E-4624-4A57-9735-A4A4772992D2}"/>
              </a:ext>
            </a:extLst>
          </p:cNvPr>
          <p:cNvSpPr txBox="1"/>
          <p:nvPr/>
        </p:nvSpPr>
        <p:spPr>
          <a:xfrm>
            <a:off x="9212577" y="4927743"/>
            <a:ext cx="2583525" cy="387286"/>
          </a:xfrm>
          <a:prstGeom prst="rect">
            <a:avLst/>
          </a:prstGeom>
          <a:noFill/>
        </p:spPr>
        <p:txBody>
          <a:bodyPr wrap="square" lIns="0" tIns="0" rIns="0" bIns="0" rtlCol="0" anchor="t">
            <a:spAutoFit/>
          </a:bodyPr>
          <a:lstStyle/>
          <a:p>
            <a:pPr>
              <a:lnSpc>
                <a:spcPct val="130000"/>
              </a:lnSpc>
            </a:pPr>
            <a:r>
              <a:rPr lang="en-US" altLang="zh-CN" sz="1000" b="0" dirty="0">
                <a:solidFill>
                  <a:schemeClr val="tx1">
                    <a:lumMod val="75000"/>
                    <a:lumOff val="25000"/>
                  </a:schemeClr>
                </a:solidFill>
                <a:effectLst/>
                <a:latin typeface="+mn-ea"/>
              </a:rPr>
              <a:t>Lorem ipsum dolor sit amet, consectetur adipisicing elit, sed do eiusmod tempor</a:t>
            </a:r>
            <a:endParaRPr lang="zh-CN" altLang="en-US" sz="1000" b="0" dirty="0">
              <a:solidFill>
                <a:schemeClr val="tx1">
                  <a:lumMod val="75000"/>
                  <a:lumOff val="25000"/>
                </a:schemeClr>
              </a:solidFill>
              <a:effectLst/>
              <a:latin typeface="+mn-ea"/>
            </a:endParaRPr>
          </a:p>
        </p:txBody>
      </p:sp>
      <p:sp>
        <p:nvSpPr>
          <p:cNvPr id="30" name="文本框 29">
            <a:extLst>
              <a:ext uri="{FF2B5EF4-FFF2-40B4-BE49-F238E27FC236}">
                <a16:creationId xmlns:a16="http://schemas.microsoft.com/office/drawing/2014/main" id="{DCE19942-C283-4C2F-BBA7-5BFD06C98CDB}"/>
              </a:ext>
            </a:extLst>
          </p:cNvPr>
          <p:cNvSpPr txBox="1"/>
          <p:nvPr/>
        </p:nvSpPr>
        <p:spPr>
          <a:xfrm>
            <a:off x="9212577" y="4550700"/>
            <a:ext cx="1282402" cy="307777"/>
          </a:xfrm>
          <a:prstGeom prst="rect">
            <a:avLst/>
          </a:prstGeom>
          <a:noFill/>
        </p:spPr>
        <p:txBody>
          <a:bodyPr wrap="none" lIns="0" tIns="0" rIns="0" bIns="0" rtlCol="0" anchor="t">
            <a:spAutoFit/>
          </a:bodyPr>
          <a:lstStyle/>
          <a:p>
            <a:r>
              <a:rPr lang="zh-CN" altLang="en-US" sz="2000" dirty="0">
                <a:solidFill>
                  <a:schemeClr val="accent1"/>
                </a:solidFill>
                <a:latin typeface="+mj-ea"/>
                <a:ea typeface="+mj-ea"/>
              </a:rPr>
              <a:t>关键词标题</a:t>
            </a:r>
          </a:p>
        </p:txBody>
      </p:sp>
      <p:sp>
        <p:nvSpPr>
          <p:cNvPr id="31" name="文本框 30">
            <a:extLst>
              <a:ext uri="{FF2B5EF4-FFF2-40B4-BE49-F238E27FC236}">
                <a16:creationId xmlns:a16="http://schemas.microsoft.com/office/drawing/2014/main" id="{BBF85FD1-A92C-4754-A9A7-2AB2695F1AFF}"/>
              </a:ext>
            </a:extLst>
          </p:cNvPr>
          <p:cNvSpPr txBox="1"/>
          <p:nvPr/>
        </p:nvSpPr>
        <p:spPr>
          <a:xfrm>
            <a:off x="9212577" y="2355993"/>
            <a:ext cx="2583525" cy="387286"/>
          </a:xfrm>
          <a:prstGeom prst="rect">
            <a:avLst/>
          </a:prstGeom>
          <a:noFill/>
        </p:spPr>
        <p:txBody>
          <a:bodyPr wrap="square" lIns="0" tIns="0" rIns="0" bIns="0" rtlCol="0" anchor="t">
            <a:spAutoFit/>
          </a:bodyPr>
          <a:lstStyle/>
          <a:p>
            <a:pPr>
              <a:lnSpc>
                <a:spcPct val="130000"/>
              </a:lnSpc>
            </a:pPr>
            <a:r>
              <a:rPr lang="en-US" altLang="zh-CN" sz="1000" b="0" dirty="0">
                <a:solidFill>
                  <a:schemeClr val="tx1">
                    <a:lumMod val="75000"/>
                    <a:lumOff val="25000"/>
                  </a:schemeClr>
                </a:solidFill>
                <a:effectLst/>
                <a:latin typeface="+mn-ea"/>
              </a:rPr>
              <a:t>Lorem ipsum dolor sit amet, consectetur adipisicing elit, sed do eiusmod tempor</a:t>
            </a:r>
            <a:endParaRPr lang="zh-CN" altLang="en-US" sz="1000" b="0" dirty="0">
              <a:solidFill>
                <a:schemeClr val="tx1">
                  <a:lumMod val="75000"/>
                  <a:lumOff val="25000"/>
                </a:schemeClr>
              </a:solidFill>
              <a:effectLst/>
              <a:latin typeface="+mn-ea"/>
            </a:endParaRPr>
          </a:p>
        </p:txBody>
      </p:sp>
      <p:sp>
        <p:nvSpPr>
          <p:cNvPr id="32" name="文本框 31">
            <a:extLst>
              <a:ext uri="{FF2B5EF4-FFF2-40B4-BE49-F238E27FC236}">
                <a16:creationId xmlns:a16="http://schemas.microsoft.com/office/drawing/2014/main" id="{1BD91007-EEC6-4782-A22C-8B769A5C8672}"/>
              </a:ext>
            </a:extLst>
          </p:cNvPr>
          <p:cNvSpPr txBox="1"/>
          <p:nvPr/>
        </p:nvSpPr>
        <p:spPr>
          <a:xfrm>
            <a:off x="9212577" y="1978950"/>
            <a:ext cx="1282402" cy="307777"/>
          </a:xfrm>
          <a:prstGeom prst="rect">
            <a:avLst/>
          </a:prstGeom>
          <a:noFill/>
        </p:spPr>
        <p:txBody>
          <a:bodyPr wrap="none" lIns="0" tIns="0" rIns="0" bIns="0" rtlCol="0" anchor="t">
            <a:spAutoFit/>
          </a:bodyPr>
          <a:lstStyle/>
          <a:p>
            <a:r>
              <a:rPr lang="zh-CN" altLang="en-US" sz="2000" dirty="0">
                <a:solidFill>
                  <a:schemeClr val="accent1"/>
                </a:solidFill>
                <a:latin typeface="+mj-ea"/>
                <a:ea typeface="+mj-ea"/>
              </a:rPr>
              <a:t>关键词标题</a:t>
            </a:r>
          </a:p>
        </p:txBody>
      </p:sp>
    </p:spTree>
    <p:extLst>
      <p:ext uri="{BB962C8B-B14F-4D97-AF65-F5344CB8AC3E}">
        <p14:creationId xmlns:p14="http://schemas.microsoft.com/office/powerpoint/2010/main" val="2667825270"/>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2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2" name="组合 41">
            <a:extLst>
              <a:ext uri="{FF2B5EF4-FFF2-40B4-BE49-F238E27FC236}">
                <a16:creationId xmlns:a16="http://schemas.microsoft.com/office/drawing/2014/main" id="{822E4832-8972-4F00-A9B3-DC0E4054B31C}"/>
              </a:ext>
            </a:extLst>
          </p:cNvPr>
          <p:cNvGrpSpPr/>
          <p:nvPr/>
        </p:nvGrpSpPr>
        <p:grpSpPr>
          <a:xfrm>
            <a:off x="831596" y="1933956"/>
            <a:ext cx="2602081" cy="3742944"/>
            <a:chOff x="1453896" y="1362456"/>
            <a:chExt cx="3474720" cy="3742944"/>
          </a:xfrm>
        </p:grpSpPr>
        <p:sp>
          <p:nvSpPr>
            <p:cNvPr id="39" name="矩形: 圆角 38">
              <a:extLst>
                <a:ext uri="{FF2B5EF4-FFF2-40B4-BE49-F238E27FC236}">
                  <a16:creationId xmlns:a16="http://schemas.microsoft.com/office/drawing/2014/main" id="{689527C2-2DF2-437C-A1F7-143A3118985F}"/>
                </a:ext>
              </a:extLst>
            </p:cNvPr>
            <p:cNvSpPr/>
            <p:nvPr/>
          </p:nvSpPr>
          <p:spPr>
            <a:xfrm rot="409421">
              <a:off x="1453896" y="1362456"/>
              <a:ext cx="3474720" cy="3742944"/>
            </a:xfrm>
            <a:prstGeom prst="roundRect">
              <a:avLst>
                <a:gd name="adj" fmla="val 8509"/>
              </a:avLst>
            </a:prstGeom>
            <a:solidFill>
              <a:schemeClr val="accent1"/>
            </a:solidFill>
            <a:ln>
              <a:noFill/>
            </a:ln>
            <a:effectLst>
              <a:outerShdw blurRad="139700" algn="ctr" rotWithShape="0">
                <a:schemeClr val="accent1">
                  <a:lumMod val="50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6" name="矩形: 圆角 5">
              <a:extLst>
                <a:ext uri="{FF2B5EF4-FFF2-40B4-BE49-F238E27FC236}">
                  <a16:creationId xmlns:a16="http://schemas.microsoft.com/office/drawing/2014/main" id="{227A34D7-0140-4CB7-B756-C779FBA1E3CB}"/>
                </a:ext>
              </a:extLst>
            </p:cNvPr>
            <p:cNvSpPr/>
            <p:nvPr/>
          </p:nvSpPr>
          <p:spPr>
            <a:xfrm>
              <a:off x="1453896" y="1362456"/>
              <a:ext cx="3474720" cy="3742944"/>
            </a:xfrm>
            <a:prstGeom prst="roundRect">
              <a:avLst>
                <a:gd name="adj" fmla="val 8509"/>
              </a:avLst>
            </a:prstGeom>
            <a:solidFill>
              <a:schemeClr val="bg1"/>
            </a:solidFill>
            <a:ln>
              <a:noFill/>
            </a:ln>
            <a:effectLst>
              <a:outerShdw blurRad="139700" algn="ctr" rotWithShape="0">
                <a:schemeClr val="accent1">
                  <a:lumMod val="50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grpSp>
      <p:grpSp>
        <p:nvGrpSpPr>
          <p:cNvPr id="3" name="组合 2">
            <a:extLst>
              <a:ext uri="{FF2B5EF4-FFF2-40B4-BE49-F238E27FC236}">
                <a16:creationId xmlns:a16="http://schemas.microsoft.com/office/drawing/2014/main" id="{52C19FB6-F8D1-460F-887F-0FE82D10ACE7}"/>
              </a:ext>
            </a:extLst>
          </p:cNvPr>
          <p:cNvGrpSpPr/>
          <p:nvPr/>
        </p:nvGrpSpPr>
        <p:grpSpPr>
          <a:xfrm>
            <a:off x="1018912" y="2204723"/>
            <a:ext cx="821687" cy="821687"/>
            <a:chOff x="1641085" y="1793497"/>
            <a:chExt cx="1030147" cy="1030147"/>
          </a:xfrm>
        </p:grpSpPr>
        <p:grpSp>
          <p:nvGrpSpPr>
            <p:cNvPr id="33" name="组合 32">
              <a:extLst>
                <a:ext uri="{FF2B5EF4-FFF2-40B4-BE49-F238E27FC236}">
                  <a16:creationId xmlns:a16="http://schemas.microsoft.com/office/drawing/2014/main" id="{51E72906-4FEF-4243-866E-13999DCBEFC4}"/>
                </a:ext>
              </a:extLst>
            </p:cNvPr>
            <p:cNvGrpSpPr/>
            <p:nvPr/>
          </p:nvGrpSpPr>
          <p:grpSpPr>
            <a:xfrm>
              <a:off x="1641085" y="1793497"/>
              <a:ext cx="1030147" cy="1030147"/>
              <a:chOff x="3971092" y="981076"/>
              <a:chExt cx="2385154" cy="2385154"/>
            </a:xfrm>
          </p:grpSpPr>
          <p:sp>
            <p:nvSpPr>
              <p:cNvPr id="34" name="任意多边形: 形状 33">
                <a:extLst>
                  <a:ext uri="{FF2B5EF4-FFF2-40B4-BE49-F238E27FC236}">
                    <a16:creationId xmlns:a16="http://schemas.microsoft.com/office/drawing/2014/main" id="{1F051EBB-7293-463A-8BF5-6AFE181C0C05}"/>
                  </a:ext>
                </a:extLst>
              </p:cNvPr>
              <p:cNvSpPr/>
              <p:nvPr/>
            </p:nvSpPr>
            <p:spPr>
              <a:xfrm>
                <a:off x="3971092" y="981076"/>
                <a:ext cx="2385154" cy="2385154"/>
              </a:xfrm>
              <a:custGeom>
                <a:avLst/>
                <a:gdLst>
                  <a:gd name="connsiteX0" fmla="*/ 758361 w 1516722"/>
                  <a:gd name="connsiteY0" fmla="*/ 0 h 1516722"/>
                  <a:gd name="connsiteX1" fmla="*/ 1516722 w 1516722"/>
                  <a:gd name="connsiteY1" fmla="*/ 758361 h 1516722"/>
                  <a:gd name="connsiteX2" fmla="*/ 1509094 w 1516722"/>
                  <a:gd name="connsiteY2" fmla="*/ 834034 h 1516722"/>
                  <a:gd name="connsiteX3" fmla="*/ 830024 w 1516722"/>
                  <a:gd name="connsiteY3" fmla="*/ 1513103 h 1516722"/>
                  <a:gd name="connsiteX4" fmla="*/ 758361 w 1516722"/>
                  <a:gd name="connsiteY4" fmla="*/ 1516722 h 1516722"/>
                  <a:gd name="connsiteX5" fmla="*/ 0 w 1516722"/>
                  <a:gd name="connsiteY5" fmla="*/ 758361 h 1516722"/>
                  <a:gd name="connsiteX6" fmla="*/ 758361 w 1516722"/>
                  <a:gd name="connsiteY6" fmla="*/ 0 h 1516722"/>
                  <a:gd name="connsiteX0" fmla="*/ 758361 w 1516722"/>
                  <a:gd name="connsiteY0" fmla="*/ 0 h 1516722"/>
                  <a:gd name="connsiteX1" fmla="*/ 1516722 w 1516722"/>
                  <a:gd name="connsiteY1" fmla="*/ 758361 h 1516722"/>
                  <a:gd name="connsiteX2" fmla="*/ 1509094 w 1516722"/>
                  <a:gd name="connsiteY2" fmla="*/ 834034 h 1516722"/>
                  <a:gd name="connsiteX3" fmla="*/ 867855 w 1516722"/>
                  <a:gd name="connsiteY3" fmla="*/ 1475574 h 1516722"/>
                  <a:gd name="connsiteX4" fmla="*/ 830024 w 1516722"/>
                  <a:gd name="connsiteY4" fmla="*/ 1513103 h 1516722"/>
                  <a:gd name="connsiteX5" fmla="*/ 758361 w 1516722"/>
                  <a:gd name="connsiteY5" fmla="*/ 1516722 h 1516722"/>
                  <a:gd name="connsiteX6" fmla="*/ 0 w 1516722"/>
                  <a:gd name="connsiteY6" fmla="*/ 758361 h 1516722"/>
                  <a:gd name="connsiteX7" fmla="*/ 758361 w 1516722"/>
                  <a:gd name="connsiteY7" fmla="*/ 0 h 1516722"/>
                  <a:gd name="connsiteX0" fmla="*/ 758361 w 1516722"/>
                  <a:gd name="connsiteY0" fmla="*/ 0 h 1516722"/>
                  <a:gd name="connsiteX1" fmla="*/ 1516722 w 1516722"/>
                  <a:gd name="connsiteY1" fmla="*/ 758361 h 1516722"/>
                  <a:gd name="connsiteX2" fmla="*/ 1509094 w 1516722"/>
                  <a:gd name="connsiteY2" fmla="*/ 834034 h 1516722"/>
                  <a:gd name="connsiteX3" fmla="*/ 1472375 w 1516722"/>
                  <a:gd name="connsiteY3" fmla="*/ 871054 h 1516722"/>
                  <a:gd name="connsiteX4" fmla="*/ 867855 w 1516722"/>
                  <a:gd name="connsiteY4" fmla="*/ 1475574 h 1516722"/>
                  <a:gd name="connsiteX5" fmla="*/ 830024 w 1516722"/>
                  <a:gd name="connsiteY5" fmla="*/ 1513103 h 1516722"/>
                  <a:gd name="connsiteX6" fmla="*/ 758361 w 1516722"/>
                  <a:gd name="connsiteY6" fmla="*/ 1516722 h 1516722"/>
                  <a:gd name="connsiteX7" fmla="*/ 0 w 1516722"/>
                  <a:gd name="connsiteY7" fmla="*/ 758361 h 1516722"/>
                  <a:gd name="connsiteX8" fmla="*/ 758361 w 1516722"/>
                  <a:gd name="connsiteY8" fmla="*/ 0 h 1516722"/>
                  <a:gd name="connsiteX0" fmla="*/ 758361 w 1516722"/>
                  <a:gd name="connsiteY0" fmla="*/ 0 h 1516722"/>
                  <a:gd name="connsiteX1" fmla="*/ 1516722 w 1516722"/>
                  <a:gd name="connsiteY1" fmla="*/ 758361 h 1516722"/>
                  <a:gd name="connsiteX2" fmla="*/ 1507189 w 1516722"/>
                  <a:gd name="connsiteY2" fmla="*/ 826414 h 1516722"/>
                  <a:gd name="connsiteX3" fmla="*/ 1472375 w 1516722"/>
                  <a:gd name="connsiteY3" fmla="*/ 871054 h 1516722"/>
                  <a:gd name="connsiteX4" fmla="*/ 867855 w 1516722"/>
                  <a:gd name="connsiteY4" fmla="*/ 1475574 h 1516722"/>
                  <a:gd name="connsiteX5" fmla="*/ 830024 w 1516722"/>
                  <a:gd name="connsiteY5" fmla="*/ 1513103 h 1516722"/>
                  <a:gd name="connsiteX6" fmla="*/ 758361 w 1516722"/>
                  <a:gd name="connsiteY6" fmla="*/ 1516722 h 1516722"/>
                  <a:gd name="connsiteX7" fmla="*/ 0 w 1516722"/>
                  <a:gd name="connsiteY7" fmla="*/ 758361 h 1516722"/>
                  <a:gd name="connsiteX8" fmla="*/ 758361 w 1516722"/>
                  <a:gd name="connsiteY8" fmla="*/ 0 h 1516722"/>
                  <a:gd name="connsiteX0" fmla="*/ 758361 w 1516722"/>
                  <a:gd name="connsiteY0" fmla="*/ 0 h 1516722"/>
                  <a:gd name="connsiteX1" fmla="*/ 1516722 w 1516722"/>
                  <a:gd name="connsiteY1" fmla="*/ 758361 h 1516722"/>
                  <a:gd name="connsiteX2" fmla="*/ 1507189 w 1516722"/>
                  <a:gd name="connsiteY2" fmla="*/ 826414 h 1516722"/>
                  <a:gd name="connsiteX3" fmla="*/ 1472375 w 1516722"/>
                  <a:gd name="connsiteY3" fmla="*/ 871054 h 1516722"/>
                  <a:gd name="connsiteX4" fmla="*/ 867855 w 1516722"/>
                  <a:gd name="connsiteY4" fmla="*/ 1475574 h 1516722"/>
                  <a:gd name="connsiteX5" fmla="*/ 830024 w 1516722"/>
                  <a:gd name="connsiteY5" fmla="*/ 1513103 h 1516722"/>
                  <a:gd name="connsiteX6" fmla="*/ 758361 w 1516722"/>
                  <a:gd name="connsiteY6" fmla="*/ 1516722 h 1516722"/>
                  <a:gd name="connsiteX7" fmla="*/ 0 w 1516722"/>
                  <a:gd name="connsiteY7" fmla="*/ 758361 h 1516722"/>
                  <a:gd name="connsiteX8" fmla="*/ 758361 w 1516722"/>
                  <a:gd name="connsiteY8" fmla="*/ 0 h 1516722"/>
                  <a:gd name="connsiteX0" fmla="*/ 758361 w 1516722"/>
                  <a:gd name="connsiteY0" fmla="*/ 0 h 1516722"/>
                  <a:gd name="connsiteX1" fmla="*/ 1516722 w 1516722"/>
                  <a:gd name="connsiteY1" fmla="*/ 758361 h 1516722"/>
                  <a:gd name="connsiteX2" fmla="*/ 1507189 w 1516722"/>
                  <a:gd name="connsiteY2" fmla="*/ 826414 h 1516722"/>
                  <a:gd name="connsiteX3" fmla="*/ 1472375 w 1516722"/>
                  <a:gd name="connsiteY3" fmla="*/ 871054 h 1516722"/>
                  <a:gd name="connsiteX4" fmla="*/ 867855 w 1516722"/>
                  <a:gd name="connsiteY4" fmla="*/ 1475574 h 1516722"/>
                  <a:gd name="connsiteX5" fmla="*/ 820499 w 1516722"/>
                  <a:gd name="connsiteY5" fmla="*/ 1509293 h 1516722"/>
                  <a:gd name="connsiteX6" fmla="*/ 758361 w 1516722"/>
                  <a:gd name="connsiteY6" fmla="*/ 1516722 h 1516722"/>
                  <a:gd name="connsiteX7" fmla="*/ 0 w 1516722"/>
                  <a:gd name="connsiteY7" fmla="*/ 758361 h 1516722"/>
                  <a:gd name="connsiteX8" fmla="*/ 758361 w 1516722"/>
                  <a:gd name="connsiteY8" fmla="*/ 0 h 1516722"/>
                  <a:gd name="connsiteX0" fmla="*/ 758361 w 1516722"/>
                  <a:gd name="connsiteY0" fmla="*/ 0 h 1516722"/>
                  <a:gd name="connsiteX1" fmla="*/ 1516722 w 1516722"/>
                  <a:gd name="connsiteY1" fmla="*/ 758361 h 1516722"/>
                  <a:gd name="connsiteX2" fmla="*/ 1507189 w 1516722"/>
                  <a:gd name="connsiteY2" fmla="*/ 826414 h 1516722"/>
                  <a:gd name="connsiteX3" fmla="*/ 1472375 w 1516722"/>
                  <a:gd name="connsiteY3" fmla="*/ 871054 h 1516722"/>
                  <a:gd name="connsiteX4" fmla="*/ 867855 w 1516722"/>
                  <a:gd name="connsiteY4" fmla="*/ 1475574 h 1516722"/>
                  <a:gd name="connsiteX5" fmla="*/ 820499 w 1516722"/>
                  <a:gd name="connsiteY5" fmla="*/ 1509293 h 1516722"/>
                  <a:gd name="connsiteX6" fmla="*/ 758361 w 1516722"/>
                  <a:gd name="connsiteY6" fmla="*/ 1516722 h 1516722"/>
                  <a:gd name="connsiteX7" fmla="*/ 0 w 1516722"/>
                  <a:gd name="connsiteY7" fmla="*/ 758361 h 1516722"/>
                  <a:gd name="connsiteX8" fmla="*/ 758361 w 1516722"/>
                  <a:gd name="connsiteY8" fmla="*/ 0 h 1516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16722" h="1516722">
                    <a:moveTo>
                      <a:pt x="758361" y="0"/>
                    </a:moveTo>
                    <a:cubicBezTo>
                      <a:pt x="1177192" y="0"/>
                      <a:pt x="1516722" y="339530"/>
                      <a:pt x="1516722" y="758361"/>
                    </a:cubicBezTo>
                    <a:cubicBezTo>
                      <a:pt x="1513544" y="781045"/>
                      <a:pt x="1519892" y="801825"/>
                      <a:pt x="1507189" y="826414"/>
                    </a:cubicBezTo>
                    <a:cubicBezTo>
                      <a:pt x="1494486" y="851003"/>
                      <a:pt x="1484615" y="859561"/>
                      <a:pt x="1472375" y="871054"/>
                    </a:cubicBezTo>
                    <a:lnTo>
                      <a:pt x="867855" y="1475574"/>
                    </a:lnTo>
                    <a:cubicBezTo>
                      <a:pt x="852070" y="1486814"/>
                      <a:pt x="838189" y="1498053"/>
                      <a:pt x="820499" y="1509293"/>
                    </a:cubicBezTo>
                    <a:cubicBezTo>
                      <a:pt x="802809" y="1520533"/>
                      <a:pt x="779074" y="1514246"/>
                      <a:pt x="758361" y="1516722"/>
                    </a:cubicBezTo>
                    <a:cubicBezTo>
                      <a:pt x="339530" y="1516722"/>
                      <a:pt x="0" y="1177192"/>
                      <a:pt x="0" y="758361"/>
                    </a:cubicBezTo>
                    <a:cubicBezTo>
                      <a:pt x="0" y="339530"/>
                      <a:pt x="339530" y="0"/>
                      <a:pt x="758361" y="0"/>
                    </a:cubicBezTo>
                    <a:close/>
                  </a:path>
                </a:pathLst>
              </a:custGeom>
              <a:gradFill flip="none" rotWithShape="0">
                <a:gsLst>
                  <a:gs pos="100000">
                    <a:schemeClr val="accent1"/>
                  </a:gs>
                  <a:gs pos="0">
                    <a:schemeClr val="accent1">
                      <a:lumMod val="75000"/>
                    </a:schemeClr>
                  </a:gs>
                </a:gsLst>
                <a:lin ang="27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91440" tIns="45720" rIns="91440" bIns="45720" numCol="1" spcCol="0" rtlCol="0" fromWordArt="0" anchor="ctr" anchorCtr="0" forceAA="0" compatLnSpc="1">
                <a:prstTxWarp prst="textNoShape">
                  <a:avLst/>
                </a:prstTxWarp>
                <a:noAutofit/>
              </a:bodyPr>
              <a:lstStyle/>
              <a:p>
                <a:pPr algn="ctr" defTabSz="457200"/>
                <a:endParaRPr lang="zh-CN" altLang="en-US" dirty="0"/>
              </a:p>
            </p:txBody>
          </p:sp>
          <p:sp>
            <p:nvSpPr>
              <p:cNvPr id="35" name="任意多边形: 形状 34">
                <a:extLst>
                  <a:ext uri="{FF2B5EF4-FFF2-40B4-BE49-F238E27FC236}">
                    <a16:creationId xmlns:a16="http://schemas.microsoft.com/office/drawing/2014/main" id="{13C7BC27-6A8E-488A-B60A-DA63378934B8}"/>
                  </a:ext>
                </a:extLst>
              </p:cNvPr>
              <p:cNvSpPr/>
              <p:nvPr/>
            </p:nvSpPr>
            <p:spPr>
              <a:xfrm rot="21596683">
                <a:off x="5281098" y="2295419"/>
                <a:ext cx="1062585" cy="1062585"/>
              </a:xfrm>
              <a:custGeom>
                <a:avLst/>
                <a:gdLst>
                  <a:gd name="connsiteX0" fmla="*/ 1849679 w 1849679"/>
                  <a:gd name="connsiteY0" fmla="*/ 0 h 1849680"/>
                  <a:gd name="connsiteX1" fmla="*/ 1754378 w 1849679"/>
                  <a:gd name="connsiteY1" fmla="*/ 122199 h 1849680"/>
                  <a:gd name="connsiteX2" fmla="*/ 1277426 w 1849679"/>
                  <a:gd name="connsiteY2" fmla="*/ 599152 h 1849680"/>
                  <a:gd name="connsiteX3" fmla="*/ 1277426 w 1849679"/>
                  <a:gd name="connsiteY3" fmla="*/ 599153 h 1849680"/>
                  <a:gd name="connsiteX4" fmla="*/ 122199 w 1849679"/>
                  <a:gd name="connsiteY4" fmla="*/ 1754378 h 1849680"/>
                  <a:gd name="connsiteX5" fmla="*/ 0 w 1849679"/>
                  <a:gd name="connsiteY5" fmla="*/ 1849680 h 1849680"/>
                  <a:gd name="connsiteX6" fmla="*/ 206599 w 1849679"/>
                  <a:gd name="connsiteY6" fmla="*/ 1408604 h 1849680"/>
                  <a:gd name="connsiteX7" fmla="*/ 221276 w 1849679"/>
                  <a:gd name="connsiteY7" fmla="*/ 971061 h 1849680"/>
                  <a:gd name="connsiteX8" fmla="*/ 233586 w 1849679"/>
                  <a:gd name="connsiteY8" fmla="*/ 911860 h 1849680"/>
                  <a:gd name="connsiteX9" fmla="*/ 232380 w 1849679"/>
                  <a:gd name="connsiteY9" fmla="*/ 910654 h 1849680"/>
                  <a:gd name="connsiteX10" fmla="*/ 241230 w 1849679"/>
                  <a:gd name="connsiteY10" fmla="*/ 875098 h 1849680"/>
                  <a:gd name="connsiteX11" fmla="*/ 249154 w 1849679"/>
                  <a:gd name="connsiteY11" fmla="*/ 836988 h 1849680"/>
                  <a:gd name="connsiteX12" fmla="*/ 254069 w 1849679"/>
                  <a:gd name="connsiteY12" fmla="*/ 823513 h 1849680"/>
                  <a:gd name="connsiteX13" fmla="*/ 265106 w 1849679"/>
                  <a:gd name="connsiteY13" fmla="*/ 779166 h 1849680"/>
                  <a:gd name="connsiteX14" fmla="*/ 436763 w 1849679"/>
                  <a:gd name="connsiteY14" fmla="*/ 488078 h 1849680"/>
                  <a:gd name="connsiteX15" fmla="*/ 463106 w 1849679"/>
                  <a:gd name="connsiteY15" fmla="*/ 463091 h 1849680"/>
                  <a:gd name="connsiteX16" fmla="*/ 488078 w 1849679"/>
                  <a:gd name="connsiteY16" fmla="*/ 436764 h 1849680"/>
                  <a:gd name="connsiteX17" fmla="*/ 779166 w 1849679"/>
                  <a:gd name="connsiteY17" fmla="*/ 265106 h 1849680"/>
                  <a:gd name="connsiteX18" fmla="*/ 823507 w 1849679"/>
                  <a:gd name="connsiteY18" fmla="*/ 254071 h 1849680"/>
                  <a:gd name="connsiteX19" fmla="*/ 836987 w 1849679"/>
                  <a:gd name="connsiteY19" fmla="*/ 249154 h 1849680"/>
                  <a:gd name="connsiteX20" fmla="*/ 875114 w 1849679"/>
                  <a:gd name="connsiteY20" fmla="*/ 241226 h 1849680"/>
                  <a:gd name="connsiteX21" fmla="*/ 910654 w 1849679"/>
                  <a:gd name="connsiteY21" fmla="*/ 232381 h 1849680"/>
                  <a:gd name="connsiteX22" fmla="*/ 911859 w 1849679"/>
                  <a:gd name="connsiteY22" fmla="*/ 233586 h 1849680"/>
                  <a:gd name="connsiteX23" fmla="*/ 971060 w 1849679"/>
                  <a:gd name="connsiteY23" fmla="*/ 221276 h 1849680"/>
                  <a:gd name="connsiteX24" fmla="*/ 1408603 w 1849679"/>
                  <a:gd name="connsiteY24" fmla="*/ 206599 h 1849680"/>
                  <a:gd name="connsiteX25" fmla="*/ 1849679 w 1849679"/>
                  <a:gd name="connsiteY25" fmla="*/ 0 h 1849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849679" h="1849680">
                    <a:moveTo>
                      <a:pt x="1849679" y="0"/>
                    </a:moveTo>
                    <a:cubicBezTo>
                      <a:pt x="1804744" y="67311"/>
                      <a:pt x="1787884" y="90738"/>
                      <a:pt x="1754378" y="122199"/>
                    </a:cubicBezTo>
                    <a:lnTo>
                      <a:pt x="1277426" y="599152"/>
                    </a:lnTo>
                    <a:lnTo>
                      <a:pt x="1277426" y="599153"/>
                    </a:lnTo>
                    <a:lnTo>
                      <a:pt x="122199" y="1754378"/>
                    </a:lnTo>
                    <a:cubicBezTo>
                      <a:pt x="90738" y="1787885"/>
                      <a:pt x="67311" y="1804745"/>
                      <a:pt x="0" y="1849680"/>
                    </a:cubicBezTo>
                    <a:cubicBezTo>
                      <a:pt x="104236" y="1719660"/>
                      <a:pt x="194467" y="1613607"/>
                      <a:pt x="206599" y="1408604"/>
                    </a:cubicBezTo>
                    <a:cubicBezTo>
                      <a:pt x="212666" y="1306102"/>
                      <a:pt x="195961" y="1146644"/>
                      <a:pt x="221276" y="971061"/>
                    </a:cubicBezTo>
                    <a:lnTo>
                      <a:pt x="233586" y="911860"/>
                    </a:lnTo>
                    <a:lnTo>
                      <a:pt x="232380" y="910654"/>
                    </a:lnTo>
                    <a:lnTo>
                      <a:pt x="241230" y="875098"/>
                    </a:lnTo>
                    <a:lnTo>
                      <a:pt x="249154" y="836988"/>
                    </a:lnTo>
                    <a:lnTo>
                      <a:pt x="254069" y="823513"/>
                    </a:lnTo>
                    <a:lnTo>
                      <a:pt x="265106" y="779166"/>
                    </a:lnTo>
                    <a:cubicBezTo>
                      <a:pt x="299827" y="674961"/>
                      <a:pt x="353261" y="575153"/>
                      <a:pt x="436763" y="488078"/>
                    </a:cubicBezTo>
                    <a:lnTo>
                      <a:pt x="463106" y="463091"/>
                    </a:lnTo>
                    <a:lnTo>
                      <a:pt x="488078" y="436764"/>
                    </a:lnTo>
                    <a:cubicBezTo>
                      <a:pt x="575153" y="353262"/>
                      <a:pt x="674961" y="299827"/>
                      <a:pt x="779166" y="265106"/>
                    </a:cubicBezTo>
                    <a:lnTo>
                      <a:pt x="823507" y="254071"/>
                    </a:lnTo>
                    <a:lnTo>
                      <a:pt x="836987" y="249154"/>
                    </a:lnTo>
                    <a:lnTo>
                      <a:pt x="875114" y="241226"/>
                    </a:lnTo>
                    <a:lnTo>
                      <a:pt x="910654" y="232381"/>
                    </a:lnTo>
                    <a:lnTo>
                      <a:pt x="911859" y="233586"/>
                    </a:lnTo>
                    <a:lnTo>
                      <a:pt x="971060" y="221276"/>
                    </a:lnTo>
                    <a:cubicBezTo>
                      <a:pt x="1146643" y="195960"/>
                      <a:pt x="1306101" y="212666"/>
                      <a:pt x="1408603" y="206599"/>
                    </a:cubicBezTo>
                    <a:cubicBezTo>
                      <a:pt x="1613606" y="194467"/>
                      <a:pt x="1719659" y="104236"/>
                      <a:pt x="1849679" y="0"/>
                    </a:cubicBezTo>
                    <a:close/>
                  </a:path>
                </a:pathLst>
              </a:custGeom>
              <a:gradFill>
                <a:gsLst>
                  <a:gs pos="50000">
                    <a:schemeClr val="bg1">
                      <a:lumMod val="85000"/>
                    </a:schemeClr>
                  </a:gs>
                  <a:gs pos="35000">
                    <a:schemeClr val="bg1"/>
                  </a:gs>
                  <a:gs pos="18000">
                    <a:schemeClr val="bg1">
                      <a:lumMod val="85000"/>
                    </a:schemeClr>
                  </a:gs>
                </a:gsLst>
                <a:lin ang="2700000" scaled="1"/>
              </a:gradFill>
              <a:ln>
                <a:noFill/>
              </a:ln>
              <a:effectLst>
                <a:outerShdw blurRad="3810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defTabSz="457200"/>
                <a:endParaRPr lang="zh-CN" altLang="en-US"/>
              </a:p>
            </p:txBody>
          </p:sp>
        </p:grpSp>
        <p:sp>
          <p:nvSpPr>
            <p:cNvPr id="2" name="文本框 1">
              <a:extLst>
                <a:ext uri="{FF2B5EF4-FFF2-40B4-BE49-F238E27FC236}">
                  <a16:creationId xmlns:a16="http://schemas.microsoft.com/office/drawing/2014/main" id="{04EBF08A-7563-4962-8B0C-0DAE516D13D2}"/>
                </a:ext>
              </a:extLst>
            </p:cNvPr>
            <p:cNvSpPr txBox="1"/>
            <p:nvPr/>
          </p:nvSpPr>
          <p:spPr>
            <a:xfrm>
              <a:off x="1913289" y="2045770"/>
              <a:ext cx="312586" cy="369332"/>
            </a:xfrm>
            <a:prstGeom prst="rect">
              <a:avLst/>
            </a:prstGeom>
            <a:noFill/>
          </p:spPr>
          <p:txBody>
            <a:bodyPr wrap="none" lIns="0" tIns="0" rIns="0" bIns="0" rtlCol="0" anchor="t">
              <a:spAutoFit/>
            </a:bodyPr>
            <a:lstStyle/>
            <a:p>
              <a:pPr algn="l"/>
              <a:r>
                <a:rPr lang="en-US" altLang="zh-CN" sz="2400" dirty="0">
                  <a:solidFill>
                    <a:schemeClr val="bg1"/>
                  </a:solidFill>
                </a:rPr>
                <a:t>01</a:t>
              </a:r>
              <a:endParaRPr lang="zh-CN" altLang="en-US" sz="2400" dirty="0">
                <a:solidFill>
                  <a:schemeClr val="bg1"/>
                </a:solidFill>
              </a:endParaRPr>
            </a:p>
          </p:txBody>
        </p:sp>
      </p:grpSp>
      <p:sp>
        <p:nvSpPr>
          <p:cNvPr id="40" name="文本框 39">
            <a:extLst>
              <a:ext uri="{FF2B5EF4-FFF2-40B4-BE49-F238E27FC236}">
                <a16:creationId xmlns:a16="http://schemas.microsoft.com/office/drawing/2014/main" id="{7D1611B6-A98D-47E0-860F-A4276A06EFE7}"/>
              </a:ext>
            </a:extLst>
          </p:cNvPr>
          <p:cNvSpPr txBox="1"/>
          <p:nvPr/>
        </p:nvSpPr>
        <p:spPr>
          <a:xfrm>
            <a:off x="994854" y="3275145"/>
            <a:ext cx="2224033" cy="704873"/>
          </a:xfrm>
          <a:prstGeom prst="rect">
            <a:avLst/>
          </a:prstGeom>
          <a:noFill/>
        </p:spPr>
        <p:txBody>
          <a:bodyPr wrap="square" lIns="0" tIns="0" rIns="0" bIns="0" rtlCol="0" anchor="t">
            <a:spAutoFit/>
          </a:bodyPr>
          <a:lstStyle/>
          <a:p>
            <a:pPr algn="ctr">
              <a:lnSpc>
                <a:spcPct val="130000"/>
              </a:lnSpc>
            </a:pPr>
            <a:r>
              <a:rPr lang="en-US" altLang="zh-CN" sz="1200" b="0" dirty="0">
                <a:solidFill>
                  <a:schemeClr val="tx1">
                    <a:lumMod val="75000"/>
                    <a:lumOff val="25000"/>
                  </a:schemeClr>
                </a:solidFill>
                <a:effectLst/>
                <a:latin typeface="+mn-ea"/>
              </a:rPr>
              <a:t>Lorem ipsum dolor sit </a:t>
            </a:r>
            <a:r>
              <a:rPr lang="en-US" altLang="zh-CN" sz="1200" b="0" dirty="0" err="1">
                <a:solidFill>
                  <a:schemeClr val="tx1">
                    <a:lumMod val="75000"/>
                    <a:lumOff val="25000"/>
                  </a:schemeClr>
                </a:solidFill>
                <a:effectLst/>
                <a:latin typeface="+mn-ea"/>
              </a:rPr>
              <a:t>amet</a:t>
            </a:r>
            <a:r>
              <a:rPr lang="en-US" altLang="zh-CN" sz="1200" b="0" dirty="0">
                <a:solidFill>
                  <a:schemeClr val="tx1">
                    <a:lumMod val="75000"/>
                    <a:lumOff val="25000"/>
                  </a:schemeClr>
                </a:solidFill>
                <a:effectLst/>
                <a:latin typeface="+mn-ea"/>
              </a:rPr>
              <a:t> consectetur </a:t>
            </a:r>
            <a:r>
              <a:rPr lang="en-US" altLang="zh-CN" sz="1200" b="0" dirty="0" err="1">
                <a:solidFill>
                  <a:schemeClr val="tx1">
                    <a:lumMod val="75000"/>
                    <a:lumOff val="25000"/>
                  </a:schemeClr>
                </a:solidFill>
                <a:effectLst/>
                <a:latin typeface="+mn-ea"/>
              </a:rPr>
              <a:t>adipisicing</a:t>
            </a:r>
            <a:r>
              <a:rPr lang="en-US" altLang="zh-CN" sz="1200" b="0" dirty="0">
                <a:solidFill>
                  <a:schemeClr val="tx1">
                    <a:lumMod val="75000"/>
                    <a:lumOff val="25000"/>
                  </a:schemeClr>
                </a:solidFill>
                <a:effectLst/>
                <a:latin typeface="+mn-ea"/>
              </a:rPr>
              <a:t> </a:t>
            </a:r>
            <a:r>
              <a:rPr lang="en-US" altLang="zh-CN" sz="1200" b="0" dirty="0" err="1">
                <a:solidFill>
                  <a:schemeClr val="tx1">
                    <a:lumMod val="75000"/>
                    <a:lumOff val="25000"/>
                  </a:schemeClr>
                </a:solidFill>
                <a:effectLst/>
                <a:latin typeface="+mn-ea"/>
              </a:rPr>
              <a:t>elit</a:t>
            </a:r>
            <a:r>
              <a:rPr lang="en-US" altLang="zh-CN" sz="1200" b="0" dirty="0">
                <a:solidFill>
                  <a:schemeClr val="tx1">
                    <a:lumMod val="75000"/>
                    <a:lumOff val="25000"/>
                  </a:schemeClr>
                </a:solidFill>
                <a:effectLst/>
                <a:latin typeface="+mn-ea"/>
              </a:rPr>
              <a:t> sed do eiusmod tempor</a:t>
            </a:r>
            <a:endParaRPr lang="zh-CN" altLang="en-US" sz="1200" b="0" dirty="0">
              <a:solidFill>
                <a:schemeClr val="tx1">
                  <a:lumMod val="75000"/>
                  <a:lumOff val="25000"/>
                </a:schemeClr>
              </a:solidFill>
              <a:effectLst/>
              <a:latin typeface="+mn-ea"/>
            </a:endParaRPr>
          </a:p>
        </p:txBody>
      </p:sp>
      <p:sp>
        <p:nvSpPr>
          <p:cNvPr id="41" name="文本框 40">
            <a:extLst>
              <a:ext uri="{FF2B5EF4-FFF2-40B4-BE49-F238E27FC236}">
                <a16:creationId xmlns:a16="http://schemas.microsoft.com/office/drawing/2014/main" id="{18BF7E1E-4510-4F37-A754-B03B88D3B461}"/>
              </a:ext>
            </a:extLst>
          </p:cNvPr>
          <p:cNvSpPr txBox="1"/>
          <p:nvPr/>
        </p:nvSpPr>
        <p:spPr>
          <a:xfrm>
            <a:off x="1936485" y="2504604"/>
            <a:ext cx="1282402" cy="307777"/>
          </a:xfrm>
          <a:prstGeom prst="rect">
            <a:avLst/>
          </a:prstGeom>
          <a:noFill/>
        </p:spPr>
        <p:txBody>
          <a:bodyPr wrap="none" lIns="0" tIns="0" rIns="0" bIns="0" rtlCol="0" anchor="t">
            <a:spAutoFit/>
          </a:bodyPr>
          <a:lstStyle/>
          <a:p>
            <a:r>
              <a:rPr lang="zh-CN" altLang="en-US" sz="2000" dirty="0">
                <a:solidFill>
                  <a:schemeClr val="accent1"/>
                </a:solidFill>
                <a:latin typeface="+mj-ea"/>
                <a:ea typeface="+mj-ea"/>
              </a:rPr>
              <a:t>关键词标题</a:t>
            </a:r>
          </a:p>
        </p:txBody>
      </p:sp>
      <p:sp>
        <p:nvSpPr>
          <p:cNvPr id="43" name="文本框 42">
            <a:extLst>
              <a:ext uri="{FF2B5EF4-FFF2-40B4-BE49-F238E27FC236}">
                <a16:creationId xmlns:a16="http://schemas.microsoft.com/office/drawing/2014/main" id="{B113FBB9-521D-4D9B-AC96-544353C492B5}"/>
              </a:ext>
            </a:extLst>
          </p:cNvPr>
          <p:cNvSpPr txBox="1"/>
          <p:nvPr/>
        </p:nvSpPr>
        <p:spPr>
          <a:xfrm>
            <a:off x="994854" y="4326705"/>
            <a:ext cx="2224033" cy="704873"/>
          </a:xfrm>
          <a:prstGeom prst="rect">
            <a:avLst/>
          </a:prstGeom>
          <a:noFill/>
        </p:spPr>
        <p:txBody>
          <a:bodyPr wrap="square" lIns="0" tIns="0" rIns="0" bIns="0" rtlCol="0" anchor="t">
            <a:spAutoFit/>
          </a:bodyPr>
          <a:lstStyle/>
          <a:p>
            <a:pPr algn="ctr">
              <a:lnSpc>
                <a:spcPct val="130000"/>
              </a:lnSpc>
            </a:pPr>
            <a:r>
              <a:rPr lang="en-US" altLang="zh-CN" sz="1200" b="0" dirty="0">
                <a:solidFill>
                  <a:schemeClr val="tx1">
                    <a:lumMod val="75000"/>
                    <a:lumOff val="25000"/>
                  </a:schemeClr>
                </a:solidFill>
                <a:effectLst/>
                <a:latin typeface="+mn-ea"/>
              </a:rPr>
              <a:t>Lorem ipsum dolor sit </a:t>
            </a:r>
            <a:r>
              <a:rPr lang="en-US" altLang="zh-CN" sz="1200" b="0" dirty="0" err="1">
                <a:solidFill>
                  <a:schemeClr val="tx1">
                    <a:lumMod val="75000"/>
                    <a:lumOff val="25000"/>
                  </a:schemeClr>
                </a:solidFill>
                <a:effectLst/>
                <a:latin typeface="+mn-ea"/>
              </a:rPr>
              <a:t>amet</a:t>
            </a:r>
            <a:r>
              <a:rPr lang="en-US" altLang="zh-CN" sz="1200" b="0" dirty="0">
                <a:solidFill>
                  <a:schemeClr val="tx1">
                    <a:lumMod val="75000"/>
                    <a:lumOff val="25000"/>
                  </a:schemeClr>
                </a:solidFill>
                <a:effectLst/>
                <a:latin typeface="+mn-ea"/>
              </a:rPr>
              <a:t> consectetur </a:t>
            </a:r>
            <a:r>
              <a:rPr lang="en-US" altLang="zh-CN" sz="1200" b="0" dirty="0" err="1">
                <a:solidFill>
                  <a:schemeClr val="tx1">
                    <a:lumMod val="75000"/>
                    <a:lumOff val="25000"/>
                  </a:schemeClr>
                </a:solidFill>
                <a:effectLst/>
                <a:latin typeface="+mn-ea"/>
              </a:rPr>
              <a:t>adipisicing</a:t>
            </a:r>
            <a:r>
              <a:rPr lang="en-US" altLang="zh-CN" sz="1200" b="0" dirty="0">
                <a:solidFill>
                  <a:schemeClr val="tx1">
                    <a:lumMod val="75000"/>
                    <a:lumOff val="25000"/>
                  </a:schemeClr>
                </a:solidFill>
                <a:effectLst/>
                <a:latin typeface="+mn-ea"/>
              </a:rPr>
              <a:t> </a:t>
            </a:r>
            <a:r>
              <a:rPr lang="en-US" altLang="zh-CN" sz="1200" b="0" dirty="0" err="1">
                <a:solidFill>
                  <a:schemeClr val="tx1">
                    <a:lumMod val="75000"/>
                    <a:lumOff val="25000"/>
                  </a:schemeClr>
                </a:solidFill>
                <a:effectLst/>
                <a:latin typeface="+mn-ea"/>
              </a:rPr>
              <a:t>elit</a:t>
            </a:r>
            <a:r>
              <a:rPr lang="en-US" altLang="zh-CN" sz="1200" b="0" dirty="0">
                <a:solidFill>
                  <a:schemeClr val="tx1">
                    <a:lumMod val="75000"/>
                    <a:lumOff val="25000"/>
                  </a:schemeClr>
                </a:solidFill>
                <a:effectLst/>
                <a:latin typeface="+mn-ea"/>
              </a:rPr>
              <a:t> sed do eiusmod tempor</a:t>
            </a:r>
            <a:endParaRPr lang="zh-CN" altLang="en-US" sz="1200" b="0" dirty="0">
              <a:solidFill>
                <a:schemeClr val="tx1">
                  <a:lumMod val="75000"/>
                  <a:lumOff val="25000"/>
                </a:schemeClr>
              </a:solidFill>
              <a:effectLst/>
              <a:latin typeface="+mn-ea"/>
            </a:endParaRPr>
          </a:p>
        </p:txBody>
      </p:sp>
      <p:grpSp>
        <p:nvGrpSpPr>
          <p:cNvPr id="69" name="组合 68">
            <a:extLst>
              <a:ext uri="{FF2B5EF4-FFF2-40B4-BE49-F238E27FC236}">
                <a16:creationId xmlns:a16="http://schemas.microsoft.com/office/drawing/2014/main" id="{6F062432-FB87-4FA8-AD0C-9D2BEA4F1DE1}"/>
              </a:ext>
            </a:extLst>
          </p:cNvPr>
          <p:cNvGrpSpPr/>
          <p:nvPr/>
        </p:nvGrpSpPr>
        <p:grpSpPr>
          <a:xfrm>
            <a:off x="4498340" y="1933956"/>
            <a:ext cx="2602081" cy="3742944"/>
            <a:chOff x="1453896" y="1362456"/>
            <a:chExt cx="3474720" cy="3742944"/>
          </a:xfrm>
        </p:grpSpPr>
        <p:sp>
          <p:nvSpPr>
            <p:cNvPr id="70" name="矩形: 圆角 69">
              <a:extLst>
                <a:ext uri="{FF2B5EF4-FFF2-40B4-BE49-F238E27FC236}">
                  <a16:creationId xmlns:a16="http://schemas.microsoft.com/office/drawing/2014/main" id="{03148AF2-5694-4405-A92F-40CD6930B741}"/>
                </a:ext>
              </a:extLst>
            </p:cNvPr>
            <p:cNvSpPr/>
            <p:nvPr/>
          </p:nvSpPr>
          <p:spPr>
            <a:xfrm rot="409421">
              <a:off x="1453896" y="1362456"/>
              <a:ext cx="3474720" cy="3742944"/>
            </a:xfrm>
            <a:prstGeom prst="roundRect">
              <a:avLst>
                <a:gd name="adj" fmla="val 8509"/>
              </a:avLst>
            </a:prstGeom>
            <a:solidFill>
              <a:schemeClr val="accent1"/>
            </a:solidFill>
            <a:ln>
              <a:noFill/>
            </a:ln>
            <a:effectLst>
              <a:outerShdw blurRad="139700" algn="ctr" rotWithShape="0">
                <a:schemeClr val="accent1">
                  <a:lumMod val="50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71" name="矩形: 圆角 70">
              <a:extLst>
                <a:ext uri="{FF2B5EF4-FFF2-40B4-BE49-F238E27FC236}">
                  <a16:creationId xmlns:a16="http://schemas.microsoft.com/office/drawing/2014/main" id="{572FAA68-19F5-40D9-9E84-0F3BEB9D4A20}"/>
                </a:ext>
              </a:extLst>
            </p:cNvPr>
            <p:cNvSpPr/>
            <p:nvPr/>
          </p:nvSpPr>
          <p:spPr>
            <a:xfrm>
              <a:off x="1453896" y="1362456"/>
              <a:ext cx="3474720" cy="3742944"/>
            </a:xfrm>
            <a:prstGeom prst="roundRect">
              <a:avLst>
                <a:gd name="adj" fmla="val 8509"/>
              </a:avLst>
            </a:prstGeom>
            <a:solidFill>
              <a:schemeClr val="bg1"/>
            </a:solidFill>
            <a:ln>
              <a:noFill/>
            </a:ln>
            <a:effectLst>
              <a:outerShdw blurRad="139700" algn="ctr" rotWithShape="0">
                <a:schemeClr val="accent1">
                  <a:lumMod val="50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grpSp>
      <p:grpSp>
        <p:nvGrpSpPr>
          <p:cNvPr id="72" name="组合 71">
            <a:extLst>
              <a:ext uri="{FF2B5EF4-FFF2-40B4-BE49-F238E27FC236}">
                <a16:creationId xmlns:a16="http://schemas.microsoft.com/office/drawing/2014/main" id="{389F3DDC-C40E-45E3-889A-C775BF9C3B05}"/>
              </a:ext>
            </a:extLst>
          </p:cNvPr>
          <p:cNvGrpSpPr/>
          <p:nvPr/>
        </p:nvGrpSpPr>
        <p:grpSpPr>
          <a:xfrm>
            <a:off x="4685656" y="2204723"/>
            <a:ext cx="821687" cy="821687"/>
            <a:chOff x="1641085" y="1793497"/>
            <a:chExt cx="1030147" cy="1030147"/>
          </a:xfrm>
        </p:grpSpPr>
        <p:grpSp>
          <p:nvGrpSpPr>
            <p:cNvPr id="73" name="组合 72">
              <a:extLst>
                <a:ext uri="{FF2B5EF4-FFF2-40B4-BE49-F238E27FC236}">
                  <a16:creationId xmlns:a16="http://schemas.microsoft.com/office/drawing/2014/main" id="{D9BFDBC8-7A8F-4F4D-807F-C7E5997BF47F}"/>
                </a:ext>
              </a:extLst>
            </p:cNvPr>
            <p:cNvGrpSpPr/>
            <p:nvPr/>
          </p:nvGrpSpPr>
          <p:grpSpPr>
            <a:xfrm>
              <a:off x="1641085" y="1793497"/>
              <a:ext cx="1030147" cy="1030147"/>
              <a:chOff x="3971092" y="981076"/>
              <a:chExt cx="2385154" cy="2385154"/>
            </a:xfrm>
          </p:grpSpPr>
          <p:sp>
            <p:nvSpPr>
              <p:cNvPr id="75" name="任意多边形: 形状 74">
                <a:extLst>
                  <a:ext uri="{FF2B5EF4-FFF2-40B4-BE49-F238E27FC236}">
                    <a16:creationId xmlns:a16="http://schemas.microsoft.com/office/drawing/2014/main" id="{25F933E6-0BFF-4DB3-8BDC-37B01F54EC38}"/>
                  </a:ext>
                </a:extLst>
              </p:cNvPr>
              <p:cNvSpPr/>
              <p:nvPr/>
            </p:nvSpPr>
            <p:spPr>
              <a:xfrm>
                <a:off x="3971092" y="981076"/>
                <a:ext cx="2385154" cy="2385154"/>
              </a:xfrm>
              <a:custGeom>
                <a:avLst/>
                <a:gdLst>
                  <a:gd name="connsiteX0" fmla="*/ 758361 w 1516722"/>
                  <a:gd name="connsiteY0" fmla="*/ 0 h 1516722"/>
                  <a:gd name="connsiteX1" fmla="*/ 1516722 w 1516722"/>
                  <a:gd name="connsiteY1" fmla="*/ 758361 h 1516722"/>
                  <a:gd name="connsiteX2" fmla="*/ 1509094 w 1516722"/>
                  <a:gd name="connsiteY2" fmla="*/ 834034 h 1516722"/>
                  <a:gd name="connsiteX3" fmla="*/ 830024 w 1516722"/>
                  <a:gd name="connsiteY3" fmla="*/ 1513103 h 1516722"/>
                  <a:gd name="connsiteX4" fmla="*/ 758361 w 1516722"/>
                  <a:gd name="connsiteY4" fmla="*/ 1516722 h 1516722"/>
                  <a:gd name="connsiteX5" fmla="*/ 0 w 1516722"/>
                  <a:gd name="connsiteY5" fmla="*/ 758361 h 1516722"/>
                  <a:gd name="connsiteX6" fmla="*/ 758361 w 1516722"/>
                  <a:gd name="connsiteY6" fmla="*/ 0 h 1516722"/>
                  <a:gd name="connsiteX0" fmla="*/ 758361 w 1516722"/>
                  <a:gd name="connsiteY0" fmla="*/ 0 h 1516722"/>
                  <a:gd name="connsiteX1" fmla="*/ 1516722 w 1516722"/>
                  <a:gd name="connsiteY1" fmla="*/ 758361 h 1516722"/>
                  <a:gd name="connsiteX2" fmla="*/ 1509094 w 1516722"/>
                  <a:gd name="connsiteY2" fmla="*/ 834034 h 1516722"/>
                  <a:gd name="connsiteX3" fmla="*/ 867855 w 1516722"/>
                  <a:gd name="connsiteY3" fmla="*/ 1475574 h 1516722"/>
                  <a:gd name="connsiteX4" fmla="*/ 830024 w 1516722"/>
                  <a:gd name="connsiteY4" fmla="*/ 1513103 h 1516722"/>
                  <a:gd name="connsiteX5" fmla="*/ 758361 w 1516722"/>
                  <a:gd name="connsiteY5" fmla="*/ 1516722 h 1516722"/>
                  <a:gd name="connsiteX6" fmla="*/ 0 w 1516722"/>
                  <a:gd name="connsiteY6" fmla="*/ 758361 h 1516722"/>
                  <a:gd name="connsiteX7" fmla="*/ 758361 w 1516722"/>
                  <a:gd name="connsiteY7" fmla="*/ 0 h 1516722"/>
                  <a:gd name="connsiteX0" fmla="*/ 758361 w 1516722"/>
                  <a:gd name="connsiteY0" fmla="*/ 0 h 1516722"/>
                  <a:gd name="connsiteX1" fmla="*/ 1516722 w 1516722"/>
                  <a:gd name="connsiteY1" fmla="*/ 758361 h 1516722"/>
                  <a:gd name="connsiteX2" fmla="*/ 1509094 w 1516722"/>
                  <a:gd name="connsiteY2" fmla="*/ 834034 h 1516722"/>
                  <a:gd name="connsiteX3" fmla="*/ 1472375 w 1516722"/>
                  <a:gd name="connsiteY3" fmla="*/ 871054 h 1516722"/>
                  <a:gd name="connsiteX4" fmla="*/ 867855 w 1516722"/>
                  <a:gd name="connsiteY4" fmla="*/ 1475574 h 1516722"/>
                  <a:gd name="connsiteX5" fmla="*/ 830024 w 1516722"/>
                  <a:gd name="connsiteY5" fmla="*/ 1513103 h 1516722"/>
                  <a:gd name="connsiteX6" fmla="*/ 758361 w 1516722"/>
                  <a:gd name="connsiteY6" fmla="*/ 1516722 h 1516722"/>
                  <a:gd name="connsiteX7" fmla="*/ 0 w 1516722"/>
                  <a:gd name="connsiteY7" fmla="*/ 758361 h 1516722"/>
                  <a:gd name="connsiteX8" fmla="*/ 758361 w 1516722"/>
                  <a:gd name="connsiteY8" fmla="*/ 0 h 1516722"/>
                  <a:gd name="connsiteX0" fmla="*/ 758361 w 1516722"/>
                  <a:gd name="connsiteY0" fmla="*/ 0 h 1516722"/>
                  <a:gd name="connsiteX1" fmla="*/ 1516722 w 1516722"/>
                  <a:gd name="connsiteY1" fmla="*/ 758361 h 1516722"/>
                  <a:gd name="connsiteX2" fmla="*/ 1507189 w 1516722"/>
                  <a:gd name="connsiteY2" fmla="*/ 826414 h 1516722"/>
                  <a:gd name="connsiteX3" fmla="*/ 1472375 w 1516722"/>
                  <a:gd name="connsiteY3" fmla="*/ 871054 h 1516722"/>
                  <a:gd name="connsiteX4" fmla="*/ 867855 w 1516722"/>
                  <a:gd name="connsiteY4" fmla="*/ 1475574 h 1516722"/>
                  <a:gd name="connsiteX5" fmla="*/ 830024 w 1516722"/>
                  <a:gd name="connsiteY5" fmla="*/ 1513103 h 1516722"/>
                  <a:gd name="connsiteX6" fmla="*/ 758361 w 1516722"/>
                  <a:gd name="connsiteY6" fmla="*/ 1516722 h 1516722"/>
                  <a:gd name="connsiteX7" fmla="*/ 0 w 1516722"/>
                  <a:gd name="connsiteY7" fmla="*/ 758361 h 1516722"/>
                  <a:gd name="connsiteX8" fmla="*/ 758361 w 1516722"/>
                  <a:gd name="connsiteY8" fmla="*/ 0 h 1516722"/>
                  <a:gd name="connsiteX0" fmla="*/ 758361 w 1516722"/>
                  <a:gd name="connsiteY0" fmla="*/ 0 h 1516722"/>
                  <a:gd name="connsiteX1" fmla="*/ 1516722 w 1516722"/>
                  <a:gd name="connsiteY1" fmla="*/ 758361 h 1516722"/>
                  <a:gd name="connsiteX2" fmla="*/ 1507189 w 1516722"/>
                  <a:gd name="connsiteY2" fmla="*/ 826414 h 1516722"/>
                  <a:gd name="connsiteX3" fmla="*/ 1472375 w 1516722"/>
                  <a:gd name="connsiteY3" fmla="*/ 871054 h 1516722"/>
                  <a:gd name="connsiteX4" fmla="*/ 867855 w 1516722"/>
                  <a:gd name="connsiteY4" fmla="*/ 1475574 h 1516722"/>
                  <a:gd name="connsiteX5" fmla="*/ 830024 w 1516722"/>
                  <a:gd name="connsiteY5" fmla="*/ 1513103 h 1516722"/>
                  <a:gd name="connsiteX6" fmla="*/ 758361 w 1516722"/>
                  <a:gd name="connsiteY6" fmla="*/ 1516722 h 1516722"/>
                  <a:gd name="connsiteX7" fmla="*/ 0 w 1516722"/>
                  <a:gd name="connsiteY7" fmla="*/ 758361 h 1516722"/>
                  <a:gd name="connsiteX8" fmla="*/ 758361 w 1516722"/>
                  <a:gd name="connsiteY8" fmla="*/ 0 h 1516722"/>
                  <a:gd name="connsiteX0" fmla="*/ 758361 w 1516722"/>
                  <a:gd name="connsiteY0" fmla="*/ 0 h 1516722"/>
                  <a:gd name="connsiteX1" fmla="*/ 1516722 w 1516722"/>
                  <a:gd name="connsiteY1" fmla="*/ 758361 h 1516722"/>
                  <a:gd name="connsiteX2" fmla="*/ 1507189 w 1516722"/>
                  <a:gd name="connsiteY2" fmla="*/ 826414 h 1516722"/>
                  <a:gd name="connsiteX3" fmla="*/ 1472375 w 1516722"/>
                  <a:gd name="connsiteY3" fmla="*/ 871054 h 1516722"/>
                  <a:gd name="connsiteX4" fmla="*/ 867855 w 1516722"/>
                  <a:gd name="connsiteY4" fmla="*/ 1475574 h 1516722"/>
                  <a:gd name="connsiteX5" fmla="*/ 820499 w 1516722"/>
                  <a:gd name="connsiteY5" fmla="*/ 1509293 h 1516722"/>
                  <a:gd name="connsiteX6" fmla="*/ 758361 w 1516722"/>
                  <a:gd name="connsiteY6" fmla="*/ 1516722 h 1516722"/>
                  <a:gd name="connsiteX7" fmla="*/ 0 w 1516722"/>
                  <a:gd name="connsiteY7" fmla="*/ 758361 h 1516722"/>
                  <a:gd name="connsiteX8" fmla="*/ 758361 w 1516722"/>
                  <a:gd name="connsiteY8" fmla="*/ 0 h 1516722"/>
                  <a:gd name="connsiteX0" fmla="*/ 758361 w 1516722"/>
                  <a:gd name="connsiteY0" fmla="*/ 0 h 1516722"/>
                  <a:gd name="connsiteX1" fmla="*/ 1516722 w 1516722"/>
                  <a:gd name="connsiteY1" fmla="*/ 758361 h 1516722"/>
                  <a:gd name="connsiteX2" fmla="*/ 1507189 w 1516722"/>
                  <a:gd name="connsiteY2" fmla="*/ 826414 h 1516722"/>
                  <a:gd name="connsiteX3" fmla="*/ 1472375 w 1516722"/>
                  <a:gd name="connsiteY3" fmla="*/ 871054 h 1516722"/>
                  <a:gd name="connsiteX4" fmla="*/ 867855 w 1516722"/>
                  <a:gd name="connsiteY4" fmla="*/ 1475574 h 1516722"/>
                  <a:gd name="connsiteX5" fmla="*/ 820499 w 1516722"/>
                  <a:gd name="connsiteY5" fmla="*/ 1509293 h 1516722"/>
                  <a:gd name="connsiteX6" fmla="*/ 758361 w 1516722"/>
                  <a:gd name="connsiteY6" fmla="*/ 1516722 h 1516722"/>
                  <a:gd name="connsiteX7" fmla="*/ 0 w 1516722"/>
                  <a:gd name="connsiteY7" fmla="*/ 758361 h 1516722"/>
                  <a:gd name="connsiteX8" fmla="*/ 758361 w 1516722"/>
                  <a:gd name="connsiteY8" fmla="*/ 0 h 1516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16722" h="1516722">
                    <a:moveTo>
                      <a:pt x="758361" y="0"/>
                    </a:moveTo>
                    <a:cubicBezTo>
                      <a:pt x="1177192" y="0"/>
                      <a:pt x="1516722" y="339530"/>
                      <a:pt x="1516722" y="758361"/>
                    </a:cubicBezTo>
                    <a:cubicBezTo>
                      <a:pt x="1513544" y="781045"/>
                      <a:pt x="1519892" y="801825"/>
                      <a:pt x="1507189" y="826414"/>
                    </a:cubicBezTo>
                    <a:cubicBezTo>
                      <a:pt x="1494486" y="851003"/>
                      <a:pt x="1484615" y="859561"/>
                      <a:pt x="1472375" y="871054"/>
                    </a:cubicBezTo>
                    <a:lnTo>
                      <a:pt x="867855" y="1475574"/>
                    </a:lnTo>
                    <a:cubicBezTo>
                      <a:pt x="852070" y="1486814"/>
                      <a:pt x="838189" y="1498053"/>
                      <a:pt x="820499" y="1509293"/>
                    </a:cubicBezTo>
                    <a:cubicBezTo>
                      <a:pt x="802809" y="1520533"/>
                      <a:pt x="779074" y="1514246"/>
                      <a:pt x="758361" y="1516722"/>
                    </a:cubicBezTo>
                    <a:cubicBezTo>
                      <a:pt x="339530" y="1516722"/>
                      <a:pt x="0" y="1177192"/>
                      <a:pt x="0" y="758361"/>
                    </a:cubicBezTo>
                    <a:cubicBezTo>
                      <a:pt x="0" y="339530"/>
                      <a:pt x="339530" y="0"/>
                      <a:pt x="758361" y="0"/>
                    </a:cubicBezTo>
                    <a:close/>
                  </a:path>
                </a:pathLst>
              </a:custGeom>
              <a:gradFill flip="none" rotWithShape="0">
                <a:gsLst>
                  <a:gs pos="100000">
                    <a:schemeClr val="accent1"/>
                  </a:gs>
                  <a:gs pos="0">
                    <a:schemeClr val="accent1">
                      <a:lumMod val="75000"/>
                    </a:schemeClr>
                  </a:gs>
                </a:gsLst>
                <a:lin ang="27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91440" tIns="45720" rIns="91440" bIns="45720" numCol="1" spcCol="0" rtlCol="0" fromWordArt="0" anchor="ctr" anchorCtr="0" forceAA="0" compatLnSpc="1">
                <a:prstTxWarp prst="textNoShape">
                  <a:avLst/>
                </a:prstTxWarp>
                <a:noAutofit/>
              </a:bodyPr>
              <a:lstStyle/>
              <a:p>
                <a:pPr algn="ctr" defTabSz="457200"/>
                <a:endParaRPr lang="zh-CN" altLang="en-US" dirty="0"/>
              </a:p>
            </p:txBody>
          </p:sp>
          <p:sp>
            <p:nvSpPr>
              <p:cNvPr id="76" name="任意多边形: 形状 75">
                <a:extLst>
                  <a:ext uri="{FF2B5EF4-FFF2-40B4-BE49-F238E27FC236}">
                    <a16:creationId xmlns:a16="http://schemas.microsoft.com/office/drawing/2014/main" id="{D7C06BBA-D65C-4929-8B56-7354ACA12892}"/>
                  </a:ext>
                </a:extLst>
              </p:cNvPr>
              <p:cNvSpPr/>
              <p:nvPr/>
            </p:nvSpPr>
            <p:spPr>
              <a:xfrm rot="21596683">
                <a:off x="5281098" y="2295419"/>
                <a:ext cx="1062585" cy="1062585"/>
              </a:xfrm>
              <a:custGeom>
                <a:avLst/>
                <a:gdLst>
                  <a:gd name="connsiteX0" fmla="*/ 1849679 w 1849679"/>
                  <a:gd name="connsiteY0" fmla="*/ 0 h 1849680"/>
                  <a:gd name="connsiteX1" fmla="*/ 1754378 w 1849679"/>
                  <a:gd name="connsiteY1" fmla="*/ 122199 h 1849680"/>
                  <a:gd name="connsiteX2" fmla="*/ 1277426 w 1849679"/>
                  <a:gd name="connsiteY2" fmla="*/ 599152 h 1849680"/>
                  <a:gd name="connsiteX3" fmla="*/ 1277426 w 1849679"/>
                  <a:gd name="connsiteY3" fmla="*/ 599153 h 1849680"/>
                  <a:gd name="connsiteX4" fmla="*/ 122199 w 1849679"/>
                  <a:gd name="connsiteY4" fmla="*/ 1754378 h 1849680"/>
                  <a:gd name="connsiteX5" fmla="*/ 0 w 1849679"/>
                  <a:gd name="connsiteY5" fmla="*/ 1849680 h 1849680"/>
                  <a:gd name="connsiteX6" fmla="*/ 206599 w 1849679"/>
                  <a:gd name="connsiteY6" fmla="*/ 1408604 h 1849680"/>
                  <a:gd name="connsiteX7" fmla="*/ 221276 w 1849679"/>
                  <a:gd name="connsiteY7" fmla="*/ 971061 h 1849680"/>
                  <a:gd name="connsiteX8" fmla="*/ 233586 w 1849679"/>
                  <a:gd name="connsiteY8" fmla="*/ 911860 h 1849680"/>
                  <a:gd name="connsiteX9" fmla="*/ 232380 w 1849679"/>
                  <a:gd name="connsiteY9" fmla="*/ 910654 h 1849680"/>
                  <a:gd name="connsiteX10" fmla="*/ 241230 w 1849679"/>
                  <a:gd name="connsiteY10" fmla="*/ 875098 h 1849680"/>
                  <a:gd name="connsiteX11" fmla="*/ 249154 w 1849679"/>
                  <a:gd name="connsiteY11" fmla="*/ 836988 h 1849680"/>
                  <a:gd name="connsiteX12" fmla="*/ 254069 w 1849679"/>
                  <a:gd name="connsiteY12" fmla="*/ 823513 h 1849680"/>
                  <a:gd name="connsiteX13" fmla="*/ 265106 w 1849679"/>
                  <a:gd name="connsiteY13" fmla="*/ 779166 h 1849680"/>
                  <a:gd name="connsiteX14" fmla="*/ 436763 w 1849679"/>
                  <a:gd name="connsiteY14" fmla="*/ 488078 h 1849680"/>
                  <a:gd name="connsiteX15" fmla="*/ 463106 w 1849679"/>
                  <a:gd name="connsiteY15" fmla="*/ 463091 h 1849680"/>
                  <a:gd name="connsiteX16" fmla="*/ 488078 w 1849679"/>
                  <a:gd name="connsiteY16" fmla="*/ 436764 h 1849680"/>
                  <a:gd name="connsiteX17" fmla="*/ 779166 w 1849679"/>
                  <a:gd name="connsiteY17" fmla="*/ 265106 h 1849680"/>
                  <a:gd name="connsiteX18" fmla="*/ 823507 w 1849679"/>
                  <a:gd name="connsiteY18" fmla="*/ 254071 h 1849680"/>
                  <a:gd name="connsiteX19" fmla="*/ 836987 w 1849679"/>
                  <a:gd name="connsiteY19" fmla="*/ 249154 h 1849680"/>
                  <a:gd name="connsiteX20" fmla="*/ 875114 w 1849679"/>
                  <a:gd name="connsiteY20" fmla="*/ 241226 h 1849680"/>
                  <a:gd name="connsiteX21" fmla="*/ 910654 w 1849679"/>
                  <a:gd name="connsiteY21" fmla="*/ 232381 h 1849680"/>
                  <a:gd name="connsiteX22" fmla="*/ 911859 w 1849679"/>
                  <a:gd name="connsiteY22" fmla="*/ 233586 h 1849680"/>
                  <a:gd name="connsiteX23" fmla="*/ 971060 w 1849679"/>
                  <a:gd name="connsiteY23" fmla="*/ 221276 h 1849680"/>
                  <a:gd name="connsiteX24" fmla="*/ 1408603 w 1849679"/>
                  <a:gd name="connsiteY24" fmla="*/ 206599 h 1849680"/>
                  <a:gd name="connsiteX25" fmla="*/ 1849679 w 1849679"/>
                  <a:gd name="connsiteY25" fmla="*/ 0 h 1849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849679" h="1849680">
                    <a:moveTo>
                      <a:pt x="1849679" y="0"/>
                    </a:moveTo>
                    <a:cubicBezTo>
                      <a:pt x="1804744" y="67311"/>
                      <a:pt x="1787884" y="90738"/>
                      <a:pt x="1754378" y="122199"/>
                    </a:cubicBezTo>
                    <a:lnTo>
                      <a:pt x="1277426" y="599152"/>
                    </a:lnTo>
                    <a:lnTo>
                      <a:pt x="1277426" y="599153"/>
                    </a:lnTo>
                    <a:lnTo>
                      <a:pt x="122199" y="1754378"/>
                    </a:lnTo>
                    <a:cubicBezTo>
                      <a:pt x="90738" y="1787885"/>
                      <a:pt x="67311" y="1804745"/>
                      <a:pt x="0" y="1849680"/>
                    </a:cubicBezTo>
                    <a:cubicBezTo>
                      <a:pt x="104236" y="1719660"/>
                      <a:pt x="194467" y="1613607"/>
                      <a:pt x="206599" y="1408604"/>
                    </a:cubicBezTo>
                    <a:cubicBezTo>
                      <a:pt x="212666" y="1306102"/>
                      <a:pt x="195961" y="1146644"/>
                      <a:pt x="221276" y="971061"/>
                    </a:cubicBezTo>
                    <a:lnTo>
                      <a:pt x="233586" y="911860"/>
                    </a:lnTo>
                    <a:lnTo>
                      <a:pt x="232380" y="910654"/>
                    </a:lnTo>
                    <a:lnTo>
                      <a:pt x="241230" y="875098"/>
                    </a:lnTo>
                    <a:lnTo>
                      <a:pt x="249154" y="836988"/>
                    </a:lnTo>
                    <a:lnTo>
                      <a:pt x="254069" y="823513"/>
                    </a:lnTo>
                    <a:lnTo>
                      <a:pt x="265106" y="779166"/>
                    </a:lnTo>
                    <a:cubicBezTo>
                      <a:pt x="299827" y="674961"/>
                      <a:pt x="353261" y="575153"/>
                      <a:pt x="436763" y="488078"/>
                    </a:cubicBezTo>
                    <a:lnTo>
                      <a:pt x="463106" y="463091"/>
                    </a:lnTo>
                    <a:lnTo>
                      <a:pt x="488078" y="436764"/>
                    </a:lnTo>
                    <a:cubicBezTo>
                      <a:pt x="575153" y="353262"/>
                      <a:pt x="674961" y="299827"/>
                      <a:pt x="779166" y="265106"/>
                    </a:cubicBezTo>
                    <a:lnTo>
                      <a:pt x="823507" y="254071"/>
                    </a:lnTo>
                    <a:lnTo>
                      <a:pt x="836987" y="249154"/>
                    </a:lnTo>
                    <a:lnTo>
                      <a:pt x="875114" y="241226"/>
                    </a:lnTo>
                    <a:lnTo>
                      <a:pt x="910654" y="232381"/>
                    </a:lnTo>
                    <a:lnTo>
                      <a:pt x="911859" y="233586"/>
                    </a:lnTo>
                    <a:lnTo>
                      <a:pt x="971060" y="221276"/>
                    </a:lnTo>
                    <a:cubicBezTo>
                      <a:pt x="1146643" y="195960"/>
                      <a:pt x="1306101" y="212666"/>
                      <a:pt x="1408603" y="206599"/>
                    </a:cubicBezTo>
                    <a:cubicBezTo>
                      <a:pt x="1613606" y="194467"/>
                      <a:pt x="1719659" y="104236"/>
                      <a:pt x="1849679" y="0"/>
                    </a:cubicBezTo>
                    <a:close/>
                  </a:path>
                </a:pathLst>
              </a:custGeom>
              <a:gradFill>
                <a:gsLst>
                  <a:gs pos="50000">
                    <a:schemeClr val="bg1">
                      <a:lumMod val="85000"/>
                    </a:schemeClr>
                  </a:gs>
                  <a:gs pos="35000">
                    <a:schemeClr val="bg1"/>
                  </a:gs>
                  <a:gs pos="18000">
                    <a:schemeClr val="bg1">
                      <a:lumMod val="85000"/>
                    </a:schemeClr>
                  </a:gs>
                </a:gsLst>
                <a:lin ang="2700000" scaled="1"/>
              </a:gradFill>
              <a:ln>
                <a:noFill/>
              </a:ln>
              <a:effectLst>
                <a:outerShdw blurRad="3810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defTabSz="457200"/>
                <a:endParaRPr lang="zh-CN" altLang="en-US"/>
              </a:p>
            </p:txBody>
          </p:sp>
        </p:grpSp>
        <p:sp>
          <p:nvSpPr>
            <p:cNvPr id="74" name="文本框 73">
              <a:extLst>
                <a:ext uri="{FF2B5EF4-FFF2-40B4-BE49-F238E27FC236}">
                  <a16:creationId xmlns:a16="http://schemas.microsoft.com/office/drawing/2014/main" id="{DACECBB9-E407-4118-85D4-016FE07136FF}"/>
                </a:ext>
              </a:extLst>
            </p:cNvPr>
            <p:cNvSpPr txBox="1"/>
            <p:nvPr/>
          </p:nvSpPr>
          <p:spPr>
            <a:xfrm>
              <a:off x="1913289" y="2045770"/>
              <a:ext cx="470266" cy="463031"/>
            </a:xfrm>
            <a:prstGeom prst="rect">
              <a:avLst/>
            </a:prstGeom>
            <a:noFill/>
          </p:spPr>
          <p:txBody>
            <a:bodyPr wrap="none" lIns="0" tIns="0" rIns="0" bIns="0" rtlCol="0" anchor="t">
              <a:spAutoFit/>
            </a:bodyPr>
            <a:lstStyle/>
            <a:p>
              <a:pPr algn="l"/>
              <a:r>
                <a:rPr lang="en-US" altLang="zh-CN" sz="2400" dirty="0">
                  <a:solidFill>
                    <a:schemeClr val="bg1"/>
                  </a:solidFill>
                </a:rPr>
                <a:t>02</a:t>
              </a:r>
              <a:endParaRPr lang="zh-CN" altLang="en-US" sz="2400" dirty="0">
                <a:solidFill>
                  <a:schemeClr val="bg1"/>
                </a:solidFill>
              </a:endParaRPr>
            </a:p>
          </p:txBody>
        </p:sp>
      </p:grpSp>
      <p:sp>
        <p:nvSpPr>
          <p:cNvPr id="77" name="文本框 76">
            <a:extLst>
              <a:ext uri="{FF2B5EF4-FFF2-40B4-BE49-F238E27FC236}">
                <a16:creationId xmlns:a16="http://schemas.microsoft.com/office/drawing/2014/main" id="{744909DB-351A-42D9-A351-76B3B68D1FAB}"/>
              </a:ext>
            </a:extLst>
          </p:cNvPr>
          <p:cNvSpPr txBox="1"/>
          <p:nvPr/>
        </p:nvSpPr>
        <p:spPr>
          <a:xfrm>
            <a:off x="4661598" y="3275145"/>
            <a:ext cx="2224033" cy="704873"/>
          </a:xfrm>
          <a:prstGeom prst="rect">
            <a:avLst/>
          </a:prstGeom>
          <a:noFill/>
        </p:spPr>
        <p:txBody>
          <a:bodyPr wrap="square" lIns="0" tIns="0" rIns="0" bIns="0" rtlCol="0" anchor="t">
            <a:spAutoFit/>
          </a:bodyPr>
          <a:lstStyle/>
          <a:p>
            <a:pPr algn="ctr">
              <a:lnSpc>
                <a:spcPct val="130000"/>
              </a:lnSpc>
            </a:pPr>
            <a:r>
              <a:rPr lang="en-US" altLang="zh-CN" sz="1200" b="0" dirty="0">
                <a:solidFill>
                  <a:schemeClr val="tx1">
                    <a:lumMod val="75000"/>
                    <a:lumOff val="25000"/>
                  </a:schemeClr>
                </a:solidFill>
                <a:effectLst/>
                <a:latin typeface="+mn-ea"/>
              </a:rPr>
              <a:t>Lorem ipsum dolor sit </a:t>
            </a:r>
            <a:r>
              <a:rPr lang="en-US" altLang="zh-CN" sz="1200" b="0" dirty="0" err="1">
                <a:solidFill>
                  <a:schemeClr val="tx1">
                    <a:lumMod val="75000"/>
                    <a:lumOff val="25000"/>
                  </a:schemeClr>
                </a:solidFill>
                <a:effectLst/>
                <a:latin typeface="+mn-ea"/>
              </a:rPr>
              <a:t>amet</a:t>
            </a:r>
            <a:r>
              <a:rPr lang="en-US" altLang="zh-CN" sz="1200" b="0" dirty="0">
                <a:solidFill>
                  <a:schemeClr val="tx1">
                    <a:lumMod val="75000"/>
                    <a:lumOff val="25000"/>
                  </a:schemeClr>
                </a:solidFill>
                <a:effectLst/>
                <a:latin typeface="+mn-ea"/>
              </a:rPr>
              <a:t> consectetur </a:t>
            </a:r>
            <a:r>
              <a:rPr lang="en-US" altLang="zh-CN" sz="1200" b="0" dirty="0" err="1">
                <a:solidFill>
                  <a:schemeClr val="tx1">
                    <a:lumMod val="75000"/>
                    <a:lumOff val="25000"/>
                  </a:schemeClr>
                </a:solidFill>
                <a:effectLst/>
                <a:latin typeface="+mn-ea"/>
              </a:rPr>
              <a:t>adipisicing</a:t>
            </a:r>
            <a:r>
              <a:rPr lang="en-US" altLang="zh-CN" sz="1200" b="0" dirty="0">
                <a:solidFill>
                  <a:schemeClr val="tx1">
                    <a:lumMod val="75000"/>
                    <a:lumOff val="25000"/>
                  </a:schemeClr>
                </a:solidFill>
                <a:effectLst/>
                <a:latin typeface="+mn-ea"/>
              </a:rPr>
              <a:t> </a:t>
            </a:r>
            <a:r>
              <a:rPr lang="en-US" altLang="zh-CN" sz="1200" b="0" dirty="0" err="1">
                <a:solidFill>
                  <a:schemeClr val="tx1">
                    <a:lumMod val="75000"/>
                    <a:lumOff val="25000"/>
                  </a:schemeClr>
                </a:solidFill>
                <a:effectLst/>
                <a:latin typeface="+mn-ea"/>
              </a:rPr>
              <a:t>elit</a:t>
            </a:r>
            <a:r>
              <a:rPr lang="en-US" altLang="zh-CN" sz="1200" b="0" dirty="0">
                <a:solidFill>
                  <a:schemeClr val="tx1">
                    <a:lumMod val="75000"/>
                    <a:lumOff val="25000"/>
                  </a:schemeClr>
                </a:solidFill>
                <a:effectLst/>
                <a:latin typeface="+mn-ea"/>
              </a:rPr>
              <a:t> sed do eiusmod tempor</a:t>
            </a:r>
            <a:endParaRPr lang="zh-CN" altLang="en-US" sz="1200" b="0" dirty="0">
              <a:solidFill>
                <a:schemeClr val="tx1">
                  <a:lumMod val="75000"/>
                  <a:lumOff val="25000"/>
                </a:schemeClr>
              </a:solidFill>
              <a:effectLst/>
              <a:latin typeface="+mn-ea"/>
            </a:endParaRPr>
          </a:p>
        </p:txBody>
      </p:sp>
      <p:sp>
        <p:nvSpPr>
          <p:cNvPr id="78" name="文本框 77">
            <a:extLst>
              <a:ext uri="{FF2B5EF4-FFF2-40B4-BE49-F238E27FC236}">
                <a16:creationId xmlns:a16="http://schemas.microsoft.com/office/drawing/2014/main" id="{E5570C17-9909-4B91-A216-75E2B963AC82}"/>
              </a:ext>
            </a:extLst>
          </p:cNvPr>
          <p:cNvSpPr txBox="1"/>
          <p:nvPr/>
        </p:nvSpPr>
        <p:spPr>
          <a:xfrm>
            <a:off x="5603229" y="2504604"/>
            <a:ext cx="1282402" cy="307777"/>
          </a:xfrm>
          <a:prstGeom prst="rect">
            <a:avLst/>
          </a:prstGeom>
          <a:noFill/>
        </p:spPr>
        <p:txBody>
          <a:bodyPr wrap="none" lIns="0" tIns="0" rIns="0" bIns="0" rtlCol="0" anchor="t">
            <a:spAutoFit/>
          </a:bodyPr>
          <a:lstStyle/>
          <a:p>
            <a:r>
              <a:rPr lang="zh-CN" altLang="en-US" sz="2000" dirty="0">
                <a:solidFill>
                  <a:schemeClr val="accent1"/>
                </a:solidFill>
                <a:latin typeface="+mj-ea"/>
                <a:ea typeface="+mj-ea"/>
              </a:rPr>
              <a:t>关键词标题</a:t>
            </a:r>
          </a:p>
        </p:txBody>
      </p:sp>
      <p:sp>
        <p:nvSpPr>
          <p:cNvPr id="79" name="文本框 78">
            <a:extLst>
              <a:ext uri="{FF2B5EF4-FFF2-40B4-BE49-F238E27FC236}">
                <a16:creationId xmlns:a16="http://schemas.microsoft.com/office/drawing/2014/main" id="{AF70A450-9183-4652-B86B-9E551EFA9314}"/>
              </a:ext>
            </a:extLst>
          </p:cNvPr>
          <p:cNvSpPr txBox="1"/>
          <p:nvPr/>
        </p:nvSpPr>
        <p:spPr>
          <a:xfrm>
            <a:off x="4661598" y="4326705"/>
            <a:ext cx="2224033" cy="704873"/>
          </a:xfrm>
          <a:prstGeom prst="rect">
            <a:avLst/>
          </a:prstGeom>
          <a:noFill/>
        </p:spPr>
        <p:txBody>
          <a:bodyPr wrap="square" lIns="0" tIns="0" rIns="0" bIns="0" rtlCol="0" anchor="t">
            <a:spAutoFit/>
          </a:bodyPr>
          <a:lstStyle/>
          <a:p>
            <a:pPr algn="ctr">
              <a:lnSpc>
                <a:spcPct val="130000"/>
              </a:lnSpc>
            </a:pPr>
            <a:r>
              <a:rPr lang="en-US" altLang="zh-CN" sz="1200" b="0" dirty="0">
                <a:solidFill>
                  <a:schemeClr val="tx1">
                    <a:lumMod val="75000"/>
                    <a:lumOff val="25000"/>
                  </a:schemeClr>
                </a:solidFill>
                <a:effectLst/>
                <a:latin typeface="+mn-ea"/>
              </a:rPr>
              <a:t>Lorem ipsum dolor sit </a:t>
            </a:r>
            <a:r>
              <a:rPr lang="en-US" altLang="zh-CN" sz="1200" b="0" dirty="0" err="1">
                <a:solidFill>
                  <a:schemeClr val="tx1">
                    <a:lumMod val="75000"/>
                    <a:lumOff val="25000"/>
                  </a:schemeClr>
                </a:solidFill>
                <a:effectLst/>
                <a:latin typeface="+mn-ea"/>
              </a:rPr>
              <a:t>amet</a:t>
            </a:r>
            <a:r>
              <a:rPr lang="en-US" altLang="zh-CN" sz="1200" b="0" dirty="0">
                <a:solidFill>
                  <a:schemeClr val="tx1">
                    <a:lumMod val="75000"/>
                    <a:lumOff val="25000"/>
                  </a:schemeClr>
                </a:solidFill>
                <a:effectLst/>
                <a:latin typeface="+mn-ea"/>
              </a:rPr>
              <a:t> consectetur </a:t>
            </a:r>
            <a:r>
              <a:rPr lang="en-US" altLang="zh-CN" sz="1200" b="0" dirty="0" err="1">
                <a:solidFill>
                  <a:schemeClr val="tx1">
                    <a:lumMod val="75000"/>
                    <a:lumOff val="25000"/>
                  </a:schemeClr>
                </a:solidFill>
                <a:effectLst/>
                <a:latin typeface="+mn-ea"/>
              </a:rPr>
              <a:t>adipisicing</a:t>
            </a:r>
            <a:r>
              <a:rPr lang="en-US" altLang="zh-CN" sz="1200" b="0" dirty="0">
                <a:solidFill>
                  <a:schemeClr val="tx1">
                    <a:lumMod val="75000"/>
                    <a:lumOff val="25000"/>
                  </a:schemeClr>
                </a:solidFill>
                <a:effectLst/>
                <a:latin typeface="+mn-ea"/>
              </a:rPr>
              <a:t> </a:t>
            </a:r>
            <a:r>
              <a:rPr lang="en-US" altLang="zh-CN" sz="1200" b="0" dirty="0" err="1">
                <a:solidFill>
                  <a:schemeClr val="tx1">
                    <a:lumMod val="75000"/>
                    <a:lumOff val="25000"/>
                  </a:schemeClr>
                </a:solidFill>
                <a:effectLst/>
                <a:latin typeface="+mn-ea"/>
              </a:rPr>
              <a:t>elit</a:t>
            </a:r>
            <a:r>
              <a:rPr lang="en-US" altLang="zh-CN" sz="1200" b="0" dirty="0">
                <a:solidFill>
                  <a:schemeClr val="tx1">
                    <a:lumMod val="75000"/>
                    <a:lumOff val="25000"/>
                  </a:schemeClr>
                </a:solidFill>
                <a:effectLst/>
                <a:latin typeface="+mn-ea"/>
              </a:rPr>
              <a:t> sed do eiusmod tempor</a:t>
            </a:r>
            <a:endParaRPr lang="zh-CN" altLang="en-US" sz="1200" b="0" dirty="0">
              <a:solidFill>
                <a:schemeClr val="tx1">
                  <a:lumMod val="75000"/>
                  <a:lumOff val="25000"/>
                </a:schemeClr>
              </a:solidFill>
              <a:effectLst/>
              <a:latin typeface="+mn-ea"/>
            </a:endParaRPr>
          </a:p>
        </p:txBody>
      </p:sp>
      <p:grpSp>
        <p:nvGrpSpPr>
          <p:cNvPr id="80" name="组合 79">
            <a:extLst>
              <a:ext uri="{FF2B5EF4-FFF2-40B4-BE49-F238E27FC236}">
                <a16:creationId xmlns:a16="http://schemas.microsoft.com/office/drawing/2014/main" id="{1A912669-D7FB-4216-BCA6-561E76CD677A}"/>
              </a:ext>
            </a:extLst>
          </p:cNvPr>
          <p:cNvGrpSpPr/>
          <p:nvPr/>
        </p:nvGrpSpPr>
        <p:grpSpPr>
          <a:xfrm>
            <a:off x="8165084" y="1933956"/>
            <a:ext cx="2602081" cy="3742944"/>
            <a:chOff x="1453896" y="1362456"/>
            <a:chExt cx="3474720" cy="3742944"/>
          </a:xfrm>
        </p:grpSpPr>
        <p:sp>
          <p:nvSpPr>
            <p:cNvPr id="81" name="矩形: 圆角 80">
              <a:extLst>
                <a:ext uri="{FF2B5EF4-FFF2-40B4-BE49-F238E27FC236}">
                  <a16:creationId xmlns:a16="http://schemas.microsoft.com/office/drawing/2014/main" id="{0786496D-4902-441C-AF90-B13A3A424446}"/>
                </a:ext>
              </a:extLst>
            </p:cNvPr>
            <p:cNvSpPr/>
            <p:nvPr/>
          </p:nvSpPr>
          <p:spPr>
            <a:xfrm rot="409421">
              <a:off x="1453896" y="1362456"/>
              <a:ext cx="3474720" cy="3742944"/>
            </a:xfrm>
            <a:prstGeom prst="roundRect">
              <a:avLst>
                <a:gd name="adj" fmla="val 8509"/>
              </a:avLst>
            </a:prstGeom>
            <a:solidFill>
              <a:schemeClr val="accent1"/>
            </a:solidFill>
            <a:ln>
              <a:noFill/>
            </a:ln>
            <a:effectLst>
              <a:outerShdw blurRad="139700" algn="ctr" rotWithShape="0">
                <a:schemeClr val="accent1">
                  <a:lumMod val="50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82" name="矩形: 圆角 81">
              <a:extLst>
                <a:ext uri="{FF2B5EF4-FFF2-40B4-BE49-F238E27FC236}">
                  <a16:creationId xmlns:a16="http://schemas.microsoft.com/office/drawing/2014/main" id="{6A3A7E0C-586F-4291-9028-42897D196C7E}"/>
                </a:ext>
              </a:extLst>
            </p:cNvPr>
            <p:cNvSpPr/>
            <p:nvPr/>
          </p:nvSpPr>
          <p:spPr>
            <a:xfrm>
              <a:off x="1453896" y="1362456"/>
              <a:ext cx="3474720" cy="3742944"/>
            </a:xfrm>
            <a:prstGeom prst="roundRect">
              <a:avLst>
                <a:gd name="adj" fmla="val 8509"/>
              </a:avLst>
            </a:prstGeom>
            <a:solidFill>
              <a:schemeClr val="bg1"/>
            </a:solidFill>
            <a:ln>
              <a:noFill/>
            </a:ln>
            <a:effectLst>
              <a:outerShdw blurRad="139700" algn="ctr" rotWithShape="0">
                <a:schemeClr val="accent1">
                  <a:lumMod val="50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grpSp>
      <p:grpSp>
        <p:nvGrpSpPr>
          <p:cNvPr id="83" name="组合 82">
            <a:extLst>
              <a:ext uri="{FF2B5EF4-FFF2-40B4-BE49-F238E27FC236}">
                <a16:creationId xmlns:a16="http://schemas.microsoft.com/office/drawing/2014/main" id="{0B582D27-2FC2-492B-88C0-440254FB1A33}"/>
              </a:ext>
            </a:extLst>
          </p:cNvPr>
          <p:cNvGrpSpPr/>
          <p:nvPr/>
        </p:nvGrpSpPr>
        <p:grpSpPr>
          <a:xfrm>
            <a:off x="8352400" y="2204723"/>
            <a:ext cx="821687" cy="821687"/>
            <a:chOff x="1641085" y="1793497"/>
            <a:chExt cx="1030147" cy="1030147"/>
          </a:xfrm>
        </p:grpSpPr>
        <p:grpSp>
          <p:nvGrpSpPr>
            <p:cNvPr id="84" name="组合 83">
              <a:extLst>
                <a:ext uri="{FF2B5EF4-FFF2-40B4-BE49-F238E27FC236}">
                  <a16:creationId xmlns:a16="http://schemas.microsoft.com/office/drawing/2014/main" id="{B9A57CDA-6B4B-4E39-95DF-27C36DCA3D2A}"/>
                </a:ext>
              </a:extLst>
            </p:cNvPr>
            <p:cNvGrpSpPr/>
            <p:nvPr/>
          </p:nvGrpSpPr>
          <p:grpSpPr>
            <a:xfrm>
              <a:off x="1641085" y="1793497"/>
              <a:ext cx="1030147" cy="1030147"/>
              <a:chOff x="3971092" y="981076"/>
              <a:chExt cx="2385154" cy="2385154"/>
            </a:xfrm>
          </p:grpSpPr>
          <p:sp>
            <p:nvSpPr>
              <p:cNvPr id="86" name="任意多边形: 形状 85">
                <a:extLst>
                  <a:ext uri="{FF2B5EF4-FFF2-40B4-BE49-F238E27FC236}">
                    <a16:creationId xmlns:a16="http://schemas.microsoft.com/office/drawing/2014/main" id="{8B09D3D0-3A7E-4D01-80BD-253AE0E9F585}"/>
                  </a:ext>
                </a:extLst>
              </p:cNvPr>
              <p:cNvSpPr/>
              <p:nvPr/>
            </p:nvSpPr>
            <p:spPr>
              <a:xfrm>
                <a:off x="3971092" y="981076"/>
                <a:ext cx="2385154" cy="2385154"/>
              </a:xfrm>
              <a:custGeom>
                <a:avLst/>
                <a:gdLst>
                  <a:gd name="connsiteX0" fmla="*/ 758361 w 1516722"/>
                  <a:gd name="connsiteY0" fmla="*/ 0 h 1516722"/>
                  <a:gd name="connsiteX1" fmla="*/ 1516722 w 1516722"/>
                  <a:gd name="connsiteY1" fmla="*/ 758361 h 1516722"/>
                  <a:gd name="connsiteX2" fmla="*/ 1509094 w 1516722"/>
                  <a:gd name="connsiteY2" fmla="*/ 834034 h 1516722"/>
                  <a:gd name="connsiteX3" fmla="*/ 830024 w 1516722"/>
                  <a:gd name="connsiteY3" fmla="*/ 1513103 h 1516722"/>
                  <a:gd name="connsiteX4" fmla="*/ 758361 w 1516722"/>
                  <a:gd name="connsiteY4" fmla="*/ 1516722 h 1516722"/>
                  <a:gd name="connsiteX5" fmla="*/ 0 w 1516722"/>
                  <a:gd name="connsiteY5" fmla="*/ 758361 h 1516722"/>
                  <a:gd name="connsiteX6" fmla="*/ 758361 w 1516722"/>
                  <a:gd name="connsiteY6" fmla="*/ 0 h 1516722"/>
                  <a:gd name="connsiteX0" fmla="*/ 758361 w 1516722"/>
                  <a:gd name="connsiteY0" fmla="*/ 0 h 1516722"/>
                  <a:gd name="connsiteX1" fmla="*/ 1516722 w 1516722"/>
                  <a:gd name="connsiteY1" fmla="*/ 758361 h 1516722"/>
                  <a:gd name="connsiteX2" fmla="*/ 1509094 w 1516722"/>
                  <a:gd name="connsiteY2" fmla="*/ 834034 h 1516722"/>
                  <a:gd name="connsiteX3" fmla="*/ 867855 w 1516722"/>
                  <a:gd name="connsiteY3" fmla="*/ 1475574 h 1516722"/>
                  <a:gd name="connsiteX4" fmla="*/ 830024 w 1516722"/>
                  <a:gd name="connsiteY4" fmla="*/ 1513103 h 1516722"/>
                  <a:gd name="connsiteX5" fmla="*/ 758361 w 1516722"/>
                  <a:gd name="connsiteY5" fmla="*/ 1516722 h 1516722"/>
                  <a:gd name="connsiteX6" fmla="*/ 0 w 1516722"/>
                  <a:gd name="connsiteY6" fmla="*/ 758361 h 1516722"/>
                  <a:gd name="connsiteX7" fmla="*/ 758361 w 1516722"/>
                  <a:gd name="connsiteY7" fmla="*/ 0 h 1516722"/>
                  <a:gd name="connsiteX0" fmla="*/ 758361 w 1516722"/>
                  <a:gd name="connsiteY0" fmla="*/ 0 h 1516722"/>
                  <a:gd name="connsiteX1" fmla="*/ 1516722 w 1516722"/>
                  <a:gd name="connsiteY1" fmla="*/ 758361 h 1516722"/>
                  <a:gd name="connsiteX2" fmla="*/ 1509094 w 1516722"/>
                  <a:gd name="connsiteY2" fmla="*/ 834034 h 1516722"/>
                  <a:gd name="connsiteX3" fmla="*/ 1472375 w 1516722"/>
                  <a:gd name="connsiteY3" fmla="*/ 871054 h 1516722"/>
                  <a:gd name="connsiteX4" fmla="*/ 867855 w 1516722"/>
                  <a:gd name="connsiteY4" fmla="*/ 1475574 h 1516722"/>
                  <a:gd name="connsiteX5" fmla="*/ 830024 w 1516722"/>
                  <a:gd name="connsiteY5" fmla="*/ 1513103 h 1516722"/>
                  <a:gd name="connsiteX6" fmla="*/ 758361 w 1516722"/>
                  <a:gd name="connsiteY6" fmla="*/ 1516722 h 1516722"/>
                  <a:gd name="connsiteX7" fmla="*/ 0 w 1516722"/>
                  <a:gd name="connsiteY7" fmla="*/ 758361 h 1516722"/>
                  <a:gd name="connsiteX8" fmla="*/ 758361 w 1516722"/>
                  <a:gd name="connsiteY8" fmla="*/ 0 h 1516722"/>
                  <a:gd name="connsiteX0" fmla="*/ 758361 w 1516722"/>
                  <a:gd name="connsiteY0" fmla="*/ 0 h 1516722"/>
                  <a:gd name="connsiteX1" fmla="*/ 1516722 w 1516722"/>
                  <a:gd name="connsiteY1" fmla="*/ 758361 h 1516722"/>
                  <a:gd name="connsiteX2" fmla="*/ 1507189 w 1516722"/>
                  <a:gd name="connsiteY2" fmla="*/ 826414 h 1516722"/>
                  <a:gd name="connsiteX3" fmla="*/ 1472375 w 1516722"/>
                  <a:gd name="connsiteY3" fmla="*/ 871054 h 1516722"/>
                  <a:gd name="connsiteX4" fmla="*/ 867855 w 1516722"/>
                  <a:gd name="connsiteY4" fmla="*/ 1475574 h 1516722"/>
                  <a:gd name="connsiteX5" fmla="*/ 830024 w 1516722"/>
                  <a:gd name="connsiteY5" fmla="*/ 1513103 h 1516722"/>
                  <a:gd name="connsiteX6" fmla="*/ 758361 w 1516722"/>
                  <a:gd name="connsiteY6" fmla="*/ 1516722 h 1516722"/>
                  <a:gd name="connsiteX7" fmla="*/ 0 w 1516722"/>
                  <a:gd name="connsiteY7" fmla="*/ 758361 h 1516722"/>
                  <a:gd name="connsiteX8" fmla="*/ 758361 w 1516722"/>
                  <a:gd name="connsiteY8" fmla="*/ 0 h 1516722"/>
                  <a:gd name="connsiteX0" fmla="*/ 758361 w 1516722"/>
                  <a:gd name="connsiteY0" fmla="*/ 0 h 1516722"/>
                  <a:gd name="connsiteX1" fmla="*/ 1516722 w 1516722"/>
                  <a:gd name="connsiteY1" fmla="*/ 758361 h 1516722"/>
                  <a:gd name="connsiteX2" fmla="*/ 1507189 w 1516722"/>
                  <a:gd name="connsiteY2" fmla="*/ 826414 h 1516722"/>
                  <a:gd name="connsiteX3" fmla="*/ 1472375 w 1516722"/>
                  <a:gd name="connsiteY3" fmla="*/ 871054 h 1516722"/>
                  <a:gd name="connsiteX4" fmla="*/ 867855 w 1516722"/>
                  <a:gd name="connsiteY4" fmla="*/ 1475574 h 1516722"/>
                  <a:gd name="connsiteX5" fmla="*/ 830024 w 1516722"/>
                  <a:gd name="connsiteY5" fmla="*/ 1513103 h 1516722"/>
                  <a:gd name="connsiteX6" fmla="*/ 758361 w 1516722"/>
                  <a:gd name="connsiteY6" fmla="*/ 1516722 h 1516722"/>
                  <a:gd name="connsiteX7" fmla="*/ 0 w 1516722"/>
                  <a:gd name="connsiteY7" fmla="*/ 758361 h 1516722"/>
                  <a:gd name="connsiteX8" fmla="*/ 758361 w 1516722"/>
                  <a:gd name="connsiteY8" fmla="*/ 0 h 1516722"/>
                  <a:gd name="connsiteX0" fmla="*/ 758361 w 1516722"/>
                  <a:gd name="connsiteY0" fmla="*/ 0 h 1516722"/>
                  <a:gd name="connsiteX1" fmla="*/ 1516722 w 1516722"/>
                  <a:gd name="connsiteY1" fmla="*/ 758361 h 1516722"/>
                  <a:gd name="connsiteX2" fmla="*/ 1507189 w 1516722"/>
                  <a:gd name="connsiteY2" fmla="*/ 826414 h 1516722"/>
                  <a:gd name="connsiteX3" fmla="*/ 1472375 w 1516722"/>
                  <a:gd name="connsiteY3" fmla="*/ 871054 h 1516722"/>
                  <a:gd name="connsiteX4" fmla="*/ 867855 w 1516722"/>
                  <a:gd name="connsiteY4" fmla="*/ 1475574 h 1516722"/>
                  <a:gd name="connsiteX5" fmla="*/ 820499 w 1516722"/>
                  <a:gd name="connsiteY5" fmla="*/ 1509293 h 1516722"/>
                  <a:gd name="connsiteX6" fmla="*/ 758361 w 1516722"/>
                  <a:gd name="connsiteY6" fmla="*/ 1516722 h 1516722"/>
                  <a:gd name="connsiteX7" fmla="*/ 0 w 1516722"/>
                  <a:gd name="connsiteY7" fmla="*/ 758361 h 1516722"/>
                  <a:gd name="connsiteX8" fmla="*/ 758361 w 1516722"/>
                  <a:gd name="connsiteY8" fmla="*/ 0 h 1516722"/>
                  <a:gd name="connsiteX0" fmla="*/ 758361 w 1516722"/>
                  <a:gd name="connsiteY0" fmla="*/ 0 h 1516722"/>
                  <a:gd name="connsiteX1" fmla="*/ 1516722 w 1516722"/>
                  <a:gd name="connsiteY1" fmla="*/ 758361 h 1516722"/>
                  <a:gd name="connsiteX2" fmla="*/ 1507189 w 1516722"/>
                  <a:gd name="connsiteY2" fmla="*/ 826414 h 1516722"/>
                  <a:gd name="connsiteX3" fmla="*/ 1472375 w 1516722"/>
                  <a:gd name="connsiteY3" fmla="*/ 871054 h 1516722"/>
                  <a:gd name="connsiteX4" fmla="*/ 867855 w 1516722"/>
                  <a:gd name="connsiteY4" fmla="*/ 1475574 h 1516722"/>
                  <a:gd name="connsiteX5" fmla="*/ 820499 w 1516722"/>
                  <a:gd name="connsiteY5" fmla="*/ 1509293 h 1516722"/>
                  <a:gd name="connsiteX6" fmla="*/ 758361 w 1516722"/>
                  <a:gd name="connsiteY6" fmla="*/ 1516722 h 1516722"/>
                  <a:gd name="connsiteX7" fmla="*/ 0 w 1516722"/>
                  <a:gd name="connsiteY7" fmla="*/ 758361 h 1516722"/>
                  <a:gd name="connsiteX8" fmla="*/ 758361 w 1516722"/>
                  <a:gd name="connsiteY8" fmla="*/ 0 h 1516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16722" h="1516722">
                    <a:moveTo>
                      <a:pt x="758361" y="0"/>
                    </a:moveTo>
                    <a:cubicBezTo>
                      <a:pt x="1177192" y="0"/>
                      <a:pt x="1516722" y="339530"/>
                      <a:pt x="1516722" y="758361"/>
                    </a:cubicBezTo>
                    <a:cubicBezTo>
                      <a:pt x="1513544" y="781045"/>
                      <a:pt x="1519892" y="801825"/>
                      <a:pt x="1507189" y="826414"/>
                    </a:cubicBezTo>
                    <a:cubicBezTo>
                      <a:pt x="1494486" y="851003"/>
                      <a:pt x="1484615" y="859561"/>
                      <a:pt x="1472375" y="871054"/>
                    </a:cubicBezTo>
                    <a:lnTo>
                      <a:pt x="867855" y="1475574"/>
                    </a:lnTo>
                    <a:cubicBezTo>
                      <a:pt x="852070" y="1486814"/>
                      <a:pt x="838189" y="1498053"/>
                      <a:pt x="820499" y="1509293"/>
                    </a:cubicBezTo>
                    <a:cubicBezTo>
                      <a:pt x="802809" y="1520533"/>
                      <a:pt x="779074" y="1514246"/>
                      <a:pt x="758361" y="1516722"/>
                    </a:cubicBezTo>
                    <a:cubicBezTo>
                      <a:pt x="339530" y="1516722"/>
                      <a:pt x="0" y="1177192"/>
                      <a:pt x="0" y="758361"/>
                    </a:cubicBezTo>
                    <a:cubicBezTo>
                      <a:pt x="0" y="339530"/>
                      <a:pt x="339530" y="0"/>
                      <a:pt x="758361" y="0"/>
                    </a:cubicBezTo>
                    <a:close/>
                  </a:path>
                </a:pathLst>
              </a:custGeom>
              <a:gradFill flip="none" rotWithShape="0">
                <a:gsLst>
                  <a:gs pos="100000">
                    <a:schemeClr val="accent1"/>
                  </a:gs>
                  <a:gs pos="0">
                    <a:schemeClr val="accent1">
                      <a:lumMod val="75000"/>
                    </a:schemeClr>
                  </a:gs>
                </a:gsLst>
                <a:lin ang="27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91440" tIns="45720" rIns="91440" bIns="45720" numCol="1" spcCol="0" rtlCol="0" fromWordArt="0" anchor="ctr" anchorCtr="0" forceAA="0" compatLnSpc="1">
                <a:prstTxWarp prst="textNoShape">
                  <a:avLst/>
                </a:prstTxWarp>
                <a:noAutofit/>
              </a:bodyPr>
              <a:lstStyle/>
              <a:p>
                <a:pPr algn="ctr" defTabSz="457200"/>
                <a:endParaRPr lang="zh-CN" altLang="en-US" dirty="0"/>
              </a:p>
            </p:txBody>
          </p:sp>
          <p:sp>
            <p:nvSpPr>
              <p:cNvPr id="87" name="任意多边形: 形状 86">
                <a:extLst>
                  <a:ext uri="{FF2B5EF4-FFF2-40B4-BE49-F238E27FC236}">
                    <a16:creationId xmlns:a16="http://schemas.microsoft.com/office/drawing/2014/main" id="{C4948B8F-2136-4558-8667-1344FCC43DA2}"/>
                  </a:ext>
                </a:extLst>
              </p:cNvPr>
              <p:cNvSpPr/>
              <p:nvPr/>
            </p:nvSpPr>
            <p:spPr>
              <a:xfrm rot="21596683">
                <a:off x="5281098" y="2295419"/>
                <a:ext cx="1062585" cy="1062585"/>
              </a:xfrm>
              <a:custGeom>
                <a:avLst/>
                <a:gdLst>
                  <a:gd name="connsiteX0" fmla="*/ 1849679 w 1849679"/>
                  <a:gd name="connsiteY0" fmla="*/ 0 h 1849680"/>
                  <a:gd name="connsiteX1" fmla="*/ 1754378 w 1849679"/>
                  <a:gd name="connsiteY1" fmla="*/ 122199 h 1849680"/>
                  <a:gd name="connsiteX2" fmla="*/ 1277426 w 1849679"/>
                  <a:gd name="connsiteY2" fmla="*/ 599152 h 1849680"/>
                  <a:gd name="connsiteX3" fmla="*/ 1277426 w 1849679"/>
                  <a:gd name="connsiteY3" fmla="*/ 599153 h 1849680"/>
                  <a:gd name="connsiteX4" fmla="*/ 122199 w 1849679"/>
                  <a:gd name="connsiteY4" fmla="*/ 1754378 h 1849680"/>
                  <a:gd name="connsiteX5" fmla="*/ 0 w 1849679"/>
                  <a:gd name="connsiteY5" fmla="*/ 1849680 h 1849680"/>
                  <a:gd name="connsiteX6" fmla="*/ 206599 w 1849679"/>
                  <a:gd name="connsiteY6" fmla="*/ 1408604 h 1849680"/>
                  <a:gd name="connsiteX7" fmla="*/ 221276 w 1849679"/>
                  <a:gd name="connsiteY7" fmla="*/ 971061 h 1849680"/>
                  <a:gd name="connsiteX8" fmla="*/ 233586 w 1849679"/>
                  <a:gd name="connsiteY8" fmla="*/ 911860 h 1849680"/>
                  <a:gd name="connsiteX9" fmla="*/ 232380 w 1849679"/>
                  <a:gd name="connsiteY9" fmla="*/ 910654 h 1849680"/>
                  <a:gd name="connsiteX10" fmla="*/ 241230 w 1849679"/>
                  <a:gd name="connsiteY10" fmla="*/ 875098 h 1849680"/>
                  <a:gd name="connsiteX11" fmla="*/ 249154 w 1849679"/>
                  <a:gd name="connsiteY11" fmla="*/ 836988 h 1849680"/>
                  <a:gd name="connsiteX12" fmla="*/ 254069 w 1849679"/>
                  <a:gd name="connsiteY12" fmla="*/ 823513 h 1849680"/>
                  <a:gd name="connsiteX13" fmla="*/ 265106 w 1849679"/>
                  <a:gd name="connsiteY13" fmla="*/ 779166 h 1849680"/>
                  <a:gd name="connsiteX14" fmla="*/ 436763 w 1849679"/>
                  <a:gd name="connsiteY14" fmla="*/ 488078 h 1849680"/>
                  <a:gd name="connsiteX15" fmla="*/ 463106 w 1849679"/>
                  <a:gd name="connsiteY15" fmla="*/ 463091 h 1849680"/>
                  <a:gd name="connsiteX16" fmla="*/ 488078 w 1849679"/>
                  <a:gd name="connsiteY16" fmla="*/ 436764 h 1849680"/>
                  <a:gd name="connsiteX17" fmla="*/ 779166 w 1849679"/>
                  <a:gd name="connsiteY17" fmla="*/ 265106 h 1849680"/>
                  <a:gd name="connsiteX18" fmla="*/ 823507 w 1849679"/>
                  <a:gd name="connsiteY18" fmla="*/ 254071 h 1849680"/>
                  <a:gd name="connsiteX19" fmla="*/ 836987 w 1849679"/>
                  <a:gd name="connsiteY19" fmla="*/ 249154 h 1849680"/>
                  <a:gd name="connsiteX20" fmla="*/ 875114 w 1849679"/>
                  <a:gd name="connsiteY20" fmla="*/ 241226 h 1849680"/>
                  <a:gd name="connsiteX21" fmla="*/ 910654 w 1849679"/>
                  <a:gd name="connsiteY21" fmla="*/ 232381 h 1849680"/>
                  <a:gd name="connsiteX22" fmla="*/ 911859 w 1849679"/>
                  <a:gd name="connsiteY22" fmla="*/ 233586 h 1849680"/>
                  <a:gd name="connsiteX23" fmla="*/ 971060 w 1849679"/>
                  <a:gd name="connsiteY23" fmla="*/ 221276 h 1849680"/>
                  <a:gd name="connsiteX24" fmla="*/ 1408603 w 1849679"/>
                  <a:gd name="connsiteY24" fmla="*/ 206599 h 1849680"/>
                  <a:gd name="connsiteX25" fmla="*/ 1849679 w 1849679"/>
                  <a:gd name="connsiteY25" fmla="*/ 0 h 1849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849679" h="1849680">
                    <a:moveTo>
                      <a:pt x="1849679" y="0"/>
                    </a:moveTo>
                    <a:cubicBezTo>
                      <a:pt x="1804744" y="67311"/>
                      <a:pt x="1787884" y="90738"/>
                      <a:pt x="1754378" y="122199"/>
                    </a:cubicBezTo>
                    <a:lnTo>
                      <a:pt x="1277426" y="599152"/>
                    </a:lnTo>
                    <a:lnTo>
                      <a:pt x="1277426" y="599153"/>
                    </a:lnTo>
                    <a:lnTo>
                      <a:pt x="122199" y="1754378"/>
                    </a:lnTo>
                    <a:cubicBezTo>
                      <a:pt x="90738" y="1787885"/>
                      <a:pt x="67311" y="1804745"/>
                      <a:pt x="0" y="1849680"/>
                    </a:cubicBezTo>
                    <a:cubicBezTo>
                      <a:pt x="104236" y="1719660"/>
                      <a:pt x="194467" y="1613607"/>
                      <a:pt x="206599" y="1408604"/>
                    </a:cubicBezTo>
                    <a:cubicBezTo>
                      <a:pt x="212666" y="1306102"/>
                      <a:pt x="195961" y="1146644"/>
                      <a:pt x="221276" y="971061"/>
                    </a:cubicBezTo>
                    <a:lnTo>
                      <a:pt x="233586" y="911860"/>
                    </a:lnTo>
                    <a:lnTo>
                      <a:pt x="232380" y="910654"/>
                    </a:lnTo>
                    <a:lnTo>
                      <a:pt x="241230" y="875098"/>
                    </a:lnTo>
                    <a:lnTo>
                      <a:pt x="249154" y="836988"/>
                    </a:lnTo>
                    <a:lnTo>
                      <a:pt x="254069" y="823513"/>
                    </a:lnTo>
                    <a:lnTo>
                      <a:pt x="265106" y="779166"/>
                    </a:lnTo>
                    <a:cubicBezTo>
                      <a:pt x="299827" y="674961"/>
                      <a:pt x="353261" y="575153"/>
                      <a:pt x="436763" y="488078"/>
                    </a:cubicBezTo>
                    <a:lnTo>
                      <a:pt x="463106" y="463091"/>
                    </a:lnTo>
                    <a:lnTo>
                      <a:pt x="488078" y="436764"/>
                    </a:lnTo>
                    <a:cubicBezTo>
                      <a:pt x="575153" y="353262"/>
                      <a:pt x="674961" y="299827"/>
                      <a:pt x="779166" y="265106"/>
                    </a:cubicBezTo>
                    <a:lnTo>
                      <a:pt x="823507" y="254071"/>
                    </a:lnTo>
                    <a:lnTo>
                      <a:pt x="836987" y="249154"/>
                    </a:lnTo>
                    <a:lnTo>
                      <a:pt x="875114" y="241226"/>
                    </a:lnTo>
                    <a:lnTo>
                      <a:pt x="910654" y="232381"/>
                    </a:lnTo>
                    <a:lnTo>
                      <a:pt x="911859" y="233586"/>
                    </a:lnTo>
                    <a:lnTo>
                      <a:pt x="971060" y="221276"/>
                    </a:lnTo>
                    <a:cubicBezTo>
                      <a:pt x="1146643" y="195960"/>
                      <a:pt x="1306101" y="212666"/>
                      <a:pt x="1408603" y="206599"/>
                    </a:cubicBezTo>
                    <a:cubicBezTo>
                      <a:pt x="1613606" y="194467"/>
                      <a:pt x="1719659" y="104236"/>
                      <a:pt x="1849679" y="0"/>
                    </a:cubicBezTo>
                    <a:close/>
                  </a:path>
                </a:pathLst>
              </a:custGeom>
              <a:gradFill>
                <a:gsLst>
                  <a:gs pos="50000">
                    <a:schemeClr val="bg1">
                      <a:lumMod val="85000"/>
                    </a:schemeClr>
                  </a:gs>
                  <a:gs pos="35000">
                    <a:schemeClr val="bg1"/>
                  </a:gs>
                  <a:gs pos="18000">
                    <a:schemeClr val="bg1">
                      <a:lumMod val="85000"/>
                    </a:schemeClr>
                  </a:gs>
                </a:gsLst>
                <a:lin ang="2700000" scaled="1"/>
              </a:gradFill>
              <a:ln>
                <a:noFill/>
              </a:ln>
              <a:effectLst>
                <a:outerShdw blurRad="3810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defTabSz="457200"/>
                <a:endParaRPr lang="zh-CN" altLang="en-US"/>
              </a:p>
            </p:txBody>
          </p:sp>
        </p:grpSp>
        <p:sp>
          <p:nvSpPr>
            <p:cNvPr id="85" name="文本框 84">
              <a:extLst>
                <a:ext uri="{FF2B5EF4-FFF2-40B4-BE49-F238E27FC236}">
                  <a16:creationId xmlns:a16="http://schemas.microsoft.com/office/drawing/2014/main" id="{8FB50A18-7E2A-4AF6-AA1B-F3617637CC90}"/>
                </a:ext>
              </a:extLst>
            </p:cNvPr>
            <p:cNvSpPr txBox="1"/>
            <p:nvPr/>
          </p:nvSpPr>
          <p:spPr>
            <a:xfrm>
              <a:off x="1913289" y="2045770"/>
              <a:ext cx="470266" cy="463031"/>
            </a:xfrm>
            <a:prstGeom prst="rect">
              <a:avLst/>
            </a:prstGeom>
            <a:noFill/>
          </p:spPr>
          <p:txBody>
            <a:bodyPr wrap="none" lIns="0" tIns="0" rIns="0" bIns="0" rtlCol="0" anchor="t">
              <a:spAutoFit/>
            </a:bodyPr>
            <a:lstStyle/>
            <a:p>
              <a:pPr algn="l"/>
              <a:r>
                <a:rPr lang="en-US" altLang="zh-CN" sz="2400" dirty="0">
                  <a:solidFill>
                    <a:schemeClr val="bg1"/>
                  </a:solidFill>
                </a:rPr>
                <a:t>03</a:t>
              </a:r>
              <a:endParaRPr lang="zh-CN" altLang="en-US" sz="2400" dirty="0">
                <a:solidFill>
                  <a:schemeClr val="bg1"/>
                </a:solidFill>
              </a:endParaRPr>
            </a:p>
          </p:txBody>
        </p:sp>
      </p:grpSp>
      <p:sp>
        <p:nvSpPr>
          <p:cNvPr id="88" name="文本框 87">
            <a:extLst>
              <a:ext uri="{FF2B5EF4-FFF2-40B4-BE49-F238E27FC236}">
                <a16:creationId xmlns:a16="http://schemas.microsoft.com/office/drawing/2014/main" id="{BD6F2E49-1DBA-44EA-BB3F-FDACBD63CF10}"/>
              </a:ext>
            </a:extLst>
          </p:cNvPr>
          <p:cNvSpPr txBox="1"/>
          <p:nvPr/>
        </p:nvSpPr>
        <p:spPr>
          <a:xfrm>
            <a:off x="8328342" y="3275145"/>
            <a:ext cx="2224033" cy="704873"/>
          </a:xfrm>
          <a:prstGeom prst="rect">
            <a:avLst/>
          </a:prstGeom>
          <a:noFill/>
        </p:spPr>
        <p:txBody>
          <a:bodyPr wrap="square" lIns="0" tIns="0" rIns="0" bIns="0" rtlCol="0" anchor="t">
            <a:spAutoFit/>
          </a:bodyPr>
          <a:lstStyle/>
          <a:p>
            <a:pPr algn="ctr">
              <a:lnSpc>
                <a:spcPct val="130000"/>
              </a:lnSpc>
            </a:pPr>
            <a:r>
              <a:rPr lang="en-US" altLang="zh-CN" sz="1200" b="0" dirty="0">
                <a:solidFill>
                  <a:schemeClr val="tx1">
                    <a:lumMod val="75000"/>
                    <a:lumOff val="25000"/>
                  </a:schemeClr>
                </a:solidFill>
                <a:effectLst/>
                <a:latin typeface="+mn-ea"/>
              </a:rPr>
              <a:t>Lorem ipsum dolor sit </a:t>
            </a:r>
            <a:r>
              <a:rPr lang="en-US" altLang="zh-CN" sz="1200" b="0" dirty="0" err="1">
                <a:solidFill>
                  <a:schemeClr val="tx1">
                    <a:lumMod val="75000"/>
                    <a:lumOff val="25000"/>
                  </a:schemeClr>
                </a:solidFill>
                <a:effectLst/>
                <a:latin typeface="+mn-ea"/>
              </a:rPr>
              <a:t>amet</a:t>
            </a:r>
            <a:r>
              <a:rPr lang="en-US" altLang="zh-CN" sz="1200" b="0" dirty="0">
                <a:solidFill>
                  <a:schemeClr val="tx1">
                    <a:lumMod val="75000"/>
                    <a:lumOff val="25000"/>
                  </a:schemeClr>
                </a:solidFill>
                <a:effectLst/>
                <a:latin typeface="+mn-ea"/>
              </a:rPr>
              <a:t> consectetur </a:t>
            </a:r>
            <a:r>
              <a:rPr lang="en-US" altLang="zh-CN" sz="1200" b="0" dirty="0" err="1">
                <a:solidFill>
                  <a:schemeClr val="tx1">
                    <a:lumMod val="75000"/>
                    <a:lumOff val="25000"/>
                  </a:schemeClr>
                </a:solidFill>
                <a:effectLst/>
                <a:latin typeface="+mn-ea"/>
              </a:rPr>
              <a:t>adipisicing</a:t>
            </a:r>
            <a:r>
              <a:rPr lang="en-US" altLang="zh-CN" sz="1200" b="0" dirty="0">
                <a:solidFill>
                  <a:schemeClr val="tx1">
                    <a:lumMod val="75000"/>
                    <a:lumOff val="25000"/>
                  </a:schemeClr>
                </a:solidFill>
                <a:effectLst/>
                <a:latin typeface="+mn-ea"/>
              </a:rPr>
              <a:t> </a:t>
            </a:r>
            <a:r>
              <a:rPr lang="en-US" altLang="zh-CN" sz="1200" b="0" dirty="0" err="1">
                <a:solidFill>
                  <a:schemeClr val="tx1">
                    <a:lumMod val="75000"/>
                    <a:lumOff val="25000"/>
                  </a:schemeClr>
                </a:solidFill>
                <a:effectLst/>
                <a:latin typeface="+mn-ea"/>
              </a:rPr>
              <a:t>elit</a:t>
            </a:r>
            <a:r>
              <a:rPr lang="en-US" altLang="zh-CN" sz="1200" b="0" dirty="0">
                <a:solidFill>
                  <a:schemeClr val="tx1">
                    <a:lumMod val="75000"/>
                    <a:lumOff val="25000"/>
                  </a:schemeClr>
                </a:solidFill>
                <a:effectLst/>
                <a:latin typeface="+mn-ea"/>
              </a:rPr>
              <a:t> sed do eiusmod tempor</a:t>
            </a:r>
            <a:endParaRPr lang="zh-CN" altLang="en-US" sz="1200" b="0" dirty="0">
              <a:solidFill>
                <a:schemeClr val="tx1">
                  <a:lumMod val="75000"/>
                  <a:lumOff val="25000"/>
                </a:schemeClr>
              </a:solidFill>
              <a:effectLst/>
              <a:latin typeface="+mn-ea"/>
            </a:endParaRPr>
          </a:p>
        </p:txBody>
      </p:sp>
      <p:sp>
        <p:nvSpPr>
          <p:cNvPr id="89" name="文本框 88">
            <a:extLst>
              <a:ext uri="{FF2B5EF4-FFF2-40B4-BE49-F238E27FC236}">
                <a16:creationId xmlns:a16="http://schemas.microsoft.com/office/drawing/2014/main" id="{779F40CD-46C2-4620-9EAC-36524ABF1DCB}"/>
              </a:ext>
            </a:extLst>
          </p:cNvPr>
          <p:cNvSpPr txBox="1"/>
          <p:nvPr/>
        </p:nvSpPr>
        <p:spPr>
          <a:xfrm>
            <a:off x="9269973" y="2504604"/>
            <a:ext cx="1282402" cy="307777"/>
          </a:xfrm>
          <a:prstGeom prst="rect">
            <a:avLst/>
          </a:prstGeom>
          <a:noFill/>
        </p:spPr>
        <p:txBody>
          <a:bodyPr wrap="none" lIns="0" tIns="0" rIns="0" bIns="0" rtlCol="0" anchor="t">
            <a:spAutoFit/>
          </a:bodyPr>
          <a:lstStyle/>
          <a:p>
            <a:r>
              <a:rPr lang="zh-CN" altLang="en-US" sz="2000" dirty="0">
                <a:solidFill>
                  <a:schemeClr val="accent1"/>
                </a:solidFill>
                <a:latin typeface="+mj-ea"/>
                <a:ea typeface="+mj-ea"/>
              </a:rPr>
              <a:t>关键词标题</a:t>
            </a:r>
          </a:p>
        </p:txBody>
      </p:sp>
      <p:sp>
        <p:nvSpPr>
          <p:cNvPr id="90" name="文本框 89">
            <a:extLst>
              <a:ext uri="{FF2B5EF4-FFF2-40B4-BE49-F238E27FC236}">
                <a16:creationId xmlns:a16="http://schemas.microsoft.com/office/drawing/2014/main" id="{472AE898-8341-4256-B76C-F47D068E7736}"/>
              </a:ext>
            </a:extLst>
          </p:cNvPr>
          <p:cNvSpPr txBox="1"/>
          <p:nvPr/>
        </p:nvSpPr>
        <p:spPr>
          <a:xfrm>
            <a:off x="8328342" y="4326705"/>
            <a:ext cx="2224033" cy="704873"/>
          </a:xfrm>
          <a:prstGeom prst="rect">
            <a:avLst/>
          </a:prstGeom>
          <a:noFill/>
        </p:spPr>
        <p:txBody>
          <a:bodyPr wrap="square" lIns="0" tIns="0" rIns="0" bIns="0" rtlCol="0" anchor="t">
            <a:spAutoFit/>
          </a:bodyPr>
          <a:lstStyle/>
          <a:p>
            <a:pPr algn="ctr">
              <a:lnSpc>
                <a:spcPct val="130000"/>
              </a:lnSpc>
            </a:pPr>
            <a:r>
              <a:rPr lang="en-US" altLang="zh-CN" sz="1200" b="0" dirty="0">
                <a:solidFill>
                  <a:schemeClr val="tx1">
                    <a:lumMod val="75000"/>
                    <a:lumOff val="25000"/>
                  </a:schemeClr>
                </a:solidFill>
                <a:effectLst/>
                <a:latin typeface="+mn-ea"/>
              </a:rPr>
              <a:t>Lorem ipsum dolor sit </a:t>
            </a:r>
            <a:r>
              <a:rPr lang="en-US" altLang="zh-CN" sz="1200" b="0" dirty="0" err="1">
                <a:solidFill>
                  <a:schemeClr val="tx1">
                    <a:lumMod val="75000"/>
                    <a:lumOff val="25000"/>
                  </a:schemeClr>
                </a:solidFill>
                <a:effectLst/>
                <a:latin typeface="+mn-ea"/>
              </a:rPr>
              <a:t>amet</a:t>
            </a:r>
            <a:r>
              <a:rPr lang="en-US" altLang="zh-CN" sz="1200" b="0" dirty="0">
                <a:solidFill>
                  <a:schemeClr val="tx1">
                    <a:lumMod val="75000"/>
                    <a:lumOff val="25000"/>
                  </a:schemeClr>
                </a:solidFill>
                <a:effectLst/>
                <a:latin typeface="+mn-ea"/>
              </a:rPr>
              <a:t> consectetur </a:t>
            </a:r>
            <a:r>
              <a:rPr lang="en-US" altLang="zh-CN" sz="1200" b="0" dirty="0" err="1">
                <a:solidFill>
                  <a:schemeClr val="tx1">
                    <a:lumMod val="75000"/>
                    <a:lumOff val="25000"/>
                  </a:schemeClr>
                </a:solidFill>
                <a:effectLst/>
                <a:latin typeface="+mn-ea"/>
              </a:rPr>
              <a:t>adipisicing</a:t>
            </a:r>
            <a:r>
              <a:rPr lang="en-US" altLang="zh-CN" sz="1200" b="0" dirty="0">
                <a:solidFill>
                  <a:schemeClr val="tx1">
                    <a:lumMod val="75000"/>
                    <a:lumOff val="25000"/>
                  </a:schemeClr>
                </a:solidFill>
                <a:effectLst/>
                <a:latin typeface="+mn-ea"/>
              </a:rPr>
              <a:t> </a:t>
            </a:r>
            <a:r>
              <a:rPr lang="en-US" altLang="zh-CN" sz="1200" b="0" dirty="0" err="1">
                <a:solidFill>
                  <a:schemeClr val="tx1">
                    <a:lumMod val="75000"/>
                    <a:lumOff val="25000"/>
                  </a:schemeClr>
                </a:solidFill>
                <a:effectLst/>
                <a:latin typeface="+mn-ea"/>
              </a:rPr>
              <a:t>elit</a:t>
            </a:r>
            <a:r>
              <a:rPr lang="en-US" altLang="zh-CN" sz="1200" b="0" dirty="0">
                <a:solidFill>
                  <a:schemeClr val="tx1">
                    <a:lumMod val="75000"/>
                    <a:lumOff val="25000"/>
                  </a:schemeClr>
                </a:solidFill>
                <a:effectLst/>
                <a:latin typeface="+mn-ea"/>
              </a:rPr>
              <a:t> sed do eiusmod tempor</a:t>
            </a:r>
            <a:endParaRPr lang="zh-CN" altLang="en-US" sz="1200" b="0" dirty="0">
              <a:solidFill>
                <a:schemeClr val="tx1">
                  <a:lumMod val="75000"/>
                  <a:lumOff val="25000"/>
                </a:schemeClr>
              </a:solidFill>
              <a:effectLst/>
              <a:latin typeface="+mn-ea"/>
            </a:endParaRPr>
          </a:p>
        </p:txBody>
      </p:sp>
    </p:spTree>
    <p:extLst>
      <p:ext uri="{BB962C8B-B14F-4D97-AF65-F5344CB8AC3E}">
        <p14:creationId xmlns:p14="http://schemas.microsoft.com/office/powerpoint/2010/main" val="2979302675"/>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2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 name="组合 10">
            <a:extLst>
              <a:ext uri="{FF2B5EF4-FFF2-40B4-BE49-F238E27FC236}">
                <a16:creationId xmlns:a16="http://schemas.microsoft.com/office/drawing/2014/main" id="{3D621087-5233-44AA-9FE8-6EAA93A14A25}"/>
              </a:ext>
            </a:extLst>
          </p:cNvPr>
          <p:cNvGrpSpPr/>
          <p:nvPr/>
        </p:nvGrpSpPr>
        <p:grpSpPr>
          <a:xfrm>
            <a:off x="995568" y="2101949"/>
            <a:ext cx="2824340" cy="3167844"/>
            <a:chOff x="747918" y="2101949"/>
            <a:chExt cx="2824340" cy="3167844"/>
          </a:xfrm>
        </p:grpSpPr>
        <p:sp>
          <p:nvSpPr>
            <p:cNvPr id="6" name="矩形: 圆角 5">
              <a:extLst>
                <a:ext uri="{FF2B5EF4-FFF2-40B4-BE49-F238E27FC236}">
                  <a16:creationId xmlns:a16="http://schemas.microsoft.com/office/drawing/2014/main" id="{836852FA-3F37-49E0-BF9E-4DEF17C2B50A}"/>
                </a:ext>
              </a:extLst>
            </p:cNvPr>
            <p:cNvSpPr/>
            <p:nvPr/>
          </p:nvSpPr>
          <p:spPr>
            <a:xfrm>
              <a:off x="747918" y="2164972"/>
              <a:ext cx="2824340" cy="3104821"/>
            </a:xfrm>
            <a:prstGeom prst="roundRect">
              <a:avLst>
                <a:gd name="adj" fmla="val 8509"/>
              </a:avLst>
            </a:prstGeom>
            <a:solidFill>
              <a:schemeClr val="bg1"/>
            </a:solidFill>
            <a:ln>
              <a:solidFill>
                <a:schemeClr val="accent1"/>
              </a:solidFill>
            </a:ln>
            <a:effectLst>
              <a:outerShdw blurRad="139700" algn="ctr" rotWithShape="0">
                <a:schemeClr val="accent1">
                  <a:lumMod val="50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grpSp>
          <p:nvGrpSpPr>
            <p:cNvPr id="2" name="组合 1">
              <a:extLst>
                <a:ext uri="{FF2B5EF4-FFF2-40B4-BE49-F238E27FC236}">
                  <a16:creationId xmlns:a16="http://schemas.microsoft.com/office/drawing/2014/main" id="{0AC26F4E-598D-4166-84B4-035B75617551}"/>
                </a:ext>
              </a:extLst>
            </p:cNvPr>
            <p:cNvGrpSpPr/>
            <p:nvPr/>
          </p:nvGrpSpPr>
          <p:grpSpPr>
            <a:xfrm>
              <a:off x="1050629" y="2101949"/>
              <a:ext cx="555667" cy="757933"/>
              <a:chOff x="8475383" y="4005329"/>
              <a:chExt cx="916033" cy="1249474"/>
            </a:xfrm>
            <a:effectLst/>
          </p:grpSpPr>
          <p:sp>
            <p:nvSpPr>
              <p:cNvPr id="3" name="任意多边形: 形状 2">
                <a:extLst>
                  <a:ext uri="{FF2B5EF4-FFF2-40B4-BE49-F238E27FC236}">
                    <a16:creationId xmlns:a16="http://schemas.microsoft.com/office/drawing/2014/main" id="{BCD42BB2-D9DB-4848-96F2-431C79555578}"/>
                  </a:ext>
                </a:extLst>
              </p:cNvPr>
              <p:cNvSpPr/>
              <p:nvPr/>
            </p:nvSpPr>
            <p:spPr>
              <a:xfrm>
                <a:off x="8521168" y="4005329"/>
                <a:ext cx="824400" cy="1249474"/>
              </a:xfrm>
              <a:custGeom>
                <a:avLst/>
                <a:gdLst>
                  <a:gd name="connsiteX0" fmla="*/ 0 w 824400"/>
                  <a:gd name="connsiteY0" fmla="*/ 0 h 1540855"/>
                  <a:gd name="connsiteX1" fmla="*/ 824400 w 824400"/>
                  <a:gd name="connsiteY1" fmla="*/ 0 h 1540855"/>
                  <a:gd name="connsiteX2" fmla="*/ 824400 w 824400"/>
                  <a:gd name="connsiteY2" fmla="*/ 1540855 h 1540855"/>
                  <a:gd name="connsiteX3" fmla="*/ 782386 w 824400"/>
                  <a:gd name="connsiteY3" fmla="*/ 1504188 h 1540855"/>
                  <a:gd name="connsiteX4" fmla="*/ 740722 w 824400"/>
                  <a:gd name="connsiteY4" fmla="*/ 1540549 h 1540855"/>
                  <a:gd name="connsiteX5" fmla="*/ 699058 w 824400"/>
                  <a:gd name="connsiteY5" fmla="*/ 1504188 h 1540855"/>
                  <a:gd name="connsiteX6" fmla="*/ 660068 w 824400"/>
                  <a:gd name="connsiteY6" fmla="*/ 1538215 h 1540855"/>
                  <a:gd name="connsiteX7" fmla="*/ 621079 w 824400"/>
                  <a:gd name="connsiteY7" fmla="*/ 1504188 h 1540855"/>
                  <a:gd name="connsiteX8" fmla="*/ 579415 w 824400"/>
                  <a:gd name="connsiteY8" fmla="*/ 1540548 h 1540855"/>
                  <a:gd name="connsiteX9" fmla="*/ 537752 w 824400"/>
                  <a:gd name="connsiteY9" fmla="*/ 1504188 h 1540855"/>
                  <a:gd name="connsiteX10" fmla="*/ 496088 w 824400"/>
                  <a:gd name="connsiteY10" fmla="*/ 1540549 h 1540855"/>
                  <a:gd name="connsiteX11" fmla="*/ 454424 w 824400"/>
                  <a:gd name="connsiteY11" fmla="*/ 1504188 h 1540855"/>
                  <a:gd name="connsiteX12" fmla="*/ 412760 w 824400"/>
                  <a:gd name="connsiteY12" fmla="*/ 1540549 h 1540855"/>
                  <a:gd name="connsiteX13" fmla="*/ 371096 w 824400"/>
                  <a:gd name="connsiteY13" fmla="*/ 1504188 h 1540855"/>
                  <a:gd name="connsiteX14" fmla="*/ 330066 w 824400"/>
                  <a:gd name="connsiteY14" fmla="*/ 1539995 h 1540855"/>
                  <a:gd name="connsiteX15" fmla="*/ 289037 w 824400"/>
                  <a:gd name="connsiteY15" fmla="*/ 1504188 h 1540855"/>
                  <a:gd name="connsiteX16" fmla="*/ 247373 w 824400"/>
                  <a:gd name="connsiteY16" fmla="*/ 1540548 h 1540855"/>
                  <a:gd name="connsiteX17" fmla="*/ 205710 w 824400"/>
                  <a:gd name="connsiteY17" fmla="*/ 1504188 h 1540855"/>
                  <a:gd name="connsiteX18" fmla="*/ 164046 w 824400"/>
                  <a:gd name="connsiteY18" fmla="*/ 1540549 h 1540855"/>
                  <a:gd name="connsiteX19" fmla="*/ 122382 w 824400"/>
                  <a:gd name="connsiteY19" fmla="*/ 1504188 h 1540855"/>
                  <a:gd name="connsiteX20" fmla="*/ 80718 w 824400"/>
                  <a:gd name="connsiteY20" fmla="*/ 1540549 h 1540855"/>
                  <a:gd name="connsiteX21" fmla="*/ 39054 w 824400"/>
                  <a:gd name="connsiteY21" fmla="*/ 1504188 h 1540855"/>
                  <a:gd name="connsiteX22" fmla="*/ 0 w 824400"/>
                  <a:gd name="connsiteY22" fmla="*/ 1538271 h 1540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824400" h="1540855">
                    <a:moveTo>
                      <a:pt x="0" y="0"/>
                    </a:moveTo>
                    <a:lnTo>
                      <a:pt x="824400" y="0"/>
                    </a:lnTo>
                    <a:lnTo>
                      <a:pt x="824400" y="1540855"/>
                    </a:lnTo>
                    <a:lnTo>
                      <a:pt x="782386" y="1504188"/>
                    </a:lnTo>
                    <a:lnTo>
                      <a:pt x="740722" y="1540549"/>
                    </a:lnTo>
                    <a:lnTo>
                      <a:pt x="699058" y="1504188"/>
                    </a:lnTo>
                    <a:lnTo>
                      <a:pt x="660068" y="1538215"/>
                    </a:lnTo>
                    <a:lnTo>
                      <a:pt x="621079" y="1504188"/>
                    </a:lnTo>
                    <a:lnTo>
                      <a:pt x="579415" y="1540548"/>
                    </a:lnTo>
                    <a:lnTo>
                      <a:pt x="537752" y="1504188"/>
                    </a:lnTo>
                    <a:lnTo>
                      <a:pt x="496088" y="1540549"/>
                    </a:lnTo>
                    <a:lnTo>
                      <a:pt x="454424" y="1504188"/>
                    </a:lnTo>
                    <a:lnTo>
                      <a:pt x="412760" y="1540549"/>
                    </a:lnTo>
                    <a:lnTo>
                      <a:pt x="371096" y="1504188"/>
                    </a:lnTo>
                    <a:lnTo>
                      <a:pt x="330066" y="1539995"/>
                    </a:lnTo>
                    <a:lnTo>
                      <a:pt x="289037" y="1504188"/>
                    </a:lnTo>
                    <a:lnTo>
                      <a:pt x="247373" y="1540548"/>
                    </a:lnTo>
                    <a:lnTo>
                      <a:pt x="205710" y="1504188"/>
                    </a:lnTo>
                    <a:lnTo>
                      <a:pt x="164046" y="1540549"/>
                    </a:lnTo>
                    <a:lnTo>
                      <a:pt x="122382" y="1504188"/>
                    </a:lnTo>
                    <a:lnTo>
                      <a:pt x="80718" y="1540549"/>
                    </a:lnTo>
                    <a:lnTo>
                      <a:pt x="39054" y="1504188"/>
                    </a:lnTo>
                    <a:lnTo>
                      <a:pt x="0" y="1538271"/>
                    </a:lnTo>
                    <a:close/>
                  </a:path>
                </a:pathLst>
              </a:custGeom>
              <a:gradFill flip="none" rotWithShape="0">
                <a:gsLst>
                  <a:gs pos="5000">
                    <a:schemeClr val="accent1"/>
                  </a:gs>
                  <a:gs pos="100000">
                    <a:schemeClr val="accent1">
                      <a:lumMod val="75000"/>
                    </a:schemeClr>
                  </a:gs>
                </a:gsLst>
                <a:lin ang="2700000" scaled="1"/>
                <a:tileRect/>
              </a:gradFill>
              <a:ln>
                <a:noFill/>
              </a:ln>
              <a:effectLst>
                <a:outerShdw blurRad="254000" dist="152400" dir="5400000" sx="102000" sy="1020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91440" tIns="45720" rIns="91440" bIns="45720" numCol="1" spcCol="0" rtlCol="0" fromWordArt="0" anchor="ctr" anchorCtr="0" forceAA="0" compatLnSpc="1">
                <a:prstTxWarp prst="textNoShape">
                  <a:avLst/>
                </a:prstTxWarp>
                <a:noAutofit/>
              </a:bodyPr>
              <a:lstStyle/>
              <a:p>
                <a:pPr algn="ctr" defTabSz="457200"/>
                <a:endParaRPr lang="zh-CN" altLang="en-US"/>
              </a:p>
            </p:txBody>
          </p:sp>
          <p:sp>
            <p:nvSpPr>
              <p:cNvPr id="4" name="等腰三角形 3">
                <a:extLst>
                  <a:ext uri="{FF2B5EF4-FFF2-40B4-BE49-F238E27FC236}">
                    <a16:creationId xmlns:a16="http://schemas.microsoft.com/office/drawing/2014/main" id="{EF7A3548-DF7E-459F-863B-EE5CD0115CB7}"/>
                  </a:ext>
                </a:extLst>
              </p:cNvPr>
              <p:cNvSpPr/>
              <p:nvPr/>
            </p:nvSpPr>
            <p:spPr>
              <a:xfrm flipH="1">
                <a:off x="9345697" y="4005329"/>
                <a:ext cx="45719" cy="101600"/>
              </a:xfrm>
              <a:prstGeom prst="triangle">
                <a:avLst>
                  <a:gd name="adj" fmla="val 100000"/>
                </a:avLst>
              </a:prstGeom>
              <a:solidFill>
                <a:schemeClr val="accent1">
                  <a:lumMod val="75000"/>
                </a:schemeClr>
              </a:solidFill>
              <a:ln>
                <a:noFill/>
              </a:ln>
              <a:effectLst>
                <a:outerShdw blurRad="127000" dir="18900000" sy="23000" kx="-1200000" algn="b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91440" tIns="45720" rIns="91440" bIns="45720" numCol="1" spcCol="0" rtlCol="0" fromWordArt="0" anchor="ctr" anchorCtr="0" forceAA="0" compatLnSpc="1">
                <a:prstTxWarp prst="textNoShape">
                  <a:avLst/>
                </a:prstTxWarp>
                <a:noAutofit/>
              </a:bodyPr>
              <a:lstStyle/>
              <a:p>
                <a:pPr algn="ctr" defTabSz="457200"/>
                <a:endParaRPr lang="zh-CN" altLang="en-US"/>
              </a:p>
            </p:txBody>
          </p:sp>
          <p:sp>
            <p:nvSpPr>
              <p:cNvPr id="5" name="等腰三角形 4">
                <a:extLst>
                  <a:ext uri="{FF2B5EF4-FFF2-40B4-BE49-F238E27FC236}">
                    <a16:creationId xmlns:a16="http://schemas.microsoft.com/office/drawing/2014/main" id="{D39E1DCD-20F6-4009-83B3-7954BBD2172C}"/>
                  </a:ext>
                </a:extLst>
              </p:cNvPr>
              <p:cNvSpPr/>
              <p:nvPr/>
            </p:nvSpPr>
            <p:spPr>
              <a:xfrm>
                <a:off x="8475383" y="4005329"/>
                <a:ext cx="45719" cy="101600"/>
              </a:xfrm>
              <a:prstGeom prst="triangle">
                <a:avLst>
                  <a:gd name="adj" fmla="val 100000"/>
                </a:avLst>
              </a:prstGeom>
              <a:solidFill>
                <a:schemeClr val="accent1">
                  <a:lumMod val="75000"/>
                </a:schemeClr>
              </a:solidFill>
              <a:ln>
                <a:noFill/>
              </a:ln>
              <a:effectLst>
                <a:outerShdw blurRad="127000" dir="18900000" sy="23000" kx="-1200000" algn="b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91440" tIns="45720" rIns="91440" bIns="45720" numCol="1" spcCol="0" rtlCol="0" fromWordArt="0" anchor="ctr" anchorCtr="0" forceAA="0" compatLnSpc="1">
                <a:prstTxWarp prst="textNoShape">
                  <a:avLst/>
                </a:prstTxWarp>
                <a:noAutofit/>
              </a:bodyPr>
              <a:lstStyle/>
              <a:p>
                <a:pPr algn="ctr" defTabSz="457200"/>
                <a:endParaRPr lang="zh-CN" altLang="en-US"/>
              </a:p>
            </p:txBody>
          </p:sp>
        </p:grpSp>
        <p:sp>
          <p:nvSpPr>
            <p:cNvPr id="7" name="文本框 6">
              <a:extLst>
                <a:ext uri="{FF2B5EF4-FFF2-40B4-BE49-F238E27FC236}">
                  <a16:creationId xmlns:a16="http://schemas.microsoft.com/office/drawing/2014/main" id="{D30246EA-E102-44A9-88DA-B22DEFF1C112}"/>
                </a:ext>
              </a:extLst>
            </p:cNvPr>
            <p:cNvSpPr txBox="1"/>
            <p:nvPr/>
          </p:nvSpPr>
          <p:spPr>
            <a:xfrm>
              <a:off x="1824090" y="2552105"/>
              <a:ext cx="1282402" cy="307777"/>
            </a:xfrm>
            <a:prstGeom prst="rect">
              <a:avLst/>
            </a:prstGeom>
            <a:noFill/>
          </p:spPr>
          <p:txBody>
            <a:bodyPr wrap="none" lIns="0" tIns="0" rIns="0" bIns="0" rtlCol="0" anchor="t">
              <a:spAutoFit/>
            </a:bodyPr>
            <a:lstStyle/>
            <a:p>
              <a:r>
                <a:rPr lang="zh-CN" altLang="en-US" sz="2000" dirty="0">
                  <a:solidFill>
                    <a:schemeClr val="accent1"/>
                  </a:solidFill>
                  <a:latin typeface="+mj-ea"/>
                  <a:ea typeface="+mj-ea"/>
                </a:rPr>
                <a:t>关键词标题</a:t>
              </a:r>
            </a:p>
          </p:txBody>
        </p:sp>
        <p:sp>
          <p:nvSpPr>
            <p:cNvPr id="8" name="文本框 7">
              <a:extLst>
                <a:ext uri="{FF2B5EF4-FFF2-40B4-BE49-F238E27FC236}">
                  <a16:creationId xmlns:a16="http://schemas.microsoft.com/office/drawing/2014/main" id="{CC3C7EDF-C7FE-4453-8BBC-F9E53FA6A436}"/>
                </a:ext>
              </a:extLst>
            </p:cNvPr>
            <p:cNvSpPr txBox="1"/>
            <p:nvPr/>
          </p:nvSpPr>
          <p:spPr>
            <a:xfrm>
              <a:off x="1210622" y="2480915"/>
              <a:ext cx="235642" cy="276999"/>
            </a:xfrm>
            <a:prstGeom prst="rect">
              <a:avLst/>
            </a:prstGeom>
            <a:noFill/>
          </p:spPr>
          <p:txBody>
            <a:bodyPr wrap="none" lIns="0" tIns="0" rIns="0" bIns="0" rtlCol="0" anchor="t">
              <a:spAutoFit/>
            </a:bodyPr>
            <a:lstStyle/>
            <a:p>
              <a:pPr algn="ctr"/>
              <a:r>
                <a:rPr lang="en-US" altLang="zh-CN" dirty="0">
                  <a:solidFill>
                    <a:schemeClr val="bg1"/>
                  </a:solidFill>
                </a:rPr>
                <a:t>01</a:t>
              </a:r>
              <a:endParaRPr lang="zh-CN" altLang="en-US" dirty="0">
                <a:solidFill>
                  <a:schemeClr val="bg1"/>
                </a:solidFill>
              </a:endParaRPr>
            </a:p>
          </p:txBody>
        </p:sp>
        <p:sp>
          <p:nvSpPr>
            <p:cNvPr id="9" name="文本框 8">
              <a:extLst>
                <a:ext uri="{FF2B5EF4-FFF2-40B4-BE49-F238E27FC236}">
                  <a16:creationId xmlns:a16="http://schemas.microsoft.com/office/drawing/2014/main" id="{8627B1FC-C67B-495E-BF79-280620983B0D}"/>
                </a:ext>
              </a:extLst>
            </p:cNvPr>
            <p:cNvSpPr txBox="1"/>
            <p:nvPr/>
          </p:nvSpPr>
          <p:spPr>
            <a:xfrm>
              <a:off x="1064495" y="3247015"/>
              <a:ext cx="2224033" cy="704873"/>
            </a:xfrm>
            <a:prstGeom prst="rect">
              <a:avLst/>
            </a:prstGeom>
            <a:noFill/>
          </p:spPr>
          <p:txBody>
            <a:bodyPr wrap="square" lIns="0" tIns="0" rIns="0" bIns="0" rtlCol="0" anchor="t">
              <a:spAutoFit/>
            </a:bodyPr>
            <a:lstStyle/>
            <a:p>
              <a:pPr>
                <a:lnSpc>
                  <a:spcPct val="130000"/>
                </a:lnSpc>
              </a:pPr>
              <a:r>
                <a:rPr lang="en-US" altLang="zh-CN" sz="1200" b="0" dirty="0">
                  <a:solidFill>
                    <a:schemeClr val="tx1">
                      <a:lumMod val="75000"/>
                      <a:lumOff val="25000"/>
                    </a:schemeClr>
                  </a:solidFill>
                  <a:effectLst/>
                  <a:latin typeface="+mn-ea"/>
                </a:rPr>
                <a:t>Lorem ipsum dolor sit </a:t>
              </a:r>
              <a:r>
                <a:rPr lang="en-US" altLang="zh-CN" sz="1200" b="0" dirty="0" err="1">
                  <a:solidFill>
                    <a:schemeClr val="tx1">
                      <a:lumMod val="75000"/>
                      <a:lumOff val="25000"/>
                    </a:schemeClr>
                  </a:solidFill>
                  <a:effectLst/>
                  <a:latin typeface="+mn-ea"/>
                </a:rPr>
                <a:t>amet</a:t>
              </a:r>
              <a:r>
                <a:rPr lang="en-US" altLang="zh-CN" sz="1200" b="0" dirty="0">
                  <a:solidFill>
                    <a:schemeClr val="tx1">
                      <a:lumMod val="75000"/>
                      <a:lumOff val="25000"/>
                    </a:schemeClr>
                  </a:solidFill>
                  <a:effectLst/>
                  <a:latin typeface="+mn-ea"/>
                </a:rPr>
                <a:t> consectetur </a:t>
              </a:r>
              <a:r>
                <a:rPr lang="en-US" altLang="zh-CN" sz="1200" b="0" dirty="0" err="1">
                  <a:solidFill>
                    <a:schemeClr val="tx1">
                      <a:lumMod val="75000"/>
                      <a:lumOff val="25000"/>
                    </a:schemeClr>
                  </a:solidFill>
                  <a:effectLst/>
                  <a:latin typeface="+mn-ea"/>
                </a:rPr>
                <a:t>adipisicing</a:t>
              </a:r>
              <a:r>
                <a:rPr lang="en-US" altLang="zh-CN" sz="1200" b="0" dirty="0">
                  <a:solidFill>
                    <a:schemeClr val="tx1">
                      <a:lumMod val="75000"/>
                      <a:lumOff val="25000"/>
                    </a:schemeClr>
                  </a:solidFill>
                  <a:effectLst/>
                  <a:latin typeface="+mn-ea"/>
                </a:rPr>
                <a:t> </a:t>
              </a:r>
              <a:r>
                <a:rPr lang="en-US" altLang="zh-CN" sz="1200" b="0" dirty="0" err="1">
                  <a:solidFill>
                    <a:schemeClr val="tx1">
                      <a:lumMod val="75000"/>
                      <a:lumOff val="25000"/>
                    </a:schemeClr>
                  </a:solidFill>
                  <a:effectLst/>
                  <a:latin typeface="+mn-ea"/>
                </a:rPr>
                <a:t>elit</a:t>
              </a:r>
              <a:r>
                <a:rPr lang="en-US" altLang="zh-CN" sz="1200" b="0" dirty="0">
                  <a:solidFill>
                    <a:schemeClr val="tx1">
                      <a:lumMod val="75000"/>
                      <a:lumOff val="25000"/>
                    </a:schemeClr>
                  </a:solidFill>
                  <a:effectLst/>
                  <a:latin typeface="+mn-ea"/>
                </a:rPr>
                <a:t> sed do eiusmod tempor</a:t>
              </a:r>
              <a:endParaRPr lang="zh-CN" altLang="en-US" sz="1200" b="0" dirty="0">
                <a:solidFill>
                  <a:schemeClr val="tx1">
                    <a:lumMod val="75000"/>
                    <a:lumOff val="25000"/>
                  </a:schemeClr>
                </a:solidFill>
                <a:effectLst/>
                <a:latin typeface="+mn-ea"/>
              </a:endParaRPr>
            </a:p>
          </p:txBody>
        </p:sp>
        <p:sp>
          <p:nvSpPr>
            <p:cNvPr id="10" name="文本框 9">
              <a:extLst>
                <a:ext uri="{FF2B5EF4-FFF2-40B4-BE49-F238E27FC236}">
                  <a16:creationId xmlns:a16="http://schemas.microsoft.com/office/drawing/2014/main" id="{45C6AAB8-8F93-4D60-82D4-B06A44475FC4}"/>
                </a:ext>
              </a:extLst>
            </p:cNvPr>
            <p:cNvSpPr txBox="1"/>
            <p:nvPr/>
          </p:nvSpPr>
          <p:spPr>
            <a:xfrm>
              <a:off x="1064495" y="4191895"/>
              <a:ext cx="2224033" cy="704873"/>
            </a:xfrm>
            <a:prstGeom prst="rect">
              <a:avLst/>
            </a:prstGeom>
            <a:noFill/>
          </p:spPr>
          <p:txBody>
            <a:bodyPr wrap="square" lIns="0" tIns="0" rIns="0" bIns="0" rtlCol="0" anchor="t">
              <a:spAutoFit/>
            </a:bodyPr>
            <a:lstStyle/>
            <a:p>
              <a:pPr>
                <a:lnSpc>
                  <a:spcPct val="130000"/>
                </a:lnSpc>
              </a:pPr>
              <a:r>
                <a:rPr lang="en-US" altLang="zh-CN" sz="1200" b="0" dirty="0">
                  <a:solidFill>
                    <a:schemeClr val="tx1">
                      <a:lumMod val="75000"/>
                      <a:lumOff val="25000"/>
                    </a:schemeClr>
                  </a:solidFill>
                  <a:effectLst/>
                  <a:latin typeface="+mn-ea"/>
                </a:rPr>
                <a:t>Lorem ipsum dolor sit </a:t>
              </a:r>
              <a:r>
                <a:rPr lang="en-US" altLang="zh-CN" sz="1200" b="0" dirty="0" err="1">
                  <a:solidFill>
                    <a:schemeClr val="tx1">
                      <a:lumMod val="75000"/>
                      <a:lumOff val="25000"/>
                    </a:schemeClr>
                  </a:solidFill>
                  <a:effectLst/>
                  <a:latin typeface="+mn-ea"/>
                </a:rPr>
                <a:t>amet</a:t>
              </a:r>
              <a:r>
                <a:rPr lang="en-US" altLang="zh-CN" sz="1200" b="0" dirty="0">
                  <a:solidFill>
                    <a:schemeClr val="tx1">
                      <a:lumMod val="75000"/>
                      <a:lumOff val="25000"/>
                    </a:schemeClr>
                  </a:solidFill>
                  <a:effectLst/>
                  <a:latin typeface="+mn-ea"/>
                </a:rPr>
                <a:t> consectetur </a:t>
              </a:r>
              <a:r>
                <a:rPr lang="en-US" altLang="zh-CN" sz="1200" b="0" dirty="0" err="1">
                  <a:solidFill>
                    <a:schemeClr val="tx1">
                      <a:lumMod val="75000"/>
                      <a:lumOff val="25000"/>
                    </a:schemeClr>
                  </a:solidFill>
                  <a:effectLst/>
                  <a:latin typeface="+mn-ea"/>
                </a:rPr>
                <a:t>adipisicing</a:t>
              </a:r>
              <a:r>
                <a:rPr lang="en-US" altLang="zh-CN" sz="1200" b="0" dirty="0">
                  <a:solidFill>
                    <a:schemeClr val="tx1">
                      <a:lumMod val="75000"/>
                      <a:lumOff val="25000"/>
                    </a:schemeClr>
                  </a:solidFill>
                  <a:effectLst/>
                  <a:latin typeface="+mn-ea"/>
                </a:rPr>
                <a:t> </a:t>
              </a:r>
              <a:r>
                <a:rPr lang="en-US" altLang="zh-CN" sz="1200" b="0" dirty="0" err="1">
                  <a:solidFill>
                    <a:schemeClr val="tx1">
                      <a:lumMod val="75000"/>
                      <a:lumOff val="25000"/>
                    </a:schemeClr>
                  </a:solidFill>
                  <a:effectLst/>
                  <a:latin typeface="+mn-ea"/>
                </a:rPr>
                <a:t>elit</a:t>
              </a:r>
              <a:r>
                <a:rPr lang="en-US" altLang="zh-CN" sz="1200" b="0" dirty="0">
                  <a:solidFill>
                    <a:schemeClr val="tx1">
                      <a:lumMod val="75000"/>
                      <a:lumOff val="25000"/>
                    </a:schemeClr>
                  </a:solidFill>
                  <a:effectLst/>
                  <a:latin typeface="+mn-ea"/>
                </a:rPr>
                <a:t> sed do eiusmod tempor</a:t>
              </a:r>
              <a:endParaRPr lang="zh-CN" altLang="en-US" sz="1200" b="0" dirty="0">
                <a:solidFill>
                  <a:schemeClr val="tx1">
                    <a:lumMod val="75000"/>
                    <a:lumOff val="25000"/>
                  </a:schemeClr>
                </a:solidFill>
                <a:effectLst/>
                <a:latin typeface="+mn-ea"/>
              </a:endParaRPr>
            </a:p>
          </p:txBody>
        </p:sp>
      </p:grpSp>
      <p:grpSp>
        <p:nvGrpSpPr>
          <p:cNvPr id="12" name="组合 11">
            <a:extLst>
              <a:ext uri="{FF2B5EF4-FFF2-40B4-BE49-F238E27FC236}">
                <a16:creationId xmlns:a16="http://schemas.microsoft.com/office/drawing/2014/main" id="{C51ECB0C-34FF-4AE0-800C-690EC5469FDB}"/>
              </a:ext>
            </a:extLst>
          </p:cNvPr>
          <p:cNvGrpSpPr/>
          <p:nvPr/>
        </p:nvGrpSpPr>
        <p:grpSpPr>
          <a:xfrm>
            <a:off x="4538868" y="2101949"/>
            <a:ext cx="2824340" cy="3167844"/>
            <a:chOff x="747918" y="2101949"/>
            <a:chExt cx="2824340" cy="3167844"/>
          </a:xfrm>
        </p:grpSpPr>
        <p:sp>
          <p:nvSpPr>
            <p:cNvPr id="13" name="矩形: 圆角 12">
              <a:extLst>
                <a:ext uri="{FF2B5EF4-FFF2-40B4-BE49-F238E27FC236}">
                  <a16:creationId xmlns:a16="http://schemas.microsoft.com/office/drawing/2014/main" id="{28C6E320-26DD-4B74-B32A-1FA3F7CA946F}"/>
                </a:ext>
              </a:extLst>
            </p:cNvPr>
            <p:cNvSpPr/>
            <p:nvPr/>
          </p:nvSpPr>
          <p:spPr>
            <a:xfrm>
              <a:off x="747918" y="2164972"/>
              <a:ext cx="2824340" cy="3104821"/>
            </a:xfrm>
            <a:prstGeom prst="roundRect">
              <a:avLst>
                <a:gd name="adj" fmla="val 8509"/>
              </a:avLst>
            </a:prstGeom>
            <a:solidFill>
              <a:schemeClr val="bg1"/>
            </a:solidFill>
            <a:ln>
              <a:solidFill>
                <a:schemeClr val="accent1"/>
              </a:solidFill>
            </a:ln>
            <a:effectLst>
              <a:outerShdw blurRad="139700" algn="ctr" rotWithShape="0">
                <a:schemeClr val="accent1">
                  <a:lumMod val="50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grpSp>
          <p:nvGrpSpPr>
            <p:cNvPr id="14" name="组合 13">
              <a:extLst>
                <a:ext uri="{FF2B5EF4-FFF2-40B4-BE49-F238E27FC236}">
                  <a16:creationId xmlns:a16="http://schemas.microsoft.com/office/drawing/2014/main" id="{5EF42075-30E2-4775-9BB1-ACF41A61728A}"/>
                </a:ext>
              </a:extLst>
            </p:cNvPr>
            <p:cNvGrpSpPr/>
            <p:nvPr/>
          </p:nvGrpSpPr>
          <p:grpSpPr>
            <a:xfrm>
              <a:off x="1050629" y="2101949"/>
              <a:ext cx="555667" cy="757933"/>
              <a:chOff x="8475383" y="4005329"/>
              <a:chExt cx="916033" cy="1249474"/>
            </a:xfrm>
            <a:effectLst/>
          </p:grpSpPr>
          <p:sp>
            <p:nvSpPr>
              <p:cNvPr id="19" name="任意多边形: 形状 18">
                <a:extLst>
                  <a:ext uri="{FF2B5EF4-FFF2-40B4-BE49-F238E27FC236}">
                    <a16:creationId xmlns:a16="http://schemas.microsoft.com/office/drawing/2014/main" id="{E6AA34C4-D837-43B9-A954-BE184434319C}"/>
                  </a:ext>
                </a:extLst>
              </p:cNvPr>
              <p:cNvSpPr/>
              <p:nvPr/>
            </p:nvSpPr>
            <p:spPr>
              <a:xfrm>
                <a:off x="8521168" y="4005329"/>
                <a:ext cx="824400" cy="1249474"/>
              </a:xfrm>
              <a:custGeom>
                <a:avLst/>
                <a:gdLst>
                  <a:gd name="connsiteX0" fmla="*/ 0 w 824400"/>
                  <a:gd name="connsiteY0" fmla="*/ 0 h 1540855"/>
                  <a:gd name="connsiteX1" fmla="*/ 824400 w 824400"/>
                  <a:gd name="connsiteY1" fmla="*/ 0 h 1540855"/>
                  <a:gd name="connsiteX2" fmla="*/ 824400 w 824400"/>
                  <a:gd name="connsiteY2" fmla="*/ 1540855 h 1540855"/>
                  <a:gd name="connsiteX3" fmla="*/ 782386 w 824400"/>
                  <a:gd name="connsiteY3" fmla="*/ 1504188 h 1540855"/>
                  <a:gd name="connsiteX4" fmla="*/ 740722 w 824400"/>
                  <a:gd name="connsiteY4" fmla="*/ 1540549 h 1540855"/>
                  <a:gd name="connsiteX5" fmla="*/ 699058 w 824400"/>
                  <a:gd name="connsiteY5" fmla="*/ 1504188 h 1540855"/>
                  <a:gd name="connsiteX6" fmla="*/ 660068 w 824400"/>
                  <a:gd name="connsiteY6" fmla="*/ 1538215 h 1540855"/>
                  <a:gd name="connsiteX7" fmla="*/ 621079 w 824400"/>
                  <a:gd name="connsiteY7" fmla="*/ 1504188 h 1540855"/>
                  <a:gd name="connsiteX8" fmla="*/ 579415 w 824400"/>
                  <a:gd name="connsiteY8" fmla="*/ 1540548 h 1540855"/>
                  <a:gd name="connsiteX9" fmla="*/ 537752 w 824400"/>
                  <a:gd name="connsiteY9" fmla="*/ 1504188 h 1540855"/>
                  <a:gd name="connsiteX10" fmla="*/ 496088 w 824400"/>
                  <a:gd name="connsiteY10" fmla="*/ 1540549 h 1540855"/>
                  <a:gd name="connsiteX11" fmla="*/ 454424 w 824400"/>
                  <a:gd name="connsiteY11" fmla="*/ 1504188 h 1540855"/>
                  <a:gd name="connsiteX12" fmla="*/ 412760 w 824400"/>
                  <a:gd name="connsiteY12" fmla="*/ 1540549 h 1540855"/>
                  <a:gd name="connsiteX13" fmla="*/ 371096 w 824400"/>
                  <a:gd name="connsiteY13" fmla="*/ 1504188 h 1540855"/>
                  <a:gd name="connsiteX14" fmla="*/ 330066 w 824400"/>
                  <a:gd name="connsiteY14" fmla="*/ 1539995 h 1540855"/>
                  <a:gd name="connsiteX15" fmla="*/ 289037 w 824400"/>
                  <a:gd name="connsiteY15" fmla="*/ 1504188 h 1540855"/>
                  <a:gd name="connsiteX16" fmla="*/ 247373 w 824400"/>
                  <a:gd name="connsiteY16" fmla="*/ 1540548 h 1540855"/>
                  <a:gd name="connsiteX17" fmla="*/ 205710 w 824400"/>
                  <a:gd name="connsiteY17" fmla="*/ 1504188 h 1540855"/>
                  <a:gd name="connsiteX18" fmla="*/ 164046 w 824400"/>
                  <a:gd name="connsiteY18" fmla="*/ 1540549 h 1540855"/>
                  <a:gd name="connsiteX19" fmla="*/ 122382 w 824400"/>
                  <a:gd name="connsiteY19" fmla="*/ 1504188 h 1540855"/>
                  <a:gd name="connsiteX20" fmla="*/ 80718 w 824400"/>
                  <a:gd name="connsiteY20" fmla="*/ 1540549 h 1540855"/>
                  <a:gd name="connsiteX21" fmla="*/ 39054 w 824400"/>
                  <a:gd name="connsiteY21" fmla="*/ 1504188 h 1540855"/>
                  <a:gd name="connsiteX22" fmla="*/ 0 w 824400"/>
                  <a:gd name="connsiteY22" fmla="*/ 1538271 h 1540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824400" h="1540855">
                    <a:moveTo>
                      <a:pt x="0" y="0"/>
                    </a:moveTo>
                    <a:lnTo>
                      <a:pt x="824400" y="0"/>
                    </a:lnTo>
                    <a:lnTo>
                      <a:pt x="824400" y="1540855"/>
                    </a:lnTo>
                    <a:lnTo>
                      <a:pt x="782386" y="1504188"/>
                    </a:lnTo>
                    <a:lnTo>
                      <a:pt x="740722" y="1540549"/>
                    </a:lnTo>
                    <a:lnTo>
                      <a:pt x="699058" y="1504188"/>
                    </a:lnTo>
                    <a:lnTo>
                      <a:pt x="660068" y="1538215"/>
                    </a:lnTo>
                    <a:lnTo>
                      <a:pt x="621079" y="1504188"/>
                    </a:lnTo>
                    <a:lnTo>
                      <a:pt x="579415" y="1540548"/>
                    </a:lnTo>
                    <a:lnTo>
                      <a:pt x="537752" y="1504188"/>
                    </a:lnTo>
                    <a:lnTo>
                      <a:pt x="496088" y="1540549"/>
                    </a:lnTo>
                    <a:lnTo>
                      <a:pt x="454424" y="1504188"/>
                    </a:lnTo>
                    <a:lnTo>
                      <a:pt x="412760" y="1540549"/>
                    </a:lnTo>
                    <a:lnTo>
                      <a:pt x="371096" y="1504188"/>
                    </a:lnTo>
                    <a:lnTo>
                      <a:pt x="330066" y="1539995"/>
                    </a:lnTo>
                    <a:lnTo>
                      <a:pt x="289037" y="1504188"/>
                    </a:lnTo>
                    <a:lnTo>
                      <a:pt x="247373" y="1540548"/>
                    </a:lnTo>
                    <a:lnTo>
                      <a:pt x="205710" y="1504188"/>
                    </a:lnTo>
                    <a:lnTo>
                      <a:pt x="164046" y="1540549"/>
                    </a:lnTo>
                    <a:lnTo>
                      <a:pt x="122382" y="1504188"/>
                    </a:lnTo>
                    <a:lnTo>
                      <a:pt x="80718" y="1540549"/>
                    </a:lnTo>
                    <a:lnTo>
                      <a:pt x="39054" y="1504188"/>
                    </a:lnTo>
                    <a:lnTo>
                      <a:pt x="0" y="1538271"/>
                    </a:lnTo>
                    <a:close/>
                  </a:path>
                </a:pathLst>
              </a:custGeom>
              <a:gradFill flip="none" rotWithShape="0">
                <a:gsLst>
                  <a:gs pos="5000">
                    <a:schemeClr val="accent1"/>
                  </a:gs>
                  <a:gs pos="100000">
                    <a:schemeClr val="accent1">
                      <a:lumMod val="75000"/>
                    </a:schemeClr>
                  </a:gs>
                </a:gsLst>
                <a:lin ang="2700000" scaled="1"/>
                <a:tileRect/>
              </a:gradFill>
              <a:ln>
                <a:noFill/>
              </a:ln>
              <a:effectLst>
                <a:outerShdw blurRad="254000" dist="152400" dir="5400000" sx="102000" sy="1020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91440" tIns="45720" rIns="91440" bIns="45720" numCol="1" spcCol="0" rtlCol="0" fromWordArt="0" anchor="ctr" anchorCtr="0" forceAA="0" compatLnSpc="1">
                <a:prstTxWarp prst="textNoShape">
                  <a:avLst/>
                </a:prstTxWarp>
                <a:noAutofit/>
              </a:bodyPr>
              <a:lstStyle/>
              <a:p>
                <a:pPr algn="ctr" defTabSz="457200"/>
                <a:endParaRPr lang="zh-CN" altLang="en-US"/>
              </a:p>
            </p:txBody>
          </p:sp>
          <p:sp>
            <p:nvSpPr>
              <p:cNvPr id="20" name="等腰三角形 19">
                <a:extLst>
                  <a:ext uri="{FF2B5EF4-FFF2-40B4-BE49-F238E27FC236}">
                    <a16:creationId xmlns:a16="http://schemas.microsoft.com/office/drawing/2014/main" id="{DC959A62-D2DF-4BBB-938D-9D6F26150B9A}"/>
                  </a:ext>
                </a:extLst>
              </p:cNvPr>
              <p:cNvSpPr/>
              <p:nvPr/>
            </p:nvSpPr>
            <p:spPr>
              <a:xfrm flipH="1">
                <a:off x="9345697" y="4005329"/>
                <a:ext cx="45719" cy="101600"/>
              </a:xfrm>
              <a:prstGeom prst="triangle">
                <a:avLst>
                  <a:gd name="adj" fmla="val 100000"/>
                </a:avLst>
              </a:prstGeom>
              <a:solidFill>
                <a:schemeClr val="accent1">
                  <a:lumMod val="75000"/>
                </a:schemeClr>
              </a:solidFill>
              <a:ln>
                <a:noFill/>
              </a:ln>
              <a:effectLst>
                <a:outerShdw blurRad="127000" dir="18900000" sy="23000" kx="-1200000" algn="b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91440" tIns="45720" rIns="91440" bIns="45720" numCol="1" spcCol="0" rtlCol="0" fromWordArt="0" anchor="ctr" anchorCtr="0" forceAA="0" compatLnSpc="1">
                <a:prstTxWarp prst="textNoShape">
                  <a:avLst/>
                </a:prstTxWarp>
                <a:noAutofit/>
              </a:bodyPr>
              <a:lstStyle/>
              <a:p>
                <a:pPr algn="ctr" defTabSz="457200"/>
                <a:endParaRPr lang="zh-CN" altLang="en-US"/>
              </a:p>
            </p:txBody>
          </p:sp>
          <p:sp>
            <p:nvSpPr>
              <p:cNvPr id="21" name="等腰三角形 20">
                <a:extLst>
                  <a:ext uri="{FF2B5EF4-FFF2-40B4-BE49-F238E27FC236}">
                    <a16:creationId xmlns:a16="http://schemas.microsoft.com/office/drawing/2014/main" id="{8D400A98-6CDE-4991-B4D2-49D833899BE4}"/>
                  </a:ext>
                </a:extLst>
              </p:cNvPr>
              <p:cNvSpPr/>
              <p:nvPr/>
            </p:nvSpPr>
            <p:spPr>
              <a:xfrm>
                <a:off x="8475383" y="4005329"/>
                <a:ext cx="45719" cy="101600"/>
              </a:xfrm>
              <a:prstGeom prst="triangle">
                <a:avLst>
                  <a:gd name="adj" fmla="val 100000"/>
                </a:avLst>
              </a:prstGeom>
              <a:solidFill>
                <a:schemeClr val="accent1">
                  <a:lumMod val="75000"/>
                </a:schemeClr>
              </a:solidFill>
              <a:ln>
                <a:noFill/>
              </a:ln>
              <a:effectLst>
                <a:outerShdw blurRad="127000" dir="18900000" sy="23000" kx="-1200000" algn="b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91440" tIns="45720" rIns="91440" bIns="45720" numCol="1" spcCol="0" rtlCol="0" fromWordArt="0" anchor="ctr" anchorCtr="0" forceAA="0" compatLnSpc="1">
                <a:prstTxWarp prst="textNoShape">
                  <a:avLst/>
                </a:prstTxWarp>
                <a:noAutofit/>
              </a:bodyPr>
              <a:lstStyle/>
              <a:p>
                <a:pPr algn="ctr" defTabSz="457200"/>
                <a:endParaRPr lang="zh-CN" altLang="en-US"/>
              </a:p>
            </p:txBody>
          </p:sp>
        </p:grpSp>
        <p:sp>
          <p:nvSpPr>
            <p:cNvPr id="15" name="文本框 14">
              <a:extLst>
                <a:ext uri="{FF2B5EF4-FFF2-40B4-BE49-F238E27FC236}">
                  <a16:creationId xmlns:a16="http://schemas.microsoft.com/office/drawing/2014/main" id="{9EA0E8EB-FAA8-49B5-BBA4-C93B71641851}"/>
                </a:ext>
              </a:extLst>
            </p:cNvPr>
            <p:cNvSpPr txBox="1"/>
            <p:nvPr/>
          </p:nvSpPr>
          <p:spPr>
            <a:xfrm>
              <a:off x="1824090" y="2552105"/>
              <a:ext cx="1282402" cy="307777"/>
            </a:xfrm>
            <a:prstGeom prst="rect">
              <a:avLst/>
            </a:prstGeom>
            <a:noFill/>
          </p:spPr>
          <p:txBody>
            <a:bodyPr wrap="none" lIns="0" tIns="0" rIns="0" bIns="0" rtlCol="0" anchor="t">
              <a:spAutoFit/>
            </a:bodyPr>
            <a:lstStyle/>
            <a:p>
              <a:r>
                <a:rPr lang="zh-CN" altLang="en-US" sz="2000" dirty="0">
                  <a:solidFill>
                    <a:schemeClr val="accent1"/>
                  </a:solidFill>
                  <a:latin typeface="+mj-ea"/>
                  <a:ea typeface="+mj-ea"/>
                </a:rPr>
                <a:t>关键词标题</a:t>
              </a:r>
            </a:p>
          </p:txBody>
        </p:sp>
        <p:sp>
          <p:nvSpPr>
            <p:cNvPr id="16" name="文本框 15">
              <a:extLst>
                <a:ext uri="{FF2B5EF4-FFF2-40B4-BE49-F238E27FC236}">
                  <a16:creationId xmlns:a16="http://schemas.microsoft.com/office/drawing/2014/main" id="{708E42C8-DB31-4A99-B307-4359BBEC203E}"/>
                </a:ext>
              </a:extLst>
            </p:cNvPr>
            <p:cNvSpPr txBox="1"/>
            <p:nvPr/>
          </p:nvSpPr>
          <p:spPr>
            <a:xfrm>
              <a:off x="1187379" y="2480915"/>
              <a:ext cx="282129" cy="276999"/>
            </a:xfrm>
            <a:prstGeom prst="rect">
              <a:avLst/>
            </a:prstGeom>
            <a:noFill/>
          </p:spPr>
          <p:txBody>
            <a:bodyPr wrap="none" lIns="0" tIns="0" rIns="0" bIns="0" rtlCol="0" anchor="t">
              <a:spAutoFit/>
            </a:bodyPr>
            <a:lstStyle/>
            <a:p>
              <a:pPr algn="ctr"/>
              <a:r>
                <a:rPr lang="en-US" altLang="zh-CN" dirty="0">
                  <a:solidFill>
                    <a:schemeClr val="bg1"/>
                  </a:solidFill>
                </a:rPr>
                <a:t>02</a:t>
              </a:r>
              <a:endParaRPr lang="zh-CN" altLang="en-US" dirty="0">
                <a:solidFill>
                  <a:schemeClr val="bg1"/>
                </a:solidFill>
              </a:endParaRPr>
            </a:p>
          </p:txBody>
        </p:sp>
        <p:sp>
          <p:nvSpPr>
            <p:cNvPr id="17" name="文本框 16">
              <a:extLst>
                <a:ext uri="{FF2B5EF4-FFF2-40B4-BE49-F238E27FC236}">
                  <a16:creationId xmlns:a16="http://schemas.microsoft.com/office/drawing/2014/main" id="{7097B5D4-4678-401B-8B42-FF90BD5077E7}"/>
                </a:ext>
              </a:extLst>
            </p:cNvPr>
            <p:cNvSpPr txBox="1"/>
            <p:nvPr/>
          </p:nvSpPr>
          <p:spPr>
            <a:xfrm>
              <a:off x="1064495" y="3247015"/>
              <a:ext cx="2224033" cy="704873"/>
            </a:xfrm>
            <a:prstGeom prst="rect">
              <a:avLst/>
            </a:prstGeom>
            <a:noFill/>
          </p:spPr>
          <p:txBody>
            <a:bodyPr wrap="square" lIns="0" tIns="0" rIns="0" bIns="0" rtlCol="0" anchor="t">
              <a:spAutoFit/>
            </a:bodyPr>
            <a:lstStyle/>
            <a:p>
              <a:pPr>
                <a:lnSpc>
                  <a:spcPct val="130000"/>
                </a:lnSpc>
              </a:pPr>
              <a:r>
                <a:rPr lang="en-US" altLang="zh-CN" sz="1200" b="0" dirty="0">
                  <a:solidFill>
                    <a:schemeClr val="tx1">
                      <a:lumMod val="75000"/>
                      <a:lumOff val="25000"/>
                    </a:schemeClr>
                  </a:solidFill>
                  <a:effectLst/>
                  <a:latin typeface="+mn-ea"/>
                </a:rPr>
                <a:t>Lorem ipsum dolor sit </a:t>
              </a:r>
              <a:r>
                <a:rPr lang="en-US" altLang="zh-CN" sz="1200" b="0" dirty="0" err="1">
                  <a:solidFill>
                    <a:schemeClr val="tx1">
                      <a:lumMod val="75000"/>
                      <a:lumOff val="25000"/>
                    </a:schemeClr>
                  </a:solidFill>
                  <a:effectLst/>
                  <a:latin typeface="+mn-ea"/>
                </a:rPr>
                <a:t>amet</a:t>
              </a:r>
              <a:r>
                <a:rPr lang="en-US" altLang="zh-CN" sz="1200" b="0" dirty="0">
                  <a:solidFill>
                    <a:schemeClr val="tx1">
                      <a:lumMod val="75000"/>
                      <a:lumOff val="25000"/>
                    </a:schemeClr>
                  </a:solidFill>
                  <a:effectLst/>
                  <a:latin typeface="+mn-ea"/>
                </a:rPr>
                <a:t> consectetur </a:t>
              </a:r>
              <a:r>
                <a:rPr lang="en-US" altLang="zh-CN" sz="1200" b="0" dirty="0" err="1">
                  <a:solidFill>
                    <a:schemeClr val="tx1">
                      <a:lumMod val="75000"/>
                      <a:lumOff val="25000"/>
                    </a:schemeClr>
                  </a:solidFill>
                  <a:effectLst/>
                  <a:latin typeface="+mn-ea"/>
                </a:rPr>
                <a:t>adipisicing</a:t>
              </a:r>
              <a:r>
                <a:rPr lang="en-US" altLang="zh-CN" sz="1200" b="0" dirty="0">
                  <a:solidFill>
                    <a:schemeClr val="tx1">
                      <a:lumMod val="75000"/>
                      <a:lumOff val="25000"/>
                    </a:schemeClr>
                  </a:solidFill>
                  <a:effectLst/>
                  <a:latin typeface="+mn-ea"/>
                </a:rPr>
                <a:t> </a:t>
              </a:r>
              <a:r>
                <a:rPr lang="en-US" altLang="zh-CN" sz="1200" b="0" dirty="0" err="1">
                  <a:solidFill>
                    <a:schemeClr val="tx1">
                      <a:lumMod val="75000"/>
                      <a:lumOff val="25000"/>
                    </a:schemeClr>
                  </a:solidFill>
                  <a:effectLst/>
                  <a:latin typeface="+mn-ea"/>
                </a:rPr>
                <a:t>elit</a:t>
              </a:r>
              <a:r>
                <a:rPr lang="en-US" altLang="zh-CN" sz="1200" b="0" dirty="0">
                  <a:solidFill>
                    <a:schemeClr val="tx1">
                      <a:lumMod val="75000"/>
                      <a:lumOff val="25000"/>
                    </a:schemeClr>
                  </a:solidFill>
                  <a:effectLst/>
                  <a:latin typeface="+mn-ea"/>
                </a:rPr>
                <a:t> sed do eiusmod tempor</a:t>
              </a:r>
              <a:endParaRPr lang="zh-CN" altLang="en-US" sz="1200" b="0" dirty="0">
                <a:solidFill>
                  <a:schemeClr val="tx1">
                    <a:lumMod val="75000"/>
                    <a:lumOff val="25000"/>
                  </a:schemeClr>
                </a:solidFill>
                <a:effectLst/>
                <a:latin typeface="+mn-ea"/>
              </a:endParaRPr>
            </a:p>
          </p:txBody>
        </p:sp>
        <p:sp>
          <p:nvSpPr>
            <p:cNvPr id="18" name="文本框 17">
              <a:extLst>
                <a:ext uri="{FF2B5EF4-FFF2-40B4-BE49-F238E27FC236}">
                  <a16:creationId xmlns:a16="http://schemas.microsoft.com/office/drawing/2014/main" id="{49CCE299-715D-4594-A1F3-26C8BF716EA3}"/>
                </a:ext>
              </a:extLst>
            </p:cNvPr>
            <p:cNvSpPr txBox="1"/>
            <p:nvPr/>
          </p:nvSpPr>
          <p:spPr>
            <a:xfrm>
              <a:off x="1064495" y="4191895"/>
              <a:ext cx="2224033" cy="704873"/>
            </a:xfrm>
            <a:prstGeom prst="rect">
              <a:avLst/>
            </a:prstGeom>
            <a:noFill/>
          </p:spPr>
          <p:txBody>
            <a:bodyPr wrap="square" lIns="0" tIns="0" rIns="0" bIns="0" rtlCol="0" anchor="t">
              <a:spAutoFit/>
            </a:bodyPr>
            <a:lstStyle/>
            <a:p>
              <a:pPr>
                <a:lnSpc>
                  <a:spcPct val="130000"/>
                </a:lnSpc>
              </a:pPr>
              <a:r>
                <a:rPr lang="en-US" altLang="zh-CN" sz="1200" b="0" dirty="0">
                  <a:solidFill>
                    <a:schemeClr val="tx1">
                      <a:lumMod val="75000"/>
                      <a:lumOff val="25000"/>
                    </a:schemeClr>
                  </a:solidFill>
                  <a:effectLst/>
                  <a:latin typeface="+mn-ea"/>
                </a:rPr>
                <a:t>Lorem ipsum dolor sit </a:t>
              </a:r>
              <a:r>
                <a:rPr lang="en-US" altLang="zh-CN" sz="1200" b="0" dirty="0" err="1">
                  <a:solidFill>
                    <a:schemeClr val="tx1">
                      <a:lumMod val="75000"/>
                      <a:lumOff val="25000"/>
                    </a:schemeClr>
                  </a:solidFill>
                  <a:effectLst/>
                  <a:latin typeface="+mn-ea"/>
                </a:rPr>
                <a:t>amet</a:t>
              </a:r>
              <a:r>
                <a:rPr lang="en-US" altLang="zh-CN" sz="1200" b="0" dirty="0">
                  <a:solidFill>
                    <a:schemeClr val="tx1">
                      <a:lumMod val="75000"/>
                      <a:lumOff val="25000"/>
                    </a:schemeClr>
                  </a:solidFill>
                  <a:effectLst/>
                  <a:latin typeface="+mn-ea"/>
                </a:rPr>
                <a:t> consectetur </a:t>
              </a:r>
              <a:r>
                <a:rPr lang="en-US" altLang="zh-CN" sz="1200" b="0" dirty="0" err="1">
                  <a:solidFill>
                    <a:schemeClr val="tx1">
                      <a:lumMod val="75000"/>
                      <a:lumOff val="25000"/>
                    </a:schemeClr>
                  </a:solidFill>
                  <a:effectLst/>
                  <a:latin typeface="+mn-ea"/>
                </a:rPr>
                <a:t>adipisicing</a:t>
              </a:r>
              <a:r>
                <a:rPr lang="en-US" altLang="zh-CN" sz="1200" b="0" dirty="0">
                  <a:solidFill>
                    <a:schemeClr val="tx1">
                      <a:lumMod val="75000"/>
                      <a:lumOff val="25000"/>
                    </a:schemeClr>
                  </a:solidFill>
                  <a:effectLst/>
                  <a:latin typeface="+mn-ea"/>
                </a:rPr>
                <a:t> </a:t>
              </a:r>
              <a:r>
                <a:rPr lang="en-US" altLang="zh-CN" sz="1200" b="0" dirty="0" err="1">
                  <a:solidFill>
                    <a:schemeClr val="tx1">
                      <a:lumMod val="75000"/>
                      <a:lumOff val="25000"/>
                    </a:schemeClr>
                  </a:solidFill>
                  <a:effectLst/>
                  <a:latin typeface="+mn-ea"/>
                </a:rPr>
                <a:t>elit</a:t>
              </a:r>
              <a:r>
                <a:rPr lang="en-US" altLang="zh-CN" sz="1200" b="0" dirty="0">
                  <a:solidFill>
                    <a:schemeClr val="tx1">
                      <a:lumMod val="75000"/>
                      <a:lumOff val="25000"/>
                    </a:schemeClr>
                  </a:solidFill>
                  <a:effectLst/>
                  <a:latin typeface="+mn-ea"/>
                </a:rPr>
                <a:t> sed do eiusmod tempor</a:t>
              </a:r>
              <a:endParaRPr lang="zh-CN" altLang="en-US" sz="1200" b="0" dirty="0">
                <a:solidFill>
                  <a:schemeClr val="tx1">
                    <a:lumMod val="75000"/>
                    <a:lumOff val="25000"/>
                  </a:schemeClr>
                </a:solidFill>
                <a:effectLst/>
                <a:latin typeface="+mn-ea"/>
              </a:endParaRPr>
            </a:p>
          </p:txBody>
        </p:sp>
      </p:grpSp>
      <p:grpSp>
        <p:nvGrpSpPr>
          <p:cNvPr id="22" name="组合 21">
            <a:extLst>
              <a:ext uri="{FF2B5EF4-FFF2-40B4-BE49-F238E27FC236}">
                <a16:creationId xmlns:a16="http://schemas.microsoft.com/office/drawing/2014/main" id="{D2593AD9-423F-4ED6-BAE0-9C6BE6CB5ABC}"/>
              </a:ext>
            </a:extLst>
          </p:cNvPr>
          <p:cNvGrpSpPr/>
          <p:nvPr/>
        </p:nvGrpSpPr>
        <p:grpSpPr>
          <a:xfrm>
            <a:off x="8082168" y="2101949"/>
            <a:ext cx="2824340" cy="3167844"/>
            <a:chOff x="747918" y="2101949"/>
            <a:chExt cx="2824340" cy="3167844"/>
          </a:xfrm>
        </p:grpSpPr>
        <p:sp>
          <p:nvSpPr>
            <p:cNvPr id="23" name="矩形: 圆角 22">
              <a:extLst>
                <a:ext uri="{FF2B5EF4-FFF2-40B4-BE49-F238E27FC236}">
                  <a16:creationId xmlns:a16="http://schemas.microsoft.com/office/drawing/2014/main" id="{71A38EFA-3C2D-4F3D-A10C-A0CD93C13A51}"/>
                </a:ext>
              </a:extLst>
            </p:cNvPr>
            <p:cNvSpPr/>
            <p:nvPr/>
          </p:nvSpPr>
          <p:spPr>
            <a:xfrm>
              <a:off x="747918" y="2164972"/>
              <a:ext cx="2824340" cy="3104821"/>
            </a:xfrm>
            <a:prstGeom prst="roundRect">
              <a:avLst>
                <a:gd name="adj" fmla="val 8509"/>
              </a:avLst>
            </a:prstGeom>
            <a:solidFill>
              <a:schemeClr val="bg1"/>
            </a:solidFill>
            <a:ln>
              <a:solidFill>
                <a:schemeClr val="accent1"/>
              </a:solidFill>
            </a:ln>
            <a:effectLst>
              <a:outerShdw blurRad="139700" algn="ctr" rotWithShape="0">
                <a:schemeClr val="accent1">
                  <a:lumMod val="50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grpSp>
          <p:nvGrpSpPr>
            <p:cNvPr id="24" name="组合 23">
              <a:extLst>
                <a:ext uri="{FF2B5EF4-FFF2-40B4-BE49-F238E27FC236}">
                  <a16:creationId xmlns:a16="http://schemas.microsoft.com/office/drawing/2014/main" id="{F0F098BD-86A3-4CBD-A095-56F67807D0D7}"/>
                </a:ext>
              </a:extLst>
            </p:cNvPr>
            <p:cNvGrpSpPr/>
            <p:nvPr/>
          </p:nvGrpSpPr>
          <p:grpSpPr>
            <a:xfrm>
              <a:off x="1050629" y="2101949"/>
              <a:ext cx="555667" cy="757933"/>
              <a:chOff x="8475383" y="4005329"/>
              <a:chExt cx="916033" cy="1249474"/>
            </a:xfrm>
            <a:effectLst/>
          </p:grpSpPr>
          <p:sp>
            <p:nvSpPr>
              <p:cNvPr id="29" name="任意多边形: 形状 28">
                <a:extLst>
                  <a:ext uri="{FF2B5EF4-FFF2-40B4-BE49-F238E27FC236}">
                    <a16:creationId xmlns:a16="http://schemas.microsoft.com/office/drawing/2014/main" id="{3F3199D9-0340-46B7-AF0C-2A98FA81CEC5}"/>
                  </a:ext>
                </a:extLst>
              </p:cNvPr>
              <p:cNvSpPr/>
              <p:nvPr/>
            </p:nvSpPr>
            <p:spPr>
              <a:xfrm>
                <a:off x="8521168" y="4005329"/>
                <a:ext cx="824400" cy="1249474"/>
              </a:xfrm>
              <a:custGeom>
                <a:avLst/>
                <a:gdLst>
                  <a:gd name="connsiteX0" fmla="*/ 0 w 824400"/>
                  <a:gd name="connsiteY0" fmla="*/ 0 h 1540855"/>
                  <a:gd name="connsiteX1" fmla="*/ 824400 w 824400"/>
                  <a:gd name="connsiteY1" fmla="*/ 0 h 1540855"/>
                  <a:gd name="connsiteX2" fmla="*/ 824400 w 824400"/>
                  <a:gd name="connsiteY2" fmla="*/ 1540855 h 1540855"/>
                  <a:gd name="connsiteX3" fmla="*/ 782386 w 824400"/>
                  <a:gd name="connsiteY3" fmla="*/ 1504188 h 1540855"/>
                  <a:gd name="connsiteX4" fmla="*/ 740722 w 824400"/>
                  <a:gd name="connsiteY4" fmla="*/ 1540549 h 1540855"/>
                  <a:gd name="connsiteX5" fmla="*/ 699058 w 824400"/>
                  <a:gd name="connsiteY5" fmla="*/ 1504188 h 1540855"/>
                  <a:gd name="connsiteX6" fmla="*/ 660068 w 824400"/>
                  <a:gd name="connsiteY6" fmla="*/ 1538215 h 1540855"/>
                  <a:gd name="connsiteX7" fmla="*/ 621079 w 824400"/>
                  <a:gd name="connsiteY7" fmla="*/ 1504188 h 1540855"/>
                  <a:gd name="connsiteX8" fmla="*/ 579415 w 824400"/>
                  <a:gd name="connsiteY8" fmla="*/ 1540548 h 1540855"/>
                  <a:gd name="connsiteX9" fmla="*/ 537752 w 824400"/>
                  <a:gd name="connsiteY9" fmla="*/ 1504188 h 1540855"/>
                  <a:gd name="connsiteX10" fmla="*/ 496088 w 824400"/>
                  <a:gd name="connsiteY10" fmla="*/ 1540549 h 1540855"/>
                  <a:gd name="connsiteX11" fmla="*/ 454424 w 824400"/>
                  <a:gd name="connsiteY11" fmla="*/ 1504188 h 1540855"/>
                  <a:gd name="connsiteX12" fmla="*/ 412760 w 824400"/>
                  <a:gd name="connsiteY12" fmla="*/ 1540549 h 1540855"/>
                  <a:gd name="connsiteX13" fmla="*/ 371096 w 824400"/>
                  <a:gd name="connsiteY13" fmla="*/ 1504188 h 1540855"/>
                  <a:gd name="connsiteX14" fmla="*/ 330066 w 824400"/>
                  <a:gd name="connsiteY14" fmla="*/ 1539995 h 1540855"/>
                  <a:gd name="connsiteX15" fmla="*/ 289037 w 824400"/>
                  <a:gd name="connsiteY15" fmla="*/ 1504188 h 1540855"/>
                  <a:gd name="connsiteX16" fmla="*/ 247373 w 824400"/>
                  <a:gd name="connsiteY16" fmla="*/ 1540548 h 1540855"/>
                  <a:gd name="connsiteX17" fmla="*/ 205710 w 824400"/>
                  <a:gd name="connsiteY17" fmla="*/ 1504188 h 1540855"/>
                  <a:gd name="connsiteX18" fmla="*/ 164046 w 824400"/>
                  <a:gd name="connsiteY18" fmla="*/ 1540549 h 1540855"/>
                  <a:gd name="connsiteX19" fmla="*/ 122382 w 824400"/>
                  <a:gd name="connsiteY19" fmla="*/ 1504188 h 1540855"/>
                  <a:gd name="connsiteX20" fmla="*/ 80718 w 824400"/>
                  <a:gd name="connsiteY20" fmla="*/ 1540549 h 1540855"/>
                  <a:gd name="connsiteX21" fmla="*/ 39054 w 824400"/>
                  <a:gd name="connsiteY21" fmla="*/ 1504188 h 1540855"/>
                  <a:gd name="connsiteX22" fmla="*/ 0 w 824400"/>
                  <a:gd name="connsiteY22" fmla="*/ 1538271 h 1540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824400" h="1540855">
                    <a:moveTo>
                      <a:pt x="0" y="0"/>
                    </a:moveTo>
                    <a:lnTo>
                      <a:pt x="824400" y="0"/>
                    </a:lnTo>
                    <a:lnTo>
                      <a:pt x="824400" y="1540855"/>
                    </a:lnTo>
                    <a:lnTo>
                      <a:pt x="782386" y="1504188"/>
                    </a:lnTo>
                    <a:lnTo>
                      <a:pt x="740722" y="1540549"/>
                    </a:lnTo>
                    <a:lnTo>
                      <a:pt x="699058" y="1504188"/>
                    </a:lnTo>
                    <a:lnTo>
                      <a:pt x="660068" y="1538215"/>
                    </a:lnTo>
                    <a:lnTo>
                      <a:pt x="621079" y="1504188"/>
                    </a:lnTo>
                    <a:lnTo>
                      <a:pt x="579415" y="1540548"/>
                    </a:lnTo>
                    <a:lnTo>
                      <a:pt x="537752" y="1504188"/>
                    </a:lnTo>
                    <a:lnTo>
                      <a:pt x="496088" y="1540549"/>
                    </a:lnTo>
                    <a:lnTo>
                      <a:pt x="454424" y="1504188"/>
                    </a:lnTo>
                    <a:lnTo>
                      <a:pt x="412760" y="1540549"/>
                    </a:lnTo>
                    <a:lnTo>
                      <a:pt x="371096" y="1504188"/>
                    </a:lnTo>
                    <a:lnTo>
                      <a:pt x="330066" y="1539995"/>
                    </a:lnTo>
                    <a:lnTo>
                      <a:pt x="289037" y="1504188"/>
                    </a:lnTo>
                    <a:lnTo>
                      <a:pt x="247373" y="1540548"/>
                    </a:lnTo>
                    <a:lnTo>
                      <a:pt x="205710" y="1504188"/>
                    </a:lnTo>
                    <a:lnTo>
                      <a:pt x="164046" y="1540549"/>
                    </a:lnTo>
                    <a:lnTo>
                      <a:pt x="122382" y="1504188"/>
                    </a:lnTo>
                    <a:lnTo>
                      <a:pt x="80718" y="1540549"/>
                    </a:lnTo>
                    <a:lnTo>
                      <a:pt x="39054" y="1504188"/>
                    </a:lnTo>
                    <a:lnTo>
                      <a:pt x="0" y="1538271"/>
                    </a:lnTo>
                    <a:close/>
                  </a:path>
                </a:pathLst>
              </a:custGeom>
              <a:gradFill flip="none" rotWithShape="0">
                <a:gsLst>
                  <a:gs pos="5000">
                    <a:schemeClr val="accent1"/>
                  </a:gs>
                  <a:gs pos="100000">
                    <a:schemeClr val="accent1">
                      <a:lumMod val="75000"/>
                    </a:schemeClr>
                  </a:gs>
                </a:gsLst>
                <a:lin ang="2700000" scaled="1"/>
                <a:tileRect/>
              </a:gradFill>
              <a:ln>
                <a:noFill/>
              </a:ln>
              <a:effectLst>
                <a:outerShdw blurRad="254000" dist="152400" dir="5400000" sx="102000" sy="1020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91440" tIns="45720" rIns="91440" bIns="45720" numCol="1" spcCol="0" rtlCol="0" fromWordArt="0" anchor="ctr" anchorCtr="0" forceAA="0" compatLnSpc="1">
                <a:prstTxWarp prst="textNoShape">
                  <a:avLst/>
                </a:prstTxWarp>
                <a:noAutofit/>
              </a:bodyPr>
              <a:lstStyle/>
              <a:p>
                <a:pPr algn="ctr" defTabSz="457200"/>
                <a:endParaRPr lang="zh-CN" altLang="en-US"/>
              </a:p>
            </p:txBody>
          </p:sp>
          <p:sp>
            <p:nvSpPr>
              <p:cNvPr id="30" name="等腰三角形 29">
                <a:extLst>
                  <a:ext uri="{FF2B5EF4-FFF2-40B4-BE49-F238E27FC236}">
                    <a16:creationId xmlns:a16="http://schemas.microsoft.com/office/drawing/2014/main" id="{3A789C89-6E72-43B2-99B0-59246740C48A}"/>
                  </a:ext>
                </a:extLst>
              </p:cNvPr>
              <p:cNvSpPr/>
              <p:nvPr/>
            </p:nvSpPr>
            <p:spPr>
              <a:xfrm flipH="1">
                <a:off x="9345697" y="4005329"/>
                <a:ext cx="45719" cy="101600"/>
              </a:xfrm>
              <a:prstGeom prst="triangle">
                <a:avLst>
                  <a:gd name="adj" fmla="val 100000"/>
                </a:avLst>
              </a:prstGeom>
              <a:solidFill>
                <a:schemeClr val="accent1">
                  <a:lumMod val="75000"/>
                </a:schemeClr>
              </a:solidFill>
              <a:ln>
                <a:noFill/>
              </a:ln>
              <a:effectLst>
                <a:outerShdw blurRad="127000" dir="18900000" sy="23000" kx="-1200000" algn="b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91440" tIns="45720" rIns="91440" bIns="45720" numCol="1" spcCol="0" rtlCol="0" fromWordArt="0" anchor="ctr" anchorCtr="0" forceAA="0" compatLnSpc="1">
                <a:prstTxWarp prst="textNoShape">
                  <a:avLst/>
                </a:prstTxWarp>
                <a:noAutofit/>
              </a:bodyPr>
              <a:lstStyle/>
              <a:p>
                <a:pPr algn="ctr" defTabSz="457200"/>
                <a:endParaRPr lang="zh-CN" altLang="en-US"/>
              </a:p>
            </p:txBody>
          </p:sp>
          <p:sp>
            <p:nvSpPr>
              <p:cNvPr id="31" name="等腰三角形 30">
                <a:extLst>
                  <a:ext uri="{FF2B5EF4-FFF2-40B4-BE49-F238E27FC236}">
                    <a16:creationId xmlns:a16="http://schemas.microsoft.com/office/drawing/2014/main" id="{DD7DEE36-F4B9-421E-9DCF-B66325170FEE}"/>
                  </a:ext>
                </a:extLst>
              </p:cNvPr>
              <p:cNvSpPr/>
              <p:nvPr/>
            </p:nvSpPr>
            <p:spPr>
              <a:xfrm>
                <a:off x="8475383" y="4005329"/>
                <a:ext cx="45719" cy="101600"/>
              </a:xfrm>
              <a:prstGeom prst="triangle">
                <a:avLst>
                  <a:gd name="adj" fmla="val 100000"/>
                </a:avLst>
              </a:prstGeom>
              <a:solidFill>
                <a:schemeClr val="accent1">
                  <a:lumMod val="75000"/>
                </a:schemeClr>
              </a:solidFill>
              <a:ln>
                <a:noFill/>
              </a:ln>
              <a:effectLst>
                <a:outerShdw blurRad="127000" dir="18900000" sy="23000" kx="-1200000" algn="b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91440" tIns="45720" rIns="91440" bIns="45720" numCol="1" spcCol="0" rtlCol="0" fromWordArt="0" anchor="ctr" anchorCtr="0" forceAA="0" compatLnSpc="1">
                <a:prstTxWarp prst="textNoShape">
                  <a:avLst/>
                </a:prstTxWarp>
                <a:noAutofit/>
              </a:bodyPr>
              <a:lstStyle/>
              <a:p>
                <a:pPr algn="ctr" defTabSz="457200"/>
                <a:endParaRPr lang="zh-CN" altLang="en-US"/>
              </a:p>
            </p:txBody>
          </p:sp>
        </p:grpSp>
        <p:sp>
          <p:nvSpPr>
            <p:cNvPr id="25" name="文本框 24">
              <a:extLst>
                <a:ext uri="{FF2B5EF4-FFF2-40B4-BE49-F238E27FC236}">
                  <a16:creationId xmlns:a16="http://schemas.microsoft.com/office/drawing/2014/main" id="{B324BA52-2621-4A06-BEAE-9FE163A15A7C}"/>
                </a:ext>
              </a:extLst>
            </p:cNvPr>
            <p:cNvSpPr txBox="1"/>
            <p:nvPr/>
          </p:nvSpPr>
          <p:spPr>
            <a:xfrm>
              <a:off x="1824090" y="2552105"/>
              <a:ext cx="1282402" cy="307777"/>
            </a:xfrm>
            <a:prstGeom prst="rect">
              <a:avLst/>
            </a:prstGeom>
            <a:noFill/>
          </p:spPr>
          <p:txBody>
            <a:bodyPr wrap="none" lIns="0" tIns="0" rIns="0" bIns="0" rtlCol="0" anchor="t">
              <a:spAutoFit/>
            </a:bodyPr>
            <a:lstStyle/>
            <a:p>
              <a:r>
                <a:rPr lang="zh-CN" altLang="en-US" sz="2000" dirty="0">
                  <a:solidFill>
                    <a:schemeClr val="accent1"/>
                  </a:solidFill>
                  <a:latin typeface="+mj-ea"/>
                  <a:ea typeface="+mj-ea"/>
                </a:rPr>
                <a:t>关键词标题</a:t>
              </a:r>
            </a:p>
          </p:txBody>
        </p:sp>
        <p:sp>
          <p:nvSpPr>
            <p:cNvPr id="26" name="文本框 25">
              <a:extLst>
                <a:ext uri="{FF2B5EF4-FFF2-40B4-BE49-F238E27FC236}">
                  <a16:creationId xmlns:a16="http://schemas.microsoft.com/office/drawing/2014/main" id="{98159CC7-B41F-4731-9F8F-60DE8FE2D879}"/>
                </a:ext>
              </a:extLst>
            </p:cNvPr>
            <p:cNvSpPr txBox="1"/>
            <p:nvPr/>
          </p:nvSpPr>
          <p:spPr>
            <a:xfrm>
              <a:off x="1187379" y="2480915"/>
              <a:ext cx="282129" cy="276999"/>
            </a:xfrm>
            <a:prstGeom prst="rect">
              <a:avLst/>
            </a:prstGeom>
            <a:noFill/>
          </p:spPr>
          <p:txBody>
            <a:bodyPr wrap="none" lIns="0" tIns="0" rIns="0" bIns="0" rtlCol="0" anchor="t">
              <a:spAutoFit/>
            </a:bodyPr>
            <a:lstStyle/>
            <a:p>
              <a:pPr algn="ctr"/>
              <a:r>
                <a:rPr lang="en-US" altLang="zh-CN" dirty="0">
                  <a:solidFill>
                    <a:schemeClr val="bg1"/>
                  </a:solidFill>
                </a:rPr>
                <a:t>03</a:t>
              </a:r>
              <a:endParaRPr lang="zh-CN" altLang="en-US" dirty="0">
                <a:solidFill>
                  <a:schemeClr val="bg1"/>
                </a:solidFill>
              </a:endParaRPr>
            </a:p>
          </p:txBody>
        </p:sp>
        <p:sp>
          <p:nvSpPr>
            <p:cNvPr id="27" name="文本框 26">
              <a:extLst>
                <a:ext uri="{FF2B5EF4-FFF2-40B4-BE49-F238E27FC236}">
                  <a16:creationId xmlns:a16="http://schemas.microsoft.com/office/drawing/2014/main" id="{1C196C8C-3245-4FF1-AD87-E56EAACA0280}"/>
                </a:ext>
              </a:extLst>
            </p:cNvPr>
            <p:cNvSpPr txBox="1"/>
            <p:nvPr/>
          </p:nvSpPr>
          <p:spPr>
            <a:xfrm>
              <a:off x="1064495" y="3247015"/>
              <a:ext cx="2224033" cy="704873"/>
            </a:xfrm>
            <a:prstGeom prst="rect">
              <a:avLst/>
            </a:prstGeom>
            <a:noFill/>
          </p:spPr>
          <p:txBody>
            <a:bodyPr wrap="square" lIns="0" tIns="0" rIns="0" bIns="0" rtlCol="0" anchor="t">
              <a:spAutoFit/>
            </a:bodyPr>
            <a:lstStyle/>
            <a:p>
              <a:pPr>
                <a:lnSpc>
                  <a:spcPct val="130000"/>
                </a:lnSpc>
              </a:pPr>
              <a:r>
                <a:rPr lang="en-US" altLang="zh-CN" sz="1200" b="0" dirty="0">
                  <a:solidFill>
                    <a:schemeClr val="tx1">
                      <a:lumMod val="75000"/>
                      <a:lumOff val="25000"/>
                    </a:schemeClr>
                  </a:solidFill>
                  <a:effectLst/>
                  <a:latin typeface="+mn-ea"/>
                </a:rPr>
                <a:t>Lorem ipsum dolor sit </a:t>
              </a:r>
              <a:r>
                <a:rPr lang="en-US" altLang="zh-CN" sz="1200" b="0" dirty="0" err="1">
                  <a:solidFill>
                    <a:schemeClr val="tx1">
                      <a:lumMod val="75000"/>
                      <a:lumOff val="25000"/>
                    </a:schemeClr>
                  </a:solidFill>
                  <a:effectLst/>
                  <a:latin typeface="+mn-ea"/>
                </a:rPr>
                <a:t>amet</a:t>
              </a:r>
              <a:r>
                <a:rPr lang="en-US" altLang="zh-CN" sz="1200" b="0" dirty="0">
                  <a:solidFill>
                    <a:schemeClr val="tx1">
                      <a:lumMod val="75000"/>
                      <a:lumOff val="25000"/>
                    </a:schemeClr>
                  </a:solidFill>
                  <a:effectLst/>
                  <a:latin typeface="+mn-ea"/>
                </a:rPr>
                <a:t> consectetur </a:t>
              </a:r>
              <a:r>
                <a:rPr lang="en-US" altLang="zh-CN" sz="1200" b="0" dirty="0" err="1">
                  <a:solidFill>
                    <a:schemeClr val="tx1">
                      <a:lumMod val="75000"/>
                      <a:lumOff val="25000"/>
                    </a:schemeClr>
                  </a:solidFill>
                  <a:effectLst/>
                  <a:latin typeface="+mn-ea"/>
                </a:rPr>
                <a:t>adipisicing</a:t>
              </a:r>
              <a:r>
                <a:rPr lang="en-US" altLang="zh-CN" sz="1200" b="0" dirty="0">
                  <a:solidFill>
                    <a:schemeClr val="tx1">
                      <a:lumMod val="75000"/>
                      <a:lumOff val="25000"/>
                    </a:schemeClr>
                  </a:solidFill>
                  <a:effectLst/>
                  <a:latin typeface="+mn-ea"/>
                </a:rPr>
                <a:t> </a:t>
              </a:r>
              <a:r>
                <a:rPr lang="en-US" altLang="zh-CN" sz="1200" b="0" dirty="0" err="1">
                  <a:solidFill>
                    <a:schemeClr val="tx1">
                      <a:lumMod val="75000"/>
                      <a:lumOff val="25000"/>
                    </a:schemeClr>
                  </a:solidFill>
                  <a:effectLst/>
                  <a:latin typeface="+mn-ea"/>
                </a:rPr>
                <a:t>elit</a:t>
              </a:r>
              <a:r>
                <a:rPr lang="en-US" altLang="zh-CN" sz="1200" b="0" dirty="0">
                  <a:solidFill>
                    <a:schemeClr val="tx1">
                      <a:lumMod val="75000"/>
                      <a:lumOff val="25000"/>
                    </a:schemeClr>
                  </a:solidFill>
                  <a:effectLst/>
                  <a:latin typeface="+mn-ea"/>
                </a:rPr>
                <a:t> sed do eiusmod tempor</a:t>
              </a:r>
              <a:endParaRPr lang="zh-CN" altLang="en-US" sz="1200" b="0" dirty="0">
                <a:solidFill>
                  <a:schemeClr val="tx1">
                    <a:lumMod val="75000"/>
                    <a:lumOff val="25000"/>
                  </a:schemeClr>
                </a:solidFill>
                <a:effectLst/>
                <a:latin typeface="+mn-ea"/>
              </a:endParaRPr>
            </a:p>
          </p:txBody>
        </p:sp>
        <p:sp>
          <p:nvSpPr>
            <p:cNvPr id="28" name="文本框 27">
              <a:extLst>
                <a:ext uri="{FF2B5EF4-FFF2-40B4-BE49-F238E27FC236}">
                  <a16:creationId xmlns:a16="http://schemas.microsoft.com/office/drawing/2014/main" id="{ADC88FEA-5D44-4EFD-8FA2-9818AC4A6C45}"/>
                </a:ext>
              </a:extLst>
            </p:cNvPr>
            <p:cNvSpPr txBox="1"/>
            <p:nvPr/>
          </p:nvSpPr>
          <p:spPr>
            <a:xfrm>
              <a:off x="1064495" y="4191895"/>
              <a:ext cx="2224033" cy="704873"/>
            </a:xfrm>
            <a:prstGeom prst="rect">
              <a:avLst/>
            </a:prstGeom>
            <a:noFill/>
          </p:spPr>
          <p:txBody>
            <a:bodyPr wrap="square" lIns="0" tIns="0" rIns="0" bIns="0" rtlCol="0" anchor="t">
              <a:spAutoFit/>
            </a:bodyPr>
            <a:lstStyle/>
            <a:p>
              <a:pPr>
                <a:lnSpc>
                  <a:spcPct val="130000"/>
                </a:lnSpc>
              </a:pPr>
              <a:r>
                <a:rPr lang="en-US" altLang="zh-CN" sz="1200" b="0" dirty="0">
                  <a:solidFill>
                    <a:schemeClr val="tx1">
                      <a:lumMod val="75000"/>
                      <a:lumOff val="25000"/>
                    </a:schemeClr>
                  </a:solidFill>
                  <a:effectLst/>
                  <a:latin typeface="+mn-ea"/>
                </a:rPr>
                <a:t>Lorem ipsum dolor sit </a:t>
              </a:r>
              <a:r>
                <a:rPr lang="en-US" altLang="zh-CN" sz="1200" b="0" dirty="0" err="1">
                  <a:solidFill>
                    <a:schemeClr val="tx1">
                      <a:lumMod val="75000"/>
                      <a:lumOff val="25000"/>
                    </a:schemeClr>
                  </a:solidFill>
                  <a:effectLst/>
                  <a:latin typeface="+mn-ea"/>
                </a:rPr>
                <a:t>amet</a:t>
              </a:r>
              <a:r>
                <a:rPr lang="en-US" altLang="zh-CN" sz="1200" b="0" dirty="0">
                  <a:solidFill>
                    <a:schemeClr val="tx1">
                      <a:lumMod val="75000"/>
                      <a:lumOff val="25000"/>
                    </a:schemeClr>
                  </a:solidFill>
                  <a:effectLst/>
                  <a:latin typeface="+mn-ea"/>
                </a:rPr>
                <a:t> consectetur </a:t>
              </a:r>
              <a:r>
                <a:rPr lang="en-US" altLang="zh-CN" sz="1200" b="0" dirty="0" err="1">
                  <a:solidFill>
                    <a:schemeClr val="tx1">
                      <a:lumMod val="75000"/>
                      <a:lumOff val="25000"/>
                    </a:schemeClr>
                  </a:solidFill>
                  <a:effectLst/>
                  <a:latin typeface="+mn-ea"/>
                </a:rPr>
                <a:t>adipisicing</a:t>
              </a:r>
              <a:r>
                <a:rPr lang="en-US" altLang="zh-CN" sz="1200" b="0" dirty="0">
                  <a:solidFill>
                    <a:schemeClr val="tx1">
                      <a:lumMod val="75000"/>
                      <a:lumOff val="25000"/>
                    </a:schemeClr>
                  </a:solidFill>
                  <a:effectLst/>
                  <a:latin typeface="+mn-ea"/>
                </a:rPr>
                <a:t> </a:t>
              </a:r>
              <a:r>
                <a:rPr lang="en-US" altLang="zh-CN" sz="1200" b="0" dirty="0" err="1">
                  <a:solidFill>
                    <a:schemeClr val="tx1">
                      <a:lumMod val="75000"/>
                      <a:lumOff val="25000"/>
                    </a:schemeClr>
                  </a:solidFill>
                  <a:effectLst/>
                  <a:latin typeface="+mn-ea"/>
                </a:rPr>
                <a:t>elit</a:t>
              </a:r>
              <a:r>
                <a:rPr lang="en-US" altLang="zh-CN" sz="1200" b="0" dirty="0">
                  <a:solidFill>
                    <a:schemeClr val="tx1">
                      <a:lumMod val="75000"/>
                      <a:lumOff val="25000"/>
                    </a:schemeClr>
                  </a:solidFill>
                  <a:effectLst/>
                  <a:latin typeface="+mn-ea"/>
                </a:rPr>
                <a:t> sed do eiusmod tempor</a:t>
              </a:r>
              <a:endParaRPr lang="zh-CN" altLang="en-US" sz="1200" b="0" dirty="0">
                <a:solidFill>
                  <a:schemeClr val="tx1">
                    <a:lumMod val="75000"/>
                    <a:lumOff val="25000"/>
                  </a:schemeClr>
                </a:solidFill>
                <a:effectLst/>
                <a:latin typeface="+mn-ea"/>
              </a:endParaRPr>
            </a:p>
          </p:txBody>
        </p:sp>
      </p:grpSp>
    </p:spTree>
    <p:extLst>
      <p:ext uri="{BB962C8B-B14F-4D97-AF65-F5344CB8AC3E}">
        <p14:creationId xmlns:p14="http://schemas.microsoft.com/office/powerpoint/2010/main" val="3572691603"/>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2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3" name="组合 32">
            <a:extLst>
              <a:ext uri="{FF2B5EF4-FFF2-40B4-BE49-F238E27FC236}">
                <a16:creationId xmlns:a16="http://schemas.microsoft.com/office/drawing/2014/main" id="{28456299-AAB5-4A08-8693-F2A5C4A202F0}"/>
              </a:ext>
            </a:extLst>
          </p:cNvPr>
          <p:cNvGrpSpPr/>
          <p:nvPr/>
        </p:nvGrpSpPr>
        <p:grpSpPr>
          <a:xfrm>
            <a:off x="1071950" y="2160043"/>
            <a:ext cx="2824340" cy="3109750"/>
            <a:chOff x="995568" y="2160043"/>
            <a:chExt cx="2824340" cy="3109750"/>
          </a:xfrm>
        </p:grpSpPr>
        <p:sp>
          <p:nvSpPr>
            <p:cNvPr id="6" name="矩形: 圆角 5">
              <a:extLst>
                <a:ext uri="{FF2B5EF4-FFF2-40B4-BE49-F238E27FC236}">
                  <a16:creationId xmlns:a16="http://schemas.microsoft.com/office/drawing/2014/main" id="{836852FA-3F37-49E0-BF9E-4DEF17C2B50A}"/>
                </a:ext>
              </a:extLst>
            </p:cNvPr>
            <p:cNvSpPr/>
            <p:nvPr/>
          </p:nvSpPr>
          <p:spPr>
            <a:xfrm>
              <a:off x="995568" y="2164972"/>
              <a:ext cx="2824340" cy="3104821"/>
            </a:xfrm>
            <a:prstGeom prst="roundRect">
              <a:avLst>
                <a:gd name="adj" fmla="val 8509"/>
              </a:avLst>
            </a:prstGeom>
            <a:solidFill>
              <a:schemeClr val="bg1"/>
            </a:solidFill>
            <a:ln>
              <a:solidFill>
                <a:schemeClr val="accent1"/>
              </a:solidFill>
            </a:ln>
            <a:effectLst>
              <a:outerShdw blurRad="139700" algn="ctr" rotWithShape="0">
                <a:schemeClr val="accent1">
                  <a:lumMod val="50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7" name="文本框 6">
              <a:extLst>
                <a:ext uri="{FF2B5EF4-FFF2-40B4-BE49-F238E27FC236}">
                  <a16:creationId xmlns:a16="http://schemas.microsoft.com/office/drawing/2014/main" id="{D30246EA-E102-44A9-88DA-B22DEFF1C112}"/>
                </a:ext>
              </a:extLst>
            </p:cNvPr>
            <p:cNvSpPr txBox="1"/>
            <p:nvPr/>
          </p:nvSpPr>
          <p:spPr>
            <a:xfrm>
              <a:off x="2253776" y="2566213"/>
              <a:ext cx="1282402" cy="307777"/>
            </a:xfrm>
            <a:prstGeom prst="rect">
              <a:avLst/>
            </a:prstGeom>
            <a:noFill/>
          </p:spPr>
          <p:txBody>
            <a:bodyPr wrap="none" lIns="0" tIns="0" rIns="0" bIns="0" rtlCol="0" anchor="t">
              <a:spAutoFit/>
            </a:bodyPr>
            <a:lstStyle/>
            <a:p>
              <a:r>
                <a:rPr lang="zh-CN" altLang="en-US" sz="2000" dirty="0">
                  <a:solidFill>
                    <a:schemeClr val="accent1"/>
                  </a:solidFill>
                  <a:latin typeface="+mj-ea"/>
                  <a:ea typeface="+mj-ea"/>
                </a:rPr>
                <a:t>关键词标题</a:t>
              </a:r>
            </a:p>
          </p:txBody>
        </p:sp>
        <p:sp>
          <p:nvSpPr>
            <p:cNvPr id="9" name="文本框 8">
              <a:extLst>
                <a:ext uri="{FF2B5EF4-FFF2-40B4-BE49-F238E27FC236}">
                  <a16:creationId xmlns:a16="http://schemas.microsoft.com/office/drawing/2014/main" id="{8627B1FC-C67B-495E-BF79-280620983B0D}"/>
                </a:ext>
              </a:extLst>
            </p:cNvPr>
            <p:cNvSpPr txBox="1"/>
            <p:nvPr/>
          </p:nvSpPr>
          <p:spPr>
            <a:xfrm>
              <a:off x="1312145" y="3247015"/>
              <a:ext cx="2224033" cy="704873"/>
            </a:xfrm>
            <a:prstGeom prst="rect">
              <a:avLst/>
            </a:prstGeom>
            <a:noFill/>
          </p:spPr>
          <p:txBody>
            <a:bodyPr wrap="square" lIns="0" tIns="0" rIns="0" bIns="0" rtlCol="0" anchor="t">
              <a:spAutoFit/>
            </a:bodyPr>
            <a:lstStyle/>
            <a:p>
              <a:pPr>
                <a:lnSpc>
                  <a:spcPct val="130000"/>
                </a:lnSpc>
              </a:pPr>
              <a:r>
                <a:rPr lang="en-US" altLang="zh-CN" sz="1200" b="0" dirty="0">
                  <a:solidFill>
                    <a:schemeClr val="tx1">
                      <a:lumMod val="75000"/>
                      <a:lumOff val="25000"/>
                    </a:schemeClr>
                  </a:solidFill>
                  <a:effectLst/>
                  <a:latin typeface="+mn-ea"/>
                </a:rPr>
                <a:t>Lorem ipsum dolor sit </a:t>
              </a:r>
              <a:r>
                <a:rPr lang="en-US" altLang="zh-CN" sz="1200" b="0" dirty="0" err="1">
                  <a:solidFill>
                    <a:schemeClr val="tx1">
                      <a:lumMod val="75000"/>
                      <a:lumOff val="25000"/>
                    </a:schemeClr>
                  </a:solidFill>
                  <a:effectLst/>
                  <a:latin typeface="+mn-ea"/>
                </a:rPr>
                <a:t>amet</a:t>
              </a:r>
              <a:r>
                <a:rPr lang="en-US" altLang="zh-CN" sz="1200" b="0" dirty="0">
                  <a:solidFill>
                    <a:schemeClr val="tx1">
                      <a:lumMod val="75000"/>
                      <a:lumOff val="25000"/>
                    </a:schemeClr>
                  </a:solidFill>
                  <a:effectLst/>
                  <a:latin typeface="+mn-ea"/>
                </a:rPr>
                <a:t> consectetur </a:t>
              </a:r>
              <a:r>
                <a:rPr lang="en-US" altLang="zh-CN" sz="1200" b="0" dirty="0" err="1">
                  <a:solidFill>
                    <a:schemeClr val="tx1">
                      <a:lumMod val="75000"/>
                      <a:lumOff val="25000"/>
                    </a:schemeClr>
                  </a:solidFill>
                  <a:effectLst/>
                  <a:latin typeface="+mn-ea"/>
                </a:rPr>
                <a:t>adipisicing</a:t>
              </a:r>
              <a:r>
                <a:rPr lang="en-US" altLang="zh-CN" sz="1200" b="0" dirty="0">
                  <a:solidFill>
                    <a:schemeClr val="tx1">
                      <a:lumMod val="75000"/>
                      <a:lumOff val="25000"/>
                    </a:schemeClr>
                  </a:solidFill>
                  <a:effectLst/>
                  <a:latin typeface="+mn-ea"/>
                </a:rPr>
                <a:t> </a:t>
              </a:r>
              <a:r>
                <a:rPr lang="en-US" altLang="zh-CN" sz="1200" b="0" dirty="0" err="1">
                  <a:solidFill>
                    <a:schemeClr val="tx1">
                      <a:lumMod val="75000"/>
                      <a:lumOff val="25000"/>
                    </a:schemeClr>
                  </a:solidFill>
                  <a:effectLst/>
                  <a:latin typeface="+mn-ea"/>
                </a:rPr>
                <a:t>elit</a:t>
              </a:r>
              <a:r>
                <a:rPr lang="en-US" altLang="zh-CN" sz="1200" b="0" dirty="0">
                  <a:solidFill>
                    <a:schemeClr val="tx1">
                      <a:lumMod val="75000"/>
                      <a:lumOff val="25000"/>
                    </a:schemeClr>
                  </a:solidFill>
                  <a:effectLst/>
                  <a:latin typeface="+mn-ea"/>
                </a:rPr>
                <a:t> sed do eiusmod tempor</a:t>
              </a:r>
              <a:endParaRPr lang="zh-CN" altLang="en-US" sz="1200" b="0" dirty="0">
                <a:solidFill>
                  <a:schemeClr val="tx1">
                    <a:lumMod val="75000"/>
                    <a:lumOff val="25000"/>
                  </a:schemeClr>
                </a:solidFill>
                <a:effectLst/>
                <a:latin typeface="+mn-ea"/>
              </a:endParaRPr>
            </a:p>
          </p:txBody>
        </p:sp>
        <p:sp>
          <p:nvSpPr>
            <p:cNvPr id="10" name="文本框 9">
              <a:extLst>
                <a:ext uri="{FF2B5EF4-FFF2-40B4-BE49-F238E27FC236}">
                  <a16:creationId xmlns:a16="http://schemas.microsoft.com/office/drawing/2014/main" id="{45C6AAB8-8F93-4D60-82D4-B06A44475FC4}"/>
                </a:ext>
              </a:extLst>
            </p:cNvPr>
            <p:cNvSpPr txBox="1"/>
            <p:nvPr/>
          </p:nvSpPr>
          <p:spPr>
            <a:xfrm>
              <a:off x="1312145" y="4191895"/>
              <a:ext cx="2224033" cy="704873"/>
            </a:xfrm>
            <a:prstGeom prst="rect">
              <a:avLst/>
            </a:prstGeom>
            <a:noFill/>
          </p:spPr>
          <p:txBody>
            <a:bodyPr wrap="square" lIns="0" tIns="0" rIns="0" bIns="0" rtlCol="0" anchor="t">
              <a:spAutoFit/>
            </a:bodyPr>
            <a:lstStyle/>
            <a:p>
              <a:pPr>
                <a:lnSpc>
                  <a:spcPct val="130000"/>
                </a:lnSpc>
              </a:pPr>
              <a:r>
                <a:rPr lang="en-US" altLang="zh-CN" sz="1200" b="0" dirty="0">
                  <a:solidFill>
                    <a:schemeClr val="tx1">
                      <a:lumMod val="75000"/>
                      <a:lumOff val="25000"/>
                    </a:schemeClr>
                  </a:solidFill>
                  <a:effectLst/>
                  <a:latin typeface="+mn-ea"/>
                </a:rPr>
                <a:t>Lorem ipsum dolor sit </a:t>
              </a:r>
              <a:r>
                <a:rPr lang="en-US" altLang="zh-CN" sz="1200" b="0" dirty="0" err="1">
                  <a:solidFill>
                    <a:schemeClr val="tx1">
                      <a:lumMod val="75000"/>
                      <a:lumOff val="25000"/>
                    </a:schemeClr>
                  </a:solidFill>
                  <a:effectLst/>
                  <a:latin typeface="+mn-ea"/>
                </a:rPr>
                <a:t>amet</a:t>
              </a:r>
              <a:r>
                <a:rPr lang="en-US" altLang="zh-CN" sz="1200" b="0" dirty="0">
                  <a:solidFill>
                    <a:schemeClr val="tx1">
                      <a:lumMod val="75000"/>
                      <a:lumOff val="25000"/>
                    </a:schemeClr>
                  </a:solidFill>
                  <a:effectLst/>
                  <a:latin typeface="+mn-ea"/>
                </a:rPr>
                <a:t> consectetur </a:t>
              </a:r>
              <a:r>
                <a:rPr lang="en-US" altLang="zh-CN" sz="1200" b="0" dirty="0" err="1">
                  <a:solidFill>
                    <a:schemeClr val="tx1">
                      <a:lumMod val="75000"/>
                      <a:lumOff val="25000"/>
                    </a:schemeClr>
                  </a:solidFill>
                  <a:effectLst/>
                  <a:latin typeface="+mn-ea"/>
                </a:rPr>
                <a:t>adipisicing</a:t>
              </a:r>
              <a:r>
                <a:rPr lang="en-US" altLang="zh-CN" sz="1200" b="0" dirty="0">
                  <a:solidFill>
                    <a:schemeClr val="tx1">
                      <a:lumMod val="75000"/>
                      <a:lumOff val="25000"/>
                    </a:schemeClr>
                  </a:solidFill>
                  <a:effectLst/>
                  <a:latin typeface="+mn-ea"/>
                </a:rPr>
                <a:t> </a:t>
              </a:r>
              <a:r>
                <a:rPr lang="en-US" altLang="zh-CN" sz="1200" b="0" dirty="0" err="1">
                  <a:solidFill>
                    <a:schemeClr val="tx1">
                      <a:lumMod val="75000"/>
                      <a:lumOff val="25000"/>
                    </a:schemeClr>
                  </a:solidFill>
                  <a:effectLst/>
                  <a:latin typeface="+mn-ea"/>
                </a:rPr>
                <a:t>elit</a:t>
              </a:r>
              <a:r>
                <a:rPr lang="en-US" altLang="zh-CN" sz="1200" b="0" dirty="0">
                  <a:solidFill>
                    <a:schemeClr val="tx1">
                      <a:lumMod val="75000"/>
                      <a:lumOff val="25000"/>
                    </a:schemeClr>
                  </a:solidFill>
                  <a:effectLst/>
                  <a:latin typeface="+mn-ea"/>
                </a:rPr>
                <a:t> sed do eiusmod tempor</a:t>
              </a:r>
              <a:endParaRPr lang="zh-CN" altLang="en-US" sz="1200" b="0" dirty="0">
                <a:solidFill>
                  <a:schemeClr val="tx1">
                    <a:lumMod val="75000"/>
                    <a:lumOff val="25000"/>
                  </a:schemeClr>
                </a:solidFill>
                <a:effectLst/>
                <a:latin typeface="+mn-ea"/>
              </a:endParaRPr>
            </a:p>
          </p:txBody>
        </p:sp>
        <p:sp>
          <p:nvSpPr>
            <p:cNvPr id="32" name="任意多边形: 形状 31">
              <a:extLst>
                <a:ext uri="{FF2B5EF4-FFF2-40B4-BE49-F238E27FC236}">
                  <a16:creationId xmlns:a16="http://schemas.microsoft.com/office/drawing/2014/main" id="{9F2252E9-DB23-4B74-8F11-29B0F918E406}"/>
                </a:ext>
              </a:extLst>
            </p:cNvPr>
            <p:cNvSpPr/>
            <p:nvPr/>
          </p:nvSpPr>
          <p:spPr>
            <a:xfrm flipH="1">
              <a:off x="1267885" y="2160043"/>
              <a:ext cx="834539" cy="909418"/>
            </a:xfrm>
            <a:custGeom>
              <a:avLst/>
              <a:gdLst>
                <a:gd name="connsiteX0" fmla="*/ 260819 w 783160"/>
                <a:gd name="connsiteY0" fmla="*/ 0 h 1870538"/>
                <a:gd name="connsiteX1" fmla="*/ 262045 w 783160"/>
                <a:gd name="connsiteY1" fmla="*/ 0 h 1870538"/>
                <a:gd name="connsiteX2" fmla="*/ 783160 w 783160"/>
                <a:gd name="connsiteY2" fmla="*/ 0 h 1870538"/>
                <a:gd name="connsiteX3" fmla="*/ 783160 w 783160"/>
                <a:gd name="connsiteY3" fmla="*/ 247 h 1870538"/>
                <a:gd name="connsiteX4" fmla="*/ 719242 w 783160"/>
                <a:gd name="connsiteY4" fmla="*/ 13151 h 1870538"/>
                <a:gd name="connsiteX5" fmla="*/ 617024 w 783160"/>
                <a:gd name="connsiteY5" fmla="*/ 167362 h 1870538"/>
                <a:gd name="connsiteX6" fmla="*/ 617024 w 783160"/>
                <a:gd name="connsiteY6" fmla="*/ 167363 h 1870538"/>
                <a:gd name="connsiteX7" fmla="*/ 617024 w 783160"/>
                <a:gd name="connsiteY7" fmla="*/ 237470 h 1870538"/>
                <a:gd name="connsiteX8" fmla="*/ 618869 w 783160"/>
                <a:gd name="connsiteY8" fmla="*/ 237470 h 1870538"/>
                <a:gd name="connsiteX9" fmla="*/ 618869 w 783160"/>
                <a:gd name="connsiteY9" fmla="*/ 1156547 h 1870538"/>
                <a:gd name="connsiteX10" fmla="*/ 716786 w 783160"/>
                <a:gd name="connsiteY10" fmla="*/ 1156547 h 1870538"/>
                <a:gd name="connsiteX11" fmla="*/ 358393 w 783160"/>
                <a:gd name="connsiteY11" fmla="*/ 1870538 h 1870538"/>
                <a:gd name="connsiteX12" fmla="*/ 0 w 783160"/>
                <a:gd name="connsiteY12" fmla="*/ 1156547 h 1870538"/>
                <a:gd name="connsiteX13" fmla="*/ 97917 w 783160"/>
                <a:gd name="connsiteY13" fmla="*/ 1156547 h 1870538"/>
                <a:gd name="connsiteX14" fmla="*/ 97917 w 783160"/>
                <a:gd name="connsiteY14" fmla="*/ 237470 h 1870538"/>
                <a:gd name="connsiteX15" fmla="*/ 94683 w 783160"/>
                <a:gd name="connsiteY15" fmla="*/ 237470 h 1870538"/>
                <a:gd name="connsiteX16" fmla="*/ 94683 w 783160"/>
                <a:gd name="connsiteY16" fmla="*/ 167368 h 1870538"/>
                <a:gd name="connsiteX17" fmla="*/ 94682 w 783160"/>
                <a:gd name="connsiteY17" fmla="*/ 167363 h 1870538"/>
                <a:gd name="connsiteX18" fmla="*/ 196900 w 783160"/>
                <a:gd name="connsiteY18" fmla="*/ 13152 h 1870538"/>
                <a:gd name="connsiteX19" fmla="*/ 260819 w 783160"/>
                <a:gd name="connsiteY19" fmla="*/ 247 h 1870538"/>
                <a:gd name="connsiteX0" fmla="*/ 260819 w 783160"/>
                <a:gd name="connsiteY0" fmla="*/ 0 h 1870538"/>
                <a:gd name="connsiteX1" fmla="*/ 262045 w 783160"/>
                <a:gd name="connsiteY1" fmla="*/ 0 h 1870538"/>
                <a:gd name="connsiteX2" fmla="*/ 783160 w 783160"/>
                <a:gd name="connsiteY2" fmla="*/ 0 h 1870538"/>
                <a:gd name="connsiteX3" fmla="*/ 783160 w 783160"/>
                <a:gd name="connsiteY3" fmla="*/ 247 h 1870538"/>
                <a:gd name="connsiteX4" fmla="*/ 719242 w 783160"/>
                <a:gd name="connsiteY4" fmla="*/ 13151 h 1870538"/>
                <a:gd name="connsiteX5" fmla="*/ 617024 w 783160"/>
                <a:gd name="connsiteY5" fmla="*/ 167362 h 1870538"/>
                <a:gd name="connsiteX6" fmla="*/ 617024 w 783160"/>
                <a:gd name="connsiteY6" fmla="*/ 167363 h 1870538"/>
                <a:gd name="connsiteX7" fmla="*/ 617024 w 783160"/>
                <a:gd name="connsiteY7" fmla="*/ 237470 h 1870538"/>
                <a:gd name="connsiteX8" fmla="*/ 618869 w 783160"/>
                <a:gd name="connsiteY8" fmla="*/ 237470 h 1870538"/>
                <a:gd name="connsiteX9" fmla="*/ 618869 w 783160"/>
                <a:gd name="connsiteY9" fmla="*/ 1156547 h 1870538"/>
                <a:gd name="connsiteX10" fmla="*/ 716786 w 783160"/>
                <a:gd name="connsiteY10" fmla="*/ 1156547 h 1870538"/>
                <a:gd name="connsiteX11" fmla="*/ 358393 w 783160"/>
                <a:gd name="connsiteY11" fmla="*/ 1870538 h 1870538"/>
                <a:gd name="connsiteX12" fmla="*/ 0 w 783160"/>
                <a:gd name="connsiteY12" fmla="*/ 1156547 h 1870538"/>
                <a:gd name="connsiteX13" fmla="*/ 97917 w 783160"/>
                <a:gd name="connsiteY13" fmla="*/ 1156547 h 1870538"/>
                <a:gd name="connsiteX14" fmla="*/ 94683 w 783160"/>
                <a:gd name="connsiteY14" fmla="*/ 237470 h 1870538"/>
                <a:gd name="connsiteX15" fmla="*/ 94683 w 783160"/>
                <a:gd name="connsiteY15" fmla="*/ 167368 h 1870538"/>
                <a:gd name="connsiteX16" fmla="*/ 94682 w 783160"/>
                <a:gd name="connsiteY16" fmla="*/ 167363 h 1870538"/>
                <a:gd name="connsiteX17" fmla="*/ 196900 w 783160"/>
                <a:gd name="connsiteY17" fmla="*/ 13152 h 1870538"/>
                <a:gd name="connsiteX18" fmla="*/ 260819 w 783160"/>
                <a:gd name="connsiteY18" fmla="*/ 247 h 1870538"/>
                <a:gd name="connsiteX19" fmla="*/ 260819 w 783160"/>
                <a:gd name="connsiteY19" fmla="*/ 0 h 1870538"/>
                <a:gd name="connsiteX0" fmla="*/ 260819 w 783160"/>
                <a:gd name="connsiteY0" fmla="*/ 0 h 1870538"/>
                <a:gd name="connsiteX1" fmla="*/ 262045 w 783160"/>
                <a:gd name="connsiteY1" fmla="*/ 0 h 1870538"/>
                <a:gd name="connsiteX2" fmla="*/ 783160 w 783160"/>
                <a:gd name="connsiteY2" fmla="*/ 0 h 1870538"/>
                <a:gd name="connsiteX3" fmla="*/ 783160 w 783160"/>
                <a:gd name="connsiteY3" fmla="*/ 247 h 1870538"/>
                <a:gd name="connsiteX4" fmla="*/ 719242 w 783160"/>
                <a:gd name="connsiteY4" fmla="*/ 13151 h 1870538"/>
                <a:gd name="connsiteX5" fmla="*/ 617024 w 783160"/>
                <a:gd name="connsiteY5" fmla="*/ 167362 h 1870538"/>
                <a:gd name="connsiteX6" fmla="*/ 617024 w 783160"/>
                <a:gd name="connsiteY6" fmla="*/ 167363 h 1870538"/>
                <a:gd name="connsiteX7" fmla="*/ 617024 w 783160"/>
                <a:gd name="connsiteY7" fmla="*/ 237470 h 1870538"/>
                <a:gd name="connsiteX8" fmla="*/ 618869 w 783160"/>
                <a:gd name="connsiteY8" fmla="*/ 1156547 h 1870538"/>
                <a:gd name="connsiteX9" fmla="*/ 716786 w 783160"/>
                <a:gd name="connsiteY9" fmla="*/ 1156547 h 1870538"/>
                <a:gd name="connsiteX10" fmla="*/ 358393 w 783160"/>
                <a:gd name="connsiteY10" fmla="*/ 1870538 h 1870538"/>
                <a:gd name="connsiteX11" fmla="*/ 0 w 783160"/>
                <a:gd name="connsiteY11" fmla="*/ 1156547 h 1870538"/>
                <a:gd name="connsiteX12" fmla="*/ 97917 w 783160"/>
                <a:gd name="connsiteY12" fmla="*/ 1156547 h 1870538"/>
                <a:gd name="connsiteX13" fmla="*/ 94683 w 783160"/>
                <a:gd name="connsiteY13" fmla="*/ 237470 h 1870538"/>
                <a:gd name="connsiteX14" fmla="*/ 94683 w 783160"/>
                <a:gd name="connsiteY14" fmla="*/ 167368 h 1870538"/>
                <a:gd name="connsiteX15" fmla="*/ 94682 w 783160"/>
                <a:gd name="connsiteY15" fmla="*/ 167363 h 1870538"/>
                <a:gd name="connsiteX16" fmla="*/ 196900 w 783160"/>
                <a:gd name="connsiteY16" fmla="*/ 13152 h 1870538"/>
                <a:gd name="connsiteX17" fmla="*/ 260819 w 783160"/>
                <a:gd name="connsiteY17" fmla="*/ 247 h 1870538"/>
                <a:gd name="connsiteX18" fmla="*/ 260819 w 783160"/>
                <a:gd name="connsiteY18" fmla="*/ 0 h 1870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783160" h="1870538">
                  <a:moveTo>
                    <a:pt x="260819" y="0"/>
                  </a:moveTo>
                  <a:lnTo>
                    <a:pt x="262045" y="0"/>
                  </a:lnTo>
                  <a:lnTo>
                    <a:pt x="783160" y="0"/>
                  </a:lnTo>
                  <a:lnTo>
                    <a:pt x="783160" y="247"/>
                  </a:lnTo>
                  <a:lnTo>
                    <a:pt x="719242" y="13151"/>
                  </a:lnTo>
                  <a:cubicBezTo>
                    <a:pt x="659173" y="38558"/>
                    <a:pt x="617024" y="98038"/>
                    <a:pt x="617024" y="167362"/>
                  </a:cubicBezTo>
                  <a:lnTo>
                    <a:pt x="617024" y="167363"/>
                  </a:lnTo>
                  <a:lnTo>
                    <a:pt x="617024" y="237470"/>
                  </a:lnTo>
                  <a:lnTo>
                    <a:pt x="618869" y="1156547"/>
                  </a:lnTo>
                  <a:lnTo>
                    <a:pt x="716786" y="1156547"/>
                  </a:lnTo>
                  <a:lnTo>
                    <a:pt x="358393" y="1870538"/>
                  </a:lnTo>
                  <a:lnTo>
                    <a:pt x="0" y="1156547"/>
                  </a:lnTo>
                  <a:lnTo>
                    <a:pt x="97917" y="1156547"/>
                  </a:lnTo>
                  <a:lnTo>
                    <a:pt x="94683" y="237470"/>
                  </a:lnTo>
                  <a:lnTo>
                    <a:pt x="94683" y="167368"/>
                  </a:lnTo>
                  <a:cubicBezTo>
                    <a:pt x="94683" y="167366"/>
                    <a:pt x="94682" y="167365"/>
                    <a:pt x="94682" y="167363"/>
                  </a:cubicBezTo>
                  <a:cubicBezTo>
                    <a:pt x="94682" y="98039"/>
                    <a:pt x="136831" y="38559"/>
                    <a:pt x="196900" y="13152"/>
                  </a:cubicBezTo>
                  <a:lnTo>
                    <a:pt x="260819" y="247"/>
                  </a:lnTo>
                  <a:lnTo>
                    <a:pt x="260819" y="0"/>
                  </a:lnTo>
                  <a:close/>
                </a:path>
              </a:pathLst>
            </a:custGeom>
            <a:gradFill flip="none" rotWithShape="0">
              <a:gsLst>
                <a:gs pos="5000">
                  <a:schemeClr val="accent1"/>
                </a:gs>
                <a:gs pos="100000">
                  <a:schemeClr val="accent1">
                    <a:lumMod val="75000"/>
                  </a:schemeClr>
                </a:gs>
              </a:gsLst>
              <a:lin ang="2700000" scaled="1"/>
              <a:tileRect/>
            </a:gradFill>
            <a:ln>
              <a:noFill/>
            </a:ln>
            <a:effectLst>
              <a:outerShdw blurRad="254000" dist="152400" dir="5400000" sx="102000" sy="1020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91440" tIns="45720" rIns="91440" bIns="45720" numCol="1" spcCol="0" rtlCol="0" fromWordArt="0" anchor="ctr" anchorCtr="0" forceAA="0" compatLnSpc="1">
              <a:prstTxWarp prst="textNoShape">
                <a:avLst/>
              </a:prstTxWarp>
              <a:noAutofit/>
            </a:bodyPr>
            <a:lstStyle/>
            <a:p>
              <a:pPr algn="ctr" defTabSz="457200"/>
              <a:r>
                <a:rPr lang="en-US" altLang="zh-CN" dirty="0"/>
                <a:t>01</a:t>
              </a:r>
              <a:endParaRPr lang="zh-CN" altLang="en-US" dirty="0"/>
            </a:p>
          </p:txBody>
        </p:sp>
      </p:grpSp>
      <p:grpSp>
        <p:nvGrpSpPr>
          <p:cNvPr id="34" name="组合 33">
            <a:extLst>
              <a:ext uri="{FF2B5EF4-FFF2-40B4-BE49-F238E27FC236}">
                <a16:creationId xmlns:a16="http://schemas.microsoft.com/office/drawing/2014/main" id="{5C4ED7D6-C2D9-49A3-9728-7DF30DA6DAEE}"/>
              </a:ext>
            </a:extLst>
          </p:cNvPr>
          <p:cNvGrpSpPr/>
          <p:nvPr/>
        </p:nvGrpSpPr>
        <p:grpSpPr>
          <a:xfrm>
            <a:off x="4683830" y="2160043"/>
            <a:ext cx="2824340" cy="3109750"/>
            <a:chOff x="995568" y="2160043"/>
            <a:chExt cx="2824340" cy="3109750"/>
          </a:xfrm>
        </p:grpSpPr>
        <p:sp>
          <p:nvSpPr>
            <p:cNvPr id="35" name="矩形: 圆角 34">
              <a:extLst>
                <a:ext uri="{FF2B5EF4-FFF2-40B4-BE49-F238E27FC236}">
                  <a16:creationId xmlns:a16="http://schemas.microsoft.com/office/drawing/2014/main" id="{9E45944E-F420-40BF-9C85-65E3C2AD2BC3}"/>
                </a:ext>
              </a:extLst>
            </p:cNvPr>
            <p:cNvSpPr/>
            <p:nvPr/>
          </p:nvSpPr>
          <p:spPr>
            <a:xfrm>
              <a:off x="995568" y="2164972"/>
              <a:ext cx="2824340" cy="3104821"/>
            </a:xfrm>
            <a:prstGeom prst="roundRect">
              <a:avLst>
                <a:gd name="adj" fmla="val 8509"/>
              </a:avLst>
            </a:prstGeom>
            <a:solidFill>
              <a:schemeClr val="bg1"/>
            </a:solidFill>
            <a:ln>
              <a:solidFill>
                <a:schemeClr val="accent1"/>
              </a:solidFill>
            </a:ln>
            <a:effectLst>
              <a:outerShdw blurRad="139700" algn="ctr" rotWithShape="0">
                <a:schemeClr val="accent1">
                  <a:lumMod val="50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36" name="文本框 35">
              <a:extLst>
                <a:ext uri="{FF2B5EF4-FFF2-40B4-BE49-F238E27FC236}">
                  <a16:creationId xmlns:a16="http://schemas.microsoft.com/office/drawing/2014/main" id="{D1293569-66A2-4715-B00A-086B38BFB95B}"/>
                </a:ext>
              </a:extLst>
            </p:cNvPr>
            <p:cNvSpPr txBox="1"/>
            <p:nvPr/>
          </p:nvSpPr>
          <p:spPr>
            <a:xfrm>
              <a:off x="2253776" y="2566213"/>
              <a:ext cx="1282402" cy="307777"/>
            </a:xfrm>
            <a:prstGeom prst="rect">
              <a:avLst/>
            </a:prstGeom>
            <a:noFill/>
          </p:spPr>
          <p:txBody>
            <a:bodyPr wrap="none" lIns="0" tIns="0" rIns="0" bIns="0" rtlCol="0" anchor="t">
              <a:spAutoFit/>
            </a:bodyPr>
            <a:lstStyle/>
            <a:p>
              <a:r>
                <a:rPr lang="zh-CN" altLang="en-US" sz="2000" dirty="0">
                  <a:solidFill>
                    <a:schemeClr val="accent1"/>
                  </a:solidFill>
                  <a:latin typeface="+mj-ea"/>
                  <a:ea typeface="+mj-ea"/>
                </a:rPr>
                <a:t>关键词标题</a:t>
              </a:r>
            </a:p>
          </p:txBody>
        </p:sp>
        <p:sp>
          <p:nvSpPr>
            <p:cNvPr id="37" name="文本框 36">
              <a:extLst>
                <a:ext uri="{FF2B5EF4-FFF2-40B4-BE49-F238E27FC236}">
                  <a16:creationId xmlns:a16="http://schemas.microsoft.com/office/drawing/2014/main" id="{17AA6EB7-DE7F-4D15-B4A6-24C19B677275}"/>
                </a:ext>
              </a:extLst>
            </p:cNvPr>
            <p:cNvSpPr txBox="1"/>
            <p:nvPr/>
          </p:nvSpPr>
          <p:spPr>
            <a:xfrm>
              <a:off x="1312145" y="3247015"/>
              <a:ext cx="2224033" cy="704873"/>
            </a:xfrm>
            <a:prstGeom prst="rect">
              <a:avLst/>
            </a:prstGeom>
            <a:noFill/>
          </p:spPr>
          <p:txBody>
            <a:bodyPr wrap="square" lIns="0" tIns="0" rIns="0" bIns="0" rtlCol="0" anchor="t">
              <a:spAutoFit/>
            </a:bodyPr>
            <a:lstStyle/>
            <a:p>
              <a:pPr>
                <a:lnSpc>
                  <a:spcPct val="130000"/>
                </a:lnSpc>
              </a:pPr>
              <a:r>
                <a:rPr lang="en-US" altLang="zh-CN" sz="1200" b="0" dirty="0">
                  <a:solidFill>
                    <a:schemeClr val="tx1">
                      <a:lumMod val="75000"/>
                      <a:lumOff val="25000"/>
                    </a:schemeClr>
                  </a:solidFill>
                  <a:effectLst/>
                  <a:latin typeface="+mn-ea"/>
                </a:rPr>
                <a:t>Lorem ipsum dolor sit </a:t>
              </a:r>
              <a:r>
                <a:rPr lang="en-US" altLang="zh-CN" sz="1200" b="0" dirty="0" err="1">
                  <a:solidFill>
                    <a:schemeClr val="tx1">
                      <a:lumMod val="75000"/>
                      <a:lumOff val="25000"/>
                    </a:schemeClr>
                  </a:solidFill>
                  <a:effectLst/>
                  <a:latin typeface="+mn-ea"/>
                </a:rPr>
                <a:t>amet</a:t>
              </a:r>
              <a:r>
                <a:rPr lang="en-US" altLang="zh-CN" sz="1200" b="0" dirty="0">
                  <a:solidFill>
                    <a:schemeClr val="tx1">
                      <a:lumMod val="75000"/>
                      <a:lumOff val="25000"/>
                    </a:schemeClr>
                  </a:solidFill>
                  <a:effectLst/>
                  <a:latin typeface="+mn-ea"/>
                </a:rPr>
                <a:t> consectetur </a:t>
              </a:r>
              <a:r>
                <a:rPr lang="en-US" altLang="zh-CN" sz="1200" b="0" dirty="0" err="1">
                  <a:solidFill>
                    <a:schemeClr val="tx1">
                      <a:lumMod val="75000"/>
                      <a:lumOff val="25000"/>
                    </a:schemeClr>
                  </a:solidFill>
                  <a:effectLst/>
                  <a:latin typeface="+mn-ea"/>
                </a:rPr>
                <a:t>adipisicing</a:t>
              </a:r>
              <a:r>
                <a:rPr lang="en-US" altLang="zh-CN" sz="1200" b="0" dirty="0">
                  <a:solidFill>
                    <a:schemeClr val="tx1">
                      <a:lumMod val="75000"/>
                      <a:lumOff val="25000"/>
                    </a:schemeClr>
                  </a:solidFill>
                  <a:effectLst/>
                  <a:latin typeface="+mn-ea"/>
                </a:rPr>
                <a:t> </a:t>
              </a:r>
              <a:r>
                <a:rPr lang="en-US" altLang="zh-CN" sz="1200" b="0" dirty="0" err="1">
                  <a:solidFill>
                    <a:schemeClr val="tx1">
                      <a:lumMod val="75000"/>
                      <a:lumOff val="25000"/>
                    </a:schemeClr>
                  </a:solidFill>
                  <a:effectLst/>
                  <a:latin typeface="+mn-ea"/>
                </a:rPr>
                <a:t>elit</a:t>
              </a:r>
              <a:r>
                <a:rPr lang="en-US" altLang="zh-CN" sz="1200" b="0" dirty="0">
                  <a:solidFill>
                    <a:schemeClr val="tx1">
                      <a:lumMod val="75000"/>
                      <a:lumOff val="25000"/>
                    </a:schemeClr>
                  </a:solidFill>
                  <a:effectLst/>
                  <a:latin typeface="+mn-ea"/>
                </a:rPr>
                <a:t> sed do eiusmod tempor</a:t>
              </a:r>
              <a:endParaRPr lang="zh-CN" altLang="en-US" sz="1200" b="0" dirty="0">
                <a:solidFill>
                  <a:schemeClr val="tx1">
                    <a:lumMod val="75000"/>
                    <a:lumOff val="25000"/>
                  </a:schemeClr>
                </a:solidFill>
                <a:effectLst/>
                <a:latin typeface="+mn-ea"/>
              </a:endParaRPr>
            </a:p>
          </p:txBody>
        </p:sp>
        <p:sp>
          <p:nvSpPr>
            <p:cNvPr id="38" name="文本框 37">
              <a:extLst>
                <a:ext uri="{FF2B5EF4-FFF2-40B4-BE49-F238E27FC236}">
                  <a16:creationId xmlns:a16="http://schemas.microsoft.com/office/drawing/2014/main" id="{7DD3A072-7A40-4C5C-AA8C-4F138C68FC5F}"/>
                </a:ext>
              </a:extLst>
            </p:cNvPr>
            <p:cNvSpPr txBox="1"/>
            <p:nvPr/>
          </p:nvSpPr>
          <p:spPr>
            <a:xfrm>
              <a:off x="1312145" y="4191895"/>
              <a:ext cx="2224033" cy="704873"/>
            </a:xfrm>
            <a:prstGeom prst="rect">
              <a:avLst/>
            </a:prstGeom>
            <a:noFill/>
          </p:spPr>
          <p:txBody>
            <a:bodyPr wrap="square" lIns="0" tIns="0" rIns="0" bIns="0" rtlCol="0" anchor="t">
              <a:spAutoFit/>
            </a:bodyPr>
            <a:lstStyle/>
            <a:p>
              <a:pPr>
                <a:lnSpc>
                  <a:spcPct val="130000"/>
                </a:lnSpc>
              </a:pPr>
              <a:r>
                <a:rPr lang="en-US" altLang="zh-CN" sz="1200" b="0" dirty="0">
                  <a:solidFill>
                    <a:schemeClr val="tx1">
                      <a:lumMod val="75000"/>
                      <a:lumOff val="25000"/>
                    </a:schemeClr>
                  </a:solidFill>
                  <a:effectLst/>
                  <a:latin typeface="+mn-ea"/>
                </a:rPr>
                <a:t>Lorem ipsum dolor sit </a:t>
              </a:r>
              <a:r>
                <a:rPr lang="en-US" altLang="zh-CN" sz="1200" b="0" dirty="0" err="1">
                  <a:solidFill>
                    <a:schemeClr val="tx1">
                      <a:lumMod val="75000"/>
                      <a:lumOff val="25000"/>
                    </a:schemeClr>
                  </a:solidFill>
                  <a:effectLst/>
                  <a:latin typeface="+mn-ea"/>
                </a:rPr>
                <a:t>amet</a:t>
              </a:r>
              <a:r>
                <a:rPr lang="en-US" altLang="zh-CN" sz="1200" b="0" dirty="0">
                  <a:solidFill>
                    <a:schemeClr val="tx1">
                      <a:lumMod val="75000"/>
                      <a:lumOff val="25000"/>
                    </a:schemeClr>
                  </a:solidFill>
                  <a:effectLst/>
                  <a:latin typeface="+mn-ea"/>
                </a:rPr>
                <a:t> consectetur </a:t>
              </a:r>
              <a:r>
                <a:rPr lang="en-US" altLang="zh-CN" sz="1200" b="0" dirty="0" err="1">
                  <a:solidFill>
                    <a:schemeClr val="tx1">
                      <a:lumMod val="75000"/>
                      <a:lumOff val="25000"/>
                    </a:schemeClr>
                  </a:solidFill>
                  <a:effectLst/>
                  <a:latin typeface="+mn-ea"/>
                </a:rPr>
                <a:t>adipisicing</a:t>
              </a:r>
              <a:r>
                <a:rPr lang="en-US" altLang="zh-CN" sz="1200" b="0" dirty="0">
                  <a:solidFill>
                    <a:schemeClr val="tx1">
                      <a:lumMod val="75000"/>
                      <a:lumOff val="25000"/>
                    </a:schemeClr>
                  </a:solidFill>
                  <a:effectLst/>
                  <a:latin typeface="+mn-ea"/>
                </a:rPr>
                <a:t> </a:t>
              </a:r>
              <a:r>
                <a:rPr lang="en-US" altLang="zh-CN" sz="1200" b="0" dirty="0" err="1">
                  <a:solidFill>
                    <a:schemeClr val="tx1">
                      <a:lumMod val="75000"/>
                      <a:lumOff val="25000"/>
                    </a:schemeClr>
                  </a:solidFill>
                  <a:effectLst/>
                  <a:latin typeface="+mn-ea"/>
                </a:rPr>
                <a:t>elit</a:t>
              </a:r>
              <a:r>
                <a:rPr lang="en-US" altLang="zh-CN" sz="1200" b="0" dirty="0">
                  <a:solidFill>
                    <a:schemeClr val="tx1">
                      <a:lumMod val="75000"/>
                      <a:lumOff val="25000"/>
                    </a:schemeClr>
                  </a:solidFill>
                  <a:effectLst/>
                  <a:latin typeface="+mn-ea"/>
                </a:rPr>
                <a:t> sed do eiusmod tempor</a:t>
              </a:r>
              <a:endParaRPr lang="zh-CN" altLang="en-US" sz="1200" b="0" dirty="0">
                <a:solidFill>
                  <a:schemeClr val="tx1">
                    <a:lumMod val="75000"/>
                    <a:lumOff val="25000"/>
                  </a:schemeClr>
                </a:solidFill>
                <a:effectLst/>
                <a:latin typeface="+mn-ea"/>
              </a:endParaRPr>
            </a:p>
          </p:txBody>
        </p:sp>
        <p:sp>
          <p:nvSpPr>
            <p:cNvPr id="39" name="任意多边形: 形状 38">
              <a:extLst>
                <a:ext uri="{FF2B5EF4-FFF2-40B4-BE49-F238E27FC236}">
                  <a16:creationId xmlns:a16="http://schemas.microsoft.com/office/drawing/2014/main" id="{8B6E06CF-8104-40F1-B20E-007E38BD206C}"/>
                </a:ext>
              </a:extLst>
            </p:cNvPr>
            <p:cNvSpPr/>
            <p:nvPr/>
          </p:nvSpPr>
          <p:spPr>
            <a:xfrm flipH="1">
              <a:off x="1267885" y="2160043"/>
              <a:ext cx="834539" cy="909418"/>
            </a:xfrm>
            <a:custGeom>
              <a:avLst/>
              <a:gdLst>
                <a:gd name="connsiteX0" fmla="*/ 260819 w 783160"/>
                <a:gd name="connsiteY0" fmla="*/ 0 h 1870538"/>
                <a:gd name="connsiteX1" fmla="*/ 262045 w 783160"/>
                <a:gd name="connsiteY1" fmla="*/ 0 h 1870538"/>
                <a:gd name="connsiteX2" fmla="*/ 783160 w 783160"/>
                <a:gd name="connsiteY2" fmla="*/ 0 h 1870538"/>
                <a:gd name="connsiteX3" fmla="*/ 783160 w 783160"/>
                <a:gd name="connsiteY3" fmla="*/ 247 h 1870538"/>
                <a:gd name="connsiteX4" fmla="*/ 719242 w 783160"/>
                <a:gd name="connsiteY4" fmla="*/ 13151 h 1870538"/>
                <a:gd name="connsiteX5" fmla="*/ 617024 w 783160"/>
                <a:gd name="connsiteY5" fmla="*/ 167362 h 1870538"/>
                <a:gd name="connsiteX6" fmla="*/ 617024 w 783160"/>
                <a:gd name="connsiteY6" fmla="*/ 167363 h 1870538"/>
                <a:gd name="connsiteX7" fmla="*/ 617024 w 783160"/>
                <a:gd name="connsiteY7" fmla="*/ 237470 h 1870538"/>
                <a:gd name="connsiteX8" fmla="*/ 618869 w 783160"/>
                <a:gd name="connsiteY8" fmla="*/ 237470 h 1870538"/>
                <a:gd name="connsiteX9" fmla="*/ 618869 w 783160"/>
                <a:gd name="connsiteY9" fmla="*/ 1156547 h 1870538"/>
                <a:gd name="connsiteX10" fmla="*/ 716786 w 783160"/>
                <a:gd name="connsiteY10" fmla="*/ 1156547 h 1870538"/>
                <a:gd name="connsiteX11" fmla="*/ 358393 w 783160"/>
                <a:gd name="connsiteY11" fmla="*/ 1870538 h 1870538"/>
                <a:gd name="connsiteX12" fmla="*/ 0 w 783160"/>
                <a:gd name="connsiteY12" fmla="*/ 1156547 h 1870538"/>
                <a:gd name="connsiteX13" fmla="*/ 97917 w 783160"/>
                <a:gd name="connsiteY13" fmla="*/ 1156547 h 1870538"/>
                <a:gd name="connsiteX14" fmla="*/ 97917 w 783160"/>
                <a:gd name="connsiteY14" fmla="*/ 237470 h 1870538"/>
                <a:gd name="connsiteX15" fmla="*/ 94683 w 783160"/>
                <a:gd name="connsiteY15" fmla="*/ 237470 h 1870538"/>
                <a:gd name="connsiteX16" fmla="*/ 94683 w 783160"/>
                <a:gd name="connsiteY16" fmla="*/ 167368 h 1870538"/>
                <a:gd name="connsiteX17" fmla="*/ 94682 w 783160"/>
                <a:gd name="connsiteY17" fmla="*/ 167363 h 1870538"/>
                <a:gd name="connsiteX18" fmla="*/ 196900 w 783160"/>
                <a:gd name="connsiteY18" fmla="*/ 13152 h 1870538"/>
                <a:gd name="connsiteX19" fmla="*/ 260819 w 783160"/>
                <a:gd name="connsiteY19" fmla="*/ 247 h 1870538"/>
                <a:gd name="connsiteX0" fmla="*/ 260819 w 783160"/>
                <a:gd name="connsiteY0" fmla="*/ 0 h 1870538"/>
                <a:gd name="connsiteX1" fmla="*/ 262045 w 783160"/>
                <a:gd name="connsiteY1" fmla="*/ 0 h 1870538"/>
                <a:gd name="connsiteX2" fmla="*/ 783160 w 783160"/>
                <a:gd name="connsiteY2" fmla="*/ 0 h 1870538"/>
                <a:gd name="connsiteX3" fmla="*/ 783160 w 783160"/>
                <a:gd name="connsiteY3" fmla="*/ 247 h 1870538"/>
                <a:gd name="connsiteX4" fmla="*/ 719242 w 783160"/>
                <a:gd name="connsiteY4" fmla="*/ 13151 h 1870538"/>
                <a:gd name="connsiteX5" fmla="*/ 617024 w 783160"/>
                <a:gd name="connsiteY5" fmla="*/ 167362 h 1870538"/>
                <a:gd name="connsiteX6" fmla="*/ 617024 w 783160"/>
                <a:gd name="connsiteY6" fmla="*/ 167363 h 1870538"/>
                <a:gd name="connsiteX7" fmla="*/ 617024 w 783160"/>
                <a:gd name="connsiteY7" fmla="*/ 237470 h 1870538"/>
                <a:gd name="connsiteX8" fmla="*/ 618869 w 783160"/>
                <a:gd name="connsiteY8" fmla="*/ 237470 h 1870538"/>
                <a:gd name="connsiteX9" fmla="*/ 618869 w 783160"/>
                <a:gd name="connsiteY9" fmla="*/ 1156547 h 1870538"/>
                <a:gd name="connsiteX10" fmla="*/ 716786 w 783160"/>
                <a:gd name="connsiteY10" fmla="*/ 1156547 h 1870538"/>
                <a:gd name="connsiteX11" fmla="*/ 358393 w 783160"/>
                <a:gd name="connsiteY11" fmla="*/ 1870538 h 1870538"/>
                <a:gd name="connsiteX12" fmla="*/ 0 w 783160"/>
                <a:gd name="connsiteY12" fmla="*/ 1156547 h 1870538"/>
                <a:gd name="connsiteX13" fmla="*/ 97917 w 783160"/>
                <a:gd name="connsiteY13" fmla="*/ 1156547 h 1870538"/>
                <a:gd name="connsiteX14" fmla="*/ 94683 w 783160"/>
                <a:gd name="connsiteY14" fmla="*/ 237470 h 1870538"/>
                <a:gd name="connsiteX15" fmla="*/ 94683 w 783160"/>
                <a:gd name="connsiteY15" fmla="*/ 167368 h 1870538"/>
                <a:gd name="connsiteX16" fmla="*/ 94682 w 783160"/>
                <a:gd name="connsiteY16" fmla="*/ 167363 h 1870538"/>
                <a:gd name="connsiteX17" fmla="*/ 196900 w 783160"/>
                <a:gd name="connsiteY17" fmla="*/ 13152 h 1870538"/>
                <a:gd name="connsiteX18" fmla="*/ 260819 w 783160"/>
                <a:gd name="connsiteY18" fmla="*/ 247 h 1870538"/>
                <a:gd name="connsiteX19" fmla="*/ 260819 w 783160"/>
                <a:gd name="connsiteY19" fmla="*/ 0 h 1870538"/>
                <a:gd name="connsiteX0" fmla="*/ 260819 w 783160"/>
                <a:gd name="connsiteY0" fmla="*/ 0 h 1870538"/>
                <a:gd name="connsiteX1" fmla="*/ 262045 w 783160"/>
                <a:gd name="connsiteY1" fmla="*/ 0 h 1870538"/>
                <a:gd name="connsiteX2" fmla="*/ 783160 w 783160"/>
                <a:gd name="connsiteY2" fmla="*/ 0 h 1870538"/>
                <a:gd name="connsiteX3" fmla="*/ 783160 w 783160"/>
                <a:gd name="connsiteY3" fmla="*/ 247 h 1870538"/>
                <a:gd name="connsiteX4" fmla="*/ 719242 w 783160"/>
                <a:gd name="connsiteY4" fmla="*/ 13151 h 1870538"/>
                <a:gd name="connsiteX5" fmla="*/ 617024 w 783160"/>
                <a:gd name="connsiteY5" fmla="*/ 167362 h 1870538"/>
                <a:gd name="connsiteX6" fmla="*/ 617024 w 783160"/>
                <a:gd name="connsiteY6" fmla="*/ 167363 h 1870538"/>
                <a:gd name="connsiteX7" fmla="*/ 617024 w 783160"/>
                <a:gd name="connsiteY7" fmla="*/ 237470 h 1870538"/>
                <a:gd name="connsiteX8" fmla="*/ 618869 w 783160"/>
                <a:gd name="connsiteY8" fmla="*/ 1156547 h 1870538"/>
                <a:gd name="connsiteX9" fmla="*/ 716786 w 783160"/>
                <a:gd name="connsiteY9" fmla="*/ 1156547 h 1870538"/>
                <a:gd name="connsiteX10" fmla="*/ 358393 w 783160"/>
                <a:gd name="connsiteY10" fmla="*/ 1870538 h 1870538"/>
                <a:gd name="connsiteX11" fmla="*/ 0 w 783160"/>
                <a:gd name="connsiteY11" fmla="*/ 1156547 h 1870538"/>
                <a:gd name="connsiteX12" fmla="*/ 97917 w 783160"/>
                <a:gd name="connsiteY12" fmla="*/ 1156547 h 1870538"/>
                <a:gd name="connsiteX13" fmla="*/ 94683 w 783160"/>
                <a:gd name="connsiteY13" fmla="*/ 237470 h 1870538"/>
                <a:gd name="connsiteX14" fmla="*/ 94683 w 783160"/>
                <a:gd name="connsiteY14" fmla="*/ 167368 h 1870538"/>
                <a:gd name="connsiteX15" fmla="*/ 94682 w 783160"/>
                <a:gd name="connsiteY15" fmla="*/ 167363 h 1870538"/>
                <a:gd name="connsiteX16" fmla="*/ 196900 w 783160"/>
                <a:gd name="connsiteY16" fmla="*/ 13152 h 1870538"/>
                <a:gd name="connsiteX17" fmla="*/ 260819 w 783160"/>
                <a:gd name="connsiteY17" fmla="*/ 247 h 1870538"/>
                <a:gd name="connsiteX18" fmla="*/ 260819 w 783160"/>
                <a:gd name="connsiteY18" fmla="*/ 0 h 1870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783160" h="1870538">
                  <a:moveTo>
                    <a:pt x="260819" y="0"/>
                  </a:moveTo>
                  <a:lnTo>
                    <a:pt x="262045" y="0"/>
                  </a:lnTo>
                  <a:lnTo>
                    <a:pt x="783160" y="0"/>
                  </a:lnTo>
                  <a:lnTo>
                    <a:pt x="783160" y="247"/>
                  </a:lnTo>
                  <a:lnTo>
                    <a:pt x="719242" y="13151"/>
                  </a:lnTo>
                  <a:cubicBezTo>
                    <a:pt x="659173" y="38558"/>
                    <a:pt x="617024" y="98038"/>
                    <a:pt x="617024" y="167362"/>
                  </a:cubicBezTo>
                  <a:lnTo>
                    <a:pt x="617024" y="167363"/>
                  </a:lnTo>
                  <a:lnTo>
                    <a:pt x="617024" y="237470"/>
                  </a:lnTo>
                  <a:lnTo>
                    <a:pt x="618869" y="1156547"/>
                  </a:lnTo>
                  <a:lnTo>
                    <a:pt x="716786" y="1156547"/>
                  </a:lnTo>
                  <a:lnTo>
                    <a:pt x="358393" y="1870538"/>
                  </a:lnTo>
                  <a:lnTo>
                    <a:pt x="0" y="1156547"/>
                  </a:lnTo>
                  <a:lnTo>
                    <a:pt x="97917" y="1156547"/>
                  </a:lnTo>
                  <a:lnTo>
                    <a:pt x="94683" y="237470"/>
                  </a:lnTo>
                  <a:lnTo>
                    <a:pt x="94683" y="167368"/>
                  </a:lnTo>
                  <a:cubicBezTo>
                    <a:pt x="94683" y="167366"/>
                    <a:pt x="94682" y="167365"/>
                    <a:pt x="94682" y="167363"/>
                  </a:cubicBezTo>
                  <a:cubicBezTo>
                    <a:pt x="94682" y="98039"/>
                    <a:pt x="136831" y="38559"/>
                    <a:pt x="196900" y="13152"/>
                  </a:cubicBezTo>
                  <a:lnTo>
                    <a:pt x="260819" y="247"/>
                  </a:lnTo>
                  <a:lnTo>
                    <a:pt x="260819" y="0"/>
                  </a:lnTo>
                  <a:close/>
                </a:path>
              </a:pathLst>
            </a:custGeom>
            <a:gradFill flip="none" rotWithShape="0">
              <a:gsLst>
                <a:gs pos="5000">
                  <a:schemeClr val="accent1"/>
                </a:gs>
                <a:gs pos="100000">
                  <a:schemeClr val="accent1">
                    <a:lumMod val="75000"/>
                  </a:schemeClr>
                </a:gs>
              </a:gsLst>
              <a:lin ang="2700000" scaled="1"/>
              <a:tileRect/>
            </a:gradFill>
            <a:ln>
              <a:noFill/>
            </a:ln>
            <a:effectLst>
              <a:outerShdw blurRad="254000" dist="152400" dir="5400000" sx="102000" sy="1020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91440" tIns="45720" rIns="91440" bIns="45720" numCol="1" spcCol="0" rtlCol="0" fromWordArt="0" anchor="ctr" anchorCtr="0" forceAA="0" compatLnSpc="1">
              <a:prstTxWarp prst="textNoShape">
                <a:avLst/>
              </a:prstTxWarp>
              <a:noAutofit/>
            </a:bodyPr>
            <a:lstStyle/>
            <a:p>
              <a:pPr algn="ctr" defTabSz="457200"/>
              <a:r>
                <a:rPr lang="en-US" altLang="zh-CN" dirty="0"/>
                <a:t>02</a:t>
              </a:r>
              <a:endParaRPr lang="zh-CN" altLang="en-US" dirty="0"/>
            </a:p>
          </p:txBody>
        </p:sp>
      </p:grpSp>
      <p:grpSp>
        <p:nvGrpSpPr>
          <p:cNvPr id="40" name="组合 39">
            <a:extLst>
              <a:ext uri="{FF2B5EF4-FFF2-40B4-BE49-F238E27FC236}">
                <a16:creationId xmlns:a16="http://schemas.microsoft.com/office/drawing/2014/main" id="{03622C26-D359-47EE-A7E6-7BA3D2A7EAE1}"/>
              </a:ext>
            </a:extLst>
          </p:cNvPr>
          <p:cNvGrpSpPr/>
          <p:nvPr/>
        </p:nvGrpSpPr>
        <p:grpSpPr>
          <a:xfrm>
            <a:off x="8295710" y="2160043"/>
            <a:ext cx="2824340" cy="3109750"/>
            <a:chOff x="995568" y="2160043"/>
            <a:chExt cx="2824340" cy="3109750"/>
          </a:xfrm>
        </p:grpSpPr>
        <p:sp>
          <p:nvSpPr>
            <p:cNvPr id="41" name="矩形: 圆角 40">
              <a:extLst>
                <a:ext uri="{FF2B5EF4-FFF2-40B4-BE49-F238E27FC236}">
                  <a16:creationId xmlns:a16="http://schemas.microsoft.com/office/drawing/2014/main" id="{3571B3C3-5C4E-4572-9A00-6D641DF86B2D}"/>
                </a:ext>
              </a:extLst>
            </p:cNvPr>
            <p:cNvSpPr/>
            <p:nvPr/>
          </p:nvSpPr>
          <p:spPr>
            <a:xfrm>
              <a:off x="995568" y="2164972"/>
              <a:ext cx="2824340" cy="3104821"/>
            </a:xfrm>
            <a:prstGeom prst="roundRect">
              <a:avLst>
                <a:gd name="adj" fmla="val 8509"/>
              </a:avLst>
            </a:prstGeom>
            <a:solidFill>
              <a:schemeClr val="bg1"/>
            </a:solidFill>
            <a:ln>
              <a:solidFill>
                <a:schemeClr val="accent1"/>
              </a:solidFill>
            </a:ln>
            <a:effectLst>
              <a:outerShdw blurRad="139700" algn="ctr" rotWithShape="0">
                <a:schemeClr val="accent1">
                  <a:lumMod val="50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42" name="文本框 41">
              <a:extLst>
                <a:ext uri="{FF2B5EF4-FFF2-40B4-BE49-F238E27FC236}">
                  <a16:creationId xmlns:a16="http://schemas.microsoft.com/office/drawing/2014/main" id="{DE46A6F6-19F4-4175-BF95-49FEC4CFA400}"/>
                </a:ext>
              </a:extLst>
            </p:cNvPr>
            <p:cNvSpPr txBox="1"/>
            <p:nvPr/>
          </p:nvSpPr>
          <p:spPr>
            <a:xfrm>
              <a:off x="2253776" y="2566213"/>
              <a:ext cx="1282402" cy="307777"/>
            </a:xfrm>
            <a:prstGeom prst="rect">
              <a:avLst/>
            </a:prstGeom>
            <a:noFill/>
          </p:spPr>
          <p:txBody>
            <a:bodyPr wrap="none" lIns="0" tIns="0" rIns="0" bIns="0" rtlCol="0" anchor="t">
              <a:spAutoFit/>
            </a:bodyPr>
            <a:lstStyle/>
            <a:p>
              <a:r>
                <a:rPr lang="zh-CN" altLang="en-US" sz="2000" dirty="0">
                  <a:solidFill>
                    <a:schemeClr val="accent1"/>
                  </a:solidFill>
                  <a:latin typeface="+mj-ea"/>
                  <a:ea typeface="+mj-ea"/>
                </a:rPr>
                <a:t>关键词标题</a:t>
              </a:r>
            </a:p>
          </p:txBody>
        </p:sp>
        <p:sp>
          <p:nvSpPr>
            <p:cNvPr id="43" name="文本框 42">
              <a:extLst>
                <a:ext uri="{FF2B5EF4-FFF2-40B4-BE49-F238E27FC236}">
                  <a16:creationId xmlns:a16="http://schemas.microsoft.com/office/drawing/2014/main" id="{B32F748D-01BF-4E39-8CEB-4B3F81D91ABB}"/>
                </a:ext>
              </a:extLst>
            </p:cNvPr>
            <p:cNvSpPr txBox="1"/>
            <p:nvPr/>
          </p:nvSpPr>
          <p:spPr>
            <a:xfrm>
              <a:off x="1312145" y="3247015"/>
              <a:ext cx="2224033" cy="704873"/>
            </a:xfrm>
            <a:prstGeom prst="rect">
              <a:avLst/>
            </a:prstGeom>
            <a:noFill/>
          </p:spPr>
          <p:txBody>
            <a:bodyPr wrap="square" lIns="0" tIns="0" rIns="0" bIns="0" rtlCol="0" anchor="t">
              <a:spAutoFit/>
            </a:bodyPr>
            <a:lstStyle/>
            <a:p>
              <a:pPr>
                <a:lnSpc>
                  <a:spcPct val="130000"/>
                </a:lnSpc>
              </a:pPr>
              <a:r>
                <a:rPr lang="en-US" altLang="zh-CN" sz="1200" b="0" dirty="0">
                  <a:solidFill>
                    <a:schemeClr val="tx1">
                      <a:lumMod val="75000"/>
                      <a:lumOff val="25000"/>
                    </a:schemeClr>
                  </a:solidFill>
                  <a:effectLst/>
                  <a:latin typeface="+mn-ea"/>
                </a:rPr>
                <a:t>Lorem ipsum dolor sit </a:t>
              </a:r>
              <a:r>
                <a:rPr lang="en-US" altLang="zh-CN" sz="1200" b="0" dirty="0" err="1">
                  <a:solidFill>
                    <a:schemeClr val="tx1">
                      <a:lumMod val="75000"/>
                      <a:lumOff val="25000"/>
                    </a:schemeClr>
                  </a:solidFill>
                  <a:effectLst/>
                  <a:latin typeface="+mn-ea"/>
                </a:rPr>
                <a:t>amet</a:t>
              </a:r>
              <a:r>
                <a:rPr lang="en-US" altLang="zh-CN" sz="1200" b="0" dirty="0">
                  <a:solidFill>
                    <a:schemeClr val="tx1">
                      <a:lumMod val="75000"/>
                      <a:lumOff val="25000"/>
                    </a:schemeClr>
                  </a:solidFill>
                  <a:effectLst/>
                  <a:latin typeface="+mn-ea"/>
                </a:rPr>
                <a:t> consectetur </a:t>
              </a:r>
              <a:r>
                <a:rPr lang="en-US" altLang="zh-CN" sz="1200" b="0" dirty="0" err="1">
                  <a:solidFill>
                    <a:schemeClr val="tx1">
                      <a:lumMod val="75000"/>
                      <a:lumOff val="25000"/>
                    </a:schemeClr>
                  </a:solidFill>
                  <a:effectLst/>
                  <a:latin typeface="+mn-ea"/>
                </a:rPr>
                <a:t>adipisicing</a:t>
              </a:r>
              <a:r>
                <a:rPr lang="en-US" altLang="zh-CN" sz="1200" b="0" dirty="0">
                  <a:solidFill>
                    <a:schemeClr val="tx1">
                      <a:lumMod val="75000"/>
                      <a:lumOff val="25000"/>
                    </a:schemeClr>
                  </a:solidFill>
                  <a:effectLst/>
                  <a:latin typeface="+mn-ea"/>
                </a:rPr>
                <a:t> </a:t>
              </a:r>
              <a:r>
                <a:rPr lang="en-US" altLang="zh-CN" sz="1200" b="0" dirty="0" err="1">
                  <a:solidFill>
                    <a:schemeClr val="tx1">
                      <a:lumMod val="75000"/>
                      <a:lumOff val="25000"/>
                    </a:schemeClr>
                  </a:solidFill>
                  <a:effectLst/>
                  <a:latin typeface="+mn-ea"/>
                </a:rPr>
                <a:t>elit</a:t>
              </a:r>
              <a:r>
                <a:rPr lang="en-US" altLang="zh-CN" sz="1200" b="0" dirty="0">
                  <a:solidFill>
                    <a:schemeClr val="tx1">
                      <a:lumMod val="75000"/>
                      <a:lumOff val="25000"/>
                    </a:schemeClr>
                  </a:solidFill>
                  <a:effectLst/>
                  <a:latin typeface="+mn-ea"/>
                </a:rPr>
                <a:t> sed do eiusmod tempor</a:t>
              </a:r>
              <a:endParaRPr lang="zh-CN" altLang="en-US" sz="1200" b="0" dirty="0">
                <a:solidFill>
                  <a:schemeClr val="tx1">
                    <a:lumMod val="75000"/>
                    <a:lumOff val="25000"/>
                  </a:schemeClr>
                </a:solidFill>
                <a:effectLst/>
                <a:latin typeface="+mn-ea"/>
              </a:endParaRPr>
            </a:p>
          </p:txBody>
        </p:sp>
        <p:sp>
          <p:nvSpPr>
            <p:cNvPr id="44" name="文本框 43">
              <a:extLst>
                <a:ext uri="{FF2B5EF4-FFF2-40B4-BE49-F238E27FC236}">
                  <a16:creationId xmlns:a16="http://schemas.microsoft.com/office/drawing/2014/main" id="{8E49376B-054D-4E07-9B8F-B04BF969BEFD}"/>
                </a:ext>
              </a:extLst>
            </p:cNvPr>
            <p:cNvSpPr txBox="1"/>
            <p:nvPr/>
          </p:nvSpPr>
          <p:spPr>
            <a:xfrm>
              <a:off x="1312145" y="4191895"/>
              <a:ext cx="2224033" cy="704873"/>
            </a:xfrm>
            <a:prstGeom prst="rect">
              <a:avLst/>
            </a:prstGeom>
            <a:noFill/>
          </p:spPr>
          <p:txBody>
            <a:bodyPr wrap="square" lIns="0" tIns="0" rIns="0" bIns="0" rtlCol="0" anchor="t">
              <a:spAutoFit/>
            </a:bodyPr>
            <a:lstStyle/>
            <a:p>
              <a:pPr>
                <a:lnSpc>
                  <a:spcPct val="130000"/>
                </a:lnSpc>
              </a:pPr>
              <a:r>
                <a:rPr lang="en-US" altLang="zh-CN" sz="1200" b="0" dirty="0">
                  <a:solidFill>
                    <a:schemeClr val="tx1">
                      <a:lumMod val="75000"/>
                      <a:lumOff val="25000"/>
                    </a:schemeClr>
                  </a:solidFill>
                  <a:effectLst/>
                  <a:latin typeface="+mn-ea"/>
                </a:rPr>
                <a:t>Lorem ipsum dolor sit </a:t>
              </a:r>
              <a:r>
                <a:rPr lang="en-US" altLang="zh-CN" sz="1200" b="0" dirty="0" err="1">
                  <a:solidFill>
                    <a:schemeClr val="tx1">
                      <a:lumMod val="75000"/>
                      <a:lumOff val="25000"/>
                    </a:schemeClr>
                  </a:solidFill>
                  <a:effectLst/>
                  <a:latin typeface="+mn-ea"/>
                </a:rPr>
                <a:t>amet</a:t>
              </a:r>
              <a:r>
                <a:rPr lang="en-US" altLang="zh-CN" sz="1200" b="0" dirty="0">
                  <a:solidFill>
                    <a:schemeClr val="tx1">
                      <a:lumMod val="75000"/>
                      <a:lumOff val="25000"/>
                    </a:schemeClr>
                  </a:solidFill>
                  <a:effectLst/>
                  <a:latin typeface="+mn-ea"/>
                </a:rPr>
                <a:t> consectetur </a:t>
              </a:r>
              <a:r>
                <a:rPr lang="en-US" altLang="zh-CN" sz="1200" b="0" dirty="0" err="1">
                  <a:solidFill>
                    <a:schemeClr val="tx1">
                      <a:lumMod val="75000"/>
                      <a:lumOff val="25000"/>
                    </a:schemeClr>
                  </a:solidFill>
                  <a:effectLst/>
                  <a:latin typeface="+mn-ea"/>
                </a:rPr>
                <a:t>adipisicing</a:t>
              </a:r>
              <a:r>
                <a:rPr lang="en-US" altLang="zh-CN" sz="1200" b="0" dirty="0">
                  <a:solidFill>
                    <a:schemeClr val="tx1">
                      <a:lumMod val="75000"/>
                      <a:lumOff val="25000"/>
                    </a:schemeClr>
                  </a:solidFill>
                  <a:effectLst/>
                  <a:latin typeface="+mn-ea"/>
                </a:rPr>
                <a:t> </a:t>
              </a:r>
              <a:r>
                <a:rPr lang="en-US" altLang="zh-CN" sz="1200" b="0" dirty="0" err="1">
                  <a:solidFill>
                    <a:schemeClr val="tx1">
                      <a:lumMod val="75000"/>
                      <a:lumOff val="25000"/>
                    </a:schemeClr>
                  </a:solidFill>
                  <a:effectLst/>
                  <a:latin typeface="+mn-ea"/>
                </a:rPr>
                <a:t>elit</a:t>
              </a:r>
              <a:r>
                <a:rPr lang="en-US" altLang="zh-CN" sz="1200" b="0" dirty="0">
                  <a:solidFill>
                    <a:schemeClr val="tx1">
                      <a:lumMod val="75000"/>
                      <a:lumOff val="25000"/>
                    </a:schemeClr>
                  </a:solidFill>
                  <a:effectLst/>
                  <a:latin typeface="+mn-ea"/>
                </a:rPr>
                <a:t> sed do eiusmod tempor</a:t>
              </a:r>
              <a:endParaRPr lang="zh-CN" altLang="en-US" sz="1200" b="0" dirty="0">
                <a:solidFill>
                  <a:schemeClr val="tx1">
                    <a:lumMod val="75000"/>
                    <a:lumOff val="25000"/>
                  </a:schemeClr>
                </a:solidFill>
                <a:effectLst/>
                <a:latin typeface="+mn-ea"/>
              </a:endParaRPr>
            </a:p>
          </p:txBody>
        </p:sp>
        <p:sp>
          <p:nvSpPr>
            <p:cNvPr id="45" name="任意多边形: 形状 44">
              <a:extLst>
                <a:ext uri="{FF2B5EF4-FFF2-40B4-BE49-F238E27FC236}">
                  <a16:creationId xmlns:a16="http://schemas.microsoft.com/office/drawing/2014/main" id="{54DD8221-19CB-42D6-83C3-E675C9B55B9A}"/>
                </a:ext>
              </a:extLst>
            </p:cNvPr>
            <p:cNvSpPr/>
            <p:nvPr/>
          </p:nvSpPr>
          <p:spPr>
            <a:xfrm flipH="1">
              <a:off x="1267885" y="2160043"/>
              <a:ext cx="834539" cy="909418"/>
            </a:xfrm>
            <a:custGeom>
              <a:avLst/>
              <a:gdLst>
                <a:gd name="connsiteX0" fmla="*/ 260819 w 783160"/>
                <a:gd name="connsiteY0" fmla="*/ 0 h 1870538"/>
                <a:gd name="connsiteX1" fmla="*/ 262045 w 783160"/>
                <a:gd name="connsiteY1" fmla="*/ 0 h 1870538"/>
                <a:gd name="connsiteX2" fmla="*/ 783160 w 783160"/>
                <a:gd name="connsiteY2" fmla="*/ 0 h 1870538"/>
                <a:gd name="connsiteX3" fmla="*/ 783160 w 783160"/>
                <a:gd name="connsiteY3" fmla="*/ 247 h 1870538"/>
                <a:gd name="connsiteX4" fmla="*/ 719242 w 783160"/>
                <a:gd name="connsiteY4" fmla="*/ 13151 h 1870538"/>
                <a:gd name="connsiteX5" fmla="*/ 617024 w 783160"/>
                <a:gd name="connsiteY5" fmla="*/ 167362 h 1870538"/>
                <a:gd name="connsiteX6" fmla="*/ 617024 w 783160"/>
                <a:gd name="connsiteY6" fmla="*/ 167363 h 1870538"/>
                <a:gd name="connsiteX7" fmla="*/ 617024 w 783160"/>
                <a:gd name="connsiteY7" fmla="*/ 237470 h 1870538"/>
                <a:gd name="connsiteX8" fmla="*/ 618869 w 783160"/>
                <a:gd name="connsiteY8" fmla="*/ 237470 h 1870538"/>
                <a:gd name="connsiteX9" fmla="*/ 618869 w 783160"/>
                <a:gd name="connsiteY9" fmla="*/ 1156547 h 1870538"/>
                <a:gd name="connsiteX10" fmla="*/ 716786 w 783160"/>
                <a:gd name="connsiteY10" fmla="*/ 1156547 h 1870538"/>
                <a:gd name="connsiteX11" fmla="*/ 358393 w 783160"/>
                <a:gd name="connsiteY11" fmla="*/ 1870538 h 1870538"/>
                <a:gd name="connsiteX12" fmla="*/ 0 w 783160"/>
                <a:gd name="connsiteY12" fmla="*/ 1156547 h 1870538"/>
                <a:gd name="connsiteX13" fmla="*/ 97917 w 783160"/>
                <a:gd name="connsiteY13" fmla="*/ 1156547 h 1870538"/>
                <a:gd name="connsiteX14" fmla="*/ 97917 w 783160"/>
                <a:gd name="connsiteY14" fmla="*/ 237470 h 1870538"/>
                <a:gd name="connsiteX15" fmla="*/ 94683 w 783160"/>
                <a:gd name="connsiteY15" fmla="*/ 237470 h 1870538"/>
                <a:gd name="connsiteX16" fmla="*/ 94683 w 783160"/>
                <a:gd name="connsiteY16" fmla="*/ 167368 h 1870538"/>
                <a:gd name="connsiteX17" fmla="*/ 94682 w 783160"/>
                <a:gd name="connsiteY17" fmla="*/ 167363 h 1870538"/>
                <a:gd name="connsiteX18" fmla="*/ 196900 w 783160"/>
                <a:gd name="connsiteY18" fmla="*/ 13152 h 1870538"/>
                <a:gd name="connsiteX19" fmla="*/ 260819 w 783160"/>
                <a:gd name="connsiteY19" fmla="*/ 247 h 1870538"/>
                <a:gd name="connsiteX0" fmla="*/ 260819 w 783160"/>
                <a:gd name="connsiteY0" fmla="*/ 0 h 1870538"/>
                <a:gd name="connsiteX1" fmla="*/ 262045 w 783160"/>
                <a:gd name="connsiteY1" fmla="*/ 0 h 1870538"/>
                <a:gd name="connsiteX2" fmla="*/ 783160 w 783160"/>
                <a:gd name="connsiteY2" fmla="*/ 0 h 1870538"/>
                <a:gd name="connsiteX3" fmla="*/ 783160 w 783160"/>
                <a:gd name="connsiteY3" fmla="*/ 247 h 1870538"/>
                <a:gd name="connsiteX4" fmla="*/ 719242 w 783160"/>
                <a:gd name="connsiteY4" fmla="*/ 13151 h 1870538"/>
                <a:gd name="connsiteX5" fmla="*/ 617024 w 783160"/>
                <a:gd name="connsiteY5" fmla="*/ 167362 h 1870538"/>
                <a:gd name="connsiteX6" fmla="*/ 617024 w 783160"/>
                <a:gd name="connsiteY6" fmla="*/ 167363 h 1870538"/>
                <a:gd name="connsiteX7" fmla="*/ 617024 w 783160"/>
                <a:gd name="connsiteY7" fmla="*/ 237470 h 1870538"/>
                <a:gd name="connsiteX8" fmla="*/ 618869 w 783160"/>
                <a:gd name="connsiteY8" fmla="*/ 237470 h 1870538"/>
                <a:gd name="connsiteX9" fmla="*/ 618869 w 783160"/>
                <a:gd name="connsiteY9" fmla="*/ 1156547 h 1870538"/>
                <a:gd name="connsiteX10" fmla="*/ 716786 w 783160"/>
                <a:gd name="connsiteY10" fmla="*/ 1156547 h 1870538"/>
                <a:gd name="connsiteX11" fmla="*/ 358393 w 783160"/>
                <a:gd name="connsiteY11" fmla="*/ 1870538 h 1870538"/>
                <a:gd name="connsiteX12" fmla="*/ 0 w 783160"/>
                <a:gd name="connsiteY12" fmla="*/ 1156547 h 1870538"/>
                <a:gd name="connsiteX13" fmla="*/ 97917 w 783160"/>
                <a:gd name="connsiteY13" fmla="*/ 1156547 h 1870538"/>
                <a:gd name="connsiteX14" fmla="*/ 94683 w 783160"/>
                <a:gd name="connsiteY14" fmla="*/ 237470 h 1870538"/>
                <a:gd name="connsiteX15" fmla="*/ 94683 w 783160"/>
                <a:gd name="connsiteY15" fmla="*/ 167368 h 1870538"/>
                <a:gd name="connsiteX16" fmla="*/ 94682 w 783160"/>
                <a:gd name="connsiteY16" fmla="*/ 167363 h 1870538"/>
                <a:gd name="connsiteX17" fmla="*/ 196900 w 783160"/>
                <a:gd name="connsiteY17" fmla="*/ 13152 h 1870538"/>
                <a:gd name="connsiteX18" fmla="*/ 260819 w 783160"/>
                <a:gd name="connsiteY18" fmla="*/ 247 h 1870538"/>
                <a:gd name="connsiteX19" fmla="*/ 260819 w 783160"/>
                <a:gd name="connsiteY19" fmla="*/ 0 h 1870538"/>
                <a:gd name="connsiteX0" fmla="*/ 260819 w 783160"/>
                <a:gd name="connsiteY0" fmla="*/ 0 h 1870538"/>
                <a:gd name="connsiteX1" fmla="*/ 262045 w 783160"/>
                <a:gd name="connsiteY1" fmla="*/ 0 h 1870538"/>
                <a:gd name="connsiteX2" fmla="*/ 783160 w 783160"/>
                <a:gd name="connsiteY2" fmla="*/ 0 h 1870538"/>
                <a:gd name="connsiteX3" fmla="*/ 783160 w 783160"/>
                <a:gd name="connsiteY3" fmla="*/ 247 h 1870538"/>
                <a:gd name="connsiteX4" fmla="*/ 719242 w 783160"/>
                <a:gd name="connsiteY4" fmla="*/ 13151 h 1870538"/>
                <a:gd name="connsiteX5" fmla="*/ 617024 w 783160"/>
                <a:gd name="connsiteY5" fmla="*/ 167362 h 1870538"/>
                <a:gd name="connsiteX6" fmla="*/ 617024 w 783160"/>
                <a:gd name="connsiteY6" fmla="*/ 167363 h 1870538"/>
                <a:gd name="connsiteX7" fmla="*/ 617024 w 783160"/>
                <a:gd name="connsiteY7" fmla="*/ 237470 h 1870538"/>
                <a:gd name="connsiteX8" fmla="*/ 618869 w 783160"/>
                <a:gd name="connsiteY8" fmla="*/ 1156547 h 1870538"/>
                <a:gd name="connsiteX9" fmla="*/ 716786 w 783160"/>
                <a:gd name="connsiteY9" fmla="*/ 1156547 h 1870538"/>
                <a:gd name="connsiteX10" fmla="*/ 358393 w 783160"/>
                <a:gd name="connsiteY10" fmla="*/ 1870538 h 1870538"/>
                <a:gd name="connsiteX11" fmla="*/ 0 w 783160"/>
                <a:gd name="connsiteY11" fmla="*/ 1156547 h 1870538"/>
                <a:gd name="connsiteX12" fmla="*/ 97917 w 783160"/>
                <a:gd name="connsiteY12" fmla="*/ 1156547 h 1870538"/>
                <a:gd name="connsiteX13" fmla="*/ 94683 w 783160"/>
                <a:gd name="connsiteY13" fmla="*/ 237470 h 1870538"/>
                <a:gd name="connsiteX14" fmla="*/ 94683 w 783160"/>
                <a:gd name="connsiteY14" fmla="*/ 167368 h 1870538"/>
                <a:gd name="connsiteX15" fmla="*/ 94682 w 783160"/>
                <a:gd name="connsiteY15" fmla="*/ 167363 h 1870538"/>
                <a:gd name="connsiteX16" fmla="*/ 196900 w 783160"/>
                <a:gd name="connsiteY16" fmla="*/ 13152 h 1870538"/>
                <a:gd name="connsiteX17" fmla="*/ 260819 w 783160"/>
                <a:gd name="connsiteY17" fmla="*/ 247 h 1870538"/>
                <a:gd name="connsiteX18" fmla="*/ 260819 w 783160"/>
                <a:gd name="connsiteY18" fmla="*/ 0 h 1870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783160" h="1870538">
                  <a:moveTo>
                    <a:pt x="260819" y="0"/>
                  </a:moveTo>
                  <a:lnTo>
                    <a:pt x="262045" y="0"/>
                  </a:lnTo>
                  <a:lnTo>
                    <a:pt x="783160" y="0"/>
                  </a:lnTo>
                  <a:lnTo>
                    <a:pt x="783160" y="247"/>
                  </a:lnTo>
                  <a:lnTo>
                    <a:pt x="719242" y="13151"/>
                  </a:lnTo>
                  <a:cubicBezTo>
                    <a:pt x="659173" y="38558"/>
                    <a:pt x="617024" y="98038"/>
                    <a:pt x="617024" y="167362"/>
                  </a:cubicBezTo>
                  <a:lnTo>
                    <a:pt x="617024" y="167363"/>
                  </a:lnTo>
                  <a:lnTo>
                    <a:pt x="617024" y="237470"/>
                  </a:lnTo>
                  <a:lnTo>
                    <a:pt x="618869" y="1156547"/>
                  </a:lnTo>
                  <a:lnTo>
                    <a:pt x="716786" y="1156547"/>
                  </a:lnTo>
                  <a:lnTo>
                    <a:pt x="358393" y="1870538"/>
                  </a:lnTo>
                  <a:lnTo>
                    <a:pt x="0" y="1156547"/>
                  </a:lnTo>
                  <a:lnTo>
                    <a:pt x="97917" y="1156547"/>
                  </a:lnTo>
                  <a:lnTo>
                    <a:pt x="94683" y="237470"/>
                  </a:lnTo>
                  <a:lnTo>
                    <a:pt x="94683" y="167368"/>
                  </a:lnTo>
                  <a:cubicBezTo>
                    <a:pt x="94683" y="167366"/>
                    <a:pt x="94682" y="167365"/>
                    <a:pt x="94682" y="167363"/>
                  </a:cubicBezTo>
                  <a:cubicBezTo>
                    <a:pt x="94682" y="98039"/>
                    <a:pt x="136831" y="38559"/>
                    <a:pt x="196900" y="13152"/>
                  </a:cubicBezTo>
                  <a:lnTo>
                    <a:pt x="260819" y="247"/>
                  </a:lnTo>
                  <a:lnTo>
                    <a:pt x="260819" y="0"/>
                  </a:lnTo>
                  <a:close/>
                </a:path>
              </a:pathLst>
            </a:custGeom>
            <a:gradFill flip="none" rotWithShape="0">
              <a:gsLst>
                <a:gs pos="5000">
                  <a:schemeClr val="accent1"/>
                </a:gs>
                <a:gs pos="100000">
                  <a:schemeClr val="accent1">
                    <a:lumMod val="75000"/>
                  </a:schemeClr>
                </a:gs>
              </a:gsLst>
              <a:lin ang="2700000" scaled="1"/>
              <a:tileRect/>
            </a:gradFill>
            <a:ln>
              <a:noFill/>
            </a:ln>
            <a:effectLst>
              <a:outerShdw blurRad="254000" dist="152400" dir="5400000" sx="102000" sy="1020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91440" tIns="45720" rIns="91440" bIns="45720" numCol="1" spcCol="0" rtlCol="0" fromWordArt="0" anchor="ctr" anchorCtr="0" forceAA="0" compatLnSpc="1">
              <a:prstTxWarp prst="textNoShape">
                <a:avLst/>
              </a:prstTxWarp>
              <a:noAutofit/>
            </a:bodyPr>
            <a:lstStyle/>
            <a:p>
              <a:pPr algn="ctr" defTabSz="457200"/>
              <a:r>
                <a:rPr lang="en-US" altLang="zh-CN" dirty="0"/>
                <a:t>03</a:t>
              </a:r>
              <a:endParaRPr lang="zh-CN" altLang="en-US" dirty="0"/>
            </a:p>
          </p:txBody>
        </p:sp>
      </p:grpSp>
    </p:spTree>
    <p:extLst>
      <p:ext uri="{BB962C8B-B14F-4D97-AF65-F5344CB8AC3E}">
        <p14:creationId xmlns:p14="http://schemas.microsoft.com/office/powerpoint/2010/main" val="119121433"/>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a:extLst>
              <a:ext uri="{FF2B5EF4-FFF2-40B4-BE49-F238E27FC236}">
                <a16:creationId xmlns:a16="http://schemas.microsoft.com/office/drawing/2014/main" id="{F682F9CF-E3FB-4D92-9D66-55D5787E1B96}"/>
              </a:ext>
            </a:extLst>
          </p:cNvPr>
          <p:cNvSpPr/>
          <p:nvPr/>
        </p:nvSpPr>
        <p:spPr>
          <a:xfrm>
            <a:off x="0" y="1874520"/>
            <a:ext cx="12192000" cy="278892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p>
        </p:txBody>
      </p:sp>
      <p:sp>
        <p:nvSpPr>
          <p:cNvPr id="22" name="矩形 21">
            <a:extLst>
              <a:ext uri="{FF2B5EF4-FFF2-40B4-BE49-F238E27FC236}">
                <a16:creationId xmlns:a16="http://schemas.microsoft.com/office/drawing/2014/main" id="{4A3FA762-20AE-42CF-A7AF-7B0F63075DC8}"/>
              </a:ext>
            </a:extLst>
          </p:cNvPr>
          <p:cNvSpPr/>
          <p:nvPr/>
        </p:nvSpPr>
        <p:spPr>
          <a:xfrm>
            <a:off x="1419223" y="1676400"/>
            <a:ext cx="9353554" cy="3185160"/>
          </a:xfrm>
          <a:prstGeom prst="rect">
            <a:avLst/>
          </a:prstGeom>
          <a:solidFill>
            <a:schemeClr val="accent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p>
        </p:txBody>
      </p:sp>
      <p:sp>
        <p:nvSpPr>
          <p:cNvPr id="11" name="文本框 10">
            <a:extLst>
              <a:ext uri="{FF2B5EF4-FFF2-40B4-BE49-F238E27FC236}">
                <a16:creationId xmlns:a16="http://schemas.microsoft.com/office/drawing/2014/main" id="{E4393356-E9A7-46D9-B5F5-0D21EC991A29}"/>
              </a:ext>
            </a:extLst>
          </p:cNvPr>
          <p:cNvSpPr txBox="1"/>
          <p:nvPr/>
        </p:nvSpPr>
        <p:spPr>
          <a:xfrm>
            <a:off x="1941017" y="2813447"/>
            <a:ext cx="8309967" cy="1107996"/>
          </a:xfrm>
          <a:prstGeom prst="rect">
            <a:avLst/>
          </a:prstGeom>
          <a:noFill/>
        </p:spPr>
        <p:txBody>
          <a:bodyPr wrap="none" lIns="0" tIns="0" rIns="0" bIns="0" rtlCol="0" anchor="t">
            <a:spAutoFit/>
          </a:bodyPr>
          <a:lstStyle/>
          <a:p>
            <a:pPr algn="ctr"/>
            <a:r>
              <a:rPr lang="zh-CN" altLang="en-US" sz="7200" dirty="0">
                <a:solidFill>
                  <a:schemeClr val="bg1"/>
                </a:solidFill>
                <a:latin typeface="+mj-ea"/>
                <a:ea typeface="+mj-ea"/>
              </a:rPr>
              <a:t>输入你的封面大标题</a:t>
            </a:r>
          </a:p>
        </p:txBody>
      </p:sp>
      <p:sp>
        <p:nvSpPr>
          <p:cNvPr id="12" name="文本框 11">
            <a:extLst>
              <a:ext uri="{FF2B5EF4-FFF2-40B4-BE49-F238E27FC236}">
                <a16:creationId xmlns:a16="http://schemas.microsoft.com/office/drawing/2014/main" id="{08D1ED60-C0E7-408E-A5AA-59B489440FCB}"/>
              </a:ext>
            </a:extLst>
          </p:cNvPr>
          <p:cNvSpPr txBox="1"/>
          <p:nvPr/>
        </p:nvSpPr>
        <p:spPr>
          <a:xfrm>
            <a:off x="4095451" y="2275523"/>
            <a:ext cx="4001095" cy="369332"/>
          </a:xfrm>
          <a:prstGeom prst="rect">
            <a:avLst/>
          </a:prstGeom>
          <a:noFill/>
        </p:spPr>
        <p:txBody>
          <a:bodyPr wrap="none" lIns="0" tIns="0" rIns="0" bIns="0" rtlCol="0" anchor="t">
            <a:spAutoFit/>
          </a:bodyPr>
          <a:lstStyle/>
          <a:p>
            <a:pPr algn="ctr"/>
            <a:r>
              <a:rPr lang="zh-CN" altLang="en-US" sz="2400" dirty="0">
                <a:solidFill>
                  <a:schemeClr val="bg1"/>
                </a:solidFill>
                <a:latin typeface="+mn-ea"/>
              </a:rPr>
              <a:t>输入你的副标题或大标题英文</a:t>
            </a:r>
          </a:p>
        </p:txBody>
      </p:sp>
      <p:cxnSp>
        <p:nvCxnSpPr>
          <p:cNvPr id="14" name="直接连接符 13">
            <a:extLst>
              <a:ext uri="{FF2B5EF4-FFF2-40B4-BE49-F238E27FC236}">
                <a16:creationId xmlns:a16="http://schemas.microsoft.com/office/drawing/2014/main" id="{99FDF5DC-EAFA-4C3B-B052-660243EB047F}"/>
              </a:ext>
            </a:extLst>
          </p:cNvPr>
          <p:cNvCxnSpPr/>
          <p:nvPr/>
        </p:nvCxnSpPr>
        <p:spPr>
          <a:xfrm flipH="1">
            <a:off x="2029968" y="2465975"/>
            <a:ext cx="1901952"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 name="直接连接符 14">
            <a:extLst>
              <a:ext uri="{FF2B5EF4-FFF2-40B4-BE49-F238E27FC236}">
                <a16:creationId xmlns:a16="http://schemas.microsoft.com/office/drawing/2014/main" id="{C6CC629A-E754-4728-BB95-563C56597B63}"/>
              </a:ext>
            </a:extLst>
          </p:cNvPr>
          <p:cNvCxnSpPr/>
          <p:nvPr/>
        </p:nvCxnSpPr>
        <p:spPr>
          <a:xfrm flipH="1">
            <a:off x="8284464" y="2465975"/>
            <a:ext cx="1901952"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grpSp>
        <p:nvGrpSpPr>
          <p:cNvPr id="18" name="组合 17">
            <a:extLst>
              <a:ext uri="{FF2B5EF4-FFF2-40B4-BE49-F238E27FC236}">
                <a16:creationId xmlns:a16="http://schemas.microsoft.com/office/drawing/2014/main" id="{FC799265-AC15-410F-82A2-679AB60B288F}"/>
              </a:ext>
            </a:extLst>
          </p:cNvPr>
          <p:cNvGrpSpPr/>
          <p:nvPr/>
        </p:nvGrpSpPr>
        <p:grpSpPr>
          <a:xfrm>
            <a:off x="4331702" y="4145803"/>
            <a:ext cx="1475214" cy="246221"/>
            <a:chOff x="4095451" y="4640913"/>
            <a:chExt cx="1475214" cy="246221"/>
          </a:xfrm>
        </p:grpSpPr>
        <p:sp>
          <p:nvSpPr>
            <p:cNvPr id="16" name="矩形 15">
              <a:extLst>
                <a:ext uri="{FF2B5EF4-FFF2-40B4-BE49-F238E27FC236}">
                  <a16:creationId xmlns:a16="http://schemas.microsoft.com/office/drawing/2014/main" id="{74C493E7-1B47-4349-BC5B-BF3163490795}"/>
                </a:ext>
              </a:extLst>
            </p:cNvPr>
            <p:cNvSpPr/>
            <p:nvPr/>
          </p:nvSpPr>
          <p:spPr>
            <a:xfrm>
              <a:off x="4095451" y="4672584"/>
              <a:ext cx="164592" cy="1645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solidFill>
                  <a:schemeClr val="bg1"/>
                </a:solidFill>
              </a:endParaRPr>
            </a:p>
          </p:txBody>
        </p:sp>
        <p:sp>
          <p:nvSpPr>
            <p:cNvPr id="17" name="文本框 16">
              <a:extLst>
                <a:ext uri="{FF2B5EF4-FFF2-40B4-BE49-F238E27FC236}">
                  <a16:creationId xmlns:a16="http://schemas.microsoft.com/office/drawing/2014/main" id="{B804F6AA-7656-4EF8-84F0-3B3FB5CF0922}"/>
                </a:ext>
              </a:extLst>
            </p:cNvPr>
            <p:cNvSpPr txBox="1"/>
            <p:nvPr/>
          </p:nvSpPr>
          <p:spPr>
            <a:xfrm>
              <a:off x="4408487" y="4640913"/>
              <a:ext cx="1162178" cy="246221"/>
            </a:xfrm>
            <a:prstGeom prst="rect">
              <a:avLst/>
            </a:prstGeom>
            <a:noFill/>
          </p:spPr>
          <p:txBody>
            <a:bodyPr wrap="none" lIns="0" tIns="0" rIns="0" bIns="0" rtlCol="0" anchor="t">
              <a:spAutoFit/>
            </a:bodyPr>
            <a:lstStyle/>
            <a:p>
              <a:r>
                <a:rPr lang="zh-CN" altLang="en-US" sz="1600" dirty="0">
                  <a:solidFill>
                    <a:schemeClr val="bg1"/>
                  </a:solidFill>
                  <a:latin typeface="+mn-ea"/>
                </a:rPr>
                <a:t>汇报人：</a:t>
              </a:r>
              <a:r>
                <a:rPr lang="en-US" altLang="zh-CN" sz="1600" dirty="0">
                  <a:solidFill>
                    <a:schemeClr val="bg1"/>
                  </a:solidFill>
                  <a:latin typeface="+mn-ea"/>
                </a:rPr>
                <a:t>xxx</a:t>
              </a:r>
              <a:endParaRPr lang="zh-CN" altLang="en-US" sz="1600" dirty="0">
                <a:solidFill>
                  <a:schemeClr val="bg1"/>
                </a:solidFill>
                <a:latin typeface="+mn-ea"/>
              </a:endParaRPr>
            </a:p>
          </p:txBody>
        </p:sp>
      </p:grpSp>
      <p:grpSp>
        <p:nvGrpSpPr>
          <p:cNvPr id="19" name="组合 18">
            <a:extLst>
              <a:ext uri="{FF2B5EF4-FFF2-40B4-BE49-F238E27FC236}">
                <a16:creationId xmlns:a16="http://schemas.microsoft.com/office/drawing/2014/main" id="{482B1619-178E-45D1-BC39-C5F4314075B6}"/>
              </a:ext>
            </a:extLst>
          </p:cNvPr>
          <p:cNvGrpSpPr/>
          <p:nvPr/>
        </p:nvGrpSpPr>
        <p:grpSpPr>
          <a:xfrm>
            <a:off x="6590270" y="4145803"/>
            <a:ext cx="1270029" cy="246221"/>
            <a:chOff x="4095451" y="4640913"/>
            <a:chExt cx="1270029" cy="246221"/>
          </a:xfrm>
        </p:grpSpPr>
        <p:sp>
          <p:nvSpPr>
            <p:cNvPr id="20" name="矩形 19">
              <a:extLst>
                <a:ext uri="{FF2B5EF4-FFF2-40B4-BE49-F238E27FC236}">
                  <a16:creationId xmlns:a16="http://schemas.microsoft.com/office/drawing/2014/main" id="{3A1AE345-38CE-49BE-9E58-2C20078777A3}"/>
                </a:ext>
              </a:extLst>
            </p:cNvPr>
            <p:cNvSpPr/>
            <p:nvPr/>
          </p:nvSpPr>
          <p:spPr>
            <a:xfrm>
              <a:off x="4095451" y="4672584"/>
              <a:ext cx="164592" cy="1645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solidFill>
                  <a:schemeClr val="bg1"/>
                </a:solidFill>
              </a:endParaRPr>
            </a:p>
          </p:txBody>
        </p:sp>
        <p:sp>
          <p:nvSpPr>
            <p:cNvPr id="21" name="文本框 20">
              <a:extLst>
                <a:ext uri="{FF2B5EF4-FFF2-40B4-BE49-F238E27FC236}">
                  <a16:creationId xmlns:a16="http://schemas.microsoft.com/office/drawing/2014/main" id="{FCC3031D-C171-43E7-B549-82FC96054817}"/>
                </a:ext>
              </a:extLst>
            </p:cNvPr>
            <p:cNvSpPr txBox="1"/>
            <p:nvPr/>
          </p:nvSpPr>
          <p:spPr>
            <a:xfrm>
              <a:off x="4408487" y="4640913"/>
              <a:ext cx="956993" cy="246221"/>
            </a:xfrm>
            <a:prstGeom prst="rect">
              <a:avLst/>
            </a:prstGeom>
            <a:noFill/>
          </p:spPr>
          <p:txBody>
            <a:bodyPr wrap="none" lIns="0" tIns="0" rIns="0" bIns="0" rtlCol="0" anchor="t">
              <a:spAutoFit/>
            </a:bodyPr>
            <a:lstStyle/>
            <a:p>
              <a:r>
                <a:rPr lang="zh-CN" altLang="en-US" sz="1600" dirty="0">
                  <a:solidFill>
                    <a:schemeClr val="bg1"/>
                  </a:solidFill>
                  <a:latin typeface="+mn-ea"/>
                </a:rPr>
                <a:t>单位：</a:t>
              </a:r>
              <a:r>
                <a:rPr lang="en-US" altLang="zh-CN" sz="1600" dirty="0">
                  <a:solidFill>
                    <a:schemeClr val="bg1"/>
                  </a:solidFill>
                  <a:latin typeface="+mn-ea"/>
                </a:rPr>
                <a:t>xxx</a:t>
              </a:r>
              <a:endParaRPr lang="zh-CN" altLang="en-US" sz="1600" dirty="0">
                <a:solidFill>
                  <a:schemeClr val="bg1"/>
                </a:solidFill>
                <a:latin typeface="+mn-ea"/>
              </a:endParaRPr>
            </a:p>
          </p:txBody>
        </p:sp>
      </p:grpSp>
    </p:spTree>
    <p:extLst>
      <p:ext uri="{BB962C8B-B14F-4D97-AF65-F5344CB8AC3E}">
        <p14:creationId xmlns:p14="http://schemas.microsoft.com/office/powerpoint/2010/main" val="1671231063"/>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2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矩形: 圆角 4">
            <a:extLst>
              <a:ext uri="{FF2B5EF4-FFF2-40B4-BE49-F238E27FC236}">
                <a16:creationId xmlns:a16="http://schemas.microsoft.com/office/drawing/2014/main" id="{AB361C68-CC31-4C99-9BBD-27D3D894368D}"/>
              </a:ext>
            </a:extLst>
          </p:cNvPr>
          <p:cNvSpPr/>
          <p:nvPr/>
        </p:nvSpPr>
        <p:spPr>
          <a:xfrm>
            <a:off x="1298766" y="2431397"/>
            <a:ext cx="2616200" cy="2590800"/>
          </a:xfrm>
          <a:prstGeom prst="roundRect">
            <a:avLst>
              <a:gd name="adj" fmla="val 5638"/>
            </a:avLst>
          </a:prstGeom>
          <a:solidFill>
            <a:schemeClr val="bg1"/>
          </a:solidFill>
          <a:ln>
            <a:solidFill>
              <a:schemeClr val="accent1"/>
            </a:solidFill>
          </a:ln>
          <a:effectLst>
            <a:outerShdw blurRad="139700" algn="ctr" rotWithShape="0">
              <a:schemeClr val="accent1">
                <a:lumMod val="50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zh-CN" altLang="en-US" sz="1600">
              <a:solidFill>
                <a:schemeClr val="bg1"/>
              </a:solidFill>
              <a:latin typeface="+mj-ea"/>
              <a:ea typeface="+mj-ea"/>
            </a:endParaRPr>
          </a:p>
        </p:txBody>
      </p:sp>
      <p:grpSp>
        <p:nvGrpSpPr>
          <p:cNvPr id="2" name="组合 1">
            <a:extLst>
              <a:ext uri="{FF2B5EF4-FFF2-40B4-BE49-F238E27FC236}">
                <a16:creationId xmlns:a16="http://schemas.microsoft.com/office/drawing/2014/main" id="{18B10D01-62B6-4059-A321-E3604D01ACAD}"/>
              </a:ext>
            </a:extLst>
          </p:cNvPr>
          <p:cNvGrpSpPr/>
          <p:nvPr/>
        </p:nvGrpSpPr>
        <p:grpSpPr>
          <a:xfrm>
            <a:off x="1181291" y="2552253"/>
            <a:ext cx="2312821" cy="529947"/>
            <a:chOff x="1100939" y="3782259"/>
            <a:chExt cx="2312821" cy="529947"/>
          </a:xfrm>
        </p:grpSpPr>
        <p:sp>
          <p:nvSpPr>
            <p:cNvPr id="3" name="箭头: 五边形 2">
              <a:extLst>
                <a:ext uri="{FF2B5EF4-FFF2-40B4-BE49-F238E27FC236}">
                  <a16:creationId xmlns:a16="http://schemas.microsoft.com/office/drawing/2014/main" id="{63AC3F80-9A90-4AFA-9FF9-A0DEC06BFF4B}"/>
                </a:ext>
              </a:extLst>
            </p:cNvPr>
            <p:cNvSpPr/>
            <p:nvPr/>
          </p:nvSpPr>
          <p:spPr>
            <a:xfrm>
              <a:off x="1100939" y="3870960"/>
              <a:ext cx="2312821" cy="441246"/>
            </a:xfrm>
            <a:prstGeom prst="homePlate">
              <a:avLst/>
            </a:prstGeom>
            <a:gradFill flip="none" rotWithShape="0">
              <a:gsLst>
                <a:gs pos="5000">
                  <a:schemeClr val="accent1"/>
                </a:gs>
                <a:gs pos="100000">
                  <a:schemeClr val="accent1">
                    <a:lumMod val="75000"/>
                  </a:schemeClr>
                </a:gs>
              </a:gsLst>
              <a:lin ang="2700000" scaled="1"/>
              <a:tileRect/>
            </a:gradFill>
            <a:ln>
              <a:noFill/>
            </a:ln>
            <a:effectLst>
              <a:outerShdw blurRad="254000" dist="152400" dir="5400000" sx="102000" sy="1020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91440" tIns="45720" rIns="91440" bIns="45720" numCol="1" spcCol="0" rtlCol="0" fromWordArt="0" anchor="ctr" anchorCtr="0" forceAA="0" compatLnSpc="1">
              <a:prstTxWarp prst="textNoShape">
                <a:avLst/>
              </a:prstTxWarp>
              <a:noAutofit/>
            </a:bodyPr>
            <a:lstStyle/>
            <a:p>
              <a:pPr algn="ctr" defTabSz="457200"/>
              <a:endParaRPr lang="zh-CN" altLang="en-US" dirty="0"/>
            </a:p>
          </p:txBody>
        </p:sp>
        <p:sp>
          <p:nvSpPr>
            <p:cNvPr id="4" name="等腰三角形 3">
              <a:extLst>
                <a:ext uri="{FF2B5EF4-FFF2-40B4-BE49-F238E27FC236}">
                  <a16:creationId xmlns:a16="http://schemas.microsoft.com/office/drawing/2014/main" id="{45DBEEA5-C198-4DDD-BAB4-A3854E32282D}"/>
                </a:ext>
              </a:extLst>
            </p:cNvPr>
            <p:cNvSpPr/>
            <p:nvPr/>
          </p:nvSpPr>
          <p:spPr>
            <a:xfrm flipH="1">
              <a:off x="1100939" y="3782259"/>
              <a:ext cx="125881" cy="87775"/>
            </a:xfrm>
            <a:prstGeom prst="triangle">
              <a:avLst>
                <a:gd name="adj" fmla="val 0"/>
              </a:avLst>
            </a:prstGeom>
            <a:solidFill>
              <a:srgbClr val="094F7A"/>
            </a:solidFill>
            <a:ln>
              <a:noFill/>
            </a:ln>
            <a:effectLst>
              <a:outerShdw blurRad="127000" dir="18900000" sy="23000" kx="-1200000" algn="b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91440" tIns="45720" rIns="91440" bIns="45720" numCol="1" spcCol="0" rtlCol="0" fromWordArt="0" anchor="ctr" anchorCtr="0" forceAA="0" compatLnSpc="1">
              <a:prstTxWarp prst="textNoShape">
                <a:avLst/>
              </a:prstTxWarp>
              <a:noAutofit/>
            </a:bodyPr>
            <a:lstStyle/>
            <a:p>
              <a:pPr algn="ctr" defTabSz="457200"/>
              <a:endParaRPr lang="zh-CN" altLang="en-US"/>
            </a:p>
          </p:txBody>
        </p:sp>
      </p:grpSp>
      <p:sp>
        <p:nvSpPr>
          <p:cNvPr id="6" name="文本框 5">
            <a:extLst>
              <a:ext uri="{FF2B5EF4-FFF2-40B4-BE49-F238E27FC236}">
                <a16:creationId xmlns:a16="http://schemas.microsoft.com/office/drawing/2014/main" id="{E3EFD3B1-B2E3-432E-9118-DA2D6692E3FB}"/>
              </a:ext>
            </a:extLst>
          </p:cNvPr>
          <p:cNvSpPr txBox="1"/>
          <p:nvPr/>
        </p:nvSpPr>
        <p:spPr>
          <a:xfrm>
            <a:off x="1462807" y="2707688"/>
            <a:ext cx="1282402" cy="307777"/>
          </a:xfrm>
          <a:prstGeom prst="rect">
            <a:avLst/>
          </a:prstGeom>
          <a:noFill/>
        </p:spPr>
        <p:txBody>
          <a:bodyPr wrap="none" lIns="0" tIns="0" rIns="0" bIns="0" rtlCol="0" anchor="t">
            <a:spAutoFit/>
          </a:bodyPr>
          <a:lstStyle/>
          <a:p>
            <a:r>
              <a:rPr lang="zh-CN" altLang="en-US" sz="2000" dirty="0">
                <a:solidFill>
                  <a:schemeClr val="bg1"/>
                </a:solidFill>
                <a:latin typeface="+mj-ea"/>
                <a:ea typeface="+mj-ea"/>
              </a:rPr>
              <a:t>关键词标题</a:t>
            </a:r>
          </a:p>
        </p:txBody>
      </p:sp>
      <p:sp>
        <p:nvSpPr>
          <p:cNvPr id="7" name="文本框 6">
            <a:extLst>
              <a:ext uri="{FF2B5EF4-FFF2-40B4-BE49-F238E27FC236}">
                <a16:creationId xmlns:a16="http://schemas.microsoft.com/office/drawing/2014/main" id="{B5EEA59D-6E81-4AAE-862B-3992F8583E33}"/>
              </a:ext>
            </a:extLst>
          </p:cNvPr>
          <p:cNvSpPr txBox="1"/>
          <p:nvPr/>
        </p:nvSpPr>
        <p:spPr>
          <a:xfrm>
            <a:off x="1462807" y="3244924"/>
            <a:ext cx="2312821" cy="704873"/>
          </a:xfrm>
          <a:prstGeom prst="rect">
            <a:avLst/>
          </a:prstGeom>
          <a:noFill/>
        </p:spPr>
        <p:txBody>
          <a:bodyPr wrap="square" lIns="0" tIns="0" rIns="0" bIns="0" rtlCol="0" anchor="t">
            <a:spAutoFit/>
          </a:bodyPr>
          <a:lstStyle/>
          <a:p>
            <a:pPr>
              <a:lnSpc>
                <a:spcPct val="130000"/>
              </a:lnSpc>
            </a:pPr>
            <a:r>
              <a:rPr lang="en-US" altLang="zh-CN" sz="1200" b="0" dirty="0">
                <a:solidFill>
                  <a:schemeClr val="tx1">
                    <a:lumMod val="75000"/>
                    <a:lumOff val="25000"/>
                  </a:schemeClr>
                </a:solidFill>
                <a:effectLst/>
                <a:latin typeface="+mn-ea"/>
              </a:rPr>
              <a:t>Lorem ipsum dolor sit </a:t>
            </a:r>
            <a:r>
              <a:rPr lang="en-US" altLang="zh-CN" sz="1200" b="0" dirty="0" err="1">
                <a:solidFill>
                  <a:schemeClr val="tx1">
                    <a:lumMod val="75000"/>
                    <a:lumOff val="25000"/>
                  </a:schemeClr>
                </a:solidFill>
                <a:effectLst/>
                <a:latin typeface="+mn-ea"/>
              </a:rPr>
              <a:t>amet</a:t>
            </a:r>
            <a:r>
              <a:rPr lang="en-US" altLang="zh-CN" sz="1200" b="0" dirty="0">
                <a:solidFill>
                  <a:schemeClr val="tx1">
                    <a:lumMod val="75000"/>
                    <a:lumOff val="25000"/>
                  </a:schemeClr>
                </a:solidFill>
                <a:effectLst/>
                <a:latin typeface="+mn-ea"/>
              </a:rPr>
              <a:t> consectetur </a:t>
            </a:r>
            <a:r>
              <a:rPr lang="en-US" altLang="zh-CN" sz="1200" b="0" dirty="0" err="1">
                <a:solidFill>
                  <a:schemeClr val="tx1">
                    <a:lumMod val="75000"/>
                    <a:lumOff val="25000"/>
                  </a:schemeClr>
                </a:solidFill>
                <a:effectLst/>
                <a:latin typeface="+mn-ea"/>
              </a:rPr>
              <a:t>adipisicing</a:t>
            </a:r>
            <a:r>
              <a:rPr lang="en-US" altLang="zh-CN" sz="1200" b="0" dirty="0">
                <a:solidFill>
                  <a:schemeClr val="tx1">
                    <a:lumMod val="75000"/>
                    <a:lumOff val="25000"/>
                  </a:schemeClr>
                </a:solidFill>
                <a:effectLst/>
                <a:latin typeface="+mn-ea"/>
              </a:rPr>
              <a:t> </a:t>
            </a:r>
            <a:r>
              <a:rPr lang="en-US" altLang="zh-CN" sz="1200" b="0" dirty="0" err="1">
                <a:solidFill>
                  <a:schemeClr val="tx1">
                    <a:lumMod val="75000"/>
                    <a:lumOff val="25000"/>
                  </a:schemeClr>
                </a:solidFill>
                <a:effectLst/>
                <a:latin typeface="+mn-ea"/>
              </a:rPr>
              <a:t>elit</a:t>
            </a:r>
            <a:r>
              <a:rPr lang="en-US" altLang="zh-CN" sz="1200" b="0" dirty="0">
                <a:solidFill>
                  <a:schemeClr val="tx1">
                    <a:lumMod val="75000"/>
                    <a:lumOff val="25000"/>
                  </a:schemeClr>
                </a:solidFill>
                <a:effectLst/>
                <a:latin typeface="+mn-ea"/>
              </a:rPr>
              <a:t> sed do eiusmod tempor</a:t>
            </a:r>
            <a:endParaRPr lang="zh-CN" altLang="en-US" sz="1200" b="0" dirty="0">
              <a:solidFill>
                <a:schemeClr val="tx1">
                  <a:lumMod val="75000"/>
                  <a:lumOff val="25000"/>
                </a:schemeClr>
              </a:solidFill>
              <a:effectLst/>
              <a:latin typeface="+mn-ea"/>
            </a:endParaRPr>
          </a:p>
        </p:txBody>
      </p:sp>
      <p:sp>
        <p:nvSpPr>
          <p:cNvPr id="8" name="文本框 7">
            <a:extLst>
              <a:ext uri="{FF2B5EF4-FFF2-40B4-BE49-F238E27FC236}">
                <a16:creationId xmlns:a16="http://schemas.microsoft.com/office/drawing/2014/main" id="{A7B89FEA-2C88-4485-9AD4-2000FAACA7F0}"/>
              </a:ext>
            </a:extLst>
          </p:cNvPr>
          <p:cNvSpPr txBox="1"/>
          <p:nvPr/>
        </p:nvSpPr>
        <p:spPr>
          <a:xfrm>
            <a:off x="1462807" y="4133924"/>
            <a:ext cx="2312821" cy="704873"/>
          </a:xfrm>
          <a:prstGeom prst="rect">
            <a:avLst/>
          </a:prstGeom>
          <a:noFill/>
        </p:spPr>
        <p:txBody>
          <a:bodyPr wrap="square" lIns="0" tIns="0" rIns="0" bIns="0" rtlCol="0" anchor="t">
            <a:spAutoFit/>
          </a:bodyPr>
          <a:lstStyle/>
          <a:p>
            <a:pPr>
              <a:lnSpc>
                <a:spcPct val="130000"/>
              </a:lnSpc>
            </a:pPr>
            <a:r>
              <a:rPr lang="en-US" altLang="zh-CN" sz="1200" b="0" dirty="0">
                <a:solidFill>
                  <a:schemeClr val="tx1">
                    <a:lumMod val="75000"/>
                    <a:lumOff val="25000"/>
                  </a:schemeClr>
                </a:solidFill>
                <a:effectLst/>
                <a:latin typeface="+mn-ea"/>
              </a:rPr>
              <a:t>Lorem ipsum dolor sit </a:t>
            </a:r>
            <a:r>
              <a:rPr lang="en-US" altLang="zh-CN" sz="1200" b="0" dirty="0" err="1">
                <a:solidFill>
                  <a:schemeClr val="tx1">
                    <a:lumMod val="75000"/>
                    <a:lumOff val="25000"/>
                  </a:schemeClr>
                </a:solidFill>
                <a:effectLst/>
                <a:latin typeface="+mn-ea"/>
              </a:rPr>
              <a:t>amet</a:t>
            </a:r>
            <a:r>
              <a:rPr lang="en-US" altLang="zh-CN" sz="1200" b="0" dirty="0">
                <a:solidFill>
                  <a:schemeClr val="tx1">
                    <a:lumMod val="75000"/>
                    <a:lumOff val="25000"/>
                  </a:schemeClr>
                </a:solidFill>
                <a:effectLst/>
                <a:latin typeface="+mn-ea"/>
              </a:rPr>
              <a:t> consectetur </a:t>
            </a:r>
            <a:r>
              <a:rPr lang="en-US" altLang="zh-CN" sz="1200" b="0" dirty="0" err="1">
                <a:solidFill>
                  <a:schemeClr val="tx1">
                    <a:lumMod val="75000"/>
                    <a:lumOff val="25000"/>
                  </a:schemeClr>
                </a:solidFill>
                <a:effectLst/>
                <a:latin typeface="+mn-ea"/>
              </a:rPr>
              <a:t>adipisicing</a:t>
            </a:r>
            <a:r>
              <a:rPr lang="en-US" altLang="zh-CN" sz="1200" b="0" dirty="0">
                <a:solidFill>
                  <a:schemeClr val="tx1">
                    <a:lumMod val="75000"/>
                    <a:lumOff val="25000"/>
                  </a:schemeClr>
                </a:solidFill>
                <a:effectLst/>
                <a:latin typeface="+mn-ea"/>
              </a:rPr>
              <a:t> </a:t>
            </a:r>
            <a:r>
              <a:rPr lang="en-US" altLang="zh-CN" sz="1200" b="0" dirty="0" err="1">
                <a:solidFill>
                  <a:schemeClr val="tx1">
                    <a:lumMod val="75000"/>
                    <a:lumOff val="25000"/>
                  </a:schemeClr>
                </a:solidFill>
                <a:effectLst/>
                <a:latin typeface="+mn-ea"/>
              </a:rPr>
              <a:t>elit</a:t>
            </a:r>
            <a:r>
              <a:rPr lang="en-US" altLang="zh-CN" sz="1200" b="0" dirty="0">
                <a:solidFill>
                  <a:schemeClr val="tx1">
                    <a:lumMod val="75000"/>
                    <a:lumOff val="25000"/>
                  </a:schemeClr>
                </a:solidFill>
                <a:effectLst/>
                <a:latin typeface="+mn-ea"/>
              </a:rPr>
              <a:t> sed do eiusmod tempor</a:t>
            </a:r>
            <a:endParaRPr lang="zh-CN" altLang="en-US" sz="1200" b="0" dirty="0">
              <a:solidFill>
                <a:schemeClr val="tx1">
                  <a:lumMod val="75000"/>
                  <a:lumOff val="25000"/>
                </a:schemeClr>
              </a:solidFill>
              <a:effectLst/>
              <a:latin typeface="+mn-ea"/>
            </a:endParaRPr>
          </a:p>
        </p:txBody>
      </p:sp>
      <p:sp>
        <p:nvSpPr>
          <p:cNvPr id="9" name="矩形: 圆角 8">
            <a:extLst>
              <a:ext uri="{FF2B5EF4-FFF2-40B4-BE49-F238E27FC236}">
                <a16:creationId xmlns:a16="http://schemas.microsoft.com/office/drawing/2014/main" id="{CCBF6FD6-2DB8-4333-8E83-09F27CF700C1}"/>
              </a:ext>
            </a:extLst>
          </p:cNvPr>
          <p:cNvSpPr/>
          <p:nvPr/>
        </p:nvSpPr>
        <p:spPr>
          <a:xfrm>
            <a:off x="4846638" y="2431397"/>
            <a:ext cx="2616200" cy="2590800"/>
          </a:xfrm>
          <a:prstGeom prst="roundRect">
            <a:avLst>
              <a:gd name="adj" fmla="val 5638"/>
            </a:avLst>
          </a:prstGeom>
          <a:solidFill>
            <a:schemeClr val="bg1"/>
          </a:solidFill>
          <a:ln>
            <a:solidFill>
              <a:schemeClr val="accent1"/>
            </a:solidFill>
          </a:ln>
          <a:effectLst>
            <a:outerShdw blurRad="139700" algn="ctr" rotWithShape="0">
              <a:schemeClr val="accent1">
                <a:lumMod val="50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zh-CN" altLang="en-US" sz="1600">
              <a:solidFill>
                <a:schemeClr val="bg1"/>
              </a:solidFill>
              <a:latin typeface="+mj-ea"/>
              <a:ea typeface="+mj-ea"/>
            </a:endParaRPr>
          </a:p>
        </p:txBody>
      </p:sp>
      <p:grpSp>
        <p:nvGrpSpPr>
          <p:cNvPr id="10" name="组合 9">
            <a:extLst>
              <a:ext uri="{FF2B5EF4-FFF2-40B4-BE49-F238E27FC236}">
                <a16:creationId xmlns:a16="http://schemas.microsoft.com/office/drawing/2014/main" id="{EEC05FD7-9996-4E49-A561-F5C14642EB9E}"/>
              </a:ext>
            </a:extLst>
          </p:cNvPr>
          <p:cNvGrpSpPr/>
          <p:nvPr/>
        </p:nvGrpSpPr>
        <p:grpSpPr>
          <a:xfrm>
            <a:off x="4729163" y="2552253"/>
            <a:ext cx="2312821" cy="529947"/>
            <a:chOff x="1100939" y="3782259"/>
            <a:chExt cx="2312821" cy="529947"/>
          </a:xfrm>
        </p:grpSpPr>
        <p:sp>
          <p:nvSpPr>
            <p:cNvPr id="11" name="箭头: 五边形 10">
              <a:extLst>
                <a:ext uri="{FF2B5EF4-FFF2-40B4-BE49-F238E27FC236}">
                  <a16:creationId xmlns:a16="http://schemas.microsoft.com/office/drawing/2014/main" id="{08723CCB-DB78-4874-A321-219B9719B030}"/>
                </a:ext>
              </a:extLst>
            </p:cNvPr>
            <p:cNvSpPr/>
            <p:nvPr/>
          </p:nvSpPr>
          <p:spPr>
            <a:xfrm>
              <a:off x="1100939" y="3870960"/>
              <a:ext cx="2312821" cy="441246"/>
            </a:xfrm>
            <a:prstGeom prst="homePlate">
              <a:avLst/>
            </a:prstGeom>
            <a:gradFill flip="none" rotWithShape="0">
              <a:gsLst>
                <a:gs pos="5000">
                  <a:schemeClr val="accent1"/>
                </a:gs>
                <a:gs pos="100000">
                  <a:schemeClr val="accent1">
                    <a:lumMod val="75000"/>
                  </a:schemeClr>
                </a:gs>
              </a:gsLst>
              <a:lin ang="2700000" scaled="1"/>
              <a:tileRect/>
            </a:gradFill>
            <a:ln>
              <a:noFill/>
            </a:ln>
            <a:effectLst>
              <a:outerShdw blurRad="254000" dist="152400" dir="5400000" sx="102000" sy="1020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91440" tIns="45720" rIns="91440" bIns="45720" numCol="1" spcCol="0" rtlCol="0" fromWordArt="0" anchor="ctr" anchorCtr="0" forceAA="0" compatLnSpc="1">
              <a:prstTxWarp prst="textNoShape">
                <a:avLst/>
              </a:prstTxWarp>
              <a:noAutofit/>
            </a:bodyPr>
            <a:lstStyle/>
            <a:p>
              <a:pPr algn="ctr" defTabSz="457200"/>
              <a:endParaRPr lang="zh-CN" altLang="en-US" dirty="0"/>
            </a:p>
          </p:txBody>
        </p:sp>
        <p:sp>
          <p:nvSpPr>
            <p:cNvPr id="12" name="等腰三角形 11">
              <a:extLst>
                <a:ext uri="{FF2B5EF4-FFF2-40B4-BE49-F238E27FC236}">
                  <a16:creationId xmlns:a16="http://schemas.microsoft.com/office/drawing/2014/main" id="{B1789151-AF77-4DC2-A2FB-625FE54FFAC7}"/>
                </a:ext>
              </a:extLst>
            </p:cNvPr>
            <p:cNvSpPr/>
            <p:nvPr/>
          </p:nvSpPr>
          <p:spPr>
            <a:xfrm flipH="1">
              <a:off x="1100939" y="3782259"/>
              <a:ext cx="125881" cy="87775"/>
            </a:xfrm>
            <a:prstGeom prst="triangle">
              <a:avLst>
                <a:gd name="adj" fmla="val 0"/>
              </a:avLst>
            </a:prstGeom>
            <a:solidFill>
              <a:srgbClr val="094F7A"/>
            </a:solidFill>
            <a:ln>
              <a:noFill/>
            </a:ln>
            <a:effectLst>
              <a:outerShdw blurRad="127000" dir="18900000" sy="23000" kx="-1200000" algn="b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91440" tIns="45720" rIns="91440" bIns="45720" numCol="1" spcCol="0" rtlCol="0" fromWordArt="0" anchor="ctr" anchorCtr="0" forceAA="0" compatLnSpc="1">
              <a:prstTxWarp prst="textNoShape">
                <a:avLst/>
              </a:prstTxWarp>
              <a:noAutofit/>
            </a:bodyPr>
            <a:lstStyle/>
            <a:p>
              <a:pPr algn="ctr" defTabSz="457200"/>
              <a:endParaRPr lang="zh-CN" altLang="en-US"/>
            </a:p>
          </p:txBody>
        </p:sp>
      </p:grpSp>
      <p:sp>
        <p:nvSpPr>
          <p:cNvPr id="13" name="文本框 12">
            <a:extLst>
              <a:ext uri="{FF2B5EF4-FFF2-40B4-BE49-F238E27FC236}">
                <a16:creationId xmlns:a16="http://schemas.microsoft.com/office/drawing/2014/main" id="{17B7D446-D512-46D7-BF3F-8C1878A6FFF1}"/>
              </a:ext>
            </a:extLst>
          </p:cNvPr>
          <p:cNvSpPr txBox="1"/>
          <p:nvPr/>
        </p:nvSpPr>
        <p:spPr>
          <a:xfrm>
            <a:off x="5010679" y="2707688"/>
            <a:ext cx="1282402" cy="307777"/>
          </a:xfrm>
          <a:prstGeom prst="rect">
            <a:avLst/>
          </a:prstGeom>
          <a:noFill/>
        </p:spPr>
        <p:txBody>
          <a:bodyPr wrap="none" lIns="0" tIns="0" rIns="0" bIns="0" rtlCol="0" anchor="t">
            <a:spAutoFit/>
          </a:bodyPr>
          <a:lstStyle/>
          <a:p>
            <a:r>
              <a:rPr lang="zh-CN" altLang="en-US" sz="2000" dirty="0">
                <a:solidFill>
                  <a:schemeClr val="bg1"/>
                </a:solidFill>
                <a:latin typeface="+mj-ea"/>
                <a:ea typeface="+mj-ea"/>
              </a:rPr>
              <a:t>关键词标题</a:t>
            </a:r>
          </a:p>
        </p:txBody>
      </p:sp>
      <p:sp>
        <p:nvSpPr>
          <p:cNvPr id="14" name="文本框 13">
            <a:extLst>
              <a:ext uri="{FF2B5EF4-FFF2-40B4-BE49-F238E27FC236}">
                <a16:creationId xmlns:a16="http://schemas.microsoft.com/office/drawing/2014/main" id="{B498AC73-A22F-403D-BCA8-DCF4C5B4677A}"/>
              </a:ext>
            </a:extLst>
          </p:cNvPr>
          <p:cNvSpPr txBox="1"/>
          <p:nvPr/>
        </p:nvSpPr>
        <p:spPr>
          <a:xfrm>
            <a:off x="5010679" y="3244924"/>
            <a:ext cx="2312821" cy="704873"/>
          </a:xfrm>
          <a:prstGeom prst="rect">
            <a:avLst/>
          </a:prstGeom>
          <a:noFill/>
        </p:spPr>
        <p:txBody>
          <a:bodyPr wrap="square" lIns="0" tIns="0" rIns="0" bIns="0" rtlCol="0" anchor="t">
            <a:spAutoFit/>
          </a:bodyPr>
          <a:lstStyle/>
          <a:p>
            <a:pPr>
              <a:lnSpc>
                <a:spcPct val="130000"/>
              </a:lnSpc>
            </a:pPr>
            <a:r>
              <a:rPr lang="en-US" altLang="zh-CN" sz="1200" b="0" dirty="0">
                <a:solidFill>
                  <a:schemeClr val="tx1">
                    <a:lumMod val="75000"/>
                    <a:lumOff val="25000"/>
                  </a:schemeClr>
                </a:solidFill>
                <a:effectLst/>
                <a:latin typeface="+mn-ea"/>
              </a:rPr>
              <a:t>Lorem ipsum dolor sit </a:t>
            </a:r>
            <a:r>
              <a:rPr lang="en-US" altLang="zh-CN" sz="1200" b="0" dirty="0" err="1">
                <a:solidFill>
                  <a:schemeClr val="tx1">
                    <a:lumMod val="75000"/>
                    <a:lumOff val="25000"/>
                  </a:schemeClr>
                </a:solidFill>
                <a:effectLst/>
                <a:latin typeface="+mn-ea"/>
              </a:rPr>
              <a:t>amet</a:t>
            </a:r>
            <a:r>
              <a:rPr lang="en-US" altLang="zh-CN" sz="1200" b="0" dirty="0">
                <a:solidFill>
                  <a:schemeClr val="tx1">
                    <a:lumMod val="75000"/>
                    <a:lumOff val="25000"/>
                  </a:schemeClr>
                </a:solidFill>
                <a:effectLst/>
                <a:latin typeface="+mn-ea"/>
              </a:rPr>
              <a:t> consectetur </a:t>
            </a:r>
            <a:r>
              <a:rPr lang="en-US" altLang="zh-CN" sz="1200" b="0" dirty="0" err="1">
                <a:solidFill>
                  <a:schemeClr val="tx1">
                    <a:lumMod val="75000"/>
                    <a:lumOff val="25000"/>
                  </a:schemeClr>
                </a:solidFill>
                <a:effectLst/>
                <a:latin typeface="+mn-ea"/>
              </a:rPr>
              <a:t>adipisicing</a:t>
            </a:r>
            <a:r>
              <a:rPr lang="en-US" altLang="zh-CN" sz="1200" b="0" dirty="0">
                <a:solidFill>
                  <a:schemeClr val="tx1">
                    <a:lumMod val="75000"/>
                    <a:lumOff val="25000"/>
                  </a:schemeClr>
                </a:solidFill>
                <a:effectLst/>
                <a:latin typeface="+mn-ea"/>
              </a:rPr>
              <a:t> </a:t>
            </a:r>
            <a:r>
              <a:rPr lang="en-US" altLang="zh-CN" sz="1200" b="0" dirty="0" err="1">
                <a:solidFill>
                  <a:schemeClr val="tx1">
                    <a:lumMod val="75000"/>
                    <a:lumOff val="25000"/>
                  </a:schemeClr>
                </a:solidFill>
                <a:effectLst/>
                <a:latin typeface="+mn-ea"/>
              </a:rPr>
              <a:t>elit</a:t>
            </a:r>
            <a:r>
              <a:rPr lang="en-US" altLang="zh-CN" sz="1200" b="0" dirty="0">
                <a:solidFill>
                  <a:schemeClr val="tx1">
                    <a:lumMod val="75000"/>
                    <a:lumOff val="25000"/>
                  </a:schemeClr>
                </a:solidFill>
                <a:effectLst/>
                <a:latin typeface="+mn-ea"/>
              </a:rPr>
              <a:t> sed do eiusmod tempor</a:t>
            </a:r>
            <a:endParaRPr lang="zh-CN" altLang="en-US" sz="1200" b="0" dirty="0">
              <a:solidFill>
                <a:schemeClr val="tx1">
                  <a:lumMod val="75000"/>
                  <a:lumOff val="25000"/>
                </a:schemeClr>
              </a:solidFill>
              <a:effectLst/>
              <a:latin typeface="+mn-ea"/>
            </a:endParaRPr>
          </a:p>
        </p:txBody>
      </p:sp>
      <p:sp>
        <p:nvSpPr>
          <p:cNvPr id="15" name="文本框 14">
            <a:extLst>
              <a:ext uri="{FF2B5EF4-FFF2-40B4-BE49-F238E27FC236}">
                <a16:creationId xmlns:a16="http://schemas.microsoft.com/office/drawing/2014/main" id="{D8030F32-C357-4662-82F6-5CD6297CEA59}"/>
              </a:ext>
            </a:extLst>
          </p:cNvPr>
          <p:cNvSpPr txBox="1"/>
          <p:nvPr/>
        </p:nvSpPr>
        <p:spPr>
          <a:xfrm>
            <a:off x="5010679" y="4133924"/>
            <a:ext cx="2312821" cy="704873"/>
          </a:xfrm>
          <a:prstGeom prst="rect">
            <a:avLst/>
          </a:prstGeom>
          <a:noFill/>
        </p:spPr>
        <p:txBody>
          <a:bodyPr wrap="square" lIns="0" tIns="0" rIns="0" bIns="0" rtlCol="0" anchor="t">
            <a:spAutoFit/>
          </a:bodyPr>
          <a:lstStyle/>
          <a:p>
            <a:pPr>
              <a:lnSpc>
                <a:spcPct val="130000"/>
              </a:lnSpc>
            </a:pPr>
            <a:r>
              <a:rPr lang="en-US" altLang="zh-CN" sz="1200" b="0" dirty="0">
                <a:solidFill>
                  <a:schemeClr val="tx1">
                    <a:lumMod val="75000"/>
                    <a:lumOff val="25000"/>
                  </a:schemeClr>
                </a:solidFill>
                <a:effectLst/>
                <a:latin typeface="+mn-ea"/>
              </a:rPr>
              <a:t>Lorem ipsum dolor sit </a:t>
            </a:r>
            <a:r>
              <a:rPr lang="en-US" altLang="zh-CN" sz="1200" b="0" dirty="0" err="1">
                <a:solidFill>
                  <a:schemeClr val="tx1">
                    <a:lumMod val="75000"/>
                    <a:lumOff val="25000"/>
                  </a:schemeClr>
                </a:solidFill>
                <a:effectLst/>
                <a:latin typeface="+mn-ea"/>
              </a:rPr>
              <a:t>amet</a:t>
            </a:r>
            <a:r>
              <a:rPr lang="en-US" altLang="zh-CN" sz="1200" b="0" dirty="0">
                <a:solidFill>
                  <a:schemeClr val="tx1">
                    <a:lumMod val="75000"/>
                    <a:lumOff val="25000"/>
                  </a:schemeClr>
                </a:solidFill>
                <a:effectLst/>
                <a:latin typeface="+mn-ea"/>
              </a:rPr>
              <a:t> consectetur </a:t>
            </a:r>
            <a:r>
              <a:rPr lang="en-US" altLang="zh-CN" sz="1200" b="0" dirty="0" err="1">
                <a:solidFill>
                  <a:schemeClr val="tx1">
                    <a:lumMod val="75000"/>
                    <a:lumOff val="25000"/>
                  </a:schemeClr>
                </a:solidFill>
                <a:effectLst/>
                <a:latin typeface="+mn-ea"/>
              </a:rPr>
              <a:t>adipisicing</a:t>
            </a:r>
            <a:r>
              <a:rPr lang="en-US" altLang="zh-CN" sz="1200" b="0" dirty="0">
                <a:solidFill>
                  <a:schemeClr val="tx1">
                    <a:lumMod val="75000"/>
                    <a:lumOff val="25000"/>
                  </a:schemeClr>
                </a:solidFill>
                <a:effectLst/>
                <a:latin typeface="+mn-ea"/>
              </a:rPr>
              <a:t> </a:t>
            </a:r>
            <a:r>
              <a:rPr lang="en-US" altLang="zh-CN" sz="1200" b="0" dirty="0" err="1">
                <a:solidFill>
                  <a:schemeClr val="tx1">
                    <a:lumMod val="75000"/>
                    <a:lumOff val="25000"/>
                  </a:schemeClr>
                </a:solidFill>
                <a:effectLst/>
                <a:latin typeface="+mn-ea"/>
              </a:rPr>
              <a:t>elit</a:t>
            </a:r>
            <a:r>
              <a:rPr lang="en-US" altLang="zh-CN" sz="1200" b="0" dirty="0">
                <a:solidFill>
                  <a:schemeClr val="tx1">
                    <a:lumMod val="75000"/>
                    <a:lumOff val="25000"/>
                  </a:schemeClr>
                </a:solidFill>
                <a:effectLst/>
                <a:latin typeface="+mn-ea"/>
              </a:rPr>
              <a:t> sed do eiusmod tempor</a:t>
            </a:r>
            <a:endParaRPr lang="zh-CN" altLang="en-US" sz="1200" b="0" dirty="0">
              <a:solidFill>
                <a:schemeClr val="tx1">
                  <a:lumMod val="75000"/>
                  <a:lumOff val="25000"/>
                </a:schemeClr>
              </a:solidFill>
              <a:effectLst/>
              <a:latin typeface="+mn-ea"/>
            </a:endParaRPr>
          </a:p>
        </p:txBody>
      </p:sp>
      <p:sp>
        <p:nvSpPr>
          <p:cNvPr id="16" name="矩形: 圆角 15">
            <a:extLst>
              <a:ext uri="{FF2B5EF4-FFF2-40B4-BE49-F238E27FC236}">
                <a16:creationId xmlns:a16="http://schemas.microsoft.com/office/drawing/2014/main" id="{D5C96B43-4AA8-431E-A154-F9D895F94CC5}"/>
              </a:ext>
            </a:extLst>
          </p:cNvPr>
          <p:cNvSpPr/>
          <p:nvPr/>
        </p:nvSpPr>
        <p:spPr>
          <a:xfrm>
            <a:off x="8394510" y="2431397"/>
            <a:ext cx="2616200" cy="2590800"/>
          </a:xfrm>
          <a:prstGeom prst="roundRect">
            <a:avLst>
              <a:gd name="adj" fmla="val 5638"/>
            </a:avLst>
          </a:prstGeom>
          <a:solidFill>
            <a:schemeClr val="bg1"/>
          </a:solidFill>
          <a:ln>
            <a:solidFill>
              <a:schemeClr val="accent1"/>
            </a:solidFill>
          </a:ln>
          <a:effectLst>
            <a:outerShdw blurRad="139700" algn="ctr" rotWithShape="0">
              <a:schemeClr val="accent1">
                <a:lumMod val="50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zh-CN" altLang="en-US" sz="1600">
              <a:solidFill>
                <a:schemeClr val="bg1"/>
              </a:solidFill>
              <a:latin typeface="+mj-ea"/>
              <a:ea typeface="+mj-ea"/>
            </a:endParaRPr>
          </a:p>
        </p:txBody>
      </p:sp>
      <p:grpSp>
        <p:nvGrpSpPr>
          <p:cNvPr id="17" name="组合 16">
            <a:extLst>
              <a:ext uri="{FF2B5EF4-FFF2-40B4-BE49-F238E27FC236}">
                <a16:creationId xmlns:a16="http://schemas.microsoft.com/office/drawing/2014/main" id="{A39DA2FC-3CC4-4D28-9FB4-F057F51858D7}"/>
              </a:ext>
            </a:extLst>
          </p:cNvPr>
          <p:cNvGrpSpPr/>
          <p:nvPr/>
        </p:nvGrpSpPr>
        <p:grpSpPr>
          <a:xfrm>
            <a:off x="8277035" y="2552253"/>
            <a:ext cx="2312821" cy="529947"/>
            <a:chOff x="1100939" y="3782259"/>
            <a:chExt cx="2312821" cy="529947"/>
          </a:xfrm>
        </p:grpSpPr>
        <p:sp>
          <p:nvSpPr>
            <p:cNvPr id="18" name="箭头: 五边形 17">
              <a:extLst>
                <a:ext uri="{FF2B5EF4-FFF2-40B4-BE49-F238E27FC236}">
                  <a16:creationId xmlns:a16="http://schemas.microsoft.com/office/drawing/2014/main" id="{2E7D6012-DECE-48C4-BC29-6B32CF9D57CA}"/>
                </a:ext>
              </a:extLst>
            </p:cNvPr>
            <p:cNvSpPr/>
            <p:nvPr/>
          </p:nvSpPr>
          <p:spPr>
            <a:xfrm>
              <a:off x="1100939" y="3870960"/>
              <a:ext cx="2312821" cy="441246"/>
            </a:xfrm>
            <a:prstGeom prst="homePlate">
              <a:avLst/>
            </a:prstGeom>
            <a:gradFill flip="none" rotWithShape="0">
              <a:gsLst>
                <a:gs pos="5000">
                  <a:schemeClr val="accent1"/>
                </a:gs>
                <a:gs pos="100000">
                  <a:schemeClr val="accent1">
                    <a:lumMod val="75000"/>
                  </a:schemeClr>
                </a:gs>
              </a:gsLst>
              <a:lin ang="2700000" scaled="1"/>
              <a:tileRect/>
            </a:gradFill>
            <a:ln>
              <a:noFill/>
            </a:ln>
            <a:effectLst>
              <a:outerShdw blurRad="254000" dist="152400" dir="5400000" sx="102000" sy="1020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91440" tIns="45720" rIns="91440" bIns="45720" numCol="1" spcCol="0" rtlCol="0" fromWordArt="0" anchor="ctr" anchorCtr="0" forceAA="0" compatLnSpc="1">
              <a:prstTxWarp prst="textNoShape">
                <a:avLst/>
              </a:prstTxWarp>
              <a:noAutofit/>
            </a:bodyPr>
            <a:lstStyle/>
            <a:p>
              <a:pPr algn="ctr" defTabSz="457200"/>
              <a:endParaRPr lang="zh-CN" altLang="en-US" dirty="0"/>
            </a:p>
          </p:txBody>
        </p:sp>
        <p:sp>
          <p:nvSpPr>
            <p:cNvPr id="19" name="等腰三角形 18">
              <a:extLst>
                <a:ext uri="{FF2B5EF4-FFF2-40B4-BE49-F238E27FC236}">
                  <a16:creationId xmlns:a16="http://schemas.microsoft.com/office/drawing/2014/main" id="{87FBBA34-F654-4377-9F2A-6F17A23BAD32}"/>
                </a:ext>
              </a:extLst>
            </p:cNvPr>
            <p:cNvSpPr/>
            <p:nvPr/>
          </p:nvSpPr>
          <p:spPr>
            <a:xfrm flipH="1">
              <a:off x="1100939" y="3782259"/>
              <a:ext cx="125881" cy="87775"/>
            </a:xfrm>
            <a:prstGeom prst="triangle">
              <a:avLst>
                <a:gd name="adj" fmla="val 0"/>
              </a:avLst>
            </a:prstGeom>
            <a:solidFill>
              <a:srgbClr val="094F7A"/>
            </a:solidFill>
            <a:ln>
              <a:noFill/>
            </a:ln>
            <a:effectLst>
              <a:outerShdw blurRad="127000" dir="18900000" sy="23000" kx="-1200000" algn="b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91440" tIns="45720" rIns="91440" bIns="45720" numCol="1" spcCol="0" rtlCol="0" fromWordArt="0" anchor="ctr" anchorCtr="0" forceAA="0" compatLnSpc="1">
              <a:prstTxWarp prst="textNoShape">
                <a:avLst/>
              </a:prstTxWarp>
              <a:noAutofit/>
            </a:bodyPr>
            <a:lstStyle/>
            <a:p>
              <a:pPr algn="ctr" defTabSz="457200"/>
              <a:endParaRPr lang="zh-CN" altLang="en-US"/>
            </a:p>
          </p:txBody>
        </p:sp>
      </p:grpSp>
      <p:sp>
        <p:nvSpPr>
          <p:cNvPr id="20" name="文本框 19">
            <a:extLst>
              <a:ext uri="{FF2B5EF4-FFF2-40B4-BE49-F238E27FC236}">
                <a16:creationId xmlns:a16="http://schemas.microsoft.com/office/drawing/2014/main" id="{24107F6C-65F7-43A1-A560-0FD14110570F}"/>
              </a:ext>
            </a:extLst>
          </p:cNvPr>
          <p:cNvSpPr txBox="1"/>
          <p:nvPr/>
        </p:nvSpPr>
        <p:spPr>
          <a:xfrm>
            <a:off x="8558551" y="2707688"/>
            <a:ext cx="1282402" cy="307777"/>
          </a:xfrm>
          <a:prstGeom prst="rect">
            <a:avLst/>
          </a:prstGeom>
          <a:noFill/>
        </p:spPr>
        <p:txBody>
          <a:bodyPr wrap="none" lIns="0" tIns="0" rIns="0" bIns="0" rtlCol="0" anchor="t">
            <a:spAutoFit/>
          </a:bodyPr>
          <a:lstStyle/>
          <a:p>
            <a:r>
              <a:rPr lang="zh-CN" altLang="en-US" sz="2000" dirty="0">
                <a:solidFill>
                  <a:schemeClr val="bg1"/>
                </a:solidFill>
                <a:latin typeface="+mj-ea"/>
                <a:ea typeface="+mj-ea"/>
              </a:rPr>
              <a:t>关键词标题</a:t>
            </a:r>
          </a:p>
        </p:txBody>
      </p:sp>
      <p:sp>
        <p:nvSpPr>
          <p:cNvPr id="21" name="文本框 20">
            <a:extLst>
              <a:ext uri="{FF2B5EF4-FFF2-40B4-BE49-F238E27FC236}">
                <a16:creationId xmlns:a16="http://schemas.microsoft.com/office/drawing/2014/main" id="{4BF430BF-A01B-40E5-9702-E6AF053C4E3E}"/>
              </a:ext>
            </a:extLst>
          </p:cNvPr>
          <p:cNvSpPr txBox="1"/>
          <p:nvPr/>
        </p:nvSpPr>
        <p:spPr>
          <a:xfrm>
            <a:off x="8558551" y="3244924"/>
            <a:ext cx="2312821" cy="704873"/>
          </a:xfrm>
          <a:prstGeom prst="rect">
            <a:avLst/>
          </a:prstGeom>
          <a:noFill/>
        </p:spPr>
        <p:txBody>
          <a:bodyPr wrap="square" lIns="0" tIns="0" rIns="0" bIns="0" rtlCol="0" anchor="t">
            <a:spAutoFit/>
          </a:bodyPr>
          <a:lstStyle/>
          <a:p>
            <a:pPr>
              <a:lnSpc>
                <a:spcPct val="130000"/>
              </a:lnSpc>
            </a:pPr>
            <a:r>
              <a:rPr lang="en-US" altLang="zh-CN" sz="1200" b="0" dirty="0">
                <a:solidFill>
                  <a:schemeClr val="tx1">
                    <a:lumMod val="75000"/>
                    <a:lumOff val="25000"/>
                  </a:schemeClr>
                </a:solidFill>
                <a:effectLst/>
                <a:latin typeface="+mn-ea"/>
              </a:rPr>
              <a:t>Lorem ipsum dolor sit </a:t>
            </a:r>
            <a:r>
              <a:rPr lang="en-US" altLang="zh-CN" sz="1200" b="0" dirty="0" err="1">
                <a:solidFill>
                  <a:schemeClr val="tx1">
                    <a:lumMod val="75000"/>
                    <a:lumOff val="25000"/>
                  </a:schemeClr>
                </a:solidFill>
                <a:effectLst/>
                <a:latin typeface="+mn-ea"/>
              </a:rPr>
              <a:t>amet</a:t>
            </a:r>
            <a:r>
              <a:rPr lang="en-US" altLang="zh-CN" sz="1200" b="0" dirty="0">
                <a:solidFill>
                  <a:schemeClr val="tx1">
                    <a:lumMod val="75000"/>
                    <a:lumOff val="25000"/>
                  </a:schemeClr>
                </a:solidFill>
                <a:effectLst/>
                <a:latin typeface="+mn-ea"/>
              </a:rPr>
              <a:t> consectetur </a:t>
            </a:r>
            <a:r>
              <a:rPr lang="en-US" altLang="zh-CN" sz="1200" b="0" dirty="0" err="1">
                <a:solidFill>
                  <a:schemeClr val="tx1">
                    <a:lumMod val="75000"/>
                    <a:lumOff val="25000"/>
                  </a:schemeClr>
                </a:solidFill>
                <a:effectLst/>
                <a:latin typeface="+mn-ea"/>
              </a:rPr>
              <a:t>adipisicing</a:t>
            </a:r>
            <a:r>
              <a:rPr lang="en-US" altLang="zh-CN" sz="1200" b="0" dirty="0">
                <a:solidFill>
                  <a:schemeClr val="tx1">
                    <a:lumMod val="75000"/>
                    <a:lumOff val="25000"/>
                  </a:schemeClr>
                </a:solidFill>
                <a:effectLst/>
                <a:latin typeface="+mn-ea"/>
              </a:rPr>
              <a:t> </a:t>
            </a:r>
            <a:r>
              <a:rPr lang="en-US" altLang="zh-CN" sz="1200" b="0" dirty="0" err="1">
                <a:solidFill>
                  <a:schemeClr val="tx1">
                    <a:lumMod val="75000"/>
                    <a:lumOff val="25000"/>
                  </a:schemeClr>
                </a:solidFill>
                <a:effectLst/>
                <a:latin typeface="+mn-ea"/>
              </a:rPr>
              <a:t>elit</a:t>
            </a:r>
            <a:r>
              <a:rPr lang="en-US" altLang="zh-CN" sz="1200" b="0" dirty="0">
                <a:solidFill>
                  <a:schemeClr val="tx1">
                    <a:lumMod val="75000"/>
                    <a:lumOff val="25000"/>
                  </a:schemeClr>
                </a:solidFill>
                <a:effectLst/>
                <a:latin typeface="+mn-ea"/>
              </a:rPr>
              <a:t> sed do eiusmod tempor</a:t>
            </a:r>
            <a:endParaRPr lang="zh-CN" altLang="en-US" sz="1200" b="0" dirty="0">
              <a:solidFill>
                <a:schemeClr val="tx1">
                  <a:lumMod val="75000"/>
                  <a:lumOff val="25000"/>
                </a:schemeClr>
              </a:solidFill>
              <a:effectLst/>
              <a:latin typeface="+mn-ea"/>
            </a:endParaRPr>
          </a:p>
        </p:txBody>
      </p:sp>
      <p:sp>
        <p:nvSpPr>
          <p:cNvPr id="22" name="文本框 21">
            <a:extLst>
              <a:ext uri="{FF2B5EF4-FFF2-40B4-BE49-F238E27FC236}">
                <a16:creationId xmlns:a16="http://schemas.microsoft.com/office/drawing/2014/main" id="{035E843C-5B81-4BAA-B81C-3EEC36AFE0B6}"/>
              </a:ext>
            </a:extLst>
          </p:cNvPr>
          <p:cNvSpPr txBox="1"/>
          <p:nvPr/>
        </p:nvSpPr>
        <p:spPr>
          <a:xfrm>
            <a:off x="8558551" y="4133924"/>
            <a:ext cx="2312821" cy="704873"/>
          </a:xfrm>
          <a:prstGeom prst="rect">
            <a:avLst/>
          </a:prstGeom>
          <a:noFill/>
        </p:spPr>
        <p:txBody>
          <a:bodyPr wrap="square" lIns="0" tIns="0" rIns="0" bIns="0" rtlCol="0" anchor="t">
            <a:spAutoFit/>
          </a:bodyPr>
          <a:lstStyle/>
          <a:p>
            <a:pPr>
              <a:lnSpc>
                <a:spcPct val="130000"/>
              </a:lnSpc>
            </a:pPr>
            <a:r>
              <a:rPr lang="en-US" altLang="zh-CN" sz="1200" b="0" dirty="0">
                <a:solidFill>
                  <a:schemeClr val="tx1">
                    <a:lumMod val="75000"/>
                    <a:lumOff val="25000"/>
                  </a:schemeClr>
                </a:solidFill>
                <a:effectLst/>
                <a:latin typeface="+mn-ea"/>
              </a:rPr>
              <a:t>Lorem ipsum dolor sit </a:t>
            </a:r>
            <a:r>
              <a:rPr lang="en-US" altLang="zh-CN" sz="1200" b="0" dirty="0" err="1">
                <a:solidFill>
                  <a:schemeClr val="tx1">
                    <a:lumMod val="75000"/>
                    <a:lumOff val="25000"/>
                  </a:schemeClr>
                </a:solidFill>
                <a:effectLst/>
                <a:latin typeface="+mn-ea"/>
              </a:rPr>
              <a:t>amet</a:t>
            </a:r>
            <a:r>
              <a:rPr lang="en-US" altLang="zh-CN" sz="1200" b="0" dirty="0">
                <a:solidFill>
                  <a:schemeClr val="tx1">
                    <a:lumMod val="75000"/>
                    <a:lumOff val="25000"/>
                  </a:schemeClr>
                </a:solidFill>
                <a:effectLst/>
                <a:latin typeface="+mn-ea"/>
              </a:rPr>
              <a:t> consectetur </a:t>
            </a:r>
            <a:r>
              <a:rPr lang="en-US" altLang="zh-CN" sz="1200" b="0" dirty="0" err="1">
                <a:solidFill>
                  <a:schemeClr val="tx1">
                    <a:lumMod val="75000"/>
                    <a:lumOff val="25000"/>
                  </a:schemeClr>
                </a:solidFill>
                <a:effectLst/>
                <a:latin typeface="+mn-ea"/>
              </a:rPr>
              <a:t>adipisicing</a:t>
            </a:r>
            <a:r>
              <a:rPr lang="en-US" altLang="zh-CN" sz="1200" b="0" dirty="0">
                <a:solidFill>
                  <a:schemeClr val="tx1">
                    <a:lumMod val="75000"/>
                    <a:lumOff val="25000"/>
                  </a:schemeClr>
                </a:solidFill>
                <a:effectLst/>
                <a:latin typeface="+mn-ea"/>
              </a:rPr>
              <a:t> </a:t>
            </a:r>
            <a:r>
              <a:rPr lang="en-US" altLang="zh-CN" sz="1200" b="0" dirty="0" err="1">
                <a:solidFill>
                  <a:schemeClr val="tx1">
                    <a:lumMod val="75000"/>
                    <a:lumOff val="25000"/>
                  </a:schemeClr>
                </a:solidFill>
                <a:effectLst/>
                <a:latin typeface="+mn-ea"/>
              </a:rPr>
              <a:t>elit</a:t>
            </a:r>
            <a:r>
              <a:rPr lang="en-US" altLang="zh-CN" sz="1200" b="0" dirty="0">
                <a:solidFill>
                  <a:schemeClr val="tx1">
                    <a:lumMod val="75000"/>
                    <a:lumOff val="25000"/>
                  </a:schemeClr>
                </a:solidFill>
                <a:effectLst/>
                <a:latin typeface="+mn-ea"/>
              </a:rPr>
              <a:t> sed do eiusmod tempor</a:t>
            </a:r>
            <a:endParaRPr lang="zh-CN" altLang="en-US" sz="1200" b="0" dirty="0">
              <a:solidFill>
                <a:schemeClr val="tx1">
                  <a:lumMod val="75000"/>
                  <a:lumOff val="25000"/>
                </a:schemeClr>
              </a:solidFill>
              <a:effectLst/>
              <a:latin typeface="+mn-ea"/>
            </a:endParaRPr>
          </a:p>
        </p:txBody>
      </p:sp>
    </p:spTree>
    <p:extLst>
      <p:ext uri="{BB962C8B-B14F-4D97-AF65-F5344CB8AC3E}">
        <p14:creationId xmlns:p14="http://schemas.microsoft.com/office/powerpoint/2010/main" val="2484668494"/>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2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组合 11">
            <a:extLst>
              <a:ext uri="{FF2B5EF4-FFF2-40B4-BE49-F238E27FC236}">
                <a16:creationId xmlns:a16="http://schemas.microsoft.com/office/drawing/2014/main" id="{A2EAF53F-A4D9-45D3-8FB9-37F2DD70A292}"/>
              </a:ext>
            </a:extLst>
          </p:cNvPr>
          <p:cNvGrpSpPr/>
          <p:nvPr/>
        </p:nvGrpSpPr>
        <p:grpSpPr>
          <a:xfrm>
            <a:off x="931422" y="1949757"/>
            <a:ext cx="3196836" cy="3554497"/>
            <a:chOff x="290455" y="1949757"/>
            <a:chExt cx="3196836" cy="3554497"/>
          </a:xfrm>
        </p:grpSpPr>
        <p:sp>
          <p:nvSpPr>
            <p:cNvPr id="8" name="矩形: 圆角 7">
              <a:extLst>
                <a:ext uri="{FF2B5EF4-FFF2-40B4-BE49-F238E27FC236}">
                  <a16:creationId xmlns:a16="http://schemas.microsoft.com/office/drawing/2014/main" id="{9D099099-256F-44E6-A8B8-D344D2888E03}"/>
                </a:ext>
              </a:extLst>
            </p:cNvPr>
            <p:cNvSpPr/>
            <p:nvPr/>
          </p:nvSpPr>
          <p:spPr>
            <a:xfrm>
              <a:off x="733555" y="2032487"/>
              <a:ext cx="2753736" cy="3471767"/>
            </a:xfrm>
            <a:prstGeom prst="roundRect">
              <a:avLst>
                <a:gd name="adj" fmla="val 9906"/>
              </a:avLst>
            </a:prstGeom>
            <a:solidFill>
              <a:schemeClr val="bg1"/>
            </a:solidFill>
            <a:ln>
              <a:solidFill>
                <a:schemeClr val="accent1"/>
              </a:solidFill>
            </a:ln>
            <a:effectLst>
              <a:outerShdw blurRad="139700" algn="ctr" rotWithShape="0">
                <a:schemeClr val="accent1">
                  <a:lumMod val="50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zh-CN" altLang="en-US" sz="1600">
                <a:solidFill>
                  <a:schemeClr val="bg1"/>
                </a:solidFill>
                <a:latin typeface="+mj-ea"/>
                <a:ea typeface="+mj-ea"/>
              </a:endParaRPr>
            </a:p>
          </p:txBody>
        </p:sp>
        <p:grpSp>
          <p:nvGrpSpPr>
            <p:cNvPr id="2" name="组合 1">
              <a:extLst>
                <a:ext uri="{FF2B5EF4-FFF2-40B4-BE49-F238E27FC236}">
                  <a16:creationId xmlns:a16="http://schemas.microsoft.com/office/drawing/2014/main" id="{802D1D95-D2F4-4748-B938-8868909654E3}"/>
                </a:ext>
              </a:extLst>
            </p:cNvPr>
            <p:cNvGrpSpPr/>
            <p:nvPr/>
          </p:nvGrpSpPr>
          <p:grpSpPr>
            <a:xfrm>
              <a:off x="290455" y="1949757"/>
              <a:ext cx="1534286" cy="1084904"/>
              <a:chOff x="336175" y="1373685"/>
              <a:chExt cx="1534286" cy="1084904"/>
            </a:xfrm>
          </p:grpSpPr>
          <p:grpSp>
            <p:nvGrpSpPr>
              <p:cNvPr id="3" name="组合 2">
                <a:extLst>
                  <a:ext uri="{FF2B5EF4-FFF2-40B4-BE49-F238E27FC236}">
                    <a16:creationId xmlns:a16="http://schemas.microsoft.com/office/drawing/2014/main" id="{FC49B1E8-F590-4585-BAE0-D625D65579BA}"/>
                  </a:ext>
                </a:extLst>
              </p:cNvPr>
              <p:cNvGrpSpPr/>
              <p:nvPr/>
            </p:nvGrpSpPr>
            <p:grpSpPr>
              <a:xfrm>
                <a:off x="336175" y="1373685"/>
                <a:ext cx="1534286" cy="1084904"/>
                <a:chOff x="336175" y="981075"/>
                <a:chExt cx="1534286" cy="1084904"/>
              </a:xfrm>
            </p:grpSpPr>
            <p:sp>
              <p:nvSpPr>
                <p:cNvPr id="5" name="等腰三角形 4">
                  <a:extLst>
                    <a:ext uri="{FF2B5EF4-FFF2-40B4-BE49-F238E27FC236}">
                      <a16:creationId xmlns:a16="http://schemas.microsoft.com/office/drawing/2014/main" id="{4E94E479-F861-4FFE-B6E7-38CC4B9A9452}"/>
                    </a:ext>
                  </a:extLst>
                </p:cNvPr>
                <p:cNvSpPr/>
                <p:nvPr/>
              </p:nvSpPr>
              <p:spPr>
                <a:xfrm>
                  <a:off x="1701800" y="981075"/>
                  <a:ext cx="85957" cy="82730"/>
                </a:xfrm>
                <a:prstGeom prst="triangle">
                  <a:avLst>
                    <a:gd name="adj" fmla="val 100000"/>
                  </a:avLst>
                </a:prstGeom>
                <a:solidFill>
                  <a:schemeClr val="accent1">
                    <a:lumMod val="75000"/>
                  </a:schemeClr>
                </a:solidFill>
                <a:ln>
                  <a:noFill/>
                </a:ln>
                <a:effectLst>
                  <a:outerShdw blurRad="127000" dir="18900000" sy="23000" kx="-1200000" algn="b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91440" tIns="45720" rIns="91440" bIns="45720" numCol="1" spcCol="0" rtlCol="0" fromWordArt="0" anchor="ctr" anchorCtr="0" forceAA="0" compatLnSpc="1">
                  <a:prstTxWarp prst="textNoShape">
                    <a:avLst/>
                  </a:prstTxWarp>
                  <a:noAutofit/>
                </a:bodyPr>
                <a:lstStyle/>
                <a:p>
                  <a:pPr algn="ctr" defTabSz="457200"/>
                  <a:endParaRPr lang="zh-CN" altLang="en-US"/>
                </a:p>
              </p:txBody>
            </p:sp>
            <p:sp>
              <p:nvSpPr>
                <p:cNvPr id="6" name="等腰三角形 5">
                  <a:extLst>
                    <a:ext uri="{FF2B5EF4-FFF2-40B4-BE49-F238E27FC236}">
                      <a16:creationId xmlns:a16="http://schemas.microsoft.com/office/drawing/2014/main" id="{AA80BD77-10A5-4EFB-B023-F60B3D616691}"/>
                    </a:ext>
                  </a:extLst>
                </p:cNvPr>
                <p:cNvSpPr/>
                <p:nvPr/>
              </p:nvSpPr>
              <p:spPr>
                <a:xfrm>
                  <a:off x="700406" y="1986914"/>
                  <a:ext cx="78868" cy="79065"/>
                </a:xfrm>
                <a:prstGeom prst="triangle">
                  <a:avLst>
                    <a:gd name="adj" fmla="val 100000"/>
                  </a:avLst>
                </a:prstGeom>
                <a:solidFill>
                  <a:schemeClr val="accent1">
                    <a:lumMod val="75000"/>
                  </a:schemeClr>
                </a:solidFill>
                <a:ln>
                  <a:noFill/>
                </a:ln>
                <a:effectLst>
                  <a:outerShdw blurRad="127000" dir="18900000" sy="23000" kx="-1200000" algn="b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91440" tIns="45720" rIns="91440" bIns="45720" numCol="1" spcCol="0" rtlCol="0" fromWordArt="0" anchor="ctr" anchorCtr="0" forceAA="0" compatLnSpc="1">
                  <a:prstTxWarp prst="textNoShape">
                    <a:avLst/>
                  </a:prstTxWarp>
                  <a:noAutofit/>
                </a:bodyPr>
                <a:lstStyle/>
                <a:p>
                  <a:pPr algn="ctr" defTabSz="457200"/>
                  <a:endParaRPr lang="zh-CN" altLang="en-US"/>
                </a:p>
              </p:txBody>
            </p:sp>
            <p:sp>
              <p:nvSpPr>
                <p:cNvPr id="7" name="任意多边形: 形状 6">
                  <a:extLst>
                    <a:ext uri="{FF2B5EF4-FFF2-40B4-BE49-F238E27FC236}">
                      <a16:creationId xmlns:a16="http://schemas.microsoft.com/office/drawing/2014/main" id="{3F73CCEA-0CAF-460B-823A-5E655A6AC13D}"/>
                    </a:ext>
                  </a:extLst>
                </p:cNvPr>
                <p:cNvSpPr/>
                <p:nvPr/>
              </p:nvSpPr>
              <p:spPr>
                <a:xfrm rot="18900000">
                  <a:off x="336175" y="1180741"/>
                  <a:ext cx="1534286" cy="401599"/>
                </a:xfrm>
                <a:custGeom>
                  <a:avLst/>
                  <a:gdLst>
                    <a:gd name="connsiteX0" fmla="*/ 1132688 w 1534286"/>
                    <a:gd name="connsiteY0" fmla="*/ 0 h 401599"/>
                    <a:gd name="connsiteX1" fmla="*/ 1534286 w 1534286"/>
                    <a:gd name="connsiteY1" fmla="*/ 401599 h 401599"/>
                    <a:gd name="connsiteX2" fmla="*/ 0 w 1534286"/>
                    <a:gd name="connsiteY2" fmla="*/ 401599 h 401599"/>
                    <a:gd name="connsiteX3" fmla="*/ 401599 w 1534286"/>
                    <a:gd name="connsiteY3" fmla="*/ 0 h 401599"/>
                  </a:gdLst>
                  <a:ahLst/>
                  <a:cxnLst>
                    <a:cxn ang="0">
                      <a:pos x="connsiteX0" y="connsiteY0"/>
                    </a:cxn>
                    <a:cxn ang="0">
                      <a:pos x="connsiteX1" y="connsiteY1"/>
                    </a:cxn>
                    <a:cxn ang="0">
                      <a:pos x="connsiteX2" y="connsiteY2"/>
                    </a:cxn>
                    <a:cxn ang="0">
                      <a:pos x="connsiteX3" y="connsiteY3"/>
                    </a:cxn>
                  </a:cxnLst>
                  <a:rect l="l" t="t" r="r" b="b"/>
                  <a:pathLst>
                    <a:path w="1534286" h="401599">
                      <a:moveTo>
                        <a:pt x="1132688" y="0"/>
                      </a:moveTo>
                      <a:lnTo>
                        <a:pt x="1534286" y="401599"/>
                      </a:lnTo>
                      <a:lnTo>
                        <a:pt x="0" y="401599"/>
                      </a:lnTo>
                      <a:lnTo>
                        <a:pt x="401599" y="0"/>
                      </a:lnTo>
                      <a:close/>
                    </a:path>
                  </a:pathLst>
                </a:custGeom>
                <a:gradFill flip="none" rotWithShape="0">
                  <a:gsLst>
                    <a:gs pos="5000">
                      <a:schemeClr val="accent1"/>
                    </a:gs>
                    <a:gs pos="100000">
                      <a:schemeClr val="accent1">
                        <a:lumMod val="75000"/>
                      </a:schemeClr>
                    </a:gs>
                  </a:gsLst>
                  <a:lin ang="2700000" scaled="1"/>
                  <a:tileRect/>
                </a:gradFill>
                <a:ln>
                  <a:noFill/>
                </a:ln>
                <a:effectLst>
                  <a:outerShdw blurRad="254000" dist="152400" dir="5400000" sx="102000" sy="1020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91440" tIns="45720" rIns="91440" bIns="45720" numCol="1" spcCol="0" rtlCol="0" fromWordArt="0" anchor="ctr" anchorCtr="0" forceAA="0" compatLnSpc="1">
                  <a:prstTxWarp prst="textNoShape">
                    <a:avLst/>
                  </a:prstTxWarp>
                  <a:noAutofit/>
                </a:bodyPr>
                <a:lstStyle/>
                <a:p>
                  <a:pPr algn="ctr" defTabSz="457200"/>
                  <a:endParaRPr lang="zh-CN" altLang="en-US"/>
                </a:p>
              </p:txBody>
            </p:sp>
          </p:grpSp>
          <p:sp>
            <p:nvSpPr>
              <p:cNvPr id="4" name="文本框 3">
                <a:extLst>
                  <a:ext uri="{FF2B5EF4-FFF2-40B4-BE49-F238E27FC236}">
                    <a16:creationId xmlns:a16="http://schemas.microsoft.com/office/drawing/2014/main" id="{3B38A5FF-944C-47BD-9D49-975C06C8FEF2}"/>
                  </a:ext>
                </a:extLst>
              </p:cNvPr>
              <p:cNvSpPr txBox="1"/>
              <p:nvPr/>
            </p:nvSpPr>
            <p:spPr>
              <a:xfrm rot="18900000">
                <a:off x="775766" y="1576951"/>
                <a:ext cx="646331" cy="369332"/>
              </a:xfrm>
              <a:prstGeom prst="rect">
                <a:avLst/>
              </a:prstGeom>
              <a:noFill/>
            </p:spPr>
            <p:txBody>
              <a:bodyPr wrap="none" rtlCol="0">
                <a:spAutoFit/>
              </a:bodyPr>
              <a:lstStyle/>
              <a:p>
                <a:r>
                  <a:rPr lang="en-US" altLang="zh-CN" dirty="0">
                    <a:solidFill>
                      <a:schemeClr val="bg1"/>
                    </a:solidFill>
                  </a:rPr>
                  <a:t>20</a:t>
                </a:r>
                <a:r>
                  <a:rPr lang="zh-CN" altLang="en-US" dirty="0">
                    <a:solidFill>
                      <a:schemeClr val="bg1"/>
                    </a:solidFill>
                  </a:rPr>
                  <a:t>**</a:t>
                </a:r>
              </a:p>
            </p:txBody>
          </p:sp>
        </p:grpSp>
        <p:sp>
          <p:nvSpPr>
            <p:cNvPr id="9" name="文本框 8">
              <a:extLst>
                <a:ext uri="{FF2B5EF4-FFF2-40B4-BE49-F238E27FC236}">
                  <a16:creationId xmlns:a16="http://schemas.microsoft.com/office/drawing/2014/main" id="{D6CA0638-EB17-4B53-B715-2FA33F79CE55}"/>
                </a:ext>
              </a:extLst>
            </p:cNvPr>
            <p:cNvSpPr txBox="1"/>
            <p:nvPr/>
          </p:nvSpPr>
          <p:spPr>
            <a:xfrm>
              <a:off x="1397090" y="2696781"/>
              <a:ext cx="1538883" cy="369332"/>
            </a:xfrm>
            <a:prstGeom prst="rect">
              <a:avLst/>
            </a:prstGeom>
            <a:noFill/>
          </p:spPr>
          <p:txBody>
            <a:bodyPr wrap="none" lIns="0" tIns="0" rIns="0" bIns="0" rtlCol="0" anchor="t">
              <a:spAutoFit/>
            </a:bodyPr>
            <a:lstStyle/>
            <a:p>
              <a:pPr algn="ctr"/>
              <a:r>
                <a:rPr lang="zh-CN" altLang="en-US" sz="2400" dirty="0">
                  <a:solidFill>
                    <a:schemeClr val="accent1"/>
                  </a:solidFill>
                  <a:latin typeface="+mj-ea"/>
                  <a:ea typeface="+mj-ea"/>
                </a:rPr>
                <a:t>关键词标题</a:t>
              </a:r>
            </a:p>
          </p:txBody>
        </p:sp>
        <p:sp>
          <p:nvSpPr>
            <p:cNvPr id="10" name="文本框 9">
              <a:extLst>
                <a:ext uri="{FF2B5EF4-FFF2-40B4-BE49-F238E27FC236}">
                  <a16:creationId xmlns:a16="http://schemas.microsoft.com/office/drawing/2014/main" id="{850C8F81-7AAF-41D4-BCA4-0B15B9942042}"/>
                </a:ext>
              </a:extLst>
            </p:cNvPr>
            <p:cNvSpPr txBox="1"/>
            <p:nvPr/>
          </p:nvSpPr>
          <p:spPr>
            <a:xfrm>
              <a:off x="1054515" y="3292202"/>
              <a:ext cx="2224033" cy="704873"/>
            </a:xfrm>
            <a:prstGeom prst="rect">
              <a:avLst/>
            </a:prstGeom>
            <a:noFill/>
          </p:spPr>
          <p:txBody>
            <a:bodyPr wrap="square" lIns="0" tIns="0" rIns="0" bIns="0" rtlCol="0" anchor="t">
              <a:spAutoFit/>
            </a:bodyPr>
            <a:lstStyle/>
            <a:p>
              <a:pPr algn="ctr">
                <a:lnSpc>
                  <a:spcPct val="130000"/>
                </a:lnSpc>
              </a:pPr>
              <a:r>
                <a:rPr lang="en-US" altLang="zh-CN" sz="1200" b="0" dirty="0">
                  <a:solidFill>
                    <a:schemeClr val="tx1">
                      <a:lumMod val="75000"/>
                      <a:lumOff val="25000"/>
                    </a:schemeClr>
                  </a:solidFill>
                  <a:effectLst/>
                  <a:latin typeface="+mn-ea"/>
                </a:rPr>
                <a:t>Lorem ipsum dolor sit </a:t>
              </a:r>
              <a:r>
                <a:rPr lang="en-US" altLang="zh-CN" sz="1200" b="0" dirty="0" err="1">
                  <a:solidFill>
                    <a:schemeClr val="tx1">
                      <a:lumMod val="75000"/>
                      <a:lumOff val="25000"/>
                    </a:schemeClr>
                  </a:solidFill>
                  <a:effectLst/>
                  <a:latin typeface="+mn-ea"/>
                </a:rPr>
                <a:t>amet</a:t>
              </a:r>
              <a:r>
                <a:rPr lang="en-US" altLang="zh-CN" sz="1200" b="0" dirty="0">
                  <a:solidFill>
                    <a:schemeClr val="tx1">
                      <a:lumMod val="75000"/>
                      <a:lumOff val="25000"/>
                    </a:schemeClr>
                  </a:solidFill>
                  <a:effectLst/>
                  <a:latin typeface="+mn-ea"/>
                </a:rPr>
                <a:t> consectetur </a:t>
              </a:r>
              <a:r>
                <a:rPr lang="en-US" altLang="zh-CN" sz="1200" b="0" dirty="0" err="1">
                  <a:solidFill>
                    <a:schemeClr val="tx1">
                      <a:lumMod val="75000"/>
                      <a:lumOff val="25000"/>
                    </a:schemeClr>
                  </a:solidFill>
                  <a:effectLst/>
                  <a:latin typeface="+mn-ea"/>
                </a:rPr>
                <a:t>adipisicing</a:t>
              </a:r>
              <a:r>
                <a:rPr lang="en-US" altLang="zh-CN" sz="1200" b="0" dirty="0">
                  <a:solidFill>
                    <a:schemeClr val="tx1">
                      <a:lumMod val="75000"/>
                      <a:lumOff val="25000"/>
                    </a:schemeClr>
                  </a:solidFill>
                  <a:effectLst/>
                  <a:latin typeface="+mn-ea"/>
                </a:rPr>
                <a:t> </a:t>
              </a:r>
              <a:r>
                <a:rPr lang="en-US" altLang="zh-CN" sz="1200" b="0" dirty="0" err="1">
                  <a:solidFill>
                    <a:schemeClr val="tx1">
                      <a:lumMod val="75000"/>
                      <a:lumOff val="25000"/>
                    </a:schemeClr>
                  </a:solidFill>
                  <a:effectLst/>
                  <a:latin typeface="+mn-ea"/>
                </a:rPr>
                <a:t>elit</a:t>
              </a:r>
              <a:r>
                <a:rPr lang="en-US" altLang="zh-CN" sz="1200" b="0" dirty="0">
                  <a:solidFill>
                    <a:schemeClr val="tx1">
                      <a:lumMod val="75000"/>
                      <a:lumOff val="25000"/>
                    </a:schemeClr>
                  </a:solidFill>
                  <a:effectLst/>
                  <a:latin typeface="+mn-ea"/>
                </a:rPr>
                <a:t> sed do eiusmod tempor</a:t>
              </a:r>
              <a:endParaRPr lang="zh-CN" altLang="en-US" sz="1200" b="0" dirty="0">
                <a:solidFill>
                  <a:schemeClr val="tx1">
                    <a:lumMod val="75000"/>
                    <a:lumOff val="25000"/>
                  </a:schemeClr>
                </a:solidFill>
                <a:effectLst/>
                <a:latin typeface="+mn-ea"/>
              </a:endParaRPr>
            </a:p>
          </p:txBody>
        </p:sp>
        <p:sp>
          <p:nvSpPr>
            <p:cNvPr id="11" name="文本框 10">
              <a:extLst>
                <a:ext uri="{FF2B5EF4-FFF2-40B4-BE49-F238E27FC236}">
                  <a16:creationId xmlns:a16="http://schemas.microsoft.com/office/drawing/2014/main" id="{2AF831A8-748F-4874-AC9D-8D8A058FCBC1}"/>
                </a:ext>
              </a:extLst>
            </p:cNvPr>
            <p:cNvSpPr txBox="1"/>
            <p:nvPr/>
          </p:nvSpPr>
          <p:spPr>
            <a:xfrm>
              <a:off x="1054515" y="4252322"/>
              <a:ext cx="2224033" cy="704873"/>
            </a:xfrm>
            <a:prstGeom prst="rect">
              <a:avLst/>
            </a:prstGeom>
            <a:noFill/>
          </p:spPr>
          <p:txBody>
            <a:bodyPr wrap="square" lIns="0" tIns="0" rIns="0" bIns="0" rtlCol="0" anchor="t">
              <a:spAutoFit/>
            </a:bodyPr>
            <a:lstStyle/>
            <a:p>
              <a:pPr algn="ctr">
                <a:lnSpc>
                  <a:spcPct val="130000"/>
                </a:lnSpc>
              </a:pPr>
              <a:r>
                <a:rPr lang="en-US" altLang="zh-CN" sz="1200" b="0" dirty="0">
                  <a:solidFill>
                    <a:schemeClr val="tx1">
                      <a:lumMod val="75000"/>
                      <a:lumOff val="25000"/>
                    </a:schemeClr>
                  </a:solidFill>
                  <a:effectLst/>
                  <a:latin typeface="+mn-ea"/>
                </a:rPr>
                <a:t>Lorem ipsum dolor sit </a:t>
              </a:r>
              <a:r>
                <a:rPr lang="en-US" altLang="zh-CN" sz="1200" b="0" dirty="0" err="1">
                  <a:solidFill>
                    <a:schemeClr val="tx1">
                      <a:lumMod val="75000"/>
                      <a:lumOff val="25000"/>
                    </a:schemeClr>
                  </a:solidFill>
                  <a:effectLst/>
                  <a:latin typeface="+mn-ea"/>
                </a:rPr>
                <a:t>amet</a:t>
              </a:r>
              <a:r>
                <a:rPr lang="en-US" altLang="zh-CN" sz="1200" b="0" dirty="0">
                  <a:solidFill>
                    <a:schemeClr val="tx1">
                      <a:lumMod val="75000"/>
                      <a:lumOff val="25000"/>
                    </a:schemeClr>
                  </a:solidFill>
                  <a:effectLst/>
                  <a:latin typeface="+mn-ea"/>
                </a:rPr>
                <a:t> consectetur </a:t>
              </a:r>
              <a:r>
                <a:rPr lang="en-US" altLang="zh-CN" sz="1200" b="0" dirty="0" err="1">
                  <a:solidFill>
                    <a:schemeClr val="tx1">
                      <a:lumMod val="75000"/>
                      <a:lumOff val="25000"/>
                    </a:schemeClr>
                  </a:solidFill>
                  <a:effectLst/>
                  <a:latin typeface="+mn-ea"/>
                </a:rPr>
                <a:t>adipisicing</a:t>
              </a:r>
              <a:r>
                <a:rPr lang="en-US" altLang="zh-CN" sz="1200" b="0" dirty="0">
                  <a:solidFill>
                    <a:schemeClr val="tx1">
                      <a:lumMod val="75000"/>
                      <a:lumOff val="25000"/>
                    </a:schemeClr>
                  </a:solidFill>
                  <a:effectLst/>
                  <a:latin typeface="+mn-ea"/>
                </a:rPr>
                <a:t> </a:t>
              </a:r>
              <a:r>
                <a:rPr lang="en-US" altLang="zh-CN" sz="1200" b="0" dirty="0" err="1">
                  <a:solidFill>
                    <a:schemeClr val="tx1">
                      <a:lumMod val="75000"/>
                      <a:lumOff val="25000"/>
                    </a:schemeClr>
                  </a:solidFill>
                  <a:effectLst/>
                  <a:latin typeface="+mn-ea"/>
                </a:rPr>
                <a:t>elit</a:t>
              </a:r>
              <a:r>
                <a:rPr lang="en-US" altLang="zh-CN" sz="1200" b="0" dirty="0">
                  <a:solidFill>
                    <a:schemeClr val="tx1">
                      <a:lumMod val="75000"/>
                      <a:lumOff val="25000"/>
                    </a:schemeClr>
                  </a:solidFill>
                  <a:effectLst/>
                  <a:latin typeface="+mn-ea"/>
                </a:rPr>
                <a:t> sed do eiusmod tempor</a:t>
              </a:r>
              <a:endParaRPr lang="zh-CN" altLang="en-US" sz="1200" b="0" dirty="0">
                <a:solidFill>
                  <a:schemeClr val="tx1">
                    <a:lumMod val="75000"/>
                    <a:lumOff val="25000"/>
                  </a:schemeClr>
                </a:solidFill>
                <a:effectLst/>
                <a:latin typeface="+mn-ea"/>
              </a:endParaRPr>
            </a:p>
          </p:txBody>
        </p:sp>
      </p:grpSp>
      <p:grpSp>
        <p:nvGrpSpPr>
          <p:cNvPr id="13" name="组合 12">
            <a:extLst>
              <a:ext uri="{FF2B5EF4-FFF2-40B4-BE49-F238E27FC236}">
                <a16:creationId xmlns:a16="http://schemas.microsoft.com/office/drawing/2014/main" id="{2AD10DB1-E774-4A3D-9648-DDAD0337BCF6}"/>
              </a:ext>
            </a:extLst>
          </p:cNvPr>
          <p:cNvGrpSpPr/>
          <p:nvPr/>
        </p:nvGrpSpPr>
        <p:grpSpPr>
          <a:xfrm>
            <a:off x="4497582" y="1949757"/>
            <a:ext cx="3196836" cy="3554497"/>
            <a:chOff x="290455" y="1949757"/>
            <a:chExt cx="3196836" cy="3554497"/>
          </a:xfrm>
        </p:grpSpPr>
        <p:sp>
          <p:nvSpPr>
            <p:cNvPr id="14" name="矩形: 圆角 13">
              <a:extLst>
                <a:ext uri="{FF2B5EF4-FFF2-40B4-BE49-F238E27FC236}">
                  <a16:creationId xmlns:a16="http://schemas.microsoft.com/office/drawing/2014/main" id="{31BB7199-3B91-41EF-9B60-3A6380564A1C}"/>
                </a:ext>
              </a:extLst>
            </p:cNvPr>
            <p:cNvSpPr/>
            <p:nvPr/>
          </p:nvSpPr>
          <p:spPr>
            <a:xfrm>
              <a:off x="733555" y="2032487"/>
              <a:ext cx="2753736" cy="3471767"/>
            </a:xfrm>
            <a:prstGeom prst="roundRect">
              <a:avLst>
                <a:gd name="adj" fmla="val 9906"/>
              </a:avLst>
            </a:prstGeom>
            <a:solidFill>
              <a:schemeClr val="bg1"/>
            </a:solidFill>
            <a:ln>
              <a:solidFill>
                <a:schemeClr val="accent1"/>
              </a:solidFill>
            </a:ln>
            <a:effectLst>
              <a:outerShdw blurRad="139700" algn="ctr" rotWithShape="0">
                <a:schemeClr val="accent1">
                  <a:lumMod val="50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zh-CN" altLang="en-US" sz="1600">
                <a:solidFill>
                  <a:schemeClr val="bg1"/>
                </a:solidFill>
                <a:latin typeface="+mj-ea"/>
                <a:ea typeface="+mj-ea"/>
              </a:endParaRPr>
            </a:p>
          </p:txBody>
        </p:sp>
        <p:grpSp>
          <p:nvGrpSpPr>
            <p:cNvPr id="15" name="组合 14">
              <a:extLst>
                <a:ext uri="{FF2B5EF4-FFF2-40B4-BE49-F238E27FC236}">
                  <a16:creationId xmlns:a16="http://schemas.microsoft.com/office/drawing/2014/main" id="{D7174971-350F-4648-8E5A-7423281121FF}"/>
                </a:ext>
              </a:extLst>
            </p:cNvPr>
            <p:cNvGrpSpPr/>
            <p:nvPr/>
          </p:nvGrpSpPr>
          <p:grpSpPr>
            <a:xfrm>
              <a:off x="290455" y="1949757"/>
              <a:ext cx="1534286" cy="1084904"/>
              <a:chOff x="336175" y="1373685"/>
              <a:chExt cx="1534286" cy="1084904"/>
            </a:xfrm>
          </p:grpSpPr>
          <p:grpSp>
            <p:nvGrpSpPr>
              <p:cNvPr id="19" name="组合 18">
                <a:extLst>
                  <a:ext uri="{FF2B5EF4-FFF2-40B4-BE49-F238E27FC236}">
                    <a16:creationId xmlns:a16="http://schemas.microsoft.com/office/drawing/2014/main" id="{FE5D2A43-D0F4-42DE-8DEB-EF4DCB9934FC}"/>
                  </a:ext>
                </a:extLst>
              </p:cNvPr>
              <p:cNvGrpSpPr/>
              <p:nvPr/>
            </p:nvGrpSpPr>
            <p:grpSpPr>
              <a:xfrm>
                <a:off x="336175" y="1373685"/>
                <a:ext cx="1534286" cy="1084904"/>
                <a:chOff x="336175" y="981075"/>
                <a:chExt cx="1534286" cy="1084904"/>
              </a:xfrm>
            </p:grpSpPr>
            <p:sp>
              <p:nvSpPr>
                <p:cNvPr id="21" name="等腰三角形 20">
                  <a:extLst>
                    <a:ext uri="{FF2B5EF4-FFF2-40B4-BE49-F238E27FC236}">
                      <a16:creationId xmlns:a16="http://schemas.microsoft.com/office/drawing/2014/main" id="{0BF8082E-E344-473F-B6C2-8A3521442972}"/>
                    </a:ext>
                  </a:extLst>
                </p:cNvPr>
                <p:cNvSpPr/>
                <p:nvPr/>
              </p:nvSpPr>
              <p:spPr>
                <a:xfrm>
                  <a:off x="1701800" y="981075"/>
                  <a:ext cx="85957" cy="82730"/>
                </a:xfrm>
                <a:prstGeom prst="triangle">
                  <a:avLst>
                    <a:gd name="adj" fmla="val 100000"/>
                  </a:avLst>
                </a:prstGeom>
                <a:solidFill>
                  <a:schemeClr val="accent1">
                    <a:lumMod val="75000"/>
                  </a:schemeClr>
                </a:solidFill>
                <a:ln>
                  <a:noFill/>
                </a:ln>
                <a:effectLst>
                  <a:outerShdw blurRad="127000" dir="18900000" sy="23000" kx="-1200000" algn="b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91440" tIns="45720" rIns="91440" bIns="45720" numCol="1" spcCol="0" rtlCol="0" fromWordArt="0" anchor="ctr" anchorCtr="0" forceAA="0" compatLnSpc="1">
                  <a:prstTxWarp prst="textNoShape">
                    <a:avLst/>
                  </a:prstTxWarp>
                  <a:noAutofit/>
                </a:bodyPr>
                <a:lstStyle/>
                <a:p>
                  <a:pPr algn="ctr" defTabSz="457200"/>
                  <a:endParaRPr lang="zh-CN" altLang="en-US"/>
                </a:p>
              </p:txBody>
            </p:sp>
            <p:sp>
              <p:nvSpPr>
                <p:cNvPr id="22" name="等腰三角形 21">
                  <a:extLst>
                    <a:ext uri="{FF2B5EF4-FFF2-40B4-BE49-F238E27FC236}">
                      <a16:creationId xmlns:a16="http://schemas.microsoft.com/office/drawing/2014/main" id="{2C0F6975-1791-4727-982C-56249EEE309F}"/>
                    </a:ext>
                  </a:extLst>
                </p:cNvPr>
                <p:cNvSpPr/>
                <p:nvPr/>
              </p:nvSpPr>
              <p:spPr>
                <a:xfrm>
                  <a:off x="700406" y="1986914"/>
                  <a:ext cx="78868" cy="79065"/>
                </a:xfrm>
                <a:prstGeom prst="triangle">
                  <a:avLst>
                    <a:gd name="adj" fmla="val 100000"/>
                  </a:avLst>
                </a:prstGeom>
                <a:solidFill>
                  <a:schemeClr val="accent1">
                    <a:lumMod val="75000"/>
                  </a:schemeClr>
                </a:solidFill>
                <a:ln>
                  <a:noFill/>
                </a:ln>
                <a:effectLst>
                  <a:outerShdw blurRad="127000" dir="18900000" sy="23000" kx="-1200000" algn="b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91440" tIns="45720" rIns="91440" bIns="45720" numCol="1" spcCol="0" rtlCol="0" fromWordArt="0" anchor="ctr" anchorCtr="0" forceAA="0" compatLnSpc="1">
                  <a:prstTxWarp prst="textNoShape">
                    <a:avLst/>
                  </a:prstTxWarp>
                  <a:noAutofit/>
                </a:bodyPr>
                <a:lstStyle/>
                <a:p>
                  <a:pPr algn="ctr" defTabSz="457200"/>
                  <a:endParaRPr lang="zh-CN" altLang="en-US"/>
                </a:p>
              </p:txBody>
            </p:sp>
            <p:sp>
              <p:nvSpPr>
                <p:cNvPr id="23" name="任意多边形: 形状 22">
                  <a:extLst>
                    <a:ext uri="{FF2B5EF4-FFF2-40B4-BE49-F238E27FC236}">
                      <a16:creationId xmlns:a16="http://schemas.microsoft.com/office/drawing/2014/main" id="{507B9DCE-BFFB-48D1-AA6E-243F1B7930C1}"/>
                    </a:ext>
                  </a:extLst>
                </p:cNvPr>
                <p:cNvSpPr/>
                <p:nvPr/>
              </p:nvSpPr>
              <p:spPr>
                <a:xfrm rot="18900000">
                  <a:off x="336175" y="1180741"/>
                  <a:ext cx="1534286" cy="401599"/>
                </a:xfrm>
                <a:custGeom>
                  <a:avLst/>
                  <a:gdLst>
                    <a:gd name="connsiteX0" fmla="*/ 1132688 w 1534286"/>
                    <a:gd name="connsiteY0" fmla="*/ 0 h 401599"/>
                    <a:gd name="connsiteX1" fmla="*/ 1534286 w 1534286"/>
                    <a:gd name="connsiteY1" fmla="*/ 401599 h 401599"/>
                    <a:gd name="connsiteX2" fmla="*/ 0 w 1534286"/>
                    <a:gd name="connsiteY2" fmla="*/ 401599 h 401599"/>
                    <a:gd name="connsiteX3" fmla="*/ 401599 w 1534286"/>
                    <a:gd name="connsiteY3" fmla="*/ 0 h 401599"/>
                  </a:gdLst>
                  <a:ahLst/>
                  <a:cxnLst>
                    <a:cxn ang="0">
                      <a:pos x="connsiteX0" y="connsiteY0"/>
                    </a:cxn>
                    <a:cxn ang="0">
                      <a:pos x="connsiteX1" y="connsiteY1"/>
                    </a:cxn>
                    <a:cxn ang="0">
                      <a:pos x="connsiteX2" y="connsiteY2"/>
                    </a:cxn>
                    <a:cxn ang="0">
                      <a:pos x="connsiteX3" y="connsiteY3"/>
                    </a:cxn>
                  </a:cxnLst>
                  <a:rect l="l" t="t" r="r" b="b"/>
                  <a:pathLst>
                    <a:path w="1534286" h="401599">
                      <a:moveTo>
                        <a:pt x="1132688" y="0"/>
                      </a:moveTo>
                      <a:lnTo>
                        <a:pt x="1534286" y="401599"/>
                      </a:lnTo>
                      <a:lnTo>
                        <a:pt x="0" y="401599"/>
                      </a:lnTo>
                      <a:lnTo>
                        <a:pt x="401599" y="0"/>
                      </a:lnTo>
                      <a:close/>
                    </a:path>
                  </a:pathLst>
                </a:custGeom>
                <a:gradFill flip="none" rotWithShape="0">
                  <a:gsLst>
                    <a:gs pos="5000">
                      <a:schemeClr val="accent1"/>
                    </a:gs>
                    <a:gs pos="100000">
                      <a:schemeClr val="accent1">
                        <a:lumMod val="75000"/>
                      </a:schemeClr>
                    </a:gs>
                  </a:gsLst>
                  <a:lin ang="2700000" scaled="1"/>
                  <a:tileRect/>
                </a:gradFill>
                <a:ln>
                  <a:noFill/>
                </a:ln>
                <a:effectLst>
                  <a:outerShdw blurRad="254000" dist="152400" dir="5400000" sx="102000" sy="1020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91440" tIns="45720" rIns="91440" bIns="45720" numCol="1" spcCol="0" rtlCol="0" fromWordArt="0" anchor="ctr" anchorCtr="0" forceAA="0" compatLnSpc="1">
                  <a:prstTxWarp prst="textNoShape">
                    <a:avLst/>
                  </a:prstTxWarp>
                  <a:noAutofit/>
                </a:bodyPr>
                <a:lstStyle/>
                <a:p>
                  <a:pPr algn="ctr" defTabSz="457200"/>
                  <a:endParaRPr lang="zh-CN" altLang="en-US"/>
                </a:p>
              </p:txBody>
            </p:sp>
          </p:grpSp>
          <p:sp>
            <p:nvSpPr>
              <p:cNvPr id="20" name="文本框 19">
                <a:extLst>
                  <a:ext uri="{FF2B5EF4-FFF2-40B4-BE49-F238E27FC236}">
                    <a16:creationId xmlns:a16="http://schemas.microsoft.com/office/drawing/2014/main" id="{38C94E8D-80AA-4B57-BB28-61662A4E3DAE}"/>
                  </a:ext>
                </a:extLst>
              </p:cNvPr>
              <p:cNvSpPr txBox="1"/>
              <p:nvPr/>
            </p:nvSpPr>
            <p:spPr>
              <a:xfrm rot="18900000">
                <a:off x="775766" y="1576951"/>
                <a:ext cx="646331" cy="369332"/>
              </a:xfrm>
              <a:prstGeom prst="rect">
                <a:avLst/>
              </a:prstGeom>
              <a:noFill/>
            </p:spPr>
            <p:txBody>
              <a:bodyPr wrap="none" rtlCol="0">
                <a:spAutoFit/>
              </a:bodyPr>
              <a:lstStyle/>
              <a:p>
                <a:r>
                  <a:rPr lang="en-US" altLang="zh-CN" dirty="0">
                    <a:solidFill>
                      <a:schemeClr val="bg1"/>
                    </a:solidFill>
                  </a:rPr>
                  <a:t>20</a:t>
                </a:r>
                <a:r>
                  <a:rPr lang="zh-CN" altLang="en-US" dirty="0">
                    <a:solidFill>
                      <a:schemeClr val="bg1"/>
                    </a:solidFill>
                  </a:rPr>
                  <a:t>**</a:t>
                </a:r>
              </a:p>
            </p:txBody>
          </p:sp>
        </p:grpSp>
        <p:sp>
          <p:nvSpPr>
            <p:cNvPr id="16" name="文本框 15">
              <a:extLst>
                <a:ext uri="{FF2B5EF4-FFF2-40B4-BE49-F238E27FC236}">
                  <a16:creationId xmlns:a16="http://schemas.microsoft.com/office/drawing/2014/main" id="{46F7F9D7-FB79-4DC3-AE21-8F081A735EE3}"/>
                </a:ext>
              </a:extLst>
            </p:cNvPr>
            <p:cNvSpPr txBox="1"/>
            <p:nvPr/>
          </p:nvSpPr>
          <p:spPr>
            <a:xfrm>
              <a:off x="1397090" y="2696781"/>
              <a:ext cx="1538883" cy="369332"/>
            </a:xfrm>
            <a:prstGeom prst="rect">
              <a:avLst/>
            </a:prstGeom>
            <a:noFill/>
          </p:spPr>
          <p:txBody>
            <a:bodyPr wrap="none" lIns="0" tIns="0" rIns="0" bIns="0" rtlCol="0" anchor="t">
              <a:spAutoFit/>
            </a:bodyPr>
            <a:lstStyle/>
            <a:p>
              <a:pPr algn="ctr"/>
              <a:r>
                <a:rPr lang="zh-CN" altLang="en-US" sz="2400" dirty="0">
                  <a:solidFill>
                    <a:schemeClr val="accent1"/>
                  </a:solidFill>
                  <a:latin typeface="+mj-ea"/>
                  <a:ea typeface="+mj-ea"/>
                </a:rPr>
                <a:t>关键词标题</a:t>
              </a:r>
            </a:p>
          </p:txBody>
        </p:sp>
        <p:sp>
          <p:nvSpPr>
            <p:cNvPr id="17" name="文本框 16">
              <a:extLst>
                <a:ext uri="{FF2B5EF4-FFF2-40B4-BE49-F238E27FC236}">
                  <a16:creationId xmlns:a16="http://schemas.microsoft.com/office/drawing/2014/main" id="{2E18D84A-79DE-4175-B929-1C1FD9F6C17D}"/>
                </a:ext>
              </a:extLst>
            </p:cNvPr>
            <p:cNvSpPr txBox="1"/>
            <p:nvPr/>
          </p:nvSpPr>
          <p:spPr>
            <a:xfrm>
              <a:off x="1054515" y="3292202"/>
              <a:ext cx="2224033" cy="704873"/>
            </a:xfrm>
            <a:prstGeom prst="rect">
              <a:avLst/>
            </a:prstGeom>
            <a:noFill/>
          </p:spPr>
          <p:txBody>
            <a:bodyPr wrap="square" lIns="0" tIns="0" rIns="0" bIns="0" rtlCol="0" anchor="t">
              <a:spAutoFit/>
            </a:bodyPr>
            <a:lstStyle/>
            <a:p>
              <a:pPr algn="ctr">
                <a:lnSpc>
                  <a:spcPct val="130000"/>
                </a:lnSpc>
              </a:pPr>
              <a:r>
                <a:rPr lang="en-US" altLang="zh-CN" sz="1200" b="0" dirty="0">
                  <a:solidFill>
                    <a:schemeClr val="tx1">
                      <a:lumMod val="75000"/>
                      <a:lumOff val="25000"/>
                    </a:schemeClr>
                  </a:solidFill>
                  <a:effectLst/>
                  <a:latin typeface="+mn-ea"/>
                </a:rPr>
                <a:t>Lorem ipsum dolor sit </a:t>
              </a:r>
              <a:r>
                <a:rPr lang="en-US" altLang="zh-CN" sz="1200" b="0" dirty="0" err="1">
                  <a:solidFill>
                    <a:schemeClr val="tx1">
                      <a:lumMod val="75000"/>
                      <a:lumOff val="25000"/>
                    </a:schemeClr>
                  </a:solidFill>
                  <a:effectLst/>
                  <a:latin typeface="+mn-ea"/>
                </a:rPr>
                <a:t>amet</a:t>
              </a:r>
              <a:r>
                <a:rPr lang="en-US" altLang="zh-CN" sz="1200" b="0" dirty="0">
                  <a:solidFill>
                    <a:schemeClr val="tx1">
                      <a:lumMod val="75000"/>
                      <a:lumOff val="25000"/>
                    </a:schemeClr>
                  </a:solidFill>
                  <a:effectLst/>
                  <a:latin typeface="+mn-ea"/>
                </a:rPr>
                <a:t> consectetur </a:t>
              </a:r>
              <a:r>
                <a:rPr lang="en-US" altLang="zh-CN" sz="1200" b="0" dirty="0" err="1">
                  <a:solidFill>
                    <a:schemeClr val="tx1">
                      <a:lumMod val="75000"/>
                      <a:lumOff val="25000"/>
                    </a:schemeClr>
                  </a:solidFill>
                  <a:effectLst/>
                  <a:latin typeface="+mn-ea"/>
                </a:rPr>
                <a:t>adipisicing</a:t>
              </a:r>
              <a:r>
                <a:rPr lang="en-US" altLang="zh-CN" sz="1200" b="0" dirty="0">
                  <a:solidFill>
                    <a:schemeClr val="tx1">
                      <a:lumMod val="75000"/>
                      <a:lumOff val="25000"/>
                    </a:schemeClr>
                  </a:solidFill>
                  <a:effectLst/>
                  <a:latin typeface="+mn-ea"/>
                </a:rPr>
                <a:t> </a:t>
              </a:r>
              <a:r>
                <a:rPr lang="en-US" altLang="zh-CN" sz="1200" b="0" dirty="0" err="1">
                  <a:solidFill>
                    <a:schemeClr val="tx1">
                      <a:lumMod val="75000"/>
                      <a:lumOff val="25000"/>
                    </a:schemeClr>
                  </a:solidFill>
                  <a:effectLst/>
                  <a:latin typeface="+mn-ea"/>
                </a:rPr>
                <a:t>elit</a:t>
              </a:r>
              <a:r>
                <a:rPr lang="en-US" altLang="zh-CN" sz="1200" b="0" dirty="0">
                  <a:solidFill>
                    <a:schemeClr val="tx1">
                      <a:lumMod val="75000"/>
                      <a:lumOff val="25000"/>
                    </a:schemeClr>
                  </a:solidFill>
                  <a:effectLst/>
                  <a:latin typeface="+mn-ea"/>
                </a:rPr>
                <a:t> sed do eiusmod tempor</a:t>
              </a:r>
              <a:endParaRPr lang="zh-CN" altLang="en-US" sz="1200" b="0" dirty="0">
                <a:solidFill>
                  <a:schemeClr val="tx1">
                    <a:lumMod val="75000"/>
                    <a:lumOff val="25000"/>
                  </a:schemeClr>
                </a:solidFill>
                <a:effectLst/>
                <a:latin typeface="+mn-ea"/>
              </a:endParaRPr>
            </a:p>
          </p:txBody>
        </p:sp>
        <p:sp>
          <p:nvSpPr>
            <p:cNvPr id="18" name="文本框 17">
              <a:extLst>
                <a:ext uri="{FF2B5EF4-FFF2-40B4-BE49-F238E27FC236}">
                  <a16:creationId xmlns:a16="http://schemas.microsoft.com/office/drawing/2014/main" id="{1DA69E0B-2AD3-412F-88CE-F769B0413407}"/>
                </a:ext>
              </a:extLst>
            </p:cNvPr>
            <p:cNvSpPr txBox="1"/>
            <p:nvPr/>
          </p:nvSpPr>
          <p:spPr>
            <a:xfrm>
              <a:off x="1054515" y="4252322"/>
              <a:ext cx="2224033" cy="704873"/>
            </a:xfrm>
            <a:prstGeom prst="rect">
              <a:avLst/>
            </a:prstGeom>
            <a:noFill/>
          </p:spPr>
          <p:txBody>
            <a:bodyPr wrap="square" lIns="0" tIns="0" rIns="0" bIns="0" rtlCol="0" anchor="t">
              <a:spAutoFit/>
            </a:bodyPr>
            <a:lstStyle/>
            <a:p>
              <a:pPr algn="ctr">
                <a:lnSpc>
                  <a:spcPct val="130000"/>
                </a:lnSpc>
              </a:pPr>
              <a:r>
                <a:rPr lang="en-US" altLang="zh-CN" sz="1200" b="0" dirty="0">
                  <a:solidFill>
                    <a:schemeClr val="tx1">
                      <a:lumMod val="75000"/>
                      <a:lumOff val="25000"/>
                    </a:schemeClr>
                  </a:solidFill>
                  <a:effectLst/>
                  <a:latin typeface="+mn-ea"/>
                </a:rPr>
                <a:t>Lorem ipsum dolor sit </a:t>
              </a:r>
              <a:r>
                <a:rPr lang="en-US" altLang="zh-CN" sz="1200" b="0" dirty="0" err="1">
                  <a:solidFill>
                    <a:schemeClr val="tx1">
                      <a:lumMod val="75000"/>
                      <a:lumOff val="25000"/>
                    </a:schemeClr>
                  </a:solidFill>
                  <a:effectLst/>
                  <a:latin typeface="+mn-ea"/>
                </a:rPr>
                <a:t>amet</a:t>
              </a:r>
              <a:r>
                <a:rPr lang="en-US" altLang="zh-CN" sz="1200" b="0" dirty="0">
                  <a:solidFill>
                    <a:schemeClr val="tx1">
                      <a:lumMod val="75000"/>
                      <a:lumOff val="25000"/>
                    </a:schemeClr>
                  </a:solidFill>
                  <a:effectLst/>
                  <a:latin typeface="+mn-ea"/>
                </a:rPr>
                <a:t> consectetur </a:t>
              </a:r>
              <a:r>
                <a:rPr lang="en-US" altLang="zh-CN" sz="1200" b="0" dirty="0" err="1">
                  <a:solidFill>
                    <a:schemeClr val="tx1">
                      <a:lumMod val="75000"/>
                      <a:lumOff val="25000"/>
                    </a:schemeClr>
                  </a:solidFill>
                  <a:effectLst/>
                  <a:latin typeface="+mn-ea"/>
                </a:rPr>
                <a:t>adipisicing</a:t>
              </a:r>
              <a:r>
                <a:rPr lang="en-US" altLang="zh-CN" sz="1200" b="0" dirty="0">
                  <a:solidFill>
                    <a:schemeClr val="tx1">
                      <a:lumMod val="75000"/>
                      <a:lumOff val="25000"/>
                    </a:schemeClr>
                  </a:solidFill>
                  <a:effectLst/>
                  <a:latin typeface="+mn-ea"/>
                </a:rPr>
                <a:t> </a:t>
              </a:r>
              <a:r>
                <a:rPr lang="en-US" altLang="zh-CN" sz="1200" b="0" dirty="0" err="1">
                  <a:solidFill>
                    <a:schemeClr val="tx1">
                      <a:lumMod val="75000"/>
                      <a:lumOff val="25000"/>
                    </a:schemeClr>
                  </a:solidFill>
                  <a:effectLst/>
                  <a:latin typeface="+mn-ea"/>
                </a:rPr>
                <a:t>elit</a:t>
              </a:r>
              <a:r>
                <a:rPr lang="en-US" altLang="zh-CN" sz="1200" b="0" dirty="0">
                  <a:solidFill>
                    <a:schemeClr val="tx1">
                      <a:lumMod val="75000"/>
                      <a:lumOff val="25000"/>
                    </a:schemeClr>
                  </a:solidFill>
                  <a:effectLst/>
                  <a:latin typeface="+mn-ea"/>
                </a:rPr>
                <a:t> sed do eiusmod tempor</a:t>
              </a:r>
              <a:endParaRPr lang="zh-CN" altLang="en-US" sz="1200" b="0" dirty="0">
                <a:solidFill>
                  <a:schemeClr val="tx1">
                    <a:lumMod val="75000"/>
                    <a:lumOff val="25000"/>
                  </a:schemeClr>
                </a:solidFill>
                <a:effectLst/>
                <a:latin typeface="+mn-ea"/>
              </a:endParaRPr>
            </a:p>
          </p:txBody>
        </p:sp>
      </p:grpSp>
      <p:grpSp>
        <p:nvGrpSpPr>
          <p:cNvPr id="24" name="组合 23">
            <a:extLst>
              <a:ext uri="{FF2B5EF4-FFF2-40B4-BE49-F238E27FC236}">
                <a16:creationId xmlns:a16="http://schemas.microsoft.com/office/drawing/2014/main" id="{AB178011-E12B-4F8D-95C7-D299DD542B35}"/>
              </a:ext>
            </a:extLst>
          </p:cNvPr>
          <p:cNvGrpSpPr/>
          <p:nvPr/>
        </p:nvGrpSpPr>
        <p:grpSpPr>
          <a:xfrm>
            <a:off x="8063742" y="1949757"/>
            <a:ext cx="3196836" cy="3554497"/>
            <a:chOff x="290455" y="1949757"/>
            <a:chExt cx="3196836" cy="3554497"/>
          </a:xfrm>
        </p:grpSpPr>
        <p:sp>
          <p:nvSpPr>
            <p:cNvPr id="25" name="矩形: 圆角 24">
              <a:extLst>
                <a:ext uri="{FF2B5EF4-FFF2-40B4-BE49-F238E27FC236}">
                  <a16:creationId xmlns:a16="http://schemas.microsoft.com/office/drawing/2014/main" id="{B6E09C54-D509-4E10-B9F9-50F303EC57A2}"/>
                </a:ext>
              </a:extLst>
            </p:cNvPr>
            <p:cNvSpPr/>
            <p:nvPr/>
          </p:nvSpPr>
          <p:spPr>
            <a:xfrm>
              <a:off x="733555" y="2032487"/>
              <a:ext cx="2753736" cy="3471767"/>
            </a:xfrm>
            <a:prstGeom prst="roundRect">
              <a:avLst>
                <a:gd name="adj" fmla="val 9906"/>
              </a:avLst>
            </a:prstGeom>
            <a:solidFill>
              <a:schemeClr val="bg1"/>
            </a:solidFill>
            <a:ln>
              <a:solidFill>
                <a:schemeClr val="accent1"/>
              </a:solidFill>
            </a:ln>
            <a:effectLst>
              <a:outerShdw blurRad="139700" algn="ctr" rotWithShape="0">
                <a:schemeClr val="accent1">
                  <a:lumMod val="50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zh-CN" altLang="en-US" sz="1600">
                <a:solidFill>
                  <a:schemeClr val="bg1"/>
                </a:solidFill>
                <a:latin typeface="+mj-ea"/>
                <a:ea typeface="+mj-ea"/>
              </a:endParaRPr>
            </a:p>
          </p:txBody>
        </p:sp>
        <p:grpSp>
          <p:nvGrpSpPr>
            <p:cNvPr id="26" name="组合 25">
              <a:extLst>
                <a:ext uri="{FF2B5EF4-FFF2-40B4-BE49-F238E27FC236}">
                  <a16:creationId xmlns:a16="http://schemas.microsoft.com/office/drawing/2014/main" id="{E87241A9-8DF8-48C6-9295-7E10D64BF9F0}"/>
                </a:ext>
              </a:extLst>
            </p:cNvPr>
            <p:cNvGrpSpPr/>
            <p:nvPr/>
          </p:nvGrpSpPr>
          <p:grpSpPr>
            <a:xfrm>
              <a:off x="290455" y="1949757"/>
              <a:ext cx="1534286" cy="1084904"/>
              <a:chOff x="336175" y="1373685"/>
              <a:chExt cx="1534286" cy="1084904"/>
            </a:xfrm>
          </p:grpSpPr>
          <p:grpSp>
            <p:nvGrpSpPr>
              <p:cNvPr id="30" name="组合 29">
                <a:extLst>
                  <a:ext uri="{FF2B5EF4-FFF2-40B4-BE49-F238E27FC236}">
                    <a16:creationId xmlns:a16="http://schemas.microsoft.com/office/drawing/2014/main" id="{D9147DBB-A509-4008-AA65-60A32D849355}"/>
                  </a:ext>
                </a:extLst>
              </p:cNvPr>
              <p:cNvGrpSpPr/>
              <p:nvPr/>
            </p:nvGrpSpPr>
            <p:grpSpPr>
              <a:xfrm>
                <a:off x="336175" y="1373685"/>
                <a:ext cx="1534286" cy="1084904"/>
                <a:chOff x="336175" y="981075"/>
                <a:chExt cx="1534286" cy="1084904"/>
              </a:xfrm>
            </p:grpSpPr>
            <p:sp>
              <p:nvSpPr>
                <p:cNvPr id="32" name="等腰三角形 31">
                  <a:extLst>
                    <a:ext uri="{FF2B5EF4-FFF2-40B4-BE49-F238E27FC236}">
                      <a16:creationId xmlns:a16="http://schemas.microsoft.com/office/drawing/2014/main" id="{8CCE8912-52C5-423B-92A5-1C5DCA54C411}"/>
                    </a:ext>
                  </a:extLst>
                </p:cNvPr>
                <p:cNvSpPr/>
                <p:nvPr/>
              </p:nvSpPr>
              <p:spPr>
                <a:xfrm>
                  <a:off x="1701800" y="981075"/>
                  <a:ext cx="85957" cy="82730"/>
                </a:xfrm>
                <a:prstGeom prst="triangle">
                  <a:avLst>
                    <a:gd name="adj" fmla="val 100000"/>
                  </a:avLst>
                </a:prstGeom>
                <a:solidFill>
                  <a:schemeClr val="accent1">
                    <a:lumMod val="75000"/>
                  </a:schemeClr>
                </a:solidFill>
                <a:ln>
                  <a:noFill/>
                </a:ln>
                <a:effectLst>
                  <a:outerShdw blurRad="127000" dir="18900000" sy="23000" kx="-1200000" algn="b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91440" tIns="45720" rIns="91440" bIns="45720" numCol="1" spcCol="0" rtlCol="0" fromWordArt="0" anchor="ctr" anchorCtr="0" forceAA="0" compatLnSpc="1">
                  <a:prstTxWarp prst="textNoShape">
                    <a:avLst/>
                  </a:prstTxWarp>
                  <a:noAutofit/>
                </a:bodyPr>
                <a:lstStyle/>
                <a:p>
                  <a:pPr algn="ctr" defTabSz="457200"/>
                  <a:endParaRPr lang="zh-CN" altLang="en-US"/>
                </a:p>
              </p:txBody>
            </p:sp>
            <p:sp>
              <p:nvSpPr>
                <p:cNvPr id="33" name="等腰三角形 32">
                  <a:extLst>
                    <a:ext uri="{FF2B5EF4-FFF2-40B4-BE49-F238E27FC236}">
                      <a16:creationId xmlns:a16="http://schemas.microsoft.com/office/drawing/2014/main" id="{EBE51B13-BA11-421C-8080-97129CBB8F7E}"/>
                    </a:ext>
                  </a:extLst>
                </p:cNvPr>
                <p:cNvSpPr/>
                <p:nvPr/>
              </p:nvSpPr>
              <p:spPr>
                <a:xfrm>
                  <a:off x="700406" y="1986914"/>
                  <a:ext cx="78868" cy="79065"/>
                </a:xfrm>
                <a:prstGeom prst="triangle">
                  <a:avLst>
                    <a:gd name="adj" fmla="val 100000"/>
                  </a:avLst>
                </a:prstGeom>
                <a:solidFill>
                  <a:schemeClr val="accent1">
                    <a:lumMod val="75000"/>
                  </a:schemeClr>
                </a:solidFill>
                <a:ln>
                  <a:noFill/>
                </a:ln>
                <a:effectLst>
                  <a:outerShdw blurRad="127000" dir="18900000" sy="23000" kx="-1200000" algn="b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91440" tIns="45720" rIns="91440" bIns="45720" numCol="1" spcCol="0" rtlCol="0" fromWordArt="0" anchor="ctr" anchorCtr="0" forceAA="0" compatLnSpc="1">
                  <a:prstTxWarp prst="textNoShape">
                    <a:avLst/>
                  </a:prstTxWarp>
                  <a:noAutofit/>
                </a:bodyPr>
                <a:lstStyle/>
                <a:p>
                  <a:pPr algn="ctr" defTabSz="457200"/>
                  <a:endParaRPr lang="zh-CN" altLang="en-US"/>
                </a:p>
              </p:txBody>
            </p:sp>
            <p:sp>
              <p:nvSpPr>
                <p:cNvPr id="34" name="任意多边形: 形状 33">
                  <a:extLst>
                    <a:ext uri="{FF2B5EF4-FFF2-40B4-BE49-F238E27FC236}">
                      <a16:creationId xmlns:a16="http://schemas.microsoft.com/office/drawing/2014/main" id="{4AE523B6-FCB2-4039-8E47-A390E2236212}"/>
                    </a:ext>
                  </a:extLst>
                </p:cNvPr>
                <p:cNvSpPr/>
                <p:nvPr/>
              </p:nvSpPr>
              <p:spPr>
                <a:xfrm rot="18900000">
                  <a:off x="336175" y="1180741"/>
                  <a:ext cx="1534286" cy="401599"/>
                </a:xfrm>
                <a:custGeom>
                  <a:avLst/>
                  <a:gdLst>
                    <a:gd name="connsiteX0" fmla="*/ 1132688 w 1534286"/>
                    <a:gd name="connsiteY0" fmla="*/ 0 h 401599"/>
                    <a:gd name="connsiteX1" fmla="*/ 1534286 w 1534286"/>
                    <a:gd name="connsiteY1" fmla="*/ 401599 h 401599"/>
                    <a:gd name="connsiteX2" fmla="*/ 0 w 1534286"/>
                    <a:gd name="connsiteY2" fmla="*/ 401599 h 401599"/>
                    <a:gd name="connsiteX3" fmla="*/ 401599 w 1534286"/>
                    <a:gd name="connsiteY3" fmla="*/ 0 h 401599"/>
                  </a:gdLst>
                  <a:ahLst/>
                  <a:cxnLst>
                    <a:cxn ang="0">
                      <a:pos x="connsiteX0" y="connsiteY0"/>
                    </a:cxn>
                    <a:cxn ang="0">
                      <a:pos x="connsiteX1" y="connsiteY1"/>
                    </a:cxn>
                    <a:cxn ang="0">
                      <a:pos x="connsiteX2" y="connsiteY2"/>
                    </a:cxn>
                    <a:cxn ang="0">
                      <a:pos x="connsiteX3" y="connsiteY3"/>
                    </a:cxn>
                  </a:cxnLst>
                  <a:rect l="l" t="t" r="r" b="b"/>
                  <a:pathLst>
                    <a:path w="1534286" h="401599">
                      <a:moveTo>
                        <a:pt x="1132688" y="0"/>
                      </a:moveTo>
                      <a:lnTo>
                        <a:pt x="1534286" y="401599"/>
                      </a:lnTo>
                      <a:lnTo>
                        <a:pt x="0" y="401599"/>
                      </a:lnTo>
                      <a:lnTo>
                        <a:pt x="401599" y="0"/>
                      </a:lnTo>
                      <a:close/>
                    </a:path>
                  </a:pathLst>
                </a:custGeom>
                <a:gradFill flip="none" rotWithShape="0">
                  <a:gsLst>
                    <a:gs pos="5000">
                      <a:schemeClr val="accent1"/>
                    </a:gs>
                    <a:gs pos="100000">
                      <a:schemeClr val="accent1">
                        <a:lumMod val="75000"/>
                      </a:schemeClr>
                    </a:gs>
                  </a:gsLst>
                  <a:lin ang="2700000" scaled="1"/>
                  <a:tileRect/>
                </a:gradFill>
                <a:ln>
                  <a:noFill/>
                </a:ln>
                <a:effectLst>
                  <a:outerShdw blurRad="254000" dist="152400" dir="5400000" sx="102000" sy="1020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91440" tIns="45720" rIns="91440" bIns="45720" numCol="1" spcCol="0" rtlCol="0" fromWordArt="0" anchor="ctr" anchorCtr="0" forceAA="0" compatLnSpc="1">
                  <a:prstTxWarp prst="textNoShape">
                    <a:avLst/>
                  </a:prstTxWarp>
                  <a:noAutofit/>
                </a:bodyPr>
                <a:lstStyle/>
                <a:p>
                  <a:pPr algn="ctr" defTabSz="457200"/>
                  <a:endParaRPr lang="zh-CN" altLang="en-US"/>
                </a:p>
              </p:txBody>
            </p:sp>
          </p:grpSp>
          <p:sp>
            <p:nvSpPr>
              <p:cNvPr id="31" name="文本框 30">
                <a:extLst>
                  <a:ext uri="{FF2B5EF4-FFF2-40B4-BE49-F238E27FC236}">
                    <a16:creationId xmlns:a16="http://schemas.microsoft.com/office/drawing/2014/main" id="{703ADE3F-32FA-427E-9F20-AD47D140DE5E}"/>
                  </a:ext>
                </a:extLst>
              </p:cNvPr>
              <p:cNvSpPr txBox="1"/>
              <p:nvPr/>
            </p:nvSpPr>
            <p:spPr>
              <a:xfrm rot="18900000">
                <a:off x="775766" y="1576951"/>
                <a:ext cx="646331" cy="369332"/>
              </a:xfrm>
              <a:prstGeom prst="rect">
                <a:avLst/>
              </a:prstGeom>
              <a:noFill/>
            </p:spPr>
            <p:txBody>
              <a:bodyPr wrap="none" rtlCol="0">
                <a:spAutoFit/>
              </a:bodyPr>
              <a:lstStyle/>
              <a:p>
                <a:r>
                  <a:rPr lang="en-US" altLang="zh-CN" dirty="0">
                    <a:solidFill>
                      <a:schemeClr val="bg1"/>
                    </a:solidFill>
                  </a:rPr>
                  <a:t>20</a:t>
                </a:r>
                <a:r>
                  <a:rPr lang="zh-CN" altLang="en-US" dirty="0">
                    <a:solidFill>
                      <a:schemeClr val="bg1"/>
                    </a:solidFill>
                  </a:rPr>
                  <a:t>**</a:t>
                </a:r>
              </a:p>
            </p:txBody>
          </p:sp>
        </p:grpSp>
        <p:sp>
          <p:nvSpPr>
            <p:cNvPr id="27" name="文本框 26">
              <a:extLst>
                <a:ext uri="{FF2B5EF4-FFF2-40B4-BE49-F238E27FC236}">
                  <a16:creationId xmlns:a16="http://schemas.microsoft.com/office/drawing/2014/main" id="{8EBC410D-A4B8-4972-9204-865D829FAA9B}"/>
                </a:ext>
              </a:extLst>
            </p:cNvPr>
            <p:cNvSpPr txBox="1"/>
            <p:nvPr/>
          </p:nvSpPr>
          <p:spPr>
            <a:xfrm>
              <a:off x="1397090" y="2696781"/>
              <a:ext cx="1538883" cy="369332"/>
            </a:xfrm>
            <a:prstGeom prst="rect">
              <a:avLst/>
            </a:prstGeom>
            <a:noFill/>
          </p:spPr>
          <p:txBody>
            <a:bodyPr wrap="none" lIns="0" tIns="0" rIns="0" bIns="0" rtlCol="0" anchor="t">
              <a:spAutoFit/>
            </a:bodyPr>
            <a:lstStyle/>
            <a:p>
              <a:pPr algn="ctr"/>
              <a:r>
                <a:rPr lang="zh-CN" altLang="en-US" sz="2400" dirty="0">
                  <a:solidFill>
                    <a:schemeClr val="accent1"/>
                  </a:solidFill>
                  <a:latin typeface="+mj-ea"/>
                  <a:ea typeface="+mj-ea"/>
                </a:rPr>
                <a:t>关键词标题</a:t>
              </a:r>
            </a:p>
          </p:txBody>
        </p:sp>
        <p:sp>
          <p:nvSpPr>
            <p:cNvPr id="28" name="文本框 27">
              <a:extLst>
                <a:ext uri="{FF2B5EF4-FFF2-40B4-BE49-F238E27FC236}">
                  <a16:creationId xmlns:a16="http://schemas.microsoft.com/office/drawing/2014/main" id="{6C499929-D86F-4B22-9F2C-4AEBF70CC18A}"/>
                </a:ext>
              </a:extLst>
            </p:cNvPr>
            <p:cNvSpPr txBox="1"/>
            <p:nvPr/>
          </p:nvSpPr>
          <p:spPr>
            <a:xfrm>
              <a:off x="1054515" y="3292202"/>
              <a:ext cx="2224033" cy="704873"/>
            </a:xfrm>
            <a:prstGeom prst="rect">
              <a:avLst/>
            </a:prstGeom>
            <a:noFill/>
          </p:spPr>
          <p:txBody>
            <a:bodyPr wrap="square" lIns="0" tIns="0" rIns="0" bIns="0" rtlCol="0" anchor="t">
              <a:spAutoFit/>
            </a:bodyPr>
            <a:lstStyle/>
            <a:p>
              <a:pPr algn="ctr">
                <a:lnSpc>
                  <a:spcPct val="130000"/>
                </a:lnSpc>
              </a:pPr>
              <a:r>
                <a:rPr lang="en-US" altLang="zh-CN" sz="1200" b="0" dirty="0">
                  <a:solidFill>
                    <a:schemeClr val="tx1">
                      <a:lumMod val="75000"/>
                      <a:lumOff val="25000"/>
                    </a:schemeClr>
                  </a:solidFill>
                  <a:effectLst/>
                  <a:latin typeface="+mn-ea"/>
                </a:rPr>
                <a:t>Lorem ipsum dolor sit </a:t>
              </a:r>
              <a:r>
                <a:rPr lang="en-US" altLang="zh-CN" sz="1200" b="0" dirty="0" err="1">
                  <a:solidFill>
                    <a:schemeClr val="tx1">
                      <a:lumMod val="75000"/>
                      <a:lumOff val="25000"/>
                    </a:schemeClr>
                  </a:solidFill>
                  <a:effectLst/>
                  <a:latin typeface="+mn-ea"/>
                </a:rPr>
                <a:t>amet</a:t>
              </a:r>
              <a:r>
                <a:rPr lang="en-US" altLang="zh-CN" sz="1200" b="0" dirty="0">
                  <a:solidFill>
                    <a:schemeClr val="tx1">
                      <a:lumMod val="75000"/>
                      <a:lumOff val="25000"/>
                    </a:schemeClr>
                  </a:solidFill>
                  <a:effectLst/>
                  <a:latin typeface="+mn-ea"/>
                </a:rPr>
                <a:t> consectetur </a:t>
              </a:r>
              <a:r>
                <a:rPr lang="en-US" altLang="zh-CN" sz="1200" b="0" dirty="0" err="1">
                  <a:solidFill>
                    <a:schemeClr val="tx1">
                      <a:lumMod val="75000"/>
                      <a:lumOff val="25000"/>
                    </a:schemeClr>
                  </a:solidFill>
                  <a:effectLst/>
                  <a:latin typeface="+mn-ea"/>
                </a:rPr>
                <a:t>adipisicing</a:t>
              </a:r>
              <a:r>
                <a:rPr lang="en-US" altLang="zh-CN" sz="1200" b="0" dirty="0">
                  <a:solidFill>
                    <a:schemeClr val="tx1">
                      <a:lumMod val="75000"/>
                      <a:lumOff val="25000"/>
                    </a:schemeClr>
                  </a:solidFill>
                  <a:effectLst/>
                  <a:latin typeface="+mn-ea"/>
                </a:rPr>
                <a:t> </a:t>
              </a:r>
              <a:r>
                <a:rPr lang="en-US" altLang="zh-CN" sz="1200" b="0" dirty="0" err="1">
                  <a:solidFill>
                    <a:schemeClr val="tx1">
                      <a:lumMod val="75000"/>
                      <a:lumOff val="25000"/>
                    </a:schemeClr>
                  </a:solidFill>
                  <a:effectLst/>
                  <a:latin typeface="+mn-ea"/>
                </a:rPr>
                <a:t>elit</a:t>
              </a:r>
              <a:r>
                <a:rPr lang="en-US" altLang="zh-CN" sz="1200" b="0" dirty="0">
                  <a:solidFill>
                    <a:schemeClr val="tx1">
                      <a:lumMod val="75000"/>
                      <a:lumOff val="25000"/>
                    </a:schemeClr>
                  </a:solidFill>
                  <a:effectLst/>
                  <a:latin typeface="+mn-ea"/>
                </a:rPr>
                <a:t> sed do eiusmod tempor</a:t>
              </a:r>
              <a:endParaRPr lang="zh-CN" altLang="en-US" sz="1200" b="0" dirty="0">
                <a:solidFill>
                  <a:schemeClr val="tx1">
                    <a:lumMod val="75000"/>
                    <a:lumOff val="25000"/>
                  </a:schemeClr>
                </a:solidFill>
                <a:effectLst/>
                <a:latin typeface="+mn-ea"/>
              </a:endParaRPr>
            </a:p>
          </p:txBody>
        </p:sp>
        <p:sp>
          <p:nvSpPr>
            <p:cNvPr id="29" name="文本框 28">
              <a:extLst>
                <a:ext uri="{FF2B5EF4-FFF2-40B4-BE49-F238E27FC236}">
                  <a16:creationId xmlns:a16="http://schemas.microsoft.com/office/drawing/2014/main" id="{CE23883E-7CEF-4242-B4B9-759241A2F9FE}"/>
                </a:ext>
              </a:extLst>
            </p:cNvPr>
            <p:cNvSpPr txBox="1"/>
            <p:nvPr/>
          </p:nvSpPr>
          <p:spPr>
            <a:xfrm>
              <a:off x="1054515" y="4252322"/>
              <a:ext cx="2224033" cy="704873"/>
            </a:xfrm>
            <a:prstGeom prst="rect">
              <a:avLst/>
            </a:prstGeom>
            <a:noFill/>
          </p:spPr>
          <p:txBody>
            <a:bodyPr wrap="square" lIns="0" tIns="0" rIns="0" bIns="0" rtlCol="0" anchor="t">
              <a:spAutoFit/>
            </a:bodyPr>
            <a:lstStyle/>
            <a:p>
              <a:pPr algn="ctr">
                <a:lnSpc>
                  <a:spcPct val="130000"/>
                </a:lnSpc>
              </a:pPr>
              <a:r>
                <a:rPr lang="en-US" altLang="zh-CN" sz="1200" b="0" dirty="0">
                  <a:solidFill>
                    <a:schemeClr val="tx1">
                      <a:lumMod val="75000"/>
                      <a:lumOff val="25000"/>
                    </a:schemeClr>
                  </a:solidFill>
                  <a:effectLst/>
                  <a:latin typeface="+mn-ea"/>
                </a:rPr>
                <a:t>Lorem ipsum dolor sit </a:t>
              </a:r>
              <a:r>
                <a:rPr lang="en-US" altLang="zh-CN" sz="1200" b="0" dirty="0" err="1">
                  <a:solidFill>
                    <a:schemeClr val="tx1">
                      <a:lumMod val="75000"/>
                      <a:lumOff val="25000"/>
                    </a:schemeClr>
                  </a:solidFill>
                  <a:effectLst/>
                  <a:latin typeface="+mn-ea"/>
                </a:rPr>
                <a:t>amet</a:t>
              </a:r>
              <a:r>
                <a:rPr lang="en-US" altLang="zh-CN" sz="1200" b="0" dirty="0">
                  <a:solidFill>
                    <a:schemeClr val="tx1">
                      <a:lumMod val="75000"/>
                      <a:lumOff val="25000"/>
                    </a:schemeClr>
                  </a:solidFill>
                  <a:effectLst/>
                  <a:latin typeface="+mn-ea"/>
                </a:rPr>
                <a:t> consectetur </a:t>
              </a:r>
              <a:r>
                <a:rPr lang="en-US" altLang="zh-CN" sz="1200" b="0" dirty="0" err="1">
                  <a:solidFill>
                    <a:schemeClr val="tx1">
                      <a:lumMod val="75000"/>
                      <a:lumOff val="25000"/>
                    </a:schemeClr>
                  </a:solidFill>
                  <a:effectLst/>
                  <a:latin typeface="+mn-ea"/>
                </a:rPr>
                <a:t>adipisicing</a:t>
              </a:r>
              <a:r>
                <a:rPr lang="en-US" altLang="zh-CN" sz="1200" b="0" dirty="0">
                  <a:solidFill>
                    <a:schemeClr val="tx1">
                      <a:lumMod val="75000"/>
                      <a:lumOff val="25000"/>
                    </a:schemeClr>
                  </a:solidFill>
                  <a:effectLst/>
                  <a:latin typeface="+mn-ea"/>
                </a:rPr>
                <a:t> </a:t>
              </a:r>
              <a:r>
                <a:rPr lang="en-US" altLang="zh-CN" sz="1200" b="0" dirty="0" err="1">
                  <a:solidFill>
                    <a:schemeClr val="tx1">
                      <a:lumMod val="75000"/>
                      <a:lumOff val="25000"/>
                    </a:schemeClr>
                  </a:solidFill>
                  <a:effectLst/>
                  <a:latin typeface="+mn-ea"/>
                </a:rPr>
                <a:t>elit</a:t>
              </a:r>
              <a:r>
                <a:rPr lang="en-US" altLang="zh-CN" sz="1200" b="0" dirty="0">
                  <a:solidFill>
                    <a:schemeClr val="tx1">
                      <a:lumMod val="75000"/>
                      <a:lumOff val="25000"/>
                    </a:schemeClr>
                  </a:solidFill>
                  <a:effectLst/>
                  <a:latin typeface="+mn-ea"/>
                </a:rPr>
                <a:t> sed do eiusmod tempor</a:t>
              </a:r>
              <a:endParaRPr lang="zh-CN" altLang="en-US" sz="1200" b="0" dirty="0">
                <a:solidFill>
                  <a:schemeClr val="tx1">
                    <a:lumMod val="75000"/>
                    <a:lumOff val="25000"/>
                  </a:schemeClr>
                </a:solidFill>
                <a:effectLst/>
                <a:latin typeface="+mn-ea"/>
              </a:endParaRPr>
            </a:p>
          </p:txBody>
        </p:sp>
      </p:grpSp>
    </p:spTree>
    <p:extLst>
      <p:ext uri="{BB962C8B-B14F-4D97-AF65-F5344CB8AC3E}">
        <p14:creationId xmlns:p14="http://schemas.microsoft.com/office/powerpoint/2010/main" val="359536936"/>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2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矩形 2">
            <a:extLst>
              <a:ext uri="{FF2B5EF4-FFF2-40B4-BE49-F238E27FC236}">
                <a16:creationId xmlns:a16="http://schemas.microsoft.com/office/drawing/2014/main" id="{BEB3B65E-D483-4CD4-B26D-4962882C5D99}"/>
              </a:ext>
            </a:extLst>
          </p:cNvPr>
          <p:cNvSpPr/>
          <p:nvPr/>
        </p:nvSpPr>
        <p:spPr>
          <a:xfrm>
            <a:off x="1083907" y="2094282"/>
            <a:ext cx="2507818" cy="3212341"/>
          </a:xfrm>
          <a:prstGeom prst="rect">
            <a:avLst/>
          </a:prstGeom>
          <a:solidFill>
            <a:schemeClr val="bg1"/>
          </a:solidFill>
          <a:ln>
            <a:solidFill>
              <a:schemeClr val="accent1"/>
            </a:solidFill>
          </a:ln>
          <a:effectLst>
            <a:outerShdw blurRad="139700" algn="ctr" rotWithShape="0">
              <a:schemeClr val="accent1">
                <a:lumMod val="50000"/>
                <a:alpha val="5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zh-CN" altLang="en-US" sz="1600" dirty="0">
              <a:solidFill>
                <a:schemeClr val="bg1"/>
              </a:solidFill>
              <a:latin typeface="+mj-ea"/>
              <a:ea typeface="+mj-ea"/>
            </a:endParaRPr>
          </a:p>
        </p:txBody>
      </p:sp>
      <p:grpSp>
        <p:nvGrpSpPr>
          <p:cNvPr id="4" name="组合 3">
            <a:extLst>
              <a:ext uri="{FF2B5EF4-FFF2-40B4-BE49-F238E27FC236}">
                <a16:creationId xmlns:a16="http://schemas.microsoft.com/office/drawing/2014/main" id="{24AEF1EF-842B-479D-B879-151B9E526893}"/>
              </a:ext>
            </a:extLst>
          </p:cNvPr>
          <p:cNvGrpSpPr/>
          <p:nvPr/>
        </p:nvGrpSpPr>
        <p:grpSpPr>
          <a:xfrm>
            <a:off x="663070" y="2417370"/>
            <a:ext cx="3349493" cy="641295"/>
            <a:chOff x="4646480" y="2826721"/>
            <a:chExt cx="3152600" cy="498841"/>
          </a:xfrm>
        </p:grpSpPr>
        <p:grpSp>
          <p:nvGrpSpPr>
            <p:cNvPr id="5" name="组合 4">
              <a:extLst>
                <a:ext uri="{FF2B5EF4-FFF2-40B4-BE49-F238E27FC236}">
                  <a16:creationId xmlns:a16="http://schemas.microsoft.com/office/drawing/2014/main" id="{FFE505D1-E489-432D-BA9A-DAA464690420}"/>
                </a:ext>
              </a:extLst>
            </p:cNvPr>
            <p:cNvGrpSpPr/>
            <p:nvPr/>
          </p:nvGrpSpPr>
          <p:grpSpPr>
            <a:xfrm>
              <a:off x="7402983" y="2929129"/>
              <a:ext cx="396097" cy="396433"/>
              <a:chOff x="3882051" y="3134975"/>
              <a:chExt cx="396097" cy="396433"/>
            </a:xfrm>
          </p:grpSpPr>
          <p:sp>
            <p:nvSpPr>
              <p:cNvPr id="10" name="箭头: 五边形 9">
                <a:extLst>
                  <a:ext uri="{FF2B5EF4-FFF2-40B4-BE49-F238E27FC236}">
                    <a16:creationId xmlns:a16="http://schemas.microsoft.com/office/drawing/2014/main" id="{589A09AC-8D71-428E-8496-7D092B35B226}"/>
                  </a:ext>
                </a:extLst>
              </p:cNvPr>
              <p:cNvSpPr/>
              <p:nvPr/>
            </p:nvSpPr>
            <p:spPr>
              <a:xfrm flipV="1">
                <a:off x="3882052" y="3134975"/>
                <a:ext cx="396096" cy="396433"/>
              </a:xfrm>
              <a:prstGeom prst="homePlate">
                <a:avLst>
                  <a:gd name="adj" fmla="val 21143"/>
                </a:avLst>
              </a:prstGeom>
              <a:gradFill flip="none" rotWithShape="0">
                <a:gsLst>
                  <a:gs pos="5000">
                    <a:schemeClr val="accent1"/>
                  </a:gs>
                  <a:gs pos="100000">
                    <a:schemeClr val="accent1">
                      <a:lumMod val="75000"/>
                    </a:schemeClr>
                  </a:gs>
                </a:gsLst>
                <a:lin ang="2700000" scaled="1"/>
                <a:tileRect/>
              </a:gradFill>
              <a:ln>
                <a:noFill/>
              </a:ln>
              <a:effectLst>
                <a:outerShdw blurRad="254000" dist="152400" dir="5400000" sx="102000" sy="1020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91440" tIns="45720" rIns="91440" bIns="45720" numCol="1" spcCol="0" rtlCol="0" fromWordArt="0" anchor="ctr" anchorCtr="0" forceAA="0" compatLnSpc="1">
                <a:prstTxWarp prst="textNoShape">
                  <a:avLst/>
                </a:prstTxWarp>
                <a:noAutofit/>
              </a:bodyPr>
              <a:lstStyle/>
              <a:p>
                <a:pPr algn="ctr" defTabSz="457200"/>
                <a:endParaRPr lang="zh-CN" altLang="en-US"/>
              </a:p>
            </p:txBody>
          </p:sp>
          <p:sp>
            <p:nvSpPr>
              <p:cNvPr id="11" name="等腰三角形 10">
                <a:extLst>
                  <a:ext uri="{FF2B5EF4-FFF2-40B4-BE49-F238E27FC236}">
                    <a16:creationId xmlns:a16="http://schemas.microsoft.com/office/drawing/2014/main" id="{A821C251-2672-4E18-9E39-E46A39EC38B2}"/>
                  </a:ext>
                </a:extLst>
              </p:cNvPr>
              <p:cNvSpPr/>
              <p:nvPr/>
            </p:nvSpPr>
            <p:spPr>
              <a:xfrm flipH="1" flipV="1">
                <a:off x="3882051" y="3429808"/>
                <a:ext cx="96477" cy="101600"/>
              </a:xfrm>
              <a:prstGeom prst="triangle">
                <a:avLst>
                  <a:gd name="adj" fmla="val 100000"/>
                </a:avLst>
              </a:prstGeom>
              <a:solidFill>
                <a:schemeClr val="accent1">
                  <a:lumMod val="75000"/>
                </a:schemeClr>
              </a:solidFill>
              <a:ln>
                <a:noFill/>
              </a:ln>
              <a:effectLst>
                <a:outerShdw blurRad="127000" dir="18900000" sy="23000" kx="-1200000" algn="b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91440" tIns="45720" rIns="91440" bIns="45720" numCol="1" spcCol="0" rtlCol="0" fromWordArt="0" anchor="ctr" anchorCtr="0" forceAA="0" compatLnSpc="1">
                <a:prstTxWarp prst="textNoShape">
                  <a:avLst/>
                </a:prstTxWarp>
                <a:noAutofit/>
              </a:bodyPr>
              <a:lstStyle/>
              <a:p>
                <a:pPr algn="ctr" defTabSz="457200"/>
                <a:endParaRPr lang="zh-CN" altLang="en-US"/>
              </a:p>
            </p:txBody>
          </p:sp>
        </p:grpSp>
        <p:grpSp>
          <p:nvGrpSpPr>
            <p:cNvPr id="6" name="组合 5">
              <a:extLst>
                <a:ext uri="{FF2B5EF4-FFF2-40B4-BE49-F238E27FC236}">
                  <a16:creationId xmlns:a16="http://schemas.microsoft.com/office/drawing/2014/main" id="{421E8E15-CD3F-46B8-B457-506B74B8C09B}"/>
                </a:ext>
              </a:extLst>
            </p:cNvPr>
            <p:cNvGrpSpPr/>
            <p:nvPr/>
          </p:nvGrpSpPr>
          <p:grpSpPr>
            <a:xfrm flipH="1">
              <a:off x="4646480" y="2929129"/>
              <a:ext cx="396097" cy="396433"/>
              <a:chOff x="3882051" y="3134975"/>
              <a:chExt cx="396097" cy="396433"/>
            </a:xfrm>
          </p:grpSpPr>
          <p:sp>
            <p:nvSpPr>
              <p:cNvPr id="8" name="箭头: 五边形 7">
                <a:extLst>
                  <a:ext uri="{FF2B5EF4-FFF2-40B4-BE49-F238E27FC236}">
                    <a16:creationId xmlns:a16="http://schemas.microsoft.com/office/drawing/2014/main" id="{90BFF6C9-C137-441E-B601-5FF43867039D}"/>
                  </a:ext>
                </a:extLst>
              </p:cNvPr>
              <p:cNvSpPr/>
              <p:nvPr/>
            </p:nvSpPr>
            <p:spPr>
              <a:xfrm>
                <a:off x="3882052" y="3134975"/>
                <a:ext cx="396096" cy="396433"/>
              </a:xfrm>
              <a:prstGeom prst="homePlate">
                <a:avLst>
                  <a:gd name="adj" fmla="val 21143"/>
                </a:avLst>
              </a:prstGeom>
              <a:gradFill flip="none" rotWithShape="0">
                <a:gsLst>
                  <a:gs pos="5000">
                    <a:schemeClr val="accent1"/>
                  </a:gs>
                  <a:gs pos="100000">
                    <a:schemeClr val="accent1">
                      <a:lumMod val="75000"/>
                    </a:schemeClr>
                  </a:gs>
                </a:gsLst>
                <a:lin ang="2700000" scaled="1"/>
                <a:tileRect/>
              </a:gradFill>
              <a:ln>
                <a:noFill/>
              </a:ln>
              <a:effectLst>
                <a:outerShdw blurRad="254000" dist="152400" dir="5400000" sx="102000" sy="1020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91440" tIns="45720" rIns="91440" bIns="45720" numCol="1" spcCol="0" rtlCol="0" fromWordArt="0" anchor="ctr" anchorCtr="0" forceAA="0" compatLnSpc="1">
                <a:prstTxWarp prst="textNoShape">
                  <a:avLst/>
                </a:prstTxWarp>
                <a:noAutofit/>
              </a:bodyPr>
              <a:lstStyle/>
              <a:p>
                <a:pPr algn="ctr" defTabSz="457200"/>
                <a:endParaRPr lang="zh-CN" altLang="en-US"/>
              </a:p>
            </p:txBody>
          </p:sp>
          <p:sp>
            <p:nvSpPr>
              <p:cNvPr id="9" name="等腰三角形 8">
                <a:extLst>
                  <a:ext uri="{FF2B5EF4-FFF2-40B4-BE49-F238E27FC236}">
                    <a16:creationId xmlns:a16="http://schemas.microsoft.com/office/drawing/2014/main" id="{9046BA59-0E50-4D3D-9A03-D84E81F38D85}"/>
                  </a:ext>
                </a:extLst>
              </p:cNvPr>
              <p:cNvSpPr/>
              <p:nvPr/>
            </p:nvSpPr>
            <p:spPr>
              <a:xfrm flipH="1" flipV="1">
                <a:off x="3882051" y="3429808"/>
                <a:ext cx="96477" cy="101600"/>
              </a:xfrm>
              <a:prstGeom prst="triangle">
                <a:avLst>
                  <a:gd name="adj" fmla="val 100000"/>
                </a:avLst>
              </a:prstGeom>
              <a:solidFill>
                <a:schemeClr val="accent1">
                  <a:lumMod val="75000"/>
                </a:schemeClr>
              </a:solidFill>
              <a:ln>
                <a:noFill/>
              </a:ln>
              <a:effectLst>
                <a:outerShdw blurRad="127000" dir="18900000" sy="23000" kx="-1200000" algn="b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91440" tIns="45720" rIns="91440" bIns="45720" numCol="1" spcCol="0" rtlCol="0" fromWordArt="0" anchor="ctr" anchorCtr="0" forceAA="0" compatLnSpc="1">
                <a:prstTxWarp prst="textNoShape">
                  <a:avLst/>
                </a:prstTxWarp>
                <a:noAutofit/>
              </a:bodyPr>
              <a:lstStyle/>
              <a:p>
                <a:pPr algn="ctr" defTabSz="457200"/>
                <a:endParaRPr lang="zh-CN" altLang="en-US"/>
              </a:p>
            </p:txBody>
          </p:sp>
        </p:grpSp>
        <p:sp>
          <p:nvSpPr>
            <p:cNvPr id="7" name="矩形 6">
              <a:extLst>
                <a:ext uri="{FF2B5EF4-FFF2-40B4-BE49-F238E27FC236}">
                  <a16:creationId xmlns:a16="http://schemas.microsoft.com/office/drawing/2014/main" id="{C7590DC1-337A-48A2-B700-C54F74A4976C}"/>
                </a:ext>
              </a:extLst>
            </p:cNvPr>
            <p:cNvSpPr/>
            <p:nvPr/>
          </p:nvSpPr>
          <p:spPr>
            <a:xfrm>
              <a:off x="4947901" y="2826721"/>
              <a:ext cx="2551560" cy="396433"/>
            </a:xfrm>
            <a:prstGeom prst="rect">
              <a:avLst/>
            </a:prstGeom>
            <a:gradFill flip="none" rotWithShape="0">
              <a:gsLst>
                <a:gs pos="5000">
                  <a:schemeClr val="accent1"/>
                </a:gs>
                <a:gs pos="100000">
                  <a:schemeClr val="accent1">
                    <a:lumMod val="75000"/>
                  </a:schemeClr>
                </a:gs>
              </a:gsLst>
              <a:lin ang="2700000" scaled="1"/>
              <a:tileRect/>
            </a:gradFill>
            <a:ln>
              <a:noFill/>
            </a:ln>
            <a:effectLst>
              <a:outerShdw blurRad="254000" dist="152400" dir="5400000" sx="102000" sy="1020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91440" tIns="45720" rIns="91440" bIns="45720" numCol="1" spcCol="0" rtlCol="0" fromWordArt="0" anchor="ctr" anchorCtr="0" forceAA="0" compatLnSpc="1">
              <a:prstTxWarp prst="textNoShape">
                <a:avLst/>
              </a:prstTxWarp>
              <a:noAutofit/>
            </a:bodyPr>
            <a:lstStyle/>
            <a:p>
              <a:pPr algn="ctr" defTabSz="457200"/>
              <a:endParaRPr lang="zh-CN" altLang="en-US"/>
            </a:p>
          </p:txBody>
        </p:sp>
      </p:grpSp>
      <p:sp>
        <p:nvSpPr>
          <p:cNvPr id="12" name="文本框 11">
            <a:extLst>
              <a:ext uri="{FF2B5EF4-FFF2-40B4-BE49-F238E27FC236}">
                <a16:creationId xmlns:a16="http://schemas.microsoft.com/office/drawing/2014/main" id="{E6E291C7-7305-4D14-ADD4-6264851B669A}"/>
              </a:ext>
            </a:extLst>
          </p:cNvPr>
          <p:cNvSpPr txBox="1"/>
          <p:nvPr/>
        </p:nvSpPr>
        <p:spPr>
          <a:xfrm>
            <a:off x="1696615" y="2518456"/>
            <a:ext cx="1282402" cy="307777"/>
          </a:xfrm>
          <a:prstGeom prst="rect">
            <a:avLst/>
          </a:prstGeom>
          <a:noFill/>
        </p:spPr>
        <p:txBody>
          <a:bodyPr wrap="none" lIns="0" tIns="0" rIns="0" bIns="0" rtlCol="0" anchor="t">
            <a:spAutoFit/>
          </a:bodyPr>
          <a:lstStyle/>
          <a:p>
            <a:r>
              <a:rPr lang="zh-CN" altLang="en-US" sz="2000" dirty="0">
                <a:solidFill>
                  <a:schemeClr val="bg1"/>
                </a:solidFill>
                <a:latin typeface="+mj-ea"/>
                <a:ea typeface="+mj-ea"/>
              </a:rPr>
              <a:t>关键词标题</a:t>
            </a:r>
          </a:p>
        </p:txBody>
      </p:sp>
      <p:sp>
        <p:nvSpPr>
          <p:cNvPr id="13" name="文本框 12">
            <a:extLst>
              <a:ext uri="{FF2B5EF4-FFF2-40B4-BE49-F238E27FC236}">
                <a16:creationId xmlns:a16="http://schemas.microsoft.com/office/drawing/2014/main" id="{C4901825-C638-4559-A18E-55EF0988A53A}"/>
              </a:ext>
            </a:extLst>
          </p:cNvPr>
          <p:cNvSpPr txBox="1"/>
          <p:nvPr/>
        </p:nvSpPr>
        <p:spPr>
          <a:xfrm>
            <a:off x="1181406" y="4304512"/>
            <a:ext cx="2312821" cy="704873"/>
          </a:xfrm>
          <a:prstGeom prst="rect">
            <a:avLst/>
          </a:prstGeom>
          <a:noFill/>
        </p:spPr>
        <p:txBody>
          <a:bodyPr wrap="square" lIns="0" tIns="0" rIns="0" bIns="0" rtlCol="0" anchor="t">
            <a:spAutoFit/>
          </a:bodyPr>
          <a:lstStyle/>
          <a:p>
            <a:pPr algn="ctr">
              <a:lnSpc>
                <a:spcPct val="130000"/>
              </a:lnSpc>
            </a:pPr>
            <a:r>
              <a:rPr lang="en-US" altLang="zh-CN" sz="1200" b="0" dirty="0">
                <a:solidFill>
                  <a:schemeClr val="tx1">
                    <a:lumMod val="75000"/>
                    <a:lumOff val="25000"/>
                  </a:schemeClr>
                </a:solidFill>
                <a:effectLst/>
                <a:latin typeface="+mn-ea"/>
              </a:rPr>
              <a:t>Lorem ipsum dolor sit </a:t>
            </a:r>
            <a:r>
              <a:rPr lang="en-US" altLang="zh-CN" sz="1200" b="0" dirty="0" err="1">
                <a:solidFill>
                  <a:schemeClr val="tx1">
                    <a:lumMod val="75000"/>
                    <a:lumOff val="25000"/>
                  </a:schemeClr>
                </a:solidFill>
                <a:effectLst/>
                <a:latin typeface="+mn-ea"/>
              </a:rPr>
              <a:t>amet</a:t>
            </a:r>
            <a:r>
              <a:rPr lang="en-US" altLang="zh-CN" sz="1200" b="0" dirty="0">
                <a:solidFill>
                  <a:schemeClr val="tx1">
                    <a:lumMod val="75000"/>
                    <a:lumOff val="25000"/>
                  </a:schemeClr>
                </a:solidFill>
                <a:effectLst/>
                <a:latin typeface="+mn-ea"/>
              </a:rPr>
              <a:t> consectetur </a:t>
            </a:r>
            <a:r>
              <a:rPr lang="en-US" altLang="zh-CN" sz="1200" b="0" dirty="0" err="1">
                <a:solidFill>
                  <a:schemeClr val="tx1">
                    <a:lumMod val="75000"/>
                    <a:lumOff val="25000"/>
                  </a:schemeClr>
                </a:solidFill>
                <a:effectLst/>
                <a:latin typeface="+mn-ea"/>
              </a:rPr>
              <a:t>adipisicing</a:t>
            </a:r>
            <a:r>
              <a:rPr lang="en-US" altLang="zh-CN" sz="1200" b="0" dirty="0">
                <a:solidFill>
                  <a:schemeClr val="tx1">
                    <a:lumMod val="75000"/>
                    <a:lumOff val="25000"/>
                  </a:schemeClr>
                </a:solidFill>
                <a:effectLst/>
                <a:latin typeface="+mn-ea"/>
              </a:rPr>
              <a:t> </a:t>
            </a:r>
            <a:r>
              <a:rPr lang="en-US" altLang="zh-CN" sz="1200" b="0" dirty="0" err="1">
                <a:solidFill>
                  <a:schemeClr val="tx1">
                    <a:lumMod val="75000"/>
                    <a:lumOff val="25000"/>
                  </a:schemeClr>
                </a:solidFill>
                <a:effectLst/>
                <a:latin typeface="+mn-ea"/>
              </a:rPr>
              <a:t>elit</a:t>
            </a:r>
            <a:r>
              <a:rPr lang="en-US" altLang="zh-CN" sz="1200" b="0" dirty="0">
                <a:solidFill>
                  <a:schemeClr val="tx1">
                    <a:lumMod val="75000"/>
                    <a:lumOff val="25000"/>
                  </a:schemeClr>
                </a:solidFill>
                <a:effectLst/>
                <a:latin typeface="+mn-ea"/>
              </a:rPr>
              <a:t> sed do eiusmod tempor</a:t>
            </a:r>
            <a:endParaRPr lang="zh-CN" altLang="en-US" sz="1200" b="0" dirty="0">
              <a:solidFill>
                <a:schemeClr val="tx1">
                  <a:lumMod val="75000"/>
                  <a:lumOff val="25000"/>
                </a:schemeClr>
              </a:solidFill>
              <a:effectLst/>
              <a:latin typeface="+mn-ea"/>
            </a:endParaRPr>
          </a:p>
        </p:txBody>
      </p:sp>
      <p:sp>
        <p:nvSpPr>
          <p:cNvPr id="14" name="文本框 13">
            <a:extLst>
              <a:ext uri="{FF2B5EF4-FFF2-40B4-BE49-F238E27FC236}">
                <a16:creationId xmlns:a16="http://schemas.microsoft.com/office/drawing/2014/main" id="{C1B55DC8-E95A-4E15-807C-6518FAE5EAFB}"/>
              </a:ext>
            </a:extLst>
          </p:cNvPr>
          <p:cNvSpPr txBox="1"/>
          <p:nvPr/>
        </p:nvSpPr>
        <p:spPr>
          <a:xfrm>
            <a:off x="1181406" y="3329152"/>
            <a:ext cx="2312821" cy="704873"/>
          </a:xfrm>
          <a:prstGeom prst="rect">
            <a:avLst/>
          </a:prstGeom>
          <a:noFill/>
        </p:spPr>
        <p:txBody>
          <a:bodyPr wrap="square" lIns="0" tIns="0" rIns="0" bIns="0" rtlCol="0" anchor="t">
            <a:spAutoFit/>
          </a:bodyPr>
          <a:lstStyle/>
          <a:p>
            <a:pPr algn="ctr">
              <a:lnSpc>
                <a:spcPct val="130000"/>
              </a:lnSpc>
            </a:pPr>
            <a:r>
              <a:rPr lang="en-US" altLang="zh-CN" sz="1200" b="0" dirty="0">
                <a:solidFill>
                  <a:schemeClr val="tx1">
                    <a:lumMod val="75000"/>
                    <a:lumOff val="25000"/>
                  </a:schemeClr>
                </a:solidFill>
                <a:effectLst/>
                <a:latin typeface="+mn-ea"/>
              </a:rPr>
              <a:t>Lorem ipsum dolor sit </a:t>
            </a:r>
            <a:r>
              <a:rPr lang="en-US" altLang="zh-CN" sz="1200" b="0" dirty="0" err="1">
                <a:solidFill>
                  <a:schemeClr val="tx1">
                    <a:lumMod val="75000"/>
                    <a:lumOff val="25000"/>
                  </a:schemeClr>
                </a:solidFill>
                <a:effectLst/>
                <a:latin typeface="+mn-ea"/>
              </a:rPr>
              <a:t>amet</a:t>
            </a:r>
            <a:r>
              <a:rPr lang="en-US" altLang="zh-CN" sz="1200" b="0" dirty="0">
                <a:solidFill>
                  <a:schemeClr val="tx1">
                    <a:lumMod val="75000"/>
                    <a:lumOff val="25000"/>
                  </a:schemeClr>
                </a:solidFill>
                <a:effectLst/>
                <a:latin typeface="+mn-ea"/>
              </a:rPr>
              <a:t> consectetur </a:t>
            </a:r>
            <a:r>
              <a:rPr lang="en-US" altLang="zh-CN" sz="1200" b="0" dirty="0" err="1">
                <a:solidFill>
                  <a:schemeClr val="tx1">
                    <a:lumMod val="75000"/>
                    <a:lumOff val="25000"/>
                  </a:schemeClr>
                </a:solidFill>
                <a:effectLst/>
                <a:latin typeface="+mn-ea"/>
              </a:rPr>
              <a:t>adipisicing</a:t>
            </a:r>
            <a:r>
              <a:rPr lang="en-US" altLang="zh-CN" sz="1200" b="0" dirty="0">
                <a:solidFill>
                  <a:schemeClr val="tx1">
                    <a:lumMod val="75000"/>
                    <a:lumOff val="25000"/>
                  </a:schemeClr>
                </a:solidFill>
                <a:effectLst/>
                <a:latin typeface="+mn-ea"/>
              </a:rPr>
              <a:t> </a:t>
            </a:r>
            <a:r>
              <a:rPr lang="en-US" altLang="zh-CN" sz="1200" b="0" dirty="0" err="1">
                <a:solidFill>
                  <a:schemeClr val="tx1">
                    <a:lumMod val="75000"/>
                    <a:lumOff val="25000"/>
                  </a:schemeClr>
                </a:solidFill>
                <a:effectLst/>
                <a:latin typeface="+mn-ea"/>
              </a:rPr>
              <a:t>elit</a:t>
            </a:r>
            <a:r>
              <a:rPr lang="en-US" altLang="zh-CN" sz="1200" b="0" dirty="0">
                <a:solidFill>
                  <a:schemeClr val="tx1">
                    <a:lumMod val="75000"/>
                    <a:lumOff val="25000"/>
                  </a:schemeClr>
                </a:solidFill>
                <a:effectLst/>
                <a:latin typeface="+mn-ea"/>
              </a:rPr>
              <a:t> sed do eiusmod tempor</a:t>
            </a:r>
            <a:endParaRPr lang="zh-CN" altLang="en-US" sz="1200" b="0" dirty="0">
              <a:solidFill>
                <a:schemeClr val="tx1">
                  <a:lumMod val="75000"/>
                  <a:lumOff val="25000"/>
                </a:schemeClr>
              </a:solidFill>
              <a:effectLst/>
              <a:latin typeface="+mn-ea"/>
            </a:endParaRPr>
          </a:p>
        </p:txBody>
      </p:sp>
      <p:sp>
        <p:nvSpPr>
          <p:cNvPr id="15" name="矩形 14">
            <a:extLst>
              <a:ext uri="{FF2B5EF4-FFF2-40B4-BE49-F238E27FC236}">
                <a16:creationId xmlns:a16="http://schemas.microsoft.com/office/drawing/2014/main" id="{D6C7102F-2012-4BFA-A5F6-11FA16D970E5}"/>
              </a:ext>
            </a:extLst>
          </p:cNvPr>
          <p:cNvSpPr/>
          <p:nvPr/>
        </p:nvSpPr>
        <p:spPr>
          <a:xfrm>
            <a:off x="4842091" y="2094282"/>
            <a:ext cx="2507818" cy="3212341"/>
          </a:xfrm>
          <a:prstGeom prst="rect">
            <a:avLst/>
          </a:prstGeom>
          <a:solidFill>
            <a:schemeClr val="bg1"/>
          </a:solidFill>
          <a:ln>
            <a:solidFill>
              <a:schemeClr val="accent1"/>
            </a:solidFill>
          </a:ln>
          <a:effectLst>
            <a:outerShdw blurRad="139700" algn="ctr" rotWithShape="0">
              <a:schemeClr val="accent1">
                <a:lumMod val="50000"/>
                <a:alpha val="5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zh-CN" altLang="en-US" sz="1600" dirty="0">
              <a:solidFill>
                <a:schemeClr val="bg1"/>
              </a:solidFill>
              <a:latin typeface="+mj-ea"/>
              <a:ea typeface="+mj-ea"/>
            </a:endParaRPr>
          </a:p>
        </p:txBody>
      </p:sp>
      <p:grpSp>
        <p:nvGrpSpPr>
          <p:cNvPr id="16" name="组合 15">
            <a:extLst>
              <a:ext uri="{FF2B5EF4-FFF2-40B4-BE49-F238E27FC236}">
                <a16:creationId xmlns:a16="http://schemas.microsoft.com/office/drawing/2014/main" id="{9FC80D91-1550-421F-A7E2-2E01651F2C95}"/>
              </a:ext>
            </a:extLst>
          </p:cNvPr>
          <p:cNvGrpSpPr/>
          <p:nvPr/>
        </p:nvGrpSpPr>
        <p:grpSpPr>
          <a:xfrm>
            <a:off x="4421254" y="2417370"/>
            <a:ext cx="3349493" cy="641295"/>
            <a:chOff x="4646480" y="2826721"/>
            <a:chExt cx="3152600" cy="498841"/>
          </a:xfrm>
        </p:grpSpPr>
        <p:grpSp>
          <p:nvGrpSpPr>
            <p:cNvPr id="17" name="组合 16">
              <a:extLst>
                <a:ext uri="{FF2B5EF4-FFF2-40B4-BE49-F238E27FC236}">
                  <a16:creationId xmlns:a16="http://schemas.microsoft.com/office/drawing/2014/main" id="{BEE603AF-1A00-40A7-92A1-28A4DD34688B}"/>
                </a:ext>
              </a:extLst>
            </p:cNvPr>
            <p:cNvGrpSpPr/>
            <p:nvPr/>
          </p:nvGrpSpPr>
          <p:grpSpPr>
            <a:xfrm>
              <a:off x="7402983" y="2929129"/>
              <a:ext cx="396097" cy="396433"/>
              <a:chOff x="3882051" y="3134975"/>
              <a:chExt cx="396097" cy="396433"/>
            </a:xfrm>
          </p:grpSpPr>
          <p:sp>
            <p:nvSpPr>
              <p:cNvPr id="22" name="箭头: 五边形 21">
                <a:extLst>
                  <a:ext uri="{FF2B5EF4-FFF2-40B4-BE49-F238E27FC236}">
                    <a16:creationId xmlns:a16="http://schemas.microsoft.com/office/drawing/2014/main" id="{614429D3-41B2-4E59-A4F9-D3F37FF4AAC2}"/>
                  </a:ext>
                </a:extLst>
              </p:cNvPr>
              <p:cNvSpPr/>
              <p:nvPr/>
            </p:nvSpPr>
            <p:spPr>
              <a:xfrm flipV="1">
                <a:off x="3882052" y="3134975"/>
                <a:ext cx="396096" cy="396433"/>
              </a:xfrm>
              <a:prstGeom prst="homePlate">
                <a:avLst>
                  <a:gd name="adj" fmla="val 21143"/>
                </a:avLst>
              </a:prstGeom>
              <a:gradFill flip="none" rotWithShape="0">
                <a:gsLst>
                  <a:gs pos="5000">
                    <a:schemeClr val="accent1"/>
                  </a:gs>
                  <a:gs pos="100000">
                    <a:schemeClr val="accent1">
                      <a:lumMod val="75000"/>
                    </a:schemeClr>
                  </a:gs>
                </a:gsLst>
                <a:lin ang="2700000" scaled="1"/>
                <a:tileRect/>
              </a:gradFill>
              <a:ln>
                <a:noFill/>
              </a:ln>
              <a:effectLst>
                <a:outerShdw blurRad="254000" dist="152400" dir="5400000" sx="102000" sy="1020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91440" tIns="45720" rIns="91440" bIns="45720" numCol="1" spcCol="0" rtlCol="0" fromWordArt="0" anchor="ctr" anchorCtr="0" forceAA="0" compatLnSpc="1">
                <a:prstTxWarp prst="textNoShape">
                  <a:avLst/>
                </a:prstTxWarp>
                <a:noAutofit/>
              </a:bodyPr>
              <a:lstStyle/>
              <a:p>
                <a:pPr algn="ctr" defTabSz="457200"/>
                <a:endParaRPr lang="zh-CN" altLang="en-US"/>
              </a:p>
            </p:txBody>
          </p:sp>
          <p:sp>
            <p:nvSpPr>
              <p:cNvPr id="23" name="等腰三角形 22">
                <a:extLst>
                  <a:ext uri="{FF2B5EF4-FFF2-40B4-BE49-F238E27FC236}">
                    <a16:creationId xmlns:a16="http://schemas.microsoft.com/office/drawing/2014/main" id="{50B86DAE-A446-4AE4-BD88-CEB63EFDB26F}"/>
                  </a:ext>
                </a:extLst>
              </p:cNvPr>
              <p:cNvSpPr/>
              <p:nvPr/>
            </p:nvSpPr>
            <p:spPr>
              <a:xfrm flipH="1" flipV="1">
                <a:off x="3882051" y="3429808"/>
                <a:ext cx="96477" cy="101600"/>
              </a:xfrm>
              <a:prstGeom prst="triangle">
                <a:avLst>
                  <a:gd name="adj" fmla="val 100000"/>
                </a:avLst>
              </a:prstGeom>
              <a:solidFill>
                <a:schemeClr val="accent1">
                  <a:lumMod val="75000"/>
                </a:schemeClr>
              </a:solidFill>
              <a:ln>
                <a:noFill/>
              </a:ln>
              <a:effectLst>
                <a:outerShdw blurRad="127000" dir="18900000" sy="23000" kx="-1200000" algn="b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91440" tIns="45720" rIns="91440" bIns="45720" numCol="1" spcCol="0" rtlCol="0" fromWordArt="0" anchor="ctr" anchorCtr="0" forceAA="0" compatLnSpc="1">
                <a:prstTxWarp prst="textNoShape">
                  <a:avLst/>
                </a:prstTxWarp>
                <a:noAutofit/>
              </a:bodyPr>
              <a:lstStyle/>
              <a:p>
                <a:pPr algn="ctr" defTabSz="457200"/>
                <a:endParaRPr lang="zh-CN" altLang="en-US"/>
              </a:p>
            </p:txBody>
          </p:sp>
        </p:grpSp>
        <p:grpSp>
          <p:nvGrpSpPr>
            <p:cNvPr id="18" name="组合 17">
              <a:extLst>
                <a:ext uri="{FF2B5EF4-FFF2-40B4-BE49-F238E27FC236}">
                  <a16:creationId xmlns:a16="http://schemas.microsoft.com/office/drawing/2014/main" id="{39094964-C7EA-401A-8199-64F45A59E00C}"/>
                </a:ext>
              </a:extLst>
            </p:cNvPr>
            <p:cNvGrpSpPr/>
            <p:nvPr/>
          </p:nvGrpSpPr>
          <p:grpSpPr>
            <a:xfrm flipH="1">
              <a:off x="4646480" y="2929129"/>
              <a:ext cx="396097" cy="396433"/>
              <a:chOff x="3882051" y="3134975"/>
              <a:chExt cx="396097" cy="396433"/>
            </a:xfrm>
          </p:grpSpPr>
          <p:sp>
            <p:nvSpPr>
              <p:cNvPr id="20" name="箭头: 五边形 19">
                <a:extLst>
                  <a:ext uri="{FF2B5EF4-FFF2-40B4-BE49-F238E27FC236}">
                    <a16:creationId xmlns:a16="http://schemas.microsoft.com/office/drawing/2014/main" id="{761022AA-B892-4CFE-8E97-FE4861A1F1D6}"/>
                  </a:ext>
                </a:extLst>
              </p:cNvPr>
              <p:cNvSpPr/>
              <p:nvPr/>
            </p:nvSpPr>
            <p:spPr>
              <a:xfrm>
                <a:off x="3882052" y="3134975"/>
                <a:ext cx="396096" cy="396433"/>
              </a:xfrm>
              <a:prstGeom prst="homePlate">
                <a:avLst>
                  <a:gd name="adj" fmla="val 21143"/>
                </a:avLst>
              </a:prstGeom>
              <a:gradFill flip="none" rotWithShape="0">
                <a:gsLst>
                  <a:gs pos="5000">
                    <a:schemeClr val="accent1"/>
                  </a:gs>
                  <a:gs pos="100000">
                    <a:schemeClr val="accent1">
                      <a:lumMod val="75000"/>
                    </a:schemeClr>
                  </a:gs>
                </a:gsLst>
                <a:lin ang="2700000" scaled="1"/>
                <a:tileRect/>
              </a:gradFill>
              <a:ln>
                <a:noFill/>
              </a:ln>
              <a:effectLst>
                <a:outerShdw blurRad="254000" dist="152400" dir="5400000" sx="102000" sy="1020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91440" tIns="45720" rIns="91440" bIns="45720" numCol="1" spcCol="0" rtlCol="0" fromWordArt="0" anchor="ctr" anchorCtr="0" forceAA="0" compatLnSpc="1">
                <a:prstTxWarp prst="textNoShape">
                  <a:avLst/>
                </a:prstTxWarp>
                <a:noAutofit/>
              </a:bodyPr>
              <a:lstStyle/>
              <a:p>
                <a:pPr algn="ctr" defTabSz="457200"/>
                <a:endParaRPr lang="zh-CN" altLang="en-US"/>
              </a:p>
            </p:txBody>
          </p:sp>
          <p:sp>
            <p:nvSpPr>
              <p:cNvPr id="21" name="等腰三角形 20">
                <a:extLst>
                  <a:ext uri="{FF2B5EF4-FFF2-40B4-BE49-F238E27FC236}">
                    <a16:creationId xmlns:a16="http://schemas.microsoft.com/office/drawing/2014/main" id="{E1F4B2BD-E928-4C21-A5E6-AB393D95E3E9}"/>
                  </a:ext>
                </a:extLst>
              </p:cNvPr>
              <p:cNvSpPr/>
              <p:nvPr/>
            </p:nvSpPr>
            <p:spPr>
              <a:xfrm flipH="1" flipV="1">
                <a:off x="3882051" y="3429808"/>
                <a:ext cx="96477" cy="101600"/>
              </a:xfrm>
              <a:prstGeom prst="triangle">
                <a:avLst>
                  <a:gd name="adj" fmla="val 100000"/>
                </a:avLst>
              </a:prstGeom>
              <a:solidFill>
                <a:schemeClr val="accent1">
                  <a:lumMod val="75000"/>
                </a:schemeClr>
              </a:solidFill>
              <a:ln>
                <a:noFill/>
              </a:ln>
              <a:effectLst>
                <a:outerShdw blurRad="127000" dir="18900000" sy="23000" kx="-1200000" algn="b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91440" tIns="45720" rIns="91440" bIns="45720" numCol="1" spcCol="0" rtlCol="0" fromWordArt="0" anchor="ctr" anchorCtr="0" forceAA="0" compatLnSpc="1">
                <a:prstTxWarp prst="textNoShape">
                  <a:avLst/>
                </a:prstTxWarp>
                <a:noAutofit/>
              </a:bodyPr>
              <a:lstStyle/>
              <a:p>
                <a:pPr algn="ctr" defTabSz="457200"/>
                <a:endParaRPr lang="zh-CN" altLang="en-US"/>
              </a:p>
            </p:txBody>
          </p:sp>
        </p:grpSp>
        <p:sp>
          <p:nvSpPr>
            <p:cNvPr id="19" name="矩形 18">
              <a:extLst>
                <a:ext uri="{FF2B5EF4-FFF2-40B4-BE49-F238E27FC236}">
                  <a16:creationId xmlns:a16="http://schemas.microsoft.com/office/drawing/2014/main" id="{ED80A613-1C7A-407D-BCDF-833986903A9A}"/>
                </a:ext>
              </a:extLst>
            </p:cNvPr>
            <p:cNvSpPr/>
            <p:nvPr/>
          </p:nvSpPr>
          <p:spPr>
            <a:xfrm>
              <a:off x="4947901" y="2826721"/>
              <a:ext cx="2551560" cy="396433"/>
            </a:xfrm>
            <a:prstGeom prst="rect">
              <a:avLst/>
            </a:prstGeom>
            <a:gradFill flip="none" rotWithShape="0">
              <a:gsLst>
                <a:gs pos="5000">
                  <a:schemeClr val="accent1"/>
                </a:gs>
                <a:gs pos="100000">
                  <a:schemeClr val="accent1">
                    <a:lumMod val="75000"/>
                  </a:schemeClr>
                </a:gs>
              </a:gsLst>
              <a:lin ang="2700000" scaled="1"/>
              <a:tileRect/>
            </a:gradFill>
            <a:ln>
              <a:noFill/>
            </a:ln>
            <a:effectLst>
              <a:outerShdw blurRad="254000" dist="152400" dir="5400000" sx="102000" sy="1020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91440" tIns="45720" rIns="91440" bIns="45720" numCol="1" spcCol="0" rtlCol="0" fromWordArt="0" anchor="ctr" anchorCtr="0" forceAA="0" compatLnSpc="1">
              <a:prstTxWarp prst="textNoShape">
                <a:avLst/>
              </a:prstTxWarp>
              <a:noAutofit/>
            </a:bodyPr>
            <a:lstStyle/>
            <a:p>
              <a:pPr algn="ctr" defTabSz="457200"/>
              <a:endParaRPr lang="zh-CN" altLang="en-US"/>
            </a:p>
          </p:txBody>
        </p:sp>
      </p:grpSp>
      <p:sp>
        <p:nvSpPr>
          <p:cNvPr id="24" name="文本框 23">
            <a:extLst>
              <a:ext uri="{FF2B5EF4-FFF2-40B4-BE49-F238E27FC236}">
                <a16:creationId xmlns:a16="http://schemas.microsoft.com/office/drawing/2014/main" id="{AE5CB0D7-EBE7-41E6-A9A3-0EB094C29C4E}"/>
              </a:ext>
            </a:extLst>
          </p:cNvPr>
          <p:cNvSpPr txBox="1"/>
          <p:nvPr/>
        </p:nvSpPr>
        <p:spPr>
          <a:xfrm>
            <a:off x="5454799" y="2518456"/>
            <a:ext cx="1282402" cy="307777"/>
          </a:xfrm>
          <a:prstGeom prst="rect">
            <a:avLst/>
          </a:prstGeom>
          <a:noFill/>
        </p:spPr>
        <p:txBody>
          <a:bodyPr wrap="none" lIns="0" tIns="0" rIns="0" bIns="0" rtlCol="0" anchor="t">
            <a:spAutoFit/>
          </a:bodyPr>
          <a:lstStyle/>
          <a:p>
            <a:r>
              <a:rPr lang="zh-CN" altLang="en-US" sz="2000" dirty="0">
                <a:solidFill>
                  <a:schemeClr val="bg1"/>
                </a:solidFill>
                <a:latin typeface="+mj-ea"/>
                <a:ea typeface="+mj-ea"/>
              </a:rPr>
              <a:t>关键词标题</a:t>
            </a:r>
          </a:p>
        </p:txBody>
      </p:sp>
      <p:sp>
        <p:nvSpPr>
          <p:cNvPr id="25" name="文本框 24">
            <a:extLst>
              <a:ext uri="{FF2B5EF4-FFF2-40B4-BE49-F238E27FC236}">
                <a16:creationId xmlns:a16="http://schemas.microsoft.com/office/drawing/2014/main" id="{D7289C83-B4E9-4589-938D-682132E8F315}"/>
              </a:ext>
            </a:extLst>
          </p:cNvPr>
          <p:cNvSpPr txBox="1"/>
          <p:nvPr/>
        </p:nvSpPr>
        <p:spPr>
          <a:xfrm>
            <a:off x="4939590" y="4304512"/>
            <a:ext cx="2312821" cy="704873"/>
          </a:xfrm>
          <a:prstGeom prst="rect">
            <a:avLst/>
          </a:prstGeom>
          <a:noFill/>
        </p:spPr>
        <p:txBody>
          <a:bodyPr wrap="square" lIns="0" tIns="0" rIns="0" bIns="0" rtlCol="0" anchor="t">
            <a:spAutoFit/>
          </a:bodyPr>
          <a:lstStyle/>
          <a:p>
            <a:pPr algn="ctr">
              <a:lnSpc>
                <a:spcPct val="130000"/>
              </a:lnSpc>
            </a:pPr>
            <a:r>
              <a:rPr lang="en-US" altLang="zh-CN" sz="1200" b="0" dirty="0">
                <a:solidFill>
                  <a:schemeClr val="tx1">
                    <a:lumMod val="75000"/>
                    <a:lumOff val="25000"/>
                  </a:schemeClr>
                </a:solidFill>
                <a:effectLst/>
                <a:latin typeface="+mn-ea"/>
              </a:rPr>
              <a:t>Lorem ipsum dolor sit </a:t>
            </a:r>
            <a:r>
              <a:rPr lang="en-US" altLang="zh-CN" sz="1200" b="0" dirty="0" err="1">
                <a:solidFill>
                  <a:schemeClr val="tx1">
                    <a:lumMod val="75000"/>
                    <a:lumOff val="25000"/>
                  </a:schemeClr>
                </a:solidFill>
                <a:effectLst/>
                <a:latin typeface="+mn-ea"/>
              </a:rPr>
              <a:t>amet</a:t>
            </a:r>
            <a:r>
              <a:rPr lang="en-US" altLang="zh-CN" sz="1200" b="0" dirty="0">
                <a:solidFill>
                  <a:schemeClr val="tx1">
                    <a:lumMod val="75000"/>
                    <a:lumOff val="25000"/>
                  </a:schemeClr>
                </a:solidFill>
                <a:effectLst/>
                <a:latin typeface="+mn-ea"/>
              </a:rPr>
              <a:t> consectetur </a:t>
            </a:r>
            <a:r>
              <a:rPr lang="en-US" altLang="zh-CN" sz="1200" b="0" dirty="0" err="1">
                <a:solidFill>
                  <a:schemeClr val="tx1">
                    <a:lumMod val="75000"/>
                    <a:lumOff val="25000"/>
                  </a:schemeClr>
                </a:solidFill>
                <a:effectLst/>
                <a:latin typeface="+mn-ea"/>
              </a:rPr>
              <a:t>adipisicing</a:t>
            </a:r>
            <a:r>
              <a:rPr lang="en-US" altLang="zh-CN" sz="1200" b="0" dirty="0">
                <a:solidFill>
                  <a:schemeClr val="tx1">
                    <a:lumMod val="75000"/>
                    <a:lumOff val="25000"/>
                  </a:schemeClr>
                </a:solidFill>
                <a:effectLst/>
                <a:latin typeface="+mn-ea"/>
              </a:rPr>
              <a:t> </a:t>
            </a:r>
            <a:r>
              <a:rPr lang="en-US" altLang="zh-CN" sz="1200" b="0" dirty="0" err="1">
                <a:solidFill>
                  <a:schemeClr val="tx1">
                    <a:lumMod val="75000"/>
                    <a:lumOff val="25000"/>
                  </a:schemeClr>
                </a:solidFill>
                <a:effectLst/>
                <a:latin typeface="+mn-ea"/>
              </a:rPr>
              <a:t>elit</a:t>
            </a:r>
            <a:r>
              <a:rPr lang="en-US" altLang="zh-CN" sz="1200" b="0" dirty="0">
                <a:solidFill>
                  <a:schemeClr val="tx1">
                    <a:lumMod val="75000"/>
                    <a:lumOff val="25000"/>
                  </a:schemeClr>
                </a:solidFill>
                <a:effectLst/>
                <a:latin typeface="+mn-ea"/>
              </a:rPr>
              <a:t> sed do eiusmod tempor</a:t>
            </a:r>
            <a:endParaRPr lang="zh-CN" altLang="en-US" sz="1200" b="0" dirty="0">
              <a:solidFill>
                <a:schemeClr val="tx1">
                  <a:lumMod val="75000"/>
                  <a:lumOff val="25000"/>
                </a:schemeClr>
              </a:solidFill>
              <a:effectLst/>
              <a:latin typeface="+mn-ea"/>
            </a:endParaRPr>
          </a:p>
        </p:txBody>
      </p:sp>
      <p:sp>
        <p:nvSpPr>
          <p:cNvPr id="26" name="文本框 25">
            <a:extLst>
              <a:ext uri="{FF2B5EF4-FFF2-40B4-BE49-F238E27FC236}">
                <a16:creationId xmlns:a16="http://schemas.microsoft.com/office/drawing/2014/main" id="{87B85786-C8BC-4118-BE07-58361B1DA43B}"/>
              </a:ext>
            </a:extLst>
          </p:cNvPr>
          <p:cNvSpPr txBox="1"/>
          <p:nvPr/>
        </p:nvSpPr>
        <p:spPr>
          <a:xfrm>
            <a:off x="4939590" y="3329152"/>
            <a:ext cx="2312821" cy="704873"/>
          </a:xfrm>
          <a:prstGeom prst="rect">
            <a:avLst/>
          </a:prstGeom>
          <a:noFill/>
        </p:spPr>
        <p:txBody>
          <a:bodyPr wrap="square" lIns="0" tIns="0" rIns="0" bIns="0" rtlCol="0" anchor="t">
            <a:spAutoFit/>
          </a:bodyPr>
          <a:lstStyle/>
          <a:p>
            <a:pPr algn="ctr">
              <a:lnSpc>
                <a:spcPct val="130000"/>
              </a:lnSpc>
            </a:pPr>
            <a:r>
              <a:rPr lang="en-US" altLang="zh-CN" sz="1200" b="0" dirty="0">
                <a:solidFill>
                  <a:schemeClr val="tx1">
                    <a:lumMod val="75000"/>
                    <a:lumOff val="25000"/>
                  </a:schemeClr>
                </a:solidFill>
                <a:effectLst/>
                <a:latin typeface="+mn-ea"/>
              </a:rPr>
              <a:t>Lorem ipsum dolor sit </a:t>
            </a:r>
            <a:r>
              <a:rPr lang="en-US" altLang="zh-CN" sz="1200" b="0" dirty="0" err="1">
                <a:solidFill>
                  <a:schemeClr val="tx1">
                    <a:lumMod val="75000"/>
                    <a:lumOff val="25000"/>
                  </a:schemeClr>
                </a:solidFill>
                <a:effectLst/>
                <a:latin typeface="+mn-ea"/>
              </a:rPr>
              <a:t>amet</a:t>
            </a:r>
            <a:r>
              <a:rPr lang="en-US" altLang="zh-CN" sz="1200" b="0" dirty="0">
                <a:solidFill>
                  <a:schemeClr val="tx1">
                    <a:lumMod val="75000"/>
                    <a:lumOff val="25000"/>
                  </a:schemeClr>
                </a:solidFill>
                <a:effectLst/>
                <a:latin typeface="+mn-ea"/>
              </a:rPr>
              <a:t> consectetur </a:t>
            </a:r>
            <a:r>
              <a:rPr lang="en-US" altLang="zh-CN" sz="1200" b="0" dirty="0" err="1">
                <a:solidFill>
                  <a:schemeClr val="tx1">
                    <a:lumMod val="75000"/>
                    <a:lumOff val="25000"/>
                  </a:schemeClr>
                </a:solidFill>
                <a:effectLst/>
                <a:latin typeface="+mn-ea"/>
              </a:rPr>
              <a:t>adipisicing</a:t>
            </a:r>
            <a:r>
              <a:rPr lang="en-US" altLang="zh-CN" sz="1200" b="0" dirty="0">
                <a:solidFill>
                  <a:schemeClr val="tx1">
                    <a:lumMod val="75000"/>
                    <a:lumOff val="25000"/>
                  </a:schemeClr>
                </a:solidFill>
                <a:effectLst/>
                <a:latin typeface="+mn-ea"/>
              </a:rPr>
              <a:t> </a:t>
            </a:r>
            <a:r>
              <a:rPr lang="en-US" altLang="zh-CN" sz="1200" b="0" dirty="0" err="1">
                <a:solidFill>
                  <a:schemeClr val="tx1">
                    <a:lumMod val="75000"/>
                    <a:lumOff val="25000"/>
                  </a:schemeClr>
                </a:solidFill>
                <a:effectLst/>
                <a:latin typeface="+mn-ea"/>
              </a:rPr>
              <a:t>elit</a:t>
            </a:r>
            <a:r>
              <a:rPr lang="en-US" altLang="zh-CN" sz="1200" b="0" dirty="0">
                <a:solidFill>
                  <a:schemeClr val="tx1">
                    <a:lumMod val="75000"/>
                    <a:lumOff val="25000"/>
                  </a:schemeClr>
                </a:solidFill>
                <a:effectLst/>
                <a:latin typeface="+mn-ea"/>
              </a:rPr>
              <a:t> sed do eiusmod tempor</a:t>
            </a:r>
            <a:endParaRPr lang="zh-CN" altLang="en-US" sz="1200" b="0" dirty="0">
              <a:solidFill>
                <a:schemeClr val="tx1">
                  <a:lumMod val="75000"/>
                  <a:lumOff val="25000"/>
                </a:schemeClr>
              </a:solidFill>
              <a:effectLst/>
              <a:latin typeface="+mn-ea"/>
            </a:endParaRPr>
          </a:p>
        </p:txBody>
      </p:sp>
      <p:sp>
        <p:nvSpPr>
          <p:cNvPr id="27" name="矩形 26">
            <a:extLst>
              <a:ext uri="{FF2B5EF4-FFF2-40B4-BE49-F238E27FC236}">
                <a16:creationId xmlns:a16="http://schemas.microsoft.com/office/drawing/2014/main" id="{EBD627F8-E0ED-4D52-B693-42FA17EDAAE8}"/>
              </a:ext>
            </a:extLst>
          </p:cNvPr>
          <p:cNvSpPr/>
          <p:nvPr/>
        </p:nvSpPr>
        <p:spPr>
          <a:xfrm>
            <a:off x="8600275" y="2094282"/>
            <a:ext cx="2507818" cy="3212341"/>
          </a:xfrm>
          <a:prstGeom prst="rect">
            <a:avLst/>
          </a:prstGeom>
          <a:solidFill>
            <a:schemeClr val="bg1"/>
          </a:solidFill>
          <a:ln>
            <a:solidFill>
              <a:schemeClr val="accent1"/>
            </a:solidFill>
          </a:ln>
          <a:effectLst>
            <a:outerShdw blurRad="139700" algn="ctr" rotWithShape="0">
              <a:schemeClr val="accent1">
                <a:lumMod val="50000"/>
                <a:alpha val="5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zh-CN" altLang="en-US" sz="1600" dirty="0">
              <a:solidFill>
                <a:schemeClr val="bg1"/>
              </a:solidFill>
              <a:latin typeface="+mj-ea"/>
              <a:ea typeface="+mj-ea"/>
            </a:endParaRPr>
          </a:p>
        </p:txBody>
      </p:sp>
      <p:grpSp>
        <p:nvGrpSpPr>
          <p:cNvPr id="28" name="组合 27">
            <a:extLst>
              <a:ext uri="{FF2B5EF4-FFF2-40B4-BE49-F238E27FC236}">
                <a16:creationId xmlns:a16="http://schemas.microsoft.com/office/drawing/2014/main" id="{64319F3B-7D4E-4F96-B54B-229B7C777B9B}"/>
              </a:ext>
            </a:extLst>
          </p:cNvPr>
          <p:cNvGrpSpPr/>
          <p:nvPr/>
        </p:nvGrpSpPr>
        <p:grpSpPr>
          <a:xfrm>
            <a:off x="8179438" y="2417370"/>
            <a:ext cx="3349493" cy="641295"/>
            <a:chOff x="4646480" y="2826721"/>
            <a:chExt cx="3152600" cy="498841"/>
          </a:xfrm>
        </p:grpSpPr>
        <p:grpSp>
          <p:nvGrpSpPr>
            <p:cNvPr id="29" name="组合 28">
              <a:extLst>
                <a:ext uri="{FF2B5EF4-FFF2-40B4-BE49-F238E27FC236}">
                  <a16:creationId xmlns:a16="http://schemas.microsoft.com/office/drawing/2014/main" id="{60364C9E-E9C2-4B0A-B4B0-FE64A69BC66F}"/>
                </a:ext>
              </a:extLst>
            </p:cNvPr>
            <p:cNvGrpSpPr/>
            <p:nvPr/>
          </p:nvGrpSpPr>
          <p:grpSpPr>
            <a:xfrm>
              <a:off x="7402983" y="2929129"/>
              <a:ext cx="396097" cy="396433"/>
              <a:chOff x="3882051" y="3134975"/>
              <a:chExt cx="396097" cy="396433"/>
            </a:xfrm>
          </p:grpSpPr>
          <p:sp>
            <p:nvSpPr>
              <p:cNvPr id="34" name="箭头: 五边形 33">
                <a:extLst>
                  <a:ext uri="{FF2B5EF4-FFF2-40B4-BE49-F238E27FC236}">
                    <a16:creationId xmlns:a16="http://schemas.microsoft.com/office/drawing/2014/main" id="{FB8534F8-50AF-4287-904E-B4C0A7E6AB1F}"/>
                  </a:ext>
                </a:extLst>
              </p:cNvPr>
              <p:cNvSpPr/>
              <p:nvPr/>
            </p:nvSpPr>
            <p:spPr>
              <a:xfrm flipV="1">
                <a:off x="3882052" y="3134975"/>
                <a:ext cx="396096" cy="396433"/>
              </a:xfrm>
              <a:prstGeom prst="homePlate">
                <a:avLst>
                  <a:gd name="adj" fmla="val 21143"/>
                </a:avLst>
              </a:prstGeom>
              <a:gradFill flip="none" rotWithShape="0">
                <a:gsLst>
                  <a:gs pos="5000">
                    <a:schemeClr val="accent1"/>
                  </a:gs>
                  <a:gs pos="100000">
                    <a:schemeClr val="accent1">
                      <a:lumMod val="75000"/>
                    </a:schemeClr>
                  </a:gs>
                </a:gsLst>
                <a:lin ang="2700000" scaled="1"/>
                <a:tileRect/>
              </a:gradFill>
              <a:ln>
                <a:noFill/>
              </a:ln>
              <a:effectLst>
                <a:outerShdw blurRad="254000" dist="152400" dir="5400000" sx="102000" sy="1020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91440" tIns="45720" rIns="91440" bIns="45720" numCol="1" spcCol="0" rtlCol="0" fromWordArt="0" anchor="ctr" anchorCtr="0" forceAA="0" compatLnSpc="1">
                <a:prstTxWarp prst="textNoShape">
                  <a:avLst/>
                </a:prstTxWarp>
                <a:noAutofit/>
              </a:bodyPr>
              <a:lstStyle/>
              <a:p>
                <a:pPr algn="ctr" defTabSz="457200"/>
                <a:endParaRPr lang="zh-CN" altLang="en-US"/>
              </a:p>
            </p:txBody>
          </p:sp>
          <p:sp>
            <p:nvSpPr>
              <p:cNvPr id="35" name="等腰三角形 34">
                <a:extLst>
                  <a:ext uri="{FF2B5EF4-FFF2-40B4-BE49-F238E27FC236}">
                    <a16:creationId xmlns:a16="http://schemas.microsoft.com/office/drawing/2014/main" id="{F03D8235-ACBB-4B62-886F-DE41B10FD900}"/>
                  </a:ext>
                </a:extLst>
              </p:cNvPr>
              <p:cNvSpPr/>
              <p:nvPr/>
            </p:nvSpPr>
            <p:spPr>
              <a:xfrm flipH="1" flipV="1">
                <a:off x="3882051" y="3429808"/>
                <a:ext cx="96477" cy="101600"/>
              </a:xfrm>
              <a:prstGeom prst="triangle">
                <a:avLst>
                  <a:gd name="adj" fmla="val 100000"/>
                </a:avLst>
              </a:prstGeom>
              <a:solidFill>
                <a:schemeClr val="accent1">
                  <a:lumMod val="75000"/>
                </a:schemeClr>
              </a:solidFill>
              <a:ln>
                <a:noFill/>
              </a:ln>
              <a:effectLst>
                <a:outerShdw blurRad="127000" dir="18900000" sy="23000" kx="-1200000" algn="b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91440" tIns="45720" rIns="91440" bIns="45720" numCol="1" spcCol="0" rtlCol="0" fromWordArt="0" anchor="ctr" anchorCtr="0" forceAA="0" compatLnSpc="1">
                <a:prstTxWarp prst="textNoShape">
                  <a:avLst/>
                </a:prstTxWarp>
                <a:noAutofit/>
              </a:bodyPr>
              <a:lstStyle/>
              <a:p>
                <a:pPr algn="ctr" defTabSz="457200"/>
                <a:endParaRPr lang="zh-CN" altLang="en-US"/>
              </a:p>
            </p:txBody>
          </p:sp>
        </p:grpSp>
        <p:grpSp>
          <p:nvGrpSpPr>
            <p:cNvPr id="30" name="组合 29">
              <a:extLst>
                <a:ext uri="{FF2B5EF4-FFF2-40B4-BE49-F238E27FC236}">
                  <a16:creationId xmlns:a16="http://schemas.microsoft.com/office/drawing/2014/main" id="{EDEA1A90-4534-4103-95F9-223B40B43524}"/>
                </a:ext>
              </a:extLst>
            </p:cNvPr>
            <p:cNvGrpSpPr/>
            <p:nvPr/>
          </p:nvGrpSpPr>
          <p:grpSpPr>
            <a:xfrm flipH="1">
              <a:off x="4646480" y="2929129"/>
              <a:ext cx="396097" cy="396433"/>
              <a:chOff x="3882051" y="3134975"/>
              <a:chExt cx="396097" cy="396433"/>
            </a:xfrm>
          </p:grpSpPr>
          <p:sp>
            <p:nvSpPr>
              <p:cNvPr id="32" name="箭头: 五边形 31">
                <a:extLst>
                  <a:ext uri="{FF2B5EF4-FFF2-40B4-BE49-F238E27FC236}">
                    <a16:creationId xmlns:a16="http://schemas.microsoft.com/office/drawing/2014/main" id="{7B7DD76A-6ABC-42FC-8824-63C76471383E}"/>
                  </a:ext>
                </a:extLst>
              </p:cNvPr>
              <p:cNvSpPr/>
              <p:nvPr/>
            </p:nvSpPr>
            <p:spPr>
              <a:xfrm>
                <a:off x="3882052" y="3134975"/>
                <a:ext cx="396096" cy="396433"/>
              </a:xfrm>
              <a:prstGeom prst="homePlate">
                <a:avLst>
                  <a:gd name="adj" fmla="val 21143"/>
                </a:avLst>
              </a:prstGeom>
              <a:gradFill flip="none" rotWithShape="0">
                <a:gsLst>
                  <a:gs pos="5000">
                    <a:schemeClr val="accent1"/>
                  </a:gs>
                  <a:gs pos="100000">
                    <a:schemeClr val="accent1">
                      <a:lumMod val="75000"/>
                    </a:schemeClr>
                  </a:gs>
                </a:gsLst>
                <a:lin ang="2700000" scaled="1"/>
                <a:tileRect/>
              </a:gradFill>
              <a:ln>
                <a:noFill/>
              </a:ln>
              <a:effectLst>
                <a:outerShdw blurRad="254000" dist="152400" dir="5400000" sx="102000" sy="1020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91440" tIns="45720" rIns="91440" bIns="45720" numCol="1" spcCol="0" rtlCol="0" fromWordArt="0" anchor="ctr" anchorCtr="0" forceAA="0" compatLnSpc="1">
                <a:prstTxWarp prst="textNoShape">
                  <a:avLst/>
                </a:prstTxWarp>
                <a:noAutofit/>
              </a:bodyPr>
              <a:lstStyle/>
              <a:p>
                <a:pPr algn="ctr" defTabSz="457200"/>
                <a:endParaRPr lang="zh-CN" altLang="en-US"/>
              </a:p>
            </p:txBody>
          </p:sp>
          <p:sp>
            <p:nvSpPr>
              <p:cNvPr id="33" name="等腰三角形 32">
                <a:extLst>
                  <a:ext uri="{FF2B5EF4-FFF2-40B4-BE49-F238E27FC236}">
                    <a16:creationId xmlns:a16="http://schemas.microsoft.com/office/drawing/2014/main" id="{241F7490-E771-447E-B2C0-39488E583666}"/>
                  </a:ext>
                </a:extLst>
              </p:cNvPr>
              <p:cNvSpPr/>
              <p:nvPr/>
            </p:nvSpPr>
            <p:spPr>
              <a:xfrm flipH="1" flipV="1">
                <a:off x="3882051" y="3429808"/>
                <a:ext cx="96477" cy="101600"/>
              </a:xfrm>
              <a:prstGeom prst="triangle">
                <a:avLst>
                  <a:gd name="adj" fmla="val 100000"/>
                </a:avLst>
              </a:prstGeom>
              <a:solidFill>
                <a:schemeClr val="accent1">
                  <a:lumMod val="75000"/>
                </a:schemeClr>
              </a:solidFill>
              <a:ln>
                <a:noFill/>
              </a:ln>
              <a:effectLst>
                <a:outerShdw blurRad="127000" dir="18900000" sy="23000" kx="-1200000" algn="b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91440" tIns="45720" rIns="91440" bIns="45720" numCol="1" spcCol="0" rtlCol="0" fromWordArt="0" anchor="ctr" anchorCtr="0" forceAA="0" compatLnSpc="1">
                <a:prstTxWarp prst="textNoShape">
                  <a:avLst/>
                </a:prstTxWarp>
                <a:noAutofit/>
              </a:bodyPr>
              <a:lstStyle/>
              <a:p>
                <a:pPr algn="ctr" defTabSz="457200"/>
                <a:endParaRPr lang="zh-CN" altLang="en-US"/>
              </a:p>
            </p:txBody>
          </p:sp>
        </p:grpSp>
        <p:sp>
          <p:nvSpPr>
            <p:cNvPr id="31" name="矩形 30">
              <a:extLst>
                <a:ext uri="{FF2B5EF4-FFF2-40B4-BE49-F238E27FC236}">
                  <a16:creationId xmlns:a16="http://schemas.microsoft.com/office/drawing/2014/main" id="{9671BC5A-B689-49D9-BEE1-014AB4F4D6A9}"/>
                </a:ext>
              </a:extLst>
            </p:cNvPr>
            <p:cNvSpPr/>
            <p:nvPr/>
          </p:nvSpPr>
          <p:spPr>
            <a:xfrm>
              <a:off x="4947901" y="2826721"/>
              <a:ext cx="2551560" cy="396433"/>
            </a:xfrm>
            <a:prstGeom prst="rect">
              <a:avLst/>
            </a:prstGeom>
            <a:gradFill flip="none" rotWithShape="0">
              <a:gsLst>
                <a:gs pos="5000">
                  <a:schemeClr val="accent1"/>
                </a:gs>
                <a:gs pos="100000">
                  <a:schemeClr val="accent1">
                    <a:lumMod val="75000"/>
                  </a:schemeClr>
                </a:gs>
              </a:gsLst>
              <a:lin ang="2700000" scaled="1"/>
              <a:tileRect/>
            </a:gradFill>
            <a:ln>
              <a:noFill/>
            </a:ln>
            <a:effectLst>
              <a:outerShdw blurRad="254000" dist="152400" dir="5400000" sx="102000" sy="1020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91440" tIns="45720" rIns="91440" bIns="45720" numCol="1" spcCol="0" rtlCol="0" fromWordArt="0" anchor="ctr" anchorCtr="0" forceAA="0" compatLnSpc="1">
              <a:prstTxWarp prst="textNoShape">
                <a:avLst/>
              </a:prstTxWarp>
              <a:noAutofit/>
            </a:bodyPr>
            <a:lstStyle/>
            <a:p>
              <a:pPr algn="ctr" defTabSz="457200"/>
              <a:endParaRPr lang="zh-CN" altLang="en-US"/>
            </a:p>
          </p:txBody>
        </p:sp>
      </p:grpSp>
      <p:sp>
        <p:nvSpPr>
          <p:cNvPr id="36" name="文本框 35">
            <a:extLst>
              <a:ext uri="{FF2B5EF4-FFF2-40B4-BE49-F238E27FC236}">
                <a16:creationId xmlns:a16="http://schemas.microsoft.com/office/drawing/2014/main" id="{C15FE327-0B4A-47A5-9B0F-B8B0C69EB7B9}"/>
              </a:ext>
            </a:extLst>
          </p:cNvPr>
          <p:cNvSpPr txBox="1"/>
          <p:nvPr/>
        </p:nvSpPr>
        <p:spPr>
          <a:xfrm>
            <a:off x="9212983" y="2518456"/>
            <a:ext cx="1282402" cy="307777"/>
          </a:xfrm>
          <a:prstGeom prst="rect">
            <a:avLst/>
          </a:prstGeom>
          <a:noFill/>
        </p:spPr>
        <p:txBody>
          <a:bodyPr wrap="none" lIns="0" tIns="0" rIns="0" bIns="0" rtlCol="0" anchor="t">
            <a:spAutoFit/>
          </a:bodyPr>
          <a:lstStyle/>
          <a:p>
            <a:r>
              <a:rPr lang="zh-CN" altLang="en-US" sz="2000" dirty="0">
                <a:solidFill>
                  <a:schemeClr val="bg1"/>
                </a:solidFill>
                <a:latin typeface="+mj-ea"/>
                <a:ea typeface="+mj-ea"/>
              </a:rPr>
              <a:t>关键词标题</a:t>
            </a:r>
          </a:p>
        </p:txBody>
      </p:sp>
      <p:sp>
        <p:nvSpPr>
          <p:cNvPr id="37" name="文本框 36">
            <a:extLst>
              <a:ext uri="{FF2B5EF4-FFF2-40B4-BE49-F238E27FC236}">
                <a16:creationId xmlns:a16="http://schemas.microsoft.com/office/drawing/2014/main" id="{375D85F9-100A-4D21-8616-18B76B3086E5}"/>
              </a:ext>
            </a:extLst>
          </p:cNvPr>
          <p:cNvSpPr txBox="1"/>
          <p:nvPr/>
        </p:nvSpPr>
        <p:spPr>
          <a:xfrm>
            <a:off x="8697774" y="4304512"/>
            <a:ext cx="2312821" cy="704873"/>
          </a:xfrm>
          <a:prstGeom prst="rect">
            <a:avLst/>
          </a:prstGeom>
          <a:noFill/>
        </p:spPr>
        <p:txBody>
          <a:bodyPr wrap="square" lIns="0" tIns="0" rIns="0" bIns="0" rtlCol="0" anchor="t">
            <a:spAutoFit/>
          </a:bodyPr>
          <a:lstStyle/>
          <a:p>
            <a:pPr algn="ctr">
              <a:lnSpc>
                <a:spcPct val="130000"/>
              </a:lnSpc>
            </a:pPr>
            <a:r>
              <a:rPr lang="en-US" altLang="zh-CN" sz="1200" b="0" dirty="0">
                <a:solidFill>
                  <a:schemeClr val="tx1">
                    <a:lumMod val="75000"/>
                    <a:lumOff val="25000"/>
                  </a:schemeClr>
                </a:solidFill>
                <a:effectLst/>
                <a:latin typeface="+mn-ea"/>
              </a:rPr>
              <a:t>Lorem ipsum dolor sit </a:t>
            </a:r>
            <a:r>
              <a:rPr lang="en-US" altLang="zh-CN" sz="1200" b="0" dirty="0" err="1">
                <a:solidFill>
                  <a:schemeClr val="tx1">
                    <a:lumMod val="75000"/>
                    <a:lumOff val="25000"/>
                  </a:schemeClr>
                </a:solidFill>
                <a:effectLst/>
                <a:latin typeface="+mn-ea"/>
              </a:rPr>
              <a:t>amet</a:t>
            </a:r>
            <a:r>
              <a:rPr lang="en-US" altLang="zh-CN" sz="1200" b="0" dirty="0">
                <a:solidFill>
                  <a:schemeClr val="tx1">
                    <a:lumMod val="75000"/>
                    <a:lumOff val="25000"/>
                  </a:schemeClr>
                </a:solidFill>
                <a:effectLst/>
                <a:latin typeface="+mn-ea"/>
              </a:rPr>
              <a:t> consectetur </a:t>
            </a:r>
            <a:r>
              <a:rPr lang="en-US" altLang="zh-CN" sz="1200" b="0" dirty="0" err="1">
                <a:solidFill>
                  <a:schemeClr val="tx1">
                    <a:lumMod val="75000"/>
                    <a:lumOff val="25000"/>
                  </a:schemeClr>
                </a:solidFill>
                <a:effectLst/>
                <a:latin typeface="+mn-ea"/>
              </a:rPr>
              <a:t>adipisicing</a:t>
            </a:r>
            <a:r>
              <a:rPr lang="en-US" altLang="zh-CN" sz="1200" b="0" dirty="0">
                <a:solidFill>
                  <a:schemeClr val="tx1">
                    <a:lumMod val="75000"/>
                    <a:lumOff val="25000"/>
                  </a:schemeClr>
                </a:solidFill>
                <a:effectLst/>
                <a:latin typeface="+mn-ea"/>
              </a:rPr>
              <a:t> </a:t>
            </a:r>
            <a:r>
              <a:rPr lang="en-US" altLang="zh-CN" sz="1200" b="0" dirty="0" err="1">
                <a:solidFill>
                  <a:schemeClr val="tx1">
                    <a:lumMod val="75000"/>
                    <a:lumOff val="25000"/>
                  </a:schemeClr>
                </a:solidFill>
                <a:effectLst/>
                <a:latin typeface="+mn-ea"/>
              </a:rPr>
              <a:t>elit</a:t>
            </a:r>
            <a:r>
              <a:rPr lang="en-US" altLang="zh-CN" sz="1200" b="0" dirty="0">
                <a:solidFill>
                  <a:schemeClr val="tx1">
                    <a:lumMod val="75000"/>
                    <a:lumOff val="25000"/>
                  </a:schemeClr>
                </a:solidFill>
                <a:effectLst/>
                <a:latin typeface="+mn-ea"/>
              </a:rPr>
              <a:t> sed do eiusmod tempor</a:t>
            </a:r>
            <a:endParaRPr lang="zh-CN" altLang="en-US" sz="1200" b="0" dirty="0">
              <a:solidFill>
                <a:schemeClr val="tx1">
                  <a:lumMod val="75000"/>
                  <a:lumOff val="25000"/>
                </a:schemeClr>
              </a:solidFill>
              <a:effectLst/>
              <a:latin typeface="+mn-ea"/>
            </a:endParaRPr>
          </a:p>
        </p:txBody>
      </p:sp>
      <p:sp>
        <p:nvSpPr>
          <p:cNvPr id="38" name="文本框 37">
            <a:extLst>
              <a:ext uri="{FF2B5EF4-FFF2-40B4-BE49-F238E27FC236}">
                <a16:creationId xmlns:a16="http://schemas.microsoft.com/office/drawing/2014/main" id="{4B5001EA-C85E-4F92-8E1A-BD178F55C3B5}"/>
              </a:ext>
            </a:extLst>
          </p:cNvPr>
          <p:cNvSpPr txBox="1"/>
          <p:nvPr/>
        </p:nvSpPr>
        <p:spPr>
          <a:xfrm>
            <a:off x="8697774" y="3329152"/>
            <a:ext cx="2312821" cy="704873"/>
          </a:xfrm>
          <a:prstGeom prst="rect">
            <a:avLst/>
          </a:prstGeom>
          <a:noFill/>
        </p:spPr>
        <p:txBody>
          <a:bodyPr wrap="square" lIns="0" tIns="0" rIns="0" bIns="0" rtlCol="0" anchor="t">
            <a:spAutoFit/>
          </a:bodyPr>
          <a:lstStyle/>
          <a:p>
            <a:pPr algn="ctr">
              <a:lnSpc>
                <a:spcPct val="130000"/>
              </a:lnSpc>
            </a:pPr>
            <a:r>
              <a:rPr lang="en-US" altLang="zh-CN" sz="1200" b="0" dirty="0">
                <a:solidFill>
                  <a:schemeClr val="tx1">
                    <a:lumMod val="75000"/>
                    <a:lumOff val="25000"/>
                  </a:schemeClr>
                </a:solidFill>
                <a:effectLst/>
                <a:latin typeface="+mn-ea"/>
              </a:rPr>
              <a:t>Lorem ipsum dolor sit </a:t>
            </a:r>
            <a:r>
              <a:rPr lang="en-US" altLang="zh-CN" sz="1200" b="0" dirty="0" err="1">
                <a:solidFill>
                  <a:schemeClr val="tx1">
                    <a:lumMod val="75000"/>
                    <a:lumOff val="25000"/>
                  </a:schemeClr>
                </a:solidFill>
                <a:effectLst/>
                <a:latin typeface="+mn-ea"/>
              </a:rPr>
              <a:t>amet</a:t>
            </a:r>
            <a:r>
              <a:rPr lang="en-US" altLang="zh-CN" sz="1200" b="0" dirty="0">
                <a:solidFill>
                  <a:schemeClr val="tx1">
                    <a:lumMod val="75000"/>
                    <a:lumOff val="25000"/>
                  </a:schemeClr>
                </a:solidFill>
                <a:effectLst/>
                <a:latin typeface="+mn-ea"/>
              </a:rPr>
              <a:t> consectetur </a:t>
            </a:r>
            <a:r>
              <a:rPr lang="en-US" altLang="zh-CN" sz="1200" b="0" dirty="0" err="1">
                <a:solidFill>
                  <a:schemeClr val="tx1">
                    <a:lumMod val="75000"/>
                    <a:lumOff val="25000"/>
                  </a:schemeClr>
                </a:solidFill>
                <a:effectLst/>
                <a:latin typeface="+mn-ea"/>
              </a:rPr>
              <a:t>adipisicing</a:t>
            </a:r>
            <a:r>
              <a:rPr lang="en-US" altLang="zh-CN" sz="1200" b="0" dirty="0">
                <a:solidFill>
                  <a:schemeClr val="tx1">
                    <a:lumMod val="75000"/>
                    <a:lumOff val="25000"/>
                  </a:schemeClr>
                </a:solidFill>
                <a:effectLst/>
                <a:latin typeface="+mn-ea"/>
              </a:rPr>
              <a:t> </a:t>
            </a:r>
            <a:r>
              <a:rPr lang="en-US" altLang="zh-CN" sz="1200" b="0" dirty="0" err="1">
                <a:solidFill>
                  <a:schemeClr val="tx1">
                    <a:lumMod val="75000"/>
                    <a:lumOff val="25000"/>
                  </a:schemeClr>
                </a:solidFill>
                <a:effectLst/>
                <a:latin typeface="+mn-ea"/>
              </a:rPr>
              <a:t>elit</a:t>
            </a:r>
            <a:r>
              <a:rPr lang="en-US" altLang="zh-CN" sz="1200" b="0" dirty="0">
                <a:solidFill>
                  <a:schemeClr val="tx1">
                    <a:lumMod val="75000"/>
                    <a:lumOff val="25000"/>
                  </a:schemeClr>
                </a:solidFill>
                <a:effectLst/>
                <a:latin typeface="+mn-ea"/>
              </a:rPr>
              <a:t> sed do eiusmod tempor</a:t>
            </a:r>
            <a:endParaRPr lang="zh-CN" altLang="en-US" sz="1200" b="0" dirty="0">
              <a:solidFill>
                <a:schemeClr val="tx1">
                  <a:lumMod val="75000"/>
                  <a:lumOff val="25000"/>
                </a:schemeClr>
              </a:solidFill>
              <a:effectLst/>
              <a:latin typeface="+mn-ea"/>
            </a:endParaRPr>
          </a:p>
        </p:txBody>
      </p:sp>
    </p:spTree>
    <p:extLst>
      <p:ext uri="{BB962C8B-B14F-4D97-AF65-F5344CB8AC3E}">
        <p14:creationId xmlns:p14="http://schemas.microsoft.com/office/powerpoint/2010/main" val="655471916"/>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2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椭圆 2">
            <a:extLst>
              <a:ext uri="{FF2B5EF4-FFF2-40B4-BE49-F238E27FC236}">
                <a16:creationId xmlns:a16="http://schemas.microsoft.com/office/drawing/2014/main" id="{C575B752-94A8-42D4-8B17-4574478029EF}"/>
              </a:ext>
            </a:extLst>
          </p:cNvPr>
          <p:cNvSpPr/>
          <p:nvPr/>
        </p:nvSpPr>
        <p:spPr>
          <a:xfrm>
            <a:off x="2533650" y="2423013"/>
            <a:ext cx="2497016" cy="2497016"/>
          </a:xfrm>
          <a:prstGeom prst="ellipse">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9" name="任意多边形: 形状 8">
            <a:extLst>
              <a:ext uri="{FF2B5EF4-FFF2-40B4-BE49-F238E27FC236}">
                <a16:creationId xmlns:a16="http://schemas.microsoft.com/office/drawing/2014/main" id="{C68C26BD-5173-45AA-ADE4-4F705AE4E680}"/>
              </a:ext>
            </a:extLst>
          </p:cNvPr>
          <p:cNvSpPr/>
          <p:nvPr/>
        </p:nvSpPr>
        <p:spPr>
          <a:xfrm>
            <a:off x="2468441" y="2357804"/>
            <a:ext cx="2627434" cy="2627434"/>
          </a:xfrm>
          <a:custGeom>
            <a:avLst/>
            <a:gdLst>
              <a:gd name="connsiteX0" fmla="*/ 2358874 w 2489468"/>
              <a:gd name="connsiteY0" fmla="*/ 1319469 h 2489468"/>
              <a:gd name="connsiteX1" fmla="*/ 2489468 w 2489468"/>
              <a:gd name="connsiteY1" fmla="*/ 1319469 h 2489468"/>
              <a:gd name="connsiteX2" fmla="*/ 2486796 w 2489468"/>
              <a:gd name="connsiteY2" fmla="*/ 1372387 h 2489468"/>
              <a:gd name="connsiteX3" fmla="*/ 1372387 w 2489468"/>
              <a:gd name="connsiteY3" fmla="*/ 2486796 h 2489468"/>
              <a:gd name="connsiteX4" fmla="*/ 1319469 w 2489468"/>
              <a:gd name="connsiteY4" fmla="*/ 2489468 h 2489468"/>
              <a:gd name="connsiteX5" fmla="*/ 1319469 w 2489468"/>
              <a:gd name="connsiteY5" fmla="*/ 2358874 h 2489468"/>
              <a:gd name="connsiteX6" fmla="*/ 1359034 w 2489468"/>
              <a:gd name="connsiteY6" fmla="*/ 2356877 h 2489468"/>
              <a:gd name="connsiteX7" fmla="*/ 2356876 w 2489468"/>
              <a:gd name="connsiteY7" fmla="*/ 1359034 h 2489468"/>
              <a:gd name="connsiteX8" fmla="*/ 0 w 2489468"/>
              <a:gd name="connsiteY8" fmla="*/ 1319469 h 2489468"/>
              <a:gd name="connsiteX9" fmla="*/ 130594 w 2489468"/>
              <a:gd name="connsiteY9" fmla="*/ 1319469 h 2489468"/>
              <a:gd name="connsiteX10" fmla="*/ 132592 w 2489468"/>
              <a:gd name="connsiteY10" fmla="*/ 1359034 h 2489468"/>
              <a:gd name="connsiteX11" fmla="*/ 1130434 w 2489468"/>
              <a:gd name="connsiteY11" fmla="*/ 2356877 h 2489468"/>
              <a:gd name="connsiteX12" fmla="*/ 1169999 w 2489468"/>
              <a:gd name="connsiteY12" fmla="*/ 2358874 h 2489468"/>
              <a:gd name="connsiteX13" fmla="*/ 1169999 w 2489468"/>
              <a:gd name="connsiteY13" fmla="*/ 2489468 h 2489468"/>
              <a:gd name="connsiteX14" fmla="*/ 1117081 w 2489468"/>
              <a:gd name="connsiteY14" fmla="*/ 2486796 h 2489468"/>
              <a:gd name="connsiteX15" fmla="*/ 2672 w 2489468"/>
              <a:gd name="connsiteY15" fmla="*/ 1372387 h 2489468"/>
              <a:gd name="connsiteX16" fmla="*/ 1319469 w 2489468"/>
              <a:gd name="connsiteY16" fmla="*/ 0 h 2489468"/>
              <a:gd name="connsiteX17" fmla="*/ 1372387 w 2489468"/>
              <a:gd name="connsiteY17" fmla="*/ 2672 h 2489468"/>
              <a:gd name="connsiteX18" fmla="*/ 2486796 w 2489468"/>
              <a:gd name="connsiteY18" fmla="*/ 1117081 h 2489468"/>
              <a:gd name="connsiteX19" fmla="*/ 2489468 w 2489468"/>
              <a:gd name="connsiteY19" fmla="*/ 1169999 h 2489468"/>
              <a:gd name="connsiteX20" fmla="*/ 2358874 w 2489468"/>
              <a:gd name="connsiteY20" fmla="*/ 1169999 h 2489468"/>
              <a:gd name="connsiteX21" fmla="*/ 2356876 w 2489468"/>
              <a:gd name="connsiteY21" fmla="*/ 1130434 h 2489468"/>
              <a:gd name="connsiteX22" fmla="*/ 1359034 w 2489468"/>
              <a:gd name="connsiteY22" fmla="*/ 132592 h 2489468"/>
              <a:gd name="connsiteX23" fmla="*/ 1319469 w 2489468"/>
              <a:gd name="connsiteY23" fmla="*/ 130594 h 2489468"/>
              <a:gd name="connsiteX24" fmla="*/ 1169999 w 2489468"/>
              <a:gd name="connsiteY24" fmla="*/ 0 h 2489468"/>
              <a:gd name="connsiteX25" fmla="*/ 1169999 w 2489468"/>
              <a:gd name="connsiteY25" fmla="*/ 130594 h 2489468"/>
              <a:gd name="connsiteX26" fmla="*/ 1130434 w 2489468"/>
              <a:gd name="connsiteY26" fmla="*/ 132592 h 2489468"/>
              <a:gd name="connsiteX27" fmla="*/ 132592 w 2489468"/>
              <a:gd name="connsiteY27" fmla="*/ 1130434 h 2489468"/>
              <a:gd name="connsiteX28" fmla="*/ 130594 w 2489468"/>
              <a:gd name="connsiteY28" fmla="*/ 1169999 h 2489468"/>
              <a:gd name="connsiteX29" fmla="*/ 0 w 2489468"/>
              <a:gd name="connsiteY29" fmla="*/ 1169999 h 2489468"/>
              <a:gd name="connsiteX30" fmla="*/ 2672 w 2489468"/>
              <a:gd name="connsiteY30" fmla="*/ 1117081 h 2489468"/>
              <a:gd name="connsiteX31" fmla="*/ 1117081 w 2489468"/>
              <a:gd name="connsiteY31" fmla="*/ 2672 h 24894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489468" h="2489468">
                <a:moveTo>
                  <a:pt x="2358874" y="1319469"/>
                </a:moveTo>
                <a:lnTo>
                  <a:pt x="2489468" y="1319469"/>
                </a:lnTo>
                <a:lnTo>
                  <a:pt x="2486796" y="1372387"/>
                </a:lnTo>
                <a:cubicBezTo>
                  <a:pt x="2427123" y="1959983"/>
                  <a:pt x="1959983" y="2427123"/>
                  <a:pt x="1372387" y="2486796"/>
                </a:cubicBezTo>
                <a:lnTo>
                  <a:pt x="1319469" y="2489468"/>
                </a:lnTo>
                <a:lnTo>
                  <a:pt x="1319469" y="2358874"/>
                </a:lnTo>
                <a:lnTo>
                  <a:pt x="1359034" y="2356877"/>
                </a:lnTo>
                <a:cubicBezTo>
                  <a:pt x="1885168" y="2303445"/>
                  <a:pt x="2303445" y="1885168"/>
                  <a:pt x="2356876" y="1359034"/>
                </a:cubicBezTo>
                <a:close/>
                <a:moveTo>
                  <a:pt x="0" y="1319469"/>
                </a:moveTo>
                <a:lnTo>
                  <a:pt x="130594" y="1319469"/>
                </a:lnTo>
                <a:lnTo>
                  <a:pt x="132592" y="1359034"/>
                </a:lnTo>
                <a:cubicBezTo>
                  <a:pt x="186024" y="1885168"/>
                  <a:pt x="604300" y="2303445"/>
                  <a:pt x="1130434" y="2356877"/>
                </a:cubicBezTo>
                <a:lnTo>
                  <a:pt x="1169999" y="2358874"/>
                </a:lnTo>
                <a:lnTo>
                  <a:pt x="1169999" y="2489468"/>
                </a:lnTo>
                <a:lnTo>
                  <a:pt x="1117081" y="2486796"/>
                </a:lnTo>
                <a:cubicBezTo>
                  <a:pt x="529485" y="2427123"/>
                  <a:pt x="62346" y="1959983"/>
                  <a:pt x="2672" y="1372387"/>
                </a:cubicBezTo>
                <a:close/>
                <a:moveTo>
                  <a:pt x="1319469" y="0"/>
                </a:moveTo>
                <a:lnTo>
                  <a:pt x="1372387" y="2672"/>
                </a:lnTo>
                <a:cubicBezTo>
                  <a:pt x="1959983" y="62346"/>
                  <a:pt x="2427123" y="529485"/>
                  <a:pt x="2486796" y="1117081"/>
                </a:cubicBezTo>
                <a:lnTo>
                  <a:pt x="2489468" y="1169999"/>
                </a:lnTo>
                <a:lnTo>
                  <a:pt x="2358874" y="1169999"/>
                </a:lnTo>
                <a:lnTo>
                  <a:pt x="2356876" y="1130434"/>
                </a:lnTo>
                <a:cubicBezTo>
                  <a:pt x="2303445" y="604300"/>
                  <a:pt x="1885168" y="186024"/>
                  <a:pt x="1359034" y="132592"/>
                </a:cubicBezTo>
                <a:lnTo>
                  <a:pt x="1319469" y="130594"/>
                </a:lnTo>
                <a:close/>
                <a:moveTo>
                  <a:pt x="1169999" y="0"/>
                </a:moveTo>
                <a:lnTo>
                  <a:pt x="1169999" y="130594"/>
                </a:lnTo>
                <a:lnTo>
                  <a:pt x="1130434" y="132592"/>
                </a:lnTo>
                <a:cubicBezTo>
                  <a:pt x="604300" y="186024"/>
                  <a:pt x="186024" y="604300"/>
                  <a:pt x="132592" y="1130434"/>
                </a:cubicBezTo>
                <a:lnTo>
                  <a:pt x="130594" y="1169999"/>
                </a:lnTo>
                <a:lnTo>
                  <a:pt x="0" y="1169999"/>
                </a:lnTo>
                <a:lnTo>
                  <a:pt x="2672" y="1117081"/>
                </a:lnTo>
                <a:cubicBezTo>
                  <a:pt x="62346" y="529485"/>
                  <a:pt x="529485" y="62346"/>
                  <a:pt x="1117081" y="2672"/>
                </a:cubicBezTo>
                <a:close/>
              </a:path>
            </a:pathLst>
          </a:custGeom>
          <a:solidFill>
            <a:schemeClr val="accent1"/>
          </a:solidFill>
          <a:ln w="13652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l"/>
            <a:endParaRPr lang="zh-CN" altLang="en-US" sz="1600">
              <a:solidFill>
                <a:schemeClr val="bg1"/>
              </a:solidFill>
              <a:latin typeface="+mj-ea"/>
              <a:ea typeface="+mj-ea"/>
            </a:endParaRPr>
          </a:p>
        </p:txBody>
      </p:sp>
      <p:sp>
        <p:nvSpPr>
          <p:cNvPr id="10" name="弧形 9">
            <a:extLst>
              <a:ext uri="{FF2B5EF4-FFF2-40B4-BE49-F238E27FC236}">
                <a16:creationId xmlns:a16="http://schemas.microsoft.com/office/drawing/2014/main" id="{5E6FD6F8-64E5-4495-A030-07AE4C4AFC0C}"/>
              </a:ext>
            </a:extLst>
          </p:cNvPr>
          <p:cNvSpPr/>
          <p:nvPr/>
        </p:nvSpPr>
        <p:spPr>
          <a:xfrm>
            <a:off x="2264606" y="2153969"/>
            <a:ext cx="3035104" cy="3035104"/>
          </a:xfrm>
          <a:prstGeom prst="arc">
            <a:avLst>
              <a:gd name="adj1" fmla="val 16200000"/>
              <a:gd name="adj2" fmla="val 5426444"/>
            </a:avLst>
          </a:prstGeom>
          <a:noFill/>
          <a:ln w="28575">
            <a:solidFill>
              <a:schemeClr val="accent1"/>
            </a:solidFill>
            <a:headEnd type="oval"/>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11" name="弧形 10">
            <a:extLst>
              <a:ext uri="{FF2B5EF4-FFF2-40B4-BE49-F238E27FC236}">
                <a16:creationId xmlns:a16="http://schemas.microsoft.com/office/drawing/2014/main" id="{606A021F-BFB5-4999-AF5E-03B4C7D6DFF9}"/>
              </a:ext>
            </a:extLst>
          </p:cNvPr>
          <p:cNvSpPr/>
          <p:nvPr/>
        </p:nvSpPr>
        <p:spPr>
          <a:xfrm flipH="1">
            <a:off x="2264606" y="2153969"/>
            <a:ext cx="3035104" cy="3035104"/>
          </a:xfrm>
          <a:prstGeom prst="arc">
            <a:avLst>
              <a:gd name="adj1" fmla="val 16392582"/>
              <a:gd name="adj2" fmla="val 5133520"/>
            </a:avLst>
          </a:prstGeom>
          <a:noFill/>
          <a:ln w="28575">
            <a:solidFill>
              <a:schemeClr val="accent1"/>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grpSp>
        <p:nvGrpSpPr>
          <p:cNvPr id="20" name="组合 19">
            <a:extLst>
              <a:ext uri="{FF2B5EF4-FFF2-40B4-BE49-F238E27FC236}">
                <a16:creationId xmlns:a16="http://schemas.microsoft.com/office/drawing/2014/main" id="{C97D9B3E-FEDF-4427-8A4E-8A041402E3EF}"/>
              </a:ext>
            </a:extLst>
          </p:cNvPr>
          <p:cNvGrpSpPr/>
          <p:nvPr/>
        </p:nvGrpSpPr>
        <p:grpSpPr>
          <a:xfrm>
            <a:off x="5739372" y="1383689"/>
            <a:ext cx="3141681" cy="861060"/>
            <a:chOff x="5509260" y="1507147"/>
            <a:chExt cx="3141681" cy="861060"/>
          </a:xfrm>
        </p:grpSpPr>
        <p:sp>
          <p:nvSpPr>
            <p:cNvPr id="16" name="矩形: 圆角 15">
              <a:extLst>
                <a:ext uri="{FF2B5EF4-FFF2-40B4-BE49-F238E27FC236}">
                  <a16:creationId xmlns:a16="http://schemas.microsoft.com/office/drawing/2014/main" id="{2B71EB1C-018B-4D53-AF05-E85F657CE2B8}"/>
                </a:ext>
              </a:extLst>
            </p:cNvPr>
            <p:cNvSpPr/>
            <p:nvPr/>
          </p:nvSpPr>
          <p:spPr>
            <a:xfrm>
              <a:off x="5734051" y="1528763"/>
              <a:ext cx="2916890" cy="817828"/>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14" name="椭圆 13">
              <a:extLst>
                <a:ext uri="{FF2B5EF4-FFF2-40B4-BE49-F238E27FC236}">
                  <a16:creationId xmlns:a16="http://schemas.microsoft.com/office/drawing/2014/main" id="{C8D1FB7C-0676-4155-942D-E6F4B82F5804}"/>
                </a:ext>
              </a:extLst>
            </p:cNvPr>
            <p:cNvSpPr/>
            <p:nvPr/>
          </p:nvSpPr>
          <p:spPr>
            <a:xfrm>
              <a:off x="5509260" y="1507147"/>
              <a:ext cx="861060" cy="861060"/>
            </a:xfrm>
            <a:prstGeom prst="ellipse">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15" name="弧形 14">
              <a:extLst>
                <a:ext uri="{FF2B5EF4-FFF2-40B4-BE49-F238E27FC236}">
                  <a16:creationId xmlns:a16="http://schemas.microsoft.com/office/drawing/2014/main" id="{02DA8F99-1166-42E2-9E96-7D5E2920D1DB}"/>
                </a:ext>
              </a:extLst>
            </p:cNvPr>
            <p:cNvSpPr/>
            <p:nvPr/>
          </p:nvSpPr>
          <p:spPr>
            <a:xfrm>
              <a:off x="5509260" y="1507147"/>
              <a:ext cx="861060" cy="861060"/>
            </a:xfrm>
            <a:prstGeom prst="arc">
              <a:avLst>
                <a:gd name="adj1" fmla="val 16200000"/>
                <a:gd name="adj2" fmla="val 5362982"/>
              </a:avLst>
            </a:prstGeom>
            <a:noFill/>
            <a:ln w="889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18" name="文本框 17">
              <a:extLst>
                <a:ext uri="{FF2B5EF4-FFF2-40B4-BE49-F238E27FC236}">
                  <a16:creationId xmlns:a16="http://schemas.microsoft.com/office/drawing/2014/main" id="{F92E5D9A-77C1-49BE-83E0-59F8B9C4C632}"/>
                </a:ext>
              </a:extLst>
            </p:cNvPr>
            <p:cNvSpPr txBox="1"/>
            <p:nvPr/>
          </p:nvSpPr>
          <p:spPr>
            <a:xfrm>
              <a:off x="6429770" y="1890039"/>
              <a:ext cx="2161721" cy="387286"/>
            </a:xfrm>
            <a:prstGeom prst="rect">
              <a:avLst/>
            </a:prstGeom>
            <a:noFill/>
          </p:spPr>
          <p:txBody>
            <a:bodyPr wrap="square" lIns="0" tIns="0" rIns="0" bIns="0" rtlCol="0" anchor="t">
              <a:spAutoFit/>
            </a:bodyPr>
            <a:lstStyle/>
            <a:p>
              <a:pPr>
                <a:lnSpc>
                  <a:spcPct val="130000"/>
                </a:lnSpc>
              </a:pPr>
              <a:r>
                <a:rPr lang="en-US" altLang="zh-CN" sz="1000" b="0" dirty="0">
                  <a:solidFill>
                    <a:schemeClr val="bg1"/>
                  </a:solidFill>
                  <a:effectLst/>
                  <a:latin typeface="+mn-ea"/>
                </a:rPr>
                <a:t>Lorem ipsum dolor sit amet consectetur adipisicing elit</a:t>
              </a:r>
              <a:endParaRPr lang="zh-CN" altLang="en-US" sz="1000" b="0" dirty="0">
                <a:solidFill>
                  <a:schemeClr val="bg1"/>
                </a:solidFill>
                <a:effectLst/>
                <a:latin typeface="+mn-ea"/>
              </a:endParaRPr>
            </a:p>
          </p:txBody>
        </p:sp>
        <p:sp>
          <p:nvSpPr>
            <p:cNvPr id="19" name="文本框 18">
              <a:extLst>
                <a:ext uri="{FF2B5EF4-FFF2-40B4-BE49-F238E27FC236}">
                  <a16:creationId xmlns:a16="http://schemas.microsoft.com/office/drawing/2014/main" id="{2EAAEFCF-AD58-46D0-A962-5070B89A1B94}"/>
                </a:ext>
              </a:extLst>
            </p:cNvPr>
            <p:cNvSpPr txBox="1"/>
            <p:nvPr/>
          </p:nvSpPr>
          <p:spPr>
            <a:xfrm>
              <a:off x="6423315" y="1582262"/>
              <a:ext cx="1282402" cy="307777"/>
            </a:xfrm>
            <a:prstGeom prst="rect">
              <a:avLst/>
            </a:prstGeom>
            <a:noFill/>
          </p:spPr>
          <p:txBody>
            <a:bodyPr wrap="none" lIns="0" tIns="0" rIns="0" bIns="0" rtlCol="0" anchor="t">
              <a:spAutoFit/>
            </a:bodyPr>
            <a:lstStyle/>
            <a:p>
              <a:r>
                <a:rPr lang="zh-CN" altLang="en-US" sz="2000" dirty="0">
                  <a:solidFill>
                    <a:schemeClr val="bg1"/>
                  </a:solidFill>
                  <a:latin typeface="+mj-ea"/>
                  <a:ea typeface="+mj-ea"/>
                </a:rPr>
                <a:t>关键词标题</a:t>
              </a:r>
            </a:p>
          </p:txBody>
        </p:sp>
      </p:grpSp>
      <p:grpSp>
        <p:nvGrpSpPr>
          <p:cNvPr id="51" name="组合 50">
            <a:extLst>
              <a:ext uri="{FF2B5EF4-FFF2-40B4-BE49-F238E27FC236}">
                <a16:creationId xmlns:a16="http://schemas.microsoft.com/office/drawing/2014/main" id="{EFFC9A4B-69A0-453E-AE73-22BD0214E976}"/>
              </a:ext>
            </a:extLst>
          </p:cNvPr>
          <p:cNvGrpSpPr/>
          <p:nvPr/>
        </p:nvGrpSpPr>
        <p:grpSpPr>
          <a:xfrm>
            <a:off x="6426909" y="2650680"/>
            <a:ext cx="3141681" cy="861060"/>
            <a:chOff x="5509260" y="1507147"/>
            <a:chExt cx="3141681" cy="861060"/>
          </a:xfrm>
        </p:grpSpPr>
        <p:sp>
          <p:nvSpPr>
            <p:cNvPr id="52" name="矩形: 圆角 51">
              <a:extLst>
                <a:ext uri="{FF2B5EF4-FFF2-40B4-BE49-F238E27FC236}">
                  <a16:creationId xmlns:a16="http://schemas.microsoft.com/office/drawing/2014/main" id="{EC46BE53-D596-4F1F-B4A9-FCA2C9EBC075}"/>
                </a:ext>
              </a:extLst>
            </p:cNvPr>
            <p:cNvSpPr/>
            <p:nvPr/>
          </p:nvSpPr>
          <p:spPr>
            <a:xfrm>
              <a:off x="5734051" y="1528763"/>
              <a:ext cx="2916890" cy="817828"/>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53" name="椭圆 52">
              <a:extLst>
                <a:ext uri="{FF2B5EF4-FFF2-40B4-BE49-F238E27FC236}">
                  <a16:creationId xmlns:a16="http://schemas.microsoft.com/office/drawing/2014/main" id="{66BD326F-D6DD-4B43-AF9D-2934C9D68CC1}"/>
                </a:ext>
              </a:extLst>
            </p:cNvPr>
            <p:cNvSpPr/>
            <p:nvPr/>
          </p:nvSpPr>
          <p:spPr>
            <a:xfrm>
              <a:off x="5509260" y="1507147"/>
              <a:ext cx="861060" cy="861060"/>
            </a:xfrm>
            <a:prstGeom prst="ellipse">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54" name="弧形 53">
              <a:extLst>
                <a:ext uri="{FF2B5EF4-FFF2-40B4-BE49-F238E27FC236}">
                  <a16:creationId xmlns:a16="http://schemas.microsoft.com/office/drawing/2014/main" id="{E87E0C1F-0E05-4245-A11F-EC4F228734C2}"/>
                </a:ext>
              </a:extLst>
            </p:cNvPr>
            <p:cNvSpPr/>
            <p:nvPr/>
          </p:nvSpPr>
          <p:spPr>
            <a:xfrm>
              <a:off x="5509260" y="1507147"/>
              <a:ext cx="861060" cy="861060"/>
            </a:xfrm>
            <a:prstGeom prst="arc">
              <a:avLst>
                <a:gd name="adj1" fmla="val 16200000"/>
                <a:gd name="adj2" fmla="val 5362982"/>
              </a:avLst>
            </a:prstGeom>
            <a:noFill/>
            <a:ln w="889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55" name="文本框 54">
              <a:extLst>
                <a:ext uri="{FF2B5EF4-FFF2-40B4-BE49-F238E27FC236}">
                  <a16:creationId xmlns:a16="http://schemas.microsoft.com/office/drawing/2014/main" id="{FC4038D0-0A58-449E-AAAE-445C918AB30E}"/>
                </a:ext>
              </a:extLst>
            </p:cNvPr>
            <p:cNvSpPr txBox="1"/>
            <p:nvPr/>
          </p:nvSpPr>
          <p:spPr>
            <a:xfrm>
              <a:off x="6429770" y="1890039"/>
              <a:ext cx="2161721" cy="387286"/>
            </a:xfrm>
            <a:prstGeom prst="rect">
              <a:avLst/>
            </a:prstGeom>
            <a:noFill/>
          </p:spPr>
          <p:txBody>
            <a:bodyPr wrap="square" lIns="0" tIns="0" rIns="0" bIns="0" rtlCol="0" anchor="t">
              <a:spAutoFit/>
            </a:bodyPr>
            <a:lstStyle/>
            <a:p>
              <a:pPr>
                <a:lnSpc>
                  <a:spcPct val="130000"/>
                </a:lnSpc>
              </a:pPr>
              <a:r>
                <a:rPr lang="en-US" altLang="zh-CN" sz="1000" b="0" dirty="0">
                  <a:solidFill>
                    <a:schemeClr val="bg1"/>
                  </a:solidFill>
                  <a:effectLst/>
                  <a:latin typeface="+mn-ea"/>
                </a:rPr>
                <a:t>Lorem ipsum dolor sit amet consectetur adipisicing elit</a:t>
              </a:r>
              <a:endParaRPr lang="zh-CN" altLang="en-US" sz="1000" b="0" dirty="0">
                <a:solidFill>
                  <a:schemeClr val="bg1"/>
                </a:solidFill>
                <a:effectLst/>
                <a:latin typeface="+mn-ea"/>
              </a:endParaRPr>
            </a:p>
          </p:txBody>
        </p:sp>
        <p:sp>
          <p:nvSpPr>
            <p:cNvPr id="56" name="文本框 55">
              <a:extLst>
                <a:ext uri="{FF2B5EF4-FFF2-40B4-BE49-F238E27FC236}">
                  <a16:creationId xmlns:a16="http://schemas.microsoft.com/office/drawing/2014/main" id="{71CB6635-65AC-4130-BEF7-1BE12B270BD9}"/>
                </a:ext>
              </a:extLst>
            </p:cNvPr>
            <p:cNvSpPr txBox="1"/>
            <p:nvPr/>
          </p:nvSpPr>
          <p:spPr>
            <a:xfrm>
              <a:off x="6423315" y="1582262"/>
              <a:ext cx="1282402" cy="307777"/>
            </a:xfrm>
            <a:prstGeom prst="rect">
              <a:avLst/>
            </a:prstGeom>
            <a:noFill/>
          </p:spPr>
          <p:txBody>
            <a:bodyPr wrap="none" lIns="0" tIns="0" rIns="0" bIns="0" rtlCol="0" anchor="t">
              <a:spAutoFit/>
            </a:bodyPr>
            <a:lstStyle/>
            <a:p>
              <a:r>
                <a:rPr lang="zh-CN" altLang="en-US" sz="2000" dirty="0">
                  <a:solidFill>
                    <a:schemeClr val="bg1"/>
                  </a:solidFill>
                  <a:latin typeface="+mj-ea"/>
                  <a:ea typeface="+mj-ea"/>
                </a:rPr>
                <a:t>关键词标题</a:t>
              </a:r>
            </a:p>
          </p:txBody>
        </p:sp>
      </p:grpSp>
      <p:grpSp>
        <p:nvGrpSpPr>
          <p:cNvPr id="57" name="组合 56">
            <a:extLst>
              <a:ext uri="{FF2B5EF4-FFF2-40B4-BE49-F238E27FC236}">
                <a16:creationId xmlns:a16="http://schemas.microsoft.com/office/drawing/2014/main" id="{337AC18A-942D-470D-B987-972396353251}"/>
              </a:ext>
            </a:extLst>
          </p:cNvPr>
          <p:cNvGrpSpPr/>
          <p:nvPr/>
        </p:nvGrpSpPr>
        <p:grpSpPr>
          <a:xfrm>
            <a:off x="6426909" y="3927030"/>
            <a:ext cx="3141681" cy="861060"/>
            <a:chOff x="5509260" y="1507147"/>
            <a:chExt cx="3141681" cy="861060"/>
          </a:xfrm>
        </p:grpSpPr>
        <p:sp>
          <p:nvSpPr>
            <p:cNvPr id="58" name="矩形: 圆角 57">
              <a:extLst>
                <a:ext uri="{FF2B5EF4-FFF2-40B4-BE49-F238E27FC236}">
                  <a16:creationId xmlns:a16="http://schemas.microsoft.com/office/drawing/2014/main" id="{1DAEACAA-16F9-4E84-973B-08A6360B4CE1}"/>
                </a:ext>
              </a:extLst>
            </p:cNvPr>
            <p:cNvSpPr/>
            <p:nvPr/>
          </p:nvSpPr>
          <p:spPr>
            <a:xfrm>
              <a:off x="5734051" y="1528763"/>
              <a:ext cx="2916890" cy="817828"/>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59" name="椭圆 58">
              <a:extLst>
                <a:ext uri="{FF2B5EF4-FFF2-40B4-BE49-F238E27FC236}">
                  <a16:creationId xmlns:a16="http://schemas.microsoft.com/office/drawing/2014/main" id="{956043B9-73CB-4F04-A1FA-217EEF5E34F3}"/>
                </a:ext>
              </a:extLst>
            </p:cNvPr>
            <p:cNvSpPr/>
            <p:nvPr/>
          </p:nvSpPr>
          <p:spPr>
            <a:xfrm>
              <a:off x="5509260" y="1507147"/>
              <a:ext cx="861060" cy="861060"/>
            </a:xfrm>
            <a:prstGeom prst="ellipse">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60" name="弧形 59">
              <a:extLst>
                <a:ext uri="{FF2B5EF4-FFF2-40B4-BE49-F238E27FC236}">
                  <a16:creationId xmlns:a16="http://schemas.microsoft.com/office/drawing/2014/main" id="{D3DB5A46-A29F-4915-91E5-3E52BA4A6537}"/>
                </a:ext>
              </a:extLst>
            </p:cNvPr>
            <p:cNvSpPr/>
            <p:nvPr/>
          </p:nvSpPr>
          <p:spPr>
            <a:xfrm>
              <a:off x="5509260" y="1507147"/>
              <a:ext cx="861060" cy="861060"/>
            </a:xfrm>
            <a:prstGeom prst="arc">
              <a:avLst>
                <a:gd name="adj1" fmla="val 16200000"/>
                <a:gd name="adj2" fmla="val 5362982"/>
              </a:avLst>
            </a:prstGeom>
            <a:noFill/>
            <a:ln w="889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61" name="文本框 60">
              <a:extLst>
                <a:ext uri="{FF2B5EF4-FFF2-40B4-BE49-F238E27FC236}">
                  <a16:creationId xmlns:a16="http://schemas.microsoft.com/office/drawing/2014/main" id="{2A01431E-5924-4E8C-830E-22609A91CD7C}"/>
                </a:ext>
              </a:extLst>
            </p:cNvPr>
            <p:cNvSpPr txBox="1"/>
            <p:nvPr/>
          </p:nvSpPr>
          <p:spPr>
            <a:xfrm>
              <a:off x="6429770" y="1890039"/>
              <a:ext cx="2161721" cy="387286"/>
            </a:xfrm>
            <a:prstGeom prst="rect">
              <a:avLst/>
            </a:prstGeom>
            <a:noFill/>
          </p:spPr>
          <p:txBody>
            <a:bodyPr wrap="square" lIns="0" tIns="0" rIns="0" bIns="0" rtlCol="0" anchor="t">
              <a:spAutoFit/>
            </a:bodyPr>
            <a:lstStyle/>
            <a:p>
              <a:pPr>
                <a:lnSpc>
                  <a:spcPct val="130000"/>
                </a:lnSpc>
              </a:pPr>
              <a:r>
                <a:rPr lang="en-US" altLang="zh-CN" sz="1000" b="0" dirty="0">
                  <a:solidFill>
                    <a:schemeClr val="bg1"/>
                  </a:solidFill>
                  <a:effectLst/>
                  <a:latin typeface="+mn-ea"/>
                </a:rPr>
                <a:t>Lorem ipsum dolor sit amet consectetur adipisicing elit</a:t>
              </a:r>
              <a:endParaRPr lang="zh-CN" altLang="en-US" sz="1000" b="0" dirty="0">
                <a:solidFill>
                  <a:schemeClr val="bg1"/>
                </a:solidFill>
                <a:effectLst/>
                <a:latin typeface="+mn-ea"/>
              </a:endParaRPr>
            </a:p>
          </p:txBody>
        </p:sp>
        <p:sp>
          <p:nvSpPr>
            <p:cNvPr id="62" name="文本框 61">
              <a:extLst>
                <a:ext uri="{FF2B5EF4-FFF2-40B4-BE49-F238E27FC236}">
                  <a16:creationId xmlns:a16="http://schemas.microsoft.com/office/drawing/2014/main" id="{22177178-FEA2-4583-AC3E-D9170E4911D6}"/>
                </a:ext>
              </a:extLst>
            </p:cNvPr>
            <p:cNvSpPr txBox="1"/>
            <p:nvPr/>
          </p:nvSpPr>
          <p:spPr>
            <a:xfrm>
              <a:off x="6423315" y="1582262"/>
              <a:ext cx="1282402" cy="307777"/>
            </a:xfrm>
            <a:prstGeom prst="rect">
              <a:avLst/>
            </a:prstGeom>
            <a:noFill/>
          </p:spPr>
          <p:txBody>
            <a:bodyPr wrap="none" lIns="0" tIns="0" rIns="0" bIns="0" rtlCol="0" anchor="t">
              <a:spAutoFit/>
            </a:bodyPr>
            <a:lstStyle/>
            <a:p>
              <a:r>
                <a:rPr lang="zh-CN" altLang="en-US" sz="2000" dirty="0">
                  <a:solidFill>
                    <a:schemeClr val="bg1"/>
                  </a:solidFill>
                  <a:latin typeface="+mj-ea"/>
                  <a:ea typeface="+mj-ea"/>
                </a:rPr>
                <a:t>关键词标题</a:t>
              </a:r>
            </a:p>
          </p:txBody>
        </p:sp>
      </p:grpSp>
      <p:grpSp>
        <p:nvGrpSpPr>
          <p:cNvPr id="63" name="组合 62">
            <a:extLst>
              <a:ext uri="{FF2B5EF4-FFF2-40B4-BE49-F238E27FC236}">
                <a16:creationId xmlns:a16="http://schemas.microsoft.com/office/drawing/2014/main" id="{BBD62E08-0981-4248-B036-18543E34606C}"/>
              </a:ext>
            </a:extLst>
          </p:cNvPr>
          <p:cNvGrpSpPr/>
          <p:nvPr/>
        </p:nvGrpSpPr>
        <p:grpSpPr>
          <a:xfrm>
            <a:off x="5739372" y="5150789"/>
            <a:ext cx="3141681" cy="861060"/>
            <a:chOff x="5509260" y="1507147"/>
            <a:chExt cx="3141681" cy="861060"/>
          </a:xfrm>
        </p:grpSpPr>
        <p:sp>
          <p:nvSpPr>
            <p:cNvPr id="64" name="矩形: 圆角 63">
              <a:extLst>
                <a:ext uri="{FF2B5EF4-FFF2-40B4-BE49-F238E27FC236}">
                  <a16:creationId xmlns:a16="http://schemas.microsoft.com/office/drawing/2014/main" id="{A0369009-5B86-410A-96F1-50C62EFBAFA1}"/>
                </a:ext>
              </a:extLst>
            </p:cNvPr>
            <p:cNvSpPr/>
            <p:nvPr/>
          </p:nvSpPr>
          <p:spPr>
            <a:xfrm>
              <a:off x="5734051" y="1528763"/>
              <a:ext cx="2916890" cy="817828"/>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65" name="椭圆 64">
              <a:extLst>
                <a:ext uri="{FF2B5EF4-FFF2-40B4-BE49-F238E27FC236}">
                  <a16:creationId xmlns:a16="http://schemas.microsoft.com/office/drawing/2014/main" id="{B3E1F559-562B-4BA6-ACFC-0D68D239222D}"/>
                </a:ext>
              </a:extLst>
            </p:cNvPr>
            <p:cNvSpPr/>
            <p:nvPr/>
          </p:nvSpPr>
          <p:spPr>
            <a:xfrm>
              <a:off x="5509260" y="1507147"/>
              <a:ext cx="861060" cy="861060"/>
            </a:xfrm>
            <a:prstGeom prst="ellipse">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66" name="弧形 65">
              <a:extLst>
                <a:ext uri="{FF2B5EF4-FFF2-40B4-BE49-F238E27FC236}">
                  <a16:creationId xmlns:a16="http://schemas.microsoft.com/office/drawing/2014/main" id="{ADF99109-00A2-4B25-A4BF-F850C8614861}"/>
                </a:ext>
              </a:extLst>
            </p:cNvPr>
            <p:cNvSpPr/>
            <p:nvPr/>
          </p:nvSpPr>
          <p:spPr>
            <a:xfrm>
              <a:off x="5509260" y="1507147"/>
              <a:ext cx="861060" cy="861060"/>
            </a:xfrm>
            <a:prstGeom prst="arc">
              <a:avLst>
                <a:gd name="adj1" fmla="val 16200000"/>
                <a:gd name="adj2" fmla="val 5362982"/>
              </a:avLst>
            </a:prstGeom>
            <a:noFill/>
            <a:ln w="889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67" name="文本框 66">
              <a:extLst>
                <a:ext uri="{FF2B5EF4-FFF2-40B4-BE49-F238E27FC236}">
                  <a16:creationId xmlns:a16="http://schemas.microsoft.com/office/drawing/2014/main" id="{05010612-09F1-43FF-A9E4-FF156B1C08FD}"/>
                </a:ext>
              </a:extLst>
            </p:cNvPr>
            <p:cNvSpPr txBox="1"/>
            <p:nvPr/>
          </p:nvSpPr>
          <p:spPr>
            <a:xfrm>
              <a:off x="6429770" y="1890039"/>
              <a:ext cx="2161721" cy="387286"/>
            </a:xfrm>
            <a:prstGeom prst="rect">
              <a:avLst/>
            </a:prstGeom>
            <a:noFill/>
          </p:spPr>
          <p:txBody>
            <a:bodyPr wrap="square" lIns="0" tIns="0" rIns="0" bIns="0" rtlCol="0" anchor="t">
              <a:spAutoFit/>
            </a:bodyPr>
            <a:lstStyle/>
            <a:p>
              <a:pPr>
                <a:lnSpc>
                  <a:spcPct val="130000"/>
                </a:lnSpc>
              </a:pPr>
              <a:r>
                <a:rPr lang="en-US" altLang="zh-CN" sz="1000" b="0" dirty="0">
                  <a:solidFill>
                    <a:schemeClr val="bg1"/>
                  </a:solidFill>
                  <a:effectLst/>
                  <a:latin typeface="+mn-ea"/>
                </a:rPr>
                <a:t>Lorem ipsum dolor sit amet consectetur adipisicing elit</a:t>
              </a:r>
              <a:endParaRPr lang="zh-CN" altLang="en-US" sz="1000" b="0" dirty="0">
                <a:solidFill>
                  <a:schemeClr val="bg1"/>
                </a:solidFill>
                <a:effectLst/>
                <a:latin typeface="+mn-ea"/>
              </a:endParaRPr>
            </a:p>
          </p:txBody>
        </p:sp>
        <p:sp>
          <p:nvSpPr>
            <p:cNvPr id="68" name="文本框 67">
              <a:extLst>
                <a:ext uri="{FF2B5EF4-FFF2-40B4-BE49-F238E27FC236}">
                  <a16:creationId xmlns:a16="http://schemas.microsoft.com/office/drawing/2014/main" id="{6A7F02A0-87CD-4CC7-A3FD-7865FC38E844}"/>
                </a:ext>
              </a:extLst>
            </p:cNvPr>
            <p:cNvSpPr txBox="1"/>
            <p:nvPr/>
          </p:nvSpPr>
          <p:spPr>
            <a:xfrm>
              <a:off x="6423315" y="1582262"/>
              <a:ext cx="1282402" cy="307777"/>
            </a:xfrm>
            <a:prstGeom prst="rect">
              <a:avLst/>
            </a:prstGeom>
            <a:noFill/>
          </p:spPr>
          <p:txBody>
            <a:bodyPr wrap="none" lIns="0" tIns="0" rIns="0" bIns="0" rtlCol="0" anchor="t">
              <a:spAutoFit/>
            </a:bodyPr>
            <a:lstStyle/>
            <a:p>
              <a:r>
                <a:rPr lang="zh-CN" altLang="en-US" sz="2000" dirty="0">
                  <a:solidFill>
                    <a:schemeClr val="bg1"/>
                  </a:solidFill>
                  <a:latin typeface="+mj-ea"/>
                  <a:ea typeface="+mj-ea"/>
                </a:rPr>
                <a:t>关键词标题</a:t>
              </a:r>
            </a:p>
          </p:txBody>
        </p:sp>
      </p:grpSp>
      <p:sp>
        <p:nvSpPr>
          <p:cNvPr id="69" name="文本框 68">
            <a:extLst>
              <a:ext uri="{FF2B5EF4-FFF2-40B4-BE49-F238E27FC236}">
                <a16:creationId xmlns:a16="http://schemas.microsoft.com/office/drawing/2014/main" id="{5D8648ED-E929-4FA4-A7FA-200A3940E6EC}"/>
              </a:ext>
            </a:extLst>
          </p:cNvPr>
          <p:cNvSpPr txBox="1"/>
          <p:nvPr/>
        </p:nvSpPr>
        <p:spPr>
          <a:xfrm>
            <a:off x="3140957" y="3936389"/>
            <a:ext cx="1282402" cy="307777"/>
          </a:xfrm>
          <a:prstGeom prst="rect">
            <a:avLst/>
          </a:prstGeom>
          <a:noFill/>
        </p:spPr>
        <p:txBody>
          <a:bodyPr wrap="none" lIns="0" tIns="0" rIns="0" bIns="0" rtlCol="0" anchor="t">
            <a:spAutoFit/>
          </a:bodyPr>
          <a:lstStyle/>
          <a:p>
            <a:r>
              <a:rPr lang="zh-CN" altLang="en-US" sz="2000" dirty="0">
                <a:solidFill>
                  <a:schemeClr val="accent1"/>
                </a:solidFill>
                <a:latin typeface="+mj-ea"/>
                <a:ea typeface="+mj-ea"/>
              </a:rPr>
              <a:t>关键词标题</a:t>
            </a:r>
          </a:p>
        </p:txBody>
      </p:sp>
      <p:sp>
        <p:nvSpPr>
          <p:cNvPr id="70" name="iconfont-1179-866479">
            <a:extLst>
              <a:ext uri="{FF2B5EF4-FFF2-40B4-BE49-F238E27FC236}">
                <a16:creationId xmlns:a16="http://schemas.microsoft.com/office/drawing/2014/main" id="{9F2812CC-4F4E-4032-9CA3-66DC668A7A0B}"/>
              </a:ext>
            </a:extLst>
          </p:cNvPr>
          <p:cNvSpPr/>
          <p:nvPr/>
        </p:nvSpPr>
        <p:spPr>
          <a:xfrm>
            <a:off x="3524772" y="3194640"/>
            <a:ext cx="514772" cy="609685"/>
          </a:xfrm>
          <a:custGeom>
            <a:avLst/>
            <a:gdLst>
              <a:gd name="T0" fmla="*/ 6573 w 9390"/>
              <a:gd name="T1" fmla="*/ 3437 h 11120"/>
              <a:gd name="T2" fmla="*/ 7967 w 9390"/>
              <a:gd name="T3" fmla="*/ 1730 h 11120"/>
              <a:gd name="T4" fmla="*/ 5311 w 9390"/>
              <a:gd name="T5" fmla="*/ 1140 h 11120"/>
              <a:gd name="T6" fmla="*/ 3129 w 9390"/>
              <a:gd name="T7" fmla="*/ 876 h 11120"/>
              <a:gd name="T8" fmla="*/ 2455 w 9390"/>
              <a:gd name="T9" fmla="*/ 3147 h 11120"/>
              <a:gd name="T10" fmla="*/ 7438 w 9390"/>
              <a:gd name="T11" fmla="*/ 4336 h 11120"/>
              <a:gd name="T12" fmla="*/ 2969 w 9390"/>
              <a:gd name="T13" fmla="*/ 4006 h 11120"/>
              <a:gd name="T14" fmla="*/ 0 w 9390"/>
              <a:gd name="T15" fmla="*/ 8570 h 11120"/>
              <a:gd name="T16" fmla="*/ 6860 w 9390"/>
              <a:gd name="T17" fmla="*/ 11120 h 11120"/>
              <a:gd name="T18" fmla="*/ 7438 w 9390"/>
              <a:gd name="T19" fmla="*/ 4336 h 11120"/>
              <a:gd name="T20" fmla="*/ 5549 w 9390"/>
              <a:gd name="T21" fmla="*/ 7248 h 11120"/>
              <a:gd name="T22" fmla="*/ 5919 w 9390"/>
              <a:gd name="T23" fmla="*/ 7515 h 11120"/>
              <a:gd name="T24" fmla="*/ 6098 w 9390"/>
              <a:gd name="T25" fmla="*/ 7695 h 11120"/>
              <a:gd name="T26" fmla="*/ 5384 w 9390"/>
              <a:gd name="T27" fmla="*/ 7874 h 11120"/>
              <a:gd name="T28" fmla="*/ 5195 w 9390"/>
              <a:gd name="T29" fmla="*/ 8151 h 11120"/>
              <a:gd name="T30" fmla="*/ 5919 w 9390"/>
              <a:gd name="T31" fmla="*/ 8331 h 11120"/>
              <a:gd name="T32" fmla="*/ 5919 w 9390"/>
              <a:gd name="T33" fmla="*/ 8690 h 11120"/>
              <a:gd name="T34" fmla="*/ 5195 w 9390"/>
              <a:gd name="T35" fmla="*/ 8870 h 11120"/>
              <a:gd name="T36" fmla="*/ 5015 w 9390"/>
              <a:gd name="T37" fmla="*/ 9507 h 11120"/>
              <a:gd name="T38" fmla="*/ 4510 w 9390"/>
              <a:gd name="T39" fmla="*/ 9327 h 11120"/>
              <a:gd name="T40" fmla="*/ 4330 w 9390"/>
              <a:gd name="T41" fmla="*/ 8690 h 11120"/>
              <a:gd name="T42" fmla="*/ 3612 w 9390"/>
              <a:gd name="T43" fmla="*/ 8510 h 11120"/>
              <a:gd name="T44" fmla="*/ 4329 w 9390"/>
              <a:gd name="T45" fmla="*/ 8331 h 11120"/>
              <a:gd name="T46" fmla="*/ 4511 w 9390"/>
              <a:gd name="T47" fmla="*/ 8063 h 11120"/>
              <a:gd name="T48" fmla="*/ 3792 w 9390"/>
              <a:gd name="T49" fmla="*/ 7873 h 11120"/>
              <a:gd name="T50" fmla="*/ 3612 w 9390"/>
              <a:gd name="T51" fmla="*/ 7694 h 11120"/>
              <a:gd name="T52" fmla="*/ 3999 w 9390"/>
              <a:gd name="T53" fmla="*/ 7514 h 11120"/>
              <a:gd name="T54" fmla="*/ 3406 w 9390"/>
              <a:gd name="T55" fmla="*/ 5887 h 11120"/>
              <a:gd name="T56" fmla="*/ 3920 w 9390"/>
              <a:gd name="T57" fmla="*/ 5620 h 11120"/>
              <a:gd name="T58" fmla="*/ 4691 w 9390"/>
              <a:gd name="T59" fmla="*/ 6937 h 11120"/>
              <a:gd name="T60" fmla="*/ 5623 w 9390"/>
              <a:gd name="T61" fmla="*/ 5719 h 11120"/>
              <a:gd name="T62" fmla="*/ 6140 w 9390"/>
              <a:gd name="T63" fmla="*/ 5620 h 1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390" h="11120">
                <a:moveTo>
                  <a:pt x="3078" y="3437"/>
                </a:moveTo>
                <a:lnTo>
                  <a:pt x="6573" y="3437"/>
                </a:lnTo>
                <a:cubicBezTo>
                  <a:pt x="6809" y="3437"/>
                  <a:pt x="7036" y="3338"/>
                  <a:pt x="7187" y="3157"/>
                </a:cubicBezTo>
                <a:cubicBezTo>
                  <a:pt x="7548" y="2728"/>
                  <a:pt x="7890" y="2202"/>
                  <a:pt x="7967" y="1730"/>
                </a:cubicBezTo>
                <a:cubicBezTo>
                  <a:pt x="8121" y="786"/>
                  <a:pt x="7717" y="307"/>
                  <a:pt x="6544" y="307"/>
                </a:cubicBezTo>
                <a:cubicBezTo>
                  <a:pt x="5370" y="307"/>
                  <a:pt x="5767" y="1077"/>
                  <a:pt x="5311" y="1140"/>
                </a:cubicBezTo>
                <a:cubicBezTo>
                  <a:pt x="4971" y="1187"/>
                  <a:pt x="4983" y="739"/>
                  <a:pt x="4449" y="308"/>
                </a:cubicBezTo>
                <a:cubicBezTo>
                  <a:pt x="4066" y="0"/>
                  <a:pt x="3636" y="871"/>
                  <a:pt x="3129" y="876"/>
                </a:cubicBezTo>
                <a:cubicBezTo>
                  <a:pt x="2538" y="884"/>
                  <a:pt x="1707" y="720"/>
                  <a:pt x="1707" y="1730"/>
                </a:cubicBezTo>
                <a:cubicBezTo>
                  <a:pt x="1707" y="2138"/>
                  <a:pt x="2065" y="2690"/>
                  <a:pt x="2455" y="3147"/>
                </a:cubicBezTo>
                <a:cubicBezTo>
                  <a:pt x="2612" y="3330"/>
                  <a:pt x="2838" y="3437"/>
                  <a:pt x="3078" y="3437"/>
                </a:cubicBezTo>
                <a:close/>
                <a:moveTo>
                  <a:pt x="7438" y="4336"/>
                </a:moveTo>
                <a:cubicBezTo>
                  <a:pt x="7252" y="4125"/>
                  <a:pt x="6981" y="4006"/>
                  <a:pt x="6699" y="4006"/>
                </a:cubicBezTo>
                <a:lnTo>
                  <a:pt x="2969" y="4006"/>
                </a:lnTo>
                <a:cubicBezTo>
                  <a:pt x="2700" y="4006"/>
                  <a:pt x="2440" y="4115"/>
                  <a:pt x="2253" y="4310"/>
                </a:cubicBezTo>
                <a:cubicBezTo>
                  <a:pt x="1081" y="5538"/>
                  <a:pt x="0" y="7291"/>
                  <a:pt x="0" y="8570"/>
                </a:cubicBezTo>
                <a:cubicBezTo>
                  <a:pt x="0" y="9697"/>
                  <a:pt x="1133" y="11120"/>
                  <a:pt x="2530" y="11120"/>
                </a:cubicBezTo>
                <a:lnTo>
                  <a:pt x="6860" y="11120"/>
                </a:lnTo>
                <a:cubicBezTo>
                  <a:pt x="8257" y="11120"/>
                  <a:pt x="9390" y="9709"/>
                  <a:pt x="9390" y="8570"/>
                </a:cubicBezTo>
                <a:cubicBezTo>
                  <a:pt x="9390" y="7268"/>
                  <a:pt x="8520" y="5564"/>
                  <a:pt x="7438" y="4336"/>
                </a:cubicBezTo>
                <a:close/>
                <a:moveTo>
                  <a:pt x="6299" y="5888"/>
                </a:moveTo>
                <a:lnTo>
                  <a:pt x="5549" y="7248"/>
                </a:lnTo>
                <a:cubicBezTo>
                  <a:pt x="5483" y="7368"/>
                  <a:pt x="5570" y="7515"/>
                  <a:pt x="5706" y="7515"/>
                </a:cubicBezTo>
                <a:lnTo>
                  <a:pt x="5919" y="7515"/>
                </a:lnTo>
                <a:cubicBezTo>
                  <a:pt x="6017" y="7515"/>
                  <a:pt x="6098" y="7595"/>
                  <a:pt x="6098" y="7695"/>
                </a:cubicBezTo>
                <a:lnTo>
                  <a:pt x="6098" y="7695"/>
                </a:lnTo>
                <a:cubicBezTo>
                  <a:pt x="6098" y="7793"/>
                  <a:pt x="6018" y="7874"/>
                  <a:pt x="5919" y="7874"/>
                </a:cubicBezTo>
                <a:lnTo>
                  <a:pt x="5384" y="7874"/>
                </a:lnTo>
                <a:cubicBezTo>
                  <a:pt x="5279" y="7874"/>
                  <a:pt x="5196" y="7958"/>
                  <a:pt x="5195" y="8062"/>
                </a:cubicBezTo>
                <a:lnTo>
                  <a:pt x="5195" y="8151"/>
                </a:lnTo>
                <a:cubicBezTo>
                  <a:pt x="5195" y="8249"/>
                  <a:pt x="5275" y="8331"/>
                  <a:pt x="5375" y="8331"/>
                </a:cubicBezTo>
                <a:lnTo>
                  <a:pt x="5919" y="8331"/>
                </a:lnTo>
                <a:cubicBezTo>
                  <a:pt x="6017" y="8331"/>
                  <a:pt x="6098" y="8411"/>
                  <a:pt x="6098" y="8510"/>
                </a:cubicBezTo>
                <a:cubicBezTo>
                  <a:pt x="6098" y="8610"/>
                  <a:pt x="6018" y="8690"/>
                  <a:pt x="5919" y="8690"/>
                </a:cubicBezTo>
                <a:lnTo>
                  <a:pt x="5375" y="8690"/>
                </a:lnTo>
                <a:cubicBezTo>
                  <a:pt x="5276" y="8690"/>
                  <a:pt x="5195" y="8770"/>
                  <a:pt x="5195" y="8870"/>
                </a:cubicBezTo>
                <a:lnTo>
                  <a:pt x="5195" y="9327"/>
                </a:lnTo>
                <a:cubicBezTo>
                  <a:pt x="5195" y="9426"/>
                  <a:pt x="5115" y="9507"/>
                  <a:pt x="5015" y="9507"/>
                </a:cubicBezTo>
                <a:lnTo>
                  <a:pt x="4690" y="9507"/>
                </a:lnTo>
                <a:cubicBezTo>
                  <a:pt x="4591" y="9507"/>
                  <a:pt x="4510" y="9427"/>
                  <a:pt x="4510" y="9327"/>
                </a:cubicBezTo>
                <a:lnTo>
                  <a:pt x="4510" y="8870"/>
                </a:lnTo>
                <a:cubicBezTo>
                  <a:pt x="4510" y="8771"/>
                  <a:pt x="4430" y="8690"/>
                  <a:pt x="4330" y="8690"/>
                </a:cubicBezTo>
                <a:lnTo>
                  <a:pt x="3792" y="8690"/>
                </a:lnTo>
                <a:cubicBezTo>
                  <a:pt x="3693" y="8690"/>
                  <a:pt x="3612" y="8610"/>
                  <a:pt x="3612" y="8510"/>
                </a:cubicBezTo>
                <a:cubicBezTo>
                  <a:pt x="3612" y="8411"/>
                  <a:pt x="3692" y="8331"/>
                  <a:pt x="3792" y="8331"/>
                </a:cubicBezTo>
                <a:lnTo>
                  <a:pt x="4329" y="8331"/>
                </a:lnTo>
                <a:cubicBezTo>
                  <a:pt x="4429" y="8331"/>
                  <a:pt x="4509" y="8251"/>
                  <a:pt x="4510" y="8151"/>
                </a:cubicBezTo>
                <a:lnTo>
                  <a:pt x="4511" y="8063"/>
                </a:lnTo>
                <a:cubicBezTo>
                  <a:pt x="4512" y="7959"/>
                  <a:pt x="4427" y="7873"/>
                  <a:pt x="4322" y="7873"/>
                </a:cubicBezTo>
                <a:lnTo>
                  <a:pt x="3792" y="7873"/>
                </a:lnTo>
                <a:cubicBezTo>
                  <a:pt x="3693" y="7873"/>
                  <a:pt x="3612" y="7793"/>
                  <a:pt x="3612" y="7694"/>
                </a:cubicBezTo>
                <a:lnTo>
                  <a:pt x="3612" y="7694"/>
                </a:lnTo>
                <a:cubicBezTo>
                  <a:pt x="3612" y="7595"/>
                  <a:pt x="3692" y="7514"/>
                  <a:pt x="3792" y="7514"/>
                </a:cubicBezTo>
                <a:lnTo>
                  <a:pt x="3999" y="7514"/>
                </a:lnTo>
                <a:cubicBezTo>
                  <a:pt x="4136" y="7514"/>
                  <a:pt x="4221" y="7367"/>
                  <a:pt x="4156" y="7247"/>
                </a:cubicBezTo>
                <a:lnTo>
                  <a:pt x="3406" y="5887"/>
                </a:lnTo>
                <a:cubicBezTo>
                  <a:pt x="3340" y="5767"/>
                  <a:pt x="3426" y="5620"/>
                  <a:pt x="3562" y="5620"/>
                </a:cubicBezTo>
                <a:lnTo>
                  <a:pt x="3920" y="5620"/>
                </a:lnTo>
                <a:cubicBezTo>
                  <a:pt x="3988" y="5620"/>
                  <a:pt x="4050" y="5659"/>
                  <a:pt x="4080" y="5719"/>
                </a:cubicBezTo>
                <a:lnTo>
                  <a:pt x="4691" y="6937"/>
                </a:lnTo>
                <a:cubicBezTo>
                  <a:pt x="4756" y="7069"/>
                  <a:pt x="4945" y="7069"/>
                  <a:pt x="5012" y="6937"/>
                </a:cubicBezTo>
                <a:lnTo>
                  <a:pt x="5623" y="5719"/>
                </a:lnTo>
                <a:cubicBezTo>
                  <a:pt x="5653" y="5659"/>
                  <a:pt x="5715" y="5620"/>
                  <a:pt x="5783" y="5620"/>
                </a:cubicBezTo>
                <a:lnTo>
                  <a:pt x="6140" y="5620"/>
                </a:lnTo>
                <a:cubicBezTo>
                  <a:pt x="6278" y="5622"/>
                  <a:pt x="6365" y="5768"/>
                  <a:pt x="6299" y="5888"/>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1" name="文本框 70">
            <a:extLst>
              <a:ext uri="{FF2B5EF4-FFF2-40B4-BE49-F238E27FC236}">
                <a16:creationId xmlns:a16="http://schemas.microsoft.com/office/drawing/2014/main" id="{3CC57D6E-A03B-44F8-A288-F5818DAB27AD}"/>
              </a:ext>
            </a:extLst>
          </p:cNvPr>
          <p:cNvSpPr txBox="1"/>
          <p:nvPr/>
        </p:nvSpPr>
        <p:spPr>
          <a:xfrm>
            <a:off x="6033870" y="1479969"/>
            <a:ext cx="195566" cy="615553"/>
          </a:xfrm>
          <a:prstGeom prst="rect">
            <a:avLst/>
          </a:prstGeom>
          <a:noFill/>
        </p:spPr>
        <p:txBody>
          <a:bodyPr wrap="none" lIns="0" tIns="0" rIns="0" bIns="0" rtlCol="0" anchor="t">
            <a:spAutoFit/>
          </a:bodyPr>
          <a:lstStyle/>
          <a:p>
            <a:pPr algn="l"/>
            <a:r>
              <a:rPr lang="en-US" altLang="zh-CN" sz="4000" dirty="0">
                <a:ln>
                  <a:solidFill>
                    <a:schemeClr val="accent1"/>
                  </a:solidFill>
                </a:ln>
                <a:noFill/>
                <a:latin typeface="Impact" panose="020B0806030902050204" pitchFamily="34" charset="0"/>
                <a:ea typeface="+mj-ea"/>
              </a:rPr>
              <a:t>1</a:t>
            </a:r>
            <a:endParaRPr lang="zh-CN" altLang="en-US" sz="4000" dirty="0">
              <a:ln>
                <a:solidFill>
                  <a:schemeClr val="accent1"/>
                </a:solidFill>
              </a:ln>
              <a:noFill/>
              <a:latin typeface="Impact" panose="020B0806030902050204" pitchFamily="34" charset="0"/>
              <a:ea typeface="+mj-ea"/>
            </a:endParaRPr>
          </a:p>
        </p:txBody>
      </p:sp>
      <p:sp>
        <p:nvSpPr>
          <p:cNvPr id="72" name="文本框 71">
            <a:extLst>
              <a:ext uri="{FF2B5EF4-FFF2-40B4-BE49-F238E27FC236}">
                <a16:creationId xmlns:a16="http://schemas.microsoft.com/office/drawing/2014/main" id="{44029FB6-0073-4B22-B035-BA054212002E}"/>
              </a:ext>
            </a:extLst>
          </p:cNvPr>
          <p:cNvSpPr txBox="1"/>
          <p:nvPr/>
        </p:nvSpPr>
        <p:spPr>
          <a:xfrm>
            <a:off x="6717589" y="2761712"/>
            <a:ext cx="258084" cy="615553"/>
          </a:xfrm>
          <a:prstGeom prst="rect">
            <a:avLst/>
          </a:prstGeom>
          <a:noFill/>
        </p:spPr>
        <p:txBody>
          <a:bodyPr wrap="none" lIns="0" tIns="0" rIns="0" bIns="0" rtlCol="0" anchor="t">
            <a:spAutoFit/>
          </a:bodyPr>
          <a:lstStyle/>
          <a:p>
            <a:pPr algn="l"/>
            <a:r>
              <a:rPr lang="en-US" altLang="zh-CN" sz="4000" dirty="0">
                <a:ln>
                  <a:solidFill>
                    <a:schemeClr val="accent1"/>
                  </a:solidFill>
                </a:ln>
                <a:noFill/>
                <a:latin typeface="Impact" panose="020B0806030902050204" pitchFamily="34" charset="0"/>
                <a:ea typeface="+mj-ea"/>
              </a:rPr>
              <a:t>2</a:t>
            </a:r>
            <a:endParaRPr lang="zh-CN" altLang="en-US" sz="4000" dirty="0">
              <a:ln>
                <a:solidFill>
                  <a:schemeClr val="accent1"/>
                </a:solidFill>
              </a:ln>
              <a:noFill/>
              <a:latin typeface="Impact" panose="020B0806030902050204" pitchFamily="34" charset="0"/>
              <a:ea typeface="+mj-ea"/>
            </a:endParaRPr>
          </a:p>
        </p:txBody>
      </p:sp>
      <p:sp>
        <p:nvSpPr>
          <p:cNvPr id="73" name="文本框 72">
            <a:extLst>
              <a:ext uri="{FF2B5EF4-FFF2-40B4-BE49-F238E27FC236}">
                <a16:creationId xmlns:a16="http://schemas.microsoft.com/office/drawing/2014/main" id="{CB33BC87-8BAB-45D0-BADD-B9842FB1AFA3}"/>
              </a:ext>
            </a:extLst>
          </p:cNvPr>
          <p:cNvSpPr txBox="1"/>
          <p:nvPr/>
        </p:nvSpPr>
        <p:spPr>
          <a:xfrm>
            <a:off x="6700113" y="4058404"/>
            <a:ext cx="272510" cy="615553"/>
          </a:xfrm>
          <a:prstGeom prst="rect">
            <a:avLst/>
          </a:prstGeom>
          <a:noFill/>
        </p:spPr>
        <p:txBody>
          <a:bodyPr wrap="none" lIns="0" tIns="0" rIns="0" bIns="0" rtlCol="0" anchor="t">
            <a:spAutoFit/>
          </a:bodyPr>
          <a:lstStyle/>
          <a:p>
            <a:pPr algn="l"/>
            <a:r>
              <a:rPr lang="en-US" altLang="zh-CN" sz="4000" dirty="0">
                <a:ln>
                  <a:solidFill>
                    <a:schemeClr val="accent1"/>
                  </a:solidFill>
                </a:ln>
                <a:noFill/>
                <a:latin typeface="Impact" panose="020B0806030902050204" pitchFamily="34" charset="0"/>
                <a:ea typeface="+mj-ea"/>
              </a:rPr>
              <a:t>3</a:t>
            </a:r>
            <a:endParaRPr lang="zh-CN" altLang="en-US" sz="4000" dirty="0">
              <a:ln>
                <a:solidFill>
                  <a:schemeClr val="accent1"/>
                </a:solidFill>
              </a:ln>
              <a:noFill/>
              <a:latin typeface="Impact" panose="020B0806030902050204" pitchFamily="34" charset="0"/>
              <a:ea typeface="+mj-ea"/>
            </a:endParaRPr>
          </a:p>
        </p:txBody>
      </p:sp>
      <p:sp>
        <p:nvSpPr>
          <p:cNvPr id="74" name="文本框 73">
            <a:extLst>
              <a:ext uri="{FF2B5EF4-FFF2-40B4-BE49-F238E27FC236}">
                <a16:creationId xmlns:a16="http://schemas.microsoft.com/office/drawing/2014/main" id="{8FF36692-191B-4CD7-88C8-DBD8D468978D}"/>
              </a:ext>
            </a:extLst>
          </p:cNvPr>
          <p:cNvSpPr txBox="1"/>
          <p:nvPr/>
        </p:nvSpPr>
        <p:spPr>
          <a:xfrm>
            <a:off x="6003413" y="5273542"/>
            <a:ext cx="256480" cy="615553"/>
          </a:xfrm>
          <a:prstGeom prst="rect">
            <a:avLst/>
          </a:prstGeom>
          <a:noFill/>
        </p:spPr>
        <p:txBody>
          <a:bodyPr wrap="none" lIns="0" tIns="0" rIns="0" bIns="0" rtlCol="0" anchor="t">
            <a:spAutoFit/>
          </a:bodyPr>
          <a:lstStyle/>
          <a:p>
            <a:pPr algn="l"/>
            <a:r>
              <a:rPr lang="en-US" altLang="zh-CN" sz="4000" dirty="0">
                <a:ln>
                  <a:solidFill>
                    <a:schemeClr val="accent1"/>
                  </a:solidFill>
                </a:ln>
                <a:noFill/>
                <a:latin typeface="Impact" panose="020B0806030902050204" pitchFamily="34" charset="0"/>
                <a:ea typeface="+mj-ea"/>
              </a:rPr>
              <a:t>4</a:t>
            </a:r>
            <a:endParaRPr lang="zh-CN" altLang="en-US" sz="4000" dirty="0">
              <a:ln>
                <a:solidFill>
                  <a:schemeClr val="accent1"/>
                </a:solidFill>
              </a:ln>
              <a:noFill/>
              <a:latin typeface="Impact" panose="020B0806030902050204" pitchFamily="34" charset="0"/>
              <a:ea typeface="+mj-ea"/>
            </a:endParaRPr>
          </a:p>
        </p:txBody>
      </p:sp>
      <p:grpSp>
        <p:nvGrpSpPr>
          <p:cNvPr id="78" name="组合 77">
            <a:extLst>
              <a:ext uri="{FF2B5EF4-FFF2-40B4-BE49-F238E27FC236}">
                <a16:creationId xmlns:a16="http://schemas.microsoft.com/office/drawing/2014/main" id="{ECAE8BB3-5AFB-428C-86FC-E844D742EFE4}"/>
              </a:ext>
            </a:extLst>
          </p:cNvPr>
          <p:cNvGrpSpPr/>
          <p:nvPr/>
        </p:nvGrpSpPr>
        <p:grpSpPr>
          <a:xfrm>
            <a:off x="4659423" y="1712510"/>
            <a:ext cx="984716" cy="615705"/>
            <a:chOff x="4659423" y="1712510"/>
            <a:chExt cx="984716" cy="615705"/>
          </a:xfrm>
        </p:grpSpPr>
        <p:sp>
          <p:nvSpPr>
            <p:cNvPr id="75" name="任意多边形: 形状 74">
              <a:extLst>
                <a:ext uri="{FF2B5EF4-FFF2-40B4-BE49-F238E27FC236}">
                  <a16:creationId xmlns:a16="http://schemas.microsoft.com/office/drawing/2014/main" id="{BEC5A139-E28A-442E-990C-84B875D5B714}"/>
                </a:ext>
              </a:extLst>
            </p:cNvPr>
            <p:cNvSpPr/>
            <p:nvPr/>
          </p:nvSpPr>
          <p:spPr>
            <a:xfrm>
              <a:off x="4698201" y="1750647"/>
              <a:ext cx="872836" cy="533400"/>
            </a:xfrm>
            <a:custGeom>
              <a:avLst/>
              <a:gdLst>
                <a:gd name="connsiteX0" fmla="*/ 0 w 800100"/>
                <a:gd name="connsiteY0" fmla="*/ 488950 h 488950"/>
                <a:gd name="connsiteX1" fmla="*/ 488950 w 800100"/>
                <a:gd name="connsiteY1" fmla="*/ 0 h 488950"/>
                <a:gd name="connsiteX2" fmla="*/ 800100 w 800100"/>
                <a:gd name="connsiteY2" fmla="*/ 0 h 488950"/>
              </a:gdLst>
              <a:ahLst/>
              <a:cxnLst>
                <a:cxn ang="0">
                  <a:pos x="connsiteX0" y="connsiteY0"/>
                </a:cxn>
                <a:cxn ang="0">
                  <a:pos x="connsiteX1" y="connsiteY1"/>
                </a:cxn>
                <a:cxn ang="0">
                  <a:pos x="connsiteX2" y="connsiteY2"/>
                </a:cxn>
              </a:cxnLst>
              <a:rect l="l" t="t" r="r" b="b"/>
              <a:pathLst>
                <a:path w="800100" h="488950">
                  <a:moveTo>
                    <a:pt x="0" y="488950"/>
                  </a:moveTo>
                  <a:lnTo>
                    <a:pt x="488950" y="0"/>
                  </a:lnTo>
                  <a:lnTo>
                    <a:pt x="800100" y="0"/>
                  </a:lnTo>
                </a:path>
              </a:pathLst>
            </a:cu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76" name="椭圆 75">
              <a:extLst>
                <a:ext uri="{FF2B5EF4-FFF2-40B4-BE49-F238E27FC236}">
                  <a16:creationId xmlns:a16="http://schemas.microsoft.com/office/drawing/2014/main" id="{4E43D6FE-3FBB-416B-9D11-DC834D63972A}"/>
                </a:ext>
              </a:extLst>
            </p:cNvPr>
            <p:cNvSpPr/>
            <p:nvPr/>
          </p:nvSpPr>
          <p:spPr>
            <a:xfrm>
              <a:off x="5575490" y="1712510"/>
              <a:ext cx="68649" cy="68649"/>
            </a:xfrm>
            <a:prstGeom prst="ellipse">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7" name="椭圆 76">
              <a:extLst>
                <a:ext uri="{FF2B5EF4-FFF2-40B4-BE49-F238E27FC236}">
                  <a16:creationId xmlns:a16="http://schemas.microsoft.com/office/drawing/2014/main" id="{68BD37E8-E31B-4EC7-9487-9F4994A1A445}"/>
                </a:ext>
              </a:extLst>
            </p:cNvPr>
            <p:cNvSpPr/>
            <p:nvPr/>
          </p:nvSpPr>
          <p:spPr>
            <a:xfrm>
              <a:off x="4659423" y="2259566"/>
              <a:ext cx="68649" cy="68649"/>
            </a:xfrm>
            <a:prstGeom prst="ellipse">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79" name="组合 78">
            <a:extLst>
              <a:ext uri="{FF2B5EF4-FFF2-40B4-BE49-F238E27FC236}">
                <a16:creationId xmlns:a16="http://schemas.microsoft.com/office/drawing/2014/main" id="{CFFA33F8-5C04-476D-933F-83288628F871}"/>
              </a:ext>
            </a:extLst>
          </p:cNvPr>
          <p:cNvGrpSpPr/>
          <p:nvPr/>
        </p:nvGrpSpPr>
        <p:grpSpPr>
          <a:xfrm flipV="1">
            <a:off x="4659423" y="5003751"/>
            <a:ext cx="984716" cy="615705"/>
            <a:chOff x="4659423" y="1712510"/>
            <a:chExt cx="984716" cy="615705"/>
          </a:xfrm>
        </p:grpSpPr>
        <p:sp>
          <p:nvSpPr>
            <p:cNvPr id="80" name="任意多边形: 形状 79">
              <a:extLst>
                <a:ext uri="{FF2B5EF4-FFF2-40B4-BE49-F238E27FC236}">
                  <a16:creationId xmlns:a16="http://schemas.microsoft.com/office/drawing/2014/main" id="{FCD95339-0A7B-4213-9BEF-11FEE32E13A5}"/>
                </a:ext>
              </a:extLst>
            </p:cNvPr>
            <p:cNvSpPr/>
            <p:nvPr/>
          </p:nvSpPr>
          <p:spPr>
            <a:xfrm>
              <a:off x="4698201" y="1750647"/>
              <a:ext cx="872836" cy="533400"/>
            </a:xfrm>
            <a:custGeom>
              <a:avLst/>
              <a:gdLst>
                <a:gd name="connsiteX0" fmla="*/ 0 w 800100"/>
                <a:gd name="connsiteY0" fmla="*/ 488950 h 488950"/>
                <a:gd name="connsiteX1" fmla="*/ 488950 w 800100"/>
                <a:gd name="connsiteY1" fmla="*/ 0 h 488950"/>
                <a:gd name="connsiteX2" fmla="*/ 800100 w 800100"/>
                <a:gd name="connsiteY2" fmla="*/ 0 h 488950"/>
              </a:gdLst>
              <a:ahLst/>
              <a:cxnLst>
                <a:cxn ang="0">
                  <a:pos x="connsiteX0" y="connsiteY0"/>
                </a:cxn>
                <a:cxn ang="0">
                  <a:pos x="connsiteX1" y="connsiteY1"/>
                </a:cxn>
                <a:cxn ang="0">
                  <a:pos x="connsiteX2" y="connsiteY2"/>
                </a:cxn>
              </a:cxnLst>
              <a:rect l="l" t="t" r="r" b="b"/>
              <a:pathLst>
                <a:path w="800100" h="488950">
                  <a:moveTo>
                    <a:pt x="0" y="488950"/>
                  </a:moveTo>
                  <a:lnTo>
                    <a:pt x="488950" y="0"/>
                  </a:lnTo>
                  <a:lnTo>
                    <a:pt x="800100" y="0"/>
                  </a:lnTo>
                </a:path>
              </a:pathLst>
            </a:cu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1" name="椭圆 80">
              <a:extLst>
                <a:ext uri="{FF2B5EF4-FFF2-40B4-BE49-F238E27FC236}">
                  <a16:creationId xmlns:a16="http://schemas.microsoft.com/office/drawing/2014/main" id="{A246EAFA-E9EB-4B0E-9FB4-2B9B970C9648}"/>
                </a:ext>
              </a:extLst>
            </p:cNvPr>
            <p:cNvSpPr/>
            <p:nvPr/>
          </p:nvSpPr>
          <p:spPr>
            <a:xfrm>
              <a:off x="5575490" y="1712510"/>
              <a:ext cx="68649" cy="68649"/>
            </a:xfrm>
            <a:prstGeom prst="ellipse">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2" name="椭圆 81">
              <a:extLst>
                <a:ext uri="{FF2B5EF4-FFF2-40B4-BE49-F238E27FC236}">
                  <a16:creationId xmlns:a16="http://schemas.microsoft.com/office/drawing/2014/main" id="{50662B56-5D54-42CA-B8C6-E717C7685C8D}"/>
                </a:ext>
              </a:extLst>
            </p:cNvPr>
            <p:cNvSpPr/>
            <p:nvPr/>
          </p:nvSpPr>
          <p:spPr>
            <a:xfrm>
              <a:off x="4659423" y="2259566"/>
              <a:ext cx="68649" cy="68649"/>
            </a:xfrm>
            <a:prstGeom prst="ellipse">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86" name="组合 85">
            <a:extLst>
              <a:ext uri="{FF2B5EF4-FFF2-40B4-BE49-F238E27FC236}">
                <a16:creationId xmlns:a16="http://schemas.microsoft.com/office/drawing/2014/main" id="{0C2CFB95-7F45-4426-A6BB-3325342A6300}"/>
              </a:ext>
            </a:extLst>
          </p:cNvPr>
          <p:cNvGrpSpPr/>
          <p:nvPr/>
        </p:nvGrpSpPr>
        <p:grpSpPr>
          <a:xfrm>
            <a:off x="5316523" y="3064660"/>
            <a:ext cx="1064452" cy="322783"/>
            <a:chOff x="5316523" y="3064660"/>
            <a:chExt cx="1064452" cy="322783"/>
          </a:xfrm>
        </p:grpSpPr>
        <p:sp>
          <p:nvSpPr>
            <p:cNvPr id="83" name="任意多边形: 形状 82">
              <a:extLst>
                <a:ext uri="{FF2B5EF4-FFF2-40B4-BE49-F238E27FC236}">
                  <a16:creationId xmlns:a16="http://schemas.microsoft.com/office/drawing/2014/main" id="{44741B96-E46D-4483-B334-6EDFAAFA43E7}"/>
                </a:ext>
              </a:extLst>
            </p:cNvPr>
            <p:cNvSpPr/>
            <p:nvPr/>
          </p:nvSpPr>
          <p:spPr>
            <a:xfrm>
              <a:off x="5365749" y="3098006"/>
              <a:ext cx="974447" cy="245269"/>
            </a:xfrm>
            <a:custGeom>
              <a:avLst/>
              <a:gdLst>
                <a:gd name="connsiteX0" fmla="*/ 933450 w 933450"/>
                <a:gd name="connsiteY0" fmla="*/ 0 h 234950"/>
                <a:gd name="connsiteX1" fmla="*/ 234950 w 933450"/>
                <a:gd name="connsiteY1" fmla="*/ 0 h 234950"/>
                <a:gd name="connsiteX2" fmla="*/ 0 w 933450"/>
                <a:gd name="connsiteY2" fmla="*/ 234950 h 234950"/>
              </a:gdLst>
              <a:ahLst/>
              <a:cxnLst>
                <a:cxn ang="0">
                  <a:pos x="connsiteX0" y="connsiteY0"/>
                </a:cxn>
                <a:cxn ang="0">
                  <a:pos x="connsiteX1" y="connsiteY1"/>
                </a:cxn>
                <a:cxn ang="0">
                  <a:pos x="connsiteX2" y="connsiteY2"/>
                </a:cxn>
              </a:cxnLst>
              <a:rect l="l" t="t" r="r" b="b"/>
              <a:pathLst>
                <a:path w="933450" h="234950">
                  <a:moveTo>
                    <a:pt x="933450" y="0"/>
                  </a:moveTo>
                  <a:lnTo>
                    <a:pt x="234950" y="0"/>
                  </a:lnTo>
                  <a:lnTo>
                    <a:pt x="0" y="234950"/>
                  </a:lnTo>
                </a:path>
              </a:pathLst>
            </a:cu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4" name="椭圆 83">
              <a:extLst>
                <a:ext uri="{FF2B5EF4-FFF2-40B4-BE49-F238E27FC236}">
                  <a16:creationId xmlns:a16="http://schemas.microsoft.com/office/drawing/2014/main" id="{54A1DD74-1CC3-4AD8-AF28-093583FE31FB}"/>
                </a:ext>
              </a:extLst>
            </p:cNvPr>
            <p:cNvSpPr/>
            <p:nvPr/>
          </p:nvSpPr>
          <p:spPr>
            <a:xfrm>
              <a:off x="6312326" y="3064660"/>
              <a:ext cx="68649" cy="68649"/>
            </a:xfrm>
            <a:prstGeom prst="ellipse">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5" name="椭圆 84">
              <a:extLst>
                <a:ext uri="{FF2B5EF4-FFF2-40B4-BE49-F238E27FC236}">
                  <a16:creationId xmlns:a16="http://schemas.microsoft.com/office/drawing/2014/main" id="{72BDD680-CD62-4993-9595-2CB8486C974C}"/>
                </a:ext>
              </a:extLst>
            </p:cNvPr>
            <p:cNvSpPr/>
            <p:nvPr/>
          </p:nvSpPr>
          <p:spPr>
            <a:xfrm>
              <a:off x="5316523" y="3318794"/>
              <a:ext cx="68649" cy="68649"/>
            </a:xfrm>
            <a:prstGeom prst="ellipse">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87" name="组合 86">
            <a:extLst>
              <a:ext uri="{FF2B5EF4-FFF2-40B4-BE49-F238E27FC236}">
                <a16:creationId xmlns:a16="http://schemas.microsoft.com/office/drawing/2014/main" id="{14935C8D-2E9C-4665-8F1F-C72951C8B64F}"/>
              </a:ext>
            </a:extLst>
          </p:cNvPr>
          <p:cNvGrpSpPr/>
          <p:nvPr/>
        </p:nvGrpSpPr>
        <p:grpSpPr>
          <a:xfrm flipV="1">
            <a:off x="5316523" y="4100837"/>
            <a:ext cx="1064452" cy="322783"/>
            <a:chOff x="5316523" y="3064660"/>
            <a:chExt cx="1064452" cy="322783"/>
          </a:xfrm>
        </p:grpSpPr>
        <p:sp>
          <p:nvSpPr>
            <p:cNvPr id="88" name="任意多边形: 形状 87">
              <a:extLst>
                <a:ext uri="{FF2B5EF4-FFF2-40B4-BE49-F238E27FC236}">
                  <a16:creationId xmlns:a16="http://schemas.microsoft.com/office/drawing/2014/main" id="{E5A0136D-B567-4566-A9CC-08A83F8DBC8D}"/>
                </a:ext>
              </a:extLst>
            </p:cNvPr>
            <p:cNvSpPr/>
            <p:nvPr/>
          </p:nvSpPr>
          <p:spPr>
            <a:xfrm>
              <a:off x="5365749" y="3098006"/>
              <a:ext cx="974447" cy="245269"/>
            </a:xfrm>
            <a:custGeom>
              <a:avLst/>
              <a:gdLst>
                <a:gd name="connsiteX0" fmla="*/ 933450 w 933450"/>
                <a:gd name="connsiteY0" fmla="*/ 0 h 234950"/>
                <a:gd name="connsiteX1" fmla="*/ 234950 w 933450"/>
                <a:gd name="connsiteY1" fmla="*/ 0 h 234950"/>
                <a:gd name="connsiteX2" fmla="*/ 0 w 933450"/>
                <a:gd name="connsiteY2" fmla="*/ 234950 h 234950"/>
              </a:gdLst>
              <a:ahLst/>
              <a:cxnLst>
                <a:cxn ang="0">
                  <a:pos x="connsiteX0" y="connsiteY0"/>
                </a:cxn>
                <a:cxn ang="0">
                  <a:pos x="connsiteX1" y="connsiteY1"/>
                </a:cxn>
                <a:cxn ang="0">
                  <a:pos x="connsiteX2" y="connsiteY2"/>
                </a:cxn>
              </a:cxnLst>
              <a:rect l="l" t="t" r="r" b="b"/>
              <a:pathLst>
                <a:path w="933450" h="234950">
                  <a:moveTo>
                    <a:pt x="933450" y="0"/>
                  </a:moveTo>
                  <a:lnTo>
                    <a:pt x="234950" y="0"/>
                  </a:lnTo>
                  <a:lnTo>
                    <a:pt x="0" y="234950"/>
                  </a:lnTo>
                </a:path>
              </a:pathLst>
            </a:cu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9" name="椭圆 88">
              <a:extLst>
                <a:ext uri="{FF2B5EF4-FFF2-40B4-BE49-F238E27FC236}">
                  <a16:creationId xmlns:a16="http://schemas.microsoft.com/office/drawing/2014/main" id="{FB8AF97F-873B-4F7D-841E-44B1DBA4EE64}"/>
                </a:ext>
              </a:extLst>
            </p:cNvPr>
            <p:cNvSpPr/>
            <p:nvPr/>
          </p:nvSpPr>
          <p:spPr>
            <a:xfrm>
              <a:off x="6312326" y="3064660"/>
              <a:ext cx="68649" cy="68649"/>
            </a:xfrm>
            <a:prstGeom prst="ellipse">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0" name="椭圆 89">
              <a:extLst>
                <a:ext uri="{FF2B5EF4-FFF2-40B4-BE49-F238E27FC236}">
                  <a16:creationId xmlns:a16="http://schemas.microsoft.com/office/drawing/2014/main" id="{F4DA4FD5-B79E-4BAF-8A80-6F0C0997BB02}"/>
                </a:ext>
              </a:extLst>
            </p:cNvPr>
            <p:cNvSpPr/>
            <p:nvPr/>
          </p:nvSpPr>
          <p:spPr>
            <a:xfrm>
              <a:off x="5316523" y="3318794"/>
              <a:ext cx="68649" cy="68649"/>
            </a:xfrm>
            <a:prstGeom prst="ellipse">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Tree>
    <p:extLst>
      <p:ext uri="{BB962C8B-B14F-4D97-AF65-F5344CB8AC3E}">
        <p14:creationId xmlns:p14="http://schemas.microsoft.com/office/powerpoint/2010/main" val="2053954114"/>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2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矩形: 圆角 4" hidden="1">
            <a:extLst>
              <a:ext uri="{FF2B5EF4-FFF2-40B4-BE49-F238E27FC236}">
                <a16:creationId xmlns:a16="http://schemas.microsoft.com/office/drawing/2014/main" id="{617466E9-6561-4967-B054-E32C86B763D8}"/>
              </a:ext>
            </a:extLst>
          </p:cNvPr>
          <p:cNvSpPr/>
          <p:nvPr/>
        </p:nvSpPr>
        <p:spPr>
          <a:xfrm>
            <a:off x="1366135" y="2642870"/>
            <a:ext cx="1080000" cy="2270760"/>
          </a:xfrm>
          <a:custGeom>
            <a:avLst/>
            <a:gdLst>
              <a:gd name="connsiteX0" fmla="*/ 0 w 1080000"/>
              <a:gd name="connsiteY0" fmla="*/ 540000 h 2270760"/>
              <a:gd name="connsiteX1" fmla="*/ 540000 w 1080000"/>
              <a:gd name="connsiteY1" fmla="*/ 0 h 2270760"/>
              <a:gd name="connsiteX2" fmla="*/ 540000 w 1080000"/>
              <a:gd name="connsiteY2" fmla="*/ 0 h 2270760"/>
              <a:gd name="connsiteX3" fmla="*/ 1080000 w 1080000"/>
              <a:gd name="connsiteY3" fmla="*/ 540000 h 2270760"/>
              <a:gd name="connsiteX4" fmla="*/ 1080000 w 1080000"/>
              <a:gd name="connsiteY4" fmla="*/ 1730760 h 2270760"/>
              <a:gd name="connsiteX5" fmla="*/ 540000 w 1080000"/>
              <a:gd name="connsiteY5" fmla="*/ 2270760 h 2270760"/>
              <a:gd name="connsiteX6" fmla="*/ 540000 w 1080000"/>
              <a:gd name="connsiteY6" fmla="*/ 2270760 h 2270760"/>
              <a:gd name="connsiteX7" fmla="*/ 0 w 1080000"/>
              <a:gd name="connsiteY7" fmla="*/ 1730760 h 2270760"/>
              <a:gd name="connsiteX8" fmla="*/ 0 w 1080000"/>
              <a:gd name="connsiteY8" fmla="*/ 540000 h 2270760"/>
              <a:gd name="connsiteX0" fmla="*/ 1366135 w 2446135"/>
              <a:gd name="connsiteY0" fmla="*/ 3182870 h 4913630"/>
              <a:gd name="connsiteX1" fmla="*/ 0 w 2446135"/>
              <a:gd name="connsiteY1" fmla="*/ 0 h 4913630"/>
              <a:gd name="connsiteX2" fmla="*/ 1906135 w 2446135"/>
              <a:gd name="connsiteY2" fmla="*/ 2642870 h 4913630"/>
              <a:gd name="connsiteX3" fmla="*/ 1906135 w 2446135"/>
              <a:gd name="connsiteY3" fmla="*/ 2642870 h 4913630"/>
              <a:gd name="connsiteX4" fmla="*/ 2446135 w 2446135"/>
              <a:gd name="connsiteY4" fmla="*/ 3182870 h 4913630"/>
              <a:gd name="connsiteX5" fmla="*/ 2446135 w 2446135"/>
              <a:gd name="connsiteY5" fmla="*/ 4373630 h 4913630"/>
              <a:gd name="connsiteX6" fmla="*/ 1906135 w 2446135"/>
              <a:gd name="connsiteY6" fmla="*/ 4913630 h 4913630"/>
              <a:gd name="connsiteX7" fmla="*/ 1906135 w 2446135"/>
              <a:gd name="connsiteY7" fmla="*/ 4913630 h 4913630"/>
              <a:gd name="connsiteX8" fmla="*/ 1366135 w 2446135"/>
              <a:gd name="connsiteY8" fmla="*/ 4373630 h 4913630"/>
              <a:gd name="connsiteX9" fmla="*/ 1366135 w 2446135"/>
              <a:gd name="connsiteY9" fmla="*/ 3182870 h 4913630"/>
              <a:gd name="connsiteX0" fmla="*/ 0 w 1080000"/>
              <a:gd name="connsiteY0" fmla="*/ 540000 h 2270760"/>
              <a:gd name="connsiteX1" fmla="*/ 540000 w 1080000"/>
              <a:gd name="connsiteY1" fmla="*/ 0 h 2270760"/>
              <a:gd name="connsiteX2" fmla="*/ 540000 w 1080000"/>
              <a:gd name="connsiteY2" fmla="*/ 0 h 2270760"/>
              <a:gd name="connsiteX3" fmla="*/ 1080000 w 1080000"/>
              <a:gd name="connsiteY3" fmla="*/ 540000 h 2270760"/>
              <a:gd name="connsiteX4" fmla="*/ 1080000 w 1080000"/>
              <a:gd name="connsiteY4" fmla="*/ 1730760 h 2270760"/>
              <a:gd name="connsiteX5" fmla="*/ 540000 w 1080000"/>
              <a:gd name="connsiteY5" fmla="*/ 2270760 h 2270760"/>
              <a:gd name="connsiteX6" fmla="*/ 540000 w 1080000"/>
              <a:gd name="connsiteY6" fmla="*/ 2270760 h 2270760"/>
              <a:gd name="connsiteX7" fmla="*/ 0 w 1080000"/>
              <a:gd name="connsiteY7" fmla="*/ 1730760 h 2270760"/>
              <a:gd name="connsiteX8" fmla="*/ 0 w 1080000"/>
              <a:gd name="connsiteY8" fmla="*/ 540000 h 2270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80000" h="2270760">
                <a:moveTo>
                  <a:pt x="0" y="540000"/>
                </a:moveTo>
                <a:cubicBezTo>
                  <a:pt x="0" y="241766"/>
                  <a:pt x="241766" y="0"/>
                  <a:pt x="540000" y="0"/>
                </a:cubicBezTo>
                <a:lnTo>
                  <a:pt x="540000" y="0"/>
                </a:lnTo>
                <a:cubicBezTo>
                  <a:pt x="838234" y="0"/>
                  <a:pt x="1080000" y="241766"/>
                  <a:pt x="1080000" y="540000"/>
                </a:cubicBezTo>
                <a:lnTo>
                  <a:pt x="1080000" y="1730760"/>
                </a:lnTo>
                <a:cubicBezTo>
                  <a:pt x="1080000" y="2028994"/>
                  <a:pt x="838234" y="2270760"/>
                  <a:pt x="540000" y="2270760"/>
                </a:cubicBezTo>
                <a:lnTo>
                  <a:pt x="540000" y="2270760"/>
                </a:lnTo>
                <a:cubicBezTo>
                  <a:pt x="241766" y="2270760"/>
                  <a:pt x="0" y="2028994"/>
                  <a:pt x="0" y="1730760"/>
                </a:cubicBezTo>
                <a:lnTo>
                  <a:pt x="0" y="540000"/>
                </a:lnTo>
                <a:close/>
              </a:path>
            </a:pathLst>
          </a:custGeom>
          <a:noFill/>
          <a:ln w="177800" cap="flat" cmpd="sng" algn="ctr">
            <a:solidFill>
              <a:schemeClr val="accent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18" name="组合 17">
            <a:extLst>
              <a:ext uri="{FF2B5EF4-FFF2-40B4-BE49-F238E27FC236}">
                <a16:creationId xmlns:a16="http://schemas.microsoft.com/office/drawing/2014/main" id="{5C4D049C-FA39-4C43-9D09-296709FA6393}"/>
              </a:ext>
            </a:extLst>
          </p:cNvPr>
          <p:cNvGrpSpPr/>
          <p:nvPr/>
        </p:nvGrpSpPr>
        <p:grpSpPr>
          <a:xfrm>
            <a:off x="2402570" y="2128472"/>
            <a:ext cx="1628410" cy="3264430"/>
            <a:chOff x="2222547" y="2607742"/>
            <a:chExt cx="1150256" cy="2305889"/>
          </a:xfrm>
        </p:grpSpPr>
        <p:sp>
          <p:nvSpPr>
            <p:cNvPr id="4" name="弧形 3">
              <a:extLst>
                <a:ext uri="{FF2B5EF4-FFF2-40B4-BE49-F238E27FC236}">
                  <a16:creationId xmlns:a16="http://schemas.microsoft.com/office/drawing/2014/main" id="{05CF5C1F-4F16-4C27-9F82-895D85963A2F}"/>
                </a:ext>
              </a:extLst>
            </p:cNvPr>
            <p:cNvSpPr/>
            <p:nvPr/>
          </p:nvSpPr>
          <p:spPr>
            <a:xfrm>
              <a:off x="2222547" y="2607742"/>
              <a:ext cx="1150256" cy="1150256"/>
            </a:xfrm>
            <a:prstGeom prst="arc">
              <a:avLst>
                <a:gd name="adj1" fmla="val 12675792"/>
                <a:gd name="adj2" fmla="val 19964337"/>
              </a:avLst>
            </a:prstGeom>
            <a:noFill/>
            <a:ln w="101600" cap="rnd" cmpd="sng" algn="ctr">
              <a:solidFill>
                <a:schemeClr val="accent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7" name="直接连接符 6">
              <a:extLst>
                <a:ext uri="{FF2B5EF4-FFF2-40B4-BE49-F238E27FC236}">
                  <a16:creationId xmlns:a16="http://schemas.microsoft.com/office/drawing/2014/main" id="{28CA5E9B-192D-49B2-B3F6-9BA1090A2176}"/>
                </a:ext>
              </a:extLst>
            </p:cNvPr>
            <p:cNvCxnSpPr>
              <a:cxnSpLocks/>
            </p:cNvCxnSpPr>
            <p:nvPr/>
          </p:nvCxnSpPr>
          <p:spPr>
            <a:xfrm>
              <a:off x="2797675" y="2642870"/>
              <a:ext cx="0" cy="0"/>
            </a:xfrm>
            <a:prstGeom prst="line">
              <a:avLst/>
            </a:prstGeom>
            <a:noFill/>
            <a:ln w="177800" cap="flat" cmpd="sng" algn="ctr">
              <a:solidFill>
                <a:schemeClr val="accent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cxnSp>
        <p:sp>
          <p:nvSpPr>
            <p:cNvPr id="17" name="任意多边形: 形状 16">
              <a:extLst>
                <a:ext uri="{FF2B5EF4-FFF2-40B4-BE49-F238E27FC236}">
                  <a16:creationId xmlns:a16="http://schemas.microsoft.com/office/drawing/2014/main" id="{5E97BA1E-C479-4BD3-BF80-084A15EAB4D2}"/>
                </a:ext>
              </a:extLst>
            </p:cNvPr>
            <p:cNvSpPr/>
            <p:nvPr/>
          </p:nvSpPr>
          <p:spPr>
            <a:xfrm>
              <a:off x="2257668" y="3182870"/>
              <a:ext cx="1080014" cy="1730761"/>
            </a:xfrm>
            <a:custGeom>
              <a:avLst/>
              <a:gdLst/>
              <a:ahLst/>
              <a:cxnLst/>
              <a:rect l="0" t="0" r="0" b="0"/>
              <a:pathLst>
                <a:path w="1080014" h="1730761">
                  <a:moveTo>
                    <a:pt x="1080000" y="0"/>
                  </a:moveTo>
                  <a:lnTo>
                    <a:pt x="1080000" y="1190760"/>
                  </a:lnTo>
                  <a:cubicBezTo>
                    <a:pt x="1080013" y="1488994"/>
                    <a:pt x="838234" y="1730760"/>
                    <a:pt x="540000" y="1730760"/>
                  </a:cubicBezTo>
                  <a:cubicBezTo>
                    <a:pt x="241779" y="1730760"/>
                    <a:pt x="0" y="1488994"/>
                    <a:pt x="0" y="1190760"/>
                  </a:cubicBezTo>
                  <a:lnTo>
                    <a:pt x="0" y="0"/>
                  </a:lnTo>
                </a:path>
              </a:pathLst>
            </a:custGeom>
            <a:noFill/>
            <a:ln w="171450" cap="rnd" cmpd="sng" algn="ctr">
              <a:solidFill>
                <a:schemeClr val="accent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3" name="矩形: 圆角 2">
              <a:extLst>
                <a:ext uri="{FF2B5EF4-FFF2-40B4-BE49-F238E27FC236}">
                  <a16:creationId xmlns:a16="http://schemas.microsoft.com/office/drawing/2014/main" id="{D6A8B61E-C295-4302-B5D3-24D7F5DD0EC2}"/>
                </a:ext>
              </a:extLst>
            </p:cNvPr>
            <p:cNvSpPr/>
            <p:nvPr/>
          </p:nvSpPr>
          <p:spPr>
            <a:xfrm>
              <a:off x="2257668" y="2642870"/>
              <a:ext cx="1080000" cy="2270760"/>
            </a:xfrm>
            <a:prstGeom prst="roundRect">
              <a:avLst>
                <a:gd name="adj" fmla="val 50000"/>
              </a:avLst>
            </a:prstGeom>
            <a:gradFill>
              <a:gsLst>
                <a:gs pos="0">
                  <a:schemeClr val="bg1"/>
                </a:gs>
                <a:gs pos="100000">
                  <a:schemeClr val="bg1">
                    <a:lumMod val="95000"/>
                  </a:schemeClr>
                </a:gs>
              </a:gsLst>
              <a:lin ang="2700000" scaled="0"/>
            </a:gradFill>
            <a:ln w="25400" cap="flat" cmpd="sng" algn="ctr">
              <a:noFill/>
              <a:prstDash val="solid"/>
              <a:miter lim="800000"/>
            </a:ln>
            <a:effectLst>
              <a:outerShdw blurRad="254000" dist="88900" dir="2700000" algn="tl" rotWithShape="0">
                <a:schemeClr val="accent1">
                  <a:lumMod val="50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19" name="椭圆 18">
            <a:extLst>
              <a:ext uri="{FF2B5EF4-FFF2-40B4-BE49-F238E27FC236}">
                <a16:creationId xmlns:a16="http://schemas.microsoft.com/office/drawing/2014/main" id="{462A2042-F6FE-4CBF-B144-7DB5A07F3271}"/>
              </a:ext>
            </a:extLst>
          </p:cNvPr>
          <p:cNvSpPr/>
          <p:nvPr/>
        </p:nvSpPr>
        <p:spPr>
          <a:xfrm>
            <a:off x="2759565" y="2462616"/>
            <a:ext cx="914400" cy="914400"/>
          </a:xfrm>
          <a:prstGeom prst="ellipse">
            <a:avLst/>
          </a:prstGeom>
          <a:gradFill>
            <a:gsLst>
              <a:gs pos="0">
                <a:schemeClr val="accent1"/>
              </a:gs>
              <a:gs pos="100000">
                <a:schemeClr val="accent1">
                  <a:lumMod val="75000"/>
                </a:schemeClr>
              </a:gs>
            </a:gsLst>
            <a:lin ang="2700000" scaled="0"/>
          </a:gradFill>
          <a:ln w="25400" cap="flat" cmpd="sng" algn="ctr">
            <a:noFill/>
            <a:prstDash val="solid"/>
            <a:miter lim="800000"/>
          </a:ln>
          <a:effectLst>
            <a:outerShdw blurRad="254000" dist="88900" dir="2700000" algn="tl" rotWithShape="0">
              <a:schemeClr val="accent1">
                <a:lumMod val="50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0" name="文本框 19">
            <a:extLst>
              <a:ext uri="{FF2B5EF4-FFF2-40B4-BE49-F238E27FC236}">
                <a16:creationId xmlns:a16="http://schemas.microsoft.com/office/drawing/2014/main" id="{CEE4514D-5EE9-4D83-A5BA-7CDBD67E8B06}"/>
              </a:ext>
            </a:extLst>
          </p:cNvPr>
          <p:cNvSpPr txBox="1"/>
          <p:nvPr/>
        </p:nvSpPr>
        <p:spPr>
          <a:xfrm>
            <a:off x="2639684" y="3580077"/>
            <a:ext cx="1154162" cy="276999"/>
          </a:xfrm>
          <a:prstGeom prst="rect">
            <a:avLst/>
          </a:prstGeom>
          <a:noFill/>
        </p:spPr>
        <p:txBody>
          <a:bodyPr wrap="none" lIns="0" tIns="0" rIns="0" bIns="0" rtlCol="0" anchor="t">
            <a:spAutoFit/>
          </a:bodyPr>
          <a:lstStyle/>
          <a:p>
            <a:pPr algn="l"/>
            <a:r>
              <a:rPr lang="zh-CN" altLang="en-US" dirty="0">
                <a:solidFill>
                  <a:schemeClr val="accent1"/>
                </a:solidFill>
                <a:latin typeface="+mj-ea"/>
                <a:ea typeface="+mj-ea"/>
              </a:rPr>
              <a:t>关键词标题</a:t>
            </a:r>
          </a:p>
        </p:txBody>
      </p:sp>
      <p:sp>
        <p:nvSpPr>
          <p:cNvPr id="21" name="iconfont-1179-866479">
            <a:extLst>
              <a:ext uri="{FF2B5EF4-FFF2-40B4-BE49-F238E27FC236}">
                <a16:creationId xmlns:a16="http://schemas.microsoft.com/office/drawing/2014/main" id="{50165D18-9C0E-4B87-9EFC-54CC90595F1A}"/>
              </a:ext>
            </a:extLst>
          </p:cNvPr>
          <p:cNvSpPr/>
          <p:nvPr/>
        </p:nvSpPr>
        <p:spPr>
          <a:xfrm>
            <a:off x="3033331" y="2667001"/>
            <a:ext cx="376084" cy="445426"/>
          </a:xfrm>
          <a:custGeom>
            <a:avLst/>
            <a:gdLst>
              <a:gd name="T0" fmla="*/ 6573 w 9390"/>
              <a:gd name="T1" fmla="*/ 3437 h 11120"/>
              <a:gd name="T2" fmla="*/ 7967 w 9390"/>
              <a:gd name="T3" fmla="*/ 1730 h 11120"/>
              <a:gd name="T4" fmla="*/ 5311 w 9390"/>
              <a:gd name="T5" fmla="*/ 1140 h 11120"/>
              <a:gd name="T6" fmla="*/ 3129 w 9390"/>
              <a:gd name="T7" fmla="*/ 876 h 11120"/>
              <a:gd name="T8" fmla="*/ 2455 w 9390"/>
              <a:gd name="T9" fmla="*/ 3147 h 11120"/>
              <a:gd name="T10" fmla="*/ 7438 w 9390"/>
              <a:gd name="T11" fmla="*/ 4336 h 11120"/>
              <a:gd name="T12" fmla="*/ 2969 w 9390"/>
              <a:gd name="T13" fmla="*/ 4006 h 11120"/>
              <a:gd name="T14" fmla="*/ 0 w 9390"/>
              <a:gd name="T15" fmla="*/ 8570 h 11120"/>
              <a:gd name="T16" fmla="*/ 6860 w 9390"/>
              <a:gd name="T17" fmla="*/ 11120 h 11120"/>
              <a:gd name="T18" fmla="*/ 7438 w 9390"/>
              <a:gd name="T19" fmla="*/ 4336 h 11120"/>
              <a:gd name="T20" fmla="*/ 5549 w 9390"/>
              <a:gd name="T21" fmla="*/ 7248 h 11120"/>
              <a:gd name="T22" fmla="*/ 5919 w 9390"/>
              <a:gd name="T23" fmla="*/ 7515 h 11120"/>
              <a:gd name="T24" fmla="*/ 6098 w 9390"/>
              <a:gd name="T25" fmla="*/ 7695 h 11120"/>
              <a:gd name="T26" fmla="*/ 5384 w 9390"/>
              <a:gd name="T27" fmla="*/ 7874 h 11120"/>
              <a:gd name="T28" fmla="*/ 5195 w 9390"/>
              <a:gd name="T29" fmla="*/ 8151 h 11120"/>
              <a:gd name="T30" fmla="*/ 5919 w 9390"/>
              <a:gd name="T31" fmla="*/ 8331 h 11120"/>
              <a:gd name="T32" fmla="*/ 5919 w 9390"/>
              <a:gd name="T33" fmla="*/ 8690 h 11120"/>
              <a:gd name="T34" fmla="*/ 5195 w 9390"/>
              <a:gd name="T35" fmla="*/ 8870 h 11120"/>
              <a:gd name="T36" fmla="*/ 5015 w 9390"/>
              <a:gd name="T37" fmla="*/ 9507 h 11120"/>
              <a:gd name="T38" fmla="*/ 4510 w 9390"/>
              <a:gd name="T39" fmla="*/ 9327 h 11120"/>
              <a:gd name="T40" fmla="*/ 4330 w 9390"/>
              <a:gd name="T41" fmla="*/ 8690 h 11120"/>
              <a:gd name="T42" fmla="*/ 3612 w 9390"/>
              <a:gd name="T43" fmla="*/ 8510 h 11120"/>
              <a:gd name="T44" fmla="*/ 4329 w 9390"/>
              <a:gd name="T45" fmla="*/ 8331 h 11120"/>
              <a:gd name="T46" fmla="*/ 4511 w 9390"/>
              <a:gd name="T47" fmla="*/ 8063 h 11120"/>
              <a:gd name="T48" fmla="*/ 3792 w 9390"/>
              <a:gd name="T49" fmla="*/ 7873 h 11120"/>
              <a:gd name="T50" fmla="*/ 3612 w 9390"/>
              <a:gd name="T51" fmla="*/ 7694 h 11120"/>
              <a:gd name="T52" fmla="*/ 3999 w 9390"/>
              <a:gd name="T53" fmla="*/ 7514 h 11120"/>
              <a:gd name="T54" fmla="*/ 3406 w 9390"/>
              <a:gd name="T55" fmla="*/ 5887 h 11120"/>
              <a:gd name="T56" fmla="*/ 3920 w 9390"/>
              <a:gd name="T57" fmla="*/ 5620 h 11120"/>
              <a:gd name="T58" fmla="*/ 4691 w 9390"/>
              <a:gd name="T59" fmla="*/ 6937 h 11120"/>
              <a:gd name="T60" fmla="*/ 5623 w 9390"/>
              <a:gd name="T61" fmla="*/ 5719 h 11120"/>
              <a:gd name="T62" fmla="*/ 6140 w 9390"/>
              <a:gd name="T63" fmla="*/ 5620 h 1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390" h="11120">
                <a:moveTo>
                  <a:pt x="3078" y="3437"/>
                </a:moveTo>
                <a:lnTo>
                  <a:pt x="6573" y="3437"/>
                </a:lnTo>
                <a:cubicBezTo>
                  <a:pt x="6809" y="3437"/>
                  <a:pt x="7036" y="3338"/>
                  <a:pt x="7187" y="3157"/>
                </a:cubicBezTo>
                <a:cubicBezTo>
                  <a:pt x="7548" y="2728"/>
                  <a:pt x="7890" y="2202"/>
                  <a:pt x="7967" y="1730"/>
                </a:cubicBezTo>
                <a:cubicBezTo>
                  <a:pt x="8121" y="786"/>
                  <a:pt x="7717" y="307"/>
                  <a:pt x="6544" y="307"/>
                </a:cubicBezTo>
                <a:cubicBezTo>
                  <a:pt x="5370" y="307"/>
                  <a:pt x="5767" y="1077"/>
                  <a:pt x="5311" y="1140"/>
                </a:cubicBezTo>
                <a:cubicBezTo>
                  <a:pt x="4971" y="1187"/>
                  <a:pt x="4983" y="739"/>
                  <a:pt x="4449" y="308"/>
                </a:cubicBezTo>
                <a:cubicBezTo>
                  <a:pt x="4066" y="0"/>
                  <a:pt x="3636" y="871"/>
                  <a:pt x="3129" y="876"/>
                </a:cubicBezTo>
                <a:cubicBezTo>
                  <a:pt x="2538" y="884"/>
                  <a:pt x="1707" y="720"/>
                  <a:pt x="1707" y="1730"/>
                </a:cubicBezTo>
                <a:cubicBezTo>
                  <a:pt x="1707" y="2138"/>
                  <a:pt x="2065" y="2690"/>
                  <a:pt x="2455" y="3147"/>
                </a:cubicBezTo>
                <a:cubicBezTo>
                  <a:pt x="2612" y="3330"/>
                  <a:pt x="2838" y="3437"/>
                  <a:pt x="3078" y="3437"/>
                </a:cubicBezTo>
                <a:close/>
                <a:moveTo>
                  <a:pt x="7438" y="4336"/>
                </a:moveTo>
                <a:cubicBezTo>
                  <a:pt x="7252" y="4125"/>
                  <a:pt x="6981" y="4006"/>
                  <a:pt x="6699" y="4006"/>
                </a:cubicBezTo>
                <a:lnTo>
                  <a:pt x="2969" y="4006"/>
                </a:lnTo>
                <a:cubicBezTo>
                  <a:pt x="2700" y="4006"/>
                  <a:pt x="2440" y="4115"/>
                  <a:pt x="2253" y="4310"/>
                </a:cubicBezTo>
                <a:cubicBezTo>
                  <a:pt x="1081" y="5538"/>
                  <a:pt x="0" y="7291"/>
                  <a:pt x="0" y="8570"/>
                </a:cubicBezTo>
                <a:cubicBezTo>
                  <a:pt x="0" y="9697"/>
                  <a:pt x="1133" y="11120"/>
                  <a:pt x="2530" y="11120"/>
                </a:cubicBezTo>
                <a:lnTo>
                  <a:pt x="6860" y="11120"/>
                </a:lnTo>
                <a:cubicBezTo>
                  <a:pt x="8257" y="11120"/>
                  <a:pt x="9390" y="9709"/>
                  <a:pt x="9390" y="8570"/>
                </a:cubicBezTo>
                <a:cubicBezTo>
                  <a:pt x="9390" y="7268"/>
                  <a:pt x="8520" y="5564"/>
                  <a:pt x="7438" y="4336"/>
                </a:cubicBezTo>
                <a:close/>
                <a:moveTo>
                  <a:pt x="6299" y="5888"/>
                </a:moveTo>
                <a:lnTo>
                  <a:pt x="5549" y="7248"/>
                </a:lnTo>
                <a:cubicBezTo>
                  <a:pt x="5483" y="7368"/>
                  <a:pt x="5570" y="7515"/>
                  <a:pt x="5706" y="7515"/>
                </a:cubicBezTo>
                <a:lnTo>
                  <a:pt x="5919" y="7515"/>
                </a:lnTo>
                <a:cubicBezTo>
                  <a:pt x="6017" y="7515"/>
                  <a:pt x="6098" y="7595"/>
                  <a:pt x="6098" y="7695"/>
                </a:cubicBezTo>
                <a:lnTo>
                  <a:pt x="6098" y="7695"/>
                </a:lnTo>
                <a:cubicBezTo>
                  <a:pt x="6098" y="7793"/>
                  <a:pt x="6018" y="7874"/>
                  <a:pt x="5919" y="7874"/>
                </a:cubicBezTo>
                <a:lnTo>
                  <a:pt x="5384" y="7874"/>
                </a:lnTo>
                <a:cubicBezTo>
                  <a:pt x="5279" y="7874"/>
                  <a:pt x="5196" y="7958"/>
                  <a:pt x="5195" y="8062"/>
                </a:cubicBezTo>
                <a:lnTo>
                  <a:pt x="5195" y="8151"/>
                </a:lnTo>
                <a:cubicBezTo>
                  <a:pt x="5195" y="8249"/>
                  <a:pt x="5275" y="8331"/>
                  <a:pt x="5375" y="8331"/>
                </a:cubicBezTo>
                <a:lnTo>
                  <a:pt x="5919" y="8331"/>
                </a:lnTo>
                <a:cubicBezTo>
                  <a:pt x="6017" y="8331"/>
                  <a:pt x="6098" y="8411"/>
                  <a:pt x="6098" y="8510"/>
                </a:cubicBezTo>
                <a:cubicBezTo>
                  <a:pt x="6098" y="8610"/>
                  <a:pt x="6018" y="8690"/>
                  <a:pt x="5919" y="8690"/>
                </a:cubicBezTo>
                <a:lnTo>
                  <a:pt x="5375" y="8690"/>
                </a:lnTo>
                <a:cubicBezTo>
                  <a:pt x="5276" y="8690"/>
                  <a:pt x="5195" y="8770"/>
                  <a:pt x="5195" y="8870"/>
                </a:cubicBezTo>
                <a:lnTo>
                  <a:pt x="5195" y="9327"/>
                </a:lnTo>
                <a:cubicBezTo>
                  <a:pt x="5195" y="9426"/>
                  <a:pt x="5115" y="9507"/>
                  <a:pt x="5015" y="9507"/>
                </a:cubicBezTo>
                <a:lnTo>
                  <a:pt x="4690" y="9507"/>
                </a:lnTo>
                <a:cubicBezTo>
                  <a:pt x="4591" y="9507"/>
                  <a:pt x="4510" y="9427"/>
                  <a:pt x="4510" y="9327"/>
                </a:cubicBezTo>
                <a:lnTo>
                  <a:pt x="4510" y="8870"/>
                </a:lnTo>
                <a:cubicBezTo>
                  <a:pt x="4510" y="8771"/>
                  <a:pt x="4430" y="8690"/>
                  <a:pt x="4330" y="8690"/>
                </a:cubicBezTo>
                <a:lnTo>
                  <a:pt x="3792" y="8690"/>
                </a:lnTo>
                <a:cubicBezTo>
                  <a:pt x="3693" y="8690"/>
                  <a:pt x="3612" y="8610"/>
                  <a:pt x="3612" y="8510"/>
                </a:cubicBezTo>
                <a:cubicBezTo>
                  <a:pt x="3612" y="8411"/>
                  <a:pt x="3692" y="8331"/>
                  <a:pt x="3792" y="8331"/>
                </a:cubicBezTo>
                <a:lnTo>
                  <a:pt x="4329" y="8331"/>
                </a:lnTo>
                <a:cubicBezTo>
                  <a:pt x="4429" y="8331"/>
                  <a:pt x="4509" y="8251"/>
                  <a:pt x="4510" y="8151"/>
                </a:cubicBezTo>
                <a:lnTo>
                  <a:pt x="4511" y="8063"/>
                </a:lnTo>
                <a:cubicBezTo>
                  <a:pt x="4512" y="7959"/>
                  <a:pt x="4427" y="7873"/>
                  <a:pt x="4322" y="7873"/>
                </a:cubicBezTo>
                <a:lnTo>
                  <a:pt x="3792" y="7873"/>
                </a:lnTo>
                <a:cubicBezTo>
                  <a:pt x="3693" y="7873"/>
                  <a:pt x="3612" y="7793"/>
                  <a:pt x="3612" y="7694"/>
                </a:cubicBezTo>
                <a:lnTo>
                  <a:pt x="3612" y="7694"/>
                </a:lnTo>
                <a:cubicBezTo>
                  <a:pt x="3612" y="7595"/>
                  <a:pt x="3692" y="7514"/>
                  <a:pt x="3792" y="7514"/>
                </a:cubicBezTo>
                <a:lnTo>
                  <a:pt x="3999" y="7514"/>
                </a:lnTo>
                <a:cubicBezTo>
                  <a:pt x="4136" y="7514"/>
                  <a:pt x="4221" y="7367"/>
                  <a:pt x="4156" y="7247"/>
                </a:cubicBezTo>
                <a:lnTo>
                  <a:pt x="3406" y="5887"/>
                </a:lnTo>
                <a:cubicBezTo>
                  <a:pt x="3340" y="5767"/>
                  <a:pt x="3426" y="5620"/>
                  <a:pt x="3562" y="5620"/>
                </a:cubicBezTo>
                <a:lnTo>
                  <a:pt x="3920" y="5620"/>
                </a:lnTo>
                <a:cubicBezTo>
                  <a:pt x="3988" y="5620"/>
                  <a:pt x="4050" y="5659"/>
                  <a:pt x="4080" y="5719"/>
                </a:cubicBezTo>
                <a:lnTo>
                  <a:pt x="4691" y="6937"/>
                </a:lnTo>
                <a:cubicBezTo>
                  <a:pt x="4756" y="7069"/>
                  <a:pt x="4945" y="7069"/>
                  <a:pt x="5012" y="6937"/>
                </a:cubicBezTo>
                <a:lnTo>
                  <a:pt x="5623" y="5719"/>
                </a:lnTo>
                <a:cubicBezTo>
                  <a:pt x="5653" y="5659"/>
                  <a:pt x="5715" y="5620"/>
                  <a:pt x="5783" y="5620"/>
                </a:cubicBezTo>
                <a:lnTo>
                  <a:pt x="6140" y="5620"/>
                </a:lnTo>
                <a:cubicBezTo>
                  <a:pt x="6278" y="5622"/>
                  <a:pt x="6365" y="5768"/>
                  <a:pt x="6299" y="588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文本框 21">
            <a:extLst>
              <a:ext uri="{FF2B5EF4-FFF2-40B4-BE49-F238E27FC236}">
                <a16:creationId xmlns:a16="http://schemas.microsoft.com/office/drawing/2014/main" id="{6B8A4BE5-16BA-4125-82D8-F2319710579B}"/>
              </a:ext>
            </a:extLst>
          </p:cNvPr>
          <p:cNvSpPr txBox="1"/>
          <p:nvPr/>
        </p:nvSpPr>
        <p:spPr>
          <a:xfrm>
            <a:off x="2591780" y="3927602"/>
            <a:ext cx="1249970" cy="787395"/>
          </a:xfrm>
          <a:prstGeom prst="rect">
            <a:avLst/>
          </a:prstGeom>
          <a:noFill/>
        </p:spPr>
        <p:txBody>
          <a:bodyPr wrap="square" lIns="0" tIns="0" rIns="0" bIns="0" rtlCol="0" anchor="t">
            <a:spAutoFit/>
          </a:bodyPr>
          <a:lstStyle/>
          <a:p>
            <a:pPr algn="ctr">
              <a:lnSpc>
                <a:spcPct val="130000"/>
              </a:lnSpc>
            </a:pPr>
            <a:r>
              <a:rPr lang="en-US" altLang="zh-CN" sz="1000" b="0" dirty="0">
                <a:solidFill>
                  <a:schemeClr val="tx1">
                    <a:lumMod val="75000"/>
                    <a:lumOff val="25000"/>
                  </a:schemeClr>
                </a:solidFill>
                <a:effectLst/>
                <a:latin typeface="+mn-ea"/>
              </a:rPr>
              <a:t>Lorem ipsum dolor sit ametconsectetur adipisicing elit</a:t>
            </a:r>
            <a:r>
              <a:rPr lang="en-US" altLang="zh-CN" sz="1000" dirty="0">
                <a:solidFill>
                  <a:schemeClr val="tx1">
                    <a:lumMod val="75000"/>
                    <a:lumOff val="25000"/>
                  </a:schemeClr>
                </a:solidFill>
                <a:latin typeface="+mn-ea"/>
              </a:rPr>
              <a:t> </a:t>
            </a:r>
            <a:r>
              <a:rPr lang="en-US" altLang="zh-CN" sz="1000" b="0" dirty="0">
                <a:solidFill>
                  <a:schemeClr val="tx1">
                    <a:lumMod val="75000"/>
                    <a:lumOff val="25000"/>
                  </a:schemeClr>
                </a:solidFill>
                <a:effectLst/>
                <a:latin typeface="+mn-ea"/>
              </a:rPr>
              <a:t>sed do eiusmod tempor</a:t>
            </a:r>
            <a:endParaRPr lang="zh-CN" altLang="en-US" sz="1000" b="0" dirty="0">
              <a:solidFill>
                <a:schemeClr val="tx1">
                  <a:lumMod val="75000"/>
                  <a:lumOff val="25000"/>
                </a:schemeClr>
              </a:solidFill>
              <a:effectLst/>
              <a:latin typeface="+mn-ea"/>
            </a:endParaRPr>
          </a:p>
        </p:txBody>
      </p:sp>
      <p:grpSp>
        <p:nvGrpSpPr>
          <p:cNvPr id="54" name="组合 53">
            <a:extLst>
              <a:ext uri="{FF2B5EF4-FFF2-40B4-BE49-F238E27FC236}">
                <a16:creationId xmlns:a16="http://schemas.microsoft.com/office/drawing/2014/main" id="{569D657D-18D0-47A3-A149-92BC107FEBF2}"/>
              </a:ext>
            </a:extLst>
          </p:cNvPr>
          <p:cNvGrpSpPr/>
          <p:nvPr/>
        </p:nvGrpSpPr>
        <p:grpSpPr>
          <a:xfrm>
            <a:off x="5224901" y="2128472"/>
            <a:ext cx="1628410" cy="3264430"/>
            <a:chOff x="2222547" y="2607742"/>
            <a:chExt cx="1150256" cy="2305889"/>
          </a:xfrm>
        </p:grpSpPr>
        <p:sp>
          <p:nvSpPr>
            <p:cNvPr id="59" name="弧形 58">
              <a:extLst>
                <a:ext uri="{FF2B5EF4-FFF2-40B4-BE49-F238E27FC236}">
                  <a16:creationId xmlns:a16="http://schemas.microsoft.com/office/drawing/2014/main" id="{6628AB81-0057-4A8F-88C3-B3AB9891F00B}"/>
                </a:ext>
              </a:extLst>
            </p:cNvPr>
            <p:cNvSpPr/>
            <p:nvPr/>
          </p:nvSpPr>
          <p:spPr>
            <a:xfrm>
              <a:off x="2222547" y="2607742"/>
              <a:ext cx="1150256" cy="1150256"/>
            </a:xfrm>
            <a:prstGeom prst="arc">
              <a:avLst>
                <a:gd name="adj1" fmla="val 12675792"/>
                <a:gd name="adj2" fmla="val 19964337"/>
              </a:avLst>
            </a:prstGeom>
            <a:noFill/>
            <a:ln w="101600" cap="rnd" cmpd="sng" algn="ctr">
              <a:solidFill>
                <a:schemeClr val="accent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60" name="直接连接符 59">
              <a:extLst>
                <a:ext uri="{FF2B5EF4-FFF2-40B4-BE49-F238E27FC236}">
                  <a16:creationId xmlns:a16="http://schemas.microsoft.com/office/drawing/2014/main" id="{A93BB7A7-A03E-4B0B-969D-92275B0632DB}"/>
                </a:ext>
              </a:extLst>
            </p:cNvPr>
            <p:cNvCxnSpPr>
              <a:cxnSpLocks/>
            </p:cNvCxnSpPr>
            <p:nvPr/>
          </p:nvCxnSpPr>
          <p:spPr>
            <a:xfrm>
              <a:off x="2797675" y="2642870"/>
              <a:ext cx="0" cy="0"/>
            </a:xfrm>
            <a:prstGeom prst="line">
              <a:avLst/>
            </a:prstGeom>
            <a:noFill/>
            <a:ln w="177800" cap="flat" cmpd="sng" algn="ctr">
              <a:solidFill>
                <a:schemeClr val="accent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cxnSp>
        <p:sp>
          <p:nvSpPr>
            <p:cNvPr id="61" name="任意多边形: 形状 60">
              <a:extLst>
                <a:ext uri="{FF2B5EF4-FFF2-40B4-BE49-F238E27FC236}">
                  <a16:creationId xmlns:a16="http://schemas.microsoft.com/office/drawing/2014/main" id="{134B90CC-3FFF-40AB-807D-07B9F3477058}"/>
                </a:ext>
              </a:extLst>
            </p:cNvPr>
            <p:cNvSpPr/>
            <p:nvPr/>
          </p:nvSpPr>
          <p:spPr>
            <a:xfrm>
              <a:off x="2257668" y="3182870"/>
              <a:ext cx="1080014" cy="1730761"/>
            </a:xfrm>
            <a:custGeom>
              <a:avLst/>
              <a:gdLst/>
              <a:ahLst/>
              <a:cxnLst/>
              <a:rect l="0" t="0" r="0" b="0"/>
              <a:pathLst>
                <a:path w="1080014" h="1730761">
                  <a:moveTo>
                    <a:pt x="1080000" y="0"/>
                  </a:moveTo>
                  <a:lnTo>
                    <a:pt x="1080000" y="1190760"/>
                  </a:lnTo>
                  <a:cubicBezTo>
                    <a:pt x="1080013" y="1488994"/>
                    <a:pt x="838234" y="1730760"/>
                    <a:pt x="540000" y="1730760"/>
                  </a:cubicBezTo>
                  <a:cubicBezTo>
                    <a:pt x="241779" y="1730760"/>
                    <a:pt x="0" y="1488994"/>
                    <a:pt x="0" y="1190760"/>
                  </a:cubicBezTo>
                  <a:lnTo>
                    <a:pt x="0" y="0"/>
                  </a:lnTo>
                </a:path>
              </a:pathLst>
            </a:custGeom>
            <a:noFill/>
            <a:ln w="171450" cap="rnd" cmpd="sng" algn="ctr">
              <a:solidFill>
                <a:schemeClr val="accent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62" name="矩形: 圆角 61">
              <a:extLst>
                <a:ext uri="{FF2B5EF4-FFF2-40B4-BE49-F238E27FC236}">
                  <a16:creationId xmlns:a16="http://schemas.microsoft.com/office/drawing/2014/main" id="{9C20D93D-093E-4E5D-9A0A-25750D9AA638}"/>
                </a:ext>
              </a:extLst>
            </p:cNvPr>
            <p:cNvSpPr/>
            <p:nvPr/>
          </p:nvSpPr>
          <p:spPr>
            <a:xfrm>
              <a:off x="2257668" y="2642870"/>
              <a:ext cx="1080000" cy="2270760"/>
            </a:xfrm>
            <a:prstGeom prst="roundRect">
              <a:avLst>
                <a:gd name="adj" fmla="val 50000"/>
              </a:avLst>
            </a:prstGeom>
            <a:gradFill>
              <a:gsLst>
                <a:gs pos="0">
                  <a:schemeClr val="bg1"/>
                </a:gs>
                <a:gs pos="100000">
                  <a:schemeClr val="bg1">
                    <a:lumMod val="95000"/>
                  </a:schemeClr>
                </a:gs>
              </a:gsLst>
              <a:lin ang="2700000" scaled="0"/>
            </a:gradFill>
            <a:ln w="25400" cap="flat" cmpd="sng" algn="ctr">
              <a:noFill/>
              <a:prstDash val="solid"/>
              <a:miter lim="800000"/>
            </a:ln>
            <a:effectLst>
              <a:outerShdw blurRad="254000" dist="88900" dir="2700000" algn="tl" rotWithShape="0">
                <a:schemeClr val="accent1">
                  <a:lumMod val="50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55" name="椭圆 54">
            <a:extLst>
              <a:ext uri="{FF2B5EF4-FFF2-40B4-BE49-F238E27FC236}">
                <a16:creationId xmlns:a16="http://schemas.microsoft.com/office/drawing/2014/main" id="{EAF6E19A-5E6C-4E22-8A0E-60FD11F08DE6}"/>
              </a:ext>
            </a:extLst>
          </p:cNvPr>
          <p:cNvSpPr/>
          <p:nvPr/>
        </p:nvSpPr>
        <p:spPr>
          <a:xfrm>
            <a:off x="5581896" y="2462616"/>
            <a:ext cx="914400" cy="914400"/>
          </a:xfrm>
          <a:prstGeom prst="ellipse">
            <a:avLst/>
          </a:prstGeom>
          <a:gradFill>
            <a:gsLst>
              <a:gs pos="0">
                <a:schemeClr val="accent1"/>
              </a:gs>
              <a:gs pos="100000">
                <a:schemeClr val="accent1">
                  <a:lumMod val="75000"/>
                </a:schemeClr>
              </a:gs>
            </a:gsLst>
            <a:lin ang="2700000" scaled="0"/>
          </a:gradFill>
          <a:ln w="25400" cap="flat" cmpd="sng" algn="ctr">
            <a:noFill/>
            <a:prstDash val="solid"/>
            <a:miter lim="800000"/>
          </a:ln>
          <a:effectLst>
            <a:outerShdw blurRad="254000" dist="88900" dir="2700000" algn="tl" rotWithShape="0">
              <a:schemeClr val="accent1">
                <a:lumMod val="50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6" name="文本框 55">
            <a:extLst>
              <a:ext uri="{FF2B5EF4-FFF2-40B4-BE49-F238E27FC236}">
                <a16:creationId xmlns:a16="http://schemas.microsoft.com/office/drawing/2014/main" id="{309E3D81-6EE6-412F-B5F2-F1AFE916D285}"/>
              </a:ext>
            </a:extLst>
          </p:cNvPr>
          <p:cNvSpPr txBox="1"/>
          <p:nvPr/>
        </p:nvSpPr>
        <p:spPr>
          <a:xfrm>
            <a:off x="5462015" y="3580077"/>
            <a:ext cx="1154162" cy="276999"/>
          </a:xfrm>
          <a:prstGeom prst="rect">
            <a:avLst/>
          </a:prstGeom>
          <a:noFill/>
        </p:spPr>
        <p:txBody>
          <a:bodyPr wrap="none" lIns="0" tIns="0" rIns="0" bIns="0" rtlCol="0" anchor="t">
            <a:spAutoFit/>
          </a:bodyPr>
          <a:lstStyle/>
          <a:p>
            <a:pPr algn="l"/>
            <a:r>
              <a:rPr lang="zh-CN" altLang="en-US" dirty="0">
                <a:solidFill>
                  <a:schemeClr val="accent1"/>
                </a:solidFill>
                <a:latin typeface="+mj-ea"/>
                <a:ea typeface="+mj-ea"/>
              </a:rPr>
              <a:t>关键词标题</a:t>
            </a:r>
          </a:p>
        </p:txBody>
      </p:sp>
      <p:sp>
        <p:nvSpPr>
          <p:cNvPr id="57" name="iconfont-1179-866479">
            <a:extLst>
              <a:ext uri="{FF2B5EF4-FFF2-40B4-BE49-F238E27FC236}">
                <a16:creationId xmlns:a16="http://schemas.microsoft.com/office/drawing/2014/main" id="{2D8CF36B-D881-427A-8132-74955AAD37B0}"/>
              </a:ext>
            </a:extLst>
          </p:cNvPr>
          <p:cNvSpPr/>
          <p:nvPr/>
        </p:nvSpPr>
        <p:spPr>
          <a:xfrm>
            <a:off x="5855662" y="2667001"/>
            <a:ext cx="376084" cy="445426"/>
          </a:xfrm>
          <a:custGeom>
            <a:avLst/>
            <a:gdLst>
              <a:gd name="T0" fmla="*/ 6573 w 9390"/>
              <a:gd name="T1" fmla="*/ 3437 h 11120"/>
              <a:gd name="T2" fmla="*/ 7967 w 9390"/>
              <a:gd name="T3" fmla="*/ 1730 h 11120"/>
              <a:gd name="T4" fmla="*/ 5311 w 9390"/>
              <a:gd name="T5" fmla="*/ 1140 h 11120"/>
              <a:gd name="T6" fmla="*/ 3129 w 9390"/>
              <a:gd name="T7" fmla="*/ 876 h 11120"/>
              <a:gd name="T8" fmla="*/ 2455 w 9390"/>
              <a:gd name="T9" fmla="*/ 3147 h 11120"/>
              <a:gd name="T10" fmla="*/ 7438 w 9390"/>
              <a:gd name="T11" fmla="*/ 4336 h 11120"/>
              <a:gd name="T12" fmla="*/ 2969 w 9390"/>
              <a:gd name="T13" fmla="*/ 4006 h 11120"/>
              <a:gd name="T14" fmla="*/ 0 w 9390"/>
              <a:gd name="T15" fmla="*/ 8570 h 11120"/>
              <a:gd name="T16" fmla="*/ 6860 w 9390"/>
              <a:gd name="T17" fmla="*/ 11120 h 11120"/>
              <a:gd name="T18" fmla="*/ 7438 w 9390"/>
              <a:gd name="T19" fmla="*/ 4336 h 11120"/>
              <a:gd name="T20" fmla="*/ 5549 w 9390"/>
              <a:gd name="T21" fmla="*/ 7248 h 11120"/>
              <a:gd name="T22" fmla="*/ 5919 w 9390"/>
              <a:gd name="T23" fmla="*/ 7515 h 11120"/>
              <a:gd name="T24" fmla="*/ 6098 w 9390"/>
              <a:gd name="T25" fmla="*/ 7695 h 11120"/>
              <a:gd name="T26" fmla="*/ 5384 w 9390"/>
              <a:gd name="T27" fmla="*/ 7874 h 11120"/>
              <a:gd name="T28" fmla="*/ 5195 w 9390"/>
              <a:gd name="T29" fmla="*/ 8151 h 11120"/>
              <a:gd name="T30" fmla="*/ 5919 w 9390"/>
              <a:gd name="T31" fmla="*/ 8331 h 11120"/>
              <a:gd name="T32" fmla="*/ 5919 w 9390"/>
              <a:gd name="T33" fmla="*/ 8690 h 11120"/>
              <a:gd name="T34" fmla="*/ 5195 w 9390"/>
              <a:gd name="T35" fmla="*/ 8870 h 11120"/>
              <a:gd name="T36" fmla="*/ 5015 w 9390"/>
              <a:gd name="T37" fmla="*/ 9507 h 11120"/>
              <a:gd name="T38" fmla="*/ 4510 w 9390"/>
              <a:gd name="T39" fmla="*/ 9327 h 11120"/>
              <a:gd name="T40" fmla="*/ 4330 w 9390"/>
              <a:gd name="T41" fmla="*/ 8690 h 11120"/>
              <a:gd name="T42" fmla="*/ 3612 w 9390"/>
              <a:gd name="T43" fmla="*/ 8510 h 11120"/>
              <a:gd name="T44" fmla="*/ 4329 w 9390"/>
              <a:gd name="T45" fmla="*/ 8331 h 11120"/>
              <a:gd name="T46" fmla="*/ 4511 w 9390"/>
              <a:gd name="T47" fmla="*/ 8063 h 11120"/>
              <a:gd name="T48" fmla="*/ 3792 w 9390"/>
              <a:gd name="T49" fmla="*/ 7873 h 11120"/>
              <a:gd name="T50" fmla="*/ 3612 w 9390"/>
              <a:gd name="T51" fmla="*/ 7694 h 11120"/>
              <a:gd name="T52" fmla="*/ 3999 w 9390"/>
              <a:gd name="T53" fmla="*/ 7514 h 11120"/>
              <a:gd name="T54" fmla="*/ 3406 w 9390"/>
              <a:gd name="T55" fmla="*/ 5887 h 11120"/>
              <a:gd name="T56" fmla="*/ 3920 w 9390"/>
              <a:gd name="T57" fmla="*/ 5620 h 11120"/>
              <a:gd name="T58" fmla="*/ 4691 w 9390"/>
              <a:gd name="T59" fmla="*/ 6937 h 11120"/>
              <a:gd name="T60" fmla="*/ 5623 w 9390"/>
              <a:gd name="T61" fmla="*/ 5719 h 11120"/>
              <a:gd name="T62" fmla="*/ 6140 w 9390"/>
              <a:gd name="T63" fmla="*/ 5620 h 1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390" h="11120">
                <a:moveTo>
                  <a:pt x="3078" y="3437"/>
                </a:moveTo>
                <a:lnTo>
                  <a:pt x="6573" y="3437"/>
                </a:lnTo>
                <a:cubicBezTo>
                  <a:pt x="6809" y="3437"/>
                  <a:pt x="7036" y="3338"/>
                  <a:pt x="7187" y="3157"/>
                </a:cubicBezTo>
                <a:cubicBezTo>
                  <a:pt x="7548" y="2728"/>
                  <a:pt x="7890" y="2202"/>
                  <a:pt x="7967" y="1730"/>
                </a:cubicBezTo>
                <a:cubicBezTo>
                  <a:pt x="8121" y="786"/>
                  <a:pt x="7717" y="307"/>
                  <a:pt x="6544" y="307"/>
                </a:cubicBezTo>
                <a:cubicBezTo>
                  <a:pt x="5370" y="307"/>
                  <a:pt x="5767" y="1077"/>
                  <a:pt x="5311" y="1140"/>
                </a:cubicBezTo>
                <a:cubicBezTo>
                  <a:pt x="4971" y="1187"/>
                  <a:pt x="4983" y="739"/>
                  <a:pt x="4449" y="308"/>
                </a:cubicBezTo>
                <a:cubicBezTo>
                  <a:pt x="4066" y="0"/>
                  <a:pt x="3636" y="871"/>
                  <a:pt x="3129" y="876"/>
                </a:cubicBezTo>
                <a:cubicBezTo>
                  <a:pt x="2538" y="884"/>
                  <a:pt x="1707" y="720"/>
                  <a:pt x="1707" y="1730"/>
                </a:cubicBezTo>
                <a:cubicBezTo>
                  <a:pt x="1707" y="2138"/>
                  <a:pt x="2065" y="2690"/>
                  <a:pt x="2455" y="3147"/>
                </a:cubicBezTo>
                <a:cubicBezTo>
                  <a:pt x="2612" y="3330"/>
                  <a:pt x="2838" y="3437"/>
                  <a:pt x="3078" y="3437"/>
                </a:cubicBezTo>
                <a:close/>
                <a:moveTo>
                  <a:pt x="7438" y="4336"/>
                </a:moveTo>
                <a:cubicBezTo>
                  <a:pt x="7252" y="4125"/>
                  <a:pt x="6981" y="4006"/>
                  <a:pt x="6699" y="4006"/>
                </a:cubicBezTo>
                <a:lnTo>
                  <a:pt x="2969" y="4006"/>
                </a:lnTo>
                <a:cubicBezTo>
                  <a:pt x="2700" y="4006"/>
                  <a:pt x="2440" y="4115"/>
                  <a:pt x="2253" y="4310"/>
                </a:cubicBezTo>
                <a:cubicBezTo>
                  <a:pt x="1081" y="5538"/>
                  <a:pt x="0" y="7291"/>
                  <a:pt x="0" y="8570"/>
                </a:cubicBezTo>
                <a:cubicBezTo>
                  <a:pt x="0" y="9697"/>
                  <a:pt x="1133" y="11120"/>
                  <a:pt x="2530" y="11120"/>
                </a:cubicBezTo>
                <a:lnTo>
                  <a:pt x="6860" y="11120"/>
                </a:lnTo>
                <a:cubicBezTo>
                  <a:pt x="8257" y="11120"/>
                  <a:pt x="9390" y="9709"/>
                  <a:pt x="9390" y="8570"/>
                </a:cubicBezTo>
                <a:cubicBezTo>
                  <a:pt x="9390" y="7268"/>
                  <a:pt x="8520" y="5564"/>
                  <a:pt x="7438" y="4336"/>
                </a:cubicBezTo>
                <a:close/>
                <a:moveTo>
                  <a:pt x="6299" y="5888"/>
                </a:moveTo>
                <a:lnTo>
                  <a:pt x="5549" y="7248"/>
                </a:lnTo>
                <a:cubicBezTo>
                  <a:pt x="5483" y="7368"/>
                  <a:pt x="5570" y="7515"/>
                  <a:pt x="5706" y="7515"/>
                </a:cubicBezTo>
                <a:lnTo>
                  <a:pt x="5919" y="7515"/>
                </a:lnTo>
                <a:cubicBezTo>
                  <a:pt x="6017" y="7515"/>
                  <a:pt x="6098" y="7595"/>
                  <a:pt x="6098" y="7695"/>
                </a:cubicBezTo>
                <a:lnTo>
                  <a:pt x="6098" y="7695"/>
                </a:lnTo>
                <a:cubicBezTo>
                  <a:pt x="6098" y="7793"/>
                  <a:pt x="6018" y="7874"/>
                  <a:pt x="5919" y="7874"/>
                </a:cubicBezTo>
                <a:lnTo>
                  <a:pt x="5384" y="7874"/>
                </a:lnTo>
                <a:cubicBezTo>
                  <a:pt x="5279" y="7874"/>
                  <a:pt x="5196" y="7958"/>
                  <a:pt x="5195" y="8062"/>
                </a:cubicBezTo>
                <a:lnTo>
                  <a:pt x="5195" y="8151"/>
                </a:lnTo>
                <a:cubicBezTo>
                  <a:pt x="5195" y="8249"/>
                  <a:pt x="5275" y="8331"/>
                  <a:pt x="5375" y="8331"/>
                </a:cubicBezTo>
                <a:lnTo>
                  <a:pt x="5919" y="8331"/>
                </a:lnTo>
                <a:cubicBezTo>
                  <a:pt x="6017" y="8331"/>
                  <a:pt x="6098" y="8411"/>
                  <a:pt x="6098" y="8510"/>
                </a:cubicBezTo>
                <a:cubicBezTo>
                  <a:pt x="6098" y="8610"/>
                  <a:pt x="6018" y="8690"/>
                  <a:pt x="5919" y="8690"/>
                </a:cubicBezTo>
                <a:lnTo>
                  <a:pt x="5375" y="8690"/>
                </a:lnTo>
                <a:cubicBezTo>
                  <a:pt x="5276" y="8690"/>
                  <a:pt x="5195" y="8770"/>
                  <a:pt x="5195" y="8870"/>
                </a:cubicBezTo>
                <a:lnTo>
                  <a:pt x="5195" y="9327"/>
                </a:lnTo>
                <a:cubicBezTo>
                  <a:pt x="5195" y="9426"/>
                  <a:pt x="5115" y="9507"/>
                  <a:pt x="5015" y="9507"/>
                </a:cubicBezTo>
                <a:lnTo>
                  <a:pt x="4690" y="9507"/>
                </a:lnTo>
                <a:cubicBezTo>
                  <a:pt x="4591" y="9507"/>
                  <a:pt x="4510" y="9427"/>
                  <a:pt x="4510" y="9327"/>
                </a:cubicBezTo>
                <a:lnTo>
                  <a:pt x="4510" y="8870"/>
                </a:lnTo>
                <a:cubicBezTo>
                  <a:pt x="4510" y="8771"/>
                  <a:pt x="4430" y="8690"/>
                  <a:pt x="4330" y="8690"/>
                </a:cubicBezTo>
                <a:lnTo>
                  <a:pt x="3792" y="8690"/>
                </a:lnTo>
                <a:cubicBezTo>
                  <a:pt x="3693" y="8690"/>
                  <a:pt x="3612" y="8610"/>
                  <a:pt x="3612" y="8510"/>
                </a:cubicBezTo>
                <a:cubicBezTo>
                  <a:pt x="3612" y="8411"/>
                  <a:pt x="3692" y="8331"/>
                  <a:pt x="3792" y="8331"/>
                </a:cubicBezTo>
                <a:lnTo>
                  <a:pt x="4329" y="8331"/>
                </a:lnTo>
                <a:cubicBezTo>
                  <a:pt x="4429" y="8331"/>
                  <a:pt x="4509" y="8251"/>
                  <a:pt x="4510" y="8151"/>
                </a:cubicBezTo>
                <a:lnTo>
                  <a:pt x="4511" y="8063"/>
                </a:lnTo>
                <a:cubicBezTo>
                  <a:pt x="4512" y="7959"/>
                  <a:pt x="4427" y="7873"/>
                  <a:pt x="4322" y="7873"/>
                </a:cubicBezTo>
                <a:lnTo>
                  <a:pt x="3792" y="7873"/>
                </a:lnTo>
                <a:cubicBezTo>
                  <a:pt x="3693" y="7873"/>
                  <a:pt x="3612" y="7793"/>
                  <a:pt x="3612" y="7694"/>
                </a:cubicBezTo>
                <a:lnTo>
                  <a:pt x="3612" y="7694"/>
                </a:lnTo>
                <a:cubicBezTo>
                  <a:pt x="3612" y="7595"/>
                  <a:pt x="3692" y="7514"/>
                  <a:pt x="3792" y="7514"/>
                </a:cubicBezTo>
                <a:lnTo>
                  <a:pt x="3999" y="7514"/>
                </a:lnTo>
                <a:cubicBezTo>
                  <a:pt x="4136" y="7514"/>
                  <a:pt x="4221" y="7367"/>
                  <a:pt x="4156" y="7247"/>
                </a:cubicBezTo>
                <a:lnTo>
                  <a:pt x="3406" y="5887"/>
                </a:lnTo>
                <a:cubicBezTo>
                  <a:pt x="3340" y="5767"/>
                  <a:pt x="3426" y="5620"/>
                  <a:pt x="3562" y="5620"/>
                </a:cubicBezTo>
                <a:lnTo>
                  <a:pt x="3920" y="5620"/>
                </a:lnTo>
                <a:cubicBezTo>
                  <a:pt x="3988" y="5620"/>
                  <a:pt x="4050" y="5659"/>
                  <a:pt x="4080" y="5719"/>
                </a:cubicBezTo>
                <a:lnTo>
                  <a:pt x="4691" y="6937"/>
                </a:lnTo>
                <a:cubicBezTo>
                  <a:pt x="4756" y="7069"/>
                  <a:pt x="4945" y="7069"/>
                  <a:pt x="5012" y="6937"/>
                </a:cubicBezTo>
                <a:lnTo>
                  <a:pt x="5623" y="5719"/>
                </a:lnTo>
                <a:cubicBezTo>
                  <a:pt x="5653" y="5659"/>
                  <a:pt x="5715" y="5620"/>
                  <a:pt x="5783" y="5620"/>
                </a:cubicBezTo>
                <a:lnTo>
                  <a:pt x="6140" y="5620"/>
                </a:lnTo>
                <a:cubicBezTo>
                  <a:pt x="6278" y="5622"/>
                  <a:pt x="6365" y="5768"/>
                  <a:pt x="6299" y="588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8" name="文本框 57">
            <a:extLst>
              <a:ext uri="{FF2B5EF4-FFF2-40B4-BE49-F238E27FC236}">
                <a16:creationId xmlns:a16="http://schemas.microsoft.com/office/drawing/2014/main" id="{12252A15-48DB-4695-9EF0-3A6AA1643794}"/>
              </a:ext>
            </a:extLst>
          </p:cNvPr>
          <p:cNvSpPr txBox="1"/>
          <p:nvPr/>
        </p:nvSpPr>
        <p:spPr>
          <a:xfrm>
            <a:off x="5414111" y="3927602"/>
            <a:ext cx="1249970" cy="787395"/>
          </a:xfrm>
          <a:prstGeom prst="rect">
            <a:avLst/>
          </a:prstGeom>
          <a:noFill/>
        </p:spPr>
        <p:txBody>
          <a:bodyPr wrap="square" lIns="0" tIns="0" rIns="0" bIns="0" rtlCol="0" anchor="t">
            <a:spAutoFit/>
          </a:bodyPr>
          <a:lstStyle/>
          <a:p>
            <a:pPr algn="ctr">
              <a:lnSpc>
                <a:spcPct val="130000"/>
              </a:lnSpc>
            </a:pPr>
            <a:r>
              <a:rPr lang="en-US" altLang="zh-CN" sz="1000" b="0" dirty="0">
                <a:solidFill>
                  <a:schemeClr val="tx1">
                    <a:lumMod val="75000"/>
                    <a:lumOff val="25000"/>
                  </a:schemeClr>
                </a:solidFill>
                <a:effectLst/>
                <a:latin typeface="+mn-ea"/>
              </a:rPr>
              <a:t>Lorem ipsum dolor sit ametconsectetur adipisicing elit</a:t>
            </a:r>
            <a:r>
              <a:rPr lang="en-US" altLang="zh-CN" sz="1000" dirty="0">
                <a:solidFill>
                  <a:schemeClr val="tx1">
                    <a:lumMod val="75000"/>
                    <a:lumOff val="25000"/>
                  </a:schemeClr>
                </a:solidFill>
                <a:latin typeface="+mn-ea"/>
              </a:rPr>
              <a:t> </a:t>
            </a:r>
            <a:r>
              <a:rPr lang="en-US" altLang="zh-CN" sz="1000" b="0" dirty="0">
                <a:solidFill>
                  <a:schemeClr val="tx1">
                    <a:lumMod val="75000"/>
                    <a:lumOff val="25000"/>
                  </a:schemeClr>
                </a:solidFill>
                <a:effectLst/>
                <a:latin typeface="+mn-ea"/>
              </a:rPr>
              <a:t>sed do eiusmod tempor</a:t>
            </a:r>
            <a:endParaRPr lang="zh-CN" altLang="en-US" sz="1000" b="0" dirty="0">
              <a:solidFill>
                <a:schemeClr val="tx1">
                  <a:lumMod val="75000"/>
                  <a:lumOff val="25000"/>
                </a:schemeClr>
              </a:solidFill>
              <a:effectLst/>
              <a:latin typeface="+mn-ea"/>
            </a:endParaRPr>
          </a:p>
        </p:txBody>
      </p:sp>
      <p:grpSp>
        <p:nvGrpSpPr>
          <p:cNvPr id="64" name="组合 63">
            <a:extLst>
              <a:ext uri="{FF2B5EF4-FFF2-40B4-BE49-F238E27FC236}">
                <a16:creationId xmlns:a16="http://schemas.microsoft.com/office/drawing/2014/main" id="{2286B80A-56AC-4E16-80A5-5CD5203BDDC4}"/>
              </a:ext>
            </a:extLst>
          </p:cNvPr>
          <p:cNvGrpSpPr/>
          <p:nvPr/>
        </p:nvGrpSpPr>
        <p:grpSpPr>
          <a:xfrm>
            <a:off x="8047232" y="2128472"/>
            <a:ext cx="1628410" cy="3264430"/>
            <a:chOff x="2222547" y="2607742"/>
            <a:chExt cx="1150256" cy="2305889"/>
          </a:xfrm>
        </p:grpSpPr>
        <p:sp>
          <p:nvSpPr>
            <p:cNvPr id="69" name="弧形 68">
              <a:extLst>
                <a:ext uri="{FF2B5EF4-FFF2-40B4-BE49-F238E27FC236}">
                  <a16:creationId xmlns:a16="http://schemas.microsoft.com/office/drawing/2014/main" id="{9FCE62A2-950E-43A7-95C2-4D32A62C3FA8}"/>
                </a:ext>
              </a:extLst>
            </p:cNvPr>
            <p:cNvSpPr/>
            <p:nvPr/>
          </p:nvSpPr>
          <p:spPr>
            <a:xfrm>
              <a:off x="2222547" y="2607742"/>
              <a:ext cx="1150256" cy="1150256"/>
            </a:xfrm>
            <a:prstGeom prst="arc">
              <a:avLst>
                <a:gd name="adj1" fmla="val 12675792"/>
                <a:gd name="adj2" fmla="val 19964337"/>
              </a:avLst>
            </a:prstGeom>
            <a:noFill/>
            <a:ln w="101600" cap="rnd" cmpd="sng" algn="ctr">
              <a:solidFill>
                <a:schemeClr val="accent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70" name="直接连接符 69">
              <a:extLst>
                <a:ext uri="{FF2B5EF4-FFF2-40B4-BE49-F238E27FC236}">
                  <a16:creationId xmlns:a16="http://schemas.microsoft.com/office/drawing/2014/main" id="{D42115AB-FBC7-41F7-A52D-4BAAC3870506}"/>
                </a:ext>
              </a:extLst>
            </p:cNvPr>
            <p:cNvCxnSpPr>
              <a:cxnSpLocks/>
            </p:cNvCxnSpPr>
            <p:nvPr/>
          </p:nvCxnSpPr>
          <p:spPr>
            <a:xfrm>
              <a:off x="2797675" y="2642870"/>
              <a:ext cx="0" cy="0"/>
            </a:xfrm>
            <a:prstGeom prst="line">
              <a:avLst/>
            </a:prstGeom>
            <a:noFill/>
            <a:ln w="177800" cap="flat" cmpd="sng" algn="ctr">
              <a:solidFill>
                <a:schemeClr val="accent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cxnSp>
        <p:sp>
          <p:nvSpPr>
            <p:cNvPr id="71" name="任意多边形: 形状 70">
              <a:extLst>
                <a:ext uri="{FF2B5EF4-FFF2-40B4-BE49-F238E27FC236}">
                  <a16:creationId xmlns:a16="http://schemas.microsoft.com/office/drawing/2014/main" id="{9F2EEF27-9BEF-4991-9048-1CBC428DA6BE}"/>
                </a:ext>
              </a:extLst>
            </p:cNvPr>
            <p:cNvSpPr/>
            <p:nvPr/>
          </p:nvSpPr>
          <p:spPr>
            <a:xfrm>
              <a:off x="2257668" y="3182870"/>
              <a:ext cx="1080014" cy="1730761"/>
            </a:xfrm>
            <a:custGeom>
              <a:avLst/>
              <a:gdLst/>
              <a:ahLst/>
              <a:cxnLst/>
              <a:rect l="0" t="0" r="0" b="0"/>
              <a:pathLst>
                <a:path w="1080014" h="1730761">
                  <a:moveTo>
                    <a:pt x="1080000" y="0"/>
                  </a:moveTo>
                  <a:lnTo>
                    <a:pt x="1080000" y="1190760"/>
                  </a:lnTo>
                  <a:cubicBezTo>
                    <a:pt x="1080013" y="1488994"/>
                    <a:pt x="838234" y="1730760"/>
                    <a:pt x="540000" y="1730760"/>
                  </a:cubicBezTo>
                  <a:cubicBezTo>
                    <a:pt x="241779" y="1730760"/>
                    <a:pt x="0" y="1488994"/>
                    <a:pt x="0" y="1190760"/>
                  </a:cubicBezTo>
                  <a:lnTo>
                    <a:pt x="0" y="0"/>
                  </a:lnTo>
                </a:path>
              </a:pathLst>
            </a:custGeom>
            <a:noFill/>
            <a:ln w="171450" cap="rnd" cmpd="sng" algn="ctr">
              <a:solidFill>
                <a:schemeClr val="accent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72" name="矩形: 圆角 71">
              <a:extLst>
                <a:ext uri="{FF2B5EF4-FFF2-40B4-BE49-F238E27FC236}">
                  <a16:creationId xmlns:a16="http://schemas.microsoft.com/office/drawing/2014/main" id="{9149463B-6E2E-4AB1-9BEA-CDBA7A6847B8}"/>
                </a:ext>
              </a:extLst>
            </p:cNvPr>
            <p:cNvSpPr/>
            <p:nvPr/>
          </p:nvSpPr>
          <p:spPr>
            <a:xfrm>
              <a:off x="2257668" y="2642870"/>
              <a:ext cx="1080000" cy="2270760"/>
            </a:xfrm>
            <a:prstGeom prst="roundRect">
              <a:avLst>
                <a:gd name="adj" fmla="val 50000"/>
              </a:avLst>
            </a:prstGeom>
            <a:gradFill>
              <a:gsLst>
                <a:gs pos="0">
                  <a:schemeClr val="bg1"/>
                </a:gs>
                <a:gs pos="100000">
                  <a:schemeClr val="bg1">
                    <a:lumMod val="95000"/>
                  </a:schemeClr>
                </a:gs>
              </a:gsLst>
              <a:lin ang="2700000" scaled="0"/>
            </a:gradFill>
            <a:ln w="25400" cap="flat" cmpd="sng" algn="ctr">
              <a:noFill/>
              <a:prstDash val="solid"/>
              <a:miter lim="800000"/>
            </a:ln>
            <a:effectLst>
              <a:outerShdw blurRad="254000" dist="88900" dir="2700000" algn="tl" rotWithShape="0">
                <a:schemeClr val="accent1">
                  <a:lumMod val="50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65" name="椭圆 64">
            <a:extLst>
              <a:ext uri="{FF2B5EF4-FFF2-40B4-BE49-F238E27FC236}">
                <a16:creationId xmlns:a16="http://schemas.microsoft.com/office/drawing/2014/main" id="{6F32004B-1A14-4370-A6D5-6E8664087927}"/>
              </a:ext>
            </a:extLst>
          </p:cNvPr>
          <p:cNvSpPr/>
          <p:nvPr/>
        </p:nvSpPr>
        <p:spPr>
          <a:xfrm>
            <a:off x="8404227" y="2462616"/>
            <a:ext cx="914400" cy="914400"/>
          </a:xfrm>
          <a:prstGeom prst="ellipse">
            <a:avLst/>
          </a:prstGeom>
          <a:gradFill>
            <a:gsLst>
              <a:gs pos="0">
                <a:schemeClr val="accent1"/>
              </a:gs>
              <a:gs pos="100000">
                <a:schemeClr val="accent1">
                  <a:lumMod val="75000"/>
                </a:schemeClr>
              </a:gs>
            </a:gsLst>
            <a:lin ang="2700000" scaled="0"/>
          </a:gradFill>
          <a:ln w="25400" cap="flat" cmpd="sng" algn="ctr">
            <a:noFill/>
            <a:prstDash val="solid"/>
            <a:miter lim="800000"/>
          </a:ln>
          <a:effectLst>
            <a:outerShdw blurRad="254000" dist="88900" dir="2700000" algn="tl" rotWithShape="0">
              <a:schemeClr val="accent1">
                <a:lumMod val="50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6" name="文本框 65">
            <a:extLst>
              <a:ext uri="{FF2B5EF4-FFF2-40B4-BE49-F238E27FC236}">
                <a16:creationId xmlns:a16="http://schemas.microsoft.com/office/drawing/2014/main" id="{C89A8F32-950A-44CD-BCAC-7AA4D6CCB8A9}"/>
              </a:ext>
            </a:extLst>
          </p:cNvPr>
          <p:cNvSpPr txBox="1"/>
          <p:nvPr/>
        </p:nvSpPr>
        <p:spPr>
          <a:xfrm>
            <a:off x="8284346" y="3580077"/>
            <a:ext cx="1154162" cy="276999"/>
          </a:xfrm>
          <a:prstGeom prst="rect">
            <a:avLst/>
          </a:prstGeom>
          <a:noFill/>
        </p:spPr>
        <p:txBody>
          <a:bodyPr wrap="none" lIns="0" tIns="0" rIns="0" bIns="0" rtlCol="0" anchor="t">
            <a:spAutoFit/>
          </a:bodyPr>
          <a:lstStyle/>
          <a:p>
            <a:pPr algn="l"/>
            <a:r>
              <a:rPr lang="zh-CN" altLang="en-US" dirty="0">
                <a:solidFill>
                  <a:schemeClr val="accent1"/>
                </a:solidFill>
                <a:latin typeface="+mj-ea"/>
                <a:ea typeface="+mj-ea"/>
              </a:rPr>
              <a:t>关键词标题</a:t>
            </a:r>
          </a:p>
        </p:txBody>
      </p:sp>
      <p:sp>
        <p:nvSpPr>
          <p:cNvPr id="67" name="iconfont-1179-866479">
            <a:extLst>
              <a:ext uri="{FF2B5EF4-FFF2-40B4-BE49-F238E27FC236}">
                <a16:creationId xmlns:a16="http://schemas.microsoft.com/office/drawing/2014/main" id="{792AC752-5C16-4964-B3E2-28FA26DB39B2}"/>
              </a:ext>
            </a:extLst>
          </p:cNvPr>
          <p:cNvSpPr/>
          <p:nvPr/>
        </p:nvSpPr>
        <p:spPr>
          <a:xfrm>
            <a:off x="8677993" y="2667001"/>
            <a:ext cx="376084" cy="445426"/>
          </a:xfrm>
          <a:custGeom>
            <a:avLst/>
            <a:gdLst>
              <a:gd name="T0" fmla="*/ 6573 w 9390"/>
              <a:gd name="T1" fmla="*/ 3437 h 11120"/>
              <a:gd name="T2" fmla="*/ 7967 w 9390"/>
              <a:gd name="T3" fmla="*/ 1730 h 11120"/>
              <a:gd name="T4" fmla="*/ 5311 w 9390"/>
              <a:gd name="T5" fmla="*/ 1140 h 11120"/>
              <a:gd name="T6" fmla="*/ 3129 w 9390"/>
              <a:gd name="T7" fmla="*/ 876 h 11120"/>
              <a:gd name="T8" fmla="*/ 2455 w 9390"/>
              <a:gd name="T9" fmla="*/ 3147 h 11120"/>
              <a:gd name="T10" fmla="*/ 7438 w 9390"/>
              <a:gd name="T11" fmla="*/ 4336 h 11120"/>
              <a:gd name="T12" fmla="*/ 2969 w 9390"/>
              <a:gd name="T13" fmla="*/ 4006 h 11120"/>
              <a:gd name="T14" fmla="*/ 0 w 9390"/>
              <a:gd name="T15" fmla="*/ 8570 h 11120"/>
              <a:gd name="T16" fmla="*/ 6860 w 9390"/>
              <a:gd name="T17" fmla="*/ 11120 h 11120"/>
              <a:gd name="T18" fmla="*/ 7438 w 9390"/>
              <a:gd name="T19" fmla="*/ 4336 h 11120"/>
              <a:gd name="T20" fmla="*/ 5549 w 9390"/>
              <a:gd name="T21" fmla="*/ 7248 h 11120"/>
              <a:gd name="T22" fmla="*/ 5919 w 9390"/>
              <a:gd name="T23" fmla="*/ 7515 h 11120"/>
              <a:gd name="T24" fmla="*/ 6098 w 9390"/>
              <a:gd name="T25" fmla="*/ 7695 h 11120"/>
              <a:gd name="T26" fmla="*/ 5384 w 9390"/>
              <a:gd name="T27" fmla="*/ 7874 h 11120"/>
              <a:gd name="T28" fmla="*/ 5195 w 9390"/>
              <a:gd name="T29" fmla="*/ 8151 h 11120"/>
              <a:gd name="T30" fmla="*/ 5919 w 9390"/>
              <a:gd name="T31" fmla="*/ 8331 h 11120"/>
              <a:gd name="T32" fmla="*/ 5919 w 9390"/>
              <a:gd name="T33" fmla="*/ 8690 h 11120"/>
              <a:gd name="T34" fmla="*/ 5195 w 9390"/>
              <a:gd name="T35" fmla="*/ 8870 h 11120"/>
              <a:gd name="T36" fmla="*/ 5015 w 9390"/>
              <a:gd name="T37" fmla="*/ 9507 h 11120"/>
              <a:gd name="T38" fmla="*/ 4510 w 9390"/>
              <a:gd name="T39" fmla="*/ 9327 h 11120"/>
              <a:gd name="T40" fmla="*/ 4330 w 9390"/>
              <a:gd name="T41" fmla="*/ 8690 h 11120"/>
              <a:gd name="T42" fmla="*/ 3612 w 9390"/>
              <a:gd name="T43" fmla="*/ 8510 h 11120"/>
              <a:gd name="T44" fmla="*/ 4329 w 9390"/>
              <a:gd name="T45" fmla="*/ 8331 h 11120"/>
              <a:gd name="T46" fmla="*/ 4511 w 9390"/>
              <a:gd name="T47" fmla="*/ 8063 h 11120"/>
              <a:gd name="T48" fmla="*/ 3792 w 9390"/>
              <a:gd name="T49" fmla="*/ 7873 h 11120"/>
              <a:gd name="T50" fmla="*/ 3612 w 9390"/>
              <a:gd name="T51" fmla="*/ 7694 h 11120"/>
              <a:gd name="T52" fmla="*/ 3999 w 9390"/>
              <a:gd name="T53" fmla="*/ 7514 h 11120"/>
              <a:gd name="T54" fmla="*/ 3406 w 9390"/>
              <a:gd name="T55" fmla="*/ 5887 h 11120"/>
              <a:gd name="T56" fmla="*/ 3920 w 9390"/>
              <a:gd name="T57" fmla="*/ 5620 h 11120"/>
              <a:gd name="T58" fmla="*/ 4691 w 9390"/>
              <a:gd name="T59" fmla="*/ 6937 h 11120"/>
              <a:gd name="T60" fmla="*/ 5623 w 9390"/>
              <a:gd name="T61" fmla="*/ 5719 h 11120"/>
              <a:gd name="T62" fmla="*/ 6140 w 9390"/>
              <a:gd name="T63" fmla="*/ 5620 h 1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390" h="11120">
                <a:moveTo>
                  <a:pt x="3078" y="3437"/>
                </a:moveTo>
                <a:lnTo>
                  <a:pt x="6573" y="3437"/>
                </a:lnTo>
                <a:cubicBezTo>
                  <a:pt x="6809" y="3437"/>
                  <a:pt x="7036" y="3338"/>
                  <a:pt x="7187" y="3157"/>
                </a:cubicBezTo>
                <a:cubicBezTo>
                  <a:pt x="7548" y="2728"/>
                  <a:pt x="7890" y="2202"/>
                  <a:pt x="7967" y="1730"/>
                </a:cubicBezTo>
                <a:cubicBezTo>
                  <a:pt x="8121" y="786"/>
                  <a:pt x="7717" y="307"/>
                  <a:pt x="6544" y="307"/>
                </a:cubicBezTo>
                <a:cubicBezTo>
                  <a:pt x="5370" y="307"/>
                  <a:pt x="5767" y="1077"/>
                  <a:pt x="5311" y="1140"/>
                </a:cubicBezTo>
                <a:cubicBezTo>
                  <a:pt x="4971" y="1187"/>
                  <a:pt x="4983" y="739"/>
                  <a:pt x="4449" y="308"/>
                </a:cubicBezTo>
                <a:cubicBezTo>
                  <a:pt x="4066" y="0"/>
                  <a:pt x="3636" y="871"/>
                  <a:pt x="3129" y="876"/>
                </a:cubicBezTo>
                <a:cubicBezTo>
                  <a:pt x="2538" y="884"/>
                  <a:pt x="1707" y="720"/>
                  <a:pt x="1707" y="1730"/>
                </a:cubicBezTo>
                <a:cubicBezTo>
                  <a:pt x="1707" y="2138"/>
                  <a:pt x="2065" y="2690"/>
                  <a:pt x="2455" y="3147"/>
                </a:cubicBezTo>
                <a:cubicBezTo>
                  <a:pt x="2612" y="3330"/>
                  <a:pt x="2838" y="3437"/>
                  <a:pt x="3078" y="3437"/>
                </a:cubicBezTo>
                <a:close/>
                <a:moveTo>
                  <a:pt x="7438" y="4336"/>
                </a:moveTo>
                <a:cubicBezTo>
                  <a:pt x="7252" y="4125"/>
                  <a:pt x="6981" y="4006"/>
                  <a:pt x="6699" y="4006"/>
                </a:cubicBezTo>
                <a:lnTo>
                  <a:pt x="2969" y="4006"/>
                </a:lnTo>
                <a:cubicBezTo>
                  <a:pt x="2700" y="4006"/>
                  <a:pt x="2440" y="4115"/>
                  <a:pt x="2253" y="4310"/>
                </a:cubicBezTo>
                <a:cubicBezTo>
                  <a:pt x="1081" y="5538"/>
                  <a:pt x="0" y="7291"/>
                  <a:pt x="0" y="8570"/>
                </a:cubicBezTo>
                <a:cubicBezTo>
                  <a:pt x="0" y="9697"/>
                  <a:pt x="1133" y="11120"/>
                  <a:pt x="2530" y="11120"/>
                </a:cubicBezTo>
                <a:lnTo>
                  <a:pt x="6860" y="11120"/>
                </a:lnTo>
                <a:cubicBezTo>
                  <a:pt x="8257" y="11120"/>
                  <a:pt x="9390" y="9709"/>
                  <a:pt x="9390" y="8570"/>
                </a:cubicBezTo>
                <a:cubicBezTo>
                  <a:pt x="9390" y="7268"/>
                  <a:pt x="8520" y="5564"/>
                  <a:pt x="7438" y="4336"/>
                </a:cubicBezTo>
                <a:close/>
                <a:moveTo>
                  <a:pt x="6299" y="5888"/>
                </a:moveTo>
                <a:lnTo>
                  <a:pt x="5549" y="7248"/>
                </a:lnTo>
                <a:cubicBezTo>
                  <a:pt x="5483" y="7368"/>
                  <a:pt x="5570" y="7515"/>
                  <a:pt x="5706" y="7515"/>
                </a:cubicBezTo>
                <a:lnTo>
                  <a:pt x="5919" y="7515"/>
                </a:lnTo>
                <a:cubicBezTo>
                  <a:pt x="6017" y="7515"/>
                  <a:pt x="6098" y="7595"/>
                  <a:pt x="6098" y="7695"/>
                </a:cubicBezTo>
                <a:lnTo>
                  <a:pt x="6098" y="7695"/>
                </a:lnTo>
                <a:cubicBezTo>
                  <a:pt x="6098" y="7793"/>
                  <a:pt x="6018" y="7874"/>
                  <a:pt x="5919" y="7874"/>
                </a:cubicBezTo>
                <a:lnTo>
                  <a:pt x="5384" y="7874"/>
                </a:lnTo>
                <a:cubicBezTo>
                  <a:pt x="5279" y="7874"/>
                  <a:pt x="5196" y="7958"/>
                  <a:pt x="5195" y="8062"/>
                </a:cubicBezTo>
                <a:lnTo>
                  <a:pt x="5195" y="8151"/>
                </a:lnTo>
                <a:cubicBezTo>
                  <a:pt x="5195" y="8249"/>
                  <a:pt x="5275" y="8331"/>
                  <a:pt x="5375" y="8331"/>
                </a:cubicBezTo>
                <a:lnTo>
                  <a:pt x="5919" y="8331"/>
                </a:lnTo>
                <a:cubicBezTo>
                  <a:pt x="6017" y="8331"/>
                  <a:pt x="6098" y="8411"/>
                  <a:pt x="6098" y="8510"/>
                </a:cubicBezTo>
                <a:cubicBezTo>
                  <a:pt x="6098" y="8610"/>
                  <a:pt x="6018" y="8690"/>
                  <a:pt x="5919" y="8690"/>
                </a:cubicBezTo>
                <a:lnTo>
                  <a:pt x="5375" y="8690"/>
                </a:lnTo>
                <a:cubicBezTo>
                  <a:pt x="5276" y="8690"/>
                  <a:pt x="5195" y="8770"/>
                  <a:pt x="5195" y="8870"/>
                </a:cubicBezTo>
                <a:lnTo>
                  <a:pt x="5195" y="9327"/>
                </a:lnTo>
                <a:cubicBezTo>
                  <a:pt x="5195" y="9426"/>
                  <a:pt x="5115" y="9507"/>
                  <a:pt x="5015" y="9507"/>
                </a:cubicBezTo>
                <a:lnTo>
                  <a:pt x="4690" y="9507"/>
                </a:lnTo>
                <a:cubicBezTo>
                  <a:pt x="4591" y="9507"/>
                  <a:pt x="4510" y="9427"/>
                  <a:pt x="4510" y="9327"/>
                </a:cubicBezTo>
                <a:lnTo>
                  <a:pt x="4510" y="8870"/>
                </a:lnTo>
                <a:cubicBezTo>
                  <a:pt x="4510" y="8771"/>
                  <a:pt x="4430" y="8690"/>
                  <a:pt x="4330" y="8690"/>
                </a:cubicBezTo>
                <a:lnTo>
                  <a:pt x="3792" y="8690"/>
                </a:lnTo>
                <a:cubicBezTo>
                  <a:pt x="3693" y="8690"/>
                  <a:pt x="3612" y="8610"/>
                  <a:pt x="3612" y="8510"/>
                </a:cubicBezTo>
                <a:cubicBezTo>
                  <a:pt x="3612" y="8411"/>
                  <a:pt x="3692" y="8331"/>
                  <a:pt x="3792" y="8331"/>
                </a:cubicBezTo>
                <a:lnTo>
                  <a:pt x="4329" y="8331"/>
                </a:lnTo>
                <a:cubicBezTo>
                  <a:pt x="4429" y="8331"/>
                  <a:pt x="4509" y="8251"/>
                  <a:pt x="4510" y="8151"/>
                </a:cubicBezTo>
                <a:lnTo>
                  <a:pt x="4511" y="8063"/>
                </a:lnTo>
                <a:cubicBezTo>
                  <a:pt x="4512" y="7959"/>
                  <a:pt x="4427" y="7873"/>
                  <a:pt x="4322" y="7873"/>
                </a:cubicBezTo>
                <a:lnTo>
                  <a:pt x="3792" y="7873"/>
                </a:lnTo>
                <a:cubicBezTo>
                  <a:pt x="3693" y="7873"/>
                  <a:pt x="3612" y="7793"/>
                  <a:pt x="3612" y="7694"/>
                </a:cubicBezTo>
                <a:lnTo>
                  <a:pt x="3612" y="7694"/>
                </a:lnTo>
                <a:cubicBezTo>
                  <a:pt x="3612" y="7595"/>
                  <a:pt x="3692" y="7514"/>
                  <a:pt x="3792" y="7514"/>
                </a:cubicBezTo>
                <a:lnTo>
                  <a:pt x="3999" y="7514"/>
                </a:lnTo>
                <a:cubicBezTo>
                  <a:pt x="4136" y="7514"/>
                  <a:pt x="4221" y="7367"/>
                  <a:pt x="4156" y="7247"/>
                </a:cubicBezTo>
                <a:lnTo>
                  <a:pt x="3406" y="5887"/>
                </a:lnTo>
                <a:cubicBezTo>
                  <a:pt x="3340" y="5767"/>
                  <a:pt x="3426" y="5620"/>
                  <a:pt x="3562" y="5620"/>
                </a:cubicBezTo>
                <a:lnTo>
                  <a:pt x="3920" y="5620"/>
                </a:lnTo>
                <a:cubicBezTo>
                  <a:pt x="3988" y="5620"/>
                  <a:pt x="4050" y="5659"/>
                  <a:pt x="4080" y="5719"/>
                </a:cubicBezTo>
                <a:lnTo>
                  <a:pt x="4691" y="6937"/>
                </a:lnTo>
                <a:cubicBezTo>
                  <a:pt x="4756" y="7069"/>
                  <a:pt x="4945" y="7069"/>
                  <a:pt x="5012" y="6937"/>
                </a:cubicBezTo>
                <a:lnTo>
                  <a:pt x="5623" y="5719"/>
                </a:lnTo>
                <a:cubicBezTo>
                  <a:pt x="5653" y="5659"/>
                  <a:pt x="5715" y="5620"/>
                  <a:pt x="5783" y="5620"/>
                </a:cubicBezTo>
                <a:lnTo>
                  <a:pt x="6140" y="5620"/>
                </a:lnTo>
                <a:cubicBezTo>
                  <a:pt x="6278" y="5622"/>
                  <a:pt x="6365" y="5768"/>
                  <a:pt x="6299" y="588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8" name="文本框 67">
            <a:extLst>
              <a:ext uri="{FF2B5EF4-FFF2-40B4-BE49-F238E27FC236}">
                <a16:creationId xmlns:a16="http://schemas.microsoft.com/office/drawing/2014/main" id="{083CB88E-69E1-4E17-AB4E-657AF14F6012}"/>
              </a:ext>
            </a:extLst>
          </p:cNvPr>
          <p:cNvSpPr txBox="1"/>
          <p:nvPr/>
        </p:nvSpPr>
        <p:spPr>
          <a:xfrm>
            <a:off x="8236442" y="3927602"/>
            <a:ext cx="1249970" cy="787395"/>
          </a:xfrm>
          <a:prstGeom prst="rect">
            <a:avLst/>
          </a:prstGeom>
          <a:noFill/>
        </p:spPr>
        <p:txBody>
          <a:bodyPr wrap="square" lIns="0" tIns="0" rIns="0" bIns="0" rtlCol="0" anchor="t">
            <a:spAutoFit/>
          </a:bodyPr>
          <a:lstStyle/>
          <a:p>
            <a:pPr algn="ctr">
              <a:lnSpc>
                <a:spcPct val="130000"/>
              </a:lnSpc>
            </a:pPr>
            <a:r>
              <a:rPr lang="en-US" altLang="zh-CN" sz="1000" b="0" dirty="0">
                <a:solidFill>
                  <a:schemeClr val="tx1">
                    <a:lumMod val="75000"/>
                    <a:lumOff val="25000"/>
                  </a:schemeClr>
                </a:solidFill>
                <a:effectLst/>
                <a:latin typeface="+mn-ea"/>
              </a:rPr>
              <a:t>Lorem ipsum dolor sit ametconsectetur adipisicing elit</a:t>
            </a:r>
            <a:r>
              <a:rPr lang="en-US" altLang="zh-CN" sz="1000" dirty="0">
                <a:solidFill>
                  <a:schemeClr val="tx1">
                    <a:lumMod val="75000"/>
                    <a:lumOff val="25000"/>
                  </a:schemeClr>
                </a:solidFill>
                <a:latin typeface="+mn-ea"/>
              </a:rPr>
              <a:t> </a:t>
            </a:r>
            <a:r>
              <a:rPr lang="en-US" altLang="zh-CN" sz="1000" b="0" dirty="0">
                <a:solidFill>
                  <a:schemeClr val="tx1">
                    <a:lumMod val="75000"/>
                    <a:lumOff val="25000"/>
                  </a:schemeClr>
                </a:solidFill>
                <a:effectLst/>
                <a:latin typeface="+mn-ea"/>
              </a:rPr>
              <a:t>sed do eiusmod tempor</a:t>
            </a:r>
            <a:endParaRPr lang="zh-CN" altLang="en-US" sz="1000" b="0" dirty="0">
              <a:solidFill>
                <a:schemeClr val="tx1">
                  <a:lumMod val="75000"/>
                  <a:lumOff val="25000"/>
                </a:schemeClr>
              </a:solidFill>
              <a:effectLst/>
              <a:latin typeface="+mn-ea"/>
            </a:endParaRPr>
          </a:p>
        </p:txBody>
      </p:sp>
      <p:sp>
        <p:nvSpPr>
          <p:cNvPr id="75" name="矩形 73">
            <a:extLst>
              <a:ext uri="{FF2B5EF4-FFF2-40B4-BE49-F238E27FC236}">
                <a16:creationId xmlns:a16="http://schemas.microsoft.com/office/drawing/2014/main" id="{94CD3E11-B2D6-4656-94B4-A8580204A18A}"/>
              </a:ext>
            </a:extLst>
          </p:cNvPr>
          <p:cNvSpPr/>
          <p:nvPr/>
        </p:nvSpPr>
        <p:spPr>
          <a:xfrm>
            <a:off x="3165231" y="5583115"/>
            <a:ext cx="2930769" cy="427391"/>
          </a:xfrm>
          <a:custGeom>
            <a:avLst/>
            <a:gdLst/>
            <a:ahLst/>
            <a:cxnLst/>
            <a:rect l="0" t="0" r="0" b="0"/>
            <a:pathLst>
              <a:path w="3066516" h="447187">
                <a:moveTo>
                  <a:pt x="3066515" y="0"/>
                </a:moveTo>
                <a:lnTo>
                  <a:pt x="3066515" y="267186"/>
                </a:lnTo>
                <a:cubicBezTo>
                  <a:pt x="3066515" y="366546"/>
                  <a:pt x="2985875" y="447186"/>
                  <a:pt x="2886515" y="447186"/>
                </a:cubicBezTo>
                <a:lnTo>
                  <a:pt x="180000" y="447186"/>
                </a:lnTo>
                <a:cubicBezTo>
                  <a:pt x="80640" y="447186"/>
                  <a:pt x="0" y="366546"/>
                  <a:pt x="0" y="267186"/>
                </a:cubicBezTo>
                <a:lnTo>
                  <a:pt x="0" y="0"/>
                </a:lnTo>
              </a:path>
            </a:pathLst>
          </a:custGeom>
          <a:noFill/>
          <a:ln w="28575">
            <a:solidFill>
              <a:schemeClr val="accent1"/>
            </a:solidFill>
            <a:headEnd type="stealt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zh-CN" altLang="en-US" sz="1600">
              <a:solidFill>
                <a:schemeClr val="bg1"/>
              </a:solidFill>
              <a:latin typeface="+mj-ea"/>
              <a:ea typeface="+mj-ea"/>
            </a:endParaRPr>
          </a:p>
        </p:txBody>
      </p:sp>
      <p:sp>
        <p:nvSpPr>
          <p:cNvPr id="78" name="矩形 73">
            <a:extLst>
              <a:ext uri="{FF2B5EF4-FFF2-40B4-BE49-F238E27FC236}">
                <a16:creationId xmlns:a16="http://schemas.microsoft.com/office/drawing/2014/main" id="{21CD04BE-5321-4AFC-B412-5E6133B9E849}"/>
              </a:ext>
            </a:extLst>
          </p:cNvPr>
          <p:cNvSpPr/>
          <p:nvPr/>
        </p:nvSpPr>
        <p:spPr>
          <a:xfrm flipV="1">
            <a:off x="6036446" y="1530360"/>
            <a:ext cx="2930769" cy="427391"/>
          </a:xfrm>
          <a:custGeom>
            <a:avLst/>
            <a:gdLst/>
            <a:ahLst/>
            <a:cxnLst/>
            <a:rect l="0" t="0" r="0" b="0"/>
            <a:pathLst>
              <a:path w="3066516" h="447187">
                <a:moveTo>
                  <a:pt x="3066515" y="0"/>
                </a:moveTo>
                <a:lnTo>
                  <a:pt x="3066515" y="267186"/>
                </a:lnTo>
                <a:cubicBezTo>
                  <a:pt x="3066515" y="366546"/>
                  <a:pt x="2985875" y="447186"/>
                  <a:pt x="2886515" y="447186"/>
                </a:cubicBezTo>
                <a:lnTo>
                  <a:pt x="180000" y="447186"/>
                </a:lnTo>
                <a:cubicBezTo>
                  <a:pt x="80640" y="447186"/>
                  <a:pt x="0" y="366546"/>
                  <a:pt x="0" y="267186"/>
                </a:cubicBezTo>
                <a:lnTo>
                  <a:pt x="0" y="0"/>
                </a:lnTo>
              </a:path>
            </a:pathLst>
          </a:custGeom>
          <a:noFill/>
          <a:ln w="28575">
            <a:solidFill>
              <a:schemeClr val="accent1"/>
            </a:solidFill>
            <a:headEnd type="stealt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zh-CN" altLang="en-US" sz="1600">
              <a:solidFill>
                <a:schemeClr val="bg1"/>
              </a:solidFill>
              <a:latin typeface="+mj-ea"/>
              <a:ea typeface="+mj-ea"/>
            </a:endParaRPr>
          </a:p>
        </p:txBody>
      </p:sp>
    </p:spTree>
    <p:extLst>
      <p:ext uri="{BB962C8B-B14F-4D97-AF65-F5344CB8AC3E}">
        <p14:creationId xmlns:p14="http://schemas.microsoft.com/office/powerpoint/2010/main" val="2504591530"/>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2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椭圆 3">
            <a:extLst>
              <a:ext uri="{FF2B5EF4-FFF2-40B4-BE49-F238E27FC236}">
                <a16:creationId xmlns:a16="http://schemas.microsoft.com/office/drawing/2014/main" id="{496D96E3-22BF-4A7A-8D87-F8947F46C313}"/>
              </a:ext>
            </a:extLst>
          </p:cNvPr>
          <p:cNvSpPr/>
          <p:nvPr/>
        </p:nvSpPr>
        <p:spPr>
          <a:xfrm>
            <a:off x="3561617" y="3093384"/>
            <a:ext cx="1408968" cy="1408968"/>
          </a:xfrm>
          <a:prstGeom prst="ellips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5" name="椭圆 4">
            <a:extLst>
              <a:ext uri="{FF2B5EF4-FFF2-40B4-BE49-F238E27FC236}">
                <a16:creationId xmlns:a16="http://schemas.microsoft.com/office/drawing/2014/main" id="{DF96525B-37C8-4A06-A47B-047517F8446F}"/>
              </a:ext>
            </a:extLst>
          </p:cNvPr>
          <p:cNvSpPr/>
          <p:nvPr/>
        </p:nvSpPr>
        <p:spPr>
          <a:xfrm>
            <a:off x="5907333" y="4293534"/>
            <a:ext cx="1143000" cy="1143000"/>
          </a:xfrm>
          <a:prstGeom prst="ellips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6" name="椭圆 5">
            <a:extLst>
              <a:ext uri="{FF2B5EF4-FFF2-40B4-BE49-F238E27FC236}">
                <a16:creationId xmlns:a16="http://schemas.microsoft.com/office/drawing/2014/main" id="{864AC757-16A7-4890-B444-53D59C9F4872}"/>
              </a:ext>
            </a:extLst>
          </p:cNvPr>
          <p:cNvSpPr/>
          <p:nvPr/>
        </p:nvSpPr>
        <p:spPr>
          <a:xfrm>
            <a:off x="5916858" y="2021460"/>
            <a:ext cx="1516671" cy="1516671"/>
          </a:xfrm>
          <a:prstGeom prst="ellips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9" name="文本框 8">
            <a:extLst>
              <a:ext uri="{FF2B5EF4-FFF2-40B4-BE49-F238E27FC236}">
                <a16:creationId xmlns:a16="http://schemas.microsoft.com/office/drawing/2014/main" id="{96B8AC40-A9E8-4DBC-B4F8-E61BF7BB02E7}"/>
              </a:ext>
            </a:extLst>
          </p:cNvPr>
          <p:cNvSpPr txBox="1"/>
          <p:nvPr/>
        </p:nvSpPr>
        <p:spPr>
          <a:xfrm>
            <a:off x="3996797" y="3769659"/>
            <a:ext cx="538609" cy="430887"/>
          </a:xfrm>
          <a:prstGeom prst="rect">
            <a:avLst/>
          </a:prstGeom>
          <a:noFill/>
        </p:spPr>
        <p:txBody>
          <a:bodyPr wrap="none" lIns="0" tIns="0" rIns="0" bIns="0" rtlCol="0" anchor="t">
            <a:spAutoFit/>
          </a:bodyPr>
          <a:lstStyle/>
          <a:p>
            <a:pPr algn="ctr"/>
            <a:r>
              <a:rPr lang="zh-CN" altLang="en-US" sz="1400" dirty="0">
                <a:solidFill>
                  <a:schemeClr val="bg1"/>
                </a:solidFill>
                <a:latin typeface="+mj-ea"/>
                <a:ea typeface="+mj-ea"/>
              </a:rPr>
              <a:t>关键词</a:t>
            </a:r>
            <a:endParaRPr lang="en-US" altLang="zh-CN" sz="1400" dirty="0">
              <a:solidFill>
                <a:schemeClr val="bg1"/>
              </a:solidFill>
              <a:latin typeface="+mj-ea"/>
              <a:ea typeface="+mj-ea"/>
            </a:endParaRPr>
          </a:p>
          <a:p>
            <a:pPr algn="ctr"/>
            <a:r>
              <a:rPr lang="zh-CN" altLang="en-US" sz="1400" dirty="0">
                <a:solidFill>
                  <a:schemeClr val="bg1"/>
                </a:solidFill>
                <a:latin typeface="+mj-ea"/>
                <a:ea typeface="+mj-ea"/>
              </a:rPr>
              <a:t>标题</a:t>
            </a:r>
          </a:p>
        </p:txBody>
      </p:sp>
      <p:sp>
        <p:nvSpPr>
          <p:cNvPr id="10" name="文本框 9">
            <a:extLst>
              <a:ext uri="{FF2B5EF4-FFF2-40B4-BE49-F238E27FC236}">
                <a16:creationId xmlns:a16="http://schemas.microsoft.com/office/drawing/2014/main" id="{135E47E9-DE07-483B-9EE3-3DC22ED9AA21}"/>
              </a:ext>
            </a:extLst>
          </p:cNvPr>
          <p:cNvSpPr txBox="1"/>
          <p:nvPr/>
        </p:nvSpPr>
        <p:spPr>
          <a:xfrm>
            <a:off x="6405888" y="2662497"/>
            <a:ext cx="538609" cy="430887"/>
          </a:xfrm>
          <a:prstGeom prst="rect">
            <a:avLst/>
          </a:prstGeom>
          <a:noFill/>
        </p:spPr>
        <p:txBody>
          <a:bodyPr wrap="none" lIns="0" tIns="0" rIns="0" bIns="0" rtlCol="0" anchor="t">
            <a:spAutoFit/>
          </a:bodyPr>
          <a:lstStyle/>
          <a:p>
            <a:pPr algn="ctr"/>
            <a:r>
              <a:rPr lang="zh-CN" altLang="en-US" sz="1400" dirty="0">
                <a:solidFill>
                  <a:schemeClr val="bg1"/>
                </a:solidFill>
                <a:latin typeface="+mj-ea"/>
                <a:ea typeface="+mj-ea"/>
              </a:rPr>
              <a:t>关键词</a:t>
            </a:r>
            <a:endParaRPr lang="en-US" altLang="zh-CN" sz="1400" dirty="0">
              <a:solidFill>
                <a:schemeClr val="bg1"/>
              </a:solidFill>
              <a:latin typeface="+mj-ea"/>
              <a:ea typeface="+mj-ea"/>
            </a:endParaRPr>
          </a:p>
          <a:p>
            <a:pPr algn="ctr"/>
            <a:r>
              <a:rPr lang="zh-CN" altLang="en-US" sz="1400" dirty="0">
                <a:solidFill>
                  <a:schemeClr val="bg1"/>
                </a:solidFill>
                <a:latin typeface="+mj-ea"/>
                <a:ea typeface="+mj-ea"/>
              </a:rPr>
              <a:t>标题</a:t>
            </a:r>
          </a:p>
        </p:txBody>
      </p:sp>
      <p:sp>
        <p:nvSpPr>
          <p:cNvPr id="11" name="iconfont-1187-868110">
            <a:extLst>
              <a:ext uri="{FF2B5EF4-FFF2-40B4-BE49-F238E27FC236}">
                <a16:creationId xmlns:a16="http://schemas.microsoft.com/office/drawing/2014/main" id="{5BBBE0A0-E9E3-49B3-93B5-9E5C7DE230DC}"/>
              </a:ext>
            </a:extLst>
          </p:cNvPr>
          <p:cNvSpPr/>
          <p:nvPr/>
        </p:nvSpPr>
        <p:spPr>
          <a:xfrm>
            <a:off x="4142338" y="3449241"/>
            <a:ext cx="247526" cy="238706"/>
          </a:xfrm>
          <a:custGeom>
            <a:avLst/>
            <a:gdLst>
              <a:gd name="T0" fmla="*/ 11888 w 12803"/>
              <a:gd name="T1" fmla="*/ 0 h 12345"/>
              <a:gd name="T2" fmla="*/ 914 w 12803"/>
              <a:gd name="T3" fmla="*/ 0 h 12345"/>
              <a:gd name="T4" fmla="*/ 0 w 12803"/>
              <a:gd name="T5" fmla="*/ 914 h 12345"/>
              <a:gd name="T6" fmla="*/ 0 w 12803"/>
              <a:gd name="T7" fmla="*/ 8687 h 12345"/>
              <a:gd name="T8" fmla="*/ 914 w 12803"/>
              <a:gd name="T9" fmla="*/ 9602 h 12345"/>
              <a:gd name="T10" fmla="*/ 3201 w 12803"/>
              <a:gd name="T11" fmla="*/ 9602 h 12345"/>
              <a:gd name="T12" fmla="*/ 3201 w 12803"/>
              <a:gd name="T13" fmla="*/ 12345 h 12345"/>
              <a:gd name="T14" fmla="*/ 8230 w 12803"/>
              <a:gd name="T15" fmla="*/ 9602 h 12345"/>
              <a:gd name="T16" fmla="*/ 11888 w 12803"/>
              <a:gd name="T17" fmla="*/ 9602 h 12345"/>
              <a:gd name="T18" fmla="*/ 12803 w 12803"/>
              <a:gd name="T19" fmla="*/ 8687 h 12345"/>
              <a:gd name="T20" fmla="*/ 12803 w 12803"/>
              <a:gd name="T21" fmla="*/ 914 h 12345"/>
              <a:gd name="T22" fmla="*/ 11888 w 12803"/>
              <a:gd name="T23" fmla="*/ 0 h 12345"/>
              <a:gd name="T24" fmla="*/ 3201 w 12803"/>
              <a:gd name="T25" fmla="*/ 5487 h 12345"/>
              <a:gd name="T26" fmla="*/ 2286 w 12803"/>
              <a:gd name="T27" fmla="*/ 4572 h 12345"/>
              <a:gd name="T28" fmla="*/ 3201 w 12803"/>
              <a:gd name="T29" fmla="*/ 3658 h 12345"/>
              <a:gd name="T30" fmla="*/ 4115 w 12803"/>
              <a:gd name="T31" fmla="*/ 4572 h 12345"/>
              <a:gd name="T32" fmla="*/ 3201 w 12803"/>
              <a:gd name="T33" fmla="*/ 5487 h 12345"/>
              <a:gd name="T34" fmla="*/ 6401 w 12803"/>
              <a:gd name="T35" fmla="*/ 5487 h 12345"/>
              <a:gd name="T36" fmla="*/ 5487 w 12803"/>
              <a:gd name="T37" fmla="*/ 4572 h 12345"/>
              <a:gd name="T38" fmla="*/ 6401 w 12803"/>
              <a:gd name="T39" fmla="*/ 3658 h 12345"/>
              <a:gd name="T40" fmla="*/ 7316 w 12803"/>
              <a:gd name="T41" fmla="*/ 4572 h 12345"/>
              <a:gd name="T42" fmla="*/ 6401 w 12803"/>
              <a:gd name="T43" fmla="*/ 5487 h 12345"/>
              <a:gd name="T44" fmla="*/ 9602 w 12803"/>
              <a:gd name="T45" fmla="*/ 5487 h 12345"/>
              <a:gd name="T46" fmla="*/ 8687 w 12803"/>
              <a:gd name="T47" fmla="*/ 4572 h 12345"/>
              <a:gd name="T48" fmla="*/ 9602 w 12803"/>
              <a:gd name="T49" fmla="*/ 3658 h 12345"/>
              <a:gd name="T50" fmla="*/ 10516 w 12803"/>
              <a:gd name="T51" fmla="*/ 4572 h 12345"/>
              <a:gd name="T52" fmla="*/ 9602 w 12803"/>
              <a:gd name="T53" fmla="*/ 5487 h 12345"/>
              <a:gd name="T54" fmla="*/ 9602 w 12803"/>
              <a:gd name="T55" fmla="*/ 5487 h 123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2803" h="12345">
                <a:moveTo>
                  <a:pt x="11888" y="0"/>
                </a:moveTo>
                <a:lnTo>
                  <a:pt x="914" y="0"/>
                </a:lnTo>
                <a:cubicBezTo>
                  <a:pt x="409" y="0"/>
                  <a:pt x="0" y="409"/>
                  <a:pt x="0" y="914"/>
                </a:cubicBezTo>
                <a:lnTo>
                  <a:pt x="0" y="8687"/>
                </a:lnTo>
                <a:cubicBezTo>
                  <a:pt x="0" y="9193"/>
                  <a:pt x="409" y="9602"/>
                  <a:pt x="914" y="9602"/>
                </a:cubicBezTo>
                <a:lnTo>
                  <a:pt x="3201" y="9602"/>
                </a:lnTo>
                <a:lnTo>
                  <a:pt x="3201" y="12345"/>
                </a:lnTo>
                <a:lnTo>
                  <a:pt x="8230" y="9602"/>
                </a:lnTo>
                <a:lnTo>
                  <a:pt x="11888" y="9602"/>
                </a:lnTo>
                <a:cubicBezTo>
                  <a:pt x="12393" y="9602"/>
                  <a:pt x="12803" y="9193"/>
                  <a:pt x="12803" y="8687"/>
                </a:cubicBezTo>
                <a:lnTo>
                  <a:pt x="12803" y="914"/>
                </a:lnTo>
                <a:cubicBezTo>
                  <a:pt x="12803" y="409"/>
                  <a:pt x="12393" y="0"/>
                  <a:pt x="11888" y="0"/>
                </a:cubicBezTo>
                <a:close/>
                <a:moveTo>
                  <a:pt x="3201" y="5487"/>
                </a:moveTo>
                <a:cubicBezTo>
                  <a:pt x="2695" y="5487"/>
                  <a:pt x="2286" y="5077"/>
                  <a:pt x="2286" y="4572"/>
                </a:cubicBezTo>
                <a:cubicBezTo>
                  <a:pt x="2286" y="4067"/>
                  <a:pt x="2695" y="3658"/>
                  <a:pt x="3201" y="3658"/>
                </a:cubicBezTo>
                <a:cubicBezTo>
                  <a:pt x="3706" y="3658"/>
                  <a:pt x="4115" y="4067"/>
                  <a:pt x="4115" y="4572"/>
                </a:cubicBezTo>
                <a:cubicBezTo>
                  <a:pt x="4115" y="5077"/>
                  <a:pt x="3706" y="5487"/>
                  <a:pt x="3201" y="5487"/>
                </a:cubicBezTo>
                <a:close/>
                <a:moveTo>
                  <a:pt x="6401" y="5487"/>
                </a:moveTo>
                <a:cubicBezTo>
                  <a:pt x="5896" y="5487"/>
                  <a:pt x="5487" y="5077"/>
                  <a:pt x="5487" y="4572"/>
                </a:cubicBezTo>
                <a:cubicBezTo>
                  <a:pt x="5487" y="4067"/>
                  <a:pt x="5896" y="3658"/>
                  <a:pt x="6401" y="3658"/>
                </a:cubicBezTo>
                <a:cubicBezTo>
                  <a:pt x="6907" y="3658"/>
                  <a:pt x="7316" y="4067"/>
                  <a:pt x="7316" y="4572"/>
                </a:cubicBezTo>
                <a:cubicBezTo>
                  <a:pt x="7316" y="5077"/>
                  <a:pt x="6907" y="5487"/>
                  <a:pt x="6401" y="5487"/>
                </a:cubicBezTo>
                <a:close/>
                <a:moveTo>
                  <a:pt x="9602" y="5487"/>
                </a:moveTo>
                <a:cubicBezTo>
                  <a:pt x="9097" y="5487"/>
                  <a:pt x="8687" y="5077"/>
                  <a:pt x="8687" y="4572"/>
                </a:cubicBezTo>
                <a:cubicBezTo>
                  <a:pt x="8687" y="4067"/>
                  <a:pt x="9097" y="3658"/>
                  <a:pt x="9602" y="3658"/>
                </a:cubicBezTo>
                <a:cubicBezTo>
                  <a:pt x="10107" y="3658"/>
                  <a:pt x="10516" y="4067"/>
                  <a:pt x="10516" y="4572"/>
                </a:cubicBezTo>
                <a:cubicBezTo>
                  <a:pt x="10516" y="5077"/>
                  <a:pt x="10107" y="5487"/>
                  <a:pt x="9602" y="5487"/>
                </a:cubicBezTo>
                <a:close/>
                <a:moveTo>
                  <a:pt x="9602" y="5487"/>
                </a:move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iconfont-1186-646597">
            <a:extLst>
              <a:ext uri="{FF2B5EF4-FFF2-40B4-BE49-F238E27FC236}">
                <a16:creationId xmlns:a16="http://schemas.microsoft.com/office/drawing/2014/main" id="{4CB157BB-9F8A-463B-8D1E-D186B61D4F4D}"/>
              </a:ext>
            </a:extLst>
          </p:cNvPr>
          <p:cNvSpPr/>
          <p:nvPr/>
        </p:nvSpPr>
        <p:spPr>
          <a:xfrm>
            <a:off x="6380524" y="4599215"/>
            <a:ext cx="196615" cy="229734"/>
          </a:xfrm>
          <a:custGeom>
            <a:avLst/>
            <a:gdLst>
              <a:gd name="T0" fmla="*/ 8209 w 10908"/>
              <a:gd name="T1" fmla="*/ 2143 h 12744"/>
              <a:gd name="T2" fmla="*/ 8209 w 10908"/>
              <a:gd name="T3" fmla="*/ 1057 h 12744"/>
              <a:gd name="T4" fmla="*/ 7124 w 10908"/>
              <a:gd name="T5" fmla="*/ 0 h 12744"/>
              <a:gd name="T6" fmla="*/ 3840 w 10908"/>
              <a:gd name="T7" fmla="*/ 0 h 12744"/>
              <a:gd name="T8" fmla="*/ 2755 w 10908"/>
              <a:gd name="T9" fmla="*/ 1057 h 12744"/>
              <a:gd name="T10" fmla="*/ 2755 w 10908"/>
              <a:gd name="T11" fmla="*/ 2115 h 12744"/>
              <a:gd name="T12" fmla="*/ 0 w 10908"/>
              <a:gd name="T13" fmla="*/ 2115 h 12744"/>
              <a:gd name="T14" fmla="*/ 0 w 10908"/>
              <a:gd name="T15" fmla="*/ 3172 h 12744"/>
              <a:gd name="T16" fmla="*/ 1085 w 10908"/>
              <a:gd name="T17" fmla="*/ 3172 h 12744"/>
              <a:gd name="T18" fmla="*/ 1085 w 10908"/>
              <a:gd name="T19" fmla="*/ 11687 h 12744"/>
              <a:gd name="T20" fmla="*/ 2171 w 10908"/>
              <a:gd name="T21" fmla="*/ 12744 h 12744"/>
              <a:gd name="T22" fmla="*/ 8738 w 10908"/>
              <a:gd name="T23" fmla="*/ 12744 h 12744"/>
              <a:gd name="T24" fmla="*/ 9823 w 10908"/>
              <a:gd name="T25" fmla="*/ 11687 h 12744"/>
              <a:gd name="T26" fmla="*/ 9823 w 10908"/>
              <a:gd name="T27" fmla="*/ 3200 h 12744"/>
              <a:gd name="T28" fmla="*/ 10908 w 10908"/>
              <a:gd name="T29" fmla="*/ 3200 h 12744"/>
              <a:gd name="T30" fmla="*/ 10908 w 10908"/>
              <a:gd name="T31" fmla="*/ 2143 h 12744"/>
              <a:gd name="T32" fmla="*/ 8209 w 10908"/>
              <a:gd name="T33" fmla="*/ 2143 h 12744"/>
              <a:gd name="T34" fmla="*/ 4870 w 10908"/>
              <a:gd name="T35" fmla="*/ 10963 h 12744"/>
              <a:gd name="T36" fmla="*/ 3645 w 10908"/>
              <a:gd name="T37" fmla="*/ 10963 h 12744"/>
              <a:gd name="T38" fmla="*/ 3645 w 10908"/>
              <a:gd name="T39" fmla="*/ 4257 h 12744"/>
              <a:gd name="T40" fmla="*/ 4870 w 10908"/>
              <a:gd name="T41" fmla="*/ 4257 h 12744"/>
              <a:gd name="T42" fmla="*/ 4870 w 10908"/>
              <a:gd name="T43" fmla="*/ 10963 h 12744"/>
              <a:gd name="T44" fmla="*/ 7319 w 10908"/>
              <a:gd name="T45" fmla="*/ 10963 h 12744"/>
              <a:gd name="T46" fmla="*/ 6094 w 10908"/>
              <a:gd name="T47" fmla="*/ 10963 h 12744"/>
              <a:gd name="T48" fmla="*/ 6094 w 10908"/>
              <a:gd name="T49" fmla="*/ 4257 h 12744"/>
              <a:gd name="T50" fmla="*/ 7319 w 10908"/>
              <a:gd name="T51" fmla="*/ 4257 h 12744"/>
              <a:gd name="T52" fmla="*/ 7319 w 10908"/>
              <a:gd name="T53" fmla="*/ 10963 h 127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0908" h="12744">
                <a:moveTo>
                  <a:pt x="8209" y="2143"/>
                </a:moveTo>
                <a:lnTo>
                  <a:pt x="8209" y="1057"/>
                </a:lnTo>
                <a:cubicBezTo>
                  <a:pt x="8209" y="473"/>
                  <a:pt x="7708" y="0"/>
                  <a:pt x="7124" y="0"/>
                </a:cubicBezTo>
                <a:lnTo>
                  <a:pt x="3840" y="0"/>
                </a:lnTo>
                <a:cubicBezTo>
                  <a:pt x="3228" y="0"/>
                  <a:pt x="2755" y="473"/>
                  <a:pt x="2755" y="1057"/>
                </a:cubicBezTo>
                <a:lnTo>
                  <a:pt x="2755" y="2115"/>
                </a:lnTo>
                <a:lnTo>
                  <a:pt x="0" y="2115"/>
                </a:lnTo>
                <a:lnTo>
                  <a:pt x="0" y="3172"/>
                </a:lnTo>
                <a:lnTo>
                  <a:pt x="1085" y="3172"/>
                </a:lnTo>
                <a:lnTo>
                  <a:pt x="1085" y="11687"/>
                </a:lnTo>
                <a:cubicBezTo>
                  <a:pt x="1085" y="12271"/>
                  <a:pt x="1586" y="12744"/>
                  <a:pt x="2171" y="12744"/>
                </a:cubicBezTo>
                <a:lnTo>
                  <a:pt x="8738" y="12744"/>
                </a:lnTo>
                <a:cubicBezTo>
                  <a:pt x="9350" y="12744"/>
                  <a:pt x="9823" y="12271"/>
                  <a:pt x="9823" y="11687"/>
                </a:cubicBezTo>
                <a:lnTo>
                  <a:pt x="9823" y="3200"/>
                </a:lnTo>
                <a:lnTo>
                  <a:pt x="10908" y="3200"/>
                </a:lnTo>
                <a:lnTo>
                  <a:pt x="10908" y="2143"/>
                </a:lnTo>
                <a:lnTo>
                  <a:pt x="8209" y="2143"/>
                </a:lnTo>
                <a:close/>
                <a:moveTo>
                  <a:pt x="4870" y="10963"/>
                </a:moveTo>
                <a:lnTo>
                  <a:pt x="3645" y="10963"/>
                </a:lnTo>
                <a:lnTo>
                  <a:pt x="3645" y="4257"/>
                </a:lnTo>
                <a:lnTo>
                  <a:pt x="4870" y="4257"/>
                </a:lnTo>
                <a:lnTo>
                  <a:pt x="4870" y="10963"/>
                </a:lnTo>
                <a:close/>
                <a:moveTo>
                  <a:pt x="7319" y="10963"/>
                </a:moveTo>
                <a:lnTo>
                  <a:pt x="6094" y="10963"/>
                </a:lnTo>
                <a:lnTo>
                  <a:pt x="6094" y="4257"/>
                </a:lnTo>
                <a:lnTo>
                  <a:pt x="7319" y="4257"/>
                </a:lnTo>
                <a:lnTo>
                  <a:pt x="7319" y="1096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文本框 12">
            <a:extLst>
              <a:ext uri="{FF2B5EF4-FFF2-40B4-BE49-F238E27FC236}">
                <a16:creationId xmlns:a16="http://schemas.microsoft.com/office/drawing/2014/main" id="{25ED0EA2-50B1-4EE9-BB1C-993246A3DA07}"/>
              </a:ext>
            </a:extLst>
          </p:cNvPr>
          <p:cNvSpPr txBox="1"/>
          <p:nvPr/>
        </p:nvSpPr>
        <p:spPr>
          <a:xfrm>
            <a:off x="6209528" y="4864667"/>
            <a:ext cx="538609" cy="430887"/>
          </a:xfrm>
          <a:prstGeom prst="rect">
            <a:avLst/>
          </a:prstGeom>
          <a:noFill/>
        </p:spPr>
        <p:txBody>
          <a:bodyPr wrap="none" lIns="0" tIns="0" rIns="0" bIns="0" rtlCol="0" anchor="t">
            <a:spAutoFit/>
          </a:bodyPr>
          <a:lstStyle/>
          <a:p>
            <a:pPr algn="ctr"/>
            <a:r>
              <a:rPr lang="zh-CN" altLang="en-US" sz="1400" dirty="0">
                <a:solidFill>
                  <a:schemeClr val="bg1"/>
                </a:solidFill>
                <a:latin typeface="+mj-ea"/>
                <a:ea typeface="+mj-ea"/>
              </a:rPr>
              <a:t>关键词</a:t>
            </a:r>
            <a:endParaRPr lang="en-US" altLang="zh-CN" sz="1400" dirty="0">
              <a:solidFill>
                <a:schemeClr val="bg1"/>
              </a:solidFill>
              <a:latin typeface="+mj-ea"/>
              <a:ea typeface="+mj-ea"/>
            </a:endParaRPr>
          </a:p>
          <a:p>
            <a:pPr algn="ctr"/>
            <a:r>
              <a:rPr lang="zh-CN" altLang="en-US" sz="1400" dirty="0">
                <a:solidFill>
                  <a:schemeClr val="bg1"/>
                </a:solidFill>
                <a:latin typeface="+mj-ea"/>
                <a:ea typeface="+mj-ea"/>
              </a:rPr>
              <a:t>标题</a:t>
            </a:r>
          </a:p>
        </p:txBody>
      </p:sp>
      <p:sp>
        <p:nvSpPr>
          <p:cNvPr id="15" name="iconfont-1187-868110">
            <a:extLst>
              <a:ext uri="{FF2B5EF4-FFF2-40B4-BE49-F238E27FC236}">
                <a16:creationId xmlns:a16="http://schemas.microsoft.com/office/drawing/2014/main" id="{82CE3E23-8DB0-42B5-ADD1-5A910F59A6A4}"/>
              </a:ext>
            </a:extLst>
          </p:cNvPr>
          <p:cNvSpPr/>
          <p:nvPr/>
        </p:nvSpPr>
        <p:spPr>
          <a:xfrm>
            <a:off x="6520959" y="2394891"/>
            <a:ext cx="308466" cy="219260"/>
          </a:xfrm>
          <a:custGeom>
            <a:avLst/>
            <a:gdLst>
              <a:gd name="connsiteX0" fmla="*/ 139317 w 597041"/>
              <a:gd name="connsiteY0" fmla="*/ 213573 h 424388"/>
              <a:gd name="connsiteX1" fmla="*/ 394782 w 597041"/>
              <a:gd name="connsiteY1" fmla="*/ 299620 h 424388"/>
              <a:gd name="connsiteX2" fmla="*/ 488070 w 597041"/>
              <a:gd name="connsiteY2" fmla="*/ 216441 h 424388"/>
              <a:gd name="connsiteX3" fmla="*/ 488070 w 597041"/>
              <a:gd name="connsiteY3" fmla="*/ 326868 h 424388"/>
              <a:gd name="connsiteX4" fmla="*/ 434968 w 597041"/>
              <a:gd name="connsiteY4" fmla="*/ 362721 h 424388"/>
              <a:gd name="connsiteX5" fmla="*/ 377560 w 597041"/>
              <a:gd name="connsiteY5" fmla="*/ 424388 h 424388"/>
              <a:gd name="connsiteX6" fmla="*/ 241216 w 597041"/>
              <a:gd name="connsiteY6" fmla="*/ 355550 h 424388"/>
              <a:gd name="connsiteX7" fmla="*/ 139317 w 597041"/>
              <a:gd name="connsiteY7" fmla="*/ 355550 h 424388"/>
              <a:gd name="connsiteX8" fmla="*/ 262641 w 597041"/>
              <a:gd name="connsiteY8" fmla="*/ 0 h 424388"/>
              <a:gd name="connsiteX9" fmla="*/ 597041 w 597041"/>
              <a:gd name="connsiteY9" fmla="*/ 96010 h 424388"/>
              <a:gd name="connsiteX10" fmla="*/ 391808 w 597041"/>
              <a:gd name="connsiteY10" fmla="*/ 279433 h 424388"/>
              <a:gd name="connsiteX11" fmla="*/ 68889 w 597041"/>
              <a:gd name="connsiteY11" fmla="*/ 174825 h 424388"/>
              <a:gd name="connsiteX12" fmla="*/ 68889 w 597041"/>
              <a:gd name="connsiteY12" fmla="*/ 283732 h 424388"/>
              <a:gd name="connsiteX13" fmla="*/ 87547 w 597041"/>
              <a:gd name="connsiteY13" fmla="*/ 283732 h 424388"/>
              <a:gd name="connsiteX14" fmla="*/ 87547 w 597041"/>
              <a:gd name="connsiteY14" fmla="*/ 362546 h 424388"/>
              <a:gd name="connsiteX15" fmla="*/ 22963 w 597041"/>
              <a:gd name="connsiteY15" fmla="*/ 362546 h 424388"/>
              <a:gd name="connsiteX16" fmla="*/ 22963 w 597041"/>
              <a:gd name="connsiteY16" fmla="*/ 283732 h 424388"/>
              <a:gd name="connsiteX17" fmla="*/ 41621 w 597041"/>
              <a:gd name="connsiteY17" fmla="*/ 283732 h 424388"/>
              <a:gd name="connsiteX18" fmla="*/ 41621 w 597041"/>
              <a:gd name="connsiteY18" fmla="*/ 166227 h 424388"/>
              <a:gd name="connsiteX19" fmla="*/ 0 w 597041"/>
              <a:gd name="connsiteY19" fmla="*/ 153330 h 424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97041" h="424388">
                <a:moveTo>
                  <a:pt x="139317" y="213573"/>
                </a:moveTo>
                <a:lnTo>
                  <a:pt x="394782" y="299620"/>
                </a:lnTo>
                <a:lnTo>
                  <a:pt x="488070" y="216441"/>
                </a:lnTo>
                <a:lnTo>
                  <a:pt x="488070" y="326868"/>
                </a:lnTo>
                <a:cubicBezTo>
                  <a:pt x="488070" y="326868"/>
                  <a:pt x="465107" y="342643"/>
                  <a:pt x="434968" y="362721"/>
                </a:cubicBezTo>
                <a:cubicBezTo>
                  <a:pt x="403393" y="381365"/>
                  <a:pt x="377560" y="424388"/>
                  <a:pt x="377560" y="424388"/>
                </a:cubicBezTo>
                <a:cubicBezTo>
                  <a:pt x="377560" y="424388"/>
                  <a:pt x="292883" y="372760"/>
                  <a:pt x="241216" y="355550"/>
                </a:cubicBezTo>
                <a:cubicBezTo>
                  <a:pt x="190984" y="338341"/>
                  <a:pt x="139317" y="355550"/>
                  <a:pt x="139317" y="355550"/>
                </a:cubicBezTo>
                <a:close/>
                <a:moveTo>
                  <a:pt x="262641" y="0"/>
                </a:moveTo>
                <a:lnTo>
                  <a:pt x="597041" y="96010"/>
                </a:lnTo>
                <a:lnTo>
                  <a:pt x="391808" y="279433"/>
                </a:lnTo>
                <a:lnTo>
                  <a:pt x="68889" y="174825"/>
                </a:lnTo>
                <a:lnTo>
                  <a:pt x="68889" y="283732"/>
                </a:lnTo>
                <a:lnTo>
                  <a:pt x="87547" y="283732"/>
                </a:lnTo>
                <a:lnTo>
                  <a:pt x="87547" y="362546"/>
                </a:lnTo>
                <a:lnTo>
                  <a:pt x="22963" y="362546"/>
                </a:lnTo>
                <a:lnTo>
                  <a:pt x="22963" y="283732"/>
                </a:lnTo>
                <a:lnTo>
                  <a:pt x="41621" y="283732"/>
                </a:lnTo>
                <a:lnTo>
                  <a:pt x="41621" y="166227"/>
                </a:lnTo>
                <a:lnTo>
                  <a:pt x="0" y="15333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sp>
        <p:nvSpPr>
          <p:cNvPr id="24" name="文本框 23">
            <a:extLst>
              <a:ext uri="{FF2B5EF4-FFF2-40B4-BE49-F238E27FC236}">
                <a16:creationId xmlns:a16="http://schemas.microsoft.com/office/drawing/2014/main" id="{2A222C93-205F-403E-935F-C6614BD8EB1C}"/>
              </a:ext>
            </a:extLst>
          </p:cNvPr>
          <p:cNvSpPr txBox="1"/>
          <p:nvPr/>
        </p:nvSpPr>
        <p:spPr>
          <a:xfrm>
            <a:off x="8025458" y="1504122"/>
            <a:ext cx="1154162" cy="276999"/>
          </a:xfrm>
          <a:prstGeom prst="rect">
            <a:avLst/>
          </a:prstGeom>
          <a:noFill/>
        </p:spPr>
        <p:txBody>
          <a:bodyPr wrap="none" lIns="0" tIns="0" rIns="0" bIns="0" rtlCol="0" anchor="t">
            <a:spAutoFit/>
          </a:bodyPr>
          <a:lstStyle/>
          <a:p>
            <a:pPr algn="l"/>
            <a:r>
              <a:rPr lang="zh-CN" altLang="en-US" dirty="0">
                <a:solidFill>
                  <a:schemeClr val="accent1"/>
                </a:solidFill>
                <a:latin typeface="+mj-ea"/>
                <a:ea typeface="+mj-ea"/>
              </a:rPr>
              <a:t>关键词标题</a:t>
            </a:r>
          </a:p>
        </p:txBody>
      </p:sp>
      <p:sp>
        <p:nvSpPr>
          <p:cNvPr id="25" name="文本框 24">
            <a:extLst>
              <a:ext uri="{FF2B5EF4-FFF2-40B4-BE49-F238E27FC236}">
                <a16:creationId xmlns:a16="http://schemas.microsoft.com/office/drawing/2014/main" id="{C4768DFE-ABB6-445A-A1DF-F1B2B6003614}"/>
              </a:ext>
            </a:extLst>
          </p:cNvPr>
          <p:cNvSpPr txBox="1"/>
          <p:nvPr/>
        </p:nvSpPr>
        <p:spPr>
          <a:xfrm>
            <a:off x="8025458" y="1885971"/>
            <a:ext cx="2468355" cy="387286"/>
          </a:xfrm>
          <a:prstGeom prst="rect">
            <a:avLst/>
          </a:prstGeom>
          <a:noFill/>
        </p:spPr>
        <p:txBody>
          <a:bodyPr wrap="square" lIns="0" tIns="0" rIns="0" bIns="0" rtlCol="0" anchor="t">
            <a:spAutoFit/>
          </a:bodyPr>
          <a:lstStyle/>
          <a:p>
            <a:pPr>
              <a:lnSpc>
                <a:spcPct val="130000"/>
              </a:lnSpc>
            </a:pPr>
            <a:r>
              <a:rPr lang="en-US" altLang="zh-CN" sz="1000" b="0" dirty="0">
                <a:solidFill>
                  <a:schemeClr val="tx1">
                    <a:lumMod val="75000"/>
                    <a:lumOff val="25000"/>
                  </a:schemeClr>
                </a:solidFill>
                <a:effectLst/>
                <a:latin typeface="+mn-ea"/>
              </a:rPr>
              <a:t>Lorem ipsum dolor sit ametconsectetur adipisicing elit</a:t>
            </a:r>
            <a:r>
              <a:rPr lang="en-US" altLang="zh-CN" sz="1000" dirty="0">
                <a:solidFill>
                  <a:schemeClr val="tx1">
                    <a:lumMod val="75000"/>
                    <a:lumOff val="25000"/>
                  </a:schemeClr>
                </a:solidFill>
                <a:latin typeface="+mn-ea"/>
              </a:rPr>
              <a:t> </a:t>
            </a:r>
            <a:r>
              <a:rPr lang="en-US" altLang="zh-CN" sz="1000" b="0" dirty="0">
                <a:solidFill>
                  <a:schemeClr val="tx1">
                    <a:lumMod val="75000"/>
                    <a:lumOff val="25000"/>
                  </a:schemeClr>
                </a:solidFill>
                <a:effectLst/>
                <a:latin typeface="+mn-ea"/>
              </a:rPr>
              <a:t>sed do eiusmod tempor</a:t>
            </a:r>
            <a:endParaRPr lang="zh-CN" altLang="en-US" sz="1000" b="0" dirty="0">
              <a:solidFill>
                <a:schemeClr val="tx1">
                  <a:lumMod val="75000"/>
                  <a:lumOff val="25000"/>
                </a:schemeClr>
              </a:solidFill>
              <a:effectLst/>
              <a:latin typeface="+mn-ea"/>
            </a:endParaRPr>
          </a:p>
        </p:txBody>
      </p:sp>
      <p:grpSp>
        <p:nvGrpSpPr>
          <p:cNvPr id="49" name="组合 48">
            <a:extLst>
              <a:ext uri="{FF2B5EF4-FFF2-40B4-BE49-F238E27FC236}">
                <a16:creationId xmlns:a16="http://schemas.microsoft.com/office/drawing/2014/main" id="{4D704AE2-2580-42A7-A476-E221B8F70846}"/>
              </a:ext>
            </a:extLst>
          </p:cNvPr>
          <p:cNvGrpSpPr/>
          <p:nvPr/>
        </p:nvGrpSpPr>
        <p:grpSpPr>
          <a:xfrm>
            <a:off x="7433526" y="1782998"/>
            <a:ext cx="1823069" cy="611893"/>
            <a:chOff x="7433526" y="1782998"/>
            <a:chExt cx="1823069" cy="611893"/>
          </a:xfrm>
        </p:grpSpPr>
        <p:sp>
          <p:nvSpPr>
            <p:cNvPr id="32" name="任意多边形: 形状 31">
              <a:extLst>
                <a:ext uri="{FF2B5EF4-FFF2-40B4-BE49-F238E27FC236}">
                  <a16:creationId xmlns:a16="http://schemas.microsoft.com/office/drawing/2014/main" id="{B53003DA-2527-4253-B753-B8A73964FFCF}"/>
                </a:ext>
              </a:extLst>
            </p:cNvPr>
            <p:cNvSpPr/>
            <p:nvPr/>
          </p:nvSpPr>
          <p:spPr>
            <a:xfrm>
              <a:off x="7472304" y="1817322"/>
              <a:ext cx="1745516" cy="533402"/>
            </a:xfrm>
            <a:custGeom>
              <a:avLst/>
              <a:gdLst/>
              <a:ahLst/>
              <a:cxnLst/>
              <a:rect l="0" t="0" r="0" b="0"/>
              <a:pathLst>
                <a:path w="1745516" h="533402">
                  <a:moveTo>
                    <a:pt x="1385847" y="0"/>
                  </a:moveTo>
                  <a:lnTo>
                    <a:pt x="1745515" y="0"/>
                  </a:lnTo>
                  <a:lnTo>
                    <a:pt x="533400" y="1"/>
                  </a:lnTo>
                  <a:lnTo>
                    <a:pt x="0" y="533401"/>
                  </a:lnTo>
                </a:path>
              </a:pathLst>
            </a:cu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zh-CN" altLang="en-US">
                <a:solidFill>
                  <a:schemeClr val="lt1"/>
                </a:solidFill>
              </a:endParaRPr>
            </a:p>
          </p:txBody>
        </p:sp>
        <p:sp>
          <p:nvSpPr>
            <p:cNvPr id="18" name="椭圆 17">
              <a:extLst>
                <a:ext uri="{FF2B5EF4-FFF2-40B4-BE49-F238E27FC236}">
                  <a16:creationId xmlns:a16="http://schemas.microsoft.com/office/drawing/2014/main" id="{549C977A-20D1-49D3-BE67-4DE87E57EE17}"/>
                </a:ext>
              </a:extLst>
            </p:cNvPr>
            <p:cNvSpPr/>
            <p:nvPr/>
          </p:nvSpPr>
          <p:spPr>
            <a:xfrm>
              <a:off x="9187946" y="1782998"/>
              <a:ext cx="68649" cy="68649"/>
            </a:xfrm>
            <a:prstGeom prst="ellipse">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9" name="椭圆 18">
              <a:extLst>
                <a:ext uri="{FF2B5EF4-FFF2-40B4-BE49-F238E27FC236}">
                  <a16:creationId xmlns:a16="http://schemas.microsoft.com/office/drawing/2014/main" id="{A18EFCB3-6EBB-4163-A973-CE92323F98F6}"/>
                </a:ext>
              </a:extLst>
            </p:cNvPr>
            <p:cNvSpPr/>
            <p:nvPr/>
          </p:nvSpPr>
          <p:spPr>
            <a:xfrm>
              <a:off x="7433526" y="2326242"/>
              <a:ext cx="68649" cy="68649"/>
            </a:xfrm>
            <a:prstGeom prst="ellipse">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33" name="文本框 32">
            <a:extLst>
              <a:ext uri="{FF2B5EF4-FFF2-40B4-BE49-F238E27FC236}">
                <a16:creationId xmlns:a16="http://schemas.microsoft.com/office/drawing/2014/main" id="{3F9EF8CD-CD77-42E5-BB22-30272C7E1EE9}"/>
              </a:ext>
            </a:extLst>
          </p:cNvPr>
          <p:cNvSpPr txBox="1"/>
          <p:nvPr/>
        </p:nvSpPr>
        <p:spPr>
          <a:xfrm>
            <a:off x="7690601" y="3932946"/>
            <a:ext cx="1154162" cy="276999"/>
          </a:xfrm>
          <a:prstGeom prst="rect">
            <a:avLst/>
          </a:prstGeom>
          <a:noFill/>
        </p:spPr>
        <p:txBody>
          <a:bodyPr wrap="none" lIns="0" tIns="0" rIns="0" bIns="0" rtlCol="0" anchor="t">
            <a:spAutoFit/>
          </a:bodyPr>
          <a:lstStyle/>
          <a:p>
            <a:pPr algn="l"/>
            <a:r>
              <a:rPr lang="zh-CN" altLang="en-US" dirty="0">
                <a:solidFill>
                  <a:schemeClr val="accent1"/>
                </a:solidFill>
                <a:latin typeface="+mj-ea"/>
                <a:ea typeface="+mj-ea"/>
              </a:rPr>
              <a:t>关键词标题</a:t>
            </a:r>
          </a:p>
        </p:txBody>
      </p:sp>
      <p:sp>
        <p:nvSpPr>
          <p:cNvPr id="34" name="文本框 33">
            <a:extLst>
              <a:ext uri="{FF2B5EF4-FFF2-40B4-BE49-F238E27FC236}">
                <a16:creationId xmlns:a16="http://schemas.microsoft.com/office/drawing/2014/main" id="{D36E793C-D34F-4A92-9C1A-3CD0F6B51E47}"/>
              </a:ext>
            </a:extLst>
          </p:cNvPr>
          <p:cNvSpPr txBox="1"/>
          <p:nvPr/>
        </p:nvSpPr>
        <p:spPr>
          <a:xfrm>
            <a:off x="7690601" y="4314795"/>
            <a:ext cx="2468355" cy="387286"/>
          </a:xfrm>
          <a:prstGeom prst="rect">
            <a:avLst/>
          </a:prstGeom>
          <a:noFill/>
        </p:spPr>
        <p:txBody>
          <a:bodyPr wrap="square" lIns="0" tIns="0" rIns="0" bIns="0" rtlCol="0" anchor="t">
            <a:spAutoFit/>
          </a:bodyPr>
          <a:lstStyle/>
          <a:p>
            <a:pPr>
              <a:lnSpc>
                <a:spcPct val="130000"/>
              </a:lnSpc>
            </a:pPr>
            <a:r>
              <a:rPr lang="en-US" altLang="zh-CN" sz="1000" b="0" dirty="0">
                <a:solidFill>
                  <a:schemeClr val="tx1">
                    <a:lumMod val="75000"/>
                    <a:lumOff val="25000"/>
                  </a:schemeClr>
                </a:solidFill>
                <a:effectLst/>
                <a:latin typeface="+mn-ea"/>
              </a:rPr>
              <a:t>Lorem ipsum dolor sit ametconsectetur adipisicing elit</a:t>
            </a:r>
            <a:r>
              <a:rPr lang="en-US" altLang="zh-CN" sz="1000" dirty="0">
                <a:solidFill>
                  <a:schemeClr val="tx1">
                    <a:lumMod val="75000"/>
                    <a:lumOff val="25000"/>
                  </a:schemeClr>
                </a:solidFill>
                <a:latin typeface="+mn-ea"/>
              </a:rPr>
              <a:t> </a:t>
            </a:r>
            <a:r>
              <a:rPr lang="en-US" altLang="zh-CN" sz="1000" b="0" dirty="0">
                <a:solidFill>
                  <a:schemeClr val="tx1">
                    <a:lumMod val="75000"/>
                    <a:lumOff val="25000"/>
                  </a:schemeClr>
                </a:solidFill>
                <a:effectLst/>
                <a:latin typeface="+mn-ea"/>
              </a:rPr>
              <a:t>sed do eiusmod tempor</a:t>
            </a:r>
            <a:endParaRPr lang="zh-CN" altLang="en-US" sz="1000" b="0" dirty="0">
              <a:solidFill>
                <a:schemeClr val="tx1">
                  <a:lumMod val="75000"/>
                  <a:lumOff val="25000"/>
                </a:schemeClr>
              </a:solidFill>
              <a:effectLst/>
              <a:latin typeface="+mn-ea"/>
            </a:endParaRPr>
          </a:p>
        </p:txBody>
      </p:sp>
      <p:sp>
        <p:nvSpPr>
          <p:cNvPr id="35" name="任意多边形: 形状 34">
            <a:extLst>
              <a:ext uri="{FF2B5EF4-FFF2-40B4-BE49-F238E27FC236}">
                <a16:creationId xmlns:a16="http://schemas.microsoft.com/office/drawing/2014/main" id="{3B399FA2-9D3C-4716-BE2E-B26891B734D3}"/>
              </a:ext>
            </a:extLst>
          </p:cNvPr>
          <p:cNvSpPr/>
          <p:nvPr/>
        </p:nvSpPr>
        <p:spPr>
          <a:xfrm>
            <a:off x="7137447" y="4246146"/>
            <a:ext cx="1745516" cy="533402"/>
          </a:xfrm>
          <a:custGeom>
            <a:avLst/>
            <a:gdLst/>
            <a:ahLst/>
            <a:cxnLst/>
            <a:rect l="0" t="0" r="0" b="0"/>
            <a:pathLst>
              <a:path w="1745516" h="533402">
                <a:moveTo>
                  <a:pt x="1385847" y="0"/>
                </a:moveTo>
                <a:lnTo>
                  <a:pt x="1745515" y="0"/>
                </a:lnTo>
                <a:lnTo>
                  <a:pt x="533400" y="1"/>
                </a:lnTo>
                <a:lnTo>
                  <a:pt x="0" y="533401"/>
                </a:lnTo>
              </a:path>
            </a:pathLst>
          </a:cu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zh-CN" altLang="en-US">
              <a:solidFill>
                <a:schemeClr val="lt1"/>
              </a:solidFill>
            </a:endParaRPr>
          </a:p>
        </p:txBody>
      </p:sp>
      <p:sp>
        <p:nvSpPr>
          <p:cNvPr id="36" name="椭圆 35">
            <a:extLst>
              <a:ext uri="{FF2B5EF4-FFF2-40B4-BE49-F238E27FC236}">
                <a16:creationId xmlns:a16="http://schemas.microsoft.com/office/drawing/2014/main" id="{132976BF-9490-4DB1-9422-E143CF81B8D2}"/>
              </a:ext>
            </a:extLst>
          </p:cNvPr>
          <p:cNvSpPr/>
          <p:nvPr/>
        </p:nvSpPr>
        <p:spPr>
          <a:xfrm>
            <a:off x="8853089" y="4211822"/>
            <a:ext cx="68649" cy="68649"/>
          </a:xfrm>
          <a:prstGeom prst="ellipse">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7" name="椭圆 36">
            <a:extLst>
              <a:ext uri="{FF2B5EF4-FFF2-40B4-BE49-F238E27FC236}">
                <a16:creationId xmlns:a16="http://schemas.microsoft.com/office/drawing/2014/main" id="{5D0BF1A6-BAB5-487D-ACF6-349686F81062}"/>
              </a:ext>
            </a:extLst>
          </p:cNvPr>
          <p:cNvSpPr/>
          <p:nvPr/>
        </p:nvSpPr>
        <p:spPr>
          <a:xfrm>
            <a:off x="7098669" y="4755066"/>
            <a:ext cx="68649" cy="68649"/>
          </a:xfrm>
          <a:prstGeom prst="ellipse">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8" name="文本框 37">
            <a:extLst>
              <a:ext uri="{FF2B5EF4-FFF2-40B4-BE49-F238E27FC236}">
                <a16:creationId xmlns:a16="http://schemas.microsoft.com/office/drawing/2014/main" id="{89BB663C-0880-4413-9F29-7E89F819FE83}"/>
              </a:ext>
            </a:extLst>
          </p:cNvPr>
          <p:cNvSpPr txBox="1"/>
          <p:nvPr/>
        </p:nvSpPr>
        <p:spPr>
          <a:xfrm>
            <a:off x="1850269" y="4559513"/>
            <a:ext cx="1154162" cy="276999"/>
          </a:xfrm>
          <a:prstGeom prst="rect">
            <a:avLst/>
          </a:prstGeom>
          <a:noFill/>
        </p:spPr>
        <p:txBody>
          <a:bodyPr wrap="none" lIns="0" tIns="0" rIns="0" bIns="0" rtlCol="0" anchor="t">
            <a:spAutoFit/>
          </a:bodyPr>
          <a:lstStyle/>
          <a:p>
            <a:pPr algn="l"/>
            <a:r>
              <a:rPr lang="zh-CN" altLang="en-US" dirty="0">
                <a:solidFill>
                  <a:schemeClr val="accent1"/>
                </a:solidFill>
                <a:latin typeface="+mj-ea"/>
                <a:ea typeface="+mj-ea"/>
              </a:rPr>
              <a:t>关键词标题</a:t>
            </a:r>
          </a:p>
        </p:txBody>
      </p:sp>
      <p:sp>
        <p:nvSpPr>
          <p:cNvPr id="39" name="文本框 38">
            <a:extLst>
              <a:ext uri="{FF2B5EF4-FFF2-40B4-BE49-F238E27FC236}">
                <a16:creationId xmlns:a16="http://schemas.microsoft.com/office/drawing/2014/main" id="{7773434F-12B5-4747-98D3-A14BB0231967}"/>
              </a:ext>
            </a:extLst>
          </p:cNvPr>
          <p:cNvSpPr txBox="1"/>
          <p:nvPr/>
        </p:nvSpPr>
        <p:spPr>
          <a:xfrm>
            <a:off x="536076" y="4958469"/>
            <a:ext cx="2468355" cy="387286"/>
          </a:xfrm>
          <a:prstGeom prst="rect">
            <a:avLst/>
          </a:prstGeom>
          <a:noFill/>
        </p:spPr>
        <p:txBody>
          <a:bodyPr wrap="square" lIns="0" tIns="0" rIns="0" bIns="0" rtlCol="0" anchor="t">
            <a:spAutoFit/>
          </a:bodyPr>
          <a:lstStyle/>
          <a:p>
            <a:pPr algn="r">
              <a:lnSpc>
                <a:spcPct val="130000"/>
              </a:lnSpc>
            </a:pPr>
            <a:r>
              <a:rPr lang="en-US" altLang="zh-CN" sz="1000" b="0" dirty="0">
                <a:solidFill>
                  <a:schemeClr val="tx1">
                    <a:lumMod val="75000"/>
                    <a:lumOff val="25000"/>
                  </a:schemeClr>
                </a:solidFill>
                <a:effectLst/>
                <a:latin typeface="+mn-ea"/>
              </a:rPr>
              <a:t>Lorem ipsum dolor sit ametconsectetur adipisicing elit</a:t>
            </a:r>
            <a:r>
              <a:rPr lang="en-US" altLang="zh-CN" sz="1000" dirty="0">
                <a:solidFill>
                  <a:schemeClr val="tx1">
                    <a:lumMod val="75000"/>
                    <a:lumOff val="25000"/>
                  </a:schemeClr>
                </a:solidFill>
                <a:latin typeface="+mn-ea"/>
              </a:rPr>
              <a:t> </a:t>
            </a:r>
            <a:r>
              <a:rPr lang="en-US" altLang="zh-CN" sz="1000" b="0" dirty="0">
                <a:solidFill>
                  <a:schemeClr val="tx1">
                    <a:lumMod val="75000"/>
                    <a:lumOff val="25000"/>
                  </a:schemeClr>
                </a:solidFill>
                <a:effectLst/>
                <a:latin typeface="+mn-ea"/>
              </a:rPr>
              <a:t>sed do eiusmod tempor</a:t>
            </a:r>
            <a:endParaRPr lang="zh-CN" altLang="en-US" sz="1000" b="0" dirty="0">
              <a:solidFill>
                <a:schemeClr val="tx1">
                  <a:lumMod val="75000"/>
                  <a:lumOff val="25000"/>
                </a:schemeClr>
              </a:solidFill>
              <a:effectLst/>
              <a:latin typeface="+mn-ea"/>
            </a:endParaRPr>
          </a:p>
        </p:txBody>
      </p:sp>
      <p:grpSp>
        <p:nvGrpSpPr>
          <p:cNvPr id="43" name="组合 42">
            <a:extLst>
              <a:ext uri="{FF2B5EF4-FFF2-40B4-BE49-F238E27FC236}">
                <a16:creationId xmlns:a16="http://schemas.microsoft.com/office/drawing/2014/main" id="{16474909-9FCD-4D3F-8217-E28671C6DBC0}"/>
              </a:ext>
            </a:extLst>
          </p:cNvPr>
          <p:cNvGrpSpPr/>
          <p:nvPr/>
        </p:nvGrpSpPr>
        <p:grpSpPr>
          <a:xfrm flipH="1" flipV="1">
            <a:off x="1770254" y="4293268"/>
            <a:ext cx="1823069" cy="611893"/>
            <a:chOff x="1468000" y="5297431"/>
            <a:chExt cx="1823069" cy="611893"/>
          </a:xfrm>
        </p:grpSpPr>
        <p:sp>
          <p:nvSpPr>
            <p:cNvPr id="40" name="任意多边形: 形状 39">
              <a:extLst>
                <a:ext uri="{FF2B5EF4-FFF2-40B4-BE49-F238E27FC236}">
                  <a16:creationId xmlns:a16="http://schemas.microsoft.com/office/drawing/2014/main" id="{FB966480-B39E-4DE5-8532-5E814DB819FD}"/>
                </a:ext>
              </a:extLst>
            </p:cNvPr>
            <p:cNvSpPr/>
            <p:nvPr/>
          </p:nvSpPr>
          <p:spPr>
            <a:xfrm>
              <a:off x="1506778" y="5331755"/>
              <a:ext cx="1745516" cy="533402"/>
            </a:xfrm>
            <a:custGeom>
              <a:avLst/>
              <a:gdLst/>
              <a:ahLst/>
              <a:cxnLst/>
              <a:rect l="0" t="0" r="0" b="0"/>
              <a:pathLst>
                <a:path w="1745516" h="533402">
                  <a:moveTo>
                    <a:pt x="1385847" y="0"/>
                  </a:moveTo>
                  <a:lnTo>
                    <a:pt x="1745515" y="0"/>
                  </a:lnTo>
                  <a:lnTo>
                    <a:pt x="533400" y="1"/>
                  </a:lnTo>
                  <a:lnTo>
                    <a:pt x="0" y="533401"/>
                  </a:lnTo>
                </a:path>
              </a:pathLst>
            </a:cu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zh-CN" altLang="en-US">
                <a:solidFill>
                  <a:schemeClr val="lt1"/>
                </a:solidFill>
              </a:endParaRPr>
            </a:p>
          </p:txBody>
        </p:sp>
        <p:sp>
          <p:nvSpPr>
            <p:cNvPr id="41" name="椭圆 40">
              <a:extLst>
                <a:ext uri="{FF2B5EF4-FFF2-40B4-BE49-F238E27FC236}">
                  <a16:creationId xmlns:a16="http://schemas.microsoft.com/office/drawing/2014/main" id="{08EF9419-F44E-4395-A70A-FA911A32666B}"/>
                </a:ext>
              </a:extLst>
            </p:cNvPr>
            <p:cNvSpPr/>
            <p:nvPr/>
          </p:nvSpPr>
          <p:spPr>
            <a:xfrm>
              <a:off x="3222420" y="5297431"/>
              <a:ext cx="68649" cy="68649"/>
            </a:xfrm>
            <a:prstGeom prst="ellipse">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2" name="椭圆 41">
              <a:extLst>
                <a:ext uri="{FF2B5EF4-FFF2-40B4-BE49-F238E27FC236}">
                  <a16:creationId xmlns:a16="http://schemas.microsoft.com/office/drawing/2014/main" id="{C8F6E0B3-10A6-4FA7-B3A1-14BBE5AC2941}"/>
                </a:ext>
              </a:extLst>
            </p:cNvPr>
            <p:cNvSpPr/>
            <p:nvPr/>
          </p:nvSpPr>
          <p:spPr>
            <a:xfrm>
              <a:off x="1468000" y="5840675"/>
              <a:ext cx="68649" cy="68649"/>
            </a:xfrm>
            <a:prstGeom prst="ellipse">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50" name="组合 49">
            <a:extLst>
              <a:ext uri="{FF2B5EF4-FFF2-40B4-BE49-F238E27FC236}">
                <a16:creationId xmlns:a16="http://schemas.microsoft.com/office/drawing/2014/main" id="{3077BE86-A7DA-4FF6-9F1A-55EF3D9628FA}"/>
              </a:ext>
            </a:extLst>
          </p:cNvPr>
          <p:cNvGrpSpPr/>
          <p:nvPr/>
        </p:nvGrpSpPr>
        <p:grpSpPr>
          <a:xfrm flipH="1">
            <a:off x="3304322" y="2267170"/>
            <a:ext cx="1823069" cy="611893"/>
            <a:chOff x="7433526" y="1782998"/>
            <a:chExt cx="1823069" cy="611893"/>
          </a:xfrm>
        </p:grpSpPr>
        <p:sp>
          <p:nvSpPr>
            <p:cNvPr id="51" name="任意多边形: 形状 50">
              <a:extLst>
                <a:ext uri="{FF2B5EF4-FFF2-40B4-BE49-F238E27FC236}">
                  <a16:creationId xmlns:a16="http://schemas.microsoft.com/office/drawing/2014/main" id="{5B4F65C7-B97D-4A56-A5CE-75E9DFCC1283}"/>
                </a:ext>
              </a:extLst>
            </p:cNvPr>
            <p:cNvSpPr/>
            <p:nvPr/>
          </p:nvSpPr>
          <p:spPr>
            <a:xfrm>
              <a:off x="7472304" y="1817322"/>
              <a:ext cx="1745516" cy="533402"/>
            </a:xfrm>
            <a:custGeom>
              <a:avLst/>
              <a:gdLst/>
              <a:ahLst/>
              <a:cxnLst/>
              <a:rect l="0" t="0" r="0" b="0"/>
              <a:pathLst>
                <a:path w="1745516" h="533402">
                  <a:moveTo>
                    <a:pt x="1385847" y="0"/>
                  </a:moveTo>
                  <a:lnTo>
                    <a:pt x="1745515" y="0"/>
                  </a:lnTo>
                  <a:lnTo>
                    <a:pt x="533400" y="1"/>
                  </a:lnTo>
                  <a:lnTo>
                    <a:pt x="0" y="533401"/>
                  </a:lnTo>
                </a:path>
              </a:pathLst>
            </a:cu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zh-CN" altLang="en-US">
                <a:solidFill>
                  <a:schemeClr val="lt1"/>
                </a:solidFill>
              </a:endParaRPr>
            </a:p>
          </p:txBody>
        </p:sp>
        <p:sp>
          <p:nvSpPr>
            <p:cNvPr id="52" name="椭圆 51">
              <a:extLst>
                <a:ext uri="{FF2B5EF4-FFF2-40B4-BE49-F238E27FC236}">
                  <a16:creationId xmlns:a16="http://schemas.microsoft.com/office/drawing/2014/main" id="{C6E86D1F-970A-448A-89FE-7934DCB3E589}"/>
                </a:ext>
              </a:extLst>
            </p:cNvPr>
            <p:cNvSpPr/>
            <p:nvPr/>
          </p:nvSpPr>
          <p:spPr>
            <a:xfrm>
              <a:off x="9187946" y="1782998"/>
              <a:ext cx="68649" cy="68649"/>
            </a:xfrm>
            <a:prstGeom prst="ellipse">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3" name="椭圆 52">
              <a:extLst>
                <a:ext uri="{FF2B5EF4-FFF2-40B4-BE49-F238E27FC236}">
                  <a16:creationId xmlns:a16="http://schemas.microsoft.com/office/drawing/2014/main" id="{FE336D30-C7D2-4F3F-8A34-889A3668BF94}"/>
                </a:ext>
              </a:extLst>
            </p:cNvPr>
            <p:cNvSpPr/>
            <p:nvPr/>
          </p:nvSpPr>
          <p:spPr>
            <a:xfrm>
              <a:off x="7433526" y="2326242"/>
              <a:ext cx="68649" cy="68649"/>
            </a:xfrm>
            <a:prstGeom prst="ellipse">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54" name="文本框 53">
            <a:extLst>
              <a:ext uri="{FF2B5EF4-FFF2-40B4-BE49-F238E27FC236}">
                <a16:creationId xmlns:a16="http://schemas.microsoft.com/office/drawing/2014/main" id="{5AD3D0BC-3A59-46B0-AA4A-7FA81BF33364}"/>
              </a:ext>
            </a:extLst>
          </p:cNvPr>
          <p:cNvSpPr txBox="1"/>
          <p:nvPr/>
        </p:nvSpPr>
        <p:spPr>
          <a:xfrm>
            <a:off x="3421911" y="1970200"/>
            <a:ext cx="1154162" cy="276999"/>
          </a:xfrm>
          <a:prstGeom prst="rect">
            <a:avLst/>
          </a:prstGeom>
          <a:noFill/>
        </p:spPr>
        <p:txBody>
          <a:bodyPr wrap="none" lIns="0" tIns="0" rIns="0" bIns="0" rtlCol="0" anchor="t">
            <a:spAutoFit/>
          </a:bodyPr>
          <a:lstStyle/>
          <a:p>
            <a:pPr algn="l"/>
            <a:r>
              <a:rPr lang="zh-CN" altLang="en-US" dirty="0">
                <a:solidFill>
                  <a:schemeClr val="accent1"/>
                </a:solidFill>
                <a:latin typeface="+mj-ea"/>
                <a:ea typeface="+mj-ea"/>
              </a:rPr>
              <a:t>关键词标题</a:t>
            </a:r>
          </a:p>
        </p:txBody>
      </p:sp>
      <p:sp>
        <p:nvSpPr>
          <p:cNvPr id="55" name="文本框 54">
            <a:extLst>
              <a:ext uri="{FF2B5EF4-FFF2-40B4-BE49-F238E27FC236}">
                <a16:creationId xmlns:a16="http://schemas.microsoft.com/office/drawing/2014/main" id="{285FBC1B-D5F2-42C9-A409-5580336BD4CD}"/>
              </a:ext>
            </a:extLst>
          </p:cNvPr>
          <p:cNvSpPr txBox="1"/>
          <p:nvPr/>
        </p:nvSpPr>
        <p:spPr>
          <a:xfrm>
            <a:off x="2107718" y="2369156"/>
            <a:ext cx="2468355" cy="387286"/>
          </a:xfrm>
          <a:prstGeom prst="rect">
            <a:avLst/>
          </a:prstGeom>
          <a:noFill/>
        </p:spPr>
        <p:txBody>
          <a:bodyPr wrap="square" lIns="0" tIns="0" rIns="0" bIns="0" rtlCol="0" anchor="t">
            <a:spAutoFit/>
          </a:bodyPr>
          <a:lstStyle/>
          <a:p>
            <a:pPr algn="r">
              <a:lnSpc>
                <a:spcPct val="130000"/>
              </a:lnSpc>
            </a:pPr>
            <a:r>
              <a:rPr lang="en-US" altLang="zh-CN" sz="1000" b="0" dirty="0">
                <a:solidFill>
                  <a:schemeClr val="tx1">
                    <a:lumMod val="75000"/>
                    <a:lumOff val="25000"/>
                  </a:schemeClr>
                </a:solidFill>
                <a:effectLst/>
                <a:latin typeface="+mn-ea"/>
              </a:rPr>
              <a:t>Lorem ipsum dolor sit ametconsectetur adipisicing elit</a:t>
            </a:r>
            <a:r>
              <a:rPr lang="en-US" altLang="zh-CN" sz="1000" dirty="0">
                <a:solidFill>
                  <a:schemeClr val="tx1">
                    <a:lumMod val="75000"/>
                    <a:lumOff val="25000"/>
                  </a:schemeClr>
                </a:solidFill>
                <a:latin typeface="+mn-ea"/>
              </a:rPr>
              <a:t> </a:t>
            </a:r>
            <a:r>
              <a:rPr lang="en-US" altLang="zh-CN" sz="1000" b="0" dirty="0">
                <a:solidFill>
                  <a:schemeClr val="tx1">
                    <a:lumMod val="75000"/>
                    <a:lumOff val="25000"/>
                  </a:schemeClr>
                </a:solidFill>
                <a:effectLst/>
                <a:latin typeface="+mn-ea"/>
              </a:rPr>
              <a:t>sed do eiusmod tempor</a:t>
            </a:r>
            <a:endParaRPr lang="zh-CN" altLang="en-US" sz="1000" b="0" dirty="0">
              <a:solidFill>
                <a:schemeClr val="tx1">
                  <a:lumMod val="75000"/>
                  <a:lumOff val="25000"/>
                </a:schemeClr>
              </a:solidFill>
              <a:effectLst/>
              <a:latin typeface="+mn-ea"/>
            </a:endParaRPr>
          </a:p>
        </p:txBody>
      </p:sp>
      <p:sp>
        <p:nvSpPr>
          <p:cNvPr id="3" name="椭圆 2">
            <a:extLst>
              <a:ext uri="{FF2B5EF4-FFF2-40B4-BE49-F238E27FC236}">
                <a16:creationId xmlns:a16="http://schemas.microsoft.com/office/drawing/2014/main" id="{DFEDBFF7-F1DC-4B0F-9EC9-9EBC4A2A8E2E}"/>
              </a:ext>
            </a:extLst>
          </p:cNvPr>
          <p:cNvSpPr/>
          <p:nvPr/>
        </p:nvSpPr>
        <p:spPr>
          <a:xfrm>
            <a:off x="4724400" y="2802505"/>
            <a:ext cx="1990725" cy="1990725"/>
          </a:xfrm>
          <a:prstGeom prst="ellipse">
            <a:avLst/>
          </a:prstGeom>
          <a:gradFill>
            <a:gsLst>
              <a:gs pos="0">
                <a:schemeClr val="accent1"/>
              </a:gs>
              <a:gs pos="100000">
                <a:schemeClr val="accent1">
                  <a:lumMod val="75000"/>
                </a:schemeClr>
              </a:gs>
            </a:gsLst>
            <a:lin ang="2700000" scaled="0"/>
          </a:gradFill>
          <a:ln w="25400" cap="flat" cmpd="sng" algn="ctr">
            <a:noFill/>
            <a:prstDash val="solid"/>
            <a:miter lim="800000"/>
          </a:ln>
          <a:effectLst>
            <a:outerShdw blurRad="254000" dist="88900" dir="2700000" algn="tl" rotWithShape="0">
              <a:schemeClr val="accent1">
                <a:lumMod val="50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 name="文本框 6">
            <a:extLst>
              <a:ext uri="{FF2B5EF4-FFF2-40B4-BE49-F238E27FC236}">
                <a16:creationId xmlns:a16="http://schemas.microsoft.com/office/drawing/2014/main" id="{5552FA77-C444-489A-B051-BFD656EB539B}"/>
              </a:ext>
            </a:extLst>
          </p:cNvPr>
          <p:cNvSpPr txBox="1"/>
          <p:nvPr/>
        </p:nvSpPr>
        <p:spPr>
          <a:xfrm>
            <a:off x="5135903" y="3910988"/>
            <a:ext cx="1154162" cy="276999"/>
          </a:xfrm>
          <a:prstGeom prst="rect">
            <a:avLst/>
          </a:prstGeom>
          <a:noFill/>
        </p:spPr>
        <p:txBody>
          <a:bodyPr wrap="none" lIns="0" tIns="0" rIns="0" bIns="0" rtlCol="0" anchor="t">
            <a:spAutoFit/>
          </a:bodyPr>
          <a:lstStyle/>
          <a:p>
            <a:pPr algn="l"/>
            <a:r>
              <a:rPr lang="zh-CN" altLang="en-US" dirty="0">
                <a:solidFill>
                  <a:schemeClr val="bg1"/>
                </a:solidFill>
                <a:latin typeface="+mj-ea"/>
                <a:ea typeface="+mj-ea"/>
              </a:rPr>
              <a:t>关键词标题</a:t>
            </a:r>
          </a:p>
        </p:txBody>
      </p:sp>
      <p:sp>
        <p:nvSpPr>
          <p:cNvPr id="8" name="iconfont-1179-866479">
            <a:extLst>
              <a:ext uri="{FF2B5EF4-FFF2-40B4-BE49-F238E27FC236}">
                <a16:creationId xmlns:a16="http://schemas.microsoft.com/office/drawing/2014/main" id="{D172F51D-9B7D-4E35-BABA-0DA43DC561FB}"/>
              </a:ext>
            </a:extLst>
          </p:cNvPr>
          <p:cNvSpPr/>
          <p:nvPr/>
        </p:nvSpPr>
        <p:spPr>
          <a:xfrm>
            <a:off x="5455598" y="3213380"/>
            <a:ext cx="514772" cy="609685"/>
          </a:xfrm>
          <a:custGeom>
            <a:avLst/>
            <a:gdLst>
              <a:gd name="T0" fmla="*/ 6573 w 9390"/>
              <a:gd name="T1" fmla="*/ 3437 h 11120"/>
              <a:gd name="T2" fmla="*/ 7967 w 9390"/>
              <a:gd name="T3" fmla="*/ 1730 h 11120"/>
              <a:gd name="T4" fmla="*/ 5311 w 9390"/>
              <a:gd name="T5" fmla="*/ 1140 h 11120"/>
              <a:gd name="T6" fmla="*/ 3129 w 9390"/>
              <a:gd name="T7" fmla="*/ 876 h 11120"/>
              <a:gd name="T8" fmla="*/ 2455 w 9390"/>
              <a:gd name="T9" fmla="*/ 3147 h 11120"/>
              <a:gd name="T10" fmla="*/ 7438 w 9390"/>
              <a:gd name="T11" fmla="*/ 4336 h 11120"/>
              <a:gd name="T12" fmla="*/ 2969 w 9390"/>
              <a:gd name="T13" fmla="*/ 4006 h 11120"/>
              <a:gd name="T14" fmla="*/ 0 w 9390"/>
              <a:gd name="T15" fmla="*/ 8570 h 11120"/>
              <a:gd name="T16" fmla="*/ 6860 w 9390"/>
              <a:gd name="T17" fmla="*/ 11120 h 11120"/>
              <a:gd name="T18" fmla="*/ 7438 w 9390"/>
              <a:gd name="T19" fmla="*/ 4336 h 11120"/>
              <a:gd name="T20" fmla="*/ 5549 w 9390"/>
              <a:gd name="T21" fmla="*/ 7248 h 11120"/>
              <a:gd name="T22" fmla="*/ 5919 w 9390"/>
              <a:gd name="T23" fmla="*/ 7515 h 11120"/>
              <a:gd name="T24" fmla="*/ 6098 w 9390"/>
              <a:gd name="T25" fmla="*/ 7695 h 11120"/>
              <a:gd name="T26" fmla="*/ 5384 w 9390"/>
              <a:gd name="T27" fmla="*/ 7874 h 11120"/>
              <a:gd name="T28" fmla="*/ 5195 w 9390"/>
              <a:gd name="T29" fmla="*/ 8151 h 11120"/>
              <a:gd name="T30" fmla="*/ 5919 w 9390"/>
              <a:gd name="T31" fmla="*/ 8331 h 11120"/>
              <a:gd name="T32" fmla="*/ 5919 w 9390"/>
              <a:gd name="T33" fmla="*/ 8690 h 11120"/>
              <a:gd name="T34" fmla="*/ 5195 w 9390"/>
              <a:gd name="T35" fmla="*/ 8870 h 11120"/>
              <a:gd name="T36" fmla="*/ 5015 w 9390"/>
              <a:gd name="T37" fmla="*/ 9507 h 11120"/>
              <a:gd name="T38" fmla="*/ 4510 w 9390"/>
              <a:gd name="T39" fmla="*/ 9327 h 11120"/>
              <a:gd name="T40" fmla="*/ 4330 w 9390"/>
              <a:gd name="T41" fmla="*/ 8690 h 11120"/>
              <a:gd name="T42" fmla="*/ 3612 w 9390"/>
              <a:gd name="T43" fmla="*/ 8510 h 11120"/>
              <a:gd name="T44" fmla="*/ 4329 w 9390"/>
              <a:gd name="T45" fmla="*/ 8331 h 11120"/>
              <a:gd name="T46" fmla="*/ 4511 w 9390"/>
              <a:gd name="T47" fmla="*/ 8063 h 11120"/>
              <a:gd name="T48" fmla="*/ 3792 w 9390"/>
              <a:gd name="T49" fmla="*/ 7873 h 11120"/>
              <a:gd name="T50" fmla="*/ 3612 w 9390"/>
              <a:gd name="T51" fmla="*/ 7694 h 11120"/>
              <a:gd name="T52" fmla="*/ 3999 w 9390"/>
              <a:gd name="T53" fmla="*/ 7514 h 11120"/>
              <a:gd name="T54" fmla="*/ 3406 w 9390"/>
              <a:gd name="T55" fmla="*/ 5887 h 11120"/>
              <a:gd name="T56" fmla="*/ 3920 w 9390"/>
              <a:gd name="T57" fmla="*/ 5620 h 11120"/>
              <a:gd name="T58" fmla="*/ 4691 w 9390"/>
              <a:gd name="T59" fmla="*/ 6937 h 11120"/>
              <a:gd name="T60" fmla="*/ 5623 w 9390"/>
              <a:gd name="T61" fmla="*/ 5719 h 11120"/>
              <a:gd name="T62" fmla="*/ 6140 w 9390"/>
              <a:gd name="T63" fmla="*/ 5620 h 1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390" h="11120">
                <a:moveTo>
                  <a:pt x="3078" y="3437"/>
                </a:moveTo>
                <a:lnTo>
                  <a:pt x="6573" y="3437"/>
                </a:lnTo>
                <a:cubicBezTo>
                  <a:pt x="6809" y="3437"/>
                  <a:pt x="7036" y="3338"/>
                  <a:pt x="7187" y="3157"/>
                </a:cubicBezTo>
                <a:cubicBezTo>
                  <a:pt x="7548" y="2728"/>
                  <a:pt x="7890" y="2202"/>
                  <a:pt x="7967" y="1730"/>
                </a:cubicBezTo>
                <a:cubicBezTo>
                  <a:pt x="8121" y="786"/>
                  <a:pt x="7717" y="307"/>
                  <a:pt x="6544" y="307"/>
                </a:cubicBezTo>
                <a:cubicBezTo>
                  <a:pt x="5370" y="307"/>
                  <a:pt x="5767" y="1077"/>
                  <a:pt x="5311" y="1140"/>
                </a:cubicBezTo>
                <a:cubicBezTo>
                  <a:pt x="4971" y="1187"/>
                  <a:pt x="4983" y="739"/>
                  <a:pt x="4449" y="308"/>
                </a:cubicBezTo>
                <a:cubicBezTo>
                  <a:pt x="4066" y="0"/>
                  <a:pt x="3636" y="871"/>
                  <a:pt x="3129" y="876"/>
                </a:cubicBezTo>
                <a:cubicBezTo>
                  <a:pt x="2538" y="884"/>
                  <a:pt x="1707" y="720"/>
                  <a:pt x="1707" y="1730"/>
                </a:cubicBezTo>
                <a:cubicBezTo>
                  <a:pt x="1707" y="2138"/>
                  <a:pt x="2065" y="2690"/>
                  <a:pt x="2455" y="3147"/>
                </a:cubicBezTo>
                <a:cubicBezTo>
                  <a:pt x="2612" y="3330"/>
                  <a:pt x="2838" y="3437"/>
                  <a:pt x="3078" y="3437"/>
                </a:cubicBezTo>
                <a:close/>
                <a:moveTo>
                  <a:pt x="7438" y="4336"/>
                </a:moveTo>
                <a:cubicBezTo>
                  <a:pt x="7252" y="4125"/>
                  <a:pt x="6981" y="4006"/>
                  <a:pt x="6699" y="4006"/>
                </a:cubicBezTo>
                <a:lnTo>
                  <a:pt x="2969" y="4006"/>
                </a:lnTo>
                <a:cubicBezTo>
                  <a:pt x="2700" y="4006"/>
                  <a:pt x="2440" y="4115"/>
                  <a:pt x="2253" y="4310"/>
                </a:cubicBezTo>
                <a:cubicBezTo>
                  <a:pt x="1081" y="5538"/>
                  <a:pt x="0" y="7291"/>
                  <a:pt x="0" y="8570"/>
                </a:cubicBezTo>
                <a:cubicBezTo>
                  <a:pt x="0" y="9697"/>
                  <a:pt x="1133" y="11120"/>
                  <a:pt x="2530" y="11120"/>
                </a:cubicBezTo>
                <a:lnTo>
                  <a:pt x="6860" y="11120"/>
                </a:lnTo>
                <a:cubicBezTo>
                  <a:pt x="8257" y="11120"/>
                  <a:pt x="9390" y="9709"/>
                  <a:pt x="9390" y="8570"/>
                </a:cubicBezTo>
                <a:cubicBezTo>
                  <a:pt x="9390" y="7268"/>
                  <a:pt x="8520" y="5564"/>
                  <a:pt x="7438" y="4336"/>
                </a:cubicBezTo>
                <a:close/>
                <a:moveTo>
                  <a:pt x="6299" y="5888"/>
                </a:moveTo>
                <a:lnTo>
                  <a:pt x="5549" y="7248"/>
                </a:lnTo>
                <a:cubicBezTo>
                  <a:pt x="5483" y="7368"/>
                  <a:pt x="5570" y="7515"/>
                  <a:pt x="5706" y="7515"/>
                </a:cubicBezTo>
                <a:lnTo>
                  <a:pt x="5919" y="7515"/>
                </a:lnTo>
                <a:cubicBezTo>
                  <a:pt x="6017" y="7515"/>
                  <a:pt x="6098" y="7595"/>
                  <a:pt x="6098" y="7695"/>
                </a:cubicBezTo>
                <a:lnTo>
                  <a:pt x="6098" y="7695"/>
                </a:lnTo>
                <a:cubicBezTo>
                  <a:pt x="6098" y="7793"/>
                  <a:pt x="6018" y="7874"/>
                  <a:pt x="5919" y="7874"/>
                </a:cubicBezTo>
                <a:lnTo>
                  <a:pt x="5384" y="7874"/>
                </a:lnTo>
                <a:cubicBezTo>
                  <a:pt x="5279" y="7874"/>
                  <a:pt x="5196" y="7958"/>
                  <a:pt x="5195" y="8062"/>
                </a:cubicBezTo>
                <a:lnTo>
                  <a:pt x="5195" y="8151"/>
                </a:lnTo>
                <a:cubicBezTo>
                  <a:pt x="5195" y="8249"/>
                  <a:pt x="5275" y="8331"/>
                  <a:pt x="5375" y="8331"/>
                </a:cubicBezTo>
                <a:lnTo>
                  <a:pt x="5919" y="8331"/>
                </a:lnTo>
                <a:cubicBezTo>
                  <a:pt x="6017" y="8331"/>
                  <a:pt x="6098" y="8411"/>
                  <a:pt x="6098" y="8510"/>
                </a:cubicBezTo>
                <a:cubicBezTo>
                  <a:pt x="6098" y="8610"/>
                  <a:pt x="6018" y="8690"/>
                  <a:pt x="5919" y="8690"/>
                </a:cubicBezTo>
                <a:lnTo>
                  <a:pt x="5375" y="8690"/>
                </a:lnTo>
                <a:cubicBezTo>
                  <a:pt x="5276" y="8690"/>
                  <a:pt x="5195" y="8770"/>
                  <a:pt x="5195" y="8870"/>
                </a:cubicBezTo>
                <a:lnTo>
                  <a:pt x="5195" y="9327"/>
                </a:lnTo>
                <a:cubicBezTo>
                  <a:pt x="5195" y="9426"/>
                  <a:pt x="5115" y="9507"/>
                  <a:pt x="5015" y="9507"/>
                </a:cubicBezTo>
                <a:lnTo>
                  <a:pt x="4690" y="9507"/>
                </a:lnTo>
                <a:cubicBezTo>
                  <a:pt x="4591" y="9507"/>
                  <a:pt x="4510" y="9427"/>
                  <a:pt x="4510" y="9327"/>
                </a:cubicBezTo>
                <a:lnTo>
                  <a:pt x="4510" y="8870"/>
                </a:lnTo>
                <a:cubicBezTo>
                  <a:pt x="4510" y="8771"/>
                  <a:pt x="4430" y="8690"/>
                  <a:pt x="4330" y="8690"/>
                </a:cubicBezTo>
                <a:lnTo>
                  <a:pt x="3792" y="8690"/>
                </a:lnTo>
                <a:cubicBezTo>
                  <a:pt x="3693" y="8690"/>
                  <a:pt x="3612" y="8610"/>
                  <a:pt x="3612" y="8510"/>
                </a:cubicBezTo>
                <a:cubicBezTo>
                  <a:pt x="3612" y="8411"/>
                  <a:pt x="3692" y="8331"/>
                  <a:pt x="3792" y="8331"/>
                </a:cubicBezTo>
                <a:lnTo>
                  <a:pt x="4329" y="8331"/>
                </a:lnTo>
                <a:cubicBezTo>
                  <a:pt x="4429" y="8331"/>
                  <a:pt x="4509" y="8251"/>
                  <a:pt x="4510" y="8151"/>
                </a:cubicBezTo>
                <a:lnTo>
                  <a:pt x="4511" y="8063"/>
                </a:lnTo>
                <a:cubicBezTo>
                  <a:pt x="4512" y="7959"/>
                  <a:pt x="4427" y="7873"/>
                  <a:pt x="4322" y="7873"/>
                </a:cubicBezTo>
                <a:lnTo>
                  <a:pt x="3792" y="7873"/>
                </a:lnTo>
                <a:cubicBezTo>
                  <a:pt x="3693" y="7873"/>
                  <a:pt x="3612" y="7793"/>
                  <a:pt x="3612" y="7694"/>
                </a:cubicBezTo>
                <a:lnTo>
                  <a:pt x="3612" y="7694"/>
                </a:lnTo>
                <a:cubicBezTo>
                  <a:pt x="3612" y="7595"/>
                  <a:pt x="3692" y="7514"/>
                  <a:pt x="3792" y="7514"/>
                </a:cubicBezTo>
                <a:lnTo>
                  <a:pt x="3999" y="7514"/>
                </a:lnTo>
                <a:cubicBezTo>
                  <a:pt x="4136" y="7514"/>
                  <a:pt x="4221" y="7367"/>
                  <a:pt x="4156" y="7247"/>
                </a:cubicBezTo>
                <a:lnTo>
                  <a:pt x="3406" y="5887"/>
                </a:lnTo>
                <a:cubicBezTo>
                  <a:pt x="3340" y="5767"/>
                  <a:pt x="3426" y="5620"/>
                  <a:pt x="3562" y="5620"/>
                </a:cubicBezTo>
                <a:lnTo>
                  <a:pt x="3920" y="5620"/>
                </a:lnTo>
                <a:cubicBezTo>
                  <a:pt x="3988" y="5620"/>
                  <a:pt x="4050" y="5659"/>
                  <a:pt x="4080" y="5719"/>
                </a:cubicBezTo>
                <a:lnTo>
                  <a:pt x="4691" y="6937"/>
                </a:lnTo>
                <a:cubicBezTo>
                  <a:pt x="4756" y="7069"/>
                  <a:pt x="4945" y="7069"/>
                  <a:pt x="5012" y="6937"/>
                </a:cubicBezTo>
                <a:lnTo>
                  <a:pt x="5623" y="5719"/>
                </a:lnTo>
                <a:cubicBezTo>
                  <a:pt x="5653" y="5659"/>
                  <a:pt x="5715" y="5620"/>
                  <a:pt x="5783" y="5620"/>
                </a:cubicBezTo>
                <a:lnTo>
                  <a:pt x="6140" y="5620"/>
                </a:lnTo>
                <a:cubicBezTo>
                  <a:pt x="6278" y="5622"/>
                  <a:pt x="6365" y="5768"/>
                  <a:pt x="6299" y="588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custDataLst>
      <p:tags r:id="rId2"/>
    </p:custDataLst>
    <p:extLst>
      <p:ext uri="{BB962C8B-B14F-4D97-AF65-F5344CB8AC3E}">
        <p14:creationId xmlns:p14="http://schemas.microsoft.com/office/powerpoint/2010/main" val="3324191874"/>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2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组合 6">
            <a:extLst>
              <a:ext uri="{FF2B5EF4-FFF2-40B4-BE49-F238E27FC236}">
                <a16:creationId xmlns:a16="http://schemas.microsoft.com/office/drawing/2014/main" id="{15A6C718-6378-4989-BA76-4C65DECA492D}"/>
              </a:ext>
            </a:extLst>
          </p:cNvPr>
          <p:cNvGrpSpPr/>
          <p:nvPr/>
        </p:nvGrpSpPr>
        <p:grpSpPr>
          <a:xfrm>
            <a:off x="1440038" y="2074412"/>
            <a:ext cx="1625249" cy="3234765"/>
            <a:chOff x="3189126" y="2074412"/>
            <a:chExt cx="1625249" cy="3234765"/>
          </a:xfrm>
        </p:grpSpPr>
        <p:sp>
          <p:nvSpPr>
            <p:cNvPr id="4" name="平行四边形 3">
              <a:extLst>
                <a:ext uri="{FF2B5EF4-FFF2-40B4-BE49-F238E27FC236}">
                  <a16:creationId xmlns:a16="http://schemas.microsoft.com/office/drawing/2014/main" id="{4A027EF8-C3FA-4C94-BCEF-2DA90D4E2D62}"/>
                </a:ext>
              </a:extLst>
            </p:cNvPr>
            <p:cNvSpPr/>
            <p:nvPr/>
          </p:nvSpPr>
          <p:spPr>
            <a:xfrm>
              <a:off x="3318913" y="2767684"/>
              <a:ext cx="823912" cy="450850"/>
            </a:xfrm>
            <a:prstGeom prst="parallelogram">
              <a:avLst>
                <a:gd name="adj" fmla="val 26056"/>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600" dirty="0">
                  <a:solidFill>
                    <a:schemeClr val="bg1"/>
                  </a:solidFill>
                  <a:latin typeface="+mj-ea"/>
                  <a:ea typeface="+mj-ea"/>
                </a:rPr>
                <a:t>01</a:t>
              </a:r>
              <a:endParaRPr lang="zh-CN" altLang="en-US" sz="1600" dirty="0">
                <a:solidFill>
                  <a:schemeClr val="bg1"/>
                </a:solidFill>
                <a:latin typeface="+mj-ea"/>
                <a:ea typeface="+mj-ea"/>
              </a:endParaRPr>
            </a:p>
          </p:txBody>
        </p:sp>
        <p:pic>
          <p:nvPicPr>
            <p:cNvPr id="3" name="图片 2">
              <a:extLst>
                <a:ext uri="{FF2B5EF4-FFF2-40B4-BE49-F238E27FC236}">
                  <a16:creationId xmlns:a16="http://schemas.microsoft.com/office/drawing/2014/main" id="{3C3FEF9F-41B6-4D04-9324-827AB338C5ED}"/>
                </a:ext>
              </a:extLst>
            </p:cNvPr>
            <p:cNvPicPr>
              <a:picLocks noChangeAspect="1"/>
            </p:cNvPicPr>
            <p:nvPr/>
          </p:nvPicPr>
          <p:blipFill>
            <a:blip r:embed="rId3">
              <a:duotone>
                <a:schemeClr val="accent1">
                  <a:shade val="45000"/>
                  <a:satMod val="135000"/>
                </a:schemeClr>
                <a:prstClr val="white"/>
              </a:duotone>
              <a:alphaModFix amt="50000"/>
              <a:extLst>
                <a:ext uri="{28A0092B-C50C-407E-A947-70E740481C1C}">
                  <a14:useLocalDpi xmlns:a14="http://schemas.microsoft.com/office/drawing/2010/main" val="0"/>
                </a:ext>
              </a:extLst>
            </a:blip>
            <a:stretch>
              <a:fillRect/>
            </a:stretch>
          </p:blipFill>
          <p:spPr>
            <a:xfrm rot="17100000">
              <a:off x="1641371" y="3622167"/>
              <a:ext cx="3234765" cy="139256"/>
            </a:xfrm>
            <a:prstGeom prst="rect">
              <a:avLst/>
            </a:prstGeom>
          </p:spPr>
        </p:pic>
        <p:sp>
          <p:nvSpPr>
            <p:cNvPr id="5" name="文本框 4">
              <a:extLst>
                <a:ext uri="{FF2B5EF4-FFF2-40B4-BE49-F238E27FC236}">
                  <a16:creationId xmlns:a16="http://schemas.microsoft.com/office/drawing/2014/main" id="{63B8BA68-DEA8-4E91-941B-A4E1E891E73D}"/>
                </a:ext>
              </a:extLst>
            </p:cNvPr>
            <p:cNvSpPr txBox="1"/>
            <p:nvPr/>
          </p:nvSpPr>
          <p:spPr>
            <a:xfrm>
              <a:off x="3396360" y="3422248"/>
              <a:ext cx="1154162" cy="276999"/>
            </a:xfrm>
            <a:prstGeom prst="rect">
              <a:avLst/>
            </a:prstGeom>
            <a:noFill/>
          </p:spPr>
          <p:txBody>
            <a:bodyPr wrap="none" lIns="0" tIns="0" rIns="0" bIns="0" rtlCol="0" anchor="t">
              <a:spAutoFit/>
            </a:bodyPr>
            <a:lstStyle/>
            <a:p>
              <a:r>
                <a:rPr lang="zh-CN" altLang="en-US" dirty="0">
                  <a:solidFill>
                    <a:schemeClr val="accent1"/>
                  </a:solidFill>
                  <a:latin typeface="+mj-ea"/>
                  <a:ea typeface="+mj-ea"/>
                </a:rPr>
                <a:t>关键词标题</a:t>
              </a:r>
            </a:p>
          </p:txBody>
        </p:sp>
        <p:sp>
          <p:nvSpPr>
            <p:cNvPr id="6" name="文本框 5">
              <a:extLst>
                <a:ext uri="{FF2B5EF4-FFF2-40B4-BE49-F238E27FC236}">
                  <a16:creationId xmlns:a16="http://schemas.microsoft.com/office/drawing/2014/main" id="{16560923-37CE-4A59-A5AB-3BA4E3FBED84}"/>
                </a:ext>
              </a:extLst>
            </p:cNvPr>
            <p:cNvSpPr txBox="1"/>
            <p:nvPr/>
          </p:nvSpPr>
          <p:spPr>
            <a:xfrm>
              <a:off x="3392111" y="3773914"/>
              <a:ext cx="1422264" cy="787395"/>
            </a:xfrm>
            <a:prstGeom prst="rect">
              <a:avLst/>
            </a:prstGeom>
            <a:noFill/>
          </p:spPr>
          <p:txBody>
            <a:bodyPr wrap="square" lIns="0" tIns="0" rIns="0" bIns="0" rtlCol="0" anchor="t">
              <a:spAutoFit/>
            </a:bodyPr>
            <a:lstStyle/>
            <a:p>
              <a:pPr>
                <a:lnSpc>
                  <a:spcPct val="130000"/>
                </a:lnSpc>
              </a:pPr>
              <a:r>
                <a:rPr lang="en-US" altLang="zh-CN" sz="1000" b="0" dirty="0">
                  <a:solidFill>
                    <a:schemeClr val="tx1">
                      <a:lumMod val="75000"/>
                      <a:lumOff val="25000"/>
                    </a:schemeClr>
                  </a:solidFill>
                  <a:effectLst/>
                  <a:latin typeface="+mn-ea"/>
                </a:rPr>
                <a:t>Lorem ipsum dolor sit ametconsectetur adipisicing elit</a:t>
              </a:r>
              <a:r>
                <a:rPr lang="en-US" altLang="zh-CN" sz="1000" dirty="0">
                  <a:solidFill>
                    <a:schemeClr val="tx1">
                      <a:lumMod val="75000"/>
                      <a:lumOff val="25000"/>
                    </a:schemeClr>
                  </a:solidFill>
                  <a:latin typeface="+mn-ea"/>
                </a:rPr>
                <a:t> </a:t>
              </a:r>
              <a:r>
                <a:rPr lang="en-US" altLang="zh-CN" sz="1000" b="0" dirty="0">
                  <a:solidFill>
                    <a:schemeClr val="tx1">
                      <a:lumMod val="75000"/>
                      <a:lumOff val="25000"/>
                    </a:schemeClr>
                  </a:solidFill>
                  <a:effectLst/>
                  <a:latin typeface="+mn-ea"/>
                </a:rPr>
                <a:t>sed do eiusmod tempor</a:t>
              </a:r>
              <a:endParaRPr lang="zh-CN" altLang="en-US" sz="1000" b="0" dirty="0">
                <a:solidFill>
                  <a:schemeClr val="tx1">
                    <a:lumMod val="75000"/>
                    <a:lumOff val="25000"/>
                  </a:schemeClr>
                </a:solidFill>
                <a:effectLst/>
                <a:latin typeface="+mn-ea"/>
              </a:endParaRPr>
            </a:p>
          </p:txBody>
        </p:sp>
      </p:grpSp>
      <p:grpSp>
        <p:nvGrpSpPr>
          <p:cNvPr id="13" name="组合 12">
            <a:extLst>
              <a:ext uri="{FF2B5EF4-FFF2-40B4-BE49-F238E27FC236}">
                <a16:creationId xmlns:a16="http://schemas.microsoft.com/office/drawing/2014/main" id="{45E851C2-7EA7-42C8-ACCC-E2440FC2EB00}"/>
              </a:ext>
            </a:extLst>
          </p:cNvPr>
          <p:cNvGrpSpPr/>
          <p:nvPr/>
        </p:nvGrpSpPr>
        <p:grpSpPr>
          <a:xfrm>
            <a:off x="4002263" y="2074412"/>
            <a:ext cx="1625249" cy="3234765"/>
            <a:chOff x="3189126" y="2074412"/>
            <a:chExt cx="1625249" cy="3234765"/>
          </a:xfrm>
        </p:grpSpPr>
        <p:sp>
          <p:nvSpPr>
            <p:cNvPr id="14" name="平行四边形 13">
              <a:extLst>
                <a:ext uri="{FF2B5EF4-FFF2-40B4-BE49-F238E27FC236}">
                  <a16:creationId xmlns:a16="http://schemas.microsoft.com/office/drawing/2014/main" id="{66861F7E-14D1-4CB5-81A6-D9368087BD05}"/>
                </a:ext>
              </a:extLst>
            </p:cNvPr>
            <p:cNvSpPr/>
            <p:nvPr/>
          </p:nvSpPr>
          <p:spPr>
            <a:xfrm>
              <a:off x="3318913" y="2767684"/>
              <a:ext cx="823912" cy="450850"/>
            </a:xfrm>
            <a:prstGeom prst="parallelogram">
              <a:avLst>
                <a:gd name="adj" fmla="val 26056"/>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600" dirty="0">
                  <a:solidFill>
                    <a:schemeClr val="bg1"/>
                  </a:solidFill>
                  <a:latin typeface="+mj-ea"/>
                  <a:ea typeface="+mj-ea"/>
                </a:rPr>
                <a:t>02</a:t>
              </a:r>
              <a:endParaRPr lang="zh-CN" altLang="en-US" sz="1600" dirty="0">
                <a:solidFill>
                  <a:schemeClr val="bg1"/>
                </a:solidFill>
                <a:latin typeface="+mj-ea"/>
                <a:ea typeface="+mj-ea"/>
              </a:endParaRPr>
            </a:p>
          </p:txBody>
        </p:sp>
        <p:pic>
          <p:nvPicPr>
            <p:cNvPr id="15" name="图片 14">
              <a:extLst>
                <a:ext uri="{FF2B5EF4-FFF2-40B4-BE49-F238E27FC236}">
                  <a16:creationId xmlns:a16="http://schemas.microsoft.com/office/drawing/2014/main" id="{F9116FAF-5E2B-46FC-8921-B10C1D82BAD0}"/>
                </a:ext>
              </a:extLst>
            </p:cNvPr>
            <p:cNvPicPr>
              <a:picLocks noChangeAspect="1"/>
            </p:cNvPicPr>
            <p:nvPr/>
          </p:nvPicPr>
          <p:blipFill>
            <a:blip r:embed="rId3">
              <a:duotone>
                <a:schemeClr val="accent1">
                  <a:shade val="45000"/>
                  <a:satMod val="135000"/>
                </a:schemeClr>
                <a:prstClr val="white"/>
              </a:duotone>
              <a:alphaModFix amt="50000"/>
              <a:extLst>
                <a:ext uri="{28A0092B-C50C-407E-A947-70E740481C1C}">
                  <a14:useLocalDpi xmlns:a14="http://schemas.microsoft.com/office/drawing/2010/main" val="0"/>
                </a:ext>
              </a:extLst>
            </a:blip>
            <a:stretch>
              <a:fillRect/>
            </a:stretch>
          </p:blipFill>
          <p:spPr>
            <a:xfrm rot="17100000">
              <a:off x="1641371" y="3622167"/>
              <a:ext cx="3234765" cy="139256"/>
            </a:xfrm>
            <a:prstGeom prst="rect">
              <a:avLst/>
            </a:prstGeom>
          </p:spPr>
        </p:pic>
        <p:sp>
          <p:nvSpPr>
            <p:cNvPr id="16" name="文本框 15">
              <a:extLst>
                <a:ext uri="{FF2B5EF4-FFF2-40B4-BE49-F238E27FC236}">
                  <a16:creationId xmlns:a16="http://schemas.microsoft.com/office/drawing/2014/main" id="{AF935CCE-7C51-4108-A9D5-0D21C256E793}"/>
                </a:ext>
              </a:extLst>
            </p:cNvPr>
            <p:cNvSpPr txBox="1"/>
            <p:nvPr/>
          </p:nvSpPr>
          <p:spPr>
            <a:xfrm>
              <a:off x="3396360" y="3422248"/>
              <a:ext cx="1154162" cy="276999"/>
            </a:xfrm>
            <a:prstGeom prst="rect">
              <a:avLst/>
            </a:prstGeom>
            <a:noFill/>
          </p:spPr>
          <p:txBody>
            <a:bodyPr wrap="none" lIns="0" tIns="0" rIns="0" bIns="0" rtlCol="0" anchor="t">
              <a:spAutoFit/>
            </a:bodyPr>
            <a:lstStyle/>
            <a:p>
              <a:r>
                <a:rPr lang="zh-CN" altLang="en-US" dirty="0">
                  <a:solidFill>
                    <a:schemeClr val="accent1"/>
                  </a:solidFill>
                  <a:latin typeface="+mj-ea"/>
                  <a:ea typeface="+mj-ea"/>
                </a:rPr>
                <a:t>关键词标题</a:t>
              </a:r>
            </a:p>
          </p:txBody>
        </p:sp>
        <p:sp>
          <p:nvSpPr>
            <p:cNvPr id="17" name="文本框 16">
              <a:extLst>
                <a:ext uri="{FF2B5EF4-FFF2-40B4-BE49-F238E27FC236}">
                  <a16:creationId xmlns:a16="http://schemas.microsoft.com/office/drawing/2014/main" id="{0353CD87-772A-4CFD-857D-DF00B4A00EC0}"/>
                </a:ext>
              </a:extLst>
            </p:cNvPr>
            <p:cNvSpPr txBox="1"/>
            <p:nvPr/>
          </p:nvSpPr>
          <p:spPr>
            <a:xfrm>
              <a:off x="3392111" y="3773914"/>
              <a:ext cx="1422264" cy="787395"/>
            </a:xfrm>
            <a:prstGeom prst="rect">
              <a:avLst/>
            </a:prstGeom>
            <a:noFill/>
          </p:spPr>
          <p:txBody>
            <a:bodyPr wrap="square" lIns="0" tIns="0" rIns="0" bIns="0" rtlCol="0" anchor="t">
              <a:spAutoFit/>
            </a:bodyPr>
            <a:lstStyle/>
            <a:p>
              <a:pPr>
                <a:lnSpc>
                  <a:spcPct val="130000"/>
                </a:lnSpc>
              </a:pPr>
              <a:r>
                <a:rPr lang="en-US" altLang="zh-CN" sz="1000" b="0" dirty="0">
                  <a:solidFill>
                    <a:schemeClr val="tx1">
                      <a:lumMod val="75000"/>
                      <a:lumOff val="25000"/>
                    </a:schemeClr>
                  </a:solidFill>
                  <a:effectLst/>
                  <a:latin typeface="+mn-ea"/>
                </a:rPr>
                <a:t>Lorem ipsum dolor sit ametconsectetur adipisicing elit</a:t>
              </a:r>
              <a:r>
                <a:rPr lang="en-US" altLang="zh-CN" sz="1000" dirty="0">
                  <a:solidFill>
                    <a:schemeClr val="tx1">
                      <a:lumMod val="75000"/>
                      <a:lumOff val="25000"/>
                    </a:schemeClr>
                  </a:solidFill>
                  <a:latin typeface="+mn-ea"/>
                </a:rPr>
                <a:t> </a:t>
              </a:r>
              <a:r>
                <a:rPr lang="en-US" altLang="zh-CN" sz="1000" b="0" dirty="0">
                  <a:solidFill>
                    <a:schemeClr val="tx1">
                      <a:lumMod val="75000"/>
                      <a:lumOff val="25000"/>
                    </a:schemeClr>
                  </a:solidFill>
                  <a:effectLst/>
                  <a:latin typeface="+mn-ea"/>
                </a:rPr>
                <a:t>sed do eiusmod tempor</a:t>
              </a:r>
              <a:endParaRPr lang="zh-CN" altLang="en-US" sz="1000" b="0" dirty="0">
                <a:solidFill>
                  <a:schemeClr val="tx1">
                    <a:lumMod val="75000"/>
                    <a:lumOff val="25000"/>
                  </a:schemeClr>
                </a:solidFill>
                <a:effectLst/>
                <a:latin typeface="+mn-ea"/>
              </a:endParaRPr>
            </a:p>
          </p:txBody>
        </p:sp>
      </p:grpSp>
      <p:grpSp>
        <p:nvGrpSpPr>
          <p:cNvPr id="18" name="组合 17">
            <a:extLst>
              <a:ext uri="{FF2B5EF4-FFF2-40B4-BE49-F238E27FC236}">
                <a16:creationId xmlns:a16="http://schemas.microsoft.com/office/drawing/2014/main" id="{075C5B96-5B19-4561-B23F-43A7353C1D94}"/>
              </a:ext>
            </a:extLst>
          </p:cNvPr>
          <p:cNvGrpSpPr/>
          <p:nvPr/>
        </p:nvGrpSpPr>
        <p:grpSpPr>
          <a:xfrm>
            <a:off x="6564488" y="2074412"/>
            <a:ext cx="1625249" cy="3234765"/>
            <a:chOff x="3189126" y="2074412"/>
            <a:chExt cx="1625249" cy="3234765"/>
          </a:xfrm>
        </p:grpSpPr>
        <p:sp>
          <p:nvSpPr>
            <p:cNvPr id="19" name="平行四边形 18">
              <a:extLst>
                <a:ext uri="{FF2B5EF4-FFF2-40B4-BE49-F238E27FC236}">
                  <a16:creationId xmlns:a16="http://schemas.microsoft.com/office/drawing/2014/main" id="{B7D00A7A-5E6C-47CE-AF1C-0DC2D16BD7CA}"/>
                </a:ext>
              </a:extLst>
            </p:cNvPr>
            <p:cNvSpPr/>
            <p:nvPr/>
          </p:nvSpPr>
          <p:spPr>
            <a:xfrm>
              <a:off x="3318913" y="2767684"/>
              <a:ext cx="823912" cy="450850"/>
            </a:xfrm>
            <a:prstGeom prst="parallelogram">
              <a:avLst>
                <a:gd name="adj" fmla="val 26056"/>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600" dirty="0">
                  <a:solidFill>
                    <a:schemeClr val="bg1"/>
                  </a:solidFill>
                  <a:latin typeface="+mj-ea"/>
                  <a:ea typeface="+mj-ea"/>
                </a:rPr>
                <a:t>03</a:t>
              </a:r>
              <a:endParaRPr lang="zh-CN" altLang="en-US" sz="1600" dirty="0">
                <a:solidFill>
                  <a:schemeClr val="bg1"/>
                </a:solidFill>
                <a:latin typeface="+mj-ea"/>
                <a:ea typeface="+mj-ea"/>
              </a:endParaRPr>
            </a:p>
          </p:txBody>
        </p:sp>
        <p:pic>
          <p:nvPicPr>
            <p:cNvPr id="20" name="图片 19">
              <a:extLst>
                <a:ext uri="{FF2B5EF4-FFF2-40B4-BE49-F238E27FC236}">
                  <a16:creationId xmlns:a16="http://schemas.microsoft.com/office/drawing/2014/main" id="{21678491-90B1-456F-9F54-1FC8931FAE74}"/>
                </a:ext>
              </a:extLst>
            </p:cNvPr>
            <p:cNvPicPr>
              <a:picLocks noChangeAspect="1"/>
            </p:cNvPicPr>
            <p:nvPr/>
          </p:nvPicPr>
          <p:blipFill>
            <a:blip r:embed="rId3">
              <a:duotone>
                <a:schemeClr val="accent1">
                  <a:shade val="45000"/>
                  <a:satMod val="135000"/>
                </a:schemeClr>
                <a:prstClr val="white"/>
              </a:duotone>
              <a:alphaModFix amt="50000"/>
              <a:extLst>
                <a:ext uri="{28A0092B-C50C-407E-A947-70E740481C1C}">
                  <a14:useLocalDpi xmlns:a14="http://schemas.microsoft.com/office/drawing/2010/main" val="0"/>
                </a:ext>
              </a:extLst>
            </a:blip>
            <a:stretch>
              <a:fillRect/>
            </a:stretch>
          </p:blipFill>
          <p:spPr>
            <a:xfrm rot="17100000">
              <a:off x="1641371" y="3622167"/>
              <a:ext cx="3234765" cy="139256"/>
            </a:xfrm>
            <a:prstGeom prst="rect">
              <a:avLst/>
            </a:prstGeom>
          </p:spPr>
        </p:pic>
        <p:sp>
          <p:nvSpPr>
            <p:cNvPr id="21" name="文本框 20">
              <a:extLst>
                <a:ext uri="{FF2B5EF4-FFF2-40B4-BE49-F238E27FC236}">
                  <a16:creationId xmlns:a16="http://schemas.microsoft.com/office/drawing/2014/main" id="{6D3D8DE4-955E-4580-B7DD-2781EA9A24D1}"/>
                </a:ext>
              </a:extLst>
            </p:cNvPr>
            <p:cNvSpPr txBox="1"/>
            <p:nvPr/>
          </p:nvSpPr>
          <p:spPr>
            <a:xfrm>
              <a:off x="3396360" y="3422248"/>
              <a:ext cx="1154162" cy="276999"/>
            </a:xfrm>
            <a:prstGeom prst="rect">
              <a:avLst/>
            </a:prstGeom>
            <a:noFill/>
          </p:spPr>
          <p:txBody>
            <a:bodyPr wrap="none" lIns="0" tIns="0" rIns="0" bIns="0" rtlCol="0" anchor="t">
              <a:spAutoFit/>
            </a:bodyPr>
            <a:lstStyle/>
            <a:p>
              <a:r>
                <a:rPr lang="zh-CN" altLang="en-US" dirty="0">
                  <a:solidFill>
                    <a:schemeClr val="accent1"/>
                  </a:solidFill>
                  <a:latin typeface="+mj-ea"/>
                  <a:ea typeface="+mj-ea"/>
                </a:rPr>
                <a:t>关键词标题</a:t>
              </a:r>
            </a:p>
          </p:txBody>
        </p:sp>
        <p:sp>
          <p:nvSpPr>
            <p:cNvPr id="22" name="文本框 21">
              <a:extLst>
                <a:ext uri="{FF2B5EF4-FFF2-40B4-BE49-F238E27FC236}">
                  <a16:creationId xmlns:a16="http://schemas.microsoft.com/office/drawing/2014/main" id="{C388BC8E-B114-45BC-8AFC-B307392E77C9}"/>
                </a:ext>
              </a:extLst>
            </p:cNvPr>
            <p:cNvSpPr txBox="1"/>
            <p:nvPr/>
          </p:nvSpPr>
          <p:spPr>
            <a:xfrm>
              <a:off x="3392111" y="3773914"/>
              <a:ext cx="1422264" cy="787395"/>
            </a:xfrm>
            <a:prstGeom prst="rect">
              <a:avLst/>
            </a:prstGeom>
            <a:noFill/>
          </p:spPr>
          <p:txBody>
            <a:bodyPr wrap="square" lIns="0" tIns="0" rIns="0" bIns="0" rtlCol="0" anchor="t">
              <a:spAutoFit/>
            </a:bodyPr>
            <a:lstStyle/>
            <a:p>
              <a:pPr>
                <a:lnSpc>
                  <a:spcPct val="130000"/>
                </a:lnSpc>
              </a:pPr>
              <a:r>
                <a:rPr lang="en-US" altLang="zh-CN" sz="1000" b="0" dirty="0">
                  <a:solidFill>
                    <a:schemeClr val="tx1">
                      <a:lumMod val="75000"/>
                      <a:lumOff val="25000"/>
                    </a:schemeClr>
                  </a:solidFill>
                  <a:effectLst/>
                  <a:latin typeface="+mn-ea"/>
                </a:rPr>
                <a:t>Lorem ipsum dolor sit ametconsectetur adipisicing elit</a:t>
              </a:r>
              <a:r>
                <a:rPr lang="en-US" altLang="zh-CN" sz="1000" dirty="0">
                  <a:solidFill>
                    <a:schemeClr val="tx1">
                      <a:lumMod val="75000"/>
                      <a:lumOff val="25000"/>
                    </a:schemeClr>
                  </a:solidFill>
                  <a:latin typeface="+mn-ea"/>
                </a:rPr>
                <a:t> </a:t>
              </a:r>
              <a:r>
                <a:rPr lang="en-US" altLang="zh-CN" sz="1000" b="0" dirty="0">
                  <a:solidFill>
                    <a:schemeClr val="tx1">
                      <a:lumMod val="75000"/>
                      <a:lumOff val="25000"/>
                    </a:schemeClr>
                  </a:solidFill>
                  <a:effectLst/>
                  <a:latin typeface="+mn-ea"/>
                </a:rPr>
                <a:t>sed do eiusmod tempor</a:t>
              </a:r>
              <a:endParaRPr lang="zh-CN" altLang="en-US" sz="1000" b="0" dirty="0">
                <a:solidFill>
                  <a:schemeClr val="tx1">
                    <a:lumMod val="75000"/>
                    <a:lumOff val="25000"/>
                  </a:schemeClr>
                </a:solidFill>
                <a:effectLst/>
                <a:latin typeface="+mn-ea"/>
              </a:endParaRPr>
            </a:p>
          </p:txBody>
        </p:sp>
      </p:grpSp>
      <p:grpSp>
        <p:nvGrpSpPr>
          <p:cNvPr id="23" name="组合 22">
            <a:extLst>
              <a:ext uri="{FF2B5EF4-FFF2-40B4-BE49-F238E27FC236}">
                <a16:creationId xmlns:a16="http://schemas.microsoft.com/office/drawing/2014/main" id="{4C213D37-85F9-49E8-867C-B814C1B89C2D}"/>
              </a:ext>
            </a:extLst>
          </p:cNvPr>
          <p:cNvGrpSpPr/>
          <p:nvPr/>
        </p:nvGrpSpPr>
        <p:grpSpPr>
          <a:xfrm>
            <a:off x="9126713" y="2074412"/>
            <a:ext cx="1625249" cy="3234765"/>
            <a:chOff x="3189126" y="2074412"/>
            <a:chExt cx="1625249" cy="3234765"/>
          </a:xfrm>
        </p:grpSpPr>
        <p:sp>
          <p:nvSpPr>
            <p:cNvPr id="24" name="平行四边形 23">
              <a:extLst>
                <a:ext uri="{FF2B5EF4-FFF2-40B4-BE49-F238E27FC236}">
                  <a16:creationId xmlns:a16="http://schemas.microsoft.com/office/drawing/2014/main" id="{91586357-8919-4B43-9C50-C38C6DD87C77}"/>
                </a:ext>
              </a:extLst>
            </p:cNvPr>
            <p:cNvSpPr/>
            <p:nvPr/>
          </p:nvSpPr>
          <p:spPr>
            <a:xfrm>
              <a:off x="3318913" y="2767684"/>
              <a:ext cx="823912" cy="450850"/>
            </a:xfrm>
            <a:prstGeom prst="parallelogram">
              <a:avLst>
                <a:gd name="adj" fmla="val 26056"/>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600" dirty="0">
                  <a:solidFill>
                    <a:schemeClr val="bg1"/>
                  </a:solidFill>
                  <a:latin typeface="+mj-ea"/>
                  <a:ea typeface="+mj-ea"/>
                </a:rPr>
                <a:t>04</a:t>
              </a:r>
              <a:endParaRPr lang="zh-CN" altLang="en-US" sz="1600" dirty="0">
                <a:solidFill>
                  <a:schemeClr val="bg1"/>
                </a:solidFill>
                <a:latin typeface="+mj-ea"/>
                <a:ea typeface="+mj-ea"/>
              </a:endParaRPr>
            </a:p>
          </p:txBody>
        </p:sp>
        <p:pic>
          <p:nvPicPr>
            <p:cNvPr id="25" name="图片 24">
              <a:extLst>
                <a:ext uri="{FF2B5EF4-FFF2-40B4-BE49-F238E27FC236}">
                  <a16:creationId xmlns:a16="http://schemas.microsoft.com/office/drawing/2014/main" id="{6BAE14C8-978F-4F3D-A167-CD785AED3CD0}"/>
                </a:ext>
              </a:extLst>
            </p:cNvPr>
            <p:cNvPicPr>
              <a:picLocks noChangeAspect="1"/>
            </p:cNvPicPr>
            <p:nvPr/>
          </p:nvPicPr>
          <p:blipFill>
            <a:blip r:embed="rId3">
              <a:duotone>
                <a:schemeClr val="accent1">
                  <a:shade val="45000"/>
                  <a:satMod val="135000"/>
                </a:schemeClr>
                <a:prstClr val="white"/>
              </a:duotone>
              <a:alphaModFix amt="50000"/>
              <a:extLst>
                <a:ext uri="{28A0092B-C50C-407E-A947-70E740481C1C}">
                  <a14:useLocalDpi xmlns:a14="http://schemas.microsoft.com/office/drawing/2010/main" val="0"/>
                </a:ext>
              </a:extLst>
            </a:blip>
            <a:stretch>
              <a:fillRect/>
            </a:stretch>
          </p:blipFill>
          <p:spPr>
            <a:xfrm rot="17100000">
              <a:off x="1641371" y="3622167"/>
              <a:ext cx="3234765" cy="139256"/>
            </a:xfrm>
            <a:prstGeom prst="rect">
              <a:avLst/>
            </a:prstGeom>
          </p:spPr>
        </p:pic>
        <p:sp>
          <p:nvSpPr>
            <p:cNvPr id="26" name="文本框 25">
              <a:extLst>
                <a:ext uri="{FF2B5EF4-FFF2-40B4-BE49-F238E27FC236}">
                  <a16:creationId xmlns:a16="http://schemas.microsoft.com/office/drawing/2014/main" id="{149A9FDE-BC0F-4B91-A7CF-02F8EA1BC4BC}"/>
                </a:ext>
              </a:extLst>
            </p:cNvPr>
            <p:cNvSpPr txBox="1"/>
            <p:nvPr/>
          </p:nvSpPr>
          <p:spPr>
            <a:xfrm>
              <a:off x="3396360" y="3422248"/>
              <a:ext cx="1154162" cy="276999"/>
            </a:xfrm>
            <a:prstGeom prst="rect">
              <a:avLst/>
            </a:prstGeom>
            <a:noFill/>
          </p:spPr>
          <p:txBody>
            <a:bodyPr wrap="none" lIns="0" tIns="0" rIns="0" bIns="0" rtlCol="0" anchor="t">
              <a:spAutoFit/>
            </a:bodyPr>
            <a:lstStyle/>
            <a:p>
              <a:r>
                <a:rPr lang="zh-CN" altLang="en-US" dirty="0">
                  <a:solidFill>
                    <a:schemeClr val="accent1"/>
                  </a:solidFill>
                  <a:latin typeface="+mj-ea"/>
                  <a:ea typeface="+mj-ea"/>
                </a:rPr>
                <a:t>关键词标题</a:t>
              </a:r>
            </a:p>
          </p:txBody>
        </p:sp>
        <p:sp>
          <p:nvSpPr>
            <p:cNvPr id="27" name="文本框 26">
              <a:extLst>
                <a:ext uri="{FF2B5EF4-FFF2-40B4-BE49-F238E27FC236}">
                  <a16:creationId xmlns:a16="http://schemas.microsoft.com/office/drawing/2014/main" id="{230A7216-AA3E-4FCC-A471-FD6C43C5528B}"/>
                </a:ext>
              </a:extLst>
            </p:cNvPr>
            <p:cNvSpPr txBox="1"/>
            <p:nvPr/>
          </p:nvSpPr>
          <p:spPr>
            <a:xfrm>
              <a:off x="3392111" y="3773914"/>
              <a:ext cx="1422264" cy="787395"/>
            </a:xfrm>
            <a:prstGeom prst="rect">
              <a:avLst/>
            </a:prstGeom>
            <a:noFill/>
          </p:spPr>
          <p:txBody>
            <a:bodyPr wrap="square" lIns="0" tIns="0" rIns="0" bIns="0" rtlCol="0" anchor="t">
              <a:spAutoFit/>
            </a:bodyPr>
            <a:lstStyle/>
            <a:p>
              <a:pPr>
                <a:lnSpc>
                  <a:spcPct val="130000"/>
                </a:lnSpc>
              </a:pPr>
              <a:r>
                <a:rPr lang="en-US" altLang="zh-CN" sz="1000" b="0" dirty="0">
                  <a:solidFill>
                    <a:schemeClr val="tx1">
                      <a:lumMod val="75000"/>
                      <a:lumOff val="25000"/>
                    </a:schemeClr>
                  </a:solidFill>
                  <a:effectLst/>
                  <a:latin typeface="+mn-ea"/>
                </a:rPr>
                <a:t>Lorem ipsum dolor sit ametconsectetur adipisicing elit</a:t>
              </a:r>
              <a:r>
                <a:rPr lang="en-US" altLang="zh-CN" sz="1000" dirty="0">
                  <a:solidFill>
                    <a:schemeClr val="tx1">
                      <a:lumMod val="75000"/>
                      <a:lumOff val="25000"/>
                    </a:schemeClr>
                  </a:solidFill>
                  <a:latin typeface="+mn-ea"/>
                </a:rPr>
                <a:t> </a:t>
              </a:r>
              <a:r>
                <a:rPr lang="en-US" altLang="zh-CN" sz="1000" b="0" dirty="0">
                  <a:solidFill>
                    <a:schemeClr val="tx1">
                      <a:lumMod val="75000"/>
                      <a:lumOff val="25000"/>
                    </a:schemeClr>
                  </a:solidFill>
                  <a:effectLst/>
                  <a:latin typeface="+mn-ea"/>
                </a:rPr>
                <a:t>sed do eiusmod tempor</a:t>
              </a:r>
              <a:endParaRPr lang="zh-CN" altLang="en-US" sz="1000" b="0" dirty="0">
                <a:solidFill>
                  <a:schemeClr val="tx1">
                    <a:lumMod val="75000"/>
                    <a:lumOff val="25000"/>
                  </a:schemeClr>
                </a:solidFill>
                <a:effectLst/>
                <a:latin typeface="+mn-ea"/>
              </a:endParaRPr>
            </a:p>
          </p:txBody>
        </p:sp>
      </p:grpSp>
    </p:spTree>
    <p:extLst>
      <p:ext uri="{BB962C8B-B14F-4D97-AF65-F5344CB8AC3E}">
        <p14:creationId xmlns:p14="http://schemas.microsoft.com/office/powerpoint/2010/main" val="2099361445"/>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2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椭圆 3">
            <a:extLst>
              <a:ext uri="{FF2B5EF4-FFF2-40B4-BE49-F238E27FC236}">
                <a16:creationId xmlns:a16="http://schemas.microsoft.com/office/drawing/2014/main" id="{252248B4-29BF-4411-B546-8CE5D35FD5DC}"/>
              </a:ext>
            </a:extLst>
          </p:cNvPr>
          <p:cNvSpPr/>
          <p:nvPr/>
        </p:nvSpPr>
        <p:spPr>
          <a:xfrm>
            <a:off x="2377238" y="2516232"/>
            <a:ext cx="683844" cy="683841"/>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09728" tIns="54864" rIns="109728" bIns="54864" rtlCol="0" anchor="ctr"/>
          <a:lstStyle/>
          <a:p>
            <a:pPr algn="l"/>
            <a:endParaRPr lang="zh-CN" altLang="en-US" sz="1920" dirty="0">
              <a:solidFill>
                <a:schemeClr val="bg1"/>
              </a:solidFill>
              <a:latin typeface="+mj-ea"/>
              <a:ea typeface="+mj-ea"/>
            </a:endParaRPr>
          </a:p>
        </p:txBody>
      </p:sp>
      <p:sp>
        <p:nvSpPr>
          <p:cNvPr id="3" name="矩形: 圆角 2">
            <a:extLst>
              <a:ext uri="{FF2B5EF4-FFF2-40B4-BE49-F238E27FC236}">
                <a16:creationId xmlns:a16="http://schemas.microsoft.com/office/drawing/2014/main" id="{612022D1-86E3-4646-9A60-B99DEB24F100}"/>
              </a:ext>
            </a:extLst>
          </p:cNvPr>
          <p:cNvSpPr/>
          <p:nvPr/>
        </p:nvSpPr>
        <p:spPr>
          <a:xfrm>
            <a:off x="1409820" y="2858152"/>
            <a:ext cx="2752108" cy="1883664"/>
          </a:xfrm>
          <a:custGeom>
            <a:avLst/>
            <a:gdLst>
              <a:gd name="connsiteX0" fmla="*/ 0 w 1714500"/>
              <a:gd name="connsiteY0" fmla="*/ 157481 h 1173480"/>
              <a:gd name="connsiteX1" fmla="*/ 157481 w 1714500"/>
              <a:gd name="connsiteY1" fmla="*/ 0 h 1173480"/>
              <a:gd name="connsiteX2" fmla="*/ 1557019 w 1714500"/>
              <a:gd name="connsiteY2" fmla="*/ 0 h 1173480"/>
              <a:gd name="connsiteX3" fmla="*/ 1714500 w 1714500"/>
              <a:gd name="connsiteY3" fmla="*/ 157481 h 1173480"/>
              <a:gd name="connsiteX4" fmla="*/ 1714500 w 1714500"/>
              <a:gd name="connsiteY4" fmla="*/ 1015999 h 1173480"/>
              <a:gd name="connsiteX5" fmla="*/ 1557019 w 1714500"/>
              <a:gd name="connsiteY5" fmla="*/ 1173480 h 1173480"/>
              <a:gd name="connsiteX6" fmla="*/ 157481 w 1714500"/>
              <a:gd name="connsiteY6" fmla="*/ 1173480 h 1173480"/>
              <a:gd name="connsiteX7" fmla="*/ 0 w 1714500"/>
              <a:gd name="connsiteY7" fmla="*/ 1015999 h 1173480"/>
              <a:gd name="connsiteX8" fmla="*/ 0 w 1714500"/>
              <a:gd name="connsiteY8" fmla="*/ 157481 h 1173480"/>
              <a:gd name="connsiteX0" fmla="*/ 2817495 w 4531995"/>
              <a:gd name="connsiteY0" fmla="*/ 3891281 h 4907280"/>
              <a:gd name="connsiteX1" fmla="*/ 0 w 4531995"/>
              <a:gd name="connsiteY1" fmla="*/ 0 h 4907280"/>
              <a:gd name="connsiteX2" fmla="*/ 2974976 w 4531995"/>
              <a:gd name="connsiteY2" fmla="*/ 3733800 h 4907280"/>
              <a:gd name="connsiteX3" fmla="*/ 4374514 w 4531995"/>
              <a:gd name="connsiteY3" fmla="*/ 3733800 h 4907280"/>
              <a:gd name="connsiteX4" fmla="*/ 4531995 w 4531995"/>
              <a:gd name="connsiteY4" fmla="*/ 3891281 h 4907280"/>
              <a:gd name="connsiteX5" fmla="*/ 4531995 w 4531995"/>
              <a:gd name="connsiteY5" fmla="*/ 4749799 h 4907280"/>
              <a:gd name="connsiteX6" fmla="*/ 4374514 w 4531995"/>
              <a:gd name="connsiteY6" fmla="*/ 4907280 h 4907280"/>
              <a:gd name="connsiteX7" fmla="*/ 2974976 w 4531995"/>
              <a:gd name="connsiteY7" fmla="*/ 4907280 h 4907280"/>
              <a:gd name="connsiteX8" fmla="*/ 2817495 w 4531995"/>
              <a:gd name="connsiteY8" fmla="*/ 4749799 h 4907280"/>
              <a:gd name="connsiteX9" fmla="*/ 2817495 w 4531995"/>
              <a:gd name="connsiteY9" fmla="*/ 3891281 h 4907280"/>
              <a:gd name="connsiteX0" fmla="*/ 0 w 1714500"/>
              <a:gd name="connsiteY0" fmla="*/ 157481 h 1173480"/>
              <a:gd name="connsiteX1" fmla="*/ 157481 w 1714500"/>
              <a:gd name="connsiteY1" fmla="*/ 0 h 1173480"/>
              <a:gd name="connsiteX2" fmla="*/ 1557019 w 1714500"/>
              <a:gd name="connsiteY2" fmla="*/ 0 h 1173480"/>
              <a:gd name="connsiteX3" fmla="*/ 1714500 w 1714500"/>
              <a:gd name="connsiteY3" fmla="*/ 157481 h 1173480"/>
              <a:gd name="connsiteX4" fmla="*/ 1714500 w 1714500"/>
              <a:gd name="connsiteY4" fmla="*/ 1015999 h 1173480"/>
              <a:gd name="connsiteX5" fmla="*/ 1557019 w 1714500"/>
              <a:gd name="connsiteY5" fmla="*/ 1173480 h 1173480"/>
              <a:gd name="connsiteX6" fmla="*/ 157481 w 1714500"/>
              <a:gd name="connsiteY6" fmla="*/ 1173480 h 1173480"/>
              <a:gd name="connsiteX7" fmla="*/ 0 w 1714500"/>
              <a:gd name="connsiteY7" fmla="*/ 1015999 h 1173480"/>
              <a:gd name="connsiteX8" fmla="*/ 0 w 1714500"/>
              <a:gd name="connsiteY8" fmla="*/ 157481 h 1173480"/>
              <a:gd name="connsiteX0" fmla="*/ 0 w 1714500"/>
              <a:gd name="connsiteY0" fmla="*/ 157481 h 1173480"/>
              <a:gd name="connsiteX1" fmla="*/ 46296 w 1714500"/>
              <a:gd name="connsiteY1" fmla="*/ 45955 h 1173480"/>
              <a:gd name="connsiteX2" fmla="*/ 157481 w 1714500"/>
              <a:gd name="connsiteY2" fmla="*/ 0 h 1173480"/>
              <a:gd name="connsiteX3" fmla="*/ 1557019 w 1714500"/>
              <a:gd name="connsiteY3" fmla="*/ 0 h 1173480"/>
              <a:gd name="connsiteX4" fmla="*/ 1714500 w 1714500"/>
              <a:gd name="connsiteY4" fmla="*/ 157481 h 1173480"/>
              <a:gd name="connsiteX5" fmla="*/ 1714500 w 1714500"/>
              <a:gd name="connsiteY5" fmla="*/ 1015999 h 1173480"/>
              <a:gd name="connsiteX6" fmla="*/ 1557019 w 1714500"/>
              <a:gd name="connsiteY6" fmla="*/ 1173480 h 1173480"/>
              <a:gd name="connsiteX7" fmla="*/ 157481 w 1714500"/>
              <a:gd name="connsiteY7" fmla="*/ 1173480 h 1173480"/>
              <a:gd name="connsiteX8" fmla="*/ 0 w 1714500"/>
              <a:gd name="connsiteY8" fmla="*/ 1015999 h 1173480"/>
              <a:gd name="connsiteX9" fmla="*/ 0 w 1714500"/>
              <a:gd name="connsiteY9" fmla="*/ 157481 h 1173480"/>
              <a:gd name="connsiteX0" fmla="*/ 0 w 1714500"/>
              <a:gd name="connsiteY0" fmla="*/ 157481 h 1173480"/>
              <a:gd name="connsiteX1" fmla="*/ 46296 w 1714500"/>
              <a:gd name="connsiteY1" fmla="*/ 45955 h 1173480"/>
              <a:gd name="connsiteX2" fmla="*/ 157481 w 1714500"/>
              <a:gd name="connsiteY2" fmla="*/ 0 h 1173480"/>
              <a:gd name="connsiteX3" fmla="*/ 157481 w 1714500"/>
              <a:gd name="connsiteY3" fmla="*/ 0 h 1173480"/>
              <a:gd name="connsiteX4" fmla="*/ 1557019 w 1714500"/>
              <a:gd name="connsiteY4" fmla="*/ 0 h 1173480"/>
              <a:gd name="connsiteX5" fmla="*/ 1714500 w 1714500"/>
              <a:gd name="connsiteY5" fmla="*/ 157481 h 1173480"/>
              <a:gd name="connsiteX6" fmla="*/ 1714500 w 1714500"/>
              <a:gd name="connsiteY6" fmla="*/ 1015999 h 1173480"/>
              <a:gd name="connsiteX7" fmla="*/ 1557019 w 1714500"/>
              <a:gd name="connsiteY7" fmla="*/ 1173480 h 1173480"/>
              <a:gd name="connsiteX8" fmla="*/ 157481 w 1714500"/>
              <a:gd name="connsiteY8" fmla="*/ 1173480 h 1173480"/>
              <a:gd name="connsiteX9" fmla="*/ 0 w 1714500"/>
              <a:gd name="connsiteY9" fmla="*/ 1015999 h 1173480"/>
              <a:gd name="connsiteX10" fmla="*/ 0 w 1714500"/>
              <a:gd name="connsiteY10" fmla="*/ 157481 h 1173480"/>
              <a:gd name="connsiteX0" fmla="*/ 0 w 1714500"/>
              <a:gd name="connsiteY0" fmla="*/ 157481 h 1173480"/>
              <a:gd name="connsiteX1" fmla="*/ 46296 w 1714500"/>
              <a:gd name="connsiteY1" fmla="*/ 45955 h 1173480"/>
              <a:gd name="connsiteX2" fmla="*/ 157481 w 1714500"/>
              <a:gd name="connsiteY2" fmla="*/ 0 h 1173480"/>
              <a:gd name="connsiteX3" fmla="*/ 1557019 w 1714500"/>
              <a:gd name="connsiteY3" fmla="*/ 0 h 1173480"/>
              <a:gd name="connsiteX4" fmla="*/ 1714500 w 1714500"/>
              <a:gd name="connsiteY4" fmla="*/ 157481 h 1173480"/>
              <a:gd name="connsiteX5" fmla="*/ 1714500 w 1714500"/>
              <a:gd name="connsiteY5" fmla="*/ 1015999 h 1173480"/>
              <a:gd name="connsiteX6" fmla="*/ 1557019 w 1714500"/>
              <a:gd name="connsiteY6" fmla="*/ 1173480 h 1173480"/>
              <a:gd name="connsiteX7" fmla="*/ 157481 w 1714500"/>
              <a:gd name="connsiteY7" fmla="*/ 1173480 h 1173480"/>
              <a:gd name="connsiteX8" fmla="*/ 0 w 1714500"/>
              <a:gd name="connsiteY8" fmla="*/ 1015999 h 1173480"/>
              <a:gd name="connsiteX9" fmla="*/ 0 w 1714500"/>
              <a:gd name="connsiteY9" fmla="*/ 157481 h 1173480"/>
              <a:gd name="connsiteX0" fmla="*/ 0 w 1714500"/>
              <a:gd name="connsiteY0" fmla="*/ 157481 h 1173480"/>
              <a:gd name="connsiteX1" fmla="*/ 46296 w 1714500"/>
              <a:gd name="connsiteY1" fmla="*/ 45955 h 1173480"/>
              <a:gd name="connsiteX2" fmla="*/ 157481 w 1714500"/>
              <a:gd name="connsiteY2" fmla="*/ 0 h 1173480"/>
              <a:gd name="connsiteX3" fmla="*/ 857250 w 1714500"/>
              <a:gd name="connsiteY3" fmla="*/ 0 h 1173480"/>
              <a:gd name="connsiteX4" fmla="*/ 1557019 w 1714500"/>
              <a:gd name="connsiteY4" fmla="*/ 0 h 1173480"/>
              <a:gd name="connsiteX5" fmla="*/ 1714500 w 1714500"/>
              <a:gd name="connsiteY5" fmla="*/ 157481 h 1173480"/>
              <a:gd name="connsiteX6" fmla="*/ 1714500 w 1714500"/>
              <a:gd name="connsiteY6" fmla="*/ 1015999 h 1173480"/>
              <a:gd name="connsiteX7" fmla="*/ 1557019 w 1714500"/>
              <a:gd name="connsiteY7" fmla="*/ 1173480 h 1173480"/>
              <a:gd name="connsiteX8" fmla="*/ 157481 w 1714500"/>
              <a:gd name="connsiteY8" fmla="*/ 1173480 h 1173480"/>
              <a:gd name="connsiteX9" fmla="*/ 0 w 1714500"/>
              <a:gd name="connsiteY9" fmla="*/ 1015999 h 1173480"/>
              <a:gd name="connsiteX10" fmla="*/ 0 w 1714500"/>
              <a:gd name="connsiteY10" fmla="*/ 157481 h 1173480"/>
              <a:gd name="connsiteX0" fmla="*/ 0 w 1714500"/>
              <a:gd name="connsiteY0" fmla="*/ 157481 h 1173480"/>
              <a:gd name="connsiteX1" fmla="*/ 46296 w 1714500"/>
              <a:gd name="connsiteY1" fmla="*/ 45955 h 1173480"/>
              <a:gd name="connsiteX2" fmla="*/ 157481 w 1714500"/>
              <a:gd name="connsiteY2" fmla="*/ 0 h 1173480"/>
              <a:gd name="connsiteX3" fmla="*/ 857250 w 1714500"/>
              <a:gd name="connsiteY3" fmla="*/ 0 h 1173480"/>
              <a:gd name="connsiteX4" fmla="*/ 1557019 w 1714500"/>
              <a:gd name="connsiteY4" fmla="*/ 0 h 1173480"/>
              <a:gd name="connsiteX5" fmla="*/ 1668545 w 1714500"/>
              <a:gd name="connsiteY5" fmla="*/ 46296 h 1173480"/>
              <a:gd name="connsiteX6" fmla="*/ 1714500 w 1714500"/>
              <a:gd name="connsiteY6" fmla="*/ 157481 h 1173480"/>
              <a:gd name="connsiteX7" fmla="*/ 1714500 w 1714500"/>
              <a:gd name="connsiteY7" fmla="*/ 1015999 h 1173480"/>
              <a:gd name="connsiteX8" fmla="*/ 1557019 w 1714500"/>
              <a:gd name="connsiteY8" fmla="*/ 1173480 h 1173480"/>
              <a:gd name="connsiteX9" fmla="*/ 157481 w 1714500"/>
              <a:gd name="connsiteY9" fmla="*/ 1173480 h 1173480"/>
              <a:gd name="connsiteX10" fmla="*/ 0 w 1714500"/>
              <a:gd name="connsiteY10" fmla="*/ 1015999 h 1173480"/>
              <a:gd name="connsiteX11" fmla="*/ 0 w 1714500"/>
              <a:gd name="connsiteY11" fmla="*/ 157481 h 1173480"/>
              <a:gd name="connsiteX0" fmla="*/ 0 w 1714500"/>
              <a:gd name="connsiteY0" fmla="*/ 157481 h 1173480"/>
              <a:gd name="connsiteX1" fmla="*/ 46296 w 1714500"/>
              <a:gd name="connsiteY1" fmla="*/ 45955 h 1173480"/>
              <a:gd name="connsiteX2" fmla="*/ 157481 w 1714500"/>
              <a:gd name="connsiteY2" fmla="*/ 0 h 1173480"/>
              <a:gd name="connsiteX3" fmla="*/ 857250 w 1714500"/>
              <a:gd name="connsiteY3" fmla="*/ 0 h 1173480"/>
              <a:gd name="connsiteX4" fmla="*/ 1557019 w 1714500"/>
              <a:gd name="connsiteY4" fmla="*/ 0 h 1173480"/>
              <a:gd name="connsiteX5" fmla="*/ 1668545 w 1714500"/>
              <a:gd name="connsiteY5" fmla="*/ 46296 h 1173480"/>
              <a:gd name="connsiteX6" fmla="*/ 1714500 w 1714500"/>
              <a:gd name="connsiteY6" fmla="*/ 157481 h 1173480"/>
              <a:gd name="connsiteX7" fmla="*/ 1714500 w 1714500"/>
              <a:gd name="connsiteY7" fmla="*/ 157481 h 1173480"/>
              <a:gd name="connsiteX8" fmla="*/ 1714500 w 1714500"/>
              <a:gd name="connsiteY8" fmla="*/ 1015999 h 1173480"/>
              <a:gd name="connsiteX9" fmla="*/ 1557019 w 1714500"/>
              <a:gd name="connsiteY9" fmla="*/ 1173480 h 1173480"/>
              <a:gd name="connsiteX10" fmla="*/ 157481 w 1714500"/>
              <a:gd name="connsiteY10" fmla="*/ 1173480 h 1173480"/>
              <a:gd name="connsiteX11" fmla="*/ 0 w 1714500"/>
              <a:gd name="connsiteY11" fmla="*/ 1015999 h 1173480"/>
              <a:gd name="connsiteX12" fmla="*/ 0 w 1714500"/>
              <a:gd name="connsiteY12" fmla="*/ 157481 h 1173480"/>
              <a:gd name="connsiteX0" fmla="*/ 0 w 1714500"/>
              <a:gd name="connsiteY0" fmla="*/ 157481 h 1173480"/>
              <a:gd name="connsiteX1" fmla="*/ 46296 w 1714500"/>
              <a:gd name="connsiteY1" fmla="*/ 45955 h 1173480"/>
              <a:gd name="connsiteX2" fmla="*/ 157481 w 1714500"/>
              <a:gd name="connsiteY2" fmla="*/ 0 h 1173480"/>
              <a:gd name="connsiteX3" fmla="*/ 857250 w 1714500"/>
              <a:gd name="connsiteY3" fmla="*/ 0 h 1173480"/>
              <a:gd name="connsiteX4" fmla="*/ 1557019 w 1714500"/>
              <a:gd name="connsiteY4" fmla="*/ 0 h 1173480"/>
              <a:gd name="connsiteX5" fmla="*/ 1668545 w 1714500"/>
              <a:gd name="connsiteY5" fmla="*/ 46296 h 1173480"/>
              <a:gd name="connsiteX6" fmla="*/ 1714500 w 1714500"/>
              <a:gd name="connsiteY6" fmla="*/ 157481 h 1173480"/>
              <a:gd name="connsiteX7" fmla="*/ 1714500 w 1714500"/>
              <a:gd name="connsiteY7" fmla="*/ 1015999 h 1173480"/>
              <a:gd name="connsiteX8" fmla="*/ 1557019 w 1714500"/>
              <a:gd name="connsiteY8" fmla="*/ 1173480 h 1173480"/>
              <a:gd name="connsiteX9" fmla="*/ 157481 w 1714500"/>
              <a:gd name="connsiteY9" fmla="*/ 1173480 h 1173480"/>
              <a:gd name="connsiteX10" fmla="*/ 0 w 1714500"/>
              <a:gd name="connsiteY10" fmla="*/ 1015999 h 1173480"/>
              <a:gd name="connsiteX11" fmla="*/ 0 w 1714500"/>
              <a:gd name="connsiteY11" fmla="*/ 157481 h 1173480"/>
              <a:gd name="connsiteX0" fmla="*/ 0 w 1714500"/>
              <a:gd name="connsiteY0" fmla="*/ 157481 h 1173480"/>
              <a:gd name="connsiteX1" fmla="*/ 46296 w 1714500"/>
              <a:gd name="connsiteY1" fmla="*/ 45955 h 1173480"/>
              <a:gd name="connsiteX2" fmla="*/ 157481 w 1714500"/>
              <a:gd name="connsiteY2" fmla="*/ 0 h 1173480"/>
              <a:gd name="connsiteX3" fmla="*/ 857250 w 1714500"/>
              <a:gd name="connsiteY3" fmla="*/ 0 h 1173480"/>
              <a:gd name="connsiteX4" fmla="*/ 1557019 w 1714500"/>
              <a:gd name="connsiteY4" fmla="*/ 0 h 1173480"/>
              <a:gd name="connsiteX5" fmla="*/ 1668545 w 1714500"/>
              <a:gd name="connsiteY5" fmla="*/ 46296 h 1173480"/>
              <a:gd name="connsiteX6" fmla="*/ 1714500 w 1714500"/>
              <a:gd name="connsiteY6" fmla="*/ 157481 h 1173480"/>
              <a:gd name="connsiteX7" fmla="*/ 1714500 w 1714500"/>
              <a:gd name="connsiteY7" fmla="*/ 586740 h 1173480"/>
              <a:gd name="connsiteX8" fmla="*/ 1714500 w 1714500"/>
              <a:gd name="connsiteY8" fmla="*/ 1015999 h 1173480"/>
              <a:gd name="connsiteX9" fmla="*/ 1557019 w 1714500"/>
              <a:gd name="connsiteY9" fmla="*/ 1173480 h 1173480"/>
              <a:gd name="connsiteX10" fmla="*/ 157481 w 1714500"/>
              <a:gd name="connsiteY10" fmla="*/ 1173480 h 1173480"/>
              <a:gd name="connsiteX11" fmla="*/ 0 w 1714500"/>
              <a:gd name="connsiteY11" fmla="*/ 1015999 h 1173480"/>
              <a:gd name="connsiteX12" fmla="*/ 0 w 1714500"/>
              <a:gd name="connsiteY12" fmla="*/ 157481 h 1173480"/>
              <a:gd name="connsiteX0" fmla="*/ 0 w 1714500"/>
              <a:gd name="connsiteY0" fmla="*/ 157481 h 1173480"/>
              <a:gd name="connsiteX1" fmla="*/ 46296 w 1714500"/>
              <a:gd name="connsiteY1" fmla="*/ 45955 h 1173480"/>
              <a:gd name="connsiteX2" fmla="*/ 157481 w 1714500"/>
              <a:gd name="connsiteY2" fmla="*/ 0 h 1173480"/>
              <a:gd name="connsiteX3" fmla="*/ 857250 w 1714500"/>
              <a:gd name="connsiteY3" fmla="*/ 0 h 1173480"/>
              <a:gd name="connsiteX4" fmla="*/ 1557019 w 1714500"/>
              <a:gd name="connsiteY4" fmla="*/ 0 h 1173480"/>
              <a:gd name="connsiteX5" fmla="*/ 1668545 w 1714500"/>
              <a:gd name="connsiteY5" fmla="*/ 46296 h 1173480"/>
              <a:gd name="connsiteX6" fmla="*/ 1714500 w 1714500"/>
              <a:gd name="connsiteY6" fmla="*/ 157481 h 1173480"/>
              <a:gd name="connsiteX7" fmla="*/ 1714500 w 1714500"/>
              <a:gd name="connsiteY7" fmla="*/ 586740 h 1173480"/>
              <a:gd name="connsiteX8" fmla="*/ 1714500 w 1714500"/>
              <a:gd name="connsiteY8" fmla="*/ 1015999 h 1173480"/>
              <a:gd name="connsiteX9" fmla="*/ 1668204 w 1714500"/>
              <a:gd name="connsiteY9" fmla="*/ 1127525 h 1173480"/>
              <a:gd name="connsiteX10" fmla="*/ 1557019 w 1714500"/>
              <a:gd name="connsiteY10" fmla="*/ 1173480 h 1173480"/>
              <a:gd name="connsiteX11" fmla="*/ 157481 w 1714500"/>
              <a:gd name="connsiteY11" fmla="*/ 1173480 h 1173480"/>
              <a:gd name="connsiteX12" fmla="*/ 0 w 1714500"/>
              <a:gd name="connsiteY12" fmla="*/ 1015999 h 1173480"/>
              <a:gd name="connsiteX13" fmla="*/ 0 w 1714500"/>
              <a:gd name="connsiteY13" fmla="*/ 157481 h 1173480"/>
              <a:gd name="connsiteX0" fmla="*/ 0 w 1714500"/>
              <a:gd name="connsiteY0" fmla="*/ 157481 h 1173480"/>
              <a:gd name="connsiteX1" fmla="*/ 46296 w 1714500"/>
              <a:gd name="connsiteY1" fmla="*/ 45955 h 1173480"/>
              <a:gd name="connsiteX2" fmla="*/ 157481 w 1714500"/>
              <a:gd name="connsiteY2" fmla="*/ 0 h 1173480"/>
              <a:gd name="connsiteX3" fmla="*/ 857250 w 1714500"/>
              <a:gd name="connsiteY3" fmla="*/ 0 h 1173480"/>
              <a:gd name="connsiteX4" fmla="*/ 1557019 w 1714500"/>
              <a:gd name="connsiteY4" fmla="*/ 0 h 1173480"/>
              <a:gd name="connsiteX5" fmla="*/ 1668545 w 1714500"/>
              <a:gd name="connsiteY5" fmla="*/ 46296 h 1173480"/>
              <a:gd name="connsiteX6" fmla="*/ 1714500 w 1714500"/>
              <a:gd name="connsiteY6" fmla="*/ 157481 h 1173480"/>
              <a:gd name="connsiteX7" fmla="*/ 1714500 w 1714500"/>
              <a:gd name="connsiteY7" fmla="*/ 586740 h 1173480"/>
              <a:gd name="connsiteX8" fmla="*/ 1714500 w 1714500"/>
              <a:gd name="connsiteY8" fmla="*/ 1015999 h 1173480"/>
              <a:gd name="connsiteX9" fmla="*/ 1668204 w 1714500"/>
              <a:gd name="connsiteY9" fmla="*/ 1127525 h 1173480"/>
              <a:gd name="connsiteX10" fmla="*/ 1557019 w 1714500"/>
              <a:gd name="connsiteY10" fmla="*/ 1173480 h 1173480"/>
              <a:gd name="connsiteX11" fmla="*/ 1557019 w 1714500"/>
              <a:gd name="connsiteY11" fmla="*/ 1173480 h 1173480"/>
              <a:gd name="connsiteX12" fmla="*/ 157481 w 1714500"/>
              <a:gd name="connsiteY12" fmla="*/ 1173480 h 1173480"/>
              <a:gd name="connsiteX13" fmla="*/ 0 w 1714500"/>
              <a:gd name="connsiteY13" fmla="*/ 1015999 h 1173480"/>
              <a:gd name="connsiteX14" fmla="*/ 0 w 1714500"/>
              <a:gd name="connsiteY14" fmla="*/ 157481 h 1173480"/>
              <a:gd name="connsiteX0" fmla="*/ 0 w 1714500"/>
              <a:gd name="connsiteY0" fmla="*/ 157481 h 1173480"/>
              <a:gd name="connsiteX1" fmla="*/ 46296 w 1714500"/>
              <a:gd name="connsiteY1" fmla="*/ 45955 h 1173480"/>
              <a:gd name="connsiteX2" fmla="*/ 157481 w 1714500"/>
              <a:gd name="connsiteY2" fmla="*/ 0 h 1173480"/>
              <a:gd name="connsiteX3" fmla="*/ 857250 w 1714500"/>
              <a:gd name="connsiteY3" fmla="*/ 0 h 1173480"/>
              <a:gd name="connsiteX4" fmla="*/ 1557019 w 1714500"/>
              <a:gd name="connsiteY4" fmla="*/ 0 h 1173480"/>
              <a:gd name="connsiteX5" fmla="*/ 1668545 w 1714500"/>
              <a:gd name="connsiteY5" fmla="*/ 46296 h 1173480"/>
              <a:gd name="connsiteX6" fmla="*/ 1714500 w 1714500"/>
              <a:gd name="connsiteY6" fmla="*/ 157481 h 1173480"/>
              <a:gd name="connsiteX7" fmla="*/ 1714500 w 1714500"/>
              <a:gd name="connsiteY7" fmla="*/ 586740 h 1173480"/>
              <a:gd name="connsiteX8" fmla="*/ 1714500 w 1714500"/>
              <a:gd name="connsiteY8" fmla="*/ 1015999 h 1173480"/>
              <a:gd name="connsiteX9" fmla="*/ 1668204 w 1714500"/>
              <a:gd name="connsiteY9" fmla="*/ 1127525 h 1173480"/>
              <a:gd name="connsiteX10" fmla="*/ 1557019 w 1714500"/>
              <a:gd name="connsiteY10" fmla="*/ 1173480 h 1173480"/>
              <a:gd name="connsiteX11" fmla="*/ 157481 w 1714500"/>
              <a:gd name="connsiteY11" fmla="*/ 1173480 h 1173480"/>
              <a:gd name="connsiteX12" fmla="*/ 0 w 1714500"/>
              <a:gd name="connsiteY12" fmla="*/ 1015999 h 1173480"/>
              <a:gd name="connsiteX13" fmla="*/ 0 w 1714500"/>
              <a:gd name="connsiteY13" fmla="*/ 157481 h 1173480"/>
              <a:gd name="connsiteX0" fmla="*/ 0 w 1714500"/>
              <a:gd name="connsiteY0" fmla="*/ 157481 h 1173480"/>
              <a:gd name="connsiteX1" fmla="*/ 46296 w 1714500"/>
              <a:gd name="connsiteY1" fmla="*/ 45955 h 1173480"/>
              <a:gd name="connsiteX2" fmla="*/ 157481 w 1714500"/>
              <a:gd name="connsiteY2" fmla="*/ 0 h 1173480"/>
              <a:gd name="connsiteX3" fmla="*/ 857250 w 1714500"/>
              <a:gd name="connsiteY3" fmla="*/ 0 h 1173480"/>
              <a:gd name="connsiteX4" fmla="*/ 1557019 w 1714500"/>
              <a:gd name="connsiteY4" fmla="*/ 0 h 1173480"/>
              <a:gd name="connsiteX5" fmla="*/ 1668545 w 1714500"/>
              <a:gd name="connsiteY5" fmla="*/ 46296 h 1173480"/>
              <a:gd name="connsiteX6" fmla="*/ 1714500 w 1714500"/>
              <a:gd name="connsiteY6" fmla="*/ 157481 h 1173480"/>
              <a:gd name="connsiteX7" fmla="*/ 1714500 w 1714500"/>
              <a:gd name="connsiteY7" fmla="*/ 586740 h 1173480"/>
              <a:gd name="connsiteX8" fmla="*/ 1714500 w 1714500"/>
              <a:gd name="connsiteY8" fmla="*/ 1015999 h 1173480"/>
              <a:gd name="connsiteX9" fmla="*/ 1668204 w 1714500"/>
              <a:gd name="connsiteY9" fmla="*/ 1127525 h 1173480"/>
              <a:gd name="connsiteX10" fmla="*/ 1557019 w 1714500"/>
              <a:gd name="connsiteY10" fmla="*/ 1173480 h 1173480"/>
              <a:gd name="connsiteX11" fmla="*/ 857250 w 1714500"/>
              <a:gd name="connsiteY11" fmla="*/ 1173480 h 1173480"/>
              <a:gd name="connsiteX12" fmla="*/ 157481 w 1714500"/>
              <a:gd name="connsiteY12" fmla="*/ 1173480 h 1173480"/>
              <a:gd name="connsiteX13" fmla="*/ 0 w 1714500"/>
              <a:gd name="connsiteY13" fmla="*/ 1015999 h 1173480"/>
              <a:gd name="connsiteX14" fmla="*/ 0 w 1714500"/>
              <a:gd name="connsiteY14" fmla="*/ 157481 h 1173480"/>
              <a:gd name="connsiteX0" fmla="*/ 0 w 1714500"/>
              <a:gd name="connsiteY0" fmla="*/ 157481 h 1173480"/>
              <a:gd name="connsiteX1" fmla="*/ 46296 w 1714500"/>
              <a:gd name="connsiteY1" fmla="*/ 45955 h 1173480"/>
              <a:gd name="connsiteX2" fmla="*/ 157481 w 1714500"/>
              <a:gd name="connsiteY2" fmla="*/ 0 h 1173480"/>
              <a:gd name="connsiteX3" fmla="*/ 857250 w 1714500"/>
              <a:gd name="connsiteY3" fmla="*/ 0 h 1173480"/>
              <a:gd name="connsiteX4" fmla="*/ 1557019 w 1714500"/>
              <a:gd name="connsiteY4" fmla="*/ 0 h 1173480"/>
              <a:gd name="connsiteX5" fmla="*/ 1668545 w 1714500"/>
              <a:gd name="connsiteY5" fmla="*/ 46296 h 1173480"/>
              <a:gd name="connsiteX6" fmla="*/ 1714500 w 1714500"/>
              <a:gd name="connsiteY6" fmla="*/ 157481 h 1173480"/>
              <a:gd name="connsiteX7" fmla="*/ 1714500 w 1714500"/>
              <a:gd name="connsiteY7" fmla="*/ 586740 h 1173480"/>
              <a:gd name="connsiteX8" fmla="*/ 1714500 w 1714500"/>
              <a:gd name="connsiteY8" fmla="*/ 1015999 h 1173480"/>
              <a:gd name="connsiteX9" fmla="*/ 1668204 w 1714500"/>
              <a:gd name="connsiteY9" fmla="*/ 1127525 h 1173480"/>
              <a:gd name="connsiteX10" fmla="*/ 1557019 w 1714500"/>
              <a:gd name="connsiteY10" fmla="*/ 1173480 h 1173480"/>
              <a:gd name="connsiteX11" fmla="*/ 857250 w 1714500"/>
              <a:gd name="connsiteY11" fmla="*/ 1173480 h 1173480"/>
              <a:gd name="connsiteX12" fmla="*/ 157481 w 1714500"/>
              <a:gd name="connsiteY12" fmla="*/ 1173480 h 1173480"/>
              <a:gd name="connsiteX13" fmla="*/ 45955 w 1714500"/>
              <a:gd name="connsiteY13" fmla="*/ 1127184 h 1173480"/>
              <a:gd name="connsiteX14" fmla="*/ 0 w 1714500"/>
              <a:gd name="connsiteY14" fmla="*/ 1015999 h 1173480"/>
              <a:gd name="connsiteX15" fmla="*/ 0 w 1714500"/>
              <a:gd name="connsiteY15" fmla="*/ 157481 h 1173480"/>
              <a:gd name="connsiteX0" fmla="*/ 0 w 1714500"/>
              <a:gd name="connsiteY0" fmla="*/ 157481 h 1173480"/>
              <a:gd name="connsiteX1" fmla="*/ 46296 w 1714500"/>
              <a:gd name="connsiteY1" fmla="*/ 45955 h 1173480"/>
              <a:gd name="connsiteX2" fmla="*/ 157481 w 1714500"/>
              <a:gd name="connsiteY2" fmla="*/ 0 h 1173480"/>
              <a:gd name="connsiteX3" fmla="*/ 857250 w 1714500"/>
              <a:gd name="connsiteY3" fmla="*/ 0 h 1173480"/>
              <a:gd name="connsiteX4" fmla="*/ 1557019 w 1714500"/>
              <a:gd name="connsiteY4" fmla="*/ 0 h 1173480"/>
              <a:gd name="connsiteX5" fmla="*/ 1668545 w 1714500"/>
              <a:gd name="connsiteY5" fmla="*/ 46296 h 1173480"/>
              <a:gd name="connsiteX6" fmla="*/ 1714500 w 1714500"/>
              <a:gd name="connsiteY6" fmla="*/ 157481 h 1173480"/>
              <a:gd name="connsiteX7" fmla="*/ 1714500 w 1714500"/>
              <a:gd name="connsiteY7" fmla="*/ 586740 h 1173480"/>
              <a:gd name="connsiteX8" fmla="*/ 1714500 w 1714500"/>
              <a:gd name="connsiteY8" fmla="*/ 1015999 h 1173480"/>
              <a:gd name="connsiteX9" fmla="*/ 1668204 w 1714500"/>
              <a:gd name="connsiteY9" fmla="*/ 1127525 h 1173480"/>
              <a:gd name="connsiteX10" fmla="*/ 1557019 w 1714500"/>
              <a:gd name="connsiteY10" fmla="*/ 1173480 h 1173480"/>
              <a:gd name="connsiteX11" fmla="*/ 857250 w 1714500"/>
              <a:gd name="connsiteY11" fmla="*/ 1173480 h 1173480"/>
              <a:gd name="connsiteX12" fmla="*/ 157481 w 1714500"/>
              <a:gd name="connsiteY12" fmla="*/ 1173480 h 1173480"/>
              <a:gd name="connsiteX13" fmla="*/ 45955 w 1714500"/>
              <a:gd name="connsiteY13" fmla="*/ 1127184 h 1173480"/>
              <a:gd name="connsiteX14" fmla="*/ 0 w 1714500"/>
              <a:gd name="connsiteY14" fmla="*/ 1015999 h 1173480"/>
              <a:gd name="connsiteX15" fmla="*/ 0 w 1714500"/>
              <a:gd name="connsiteY15" fmla="*/ 1015999 h 1173480"/>
              <a:gd name="connsiteX16" fmla="*/ 0 w 1714500"/>
              <a:gd name="connsiteY16" fmla="*/ 157481 h 1173480"/>
              <a:gd name="connsiteX0" fmla="*/ 0 w 1714500"/>
              <a:gd name="connsiteY0" fmla="*/ 157481 h 1173480"/>
              <a:gd name="connsiteX1" fmla="*/ 46296 w 1714500"/>
              <a:gd name="connsiteY1" fmla="*/ 45955 h 1173480"/>
              <a:gd name="connsiteX2" fmla="*/ 157481 w 1714500"/>
              <a:gd name="connsiteY2" fmla="*/ 0 h 1173480"/>
              <a:gd name="connsiteX3" fmla="*/ 857250 w 1714500"/>
              <a:gd name="connsiteY3" fmla="*/ 0 h 1173480"/>
              <a:gd name="connsiteX4" fmla="*/ 1557019 w 1714500"/>
              <a:gd name="connsiteY4" fmla="*/ 0 h 1173480"/>
              <a:gd name="connsiteX5" fmla="*/ 1668545 w 1714500"/>
              <a:gd name="connsiteY5" fmla="*/ 46296 h 1173480"/>
              <a:gd name="connsiteX6" fmla="*/ 1714500 w 1714500"/>
              <a:gd name="connsiteY6" fmla="*/ 157481 h 1173480"/>
              <a:gd name="connsiteX7" fmla="*/ 1714500 w 1714500"/>
              <a:gd name="connsiteY7" fmla="*/ 586740 h 1173480"/>
              <a:gd name="connsiteX8" fmla="*/ 1714500 w 1714500"/>
              <a:gd name="connsiteY8" fmla="*/ 1015999 h 1173480"/>
              <a:gd name="connsiteX9" fmla="*/ 1668204 w 1714500"/>
              <a:gd name="connsiteY9" fmla="*/ 1127525 h 1173480"/>
              <a:gd name="connsiteX10" fmla="*/ 1557019 w 1714500"/>
              <a:gd name="connsiteY10" fmla="*/ 1173480 h 1173480"/>
              <a:gd name="connsiteX11" fmla="*/ 857250 w 1714500"/>
              <a:gd name="connsiteY11" fmla="*/ 1173480 h 1173480"/>
              <a:gd name="connsiteX12" fmla="*/ 157481 w 1714500"/>
              <a:gd name="connsiteY12" fmla="*/ 1173480 h 1173480"/>
              <a:gd name="connsiteX13" fmla="*/ 45955 w 1714500"/>
              <a:gd name="connsiteY13" fmla="*/ 1127184 h 1173480"/>
              <a:gd name="connsiteX14" fmla="*/ 0 w 1714500"/>
              <a:gd name="connsiteY14" fmla="*/ 1015999 h 1173480"/>
              <a:gd name="connsiteX15" fmla="*/ 0 w 1714500"/>
              <a:gd name="connsiteY15" fmla="*/ 157481 h 1173480"/>
              <a:gd name="connsiteX0" fmla="*/ 0 w 1714500"/>
              <a:gd name="connsiteY0" fmla="*/ 157481 h 1173480"/>
              <a:gd name="connsiteX1" fmla="*/ 46296 w 1714500"/>
              <a:gd name="connsiteY1" fmla="*/ 45955 h 1173480"/>
              <a:gd name="connsiteX2" fmla="*/ 157481 w 1714500"/>
              <a:gd name="connsiteY2" fmla="*/ 0 h 1173480"/>
              <a:gd name="connsiteX3" fmla="*/ 857250 w 1714500"/>
              <a:gd name="connsiteY3" fmla="*/ 0 h 1173480"/>
              <a:gd name="connsiteX4" fmla="*/ 1557019 w 1714500"/>
              <a:gd name="connsiteY4" fmla="*/ 0 h 1173480"/>
              <a:gd name="connsiteX5" fmla="*/ 1668545 w 1714500"/>
              <a:gd name="connsiteY5" fmla="*/ 46296 h 1173480"/>
              <a:gd name="connsiteX6" fmla="*/ 1714500 w 1714500"/>
              <a:gd name="connsiteY6" fmla="*/ 157481 h 1173480"/>
              <a:gd name="connsiteX7" fmla="*/ 1714500 w 1714500"/>
              <a:gd name="connsiteY7" fmla="*/ 586740 h 1173480"/>
              <a:gd name="connsiteX8" fmla="*/ 1714500 w 1714500"/>
              <a:gd name="connsiteY8" fmla="*/ 1015999 h 1173480"/>
              <a:gd name="connsiteX9" fmla="*/ 1668204 w 1714500"/>
              <a:gd name="connsiteY9" fmla="*/ 1127525 h 1173480"/>
              <a:gd name="connsiteX10" fmla="*/ 1557019 w 1714500"/>
              <a:gd name="connsiteY10" fmla="*/ 1173480 h 1173480"/>
              <a:gd name="connsiteX11" fmla="*/ 857250 w 1714500"/>
              <a:gd name="connsiteY11" fmla="*/ 1173480 h 1173480"/>
              <a:gd name="connsiteX12" fmla="*/ 157481 w 1714500"/>
              <a:gd name="connsiteY12" fmla="*/ 1173480 h 1173480"/>
              <a:gd name="connsiteX13" fmla="*/ 45955 w 1714500"/>
              <a:gd name="connsiteY13" fmla="*/ 1127184 h 1173480"/>
              <a:gd name="connsiteX14" fmla="*/ 0 w 1714500"/>
              <a:gd name="connsiteY14" fmla="*/ 1015999 h 1173480"/>
              <a:gd name="connsiteX15" fmla="*/ 0 w 1714500"/>
              <a:gd name="connsiteY15" fmla="*/ 586740 h 1173480"/>
              <a:gd name="connsiteX16" fmla="*/ 0 w 1714500"/>
              <a:gd name="connsiteY16" fmla="*/ 157481 h 1173480"/>
              <a:gd name="connsiteX0" fmla="*/ 1557019 w 1714500"/>
              <a:gd name="connsiteY0" fmla="*/ 0 h 1173480"/>
              <a:gd name="connsiteX1" fmla="*/ 1668545 w 1714500"/>
              <a:gd name="connsiteY1" fmla="*/ 46296 h 1173480"/>
              <a:gd name="connsiteX2" fmla="*/ 1714500 w 1714500"/>
              <a:gd name="connsiteY2" fmla="*/ 157481 h 1173480"/>
              <a:gd name="connsiteX3" fmla="*/ 1714500 w 1714500"/>
              <a:gd name="connsiteY3" fmla="*/ 586740 h 1173480"/>
              <a:gd name="connsiteX4" fmla="*/ 1714500 w 1714500"/>
              <a:gd name="connsiteY4" fmla="*/ 1015999 h 1173480"/>
              <a:gd name="connsiteX5" fmla="*/ 1668204 w 1714500"/>
              <a:gd name="connsiteY5" fmla="*/ 1127525 h 1173480"/>
              <a:gd name="connsiteX6" fmla="*/ 1557019 w 1714500"/>
              <a:gd name="connsiteY6" fmla="*/ 1173480 h 1173480"/>
              <a:gd name="connsiteX7" fmla="*/ 857250 w 1714500"/>
              <a:gd name="connsiteY7" fmla="*/ 1173480 h 1173480"/>
              <a:gd name="connsiteX8" fmla="*/ 157481 w 1714500"/>
              <a:gd name="connsiteY8" fmla="*/ 1173480 h 1173480"/>
              <a:gd name="connsiteX9" fmla="*/ 45955 w 1714500"/>
              <a:gd name="connsiteY9" fmla="*/ 1127184 h 1173480"/>
              <a:gd name="connsiteX10" fmla="*/ 0 w 1714500"/>
              <a:gd name="connsiteY10" fmla="*/ 1015999 h 1173480"/>
              <a:gd name="connsiteX11" fmla="*/ 0 w 1714500"/>
              <a:gd name="connsiteY11" fmla="*/ 586740 h 1173480"/>
              <a:gd name="connsiteX12" fmla="*/ 0 w 1714500"/>
              <a:gd name="connsiteY12" fmla="*/ 157481 h 1173480"/>
              <a:gd name="connsiteX13" fmla="*/ 46296 w 1714500"/>
              <a:gd name="connsiteY13" fmla="*/ 45955 h 1173480"/>
              <a:gd name="connsiteX14" fmla="*/ 157481 w 1714500"/>
              <a:gd name="connsiteY14" fmla="*/ 0 h 1173480"/>
              <a:gd name="connsiteX15" fmla="*/ 857250 w 1714500"/>
              <a:gd name="connsiteY15" fmla="*/ 0 h 1173480"/>
              <a:gd name="connsiteX16" fmla="*/ 1648459 w 1714500"/>
              <a:gd name="connsiteY16" fmla="*/ 91440 h 1173480"/>
              <a:gd name="connsiteX0" fmla="*/ 1557019 w 1714500"/>
              <a:gd name="connsiteY0" fmla="*/ 0 h 1173480"/>
              <a:gd name="connsiteX1" fmla="*/ 1668545 w 1714500"/>
              <a:gd name="connsiteY1" fmla="*/ 46296 h 1173480"/>
              <a:gd name="connsiteX2" fmla="*/ 1714500 w 1714500"/>
              <a:gd name="connsiteY2" fmla="*/ 157481 h 1173480"/>
              <a:gd name="connsiteX3" fmla="*/ 1714500 w 1714500"/>
              <a:gd name="connsiteY3" fmla="*/ 586740 h 1173480"/>
              <a:gd name="connsiteX4" fmla="*/ 1714500 w 1714500"/>
              <a:gd name="connsiteY4" fmla="*/ 1015999 h 1173480"/>
              <a:gd name="connsiteX5" fmla="*/ 1668204 w 1714500"/>
              <a:gd name="connsiteY5" fmla="*/ 1127525 h 1173480"/>
              <a:gd name="connsiteX6" fmla="*/ 1557019 w 1714500"/>
              <a:gd name="connsiteY6" fmla="*/ 1173480 h 1173480"/>
              <a:gd name="connsiteX7" fmla="*/ 857250 w 1714500"/>
              <a:gd name="connsiteY7" fmla="*/ 1173480 h 1173480"/>
              <a:gd name="connsiteX8" fmla="*/ 157481 w 1714500"/>
              <a:gd name="connsiteY8" fmla="*/ 1173480 h 1173480"/>
              <a:gd name="connsiteX9" fmla="*/ 45955 w 1714500"/>
              <a:gd name="connsiteY9" fmla="*/ 1127184 h 1173480"/>
              <a:gd name="connsiteX10" fmla="*/ 0 w 1714500"/>
              <a:gd name="connsiteY10" fmla="*/ 1015999 h 1173480"/>
              <a:gd name="connsiteX11" fmla="*/ 0 w 1714500"/>
              <a:gd name="connsiteY11" fmla="*/ 586740 h 1173480"/>
              <a:gd name="connsiteX12" fmla="*/ 0 w 1714500"/>
              <a:gd name="connsiteY12" fmla="*/ 157481 h 1173480"/>
              <a:gd name="connsiteX13" fmla="*/ 46296 w 1714500"/>
              <a:gd name="connsiteY13" fmla="*/ 45955 h 1173480"/>
              <a:gd name="connsiteX14" fmla="*/ 157481 w 1714500"/>
              <a:gd name="connsiteY14" fmla="*/ 0 h 1173480"/>
              <a:gd name="connsiteX15" fmla="*/ 857250 w 1714500"/>
              <a:gd name="connsiteY15" fmla="*/ 0 h 1173480"/>
              <a:gd name="connsiteX0" fmla="*/ 1668545 w 1714500"/>
              <a:gd name="connsiteY0" fmla="*/ 46296 h 1173480"/>
              <a:gd name="connsiteX1" fmla="*/ 1714500 w 1714500"/>
              <a:gd name="connsiteY1" fmla="*/ 157481 h 1173480"/>
              <a:gd name="connsiteX2" fmla="*/ 1714500 w 1714500"/>
              <a:gd name="connsiteY2" fmla="*/ 586740 h 1173480"/>
              <a:gd name="connsiteX3" fmla="*/ 1714500 w 1714500"/>
              <a:gd name="connsiteY3" fmla="*/ 1015999 h 1173480"/>
              <a:gd name="connsiteX4" fmla="*/ 1668204 w 1714500"/>
              <a:gd name="connsiteY4" fmla="*/ 1127525 h 1173480"/>
              <a:gd name="connsiteX5" fmla="*/ 1557019 w 1714500"/>
              <a:gd name="connsiteY5" fmla="*/ 1173480 h 1173480"/>
              <a:gd name="connsiteX6" fmla="*/ 857250 w 1714500"/>
              <a:gd name="connsiteY6" fmla="*/ 1173480 h 1173480"/>
              <a:gd name="connsiteX7" fmla="*/ 157481 w 1714500"/>
              <a:gd name="connsiteY7" fmla="*/ 1173480 h 1173480"/>
              <a:gd name="connsiteX8" fmla="*/ 45955 w 1714500"/>
              <a:gd name="connsiteY8" fmla="*/ 1127184 h 1173480"/>
              <a:gd name="connsiteX9" fmla="*/ 0 w 1714500"/>
              <a:gd name="connsiteY9" fmla="*/ 1015999 h 1173480"/>
              <a:gd name="connsiteX10" fmla="*/ 0 w 1714500"/>
              <a:gd name="connsiteY10" fmla="*/ 586740 h 1173480"/>
              <a:gd name="connsiteX11" fmla="*/ 0 w 1714500"/>
              <a:gd name="connsiteY11" fmla="*/ 157481 h 1173480"/>
              <a:gd name="connsiteX12" fmla="*/ 46296 w 1714500"/>
              <a:gd name="connsiteY12" fmla="*/ 45955 h 1173480"/>
              <a:gd name="connsiteX13" fmla="*/ 157481 w 1714500"/>
              <a:gd name="connsiteY13" fmla="*/ 0 h 1173480"/>
              <a:gd name="connsiteX14" fmla="*/ 857250 w 1714500"/>
              <a:gd name="connsiteY14" fmla="*/ 0 h 1173480"/>
              <a:gd name="connsiteX0" fmla="*/ 1714500 w 1714500"/>
              <a:gd name="connsiteY0" fmla="*/ 157481 h 1173480"/>
              <a:gd name="connsiteX1" fmla="*/ 1714500 w 1714500"/>
              <a:gd name="connsiteY1" fmla="*/ 586740 h 1173480"/>
              <a:gd name="connsiteX2" fmla="*/ 1714500 w 1714500"/>
              <a:gd name="connsiteY2" fmla="*/ 1015999 h 1173480"/>
              <a:gd name="connsiteX3" fmla="*/ 1668204 w 1714500"/>
              <a:gd name="connsiteY3" fmla="*/ 1127525 h 1173480"/>
              <a:gd name="connsiteX4" fmla="*/ 1557019 w 1714500"/>
              <a:gd name="connsiteY4" fmla="*/ 1173480 h 1173480"/>
              <a:gd name="connsiteX5" fmla="*/ 857250 w 1714500"/>
              <a:gd name="connsiteY5" fmla="*/ 1173480 h 1173480"/>
              <a:gd name="connsiteX6" fmla="*/ 157481 w 1714500"/>
              <a:gd name="connsiteY6" fmla="*/ 1173480 h 1173480"/>
              <a:gd name="connsiteX7" fmla="*/ 45955 w 1714500"/>
              <a:gd name="connsiteY7" fmla="*/ 1127184 h 1173480"/>
              <a:gd name="connsiteX8" fmla="*/ 0 w 1714500"/>
              <a:gd name="connsiteY8" fmla="*/ 1015999 h 1173480"/>
              <a:gd name="connsiteX9" fmla="*/ 0 w 1714500"/>
              <a:gd name="connsiteY9" fmla="*/ 586740 h 1173480"/>
              <a:gd name="connsiteX10" fmla="*/ 0 w 1714500"/>
              <a:gd name="connsiteY10" fmla="*/ 157481 h 1173480"/>
              <a:gd name="connsiteX11" fmla="*/ 46296 w 1714500"/>
              <a:gd name="connsiteY11" fmla="*/ 45955 h 1173480"/>
              <a:gd name="connsiteX12" fmla="*/ 157481 w 1714500"/>
              <a:gd name="connsiteY12" fmla="*/ 0 h 1173480"/>
              <a:gd name="connsiteX13" fmla="*/ 857250 w 1714500"/>
              <a:gd name="connsiteY13" fmla="*/ 0 h 1173480"/>
              <a:gd name="connsiteX0" fmla="*/ 1714500 w 1714500"/>
              <a:gd name="connsiteY0" fmla="*/ 586740 h 1173480"/>
              <a:gd name="connsiteX1" fmla="*/ 1714500 w 1714500"/>
              <a:gd name="connsiteY1" fmla="*/ 1015999 h 1173480"/>
              <a:gd name="connsiteX2" fmla="*/ 1668204 w 1714500"/>
              <a:gd name="connsiteY2" fmla="*/ 1127525 h 1173480"/>
              <a:gd name="connsiteX3" fmla="*/ 1557019 w 1714500"/>
              <a:gd name="connsiteY3" fmla="*/ 1173480 h 1173480"/>
              <a:gd name="connsiteX4" fmla="*/ 857250 w 1714500"/>
              <a:gd name="connsiteY4" fmla="*/ 1173480 h 1173480"/>
              <a:gd name="connsiteX5" fmla="*/ 157481 w 1714500"/>
              <a:gd name="connsiteY5" fmla="*/ 1173480 h 1173480"/>
              <a:gd name="connsiteX6" fmla="*/ 45955 w 1714500"/>
              <a:gd name="connsiteY6" fmla="*/ 1127184 h 1173480"/>
              <a:gd name="connsiteX7" fmla="*/ 0 w 1714500"/>
              <a:gd name="connsiteY7" fmla="*/ 1015999 h 1173480"/>
              <a:gd name="connsiteX8" fmla="*/ 0 w 1714500"/>
              <a:gd name="connsiteY8" fmla="*/ 586740 h 1173480"/>
              <a:gd name="connsiteX9" fmla="*/ 0 w 1714500"/>
              <a:gd name="connsiteY9" fmla="*/ 157481 h 1173480"/>
              <a:gd name="connsiteX10" fmla="*/ 46296 w 1714500"/>
              <a:gd name="connsiteY10" fmla="*/ 45955 h 1173480"/>
              <a:gd name="connsiteX11" fmla="*/ 157481 w 1714500"/>
              <a:gd name="connsiteY11" fmla="*/ 0 h 1173480"/>
              <a:gd name="connsiteX12" fmla="*/ 857250 w 1714500"/>
              <a:gd name="connsiteY12" fmla="*/ 0 h 1173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14500" h="1173480">
                <a:moveTo>
                  <a:pt x="1714500" y="586740"/>
                </a:moveTo>
                <a:lnTo>
                  <a:pt x="1714500" y="1015999"/>
                </a:lnTo>
                <a:cubicBezTo>
                  <a:pt x="1714500" y="1059573"/>
                  <a:pt x="1696803" y="1099013"/>
                  <a:pt x="1668204" y="1127525"/>
                </a:cubicBezTo>
                <a:cubicBezTo>
                  <a:pt x="1639719" y="1155924"/>
                  <a:pt x="1600419" y="1173480"/>
                  <a:pt x="1557019" y="1173480"/>
                </a:cubicBezTo>
                <a:lnTo>
                  <a:pt x="857250" y="1173480"/>
                </a:lnTo>
                <a:lnTo>
                  <a:pt x="157481" y="1173480"/>
                </a:lnTo>
                <a:cubicBezTo>
                  <a:pt x="113907" y="1173480"/>
                  <a:pt x="74467" y="1155783"/>
                  <a:pt x="45955" y="1127184"/>
                </a:cubicBezTo>
                <a:cubicBezTo>
                  <a:pt x="17557" y="1098699"/>
                  <a:pt x="0" y="1059399"/>
                  <a:pt x="0" y="1015999"/>
                </a:cubicBezTo>
                <a:lnTo>
                  <a:pt x="0" y="586740"/>
                </a:lnTo>
                <a:lnTo>
                  <a:pt x="0" y="157481"/>
                </a:lnTo>
                <a:cubicBezTo>
                  <a:pt x="0" y="113907"/>
                  <a:pt x="17697" y="74467"/>
                  <a:pt x="46296" y="45955"/>
                </a:cubicBezTo>
                <a:cubicBezTo>
                  <a:pt x="74781" y="17556"/>
                  <a:pt x="114081" y="0"/>
                  <a:pt x="157481" y="0"/>
                </a:cubicBezTo>
                <a:lnTo>
                  <a:pt x="857250" y="0"/>
                </a:lnTo>
              </a:path>
            </a:pathLst>
          </a:custGeom>
          <a:noFill/>
          <a:ln w="2286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109728" tIns="54864" rIns="109728" bIns="54864" rtlCol="0" anchor="ctr"/>
          <a:lstStyle/>
          <a:p>
            <a:pPr algn="l"/>
            <a:endParaRPr lang="zh-CN" altLang="en-US" sz="1920">
              <a:solidFill>
                <a:schemeClr val="bg1"/>
              </a:solidFill>
              <a:latin typeface="+mj-ea"/>
              <a:ea typeface="+mj-ea"/>
            </a:endParaRPr>
          </a:p>
        </p:txBody>
      </p:sp>
      <p:cxnSp>
        <p:nvCxnSpPr>
          <p:cNvPr id="6" name="直接箭头连接符 5">
            <a:extLst>
              <a:ext uri="{FF2B5EF4-FFF2-40B4-BE49-F238E27FC236}">
                <a16:creationId xmlns:a16="http://schemas.microsoft.com/office/drawing/2014/main" id="{07CBCBEF-16EA-4C71-8C19-682D66795E11}"/>
              </a:ext>
            </a:extLst>
          </p:cNvPr>
          <p:cNvCxnSpPr/>
          <p:nvPr/>
        </p:nvCxnSpPr>
        <p:spPr>
          <a:xfrm>
            <a:off x="4154258" y="3807653"/>
            <a:ext cx="565710" cy="0"/>
          </a:xfrm>
          <a:prstGeom prst="straightConnector1">
            <a:avLst/>
          </a:prstGeom>
          <a:noFill/>
          <a:ln w="22860">
            <a:solidFill>
              <a:schemeClr val="accent1"/>
            </a:solidFill>
            <a:tailEnd type="stealth"/>
          </a:ln>
          <a:effectLst/>
        </p:spPr>
        <p:style>
          <a:lnRef idx="2">
            <a:schemeClr val="accent1">
              <a:shade val="50000"/>
            </a:schemeClr>
          </a:lnRef>
          <a:fillRef idx="1">
            <a:schemeClr val="accent1"/>
          </a:fillRef>
          <a:effectRef idx="0">
            <a:schemeClr val="accent1"/>
          </a:effectRef>
          <a:fontRef idx="minor">
            <a:schemeClr val="lt1"/>
          </a:fontRef>
        </p:style>
      </p:cxnSp>
      <p:sp>
        <p:nvSpPr>
          <p:cNvPr id="7" name="文本框 6">
            <a:extLst>
              <a:ext uri="{FF2B5EF4-FFF2-40B4-BE49-F238E27FC236}">
                <a16:creationId xmlns:a16="http://schemas.microsoft.com/office/drawing/2014/main" id="{5E71ECF1-783F-42F3-A7CA-AC4143D403D7}"/>
              </a:ext>
            </a:extLst>
          </p:cNvPr>
          <p:cNvSpPr txBox="1"/>
          <p:nvPr/>
        </p:nvSpPr>
        <p:spPr>
          <a:xfrm>
            <a:off x="2026663" y="3396761"/>
            <a:ext cx="1384994" cy="332399"/>
          </a:xfrm>
          <a:prstGeom prst="rect">
            <a:avLst/>
          </a:prstGeom>
          <a:noFill/>
          <a:effectLst/>
        </p:spPr>
        <p:txBody>
          <a:bodyPr wrap="none" lIns="0" tIns="0" rIns="0" bIns="0" rtlCol="0" anchor="t">
            <a:spAutoFit/>
          </a:bodyPr>
          <a:lstStyle/>
          <a:p>
            <a:r>
              <a:rPr lang="zh-CN" altLang="en-US" sz="2160" dirty="0">
                <a:solidFill>
                  <a:schemeClr val="accent1"/>
                </a:solidFill>
                <a:latin typeface="+mj-ea"/>
                <a:ea typeface="+mj-ea"/>
              </a:rPr>
              <a:t>关键词标题</a:t>
            </a:r>
          </a:p>
        </p:txBody>
      </p:sp>
      <p:sp>
        <p:nvSpPr>
          <p:cNvPr id="8" name="文本框 7">
            <a:extLst>
              <a:ext uri="{FF2B5EF4-FFF2-40B4-BE49-F238E27FC236}">
                <a16:creationId xmlns:a16="http://schemas.microsoft.com/office/drawing/2014/main" id="{E52D1ACB-6D38-4430-9492-93109B1D205A}"/>
              </a:ext>
            </a:extLst>
          </p:cNvPr>
          <p:cNvSpPr txBox="1"/>
          <p:nvPr/>
        </p:nvSpPr>
        <p:spPr>
          <a:xfrm>
            <a:off x="1510342" y="3799985"/>
            <a:ext cx="2417637" cy="704808"/>
          </a:xfrm>
          <a:prstGeom prst="rect">
            <a:avLst/>
          </a:prstGeom>
          <a:noFill/>
          <a:effectLst/>
        </p:spPr>
        <p:txBody>
          <a:bodyPr wrap="square" lIns="0" tIns="0" rIns="0" bIns="0" rtlCol="0" anchor="t">
            <a:spAutoFit/>
          </a:bodyPr>
          <a:lstStyle/>
          <a:p>
            <a:pPr algn="ctr">
              <a:lnSpc>
                <a:spcPct val="130000"/>
              </a:lnSpc>
            </a:pPr>
            <a:r>
              <a:rPr lang="en-US" altLang="zh-CN" sz="1200" b="0" dirty="0">
                <a:solidFill>
                  <a:schemeClr val="tx1">
                    <a:lumMod val="75000"/>
                    <a:lumOff val="25000"/>
                  </a:schemeClr>
                </a:solidFill>
                <a:effectLst/>
                <a:latin typeface="+mn-ea"/>
              </a:rPr>
              <a:t>Lorem ipsum dolor sit ametconsectetur adipisicing elit</a:t>
            </a:r>
            <a:r>
              <a:rPr lang="en-US" altLang="zh-CN" sz="1200" dirty="0">
                <a:solidFill>
                  <a:schemeClr val="tx1">
                    <a:lumMod val="75000"/>
                    <a:lumOff val="25000"/>
                  </a:schemeClr>
                </a:solidFill>
                <a:latin typeface="+mn-ea"/>
              </a:rPr>
              <a:t> </a:t>
            </a:r>
            <a:r>
              <a:rPr lang="en-US" altLang="zh-CN" sz="1200" b="0" dirty="0">
                <a:solidFill>
                  <a:schemeClr val="tx1">
                    <a:lumMod val="75000"/>
                    <a:lumOff val="25000"/>
                  </a:schemeClr>
                </a:solidFill>
                <a:effectLst/>
                <a:latin typeface="+mn-ea"/>
              </a:rPr>
              <a:t>sed do eiusmod tempor</a:t>
            </a:r>
            <a:endParaRPr lang="zh-CN" altLang="en-US" sz="1200" b="0" dirty="0">
              <a:solidFill>
                <a:schemeClr val="tx1">
                  <a:lumMod val="75000"/>
                  <a:lumOff val="25000"/>
                </a:schemeClr>
              </a:solidFill>
              <a:effectLst/>
              <a:latin typeface="+mn-ea"/>
            </a:endParaRPr>
          </a:p>
        </p:txBody>
      </p:sp>
      <p:sp>
        <p:nvSpPr>
          <p:cNvPr id="12" name="椭圆 11">
            <a:extLst>
              <a:ext uri="{FF2B5EF4-FFF2-40B4-BE49-F238E27FC236}">
                <a16:creationId xmlns:a16="http://schemas.microsoft.com/office/drawing/2014/main" id="{56D2BBF1-0568-465B-9F59-31D581282ED6}"/>
              </a:ext>
            </a:extLst>
          </p:cNvPr>
          <p:cNvSpPr/>
          <p:nvPr/>
        </p:nvSpPr>
        <p:spPr>
          <a:xfrm>
            <a:off x="5687367" y="2516232"/>
            <a:ext cx="683844" cy="683841"/>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09728" tIns="54864" rIns="109728" bIns="54864" rtlCol="0" anchor="ctr"/>
          <a:lstStyle/>
          <a:p>
            <a:pPr algn="l"/>
            <a:endParaRPr lang="zh-CN" altLang="en-US" sz="1920" dirty="0">
              <a:solidFill>
                <a:schemeClr val="bg1"/>
              </a:solidFill>
              <a:latin typeface="+mj-ea"/>
              <a:ea typeface="+mj-ea"/>
            </a:endParaRPr>
          </a:p>
        </p:txBody>
      </p:sp>
      <p:sp>
        <p:nvSpPr>
          <p:cNvPr id="16" name="矩形: 圆角 2">
            <a:extLst>
              <a:ext uri="{FF2B5EF4-FFF2-40B4-BE49-F238E27FC236}">
                <a16:creationId xmlns:a16="http://schemas.microsoft.com/office/drawing/2014/main" id="{2DF006E9-5FC1-432A-B8C6-9C47D41F9A05}"/>
              </a:ext>
            </a:extLst>
          </p:cNvPr>
          <p:cNvSpPr/>
          <p:nvPr/>
        </p:nvSpPr>
        <p:spPr>
          <a:xfrm>
            <a:off x="4719945" y="2858152"/>
            <a:ext cx="2752107" cy="1883664"/>
          </a:xfrm>
          <a:custGeom>
            <a:avLst/>
            <a:gdLst>
              <a:gd name="connsiteX0" fmla="*/ 0 w 1714500"/>
              <a:gd name="connsiteY0" fmla="*/ 157481 h 1173480"/>
              <a:gd name="connsiteX1" fmla="*/ 157481 w 1714500"/>
              <a:gd name="connsiteY1" fmla="*/ 0 h 1173480"/>
              <a:gd name="connsiteX2" fmla="*/ 1557019 w 1714500"/>
              <a:gd name="connsiteY2" fmla="*/ 0 h 1173480"/>
              <a:gd name="connsiteX3" fmla="*/ 1714500 w 1714500"/>
              <a:gd name="connsiteY3" fmla="*/ 157481 h 1173480"/>
              <a:gd name="connsiteX4" fmla="*/ 1714500 w 1714500"/>
              <a:gd name="connsiteY4" fmla="*/ 1015999 h 1173480"/>
              <a:gd name="connsiteX5" fmla="*/ 1557019 w 1714500"/>
              <a:gd name="connsiteY5" fmla="*/ 1173480 h 1173480"/>
              <a:gd name="connsiteX6" fmla="*/ 157481 w 1714500"/>
              <a:gd name="connsiteY6" fmla="*/ 1173480 h 1173480"/>
              <a:gd name="connsiteX7" fmla="*/ 0 w 1714500"/>
              <a:gd name="connsiteY7" fmla="*/ 1015999 h 1173480"/>
              <a:gd name="connsiteX8" fmla="*/ 0 w 1714500"/>
              <a:gd name="connsiteY8" fmla="*/ 157481 h 1173480"/>
              <a:gd name="connsiteX0" fmla="*/ 2817495 w 4531995"/>
              <a:gd name="connsiteY0" fmla="*/ 3891281 h 4907280"/>
              <a:gd name="connsiteX1" fmla="*/ 0 w 4531995"/>
              <a:gd name="connsiteY1" fmla="*/ 0 h 4907280"/>
              <a:gd name="connsiteX2" fmla="*/ 2974976 w 4531995"/>
              <a:gd name="connsiteY2" fmla="*/ 3733800 h 4907280"/>
              <a:gd name="connsiteX3" fmla="*/ 4374514 w 4531995"/>
              <a:gd name="connsiteY3" fmla="*/ 3733800 h 4907280"/>
              <a:gd name="connsiteX4" fmla="*/ 4531995 w 4531995"/>
              <a:gd name="connsiteY4" fmla="*/ 3891281 h 4907280"/>
              <a:gd name="connsiteX5" fmla="*/ 4531995 w 4531995"/>
              <a:gd name="connsiteY5" fmla="*/ 4749799 h 4907280"/>
              <a:gd name="connsiteX6" fmla="*/ 4374514 w 4531995"/>
              <a:gd name="connsiteY6" fmla="*/ 4907280 h 4907280"/>
              <a:gd name="connsiteX7" fmla="*/ 2974976 w 4531995"/>
              <a:gd name="connsiteY7" fmla="*/ 4907280 h 4907280"/>
              <a:gd name="connsiteX8" fmla="*/ 2817495 w 4531995"/>
              <a:gd name="connsiteY8" fmla="*/ 4749799 h 4907280"/>
              <a:gd name="connsiteX9" fmla="*/ 2817495 w 4531995"/>
              <a:gd name="connsiteY9" fmla="*/ 3891281 h 4907280"/>
              <a:gd name="connsiteX0" fmla="*/ 0 w 1714500"/>
              <a:gd name="connsiteY0" fmla="*/ 157481 h 1173480"/>
              <a:gd name="connsiteX1" fmla="*/ 157481 w 1714500"/>
              <a:gd name="connsiteY1" fmla="*/ 0 h 1173480"/>
              <a:gd name="connsiteX2" fmla="*/ 1557019 w 1714500"/>
              <a:gd name="connsiteY2" fmla="*/ 0 h 1173480"/>
              <a:gd name="connsiteX3" fmla="*/ 1714500 w 1714500"/>
              <a:gd name="connsiteY3" fmla="*/ 157481 h 1173480"/>
              <a:gd name="connsiteX4" fmla="*/ 1714500 w 1714500"/>
              <a:gd name="connsiteY4" fmla="*/ 1015999 h 1173480"/>
              <a:gd name="connsiteX5" fmla="*/ 1557019 w 1714500"/>
              <a:gd name="connsiteY5" fmla="*/ 1173480 h 1173480"/>
              <a:gd name="connsiteX6" fmla="*/ 157481 w 1714500"/>
              <a:gd name="connsiteY6" fmla="*/ 1173480 h 1173480"/>
              <a:gd name="connsiteX7" fmla="*/ 0 w 1714500"/>
              <a:gd name="connsiteY7" fmla="*/ 1015999 h 1173480"/>
              <a:gd name="connsiteX8" fmla="*/ 0 w 1714500"/>
              <a:gd name="connsiteY8" fmla="*/ 157481 h 1173480"/>
              <a:gd name="connsiteX0" fmla="*/ 0 w 1714500"/>
              <a:gd name="connsiteY0" fmla="*/ 157481 h 1173480"/>
              <a:gd name="connsiteX1" fmla="*/ 46296 w 1714500"/>
              <a:gd name="connsiteY1" fmla="*/ 45955 h 1173480"/>
              <a:gd name="connsiteX2" fmla="*/ 157481 w 1714500"/>
              <a:gd name="connsiteY2" fmla="*/ 0 h 1173480"/>
              <a:gd name="connsiteX3" fmla="*/ 1557019 w 1714500"/>
              <a:gd name="connsiteY3" fmla="*/ 0 h 1173480"/>
              <a:gd name="connsiteX4" fmla="*/ 1714500 w 1714500"/>
              <a:gd name="connsiteY4" fmla="*/ 157481 h 1173480"/>
              <a:gd name="connsiteX5" fmla="*/ 1714500 w 1714500"/>
              <a:gd name="connsiteY5" fmla="*/ 1015999 h 1173480"/>
              <a:gd name="connsiteX6" fmla="*/ 1557019 w 1714500"/>
              <a:gd name="connsiteY6" fmla="*/ 1173480 h 1173480"/>
              <a:gd name="connsiteX7" fmla="*/ 157481 w 1714500"/>
              <a:gd name="connsiteY7" fmla="*/ 1173480 h 1173480"/>
              <a:gd name="connsiteX8" fmla="*/ 0 w 1714500"/>
              <a:gd name="connsiteY8" fmla="*/ 1015999 h 1173480"/>
              <a:gd name="connsiteX9" fmla="*/ 0 w 1714500"/>
              <a:gd name="connsiteY9" fmla="*/ 157481 h 1173480"/>
              <a:gd name="connsiteX0" fmla="*/ 0 w 1714500"/>
              <a:gd name="connsiteY0" fmla="*/ 157481 h 1173480"/>
              <a:gd name="connsiteX1" fmla="*/ 46296 w 1714500"/>
              <a:gd name="connsiteY1" fmla="*/ 45955 h 1173480"/>
              <a:gd name="connsiteX2" fmla="*/ 157481 w 1714500"/>
              <a:gd name="connsiteY2" fmla="*/ 0 h 1173480"/>
              <a:gd name="connsiteX3" fmla="*/ 157481 w 1714500"/>
              <a:gd name="connsiteY3" fmla="*/ 0 h 1173480"/>
              <a:gd name="connsiteX4" fmla="*/ 1557019 w 1714500"/>
              <a:gd name="connsiteY4" fmla="*/ 0 h 1173480"/>
              <a:gd name="connsiteX5" fmla="*/ 1714500 w 1714500"/>
              <a:gd name="connsiteY5" fmla="*/ 157481 h 1173480"/>
              <a:gd name="connsiteX6" fmla="*/ 1714500 w 1714500"/>
              <a:gd name="connsiteY6" fmla="*/ 1015999 h 1173480"/>
              <a:gd name="connsiteX7" fmla="*/ 1557019 w 1714500"/>
              <a:gd name="connsiteY7" fmla="*/ 1173480 h 1173480"/>
              <a:gd name="connsiteX8" fmla="*/ 157481 w 1714500"/>
              <a:gd name="connsiteY8" fmla="*/ 1173480 h 1173480"/>
              <a:gd name="connsiteX9" fmla="*/ 0 w 1714500"/>
              <a:gd name="connsiteY9" fmla="*/ 1015999 h 1173480"/>
              <a:gd name="connsiteX10" fmla="*/ 0 w 1714500"/>
              <a:gd name="connsiteY10" fmla="*/ 157481 h 1173480"/>
              <a:gd name="connsiteX0" fmla="*/ 0 w 1714500"/>
              <a:gd name="connsiteY0" fmla="*/ 157481 h 1173480"/>
              <a:gd name="connsiteX1" fmla="*/ 46296 w 1714500"/>
              <a:gd name="connsiteY1" fmla="*/ 45955 h 1173480"/>
              <a:gd name="connsiteX2" fmla="*/ 157481 w 1714500"/>
              <a:gd name="connsiteY2" fmla="*/ 0 h 1173480"/>
              <a:gd name="connsiteX3" fmla="*/ 1557019 w 1714500"/>
              <a:gd name="connsiteY3" fmla="*/ 0 h 1173480"/>
              <a:gd name="connsiteX4" fmla="*/ 1714500 w 1714500"/>
              <a:gd name="connsiteY4" fmla="*/ 157481 h 1173480"/>
              <a:gd name="connsiteX5" fmla="*/ 1714500 w 1714500"/>
              <a:gd name="connsiteY5" fmla="*/ 1015999 h 1173480"/>
              <a:gd name="connsiteX6" fmla="*/ 1557019 w 1714500"/>
              <a:gd name="connsiteY6" fmla="*/ 1173480 h 1173480"/>
              <a:gd name="connsiteX7" fmla="*/ 157481 w 1714500"/>
              <a:gd name="connsiteY7" fmla="*/ 1173480 h 1173480"/>
              <a:gd name="connsiteX8" fmla="*/ 0 w 1714500"/>
              <a:gd name="connsiteY8" fmla="*/ 1015999 h 1173480"/>
              <a:gd name="connsiteX9" fmla="*/ 0 w 1714500"/>
              <a:gd name="connsiteY9" fmla="*/ 157481 h 1173480"/>
              <a:gd name="connsiteX0" fmla="*/ 0 w 1714500"/>
              <a:gd name="connsiteY0" fmla="*/ 157481 h 1173480"/>
              <a:gd name="connsiteX1" fmla="*/ 46296 w 1714500"/>
              <a:gd name="connsiteY1" fmla="*/ 45955 h 1173480"/>
              <a:gd name="connsiteX2" fmla="*/ 157481 w 1714500"/>
              <a:gd name="connsiteY2" fmla="*/ 0 h 1173480"/>
              <a:gd name="connsiteX3" fmla="*/ 857250 w 1714500"/>
              <a:gd name="connsiteY3" fmla="*/ 0 h 1173480"/>
              <a:gd name="connsiteX4" fmla="*/ 1557019 w 1714500"/>
              <a:gd name="connsiteY4" fmla="*/ 0 h 1173480"/>
              <a:gd name="connsiteX5" fmla="*/ 1714500 w 1714500"/>
              <a:gd name="connsiteY5" fmla="*/ 157481 h 1173480"/>
              <a:gd name="connsiteX6" fmla="*/ 1714500 w 1714500"/>
              <a:gd name="connsiteY6" fmla="*/ 1015999 h 1173480"/>
              <a:gd name="connsiteX7" fmla="*/ 1557019 w 1714500"/>
              <a:gd name="connsiteY7" fmla="*/ 1173480 h 1173480"/>
              <a:gd name="connsiteX8" fmla="*/ 157481 w 1714500"/>
              <a:gd name="connsiteY8" fmla="*/ 1173480 h 1173480"/>
              <a:gd name="connsiteX9" fmla="*/ 0 w 1714500"/>
              <a:gd name="connsiteY9" fmla="*/ 1015999 h 1173480"/>
              <a:gd name="connsiteX10" fmla="*/ 0 w 1714500"/>
              <a:gd name="connsiteY10" fmla="*/ 157481 h 1173480"/>
              <a:gd name="connsiteX0" fmla="*/ 0 w 1714500"/>
              <a:gd name="connsiteY0" fmla="*/ 157481 h 1173480"/>
              <a:gd name="connsiteX1" fmla="*/ 46296 w 1714500"/>
              <a:gd name="connsiteY1" fmla="*/ 45955 h 1173480"/>
              <a:gd name="connsiteX2" fmla="*/ 157481 w 1714500"/>
              <a:gd name="connsiteY2" fmla="*/ 0 h 1173480"/>
              <a:gd name="connsiteX3" fmla="*/ 857250 w 1714500"/>
              <a:gd name="connsiteY3" fmla="*/ 0 h 1173480"/>
              <a:gd name="connsiteX4" fmla="*/ 1557019 w 1714500"/>
              <a:gd name="connsiteY4" fmla="*/ 0 h 1173480"/>
              <a:gd name="connsiteX5" fmla="*/ 1668545 w 1714500"/>
              <a:gd name="connsiteY5" fmla="*/ 46296 h 1173480"/>
              <a:gd name="connsiteX6" fmla="*/ 1714500 w 1714500"/>
              <a:gd name="connsiteY6" fmla="*/ 157481 h 1173480"/>
              <a:gd name="connsiteX7" fmla="*/ 1714500 w 1714500"/>
              <a:gd name="connsiteY7" fmla="*/ 1015999 h 1173480"/>
              <a:gd name="connsiteX8" fmla="*/ 1557019 w 1714500"/>
              <a:gd name="connsiteY8" fmla="*/ 1173480 h 1173480"/>
              <a:gd name="connsiteX9" fmla="*/ 157481 w 1714500"/>
              <a:gd name="connsiteY9" fmla="*/ 1173480 h 1173480"/>
              <a:gd name="connsiteX10" fmla="*/ 0 w 1714500"/>
              <a:gd name="connsiteY10" fmla="*/ 1015999 h 1173480"/>
              <a:gd name="connsiteX11" fmla="*/ 0 w 1714500"/>
              <a:gd name="connsiteY11" fmla="*/ 157481 h 1173480"/>
              <a:gd name="connsiteX0" fmla="*/ 0 w 1714500"/>
              <a:gd name="connsiteY0" fmla="*/ 157481 h 1173480"/>
              <a:gd name="connsiteX1" fmla="*/ 46296 w 1714500"/>
              <a:gd name="connsiteY1" fmla="*/ 45955 h 1173480"/>
              <a:gd name="connsiteX2" fmla="*/ 157481 w 1714500"/>
              <a:gd name="connsiteY2" fmla="*/ 0 h 1173480"/>
              <a:gd name="connsiteX3" fmla="*/ 857250 w 1714500"/>
              <a:gd name="connsiteY3" fmla="*/ 0 h 1173480"/>
              <a:gd name="connsiteX4" fmla="*/ 1557019 w 1714500"/>
              <a:gd name="connsiteY4" fmla="*/ 0 h 1173480"/>
              <a:gd name="connsiteX5" fmla="*/ 1668545 w 1714500"/>
              <a:gd name="connsiteY5" fmla="*/ 46296 h 1173480"/>
              <a:gd name="connsiteX6" fmla="*/ 1714500 w 1714500"/>
              <a:gd name="connsiteY6" fmla="*/ 157481 h 1173480"/>
              <a:gd name="connsiteX7" fmla="*/ 1714500 w 1714500"/>
              <a:gd name="connsiteY7" fmla="*/ 157481 h 1173480"/>
              <a:gd name="connsiteX8" fmla="*/ 1714500 w 1714500"/>
              <a:gd name="connsiteY8" fmla="*/ 1015999 h 1173480"/>
              <a:gd name="connsiteX9" fmla="*/ 1557019 w 1714500"/>
              <a:gd name="connsiteY9" fmla="*/ 1173480 h 1173480"/>
              <a:gd name="connsiteX10" fmla="*/ 157481 w 1714500"/>
              <a:gd name="connsiteY10" fmla="*/ 1173480 h 1173480"/>
              <a:gd name="connsiteX11" fmla="*/ 0 w 1714500"/>
              <a:gd name="connsiteY11" fmla="*/ 1015999 h 1173480"/>
              <a:gd name="connsiteX12" fmla="*/ 0 w 1714500"/>
              <a:gd name="connsiteY12" fmla="*/ 157481 h 1173480"/>
              <a:gd name="connsiteX0" fmla="*/ 0 w 1714500"/>
              <a:gd name="connsiteY0" fmla="*/ 157481 h 1173480"/>
              <a:gd name="connsiteX1" fmla="*/ 46296 w 1714500"/>
              <a:gd name="connsiteY1" fmla="*/ 45955 h 1173480"/>
              <a:gd name="connsiteX2" fmla="*/ 157481 w 1714500"/>
              <a:gd name="connsiteY2" fmla="*/ 0 h 1173480"/>
              <a:gd name="connsiteX3" fmla="*/ 857250 w 1714500"/>
              <a:gd name="connsiteY3" fmla="*/ 0 h 1173480"/>
              <a:gd name="connsiteX4" fmla="*/ 1557019 w 1714500"/>
              <a:gd name="connsiteY4" fmla="*/ 0 h 1173480"/>
              <a:gd name="connsiteX5" fmla="*/ 1668545 w 1714500"/>
              <a:gd name="connsiteY5" fmla="*/ 46296 h 1173480"/>
              <a:gd name="connsiteX6" fmla="*/ 1714500 w 1714500"/>
              <a:gd name="connsiteY6" fmla="*/ 157481 h 1173480"/>
              <a:gd name="connsiteX7" fmla="*/ 1714500 w 1714500"/>
              <a:gd name="connsiteY7" fmla="*/ 1015999 h 1173480"/>
              <a:gd name="connsiteX8" fmla="*/ 1557019 w 1714500"/>
              <a:gd name="connsiteY8" fmla="*/ 1173480 h 1173480"/>
              <a:gd name="connsiteX9" fmla="*/ 157481 w 1714500"/>
              <a:gd name="connsiteY9" fmla="*/ 1173480 h 1173480"/>
              <a:gd name="connsiteX10" fmla="*/ 0 w 1714500"/>
              <a:gd name="connsiteY10" fmla="*/ 1015999 h 1173480"/>
              <a:gd name="connsiteX11" fmla="*/ 0 w 1714500"/>
              <a:gd name="connsiteY11" fmla="*/ 157481 h 1173480"/>
              <a:gd name="connsiteX0" fmla="*/ 0 w 1714500"/>
              <a:gd name="connsiteY0" fmla="*/ 157481 h 1173480"/>
              <a:gd name="connsiteX1" fmla="*/ 46296 w 1714500"/>
              <a:gd name="connsiteY1" fmla="*/ 45955 h 1173480"/>
              <a:gd name="connsiteX2" fmla="*/ 157481 w 1714500"/>
              <a:gd name="connsiteY2" fmla="*/ 0 h 1173480"/>
              <a:gd name="connsiteX3" fmla="*/ 857250 w 1714500"/>
              <a:gd name="connsiteY3" fmla="*/ 0 h 1173480"/>
              <a:gd name="connsiteX4" fmla="*/ 1557019 w 1714500"/>
              <a:gd name="connsiteY4" fmla="*/ 0 h 1173480"/>
              <a:gd name="connsiteX5" fmla="*/ 1668545 w 1714500"/>
              <a:gd name="connsiteY5" fmla="*/ 46296 h 1173480"/>
              <a:gd name="connsiteX6" fmla="*/ 1714500 w 1714500"/>
              <a:gd name="connsiteY6" fmla="*/ 157481 h 1173480"/>
              <a:gd name="connsiteX7" fmla="*/ 1714500 w 1714500"/>
              <a:gd name="connsiteY7" fmla="*/ 586740 h 1173480"/>
              <a:gd name="connsiteX8" fmla="*/ 1714500 w 1714500"/>
              <a:gd name="connsiteY8" fmla="*/ 1015999 h 1173480"/>
              <a:gd name="connsiteX9" fmla="*/ 1557019 w 1714500"/>
              <a:gd name="connsiteY9" fmla="*/ 1173480 h 1173480"/>
              <a:gd name="connsiteX10" fmla="*/ 157481 w 1714500"/>
              <a:gd name="connsiteY10" fmla="*/ 1173480 h 1173480"/>
              <a:gd name="connsiteX11" fmla="*/ 0 w 1714500"/>
              <a:gd name="connsiteY11" fmla="*/ 1015999 h 1173480"/>
              <a:gd name="connsiteX12" fmla="*/ 0 w 1714500"/>
              <a:gd name="connsiteY12" fmla="*/ 157481 h 1173480"/>
              <a:gd name="connsiteX0" fmla="*/ 0 w 1714500"/>
              <a:gd name="connsiteY0" fmla="*/ 157481 h 1173480"/>
              <a:gd name="connsiteX1" fmla="*/ 46296 w 1714500"/>
              <a:gd name="connsiteY1" fmla="*/ 45955 h 1173480"/>
              <a:gd name="connsiteX2" fmla="*/ 157481 w 1714500"/>
              <a:gd name="connsiteY2" fmla="*/ 0 h 1173480"/>
              <a:gd name="connsiteX3" fmla="*/ 857250 w 1714500"/>
              <a:gd name="connsiteY3" fmla="*/ 0 h 1173480"/>
              <a:gd name="connsiteX4" fmla="*/ 1557019 w 1714500"/>
              <a:gd name="connsiteY4" fmla="*/ 0 h 1173480"/>
              <a:gd name="connsiteX5" fmla="*/ 1668545 w 1714500"/>
              <a:gd name="connsiteY5" fmla="*/ 46296 h 1173480"/>
              <a:gd name="connsiteX6" fmla="*/ 1714500 w 1714500"/>
              <a:gd name="connsiteY6" fmla="*/ 157481 h 1173480"/>
              <a:gd name="connsiteX7" fmla="*/ 1714500 w 1714500"/>
              <a:gd name="connsiteY7" fmla="*/ 586740 h 1173480"/>
              <a:gd name="connsiteX8" fmla="*/ 1714500 w 1714500"/>
              <a:gd name="connsiteY8" fmla="*/ 1015999 h 1173480"/>
              <a:gd name="connsiteX9" fmla="*/ 1668204 w 1714500"/>
              <a:gd name="connsiteY9" fmla="*/ 1127525 h 1173480"/>
              <a:gd name="connsiteX10" fmla="*/ 1557019 w 1714500"/>
              <a:gd name="connsiteY10" fmla="*/ 1173480 h 1173480"/>
              <a:gd name="connsiteX11" fmla="*/ 157481 w 1714500"/>
              <a:gd name="connsiteY11" fmla="*/ 1173480 h 1173480"/>
              <a:gd name="connsiteX12" fmla="*/ 0 w 1714500"/>
              <a:gd name="connsiteY12" fmla="*/ 1015999 h 1173480"/>
              <a:gd name="connsiteX13" fmla="*/ 0 w 1714500"/>
              <a:gd name="connsiteY13" fmla="*/ 157481 h 1173480"/>
              <a:gd name="connsiteX0" fmla="*/ 0 w 1714500"/>
              <a:gd name="connsiteY0" fmla="*/ 157481 h 1173480"/>
              <a:gd name="connsiteX1" fmla="*/ 46296 w 1714500"/>
              <a:gd name="connsiteY1" fmla="*/ 45955 h 1173480"/>
              <a:gd name="connsiteX2" fmla="*/ 157481 w 1714500"/>
              <a:gd name="connsiteY2" fmla="*/ 0 h 1173480"/>
              <a:gd name="connsiteX3" fmla="*/ 857250 w 1714500"/>
              <a:gd name="connsiteY3" fmla="*/ 0 h 1173480"/>
              <a:gd name="connsiteX4" fmla="*/ 1557019 w 1714500"/>
              <a:gd name="connsiteY4" fmla="*/ 0 h 1173480"/>
              <a:gd name="connsiteX5" fmla="*/ 1668545 w 1714500"/>
              <a:gd name="connsiteY5" fmla="*/ 46296 h 1173480"/>
              <a:gd name="connsiteX6" fmla="*/ 1714500 w 1714500"/>
              <a:gd name="connsiteY6" fmla="*/ 157481 h 1173480"/>
              <a:gd name="connsiteX7" fmla="*/ 1714500 w 1714500"/>
              <a:gd name="connsiteY7" fmla="*/ 586740 h 1173480"/>
              <a:gd name="connsiteX8" fmla="*/ 1714500 w 1714500"/>
              <a:gd name="connsiteY8" fmla="*/ 1015999 h 1173480"/>
              <a:gd name="connsiteX9" fmla="*/ 1668204 w 1714500"/>
              <a:gd name="connsiteY9" fmla="*/ 1127525 h 1173480"/>
              <a:gd name="connsiteX10" fmla="*/ 1557019 w 1714500"/>
              <a:gd name="connsiteY10" fmla="*/ 1173480 h 1173480"/>
              <a:gd name="connsiteX11" fmla="*/ 1557019 w 1714500"/>
              <a:gd name="connsiteY11" fmla="*/ 1173480 h 1173480"/>
              <a:gd name="connsiteX12" fmla="*/ 157481 w 1714500"/>
              <a:gd name="connsiteY12" fmla="*/ 1173480 h 1173480"/>
              <a:gd name="connsiteX13" fmla="*/ 0 w 1714500"/>
              <a:gd name="connsiteY13" fmla="*/ 1015999 h 1173480"/>
              <a:gd name="connsiteX14" fmla="*/ 0 w 1714500"/>
              <a:gd name="connsiteY14" fmla="*/ 157481 h 1173480"/>
              <a:gd name="connsiteX0" fmla="*/ 0 w 1714500"/>
              <a:gd name="connsiteY0" fmla="*/ 157481 h 1173480"/>
              <a:gd name="connsiteX1" fmla="*/ 46296 w 1714500"/>
              <a:gd name="connsiteY1" fmla="*/ 45955 h 1173480"/>
              <a:gd name="connsiteX2" fmla="*/ 157481 w 1714500"/>
              <a:gd name="connsiteY2" fmla="*/ 0 h 1173480"/>
              <a:gd name="connsiteX3" fmla="*/ 857250 w 1714500"/>
              <a:gd name="connsiteY3" fmla="*/ 0 h 1173480"/>
              <a:gd name="connsiteX4" fmla="*/ 1557019 w 1714500"/>
              <a:gd name="connsiteY4" fmla="*/ 0 h 1173480"/>
              <a:gd name="connsiteX5" fmla="*/ 1668545 w 1714500"/>
              <a:gd name="connsiteY5" fmla="*/ 46296 h 1173480"/>
              <a:gd name="connsiteX6" fmla="*/ 1714500 w 1714500"/>
              <a:gd name="connsiteY6" fmla="*/ 157481 h 1173480"/>
              <a:gd name="connsiteX7" fmla="*/ 1714500 w 1714500"/>
              <a:gd name="connsiteY7" fmla="*/ 586740 h 1173480"/>
              <a:gd name="connsiteX8" fmla="*/ 1714500 w 1714500"/>
              <a:gd name="connsiteY8" fmla="*/ 1015999 h 1173480"/>
              <a:gd name="connsiteX9" fmla="*/ 1668204 w 1714500"/>
              <a:gd name="connsiteY9" fmla="*/ 1127525 h 1173480"/>
              <a:gd name="connsiteX10" fmla="*/ 1557019 w 1714500"/>
              <a:gd name="connsiteY10" fmla="*/ 1173480 h 1173480"/>
              <a:gd name="connsiteX11" fmla="*/ 157481 w 1714500"/>
              <a:gd name="connsiteY11" fmla="*/ 1173480 h 1173480"/>
              <a:gd name="connsiteX12" fmla="*/ 0 w 1714500"/>
              <a:gd name="connsiteY12" fmla="*/ 1015999 h 1173480"/>
              <a:gd name="connsiteX13" fmla="*/ 0 w 1714500"/>
              <a:gd name="connsiteY13" fmla="*/ 157481 h 1173480"/>
              <a:gd name="connsiteX0" fmla="*/ 0 w 1714500"/>
              <a:gd name="connsiteY0" fmla="*/ 157481 h 1173480"/>
              <a:gd name="connsiteX1" fmla="*/ 46296 w 1714500"/>
              <a:gd name="connsiteY1" fmla="*/ 45955 h 1173480"/>
              <a:gd name="connsiteX2" fmla="*/ 157481 w 1714500"/>
              <a:gd name="connsiteY2" fmla="*/ 0 h 1173480"/>
              <a:gd name="connsiteX3" fmla="*/ 857250 w 1714500"/>
              <a:gd name="connsiteY3" fmla="*/ 0 h 1173480"/>
              <a:gd name="connsiteX4" fmla="*/ 1557019 w 1714500"/>
              <a:gd name="connsiteY4" fmla="*/ 0 h 1173480"/>
              <a:gd name="connsiteX5" fmla="*/ 1668545 w 1714500"/>
              <a:gd name="connsiteY5" fmla="*/ 46296 h 1173480"/>
              <a:gd name="connsiteX6" fmla="*/ 1714500 w 1714500"/>
              <a:gd name="connsiteY6" fmla="*/ 157481 h 1173480"/>
              <a:gd name="connsiteX7" fmla="*/ 1714500 w 1714500"/>
              <a:gd name="connsiteY7" fmla="*/ 586740 h 1173480"/>
              <a:gd name="connsiteX8" fmla="*/ 1714500 w 1714500"/>
              <a:gd name="connsiteY8" fmla="*/ 1015999 h 1173480"/>
              <a:gd name="connsiteX9" fmla="*/ 1668204 w 1714500"/>
              <a:gd name="connsiteY9" fmla="*/ 1127525 h 1173480"/>
              <a:gd name="connsiteX10" fmla="*/ 1557019 w 1714500"/>
              <a:gd name="connsiteY10" fmla="*/ 1173480 h 1173480"/>
              <a:gd name="connsiteX11" fmla="*/ 857250 w 1714500"/>
              <a:gd name="connsiteY11" fmla="*/ 1173480 h 1173480"/>
              <a:gd name="connsiteX12" fmla="*/ 157481 w 1714500"/>
              <a:gd name="connsiteY12" fmla="*/ 1173480 h 1173480"/>
              <a:gd name="connsiteX13" fmla="*/ 0 w 1714500"/>
              <a:gd name="connsiteY13" fmla="*/ 1015999 h 1173480"/>
              <a:gd name="connsiteX14" fmla="*/ 0 w 1714500"/>
              <a:gd name="connsiteY14" fmla="*/ 157481 h 1173480"/>
              <a:gd name="connsiteX0" fmla="*/ 0 w 1714500"/>
              <a:gd name="connsiteY0" fmla="*/ 157481 h 1173480"/>
              <a:gd name="connsiteX1" fmla="*/ 46296 w 1714500"/>
              <a:gd name="connsiteY1" fmla="*/ 45955 h 1173480"/>
              <a:gd name="connsiteX2" fmla="*/ 157481 w 1714500"/>
              <a:gd name="connsiteY2" fmla="*/ 0 h 1173480"/>
              <a:gd name="connsiteX3" fmla="*/ 857250 w 1714500"/>
              <a:gd name="connsiteY3" fmla="*/ 0 h 1173480"/>
              <a:gd name="connsiteX4" fmla="*/ 1557019 w 1714500"/>
              <a:gd name="connsiteY4" fmla="*/ 0 h 1173480"/>
              <a:gd name="connsiteX5" fmla="*/ 1668545 w 1714500"/>
              <a:gd name="connsiteY5" fmla="*/ 46296 h 1173480"/>
              <a:gd name="connsiteX6" fmla="*/ 1714500 w 1714500"/>
              <a:gd name="connsiteY6" fmla="*/ 157481 h 1173480"/>
              <a:gd name="connsiteX7" fmla="*/ 1714500 w 1714500"/>
              <a:gd name="connsiteY7" fmla="*/ 586740 h 1173480"/>
              <a:gd name="connsiteX8" fmla="*/ 1714500 w 1714500"/>
              <a:gd name="connsiteY8" fmla="*/ 1015999 h 1173480"/>
              <a:gd name="connsiteX9" fmla="*/ 1668204 w 1714500"/>
              <a:gd name="connsiteY9" fmla="*/ 1127525 h 1173480"/>
              <a:gd name="connsiteX10" fmla="*/ 1557019 w 1714500"/>
              <a:gd name="connsiteY10" fmla="*/ 1173480 h 1173480"/>
              <a:gd name="connsiteX11" fmla="*/ 857250 w 1714500"/>
              <a:gd name="connsiteY11" fmla="*/ 1173480 h 1173480"/>
              <a:gd name="connsiteX12" fmla="*/ 157481 w 1714500"/>
              <a:gd name="connsiteY12" fmla="*/ 1173480 h 1173480"/>
              <a:gd name="connsiteX13" fmla="*/ 45955 w 1714500"/>
              <a:gd name="connsiteY13" fmla="*/ 1127184 h 1173480"/>
              <a:gd name="connsiteX14" fmla="*/ 0 w 1714500"/>
              <a:gd name="connsiteY14" fmla="*/ 1015999 h 1173480"/>
              <a:gd name="connsiteX15" fmla="*/ 0 w 1714500"/>
              <a:gd name="connsiteY15" fmla="*/ 157481 h 1173480"/>
              <a:gd name="connsiteX0" fmla="*/ 0 w 1714500"/>
              <a:gd name="connsiteY0" fmla="*/ 157481 h 1173480"/>
              <a:gd name="connsiteX1" fmla="*/ 46296 w 1714500"/>
              <a:gd name="connsiteY1" fmla="*/ 45955 h 1173480"/>
              <a:gd name="connsiteX2" fmla="*/ 157481 w 1714500"/>
              <a:gd name="connsiteY2" fmla="*/ 0 h 1173480"/>
              <a:gd name="connsiteX3" fmla="*/ 857250 w 1714500"/>
              <a:gd name="connsiteY3" fmla="*/ 0 h 1173480"/>
              <a:gd name="connsiteX4" fmla="*/ 1557019 w 1714500"/>
              <a:gd name="connsiteY4" fmla="*/ 0 h 1173480"/>
              <a:gd name="connsiteX5" fmla="*/ 1668545 w 1714500"/>
              <a:gd name="connsiteY5" fmla="*/ 46296 h 1173480"/>
              <a:gd name="connsiteX6" fmla="*/ 1714500 w 1714500"/>
              <a:gd name="connsiteY6" fmla="*/ 157481 h 1173480"/>
              <a:gd name="connsiteX7" fmla="*/ 1714500 w 1714500"/>
              <a:gd name="connsiteY7" fmla="*/ 586740 h 1173480"/>
              <a:gd name="connsiteX8" fmla="*/ 1714500 w 1714500"/>
              <a:gd name="connsiteY8" fmla="*/ 1015999 h 1173480"/>
              <a:gd name="connsiteX9" fmla="*/ 1668204 w 1714500"/>
              <a:gd name="connsiteY9" fmla="*/ 1127525 h 1173480"/>
              <a:gd name="connsiteX10" fmla="*/ 1557019 w 1714500"/>
              <a:gd name="connsiteY10" fmla="*/ 1173480 h 1173480"/>
              <a:gd name="connsiteX11" fmla="*/ 857250 w 1714500"/>
              <a:gd name="connsiteY11" fmla="*/ 1173480 h 1173480"/>
              <a:gd name="connsiteX12" fmla="*/ 157481 w 1714500"/>
              <a:gd name="connsiteY12" fmla="*/ 1173480 h 1173480"/>
              <a:gd name="connsiteX13" fmla="*/ 45955 w 1714500"/>
              <a:gd name="connsiteY13" fmla="*/ 1127184 h 1173480"/>
              <a:gd name="connsiteX14" fmla="*/ 0 w 1714500"/>
              <a:gd name="connsiteY14" fmla="*/ 1015999 h 1173480"/>
              <a:gd name="connsiteX15" fmla="*/ 0 w 1714500"/>
              <a:gd name="connsiteY15" fmla="*/ 1015999 h 1173480"/>
              <a:gd name="connsiteX16" fmla="*/ 0 w 1714500"/>
              <a:gd name="connsiteY16" fmla="*/ 157481 h 1173480"/>
              <a:gd name="connsiteX0" fmla="*/ 0 w 1714500"/>
              <a:gd name="connsiteY0" fmla="*/ 157481 h 1173480"/>
              <a:gd name="connsiteX1" fmla="*/ 46296 w 1714500"/>
              <a:gd name="connsiteY1" fmla="*/ 45955 h 1173480"/>
              <a:gd name="connsiteX2" fmla="*/ 157481 w 1714500"/>
              <a:gd name="connsiteY2" fmla="*/ 0 h 1173480"/>
              <a:gd name="connsiteX3" fmla="*/ 857250 w 1714500"/>
              <a:gd name="connsiteY3" fmla="*/ 0 h 1173480"/>
              <a:gd name="connsiteX4" fmla="*/ 1557019 w 1714500"/>
              <a:gd name="connsiteY4" fmla="*/ 0 h 1173480"/>
              <a:gd name="connsiteX5" fmla="*/ 1668545 w 1714500"/>
              <a:gd name="connsiteY5" fmla="*/ 46296 h 1173480"/>
              <a:gd name="connsiteX6" fmla="*/ 1714500 w 1714500"/>
              <a:gd name="connsiteY6" fmla="*/ 157481 h 1173480"/>
              <a:gd name="connsiteX7" fmla="*/ 1714500 w 1714500"/>
              <a:gd name="connsiteY7" fmla="*/ 586740 h 1173480"/>
              <a:gd name="connsiteX8" fmla="*/ 1714500 w 1714500"/>
              <a:gd name="connsiteY8" fmla="*/ 1015999 h 1173480"/>
              <a:gd name="connsiteX9" fmla="*/ 1668204 w 1714500"/>
              <a:gd name="connsiteY9" fmla="*/ 1127525 h 1173480"/>
              <a:gd name="connsiteX10" fmla="*/ 1557019 w 1714500"/>
              <a:gd name="connsiteY10" fmla="*/ 1173480 h 1173480"/>
              <a:gd name="connsiteX11" fmla="*/ 857250 w 1714500"/>
              <a:gd name="connsiteY11" fmla="*/ 1173480 h 1173480"/>
              <a:gd name="connsiteX12" fmla="*/ 157481 w 1714500"/>
              <a:gd name="connsiteY12" fmla="*/ 1173480 h 1173480"/>
              <a:gd name="connsiteX13" fmla="*/ 45955 w 1714500"/>
              <a:gd name="connsiteY13" fmla="*/ 1127184 h 1173480"/>
              <a:gd name="connsiteX14" fmla="*/ 0 w 1714500"/>
              <a:gd name="connsiteY14" fmla="*/ 1015999 h 1173480"/>
              <a:gd name="connsiteX15" fmla="*/ 0 w 1714500"/>
              <a:gd name="connsiteY15" fmla="*/ 157481 h 1173480"/>
              <a:gd name="connsiteX0" fmla="*/ 0 w 1714500"/>
              <a:gd name="connsiteY0" fmla="*/ 157481 h 1173480"/>
              <a:gd name="connsiteX1" fmla="*/ 46296 w 1714500"/>
              <a:gd name="connsiteY1" fmla="*/ 45955 h 1173480"/>
              <a:gd name="connsiteX2" fmla="*/ 157481 w 1714500"/>
              <a:gd name="connsiteY2" fmla="*/ 0 h 1173480"/>
              <a:gd name="connsiteX3" fmla="*/ 857250 w 1714500"/>
              <a:gd name="connsiteY3" fmla="*/ 0 h 1173480"/>
              <a:gd name="connsiteX4" fmla="*/ 1557019 w 1714500"/>
              <a:gd name="connsiteY4" fmla="*/ 0 h 1173480"/>
              <a:gd name="connsiteX5" fmla="*/ 1668545 w 1714500"/>
              <a:gd name="connsiteY5" fmla="*/ 46296 h 1173480"/>
              <a:gd name="connsiteX6" fmla="*/ 1714500 w 1714500"/>
              <a:gd name="connsiteY6" fmla="*/ 157481 h 1173480"/>
              <a:gd name="connsiteX7" fmla="*/ 1714500 w 1714500"/>
              <a:gd name="connsiteY7" fmla="*/ 586740 h 1173480"/>
              <a:gd name="connsiteX8" fmla="*/ 1714500 w 1714500"/>
              <a:gd name="connsiteY8" fmla="*/ 1015999 h 1173480"/>
              <a:gd name="connsiteX9" fmla="*/ 1668204 w 1714500"/>
              <a:gd name="connsiteY9" fmla="*/ 1127525 h 1173480"/>
              <a:gd name="connsiteX10" fmla="*/ 1557019 w 1714500"/>
              <a:gd name="connsiteY10" fmla="*/ 1173480 h 1173480"/>
              <a:gd name="connsiteX11" fmla="*/ 857250 w 1714500"/>
              <a:gd name="connsiteY11" fmla="*/ 1173480 h 1173480"/>
              <a:gd name="connsiteX12" fmla="*/ 157481 w 1714500"/>
              <a:gd name="connsiteY12" fmla="*/ 1173480 h 1173480"/>
              <a:gd name="connsiteX13" fmla="*/ 45955 w 1714500"/>
              <a:gd name="connsiteY13" fmla="*/ 1127184 h 1173480"/>
              <a:gd name="connsiteX14" fmla="*/ 0 w 1714500"/>
              <a:gd name="connsiteY14" fmla="*/ 1015999 h 1173480"/>
              <a:gd name="connsiteX15" fmla="*/ 0 w 1714500"/>
              <a:gd name="connsiteY15" fmla="*/ 586740 h 1173480"/>
              <a:gd name="connsiteX16" fmla="*/ 0 w 1714500"/>
              <a:gd name="connsiteY16" fmla="*/ 157481 h 1173480"/>
              <a:gd name="connsiteX0" fmla="*/ 1557019 w 1714500"/>
              <a:gd name="connsiteY0" fmla="*/ 0 h 1173480"/>
              <a:gd name="connsiteX1" fmla="*/ 1668545 w 1714500"/>
              <a:gd name="connsiteY1" fmla="*/ 46296 h 1173480"/>
              <a:gd name="connsiteX2" fmla="*/ 1714500 w 1714500"/>
              <a:gd name="connsiteY2" fmla="*/ 157481 h 1173480"/>
              <a:gd name="connsiteX3" fmla="*/ 1714500 w 1714500"/>
              <a:gd name="connsiteY3" fmla="*/ 586740 h 1173480"/>
              <a:gd name="connsiteX4" fmla="*/ 1714500 w 1714500"/>
              <a:gd name="connsiteY4" fmla="*/ 1015999 h 1173480"/>
              <a:gd name="connsiteX5" fmla="*/ 1668204 w 1714500"/>
              <a:gd name="connsiteY5" fmla="*/ 1127525 h 1173480"/>
              <a:gd name="connsiteX6" fmla="*/ 1557019 w 1714500"/>
              <a:gd name="connsiteY6" fmla="*/ 1173480 h 1173480"/>
              <a:gd name="connsiteX7" fmla="*/ 857250 w 1714500"/>
              <a:gd name="connsiteY7" fmla="*/ 1173480 h 1173480"/>
              <a:gd name="connsiteX8" fmla="*/ 157481 w 1714500"/>
              <a:gd name="connsiteY8" fmla="*/ 1173480 h 1173480"/>
              <a:gd name="connsiteX9" fmla="*/ 45955 w 1714500"/>
              <a:gd name="connsiteY9" fmla="*/ 1127184 h 1173480"/>
              <a:gd name="connsiteX10" fmla="*/ 0 w 1714500"/>
              <a:gd name="connsiteY10" fmla="*/ 1015999 h 1173480"/>
              <a:gd name="connsiteX11" fmla="*/ 0 w 1714500"/>
              <a:gd name="connsiteY11" fmla="*/ 586740 h 1173480"/>
              <a:gd name="connsiteX12" fmla="*/ 0 w 1714500"/>
              <a:gd name="connsiteY12" fmla="*/ 157481 h 1173480"/>
              <a:gd name="connsiteX13" fmla="*/ 46296 w 1714500"/>
              <a:gd name="connsiteY13" fmla="*/ 45955 h 1173480"/>
              <a:gd name="connsiteX14" fmla="*/ 157481 w 1714500"/>
              <a:gd name="connsiteY14" fmla="*/ 0 h 1173480"/>
              <a:gd name="connsiteX15" fmla="*/ 857250 w 1714500"/>
              <a:gd name="connsiteY15" fmla="*/ 0 h 1173480"/>
              <a:gd name="connsiteX16" fmla="*/ 1648459 w 1714500"/>
              <a:gd name="connsiteY16" fmla="*/ 91440 h 1173480"/>
              <a:gd name="connsiteX0" fmla="*/ 1557019 w 1714500"/>
              <a:gd name="connsiteY0" fmla="*/ 0 h 1173480"/>
              <a:gd name="connsiteX1" fmla="*/ 1668545 w 1714500"/>
              <a:gd name="connsiteY1" fmla="*/ 46296 h 1173480"/>
              <a:gd name="connsiteX2" fmla="*/ 1714500 w 1714500"/>
              <a:gd name="connsiteY2" fmla="*/ 157481 h 1173480"/>
              <a:gd name="connsiteX3" fmla="*/ 1714500 w 1714500"/>
              <a:gd name="connsiteY3" fmla="*/ 586740 h 1173480"/>
              <a:gd name="connsiteX4" fmla="*/ 1714500 w 1714500"/>
              <a:gd name="connsiteY4" fmla="*/ 1015999 h 1173480"/>
              <a:gd name="connsiteX5" fmla="*/ 1668204 w 1714500"/>
              <a:gd name="connsiteY5" fmla="*/ 1127525 h 1173480"/>
              <a:gd name="connsiteX6" fmla="*/ 1557019 w 1714500"/>
              <a:gd name="connsiteY6" fmla="*/ 1173480 h 1173480"/>
              <a:gd name="connsiteX7" fmla="*/ 857250 w 1714500"/>
              <a:gd name="connsiteY7" fmla="*/ 1173480 h 1173480"/>
              <a:gd name="connsiteX8" fmla="*/ 157481 w 1714500"/>
              <a:gd name="connsiteY8" fmla="*/ 1173480 h 1173480"/>
              <a:gd name="connsiteX9" fmla="*/ 45955 w 1714500"/>
              <a:gd name="connsiteY9" fmla="*/ 1127184 h 1173480"/>
              <a:gd name="connsiteX10" fmla="*/ 0 w 1714500"/>
              <a:gd name="connsiteY10" fmla="*/ 1015999 h 1173480"/>
              <a:gd name="connsiteX11" fmla="*/ 0 w 1714500"/>
              <a:gd name="connsiteY11" fmla="*/ 586740 h 1173480"/>
              <a:gd name="connsiteX12" fmla="*/ 0 w 1714500"/>
              <a:gd name="connsiteY12" fmla="*/ 157481 h 1173480"/>
              <a:gd name="connsiteX13" fmla="*/ 46296 w 1714500"/>
              <a:gd name="connsiteY13" fmla="*/ 45955 h 1173480"/>
              <a:gd name="connsiteX14" fmla="*/ 157481 w 1714500"/>
              <a:gd name="connsiteY14" fmla="*/ 0 h 1173480"/>
              <a:gd name="connsiteX15" fmla="*/ 857250 w 1714500"/>
              <a:gd name="connsiteY15" fmla="*/ 0 h 1173480"/>
              <a:gd name="connsiteX0" fmla="*/ 1668545 w 1714500"/>
              <a:gd name="connsiteY0" fmla="*/ 46296 h 1173480"/>
              <a:gd name="connsiteX1" fmla="*/ 1714500 w 1714500"/>
              <a:gd name="connsiteY1" fmla="*/ 157481 h 1173480"/>
              <a:gd name="connsiteX2" fmla="*/ 1714500 w 1714500"/>
              <a:gd name="connsiteY2" fmla="*/ 586740 h 1173480"/>
              <a:gd name="connsiteX3" fmla="*/ 1714500 w 1714500"/>
              <a:gd name="connsiteY3" fmla="*/ 1015999 h 1173480"/>
              <a:gd name="connsiteX4" fmla="*/ 1668204 w 1714500"/>
              <a:gd name="connsiteY4" fmla="*/ 1127525 h 1173480"/>
              <a:gd name="connsiteX5" fmla="*/ 1557019 w 1714500"/>
              <a:gd name="connsiteY5" fmla="*/ 1173480 h 1173480"/>
              <a:gd name="connsiteX6" fmla="*/ 857250 w 1714500"/>
              <a:gd name="connsiteY6" fmla="*/ 1173480 h 1173480"/>
              <a:gd name="connsiteX7" fmla="*/ 157481 w 1714500"/>
              <a:gd name="connsiteY7" fmla="*/ 1173480 h 1173480"/>
              <a:gd name="connsiteX8" fmla="*/ 45955 w 1714500"/>
              <a:gd name="connsiteY8" fmla="*/ 1127184 h 1173480"/>
              <a:gd name="connsiteX9" fmla="*/ 0 w 1714500"/>
              <a:gd name="connsiteY9" fmla="*/ 1015999 h 1173480"/>
              <a:gd name="connsiteX10" fmla="*/ 0 w 1714500"/>
              <a:gd name="connsiteY10" fmla="*/ 586740 h 1173480"/>
              <a:gd name="connsiteX11" fmla="*/ 0 w 1714500"/>
              <a:gd name="connsiteY11" fmla="*/ 157481 h 1173480"/>
              <a:gd name="connsiteX12" fmla="*/ 46296 w 1714500"/>
              <a:gd name="connsiteY12" fmla="*/ 45955 h 1173480"/>
              <a:gd name="connsiteX13" fmla="*/ 157481 w 1714500"/>
              <a:gd name="connsiteY13" fmla="*/ 0 h 1173480"/>
              <a:gd name="connsiteX14" fmla="*/ 857250 w 1714500"/>
              <a:gd name="connsiteY14" fmla="*/ 0 h 1173480"/>
              <a:gd name="connsiteX0" fmla="*/ 1714500 w 1714500"/>
              <a:gd name="connsiteY0" fmla="*/ 157481 h 1173480"/>
              <a:gd name="connsiteX1" fmla="*/ 1714500 w 1714500"/>
              <a:gd name="connsiteY1" fmla="*/ 586740 h 1173480"/>
              <a:gd name="connsiteX2" fmla="*/ 1714500 w 1714500"/>
              <a:gd name="connsiteY2" fmla="*/ 1015999 h 1173480"/>
              <a:gd name="connsiteX3" fmla="*/ 1668204 w 1714500"/>
              <a:gd name="connsiteY3" fmla="*/ 1127525 h 1173480"/>
              <a:gd name="connsiteX4" fmla="*/ 1557019 w 1714500"/>
              <a:gd name="connsiteY4" fmla="*/ 1173480 h 1173480"/>
              <a:gd name="connsiteX5" fmla="*/ 857250 w 1714500"/>
              <a:gd name="connsiteY5" fmla="*/ 1173480 h 1173480"/>
              <a:gd name="connsiteX6" fmla="*/ 157481 w 1714500"/>
              <a:gd name="connsiteY6" fmla="*/ 1173480 h 1173480"/>
              <a:gd name="connsiteX7" fmla="*/ 45955 w 1714500"/>
              <a:gd name="connsiteY7" fmla="*/ 1127184 h 1173480"/>
              <a:gd name="connsiteX8" fmla="*/ 0 w 1714500"/>
              <a:gd name="connsiteY8" fmla="*/ 1015999 h 1173480"/>
              <a:gd name="connsiteX9" fmla="*/ 0 w 1714500"/>
              <a:gd name="connsiteY9" fmla="*/ 586740 h 1173480"/>
              <a:gd name="connsiteX10" fmla="*/ 0 w 1714500"/>
              <a:gd name="connsiteY10" fmla="*/ 157481 h 1173480"/>
              <a:gd name="connsiteX11" fmla="*/ 46296 w 1714500"/>
              <a:gd name="connsiteY11" fmla="*/ 45955 h 1173480"/>
              <a:gd name="connsiteX12" fmla="*/ 157481 w 1714500"/>
              <a:gd name="connsiteY12" fmla="*/ 0 h 1173480"/>
              <a:gd name="connsiteX13" fmla="*/ 857250 w 1714500"/>
              <a:gd name="connsiteY13" fmla="*/ 0 h 1173480"/>
              <a:gd name="connsiteX0" fmla="*/ 1714500 w 1714500"/>
              <a:gd name="connsiteY0" fmla="*/ 586740 h 1173480"/>
              <a:gd name="connsiteX1" fmla="*/ 1714500 w 1714500"/>
              <a:gd name="connsiteY1" fmla="*/ 1015999 h 1173480"/>
              <a:gd name="connsiteX2" fmla="*/ 1668204 w 1714500"/>
              <a:gd name="connsiteY2" fmla="*/ 1127525 h 1173480"/>
              <a:gd name="connsiteX3" fmla="*/ 1557019 w 1714500"/>
              <a:gd name="connsiteY3" fmla="*/ 1173480 h 1173480"/>
              <a:gd name="connsiteX4" fmla="*/ 857250 w 1714500"/>
              <a:gd name="connsiteY4" fmla="*/ 1173480 h 1173480"/>
              <a:gd name="connsiteX5" fmla="*/ 157481 w 1714500"/>
              <a:gd name="connsiteY5" fmla="*/ 1173480 h 1173480"/>
              <a:gd name="connsiteX6" fmla="*/ 45955 w 1714500"/>
              <a:gd name="connsiteY6" fmla="*/ 1127184 h 1173480"/>
              <a:gd name="connsiteX7" fmla="*/ 0 w 1714500"/>
              <a:gd name="connsiteY7" fmla="*/ 1015999 h 1173480"/>
              <a:gd name="connsiteX8" fmla="*/ 0 w 1714500"/>
              <a:gd name="connsiteY8" fmla="*/ 586740 h 1173480"/>
              <a:gd name="connsiteX9" fmla="*/ 0 w 1714500"/>
              <a:gd name="connsiteY9" fmla="*/ 157481 h 1173480"/>
              <a:gd name="connsiteX10" fmla="*/ 46296 w 1714500"/>
              <a:gd name="connsiteY10" fmla="*/ 45955 h 1173480"/>
              <a:gd name="connsiteX11" fmla="*/ 157481 w 1714500"/>
              <a:gd name="connsiteY11" fmla="*/ 0 h 1173480"/>
              <a:gd name="connsiteX12" fmla="*/ 857250 w 1714500"/>
              <a:gd name="connsiteY12" fmla="*/ 0 h 1173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14500" h="1173480">
                <a:moveTo>
                  <a:pt x="1714500" y="586740"/>
                </a:moveTo>
                <a:lnTo>
                  <a:pt x="1714500" y="1015999"/>
                </a:lnTo>
                <a:cubicBezTo>
                  <a:pt x="1714500" y="1059573"/>
                  <a:pt x="1696803" y="1099013"/>
                  <a:pt x="1668204" y="1127525"/>
                </a:cubicBezTo>
                <a:cubicBezTo>
                  <a:pt x="1639719" y="1155924"/>
                  <a:pt x="1600419" y="1173480"/>
                  <a:pt x="1557019" y="1173480"/>
                </a:cubicBezTo>
                <a:lnTo>
                  <a:pt x="857250" y="1173480"/>
                </a:lnTo>
                <a:lnTo>
                  <a:pt x="157481" y="1173480"/>
                </a:lnTo>
                <a:cubicBezTo>
                  <a:pt x="113907" y="1173480"/>
                  <a:pt x="74467" y="1155783"/>
                  <a:pt x="45955" y="1127184"/>
                </a:cubicBezTo>
                <a:cubicBezTo>
                  <a:pt x="17557" y="1098699"/>
                  <a:pt x="0" y="1059399"/>
                  <a:pt x="0" y="1015999"/>
                </a:cubicBezTo>
                <a:lnTo>
                  <a:pt x="0" y="586740"/>
                </a:lnTo>
                <a:lnTo>
                  <a:pt x="0" y="157481"/>
                </a:lnTo>
                <a:cubicBezTo>
                  <a:pt x="0" y="113907"/>
                  <a:pt x="17697" y="74467"/>
                  <a:pt x="46296" y="45955"/>
                </a:cubicBezTo>
                <a:cubicBezTo>
                  <a:pt x="74781" y="17556"/>
                  <a:pt x="114081" y="0"/>
                  <a:pt x="157481" y="0"/>
                </a:cubicBezTo>
                <a:lnTo>
                  <a:pt x="857250" y="0"/>
                </a:lnTo>
              </a:path>
            </a:pathLst>
          </a:custGeom>
          <a:noFill/>
          <a:ln w="2286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109728" tIns="54864" rIns="109728" bIns="54864" rtlCol="0" anchor="ctr"/>
          <a:lstStyle/>
          <a:p>
            <a:pPr algn="l"/>
            <a:endParaRPr lang="zh-CN" altLang="en-US" sz="1920">
              <a:solidFill>
                <a:schemeClr val="bg1"/>
              </a:solidFill>
              <a:latin typeface="+mj-ea"/>
              <a:ea typeface="+mj-ea"/>
            </a:endParaRPr>
          </a:p>
        </p:txBody>
      </p:sp>
      <p:cxnSp>
        <p:nvCxnSpPr>
          <p:cNvPr id="17" name="直接箭头连接符 16">
            <a:extLst>
              <a:ext uri="{FF2B5EF4-FFF2-40B4-BE49-F238E27FC236}">
                <a16:creationId xmlns:a16="http://schemas.microsoft.com/office/drawing/2014/main" id="{AAB017E1-F50B-4EC5-A208-76851D84B639}"/>
              </a:ext>
            </a:extLst>
          </p:cNvPr>
          <p:cNvCxnSpPr/>
          <p:nvPr/>
        </p:nvCxnSpPr>
        <p:spPr>
          <a:xfrm>
            <a:off x="7464386" y="3807653"/>
            <a:ext cx="565711" cy="0"/>
          </a:xfrm>
          <a:prstGeom prst="straightConnector1">
            <a:avLst/>
          </a:prstGeom>
          <a:noFill/>
          <a:ln w="22860">
            <a:solidFill>
              <a:schemeClr val="accent1"/>
            </a:solidFill>
            <a:tailEnd type="stealth"/>
          </a:ln>
          <a:effectLst/>
        </p:spPr>
        <p:style>
          <a:lnRef idx="2">
            <a:schemeClr val="accent1">
              <a:shade val="50000"/>
            </a:schemeClr>
          </a:lnRef>
          <a:fillRef idx="1">
            <a:schemeClr val="accent1"/>
          </a:fillRef>
          <a:effectRef idx="0">
            <a:schemeClr val="accent1"/>
          </a:effectRef>
          <a:fontRef idx="minor">
            <a:schemeClr val="lt1"/>
          </a:fontRef>
        </p:style>
      </p:cxnSp>
      <p:sp>
        <p:nvSpPr>
          <p:cNvPr id="14" name="文本框 13">
            <a:extLst>
              <a:ext uri="{FF2B5EF4-FFF2-40B4-BE49-F238E27FC236}">
                <a16:creationId xmlns:a16="http://schemas.microsoft.com/office/drawing/2014/main" id="{17C7B888-B82C-4B15-95DE-DB0D5C01A04A}"/>
              </a:ext>
            </a:extLst>
          </p:cNvPr>
          <p:cNvSpPr txBox="1"/>
          <p:nvPr/>
        </p:nvSpPr>
        <p:spPr>
          <a:xfrm>
            <a:off x="5336791" y="3396761"/>
            <a:ext cx="1384994" cy="332399"/>
          </a:xfrm>
          <a:prstGeom prst="rect">
            <a:avLst/>
          </a:prstGeom>
          <a:noFill/>
          <a:effectLst/>
        </p:spPr>
        <p:txBody>
          <a:bodyPr wrap="none" lIns="0" tIns="0" rIns="0" bIns="0" rtlCol="0" anchor="t">
            <a:spAutoFit/>
          </a:bodyPr>
          <a:lstStyle/>
          <a:p>
            <a:r>
              <a:rPr lang="zh-CN" altLang="en-US" sz="2160" dirty="0">
                <a:solidFill>
                  <a:schemeClr val="accent1"/>
                </a:solidFill>
                <a:latin typeface="+mj-ea"/>
                <a:ea typeface="+mj-ea"/>
              </a:rPr>
              <a:t>关键词标题</a:t>
            </a:r>
          </a:p>
        </p:txBody>
      </p:sp>
      <p:sp>
        <p:nvSpPr>
          <p:cNvPr id="15" name="文本框 14">
            <a:extLst>
              <a:ext uri="{FF2B5EF4-FFF2-40B4-BE49-F238E27FC236}">
                <a16:creationId xmlns:a16="http://schemas.microsoft.com/office/drawing/2014/main" id="{C0011F66-DD16-4155-A703-C6D0B8920DCB}"/>
              </a:ext>
            </a:extLst>
          </p:cNvPr>
          <p:cNvSpPr txBox="1"/>
          <p:nvPr/>
        </p:nvSpPr>
        <p:spPr>
          <a:xfrm>
            <a:off x="4820470" y="3799985"/>
            <a:ext cx="2417637" cy="704808"/>
          </a:xfrm>
          <a:prstGeom prst="rect">
            <a:avLst/>
          </a:prstGeom>
          <a:noFill/>
          <a:effectLst/>
        </p:spPr>
        <p:txBody>
          <a:bodyPr wrap="square" lIns="0" tIns="0" rIns="0" bIns="0" rtlCol="0" anchor="t">
            <a:spAutoFit/>
          </a:bodyPr>
          <a:lstStyle/>
          <a:p>
            <a:pPr algn="ctr">
              <a:lnSpc>
                <a:spcPct val="130000"/>
              </a:lnSpc>
            </a:pPr>
            <a:r>
              <a:rPr lang="en-US" altLang="zh-CN" sz="1200" b="0" dirty="0">
                <a:solidFill>
                  <a:schemeClr val="tx1">
                    <a:lumMod val="75000"/>
                    <a:lumOff val="25000"/>
                  </a:schemeClr>
                </a:solidFill>
                <a:effectLst/>
                <a:latin typeface="+mn-ea"/>
              </a:rPr>
              <a:t>Lorem ipsum dolor sit ametconsectetur adipisicing elit</a:t>
            </a:r>
            <a:r>
              <a:rPr lang="en-US" altLang="zh-CN" sz="1200" dirty="0">
                <a:solidFill>
                  <a:schemeClr val="tx1">
                    <a:lumMod val="75000"/>
                    <a:lumOff val="25000"/>
                  </a:schemeClr>
                </a:solidFill>
                <a:latin typeface="+mn-ea"/>
              </a:rPr>
              <a:t> </a:t>
            </a:r>
            <a:r>
              <a:rPr lang="en-US" altLang="zh-CN" sz="1200" b="0" dirty="0">
                <a:solidFill>
                  <a:schemeClr val="tx1">
                    <a:lumMod val="75000"/>
                    <a:lumOff val="25000"/>
                  </a:schemeClr>
                </a:solidFill>
                <a:effectLst/>
                <a:latin typeface="+mn-ea"/>
              </a:rPr>
              <a:t>sed do eiusmod tempor</a:t>
            </a:r>
            <a:endParaRPr lang="zh-CN" altLang="en-US" sz="1200" b="0" dirty="0">
              <a:solidFill>
                <a:schemeClr val="tx1">
                  <a:lumMod val="75000"/>
                  <a:lumOff val="25000"/>
                </a:schemeClr>
              </a:solidFill>
              <a:effectLst/>
              <a:latin typeface="+mn-ea"/>
            </a:endParaRPr>
          </a:p>
        </p:txBody>
      </p:sp>
      <p:sp>
        <p:nvSpPr>
          <p:cNvPr id="19" name="椭圆 18">
            <a:extLst>
              <a:ext uri="{FF2B5EF4-FFF2-40B4-BE49-F238E27FC236}">
                <a16:creationId xmlns:a16="http://schemas.microsoft.com/office/drawing/2014/main" id="{EB4A6835-C6BE-492B-B076-0DBACB12A585}"/>
              </a:ext>
            </a:extLst>
          </p:cNvPr>
          <p:cNvSpPr/>
          <p:nvPr/>
        </p:nvSpPr>
        <p:spPr>
          <a:xfrm>
            <a:off x="8997494" y="2516232"/>
            <a:ext cx="683844" cy="683841"/>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09728" tIns="54864" rIns="109728" bIns="54864" rtlCol="0" anchor="ctr"/>
          <a:lstStyle/>
          <a:p>
            <a:pPr algn="l"/>
            <a:endParaRPr lang="zh-CN" altLang="en-US" sz="1920" dirty="0">
              <a:solidFill>
                <a:schemeClr val="bg1"/>
              </a:solidFill>
              <a:latin typeface="+mj-ea"/>
              <a:ea typeface="+mj-ea"/>
            </a:endParaRPr>
          </a:p>
        </p:txBody>
      </p:sp>
      <p:sp>
        <p:nvSpPr>
          <p:cNvPr id="23" name="矩形: 圆角 2">
            <a:extLst>
              <a:ext uri="{FF2B5EF4-FFF2-40B4-BE49-F238E27FC236}">
                <a16:creationId xmlns:a16="http://schemas.microsoft.com/office/drawing/2014/main" id="{9FA81592-2E62-4C73-B473-78AFEA2F1AEE}"/>
              </a:ext>
            </a:extLst>
          </p:cNvPr>
          <p:cNvSpPr/>
          <p:nvPr/>
        </p:nvSpPr>
        <p:spPr>
          <a:xfrm>
            <a:off x="8030075" y="2858153"/>
            <a:ext cx="2752108" cy="1883664"/>
          </a:xfrm>
          <a:custGeom>
            <a:avLst/>
            <a:gdLst>
              <a:gd name="connsiteX0" fmla="*/ 0 w 1714500"/>
              <a:gd name="connsiteY0" fmla="*/ 157481 h 1173480"/>
              <a:gd name="connsiteX1" fmla="*/ 157481 w 1714500"/>
              <a:gd name="connsiteY1" fmla="*/ 0 h 1173480"/>
              <a:gd name="connsiteX2" fmla="*/ 1557019 w 1714500"/>
              <a:gd name="connsiteY2" fmla="*/ 0 h 1173480"/>
              <a:gd name="connsiteX3" fmla="*/ 1714500 w 1714500"/>
              <a:gd name="connsiteY3" fmla="*/ 157481 h 1173480"/>
              <a:gd name="connsiteX4" fmla="*/ 1714500 w 1714500"/>
              <a:gd name="connsiteY4" fmla="*/ 1015999 h 1173480"/>
              <a:gd name="connsiteX5" fmla="*/ 1557019 w 1714500"/>
              <a:gd name="connsiteY5" fmla="*/ 1173480 h 1173480"/>
              <a:gd name="connsiteX6" fmla="*/ 157481 w 1714500"/>
              <a:gd name="connsiteY6" fmla="*/ 1173480 h 1173480"/>
              <a:gd name="connsiteX7" fmla="*/ 0 w 1714500"/>
              <a:gd name="connsiteY7" fmla="*/ 1015999 h 1173480"/>
              <a:gd name="connsiteX8" fmla="*/ 0 w 1714500"/>
              <a:gd name="connsiteY8" fmla="*/ 157481 h 1173480"/>
              <a:gd name="connsiteX0" fmla="*/ 2817495 w 4531995"/>
              <a:gd name="connsiteY0" fmla="*/ 3891281 h 4907280"/>
              <a:gd name="connsiteX1" fmla="*/ 0 w 4531995"/>
              <a:gd name="connsiteY1" fmla="*/ 0 h 4907280"/>
              <a:gd name="connsiteX2" fmla="*/ 2974976 w 4531995"/>
              <a:gd name="connsiteY2" fmla="*/ 3733800 h 4907280"/>
              <a:gd name="connsiteX3" fmla="*/ 4374514 w 4531995"/>
              <a:gd name="connsiteY3" fmla="*/ 3733800 h 4907280"/>
              <a:gd name="connsiteX4" fmla="*/ 4531995 w 4531995"/>
              <a:gd name="connsiteY4" fmla="*/ 3891281 h 4907280"/>
              <a:gd name="connsiteX5" fmla="*/ 4531995 w 4531995"/>
              <a:gd name="connsiteY5" fmla="*/ 4749799 h 4907280"/>
              <a:gd name="connsiteX6" fmla="*/ 4374514 w 4531995"/>
              <a:gd name="connsiteY6" fmla="*/ 4907280 h 4907280"/>
              <a:gd name="connsiteX7" fmla="*/ 2974976 w 4531995"/>
              <a:gd name="connsiteY7" fmla="*/ 4907280 h 4907280"/>
              <a:gd name="connsiteX8" fmla="*/ 2817495 w 4531995"/>
              <a:gd name="connsiteY8" fmla="*/ 4749799 h 4907280"/>
              <a:gd name="connsiteX9" fmla="*/ 2817495 w 4531995"/>
              <a:gd name="connsiteY9" fmla="*/ 3891281 h 4907280"/>
              <a:gd name="connsiteX0" fmla="*/ 0 w 1714500"/>
              <a:gd name="connsiteY0" fmla="*/ 157481 h 1173480"/>
              <a:gd name="connsiteX1" fmla="*/ 157481 w 1714500"/>
              <a:gd name="connsiteY1" fmla="*/ 0 h 1173480"/>
              <a:gd name="connsiteX2" fmla="*/ 1557019 w 1714500"/>
              <a:gd name="connsiteY2" fmla="*/ 0 h 1173480"/>
              <a:gd name="connsiteX3" fmla="*/ 1714500 w 1714500"/>
              <a:gd name="connsiteY3" fmla="*/ 157481 h 1173480"/>
              <a:gd name="connsiteX4" fmla="*/ 1714500 w 1714500"/>
              <a:gd name="connsiteY4" fmla="*/ 1015999 h 1173480"/>
              <a:gd name="connsiteX5" fmla="*/ 1557019 w 1714500"/>
              <a:gd name="connsiteY5" fmla="*/ 1173480 h 1173480"/>
              <a:gd name="connsiteX6" fmla="*/ 157481 w 1714500"/>
              <a:gd name="connsiteY6" fmla="*/ 1173480 h 1173480"/>
              <a:gd name="connsiteX7" fmla="*/ 0 w 1714500"/>
              <a:gd name="connsiteY7" fmla="*/ 1015999 h 1173480"/>
              <a:gd name="connsiteX8" fmla="*/ 0 w 1714500"/>
              <a:gd name="connsiteY8" fmla="*/ 157481 h 1173480"/>
              <a:gd name="connsiteX0" fmla="*/ 0 w 1714500"/>
              <a:gd name="connsiteY0" fmla="*/ 157481 h 1173480"/>
              <a:gd name="connsiteX1" fmla="*/ 46296 w 1714500"/>
              <a:gd name="connsiteY1" fmla="*/ 45955 h 1173480"/>
              <a:gd name="connsiteX2" fmla="*/ 157481 w 1714500"/>
              <a:gd name="connsiteY2" fmla="*/ 0 h 1173480"/>
              <a:gd name="connsiteX3" fmla="*/ 1557019 w 1714500"/>
              <a:gd name="connsiteY3" fmla="*/ 0 h 1173480"/>
              <a:gd name="connsiteX4" fmla="*/ 1714500 w 1714500"/>
              <a:gd name="connsiteY4" fmla="*/ 157481 h 1173480"/>
              <a:gd name="connsiteX5" fmla="*/ 1714500 w 1714500"/>
              <a:gd name="connsiteY5" fmla="*/ 1015999 h 1173480"/>
              <a:gd name="connsiteX6" fmla="*/ 1557019 w 1714500"/>
              <a:gd name="connsiteY6" fmla="*/ 1173480 h 1173480"/>
              <a:gd name="connsiteX7" fmla="*/ 157481 w 1714500"/>
              <a:gd name="connsiteY7" fmla="*/ 1173480 h 1173480"/>
              <a:gd name="connsiteX8" fmla="*/ 0 w 1714500"/>
              <a:gd name="connsiteY8" fmla="*/ 1015999 h 1173480"/>
              <a:gd name="connsiteX9" fmla="*/ 0 w 1714500"/>
              <a:gd name="connsiteY9" fmla="*/ 157481 h 1173480"/>
              <a:gd name="connsiteX0" fmla="*/ 0 w 1714500"/>
              <a:gd name="connsiteY0" fmla="*/ 157481 h 1173480"/>
              <a:gd name="connsiteX1" fmla="*/ 46296 w 1714500"/>
              <a:gd name="connsiteY1" fmla="*/ 45955 h 1173480"/>
              <a:gd name="connsiteX2" fmla="*/ 157481 w 1714500"/>
              <a:gd name="connsiteY2" fmla="*/ 0 h 1173480"/>
              <a:gd name="connsiteX3" fmla="*/ 157481 w 1714500"/>
              <a:gd name="connsiteY3" fmla="*/ 0 h 1173480"/>
              <a:gd name="connsiteX4" fmla="*/ 1557019 w 1714500"/>
              <a:gd name="connsiteY4" fmla="*/ 0 h 1173480"/>
              <a:gd name="connsiteX5" fmla="*/ 1714500 w 1714500"/>
              <a:gd name="connsiteY5" fmla="*/ 157481 h 1173480"/>
              <a:gd name="connsiteX6" fmla="*/ 1714500 w 1714500"/>
              <a:gd name="connsiteY6" fmla="*/ 1015999 h 1173480"/>
              <a:gd name="connsiteX7" fmla="*/ 1557019 w 1714500"/>
              <a:gd name="connsiteY7" fmla="*/ 1173480 h 1173480"/>
              <a:gd name="connsiteX8" fmla="*/ 157481 w 1714500"/>
              <a:gd name="connsiteY8" fmla="*/ 1173480 h 1173480"/>
              <a:gd name="connsiteX9" fmla="*/ 0 w 1714500"/>
              <a:gd name="connsiteY9" fmla="*/ 1015999 h 1173480"/>
              <a:gd name="connsiteX10" fmla="*/ 0 w 1714500"/>
              <a:gd name="connsiteY10" fmla="*/ 157481 h 1173480"/>
              <a:gd name="connsiteX0" fmla="*/ 0 w 1714500"/>
              <a:gd name="connsiteY0" fmla="*/ 157481 h 1173480"/>
              <a:gd name="connsiteX1" fmla="*/ 46296 w 1714500"/>
              <a:gd name="connsiteY1" fmla="*/ 45955 h 1173480"/>
              <a:gd name="connsiteX2" fmla="*/ 157481 w 1714500"/>
              <a:gd name="connsiteY2" fmla="*/ 0 h 1173480"/>
              <a:gd name="connsiteX3" fmla="*/ 1557019 w 1714500"/>
              <a:gd name="connsiteY3" fmla="*/ 0 h 1173480"/>
              <a:gd name="connsiteX4" fmla="*/ 1714500 w 1714500"/>
              <a:gd name="connsiteY4" fmla="*/ 157481 h 1173480"/>
              <a:gd name="connsiteX5" fmla="*/ 1714500 w 1714500"/>
              <a:gd name="connsiteY5" fmla="*/ 1015999 h 1173480"/>
              <a:gd name="connsiteX6" fmla="*/ 1557019 w 1714500"/>
              <a:gd name="connsiteY6" fmla="*/ 1173480 h 1173480"/>
              <a:gd name="connsiteX7" fmla="*/ 157481 w 1714500"/>
              <a:gd name="connsiteY7" fmla="*/ 1173480 h 1173480"/>
              <a:gd name="connsiteX8" fmla="*/ 0 w 1714500"/>
              <a:gd name="connsiteY8" fmla="*/ 1015999 h 1173480"/>
              <a:gd name="connsiteX9" fmla="*/ 0 w 1714500"/>
              <a:gd name="connsiteY9" fmla="*/ 157481 h 1173480"/>
              <a:gd name="connsiteX0" fmla="*/ 0 w 1714500"/>
              <a:gd name="connsiteY0" fmla="*/ 157481 h 1173480"/>
              <a:gd name="connsiteX1" fmla="*/ 46296 w 1714500"/>
              <a:gd name="connsiteY1" fmla="*/ 45955 h 1173480"/>
              <a:gd name="connsiteX2" fmla="*/ 157481 w 1714500"/>
              <a:gd name="connsiteY2" fmla="*/ 0 h 1173480"/>
              <a:gd name="connsiteX3" fmla="*/ 857250 w 1714500"/>
              <a:gd name="connsiteY3" fmla="*/ 0 h 1173480"/>
              <a:gd name="connsiteX4" fmla="*/ 1557019 w 1714500"/>
              <a:gd name="connsiteY4" fmla="*/ 0 h 1173480"/>
              <a:gd name="connsiteX5" fmla="*/ 1714500 w 1714500"/>
              <a:gd name="connsiteY5" fmla="*/ 157481 h 1173480"/>
              <a:gd name="connsiteX6" fmla="*/ 1714500 w 1714500"/>
              <a:gd name="connsiteY6" fmla="*/ 1015999 h 1173480"/>
              <a:gd name="connsiteX7" fmla="*/ 1557019 w 1714500"/>
              <a:gd name="connsiteY7" fmla="*/ 1173480 h 1173480"/>
              <a:gd name="connsiteX8" fmla="*/ 157481 w 1714500"/>
              <a:gd name="connsiteY8" fmla="*/ 1173480 h 1173480"/>
              <a:gd name="connsiteX9" fmla="*/ 0 w 1714500"/>
              <a:gd name="connsiteY9" fmla="*/ 1015999 h 1173480"/>
              <a:gd name="connsiteX10" fmla="*/ 0 w 1714500"/>
              <a:gd name="connsiteY10" fmla="*/ 157481 h 1173480"/>
              <a:gd name="connsiteX0" fmla="*/ 0 w 1714500"/>
              <a:gd name="connsiteY0" fmla="*/ 157481 h 1173480"/>
              <a:gd name="connsiteX1" fmla="*/ 46296 w 1714500"/>
              <a:gd name="connsiteY1" fmla="*/ 45955 h 1173480"/>
              <a:gd name="connsiteX2" fmla="*/ 157481 w 1714500"/>
              <a:gd name="connsiteY2" fmla="*/ 0 h 1173480"/>
              <a:gd name="connsiteX3" fmla="*/ 857250 w 1714500"/>
              <a:gd name="connsiteY3" fmla="*/ 0 h 1173480"/>
              <a:gd name="connsiteX4" fmla="*/ 1557019 w 1714500"/>
              <a:gd name="connsiteY4" fmla="*/ 0 h 1173480"/>
              <a:gd name="connsiteX5" fmla="*/ 1668545 w 1714500"/>
              <a:gd name="connsiteY5" fmla="*/ 46296 h 1173480"/>
              <a:gd name="connsiteX6" fmla="*/ 1714500 w 1714500"/>
              <a:gd name="connsiteY6" fmla="*/ 157481 h 1173480"/>
              <a:gd name="connsiteX7" fmla="*/ 1714500 w 1714500"/>
              <a:gd name="connsiteY7" fmla="*/ 1015999 h 1173480"/>
              <a:gd name="connsiteX8" fmla="*/ 1557019 w 1714500"/>
              <a:gd name="connsiteY8" fmla="*/ 1173480 h 1173480"/>
              <a:gd name="connsiteX9" fmla="*/ 157481 w 1714500"/>
              <a:gd name="connsiteY9" fmla="*/ 1173480 h 1173480"/>
              <a:gd name="connsiteX10" fmla="*/ 0 w 1714500"/>
              <a:gd name="connsiteY10" fmla="*/ 1015999 h 1173480"/>
              <a:gd name="connsiteX11" fmla="*/ 0 w 1714500"/>
              <a:gd name="connsiteY11" fmla="*/ 157481 h 1173480"/>
              <a:gd name="connsiteX0" fmla="*/ 0 w 1714500"/>
              <a:gd name="connsiteY0" fmla="*/ 157481 h 1173480"/>
              <a:gd name="connsiteX1" fmla="*/ 46296 w 1714500"/>
              <a:gd name="connsiteY1" fmla="*/ 45955 h 1173480"/>
              <a:gd name="connsiteX2" fmla="*/ 157481 w 1714500"/>
              <a:gd name="connsiteY2" fmla="*/ 0 h 1173480"/>
              <a:gd name="connsiteX3" fmla="*/ 857250 w 1714500"/>
              <a:gd name="connsiteY3" fmla="*/ 0 h 1173480"/>
              <a:gd name="connsiteX4" fmla="*/ 1557019 w 1714500"/>
              <a:gd name="connsiteY4" fmla="*/ 0 h 1173480"/>
              <a:gd name="connsiteX5" fmla="*/ 1668545 w 1714500"/>
              <a:gd name="connsiteY5" fmla="*/ 46296 h 1173480"/>
              <a:gd name="connsiteX6" fmla="*/ 1714500 w 1714500"/>
              <a:gd name="connsiteY6" fmla="*/ 157481 h 1173480"/>
              <a:gd name="connsiteX7" fmla="*/ 1714500 w 1714500"/>
              <a:gd name="connsiteY7" fmla="*/ 157481 h 1173480"/>
              <a:gd name="connsiteX8" fmla="*/ 1714500 w 1714500"/>
              <a:gd name="connsiteY8" fmla="*/ 1015999 h 1173480"/>
              <a:gd name="connsiteX9" fmla="*/ 1557019 w 1714500"/>
              <a:gd name="connsiteY9" fmla="*/ 1173480 h 1173480"/>
              <a:gd name="connsiteX10" fmla="*/ 157481 w 1714500"/>
              <a:gd name="connsiteY10" fmla="*/ 1173480 h 1173480"/>
              <a:gd name="connsiteX11" fmla="*/ 0 w 1714500"/>
              <a:gd name="connsiteY11" fmla="*/ 1015999 h 1173480"/>
              <a:gd name="connsiteX12" fmla="*/ 0 w 1714500"/>
              <a:gd name="connsiteY12" fmla="*/ 157481 h 1173480"/>
              <a:gd name="connsiteX0" fmla="*/ 0 w 1714500"/>
              <a:gd name="connsiteY0" fmla="*/ 157481 h 1173480"/>
              <a:gd name="connsiteX1" fmla="*/ 46296 w 1714500"/>
              <a:gd name="connsiteY1" fmla="*/ 45955 h 1173480"/>
              <a:gd name="connsiteX2" fmla="*/ 157481 w 1714500"/>
              <a:gd name="connsiteY2" fmla="*/ 0 h 1173480"/>
              <a:gd name="connsiteX3" fmla="*/ 857250 w 1714500"/>
              <a:gd name="connsiteY3" fmla="*/ 0 h 1173480"/>
              <a:gd name="connsiteX4" fmla="*/ 1557019 w 1714500"/>
              <a:gd name="connsiteY4" fmla="*/ 0 h 1173480"/>
              <a:gd name="connsiteX5" fmla="*/ 1668545 w 1714500"/>
              <a:gd name="connsiteY5" fmla="*/ 46296 h 1173480"/>
              <a:gd name="connsiteX6" fmla="*/ 1714500 w 1714500"/>
              <a:gd name="connsiteY6" fmla="*/ 157481 h 1173480"/>
              <a:gd name="connsiteX7" fmla="*/ 1714500 w 1714500"/>
              <a:gd name="connsiteY7" fmla="*/ 1015999 h 1173480"/>
              <a:gd name="connsiteX8" fmla="*/ 1557019 w 1714500"/>
              <a:gd name="connsiteY8" fmla="*/ 1173480 h 1173480"/>
              <a:gd name="connsiteX9" fmla="*/ 157481 w 1714500"/>
              <a:gd name="connsiteY9" fmla="*/ 1173480 h 1173480"/>
              <a:gd name="connsiteX10" fmla="*/ 0 w 1714500"/>
              <a:gd name="connsiteY10" fmla="*/ 1015999 h 1173480"/>
              <a:gd name="connsiteX11" fmla="*/ 0 w 1714500"/>
              <a:gd name="connsiteY11" fmla="*/ 157481 h 1173480"/>
              <a:gd name="connsiteX0" fmla="*/ 0 w 1714500"/>
              <a:gd name="connsiteY0" fmla="*/ 157481 h 1173480"/>
              <a:gd name="connsiteX1" fmla="*/ 46296 w 1714500"/>
              <a:gd name="connsiteY1" fmla="*/ 45955 h 1173480"/>
              <a:gd name="connsiteX2" fmla="*/ 157481 w 1714500"/>
              <a:gd name="connsiteY2" fmla="*/ 0 h 1173480"/>
              <a:gd name="connsiteX3" fmla="*/ 857250 w 1714500"/>
              <a:gd name="connsiteY3" fmla="*/ 0 h 1173480"/>
              <a:gd name="connsiteX4" fmla="*/ 1557019 w 1714500"/>
              <a:gd name="connsiteY4" fmla="*/ 0 h 1173480"/>
              <a:gd name="connsiteX5" fmla="*/ 1668545 w 1714500"/>
              <a:gd name="connsiteY5" fmla="*/ 46296 h 1173480"/>
              <a:gd name="connsiteX6" fmla="*/ 1714500 w 1714500"/>
              <a:gd name="connsiteY6" fmla="*/ 157481 h 1173480"/>
              <a:gd name="connsiteX7" fmla="*/ 1714500 w 1714500"/>
              <a:gd name="connsiteY7" fmla="*/ 586740 h 1173480"/>
              <a:gd name="connsiteX8" fmla="*/ 1714500 w 1714500"/>
              <a:gd name="connsiteY8" fmla="*/ 1015999 h 1173480"/>
              <a:gd name="connsiteX9" fmla="*/ 1557019 w 1714500"/>
              <a:gd name="connsiteY9" fmla="*/ 1173480 h 1173480"/>
              <a:gd name="connsiteX10" fmla="*/ 157481 w 1714500"/>
              <a:gd name="connsiteY10" fmla="*/ 1173480 h 1173480"/>
              <a:gd name="connsiteX11" fmla="*/ 0 w 1714500"/>
              <a:gd name="connsiteY11" fmla="*/ 1015999 h 1173480"/>
              <a:gd name="connsiteX12" fmla="*/ 0 w 1714500"/>
              <a:gd name="connsiteY12" fmla="*/ 157481 h 1173480"/>
              <a:gd name="connsiteX0" fmla="*/ 0 w 1714500"/>
              <a:gd name="connsiteY0" fmla="*/ 157481 h 1173480"/>
              <a:gd name="connsiteX1" fmla="*/ 46296 w 1714500"/>
              <a:gd name="connsiteY1" fmla="*/ 45955 h 1173480"/>
              <a:gd name="connsiteX2" fmla="*/ 157481 w 1714500"/>
              <a:gd name="connsiteY2" fmla="*/ 0 h 1173480"/>
              <a:gd name="connsiteX3" fmla="*/ 857250 w 1714500"/>
              <a:gd name="connsiteY3" fmla="*/ 0 h 1173480"/>
              <a:gd name="connsiteX4" fmla="*/ 1557019 w 1714500"/>
              <a:gd name="connsiteY4" fmla="*/ 0 h 1173480"/>
              <a:gd name="connsiteX5" fmla="*/ 1668545 w 1714500"/>
              <a:gd name="connsiteY5" fmla="*/ 46296 h 1173480"/>
              <a:gd name="connsiteX6" fmla="*/ 1714500 w 1714500"/>
              <a:gd name="connsiteY6" fmla="*/ 157481 h 1173480"/>
              <a:gd name="connsiteX7" fmla="*/ 1714500 w 1714500"/>
              <a:gd name="connsiteY7" fmla="*/ 586740 h 1173480"/>
              <a:gd name="connsiteX8" fmla="*/ 1714500 w 1714500"/>
              <a:gd name="connsiteY8" fmla="*/ 1015999 h 1173480"/>
              <a:gd name="connsiteX9" fmla="*/ 1668204 w 1714500"/>
              <a:gd name="connsiteY9" fmla="*/ 1127525 h 1173480"/>
              <a:gd name="connsiteX10" fmla="*/ 1557019 w 1714500"/>
              <a:gd name="connsiteY10" fmla="*/ 1173480 h 1173480"/>
              <a:gd name="connsiteX11" fmla="*/ 157481 w 1714500"/>
              <a:gd name="connsiteY11" fmla="*/ 1173480 h 1173480"/>
              <a:gd name="connsiteX12" fmla="*/ 0 w 1714500"/>
              <a:gd name="connsiteY12" fmla="*/ 1015999 h 1173480"/>
              <a:gd name="connsiteX13" fmla="*/ 0 w 1714500"/>
              <a:gd name="connsiteY13" fmla="*/ 157481 h 1173480"/>
              <a:gd name="connsiteX0" fmla="*/ 0 w 1714500"/>
              <a:gd name="connsiteY0" fmla="*/ 157481 h 1173480"/>
              <a:gd name="connsiteX1" fmla="*/ 46296 w 1714500"/>
              <a:gd name="connsiteY1" fmla="*/ 45955 h 1173480"/>
              <a:gd name="connsiteX2" fmla="*/ 157481 w 1714500"/>
              <a:gd name="connsiteY2" fmla="*/ 0 h 1173480"/>
              <a:gd name="connsiteX3" fmla="*/ 857250 w 1714500"/>
              <a:gd name="connsiteY3" fmla="*/ 0 h 1173480"/>
              <a:gd name="connsiteX4" fmla="*/ 1557019 w 1714500"/>
              <a:gd name="connsiteY4" fmla="*/ 0 h 1173480"/>
              <a:gd name="connsiteX5" fmla="*/ 1668545 w 1714500"/>
              <a:gd name="connsiteY5" fmla="*/ 46296 h 1173480"/>
              <a:gd name="connsiteX6" fmla="*/ 1714500 w 1714500"/>
              <a:gd name="connsiteY6" fmla="*/ 157481 h 1173480"/>
              <a:gd name="connsiteX7" fmla="*/ 1714500 w 1714500"/>
              <a:gd name="connsiteY7" fmla="*/ 586740 h 1173480"/>
              <a:gd name="connsiteX8" fmla="*/ 1714500 w 1714500"/>
              <a:gd name="connsiteY8" fmla="*/ 1015999 h 1173480"/>
              <a:gd name="connsiteX9" fmla="*/ 1668204 w 1714500"/>
              <a:gd name="connsiteY9" fmla="*/ 1127525 h 1173480"/>
              <a:gd name="connsiteX10" fmla="*/ 1557019 w 1714500"/>
              <a:gd name="connsiteY10" fmla="*/ 1173480 h 1173480"/>
              <a:gd name="connsiteX11" fmla="*/ 1557019 w 1714500"/>
              <a:gd name="connsiteY11" fmla="*/ 1173480 h 1173480"/>
              <a:gd name="connsiteX12" fmla="*/ 157481 w 1714500"/>
              <a:gd name="connsiteY12" fmla="*/ 1173480 h 1173480"/>
              <a:gd name="connsiteX13" fmla="*/ 0 w 1714500"/>
              <a:gd name="connsiteY13" fmla="*/ 1015999 h 1173480"/>
              <a:gd name="connsiteX14" fmla="*/ 0 w 1714500"/>
              <a:gd name="connsiteY14" fmla="*/ 157481 h 1173480"/>
              <a:gd name="connsiteX0" fmla="*/ 0 w 1714500"/>
              <a:gd name="connsiteY0" fmla="*/ 157481 h 1173480"/>
              <a:gd name="connsiteX1" fmla="*/ 46296 w 1714500"/>
              <a:gd name="connsiteY1" fmla="*/ 45955 h 1173480"/>
              <a:gd name="connsiteX2" fmla="*/ 157481 w 1714500"/>
              <a:gd name="connsiteY2" fmla="*/ 0 h 1173480"/>
              <a:gd name="connsiteX3" fmla="*/ 857250 w 1714500"/>
              <a:gd name="connsiteY3" fmla="*/ 0 h 1173480"/>
              <a:gd name="connsiteX4" fmla="*/ 1557019 w 1714500"/>
              <a:gd name="connsiteY4" fmla="*/ 0 h 1173480"/>
              <a:gd name="connsiteX5" fmla="*/ 1668545 w 1714500"/>
              <a:gd name="connsiteY5" fmla="*/ 46296 h 1173480"/>
              <a:gd name="connsiteX6" fmla="*/ 1714500 w 1714500"/>
              <a:gd name="connsiteY6" fmla="*/ 157481 h 1173480"/>
              <a:gd name="connsiteX7" fmla="*/ 1714500 w 1714500"/>
              <a:gd name="connsiteY7" fmla="*/ 586740 h 1173480"/>
              <a:gd name="connsiteX8" fmla="*/ 1714500 w 1714500"/>
              <a:gd name="connsiteY8" fmla="*/ 1015999 h 1173480"/>
              <a:gd name="connsiteX9" fmla="*/ 1668204 w 1714500"/>
              <a:gd name="connsiteY9" fmla="*/ 1127525 h 1173480"/>
              <a:gd name="connsiteX10" fmla="*/ 1557019 w 1714500"/>
              <a:gd name="connsiteY10" fmla="*/ 1173480 h 1173480"/>
              <a:gd name="connsiteX11" fmla="*/ 157481 w 1714500"/>
              <a:gd name="connsiteY11" fmla="*/ 1173480 h 1173480"/>
              <a:gd name="connsiteX12" fmla="*/ 0 w 1714500"/>
              <a:gd name="connsiteY12" fmla="*/ 1015999 h 1173480"/>
              <a:gd name="connsiteX13" fmla="*/ 0 w 1714500"/>
              <a:gd name="connsiteY13" fmla="*/ 157481 h 1173480"/>
              <a:gd name="connsiteX0" fmla="*/ 0 w 1714500"/>
              <a:gd name="connsiteY0" fmla="*/ 157481 h 1173480"/>
              <a:gd name="connsiteX1" fmla="*/ 46296 w 1714500"/>
              <a:gd name="connsiteY1" fmla="*/ 45955 h 1173480"/>
              <a:gd name="connsiteX2" fmla="*/ 157481 w 1714500"/>
              <a:gd name="connsiteY2" fmla="*/ 0 h 1173480"/>
              <a:gd name="connsiteX3" fmla="*/ 857250 w 1714500"/>
              <a:gd name="connsiteY3" fmla="*/ 0 h 1173480"/>
              <a:gd name="connsiteX4" fmla="*/ 1557019 w 1714500"/>
              <a:gd name="connsiteY4" fmla="*/ 0 h 1173480"/>
              <a:gd name="connsiteX5" fmla="*/ 1668545 w 1714500"/>
              <a:gd name="connsiteY5" fmla="*/ 46296 h 1173480"/>
              <a:gd name="connsiteX6" fmla="*/ 1714500 w 1714500"/>
              <a:gd name="connsiteY6" fmla="*/ 157481 h 1173480"/>
              <a:gd name="connsiteX7" fmla="*/ 1714500 w 1714500"/>
              <a:gd name="connsiteY7" fmla="*/ 586740 h 1173480"/>
              <a:gd name="connsiteX8" fmla="*/ 1714500 w 1714500"/>
              <a:gd name="connsiteY8" fmla="*/ 1015999 h 1173480"/>
              <a:gd name="connsiteX9" fmla="*/ 1668204 w 1714500"/>
              <a:gd name="connsiteY9" fmla="*/ 1127525 h 1173480"/>
              <a:gd name="connsiteX10" fmla="*/ 1557019 w 1714500"/>
              <a:gd name="connsiteY10" fmla="*/ 1173480 h 1173480"/>
              <a:gd name="connsiteX11" fmla="*/ 857250 w 1714500"/>
              <a:gd name="connsiteY11" fmla="*/ 1173480 h 1173480"/>
              <a:gd name="connsiteX12" fmla="*/ 157481 w 1714500"/>
              <a:gd name="connsiteY12" fmla="*/ 1173480 h 1173480"/>
              <a:gd name="connsiteX13" fmla="*/ 0 w 1714500"/>
              <a:gd name="connsiteY13" fmla="*/ 1015999 h 1173480"/>
              <a:gd name="connsiteX14" fmla="*/ 0 w 1714500"/>
              <a:gd name="connsiteY14" fmla="*/ 157481 h 1173480"/>
              <a:gd name="connsiteX0" fmla="*/ 0 w 1714500"/>
              <a:gd name="connsiteY0" fmla="*/ 157481 h 1173480"/>
              <a:gd name="connsiteX1" fmla="*/ 46296 w 1714500"/>
              <a:gd name="connsiteY1" fmla="*/ 45955 h 1173480"/>
              <a:gd name="connsiteX2" fmla="*/ 157481 w 1714500"/>
              <a:gd name="connsiteY2" fmla="*/ 0 h 1173480"/>
              <a:gd name="connsiteX3" fmla="*/ 857250 w 1714500"/>
              <a:gd name="connsiteY3" fmla="*/ 0 h 1173480"/>
              <a:gd name="connsiteX4" fmla="*/ 1557019 w 1714500"/>
              <a:gd name="connsiteY4" fmla="*/ 0 h 1173480"/>
              <a:gd name="connsiteX5" fmla="*/ 1668545 w 1714500"/>
              <a:gd name="connsiteY5" fmla="*/ 46296 h 1173480"/>
              <a:gd name="connsiteX6" fmla="*/ 1714500 w 1714500"/>
              <a:gd name="connsiteY6" fmla="*/ 157481 h 1173480"/>
              <a:gd name="connsiteX7" fmla="*/ 1714500 w 1714500"/>
              <a:gd name="connsiteY7" fmla="*/ 586740 h 1173480"/>
              <a:gd name="connsiteX8" fmla="*/ 1714500 w 1714500"/>
              <a:gd name="connsiteY8" fmla="*/ 1015999 h 1173480"/>
              <a:gd name="connsiteX9" fmla="*/ 1668204 w 1714500"/>
              <a:gd name="connsiteY9" fmla="*/ 1127525 h 1173480"/>
              <a:gd name="connsiteX10" fmla="*/ 1557019 w 1714500"/>
              <a:gd name="connsiteY10" fmla="*/ 1173480 h 1173480"/>
              <a:gd name="connsiteX11" fmla="*/ 857250 w 1714500"/>
              <a:gd name="connsiteY11" fmla="*/ 1173480 h 1173480"/>
              <a:gd name="connsiteX12" fmla="*/ 157481 w 1714500"/>
              <a:gd name="connsiteY12" fmla="*/ 1173480 h 1173480"/>
              <a:gd name="connsiteX13" fmla="*/ 45955 w 1714500"/>
              <a:gd name="connsiteY13" fmla="*/ 1127184 h 1173480"/>
              <a:gd name="connsiteX14" fmla="*/ 0 w 1714500"/>
              <a:gd name="connsiteY14" fmla="*/ 1015999 h 1173480"/>
              <a:gd name="connsiteX15" fmla="*/ 0 w 1714500"/>
              <a:gd name="connsiteY15" fmla="*/ 157481 h 1173480"/>
              <a:gd name="connsiteX0" fmla="*/ 0 w 1714500"/>
              <a:gd name="connsiteY0" fmla="*/ 157481 h 1173480"/>
              <a:gd name="connsiteX1" fmla="*/ 46296 w 1714500"/>
              <a:gd name="connsiteY1" fmla="*/ 45955 h 1173480"/>
              <a:gd name="connsiteX2" fmla="*/ 157481 w 1714500"/>
              <a:gd name="connsiteY2" fmla="*/ 0 h 1173480"/>
              <a:gd name="connsiteX3" fmla="*/ 857250 w 1714500"/>
              <a:gd name="connsiteY3" fmla="*/ 0 h 1173480"/>
              <a:gd name="connsiteX4" fmla="*/ 1557019 w 1714500"/>
              <a:gd name="connsiteY4" fmla="*/ 0 h 1173480"/>
              <a:gd name="connsiteX5" fmla="*/ 1668545 w 1714500"/>
              <a:gd name="connsiteY5" fmla="*/ 46296 h 1173480"/>
              <a:gd name="connsiteX6" fmla="*/ 1714500 w 1714500"/>
              <a:gd name="connsiteY6" fmla="*/ 157481 h 1173480"/>
              <a:gd name="connsiteX7" fmla="*/ 1714500 w 1714500"/>
              <a:gd name="connsiteY7" fmla="*/ 586740 h 1173480"/>
              <a:gd name="connsiteX8" fmla="*/ 1714500 w 1714500"/>
              <a:gd name="connsiteY8" fmla="*/ 1015999 h 1173480"/>
              <a:gd name="connsiteX9" fmla="*/ 1668204 w 1714500"/>
              <a:gd name="connsiteY9" fmla="*/ 1127525 h 1173480"/>
              <a:gd name="connsiteX10" fmla="*/ 1557019 w 1714500"/>
              <a:gd name="connsiteY10" fmla="*/ 1173480 h 1173480"/>
              <a:gd name="connsiteX11" fmla="*/ 857250 w 1714500"/>
              <a:gd name="connsiteY11" fmla="*/ 1173480 h 1173480"/>
              <a:gd name="connsiteX12" fmla="*/ 157481 w 1714500"/>
              <a:gd name="connsiteY12" fmla="*/ 1173480 h 1173480"/>
              <a:gd name="connsiteX13" fmla="*/ 45955 w 1714500"/>
              <a:gd name="connsiteY13" fmla="*/ 1127184 h 1173480"/>
              <a:gd name="connsiteX14" fmla="*/ 0 w 1714500"/>
              <a:gd name="connsiteY14" fmla="*/ 1015999 h 1173480"/>
              <a:gd name="connsiteX15" fmla="*/ 0 w 1714500"/>
              <a:gd name="connsiteY15" fmla="*/ 1015999 h 1173480"/>
              <a:gd name="connsiteX16" fmla="*/ 0 w 1714500"/>
              <a:gd name="connsiteY16" fmla="*/ 157481 h 1173480"/>
              <a:gd name="connsiteX0" fmla="*/ 0 w 1714500"/>
              <a:gd name="connsiteY0" fmla="*/ 157481 h 1173480"/>
              <a:gd name="connsiteX1" fmla="*/ 46296 w 1714500"/>
              <a:gd name="connsiteY1" fmla="*/ 45955 h 1173480"/>
              <a:gd name="connsiteX2" fmla="*/ 157481 w 1714500"/>
              <a:gd name="connsiteY2" fmla="*/ 0 h 1173480"/>
              <a:gd name="connsiteX3" fmla="*/ 857250 w 1714500"/>
              <a:gd name="connsiteY3" fmla="*/ 0 h 1173480"/>
              <a:gd name="connsiteX4" fmla="*/ 1557019 w 1714500"/>
              <a:gd name="connsiteY4" fmla="*/ 0 h 1173480"/>
              <a:gd name="connsiteX5" fmla="*/ 1668545 w 1714500"/>
              <a:gd name="connsiteY5" fmla="*/ 46296 h 1173480"/>
              <a:gd name="connsiteX6" fmla="*/ 1714500 w 1714500"/>
              <a:gd name="connsiteY6" fmla="*/ 157481 h 1173480"/>
              <a:gd name="connsiteX7" fmla="*/ 1714500 w 1714500"/>
              <a:gd name="connsiteY7" fmla="*/ 586740 h 1173480"/>
              <a:gd name="connsiteX8" fmla="*/ 1714500 w 1714500"/>
              <a:gd name="connsiteY8" fmla="*/ 1015999 h 1173480"/>
              <a:gd name="connsiteX9" fmla="*/ 1668204 w 1714500"/>
              <a:gd name="connsiteY9" fmla="*/ 1127525 h 1173480"/>
              <a:gd name="connsiteX10" fmla="*/ 1557019 w 1714500"/>
              <a:gd name="connsiteY10" fmla="*/ 1173480 h 1173480"/>
              <a:gd name="connsiteX11" fmla="*/ 857250 w 1714500"/>
              <a:gd name="connsiteY11" fmla="*/ 1173480 h 1173480"/>
              <a:gd name="connsiteX12" fmla="*/ 157481 w 1714500"/>
              <a:gd name="connsiteY12" fmla="*/ 1173480 h 1173480"/>
              <a:gd name="connsiteX13" fmla="*/ 45955 w 1714500"/>
              <a:gd name="connsiteY13" fmla="*/ 1127184 h 1173480"/>
              <a:gd name="connsiteX14" fmla="*/ 0 w 1714500"/>
              <a:gd name="connsiteY14" fmla="*/ 1015999 h 1173480"/>
              <a:gd name="connsiteX15" fmla="*/ 0 w 1714500"/>
              <a:gd name="connsiteY15" fmla="*/ 157481 h 1173480"/>
              <a:gd name="connsiteX0" fmla="*/ 0 w 1714500"/>
              <a:gd name="connsiteY0" fmla="*/ 157481 h 1173480"/>
              <a:gd name="connsiteX1" fmla="*/ 46296 w 1714500"/>
              <a:gd name="connsiteY1" fmla="*/ 45955 h 1173480"/>
              <a:gd name="connsiteX2" fmla="*/ 157481 w 1714500"/>
              <a:gd name="connsiteY2" fmla="*/ 0 h 1173480"/>
              <a:gd name="connsiteX3" fmla="*/ 857250 w 1714500"/>
              <a:gd name="connsiteY3" fmla="*/ 0 h 1173480"/>
              <a:gd name="connsiteX4" fmla="*/ 1557019 w 1714500"/>
              <a:gd name="connsiteY4" fmla="*/ 0 h 1173480"/>
              <a:gd name="connsiteX5" fmla="*/ 1668545 w 1714500"/>
              <a:gd name="connsiteY5" fmla="*/ 46296 h 1173480"/>
              <a:gd name="connsiteX6" fmla="*/ 1714500 w 1714500"/>
              <a:gd name="connsiteY6" fmla="*/ 157481 h 1173480"/>
              <a:gd name="connsiteX7" fmla="*/ 1714500 w 1714500"/>
              <a:gd name="connsiteY7" fmla="*/ 586740 h 1173480"/>
              <a:gd name="connsiteX8" fmla="*/ 1714500 w 1714500"/>
              <a:gd name="connsiteY8" fmla="*/ 1015999 h 1173480"/>
              <a:gd name="connsiteX9" fmla="*/ 1668204 w 1714500"/>
              <a:gd name="connsiteY9" fmla="*/ 1127525 h 1173480"/>
              <a:gd name="connsiteX10" fmla="*/ 1557019 w 1714500"/>
              <a:gd name="connsiteY10" fmla="*/ 1173480 h 1173480"/>
              <a:gd name="connsiteX11" fmla="*/ 857250 w 1714500"/>
              <a:gd name="connsiteY11" fmla="*/ 1173480 h 1173480"/>
              <a:gd name="connsiteX12" fmla="*/ 157481 w 1714500"/>
              <a:gd name="connsiteY12" fmla="*/ 1173480 h 1173480"/>
              <a:gd name="connsiteX13" fmla="*/ 45955 w 1714500"/>
              <a:gd name="connsiteY13" fmla="*/ 1127184 h 1173480"/>
              <a:gd name="connsiteX14" fmla="*/ 0 w 1714500"/>
              <a:gd name="connsiteY14" fmla="*/ 1015999 h 1173480"/>
              <a:gd name="connsiteX15" fmla="*/ 0 w 1714500"/>
              <a:gd name="connsiteY15" fmla="*/ 586740 h 1173480"/>
              <a:gd name="connsiteX16" fmla="*/ 0 w 1714500"/>
              <a:gd name="connsiteY16" fmla="*/ 157481 h 1173480"/>
              <a:gd name="connsiteX0" fmla="*/ 1557019 w 1714500"/>
              <a:gd name="connsiteY0" fmla="*/ 0 h 1173480"/>
              <a:gd name="connsiteX1" fmla="*/ 1668545 w 1714500"/>
              <a:gd name="connsiteY1" fmla="*/ 46296 h 1173480"/>
              <a:gd name="connsiteX2" fmla="*/ 1714500 w 1714500"/>
              <a:gd name="connsiteY2" fmla="*/ 157481 h 1173480"/>
              <a:gd name="connsiteX3" fmla="*/ 1714500 w 1714500"/>
              <a:gd name="connsiteY3" fmla="*/ 586740 h 1173480"/>
              <a:gd name="connsiteX4" fmla="*/ 1714500 w 1714500"/>
              <a:gd name="connsiteY4" fmla="*/ 1015999 h 1173480"/>
              <a:gd name="connsiteX5" fmla="*/ 1668204 w 1714500"/>
              <a:gd name="connsiteY5" fmla="*/ 1127525 h 1173480"/>
              <a:gd name="connsiteX6" fmla="*/ 1557019 w 1714500"/>
              <a:gd name="connsiteY6" fmla="*/ 1173480 h 1173480"/>
              <a:gd name="connsiteX7" fmla="*/ 857250 w 1714500"/>
              <a:gd name="connsiteY7" fmla="*/ 1173480 h 1173480"/>
              <a:gd name="connsiteX8" fmla="*/ 157481 w 1714500"/>
              <a:gd name="connsiteY8" fmla="*/ 1173480 h 1173480"/>
              <a:gd name="connsiteX9" fmla="*/ 45955 w 1714500"/>
              <a:gd name="connsiteY9" fmla="*/ 1127184 h 1173480"/>
              <a:gd name="connsiteX10" fmla="*/ 0 w 1714500"/>
              <a:gd name="connsiteY10" fmla="*/ 1015999 h 1173480"/>
              <a:gd name="connsiteX11" fmla="*/ 0 w 1714500"/>
              <a:gd name="connsiteY11" fmla="*/ 586740 h 1173480"/>
              <a:gd name="connsiteX12" fmla="*/ 0 w 1714500"/>
              <a:gd name="connsiteY12" fmla="*/ 157481 h 1173480"/>
              <a:gd name="connsiteX13" fmla="*/ 46296 w 1714500"/>
              <a:gd name="connsiteY13" fmla="*/ 45955 h 1173480"/>
              <a:gd name="connsiteX14" fmla="*/ 157481 w 1714500"/>
              <a:gd name="connsiteY14" fmla="*/ 0 h 1173480"/>
              <a:gd name="connsiteX15" fmla="*/ 857250 w 1714500"/>
              <a:gd name="connsiteY15" fmla="*/ 0 h 1173480"/>
              <a:gd name="connsiteX16" fmla="*/ 1648459 w 1714500"/>
              <a:gd name="connsiteY16" fmla="*/ 91440 h 1173480"/>
              <a:gd name="connsiteX0" fmla="*/ 1557019 w 1714500"/>
              <a:gd name="connsiteY0" fmla="*/ 0 h 1173480"/>
              <a:gd name="connsiteX1" fmla="*/ 1668545 w 1714500"/>
              <a:gd name="connsiteY1" fmla="*/ 46296 h 1173480"/>
              <a:gd name="connsiteX2" fmla="*/ 1714500 w 1714500"/>
              <a:gd name="connsiteY2" fmla="*/ 157481 h 1173480"/>
              <a:gd name="connsiteX3" fmla="*/ 1714500 w 1714500"/>
              <a:gd name="connsiteY3" fmla="*/ 586740 h 1173480"/>
              <a:gd name="connsiteX4" fmla="*/ 1714500 w 1714500"/>
              <a:gd name="connsiteY4" fmla="*/ 1015999 h 1173480"/>
              <a:gd name="connsiteX5" fmla="*/ 1668204 w 1714500"/>
              <a:gd name="connsiteY5" fmla="*/ 1127525 h 1173480"/>
              <a:gd name="connsiteX6" fmla="*/ 1557019 w 1714500"/>
              <a:gd name="connsiteY6" fmla="*/ 1173480 h 1173480"/>
              <a:gd name="connsiteX7" fmla="*/ 857250 w 1714500"/>
              <a:gd name="connsiteY7" fmla="*/ 1173480 h 1173480"/>
              <a:gd name="connsiteX8" fmla="*/ 157481 w 1714500"/>
              <a:gd name="connsiteY8" fmla="*/ 1173480 h 1173480"/>
              <a:gd name="connsiteX9" fmla="*/ 45955 w 1714500"/>
              <a:gd name="connsiteY9" fmla="*/ 1127184 h 1173480"/>
              <a:gd name="connsiteX10" fmla="*/ 0 w 1714500"/>
              <a:gd name="connsiteY10" fmla="*/ 1015999 h 1173480"/>
              <a:gd name="connsiteX11" fmla="*/ 0 w 1714500"/>
              <a:gd name="connsiteY11" fmla="*/ 586740 h 1173480"/>
              <a:gd name="connsiteX12" fmla="*/ 0 w 1714500"/>
              <a:gd name="connsiteY12" fmla="*/ 157481 h 1173480"/>
              <a:gd name="connsiteX13" fmla="*/ 46296 w 1714500"/>
              <a:gd name="connsiteY13" fmla="*/ 45955 h 1173480"/>
              <a:gd name="connsiteX14" fmla="*/ 157481 w 1714500"/>
              <a:gd name="connsiteY14" fmla="*/ 0 h 1173480"/>
              <a:gd name="connsiteX15" fmla="*/ 857250 w 1714500"/>
              <a:gd name="connsiteY15" fmla="*/ 0 h 1173480"/>
              <a:gd name="connsiteX0" fmla="*/ 1668545 w 1714500"/>
              <a:gd name="connsiteY0" fmla="*/ 46296 h 1173480"/>
              <a:gd name="connsiteX1" fmla="*/ 1714500 w 1714500"/>
              <a:gd name="connsiteY1" fmla="*/ 157481 h 1173480"/>
              <a:gd name="connsiteX2" fmla="*/ 1714500 w 1714500"/>
              <a:gd name="connsiteY2" fmla="*/ 586740 h 1173480"/>
              <a:gd name="connsiteX3" fmla="*/ 1714500 w 1714500"/>
              <a:gd name="connsiteY3" fmla="*/ 1015999 h 1173480"/>
              <a:gd name="connsiteX4" fmla="*/ 1668204 w 1714500"/>
              <a:gd name="connsiteY4" fmla="*/ 1127525 h 1173480"/>
              <a:gd name="connsiteX5" fmla="*/ 1557019 w 1714500"/>
              <a:gd name="connsiteY5" fmla="*/ 1173480 h 1173480"/>
              <a:gd name="connsiteX6" fmla="*/ 857250 w 1714500"/>
              <a:gd name="connsiteY6" fmla="*/ 1173480 h 1173480"/>
              <a:gd name="connsiteX7" fmla="*/ 157481 w 1714500"/>
              <a:gd name="connsiteY7" fmla="*/ 1173480 h 1173480"/>
              <a:gd name="connsiteX8" fmla="*/ 45955 w 1714500"/>
              <a:gd name="connsiteY8" fmla="*/ 1127184 h 1173480"/>
              <a:gd name="connsiteX9" fmla="*/ 0 w 1714500"/>
              <a:gd name="connsiteY9" fmla="*/ 1015999 h 1173480"/>
              <a:gd name="connsiteX10" fmla="*/ 0 w 1714500"/>
              <a:gd name="connsiteY10" fmla="*/ 586740 h 1173480"/>
              <a:gd name="connsiteX11" fmla="*/ 0 w 1714500"/>
              <a:gd name="connsiteY11" fmla="*/ 157481 h 1173480"/>
              <a:gd name="connsiteX12" fmla="*/ 46296 w 1714500"/>
              <a:gd name="connsiteY12" fmla="*/ 45955 h 1173480"/>
              <a:gd name="connsiteX13" fmla="*/ 157481 w 1714500"/>
              <a:gd name="connsiteY13" fmla="*/ 0 h 1173480"/>
              <a:gd name="connsiteX14" fmla="*/ 857250 w 1714500"/>
              <a:gd name="connsiteY14" fmla="*/ 0 h 1173480"/>
              <a:gd name="connsiteX0" fmla="*/ 1714500 w 1714500"/>
              <a:gd name="connsiteY0" fmla="*/ 157481 h 1173480"/>
              <a:gd name="connsiteX1" fmla="*/ 1714500 w 1714500"/>
              <a:gd name="connsiteY1" fmla="*/ 586740 h 1173480"/>
              <a:gd name="connsiteX2" fmla="*/ 1714500 w 1714500"/>
              <a:gd name="connsiteY2" fmla="*/ 1015999 h 1173480"/>
              <a:gd name="connsiteX3" fmla="*/ 1668204 w 1714500"/>
              <a:gd name="connsiteY3" fmla="*/ 1127525 h 1173480"/>
              <a:gd name="connsiteX4" fmla="*/ 1557019 w 1714500"/>
              <a:gd name="connsiteY4" fmla="*/ 1173480 h 1173480"/>
              <a:gd name="connsiteX5" fmla="*/ 857250 w 1714500"/>
              <a:gd name="connsiteY5" fmla="*/ 1173480 h 1173480"/>
              <a:gd name="connsiteX6" fmla="*/ 157481 w 1714500"/>
              <a:gd name="connsiteY6" fmla="*/ 1173480 h 1173480"/>
              <a:gd name="connsiteX7" fmla="*/ 45955 w 1714500"/>
              <a:gd name="connsiteY7" fmla="*/ 1127184 h 1173480"/>
              <a:gd name="connsiteX8" fmla="*/ 0 w 1714500"/>
              <a:gd name="connsiteY8" fmla="*/ 1015999 h 1173480"/>
              <a:gd name="connsiteX9" fmla="*/ 0 w 1714500"/>
              <a:gd name="connsiteY9" fmla="*/ 586740 h 1173480"/>
              <a:gd name="connsiteX10" fmla="*/ 0 w 1714500"/>
              <a:gd name="connsiteY10" fmla="*/ 157481 h 1173480"/>
              <a:gd name="connsiteX11" fmla="*/ 46296 w 1714500"/>
              <a:gd name="connsiteY11" fmla="*/ 45955 h 1173480"/>
              <a:gd name="connsiteX12" fmla="*/ 157481 w 1714500"/>
              <a:gd name="connsiteY12" fmla="*/ 0 h 1173480"/>
              <a:gd name="connsiteX13" fmla="*/ 857250 w 1714500"/>
              <a:gd name="connsiteY13" fmla="*/ 0 h 1173480"/>
              <a:gd name="connsiteX0" fmla="*/ 1714500 w 1714500"/>
              <a:gd name="connsiteY0" fmla="*/ 586740 h 1173480"/>
              <a:gd name="connsiteX1" fmla="*/ 1714500 w 1714500"/>
              <a:gd name="connsiteY1" fmla="*/ 1015999 h 1173480"/>
              <a:gd name="connsiteX2" fmla="*/ 1668204 w 1714500"/>
              <a:gd name="connsiteY2" fmla="*/ 1127525 h 1173480"/>
              <a:gd name="connsiteX3" fmla="*/ 1557019 w 1714500"/>
              <a:gd name="connsiteY3" fmla="*/ 1173480 h 1173480"/>
              <a:gd name="connsiteX4" fmla="*/ 857250 w 1714500"/>
              <a:gd name="connsiteY4" fmla="*/ 1173480 h 1173480"/>
              <a:gd name="connsiteX5" fmla="*/ 157481 w 1714500"/>
              <a:gd name="connsiteY5" fmla="*/ 1173480 h 1173480"/>
              <a:gd name="connsiteX6" fmla="*/ 45955 w 1714500"/>
              <a:gd name="connsiteY6" fmla="*/ 1127184 h 1173480"/>
              <a:gd name="connsiteX7" fmla="*/ 0 w 1714500"/>
              <a:gd name="connsiteY7" fmla="*/ 1015999 h 1173480"/>
              <a:gd name="connsiteX8" fmla="*/ 0 w 1714500"/>
              <a:gd name="connsiteY8" fmla="*/ 586740 h 1173480"/>
              <a:gd name="connsiteX9" fmla="*/ 0 w 1714500"/>
              <a:gd name="connsiteY9" fmla="*/ 157481 h 1173480"/>
              <a:gd name="connsiteX10" fmla="*/ 46296 w 1714500"/>
              <a:gd name="connsiteY10" fmla="*/ 45955 h 1173480"/>
              <a:gd name="connsiteX11" fmla="*/ 157481 w 1714500"/>
              <a:gd name="connsiteY11" fmla="*/ 0 h 1173480"/>
              <a:gd name="connsiteX12" fmla="*/ 857250 w 1714500"/>
              <a:gd name="connsiteY12" fmla="*/ 0 h 1173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14500" h="1173480">
                <a:moveTo>
                  <a:pt x="1714500" y="586740"/>
                </a:moveTo>
                <a:lnTo>
                  <a:pt x="1714500" y="1015999"/>
                </a:lnTo>
                <a:cubicBezTo>
                  <a:pt x="1714500" y="1059573"/>
                  <a:pt x="1696803" y="1099013"/>
                  <a:pt x="1668204" y="1127525"/>
                </a:cubicBezTo>
                <a:cubicBezTo>
                  <a:pt x="1639719" y="1155924"/>
                  <a:pt x="1600419" y="1173480"/>
                  <a:pt x="1557019" y="1173480"/>
                </a:cubicBezTo>
                <a:lnTo>
                  <a:pt x="857250" y="1173480"/>
                </a:lnTo>
                <a:lnTo>
                  <a:pt x="157481" y="1173480"/>
                </a:lnTo>
                <a:cubicBezTo>
                  <a:pt x="113907" y="1173480"/>
                  <a:pt x="74467" y="1155783"/>
                  <a:pt x="45955" y="1127184"/>
                </a:cubicBezTo>
                <a:cubicBezTo>
                  <a:pt x="17557" y="1098699"/>
                  <a:pt x="0" y="1059399"/>
                  <a:pt x="0" y="1015999"/>
                </a:cubicBezTo>
                <a:lnTo>
                  <a:pt x="0" y="586740"/>
                </a:lnTo>
                <a:lnTo>
                  <a:pt x="0" y="157481"/>
                </a:lnTo>
                <a:cubicBezTo>
                  <a:pt x="0" y="113907"/>
                  <a:pt x="17697" y="74467"/>
                  <a:pt x="46296" y="45955"/>
                </a:cubicBezTo>
                <a:cubicBezTo>
                  <a:pt x="74781" y="17556"/>
                  <a:pt x="114081" y="0"/>
                  <a:pt x="157481" y="0"/>
                </a:cubicBezTo>
                <a:lnTo>
                  <a:pt x="857250" y="0"/>
                </a:lnTo>
              </a:path>
            </a:pathLst>
          </a:custGeom>
          <a:noFill/>
          <a:ln w="2286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109728" tIns="54864" rIns="109728" bIns="54864" rtlCol="0" anchor="ctr"/>
          <a:lstStyle/>
          <a:p>
            <a:pPr algn="l"/>
            <a:endParaRPr lang="zh-CN" altLang="en-US" sz="1920">
              <a:solidFill>
                <a:schemeClr val="bg1"/>
              </a:solidFill>
              <a:latin typeface="+mj-ea"/>
              <a:ea typeface="+mj-ea"/>
            </a:endParaRPr>
          </a:p>
        </p:txBody>
      </p:sp>
      <p:sp>
        <p:nvSpPr>
          <p:cNvPr id="21" name="文本框 20">
            <a:extLst>
              <a:ext uri="{FF2B5EF4-FFF2-40B4-BE49-F238E27FC236}">
                <a16:creationId xmlns:a16="http://schemas.microsoft.com/office/drawing/2014/main" id="{66981191-2092-4E1C-AE89-8D10F3FE5CF5}"/>
              </a:ext>
            </a:extLst>
          </p:cNvPr>
          <p:cNvSpPr txBox="1"/>
          <p:nvPr/>
        </p:nvSpPr>
        <p:spPr>
          <a:xfrm>
            <a:off x="8646918" y="3396761"/>
            <a:ext cx="1384994" cy="332399"/>
          </a:xfrm>
          <a:prstGeom prst="rect">
            <a:avLst/>
          </a:prstGeom>
          <a:noFill/>
          <a:effectLst/>
        </p:spPr>
        <p:txBody>
          <a:bodyPr wrap="none" lIns="0" tIns="0" rIns="0" bIns="0" rtlCol="0" anchor="t">
            <a:spAutoFit/>
          </a:bodyPr>
          <a:lstStyle/>
          <a:p>
            <a:r>
              <a:rPr lang="zh-CN" altLang="en-US" sz="2160" dirty="0">
                <a:solidFill>
                  <a:schemeClr val="accent1"/>
                </a:solidFill>
                <a:latin typeface="+mj-ea"/>
                <a:ea typeface="+mj-ea"/>
              </a:rPr>
              <a:t>关键词标题</a:t>
            </a:r>
          </a:p>
        </p:txBody>
      </p:sp>
      <p:sp>
        <p:nvSpPr>
          <p:cNvPr id="22" name="文本框 21">
            <a:extLst>
              <a:ext uri="{FF2B5EF4-FFF2-40B4-BE49-F238E27FC236}">
                <a16:creationId xmlns:a16="http://schemas.microsoft.com/office/drawing/2014/main" id="{4354BAA3-846D-453A-B2BB-06FA17F46045}"/>
              </a:ext>
            </a:extLst>
          </p:cNvPr>
          <p:cNvSpPr txBox="1"/>
          <p:nvPr/>
        </p:nvSpPr>
        <p:spPr>
          <a:xfrm>
            <a:off x="8130598" y="3799985"/>
            <a:ext cx="2417637" cy="704808"/>
          </a:xfrm>
          <a:prstGeom prst="rect">
            <a:avLst/>
          </a:prstGeom>
          <a:noFill/>
          <a:effectLst/>
        </p:spPr>
        <p:txBody>
          <a:bodyPr wrap="square" lIns="0" tIns="0" rIns="0" bIns="0" rtlCol="0" anchor="t">
            <a:spAutoFit/>
          </a:bodyPr>
          <a:lstStyle/>
          <a:p>
            <a:pPr algn="ctr">
              <a:lnSpc>
                <a:spcPct val="130000"/>
              </a:lnSpc>
            </a:pPr>
            <a:r>
              <a:rPr lang="en-US" altLang="zh-CN" sz="1200" b="0" dirty="0">
                <a:solidFill>
                  <a:schemeClr val="tx1">
                    <a:lumMod val="75000"/>
                    <a:lumOff val="25000"/>
                  </a:schemeClr>
                </a:solidFill>
                <a:effectLst/>
                <a:latin typeface="+mn-ea"/>
              </a:rPr>
              <a:t>Lorem ipsum dolor sit ametconsectetur adipisicing elit</a:t>
            </a:r>
            <a:r>
              <a:rPr lang="en-US" altLang="zh-CN" sz="1200" dirty="0">
                <a:solidFill>
                  <a:schemeClr val="tx1">
                    <a:lumMod val="75000"/>
                    <a:lumOff val="25000"/>
                  </a:schemeClr>
                </a:solidFill>
                <a:latin typeface="+mn-ea"/>
              </a:rPr>
              <a:t> </a:t>
            </a:r>
            <a:r>
              <a:rPr lang="en-US" altLang="zh-CN" sz="1200" b="0" dirty="0">
                <a:solidFill>
                  <a:schemeClr val="tx1">
                    <a:lumMod val="75000"/>
                    <a:lumOff val="25000"/>
                  </a:schemeClr>
                </a:solidFill>
                <a:effectLst/>
                <a:latin typeface="+mn-ea"/>
              </a:rPr>
              <a:t>sed do eiusmod tempor</a:t>
            </a:r>
            <a:endParaRPr lang="zh-CN" altLang="en-US" sz="1200" b="0" dirty="0">
              <a:solidFill>
                <a:schemeClr val="tx1">
                  <a:lumMod val="75000"/>
                  <a:lumOff val="25000"/>
                </a:schemeClr>
              </a:solidFill>
              <a:effectLst/>
              <a:latin typeface="+mn-ea"/>
            </a:endParaRPr>
          </a:p>
        </p:txBody>
      </p:sp>
      <p:sp>
        <p:nvSpPr>
          <p:cNvPr id="25" name="iconfont-1179-866479">
            <a:extLst>
              <a:ext uri="{FF2B5EF4-FFF2-40B4-BE49-F238E27FC236}">
                <a16:creationId xmlns:a16="http://schemas.microsoft.com/office/drawing/2014/main" id="{7C830E52-626E-4008-BF89-5E9862A9F1BB}"/>
              </a:ext>
            </a:extLst>
          </p:cNvPr>
          <p:cNvSpPr/>
          <p:nvPr/>
        </p:nvSpPr>
        <p:spPr>
          <a:xfrm>
            <a:off x="2540378" y="2610233"/>
            <a:ext cx="357564" cy="423491"/>
          </a:xfrm>
          <a:custGeom>
            <a:avLst/>
            <a:gdLst>
              <a:gd name="T0" fmla="*/ 6573 w 9390"/>
              <a:gd name="T1" fmla="*/ 3437 h 11120"/>
              <a:gd name="T2" fmla="*/ 7967 w 9390"/>
              <a:gd name="T3" fmla="*/ 1730 h 11120"/>
              <a:gd name="T4" fmla="*/ 5311 w 9390"/>
              <a:gd name="T5" fmla="*/ 1140 h 11120"/>
              <a:gd name="T6" fmla="*/ 3129 w 9390"/>
              <a:gd name="T7" fmla="*/ 876 h 11120"/>
              <a:gd name="T8" fmla="*/ 2455 w 9390"/>
              <a:gd name="T9" fmla="*/ 3147 h 11120"/>
              <a:gd name="T10" fmla="*/ 7438 w 9390"/>
              <a:gd name="T11" fmla="*/ 4336 h 11120"/>
              <a:gd name="T12" fmla="*/ 2969 w 9390"/>
              <a:gd name="T13" fmla="*/ 4006 h 11120"/>
              <a:gd name="T14" fmla="*/ 0 w 9390"/>
              <a:gd name="T15" fmla="*/ 8570 h 11120"/>
              <a:gd name="T16" fmla="*/ 6860 w 9390"/>
              <a:gd name="T17" fmla="*/ 11120 h 11120"/>
              <a:gd name="T18" fmla="*/ 7438 w 9390"/>
              <a:gd name="T19" fmla="*/ 4336 h 11120"/>
              <a:gd name="T20" fmla="*/ 5549 w 9390"/>
              <a:gd name="T21" fmla="*/ 7248 h 11120"/>
              <a:gd name="T22" fmla="*/ 5919 w 9390"/>
              <a:gd name="T23" fmla="*/ 7515 h 11120"/>
              <a:gd name="T24" fmla="*/ 6098 w 9390"/>
              <a:gd name="T25" fmla="*/ 7695 h 11120"/>
              <a:gd name="T26" fmla="*/ 5384 w 9390"/>
              <a:gd name="T27" fmla="*/ 7874 h 11120"/>
              <a:gd name="T28" fmla="*/ 5195 w 9390"/>
              <a:gd name="T29" fmla="*/ 8151 h 11120"/>
              <a:gd name="T30" fmla="*/ 5919 w 9390"/>
              <a:gd name="T31" fmla="*/ 8331 h 11120"/>
              <a:gd name="T32" fmla="*/ 5919 w 9390"/>
              <a:gd name="T33" fmla="*/ 8690 h 11120"/>
              <a:gd name="T34" fmla="*/ 5195 w 9390"/>
              <a:gd name="T35" fmla="*/ 8870 h 11120"/>
              <a:gd name="T36" fmla="*/ 5015 w 9390"/>
              <a:gd name="T37" fmla="*/ 9507 h 11120"/>
              <a:gd name="T38" fmla="*/ 4510 w 9390"/>
              <a:gd name="T39" fmla="*/ 9327 h 11120"/>
              <a:gd name="T40" fmla="*/ 4330 w 9390"/>
              <a:gd name="T41" fmla="*/ 8690 h 11120"/>
              <a:gd name="T42" fmla="*/ 3612 w 9390"/>
              <a:gd name="T43" fmla="*/ 8510 h 11120"/>
              <a:gd name="T44" fmla="*/ 4329 w 9390"/>
              <a:gd name="T45" fmla="*/ 8331 h 11120"/>
              <a:gd name="T46" fmla="*/ 4511 w 9390"/>
              <a:gd name="T47" fmla="*/ 8063 h 11120"/>
              <a:gd name="T48" fmla="*/ 3792 w 9390"/>
              <a:gd name="T49" fmla="*/ 7873 h 11120"/>
              <a:gd name="T50" fmla="*/ 3612 w 9390"/>
              <a:gd name="T51" fmla="*/ 7694 h 11120"/>
              <a:gd name="T52" fmla="*/ 3999 w 9390"/>
              <a:gd name="T53" fmla="*/ 7514 h 11120"/>
              <a:gd name="T54" fmla="*/ 3406 w 9390"/>
              <a:gd name="T55" fmla="*/ 5887 h 11120"/>
              <a:gd name="T56" fmla="*/ 3920 w 9390"/>
              <a:gd name="T57" fmla="*/ 5620 h 11120"/>
              <a:gd name="T58" fmla="*/ 4691 w 9390"/>
              <a:gd name="T59" fmla="*/ 6937 h 11120"/>
              <a:gd name="T60" fmla="*/ 5623 w 9390"/>
              <a:gd name="T61" fmla="*/ 5719 h 11120"/>
              <a:gd name="T62" fmla="*/ 6140 w 9390"/>
              <a:gd name="T63" fmla="*/ 5620 h 1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390" h="11120">
                <a:moveTo>
                  <a:pt x="3078" y="3437"/>
                </a:moveTo>
                <a:lnTo>
                  <a:pt x="6573" y="3437"/>
                </a:lnTo>
                <a:cubicBezTo>
                  <a:pt x="6809" y="3437"/>
                  <a:pt x="7036" y="3338"/>
                  <a:pt x="7187" y="3157"/>
                </a:cubicBezTo>
                <a:cubicBezTo>
                  <a:pt x="7548" y="2728"/>
                  <a:pt x="7890" y="2202"/>
                  <a:pt x="7967" y="1730"/>
                </a:cubicBezTo>
                <a:cubicBezTo>
                  <a:pt x="8121" y="786"/>
                  <a:pt x="7717" y="307"/>
                  <a:pt x="6544" y="307"/>
                </a:cubicBezTo>
                <a:cubicBezTo>
                  <a:pt x="5370" y="307"/>
                  <a:pt x="5767" y="1077"/>
                  <a:pt x="5311" y="1140"/>
                </a:cubicBezTo>
                <a:cubicBezTo>
                  <a:pt x="4971" y="1187"/>
                  <a:pt x="4983" y="739"/>
                  <a:pt x="4449" y="308"/>
                </a:cubicBezTo>
                <a:cubicBezTo>
                  <a:pt x="4066" y="0"/>
                  <a:pt x="3636" y="871"/>
                  <a:pt x="3129" y="876"/>
                </a:cubicBezTo>
                <a:cubicBezTo>
                  <a:pt x="2538" y="884"/>
                  <a:pt x="1707" y="720"/>
                  <a:pt x="1707" y="1730"/>
                </a:cubicBezTo>
                <a:cubicBezTo>
                  <a:pt x="1707" y="2138"/>
                  <a:pt x="2065" y="2690"/>
                  <a:pt x="2455" y="3147"/>
                </a:cubicBezTo>
                <a:cubicBezTo>
                  <a:pt x="2612" y="3330"/>
                  <a:pt x="2838" y="3437"/>
                  <a:pt x="3078" y="3437"/>
                </a:cubicBezTo>
                <a:close/>
                <a:moveTo>
                  <a:pt x="7438" y="4336"/>
                </a:moveTo>
                <a:cubicBezTo>
                  <a:pt x="7252" y="4125"/>
                  <a:pt x="6981" y="4006"/>
                  <a:pt x="6699" y="4006"/>
                </a:cubicBezTo>
                <a:lnTo>
                  <a:pt x="2969" y="4006"/>
                </a:lnTo>
                <a:cubicBezTo>
                  <a:pt x="2700" y="4006"/>
                  <a:pt x="2440" y="4115"/>
                  <a:pt x="2253" y="4310"/>
                </a:cubicBezTo>
                <a:cubicBezTo>
                  <a:pt x="1081" y="5538"/>
                  <a:pt x="0" y="7291"/>
                  <a:pt x="0" y="8570"/>
                </a:cubicBezTo>
                <a:cubicBezTo>
                  <a:pt x="0" y="9697"/>
                  <a:pt x="1133" y="11120"/>
                  <a:pt x="2530" y="11120"/>
                </a:cubicBezTo>
                <a:lnTo>
                  <a:pt x="6860" y="11120"/>
                </a:lnTo>
                <a:cubicBezTo>
                  <a:pt x="8257" y="11120"/>
                  <a:pt x="9390" y="9709"/>
                  <a:pt x="9390" y="8570"/>
                </a:cubicBezTo>
                <a:cubicBezTo>
                  <a:pt x="9390" y="7268"/>
                  <a:pt x="8520" y="5564"/>
                  <a:pt x="7438" y="4336"/>
                </a:cubicBezTo>
                <a:close/>
                <a:moveTo>
                  <a:pt x="6299" y="5888"/>
                </a:moveTo>
                <a:lnTo>
                  <a:pt x="5549" y="7248"/>
                </a:lnTo>
                <a:cubicBezTo>
                  <a:pt x="5483" y="7368"/>
                  <a:pt x="5570" y="7515"/>
                  <a:pt x="5706" y="7515"/>
                </a:cubicBezTo>
                <a:lnTo>
                  <a:pt x="5919" y="7515"/>
                </a:lnTo>
                <a:cubicBezTo>
                  <a:pt x="6017" y="7515"/>
                  <a:pt x="6098" y="7595"/>
                  <a:pt x="6098" y="7695"/>
                </a:cubicBezTo>
                <a:lnTo>
                  <a:pt x="6098" y="7695"/>
                </a:lnTo>
                <a:cubicBezTo>
                  <a:pt x="6098" y="7793"/>
                  <a:pt x="6018" y="7874"/>
                  <a:pt x="5919" y="7874"/>
                </a:cubicBezTo>
                <a:lnTo>
                  <a:pt x="5384" y="7874"/>
                </a:lnTo>
                <a:cubicBezTo>
                  <a:pt x="5279" y="7874"/>
                  <a:pt x="5196" y="7958"/>
                  <a:pt x="5195" y="8062"/>
                </a:cubicBezTo>
                <a:lnTo>
                  <a:pt x="5195" y="8151"/>
                </a:lnTo>
                <a:cubicBezTo>
                  <a:pt x="5195" y="8249"/>
                  <a:pt x="5275" y="8331"/>
                  <a:pt x="5375" y="8331"/>
                </a:cubicBezTo>
                <a:lnTo>
                  <a:pt x="5919" y="8331"/>
                </a:lnTo>
                <a:cubicBezTo>
                  <a:pt x="6017" y="8331"/>
                  <a:pt x="6098" y="8411"/>
                  <a:pt x="6098" y="8510"/>
                </a:cubicBezTo>
                <a:cubicBezTo>
                  <a:pt x="6098" y="8610"/>
                  <a:pt x="6018" y="8690"/>
                  <a:pt x="5919" y="8690"/>
                </a:cubicBezTo>
                <a:lnTo>
                  <a:pt x="5375" y="8690"/>
                </a:lnTo>
                <a:cubicBezTo>
                  <a:pt x="5276" y="8690"/>
                  <a:pt x="5195" y="8770"/>
                  <a:pt x="5195" y="8870"/>
                </a:cubicBezTo>
                <a:lnTo>
                  <a:pt x="5195" y="9327"/>
                </a:lnTo>
                <a:cubicBezTo>
                  <a:pt x="5195" y="9426"/>
                  <a:pt x="5115" y="9507"/>
                  <a:pt x="5015" y="9507"/>
                </a:cubicBezTo>
                <a:lnTo>
                  <a:pt x="4690" y="9507"/>
                </a:lnTo>
                <a:cubicBezTo>
                  <a:pt x="4591" y="9507"/>
                  <a:pt x="4510" y="9427"/>
                  <a:pt x="4510" y="9327"/>
                </a:cubicBezTo>
                <a:lnTo>
                  <a:pt x="4510" y="8870"/>
                </a:lnTo>
                <a:cubicBezTo>
                  <a:pt x="4510" y="8771"/>
                  <a:pt x="4430" y="8690"/>
                  <a:pt x="4330" y="8690"/>
                </a:cubicBezTo>
                <a:lnTo>
                  <a:pt x="3792" y="8690"/>
                </a:lnTo>
                <a:cubicBezTo>
                  <a:pt x="3693" y="8690"/>
                  <a:pt x="3612" y="8610"/>
                  <a:pt x="3612" y="8510"/>
                </a:cubicBezTo>
                <a:cubicBezTo>
                  <a:pt x="3612" y="8411"/>
                  <a:pt x="3692" y="8331"/>
                  <a:pt x="3792" y="8331"/>
                </a:cubicBezTo>
                <a:lnTo>
                  <a:pt x="4329" y="8331"/>
                </a:lnTo>
                <a:cubicBezTo>
                  <a:pt x="4429" y="8331"/>
                  <a:pt x="4509" y="8251"/>
                  <a:pt x="4510" y="8151"/>
                </a:cubicBezTo>
                <a:lnTo>
                  <a:pt x="4511" y="8063"/>
                </a:lnTo>
                <a:cubicBezTo>
                  <a:pt x="4512" y="7959"/>
                  <a:pt x="4427" y="7873"/>
                  <a:pt x="4322" y="7873"/>
                </a:cubicBezTo>
                <a:lnTo>
                  <a:pt x="3792" y="7873"/>
                </a:lnTo>
                <a:cubicBezTo>
                  <a:pt x="3693" y="7873"/>
                  <a:pt x="3612" y="7793"/>
                  <a:pt x="3612" y="7694"/>
                </a:cubicBezTo>
                <a:lnTo>
                  <a:pt x="3612" y="7694"/>
                </a:lnTo>
                <a:cubicBezTo>
                  <a:pt x="3612" y="7595"/>
                  <a:pt x="3692" y="7514"/>
                  <a:pt x="3792" y="7514"/>
                </a:cubicBezTo>
                <a:lnTo>
                  <a:pt x="3999" y="7514"/>
                </a:lnTo>
                <a:cubicBezTo>
                  <a:pt x="4136" y="7514"/>
                  <a:pt x="4221" y="7367"/>
                  <a:pt x="4156" y="7247"/>
                </a:cubicBezTo>
                <a:lnTo>
                  <a:pt x="3406" y="5887"/>
                </a:lnTo>
                <a:cubicBezTo>
                  <a:pt x="3340" y="5767"/>
                  <a:pt x="3426" y="5620"/>
                  <a:pt x="3562" y="5620"/>
                </a:cubicBezTo>
                <a:lnTo>
                  <a:pt x="3920" y="5620"/>
                </a:lnTo>
                <a:cubicBezTo>
                  <a:pt x="3988" y="5620"/>
                  <a:pt x="4050" y="5659"/>
                  <a:pt x="4080" y="5719"/>
                </a:cubicBezTo>
                <a:lnTo>
                  <a:pt x="4691" y="6937"/>
                </a:lnTo>
                <a:cubicBezTo>
                  <a:pt x="4756" y="7069"/>
                  <a:pt x="4945" y="7069"/>
                  <a:pt x="5012" y="6937"/>
                </a:cubicBezTo>
                <a:lnTo>
                  <a:pt x="5623" y="5719"/>
                </a:lnTo>
                <a:cubicBezTo>
                  <a:pt x="5653" y="5659"/>
                  <a:pt x="5715" y="5620"/>
                  <a:pt x="5783" y="5620"/>
                </a:cubicBezTo>
                <a:lnTo>
                  <a:pt x="6140" y="5620"/>
                </a:lnTo>
                <a:cubicBezTo>
                  <a:pt x="6278" y="5622"/>
                  <a:pt x="6365" y="5768"/>
                  <a:pt x="6299" y="5888"/>
                </a:cubicBez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09728" tIns="54864" rIns="109728" bIns="54864" rtlCol="0" anchor="ctr"/>
          <a:lstStyle/>
          <a:p>
            <a:pPr algn="ctr"/>
            <a:endParaRPr lang="en-US" sz="2160" dirty="0"/>
          </a:p>
        </p:txBody>
      </p:sp>
      <p:sp>
        <p:nvSpPr>
          <p:cNvPr id="26" name="iconfont-1187-868110">
            <a:extLst>
              <a:ext uri="{FF2B5EF4-FFF2-40B4-BE49-F238E27FC236}">
                <a16:creationId xmlns:a16="http://schemas.microsoft.com/office/drawing/2014/main" id="{035FA8A0-C0A6-465D-8CE7-167ECFF92EBB}"/>
              </a:ext>
            </a:extLst>
          </p:cNvPr>
          <p:cNvSpPr/>
          <p:nvPr/>
        </p:nvSpPr>
        <p:spPr>
          <a:xfrm>
            <a:off x="5859915" y="2701922"/>
            <a:ext cx="338746" cy="326675"/>
          </a:xfrm>
          <a:custGeom>
            <a:avLst/>
            <a:gdLst>
              <a:gd name="T0" fmla="*/ 11888 w 12803"/>
              <a:gd name="T1" fmla="*/ 0 h 12345"/>
              <a:gd name="T2" fmla="*/ 914 w 12803"/>
              <a:gd name="T3" fmla="*/ 0 h 12345"/>
              <a:gd name="T4" fmla="*/ 0 w 12803"/>
              <a:gd name="T5" fmla="*/ 914 h 12345"/>
              <a:gd name="T6" fmla="*/ 0 w 12803"/>
              <a:gd name="T7" fmla="*/ 8687 h 12345"/>
              <a:gd name="T8" fmla="*/ 914 w 12803"/>
              <a:gd name="T9" fmla="*/ 9602 h 12345"/>
              <a:gd name="T10" fmla="*/ 3201 w 12803"/>
              <a:gd name="T11" fmla="*/ 9602 h 12345"/>
              <a:gd name="T12" fmla="*/ 3201 w 12803"/>
              <a:gd name="T13" fmla="*/ 12345 h 12345"/>
              <a:gd name="T14" fmla="*/ 8230 w 12803"/>
              <a:gd name="T15" fmla="*/ 9602 h 12345"/>
              <a:gd name="T16" fmla="*/ 11888 w 12803"/>
              <a:gd name="T17" fmla="*/ 9602 h 12345"/>
              <a:gd name="T18" fmla="*/ 12803 w 12803"/>
              <a:gd name="T19" fmla="*/ 8687 h 12345"/>
              <a:gd name="T20" fmla="*/ 12803 w 12803"/>
              <a:gd name="T21" fmla="*/ 914 h 12345"/>
              <a:gd name="T22" fmla="*/ 11888 w 12803"/>
              <a:gd name="T23" fmla="*/ 0 h 12345"/>
              <a:gd name="T24" fmla="*/ 3201 w 12803"/>
              <a:gd name="T25" fmla="*/ 5487 h 12345"/>
              <a:gd name="T26" fmla="*/ 2286 w 12803"/>
              <a:gd name="T27" fmla="*/ 4572 h 12345"/>
              <a:gd name="T28" fmla="*/ 3201 w 12803"/>
              <a:gd name="T29" fmla="*/ 3658 h 12345"/>
              <a:gd name="T30" fmla="*/ 4115 w 12803"/>
              <a:gd name="T31" fmla="*/ 4572 h 12345"/>
              <a:gd name="T32" fmla="*/ 3201 w 12803"/>
              <a:gd name="T33" fmla="*/ 5487 h 12345"/>
              <a:gd name="T34" fmla="*/ 6401 w 12803"/>
              <a:gd name="T35" fmla="*/ 5487 h 12345"/>
              <a:gd name="T36" fmla="*/ 5487 w 12803"/>
              <a:gd name="T37" fmla="*/ 4572 h 12345"/>
              <a:gd name="T38" fmla="*/ 6401 w 12803"/>
              <a:gd name="T39" fmla="*/ 3658 h 12345"/>
              <a:gd name="T40" fmla="*/ 7316 w 12803"/>
              <a:gd name="T41" fmla="*/ 4572 h 12345"/>
              <a:gd name="T42" fmla="*/ 6401 w 12803"/>
              <a:gd name="T43" fmla="*/ 5487 h 12345"/>
              <a:gd name="T44" fmla="*/ 9602 w 12803"/>
              <a:gd name="T45" fmla="*/ 5487 h 12345"/>
              <a:gd name="T46" fmla="*/ 8687 w 12803"/>
              <a:gd name="T47" fmla="*/ 4572 h 12345"/>
              <a:gd name="T48" fmla="*/ 9602 w 12803"/>
              <a:gd name="T49" fmla="*/ 3658 h 12345"/>
              <a:gd name="T50" fmla="*/ 10516 w 12803"/>
              <a:gd name="T51" fmla="*/ 4572 h 12345"/>
              <a:gd name="T52" fmla="*/ 9602 w 12803"/>
              <a:gd name="T53" fmla="*/ 5487 h 12345"/>
              <a:gd name="T54" fmla="*/ 9602 w 12803"/>
              <a:gd name="T55" fmla="*/ 5487 h 123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2803" h="12345">
                <a:moveTo>
                  <a:pt x="11888" y="0"/>
                </a:moveTo>
                <a:lnTo>
                  <a:pt x="914" y="0"/>
                </a:lnTo>
                <a:cubicBezTo>
                  <a:pt x="409" y="0"/>
                  <a:pt x="0" y="409"/>
                  <a:pt x="0" y="914"/>
                </a:cubicBezTo>
                <a:lnTo>
                  <a:pt x="0" y="8687"/>
                </a:lnTo>
                <a:cubicBezTo>
                  <a:pt x="0" y="9193"/>
                  <a:pt x="409" y="9602"/>
                  <a:pt x="914" y="9602"/>
                </a:cubicBezTo>
                <a:lnTo>
                  <a:pt x="3201" y="9602"/>
                </a:lnTo>
                <a:lnTo>
                  <a:pt x="3201" y="12345"/>
                </a:lnTo>
                <a:lnTo>
                  <a:pt x="8230" y="9602"/>
                </a:lnTo>
                <a:lnTo>
                  <a:pt x="11888" y="9602"/>
                </a:lnTo>
                <a:cubicBezTo>
                  <a:pt x="12393" y="9602"/>
                  <a:pt x="12803" y="9193"/>
                  <a:pt x="12803" y="8687"/>
                </a:cubicBezTo>
                <a:lnTo>
                  <a:pt x="12803" y="914"/>
                </a:lnTo>
                <a:cubicBezTo>
                  <a:pt x="12803" y="409"/>
                  <a:pt x="12393" y="0"/>
                  <a:pt x="11888" y="0"/>
                </a:cubicBezTo>
                <a:close/>
                <a:moveTo>
                  <a:pt x="3201" y="5487"/>
                </a:moveTo>
                <a:cubicBezTo>
                  <a:pt x="2695" y="5487"/>
                  <a:pt x="2286" y="5077"/>
                  <a:pt x="2286" y="4572"/>
                </a:cubicBezTo>
                <a:cubicBezTo>
                  <a:pt x="2286" y="4067"/>
                  <a:pt x="2695" y="3658"/>
                  <a:pt x="3201" y="3658"/>
                </a:cubicBezTo>
                <a:cubicBezTo>
                  <a:pt x="3706" y="3658"/>
                  <a:pt x="4115" y="4067"/>
                  <a:pt x="4115" y="4572"/>
                </a:cubicBezTo>
                <a:cubicBezTo>
                  <a:pt x="4115" y="5077"/>
                  <a:pt x="3706" y="5487"/>
                  <a:pt x="3201" y="5487"/>
                </a:cubicBezTo>
                <a:close/>
                <a:moveTo>
                  <a:pt x="6401" y="5487"/>
                </a:moveTo>
                <a:cubicBezTo>
                  <a:pt x="5896" y="5487"/>
                  <a:pt x="5487" y="5077"/>
                  <a:pt x="5487" y="4572"/>
                </a:cubicBezTo>
                <a:cubicBezTo>
                  <a:pt x="5487" y="4067"/>
                  <a:pt x="5896" y="3658"/>
                  <a:pt x="6401" y="3658"/>
                </a:cubicBezTo>
                <a:cubicBezTo>
                  <a:pt x="6907" y="3658"/>
                  <a:pt x="7316" y="4067"/>
                  <a:pt x="7316" y="4572"/>
                </a:cubicBezTo>
                <a:cubicBezTo>
                  <a:pt x="7316" y="5077"/>
                  <a:pt x="6907" y="5487"/>
                  <a:pt x="6401" y="5487"/>
                </a:cubicBezTo>
                <a:close/>
                <a:moveTo>
                  <a:pt x="9602" y="5487"/>
                </a:moveTo>
                <a:cubicBezTo>
                  <a:pt x="9097" y="5487"/>
                  <a:pt x="8687" y="5077"/>
                  <a:pt x="8687" y="4572"/>
                </a:cubicBezTo>
                <a:cubicBezTo>
                  <a:pt x="8687" y="4067"/>
                  <a:pt x="9097" y="3658"/>
                  <a:pt x="9602" y="3658"/>
                </a:cubicBezTo>
                <a:cubicBezTo>
                  <a:pt x="10107" y="3658"/>
                  <a:pt x="10516" y="4067"/>
                  <a:pt x="10516" y="4572"/>
                </a:cubicBezTo>
                <a:cubicBezTo>
                  <a:pt x="10516" y="5077"/>
                  <a:pt x="10107" y="5487"/>
                  <a:pt x="9602" y="5487"/>
                </a:cubicBezTo>
                <a:close/>
                <a:moveTo>
                  <a:pt x="9602" y="5487"/>
                </a:move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09728" tIns="54864" rIns="109728" bIns="54864" rtlCol="0" anchor="ctr"/>
          <a:lstStyle/>
          <a:p>
            <a:pPr algn="ctr"/>
            <a:endParaRPr lang="en-US" sz="2160" dirty="0"/>
          </a:p>
        </p:txBody>
      </p:sp>
      <p:sp>
        <p:nvSpPr>
          <p:cNvPr id="27" name="iconfont-1186-646597">
            <a:extLst>
              <a:ext uri="{FF2B5EF4-FFF2-40B4-BE49-F238E27FC236}">
                <a16:creationId xmlns:a16="http://schemas.microsoft.com/office/drawing/2014/main" id="{C172C4ED-95D8-464B-94BB-80A51851FA2B}"/>
              </a:ext>
            </a:extLst>
          </p:cNvPr>
          <p:cNvSpPr/>
          <p:nvPr/>
        </p:nvSpPr>
        <p:spPr>
          <a:xfrm>
            <a:off x="9203427" y="2688205"/>
            <a:ext cx="271974" cy="317788"/>
          </a:xfrm>
          <a:custGeom>
            <a:avLst/>
            <a:gdLst>
              <a:gd name="T0" fmla="*/ 8209 w 10908"/>
              <a:gd name="T1" fmla="*/ 2143 h 12744"/>
              <a:gd name="T2" fmla="*/ 8209 w 10908"/>
              <a:gd name="T3" fmla="*/ 1057 h 12744"/>
              <a:gd name="T4" fmla="*/ 7124 w 10908"/>
              <a:gd name="T5" fmla="*/ 0 h 12744"/>
              <a:gd name="T6" fmla="*/ 3840 w 10908"/>
              <a:gd name="T7" fmla="*/ 0 h 12744"/>
              <a:gd name="T8" fmla="*/ 2755 w 10908"/>
              <a:gd name="T9" fmla="*/ 1057 h 12744"/>
              <a:gd name="T10" fmla="*/ 2755 w 10908"/>
              <a:gd name="T11" fmla="*/ 2115 h 12744"/>
              <a:gd name="T12" fmla="*/ 0 w 10908"/>
              <a:gd name="T13" fmla="*/ 2115 h 12744"/>
              <a:gd name="T14" fmla="*/ 0 w 10908"/>
              <a:gd name="T15" fmla="*/ 3172 h 12744"/>
              <a:gd name="T16" fmla="*/ 1085 w 10908"/>
              <a:gd name="T17" fmla="*/ 3172 h 12744"/>
              <a:gd name="T18" fmla="*/ 1085 w 10908"/>
              <a:gd name="T19" fmla="*/ 11687 h 12744"/>
              <a:gd name="T20" fmla="*/ 2171 w 10908"/>
              <a:gd name="T21" fmla="*/ 12744 h 12744"/>
              <a:gd name="T22" fmla="*/ 8738 w 10908"/>
              <a:gd name="T23" fmla="*/ 12744 h 12744"/>
              <a:gd name="T24" fmla="*/ 9823 w 10908"/>
              <a:gd name="T25" fmla="*/ 11687 h 12744"/>
              <a:gd name="T26" fmla="*/ 9823 w 10908"/>
              <a:gd name="T27" fmla="*/ 3200 h 12744"/>
              <a:gd name="T28" fmla="*/ 10908 w 10908"/>
              <a:gd name="T29" fmla="*/ 3200 h 12744"/>
              <a:gd name="T30" fmla="*/ 10908 w 10908"/>
              <a:gd name="T31" fmla="*/ 2143 h 12744"/>
              <a:gd name="T32" fmla="*/ 8209 w 10908"/>
              <a:gd name="T33" fmla="*/ 2143 h 12744"/>
              <a:gd name="T34" fmla="*/ 4870 w 10908"/>
              <a:gd name="T35" fmla="*/ 10963 h 12744"/>
              <a:gd name="T36" fmla="*/ 3645 w 10908"/>
              <a:gd name="T37" fmla="*/ 10963 h 12744"/>
              <a:gd name="T38" fmla="*/ 3645 w 10908"/>
              <a:gd name="T39" fmla="*/ 4257 h 12744"/>
              <a:gd name="T40" fmla="*/ 4870 w 10908"/>
              <a:gd name="T41" fmla="*/ 4257 h 12744"/>
              <a:gd name="T42" fmla="*/ 4870 w 10908"/>
              <a:gd name="T43" fmla="*/ 10963 h 12744"/>
              <a:gd name="T44" fmla="*/ 7319 w 10908"/>
              <a:gd name="T45" fmla="*/ 10963 h 12744"/>
              <a:gd name="T46" fmla="*/ 6094 w 10908"/>
              <a:gd name="T47" fmla="*/ 10963 h 12744"/>
              <a:gd name="T48" fmla="*/ 6094 w 10908"/>
              <a:gd name="T49" fmla="*/ 4257 h 12744"/>
              <a:gd name="T50" fmla="*/ 7319 w 10908"/>
              <a:gd name="T51" fmla="*/ 4257 h 12744"/>
              <a:gd name="T52" fmla="*/ 7319 w 10908"/>
              <a:gd name="T53" fmla="*/ 10963 h 127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0908" h="12744">
                <a:moveTo>
                  <a:pt x="8209" y="2143"/>
                </a:moveTo>
                <a:lnTo>
                  <a:pt x="8209" y="1057"/>
                </a:lnTo>
                <a:cubicBezTo>
                  <a:pt x="8209" y="473"/>
                  <a:pt x="7708" y="0"/>
                  <a:pt x="7124" y="0"/>
                </a:cubicBezTo>
                <a:lnTo>
                  <a:pt x="3840" y="0"/>
                </a:lnTo>
                <a:cubicBezTo>
                  <a:pt x="3228" y="0"/>
                  <a:pt x="2755" y="473"/>
                  <a:pt x="2755" y="1057"/>
                </a:cubicBezTo>
                <a:lnTo>
                  <a:pt x="2755" y="2115"/>
                </a:lnTo>
                <a:lnTo>
                  <a:pt x="0" y="2115"/>
                </a:lnTo>
                <a:lnTo>
                  <a:pt x="0" y="3172"/>
                </a:lnTo>
                <a:lnTo>
                  <a:pt x="1085" y="3172"/>
                </a:lnTo>
                <a:lnTo>
                  <a:pt x="1085" y="11687"/>
                </a:lnTo>
                <a:cubicBezTo>
                  <a:pt x="1085" y="12271"/>
                  <a:pt x="1586" y="12744"/>
                  <a:pt x="2171" y="12744"/>
                </a:cubicBezTo>
                <a:lnTo>
                  <a:pt x="8738" y="12744"/>
                </a:lnTo>
                <a:cubicBezTo>
                  <a:pt x="9350" y="12744"/>
                  <a:pt x="9823" y="12271"/>
                  <a:pt x="9823" y="11687"/>
                </a:cubicBezTo>
                <a:lnTo>
                  <a:pt x="9823" y="3200"/>
                </a:lnTo>
                <a:lnTo>
                  <a:pt x="10908" y="3200"/>
                </a:lnTo>
                <a:lnTo>
                  <a:pt x="10908" y="2143"/>
                </a:lnTo>
                <a:lnTo>
                  <a:pt x="8209" y="2143"/>
                </a:lnTo>
                <a:close/>
                <a:moveTo>
                  <a:pt x="4870" y="10963"/>
                </a:moveTo>
                <a:lnTo>
                  <a:pt x="3645" y="10963"/>
                </a:lnTo>
                <a:lnTo>
                  <a:pt x="3645" y="4257"/>
                </a:lnTo>
                <a:lnTo>
                  <a:pt x="4870" y="4257"/>
                </a:lnTo>
                <a:lnTo>
                  <a:pt x="4870" y="10963"/>
                </a:lnTo>
                <a:close/>
                <a:moveTo>
                  <a:pt x="7319" y="10963"/>
                </a:moveTo>
                <a:lnTo>
                  <a:pt x="6094" y="10963"/>
                </a:lnTo>
                <a:lnTo>
                  <a:pt x="6094" y="4257"/>
                </a:lnTo>
                <a:lnTo>
                  <a:pt x="7319" y="4257"/>
                </a:lnTo>
                <a:lnTo>
                  <a:pt x="7319" y="10963"/>
                </a:ln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09728" tIns="54864" rIns="109728" bIns="54864" rtlCol="0" anchor="ctr"/>
          <a:lstStyle/>
          <a:p>
            <a:pPr algn="ctr"/>
            <a:endParaRPr lang="en-US" sz="2160" dirty="0"/>
          </a:p>
        </p:txBody>
      </p:sp>
    </p:spTree>
    <p:extLst>
      <p:ext uri="{BB962C8B-B14F-4D97-AF65-F5344CB8AC3E}">
        <p14:creationId xmlns:p14="http://schemas.microsoft.com/office/powerpoint/2010/main" val="2829426257"/>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2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弧形 2">
            <a:extLst>
              <a:ext uri="{FF2B5EF4-FFF2-40B4-BE49-F238E27FC236}">
                <a16:creationId xmlns:a16="http://schemas.microsoft.com/office/drawing/2014/main" id="{C7541DF6-2597-4844-ABC0-73DF7236B78C}"/>
              </a:ext>
            </a:extLst>
          </p:cNvPr>
          <p:cNvSpPr/>
          <p:nvPr/>
        </p:nvSpPr>
        <p:spPr>
          <a:xfrm>
            <a:off x="1368508" y="2130223"/>
            <a:ext cx="2597556" cy="2597554"/>
          </a:xfrm>
          <a:prstGeom prst="arc">
            <a:avLst>
              <a:gd name="adj1" fmla="val 14886971"/>
              <a:gd name="adj2" fmla="val 11840808"/>
            </a:avLst>
          </a:prstGeom>
          <a:noFill/>
          <a:ln w="63500" cap="rnd" cmpd="sng" algn="ctr">
            <a:solidFill>
              <a:schemeClr val="accent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 name="椭圆 3">
            <a:extLst>
              <a:ext uri="{FF2B5EF4-FFF2-40B4-BE49-F238E27FC236}">
                <a16:creationId xmlns:a16="http://schemas.microsoft.com/office/drawing/2014/main" id="{A9C1F7BF-7FF3-4702-9C97-66E2F491730C}"/>
              </a:ext>
            </a:extLst>
          </p:cNvPr>
          <p:cNvSpPr/>
          <p:nvPr/>
        </p:nvSpPr>
        <p:spPr>
          <a:xfrm>
            <a:off x="1351024" y="2183008"/>
            <a:ext cx="804684" cy="80468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5" name="文本框 4">
            <a:extLst>
              <a:ext uri="{FF2B5EF4-FFF2-40B4-BE49-F238E27FC236}">
                <a16:creationId xmlns:a16="http://schemas.microsoft.com/office/drawing/2014/main" id="{D90096C1-2FAF-4E94-9A55-BDE37BCC5939}"/>
              </a:ext>
            </a:extLst>
          </p:cNvPr>
          <p:cNvSpPr txBox="1"/>
          <p:nvPr/>
        </p:nvSpPr>
        <p:spPr>
          <a:xfrm>
            <a:off x="1974789" y="3025776"/>
            <a:ext cx="1384994" cy="332399"/>
          </a:xfrm>
          <a:prstGeom prst="rect">
            <a:avLst/>
          </a:prstGeom>
          <a:noFill/>
          <a:effectLst/>
        </p:spPr>
        <p:txBody>
          <a:bodyPr wrap="none" lIns="0" tIns="0" rIns="0" bIns="0" rtlCol="0" anchor="t">
            <a:spAutoFit/>
          </a:bodyPr>
          <a:lstStyle/>
          <a:p>
            <a:r>
              <a:rPr lang="zh-CN" altLang="en-US" sz="2160" dirty="0">
                <a:solidFill>
                  <a:schemeClr val="accent1"/>
                </a:solidFill>
                <a:latin typeface="+mj-ea"/>
                <a:ea typeface="+mj-ea"/>
              </a:rPr>
              <a:t>关键词标题</a:t>
            </a:r>
          </a:p>
        </p:txBody>
      </p:sp>
      <p:sp>
        <p:nvSpPr>
          <p:cNvPr id="6" name="文本框 5">
            <a:extLst>
              <a:ext uri="{FF2B5EF4-FFF2-40B4-BE49-F238E27FC236}">
                <a16:creationId xmlns:a16="http://schemas.microsoft.com/office/drawing/2014/main" id="{AD58135F-B354-47DF-BFB3-E23D4DB4C62E}"/>
              </a:ext>
            </a:extLst>
          </p:cNvPr>
          <p:cNvSpPr txBox="1"/>
          <p:nvPr/>
        </p:nvSpPr>
        <p:spPr>
          <a:xfrm>
            <a:off x="1859148" y="3429000"/>
            <a:ext cx="1616276" cy="944939"/>
          </a:xfrm>
          <a:prstGeom prst="rect">
            <a:avLst/>
          </a:prstGeom>
          <a:noFill/>
          <a:effectLst/>
        </p:spPr>
        <p:txBody>
          <a:bodyPr wrap="square" lIns="0" tIns="0" rIns="0" bIns="0" rtlCol="0" anchor="t">
            <a:spAutoFit/>
          </a:bodyPr>
          <a:lstStyle/>
          <a:p>
            <a:pPr algn="ctr">
              <a:lnSpc>
                <a:spcPct val="130000"/>
              </a:lnSpc>
            </a:pPr>
            <a:r>
              <a:rPr lang="en-US" altLang="zh-CN" sz="1200" b="0" dirty="0">
                <a:solidFill>
                  <a:schemeClr val="tx1">
                    <a:lumMod val="75000"/>
                    <a:lumOff val="25000"/>
                  </a:schemeClr>
                </a:solidFill>
                <a:effectLst/>
                <a:latin typeface="+mn-ea"/>
              </a:rPr>
              <a:t>Lorem ipsum dolor sit ametconsectetur adipisicing elit</a:t>
            </a:r>
            <a:r>
              <a:rPr lang="en-US" altLang="zh-CN" sz="1200" dirty="0">
                <a:solidFill>
                  <a:schemeClr val="tx1">
                    <a:lumMod val="75000"/>
                    <a:lumOff val="25000"/>
                  </a:schemeClr>
                </a:solidFill>
                <a:latin typeface="+mn-ea"/>
              </a:rPr>
              <a:t> </a:t>
            </a:r>
            <a:r>
              <a:rPr lang="en-US" altLang="zh-CN" sz="1200" b="0" dirty="0">
                <a:solidFill>
                  <a:schemeClr val="tx1">
                    <a:lumMod val="75000"/>
                    <a:lumOff val="25000"/>
                  </a:schemeClr>
                </a:solidFill>
                <a:effectLst/>
                <a:latin typeface="+mn-ea"/>
              </a:rPr>
              <a:t>sed do eiusmod tempor</a:t>
            </a:r>
            <a:endParaRPr lang="zh-CN" altLang="en-US" sz="1200" b="0" dirty="0">
              <a:solidFill>
                <a:schemeClr val="tx1">
                  <a:lumMod val="75000"/>
                  <a:lumOff val="25000"/>
                </a:schemeClr>
              </a:solidFill>
              <a:effectLst/>
              <a:latin typeface="+mn-ea"/>
            </a:endParaRPr>
          </a:p>
        </p:txBody>
      </p:sp>
      <p:sp>
        <p:nvSpPr>
          <p:cNvPr id="8" name="弧形 7">
            <a:extLst>
              <a:ext uri="{FF2B5EF4-FFF2-40B4-BE49-F238E27FC236}">
                <a16:creationId xmlns:a16="http://schemas.microsoft.com/office/drawing/2014/main" id="{1214C152-1CAF-42CC-BBF1-BA75B81F6295}"/>
              </a:ext>
            </a:extLst>
          </p:cNvPr>
          <p:cNvSpPr/>
          <p:nvPr/>
        </p:nvSpPr>
        <p:spPr>
          <a:xfrm>
            <a:off x="1175078" y="1936793"/>
            <a:ext cx="2984416" cy="2984414"/>
          </a:xfrm>
          <a:prstGeom prst="arc">
            <a:avLst>
              <a:gd name="adj1" fmla="val 21595114"/>
              <a:gd name="adj2" fmla="val 5488631"/>
            </a:avLst>
          </a:prstGeom>
          <a:noFill/>
          <a:ln w="25400" cap="flat" cmpd="sng" algn="ctr">
            <a:solidFill>
              <a:schemeClr val="accent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10" name="直接箭头连接符 9">
            <a:extLst>
              <a:ext uri="{FF2B5EF4-FFF2-40B4-BE49-F238E27FC236}">
                <a16:creationId xmlns:a16="http://schemas.microsoft.com/office/drawing/2014/main" id="{F668E6C6-7D8B-42DA-8446-F1E511B6E923}"/>
              </a:ext>
            </a:extLst>
          </p:cNvPr>
          <p:cNvCxnSpPr>
            <a:cxnSpLocks/>
          </p:cNvCxnSpPr>
          <p:nvPr/>
        </p:nvCxnSpPr>
        <p:spPr>
          <a:xfrm>
            <a:off x="4163158" y="3438525"/>
            <a:ext cx="526317" cy="0"/>
          </a:xfrm>
          <a:prstGeom prst="straightConnector1">
            <a:avLst/>
          </a:prstGeom>
          <a:ln w="25400">
            <a:tailEnd type="triangle"/>
          </a:ln>
        </p:spPr>
        <p:style>
          <a:lnRef idx="1">
            <a:schemeClr val="accent1"/>
          </a:lnRef>
          <a:fillRef idx="0">
            <a:schemeClr val="accent1"/>
          </a:fillRef>
          <a:effectRef idx="0">
            <a:schemeClr val="accent1"/>
          </a:effectRef>
          <a:fontRef idx="minor">
            <a:schemeClr val="tx1"/>
          </a:fontRef>
        </p:style>
      </p:cxnSp>
      <p:cxnSp>
        <p:nvCxnSpPr>
          <p:cNvPr id="13" name="直接连接符 12">
            <a:extLst>
              <a:ext uri="{FF2B5EF4-FFF2-40B4-BE49-F238E27FC236}">
                <a16:creationId xmlns:a16="http://schemas.microsoft.com/office/drawing/2014/main" id="{EFA6B69D-EBCD-45DE-9D7E-21B68E641D1F}"/>
              </a:ext>
            </a:extLst>
          </p:cNvPr>
          <p:cNvCxnSpPr>
            <a:cxnSpLocks/>
          </p:cNvCxnSpPr>
          <p:nvPr/>
        </p:nvCxnSpPr>
        <p:spPr>
          <a:xfrm>
            <a:off x="2636044" y="4918640"/>
            <a:ext cx="0" cy="265113"/>
          </a:xfrm>
          <a:prstGeom prst="line">
            <a:avLst/>
          </a:prstGeom>
          <a:noFill/>
          <a:ln w="25400" cap="flat" cmpd="sng" algn="ctr">
            <a:solidFill>
              <a:schemeClr val="accent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cxnSp>
      <p:sp>
        <p:nvSpPr>
          <p:cNvPr id="15" name="弧形 14">
            <a:extLst>
              <a:ext uri="{FF2B5EF4-FFF2-40B4-BE49-F238E27FC236}">
                <a16:creationId xmlns:a16="http://schemas.microsoft.com/office/drawing/2014/main" id="{853E786B-9EC1-45F4-B04D-4BA17A93B17A}"/>
              </a:ext>
            </a:extLst>
          </p:cNvPr>
          <p:cNvSpPr/>
          <p:nvPr/>
        </p:nvSpPr>
        <p:spPr>
          <a:xfrm>
            <a:off x="4711783" y="2130223"/>
            <a:ext cx="2597556" cy="2597554"/>
          </a:xfrm>
          <a:prstGeom prst="arc">
            <a:avLst>
              <a:gd name="adj1" fmla="val 14886971"/>
              <a:gd name="adj2" fmla="val 11840808"/>
            </a:avLst>
          </a:prstGeom>
          <a:noFill/>
          <a:ln w="63500" cap="rnd" cmpd="sng" algn="ctr">
            <a:solidFill>
              <a:schemeClr val="accent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6" name="椭圆 15">
            <a:extLst>
              <a:ext uri="{FF2B5EF4-FFF2-40B4-BE49-F238E27FC236}">
                <a16:creationId xmlns:a16="http://schemas.microsoft.com/office/drawing/2014/main" id="{FDB7C2AC-6D3D-4029-98E5-E96B75521177}"/>
              </a:ext>
            </a:extLst>
          </p:cNvPr>
          <p:cNvSpPr/>
          <p:nvPr/>
        </p:nvSpPr>
        <p:spPr>
          <a:xfrm>
            <a:off x="4694299" y="2183008"/>
            <a:ext cx="804684" cy="80468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17" name="文本框 16">
            <a:extLst>
              <a:ext uri="{FF2B5EF4-FFF2-40B4-BE49-F238E27FC236}">
                <a16:creationId xmlns:a16="http://schemas.microsoft.com/office/drawing/2014/main" id="{4CADBD84-2B2C-4118-9F16-333528E46E8E}"/>
              </a:ext>
            </a:extLst>
          </p:cNvPr>
          <p:cNvSpPr txBox="1"/>
          <p:nvPr/>
        </p:nvSpPr>
        <p:spPr>
          <a:xfrm>
            <a:off x="5318064" y="3025776"/>
            <a:ext cx="1384994" cy="332399"/>
          </a:xfrm>
          <a:prstGeom prst="rect">
            <a:avLst/>
          </a:prstGeom>
          <a:noFill/>
          <a:effectLst/>
        </p:spPr>
        <p:txBody>
          <a:bodyPr wrap="none" lIns="0" tIns="0" rIns="0" bIns="0" rtlCol="0" anchor="t">
            <a:spAutoFit/>
          </a:bodyPr>
          <a:lstStyle/>
          <a:p>
            <a:r>
              <a:rPr lang="zh-CN" altLang="en-US" sz="2160" dirty="0">
                <a:solidFill>
                  <a:schemeClr val="accent1"/>
                </a:solidFill>
                <a:latin typeface="+mj-ea"/>
                <a:ea typeface="+mj-ea"/>
              </a:rPr>
              <a:t>关键词标题</a:t>
            </a:r>
          </a:p>
        </p:txBody>
      </p:sp>
      <p:sp>
        <p:nvSpPr>
          <p:cNvPr id="18" name="文本框 17">
            <a:extLst>
              <a:ext uri="{FF2B5EF4-FFF2-40B4-BE49-F238E27FC236}">
                <a16:creationId xmlns:a16="http://schemas.microsoft.com/office/drawing/2014/main" id="{E9856037-2DE7-4AE7-96CD-D86E69D0975D}"/>
              </a:ext>
            </a:extLst>
          </p:cNvPr>
          <p:cNvSpPr txBox="1"/>
          <p:nvPr/>
        </p:nvSpPr>
        <p:spPr>
          <a:xfrm>
            <a:off x="5202423" y="3429000"/>
            <a:ext cx="1616276" cy="944939"/>
          </a:xfrm>
          <a:prstGeom prst="rect">
            <a:avLst/>
          </a:prstGeom>
          <a:noFill/>
          <a:effectLst/>
        </p:spPr>
        <p:txBody>
          <a:bodyPr wrap="square" lIns="0" tIns="0" rIns="0" bIns="0" rtlCol="0" anchor="t">
            <a:spAutoFit/>
          </a:bodyPr>
          <a:lstStyle/>
          <a:p>
            <a:pPr algn="ctr">
              <a:lnSpc>
                <a:spcPct val="130000"/>
              </a:lnSpc>
            </a:pPr>
            <a:r>
              <a:rPr lang="en-US" altLang="zh-CN" sz="1200" b="0" dirty="0">
                <a:solidFill>
                  <a:schemeClr val="tx1">
                    <a:lumMod val="75000"/>
                    <a:lumOff val="25000"/>
                  </a:schemeClr>
                </a:solidFill>
                <a:effectLst/>
                <a:latin typeface="+mn-ea"/>
              </a:rPr>
              <a:t>Lorem ipsum dolor sit ametconsectetur adipisicing elit</a:t>
            </a:r>
            <a:r>
              <a:rPr lang="en-US" altLang="zh-CN" sz="1200" dirty="0">
                <a:solidFill>
                  <a:schemeClr val="tx1">
                    <a:lumMod val="75000"/>
                    <a:lumOff val="25000"/>
                  </a:schemeClr>
                </a:solidFill>
                <a:latin typeface="+mn-ea"/>
              </a:rPr>
              <a:t> </a:t>
            </a:r>
            <a:r>
              <a:rPr lang="en-US" altLang="zh-CN" sz="1200" b="0" dirty="0">
                <a:solidFill>
                  <a:schemeClr val="tx1">
                    <a:lumMod val="75000"/>
                    <a:lumOff val="25000"/>
                  </a:schemeClr>
                </a:solidFill>
                <a:effectLst/>
                <a:latin typeface="+mn-ea"/>
              </a:rPr>
              <a:t>sed do eiusmod tempor</a:t>
            </a:r>
            <a:endParaRPr lang="zh-CN" altLang="en-US" sz="1200" b="0" dirty="0">
              <a:solidFill>
                <a:schemeClr val="tx1">
                  <a:lumMod val="75000"/>
                  <a:lumOff val="25000"/>
                </a:schemeClr>
              </a:solidFill>
              <a:effectLst/>
              <a:latin typeface="+mn-ea"/>
            </a:endParaRPr>
          </a:p>
        </p:txBody>
      </p:sp>
      <p:sp>
        <p:nvSpPr>
          <p:cNvPr id="19" name="弧形 18">
            <a:extLst>
              <a:ext uri="{FF2B5EF4-FFF2-40B4-BE49-F238E27FC236}">
                <a16:creationId xmlns:a16="http://schemas.microsoft.com/office/drawing/2014/main" id="{6BB2C18A-743A-466E-82F9-6560571713C4}"/>
              </a:ext>
            </a:extLst>
          </p:cNvPr>
          <p:cNvSpPr/>
          <p:nvPr/>
        </p:nvSpPr>
        <p:spPr>
          <a:xfrm>
            <a:off x="4518353" y="1936793"/>
            <a:ext cx="2984416" cy="2984414"/>
          </a:xfrm>
          <a:prstGeom prst="arc">
            <a:avLst>
              <a:gd name="adj1" fmla="val 21595114"/>
              <a:gd name="adj2" fmla="val 5488631"/>
            </a:avLst>
          </a:prstGeom>
          <a:noFill/>
          <a:ln w="25400" cap="flat" cmpd="sng" algn="ctr">
            <a:solidFill>
              <a:schemeClr val="accent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20" name="直接箭头连接符 19">
            <a:extLst>
              <a:ext uri="{FF2B5EF4-FFF2-40B4-BE49-F238E27FC236}">
                <a16:creationId xmlns:a16="http://schemas.microsoft.com/office/drawing/2014/main" id="{F77707E5-F47A-4608-9E02-58E5881502A1}"/>
              </a:ext>
            </a:extLst>
          </p:cNvPr>
          <p:cNvCxnSpPr>
            <a:cxnSpLocks/>
          </p:cNvCxnSpPr>
          <p:nvPr/>
        </p:nvCxnSpPr>
        <p:spPr>
          <a:xfrm>
            <a:off x="7506433" y="3438525"/>
            <a:ext cx="526317" cy="0"/>
          </a:xfrm>
          <a:prstGeom prst="straightConnector1">
            <a:avLst/>
          </a:prstGeom>
          <a:ln w="25400">
            <a:tailEnd type="triangle"/>
          </a:ln>
        </p:spPr>
        <p:style>
          <a:lnRef idx="1">
            <a:schemeClr val="accent1"/>
          </a:lnRef>
          <a:fillRef idx="0">
            <a:schemeClr val="accent1"/>
          </a:fillRef>
          <a:effectRef idx="0">
            <a:schemeClr val="accent1"/>
          </a:effectRef>
          <a:fontRef idx="minor">
            <a:schemeClr val="tx1"/>
          </a:fontRef>
        </p:style>
      </p:cxnSp>
      <p:cxnSp>
        <p:nvCxnSpPr>
          <p:cNvPr id="21" name="直接连接符 20">
            <a:extLst>
              <a:ext uri="{FF2B5EF4-FFF2-40B4-BE49-F238E27FC236}">
                <a16:creationId xmlns:a16="http://schemas.microsoft.com/office/drawing/2014/main" id="{BCC9FECB-0259-4D3A-A3CD-A38FAFDFAD5D}"/>
              </a:ext>
            </a:extLst>
          </p:cNvPr>
          <p:cNvCxnSpPr>
            <a:cxnSpLocks/>
          </p:cNvCxnSpPr>
          <p:nvPr/>
        </p:nvCxnSpPr>
        <p:spPr>
          <a:xfrm>
            <a:off x="5979319" y="4918640"/>
            <a:ext cx="0" cy="265113"/>
          </a:xfrm>
          <a:prstGeom prst="line">
            <a:avLst/>
          </a:prstGeom>
          <a:noFill/>
          <a:ln w="25400" cap="flat" cmpd="sng" algn="ctr">
            <a:solidFill>
              <a:schemeClr val="accent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cxnSp>
      <p:sp>
        <p:nvSpPr>
          <p:cNvPr id="22" name="弧形 21">
            <a:extLst>
              <a:ext uri="{FF2B5EF4-FFF2-40B4-BE49-F238E27FC236}">
                <a16:creationId xmlns:a16="http://schemas.microsoft.com/office/drawing/2014/main" id="{609266C2-8A8A-40F7-8577-19D87D73E33D}"/>
              </a:ext>
            </a:extLst>
          </p:cNvPr>
          <p:cNvSpPr/>
          <p:nvPr/>
        </p:nvSpPr>
        <p:spPr>
          <a:xfrm>
            <a:off x="8064583" y="2130223"/>
            <a:ext cx="2597556" cy="2597554"/>
          </a:xfrm>
          <a:prstGeom prst="arc">
            <a:avLst>
              <a:gd name="adj1" fmla="val 14886971"/>
              <a:gd name="adj2" fmla="val 11840808"/>
            </a:avLst>
          </a:prstGeom>
          <a:noFill/>
          <a:ln w="63500" cap="rnd" cmpd="sng" algn="ctr">
            <a:solidFill>
              <a:schemeClr val="accent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3" name="椭圆 22">
            <a:extLst>
              <a:ext uri="{FF2B5EF4-FFF2-40B4-BE49-F238E27FC236}">
                <a16:creationId xmlns:a16="http://schemas.microsoft.com/office/drawing/2014/main" id="{4D0AFF24-3E76-482E-ADF8-C74E32693BA7}"/>
              </a:ext>
            </a:extLst>
          </p:cNvPr>
          <p:cNvSpPr/>
          <p:nvPr/>
        </p:nvSpPr>
        <p:spPr>
          <a:xfrm>
            <a:off x="8047099" y="2183008"/>
            <a:ext cx="804684" cy="80468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24" name="文本框 23">
            <a:extLst>
              <a:ext uri="{FF2B5EF4-FFF2-40B4-BE49-F238E27FC236}">
                <a16:creationId xmlns:a16="http://schemas.microsoft.com/office/drawing/2014/main" id="{52D74369-8077-4C4B-94F7-93645DE4B231}"/>
              </a:ext>
            </a:extLst>
          </p:cNvPr>
          <p:cNvSpPr txBox="1"/>
          <p:nvPr/>
        </p:nvSpPr>
        <p:spPr>
          <a:xfrm>
            <a:off x="8670864" y="3025776"/>
            <a:ext cx="1384994" cy="332399"/>
          </a:xfrm>
          <a:prstGeom prst="rect">
            <a:avLst/>
          </a:prstGeom>
          <a:noFill/>
          <a:effectLst/>
        </p:spPr>
        <p:txBody>
          <a:bodyPr wrap="none" lIns="0" tIns="0" rIns="0" bIns="0" rtlCol="0" anchor="t">
            <a:spAutoFit/>
          </a:bodyPr>
          <a:lstStyle/>
          <a:p>
            <a:r>
              <a:rPr lang="zh-CN" altLang="en-US" sz="2160" dirty="0">
                <a:solidFill>
                  <a:schemeClr val="accent1"/>
                </a:solidFill>
                <a:latin typeface="+mj-ea"/>
                <a:ea typeface="+mj-ea"/>
              </a:rPr>
              <a:t>关键词标题</a:t>
            </a:r>
          </a:p>
        </p:txBody>
      </p:sp>
      <p:sp>
        <p:nvSpPr>
          <p:cNvPr id="25" name="文本框 24">
            <a:extLst>
              <a:ext uri="{FF2B5EF4-FFF2-40B4-BE49-F238E27FC236}">
                <a16:creationId xmlns:a16="http://schemas.microsoft.com/office/drawing/2014/main" id="{442F3300-77B9-40B3-B5D0-E910799CE62D}"/>
              </a:ext>
            </a:extLst>
          </p:cNvPr>
          <p:cNvSpPr txBox="1"/>
          <p:nvPr/>
        </p:nvSpPr>
        <p:spPr>
          <a:xfrm>
            <a:off x="8555223" y="3429000"/>
            <a:ext cx="1616276" cy="944939"/>
          </a:xfrm>
          <a:prstGeom prst="rect">
            <a:avLst/>
          </a:prstGeom>
          <a:noFill/>
          <a:effectLst/>
        </p:spPr>
        <p:txBody>
          <a:bodyPr wrap="square" lIns="0" tIns="0" rIns="0" bIns="0" rtlCol="0" anchor="t">
            <a:spAutoFit/>
          </a:bodyPr>
          <a:lstStyle/>
          <a:p>
            <a:pPr algn="ctr">
              <a:lnSpc>
                <a:spcPct val="130000"/>
              </a:lnSpc>
            </a:pPr>
            <a:r>
              <a:rPr lang="en-US" altLang="zh-CN" sz="1200" b="0" dirty="0">
                <a:solidFill>
                  <a:schemeClr val="tx1">
                    <a:lumMod val="75000"/>
                    <a:lumOff val="25000"/>
                  </a:schemeClr>
                </a:solidFill>
                <a:effectLst/>
                <a:latin typeface="+mn-ea"/>
              </a:rPr>
              <a:t>Lorem ipsum dolor sit ametconsectetur adipisicing elit</a:t>
            </a:r>
            <a:r>
              <a:rPr lang="en-US" altLang="zh-CN" sz="1200" dirty="0">
                <a:solidFill>
                  <a:schemeClr val="tx1">
                    <a:lumMod val="75000"/>
                    <a:lumOff val="25000"/>
                  </a:schemeClr>
                </a:solidFill>
                <a:latin typeface="+mn-ea"/>
              </a:rPr>
              <a:t> </a:t>
            </a:r>
            <a:r>
              <a:rPr lang="en-US" altLang="zh-CN" sz="1200" b="0" dirty="0">
                <a:solidFill>
                  <a:schemeClr val="tx1">
                    <a:lumMod val="75000"/>
                    <a:lumOff val="25000"/>
                  </a:schemeClr>
                </a:solidFill>
                <a:effectLst/>
                <a:latin typeface="+mn-ea"/>
              </a:rPr>
              <a:t>sed do eiusmod tempor</a:t>
            </a:r>
            <a:endParaRPr lang="zh-CN" altLang="en-US" sz="1200" b="0" dirty="0">
              <a:solidFill>
                <a:schemeClr val="tx1">
                  <a:lumMod val="75000"/>
                  <a:lumOff val="25000"/>
                </a:schemeClr>
              </a:solidFill>
              <a:effectLst/>
              <a:latin typeface="+mn-ea"/>
            </a:endParaRPr>
          </a:p>
        </p:txBody>
      </p:sp>
      <p:sp>
        <p:nvSpPr>
          <p:cNvPr id="26" name="弧形 25">
            <a:extLst>
              <a:ext uri="{FF2B5EF4-FFF2-40B4-BE49-F238E27FC236}">
                <a16:creationId xmlns:a16="http://schemas.microsoft.com/office/drawing/2014/main" id="{DC0B6062-E60C-4ABF-9B3A-9D44933EF26B}"/>
              </a:ext>
            </a:extLst>
          </p:cNvPr>
          <p:cNvSpPr/>
          <p:nvPr/>
        </p:nvSpPr>
        <p:spPr>
          <a:xfrm>
            <a:off x="7871153" y="1936793"/>
            <a:ext cx="2984416" cy="2984414"/>
          </a:xfrm>
          <a:prstGeom prst="arc">
            <a:avLst>
              <a:gd name="adj1" fmla="val 21595114"/>
              <a:gd name="adj2" fmla="val 5488631"/>
            </a:avLst>
          </a:prstGeom>
          <a:noFill/>
          <a:ln w="25400" cap="flat" cmpd="sng" algn="ctr">
            <a:solidFill>
              <a:schemeClr val="accent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28" name="直接连接符 27">
            <a:extLst>
              <a:ext uri="{FF2B5EF4-FFF2-40B4-BE49-F238E27FC236}">
                <a16:creationId xmlns:a16="http://schemas.microsoft.com/office/drawing/2014/main" id="{AEF6D405-D5BB-4996-B8FC-59BE44030849}"/>
              </a:ext>
            </a:extLst>
          </p:cNvPr>
          <p:cNvCxnSpPr>
            <a:cxnSpLocks/>
          </p:cNvCxnSpPr>
          <p:nvPr/>
        </p:nvCxnSpPr>
        <p:spPr>
          <a:xfrm>
            <a:off x="9332119" y="4918640"/>
            <a:ext cx="0" cy="265113"/>
          </a:xfrm>
          <a:prstGeom prst="line">
            <a:avLst/>
          </a:prstGeom>
          <a:noFill/>
          <a:ln w="25400" cap="flat" cmpd="sng" algn="ctr">
            <a:solidFill>
              <a:schemeClr val="accent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cxnSp>
      <p:sp>
        <p:nvSpPr>
          <p:cNvPr id="29" name="文本框 28">
            <a:extLst>
              <a:ext uri="{FF2B5EF4-FFF2-40B4-BE49-F238E27FC236}">
                <a16:creationId xmlns:a16="http://schemas.microsoft.com/office/drawing/2014/main" id="{7BA4FBA0-9D79-4C1A-ABBB-0890CE65C35F}"/>
              </a:ext>
            </a:extLst>
          </p:cNvPr>
          <p:cNvSpPr txBox="1"/>
          <p:nvPr/>
        </p:nvSpPr>
        <p:spPr>
          <a:xfrm>
            <a:off x="2341091" y="5236116"/>
            <a:ext cx="589905" cy="276999"/>
          </a:xfrm>
          <a:prstGeom prst="rect">
            <a:avLst/>
          </a:prstGeom>
          <a:noFill/>
        </p:spPr>
        <p:txBody>
          <a:bodyPr wrap="none" lIns="0" tIns="0" rIns="0" bIns="0" rtlCol="0" anchor="t">
            <a:spAutoFit/>
          </a:bodyPr>
          <a:lstStyle/>
          <a:p>
            <a:pPr algn="l"/>
            <a:r>
              <a:rPr lang="en-US" altLang="zh-CN" dirty="0"/>
              <a:t>20XX</a:t>
            </a:r>
            <a:endParaRPr lang="zh-CN" altLang="en-US" dirty="0"/>
          </a:p>
        </p:txBody>
      </p:sp>
      <p:sp>
        <p:nvSpPr>
          <p:cNvPr id="30" name="文本框 29">
            <a:extLst>
              <a:ext uri="{FF2B5EF4-FFF2-40B4-BE49-F238E27FC236}">
                <a16:creationId xmlns:a16="http://schemas.microsoft.com/office/drawing/2014/main" id="{D6BB3E6B-B68D-483A-8585-3E714E052AE3}"/>
              </a:ext>
            </a:extLst>
          </p:cNvPr>
          <p:cNvSpPr txBox="1"/>
          <p:nvPr/>
        </p:nvSpPr>
        <p:spPr>
          <a:xfrm>
            <a:off x="5693891" y="5236116"/>
            <a:ext cx="589905" cy="276999"/>
          </a:xfrm>
          <a:prstGeom prst="rect">
            <a:avLst/>
          </a:prstGeom>
          <a:noFill/>
        </p:spPr>
        <p:txBody>
          <a:bodyPr wrap="none" lIns="0" tIns="0" rIns="0" bIns="0" rtlCol="0" anchor="t">
            <a:spAutoFit/>
          </a:bodyPr>
          <a:lstStyle/>
          <a:p>
            <a:pPr algn="l"/>
            <a:r>
              <a:rPr lang="en-US" altLang="zh-CN" dirty="0"/>
              <a:t>20XX</a:t>
            </a:r>
            <a:endParaRPr lang="zh-CN" altLang="en-US" dirty="0"/>
          </a:p>
        </p:txBody>
      </p:sp>
      <p:sp>
        <p:nvSpPr>
          <p:cNvPr id="31" name="文本框 30">
            <a:extLst>
              <a:ext uri="{FF2B5EF4-FFF2-40B4-BE49-F238E27FC236}">
                <a16:creationId xmlns:a16="http://schemas.microsoft.com/office/drawing/2014/main" id="{4BDE529B-DB37-4167-A767-3C253B231CF8}"/>
              </a:ext>
            </a:extLst>
          </p:cNvPr>
          <p:cNvSpPr txBox="1"/>
          <p:nvPr/>
        </p:nvSpPr>
        <p:spPr>
          <a:xfrm>
            <a:off x="9037166" y="5236116"/>
            <a:ext cx="589905" cy="276999"/>
          </a:xfrm>
          <a:prstGeom prst="rect">
            <a:avLst/>
          </a:prstGeom>
          <a:noFill/>
        </p:spPr>
        <p:txBody>
          <a:bodyPr wrap="none" lIns="0" tIns="0" rIns="0" bIns="0" rtlCol="0" anchor="t">
            <a:spAutoFit/>
          </a:bodyPr>
          <a:lstStyle/>
          <a:p>
            <a:pPr algn="l"/>
            <a:r>
              <a:rPr lang="en-US" altLang="zh-CN" dirty="0"/>
              <a:t>20XX</a:t>
            </a:r>
            <a:endParaRPr lang="zh-CN" altLang="en-US" dirty="0"/>
          </a:p>
        </p:txBody>
      </p:sp>
      <p:sp>
        <p:nvSpPr>
          <p:cNvPr id="32" name="iconfont-1179-866479">
            <a:extLst>
              <a:ext uri="{FF2B5EF4-FFF2-40B4-BE49-F238E27FC236}">
                <a16:creationId xmlns:a16="http://schemas.microsoft.com/office/drawing/2014/main" id="{9B68247B-E56D-4C70-AAAA-4CF96CD330D8}"/>
              </a:ext>
            </a:extLst>
          </p:cNvPr>
          <p:cNvSpPr/>
          <p:nvPr/>
        </p:nvSpPr>
        <p:spPr>
          <a:xfrm>
            <a:off x="1574584" y="2373605"/>
            <a:ext cx="357564" cy="423491"/>
          </a:xfrm>
          <a:custGeom>
            <a:avLst/>
            <a:gdLst>
              <a:gd name="T0" fmla="*/ 6573 w 9390"/>
              <a:gd name="T1" fmla="*/ 3437 h 11120"/>
              <a:gd name="T2" fmla="*/ 7967 w 9390"/>
              <a:gd name="T3" fmla="*/ 1730 h 11120"/>
              <a:gd name="T4" fmla="*/ 5311 w 9390"/>
              <a:gd name="T5" fmla="*/ 1140 h 11120"/>
              <a:gd name="T6" fmla="*/ 3129 w 9390"/>
              <a:gd name="T7" fmla="*/ 876 h 11120"/>
              <a:gd name="T8" fmla="*/ 2455 w 9390"/>
              <a:gd name="T9" fmla="*/ 3147 h 11120"/>
              <a:gd name="T10" fmla="*/ 7438 w 9390"/>
              <a:gd name="T11" fmla="*/ 4336 h 11120"/>
              <a:gd name="T12" fmla="*/ 2969 w 9390"/>
              <a:gd name="T13" fmla="*/ 4006 h 11120"/>
              <a:gd name="T14" fmla="*/ 0 w 9390"/>
              <a:gd name="T15" fmla="*/ 8570 h 11120"/>
              <a:gd name="T16" fmla="*/ 6860 w 9390"/>
              <a:gd name="T17" fmla="*/ 11120 h 11120"/>
              <a:gd name="T18" fmla="*/ 7438 w 9390"/>
              <a:gd name="T19" fmla="*/ 4336 h 11120"/>
              <a:gd name="T20" fmla="*/ 5549 w 9390"/>
              <a:gd name="T21" fmla="*/ 7248 h 11120"/>
              <a:gd name="T22" fmla="*/ 5919 w 9390"/>
              <a:gd name="T23" fmla="*/ 7515 h 11120"/>
              <a:gd name="T24" fmla="*/ 6098 w 9390"/>
              <a:gd name="T25" fmla="*/ 7695 h 11120"/>
              <a:gd name="T26" fmla="*/ 5384 w 9390"/>
              <a:gd name="T27" fmla="*/ 7874 h 11120"/>
              <a:gd name="T28" fmla="*/ 5195 w 9390"/>
              <a:gd name="T29" fmla="*/ 8151 h 11120"/>
              <a:gd name="T30" fmla="*/ 5919 w 9390"/>
              <a:gd name="T31" fmla="*/ 8331 h 11120"/>
              <a:gd name="T32" fmla="*/ 5919 w 9390"/>
              <a:gd name="T33" fmla="*/ 8690 h 11120"/>
              <a:gd name="T34" fmla="*/ 5195 w 9390"/>
              <a:gd name="T35" fmla="*/ 8870 h 11120"/>
              <a:gd name="T36" fmla="*/ 5015 w 9390"/>
              <a:gd name="T37" fmla="*/ 9507 h 11120"/>
              <a:gd name="T38" fmla="*/ 4510 w 9390"/>
              <a:gd name="T39" fmla="*/ 9327 h 11120"/>
              <a:gd name="T40" fmla="*/ 4330 w 9390"/>
              <a:gd name="T41" fmla="*/ 8690 h 11120"/>
              <a:gd name="T42" fmla="*/ 3612 w 9390"/>
              <a:gd name="T43" fmla="*/ 8510 h 11120"/>
              <a:gd name="T44" fmla="*/ 4329 w 9390"/>
              <a:gd name="T45" fmla="*/ 8331 h 11120"/>
              <a:gd name="T46" fmla="*/ 4511 w 9390"/>
              <a:gd name="T47" fmla="*/ 8063 h 11120"/>
              <a:gd name="T48" fmla="*/ 3792 w 9390"/>
              <a:gd name="T49" fmla="*/ 7873 h 11120"/>
              <a:gd name="T50" fmla="*/ 3612 w 9390"/>
              <a:gd name="T51" fmla="*/ 7694 h 11120"/>
              <a:gd name="T52" fmla="*/ 3999 w 9390"/>
              <a:gd name="T53" fmla="*/ 7514 h 11120"/>
              <a:gd name="T54" fmla="*/ 3406 w 9390"/>
              <a:gd name="T55" fmla="*/ 5887 h 11120"/>
              <a:gd name="T56" fmla="*/ 3920 w 9390"/>
              <a:gd name="T57" fmla="*/ 5620 h 11120"/>
              <a:gd name="T58" fmla="*/ 4691 w 9390"/>
              <a:gd name="T59" fmla="*/ 6937 h 11120"/>
              <a:gd name="T60" fmla="*/ 5623 w 9390"/>
              <a:gd name="T61" fmla="*/ 5719 h 11120"/>
              <a:gd name="T62" fmla="*/ 6140 w 9390"/>
              <a:gd name="T63" fmla="*/ 5620 h 1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390" h="11120">
                <a:moveTo>
                  <a:pt x="3078" y="3437"/>
                </a:moveTo>
                <a:lnTo>
                  <a:pt x="6573" y="3437"/>
                </a:lnTo>
                <a:cubicBezTo>
                  <a:pt x="6809" y="3437"/>
                  <a:pt x="7036" y="3338"/>
                  <a:pt x="7187" y="3157"/>
                </a:cubicBezTo>
                <a:cubicBezTo>
                  <a:pt x="7548" y="2728"/>
                  <a:pt x="7890" y="2202"/>
                  <a:pt x="7967" y="1730"/>
                </a:cubicBezTo>
                <a:cubicBezTo>
                  <a:pt x="8121" y="786"/>
                  <a:pt x="7717" y="307"/>
                  <a:pt x="6544" y="307"/>
                </a:cubicBezTo>
                <a:cubicBezTo>
                  <a:pt x="5370" y="307"/>
                  <a:pt x="5767" y="1077"/>
                  <a:pt x="5311" y="1140"/>
                </a:cubicBezTo>
                <a:cubicBezTo>
                  <a:pt x="4971" y="1187"/>
                  <a:pt x="4983" y="739"/>
                  <a:pt x="4449" y="308"/>
                </a:cubicBezTo>
                <a:cubicBezTo>
                  <a:pt x="4066" y="0"/>
                  <a:pt x="3636" y="871"/>
                  <a:pt x="3129" y="876"/>
                </a:cubicBezTo>
                <a:cubicBezTo>
                  <a:pt x="2538" y="884"/>
                  <a:pt x="1707" y="720"/>
                  <a:pt x="1707" y="1730"/>
                </a:cubicBezTo>
                <a:cubicBezTo>
                  <a:pt x="1707" y="2138"/>
                  <a:pt x="2065" y="2690"/>
                  <a:pt x="2455" y="3147"/>
                </a:cubicBezTo>
                <a:cubicBezTo>
                  <a:pt x="2612" y="3330"/>
                  <a:pt x="2838" y="3437"/>
                  <a:pt x="3078" y="3437"/>
                </a:cubicBezTo>
                <a:close/>
                <a:moveTo>
                  <a:pt x="7438" y="4336"/>
                </a:moveTo>
                <a:cubicBezTo>
                  <a:pt x="7252" y="4125"/>
                  <a:pt x="6981" y="4006"/>
                  <a:pt x="6699" y="4006"/>
                </a:cubicBezTo>
                <a:lnTo>
                  <a:pt x="2969" y="4006"/>
                </a:lnTo>
                <a:cubicBezTo>
                  <a:pt x="2700" y="4006"/>
                  <a:pt x="2440" y="4115"/>
                  <a:pt x="2253" y="4310"/>
                </a:cubicBezTo>
                <a:cubicBezTo>
                  <a:pt x="1081" y="5538"/>
                  <a:pt x="0" y="7291"/>
                  <a:pt x="0" y="8570"/>
                </a:cubicBezTo>
                <a:cubicBezTo>
                  <a:pt x="0" y="9697"/>
                  <a:pt x="1133" y="11120"/>
                  <a:pt x="2530" y="11120"/>
                </a:cubicBezTo>
                <a:lnTo>
                  <a:pt x="6860" y="11120"/>
                </a:lnTo>
                <a:cubicBezTo>
                  <a:pt x="8257" y="11120"/>
                  <a:pt x="9390" y="9709"/>
                  <a:pt x="9390" y="8570"/>
                </a:cubicBezTo>
                <a:cubicBezTo>
                  <a:pt x="9390" y="7268"/>
                  <a:pt x="8520" y="5564"/>
                  <a:pt x="7438" y="4336"/>
                </a:cubicBezTo>
                <a:close/>
                <a:moveTo>
                  <a:pt x="6299" y="5888"/>
                </a:moveTo>
                <a:lnTo>
                  <a:pt x="5549" y="7248"/>
                </a:lnTo>
                <a:cubicBezTo>
                  <a:pt x="5483" y="7368"/>
                  <a:pt x="5570" y="7515"/>
                  <a:pt x="5706" y="7515"/>
                </a:cubicBezTo>
                <a:lnTo>
                  <a:pt x="5919" y="7515"/>
                </a:lnTo>
                <a:cubicBezTo>
                  <a:pt x="6017" y="7515"/>
                  <a:pt x="6098" y="7595"/>
                  <a:pt x="6098" y="7695"/>
                </a:cubicBezTo>
                <a:lnTo>
                  <a:pt x="6098" y="7695"/>
                </a:lnTo>
                <a:cubicBezTo>
                  <a:pt x="6098" y="7793"/>
                  <a:pt x="6018" y="7874"/>
                  <a:pt x="5919" y="7874"/>
                </a:cubicBezTo>
                <a:lnTo>
                  <a:pt x="5384" y="7874"/>
                </a:lnTo>
                <a:cubicBezTo>
                  <a:pt x="5279" y="7874"/>
                  <a:pt x="5196" y="7958"/>
                  <a:pt x="5195" y="8062"/>
                </a:cubicBezTo>
                <a:lnTo>
                  <a:pt x="5195" y="8151"/>
                </a:lnTo>
                <a:cubicBezTo>
                  <a:pt x="5195" y="8249"/>
                  <a:pt x="5275" y="8331"/>
                  <a:pt x="5375" y="8331"/>
                </a:cubicBezTo>
                <a:lnTo>
                  <a:pt x="5919" y="8331"/>
                </a:lnTo>
                <a:cubicBezTo>
                  <a:pt x="6017" y="8331"/>
                  <a:pt x="6098" y="8411"/>
                  <a:pt x="6098" y="8510"/>
                </a:cubicBezTo>
                <a:cubicBezTo>
                  <a:pt x="6098" y="8610"/>
                  <a:pt x="6018" y="8690"/>
                  <a:pt x="5919" y="8690"/>
                </a:cubicBezTo>
                <a:lnTo>
                  <a:pt x="5375" y="8690"/>
                </a:lnTo>
                <a:cubicBezTo>
                  <a:pt x="5276" y="8690"/>
                  <a:pt x="5195" y="8770"/>
                  <a:pt x="5195" y="8870"/>
                </a:cubicBezTo>
                <a:lnTo>
                  <a:pt x="5195" y="9327"/>
                </a:lnTo>
                <a:cubicBezTo>
                  <a:pt x="5195" y="9426"/>
                  <a:pt x="5115" y="9507"/>
                  <a:pt x="5015" y="9507"/>
                </a:cubicBezTo>
                <a:lnTo>
                  <a:pt x="4690" y="9507"/>
                </a:lnTo>
                <a:cubicBezTo>
                  <a:pt x="4591" y="9507"/>
                  <a:pt x="4510" y="9427"/>
                  <a:pt x="4510" y="9327"/>
                </a:cubicBezTo>
                <a:lnTo>
                  <a:pt x="4510" y="8870"/>
                </a:lnTo>
                <a:cubicBezTo>
                  <a:pt x="4510" y="8771"/>
                  <a:pt x="4430" y="8690"/>
                  <a:pt x="4330" y="8690"/>
                </a:cubicBezTo>
                <a:lnTo>
                  <a:pt x="3792" y="8690"/>
                </a:lnTo>
                <a:cubicBezTo>
                  <a:pt x="3693" y="8690"/>
                  <a:pt x="3612" y="8610"/>
                  <a:pt x="3612" y="8510"/>
                </a:cubicBezTo>
                <a:cubicBezTo>
                  <a:pt x="3612" y="8411"/>
                  <a:pt x="3692" y="8331"/>
                  <a:pt x="3792" y="8331"/>
                </a:cubicBezTo>
                <a:lnTo>
                  <a:pt x="4329" y="8331"/>
                </a:lnTo>
                <a:cubicBezTo>
                  <a:pt x="4429" y="8331"/>
                  <a:pt x="4509" y="8251"/>
                  <a:pt x="4510" y="8151"/>
                </a:cubicBezTo>
                <a:lnTo>
                  <a:pt x="4511" y="8063"/>
                </a:lnTo>
                <a:cubicBezTo>
                  <a:pt x="4512" y="7959"/>
                  <a:pt x="4427" y="7873"/>
                  <a:pt x="4322" y="7873"/>
                </a:cubicBezTo>
                <a:lnTo>
                  <a:pt x="3792" y="7873"/>
                </a:lnTo>
                <a:cubicBezTo>
                  <a:pt x="3693" y="7873"/>
                  <a:pt x="3612" y="7793"/>
                  <a:pt x="3612" y="7694"/>
                </a:cubicBezTo>
                <a:lnTo>
                  <a:pt x="3612" y="7694"/>
                </a:lnTo>
                <a:cubicBezTo>
                  <a:pt x="3612" y="7595"/>
                  <a:pt x="3692" y="7514"/>
                  <a:pt x="3792" y="7514"/>
                </a:cubicBezTo>
                <a:lnTo>
                  <a:pt x="3999" y="7514"/>
                </a:lnTo>
                <a:cubicBezTo>
                  <a:pt x="4136" y="7514"/>
                  <a:pt x="4221" y="7367"/>
                  <a:pt x="4156" y="7247"/>
                </a:cubicBezTo>
                <a:lnTo>
                  <a:pt x="3406" y="5887"/>
                </a:lnTo>
                <a:cubicBezTo>
                  <a:pt x="3340" y="5767"/>
                  <a:pt x="3426" y="5620"/>
                  <a:pt x="3562" y="5620"/>
                </a:cubicBezTo>
                <a:lnTo>
                  <a:pt x="3920" y="5620"/>
                </a:lnTo>
                <a:cubicBezTo>
                  <a:pt x="3988" y="5620"/>
                  <a:pt x="4050" y="5659"/>
                  <a:pt x="4080" y="5719"/>
                </a:cubicBezTo>
                <a:lnTo>
                  <a:pt x="4691" y="6937"/>
                </a:lnTo>
                <a:cubicBezTo>
                  <a:pt x="4756" y="7069"/>
                  <a:pt x="4945" y="7069"/>
                  <a:pt x="5012" y="6937"/>
                </a:cubicBezTo>
                <a:lnTo>
                  <a:pt x="5623" y="5719"/>
                </a:lnTo>
                <a:cubicBezTo>
                  <a:pt x="5653" y="5659"/>
                  <a:pt x="5715" y="5620"/>
                  <a:pt x="5783" y="5620"/>
                </a:cubicBezTo>
                <a:lnTo>
                  <a:pt x="6140" y="5620"/>
                </a:lnTo>
                <a:cubicBezTo>
                  <a:pt x="6278" y="5622"/>
                  <a:pt x="6365" y="5768"/>
                  <a:pt x="6299" y="5888"/>
                </a:cubicBez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09728" tIns="54864" rIns="109728" bIns="54864" rtlCol="0" anchor="ctr"/>
          <a:lstStyle/>
          <a:p>
            <a:pPr algn="ctr"/>
            <a:endParaRPr lang="en-US" sz="2160" dirty="0"/>
          </a:p>
        </p:txBody>
      </p:sp>
      <p:sp>
        <p:nvSpPr>
          <p:cNvPr id="33" name="iconfont-1187-868110">
            <a:extLst>
              <a:ext uri="{FF2B5EF4-FFF2-40B4-BE49-F238E27FC236}">
                <a16:creationId xmlns:a16="http://schemas.microsoft.com/office/drawing/2014/main" id="{DDE901DE-4EB4-402A-9913-3E3B4AF9D8E0}"/>
              </a:ext>
            </a:extLst>
          </p:cNvPr>
          <p:cNvSpPr/>
          <p:nvPr/>
        </p:nvSpPr>
        <p:spPr>
          <a:xfrm>
            <a:off x="4927268" y="2422013"/>
            <a:ext cx="338746" cy="326675"/>
          </a:xfrm>
          <a:custGeom>
            <a:avLst/>
            <a:gdLst>
              <a:gd name="T0" fmla="*/ 11888 w 12803"/>
              <a:gd name="T1" fmla="*/ 0 h 12345"/>
              <a:gd name="T2" fmla="*/ 914 w 12803"/>
              <a:gd name="T3" fmla="*/ 0 h 12345"/>
              <a:gd name="T4" fmla="*/ 0 w 12803"/>
              <a:gd name="T5" fmla="*/ 914 h 12345"/>
              <a:gd name="T6" fmla="*/ 0 w 12803"/>
              <a:gd name="T7" fmla="*/ 8687 h 12345"/>
              <a:gd name="T8" fmla="*/ 914 w 12803"/>
              <a:gd name="T9" fmla="*/ 9602 h 12345"/>
              <a:gd name="T10" fmla="*/ 3201 w 12803"/>
              <a:gd name="T11" fmla="*/ 9602 h 12345"/>
              <a:gd name="T12" fmla="*/ 3201 w 12803"/>
              <a:gd name="T13" fmla="*/ 12345 h 12345"/>
              <a:gd name="T14" fmla="*/ 8230 w 12803"/>
              <a:gd name="T15" fmla="*/ 9602 h 12345"/>
              <a:gd name="T16" fmla="*/ 11888 w 12803"/>
              <a:gd name="T17" fmla="*/ 9602 h 12345"/>
              <a:gd name="T18" fmla="*/ 12803 w 12803"/>
              <a:gd name="T19" fmla="*/ 8687 h 12345"/>
              <a:gd name="T20" fmla="*/ 12803 w 12803"/>
              <a:gd name="T21" fmla="*/ 914 h 12345"/>
              <a:gd name="T22" fmla="*/ 11888 w 12803"/>
              <a:gd name="T23" fmla="*/ 0 h 12345"/>
              <a:gd name="T24" fmla="*/ 3201 w 12803"/>
              <a:gd name="T25" fmla="*/ 5487 h 12345"/>
              <a:gd name="T26" fmla="*/ 2286 w 12803"/>
              <a:gd name="T27" fmla="*/ 4572 h 12345"/>
              <a:gd name="T28" fmla="*/ 3201 w 12803"/>
              <a:gd name="T29" fmla="*/ 3658 h 12345"/>
              <a:gd name="T30" fmla="*/ 4115 w 12803"/>
              <a:gd name="T31" fmla="*/ 4572 h 12345"/>
              <a:gd name="T32" fmla="*/ 3201 w 12803"/>
              <a:gd name="T33" fmla="*/ 5487 h 12345"/>
              <a:gd name="T34" fmla="*/ 6401 w 12803"/>
              <a:gd name="T35" fmla="*/ 5487 h 12345"/>
              <a:gd name="T36" fmla="*/ 5487 w 12803"/>
              <a:gd name="T37" fmla="*/ 4572 h 12345"/>
              <a:gd name="T38" fmla="*/ 6401 w 12803"/>
              <a:gd name="T39" fmla="*/ 3658 h 12345"/>
              <a:gd name="T40" fmla="*/ 7316 w 12803"/>
              <a:gd name="T41" fmla="*/ 4572 h 12345"/>
              <a:gd name="T42" fmla="*/ 6401 w 12803"/>
              <a:gd name="T43" fmla="*/ 5487 h 12345"/>
              <a:gd name="T44" fmla="*/ 9602 w 12803"/>
              <a:gd name="T45" fmla="*/ 5487 h 12345"/>
              <a:gd name="T46" fmla="*/ 8687 w 12803"/>
              <a:gd name="T47" fmla="*/ 4572 h 12345"/>
              <a:gd name="T48" fmla="*/ 9602 w 12803"/>
              <a:gd name="T49" fmla="*/ 3658 h 12345"/>
              <a:gd name="T50" fmla="*/ 10516 w 12803"/>
              <a:gd name="T51" fmla="*/ 4572 h 12345"/>
              <a:gd name="T52" fmla="*/ 9602 w 12803"/>
              <a:gd name="T53" fmla="*/ 5487 h 12345"/>
              <a:gd name="T54" fmla="*/ 9602 w 12803"/>
              <a:gd name="T55" fmla="*/ 5487 h 123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2803" h="12345">
                <a:moveTo>
                  <a:pt x="11888" y="0"/>
                </a:moveTo>
                <a:lnTo>
                  <a:pt x="914" y="0"/>
                </a:lnTo>
                <a:cubicBezTo>
                  <a:pt x="409" y="0"/>
                  <a:pt x="0" y="409"/>
                  <a:pt x="0" y="914"/>
                </a:cubicBezTo>
                <a:lnTo>
                  <a:pt x="0" y="8687"/>
                </a:lnTo>
                <a:cubicBezTo>
                  <a:pt x="0" y="9193"/>
                  <a:pt x="409" y="9602"/>
                  <a:pt x="914" y="9602"/>
                </a:cubicBezTo>
                <a:lnTo>
                  <a:pt x="3201" y="9602"/>
                </a:lnTo>
                <a:lnTo>
                  <a:pt x="3201" y="12345"/>
                </a:lnTo>
                <a:lnTo>
                  <a:pt x="8230" y="9602"/>
                </a:lnTo>
                <a:lnTo>
                  <a:pt x="11888" y="9602"/>
                </a:lnTo>
                <a:cubicBezTo>
                  <a:pt x="12393" y="9602"/>
                  <a:pt x="12803" y="9193"/>
                  <a:pt x="12803" y="8687"/>
                </a:cubicBezTo>
                <a:lnTo>
                  <a:pt x="12803" y="914"/>
                </a:lnTo>
                <a:cubicBezTo>
                  <a:pt x="12803" y="409"/>
                  <a:pt x="12393" y="0"/>
                  <a:pt x="11888" y="0"/>
                </a:cubicBezTo>
                <a:close/>
                <a:moveTo>
                  <a:pt x="3201" y="5487"/>
                </a:moveTo>
                <a:cubicBezTo>
                  <a:pt x="2695" y="5487"/>
                  <a:pt x="2286" y="5077"/>
                  <a:pt x="2286" y="4572"/>
                </a:cubicBezTo>
                <a:cubicBezTo>
                  <a:pt x="2286" y="4067"/>
                  <a:pt x="2695" y="3658"/>
                  <a:pt x="3201" y="3658"/>
                </a:cubicBezTo>
                <a:cubicBezTo>
                  <a:pt x="3706" y="3658"/>
                  <a:pt x="4115" y="4067"/>
                  <a:pt x="4115" y="4572"/>
                </a:cubicBezTo>
                <a:cubicBezTo>
                  <a:pt x="4115" y="5077"/>
                  <a:pt x="3706" y="5487"/>
                  <a:pt x="3201" y="5487"/>
                </a:cubicBezTo>
                <a:close/>
                <a:moveTo>
                  <a:pt x="6401" y="5487"/>
                </a:moveTo>
                <a:cubicBezTo>
                  <a:pt x="5896" y="5487"/>
                  <a:pt x="5487" y="5077"/>
                  <a:pt x="5487" y="4572"/>
                </a:cubicBezTo>
                <a:cubicBezTo>
                  <a:pt x="5487" y="4067"/>
                  <a:pt x="5896" y="3658"/>
                  <a:pt x="6401" y="3658"/>
                </a:cubicBezTo>
                <a:cubicBezTo>
                  <a:pt x="6907" y="3658"/>
                  <a:pt x="7316" y="4067"/>
                  <a:pt x="7316" y="4572"/>
                </a:cubicBezTo>
                <a:cubicBezTo>
                  <a:pt x="7316" y="5077"/>
                  <a:pt x="6907" y="5487"/>
                  <a:pt x="6401" y="5487"/>
                </a:cubicBezTo>
                <a:close/>
                <a:moveTo>
                  <a:pt x="9602" y="5487"/>
                </a:moveTo>
                <a:cubicBezTo>
                  <a:pt x="9097" y="5487"/>
                  <a:pt x="8687" y="5077"/>
                  <a:pt x="8687" y="4572"/>
                </a:cubicBezTo>
                <a:cubicBezTo>
                  <a:pt x="8687" y="4067"/>
                  <a:pt x="9097" y="3658"/>
                  <a:pt x="9602" y="3658"/>
                </a:cubicBezTo>
                <a:cubicBezTo>
                  <a:pt x="10107" y="3658"/>
                  <a:pt x="10516" y="4067"/>
                  <a:pt x="10516" y="4572"/>
                </a:cubicBezTo>
                <a:cubicBezTo>
                  <a:pt x="10516" y="5077"/>
                  <a:pt x="10107" y="5487"/>
                  <a:pt x="9602" y="5487"/>
                </a:cubicBezTo>
                <a:close/>
                <a:moveTo>
                  <a:pt x="9602" y="5487"/>
                </a:move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09728" tIns="54864" rIns="109728" bIns="54864" rtlCol="0" anchor="ctr"/>
          <a:lstStyle/>
          <a:p>
            <a:pPr algn="ctr"/>
            <a:endParaRPr lang="en-US" sz="2160" dirty="0"/>
          </a:p>
        </p:txBody>
      </p:sp>
      <p:sp>
        <p:nvSpPr>
          <p:cNvPr id="34" name="iconfont-1186-646597">
            <a:extLst>
              <a:ext uri="{FF2B5EF4-FFF2-40B4-BE49-F238E27FC236}">
                <a16:creationId xmlns:a16="http://schemas.microsoft.com/office/drawing/2014/main" id="{9937EBB7-F1A7-4E6C-82D0-E74F5C5BF969}"/>
              </a:ext>
            </a:extLst>
          </p:cNvPr>
          <p:cNvSpPr/>
          <p:nvPr/>
        </p:nvSpPr>
        <p:spPr>
          <a:xfrm>
            <a:off x="8313454" y="2426456"/>
            <a:ext cx="271974" cy="317788"/>
          </a:xfrm>
          <a:custGeom>
            <a:avLst/>
            <a:gdLst>
              <a:gd name="T0" fmla="*/ 8209 w 10908"/>
              <a:gd name="T1" fmla="*/ 2143 h 12744"/>
              <a:gd name="T2" fmla="*/ 8209 w 10908"/>
              <a:gd name="T3" fmla="*/ 1057 h 12744"/>
              <a:gd name="T4" fmla="*/ 7124 w 10908"/>
              <a:gd name="T5" fmla="*/ 0 h 12744"/>
              <a:gd name="T6" fmla="*/ 3840 w 10908"/>
              <a:gd name="T7" fmla="*/ 0 h 12744"/>
              <a:gd name="T8" fmla="*/ 2755 w 10908"/>
              <a:gd name="T9" fmla="*/ 1057 h 12744"/>
              <a:gd name="T10" fmla="*/ 2755 w 10908"/>
              <a:gd name="T11" fmla="*/ 2115 h 12744"/>
              <a:gd name="T12" fmla="*/ 0 w 10908"/>
              <a:gd name="T13" fmla="*/ 2115 h 12744"/>
              <a:gd name="T14" fmla="*/ 0 w 10908"/>
              <a:gd name="T15" fmla="*/ 3172 h 12744"/>
              <a:gd name="T16" fmla="*/ 1085 w 10908"/>
              <a:gd name="T17" fmla="*/ 3172 h 12744"/>
              <a:gd name="T18" fmla="*/ 1085 w 10908"/>
              <a:gd name="T19" fmla="*/ 11687 h 12744"/>
              <a:gd name="T20" fmla="*/ 2171 w 10908"/>
              <a:gd name="T21" fmla="*/ 12744 h 12744"/>
              <a:gd name="T22" fmla="*/ 8738 w 10908"/>
              <a:gd name="T23" fmla="*/ 12744 h 12744"/>
              <a:gd name="T24" fmla="*/ 9823 w 10908"/>
              <a:gd name="T25" fmla="*/ 11687 h 12744"/>
              <a:gd name="T26" fmla="*/ 9823 w 10908"/>
              <a:gd name="T27" fmla="*/ 3200 h 12744"/>
              <a:gd name="T28" fmla="*/ 10908 w 10908"/>
              <a:gd name="T29" fmla="*/ 3200 h 12744"/>
              <a:gd name="T30" fmla="*/ 10908 w 10908"/>
              <a:gd name="T31" fmla="*/ 2143 h 12744"/>
              <a:gd name="T32" fmla="*/ 8209 w 10908"/>
              <a:gd name="T33" fmla="*/ 2143 h 12744"/>
              <a:gd name="T34" fmla="*/ 4870 w 10908"/>
              <a:gd name="T35" fmla="*/ 10963 h 12744"/>
              <a:gd name="T36" fmla="*/ 3645 w 10908"/>
              <a:gd name="T37" fmla="*/ 10963 h 12744"/>
              <a:gd name="T38" fmla="*/ 3645 w 10908"/>
              <a:gd name="T39" fmla="*/ 4257 h 12744"/>
              <a:gd name="T40" fmla="*/ 4870 w 10908"/>
              <a:gd name="T41" fmla="*/ 4257 h 12744"/>
              <a:gd name="T42" fmla="*/ 4870 w 10908"/>
              <a:gd name="T43" fmla="*/ 10963 h 12744"/>
              <a:gd name="T44" fmla="*/ 7319 w 10908"/>
              <a:gd name="T45" fmla="*/ 10963 h 12744"/>
              <a:gd name="T46" fmla="*/ 6094 w 10908"/>
              <a:gd name="T47" fmla="*/ 10963 h 12744"/>
              <a:gd name="T48" fmla="*/ 6094 w 10908"/>
              <a:gd name="T49" fmla="*/ 4257 h 12744"/>
              <a:gd name="T50" fmla="*/ 7319 w 10908"/>
              <a:gd name="T51" fmla="*/ 4257 h 12744"/>
              <a:gd name="T52" fmla="*/ 7319 w 10908"/>
              <a:gd name="T53" fmla="*/ 10963 h 127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0908" h="12744">
                <a:moveTo>
                  <a:pt x="8209" y="2143"/>
                </a:moveTo>
                <a:lnTo>
                  <a:pt x="8209" y="1057"/>
                </a:lnTo>
                <a:cubicBezTo>
                  <a:pt x="8209" y="473"/>
                  <a:pt x="7708" y="0"/>
                  <a:pt x="7124" y="0"/>
                </a:cubicBezTo>
                <a:lnTo>
                  <a:pt x="3840" y="0"/>
                </a:lnTo>
                <a:cubicBezTo>
                  <a:pt x="3228" y="0"/>
                  <a:pt x="2755" y="473"/>
                  <a:pt x="2755" y="1057"/>
                </a:cubicBezTo>
                <a:lnTo>
                  <a:pt x="2755" y="2115"/>
                </a:lnTo>
                <a:lnTo>
                  <a:pt x="0" y="2115"/>
                </a:lnTo>
                <a:lnTo>
                  <a:pt x="0" y="3172"/>
                </a:lnTo>
                <a:lnTo>
                  <a:pt x="1085" y="3172"/>
                </a:lnTo>
                <a:lnTo>
                  <a:pt x="1085" y="11687"/>
                </a:lnTo>
                <a:cubicBezTo>
                  <a:pt x="1085" y="12271"/>
                  <a:pt x="1586" y="12744"/>
                  <a:pt x="2171" y="12744"/>
                </a:cubicBezTo>
                <a:lnTo>
                  <a:pt x="8738" y="12744"/>
                </a:lnTo>
                <a:cubicBezTo>
                  <a:pt x="9350" y="12744"/>
                  <a:pt x="9823" y="12271"/>
                  <a:pt x="9823" y="11687"/>
                </a:cubicBezTo>
                <a:lnTo>
                  <a:pt x="9823" y="3200"/>
                </a:lnTo>
                <a:lnTo>
                  <a:pt x="10908" y="3200"/>
                </a:lnTo>
                <a:lnTo>
                  <a:pt x="10908" y="2143"/>
                </a:lnTo>
                <a:lnTo>
                  <a:pt x="8209" y="2143"/>
                </a:lnTo>
                <a:close/>
                <a:moveTo>
                  <a:pt x="4870" y="10963"/>
                </a:moveTo>
                <a:lnTo>
                  <a:pt x="3645" y="10963"/>
                </a:lnTo>
                <a:lnTo>
                  <a:pt x="3645" y="4257"/>
                </a:lnTo>
                <a:lnTo>
                  <a:pt x="4870" y="4257"/>
                </a:lnTo>
                <a:lnTo>
                  <a:pt x="4870" y="10963"/>
                </a:lnTo>
                <a:close/>
                <a:moveTo>
                  <a:pt x="7319" y="10963"/>
                </a:moveTo>
                <a:lnTo>
                  <a:pt x="6094" y="10963"/>
                </a:lnTo>
                <a:lnTo>
                  <a:pt x="6094" y="4257"/>
                </a:lnTo>
                <a:lnTo>
                  <a:pt x="7319" y="4257"/>
                </a:lnTo>
                <a:lnTo>
                  <a:pt x="7319" y="10963"/>
                </a:ln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09728" tIns="54864" rIns="109728" bIns="54864" rtlCol="0" anchor="ctr"/>
          <a:lstStyle/>
          <a:p>
            <a:pPr algn="ctr"/>
            <a:endParaRPr lang="en-US" sz="2160" dirty="0"/>
          </a:p>
        </p:txBody>
      </p:sp>
    </p:spTree>
    <p:extLst>
      <p:ext uri="{BB962C8B-B14F-4D97-AF65-F5344CB8AC3E}">
        <p14:creationId xmlns:p14="http://schemas.microsoft.com/office/powerpoint/2010/main" val="1284751085"/>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2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椭圆 2">
            <a:extLst>
              <a:ext uri="{FF2B5EF4-FFF2-40B4-BE49-F238E27FC236}">
                <a16:creationId xmlns:a16="http://schemas.microsoft.com/office/drawing/2014/main" id="{9618B11B-9F7F-4EAB-9F0E-2E799AC4C883}"/>
              </a:ext>
            </a:extLst>
          </p:cNvPr>
          <p:cNvSpPr/>
          <p:nvPr/>
        </p:nvSpPr>
        <p:spPr>
          <a:xfrm>
            <a:off x="2561053" y="2716823"/>
            <a:ext cx="1581150" cy="1581150"/>
          </a:xfrm>
          <a:prstGeom prst="ellipse">
            <a:avLst/>
          </a:prstGeom>
          <a:gradFill>
            <a:gsLst>
              <a:gs pos="0">
                <a:schemeClr val="accent1"/>
              </a:gs>
              <a:gs pos="100000">
                <a:schemeClr val="accent1">
                  <a:lumMod val="75000"/>
                </a:schemeClr>
              </a:gs>
            </a:gsLst>
            <a:lin ang="2700000" scaled="0"/>
          </a:gradFill>
          <a:ln w="63500" cap="flat" cmpd="sng" algn="ctr">
            <a:solidFill>
              <a:schemeClr val="bg1"/>
            </a:solidFill>
            <a:prstDash val="solid"/>
            <a:miter lim="800000"/>
          </a:ln>
          <a:effectLst>
            <a:outerShdw blurRad="254000" dist="88900" dir="2700000" algn="tl" rotWithShape="0">
              <a:schemeClr val="accent1">
                <a:lumMod val="50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 name="任意多边形: 形状 6">
            <a:extLst>
              <a:ext uri="{FF2B5EF4-FFF2-40B4-BE49-F238E27FC236}">
                <a16:creationId xmlns:a16="http://schemas.microsoft.com/office/drawing/2014/main" id="{090BBBB1-7B25-40DB-9384-B4DD8E06D417}"/>
              </a:ext>
            </a:extLst>
          </p:cNvPr>
          <p:cNvSpPr/>
          <p:nvPr/>
        </p:nvSpPr>
        <p:spPr>
          <a:xfrm>
            <a:off x="2345055" y="3507397"/>
            <a:ext cx="2013146" cy="1006573"/>
          </a:xfrm>
          <a:custGeom>
            <a:avLst/>
            <a:gdLst>
              <a:gd name="connsiteX0" fmla="*/ 2013146 w 2013146"/>
              <a:gd name="connsiteY0" fmla="*/ 0 h 1006573"/>
              <a:gd name="connsiteX1" fmla="*/ 1006573 w 2013146"/>
              <a:gd name="connsiteY1" fmla="*/ 1006573 h 1006573"/>
              <a:gd name="connsiteX2" fmla="*/ 0 w 2013146"/>
              <a:gd name="connsiteY2" fmla="*/ 0 h 1006573"/>
              <a:gd name="connsiteX0" fmla="*/ 2013146 w 2013146"/>
              <a:gd name="connsiteY0" fmla="*/ 0 h 1006573"/>
              <a:gd name="connsiteX1" fmla="*/ 1006573 w 2013146"/>
              <a:gd name="connsiteY1" fmla="*/ 1006573 h 1006573"/>
              <a:gd name="connsiteX2" fmla="*/ 0 w 2013146"/>
              <a:gd name="connsiteY2" fmla="*/ 0 h 1006573"/>
            </a:gdLst>
            <a:ahLst/>
            <a:cxnLst>
              <a:cxn ang="0">
                <a:pos x="connsiteX0" y="connsiteY0"/>
              </a:cxn>
              <a:cxn ang="0">
                <a:pos x="connsiteX1" y="connsiteY1"/>
              </a:cxn>
              <a:cxn ang="0">
                <a:pos x="connsiteX2" y="connsiteY2"/>
              </a:cxn>
            </a:cxnLst>
            <a:rect l="l" t="t" r="r" b="b"/>
            <a:pathLst>
              <a:path w="2013146" h="1006573">
                <a:moveTo>
                  <a:pt x="2013146" y="0"/>
                </a:moveTo>
                <a:cubicBezTo>
                  <a:pt x="2013146" y="555916"/>
                  <a:pt x="1562488" y="1006573"/>
                  <a:pt x="1006573" y="1006573"/>
                </a:cubicBezTo>
                <a:cubicBezTo>
                  <a:pt x="450658" y="1006573"/>
                  <a:pt x="0" y="555915"/>
                  <a:pt x="0" y="0"/>
                </a:cubicBezTo>
              </a:path>
            </a:pathLst>
          </a:custGeom>
          <a:noFill/>
          <a:ln w="95250" cap="rnd" cmpd="sng" algn="ctr">
            <a:solidFill>
              <a:schemeClr val="accent1"/>
            </a:solidFill>
            <a:prstDash val="solid"/>
            <a:miter lim="800000"/>
          </a:ln>
          <a:effectLst>
            <a:outerShdw blurRad="254000" dist="88900" dir="2700000" algn="tl" rotWithShape="0">
              <a:schemeClr val="accent1">
                <a:lumMod val="50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8" name="椭圆 7">
            <a:extLst>
              <a:ext uri="{FF2B5EF4-FFF2-40B4-BE49-F238E27FC236}">
                <a16:creationId xmlns:a16="http://schemas.microsoft.com/office/drawing/2014/main" id="{F458D29F-4261-4880-9D5A-C8A4542FC52A}"/>
              </a:ext>
            </a:extLst>
          </p:cNvPr>
          <p:cNvSpPr/>
          <p:nvPr/>
        </p:nvSpPr>
        <p:spPr>
          <a:xfrm>
            <a:off x="4575908" y="2716823"/>
            <a:ext cx="1581150" cy="1581150"/>
          </a:xfrm>
          <a:prstGeom prst="ellipse">
            <a:avLst/>
          </a:prstGeom>
          <a:gradFill>
            <a:gsLst>
              <a:gs pos="0">
                <a:schemeClr val="accent1"/>
              </a:gs>
              <a:gs pos="100000">
                <a:schemeClr val="accent1">
                  <a:lumMod val="75000"/>
                </a:schemeClr>
              </a:gs>
            </a:gsLst>
            <a:lin ang="2700000" scaled="0"/>
          </a:gradFill>
          <a:ln w="63500" cap="flat" cmpd="sng" algn="ctr">
            <a:solidFill>
              <a:schemeClr val="bg1"/>
            </a:solidFill>
            <a:prstDash val="solid"/>
            <a:miter lim="800000"/>
          </a:ln>
          <a:effectLst>
            <a:outerShdw blurRad="254000" dist="88900" dir="2700000" algn="tl" rotWithShape="0">
              <a:schemeClr val="accent1">
                <a:lumMod val="50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 name="任意多边形: 形状 8">
            <a:extLst>
              <a:ext uri="{FF2B5EF4-FFF2-40B4-BE49-F238E27FC236}">
                <a16:creationId xmlns:a16="http://schemas.microsoft.com/office/drawing/2014/main" id="{3D7C7FAB-D8BA-4B23-870E-5CC95240AECE}"/>
              </a:ext>
            </a:extLst>
          </p:cNvPr>
          <p:cNvSpPr/>
          <p:nvPr/>
        </p:nvSpPr>
        <p:spPr>
          <a:xfrm flipV="1">
            <a:off x="4359910" y="2502950"/>
            <a:ext cx="2013146" cy="1006573"/>
          </a:xfrm>
          <a:custGeom>
            <a:avLst/>
            <a:gdLst>
              <a:gd name="connsiteX0" fmla="*/ 2013146 w 2013146"/>
              <a:gd name="connsiteY0" fmla="*/ 0 h 1006573"/>
              <a:gd name="connsiteX1" fmla="*/ 1006573 w 2013146"/>
              <a:gd name="connsiteY1" fmla="*/ 1006573 h 1006573"/>
              <a:gd name="connsiteX2" fmla="*/ 0 w 2013146"/>
              <a:gd name="connsiteY2" fmla="*/ 0 h 1006573"/>
              <a:gd name="connsiteX0" fmla="*/ 2013146 w 2013146"/>
              <a:gd name="connsiteY0" fmla="*/ 0 h 1006573"/>
              <a:gd name="connsiteX1" fmla="*/ 1006573 w 2013146"/>
              <a:gd name="connsiteY1" fmla="*/ 1006573 h 1006573"/>
              <a:gd name="connsiteX2" fmla="*/ 0 w 2013146"/>
              <a:gd name="connsiteY2" fmla="*/ 0 h 1006573"/>
            </a:gdLst>
            <a:ahLst/>
            <a:cxnLst>
              <a:cxn ang="0">
                <a:pos x="connsiteX0" y="connsiteY0"/>
              </a:cxn>
              <a:cxn ang="0">
                <a:pos x="connsiteX1" y="connsiteY1"/>
              </a:cxn>
              <a:cxn ang="0">
                <a:pos x="connsiteX2" y="connsiteY2"/>
              </a:cxn>
            </a:cxnLst>
            <a:rect l="l" t="t" r="r" b="b"/>
            <a:pathLst>
              <a:path w="2013146" h="1006573">
                <a:moveTo>
                  <a:pt x="2013146" y="0"/>
                </a:moveTo>
                <a:cubicBezTo>
                  <a:pt x="2013146" y="555916"/>
                  <a:pt x="1562488" y="1006573"/>
                  <a:pt x="1006573" y="1006573"/>
                </a:cubicBezTo>
                <a:cubicBezTo>
                  <a:pt x="450658" y="1006573"/>
                  <a:pt x="0" y="555915"/>
                  <a:pt x="0" y="0"/>
                </a:cubicBezTo>
              </a:path>
            </a:pathLst>
          </a:custGeom>
          <a:noFill/>
          <a:ln w="95250" cap="rnd" cmpd="sng" algn="ctr">
            <a:solidFill>
              <a:schemeClr val="accent1"/>
            </a:solidFill>
            <a:prstDash val="solid"/>
            <a:miter lim="800000"/>
          </a:ln>
          <a:effectLst>
            <a:outerShdw blurRad="254000" dist="88900" dir="2700000" algn="tl" rotWithShape="0">
              <a:schemeClr val="accent1">
                <a:lumMod val="50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0" name="椭圆 9">
            <a:extLst>
              <a:ext uri="{FF2B5EF4-FFF2-40B4-BE49-F238E27FC236}">
                <a16:creationId xmlns:a16="http://schemas.microsoft.com/office/drawing/2014/main" id="{8C6BD088-C0B6-4A15-8ACD-EF47BB6A5795}"/>
              </a:ext>
            </a:extLst>
          </p:cNvPr>
          <p:cNvSpPr/>
          <p:nvPr/>
        </p:nvSpPr>
        <p:spPr>
          <a:xfrm>
            <a:off x="6587588" y="2716823"/>
            <a:ext cx="1581150" cy="1581150"/>
          </a:xfrm>
          <a:prstGeom prst="ellipse">
            <a:avLst/>
          </a:prstGeom>
          <a:gradFill>
            <a:gsLst>
              <a:gs pos="0">
                <a:schemeClr val="accent1"/>
              </a:gs>
              <a:gs pos="100000">
                <a:schemeClr val="accent1">
                  <a:lumMod val="75000"/>
                </a:schemeClr>
              </a:gs>
            </a:gsLst>
            <a:lin ang="2700000" scaled="0"/>
          </a:gradFill>
          <a:ln w="63500" cap="flat" cmpd="sng" algn="ctr">
            <a:solidFill>
              <a:schemeClr val="bg1"/>
            </a:solidFill>
            <a:prstDash val="solid"/>
            <a:miter lim="800000"/>
          </a:ln>
          <a:effectLst>
            <a:outerShdw blurRad="254000" dist="88900" dir="2700000" algn="tl" rotWithShape="0">
              <a:schemeClr val="accent1">
                <a:lumMod val="50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 name="任意多边形: 形状 10">
            <a:extLst>
              <a:ext uri="{FF2B5EF4-FFF2-40B4-BE49-F238E27FC236}">
                <a16:creationId xmlns:a16="http://schemas.microsoft.com/office/drawing/2014/main" id="{7E6D65C4-EFB1-46B0-933B-F7F03E13C484}"/>
              </a:ext>
            </a:extLst>
          </p:cNvPr>
          <p:cNvSpPr/>
          <p:nvPr/>
        </p:nvSpPr>
        <p:spPr>
          <a:xfrm>
            <a:off x="6371590" y="3507397"/>
            <a:ext cx="2013146" cy="1006573"/>
          </a:xfrm>
          <a:custGeom>
            <a:avLst/>
            <a:gdLst>
              <a:gd name="connsiteX0" fmla="*/ 2013146 w 2013146"/>
              <a:gd name="connsiteY0" fmla="*/ 0 h 1006573"/>
              <a:gd name="connsiteX1" fmla="*/ 1006573 w 2013146"/>
              <a:gd name="connsiteY1" fmla="*/ 1006573 h 1006573"/>
              <a:gd name="connsiteX2" fmla="*/ 0 w 2013146"/>
              <a:gd name="connsiteY2" fmla="*/ 0 h 1006573"/>
              <a:gd name="connsiteX0" fmla="*/ 2013146 w 2013146"/>
              <a:gd name="connsiteY0" fmla="*/ 0 h 1006573"/>
              <a:gd name="connsiteX1" fmla="*/ 1006573 w 2013146"/>
              <a:gd name="connsiteY1" fmla="*/ 1006573 h 1006573"/>
              <a:gd name="connsiteX2" fmla="*/ 0 w 2013146"/>
              <a:gd name="connsiteY2" fmla="*/ 0 h 1006573"/>
            </a:gdLst>
            <a:ahLst/>
            <a:cxnLst>
              <a:cxn ang="0">
                <a:pos x="connsiteX0" y="connsiteY0"/>
              </a:cxn>
              <a:cxn ang="0">
                <a:pos x="connsiteX1" y="connsiteY1"/>
              </a:cxn>
              <a:cxn ang="0">
                <a:pos x="connsiteX2" y="connsiteY2"/>
              </a:cxn>
            </a:cxnLst>
            <a:rect l="l" t="t" r="r" b="b"/>
            <a:pathLst>
              <a:path w="2013146" h="1006573">
                <a:moveTo>
                  <a:pt x="2013146" y="0"/>
                </a:moveTo>
                <a:cubicBezTo>
                  <a:pt x="2013146" y="555916"/>
                  <a:pt x="1562488" y="1006573"/>
                  <a:pt x="1006573" y="1006573"/>
                </a:cubicBezTo>
                <a:cubicBezTo>
                  <a:pt x="450658" y="1006573"/>
                  <a:pt x="0" y="555915"/>
                  <a:pt x="0" y="0"/>
                </a:cubicBezTo>
              </a:path>
            </a:pathLst>
          </a:custGeom>
          <a:noFill/>
          <a:ln w="95250" cap="rnd" cmpd="sng" algn="ctr">
            <a:solidFill>
              <a:schemeClr val="accent1"/>
            </a:solidFill>
            <a:prstDash val="solid"/>
            <a:miter lim="800000"/>
          </a:ln>
          <a:effectLst>
            <a:outerShdw blurRad="254000" dist="88900" dir="2700000" algn="tl" rotWithShape="0">
              <a:schemeClr val="accent1">
                <a:lumMod val="50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2" name="椭圆 11">
            <a:extLst>
              <a:ext uri="{FF2B5EF4-FFF2-40B4-BE49-F238E27FC236}">
                <a16:creationId xmlns:a16="http://schemas.microsoft.com/office/drawing/2014/main" id="{80DB0C5E-69F8-40C9-984D-0418FBB10831}"/>
              </a:ext>
            </a:extLst>
          </p:cNvPr>
          <p:cNvSpPr/>
          <p:nvPr/>
        </p:nvSpPr>
        <p:spPr>
          <a:xfrm>
            <a:off x="8599268" y="2716823"/>
            <a:ext cx="1581150" cy="1581150"/>
          </a:xfrm>
          <a:prstGeom prst="ellipse">
            <a:avLst/>
          </a:prstGeom>
          <a:gradFill>
            <a:gsLst>
              <a:gs pos="0">
                <a:schemeClr val="accent1"/>
              </a:gs>
              <a:gs pos="100000">
                <a:schemeClr val="accent1">
                  <a:lumMod val="75000"/>
                </a:schemeClr>
              </a:gs>
            </a:gsLst>
            <a:lin ang="2700000" scaled="0"/>
          </a:gradFill>
          <a:ln w="63500" cap="flat" cmpd="sng" algn="ctr">
            <a:solidFill>
              <a:schemeClr val="bg1"/>
            </a:solidFill>
            <a:prstDash val="solid"/>
            <a:miter lim="800000"/>
          </a:ln>
          <a:effectLst>
            <a:outerShdw blurRad="254000" dist="88900" dir="2700000" algn="tl" rotWithShape="0">
              <a:schemeClr val="accent1">
                <a:lumMod val="50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3" name="任意多边形: 形状 12">
            <a:extLst>
              <a:ext uri="{FF2B5EF4-FFF2-40B4-BE49-F238E27FC236}">
                <a16:creationId xmlns:a16="http://schemas.microsoft.com/office/drawing/2014/main" id="{BFA34750-0343-48E3-AF55-7C74FB704581}"/>
              </a:ext>
            </a:extLst>
          </p:cNvPr>
          <p:cNvSpPr/>
          <p:nvPr/>
        </p:nvSpPr>
        <p:spPr>
          <a:xfrm flipV="1">
            <a:off x="8383270" y="2502950"/>
            <a:ext cx="2013146" cy="1006573"/>
          </a:xfrm>
          <a:custGeom>
            <a:avLst/>
            <a:gdLst>
              <a:gd name="connsiteX0" fmla="*/ 2013146 w 2013146"/>
              <a:gd name="connsiteY0" fmla="*/ 0 h 1006573"/>
              <a:gd name="connsiteX1" fmla="*/ 1006573 w 2013146"/>
              <a:gd name="connsiteY1" fmla="*/ 1006573 h 1006573"/>
              <a:gd name="connsiteX2" fmla="*/ 0 w 2013146"/>
              <a:gd name="connsiteY2" fmla="*/ 0 h 1006573"/>
              <a:gd name="connsiteX0" fmla="*/ 2013146 w 2013146"/>
              <a:gd name="connsiteY0" fmla="*/ 0 h 1006573"/>
              <a:gd name="connsiteX1" fmla="*/ 1006573 w 2013146"/>
              <a:gd name="connsiteY1" fmla="*/ 1006573 h 1006573"/>
              <a:gd name="connsiteX2" fmla="*/ 0 w 2013146"/>
              <a:gd name="connsiteY2" fmla="*/ 0 h 1006573"/>
            </a:gdLst>
            <a:ahLst/>
            <a:cxnLst>
              <a:cxn ang="0">
                <a:pos x="connsiteX0" y="connsiteY0"/>
              </a:cxn>
              <a:cxn ang="0">
                <a:pos x="connsiteX1" y="connsiteY1"/>
              </a:cxn>
              <a:cxn ang="0">
                <a:pos x="connsiteX2" y="connsiteY2"/>
              </a:cxn>
            </a:cxnLst>
            <a:rect l="l" t="t" r="r" b="b"/>
            <a:pathLst>
              <a:path w="2013146" h="1006573">
                <a:moveTo>
                  <a:pt x="2013146" y="0"/>
                </a:moveTo>
                <a:cubicBezTo>
                  <a:pt x="2013146" y="555916"/>
                  <a:pt x="1562488" y="1006573"/>
                  <a:pt x="1006573" y="1006573"/>
                </a:cubicBezTo>
                <a:cubicBezTo>
                  <a:pt x="450658" y="1006573"/>
                  <a:pt x="0" y="555915"/>
                  <a:pt x="0" y="0"/>
                </a:cubicBezTo>
              </a:path>
            </a:pathLst>
          </a:custGeom>
          <a:noFill/>
          <a:ln w="95250" cap="rnd" cmpd="sng" algn="ctr">
            <a:solidFill>
              <a:schemeClr val="accent1"/>
            </a:solidFill>
            <a:prstDash val="solid"/>
            <a:miter lim="800000"/>
          </a:ln>
          <a:effectLst>
            <a:outerShdw blurRad="254000" dist="88900" dir="2700000" algn="tl" rotWithShape="0">
              <a:schemeClr val="accent1">
                <a:lumMod val="50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4" name="文本框 13">
            <a:extLst>
              <a:ext uri="{FF2B5EF4-FFF2-40B4-BE49-F238E27FC236}">
                <a16:creationId xmlns:a16="http://schemas.microsoft.com/office/drawing/2014/main" id="{3CE8A34D-BD9D-4BFF-86A5-61FD3E569AAF}"/>
              </a:ext>
            </a:extLst>
          </p:cNvPr>
          <p:cNvSpPr txBox="1"/>
          <p:nvPr/>
        </p:nvSpPr>
        <p:spPr>
          <a:xfrm>
            <a:off x="2758266" y="3596248"/>
            <a:ext cx="1154162" cy="276999"/>
          </a:xfrm>
          <a:prstGeom prst="rect">
            <a:avLst/>
          </a:prstGeom>
          <a:noFill/>
        </p:spPr>
        <p:txBody>
          <a:bodyPr wrap="none" lIns="0" tIns="0" rIns="0" bIns="0" rtlCol="0" anchor="t">
            <a:spAutoFit/>
          </a:bodyPr>
          <a:lstStyle/>
          <a:p>
            <a:pPr algn="l"/>
            <a:r>
              <a:rPr lang="zh-CN" altLang="en-US" dirty="0">
                <a:solidFill>
                  <a:schemeClr val="bg1"/>
                </a:solidFill>
                <a:latin typeface="+mj-ea"/>
                <a:ea typeface="+mj-ea"/>
              </a:rPr>
              <a:t>关键词标题</a:t>
            </a:r>
          </a:p>
        </p:txBody>
      </p:sp>
      <p:sp>
        <p:nvSpPr>
          <p:cNvPr id="15" name="文本框 14">
            <a:extLst>
              <a:ext uri="{FF2B5EF4-FFF2-40B4-BE49-F238E27FC236}">
                <a16:creationId xmlns:a16="http://schemas.microsoft.com/office/drawing/2014/main" id="{C7BE114A-7A20-43CF-A20E-1C649C961AE9}"/>
              </a:ext>
            </a:extLst>
          </p:cNvPr>
          <p:cNvSpPr txBox="1"/>
          <p:nvPr/>
        </p:nvSpPr>
        <p:spPr>
          <a:xfrm>
            <a:off x="4807986" y="3596248"/>
            <a:ext cx="1154162" cy="276999"/>
          </a:xfrm>
          <a:prstGeom prst="rect">
            <a:avLst/>
          </a:prstGeom>
          <a:noFill/>
        </p:spPr>
        <p:txBody>
          <a:bodyPr wrap="none" lIns="0" tIns="0" rIns="0" bIns="0" rtlCol="0" anchor="t">
            <a:spAutoFit/>
          </a:bodyPr>
          <a:lstStyle/>
          <a:p>
            <a:pPr algn="l"/>
            <a:r>
              <a:rPr lang="zh-CN" altLang="en-US" dirty="0">
                <a:solidFill>
                  <a:schemeClr val="bg1"/>
                </a:solidFill>
                <a:latin typeface="+mj-ea"/>
                <a:ea typeface="+mj-ea"/>
              </a:rPr>
              <a:t>关键词标题</a:t>
            </a:r>
          </a:p>
        </p:txBody>
      </p:sp>
      <p:sp>
        <p:nvSpPr>
          <p:cNvPr id="16" name="文本框 15">
            <a:extLst>
              <a:ext uri="{FF2B5EF4-FFF2-40B4-BE49-F238E27FC236}">
                <a16:creationId xmlns:a16="http://schemas.microsoft.com/office/drawing/2014/main" id="{D06A36D2-B294-453E-BF39-0958825DB78B}"/>
              </a:ext>
            </a:extLst>
          </p:cNvPr>
          <p:cNvSpPr txBox="1"/>
          <p:nvPr/>
        </p:nvSpPr>
        <p:spPr>
          <a:xfrm>
            <a:off x="6818200" y="3596248"/>
            <a:ext cx="1154162" cy="276999"/>
          </a:xfrm>
          <a:prstGeom prst="rect">
            <a:avLst/>
          </a:prstGeom>
          <a:noFill/>
        </p:spPr>
        <p:txBody>
          <a:bodyPr wrap="none" lIns="0" tIns="0" rIns="0" bIns="0" rtlCol="0" anchor="t">
            <a:spAutoFit/>
          </a:bodyPr>
          <a:lstStyle/>
          <a:p>
            <a:pPr algn="l"/>
            <a:r>
              <a:rPr lang="zh-CN" altLang="en-US" dirty="0">
                <a:solidFill>
                  <a:schemeClr val="bg1"/>
                </a:solidFill>
                <a:latin typeface="+mj-ea"/>
                <a:ea typeface="+mj-ea"/>
              </a:rPr>
              <a:t>关键词标题</a:t>
            </a:r>
          </a:p>
        </p:txBody>
      </p:sp>
      <p:sp>
        <p:nvSpPr>
          <p:cNvPr id="17" name="iconfont-1179-866479">
            <a:extLst>
              <a:ext uri="{FF2B5EF4-FFF2-40B4-BE49-F238E27FC236}">
                <a16:creationId xmlns:a16="http://schemas.microsoft.com/office/drawing/2014/main" id="{8FF53B2B-342A-41DD-AC2B-C0D08646B1D0}"/>
              </a:ext>
            </a:extLst>
          </p:cNvPr>
          <p:cNvSpPr/>
          <p:nvPr/>
        </p:nvSpPr>
        <p:spPr>
          <a:xfrm>
            <a:off x="3162501" y="3019937"/>
            <a:ext cx="345692" cy="409428"/>
          </a:xfrm>
          <a:custGeom>
            <a:avLst/>
            <a:gdLst>
              <a:gd name="T0" fmla="*/ 6573 w 9390"/>
              <a:gd name="T1" fmla="*/ 3437 h 11120"/>
              <a:gd name="T2" fmla="*/ 7967 w 9390"/>
              <a:gd name="T3" fmla="*/ 1730 h 11120"/>
              <a:gd name="T4" fmla="*/ 5311 w 9390"/>
              <a:gd name="T5" fmla="*/ 1140 h 11120"/>
              <a:gd name="T6" fmla="*/ 3129 w 9390"/>
              <a:gd name="T7" fmla="*/ 876 h 11120"/>
              <a:gd name="T8" fmla="*/ 2455 w 9390"/>
              <a:gd name="T9" fmla="*/ 3147 h 11120"/>
              <a:gd name="T10" fmla="*/ 7438 w 9390"/>
              <a:gd name="T11" fmla="*/ 4336 h 11120"/>
              <a:gd name="T12" fmla="*/ 2969 w 9390"/>
              <a:gd name="T13" fmla="*/ 4006 h 11120"/>
              <a:gd name="T14" fmla="*/ 0 w 9390"/>
              <a:gd name="T15" fmla="*/ 8570 h 11120"/>
              <a:gd name="T16" fmla="*/ 6860 w 9390"/>
              <a:gd name="T17" fmla="*/ 11120 h 11120"/>
              <a:gd name="T18" fmla="*/ 7438 w 9390"/>
              <a:gd name="T19" fmla="*/ 4336 h 11120"/>
              <a:gd name="T20" fmla="*/ 5549 w 9390"/>
              <a:gd name="T21" fmla="*/ 7248 h 11120"/>
              <a:gd name="T22" fmla="*/ 5919 w 9390"/>
              <a:gd name="T23" fmla="*/ 7515 h 11120"/>
              <a:gd name="T24" fmla="*/ 6098 w 9390"/>
              <a:gd name="T25" fmla="*/ 7695 h 11120"/>
              <a:gd name="T26" fmla="*/ 5384 w 9390"/>
              <a:gd name="T27" fmla="*/ 7874 h 11120"/>
              <a:gd name="T28" fmla="*/ 5195 w 9390"/>
              <a:gd name="T29" fmla="*/ 8151 h 11120"/>
              <a:gd name="T30" fmla="*/ 5919 w 9390"/>
              <a:gd name="T31" fmla="*/ 8331 h 11120"/>
              <a:gd name="T32" fmla="*/ 5919 w 9390"/>
              <a:gd name="T33" fmla="*/ 8690 h 11120"/>
              <a:gd name="T34" fmla="*/ 5195 w 9390"/>
              <a:gd name="T35" fmla="*/ 8870 h 11120"/>
              <a:gd name="T36" fmla="*/ 5015 w 9390"/>
              <a:gd name="T37" fmla="*/ 9507 h 11120"/>
              <a:gd name="T38" fmla="*/ 4510 w 9390"/>
              <a:gd name="T39" fmla="*/ 9327 h 11120"/>
              <a:gd name="T40" fmla="*/ 4330 w 9390"/>
              <a:gd name="T41" fmla="*/ 8690 h 11120"/>
              <a:gd name="T42" fmla="*/ 3612 w 9390"/>
              <a:gd name="T43" fmla="*/ 8510 h 11120"/>
              <a:gd name="T44" fmla="*/ 4329 w 9390"/>
              <a:gd name="T45" fmla="*/ 8331 h 11120"/>
              <a:gd name="T46" fmla="*/ 4511 w 9390"/>
              <a:gd name="T47" fmla="*/ 8063 h 11120"/>
              <a:gd name="T48" fmla="*/ 3792 w 9390"/>
              <a:gd name="T49" fmla="*/ 7873 h 11120"/>
              <a:gd name="T50" fmla="*/ 3612 w 9390"/>
              <a:gd name="T51" fmla="*/ 7694 h 11120"/>
              <a:gd name="T52" fmla="*/ 3999 w 9390"/>
              <a:gd name="T53" fmla="*/ 7514 h 11120"/>
              <a:gd name="T54" fmla="*/ 3406 w 9390"/>
              <a:gd name="T55" fmla="*/ 5887 h 11120"/>
              <a:gd name="T56" fmla="*/ 3920 w 9390"/>
              <a:gd name="T57" fmla="*/ 5620 h 11120"/>
              <a:gd name="T58" fmla="*/ 4691 w 9390"/>
              <a:gd name="T59" fmla="*/ 6937 h 11120"/>
              <a:gd name="T60" fmla="*/ 5623 w 9390"/>
              <a:gd name="T61" fmla="*/ 5719 h 11120"/>
              <a:gd name="T62" fmla="*/ 6140 w 9390"/>
              <a:gd name="T63" fmla="*/ 5620 h 1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390" h="11120">
                <a:moveTo>
                  <a:pt x="3078" y="3437"/>
                </a:moveTo>
                <a:lnTo>
                  <a:pt x="6573" y="3437"/>
                </a:lnTo>
                <a:cubicBezTo>
                  <a:pt x="6809" y="3437"/>
                  <a:pt x="7036" y="3338"/>
                  <a:pt x="7187" y="3157"/>
                </a:cubicBezTo>
                <a:cubicBezTo>
                  <a:pt x="7548" y="2728"/>
                  <a:pt x="7890" y="2202"/>
                  <a:pt x="7967" y="1730"/>
                </a:cubicBezTo>
                <a:cubicBezTo>
                  <a:pt x="8121" y="786"/>
                  <a:pt x="7717" y="307"/>
                  <a:pt x="6544" y="307"/>
                </a:cubicBezTo>
                <a:cubicBezTo>
                  <a:pt x="5370" y="307"/>
                  <a:pt x="5767" y="1077"/>
                  <a:pt x="5311" y="1140"/>
                </a:cubicBezTo>
                <a:cubicBezTo>
                  <a:pt x="4971" y="1187"/>
                  <a:pt x="4983" y="739"/>
                  <a:pt x="4449" y="308"/>
                </a:cubicBezTo>
                <a:cubicBezTo>
                  <a:pt x="4066" y="0"/>
                  <a:pt x="3636" y="871"/>
                  <a:pt x="3129" y="876"/>
                </a:cubicBezTo>
                <a:cubicBezTo>
                  <a:pt x="2538" y="884"/>
                  <a:pt x="1707" y="720"/>
                  <a:pt x="1707" y="1730"/>
                </a:cubicBezTo>
                <a:cubicBezTo>
                  <a:pt x="1707" y="2138"/>
                  <a:pt x="2065" y="2690"/>
                  <a:pt x="2455" y="3147"/>
                </a:cubicBezTo>
                <a:cubicBezTo>
                  <a:pt x="2612" y="3330"/>
                  <a:pt x="2838" y="3437"/>
                  <a:pt x="3078" y="3437"/>
                </a:cubicBezTo>
                <a:close/>
                <a:moveTo>
                  <a:pt x="7438" y="4336"/>
                </a:moveTo>
                <a:cubicBezTo>
                  <a:pt x="7252" y="4125"/>
                  <a:pt x="6981" y="4006"/>
                  <a:pt x="6699" y="4006"/>
                </a:cubicBezTo>
                <a:lnTo>
                  <a:pt x="2969" y="4006"/>
                </a:lnTo>
                <a:cubicBezTo>
                  <a:pt x="2700" y="4006"/>
                  <a:pt x="2440" y="4115"/>
                  <a:pt x="2253" y="4310"/>
                </a:cubicBezTo>
                <a:cubicBezTo>
                  <a:pt x="1081" y="5538"/>
                  <a:pt x="0" y="7291"/>
                  <a:pt x="0" y="8570"/>
                </a:cubicBezTo>
                <a:cubicBezTo>
                  <a:pt x="0" y="9697"/>
                  <a:pt x="1133" y="11120"/>
                  <a:pt x="2530" y="11120"/>
                </a:cubicBezTo>
                <a:lnTo>
                  <a:pt x="6860" y="11120"/>
                </a:lnTo>
                <a:cubicBezTo>
                  <a:pt x="8257" y="11120"/>
                  <a:pt x="9390" y="9709"/>
                  <a:pt x="9390" y="8570"/>
                </a:cubicBezTo>
                <a:cubicBezTo>
                  <a:pt x="9390" y="7268"/>
                  <a:pt x="8520" y="5564"/>
                  <a:pt x="7438" y="4336"/>
                </a:cubicBezTo>
                <a:close/>
                <a:moveTo>
                  <a:pt x="6299" y="5888"/>
                </a:moveTo>
                <a:lnTo>
                  <a:pt x="5549" y="7248"/>
                </a:lnTo>
                <a:cubicBezTo>
                  <a:pt x="5483" y="7368"/>
                  <a:pt x="5570" y="7515"/>
                  <a:pt x="5706" y="7515"/>
                </a:cubicBezTo>
                <a:lnTo>
                  <a:pt x="5919" y="7515"/>
                </a:lnTo>
                <a:cubicBezTo>
                  <a:pt x="6017" y="7515"/>
                  <a:pt x="6098" y="7595"/>
                  <a:pt x="6098" y="7695"/>
                </a:cubicBezTo>
                <a:lnTo>
                  <a:pt x="6098" y="7695"/>
                </a:lnTo>
                <a:cubicBezTo>
                  <a:pt x="6098" y="7793"/>
                  <a:pt x="6018" y="7874"/>
                  <a:pt x="5919" y="7874"/>
                </a:cubicBezTo>
                <a:lnTo>
                  <a:pt x="5384" y="7874"/>
                </a:lnTo>
                <a:cubicBezTo>
                  <a:pt x="5279" y="7874"/>
                  <a:pt x="5196" y="7958"/>
                  <a:pt x="5195" y="8062"/>
                </a:cubicBezTo>
                <a:lnTo>
                  <a:pt x="5195" y="8151"/>
                </a:lnTo>
                <a:cubicBezTo>
                  <a:pt x="5195" y="8249"/>
                  <a:pt x="5275" y="8331"/>
                  <a:pt x="5375" y="8331"/>
                </a:cubicBezTo>
                <a:lnTo>
                  <a:pt x="5919" y="8331"/>
                </a:lnTo>
                <a:cubicBezTo>
                  <a:pt x="6017" y="8331"/>
                  <a:pt x="6098" y="8411"/>
                  <a:pt x="6098" y="8510"/>
                </a:cubicBezTo>
                <a:cubicBezTo>
                  <a:pt x="6098" y="8610"/>
                  <a:pt x="6018" y="8690"/>
                  <a:pt x="5919" y="8690"/>
                </a:cubicBezTo>
                <a:lnTo>
                  <a:pt x="5375" y="8690"/>
                </a:lnTo>
                <a:cubicBezTo>
                  <a:pt x="5276" y="8690"/>
                  <a:pt x="5195" y="8770"/>
                  <a:pt x="5195" y="8870"/>
                </a:cubicBezTo>
                <a:lnTo>
                  <a:pt x="5195" y="9327"/>
                </a:lnTo>
                <a:cubicBezTo>
                  <a:pt x="5195" y="9426"/>
                  <a:pt x="5115" y="9507"/>
                  <a:pt x="5015" y="9507"/>
                </a:cubicBezTo>
                <a:lnTo>
                  <a:pt x="4690" y="9507"/>
                </a:lnTo>
                <a:cubicBezTo>
                  <a:pt x="4591" y="9507"/>
                  <a:pt x="4510" y="9427"/>
                  <a:pt x="4510" y="9327"/>
                </a:cubicBezTo>
                <a:lnTo>
                  <a:pt x="4510" y="8870"/>
                </a:lnTo>
                <a:cubicBezTo>
                  <a:pt x="4510" y="8771"/>
                  <a:pt x="4430" y="8690"/>
                  <a:pt x="4330" y="8690"/>
                </a:cubicBezTo>
                <a:lnTo>
                  <a:pt x="3792" y="8690"/>
                </a:lnTo>
                <a:cubicBezTo>
                  <a:pt x="3693" y="8690"/>
                  <a:pt x="3612" y="8610"/>
                  <a:pt x="3612" y="8510"/>
                </a:cubicBezTo>
                <a:cubicBezTo>
                  <a:pt x="3612" y="8411"/>
                  <a:pt x="3692" y="8331"/>
                  <a:pt x="3792" y="8331"/>
                </a:cubicBezTo>
                <a:lnTo>
                  <a:pt x="4329" y="8331"/>
                </a:lnTo>
                <a:cubicBezTo>
                  <a:pt x="4429" y="8331"/>
                  <a:pt x="4509" y="8251"/>
                  <a:pt x="4510" y="8151"/>
                </a:cubicBezTo>
                <a:lnTo>
                  <a:pt x="4511" y="8063"/>
                </a:lnTo>
                <a:cubicBezTo>
                  <a:pt x="4512" y="7959"/>
                  <a:pt x="4427" y="7873"/>
                  <a:pt x="4322" y="7873"/>
                </a:cubicBezTo>
                <a:lnTo>
                  <a:pt x="3792" y="7873"/>
                </a:lnTo>
                <a:cubicBezTo>
                  <a:pt x="3693" y="7873"/>
                  <a:pt x="3612" y="7793"/>
                  <a:pt x="3612" y="7694"/>
                </a:cubicBezTo>
                <a:lnTo>
                  <a:pt x="3612" y="7694"/>
                </a:lnTo>
                <a:cubicBezTo>
                  <a:pt x="3612" y="7595"/>
                  <a:pt x="3692" y="7514"/>
                  <a:pt x="3792" y="7514"/>
                </a:cubicBezTo>
                <a:lnTo>
                  <a:pt x="3999" y="7514"/>
                </a:lnTo>
                <a:cubicBezTo>
                  <a:pt x="4136" y="7514"/>
                  <a:pt x="4221" y="7367"/>
                  <a:pt x="4156" y="7247"/>
                </a:cubicBezTo>
                <a:lnTo>
                  <a:pt x="3406" y="5887"/>
                </a:lnTo>
                <a:cubicBezTo>
                  <a:pt x="3340" y="5767"/>
                  <a:pt x="3426" y="5620"/>
                  <a:pt x="3562" y="5620"/>
                </a:cubicBezTo>
                <a:lnTo>
                  <a:pt x="3920" y="5620"/>
                </a:lnTo>
                <a:cubicBezTo>
                  <a:pt x="3988" y="5620"/>
                  <a:pt x="4050" y="5659"/>
                  <a:pt x="4080" y="5719"/>
                </a:cubicBezTo>
                <a:lnTo>
                  <a:pt x="4691" y="6937"/>
                </a:lnTo>
                <a:cubicBezTo>
                  <a:pt x="4756" y="7069"/>
                  <a:pt x="4945" y="7069"/>
                  <a:pt x="5012" y="6937"/>
                </a:cubicBezTo>
                <a:lnTo>
                  <a:pt x="5623" y="5719"/>
                </a:lnTo>
                <a:cubicBezTo>
                  <a:pt x="5653" y="5659"/>
                  <a:pt x="5715" y="5620"/>
                  <a:pt x="5783" y="5620"/>
                </a:cubicBezTo>
                <a:lnTo>
                  <a:pt x="6140" y="5620"/>
                </a:lnTo>
                <a:cubicBezTo>
                  <a:pt x="6278" y="5622"/>
                  <a:pt x="6365" y="5768"/>
                  <a:pt x="6299" y="588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iconfont-1187-868110">
            <a:extLst>
              <a:ext uri="{FF2B5EF4-FFF2-40B4-BE49-F238E27FC236}">
                <a16:creationId xmlns:a16="http://schemas.microsoft.com/office/drawing/2014/main" id="{89579ABA-831F-48DD-A116-1A7D7D5D3850}"/>
              </a:ext>
            </a:extLst>
          </p:cNvPr>
          <p:cNvSpPr/>
          <p:nvPr/>
        </p:nvSpPr>
        <p:spPr>
          <a:xfrm>
            <a:off x="5191222" y="3061966"/>
            <a:ext cx="387690" cy="373876"/>
          </a:xfrm>
          <a:custGeom>
            <a:avLst/>
            <a:gdLst>
              <a:gd name="T0" fmla="*/ 11888 w 12803"/>
              <a:gd name="T1" fmla="*/ 0 h 12345"/>
              <a:gd name="T2" fmla="*/ 914 w 12803"/>
              <a:gd name="T3" fmla="*/ 0 h 12345"/>
              <a:gd name="T4" fmla="*/ 0 w 12803"/>
              <a:gd name="T5" fmla="*/ 914 h 12345"/>
              <a:gd name="T6" fmla="*/ 0 w 12803"/>
              <a:gd name="T7" fmla="*/ 8687 h 12345"/>
              <a:gd name="T8" fmla="*/ 914 w 12803"/>
              <a:gd name="T9" fmla="*/ 9602 h 12345"/>
              <a:gd name="T10" fmla="*/ 3201 w 12803"/>
              <a:gd name="T11" fmla="*/ 9602 h 12345"/>
              <a:gd name="T12" fmla="*/ 3201 w 12803"/>
              <a:gd name="T13" fmla="*/ 12345 h 12345"/>
              <a:gd name="T14" fmla="*/ 8230 w 12803"/>
              <a:gd name="T15" fmla="*/ 9602 h 12345"/>
              <a:gd name="T16" fmla="*/ 11888 w 12803"/>
              <a:gd name="T17" fmla="*/ 9602 h 12345"/>
              <a:gd name="T18" fmla="*/ 12803 w 12803"/>
              <a:gd name="T19" fmla="*/ 8687 h 12345"/>
              <a:gd name="T20" fmla="*/ 12803 w 12803"/>
              <a:gd name="T21" fmla="*/ 914 h 12345"/>
              <a:gd name="T22" fmla="*/ 11888 w 12803"/>
              <a:gd name="T23" fmla="*/ 0 h 12345"/>
              <a:gd name="T24" fmla="*/ 3201 w 12803"/>
              <a:gd name="T25" fmla="*/ 5487 h 12345"/>
              <a:gd name="T26" fmla="*/ 2286 w 12803"/>
              <a:gd name="T27" fmla="*/ 4572 h 12345"/>
              <a:gd name="T28" fmla="*/ 3201 w 12803"/>
              <a:gd name="T29" fmla="*/ 3658 h 12345"/>
              <a:gd name="T30" fmla="*/ 4115 w 12803"/>
              <a:gd name="T31" fmla="*/ 4572 h 12345"/>
              <a:gd name="T32" fmla="*/ 3201 w 12803"/>
              <a:gd name="T33" fmla="*/ 5487 h 12345"/>
              <a:gd name="T34" fmla="*/ 6401 w 12803"/>
              <a:gd name="T35" fmla="*/ 5487 h 12345"/>
              <a:gd name="T36" fmla="*/ 5487 w 12803"/>
              <a:gd name="T37" fmla="*/ 4572 h 12345"/>
              <a:gd name="T38" fmla="*/ 6401 w 12803"/>
              <a:gd name="T39" fmla="*/ 3658 h 12345"/>
              <a:gd name="T40" fmla="*/ 7316 w 12803"/>
              <a:gd name="T41" fmla="*/ 4572 h 12345"/>
              <a:gd name="T42" fmla="*/ 6401 w 12803"/>
              <a:gd name="T43" fmla="*/ 5487 h 12345"/>
              <a:gd name="T44" fmla="*/ 9602 w 12803"/>
              <a:gd name="T45" fmla="*/ 5487 h 12345"/>
              <a:gd name="T46" fmla="*/ 8687 w 12803"/>
              <a:gd name="T47" fmla="*/ 4572 h 12345"/>
              <a:gd name="T48" fmla="*/ 9602 w 12803"/>
              <a:gd name="T49" fmla="*/ 3658 h 12345"/>
              <a:gd name="T50" fmla="*/ 10516 w 12803"/>
              <a:gd name="T51" fmla="*/ 4572 h 12345"/>
              <a:gd name="T52" fmla="*/ 9602 w 12803"/>
              <a:gd name="T53" fmla="*/ 5487 h 12345"/>
              <a:gd name="T54" fmla="*/ 9602 w 12803"/>
              <a:gd name="T55" fmla="*/ 5487 h 123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2803" h="12345">
                <a:moveTo>
                  <a:pt x="11888" y="0"/>
                </a:moveTo>
                <a:lnTo>
                  <a:pt x="914" y="0"/>
                </a:lnTo>
                <a:cubicBezTo>
                  <a:pt x="409" y="0"/>
                  <a:pt x="0" y="409"/>
                  <a:pt x="0" y="914"/>
                </a:cubicBezTo>
                <a:lnTo>
                  <a:pt x="0" y="8687"/>
                </a:lnTo>
                <a:cubicBezTo>
                  <a:pt x="0" y="9193"/>
                  <a:pt x="409" y="9602"/>
                  <a:pt x="914" y="9602"/>
                </a:cubicBezTo>
                <a:lnTo>
                  <a:pt x="3201" y="9602"/>
                </a:lnTo>
                <a:lnTo>
                  <a:pt x="3201" y="12345"/>
                </a:lnTo>
                <a:lnTo>
                  <a:pt x="8230" y="9602"/>
                </a:lnTo>
                <a:lnTo>
                  <a:pt x="11888" y="9602"/>
                </a:lnTo>
                <a:cubicBezTo>
                  <a:pt x="12393" y="9602"/>
                  <a:pt x="12803" y="9193"/>
                  <a:pt x="12803" y="8687"/>
                </a:cubicBezTo>
                <a:lnTo>
                  <a:pt x="12803" y="914"/>
                </a:lnTo>
                <a:cubicBezTo>
                  <a:pt x="12803" y="409"/>
                  <a:pt x="12393" y="0"/>
                  <a:pt x="11888" y="0"/>
                </a:cubicBezTo>
                <a:close/>
                <a:moveTo>
                  <a:pt x="3201" y="5487"/>
                </a:moveTo>
                <a:cubicBezTo>
                  <a:pt x="2695" y="5487"/>
                  <a:pt x="2286" y="5077"/>
                  <a:pt x="2286" y="4572"/>
                </a:cubicBezTo>
                <a:cubicBezTo>
                  <a:pt x="2286" y="4067"/>
                  <a:pt x="2695" y="3658"/>
                  <a:pt x="3201" y="3658"/>
                </a:cubicBezTo>
                <a:cubicBezTo>
                  <a:pt x="3706" y="3658"/>
                  <a:pt x="4115" y="4067"/>
                  <a:pt x="4115" y="4572"/>
                </a:cubicBezTo>
                <a:cubicBezTo>
                  <a:pt x="4115" y="5077"/>
                  <a:pt x="3706" y="5487"/>
                  <a:pt x="3201" y="5487"/>
                </a:cubicBezTo>
                <a:close/>
                <a:moveTo>
                  <a:pt x="6401" y="5487"/>
                </a:moveTo>
                <a:cubicBezTo>
                  <a:pt x="5896" y="5487"/>
                  <a:pt x="5487" y="5077"/>
                  <a:pt x="5487" y="4572"/>
                </a:cubicBezTo>
                <a:cubicBezTo>
                  <a:pt x="5487" y="4067"/>
                  <a:pt x="5896" y="3658"/>
                  <a:pt x="6401" y="3658"/>
                </a:cubicBezTo>
                <a:cubicBezTo>
                  <a:pt x="6907" y="3658"/>
                  <a:pt x="7316" y="4067"/>
                  <a:pt x="7316" y="4572"/>
                </a:cubicBezTo>
                <a:cubicBezTo>
                  <a:pt x="7316" y="5077"/>
                  <a:pt x="6907" y="5487"/>
                  <a:pt x="6401" y="5487"/>
                </a:cubicBezTo>
                <a:close/>
                <a:moveTo>
                  <a:pt x="9602" y="5487"/>
                </a:moveTo>
                <a:cubicBezTo>
                  <a:pt x="9097" y="5487"/>
                  <a:pt x="8687" y="5077"/>
                  <a:pt x="8687" y="4572"/>
                </a:cubicBezTo>
                <a:cubicBezTo>
                  <a:pt x="8687" y="4067"/>
                  <a:pt x="9097" y="3658"/>
                  <a:pt x="9602" y="3658"/>
                </a:cubicBezTo>
                <a:cubicBezTo>
                  <a:pt x="10107" y="3658"/>
                  <a:pt x="10516" y="4067"/>
                  <a:pt x="10516" y="4572"/>
                </a:cubicBezTo>
                <a:cubicBezTo>
                  <a:pt x="10516" y="5077"/>
                  <a:pt x="10107" y="5487"/>
                  <a:pt x="9602" y="5487"/>
                </a:cubicBezTo>
                <a:close/>
                <a:moveTo>
                  <a:pt x="9602" y="5487"/>
                </a:move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 name="iconfont-1186-646597">
            <a:extLst>
              <a:ext uri="{FF2B5EF4-FFF2-40B4-BE49-F238E27FC236}">
                <a16:creationId xmlns:a16="http://schemas.microsoft.com/office/drawing/2014/main" id="{1AB9E091-DFB8-4DBE-94C6-0AC1640D78F9}"/>
              </a:ext>
            </a:extLst>
          </p:cNvPr>
          <p:cNvSpPr/>
          <p:nvPr/>
        </p:nvSpPr>
        <p:spPr>
          <a:xfrm>
            <a:off x="7239645" y="3067051"/>
            <a:ext cx="311272" cy="363706"/>
          </a:xfrm>
          <a:custGeom>
            <a:avLst/>
            <a:gdLst>
              <a:gd name="T0" fmla="*/ 8209 w 10908"/>
              <a:gd name="T1" fmla="*/ 2143 h 12744"/>
              <a:gd name="T2" fmla="*/ 8209 w 10908"/>
              <a:gd name="T3" fmla="*/ 1057 h 12744"/>
              <a:gd name="T4" fmla="*/ 7124 w 10908"/>
              <a:gd name="T5" fmla="*/ 0 h 12744"/>
              <a:gd name="T6" fmla="*/ 3840 w 10908"/>
              <a:gd name="T7" fmla="*/ 0 h 12744"/>
              <a:gd name="T8" fmla="*/ 2755 w 10908"/>
              <a:gd name="T9" fmla="*/ 1057 h 12744"/>
              <a:gd name="T10" fmla="*/ 2755 w 10908"/>
              <a:gd name="T11" fmla="*/ 2115 h 12744"/>
              <a:gd name="T12" fmla="*/ 0 w 10908"/>
              <a:gd name="T13" fmla="*/ 2115 h 12744"/>
              <a:gd name="T14" fmla="*/ 0 w 10908"/>
              <a:gd name="T15" fmla="*/ 3172 h 12744"/>
              <a:gd name="T16" fmla="*/ 1085 w 10908"/>
              <a:gd name="T17" fmla="*/ 3172 h 12744"/>
              <a:gd name="T18" fmla="*/ 1085 w 10908"/>
              <a:gd name="T19" fmla="*/ 11687 h 12744"/>
              <a:gd name="T20" fmla="*/ 2171 w 10908"/>
              <a:gd name="T21" fmla="*/ 12744 h 12744"/>
              <a:gd name="T22" fmla="*/ 8738 w 10908"/>
              <a:gd name="T23" fmla="*/ 12744 h 12744"/>
              <a:gd name="T24" fmla="*/ 9823 w 10908"/>
              <a:gd name="T25" fmla="*/ 11687 h 12744"/>
              <a:gd name="T26" fmla="*/ 9823 w 10908"/>
              <a:gd name="T27" fmla="*/ 3200 h 12744"/>
              <a:gd name="T28" fmla="*/ 10908 w 10908"/>
              <a:gd name="T29" fmla="*/ 3200 h 12744"/>
              <a:gd name="T30" fmla="*/ 10908 w 10908"/>
              <a:gd name="T31" fmla="*/ 2143 h 12744"/>
              <a:gd name="T32" fmla="*/ 8209 w 10908"/>
              <a:gd name="T33" fmla="*/ 2143 h 12744"/>
              <a:gd name="T34" fmla="*/ 4870 w 10908"/>
              <a:gd name="T35" fmla="*/ 10963 h 12744"/>
              <a:gd name="T36" fmla="*/ 3645 w 10908"/>
              <a:gd name="T37" fmla="*/ 10963 h 12744"/>
              <a:gd name="T38" fmla="*/ 3645 w 10908"/>
              <a:gd name="T39" fmla="*/ 4257 h 12744"/>
              <a:gd name="T40" fmla="*/ 4870 w 10908"/>
              <a:gd name="T41" fmla="*/ 4257 h 12744"/>
              <a:gd name="T42" fmla="*/ 4870 w 10908"/>
              <a:gd name="T43" fmla="*/ 10963 h 12744"/>
              <a:gd name="T44" fmla="*/ 7319 w 10908"/>
              <a:gd name="T45" fmla="*/ 10963 h 12744"/>
              <a:gd name="T46" fmla="*/ 6094 w 10908"/>
              <a:gd name="T47" fmla="*/ 10963 h 12744"/>
              <a:gd name="T48" fmla="*/ 6094 w 10908"/>
              <a:gd name="T49" fmla="*/ 4257 h 12744"/>
              <a:gd name="T50" fmla="*/ 7319 w 10908"/>
              <a:gd name="T51" fmla="*/ 4257 h 12744"/>
              <a:gd name="T52" fmla="*/ 7319 w 10908"/>
              <a:gd name="T53" fmla="*/ 10963 h 127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0908" h="12744">
                <a:moveTo>
                  <a:pt x="8209" y="2143"/>
                </a:moveTo>
                <a:lnTo>
                  <a:pt x="8209" y="1057"/>
                </a:lnTo>
                <a:cubicBezTo>
                  <a:pt x="8209" y="473"/>
                  <a:pt x="7708" y="0"/>
                  <a:pt x="7124" y="0"/>
                </a:cubicBezTo>
                <a:lnTo>
                  <a:pt x="3840" y="0"/>
                </a:lnTo>
                <a:cubicBezTo>
                  <a:pt x="3228" y="0"/>
                  <a:pt x="2755" y="473"/>
                  <a:pt x="2755" y="1057"/>
                </a:cubicBezTo>
                <a:lnTo>
                  <a:pt x="2755" y="2115"/>
                </a:lnTo>
                <a:lnTo>
                  <a:pt x="0" y="2115"/>
                </a:lnTo>
                <a:lnTo>
                  <a:pt x="0" y="3172"/>
                </a:lnTo>
                <a:lnTo>
                  <a:pt x="1085" y="3172"/>
                </a:lnTo>
                <a:lnTo>
                  <a:pt x="1085" y="11687"/>
                </a:lnTo>
                <a:cubicBezTo>
                  <a:pt x="1085" y="12271"/>
                  <a:pt x="1586" y="12744"/>
                  <a:pt x="2171" y="12744"/>
                </a:cubicBezTo>
                <a:lnTo>
                  <a:pt x="8738" y="12744"/>
                </a:lnTo>
                <a:cubicBezTo>
                  <a:pt x="9350" y="12744"/>
                  <a:pt x="9823" y="12271"/>
                  <a:pt x="9823" y="11687"/>
                </a:cubicBezTo>
                <a:lnTo>
                  <a:pt x="9823" y="3200"/>
                </a:lnTo>
                <a:lnTo>
                  <a:pt x="10908" y="3200"/>
                </a:lnTo>
                <a:lnTo>
                  <a:pt x="10908" y="2143"/>
                </a:lnTo>
                <a:lnTo>
                  <a:pt x="8209" y="2143"/>
                </a:lnTo>
                <a:close/>
                <a:moveTo>
                  <a:pt x="4870" y="10963"/>
                </a:moveTo>
                <a:lnTo>
                  <a:pt x="3645" y="10963"/>
                </a:lnTo>
                <a:lnTo>
                  <a:pt x="3645" y="4257"/>
                </a:lnTo>
                <a:lnTo>
                  <a:pt x="4870" y="4257"/>
                </a:lnTo>
                <a:lnTo>
                  <a:pt x="4870" y="10963"/>
                </a:lnTo>
                <a:close/>
                <a:moveTo>
                  <a:pt x="7319" y="10963"/>
                </a:moveTo>
                <a:lnTo>
                  <a:pt x="6094" y="10963"/>
                </a:lnTo>
                <a:lnTo>
                  <a:pt x="6094" y="4257"/>
                </a:lnTo>
                <a:lnTo>
                  <a:pt x="7319" y="4257"/>
                </a:lnTo>
                <a:lnTo>
                  <a:pt x="7319" y="1096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 name="iconfont-1186-646597">
            <a:extLst>
              <a:ext uri="{FF2B5EF4-FFF2-40B4-BE49-F238E27FC236}">
                <a16:creationId xmlns:a16="http://schemas.microsoft.com/office/drawing/2014/main" id="{D39D7516-8525-4FD1-974A-E687686D1FCA}"/>
              </a:ext>
            </a:extLst>
          </p:cNvPr>
          <p:cNvSpPr/>
          <p:nvPr/>
        </p:nvSpPr>
        <p:spPr>
          <a:xfrm>
            <a:off x="9295292" y="3067051"/>
            <a:ext cx="238580" cy="363706"/>
          </a:xfrm>
          <a:custGeom>
            <a:avLst/>
            <a:gdLst>
              <a:gd name="T0" fmla="*/ 2621 w 8263"/>
              <a:gd name="T1" fmla="*/ 2307 h 12594"/>
              <a:gd name="T2" fmla="*/ 3643 w 8263"/>
              <a:gd name="T3" fmla="*/ 1308 h 12594"/>
              <a:gd name="T4" fmla="*/ 4777 w 8263"/>
              <a:gd name="T5" fmla="*/ 1308 h 12594"/>
              <a:gd name="T6" fmla="*/ 5799 w 8263"/>
              <a:gd name="T7" fmla="*/ 2307 h 12594"/>
              <a:gd name="T8" fmla="*/ 5799 w 8263"/>
              <a:gd name="T9" fmla="*/ 4735 h 12594"/>
              <a:gd name="T10" fmla="*/ 7139 w 8263"/>
              <a:gd name="T11" fmla="*/ 4735 h 12594"/>
              <a:gd name="T12" fmla="*/ 7139 w 8263"/>
              <a:gd name="T13" fmla="*/ 2307 h 12594"/>
              <a:gd name="T14" fmla="*/ 4777 w 8263"/>
              <a:gd name="T15" fmla="*/ 0 h 12594"/>
              <a:gd name="T16" fmla="*/ 3643 w 8263"/>
              <a:gd name="T17" fmla="*/ 0 h 12594"/>
              <a:gd name="T18" fmla="*/ 1282 w 8263"/>
              <a:gd name="T19" fmla="*/ 2307 h 12594"/>
              <a:gd name="T20" fmla="*/ 1282 w 8263"/>
              <a:gd name="T21" fmla="*/ 3426 h 12594"/>
              <a:gd name="T22" fmla="*/ 2621 w 8263"/>
              <a:gd name="T23" fmla="*/ 3426 h 12594"/>
              <a:gd name="T24" fmla="*/ 2621 w 8263"/>
              <a:gd name="T25" fmla="*/ 2307 h 12594"/>
              <a:gd name="T26" fmla="*/ 0 w 8263"/>
              <a:gd name="T27" fmla="*/ 5432 h 12594"/>
              <a:gd name="T28" fmla="*/ 0 w 8263"/>
              <a:gd name="T29" fmla="*/ 9095 h 12594"/>
              <a:gd name="T30" fmla="*/ 3581 w 8263"/>
              <a:gd name="T31" fmla="*/ 12594 h 12594"/>
              <a:gd name="T32" fmla="*/ 4683 w 8263"/>
              <a:gd name="T33" fmla="*/ 12594 h 12594"/>
              <a:gd name="T34" fmla="*/ 8263 w 8263"/>
              <a:gd name="T35" fmla="*/ 9095 h 12594"/>
              <a:gd name="T36" fmla="*/ 8263 w 8263"/>
              <a:gd name="T37" fmla="*/ 5432 h 12594"/>
              <a:gd name="T38" fmla="*/ 0 w 8263"/>
              <a:gd name="T39" fmla="*/ 5432 h 12594"/>
              <a:gd name="T40" fmla="*/ 4656 w 8263"/>
              <a:gd name="T41" fmla="*/ 8691 h 12594"/>
              <a:gd name="T42" fmla="*/ 4656 w 8263"/>
              <a:gd name="T43" fmla="*/ 10294 h 12594"/>
              <a:gd name="T44" fmla="*/ 4299 w 8263"/>
              <a:gd name="T45" fmla="*/ 10643 h 12594"/>
              <a:gd name="T46" fmla="*/ 3942 w 8263"/>
              <a:gd name="T47" fmla="*/ 10294 h 12594"/>
              <a:gd name="T48" fmla="*/ 3942 w 8263"/>
              <a:gd name="T49" fmla="*/ 8691 h 12594"/>
              <a:gd name="T50" fmla="*/ 3369 w 8263"/>
              <a:gd name="T51" fmla="*/ 7851 h 12594"/>
              <a:gd name="T52" fmla="*/ 4301 w 8263"/>
              <a:gd name="T53" fmla="*/ 6940 h 12594"/>
              <a:gd name="T54" fmla="*/ 5232 w 8263"/>
              <a:gd name="T55" fmla="*/ 7851 h 12594"/>
              <a:gd name="T56" fmla="*/ 4656 w 8263"/>
              <a:gd name="T57" fmla="*/ 8691 h 12594"/>
              <a:gd name="T58" fmla="*/ 4656 w 8263"/>
              <a:gd name="T59" fmla="*/ 8691 h 125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263" h="12594">
                <a:moveTo>
                  <a:pt x="2621" y="2307"/>
                </a:moveTo>
                <a:cubicBezTo>
                  <a:pt x="2622" y="1756"/>
                  <a:pt x="3079" y="1309"/>
                  <a:pt x="3643" y="1308"/>
                </a:cubicBezTo>
                <a:lnTo>
                  <a:pt x="4777" y="1308"/>
                </a:lnTo>
                <a:cubicBezTo>
                  <a:pt x="5341" y="1309"/>
                  <a:pt x="5798" y="1756"/>
                  <a:pt x="5799" y="2307"/>
                </a:cubicBezTo>
                <a:lnTo>
                  <a:pt x="5799" y="4735"/>
                </a:lnTo>
                <a:lnTo>
                  <a:pt x="7139" y="4735"/>
                </a:lnTo>
                <a:lnTo>
                  <a:pt x="7139" y="2307"/>
                </a:lnTo>
                <a:cubicBezTo>
                  <a:pt x="7138" y="1033"/>
                  <a:pt x="6082" y="0"/>
                  <a:pt x="4777" y="0"/>
                </a:cubicBezTo>
                <a:lnTo>
                  <a:pt x="3643" y="0"/>
                </a:lnTo>
                <a:cubicBezTo>
                  <a:pt x="2339" y="0"/>
                  <a:pt x="1282" y="1033"/>
                  <a:pt x="1282" y="2307"/>
                </a:cubicBezTo>
                <a:lnTo>
                  <a:pt x="1282" y="3426"/>
                </a:lnTo>
                <a:lnTo>
                  <a:pt x="2621" y="3426"/>
                </a:lnTo>
                <a:lnTo>
                  <a:pt x="2621" y="2307"/>
                </a:lnTo>
                <a:close/>
                <a:moveTo>
                  <a:pt x="0" y="5432"/>
                </a:moveTo>
                <a:lnTo>
                  <a:pt x="0" y="9095"/>
                </a:lnTo>
                <a:cubicBezTo>
                  <a:pt x="0" y="11029"/>
                  <a:pt x="1603" y="12594"/>
                  <a:pt x="3581" y="12594"/>
                </a:cubicBezTo>
                <a:lnTo>
                  <a:pt x="4683" y="12594"/>
                </a:lnTo>
                <a:cubicBezTo>
                  <a:pt x="6660" y="12594"/>
                  <a:pt x="8263" y="11028"/>
                  <a:pt x="8263" y="9095"/>
                </a:cubicBezTo>
                <a:lnTo>
                  <a:pt x="8263" y="5432"/>
                </a:lnTo>
                <a:lnTo>
                  <a:pt x="0" y="5432"/>
                </a:lnTo>
                <a:close/>
                <a:moveTo>
                  <a:pt x="4656" y="8691"/>
                </a:moveTo>
                <a:lnTo>
                  <a:pt x="4656" y="10294"/>
                </a:lnTo>
                <a:cubicBezTo>
                  <a:pt x="4656" y="10486"/>
                  <a:pt x="4496" y="10643"/>
                  <a:pt x="4299" y="10643"/>
                </a:cubicBezTo>
                <a:cubicBezTo>
                  <a:pt x="4102" y="10643"/>
                  <a:pt x="3942" y="10486"/>
                  <a:pt x="3942" y="10294"/>
                </a:cubicBezTo>
                <a:lnTo>
                  <a:pt x="3942" y="8691"/>
                </a:lnTo>
                <a:cubicBezTo>
                  <a:pt x="3606" y="8553"/>
                  <a:pt x="3369" y="8229"/>
                  <a:pt x="3369" y="7851"/>
                </a:cubicBezTo>
                <a:cubicBezTo>
                  <a:pt x="3369" y="7348"/>
                  <a:pt x="3786" y="6940"/>
                  <a:pt x="4301" y="6940"/>
                </a:cubicBezTo>
                <a:cubicBezTo>
                  <a:pt x="4815" y="6940"/>
                  <a:pt x="5232" y="7348"/>
                  <a:pt x="5232" y="7851"/>
                </a:cubicBezTo>
                <a:cubicBezTo>
                  <a:pt x="5232" y="8230"/>
                  <a:pt x="4994" y="8555"/>
                  <a:pt x="4656" y="8691"/>
                </a:cubicBezTo>
                <a:close/>
                <a:moveTo>
                  <a:pt x="4656" y="8691"/>
                </a:move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sp>
        <p:nvSpPr>
          <p:cNvPr id="22" name="文本框 21">
            <a:extLst>
              <a:ext uri="{FF2B5EF4-FFF2-40B4-BE49-F238E27FC236}">
                <a16:creationId xmlns:a16="http://schemas.microsoft.com/office/drawing/2014/main" id="{006F5C0E-78EC-44BD-A070-41F7B0E58491}"/>
              </a:ext>
            </a:extLst>
          </p:cNvPr>
          <p:cNvSpPr txBox="1"/>
          <p:nvPr/>
        </p:nvSpPr>
        <p:spPr>
          <a:xfrm>
            <a:off x="8852740" y="3596248"/>
            <a:ext cx="1154162" cy="276999"/>
          </a:xfrm>
          <a:prstGeom prst="rect">
            <a:avLst/>
          </a:prstGeom>
          <a:noFill/>
        </p:spPr>
        <p:txBody>
          <a:bodyPr wrap="none" lIns="0" tIns="0" rIns="0" bIns="0" rtlCol="0" anchor="t">
            <a:spAutoFit/>
          </a:bodyPr>
          <a:lstStyle/>
          <a:p>
            <a:pPr algn="l"/>
            <a:r>
              <a:rPr lang="zh-CN" altLang="en-US" dirty="0">
                <a:solidFill>
                  <a:schemeClr val="bg1"/>
                </a:solidFill>
                <a:latin typeface="+mj-ea"/>
                <a:ea typeface="+mj-ea"/>
              </a:rPr>
              <a:t>关键词标题</a:t>
            </a:r>
          </a:p>
        </p:txBody>
      </p:sp>
    </p:spTree>
    <p:custDataLst>
      <p:tags r:id="rId2"/>
    </p:custDataLst>
    <p:extLst>
      <p:ext uri="{BB962C8B-B14F-4D97-AF65-F5344CB8AC3E}">
        <p14:creationId xmlns:p14="http://schemas.microsoft.com/office/powerpoint/2010/main" val="1472066657"/>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a:extLst>
              <a:ext uri="{FF2B5EF4-FFF2-40B4-BE49-F238E27FC236}">
                <a16:creationId xmlns:a16="http://schemas.microsoft.com/office/drawing/2014/main" id="{F682F9CF-E3FB-4D92-9D66-55D5787E1B96}"/>
              </a:ext>
            </a:extLst>
          </p:cNvPr>
          <p:cNvSpPr/>
          <p:nvPr/>
        </p:nvSpPr>
        <p:spPr>
          <a:xfrm>
            <a:off x="0" y="1874520"/>
            <a:ext cx="12192000" cy="278892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p>
        </p:txBody>
      </p:sp>
      <p:sp>
        <p:nvSpPr>
          <p:cNvPr id="11" name="文本框 10">
            <a:extLst>
              <a:ext uri="{FF2B5EF4-FFF2-40B4-BE49-F238E27FC236}">
                <a16:creationId xmlns:a16="http://schemas.microsoft.com/office/drawing/2014/main" id="{E4393356-E9A7-46D9-B5F5-0D21EC991A29}"/>
              </a:ext>
            </a:extLst>
          </p:cNvPr>
          <p:cNvSpPr txBox="1"/>
          <p:nvPr/>
        </p:nvSpPr>
        <p:spPr>
          <a:xfrm>
            <a:off x="1941017" y="2813447"/>
            <a:ext cx="8309967" cy="1107996"/>
          </a:xfrm>
          <a:prstGeom prst="rect">
            <a:avLst/>
          </a:prstGeom>
          <a:noFill/>
        </p:spPr>
        <p:txBody>
          <a:bodyPr wrap="none" lIns="0" tIns="0" rIns="0" bIns="0" rtlCol="0" anchor="t">
            <a:spAutoFit/>
          </a:bodyPr>
          <a:lstStyle/>
          <a:p>
            <a:pPr algn="ctr"/>
            <a:r>
              <a:rPr lang="zh-CN" altLang="en-US" sz="7200" dirty="0">
                <a:solidFill>
                  <a:schemeClr val="bg1"/>
                </a:solidFill>
                <a:latin typeface="+mj-ea"/>
                <a:ea typeface="+mj-ea"/>
              </a:rPr>
              <a:t>输入你的封面大标题</a:t>
            </a:r>
          </a:p>
        </p:txBody>
      </p:sp>
      <p:sp>
        <p:nvSpPr>
          <p:cNvPr id="12" name="文本框 11">
            <a:extLst>
              <a:ext uri="{FF2B5EF4-FFF2-40B4-BE49-F238E27FC236}">
                <a16:creationId xmlns:a16="http://schemas.microsoft.com/office/drawing/2014/main" id="{08D1ED60-C0E7-408E-A5AA-59B489440FCB}"/>
              </a:ext>
            </a:extLst>
          </p:cNvPr>
          <p:cNvSpPr txBox="1"/>
          <p:nvPr/>
        </p:nvSpPr>
        <p:spPr>
          <a:xfrm>
            <a:off x="4095451" y="2275523"/>
            <a:ext cx="4001095" cy="369332"/>
          </a:xfrm>
          <a:prstGeom prst="rect">
            <a:avLst/>
          </a:prstGeom>
          <a:noFill/>
        </p:spPr>
        <p:txBody>
          <a:bodyPr wrap="none" lIns="0" tIns="0" rIns="0" bIns="0" rtlCol="0" anchor="t">
            <a:spAutoFit/>
          </a:bodyPr>
          <a:lstStyle/>
          <a:p>
            <a:pPr algn="ctr"/>
            <a:r>
              <a:rPr lang="zh-CN" altLang="en-US" sz="2400" dirty="0">
                <a:solidFill>
                  <a:schemeClr val="bg1"/>
                </a:solidFill>
                <a:latin typeface="+mn-ea"/>
              </a:rPr>
              <a:t>输入你的副标题或大标题英文</a:t>
            </a:r>
          </a:p>
        </p:txBody>
      </p:sp>
      <p:cxnSp>
        <p:nvCxnSpPr>
          <p:cNvPr id="14" name="直接连接符 13">
            <a:extLst>
              <a:ext uri="{FF2B5EF4-FFF2-40B4-BE49-F238E27FC236}">
                <a16:creationId xmlns:a16="http://schemas.microsoft.com/office/drawing/2014/main" id="{99FDF5DC-EAFA-4C3B-B052-660243EB047F}"/>
              </a:ext>
            </a:extLst>
          </p:cNvPr>
          <p:cNvCxnSpPr/>
          <p:nvPr/>
        </p:nvCxnSpPr>
        <p:spPr>
          <a:xfrm flipH="1">
            <a:off x="2029968" y="2465975"/>
            <a:ext cx="1901952"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 name="直接连接符 14">
            <a:extLst>
              <a:ext uri="{FF2B5EF4-FFF2-40B4-BE49-F238E27FC236}">
                <a16:creationId xmlns:a16="http://schemas.microsoft.com/office/drawing/2014/main" id="{C6CC629A-E754-4728-BB95-563C56597B63}"/>
              </a:ext>
            </a:extLst>
          </p:cNvPr>
          <p:cNvCxnSpPr/>
          <p:nvPr/>
        </p:nvCxnSpPr>
        <p:spPr>
          <a:xfrm flipH="1">
            <a:off x="8284464" y="2465975"/>
            <a:ext cx="1901952"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grpSp>
        <p:nvGrpSpPr>
          <p:cNvPr id="18" name="组合 17">
            <a:extLst>
              <a:ext uri="{FF2B5EF4-FFF2-40B4-BE49-F238E27FC236}">
                <a16:creationId xmlns:a16="http://schemas.microsoft.com/office/drawing/2014/main" id="{FC799265-AC15-410F-82A2-679AB60B288F}"/>
              </a:ext>
            </a:extLst>
          </p:cNvPr>
          <p:cNvGrpSpPr/>
          <p:nvPr/>
        </p:nvGrpSpPr>
        <p:grpSpPr>
          <a:xfrm>
            <a:off x="4331702" y="4145803"/>
            <a:ext cx="1475214" cy="246221"/>
            <a:chOff x="4095451" y="4640913"/>
            <a:chExt cx="1475214" cy="246221"/>
          </a:xfrm>
        </p:grpSpPr>
        <p:sp>
          <p:nvSpPr>
            <p:cNvPr id="16" name="矩形 15">
              <a:extLst>
                <a:ext uri="{FF2B5EF4-FFF2-40B4-BE49-F238E27FC236}">
                  <a16:creationId xmlns:a16="http://schemas.microsoft.com/office/drawing/2014/main" id="{74C493E7-1B47-4349-BC5B-BF3163490795}"/>
                </a:ext>
              </a:extLst>
            </p:cNvPr>
            <p:cNvSpPr/>
            <p:nvPr/>
          </p:nvSpPr>
          <p:spPr>
            <a:xfrm>
              <a:off x="4095451" y="4672584"/>
              <a:ext cx="164592" cy="1645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solidFill>
                  <a:schemeClr val="bg1"/>
                </a:solidFill>
              </a:endParaRPr>
            </a:p>
          </p:txBody>
        </p:sp>
        <p:sp>
          <p:nvSpPr>
            <p:cNvPr id="17" name="文本框 16">
              <a:extLst>
                <a:ext uri="{FF2B5EF4-FFF2-40B4-BE49-F238E27FC236}">
                  <a16:creationId xmlns:a16="http://schemas.microsoft.com/office/drawing/2014/main" id="{B804F6AA-7656-4EF8-84F0-3B3FB5CF0922}"/>
                </a:ext>
              </a:extLst>
            </p:cNvPr>
            <p:cNvSpPr txBox="1"/>
            <p:nvPr/>
          </p:nvSpPr>
          <p:spPr>
            <a:xfrm>
              <a:off x="4408487" y="4640913"/>
              <a:ext cx="1162178" cy="246221"/>
            </a:xfrm>
            <a:prstGeom prst="rect">
              <a:avLst/>
            </a:prstGeom>
            <a:noFill/>
          </p:spPr>
          <p:txBody>
            <a:bodyPr wrap="none" lIns="0" tIns="0" rIns="0" bIns="0" rtlCol="0" anchor="t">
              <a:spAutoFit/>
            </a:bodyPr>
            <a:lstStyle/>
            <a:p>
              <a:r>
                <a:rPr lang="zh-CN" altLang="en-US" sz="1600" dirty="0">
                  <a:solidFill>
                    <a:schemeClr val="bg1"/>
                  </a:solidFill>
                  <a:latin typeface="+mn-ea"/>
                </a:rPr>
                <a:t>汇报人：</a:t>
              </a:r>
              <a:r>
                <a:rPr lang="en-US" altLang="zh-CN" sz="1600" dirty="0">
                  <a:solidFill>
                    <a:schemeClr val="bg1"/>
                  </a:solidFill>
                  <a:latin typeface="+mn-ea"/>
                </a:rPr>
                <a:t>xxx</a:t>
              </a:r>
              <a:endParaRPr lang="zh-CN" altLang="en-US" sz="1600" dirty="0">
                <a:solidFill>
                  <a:schemeClr val="bg1"/>
                </a:solidFill>
                <a:latin typeface="+mn-ea"/>
              </a:endParaRPr>
            </a:p>
          </p:txBody>
        </p:sp>
      </p:grpSp>
      <p:grpSp>
        <p:nvGrpSpPr>
          <p:cNvPr id="19" name="组合 18">
            <a:extLst>
              <a:ext uri="{FF2B5EF4-FFF2-40B4-BE49-F238E27FC236}">
                <a16:creationId xmlns:a16="http://schemas.microsoft.com/office/drawing/2014/main" id="{482B1619-178E-45D1-BC39-C5F4314075B6}"/>
              </a:ext>
            </a:extLst>
          </p:cNvPr>
          <p:cNvGrpSpPr/>
          <p:nvPr/>
        </p:nvGrpSpPr>
        <p:grpSpPr>
          <a:xfrm>
            <a:off x="6590270" y="4145803"/>
            <a:ext cx="1270029" cy="246221"/>
            <a:chOff x="4095451" y="4640913"/>
            <a:chExt cx="1270029" cy="246221"/>
          </a:xfrm>
        </p:grpSpPr>
        <p:sp>
          <p:nvSpPr>
            <p:cNvPr id="20" name="矩形 19">
              <a:extLst>
                <a:ext uri="{FF2B5EF4-FFF2-40B4-BE49-F238E27FC236}">
                  <a16:creationId xmlns:a16="http://schemas.microsoft.com/office/drawing/2014/main" id="{3A1AE345-38CE-49BE-9E58-2C20078777A3}"/>
                </a:ext>
              </a:extLst>
            </p:cNvPr>
            <p:cNvSpPr/>
            <p:nvPr/>
          </p:nvSpPr>
          <p:spPr>
            <a:xfrm>
              <a:off x="4095451" y="4672584"/>
              <a:ext cx="164592" cy="1645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solidFill>
                  <a:schemeClr val="bg1"/>
                </a:solidFill>
              </a:endParaRPr>
            </a:p>
          </p:txBody>
        </p:sp>
        <p:sp>
          <p:nvSpPr>
            <p:cNvPr id="21" name="文本框 20">
              <a:extLst>
                <a:ext uri="{FF2B5EF4-FFF2-40B4-BE49-F238E27FC236}">
                  <a16:creationId xmlns:a16="http://schemas.microsoft.com/office/drawing/2014/main" id="{FCC3031D-C171-43E7-B549-82FC96054817}"/>
                </a:ext>
              </a:extLst>
            </p:cNvPr>
            <p:cNvSpPr txBox="1"/>
            <p:nvPr/>
          </p:nvSpPr>
          <p:spPr>
            <a:xfrm>
              <a:off x="4408487" y="4640913"/>
              <a:ext cx="956993" cy="246221"/>
            </a:xfrm>
            <a:prstGeom prst="rect">
              <a:avLst/>
            </a:prstGeom>
            <a:noFill/>
          </p:spPr>
          <p:txBody>
            <a:bodyPr wrap="none" lIns="0" tIns="0" rIns="0" bIns="0" rtlCol="0" anchor="t">
              <a:spAutoFit/>
            </a:bodyPr>
            <a:lstStyle/>
            <a:p>
              <a:r>
                <a:rPr lang="zh-CN" altLang="en-US" sz="1600" dirty="0">
                  <a:solidFill>
                    <a:schemeClr val="bg1"/>
                  </a:solidFill>
                  <a:latin typeface="+mn-ea"/>
                </a:rPr>
                <a:t>单位：</a:t>
              </a:r>
              <a:r>
                <a:rPr lang="en-US" altLang="zh-CN" sz="1600" dirty="0">
                  <a:solidFill>
                    <a:schemeClr val="bg1"/>
                  </a:solidFill>
                  <a:latin typeface="+mn-ea"/>
                </a:rPr>
                <a:t>xxx</a:t>
              </a:r>
              <a:endParaRPr lang="zh-CN" altLang="en-US" sz="1600" dirty="0">
                <a:solidFill>
                  <a:schemeClr val="bg1"/>
                </a:solidFill>
                <a:latin typeface="+mn-ea"/>
              </a:endParaRPr>
            </a:p>
          </p:txBody>
        </p:sp>
      </p:grpSp>
      <p:cxnSp>
        <p:nvCxnSpPr>
          <p:cNvPr id="4" name="直接连接符 3">
            <a:extLst>
              <a:ext uri="{FF2B5EF4-FFF2-40B4-BE49-F238E27FC236}">
                <a16:creationId xmlns:a16="http://schemas.microsoft.com/office/drawing/2014/main" id="{79D5BA83-9B07-477B-A4E0-9CC053B80AAA}"/>
              </a:ext>
            </a:extLst>
          </p:cNvPr>
          <p:cNvCxnSpPr/>
          <p:nvPr/>
        </p:nvCxnSpPr>
        <p:spPr>
          <a:xfrm>
            <a:off x="0" y="1714500"/>
            <a:ext cx="12192000" cy="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2" name="直接连接符 21">
            <a:extLst>
              <a:ext uri="{FF2B5EF4-FFF2-40B4-BE49-F238E27FC236}">
                <a16:creationId xmlns:a16="http://schemas.microsoft.com/office/drawing/2014/main" id="{F170A357-8087-4956-8C2A-585845B061E0}"/>
              </a:ext>
            </a:extLst>
          </p:cNvPr>
          <p:cNvCxnSpPr/>
          <p:nvPr/>
        </p:nvCxnSpPr>
        <p:spPr>
          <a:xfrm>
            <a:off x="0" y="4840986"/>
            <a:ext cx="12192000" cy="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16779840"/>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2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矩形: 圆角 2">
            <a:extLst>
              <a:ext uri="{FF2B5EF4-FFF2-40B4-BE49-F238E27FC236}">
                <a16:creationId xmlns:a16="http://schemas.microsoft.com/office/drawing/2014/main" id="{07C0BA06-D309-4698-B182-991703E87E76}"/>
              </a:ext>
            </a:extLst>
          </p:cNvPr>
          <p:cNvSpPr/>
          <p:nvPr/>
        </p:nvSpPr>
        <p:spPr>
          <a:xfrm>
            <a:off x="2225040" y="2439352"/>
            <a:ext cx="2381250" cy="1979295"/>
          </a:xfrm>
          <a:prstGeom prst="roundRect">
            <a:avLst>
              <a:gd name="adj" fmla="val 11877"/>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4" name="等腰三角形 3">
            <a:extLst>
              <a:ext uri="{FF2B5EF4-FFF2-40B4-BE49-F238E27FC236}">
                <a16:creationId xmlns:a16="http://schemas.microsoft.com/office/drawing/2014/main" id="{DC5AB4E9-5CC3-4EA2-A407-B5479DC5C86A}"/>
              </a:ext>
            </a:extLst>
          </p:cNvPr>
          <p:cNvSpPr/>
          <p:nvPr/>
        </p:nvSpPr>
        <p:spPr>
          <a:xfrm rot="10800000">
            <a:off x="3239453" y="4361989"/>
            <a:ext cx="352425" cy="303815"/>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5" name="文本框 4">
            <a:extLst>
              <a:ext uri="{FF2B5EF4-FFF2-40B4-BE49-F238E27FC236}">
                <a16:creationId xmlns:a16="http://schemas.microsoft.com/office/drawing/2014/main" id="{6DC79834-B59F-444C-8A73-4BE82D65948D}"/>
              </a:ext>
            </a:extLst>
          </p:cNvPr>
          <p:cNvSpPr txBox="1"/>
          <p:nvPr/>
        </p:nvSpPr>
        <p:spPr>
          <a:xfrm>
            <a:off x="2723168" y="2855882"/>
            <a:ext cx="1384994" cy="332399"/>
          </a:xfrm>
          <a:prstGeom prst="rect">
            <a:avLst/>
          </a:prstGeom>
          <a:noFill/>
          <a:effectLst/>
        </p:spPr>
        <p:txBody>
          <a:bodyPr wrap="none" lIns="0" tIns="0" rIns="0" bIns="0" rtlCol="0" anchor="t">
            <a:spAutoFit/>
          </a:bodyPr>
          <a:lstStyle/>
          <a:p>
            <a:r>
              <a:rPr lang="zh-CN" altLang="en-US" sz="2160" dirty="0">
                <a:solidFill>
                  <a:schemeClr val="bg1"/>
                </a:solidFill>
                <a:latin typeface="+mj-ea"/>
                <a:ea typeface="+mj-ea"/>
              </a:rPr>
              <a:t>关键词标题</a:t>
            </a:r>
          </a:p>
        </p:txBody>
      </p:sp>
      <p:sp>
        <p:nvSpPr>
          <p:cNvPr id="6" name="文本框 5">
            <a:extLst>
              <a:ext uri="{FF2B5EF4-FFF2-40B4-BE49-F238E27FC236}">
                <a16:creationId xmlns:a16="http://schemas.microsoft.com/office/drawing/2014/main" id="{8292D3C9-0278-4932-8805-18313DFE7911}"/>
              </a:ext>
            </a:extLst>
          </p:cNvPr>
          <p:cNvSpPr txBox="1"/>
          <p:nvPr/>
        </p:nvSpPr>
        <p:spPr>
          <a:xfrm>
            <a:off x="2607527" y="3259106"/>
            <a:ext cx="1616276" cy="944939"/>
          </a:xfrm>
          <a:prstGeom prst="rect">
            <a:avLst/>
          </a:prstGeom>
          <a:noFill/>
          <a:effectLst/>
        </p:spPr>
        <p:txBody>
          <a:bodyPr wrap="square" lIns="0" tIns="0" rIns="0" bIns="0" rtlCol="0" anchor="t">
            <a:spAutoFit/>
          </a:bodyPr>
          <a:lstStyle/>
          <a:p>
            <a:pPr algn="ctr">
              <a:lnSpc>
                <a:spcPct val="130000"/>
              </a:lnSpc>
            </a:pPr>
            <a:r>
              <a:rPr lang="en-US" altLang="zh-CN" sz="1200" b="0" dirty="0">
                <a:solidFill>
                  <a:schemeClr val="bg1"/>
                </a:solidFill>
                <a:effectLst/>
                <a:latin typeface="+mn-ea"/>
              </a:rPr>
              <a:t>Lorem ipsum dolor sit ametconsectetur adipisicing elit</a:t>
            </a:r>
            <a:r>
              <a:rPr lang="en-US" altLang="zh-CN" sz="1200" dirty="0">
                <a:solidFill>
                  <a:schemeClr val="bg1"/>
                </a:solidFill>
                <a:latin typeface="+mn-ea"/>
              </a:rPr>
              <a:t> </a:t>
            </a:r>
            <a:r>
              <a:rPr lang="en-US" altLang="zh-CN" sz="1200" b="0" dirty="0">
                <a:solidFill>
                  <a:schemeClr val="bg1"/>
                </a:solidFill>
                <a:effectLst/>
                <a:latin typeface="+mn-ea"/>
              </a:rPr>
              <a:t>sed do eiusmod tempor</a:t>
            </a:r>
            <a:endParaRPr lang="zh-CN" altLang="en-US" sz="1200" b="0" dirty="0">
              <a:solidFill>
                <a:schemeClr val="bg1"/>
              </a:solidFill>
              <a:effectLst/>
              <a:latin typeface="+mn-ea"/>
            </a:endParaRPr>
          </a:p>
        </p:txBody>
      </p:sp>
      <p:sp>
        <p:nvSpPr>
          <p:cNvPr id="7" name="椭圆 6">
            <a:extLst>
              <a:ext uri="{FF2B5EF4-FFF2-40B4-BE49-F238E27FC236}">
                <a16:creationId xmlns:a16="http://schemas.microsoft.com/office/drawing/2014/main" id="{7D499B79-6DD6-4034-9EB4-234C24B493FB}"/>
              </a:ext>
            </a:extLst>
          </p:cNvPr>
          <p:cNvSpPr/>
          <p:nvPr/>
        </p:nvSpPr>
        <p:spPr>
          <a:xfrm>
            <a:off x="3119438" y="2143124"/>
            <a:ext cx="592455" cy="592455"/>
          </a:xfrm>
          <a:prstGeom prst="ellipse">
            <a:avLst/>
          </a:prstGeom>
          <a:solidFill>
            <a:schemeClr val="accent1"/>
          </a:solidFill>
          <a:ln w="349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8" name="矩形: 圆角 7">
            <a:extLst>
              <a:ext uri="{FF2B5EF4-FFF2-40B4-BE49-F238E27FC236}">
                <a16:creationId xmlns:a16="http://schemas.microsoft.com/office/drawing/2014/main" id="{646271EF-5807-4FFC-8737-94D182A17B3A}"/>
              </a:ext>
            </a:extLst>
          </p:cNvPr>
          <p:cNvSpPr/>
          <p:nvPr/>
        </p:nvSpPr>
        <p:spPr>
          <a:xfrm>
            <a:off x="5205633" y="2439352"/>
            <a:ext cx="2381250" cy="1979295"/>
          </a:xfrm>
          <a:prstGeom prst="roundRect">
            <a:avLst>
              <a:gd name="adj" fmla="val 11877"/>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9" name="等腰三角形 8">
            <a:extLst>
              <a:ext uri="{FF2B5EF4-FFF2-40B4-BE49-F238E27FC236}">
                <a16:creationId xmlns:a16="http://schemas.microsoft.com/office/drawing/2014/main" id="{0D96EEAF-39AA-47CE-87C2-9FA947DB602F}"/>
              </a:ext>
            </a:extLst>
          </p:cNvPr>
          <p:cNvSpPr/>
          <p:nvPr/>
        </p:nvSpPr>
        <p:spPr>
          <a:xfrm rot="10800000">
            <a:off x="6220046" y="4361989"/>
            <a:ext cx="352425" cy="303815"/>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10" name="文本框 9">
            <a:extLst>
              <a:ext uri="{FF2B5EF4-FFF2-40B4-BE49-F238E27FC236}">
                <a16:creationId xmlns:a16="http://schemas.microsoft.com/office/drawing/2014/main" id="{C7E47EBD-0392-447D-8B32-5289C21502E4}"/>
              </a:ext>
            </a:extLst>
          </p:cNvPr>
          <p:cNvSpPr txBox="1"/>
          <p:nvPr/>
        </p:nvSpPr>
        <p:spPr>
          <a:xfrm>
            <a:off x="5703761" y="2855882"/>
            <a:ext cx="1384994" cy="332399"/>
          </a:xfrm>
          <a:prstGeom prst="rect">
            <a:avLst/>
          </a:prstGeom>
          <a:noFill/>
          <a:effectLst/>
        </p:spPr>
        <p:txBody>
          <a:bodyPr wrap="none" lIns="0" tIns="0" rIns="0" bIns="0" rtlCol="0" anchor="t">
            <a:spAutoFit/>
          </a:bodyPr>
          <a:lstStyle/>
          <a:p>
            <a:r>
              <a:rPr lang="zh-CN" altLang="en-US" sz="2160" dirty="0">
                <a:solidFill>
                  <a:schemeClr val="bg1"/>
                </a:solidFill>
                <a:latin typeface="+mj-ea"/>
                <a:ea typeface="+mj-ea"/>
              </a:rPr>
              <a:t>关键词标题</a:t>
            </a:r>
          </a:p>
        </p:txBody>
      </p:sp>
      <p:sp>
        <p:nvSpPr>
          <p:cNvPr id="11" name="文本框 10">
            <a:extLst>
              <a:ext uri="{FF2B5EF4-FFF2-40B4-BE49-F238E27FC236}">
                <a16:creationId xmlns:a16="http://schemas.microsoft.com/office/drawing/2014/main" id="{C1F04B94-B080-4EDB-8F5A-9F1A983A408A}"/>
              </a:ext>
            </a:extLst>
          </p:cNvPr>
          <p:cNvSpPr txBox="1"/>
          <p:nvPr/>
        </p:nvSpPr>
        <p:spPr>
          <a:xfrm>
            <a:off x="5588120" y="3259106"/>
            <a:ext cx="1616276" cy="944939"/>
          </a:xfrm>
          <a:prstGeom prst="rect">
            <a:avLst/>
          </a:prstGeom>
          <a:noFill/>
          <a:effectLst/>
        </p:spPr>
        <p:txBody>
          <a:bodyPr wrap="square" lIns="0" tIns="0" rIns="0" bIns="0" rtlCol="0" anchor="t">
            <a:spAutoFit/>
          </a:bodyPr>
          <a:lstStyle/>
          <a:p>
            <a:pPr algn="ctr">
              <a:lnSpc>
                <a:spcPct val="130000"/>
              </a:lnSpc>
            </a:pPr>
            <a:r>
              <a:rPr lang="en-US" altLang="zh-CN" sz="1200" b="0" dirty="0">
                <a:solidFill>
                  <a:schemeClr val="bg1"/>
                </a:solidFill>
                <a:effectLst/>
                <a:latin typeface="+mn-ea"/>
              </a:rPr>
              <a:t>Lorem ipsum dolor sit ametconsectetur adipisicing elit</a:t>
            </a:r>
            <a:r>
              <a:rPr lang="en-US" altLang="zh-CN" sz="1200" dirty="0">
                <a:solidFill>
                  <a:schemeClr val="bg1"/>
                </a:solidFill>
                <a:latin typeface="+mn-ea"/>
              </a:rPr>
              <a:t> </a:t>
            </a:r>
            <a:r>
              <a:rPr lang="en-US" altLang="zh-CN" sz="1200" b="0" dirty="0">
                <a:solidFill>
                  <a:schemeClr val="bg1"/>
                </a:solidFill>
                <a:effectLst/>
                <a:latin typeface="+mn-ea"/>
              </a:rPr>
              <a:t>sed do eiusmod tempor</a:t>
            </a:r>
            <a:endParaRPr lang="zh-CN" altLang="en-US" sz="1200" b="0" dirty="0">
              <a:solidFill>
                <a:schemeClr val="bg1"/>
              </a:solidFill>
              <a:effectLst/>
              <a:latin typeface="+mn-ea"/>
            </a:endParaRPr>
          </a:p>
        </p:txBody>
      </p:sp>
      <p:sp>
        <p:nvSpPr>
          <p:cNvPr id="12" name="椭圆 11">
            <a:extLst>
              <a:ext uri="{FF2B5EF4-FFF2-40B4-BE49-F238E27FC236}">
                <a16:creationId xmlns:a16="http://schemas.microsoft.com/office/drawing/2014/main" id="{1706D2E0-2736-4D71-B03B-6DDD2197AAE1}"/>
              </a:ext>
            </a:extLst>
          </p:cNvPr>
          <p:cNvSpPr/>
          <p:nvPr/>
        </p:nvSpPr>
        <p:spPr>
          <a:xfrm>
            <a:off x="6100031" y="2143124"/>
            <a:ext cx="592455" cy="592455"/>
          </a:xfrm>
          <a:prstGeom prst="ellipse">
            <a:avLst/>
          </a:prstGeom>
          <a:solidFill>
            <a:schemeClr val="accent1"/>
          </a:solidFill>
          <a:ln w="349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13" name="矩形: 圆角 12">
            <a:extLst>
              <a:ext uri="{FF2B5EF4-FFF2-40B4-BE49-F238E27FC236}">
                <a16:creationId xmlns:a16="http://schemas.microsoft.com/office/drawing/2014/main" id="{39D2504F-E067-41B3-85F7-E56BB3B1AA8B}"/>
              </a:ext>
            </a:extLst>
          </p:cNvPr>
          <p:cNvSpPr/>
          <p:nvPr/>
        </p:nvSpPr>
        <p:spPr>
          <a:xfrm>
            <a:off x="8186226" y="2439352"/>
            <a:ext cx="2381250" cy="1979295"/>
          </a:xfrm>
          <a:prstGeom prst="roundRect">
            <a:avLst>
              <a:gd name="adj" fmla="val 11877"/>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14" name="等腰三角形 13">
            <a:extLst>
              <a:ext uri="{FF2B5EF4-FFF2-40B4-BE49-F238E27FC236}">
                <a16:creationId xmlns:a16="http://schemas.microsoft.com/office/drawing/2014/main" id="{0A3DE736-B91E-4D67-BA24-F005004DE067}"/>
              </a:ext>
            </a:extLst>
          </p:cNvPr>
          <p:cNvSpPr/>
          <p:nvPr/>
        </p:nvSpPr>
        <p:spPr>
          <a:xfrm rot="10800000">
            <a:off x="9200639" y="4361989"/>
            <a:ext cx="352425" cy="303815"/>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15" name="文本框 14">
            <a:extLst>
              <a:ext uri="{FF2B5EF4-FFF2-40B4-BE49-F238E27FC236}">
                <a16:creationId xmlns:a16="http://schemas.microsoft.com/office/drawing/2014/main" id="{4EEBB919-6356-47C0-9609-3F4EB7DECD2E}"/>
              </a:ext>
            </a:extLst>
          </p:cNvPr>
          <p:cNvSpPr txBox="1"/>
          <p:nvPr/>
        </p:nvSpPr>
        <p:spPr>
          <a:xfrm>
            <a:off x="8684354" y="2855882"/>
            <a:ext cx="1384994" cy="332399"/>
          </a:xfrm>
          <a:prstGeom prst="rect">
            <a:avLst/>
          </a:prstGeom>
          <a:noFill/>
          <a:effectLst/>
        </p:spPr>
        <p:txBody>
          <a:bodyPr wrap="none" lIns="0" tIns="0" rIns="0" bIns="0" rtlCol="0" anchor="t">
            <a:spAutoFit/>
          </a:bodyPr>
          <a:lstStyle/>
          <a:p>
            <a:r>
              <a:rPr lang="zh-CN" altLang="en-US" sz="2160" dirty="0">
                <a:solidFill>
                  <a:schemeClr val="bg1"/>
                </a:solidFill>
                <a:latin typeface="+mj-ea"/>
                <a:ea typeface="+mj-ea"/>
              </a:rPr>
              <a:t>关键词标题</a:t>
            </a:r>
          </a:p>
        </p:txBody>
      </p:sp>
      <p:sp>
        <p:nvSpPr>
          <p:cNvPr id="16" name="文本框 15">
            <a:extLst>
              <a:ext uri="{FF2B5EF4-FFF2-40B4-BE49-F238E27FC236}">
                <a16:creationId xmlns:a16="http://schemas.microsoft.com/office/drawing/2014/main" id="{B45DC832-A7CD-4368-9E6B-95363072CAF1}"/>
              </a:ext>
            </a:extLst>
          </p:cNvPr>
          <p:cNvSpPr txBox="1"/>
          <p:nvPr/>
        </p:nvSpPr>
        <p:spPr>
          <a:xfrm>
            <a:off x="8568713" y="3259106"/>
            <a:ext cx="1616276" cy="944939"/>
          </a:xfrm>
          <a:prstGeom prst="rect">
            <a:avLst/>
          </a:prstGeom>
          <a:noFill/>
          <a:effectLst/>
        </p:spPr>
        <p:txBody>
          <a:bodyPr wrap="square" lIns="0" tIns="0" rIns="0" bIns="0" rtlCol="0" anchor="t">
            <a:spAutoFit/>
          </a:bodyPr>
          <a:lstStyle/>
          <a:p>
            <a:pPr algn="ctr">
              <a:lnSpc>
                <a:spcPct val="130000"/>
              </a:lnSpc>
            </a:pPr>
            <a:r>
              <a:rPr lang="en-US" altLang="zh-CN" sz="1200" b="0" dirty="0">
                <a:solidFill>
                  <a:schemeClr val="bg1"/>
                </a:solidFill>
                <a:effectLst/>
                <a:latin typeface="+mn-ea"/>
              </a:rPr>
              <a:t>Lorem ipsum dolor sit ametconsectetur adipisicing elit</a:t>
            </a:r>
            <a:r>
              <a:rPr lang="en-US" altLang="zh-CN" sz="1200" dirty="0">
                <a:solidFill>
                  <a:schemeClr val="bg1"/>
                </a:solidFill>
                <a:latin typeface="+mn-ea"/>
              </a:rPr>
              <a:t> </a:t>
            </a:r>
            <a:r>
              <a:rPr lang="en-US" altLang="zh-CN" sz="1200" b="0" dirty="0">
                <a:solidFill>
                  <a:schemeClr val="bg1"/>
                </a:solidFill>
                <a:effectLst/>
                <a:latin typeface="+mn-ea"/>
              </a:rPr>
              <a:t>sed do eiusmod tempor</a:t>
            </a:r>
            <a:endParaRPr lang="zh-CN" altLang="en-US" sz="1200" b="0" dirty="0">
              <a:solidFill>
                <a:schemeClr val="bg1"/>
              </a:solidFill>
              <a:effectLst/>
              <a:latin typeface="+mn-ea"/>
            </a:endParaRPr>
          </a:p>
        </p:txBody>
      </p:sp>
      <p:sp>
        <p:nvSpPr>
          <p:cNvPr id="17" name="椭圆 16">
            <a:extLst>
              <a:ext uri="{FF2B5EF4-FFF2-40B4-BE49-F238E27FC236}">
                <a16:creationId xmlns:a16="http://schemas.microsoft.com/office/drawing/2014/main" id="{981FD350-143C-4DC2-9821-3965228C9119}"/>
              </a:ext>
            </a:extLst>
          </p:cNvPr>
          <p:cNvSpPr/>
          <p:nvPr/>
        </p:nvSpPr>
        <p:spPr>
          <a:xfrm>
            <a:off x="9080624" y="2143124"/>
            <a:ext cx="592455" cy="592455"/>
          </a:xfrm>
          <a:prstGeom prst="ellipse">
            <a:avLst/>
          </a:prstGeom>
          <a:solidFill>
            <a:schemeClr val="accent1"/>
          </a:solidFill>
          <a:ln w="349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18" name="iconfont-1179-866479">
            <a:extLst>
              <a:ext uri="{FF2B5EF4-FFF2-40B4-BE49-F238E27FC236}">
                <a16:creationId xmlns:a16="http://schemas.microsoft.com/office/drawing/2014/main" id="{E8F55A21-1C8D-43CC-B1D5-6520BC494DC5}"/>
              </a:ext>
            </a:extLst>
          </p:cNvPr>
          <p:cNvSpPr/>
          <p:nvPr/>
        </p:nvSpPr>
        <p:spPr>
          <a:xfrm>
            <a:off x="3295015" y="2294519"/>
            <a:ext cx="241299" cy="285789"/>
          </a:xfrm>
          <a:custGeom>
            <a:avLst/>
            <a:gdLst>
              <a:gd name="T0" fmla="*/ 6573 w 9390"/>
              <a:gd name="T1" fmla="*/ 3437 h 11120"/>
              <a:gd name="T2" fmla="*/ 7967 w 9390"/>
              <a:gd name="T3" fmla="*/ 1730 h 11120"/>
              <a:gd name="T4" fmla="*/ 5311 w 9390"/>
              <a:gd name="T5" fmla="*/ 1140 h 11120"/>
              <a:gd name="T6" fmla="*/ 3129 w 9390"/>
              <a:gd name="T7" fmla="*/ 876 h 11120"/>
              <a:gd name="T8" fmla="*/ 2455 w 9390"/>
              <a:gd name="T9" fmla="*/ 3147 h 11120"/>
              <a:gd name="T10" fmla="*/ 7438 w 9390"/>
              <a:gd name="T11" fmla="*/ 4336 h 11120"/>
              <a:gd name="T12" fmla="*/ 2969 w 9390"/>
              <a:gd name="T13" fmla="*/ 4006 h 11120"/>
              <a:gd name="T14" fmla="*/ 0 w 9390"/>
              <a:gd name="T15" fmla="*/ 8570 h 11120"/>
              <a:gd name="T16" fmla="*/ 6860 w 9390"/>
              <a:gd name="T17" fmla="*/ 11120 h 11120"/>
              <a:gd name="T18" fmla="*/ 7438 w 9390"/>
              <a:gd name="T19" fmla="*/ 4336 h 11120"/>
              <a:gd name="T20" fmla="*/ 5549 w 9390"/>
              <a:gd name="T21" fmla="*/ 7248 h 11120"/>
              <a:gd name="T22" fmla="*/ 5919 w 9390"/>
              <a:gd name="T23" fmla="*/ 7515 h 11120"/>
              <a:gd name="T24" fmla="*/ 6098 w 9390"/>
              <a:gd name="T25" fmla="*/ 7695 h 11120"/>
              <a:gd name="T26" fmla="*/ 5384 w 9390"/>
              <a:gd name="T27" fmla="*/ 7874 h 11120"/>
              <a:gd name="T28" fmla="*/ 5195 w 9390"/>
              <a:gd name="T29" fmla="*/ 8151 h 11120"/>
              <a:gd name="T30" fmla="*/ 5919 w 9390"/>
              <a:gd name="T31" fmla="*/ 8331 h 11120"/>
              <a:gd name="T32" fmla="*/ 5919 w 9390"/>
              <a:gd name="T33" fmla="*/ 8690 h 11120"/>
              <a:gd name="T34" fmla="*/ 5195 w 9390"/>
              <a:gd name="T35" fmla="*/ 8870 h 11120"/>
              <a:gd name="T36" fmla="*/ 5015 w 9390"/>
              <a:gd name="T37" fmla="*/ 9507 h 11120"/>
              <a:gd name="T38" fmla="*/ 4510 w 9390"/>
              <a:gd name="T39" fmla="*/ 9327 h 11120"/>
              <a:gd name="T40" fmla="*/ 4330 w 9390"/>
              <a:gd name="T41" fmla="*/ 8690 h 11120"/>
              <a:gd name="T42" fmla="*/ 3612 w 9390"/>
              <a:gd name="T43" fmla="*/ 8510 h 11120"/>
              <a:gd name="T44" fmla="*/ 4329 w 9390"/>
              <a:gd name="T45" fmla="*/ 8331 h 11120"/>
              <a:gd name="T46" fmla="*/ 4511 w 9390"/>
              <a:gd name="T47" fmla="*/ 8063 h 11120"/>
              <a:gd name="T48" fmla="*/ 3792 w 9390"/>
              <a:gd name="T49" fmla="*/ 7873 h 11120"/>
              <a:gd name="T50" fmla="*/ 3612 w 9390"/>
              <a:gd name="T51" fmla="*/ 7694 h 11120"/>
              <a:gd name="T52" fmla="*/ 3999 w 9390"/>
              <a:gd name="T53" fmla="*/ 7514 h 11120"/>
              <a:gd name="T54" fmla="*/ 3406 w 9390"/>
              <a:gd name="T55" fmla="*/ 5887 h 11120"/>
              <a:gd name="T56" fmla="*/ 3920 w 9390"/>
              <a:gd name="T57" fmla="*/ 5620 h 11120"/>
              <a:gd name="T58" fmla="*/ 4691 w 9390"/>
              <a:gd name="T59" fmla="*/ 6937 h 11120"/>
              <a:gd name="T60" fmla="*/ 5623 w 9390"/>
              <a:gd name="T61" fmla="*/ 5719 h 11120"/>
              <a:gd name="T62" fmla="*/ 6140 w 9390"/>
              <a:gd name="T63" fmla="*/ 5620 h 1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390" h="11120">
                <a:moveTo>
                  <a:pt x="3078" y="3437"/>
                </a:moveTo>
                <a:lnTo>
                  <a:pt x="6573" y="3437"/>
                </a:lnTo>
                <a:cubicBezTo>
                  <a:pt x="6809" y="3437"/>
                  <a:pt x="7036" y="3338"/>
                  <a:pt x="7187" y="3157"/>
                </a:cubicBezTo>
                <a:cubicBezTo>
                  <a:pt x="7548" y="2728"/>
                  <a:pt x="7890" y="2202"/>
                  <a:pt x="7967" y="1730"/>
                </a:cubicBezTo>
                <a:cubicBezTo>
                  <a:pt x="8121" y="786"/>
                  <a:pt x="7717" y="307"/>
                  <a:pt x="6544" y="307"/>
                </a:cubicBezTo>
                <a:cubicBezTo>
                  <a:pt x="5370" y="307"/>
                  <a:pt x="5767" y="1077"/>
                  <a:pt x="5311" y="1140"/>
                </a:cubicBezTo>
                <a:cubicBezTo>
                  <a:pt x="4971" y="1187"/>
                  <a:pt x="4983" y="739"/>
                  <a:pt x="4449" y="308"/>
                </a:cubicBezTo>
                <a:cubicBezTo>
                  <a:pt x="4066" y="0"/>
                  <a:pt x="3636" y="871"/>
                  <a:pt x="3129" y="876"/>
                </a:cubicBezTo>
                <a:cubicBezTo>
                  <a:pt x="2538" y="884"/>
                  <a:pt x="1707" y="720"/>
                  <a:pt x="1707" y="1730"/>
                </a:cubicBezTo>
                <a:cubicBezTo>
                  <a:pt x="1707" y="2138"/>
                  <a:pt x="2065" y="2690"/>
                  <a:pt x="2455" y="3147"/>
                </a:cubicBezTo>
                <a:cubicBezTo>
                  <a:pt x="2612" y="3330"/>
                  <a:pt x="2838" y="3437"/>
                  <a:pt x="3078" y="3437"/>
                </a:cubicBezTo>
                <a:close/>
                <a:moveTo>
                  <a:pt x="7438" y="4336"/>
                </a:moveTo>
                <a:cubicBezTo>
                  <a:pt x="7252" y="4125"/>
                  <a:pt x="6981" y="4006"/>
                  <a:pt x="6699" y="4006"/>
                </a:cubicBezTo>
                <a:lnTo>
                  <a:pt x="2969" y="4006"/>
                </a:lnTo>
                <a:cubicBezTo>
                  <a:pt x="2700" y="4006"/>
                  <a:pt x="2440" y="4115"/>
                  <a:pt x="2253" y="4310"/>
                </a:cubicBezTo>
                <a:cubicBezTo>
                  <a:pt x="1081" y="5538"/>
                  <a:pt x="0" y="7291"/>
                  <a:pt x="0" y="8570"/>
                </a:cubicBezTo>
                <a:cubicBezTo>
                  <a:pt x="0" y="9697"/>
                  <a:pt x="1133" y="11120"/>
                  <a:pt x="2530" y="11120"/>
                </a:cubicBezTo>
                <a:lnTo>
                  <a:pt x="6860" y="11120"/>
                </a:lnTo>
                <a:cubicBezTo>
                  <a:pt x="8257" y="11120"/>
                  <a:pt x="9390" y="9709"/>
                  <a:pt x="9390" y="8570"/>
                </a:cubicBezTo>
                <a:cubicBezTo>
                  <a:pt x="9390" y="7268"/>
                  <a:pt x="8520" y="5564"/>
                  <a:pt x="7438" y="4336"/>
                </a:cubicBezTo>
                <a:close/>
                <a:moveTo>
                  <a:pt x="6299" y="5888"/>
                </a:moveTo>
                <a:lnTo>
                  <a:pt x="5549" y="7248"/>
                </a:lnTo>
                <a:cubicBezTo>
                  <a:pt x="5483" y="7368"/>
                  <a:pt x="5570" y="7515"/>
                  <a:pt x="5706" y="7515"/>
                </a:cubicBezTo>
                <a:lnTo>
                  <a:pt x="5919" y="7515"/>
                </a:lnTo>
                <a:cubicBezTo>
                  <a:pt x="6017" y="7515"/>
                  <a:pt x="6098" y="7595"/>
                  <a:pt x="6098" y="7695"/>
                </a:cubicBezTo>
                <a:lnTo>
                  <a:pt x="6098" y="7695"/>
                </a:lnTo>
                <a:cubicBezTo>
                  <a:pt x="6098" y="7793"/>
                  <a:pt x="6018" y="7874"/>
                  <a:pt x="5919" y="7874"/>
                </a:cubicBezTo>
                <a:lnTo>
                  <a:pt x="5384" y="7874"/>
                </a:lnTo>
                <a:cubicBezTo>
                  <a:pt x="5279" y="7874"/>
                  <a:pt x="5196" y="7958"/>
                  <a:pt x="5195" y="8062"/>
                </a:cubicBezTo>
                <a:lnTo>
                  <a:pt x="5195" y="8151"/>
                </a:lnTo>
                <a:cubicBezTo>
                  <a:pt x="5195" y="8249"/>
                  <a:pt x="5275" y="8331"/>
                  <a:pt x="5375" y="8331"/>
                </a:cubicBezTo>
                <a:lnTo>
                  <a:pt x="5919" y="8331"/>
                </a:lnTo>
                <a:cubicBezTo>
                  <a:pt x="6017" y="8331"/>
                  <a:pt x="6098" y="8411"/>
                  <a:pt x="6098" y="8510"/>
                </a:cubicBezTo>
                <a:cubicBezTo>
                  <a:pt x="6098" y="8610"/>
                  <a:pt x="6018" y="8690"/>
                  <a:pt x="5919" y="8690"/>
                </a:cubicBezTo>
                <a:lnTo>
                  <a:pt x="5375" y="8690"/>
                </a:lnTo>
                <a:cubicBezTo>
                  <a:pt x="5276" y="8690"/>
                  <a:pt x="5195" y="8770"/>
                  <a:pt x="5195" y="8870"/>
                </a:cubicBezTo>
                <a:lnTo>
                  <a:pt x="5195" y="9327"/>
                </a:lnTo>
                <a:cubicBezTo>
                  <a:pt x="5195" y="9426"/>
                  <a:pt x="5115" y="9507"/>
                  <a:pt x="5015" y="9507"/>
                </a:cubicBezTo>
                <a:lnTo>
                  <a:pt x="4690" y="9507"/>
                </a:lnTo>
                <a:cubicBezTo>
                  <a:pt x="4591" y="9507"/>
                  <a:pt x="4510" y="9427"/>
                  <a:pt x="4510" y="9327"/>
                </a:cubicBezTo>
                <a:lnTo>
                  <a:pt x="4510" y="8870"/>
                </a:lnTo>
                <a:cubicBezTo>
                  <a:pt x="4510" y="8771"/>
                  <a:pt x="4430" y="8690"/>
                  <a:pt x="4330" y="8690"/>
                </a:cubicBezTo>
                <a:lnTo>
                  <a:pt x="3792" y="8690"/>
                </a:lnTo>
                <a:cubicBezTo>
                  <a:pt x="3693" y="8690"/>
                  <a:pt x="3612" y="8610"/>
                  <a:pt x="3612" y="8510"/>
                </a:cubicBezTo>
                <a:cubicBezTo>
                  <a:pt x="3612" y="8411"/>
                  <a:pt x="3692" y="8331"/>
                  <a:pt x="3792" y="8331"/>
                </a:cubicBezTo>
                <a:lnTo>
                  <a:pt x="4329" y="8331"/>
                </a:lnTo>
                <a:cubicBezTo>
                  <a:pt x="4429" y="8331"/>
                  <a:pt x="4509" y="8251"/>
                  <a:pt x="4510" y="8151"/>
                </a:cubicBezTo>
                <a:lnTo>
                  <a:pt x="4511" y="8063"/>
                </a:lnTo>
                <a:cubicBezTo>
                  <a:pt x="4512" y="7959"/>
                  <a:pt x="4427" y="7873"/>
                  <a:pt x="4322" y="7873"/>
                </a:cubicBezTo>
                <a:lnTo>
                  <a:pt x="3792" y="7873"/>
                </a:lnTo>
                <a:cubicBezTo>
                  <a:pt x="3693" y="7873"/>
                  <a:pt x="3612" y="7793"/>
                  <a:pt x="3612" y="7694"/>
                </a:cubicBezTo>
                <a:lnTo>
                  <a:pt x="3612" y="7694"/>
                </a:lnTo>
                <a:cubicBezTo>
                  <a:pt x="3612" y="7595"/>
                  <a:pt x="3692" y="7514"/>
                  <a:pt x="3792" y="7514"/>
                </a:cubicBezTo>
                <a:lnTo>
                  <a:pt x="3999" y="7514"/>
                </a:lnTo>
                <a:cubicBezTo>
                  <a:pt x="4136" y="7514"/>
                  <a:pt x="4221" y="7367"/>
                  <a:pt x="4156" y="7247"/>
                </a:cubicBezTo>
                <a:lnTo>
                  <a:pt x="3406" y="5887"/>
                </a:lnTo>
                <a:cubicBezTo>
                  <a:pt x="3340" y="5767"/>
                  <a:pt x="3426" y="5620"/>
                  <a:pt x="3562" y="5620"/>
                </a:cubicBezTo>
                <a:lnTo>
                  <a:pt x="3920" y="5620"/>
                </a:lnTo>
                <a:cubicBezTo>
                  <a:pt x="3988" y="5620"/>
                  <a:pt x="4050" y="5659"/>
                  <a:pt x="4080" y="5719"/>
                </a:cubicBezTo>
                <a:lnTo>
                  <a:pt x="4691" y="6937"/>
                </a:lnTo>
                <a:cubicBezTo>
                  <a:pt x="4756" y="7069"/>
                  <a:pt x="4945" y="7069"/>
                  <a:pt x="5012" y="6937"/>
                </a:cubicBezTo>
                <a:lnTo>
                  <a:pt x="5623" y="5719"/>
                </a:lnTo>
                <a:cubicBezTo>
                  <a:pt x="5653" y="5659"/>
                  <a:pt x="5715" y="5620"/>
                  <a:pt x="5783" y="5620"/>
                </a:cubicBezTo>
                <a:lnTo>
                  <a:pt x="6140" y="5620"/>
                </a:lnTo>
                <a:cubicBezTo>
                  <a:pt x="6278" y="5622"/>
                  <a:pt x="6365" y="5768"/>
                  <a:pt x="6299" y="5888"/>
                </a:cubicBez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09728" tIns="54864" rIns="109728" bIns="54864" rtlCol="0" anchor="ctr"/>
          <a:lstStyle/>
          <a:p>
            <a:pPr algn="ctr"/>
            <a:endParaRPr lang="en-US" sz="2160" dirty="0"/>
          </a:p>
        </p:txBody>
      </p:sp>
      <p:sp>
        <p:nvSpPr>
          <p:cNvPr id="19" name="iconfont-1187-868110">
            <a:extLst>
              <a:ext uri="{FF2B5EF4-FFF2-40B4-BE49-F238E27FC236}">
                <a16:creationId xmlns:a16="http://schemas.microsoft.com/office/drawing/2014/main" id="{596AC421-EE0E-4DD1-8F3C-25745887F47A}"/>
              </a:ext>
            </a:extLst>
          </p:cNvPr>
          <p:cNvSpPr/>
          <p:nvPr/>
        </p:nvSpPr>
        <p:spPr>
          <a:xfrm>
            <a:off x="6258366" y="2318944"/>
            <a:ext cx="271022" cy="261364"/>
          </a:xfrm>
          <a:custGeom>
            <a:avLst/>
            <a:gdLst>
              <a:gd name="T0" fmla="*/ 11888 w 12803"/>
              <a:gd name="T1" fmla="*/ 0 h 12345"/>
              <a:gd name="T2" fmla="*/ 914 w 12803"/>
              <a:gd name="T3" fmla="*/ 0 h 12345"/>
              <a:gd name="T4" fmla="*/ 0 w 12803"/>
              <a:gd name="T5" fmla="*/ 914 h 12345"/>
              <a:gd name="T6" fmla="*/ 0 w 12803"/>
              <a:gd name="T7" fmla="*/ 8687 h 12345"/>
              <a:gd name="T8" fmla="*/ 914 w 12803"/>
              <a:gd name="T9" fmla="*/ 9602 h 12345"/>
              <a:gd name="T10" fmla="*/ 3201 w 12803"/>
              <a:gd name="T11" fmla="*/ 9602 h 12345"/>
              <a:gd name="T12" fmla="*/ 3201 w 12803"/>
              <a:gd name="T13" fmla="*/ 12345 h 12345"/>
              <a:gd name="T14" fmla="*/ 8230 w 12803"/>
              <a:gd name="T15" fmla="*/ 9602 h 12345"/>
              <a:gd name="T16" fmla="*/ 11888 w 12803"/>
              <a:gd name="T17" fmla="*/ 9602 h 12345"/>
              <a:gd name="T18" fmla="*/ 12803 w 12803"/>
              <a:gd name="T19" fmla="*/ 8687 h 12345"/>
              <a:gd name="T20" fmla="*/ 12803 w 12803"/>
              <a:gd name="T21" fmla="*/ 914 h 12345"/>
              <a:gd name="T22" fmla="*/ 11888 w 12803"/>
              <a:gd name="T23" fmla="*/ 0 h 12345"/>
              <a:gd name="T24" fmla="*/ 3201 w 12803"/>
              <a:gd name="T25" fmla="*/ 5487 h 12345"/>
              <a:gd name="T26" fmla="*/ 2286 w 12803"/>
              <a:gd name="T27" fmla="*/ 4572 h 12345"/>
              <a:gd name="T28" fmla="*/ 3201 w 12803"/>
              <a:gd name="T29" fmla="*/ 3658 h 12345"/>
              <a:gd name="T30" fmla="*/ 4115 w 12803"/>
              <a:gd name="T31" fmla="*/ 4572 h 12345"/>
              <a:gd name="T32" fmla="*/ 3201 w 12803"/>
              <a:gd name="T33" fmla="*/ 5487 h 12345"/>
              <a:gd name="T34" fmla="*/ 6401 w 12803"/>
              <a:gd name="T35" fmla="*/ 5487 h 12345"/>
              <a:gd name="T36" fmla="*/ 5487 w 12803"/>
              <a:gd name="T37" fmla="*/ 4572 h 12345"/>
              <a:gd name="T38" fmla="*/ 6401 w 12803"/>
              <a:gd name="T39" fmla="*/ 3658 h 12345"/>
              <a:gd name="T40" fmla="*/ 7316 w 12803"/>
              <a:gd name="T41" fmla="*/ 4572 h 12345"/>
              <a:gd name="T42" fmla="*/ 6401 w 12803"/>
              <a:gd name="T43" fmla="*/ 5487 h 12345"/>
              <a:gd name="T44" fmla="*/ 9602 w 12803"/>
              <a:gd name="T45" fmla="*/ 5487 h 12345"/>
              <a:gd name="T46" fmla="*/ 8687 w 12803"/>
              <a:gd name="T47" fmla="*/ 4572 h 12345"/>
              <a:gd name="T48" fmla="*/ 9602 w 12803"/>
              <a:gd name="T49" fmla="*/ 3658 h 12345"/>
              <a:gd name="T50" fmla="*/ 10516 w 12803"/>
              <a:gd name="T51" fmla="*/ 4572 h 12345"/>
              <a:gd name="T52" fmla="*/ 9602 w 12803"/>
              <a:gd name="T53" fmla="*/ 5487 h 12345"/>
              <a:gd name="T54" fmla="*/ 9602 w 12803"/>
              <a:gd name="T55" fmla="*/ 5487 h 123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2803" h="12345">
                <a:moveTo>
                  <a:pt x="11888" y="0"/>
                </a:moveTo>
                <a:lnTo>
                  <a:pt x="914" y="0"/>
                </a:lnTo>
                <a:cubicBezTo>
                  <a:pt x="409" y="0"/>
                  <a:pt x="0" y="409"/>
                  <a:pt x="0" y="914"/>
                </a:cubicBezTo>
                <a:lnTo>
                  <a:pt x="0" y="8687"/>
                </a:lnTo>
                <a:cubicBezTo>
                  <a:pt x="0" y="9193"/>
                  <a:pt x="409" y="9602"/>
                  <a:pt x="914" y="9602"/>
                </a:cubicBezTo>
                <a:lnTo>
                  <a:pt x="3201" y="9602"/>
                </a:lnTo>
                <a:lnTo>
                  <a:pt x="3201" y="12345"/>
                </a:lnTo>
                <a:lnTo>
                  <a:pt x="8230" y="9602"/>
                </a:lnTo>
                <a:lnTo>
                  <a:pt x="11888" y="9602"/>
                </a:lnTo>
                <a:cubicBezTo>
                  <a:pt x="12393" y="9602"/>
                  <a:pt x="12803" y="9193"/>
                  <a:pt x="12803" y="8687"/>
                </a:cubicBezTo>
                <a:lnTo>
                  <a:pt x="12803" y="914"/>
                </a:lnTo>
                <a:cubicBezTo>
                  <a:pt x="12803" y="409"/>
                  <a:pt x="12393" y="0"/>
                  <a:pt x="11888" y="0"/>
                </a:cubicBezTo>
                <a:close/>
                <a:moveTo>
                  <a:pt x="3201" y="5487"/>
                </a:moveTo>
                <a:cubicBezTo>
                  <a:pt x="2695" y="5487"/>
                  <a:pt x="2286" y="5077"/>
                  <a:pt x="2286" y="4572"/>
                </a:cubicBezTo>
                <a:cubicBezTo>
                  <a:pt x="2286" y="4067"/>
                  <a:pt x="2695" y="3658"/>
                  <a:pt x="3201" y="3658"/>
                </a:cubicBezTo>
                <a:cubicBezTo>
                  <a:pt x="3706" y="3658"/>
                  <a:pt x="4115" y="4067"/>
                  <a:pt x="4115" y="4572"/>
                </a:cubicBezTo>
                <a:cubicBezTo>
                  <a:pt x="4115" y="5077"/>
                  <a:pt x="3706" y="5487"/>
                  <a:pt x="3201" y="5487"/>
                </a:cubicBezTo>
                <a:close/>
                <a:moveTo>
                  <a:pt x="6401" y="5487"/>
                </a:moveTo>
                <a:cubicBezTo>
                  <a:pt x="5896" y="5487"/>
                  <a:pt x="5487" y="5077"/>
                  <a:pt x="5487" y="4572"/>
                </a:cubicBezTo>
                <a:cubicBezTo>
                  <a:pt x="5487" y="4067"/>
                  <a:pt x="5896" y="3658"/>
                  <a:pt x="6401" y="3658"/>
                </a:cubicBezTo>
                <a:cubicBezTo>
                  <a:pt x="6907" y="3658"/>
                  <a:pt x="7316" y="4067"/>
                  <a:pt x="7316" y="4572"/>
                </a:cubicBezTo>
                <a:cubicBezTo>
                  <a:pt x="7316" y="5077"/>
                  <a:pt x="6907" y="5487"/>
                  <a:pt x="6401" y="5487"/>
                </a:cubicBezTo>
                <a:close/>
                <a:moveTo>
                  <a:pt x="9602" y="5487"/>
                </a:moveTo>
                <a:cubicBezTo>
                  <a:pt x="9097" y="5487"/>
                  <a:pt x="8687" y="5077"/>
                  <a:pt x="8687" y="4572"/>
                </a:cubicBezTo>
                <a:cubicBezTo>
                  <a:pt x="8687" y="4067"/>
                  <a:pt x="9097" y="3658"/>
                  <a:pt x="9602" y="3658"/>
                </a:cubicBezTo>
                <a:cubicBezTo>
                  <a:pt x="10107" y="3658"/>
                  <a:pt x="10516" y="4067"/>
                  <a:pt x="10516" y="4572"/>
                </a:cubicBezTo>
                <a:cubicBezTo>
                  <a:pt x="10516" y="5077"/>
                  <a:pt x="10107" y="5487"/>
                  <a:pt x="9602" y="5487"/>
                </a:cubicBezTo>
                <a:close/>
                <a:moveTo>
                  <a:pt x="9602" y="5487"/>
                </a:move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09728" tIns="54864" rIns="109728" bIns="54864" rtlCol="0" anchor="ctr"/>
          <a:lstStyle/>
          <a:p>
            <a:pPr algn="ctr"/>
            <a:endParaRPr lang="en-US" sz="2160" dirty="0"/>
          </a:p>
        </p:txBody>
      </p:sp>
      <p:sp>
        <p:nvSpPr>
          <p:cNvPr id="20" name="iconfont-1186-646597">
            <a:extLst>
              <a:ext uri="{FF2B5EF4-FFF2-40B4-BE49-F238E27FC236}">
                <a16:creationId xmlns:a16="http://schemas.microsoft.com/office/drawing/2014/main" id="{0C88A3F6-03CA-4176-B0FB-3A50EA8EB50D}"/>
              </a:ext>
            </a:extLst>
          </p:cNvPr>
          <p:cNvSpPr/>
          <p:nvPr/>
        </p:nvSpPr>
        <p:spPr>
          <a:xfrm>
            <a:off x="9260717" y="2301716"/>
            <a:ext cx="232268" cy="271394"/>
          </a:xfrm>
          <a:custGeom>
            <a:avLst/>
            <a:gdLst>
              <a:gd name="T0" fmla="*/ 8209 w 10908"/>
              <a:gd name="T1" fmla="*/ 2143 h 12744"/>
              <a:gd name="T2" fmla="*/ 8209 w 10908"/>
              <a:gd name="T3" fmla="*/ 1057 h 12744"/>
              <a:gd name="T4" fmla="*/ 7124 w 10908"/>
              <a:gd name="T5" fmla="*/ 0 h 12744"/>
              <a:gd name="T6" fmla="*/ 3840 w 10908"/>
              <a:gd name="T7" fmla="*/ 0 h 12744"/>
              <a:gd name="T8" fmla="*/ 2755 w 10908"/>
              <a:gd name="T9" fmla="*/ 1057 h 12744"/>
              <a:gd name="T10" fmla="*/ 2755 w 10908"/>
              <a:gd name="T11" fmla="*/ 2115 h 12744"/>
              <a:gd name="T12" fmla="*/ 0 w 10908"/>
              <a:gd name="T13" fmla="*/ 2115 h 12744"/>
              <a:gd name="T14" fmla="*/ 0 w 10908"/>
              <a:gd name="T15" fmla="*/ 3172 h 12744"/>
              <a:gd name="T16" fmla="*/ 1085 w 10908"/>
              <a:gd name="T17" fmla="*/ 3172 h 12744"/>
              <a:gd name="T18" fmla="*/ 1085 w 10908"/>
              <a:gd name="T19" fmla="*/ 11687 h 12744"/>
              <a:gd name="T20" fmla="*/ 2171 w 10908"/>
              <a:gd name="T21" fmla="*/ 12744 h 12744"/>
              <a:gd name="T22" fmla="*/ 8738 w 10908"/>
              <a:gd name="T23" fmla="*/ 12744 h 12744"/>
              <a:gd name="T24" fmla="*/ 9823 w 10908"/>
              <a:gd name="T25" fmla="*/ 11687 h 12744"/>
              <a:gd name="T26" fmla="*/ 9823 w 10908"/>
              <a:gd name="T27" fmla="*/ 3200 h 12744"/>
              <a:gd name="T28" fmla="*/ 10908 w 10908"/>
              <a:gd name="T29" fmla="*/ 3200 h 12744"/>
              <a:gd name="T30" fmla="*/ 10908 w 10908"/>
              <a:gd name="T31" fmla="*/ 2143 h 12744"/>
              <a:gd name="T32" fmla="*/ 8209 w 10908"/>
              <a:gd name="T33" fmla="*/ 2143 h 12744"/>
              <a:gd name="T34" fmla="*/ 4870 w 10908"/>
              <a:gd name="T35" fmla="*/ 10963 h 12744"/>
              <a:gd name="T36" fmla="*/ 3645 w 10908"/>
              <a:gd name="T37" fmla="*/ 10963 h 12744"/>
              <a:gd name="T38" fmla="*/ 3645 w 10908"/>
              <a:gd name="T39" fmla="*/ 4257 h 12744"/>
              <a:gd name="T40" fmla="*/ 4870 w 10908"/>
              <a:gd name="T41" fmla="*/ 4257 h 12744"/>
              <a:gd name="T42" fmla="*/ 4870 w 10908"/>
              <a:gd name="T43" fmla="*/ 10963 h 12744"/>
              <a:gd name="T44" fmla="*/ 7319 w 10908"/>
              <a:gd name="T45" fmla="*/ 10963 h 12744"/>
              <a:gd name="T46" fmla="*/ 6094 w 10908"/>
              <a:gd name="T47" fmla="*/ 10963 h 12744"/>
              <a:gd name="T48" fmla="*/ 6094 w 10908"/>
              <a:gd name="T49" fmla="*/ 4257 h 12744"/>
              <a:gd name="T50" fmla="*/ 7319 w 10908"/>
              <a:gd name="T51" fmla="*/ 4257 h 12744"/>
              <a:gd name="T52" fmla="*/ 7319 w 10908"/>
              <a:gd name="T53" fmla="*/ 10963 h 127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0908" h="12744">
                <a:moveTo>
                  <a:pt x="8209" y="2143"/>
                </a:moveTo>
                <a:lnTo>
                  <a:pt x="8209" y="1057"/>
                </a:lnTo>
                <a:cubicBezTo>
                  <a:pt x="8209" y="473"/>
                  <a:pt x="7708" y="0"/>
                  <a:pt x="7124" y="0"/>
                </a:cubicBezTo>
                <a:lnTo>
                  <a:pt x="3840" y="0"/>
                </a:lnTo>
                <a:cubicBezTo>
                  <a:pt x="3228" y="0"/>
                  <a:pt x="2755" y="473"/>
                  <a:pt x="2755" y="1057"/>
                </a:cubicBezTo>
                <a:lnTo>
                  <a:pt x="2755" y="2115"/>
                </a:lnTo>
                <a:lnTo>
                  <a:pt x="0" y="2115"/>
                </a:lnTo>
                <a:lnTo>
                  <a:pt x="0" y="3172"/>
                </a:lnTo>
                <a:lnTo>
                  <a:pt x="1085" y="3172"/>
                </a:lnTo>
                <a:lnTo>
                  <a:pt x="1085" y="11687"/>
                </a:lnTo>
                <a:cubicBezTo>
                  <a:pt x="1085" y="12271"/>
                  <a:pt x="1586" y="12744"/>
                  <a:pt x="2171" y="12744"/>
                </a:cubicBezTo>
                <a:lnTo>
                  <a:pt x="8738" y="12744"/>
                </a:lnTo>
                <a:cubicBezTo>
                  <a:pt x="9350" y="12744"/>
                  <a:pt x="9823" y="12271"/>
                  <a:pt x="9823" y="11687"/>
                </a:cubicBezTo>
                <a:lnTo>
                  <a:pt x="9823" y="3200"/>
                </a:lnTo>
                <a:lnTo>
                  <a:pt x="10908" y="3200"/>
                </a:lnTo>
                <a:lnTo>
                  <a:pt x="10908" y="2143"/>
                </a:lnTo>
                <a:lnTo>
                  <a:pt x="8209" y="2143"/>
                </a:lnTo>
                <a:close/>
                <a:moveTo>
                  <a:pt x="4870" y="10963"/>
                </a:moveTo>
                <a:lnTo>
                  <a:pt x="3645" y="10963"/>
                </a:lnTo>
                <a:lnTo>
                  <a:pt x="3645" y="4257"/>
                </a:lnTo>
                <a:lnTo>
                  <a:pt x="4870" y="4257"/>
                </a:lnTo>
                <a:lnTo>
                  <a:pt x="4870" y="10963"/>
                </a:lnTo>
                <a:close/>
                <a:moveTo>
                  <a:pt x="7319" y="10963"/>
                </a:moveTo>
                <a:lnTo>
                  <a:pt x="6094" y="10963"/>
                </a:lnTo>
                <a:lnTo>
                  <a:pt x="6094" y="4257"/>
                </a:lnTo>
                <a:lnTo>
                  <a:pt x="7319" y="4257"/>
                </a:lnTo>
                <a:lnTo>
                  <a:pt x="7319" y="10963"/>
                </a:ln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09728" tIns="54864" rIns="109728" bIns="54864" rtlCol="0" anchor="ctr"/>
          <a:lstStyle/>
          <a:p>
            <a:pPr algn="ctr"/>
            <a:endParaRPr lang="en-US" sz="2160" dirty="0"/>
          </a:p>
        </p:txBody>
      </p:sp>
    </p:spTree>
    <p:extLst>
      <p:ext uri="{BB962C8B-B14F-4D97-AF65-F5344CB8AC3E}">
        <p14:creationId xmlns:p14="http://schemas.microsoft.com/office/powerpoint/2010/main" val="4275930137"/>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2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组合 7">
            <a:extLst>
              <a:ext uri="{FF2B5EF4-FFF2-40B4-BE49-F238E27FC236}">
                <a16:creationId xmlns:a16="http://schemas.microsoft.com/office/drawing/2014/main" id="{5D722404-E0C8-4FD5-B3BC-11B8BE99502E}"/>
              </a:ext>
            </a:extLst>
          </p:cNvPr>
          <p:cNvGrpSpPr/>
          <p:nvPr/>
        </p:nvGrpSpPr>
        <p:grpSpPr>
          <a:xfrm>
            <a:off x="2231781" y="1736481"/>
            <a:ext cx="2261088" cy="2261088"/>
            <a:chOff x="2466975" y="2962275"/>
            <a:chExt cx="1790700" cy="1790700"/>
          </a:xfrm>
        </p:grpSpPr>
        <p:sp>
          <p:nvSpPr>
            <p:cNvPr id="3" name="椭圆 2">
              <a:extLst>
                <a:ext uri="{FF2B5EF4-FFF2-40B4-BE49-F238E27FC236}">
                  <a16:creationId xmlns:a16="http://schemas.microsoft.com/office/drawing/2014/main" id="{6F967F64-C623-47E1-A4DD-2B65604CA746}"/>
                </a:ext>
              </a:extLst>
            </p:cNvPr>
            <p:cNvSpPr/>
            <p:nvPr/>
          </p:nvSpPr>
          <p:spPr>
            <a:xfrm>
              <a:off x="2466975" y="2962275"/>
              <a:ext cx="1790700" cy="1790700"/>
            </a:xfrm>
            <a:prstGeom prst="ellipse">
              <a:avLst/>
            </a:prstGeom>
            <a:gradFill>
              <a:gsLst>
                <a:gs pos="0">
                  <a:schemeClr val="accent1"/>
                </a:gs>
                <a:gs pos="100000">
                  <a:schemeClr val="accent1">
                    <a:lumMod val="75000"/>
                  </a:schemeClr>
                </a:gs>
              </a:gsLst>
              <a:lin ang="2700000" scaled="0"/>
            </a:gradFill>
            <a:ln w="25400" cap="flat" cmpd="sng" algn="ctr">
              <a:noFill/>
              <a:prstDash val="solid"/>
              <a:miter lim="800000"/>
            </a:ln>
            <a:effectLst>
              <a:outerShdw blurRad="254000" dist="88900" dir="2700000" algn="tl" rotWithShape="0">
                <a:schemeClr val="accent1">
                  <a:lumMod val="50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 name="任意多边形: 形状 6">
              <a:extLst>
                <a:ext uri="{FF2B5EF4-FFF2-40B4-BE49-F238E27FC236}">
                  <a16:creationId xmlns:a16="http://schemas.microsoft.com/office/drawing/2014/main" id="{DBB89BA4-7B7B-40A0-B652-0370D5DE055B}"/>
                </a:ext>
              </a:extLst>
            </p:cNvPr>
            <p:cNvSpPr/>
            <p:nvPr/>
          </p:nvSpPr>
          <p:spPr>
            <a:xfrm rot="10800000">
              <a:off x="2652879" y="3140997"/>
              <a:ext cx="1418894" cy="1561843"/>
            </a:xfrm>
            <a:custGeom>
              <a:avLst/>
              <a:gdLst>
                <a:gd name="connsiteX0" fmla="*/ 638175 w 1276350"/>
                <a:gd name="connsiteY0" fmla="*/ 1404937 h 1404937"/>
                <a:gd name="connsiteX1" fmla="*/ 0 w 1276350"/>
                <a:gd name="connsiteY1" fmla="*/ 766762 h 1404937"/>
                <a:gd name="connsiteX2" fmla="*/ 509560 w 1276350"/>
                <a:gd name="connsiteY2" fmla="*/ 141553 h 1404937"/>
                <a:gd name="connsiteX3" fmla="*/ 558963 w 1276350"/>
                <a:gd name="connsiteY3" fmla="*/ 136572 h 1404937"/>
                <a:gd name="connsiteX4" fmla="*/ 638175 w 1276350"/>
                <a:gd name="connsiteY4" fmla="*/ 0 h 1404937"/>
                <a:gd name="connsiteX5" fmla="*/ 717387 w 1276350"/>
                <a:gd name="connsiteY5" fmla="*/ 136572 h 1404937"/>
                <a:gd name="connsiteX6" fmla="*/ 766790 w 1276350"/>
                <a:gd name="connsiteY6" fmla="*/ 141553 h 1404937"/>
                <a:gd name="connsiteX7" fmla="*/ 1276350 w 1276350"/>
                <a:gd name="connsiteY7" fmla="*/ 766762 h 1404937"/>
                <a:gd name="connsiteX8" fmla="*/ 638175 w 1276350"/>
                <a:gd name="connsiteY8" fmla="*/ 1404937 h 14049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76350" h="1404937">
                  <a:moveTo>
                    <a:pt x="638175" y="1404937"/>
                  </a:moveTo>
                  <a:cubicBezTo>
                    <a:pt x="285721" y="1404937"/>
                    <a:pt x="0" y="1119216"/>
                    <a:pt x="0" y="766762"/>
                  </a:cubicBezTo>
                  <a:cubicBezTo>
                    <a:pt x="0" y="458365"/>
                    <a:pt x="218755" y="201060"/>
                    <a:pt x="509560" y="141553"/>
                  </a:cubicBezTo>
                  <a:lnTo>
                    <a:pt x="558963" y="136572"/>
                  </a:lnTo>
                  <a:lnTo>
                    <a:pt x="638175" y="0"/>
                  </a:lnTo>
                  <a:lnTo>
                    <a:pt x="717387" y="136572"/>
                  </a:lnTo>
                  <a:lnTo>
                    <a:pt x="766790" y="141553"/>
                  </a:lnTo>
                  <a:cubicBezTo>
                    <a:pt x="1057595" y="201060"/>
                    <a:pt x="1276350" y="458365"/>
                    <a:pt x="1276350" y="766762"/>
                  </a:cubicBezTo>
                  <a:cubicBezTo>
                    <a:pt x="1276350" y="1119216"/>
                    <a:pt x="990629" y="1404937"/>
                    <a:pt x="638175" y="1404937"/>
                  </a:cubicBezTo>
                  <a:close/>
                </a:path>
              </a:pathLst>
            </a:custGeom>
            <a:solidFill>
              <a:schemeClr val="bg1"/>
            </a:solidFill>
            <a:ln>
              <a:noFill/>
            </a:ln>
            <a:effectLst>
              <a:outerShdw blurRad="254000" dist="127000" dir="5400000" algn="t"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l"/>
              <a:endParaRPr lang="zh-CN" altLang="en-US" sz="1600">
                <a:solidFill>
                  <a:schemeClr val="bg1"/>
                </a:solidFill>
                <a:latin typeface="+mj-ea"/>
                <a:ea typeface="+mj-ea"/>
              </a:endParaRPr>
            </a:p>
          </p:txBody>
        </p:sp>
      </p:grpSp>
      <p:sp>
        <p:nvSpPr>
          <p:cNvPr id="9" name="文本框 8">
            <a:extLst>
              <a:ext uri="{FF2B5EF4-FFF2-40B4-BE49-F238E27FC236}">
                <a16:creationId xmlns:a16="http://schemas.microsoft.com/office/drawing/2014/main" id="{34E2324C-C36C-4553-B324-0F1D29C70594}"/>
              </a:ext>
            </a:extLst>
          </p:cNvPr>
          <p:cNvSpPr txBox="1"/>
          <p:nvPr/>
        </p:nvSpPr>
        <p:spPr>
          <a:xfrm>
            <a:off x="2785244" y="2679992"/>
            <a:ext cx="1154162" cy="276999"/>
          </a:xfrm>
          <a:prstGeom prst="rect">
            <a:avLst/>
          </a:prstGeom>
          <a:noFill/>
          <a:effectLst/>
        </p:spPr>
        <p:txBody>
          <a:bodyPr wrap="none" lIns="0" tIns="0" rIns="0" bIns="0" rtlCol="0" anchor="t">
            <a:spAutoFit/>
          </a:bodyPr>
          <a:lstStyle/>
          <a:p>
            <a:pPr algn="ctr"/>
            <a:r>
              <a:rPr lang="zh-CN" altLang="en-US" dirty="0">
                <a:solidFill>
                  <a:schemeClr val="accent1"/>
                </a:solidFill>
                <a:latin typeface="+mj-ea"/>
                <a:ea typeface="+mj-ea"/>
              </a:rPr>
              <a:t>关键词标题</a:t>
            </a:r>
          </a:p>
        </p:txBody>
      </p:sp>
      <p:sp>
        <p:nvSpPr>
          <p:cNvPr id="10" name="文本框 9">
            <a:extLst>
              <a:ext uri="{FF2B5EF4-FFF2-40B4-BE49-F238E27FC236}">
                <a16:creationId xmlns:a16="http://schemas.microsoft.com/office/drawing/2014/main" id="{6093E37C-8AF3-4760-BCF6-3C8C1F6CF0A2}"/>
              </a:ext>
            </a:extLst>
          </p:cNvPr>
          <p:cNvSpPr txBox="1"/>
          <p:nvPr/>
        </p:nvSpPr>
        <p:spPr>
          <a:xfrm>
            <a:off x="2554187" y="2977212"/>
            <a:ext cx="1616276" cy="406714"/>
          </a:xfrm>
          <a:prstGeom prst="rect">
            <a:avLst/>
          </a:prstGeom>
          <a:noFill/>
          <a:effectLst/>
        </p:spPr>
        <p:txBody>
          <a:bodyPr wrap="square" lIns="0" tIns="0" rIns="0" bIns="0" rtlCol="0" anchor="t">
            <a:spAutoFit/>
          </a:bodyPr>
          <a:lstStyle/>
          <a:p>
            <a:pPr algn="ctr">
              <a:lnSpc>
                <a:spcPct val="130000"/>
              </a:lnSpc>
            </a:pPr>
            <a:r>
              <a:rPr lang="en-US" altLang="zh-CN" sz="1050" b="0" dirty="0">
                <a:solidFill>
                  <a:schemeClr val="tx1">
                    <a:lumMod val="75000"/>
                    <a:lumOff val="25000"/>
                  </a:schemeClr>
                </a:solidFill>
                <a:effectLst/>
                <a:latin typeface="+mn-ea"/>
              </a:rPr>
              <a:t>Lorem ipsum dolor sit ametconsectetur</a:t>
            </a:r>
            <a:endParaRPr lang="zh-CN" altLang="en-US" sz="1050" b="0" dirty="0">
              <a:solidFill>
                <a:schemeClr val="tx1">
                  <a:lumMod val="75000"/>
                  <a:lumOff val="25000"/>
                </a:schemeClr>
              </a:solidFill>
              <a:effectLst/>
              <a:latin typeface="+mn-ea"/>
            </a:endParaRPr>
          </a:p>
        </p:txBody>
      </p:sp>
      <p:sp>
        <p:nvSpPr>
          <p:cNvPr id="11" name="iconfont-1179-866479">
            <a:extLst>
              <a:ext uri="{FF2B5EF4-FFF2-40B4-BE49-F238E27FC236}">
                <a16:creationId xmlns:a16="http://schemas.microsoft.com/office/drawing/2014/main" id="{E9FDC294-6879-47BE-A219-1930808B8E92}"/>
              </a:ext>
            </a:extLst>
          </p:cNvPr>
          <p:cNvSpPr/>
          <p:nvPr/>
        </p:nvSpPr>
        <p:spPr>
          <a:xfrm>
            <a:off x="3189479" y="2157730"/>
            <a:ext cx="345692" cy="409428"/>
          </a:xfrm>
          <a:custGeom>
            <a:avLst/>
            <a:gdLst>
              <a:gd name="T0" fmla="*/ 6573 w 9390"/>
              <a:gd name="T1" fmla="*/ 3437 h 11120"/>
              <a:gd name="T2" fmla="*/ 7967 w 9390"/>
              <a:gd name="T3" fmla="*/ 1730 h 11120"/>
              <a:gd name="T4" fmla="*/ 5311 w 9390"/>
              <a:gd name="T5" fmla="*/ 1140 h 11120"/>
              <a:gd name="T6" fmla="*/ 3129 w 9390"/>
              <a:gd name="T7" fmla="*/ 876 h 11120"/>
              <a:gd name="T8" fmla="*/ 2455 w 9390"/>
              <a:gd name="T9" fmla="*/ 3147 h 11120"/>
              <a:gd name="T10" fmla="*/ 7438 w 9390"/>
              <a:gd name="T11" fmla="*/ 4336 h 11120"/>
              <a:gd name="T12" fmla="*/ 2969 w 9390"/>
              <a:gd name="T13" fmla="*/ 4006 h 11120"/>
              <a:gd name="T14" fmla="*/ 0 w 9390"/>
              <a:gd name="T15" fmla="*/ 8570 h 11120"/>
              <a:gd name="T16" fmla="*/ 6860 w 9390"/>
              <a:gd name="T17" fmla="*/ 11120 h 11120"/>
              <a:gd name="T18" fmla="*/ 7438 w 9390"/>
              <a:gd name="T19" fmla="*/ 4336 h 11120"/>
              <a:gd name="T20" fmla="*/ 5549 w 9390"/>
              <a:gd name="T21" fmla="*/ 7248 h 11120"/>
              <a:gd name="T22" fmla="*/ 5919 w 9390"/>
              <a:gd name="T23" fmla="*/ 7515 h 11120"/>
              <a:gd name="T24" fmla="*/ 6098 w 9390"/>
              <a:gd name="T25" fmla="*/ 7695 h 11120"/>
              <a:gd name="T26" fmla="*/ 5384 w 9390"/>
              <a:gd name="T27" fmla="*/ 7874 h 11120"/>
              <a:gd name="T28" fmla="*/ 5195 w 9390"/>
              <a:gd name="T29" fmla="*/ 8151 h 11120"/>
              <a:gd name="T30" fmla="*/ 5919 w 9390"/>
              <a:gd name="T31" fmla="*/ 8331 h 11120"/>
              <a:gd name="T32" fmla="*/ 5919 w 9390"/>
              <a:gd name="T33" fmla="*/ 8690 h 11120"/>
              <a:gd name="T34" fmla="*/ 5195 w 9390"/>
              <a:gd name="T35" fmla="*/ 8870 h 11120"/>
              <a:gd name="T36" fmla="*/ 5015 w 9390"/>
              <a:gd name="T37" fmla="*/ 9507 h 11120"/>
              <a:gd name="T38" fmla="*/ 4510 w 9390"/>
              <a:gd name="T39" fmla="*/ 9327 h 11120"/>
              <a:gd name="T40" fmla="*/ 4330 w 9390"/>
              <a:gd name="T41" fmla="*/ 8690 h 11120"/>
              <a:gd name="T42" fmla="*/ 3612 w 9390"/>
              <a:gd name="T43" fmla="*/ 8510 h 11120"/>
              <a:gd name="T44" fmla="*/ 4329 w 9390"/>
              <a:gd name="T45" fmla="*/ 8331 h 11120"/>
              <a:gd name="T46" fmla="*/ 4511 w 9390"/>
              <a:gd name="T47" fmla="*/ 8063 h 11120"/>
              <a:gd name="T48" fmla="*/ 3792 w 9390"/>
              <a:gd name="T49" fmla="*/ 7873 h 11120"/>
              <a:gd name="T50" fmla="*/ 3612 w 9390"/>
              <a:gd name="T51" fmla="*/ 7694 h 11120"/>
              <a:gd name="T52" fmla="*/ 3999 w 9390"/>
              <a:gd name="T53" fmla="*/ 7514 h 11120"/>
              <a:gd name="T54" fmla="*/ 3406 w 9390"/>
              <a:gd name="T55" fmla="*/ 5887 h 11120"/>
              <a:gd name="T56" fmla="*/ 3920 w 9390"/>
              <a:gd name="T57" fmla="*/ 5620 h 11120"/>
              <a:gd name="T58" fmla="*/ 4691 w 9390"/>
              <a:gd name="T59" fmla="*/ 6937 h 11120"/>
              <a:gd name="T60" fmla="*/ 5623 w 9390"/>
              <a:gd name="T61" fmla="*/ 5719 h 11120"/>
              <a:gd name="T62" fmla="*/ 6140 w 9390"/>
              <a:gd name="T63" fmla="*/ 5620 h 1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390" h="11120">
                <a:moveTo>
                  <a:pt x="3078" y="3437"/>
                </a:moveTo>
                <a:lnTo>
                  <a:pt x="6573" y="3437"/>
                </a:lnTo>
                <a:cubicBezTo>
                  <a:pt x="6809" y="3437"/>
                  <a:pt x="7036" y="3338"/>
                  <a:pt x="7187" y="3157"/>
                </a:cubicBezTo>
                <a:cubicBezTo>
                  <a:pt x="7548" y="2728"/>
                  <a:pt x="7890" y="2202"/>
                  <a:pt x="7967" y="1730"/>
                </a:cubicBezTo>
                <a:cubicBezTo>
                  <a:pt x="8121" y="786"/>
                  <a:pt x="7717" y="307"/>
                  <a:pt x="6544" y="307"/>
                </a:cubicBezTo>
                <a:cubicBezTo>
                  <a:pt x="5370" y="307"/>
                  <a:pt x="5767" y="1077"/>
                  <a:pt x="5311" y="1140"/>
                </a:cubicBezTo>
                <a:cubicBezTo>
                  <a:pt x="4971" y="1187"/>
                  <a:pt x="4983" y="739"/>
                  <a:pt x="4449" y="308"/>
                </a:cubicBezTo>
                <a:cubicBezTo>
                  <a:pt x="4066" y="0"/>
                  <a:pt x="3636" y="871"/>
                  <a:pt x="3129" y="876"/>
                </a:cubicBezTo>
                <a:cubicBezTo>
                  <a:pt x="2538" y="884"/>
                  <a:pt x="1707" y="720"/>
                  <a:pt x="1707" y="1730"/>
                </a:cubicBezTo>
                <a:cubicBezTo>
                  <a:pt x="1707" y="2138"/>
                  <a:pt x="2065" y="2690"/>
                  <a:pt x="2455" y="3147"/>
                </a:cubicBezTo>
                <a:cubicBezTo>
                  <a:pt x="2612" y="3330"/>
                  <a:pt x="2838" y="3437"/>
                  <a:pt x="3078" y="3437"/>
                </a:cubicBezTo>
                <a:close/>
                <a:moveTo>
                  <a:pt x="7438" y="4336"/>
                </a:moveTo>
                <a:cubicBezTo>
                  <a:pt x="7252" y="4125"/>
                  <a:pt x="6981" y="4006"/>
                  <a:pt x="6699" y="4006"/>
                </a:cubicBezTo>
                <a:lnTo>
                  <a:pt x="2969" y="4006"/>
                </a:lnTo>
                <a:cubicBezTo>
                  <a:pt x="2700" y="4006"/>
                  <a:pt x="2440" y="4115"/>
                  <a:pt x="2253" y="4310"/>
                </a:cubicBezTo>
                <a:cubicBezTo>
                  <a:pt x="1081" y="5538"/>
                  <a:pt x="0" y="7291"/>
                  <a:pt x="0" y="8570"/>
                </a:cubicBezTo>
                <a:cubicBezTo>
                  <a:pt x="0" y="9697"/>
                  <a:pt x="1133" y="11120"/>
                  <a:pt x="2530" y="11120"/>
                </a:cubicBezTo>
                <a:lnTo>
                  <a:pt x="6860" y="11120"/>
                </a:lnTo>
                <a:cubicBezTo>
                  <a:pt x="8257" y="11120"/>
                  <a:pt x="9390" y="9709"/>
                  <a:pt x="9390" y="8570"/>
                </a:cubicBezTo>
                <a:cubicBezTo>
                  <a:pt x="9390" y="7268"/>
                  <a:pt x="8520" y="5564"/>
                  <a:pt x="7438" y="4336"/>
                </a:cubicBezTo>
                <a:close/>
                <a:moveTo>
                  <a:pt x="6299" y="5888"/>
                </a:moveTo>
                <a:lnTo>
                  <a:pt x="5549" y="7248"/>
                </a:lnTo>
                <a:cubicBezTo>
                  <a:pt x="5483" y="7368"/>
                  <a:pt x="5570" y="7515"/>
                  <a:pt x="5706" y="7515"/>
                </a:cubicBezTo>
                <a:lnTo>
                  <a:pt x="5919" y="7515"/>
                </a:lnTo>
                <a:cubicBezTo>
                  <a:pt x="6017" y="7515"/>
                  <a:pt x="6098" y="7595"/>
                  <a:pt x="6098" y="7695"/>
                </a:cubicBezTo>
                <a:lnTo>
                  <a:pt x="6098" y="7695"/>
                </a:lnTo>
                <a:cubicBezTo>
                  <a:pt x="6098" y="7793"/>
                  <a:pt x="6018" y="7874"/>
                  <a:pt x="5919" y="7874"/>
                </a:cubicBezTo>
                <a:lnTo>
                  <a:pt x="5384" y="7874"/>
                </a:lnTo>
                <a:cubicBezTo>
                  <a:pt x="5279" y="7874"/>
                  <a:pt x="5196" y="7958"/>
                  <a:pt x="5195" y="8062"/>
                </a:cubicBezTo>
                <a:lnTo>
                  <a:pt x="5195" y="8151"/>
                </a:lnTo>
                <a:cubicBezTo>
                  <a:pt x="5195" y="8249"/>
                  <a:pt x="5275" y="8331"/>
                  <a:pt x="5375" y="8331"/>
                </a:cubicBezTo>
                <a:lnTo>
                  <a:pt x="5919" y="8331"/>
                </a:lnTo>
                <a:cubicBezTo>
                  <a:pt x="6017" y="8331"/>
                  <a:pt x="6098" y="8411"/>
                  <a:pt x="6098" y="8510"/>
                </a:cubicBezTo>
                <a:cubicBezTo>
                  <a:pt x="6098" y="8610"/>
                  <a:pt x="6018" y="8690"/>
                  <a:pt x="5919" y="8690"/>
                </a:cubicBezTo>
                <a:lnTo>
                  <a:pt x="5375" y="8690"/>
                </a:lnTo>
                <a:cubicBezTo>
                  <a:pt x="5276" y="8690"/>
                  <a:pt x="5195" y="8770"/>
                  <a:pt x="5195" y="8870"/>
                </a:cubicBezTo>
                <a:lnTo>
                  <a:pt x="5195" y="9327"/>
                </a:lnTo>
                <a:cubicBezTo>
                  <a:pt x="5195" y="9426"/>
                  <a:pt x="5115" y="9507"/>
                  <a:pt x="5015" y="9507"/>
                </a:cubicBezTo>
                <a:lnTo>
                  <a:pt x="4690" y="9507"/>
                </a:lnTo>
                <a:cubicBezTo>
                  <a:pt x="4591" y="9507"/>
                  <a:pt x="4510" y="9427"/>
                  <a:pt x="4510" y="9327"/>
                </a:cubicBezTo>
                <a:lnTo>
                  <a:pt x="4510" y="8870"/>
                </a:lnTo>
                <a:cubicBezTo>
                  <a:pt x="4510" y="8771"/>
                  <a:pt x="4430" y="8690"/>
                  <a:pt x="4330" y="8690"/>
                </a:cubicBezTo>
                <a:lnTo>
                  <a:pt x="3792" y="8690"/>
                </a:lnTo>
                <a:cubicBezTo>
                  <a:pt x="3693" y="8690"/>
                  <a:pt x="3612" y="8610"/>
                  <a:pt x="3612" y="8510"/>
                </a:cubicBezTo>
                <a:cubicBezTo>
                  <a:pt x="3612" y="8411"/>
                  <a:pt x="3692" y="8331"/>
                  <a:pt x="3792" y="8331"/>
                </a:cubicBezTo>
                <a:lnTo>
                  <a:pt x="4329" y="8331"/>
                </a:lnTo>
                <a:cubicBezTo>
                  <a:pt x="4429" y="8331"/>
                  <a:pt x="4509" y="8251"/>
                  <a:pt x="4510" y="8151"/>
                </a:cubicBezTo>
                <a:lnTo>
                  <a:pt x="4511" y="8063"/>
                </a:lnTo>
                <a:cubicBezTo>
                  <a:pt x="4512" y="7959"/>
                  <a:pt x="4427" y="7873"/>
                  <a:pt x="4322" y="7873"/>
                </a:cubicBezTo>
                <a:lnTo>
                  <a:pt x="3792" y="7873"/>
                </a:lnTo>
                <a:cubicBezTo>
                  <a:pt x="3693" y="7873"/>
                  <a:pt x="3612" y="7793"/>
                  <a:pt x="3612" y="7694"/>
                </a:cubicBezTo>
                <a:lnTo>
                  <a:pt x="3612" y="7694"/>
                </a:lnTo>
                <a:cubicBezTo>
                  <a:pt x="3612" y="7595"/>
                  <a:pt x="3692" y="7514"/>
                  <a:pt x="3792" y="7514"/>
                </a:cubicBezTo>
                <a:lnTo>
                  <a:pt x="3999" y="7514"/>
                </a:lnTo>
                <a:cubicBezTo>
                  <a:pt x="4136" y="7514"/>
                  <a:pt x="4221" y="7367"/>
                  <a:pt x="4156" y="7247"/>
                </a:cubicBezTo>
                <a:lnTo>
                  <a:pt x="3406" y="5887"/>
                </a:lnTo>
                <a:cubicBezTo>
                  <a:pt x="3340" y="5767"/>
                  <a:pt x="3426" y="5620"/>
                  <a:pt x="3562" y="5620"/>
                </a:cubicBezTo>
                <a:lnTo>
                  <a:pt x="3920" y="5620"/>
                </a:lnTo>
                <a:cubicBezTo>
                  <a:pt x="3988" y="5620"/>
                  <a:pt x="4050" y="5659"/>
                  <a:pt x="4080" y="5719"/>
                </a:cubicBezTo>
                <a:lnTo>
                  <a:pt x="4691" y="6937"/>
                </a:lnTo>
                <a:cubicBezTo>
                  <a:pt x="4756" y="7069"/>
                  <a:pt x="4945" y="7069"/>
                  <a:pt x="5012" y="6937"/>
                </a:cubicBezTo>
                <a:lnTo>
                  <a:pt x="5623" y="5719"/>
                </a:lnTo>
                <a:cubicBezTo>
                  <a:pt x="5653" y="5659"/>
                  <a:pt x="5715" y="5620"/>
                  <a:pt x="5783" y="5620"/>
                </a:cubicBezTo>
                <a:lnTo>
                  <a:pt x="6140" y="5620"/>
                </a:lnTo>
                <a:cubicBezTo>
                  <a:pt x="6278" y="5622"/>
                  <a:pt x="6365" y="5768"/>
                  <a:pt x="6299" y="5888"/>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8" name="组合 17">
            <a:extLst>
              <a:ext uri="{FF2B5EF4-FFF2-40B4-BE49-F238E27FC236}">
                <a16:creationId xmlns:a16="http://schemas.microsoft.com/office/drawing/2014/main" id="{29DE26B9-4419-4CC0-A61B-ABDB5CBC24A0}"/>
              </a:ext>
            </a:extLst>
          </p:cNvPr>
          <p:cNvGrpSpPr/>
          <p:nvPr/>
        </p:nvGrpSpPr>
        <p:grpSpPr>
          <a:xfrm>
            <a:off x="5112141" y="1736481"/>
            <a:ext cx="2261088" cy="2261088"/>
            <a:chOff x="2466975" y="2962275"/>
            <a:chExt cx="1790700" cy="1790700"/>
          </a:xfrm>
        </p:grpSpPr>
        <p:sp>
          <p:nvSpPr>
            <p:cNvPr id="19" name="椭圆 18">
              <a:extLst>
                <a:ext uri="{FF2B5EF4-FFF2-40B4-BE49-F238E27FC236}">
                  <a16:creationId xmlns:a16="http://schemas.microsoft.com/office/drawing/2014/main" id="{871AD3D7-9D73-46F0-87D6-F81F265AEE9E}"/>
                </a:ext>
              </a:extLst>
            </p:cNvPr>
            <p:cNvSpPr/>
            <p:nvPr/>
          </p:nvSpPr>
          <p:spPr>
            <a:xfrm>
              <a:off x="2466975" y="2962275"/>
              <a:ext cx="1790700" cy="1790700"/>
            </a:xfrm>
            <a:prstGeom prst="ellipse">
              <a:avLst/>
            </a:prstGeom>
            <a:gradFill>
              <a:gsLst>
                <a:gs pos="0">
                  <a:schemeClr val="accent1"/>
                </a:gs>
                <a:gs pos="100000">
                  <a:schemeClr val="accent1">
                    <a:lumMod val="75000"/>
                  </a:schemeClr>
                </a:gs>
              </a:gsLst>
              <a:lin ang="2700000" scaled="0"/>
            </a:gradFill>
            <a:ln w="25400" cap="flat" cmpd="sng" algn="ctr">
              <a:noFill/>
              <a:prstDash val="solid"/>
              <a:miter lim="800000"/>
            </a:ln>
            <a:effectLst>
              <a:outerShdw blurRad="254000" dist="88900" dir="2700000" algn="tl" rotWithShape="0">
                <a:schemeClr val="accent1">
                  <a:lumMod val="50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0" name="任意多边形: 形状 19">
              <a:extLst>
                <a:ext uri="{FF2B5EF4-FFF2-40B4-BE49-F238E27FC236}">
                  <a16:creationId xmlns:a16="http://schemas.microsoft.com/office/drawing/2014/main" id="{A41BBE3C-BB58-49BA-9FDD-6BEF18046A09}"/>
                </a:ext>
              </a:extLst>
            </p:cNvPr>
            <p:cNvSpPr/>
            <p:nvPr/>
          </p:nvSpPr>
          <p:spPr>
            <a:xfrm rot="10800000">
              <a:off x="2652879" y="3140997"/>
              <a:ext cx="1418894" cy="1561843"/>
            </a:xfrm>
            <a:custGeom>
              <a:avLst/>
              <a:gdLst>
                <a:gd name="connsiteX0" fmla="*/ 638175 w 1276350"/>
                <a:gd name="connsiteY0" fmla="*/ 1404937 h 1404937"/>
                <a:gd name="connsiteX1" fmla="*/ 0 w 1276350"/>
                <a:gd name="connsiteY1" fmla="*/ 766762 h 1404937"/>
                <a:gd name="connsiteX2" fmla="*/ 509560 w 1276350"/>
                <a:gd name="connsiteY2" fmla="*/ 141553 h 1404937"/>
                <a:gd name="connsiteX3" fmla="*/ 558963 w 1276350"/>
                <a:gd name="connsiteY3" fmla="*/ 136572 h 1404937"/>
                <a:gd name="connsiteX4" fmla="*/ 638175 w 1276350"/>
                <a:gd name="connsiteY4" fmla="*/ 0 h 1404937"/>
                <a:gd name="connsiteX5" fmla="*/ 717387 w 1276350"/>
                <a:gd name="connsiteY5" fmla="*/ 136572 h 1404937"/>
                <a:gd name="connsiteX6" fmla="*/ 766790 w 1276350"/>
                <a:gd name="connsiteY6" fmla="*/ 141553 h 1404937"/>
                <a:gd name="connsiteX7" fmla="*/ 1276350 w 1276350"/>
                <a:gd name="connsiteY7" fmla="*/ 766762 h 1404937"/>
                <a:gd name="connsiteX8" fmla="*/ 638175 w 1276350"/>
                <a:gd name="connsiteY8" fmla="*/ 1404937 h 14049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76350" h="1404937">
                  <a:moveTo>
                    <a:pt x="638175" y="1404937"/>
                  </a:moveTo>
                  <a:cubicBezTo>
                    <a:pt x="285721" y="1404937"/>
                    <a:pt x="0" y="1119216"/>
                    <a:pt x="0" y="766762"/>
                  </a:cubicBezTo>
                  <a:cubicBezTo>
                    <a:pt x="0" y="458365"/>
                    <a:pt x="218755" y="201060"/>
                    <a:pt x="509560" y="141553"/>
                  </a:cubicBezTo>
                  <a:lnTo>
                    <a:pt x="558963" y="136572"/>
                  </a:lnTo>
                  <a:lnTo>
                    <a:pt x="638175" y="0"/>
                  </a:lnTo>
                  <a:lnTo>
                    <a:pt x="717387" y="136572"/>
                  </a:lnTo>
                  <a:lnTo>
                    <a:pt x="766790" y="141553"/>
                  </a:lnTo>
                  <a:cubicBezTo>
                    <a:pt x="1057595" y="201060"/>
                    <a:pt x="1276350" y="458365"/>
                    <a:pt x="1276350" y="766762"/>
                  </a:cubicBezTo>
                  <a:cubicBezTo>
                    <a:pt x="1276350" y="1119216"/>
                    <a:pt x="990629" y="1404937"/>
                    <a:pt x="638175" y="1404937"/>
                  </a:cubicBezTo>
                  <a:close/>
                </a:path>
              </a:pathLst>
            </a:custGeom>
            <a:solidFill>
              <a:schemeClr val="bg1"/>
            </a:solidFill>
            <a:ln>
              <a:noFill/>
            </a:ln>
            <a:effectLst>
              <a:outerShdw blurRad="254000" dist="127000" dir="5400000" algn="t"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l"/>
              <a:endParaRPr lang="zh-CN" altLang="en-US" sz="1600">
                <a:solidFill>
                  <a:schemeClr val="bg1"/>
                </a:solidFill>
                <a:latin typeface="+mj-ea"/>
                <a:ea typeface="+mj-ea"/>
              </a:endParaRPr>
            </a:p>
          </p:txBody>
        </p:sp>
      </p:grpSp>
      <p:sp>
        <p:nvSpPr>
          <p:cNvPr id="21" name="文本框 20">
            <a:extLst>
              <a:ext uri="{FF2B5EF4-FFF2-40B4-BE49-F238E27FC236}">
                <a16:creationId xmlns:a16="http://schemas.microsoft.com/office/drawing/2014/main" id="{CD815164-7404-4C55-8672-CFDA877551DF}"/>
              </a:ext>
            </a:extLst>
          </p:cNvPr>
          <p:cNvSpPr txBox="1"/>
          <p:nvPr/>
        </p:nvSpPr>
        <p:spPr>
          <a:xfrm>
            <a:off x="5665604" y="2679992"/>
            <a:ext cx="1154162" cy="276999"/>
          </a:xfrm>
          <a:prstGeom prst="rect">
            <a:avLst/>
          </a:prstGeom>
          <a:noFill/>
          <a:effectLst/>
        </p:spPr>
        <p:txBody>
          <a:bodyPr wrap="none" lIns="0" tIns="0" rIns="0" bIns="0" rtlCol="0" anchor="t">
            <a:spAutoFit/>
          </a:bodyPr>
          <a:lstStyle/>
          <a:p>
            <a:pPr algn="ctr"/>
            <a:r>
              <a:rPr lang="zh-CN" altLang="en-US" dirty="0">
                <a:solidFill>
                  <a:schemeClr val="accent1"/>
                </a:solidFill>
                <a:latin typeface="+mj-ea"/>
                <a:ea typeface="+mj-ea"/>
              </a:rPr>
              <a:t>关键词标题</a:t>
            </a:r>
          </a:p>
        </p:txBody>
      </p:sp>
      <p:sp>
        <p:nvSpPr>
          <p:cNvPr id="22" name="文本框 21">
            <a:extLst>
              <a:ext uri="{FF2B5EF4-FFF2-40B4-BE49-F238E27FC236}">
                <a16:creationId xmlns:a16="http://schemas.microsoft.com/office/drawing/2014/main" id="{234830EE-1ABC-4D79-BC32-9C4ADE32F86B}"/>
              </a:ext>
            </a:extLst>
          </p:cNvPr>
          <p:cNvSpPr txBox="1"/>
          <p:nvPr/>
        </p:nvSpPr>
        <p:spPr>
          <a:xfrm>
            <a:off x="5434547" y="2977212"/>
            <a:ext cx="1616276" cy="406714"/>
          </a:xfrm>
          <a:prstGeom prst="rect">
            <a:avLst/>
          </a:prstGeom>
          <a:noFill/>
          <a:effectLst/>
        </p:spPr>
        <p:txBody>
          <a:bodyPr wrap="square" lIns="0" tIns="0" rIns="0" bIns="0" rtlCol="0" anchor="t">
            <a:spAutoFit/>
          </a:bodyPr>
          <a:lstStyle/>
          <a:p>
            <a:pPr algn="ctr">
              <a:lnSpc>
                <a:spcPct val="130000"/>
              </a:lnSpc>
            </a:pPr>
            <a:r>
              <a:rPr lang="en-US" altLang="zh-CN" sz="1050" b="0" dirty="0">
                <a:solidFill>
                  <a:schemeClr val="tx1">
                    <a:lumMod val="75000"/>
                    <a:lumOff val="25000"/>
                  </a:schemeClr>
                </a:solidFill>
                <a:effectLst/>
                <a:latin typeface="+mn-ea"/>
              </a:rPr>
              <a:t>Lorem ipsum dolor sit ametconsectetur</a:t>
            </a:r>
            <a:endParaRPr lang="zh-CN" altLang="en-US" sz="1050" b="0" dirty="0">
              <a:solidFill>
                <a:schemeClr val="tx1">
                  <a:lumMod val="75000"/>
                  <a:lumOff val="25000"/>
                </a:schemeClr>
              </a:solidFill>
              <a:effectLst/>
              <a:latin typeface="+mn-ea"/>
            </a:endParaRPr>
          </a:p>
        </p:txBody>
      </p:sp>
      <p:grpSp>
        <p:nvGrpSpPr>
          <p:cNvPr id="24" name="组合 23">
            <a:extLst>
              <a:ext uri="{FF2B5EF4-FFF2-40B4-BE49-F238E27FC236}">
                <a16:creationId xmlns:a16="http://schemas.microsoft.com/office/drawing/2014/main" id="{55EEEFD0-586F-4190-82E2-F8A1BFBF195C}"/>
              </a:ext>
            </a:extLst>
          </p:cNvPr>
          <p:cNvGrpSpPr/>
          <p:nvPr/>
        </p:nvGrpSpPr>
        <p:grpSpPr>
          <a:xfrm>
            <a:off x="7992501" y="1736481"/>
            <a:ext cx="2261088" cy="2261088"/>
            <a:chOff x="2466975" y="2962275"/>
            <a:chExt cx="1790700" cy="1790700"/>
          </a:xfrm>
        </p:grpSpPr>
        <p:sp>
          <p:nvSpPr>
            <p:cNvPr id="25" name="椭圆 24">
              <a:extLst>
                <a:ext uri="{FF2B5EF4-FFF2-40B4-BE49-F238E27FC236}">
                  <a16:creationId xmlns:a16="http://schemas.microsoft.com/office/drawing/2014/main" id="{78FD1646-ECBE-4CA9-A8ED-8A61DB3D42A5}"/>
                </a:ext>
              </a:extLst>
            </p:cNvPr>
            <p:cNvSpPr/>
            <p:nvPr/>
          </p:nvSpPr>
          <p:spPr>
            <a:xfrm>
              <a:off x="2466975" y="2962275"/>
              <a:ext cx="1790700" cy="1790700"/>
            </a:xfrm>
            <a:prstGeom prst="ellipse">
              <a:avLst/>
            </a:prstGeom>
            <a:gradFill>
              <a:gsLst>
                <a:gs pos="0">
                  <a:schemeClr val="accent1"/>
                </a:gs>
                <a:gs pos="100000">
                  <a:schemeClr val="accent1">
                    <a:lumMod val="75000"/>
                  </a:schemeClr>
                </a:gs>
              </a:gsLst>
              <a:lin ang="2700000" scaled="0"/>
            </a:gradFill>
            <a:ln w="25400" cap="flat" cmpd="sng" algn="ctr">
              <a:noFill/>
              <a:prstDash val="solid"/>
              <a:miter lim="800000"/>
            </a:ln>
            <a:effectLst>
              <a:outerShdw blurRad="254000" dist="88900" dir="2700000" algn="tl" rotWithShape="0">
                <a:schemeClr val="accent1">
                  <a:lumMod val="50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6" name="任意多边形: 形状 25">
              <a:extLst>
                <a:ext uri="{FF2B5EF4-FFF2-40B4-BE49-F238E27FC236}">
                  <a16:creationId xmlns:a16="http://schemas.microsoft.com/office/drawing/2014/main" id="{7CD6A1C0-AD02-48E6-9100-17C29654A31C}"/>
                </a:ext>
              </a:extLst>
            </p:cNvPr>
            <p:cNvSpPr/>
            <p:nvPr/>
          </p:nvSpPr>
          <p:spPr>
            <a:xfrm rot="10800000">
              <a:off x="2652879" y="3140997"/>
              <a:ext cx="1418894" cy="1561843"/>
            </a:xfrm>
            <a:custGeom>
              <a:avLst/>
              <a:gdLst>
                <a:gd name="connsiteX0" fmla="*/ 638175 w 1276350"/>
                <a:gd name="connsiteY0" fmla="*/ 1404937 h 1404937"/>
                <a:gd name="connsiteX1" fmla="*/ 0 w 1276350"/>
                <a:gd name="connsiteY1" fmla="*/ 766762 h 1404937"/>
                <a:gd name="connsiteX2" fmla="*/ 509560 w 1276350"/>
                <a:gd name="connsiteY2" fmla="*/ 141553 h 1404937"/>
                <a:gd name="connsiteX3" fmla="*/ 558963 w 1276350"/>
                <a:gd name="connsiteY3" fmla="*/ 136572 h 1404937"/>
                <a:gd name="connsiteX4" fmla="*/ 638175 w 1276350"/>
                <a:gd name="connsiteY4" fmla="*/ 0 h 1404937"/>
                <a:gd name="connsiteX5" fmla="*/ 717387 w 1276350"/>
                <a:gd name="connsiteY5" fmla="*/ 136572 h 1404937"/>
                <a:gd name="connsiteX6" fmla="*/ 766790 w 1276350"/>
                <a:gd name="connsiteY6" fmla="*/ 141553 h 1404937"/>
                <a:gd name="connsiteX7" fmla="*/ 1276350 w 1276350"/>
                <a:gd name="connsiteY7" fmla="*/ 766762 h 1404937"/>
                <a:gd name="connsiteX8" fmla="*/ 638175 w 1276350"/>
                <a:gd name="connsiteY8" fmla="*/ 1404937 h 14049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76350" h="1404937">
                  <a:moveTo>
                    <a:pt x="638175" y="1404937"/>
                  </a:moveTo>
                  <a:cubicBezTo>
                    <a:pt x="285721" y="1404937"/>
                    <a:pt x="0" y="1119216"/>
                    <a:pt x="0" y="766762"/>
                  </a:cubicBezTo>
                  <a:cubicBezTo>
                    <a:pt x="0" y="458365"/>
                    <a:pt x="218755" y="201060"/>
                    <a:pt x="509560" y="141553"/>
                  </a:cubicBezTo>
                  <a:lnTo>
                    <a:pt x="558963" y="136572"/>
                  </a:lnTo>
                  <a:lnTo>
                    <a:pt x="638175" y="0"/>
                  </a:lnTo>
                  <a:lnTo>
                    <a:pt x="717387" y="136572"/>
                  </a:lnTo>
                  <a:lnTo>
                    <a:pt x="766790" y="141553"/>
                  </a:lnTo>
                  <a:cubicBezTo>
                    <a:pt x="1057595" y="201060"/>
                    <a:pt x="1276350" y="458365"/>
                    <a:pt x="1276350" y="766762"/>
                  </a:cubicBezTo>
                  <a:cubicBezTo>
                    <a:pt x="1276350" y="1119216"/>
                    <a:pt x="990629" y="1404937"/>
                    <a:pt x="638175" y="1404937"/>
                  </a:cubicBezTo>
                  <a:close/>
                </a:path>
              </a:pathLst>
            </a:custGeom>
            <a:solidFill>
              <a:schemeClr val="bg1"/>
            </a:solidFill>
            <a:ln>
              <a:noFill/>
            </a:ln>
            <a:effectLst>
              <a:outerShdw blurRad="254000" dist="127000" dir="5400000" algn="t"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l"/>
              <a:endParaRPr lang="zh-CN" altLang="en-US" sz="1600">
                <a:solidFill>
                  <a:schemeClr val="bg1"/>
                </a:solidFill>
                <a:latin typeface="+mj-ea"/>
                <a:ea typeface="+mj-ea"/>
              </a:endParaRPr>
            </a:p>
          </p:txBody>
        </p:sp>
      </p:grpSp>
      <p:sp>
        <p:nvSpPr>
          <p:cNvPr id="27" name="文本框 26">
            <a:extLst>
              <a:ext uri="{FF2B5EF4-FFF2-40B4-BE49-F238E27FC236}">
                <a16:creationId xmlns:a16="http://schemas.microsoft.com/office/drawing/2014/main" id="{9D86F392-91F7-4F1C-8A79-4758E2F0A740}"/>
              </a:ext>
            </a:extLst>
          </p:cNvPr>
          <p:cNvSpPr txBox="1"/>
          <p:nvPr/>
        </p:nvSpPr>
        <p:spPr>
          <a:xfrm>
            <a:off x="8545964" y="2679992"/>
            <a:ext cx="1154162" cy="276999"/>
          </a:xfrm>
          <a:prstGeom prst="rect">
            <a:avLst/>
          </a:prstGeom>
          <a:noFill/>
          <a:effectLst/>
        </p:spPr>
        <p:txBody>
          <a:bodyPr wrap="none" lIns="0" tIns="0" rIns="0" bIns="0" rtlCol="0" anchor="t">
            <a:spAutoFit/>
          </a:bodyPr>
          <a:lstStyle/>
          <a:p>
            <a:pPr algn="ctr"/>
            <a:r>
              <a:rPr lang="zh-CN" altLang="en-US" dirty="0">
                <a:solidFill>
                  <a:schemeClr val="accent1"/>
                </a:solidFill>
                <a:latin typeface="+mj-ea"/>
                <a:ea typeface="+mj-ea"/>
              </a:rPr>
              <a:t>关键词标题</a:t>
            </a:r>
          </a:p>
        </p:txBody>
      </p:sp>
      <p:sp>
        <p:nvSpPr>
          <p:cNvPr id="28" name="文本框 27">
            <a:extLst>
              <a:ext uri="{FF2B5EF4-FFF2-40B4-BE49-F238E27FC236}">
                <a16:creationId xmlns:a16="http://schemas.microsoft.com/office/drawing/2014/main" id="{B50D8230-C4F4-4BA2-BFC3-051EF44896C5}"/>
              </a:ext>
            </a:extLst>
          </p:cNvPr>
          <p:cNvSpPr txBox="1"/>
          <p:nvPr/>
        </p:nvSpPr>
        <p:spPr>
          <a:xfrm>
            <a:off x="8314907" y="2977212"/>
            <a:ext cx="1616276" cy="406714"/>
          </a:xfrm>
          <a:prstGeom prst="rect">
            <a:avLst/>
          </a:prstGeom>
          <a:noFill/>
          <a:effectLst/>
        </p:spPr>
        <p:txBody>
          <a:bodyPr wrap="square" lIns="0" tIns="0" rIns="0" bIns="0" rtlCol="0" anchor="t">
            <a:spAutoFit/>
          </a:bodyPr>
          <a:lstStyle/>
          <a:p>
            <a:pPr algn="ctr">
              <a:lnSpc>
                <a:spcPct val="130000"/>
              </a:lnSpc>
            </a:pPr>
            <a:r>
              <a:rPr lang="en-US" altLang="zh-CN" sz="1050" b="0" dirty="0">
                <a:solidFill>
                  <a:schemeClr val="tx1">
                    <a:lumMod val="75000"/>
                    <a:lumOff val="25000"/>
                  </a:schemeClr>
                </a:solidFill>
                <a:effectLst/>
                <a:latin typeface="+mn-ea"/>
              </a:rPr>
              <a:t>Lorem ipsum dolor sit ametconsectetur</a:t>
            </a:r>
            <a:endParaRPr lang="zh-CN" altLang="en-US" sz="1050" b="0" dirty="0">
              <a:solidFill>
                <a:schemeClr val="tx1">
                  <a:lumMod val="75000"/>
                  <a:lumOff val="25000"/>
                </a:schemeClr>
              </a:solidFill>
              <a:effectLst/>
              <a:latin typeface="+mn-ea"/>
            </a:endParaRPr>
          </a:p>
        </p:txBody>
      </p:sp>
      <p:sp>
        <p:nvSpPr>
          <p:cNvPr id="30" name="iconfont-1187-868110">
            <a:extLst>
              <a:ext uri="{FF2B5EF4-FFF2-40B4-BE49-F238E27FC236}">
                <a16:creationId xmlns:a16="http://schemas.microsoft.com/office/drawing/2014/main" id="{96C6208D-3166-45F2-8D89-465FB013EF30}"/>
              </a:ext>
            </a:extLst>
          </p:cNvPr>
          <p:cNvSpPr/>
          <p:nvPr/>
        </p:nvSpPr>
        <p:spPr>
          <a:xfrm>
            <a:off x="6096196" y="2193282"/>
            <a:ext cx="387690" cy="373876"/>
          </a:xfrm>
          <a:custGeom>
            <a:avLst/>
            <a:gdLst>
              <a:gd name="T0" fmla="*/ 11888 w 12803"/>
              <a:gd name="T1" fmla="*/ 0 h 12345"/>
              <a:gd name="T2" fmla="*/ 914 w 12803"/>
              <a:gd name="T3" fmla="*/ 0 h 12345"/>
              <a:gd name="T4" fmla="*/ 0 w 12803"/>
              <a:gd name="T5" fmla="*/ 914 h 12345"/>
              <a:gd name="T6" fmla="*/ 0 w 12803"/>
              <a:gd name="T7" fmla="*/ 8687 h 12345"/>
              <a:gd name="T8" fmla="*/ 914 w 12803"/>
              <a:gd name="T9" fmla="*/ 9602 h 12345"/>
              <a:gd name="T10" fmla="*/ 3201 w 12803"/>
              <a:gd name="T11" fmla="*/ 9602 h 12345"/>
              <a:gd name="T12" fmla="*/ 3201 w 12803"/>
              <a:gd name="T13" fmla="*/ 12345 h 12345"/>
              <a:gd name="T14" fmla="*/ 8230 w 12803"/>
              <a:gd name="T15" fmla="*/ 9602 h 12345"/>
              <a:gd name="T16" fmla="*/ 11888 w 12803"/>
              <a:gd name="T17" fmla="*/ 9602 h 12345"/>
              <a:gd name="T18" fmla="*/ 12803 w 12803"/>
              <a:gd name="T19" fmla="*/ 8687 h 12345"/>
              <a:gd name="T20" fmla="*/ 12803 w 12803"/>
              <a:gd name="T21" fmla="*/ 914 h 12345"/>
              <a:gd name="T22" fmla="*/ 11888 w 12803"/>
              <a:gd name="T23" fmla="*/ 0 h 12345"/>
              <a:gd name="T24" fmla="*/ 3201 w 12803"/>
              <a:gd name="T25" fmla="*/ 5487 h 12345"/>
              <a:gd name="T26" fmla="*/ 2286 w 12803"/>
              <a:gd name="T27" fmla="*/ 4572 h 12345"/>
              <a:gd name="T28" fmla="*/ 3201 w 12803"/>
              <a:gd name="T29" fmla="*/ 3658 h 12345"/>
              <a:gd name="T30" fmla="*/ 4115 w 12803"/>
              <a:gd name="T31" fmla="*/ 4572 h 12345"/>
              <a:gd name="T32" fmla="*/ 3201 w 12803"/>
              <a:gd name="T33" fmla="*/ 5487 h 12345"/>
              <a:gd name="T34" fmla="*/ 6401 w 12803"/>
              <a:gd name="T35" fmla="*/ 5487 h 12345"/>
              <a:gd name="T36" fmla="*/ 5487 w 12803"/>
              <a:gd name="T37" fmla="*/ 4572 h 12345"/>
              <a:gd name="T38" fmla="*/ 6401 w 12803"/>
              <a:gd name="T39" fmla="*/ 3658 h 12345"/>
              <a:gd name="T40" fmla="*/ 7316 w 12803"/>
              <a:gd name="T41" fmla="*/ 4572 h 12345"/>
              <a:gd name="T42" fmla="*/ 6401 w 12803"/>
              <a:gd name="T43" fmla="*/ 5487 h 12345"/>
              <a:gd name="T44" fmla="*/ 9602 w 12803"/>
              <a:gd name="T45" fmla="*/ 5487 h 12345"/>
              <a:gd name="T46" fmla="*/ 8687 w 12803"/>
              <a:gd name="T47" fmla="*/ 4572 h 12345"/>
              <a:gd name="T48" fmla="*/ 9602 w 12803"/>
              <a:gd name="T49" fmla="*/ 3658 h 12345"/>
              <a:gd name="T50" fmla="*/ 10516 w 12803"/>
              <a:gd name="T51" fmla="*/ 4572 h 12345"/>
              <a:gd name="T52" fmla="*/ 9602 w 12803"/>
              <a:gd name="T53" fmla="*/ 5487 h 12345"/>
              <a:gd name="T54" fmla="*/ 9602 w 12803"/>
              <a:gd name="T55" fmla="*/ 5487 h 123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2803" h="12345">
                <a:moveTo>
                  <a:pt x="11888" y="0"/>
                </a:moveTo>
                <a:lnTo>
                  <a:pt x="914" y="0"/>
                </a:lnTo>
                <a:cubicBezTo>
                  <a:pt x="409" y="0"/>
                  <a:pt x="0" y="409"/>
                  <a:pt x="0" y="914"/>
                </a:cubicBezTo>
                <a:lnTo>
                  <a:pt x="0" y="8687"/>
                </a:lnTo>
                <a:cubicBezTo>
                  <a:pt x="0" y="9193"/>
                  <a:pt x="409" y="9602"/>
                  <a:pt x="914" y="9602"/>
                </a:cubicBezTo>
                <a:lnTo>
                  <a:pt x="3201" y="9602"/>
                </a:lnTo>
                <a:lnTo>
                  <a:pt x="3201" y="12345"/>
                </a:lnTo>
                <a:lnTo>
                  <a:pt x="8230" y="9602"/>
                </a:lnTo>
                <a:lnTo>
                  <a:pt x="11888" y="9602"/>
                </a:lnTo>
                <a:cubicBezTo>
                  <a:pt x="12393" y="9602"/>
                  <a:pt x="12803" y="9193"/>
                  <a:pt x="12803" y="8687"/>
                </a:cubicBezTo>
                <a:lnTo>
                  <a:pt x="12803" y="914"/>
                </a:lnTo>
                <a:cubicBezTo>
                  <a:pt x="12803" y="409"/>
                  <a:pt x="12393" y="0"/>
                  <a:pt x="11888" y="0"/>
                </a:cubicBezTo>
                <a:close/>
                <a:moveTo>
                  <a:pt x="3201" y="5487"/>
                </a:moveTo>
                <a:cubicBezTo>
                  <a:pt x="2695" y="5487"/>
                  <a:pt x="2286" y="5077"/>
                  <a:pt x="2286" y="4572"/>
                </a:cubicBezTo>
                <a:cubicBezTo>
                  <a:pt x="2286" y="4067"/>
                  <a:pt x="2695" y="3658"/>
                  <a:pt x="3201" y="3658"/>
                </a:cubicBezTo>
                <a:cubicBezTo>
                  <a:pt x="3706" y="3658"/>
                  <a:pt x="4115" y="4067"/>
                  <a:pt x="4115" y="4572"/>
                </a:cubicBezTo>
                <a:cubicBezTo>
                  <a:pt x="4115" y="5077"/>
                  <a:pt x="3706" y="5487"/>
                  <a:pt x="3201" y="5487"/>
                </a:cubicBezTo>
                <a:close/>
                <a:moveTo>
                  <a:pt x="6401" y="5487"/>
                </a:moveTo>
                <a:cubicBezTo>
                  <a:pt x="5896" y="5487"/>
                  <a:pt x="5487" y="5077"/>
                  <a:pt x="5487" y="4572"/>
                </a:cubicBezTo>
                <a:cubicBezTo>
                  <a:pt x="5487" y="4067"/>
                  <a:pt x="5896" y="3658"/>
                  <a:pt x="6401" y="3658"/>
                </a:cubicBezTo>
                <a:cubicBezTo>
                  <a:pt x="6907" y="3658"/>
                  <a:pt x="7316" y="4067"/>
                  <a:pt x="7316" y="4572"/>
                </a:cubicBezTo>
                <a:cubicBezTo>
                  <a:pt x="7316" y="5077"/>
                  <a:pt x="6907" y="5487"/>
                  <a:pt x="6401" y="5487"/>
                </a:cubicBezTo>
                <a:close/>
                <a:moveTo>
                  <a:pt x="9602" y="5487"/>
                </a:moveTo>
                <a:cubicBezTo>
                  <a:pt x="9097" y="5487"/>
                  <a:pt x="8687" y="5077"/>
                  <a:pt x="8687" y="4572"/>
                </a:cubicBezTo>
                <a:cubicBezTo>
                  <a:pt x="8687" y="4067"/>
                  <a:pt x="9097" y="3658"/>
                  <a:pt x="9602" y="3658"/>
                </a:cubicBezTo>
                <a:cubicBezTo>
                  <a:pt x="10107" y="3658"/>
                  <a:pt x="10516" y="4067"/>
                  <a:pt x="10516" y="4572"/>
                </a:cubicBezTo>
                <a:cubicBezTo>
                  <a:pt x="10516" y="5077"/>
                  <a:pt x="10107" y="5487"/>
                  <a:pt x="9602" y="5487"/>
                </a:cubicBezTo>
                <a:close/>
                <a:moveTo>
                  <a:pt x="9602" y="5487"/>
                </a:move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iconfont-1186-646597">
            <a:extLst>
              <a:ext uri="{FF2B5EF4-FFF2-40B4-BE49-F238E27FC236}">
                <a16:creationId xmlns:a16="http://schemas.microsoft.com/office/drawing/2014/main" id="{37DD8F36-2A93-4F78-A4CB-9DE9EDB341E3}"/>
              </a:ext>
            </a:extLst>
          </p:cNvPr>
          <p:cNvSpPr/>
          <p:nvPr/>
        </p:nvSpPr>
        <p:spPr>
          <a:xfrm>
            <a:off x="8967409" y="2212885"/>
            <a:ext cx="311272" cy="363706"/>
          </a:xfrm>
          <a:custGeom>
            <a:avLst/>
            <a:gdLst>
              <a:gd name="T0" fmla="*/ 8209 w 10908"/>
              <a:gd name="T1" fmla="*/ 2143 h 12744"/>
              <a:gd name="T2" fmla="*/ 8209 w 10908"/>
              <a:gd name="T3" fmla="*/ 1057 h 12744"/>
              <a:gd name="T4" fmla="*/ 7124 w 10908"/>
              <a:gd name="T5" fmla="*/ 0 h 12744"/>
              <a:gd name="T6" fmla="*/ 3840 w 10908"/>
              <a:gd name="T7" fmla="*/ 0 h 12744"/>
              <a:gd name="T8" fmla="*/ 2755 w 10908"/>
              <a:gd name="T9" fmla="*/ 1057 h 12744"/>
              <a:gd name="T10" fmla="*/ 2755 w 10908"/>
              <a:gd name="T11" fmla="*/ 2115 h 12744"/>
              <a:gd name="T12" fmla="*/ 0 w 10908"/>
              <a:gd name="T13" fmla="*/ 2115 h 12744"/>
              <a:gd name="T14" fmla="*/ 0 w 10908"/>
              <a:gd name="T15" fmla="*/ 3172 h 12744"/>
              <a:gd name="T16" fmla="*/ 1085 w 10908"/>
              <a:gd name="T17" fmla="*/ 3172 h 12744"/>
              <a:gd name="T18" fmla="*/ 1085 w 10908"/>
              <a:gd name="T19" fmla="*/ 11687 h 12744"/>
              <a:gd name="T20" fmla="*/ 2171 w 10908"/>
              <a:gd name="T21" fmla="*/ 12744 h 12744"/>
              <a:gd name="T22" fmla="*/ 8738 w 10908"/>
              <a:gd name="T23" fmla="*/ 12744 h 12744"/>
              <a:gd name="T24" fmla="*/ 9823 w 10908"/>
              <a:gd name="T25" fmla="*/ 11687 h 12744"/>
              <a:gd name="T26" fmla="*/ 9823 w 10908"/>
              <a:gd name="T27" fmla="*/ 3200 h 12744"/>
              <a:gd name="T28" fmla="*/ 10908 w 10908"/>
              <a:gd name="T29" fmla="*/ 3200 h 12744"/>
              <a:gd name="T30" fmla="*/ 10908 w 10908"/>
              <a:gd name="T31" fmla="*/ 2143 h 12744"/>
              <a:gd name="T32" fmla="*/ 8209 w 10908"/>
              <a:gd name="T33" fmla="*/ 2143 h 12744"/>
              <a:gd name="T34" fmla="*/ 4870 w 10908"/>
              <a:gd name="T35" fmla="*/ 10963 h 12744"/>
              <a:gd name="T36" fmla="*/ 3645 w 10908"/>
              <a:gd name="T37" fmla="*/ 10963 h 12744"/>
              <a:gd name="T38" fmla="*/ 3645 w 10908"/>
              <a:gd name="T39" fmla="*/ 4257 h 12744"/>
              <a:gd name="T40" fmla="*/ 4870 w 10908"/>
              <a:gd name="T41" fmla="*/ 4257 h 12744"/>
              <a:gd name="T42" fmla="*/ 4870 w 10908"/>
              <a:gd name="T43" fmla="*/ 10963 h 12744"/>
              <a:gd name="T44" fmla="*/ 7319 w 10908"/>
              <a:gd name="T45" fmla="*/ 10963 h 12744"/>
              <a:gd name="T46" fmla="*/ 6094 w 10908"/>
              <a:gd name="T47" fmla="*/ 10963 h 12744"/>
              <a:gd name="T48" fmla="*/ 6094 w 10908"/>
              <a:gd name="T49" fmla="*/ 4257 h 12744"/>
              <a:gd name="T50" fmla="*/ 7319 w 10908"/>
              <a:gd name="T51" fmla="*/ 4257 h 12744"/>
              <a:gd name="T52" fmla="*/ 7319 w 10908"/>
              <a:gd name="T53" fmla="*/ 10963 h 127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0908" h="12744">
                <a:moveTo>
                  <a:pt x="8209" y="2143"/>
                </a:moveTo>
                <a:lnTo>
                  <a:pt x="8209" y="1057"/>
                </a:lnTo>
                <a:cubicBezTo>
                  <a:pt x="8209" y="473"/>
                  <a:pt x="7708" y="0"/>
                  <a:pt x="7124" y="0"/>
                </a:cubicBezTo>
                <a:lnTo>
                  <a:pt x="3840" y="0"/>
                </a:lnTo>
                <a:cubicBezTo>
                  <a:pt x="3228" y="0"/>
                  <a:pt x="2755" y="473"/>
                  <a:pt x="2755" y="1057"/>
                </a:cubicBezTo>
                <a:lnTo>
                  <a:pt x="2755" y="2115"/>
                </a:lnTo>
                <a:lnTo>
                  <a:pt x="0" y="2115"/>
                </a:lnTo>
                <a:lnTo>
                  <a:pt x="0" y="3172"/>
                </a:lnTo>
                <a:lnTo>
                  <a:pt x="1085" y="3172"/>
                </a:lnTo>
                <a:lnTo>
                  <a:pt x="1085" y="11687"/>
                </a:lnTo>
                <a:cubicBezTo>
                  <a:pt x="1085" y="12271"/>
                  <a:pt x="1586" y="12744"/>
                  <a:pt x="2171" y="12744"/>
                </a:cubicBezTo>
                <a:lnTo>
                  <a:pt x="8738" y="12744"/>
                </a:lnTo>
                <a:cubicBezTo>
                  <a:pt x="9350" y="12744"/>
                  <a:pt x="9823" y="12271"/>
                  <a:pt x="9823" y="11687"/>
                </a:cubicBezTo>
                <a:lnTo>
                  <a:pt x="9823" y="3200"/>
                </a:lnTo>
                <a:lnTo>
                  <a:pt x="10908" y="3200"/>
                </a:lnTo>
                <a:lnTo>
                  <a:pt x="10908" y="2143"/>
                </a:lnTo>
                <a:lnTo>
                  <a:pt x="8209" y="2143"/>
                </a:lnTo>
                <a:close/>
                <a:moveTo>
                  <a:pt x="4870" y="10963"/>
                </a:moveTo>
                <a:lnTo>
                  <a:pt x="3645" y="10963"/>
                </a:lnTo>
                <a:lnTo>
                  <a:pt x="3645" y="4257"/>
                </a:lnTo>
                <a:lnTo>
                  <a:pt x="4870" y="4257"/>
                </a:lnTo>
                <a:lnTo>
                  <a:pt x="4870" y="10963"/>
                </a:lnTo>
                <a:close/>
                <a:moveTo>
                  <a:pt x="7319" y="10963"/>
                </a:moveTo>
                <a:lnTo>
                  <a:pt x="6094" y="10963"/>
                </a:lnTo>
                <a:lnTo>
                  <a:pt x="6094" y="4257"/>
                </a:lnTo>
                <a:lnTo>
                  <a:pt x="7319" y="4257"/>
                </a:lnTo>
                <a:lnTo>
                  <a:pt x="7319" y="1096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 name="左大括号 31">
            <a:extLst>
              <a:ext uri="{FF2B5EF4-FFF2-40B4-BE49-F238E27FC236}">
                <a16:creationId xmlns:a16="http://schemas.microsoft.com/office/drawing/2014/main" id="{4427C248-07CB-4C91-A1AD-EA577F84D838}"/>
              </a:ext>
            </a:extLst>
          </p:cNvPr>
          <p:cNvSpPr/>
          <p:nvPr/>
        </p:nvSpPr>
        <p:spPr>
          <a:xfrm rot="16200000">
            <a:off x="6106917" y="1463815"/>
            <a:ext cx="254391" cy="5743575"/>
          </a:xfrm>
          <a:prstGeom prst="leftBrace">
            <a:avLst>
              <a:gd name="adj1" fmla="val 94450"/>
              <a:gd name="adj2" fmla="val 50000"/>
            </a:avLst>
          </a:prstGeom>
          <a:ln w="1905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sp>
        <p:nvSpPr>
          <p:cNvPr id="33" name="矩形: 圆角 32">
            <a:extLst>
              <a:ext uri="{FF2B5EF4-FFF2-40B4-BE49-F238E27FC236}">
                <a16:creationId xmlns:a16="http://schemas.microsoft.com/office/drawing/2014/main" id="{A9280ACF-37E3-4514-ADFF-640CA11E35E5}"/>
              </a:ext>
            </a:extLst>
          </p:cNvPr>
          <p:cNvSpPr/>
          <p:nvPr/>
        </p:nvSpPr>
        <p:spPr>
          <a:xfrm>
            <a:off x="5200649" y="4652107"/>
            <a:ext cx="2066926" cy="657225"/>
          </a:xfrm>
          <a:prstGeom prst="roundRect">
            <a:avLst>
              <a:gd name="adj" fmla="val 50000"/>
            </a:avLst>
          </a:prstGeom>
          <a:gradFill>
            <a:gsLst>
              <a:gs pos="0">
                <a:schemeClr val="accent1"/>
              </a:gs>
              <a:gs pos="100000">
                <a:schemeClr val="accent1">
                  <a:lumMod val="75000"/>
                </a:schemeClr>
              </a:gs>
            </a:gsLst>
            <a:lin ang="2700000" scaled="0"/>
          </a:gradFill>
          <a:ln w="25400" cap="flat" cmpd="sng" algn="ctr">
            <a:noFill/>
            <a:prstDash val="solid"/>
            <a:miter lim="800000"/>
          </a:ln>
          <a:effectLst>
            <a:outerShdw blurRad="254000" dist="88900" dir="2700000" algn="tl" rotWithShape="0">
              <a:schemeClr val="accent1">
                <a:lumMod val="50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a:t>关键词标题</a:t>
            </a:r>
          </a:p>
        </p:txBody>
      </p:sp>
    </p:spTree>
    <p:extLst>
      <p:ext uri="{BB962C8B-B14F-4D97-AF65-F5344CB8AC3E}">
        <p14:creationId xmlns:p14="http://schemas.microsoft.com/office/powerpoint/2010/main" val="2138568594"/>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2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矩形: 圆角 2">
            <a:extLst>
              <a:ext uri="{FF2B5EF4-FFF2-40B4-BE49-F238E27FC236}">
                <a16:creationId xmlns:a16="http://schemas.microsoft.com/office/drawing/2014/main" id="{5D63E78A-211E-4DDC-A564-BEEAF46C30C0}"/>
              </a:ext>
            </a:extLst>
          </p:cNvPr>
          <p:cNvSpPr/>
          <p:nvPr/>
        </p:nvSpPr>
        <p:spPr>
          <a:xfrm>
            <a:off x="1283677" y="2250831"/>
            <a:ext cx="2936630" cy="2760785"/>
          </a:xfrm>
          <a:prstGeom prst="roundRect">
            <a:avLst>
              <a:gd name="adj" fmla="val 9024"/>
            </a:avLst>
          </a:prstGeom>
          <a:solidFill>
            <a:schemeClr val="bg1"/>
          </a:solidFill>
          <a:ln>
            <a:solidFill>
              <a:schemeClr val="accent1"/>
            </a:solidFill>
          </a:ln>
          <a:effectLst>
            <a:outerShdw blurRad="254000" dist="127000" dir="5400000" algn="t"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endParaRPr lang="zh-CN" altLang="en-US" sz="1600">
              <a:solidFill>
                <a:schemeClr val="bg1"/>
              </a:solidFill>
              <a:latin typeface="+mj-ea"/>
              <a:ea typeface="+mj-ea"/>
            </a:endParaRPr>
          </a:p>
        </p:txBody>
      </p:sp>
      <p:sp>
        <p:nvSpPr>
          <p:cNvPr id="4" name="箭头: 上 3">
            <a:extLst>
              <a:ext uri="{FF2B5EF4-FFF2-40B4-BE49-F238E27FC236}">
                <a16:creationId xmlns:a16="http://schemas.microsoft.com/office/drawing/2014/main" id="{93D2076C-2949-40E9-870B-2C3550E059B3}"/>
              </a:ext>
            </a:extLst>
          </p:cNvPr>
          <p:cNvSpPr/>
          <p:nvPr/>
        </p:nvSpPr>
        <p:spPr>
          <a:xfrm rot="10800000">
            <a:off x="1810629" y="2250831"/>
            <a:ext cx="1882726" cy="870438"/>
          </a:xfrm>
          <a:custGeom>
            <a:avLst/>
            <a:gdLst>
              <a:gd name="connsiteX0" fmla="*/ 0 w 1882726"/>
              <a:gd name="connsiteY0" fmla="*/ 435219 h 870438"/>
              <a:gd name="connsiteX1" fmla="*/ 941363 w 1882726"/>
              <a:gd name="connsiteY1" fmla="*/ 0 h 870438"/>
              <a:gd name="connsiteX2" fmla="*/ 1882726 w 1882726"/>
              <a:gd name="connsiteY2" fmla="*/ 435219 h 870438"/>
              <a:gd name="connsiteX3" fmla="*/ 1882726 w 1882726"/>
              <a:gd name="connsiteY3" fmla="*/ 435219 h 870438"/>
              <a:gd name="connsiteX4" fmla="*/ 1882726 w 1882726"/>
              <a:gd name="connsiteY4" fmla="*/ 870438 h 870438"/>
              <a:gd name="connsiteX5" fmla="*/ 0 w 1882726"/>
              <a:gd name="connsiteY5" fmla="*/ 870438 h 870438"/>
              <a:gd name="connsiteX6" fmla="*/ 0 w 1882726"/>
              <a:gd name="connsiteY6" fmla="*/ 435219 h 870438"/>
              <a:gd name="connsiteX0" fmla="*/ 0 w 1882726"/>
              <a:gd name="connsiteY0" fmla="*/ 435219 h 870438"/>
              <a:gd name="connsiteX1" fmla="*/ 941363 w 1882726"/>
              <a:gd name="connsiteY1" fmla="*/ 0 h 870438"/>
              <a:gd name="connsiteX2" fmla="*/ 1460659 w 1882726"/>
              <a:gd name="connsiteY2" fmla="*/ 239956 h 870438"/>
              <a:gd name="connsiteX3" fmla="*/ 1882726 w 1882726"/>
              <a:gd name="connsiteY3" fmla="*/ 435219 h 870438"/>
              <a:gd name="connsiteX4" fmla="*/ 1882726 w 1882726"/>
              <a:gd name="connsiteY4" fmla="*/ 435219 h 870438"/>
              <a:gd name="connsiteX5" fmla="*/ 1882726 w 1882726"/>
              <a:gd name="connsiteY5" fmla="*/ 870438 h 870438"/>
              <a:gd name="connsiteX6" fmla="*/ 0 w 1882726"/>
              <a:gd name="connsiteY6" fmla="*/ 870438 h 870438"/>
              <a:gd name="connsiteX7" fmla="*/ 0 w 1882726"/>
              <a:gd name="connsiteY7" fmla="*/ 435219 h 870438"/>
              <a:gd name="connsiteX0" fmla="*/ 0 w 1882726"/>
              <a:gd name="connsiteY0" fmla="*/ 435219 h 870438"/>
              <a:gd name="connsiteX1" fmla="*/ 941363 w 1882726"/>
              <a:gd name="connsiteY1" fmla="*/ 0 h 870438"/>
              <a:gd name="connsiteX2" fmla="*/ 1882726 w 1882726"/>
              <a:gd name="connsiteY2" fmla="*/ 435219 h 870438"/>
              <a:gd name="connsiteX3" fmla="*/ 1882726 w 1882726"/>
              <a:gd name="connsiteY3" fmla="*/ 435219 h 870438"/>
              <a:gd name="connsiteX4" fmla="*/ 1882726 w 1882726"/>
              <a:gd name="connsiteY4" fmla="*/ 870438 h 870438"/>
              <a:gd name="connsiteX5" fmla="*/ 0 w 1882726"/>
              <a:gd name="connsiteY5" fmla="*/ 870438 h 870438"/>
              <a:gd name="connsiteX6" fmla="*/ 0 w 1882726"/>
              <a:gd name="connsiteY6" fmla="*/ 435219 h 870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82726" h="870438">
                <a:moveTo>
                  <a:pt x="0" y="435219"/>
                </a:moveTo>
                <a:lnTo>
                  <a:pt x="941363" y="0"/>
                </a:lnTo>
                <a:lnTo>
                  <a:pt x="1882726" y="435219"/>
                </a:lnTo>
                <a:lnTo>
                  <a:pt x="1882726" y="435219"/>
                </a:lnTo>
                <a:lnTo>
                  <a:pt x="1882726" y="870438"/>
                </a:lnTo>
                <a:lnTo>
                  <a:pt x="0" y="870438"/>
                </a:lnTo>
                <a:lnTo>
                  <a:pt x="0" y="435219"/>
                </a:lnTo>
                <a:close/>
              </a:path>
            </a:pathLst>
          </a:custGeom>
          <a:gradFill>
            <a:gsLst>
              <a:gs pos="0">
                <a:schemeClr val="accent1"/>
              </a:gs>
              <a:gs pos="100000">
                <a:schemeClr val="accent1">
                  <a:lumMod val="75000"/>
                </a:schemeClr>
              </a:gs>
            </a:gsLst>
            <a:lin ang="2700000" scaled="0"/>
          </a:gradFill>
          <a:ln w="25400" cap="flat" cmpd="sng" algn="ctr">
            <a:noFill/>
            <a:prstDash val="solid"/>
            <a:miter lim="800000"/>
          </a:ln>
          <a:effectLst>
            <a:outerShdw blurRad="254000" dist="88900" dir="2700000" algn="tl" rotWithShape="0">
              <a:schemeClr val="accent1">
                <a:lumMod val="50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zh-CN" altLang="en-US" dirty="0"/>
          </a:p>
        </p:txBody>
      </p:sp>
      <p:sp>
        <p:nvSpPr>
          <p:cNvPr id="5" name="文本框 4">
            <a:extLst>
              <a:ext uri="{FF2B5EF4-FFF2-40B4-BE49-F238E27FC236}">
                <a16:creationId xmlns:a16="http://schemas.microsoft.com/office/drawing/2014/main" id="{051A1CB0-76CA-4BE1-A528-D21C545EA5E0}"/>
              </a:ext>
            </a:extLst>
          </p:cNvPr>
          <p:cNvSpPr txBox="1"/>
          <p:nvPr/>
        </p:nvSpPr>
        <p:spPr>
          <a:xfrm>
            <a:off x="2159682" y="2409051"/>
            <a:ext cx="1184620" cy="369332"/>
          </a:xfrm>
          <a:prstGeom prst="rect">
            <a:avLst/>
          </a:prstGeom>
          <a:noFill/>
        </p:spPr>
        <p:txBody>
          <a:bodyPr wrap="none" lIns="0" tIns="0" rIns="0" bIns="0" rtlCol="0" anchor="t">
            <a:spAutoFit/>
          </a:bodyPr>
          <a:lstStyle/>
          <a:p>
            <a:pPr algn="ctr"/>
            <a:r>
              <a:rPr lang="en-US" altLang="zh-CN" sz="2400" dirty="0">
                <a:solidFill>
                  <a:schemeClr val="bg1"/>
                </a:solidFill>
                <a:latin typeface="+mj-ea"/>
                <a:ea typeface="+mj-ea"/>
              </a:rPr>
              <a:t>Step 01</a:t>
            </a:r>
            <a:endParaRPr lang="zh-CN" altLang="en-US" sz="2400" dirty="0">
              <a:solidFill>
                <a:schemeClr val="bg1"/>
              </a:solidFill>
              <a:latin typeface="+mj-ea"/>
              <a:ea typeface="+mj-ea"/>
            </a:endParaRPr>
          </a:p>
        </p:txBody>
      </p:sp>
      <p:sp>
        <p:nvSpPr>
          <p:cNvPr id="9" name="文本框 8">
            <a:extLst>
              <a:ext uri="{FF2B5EF4-FFF2-40B4-BE49-F238E27FC236}">
                <a16:creationId xmlns:a16="http://schemas.microsoft.com/office/drawing/2014/main" id="{FD456A09-4870-4EE2-8600-9C7F55AEA0AD}"/>
              </a:ext>
            </a:extLst>
          </p:cNvPr>
          <p:cNvSpPr txBox="1"/>
          <p:nvPr/>
        </p:nvSpPr>
        <p:spPr>
          <a:xfrm>
            <a:off x="1982551" y="3279490"/>
            <a:ext cx="1538883" cy="369332"/>
          </a:xfrm>
          <a:prstGeom prst="rect">
            <a:avLst/>
          </a:prstGeom>
          <a:noFill/>
          <a:effectLst/>
        </p:spPr>
        <p:txBody>
          <a:bodyPr wrap="none" lIns="0" tIns="0" rIns="0" bIns="0" rtlCol="0" anchor="t">
            <a:spAutoFit/>
          </a:bodyPr>
          <a:lstStyle/>
          <a:p>
            <a:pPr algn="ctr"/>
            <a:r>
              <a:rPr lang="zh-CN" altLang="en-US" sz="2400" dirty="0">
                <a:solidFill>
                  <a:schemeClr val="accent1"/>
                </a:solidFill>
                <a:latin typeface="+mj-ea"/>
                <a:ea typeface="+mj-ea"/>
              </a:rPr>
              <a:t>关键词标题</a:t>
            </a:r>
          </a:p>
        </p:txBody>
      </p:sp>
      <p:sp>
        <p:nvSpPr>
          <p:cNvPr id="11" name="文本框 10">
            <a:extLst>
              <a:ext uri="{FF2B5EF4-FFF2-40B4-BE49-F238E27FC236}">
                <a16:creationId xmlns:a16="http://schemas.microsoft.com/office/drawing/2014/main" id="{DD900E8D-81D3-453F-AAB3-10855F5D4F99}"/>
              </a:ext>
            </a:extLst>
          </p:cNvPr>
          <p:cNvSpPr txBox="1"/>
          <p:nvPr/>
        </p:nvSpPr>
        <p:spPr>
          <a:xfrm>
            <a:off x="1677404" y="3800793"/>
            <a:ext cx="2149176" cy="704873"/>
          </a:xfrm>
          <a:prstGeom prst="rect">
            <a:avLst/>
          </a:prstGeom>
          <a:noFill/>
          <a:effectLst/>
        </p:spPr>
        <p:txBody>
          <a:bodyPr wrap="square" lIns="0" tIns="0" rIns="0" bIns="0" rtlCol="0" anchor="t">
            <a:spAutoFit/>
          </a:bodyPr>
          <a:lstStyle/>
          <a:p>
            <a:pPr algn="ctr">
              <a:lnSpc>
                <a:spcPct val="130000"/>
              </a:lnSpc>
            </a:pPr>
            <a:r>
              <a:rPr lang="en-US" altLang="zh-CN" sz="1200" b="0" dirty="0">
                <a:solidFill>
                  <a:schemeClr val="tx1">
                    <a:lumMod val="75000"/>
                    <a:lumOff val="25000"/>
                  </a:schemeClr>
                </a:solidFill>
                <a:effectLst/>
                <a:latin typeface="+mn-ea"/>
              </a:rPr>
              <a:t>Lorem ipsum dolor sit ametconsectetur adipisicing elit</a:t>
            </a:r>
            <a:r>
              <a:rPr lang="en-US" altLang="zh-CN" sz="1200" dirty="0">
                <a:solidFill>
                  <a:schemeClr val="tx1">
                    <a:lumMod val="75000"/>
                    <a:lumOff val="25000"/>
                  </a:schemeClr>
                </a:solidFill>
                <a:latin typeface="+mn-ea"/>
              </a:rPr>
              <a:t> </a:t>
            </a:r>
            <a:r>
              <a:rPr lang="en-US" altLang="zh-CN" sz="1200" b="0" dirty="0">
                <a:solidFill>
                  <a:schemeClr val="tx1">
                    <a:lumMod val="75000"/>
                    <a:lumOff val="25000"/>
                  </a:schemeClr>
                </a:solidFill>
                <a:effectLst/>
                <a:latin typeface="+mn-ea"/>
              </a:rPr>
              <a:t>sed do eiusmod tempor</a:t>
            </a:r>
            <a:endParaRPr lang="zh-CN" altLang="en-US" sz="1200" b="0" dirty="0">
              <a:solidFill>
                <a:schemeClr val="tx1">
                  <a:lumMod val="75000"/>
                  <a:lumOff val="25000"/>
                </a:schemeClr>
              </a:solidFill>
              <a:effectLst/>
              <a:latin typeface="+mn-ea"/>
            </a:endParaRPr>
          </a:p>
        </p:txBody>
      </p:sp>
      <p:sp>
        <p:nvSpPr>
          <p:cNvPr id="12" name="矩形: 圆角 11">
            <a:extLst>
              <a:ext uri="{FF2B5EF4-FFF2-40B4-BE49-F238E27FC236}">
                <a16:creationId xmlns:a16="http://schemas.microsoft.com/office/drawing/2014/main" id="{9A6C7570-EA29-42D4-9DFC-C3D37A7ADC7A}"/>
              </a:ext>
            </a:extLst>
          </p:cNvPr>
          <p:cNvSpPr/>
          <p:nvPr/>
        </p:nvSpPr>
        <p:spPr>
          <a:xfrm>
            <a:off x="4519246" y="2250831"/>
            <a:ext cx="2936630" cy="2760785"/>
          </a:xfrm>
          <a:prstGeom prst="roundRect">
            <a:avLst>
              <a:gd name="adj" fmla="val 9024"/>
            </a:avLst>
          </a:prstGeom>
          <a:solidFill>
            <a:schemeClr val="bg1"/>
          </a:solidFill>
          <a:ln>
            <a:solidFill>
              <a:schemeClr val="accent1"/>
            </a:solidFill>
          </a:ln>
          <a:effectLst>
            <a:outerShdw blurRad="254000" dist="127000" dir="5400000" algn="t"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endParaRPr lang="zh-CN" altLang="en-US" sz="1600">
              <a:solidFill>
                <a:schemeClr val="bg1"/>
              </a:solidFill>
              <a:latin typeface="+mj-ea"/>
              <a:ea typeface="+mj-ea"/>
            </a:endParaRPr>
          </a:p>
        </p:txBody>
      </p:sp>
      <p:sp>
        <p:nvSpPr>
          <p:cNvPr id="13" name="箭头: 上 3">
            <a:extLst>
              <a:ext uri="{FF2B5EF4-FFF2-40B4-BE49-F238E27FC236}">
                <a16:creationId xmlns:a16="http://schemas.microsoft.com/office/drawing/2014/main" id="{0FF4343E-81AB-4512-A71B-1EC73A653B94}"/>
              </a:ext>
            </a:extLst>
          </p:cNvPr>
          <p:cNvSpPr/>
          <p:nvPr/>
        </p:nvSpPr>
        <p:spPr>
          <a:xfrm rot="10800000">
            <a:off x="5046198" y="2250831"/>
            <a:ext cx="1882726" cy="870438"/>
          </a:xfrm>
          <a:custGeom>
            <a:avLst/>
            <a:gdLst>
              <a:gd name="connsiteX0" fmla="*/ 0 w 1882726"/>
              <a:gd name="connsiteY0" fmla="*/ 435219 h 870438"/>
              <a:gd name="connsiteX1" fmla="*/ 941363 w 1882726"/>
              <a:gd name="connsiteY1" fmla="*/ 0 h 870438"/>
              <a:gd name="connsiteX2" fmla="*/ 1882726 w 1882726"/>
              <a:gd name="connsiteY2" fmla="*/ 435219 h 870438"/>
              <a:gd name="connsiteX3" fmla="*/ 1882726 w 1882726"/>
              <a:gd name="connsiteY3" fmla="*/ 435219 h 870438"/>
              <a:gd name="connsiteX4" fmla="*/ 1882726 w 1882726"/>
              <a:gd name="connsiteY4" fmla="*/ 870438 h 870438"/>
              <a:gd name="connsiteX5" fmla="*/ 0 w 1882726"/>
              <a:gd name="connsiteY5" fmla="*/ 870438 h 870438"/>
              <a:gd name="connsiteX6" fmla="*/ 0 w 1882726"/>
              <a:gd name="connsiteY6" fmla="*/ 435219 h 870438"/>
              <a:gd name="connsiteX0" fmla="*/ 0 w 1882726"/>
              <a:gd name="connsiteY0" fmla="*/ 435219 h 870438"/>
              <a:gd name="connsiteX1" fmla="*/ 941363 w 1882726"/>
              <a:gd name="connsiteY1" fmla="*/ 0 h 870438"/>
              <a:gd name="connsiteX2" fmla="*/ 1460659 w 1882726"/>
              <a:gd name="connsiteY2" fmla="*/ 239956 h 870438"/>
              <a:gd name="connsiteX3" fmla="*/ 1882726 w 1882726"/>
              <a:gd name="connsiteY3" fmla="*/ 435219 h 870438"/>
              <a:gd name="connsiteX4" fmla="*/ 1882726 w 1882726"/>
              <a:gd name="connsiteY4" fmla="*/ 435219 h 870438"/>
              <a:gd name="connsiteX5" fmla="*/ 1882726 w 1882726"/>
              <a:gd name="connsiteY5" fmla="*/ 870438 h 870438"/>
              <a:gd name="connsiteX6" fmla="*/ 0 w 1882726"/>
              <a:gd name="connsiteY6" fmla="*/ 870438 h 870438"/>
              <a:gd name="connsiteX7" fmla="*/ 0 w 1882726"/>
              <a:gd name="connsiteY7" fmla="*/ 435219 h 870438"/>
              <a:gd name="connsiteX0" fmla="*/ 0 w 1882726"/>
              <a:gd name="connsiteY0" fmla="*/ 435219 h 870438"/>
              <a:gd name="connsiteX1" fmla="*/ 941363 w 1882726"/>
              <a:gd name="connsiteY1" fmla="*/ 0 h 870438"/>
              <a:gd name="connsiteX2" fmla="*/ 1882726 w 1882726"/>
              <a:gd name="connsiteY2" fmla="*/ 435219 h 870438"/>
              <a:gd name="connsiteX3" fmla="*/ 1882726 w 1882726"/>
              <a:gd name="connsiteY3" fmla="*/ 435219 h 870438"/>
              <a:gd name="connsiteX4" fmla="*/ 1882726 w 1882726"/>
              <a:gd name="connsiteY4" fmla="*/ 870438 h 870438"/>
              <a:gd name="connsiteX5" fmla="*/ 0 w 1882726"/>
              <a:gd name="connsiteY5" fmla="*/ 870438 h 870438"/>
              <a:gd name="connsiteX6" fmla="*/ 0 w 1882726"/>
              <a:gd name="connsiteY6" fmla="*/ 435219 h 870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82726" h="870438">
                <a:moveTo>
                  <a:pt x="0" y="435219"/>
                </a:moveTo>
                <a:lnTo>
                  <a:pt x="941363" y="0"/>
                </a:lnTo>
                <a:lnTo>
                  <a:pt x="1882726" y="435219"/>
                </a:lnTo>
                <a:lnTo>
                  <a:pt x="1882726" y="435219"/>
                </a:lnTo>
                <a:lnTo>
                  <a:pt x="1882726" y="870438"/>
                </a:lnTo>
                <a:lnTo>
                  <a:pt x="0" y="870438"/>
                </a:lnTo>
                <a:lnTo>
                  <a:pt x="0" y="435219"/>
                </a:lnTo>
                <a:close/>
              </a:path>
            </a:pathLst>
          </a:custGeom>
          <a:gradFill>
            <a:gsLst>
              <a:gs pos="0">
                <a:schemeClr val="accent1"/>
              </a:gs>
              <a:gs pos="100000">
                <a:schemeClr val="accent1">
                  <a:lumMod val="75000"/>
                </a:schemeClr>
              </a:gs>
            </a:gsLst>
            <a:lin ang="2700000" scaled="0"/>
          </a:gradFill>
          <a:ln w="25400" cap="flat" cmpd="sng" algn="ctr">
            <a:noFill/>
            <a:prstDash val="solid"/>
            <a:miter lim="800000"/>
          </a:ln>
          <a:effectLst>
            <a:outerShdw blurRad="254000" dist="88900" dir="2700000" algn="tl" rotWithShape="0">
              <a:schemeClr val="accent1">
                <a:lumMod val="50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zh-CN" altLang="en-US" dirty="0"/>
          </a:p>
        </p:txBody>
      </p:sp>
      <p:sp>
        <p:nvSpPr>
          <p:cNvPr id="14" name="文本框 13">
            <a:extLst>
              <a:ext uri="{FF2B5EF4-FFF2-40B4-BE49-F238E27FC236}">
                <a16:creationId xmlns:a16="http://schemas.microsoft.com/office/drawing/2014/main" id="{81501FDE-39DE-48A4-A5E0-A65CD42E8E32}"/>
              </a:ext>
            </a:extLst>
          </p:cNvPr>
          <p:cNvSpPr txBox="1"/>
          <p:nvPr/>
        </p:nvSpPr>
        <p:spPr>
          <a:xfrm>
            <a:off x="5368000" y="2409051"/>
            <a:ext cx="1239122" cy="369332"/>
          </a:xfrm>
          <a:prstGeom prst="rect">
            <a:avLst/>
          </a:prstGeom>
          <a:noFill/>
        </p:spPr>
        <p:txBody>
          <a:bodyPr wrap="none" lIns="0" tIns="0" rIns="0" bIns="0" rtlCol="0" anchor="t">
            <a:spAutoFit/>
          </a:bodyPr>
          <a:lstStyle/>
          <a:p>
            <a:pPr algn="ctr"/>
            <a:r>
              <a:rPr lang="en-US" altLang="zh-CN" sz="2400" dirty="0">
                <a:solidFill>
                  <a:schemeClr val="bg1"/>
                </a:solidFill>
                <a:latin typeface="+mj-ea"/>
                <a:ea typeface="+mj-ea"/>
              </a:rPr>
              <a:t>Step 02</a:t>
            </a:r>
            <a:endParaRPr lang="zh-CN" altLang="en-US" sz="2400" dirty="0">
              <a:solidFill>
                <a:schemeClr val="bg1"/>
              </a:solidFill>
              <a:latin typeface="+mj-ea"/>
              <a:ea typeface="+mj-ea"/>
            </a:endParaRPr>
          </a:p>
        </p:txBody>
      </p:sp>
      <p:sp>
        <p:nvSpPr>
          <p:cNvPr id="15" name="文本框 14">
            <a:extLst>
              <a:ext uri="{FF2B5EF4-FFF2-40B4-BE49-F238E27FC236}">
                <a16:creationId xmlns:a16="http://schemas.microsoft.com/office/drawing/2014/main" id="{7B6D5CF6-CC74-4597-9082-4C0969D8EA4A}"/>
              </a:ext>
            </a:extLst>
          </p:cNvPr>
          <p:cNvSpPr txBox="1"/>
          <p:nvPr/>
        </p:nvSpPr>
        <p:spPr>
          <a:xfrm>
            <a:off x="5218120" y="3279490"/>
            <a:ext cx="1538883" cy="369332"/>
          </a:xfrm>
          <a:prstGeom prst="rect">
            <a:avLst/>
          </a:prstGeom>
          <a:noFill/>
          <a:effectLst/>
        </p:spPr>
        <p:txBody>
          <a:bodyPr wrap="none" lIns="0" tIns="0" rIns="0" bIns="0" rtlCol="0" anchor="t">
            <a:spAutoFit/>
          </a:bodyPr>
          <a:lstStyle/>
          <a:p>
            <a:pPr algn="ctr"/>
            <a:r>
              <a:rPr lang="zh-CN" altLang="en-US" sz="2400" dirty="0">
                <a:solidFill>
                  <a:schemeClr val="accent1"/>
                </a:solidFill>
                <a:latin typeface="+mj-ea"/>
                <a:ea typeface="+mj-ea"/>
              </a:rPr>
              <a:t>关键词标题</a:t>
            </a:r>
          </a:p>
        </p:txBody>
      </p:sp>
      <p:sp>
        <p:nvSpPr>
          <p:cNvPr id="16" name="文本框 15">
            <a:extLst>
              <a:ext uri="{FF2B5EF4-FFF2-40B4-BE49-F238E27FC236}">
                <a16:creationId xmlns:a16="http://schemas.microsoft.com/office/drawing/2014/main" id="{1A26B15C-9E36-404D-BB01-EE0AB22A88EB}"/>
              </a:ext>
            </a:extLst>
          </p:cNvPr>
          <p:cNvSpPr txBox="1"/>
          <p:nvPr/>
        </p:nvSpPr>
        <p:spPr>
          <a:xfrm>
            <a:off x="4912973" y="3800793"/>
            <a:ext cx="2149176" cy="704873"/>
          </a:xfrm>
          <a:prstGeom prst="rect">
            <a:avLst/>
          </a:prstGeom>
          <a:noFill/>
          <a:effectLst/>
        </p:spPr>
        <p:txBody>
          <a:bodyPr wrap="square" lIns="0" tIns="0" rIns="0" bIns="0" rtlCol="0" anchor="t">
            <a:spAutoFit/>
          </a:bodyPr>
          <a:lstStyle/>
          <a:p>
            <a:pPr algn="ctr">
              <a:lnSpc>
                <a:spcPct val="130000"/>
              </a:lnSpc>
            </a:pPr>
            <a:r>
              <a:rPr lang="en-US" altLang="zh-CN" sz="1200" b="0" dirty="0">
                <a:solidFill>
                  <a:schemeClr val="tx1">
                    <a:lumMod val="75000"/>
                    <a:lumOff val="25000"/>
                  </a:schemeClr>
                </a:solidFill>
                <a:effectLst/>
                <a:latin typeface="+mn-ea"/>
              </a:rPr>
              <a:t>Lorem ipsum dolor sit ametconsectetur adipisicing elit</a:t>
            </a:r>
            <a:r>
              <a:rPr lang="en-US" altLang="zh-CN" sz="1200" dirty="0">
                <a:solidFill>
                  <a:schemeClr val="tx1">
                    <a:lumMod val="75000"/>
                    <a:lumOff val="25000"/>
                  </a:schemeClr>
                </a:solidFill>
                <a:latin typeface="+mn-ea"/>
              </a:rPr>
              <a:t> </a:t>
            </a:r>
            <a:r>
              <a:rPr lang="en-US" altLang="zh-CN" sz="1200" b="0" dirty="0">
                <a:solidFill>
                  <a:schemeClr val="tx1">
                    <a:lumMod val="75000"/>
                    <a:lumOff val="25000"/>
                  </a:schemeClr>
                </a:solidFill>
                <a:effectLst/>
                <a:latin typeface="+mn-ea"/>
              </a:rPr>
              <a:t>sed do eiusmod tempor</a:t>
            </a:r>
            <a:endParaRPr lang="zh-CN" altLang="en-US" sz="1200" b="0" dirty="0">
              <a:solidFill>
                <a:schemeClr val="tx1">
                  <a:lumMod val="75000"/>
                  <a:lumOff val="25000"/>
                </a:schemeClr>
              </a:solidFill>
              <a:effectLst/>
              <a:latin typeface="+mn-ea"/>
            </a:endParaRPr>
          </a:p>
        </p:txBody>
      </p:sp>
      <p:sp>
        <p:nvSpPr>
          <p:cNvPr id="17" name="矩形: 圆角 16">
            <a:extLst>
              <a:ext uri="{FF2B5EF4-FFF2-40B4-BE49-F238E27FC236}">
                <a16:creationId xmlns:a16="http://schemas.microsoft.com/office/drawing/2014/main" id="{B785A5F3-BEE2-44F4-9373-A488A33D5C25}"/>
              </a:ext>
            </a:extLst>
          </p:cNvPr>
          <p:cNvSpPr/>
          <p:nvPr/>
        </p:nvSpPr>
        <p:spPr>
          <a:xfrm>
            <a:off x="7754815" y="2250831"/>
            <a:ext cx="2936630" cy="2760785"/>
          </a:xfrm>
          <a:prstGeom prst="roundRect">
            <a:avLst>
              <a:gd name="adj" fmla="val 9024"/>
            </a:avLst>
          </a:prstGeom>
          <a:solidFill>
            <a:schemeClr val="bg1"/>
          </a:solidFill>
          <a:ln>
            <a:solidFill>
              <a:schemeClr val="accent1"/>
            </a:solidFill>
          </a:ln>
          <a:effectLst>
            <a:outerShdw blurRad="254000" dist="127000" dir="5400000" algn="t"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endParaRPr lang="zh-CN" altLang="en-US" sz="1600">
              <a:solidFill>
                <a:schemeClr val="bg1"/>
              </a:solidFill>
              <a:latin typeface="+mj-ea"/>
              <a:ea typeface="+mj-ea"/>
            </a:endParaRPr>
          </a:p>
        </p:txBody>
      </p:sp>
      <p:sp>
        <p:nvSpPr>
          <p:cNvPr id="18" name="箭头: 上 3">
            <a:extLst>
              <a:ext uri="{FF2B5EF4-FFF2-40B4-BE49-F238E27FC236}">
                <a16:creationId xmlns:a16="http://schemas.microsoft.com/office/drawing/2014/main" id="{EFDD74CC-8AE1-4048-807E-1CC3B697979F}"/>
              </a:ext>
            </a:extLst>
          </p:cNvPr>
          <p:cNvSpPr/>
          <p:nvPr/>
        </p:nvSpPr>
        <p:spPr>
          <a:xfrm rot="10800000">
            <a:off x="8281767" y="2250831"/>
            <a:ext cx="1882726" cy="870438"/>
          </a:xfrm>
          <a:custGeom>
            <a:avLst/>
            <a:gdLst>
              <a:gd name="connsiteX0" fmla="*/ 0 w 1882726"/>
              <a:gd name="connsiteY0" fmla="*/ 435219 h 870438"/>
              <a:gd name="connsiteX1" fmla="*/ 941363 w 1882726"/>
              <a:gd name="connsiteY1" fmla="*/ 0 h 870438"/>
              <a:gd name="connsiteX2" fmla="*/ 1882726 w 1882726"/>
              <a:gd name="connsiteY2" fmla="*/ 435219 h 870438"/>
              <a:gd name="connsiteX3" fmla="*/ 1882726 w 1882726"/>
              <a:gd name="connsiteY3" fmla="*/ 435219 h 870438"/>
              <a:gd name="connsiteX4" fmla="*/ 1882726 w 1882726"/>
              <a:gd name="connsiteY4" fmla="*/ 870438 h 870438"/>
              <a:gd name="connsiteX5" fmla="*/ 0 w 1882726"/>
              <a:gd name="connsiteY5" fmla="*/ 870438 h 870438"/>
              <a:gd name="connsiteX6" fmla="*/ 0 w 1882726"/>
              <a:gd name="connsiteY6" fmla="*/ 435219 h 870438"/>
              <a:gd name="connsiteX0" fmla="*/ 0 w 1882726"/>
              <a:gd name="connsiteY0" fmla="*/ 435219 h 870438"/>
              <a:gd name="connsiteX1" fmla="*/ 941363 w 1882726"/>
              <a:gd name="connsiteY1" fmla="*/ 0 h 870438"/>
              <a:gd name="connsiteX2" fmla="*/ 1460659 w 1882726"/>
              <a:gd name="connsiteY2" fmla="*/ 239956 h 870438"/>
              <a:gd name="connsiteX3" fmla="*/ 1882726 w 1882726"/>
              <a:gd name="connsiteY3" fmla="*/ 435219 h 870438"/>
              <a:gd name="connsiteX4" fmla="*/ 1882726 w 1882726"/>
              <a:gd name="connsiteY4" fmla="*/ 435219 h 870438"/>
              <a:gd name="connsiteX5" fmla="*/ 1882726 w 1882726"/>
              <a:gd name="connsiteY5" fmla="*/ 870438 h 870438"/>
              <a:gd name="connsiteX6" fmla="*/ 0 w 1882726"/>
              <a:gd name="connsiteY6" fmla="*/ 870438 h 870438"/>
              <a:gd name="connsiteX7" fmla="*/ 0 w 1882726"/>
              <a:gd name="connsiteY7" fmla="*/ 435219 h 870438"/>
              <a:gd name="connsiteX0" fmla="*/ 0 w 1882726"/>
              <a:gd name="connsiteY0" fmla="*/ 435219 h 870438"/>
              <a:gd name="connsiteX1" fmla="*/ 941363 w 1882726"/>
              <a:gd name="connsiteY1" fmla="*/ 0 h 870438"/>
              <a:gd name="connsiteX2" fmla="*/ 1882726 w 1882726"/>
              <a:gd name="connsiteY2" fmla="*/ 435219 h 870438"/>
              <a:gd name="connsiteX3" fmla="*/ 1882726 w 1882726"/>
              <a:gd name="connsiteY3" fmla="*/ 435219 h 870438"/>
              <a:gd name="connsiteX4" fmla="*/ 1882726 w 1882726"/>
              <a:gd name="connsiteY4" fmla="*/ 870438 h 870438"/>
              <a:gd name="connsiteX5" fmla="*/ 0 w 1882726"/>
              <a:gd name="connsiteY5" fmla="*/ 870438 h 870438"/>
              <a:gd name="connsiteX6" fmla="*/ 0 w 1882726"/>
              <a:gd name="connsiteY6" fmla="*/ 435219 h 870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82726" h="870438">
                <a:moveTo>
                  <a:pt x="0" y="435219"/>
                </a:moveTo>
                <a:lnTo>
                  <a:pt x="941363" y="0"/>
                </a:lnTo>
                <a:lnTo>
                  <a:pt x="1882726" y="435219"/>
                </a:lnTo>
                <a:lnTo>
                  <a:pt x="1882726" y="435219"/>
                </a:lnTo>
                <a:lnTo>
                  <a:pt x="1882726" y="870438"/>
                </a:lnTo>
                <a:lnTo>
                  <a:pt x="0" y="870438"/>
                </a:lnTo>
                <a:lnTo>
                  <a:pt x="0" y="435219"/>
                </a:lnTo>
                <a:close/>
              </a:path>
            </a:pathLst>
          </a:custGeom>
          <a:gradFill>
            <a:gsLst>
              <a:gs pos="0">
                <a:schemeClr val="accent1"/>
              </a:gs>
              <a:gs pos="100000">
                <a:schemeClr val="accent1">
                  <a:lumMod val="75000"/>
                </a:schemeClr>
              </a:gs>
            </a:gsLst>
            <a:lin ang="2700000" scaled="0"/>
          </a:gradFill>
          <a:ln w="25400" cap="flat" cmpd="sng" algn="ctr">
            <a:noFill/>
            <a:prstDash val="solid"/>
            <a:miter lim="800000"/>
          </a:ln>
          <a:effectLst>
            <a:outerShdw blurRad="254000" dist="88900" dir="2700000" algn="tl" rotWithShape="0">
              <a:schemeClr val="accent1">
                <a:lumMod val="50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zh-CN" altLang="en-US" dirty="0"/>
          </a:p>
        </p:txBody>
      </p:sp>
      <p:sp>
        <p:nvSpPr>
          <p:cNvPr id="19" name="文本框 18">
            <a:extLst>
              <a:ext uri="{FF2B5EF4-FFF2-40B4-BE49-F238E27FC236}">
                <a16:creationId xmlns:a16="http://schemas.microsoft.com/office/drawing/2014/main" id="{D0359BDC-E187-411C-B214-E0E1F31BD7DC}"/>
              </a:ext>
            </a:extLst>
          </p:cNvPr>
          <p:cNvSpPr txBox="1"/>
          <p:nvPr/>
        </p:nvSpPr>
        <p:spPr>
          <a:xfrm>
            <a:off x="8603569" y="2409051"/>
            <a:ext cx="1239122" cy="369332"/>
          </a:xfrm>
          <a:prstGeom prst="rect">
            <a:avLst/>
          </a:prstGeom>
          <a:noFill/>
        </p:spPr>
        <p:txBody>
          <a:bodyPr wrap="none" lIns="0" tIns="0" rIns="0" bIns="0" rtlCol="0" anchor="t">
            <a:spAutoFit/>
          </a:bodyPr>
          <a:lstStyle/>
          <a:p>
            <a:pPr algn="ctr"/>
            <a:r>
              <a:rPr lang="en-US" altLang="zh-CN" sz="2400" dirty="0">
                <a:solidFill>
                  <a:schemeClr val="bg1"/>
                </a:solidFill>
                <a:latin typeface="+mj-ea"/>
                <a:ea typeface="+mj-ea"/>
              </a:rPr>
              <a:t>Step 03</a:t>
            </a:r>
            <a:endParaRPr lang="zh-CN" altLang="en-US" sz="2400" dirty="0">
              <a:solidFill>
                <a:schemeClr val="bg1"/>
              </a:solidFill>
              <a:latin typeface="+mj-ea"/>
              <a:ea typeface="+mj-ea"/>
            </a:endParaRPr>
          </a:p>
        </p:txBody>
      </p:sp>
      <p:sp>
        <p:nvSpPr>
          <p:cNvPr id="20" name="文本框 19">
            <a:extLst>
              <a:ext uri="{FF2B5EF4-FFF2-40B4-BE49-F238E27FC236}">
                <a16:creationId xmlns:a16="http://schemas.microsoft.com/office/drawing/2014/main" id="{95F2A22D-F3C7-4E22-95C7-1689863A0255}"/>
              </a:ext>
            </a:extLst>
          </p:cNvPr>
          <p:cNvSpPr txBox="1"/>
          <p:nvPr/>
        </p:nvSpPr>
        <p:spPr>
          <a:xfrm>
            <a:off x="8453689" y="3279490"/>
            <a:ext cx="1538883" cy="369332"/>
          </a:xfrm>
          <a:prstGeom prst="rect">
            <a:avLst/>
          </a:prstGeom>
          <a:noFill/>
          <a:effectLst/>
        </p:spPr>
        <p:txBody>
          <a:bodyPr wrap="none" lIns="0" tIns="0" rIns="0" bIns="0" rtlCol="0" anchor="t">
            <a:spAutoFit/>
          </a:bodyPr>
          <a:lstStyle/>
          <a:p>
            <a:pPr algn="ctr"/>
            <a:r>
              <a:rPr lang="zh-CN" altLang="en-US" sz="2400" dirty="0">
                <a:solidFill>
                  <a:schemeClr val="accent1"/>
                </a:solidFill>
                <a:latin typeface="+mj-ea"/>
                <a:ea typeface="+mj-ea"/>
              </a:rPr>
              <a:t>关键词标题</a:t>
            </a:r>
          </a:p>
        </p:txBody>
      </p:sp>
      <p:sp>
        <p:nvSpPr>
          <p:cNvPr id="21" name="文本框 20">
            <a:extLst>
              <a:ext uri="{FF2B5EF4-FFF2-40B4-BE49-F238E27FC236}">
                <a16:creationId xmlns:a16="http://schemas.microsoft.com/office/drawing/2014/main" id="{D7BFB134-B54E-4A80-843C-480352459316}"/>
              </a:ext>
            </a:extLst>
          </p:cNvPr>
          <p:cNvSpPr txBox="1"/>
          <p:nvPr/>
        </p:nvSpPr>
        <p:spPr>
          <a:xfrm>
            <a:off x="8148542" y="3800793"/>
            <a:ext cx="2149176" cy="704873"/>
          </a:xfrm>
          <a:prstGeom prst="rect">
            <a:avLst/>
          </a:prstGeom>
          <a:noFill/>
          <a:effectLst/>
        </p:spPr>
        <p:txBody>
          <a:bodyPr wrap="square" lIns="0" tIns="0" rIns="0" bIns="0" rtlCol="0" anchor="t">
            <a:spAutoFit/>
          </a:bodyPr>
          <a:lstStyle/>
          <a:p>
            <a:pPr algn="ctr">
              <a:lnSpc>
                <a:spcPct val="130000"/>
              </a:lnSpc>
            </a:pPr>
            <a:r>
              <a:rPr lang="en-US" altLang="zh-CN" sz="1200" b="0" dirty="0">
                <a:solidFill>
                  <a:schemeClr val="tx1">
                    <a:lumMod val="75000"/>
                    <a:lumOff val="25000"/>
                  </a:schemeClr>
                </a:solidFill>
                <a:effectLst/>
                <a:latin typeface="+mn-ea"/>
              </a:rPr>
              <a:t>Lorem ipsum dolor sit ametconsectetur adipisicing elit</a:t>
            </a:r>
            <a:r>
              <a:rPr lang="en-US" altLang="zh-CN" sz="1200" dirty="0">
                <a:solidFill>
                  <a:schemeClr val="tx1">
                    <a:lumMod val="75000"/>
                    <a:lumOff val="25000"/>
                  </a:schemeClr>
                </a:solidFill>
                <a:latin typeface="+mn-ea"/>
              </a:rPr>
              <a:t> </a:t>
            </a:r>
            <a:r>
              <a:rPr lang="en-US" altLang="zh-CN" sz="1200" b="0" dirty="0">
                <a:solidFill>
                  <a:schemeClr val="tx1">
                    <a:lumMod val="75000"/>
                    <a:lumOff val="25000"/>
                  </a:schemeClr>
                </a:solidFill>
                <a:effectLst/>
                <a:latin typeface="+mn-ea"/>
              </a:rPr>
              <a:t>sed do eiusmod tempor</a:t>
            </a:r>
            <a:endParaRPr lang="zh-CN" altLang="en-US" sz="1200" b="0" dirty="0">
              <a:solidFill>
                <a:schemeClr val="tx1">
                  <a:lumMod val="75000"/>
                  <a:lumOff val="25000"/>
                </a:schemeClr>
              </a:solidFill>
              <a:effectLst/>
              <a:latin typeface="+mn-ea"/>
            </a:endParaRPr>
          </a:p>
        </p:txBody>
      </p:sp>
      <p:cxnSp>
        <p:nvCxnSpPr>
          <p:cNvPr id="23" name="直接连接符 22">
            <a:extLst>
              <a:ext uri="{FF2B5EF4-FFF2-40B4-BE49-F238E27FC236}">
                <a16:creationId xmlns:a16="http://schemas.microsoft.com/office/drawing/2014/main" id="{E08449C8-24A2-4F20-9BD0-3020F742B241}"/>
              </a:ext>
            </a:extLst>
          </p:cNvPr>
          <p:cNvCxnSpPr/>
          <p:nvPr/>
        </p:nvCxnSpPr>
        <p:spPr>
          <a:xfrm>
            <a:off x="2594610" y="3743643"/>
            <a:ext cx="320040" cy="0"/>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24" name="直接连接符 23">
            <a:extLst>
              <a:ext uri="{FF2B5EF4-FFF2-40B4-BE49-F238E27FC236}">
                <a16:creationId xmlns:a16="http://schemas.microsoft.com/office/drawing/2014/main" id="{E313FA47-C130-4D39-9C5C-33310A7145E6}"/>
              </a:ext>
            </a:extLst>
          </p:cNvPr>
          <p:cNvCxnSpPr/>
          <p:nvPr/>
        </p:nvCxnSpPr>
        <p:spPr>
          <a:xfrm>
            <a:off x="5795010" y="3743643"/>
            <a:ext cx="320040" cy="0"/>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25" name="直接连接符 24">
            <a:extLst>
              <a:ext uri="{FF2B5EF4-FFF2-40B4-BE49-F238E27FC236}">
                <a16:creationId xmlns:a16="http://schemas.microsoft.com/office/drawing/2014/main" id="{D0C6259A-DF02-4C02-B8C8-2C82A6F36DE3}"/>
              </a:ext>
            </a:extLst>
          </p:cNvPr>
          <p:cNvCxnSpPr/>
          <p:nvPr/>
        </p:nvCxnSpPr>
        <p:spPr>
          <a:xfrm>
            <a:off x="9039371" y="3743643"/>
            <a:ext cx="320040" cy="0"/>
          </a:xfrm>
          <a:prstGeom prst="line">
            <a:avLst/>
          </a:prstGeom>
          <a:ln w="28575"/>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76938616"/>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2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reeform 2">
            <a:extLst>
              <a:ext uri="{FF2B5EF4-FFF2-40B4-BE49-F238E27FC236}">
                <a16:creationId xmlns:a16="http://schemas.microsoft.com/office/drawing/2014/main" id="{E34F0E6F-1D18-4AAA-8255-2E2EEE5BAFFB}"/>
              </a:ext>
            </a:extLst>
          </p:cNvPr>
          <p:cNvSpPr/>
          <p:nvPr/>
        </p:nvSpPr>
        <p:spPr>
          <a:xfrm>
            <a:off x="1281641" y="1999368"/>
            <a:ext cx="2199704" cy="2506595"/>
          </a:xfrm>
          <a:custGeom>
            <a:avLst/>
            <a:gdLst>
              <a:gd name="connsiteX0" fmla="*/ 1045852 w 2199704"/>
              <a:gd name="connsiteY0" fmla="*/ 2492121 h 2506595"/>
              <a:gd name="connsiteX1" fmla="*/ 54000 w 2199704"/>
              <a:gd name="connsiteY1" fmla="*/ 1919475 h 2506595"/>
              <a:gd name="connsiteX2" fmla="*/ 0 w 2199704"/>
              <a:gd name="connsiteY2" fmla="*/ 1825944 h 2506595"/>
              <a:gd name="connsiteX3" fmla="*/ 0 w 2199704"/>
              <a:gd name="connsiteY3" fmla="*/ 680652 h 2506595"/>
              <a:gd name="connsiteX4" fmla="*/ 54000 w 2199704"/>
              <a:gd name="connsiteY4" fmla="*/ 587121 h 2506595"/>
              <a:gd name="connsiteX5" fmla="*/ 1045852 w 2199704"/>
              <a:gd name="connsiteY5" fmla="*/ 14475 h 2506595"/>
              <a:gd name="connsiteX6" fmla="*/ 1153852 w 2199704"/>
              <a:gd name="connsiteY6" fmla="*/ 14475 h 2506595"/>
              <a:gd name="connsiteX7" fmla="*/ 2145704 w 2199704"/>
              <a:gd name="connsiteY7" fmla="*/ 587121 h 2506595"/>
              <a:gd name="connsiteX8" fmla="*/ 2199704 w 2199704"/>
              <a:gd name="connsiteY8" fmla="*/ 680652 h 2506595"/>
              <a:gd name="connsiteX9" fmla="*/ 2199704 w 2199704"/>
              <a:gd name="connsiteY9" fmla="*/ 1825944 h 2506595"/>
              <a:gd name="connsiteX10" fmla="*/ 2145704 w 2199704"/>
              <a:gd name="connsiteY10" fmla="*/ 1919475 h 2506595"/>
              <a:gd name="connsiteX11" fmla="*/ 1153852 w 2199704"/>
              <a:gd name="connsiteY11" fmla="*/ 2492121 h 2506595"/>
              <a:gd name="connsiteX12" fmla="*/ 1045852 w 2199704"/>
              <a:gd name="connsiteY12" fmla="*/ 2492121 h 2506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199704" h="2506595">
                <a:moveTo>
                  <a:pt x="1045852" y="2492121"/>
                </a:moveTo>
                <a:lnTo>
                  <a:pt x="54000" y="1919475"/>
                </a:lnTo>
                <a:cubicBezTo>
                  <a:pt x="20574" y="1900176"/>
                  <a:pt x="0" y="1864541"/>
                  <a:pt x="0" y="1825944"/>
                </a:cubicBezTo>
                <a:lnTo>
                  <a:pt x="0" y="680652"/>
                </a:lnTo>
                <a:cubicBezTo>
                  <a:pt x="0" y="642055"/>
                  <a:pt x="20574" y="606420"/>
                  <a:pt x="54000" y="587121"/>
                </a:cubicBezTo>
                <a:lnTo>
                  <a:pt x="1045852" y="14475"/>
                </a:lnTo>
                <a:cubicBezTo>
                  <a:pt x="1079278" y="-4824"/>
                  <a:pt x="1120426" y="-4824"/>
                  <a:pt x="1153852" y="14475"/>
                </a:cubicBezTo>
                <a:lnTo>
                  <a:pt x="2145704" y="587121"/>
                </a:lnTo>
                <a:cubicBezTo>
                  <a:pt x="2179130" y="606420"/>
                  <a:pt x="2199704" y="642055"/>
                  <a:pt x="2199704" y="680652"/>
                </a:cubicBezTo>
                <a:lnTo>
                  <a:pt x="2199704" y="1825944"/>
                </a:lnTo>
                <a:cubicBezTo>
                  <a:pt x="2199704" y="1864541"/>
                  <a:pt x="2179130" y="1900176"/>
                  <a:pt x="2145704" y="1919475"/>
                </a:cubicBezTo>
                <a:lnTo>
                  <a:pt x="1153852" y="2492121"/>
                </a:lnTo>
                <a:cubicBezTo>
                  <a:pt x="1120426" y="2511420"/>
                  <a:pt x="1079278" y="2511420"/>
                  <a:pt x="1045852" y="2492121"/>
                </a:cubicBezTo>
              </a:path>
            </a:pathLst>
          </a:custGeom>
          <a:solidFill>
            <a:schemeClr val="bg1"/>
          </a:solidFill>
          <a:ln>
            <a:noFill/>
          </a:ln>
          <a:effectLst>
            <a:outerShdw blurRad="254000" dist="127000" dir="5400000" algn="t"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endParaRPr lang="zh-CN" altLang="en-US" sz="1600">
              <a:solidFill>
                <a:schemeClr val="bg1"/>
              </a:solidFill>
              <a:latin typeface="+mj-ea"/>
              <a:ea typeface="+mj-ea"/>
            </a:endParaRPr>
          </a:p>
        </p:txBody>
      </p:sp>
      <p:sp>
        <p:nvSpPr>
          <p:cNvPr id="7" name="任意多边形: 形状 6">
            <a:extLst>
              <a:ext uri="{FF2B5EF4-FFF2-40B4-BE49-F238E27FC236}">
                <a16:creationId xmlns:a16="http://schemas.microsoft.com/office/drawing/2014/main" id="{2DACE340-44E2-47DD-9232-955A184AA206}"/>
              </a:ext>
            </a:extLst>
          </p:cNvPr>
          <p:cNvSpPr/>
          <p:nvPr/>
        </p:nvSpPr>
        <p:spPr>
          <a:xfrm>
            <a:off x="1394311" y="2127760"/>
            <a:ext cx="1974364" cy="2249815"/>
          </a:xfrm>
          <a:custGeom>
            <a:avLst/>
            <a:gdLst>
              <a:gd name="connsiteX0" fmla="*/ 987182 w 1974364"/>
              <a:gd name="connsiteY0" fmla="*/ 0 h 2249815"/>
              <a:gd name="connsiteX1" fmla="*/ 1035650 w 1974364"/>
              <a:gd name="connsiteY1" fmla="*/ 12991 h 2249815"/>
              <a:gd name="connsiteX2" fmla="*/ 1925896 w 1974364"/>
              <a:gd name="connsiteY2" fmla="*/ 526975 h 2249815"/>
              <a:gd name="connsiteX3" fmla="*/ 1974364 w 1974364"/>
              <a:gd name="connsiteY3" fmla="*/ 610924 h 2249815"/>
              <a:gd name="connsiteX4" fmla="*/ 1974364 w 1974364"/>
              <a:gd name="connsiteY4" fmla="*/ 1638891 h 2249815"/>
              <a:gd name="connsiteX5" fmla="*/ 1925896 w 1974364"/>
              <a:gd name="connsiteY5" fmla="*/ 1722841 h 2249815"/>
              <a:gd name="connsiteX6" fmla="*/ 1035650 w 1974364"/>
              <a:gd name="connsiteY6" fmla="*/ 2236824 h 2249815"/>
              <a:gd name="connsiteX7" fmla="*/ 938714 w 1974364"/>
              <a:gd name="connsiteY7" fmla="*/ 2236824 h 2249815"/>
              <a:gd name="connsiteX8" fmla="*/ 48468 w 1974364"/>
              <a:gd name="connsiteY8" fmla="*/ 1722841 h 2249815"/>
              <a:gd name="connsiteX9" fmla="*/ 0 w 1974364"/>
              <a:gd name="connsiteY9" fmla="*/ 1638891 h 2249815"/>
              <a:gd name="connsiteX10" fmla="*/ 0 w 1974364"/>
              <a:gd name="connsiteY10" fmla="*/ 1264208 h 2249815"/>
              <a:gd name="connsiteX11" fmla="*/ 146359 w 1974364"/>
              <a:gd name="connsiteY11" fmla="*/ 1124908 h 2249815"/>
              <a:gd name="connsiteX12" fmla="*/ 0 w 1974364"/>
              <a:gd name="connsiteY12" fmla="*/ 985607 h 2249815"/>
              <a:gd name="connsiteX13" fmla="*/ 0 w 1974364"/>
              <a:gd name="connsiteY13" fmla="*/ 610924 h 2249815"/>
              <a:gd name="connsiteX14" fmla="*/ 48468 w 1974364"/>
              <a:gd name="connsiteY14" fmla="*/ 526975 h 2249815"/>
              <a:gd name="connsiteX15" fmla="*/ 938714 w 1974364"/>
              <a:gd name="connsiteY15" fmla="*/ 12991 h 2249815"/>
              <a:gd name="connsiteX16" fmla="*/ 987182 w 1974364"/>
              <a:gd name="connsiteY16" fmla="*/ 0 h 22498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974364" h="2249815">
                <a:moveTo>
                  <a:pt x="987182" y="0"/>
                </a:moveTo>
                <a:cubicBezTo>
                  <a:pt x="1003916" y="0"/>
                  <a:pt x="1020650" y="4330"/>
                  <a:pt x="1035650" y="12991"/>
                </a:cubicBezTo>
                <a:lnTo>
                  <a:pt x="1925896" y="526975"/>
                </a:lnTo>
                <a:cubicBezTo>
                  <a:pt x="1955898" y="544297"/>
                  <a:pt x="1974364" y="576281"/>
                  <a:pt x="1974364" y="610924"/>
                </a:cubicBezTo>
                <a:lnTo>
                  <a:pt x="1974364" y="1638891"/>
                </a:lnTo>
                <a:cubicBezTo>
                  <a:pt x="1974364" y="1673534"/>
                  <a:pt x="1955898" y="1705519"/>
                  <a:pt x="1925896" y="1722841"/>
                </a:cubicBezTo>
                <a:lnTo>
                  <a:pt x="1035650" y="2236824"/>
                </a:lnTo>
                <a:cubicBezTo>
                  <a:pt x="1005649" y="2254146"/>
                  <a:pt x="968716" y="2254146"/>
                  <a:pt x="938714" y="2236824"/>
                </a:cubicBezTo>
                <a:lnTo>
                  <a:pt x="48468" y="1722841"/>
                </a:lnTo>
                <a:cubicBezTo>
                  <a:pt x="18466" y="1705519"/>
                  <a:pt x="0" y="1673534"/>
                  <a:pt x="0" y="1638891"/>
                </a:cubicBezTo>
                <a:lnTo>
                  <a:pt x="0" y="1264208"/>
                </a:lnTo>
                <a:lnTo>
                  <a:pt x="146359" y="1124908"/>
                </a:lnTo>
                <a:lnTo>
                  <a:pt x="0" y="985607"/>
                </a:lnTo>
                <a:lnTo>
                  <a:pt x="0" y="610924"/>
                </a:lnTo>
                <a:cubicBezTo>
                  <a:pt x="0" y="576281"/>
                  <a:pt x="18466" y="544297"/>
                  <a:pt x="48468" y="526975"/>
                </a:cubicBezTo>
                <a:lnTo>
                  <a:pt x="938714" y="12991"/>
                </a:lnTo>
                <a:cubicBezTo>
                  <a:pt x="953715" y="4330"/>
                  <a:pt x="970448" y="0"/>
                  <a:pt x="987182" y="0"/>
                </a:cubicBezTo>
                <a:close/>
              </a:path>
            </a:pathLst>
          </a:custGeom>
          <a:gradFill>
            <a:gsLst>
              <a:gs pos="0">
                <a:schemeClr val="accent1"/>
              </a:gs>
              <a:gs pos="100000">
                <a:schemeClr val="accent1">
                  <a:lumMod val="75000"/>
                </a:schemeClr>
              </a:gs>
            </a:gsLst>
            <a:lin ang="2700000" scaled="0"/>
          </a:gradFill>
          <a:ln w="25400" cap="flat" cmpd="sng" algn="ctr">
            <a:noFill/>
            <a:prstDash val="solid"/>
            <a:miter lim="800000"/>
          </a:ln>
          <a:effectLst>
            <a:outerShdw blurRad="254000" dist="88900" dir="2700000" algn="tl" rotWithShape="0">
              <a:schemeClr val="accent1">
                <a:lumMod val="50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 name="iconfont-1179-866479">
            <a:extLst>
              <a:ext uri="{FF2B5EF4-FFF2-40B4-BE49-F238E27FC236}">
                <a16:creationId xmlns:a16="http://schemas.microsoft.com/office/drawing/2014/main" id="{C24BA8F1-1729-4711-BB92-597AA53E963D}"/>
              </a:ext>
            </a:extLst>
          </p:cNvPr>
          <p:cNvSpPr/>
          <p:nvPr/>
        </p:nvSpPr>
        <p:spPr>
          <a:xfrm>
            <a:off x="2132181" y="2478988"/>
            <a:ext cx="498624" cy="590556"/>
          </a:xfrm>
          <a:custGeom>
            <a:avLst/>
            <a:gdLst>
              <a:gd name="T0" fmla="*/ 6573 w 9390"/>
              <a:gd name="T1" fmla="*/ 3437 h 11120"/>
              <a:gd name="T2" fmla="*/ 7967 w 9390"/>
              <a:gd name="T3" fmla="*/ 1730 h 11120"/>
              <a:gd name="T4" fmla="*/ 5311 w 9390"/>
              <a:gd name="T5" fmla="*/ 1140 h 11120"/>
              <a:gd name="T6" fmla="*/ 3129 w 9390"/>
              <a:gd name="T7" fmla="*/ 876 h 11120"/>
              <a:gd name="T8" fmla="*/ 2455 w 9390"/>
              <a:gd name="T9" fmla="*/ 3147 h 11120"/>
              <a:gd name="T10" fmla="*/ 7438 w 9390"/>
              <a:gd name="T11" fmla="*/ 4336 h 11120"/>
              <a:gd name="T12" fmla="*/ 2969 w 9390"/>
              <a:gd name="T13" fmla="*/ 4006 h 11120"/>
              <a:gd name="T14" fmla="*/ 0 w 9390"/>
              <a:gd name="T15" fmla="*/ 8570 h 11120"/>
              <a:gd name="T16" fmla="*/ 6860 w 9390"/>
              <a:gd name="T17" fmla="*/ 11120 h 11120"/>
              <a:gd name="T18" fmla="*/ 7438 w 9390"/>
              <a:gd name="T19" fmla="*/ 4336 h 11120"/>
              <a:gd name="T20" fmla="*/ 5549 w 9390"/>
              <a:gd name="T21" fmla="*/ 7248 h 11120"/>
              <a:gd name="T22" fmla="*/ 5919 w 9390"/>
              <a:gd name="T23" fmla="*/ 7515 h 11120"/>
              <a:gd name="T24" fmla="*/ 6098 w 9390"/>
              <a:gd name="T25" fmla="*/ 7695 h 11120"/>
              <a:gd name="T26" fmla="*/ 5384 w 9390"/>
              <a:gd name="T27" fmla="*/ 7874 h 11120"/>
              <a:gd name="T28" fmla="*/ 5195 w 9390"/>
              <a:gd name="T29" fmla="*/ 8151 h 11120"/>
              <a:gd name="T30" fmla="*/ 5919 w 9390"/>
              <a:gd name="T31" fmla="*/ 8331 h 11120"/>
              <a:gd name="T32" fmla="*/ 5919 w 9390"/>
              <a:gd name="T33" fmla="*/ 8690 h 11120"/>
              <a:gd name="T34" fmla="*/ 5195 w 9390"/>
              <a:gd name="T35" fmla="*/ 8870 h 11120"/>
              <a:gd name="T36" fmla="*/ 5015 w 9390"/>
              <a:gd name="T37" fmla="*/ 9507 h 11120"/>
              <a:gd name="T38" fmla="*/ 4510 w 9390"/>
              <a:gd name="T39" fmla="*/ 9327 h 11120"/>
              <a:gd name="T40" fmla="*/ 4330 w 9390"/>
              <a:gd name="T41" fmla="*/ 8690 h 11120"/>
              <a:gd name="T42" fmla="*/ 3612 w 9390"/>
              <a:gd name="T43" fmla="*/ 8510 h 11120"/>
              <a:gd name="T44" fmla="*/ 4329 w 9390"/>
              <a:gd name="T45" fmla="*/ 8331 h 11120"/>
              <a:gd name="T46" fmla="*/ 4511 w 9390"/>
              <a:gd name="T47" fmla="*/ 8063 h 11120"/>
              <a:gd name="T48" fmla="*/ 3792 w 9390"/>
              <a:gd name="T49" fmla="*/ 7873 h 11120"/>
              <a:gd name="T50" fmla="*/ 3612 w 9390"/>
              <a:gd name="T51" fmla="*/ 7694 h 11120"/>
              <a:gd name="T52" fmla="*/ 3999 w 9390"/>
              <a:gd name="T53" fmla="*/ 7514 h 11120"/>
              <a:gd name="T54" fmla="*/ 3406 w 9390"/>
              <a:gd name="T55" fmla="*/ 5887 h 11120"/>
              <a:gd name="T56" fmla="*/ 3920 w 9390"/>
              <a:gd name="T57" fmla="*/ 5620 h 11120"/>
              <a:gd name="T58" fmla="*/ 4691 w 9390"/>
              <a:gd name="T59" fmla="*/ 6937 h 11120"/>
              <a:gd name="T60" fmla="*/ 5623 w 9390"/>
              <a:gd name="T61" fmla="*/ 5719 h 11120"/>
              <a:gd name="T62" fmla="*/ 6140 w 9390"/>
              <a:gd name="T63" fmla="*/ 5620 h 1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390" h="11120">
                <a:moveTo>
                  <a:pt x="3078" y="3437"/>
                </a:moveTo>
                <a:lnTo>
                  <a:pt x="6573" y="3437"/>
                </a:lnTo>
                <a:cubicBezTo>
                  <a:pt x="6809" y="3437"/>
                  <a:pt x="7036" y="3338"/>
                  <a:pt x="7187" y="3157"/>
                </a:cubicBezTo>
                <a:cubicBezTo>
                  <a:pt x="7548" y="2728"/>
                  <a:pt x="7890" y="2202"/>
                  <a:pt x="7967" y="1730"/>
                </a:cubicBezTo>
                <a:cubicBezTo>
                  <a:pt x="8121" y="786"/>
                  <a:pt x="7717" y="307"/>
                  <a:pt x="6544" y="307"/>
                </a:cubicBezTo>
                <a:cubicBezTo>
                  <a:pt x="5370" y="307"/>
                  <a:pt x="5767" y="1077"/>
                  <a:pt x="5311" y="1140"/>
                </a:cubicBezTo>
                <a:cubicBezTo>
                  <a:pt x="4971" y="1187"/>
                  <a:pt x="4983" y="739"/>
                  <a:pt x="4449" y="308"/>
                </a:cubicBezTo>
                <a:cubicBezTo>
                  <a:pt x="4066" y="0"/>
                  <a:pt x="3636" y="871"/>
                  <a:pt x="3129" y="876"/>
                </a:cubicBezTo>
                <a:cubicBezTo>
                  <a:pt x="2538" y="884"/>
                  <a:pt x="1707" y="720"/>
                  <a:pt x="1707" y="1730"/>
                </a:cubicBezTo>
                <a:cubicBezTo>
                  <a:pt x="1707" y="2138"/>
                  <a:pt x="2065" y="2690"/>
                  <a:pt x="2455" y="3147"/>
                </a:cubicBezTo>
                <a:cubicBezTo>
                  <a:pt x="2612" y="3330"/>
                  <a:pt x="2838" y="3437"/>
                  <a:pt x="3078" y="3437"/>
                </a:cubicBezTo>
                <a:close/>
                <a:moveTo>
                  <a:pt x="7438" y="4336"/>
                </a:moveTo>
                <a:cubicBezTo>
                  <a:pt x="7252" y="4125"/>
                  <a:pt x="6981" y="4006"/>
                  <a:pt x="6699" y="4006"/>
                </a:cubicBezTo>
                <a:lnTo>
                  <a:pt x="2969" y="4006"/>
                </a:lnTo>
                <a:cubicBezTo>
                  <a:pt x="2700" y="4006"/>
                  <a:pt x="2440" y="4115"/>
                  <a:pt x="2253" y="4310"/>
                </a:cubicBezTo>
                <a:cubicBezTo>
                  <a:pt x="1081" y="5538"/>
                  <a:pt x="0" y="7291"/>
                  <a:pt x="0" y="8570"/>
                </a:cubicBezTo>
                <a:cubicBezTo>
                  <a:pt x="0" y="9697"/>
                  <a:pt x="1133" y="11120"/>
                  <a:pt x="2530" y="11120"/>
                </a:cubicBezTo>
                <a:lnTo>
                  <a:pt x="6860" y="11120"/>
                </a:lnTo>
                <a:cubicBezTo>
                  <a:pt x="8257" y="11120"/>
                  <a:pt x="9390" y="9709"/>
                  <a:pt x="9390" y="8570"/>
                </a:cubicBezTo>
                <a:cubicBezTo>
                  <a:pt x="9390" y="7268"/>
                  <a:pt x="8520" y="5564"/>
                  <a:pt x="7438" y="4336"/>
                </a:cubicBezTo>
                <a:close/>
                <a:moveTo>
                  <a:pt x="6299" y="5888"/>
                </a:moveTo>
                <a:lnTo>
                  <a:pt x="5549" y="7248"/>
                </a:lnTo>
                <a:cubicBezTo>
                  <a:pt x="5483" y="7368"/>
                  <a:pt x="5570" y="7515"/>
                  <a:pt x="5706" y="7515"/>
                </a:cubicBezTo>
                <a:lnTo>
                  <a:pt x="5919" y="7515"/>
                </a:lnTo>
                <a:cubicBezTo>
                  <a:pt x="6017" y="7515"/>
                  <a:pt x="6098" y="7595"/>
                  <a:pt x="6098" y="7695"/>
                </a:cubicBezTo>
                <a:lnTo>
                  <a:pt x="6098" y="7695"/>
                </a:lnTo>
                <a:cubicBezTo>
                  <a:pt x="6098" y="7793"/>
                  <a:pt x="6018" y="7874"/>
                  <a:pt x="5919" y="7874"/>
                </a:cubicBezTo>
                <a:lnTo>
                  <a:pt x="5384" y="7874"/>
                </a:lnTo>
                <a:cubicBezTo>
                  <a:pt x="5279" y="7874"/>
                  <a:pt x="5196" y="7958"/>
                  <a:pt x="5195" y="8062"/>
                </a:cubicBezTo>
                <a:lnTo>
                  <a:pt x="5195" y="8151"/>
                </a:lnTo>
                <a:cubicBezTo>
                  <a:pt x="5195" y="8249"/>
                  <a:pt x="5275" y="8331"/>
                  <a:pt x="5375" y="8331"/>
                </a:cubicBezTo>
                <a:lnTo>
                  <a:pt x="5919" y="8331"/>
                </a:lnTo>
                <a:cubicBezTo>
                  <a:pt x="6017" y="8331"/>
                  <a:pt x="6098" y="8411"/>
                  <a:pt x="6098" y="8510"/>
                </a:cubicBezTo>
                <a:cubicBezTo>
                  <a:pt x="6098" y="8610"/>
                  <a:pt x="6018" y="8690"/>
                  <a:pt x="5919" y="8690"/>
                </a:cubicBezTo>
                <a:lnTo>
                  <a:pt x="5375" y="8690"/>
                </a:lnTo>
                <a:cubicBezTo>
                  <a:pt x="5276" y="8690"/>
                  <a:pt x="5195" y="8770"/>
                  <a:pt x="5195" y="8870"/>
                </a:cubicBezTo>
                <a:lnTo>
                  <a:pt x="5195" y="9327"/>
                </a:lnTo>
                <a:cubicBezTo>
                  <a:pt x="5195" y="9426"/>
                  <a:pt x="5115" y="9507"/>
                  <a:pt x="5015" y="9507"/>
                </a:cubicBezTo>
                <a:lnTo>
                  <a:pt x="4690" y="9507"/>
                </a:lnTo>
                <a:cubicBezTo>
                  <a:pt x="4591" y="9507"/>
                  <a:pt x="4510" y="9427"/>
                  <a:pt x="4510" y="9327"/>
                </a:cubicBezTo>
                <a:lnTo>
                  <a:pt x="4510" y="8870"/>
                </a:lnTo>
                <a:cubicBezTo>
                  <a:pt x="4510" y="8771"/>
                  <a:pt x="4430" y="8690"/>
                  <a:pt x="4330" y="8690"/>
                </a:cubicBezTo>
                <a:lnTo>
                  <a:pt x="3792" y="8690"/>
                </a:lnTo>
                <a:cubicBezTo>
                  <a:pt x="3693" y="8690"/>
                  <a:pt x="3612" y="8610"/>
                  <a:pt x="3612" y="8510"/>
                </a:cubicBezTo>
                <a:cubicBezTo>
                  <a:pt x="3612" y="8411"/>
                  <a:pt x="3692" y="8331"/>
                  <a:pt x="3792" y="8331"/>
                </a:cubicBezTo>
                <a:lnTo>
                  <a:pt x="4329" y="8331"/>
                </a:lnTo>
                <a:cubicBezTo>
                  <a:pt x="4429" y="8331"/>
                  <a:pt x="4509" y="8251"/>
                  <a:pt x="4510" y="8151"/>
                </a:cubicBezTo>
                <a:lnTo>
                  <a:pt x="4511" y="8063"/>
                </a:lnTo>
                <a:cubicBezTo>
                  <a:pt x="4512" y="7959"/>
                  <a:pt x="4427" y="7873"/>
                  <a:pt x="4322" y="7873"/>
                </a:cubicBezTo>
                <a:lnTo>
                  <a:pt x="3792" y="7873"/>
                </a:lnTo>
                <a:cubicBezTo>
                  <a:pt x="3693" y="7873"/>
                  <a:pt x="3612" y="7793"/>
                  <a:pt x="3612" y="7694"/>
                </a:cubicBezTo>
                <a:lnTo>
                  <a:pt x="3612" y="7694"/>
                </a:lnTo>
                <a:cubicBezTo>
                  <a:pt x="3612" y="7595"/>
                  <a:pt x="3692" y="7514"/>
                  <a:pt x="3792" y="7514"/>
                </a:cubicBezTo>
                <a:lnTo>
                  <a:pt x="3999" y="7514"/>
                </a:lnTo>
                <a:cubicBezTo>
                  <a:pt x="4136" y="7514"/>
                  <a:pt x="4221" y="7367"/>
                  <a:pt x="4156" y="7247"/>
                </a:cubicBezTo>
                <a:lnTo>
                  <a:pt x="3406" y="5887"/>
                </a:lnTo>
                <a:cubicBezTo>
                  <a:pt x="3340" y="5767"/>
                  <a:pt x="3426" y="5620"/>
                  <a:pt x="3562" y="5620"/>
                </a:cubicBezTo>
                <a:lnTo>
                  <a:pt x="3920" y="5620"/>
                </a:lnTo>
                <a:cubicBezTo>
                  <a:pt x="3988" y="5620"/>
                  <a:pt x="4050" y="5659"/>
                  <a:pt x="4080" y="5719"/>
                </a:cubicBezTo>
                <a:lnTo>
                  <a:pt x="4691" y="6937"/>
                </a:lnTo>
                <a:cubicBezTo>
                  <a:pt x="4756" y="7069"/>
                  <a:pt x="4945" y="7069"/>
                  <a:pt x="5012" y="6937"/>
                </a:cubicBezTo>
                <a:lnTo>
                  <a:pt x="5623" y="5719"/>
                </a:lnTo>
                <a:cubicBezTo>
                  <a:pt x="5653" y="5659"/>
                  <a:pt x="5715" y="5620"/>
                  <a:pt x="5783" y="5620"/>
                </a:cubicBezTo>
                <a:lnTo>
                  <a:pt x="6140" y="5620"/>
                </a:lnTo>
                <a:cubicBezTo>
                  <a:pt x="6278" y="5622"/>
                  <a:pt x="6365" y="5768"/>
                  <a:pt x="6299" y="588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文本框 8">
            <a:extLst>
              <a:ext uri="{FF2B5EF4-FFF2-40B4-BE49-F238E27FC236}">
                <a16:creationId xmlns:a16="http://schemas.microsoft.com/office/drawing/2014/main" id="{8581C944-8A93-4328-BE72-3B12E89137A1}"/>
              </a:ext>
            </a:extLst>
          </p:cNvPr>
          <p:cNvSpPr txBox="1"/>
          <p:nvPr/>
        </p:nvSpPr>
        <p:spPr>
          <a:xfrm>
            <a:off x="1804412" y="3191662"/>
            <a:ext cx="1154162" cy="276999"/>
          </a:xfrm>
          <a:prstGeom prst="rect">
            <a:avLst/>
          </a:prstGeom>
          <a:noFill/>
          <a:effectLst/>
        </p:spPr>
        <p:txBody>
          <a:bodyPr wrap="none" lIns="0" tIns="0" rIns="0" bIns="0" rtlCol="0" anchor="t">
            <a:spAutoFit/>
          </a:bodyPr>
          <a:lstStyle/>
          <a:p>
            <a:pPr algn="ctr"/>
            <a:r>
              <a:rPr lang="zh-CN" altLang="en-US" dirty="0">
                <a:solidFill>
                  <a:schemeClr val="bg1"/>
                </a:solidFill>
                <a:latin typeface="+mj-ea"/>
                <a:ea typeface="+mj-ea"/>
              </a:rPr>
              <a:t>关键词标题</a:t>
            </a:r>
          </a:p>
        </p:txBody>
      </p:sp>
      <p:sp>
        <p:nvSpPr>
          <p:cNvPr id="10" name="文本框 9">
            <a:extLst>
              <a:ext uri="{FF2B5EF4-FFF2-40B4-BE49-F238E27FC236}">
                <a16:creationId xmlns:a16="http://schemas.microsoft.com/office/drawing/2014/main" id="{61974027-BA36-4F78-A261-278CDEEAEF41}"/>
              </a:ext>
            </a:extLst>
          </p:cNvPr>
          <p:cNvSpPr txBox="1"/>
          <p:nvPr/>
        </p:nvSpPr>
        <p:spPr>
          <a:xfrm>
            <a:off x="1573355" y="3488882"/>
            <a:ext cx="1616276" cy="406714"/>
          </a:xfrm>
          <a:prstGeom prst="rect">
            <a:avLst/>
          </a:prstGeom>
          <a:noFill/>
          <a:effectLst/>
        </p:spPr>
        <p:txBody>
          <a:bodyPr wrap="square" lIns="0" tIns="0" rIns="0" bIns="0" rtlCol="0" anchor="t">
            <a:spAutoFit/>
          </a:bodyPr>
          <a:lstStyle/>
          <a:p>
            <a:pPr algn="ctr">
              <a:lnSpc>
                <a:spcPct val="130000"/>
              </a:lnSpc>
            </a:pPr>
            <a:r>
              <a:rPr lang="en-US" altLang="zh-CN" sz="1050" b="0" dirty="0">
                <a:solidFill>
                  <a:schemeClr val="bg1"/>
                </a:solidFill>
                <a:effectLst/>
                <a:latin typeface="+mn-ea"/>
              </a:rPr>
              <a:t>Lorem ipsum dolor sit ametconsectetur</a:t>
            </a:r>
            <a:endParaRPr lang="zh-CN" altLang="en-US" sz="1050" b="0" dirty="0">
              <a:solidFill>
                <a:schemeClr val="bg1"/>
              </a:solidFill>
              <a:effectLst/>
              <a:latin typeface="+mn-ea"/>
            </a:endParaRPr>
          </a:p>
        </p:txBody>
      </p:sp>
      <p:sp>
        <p:nvSpPr>
          <p:cNvPr id="13" name="Freeform 2">
            <a:extLst>
              <a:ext uri="{FF2B5EF4-FFF2-40B4-BE49-F238E27FC236}">
                <a16:creationId xmlns:a16="http://schemas.microsoft.com/office/drawing/2014/main" id="{FD9DE4F7-E423-48DB-BCA9-53ECB1B3726B}"/>
              </a:ext>
            </a:extLst>
          </p:cNvPr>
          <p:cNvSpPr/>
          <p:nvPr/>
        </p:nvSpPr>
        <p:spPr>
          <a:xfrm>
            <a:off x="3758141" y="1999368"/>
            <a:ext cx="2199704" cy="2506595"/>
          </a:xfrm>
          <a:custGeom>
            <a:avLst/>
            <a:gdLst>
              <a:gd name="connsiteX0" fmla="*/ 1045852 w 2199704"/>
              <a:gd name="connsiteY0" fmla="*/ 2492121 h 2506595"/>
              <a:gd name="connsiteX1" fmla="*/ 54000 w 2199704"/>
              <a:gd name="connsiteY1" fmla="*/ 1919475 h 2506595"/>
              <a:gd name="connsiteX2" fmla="*/ 0 w 2199704"/>
              <a:gd name="connsiteY2" fmla="*/ 1825944 h 2506595"/>
              <a:gd name="connsiteX3" fmla="*/ 0 w 2199704"/>
              <a:gd name="connsiteY3" fmla="*/ 680652 h 2506595"/>
              <a:gd name="connsiteX4" fmla="*/ 54000 w 2199704"/>
              <a:gd name="connsiteY4" fmla="*/ 587121 h 2506595"/>
              <a:gd name="connsiteX5" fmla="*/ 1045852 w 2199704"/>
              <a:gd name="connsiteY5" fmla="*/ 14475 h 2506595"/>
              <a:gd name="connsiteX6" fmla="*/ 1153852 w 2199704"/>
              <a:gd name="connsiteY6" fmla="*/ 14475 h 2506595"/>
              <a:gd name="connsiteX7" fmla="*/ 2145704 w 2199704"/>
              <a:gd name="connsiteY7" fmla="*/ 587121 h 2506595"/>
              <a:gd name="connsiteX8" fmla="*/ 2199704 w 2199704"/>
              <a:gd name="connsiteY8" fmla="*/ 680652 h 2506595"/>
              <a:gd name="connsiteX9" fmla="*/ 2199704 w 2199704"/>
              <a:gd name="connsiteY9" fmla="*/ 1825944 h 2506595"/>
              <a:gd name="connsiteX10" fmla="*/ 2145704 w 2199704"/>
              <a:gd name="connsiteY10" fmla="*/ 1919475 h 2506595"/>
              <a:gd name="connsiteX11" fmla="*/ 1153852 w 2199704"/>
              <a:gd name="connsiteY11" fmla="*/ 2492121 h 2506595"/>
              <a:gd name="connsiteX12" fmla="*/ 1045852 w 2199704"/>
              <a:gd name="connsiteY12" fmla="*/ 2492121 h 2506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199704" h="2506595">
                <a:moveTo>
                  <a:pt x="1045852" y="2492121"/>
                </a:moveTo>
                <a:lnTo>
                  <a:pt x="54000" y="1919475"/>
                </a:lnTo>
                <a:cubicBezTo>
                  <a:pt x="20574" y="1900176"/>
                  <a:pt x="0" y="1864541"/>
                  <a:pt x="0" y="1825944"/>
                </a:cubicBezTo>
                <a:lnTo>
                  <a:pt x="0" y="680652"/>
                </a:lnTo>
                <a:cubicBezTo>
                  <a:pt x="0" y="642055"/>
                  <a:pt x="20574" y="606420"/>
                  <a:pt x="54000" y="587121"/>
                </a:cubicBezTo>
                <a:lnTo>
                  <a:pt x="1045852" y="14475"/>
                </a:lnTo>
                <a:cubicBezTo>
                  <a:pt x="1079278" y="-4824"/>
                  <a:pt x="1120426" y="-4824"/>
                  <a:pt x="1153852" y="14475"/>
                </a:cubicBezTo>
                <a:lnTo>
                  <a:pt x="2145704" y="587121"/>
                </a:lnTo>
                <a:cubicBezTo>
                  <a:pt x="2179130" y="606420"/>
                  <a:pt x="2199704" y="642055"/>
                  <a:pt x="2199704" y="680652"/>
                </a:cubicBezTo>
                <a:lnTo>
                  <a:pt x="2199704" y="1825944"/>
                </a:lnTo>
                <a:cubicBezTo>
                  <a:pt x="2199704" y="1864541"/>
                  <a:pt x="2179130" y="1900176"/>
                  <a:pt x="2145704" y="1919475"/>
                </a:cubicBezTo>
                <a:lnTo>
                  <a:pt x="1153852" y="2492121"/>
                </a:lnTo>
                <a:cubicBezTo>
                  <a:pt x="1120426" y="2511420"/>
                  <a:pt x="1079278" y="2511420"/>
                  <a:pt x="1045852" y="2492121"/>
                </a:cubicBezTo>
              </a:path>
            </a:pathLst>
          </a:custGeom>
          <a:solidFill>
            <a:schemeClr val="bg1"/>
          </a:solidFill>
          <a:ln>
            <a:noFill/>
          </a:ln>
          <a:effectLst>
            <a:outerShdw blurRad="254000" dist="127000" dir="5400000" algn="t"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endParaRPr lang="zh-CN" altLang="en-US" sz="1600">
              <a:solidFill>
                <a:schemeClr val="bg1"/>
              </a:solidFill>
              <a:latin typeface="+mj-ea"/>
              <a:ea typeface="+mj-ea"/>
            </a:endParaRPr>
          </a:p>
        </p:txBody>
      </p:sp>
      <p:sp>
        <p:nvSpPr>
          <p:cNvPr id="14" name="任意多边形: 形状 13">
            <a:extLst>
              <a:ext uri="{FF2B5EF4-FFF2-40B4-BE49-F238E27FC236}">
                <a16:creationId xmlns:a16="http://schemas.microsoft.com/office/drawing/2014/main" id="{E3A32AFD-BBD5-40D9-A193-BFA37C23962E}"/>
              </a:ext>
            </a:extLst>
          </p:cNvPr>
          <p:cNvSpPr/>
          <p:nvPr/>
        </p:nvSpPr>
        <p:spPr>
          <a:xfrm>
            <a:off x="3870811" y="2127760"/>
            <a:ext cx="1974364" cy="2249815"/>
          </a:xfrm>
          <a:custGeom>
            <a:avLst/>
            <a:gdLst>
              <a:gd name="connsiteX0" fmla="*/ 987182 w 1974364"/>
              <a:gd name="connsiteY0" fmla="*/ 0 h 2249815"/>
              <a:gd name="connsiteX1" fmla="*/ 1035650 w 1974364"/>
              <a:gd name="connsiteY1" fmla="*/ 12991 h 2249815"/>
              <a:gd name="connsiteX2" fmla="*/ 1925896 w 1974364"/>
              <a:gd name="connsiteY2" fmla="*/ 526975 h 2249815"/>
              <a:gd name="connsiteX3" fmla="*/ 1974364 w 1974364"/>
              <a:gd name="connsiteY3" fmla="*/ 610924 h 2249815"/>
              <a:gd name="connsiteX4" fmla="*/ 1974364 w 1974364"/>
              <a:gd name="connsiteY4" fmla="*/ 1638891 h 2249815"/>
              <a:gd name="connsiteX5" fmla="*/ 1925896 w 1974364"/>
              <a:gd name="connsiteY5" fmla="*/ 1722841 h 2249815"/>
              <a:gd name="connsiteX6" fmla="*/ 1035650 w 1974364"/>
              <a:gd name="connsiteY6" fmla="*/ 2236824 h 2249815"/>
              <a:gd name="connsiteX7" fmla="*/ 938714 w 1974364"/>
              <a:gd name="connsiteY7" fmla="*/ 2236824 h 2249815"/>
              <a:gd name="connsiteX8" fmla="*/ 48468 w 1974364"/>
              <a:gd name="connsiteY8" fmla="*/ 1722841 h 2249815"/>
              <a:gd name="connsiteX9" fmla="*/ 0 w 1974364"/>
              <a:gd name="connsiteY9" fmla="*/ 1638891 h 2249815"/>
              <a:gd name="connsiteX10" fmla="*/ 0 w 1974364"/>
              <a:gd name="connsiteY10" fmla="*/ 1264208 h 2249815"/>
              <a:gd name="connsiteX11" fmla="*/ 146359 w 1974364"/>
              <a:gd name="connsiteY11" fmla="*/ 1124908 h 2249815"/>
              <a:gd name="connsiteX12" fmla="*/ 0 w 1974364"/>
              <a:gd name="connsiteY12" fmla="*/ 985607 h 2249815"/>
              <a:gd name="connsiteX13" fmla="*/ 0 w 1974364"/>
              <a:gd name="connsiteY13" fmla="*/ 610924 h 2249815"/>
              <a:gd name="connsiteX14" fmla="*/ 48468 w 1974364"/>
              <a:gd name="connsiteY14" fmla="*/ 526975 h 2249815"/>
              <a:gd name="connsiteX15" fmla="*/ 938714 w 1974364"/>
              <a:gd name="connsiteY15" fmla="*/ 12991 h 2249815"/>
              <a:gd name="connsiteX16" fmla="*/ 987182 w 1974364"/>
              <a:gd name="connsiteY16" fmla="*/ 0 h 22498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974364" h="2249815">
                <a:moveTo>
                  <a:pt x="987182" y="0"/>
                </a:moveTo>
                <a:cubicBezTo>
                  <a:pt x="1003916" y="0"/>
                  <a:pt x="1020650" y="4330"/>
                  <a:pt x="1035650" y="12991"/>
                </a:cubicBezTo>
                <a:lnTo>
                  <a:pt x="1925896" y="526975"/>
                </a:lnTo>
                <a:cubicBezTo>
                  <a:pt x="1955898" y="544297"/>
                  <a:pt x="1974364" y="576281"/>
                  <a:pt x="1974364" y="610924"/>
                </a:cubicBezTo>
                <a:lnTo>
                  <a:pt x="1974364" y="1638891"/>
                </a:lnTo>
                <a:cubicBezTo>
                  <a:pt x="1974364" y="1673534"/>
                  <a:pt x="1955898" y="1705519"/>
                  <a:pt x="1925896" y="1722841"/>
                </a:cubicBezTo>
                <a:lnTo>
                  <a:pt x="1035650" y="2236824"/>
                </a:lnTo>
                <a:cubicBezTo>
                  <a:pt x="1005649" y="2254146"/>
                  <a:pt x="968716" y="2254146"/>
                  <a:pt x="938714" y="2236824"/>
                </a:cubicBezTo>
                <a:lnTo>
                  <a:pt x="48468" y="1722841"/>
                </a:lnTo>
                <a:cubicBezTo>
                  <a:pt x="18466" y="1705519"/>
                  <a:pt x="0" y="1673534"/>
                  <a:pt x="0" y="1638891"/>
                </a:cubicBezTo>
                <a:lnTo>
                  <a:pt x="0" y="1264208"/>
                </a:lnTo>
                <a:lnTo>
                  <a:pt x="146359" y="1124908"/>
                </a:lnTo>
                <a:lnTo>
                  <a:pt x="0" y="985607"/>
                </a:lnTo>
                <a:lnTo>
                  <a:pt x="0" y="610924"/>
                </a:lnTo>
                <a:cubicBezTo>
                  <a:pt x="0" y="576281"/>
                  <a:pt x="18466" y="544297"/>
                  <a:pt x="48468" y="526975"/>
                </a:cubicBezTo>
                <a:lnTo>
                  <a:pt x="938714" y="12991"/>
                </a:lnTo>
                <a:cubicBezTo>
                  <a:pt x="953715" y="4330"/>
                  <a:pt x="970448" y="0"/>
                  <a:pt x="987182" y="0"/>
                </a:cubicBezTo>
                <a:close/>
              </a:path>
            </a:pathLst>
          </a:custGeom>
          <a:gradFill>
            <a:gsLst>
              <a:gs pos="0">
                <a:schemeClr val="accent1"/>
              </a:gs>
              <a:gs pos="100000">
                <a:schemeClr val="accent1">
                  <a:lumMod val="75000"/>
                </a:schemeClr>
              </a:gs>
            </a:gsLst>
            <a:lin ang="2700000" scaled="0"/>
          </a:gradFill>
          <a:ln w="25400" cap="flat" cmpd="sng" algn="ctr">
            <a:noFill/>
            <a:prstDash val="solid"/>
            <a:miter lim="800000"/>
          </a:ln>
          <a:effectLst>
            <a:outerShdw blurRad="254000" dist="88900" dir="2700000" algn="tl" rotWithShape="0">
              <a:schemeClr val="accent1">
                <a:lumMod val="50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6" name="文本框 15">
            <a:extLst>
              <a:ext uri="{FF2B5EF4-FFF2-40B4-BE49-F238E27FC236}">
                <a16:creationId xmlns:a16="http://schemas.microsoft.com/office/drawing/2014/main" id="{012E08C8-694E-41CE-813A-85E8B1404C52}"/>
              </a:ext>
            </a:extLst>
          </p:cNvPr>
          <p:cNvSpPr txBox="1"/>
          <p:nvPr/>
        </p:nvSpPr>
        <p:spPr>
          <a:xfrm>
            <a:off x="4280912" y="3191662"/>
            <a:ext cx="1154162" cy="276999"/>
          </a:xfrm>
          <a:prstGeom prst="rect">
            <a:avLst/>
          </a:prstGeom>
          <a:noFill/>
          <a:effectLst/>
        </p:spPr>
        <p:txBody>
          <a:bodyPr wrap="none" lIns="0" tIns="0" rIns="0" bIns="0" rtlCol="0" anchor="t">
            <a:spAutoFit/>
          </a:bodyPr>
          <a:lstStyle/>
          <a:p>
            <a:pPr algn="ctr"/>
            <a:r>
              <a:rPr lang="zh-CN" altLang="en-US" dirty="0">
                <a:solidFill>
                  <a:schemeClr val="bg1"/>
                </a:solidFill>
                <a:latin typeface="+mj-ea"/>
                <a:ea typeface="+mj-ea"/>
              </a:rPr>
              <a:t>关键词标题</a:t>
            </a:r>
          </a:p>
        </p:txBody>
      </p:sp>
      <p:sp>
        <p:nvSpPr>
          <p:cNvPr id="17" name="文本框 16">
            <a:extLst>
              <a:ext uri="{FF2B5EF4-FFF2-40B4-BE49-F238E27FC236}">
                <a16:creationId xmlns:a16="http://schemas.microsoft.com/office/drawing/2014/main" id="{B5E6E131-CE62-452C-8E7C-E968CCF425BA}"/>
              </a:ext>
            </a:extLst>
          </p:cNvPr>
          <p:cNvSpPr txBox="1"/>
          <p:nvPr/>
        </p:nvSpPr>
        <p:spPr>
          <a:xfrm>
            <a:off x="4049855" y="3488882"/>
            <a:ext cx="1616276" cy="406714"/>
          </a:xfrm>
          <a:prstGeom prst="rect">
            <a:avLst/>
          </a:prstGeom>
          <a:noFill/>
          <a:effectLst/>
        </p:spPr>
        <p:txBody>
          <a:bodyPr wrap="square" lIns="0" tIns="0" rIns="0" bIns="0" rtlCol="0" anchor="t">
            <a:spAutoFit/>
          </a:bodyPr>
          <a:lstStyle/>
          <a:p>
            <a:pPr algn="ctr">
              <a:lnSpc>
                <a:spcPct val="130000"/>
              </a:lnSpc>
            </a:pPr>
            <a:r>
              <a:rPr lang="en-US" altLang="zh-CN" sz="1050" b="0" dirty="0">
                <a:solidFill>
                  <a:schemeClr val="bg1"/>
                </a:solidFill>
                <a:effectLst/>
                <a:latin typeface="+mn-ea"/>
              </a:rPr>
              <a:t>Lorem ipsum dolor sit ametconsectetur</a:t>
            </a:r>
            <a:endParaRPr lang="zh-CN" altLang="en-US" sz="1050" b="0" dirty="0">
              <a:solidFill>
                <a:schemeClr val="bg1"/>
              </a:solidFill>
              <a:effectLst/>
              <a:latin typeface="+mn-ea"/>
            </a:endParaRPr>
          </a:p>
        </p:txBody>
      </p:sp>
      <p:sp>
        <p:nvSpPr>
          <p:cNvPr id="19" name="Freeform 2">
            <a:extLst>
              <a:ext uri="{FF2B5EF4-FFF2-40B4-BE49-F238E27FC236}">
                <a16:creationId xmlns:a16="http://schemas.microsoft.com/office/drawing/2014/main" id="{75C8932B-1A7C-4123-A47B-7210B1FF2C4E}"/>
              </a:ext>
            </a:extLst>
          </p:cNvPr>
          <p:cNvSpPr/>
          <p:nvPr/>
        </p:nvSpPr>
        <p:spPr>
          <a:xfrm>
            <a:off x="6234641" y="1999368"/>
            <a:ext cx="2199704" cy="2506595"/>
          </a:xfrm>
          <a:custGeom>
            <a:avLst/>
            <a:gdLst>
              <a:gd name="connsiteX0" fmla="*/ 1045852 w 2199704"/>
              <a:gd name="connsiteY0" fmla="*/ 2492121 h 2506595"/>
              <a:gd name="connsiteX1" fmla="*/ 54000 w 2199704"/>
              <a:gd name="connsiteY1" fmla="*/ 1919475 h 2506595"/>
              <a:gd name="connsiteX2" fmla="*/ 0 w 2199704"/>
              <a:gd name="connsiteY2" fmla="*/ 1825944 h 2506595"/>
              <a:gd name="connsiteX3" fmla="*/ 0 w 2199704"/>
              <a:gd name="connsiteY3" fmla="*/ 680652 h 2506595"/>
              <a:gd name="connsiteX4" fmla="*/ 54000 w 2199704"/>
              <a:gd name="connsiteY4" fmla="*/ 587121 h 2506595"/>
              <a:gd name="connsiteX5" fmla="*/ 1045852 w 2199704"/>
              <a:gd name="connsiteY5" fmla="*/ 14475 h 2506595"/>
              <a:gd name="connsiteX6" fmla="*/ 1153852 w 2199704"/>
              <a:gd name="connsiteY6" fmla="*/ 14475 h 2506595"/>
              <a:gd name="connsiteX7" fmla="*/ 2145704 w 2199704"/>
              <a:gd name="connsiteY7" fmla="*/ 587121 h 2506595"/>
              <a:gd name="connsiteX8" fmla="*/ 2199704 w 2199704"/>
              <a:gd name="connsiteY8" fmla="*/ 680652 h 2506595"/>
              <a:gd name="connsiteX9" fmla="*/ 2199704 w 2199704"/>
              <a:gd name="connsiteY9" fmla="*/ 1825944 h 2506595"/>
              <a:gd name="connsiteX10" fmla="*/ 2145704 w 2199704"/>
              <a:gd name="connsiteY10" fmla="*/ 1919475 h 2506595"/>
              <a:gd name="connsiteX11" fmla="*/ 1153852 w 2199704"/>
              <a:gd name="connsiteY11" fmla="*/ 2492121 h 2506595"/>
              <a:gd name="connsiteX12" fmla="*/ 1045852 w 2199704"/>
              <a:gd name="connsiteY12" fmla="*/ 2492121 h 2506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199704" h="2506595">
                <a:moveTo>
                  <a:pt x="1045852" y="2492121"/>
                </a:moveTo>
                <a:lnTo>
                  <a:pt x="54000" y="1919475"/>
                </a:lnTo>
                <a:cubicBezTo>
                  <a:pt x="20574" y="1900176"/>
                  <a:pt x="0" y="1864541"/>
                  <a:pt x="0" y="1825944"/>
                </a:cubicBezTo>
                <a:lnTo>
                  <a:pt x="0" y="680652"/>
                </a:lnTo>
                <a:cubicBezTo>
                  <a:pt x="0" y="642055"/>
                  <a:pt x="20574" y="606420"/>
                  <a:pt x="54000" y="587121"/>
                </a:cubicBezTo>
                <a:lnTo>
                  <a:pt x="1045852" y="14475"/>
                </a:lnTo>
                <a:cubicBezTo>
                  <a:pt x="1079278" y="-4824"/>
                  <a:pt x="1120426" y="-4824"/>
                  <a:pt x="1153852" y="14475"/>
                </a:cubicBezTo>
                <a:lnTo>
                  <a:pt x="2145704" y="587121"/>
                </a:lnTo>
                <a:cubicBezTo>
                  <a:pt x="2179130" y="606420"/>
                  <a:pt x="2199704" y="642055"/>
                  <a:pt x="2199704" y="680652"/>
                </a:cubicBezTo>
                <a:lnTo>
                  <a:pt x="2199704" y="1825944"/>
                </a:lnTo>
                <a:cubicBezTo>
                  <a:pt x="2199704" y="1864541"/>
                  <a:pt x="2179130" y="1900176"/>
                  <a:pt x="2145704" y="1919475"/>
                </a:cubicBezTo>
                <a:lnTo>
                  <a:pt x="1153852" y="2492121"/>
                </a:lnTo>
                <a:cubicBezTo>
                  <a:pt x="1120426" y="2511420"/>
                  <a:pt x="1079278" y="2511420"/>
                  <a:pt x="1045852" y="2492121"/>
                </a:cubicBezTo>
              </a:path>
            </a:pathLst>
          </a:custGeom>
          <a:solidFill>
            <a:schemeClr val="bg1"/>
          </a:solidFill>
          <a:ln>
            <a:noFill/>
          </a:ln>
          <a:effectLst>
            <a:outerShdw blurRad="254000" dist="127000" dir="5400000" algn="t"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endParaRPr lang="zh-CN" altLang="en-US" sz="1600">
              <a:solidFill>
                <a:schemeClr val="bg1"/>
              </a:solidFill>
              <a:latin typeface="+mj-ea"/>
              <a:ea typeface="+mj-ea"/>
            </a:endParaRPr>
          </a:p>
        </p:txBody>
      </p:sp>
      <p:sp>
        <p:nvSpPr>
          <p:cNvPr id="20" name="任意多边形: 形状 19">
            <a:extLst>
              <a:ext uri="{FF2B5EF4-FFF2-40B4-BE49-F238E27FC236}">
                <a16:creationId xmlns:a16="http://schemas.microsoft.com/office/drawing/2014/main" id="{11FB0889-954B-4F02-8B96-790665F5A789}"/>
              </a:ext>
            </a:extLst>
          </p:cNvPr>
          <p:cNvSpPr/>
          <p:nvPr/>
        </p:nvSpPr>
        <p:spPr>
          <a:xfrm>
            <a:off x="6347311" y="2127760"/>
            <a:ext cx="1974364" cy="2249815"/>
          </a:xfrm>
          <a:custGeom>
            <a:avLst/>
            <a:gdLst>
              <a:gd name="connsiteX0" fmla="*/ 987182 w 1974364"/>
              <a:gd name="connsiteY0" fmla="*/ 0 h 2249815"/>
              <a:gd name="connsiteX1" fmla="*/ 1035650 w 1974364"/>
              <a:gd name="connsiteY1" fmla="*/ 12991 h 2249815"/>
              <a:gd name="connsiteX2" fmla="*/ 1925896 w 1974364"/>
              <a:gd name="connsiteY2" fmla="*/ 526975 h 2249815"/>
              <a:gd name="connsiteX3" fmla="*/ 1974364 w 1974364"/>
              <a:gd name="connsiteY3" fmla="*/ 610924 h 2249815"/>
              <a:gd name="connsiteX4" fmla="*/ 1974364 w 1974364"/>
              <a:gd name="connsiteY4" fmla="*/ 1638891 h 2249815"/>
              <a:gd name="connsiteX5" fmla="*/ 1925896 w 1974364"/>
              <a:gd name="connsiteY5" fmla="*/ 1722841 h 2249815"/>
              <a:gd name="connsiteX6" fmla="*/ 1035650 w 1974364"/>
              <a:gd name="connsiteY6" fmla="*/ 2236824 h 2249815"/>
              <a:gd name="connsiteX7" fmla="*/ 938714 w 1974364"/>
              <a:gd name="connsiteY7" fmla="*/ 2236824 h 2249815"/>
              <a:gd name="connsiteX8" fmla="*/ 48468 w 1974364"/>
              <a:gd name="connsiteY8" fmla="*/ 1722841 h 2249815"/>
              <a:gd name="connsiteX9" fmla="*/ 0 w 1974364"/>
              <a:gd name="connsiteY9" fmla="*/ 1638891 h 2249815"/>
              <a:gd name="connsiteX10" fmla="*/ 0 w 1974364"/>
              <a:gd name="connsiteY10" fmla="*/ 1264208 h 2249815"/>
              <a:gd name="connsiteX11" fmla="*/ 146359 w 1974364"/>
              <a:gd name="connsiteY11" fmla="*/ 1124908 h 2249815"/>
              <a:gd name="connsiteX12" fmla="*/ 0 w 1974364"/>
              <a:gd name="connsiteY12" fmla="*/ 985607 h 2249815"/>
              <a:gd name="connsiteX13" fmla="*/ 0 w 1974364"/>
              <a:gd name="connsiteY13" fmla="*/ 610924 h 2249815"/>
              <a:gd name="connsiteX14" fmla="*/ 48468 w 1974364"/>
              <a:gd name="connsiteY14" fmla="*/ 526975 h 2249815"/>
              <a:gd name="connsiteX15" fmla="*/ 938714 w 1974364"/>
              <a:gd name="connsiteY15" fmla="*/ 12991 h 2249815"/>
              <a:gd name="connsiteX16" fmla="*/ 987182 w 1974364"/>
              <a:gd name="connsiteY16" fmla="*/ 0 h 22498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974364" h="2249815">
                <a:moveTo>
                  <a:pt x="987182" y="0"/>
                </a:moveTo>
                <a:cubicBezTo>
                  <a:pt x="1003916" y="0"/>
                  <a:pt x="1020650" y="4330"/>
                  <a:pt x="1035650" y="12991"/>
                </a:cubicBezTo>
                <a:lnTo>
                  <a:pt x="1925896" y="526975"/>
                </a:lnTo>
                <a:cubicBezTo>
                  <a:pt x="1955898" y="544297"/>
                  <a:pt x="1974364" y="576281"/>
                  <a:pt x="1974364" y="610924"/>
                </a:cubicBezTo>
                <a:lnTo>
                  <a:pt x="1974364" y="1638891"/>
                </a:lnTo>
                <a:cubicBezTo>
                  <a:pt x="1974364" y="1673534"/>
                  <a:pt x="1955898" y="1705519"/>
                  <a:pt x="1925896" y="1722841"/>
                </a:cubicBezTo>
                <a:lnTo>
                  <a:pt x="1035650" y="2236824"/>
                </a:lnTo>
                <a:cubicBezTo>
                  <a:pt x="1005649" y="2254146"/>
                  <a:pt x="968716" y="2254146"/>
                  <a:pt x="938714" y="2236824"/>
                </a:cubicBezTo>
                <a:lnTo>
                  <a:pt x="48468" y="1722841"/>
                </a:lnTo>
                <a:cubicBezTo>
                  <a:pt x="18466" y="1705519"/>
                  <a:pt x="0" y="1673534"/>
                  <a:pt x="0" y="1638891"/>
                </a:cubicBezTo>
                <a:lnTo>
                  <a:pt x="0" y="1264208"/>
                </a:lnTo>
                <a:lnTo>
                  <a:pt x="146359" y="1124908"/>
                </a:lnTo>
                <a:lnTo>
                  <a:pt x="0" y="985607"/>
                </a:lnTo>
                <a:lnTo>
                  <a:pt x="0" y="610924"/>
                </a:lnTo>
                <a:cubicBezTo>
                  <a:pt x="0" y="576281"/>
                  <a:pt x="18466" y="544297"/>
                  <a:pt x="48468" y="526975"/>
                </a:cubicBezTo>
                <a:lnTo>
                  <a:pt x="938714" y="12991"/>
                </a:lnTo>
                <a:cubicBezTo>
                  <a:pt x="953715" y="4330"/>
                  <a:pt x="970448" y="0"/>
                  <a:pt x="987182" y="0"/>
                </a:cubicBezTo>
                <a:close/>
              </a:path>
            </a:pathLst>
          </a:custGeom>
          <a:gradFill>
            <a:gsLst>
              <a:gs pos="0">
                <a:schemeClr val="accent1"/>
              </a:gs>
              <a:gs pos="100000">
                <a:schemeClr val="accent1">
                  <a:lumMod val="75000"/>
                </a:schemeClr>
              </a:gs>
            </a:gsLst>
            <a:lin ang="2700000" scaled="0"/>
          </a:gradFill>
          <a:ln w="25400" cap="flat" cmpd="sng" algn="ctr">
            <a:noFill/>
            <a:prstDash val="solid"/>
            <a:miter lim="800000"/>
          </a:ln>
          <a:effectLst>
            <a:outerShdw blurRad="254000" dist="88900" dir="2700000" algn="tl" rotWithShape="0">
              <a:schemeClr val="accent1">
                <a:lumMod val="50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2" name="文本框 21">
            <a:extLst>
              <a:ext uri="{FF2B5EF4-FFF2-40B4-BE49-F238E27FC236}">
                <a16:creationId xmlns:a16="http://schemas.microsoft.com/office/drawing/2014/main" id="{334D14D5-6F48-452F-BDA4-FDEEFB5CB9C8}"/>
              </a:ext>
            </a:extLst>
          </p:cNvPr>
          <p:cNvSpPr txBox="1"/>
          <p:nvPr/>
        </p:nvSpPr>
        <p:spPr>
          <a:xfrm>
            <a:off x="6757412" y="3191662"/>
            <a:ext cx="1154162" cy="276999"/>
          </a:xfrm>
          <a:prstGeom prst="rect">
            <a:avLst/>
          </a:prstGeom>
          <a:noFill/>
          <a:effectLst/>
        </p:spPr>
        <p:txBody>
          <a:bodyPr wrap="none" lIns="0" tIns="0" rIns="0" bIns="0" rtlCol="0" anchor="t">
            <a:spAutoFit/>
          </a:bodyPr>
          <a:lstStyle/>
          <a:p>
            <a:pPr algn="ctr"/>
            <a:r>
              <a:rPr lang="zh-CN" altLang="en-US" dirty="0">
                <a:solidFill>
                  <a:schemeClr val="bg1"/>
                </a:solidFill>
                <a:latin typeface="+mj-ea"/>
                <a:ea typeface="+mj-ea"/>
              </a:rPr>
              <a:t>关键词标题</a:t>
            </a:r>
          </a:p>
        </p:txBody>
      </p:sp>
      <p:sp>
        <p:nvSpPr>
          <p:cNvPr id="23" name="文本框 22">
            <a:extLst>
              <a:ext uri="{FF2B5EF4-FFF2-40B4-BE49-F238E27FC236}">
                <a16:creationId xmlns:a16="http://schemas.microsoft.com/office/drawing/2014/main" id="{7D891908-42C9-4BE9-91F7-902426AC88FB}"/>
              </a:ext>
            </a:extLst>
          </p:cNvPr>
          <p:cNvSpPr txBox="1"/>
          <p:nvPr/>
        </p:nvSpPr>
        <p:spPr>
          <a:xfrm>
            <a:off x="6526355" y="3488882"/>
            <a:ext cx="1616276" cy="406714"/>
          </a:xfrm>
          <a:prstGeom prst="rect">
            <a:avLst/>
          </a:prstGeom>
          <a:noFill/>
          <a:effectLst/>
        </p:spPr>
        <p:txBody>
          <a:bodyPr wrap="square" lIns="0" tIns="0" rIns="0" bIns="0" rtlCol="0" anchor="t">
            <a:spAutoFit/>
          </a:bodyPr>
          <a:lstStyle/>
          <a:p>
            <a:pPr algn="ctr">
              <a:lnSpc>
                <a:spcPct val="130000"/>
              </a:lnSpc>
            </a:pPr>
            <a:r>
              <a:rPr lang="en-US" altLang="zh-CN" sz="1050" b="0" dirty="0">
                <a:solidFill>
                  <a:schemeClr val="bg1"/>
                </a:solidFill>
                <a:effectLst/>
                <a:latin typeface="+mn-ea"/>
              </a:rPr>
              <a:t>Lorem ipsum dolor sit ametconsectetur</a:t>
            </a:r>
            <a:endParaRPr lang="zh-CN" altLang="en-US" sz="1050" b="0" dirty="0">
              <a:solidFill>
                <a:schemeClr val="bg1"/>
              </a:solidFill>
              <a:effectLst/>
              <a:latin typeface="+mn-ea"/>
            </a:endParaRPr>
          </a:p>
        </p:txBody>
      </p:sp>
      <p:sp>
        <p:nvSpPr>
          <p:cNvPr id="25" name="Freeform 2">
            <a:extLst>
              <a:ext uri="{FF2B5EF4-FFF2-40B4-BE49-F238E27FC236}">
                <a16:creationId xmlns:a16="http://schemas.microsoft.com/office/drawing/2014/main" id="{8C302127-A963-47D9-9A51-9FF06C853B09}"/>
              </a:ext>
            </a:extLst>
          </p:cNvPr>
          <p:cNvSpPr/>
          <p:nvPr/>
        </p:nvSpPr>
        <p:spPr>
          <a:xfrm>
            <a:off x="8711141" y="1999368"/>
            <a:ext cx="2199704" cy="2506595"/>
          </a:xfrm>
          <a:custGeom>
            <a:avLst/>
            <a:gdLst>
              <a:gd name="connsiteX0" fmla="*/ 1045852 w 2199704"/>
              <a:gd name="connsiteY0" fmla="*/ 2492121 h 2506595"/>
              <a:gd name="connsiteX1" fmla="*/ 54000 w 2199704"/>
              <a:gd name="connsiteY1" fmla="*/ 1919475 h 2506595"/>
              <a:gd name="connsiteX2" fmla="*/ 0 w 2199704"/>
              <a:gd name="connsiteY2" fmla="*/ 1825944 h 2506595"/>
              <a:gd name="connsiteX3" fmla="*/ 0 w 2199704"/>
              <a:gd name="connsiteY3" fmla="*/ 680652 h 2506595"/>
              <a:gd name="connsiteX4" fmla="*/ 54000 w 2199704"/>
              <a:gd name="connsiteY4" fmla="*/ 587121 h 2506595"/>
              <a:gd name="connsiteX5" fmla="*/ 1045852 w 2199704"/>
              <a:gd name="connsiteY5" fmla="*/ 14475 h 2506595"/>
              <a:gd name="connsiteX6" fmla="*/ 1153852 w 2199704"/>
              <a:gd name="connsiteY6" fmla="*/ 14475 h 2506595"/>
              <a:gd name="connsiteX7" fmla="*/ 2145704 w 2199704"/>
              <a:gd name="connsiteY7" fmla="*/ 587121 h 2506595"/>
              <a:gd name="connsiteX8" fmla="*/ 2199704 w 2199704"/>
              <a:gd name="connsiteY8" fmla="*/ 680652 h 2506595"/>
              <a:gd name="connsiteX9" fmla="*/ 2199704 w 2199704"/>
              <a:gd name="connsiteY9" fmla="*/ 1825944 h 2506595"/>
              <a:gd name="connsiteX10" fmla="*/ 2145704 w 2199704"/>
              <a:gd name="connsiteY10" fmla="*/ 1919475 h 2506595"/>
              <a:gd name="connsiteX11" fmla="*/ 1153852 w 2199704"/>
              <a:gd name="connsiteY11" fmla="*/ 2492121 h 2506595"/>
              <a:gd name="connsiteX12" fmla="*/ 1045852 w 2199704"/>
              <a:gd name="connsiteY12" fmla="*/ 2492121 h 2506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199704" h="2506595">
                <a:moveTo>
                  <a:pt x="1045852" y="2492121"/>
                </a:moveTo>
                <a:lnTo>
                  <a:pt x="54000" y="1919475"/>
                </a:lnTo>
                <a:cubicBezTo>
                  <a:pt x="20574" y="1900176"/>
                  <a:pt x="0" y="1864541"/>
                  <a:pt x="0" y="1825944"/>
                </a:cubicBezTo>
                <a:lnTo>
                  <a:pt x="0" y="680652"/>
                </a:lnTo>
                <a:cubicBezTo>
                  <a:pt x="0" y="642055"/>
                  <a:pt x="20574" y="606420"/>
                  <a:pt x="54000" y="587121"/>
                </a:cubicBezTo>
                <a:lnTo>
                  <a:pt x="1045852" y="14475"/>
                </a:lnTo>
                <a:cubicBezTo>
                  <a:pt x="1079278" y="-4824"/>
                  <a:pt x="1120426" y="-4824"/>
                  <a:pt x="1153852" y="14475"/>
                </a:cubicBezTo>
                <a:lnTo>
                  <a:pt x="2145704" y="587121"/>
                </a:lnTo>
                <a:cubicBezTo>
                  <a:pt x="2179130" y="606420"/>
                  <a:pt x="2199704" y="642055"/>
                  <a:pt x="2199704" y="680652"/>
                </a:cubicBezTo>
                <a:lnTo>
                  <a:pt x="2199704" y="1825944"/>
                </a:lnTo>
                <a:cubicBezTo>
                  <a:pt x="2199704" y="1864541"/>
                  <a:pt x="2179130" y="1900176"/>
                  <a:pt x="2145704" y="1919475"/>
                </a:cubicBezTo>
                <a:lnTo>
                  <a:pt x="1153852" y="2492121"/>
                </a:lnTo>
                <a:cubicBezTo>
                  <a:pt x="1120426" y="2511420"/>
                  <a:pt x="1079278" y="2511420"/>
                  <a:pt x="1045852" y="2492121"/>
                </a:cubicBezTo>
              </a:path>
            </a:pathLst>
          </a:custGeom>
          <a:solidFill>
            <a:schemeClr val="bg1"/>
          </a:solidFill>
          <a:ln>
            <a:noFill/>
          </a:ln>
          <a:effectLst>
            <a:outerShdw blurRad="254000" dist="127000" dir="5400000" algn="t"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endParaRPr lang="zh-CN" altLang="en-US" sz="1600">
              <a:solidFill>
                <a:schemeClr val="bg1"/>
              </a:solidFill>
              <a:latin typeface="+mj-ea"/>
              <a:ea typeface="+mj-ea"/>
            </a:endParaRPr>
          </a:p>
        </p:txBody>
      </p:sp>
      <p:sp>
        <p:nvSpPr>
          <p:cNvPr id="26" name="任意多边形: 形状 25">
            <a:extLst>
              <a:ext uri="{FF2B5EF4-FFF2-40B4-BE49-F238E27FC236}">
                <a16:creationId xmlns:a16="http://schemas.microsoft.com/office/drawing/2014/main" id="{0FFAAC48-F078-4704-A758-6C322D49B933}"/>
              </a:ext>
            </a:extLst>
          </p:cNvPr>
          <p:cNvSpPr/>
          <p:nvPr/>
        </p:nvSpPr>
        <p:spPr>
          <a:xfrm>
            <a:off x="8823811" y="2127760"/>
            <a:ext cx="1974364" cy="2249815"/>
          </a:xfrm>
          <a:custGeom>
            <a:avLst/>
            <a:gdLst>
              <a:gd name="connsiteX0" fmla="*/ 987182 w 1974364"/>
              <a:gd name="connsiteY0" fmla="*/ 0 h 2249815"/>
              <a:gd name="connsiteX1" fmla="*/ 1035650 w 1974364"/>
              <a:gd name="connsiteY1" fmla="*/ 12991 h 2249815"/>
              <a:gd name="connsiteX2" fmla="*/ 1925896 w 1974364"/>
              <a:gd name="connsiteY2" fmla="*/ 526975 h 2249815"/>
              <a:gd name="connsiteX3" fmla="*/ 1974364 w 1974364"/>
              <a:gd name="connsiteY3" fmla="*/ 610924 h 2249815"/>
              <a:gd name="connsiteX4" fmla="*/ 1974364 w 1974364"/>
              <a:gd name="connsiteY4" fmla="*/ 1638891 h 2249815"/>
              <a:gd name="connsiteX5" fmla="*/ 1925896 w 1974364"/>
              <a:gd name="connsiteY5" fmla="*/ 1722841 h 2249815"/>
              <a:gd name="connsiteX6" fmla="*/ 1035650 w 1974364"/>
              <a:gd name="connsiteY6" fmla="*/ 2236824 h 2249815"/>
              <a:gd name="connsiteX7" fmla="*/ 938714 w 1974364"/>
              <a:gd name="connsiteY7" fmla="*/ 2236824 h 2249815"/>
              <a:gd name="connsiteX8" fmla="*/ 48468 w 1974364"/>
              <a:gd name="connsiteY8" fmla="*/ 1722841 h 2249815"/>
              <a:gd name="connsiteX9" fmla="*/ 0 w 1974364"/>
              <a:gd name="connsiteY9" fmla="*/ 1638891 h 2249815"/>
              <a:gd name="connsiteX10" fmla="*/ 0 w 1974364"/>
              <a:gd name="connsiteY10" fmla="*/ 1264208 h 2249815"/>
              <a:gd name="connsiteX11" fmla="*/ 146359 w 1974364"/>
              <a:gd name="connsiteY11" fmla="*/ 1124908 h 2249815"/>
              <a:gd name="connsiteX12" fmla="*/ 0 w 1974364"/>
              <a:gd name="connsiteY12" fmla="*/ 985607 h 2249815"/>
              <a:gd name="connsiteX13" fmla="*/ 0 w 1974364"/>
              <a:gd name="connsiteY13" fmla="*/ 610924 h 2249815"/>
              <a:gd name="connsiteX14" fmla="*/ 48468 w 1974364"/>
              <a:gd name="connsiteY14" fmla="*/ 526975 h 2249815"/>
              <a:gd name="connsiteX15" fmla="*/ 938714 w 1974364"/>
              <a:gd name="connsiteY15" fmla="*/ 12991 h 2249815"/>
              <a:gd name="connsiteX16" fmla="*/ 987182 w 1974364"/>
              <a:gd name="connsiteY16" fmla="*/ 0 h 22498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974364" h="2249815">
                <a:moveTo>
                  <a:pt x="987182" y="0"/>
                </a:moveTo>
                <a:cubicBezTo>
                  <a:pt x="1003916" y="0"/>
                  <a:pt x="1020650" y="4330"/>
                  <a:pt x="1035650" y="12991"/>
                </a:cubicBezTo>
                <a:lnTo>
                  <a:pt x="1925896" y="526975"/>
                </a:lnTo>
                <a:cubicBezTo>
                  <a:pt x="1955898" y="544297"/>
                  <a:pt x="1974364" y="576281"/>
                  <a:pt x="1974364" y="610924"/>
                </a:cubicBezTo>
                <a:lnTo>
                  <a:pt x="1974364" y="1638891"/>
                </a:lnTo>
                <a:cubicBezTo>
                  <a:pt x="1974364" y="1673534"/>
                  <a:pt x="1955898" y="1705519"/>
                  <a:pt x="1925896" y="1722841"/>
                </a:cubicBezTo>
                <a:lnTo>
                  <a:pt x="1035650" y="2236824"/>
                </a:lnTo>
                <a:cubicBezTo>
                  <a:pt x="1005649" y="2254146"/>
                  <a:pt x="968716" y="2254146"/>
                  <a:pt x="938714" y="2236824"/>
                </a:cubicBezTo>
                <a:lnTo>
                  <a:pt x="48468" y="1722841"/>
                </a:lnTo>
                <a:cubicBezTo>
                  <a:pt x="18466" y="1705519"/>
                  <a:pt x="0" y="1673534"/>
                  <a:pt x="0" y="1638891"/>
                </a:cubicBezTo>
                <a:lnTo>
                  <a:pt x="0" y="1264208"/>
                </a:lnTo>
                <a:lnTo>
                  <a:pt x="146359" y="1124908"/>
                </a:lnTo>
                <a:lnTo>
                  <a:pt x="0" y="985607"/>
                </a:lnTo>
                <a:lnTo>
                  <a:pt x="0" y="610924"/>
                </a:lnTo>
                <a:cubicBezTo>
                  <a:pt x="0" y="576281"/>
                  <a:pt x="18466" y="544297"/>
                  <a:pt x="48468" y="526975"/>
                </a:cubicBezTo>
                <a:lnTo>
                  <a:pt x="938714" y="12991"/>
                </a:lnTo>
                <a:cubicBezTo>
                  <a:pt x="953715" y="4330"/>
                  <a:pt x="970448" y="0"/>
                  <a:pt x="987182" y="0"/>
                </a:cubicBezTo>
                <a:close/>
              </a:path>
            </a:pathLst>
          </a:custGeom>
          <a:gradFill>
            <a:gsLst>
              <a:gs pos="0">
                <a:schemeClr val="accent1"/>
              </a:gs>
              <a:gs pos="100000">
                <a:schemeClr val="accent1">
                  <a:lumMod val="75000"/>
                </a:schemeClr>
              </a:gs>
            </a:gsLst>
            <a:lin ang="2700000" scaled="0"/>
          </a:gradFill>
          <a:ln w="25400" cap="flat" cmpd="sng" algn="ctr">
            <a:noFill/>
            <a:prstDash val="solid"/>
            <a:miter lim="800000"/>
          </a:ln>
          <a:effectLst>
            <a:outerShdw blurRad="254000" dist="88900" dir="2700000" algn="tl" rotWithShape="0">
              <a:schemeClr val="accent1">
                <a:lumMod val="50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8" name="文本框 27">
            <a:extLst>
              <a:ext uri="{FF2B5EF4-FFF2-40B4-BE49-F238E27FC236}">
                <a16:creationId xmlns:a16="http://schemas.microsoft.com/office/drawing/2014/main" id="{679F737A-2A0A-404B-BA80-76174C592705}"/>
              </a:ext>
            </a:extLst>
          </p:cNvPr>
          <p:cNvSpPr txBox="1"/>
          <p:nvPr/>
        </p:nvSpPr>
        <p:spPr>
          <a:xfrm>
            <a:off x="9233912" y="3191662"/>
            <a:ext cx="1154162" cy="276999"/>
          </a:xfrm>
          <a:prstGeom prst="rect">
            <a:avLst/>
          </a:prstGeom>
          <a:noFill/>
          <a:effectLst/>
        </p:spPr>
        <p:txBody>
          <a:bodyPr wrap="none" lIns="0" tIns="0" rIns="0" bIns="0" rtlCol="0" anchor="t">
            <a:spAutoFit/>
          </a:bodyPr>
          <a:lstStyle/>
          <a:p>
            <a:pPr algn="ctr"/>
            <a:r>
              <a:rPr lang="zh-CN" altLang="en-US" dirty="0">
                <a:solidFill>
                  <a:schemeClr val="bg1"/>
                </a:solidFill>
                <a:latin typeface="+mj-ea"/>
                <a:ea typeface="+mj-ea"/>
              </a:rPr>
              <a:t>关键词标题</a:t>
            </a:r>
          </a:p>
        </p:txBody>
      </p:sp>
      <p:sp>
        <p:nvSpPr>
          <p:cNvPr id="29" name="文本框 28">
            <a:extLst>
              <a:ext uri="{FF2B5EF4-FFF2-40B4-BE49-F238E27FC236}">
                <a16:creationId xmlns:a16="http://schemas.microsoft.com/office/drawing/2014/main" id="{DBF899A5-8A95-403C-95E0-AC60A7C6405C}"/>
              </a:ext>
            </a:extLst>
          </p:cNvPr>
          <p:cNvSpPr txBox="1"/>
          <p:nvPr/>
        </p:nvSpPr>
        <p:spPr>
          <a:xfrm>
            <a:off x="9002855" y="3488882"/>
            <a:ext cx="1616276" cy="406714"/>
          </a:xfrm>
          <a:prstGeom prst="rect">
            <a:avLst/>
          </a:prstGeom>
          <a:noFill/>
          <a:effectLst/>
        </p:spPr>
        <p:txBody>
          <a:bodyPr wrap="square" lIns="0" tIns="0" rIns="0" bIns="0" rtlCol="0" anchor="t">
            <a:spAutoFit/>
          </a:bodyPr>
          <a:lstStyle/>
          <a:p>
            <a:pPr algn="ctr">
              <a:lnSpc>
                <a:spcPct val="130000"/>
              </a:lnSpc>
            </a:pPr>
            <a:r>
              <a:rPr lang="en-US" altLang="zh-CN" sz="1050" b="0" dirty="0">
                <a:solidFill>
                  <a:schemeClr val="bg1"/>
                </a:solidFill>
                <a:effectLst/>
                <a:latin typeface="+mn-ea"/>
              </a:rPr>
              <a:t>Lorem ipsum dolor sit ametconsectetur</a:t>
            </a:r>
            <a:endParaRPr lang="zh-CN" altLang="en-US" sz="1050" b="0" dirty="0">
              <a:solidFill>
                <a:schemeClr val="bg1"/>
              </a:solidFill>
              <a:effectLst/>
              <a:latin typeface="+mn-ea"/>
            </a:endParaRPr>
          </a:p>
        </p:txBody>
      </p:sp>
      <p:sp>
        <p:nvSpPr>
          <p:cNvPr id="30" name="iconfont-1187-868110">
            <a:extLst>
              <a:ext uri="{FF2B5EF4-FFF2-40B4-BE49-F238E27FC236}">
                <a16:creationId xmlns:a16="http://schemas.microsoft.com/office/drawing/2014/main" id="{E400D8DE-0454-4372-B4AF-A6DF7A026895}"/>
              </a:ext>
            </a:extLst>
          </p:cNvPr>
          <p:cNvSpPr/>
          <p:nvPr/>
        </p:nvSpPr>
        <p:spPr>
          <a:xfrm>
            <a:off x="4585942" y="2599086"/>
            <a:ext cx="432594" cy="417180"/>
          </a:xfrm>
          <a:custGeom>
            <a:avLst/>
            <a:gdLst>
              <a:gd name="T0" fmla="*/ 11888 w 12803"/>
              <a:gd name="T1" fmla="*/ 0 h 12345"/>
              <a:gd name="T2" fmla="*/ 914 w 12803"/>
              <a:gd name="T3" fmla="*/ 0 h 12345"/>
              <a:gd name="T4" fmla="*/ 0 w 12803"/>
              <a:gd name="T5" fmla="*/ 914 h 12345"/>
              <a:gd name="T6" fmla="*/ 0 w 12803"/>
              <a:gd name="T7" fmla="*/ 8687 h 12345"/>
              <a:gd name="T8" fmla="*/ 914 w 12803"/>
              <a:gd name="T9" fmla="*/ 9602 h 12345"/>
              <a:gd name="T10" fmla="*/ 3201 w 12803"/>
              <a:gd name="T11" fmla="*/ 9602 h 12345"/>
              <a:gd name="T12" fmla="*/ 3201 w 12803"/>
              <a:gd name="T13" fmla="*/ 12345 h 12345"/>
              <a:gd name="T14" fmla="*/ 8230 w 12803"/>
              <a:gd name="T15" fmla="*/ 9602 h 12345"/>
              <a:gd name="T16" fmla="*/ 11888 w 12803"/>
              <a:gd name="T17" fmla="*/ 9602 h 12345"/>
              <a:gd name="T18" fmla="*/ 12803 w 12803"/>
              <a:gd name="T19" fmla="*/ 8687 h 12345"/>
              <a:gd name="T20" fmla="*/ 12803 w 12803"/>
              <a:gd name="T21" fmla="*/ 914 h 12345"/>
              <a:gd name="T22" fmla="*/ 11888 w 12803"/>
              <a:gd name="T23" fmla="*/ 0 h 12345"/>
              <a:gd name="T24" fmla="*/ 3201 w 12803"/>
              <a:gd name="T25" fmla="*/ 5487 h 12345"/>
              <a:gd name="T26" fmla="*/ 2286 w 12803"/>
              <a:gd name="T27" fmla="*/ 4572 h 12345"/>
              <a:gd name="T28" fmla="*/ 3201 w 12803"/>
              <a:gd name="T29" fmla="*/ 3658 h 12345"/>
              <a:gd name="T30" fmla="*/ 4115 w 12803"/>
              <a:gd name="T31" fmla="*/ 4572 h 12345"/>
              <a:gd name="T32" fmla="*/ 3201 w 12803"/>
              <a:gd name="T33" fmla="*/ 5487 h 12345"/>
              <a:gd name="T34" fmla="*/ 6401 w 12803"/>
              <a:gd name="T35" fmla="*/ 5487 h 12345"/>
              <a:gd name="T36" fmla="*/ 5487 w 12803"/>
              <a:gd name="T37" fmla="*/ 4572 h 12345"/>
              <a:gd name="T38" fmla="*/ 6401 w 12803"/>
              <a:gd name="T39" fmla="*/ 3658 h 12345"/>
              <a:gd name="T40" fmla="*/ 7316 w 12803"/>
              <a:gd name="T41" fmla="*/ 4572 h 12345"/>
              <a:gd name="T42" fmla="*/ 6401 w 12803"/>
              <a:gd name="T43" fmla="*/ 5487 h 12345"/>
              <a:gd name="T44" fmla="*/ 9602 w 12803"/>
              <a:gd name="T45" fmla="*/ 5487 h 12345"/>
              <a:gd name="T46" fmla="*/ 8687 w 12803"/>
              <a:gd name="T47" fmla="*/ 4572 h 12345"/>
              <a:gd name="T48" fmla="*/ 9602 w 12803"/>
              <a:gd name="T49" fmla="*/ 3658 h 12345"/>
              <a:gd name="T50" fmla="*/ 10516 w 12803"/>
              <a:gd name="T51" fmla="*/ 4572 h 12345"/>
              <a:gd name="T52" fmla="*/ 9602 w 12803"/>
              <a:gd name="T53" fmla="*/ 5487 h 12345"/>
              <a:gd name="T54" fmla="*/ 9602 w 12803"/>
              <a:gd name="T55" fmla="*/ 5487 h 123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2803" h="12345">
                <a:moveTo>
                  <a:pt x="11888" y="0"/>
                </a:moveTo>
                <a:lnTo>
                  <a:pt x="914" y="0"/>
                </a:lnTo>
                <a:cubicBezTo>
                  <a:pt x="409" y="0"/>
                  <a:pt x="0" y="409"/>
                  <a:pt x="0" y="914"/>
                </a:cubicBezTo>
                <a:lnTo>
                  <a:pt x="0" y="8687"/>
                </a:lnTo>
                <a:cubicBezTo>
                  <a:pt x="0" y="9193"/>
                  <a:pt x="409" y="9602"/>
                  <a:pt x="914" y="9602"/>
                </a:cubicBezTo>
                <a:lnTo>
                  <a:pt x="3201" y="9602"/>
                </a:lnTo>
                <a:lnTo>
                  <a:pt x="3201" y="12345"/>
                </a:lnTo>
                <a:lnTo>
                  <a:pt x="8230" y="9602"/>
                </a:lnTo>
                <a:lnTo>
                  <a:pt x="11888" y="9602"/>
                </a:lnTo>
                <a:cubicBezTo>
                  <a:pt x="12393" y="9602"/>
                  <a:pt x="12803" y="9193"/>
                  <a:pt x="12803" y="8687"/>
                </a:cubicBezTo>
                <a:lnTo>
                  <a:pt x="12803" y="914"/>
                </a:lnTo>
                <a:cubicBezTo>
                  <a:pt x="12803" y="409"/>
                  <a:pt x="12393" y="0"/>
                  <a:pt x="11888" y="0"/>
                </a:cubicBezTo>
                <a:close/>
                <a:moveTo>
                  <a:pt x="3201" y="5487"/>
                </a:moveTo>
                <a:cubicBezTo>
                  <a:pt x="2695" y="5487"/>
                  <a:pt x="2286" y="5077"/>
                  <a:pt x="2286" y="4572"/>
                </a:cubicBezTo>
                <a:cubicBezTo>
                  <a:pt x="2286" y="4067"/>
                  <a:pt x="2695" y="3658"/>
                  <a:pt x="3201" y="3658"/>
                </a:cubicBezTo>
                <a:cubicBezTo>
                  <a:pt x="3706" y="3658"/>
                  <a:pt x="4115" y="4067"/>
                  <a:pt x="4115" y="4572"/>
                </a:cubicBezTo>
                <a:cubicBezTo>
                  <a:pt x="4115" y="5077"/>
                  <a:pt x="3706" y="5487"/>
                  <a:pt x="3201" y="5487"/>
                </a:cubicBezTo>
                <a:close/>
                <a:moveTo>
                  <a:pt x="6401" y="5487"/>
                </a:moveTo>
                <a:cubicBezTo>
                  <a:pt x="5896" y="5487"/>
                  <a:pt x="5487" y="5077"/>
                  <a:pt x="5487" y="4572"/>
                </a:cubicBezTo>
                <a:cubicBezTo>
                  <a:pt x="5487" y="4067"/>
                  <a:pt x="5896" y="3658"/>
                  <a:pt x="6401" y="3658"/>
                </a:cubicBezTo>
                <a:cubicBezTo>
                  <a:pt x="6907" y="3658"/>
                  <a:pt x="7316" y="4067"/>
                  <a:pt x="7316" y="4572"/>
                </a:cubicBezTo>
                <a:cubicBezTo>
                  <a:pt x="7316" y="5077"/>
                  <a:pt x="6907" y="5487"/>
                  <a:pt x="6401" y="5487"/>
                </a:cubicBezTo>
                <a:close/>
                <a:moveTo>
                  <a:pt x="9602" y="5487"/>
                </a:moveTo>
                <a:cubicBezTo>
                  <a:pt x="9097" y="5487"/>
                  <a:pt x="8687" y="5077"/>
                  <a:pt x="8687" y="4572"/>
                </a:cubicBezTo>
                <a:cubicBezTo>
                  <a:pt x="8687" y="4067"/>
                  <a:pt x="9097" y="3658"/>
                  <a:pt x="9602" y="3658"/>
                </a:cubicBezTo>
                <a:cubicBezTo>
                  <a:pt x="10107" y="3658"/>
                  <a:pt x="10516" y="4067"/>
                  <a:pt x="10516" y="4572"/>
                </a:cubicBezTo>
                <a:cubicBezTo>
                  <a:pt x="10516" y="5077"/>
                  <a:pt x="10107" y="5487"/>
                  <a:pt x="9602" y="5487"/>
                </a:cubicBezTo>
                <a:close/>
                <a:moveTo>
                  <a:pt x="9602" y="5487"/>
                </a:move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iconfont-1186-646597">
            <a:extLst>
              <a:ext uri="{FF2B5EF4-FFF2-40B4-BE49-F238E27FC236}">
                <a16:creationId xmlns:a16="http://schemas.microsoft.com/office/drawing/2014/main" id="{7524E441-F622-4406-9EA7-2381051AE5CF}"/>
              </a:ext>
            </a:extLst>
          </p:cNvPr>
          <p:cNvSpPr/>
          <p:nvPr/>
        </p:nvSpPr>
        <p:spPr>
          <a:xfrm>
            <a:off x="7156950" y="2604759"/>
            <a:ext cx="347326" cy="405834"/>
          </a:xfrm>
          <a:custGeom>
            <a:avLst/>
            <a:gdLst>
              <a:gd name="T0" fmla="*/ 8209 w 10908"/>
              <a:gd name="T1" fmla="*/ 2143 h 12744"/>
              <a:gd name="T2" fmla="*/ 8209 w 10908"/>
              <a:gd name="T3" fmla="*/ 1057 h 12744"/>
              <a:gd name="T4" fmla="*/ 7124 w 10908"/>
              <a:gd name="T5" fmla="*/ 0 h 12744"/>
              <a:gd name="T6" fmla="*/ 3840 w 10908"/>
              <a:gd name="T7" fmla="*/ 0 h 12744"/>
              <a:gd name="T8" fmla="*/ 2755 w 10908"/>
              <a:gd name="T9" fmla="*/ 1057 h 12744"/>
              <a:gd name="T10" fmla="*/ 2755 w 10908"/>
              <a:gd name="T11" fmla="*/ 2115 h 12744"/>
              <a:gd name="T12" fmla="*/ 0 w 10908"/>
              <a:gd name="T13" fmla="*/ 2115 h 12744"/>
              <a:gd name="T14" fmla="*/ 0 w 10908"/>
              <a:gd name="T15" fmla="*/ 3172 h 12744"/>
              <a:gd name="T16" fmla="*/ 1085 w 10908"/>
              <a:gd name="T17" fmla="*/ 3172 h 12744"/>
              <a:gd name="T18" fmla="*/ 1085 w 10908"/>
              <a:gd name="T19" fmla="*/ 11687 h 12744"/>
              <a:gd name="T20" fmla="*/ 2171 w 10908"/>
              <a:gd name="T21" fmla="*/ 12744 h 12744"/>
              <a:gd name="T22" fmla="*/ 8738 w 10908"/>
              <a:gd name="T23" fmla="*/ 12744 h 12744"/>
              <a:gd name="T24" fmla="*/ 9823 w 10908"/>
              <a:gd name="T25" fmla="*/ 11687 h 12744"/>
              <a:gd name="T26" fmla="*/ 9823 w 10908"/>
              <a:gd name="T27" fmla="*/ 3200 h 12744"/>
              <a:gd name="T28" fmla="*/ 10908 w 10908"/>
              <a:gd name="T29" fmla="*/ 3200 h 12744"/>
              <a:gd name="T30" fmla="*/ 10908 w 10908"/>
              <a:gd name="T31" fmla="*/ 2143 h 12744"/>
              <a:gd name="T32" fmla="*/ 8209 w 10908"/>
              <a:gd name="T33" fmla="*/ 2143 h 12744"/>
              <a:gd name="T34" fmla="*/ 4870 w 10908"/>
              <a:gd name="T35" fmla="*/ 10963 h 12744"/>
              <a:gd name="T36" fmla="*/ 3645 w 10908"/>
              <a:gd name="T37" fmla="*/ 10963 h 12744"/>
              <a:gd name="T38" fmla="*/ 3645 w 10908"/>
              <a:gd name="T39" fmla="*/ 4257 h 12744"/>
              <a:gd name="T40" fmla="*/ 4870 w 10908"/>
              <a:gd name="T41" fmla="*/ 4257 h 12744"/>
              <a:gd name="T42" fmla="*/ 4870 w 10908"/>
              <a:gd name="T43" fmla="*/ 10963 h 12744"/>
              <a:gd name="T44" fmla="*/ 7319 w 10908"/>
              <a:gd name="T45" fmla="*/ 10963 h 12744"/>
              <a:gd name="T46" fmla="*/ 6094 w 10908"/>
              <a:gd name="T47" fmla="*/ 10963 h 12744"/>
              <a:gd name="T48" fmla="*/ 6094 w 10908"/>
              <a:gd name="T49" fmla="*/ 4257 h 12744"/>
              <a:gd name="T50" fmla="*/ 7319 w 10908"/>
              <a:gd name="T51" fmla="*/ 4257 h 12744"/>
              <a:gd name="T52" fmla="*/ 7319 w 10908"/>
              <a:gd name="T53" fmla="*/ 10963 h 127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0908" h="12744">
                <a:moveTo>
                  <a:pt x="8209" y="2143"/>
                </a:moveTo>
                <a:lnTo>
                  <a:pt x="8209" y="1057"/>
                </a:lnTo>
                <a:cubicBezTo>
                  <a:pt x="8209" y="473"/>
                  <a:pt x="7708" y="0"/>
                  <a:pt x="7124" y="0"/>
                </a:cubicBezTo>
                <a:lnTo>
                  <a:pt x="3840" y="0"/>
                </a:lnTo>
                <a:cubicBezTo>
                  <a:pt x="3228" y="0"/>
                  <a:pt x="2755" y="473"/>
                  <a:pt x="2755" y="1057"/>
                </a:cubicBezTo>
                <a:lnTo>
                  <a:pt x="2755" y="2115"/>
                </a:lnTo>
                <a:lnTo>
                  <a:pt x="0" y="2115"/>
                </a:lnTo>
                <a:lnTo>
                  <a:pt x="0" y="3172"/>
                </a:lnTo>
                <a:lnTo>
                  <a:pt x="1085" y="3172"/>
                </a:lnTo>
                <a:lnTo>
                  <a:pt x="1085" y="11687"/>
                </a:lnTo>
                <a:cubicBezTo>
                  <a:pt x="1085" y="12271"/>
                  <a:pt x="1586" y="12744"/>
                  <a:pt x="2171" y="12744"/>
                </a:cubicBezTo>
                <a:lnTo>
                  <a:pt x="8738" y="12744"/>
                </a:lnTo>
                <a:cubicBezTo>
                  <a:pt x="9350" y="12744"/>
                  <a:pt x="9823" y="12271"/>
                  <a:pt x="9823" y="11687"/>
                </a:cubicBezTo>
                <a:lnTo>
                  <a:pt x="9823" y="3200"/>
                </a:lnTo>
                <a:lnTo>
                  <a:pt x="10908" y="3200"/>
                </a:lnTo>
                <a:lnTo>
                  <a:pt x="10908" y="2143"/>
                </a:lnTo>
                <a:lnTo>
                  <a:pt x="8209" y="2143"/>
                </a:lnTo>
                <a:close/>
                <a:moveTo>
                  <a:pt x="4870" y="10963"/>
                </a:moveTo>
                <a:lnTo>
                  <a:pt x="3645" y="10963"/>
                </a:lnTo>
                <a:lnTo>
                  <a:pt x="3645" y="4257"/>
                </a:lnTo>
                <a:lnTo>
                  <a:pt x="4870" y="4257"/>
                </a:lnTo>
                <a:lnTo>
                  <a:pt x="4870" y="10963"/>
                </a:lnTo>
                <a:close/>
                <a:moveTo>
                  <a:pt x="7319" y="10963"/>
                </a:moveTo>
                <a:lnTo>
                  <a:pt x="6094" y="10963"/>
                </a:lnTo>
                <a:lnTo>
                  <a:pt x="6094" y="4257"/>
                </a:lnTo>
                <a:lnTo>
                  <a:pt x="7319" y="4257"/>
                </a:lnTo>
                <a:lnTo>
                  <a:pt x="7319" y="1096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 name="iconfont-1186-646597">
            <a:extLst>
              <a:ext uri="{FF2B5EF4-FFF2-40B4-BE49-F238E27FC236}">
                <a16:creationId xmlns:a16="http://schemas.microsoft.com/office/drawing/2014/main" id="{580E14EF-BBEB-4067-B564-09B2001E7BE8}"/>
              </a:ext>
            </a:extLst>
          </p:cNvPr>
          <p:cNvSpPr/>
          <p:nvPr/>
        </p:nvSpPr>
        <p:spPr>
          <a:xfrm>
            <a:off x="9677886" y="2604760"/>
            <a:ext cx="266214" cy="405832"/>
          </a:xfrm>
          <a:custGeom>
            <a:avLst/>
            <a:gdLst>
              <a:gd name="T0" fmla="*/ 2621 w 8263"/>
              <a:gd name="T1" fmla="*/ 2307 h 12594"/>
              <a:gd name="T2" fmla="*/ 3643 w 8263"/>
              <a:gd name="T3" fmla="*/ 1308 h 12594"/>
              <a:gd name="T4" fmla="*/ 4777 w 8263"/>
              <a:gd name="T5" fmla="*/ 1308 h 12594"/>
              <a:gd name="T6" fmla="*/ 5799 w 8263"/>
              <a:gd name="T7" fmla="*/ 2307 h 12594"/>
              <a:gd name="T8" fmla="*/ 5799 w 8263"/>
              <a:gd name="T9" fmla="*/ 4735 h 12594"/>
              <a:gd name="T10" fmla="*/ 7139 w 8263"/>
              <a:gd name="T11" fmla="*/ 4735 h 12594"/>
              <a:gd name="T12" fmla="*/ 7139 w 8263"/>
              <a:gd name="T13" fmla="*/ 2307 h 12594"/>
              <a:gd name="T14" fmla="*/ 4777 w 8263"/>
              <a:gd name="T15" fmla="*/ 0 h 12594"/>
              <a:gd name="T16" fmla="*/ 3643 w 8263"/>
              <a:gd name="T17" fmla="*/ 0 h 12594"/>
              <a:gd name="T18" fmla="*/ 1282 w 8263"/>
              <a:gd name="T19" fmla="*/ 2307 h 12594"/>
              <a:gd name="T20" fmla="*/ 1282 w 8263"/>
              <a:gd name="T21" fmla="*/ 3426 h 12594"/>
              <a:gd name="T22" fmla="*/ 2621 w 8263"/>
              <a:gd name="T23" fmla="*/ 3426 h 12594"/>
              <a:gd name="T24" fmla="*/ 2621 w 8263"/>
              <a:gd name="T25" fmla="*/ 2307 h 12594"/>
              <a:gd name="T26" fmla="*/ 0 w 8263"/>
              <a:gd name="T27" fmla="*/ 5432 h 12594"/>
              <a:gd name="T28" fmla="*/ 0 w 8263"/>
              <a:gd name="T29" fmla="*/ 9095 h 12594"/>
              <a:gd name="T30" fmla="*/ 3581 w 8263"/>
              <a:gd name="T31" fmla="*/ 12594 h 12594"/>
              <a:gd name="T32" fmla="*/ 4683 w 8263"/>
              <a:gd name="T33" fmla="*/ 12594 h 12594"/>
              <a:gd name="T34" fmla="*/ 8263 w 8263"/>
              <a:gd name="T35" fmla="*/ 9095 h 12594"/>
              <a:gd name="T36" fmla="*/ 8263 w 8263"/>
              <a:gd name="T37" fmla="*/ 5432 h 12594"/>
              <a:gd name="T38" fmla="*/ 0 w 8263"/>
              <a:gd name="T39" fmla="*/ 5432 h 12594"/>
              <a:gd name="T40" fmla="*/ 4656 w 8263"/>
              <a:gd name="T41" fmla="*/ 8691 h 12594"/>
              <a:gd name="T42" fmla="*/ 4656 w 8263"/>
              <a:gd name="T43" fmla="*/ 10294 h 12594"/>
              <a:gd name="T44" fmla="*/ 4299 w 8263"/>
              <a:gd name="T45" fmla="*/ 10643 h 12594"/>
              <a:gd name="T46" fmla="*/ 3942 w 8263"/>
              <a:gd name="T47" fmla="*/ 10294 h 12594"/>
              <a:gd name="T48" fmla="*/ 3942 w 8263"/>
              <a:gd name="T49" fmla="*/ 8691 h 12594"/>
              <a:gd name="T50" fmla="*/ 3369 w 8263"/>
              <a:gd name="T51" fmla="*/ 7851 h 12594"/>
              <a:gd name="T52" fmla="*/ 4301 w 8263"/>
              <a:gd name="T53" fmla="*/ 6940 h 12594"/>
              <a:gd name="T54" fmla="*/ 5232 w 8263"/>
              <a:gd name="T55" fmla="*/ 7851 h 12594"/>
              <a:gd name="T56" fmla="*/ 4656 w 8263"/>
              <a:gd name="T57" fmla="*/ 8691 h 12594"/>
              <a:gd name="T58" fmla="*/ 4656 w 8263"/>
              <a:gd name="T59" fmla="*/ 8691 h 125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263" h="12594">
                <a:moveTo>
                  <a:pt x="2621" y="2307"/>
                </a:moveTo>
                <a:cubicBezTo>
                  <a:pt x="2622" y="1756"/>
                  <a:pt x="3079" y="1309"/>
                  <a:pt x="3643" y="1308"/>
                </a:cubicBezTo>
                <a:lnTo>
                  <a:pt x="4777" y="1308"/>
                </a:lnTo>
                <a:cubicBezTo>
                  <a:pt x="5341" y="1309"/>
                  <a:pt x="5798" y="1756"/>
                  <a:pt x="5799" y="2307"/>
                </a:cubicBezTo>
                <a:lnTo>
                  <a:pt x="5799" y="4735"/>
                </a:lnTo>
                <a:lnTo>
                  <a:pt x="7139" y="4735"/>
                </a:lnTo>
                <a:lnTo>
                  <a:pt x="7139" y="2307"/>
                </a:lnTo>
                <a:cubicBezTo>
                  <a:pt x="7138" y="1033"/>
                  <a:pt x="6082" y="0"/>
                  <a:pt x="4777" y="0"/>
                </a:cubicBezTo>
                <a:lnTo>
                  <a:pt x="3643" y="0"/>
                </a:lnTo>
                <a:cubicBezTo>
                  <a:pt x="2339" y="0"/>
                  <a:pt x="1282" y="1033"/>
                  <a:pt x="1282" y="2307"/>
                </a:cubicBezTo>
                <a:lnTo>
                  <a:pt x="1282" y="3426"/>
                </a:lnTo>
                <a:lnTo>
                  <a:pt x="2621" y="3426"/>
                </a:lnTo>
                <a:lnTo>
                  <a:pt x="2621" y="2307"/>
                </a:lnTo>
                <a:close/>
                <a:moveTo>
                  <a:pt x="0" y="5432"/>
                </a:moveTo>
                <a:lnTo>
                  <a:pt x="0" y="9095"/>
                </a:lnTo>
                <a:cubicBezTo>
                  <a:pt x="0" y="11029"/>
                  <a:pt x="1603" y="12594"/>
                  <a:pt x="3581" y="12594"/>
                </a:cubicBezTo>
                <a:lnTo>
                  <a:pt x="4683" y="12594"/>
                </a:lnTo>
                <a:cubicBezTo>
                  <a:pt x="6660" y="12594"/>
                  <a:pt x="8263" y="11028"/>
                  <a:pt x="8263" y="9095"/>
                </a:cubicBezTo>
                <a:lnTo>
                  <a:pt x="8263" y="5432"/>
                </a:lnTo>
                <a:lnTo>
                  <a:pt x="0" y="5432"/>
                </a:lnTo>
                <a:close/>
                <a:moveTo>
                  <a:pt x="4656" y="8691"/>
                </a:moveTo>
                <a:lnTo>
                  <a:pt x="4656" y="10294"/>
                </a:lnTo>
                <a:cubicBezTo>
                  <a:pt x="4656" y="10486"/>
                  <a:pt x="4496" y="10643"/>
                  <a:pt x="4299" y="10643"/>
                </a:cubicBezTo>
                <a:cubicBezTo>
                  <a:pt x="4102" y="10643"/>
                  <a:pt x="3942" y="10486"/>
                  <a:pt x="3942" y="10294"/>
                </a:cubicBezTo>
                <a:lnTo>
                  <a:pt x="3942" y="8691"/>
                </a:lnTo>
                <a:cubicBezTo>
                  <a:pt x="3606" y="8553"/>
                  <a:pt x="3369" y="8229"/>
                  <a:pt x="3369" y="7851"/>
                </a:cubicBezTo>
                <a:cubicBezTo>
                  <a:pt x="3369" y="7348"/>
                  <a:pt x="3786" y="6940"/>
                  <a:pt x="4301" y="6940"/>
                </a:cubicBezTo>
                <a:cubicBezTo>
                  <a:pt x="4815" y="6940"/>
                  <a:pt x="5232" y="7348"/>
                  <a:pt x="5232" y="7851"/>
                </a:cubicBezTo>
                <a:cubicBezTo>
                  <a:pt x="5232" y="8230"/>
                  <a:pt x="4994" y="8555"/>
                  <a:pt x="4656" y="8691"/>
                </a:cubicBezTo>
                <a:close/>
                <a:moveTo>
                  <a:pt x="4656" y="8691"/>
                </a:move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spTree>
    <p:extLst>
      <p:ext uri="{BB962C8B-B14F-4D97-AF65-F5344CB8AC3E}">
        <p14:creationId xmlns:p14="http://schemas.microsoft.com/office/powerpoint/2010/main" val="3869934840"/>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2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矩形: 圆角 2">
            <a:extLst>
              <a:ext uri="{FF2B5EF4-FFF2-40B4-BE49-F238E27FC236}">
                <a16:creationId xmlns:a16="http://schemas.microsoft.com/office/drawing/2014/main" id="{1576BF80-6B20-4F0C-9E73-34CD96809BE1}"/>
              </a:ext>
            </a:extLst>
          </p:cNvPr>
          <p:cNvSpPr/>
          <p:nvPr/>
        </p:nvSpPr>
        <p:spPr>
          <a:xfrm>
            <a:off x="1014046" y="2118947"/>
            <a:ext cx="2066192" cy="3024554"/>
          </a:xfrm>
          <a:prstGeom prst="roundRect">
            <a:avLst>
              <a:gd name="adj" fmla="val 15390"/>
            </a:avLst>
          </a:prstGeom>
          <a:solidFill>
            <a:schemeClr val="bg1"/>
          </a:solidFill>
          <a:ln>
            <a:solidFill>
              <a:schemeClr val="accent1"/>
            </a:solidFill>
          </a:ln>
          <a:effectLst>
            <a:outerShdw blurRad="254000" dist="127000" dir="5400000" algn="t"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endParaRPr lang="zh-CN" altLang="en-US" sz="1600">
              <a:solidFill>
                <a:schemeClr val="bg1"/>
              </a:solidFill>
              <a:latin typeface="+mj-ea"/>
              <a:ea typeface="+mj-ea"/>
            </a:endParaRPr>
          </a:p>
        </p:txBody>
      </p:sp>
      <p:sp>
        <p:nvSpPr>
          <p:cNvPr id="9" name="任意多边形: 形状 8">
            <a:extLst>
              <a:ext uri="{FF2B5EF4-FFF2-40B4-BE49-F238E27FC236}">
                <a16:creationId xmlns:a16="http://schemas.microsoft.com/office/drawing/2014/main" id="{AAA8F249-BC8A-40B7-A003-CECB5B260B55}"/>
              </a:ext>
            </a:extLst>
          </p:cNvPr>
          <p:cNvSpPr/>
          <p:nvPr/>
        </p:nvSpPr>
        <p:spPr>
          <a:xfrm>
            <a:off x="1014046" y="2118947"/>
            <a:ext cx="2066192" cy="1314814"/>
          </a:xfrm>
          <a:custGeom>
            <a:avLst/>
            <a:gdLst>
              <a:gd name="connsiteX0" fmla="*/ 317987 w 2066192"/>
              <a:gd name="connsiteY0" fmla="*/ 0 h 1314814"/>
              <a:gd name="connsiteX1" fmla="*/ 1748205 w 2066192"/>
              <a:gd name="connsiteY1" fmla="*/ 0 h 1314814"/>
              <a:gd name="connsiteX2" fmla="*/ 2066192 w 2066192"/>
              <a:gd name="connsiteY2" fmla="*/ 317987 h 1314814"/>
              <a:gd name="connsiteX3" fmla="*/ 2066192 w 2066192"/>
              <a:gd name="connsiteY3" fmla="*/ 976366 h 1314814"/>
              <a:gd name="connsiteX4" fmla="*/ 1933868 w 2066192"/>
              <a:gd name="connsiteY4" fmla="*/ 1027582 h 1314814"/>
              <a:gd name="connsiteX5" fmla="*/ 1273783 w 2066192"/>
              <a:gd name="connsiteY5" fmla="*/ 1163220 h 1314814"/>
              <a:gd name="connsiteX6" fmla="*/ 1117375 w 2066192"/>
              <a:gd name="connsiteY6" fmla="*/ 1169506 h 1314814"/>
              <a:gd name="connsiteX7" fmla="*/ 1033096 w 2066192"/>
              <a:gd name="connsiteY7" fmla="*/ 1314814 h 1314814"/>
              <a:gd name="connsiteX8" fmla="*/ 948817 w 2066192"/>
              <a:gd name="connsiteY8" fmla="*/ 1169506 h 1314814"/>
              <a:gd name="connsiteX9" fmla="*/ 792410 w 2066192"/>
              <a:gd name="connsiteY9" fmla="*/ 1163220 h 1314814"/>
              <a:gd name="connsiteX10" fmla="*/ 132324 w 2066192"/>
              <a:gd name="connsiteY10" fmla="*/ 1027582 h 1314814"/>
              <a:gd name="connsiteX11" fmla="*/ 0 w 2066192"/>
              <a:gd name="connsiteY11" fmla="*/ 976366 h 1314814"/>
              <a:gd name="connsiteX12" fmla="*/ 0 w 2066192"/>
              <a:gd name="connsiteY12" fmla="*/ 317987 h 1314814"/>
              <a:gd name="connsiteX13" fmla="*/ 317987 w 2066192"/>
              <a:gd name="connsiteY13" fmla="*/ 0 h 13148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066192" h="1314814">
                <a:moveTo>
                  <a:pt x="317987" y="0"/>
                </a:moveTo>
                <a:lnTo>
                  <a:pt x="1748205" y="0"/>
                </a:lnTo>
                <a:cubicBezTo>
                  <a:pt x="1923824" y="0"/>
                  <a:pt x="2066192" y="142368"/>
                  <a:pt x="2066192" y="317987"/>
                </a:cubicBezTo>
                <a:lnTo>
                  <a:pt x="2066192" y="976366"/>
                </a:lnTo>
                <a:lnTo>
                  <a:pt x="1933868" y="1027582"/>
                </a:lnTo>
                <a:cubicBezTo>
                  <a:pt x="1733044" y="1097085"/>
                  <a:pt x="1510232" y="1144071"/>
                  <a:pt x="1273783" y="1163220"/>
                </a:cubicBezTo>
                <a:lnTo>
                  <a:pt x="1117375" y="1169506"/>
                </a:lnTo>
                <a:lnTo>
                  <a:pt x="1033096" y="1314814"/>
                </a:lnTo>
                <a:lnTo>
                  <a:pt x="948817" y="1169506"/>
                </a:lnTo>
                <a:lnTo>
                  <a:pt x="792410" y="1163220"/>
                </a:lnTo>
                <a:cubicBezTo>
                  <a:pt x="555960" y="1144071"/>
                  <a:pt x="333149" y="1097085"/>
                  <a:pt x="132324" y="1027582"/>
                </a:cubicBezTo>
                <a:lnTo>
                  <a:pt x="0" y="976366"/>
                </a:lnTo>
                <a:lnTo>
                  <a:pt x="0" y="317987"/>
                </a:lnTo>
                <a:cubicBezTo>
                  <a:pt x="0" y="142368"/>
                  <a:pt x="142368" y="0"/>
                  <a:pt x="317987" y="0"/>
                </a:cubicBezTo>
                <a:close/>
              </a:path>
            </a:pathLst>
          </a:custGeom>
          <a:gradFill>
            <a:gsLst>
              <a:gs pos="0">
                <a:schemeClr val="accent1"/>
              </a:gs>
              <a:gs pos="100000">
                <a:schemeClr val="accent1">
                  <a:lumMod val="75000"/>
                </a:schemeClr>
              </a:gs>
            </a:gsLst>
            <a:lin ang="2700000" scaled="0"/>
          </a:gradFill>
          <a:ln w="25400" cap="flat" cmpd="sng" algn="ctr">
            <a:noFill/>
            <a:prstDash val="solid"/>
            <a:miter lim="800000"/>
          </a:ln>
          <a:effectLst>
            <a:outerShdw blurRad="254000" dist="88900" dir="2700000" algn="tl" rotWithShape="0">
              <a:schemeClr val="accent1">
                <a:lumMod val="50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zh-CN" altLang="en-US"/>
          </a:p>
        </p:txBody>
      </p:sp>
      <p:sp>
        <p:nvSpPr>
          <p:cNvPr id="10" name="文本框 9">
            <a:extLst>
              <a:ext uri="{FF2B5EF4-FFF2-40B4-BE49-F238E27FC236}">
                <a16:creationId xmlns:a16="http://schemas.microsoft.com/office/drawing/2014/main" id="{E56A05D2-FEB4-46F8-8088-A84533AF8662}"/>
              </a:ext>
            </a:extLst>
          </p:cNvPr>
          <p:cNvSpPr txBox="1"/>
          <p:nvPr/>
        </p:nvSpPr>
        <p:spPr>
          <a:xfrm>
            <a:off x="1447433" y="3613597"/>
            <a:ext cx="1282402" cy="307777"/>
          </a:xfrm>
          <a:prstGeom prst="rect">
            <a:avLst/>
          </a:prstGeom>
          <a:noFill/>
          <a:effectLst/>
        </p:spPr>
        <p:txBody>
          <a:bodyPr wrap="none" lIns="0" tIns="0" rIns="0" bIns="0" rtlCol="0" anchor="t">
            <a:spAutoFit/>
          </a:bodyPr>
          <a:lstStyle/>
          <a:p>
            <a:pPr algn="ctr"/>
            <a:r>
              <a:rPr lang="zh-CN" altLang="en-US" sz="2000" dirty="0">
                <a:solidFill>
                  <a:schemeClr val="accent1"/>
                </a:solidFill>
                <a:latin typeface="+mj-ea"/>
                <a:ea typeface="+mj-ea"/>
              </a:rPr>
              <a:t>关键词标题</a:t>
            </a:r>
          </a:p>
        </p:txBody>
      </p:sp>
      <p:sp>
        <p:nvSpPr>
          <p:cNvPr id="11" name="文本框 10">
            <a:extLst>
              <a:ext uri="{FF2B5EF4-FFF2-40B4-BE49-F238E27FC236}">
                <a16:creationId xmlns:a16="http://schemas.microsoft.com/office/drawing/2014/main" id="{68AC897A-E1C3-417D-B76D-B7C07FE3F803}"/>
              </a:ext>
            </a:extLst>
          </p:cNvPr>
          <p:cNvSpPr txBox="1"/>
          <p:nvPr/>
        </p:nvSpPr>
        <p:spPr>
          <a:xfrm>
            <a:off x="1319193" y="4074575"/>
            <a:ext cx="1538882" cy="944939"/>
          </a:xfrm>
          <a:prstGeom prst="rect">
            <a:avLst/>
          </a:prstGeom>
          <a:noFill/>
          <a:effectLst/>
        </p:spPr>
        <p:txBody>
          <a:bodyPr wrap="square" lIns="0" tIns="0" rIns="0" bIns="0" rtlCol="0" anchor="t">
            <a:spAutoFit/>
          </a:bodyPr>
          <a:lstStyle/>
          <a:p>
            <a:pPr algn="ctr">
              <a:lnSpc>
                <a:spcPct val="130000"/>
              </a:lnSpc>
            </a:pPr>
            <a:r>
              <a:rPr lang="en-US" altLang="zh-CN" sz="1200" b="0" dirty="0">
                <a:solidFill>
                  <a:schemeClr val="tx1">
                    <a:lumMod val="75000"/>
                    <a:lumOff val="25000"/>
                  </a:schemeClr>
                </a:solidFill>
                <a:effectLst/>
                <a:latin typeface="+mn-ea"/>
              </a:rPr>
              <a:t>Lorem ipsum dolor sit ametconsectetur adipisicing elit</a:t>
            </a:r>
            <a:r>
              <a:rPr lang="en-US" altLang="zh-CN" sz="1200" dirty="0">
                <a:solidFill>
                  <a:schemeClr val="tx1">
                    <a:lumMod val="75000"/>
                    <a:lumOff val="25000"/>
                  </a:schemeClr>
                </a:solidFill>
                <a:latin typeface="+mn-ea"/>
              </a:rPr>
              <a:t> </a:t>
            </a:r>
            <a:r>
              <a:rPr lang="en-US" altLang="zh-CN" sz="1200" b="0" dirty="0">
                <a:solidFill>
                  <a:schemeClr val="tx1">
                    <a:lumMod val="75000"/>
                    <a:lumOff val="25000"/>
                  </a:schemeClr>
                </a:solidFill>
                <a:effectLst/>
                <a:latin typeface="+mn-ea"/>
              </a:rPr>
              <a:t>sed do eiusmod tempor</a:t>
            </a:r>
            <a:endParaRPr lang="zh-CN" altLang="en-US" sz="1200" b="0" dirty="0">
              <a:solidFill>
                <a:schemeClr val="tx1">
                  <a:lumMod val="75000"/>
                  <a:lumOff val="25000"/>
                </a:schemeClr>
              </a:solidFill>
              <a:effectLst/>
              <a:latin typeface="+mn-ea"/>
            </a:endParaRPr>
          </a:p>
        </p:txBody>
      </p:sp>
      <p:cxnSp>
        <p:nvCxnSpPr>
          <p:cNvPr id="12" name="直接连接符 11">
            <a:extLst>
              <a:ext uri="{FF2B5EF4-FFF2-40B4-BE49-F238E27FC236}">
                <a16:creationId xmlns:a16="http://schemas.microsoft.com/office/drawing/2014/main" id="{A13102BC-5796-4179-ABA5-E62D8B4B82BE}"/>
              </a:ext>
            </a:extLst>
          </p:cNvPr>
          <p:cNvCxnSpPr/>
          <p:nvPr/>
        </p:nvCxnSpPr>
        <p:spPr>
          <a:xfrm>
            <a:off x="1931252" y="3992025"/>
            <a:ext cx="320040" cy="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13" name="椭圆 12">
            <a:extLst>
              <a:ext uri="{FF2B5EF4-FFF2-40B4-BE49-F238E27FC236}">
                <a16:creationId xmlns:a16="http://schemas.microsoft.com/office/drawing/2014/main" id="{720C8146-D0BC-4D31-814C-29A3F59A2A7E}"/>
              </a:ext>
            </a:extLst>
          </p:cNvPr>
          <p:cNvSpPr/>
          <p:nvPr/>
        </p:nvSpPr>
        <p:spPr>
          <a:xfrm>
            <a:off x="1650902" y="2280367"/>
            <a:ext cx="792480" cy="792480"/>
          </a:xfrm>
          <a:prstGeom prst="ellipse">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14" name="iconfont-1179-866479">
            <a:extLst>
              <a:ext uri="{FF2B5EF4-FFF2-40B4-BE49-F238E27FC236}">
                <a16:creationId xmlns:a16="http://schemas.microsoft.com/office/drawing/2014/main" id="{8FC5DC02-A9F1-4B7F-8644-B95F6FB829C1}"/>
              </a:ext>
            </a:extLst>
          </p:cNvPr>
          <p:cNvSpPr/>
          <p:nvPr/>
        </p:nvSpPr>
        <p:spPr>
          <a:xfrm>
            <a:off x="1852357" y="2442747"/>
            <a:ext cx="389570" cy="461396"/>
          </a:xfrm>
          <a:custGeom>
            <a:avLst/>
            <a:gdLst>
              <a:gd name="T0" fmla="*/ 6573 w 9390"/>
              <a:gd name="T1" fmla="*/ 3437 h 11120"/>
              <a:gd name="T2" fmla="*/ 7967 w 9390"/>
              <a:gd name="T3" fmla="*/ 1730 h 11120"/>
              <a:gd name="T4" fmla="*/ 5311 w 9390"/>
              <a:gd name="T5" fmla="*/ 1140 h 11120"/>
              <a:gd name="T6" fmla="*/ 3129 w 9390"/>
              <a:gd name="T7" fmla="*/ 876 h 11120"/>
              <a:gd name="T8" fmla="*/ 2455 w 9390"/>
              <a:gd name="T9" fmla="*/ 3147 h 11120"/>
              <a:gd name="T10" fmla="*/ 7438 w 9390"/>
              <a:gd name="T11" fmla="*/ 4336 h 11120"/>
              <a:gd name="T12" fmla="*/ 2969 w 9390"/>
              <a:gd name="T13" fmla="*/ 4006 h 11120"/>
              <a:gd name="T14" fmla="*/ 0 w 9390"/>
              <a:gd name="T15" fmla="*/ 8570 h 11120"/>
              <a:gd name="T16" fmla="*/ 6860 w 9390"/>
              <a:gd name="T17" fmla="*/ 11120 h 11120"/>
              <a:gd name="T18" fmla="*/ 7438 w 9390"/>
              <a:gd name="T19" fmla="*/ 4336 h 11120"/>
              <a:gd name="T20" fmla="*/ 5549 w 9390"/>
              <a:gd name="T21" fmla="*/ 7248 h 11120"/>
              <a:gd name="T22" fmla="*/ 5919 w 9390"/>
              <a:gd name="T23" fmla="*/ 7515 h 11120"/>
              <a:gd name="T24" fmla="*/ 6098 w 9390"/>
              <a:gd name="T25" fmla="*/ 7695 h 11120"/>
              <a:gd name="T26" fmla="*/ 5384 w 9390"/>
              <a:gd name="T27" fmla="*/ 7874 h 11120"/>
              <a:gd name="T28" fmla="*/ 5195 w 9390"/>
              <a:gd name="T29" fmla="*/ 8151 h 11120"/>
              <a:gd name="T30" fmla="*/ 5919 w 9390"/>
              <a:gd name="T31" fmla="*/ 8331 h 11120"/>
              <a:gd name="T32" fmla="*/ 5919 w 9390"/>
              <a:gd name="T33" fmla="*/ 8690 h 11120"/>
              <a:gd name="T34" fmla="*/ 5195 w 9390"/>
              <a:gd name="T35" fmla="*/ 8870 h 11120"/>
              <a:gd name="T36" fmla="*/ 5015 w 9390"/>
              <a:gd name="T37" fmla="*/ 9507 h 11120"/>
              <a:gd name="T38" fmla="*/ 4510 w 9390"/>
              <a:gd name="T39" fmla="*/ 9327 h 11120"/>
              <a:gd name="T40" fmla="*/ 4330 w 9390"/>
              <a:gd name="T41" fmla="*/ 8690 h 11120"/>
              <a:gd name="T42" fmla="*/ 3612 w 9390"/>
              <a:gd name="T43" fmla="*/ 8510 h 11120"/>
              <a:gd name="T44" fmla="*/ 4329 w 9390"/>
              <a:gd name="T45" fmla="*/ 8331 h 11120"/>
              <a:gd name="T46" fmla="*/ 4511 w 9390"/>
              <a:gd name="T47" fmla="*/ 8063 h 11120"/>
              <a:gd name="T48" fmla="*/ 3792 w 9390"/>
              <a:gd name="T49" fmla="*/ 7873 h 11120"/>
              <a:gd name="T50" fmla="*/ 3612 w 9390"/>
              <a:gd name="T51" fmla="*/ 7694 h 11120"/>
              <a:gd name="T52" fmla="*/ 3999 w 9390"/>
              <a:gd name="T53" fmla="*/ 7514 h 11120"/>
              <a:gd name="T54" fmla="*/ 3406 w 9390"/>
              <a:gd name="T55" fmla="*/ 5887 h 11120"/>
              <a:gd name="T56" fmla="*/ 3920 w 9390"/>
              <a:gd name="T57" fmla="*/ 5620 h 11120"/>
              <a:gd name="T58" fmla="*/ 4691 w 9390"/>
              <a:gd name="T59" fmla="*/ 6937 h 11120"/>
              <a:gd name="T60" fmla="*/ 5623 w 9390"/>
              <a:gd name="T61" fmla="*/ 5719 h 11120"/>
              <a:gd name="T62" fmla="*/ 6140 w 9390"/>
              <a:gd name="T63" fmla="*/ 5620 h 1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390" h="11120">
                <a:moveTo>
                  <a:pt x="3078" y="3437"/>
                </a:moveTo>
                <a:lnTo>
                  <a:pt x="6573" y="3437"/>
                </a:lnTo>
                <a:cubicBezTo>
                  <a:pt x="6809" y="3437"/>
                  <a:pt x="7036" y="3338"/>
                  <a:pt x="7187" y="3157"/>
                </a:cubicBezTo>
                <a:cubicBezTo>
                  <a:pt x="7548" y="2728"/>
                  <a:pt x="7890" y="2202"/>
                  <a:pt x="7967" y="1730"/>
                </a:cubicBezTo>
                <a:cubicBezTo>
                  <a:pt x="8121" y="786"/>
                  <a:pt x="7717" y="307"/>
                  <a:pt x="6544" y="307"/>
                </a:cubicBezTo>
                <a:cubicBezTo>
                  <a:pt x="5370" y="307"/>
                  <a:pt x="5767" y="1077"/>
                  <a:pt x="5311" y="1140"/>
                </a:cubicBezTo>
                <a:cubicBezTo>
                  <a:pt x="4971" y="1187"/>
                  <a:pt x="4983" y="739"/>
                  <a:pt x="4449" y="308"/>
                </a:cubicBezTo>
                <a:cubicBezTo>
                  <a:pt x="4066" y="0"/>
                  <a:pt x="3636" y="871"/>
                  <a:pt x="3129" y="876"/>
                </a:cubicBezTo>
                <a:cubicBezTo>
                  <a:pt x="2538" y="884"/>
                  <a:pt x="1707" y="720"/>
                  <a:pt x="1707" y="1730"/>
                </a:cubicBezTo>
                <a:cubicBezTo>
                  <a:pt x="1707" y="2138"/>
                  <a:pt x="2065" y="2690"/>
                  <a:pt x="2455" y="3147"/>
                </a:cubicBezTo>
                <a:cubicBezTo>
                  <a:pt x="2612" y="3330"/>
                  <a:pt x="2838" y="3437"/>
                  <a:pt x="3078" y="3437"/>
                </a:cubicBezTo>
                <a:close/>
                <a:moveTo>
                  <a:pt x="7438" y="4336"/>
                </a:moveTo>
                <a:cubicBezTo>
                  <a:pt x="7252" y="4125"/>
                  <a:pt x="6981" y="4006"/>
                  <a:pt x="6699" y="4006"/>
                </a:cubicBezTo>
                <a:lnTo>
                  <a:pt x="2969" y="4006"/>
                </a:lnTo>
                <a:cubicBezTo>
                  <a:pt x="2700" y="4006"/>
                  <a:pt x="2440" y="4115"/>
                  <a:pt x="2253" y="4310"/>
                </a:cubicBezTo>
                <a:cubicBezTo>
                  <a:pt x="1081" y="5538"/>
                  <a:pt x="0" y="7291"/>
                  <a:pt x="0" y="8570"/>
                </a:cubicBezTo>
                <a:cubicBezTo>
                  <a:pt x="0" y="9697"/>
                  <a:pt x="1133" y="11120"/>
                  <a:pt x="2530" y="11120"/>
                </a:cubicBezTo>
                <a:lnTo>
                  <a:pt x="6860" y="11120"/>
                </a:lnTo>
                <a:cubicBezTo>
                  <a:pt x="8257" y="11120"/>
                  <a:pt x="9390" y="9709"/>
                  <a:pt x="9390" y="8570"/>
                </a:cubicBezTo>
                <a:cubicBezTo>
                  <a:pt x="9390" y="7268"/>
                  <a:pt x="8520" y="5564"/>
                  <a:pt x="7438" y="4336"/>
                </a:cubicBezTo>
                <a:close/>
                <a:moveTo>
                  <a:pt x="6299" y="5888"/>
                </a:moveTo>
                <a:lnTo>
                  <a:pt x="5549" y="7248"/>
                </a:lnTo>
                <a:cubicBezTo>
                  <a:pt x="5483" y="7368"/>
                  <a:pt x="5570" y="7515"/>
                  <a:pt x="5706" y="7515"/>
                </a:cubicBezTo>
                <a:lnTo>
                  <a:pt x="5919" y="7515"/>
                </a:lnTo>
                <a:cubicBezTo>
                  <a:pt x="6017" y="7515"/>
                  <a:pt x="6098" y="7595"/>
                  <a:pt x="6098" y="7695"/>
                </a:cubicBezTo>
                <a:lnTo>
                  <a:pt x="6098" y="7695"/>
                </a:lnTo>
                <a:cubicBezTo>
                  <a:pt x="6098" y="7793"/>
                  <a:pt x="6018" y="7874"/>
                  <a:pt x="5919" y="7874"/>
                </a:cubicBezTo>
                <a:lnTo>
                  <a:pt x="5384" y="7874"/>
                </a:lnTo>
                <a:cubicBezTo>
                  <a:pt x="5279" y="7874"/>
                  <a:pt x="5196" y="7958"/>
                  <a:pt x="5195" y="8062"/>
                </a:cubicBezTo>
                <a:lnTo>
                  <a:pt x="5195" y="8151"/>
                </a:lnTo>
                <a:cubicBezTo>
                  <a:pt x="5195" y="8249"/>
                  <a:pt x="5275" y="8331"/>
                  <a:pt x="5375" y="8331"/>
                </a:cubicBezTo>
                <a:lnTo>
                  <a:pt x="5919" y="8331"/>
                </a:lnTo>
                <a:cubicBezTo>
                  <a:pt x="6017" y="8331"/>
                  <a:pt x="6098" y="8411"/>
                  <a:pt x="6098" y="8510"/>
                </a:cubicBezTo>
                <a:cubicBezTo>
                  <a:pt x="6098" y="8610"/>
                  <a:pt x="6018" y="8690"/>
                  <a:pt x="5919" y="8690"/>
                </a:cubicBezTo>
                <a:lnTo>
                  <a:pt x="5375" y="8690"/>
                </a:lnTo>
                <a:cubicBezTo>
                  <a:pt x="5276" y="8690"/>
                  <a:pt x="5195" y="8770"/>
                  <a:pt x="5195" y="8870"/>
                </a:cubicBezTo>
                <a:lnTo>
                  <a:pt x="5195" y="9327"/>
                </a:lnTo>
                <a:cubicBezTo>
                  <a:pt x="5195" y="9426"/>
                  <a:pt x="5115" y="9507"/>
                  <a:pt x="5015" y="9507"/>
                </a:cubicBezTo>
                <a:lnTo>
                  <a:pt x="4690" y="9507"/>
                </a:lnTo>
                <a:cubicBezTo>
                  <a:pt x="4591" y="9507"/>
                  <a:pt x="4510" y="9427"/>
                  <a:pt x="4510" y="9327"/>
                </a:cubicBezTo>
                <a:lnTo>
                  <a:pt x="4510" y="8870"/>
                </a:lnTo>
                <a:cubicBezTo>
                  <a:pt x="4510" y="8771"/>
                  <a:pt x="4430" y="8690"/>
                  <a:pt x="4330" y="8690"/>
                </a:cubicBezTo>
                <a:lnTo>
                  <a:pt x="3792" y="8690"/>
                </a:lnTo>
                <a:cubicBezTo>
                  <a:pt x="3693" y="8690"/>
                  <a:pt x="3612" y="8610"/>
                  <a:pt x="3612" y="8510"/>
                </a:cubicBezTo>
                <a:cubicBezTo>
                  <a:pt x="3612" y="8411"/>
                  <a:pt x="3692" y="8331"/>
                  <a:pt x="3792" y="8331"/>
                </a:cubicBezTo>
                <a:lnTo>
                  <a:pt x="4329" y="8331"/>
                </a:lnTo>
                <a:cubicBezTo>
                  <a:pt x="4429" y="8331"/>
                  <a:pt x="4509" y="8251"/>
                  <a:pt x="4510" y="8151"/>
                </a:cubicBezTo>
                <a:lnTo>
                  <a:pt x="4511" y="8063"/>
                </a:lnTo>
                <a:cubicBezTo>
                  <a:pt x="4512" y="7959"/>
                  <a:pt x="4427" y="7873"/>
                  <a:pt x="4322" y="7873"/>
                </a:cubicBezTo>
                <a:lnTo>
                  <a:pt x="3792" y="7873"/>
                </a:lnTo>
                <a:cubicBezTo>
                  <a:pt x="3693" y="7873"/>
                  <a:pt x="3612" y="7793"/>
                  <a:pt x="3612" y="7694"/>
                </a:cubicBezTo>
                <a:lnTo>
                  <a:pt x="3612" y="7694"/>
                </a:lnTo>
                <a:cubicBezTo>
                  <a:pt x="3612" y="7595"/>
                  <a:pt x="3692" y="7514"/>
                  <a:pt x="3792" y="7514"/>
                </a:cubicBezTo>
                <a:lnTo>
                  <a:pt x="3999" y="7514"/>
                </a:lnTo>
                <a:cubicBezTo>
                  <a:pt x="4136" y="7514"/>
                  <a:pt x="4221" y="7367"/>
                  <a:pt x="4156" y="7247"/>
                </a:cubicBezTo>
                <a:lnTo>
                  <a:pt x="3406" y="5887"/>
                </a:lnTo>
                <a:cubicBezTo>
                  <a:pt x="3340" y="5767"/>
                  <a:pt x="3426" y="5620"/>
                  <a:pt x="3562" y="5620"/>
                </a:cubicBezTo>
                <a:lnTo>
                  <a:pt x="3920" y="5620"/>
                </a:lnTo>
                <a:cubicBezTo>
                  <a:pt x="3988" y="5620"/>
                  <a:pt x="4050" y="5659"/>
                  <a:pt x="4080" y="5719"/>
                </a:cubicBezTo>
                <a:lnTo>
                  <a:pt x="4691" y="6937"/>
                </a:lnTo>
                <a:cubicBezTo>
                  <a:pt x="4756" y="7069"/>
                  <a:pt x="4945" y="7069"/>
                  <a:pt x="5012" y="6937"/>
                </a:cubicBezTo>
                <a:lnTo>
                  <a:pt x="5623" y="5719"/>
                </a:lnTo>
                <a:cubicBezTo>
                  <a:pt x="5653" y="5659"/>
                  <a:pt x="5715" y="5620"/>
                  <a:pt x="5783" y="5620"/>
                </a:cubicBezTo>
                <a:lnTo>
                  <a:pt x="6140" y="5620"/>
                </a:lnTo>
                <a:cubicBezTo>
                  <a:pt x="6278" y="5622"/>
                  <a:pt x="6365" y="5768"/>
                  <a:pt x="6299" y="588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矩形: 圆角 16">
            <a:extLst>
              <a:ext uri="{FF2B5EF4-FFF2-40B4-BE49-F238E27FC236}">
                <a16:creationId xmlns:a16="http://schemas.microsoft.com/office/drawing/2014/main" id="{DFF33A31-F237-4790-A574-7B2EB8AE2CD3}"/>
              </a:ext>
            </a:extLst>
          </p:cNvPr>
          <p:cNvSpPr/>
          <p:nvPr/>
        </p:nvSpPr>
        <p:spPr>
          <a:xfrm>
            <a:off x="3713285" y="2118947"/>
            <a:ext cx="2066192" cy="3024554"/>
          </a:xfrm>
          <a:prstGeom prst="roundRect">
            <a:avLst>
              <a:gd name="adj" fmla="val 15390"/>
            </a:avLst>
          </a:prstGeom>
          <a:solidFill>
            <a:schemeClr val="bg1"/>
          </a:solidFill>
          <a:ln>
            <a:solidFill>
              <a:schemeClr val="accent1"/>
            </a:solidFill>
          </a:ln>
          <a:effectLst>
            <a:outerShdw blurRad="254000" dist="127000" dir="5400000" algn="t"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endParaRPr lang="zh-CN" altLang="en-US" sz="1600">
              <a:solidFill>
                <a:schemeClr val="bg1"/>
              </a:solidFill>
              <a:latin typeface="+mj-ea"/>
              <a:ea typeface="+mj-ea"/>
            </a:endParaRPr>
          </a:p>
        </p:txBody>
      </p:sp>
      <p:sp>
        <p:nvSpPr>
          <p:cNvPr id="18" name="任意多边形: 形状 17">
            <a:extLst>
              <a:ext uri="{FF2B5EF4-FFF2-40B4-BE49-F238E27FC236}">
                <a16:creationId xmlns:a16="http://schemas.microsoft.com/office/drawing/2014/main" id="{D0AF5A1B-6161-408A-AAE5-6B63D1EB95F1}"/>
              </a:ext>
            </a:extLst>
          </p:cNvPr>
          <p:cNvSpPr/>
          <p:nvPr/>
        </p:nvSpPr>
        <p:spPr>
          <a:xfrm>
            <a:off x="3713285" y="2118947"/>
            <a:ext cx="2066192" cy="1314814"/>
          </a:xfrm>
          <a:custGeom>
            <a:avLst/>
            <a:gdLst>
              <a:gd name="connsiteX0" fmla="*/ 317987 w 2066192"/>
              <a:gd name="connsiteY0" fmla="*/ 0 h 1314814"/>
              <a:gd name="connsiteX1" fmla="*/ 1748205 w 2066192"/>
              <a:gd name="connsiteY1" fmla="*/ 0 h 1314814"/>
              <a:gd name="connsiteX2" fmla="*/ 2066192 w 2066192"/>
              <a:gd name="connsiteY2" fmla="*/ 317987 h 1314814"/>
              <a:gd name="connsiteX3" fmla="*/ 2066192 w 2066192"/>
              <a:gd name="connsiteY3" fmla="*/ 976366 h 1314814"/>
              <a:gd name="connsiteX4" fmla="*/ 1933868 w 2066192"/>
              <a:gd name="connsiteY4" fmla="*/ 1027582 h 1314814"/>
              <a:gd name="connsiteX5" fmla="*/ 1273783 w 2066192"/>
              <a:gd name="connsiteY5" fmla="*/ 1163220 h 1314814"/>
              <a:gd name="connsiteX6" fmla="*/ 1117375 w 2066192"/>
              <a:gd name="connsiteY6" fmla="*/ 1169506 h 1314814"/>
              <a:gd name="connsiteX7" fmla="*/ 1033096 w 2066192"/>
              <a:gd name="connsiteY7" fmla="*/ 1314814 h 1314814"/>
              <a:gd name="connsiteX8" fmla="*/ 948817 w 2066192"/>
              <a:gd name="connsiteY8" fmla="*/ 1169506 h 1314814"/>
              <a:gd name="connsiteX9" fmla="*/ 792410 w 2066192"/>
              <a:gd name="connsiteY9" fmla="*/ 1163220 h 1314814"/>
              <a:gd name="connsiteX10" fmla="*/ 132324 w 2066192"/>
              <a:gd name="connsiteY10" fmla="*/ 1027582 h 1314814"/>
              <a:gd name="connsiteX11" fmla="*/ 0 w 2066192"/>
              <a:gd name="connsiteY11" fmla="*/ 976366 h 1314814"/>
              <a:gd name="connsiteX12" fmla="*/ 0 w 2066192"/>
              <a:gd name="connsiteY12" fmla="*/ 317987 h 1314814"/>
              <a:gd name="connsiteX13" fmla="*/ 317987 w 2066192"/>
              <a:gd name="connsiteY13" fmla="*/ 0 h 13148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066192" h="1314814">
                <a:moveTo>
                  <a:pt x="317987" y="0"/>
                </a:moveTo>
                <a:lnTo>
                  <a:pt x="1748205" y="0"/>
                </a:lnTo>
                <a:cubicBezTo>
                  <a:pt x="1923824" y="0"/>
                  <a:pt x="2066192" y="142368"/>
                  <a:pt x="2066192" y="317987"/>
                </a:cubicBezTo>
                <a:lnTo>
                  <a:pt x="2066192" y="976366"/>
                </a:lnTo>
                <a:lnTo>
                  <a:pt x="1933868" y="1027582"/>
                </a:lnTo>
                <a:cubicBezTo>
                  <a:pt x="1733044" y="1097085"/>
                  <a:pt x="1510232" y="1144071"/>
                  <a:pt x="1273783" y="1163220"/>
                </a:cubicBezTo>
                <a:lnTo>
                  <a:pt x="1117375" y="1169506"/>
                </a:lnTo>
                <a:lnTo>
                  <a:pt x="1033096" y="1314814"/>
                </a:lnTo>
                <a:lnTo>
                  <a:pt x="948817" y="1169506"/>
                </a:lnTo>
                <a:lnTo>
                  <a:pt x="792410" y="1163220"/>
                </a:lnTo>
                <a:cubicBezTo>
                  <a:pt x="555960" y="1144071"/>
                  <a:pt x="333149" y="1097085"/>
                  <a:pt x="132324" y="1027582"/>
                </a:cubicBezTo>
                <a:lnTo>
                  <a:pt x="0" y="976366"/>
                </a:lnTo>
                <a:lnTo>
                  <a:pt x="0" y="317987"/>
                </a:lnTo>
                <a:cubicBezTo>
                  <a:pt x="0" y="142368"/>
                  <a:pt x="142368" y="0"/>
                  <a:pt x="317987" y="0"/>
                </a:cubicBezTo>
                <a:close/>
              </a:path>
            </a:pathLst>
          </a:custGeom>
          <a:gradFill>
            <a:gsLst>
              <a:gs pos="0">
                <a:schemeClr val="accent1"/>
              </a:gs>
              <a:gs pos="100000">
                <a:schemeClr val="accent1">
                  <a:lumMod val="75000"/>
                </a:schemeClr>
              </a:gs>
            </a:gsLst>
            <a:lin ang="2700000" scaled="0"/>
          </a:gradFill>
          <a:ln w="25400" cap="flat" cmpd="sng" algn="ctr">
            <a:noFill/>
            <a:prstDash val="solid"/>
            <a:miter lim="800000"/>
          </a:ln>
          <a:effectLst>
            <a:outerShdw blurRad="254000" dist="88900" dir="2700000" algn="tl" rotWithShape="0">
              <a:schemeClr val="accent1">
                <a:lumMod val="50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zh-CN" altLang="en-US"/>
          </a:p>
        </p:txBody>
      </p:sp>
      <p:sp>
        <p:nvSpPr>
          <p:cNvPr id="19" name="文本框 18">
            <a:extLst>
              <a:ext uri="{FF2B5EF4-FFF2-40B4-BE49-F238E27FC236}">
                <a16:creationId xmlns:a16="http://schemas.microsoft.com/office/drawing/2014/main" id="{8A1B5A57-5AA0-4D4C-AEA9-1E57F1816B9E}"/>
              </a:ext>
            </a:extLst>
          </p:cNvPr>
          <p:cNvSpPr txBox="1"/>
          <p:nvPr/>
        </p:nvSpPr>
        <p:spPr>
          <a:xfrm>
            <a:off x="4146672" y="3613597"/>
            <a:ext cx="1282402" cy="307777"/>
          </a:xfrm>
          <a:prstGeom prst="rect">
            <a:avLst/>
          </a:prstGeom>
          <a:noFill/>
          <a:effectLst/>
        </p:spPr>
        <p:txBody>
          <a:bodyPr wrap="none" lIns="0" tIns="0" rIns="0" bIns="0" rtlCol="0" anchor="t">
            <a:spAutoFit/>
          </a:bodyPr>
          <a:lstStyle/>
          <a:p>
            <a:pPr algn="ctr"/>
            <a:r>
              <a:rPr lang="zh-CN" altLang="en-US" sz="2000" dirty="0">
                <a:solidFill>
                  <a:schemeClr val="accent1"/>
                </a:solidFill>
                <a:latin typeface="+mj-ea"/>
                <a:ea typeface="+mj-ea"/>
              </a:rPr>
              <a:t>关键词标题</a:t>
            </a:r>
          </a:p>
        </p:txBody>
      </p:sp>
      <p:sp>
        <p:nvSpPr>
          <p:cNvPr id="20" name="文本框 19">
            <a:extLst>
              <a:ext uri="{FF2B5EF4-FFF2-40B4-BE49-F238E27FC236}">
                <a16:creationId xmlns:a16="http://schemas.microsoft.com/office/drawing/2014/main" id="{1333FF56-5B09-4005-A478-A7D407948395}"/>
              </a:ext>
            </a:extLst>
          </p:cNvPr>
          <p:cNvSpPr txBox="1"/>
          <p:nvPr/>
        </p:nvSpPr>
        <p:spPr>
          <a:xfrm>
            <a:off x="4018432" y="4074575"/>
            <a:ext cx="1538882" cy="944939"/>
          </a:xfrm>
          <a:prstGeom prst="rect">
            <a:avLst/>
          </a:prstGeom>
          <a:noFill/>
          <a:effectLst/>
        </p:spPr>
        <p:txBody>
          <a:bodyPr wrap="square" lIns="0" tIns="0" rIns="0" bIns="0" rtlCol="0" anchor="t">
            <a:spAutoFit/>
          </a:bodyPr>
          <a:lstStyle/>
          <a:p>
            <a:pPr algn="ctr">
              <a:lnSpc>
                <a:spcPct val="130000"/>
              </a:lnSpc>
            </a:pPr>
            <a:r>
              <a:rPr lang="en-US" altLang="zh-CN" sz="1200" b="0" dirty="0">
                <a:solidFill>
                  <a:schemeClr val="tx1">
                    <a:lumMod val="75000"/>
                    <a:lumOff val="25000"/>
                  </a:schemeClr>
                </a:solidFill>
                <a:effectLst/>
                <a:latin typeface="+mn-ea"/>
              </a:rPr>
              <a:t>Lorem ipsum dolor sit ametconsectetur adipisicing elit</a:t>
            </a:r>
            <a:r>
              <a:rPr lang="en-US" altLang="zh-CN" sz="1200" dirty="0">
                <a:solidFill>
                  <a:schemeClr val="tx1">
                    <a:lumMod val="75000"/>
                    <a:lumOff val="25000"/>
                  </a:schemeClr>
                </a:solidFill>
                <a:latin typeface="+mn-ea"/>
              </a:rPr>
              <a:t> </a:t>
            </a:r>
            <a:r>
              <a:rPr lang="en-US" altLang="zh-CN" sz="1200" b="0" dirty="0">
                <a:solidFill>
                  <a:schemeClr val="tx1">
                    <a:lumMod val="75000"/>
                    <a:lumOff val="25000"/>
                  </a:schemeClr>
                </a:solidFill>
                <a:effectLst/>
                <a:latin typeface="+mn-ea"/>
              </a:rPr>
              <a:t>sed do eiusmod tempor</a:t>
            </a:r>
            <a:endParaRPr lang="zh-CN" altLang="en-US" sz="1200" b="0" dirty="0">
              <a:solidFill>
                <a:schemeClr val="tx1">
                  <a:lumMod val="75000"/>
                  <a:lumOff val="25000"/>
                </a:schemeClr>
              </a:solidFill>
              <a:effectLst/>
              <a:latin typeface="+mn-ea"/>
            </a:endParaRPr>
          </a:p>
        </p:txBody>
      </p:sp>
      <p:cxnSp>
        <p:nvCxnSpPr>
          <p:cNvPr id="21" name="直接连接符 20">
            <a:extLst>
              <a:ext uri="{FF2B5EF4-FFF2-40B4-BE49-F238E27FC236}">
                <a16:creationId xmlns:a16="http://schemas.microsoft.com/office/drawing/2014/main" id="{4CB994D9-3B67-4452-8137-55274182475C}"/>
              </a:ext>
            </a:extLst>
          </p:cNvPr>
          <p:cNvCxnSpPr/>
          <p:nvPr/>
        </p:nvCxnSpPr>
        <p:spPr>
          <a:xfrm>
            <a:off x="4630491" y="3992025"/>
            <a:ext cx="320040" cy="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22" name="椭圆 21">
            <a:extLst>
              <a:ext uri="{FF2B5EF4-FFF2-40B4-BE49-F238E27FC236}">
                <a16:creationId xmlns:a16="http://schemas.microsoft.com/office/drawing/2014/main" id="{4810960E-378E-496B-AE7B-0F4655DE1B94}"/>
              </a:ext>
            </a:extLst>
          </p:cNvPr>
          <p:cNvSpPr/>
          <p:nvPr/>
        </p:nvSpPr>
        <p:spPr>
          <a:xfrm>
            <a:off x="4350141" y="2280367"/>
            <a:ext cx="792480" cy="792480"/>
          </a:xfrm>
          <a:prstGeom prst="ellipse">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41" name="iconfont-1179-866479">
            <a:extLst>
              <a:ext uri="{FF2B5EF4-FFF2-40B4-BE49-F238E27FC236}">
                <a16:creationId xmlns:a16="http://schemas.microsoft.com/office/drawing/2014/main" id="{2D79AE37-9934-427E-9188-66A8EE1BA80A}"/>
              </a:ext>
            </a:extLst>
          </p:cNvPr>
          <p:cNvSpPr/>
          <p:nvPr/>
        </p:nvSpPr>
        <p:spPr>
          <a:xfrm>
            <a:off x="4560277" y="2481418"/>
            <a:ext cx="372208" cy="384054"/>
          </a:xfrm>
          <a:custGeom>
            <a:avLst/>
            <a:gdLst>
              <a:gd name="T0" fmla="*/ 40 w 7790"/>
              <a:gd name="T1" fmla="*/ 0 h 8036"/>
              <a:gd name="T2" fmla="*/ 3458 w 7790"/>
              <a:gd name="T3" fmla="*/ 0 h 8036"/>
              <a:gd name="T4" fmla="*/ 3458 w 7790"/>
              <a:gd name="T5" fmla="*/ 3418 h 8036"/>
              <a:gd name="T6" fmla="*/ 40 w 7790"/>
              <a:gd name="T7" fmla="*/ 3418 h 8036"/>
              <a:gd name="T8" fmla="*/ 40 w 7790"/>
              <a:gd name="T9" fmla="*/ 0 h 8036"/>
              <a:gd name="T10" fmla="*/ 7790 w 7790"/>
              <a:gd name="T11" fmla="*/ 1695 h 8036"/>
              <a:gd name="T12" fmla="*/ 6170 w 7790"/>
              <a:gd name="T13" fmla="*/ 103 h 8036"/>
              <a:gd name="T14" fmla="*/ 4577 w 7790"/>
              <a:gd name="T15" fmla="*/ 1723 h 8036"/>
              <a:gd name="T16" fmla="*/ 6198 w 7790"/>
              <a:gd name="T17" fmla="*/ 3316 h 8036"/>
              <a:gd name="T18" fmla="*/ 7790 w 7790"/>
              <a:gd name="T19" fmla="*/ 1695 h 8036"/>
              <a:gd name="T20" fmla="*/ 0 w 7790"/>
              <a:gd name="T21" fmla="*/ 4618 h 8036"/>
              <a:gd name="T22" fmla="*/ 3417 w 7790"/>
              <a:gd name="T23" fmla="*/ 4618 h 8036"/>
              <a:gd name="T24" fmla="*/ 3417 w 7790"/>
              <a:gd name="T25" fmla="*/ 8036 h 8036"/>
              <a:gd name="T26" fmla="*/ 0 w 7790"/>
              <a:gd name="T27" fmla="*/ 8036 h 8036"/>
              <a:gd name="T28" fmla="*/ 0 w 7790"/>
              <a:gd name="T29" fmla="*/ 4618 h 8036"/>
              <a:gd name="T30" fmla="*/ 4353 w 7790"/>
              <a:gd name="T31" fmla="*/ 4618 h 8036"/>
              <a:gd name="T32" fmla="*/ 7770 w 7790"/>
              <a:gd name="T33" fmla="*/ 4618 h 8036"/>
              <a:gd name="T34" fmla="*/ 7770 w 7790"/>
              <a:gd name="T35" fmla="*/ 8036 h 8036"/>
              <a:gd name="T36" fmla="*/ 4353 w 7790"/>
              <a:gd name="T37" fmla="*/ 8036 h 8036"/>
              <a:gd name="T38" fmla="*/ 4353 w 7790"/>
              <a:gd name="T39" fmla="*/ 4618 h 8036"/>
              <a:gd name="T40" fmla="*/ 4353 w 7790"/>
              <a:gd name="T41" fmla="*/ 4618 h 80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790" h="8036">
                <a:moveTo>
                  <a:pt x="40" y="0"/>
                </a:moveTo>
                <a:lnTo>
                  <a:pt x="3458" y="0"/>
                </a:lnTo>
                <a:lnTo>
                  <a:pt x="3458" y="3418"/>
                </a:lnTo>
                <a:lnTo>
                  <a:pt x="40" y="3418"/>
                </a:lnTo>
                <a:lnTo>
                  <a:pt x="40" y="0"/>
                </a:lnTo>
                <a:close/>
                <a:moveTo>
                  <a:pt x="7790" y="1695"/>
                </a:moveTo>
                <a:lnTo>
                  <a:pt x="6170" y="103"/>
                </a:lnTo>
                <a:lnTo>
                  <a:pt x="4577" y="1723"/>
                </a:lnTo>
                <a:lnTo>
                  <a:pt x="6198" y="3316"/>
                </a:lnTo>
                <a:lnTo>
                  <a:pt x="7790" y="1695"/>
                </a:lnTo>
                <a:close/>
                <a:moveTo>
                  <a:pt x="0" y="4618"/>
                </a:moveTo>
                <a:lnTo>
                  <a:pt x="3417" y="4618"/>
                </a:lnTo>
                <a:lnTo>
                  <a:pt x="3417" y="8036"/>
                </a:lnTo>
                <a:lnTo>
                  <a:pt x="0" y="8036"/>
                </a:lnTo>
                <a:lnTo>
                  <a:pt x="0" y="4618"/>
                </a:lnTo>
                <a:close/>
                <a:moveTo>
                  <a:pt x="4353" y="4618"/>
                </a:moveTo>
                <a:lnTo>
                  <a:pt x="7770" y="4618"/>
                </a:lnTo>
                <a:lnTo>
                  <a:pt x="7770" y="8036"/>
                </a:lnTo>
                <a:lnTo>
                  <a:pt x="4353" y="8036"/>
                </a:lnTo>
                <a:lnTo>
                  <a:pt x="4353" y="4618"/>
                </a:lnTo>
                <a:close/>
                <a:moveTo>
                  <a:pt x="4353" y="4618"/>
                </a:move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sp>
        <p:nvSpPr>
          <p:cNvPr id="25" name="矩形: 圆角 24">
            <a:extLst>
              <a:ext uri="{FF2B5EF4-FFF2-40B4-BE49-F238E27FC236}">
                <a16:creationId xmlns:a16="http://schemas.microsoft.com/office/drawing/2014/main" id="{05D901B9-2043-4594-8BD5-D8297EBAEAA2}"/>
              </a:ext>
            </a:extLst>
          </p:cNvPr>
          <p:cNvSpPr/>
          <p:nvPr/>
        </p:nvSpPr>
        <p:spPr>
          <a:xfrm>
            <a:off x="6412524" y="2118947"/>
            <a:ext cx="2066192" cy="3024554"/>
          </a:xfrm>
          <a:prstGeom prst="roundRect">
            <a:avLst>
              <a:gd name="adj" fmla="val 15390"/>
            </a:avLst>
          </a:prstGeom>
          <a:solidFill>
            <a:schemeClr val="bg1"/>
          </a:solidFill>
          <a:ln>
            <a:solidFill>
              <a:schemeClr val="accent1"/>
            </a:solidFill>
          </a:ln>
          <a:effectLst>
            <a:outerShdw blurRad="254000" dist="127000" dir="5400000" algn="t"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endParaRPr lang="zh-CN" altLang="en-US" sz="1600">
              <a:solidFill>
                <a:schemeClr val="bg1"/>
              </a:solidFill>
              <a:latin typeface="+mj-ea"/>
              <a:ea typeface="+mj-ea"/>
            </a:endParaRPr>
          </a:p>
        </p:txBody>
      </p:sp>
      <p:sp>
        <p:nvSpPr>
          <p:cNvPr id="26" name="任意多边形: 形状 25">
            <a:extLst>
              <a:ext uri="{FF2B5EF4-FFF2-40B4-BE49-F238E27FC236}">
                <a16:creationId xmlns:a16="http://schemas.microsoft.com/office/drawing/2014/main" id="{D791EDCA-718A-4DCE-8C25-68482B15654F}"/>
              </a:ext>
            </a:extLst>
          </p:cNvPr>
          <p:cNvSpPr/>
          <p:nvPr/>
        </p:nvSpPr>
        <p:spPr>
          <a:xfrm>
            <a:off x="6412524" y="2118947"/>
            <a:ext cx="2066192" cy="1314814"/>
          </a:xfrm>
          <a:custGeom>
            <a:avLst/>
            <a:gdLst>
              <a:gd name="connsiteX0" fmla="*/ 317987 w 2066192"/>
              <a:gd name="connsiteY0" fmla="*/ 0 h 1314814"/>
              <a:gd name="connsiteX1" fmla="*/ 1748205 w 2066192"/>
              <a:gd name="connsiteY1" fmla="*/ 0 h 1314814"/>
              <a:gd name="connsiteX2" fmla="*/ 2066192 w 2066192"/>
              <a:gd name="connsiteY2" fmla="*/ 317987 h 1314814"/>
              <a:gd name="connsiteX3" fmla="*/ 2066192 w 2066192"/>
              <a:gd name="connsiteY3" fmla="*/ 976366 h 1314814"/>
              <a:gd name="connsiteX4" fmla="*/ 1933868 w 2066192"/>
              <a:gd name="connsiteY4" fmla="*/ 1027582 h 1314814"/>
              <a:gd name="connsiteX5" fmla="*/ 1273783 w 2066192"/>
              <a:gd name="connsiteY5" fmla="*/ 1163220 h 1314814"/>
              <a:gd name="connsiteX6" fmla="*/ 1117375 w 2066192"/>
              <a:gd name="connsiteY6" fmla="*/ 1169506 h 1314814"/>
              <a:gd name="connsiteX7" fmla="*/ 1033096 w 2066192"/>
              <a:gd name="connsiteY7" fmla="*/ 1314814 h 1314814"/>
              <a:gd name="connsiteX8" fmla="*/ 948817 w 2066192"/>
              <a:gd name="connsiteY8" fmla="*/ 1169506 h 1314814"/>
              <a:gd name="connsiteX9" fmla="*/ 792410 w 2066192"/>
              <a:gd name="connsiteY9" fmla="*/ 1163220 h 1314814"/>
              <a:gd name="connsiteX10" fmla="*/ 132324 w 2066192"/>
              <a:gd name="connsiteY10" fmla="*/ 1027582 h 1314814"/>
              <a:gd name="connsiteX11" fmla="*/ 0 w 2066192"/>
              <a:gd name="connsiteY11" fmla="*/ 976366 h 1314814"/>
              <a:gd name="connsiteX12" fmla="*/ 0 w 2066192"/>
              <a:gd name="connsiteY12" fmla="*/ 317987 h 1314814"/>
              <a:gd name="connsiteX13" fmla="*/ 317987 w 2066192"/>
              <a:gd name="connsiteY13" fmla="*/ 0 h 13148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066192" h="1314814">
                <a:moveTo>
                  <a:pt x="317987" y="0"/>
                </a:moveTo>
                <a:lnTo>
                  <a:pt x="1748205" y="0"/>
                </a:lnTo>
                <a:cubicBezTo>
                  <a:pt x="1923824" y="0"/>
                  <a:pt x="2066192" y="142368"/>
                  <a:pt x="2066192" y="317987"/>
                </a:cubicBezTo>
                <a:lnTo>
                  <a:pt x="2066192" y="976366"/>
                </a:lnTo>
                <a:lnTo>
                  <a:pt x="1933868" y="1027582"/>
                </a:lnTo>
                <a:cubicBezTo>
                  <a:pt x="1733044" y="1097085"/>
                  <a:pt x="1510232" y="1144071"/>
                  <a:pt x="1273783" y="1163220"/>
                </a:cubicBezTo>
                <a:lnTo>
                  <a:pt x="1117375" y="1169506"/>
                </a:lnTo>
                <a:lnTo>
                  <a:pt x="1033096" y="1314814"/>
                </a:lnTo>
                <a:lnTo>
                  <a:pt x="948817" y="1169506"/>
                </a:lnTo>
                <a:lnTo>
                  <a:pt x="792410" y="1163220"/>
                </a:lnTo>
                <a:cubicBezTo>
                  <a:pt x="555960" y="1144071"/>
                  <a:pt x="333149" y="1097085"/>
                  <a:pt x="132324" y="1027582"/>
                </a:cubicBezTo>
                <a:lnTo>
                  <a:pt x="0" y="976366"/>
                </a:lnTo>
                <a:lnTo>
                  <a:pt x="0" y="317987"/>
                </a:lnTo>
                <a:cubicBezTo>
                  <a:pt x="0" y="142368"/>
                  <a:pt x="142368" y="0"/>
                  <a:pt x="317987" y="0"/>
                </a:cubicBezTo>
                <a:close/>
              </a:path>
            </a:pathLst>
          </a:custGeom>
          <a:gradFill>
            <a:gsLst>
              <a:gs pos="0">
                <a:schemeClr val="accent1"/>
              </a:gs>
              <a:gs pos="100000">
                <a:schemeClr val="accent1">
                  <a:lumMod val="75000"/>
                </a:schemeClr>
              </a:gs>
            </a:gsLst>
            <a:lin ang="2700000" scaled="0"/>
          </a:gradFill>
          <a:ln w="25400" cap="flat" cmpd="sng" algn="ctr">
            <a:noFill/>
            <a:prstDash val="solid"/>
            <a:miter lim="800000"/>
          </a:ln>
          <a:effectLst>
            <a:outerShdw blurRad="254000" dist="88900" dir="2700000" algn="tl" rotWithShape="0">
              <a:schemeClr val="accent1">
                <a:lumMod val="50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zh-CN" altLang="en-US"/>
          </a:p>
        </p:txBody>
      </p:sp>
      <p:sp>
        <p:nvSpPr>
          <p:cNvPr id="27" name="文本框 26">
            <a:extLst>
              <a:ext uri="{FF2B5EF4-FFF2-40B4-BE49-F238E27FC236}">
                <a16:creationId xmlns:a16="http://schemas.microsoft.com/office/drawing/2014/main" id="{282AE78D-6D73-48B5-B4F2-224C1E965B14}"/>
              </a:ext>
            </a:extLst>
          </p:cNvPr>
          <p:cNvSpPr txBox="1"/>
          <p:nvPr/>
        </p:nvSpPr>
        <p:spPr>
          <a:xfrm>
            <a:off x="6845911" y="3613597"/>
            <a:ext cx="1282402" cy="307777"/>
          </a:xfrm>
          <a:prstGeom prst="rect">
            <a:avLst/>
          </a:prstGeom>
          <a:noFill/>
          <a:effectLst/>
        </p:spPr>
        <p:txBody>
          <a:bodyPr wrap="none" lIns="0" tIns="0" rIns="0" bIns="0" rtlCol="0" anchor="t">
            <a:spAutoFit/>
          </a:bodyPr>
          <a:lstStyle/>
          <a:p>
            <a:pPr algn="ctr"/>
            <a:r>
              <a:rPr lang="zh-CN" altLang="en-US" sz="2000" dirty="0">
                <a:solidFill>
                  <a:schemeClr val="accent1"/>
                </a:solidFill>
                <a:latin typeface="+mj-ea"/>
                <a:ea typeface="+mj-ea"/>
              </a:rPr>
              <a:t>关键词标题</a:t>
            </a:r>
          </a:p>
        </p:txBody>
      </p:sp>
      <p:sp>
        <p:nvSpPr>
          <p:cNvPr id="28" name="文本框 27">
            <a:extLst>
              <a:ext uri="{FF2B5EF4-FFF2-40B4-BE49-F238E27FC236}">
                <a16:creationId xmlns:a16="http://schemas.microsoft.com/office/drawing/2014/main" id="{3AB93D8F-B034-4D39-88B4-C3228C33F07E}"/>
              </a:ext>
            </a:extLst>
          </p:cNvPr>
          <p:cNvSpPr txBox="1"/>
          <p:nvPr/>
        </p:nvSpPr>
        <p:spPr>
          <a:xfrm>
            <a:off x="6717671" y="4074575"/>
            <a:ext cx="1538882" cy="944939"/>
          </a:xfrm>
          <a:prstGeom prst="rect">
            <a:avLst/>
          </a:prstGeom>
          <a:noFill/>
          <a:effectLst/>
        </p:spPr>
        <p:txBody>
          <a:bodyPr wrap="square" lIns="0" tIns="0" rIns="0" bIns="0" rtlCol="0" anchor="t">
            <a:spAutoFit/>
          </a:bodyPr>
          <a:lstStyle/>
          <a:p>
            <a:pPr algn="ctr">
              <a:lnSpc>
                <a:spcPct val="130000"/>
              </a:lnSpc>
            </a:pPr>
            <a:r>
              <a:rPr lang="en-US" altLang="zh-CN" sz="1200" b="0" dirty="0">
                <a:solidFill>
                  <a:schemeClr val="tx1">
                    <a:lumMod val="75000"/>
                    <a:lumOff val="25000"/>
                  </a:schemeClr>
                </a:solidFill>
                <a:effectLst/>
                <a:latin typeface="+mn-ea"/>
              </a:rPr>
              <a:t>Lorem ipsum dolor sit ametconsectetur adipisicing elit</a:t>
            </a:r>
            <a:r>
              <a:rPr lang="en-US" altLang="zh-CN" sz="1200" dirty="0">
                <a:solidFill>
                  <a:schemeClr val="tx1">
                    <a:lumMod val="75000"/>
                    <a:lumOff val="25000"/>
                  </a:schemeClr>
                </a:solidFill>
                <a:latin typeface="+mn-ea"/>
              </a:rPr>
              <a:t> </a:t>
            </a:r>
            <a:r>
              <a:rPr lang="en-US" altLang="zh-CN" sz="1200" b="0" dirty="0">
                <a:solidFill>
                  <a:schemeClr val="tx1">
                    <a:lumMod val="75000"/>
                    <a:lumOff val="25000"/>
                  </a:schemeClr>
                </a:solidFill>
                <a:effectLst/>
                <a:latin typeface="+mn-ea"/>
              </a:rPr>
              <a:t>sed do eiusmod tempor</a:t>
            </a:r>
            <a:endParaRPr lang="zh-CN" altLang="en-US" sz="1200" b="0" dirty="0">
              <a:solidFill>
                <a:schemeClr val="tx1">
                  <a:lumMod val="75000"/>
                  <a:lumOff val="25000"/>
                </a:schemeClr>
              </a:solidFill>
              <a:effectLst/>
              <a:latin typeface="+mn-ea"/>
            </a:endParaRPr>
          </a:p>
        </p:txBody>
      </p:sp>
      <p:cxnSp>
        <p:nvCxnSpPr>
          <p:cNvPr id="29" name="直接连接符 28">
            <a:extLst>
              <a:ext uri="{FF2B5EF4-FFF2-40B4-BE49-F238E27FC236}">
                <a16:creationId xmlns:a16="http://schemas.microsoft.com/office/drawing/2014/main" id="{35219E48-C85F-4963-8D4C-53AA557EBFEE}"/>
              </a:ext>
            </a:extLst>
          </p:cNvPr>
          <p:cNvCxnSpPr/>
          <p:nvPr/>
        </p:nvCxnSpPr>
        <p:spPr>
          <a:xfrm>
            <a:off x="7329730" y="3992025"/>
            <a:ext cx="320040" cy="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30" name="椭圆 29">
            <a:extLst>
              <a:ext uri="{FF2B5EF4-FFF2-40B4-BE49-F238E27FC236}">
                <a16:creationId xmlns:a16="http://schemas.microsoft.com/office/drawing/2014/main" id="{22066362-788F-4057-B9F4-D4BBEAFD1054}"/>
              </a:ext>
            </a:extLst>
          </p:cNvPr>
          <p:cNvSpPr/>
          <p:nvPr/>
        </p:nvSpPr>
        <p:spPr>
          <a:xfrm>
            <a:off x="7049380" y="2280367"/>
            <a:ext cx="792480" cy="792480"/>
          </a:xfrm>
          <a:prstGeom prst="ellipse">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42" name="iconfont-1179-866479">
            <a:extLst>
              <a:ext uri="{FF2B5EF4-FFF2-40B4-BE49-F238E27FC236}">
                <a16:creationId xmlns:a16="http://schemas.microsoft.com/office/drawing/2014/main" id="{768AF8FA-4869-4ACE-B586-7BD2793609D6}"/>
              </a:ext>
            </a:extLst>
          </p:cNvPr>
          <p:cNvSpPr/>
          <p:nvPr/>
        </p:nvSpPr>
        <p:spPr>
          <a:xfrm>
            <a:off x="7285926" y="2491740"/>
            <a:ext cx="363844" cy="363408"/>
          </a:xfrm>
          <a:custGeom>
            <a:avLst/>
            <a:gdLst>
              <a:gd name="T0" fmla="*/ 202 w 403"/>
              <a:gd name="T1" fmla="*/ 0 h 403"/>
              <a:gd name="T2" fmla="*/ 0 w 403"/>
              <a:gd name="T3" fmla="*/ 202 h 403"/>
              <a:gd name="T4" fmla="*/ 202 w 403"/>
              <a:gd name="T5" fmla="*/ 403 h 403"/>
              <a:gd name="T6" fmla="*/ 403 w 403"/>
              <a:gd name="T7" fmla="*/ 202 h 403"/>
              <a:gd name="T8" fmla="*/ 202 w 403"/>
              <a:gd name="T9" fmla="*/ 0 h 403"/>
              <a:gd name="T10" fmla="*/ 171 w 403"/>
              <a:gd name="T11" fmla="*/ 322 h 403"/>
              <a:gd name="T12" fmla="*/ 155 w 403"/>
              <a:gd name="T13" fmla="*/ 322 h 403"/>
              <a:gd name="T14" fmla="*/ 152 w 403"/>
              <a:gd name="T15" fmla="*/ 318 h 403"/>
              <a:gd name="T16" fmla="*/ 152 w 403"/>
              <a:gd name="T17" fmla="*/ 318 h 403"/>
              <a:gd name="T18" fmla="*/ 148 w 403"/>
              <a:gd name="T19" fmla="*/ 314 h 403"/>
              <a:gd name="T20" fmla="*/ 131 w 403"/>
              <a:gd name="T21" fmla="*/ 298 h 403"/>
              <a:gd name="T22" fmla="*/ 130 w 403"/>
              <a:gd name="T23" fmla="*/ 297 h 403"/>
              <a:gd name="T24" fmla="*/ 53 w 403"/>
              <a:gd name="T25" fmla="*/ 219 h 403"/>
              <a:gd name="T26" fmla="*/ 53 w 403"/>
              <a:gd name="T27" fmla="*/ 203 h 403"/>
              <a:gd name="T28" fmla="*/ 77 w 403"/>
              <a:gd name="T29" fmla="*/ 179 h 403"/>
              <a:gd name="T30" fmla="*/ 94 w 403"/>
              <a:gd name="T31" fmla="*/ 179 h 403"/>
              <a:gd name="T32" fmla="*/ 163 w 403"/>
              <a:gd name="T33" fmla="*/ 249 h 403"/>
              <a:gd name="T34" fmla="*/ 310 w 403"/>
              <a:gd name="T35" fmla="*/ 102 h 403"/>
              <a:gd name="T36" fmla="*/ 326 w 403"/>
              <a:gd name="T37" fmla="*/ 102 h 403"/>
              <a:gd name="T38" fmla="*/ 350 w 403"/>
              <a:gd name="T39" fmla="*/ 127 h 403"/>
              <a:gd name="T40" fmla="*/ 350 w 403"/>
              <a:gd name="T41" fmla="*/ 143 h 403"/>
              <a:gd name="T42" fmla="*/ 171 w 403"/>
              <a:gd name="T43" fmla="*/ 322 h 4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03" h="403">
                <a:moveTo>
                  <a:pt x="202" y="0"/>
                </a:moveTo>
                <a:cubicBezTo>
                  <a:pt x="90" y="0"/>
                  <a:pt x="0" y="90"/>
                  <a:pt x="0" y="202"/>
                </a:cubicBezTo>
                <a:cubicBezTo>
                  <a:pt x="0" y="313"/>
                  <a:pt x="90" y="403"/>
                  <a:pt x="202" y="403"/>
                </a:cubicBezTo>
                <a:cubicBezTo>
                  <a:pt x="313" y="403"/>
                  <a:pt x="403" y="313"/>
                  <a:pt x="403" y="202"/>
                </a:cubicBezTo>
                <a:cubicBezTo>
                  <a:pt x="403" y="90"/>
                  <a:pt x="313" y="0"/>
                  <a:pt x="202" y="0"/>
                </a:cubicBezTo>
                <a:close/>
                <a:moveTo>
                  <a:pt x="171" y="322"/>
                </a:moveTo>
                <a:cubicBezTo>
                  <a:pt x="167" y="326"/>
                  <a:pt x="160" y="326"/>
                  <a:pt x="155" y="322"/>
                </a:cubicBezTo>
                <a:lnTo>
                  <a:pt x="152" y="318"/>
                </a:lnTo>
                <a:lnTo>
                  <a:pt x="152" y="318"/>
                </a:lnTo>
                <a:lnTo>
                  <a:pt x="148" y="314"/>
                </a:lnTo>
                <a:lnTo>
                  <a:pt x="131" y="298"/>
                </a:lnTo>
                <a:lnTo>
                  <a:pt x="130" y="297"/>
                </a:lnTo>
                <a:lnTo>
                  <a:pt x="53" y="219"/>
                </a:lnTo>
                <a:cubicBezTo>
                  <a:pt x="49" y="215"/>
                  <a:pt x="49" y="207"/>
                  <a:pt x="53" y="203"/>
                </a:cubicBezTo>
                <a:lnTo>
                  <a:pt x="77" y="179"/>
                </a:lnTo>
                <a:cubicBezTo>
                  <a:pt x="82" y="174"/>
                  <a:pt x="89" y="174"/>
                  <a:pt x="94" y="179"/>
                </a:cubicBezTo>
                <a:lnTo>
                  <a:pt x="163" y="249"/>
                </a:lnTo>
                <a:lnTo>
                  <a:pt x="310" y="102"/>
                </a:lnTo>
                <a:cubicBezTo>
                  <a:pt x="314" y="98"/>
                  <a:pt x="322" y="98"/>
                  <a:pt x="326" y="102"/>
                </a:cubicBezTo>
                <a:lnTo>
                  <a:pt x="350" y="127"/>
                </a:lnTo>
                <a:cubicBezTo>
                  <a:pt x="355" y="131"/>
                  <a:pt x="355" y="138"/>
                  <a:pt x="350" y="143"/>
                </a:cubicBezTo>
                <a:lnTo>
                  <a:pt x="171" y="322"/>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sp>
        <p:nvSpPr>
          <p:cNvPr id="33" name="矩形: 圆角 32">
            <a:extLst>
              <a:ext uri="{FF2B5EF4-FFF2-40B4-BE49-F238E27FC236}">
                <a16:creationId xmlns:a16="http://schemas.microsoft.com/office/drawing/2014/main" id="{03BE1BCA-9D83-422F-B313-1D9DBE872DF2}"/>
              </a:ext>
            </a:extLst>
          </p:cNvPr>
          <p:cNvSpPr/>
          <p:nvPr/>
        </p:nvSpPr>
        <p:spPr>
          <a:xfrm>
            <a:off x="9111763" y="2118947"/>
            <a:ext cx="2066192" cy="3024554"/>
          </a:xfrm>
          <a:prstGeom prst="roundRect">
            <a:avLst>
              <a:gd name="adj" fmla="val 15390"/>
            </a:avLst>
          </a:prstGeom>
          <a:solidFill>
            <a:schemeClr val="bg1"/>
          </a:solidFill>
          <a:ln>
            <a:solidFill>
              <a:schemeClr val="accent1"/>
            </a:solidFill>
          </a:ln>
          <a:effectLst>
            <a:outerShdw blurRad="254000" dist="127000" dir="5400000" algn="t"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endParaRPr lang="zh-CN" altLang="en-US" sz="1600">
              <a:solidFill>
                <a:schemeClr val="bg1"/>
              </a:solidFill>
              <a:latin typeface="+mj-ea"/>
              <a:ea typeface="+mj-ea"/>
            </a:endParaRPr>
          </a:p>
        </p:txBody>
      </p:sp>
      <p:sp>
        <p:nvSpPr>
          <p:cNvPr id="34" name="任意多边形: 形状 33">
            <a:extLst>
              <a:ext uri="{FF2B5EF4-FFF2-40B4-BE49-F238E27FC236}">
                <a16:creationId xmlns:a16="http://schemas.microsoft.com/office/drawing/2014/main" id="{32A77759-26AF-40FB-9362-64A6A3454743}"/>
              </a:ext>
            </a:extLst>
          </p:cNvPr>
          <p:cNvSpPr/>
          <p:nvPr/>
        </p:nvSpPr>
        <p:spPr>
          <a:xfrm>
            <a:off x="9111763" y="2118947"/>
            <a:ext cx="2066192" cy="1314814"/>
          </a:xfrm>
          <a:custGeom>
            <a:avLst/>
            <a:gdLst>
              <a:gd name="connsiteX0" fmla="*/ 317987 w 2066192"/>
              <a:gd name="connsiteY0" fmla="*/ 0 h 1314814"/>
              <a:gd name="connsiteX1" fmla="*/ 1748205 w 2066192"/>
              <a:gd name="connsiteY1" fmla="*/ 0 h 1314814"/>
              <a:gd name="connsiteX2" fmla="*/ 2066192 w 2066192"/>
              <a:gd name="connsiteY2" fmla="*/ 317987 h 1314814"/>
              <a:gd name="connsiteX3" fmla="*/ 2066192 w 2066192"/>
              <a:gd name="connsiteY3" fmla="*/ 976366 h 1314814"/>
              <a:gd name="connsiteX4" fmla="*/ 1933868 w 2066192"/>
              <a:gd name="connsiteY4" fmla="*/ 1027582 h 1314814"/>
              <a:gd name="connsiteX5" fmla="*/ 1273783 w 2066192"/>
              <a:gd name="connsiteY5" fmla="*/ 1163220 h 1314814"/>
              <a:gd name="connsiteX6" fmla="*/ 1117375 w 2066192"/>
              <a:gd name="connsiteY6" fmla="*/ 1169506 h 1314814"/>
              <a:gd name="connsiteX7" fmla="*/ 1033096 w 2066192"/>
              <a:gd name="connsiteY7" fmla="*/ 1314814 h 1314814"/>
              <a:gd name="connsiteX8" fmla="*/ 948817 w 2066192"/>
              <a:gd name="connsiteY8" fmla="*/ 1169506 h 1314814"/>
              <a:gd name="connsiteX9" fmla="*/ 792410 w 2066192"/>
              <a:gd name="connsiteY9" fmla="*/ 1163220 h 1314814"/>
              <a:gd name="connsiteX10" fmla="*/ 132324 w 2066192"/>
              <a:gd name="connsiteY10" fmla="*/ 1027582 h 1314814"/>
              <a:gd name="connsiteX11" fmla="*/ 0 w 2066192"/>
              <a:gd name="connsiteY11" fmla="*/ 976366 h 1314814"/>
              <a:gd name="connsiteX12" fmla="*/ 0 w 2066192"/>
              <a:gd name="connsiteY12" fmla="*/ 317987 h 1314814"/>
              <a:gd name="connsiteX13" fmla="*/ 317987 w 2066192"/>
              <a:gd name="connsiteY13" fmla="*/ 0 h 13148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066192" h="1314814">
                <a:moveTo>
                  <a:pt x="317987" y="0"/>
                </a:moveTo>
                <a:lnTo>
                  <a:pt x="1748205" y="0"/>
                </a:lnTo>
                <a:cubicBezTo>
                  <a:pt x="1923824" y="0"/>
                  <a:pt x="2066192" y="142368"/>
                  <a:pt x="2066192" y="317987"/>
                </a:cubicBezTo>
                <a:lnTo>
                  <a:pt x="2066192" y="976366"/>
                </a:lnTo>
                <a:lnTo>
                  <a:pt x="1933868" y="1027582"/>
                </a:lnTo>
                <a:cubicBezTo>
                  <a:pt x="1733044" y="1097085"/>
                  <a:pt x="1510232" y="1144071"/>
                  <a:pt x="1273783" y="1163220"/>
                </a:cubicBezTo>
                <a:lnTo>
                  <a:pt x="1117375" y="1169506"/>
                </a:lnTo>
                <a:lnTo>
                  <a:pt x="1033096" y="1314814"/>
                </a:lnTo>
                <a:lnTo>
                  <a:pt x="948817" y="1169506"/>
                </a:lnTo>
                <a:lnTo>
                  <a:pt x="792410" y="1163220"/>
                </a:lnTo>
                <a:cubicBezTo>
                  <a:pt x="555960" y="1144071"/>
                  <a:pt x="333149" y="1097085"/>
                  <a:pt x="132324" y="1027582"/>
                </a:cubicBezTo>
                <a:lnTo>
                  <a:pt x="0" y="976366"/>
                </a:lnTo>
                <a:lnTo>
                  <a:pt x="0" y="317987"/>
                </a:lnTo>
                <a:cubicBezTo>
                  <a:pt x="0" y="142368"/>
                  <a:pt x="142368" y="0"/>
                  <a:pt x="317987" y="0"/>
                </a:cubicBezTo>
                <a:close/>
              </a:path>
            </a:pathLst>
          </a:custGeom>
          <a:gradFill>
            <a:gsLst>
              <a:gs pos="0">
                <a:schemeClr val="accent1"/>
              </a:gs>
              <a:gs pos="100000">
                <a:schemeClr val="accent1">
                  <a:lumMod val="75000"/>
                </a:schemeClr>
              </a:gs>
            </a:gsLst>
            <a:lin ang="2700000" scaled="0"/>
          </a:gradFill>
          <a:ln w="25400" cap="flat" cmpd="sng" algn="ctr">
            <a:noFill/>
            <a:prstDash val="solid"/>
            <a:miter lim="800000"/>
          </a:ln>
          <a:effectLst>
            <a:outerShdw blurRad="254000" dist="88900" dir="2700000" algn="tl" rotWithShape="0">
              <a:schemeClr val="accent1">
                <a:lumMod val="50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zh-CN" altLang="en-US"/>
          </a:p>
        </p:txBody>
      </p:sp>
      <p:sp>
        <p:nvSpPr>
          <p:cNvPr id="35" name="文本框 34">
            <a:extLst>
              <a:ext uri="{FF2B5EF4-FFF2-40B4-BE49-F238E27FC236}">
                <a16:creationId xmlns:a16="http://schemas.microsoft.com/office/drawing/2014/main" id="{726C1EF5-3062-469D-AECA-0F6E7B6C6FCC}"/>
              </a:ext>
            </a:extLst>
          </p:cNvPr>
          <p:cNvSpPr txBox="1"/>
          <p:nvPr/>
        </p:nvSpPr>
        <p:spPr>
          <a:xfrm>
            <a:off x="9545150" y="3613597"/>
            <a:ext cx="1282402" cy="307777"/>
          </a:xfrm>
          <a:prstGeom prst="rect">
            <a:avLst/>
          </a:prstGeom>
          <a:noFill/>
          <a:effectLst/>
        </p:spPr>
        <p:txBody>
          <a:bodyPr wrap="none" lIns="0" tIns="0" rIns="0" bIns="0" rtlCol="0" anchor="t">
            <a:spAutoFit/>
          </a:bodyPr>
          <a:lstStyle/>
          <a:p>
            <a:pPr algn="ctr"/>
            <a:r>
              <a:rPr lang="zh-CN" altLang="en-US" sz="2000" dirty="0">
                <a:solidFill>
                  <a:schemeClr val="accent1"/>
                </a:solidFill>
                <a:latin typeface="+mj-ea"/>
                <a:ea typeface="+mj-ea"/>
              </a:rPr>
              <a:t>关键词标题</a:t>
            </a:r>
          </a:p>
        </p:txBody>
      </p:sp>
      <p:sp>
        <p:nvSpPr>
          <p:cNvPr id="36" name="文本框 35">
            <a:extLst>
              <a:ext uri="{FF2B5EF4-FFF2-40B4-BE49-F238E27FC236}">
                <a16:creationId xmlns:a16="http://schemas.microsoft.com/office/drawing/2014/main" id="{37340800-8246-4A34-BB92-69CE3606B5BB}"/>
              </a:ext>
            </a:extLst>
          </p:cNvPr>
          <p:cNvSpPr txBox="1"/>
          <p:nvPr/>
        </p:nvSpPr>
        <p:spPr>
          <a:xfrm>
            <a:off x="9416910" y="4074575"/>
            <a:ext cx="1538882" cy="944939"/>
          </a:xfrm>
          <a:prstGeom prst="rect">
            <a:avLst/>
          </a:prstGeom>
          <a:noFill/>
          <a:effectLst/>
        </p:spPr>
        <p:txBody>
          <a:bodyPr wrap="square" lIns="0" tIns="0" rIns="0" bIns="0" rtlCol="0" anchor="t">
            <a:spAutoFit/>
          </a:bodyPr>
          <a:lstStyle/>
          <a:p>
            <a:pPr algn="ctr">
              <a:lnSpc>
                <a:spcPct val="130000"/>
              </a:lnSpc>
            </a:pPr>
            <a:r>
              <a:rPr lang="en-US" altLang="zh-CN" sz="1200" b="0" dirty="0">
                <a:solidFill>
                  <a:schemeClr val="tx1">
                    <a:lumMod val="75000"/>
                    <a:lumOff val="25000"/>
                  </a:schemeClr>
                </a:solidFill>
                <a:effectLst/>
                <a:latin typeface="+mn-ea"/>
              </a:rPr>
              <a:t>Lorem ipsum dolor sit ametconsectetur adipisicing elit</a:t>
            </a:r>
            <a:r>
              <a:rPr lang="en-US" altLang="zh-CN" sz="1200" dirty="0">
                <a:solidFill>
                  <a:schemeClr val="tx1">
                    <a:lumMod val="75000"/>
                    <a:lumOff val="25000"/>
                  </a:schemeClr>
                </a:solidFill>
                <a:latin typeface="+mn-ea"/>
              </a:rPr>
              <a:t> </a:t>
            </a:r>
            <a:r>
              <a:rPr lang="en-US" altLang="zh-CN" sz="1200" b="0" dirty="0">
                <a:solidFill>
                  <a:schemeClr val="tx1">
                    <a:lumMod val="75000"/>
                    <a:lumOff val="25000"/>
                  </a:schemeClr>
                </a:solidFill>
                <a:effectLst/>
                <a:latin typeface="+mn-ea"/>
              </a:rPr>
              <a:t>sed do eiusmod tempor</a:t>
            </a:r>
            <a:endParaRPr lang="zh-CN" altLang="en-US" sz="1200" b="0" dirty="0">
              <a:solidFill>
                <a:schemeClr val="tx1">
                  <a:lumMod val="75000"/>
                  <a:lumOff val="25000"/>
                </a:schemeClr>
              </a:solidFill>
              <a:effectLst/>
              <a:latin typeface="+mn-ea"/>
            </a:endParaRPr>
          </a:p>
        </p:txBody>
      </p:sp>
      <p:cxnSp>
        <p:nvCxnSpPr>
          <p:cNvPr id="37" name="直接连接符 36">
            <a:extLst>
              <a:ext uri="{FF2B5EF4-FFF2-40B4-BE49-F238E27FC236}">
                <a16:creationId xmlns:a16="http://schemas.microsoft.com/office/drawing/2014/main" id="{854A2595-E28C-4D19-BF8A-EA12D0F8C4F3}"/>
              </a:ext>
            </a:extLst>
          </p:cNvPr>
          <p:cNvCxnSpPr/>
          <p:nvPr/>
        </p:nvCxnSpPr>
        <p:spPr>
          <a:xfrm>
            <a:off x="10028969" y="3992025"/>
            <a:ext cx="320040" cy="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38" name="椭圆 37">
            <a:extLst>
              <a:ext uri="{FF2B5EF4-FFF2-40B4-BE49-F238E27FC236}">
                <a16:creationId xmlns:a16="http://schemas.microsoft.com/office/drawing/2014/main" id="{4743F71A-523F-4741-AC47-DC0D1DD053AF}"/>
              </a:ext>
            </a:extLst>
          </p:cNvPr>
          <p:cNvSpPr/>
          <p:nvPr/>
        </p:nvSpPr>
        <p:spPr>
          <a:xfrm>
            <a:off x="9748619" y="2280367"/>
            <a:ext cx="792480" cy="792480"/>
          </a:xfrm>
          <a:prstGeom prst="ellipse">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43" name="iconfont-1179-866479">
            <a:extLst>
              <a:ext uri="{FF2B5EF4-FFF2-40B4-BE49-F238E27FC236}">
                <a16:creationId xmlns:a16="http://schemas.microsoft.com/office/drawing/2014/main" id="{1B0BA0A1-C73A-4B9B-8AEC-D5BFC853C8D0}"/>
              </a:ext>
            </a:extLst>
          </p:cNvPr>
          <p:cNvSpPr/>
          <p:nvPr/>
        </p:nvSpPr>
        <p:spPr>
          <a:xfrm>
            <a:off x="9972244" y="2506981"/>
            <a:ext cx="345230" cy="332928"/>
          </a:xfrm>
          <a:custGeom>
            <a:avLst/>
            <a:gdLst>
              <a:gd name="T0" fmla="*/ 11888 w 12803"/>
              <a:gd name="T1" fmla="*/ 0 h 12345"/>
              <a:gd name="T2" fmla="*/ 914 w 12803"/>
              <a:gd name="T3" fmla="*/ 0 h 12345"/>
              <a:gd name="T4" fmla="*/ 0 w 12803"/>
              <a:gd name="T5" fmla="*/ 914 h 12345"/>
              <a:gd name="T6" fmla="*/ 0 w 12803"/>
              <a:gd name="T7" fmla="*/ 8687 h 12345"/>
              <a:gd name="T8" fmla="*/ 914 w 12803"/>
              <a:gd name="T9" fmla="*/ 9602 h 12345"/>
              <a:gd name="T10" fmla="*/ 3201 w 12803"/>
              <a:gd name="T11" fmla="*/ 9602 h 12345"/>
              <a:gd name="T12" fmla="*/ 3201 w 12803"/>
              <a:gd name="T13" fmla="*/ 12345 h 12345"/>
              <a:gd name="T14" fmla="*/ 8230 w 12803"/>
              <a:gd name="T15" fmla="*/ 9602 h 12345"/>
              <a:gd name="T16" fmla="*/ 11888 w 12803"/>
              <a:gd name="T17" fmla="*/ 9602 h 12345"/>
              <a:gd name="T18" fmla="*/ 12803 w 12803"/>
              <a:gd name="T19" fmla="*/ 8687 h 12345"/>
              <a:gd name="T20" fmla="*/ 12803 w 12803"/>
              <a:gd name="T21" fmla="*/ 914 h 12345"/>
              <a:gd name="T22" fmla="*/ 11888 w 12803"/>
              <a:gd name="T23" fmla="*/ 0 h 12345"/>
              <a:gd name="T24" fmla="*/ 3201 w 12803"/>
              <a:gd name="T25" fmla="*/ 5487 h 12345"/>
              <a:gd name="T26" fmla="*/ 2286 w 12803"/>
              <a:gd name="T27" fmla="*/ 4572 h 12345"/>
              <a:gd name="T28" fmla="*/ 3201 w 12803"/>
              <a:gd name="T29" fmla="*/ 3658 h 12345"/>
              <a:gd name="T30" fmla="*/ 4115 w 12803"/>
              <a:gd name="T31" fmla="*/ 4572 h 12345"/>
              <a:gd name="T32" fmla="*/ 3201 w 12803"/>
              <a:gd name="T33" fmla="*/ 5487 h 12345"/>
              <a:gd name="T34" fmla="*/ 6401 w 12803"/>
              <a:gd name="T35" fmla="*/ 5487 h 12345"/>
              <a:gd name="T36" fmla="*/ 5487 w 12803"/>
              <a:gd name="T37" fmla="*/ 4572 h 12345"/>
              <a:gd name="T38" fmla="*/ 6401 w 12803"/>
              <a:gd name="T39" fmla="*/ 3658 h 12345"/>
              <a:gd name="T40" fmla="*/ 7316 w 12803"/>
              <a:gd name="T41" fmla="*/ 4572 h 12345"/>
              <a:gd name="T42" fmla="*/ 6401 w 12803"/>
              <a:gd name="T43" fmla="*/ 5487 h 12345"/>
              <a:gd name="T44" fmla="*/ 9602 w 12803"/>
              <a:gd name="T45" fmla="*/ 5487 h 12345"/>
              <a:gd name="T46" fmla="*/ 8687 w 12803"/>
              <a:gd name="T47" fmla="*/ 4572 h 12345"/>
              <a:gd name="T48" fmla="*/ 9602 w 12803"/>
              <a:gd name="T49" fmla="*/ 3658 h 12345"/>
              <a:gd name="T50" fmla="*/ 10516 w 12803"/>
              <a:gd name="T51" fmla="*/ 4572 h 12345"/>
              <a:gd name="T52" fmla="*/ 9602 w 12803"/>
              <a:gd name="T53" fmla="*/ 5487 h 12345"/>
              <a:gd name="T54" fmla="*/ 9602 w 12803"/>
              <a:gd name="T55" fmla="*/ 5487 h 123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2803" h="12345">
                <a:moveTo>
                  <a:pt x="11888" y="0"/>
                </a:moveTo>
                <a:lnTo>
                  <a:pt x="914" y="0"/>
                </a:lnTo>
                <a:cubicBezTo>
                  <a:pt x="409" y="0"/>
                  <a:pt x="0" y="409"/>
                  <a:pt x="0" y="914"/>
                </a:cubicBezTo>
                <a:lnTo>
                  <a:pt x="0" y="8687"/>
                </a:lnTo>
                <a:cubicBezTo>
                  <a:pt x="0" y="9193"/>
                  <a:pt x="409" y="9602"/>
                  <a:pt x="914" y="9602"/>
                </a:cubicBezTo>
                <a:lnTo>
                  <a:pt x="3201" y="9602"/>
                </a:lnTo>
                <a:lnTo>
                  <a:pt x="3201" y="12345"/>
                </a:lnTo>
                <a:lnTo>
                  <a:pt x="8230" y="9602"/>
                </a:lnTo>
                <a:lnTo>
                  <a:pt x="11888" y="9602"/>
                </a:lnTo>
                <a:cubicBezTo>
                  <a:pt x="12393" y="9602"/>
                  <a:pt x="12803" y="9193"/>
                  <a:pt x="12803" y="8687"/>
                </a:cubicBezTo>
                <a:lnTo>
                  <a:pt x="12803" y="914"/>
                </a:lnTo>
                <a:cubicBezTo>
                  <a:pt x="12803" y="409"/>
                  <a:pt x="12393" y="0"/>
                  <a:pt x="11888" y="0"/>
                </a:cubicBezTo>
                <a:close/>
                <a:moveTo>
                  <a:pt x="3201" y="5487"/>
                </a:moveTo>
                <a:cubicBezTo>
                  <a:pt x="2695" y="5487"/>
                  <a:pt x="2286" y="5077"/>
                  <a:pt x="2286" y="4572"/>
                </a:cubicBezTo>
                <a:cubicBezTo>
                  <a:pt x="2286" y="4067"/>
                  <a:pt x="2695" y="3658"/>
                  <a:pt x="3201" y="3658"/>
                </a:cubicBezTo>
                <a:cubicBezTo>
                  <a:pt x="3706" y="3658"/>
                  <a:pt x="4115" y="4067"/>
                  <a:pt x="4115" y="4572"/>
                </a:cubicBezTo>
                <a:cubicBezTo>
                  <a:pt x="4115" y="5077"/>
                  <a:pt x="3706" y="5487"/>
                  <a:pt x="3201" y="5487"/>
                </a:cubicBezTo>
                <a:close/>
                <a:moveTo>
                  <a:pt x="6401" y="5487"/>
                </a:moveTo>
                <a:cubicBezTo>
                  <a:pt x="5896" y="5487"/>
                  <a:pt x="5487" y="5077"/>
                  <a:pt x="5487" y="4572"/>
                </a:cubicBezTo>
                <a:cubicBezTo>
                  <a:pt x="5487" y="4067"/>
                  <a:pt x="5896" y="3658"/>
                  <a:pt x="6401" y="3658"/>
                </a:cubicBezTo>
                <a:cubicBezTo>
                  <a:pt x="6907" y="3658"/>
                  <a:pt x="7316" y="4067"/>
                  <a:pt x="7316" y="4572"/>
                </a:cubicBezTo>
                <a:cubicBezTo>
                  <a:pt x="7316" y="5077"/>
                  <a:pt x="6907" y="5487"/>
                  <a:pt x="6401" y="5487"/>
                </a:cubicBezTo>
                <a:close/>
                <a:moveTo>
                  <a:pt x="9602" y="5487"/>
                </a:moveTo>
                <a:cubicBezTo>
                  <a:pt x="9097" y="5487"/>
                  <a:pt x="8687" y="5077"/>
                  <a:pt x="8687" y="4572"/>
                </a:cubicBezTo>
                <a:cubicBezTo>
                  <a:pt x="8687" y="4067"/>
                  <a:pt x="9097" y="3658"/>
                  <a:pt x="9602" y="3658"/>
                </a:cubicBezTo>
                <a:cubicBezTo>
                  <a:pt x="10107" y="3658"/>
                  <a:pt x="10516" y="4067"/>
                  <a:pt x="10516" y="4572"/>
                </a:cubicBezTo>
                <a:cubicBezTo>
                  <a:pt x="10516" y="5077"/>
                  <a:pt x="10107" y="5487"/>
                  <a:pt x="9602" y="5487"/>
                </a:cubicBezTo>
                <a:close/>
                <a:moveTo>
                  <a:pt x="9602" y="5487"/>
                </a:move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spTree>
    <p:custDataLst>
      <p:tags r:id="rId2"/>
    </p:custDataLst>
    <p:extLst>
      <p:ext uri="{BB962C8B-B14F-4D97-AF65-F5344CB8AC3E}">
        <p14:creationId xmlns:p14="http://schemas.microsoft.com/office/powerpoint/2010/main" val="3909144720"/>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2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 name="直接连接符 4">
            <a:extLst>
              <a:ext uri="{FF2B5EF4-FFF2-40B4-BE49-F238E27FC236}">
                <a16:creationId xmlns:a16="http://schemas.microsoft.com/office/drawing/2014/main" id="{CDDF4A0F-256D-4501-9CA3-8558ECA15A26}"/>
              </a:ext>
            </a:extLst>
          </p:cNvPr>
          <p:cNvCxnSpPr/>
          <p:nvPr/>
        </p:nvCxnSpPr>
        <p:spPr>
          <a:xfrm>
            <a:off x="1558290" y="3622613"/>
            <a:ext cx="9086850" cy="0"/>
          </a:xfrm>
          <a:prstGeom prst="line">
            <a:avLst/>
          </a:prstGeom>
          <a:ln w="25718"/>
          <a:effectLst/>
        </p:spPr>
        <p:style>
          <a:lnRef idx="1">
            <a:schemeClr val="accent1"/>
          </a:lnRef>
          <a:fillRef idx="0">
            <a:schemeClr val="accent1"/>
          </a:fillRef>
          <a:effectRef idx="0">
            <a:schemeClr val="accent1"/>
          </a:effectRef>
          <a:fontRef idx="minor">
            <a:schemeClr val="tx1"/>
          </a:fontRef>
        </p:style>
      </p:cxnSp>
      <p:sp>
        <p:nvSpPr>
          <p:cNvPr id="6" name="椭圆 5">
            <a:extLst>
              <a:ext uri="{FF2B5EF4-FFF2-40B4-BE49-F238E27FC236}">
                <a16:creationId xmlns:a16="http://schemas.microsoft.com/office/drawing/2014/main" id="{62B9C958-DB11-4001-A6ED-893A0E405AD9}"/>
              </a:ext>
            </a:extLst>
          </p:cNvPr>
          <p:cNvSpPr/>
          <p:nvPr/>
        </p:nvSpPr>
        <p:spPr>
          <a:xfrm>
            <a:off x="1408271" y="3541175"/>
            <a:ext cx="162878" cy="162878"/>
          </a:xfrm>
          <a:prstGeom prst="ellipse">
            <a:avLst/>
          </a:prstGeom>
          <a:solidFill>
            <a:schemeClr val="bg1"/>
          </a:solidFill>
          <a:ln w="25718">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82296" tIns="41148" rIns="82296" bIns="41148" rtlCol="0" anchor="ctr"/>
          <a:lstStyle/>
          <a:p>
            <a:pPr algn="l"/>
            <a:endParaRPr lang="zh-CN" altLang="en-US" sz="1440">
              <a:solidFill>
                <a:schemeClr val="bg1"/>
              </a:solidFill>
              <a:latin typeface="+mj-ea"/>
              <a:ea typeface="+mj-ea"/>
            </a:endParaRPr>
          </a:p>
        </p:txBody>
      </p:sp>
      <p:sp>
        <p:nvSpPr>
          <p:cNvPr id="7" name="椭圆 6">
            <a:extLst>
              <a:ext uri="{FF2B5EF4-FFF2-40B4-BE49-F238E27FC236}">
                <a16:creationId xmlns:a16="http://schemas.microsoft.com/office/drawing/2014/main" id="{7C3F3919-7EA6-42A1-B8E5-A04B620AF02B}"/>
              </a:ext>
            </a:extLst>
          </p:cNvPr>
          <p:cNvSpPr/>
          <p:nvPr/>
        </p:nvSpPr>
        <p:spPr>
          <a:xfrm>
            <a:off x="10563700" y="3541175"/>
            <a:ext cx="162878" cy="162878"/>
          </a:xfrm>
          <a:prstGeom prst="ellipse">
            <a:avLst/>
          </a:prstGeom>
          <a:solidFill>
            <a:schemeClr val="bg1"/>
          </a:solidFill>
          <a:ln w="25718">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82296" tIns="41148" rIns="82296" bIns="41148" rtlCol="0" anchor="ctr"/>
          <a:lstStyle/>
          <a:p>
            <a:pPr algn="l"/>
            <a:endParaRPr lang="zh-CN" altLang="en-US" sz="1440">
              <a:solidFill>
                <a:schemeClr val="bg1"/>
              </a:solidFill>
              <a:latin typeface="+mj-ea"/>
              <a:ea typeface="+mj-ea"/>
            </a:endParaRPr>
          </a:p>
        </p:txBody>
      </p:sp>
      <p:sp>
        <p:nvSpPr>
          <p:cNvPr id="8" name="椭圆 7">
            <a:extLst>
              <a:ext uri="{FF2B5EF4-FFF2-40B4-BE49-F238E27FC236}">
                <a16:creationId xmlns:a16="http://schemas.microsoft.com/office/drawing/2014/main" id="{6C5B4351-67D3-4A88-AD7A-60AC000F8102}"/>
              </a:ext>
            </a:extLst>
          </p:cNvPr>
          <p:cNvSpPr/>
          <p:nvPr/>
        </p:nvSpPr>
        <p:spPr>
          <a:xfrm>
            <a:off x="2830450" y="3622613"/>
            <a:ext cx="488632" cy="488632"/>
          </a:xfrm>
          <a:custGeom>
            <a:avLst/>
            <a:gdLst>
              <a:gd name="connsiteX0" fmla="*/ 0 w 1085849"/>
              <a:gd name="connsiteY0" fmla="*/ 542925 h 1085849"/>
              <a:gd name="connsiteX1" fmla="*/ 542925 w 1085849"/>
              <a:gd name="connsiteY1" fmla="*/ 0 h 1085849"/>
              <a:gd name="connsiteX2" fmla="*/ 1085850 w 1085849"/>
              <a:gd name="connsiteY2" fmla="*/ 542925 h 1085849"/>
              <a:gd name="connsiteX3" fmla="*/ 542925 w 1085849"/>
              <a:gd name="connsiteY3" fmla="*/ 1085850 h 1085849"/>
              <a:gd name="connsiteX4" fmla="*/ 0 w 1085849"/>
              <a:gd name="connsiteY4" fmla="*/ 542925 h 1085849"/>
              <a:gd name="connsiteX0" fmla="*/ 0 w 1085850"/>
              <a:gd name="connsiteY0" fmla="*/ 542925 h 1085850"/>
              <a:gd name="connsiteX1" fmla="*/ 542925 w 1085850"/>
              <a:gd name="connsiteY1" fmla="*/ 0 h 1085850"/>
              <a:gd name="connsiteX2" fmla="*/ 1085850 w 1085850"/>
              <a:gd name="connsiteY2" fmla="*/ 542925 h 1085850"/>
              <a:gd name="connsiteX3" fmla="*/ 542925 w 1085850"/>
              <a:gd name="connsiteY3" fmla="*/ 1085850 h 1085850"/>
              <a:gd name="connsiteX4" fmla="*/ 91440 w 1085850"/>
              <a:gd name="connsiteY4" fmla="*/ 634365 h 1085850"/>
              <a:gd name="connsiteX0" fmla="*/ 0 w 1085850"/>
              <a:gd name="connsiteY0" fmla="*/ 542925 h 1085850"/>
              <a:gd name="connsiteX1" fmla="*/ 542925 w 1085850"/>
              <a:gd name="connsiteY1" fmla="*/ 0 h 1085850"/>
              <a:gd name="connsiteX2" fmla="*/ 1085850 w 1085850"/>
              <a:gd name="connsiteY2" fmla="*/ 542925 h 1085850"/>
              <a:gd name="connsiteX3" fmla="*/ 542925 w 1085850"/>
              <a:gd name="connsiteY3" fmla="*/ 1085850 h 1085850"/>
              <a:gd name="connsiteX0" fmla="*/ 0 w 1085850"/>
              <a:gd name="connsiteY0" fmla="*/ 542925 h 542925"/>
              <a:gd name="connsiteX1" fmla="*/ 542925 w 1085850"/>
              <a:gd name="connsiteY1" fmla="*/ 0 h 542925"/>
              <a:gd name="connsiteX2" fmla="*/ 1085850 w 1085850"/>
              <a:gd name="connsiteY2" fmla="*/ 542925 h 542925"/>
              <a:gd name="connsiteX0" fmla="*/ 0 w 542925"/>
              <a:gd name="connsiteY0" fmla="*/ 0 h 542925"/>
              <a:gd name="connsiteX1" fmla="*/ 542925 w 542925"/>
              <a:gd name="connsiteY1" fmla="*/ 542925 h 542925"/>
            </a:gdLst>
            <a:ahLst/>
            <a:cxnLst>
              <a:cxn ang="0">
                <a:pos x="connsiteX0" y="connsiteY0"/>
              </a:cxn>
              <a:cxn ang="0">
                <a:pos x="connsiteX1" y="connsiteY1"/>
              </a:cxn>
            </a:cxnLst>
            <a:rect l="l" t="t" r="r" b="b"/>
            <a:pathLst>
              <a:path w="542925" h="542925">
                <a:moveTo>
                  <a:pt x="0" y="0"/>
                </a:moveTo>
                <a:cubicBezTo>
                  <a:pt x="299849" y="0"/>
                  <a:pt x="542925" y="243076"/>
                  <a:pt x="542925" y="542925"/>
                </a:cubicBezTo>
              </a:path>
            </a:pathLst>
          </a:custGeom>
          <a:noFill/>
          <a:ln w="25718">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82296" tIns="41148" rIns="82296" bIns="41148" rtlCol="0" anchor="ctr"/>
          <a:lstStyle/>
          <a:p>
            <a:pPr algn="l"/>
            <a:endParaRPr lang="zh-CN" altLang="en-US" sz="1440">
              <a:solidFill>
                <a:schemeClr val="bg1"/>
              </a:solidFill>
              <a:latin typeface="+mj-ea"/>
              <a:ea typeface="+mj-ea"/>
            </a:endParaRPr>
          </a:p>
        </p:txBody>
      </p:sp>
      <p:sp>
        <p:nvSpPr>
          <p:cNvPr id="33" name="椭圆 32">
            <a:extLst>
              <a:ext uri="{FF2B5EF4-FFF2-40B4-BE49-F238E27FC236}">
                <a16:creationId xmlns:a16="http://schemas.microsoft.com/office/drawing/2014/main" id="{C0D3B125-540B-44CF-8673-61D31DCE6577}"/>
              </a:ext>
            </a:extLst>
          </p:cNvPr>
          <p:cNvSpPr/>
          <p:nvPr/>
        </p:nvSpPr>
        <p:spPr>
          <a:xfrm>
            <a:off x="3264219" y="4111246"/>
            <a:ext cx="109728" cy="109728"/>
          </a:xfrm>
          <a:prstGeom prst="ellipse">
            <a:avLst/>
          </a:prstGeom>
          <a:solidFill>
            <a:schemeClr val="bg1"/>
          </a:solidFill>
          <a:ln w="25718">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82296" tIns="41148" rIns="82296" bIns="41148" rtlCol="0" anchor="ctr"/>
          <a:lstStyle/>
          <a:p>
            <a:pPr algn="l"/>
            <a:endParaRPr lang="zh-CN" altLang="en-US" sz="1440">
              <a:solidFill>
                <a:schemeClr val="bg1"/>
              </a:solidFill>
              <a:latin typeface="+mj-ea"/>
              <a:ea typeface="+mj-ea"/>
            </a:endParaRPr>
          </a:p>
        </p:txBody>
      </p:sp>
      <p:sp>
        <p:nvSpPr>
          <p:cNvPr id="34" name="矩形: 圆角 33">
            <a:extLst>
              <a:ext uri="{FF2B5EF4-FFF2-40B4-BE49-F238E27FC236}">
                <a16:creationId xmlns:a16="http://schemas.microsoft.com/office/drawing/2014/main" id="{1A07C405-3BE1-4A1F-94C5-B7455811E29B}"/>
              </a:ext>
            </a:extLst>
          </p:cNvPr>
          <p:cNvSpPr/>
          <p:nvPr>
            <p:custDataLst>
              <p:tags r:id="rId2"/>
            </p:custDataLst>
          </p:nvPr>
        </p:nvSpPr>
        <p:spPr>
          <a:xfrm>
            <a:off x="2321507" y="4346001"/>
            <a:ext cx="2104879" cy="1434026"/>
          </a:xfrm>
          <a:prstGeom prst="roundRect">
            <a:avLst>
              <a:gd name="adj" fmla="val 8980"/>
            </a:avLst>
          </a:prstGeom>
          <a:solidFill>
            <a:schemeClr val="bg1"/>
          </a:solidFill>
          <a:ln w="2286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82296" tIns="41148" rIns="82296" bIns="41148" rtlCol="0" anchor="ctr">
            <a:noAutofit/>
          </a:bodyPr>
          <a:lstStyle/>
          <a:p>
            <a:endParaRPr lang="zh-CN" altLang="en-US" sz="1440">
              <a:solidFill>
                <a:schemeClr val="bg1"/>
              </a:solidFill>
              <a:latin typeface="+mj-ea"/>
              <a:ea typeface="+mj-ea"/>
            </a:endParaRPr>
          </a:p>
        </p:txBody>
      </p:sp>
      <p:sp>
        <p:nvSpPr>
          <p:cNvPr id="35" name="矩形: 圆顶角 34">
            <a:extLst>
              <a:ext uri="{FF2B5EF4-FFF2-40B4-BE49-F238E27FC236}">
                <a16:creationId xmlns:a16="http://schemas.microsoft.com/office/drawing/2014/main" id="{6B52E559-6471-4EE0-A0C2-30F576C6A5A3}"/>
              </a:ext>
            </a:extLst>
          </p:cNvPr>
          <p:cNvSpPr/>
          <p:nvPr/>
        </p:nvSpPr>
        <p:spPr>
          <a:xfrm>
            <a:off x="2321507" y="4346000"/>
            <a:ext cx="2104879" cy="468190"/>
          </a:xfrm>
          <a:prstGeom prst="round2SameRect">
            <a:avLst>
              <a:gd name="adj1" fmla="val 28972"/>
              <a:gd name="adj2" fmla="val 0"/>
            </a:avLst>
          </a:prstGeom>
          <a:gradFill>
            <a:gsLst>
              <a:gs pos="0">
                <a:schemeClr val="accent1"/>
              </a:gs>
              <a:gs pos="100000">
                <a:schemeClr val="accent1">
                  <a:lumMod val="75000"/>
                </a:schemeClr>
              </a:gs>
            </a:gsLst>
            <a:lin ang="2700000" scaled="0"/>
          </a:gradFill>
          <a:ln w="254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296" tIns="41148" rIns="82296" bIns="41148" numCol="1" spcCol="0" rtlCol="0" fromWordArt="0" anchor="ctr" anchorCtr="0" forceAA="0" compatLnSpc="1">
            <a:prstTxWarp prst="textNoShape">
              <a:avLst/>
            </a:prstTxWarp>
            <a:noAutofit/>
          </a:bodyPr>
          <a:lstStyle/>
          <a:p>
            <a:pPr algn="ctr"/>
            <a:endParaRPr lang="zh-CN" altLang="en-US" sz="1620"/>
          </a:p>
        </p:txBody>
      </p:sp>
      <p:sp>
        <p:nvSpPr>
          <p:cNvPr id="36" name="文本框 35">
            <a:extLst>
              <a:ext uri="{FF2B5EF4-FFF2-40B4-BE49-F238E27FC236}">
                <a16:creationId xmlns:a16="http://schemas.microsoft.com/office/drawing/2014/main" id="{8842442A-F34F-4B4C-9988-33CAE06CE74E}"/>
              </a:ext>
            </a:extLst>
          </p:cNvPr>
          <p:cNvSpPr txBox="1"/>
          <p:nvPr/>
        </p:nvSpPr>
        <p:spPr>
          <a:xfrm>
            <a:off x="2742001" y="4441594"/>
            <a:ext cx="1154161" cy="276999"/>
          </a:xfrm>
          <a:prstGeom prst="rect">
            <a:avLst/>
          </a:prstGeom>
          <a:noFill/>
          <a:effectLst/>
        </p:spPr>
        <p:txBody>
          <a:bodyPr wrap="none" lIns="0" tIns="0" rIns="0" bIns="0" rtlCol="0" anchor="t">
            <a:spAutoFit/>
          </a:bodyPr>
          <a:lstStyle/>
          <a:p>
            <a:pPr algn="ctr"/>
            <a:r>
              <a:rPr lang="zh-CN" altLang="en-US" dirty="0">
                <a:solidFill>
                  <a:schemeClr val="bg1"/>
                </a:solidFill>
                <a:latin typeface="+mj-ea"/>
                <a:ea typeface="+mj-ea"/>
              </a:rPr>
              <a:t>关键词标题</a:t>
            </a:r>
          </a:p>
        </p:txBody>
      </p:sp>
      <p:sp>
        <p:nvSpPr>
          <p:cNvPr id="37" name="文本框 36">
            <a:extLst>
              <a:ext uri="{FF2B5EF4-FFF2-40B4-BE49-F238E27FC236}">
                <a16:creationId xmlns:a16="http://schemas.microsoft.com/office/drawing/2014/main" id="{866E8D08-1D7F-4DD8-8760-0DADBDAFBDFB}"/>
              </a:ext>
            </a:extLst>
          </p:cNvPr>
          <p:cNvSpPr txBox="1"/>
          <p:nvPr/>
        </p:nvSpPr>
        <p:spPr>
          <a:xfrm>
            <a:off x="2428687" y="4966928"/>
            <a:ext cx="1890520" cy="634386"/>
          </a:xfrm>
          <a:prstGeom prst="rect">
            <a:avLst/>
          </a:prstGeom>
          <a:noFill/>
          <a:effectLst/>
        </p:spPr>
        <p:txBody>
          <a:bodyPr wrap="square" lIns="0" tIns="0" rIns="0" bIns="0" rtlCol="0" anchor="t">
            <a:spAutoFit/>
          </a:bodyPr>
          <a:lstStyle/>
          <a:p>
            <a:pPr algn="ctr">
              <a:lnSpc>
                <a:spcPct val="130000"/>
              </a:lnSpc>
            </a:pPr>
            <a:r>
              <a:rPr lang="en-US" altLang="zh-CN" sz="1080" b="0" dirty="0">
                <a:solidFill>
                  <a:schemeClr val="tx1">
                    <a:lumMod val="75000"/>
                    <a:lumOff val="25000"/>
                  </a:schemeClr>
                </a:solidFill>
                <a:effectLst/>
                <a:latin typeface="+mn-ea"/>
              </a:rPr>
              <a:t>Lorem ipsum dolor sit ametconsectetur adipisicing elit</a:t>
            </a:r>
            <a:r>
              <a:rPr lang="en-US" altLang="zh-CN" sz="1080" dirty="0">
                <a:solidFill>
                  <a:schemeClr val="tx1">
                    <a:lumMod val="75000"/>
                    <a:lumOff val="25000"/>
                  </a:schemeClr>
                </a:solidFill>
                <a:latin typeface="+mn-ea"/>
              </a:rPr>
              <a:t> </a:t>
            </a:r>
            <a:r>
              <a:rPr lang="en-US" altLang="zh-CN" sz="1080" b="0" dirty="0">
                <a:solidFill>
                  <a:schemeClr val="tx1">
                    <a:lumMod val="75000"/>
                    <a:lumOff val="25000"/>
                  </a:schemeClr>
                </a:solidFill>
                <a:effectLst/>
                <a:latin typeface="+mn-ea"/>
              </a:rPr>
              <a:t>sed do eiusmod tempor</a:t>
            </a:r>
            <a:endParaRPr lang="zh-CN" altLang="en-US" sz="1080" b="0" dirty="0">
              <a:solidFill>
                <a:schemeClr val="tx1">
                  <a:lumMod val="75000"/>
                  <a:lumOff val="25000"/>
                </a:schemeClr>
              </a:solidFill>
              <a:effectLst/>
              <a:latin typeface="+mn-ea"/>
            </a:endParaRPr>
          </a:p>
        </p:txBody>
      </p:sp>
      <p:sp>
        <p:nvSpPr>
          <p:cNvPr id="38" name="矩形: 圆角 37">
            <a:extLst>
              <a:ext uri="{FF2B5EF4-FFF2-40B4-BE49-F238E27FC236}">
                <a16:creationId xmlns:a16="http://schemas.microsoft.com/office/drawing/2014/main" id="{22B3620A-0F1F-4990-96C1-6842F5FCE5B3}"/>
              </a:ext>
            </a:extLst>
          </p:cNvPr>
          <p:cNvSpPr/>
          <p:nvPr>
            <p:custDataLst>
              <p:tags r:id="rId3"/>
            </p:custDataLst>
          </p:nvPr>
        </p:nvSpPr>
        <p:spPr>
          <a:xfrm>
            <a:off x="3996836" y="1521242"/>
            <a:ext cx="2104879" cy="1434026"/>
          </a:xfrm>
          <a:prstGeom prst="roundRect">
            <a:avLst>
              <a:gd name="adj" fmla="val 8980"/>
            </a:avLst>
          </a:prstGeom>
          <a:solidFill>
            <a:schemeClr val="bg1"/>
          </a:solidFill>
          <a:ln w="2286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82296" tIns="41148" rIns="82296" bIns="41148" rtlCol="0" anchor="ctr">
            <a:noAutofit/>
          </a:bodyPr>
          <a:lstStyle/>
          <a:p>
            <a:endParaRPr lang="zh-CN" altLang="en-US" sz="1440">
              <a:solidFill>
                <a:schemeClr val="bg1"/>
              </a:solidFill>
              <a:latin typeface="+mj-ea"/>
              <a:ea typeface="+mj-ea"/>
            </a:endParaRPr>
          </a:p>
        </p:txBody>
      </p:sp>
      <p:sp>
        <p:nvSpPr>
          <p:cNvPr id="39" name="矩形: 圆顶角 38">
            <a:extLst>
              <a:ext uri="{FF2B5EF4-FFF2-40B4-BE49-F238E27FC236}">
                <a16:creationId xmlns:a16="http://schemas.microsoft.com/office/drawing/2014/main" id="{8B6DAEAB-02A9-461A-8199-525CDB658165}"/>
              </a:ext>
            </a:extLst>
          </p:cNvPr>
          <p:cNvSpPr/>
          <p:nvPr/>
        </p:nvSpPr>
        <p:spPr>
          <a:xfrm>
            <a:off x="3996836" y="1521240"/>
            <a:ext cx="2104879" cy="468190"/>
          </a:xfrm>
          <a:prstGeom prst="round2SameRect">
            <a:avLst>
              <a:gd name="adj1" fmla="val 28972"/>
              <a:gd name="adj2" fmla="val 0"/>
            </a:avLst>
          </a:prstGeom>
          <a:gradFill>
            <a:gsLst>
              <a:gs pos="0">
                <a:schemeClr val="accent1"/>
              </a:gs>
              <a:gs pos="100000">
                <a:schemeClr val="accent1">
                  <a:lumMod val="75000"/>
                </a:schemeClr>
              </a:gs>
            </a:gsLst>
            <a:lin ang="2700000" scaled="0"/>
          </a:gradFill>
          <a:ln w="254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296" tIns="41148" rIns="82296" bIns="41148" numCol="1" spcCol="0" rtlCol="0" fromWordArt="0" anchor="ctr" anchorCtr="0" forceAA="0" compatLnSpc="1">
            <a:prstTxWarp prst="textNoShape">
              <a:avLst/>
            </a:prstTxWarp>
            <a:noAutofit/>
          </a:bodyPr>
          <a:lstStyle/>
          <a:p>
            <a:pPr algn="ctr"/>
            <a:endParaRPr lang="zh-CN" altLang="en-US" sz="1620"/>
          </a:p>
        </p:txBody>
      </p:sp>
      <p:sp>
        <p:nvSpPr>
          <p:cNvPr id="40" name="文本框 39">
            <a:extLst>
              <a:ext uri="{FF2B5EF4-FFF2-40B4-BE49-F238E27FC236}">
                <a16:creationId xmlns:a16="http://schemas.microsoft.com/office/drawing/2014/main" id="{268AF9D9-981A-4FB7-9EEC-42014CFC8FC4}"/>
              </a:ext>
            </a:extLst>
          </p:cNvPr>
          <p:cNvSpPr txBox="1"/>
          <p:nvPr/>
        </p:nvSpPr>
        <p:spPr>
          <a:xfrm>
            <a:off x="4417331" y="1616835"/>
            <a:ext cx="1154161" cy="276999"/>
          </a:xfrm>
          <a:prstGeom prst="rect">
            <a:avLst/>
          </a:prstGeom>
          <a:noFill/>
          <a:effectLst/>
        </p:spPr>
        <p:txBody>
          <a:bodyPr wrap="none" lIns="0" tIns="0" rIns="0" bIns="0" rtlCol="0" anchor="t">
            <a:spAutoFit/>
          </a:bodyPr>
          <a:lstStyle/>
          <a:p>
            <a:pPr algn="ctr"/>
            <a:r>
              <a:rPr lang="zh-CN" altLang="en-US" dirty="0">
                <a:solidFill>
                  <a:schemeClr val="bg1"/>
                </a:solidFill>
                <a:latin typeface="+mj-ea"/>
                <a:ea typeface="+mj-ea"/>
              </a:rPr>
              <a:t>关键词标题</a:t>
            </a:r>
          </a:p>
        </p:txBody>
      </p:sp>
      <p:sp>
        <p:nvSpPr>
          <p:cNvPr id="41" name="文本框 40">
            <a:extLst>
              <a:ext uri="{FF2B5EF4-FFF2-40B4-BE49-F238E27FC236}">
                <a16:creationId xmlns:a16="http://schemas.microsoft.com/office/drawing/2014/main" id="{7264304D-4F95-4283-8422-8841220BC087}"/>
              </a:ext>
            </a:extLst>
          </p:cNvPr>
          <p:cNvSpPr txBox="1"/>
          <p:nvPr/>
        </p:nvSpPr>
        <p:spPr>
          <a:xfrm>
            <a:off x="4104015" y="2142168"/>
            <a:ext cx="1890520" cy="634386"/>
          </a:xfrm>
          <a:prstGeom prst="rect">
            <a:avLst/>
          </a:prstGeom>
          <a:noFill/>
          <a:effectLst/>
        </p:spPr>
        <p:txBody>
          <a:bodyPr wrap="square" lIns="0" tIns="0" rIns="0" bIns="0" rtlCol="0" anchor="t">
            <a:spAutoFit/>
          </a:bodyPr>
          <a:lstStyle/>
          <a:p>
            <a:pPr algn="ctr">
              <a:lnSpc>
                <a:spcPct val="130000"/>
              </a:lnSpc>
            </a:pPr>
            <a:r>
              <a:rPr lang="en-US" altLang="zh-CN" sz="1080" b="0" dirty="0">
                <a:solidFill>
                  <a:schemeClr val="tx1">
                    <a:lumMod val="75000"/>
                    <a:lumOff val="25000"/>
                  </a:schemeClr>
                </a:solidFill>
                <a:effectLst/>
                <a:latin typeface="+mn-ea"/>
              </a:rPr>
              <a:t>Lorem ipsum dolor sit ametconsectetur adipisicing elit</a:t>
            </a:r>
            <a:r>
              <a:rPr lang="en-US" altLang="zh-CN" sz="1080" dirty="0">
                <a:solidFill>
                  <a:schemeClr val="tx1">
                    <a:lumMod val="75000"/>
                    <a:lumOff val="25000"/>
                  </a:schemeClr>
                </a:solidFill>
                <a:latin typeface="+mn-ea"/>
              </a:rPr>
              <a:t> </a:t>
            </a:r>
            <a:r>
              <a:rPr lang="en-US" altLang="zh-CN" sz="1080" b="0" dirty="0">
                <a:solidFill>
                  <a:schemeClr val="tx1">
                    <a:lumMod val="75000"/>
                    <a:lumOff val="25000"/>
                  </a:schemeClr>
                </a:solidFill>
                <a:effectLst/>
                <a:latin typeface="+mn-ea"/>
              </a:rPr>
              <a:t>sed do eiusmod tempor</a:t>
            </a:r>
            <a:endParaRPr lang="zh-CN" altLang="en-US" sz="1080" b="0" dirty="0">
              <a:solidFill>
                <a:schemeClr val="tx1">
                  <a:lumMod val="75000"/>
                  <a:lumOff val="25000"/>
                </a:schemeClr>
              </a:solidFill>
              <a:effectLst/>
              <a:latin typeface="+mn-ea"/>
            </a:endParaRPr>
          </a:p>
        </p:txBody>
      </p:sp>
      <p:sp>
        <p:nvSpPr>
          <p:cNvPr id="42" name="椭圆 7">
            <a:extLst>
              <a:ext uri="{FF2B5EF4-FFF2-40B4-BE49-F238E27FC236}">
                <a16:creationId xmlns:a16="http://schemas.microsoft.com/office/drawing/2014/main" id="{51752D8D-1FAA-46A1-B363-BC56AD5F29B7}"/>
              </a:ext>
            </a:extLst>
          </p:cNvPr>
          <p:cNvSpPr/>
          <p:nvPr/>
        </p:nvSpPr>
        <p:spPr>
          <a:xfrm flipV="1">
            <a:off x="4544534" y="3133982"/>
            <a:ext cx="488632" cy="488632"/>
          </a:xfrm>
          <a:custGeom>
            <a:avLst/>
            <a:gdLst>
              <a:gd name="connsiteX0" fmla="*/ 0 w 1085849"/>
              <a:gd name="connsiteY0" fmla="*/ 542925 h 1085849"/>
              <a:gd name="connsiteX1" fmla="*/ 542925 w 1085849"/>
              <a:gd name="connsiteY1" fmla="*/ 0 h 1085849"/>
              <a:gd name="connsiteX2" fmla="*/ 1085850 w 1085849"/>
              <a:gd name="connsiteY2" fmla="*/ 542925 h 1085849"/>
              <a:gd name="connsiteX3" fmla="*/ 542925 w 1085849"/>
              <a:gd name="connsiteY3" fmla="*/ 1085850 h 1085849"/>
              <a:gd name="connsiteX4" fmla="*/ 0 w 1085849"/>
              <a:gd name="connsiteY4" fmla="*/ 542925 h 1085849"/>
              <a:gd name="connsiteX0" fmla="*/ 0 w 1085850"/>
              <a:gd name="connsiteY0" fmla="*/ 542925 h 1085850"/>
              <a:gd name="connsiteX1" fmla="*/ 542925 w 1085850"/>
              <a:gd name="connsiteY1" fmla="*/ 0 h 1085850"/>
              <a:gd name="connsiteX2" fmla="*/ 1085850 w 1085850"/>
              <a:gd name="connsiteY2" fmla="*/ 542925 h 1085850"/>
              <a:gd name="connsiteX3" fmla="*/ 542925 w 1085850"/>
              <a:gd name="connsiteY3" fmla="*/ 1085850 h 1085850"/>
              <a:gd name="connsiteX4" fmla="*/ 91440 w 1085850"/>
              <a:gd name="connsiteY4" fmla="*/ 634365 h 1085850"/>
              <a:gd name="connsiteX0" fmla="*/ 0 w 1085850"/>
              <a:gd name="connsiteY0" fmla="*/ 542925 h 1085850"/>
              <a:gd name="connsiteX1" fmla="*/ 542925 w 1085850"/>
              <a:gd name="connsiteY1" fmla="*/ 0 h 1085850"/>
              <a:gd name="connsiteX2" fmla="*/ 1085850 w 1085850"/>
              <a:gd name="connsiteY2" fmla="*/ 542925 h 1085850"/>
              <a:gd name="connsiteX3" fmla="*/ 542925 w 1085850"/>
              <a:gd name="connsiteY3" fmla="*/ 1085850 h 1085850"/>
              <a:gd name="connsiteX0" fmla="*/ 0 w 1085850"/>
              <a:gd name="connsiteY0" fmla="*/ 542925 h 542925"/>
              <a:gd name="connsiteX1" fmla="*/ 542925 w 1085850"/>
              <a:gd name="connsiteY1" fmla="*/ 0 h 542925"/>
              <a:gd name="connsiteX2" fmla="*/ 1085850 w 1085850"/>
              <a:gd name="connsiteY2" fmla="*/ 542925 h 542925"/>
              <a:gd name="connsiteX0" fmla="*/ 0 w 542925"/>
              <a:gd name="connsiteY0" fmla="*/ 0 h 542925"/>
              <a:gd name="connsiteX1" fmla="*/ 542925 w 542925"/>
              <a:gd name="connsiteY1" fmla="*/ 542925 h 542925"/>
            </a:gdLst>
            <a:ahLst/>
            <a:cxnLst>
              <a:cxn ang="0">
                <a:pos x="connsiteX0" y="connsiteY0"/>
              </a:cxn>
              <a:cxn ang="0">
                <a:pos x="connsiteX1" y="connsiteY1"/>
              </a:cxn>
            </a:cxnLst>
            <a:rect l="l" t="t" r="r" b="b"/>
            <a:pathLst>
              <a:path w="542925" h="542925">
                <a:moveTo>
                  <a:pt x="0" y="0"/>
                </a:moveTo>
                <a:cubicBezTo>
                  <a:pt x="299849" y="0"/>
                  <a:pt x="542925" y="243076"/>
                  <a:pt x="542925" y="542925"/>
                </a:cubicBezTo>
              </a:path>
            </a:pathLst>
          </a:custGeom>
          <a:noFill/>
          <a:ln w="25718">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82296" tIns="41148" rIns="82296" bIns="41148" rtlCol="0" anchor="ctr"/>
          <a:lstStyle/>
          <a:p>
            <a:pPr algn="l"/>
            <a:endParaRPr lang="zh-CN" altLang="en-US" sz="1440">
              <a:solidFill>
                <a:schemeClr val="bg1"/>
              </a:solidFill>
              <a:latin typeface="+mj-ea"/>
              <a:ea typeface="+mj-ea"/>
            </a:endParaRPr>
          </a:p>
        </p:txBody>
      </p:sp>
      <p:sp>
        <p:nvSpPr>
          <p:cNvPr id="43" name="椭圆 42">
            <a:extLst>
              <a:ext uri="{FF2B5EF4-FFF2-40B4-BE49-F238E27FC236}">
                <a16:creationId xmlns:a16="http://schemas.microsoft.com/office/drawing/2014/main" id="{B1F6B612-76FB-4EA0-AD30-6B1E602C4867}"/>
              </a:ext>
            </a:extLst>
          </p:cNvPr>
          <p:cNvSpPr/>
          <p:nvPr/>
        </p:nvSpPr>
        <p:spPr>
          <a:xfrm>
            <a:off x="4978303" y="3053400"/>
            <a:ext cx="109728" cy="109728"/>
          </a:xfrm>
          <a:prstGeom prst="ellipse">
            <a:avLst/>
          </a:prstGeom>
          <a:solidFill>
            <a:schemeClr val="bg1"/>
          </a:solidFill>
          <a:ln w="25718">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82296" tIns="41148" rIns="82296" bIns="41148" rtlCol="0" anchor="ctr"/>
          <a:lstStyle/>
          <a:p>
            <a:pPr algn="l"/>
            <a:endParaRPr lang="zh-CN" altLang="en-US" sz="1440">
              <a:solidFill>
                <a:schemeClr val="bg1"/>
              </a:solidFill>
              <a:latin typeface="+mj-ea"/>
              <a:ea typeface="+mj-ea"/>
            </a:endParaRPr>
          </a:p>
        </p:txBody>
      </p:sp>
      <p:sp>
        <p:nvSpPr>
          <p:cNvPr id="44" name="椭圆 7">
            <a:extLst>
              <a:ext uri="{FF2B5EF4-FFF2-40B4-BE49-F238E27FC236}">
                <a16:creationId xmlns:a16="http://schemas.microsoft.com/office/drawing/2014/main" id="{438F2981-9B77-4212-A7CB-0A1C48B61352}"/>
              </a:ext>
            </a:extLst>
          </p:cNvPr>
          <p:cNvSpPr/>
          <p:nvPr/>
        </p:nvSpPr>
        <p:spPr>
          <a:xfrm>
            <a:off x="6953821" y="3622613"/>
            <a:ext cx="488632" cy="488632"/>
          </a:xfrm>
          <a:custGeom>
            <a:avLst/>
            <a:gdLst>
              <a:gd name="connsiteX0" fmla="*/ 0 w 1085849"/>
              <a:gd name="connsiteY0" fmla="*/ 542925 h 1085849"/>
              <a:gd name="connsiteX1" fmla="*/ 542925 w 1085849"/>
              <a:gd name="connsiteY1" fmla="*/ 0 h 1085849"/>
              <a:gd name="connsiteX2" fmla="*/ 1085850 w 1085849"/>
              <a:gd name="connsiteY2" fmla="*/ 542925 h 1085849"/>
              <a:gd name="connsiteX3" fmla="*/ 542925 w 1085849"/>
              <a:gd name="connsiteY3" fmla="*/ 1085850 h 1085849"/>
              <a:gd name="connsiteX4" fmla="*/ 0 w 1085849"/>
              <a:gd name="connsiteY4" fmla="*/ 542925 h 1085849"/>
              <a:gd name="connsiteX0" fmla="*/ 0 w 1085850"/>
              <a:gd name="connsiteY0" fmla="*/ 542925 h 1085850"/>
              <a:gd name="connsiteX1" fmla="*/ 542925 w 1085850"/>
              <a:gd name="connsiteY1" fmla="*/ 0 h 1085850"/>
              <a:gd name="connsiteX2" fmla="*/ 1085850 w 1085850"/>
              <a:gd name="connsiteY2" fmla="*/ 542925 h 1085850"/>
              <a:gd name="connsiteX3" fmla="*/ 542925 w 1085850"/>
              <a:gd name="connsiteY3" fmla="*/ 1085850 h 1085850"/>
              <a:gd name="connsiteX4" fmla="*/ 91440 w 1085850"/>
              <a:gd name="connsiteY4" fmla="*/ 634365 h 1085850"/>
              <a:gd name="connsiteX0" fmla="*/ 0 w 1085850"/>
              <a:gd name="connsiteY0" fmla="*/ 542925 h 1085850"/>
              <a:gd name="connsiteX1" fmla="*/ 542925 w 1085850"/>
              <a:gd name="connsiteY1" fmla="*/ 0 h 1085850"/>
              <a:gd name="connsiteX2" fmla="*/ 1085850 w 1085850"/>
              <a:gd name="connsiteY2" fmla="*/ 542925 h 1085850"/>
              <a:gd name="connsiteX3" fmla="*/ 542925 w 1085850"/>
              <a:gd name="connsiteY3" fmla="*/ 1085850 h 1085850"/>
              <a:gd name="connsiteX0" fmla="*/ 0 w 1085850"/>
              <a:gd name="connsiteY0" fmla="*/ 542925 h 542925"/>
              <a:gd name="connsiteX1" fmla="*/ 542925 w 1085850"/>
              <a:gd name="connsiteY1" fmla="*/ 0 h 542925"/>
              <a:gd name="connsiteX2" fmla="*/ 1085850 w 1085850"/>
              <a:gd name="connsiteY2" fmla="*/ 542925 h 542925"/>
              <a:gd name="connsiteX0" fmla="*/ 0 w 542925"/>
              <a:gd name="connsiteY0" fmla="*/ 0 h 542925"/>
              <a:gd name="connsiteX1" fmla="*/ 542925 w 542925"/>
              <a:gd name="connsiteY1" fmla="*/ 542925 h 542925"/>
            </a:gdLst>
            <a:ahLst/>
            <a:cxnLst>
              <a:cxn ang="0">
                <a:pos x="connsiteX0" y="connsiteY0"/>
              </a:cxn>
              <a:cxn ang="0">
                <a:pos x="connsiteX1" y="connsiteY1"/>
              </a:cxn>
            </a:cxnLst>
            <a:rect l="l" t="t" r="r" b="b"/>
            <a:pathLst>
              <a:path w="542925" h="542925">
                <a:moveTo>
                  <a:pt x="0" y="0"/>
                </a:moveTo>
                <a:cubicBezTo>
                  <a:pt x="299849" y="0"/>
                  <a:pt x="542925" y="243076"/>
                  <a:pt x="542925" y="542925"/>
                </a:cubicBezTo>
              </a:path>
            </a:pathLst>
          </a:custGeom>
          <a:noFill/>
          <a:ln w="25718">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82296" tIns="41148" rIns="82296" bIns="41148" rtlCol="0" anchor="ctr"/>
          <a:lstStyle/>
          <a:p>
            <a:pPr algn="l"/>
            <a:endParaRPr lang="zh-CN" altLang="en-US" sz="1440">
              <a:solidFill>
                <a:schemeClr val="bg1"/>
              </a:solidFill>
              <a:latin typeface="+mj-ea"/>
              <a:ea typeface="+mj-ea"/>
            </a:endParaRPr>
          </a:p>
        </p:txBody>
      </p:sp>
      <p:sp>
        <p:nvSpPr>
          <p:cNvPr id="45" name="椭圆 44">
            <a:extLst>
              <a:ext uri="{FF2B5EF4-FFF2-40B4-BE49-F238E27FC236}">
                <a16:creationId xmlns:a16="http://schemas.microsoft.com/office/drawing/2014/main" id="{3B2FC502-B961-4DCD-95BD-868A84219B58}"/>
              </a:ext>
            </a:extLst>
          </p:cNvPr>
          <p:cNvSpPr/>
          <p:nvPr/>
        </p:nvSpPr>
        <p:spPr>
          <a:xfrm>
            <a:off x="7387591" y="4111246"/>
            <a:ext cx="109728" cy="109728"/>
          </a:xfrm>
          <a:prstGeom prst="ellipse">
            <a:avLst/>
          </a:prstGeom>
          <a:solidFill>
            <a:schemeClr val="bg1"/>
          </a:solidFill>
          <a:ln w="25718">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82296" tIns="41148" rIns="82296" bIns="41148" rtlCol="0" anchor="ctr"/>
          <a:lstStyle/>
          <a:p>
            <a:pPr algn="l"/>
            <a:endParaRPr lang="zh-CN" altLang="en-US" sz="1440">
              <a:solidFill>
                <a:schemeClr val="bg1"/>
              </a:solidFill>
              <a:latin typeface="+mj-ea"/>
              <a:ea typeface="+mj-ea"/>
            </a:endParaRPr>
          </a:p>
        </p:txBody>
      </p:sp>
      <p:sp>
        <p:nvSpPr>
          <p:cNvPr id="46" name="矩形: 圆角 45">
            <a:extLst>
              <a:ext uri="{FF2B5EF4-FFF2-40B4-BE49-F238E27FC236}">
                <a16:creationId xmlns:a16="http://schemas.microsoft.com/office/drawing/2014/main" id="{BD0B100E-9F75-404C-AB5D-B2B5201EBE17}"/>
              </a:ext>
            </a:extLst>
          </p:cNvPr>
          <p:cNvSpPr/>
          <p:nvPr>
            <p:custDataLst>
              <p:tags r:id="rId4"/>
            </p:custDataLst>
          </p:nvPr>
        </p:nvSpPr>
        <p:spPr>
          <a:xfrm>
            <a:off x="6444880" y="4346001"/>
            <a:ext cx="2104879" cy="1434026"/>
          </a:xfrm>
          <a:prstGeom prst="roundRect">
            <a:avLst>
              <a:gd name="adj" fmla="val 8980"/>
            </a:avLst>
          </a:prstGeom>
          <a:solidFill>
            <a:schemeClr val="bg1"/>
          </a:solidFill>
          <a:ln w="2286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82296" tIns="41148" rIns="82296" bIns="41148" rtlCol="0" anchor="ctr">
            <a:noAutofit/>
          </a:bodyPr>
          <a:lstStyle/>
          <a:p>
            <a:endParaRPr lang="zh-CN" altLang="en-US" sz="1440">
              <a:solidFill>
                <a:schemeClr val="bg1"/>
              </a:solidFill>
              <a:latin typeface="+mj-ea"/>
              <a:ea typeface="+mj-ea"/>
            </a:endParaRPr>
          </a:p>
        </p:txBody>
      </p:sp>
      <p:sp>
        <p:nvSpPr>
          <p:cNvPr id="47" name="矩形: 圆顶角 46">
            <a:extLst>
              <a:ext uri="{FF2B5EF4-FFF2-40B4-BE49-F238E27FC236}">
                <a16:creationId xmlns:a16="http://schemas.microsoft.com/office/drawing/2014/main" id="{60F0B8AC-BADC-4DBC-AACA-719D64FE8108}"/>
              </a:ext>
            </a:extLst>
          </p:cNvPr>
          <p:cNvSpPr/>
          <p:nvPr/>
        </p:nvSpPr>
        <p:spPr>
          <a:xfrm>
            <a:off x="6444880" y="4346000"/>
            <a:ext cx="2104879" cy="468190"/>
          </a:xfrm>
          <a:prstGeom prst="round2SameRect">
            <a:avLst>
              <a:gd name="adj1" fmla="val 28972"/>
              <a:gd name="adj2" fmla="val 0"/>
            </a:avLst>
          </a:prstGeom>
          <a:gradFill>
            <a:gsLst>
              <a:gs pos="0">
                <a:schemeClr val="accent1"/>
              </a:gs>
              <a:gs pos="100000">
                <a:schemeClr val="accent1">
                  <a:lumMod val="75000"/>
                </a:schemeClr>
              </a:gs>
            </a:gsLst>
            <a:lin ang="2700000" scaled="0"/>
          </a:gradFill>
          <a:ln w="254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296" tIns="41148" rIns="82296" bIns="41148" numCol="1" spcCol="0" rtlCol="0" fromWordArt="0" anchor="ctr" anchorCtr="0" forceAA="0" compatLnSpc="1">
            <a:prstTxWarp prst="textNoShape">
              <a:avLst/>
            </a:prstTxWarp>
            <a:noAutofit/>
          </a:bodyPr>
          <a:lstStyle/>
          <a:p>
            <a:pPr algn="ctr"/>
            <a:endParaRPr lang="zh-CN" altLang="en-US" sz="1620"/>
          </a:p>
        </p:txBody>
      </p:sp>
      <p:sp>
        <p:nvSpPr>
          <p:cNvPr id="48" name="文本框 47">
            <a:extLst>
              <a:ext uri="{FF2B5EF4-FFF2-40B4-BE49-F238E27FC236}">
                <a16:creationId xmlns:a16="http://schemas.microsoft.com/office/drawing/2014/main" id="{5A5F1C0F-6CD5-4A40-AC79-D32F4EC91917}"/>
              </a:ext>
            </a:extLst>
          </p:cNvPr>
          <p:cNvSpPr txBox="1"/>
          <p:nvPr/>
        </p:nvSpPr>
        <p:spPr>
          <a:xfrm>
            <a:off x="6865374" y="4441594"/>
            <a:ext cx="1154161" cy="276999"/>
          </a:xfrm>
          <a:prstGeom prst="rect">
            <a:avLst/>
          </a:prstGeom>
          <a:noFill/>
          <a:effectLst/>
        </p:spPr>
        <p:txBody>
          <a:bodyPr wrap="none" lIns="0" tIns="0" rIns="0" bIns="0" rtlCol="0" anchor="t">
            <a:spAutoFit/>
          </a:bodyPr>
          <a:lstStyle/>
          <a:p>
            <a:pPr algn="ctr"/>
            <a:r>
              <a:rPr lang="zh-CN" altLang="en-US" dirty="0">
                <a:solidFill>
                  <a:schemeClr val="bg1"/>
                </a:solidFill>
                <a:latin typeface="+mj-ea"/>
                <a:ea typeface="+mj-ea"/>
              </a:rPr>
              <a:t>关键词标题</a:t>
            </a:r>
          </a:p>
        </p:txBody>
      </p:sp>
      <p:sp>
        <p:nvSpPr>
          <p:cNvPr id="49" name="文本框 48">
            <a:extLst>
              <a:ext uri="{FF2B5EF4-FFF2-40B4-BE49-F238E27FC236}">
                <a16:creationId xmlns:a16="http://schemas.microsoft.com/office/drawing/2014/main" id="{37FDF48A-009A-43DC-B5D9-BA6BAF729C4A}"/>
              </a:ext>
            </a:extLst>
          </p:cNvPr>
          <p:cNvSpPr txBox="1"/>
          <p:nvPr/>
        </p:nvSpPr>
        <p:spPr>
          <a:xfrm>
            <a:off x="6552058" y="4966928"/>
            <a:ext cx="1890520" cy="634386"/>
          </a:xfrm>
          <a:prstGeom prst="rect">
            <a:avLst/>
          </a:prstGeom>
          <a:noFill/>
          <a:effectLst/>
        </p:spPr>
        <p:txBody>
          <a:bodyPr wrap="square" lIns="0" tIns="0" rIns="0" bIns="0" rtlCol="0" anchor="t">
            <a:spAutoFit/>
          </a:bodyPr>
          <a:lstStyle/>
          <a:p>
            <a:pPr algn="ctr">
              <a:lnSpc>
                <a:spcPct val="130000"/>
              </a:lnSpc>
            </a:pPr>
            <a:r>
              <a:rPr lang="en-US" altLang="zh-CN" sz="1080" b="0" dirty="0">
                <a:solidFill>
                  <a:schemeClr val="tx1">
                    <a:lumMod val="75000"/>
                    <a:lumOff val="25000"/>
                  </a:schemeClr>
                </a:solidFill>
                <a:effectLst/>
                <a:latin typeface="+mn-ea"/>
              </a:rPr>
              <a:t>Lorem ipsum dolor sit ametconsectetur adipisicing elit</a:t>
            </a:r>
            <a:r>
              <a:rPr lang="en-US" altLang="zh-CN" sz="1080" dirty="0">
                <a:solidFill>
                  <a:schemeClr val="tx1">
                    <a:lumMod val="75000"/>
                    <a:lumOff val="25000"/>
                  </a:schemeClr>
                </a:solidFill>
                <a:latin typeface="+mn-ea"/>
              </a:rPr>
              <a:t> </a:t>
            </a:r>
            <a:r>
              <a:rPr lang="en-US" altLang="zh-CN" sz="1080" b="0" dirty="0">
                <a:solidFill>
                  <a:schemeClr val="tx1">
                    <a:lumMod val="75000"/>
                    <a:lumOff val="25000"/>
                  </a:schemeClr>
                </a:solidFill>
                <a:effectLst/>
                <a:latin typeface="+mn-ea"/>
              </a:rPr>
              <a:t>sed do eiusmod tempor</a:t>
            </a:r>
            <a:endParaRPr lang="zh-CN" altLang="en-US" sz="1080" b="0" dirty="0">
              <a:solidFill>
                <a:schemeClr val="tx1">
                  <a:lumMod val="75000"/>
                  <a:lumOff val="25000"/>
                </a:schemeClr>
              </a:solidFill>
              <a:effectLst/>
              <a:latin typeface="+mn-ea"/>
            </a:endParaRPr>
          </a:p>
        </p:txBody>
      </p:sp>
      <p:sp>
        <p:nvSpPr>
          <p:cNvPr id="50" name="矩形: 圆角 49">
            <a:extLst>
              <a:ext uri="{FF2B5EF4-FFF2-40B4-BE49-F238E27FC236}">
                <a16:creationId xmlns:a16="http://schemas.microsoft.com/office/drawing/2014/main" id="{52977D6C-A7E7-49DE-B043-F5CFA232853F}"/>
              </a:ext>
            </a:extLst>
          </p:cNvPr>
          <p:cNvSpPr/>
          <p:nvPr>
            <p:custDataLst>
              <p:tags r:id="rId5"/>
            </p:custDataLst>
          </p:nvPr>
        </p:nvSpPr>
        <p:spPr>
          <a:xfrm>
            <a:off x="8120208" y="1521242"/>
            <a:ext cx="2104879" cy="1434026"/>
          </a:xfrm>
          <a:prstGeom prst="roundRect">
            <a:avLst>
              <a:gd name="adj" fmla="val 8980"/>
            </a:avLst>
          </a:prstGeom>
          <a:solidFill>
            <a:schemeClr val="bg1"/>
          </a:solidFill>
          <a:ln w="2286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82296" tIns="41148" rIns="82296" bIns="41148" rtlCol="0" anchor="ctr">
            <a:noAutofit/>
          </a:bodyPr>
          <a:lstStyle/>
          <a:p>
            <a:endParaRPr lang="zh-CN" altLang="en-US" sz="1440">
              <a:solidFill>
                <a:schemeClr val="bg1"/>
              </a:solidFill>
              <a:latin typeface="+mj-ea"/>
              <a:ea typeface="+mj-ea"/>
            </a:endParaRPr>
          </a:p>
        </p:txBody>
      </p:sp>
      <p:sp>
        <p:nvSpPr>
          <p:cNvPr id="51" name="矩形: 圆顶角 50">
            <a:extLst>
              <a:ext uri="{FF2B5EF4-FFF2-40B4-BE49-F238E27FC236}">
                <a16:creationId xmlns:a16="http://schemas.microsoft.com/office/drawing/2014/main" id="{746C9FAA-9D2D-4E6A-90A4-77557AAC43FB}"/>
              </a:ext>
            </a:extLst>
          </p:cNvPr>
          <p:cNvSpPr/>
          <p:nvPr/>
        </p:nvSpPr>
        <p:spPr>
          <a:xfrm>
            <a:off x="8120208" y="1521240"/>
            <a:ext cx="2104879" cy="468190"/>
          </a:xfrm>
          <a:prstGeom prst="round2SameRect">
            <a:avLst>
              <a:gd name="adj1" fmla="val 28972"/>
              <a:gd name="adj2" fmla="val 0"/>
            </a:avLst>
          </a:prstGeom>
          <a:gradFill>
            <a:gsLst>
              <a:gs pos="0">
                <a:schemeClr val="accent1"/>
              </a:gs>
              <a:gs pos="100000">
                <a:schemeClr val="accent1">
                  <a:lumMod val="75000"/>
                </a:schemeClr>
              </a:gs>
            </a:gsLst>
            <a:lin ang="2700000" scaled="0"/>
          </a:gradFill>
          <a:ln w="254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296" tIns="41148" rIns="82296" bIns="41148" numCol="1" spcCol="0" rtlCol="0" fromWordArt="0" anchor="ctr" anchorCtr="0" forceAA="0" compatLnSpc="1">
            <a:prstTxWarp prst="textNoShape">
              <a:avLst/>
            </a:prstTxWarp>
            <a:noAutofit/>
          </a:bodyPr>
          <a:lstStyle/>
          <a:p>
            <a:pPr algn="ctr"/>
            <a:endParaRPr lang="zh-CN" altLang="en-US" sz="1620"/>
          </a:p>
        </p:txBody>
      </p:sp>
      <p:sp>
        <p:nvSpPr>
          <p:cNvPr id="52" name="文本框 51">
            <a:extLst>
              <a:ext uri="{FF2B5EF4-FFF2-40B4-BE49-F238E27FC236}">
                <a16:creationId xmlns:a16="http://schemas.microsoft.com/office/drawing/2014/main" id="{BFA3D6E2-05BB-4E7F-AA39-4F23DA9FD0CA}"/>
              </a:ext>
            </a:extLst>
          </p:cNvPr>
          <p:cNvSpPr txBox="1"/>
          <p:nvPr/>
        </p:nvSpPr>
        <p:spPr>
          <a:xfrm>
            <a:off x="8540703" y="1616835"/>
            <a:ext cx="1154161" cy="276999"/>
          </a:xfrm>
          <a:prstGeom prst="rect">
            <a:avLst/>
          </a:prstGeom>
          <a:noFill/>
          <a:effectLst/>
        </p:spPr>
        <p:txBody>
          <a:bodyPr wrap="none" lIns="0" tIns="0" rIns="0" bIns="0" rtlCol="0" anchor="t">
            <a:spAutoFit/>
          </a:bodyPr>
          <a:lstStyle/>
          <a:p>
            <a:pPr algn="ctr"/>
            <a:r>
              <a:rPr lang="zh-CN" altLang="en-US" dirty="0">
                <a:solidFill>
                  <a:schemeClr val="bg1"/>
                </a:solidFill>
                <a:latin typeface="+mj-ea"/>
                <a:ea typeface="+mj-ea"/>
              </a:rPr>
              <a:t>关键词标题</a:t>
            </a:r>
          </a:p>
        </p:txBody>
      </p:sp>
      <p:sp>
        <p:nvSpPr>
          <p:cNvPr id="53" name="文本框 52">
            <a:extLst>
              <a:ext uri="{FF2B5EF4-FFF2-40B4-BE49-F238E27FC236}">
                <a16:creationId xmlns:a16="http://schemas.microsoft.com/office/drawing/2014/main" id="{41D41BC2-24ED-4F71-A18F-2247B7F818BB}"/>
              </a:ext>
            </a:extLst>
          </p:cNvPr>
          <p:cNvSpPr txBox="1"/>
          <p:nvPr/>
        </p:nvSpPr>
        <p:spPr>
          <a:xfrm>
            <a:off x="8227388" y="2142168"/>
            <a:ext cx="1890520" cy="634386"/>
          </a:xfrm>
          <a:prstGeom prst="rect">
            <a:avLst/>
          </a:prstGeom>
          <a:noFill/>
          <a:effectLst/>
        </p:spPr>
        <p:txBody>
          <a:bodyPr wrap="square" lIns="0" tIns="0" rIns="0" bIns="0" rtlCol="0" anchor="t">
            <a:spAutoFit/>
          </a:bodyPr>
          <a:lstStyle/>
          <a:p>
            <a:pPr algn="ctr">
              <a:lnSpc>
                <a:spcPct val="130000"/>
              </a:lnSpc>
            </a:pPr>
            <a:r>
              <a:rPr lang="en-US" altLang="zh-CN" sz="1080" b="0" dirty="0">
                <a:solidFill>
                  <a:schemeClr val="tx1">
                    <a:lumMod val="75000"/>
                    <a:lumOff val="25000"/>
                  </a:schemeClr>
                </a:solidFill>
                <a:effectLst/>
                <a:latin typeface="+mn-ea"/>
              </a:rPr>
              <a:t>Lorem ipsum dolor sit ametconsectetur adipisicing elit</a:t>
            </a:r>
            <a:r>
              <a:rPr lang="en-US" altLang="zh-CN" sz="1080" dirty="0">
                <a:solidFill>
                  <a:schemeClr val="tx1">
                    <a:lumMod val="75000"/>
                    <a:lumOff val="25000"/>
                  </a:schemeClr>
                </a:solidFill>
                <a:latin typeface="+mn-ea"/>
              </a:rPr>
              <a:t> </a:t>
            </a:r>
            <a:r>
              <a:rPr lang="en-US" altLang="zh-CN" sz="1080" b="0" dirty="0">
                <a:solidFill>
                  <a:schemeClr val="tx1">
                    <a:lumMod val="75000"/>
                    <a:lumOff val="25000"/>
                  </a:schemeClr>
                </a:solidFill>
                <a:effectLst/>
                <a:latin typeface="+mn-ea"/>
              </a:rPr>
              <a:t>sed do eiusmod tempor</a:t>
            </a:r>
            <a:endParaRPr lang="zh-CN" altLang="en-US" sz="1080" b="0" dirty="0">
              <a:solidFill>
                <a:schemeClr val="tx1">
                  <a:lumMod val="75000"/>
                  <a:lumOff val="25000"/>
                </a:schemeClr>
              </a:solidFill>
              <a:effectLst/>
              <a:latin typeface="+mn-ea"/>
            </a:endParaRPr>
          </a:p>
        </p:txBody>
      </p:sp>
      <p:sp>
        <p:nvSpPr>
          <p:cNvPr id="54" name="椭圆 7">
            <a:extLst>
              <a:ext uri="{FF2B5EF4-FFF2-40B4-BE49-F238E27FC236}">
                <a16:creationId xmlns:a16="http://schemas.microsoft.com/office/drawing/2014/main" id="{5A2343FE-6D53-49D9-B7A8-F44C2528E3A8}"/>
              </a:ext>
            </a:extLst>
          </p:cNvPr>
          <p:cNvSpPr/>
          <p:nvPr/>
        </p:nvSpPr>
        <p:spPr>
          <a:xfrm flipV="1">
            <a:off x="8667907" y="3133982"/>
            <a:ext cx="488632" cy="488632"/>
          </a:xfrm>
          <a:custGeom>
            <a:avLst/>
            <a:gdLst>
              <a:gd name="connsiteX0" fmla="*/ 0 w 1085849"/>
              <a:gd name="connsiteY0" fmla="*/ 542925 h 1085849"/>
              <a:gd name="connsiteX1" fmla="*/ 542925 w 1085849"/>
              <a:gd name="connsiteY1" fmla="*/ 0 h 1085849"/>
              <a:gd name="connsiteX2" fmla="*/ 1085850 w 1085849"/>
              <a:gd name="connsiteY2" fmla="*/ 542925 h 1085849"/>
              <a:gd name="connsiteX3" fmla="*/ 542925 w 1085849"/>
              <a:gd name="connsiteY3" fmla="*/ 1085850 h 1085849"/>
              <a:gd name="connsiteX4" fmla="*/ 0 w 1085849"/>
              <a:gd name="connsiteY4" fmla="*/ 542925 h 1085849"/>
              <a:gd name="connsiteX0" fmla="*/ 0 w 1085850"/>
              <a:gd name="connsiteY0" fmla="*/ 542925 h 1085850"/>
              <a:gd name="connsiteX1" fmla="*/ 542925 w 1085850"/>
              <a:gd name="connsiteY1" fmla="*/ 0 h 1085850"/>
              <a:gd name="connsiteX2" fmla="*/ 1085850 w 1085850"/>
              <a:gd name="connsiteY2" fmla="*/ 542925 h 1085850"/>
              <a:gd name="connsiteX3" fmla="*/ 542925 w 1085850"/>
              <a:gd name="connsiteY3" fmla="*/ 1085850 h 1085850"/>
              <a:gd name="connsiteX4" fmla="*/ 91440 w 1085850"/>
              <a:gd name="connsiteY4" fmla="*/ 634365 h 1085850"/>
              <a:gd name="connsiteX0" fmla="*/ 0 w 1085850"/>
              <a:gd name="connsiteY0" fmla="*/ 542925 h 1085850"/>
              <a:gd name="connsiteX1" fmla="*/ 542925 w 1085850"/>
              <a:gd name="connsiteY1" fmla="*/ 0 h 1085850"/>
              <a:gd name="connsiteX2" fmla="*/ 1085850 w 1085850"/>
              <a:gd name="connsiteY2" fmla="*/ 542925 h 1085850"/>
              <a:gd name="connsiteX3" fmla="*/ 542925 w 1085850"/>
              <a:gd name="connsiteY3" fmla="*/ 1085850 h 1085850"/>
              <a:gd name="connsiteX0" fmla="*/ 0 w 1085850"/>
              <a:gd name="connsiteY0" fmla="*/ 542925 h 542925"/>
              <a:gd name="connsiteX1" fmla="*/ 542925 w 1085850"/>
              <a:gd name="connsiteY1" fmla="*/ 0 h 542925"/>
              <a:gd name="connsiteX2" fmla="*/ 1085850 w 1085850"/>
              <a:gd name="connsiteY2" fmla="*/ 542925 h 542925"/>
              <a:gd name="connsiteX0" fmla="*/ 0 w 542925"/>
              <a:gd name="connsiteY0" fmla="*/ 0 h 542925"/>
              <a:gd name="connsiteX1" fmla="*/ 542925 w 542925"/>
              <a:gd name="connsiteY1" fmla="*/ 542925 h 542925"/>
            </a:gdLst>
            <a:ahLst/>
            <a:cxnLst>
              <a:cxn ang="0">
                <a:pos x="connsiteX0" y="connsiteY0"/>
              </a:cxn>
              <a:cxn ang="0">
                <a:pos x="connsiteX1" y="connsiteY1"/>
              </a:cxn>
            </a:cxnLst>
            <a:rect l="l" t="t" r="r" b="b"/>
            <a:pathLst>
              <a:path w="542925" h="542925">
                <a:moveTo>
                  <a:pt x="0" y="0"/>
                </a:moveTo>
                <a:cubicBezTo>
                  <a:pt x="299849" y="0"/>
                  <a:pt x="542925" y="243076"/>
                  <a:pt x="542925" y="542925"/>
                </a:cubicBezTo>
              </a:path>
            </a:pathLst>
          </a:custGeom>
          <a:noFill/>
          <a:ln w="25718">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82296" tIns="41148" rIns="82296" bIns="41148" rtlCol="0" anchor="ctr"/>
          <a:lstStyle/>
          <a:p>
            <a:pPr algn="l"/>
            <a:endParaRPr lang="zh-CN" altLang="en-US" sz="1440">
              <a:solidFill>
                <a:schemeClr val="bg1"/>
              </a:solidFill>
              <a:latin typeface="+mj-ea"/>
              <a:ea typeface="+mj-ea"/>
            </a:endParaRPr>
          </a:p>
        </p:txBody>
      </p:sp>
      <p:sp>
        <p:nvSpPr>
          <p:cNvPr id="55" name="椭圆 54">
            <a:extLst>
              <a:ext uri="{FF2B5EF4-FFF2-40B4-BE49-F238E27FC236}">
                <a16:creationId xmlns:a16="http://schemas.microsoft.com/office/drawing/2014/main" id="{E407130A-518F-4C90-8582-9F27DF75FEDC}"/>
              </a:ext>
            </a:extLst>
          </p:cNvPr>
          <p:cNvSpPr/>
          <p:nvPr/>
        </p:nvSpPr>
        <p:spPr>
          <a:xfrm>
            <a:off x="9101675" y="3053400"/>
            <a:ext cx="109728" cy="109728"/>
          </a:xfrm>
          <a:prstGeom prst="ellipse">
            <a:avLst/>
          </a:prstGeom>
          <a:solidFill>
            <a:schemeClr val="bg1"/>
          </a:solidFill>
          <a:ln w="25718">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82296" tIns="41148" rIns="82296" bIns="41148" rtlCol="0" anchor="ctr"/>
          <a:lstStyle/>
          <a:p>
            <a:pPr algn="l"/>
            <a:endParaRPr lang="zh-CN" altLang="en-US" sz="1440">
              <a:solidFill>
                <a:schemeClr val="bg1"/>
              </a:solidFill>
              <a:latin typeface="+mj-ea"/>
              <a:ea typeface="+mj-ea"/>
            </a:endParaRPr>
          </a:p>
        </p:txBody>
      </p:sp>
    </p:spTree>
    <p:extLst>
      <p:ext uri="{BB962C8B-B14F-4D97-AF65-F5344CB8AC3E}">
        <p14:creationId xmlns:p14="http://schemas.microsoft.com/office/powerpoint/2010/main" val="1651694771"/>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2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矩形 25">
            <a:extLst>
              <a:ext uri="{FF2B5EF4-FFF2-40B4-BE49-F238E27FC236}">
                <a16:creationId xmlns:a16="http://schemas.microsoft.com/office/drawing/2014/main" id="{38D90259-6A6F-4A97-A98E-1E825C728899}"/>
              </a:ext>
            </a:extLst>
          </p:cNvPr>
          <p:cNvSpPr/>
          <p:nvPr/>
        </p:nvSpPr>
        <p:spPr>
          <a:xfrm rot="1800000">
            <a:off x="7180906" y="2995361"/>
            <a:ext cx="2230116" cy="1397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25" name="矩形 24">
            <a:extLst>
              <a:ext uri="{FF2B5EF4-FFF2-40B4-BE49-F238E27FC236}">
                <a16:creationId xmlns:a16="http://schemas.microsoft.com/office/drawing/2014/main" id="{8FCCA7AD-D060-438F-8210-CD3A4206EB33}"/>
              </a:ext>
            </a:extLst>
          </p:cNvPr>
          <p:cNvSpPr/>
          <p:nvPr/>
        </p:nvSpPr>
        <p:spPr>
          <a:xfrm rot="19800000" flipH="1">
            <a:off x="4989663" y="2944065"/>
            <a:ext cx="2230116" cy="1397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24" name="矩形 23">
            <a:extLst>
              <a:ext uri="{FF2B5EF4-FFF2-40B4-BE49-F238E27FC236}">
                <a16:creationId xmlns:a16="http://schemas.microsoft.com/office/drawing/2014/main" id="{7353506B-C897-40D8-B6F8-C2AA3B4D0F00}"/>
              </a:ext>
            </a:extLst>
          </p:cNvPr>
          <p:cNvSpPr/>
          <p:nvPr/>
        </p:nvSpPr>
        <p:spPr>
          <a:xfrm rot="1800000">
            <a:off x="2510294" y="2995361"/>
            <a:ext cx="2230116" cy="1397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grpSp>
        <p:nvGrpSpPr>
          <p:cNvPr id="8" name="组合 7">
            <a:extLst>
              <a:ext uri="{FF2B5EF4-FFF2-40B4-BE49-F238E27FC236}">
                <a16:creationId xmlns:a16="http://schemas.microsoft.com/office/drawing/2014/main" id="{69F4C8CE-5C08-430F-B4AD-B570A4F23AD9}"/>
              </a:ext>
            </a:extLst>
          </p:cNvPr>
          <p:cNvGrpSpPr/>
          <p:nvPr/>
        </p:nvGrpSpPr>
        <p:grpSpPr>
          <a:xfrm>
            <a:off x="1603033" y="1509593"/>
            <a:ext cx="1868170" cy="1683187"/>
            <a:chOff x="1603033" y="2138243"/>
            <a:chExt cx="1868170" cy="1683187"/>
          </a:xfrm>
        </p:grpSpPr>
        <p:sp>
          <p:nvSpPr>
            <p:cNvPr id="4" name="椭圆 3">
              <a:extLst>
                <a:ext uri="{FF2B5EF4-FFF2-40B4-BE49-F238E27FC236}">
                  <a16:creationId xmlns:a16="http://schemas.microsoft.com/office/drawing/2014/main" id="{ED6D35C4-E6AD-4D74-8618-5E79EE2C3D83}"/>
                </a:ext>
              </a:extLst>
            </p:cNvPr>
            <p:cNvSpPr/>
            <p:nvPr/>
          </p:nvSpPr>
          <p:spPr>
            <a:xfrm>
              <a:off x="1603033" y="3036570"/>
              <a:ext cx="1868170" cy="784860"/>
            </a:xfrm>
            <a:prstGeom prst="ellipse">
              <a:avLst/>
            </a:prstGeom>
            <a:solidFill>
              <a:schemeClr val="accent1">
                <a:lumMod val="75000"/>
                <a:alpha val="36000"/>
              </a:schemeClr>
            </a:solidFill>
            <a:ln>
              <a:noFill/>
            </a:ln>
            <a:effectLst>
              <a:softEdge rad="2286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3" name="矩形: 圆角 2">
              <a:extLst>
                <a:ext uri="{FF2B5EF4-FFF2-40B4-BE49-F238E27FC236}">
                  <a16:creationId xmlns:a16="http://schemas.microsoft.com/office/drawing/2014/main" id="{AB482403-28BD-4DFC-90E5-72C578AC487F}"/>
                </a:ext>
              </a:extLst>
            </p:cNvPr>
            <p:cNvSpPr/>
            <p:nvPr/>
          </p:nvSpPr>
          <p:spPr>
            <a:xfrm>
              <a:off x="1946568" y="2446020"/>
              <a:ext cx="1181100" cy="1181100"/>
            </a:xfrm>
            <a:prstGeom prst="roundRect">
              <a:avLst>
                <a:gd name="adj" fmla="val 10861"/>
              </a:avLst>
            </a:prstGeom>
            <a:gradFill flip="none" rotWithShape="1">
              <a:gsLst>
                <a:gs pos="0">
                  <a:schemeClr val="accent1">
                    <a:lumMod val="60000"/>
                    <a:lumOff val="40000"/>
                  </a:schemeClr>
                </a:gs>
                <a:gs pos="100000">
                  <a:schemeClr val="accent1">
                    <a:lumMod val="75000"/>
                  </a:schemeClr>
                </a:gs>
              </a:gsLst>
              <a:lin ang="8100000" scaled="1"/>
              <a:tileRect/>
            </a:gradFill>
            <a:ln w="6350">
              <a:gradFill>
                <a:gsLst>
                  <a:gs pos="0">
                    <a:schemeClr val="accent1">
                      <a:lumMod val="5000"/>
                      <a:lumOff val="95000"/>
                    </a:schemeClr>
                  </a:gs>
                  <a:gs pos="100000">
                    <a:schemeClr val="accent1">
                      <a:lumMod val="30000"/>
                      <a:lumOff val="70000"/>
                    </a:schemeClr>
                  </a:gs>
                </a:gsLst>
                <a:lin ang="5400000" scaled="1"/>
              </a:gradFill>
            </a:ln>
            <a:effectLst>
              <a:outerShdw dist="63500" dir="8100000" algn="tr" rotWithShape="0">
                <a:schemeClr val="accent1">
                  <a:lumMod val="75000"/>
                </a:schemeClr>
              </a:outerShdw>
            </a:effectLst>
            <a:scene3d>
              <a:camera prst="isometricTopUp"/>
              <a:lightRig rig="threePt" dir="t"/>
            </a:scene3d>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endParaRPr lang="zh-CN" altLang="en-US" sz="1600">
                <a:solidFill>
                  <a:schemeClr val="bg1"/>
                </a:solidFill>
                <a:latin typeface="+mj-ea"/>
                <a:ea typeface="+mj-ea"/>
              </a:endParaRPr>
            </a:p>
          </p:txBody>
        </p:sp>
        <p:sp>
          <p:nvSpPr>
            <p:cNvPr id="6" name="文本框 5">
              <a:extLst>
                <a:ext uri="{FF2B5EF4-FFF2-40B4-BE49-F238E27FC236}">
                  <a16:creationId xmlns:a16="http://schemas.microsoft.com/office/drawing/2014/main" id="{536F626C-C127-44EB-B8E1-9CD1F1C7040D}"/>
                </a:ext>
              </a:extLst>
            </p:cNvPr>
            <p:cNvSpPr txBox="1"/>
            <p:nvPr/>
          </p:nvSpPr>
          <p:spPr>
            <a:xfrm>
              <a:off x="1714447" y="2138243"/>
              <a:ext cx="583493" cy="615553"/>
            </a:xfrm>
            <a:prstGeom prst="rect">
              <a:avLst/>
            </a:prstGeom>
            <a:noFill/>
          </p:spPr>
          <p:txBody>
            <a:bodyPr wrap="none" lIns="0" tIns="0" rIns="0" bIns="0" rtlCol="0" anchor="t">
              <a:spAutoFit/>
              <a:scene3d>
                <a:camera prst="isometricRightUp"/>
                <a:lightRig rig="threePt" dir="t"/>
              </a:scene3d>
            </a:bodyPr>
            <a:lstStyle/>
            <a:p>
              <a:pPr algn="l"/>
              <a:r>
                <a:rPr lang="en-US" altLang="zh-CN" sz="4000" dirty="0">
                  <a:solidFill>
                    <a:schemeClr val="accent1"/>
                  </a:solidFill>
                  <a:latin typeface="+mj-ea"/>
                  <a:ea typeface="+mj-ea"/>
                </a:rPr>
                <a:t>01</a:t>
              </a:r>
              <a:endParaRPr lang="zh-CN" altLang="en-US" sz="4000" dirty="0">
                <a:solidFill>
                  <a:schemeClr val="accent1"/>
                </a:solidFill>
                <a:latin typeface="+mj-ea"/>
                <a:ea typeface="+mj-ea"/>
              </a:endParaRPr>
            </a:p>
          </p:txBody>
        </p:sp>
        <p:sp>
          <p:nvSpPr>
            <p:cNvPr id="7" name="badge_126195">
              <a:extLst>
                <a:ext uri="{FF2B5EF4-FFF2-40B4-BE49-F238E27FC236}">
                  <a16:creationId xmlns:a16="http://schemas.microsoft.com/office/drawing/2014/main" id="{B3C0CA42-5EFE-47A3-A377-BD2F85BBCBD7}"/>
                </a:ext>
              </a:extLst>
            </p:cNvPr>
            <p:cNvSpPr/>
            <p:nvPr/>
          </p:nvSpPr>
          <p:spPr>
            <a:xfrm>
              <a:off x="2240728" y="2707991"/>
              <a:ext cx="592780" cy="609685"/>
            </a:xfrm>
            <a:custGeom>
              <a:avLst/>
              <a:gdLst>
                <a:gd name="T0" fmla="*/ 6023 w 6383"/>
                <a:gd name="T1" fmla="*/ 2985 h 6575"/>
                <a:gd name="T2" fmla="*/ 5921 w 6383"/>
                <a:gd name="T3" fmla="*/ 1957 h 6575"/>
                <a:gd name="T4" fmla="*/ 5304 w 6383"/>
                <a:gd name="T5" fmla="*/ 1379 h 6575"/>
                <a:gd name="T6" fmla="*/ 4619 w 6383"/>
                <a:gd name="T7" fmla="*/ 608 h 6575"/>
                <a:gd name="T8" fmla="*/ 3777 w 6383"/>
                <a:gd name="T9" fmla="*/ 501 h 6575"/>
                <a:gd name="T10" fmla="*/ 2768 w 6383"/>
                <a:gd name="T11" fmla="*/ 280 h 6575"/>
                <a:gd name="T12" fmla="*/ 2028 w 6383"/>
                <a:gd name="T13" fmla="*/ 688 h 6575"/>
                <a:gd name="T14" fmla="*/ 1083 w 6383"/>
                <a:gd name="T15" fmla="*/ 1103 h 6575"/>
                <a:gd name="T16" fmla="*/ 723 w 6383"/>
                <a:gd name="T17" fmla="*/ 1868 h 6575"/>
                <a:gd name="T18" fmla="*/ 201 w 6383"/>
                <a:gd name="T19" fmla="*/ 2759 h 6575"/>
                <a:gd name="T20" fmla="*/ 360 w 6383"/>
                <a:gd name="T21" fmla="*/ 3591 h 6575"/>
                <a:gd name="T22" fmla="*/ 461 w 6383"/>
                <a:gd name="T23" fmla="*/ 4619 h 6575"/>
                <a:gd name="T24" fmla="*/ 1079 w 6383"/>
                <a:gd name="T25" fmla="*/ 5197 h 6575"/>
                <a:gd name="T26" fmla="*/ 1764 w 6383"/>
                <a:gd name="T27" fmla="*/ 5968 h 6575"/>
                <a:gd name="T28" fmla="*/ 2604 w 6383"/>
                <a:gd name="T29" fmla="*/ 6073 h 6575"/>
                <a:gd name="T30" fmla="*/ 3613 w 6383"/>
                <a:gd name="T31" fmla="*/ 6295 h 6575"/>
                <a:gd name="T32" fmla="*/ 4353 w 6383"/>
                <a:gd name="T33" fmla="*/ 5888 h 6575"/>
                <a:gd name="T34" fmla="*/ 5299 w 6383"/>
                <a:gd name="T35" fmla="*/ 5473 h 6575"/>
                <a:gd name="T36" fmla="*/ 5659 w 6383"/>
                <a:gd name="T37" fmla="*/ 4708 h 6575"/>
                <a:gd name="T38" fmla="*/ 6180 w 6383"/>
                <a:gd name="T39" fmla="*/ 3817 h 6575"/>
                <a:gd name="T40" fmla="*/ 3877 w 6383"/>
                <a:gd name="T41" fmla="*/ 4231 h 6575"/>
                <a:gd name="T42" fmla="*/ 3381 w 6383"/>
                <a:gd name="T43" fmla="*/ 4613 h 6575"/>
                <a:gd name="T44" fmla="*/ 3287 w 6383"/>
                <a:gd name="T45" fmla="*/ 4924 h 6575"/>
                <a:gd name="T46" fmla="*/ 2960 w 6383"/>
                <a:gd name="T47" fmla="*/ 4820 h 6575"/>
                <a:gd name="T48" fmla="*/ 2844 w 6383"/>
                <a:gd name="T49" fmla="*/ 4529 h 6575"/>
                <a:gd name="T50" fmla="*/ 2356 w 6383"/>
                <a:gd name="T51" fmla="*/ 4233 h 6575"/>
                <a:gd name="T52" fmla="*/ 2560 w 6383"/>
                <a:gd name="T53" fmla="*/ 3940 h 6575"/>
                <a:gd name="T54" fmla="*/ 3307 w 6383"/>
                <a:gd name="T55" fmla="*/ 4036 h 6575"/>
                <a:gd name="T56" fmla="*/ 3193 w 6383"/>
                <a:gd name="T57" fmla="*/ 3535 h 6575"/>
                <a:gd name="T58" fmla="*/ 2365 w 6383"/>
                <a:gd name="T59" fmla="*/ 2705 h 6575"/>
                <a:gd name="T60" fmla="*/ 2991 w 6383"/>
                <a:gd name="T61" fmla="*/ 1897 h 6575"/>
                <a:gd name="T62" fmla="*/ 3105 w 6383"/>
                <a:gd name="T63" fmla="*/ 1651 h 6575"/>
                <a:gd name="T64" fmla="*/ 3401 w 6383"/>
                <a:gd name="T65" fmla="*/ 1856 h 6575"/>
                <a:gd name="T66" fmla="*/ 3865 w 6383"/>
                <a:gd name="T67" fmla="*/ 2119 h 6575"/>
                <a:gd name="T68" fmla="*/ 3847 w 6383"/>
                <a:gd name="T69" fmla="*/ 2508 h 6575"/>
                <a:gd name="T70" fmla="*/ 3208 w 6383"/>
                <a:gd name="T71" fmla="*/ 2464 h 6575"/>
                <a:gd name="T72" fmla="*/ 3025 w 6383"/>
                <a:gd name="T73" fmla="*/ 2832 h 6575"/>
                <a:gd name="T74" fmla="*/ 3647 w 6383"/>
                <a:gd name="T75" fmla="*/ 3137 h 65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383" h="6575">
                  <a:moveTo>
                    <a:pt x="6023" y="3591"/>
                  </a:moveTo>
                  <a:cubicBezTo>
                    <a:pt x="5895" y="3409"/>
                    <a:pt x="5895" y="3167"/>
                    <a:pt x="6023" y="2985"/>
                  </a:cubicBezTo>
                  <a:lnTo>
                    <a:pt x="6181" y="2759"/>
                  </a:lnTo>
                  <a:cubicBezTo>
                    <a:pt x="6383" y="2472"/>
                    <a:pt x="6253" y="2072"/>
                    <a:pt x="5921" y="1957"/>
                  </a:cubicBezTo>
                  <a:lnTo>
                    <a:pt x="5660" y="1868"/>
                  </a:lnTo>
                  <a:cubicBezTo>
                    <a:pt x="5451" y="1796"/>
                    <a:pt x="5308" y="1600"/>
                    <a:pt x="5304" y="1379"/>
                  </a:cubicBezTo>
                  <a:lnTo>
                    <a:pt x="5300" y="1103"/>
                  </a:lnTo>
                  <a:cubicBezTo>
                    <a:pt x="5295" y="752"/>
                    <a:pt x="4953" y="505"/>
                    <a:pt x="4619" y="608"/>
                  </a:cubicBezTo>
                  <a:lnTo>
                    <a:pt x="4353" y="688"/>
                  </a:lnTo>
                  <a:cubicBezTo>
                    <a:pt x="4141" y="753"/>
                    <a:pt x="3911" y="679"/>
                    <a:pt x="3777" y="501"/>
                  </a:cubicBezTo>
                  <a:lnTo>
                    <a:pt x="3611" y="280"/>
                  </a:lnTo>
                  <a:cubicBezTo>
                    <a:pt x="3400" y="0"/>
                    <a:pt x="2979" y="0"/>
                    <a:pt x="2768" y="280"/>
                  </a:cubicBezTo>
                  <a:lnTo>
                    <a:pt x="2604" y="501"/>
                  </a:lnTo>
                  <a:cubicBezTo>
                    <a:pt x="2471" y="679"/>
                    <a:pt x="2240" y="753"/>
                    <a:pt x="2028" y="688"/>
                  </a:cubicBezTo>
                  <a:lnTo>
                    <a:pt x="1764" y="608"/>
                  </a:lnTo>
                  <a:cubicBezTo>
                    <a:pt x="1429" y="505"/>
                    <a:pt x="1088" y="752"/>
                    <a:pt x="1083" y="1103"/>
                  </a:cubicBezTo>
                  <a:lnTo>
                    <a:pt x="1079" y="1379"/>
                  </a:lnTo>
                  <a:cubicBezTo>
                    <a:pt x="1075" y="1600"/>
                    <a:pt x="933" y="1796"/>
                    <a:pt x="723" y="1868"/>
                  </a:cubicBezTo>
                  <a:lnTo>
                    <a:pt x="461" y="1957"/>
                  </a:lnTo>
                  <a:cubicBezTo>
                    <a:pt x="129" y="2071"/>
                    <a:pt x="0" y="2471"/>
                    <a:pt x="201" y="2759"/>
                  </a:cubicBezTo>
                  <a:lnTo>
                    <a:pt x="360" y="2985"/>
                  </a:lnTo>
                  <a:cubicBezTo>
                    <a:pt x="488" y="3167"/>
                    <a:pt x="488" y="3409"/>
                    <a:pt x="360" y="3591"/>
                  </a:cubicBezTo>
                  <a:lnTo>
                    <a:pt x="201" y="3817"/>
                  </a:lnTo>
                  <a:cubicBezTo>
                    <a:pt x="0" y="4104"/>
                    <a:pt x="129" y="4504"/>
                    <a:pt x="461" y="4619"/>
                  </a:cubicBezTo>
                  <a:lnTo>
                    <a:pt x="723" y="4708"/>
                  </a:lnTo>
                  <a:cubicBezTo>
                    <a:pt x="932" y="4780"/>
                    <a:pt x="1075" y="4976"/>
                    <a:pt x="1079" y="5197"/>
                  </a:cubicBezTo>
                  <a:lnTo>
                    <a:pt x="1083" y="5473"/>
                  </a:lnTo>
                  <a:cubicBezTo>
                    <a:pt x="1088" y="5824"/>
                    <a:pt x="1429" y="6071"/>
                    <a:pt x="1764" y="5968"/>
                  </a:cubicBezTo>
                  <a:lnTo>
                    <a:pt x="2028" y="5887"/>
                  </a:lnTo>
                  <a:cubicBezTo>
                    <a:pt x="2240" y="5821"/>
                    <a:pt x="2471" y="5896"/>
                    <a:pt x="2604" y="6073"/>
                  </a:cubicBezTo>
                  <a:lnTo>
                    <a:pt x="2771" y="6295"/>
                  </a:lnTo>
                  <a:cubicBezTo>
                    <a:pt x="2981" y="6575"/>
                    <a:pt x="3403" y="6575"/>
                    <a:pt x="3613" y="6295"/>
                  </a:cubicBezTo>
                  <a:lnTo>
                    <a:pt x="3777" y="6075"/>
                  </a:lnTo>
                  <a:cubicBezTo>
                    <a:pt x="3911" y="5897"/>
                    <a:pt x="4141" y="5823"/>
                    <a:pt x="4353" y="5888"/>
                  </a:cubicBezTo>
                  <a:lnTo>
                    <a:pt x="4617" y="5968"/>
                  </a:lnTo>
                  <a:cubicBezTo>
                    <a:pt x="4952" y="6071"/>
                    <a:pt x="5293" y="5824"/>
                    <a:pt x="5299" y="5473"/>
                  </a:cubicBezTo>
                  <a:lnTo>
                    <a:pt x="5303" y="5197"/>
                  </a:lnTo>
                  <a:cubicBezTo>
                    <a:pt x="5307" y="4976"/>
                    <a:pt x="5448" y="4780"/>
                    <a:pt x="5659" y="4708"/>
                  </a:cubicBezTo>
                  <a:lnTo>
                    <a:pt x="5920" y="4619"/>
                  </a:lnTo>
                  <a:cubicBezTo>
                    <a:pt x="6252" y="4505"/>
                    <a:pt x="6381" y="4105"/>
                    <a:pt x="6180" y="3817"/>
                  </a:cubicBezTo>
                  <a:lnTo>
                    <a:pt x="6023" y="3591"/>
                  </a:lnTo>
                  <a:close/>
                  <a:moveTo>
                    <a:pt x="3877" y="4231"/>
                  </a:moveTo>
                  <a:cubicBezTo>
                    <a:pt x="3773" y="4357"/>
                    <a:pt x="3637" y="4443"/>
                    <a:pt x="3479" y="4487"/>
                  </a:cubicBezTo>
                  <a:cubicBezTo>
                    <a:pt x="3409" y="4505"/>
                    <a:pt x="3379" y="4541"/>
                    <a:pt x="3381" y="4613"/>
                  </a:cubicBezTo>
                  <a:cubicBezTo>
                    <a:pt x="3384" y="4684"/>
                    <a:pt x="3381" y="4755"/>
                    <a:pt x="3381" y="4825"/>
                  </a:cubicBezTo>
                  <a:cubicBezTo>
                    <a:pt x="3381" y="4888"/>
                    <a:pt x="3349" y="4923"/>
                    <a:pt x="3287" y="4924"/>
                  </a:cubicBezTo>
                  <a:cubicBezTo>
                    <a:pt x="3211" y="4925"/>
                    <a:pt x="3135" y="4925"/>
                    <a:pt x="3059" y="4924"/>
                  </a:cubicBezTo>
                  <a:cubicBezTo>
                    <a:pt x="2992" y="4923"/>
                    <a:pt x="2961" y="4885"/>
                    <a:pt x="2960" y="4820"/>
                  </a:cubicBezTo>
                  <a:cubicBezTo>
                    <a:pt x="2960" y="4768"/>
                    <a:pt x="2959" y="4717"/>
                    <a:pt x="2959" y="4665"/>
                  </a:cubicBezTo>
                  <a:cubicBezTo>
                    <a:pt x="2957" y="4552"/>
                    <a:pt x="2953" y="4547"/>
                    <a:pt x="2844" y="4529"/>
                  </a:cubicBezTo>
                  <a:cubicBezTo>
                    <a:pt x="2704" y="4507"/>
                    <a:pt x="2567" y="4475"/>
                    <a:pt x="2439" y="4413"/>
                  </a:cubicBezTo>
                  <a:cubicBezTo>
                    <a:pt x="2337" y="4364"/>
                    <a:pt x="2328" y="4339"/>
                    <a:pt x="2356" y="4233"/>
                  </a:cubicBezTo>
                  <a:cubicBezTo>
                    <a:pt x="2377" y="4155"/>
                    <a:pt x="2399" y="4076"/>
                    <a:pt x="2424" y="3999"/>
                  </a:cubicBezTo>
                  <a:cubicBezTo>
                    <a:pt x="2452" y="3908"/>
                    <a:pt x="2477" y="3897"/>
                    <a:pt x="2560" y="3940"/>
                  </a:cubicBezTo>
                  <a:cubicBezTo>
                    <a:pt x="2701" y="4013"/>
                    <a:pt x="2852" y="4055"/>
                    <a:pt x="3011" y="4075"/>
                  </a:cubicBezTo>
                  <a:cubicBezTo>
                    <a:pt x="3112" y="4088"/>
                    <a:pt x="3212" y="4077"/>
                    <a:pt x="3307" y="4036"/>
                  </a:cubicBezTo>
                  <a:cubicBezTo>
                    <a:pt x="3483" y="3959"/>
                    <a:pt x="3511" y="3755"/>
                    <a:pt x="3361" y="3633"/>
                  </a:cubicBezTo>
                  <a:cubicBezTo>
                    <a:pt x="3311" y="3592"/>
                    <a:pt x="3253" y="3561"/>
                    <a:pt x="3193" y="3535"/>
                  </a:cubicBezTo>
                  <a:cubicBezTo>
                    <a:pt x="3039" y="3467"/>
                    <a:pt x="2879" y="3415"/>
                    <a:pt x="2733" y="3328"/>
                  </a:cubicBezTo>
                  <a:cubicBezTo>
                    <a:pt x="2497" y="3187"/>
                    <a:pt x="2347" y="2992"/>
                    <a:pt x="2365" y="2705"/>
                  </a:cubicBezTo>
                  <a:cubicBezTo>
                    <a:pt x="2385" y="2380"/>
                    <a:pt x="2569" y="2177"/>
                    <a:pt x="2867" y="2069"/>
                  </a:cubicBezTo>
                  <a:cubicBezTo>
                    <a:pt x="2989" y="2024"/>
                    <a:pt x="2991" y="2027"/>
                    <a:pt x="2991" y="1897"/>
                  </a:cubicBezTo>
                  <a:lnTo>
                    <a:pt x="2991" y="1767"/>
                  </a:lnTo>
                  <a:cubicBezTo>
                    <a:pt x="2993" y="1669"/>
                    <a:pt x="3009" y="1653"/>
                    <a:pt x="3105" y="1651"/>
                  </a:cubicBezTo>
                  <a:cubicBezTo>
                    <a:pt x="3135" y="1649"/>
                    <a:pt x="3165" y="1651"/>
                    <a:pt x="3195" y="1651"/>
                  </a:cubicBezTo>
                  <a:cubicBezTo>
                    <a:pt x="3400" y="1651"/>
                    <a:pt x="3400" y="1651"/>
                    <a:pt x="3401" y="1856"/>
                  </a:cubicBezTo>
                  <a:cubicBezTo>
                    <a:pt x="3401" y="2001"/>
                    <a:pt x="3401" y="2001"/>
                    <a:pt x="3547" y="2024"/>
                  </a:cubicBezTo>
                  <a:cubicBezTo>
                    <a:pt x="3657" y="2041"/>
                    <a:pt x="3764" y="2075"/>
                    <a:pt x="3865" y="2119"/>
                  </a:cubicBezTo>
                  <a:cubicBezTo>
                    <a:pt x="3921" y="2144"/>
                    <a:pt x="3943" y="2183"/>
                    <a:pt x="3925" y="2243"/>
                  </a:cubicBezTo>
                  <a:cubicBezTo>
                    <a:pt x="3900" y="2332"/>
                    <a:pt x="3876" y="2420"/>
                    <a:pt x="3847" y="2508"/>
                  </a:cubicBezTo>
                  <a:cubicBezTo>
                    <a:pt x="3820" y="2591"/>
                    <a:pt x="3793" y="2603"/>
                    <a:pt x="3713" y="2564"/>
                  </a:cubicBezTo>
                  <a:cubicBezTo>
                    <a:pt x="3553" y="2487"/>
                    <a:pt x="3385" y="2455"/>
                    <a:pt x="3208" y="2464"/>
                  </a:cubicBezTo>
                  <a:cubicBezTo>
                    <a:pt x="3161" y="2467"/>
                    <a:pt x="3116" y="2473"/>
                    <a:pt x="3073" y="2492"/>
                  </a:cubicBezTo>
                  <a:cubicBezTo>
                    <a:pt x="2920" y="2559"/>
                    <a:pt x="2896" y="2728"/>
                    <a:pt x="3025" y="2832"/>
                  </a:cubicBezTo>
                  <a:cubicBezTo>
                    <a:pt x="3091" y="2885"/>
                    <a:pt x="3167" y="2923"/>
                    <a:pt x="3245" y="2956"/>
                  </a:cubicBezTo>
                  <a:cubicBezTo>
                    <a:pt x="3381" y="3012"/>
                    <a:pt x="3517" y="3065"/>
                    <a:pt x="3647" y="3137"/>
                  </a:cubicBezTo>
                  <a:cubicBezTo>
                    <a:pt x="4056" y="3365"/>
                    <a:pt x="4167" y="3880"/>
                    <a:pt x="3877" y="4231"/>
                  </a:cubicBezTo>
                  <a:close/>
                </a:path>
              </a:pathLst>
            </a:custGeom>
            <a:solidFill>
              <a:schemeClr val="bg1"/>
            </a:solidFill>
            <a:ln>
              <a:noFill/>
            </a:ln>
            <a:scene3d>
              <a:camera prst="isometricTopUp"/>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32" name="Group 8">
            <a:extLst>
              <a:ext uri="{FF2B5EF4-FFF2-40B4-BE49-F238E27FC236}">
                <a16:creationId xmlns:a16="http://schemas.microsoft.com/office/drawing/2014/main" id="{3932377A-7C06-4EA5-BBC0-9FCCF8CB795D}"/>
              </a:ext>
            </a:extLst>
          </p:cNvPr>
          <p:cNvGrpSpPr/>
          <p:nvPr/>
        </p:nvGrpSpPr>
        <p:grpSpPr>
          <a:xfrm>
            <a:off x="6141464" y="1509593"/>
            <a:ext cx="1868170" cy="1683187"/>
            <a:chOff x="1603033" y="2138243"/>
            <a:chExt cx="1868170" cy="1683187"/>
          </a:xfrm>
        </p:grpSpPr>
        <p:sp>
          <p:nvSpPr>
            <p:cNvPr id="33" name="椭圆 32">
              <a:extLst>
                <a:ext uri="{FF2B5EF4-FFF2-40B4-BE49-F238E27FC236}">
                  <a16:creationId xmlns:a16="http://schemas.microsoft.com/office/drawing/2014/main" id="{D2C9735C-62CB-4B36-AF3D-5CFAC87F9608}"/>
                </a:ext>
              </a:extLst>
            </p:cNvPr>
            <p:cNvSpPr/>
            <p:nvPr/>
          </p:nvSpPr>
          <p:spPr>
            <a:xfrm>
              <a:off x="1603033" y="3036570"/>
              <a:ext cx="1868170" cy="784860"/>
            </a:xfrm>
            <a:prstGeom prst="ellipse">
              <a:avLst/>
            </a:prstGeom>
            <a:solidFill>
              <a:schemeClr val="accent1">
                <a:lumMod val="75000"/>
                <a:alpha val="36000"/>
              </a:schemeClr>
            </a:solidFill>
            <a:ln>
              <a:noFill/>
            </a:ln>
            <a:effectLst>
              <a:softEdge rad="2286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l"/>
              <a:endParaRPr lang="zh-CN" altLang="en-US" sz="1600">
                <a:solidFill>
                  <a:schemeClr val="bg1"/>
                </a:solidFill>
                <a:latin typeface="+mj-ea"/>
                <a:ea typeface="+mj-ea"/>
              </a:endParaRPr>
            </a:p>
          </p:txBody>
        </p:sp>
        <p:sp>
          <p:nvSpPr>
            <p:cNvPr id="34" name="矩形: 圆角 33">
              <a:extLst>
                <a:ext uri="{FF2B5EF4-FFF2-40B4-BE49-F238E27FC236}">
                  <a16:creationId xmlns:a16="http://schemas.microsoft.com/office/drawing/2014/main" id="{1B5CF585-28BC-439B-97CC-004BC71487C5}"/>
                </a:ext>
              </a:extLst>
            </p:cNvPr>
            <p:cNvSpPr/>
            <p:nvPr/>
          </p:nvSpPr>
          <p:spPr>
            <a:xfrm>
              <a:off x="1946568" y="2446020"/>
              <a:ext cx="1181100" cy="1181100"/>
            </a:xfrm>
            <a:prstGeom prst="roundRect">
              <a:avLst>
                <a:gd name="adj" fmla="val 10861"/>
              </a:avLst>
            </a:prstGeom>
            <a:gradFill flip="none" rotWithShape="1">
              <a:gsLst>
                <a:gs pos="0">
                  <a:schemeClr val="accent1">
                    <a:lumMod val="60000"/>
                    <a:lumOff val="40000"/>
                  </a:schemeClr>
                </a:gs>
                <a:gs pos="100000">
                  <a:schemeClr val="accent1">
                    <a:lumMod val="75000"/>
                  </a:schemeClr>
                </a:gs>
              </a:gsLst>
              <a:lin ang="8100000" scaled="1"/>
              <a:tileRect/>
            </a:gradFill>
            <a:ln w="6350">
              <a:gradFill>
                <a:gsLst>
                  <a:gs pos="0">
                    <a:schemeClr val="accent1">
                      <a:lumMod val="5000"/>
                      <a:lumOff val="95000"/>
                    </a:schemeClr>
                  </a:gs>
                  <a:gs pos="100000">
                    <a:schemeClr val="accent1">
                      <a:lumMod val="30000"/>
                      <a:lumOff val="70000"/>
                    </a:schemeClr>
                  </a:gs>
                </a:gsLst>
                <a:lin ang="5400000" scaled="1"/>
              </a:gradFill>
            </a:ln>
            <a:effectLst>
              <a:outerShdw dist="63500" dir="8100000" algn="tr" rotWithShape="0">
                <a:schemeClr val="accent1">
                  <a:lumMod val="75000"/>
                </a:schemeClr>
              </a:outerShdw>
            </a:effectLst>
            <a:scene3d>
              <a:camera prst="isometricTopUp"/>
              <a:lightRig rig="threePt" dir="t"/>
            </a:scene3d>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endParaRPr lang="zh-CN" altLang="en-US" sz="1600">
                <a:solidFill>
                  <a:schemeClr val="bg1"/>
                </a:solidFill>
                <a:latin typeface="+mj-ea"/>
                <a:ea typeface="+mj-ea"/>
              </a:endParaRPr>
            </a:p>
          </p:txBody>
        </p:sp>
        <p:sp>
          <p:nvSpPr>
            <p:cNvPr id="35" name="文本框 11">
              <a:extLst>
                <a:ext uri="{FF2B5EF4-FFF2-40B4-BE49-F238E27FC236}">
                  <a16:creationId xmlns:a16="http://schemas.microsoft.com/office/drawing/2014/main" id="{E35FEF3C-E692-448C-8B5F-2CC577D55F89}"/>
                </a:ext>
              </a:extLst>
            </p:cNvPr>
            <p:cNvSpPr txBox="1"/>
            <p:nvPr/>
          </p:nvSpPr>
          <p:spPr>
            <a:xfrm>
              <a:off x="1714447" y="2138243"/>
              <a:ext cx="676467" cy="615553"/>
            </a:xfrm>
            <a:prstGeom prst="rect">
              <a:avLst/>
            </a:prstGeom>
            <a:noFill/>
          </p:spPr>
          <p:txBody>
            <a:bodyPr wrap="none" lIns="0" tIns="0" rIns="0" bIns="0" rtlCol="0" anchor="t">
              <a:spAutoFit/>
              <a:scene3d>
                <a:camera prst="isometricRightUp"/>
                <a:lightRig rig="threePt" dir="t"/>
              </a:scene3d>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altLang="zh-CN" sz="4000" dirty="0">
                  <a:solidFill>
                    <a:schemeClr val="accent1"/>
                  </a:solidFill>
                  <a:latin typeface="+mj-ea"/>
                  <a:ea typeface="+mj-ea"/>
                </a:rPr>
                <a:t>03</a:t>
              </a:r>
              <a:endParaRPr lang="zh-CN" altLang="en-US" sz="4000" dirty="0">
                <a:solidFill>
                  <a:schemeClr val="accent1"/>
                </a:solidFill>
                <a:latin typeface="+mj-ea"/>
                <a:ea typeface="+mj-ea"/>
              </a:endParaRPr>
            </a:p>
          </p:txBody>
        </p:sp>
        <p:sp>
          <p:nvSpPr>
            <p:cNvPr id="36" name="badge_126195">
              <a:extLst>
                <a:ext uri="{FF2B5EF4-FFF2-40B4-BE49-F238E27FC236}">
                  <a16:creationId xmlns:a16="http://schemas.microsoft.com/office/drawing/2014/main" id="{F08FAC35-09BC-4755-9BFE-169475CF0AA9}"/>
                </a:ext>
              </a:extLst>
            </p:cNvPr>
            <p:cNvSpPr/>
            <p:nvPr/>
          </p:nvSpPr>
          <p:spPr>
            <a:xfrm>
              <a:off x="2276222" y="2707991"/>
              <a:ext cx="521791" cy="609685"/>
            </a:xfrm>
            <a:custGeom>
              <a:avLst/>
              <a:gdLst>
                <a:gd name="T0" fmla="*/ 8209 w 10908"/>
                <a:gd name="T1" fmla="*/ 2143 h 12744"/>
                <a:gd name="T2" fmla="*/ 8209 w 10908"/>
                <a:gd name="T3" fmla="*/ 1057 h 12744"/>
                <a:gd name="T4" fmla="*/ 7124 w 10908"/>
                <a:gd name="T5" fmla="*/ 0 h 12744"/>
                <a:gd name="T6" fmla="*/ 3840 w 10908"/>
                <a:gd name="T7" fmla="*/ 0 h 12744"/>
                <a:gd name="T8" fmla="*/ 2755 w 10908"/>
                <a:gd name="T9" fmla="*/ 1057 h 12744"/>
                <a:gd name="T10" fmla="*/ 2755 w 10908"/>
                <a:gd name="T11" fmla="*/ 2115 h 12744"/>
                <a:gd name="T12" fmla="*/ 0 w 10908"/>
                <a:gd name="T13" fmla="*/ 2115 h 12744"/>
                <a:gd name="T14" fmla="*/ 0 w 10908"/>
                <a:gd name="T15" fmla="*/ 3172 h 12744"/>
                <a:gd name="T16" fmla="*/ 1085 w 10908"/>
                <a:gd name="T17" fmla="*/ 3172 h 12744"/>
                <a:gd name="T18" fmla="*/ 1085 w 10908"/>
                <a:gd name="T19" fmla="*/ 11687 h 12744"/>
                <a:gd name="T20" fmla="*/ 2171 w 10908"/>
                <a:gd name="T21" fmla="*/ 12744 h 12744"/>
                <a:gd name="T22" fmla="*/ 8738 w 10908"/>
                <a:gd name="T23" fmla="*/ 12744 h 12744"/>
                <a:gd name="T24" fmla="*/ 9823 w 10908"/>
                <a:gd name="T25" fmla="*/ 11687 h 12744"/>
                <a:gd name="T26" fmla="*/ 9823 w 10908"/>
                <a:gd name="T27" fmla="*/ 3200 h 12744"/>
                <a:gd name="T28" fmla="*/ 10908 w 10908"/>
                <a:gd name="T29" fmla="*/ 3200 h 12744"/>
                <a:gd name="T30" fmla="*/ 10908 w 10908"/>
                <a:gd name="T31" fmla="*/ 2143 h 12744"/>
                <a:gd name="T32" fmla="*/ 8209 w 10908"/>
                <a:gd name="T33" fmla="*/ 2143 h 12744"/>
                <a:gd name="T34" fmla="*/ 4870 w 10908"/>
                <a:gd name="T35" fmla="*/ 10963 h 12744"/>
                <a:gd name="T36" fmla="*/ 3645 w 10908"/>
                <a:gd name="T37" fmla="*/ 10963 h 12744"/>
                <a:gd name="T38" fmla="*/ 3645 w 10908"/>
                <a:gd name="T39" fmla="*/ 4257 h 12744"/>
                <a:gd name="T40" fmla="*/ 4870 w 10908"/>
                <a:gd name="T41" fmla="*/ 4257 h 12744"/>
                <a:gd name="T42" fmla="*/ 4870 w 10908"/>
                <a:gd name="T43" fmla="*/ 10963 h 12744"/>
                <a:gd name="T44" fmla="*/ 7319 w 10908"/>
                <a:gd name="T45" fmla="*/ 10963 h 12744"/>
                <a:gd name="T46" fmla="*/ 6094 w 10908"/>
                <a:gd name="T47" fmla="*/ 10963 h 12744"/>
                <a:gd name="T48" fmla="*/ 6094 w 10908"/>
                <a:gd name="T49" fmla="*/ 4257 h 12744"/>
                <a:gd name="T50" fmla="*/ 7319 w 10908"/>
                <a:gd name="T51" fmla="*/ 4257 h 12744"/>
                <a:gd name="T52" fmla="*/ 7319 w 10908"/>
                <a:gd name="T53" fmla="*/ 10963 h 127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0908" h="12744">
                  <a:moveTo>
                    <a:pt x="8209" y="2143"/>
                  </a:moveTo>
                  <a:lnTo>
                    <a:pt x="8209" y="1057"/>
                  </a:lnTo>
                  <a:cubicBezTo>
                    <a:pt x="8209" y="473"/>
                    <a:pt x="7708" y="0"/>
                    <a:pt x="7124" y="0"/>
                  </a:cubicBezTo>
                  <a:lnTo>
                    <a:pt x="3840" y="0"/>
                  </a:lnTo>
                  <a:cubicBezTo>
                    <a:pt x="3228" y="0"/>
                    <a:pt x="2755" y="473"/>
                    <a:pt x="2755" y="1057"/>
                  </a:cubicBezTo>
                  <a:lnTo>
                    <a:pt x="2755" y="2115"/>
                  </a:lnTo>
                  <a:lnTo>
                    <a:pt x="0" y="2115"/>
                  </a:lnTo>
                  <a:lnTo>
                    <a:pt x="0" y="3172"/>
                  </a:lnTo>
                  <a:lnTo>
                    <a:pt x="1085" y="3172"/>
                  </a:lnTo>
                  <a:lnTo>
                    <a:pt x="1085" y="11687"/>
                  </a:lnTo>
                  <a:cubicBezTo>
                    <a:pt x="1085" y="12271"/>
                    <a:pt x="1586" y="12744"/>
                    <a:pt x="2171" y="12744"/>
                  </a:cubicBezTo>
                  <a:lnTo>
                    <a:pt x="8738" y="12744"/>
                  </a:lnTo>
                  <a:cubicBezTo>
                    <a:pt x="9350" y="12744"/>
                    <a:pt x="9823" y="12271"/>
                    <a:pt x="9823" y="11687"/>
                  </a:cubicBezTo>
                  <a:lnTo>
                    <a:pt x="9823" y="3200"/>
                  </a:lnTo>
                  <a:lnTo>
                    <a:pt x="10908" y="3200"/>
                  </a:lnTo>
                  <a:lnTo>
                    <a:pt x="10908" y="2143"/>
                  </a:lnTo>
                  <a:lnTo>
                    <a:pt x="8209" y="2143"/>
                  </a:lnTo>
                  <a:close/>
                  <a:moveTo>
                    <a:pt x="4870" y="10963"/>
                  </a:moveTo>
                  <a:lnTo>
                    <a:pt x="3645" y="10963"/>
                  </a:lnTo>
                  <a:lnTo>
                    <a:pt x="3645" y="4257"/>
                  </a:lnTo>
                  <a:lnTo>
                    <a:pt x="4870" y="4257"/>
                  </a:lnTo>
                  <a:lnTo>
                    <a:pt x="4870" y="10963"/>
                  </a:lnTo>
                  <a:close/>
                  <a:moveTo>
                    <a:pt x="7319" y="10963"/>
                  </a:moveTo>
                  <a:lnTo>
                    <a:pt x="6094" y="10963"/>
                  </a:lnTo>
                  <a:lnTo>
                    <a:pt x="6094" y="4257"/>
                  </a:lnTo>
                  <a:lnTo>
                    <a:pt x="7319" y="4257"/>
                  </a:lnTo>
                  <a:lnTo>
                    <a:pt x="7319" y="10963"/>
                  </a:lnTo>
                  <a:close/>
                </a:path>
              </a:pathLst>
            </a:custGeom>
            <a:solidFill>
              <a:schemeClr val="bg1"/>
            </a:solidFill>
            <a:ln>
              <a:noFill/>
            </a:ln>
            <a:scene3d>
              <a:camera prst="isometricTopUp"/>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grpSp>
      <p:grpSp>
        <p:nvGrpSpPr>
          <p:cNvPr id="27" name="Group 13">
            <a:extLst>
              <a:ext uri="{FF2B5EF4-FFF2-40B4-BE49-F238E27FC236}">
                <a16:creationId xmlns:a16="http://schemas.microsoft.com/office/drawing/2014/main" id="{8AEC3FB2-925F-4DAB-A5CC-9A688C16FBCA}"/>
              </a:ext>
            </a:extLst>
          </p:cNvPr>
          <p:cNvGrpSpPr/>
          <p:nvPr/>
        </p:nvGrpSpPr>
        <p:grpSpPr>
          <a:xfrm>
            <a:off x="3879684" y="2800350"/>
            <a:ext cx="1868170" cy="1683187"/>
            <a:chOff x="1603033" y="2138243"/>
            <a:chExt cx="1868170" cy="1683187"/>
          </a:xfrm>
        </p:grpSpPr>
        <p:sp>
          <p:nvSpPr>
            <p:cNvPr id="28" name="椭圆 27">
              <a:extLst>
                <a:ext uri="{FF2B5EF4-FFF2-40B4-BE49-F238E27FC236}">
                  <a16:creationId xmlns:a16="http://schemas.microsoft.com/office/drawing/2014/main" id="{68D8501F-20E7-4DCD-A351-90B7B785AB4D}"/>
                </a:ext>
              </a:extLst>
            </p:cNvPr>
            <p:cNvSpPr/>
            <p:nvPr/>
          </p:nvSpPr>
          <p:spPr>
            <a:xfrm>
              <a:off x="1603033" y="3036570"/>
              <a:ext cx="1868170" cy="784860"/>
            </a:xfrm>
            <a:prstGeom prst="ellipse">
              <a:avLst/>
            </a:prstGeom>
            <a:solidFill>
              <a:schemeClr val="accent1">
                <a:lumMod val="75000"/>
                <a:alpha val="36000"/>
              </a:schemeClr>
            </a:solidFill>
            <a:ln>
              <a:noFill/>
            </a:ln>
            <a:effectLst>
              <a:softEdge rad="2286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l"/>
              <a:endParaRPr lang="zh-CN" altLang="en-US" sz="1600">
                <a:solidFill>
                  <a:schemeClr val="bg1"/>
                </a:solidFill>
                <a:latin typeface="+mj-ea"/>
                <a:ea typeface="+mj-ea"/>
              </a:endParaRPr>
            </a:p>
          </p:txBody>
        </p:sp>
        <p:sp>
          <p:nvSpPr>
            <p:cNvPr id="29" name="矩形: 圆角 28">
              <a:extLst>
                <a:ext uri="{FF2B5EF4-FFF2-40B4-BE49-F238E27FC236}">
                  <a16:creationId xmlns:a16="http://schemas.microsoft.com/office/drawing/2014/main" id="{E03B0CB7-D929-4C8F-8B17-AB4CDE8282D5}"/>
                </a:ext>
              </a:extLst>
            </p:cNvPr>
            <p:cNvSpPr/>
            <p:nvPr/>
          </p:nvSpPr>
          <p:spPr>
            <a:xfrm>
              <a:off x="1946568" y="2446020"/>
              <a:ext cx="1181100" cy="1181100"/>
            </a:xfrm>
            <a:prstGeom prst="roundRect">
              <a:avLst>
                <a:gd name="adj" fmla="val 10861"/>
              </a:avLst>
            </a:prstGeom>
            <a:gradFill flip="none" rotWithShape="1">
              <a:gsLst>
                <a:gs pos="0">
                  <a:schemeClr val="accent1">
                    <a:lumMod val="60000"/>
                    <a:lumOff val="40000"/>
                  </a:schemeClr>
                </a:gs>
                <a:gs pos="100000">
                  <a:schemeClr val="accent1">
                    <a:lumMod val="75000"/>
                  </a:schemeClr>
                </a:gs>
              </a:gsLst>
              <a:lin ang="8100000" scaled="1"/>
              <a:tileRect/>
            </a:gradFill>
            <a:ln w="6350">
              <a:gradFill>
                <a:gsLst>
                  <a:gs pos="0">
                    <a:schemeClr val="accent1">
                      <a:lumMod val="5000"/>
                      <a:lumOff val="95000"/>
                    </a:schemeClr>
                  </a:gs>
                  <a:gs pos="100000">
                    <a:schemeClr val="accent1">
                      <a:lumMod val="30000"/>
                      <a:lumOff val="70000"/>
                    </a:schemeClr>
                  </a:gs>
                </a:gsLst>
                <a:lin ang="5400000" scaled="1"/>
              </a:gradFill>
            </a:ln>
            <a:effectLst>
              <a:outerShdw dist="63500" dir="8100000" algn="tr" rotWithShape="0">
                <a:schemeClr val="accent1">
                  <a:lumMod val="75000"/>
                </a:schemeClr>
              </a:outerShdw>
            </a:effectLst>
            <a:scene3d>
              <a:camera prst="isometricTopUp"/>
              <a:lightRig rig="threePt" dir="t"/>
            </a:scene3d>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endParaRPr lang="zh-CN" altLang="en-US" sz="1600">
                <a:solidFill>
                  <a:schemeClr val="bg1"/>
                </a:solidFill>
                <a:latin typeface="+mj-ea"/>
                <a:ea typeface="+mj-ea"/>
              </a:endParaRPr>
            </a:p>
          </p:txBody>
        </p:sp>
        <p:sp>
          <p:nvSpPr>
            <p:cNvPr id="30" name="文本框 16">
              <a:extLst>
                <a:ext uri="{FF2B5EF4-FFF2-40B4-BE49-F238E27FC236}">
                  <a16:creationId xmlns:a16="http://schemas.microsoft.com/office/drawing/2014/main" id="{4B023501-A354-4FF5-A3F5-DF004FA8477E}"/>
                </a:ext>
              </a:extLst>
            </p:cNvPr>
            <p:cNvSpPr txBox="1"/>
            <p:nvPr/>
          </p:nvSpPr>
          <p:spPr>
            <a:xfrm>
              <a:off x="1714447" y="2138243"/>
              <a:ext cx="676467" cy="615553"/>
            </a:xfrm>
            <a:prstGeom prst="rect">
              <a:avLst/>
            </a:prstGeom>
            <a:noFill/>
          </p:spPr>
          <p:txBody>
            <a:bodyPr wrap="none" lIns="0" tIns="0" rIns="0" bIns="0" rtlCol="0" anchor="t">
              <a:spAutoFit/>
              <a:scene3d>
                <a:camera prst="isometricRightUp"/>
                <a:lightRig rig="threePt" dir="t"/>
              </a:scene3d>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altLang="zh-CN" sz="4000" dirty="0">
                  <a:solidFill>
                    <a:schemeClr val="accent1"/>
                  </a:solidFill>
                  <a:latin typeface="+mj-ea"/>
                  <a:ea typeface="+mj-ea"/>
                </a:rPr>
                <a:t>02</a:t>
              </a:r>
              <a:endParaRPr lang="zh-CN" altLang="en-US" sz="4000" dirty="0">
                <a:solidFill>
                  <a:schemeClr val="accent1"/>
                </a:solidFill>
                <a:latin typeface="+mj-ea"/>
                <a:ea typeface="+mj-ea"/>
              </a:endParaRPr>
            </a:p>
          </p:txBody>
        </p:sp>
        <p:sp>
          <p:nvSpPr>
            <p:cNvPr id="31" name="badge_126195">
              <a:extLst>
                <a:ext uri="{FF2B5EF4-FFF2-40B4-BE49-F238E27FC236}">
                  <a16:creationId xmlns:a16="http://schemas.microsoft.com/office/drawing/2014/main" id="{7AC6EF2A-ADAB-4E0A-AD6A-99ABBEC6D6B0}"/>
                </a:ext>
              </a:extLst>
            </p:cNvPr>
            <p:cNvSpPr/>
            <p:nvPr/>
          </p:nvSpPr>
          <p:spPr>
            <a:xfrm>
              <a:off x="2290617" y="2707991"/>
              <a:ext cx="493001" cy="609685"/>
            </a:xfrm>
            <a:custGeom>
              <a:avLst/>
              <a:gdLst>
                <a:gd name="connsiteX0" fmla="*/ 376707 w 465255"/>
                <a:gd name="connsiteY0" fmla="*/ 359911 h 575372"/>
                <a:gd name="connsiteX1" fmla="*/ 465255 w 465255"/>
                <a:gd name="connsiteY1" fmla="*/ 521967 h 575372"/>
                <a:gd name="connsiteX2" fmla="*/ 396999 w 465255"/>
                <a:gd name="connsiteY2" fmla="*/ 512759 h 575372"/>
                <a:gd name="connsiteX3" fmla="*/ 373018 w 465255"/>
                <a:gd name="connsiteY3" fmla="*/ 575372 h 575372"/>
                <a:gd name="connsiteX4" fmla="*/ 275246 w 465255"/>
                <a:gd name="connsiteY4" fmla="*/ 407791 h 575372"/>
                <a:gd name="connsiteX5" fmla="*/ 312141 w 465255"/>
                <a:gd name="connsiteY5" fmla="*/ 393059 h 575372"/>
                <a:gd name="connsiteX6" fmla="*/ 376707 w 465255"/>
                <a:gd name="connsiteY6" fmla="*/ 359911 h 575372"/>
                <a:gd name="connsiteX7" fmla="*/ 86735 w 465255"/>
                <a:gd name="connsiteY7" fmla="*/ 352512 h 575372"/>
                <a:gd name="connsiteX8" fmla="*/ 112571 w 465255"/>
                <a:gd name="connsiteY8" fmla="*/ 363570 h 575372"/>
                <a:gd name="connsiteX9" fmla="*/ 188233 w 465255"/>
                <a:gd name="connsiteY9" fmla="*/ 405957 h 575372"/>
                <a:gd name="connsiteX10" fmla="*/ 107034 w 465255"/>
                <a:gd name="connsiteY10" fmla="*/ 571821 h 575372"/>
                <a:gd name="connsiteX11" fmla="*/ 70126 w 465255"/>
                <a:gd name="connsiteY11" fmla="*/ 514690 h 575372"/>
                <a:gd name="connsiteX12" fmla="*/ 0 w 465255"/>
                <a:gd name="connsiteY12" fmla="*/ 522062 h 575372"/>
                <a:gd name="connsiteX13" fmla="*/ 232628 w 465255"/>
                <a:gd name="connsiteY13" fmla="*/ 121956 h 575372"/>
                <a:gd name="connsiteX14" fmla="*/ 256629 w 465255"/>
                <a:gd name="connsiteY14" fmla="*/ 169858 h 575372"/>
                <a:gd name="connsiteX15" fmla="*/ 310170 w 465255"/>
                <a:gd name="connsiteY15" fmla="*/ 177227 h 575372"/>
                <a:gd name="connsiteX16" fmla="*/ 271399 w 465255"/>
                <a:gd name="connsiteY16" fmla="*/ 215917 h 575372"/>
                <a:gd name="connsiteX17" fmla="*/ 280630 w 465255"/>
                <a:gd name="connsiteY17" fmla="*/ 269346 h 575372"/>
                <a:gd name="connsiteX18" fmla="*/ 232628 w 465255"/>
                <a:gd name="connsiteY18" fmla="*/ 243553 h 575372"/>
                <a:gd name="connsiteX19" fmla="*/ 184625 w 465255"/>
                <a:gd name="connsiteY19" fmla="*/ 269346 h 575372"/>
                <a:gd name="connsiteX20" fmla="*/ 193856 w 465255"/>
                <a:gd name="connsiteY20" fmla="*/ 215917 h 575372"/>
                <a:gd name="connsiteX21" fmla="*/ 155085 w 465255"/>
                <a:gd name="connsiteY21" fmla="*/ 177227 h 575372"/>
                <a:gd name="connsiteX22" fmla="*/ 208626 w 465255"/>
                <a:gd name="connsiteY22" fmla="*/ 169858 h 575372"/>
                <a:gd name="connsiteX23" fmla="*/ 232663 w 465255"/>
                <a:gd name="connsiteY23" fmla="*/ 81359 h 575372"/>
                <a:gd name="connsiteX24" fmla="*/ 118167 w 465255"/>
                <a:gd name="connsiteY24" fmla="*/ 195685 h 575372"/>
                <a:gd name="connsiteX25" fmla="*/ 232663 w 465255"/>
                <a:gd name="connsiteY25" fmla="*/ 310011 h 575372"/>
                <a:gd name="connsiteX26" fmla="*/ 347159 w 465255"/>
                <a:gd name="connsiteY26" fmla="*/ 195685 h 575372"/>
                <a:gd name="connsiteX27" fmla="*/ 232663 w 465255"/>
                <a:gd name="connsiteY27" fmla="*/ 81359 h 575372"/>
                <a:gd name="connsiteX28" fmla="*/ 180032 w 465255"/>
                <a:gd name="connsiteY28" fmla="*/ 916 h 575372"/>
                <a:gd name="connsiteX29" fmla="*/ 204962 w 465255"/>
                <a:gd name="connsiteY29" fmla="*/ 5756 h 575372"/>
                <a:gd name="connsiteX30" fmla="*/ 260364 w 465255"/>
                <a:gd name="connsiteY30" fmla="*/ 5756 h 575372"/>
                <a:gd name="connsiteX31" fmla="*/ 302838 w 465255"/>
                <a:gd name="connsiteY31" fmla="*/ 16820 h 575372"/>
                <a:gd name="connsiteX32" fmla="*/ 350852 w 465255"/>
                <a:gd name="connsiteY32" fmla="*/ 44479 h 575372"/>
                <a:gd name="connsiteX33" fmla="*/ 384093 w 465255"/>
                <a:gd name="connsiteY33" fmla="*/ 77671 h 575372"/>
                <a:gd name="connsiteX34" fmla="*/ 409947 w 465255"/>
                <a:gd name="connsiteY34" fmla="*/ 123770 h 575372"/>
                <a:gd name="connsiteX35" fmla="*/ 422874 w 465255"/>
                <a:gd name="connsiteY35" fmla="*/ 168025 h 575372"/>
                <a:gd name="connsiteX36" fmla="*/ 422874 w 465255"/>
                <a:gd name="connsiteY36" fmla="*/ 223345 h 575372"/>
                <a:gd name="connsiteX37" fmla="*/ 409947 w 465255"/>
                <a:gd name="connsiteY37" fmla="*/ 265756 h 575372"/>
                <a:gd name="connsiteX38" fmla="*/ 384093 w 465255"/>
                <a:gd name="connsiteY38" fmla="*/ 313699 h 575372"/>
                <a:gd name="connsiteX39" fmla="*/ 350852 w 465255"/>
                <a:gd name="connsiteY39" fmla="*/ 346891 h 575372"/>
                <a:gd name="connsiteX40" fmla="*/ 302838 w 465255"/>
                <a:gd name="connsiteY40" fmla="*/ 372706 h 575372"/>
                <a:gd name="connsiteX41" fmla="*/ 260364 w 465255"/>
                <a:gd name="connsiteY41" fmla="*/ 385614 h 575372"/>
                <a:gd name="connsiteX42" fmla="*/ 204962 w 465255"/>
                <a:gd name="connsiteY42" fmla="*/ 385614 h 575372"/>
                <a:gd name="connsiteX43" fmla="*/ 160641 w 465255"/>
                <a:gd name="connsiteY43" fmla="*/ 372706 h 575372"/>
                <a:gd name="connsiteX44" fmla="*/ 114474 w 465255"/>
                <a:gd name="connsiteY44" fmla="*/ 346891 h 575372"/>
                <a:gd name="connsiteX45" fmla="*/ 81233 w 465255"/>
                <a:gd name="connsiteY45" fmla="*/ 313699 h 575372"/>
                <a:gd name="connsiteX46" fmla="*/ 53532 w 465255"/>
                <a:gd name="connsiteY46" fmla="*/ 265756 h 575372"/>
                <a:gd name="connsiteX47" fmla="*/ 42452 w 465255"/>
                <a:gd name="connsiteY47" fmla="*/ 223345 h 575372"/>
                <a:gd name="connsiteX48" fmla="*/ 42452 w 465255"/>
                <a:gd name="connsiteY48" fmla="*/ 168025 h 575372"/>
                <a:gd name="connsiteX49" fmla="*/ 53532 w 465255"/>
                <a:gd name="connsiteY49" fmla="*/ 123770 h 575372"/>
                <a:gd name="connsiteX50" fmla="*/ 81233 w 465255"/>
                <a:gd name="connsiteY50" fmla="*/ 77671 h 575372"/>
                <a:gd name="connsiteX51" fmla="*/ 114474 w 465255"/>
                <a:gd name="connsiteY51" fmla="*/ 44479 h 575372"/>
                <a:gd name="connsiteX52" fmla="*/ 160641 w 465255"/>
                <a:gd name="connsiteY52" fmla="*/ 16820 h 575372"/>
                <a:gd name="connsiteX53" fmla="*/ 180032 w 465255"/>
                <a:gd name="connsiteY53" fmla="*/ 916 h 575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465255" h="575372">
                  <a:moveTo>
                    <a:pt x="376707" y="359911"/>
                  </a:moveTo>
                  <a:lnTo>
                    <a:pt x="465255" y="521967"/>
                  </a:lnTo>
                  <a:lnTo>
                    <a:pt x="396999" y="512759"/>
                  </a:lnTo>
                  <a:lnTo>
                    <a:pt x="373018" y="575372"/>
                  </a:lnTo>
                  <a:lnTo>
                    <a:pt x="275246" y="407791"/>
                  </a:lnTo>
                  <a:cubicBezTo>
                    <a:pt x="275246" y="407791"/>
                    <a:pt x="295538" y="411474"/>
                    <a:pt x="312141" y="393059"/>
                  </a:cubicBezTo>
                  <a:cubicBezTo>
                    <a:pt x="326899" y="382010"/>
                    <a:pt x="313986" y="365436"/>
                    <a:pt x="376707" y="359911"/>
                  </a:cubicBezTo>
                  <a:close/>
                  <a:moveTo>
                    <a:pt x="86735" y="352512"/>
                  </a:moveTo>
                  <a:cubicBezTo>
                    <a:pt x="86735" y="352512"/>
                    <a:pt x="90426" y="363570"/>
                    <a:pt x="112571" y="363570"/>
                  </a:cubicBezTo>
                  <a:cubicBezTo>
                    <a:pt x="162397" y="363570"/>
                    <a:pt x="145788" y="405957"/>
                    <a:pt x="188233" y="405957"/>
                  </a:cubicBezTo>
                  <a:cubicBezTo>
                    <a:pt x="188233" y="405957"/>
                    <a:pt x="107034" y="571821"/>
                    <a:pt x="107034" y="571821"/>
                  </a:cubicBezTo>
                  <a:lnTo>
                    <a:pt x="70126" y="514690"/>
                  </a:lnTo>
                  <a:lnTo>
                    <a:pt x="0" y="522062"/>
                  </a:lnTo>
                  <a:close/>
                  <a:moveTo>
                    <a:pt x="232628" y="121956"/>
                  </a:moveTo>
                  <a:lnTo>
                    <a:pt x="256629" y="169858"/>
                  </a:lnTo>
                  <a:lnTo>
                    <a:pt x="310170" y="177227"/>
                  </a:lnTo>
                  <a:lnTo>
                    <a:pt x="271399" y="215917"/>
                  </a:lnTo>
                  <a:lnTo>
                    <a:pt x="280630" y="269346"/>
                  </a:lnTo>
                  <a:lnTo>
                    <a:pt x="232628" y="243553"/>
                  </a:lnTo>
                  <a:lnTo>
                    <a:pt x="184625" y="269346"/>
                  </a:lnTo>
                  <a:lnTo>
                    <a:pt x="193856" y="215917"/>
                  </a:lnTo>
                  <a:lnTo>
                    <a:pt x="155085" y="177227"/>
                  </a:lnTo>
                  <a:lnTo>
                    <a:pt x="208626" y="169858"/>
                  </a:lnTo>
                  <a:close/>
                  <a:moveTo>
                    <a:pt x="232663" y="81359"/>
                  </a:moveTo>
                  <a:cubicBezTo>
                    <a:pt x="168028" y="81359"/>
                    <a:pt x="118167" y="131146"/>
                    <a:pt x="118167" y="195685"/>
                  </a:cubicBezTo>
                  <a:cubicBezTo>
                    <a:pt x="118167" y="258380"/>
                    <a:pt x="168028" y="310011"/>
                    <a:pt x="232663" y="310011"/>
                  </a:cubicBezTo>
                  <a:cubicBezTo>
                    <a:pt x="295451" y="310011"/>
                    <a:pt x="347159" y="258380"/>
                    <a:pt x="347159" y="195685"/>
                  </a:cubicBezTo>
                  <a:cubicBezTo>
                    <a:pt x="347159" y="131146"/>
                    <a:pt x="295451" y="81359"/>
                    <a:pt x="232663" y="81359"/>
                  </a:cubicBezTo>
                  <a:close/>
                  <a:moveTo>
                    <a:pt x="180032" y="916"/>
                  </a:moveTo>
                  <a:cubicBezTo>
                    <a:pt x="187419" y="-1159"/>
                    <a:pt x="195729" y="224"/>
                    <a:pt x="204962" y="5756"/>
                  </a:cubicBezTo>
                  <a:cubicBezTo>
                    <a:pt x="223429" y="16820"/>
                    <a:pt x="241897" y="16820"/>
                    <a:pt x="260364" y="5756"/>
                  </a:cubicBezTo>
                  <a:cubicBezTo>
                    <a:pt x="278831" y="-5308"/>
                    <a:pt x="293604" y="224"/>
                    <a:pt x="302838" y="16820"/>
                  </a:cubicBezTo>
                  <a:cubicBezTo>
                    <a:pt x="313918" y="35259"/>
                    <a:pt x="330538" y="44479"/>
                    <a:pt x="350852" y="44479"/>
                  </a:cubicBezTo>
                  <a:cubicBezTo>
                    <a:pt x="373013" y="44479"/>
                    <a:pt x="382246" y="55543"/>
                    <a:pt x="384093" y="77671"/>
                  </a:cubicBezTo>
                  <a:cubicBezTo>
                    <a:pt x="384093" y="97954"/>
                    <a:pt x="393326" y="114550"/>
                    <a:pt x="409947" y="123770"/>
                  </a:cubicBezTo>
                  <a:cubicBezTo>
                    <a:pt x="428414" y="134834"/>
                    <a:pt x="432107" y="149586"/>
                    <a:pt x="422874" y="168025"/>
                  </a:cubicBezTo>
                  <a:cubicBezTo>
                    <a:pt x="411793" y="186465"/>
                    <a:pt x="411793" y="204905"/>
                    <a:pt x="422874" y="223345"/>
                  </a:cubicBezTo>
                  <a:cubicBezTo>
                    <a:pt x="432107" y="241784"/>
                    <a:pt x="428414" y="256536"/>
                    <a:pt x="409947" y="265756"/>
                  </a:cubicBezTo>
                  <a:cubicBezTo>
                    <a:pt x="393326" y="276820"/>
                    <a:pt x="384093" y="293416"/>
                    <a:pt x="384093" y="313699"/>
                  </a:cubicBezTo>
                  <a:cubicBezTo>
                    <a:pt x="382246" y="335827"/>
                    <a:pt x="373013" y="345047"/>
                    <a:pt x="350852" y="346891"/>
                  </a:cubicBezTo>
                  <a:cubicBezTo>
                    <a:pt x="330538" y="346891"/>
                    <a:pt x="313918" y="356111"/>
                    <a:pt x="302838" y="372706"/>
                  </a:cubicBezTo>
                  <a:cubicBezTo>
                    <a:pt x="293604" y="391146"/>
                    <a:pt x="278831" y="394834"/>
                    <a:pt x="260364" y="385614"/>
                  </a:cubicBezTo>
                  <a:cubicBezTo>
                    <a:pt x="241897" y="374550"/>
                    <a:pt x="223429" y="374550"/>
                    <a:pt x="204962" y="385614"/>
                  </a:cubicBezTo>
                  <a:cubicBezTo>
                    <a:pt x="186495" y="394834"/>
                    <a:pt x="171722" y="391146"/>
                    <a:pt x="160641" y="372706"/>
                  </a:cubicBezTo>
                  <a:cubicBezTo>
                    <a:pt x="151408" y="356111"/>
                    <a:pt x="134787" y="346891"/>
                    <a:pt x="114474" y="346891"/>
                  </a:cubicBezTo>
                  <a:cubicBezTo>
                    <a:pt x="92313" y="345047"/>
                    <a:pt x="81233" y="335827"/>
                    <a:pt x="81233" y="313699"/>
                  </a:cubicBezTo>
                  <a:cubicBezTo>
                    <a:pt x="81233" y="293416"/>
                    <a:pt x="71999" y="276820"/>
                    <a:pt x="53532" y="265756"/>
                  </a:cubicBezTo>
                  <a:cubicBezTo>
                    <a:pt x="36912" y="256536"/>
                    <a:pt x="31372" y="241784"/>
                    <a:pt x="42452" y="223345"/>
                  </a:cubicBezTo>
                  <a:cubicBezTo>
                    <a:pt x="53532" y="204905"/>
                    <a:pt x="53532" y="186465"/>
                    <a:pt x="42452" y="168025"/>
                  </a:cubicBezTo>
                  <a:cubicBezTo>
                    <a:pt x="31372" y="149586"/>
                    <a:pt x="36912" y="134834"/>
                    <a:pt x="53532" y="123770"/>
                  </a:cubicBezTo>
                  <a:cubicBezTo>
                    <a:pt x="71999" y="114550"/>
                    <a:pt x="81233" y="97954"/>
                    <a:pt x="81233" y="77671"/>
                  </a:cubicBezTo>
                  <a:cubicBezTo>
                    <a:pt x="81233" y="55543"/>
                    <a:pt x="92313" y="44479"/>
                    <a:pt x="114474" y="44479"/>
                  </a:cubicBezTo>
                  <a:cubicBezTo>
                    <a:pt x="134787" y="44479"/>
                    <a:pt x="151408" y="35259"/>
                    <a:pt x="160641" y="16820"/>
                  </a:cubicBezTo>
                  <a:cubicBezTo>
                    <a:pt x="166182" y="8522"/>
                    <a:pt x="172645" y="2990"/>
                    <a:pt x="180032" y="916"/>
                  </a:cubicBezTo>
                  <a:close/>
                </a:path>
              </a:pathLst>
            </a:custGeom>
            <a:solidFill>
              <a:schemeClr val="bg1"/>
            </a:solidFill>
            <a:ln>
              <a:noFill/>
            </a:ln>
            <a:scene3d>
              <a:camera prst="isometricTopUp"/>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grpSp>
      <p:grpSp>
        <p:nvGrpSpPr>
          <p:cNvPr id="47" name="Group 18">
            <a:extLst>
              <a:ext uri="{FF2B5EF4-FFF2-40B4-BE49-F238E27FC236}">
                <a16:creationId xmlns:a16="http://schemas.microsoft.com/office/drawing/2014/main" id="{7D3E5324-4B4F-449B-843E-88C944BE76D8}"/>
              </a:ext>
            </a:extLst>
          </p:cNvPr>
          <p:cNvGrpSpPr/>
          <p:nvPr/>
        </p:nvGrpSpPr>
        <p:grpSpPr>
          <a:xfrm>
            <a:off x="8389551" y="2689026"/>
            <a:ext cx="1868170" cy="1683187"/>
            <a:chOff x="1603033" y="2138243"/>
            <a:chExt cx="1868170" cy="1683187"/>
          </a:xfrm>
        </p:grpSpPr>
        <p:sp>
          <p:nvSpPr>
            <p:cNvPr id="48" name="椭圆 47">
              <a:extLst>
                <a:ext uri="{FF2B5EF4-FFF2-40B4-BE49-F238E27FC236}">
                  <a16:creationId xmlns:a16="http://schemas.microsoft.com/office/drawing/2014/main" id="{FD23EB4A-6D2A-41F5-85DD-0D98C432D9C4}"/>
                </a:ext>
              </a:extLst>
            </p:cNvPr>
            <p:cNvSpPr/>
            <p:nvPr/>
          </p:nvSpPr>
          <p:spPr>
            <a:xfrm>
              <a:off x="1603033" y="3036570"/>
              <a:ext cx="1868170" cy="784860"/>
            </a:xfrm>
            <a:prstGeom prst="ellipse">
              <a:avLst/>
            </a:prstGeom>
            <a:solidFill>
              <a:schemeClr val="accent1">
                <a:lumMod val="75000"/>
                <a:alpha val="36000"/>
              </a:schemeClr>
            </a:solidFill>
            <a:ln>
              <a:noFill/>
            </a:ln>
            <a:effectLst>
              <a:softEdge rad="2286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l"/>
              <a:endParaRPr lang="zh-CN" altLang="en-US" sz="1600">
                <a:solidFill>
                  <a:schemeClr val="bg1"/>
                </a:solidFill>
                <a:latin typeface="+mj-ea"/>
                <a:ea typeface="+mj-ea"/>
              </a:endParaRPr>
            </a:p>
          </p:txBody>
        </p:sp>
        <p:sp>
          <p:nvSpPr>
            <p:cNvPr id="49" name="矩形: 圆角 48">
              <a:extLst>
                <a:ext uri="{FF2B5EF4-FFF2-40B4-BE49-F238E27FC236}">
                  <a16:creationId xmlns:a16="http://schemas.microsoft.com/office/drawing/2014/main" id="{148091BF-BBD1-4B66-82F2-461856AE992E}"/>
                </a:ext>
              </a:extLst>
            </p:cNvPr>
            <p:cNvSpPr/>
            <p:nvPr/>
          </p:nvSpPr>
          <p:spPr>
            <a:xfrm>
              <a:off x="1946568" y="2446020"/>
              <a:ext cx="1181100" cy="1181100"/>
            </a:xfrm>
            <a:prstGeom prst="roundRect">
              <a:avLst>
                <a:gd name="adj" fmla="val 10861"/>
              </a:avLst>
            </a:prstGeom>
            <a:gradFill flip="none" rotWithShape="1">
              <a:gsLst>
                <a:gs pos="0">
                  <a:schemeClr val="accent1">
                    <a:lumMod val="60000"/>
                    <a:lumOff val="40000"/>
                  </a:schemeClr>
                </a:gs>
                <a:gs pos="100000">
                  <a:schemeClr val="accent1">
                    <a:lumMod val="75000"/>
                  </a:schemeClr>
                </a:gs>
              </a:gsLst>
              <a:lin ang="8100000" scaled="1"/>
              <a:tileRect/>
            </a:gradFill>
            <a:ln w="6350">
              <a:gradFill>
                <a:gsLst>
                  <a:gs pos="0">
                    <a:schemeClr val="accent1">
                      <a:lumMod val="5000"/>
                      <a:lumOff val="95000"/>
                    </a:schemeClr>
                  </a:gs>
                  <a:gs pos="100000">
                    <a:schemeClr val="accent1">
                      <a:lumMod val="30000"/>
                      <a:lumOff val="70000"/>
                    </a:schemeClr>
                  </a:gs>
                </a:gsLst>
                <a:lin ang="5400000" scaled="1"/>
              </a:gradFill>
            </a:ln>
            <a:effectLst>
              <a:outerShdw dist="63500" dir="8100000" algn="tr" rotWithShape="0">
                <a:schemeClr val="accent1">
                  <a:lumMod val="75000"/>
                </a:schemeClr>
              </a:outerShdw>
            </a:effectLst>
            <a:scene3d>
              <a:camera prst="isometricTopUp"/>
              <a:lightRig rig="threePt" dir="t"/>
            </a:scene3d>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endParaRPr lang="zh-CN" altLang="en-US" sz="1600">
                <a:solidFill>
                  <a:schemeClr val="bg1"/>
                </a:solidFill>
                <a:latin typeface="+mj-ea"/>
                <a:ea typeface="+mj-ea"/>
              </a:endParaRPr>
            </a:p>
          </p:txBody>
        </p:sp>
        <p:sp>
          <p:nvSpPr>
            <p:cNvPr id="50" name="文本框 21">
              <a:extLst>
                <a:ext uri="{FF2B5EF4-FFF2-40B4-BE49-F238E27FC236}">
                  <a16:creationId xmlns:a16="http://schemas.microsoft.com/office/drawing/2014/main" id="{045DE4A5-0426-4814-9CDD-2B930B05E91E}"/>
                </a:ext>
              </a:extLst>
            </p:cNvPr>
            <p:cNvSpPr txBox="1"/>
            <p:nvPr/>
          </p:nvSpPr>
          <p:spPr>
            <a:xfrm>
              <a:off x="1714447" y="2138243"/>
              <a:ext cx="676467" cy="615553"/>
            </a:xfrm>
            <a:prstGeom prst="rect">
              <a:avLst/>
            </a:prstGeom>
            <a:noFill/>
          </p:spPr>
          <p:txBody>
            <a:bodyPr wrap="none" lIns="0" tIns="0" rIns="0" bIns="0" rtlCol="0" anchor="t">
              <a:spAutoFit/>
              <a:scene3d>
                <a:camera prst="isometricRightUp"/>
                <a:lightRig rig="threePt" dir="t"/>
              </a:scene3d>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altLang="zh-CN" sz="4000" dirty="0">
                  <a:solidFill>
                    <a:schemeClr val="accent1"/>
                  </a:solidFill>
                  <a:latin typeface="+mj-ea"/>
                  <a:ea typeface="+mj-ea"/>
                </a:rPr>
                <a:t>04</a:t>
              </a:r>
              <a:endParaRPr lang="zh-CN" altLang="en-US" sz="4000" dirty="0">
                <a:solidFill>
                  <a:schemeClr val="accent1"/>
                </a:solidFill>
                <a:latin typeface="+mj-ea"/>
                <a:ea typeface="+mj-ea"/>
              </a:endParaRPr>
            </a:p>
          </p:txBody>
        </p:sp>
        <p:sp>
          <p:nvSpPr>
            <p:cNvPr id="51" name="badge_126195">
              <a:extLst>
                <a:ext uri="{FF2B5EF4-FFF2-40B4-BE49-F238E27FC236}">
                  <a16:creationId xmlns:a16="http://schemas.microsoft.com/office/drawing/2014/main" id="{F487B88D-3A57-4C2E-8460-EB02493F7EC8}"/>
                </a:ext>
              </a:extLst>
            </p:cNvPr>
            <p:cNvSpPr/>
            <p:nvPr/>
          </p:nvSpPr>
          <p:spPr>
            <a:xfrm>
              <a:off x="2337150" y="2707991"/>
              <a:ext cx="399935" cy="609685"/>
            </a:xfrm>
            <a:custGeom>
              <a:avLst/>
              <a:gdLst>
                <a:gd name="T0" fmla="*/ 2621 w 8263"/>
                <a:gd name="T1" fmla="*/ 2307 h 12594"/>
                <a:gd name="T2" fmla="*/ 3643 w 8263"/>
                <a:gd name="T3" fmla="*/ 1308 h 12594"/>
                <a:gd name="T4" fmla="*/ 4777 w 8263"/>
                <a:gd name="T5" fmla="*/ 1308 h 12594"/>
                <a:gd name="T6" fmla="*/ 5799 w 8263"/>
                <a:gd name="T7" fmla="*/ 2307 h 12594"/>
                <a:gd name="T8" fmla="*/ 5799 w 8263"/>
                <a:gd name="T9" fmla="*/ 4735 h 12594"/>
                <a:gd name="T10" fmla="*/ 7139 w 8263"/>
                <a:gd name="T11" fmla="*/ 4735 h 12594"/>
                <a:gd name="T12" fmla="*/ 7139 w 8263"/>
                <a:gd name="T13" fmla="*/ 2307 h 12594"/>
                <a:gd name="T14" fmla="*/ 4777 w 8263"/>
                <a:gd name="T15" fmla="*/ 0 h 12594"/>
                <a:gd name="T16" fmla="*/ 3643 w 8263"/>
                <a:gd name="T17" fmla="*/ 0 h 12594"/>
                <a:gd name="T18" fmla="*/ 1282 w 8263"/>
                <a:gd name="T19" fmla="*/ 2307 h 12594"/>
                <a:gd name="T20" fmla="*/ 1282 w 8263"/>
                <a:gd name="T21" fmla="*/ 3426 h 12594"/>
                <a:gd name="T22" fmla="*/ 2621 w 8263"/>
                <a:gd name="T23" fmla="*/ 3426 h 12594"/>
                <a:gd name="T24" fmla="*/ 2621 w 8263"/>
                <a:gd name="T25" fmla="*/ 2307 h 12594"/>
                <a:gd name="T26" fmla="*/ 0 w 8263"/>
                <a:gd name="T27" fmla="*/ 5432 h 12594"/>
                <a:gd name="T28" fmla="*/ 0 w 8263"/>
                <a:gd name="T29" fmla="*/ 9095 h 12594"/>
                <a:gd name="T30" fmla="*/ 3581 w 8263"/>
                <a:gd name="T31" fmla="*/ 12594 h 12594"/>
                <a:gd name="T32" fmla="*/ 4683 w 8263"/>
                <a:gd name="T33" fmla="*/ 12594 h 12594"/>
                <a:gd name="T34" fmla="*/ 8263 w 8263"/>
                <a:gd name="T35" fmla="*/ 9095 h 12594"/>
                <a:gd name="T36" fmla="*/ 8263 w 8263"/>
                <a:gd name="T37" fmla="*/ 5432 h 12594"/>
                <a:gd name="T38" fmla="*/ 0 w 8263"/>
                <a:gd name="T39" fmla="*/ 5432 h 12594"/>
                <a:gd name="T40" fmla="*/ 4656 w 8263"/>
                <a:gd name="T41" fmla="*/ 8691 h 12594"/>
                <a:gd name="T42" fmla="*/ 4656 w 8263"/>
                <a:gd name="T43" fmla="*/ 10294 h 12594"/>
                <a:gd name="T44" fmla="*/ 4299 w 8263"/>
                <a:gd name="T45" fmla="*/ 10643 h 12594"/>
                <a:gd name="T46" fmla="*/ 3942 w 8263"/>
                <a:gd name="T47" fmla="*/ 10294 h 12594"/>
                <a:gd name="T48" fmla="*/ 3942 w 8263"/>
                <a:gd name="T49" fmla="*/ 8691 h 12594"/>
                <a:gd name="T50" fmla="*/ 3369 w 8263"/>
                <a:gd name="T51" fmla="*/ 7851 h 12594"/>
                <a:gd name="T52" fmla="*/ 4301 w 8263"/>
                <a:gd name="T53" fmla="*/ 6940 h 12594"/>
                <a:gd name="T54" fmla="*/ 5232 w 8263"/>
                <a:gd name="T55" fmla="*/ 7851 h 12594"/>
                <a:gd name="T56" fmla="*/ 4656 w 8263"/>
                <a:gd name="T57" fmla="*/ 8691 h 12594"/>
                <a:gd name="T58" fmla="*/ 4656 w 8263"/>
                <a:gd name="T59" fmla="*/ 8691 h 125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263" h="12594">
                  <a:moveTo>
                    <a:pt x="2621" y="2307"/>
                  </a:moveTo>
                  <a:cubicBezTo>
                    <a:pt x="2622" y="1756"/>
                    <a:pt x="3079" y="1309"/>
                    <a:pt x="3643" y="1308"/>
                  </a:cubicBezTo>
                  <a:lnTo>
                    <a:pt x="4777" y="1308"/>
                  </a:lnTo>
                  <a:cubicBezTo>
                    <a:pt x="5341" y="1309"/>
                    <a:pt x="5798" y="1756"/>
                    <a:pt x="5799" y="2307"/>
                  </a:cubicBezTo>
                  <a:lnTo>
                    <a:pt x="5799" y="4735"/>
                  </a:lnTo>
                  <a:lnTo>
                    <a:pt x="7139" y="4735"/>
                  </a:lnTo>
                  <a:lnTo>
                    <a:pt x="7139" y="2307"/>
                  </a:lnTo>
                  <a:cubicBezTo>
                    <a:pt x="7138" y="1033"/>
                    <a:pt x="6082" y="0"/>
                    <a:pt x="4777" y="0"/>
                  </a:cubicBezTo>
                  <a:lnTo>
                    <a:pt x="3643" y="0"/>
                  </a:lnTo>
                  <a:cubicBezTo>
                    <a:pt x="2339" y="0"/>
                    <a:pt x="1282" y="1033"/>
                    <a:pt x="1282" y="2307"/>
                  </a:cubicBezTo>
                  <a:lnTo>
                    <a:pt x="1282" y="3426"/>
                  </a:lnTo>
                  <a:lnTo>
                    <a:pt x="2621" y="3426"/>
                  </a:lnTo>
                  <a:lnTo>
                    <a:pt x="2621" y="2307"/>
                  </a:lnTo>
                  <a:close/>
                  <a:moveTo>
                    <a:pt x="0" y="5432"/>
                  </a:moveTo>
                  <a:lnTo>
                    <a:pt x="0" y="9095"/>
                  </a:lnTo>
                  <a:cubicBezTo>
                    <a:pt x="0" y="11029"/>
                    <a:pt x="1603" y="12594"/>
                    <a:pt x="3581" y="12594"/>
                  </a:cubicBezTo>
                  <a:lnTo>
                    <a:pt x="4683" y="12594"/>
                  </a:lnTo>
                  <a:cubicBezTo>
                    <a:pt x="6660" y="12594"/>
                    <a:pt x="8263" y="11028"/>
                    <a:pt x="8263" y="9095"/>
                  </a:cubicBezTo>
                  <a:lnTo>
                    <a:pt x="8263" y="5432"/>
                  </a:lnTo>
                  <a:lnTo>
                    <a:pt x="0" y="5432"/>
                  </a:lnTo>
                  <a:close/>
                  <a:moveTo>
                    <a:pt x="4656" y="8691"/>
                  </a:moveTo>
                  <a:lnTo>
                    <a:pt x="4656" y="10294"/>
                  </a:lnTo>
                  <a:cubicBezTo>
                    <a:pt x="4656" y="10486"/>
                    <a:pt x="4496" y="10643"/>
                    <a:pt x="4299" y="10643"/>
                  </a:cubicBezTo>
                  <a:cubicBezTo>
                    <a:pt x="4102" y="10643"/>
                    <a:pt x="3942" y="10486"/>
                    <a:pt x="3942" y="10294"/>
                  </a:cubicBezTo>
                  <a:lnTo>
                    <a:pt x="3942" y="8691"/>
                  </a:lnTo>
                  <a:cubicBezTo>
                    <a:pt x="3606" y="8553"/>
                    <a:pt x="3369" y="8229"/>
                    <a:pt x="3369" y="7851"/>
                  </a:cubicBezTo>
                  <a:cubicBezTo>
                    <a:pt x="3369" y="7348"/>
                    <a:pt x="3786" y="6940"/>
                    <a:pt x="4301" y="6940"/>
                  </a:cubicBezTo>
                  <a:cubicBezTo>
                    <a:pt x="4815" y="6940"/>
                    <a:pt x="5232" y="7348"/>
                    <a:pt x="5232" y="7851"/>
                  </a:cubicBezTo>
                  <a:cubicBezTo>
                    <a:pt x="5232" y="8230"/>
                    <a:pt x="4994" y="8555"/>
                    <a:pt x="4656" y="8691"/>
                  </a:cubicBezTo>
                  <a:close/>
                  <a:moveTo>
                    <a:pt x="4656" y="8691"/>
                  </a:moveTo>
                  <a:close/>
                </a:path>
              </a:pathLst>
            </a:custGeom>
            <a:solidFill>
              <a:schemeClr val="bg1"/>
            </a:solidFill>
            <a:ln>
              <a:noFill/>
            </a:ln>
            <a:scene3d>
              <a:camera prst="isometricTopUp"/>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grpSp>
      <p:sp>
        <p:nvSpPr>
          <p:cNvPr id="52" name="文本框 51">
            <a:extLst>
              <a:ext uri="{FF2B5EF4-FFF2-40B4-BE49-F238E27FC236}">
                <a16:creationId xmlns:a16="http://schemas.microsoft.com/office/drawing/2014/main" id="{559D2EB9-CFCC-4D5C-B3DB-FBB5CE66D405}"/>
              </a:ext>
            </a:extLst>
          </p:cNvPr>
          <p:cNvSpPr txBox="1"/>
          <p:nvPr/>
        </p:nvSpPr>
        <p:spPr>
          <a:xfrm>
            <a:off x="1876323" y="3108127"/>
            <a:ext cx="1282402" cy="307777"/>
          </a:xfrm>
          <a:prstGeom prst="rect">
            <a:avLst/>
          </a:prstGeom>
          <a:noFill/>
          <a:effectLst/>
        </p:spPr>
        <p:txBody>
          <a:bodyPr wrap="none" lIns="0" tIns="0" rIns="0" bIns="0" rtlCol="0" anchor="t">
            <a:spAutoFit/>
          </a:bodyPr>
          <a:lstStyle/>
          <a:p>
            <a:pPr algn="ctr"/>
            <a:r>
              <a:rPr lang="zh-CN" altLang="en-US" sz="2000" dirty="0">
                <a:solidFill>
                  <a:schemeClr val="accent1"/>
                </a:solidFill>
                <a:latin typeface="+mj-ea"/>
                <a:ea typeface="+mj-ea"/>
              </a:rPr>
              <a:t>关键词标题</a:t>
            </a:r>
          </a:p>
        </p:txBody>
      </p:sp>
      <p:sp>
        <p:nvSpPr>
          <p:cNvPr id="53" name="文本框 52">
            <a:extLst>
              <a:ext uri="{FF2B5EF4-FFF2-40B4-BE49-F238E27FC236}">
                <a16:creationId xmlns:a16="http://schemas.microsoft.com/office/drawing/2014/main" id="{BFEA8719-0A0F-40A4-BBF0-E5BAF6BA7CA3}"/>
              </a:ext>
            </a:extLst>
          </p:cNvPr>
          <p:cNvSpPr txBox="1"/>
          <p:nvPr/>
        </p:nvSpPr>
        <p:spPr>
          <a:xfrm>
            <a:off x="1748083" y="3569105"/>
            <a:ext cx="1538882" cy="944939"/>
          </a:xfrm>
          <a:prstGeom prst="rect">
            <a:avLst/>
          </a:prstGeom>
          <a:noFill/>
          <a:effectLst/>
        </p:spPr>
        <p:txBody>
          <a:bodyPr wrap="square" lIns="0" tIns="0" rIns="0" bIns="0" rtlCol="0" anchor="t">
            <a:spAutoFit/>
          </a:bodyPr>
          <a:lstStyle/>
          <a:p>
            <a:pPr algn="ctr">
              <a:lnSpc>
                <a:spcPct val="130000"/>
              </a:lnSpc>
            </a:pPr>
            <a:r>
              <a:rPr lang="en-US" altLang="zh-CN" sz="1200" b="0" dirty="0">
                <a:solidFill>
                  <a:schemeClr val="tx1">
                    <a:lumMod val="75000"/>
                    <a:lumOff val="25000"/>
                  </a:schemeClr>
                </a:solidFill>
                <a:effectLst/>
                <a:latin typeface="+mn-ea"/>
              </a:rPr>
              <a:t>Lorem ipsum dolor sit ametconsectetur adipisicing elit</a:t>
            </a:r>
            <a:r>
              <a:rPr lang="en-US" altLang="zh-CN" sz="1200" dirty="0">
                <a:solidFill>
                  <a:schemeClr val="tx1">
                    <a:lumMod val="75000"/>
                    <a:lumOff val="25000"/>
                  </a:schemeClr>
                </a:solidFill>
                <a:latin typeface="+mn-ea"/>
              </a:rPr>
              <a:t> </a:t>
            </a:r>
            <a:r>
              <a:rPr lang="en-US" altLang="zh-CN" sz="1200" b="0" dirty="0">
                <a:solidFill>
                  <a:schemeClr val="tx1">
                    <a:lumMod val="75000"/>
                    <a:lumOff val="25000"/>
                  </a:schemeClr>
                </a:solidFill>
                <a:effectLst/>
                <a:latin typeface="+mn-ea"/>
              </a:rPr>
              <a:t>sed do eiusmod tempor</a:t>
            </a:r>
            <a:endParaRPr lang="zh-CN" altLang="en-US" sz="1200" b="0" dirty="0">
              <a:solidFill>
                <a:schemeClr val="tx1">
                  <a:lumMod val="75000"/>
                  <a:lumOff val="25000"/>
                </a:schemeClr>
              </a:solidFill>
              <a:effectLst/>
              <a:latin typeface="+mn-ea"/>
            </a:endParaRPr>
          </a:p>
        </p:txBody>
      </p:sp>
      <p:cxnSp>
        <p:nvCxnSpPr>
          <p:cNvPr id="54" name="直接连接符 53">
            <a:extLst>
              <a:ext uri="{FF2B5EF4-FFF2-40B4-BE49-F238E27FC236}">
                <a16:creationId xmlns:a16="http://schemas.microsoft.com/office/drawing/2014/main" id="{C8BAD94E-1595-43F1-ABA1-518A7CB4E3D4}"/>
              </a:ext>
            </a:extLst>
          </p:cNvPr>
          <p:cNvCxnSpPr/>
          <p:nvPr/>
        </p:nvCxnSpPr>
        <p:spPr>
          <a:xfrm>
            <a:off x="2360142" y="3486555"/>
            <a:ext cx="320040" cy="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55" name="文本框 54">
            <a:extLst>
              <a:ext uri="{FF2B5EF4-FFF2-40B4-BE49-F238E27FC236}">
                <a16:creationId xmlns:a16="http://schemas.microsoft.com/office/drawing/2014/main" id="{6615C65D-2FC1-4D92-A525-817177408B79}"/>
              </a:ext>
            </a:extLst>
          </p:cNvPr>
          <p:cNvSpPr txBox="1"/>
          <p:nvPr/>
        </p:nvSpPr>
        <p:spPr>
          <a:xfrm>
            <a:off x="4223219" y="4395465"/>
            <a:ext cx="1282402" cy="307777"/>
          </a:xfrm>
          <a:prstGeom prst="rect">
            <a:avLst/>
          </a:prstGeom>
          <a:noFill/>
          <a:effectLst/>
        </p:spPr>
        <p:txBody>
          <a:bodyPr wrap="none" lIns="0" tIns="0" rIns="0" bIns="0" rtlCol="0" anchor="t">
            <a:spAutoFit/>
          </a:bodyPr>
          <a:lstStyle/>
          <a:p>
            <a:pPr algn="ctr"/>
            <a:r>
              <a:rPr lang="zh-CN" altLang="en-US" sz="2000" dirty="0">
                <a:solidFill>
                  <a:schemeClr val="accent1"/>
                </a:solidFill>
                <a:latin typeface="+mj-ea"/>
                <a:ea typeface="+mj-ea"/>
              </a:rPr>
              <a:t>关键词标题</a:t>
            </a:r>
          </a:p>
        </p:txBody>
      </p:sp>
      <p:sp>
        <p:nvSpPr>
          <p:cNvPr id="56" name="文本框 55">
            <a:extLst>
              <a:ext uri="{FF2B5EF4-FFF2-40B4-BE49-F238E27FC236}">
                <a16:creationId xmlns:a16="http://schemas.microsoft.com/office/drawing/2014/main" id="{987A2A14-8E19-43E9-953F-3D8977573AF3}"/>
              </a:ext>
            </a:extLst>
          </p:cNvPr>
          <p:cNvSpPr txBox="1"/>
          <p:nvPr/>
        </p:nvSpPr>
        <p:spPr>
          <a:xfrm>
            <a:off x="4094979" y="4856443"/>
            <a:ext cx="1538882" cy="944939"/>
          </a:xfrm>
          <a:prstGeom prst="rect">
            <a:avLst/>
          </a:prstGeom>
          <a:noFill/>
          <a:effectLst/>
        </p:spPr>
        <p:txBody>
          <a:bodyPr wrap="square" lIns="0" tIns="0" rIns="0" bIns="0" rtlCol="0" anchor="t">
            <a:spAutoFit/>
          </a:bodyPr>
          <a:lstStyle/>
          <a:p>
            <a:pPr algn="ctr">
              <a:lnSpc>
                <a:spcPct val="130000"/>
              </a:lnSpc>
            </a:pPr>
            <a:r>
              <a:rPr lang="en-US" altLang="zh-CN" sz="1200" b="0" dirty="0">
                <a:solidFill>
                  <a:schemeClr val="tx1">
                    <a:lumMod val="75000"/>
                    <a:lumOff val="25000"/>
                  </a:schemeClr>
                </a:solidFill>
                <a:effectLst/>
                <a:latin typeface="+mn-ea"/>
              </a:rPr>
              <a:t>Lorem ipsum dolor sit ametconsectetur adipisicing elit</a:t>
            </a:r>
            <a:r>
              <a:rPr lang="en-US" altLang="zh-CN" sz="1200" dirty="0">
                <a:solidFill>
                  <a:schemeClr val="tx1">
                    <a:lumMod val="75000"/>
                    <a:lumOff val="25000"/>
                  </a:schemeClr>
                </a:solidFill>
                <a:latin typeface="+mn-ea"/>
              </a:rPr>
              <a:t> </a:t>
            </a:r>
            <a:r>
              <a:rPr lang="en-US" altLang="zh-CN" sz="1200" b="0" dirty="0">
                <a:solidFill>
                  <a:schemeClr val="tx1">
                    <a:lumMod val="75000"/>
                    <a:lumOff val="25000"/>
                  </a:schemeClr>
                </a:solidFill>
                <a:effectLst/>
                <a:latin typeface="+mn-ea"/>
              </a:rPr>
              <a:t>sed do eiusmod tempor</a:t>
            </a:r>
            <a:endParaRPr lang="zh-CN" altLang="en-US" sz="1200" b="0" dirty="0">
              <a:solidFill>
                <a:schemeClr val="tx1">
                  <a:lumMod val="75000"/>
                  <a:lumOff val="25000"/>
                </a:schemeClr>
              </a:solidFill>
              <a:effectLst/>
              <a:latin typeface="+mn-ea"/>
            </a:endParaRPr>
          </a:p>
        </p:txBody>
      </p:sp>
      <p:cxnSp>
        <p:nvCxnSpPr>
          <p:cNvPr id="57" name="直接连接符 56">
            <a:extLst>
              <a:ext uri="{FF2B5EF4-FFF2-40B4-BE49-F238E27FC236}">
                <a16:creationId xmlns:a16="http://schemas.microsoft.com/office/drawing/2014/main" id="{23E1A22E-EEA9-48F6-ACE0-95EEAB216CA3}"/>
              </a:ext>
            </a:extLst>
          </p:cNvPr>
          <p:cNvCxnSpPr/>
          <p:nvPr/>
        </p:nvCxnSpPr>
        <p:spPr>
          <a:xfrm>
            <a:off x="4707038" y="4773893"/>
            <a:ext cx="320040" cy="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58" name="文本框 57">
            <a:extLst>
              <a:ext uri="{FF2B5EF4-FFF2-40B4-BE49-F238E27FC236}">
                <a16:creationId xmlns:a16="http://schemas.microsoft.com/office/drawing/2014/main" id="{87B9B788-E57F-4F4F-ACD8-D83A61A7B536}"/>
              </a:ext>
            </a:extLst>
          </p:cNvPr>
          <p:cNvSpPr txBox="1"/>
          <p:nvPr/>
        </p:nvSpPr>
        <p:spPr>
          <a:xfrm>
            <a:off x="6462881" y="3167722"/>
            <a:ext cx="1282402" cy="307777"/>
          </a:xfrm>
          <a:prstGeom prst="rect">
            <a:avLst/>
          </a:prstGeom>
          <a:noFill/>
          <a:effectLst/>
        </p:spPr>
        <p:txBody>
          <a:bodyPr wrap="none" lIns="0" tIns="0" rIns="0" bIns="0" rtlCol="0" anchor="t">
            <a:spAutoFit/>
          </a:bodyPr>
          <a:lstStyle/>
          <a:p>
            <a:pPr algn="ctr"/>
            <a:r>
              <a:rPr lang="zh-CN" altLang="en-US" sz="2000" dirty="0">
                <a:solidFill>
                  <a:schemeClr val="accent1"/>
                </a:solidFill>
                <a:latin typeface="+mj-ea"/>
                <a:ea typeface="+mj-ea"/>
              </a:rPr>
              <a:t>关键词标题</a:t>
            </a:r>
          </a:p>
        </p:txBody>
      </p:sp>
      <p:sp>
        <p:nvSpPr>
          <p:cNvPr id="59" name="文本框 58">
            <a:extLst>
              <a:ext uri="{FF2B5EF4-FFF2-40B4-BE49-F238E27FC236}">
                <a16:creationId xmlns:a16="http://schemas.microsoft.com/office/drawing/2014/main" id="{6736160D-034D-4F88-BF3F-8B9FC690FE32}"/>
              </a:ext>
            </a:extLst>
          </p:cNvPr>
          <p:cNvSpPr txBox="1"/>
          <p:nvPr/>
        </p:nvSpPr>
        <p:spPr>
          <a:xfrm>
            <a:off x="6334641" y="3628700"/>
            <a:ext cx="1538882" cy="944939"/>
          </a:xfrm>
          <a:prstGeom prst="rect">
            <a:avLst/>
          </a:prstGeom>
          <a:noFill/>
          <a:effectLst/>
        </p:spPr>
        <p:txBody>
          <a:bodyPr wrap="square" lIns="0" tIns="0" rIns="0" bIns="0" rtlCol="0" anchor="t">
            <a:spAutoFit/>
          </a:bodyPr>
          <a:lstStyle/>
          <a:p>
            <a:pPr algn="ctr">
              <a:lnSpc>
                <a:spcPct val="130000"/>
              </a:lnSpc>
            </a:pPr>
            <a:r>
              <a:rPr lang="en-US" altLang="zh-CN" sz="1200" b="0" dirty="0">
                <a:solidFill>
                  <a:schemeClr val="tx1">
                    <a:lumMod val="75000"/>
                    <a:lumOff val="25000"/>
                  </a:schemeClr>
                </a:solidFill>
                <a:effectLst/>
                <a:latin typeface="+mn-ea"/>
              </a:rPr>
              <a:t>Lorem ipsum dolor sit ametconsectetur adipisicing elit</a:t>
            </a:r>
            <a:r>
              <a:rPr lang="en-US" altLang="zh-CN" sz="1200" dirty="0">
                <a:solidFill>
                  <a:schemeClr val="tx1">
                    <a:lumMod val="75000"/>
                    <a:lumOff val="25000"/>
                  </a:schemeClr>
                </a:solidFill>
                <a:latin typeface="+mn-ea"/>
              </a:rPr>
              <a:t> </a:t>
            </a:r>
            <a:r>
              <a:rPr lang="en-US" altLang="zh-CN" sz="1200" b="0" dirty="0">
                <a:solidFill>
                  <a:schemeClr val="tx1">
                    <a:lumMod val="75000"/>
                    <a:lumOff val="25000"/>
                  </a:schemeClr>
                </a:solidFill>
                <a:effectLst/>
                <a:latin typeface="+mn-ea"/>
              </a:rPr>
              <a:t>sed do eiusmod tempor</a:t>
            </a:r>
            <a:endParaRPr lang="zh-CN" altLang="en-US" sz="1200" b="0" dirty="0">
              <a:solidFill>
                <a:schemeClr val="tx1">
                  <a:lumMod val="75000"/>
                  <a:lumOff val="25000"/>
                </a:schemeClr>
              </a:solidFill>
              <a:effectLst/>
              <a:latin typeface="+mn-ea"/>
            </a:endParaRPr>
          </a:p>
        </p:txBody>
      </p:sp>
      <p:cxnSp>
        <p:nvCxnSpPr>
          <p:cNvPr id="60" name="直接连接符 59">
            <a:extLst>
              <a:ext uri="{FF2B5EF4-FFF2-40B4-BE49-F238E27FC236}">
                <a16:creationId xmlns:a16="http://schemas.microsoft.com/office/drawing/2014/main" id="{27F0F73B-7B09-4F5B-827A-F064AA19E1B3}"/>
              </a:ext>
            </a:extLst>
          </p:cNvPr>
          <p:cNvCxnSpPr/>
          <p:nvPr/>
        </p:nvCxnSpPr>
        <p:spPr>
          <a:xfrm>
            <a:off x="6946700" y="3546150"/>
            <a:ext cx="320040" cy="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61" name="文本框 60">
            <a:extLst>
              <a:ext uri="{FF2B5EF4-FFF2-40B4-BE49-F238E27FC236}">
                <a16:creationId xmlns:a16="http://schemas.microsoft.com/office/drawing/2014/main" id="{609CEFCD-FFAD-4429-A0C9-306268F936E8}"/>
              </a:ext>
            </a:extLst>
          </p:cNvPr>
          <p:cNvSpPr txBox="1"/>
          <p:nvPr/>
        </p:nvSpPr>
        <p:spPr>
          <a:xfrm>
            <a:off x="8702543" y="4372213"/>
            <a:ext cx="1282402" cy="307777"/>
          </a:xfrm>
          <a:prstGeom prst="rect">
            <a:avLst/>
          </a:prstGeom>
          <a:noFill/>
          <a:effectLst/>
        </p:spPr>
        <p:txBody>
          <a:bodyPr wrap="none" lIns="0" tIns="0" rIns="0" bIns="0" rtlCol="0" anchor="t">
            <a:spAutoFit/>
          </a:bodyPr>
          <a:lstStyle/>
          <a:p>
            <a:pPr algn="ctr"/>
            <a:r>
              <a:rPr lang="zh-CN" altLang="en-US" sz="2000" dirty="0">
                <a:solidFill>
                  <a:schemeClr val="accent1"/>
                </a:solidFill>
                <a:latin typeface="+mj-ea"/>
                <a:ea typeface="+mj-ea"/>
              </a:rPr>
              <a:t>关键词标题</a:t>
            </a:r>
          </a:p>
        </p:txBody>
      </p:sp>
      <p:sp>
        <p:nvSpPr>
          <p:cNvPr id="62" name="文本框 61">
            <a:extLst>
              <a:ext uri="{FF2B5EF4-FFF2-40B4-BE49-F238E27FC236}">
                <a16:creationId xmlns:a16="http://schemas.microsoft.com/office/drawing/2014/main" id="{E74EDDAE-B478-47A0-B98F-35ED608A48D5}"/>
              </a:ext>
            </a:extLst>
          </p:cNvPr>
          <p:cNvSpPr txBox="1"/>
          <p:nvPr/>
        </p:nvSpPr>
        <p:spPr>
          <a:xfrm>
            <a:off x="8574303" y="4833191"/>
            <a:ext cx="1538882" cy="944939"/>
          </a:xfrm>
          <a:prstGeom prst="rect">
            <a:avLst/>
          </a:prstGeom>
          <a:noFill/>
          <a:effectLst/>
        </p:spPr>
        <p:txBody>
          <a:bodyPr wrap="square" lIns="0" tIns="0" rIns="0" bIns="0" rtlCol="0" anchor="t">
            <a:spAutoFit/>
          </a:bodyPr>
          <a:lstStyle/>
          <a:p>
            <a:pPr algn="ctr">
              <a:lnSpc>
                <a:spcPct val="130000"/>
              </a:lnSpc>
            </a:pPr>
            <a:r>
              <a:rPr lang="en-US" altLang="zh-CN" sz="1200" b="0" dirty="0">
                <a:solidFill>
                  <a:schemeClr val="tx1">
                    <a:lumMod val="75000"/>
                    <a:lumOff val="25000"/>
                  </a:schemeClr>
                </a:solidFill>
                <a:effectLst/>
                <a:latin typeface="+mn-ea"/>
              </a:rPr>
              <a:t>Lorem ipsum dolor sit ametconsectetur adipisicing elit</a:t>
            </a:r>
            <a:r>
              <a:rPr lang="en-US" altLang="zh-CN" sz="1200" dirty="0">
                <a:solidFill>
                  <a:schemeClr val="tx1">
                    <a:lumMod val="75000"/>
                    <a:lumOff val="25000"/>
                  </a:schemeClr>
                </a:solidFill>
                <a:latin typeface="+mn-ea"/>
              </a:rPr>
              <a:t> </a:t>
            </a:r>
            <a:r>
              <a:rPr lang="en-US" altLang="zh-CN" sz="1200" b="0" dirty="0">
                <a:solidFill>
                  <a:schemeClr val="tx1">
                    <a:lumMod val="75000"/>
                    <a:lumOff val="25000"/>
                  </a:schemeClr>
                </a:solidFill>
                <a:effectLst/>
                <a:latin typeface="+mn-ea"/>
              </a:rPr>
              <a:t>sed do eiusmod tempor</a:t>
            </a:r>
            <a:endParaRPr lang="zh-CN" altLang="en-US" sz="1200" b="0" dirty="0">
              <a:solidFill>
                <a:schemeClr val="tx1">
                  <a:lumMod val="75000"/>
                  <a:lumOff val="25000"/>
                </a:schemeClr>
              </a:solidFill>
              <a:effectLst/>
              <a:latin typeface="+mn-ea"/>
            </a:endParaRPr>
          </a:p>
        </p:txBody>
      </p:sp>
      <p:cxnSp>
        <p:nvCxnSpPr>
          <p:cNvPr id="63" name="直接连接符 62">
            <a:extLst>
              <a:ext uri="{FF2B5EF4-FFF2-40B4-BE49-F238E27FC236}">
                <a16:creationId xmlns:a16="http://schemas.microsoft.com/office/drawing/2014/main" id="{B70F913F-097D-40D1-B4F3-F4CB26224F84}"/>
              </a:ext>
            </a:extLst>
          </p:cNvPr>
          <p:cNvCxnSpPr/>
          <p:nvPr/>
        </p:nvCxnSpPr>
        <p:spPr>
          <a:xfrm>
            <a:off x="9186362" y="4750641"/>
            <a:ext cx="320040" cy="0"/>
          </a:xfrm>
          <a:prstGeom prst="line">
            <a:avLst/>
          </a:prstGeom>
          <a:ln w="28575"/>
        </p:spPr>
        <p:style>
          <a:lnRef idx="1">
            <a:schemeClr val="accent1"/>
          </a:lnRef>
          <a:fillRef idx="0">
            <a:schemeClr val="accent1"/>
          </a:fillRef>
          <a:effectRef idx="0">
            <a:schemeClr val="accent1"/>
          </a:effectRef>
          <a:fontRef idx="minor">
            <a:schemeClr val="tx1"/>
          </a:fontRef>
        </p:style>
      </p:cxnSp>
    </p:spTree>
    <p:custDataLst>
      <p:tags r:id="rId2"/>
    </p:custDataLst>
    <p:extLst>
      <p:ext uri="{BB962C8B-B14F-4D97-AF65-F5344CB8AC3E}">
        <p14:creationId xmlns:p14="http://schemas.microsoft.com/office/powerpoint/2010/main" val="4163242579"/>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2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0" name="任意多边形: 形状 839">
            <a:extLst>
              <a:ext uri="{FF2B5EF4-FFF2-40B4-BE49-F238E27FC236}">
                <a16:creationId xmlns:a16="http://schemas.microsoft.com/office/drawing/2014/main" id="{7DBF577F-A8FE-450D-8129-C6988BEB2DB3}"/>
              </a:ext>
            </a:extLst>
          </p:cNvPr>
          <p:cNvSpPr/>
          <p:nvPr/>
        </p:nvSpPr>
        <p:spPr>
          <a:xfrm>
            <a:off x="6603205" y="1809750"/>
            <a:ext cx="3461811" cy="3912887"/>
          </a:xfrm>
          <a:custGeom>
            <a:avLst/>
            <a:gdLst/>
            <a:ahLst/>
            <a:cxnLst/>
            <a:rect l="0" t="0" r="0" b="0"/>
            <a:pathLst>
              <a:path w="3461811" h="3912887">
                <a:moveTo>
                  <a:pt x="1434581" y="0"/>
                </a:moveTo>
                <a:lnTo>
                  <a:pt x="3250664" y="0"/>
                </a:lnTo>
                <a:cubicBezTo>
                  <a:pt x="3367277" y="0"/>
                  <a:pt x="3461810" y="94533"/>
                  <a:pt x="3461810" y="211146"/>
                </a:cubicBezTo>
                <a:lnTo>
                  <a:pt x="3461810" y="2551104"/>
                </a:lnTo>
                <a:cubicBezTo>
                  <a:pt x="3461810" y="2608500"/>
                  <a:pt x="3438910" y="2660546"/>
                  <a:pt x="3401747" y="2698605"/>
                </a:cubicBezTo>
                <a:lnTo>
                  <a:pt x="3266059" y="2826347"/>
                </a:lnTo>
                <a:lnTo>
                  <a:pt x="3128068" y="2955040"/>
                </a:lnTo>
                <a:lnTo>
                  <a:pt x="2992155" y="3083952"/>
                </a:lnTo>
                <a:lnTo>
                  <a:pt x="2854163" y="3212647"/>
                </a:lnTo>
                <a:lnTo>
                  <a:pt x="2718252" y="3341557"/>
                </a:lnTo>
                <a:lnTo>
                  <a:pt x="2580260" y="3470252"/>
                </a:lnTo>
                <a:lnTo>
                  <a:pt x="2444349" y="3599162"/>
                </a:lnTo>
                <a:lnTo>
                  <a:pt x="2306357" y="3727856"/>
                </a:lnTo>
                <a:lnTo>
                  <a:pt x="2176532" y="3851043"/>
                </a:lnTo>
                <a:cubicBezTo>
                  <a:pt x="2138322" y="3889253"/>
                  <a:pt x="2085536" y="3912886"/>
                  <a:pt x="2027229" y="3912886"/>
                </a:cubicBezTo>
                <a:lnTo>
                  <a:pt x="211146" y="3912886"/>
                </a:lnTo>
                <a:cubicBezTo>
                  <a:pt x="94533" y="3912886"/>
                  <a:pt x="0" y="3818353"/>
                  <a:pt x="0" y="3701740"/>
                </a:cubicBezTo>
                <a:lnTo>
                  <a:pt x="0" y="1361782"/>
                </a:lnTo>
                <a:cubicBezTo>
                  <a:pt x="0" y="1303476"/>
                  <a:pt x="23633" y="1250689"/>
                  <a:pt x="61843" y="1212479"/>
                </a:cubicBezTo>
                <a:lnTo>
                  <a:pt x="199834" y="1083787"/>
                </a:lnTo>
                <a:lnTo>
                  <a:pt x="335746" y="954874"/>
                </a:lnTo>
                <a:lnTo>
                  <a:pt x="473736" y="826183"/>
                </a:lnTo>
                <a:lnTo>
                  <a:pt x="609650" y="697269"/>
                </a:lnTo>
                <a:lnTo>
                  <a:pt x="747641" y="568577"/>
                </a:lnTo>
                <a:lnTo>
                  <a:pt x="883553" y="439664"/>
                </a:lnTo>
                <a:lnTo>
                  <a:pt x="1021544" y="310972"/>
                </a:lnTo>
                <a:lnTo>
                  <a:pt x="1157456" y="182059"/>
                </a:lnTo>
                <a:lnTo>
                  <a:pt x="1287080" y="60063"/>
                </a:lnTo>
                <a:cubicBezTo>
                  <a:pt x="1325139" y="22901"/>
                  <a:pt x="1377186" y="0"/>
                  <a:pt x="1434581" y="0"/>
                </a:cubicBezTo>
                <a:close/>
              </a:path>
            </a:pathLst>
          </a:custGeom>
          <a:gradFill>
            <a:gsLst>
              <a:gs pos="37000">
                <a:schemeClr val="tx1">
                  <a:alpha val="0"/>
                </a:schemeClr>
              </a:gs>
              <a:gs pos="100000">
                <a:schemeClr val="tx1">
                  <a:lumMod val="85000"/>
                  <a:lumOff val="15000"/>
                  <a:alpha val="20000"/>
                </a:schemeClr>
              </a:gs>
            </a:gsLst>
            <a:lin ang="189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endParaRPr lang="zh-CN" altLang="en-US" sz="1600">
              <a:solidFill>
                <a:schemeClr val="bg1"/>
              </a:solidFill>
              <a:latin typeface="+mj-ea"/>
              <a:ea typeface="+mj-ea"/>
            </a:endParaRPr>
          </a:p>
        </p:txBody>
      </p:sp>
      <p:sp>
        <p:nvSpPr>
          <p:cNvPr id="839" name="任意多边形: 形状 838">
            <a:extLst>
              <a:ext uri="{FF2B5EF4-FFF2-40B4-BE49-F238E27FC236}">
                <a16:creationId xmlns:a16="http://schemas.microsoft.com/office/drawing/2014/main" id="{B7E056C3-B5B0-44BC-A3AC-FECEAB9F4CA8}"/>
              </a:ext>
            </a:extLst>
          </p:cNvPr>
          <p:cNvSpPr/>
          <p:nvPr/>
        </p:nvSpPr>
        <p:spPr>
          <a:xfrm>
            <a:off x="3767638" y="1809750"/>
            <a:ext cx="3461811" cy="3912887"/>
          </a:xfrm>
          <a:custGeom>
            <a:avLst/>
            <a:gdLst/>
            <a:ahLst/>
            <a:cxnLst/>
            <a:rect l="0" t="0" r="0" b="0"/>
            <a:pathLst>
              <a:path w="3461811" h="3912887">
                <a:moveTo>
                  <a:pt x="1434581" y="0"/>
                </a:moveTo>
                <a:lnTo>
                  <a:pt x="3250664" y="0"/>
                </a:lnTo>
                <a:cubicBezTo>
                  <a:pt x="3367277" y="0"/>
                  <a:pt x="3461810" y="94533"/>
                  <a:pt x="3461810" y="211146"/>
                </a:cubicBezTo>
                <a:lnTo>
                  <a:pt x="3461810" y="2551104"/>
                </a:lnTo>
                <a:cubicBezTo>
                  <a:pt x="3461810" y="2608500"/>
                  <a:pt x="3438910" y="2660546"/>
                  <a:pt x="3401747" y="2698605"/>
                </a:cubicBezTo>
                <a:lnTo>
                  <a:pt x="3266059" y="2826347"/>
                </a:lnTo>
                <a:lnTo>
                  <a:pt x="3128068" y="2955040"/>
                </a:lnTo>
                <a:lnTo>
                  <a:pt x="2992155" y="3083952"/>
                </a:lnTo>
                <a:lnTo>
                  <a:pt x="2854163" y="3212647"/>
                </a:lnTo>
                <a:lnTo>
                  <a:pt x="2718252" y="3341557"/>
                </a:lnTo>
                <a:lnTo>
                  <a:pt x="2580260" y="3470252"/>
                </a:lnTo>
                <a:lnTo>
                  <a:pt x="2444349" y="3599162"/>
                </a:lnTo>
                <a:lnTo>
                  <a:pt x="2306357" y="3727856"/>
                </a:lnTo>
                <a:lnTo>
                  <a:pt x="2176532" y="3851043"/>
                </a:lnTo>
                <a:cubicBezTo>
                  <a:pt x="2138322" y="3889253"/>
                  <a:pt x="2085536" y="3912886"/>
                  <a:pt x="2027229" y="3912886"/>
                </a:cubicBezTo>
                <a:lnTo>
                  <a:pt x="211146" y="3912886"/>
                </a:lnTo>
                <a:cubicBezTo>
                  <a:pt x="94533" y="3912886"/>
                  <a:pt x="0" y="3818353"/>
                  <a:pt x="0" y="3701740"/>
                </a:cubicBezTo>
                <a:lnTo>
                  <a:pt x="0" y="1361782"/>
                </a:lnTo>
                <a:cubicBezTo>
                  <a:pt x="0" y="1303476"/>
                  <a:pt x="23633" y="1250689"/>
                  <a:pt x="61843" y="1212479"/>
                </a:cubicBezTo>
                <a:lnTo>
                  <a:pt x="199834" y="1083787"/>
                </a:lnTo>
                <a:lnTo>
                  <a:pt x="335746" y="954874"/>
                </a:lnTo>
                <a:lnTo>
                  <a:pt x="473736" y="826183"/>
                </a:lnTo>
                <a:lnTo>
                  <a:pt x="609650" y="697269"/>
                </a:lnTo>
                <a:lnTo>
                  <a:pt x="747641" y="568577"/>
                </a:lnTo>
                <a:lnTo>
                  <a:pt x="883553" y="439664"/>
                </a:lnTo>
                <a:lnTo>
                  <a:pt x="1021544" y="310972"/>
                </a:lnTo>
                <a:lnTo>
                  <a:pt x="1157456" y="182059"/>
                </a:lnTo>
                <a:lnTo>
                  <a:pt x="1287080" y="60063"/>
                </a:lnTo>
                <a:cubicBezTo>
                  <a:pt x="1325139" y="22901"/>
                  <a:pt x="1377186" y="0"/>
                  <a:pt x="1434581" y="0"/>
                </a:cubicBezTo>
                <a:close/>
              </a:path>
            </a:pathLst>
          </a:custGeom>
          <a:gradFill>
            <a:gsLst>
              <a:gs pos="37000">
                <a:schemeClr val="tx1">
                  <a:alpha val="0"/>
                </a:schemeClr>
              </a:gs>
              <a:gs pos="100000">
                <a:schemeClr val="tx1">
                  <a:lumMod val="85000"/>
                  <a:lumOff val="15000"/>
                  <a:alpha val="20000"/>
                </a:schemeClr>
              </a:gs>
            </a:gsLst>
            <a:lin ang="189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endParaRPr lang="zh-CN" altLang="en-US" sz="1600">
              <a:solidFill>
                <a:schemeClr val="bg1"/>
              </a:solidFill>
              <a:latin typeface="+mj-ea"/>
              <a:ea typeface="+mj-ea"/>
            </a:endParaRPr>
          </a:p>
        </p:txBody>
      </p:sp>
      <p:sp>
        <p:nvSpPr>
          <p:cNvPr id="422" name="矩形: 圆角 421">
            <a:extLst>
              <a:ext uri="{FF2B5EF4-FFF2-40B4-BE49-F238E27FC236}">
                <a16:creationId xmlns:a16="http://schemas.microsoft.com/office/drawing/2014/main" id="{B0524448-4E90-4F6B-9FA4-A4831CEAD8EB}"/>
              </a:ext>
            </a:extLst>
          </p:cNvPr>
          <p:cNvSpPr/>
          <p:nvPr/>
        </p:nvSpPr>
        <p:spPr>
          <a:xfrm>
            <a:off x="7826641" y="1809750"/>
            <a:ext cx="2238375" cy="2762250"/>
          </a:xfrm>
          <a:prstGeom prst="roundRect">
            <a:avLst>
              <a:gd name="adj" fmla="val 9433"/>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423" name="椭圆 422">
            <a:extLst>
              <a:ext uri="{FF2B5EF4-FFF2-40B4-BE49-F238E27FC236}">
                <a16:creationId xmlns:a16="http://schemas.microsoft.com/office/drawing/2014/main" id="{225F5A10-28D9-4AE3-A4D3-2C7FFD800982}"/>
              </a:ext>
            </a:extLst>
          </p:cNvPr>
          <p:cNvSpPr/>
          <p:nvPr/>
        </p:nvSpPr>
        <p:spPr>
          <a:xfrm>
            <a:off x="8534348" y="2000249"/>
            <a:ext cx="822960" cy="822960"/>
          </a:xfrm>
          <a:prstGeom prst="ellipse">
            <a:avLst/>
          </a:prstGeom>
          <a:noFill/>
          <a:ln w="19050">
            <a:solidFill>
              <a:schemeClr val="bg1"/>
            </a:solid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424" name="文本框 423">
            <a:extLst>
              <a:ext uri="{FF2B5EF4-FFF2-40B4-BE49-F238E27FC236}">
                <a16:creationId xmlns:a16="http://schemas.microsoft.com/office/drawing/2014/main" id="{7F3EC9B5-4D2D-4F2B-9EDF-C81BDFA47098}"/>
              </a:ext>
            </a:extLst>
          </p:cNvPr>
          <p:cNvSpPr txBox="1"/>
          <p:nvPr/>
        </p:nvSpPr>
        <p:spPr>
          <a:xfrm>
            <a:off x="8304627" y="2935594"/>
            <a:ext cx="1282402" cy="307777"/>
          </a:xfrm>
          <a:prstGeom prst="rect">
            <a:avLst/>
          </a:prstGeom>
          <a:noFill/>
          <a:effectLst/>
        </p:spPr>
        <p:txBody>
          <a:bodyPr wrap="none" lIns="0" tIns="0" rIns="0" bIns="0" rtlCol="0" anchor="t">
            <a:spAutoFit/>
          </a:bodyPr>
          <a:lstStyle/>
          <a:p>
            <a:pPr algn="ctr"/>
            <a:r>
              <a:rPr lang="zh-CN" altLang="en-US" sz="2000" dirty="0">
                <a:solidFill>
                  <a:schemeClr val="bg1"/>
                </a:solidFill>
                <a:latin typeface="+mj-ea"/>
                <a:ea typeface="+mj-ea"/>
              </a:rPr>
              <a:t>关键词标题</a:t>
            </a:r>
          </a:p>
        </p:txBody>
      </p:sp>
      <p:sp>
        <p:nvSpPr>
          <p:cNvPr id="425" name="文本框 424">
            <a:extLst>
              <a:ext uri="{FF2B5EF4-FFF2-40B4-BE49-F238E27FC236}">
                <a16:creationId xmlns:a16="http://schemas.microsoft.com/office/drawing/2014/main" id="{F2A157F9-2AB0-4284-9703-FD212DB2796A}"/>
              </a:ext>
            </a:extLst>
          </p:cNvPr>
          <p:cNvSpPr txBox="1"/>
          <p:nvPr/>
        </p:nvSpPr>
        <p:spPr>
          <a:xfrm>
            <a:off x="7955226" y="3396572"/>
            <a:ext cx="1981204" cy="944939"/>
          </a:xfrm>
          <a:prstGeom prst="rect">
            <a:avLst/>
          </a:prstGeom>
          <a:noFill/>
          <a:effectLst/>
        </p:spPr>
        <p:txBody>
          <a:bodyPr wrap="square" lIns="0" tIns="0" rIns="0" bIns="0" rtlCol="0" anchor="t">
            <a:spAutoFit/>
          </a:bodyPr>
          <a:lstStyle/>
          <a:p>
            <a:pPr algn="ctr">
              <a:lnSpc>
                <a:spcPct val="130000"/>
              </a:lnSpc>
            </a:pPr>
            <a:r>
              <a:rPr lang="en-US" altLang="zh-CN" sz="1200" b="0" dirty="0">
                <a:solidFill>
                  <a:schemeClr val="bg1"/>
                </a:solidFill>
                <a:effectLst/>
                <a:latin typeface="+mn-ea"/>
              </a:rPr>
              <a:t>Lorem ipsum dolor sit ametconsectetur adipisicing elit</a:t>
            </a:r>
            <a:r>
              <a:rPr lang="en-US" altLang="zh-CN" sz="1200" dirty="0">
                <a:solidFill>
                  <a:schemeClr val="bg1"/>
                </a:solidFill>
                <a:latin typeface="+mn-ea"/>
              </a:rPr>
              <a:t> </a:t>
            </a:r>
            <a:r>
              <a:rPr lang="en-US" altLang="zh-CN" sz="1200" b="0" dirty="0">
                <a:solidFill>
                  <a:schemeClr val="bg1"/>
                </a:solidFill>
                <a:effectLst/>
                <a:latin typeface="+mn-ea"/>
              </a:rPr>
              <a:t>sed do eiusmod tempor</a:t>
            </a:r>
            <a:endParaRPr lang="zh-CN" altLang="en-US" sz="1200" b="0" dirty="0">
              <a:solidFill>
                <a:schemeClr val="bg1"/>
              </a:solidFill>
              <a:effectLst/>
              <a:latin typeface="+mn-ea"/>
            </a:endParaRPr>
          </a:p>
        </p:txBody>
      </p:sp>
      <p:cxnSp>
        <p:nvCxnSpPr>
          <p:cNvPr id="426" name="直接连接符 425">
            <a:extLst>
              <a:ext uri="{FF2B5EF4-FFF2-40B4-BE49-F238E27FC236}">
                <a16:creationId xmlns:a16="http://schemas.microsoft.com/office/drawing/2014/main" id="{8037C0AA-F1AA-41FB-8768-AB2510711843}"/>
              </a:ext>
            </a:extLst>
          </p:cNvPr>
          <p:cNvCxnSpPr>
            <a:cxnSpLocks/>
          </p:cNvCxnSpPr>
          <p:nvPr/>
        </p:nvCxnSpPr>
        <p:spPr>
          <a:xfrm>
            <a:off x="8785808" y="3314022"/>
            <a:ext cx="320040"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842" name="iconfont-1179-866479">
            <a:extLst>
              <a:ext uri="{FF2B5EF4-FFF2-40B4-BE49-F238E27FC236}">
                <a16:creationId xmlns:a16="http://schemas.microsoft.com/office/drawing/2014/main" id="{2F24CAFE-E57E-4972-B45C-77B155E08439}"/>
              </a:ext>
            </a:extLst>
          </p:cNvPr>
          <p:cNvSpPr/>
          <p:nvPr/>
        </p:nvSpPr>
        <p:spPr>
          <a:xfrm>
            <a:off x="8756450" y="2223139"/>
            <a:ext cx="377180" cy="377180"/>
          </a:xfrm>
          <a:custGeom>
            <a:avLst/>
            <a:gdLst>
              <a:gd name="T0" fmla="*/ 0 w 11200"/>
              <a:gd name="T1" fmla="*/ 0 h 11200"/>
              <a:gd name="T2" fmla="*/ 4800 w 11200"/>
              <a:gd name="T3" fmla="*/ 0 h 11200"/>
              <a:gd name="T4" fmla="*/ 4800 w 11200"/>
              <a:gd name="T5" fmla="*/ 4800 h 11200"/>
              <a:gd name="T6" fmla="*/ 0 w 11200"/>
              <a:gd name="T7" fmla="*/ 4800 h 11200"/>
              <a:gd name="T8" fmla="*/ 0 w 11200"/>
              <a:gd name="T9" fmla="*/ 0 h 11200"/>
              <a:gd name="T10" fmla="*/ 0 w 11200"/>
              <a:gd name="T11" fmla="*/ 6400 h 11200"/>
              <a:gd name="T12" fmla="*/ 4800 w 11200"/>
              <a:gd name="T13" fmla="*/ 6400 h 11200"/>
              <a:gd name="T14" fmla="*/ 4800 w 11200"/>
              <a:gd name="T15" fmla="*/ 11200 h 11200"/>
              <a:gd name="T16" fmla="*/ 0 w 11200"/>
              <a:gd name="T17" fmla="*/ 11200 h 11200"/>
              <a:gd name="T18" fmla="*/ 0 w 11200"/>
              <a:gd name="T19" fmla="*/ 6400 h 11200"/>
              <a:gd name="T20" fmla="*/ 6400 w 11200"/>
              <a:gd name="T21" fmla="*/ 6400 h 11200"/>
              <a:gd name="T22" fmla="*/ 11200 w 11200"/>
              <a:gd name="T23" fmla="*/ 6400 h 11200"/>
              <a:gd name="T24" fmla="*/ 11200 w 11200"/>
              <a:gd name="T25" fmla="*/ 11200 h 11200"/>
              <a:gd name="T26" fmla="*/ 6400 w 11200"/>
              <a:gd name="T27" fmla="*/ 11200 h 11200"/>
              <a:gd name="T28" fmla="*/ 6400 w 11200"/>
              <a:gd name="T29" fmla="*/ 6400 h 11200"/>
              <a:gd name="T30" fmla="*/ 8800 w 11200"/>
              <a:gd name="T31" fmla="*/ 4800 h 11200"/>
              <a:gd name="T32" fmla="*/ 11200 w 11200"/>
              <a:gd name="T33" fmla="*/ 2400 h 11200"/>
              <a:gd name="T34" fmla="*/ 8800 w 11200"/>
              <a:gd name="T35" fmla="*/ 0 h 11200"/>
              <a:gd name="T36" fmla="*/ 6400 w 11200"/>
              <a:gd name="T37" fmla="*/ 2400 h 11200"/>
              <a:gd name="T38" fmla="*/ 8800 w 11200"/>
              <a:gd name="T39" fmla="*/ 4800 h 11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200" h="11200">
                <a:moveTo>
                  <a:pt x="0" y="0"/>
                </a:moveTo>
                <a:lnTo>
                  <a:pt x="4800" y="0"/>
                </a:lnTo>
                <a:lnTo>
                  <a:pt x="4800" y="4800"/>
                </a:lnTo>
                <a:lnTo>
                  <a:pt x="0" y="4800"/>
                </a:lnTo>
                <a:lnTo>
                  <a:pt x="0" y="0"/>
                </a:lnTo>
                <a:close/>
                <a:moveTo>
                  <a:pt x="0" y="6400"/>
                </a:moveTo>
                <a:lnTo>
                  <a:pt x="4800" y="6400"/>
                </a:lnTo>
                <a:lnTo>
                  <a:pt x="4800" y="11200"/>
                </a:lnTo>
                <a:lnTo>
                  <a:pt x="0" y="11200"/>
                </a:lnTo>
                <a:lnTo>
                  <a:pt x="0" y="6400"/>
                </a:lnTo>
                <a:close/>
                <a:moveTo>
                  <a:pt x="6400" y="6400"/>
                </a:moveTo>
                <a:lnTo>
                  <a:pt x="11200" y="6400"/>
                </a:lnTo>
                <a:lnTo>
                  <a:pt x="11200" y="11200"/>
                </a:lnTo>
                <a:lnTo>
                  <a:pt x="6400" y="11200"/>
                </a:lnTo>
                <a:lnTo>
                  <a:pt x="6400" y="6400"/>
                </a:lnTo>
                <a:close/>
                <a:moveTo>
                  <a:pt x="8800" y="4800"/>
                </a:moveTo>
                <a:cubicBezTo>
                  <a:pt x="10125" y="4800"/>
                  <a:pt x="11200" y="3725"/>
                  <a:pt x="11200" y="2400"/>
                </a:cubicBezTo>
                <a:cubicBezTo>
                  <a:pt x="11200" y="1075"/>
                  <a:pt x="10125" y="0"/>
                  <a:pt x="8800" y="0"/>
                </a:cubicBezTo>
                <a:cubicBezTo>
                  <a:pt x="7475" y="0"/>
                  <a:pt x="6400" y="1075"/>
                  <a:pt x="6400" y="2400"/>
                </a:cubicBezTo>
                <a:cubicBezTo>
                  <a:pt x="6400" y="3725"/>
                  <a:pt x="7475" y="4800"/>
                  <a:pt x="8800" y="480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sp>
        <p:nvSpPr>
          <p:cNvPr id="415" name="矩形: 圆角 414">
            <a:extLst>
              <a:ext uri="{FF2B5EF4-FFF2-40B4-BE49-F238E27FC236}">
                <a16:creationId xmlns:a16="http://schemas.microsoft.com/office/drawing/2014/main" id="{A54F0C45-BF67-42AA-8AD4-13BAC1FBECF6}"/>
              </a:ext>
            </a:extLst>
          </p:cNvPr>
          <p:cNvSpPr/>
          <p:nvPr/>
        </p:nvSpPr>
        <p:spPr>
          <a:xfrm>
            <a:off x="4991074" y="1809750"/>
            <a:ext cx="2238375" cy="2762250"/>
          </a:xfrm>
          <a:prstGeom prst="roundRect">
            <a:avLst>
              <a:gd name="adj" fmla="val 9433"/>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416" name="椭圆 415">
            <a:extLst>
              <a:ext uri="{FF2B5EF4-FFF2-40B4-BE49-F238E27FC236}">
                <a16:creationId xmlns:a16="http://schemas.microsoft.com/office/drawing/2014/main" id="{8D95FD41-82E5-4EBE-89B9-3D5509268964}"/>
              </a:ext>
            </a:extLst>
          </p:cNvPr>
          <p:cNvSpPr/>
          <p:nvPr/>
        </p:nvSpPr>
        <p:spPr>
          <a:xfrm>
            <a:off x="5698781" y="2000249"/>
            <a:ext cx="822960" cy="822960"/>
          </a:xfrm>
          <a:prstGeom prst="ellipse">
            <a:avLst/>
          </a:prstGeom>
          <a:noFill/>
          <a:ln w="19050">
            <a:solidFill>
              <a:schemeClr val="bg1"/>
            </a:solid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417" name="文本框 416">
            <a:extLst>
              <a:ext uri="{FF2B5EF4-FFF2-40B4-BE49-F238E27FC236}">
                <a16:creationId xmlns:a16="http://schemas.microsoft.com/office/drawing/2014/main" id="{1D1DE569-330C-4FBB-9D64-A1BF39D70C24}"/>
              </a:ext>
            </a:extLst>
          </p:cNvPr>
          <p:cNvSpPr txBox="1"/>
          <p:nvPr/>
        </p:nvSpPr>
        <p:spPr>
          <a:xfrm>
            <a:off x="5469060" y="2935594"/>
            <a:ext cx="1282402" cy="307777"/>
          </a:xfrm>
          <a:prstGeom prst="rect">
            <a:avLst/>
          </a:prstGeom>
          <a:noFill/>
          <a:effectLst/>
        </p:spPr>
        <p:txBody>
          <a:bodyPr wrap="none" lIns="0" tIns="0" rIns="0" bIns="0" rtlCol="0" anchor="t">
            <a:spAutoFit/>
          </a:bodyPr>
          <a:lstStyle/>
          <a:p>
            <a:pPr algn="ctr"/>
            <a:r>
              <a:rPr lang="zh-CN" altLang="en-US" sz="2000" dirty="0">
                <a:solidFill>
                  <a:schemeClr val="bg1"/>
                </a:solidFill>
                <a:latin typeface="+mj-ea"/>
                <a:ea typeface="+mj-ea"/>
              </a:rPr>
              <a:t>关键词标题</a:t>
            </a:r>
          </a:p>
        </p:txBody>
      </p:sp>
      <p:sp>
        <p:nvSpPr>
          <p:cNvPr id="418" name="文本框 417">
            <a:extLst>
              <a:ext uri="{FF2B5EF4-FFF2-40B4-BE49-F238E27FC236}">
                <a16:creationId xmlns:a16="http://schemas.microsoft.com/office/drawing/2014/main" id="{EDFF63F6-5C15-4FC5-AF46-550B399EB9AA}"/>
              </a:ext>
            </a:extLst>
          </p:cNvPr>
          <p:cNvSpPr txBox="1"/>
          <p:nvPr/>
        </p:nvSpPr>
        <p:spPr>
          <a:xfrm>
            <a:off x="5119659" y="3396572"/>
            <a:ext cx="1981204" cy="944939"/>
          </a:xfrm>
          <a:prstGeom prst="rect">
            <a:avLst/>
          </a:prstGeom>
          <a:noFill/>
          <a:effectLst/>
        </p:spPr>
        <p:txBody>
          <a:bodyPr wrap="square" lIns="0" tIns="0" rIns="0" bIns="0" rtlCol="0" anchor="t">
            <a:spAutoFit/>
          </a:bodyPr>
          <a:lstStyle/>
          <a:p>
            <a:pPr algn="ctr">
              <a:lnSpc>
                <a:spcPct val="130000"/>
              </a:lnSpc>
            </a:pPr>
            <a:r>
              <a:rPr lang="en-US" altLang="zh-CN" sz="1200" b="0" dirty="0">
                <a:solidFill>
                  <a:schemeClr val="bg1"/>
                </a:solidFill>
                <a:effectLst/>
                <a:latin typeface="+mn-ea"/>
              </a:rPr>
              <a:t>Lorem ipsum dolor sit ametconsectetur adipisicing elit</a:t>
            </a:r>
            <a:r>
              <a:rPr lang="en-US" altLang="zh-CN" sz="1200" dirty="0">
                <a:solidFill>
                  <a:schemeClr val="bg1"/>
                </a:solidFill>
                <a:latin typeface="+mn-ea"/>
              </a:rPr>
              <a:t> </a:t>
            </a:r>
            <a:r>
              <a:rPr lang="en-US" altLang="zh-CN" sz="1200" b="0" dirty="0">
                <a:solidFill>
                  <a:schemeClr val="bg1"/>
                </a:solidFill>
                <a:effectLst/>
                <a:latin typeface="+mn-ea"/>
              </a:rPr>
              <a:t>sed do eiusmod tempor</a:t>
            </a:r>
            <a:endParaRPr lang="zh-CN" altLang="en-US" sz="1200" b="0" dirty="0">
              <a:solidFill>
                <a:schemeClr val="bg1"/>
              </a:solidFill>
              <a:effectLst/>
              <a:latin typeface="+mn-ea"/>
            </a:endParaRPr>
          </a:p>
        </p:txBody>
      </p:sp>
      <p:cxnSp>
        <p:nvCxnSpPr>
          <p:cNvPr id="419" name="直接连接符 418">
            <a:extLst>
              <a:ext uri="{FF2B5EF4-FFF2-40B4-BE49-F238E27FC236}">
                <a16:creationId xmlns:a16="http://schemas.microsoft.com/office/drawing/2014/main" id="{9C98E1FD-0D98-4668-A4A8-E580AB1A831A}"/>
              </a:ext>
            </a:extLst>
          </p:cNvPr>
          <p:cNvCxnSpPr>
            <a:cxnSpLocks/>
          </p:cNvCxnSpPr>
          <p:nvPr/>
        </p:nvCxnSpPr>
        <p:spPr>
          <a:xfrm>
            <a:off x="5950241" y="3314022"/>
            <a:ext cx="320040"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841" name="iconfont-1179-866479">
            <a:extLst>
              <a:ext uri="{FF2B5EF4-FFF2-40B4-BE49-F238E27FC236}">
                <a16:creationId xmlns:a16="http://schemas.microsoft.com/office/drawing/2014/main" id="{4D89F477-1278-4AB7-9891-95BBD010ADA1}"/>
              </a:ext>
            </a:extLst>
          </p:cNvPr>
          <p:cNvSpPr/>
          <p:nvPr/>
        </p:nvSpPr>
        <p:spPr>
          <a:xfrm>
            <a:off x="5947092" y="2223139"/>
            <a:ext cx="324761" cy="377180"/>
          </a:xfrm>
          <a:custGeom>
            <a:avLst/>
            <a:gdLst>
              <a:gd name="T0" fmla="*/ 6232 w 6866"/>
              <a:gd name="T1" fmla="*/ 4805 h 7974"/>
              <a:gd name="T2" fmla="*/ 4119 w 6866"/>
              <a:gd name="T3" fmla="*/ 4805 h 7974"/>
              <a:gd name="T4" fmla="*/ 4119 w 6866"/>
              <a:gd name="T5" fmla="*/ 3855 h 7974"/>
              <a:gd name="T6" fmla="*/ 6232 w 6866"/>
              <a:gd name="T7" fmla="*/ 3855 h 7974"/>
              <a:gd name="T8" fmla="*/ 6866 w 6866"/>
              <a:gd name="T9" fmla="*/ 3274 h 7974"/>
              <a:gd name="T10" fmla="*/ 6232 w 6866"/>
              <a:gd name="T11" fmla="*/ 2693 h 7974"/>
              <a:gd name="T12" fmla="*/ 5176 w 6866"/>
              <a:gd name="T13" fmla="*/ 2693 h 7974"/>
              <a:gd name="T14" fmla="*/ 6232 w 6866"/>
              <a:gd name="T15" fmla="*/ 792 h 7974"/>
              <a:gd name="T16" fmla="*/ 5915 w 6866"/>
              <a:gd name="T17" fmla="*/ 105 h 7974"/>
              <a:gd name="T18" fmla="*/ 5070 w 6866"/>
              <a:gd name="T19" fmla="*/ 264 h 7974"/>
              <a:gd name="T20" fmla="*/ 3697 w 6866"/>
              <a:gd name="T21" fmla="*/ 2693 h 7974"/>
              <a:gd name="T22" fmla="*/ 3327 w 6866"/>
              <a:gd name="T23" fmla="*/ 2693 h 7974"/>
              <a:gd name="T24" fmla="*/ 3275 w 6866"/>
              <a:gd name="T25" fmla="*/ 2640 h 7974"/>
              <a:gd name="T26" fmla="*/ 2007 w 6866"/>
              <a:gd name="T27" fmla="*/ 316 h 7974"/>
              <a:gd name="T28" fmla="*/ 1162 w 6866"/>
              <a:gd name="T29" fmla="*/ 264 h 7974"/>
              <a:gd name="T30" fmla="*/ 845 w 6866"/>
              <a:gd name="T31" fmla="*/ 897 h 7974"/>
              <a:gd name="T32" fmla="*/ 1902 w 6866"/>
              <a:gd name="T33" fmla="*/ 2693 h 7974"/>
              <a:gd name="T34" fmla="*/ 634 w 6866"/>
              <a:gd name="T35" fmla="*/ 2693 h 7974"/>
              <a:gd name="T36" fmla="*/ 0 w 6866"/>
              <a:gd name="T37" fmla="*/ 3274 h 7974"/>
              <a:gd name="T38" fmla="*/ 634 w 6866"/>
              <a:gd name="T39" fmla="*/ 3855 h 7974"/>
              <a:gd name="T40" fmla="*/ 2746 w 6866"/>
              <a:gd name="T41" fmla="*/ 3855 h 7974"/>
              <a:gd name="T42" fmla="*/ 2746 w 6866"/>
              <a:gd name="T43" fmla="*/ 4805 h 7974"/>
              <a:gd name="T44" fmla="*/ 634 w 6866"/>
              <a:gd name="T45" fmla="*/ 4805 h 7974"/>
              <a:gd name="T46" fmla="*/ 0 w 6866"/>
              <a:gd name="T47" fmla="*/ 5333 h 7974"/>
              <a:gd name="T48" fmla="*/ 634 w 6866"/>
              <a:gd name="T49" fmla="*/ 5914 h 7974"/>
              <a:gd name="T50" fmla="*/ 2746 w 6866"/>
              <a:gd name="T51" fmla="*/ 5914 h 7974"/>
              <a:gd name="T52" fmla="*/ 2746 w 6866"/>
              <a:gd name="T53" fmla="*/ 7393 h 7974"/>
              <a:gd name="T54" fmla="*/ 3380 w 6866"/>
              <a:gd name="T55" fmla="*/ 7974 h 7974"/>
              <a:gd name="T56" fmla="*/ 3380 w 6866"/>
              <a:gd name="T57" fmla="*/ 7974 h 7974"/>
              <a:gd name="T58" fmla="*/ 4014 w 6866"/>
              <a:gd name="T59" fmla="*/ 7393 h 7974"/>
              <a:gd name="T60" fmla="*/ 4014 w 6866"/>
              <a:gd name="T61" fmla="*/ 5914 h 7974"/>
              <a:gd name="T62" fmla="*/ 6126 w 6866"/>
              <a:gd name="T63" fmla="*/ 5914 h 7974"/>
              <a:gd name="T64" fmla="*/ 6760 w 6866"/>
              <a:gd name="T65" fmla="*/ 5333 h 7974"/>
              <a:gd name="T66" fmla="*/ 6232 w 6866"/>
              <a:gd name="T67" fmla="*/ 4805 h 7974"/>
              <a:gd name="T68" fmla="*/ 6232 w 6866"/>
              <a:gd name="T69" fmla="*/ 4805 h 7974"/>
              <a:gd name="T70" fmla="*/ 6232 w 6866"/>
              <a:gd name="T71" fmla="*/ 4805 h 79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866" h="7974">
                <a:moveTo>
                  <a:pt x="6232" y="4805"/>
                </a:moveTo>
                <a:lnTo>
                  <a:pt x="4119" y="4805"/>
                </a:lnTo>
                <a:lnTo>
                  <a:pt x="4119" y="3855"/>
                </a:lnTo>
                <a:lnTo>
                  <a:pt x="6232" y="3855"/>
                </a:lnTo>
                <a:cubicBezTo>
                  <a:pt x="6602" y="3855"/>
                  <a:pt x="6866" y="3591"/>
                  <a:pt x="6866" y="3274"/>
                </a:cubicBezTo>
                <a:cubicBezTo>
                  <a:pt x="6866" y="2957"/>
                  <a:pt x="6549" y="2693"/>
                  <a:pt x="6232" y="2693"/>
                </a:cubicBezTo>
                <a:lnTo>
                  <a:pt x="5176" y="2693"/>
                </a:lnTo>
                <a:lnTo>
                  <a:pt x="6232" y="792"/>
                </a:lnTo>
                <a:cubicBezTo>
                  <a:pt x="6390" y="580"/>
                  <a:pt x="6232" y="264"/>
                  <a:pt x="5915" y="105"/>
                </a:cubicBezTo>
                <a:cubicBezTo>
                  <a:pt x="5545" y="0"/>
                  <a:pt x="5176" y="52"/>
                  <a:pt x="5070" y="264"/>
                </a:cubicBezTo>
                <a:lnTo>
                  <a:pt x="3697" y="2693"/>
                </a:lnTo>
                <a:lnTo>
                  <a:pt x="3327" y="2693"/>
                </a:lnTo>
                <a:cubicBezTo>
                  <a:pt x="3327" y="2693"/>
                  <a:pt x="3327" y="2640"/>
                  <a:pt x="3275" y="2640"/>
                </a:cubicBezTo>
                <a:lnTo>
                  <a:pt x="2007" y="316"/>
                </a:lnTo>
                <a:cubicBezTo>
                  <a:pt x="1849" y="105"/>
                  <a:pt x="1479" y="105"/>
                  <a:pt x="1162" y="264"/>
                </a:cubicBezTo>
                <a:cubicBezTo>
                  <a:pt x="845" y="422"/>
                  <a:pt x="740" y="686"/>
                  <a:pt x="845" y="897"/>
                </a:cubicBezTo>
                <a:lnTo>
                  <a:pt x="1902" y="2693"/>
                </a:lnTo>
                <a:lnTo>
                  <a:pt x="634" y="2693"/>
                </a:lnTo>
                <a:cubicBezTo>
                  <a:pt x="317" y="2693"/>
                  <a:pt x="0" y="2957"/>
                  <a:pt x="0" y="3274"/>
                </a:cubicBezTo>
                <a:cubicBezTo>
                  <a:pt x="0" y="3591"/>
                  <a:pt x="317" y="3855"/>
                  <a:pt x="634" y="3855"/>
                </a:cubicBezTo>
                <a:lnTo>
                  <a:pt x="2746" y="3855"/>
                </a:lnTo>
                <a:lnTo>
                  <a:pt x="2746" y="4805"/>
                </a:lnTo>
                <a:lnTo>
                  <a:pt x="634" y="4805"/>
                </a:lnTo>
                <a:cubicBezTo>
                  <a:pt x="317" y="4805"/>
                  <a:pt x="0" y="5016"/>
                  <a:pt x="0" y="5333"/>
                </a:cubicBezTo>
                <a:cubicBezTo>
                  <a:pt x="0" y="5650"/>
                  <a:pt x="317" y="5914"/>
                  <a:pt x="634" y="5914"/>
                </a:cubicBezTo>
                <a:lnTo>
                  <a:pt x="2746" y="5914"/>
                </a:lnTo>
                <a:lnTo>
                  <a:pt x="2746" y="7393"/>
                </a:lnTo>
                <a:cubicBezTo>
                  <a:pt x="2746" y="7710"/>
                  <a:pt x="3063" y="7974"/>
                  <a:pt x="3380" y="7974"/>
                </a:cubicBezTo>
                <a:lnTo>
                  <a:pt x="3380" y="7974"/>
                </a:lnTo>
                <a:cubicBezTo>
                  <a:pt x="3750" y="7974"/>
                  <a:pt x="4014" y="7710"/>
                  <a:pt x="4014" y="7393"/>
                </a:cubicBezTo>
                <a:lnTo>
                  <a:pt x="4014" y="5914"/>
                </a:lnTo>
                <a:lnTo>
                  <a:pt x="6126" y="5914"/>
                </a:lnTo>
                <a:cubicBezTo>
                  <a:pt x="6496" y="5914"/>
                  <a:pt x="6760" y="5650"/>
                  <a:pt x="6760" y="5333"/>
                </a:cubicBezTo>
                <a:cubicBezTo>
                  <a:pt x="6866" y="5016"/>
                  <a:pt x="6549" y="4805"/>
                  <a:pt x="6232" y="4805"/>
                </a:cubicBezTo>
                <a:lnTo>
                  <a:pt x="6232" y="4805"/>
                </a:lnTo>
                <a:lnTo>
                  <a:pt x="6232" y="480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sp>
        <p:nvSpPr>
          <p:cNvPr id="832" name="任意多边形: 形状 831">
            <a:extLst>
              <a:ext uri="{FF2B5EF4-FFF2-40B4-BE49-F238E27FC236}">
                <a16:creationId xmlns:a16="http://schemas.microsoft.com/office/drawing/2014/main" id="{4A25AAB5-026C-47A3-B76A-E97D361653AB}"/>
              </a:ext>
            </a:extLst>
          </p:cNvPr>
          <p:cNvSpPr/>
          <p:nvPr/>
        </p:nvSpPr>
        <p:spPr>
          <a:xfrm>
            <a:off x="900613" y="1809750"/>
            <a:ext cx="3461811" cy="3912887"/>
          </a:xfrm>
          <a:custGeom>
            <a:avLst/>
            <a:gdLst/>
            <a:ahLst/>
            <a:cxnLst/>
            <a:rect l="0" t="0" r="0" b="0"/>
            <a:pathLst>
              <a:path w="3461811" h="3912887">
                <a:moveTo>
                  <a:pt x="1434581" y="0"/>
                </a:moveTo>
                <a:lnTo>
                  <a:pt x="3250664" y="0"/>
                </a:lnTo>
                <a:cubicBezTo>
                  <a:pt x="3367277" y="0"/>
                  <a:pt x="3461810" y="94533"/>
                  <a:pt x="3461810" y="211146"/>
                </a:cubicBezTo>
                <a:lnTo>
                  <a:pt x="3461810" y="2551104"/>
                </a:lnTo>
                <a:cubicBezTo>
                  <a:pt x="3461810" y="2608500"/>
                  <a:pt x="3438910" y="2660546"/>
                  <a:pt x="3401747" y="2698605"/>
                </a:cubicBezTo>
                <a:lnTo>
                  <a:pt x="3266059" y="2826347"/>
                </a:lnTo>
                <a:lnTo>
                  <a:pt x="3128068" y="2955040"/>
                </a:lnTo>
                <a:lnTo>
                  <a:pt x="2992155" y="3083952"/>
                </a:lnTo>
                <a:lnTo>
                  <a:pt x="2854163" y="3212647"/>
                </a:lnTo>
                <a:lnTo>
                  <a:pt x="2718252" y="3341557"/>
                </a:lnTo>
                <a:lnTo>
                  <a:pt x="2580260" y="3470252"/>
                </a:lnTo>
                <a:lnTo>
                  <a:pt x="2444349" y="3599162"/>
                </a:lnTo>
                <a:lnTo>
                  <a:pt x="2306357" y="3727856"/>
                </a:lnTo>
                <a:lnTo>
                  <a:pt x="2176532" y="3851043"/>
                </a:lnTo>
                <a:cubicBezTo>
                  <a:pt x="2138322" y="3889253"/>
                  <a:pt x="2085536" y="3912886"/>
                  <a:pt x="2027229" y="3912886"/>
                </a:cubicBezTo>
                <a:lnTo>
                  <a:pt x="211146" y="3912886"/>
                </a:lnTo>
                <a:cubicBezTo>
                  <a:pt x="94533" y="3912886"/>
                  <a:pt x="0" y="3818353"/>
                  <a:pt x="0" y="3701740"/>
                </a:cubicBezTo>
                <a:lnTo>
                  <a:pt x="0" y="1361782"/>
                </a:lnTo>
                <a:cubicBezTo>
                  <a:pt x="0" y="1303476"/>
                  <a:pt x="23633" y="1250689"/>
                  <a:pt x="61843" y="1212479"/>
                </a:cubicBezTo>
                <a:lnTo>
                  <a:pt x="199834" y="1083787"/>
                </a:lnTo>
                <a:lnTo>
                  <a:pt x="335746" y="954874"/>
                </a:lnTo>
                <a:lnTo>
                  <a:pt x="473736" y="826183"/>
                </a:lnTo>
                <a:lnTo>
                  <a:pt x="609650" y="697269"/>
                </a:lnTo>
                <a:lnTo>
                  <a:pt x="747641" y="568577"/>
                </a:lnTo>
                <a:lnTo>
                  <a:pt x="883553" y="439664"/>
                </a:lnTo>
                <a:lnTo>
                  <a:pt x="1021544" y="310972"/>
                </a:lnTo>
                <a:lnTo>
                  <a:pt x="1157456" y="182059"/>
                </a:lnTo>
                <a:lnTo>
                  <a:pt x="1287080" y="60063"/>
                </a:lnTo>
                <a:cubicBezTo>
                  <a:pt x="1325139" y="22901"/>
                  <a:pt x="1377186" y="0"/>
                  <a:pt x="1434581" y="0"/>
                </a:cubicBezTo>
                <a:close/>
              </a:path>
            </a:pathLst>
          </a:custGeom>
          <a:gradFill>
            <a:gsLst>
              <a:gs pos="37000">
                <a:schemeClr val="tx1">
                  <a:alpha val="0"/>
                </a:schemeClr>
              </a:gs>
              <a:gs pos="100000">
                <a:schemeClr val="tx1">
                  <a:lumMod val="85000"/>
                  <a:lumOff val="15000"/>
                  <a:alpha val="20000"/>
                </a:schemeClr>
              </a:gs>
            </a:gsLst>
            <a:lin ang="189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endParaRPr lang="zh-CN" altLang="en-US" sz="1600">
              <a:solidFill>
                <a:schemeClr val="bg1"/>
              </a:solidFill>
              <a:latin typeface="+mj-ea"/>
              <a:ea typeface="+mj-ea"/>
            </a:endParaRPr>
          </a:p>
        </p:txBody>
      </p:sp>
      <p:sp>
        <p:nvSpPr>
          <p:cNvPr id="833" name="矩形: 圆角 832">
            <a:extLst>
              <a:ext uri="{FF2B5EF4-FFF2-40B4-BE49-F238E27FC236}">
                <a16:creationId xmlns:a16="http://schemas.microsoft.com/office/drawing/2014/main" id="{FDB53C6C-EBF0-4B95-8A71-E5A650E0BC10}"/>
              </a:ext>
            </a:extLst>
          </p:cNvPr>
          <p:cNvSpPr/>
          <p:nvPr/>
        </p:nvSpPr>
        <p:spPr>
          <a:xfrm>
            <a:off x="2132537" y="1809750"/>
            <a:ext cx="2238375" cy="2762250"/>
          </a:xfrm>
          <a:prstGeom prst="roundRect">
            <a:avLst>
              <a:gd name="adj" fmla="val 9433"/>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834" name="椭圆 833">
            <a:extLst>
              <a:ext uri="{FF2B5EF4-FFF2-40B4-BE49-F238E27FC236}">
                <a16:creationId xmlns:a16="http://schemas.microsoft.com/office/drawing/2014/main" id="{7AC7BC65-280E-411D-9308-CF700131E261}"/>
              </a:ext>
            </a:extLst>
          </p:cNvPr>
          <p:cNvSpPr/>
          <p:nvPr/>
        </p:nvSpPr>
        <p:spPr>
          <a:xfrm>
            <a:off x="2850806" y="2000249"/>
            <a:ext cx="822960" cy="822960"/>
          </a:xfrm>
          <a:prstGeom prst="ellipse">
            <a:avLst/>
          </a:prstGeom>
          <a:noFill/>
          <a:ln w="19050">
            <a:solidFill>
              <a:schemeClr val="bg1"/>
            </a:solid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835" name="文本框 834">
            <a:extLst>
              <a:ext uri="{FF2B5EF4-FFF2-40B4-BE49-F238E27FC236}">
                <a16:creationId xmlns:a16="http://schemas.microsoft.com/office/drawing/2014/main" id="{6FF5FA33-5A39-42BD-844A-8F181E365F4E}"/>
              </a:ext>
            </a:extLst>
          </p:cNvPr>
          <p:cNvSpPr txBox="1"/>
          <p:nvPr/>
        </p:nvSpPr>
        <p:spPr>
          <a:xfrm>
            <a:off x="2621085" y="2935594"/>
            <a:ext cx="1282402" cy="307777"/>
          </a:xfrm>
          <a:prstGeom prst="rect">
            <a:avLst/>
          </a:prstGeom>
          <a:noFill/>
          <a:effectLst/>
        </p:spPr>
        <p:txBody>
          <a:bodyPr wrap="none" lIns="0" tIns="0" rIns="0" bIns="0" rtlCol="0" anchor="t">
            <a:spAutoFit/>
          </a:bodyPr>
          <a:lstStyle/>
          <a:p>
            <a:pPr algn="ctr"/>
            <a:r>
              <a:rPr lang="zh-CN" altLang="en-US" sz="2000" dirty="0">
                <a:solidFill>
                  <a:schemeClr val="bg1"/>
                </a:solidFill>
                <a:latin typeface="+mj-ea"/>
                <a:ea typeface="+mj-ea"/>
              </a:rPr>
              <a:t>关键词标题</a:t>
            </a:r>
          </a:p>
        </p:txBody>
      </p:sp>
      <p:sp>
        <p:nvSpPr>
          <p:cNvPr id="836" name="文本框 835">
            <a:extLst>
              <a:ext uri="{FF2B5EF4-FFF2-40B4-BE49-F238E27FC236}">
                <a16:creationId xmlns:a16="http://schemas.microsoft.com/office/drawing/2014/main" id="{F83ED0CE-F593-450F-BAE5-FC13510540A9}"/>
              </a:ext>
            </a:extLst>
          </p:cNvPr>
          <p:cNvSpPr txBox="1"/>
          <p:nvPr/>
        </p:nvSpPr>
        <p:spPr>
          <a:xfrm>
            <a:off x="2271684" y="3396572"/>
            <a:ext cx="1981204" cy="944939"/>
          </a:xfrm>
          <a:prstGeom prst="rect">
            <a:avLst/>
          </a:prstGeom>
          <a:noFill/>
          <a:effectLst/>
        </p:spPr>
        <p:txBody>
          <a:bodyPr wrap="square" lIns="0" tIns="0" rIns="0" bIns="0" rtlCol="0" anchor="t">
            <a:spAutoFit/>
          </a:bodyPr>
          <a:lstStyle/>
          <a:p>
            <a:pPr algn="ctr">
              <a:lnSpc>
                <a:spcPct val="130000"/>
              </a:lnSpc>
            </a:pPr>
            <a:r>
              <a:rPr lang="en-US" altLang="zh-CN" sz="1200" b="0" dirty="0">
                <a:solidFill>
                  <a:schemeClr val="bg1"/>
                </a:solidFill>
                <a:effectLst/>
                <a:latin typeface="+mn-ea"/>
              </a:rPr>
              <a:t>Lorem ipsum dolor sit ametconsectetur adipisicing elit</a:t>
            </a:r>
            <a:r>
              <a:rPr lang="en-US" altLang="zh-CN" sz="1200" dirty="0">
                <a:solidFill>
                  <a:schemeClr val="bg1"/>
                </a:solidFill>
                <a:latin typeface="+mn-ea"/>
              </a:rPr>
              <a:t> </a:t>
            </a:r>
            <a:r>
              <a:rPr lang="en-US" altLang="zh-CN" sz="1200" b="0" dirty="0">
                <a:solidFill>
                  <a:schemeClr val="bg1"/>
                </a:solidFill>
                <a:effectLst/>
                <a:latin typeface="+mn-ea"/>
              </a:rPr>
              <a:t>sed do eiusmod tempor</a:t>
            </a:r>
            <a:endParaRPr lang="zh-CN" altLang="en-US" sz="1200" b="0" dirty="0">
              <a:solidFill>
                <a:schemeClr val="bg1"/>
              </a:solidFill>
              <a:effectLst/>
              <a:latin typeface="+mn-ea"/>
            </a:endParaRPr>
          </a:p>
        </p:txBody>
      </p:sp>
      <p:cxnSp>
        <p:nvCxnSpPr>
          <p:cNvPr id="837" name="直接连接符 836">
            <a:extLst>
              <a:ext uri="{FF2B5EF4-FFF2-40B4-BE49-F238E27FC236}">
                <a16:creationId xmlns:a16="http://schemas.microsoft.com/office/drawing/2014/main" id="{D4A675B2-AB31-4A02-BB25-37DD9F9B96EB}"/>
              </a:ext>
            </a:extLst>
          </p:cNvPr>
          <p:cNvCxnSpPr>
            <a:cxnSpLocks/>
          </p:cNvCxnSpPr>
          <p:nvPr/>
        </p:nvCxnSpPr>
        <p:spPr>
          <a:xfrm>
            <a:off x="3102266" y="3314022"/>
            <a:ext cx="320040"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838" name="iconfont-1179-866479">
            <a:extLst>
              <a:ext uri="{FF2B5EF4-FFF2-40B4-BE49-F238E27FC236}">
                <a16:creationId xmlns:a16="http://schemas.microsoft.com/office/drawing/2014/main" id="{14B3B463-DCCC-477A-83FE-703786B9518F}"/>
              </a:ext>
            </a:extLst>
          </p:cNvPr>
          <p:cNvSpPr/>
          <p:nvPr/>
        </p:nvSpPr>
        <p:spPr>
          <a:xfrm>
            <a:off x="3102266" y="2223139"/>
            <a:ext cx="318464" cy="377180"/>
          </a:xfrm>
          <a:custGeom>
            <a:avLst/>
            <a:gdLst>
              <a:gd name="T0" fmla="*/ 6573 w 9390"/>
              <a:gd name="T1" fmla="*/ 3437 h 11120"/>
              <a:gd name="T2" fmla="*/ 7967 w 9390"/>
              <a:gd name="T3" fmla="*/ 1730 h 11120"/>
              <a:gd name="T4" fmla="*/ 5311 w 9390"/>
              <a:gd name="T5" fmla="*/ 1140 h 11120"/>
              <a:gd name="T6" fmla="*/ 3129 w 9390"/>
              <a:gd name="T7" fmla="*/ 876 h 11120"/>
              <a:gd name="T8" fmla="*/ 2455 w 9390"/>
              <a:gd name="T9" fmla="*/ 3147 h 11120"/>
              <a:gd name="T10" fmla="*/ 7438 w 9390"/>
              <a:gd name="T11" fmla="*/ 4336 h 11120"/>
              <a:gd name="T12" fmla="*/ 2969 w 9390"/>
              <a:gd name="T13" fmla="*/ 4006 h 11120"/>
              <a:gd name="T14" fmla="*/ 0 w 9390"/>
              <a:gd name="T15" fmla="*/ 8570 h 11120"/>
              <a:gd name="T16" fmla="*/ 6860 w 9390"/>
              <a:gd name="T17" fmla="*/ 11120 h 11120"/>
              <a:gd name="T18" fmla="*/ 7438 w 9390"/>
              <a:gd name="T19" fmla="*/ 4336 h 11120"/>
              <a:gd name="T20" fmla="*/ 5549 w 9390"/>
              <a:gd name="T21" fmla="*/ 7248 h 11120"/>
              <a:gd name="T22" fmla="*/ 5919 w 9390"/>
              <a:gd name="T23" fmla="*/ 7515 h 11120"/>
              <a:gd name="T24" fmla="*/ 6098 w 9390"/>
              <a:gd name="T25" fmla="*/ 7695 h 11120"/>
              <a:gd name="T26" fmla="*/ 5384 w 9390"/>
              <a:gd name="T27" fmla="*/ 7874 h 11120"/>
              <a:gd name="T28" fmla="*/ 5195 w 9390"/>
              <a:gd name="T29" fmla="*/ 8151 h 11120"/>
              <a:gd name="T30" fmla="*/ 5919 w 9390"/>
              <a:gd name="T31" fmla="*/ 8331 h 11120"/>
              <a:gd name="T32" fmla="*/ 5919 w 9390"/>
              <a:gd name="T33" fmla="*/ 8690 h 11120"/>
              <a:gd name="T34" fmla="*/ 5195 w 9390"/>
              <a:gd name="T35" fmla="*/ 8870 h 11120"/>
              <a:gd name="T36" fmla="*/ 5015 w 9390"/>
              <a:gd name="T37" fmla="*/ 9507 h 11120"/>
              <a:gd name="T38" fmla="*/ 4510 w 9390"/>
              <a:gd name="T39" fmla="*/ 9327 h 11120"/>
              <a:gd name="T40" fmla="*/ 4330 w 9390"/>
              <a:gd name="T41" fmla="*/ 8690 h 11120"/>
              <a:gd name="T42" fmla="*/ 3612 w 9390"/>
              <a:gd name="T43" fmla="*/ 8510 h 11120"/>
              <a:gd name="T44" fmla="*/ 4329 w 9390"/>
              <a:gd name="T45" fmla="*/ 8331 h 11120"/>
              <a:gd name="T46" fmla="*/ 4511 w 9390"/>
              <a:gd name="T47" fmla="*/ 8063 h 11120"/>
              <a:gd name="T48" fmla="*/ 3792 w 9390"/>
              <a:gd name="T49" fmla="*/ 7873 h 11120"/>
              <a:gd name="T50" fmla="*/ 3612 w 9390"/>
              <a:gd name="T51" fmla="*/ 7694 h 11120"/>
              <a:gd name="T52" fmla="*/ 3999 w 9390"/>
              <a:gd name="T53" fmla="*/ 7514 h 11120"/>
              <a:gd name="T54" fmla="*/ 3406 w 9390"/>
              <a:gd name="T55" fmla="*/ 5887 h 11120"/>
              <a:gd name="T56" fmla="*/ 3920 w 9390"/>
              <a:gd name="T57" fmla="*/ 5620 h 11120"/>
              <a:gd name="T58" fmla="*/ 4691 w 9390"/>
              <a:gd name="T59" fmla="*/ 6937 h 11120"/>
              <a:gd name="T60" fmla="*/ 5623 w 9390"/>
              <a:gd name="T61" fmla="*/ 5719 h 11120"/>
              <a:gd name="T62" fmla="*/ 6140 w 9390"/>
              <a:gd name="T63" fmla="*/ 5620 h 1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390" h="11120">
                <a:moveTo>
                  <a:pt x="3078" y="3437"/>
                </a:moveTo>
                <a:lnTo>
                  <a:pt x="6573" y="3437"/>
                </a:lnTo>
                <a:cubicBezTo>
                  <a:pt x="6809" y="3437"/>
                  <a:pt x="7036" y="3338"/>
                  <a:pt x="7187" y="3157"/>
                </a:cubicBezTo>
                <a:cubicBezTo>
                  <a:pt x="7548" y="2728"/>
                  <a:pt x="7890" y="2202"/>
                  <a:pt x="7967" y="1730"/>
                </a:cubicBezTo>
                <a:cubicBezTo>
                  <a:pt x="8121" y="786"/>
                  <a:pt x="7717" y="307"/>
                  <a:pt x="6544" y="307"/>
                </a:cubicBezTo>
                <a:cubicBezTo>
                  <a:pt x="5370" y="307"/>
                  <a:pt x="5767" y="1077"/>
                  <a:pt x="5311" y="1140"/>
                </a:cubicBezTo>
                <a:cubicBezTo>
                  <a:pt x="4971" y="1187"/>
                  <a:pt x="4983" y="739"/>
                  <a:pt x="4449" y="308"/>
                </a:cubicBezTo>
                <a:cubicBezTo>
                  <a:pt x="4066" y="0"/>
                  <a:pt x="3636" y="871"/>
                  <a:pt x="3129" y="876"/>
                </a:cubicBezTo>
                <a:cubicBezTo>
                  <a:pt x="2538" y="884"/>
                  <a:pt x="1707" y="720"/>
                  <a:pt x="1707" y="1730"/>
                </a:cubicBezTo>
                <a:cubicBezTo>
                  <a:pt x="1707" y="2138"/>
                  <a:pt x="2065" y="2690"/>
                  <a:pt x="2455" y="3147"/>
                </a:cubicBezTo>
                <a:cubicBezTo>
                  <a:pt x="2612" y="3330"/>
                  <a:pt x="2838" y="3437"/>
                  <a:pt x="3078" y="3437"/>
                </a:cubicBezTo>
                <a:close/>
                <a:moveTo>
                  <a:pt x="7438" y="4336"/>
                </a:moveTo>
                <a:cubicBezTo>
                  <a:pt x="7252" y="4125"/>
                  <a:pt x="6981" y="4006"/>
                  <a:pt x="6699" y="4006"/>
                </a:cubicBezTo>
                <a:lnTo>
                  <a:pt x="2969" y="4006"/>
                </a:lnTo>
                <a:cubicBezTo>
                  <a:pt x="2700" y="4006"/>
                  <a:pt x="2440" y="4115"/>
                  <a:pt x="2253" y="4310"/>
                </a:cubicBezTo>
                <a:cubicBezTo>
                  <a:pt x="1081" y="5538"/>
                  <a:pt x="0" y="7291"/>
                  <a:pt x="0" y="8570"/>
                </a:cubicBezTo>
                <a:cubicBezTo>
                  <a:pt x="0" y="9697"/>
                  <a:pt x="1133" y="11120"/>
                  <a:pt x="2530" y="11120"/>
                </a:cubicBezTo>
                <a:lnTo>
                  <a:pt x="6860" y="11120"/>
                </a:lnTo>
                <a:cubicBezTo>
                  <a:pt x="8257" y="11120"/>
                  <a:pt x="9390" y="9709"/>
                  <a:pt x="9390" y="8570"/>
                </a:cubicBezTo>
                <a:cubicBezTo>
                  <a:pt x="9390" y="7268"/>
                  <a:pt x="8520" y="5564"/>
                  <a:pt x="7438" y="4336"/>
                </a:cubicBezTo>
                <a:close/>
                <a:moveTo>
                  <a:pt x="6299" y="5888"/>
                </a:moveTo>
                <a:lnTo>
                  <a:pt x="5549" y="7248"/>
                </a:lnTo>
                <a:cubicBezTo>
                  <a:pt x="5483" y="7368"/>
                  <a:pt x="5570" y="7515"/>
                  <a:pt x="5706" y="7515"/>
                </a:cubicBezTo>
                <a:lnTo>
                  <a:pt x="5919" y="7515"/>
                </a:lnTo>
                <a:cubicBezTo>
                  <a:pt x="6017" y="7515"/>
                  <a:pt x="6098" y="7595"/>
                  <a:pt x="6098" y="7695"/>
                </a:cubicBezTo>
                <a:lnTo>
                  <a:pt x="6098" y="7695"/>
                </a:lnTo>
                <a:cubicBezTo>
                  <a:pt x="6098" y="7793"/>
                  <a:pt x="6018" y="7874"/>
                  <a:pt x="5919" y="7874"/>
                </a:cubicBezTo>
                <a:lnTo>
                  <a:pt x="5384" y="7874"/>
                </a:lnTo>
                <a:cubicBezTo>
                  <a:pt x="5279" y="7874"/>
                  <a:pt x="5196" y="7958"/>
                  <a:pt x="5195" y="8062"/>
                </a:cubicBezTo>
                <a:lnTo>
                  <a:pt x="5195" y="8151"/>
                </a:lnTo>
                <a:cubicBezTo>
                  <a:pt x="5195" y="8249"/>
                  <a:pt x="5275" y="8331"/>
                  <a:pt x="5375" y="8331"/>
                </a:cubicBezTo>
                <a:lnTo>
                  <a:pt x="5919" y="8331"/>
                </a:lnTo>
                <a:cubicBezTo>
                  <a:pt x="6017" y="8331"/>
                  <a:pt x="6098" y="8411"/>
                  <a:pt x="6098" y="8510"/>
                </a:cubicBezTo>
                <a:cubicBezTo>
                  <a:pt x="6098" y="8610"/>
                  <a:pt x="6018" y="8690"/>
                  <a:pt x="5919" y="8690"/>
                </a:cubicBezTo>
                <a:lnTo>
                  <a:pt x="5375" y="8690"/>
                </a:lnTo>
                <a:cubicBezTo>
                  <a:pt x="5276" y="8690"/>
                  <a:pt x="5195" y="8770"/>
                  <a:pt x="5195" y="8870"/>
                </a:cubicBezTo>
                <a:lnTo>
                  <a:pt x="5195" y="9327"/>
                </a:lnTo>
                <a:cubicBezTo>
                  <a:pt x="5195" y="9426"/>
                  <a:pt x="5115" y="9507"/>
                  <a:pt x="5015" y="9507"/>
                </a:cubicBezTo>
                <a:lnTo>
                  <a:pt x="4690" y="9507"/>
                </a:lnTo>
                <a:cubicBezTo>
                  <a:pt x="4591" y="9507"/>
                  <a:pt x="4510" y="9427"/>
                  <a:pt x="4510" y="9327"/>
                </a:cubicBezTo>
                <a:lnTo>
                  <a:pt x="4510" y="8870"/>
                </a:lnTo>
                <a:cubicBezTo>
                  <a:pt x="4510" y="8771"/>
                  <a:pt x="4430" y="8690"/>
                  <a:pt x="4330" y="8690"/>
                </a:cubicBezTo>
                <a:lnTo>
                  <a:pt x="3792" y="8690"/>
                </a:lnTo>
                <a:cubicBezTo>
                  <a:pt x="3693" y="8690"/>
                  <a:pt x="3612" y="8610"/>
                  <a:pt x="3612" y="8510"/>
                </a:cubicBezTo>
                <a:cubicBezTo>
                  <a:pt x="3612" y="8411"/>
                  <a:pt x="3692" y="8331"/>
                  <a:pt x="3792" y="8331"/>
                </a:cubicBezTo>
                <a:lnTo>
                  <a:pt x="4329" y="8331"/>
                </a:lnTo>
                <a:cubicBezTo>
                  <a:pt x="4429" y="8331"/>
                  <a:pt x="4509" y="8251"/>
                  <a:pt x="4510" y="8151"/>
                </a:cubicBezTo>
                <a:lnTo>
                  <a:pt x="4511" y="8063"/>
                </a:lnTo>
                <a:cubicBezTo>
                  <a:pt x="4512" y="7959"/>
                  <a:pt x="4427" y="7873"/>
                  <a:pt x="4322" y="7873"/>
                </a:cubicBezTo>
                <a:lnTo>
                  <a:pt x="3792" y="7873"/>
                </a:lnTo>
                <a:cubicBezTo>
                  <a:pt x="3693" y="7873"/>
                  <a:pt x="3612" y="7793"/>
                  <a:pt x="3612" y="7694"/>
                </a:cubicBezTo>
                <a:lnTo>
                  <a:pt x="3612" y="7694"/>
                </a:lnTo>
                <a:cubicBezTo>
                  <a:pt x="3612" y="7595"/>
                  <a:pt x="3692" y="7514"/>
                  <a:pt x="3792" y="7514"/>
                </a:cubicBezTo>
                <a:lnTo>
                  <a:pt x="3999" y="7514"/>
                </a:lnTo>
                <a:cubicBezTo>
                  <a:pt x="4136" y="7514"/>
                  <a:pt x="4221" y="7367"/>
                  <a:pt x="4156" y="7247"/>
                </a:cubicBezTo>
                <a:lnTo>
                  <a:pt x="3406" y="5887"/>
                </a:lnTo>
                <a:cubicBezTo>
                  <a:pt x="3340" y="5767"/>
                  <a:pt x="3426" y="5620"/>
                  <a:pt x="3562" y="5620"/>
                </a:cubicBezTo>
                <a:lnTo>
                  <a:pt x="3920" y="5620"/>
                </a:lnTo>
                <a:cubicBezTo>
                  <a:pt x="3988" y="5620"/>
                  <a:pt x="4050" y="5659"/>
                  <a:pt x="4080" y="5719"/>
                </a:cubicBezTo>
                <a:lnTo>
                  <a:pt x="4691" y="6937"/>
                </a:lnTo>
                <a:cubicBezTo>
                  <a:pt x="4756" y="7069"/>
                  <a:pt x="4945" y="7069"/>
                  <a:pt x="5012" y="6937"/>
                </a:cubicBezTo>
                <a:lnTo>
                  <a:pt x="5623" y="5719"/>
                </a:lnTo>
                <a:cubicBezTo>
                  <a:pt x="5653" y="5659"/>
                  <a:pt x="5715" y="5620"/>
                  <a:pt x="5783" y="5620"/>
                </a:cubicBezTo>
                <a:lnTo>
                  <a:pt x="6140" y="5620"/>
                </a:lnTo>
                <a:cubicBezTo>
                  <a:pt x="6278" y="5622"/>
                  <a:pt x="6365" y="5768"/>
                  <a:pt x="6299" y="588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custDataLst>
      <p:tags r:id="rId2"/>
    </p:custDataLst>
    <p:extLst>
      <p:ext uri="{BB962C8B-B14F-4D97-AF65-F5344CB8AC3E}">
        <p14:creationId xmlns:p14="http://schemas.microsoft.com/office/powerpoint/2010/main" val="3161879152"/>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2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任意形状 9">
            <a:extLst>
              <a:ext uri="{FF2B5EF4-FFF2-40B4-BE49-F238E27FC236}">
                <a16:creationId xmlns:a16="http://schemas.microsoft.com/office/drawing/2014/main" id="{79C0392D-8AB4-4C9C-BB47-E593C645F444}"/>
              </a:ext>
            </a:extLst>
          </p:cNvPr>
          <p:cNvSpPr/>
          <p:nvPr/>
        </p:nvSpPr>
        <p:spPr>
          <a:xfrm>
            <a:off x="0" y="6457950"/>
            <a:ext cx="12192000" cy="400050"/>
          </a:xfrm>
          <a:custGeom>
            <a:avLst/>
            <a:gdLst>
              <a:gd name="connsiteX0" fmla="*/ 12192000 w 12192000"/>
              <a:gd name="connsiteY0" fmla="*/ 0 h 329410"/>
              <a:gd name="connsiteX1" fmla="*/ 12192000 w 12192000"/>
              <a:gd name="connsiteY1" fmla="*/ 329410 h 329410"/>
              <a:gd name="connsiteX2" fmla="*/ 0 w 12192000"/>
              <a:gd name="connsiteY2" fmla="*/ 329410 h 329410"/>
              <a:gd name="connsiteX3" fmla="*/ 0 w 12192000"/>
              <a:gd name="connsiteY3" fmla="*/ 29375 h 329410"/>
              <a:gd name="connsiteX4" fmla="*/ 577089 w 12192000"/>
              <a:gd name="connsiteY4" fmla="*/ 49593 h 329410"/>
              <a:gd name="connsiteX5" fmla="*/ 5704114 w 12192000"/>
              <a:gd name="connsiteY5" fmla="*/ 124873 h 329410"/>
              <a:gd name="connsiteX6" fmla="*/ 11982536 w 12192000"/>
              <a:gd name="connsiteY6" fmla="*/ 9255 h 329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329410">
                <a:moveTo>
                  <a:pt x="12192000" y="0"/>
                </a:moveTo>
                <a:lnTo>
                  <a:pt x="12192000" y="329410"/>
                </a:lnTo>
                <a:lnTo>
                  <a:pt x="0" y="329410"/>
                </a:lnTo>
                <a:lnTo>
                  <a:pt x="0" y="29375"/>
                </a:lnTo>
                <a:lnTo>
                  <a:pt x="577089" y="49593"/>
                </a:lnTo>
                <a:cubicBezTo>
                  <a:pt x="2152931" y="98068"/>
                  <a:pt x="3885480" y="124873"/>
                  <a:pt x="5704114" y="124873"/>
                </a:cubicBezTo>
                <a:cubicBezTo>
                  <a:pt x="7977407" y="124873"/>
                  <a:pt x="10116192" y="82990"/>
                  <a:pt x="11982536" y="9255"/>
                </a:cubicBezTo>
                <a:close/>
              </a:path>
            </a:pathLst>
          </a:custGeom>
          <a:solidFill>
            <a:schemeClr val="accent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zh-CN" altLang="en-US"/>
          </a:p>
        </p:txBody>
      </p:sp>
      <p:sp>
        <p:nvSpPr>
          <p:cNvPr id="29" name="矩形: 圆角 28">
            <a:extLst>
              <a:ext uri="{FF2B5EF4-FFF2-40B4-BE49-F238E27FC236}">
                <a16:creationId xmlns:a16="http://schemas.microsoft.com/office/drawing/2014/main" id="{B132EE52-AEC8-40A7-834C-BFC86A5C2378}"/>
              </a:ext>
            </a:extLst>
          </p:cNvPr>
          <p:cNvSpPr/>
          <p:nvPr/>
        </p:nvSpPr>
        <p:spPr>
          <a:xfrm flipH="1">
            <a:off x="6310704" y="3464383"/>
            <a:ext cx="4331208" cy="1298449"/>
          </a:xfrm>
          <a:prstGeom prst="roundRect">
            <a:avLst>
              <a:gd name="adj" fmla="val 50000"/>
            </a:avLst>
          </a:prstGeom>
          <a:solidFill>
            <a:schemeClr val="bg1"/>
          </a:solidFill>
          <a:ln w="12700" cap="flat" cmpd="sng" algn="ctr">
            <a:noFill/>
            <a:prstDash val="solid"/>
            <a:miter lim="800000"/>
          </a:ln>
          <a:effectLst>
            <a:outerShdw blurRad="228600" sx="102000" sy="102000" algn="ctr" rotWithShape="0">
              <a:schemeClr val="accent1">
                <a:lumMod val="50000"/>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0" name="椭圆 29">
            <a:extLst>
              <a:ext uri="{FF2B5EF4-FFF2-40B4-BE49-F238E27FC236}">
                <a16:creationId xmlns:a16="http://schemas.microsoft.com/office/drawing/2014/main" id="{195684BD-B549-4E91-91AB-B470DF3A2145}"/>
              </a:ext>
            </a:extLst>
          </p:cNvPr>
          <p:cNvSpPr/>
          <p:nvPr/>
        </p:nvSpPr>
        <p:spPr>
          <a:xfrm flipH="1">
            <a:off x="10315967" y="3801251"/>
            <a:ext cx="487870" cy="487870"/>
          </a:xfrm>
          <a:prstGeom prst="ellipse">
            <a:avLst/>
          </a:prstGeom>
          <a:solidFill>
            <a:schemeClr val="accent1"/>
          </a:solidFill>
          <a:ln w="12700" cap="flat" cmpd="sng" algn="ctr">
            <a:noFill/>
            <a:prstDash val="solid"/>
            <a:miter lim="800000"/>
          </a:ln>
          <a:effectLst/>
          <a:extLst>
            <a:ext uri="{91240B29-F687-4F45-9708-019B960494DF}">
              <a14:hiddenLine xmlns:a14="http://schemas.microsoft.com/office/drawing/2010/main" w="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8" name="文本框 47">
            <a:extLst>
              <a:ext uri="{FF2B5EF4-FFF2-40B4-BE49-F238E27FC236}">
                <a16:creationId xmlns:a16="http://schemas.microsoft.com/office/drawing/2014/main" id="{961D7ADD-FCB1-49C7-BE0A-F7E6992762C6}"/>
              </a:ext>
            </a:extLst>
          </p:cNvPr>
          <p:cNvSpPr txBox="1"/>
          <p:nvPr/>
        </p:nvSpPr>
        <p:spPr>
          <a:xfrm flipH="1">
            <a:off x="9183782" y="3764279"/>
            <a:ext cx="923330" cy="369332"/>
          </a:xfrm>
          <a:prstGeom prst="rect">
            <a:avLst/>
          </a:prstGeom>
          <a:noFill/>
        </p:spPr>
        <p:txBody>
          <a:bodyPr wrap="none" lIns="0" tIns="0" rIns="0" bIns="0" rtlCol="0" anchor="t">
            <a:spAutoFit/>
          </a:bodyPr>
          <a:lstStyle/>
          <a:p>
            <a:pPr algn="ctr"/>
            <a:r>
              <a:rPr lang="zh-CN" altLang="en-US" sz="2400" dirty="0">
                <a:solidFill>
                  <a:schemeClr val="accent1"/>
                </a:solidFill>
                <a:latin typeface="+mj-ea"/>
                <a:ea typeface="+mj-ea"/>
              </a:rPr>
              <a:t>关键词</a:t>
            </a:r>
          </a:p>
        </p:txBody>
      </p:sp>
      <p:sp>
        <p:nvSpPr>
          <p:cNvPr id="49" name="矩形: 圆角 48">
            <a:extLst>
              <a:ext uri="{FF2B5EF4-FFF2-40B4-BE49-F238E27FC236}">
                <a16:creationId xmlns:a16="http://schemas.microsoft.com/office/drawing/2014/main" id="{D17E36AC-40CC-40A5-866B-C53186E4C9C7}"/>
              </a:ext>
            </a:extLst>
          </p:cNvPr>
          <p:cNvSpPr/>
          <p:nvPr/>
        </p:nvSpPr>
        <p:spPr>
          <a:xfrm flipH="1">
            <a:off x="6711950" y="1912628"/>
            <a:ext cx="4331208" cy="1298449"/>
          </a:xfrm>
          <a:prstGeom prst="roundRect">
            <a:avLst>
              <a:gd name="adj" fmla="val 50000"/>
            </a:avLst>
          </a:prstGeom>
          <a:solidFill>
            <a:schemeClr val="bg1"/>
          </a:solidFill>
          <a:ln w="12700" cap="flat" cmpd="sng" algn="ctr">
            <a:noFill/>
            <a:prstDash val="solid"/>
            <a:miter lim="800000"/>
          </a:ln>
          <a:effectLst>
            <a:outerShdw blurRad="228600" sx="102000" sy="102000" algn="ctr" rotWithShape="0">
              <a:schemeClr val="accent1">
                <a:lumMod val="50000"/>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0" name="椭圆 49">
            <a:extLst>
              <a:ext uri="{FF2B5EF4-FFF2-40B4-BE49-F238E27FC236}">
                <a16:creationId xmlns:a16="http://schemas.microsoft.com/office/drawing/2014/main" id="{859A17DD-970B-4B40-BBCE-0D2915C83ACF}"/>
              </a:ext>
            </a:extLst>
          </p:cNvPr>
          <p:cNvSpPr/>
          <p:nvPr/>
        </p:nvSpPr>
        <p:spPr>
          <a:xfrm flipH="1">
            <a:off x="10717213" y="2249496"/>
            <a:ext cx="487870" cy="487870"/>
          </a:xfrm>
          <a:prstGeom prst="ellipse">
            <a:avLst/>
          </a:prstGeom>
          <a:solidFill>
            <a:schemeClr val="accent1"/>
          </a:solidFill>
          <a:ln w="12700" cap="flat" cmpd="sng" algn="ctr">
            <a:noFill/>
            <a:prstDash val="solid"/>
            <a:miter lim="800000"/>
          </a:ln>
          <a:effectLst/>
          <a:extLst>
            <a:ext uri="{91240B29-F687-4F45-9708-019B960494DF}">
              <a14:hiddenLine xmlns:a14="http://schemas.microsoft.com/office/drawing/2010/main" w="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2" name="文本框 51">
            <a:extLst>
              <a:ext uri="{FF2B5EF4-FFF2-40B4-BE49-F238E27FC236}">
                <a16:creationId xmlns:a16="http://schemas.microsoft.com/office/drawing/2014/main" id="{9ADEBF2D-DC4D-4B01-99D3-D69400C77F75}"/>
              </a:ext>
            </a:extLst>
          </p:cNvPr>
          <p:cNvSpPr txBox="1"/>
          <p:nvPr/>
        </p:nvSpPr>
        <p:spPr>
          <a:xfrm flipH="1">
            <a:off x="9585028" y="2238859"/>
            <a:ext cx="923330" cy="369332"/>
          </a:xfrm>
          <a:prstGeom prst="rect">
            <a:avLst/>
          </a:prstGeom>
          <a:noFill/>
        </p:spPr>
        <p:txBody>
          <a:bodyPr wrap="none" lIns="0" tIns="0" rIns="0" bIns="0" rtlCol="0" anchor="t">
            <a:spAutoFit/>
          </a:bodyPr>
          <a:lstStyle/>
          <a:p>
            <a:pPr algn="ctr"/>
            <a:r>
              <a:rPr lang="zh-CN" altLang="en-US" sz="2400" dirty="0">
                <a:solidFill>
                  <a:schemeClr val="accent1"/>
                </a:solidFill>
                <a:latin typeface="+mj-ea"/>
                <a:ea typeface="+mj-ea"/>
              </a:rPr>
              <a:t>关键词</a:t>
            </a:r>
          </a:p>
        </p:txBody>
      </p:sp>
      <p:sp>
        <p:nvSpPr>
          <p:cNvPr id="53" name="文本框 52">
            <a:extLst>
              <a:ext uri="{FF2B5EF4-FFF2-40B4-BE49-F238E27FC236}">
                <a16:creationId xmlns:a16="http://schemas.microsoft.com/office/drawing/2014/main" id="{6F0DD4F3-5E4B-445D-92F2-EBF62174AF19}"/>
              </a:ext>
            </a:extLst>
          </p:cNvPr>
          <p:cNvSpPr txBox="1"/>
          <p:nvPr/>
        </p:nvSpPr>
        <p:spPr>
          <a:xfrm flipH="1">
            <a:off x="7616826" y="2579800"/>
            <a:ext cx="2876317" cy="231410"/>
          </a:xfrm>
          <a:prstGeom prst="rect">
            <a:avLst/>
          </a:prstGeom>
          <a:noFill/>
        </p:spPr>
        <p:txBody>
          <a:bodyPr wrap="square" lIns="0" tIns="0" rIns="0" bIns="0" rtlCol="0" anchor="t">
            <a:spAutoFit/>
          </a:bodyPr>
          <a:lstStyle/>
          <a:p>
            <a:pPr algn="r">
              <a:lnSpc>
                <a:spcPct val="150000"/>
              </a:lnSpc>
            </a:pPr>
            <a:r>
              <a:rPr lang="en-US" altLang="zh-CN" sz="1100" b="0" dirty="0">
                <a:solidFill>
                  <a:schemeClr val="tx1">
                    <a:lumMod val="75000"/>
                    <a:lumOff val="25000"/>
                  </a:schemeClr>
                </a:solidFill>
                <a:effectLst/>
                <a:latin typeface="+mn-ea"/>
              </a:rPr>
              <a:t>Lorem ipsum dolor sit amet, consec</a:t>
            </a:r>
            <a:endParaRPr lang="zh-CN" altLang="en-US" sz="1100" dirty="0">
              <a:solidFill>
                <a:schemeClr val="tx1">
                  <a:lumMod val="75000"/>
                  <a:lumOff val="25000"/>
                </a:schemeClr>
              </a:solidFill>
            </a:endParaRPr>
          </a:p>
        </p:txBody>
      </p:sp>
      <p:sp>
        <p:nvSpPr>
          <p:cNvPr id="58" name="文本框 57">
            <a:extLst>
              <a:ext uri="{FF2B5EF4-FFF2-40B4-BE49-F238E27FC236}">
                <a16:creationId xmlns:a16="http://schemas.microsoft.com/office/drawing/2014/main" id="{54EA1BB6-5EB4-4214-B539-199DF2071A72}"/>
              </a:ext>
            </a:extLst>
          </p:cNvPr>
          <p:cNvSpPr txBox="1"/>
          <p:nvPr/>
        </p:nvSpPr>
        <p:spPr>
          <a:xfrm flipH="1">
            <a:off x="7230795" y="4107278"/>
            <a:ext cx="2876317" cy="231410"/>
          </a:xfrm>
          <a:prstGeom prst="rect">
            <a:avLst/>
          </a:prstGeom>
          <a:noFill/>
        </p:spPr>
        <p:txBody>
          <a:bodyPr wrap="square" lIns="0" tIns="0" rIns="0" bIns="0" rtlCol="0" anchor="t">
            <a:spAutoFit/>
          </a:bodyPr>
          <a:lstStyle/>
          <a:p>
            <a:pPr algn="r">
              <a:lnSpc>
                <a:spcPct val="150000"/>
              </a:lnSpc>
            </a:pPr>
            <a:r>
              <a:rPr lang="en-US" altLang="zh-CN" sz="1100" b="0" dirty="0">
                <a:solidFill>
                  <a:schemeClr val="tx1">
                    <a:lumMod val="75000"/>
                    <a:lumOff val="25000"/>
                  </a:schemeClr>
                </a:solidFill>
                <a:effectLst/>
                <a:latin typeface="+mn-ea"/>
              </a:rPr>
              <a:t>Lorem ipsum dolor sit amet, consec</a:t>
            </a:r>
            <a:endParaRPr lang="zh-CN" altLang="en-US" sz="1100" dirty="0">
              <a:solidFill>
                <a:schemeClr val="tx1">
                  <a:lumMod val="75000"/>
                  <a:lumOff val="25000"/>
                </a:schemeClr>
              </a:solidFill>
            </a:endParaRPr>
          </a:p>
        </p:txBody>
      </p:sp>
      <p:sp>
        <p:nvSpPr>
          <p:cNvPr id="60" name="矩形: 圆角 59">
            <a:extLst>
              <a:ext uri="{FF2B5EF4-FFF2-40B4-BE49-F238E27FC236}">
                <a16:creationId xmlns:a16="http://schemas.microsoft.com/office/drawing/2014/main" id="{B73247C7-941D-448C-9CFF-602575668C5A}"/>
              </a:ext>
            </a:extLst>
          </p:cNvPr>
          <p:cNvSpPr/>
          <p:nvPr/>
        </p:nvSpPr>
        <p:spPr>
          <a:xfrm>
            <a:off x="1592549" y="3464383"/>
            <a:ext cx="4331208" cy="1298449"/>
          </a:xfrm>
          <a:prstGeom prst="roundRect">
            <a:avLst>
              <a:gd name="adj" fmla="val 50000"/>
            </a:avLst>
          </a:prstGeom>
          <a:solidFill>
            <a:schemeClr val="bg1"/>
          </a:solidFill>
          <a:ln w="12700" cap="flat" cmpd="sng" algn="ctr">
            <a:noFill/>
            <a:prstDash val="solid"/>
            <a:miter lim="800000"/>
          </a:ln>
          <a:effectLst>
            <a:outerShdw blurRad="228600" sx="102000" sy="102000" algn="ctr" rotWithShape="0">
              <a:schemeClr val="accent1">
                <a:lumMod val="50000"/>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1" name="椭圆 60">
            <a:extLst>
              <a:ext uri="{FF2B5EF4-FFF2-40B4-BE49-F238E27FC236}">
                <a16:creationId xmlns:a16="http://schemas.microsoft.com/office/drawing/2014/main" id="{53FA3597-C819-4FF1-BD2B-08B989B73271}"/>
              </a:ext>
            </a:extLst>
          </p:cNvPr>
          <p:cNvSpPr/>
          <p:nvPr/>
        </p:nvSpPr>
        <p:spPr>
          <a:xfrm>
            <a:off x="1430624" y="3801251"/>
            <a:ext cx="487870" cy="487870"/>
          </a:xfrm>
          <a:prstGeom prst="ellipse">
            <a:avLst/>
          </a:prstGeom>
          <a:solidFill>
            <a:schemeClr val="accent1"/>
          </a:solidFill>
          <a:ln w="12700" cap="flat" cmpd="sng" algn="ctr">
            <a:noFill/>
            <a:prstDash val="solid"/>
            <a:miter lim="800000"/>
          </a:ln>
          <a:effectLst/>
          <a:extLst>
            <a:ext uri="{91240B29-F687-4F45-9708-019B960494DF}">
              <a14:hiddenLine xmlns:a14="http://schemas.microsoft.com/office/drawing/2010/main" w="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3" name="文本框 62">
            <a:extLst>
              <a:ext uri="{FF2B5EF4-FFF2-40B4-BE49-F238E27FC236}">
                <a16:creationId xmlns:a16="http://schemas.microsoft.com/office/drawing/2014/main" id="{6FF976BC-7E01-4FD4-BFFA-A0D82EBDEAB1}"/>
              </a:ext>
            </a:extLst>
          </p:cNvPr>
          <p:cNvSpPr txBox="1"/>
          <p:nvPr/>
        </p:nvSpPr>
        <p:spPr>
          <a:xfrm>
            <a:off x="2127349" y="3764279"/>
            <a:ext cx="923330" cy="369332"/>
          </a:xfrm>
          <a:prstGeom prst="rect">
            <a:avLst/>
          </a:prstGeom>
          <a:noFill/>
        </p:spPr>
        <p:txBody>
          <a:bodyPr wrap="none" lIns="0" tIns="0" rIns="0" bIns="0" rtlCol="0" anchor="t">
            <a:spAutoFit/>
          </a:bodyPr>
          <a:lstStyle/>
          <a:p>
            <a:pPr algn="ctr"/>
            <a:r>
              <a:rPr lang="zh-CN" altLang="en-US" sz="2400" dirty="0">
                <a:solidFill>
                  <a:schemeClr val="accent1"/>
                </a:solidFill>
                <a:latin typeface="+mj-ea"/>
                <a:ea typeface="+mj-ea"/>
              </a:rPr>
              <a:t>关键词</a:t>
            </a:r>
          </a:p>
        </p:txBody>
      </p:sp>
      <p:sp>
        <p:nvSpPr>
          <p:cNvPr id="64" name="矩形: 圆角 63">
            <a:extLst>
              <a:ext uri="{FF2B5EF4-FFF2-40B4-BE49-F238E27FC236}">
                <a16:creationId xmlns:a16="http://schemas.microsoft.com/office/drawing/2014/main" id="{3BE2850E-A286-459E-97AB-0CAB5EAFFDC8}"/>
              </a:ext>
            </a:extLst>
          </p:cNvPr>
          <p:cNvSpPr/>
          <p:nvPr/>
        </p:nvSpPr>
        <p:spPr>
          <a:xfrm>
            <a:off x="1148842" y="1912628"/>
            <a:ext cx="4331208" cy="1298449"/>
          </a:xfrm>
          <a:prstGeom prst="roundRect">
            <a:avLst>
              <a:gd name="adj" fmla="val 50000"/>
            </a:avLst>
          </a:prstGeom>
          <a:solidFill>
            <a:schemeClr val="bg1"/>
          </a:solidFill>
          <a:ln w="12700" cap="flat" cmpd="sng" algn="ctr">
            <a:noFill/>
            <a:prstDash val="solid"/>
            <a:miter lim="800000"/>
          </a:ln>
          <a:effectLst>
            <a:outerShdw blurRad="228600" sx="102000" sy="102000" algn="ctr" rotWithShape="0">
              <a:schemeClr val="accent1">
                <a:lumMod val="50000"/>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5" name="椭圆 64">
            <a:extLst>
              <a:ext uri="{FF2B5EF4-FFF2-40B4-BE49-F238E27FC236}">
                <a16:creationId xmlns:a16="http://schemas.microsoft.com/office/drawing/2014/main" id="{0AAFDD2C-13D8-4B47-A087-487508686240}"/>
              </a:ext>
            </a:extLst>
          </p:cNvPr>
          <p:cNvSpPr/>
          <p:nvPr/>
        </p:nvSpPr>
        <p:spPr>
          <a:xfrm>
            <a:off x="986917" y="2249496"/>
            <a:ext cx="487870" cy="487870"/>
          </a:xfrm>
          <a:prstGeom prst="ellipse">
            <a:avLst/>
          </a:prstGeom>
          <a:solidFill>
            <a:schemeClr val="accent1"/>
          </a:solidFill>
          <a:ln w="12700" cap="flat" cmpd="sng" algn="ctr">
            <a:noFill/>
            <a:prstDash val="solid"/>
            <a:miter lim="800000"/>
          </a:ln>
          <a:effectLst/>
          <a:extLst>
            <a:ext uri="{91240B29-F687-4F45-9708-019B960494DF}">
              <a14:hiddenLine xmlns:a14="http://schemas.microsoft.com/office/drawing/2010/main" w="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6" name="user_209046">
            <a:extLst>
              <a:ext uri="{FF2B5EF4-FFF2-40B4-BE49-F238E27FC236}">
                <a16:creationId xmlns:a16="http://schemas.microsoft.com/office/drawing/2014/main" id="{2FED592E-D128-484B-A5E0-2CD0FFC91793}"/>
              </a:ext>
            </a:extLst>
          </p:cNvPr>
          <p:cNvSpPr/>
          <p:nvPr/>
        </p:nvSpPr>
        <p:spPr>
          <a:xfrm>
            <a:off x="1110742" y="2346330"/>
            <a:ext cx="261185" cy="235526"/>
          </a:xfrm>
          <a:custGeom>
            <a:avLst/>
            <a:gdLst>
              <a:gd name="connsiteX0" fmla="*/ 521432 w 608344"/>
              <a:gd name="connsiteY0" fmla="*/ 370453 h 548582"/>
              <a:gd name="connsiteX1" fmla="*/ 465737 w 608344"/>
              <a:gd name="connsiteY1" fmla="*/ 425787 h 548582"/>
              <a:gd name="connsiteX2" fmla="*/ 442491 w 608344"/>
              <a:gd name="connsiteY2" fmla="*/ 402479 h 548582"/>
              <a:gd name="connsiteX3" fmla="*/ 418201 w 608344"/>
              <a:gd name="connsiteY3" fmla="*/ 426545 h 548582"/>
              <a:gd name="connsiteX4" fmla="*/ 441447 w 608344"/>
              <a:gd name="connsiteY4" fmla="*/ 449948 h 548582"/>
              <a:gd name="connsiteX5" fmla="*/ 465642 w 608344"/>
              <a:gd name="connsiteY5" fmla="*/ 474204 h 548582"/>
              <a:gd name="connsiteX6" fmla="*/ 489932 w 608344"/>
              <a:gd name="connsiteY6" fmla="*/ 450043 h 548582"/>
              <a:gd name="connsiteX7" fmla="*/ 545532 w 608344"/>
              <a:gd name="connsiteY7" fmla="*/ 394709 h 548582"/>
              <a:gd name="connsiteX8" fmla="*/ 481962 w 608344"/>
              <a:gd name="connsiteY8" fmla="*/ 296170 h 548582"/>
              <a:gd name="connsiteX9" fmla="*/ 608344 w 608344"/>
              <a:gd name="connsiteY9" fmla="*/ 422376 h 548582"/>
              <a:gd name="connsiteX10" fmla="*/ 481962 w 608344"/>
              <a:gd name="connsiteY10" fmla="*/ 548582 h 548582"/>
              <a:gd name="connsiteX11" fmla="*/ 355579 w 608344"/>
              <a:gd name="connsiteY11" fmla="*/ 422376 h 548582"/>
              <a:gd name="connsiteX12" fmla="*/ 481962 w 608344"/>
              <a:gd name="connsiteY12" fmla="*/ 296170 h 548582"/>
              <a:gd name="connsiteX13" fmla="*/ 255835 w 608344"/>
              <a:gd name="connsiteY13" fmla="*/ 446 h 548582"/>
              <a:gd name="connsiteX14" fmla="*/ 317801 w 608344"/>
              <a:gd name="connsiteY14" fmla="*/ 13616 h 548582"/>
              <a:gd name="connsiteX15" fmla="*/ 348072 w 608344"/>
              <a:gd name="connsiteY15" fmla="*/ 41661 h 548582"/>
              <a:gd name="connsiteX16" fmla="*/ 381190 w 608344"/>
              <a:gd name="connsiteY16" fmla="*/ 146831 h 548582"/>
              <a:gd name="connsiteX17" fmla="*/ 378913 w 608344"/>
              <a:gd name="connsiteY17" fmla="*/ 156211 h 548582"/>
              <a:gd name="connsiteX18" fmla="*/ 387833 w 608344"/>
              <a:gd name="connsiteY18" fmla="*/ 200458 h 548582"/>
              <a:gd name="connsiteX19" fmla="*/ 366387 w 608344"/>
              <a:gd name="connsiteY19" fmla="*/ 237694 h 548582"/>
              <a:gd name="connsiteX20" fmla="*/ 351393 w 608344"/>
              <a:gd name="connsiteY20" fmla="*/ 278720 h 548582"/>
              <a:gd name="connsiteX21" fmla="*/ 351393 w 608344"/>
              <a:gd name="connsiteY21" fmla="*/ 322873 h 548582"/>
              <a:gd name="connsiteX22" fmla="*/ 317611 w 608344"/>
              <a:gd name="connsiteY22" fmla="*/ 422358 h 548582"/>
              <a:gd name="connsiteX23" fmla="*/ 376635 w 608344"/>
              <a:gd name="connsiteY23" fmla="*/ 548088 h 548582"/>
              <a:gd name="connsiteX24" fmla="*/ 26855 w 608344"/>
              <a:gd name="connsiteY24" fmla="*/ 548088 h 548582"/>
              <a:gd name="connsiteX25" fmla="*/ 0 w 608344"/>
              <a:gd name="connsiteY25" fmla="*/ 521274 h 548582"/>
              <a:gd name="connsiteX26" fmla="*/ 0 w 608344"/>
              <a:gd name="connsiteY26" fmla="*/ 473806 h 548582"/>
              <a:gd name="connsiteX27" fmla="*/ 19453 w 608344"/>
              <a:gd name="connsiteY27" fmla="*/ 432969 h 548582"/>
              <a:gd name="connsiteX28" fmla="*/ 173751 w 608344"/>
              <a:gd name="connsiteY28" fmla="*/ 334242 h 548582"/>
              <a:gd name="connsiteX29" fmla="*/ 176408 w 608344"/>
              <a:gd name="connsiteY29" fmla="*/ 329884 h 548582"/>
              <a:gd name="connsiteX30" fmla="*/ 176408 w 608344"/>
              <a:gd name="connsiteY30" fmla="*/ 278720 h 548582"/>
              <a:gd name="connsiteX31" fmla="*/ 161320 w 608344"/>
              <a:gd name="connsiteY31" fmla="*/ 237694 h 548582"/>
              <a:gd name="connsiteX32" fmla="*/ 139969 w 608344"/>
              <a:gd name="connsiteY32" fmla="*/ 200458 h 548582"/>
              <a:gd name="connsiteX33" fmla="*/ 148320 w 608344"/>
              <a:gd name="connsiteY33" fmla="*/ 156211 h 548582"/>
              <a:gd name="connsiteX34" fmla="*/ 146042 w 608344"/>
              <a:gd name="connsiteY34" fmla="*/ 146736 h 548582"/>
              <a:gd name="connsiteX35" fmla="*/ 145758 w 608344"/>
              <a:gd name="connsiteY35" fmla="*/ 95099 h 548582"/>
              <a:gd name="connsiteX36" fmla="*/ 176029 w 608344"/>
              <a:gd name="connsiteY36" fmla="*/ 42135 h 548582"/>
              <a:gd name="connsiteX37" fmla="*/ 203928 w 608344"/>
              <a:gd name="connsiteY37" fmla="*/ 19017 h 548582"/>
              <a:gd name="connsiteX38" fmla="*/ 231162 w 608344"/>
              <a:gd name="connsiteY38" fmla="*/ 5089 h 548582"/>
              <a:gd name="connsiteX39" fmla="*/ 255835 w 608344"/>
              <a:gd name="connsiteY39" fmla="*/ 446 h 548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608344" h="548582">
                <a:moveTo>
                  <a:pt x="521432" y="370453"/>
                </a:moveTo>
                <a:lnTo>
                  <a:pt x="465737" y="425787"/>
                </a:lnTo>
                <a:lnTo>
                  <a:pt x="442491" y="402479"/>
                </a:lnTo>
                <a:lnTo>
                  <a:pt x="418201" y="426545"/>
                </a:lnTo>
                <a:lnTo>
                  <a:pt x="441447" y="449948"/>
                </a:lnTo>
                <a:lnTo>
                  <a:pt x="465642" y="474204"/>
                </a:lnTo>
                <a:lnTo>
                  <a:pt x="489932" y="450043"/>
                </a:lnTo>
                <a:lnTo>
                  <a:pt x="545532" y="394709"/>
                </a:lnTo>
                <a:close/>
                <a:moveTo>
                  <a:pt x="481962" y="296170"/>
                </a:moveTo>
                <a:cubicBezTo>
                  <a:pt x="551795" y="296170"/>
                  <a:pt x="608344" y="352641"/>
                  <a:pt x="608344" y="422376"/>
                </a:cubicBezTo>
                <a:cubicBezTo>
                  <a:pt x="608344" y="492111"/>
                  <a:pt x="551795" y="548582"/>
                  <a:pt x="481962" y="548582"/>
                </a:cubicBezTo>
                <a:cubicBezTo>
                  <a:pt x="412129" y="548582"/>
                  <a:pt x="355579" y="492111"/>
                  <a:pt x="355579" y="422376"/>
                </a:cubicBezTo>
                <a:cubicBezTo>
                  <a:pt x="355579" y="352641"/>
                  <a:pt x="412129" y="296170"/>
                  <a:pt x="481962" y="296170"/>
                </a:cubicBezTo>
                <a:close/>
                <a:moveTo>
                  <a:pt x="255835" y="446"/>
                </a:moveTo>
                <a:cubicBezTo>
                  <a:pt x="282785" y="-1828"/>
                  <a:pt x="303187" y="4899"/>
                  <a:pt x="317801" y="13616"/>
                </a:cubicBezTo>
                <a:cubicBezTo>
                  <a:pt x="339721" y="25744"/>
                  <a:pt x="348072" y="41661"/>
                  <a:pt x="348072" y="41661"/>
                </a:cubicBezTo>
                <a:cubicBezTo>
                  <a:pt x="348072" y="41661"/>
                  <a:pt x="398176" y="45167"/>
                  <a:pt x="381190" y="146831"/>
                </a:cubicBezTo>
                <a:cubicBezTo>
                  <a:pt x="380621" y="149863"/>
                  <a:pt x="379862" y="153085"/>
                  <a:pt x="378913" y="156211"/>
                </a:cubicBezTo>
                <a:cubicBezTo>
                  <a:pt x="388592" y="156211"/>
                  <a:pt x="398271" y="163507"/>
                  <a:pt x="387833" y="200458"/>
                </a:cubicBezTo>
                <a:cubicBezTo>
                  <a:pt x="379672" y="229262"/>
                  <a:pt x="372080" y="237221"/>
                  <a:pt x="366387" y="237694"/>
                </a:cubicBezTo>
                <a:cubicBezTo>
                  <a:pt x="364394" y="250675"/>
                  <a:pt x="359175" y="265076"/>
                  <a:pt x="351393" y="278720"/>
                </a:cubicBezTo>
                <a:lnTo>
                  <a:pt x="351393" y="322873"/>
                </a:lnTo>
                <a:cubicBezTo>
                  <a:pt x="330232" y="350539"/>
                  <a:pt x="317611" y="385027"/>
                  <a:pt x="317611" y="422358"/>
                </a:cubicBezTo>
                <a:cubicBezTo>
                  <a:pt x="317611" y="472764"/>
                  <a:pt x="340480" y="518053"/>
                  <a:pt x="376635" y="548088"/>
                </a:cubicBezTo>
                <a:lnTo>
                  <a:pt x="26855" y="548088"/>
                </a:lnTo>
                <a:cubicBezTo>
                  <a:pt x="12052" y="548088"/>
                  <a:pt x="0" y="536055"/>
                  <a:pt x="0" y="521274"/>
                </a:cubicBezTo>
                <a:lnTo>
                  <a:pt x="0" y="473806"/>
                </a:lnTo>
                <a:cubicBezTo>
                  <a:pt x="0" y="457983"/>
                  <a:pt x="7212" y="443013"/>
                  <a:pt x="19453" y="432969"/>
                </a:cubicBezTo>
                <a:cubicBezTo>
                  <a:pt x="86638" y="377921"/>
                  <a:pt x="159043" y="341443"/>
                  <a:pt x="173751" y="334242"/>
                </a:cubicBezTo>
                <a:cubicBezTo>
                  <a:pt x="175365" y="333484"/>
                  <a:pt x="176408" y="331779"/>
                  <a:pt x="176408" y="329884"/>
                </a:cubicBezTo>
                <a:lnTo>
                  <a:pt x="176408" y="278720"/>
                </a:lnTo>
                <a:cubicBezTo>
                  <a:pt x="168437" y="265076"/>
                  <a:pt x="163313" y="250675"/>
                  <a:pt x="161320" y="237694"/>
                </a:cubicBezTo>
                <a:cubicBezTo>
                  <a:pt x="155627" y="237221"/>
                  <a:pt x="148035" y="229072"/>
                  <a:pt x="139969" y="200458"/>
                </a:cubicBezTo>
                <a:cubicBezTo>
                  <a:pt x="129531" y="164170"/>
                  <a:pt x="138925" y="156496"/>
                  <a:pt x="148320" y="156211"/>
                </a:cubicBezTo>
                <a:cubicBezTo>
                  <a:pt x="147371" y="153085"/>
                  <a:pt x="146612" y="149863"/>
                  <a:pt x="146042" y="146736"/>
                </a:cubicBezTo>
                <a:cubicBezTo>
                  <a:pt x="142436" y="128450"/>
                  <a:pt x="141487" y="111396"/>
                  <a:pt x="145758" y="95099"/>
                </a:cubicBezTo>
                <a:cubicBezTo>
                  <a:pt x="150787" y="73212"/>
                  <a:pt x="162744" y="55684"/>
                  <a:pt x="176029" y="42135"/>
                </a:cubicBezTo>
                <a:cubicBezTo>
                  <a:pt x="184379" y="33134"/>
                  <a:pt x="193869" y="25459"/>
                  <a:pt x="203928" y="19017"/>
                </a:cubicBezTo>
                <a:cubicBezTo>
                  <a:pt x="212183" y="13332"/>
                  <a:pt x="221293" y="8405"/>
                  <a:pt x="231162" y="5089"/>
                </a:cubicBezTo>
                <a:cubicBezTo>
                  <a:pt x="238849" y="2625"/>
                  <a:pt x="247105" y="825"/>
                  <a:pt x="255835" y="446"/>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7" name="文本框 66">
            <a:extLst>
              <a:ext uri="{FF2B5EF4-FFF2-40B4-BE49-F238E27FC236}">
                <a16:creationId xmlns:a16="http://schemas.microsoft.com/office/drawing/2014/main" id="{1922482C-FE3E-44A7-91C1-AC6065E0B933}"/>
              </a:ext>
            </a:extLst>
          </p:cNvPr>
          <p:cNvSpPr txBox="1"/>
          <p:nvPr/>
        </p:nvSpPr>
        <p:spPr>
          <a:xfrm>
            <a:off x="1683642" y="2238859"/>
            <a:ext cx="923330" cy="369332"/>
          </a:xfrm>
          <a:prstGeom prst="rect">
            <a:avLst/>
          </a:prstGeom>
          <a:noFill/>
        </p:spPr>
        <p:txBody>
          <a:bodyPr wrap="none" lIns="0" tIns="0" rIns="0" bIns="0" rtlCol="0" anchor="t">
            <a:spAutoFit/>
          </a:bodyPr>
          <a:lstStyle/>
          <a:p>
            <a:pPr algn="ctr"/>
            <a:r>
              <a:rPr lang="zh-CN" altLang="en-US" sz="2400" dirty="0">
                <a:solidFill>
                  <a:schemeClr val="accent1"/>
                </a:solidFill>
                <a:latin typeface="+mj-ea"/>
                <a:ea typeface="+mj-ea"/>
              </a:rPr>
              <a:t>关键词</a:t>
            </a:r>
          </a:p>
        </p:txBody>
      </p:sp>
      <p:sp>
        <p:nvSpPr>
          <p:cNvPr id="68" name="文本框 67">
            <a:extLst>
              <a:ext uri="{FF2B5EF4-FFF2-40B4-BE49-F238E27FC236}">
                <a16:creationId xmlns:a16="http://schemas.microsoft.com/office/drawing/2014/main" id="{9073F013-8153-4AC5-B634-C13D989564EA}"/>
              </a:ext>
            </a:extLst>
          </p:cNvPr>
          <p:cNvSpPr txBox="1"/>
          <p:nvPr/>
        </p:nvSpPr>
        <p:spPr>
          <a:xfrm>
            <a:off x="1698857" y="2579800"/>
            <a:ext cx="2876317" cy="231410"/>
          </a:xfrm>
          <a:prstGeom prst="rect">
            <a:avLst/>
          </a:prstGeom>
          <a:noFill/>
        </p:spPr>
        <p:txBody>
          <a:bodyPr wrap="square" lIns="0" tIns="0" rIns="0" bIns="0" rtlCol="0" anchor="t">
            <a:spAutoFit/>
          </a:bodyPr>
          <a:lstStyle/>
          <a:p>
            <a:pPr>
              <a:lnSpc>
                <a:spcPct val="150000"/>
              </a:lnSpc>
            </a:pPr>
            <a:r>
              <a:rPr lang="en-US" altLang="zh-CN" sz="1100" b="0" dirty="0">
                <a:solidFill>
                  <a:schemeClr val="tx1">
                    <a:lumMod val="75000"/>
                    <a:lumOff val="25000"/>
                  </a:schemeClr>
                </a:solidFill>
                <a:effectLst/>
                <a:latin typeface="+mn-ea"/>
              </a:rPr>
              <a:t>Lorem ipsum dolor sit amet, consec</a:t>
            </a:r>
            <a:endParaRPr lang="zh-CN" altLang="en-US" sz="1100" dirty="0">
              <a:solidFill>
                <a:schemeClr val="tx1">
                  <a:lumMod val="75000"/>
                  <a:lumOff val="25000"/>
                </a:schemeClr>
              </a:solidFill>
            </a:endParaRPr>
          </a:p>
        </p:txBody>
      </p:sp>
      <p:sp>
        <p:nvSpPr>
          <p:cNvPr id="69" name="文本框 68">
            <a:extLst>
              <a:ext uri="{FF2B5EF4-FFF2-40B4-BE49-F238E27FC236}">
                <a16:creationId xmlns:a16="http://schemas.microsoft.com/office/drawing/2014/main" id="{7058AAE5-BCF5-4B5C-A061-C8BF4D63EC2D}"/>
              </a:ext>
            </a:extLst>
          </p:cNvPr>
          <p:cNvSpPr txBox="1"/>
          <p:nvPr/>
        </p:nvSpPr>
        <p:spPr>
          <a:xfrm>
            <a:off x="2127349" y="4107278"/>
            <a:ext cx="2876317" cy="231410"/>
          </a:xfrm>
          <a:prstGeom prst="rect">
            <a:avLst/>
          </a:prstGeom>
          <a:noFill/>
        </p:spPr>
        <p:txBody>
          <a:bodyPr wrap="square" lIns="0" tIns="0" rIns="0" bIns="0" rtlCol="0" anchor="t">
            <a:spAutoFit/>
          </a:bodyPr>
          <a:lstStyle/>
          <a:p>
            <a:pPr>
              <a:lnSpc>
                <a:spcPct val="150000"/>
              </a:lnSpc>
            </a:pPr>
            <a:r>
              <a:rPr lang="en-US" altLang="zh-CN" sz="1100" b="0" dirty="0">
                <a:solidFill>
                  <a:schemeClr val="tx1">
                    <a:lumMod val="75000"/>
                    <a:lumOff val="25000"/>
                  </a:schemeClr>
                </a:solidFill>
                <a:effectLst/>
                <a:latin typeface="+mn-ea"/>
              </a:rPr>
              <a:t>Lorem ipsum dolor sit amet, consec</a:t>
            </a:r>
            <a:endParaRPr lang="zh-CN" altLang="en-US" sz="1100" dirty="0">
              <a:solidFill>
                <a:schemeClr val="tx1">
                  <a:lumMod val="75000"/>
                  <a:lumOff val="25000"/>
                </a:schemeClr>
              </a:solidFill>
            </a:endParaRPr>
          </a:p>
        </p:txBody>
      </p:sp>
      <p:sp>
        <p:nvSpPr>
          <p:cNvPr id="70" name="流程图: 文档 69">
            <a:extLst>
              <a:ext uri="{FF2B5EF4-FFF2-40B4-BE49-F238E27FC236}">
                <a16:creationId xmlns:a16="http://schemas.microsoft.com/office/drawing/2014/main" id="{C48D5485-60B4-4610-BC15-D335CF40168D}"/>
              </a:ext>
            </a:extLst>
          </p:cNvPr>
          <p:cNvSpPr/>
          <p:nvPr/>
        </p:nvSpPr>
        <p:spPr>
          <a:xfrm>
            <a:off x="4662488" y="1714500"/>
            <a:ext cx="2867025" cy="4157409"/>
          </a:xfrm>
          <a:prstGeom prst="flowChartDocument">
            <a:avLst/>
          </a:prstGeom>
          <a:solidFill>
            <a:schemeClr val="accent1"/>
          </a:solidFill>
          <a:ln w="12700" cap="flat" cmpd="sng" algn="ctr">
            <a:noFill/>
            <a:prstDash val="solid"/>
            <a:miter lim="800000"/>
          </a:ln>
          <a:effectLst>
            <a:outerShdw blurRad="228600" sx="102000" sy="102000" algn="ctr" rotWithShape="0">
              <a:schemeClr val="accent1">
                <a:lumMod val="50000"/>
                <a:alpha val="20000"/>
              </a:schemeClr>
            </a:outerShdw>
          </a:effectLst>
          <a:extLst>
            <a:ext uri="{91240B29-F687-4F45-9708-019B960494DF}">
              <a14:hiddenLine xmlns:a14="http://schemas.microsoft.com/office/drawing/2010/main" w="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1" name="文本框 70">
            <a:extLst>
              <a:ext uri="{FF2B5EF4-FFF2-40B4-BE49-F238E27FC236}">
                <a16:creationId xmlns:a16="http://schemas.microsoft.com/office/drawing/2014/main" id="{877491E0-721D-44F7-B491-5783D1A12315}"/>
              </a:ext>
            </a:extLst>
          </p:cNvPr>
          <p:cNvSpPr txBox="1"/>
          <p:nvPr/>
        </p:nvSpPr>
        <p:spPr>
          <a:xfrm>
            <a:off x="5275263" y="2529953"/>
            <a:ext cx="1641475" cy="492443"/>
          </a:xfrm>
          <a:prstGeom prst="rect">
            <a:avLst/>
          </a:prstGeom>
          <a:noFill/>
        </p:spPr>
        <p:txBody>
          <a:bodyPr wrap="none" lIns="0" tIns="0" rIns="0" bIns="0" rtlCol="0" anchor="t">
            <a:spAutoFit/>
          </a:bodyPr>
          <a:lstStyle/>
          <a:p>
            <a:pPr algn="ctr"/>
            <a:r>
              <a:rPr lang="zh-CN" altLang="en-US" sz="3200" dirty="0">
                <a:solidFill>
                  <a:schemeClr val="bg1"/>
                </a:solidFill>
                <a:latin typeface="+mj-ea"/>
                <a:ea typeface="+mj-ea"/>
              </a:rPr>
              <a:t>核心功能</a:t>
            </a:r>
          </a:p>
        </p:txBody>
      </p:sp>
      <p:sp>
        <p:nvSpPr>
          <p:cNvPr id="72" name="文本框 71">
            <a:extLst>
              <a:ext uri="{FF2B5EF4-FFF2-40B4-BE49-F238E27FC236}">
                <a16:creationId xmlns:a16="http://schemas.microsoft.com/office/drawing/2014/main" id="{16367825-E905-4318-BB7D-497B01EC53D3}"/>
              </a:ext>
            </a:extLst>
          </p:cNvPr>
          <p:cNvSpPr txBox="1"/>
          <p:nvPr/>
        </p:nvSpPr>
        <p:spPr>
          <a:xfrm>
            <a:off x="4862512" y="3249978"/>
            <a:ext cx="2466975" cy="940770"/>
          </a:xfrm>
          <a:prstGeom prst="rect">
            <a:avLst/>
          </a:prstGeom>
          <a:noFill/>
        </p:spPr>
        <p:txBody>
          <a:bodyPr wrap="square" lIns="0" tIns="0" rIns="0" bIns="0" rtlCol="0" anchor="t">
            <a:spAutoFit/>
          </a:bodyPr>
          <a:lstStyle/>
          <a:p>
            <a:pPr algn="ctr">
              <a:lnSpc>
                <a:spcPct val="150000"/>
              </a:lnSpc>
            </a:pPr>
            <a:r>
              <a:rPr lang="en-US" altLang="zh-CN" sz="1400" b="0" dirty="0">
                <a:solidFill>
                  <a:schemeClr val="bg1"/>
                </a:solidFill>
                <a:effectLst/>
                <a:latin typeface="+mn-ea"/>
              </a:rPr>
              <a:t>Lorem ipsum dolor sit amet, consectetur adipisicing elit, sed do eiusmod tempor</a:t>
            </a:r>
            <a:endParaRPr lang="zh-CN" altLang="en-US" sz="1400" dirty="0">
              <a:solidFill>
                <a:schemeClr val="bg1"/>
              </a:solidFill>
            </a:endParaRPr>
          </a:p>
        </p:txBody>
      </p:sp>
      <p:sp>
        <p:nvSpPr>
          <p:cNvPr id="73" name="矩形 72">
            <a:extLst>
              <a:ext uri="{FF2B5EF4-FFF2-40B4-BE49-F238E27FC236}">
                <a16:creationId xmlns:a16="http://schemas.microsoft.com/office/drawing/2014/main" id="{B02FF72B-8146-4BE3-B469-7898FD46C292}"/>
              </a:ext>
            </a:extLst>
          </p:cNvPr>
          <p:cNvSpPr/>
          <p:nvPr/>
        </p:nvSpPr>
        <p:spPr>
          <a:xfrm>
            <a:off x="5867400" y="3160000"/>
            <a:ext cx="457200" cy="45719"/>
          </a:xfrm>
          <a:prstGeom prst="rect">
            <a:avLst/>
          </a:prstGeom>
          <a:solidFill>
            <a:schemeClr val="bg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4" name="user_209046">
            <a:extLst>
              <a:ext uri="{FF2B5EF4-FFF2-40B4-BE49-F238E27FC236}">
                <a16:creationId xmlns:a16="http://schemas.microsoft.com/office/drawing/2014/main" id="{1A483286-C0DB-4217-90B7-AC4A9FA82739}"/>
              </a:ext>
            </a:extLst>
          </p:cNvPr>
          <p:cNvSpPr/>
          <p:nvPr/>
        </p:nvSpPr>
        <p:spPr>
          <a:xfrm>
            <a:off x="10427089" y="3931078"/>
            <a:ext cx="257182" cy="248016"/>
          </a:xfrm>
          <a:custGeom>
            <a:avLst/>
            <a:gdLst>
              <a:gd name="T0" fmla="*/ 11888 w 12803"/>
              <a:gd name="T1" fmla="*/ 0 h 12345"/>
              <a:gd name="T2" fmla="*/ 914 w 12803"/>
              <a:gd name="T3" fmla="*/ 0 h 12345"/>
              <a:gd name="T4" fmla="*/ 0 w 12803"/>
              <a:gd name="T5" fmla="*/ 914 h 12345"/>
              <a:gd name="T6" fmla="*/ 0 w 12803"/>
              <a:gd name="T7" fmla="*/ 8687 h 12345"/>
              <a:gd name="T8" fmla="*/ 914 w 12803"/>
              <a:gd name="T9" fmla="*/ 9602 h 12345"/>
              <a:gd name="T10" fmla="*/ 3201 w 12803"/>
              <a:gd name="T11" fmla="*/ 9602 h 12345"/>
              <a:gd name="T12" fmla="*/ 3201 w 12803"/>
              <a:gd name="T13" fmla="*/ 12345 h 12345"/>
              <a:gd name="T14" fmla="*/ 8230 w 12803"/>
              <a:gd name="T15" fmla="*/ 9602 h 12345"/>
              <a:gd name="T16" fmla="*/ 11888 w 12803"/>
              <a:gd name="T17" fmla="*/ 9602 h 12345"/>
              <a:gd name="T18" fmla="*/ 12803 w 12803"/>
              <a:gd name="T19" fmla="*/ 8687 h 12345"/>
              <a:gd name="T20" fmla="*/ 12803 w 12803"/>
              <a:gd name="T21" fmla="*/ 914 h 12345"/>
              <a:gd name="T22" fmla="*/ 11888 w 12803"/>
              <a:gd name="T23" fmla="*/ 0 h 12345"/>
              <a:gd name="T24" fmla="*/ 3201 w 12803"/>
              <a:gd name="T25" fmla="*/ 5487 h 12345"/>
              <a:gd name="T26" fmla="*/ 2286 w 12803"/>
              <a:gd name="T27" fmla="*/ 4572 h 12345"/>
              <a:gd name="T28" fmla="*/ 3201 w 12803"/>
              <a:gd name="T29" fmla="*/ 3658 h 12345"/>
              <a:gd name="T30" fmla="*/ 4115 w 12803"/>
              <a:gd name="T31" fmla="*/ 4572 h 12345"/>
              <a:gd name="T32" fmla="*/ 3201 w 12803"/>
              <a:gd name="T33" fmla="*/ 5487 h 12345"/>
              <a:gd name="T34" fmla="*/ 6401 w 12803"/>
              <a:gd name="T35" fmla="*/ 5487 h 12345"/>
              <a:gd name="T36" fmla="*/ 5487 w 12803"/>
              <a:gd name="T37" fmla="*/ 4572 h 12345"/>
              <a:gd name="T38" fmla="*/ 6401 w 12803"/>
              <a:gd name="T39" fmla="*/ 3658 h 12345"/>
              <a:gd name="T40" fmla="*/ 7316 w 12803"/>
              <a:gd name="T41" fmla="*/ 4572 h 12345"/>
              <a:gd name="T42" fmla="*/ 6401 w 12803"/>
              <a:gd name="T43" fmla="*/ 5487 h 12345"/>
              <a:gd name="T44" fmla="*/ 9602 w 12803"/>
              <a:gd name="T45" fmla="*/ 5487 h 12345"/>
              <a:gd name="T46" fmla="*/ 8687 w 12803"/>
              <a:gd name="T47" fmla="*/ 4572 h 12345"/>
              <a:gd name="T48" fmla="*/ 9602 w 12803"/>
              <a:gd name="T49" fmla="*/ 3658 h 12345"/>
              <a:gd name="T50" fmla="*/ 10516 w 12803"/>
              <a:gd name="T51" fmla="*/ 4572 h 12345"/>
              <a:gd name="T52" fmla="*/ 9602 w 12803"/>
              <a:gd name="T53" fmla="*/ 5487 h 12345"/>
              <a:gd name="T54" fmla="*/ 9602 w 12803"/>
              <a:gd name="T55" fmla="*/ 5487 h 123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2803" h="12345">
                <a:moveTo>
                  <a:pt x="11888" y="0"/>
                </a:moveTo>
                <a:lnTo>
                  <a:pt x="914" y="0"/>
                </a:lnTo>
                <a:cubicBezTo>
                  <a:pt x="409" y="0"/>
                  <a:pt x="0" y="409"/>
                  <a:pt x="0" y="914"/>
                </a:cubicBezTo>
                <a:lnTo>
                  <a:pt x="0" y="8687"/>
                </a:lnTo>
                <a:cubicBezTo>
                  <a:pt x="0" y="9193"/>
                  <a:pt x="409" y="9602"/>
                  <a:pt x="914" y="9602"/>
                </a:cubicBezTo>
                <a:lnTo>
                  <a:pt x="3201" y="9602"/>
                </a:lnTo>
                <a:lnTo>
                  <a:pt x="3201" y="12345"/>
                </a:lnTo>
                <a:lnTo>
                  <a:pt x="8230" y="9602"/>
                </a:lnTo>
                <a:lnTo>
                  <a:pt x="11888" y="9602"/>
                </a:lnTo>
                <a:cubicBezTo>
                  <a:pt x="12393" y="9602"/>
                  <a:pt x="12803" y="9193"/>
                  <a:pt x="12803" y="8687"/>
                </a:cubicBezTo>
                <a:lnTo>
                  <a:pt x="12803" y="914"/>
                </a:lnTo>
                <a:cubicBezTo>
                  <a:pt x="12803" y="409"/>
                  <a:pt x="12393" y="0"/>
                  <a:pt x="11888" y="0"/>
                </a:cubicBezTo>
                <a:close/>
                <a:moveTo>
                  <a:pt x="3201" y="5487"/>
                </a:moveTo>
                <a:cubicBezTo>
                  <a:pt x="2695" y="5487"/>
                  <a:pt x="2286" y="5077"/>
                  <a:pt x="2286" y="4572"/>
                </a:cubicBezTo>
                <a:cubicBezTo>
                  <a:pt x="2286" y="4067"/>
                  <a:pt x="2695" y="3658"/>
                  <a:pt x="3201" y="3658"/>
                </a:cubicBezTo>
                <a:cubicBezTo>
                  <a:pt x="3706" y="3658"/>
                  <a:pt x="4115" y="4067"/>
                  <a:pt x="4115" y="4572"/>
                </a:cubicBezTo>
                <a:cubicBezTo>
                  <a:pt x="4115" y="5077"/>
                  <a:pt x="3706" y="5487"/>
                  <a:pt x="3201" y="5487"/>
                </a:cubicBezTo>
                <a:close/>
                <a:moveTo>
                  <a:pt x="6401" y="5487"/>
                </a:moveTo>
                <a:cubicBezTo>
                  <a:pt x="5896" y="5487"/>
                  <a:pt x="5487" y="5077"/>
                  <a:pt x="5487" y="4572"/>
                </a:cubicBezTo>
                <a:cubicBezTo>
                  <a:pt x="5487" y="4067"/>
                  <a:pt x="5896" y="3658"/>
                  <a:pt x="6401" y="3658"/>
                </a:cubicBezTo>
                <a:cubicBezTo>
                  <a:pt x="6907" y="3658"/>
                  <a:pt x="7316" y="4067"/>
                  <a:pt x="7316" y="4572"/>
                </a:cubicBezTo>
                <a:cubicBezTo>
                  <a:pt x="7316" y="5077"/>
                  <a:pt x="6907" y="5487"/>
                  <a:pt x="6401" y="5487"/>
                </a:cubicBezTo>
                <a:close/>
                <a:moveTo>
                  <a:pt x="9602" y="5487"/>
                </a:moveTo>
                <a:cubicBezTo>
                  <a:pt x="9097" y="5487"/>
                  <a:pt x="8687" y="5077"/>
                  <a:pt x="8687" y="4572"/>
                </a:cubicBezTo>
                <a:cubicBezTo>
                  <a:pt x="8687" y="4067"/>
                  <a:pt x="9097" y="3658"/>
                  <a:pt x="9602" y="3658"/>
                </a:cubicBezTo>
                <a:cubicBezTo>
                  <a:pt x="10107" y="3658"/>
                  <a:pt x="10516" y="4067"/>
                  <a:pt x="10516" y="4572"/>
                </a:cubicBezTo>
                <a:cubicBezTo>
                  <a:pt x="10516" y="5077"/>
                  <a:pt x="10107" y="5487"/>
                  <a:pt x="9602" y="5487"/>
                </a:cubicBezTo>
                <a:close/>
                <a:moveTo>
                  <a:pt x="9602" y="5487"/>
                </a:move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sp>
        <p:nvSpPr>
          <p:cNvPr id="75" name="user_209046">
            <a:extLst>
              <a:ext uri="{FF2B5EF4-FFF2-40B4-BE49-F238E27FC236}">
                <a16:creationId xmlns:a16="http://schemas.microsoft.com/office/drawing/2014/main" id="{3FFE5EA7-C19C-4BC2-80DB-AC0A3E82064E}"/>
              </a:ext>
            </a:extLst>
          </p:cNvPr>
          <p:cNvSpPr/>
          <p:nvPr/>
        </p:nvSpPr>
        <p:spPr>
          <a:xfrm>
            <a:off x="10852278" y="2352531"/>
            <a:ext cx="219455" cy="269503"/>
          </a:xfrm>
          <a:custGeom>
            <a:avLst/>
            <a:gdLst>
              <a:gd name="T0" fmla="*/ 4225 w 8450"/>
              <a:gd name="T1" fmla="*/ 0 h 10376"/>
              <a:gd name="T2" fmla="*/ 0 w 8450"/>
              <a:gd name="T3" fmla="*/ 4225 h 10376"/>
              <a:gd name="T4" fmla="*/ 4225 w 8450"/>
              <a:gd name="T5" fmla="*/ 8450 h 10376"/>
              <a:gd name="T6" fmla="*/ 8450 w 8450"/>
              <a:gd name="T7" fmla="*/ 4225 h 10376"/>
              <a:gd name="T8" fmla="*/ 4225 w 8450"/>
              <a:gd name="T9" fmla="*/ 0 h 10376"/>
              <a:gd name="T10" fmla="*/ 4225 w 8450"/>
              <a:gd name="T11" fmla="*/ 6092 h 10376"/>
              <a:gd name="T12" fmla="*/ 2359 w 8450"/>
              <a:gd name="T13" fmla="*/ 4226 h 10376"/>
              <a:gd name="T14" fmla="*/ 4225 w 8450"/>
              <a:gd name="T15" fmla="*/ 2360 h 10376"/>
              <a:gd name="T16" fmla="*/ 6092 w 8450"/>
              <a:gd name="T17" fmla="*/ 4226 h 10376"/>
              <a:gd name="T18" fmla="*/ 4225 w 8450"/>
              <a:gd name="T19" fmla="*/ 6092 h 10376"/>
              <a:gd name="T20" fmla="*/ 6682 w 8450"/>
              <a:gd name="T21" fmla="*/ 8571 h 10376"/>
              <a:gd name="T22" fmla="*/ 6322 w 8450"/>
              <a:gd name="T23" fmla="*/ 8582 h 10376"/>
              <a:gd name="T24" fmla="*/ 4225 w 8450"/>
              <a:gd name="T25" fmla="*/ 9225 h 10376"/>
              <a:gd name="T26" fmla="*/ 2180 w 8450"/>
              <a:gd name="T27" fmla="*/ 8611 h 10376"/>
              <a:gd name="T28" fmla="*/ 1793 w 8450"/>
              <a:gd name="T29" fmla="*/ 8620 h 10376"/>
              <a:gd name="T30" fmla="*/ 1533 w 8450"/>
              <a:gd name="T31" fmla="*/ 8956 h 10376"/>
              <a:gd name="T32" fmla="*/ 1352 w 8450"/>
              <a:gd name="T33" fmla="*/ 9871 h 10376"/>
              <a:gd name="T34" fmla="*/ 1857 w 8450"/>
              <a:gd name="T35" fmla="*/ 10376 h 10376"/>
              <a:gd name="T36" fmla="*/ 6680 w 8450"/>
              <a:gd name="T37" fmla="*/ 10376 h 10376"/>
              <a:gd name="T38" fmla="*/ 7185 w 8450"/>
              <a:gd name="T39" fmla="*/ 9871 h 10376"/>
              <a:gd name="T40" fmla="*/ 7004 w 8450"/>
              <a:gd name="T41" fmla="*/ 8956 h 10376"/>
              <a:gd name="T42" fmla="*/ 6682 w 8450"/>
              <a:gd name="T43" fmla="*/ 8571 h 10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450" h="10376">
                <a:moveTo>
                  <a:pt x="4225" y="0"/>
                </a:moveTo>
                <a:cubicBezTo>
                  <a:pt x="1892" y="0"/>
                  <a:pt x="0" y="1891"/>
                  <a:pt x="0" y="4225"/>
                </a:cubicBezTo>
                <a:cubicBezTo>
                  <a:pt x="0" y="6558"/>
                  <a:pt x="1892" y="8450"/>
                  <a:pt x="4225" y="8450"/>
                </a:cubicBezTo>
                <a:cubicBezTo>
                  <a:pt x="6559" y="8450"/>
                  <a:pt x="8450" y="6558"/>
                  <a:pt x="8450" y="4225"/>
                </a:cubicBezTo>
                <a:cubicBezTo>
                  <a:pt x="8450" y="1892"/>
                  <a:pt x="6559" y="0"/>
                  <a:pt x="4225" y="0"/>
                </a:cubicBezTo>
                <a:close/>
                <a:moveTo>
                  <a:pt x="4225" y="6092"/>
                </a:moveTo>
                <a:cubicBezTo>
                  <a:pt x="3194" y="6092"/>
                  <a:pt x="2359" y="5257"/>
                  <a:pt x="2359" y="4226"/>
                </a:cubicBezTo>
                <a:cubicBezTo>
                  <a:pt x="2359" y="3194"/>
                  <a:pt x="3194" y="2360"/>
                  <a:pt x="4225" y="2360"/>
                </a:cubicBezTo>
                <a:cubicBezTo>
                  <a:pt x="5257" y="2360"/>
                  <a:pt x="6092" y="3195"/>
                  <a:pt x="6092" y="4226"/>
                </a:cubicBezTo>
                <a:cubicBezTo>
                  <a:pt x="6092" y="5257"/>
                  <a:pt x="5257" y="6092"/>
                  <a:pt x="4225" y="6092"/>
                </a:cubicBezTo>
                <a:close/>
                <a:moveTo>
                  <a:pt x="6682" y="8571"/>
                </a:moveTo>
                <a:cubicBezTo>
                  <a:pt x="6570" y="8507"/>
                  <a:pt x="6432" y="8516"/>
                  <a:pt x="6322" y="8582"/>
                </a:cubicBezTo>
                <a:cubicBezTo>
                  <a:pt x="5643" y="8991"/>
                  <a:pt x="5117" y="9225"/>
                  <a:pt x="4225" y="9225"/>
                </a:cubicBezTo>
                <a:cubicBezTo>
                  <a:pt x="3355" y="9225"/>
                  <a:pt x="2843" y="9002"/>
                  <a:pt x="2180" y="8611"/>
                </a:cubicBezTo>
                <a:cubicBezTo>
                  <a:pt x="2060" y="8539"/>
                  <a:pt x="1909" y="8542"/>
                  <a:pt x="1793" y="8620"/>
                </a:cubicBezTo>
                <a:cubicBezTo>
                  <a:pt x="1659" y="8710"/>
                  <a:pt x="1584" y="8811"/>
                  <a:pt x="1533" y="8956"/>
                </a:cubicBezTo>
                <a:lnTo>
                  <a:pt x="1352" y="9871"/>
                </a:lnTo>
                <a:cubicBezTo>
                  <a:pt x="1352" y="10148"/>
                  <a:pt x="1579" y="10376"/>
                  <a:pt x="1857" y="10376"/>
                </a:cubicBezTo>
                <a:lnTo>
                  <a:pt x="6680" y="10376"/>
                </a:lnTo>
                <a:cubicBezTo>
                  <a:pt x="6958" y="10376"/>
                  <a:pt x="7185" y="10148"/>
                  <a:pt x="7185" y="9871"/>
                </a:cubicBezTo>
                <a:lnTo>
                  <a:pt x="7004" y="8956"/>
                </a:lnTo>
                <a:cubicBezTo>
                  <a:pt x="6947" y="8792"/>
                  <a:pt x="6845" y="8663"/>
                  <a:pt x="6682" y="8571"/>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sp>
        <p:nvSpPr>
          <p:cNvPr id="76" name="user_209046">
            <a:extLst>
              <a:ext uri="{FF2B5EF4-FFF2-40B4-BE49-F238E27FC236}">
                <a16:creationId xmlns:a16="http://schemas.microsoft.com/office/drawing/2014/main" id="{FEAC0795-941C-4843-B8A9-5725B28CDEA1}"/>
              </a:ext>
            </a:extLst>
          </p:cNvPr>
          <p:cNvSpPr/>
          <p:nvPr/>
        </p:nvSpPr>
        <p:spPr>
          <a:xfrm>
            <a:off x="1527840" y="3921178"/>
            <a:ext cx="293438" cy="248016"/>
          </a:xfrm>
          <a:custGeom>
            <a:avLst/>
            <a:gdLst>
              <a:gd name="T0" fmla="*/ 4484 w 10375"/>
              <a:gd name="T1" fmla="*/ 6967 h 8769"/>
              <a:gd name="T2" fmla="*/ 4484 w 10375"/>
              <a:gd name="T3" fmla="*/ 8374 h 8769"/>
              <a:gd name="T4" fmla="*/ 5891 w 10375"/>
              <a:gd name="T5" fmla="*/ 8374 h 8769"/>
              <a:gd name="T6" fmla="*/ 5891 w 10375"/>
              <a:gd name="T7" fmla="*/ 6967 h 8769"/>
              <a:gd name="T8" fmla="*/ 4484 w 10375"/>
              <a:gd name="T9" fmla="*/ 6967 h 8769"/>
              <a:gd name="T10" fmla="*/ 1754 w 10375"/>
              <a:gd name="T11" fmla="*/ 5262 h 8769"/>
              <a:gd name="T12" fmla="*/ 2766 w 10375"/>
              <a:gd name="T13" fmla="*/ 6423 h 8769"/>
              <a:gd name="T14" fmla="*/ 7633 w 10375"/>
              <a:gd name="T15" fmla="*/ 6423 h 8769"/>
              <a:gd name="T16" fmla="*/ 8645 w 10375"/>
              <a:gd name="T17" fmla="*/ 5262 h 8769"/>
              <a:gd name="T18" fmla="*/ 1754 w 10375"/>
              <a:gd name="T19" fmla="*/ 5262 h 8769"/>
              <a:gd name="T20" fmla="*/ 0 w 10375"/>
              <a:gd name="T21" fmla="*/ 3261 h 8769"/>
              <a:gd name="T22" fmla="*/ 1038 w 10375"/>
              <a:gd name="T23" fmla="*/ 4447 h 8769"/>
              <a:gd name="T24" fmla="*/ 9338 w 10375"/>
              <a:gd name="T25" fmla="*/ 4447 h 8769"/>
              <a:gd name="T26" fmla="*/ 10375 w 10375"/>
              <a:gd name="T27" fmla="*/ 3261 h 8769"/>
              <a:gd name="T28" fmla="*/ 0 w 10375"/>
              <a:gd name="T29" fmla="*/ 3261 h 8769"/>
              <a:gd name="T30" fmla="*/ 0 w 10375"/>
              <a:gd name="T31" fmla="*/ 3261 h 87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375" h="8769">
                <a:moveTo>
                  <a:pt x="4484" y="6967"/>
                </a:moveTo>
                <a:cubicBezTo>
                  <a:pt x="4089" y="7362"/>
                  <a:pt x="4089" y="7979"/>
                  <a:pt x="4484" y="8374"/>
                </a:cubicBezTo>
                <a:cubicBezTo>
                  <a:pt x="4879" y="8769"/>
                  <a:pt x="5496" y="8769"/>
                  <a:pt x="5891" y="8374"/>
                </a:cubicBezTo>
                <a:cubicBezTo>
                  <a:pt x="6286" y="7979"/>
                  <a:pt x="6286" y="7362"/>
                  <a:pt x="5891" y="6967"/>
                </a:cubicBezTo>
                <a:cubicBezTo>
                  <a:pt x="5471" y="6571"/>
                  <a:pt x="4854" y="6571"/>
                  <a:pt x="4484" y="6967"/>
                </a:cubicBezTo>
                <a:close/>
                <a:moveTo>
                  <a:pt x="1754" y="5262"/>
                </a:moveTo>
                <a:lnTo>
                  <a:pt x="2766" y="6423"/>
                </a:lnTo>
                <a:cubicBezTo>
                  <a:pt x="4100" y="4892"/>
                  <a:pt x="6299" y="4892"/>
                  <a:pt x="7633" y="6423"/>
                </a:cubicBezTo>
                <a:lnTo>
                  <a:pt x="8645" y="5262"/>
                </a:lnTo>
                <a:cubicBezTo>
                  <a:pt x="6719" y="3088"/>
                  <a:pt x="3656" y="3088"/>
                  <a:pt x="1754" y="5262"/>
                </a:cubicBezTo>
                <a:close/>
                <a:moveTo>
                  <a:pt x="0" y="3261"/>
                </a:moveTo>
                <a:lnTo>
                  <a:pt x="1038" y="4447"/>
                </a:lnTo>
                <a:cubicBezTo>
                  <a:pt x="3335" y="1803"/>
                  <a:pt x="7040" y="1803"/>
                  <a:pt x="9338" y="4447"/>
                </a:cubicBezTo>
                <a:lnTo>
                  <a:pt x="10375" y="3261"/>
                </a:lnTo>
                <a:cubicBezTo>
                  <a:pt x="7534" y="0"/>
                  <a:pt x="2865" y="0"/>
                  <a:pt x="0" y="3261"/>
                </a:cubicBezTo>
                <a:close/>
                <a:moveTo>
                  <a:pt x="0" y="3261"/>
                </a:move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spTree>
    <p:custDataLst>
      <p:tags r:id="rId2"/>
    </p:custDataLst>
    <p:extLst>
      <p:ext uri="{BB962C8B-B14F-4D97-AF65-F5344CB8AC3E}">
        <p14:creationId xmlns:p14="http://schemas.microsoft.com/office/powerpoint/2010/main" val="2291066863"/>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2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 name="等腰三角形 114">
            <a:extLst>
              <a:ext uri="{FF2B5EF4-FFF2-40B4-BE49-F238E27FC236}">
                <a16:creationId xmlns:a16="http://schemas.microsoft.com/office/drawing/2014/main" id="{1F5C9B36-534C-4C2F-8C9C-34E7FBFE891C}"/>
              </a:ext>
            </a:extLst>
          </p:cNvPr>
          <p:cNvSpPr/>
          <p:nvPr/>
        </p:nvSpPr>
        <p:spPr>
          <a:xfrm>
            <a:off x="4505325" y="2353068"/>
            <a:ext cx="3181350" cy="2737496"/>
          </a:xfrm>
          <a:prstGeom prst="triangle">
            <a:avLst/>
          </a:prstGeom>
          <a:gradFill flip="none" rotWithShape="1">
            <a:gsLst>
              <a:gs pos="73000">
                <a:schemeClr val="accent1">
                  <a:alpha val="0"/>
                </a:schemeClr>
              </a:gs>
              <a:gs pos="100000">
                <a:schemeClr val="accent1">
                  <a:alpha val="20000"/>
                </a:schemeClr>
              </a:gs>
            </a:gsLst>
            <a:path path="shape">
              <a:fillToRect l="50000" t="50000" r="50000" b="50000"/>
            </a:path>
            <a:tileRect/>
          </a:gradFill>
          <a:ln>
            <a:no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2" name="等腰三角形 1">
            <a:extLst>
              <a:ext uri="{FF2B5EF4-FFF2-40B4-BE49-F238E27FC236}">
                <a16:creationId xmlns:a16="http://schemas.microsoft.com/office/drawing/2014/main" id="{C9D5EDDE-5311-4B26-9604-B0975D54B501}"/>
              </a:ext>
            </a:extLst>
          </p:cNvPr>
          <p:cNvSpPr/>
          <p:nvPr/>
        </p:nvSpPr>
        <p:spPr>
          <a:xfrm>
            <a:off x="5091389" y="3023339"/>
            <a:ext cx="2009223" cy="1732089"/>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75" name="等腰三角形 74">
            <a:extLst>
              <a:ext uri="{FF2B5EF4-FFF2-40B4-BE49-F238E27FC236}">
                <a16:creationId xmlns:a16="http://schemas.microsoft.com/office/drawing/2014/main" id="{839051A2-FB95-4B5B-8377-1B724A723F72}"/>
              </a:ext>
            </a:extLst>
          </p:cNvPr>
          <p:cNvSpPr/>
          <p:nvPr/>
        </p:nvSpPr>
        <p:spPr>
          <a:xfrm>
            <a:off x="4505325" y="2353068"/>
            <a:ext cx="3181350" cy="2737496"/>
          </a:xfrm>
          <a:prstGeom prst="triangle">
            <a:avLst/>
          </a:prstGeom>
          <a:noFill/>
          <a:ln>
            <a:solidFill>
              <a:schemeClr val="accent1"/>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11" name="椭圆 10">
            <a:extLst>
              <a:ext uri="{FF2B5EF4-FFF2-40B4-BE49-F238E27FC236}">
                <a16:creationId xmlns:a16="http://schemas.microsoft.com/office/drawing/2014/main" id="{5E8ADC0B-3E2B-4428-A9DB-5CB0DFE85EBE}"/>
              </a:ext>
            </a:extLst>
          </p:cNvPr>
          <p:cNvSpPr/>
          <p:nvPr/>
        </p:nvSpPr>
        <p:spPr>
          <a:xfrm>
            <a:off x="4460081" y="5045320"/>
            <a:ext cx="90488" cy="9048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116" name="椭圆 115">
            <a:extLst>
              <a:ext uri="{FF2B5EF4-FFF2-40B4-BE49-F238E27FC236}">
                <a16:creationId xmlns:a16="http://schemas.microsoft.com/office/drawing/2014/main" id="{93A8DCDB-E947-4BD9-AEA9-07ACBE51B079}"/>
              </a:ext>
            </a:extLst>
          </p:cNvPr>
          <p:cNvSpPr/>
          <p:nvPr/>
        </p:nvSpPr>
        <p:spPr>
          <a:xfrm>
            <a:off x="7641433" y="5045320"/>
            <a:ext cx="90488" cy="9048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117" name="椭圆 116">
            <a:extLst>
              <a:ext uri="{FF2B5EF4-FFF2-40B4-BE49-F238E27FC236}">
                <a16:creationId xmlns:a16="http://schemas.microsoft.com/office/drawing/2014/main" id="{AA6178F2-E41B-489C-89DC-CB840FD4095B}"/>
              </a:ext>
            </a:extLst>
          </p:cNvPr>
          <p:cNvSpPr/>
          <p:nvPr/>
        </p:nvSpPr>
        <p:spPr>
          <a:xfrm>
            <a:off x="6050758" y="2321170"/>
            <a:ext cx="90488" cy="9048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cxnSp>
        <p:nvCxnSpPr>
          <p:cNvPr id="13" name="直接箭头连接符 12">
            <a:extLst>
              <a:ext uri="{FF2B5EF4-FFF2-40B4-BE49-F238E27FC236}">
                <a16:creationId xmlns:a16="http://schemas.microsoft.com/office/drawing/2014/main" id="{C70591BD-3FF6-4522-B2E2-69B73C16627C}"/>
              </a:ext>
            </a:extLst>
          </p:cNvPr>
          <p:cNvCxnSpPr>
            <a:stCxn id="2" idx="0"/>
          </p:cNvCxnSpPr>
          <p:nvPr/>
        </p:nvCxnSpPr>
        <p:spPr>
          <a:xfrm flipH="1" flipV="1">
            <a:off x="6096000" y="1898650"/>
            <a:ext cx="1" cy="1124689"/>
          </a:xfrm>
          <a:prstGeom prst="straightConnector1">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118" name="直接箭头连接符 117">
            <a:extLst>
              <a:ext uri="{FF2B5EF4-FFF2-40B4-BE49-F238E27FC236}">
                <a16:creationId xmlns:a16="http://schemas.microsoft.com/office/drawing/2014/main" id="{BE303ADF-AA00-43FE-B2F4-30ED44FB88A0}"/>
              </a:ext>
            </a:extLst>
          </p:cNvPr>
          <p:cNvCxnSpPr>
            <a:cxnSpLocks/>
          </p:cNvCxnSpPr>
          <p:nvPr/>
        </p:nvCxnSpPr>
        <p:spPr>
          <a:xfrm rot="7200000" flipH="1" flipV="1">
            <a:off x="7587615" y="4474256"/>
            <a:ext cx="1" cy="1124689"/>
          </a:xfrm>
          <a:prstGeom prst="straightConnector1">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119" name="直接箭头连接符 118">
            <a:extLst>
              <a:ext uri="{FF2B5EF4-FFF2-40B4-BE49-F238E27FC236}">
                <a16:creationId xmlns:a16="http://schemas.microsoft.com/office/drawing/2014/main" id="{612FC54B-0066-4807-AEFC-BE60A1735A86}"/>
              </a:ext>
            </a:extLst>
          </p:cNvPr>
          <p:cNvCxnSpPr>
            <a:cxnSpLocks/>
          </p:cNvCxnSpPr>
          <p:nvPr/>
        </p:nvCxnSpPr>
        <p:spPr>
          <a:xfrm rot="14400000" flipV="1">
            <a:off x="4604383" y="4474258"/>
            <a:ext cx="1" cy="1124689"/>
          </a:xfrm>
          <a:prstGeom prst="straightConnector1">
            <a:avLst/>
          </a:prstGeom>
          <a:ln w="12700">
            <a:tailEnd type="triangle"/>
          </a:ln>
        </p:spPr>
        <p:style>
          <a:lnRef idx="1">
            <a:schemeClr val="accent1"/>
          </a:lnRef>
          <a:fillRef idx="0">
            <a:schemeClr val="accent1"/>
          </a:fillRef>
          <a:effectRef idx="0">
            <a:schemeClr val="accent1"/>
          </a:effectRef>
          <a:fontRef idx="minor">
            <a:schemeClr val="tx1"/>
          </a:fontRef>
        </p:style>
      </p:cxnSp>
      <p:sp>
        <p:nvSpPr>
          <p:cNvPr id="120" name="文本框 119">
            <a:extLst>
              <a:ext uri="{FF2B5EF4-FFF2-40B4-BE49-F238E27FC236}">
                <a16:creationId xmlns:a16="http://schemas.microsoft.com/office/drawing/2014/main" id="{C3A960AE-0BB3-4078-99EF-56A039E612CB}"/>
              </a:ext>
            </a:extLst>
          </p:cNvPr>
          <p:cNvSpPr txBox="1"/>
          <p:nvPr/>
        </p:nvSpPr>
        <p:spPr>
          <a:xfrm>
            <a:off x="4774992" y="1388922"/>
            <a:ext cx="2642016" cy="387286"/>
          </a:xfrm>
          <a:prstGeom prst="rect">
            <a:avLst/>
          </a:prstGeom>
          <a:noFill/>
        </p:spPr>
        <p:txBody>
          <a:bodyPr wrap="square" lIns="0" tIns="0" rIns="0" bIns="0" rtlCol="0" anchor="t">
            <a:spAutoFit/>
          </a:bodyPr>
          <a:lstStyle/>
          <a:p>
            <a:pPr algn="ctr">
              <a:lnSpc>
                <a:spcPct val="130000"/>
              </a:lnSpc>
            </a:pPr>
            <a:r>
              <a:rPr lang="en-US" altLang="zh-CN" sz="1000" b="0" dirty="0">
                <a:solidFill>
                  <a:schemeClr val="tx1">
                    <a:lumMod val="75000"/>
                    <a:lumOff val="25000"/>
                  </a:schemeClr>
                </a:solidFill>
                <a:effectLst/>
                <a:latin typeface="+mn-ea"/>
              </a:rPr>
              <a:t>Lorem ipsum dolor sit amet, consectetur adipisicing elit, sed do eiusmod tempor</a:t>
            </a:r>
            <a:endParaRPr lang="zh-CN" altLang="en-US" sz="1000" b="0" dirty="0">
              <a:solidFill>
                <a:schemeClr val="tx1">
                  <a:lumMod val="75000"/>
                  <a:lumOff val="25000"/>
                </a:schemeClr>
              </a:solidFill>
              <a:effectLst/>
              <a:latin typeface="+mn-ea"/>
            </a:endParaRPr>
          </a:p>
        </p:txBody>
      </p:sp>
      <p:sp>
        <p:nvSpPr>
          <p:cNvPr id="121" name="文本框 120">
            <a:extLst>
              <a:ext uri="{FF2B5EF4-FFF2-40B4-BE49-F238E27FC236}">
                <a16:creationId xmlns:a16="http://schemas.microsoft.com/office/drawing/2014/main" id="{E1FD8425-3AA7-4396-8246-269B9DBF78BC}"/>
              </a:ext>
            </a:extLst>
          </p:cNvPr>
          <p:cNvSpPr txBox="1"/>
          <p:nvPr/>
        </p:nvSpPr>
        <p:spPr>
          <a:xfrm>
            <a:off x="5334220" y="1049529"/>
            <a:ext cx="1282402" cy="307777"/>
          </a:xfrm>
          <a:prstGeom prst="rect">
            <a:avLst/>
          </a:prstGeom>
          <a:noFill/>
        </p:spPr>
        <p:txBody>
          <a:bodyPr wrap="none" lIns="0" tIns="0" rIns="0" bIns="0" rtlCol="0" anchor="t">
            <a:spAutoFit/>
          </a:bodyPr>
          <a:lstStyle/>
          <a:p>
            <a:pPr algn="r"/>
            <a:r>
              <a:rPr lang="zh-CN" altLang="en-US" sz="2000" dirty="0">
                <a:solidFill>
                  <a:schemeClr val="accent1"/>
                </a:solidFill>
                <a:latin typeface="+mj-ea"/>
                <a:ea typeface="+mj-ea"/>
              </a:rPr>
              <a:t>关键词标题</a:t>
            </a:r>
          </a:p>
        </p:txBody>
      </p:sp>
      <p:sp>
        <p:nvSpPr>
          <p:cNvPr id="122" name="文本框 121">
            <a:extLst>
              <a:ext uri="{FF2B5EF4-FFF2-40B4-BE49-F238E27FC236}">
                <a16:creationId xmlns:a16="http://schemas.microsoft.com/office/drawing/2014/main" id="{86278005-A0AB-4981-973E-4C3D64D2F4A0}"/>
              </a:ext>
            </a:extLst>
          </p:cNvPr>
          <p:cNvSpPr txBox="1"/>
          <p:nvPr/>
        </p:nvSpPr>
        <p:spPr>
          <a:xfrm>
            <a:off x="1365161" y="5519092"/>
            <a:ext cx="2642016" cy="387286"/>
          </a:xfrm>
          <a:prstGeom prst="rect">
            <a:avLst/>
          </a:prstGeom>
          <a:noFill/>
        </p:spPr>
        <p:txBody>
          <a:bodyPr wrap="square" lIns="0" tIns="0" rIns="0" bIns="0" rtlCol="0" anchor="t">
            <a:spAutoFit/>
          </a:bodyPr>
          <a:lstStyle/>
          <a:p>
            <a:pPr algn="r">
              <a:lnSpc>
                <a:spcPct val="130000"/>
              </a:lnSpc>
            </a:pPr>
            <a:r>
              <a:rPr lang="en-US" altLang="zh-CN" sz="1000" b="0" dirty="0">
                <a:solidFill>
                  <a:schemeClr val="tx1">
                    <a:lumMod val="75000"/>
                    <a:lumOff val="25000"/>
                  </a:schemeClr>
                </a:solidFill>
                <a:effectLst/>
                <a:latin typeface="+mn-ea"/>
              </a:rPr>
              <a:t>Lorem ipsum dolor sit amet, consectetur adipisicing elit, sed do eiusmod tempor</a:t>
            </a:r>
            <a:endParaRPr lang="zh-CN" altLang="en-US" sz="1000" b="0" dirty="0">
              <a:solidFill>
                <a:schemeClr val="tx1">
                  <a:lumMod val="75000"/>
                  <a:lumOff val="25000"/>
                </a:schemeClr>
              </a:solidFill>
              <a:effectLst/>
              <a:latin typeface="+mn-ea"/>
            </a:endParaRPr>
          </a:p>
        </p:txBody>
      </p:sp>
      <p:sp>
        <p:nvSpPr>
          <p:cNvPr id="123" name="文本框 122">
            <a:extLst>
              <a:ext uri="{FF2B5EF4-FFF2-40B4-BE49-F238E27FC236}">
                <a16:creationId xmlns:a16="http://schemas.microsoft.com/office/drawing/2014/main" id="{3C40780E-C34E-48BE-AE60-3A794EFCE515}"/>
              </a:ext>
            </a:extLst>
          </p:cNvPr>
          <p:cNvSpPr txBox="1"/>
          <p:nvPr/>
        </p:nvSpPr>
        <p:spPr>
          <a:xfrm>
            <a:off x="2724775" y="5179699"/>
            <a:ext cx="1282402" cy="307777"/>
          </a:xfrm>
          <a:prstGeom prst="rect">
            <a:avLst/>
          </a:prstGeom>
          <a:noFill/>
        </p:spPr>
        <p:txBody>
          <a:bodyPr wrap="none" lIns="0" tIns="0" rIns="0" bIns="0" rtlCol="0" anchor="t">
            <a:spAutoFit/>
          </a:bodyPr>
          <a:lstStyle/>
          <a:p>
            <a:pPr algn="r"/>
            <a:r>
              <a:rPr lang="zh-CN" altLang="en-US" sz="2000" dirty="0">
                <a:solidFill>
                  <a:schemeClr val="accent1"/>
                </a:solidFill>
                <a:latin typeface="+mj-ea"/>
                <a:ea typeface="+mj-ea"/>
              </a:rPr>
              <a:t>关键词标题</a:t>
            </a:r>
          </a:p>
        </p:txBody>
      </p:sp>
      <p:sp>
        <p:nvSpPr>
          <p:cNvPr id="124" name="文本框 123">
            <a:extLst>
              <a:ext uri="{FF2B5EF4-FFF2-40B4-BE49-F238E27FC236}">
                <a16:creationId xmlns:a16="http://schemas.microsoft.com/office/drawing/2014/main" id="{80651335-29AF-4766-A9B4-2D40A7E7E126}"/>
              </a:ext>
            </a:extLst>
          </p:cNvPr>
          <p:cNvSpPr txBox="1"/>
          <p:nvPr/>
        </p:nvSpPr>
        <p:spPr>
          <a:xfrm>
            <a:off x="8184825" y="5519092"/>
            <a:ext cx="2642016" cy="387286"/>
          </a:xfrm>
          <a:prstGeom prst="rect">
            <a:avLst/>
          </a:prstGeom>
          <a:noFill/>
        </p:spPr>
        <p:txBody>
          <a:bodyPr wrap="square" lIns="0" tIns="0" rIns="0" bIns="0" rtlCol="0" anchor="t">
            <a:spAutoFit/>
          </a:bodyPr>
          <a:lstStyle/>
          <a:p>
            <a:pPr>
              <a:lnSpc>
                <a:spcPct val="130000"/>
              </a:lnSpc>
            </a:pPr>
            <a:r>
              <a:rPr lang="en-US" altLang="zh-CN" sz="1000" b="0" dirty="0">
                <a:solidFill>
                  <a:schemeClr val="tx1">
                    <a:lumMod val="75000"/>
                    <a:lumOff val="25000"/>
                  </a:schemeClr>
                </a:solidFill>
                <a:effectLst/>
                <a:latin typeface="+mn-ea"/>
              </a:rPr>
              <a:t>Lorem ipsum dolor sit amet, consectetur adipisicing elit, sed do eiusmod tempor</a:t>
            </a:r>
            <a:endParaRPr lang="zh-CN" altLang="en-US" sz="1000" b="0" dirty="0">
              <a:solidFill>
                <a:schemeClr val="tx1">
                  <a:lumMod val="75000"/>
                  <a:lumOff val="25000"/>
                </a:schemeClr>
              </a:solidFill>
              <a:effectLst/>
              <a:latin typeface="+mn-ea"/>
            </a:endParaRPr>
          </a:p>
        </p:txBody>
      </p:sp>
      <p:sp>
        <p:nvSpPr>
          <p:cNvPr id="125" name="文本框 124">
            <a:extLst>
              <a:ext uri="{FF2B5EF4-FFF2-40B4-BE49-F238E27FC236}">
                <a16:creationId xmlns:a16="http://schemas.microsoft.com/office/drawing/2014/main" id="{2441619C-BF8F-4A38-97B4-45C6C8C1EA45}"/>
              </a:ext>
            </a:extLst>
          </p:cNvPr>
          <p:cNvSpPr txBox="1"/>
          <p:nvPr/>
        </p:nvSpPr>
        <p:spPr>
          <a:xfrm>
            <a:off x="8184825" y="5179699"/>
            <a:ext cx="1282402" cy="307777"/>
          </a:xfrm>
          <a:prstGeom prst="rect">
            <a:avLst/>
          </a:prstGeom>
          <a:noFill/>
        </p:spPr>
        <p:txBody>
          <a:bodyPr wrap="none" lIns="0" tIns="0" rIns="0" bIns="0" rtlCol="0" anchor="t">
            <a:spAutoFit/>
          </a:bodyPr>
          <a:lstStyle/>
          <a:p>
            <a:r>
              <a:rPr lang="zh-CN" altLang="en-US" sz="2000" dirty="0">
                <a:solidFill>
                  <a:schemeClr val="accent1"/>
                </a:solidFill>
                <a:latin typeface="+mj-ea"/>
                <a:ea typeface="+mj-ea"/>
              </a:rPr>
              <a:t>关键词标题</a:t>
            </a:r>
          </a:p>
        </p:txBody>
      </p:sp>
      <p:sp>
        <p:nvSpPr>
          <p:cNvPr id="126" name="文本框 125">
            <a:extLst>
              <a:ext uri="{FF2B5EF4-FFF2-40B4-BE49-F238E27FC236}">
                <a16:creationId xmlns:a16="http://schemas.microsoft.com/office/drawing/2014/main" id="{63CC9D1E-6DE4-4A10-A5B6-17EE240B3DBA}"/>
              </a:ext>
            </a:extLst>
          </p:cNvPr>
          <p:cNvSpPr txBox="1"/>
          <p:nvPr/>
        </p:nvSpPr>
        <p:spPr>
          <a:xfrm>
            <a:off x="5634335" y="3958464"/>
            <a:ext cx="923330" cy="369332"/>
          </a:xfrm>
          <a:prstGeom prst="rect">
            <a:avLst/>
          </a:prstGeom>
          <a:noFill/>
        </p:spPr>
        <p:txBody>
          <a:bodyPr wrap="none" lIns="0" tIns="0" rIns="0" bIns="0" rtlCol="0" anchor="t">
            <a:spAutoFit/>
          </a:bodyPr>
          <a:lstStyle/>
          <a:p>
            <a:pPr algn="ctr"/>
            <a:r>
              <a:rPr lang="zh-CN" altLang="en-US" sz="2400" dirty="0">
                <a:solidFill>
                  <a:schemeClr val="bg1"/>
                </a:solidFill>
                <a:latin typeface="+mj-ea"/>
                <a:ea typeface="+mj-ea"/>
              </a:rPr>
              <a:t>关键词</a:t>
            </a:r>
          </a:p>
        </p:txBody>
      </p:sp>
    </p:spTree>
    <p:extLst>
      <p:ext uri="{BB962C8B-B14F-4D97-AF65-F5344CB8AC3E}">
        <p14:creationId xmlns:p14="http://schemas.microsoft.com/office/powerpoint/2010/main" val="2412205448"/>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a:extLst>
              <a:ext uri="{FF2B5EF4-FFF2-40B4-BE49-F238E27FC236}">
                <a16:creationId xmlns:a16="http://schemas.microsoft.com/office/drawing/2014/main" id="{F682F9CF-E3FB-4D92-9D66-55D5787E1B96}"/>
              </a:ext>
            </a:extLst>
          </p:cNvPr>
          <p:cNvSpPr/>
          <p:nvPr/>
        </p:nvSpPr>
        <p:spPr>
          <a:xfrm>
            <a:off x="1333500" y="0"/>
            <a:ext cx="9525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p>
        </p:txBody>
      </p:sp>
      <p:sp>
        <p:nvSpPr>
          <p:cNvPr id="11" name="文本框 10">
            <a:extLst>
              <a:ext uri="{FF2B5EF4-FFF2-40B4-BE49-F238E27FC236}">
                <a16:creationId xmlns:a16="http://schemas.microsoft.com/office/drawing/2014/main" id="{E4393356-E9A7-46D9-B5F5-0D21EC991A29}"/>
              </a:ext>
            </a:extLst>
          </p:cNvPr>
          <p:cNvSpPr txBox="1"/>
          <p:nvPr/>
        </p:nvSpPr>
        <p:spPr>
          <a:xfrm>
            <a:off x="1941017" y="2813447"/>
            <a:ext cx="8309967" cy="1107996"/>
          </a:xfrm>
          <a:prstGeom prst="rect">
            <a:avLst/>
          </a:prstGeom>
          <a:noFill/>
        </p:spPr>
        <p:txBody>
          <a:bodyPr wrap="none" lIns="0" tIns="0" rIns="0" bIns="0" rtlCol="0" anchor="t">
            <a:spAutoFit/>
          </a:bodyPr>
          <a:lstStyle/>
          <a:p>
            <a:pPr algn="ctr"/>
            <a:r>
              <a:rPr lang="zh-CN" altLang="en-US" sz="7200" dirty="0">
                <a:solidFill>
                  <a:schemeClr val="bg1"/>
                </a:solidFill>
                <a:latin typeface="+mj-ea"/>
                <a:ea typeface="+mj-ea"/>
              </a:rPr>
              <a:t>输入你的封面大标题</a:t>
            </a:r>
          </a:p>
        </p:txBody>
      </p:sp>
      <p:sp>
        <p:nvSpPr>
          <p:cNvPr id="12" name="文本框 11">
            <a:extLst>
              <a:ext uri="{FF2B5EF4-FFF2-40B4-BE49-F238E27FC236}">
                <a16:creationId xmlns:a16="http://schemas.microsoft.com/office/drawing/2014/main" id="{08D1ED60-C0E7-408E-A5AA-59B489440FCB}"/>
              </a:ext>
            </a:extLst>
          </p:cNvPr>
          <p:cNvSpPr txBox="1"/>
          <p:nvPr/>
        </p:nvSpPr>
        <p:spPr>
          <a:xfrm>
            <a:off x="4095451" y="2275523"/>
            <a:ext cx="4001095" cy="369332"/>
          </a:xfrm>
          <a:prstGeom prst="rect">
            <a:avLst/>
          </a:prstGeom>
          <a:noFill/>
        </p:spPr>
        <p:txBody>
          <a:bodyPr wrap="none" lIns="0" tIns="0" rIns="0" bIns="0" rtlCol="0" anchor="t">
            <a:spAutoFit/>
          </a:bodyPr>
          <a:lstStyle/>
          <a:p>
            <a:pPr algn="ctr"/>
            <a:r>
              <a:rPr lang="zh-CN" altLang="en-US" sz="2400" dirty="0">
                <a:solidFill>
                  <a:schemeClr val="bg1"/>
                </a:solidFill>
                <a:latin typeface="+mn-ea"/>
              </a:rPr>
              <a:t>输入你的副标题或大标题英文</a:t>
            </a:r>
          </a:p>
        </p:txBody>
      </p:sp>
      <p:cxnSp>
        <p:nvCxnSpPr>
          <p:cNvPr id="14" name="直接连接符 13">
            <a:extLst>
              <a:ext uri="{FF2B5EF4-FFF2-40B4-BE49-F238E27FC236}">
                <a16:creationId xmlns:a16="http://schemas.microsoft.com/office/drawing/2014/main" id="{99FDF5DC-EAFA-4C3B-B052-660243EB047F}"/>
              </a:ext>
            </a:extLst>
          </p:cNvPr>
          <p:cNvCxnSpPr/>
          <p:nvPr/>
        </p:nvCxnSpPr>
        <p:spPr>
          <a:xfrm flipH="1">
            <a:off x="2029968" y="2465975"/>
            <a:ext cx="1901952"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 name="直接连接符 14">
            <a:extLst>
              <a:ext uri="{FF2B5EF4-FFF2-40B4-BE49-F238E27FC236}">
                <a16:creationId xmlns:a16="http://schemas.microsoft.com/office/drawing/2014/main" id="{C6CC629A-E754-4728-BB95-563C56597B63}"/>
              </a:ext>
            </a:extLst>
          </p:cNvPr>
          <p:cNvCxnSpPr/>
          <p:nvPr/>
        </p:nvCxnSpPr>
        <p:spPr>
          <a:xfrm flipH="1">
            <a:off x="8284464" y="2465975"/>
            <a:ext cx="1901952"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grpSp>
        <p:nvGrpSpPr>
          <p:cNvPr id="18" name="组合 17">
            <a:extLst>
              <a:ext uri="{FF2B5EF4-FFF2-40B4-BE49-F238E27FC236}">
                <a16:creationId xmlns:a16="http://schemas.microsoft.com/office/drawing/2014/main" id="{FC799265-AC15-410F-82A2-679AB60B288F}"/>
              </a:ext>
            </a:extLst>
          </p:cNvPr>
          <p:cNvGrpSpPr/>
          <p:nvPr/>
        </p:nvGrpSpPr>
        <p:grpSpPr>
          <a:xfrm>
            <a:off x="4331702" y="4268914"/>
            <a:ext cx="1475214" cy="246221"/>
            <a:chOff x="4095451" y="4640913"/>
            <a:chExt cx="1475214" cy="246221"/>
          </a:xfrm>
        </p:grpSpPr>
        <p:sp>
          <p:nvSpPr>
            <p:cNvPr id="16" name="矩形 15">
              <a:extLst>
                <a:ext uri="{FF2B5EF4-FFF2-40B4-BE49-F238E27FC236}">
                  <a16:creationId xmlns:a16="http://schemas.microsoft.com/office/drawing/2014/main" id="{74C493E7-1B47-4349-BC5B-BF3163490795}"/>
                </a:ext>
              </a:extLst>
            </p:cNvPr>
            <p:cNvSpPr/>
            <p:nvPr/>
          </p:nvSpPr>
          <p:spPr>
            <a:xfrm>
              <a:off x="4095451" y="4672584"/>
              <a:ext cx="164592" cy="1645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solidFill>
                  <a:schemeClr val="bg1"/>
                </a:solidFill>
              </a:endParaRPr>
            </a:p>
          </p:txBody>
        </p:sp>
        <p:sp>
          <p:nvSpPr>
            <p:cNvPr id="17" name="文本框 16">
              <a:extLst>
                <a:ext uri="{FF2B5EF4-FFF2-40B4-BE49-F238E27FC236}">
                  <a16:creationId xmlns:a16="http://schemas.microsoft.com/office/drawing/2014/main" id="{B804F6AA-7656-4EF8-84F0-3B3FB5CF0922}"/>
                </a:ext>
              </a:extLst>
            </p:cNvPr>
            <p:cNvSpPr txBox="1"/>
            <p:nvPr/>
          </p:nvSpPr>
          <p:spPr>
            <a:xfrm>
              <a:off x="4408487" y="4640913"/>
              <a:ext cx="1162178" cy="246221"/>
            </a:xfrm>
            <a:prstGeom prst="rect">
              <a:avLst/>
            </a:prstGeom>
            <a:noFill/>
          </p:spPr>
          <p:txBody>
            <a:bodyPr wrap="none" lIns="0" tIns="0" rIns="0" bIns="0" rtlCol="0" anchor="t">
              <a:spAutoFit/>
            </a:bodyPr>
            <a:lstStyle/>
            <a:p>
              <a:r>
                <a:rPr lang="zh-CN" altLang="en-US" sz="1600" dirty="0">
                  <a:solidFill>
                    <a:schemeClr val="bg1"/>
                  </a:solidFill>
                  <a:latin typeface="+mn-ea"/>
                </a:rPr>
                <a:t>汇报人：</a:t>
              </a:r>
              <a:r>
                <a:rPr lang="en-US" altLang="zh-CN" sz="1600" dirty="0">
                  <a:solidFill>
                    <a:schemeClr val="bg1"/>
                  </a:solidFill>
                  <a:latin typeface="+mn-ea"/>
                </a:rPr>
                <a:t>xxx</a:t>
              </a:r>
              <a:endParaRPr lang="zh-CN" altLang="en-US" sz="1600" dirty="0">
                <a:solidFill>
                  <a:schemeClr val="bg1"/>
                </a:solidFill>
                <a:latin typeface="+mn-ea"/>
              </a:endParaRPr>
            </a:p>
          </p:txBody>
        </p:sp>
      </p:grpSp>
      <p:grpSp>
        <p:nvGrpSpPr>
          <p:cNvPr id="19" name="组合 18">
            <a:extLst>
              <a:ext uri="{FF2B5EF4-FFF2-40B4-BE49-F238E27FC236}">
                <a16:creationId xmlns:a16="http://schemas.microsoft.com/office/drawing/2014/main" id="{482B1619-178E-45D1-BC39-C5F4314075B6}"/>
              </a:ext>
            </a:extLst>
          </p:cNvPr>
          <p:cNvGrpSpPr/>
          <p:nvPr/>
        </p:nvGrpSpPr>
        <p:grpSpPr>
          <a:xfrm>
            <a:off x="6590270" y="4268914"/>
            <a:ext cx="1270029" cy="246221"/>
            <a:chOff x="4095451" y="4640913"/>
            <a:chExt cx="1270029" cy="246221"/>
          </a:xfrm>
        </p:grpSpPr>
        <p:sp>
          <p:nvSpPr>
            <p:cNvPr id="20" name="矩形 19">
              <a:extLst>
                <a:ext uri="{FF2B5EF4-FFF2-40B4-BE49-F238E27FC236}">
                  <a16:creationId xmlns:a16="http://schemas.microsoft.com/office/drawing/2014/main" id="{3A1AE345-38CE-49BE-9E58-2C20078777A3}"/>
                </a:ext>
              </a:extLst>
            </p:cNvPr>
            <p:cNvSpPr/>
            <p:nvPr/>
          </p:nvSpPr>
          <p:spPr>
            <a:xfrm>
              <a:off x="4095451" y="4672584"/>
              <a:ext cx="164592" cy="1645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solidFill>
                  <a:schemeClr val="bg1"/>
                </a:solidFill>
              </a:endParaRPr>
            </a:p>
          </p:txBody>
        </p:sp>
        <p:sp>
          <p:nvSpPr>
            <p:cNvPr id="21" name="文本框 20">
              <a:extLst>
                <a:ext uri="{FF2B5EF4-FFF2-40B4-BE49-F238E27FC236}">
                  <a16:creationId xmlns:a16="http://schemas.microsoft.com/office/drawing/2014/main" id="{FCC3031D-C171-43E7-B549-82FC96054817}"/>
                </a:ext>
              </a:extLst>
            </p:cNvPr>
            <p:cNvSpPr txBox="1"/>
            <p:nvPr/>
          </p:nvSpPr>
          <p:spPr>
            <a:xfrm>
              <a:off x="4408487" y="4640913"/>
              <a:ext cx="956993" cy="246221"/>
            </a:xfrm>
            <a:prstGeom prst="rect">
              <a:avLst/>
            </a:prstGeom>
            <a:noFill/>
          </p:spPr>
          <p:txBody>
            <a:bodyPr wrap="none" lIns="0" tIns="0" rIns="0" bIns="0" rtlCol="0" anchor="t">
              <a:spAutoFit/>
            </a:bodyPr>
            <a:lstStyle/>
            <a:p>
              <a:r>
                <a:rPr lang="zh-CN" altLang="en-US" sz="1600" dirty="0">
                  <a:solidFill>
                    <a:schemeClr val="bg1"/>
                  </a:solidFill>
                  <a:latin typeface="+mn-ea"/>
                </a:rPr>
                <a:t>单位：</a:t>
              </a:r>
              <a:r>
                <a:rPr lang="en-US" altLang="zh-CN" sz="1600" dirty="0">
                  <a:solidFill>
                    <a:schemeClr val="bg1"/>
                  </a:solidFill>
                  <a:latin typeface="+mn-ea"/>
                </a:rPr>
                <a:t>xxx</a:t>
              </a:r>
              <a:endParaRPr lang="zh-CN" altLang="en-US" sz="1600" dirty="0">
                <a:solidFill>
                  <a:schemeClr val="bg1"/>
                </a:solidFill>
                <a:latin typeface="+mn-ea"/>
              </a:endParaRPr>
            </a:p>
          </p:txBody>
        </p:sp>
      </p:grpSp>
      <p:cxnSp>
        <p:nvCxnSpPr>
          <p:cNvPr id="23" name="直接连接符 22">
            <a:extLst>
              <a:ext uri="{FF2B5EF4-FFF2-40B4-BE49-F238E27FC236}">
                <a16:creationId xmlns:a16="http://schemas.microsoft.com/office/drawing/2014/main" id="{CE4614EF-B88F-4347-B526-58ECE7F96194}"/>
              </a:ext>
            </a:extLst>
          </p:cNvPr>
          <p:cNvCxnSpPr>
            <a:cxnSpLocks/>
          </p:cNvCxnSpPr>
          <p:nvPr/>
        </p:nvCxnSpPr>
        <p:spPr>
          <a:xfrm flipH="1">
            <a:off x="2029968" y="3989975"/>
            <a:ext cx="8156448"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50992575"/>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2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矩形: 圆角 2">
            <a:extLst>
              <a:ext uri="{FF2B5EF4-FFF2-40B4-BE49-F238E27FC236}">
                <a16:creationId xmlns:a16="http://schemas.microsoft.com/office/drawing/2014/main" id="{A2AFB59B-A8A1-4296-BAB0-9D7ED210A718}"/>
              </a:ext>
            </a:extLst>
          </p:cNvPr>
          <p:cNvSpPr/>
          <p:nvPr/>
        </p:nvSpPr>
        <p:spPr>
          <a:xfrm>
            <a:off x="5350764" y="3130550"/>
            <a:ext cx="1490472" cy="596900"/>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000" dirty="0">
                <a:solidFill>
                  <a:schemeClr val="bg1"/>
                </a:solidFill>
                <a:latin typeface="+mj-ea"/>
                <a:ea typeface="+mj-ea"/>
              </a:rPr>
              <a:t>关键词</a:t>
            </a:r>
          </a:p>
        </p:txBody>
      </p:sp>
      <p:sp>
        <p:nvSpPr>
          <p:cNvPr id="5" name="椭圆 4">
            <a:extLst>
              <a:ext uri="{FF2B5EF4-FFF2-40B4-BE49-F238E27FC236}">
                <a16:creationId xmlns:a16="http://schemas.microsoft.com/office/drawing/2014/main" id="{E382F06B-89D2-4FA8-9167-327E7BD6326F}"/>
              </a:ext>
            </a:extLst>
          </p:cNvPr>
          <p:cNvSpPr/>
          <p:nvPr/>
        </p:nvSpPr>
        <p:spPr>
          <a:xfrm>
            <a:off x="6596724" y="1803396"/>
            <a:ext cx="914400" cy="9144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zh-CN" altLang="en-US" sz="1200" dirty="0">
                <a:solidFill>
                  <a:schemeClr val="bg1"/>
                </a:solidFill>
                <a:latin typeface="+mj-ea"/>
                <a:ea typeface="+mj-ea"/>
              </a:rPr>
              <a:t>关键词</a:t>
            </a:r>
          </a:p>
        </p:txBody>
      </p:sp>
      <p:sp>
        <p:nvSpPr>
          <p:cNvPr id="21" name="椭圆 20">
            <a:extLst>
              <a:ext uri="{FF2B5EF4-FFF2-40B4-BE49-F238E27FC236}">
                <a16:creationId xmlns:a16="http://schemas.microsoft.com/office/drawing/2014/main" id="{9C188E6F-5F16-497E-98BA-918335A8E4B0}"/>
              </a:ext>
            </a:extLst>
          </p:cNvPr>
          <p:cNvSpPr/>
          <p:nvPr/>
        </p:nvSpPr>
        <p:spPr>
          <a:xfrm>
            <a:off x="3977093" y="2551326"/>
            <a:ext cx="914400" cy="9144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zh-CN" altLang="en-US" sz="1200" dirty="0">
                <a:solidFill>
                  <a:schemeClr val="bg1"/>
                </a:solidFill>
                <a:latin typeface="+mj-ea"/>
                <a:ea typeface="+mj-ea"/>
              </a:rPr>
              <a:t>关键词</a:t>
            </a:r>
          </a:p>
        </p:txBody>
      </p:sp>
      <p:sp>
        <p:nvSpPr>
          <p:cNvPr id="22" name="椭圆 21">
            <a:extLst>
              <a:ext uri="{FF2B5EF4-FFF2-40B4-BE49-F238E27FC236}">
                <a16:creationId xmlns:a16="http://schemas.microsoft.com/office/drawing/2014/main" id="{DC8C6A40-B36E-4BAF-BEF1-4560C98EFA37}"/>
              </a:ext>
            </a:extLst>
          </p:cNvPr>
          <p:cNvSpPr/>
          <p:nvPr/>
        </p:nvSpPr>
        <p:spPr>
          <a:xfrm>
            <a:off x="5841215" y="4415448"/>
            <a:ext cx="914400" cy="9144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zh-CN" altLang="en-US" sz="1200" dirty="0">
                <a:solidFill>
                  <a:schemeClr val="bg1"/>
                </a:solidFill>
                <a:latin typeface="+mj-ea"/>
                <a:ea typeface="+mj-ea"/>
              </a:rPr>
              <a:t>关键词</a:t>
            </a:r>
          </a:p>
        </p:txBody>
      </p:sp>
      <p:sp>
        <p:nvSpPr>
          <p:cNvPr id="6" name="弧形 5">
            <a:extLst>
              <a:ext uri="{FF2B5EF4-FFF2-40B4-BE49-F238E27FC236}">
                <a16:creationId xmlns:a16="http://schemas.microsoft.com/office/drawing/2014/main" id="{E089AD56-2874-4F09-B182-076D83737E10}"/>
              </a:ext>
            </a:extLst>
          </p:cNvPr>
          <p:cNvSpPr/>
          <p:nvPr/>
        </p:nvSpPr>
        <p:spPr>
          <a:xfrm rot="2700000">
            <a:off x="4347959" y="1771282"/>
            <a:ext cx="3187700" cy="3187700"/>
          </a:xfrm>
          <a:prstGeom prst="arc">
            <a:avLst>
              <a:gd name="adj1" fmla="val 17370010"/>
              <a:gd name="adj2" fmla="val 622781"/>
            </a:avLst>
          </a:prstGeom>
          <a:ln>
            <a:tailEnd type="stealt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sp>
        <p:nvSpPr>
          <p:cNvPr id="24" name="弧形 23">
            <a:extLst>
              <a:ext uri="{FF2B5EF4-FFF2-40B4-BE49-F238E27FC236}">
                <a16:creationId xmlns:a16="http://schemas.microsoft.com/office/drawing/2014/main" id="{00F799CF-DA3C-49A6-8CF3-588A8AFAEFC5}"/>
              </a:ext>
            </a:extLst>
          </p:cNvPr>
          <p:cNvSpPr/>
          <p:nvPr/>
        </p:nvSpPr>
        <p:spPr>
          <a:xfrm rot="2700000">
            <a:off x="4347959" y="1771282"/>
            <a:ext cx="3187700" cy="3187700"/>
          </a:xfrm>
          <a:prstGeom prst="arc">
            <a:avLst>
              <a:gd name="adj1" fmla="val 3107222"/>
              <a:gd name="adj2" fmla="val 7665122"/>
            </a:avLst>
          </a:prstGeom>
          <a:ln>
            <a:tailEnd type="stealt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dirty="0"/>
          </a:p>
        </p:txBody>
      </p:sp>
      <p:sp>
        <p:nvSpPr>
          <p:cNvPr id="25" name="弧形 24">
            <a:extLst>
              <a:ext uri="{FF2B5EF4-FFF2-40B4-BE49-F238E27FC236}">
                <a16:creationId xmlns:a16="http://schemas.microsoft.com/office/drawing/2014/main" id="{0E306D8B-2DFD-42FD-9959-87A23FCD9098}"/>
              </a:ext>
            </a:extLst>
          </p:cNvPr>
          <p:cNvSpPr/>
          <p:nvPr/>
        </p:nvSpPr>
        <p:spPr>
          <a:xfrm rot="2700000">
            <a:off x="4347959" y="1771282"/>
            <a:ext cx="3187700" cy="3187700"/>
          </a:xfrm>
          <a:prstGeom prst="arc">
            <a:avLst>
              <a:gd name="adj1" fmla="val 10159426"/>
              <a:gd name="adj2" fmla="val 14990634"/>
            </a:avLst>
          </a:prstGeom>
          <a:ln>
            <a:tailEnd type="stealt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sp>
        <p:nvSpPr>
          <p:cNvPr id="28" name="矩形: 圆角 27">
            <a:extLst>
              <a:ext uri="{FF2B5EF4-FFF2-40B4-BE49-F238E27FC236}">
                <a16:creationId xmlns:a16="http://schemas.microsoft.com/office/drawing/2014/main" id="{ABA059CC-E4CE-4E3A-88AC-F4A36A17725B}"/>
              </a:ext>
            </a:extLst>
          </p:cNvPr>
          <p:cNvSpPr/>
          <p:nvPr/>
        </p:nvSpPr>
        <p:spPr>
          <a:xfrm>
            <a:off x="8401594" y="1410820"/>
            <a:ext cx="1931126" cy="432816"/>
          </a:xfrm>
          <a:prstGeom prst="roundRect">
            <a:avLst>
              <a:gd name="adj" fmla="val 50000"/>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dirty="0">
                <a:solidFill>
                  <a:schemeClr val="accent1"/>
                </a:solidFill>
                <a:latin typeface="+mn-ea"/>
              </a:rPr>
              <a:t>关键词小标题</a:t>
            </a:r>
          </a:p>
        </p:txBody>
      </p:sp>
      <p:sp>
        <p:nvSpPr>
          <p:cNvPr id="29" name="矩形: 圆角 28">
            <a:extLst>
              <a:ext uri="{FF2B5EF4-FFF2-40B4-BE49-F238E27FC236}">
                <a16:creationId xmlns:a16="http://schemas.microsoft.com/office/drawing/2014/main" id="{535A3763-7235-457B-BA02-4C12463A4E69}"/>
              </a:ext>
            </a:extLst>
          </p:cNvPr>
          <p:cNvSpPr/>
          <p:nvPr/>
        </p:nvSpPr>
        <p:spPr>
          <a:xfrm>
            <a:off x="8401594" y="2044188"/>
            <a:ext cx="1931126" cy="432816"/>
          </a:xfrm>
          <a:prstGeom prst="roundRect">
            <a:avLst>
              <a:gd name="adj" fmla="val 50000"/>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dirty="0">
                <a:solidFill>
                  <a:schemeClr val="accent1"/>
                </a:solidFill>
                <a:latin typeface="+mn-ea"/>
              </a:rPr>
              <a:t>关键词小标题</a:t>
            </a:r>
          </a:p>
        </p:txBody>
      </p:sp>
      <p:sp>
        <p:nvSpPr>
          <p:cNvPr id="30" name="矩形: 圆角 29">
            <a:extLst>
              <a:ext uri="{FF2B5EF4-FFF2-40B4-BE49-F238E27FC236}">
                <a16:creationId xmlns:a16="http://schemas.microsoft.com/office/drawing/2014/main" id="{09A15DE8-6E98-4107-9B6F-D63B4DEC1F1B}"/>
              </a:ext>
            </a:extLst>
          </p:cNvPr>
          <p:cNvSpPr/>
          <p:nvPr/>
        </p:nvSpPr>
        <p:spPr>
          <a:xfrm>
            <a:off x="8401594" y="2677556"/>
            <a:ext cx="1931126" cy="432816"/>
          </a:xfrm>
          <a:prstGeom prst="roundRect">
            <a:avLst>
              <a:gd name="adj" fmla="val 50000"/>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dirty="0">
                <a:solidFill>
                  <a:schemeClr val="accent1"/>
                </a:solidFill>
                <a:latin typeface="+mn-ea"/>
              </a:rPr>
              <a:t>关键词小标题</a:t>
            </a:r>
          </a:p>
        </p:txBody>
      </p:sp>
      <p:sp>
        <p:nvSpPr>
          <p:cNvPr id="9" name="椭圆 8">
            <a:extLst>
              <a:ext uri="{FF2B5EF4-FFF2-40B4-BE49-F238E27FC236}">
                <a16:creationId xmlns:a16="http://schemas.microsoft.com/office/drawing/2014/main" id="{57D8F8B6-C08D-4C25-A92C-6A57ED9A53DD}"/>
              </a:ext>
            </a:extLst>
          </p:cNvPr>
          <p:cNvSpPr/>
          <p:nvPr/>
        </p:nvSpPr>
        <p:spPr>
          <a:xfrm>
            <a:off x="7604125" y="2232025"/>
            <a:ext cx="60325" cy="6032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cxnSp>
        <p:nvCxnSpPr>
          <p:cNvPr id="15" name="直接连接符 14">
            <a:extLst>
              <a:ext uri="{FF2B5EF4-FFF2-40B4-BE49-F238E27FC236}">
                <a16:creationId xmlns:a16="http://schemas.microsoft.com/office/drawing/2014/main" id="{95591DF5-F923-4817-9C8D-58E06111AEA6}"/>
              </a:ext>
            </a:extLst>
          </p:cNvPr>
          <p:cNvCxnSpPr>
            <a:cxnSpLocks/>
          </p:cNvCxnSpPr>
          <p:nvPr/>
        </p:nvCxnSpPr>
        <p:spPr>
          <a:xfrm flipV="1">
            <a:off x="7689850" y="1602581"/>
            <a:ext cx="651669" cy="607220"/>
          </a:xfrm>
          <a:prstGeom prst="line">
            <a:avLst/>
          </a:prstGeom>
          <a:ln>
            <a:prstDash val="lgDash"/>
          </a:ln>
        </p:spPr>
        <p:style>
          <a:lnRef idx="1">
            <a:schemeClr val="accent1"/>
          </a:lnRef>
          <a:fillRef idx="0">
            <a:schemeClr val="accent1"/>
          </a:fillRef>
          <a:effectRef idx="0">
            <a:schemeClr val="accent1"/>
          </a:effectRef>
          <a:fontRef idx="minor">
            <a:schemeClr val="tx1"/>
          </a:fontRef>
        </p:style>
      </p:cxnSp>
      <p:cxnSp>
        <p:nvCxnSpPr>
          <p:cNvPr id="37" name="直接连接符 36">
            <a:extLst>
              <a:ext uri="{FF2B5EF4-FFF2-40B4-BE49-F238E27FC236}">
                <a16:creationId xmlns:a16="http://schemas.microsoft.com/office/drawing/2014/main" id="{EEADA670-5950-4B9A-A64E-E33006B4C1AA}"/>
              </a:ext>
            </a:extLst>
          </p:cNvPr>
          <p:cNvCxnSpPr>
            <a:cxnSpLocks/>
          </p:cNvCxnSpPr>
          <p:nvPr/>
        </p:nvCxnSpPr>
        <p:spPr>
          <a:xfrm>
            <a:off x="7689850" y="2292350"/>
            <a:ext cx="651669" cy="605631"/>
          </a:xfrm>
          <a:prstGeom prst="line">
            <a:avLst/>
          </a:prstGeom>
          <a:ln>
            <a:prstDash val="lgDash"/>
          </a:ln>
        </p:spPr>
        <p:style>
          <a:lnRef idx="1">
            <a:schemeClr val="accent1"/>
          </a:lnRef>
          <a:fillRef idx="0">
            <a:schemeClr val="accent1"/>
          </a:fillRef>
          <a:effectRef idx="0">
            <a:schemeClr val="accent1"/>
          </a:effectRef>
          <a:fontRef idx="minor">
            <a:schemeClr val="tx1"/>
          </a:fontRef>
        </p:style>
      </p:cxnSp>
      <p:cxnSp>
        <p:nvCxnSpPr>
          <p:cNvPr id="41" name="直接连接符 40">
            <a:extLst>
              <a:ext uri="{FF2B5EF4-FFF2-40B4-BE49-F238E27FC236}">
                <a16:creationId xmlns:a16="http://schemas.microsoft.com/office/drawing/2014/main" id="{4A508338-7E92-4998-998B-39D1A561C51D}"/>
              </a:ext>
            </a:extLst>
          </p:cNvPr>
          <p:cNvCxnSpPr>
            <a:cxnSpLocks/>
          </p:cNvCxnSpPr>
          <p:nvPr/>
        </p:nvCxnSpPr>
        <p:spPr>
          <a:xfrm>
            <a:off x="7689850" y="2251075"/>
            <a:ext cx="670719" cy="0"/>
          </a:xfrm>
          <a:prstGeom prst="line">
            <a:avLst/>
          </a:prstGeom>
          <a:ln>
            <a:prstDash val="lgDash"/>
          </a:ln>
        </p:spPr>
        <p:style>
          <a:lnRef idx="1">
            <a:schemeClr val="accent1"/>
          </a:lnRef>
          <a:fillRef idx="0">
            <a:schemeClr val="accent1"/>
          </a:fillRef>
          <a:effectRef idx="0">
            <a:schemeClr val="accent1"/>
          </a:effectRef>
          <a:fontRef idx="minor">
            <a:schemeClr val="tx1"/>
          </a:fontRef>
        </p:style>
      </p:cxnSp>
      <p:sp>
        <p:nvSpPr>
          <p:cNvPr id="44" name="矩形: 圆角 43">
            <a:extLst>
              <a:ext uri="{FF2B5EF4-FFF2-40B4-BE49-F238E27FC236}">
                <a16:creationId xmlns:a16="http://schemas.microsoft.com/office/drawing/2014/main" id="{62FFF232-0B70-4BA2-8F63-802B43325CD8}"/>
              </a:ext>
            </a:extLst>
          </p:cNvPr>
          <p:cNvSpPr/>
          <p:nvPr/>
        </p:nvSpPr>
        <p:spPr>
          <a:xfrm>
            <a:off x="7731896" y="4050005"/>
            <a:ext cx="1931126" cy="432816"/>
          </a:xfrm>
          <a:prstGeom prst="roundRect">
            <a:avLst>
              <a:gd name="adj" fmla="val 50000"/>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dirty="0">
                <a:solidFill>
                  <a:schemeClr val="accent1"/>
                </a:solidFill>
                <a:latin typeface="+mn-ea"/>
              </a:rPr>
              <a:t>关键词小标题</a:t>
            </a:r>
          </a:p>
        </p:txBody>
      </p:sp>
      <p:sp>
        <p:nvSpPr>
          <p:cNvPr id="45" name="矩形: 圆角 44">
            <a:extLst>
              <a:ext uri="{FF2B5EF4-FFF2-40B4-BE49-F238E27FC236}">
                <a16:creationId xmlns:a16="http://schemas.microsoft.com/office/drawing/2014/main" id="{1BB7F0B8-18CE-423F-8BAE-44E2FB2BC57A}"/>
              </a:ext>
            </a:extLst>
          </p:cNvPr>
          <p:cNvSpPr/>
          <p:nvPr/>
        </p:nvSpPr>
        <p:spPr>
          <a:xfrm>
            <a:off x="7731896" y="4683373"/>
            <a:ext cx="1931126" cy="432816"/>
          </a:xfrm>
          <a:prstGeom prst="roundRect">
            <a:avLst>
              <a:gd name="adj" fmla="val 50000"/>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dirty="0">
                <a:solidFill>
                  <a:schemeClr val="accent1"/>
                </a:solidFill>
                <a:latin typeface="+mn-ea"/>
              </a:rPr>
              <a:t>关键词小标题</a:t>
            </a:r>
          </a:p>
        </p:txBody>
      </p:sp>
      <p:sp>
        <p:nvSpPr>
          <p:cNvPr id="46" name="矩形: 圆角 45">
            <a:extLst>
              <a:ext uri="{FF2B5EF4-FFF2-40B4-BE49-F238E27FC236}">
                <a16:creationId xmlns:a16="http://schemas.microsoft.com/office/drawing/2014/main" id="{1253ADD2-ED8F-482D-B0CC-4474CC36BDA3}"/>
              </a:ext>
            </a:extLst>
          </p:cNvPr>
          <p:cNvSpPr/>
          <p:nvPr/>
        </p:nvSpPr>
        <p:spPr>
          <a:xfrm>
            <a:off x="7731896" y="5316741"/>
            <a:ext cx="1931126" cy="432816"/>
          </a:xfrm>
          <a:prstGeom prst="roundRect">
            <a:avLst>
              <a:gd name="adj" fmla="val 50000"/>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dirty="0">
                <a:solidFill>
                  <a:schemeClr val="accent1"/>
                </a:solidFill>
                <a:latin typeface="+mn-ea"/>
              </a:rPr>
              <a:t>关键词小标题</a:t>
            </a:r>
          </a:p>
        </p:txBody>
      </p:sp>
      <p:sp>
        <p:nvSpPr>
          <p:cNvPr id="47" name="椭圆 46">
            <a:extLst>
              <a:ext uri="{FF2B5EF4-FFF2-40B4-BE49-F238E27FC236}">
                <a16:creationId xmlns:a16="http://schemas.microsoft.com/office/drawing/2014/main" id="{FD4703E4-D17A-4967-BD7D-6B1814065B0B}"/>
              </a:ext>
            </a:extLst>
          </p:cNvPr>
          <p:cNvSpPr/>
          <p:nvPr/>
        </p:nvSpPr>
        <p:spPr>
          <a:xfrm>
            <a:off x="6934427" y="4871210"/>
            <a:ext cx="60325" cy="6032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cxnSp>
        <p:nvCxnSpPr>
          <p:cNvPr id="48" name="直接连接符 47">
            <a:extLst>
              <a:ext uri="{FF2B5EF4-FFF2-40B4-BE49-F238E27FC236}">
                <a16:creationId xmlns:a16="http://schemas.microsoft.com/office/drawing/2014/main" id="{36C16D9C-2B69-49B0-B729-BC9D6BFE78D6}"/>
              </a:ext>
            </a:extLst>
          </p:cNvPr>
          <p:cNvCxnSpPr>
            <a:cxnSpLocks/>
          </p:cNvCxnSpPr>
          <p:nvPr/>
        </p:nvCxnSpPr>
        <p:spPr>
          <a:xfrm flipV="1">
            <a:off x="7020152" y="4241766"/>
            <a:ext cx="651669" cy="607220"/>
          </a:xfrm>
          <a:prstGeom prst="line">
            <a:avLst/>
          </a:prstGeom>
          <a:ln>
            <a:prstDash val="lgDash"/>
          </a:ln>
        </p:spPr>
        <p:style>
          <a:lnRef idx="1">
            <a:schemeClr val="accent1"/>
          </a:lnRef>
          <a:fillRef idx="0">
            <a:schemeClr val="accent1"/>
          </a:fillRef>
          <a:effectRef idx="0">
            <a:schemeClr val="accent1"/>
          </a:effectRef>
          <a:fontRef idx="minor">
            <a:schemeClr val="tx1"/>
          </a:fontRef>
        </p:style>
      </p:cxnSp>
      <p:cxnSp>
        <p:nvCxnSpPr>
          <p:cNvPr id="49" name="直接连接符 48">
            <a:extLst>
              <a:ext uri="{FF2B5EF4-FFF2-40B4-BE49-F238E27FC236}">
                <a16:creationId xmlns:a16="http://schemas.microsoft.com/office/drawing/2014/main" id="{3C33F887-80E6-42B6-98C4-D5869BECF701}"/>
              </a:ext>
            </a:extLst>
          </p:cNvPr>
          <p:cNvCxnSpPr>
            <a:cxnSpLocks/>
          </p:cNvCxnSpPr>
          <p:nvPr/>
        </p:nvCxnSpPr>
        <p:spPr>
          <a:xfrm>
            <a:off x="7020152" y="4931535"/>
            <a:ext cx="651669" cy="605631"/>
          </a:xfrm>
          <a:prstGeom prst="line">
            <a:avLst/>
          </a:prstGeom>
          <a:ln>
            <a:prstDash val="lgDash"/>
          </a:ln>
        </p:spPr>
        <p:style>
          <a:lnRef idx="1">
            <a:schemeClr val="accent1"/>
          </a:lnRef>
          <a:fillRef idx="0">
            <a:schemeClr val="accent1"/>
          </a:fillRef>
          <a:effectRef idx="0">
            <a:schemeClr val="accent1"/>
          </a:effectRef>
          <a:fontRef idx="minor">
            <a:schemeClr val="tx1"/>
          </a:fontRef>
        </p:style>
      </p:cxnSp>
      <p:cxnSp>
        <p:nvCxnSpPr>
          <p:cNvPr id="50" name="直接连接符 49">
            <a:extLst>
              <a:ext uri="{FF2B5EF4-FFF2-40B4-BE49-F238E27FC236}">
                <a16:creationId xmlns:a16="http://schemas.microsoft.com/office/drawing/2014/main" id="{88B0B0B3-4B15-4C3D-98AF-06DE3F879B30}"/>
              </a:ext>
            </a:extLst>
          </p:cNvPr>
          <p:cNvCxnSpPr>
            <a:cxnSpLocks/>
          </p:cNvCxnSpPr>
          <p:nvPr/>
        </p:nvCxnSpPr>
        <p:spPr>
          <a:xfrm>
            <a:off x="7020152" y="4890260"/>
            <a:ext cx="670719" cy="0"/>
          </a:xfrm>
          <a:prstGeom prst="line">
            <a:avLst/>
          </a:prstGeom>
          <a:ln>
            <a:prstDash val="lgDash"/>
          </a:ln>
        </p:spPr>
        <p:style>
          <a:lnRef idx="1">
            <a:schemeClr val="accent1"/>
          </a:lnRef>
          <a:fillRef idx="0">
            <a:schemeClr val="accent1"/>
          </a:fillRef>
          <a:effectRef idx="0">
            <a:schemeClr val="accent1"/>
          </a:effectRef>
          <a:fontRef idx="minor">
            <a:schemeClr val="tx1"/>
          </a:fontRef>
        </p:style>
      </p:cxnSp>
      <p:sp>
        <p:nvSpPr>
          <p:cNvPr id="51" name="矩形: 圆角 50">
            <a:extLst>
              <a:ext uri="{FF2B5EF4-FFF2-40B4-BE49-F238E27FC236}">
                <a16:creationId xmlns:a16="http://schemas.microsoft.com/office/drawing/2014/main" id="{47C31BEA-2F88-44F0-A39C-C29EB689A78E}"/>
              </a:ext>
            </a:extLst>
          </p:cNvPr>
          <p:cNvSpPr/>
          <p:nvPr/>
        </p:nvSpPr>
        <p:spPr>
          <a:xfrm flipH="1">
            <a:off x="1165551" y="2173224"/>
            <a:ext cx="1931126" cy="432816"/>
          </a:xfrm>
          <a:prstGeom prst="roundRect">
            <a:avLst>
              <a:gd name="adj" fmla="val 50000"/>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dirty="0">
                <a:solidFill>
                  <a:schemeClr val="accent1"/>
                </a:solidFill>
                <a:latin typeface="+mn-ea"/>
              </a:rPr>
              <a:t>关键词小标题</a:t>
            </a:r>
          </a:p>
        </p:txBody>
      </p:sp>
      <p:sp>
        <p:nvSpPr>
          <p:cNvPr id="52" name="矩形: 圆角 51">
            <a:extLst>
              <a:ext uri="{FF2B5EF4-FFF2-40B4-BE49-F238E27FC236}">
                <a16:creationId xmlns:a16="http://schemas.microsoft.com/office/drawing/2014/main" id="{847F2CD8-F1CE-4044-ACE0-F559B5B71B97}"/>
              </a:ext>
            </a:extLst>
          </p:cNvPr>
          <p:cNvSpPr/>
          <p:nvPr/>
        </p:nvSpPr>
        <p:spPr>
          <a:xfrm flipH="1">
            <a:off x="1165551" y="2806592"/>
            <a:ext cx="1931126" cy="432816"/>
          </a:xfrm>
          <a:prstGeom prst="roundRect">
            <a:avLst>
              <a:gd name="adj" fmla="val 50000"/>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dirty="0">
                <a:solidFill>
                  <a:schemeClr val="accent1"/>
                </a:solidFill>
                <a:latin typeface="+mn-ea"/>
              </a:rPr>
              <a:t>关键词小标题</a:t>
            </a:r>
          </a:p>
        </p:txBody>
      </p:sp>
      <p:sp>
        <p:nvSpPr>
          <p:cNvPr id="53" name="矩形: 圆角 52">
            <a:extLst>
              <a:ext uri="{FF2B5EF4-FFF2-40B4-BE49-F238E27FC236}">
                <a16:creationId xmlns:a16="http://schemas.microsoft.com/office/drawing/2014/main" id="{289403EE-8060-45A4-B558-8881B70801D6}"/>
              </a:ext>
            </a:extLst>
          </p:cNvPr>
          <p:cNvSpPr/>
          <p:nvPr/>
        </p:nvSpPr>
        <p:spPr>
          <a:xfrm flipH="1">
            <a:off x="1165551" y="3439960"/>
            <a:ext cx="1931126" cy="432816"/>
          </a:xfrm>
          <a:prstGeom prst="roundRect">
            <a:avLst>
              <a:gd name="adj" fmla="val 50000"/>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dirty="0">
                <a:solidFill>
                  <a:schemeClr val="accent1"/>
                </a:solidFill>
                <a:latin typeface="+mn-ea"/>
              </a:rPr>
              <a:t>关键词小标题</a:t>
            </a:r>
          </a:p>
        </p:txBody>
      </p:sp>
      <p:sp>
        <p:nvSpPr>
          <p:cNvPr id="54" name="椭圆 53">
            <a:extLst>
              <a:ext uri="{FF2B5EF4-FFF2-40B4-BE49-F238E27FC236}">
                <a16:creationId xmlns:a16="http://schemas.microsoft.com/office/drawing/2014/main" id="{A8F7D7C8-D8FB-4934-B549-4CCB42EB0406}"/>
              </a:ext>
            </a:extLst>
          </p:cNvPr>
          <p:cNvSpPr/>
          <p:nvPr/>
        </p:nvSpPr>
        <p:spPr>
          <a:xfrm flipH="1">
            <a:off x="3833821" y="2994429"/>
            <a:ext cx="60325" cy="6032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cxnSp>
        <p:nvCxnSpPr>
          <p:cNvPr id="55" name="直接连接符 54">
            <a:extLst>
              <a:ext uri="{FF2B5EF4-FFF2-40B4-BE49-F238E27FC236}">
                <a16:creationId xmlns:a16="http://schemas.microsoft.com/office/drawing/2014/main" id="{4E3277AD-B4B9-4D1C-85BA-D53838085835}"/>
              </a:ext>
            </a:extLst>
          </p:cNvPr>
          <p:cNvCxnSpPr>
            <a:cxnSpLocks/>
          </p:cNvCxnSpPr>
          <p:nvPr/>
        </p:nvCxnSpPr>
        <p:spPr>
          <a:xfrm flipH="1" flipV="1">
            <a:off x="3156752" y="2364985"/>
            <a:ext cx="651669" cy="607220"/>
          </a:xfrm>
          <a:prstGeom prst="line">
            <a:avLst/>
          </a:prstGeom>
          <a:ln>
            <a:prstDash val="lgDash"/>
          </a:ln>
        </p:spPr>
        <p:style>
          <a:lnRef idx="1">
            <a:schemeClr val="accent1"/>
          </a:lnRef>
          <a:fillRef idx="0">
            <a:schemeClr val="accent1"/>
          </a:fillRef>
          <a:effectRef idx="0">
            <a:schemeClr val="accent1"/>
          </a:effectRef>
          <a:fontRef idx="minor">
            <a:schemeClr val="tx1"/>
          </a:fontRef>
        </p:style>
      </p:cxnSp>
      <p:cxnSp>
        <p:nvCxnSpPr>
          <p:cNvPr id="56" name="直接连接符 55">
            <a:extLst>
              <a:ext uri="{FF2B5EF4-FFF2-40B4-BE49-F238E27FC236}">
                <a16:creationId xmlns:a16="http://schemas.microsoft.com/office/drawing/2014/main" id="{11EFC679-3564-4D87-838F-24691B2E3631}"/>
              </a:ext>
            </a:extLst>
          </p:cNvPr>
          <p:cNvCxnSpPr>
            <a:cxnSpLocks/>
          </p:cNvCxnSpPr>
          <p:nvPr/>
        </p:nvCxnSpPr>
        <p:spPr>
          <a:xfrm flipH="1">
            <a:off x="3156752" y="3054754"/>
            <a:ext cx="651669" cy="605631"/>
          </a:xfrm>
          <a:prstGeom prst="line">
            <a:avLst/>
          </a:prstGeom>
          <a:ln>
            <a:prstDash val="lgDash"/>
          </a:ln>
        </p:spPr>
        <p:style>
          <a:lnRef idx="1">
            <a:schemeClr val="accent1"/>
          </a:lnRef>
          <a:fillRef idx="0">
            <a:schemeClr val="accent1"/>
          </a:fillRef>
          <a:effectRef idx="0">
            <a:schemeClr val="accent1"/>
          </a:effectRef>
          <a:fontRef idx="minor">
            <a:schemeClr val="tx1"/>
          </a:fontRef>
        </p:style>
      </p:cxnSp>
      <p:cxnSp>
        <p:nvCxnSpPr>
          <p:cNvPr id="57" name="直接连接符 56">
            <a:extLst>
              <a:ext uri="{FF2B5EF4-FFF2-40B4-BE49-F238E27FC236}">
                <a16:creationId xmlns:a16="http://schemas.microsoft.com/office/drawing/2014/main" id="{3DDA558A-83A5-4059-BECD-9179DE0A2D41}"/>
              </a:ext>
            </a:extLst>
          </p:cNvPr>
          <p:cNvCxnSpPr>
            <a:cxnSpLocks/>
          </p:cNvCxnSpPr>
          <p:nvPr/>
        </p:nvCxnSpPr>
        <p:spPr>
          <a:xfrm flipH="1">
            <a:off x="3137702" y="3013479"/>
            <a:ext cx="670719" cy="0"/>
          </a:xfrm>
          <a:prstGeom prst="line">
            <a:avLst/>
          </a:prstGeom>
          <a:ln>
            <a:prstDash val="lgDash"/>
          </a:ln>
        </p:spPr>
        <p:style>
          <a:lnRef idx="1">
            <a:schemeClr val="accent1"/>
          </a:lnRef>
          <a:fillRef idx="0">
            <a:schemeClr val="accent1"/>
          </a:fillRef>
          <a:effectRef idx="0">
            <a:schemeClr val="accent1"/>
          </a:effectRef>
          <a:fontRef idx="minor">
            <a:schemeClr val="tx1"/>
          </a:fontRef>
        </p:style>
      </p:cxnSp>
      <p:cxnSp>
        <p:nvCxnSpPr>
          <p:cNvPr id="31" name="直接连接符 30">
            <a:extLst>
              <a:ext uri="{FF2B5EF4-FFF2-40B4-BE49-F238E27FC236}">
                <a16:creationId xmlns:a16="http://schemas.microsoft.com/office/drawing/2014/main" id="{9C7A34F3-21AF-494E-97D7-33D8199C9AA4}"/>
              </a:ext>
            </a:extLst>
          </p:cNvPr>
          <p:cNvCxnSpPr>
            <a:cxnSpLocks/>
          </p:cNvCxnSpPr>
          <p:nvPr/>
        </p:nvCxnSpPr>
        <p:spPr>
          <a:xfrm flipV="1">
            <a:off x="6263490" y="2631510"/>
            <a:ext cx="432220" cy="499040"/>
          </a:xfrm>
          <a:prstGeom prst="line">
            <a:avLst/>
          </a:prstGeom>
          <a:ln>
            <a:tailEnd type="oval"/>
          </a:ln>
        </p:spPr>
        <p:style>
          <a:lnRef idx="1">
            <a:schemeClr val="accent1"/>
          </a:lnRef>
          <a:fillRef idx="0">
            <a:schemeClr val="accent1"/>
          </a:fillRef>
          <a:effectRef idx="0">
            <a:schemeClr val="accent1"/>
          </a:effectRef>
          <a:fontRef idx="minor">
            <a:schemeClr val="tx1"/>
          </a:fontRef>
        </p:style>
      </p:cxnSp>
      <p:cxnSp>
        <p:nvCxnSpPr>
          <p:cNvPr id="61" name="直接连接符 60">
            <a:extLst>
              <a:ext uri="{FF2B5EF4-FFF2-40B4-BE49-F238E27FC236}">
                <a16:creationId xmlns:a16="http://schemas.microsoft.com/office/drawing/2014/main" id="{E3728E13-2DCE-450F-B5EC-F9CC462AE0C1}"/>
              </a:ext>
            </a:extLst>
          </p:cNvPr>
          <p:cNvCxnSpPr>
            <a:cxnSpLocks/>
            <a:stCxn id="3" idx="1"/>
          </p:cNvCxnSpPr>
          <p:nvPr/>
        </p:nvCxnSpPr>
        <p:spPr>
          <a:xfrm flipH="1" flipV="1">
            <a:off x="4916894" y="3239408"/>
            <a:ext cx="433870" cy="189592"/>
          </a:xfrm>
          <a:prstGeom prst="line">
            <a:avLst/>
          </a:prstGeom>
          <a:ln>
            <a:tailEnd type="oval"/>
          </a:ln>
        </p:spPr>
        <p:style>
          <a:lnRef idx="1">
            <a:schemeClr val="accent1"/>
          </a:lnRef>
          <a:fillRef idx="0">
            <a:schemeClr val="accent1"/>
          </a:fillRef>
          <a:effectRef idx="0">
            <a:schemeClr val="accent1"/>
          </a:effectRef>
          <a:fontRef idx="minor">
            <a:schemeClr val="tx1"/>
          </a:fontRef>
        </p:style>
      </p:cxnSp>
      <p:cxnSp>
        <p:nvCxnSpPr>
          <p:cNvPr id="64" name="直接连接符 63">
            <a:extLst>
              <a:ext uri="{FF2B5EF4-FFF2-40B4-BE49-F238E27FC236}">
                <a16:creationId xmlns:a16="http://schemas.microsoft.com/office/drawing/2014/main" id="{61AB47D4-AB64-415C-AE11-419BCFF2E4D0}"/>
              </a:ext>
            </a:extLst>
          </p:cNvPr>
          <p:cNvCxnSpPr>
            <a:cxnSpLocks/>
          </p:cNvCxnSpPr>
          <p:nvPr/>
        </p:nvCxnSpPr>
        <p:spPr>
          <a:xfrm>
            <a:off x="5799583" y="3727450"/>
            <a:ext cx="379761" cy="641990"/>
          </a:xfrm>
          <a:prstGeom prst="line">
            <a:avLst/>
          </a:prstGeom>
          <a:ln>
            <a:tailEnd type="ova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74631874"/>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2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矩形 14">
            <a:extLst>
              <a:ext uri="{FF2B5EF4-FFF2-40B4-BE49-F238E27FC236}">
                <a16:creationId xmlns:a16="http://schemas.microsoft.com/office/drawing/2014/main" id="{2B91C78F-6CDD-4AD4-9DA0-FB0788C7EBCE}"/>
              </a:ext>
            </a:extLst>
          </p:cNvPr>
          <p:cNvSpPr/>
          <p:nvPr/>
        </p:nvSpPr>
        <p:spPr>
          <a:xfrm>
            <a:off x="-1" y="1600200"/>
            <a:ext cx="12192001" cy="3305175"/>
          </a:xfrm>
          <a:prstGeom prst="rect">
            <a:avLst/>
          </a:prstGeom>
          <a:gradFill>
            <a:gsLst>
              <a:gs pos="50000">
                <a:srgbClr val="031761">
                  <a:alpha val="20000"/>
                </a:srgbClr>
              </a:gs>
              <a:gs pos="0">
                <a:schemeClr val="accent1">
                  <a:alpha val="0"/>
                </a:schemeClr>
              </a:gs>
              <a:gs pos="100000">
                <a:schemeClr val="accent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2" name="任意形状 9">
            <a:extLst>
              <a:ext uri="{FF2B5EF4-FFF2-40B4-BE49-F238E27FC236}">
                <a16:creationId xmlns:a16="http://schemas.microsoft.com/office/drawing/2014/main" id="{79C0392D-8AB4-4C9C-BB47-E593C645F444}"/>
              </a:ext>
            </a:extLst>
          </p:cNvPr>
          <p:cNvSpPr/>
          <p:nvPr/>
        </p:nvSpPr>
        <p:spPr>
          <a:xfrm>
            <a:off x="0" y="6457950"/>
            <a:ext cx="12192000" cy="400050"/>
          </a:xfrm>
          <a:custGeom>
            <a:avLst/>
            <a:gdLst>
              <a:gd name="connsiteX0" fmla="*/ 12192000 w 12192000"/>
              <a:gd name="connsiteY0" fmla="*/ 0 h 329410"/>
              <a:gd name="connsiteX1" fmla="*/ 12192000 w 12192000"/>
              <a:gd name="connsiteY1" fmla="*/ 329410 h 329410"/>
              <a:gd name="connsiteX2" fmla="*/ 0 w 12192000"/>
              <a:gd name="connsiteY2" fmla="*/ 329410 h 329410"/>
              <a:gd name="connsiteX3" fmla="*/ 0 w 12192000"/>
              <a:gd name="connsiteY3" fmla="*/ 29375 h 329410"/>
              <a:gd name="connsiteX4" fmla="*/ 577089 w 12192000"/>
              <a:gd name="connsiteY4" fmla="*/ 49593 h 329410"/>
              <a:gd name="connsiteX5" fmla="*/ 5704114 w 12192000"/>
              <a:gd name="connsiteY5" fmla="*/ 124873 h 329410"/>
              <a:gd name="connsiteX6" fmla="*/ 11982536 w 12192000"/>
              <a:gd name="connsiteY6" fmla="*/ 9255 h 329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329410">
                <a:moveTo>
                  <a:pt x="12192000" y="0"/>
                </a:moveTo>
                <a:lnTo>
                  <a:pt x="12192000" y="329410"/>
                </a:lnTo>
                <a:lnTo>
                  <a:pt x="0" y="329410"/>
                </a:lnTo>
                <a:lnTo>
                  <a:pt x="0" y="29375"/>
                </a:lnTo>
                <a:lnTo>
                  <a:pt x="577089" y="49593"/>
                </a:lnTo>
                <a:cubicBezTo>
                  <a:pt x="2152931" y="98068"/>
                  <a:pt x="3885480" y="124873"/>
                  <a:pt x="5704114" y="124873"/>
                </a:cubicBezTo>
                <a:cubicBezTo>
                  <a:pt x="7977407" y="124873"/>
                  <a:pt x="10116192" y="82990"/>
                  <a:pt x="11982536" y="9255"/>
                </a:cubicBezTo>
                <a:close/>
              </a:path>
            </a:pathLst>
          </a:custGeom>
          <a:solidFill>
            <a:schemeClr val="accent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zh-CN" altLang="en-US"/>
          </a:p>
        </p:txBody>
      </p:sp>
      <p:sp>
        <p:nvSpPr>
          <p:cNvPr id="34" name="矩形: 圆角 33">
            <a:extLst>
              <a:ext uri="{FF2B5EF4-FFF2-40B4-BE49-F238E27FC236}">
                <a16:creationId xmlns:a16="http://schemas.microsoft.com/office/drawing/2014/main" id="{B648F10E-658A-4D05-940E-783C07F7C3ED}"/>
              </a:ext>
            </a:extLst>
          </p:cNvPr>
          <p:cNvSpPr/>
          <p:nvPr/>
        </p:nvSpPr>
        <p:spPr>
          <a:xfrm>
            <a:off x="4962525" y="2167318"/>
            <a:ext cx="2266950" cy="2266950"/>
          </a:xfrm>
          <a:prstGeom prst="roundRect">
            <a:avLst/>
          </a:prstGeom>
          <a:solidFill>
            <a:schemeClr val="accent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7" name="矩形: 圆角 6">
            <a:extLst>
              <a:ext uri="{FF2B5EF4-FFF2-40B4-BE49-F238E27FC236}">
                <a16:creationId xmlns:a16="http://schemas.microsoft.com/office/drawing/2014/main" id="{A1302F6A-38B9-42F0-8ECF-8236E8E47744}"/>
              </a:ext>
            </a:extLst>
          </p:cNvPr>
          <p:cNvSpPr/>
          <p:nvPr/>
        </p:nvSpPr>
        <p:spPr>
          <a:xfrm>
            <a:off x="5122156" y="2329481"/>
            <a:ext cx="1947689" cy="1947689"/>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36" name="user_209046">
            <a:extLst>
              <a:ext uri="{FF2B5EF4-FFF2-40B4-BE49-F238E27FC236}">
                <a16:creationId xmlns:a16="http://schemas.microsoft.com/office/drawing/2014/main" id="{3600E553-FD6A-4645-BC96-8C82E7864AB8}"/>
              </a:ext>
            </a:extLst>
          </p:cNvPr>
          <p:cNvSpPr/>
          <p:nvPr/>
        </p:nvSpPr>
        <p:spPr>
          <a:xfrm>
            <a:off x="5753099" y="2850334"/>
            <a:ext cx="819152" cy="738676"/>
          </a:xfrm>
          <a:custGeom>
            <a:avLst/>
            <a:gdLst>
              <a:gd name="connsiteX0" fmla="*/ 521432 w 608344"/>
              <a:gd name="connsiteY0" fmla="*/ 370453 h 548582"/>
              <a:gd name="connsiteX1" fmla="*/ 465737 w 608344"/>
              <a:gd name="connsiteY1" fmla="*/ 425787 h 548582"/>
              <a:gd name="connsiteX2" fmla="*/ 442491 w 608344"/>
              <a:gd name="connsiteY2" fmla="*/ 402479 h 548582"/>
              <a:gd name="connsiteX3" fmla="*/ 418201 w 608344"/>
              <a:gd name="connsiteY3" fmla="*/ 426545 h 548582"/>
              <a:gd name="connsiteX4" fmla="*/ 441447 w 608344"/>
              <a:gd name="connsiteY4" fmla="*/ 449948 h 548582"/>
              <a:gd name="connsiteX5" fmla="*/ 465642 w 608344"/>
              <a:gd name="connsiteY5" fmla="*/ 474204 h 548582"/>
              <a:gd name="connsiteX6" fmla="*/ 489932 w 608344"/>
              <a:gd name="connsiteY6" fmla="*/ 450043 h 548582"/>
              <a:gd name="connsiteX7" fmla="*/ 545532 w 608344"/>
              <a:gd name="connsiteY7" fmla="*/ 394709 h 548582"/>
              <a:gd name="connsiteX8" fmla="*/ 481962 w 608344"/>
              <a:gd name="connsiteY8" fmla="*/ 296170 h 548582"/>
              <a:gd name="connsiteX9" fmla="*/ 608344 w 608344"/>
              <a:gd name="connsiteY9" fmla="*/ 422376 h 548582"/>
              <a:gd name="connsiteX10" fmla="*/ 481962 w 608344"/>
              <a:gd name="connsiteY10" fmla="*/ 548582 h 548582"/>
              <a:gd name="connsiteX11" fmla="*/ 355579 w 608344"/>
              <a:gd name="connsiteY11" fmla="*/ 422376 h 548582"/>
              <a:gd name="connsiteX12" fmla="*/ 481962 w 608344"/>
              <a:gd name="connsiteY12" fmla="*/ 296170 h 548582"/>
              <a:gd name="connsiteX13" fmla="*/ 255835 w 608344"/>
              <a:gd name="connsiteY13" fmla="*/ 446 h 548582"/>
              <a:gd name="connsiteX14" fmla="*/ 317801 w 608344"/>
              <a:gd name="connsiteY14" fmla="*/ 13616 h 548582"/>
              <a:gd name="connsiteX15" fmla="*/ 348072 w 608344"/>
              <a:gd name="connsiteY15" fmla="*/ 41661 h 548582"/>
              <a:gd name="connsiteX16" fmla="*/ 381190 w 608344"/>
              <a:gd name="connsiteY16" fmla="*/ 146831 h 548582"/>
              <a:gd name="connsiteX17" fmla="*/ 378913 w 608344"/>
              <a:gd name="connsiteY17" fmla="*/ 156211 h 548582"/>
              <a:gd name="connsiteX18" fmla="*/ 387833 w 608344"/>
              <a:gd name="connsiteY18" fmla="*/ 200458 h 548582"/>
              <a:gd name="connsiteX19" fmla="*/ 366387 w 608344"/>
              <a:gd name="connsiteY19" fmla="*/ 237694 h 548582"/>
              <a:gd name="connsiteX20" fmla="*/ 351393 w 608344"/>
              <a:gd name="connsiteY20" fmla="*/ 278720 h 548582"/>
              <a:gd name="connsiteX21" fmla="*/ 351393 w 608344"/>
              <a:gd name="connsiteY21" fmla="*/ 322873 h 548582"/>
              <a:gd name="connsiteX22" fmla="*/ 317611 w 608344"/>
              <a:gd name="connsiteY22" fmla="*/ 422358 h 548582"/>
              <a:gd name="connsiteX23" fmla="*/ 376635 w 608344"/>
              <a:gd name="connsiteY23" fmla="*/ 548088 h 548582"/>
              <a:gd name="connsiteX24" fmla="*/ 26855 w 608344"/>
              <a:gd name="connsiteY24" fmla="*/ 548088 h 548582"/>
              <a:gd name="connsiteX25" fmla="*/ 0 w 608344"/>
              <a:gd name="connsiteY25" fmla="*/ 521274 h 548582"/>
              <a:gd name="connsiteX26" fmla="*/ 0 w 608344"/>
              <a:gd name="connsiteY26" fmla="*/ 473806 h 548582"/>
              <a:gd name="connsiteX27" fmla="*/ 19453 w 608344"/>
              <a:gd name="connsiteY27" fmla="*/ 432969 h 548582"/>
              <a:gd name="connsiteX28" fmla="*/ 173751 w 608344"/>
              <a:gd name="connsiteY28" fmla="*/ 334242 h 548582"/>
              <a:gd name="connsiteX29" fmla="*/ 176408 w 608344"/>
              <a:gd name="connsiteY29" fmla="*/ 329884 h 548582"/>
              <a:gd name="connsiteX30" fmla="*/ 176408 w 608344"/>
              <a:gd name="connsiteY30" fmla="*/ 278720 h 548582"/>
              <a:gd name="connsiteX31" fmla="*/ 161320 w 608344"/>
              <a:gd name="connsiteY31" fmla="*/ 237694 h 548582"/>
              <a:gd name="connsiteX32" fmla="*/ 139969 w 608344"/>
              <a:gd name="connsiteY32" fmla="*/ 200458 h 548582"/>
              <a:gd name="connsiteX33" fmla="*/ 148320 w 608344"/>
              <a:gd name="connsiteY33" fmla="*/ 156211 h 548582"/>
              <a:gd name="connsiteX34" fmla="*/ 146042 w 608344"/>
              <a:gd name="connsiteY34" fmla="*/ 146736 h 548582"/>
              <a:gd name="connsiteX35" fmla="*/ 145758 w 608344"/>
              <a:gd name="connsiteY35" fmla="*/ 95099 h 548582"/>
              <a:gd name="connsiteX36" fmla="*/ 176029 w 608344"/>
              <a:gd name="connsiteY36" fmla="*/ 42135 h 548582"/>
              <a:gd name="connsiteX37" fmla="*/ 203928 w 608344"/>
              <a:gd name="connsiteY37" fmla="*/ 19017 h 548582"/>
              <a:gd name="connsiteX38" fmla="*/ 231162 w 608344"/>
              <a:gd name="connsiteY38" fmla="*/ 5089 h 548582"/>
              <a:gd name="connsiteX39" fmla="*/ 255835 w 608344"/>
              <a:gd name="connsiteY39" fmla="*/ 446 h 548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608344" h="548582">
                <a:moveTo>
                  <a:pt x="521432" y="370453"/>
                </a:moveTo>
                <a:lnTo>
                  <a:pt x="465737" y="425787"/>
                </a:lnTo>
                <a:lnTo>
                  <a:pt x="442491" y="402479"/>
                </a:lnTo>
                <a:lnTo>
                  <a:pt x="418201" y="426545"/>
                </a:lnTo>
                <a:lnTo>
                  <a:pt x="441447" y="449948"/>
                </a:lnTo>
                <a:lnTo>
                  <a:pt x="465642" y="474204"/>
                </a:lnTo>
                <a:lnTo>
                  <a:pt x="489932" y="450043"/>
                </a:lnTo>
                <a:lnTo>
                  <a:pt x="545532" y="394709"/>
                </a:lnTo>
                <a:close/>
                <a:moveTo>
                  <a:pt x="481962" y="296170"/>
                </a:moveTo>
                <a:cubicBezTo>
                  <a:pt x="551795" y="296170"/>
                  <a:pt x="608344" y="352641"/>
                  <a:pt x="608344" y="422376"/>
                </a:cubicBezTo>
                <a:cubicBezTo>
                  <a:pt x="608344" y="492111"/>
                  <a:pt x="551795" y="548582"/>
                  <a:pt x="481962" y="548582"/>
                </a:cubicBezTo>
                <a:cubicBezTo>
                  <a:pt x="412129" y="548582"/>
                  <a:pt x="355579" y="492111"/>
                  <a:pt x="355579" y="422376"/>
                </a:cubicBezTo>
                <a:cubicBezTo>
                  <a:pt x="355579" y="352641"/>
                  <a:pt x="412129" y="296170"/>
                  <a:pt x="481962" y="296170"/>
                </a:cubicBezTo>
                <a:close/>
                <a:moveTo>
                  <a:pt x="255835" y="446"/>
                </a:moveTo>
                <a:cubicBezTo>
                  <a:pt x="282785" y="-1828"/>
                  <a:pt x="303187" y="4899"/>
                  <a:pt x="317801" y="13616"/>
                </a:cubicBezTo>
                <a:cubicBezTo>
                  <a:pt x="339721" y="25744"/>
                  <a:pt x="348072" y="41661"/>
                  <a:pt x="348072" y="41661"/>
                </a:cubicBezTo>
                <a:cubicBezTo>
                  <a:pt x="348072" y="41661"/>
                  <a:pt x="398176" y="45167"/>
                  <a:pt x="381190" y="146831"/>
                </a:cubicBezTo>
                <a:cubicBezTo>
                  <a:pt x="380621" y="149863"/>
                  <a:pt x="379862" y="153085"/>
                  <a:pt x="378913" y="156211"/>
                </a:cubicBezTo>
                <a:cubicBezTo>
                  <a:pt x="388592" y="156211"/>
                  <a:pt x="398271" y="163507"/>
                  <a:pt x="387833" y="200458"/>
                </a:cubicBezTo>
                <a:cubicBezTo>
                  <a:pt x="379672" y="229262"/>
                  <a:pt x="372080" y="237221"/>
                  <a:pt x="366387" y="237694"/>
                </a:cubicBezTo>
                <a:cubicBezTo>
                  <a:pt x="364394" y="250675"/>
                  <a:pt x="359175" y="265076"/>
                  <a:pt x="351393" y="278720"/>
                </a:cubicBezTo>
                <a:lnTo>
                  <a:pt x="351393" y="322873"/>
                </a:lnTo>
                <a:cubicBezTo>
                  <a:pt x="330232" y="350539"/>
                  <a:pt x="317611" y="385027"/>
                  <a:pt x="317611" y="422358"/>
                </a:cubicBezTo>
                <a:cubicBezTo>
                  <a:pt x="317611" y="472764"/>
                  <a:pt x="340480" y="518053"/>
                  <a:pt x="376635" y="548088"/>
                </a:cubicBezTo>
                <a:lnTo>
                  <a:pt x="26855" y="548088"/>
                </a:lnTo>
                <a:cubicBezTo>
                  <a:pt x="12052" y="548088"/>
                  <a:pt x="0" y="536055"/>
                  <a:pt x="0" y="521274"/>
                </a:cubicBezTo>
                <a:lnTo>
                  <a:pt x="0" y="473806"/>
                </a:lnTo>
                <a:cubicBezTo>
                  <a:pt x="0" y="457983"/>
                  <a:pt x="7212" y="443013"/>
                  <a:pt x="19453" y="432969"/>
                </a:cubicBezTo>
                <a:cubicBezTo>
                  <a:pt x="86638" y="377921"/>
                  <a:pt x="159043" y="341443"/>
                  <a:pt x="173751" y="334242"/>
                </a:cubicBezTo>
                <a:cubicBezTo>
                  <a:pt x="175365" y="333484"/>
                  <a:pt x="176408" y="331779"/>
                  <a:pt x="176408" y="329884"/>
                </a:cubicBezTo>
                <a:lnTo>
                  <a:pt x="176408" y="278720"/>
                </a:lnTo>
                <a:cubicBezTo>
                  <a:pt x="168437" y="265076"/>
                  <a:pt x="163313" y="250675"/>
                  <a:pt x="161320" y="237694"/>
                </a:cubicBezTo>
                <a:cubicBezTo>
                  <a:pt x="155627" y="237221"/>
                  <a:pt x="148035" y="229072"/>
                  <a:pt x="139969" y="200458"/>
                </a:cubicBezTo>
                <a:cubicBezTo>
                  <a:pt x="129531" y="164170"/>
                  <a:pt x="138925" y="156496"/>
                  <a:pt x="148320" y="156211"/>
                </a:cubicBezTo>
                <a:cubicBezTo>
                  <a:pt x="147371" y="153085"/>
                  <a:pt x="146612" y="149863"/>
                  <a:pt x="146042" y="146736"/>
                </a:cubicBezTo>
                <a:cubicBezTo>
                  <a:pt x="142436" y="128450"/>
                  <a:pt x="141487" y="111396"/>
                  <a:pt x="145758" y="95099"/>
                </a:cubicBezTo>
                <a:cubicBezTo>
                  <a:pt x="150787" y="73212"/>
                  <a:pt x="162744" y="55684"/>
                  <a:pt x="176029" y="42135"/>
                </a:cubicBezTo>
                <a:cubicBezTo>
                  <a:pt x="184379" y="33134"/>
                  <a:pt x="193869" y="25459"/>
                  <a:pt x="203928" y="19017"/>
                </a:cubicBezTo>
                <a:cubicBezTo>
                  <a:pt x="212183" y="13332"/>
                  <a:pt x="221293" y="8405"/>
                  <a:pt x="231162" y="5089"/>
                </a:cubicBezTo>
                <a:cubicBezTo>
                  <a:pt x="238849" y="2625"/>
                  <a:pt x="247105" y="825"/>
                  <a:pt x="255835" y="446"/>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等腰三角形 7">
            <a:extLst>
              <a:ext uri="{FF2B5EF4-FFF2-40B4-BE49-F238E27FC236}">
                <a16:creationId xmlns:a16="http://schemas.microsoft.com/office/drawing/2014/main" id="{95BC3C6A-D58F-4E45-971F-DF3CD7166A73}"/>
              </a:ext>
            </a:extLst>
          </p:cNvPr>
          <p:cNvSpPr/>
          <p:nvPr/>
        </p:nvSpPr>
        <p:spPr>
          <a:xfrm rot="16200000">
            <a:off x="4474442" y="3205919"/>
            <a:ext cx="225984" cy="194813"/>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10" name="矩形: 圆角 9">
            <a:extLst>
              <a:ext uri="{FF2B5EF4-FFF2-40B4-BE49-F238E27FC236}">
                <a16:creationId xmlns:a16="http://schemas.microsoft.com/office/drawing/2014/main" id="{40703F69-DF88-4A4B-9A38-FFF53A508400}"/>
              </a:ext>
            </a:extLst>
          </p:cNvPr>
          <p:cNvSpPr/>
          <p:nvPr/>
        </p:nvSpPr>
        <p:spPr>
          <a:xfrm>
            <a:off x="2507368" y="3015108"/>
            <a:ext cx="1704975" cy="576434"/>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dirty="0">
                <a:solidFill>
                  <a:schemeClr val="bg1"/>
                </a:solidFill>
                <a:latin typeface="+mj-ea"/>
                <a:ea typeface="+mj-ea"/>
              </a:rPr>
              <a:t>关键词</a:t>
            </a:r>
          </a:p>
        </p:txBody>
      </p:sp>
      <p:sp>
        <p:nvSpPr>
          <p:cNvPr id="40" name="等腰三角形 39">
            <a:extLst>
              <a:ext uri="{FF2B5EF4-FFF2-40B4-BE49-F238E27FC236}">
                <a16:creationId xmlns:a16="http://schemas.microsoft.com/office/drawing/2014/main" id="{B403D2AB-8E7A-4875-BD55-D5793F80B673}"/>
              </a:ext>
            </a:extLst>
          </p:cNvPr>
          <p:cNvSpPr/>
          <p:nvPr/>
        </p:nvSpPr>
        <p:spPr>
          <a:xfrm rot="5400000" flipH="1">
            <a:off x="7491574" y="3205919"/>
            <a:ext cx="225984" cy="194813"/>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41" name="矩形: 圆角 40">
            <a:extLst>
              <a:ext uri="{FF2B5EF4-FFF2-40B4-BE49-F238E27FC236}">
                <a16:creationId xmlns:a16="http://schemas.microsoft.com/office/drawing/2014/main" id="{0FC42B3B-E7FA-4F53-B046-7BEAD1379E9A}"/>
              </a:ext>
            </a:extLst>
          </p:cNvPr>
          <p:cNvSpPr/>
          <p:nvPr/>
        </p:nvSpPr>
        <p:spPr>
          <a:xfrm flipH="1">
            <a:off x="7979657" y="3015108"/>
            <a:ext cx="1704975" cy="576434"/>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dirty="0">
                <a:solidFill>
                  <a:schemeClr val="bg1"/>
                </a:solidFill>
                <a:latin typeface="+mj-ea"/>
                <a:ea typeface="+mj-ea"/>
              </a:rPr>
              <a:t>关键词</a:t>
            </a:r>
          </a:p>
        </p:txBody>
      </p:sp>
      <p:sp>
        <p:nvSpPr>
          <p:cNvPr id="54" name="矩形: 圆角 53">
            <a:extLst>
              <a:ext uri="{FF2B5EF4-FFF2-40B4-BE49-F238E27FC236}">
                <a16:creationId xmlns:a16="http://schemas.microsoft.com/office/drawing/2014/main" id="{AF455FEC-A78E-4DB7-9115-A71E3DB54A36}"/>
              </a:ext>
            </a:extLst>
          </p:cNvPr>
          <p:cNvSpPr/>
          <p:nvPr/>
        </p:nvSpPr>
        <p:spPr>
          <a:xfrm>
            <a:off x="1502915" y="2329481"/>
            <a:ext cx="1115658" cy="523219"/>
          </a:xfrm>
          <a:prstGeom prst="roundRect">
            <a:avLst>
              <a:gd name="adj" fmla="val 50000"/>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dirty="0">
                <a:solidFill>
                  <a:schemeClr val="accent1"/>
                </a:solidFill>
                <a:latin typeface="+mn-ea"/>
              </a:rPr>
              <a:t>关键词</a:t>
            </a:r>
          </a:p>
        </p:txBody>
      </p:sp>
      <p:sp>
        <p:nvSpPr>
          <p:cNvPr id="55" name="矩形: 圆角 54">
            <a:extLst>
              <a:ext uri="{FF2B5EF4-FFF2-40B4-BE49-F238E27FC236}">
                <a16:creationId xmlns:a16="http://schemas.microsoft.com/office/drawing/2014/main" id="{E7657218-36C8-4061-900A-BE81E73DAC79}"/>
              </a:ext>
            </a:extLst>
          </p:cNvPr>
          <p:cNvSpPr/>
          <p:nvPr/>
        </p:nvSpPr>
        <p:spPr>
          <a:xfrm>
            <a:off x="945086" y="3041716"/>
            <a:ext cx="1115658" cy="523219"/>
          </a:xfrm>
          <a:prstGeom prst="roundRect">
            <a:avLst>
              <a:gd name="adj" fmla="val 50000"/>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dirty="0">
                <a:solidFill>
                  <a:schemeClr val="accent1"/>
                </a:solidFill>
                <a:latin typeface="+mn-ea"/>
              </a:rPr>
              <a:t>关键词</a:t>
            </a:r>
          </a:p>
        </p:txBody>
      </p:sp>
      <p:sp>
        <p:nvSpPr>
          <p:cNvPr id="56" name="矩形: 圆角 55">
            <a:extLst>
              <a:ext uri="{FF2B5EF4-FFF2-40B4-BE49-F238E27FC236}">
                <a16:creationId xmlns:a16="http://schemas.microsoft.com/office/drawing/2014/main" id="{E3FC5A4A-1ECE-4D73-AB60-02B94937D28C}"/>
              </a:ext>
            </a:extLst>
          </p:cNvPr>
          <p:cNvSpPr/>
          <p:nvPr/>
        </p:nvSpPr>
        <p:spPr>
          <a:xfrm>
            <a:off x="1502915" y="3779890"/>
            <a:ext cx="1115658" cy="523219"/>
          </a:xfrm>
          <a:prstGeom prst="roundRect">
            <a:avLst>
              <a:gd name="adj" fmla="val 50000"/>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dirty="0">
                <a:solidFill>
                  <a:schemeClr val="accent1"/>
                </a:solidFill>
                <a:latin typeface="+mn-ea"/>
              </a:rPr>
              <a:t>关键词</a:t>
            </a:r>
          </a:p>
        </p:txBody>
      </p:sp>
      <p:sp>
        <p:nvSpPr>
          <p:cNvPr id="57" name="矩形: 圆角 56">
            <a:extLst>
              <a:ext uri="{FF2B5EF4-FFF2-40B4-BE49-F238E27FC236}">
                <a16:creationId xmlns:a16="http://schemas.microsoft.com/office/drawing/2014/main" id="{88B1ED55-8516-4CA4-8CDC-2D9E3A600CD8}"/>
              </a:ext>
            </a:extLst>
          </p:cNvPr>
          <p:cNvSpPr/>
          <p:nvPr/>
        </p:nvSpPr>
        <p:spPr>
          <a:xfrm flipH="1">
            <a:off x="9962316" y="2329481"/>
            <a:ext cx="1115658" cy="523219"/>
          </a:xfrm>
          <a:prstGeom prst="roundRect">
            <a:avLst>
              <a:gd name="adj" fmla="val 50000"/>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dirty="0">
                <a:solidFill>
                  <a:schemeClr val="accent1"/>
                </a:solidFill>
                <a:latin typeface="+mn-ea"/>
              </a:rPr>
              <a:t>关键词</a:t>
            </a:r>
          </a:p>
        </p:txBody>
      </p:sp>
      <p:sp>
        <p:nvSpPr>
          <p:cNvPr id="76" name="矩形: 圆角 75">
            <a:extLst>
              <a:ext uri="{FF2B5EF4-FFF2-40B4-BE49-F238E27FC236}">
                <a16:creationId xmlns:a16="http://schemas.microsoft.com/office/drawing/2014/main" id="{B1529165-E0C1-43D1-B0F5-5655A094A0E9}"/>
              </a:ext>
            </a:extLst>
          </p:cNvPr>
          <p:cNvSpPr/>
          <p:nvPr/>
        </p:nvSpPr>
        <p:spPr>
          <a:xfrm flipH="1">
            <a:off x="10520145" y="3041716"/>
            <a:ext cx="1115658" cy="523219"/>
          </a:xfrm>
          <a:prstGeom prst="roundRect">
            <a:avLst>
              <a:gd name="adj" fmla="val 50000"/>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dirty="0">
                <a:solidFill>
                  <a:schemeClr val="accent1"/>
                </a:solidFill>
                <a:latin typeface="+mn-ea"/>
              </a:rPr>
              <a:t>关键词</a:t>
            </a:r>
          </a:p>
        </p:txBody>
      </p:sp>
      <p:sp>
        <p:nvSpPr>
          <p:cNvPr id="77" name="矩形: 圆角 76">
            <a:extLst>
              <a:ext uri="{FF2B5EF4-FFF2-40B4-BE49-F238E27FC236}">
                <a16:creationId xmlns:a16="http://schemas.microsoft.com/office/drawing/2014/main" id="{B9E188D3-5D8A-4E71-AE5E-089B969E3ADE}"/>
              </a:ext>
            </a:extLst>
          </p:cNvPr>
          <p:cNvSpPr/>
          <p:nvPr/>
        </p:nvSpPr>
        <p:spPr>
          <a:xfrm flipH="1">
            <a:off x="9962316" y="3779890"/>
            <a:ext cx="1115658" cy="523219"/>
          </a:xfrm>
          <a:prstGeom prst="roundRect">
            <a:avLst>
              <a:gd name="adj" fmla="val 50000"/>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dirty="0">
                <a:solidFill>
                  <a:schemeClr val="accent1"/>
                </a:solidFill>
                <a:latin typeface="+mn-ea"/>
              </a:rPr>
              <a:t>关键词</a:t>
            </a:r>
          </a:p>
        </p:txBody>
      </p:sp>
      <p:sp>
        <p:nvSpPr>
          <p:cNvPr id="78" name="矩形 77">
            <a:extLst>
              <a:ext uri="{FF2B5EF4-FFF2-40B4-BE49-F238E27FC236}">
                <a16:creationId xmlns:a16="http://schemas.microsoft.com/office/drawing/2014/main" id="{1F9E8E1C-5491-42D9-AD5A-49388A768680}"/>
              </a:ext>
            </a:extLst>
          </p:cNvPr>
          <p:cNvSpPr/>
          <p:nvPr/>
        </p:nvSpPr>
        <p:spPr>
          <a:xfrm>
            <a:off x="0" y="5026819"/>
            <a:ext cx="7069845" cy="114766"/>
          </a:xfrm>
          <a:prstGeom prst="rect">
            <a:avLst/>
          </a:prstGeom>
          <a:gradFill>
            <a:gsLst>
              <a:gs pos="0">
                <a:srgbClr val="031761">
                  <a:alpha val="20000"/>
                </a:srgbClr>
              </a:gs>
              <a:gs pos="100000">
                <a:schemeClr val="accent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79" name="矩形 78">
            <a:extLst>
              <a:ext uri="{FF2B5EF4-FFF2-40B4-BE49-F238E27FC236}">
                <a16:creationId xmlns:a16="http://schemas.microsoft.com/office/drawing/2014/main" id="{B1998CC1-EBFC-4403-9F63-B8A91708707C}"/>
              </a:ext>
            </a:extLst>
          </p:cNvPr>
          <p:cNvSpPr/>
          <p:nvPr/>
        </p:nvSpPr>
        <p:spPr>
          <a:xfrm flipH="1">
            <a:off x="5122155" y="1361277"/>
            <a:ext cx="7069845" cy="114766"/>
          </a:xfrm>
          <a:prstGeom prst="rect">
            <a:avLst/>
          </a:prstGeom>
          <a:gradFill>
            <a:gsLst>
              <a:gs pos="0">
                <a:srgbClr val="031761">
                  <a:alpha val="20000"/>
                </a:srgbClr>
              </a:gs>
              <a:gs pos="100000">
                <a:schemeClr val="accent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Tree>
    <p:custDataLst>
      <p:tags r:id="rId2"/>
    </p:custDataLst>
    <p:extLst>
      <p:ext uri="{BB962C8B-B14F-4D97-AF65-F5344CB8AC3E}">
        <p14:creationId xmlns:p14="http://schemas.microsoft.com/office/powerpoint/2010/main" val="1113074173"/>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2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任意形状 9">
            <a:extLst>
              <a:ext uri="{FF2B5EF4-FFF2-40B4-BE49-F238E27FC236}">
                <a16:creationId xmlns:a16="http://schemas.microsoft.com/office/drawing/2014/main" id="{79C0392D-8AB4-4C9C-BB47-E593C645F444}"/>
              </a:ext>
            </a:extLst>
          </p:cNvPr>
          <p:cNvSpPr/>
          <p:nvPr/>
        </p:nvSpPr>
        <p:spPr>
          <a:xfrm>
            <a:off x="0" y="6457950"/>
            <a:ext cx="12192000" cy="400050"/>
          </a:xfrm>
          <a:custGeom>
            <a:avLst/>
            <a:gdLst>
              <a:gd name="connsiteX0" fmla="*/ 12192000 w 12192000"/>
              <a:gd name="connsiteY0" fmla="*/ 0 h 329410"/>
              <a:gd name="connsiteX1" fmla="*/ 12192000 w 12192000"/>
              <a:gd name="connsiteY1" fmla="*/ 329410 h 329410"/>
              <a:gd name="connsiteX2" fmla="*/ 0 w 12192000"/>
              <a:gd name="connsiteY2" fmla="*/ 329410 h 329410"/>
              <a:gd name="connsiteX3" fmla="*/ 0 w 12192000"/>
              <a:gd name="connsiteY3" fmla="*/ 29375 h 329410"/>
              <a:gd name="connsiteX4" fmla="*/ 577089 w 12192000"/>
              <a:gd name="connsiteY4" fmla="*/ 49593 h 329410"/>
              <a:gd name="connsiteX5" fmla="*/ 5704114 w 12192000"/>
              <a:gd name="connsiteY5" fmla="*/ 124873 h 329410"/>
              <a:gd name="connsiteX6" fmla="*/ 11982536 w 12192000"/>
              <a:gd name="connsiteY6" fmla="*/ 9255 h 329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329410">
                <a:moveTo>
                  <a:pt x="12192000" y="0"/>
                </a:moveTo>
                <a:lnTo>
                  <a:pt x="12192000" y="329410"/>
                </a:lnTo>
                <a:lnTo>
                  <a:pt x="0" y="329410"/>
                </a:lnTo>
                <a:lnTo>
                  <a:pt x="0" y="29375"/>
                </a:lnTo>
                <a:lnTo>
                  <a:pt x="577089" y="49593"/>
                </a:lnTo>
                <a:cubicBezTo>
                  <a:pt x="2152931" y="98068"/>
                  <a:pt x="3885480" y="124873"/>
                  <a:pt x="5704114" y="124873"/>
                </a:cubicBezTo>
                <a:cubicBezTo>
                  <a:pt x="7977407" y="124873"/>
                  <a:pt x="10116192" y="82990"/>
                  <a:pt x="11982536" y="9255"/>
                </a:cubicBezTo>
                <a:close/>
              </a:path>
            </a:pathLst>
          </a:custGeom>
          <a:solidFill>
            <a:schemeClr val="accent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zh-CN" altLang="en-US"/>
          </a:p>
        </p:txBody>
      </p:sp>
      <p:grpSp>
        <p:nvGrpSpPr>
          <p:cNvPr id="7" name="组合 6">
            <a:extLst>
              <a:ext uri="{FF2B5EF4-FFF2-40B4-BE49-F238E27FC236}">
                <a16:creationId xmlns:a16="http://schemas.microsoft.com/office/drawing/2014/main" id="{CCE20157-4DEF-4149-855A-8DDA3407F1FB}"/>
              </a:ext>
            </a:extLst>
          </p:cNvPr>
          <p:cNvGrpSpPr/>
          <p:nvPr/>
        </p:nvGrpSpPr>
        <p:grpSpPr>
          <a:xfrm>
            <a:off x="1297366" y="2223785"/>
            <a:ext cx="2465443" cy="920290"/>
            <a:chOff x="1902535" y="2223785"/>
            <a:chExt cx="2465443" cy="920290"/>
          </a:xfrm>
        </p:grpSpPr>
        <p:sp>
          <p:nvSpPr>
            <p:cNvPr id="48" name="梯形 47">
              <a:extLst>
                <a:ext uri="{FF2B5EF4-FFF2-40B4-BE49-F238E27FC236}">
                  <a16:creationId xmlns:a16="http://schemas.microsoft.com/office/drawing/2014/main" id="{89421EB4-FA6A-4B9B-8919-A3A8AA18983F}"/>
                </a:ext>
              </a:extLst>
            </p:cNvPr>
            <p:cNvSpPr/>
            <p:nvPr/>
          </p:nvSpPr>
          <p:spPr>
            <a:xfrm>
              <a:off x="1954157" y="2436312"/>
              <a:ext cx="2362200" cy="190500"/>
            </a:xfrm>
            <a:prstGeom prst="trapezoid">
              <a:avLst>
                <a:gd name="adj" fmla="val 183222"/>
              </a:avLst>
            </a:prstGeom>
            <a:gradFill>
              <a:gsLst>
                <a:gs pos="100000">
                  <a:schemeClr val="accent1">
                    <a:alpha val="42000"/>
                  </a:schemeClr>
                </a:gs>
                <a:gs pos="0">
                  <a:schemeClr val="accent1">
                    <a:alpha val="0"/>
                  </a:schemeClr>
                </a:gs>
              </a:gsLst>
              <a:lin ang="5400000" scaled="1"/>
            </a:gradFill>
            <a:ln cap="rnd">
              <a:gradFill>
                <a:gsLst>
                  <a:gs pos="100000">
                    <a:schemeClr val="accent1"/>
                  </a:gs>
                  <a:gs pos="1000">
                    <a:schemeClr val="accent1">
                      <a:alpha val="0"/>
                    </a:schemeClr>
                  </a:gs>
                </a:gsLst>
                <a:lin ang="5400000" scaled="1"/>
              </a:gra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9" name="文本框 48">
              <a:extLst>
                <a:ext uri="{FF2B5EF4-FFF2-40B4-BE49-F238E27FC236}">
                  <a16:creationId xmlns:a16="http://schemas.microsoft.com/office/drawing/2014/main" id="{1888AA2E-2528-4E5E-95D5-DA3907142E79}"/>
                </a:ext>
              </a:extLst>
            </p:cNvPr>
            <p:cNvSpPr txBox="1"/>
            <p:nvPr/>
          </p:nvSpPr>
          <p:spPr>
            <a:xfrm>
              <a:off x="2365816" y="2223785"/>
              <a:ext cx="1538883" cy="369332"/>
            </a:xfrm>
            <a:prstGeom prst="rect">
              <a:avLst/>
            </a:prstGeom>
            <a:noFill/>
          </p:spPr>
          <p:txBody>
            <a:bodyPr wrap="none" lIns="0" tIns="0" rIns="0" bIns="0" rtlCol="0" anchor="t">
              <a:spAutoFit/>
            </a:bodyPr>
            <a:lstStyle/>
            <a:p>
              <a:pPr algn="ctr"/>
              <a:r>
                <a:rPr lang="zh-CN" altLang="en-US" sz="2400" dirty="0">
                  <a:solidFill>
                    <a:schemeClr val="accent1"/>
                  </a:solidFill>
                  <a:latin typeface="+mj-ea"/>
                  <a:ea typeface="+mj-ea"/>
                </a:rPr>
                <a:t>关键词标题</a:t>
              </a:r>
            </a:p>
          </p:txBody>
        </p:sp>
        <p:sp>
          <p:nvSpPr>
            <p:cNvPr id="50" name="文本框 49">
              <a:extLst>
                <a:ext uri="{FF2B5EF4-FFF2-40B4-BE49-F238E27FC236}">
                  <a16:creationId xmlns:a16="http://schemas.microsoft.com/office/drawing/2014/main" id="{8DBAC015-7F97-4E0A-A8A2-6974B7881817}"/>
                </a:ext>
              </a:extLst>
            </p:cNvPr>
            <p:cNvSpPr txBox="1"/>
            <p:nvPr/>
          </p:nvSpPr>
          <p:spPr>
            <a:xfrm>
              <a:off x="1902535" y="2756789"/>
              <a:ext cx="2465443" cy="387286"/>
            </a:xfrm>
            <a:prstGeom prst="rect">
              <a:avLst/>
            </a:prstGeom>
            <a:noFill/>
          </p:spPr>
          <p:txBody>
            <a:bodyPr wrap="square" lIns="0" tIns="0" rIns="0" bIns="0" rtlCol="0" anchor="t">
              <a:spAutoFit/>
            </a:bodyPr>
            <a:lstStyle/>
            <a:p>
              <a:pPr algn="ctr">
                <a:lnSpc>
                  <a:spcPct val="130000"/>
                </a:lnSpc>
              </a:pPr>
              <a:r>
                <a:rPr lang="en-US" altLang="zh-CN" sz="1000" b="0" dirty="0">
                  <a:solidFill>
                    <a:schemeClr val="tx1">
                      <a:lumMod val="75000"/>
                      <a:lumOff val="25000"/>
                    </a:schemeClr>
                  </a:solidFill>
                  <a:effectLst/>
                  <a:latin typeface="+mn-ea"/>
                </a:rPr>
                <a:t>Lorem ipsum dolor sit amet, consectetur adipisicing elit, sed do eiusmod tempor</a:t>
              </a:r>
              <a:endParaRPr lang="zh-CN" altLang="en-US" sz="1000" b="0" dirty="0">
                <a:solidFill>
                  <a:schemeClr val="tx1">
                    <a:lumMod val="75000"/>
                    <a:lumOff val="25000"/>
                  </a:schemeClr>
                </a:solidFill>
                <a:effectLst/>
                <a:latin typeface="+mn-ea"/>
              </a:endParaRPr>
            </a:p>
          </p:txBody>
        </p:sp>
      </p:grpSp>
      <p:grpSp>
        <p:nvGrpSpPr>
          <p:cNvPr id="52" name="组合 51">
            <a:extLst>
              <a:ext uri="{FF2B5EF4-FFF2-40B4-BE49-F238E27FC236}">
                <a16:creationId xmlns:a16="http://schemas.microsoft.com/office/drawing/2014/main" id="{54EB65A1-8F68-4892-9EAD-0FDC07394A7B}"/>
              </a:ext>
            </a:extLst>
          </p:cNvPr>
          <p:cNvGrpSpPr/>
          <p:nvPr/>
        </p:nvGrpSpPr>
        <p:grpSpPr>
          <a:xfrm>
            <a:off x="4863279" y="1663613"/>
            <a:ext cx="2465443" cy="920290"/>
            <a:chOff x="1902535" y="2223785"/>
            <a:chExt cx="2465443" cy="920290"/>
          </a:xfrm>
        </p:grpSpPr>
        <p:sp>
          <p:nvSpPr>
            <p:cNvPr id="53" name="梯形 52">
              <a:extLst>
                <a:ext uri="{FF2B5EF4-FFF2-40B4-BE49-F238E27FC236}">
                  <a16:creationId xmlns:a16="http://schemas.microsoft.com/office/drawing/2014/main" id="{582047EA-C70F-4A54-A507-01B0F3646D9A}"/>
                </a:ext>
              </a:extLst>
            </p:cNvPr>
            <p:cNvSpPr/>
            <p:nvPr/>
          </p:nvSpPr>
          <p:spPr>
            <a:xfrm>
              <a:off x="1954157" y="2436312"/>
              <a:ext cx="2362200" cy="190500"/>
            </a:xfrm>
            <a:prstGeom prst="trapezoid">
              <a:avLst>
                <a:gd name="adj" fmla="val 183222"/>
              </a:avLst>
            </a:prstGeom>
            <a:gradFill>
              <a:gsLst>
                <a:gs pos="100000">
                  <a:schemeClr val="accent1">
                    <a:alpha val="42000"/>
                  </a:schemeClr>
                </a:gs>
                <a:gs pos="0">
                  <a:schemeClr val="accent1">
                    <a:alpha val="0"/>
                  </a:schemeClr>
                </a:gs>
              </a:gsLst>
              <a:lin ang="5400000" scaled="1"/>
            </a:gradFill>
            <a:ln cap="rnd">
              <a:gradFill>
                <a:gsLst>
                  <a:gs pos="100000">
                    <a:schemeClr val="accent1"/>
                  </a:gs>
                  <a:gs pos="1000">
                    <a:schemeClr val="accent1">
                      <a:alpha val="0"/>
                    </a:schemeClr>
                  </a:gs>
                </a:gsLst>
                <a:lin ang="5400000" scaled="1"/>
              </a:gra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0" name="文本框 59">
              <a:extLst>
                <a:ext uri="{FF2B5EF4-FFF2-40B4-BE49-F238E27FC236}">
                  <a16:creationId xmlns:a16="http://schemas.microsoft.com/office/drawing/2014/main" id="{B28A455B-0D34-4708-9651-810D0600BCFF}"/>
                </a:ext>
              </a:extLst>
            </p:cNvPr>
            <p:cNvSpPr txBox="1"/>
            <p:nvPr/>
          </p:nvSpPr>
          <p:spPr>
            <a:xfrm>
              <a:off x="2365816" y="2223785"/>
              <a:ext cx="1538883" cy="369332"/>
            </a:xfrm>
            <a:prstGeom prst="rect">
              <a:avLst/>
            </a:prstGeom>
            <a:noFill/>
          </p:spPr>
          <p:txBody>
            <a:bodyPr wrap="none" lIns="0" tIns="0" rIns="0" bIns="0" rtlCol="0" anchor="t">
              <a:spAutoFit/>
            </a:bodyPr>
            <a:lstStyle/>
            <a:p>
              <a:pPr algn="ctr"/>
              <a:r>
                <a:rPr lang="zh-CN" altLang="en-US" sz="2400" dirty="0">
                  <a:solidFill>
                    <a:schemeClr val="accent1"/>
                  </a:solidFill>
                  <a:latin typeface="+mj-ea"/>
                  <a:ea typeface="+mj-ea"/>
                </a:rPr>
                <a:t>关键词标题</a:t>
              </a:r>
            </a:p>
          </p:txBody>
        </p:sp>
        <p:sp>
          <p:nvSpPr>
            <p:cNvPr id="61" name="文本框 60">
              <a:extLst>
                <a:ext uri="{FF2B5EF4-FFF2-40B4-BE49-F238E27FC236}">
                  <a16:creationId xmlns:a16="http://schemas.microsoft.com/office/drawing/2014/main" id="{D2578262-E6E8-43F8-AF48-2EE5D73FD039}"/>
                </a:ext>
              </a:extLst>
            </p:cNvPr>
            <p:cNvSpPr txBox="1"/>
            <p:nvPr/>
          </p:nvSpPr>
          <p:spPr>
            <a:xfrm>
              <a:off x="1902535" y="2756789"/>
              <a:ext cx="2465443" cy="387286"/>
            </a:xfrm>
            <a:prstGeom prst="rect">
              <a:avLst/>
            </a:prstGeom>
            <a:noFill/>
          </p:spPr>
          <p:txBody>
            <a:bodyPr wrap="square" lIns="0" tIns="0" rIns="0" bIns="0" rtlCol="0" anchor="t">
              <a:spAutoFit/>
            </a:bodyPr>
            <a:lstStyle/>
            <a:p>
              <a:pPr algn="ctr">
                <a:lnSpc>
                  <a:spcPct val="130000"/>
                </a:lnSpc>
              </a:pPr>
              <a:r>
                <a:rPr lang="en-US" altLang="zh-CN" sz="1000" b="0" dirty="0">
                  <a:solidFill>
                    <a:schemeClr val="tx1">
                      <a:lumMod val="75000"/>
                      <a:lumOff val="25000"/>
                    </a:schemeClr>
                  </a:solidFill>
                  <a:effectLst/>
                  <a:latin typeface="+mn-ea"/>
                </a:rPr>
                <a:t>Lorem ipsum dolor sit amet, consectetur adipisicing elit, sed do eiusmod tempor</a:t>
              </a:r>
              <a:endParaRPr lang="zh-CN" altLang="en-US" sz="1000" b="0" dirty="0">
                <a:solidFill>
                  <a:schemeClr val="tx1">
                    <a:lumMod val="75000"/>
                    <a:lumOff val="25000"/>
                  </a:schemeClr>
                </a:solidFill>
                <a:effectLst/>
                <a:latin typeface="+mn-ea"/>
              </a:endParaRPr>
            </a:p>
          </p:txBody>
        </p:sp>
      </p:grpSp>
      <p:grpSp>
        <p:nvGrpSpPr>
          <p:cNvPr id="62" name="组合 61">
            <a:extLst>
              <a:ext uri="{FF2B5EF4-FFF2-40B4-BE49-F238E27FC236}">
                <a16:creationId xmlns:a16="http://schemas.microsoft.com/office/drawing/2014/main" id="{31BA3190-3293-4612-B7BB-141B58F18187}"/>
              </a:ext>
            </a:extLst>
          </p:cNvPr>
          <p:cNvGrpSpPr/>
          <p:nvPr/>
        </p:nvGrpSpPr>
        <p:grpSpPr>
          <a:xfrm>
            <a:off x="8429192" y="2223785"/>
            <a:ext cx="2465443" cy="920290"/>
            <a:chOff x="1902535" y="2223785"/>
            <a:chExt cx="2465443" cy="920290"/>
          </a:xfrm>
        </p:grpSpPr>
        <p:sp>
          <p:nvSpPr>
            <p:cNvPr id="63" name="梯形 62">
              <a:extLst>
                <a:ext uri="{FF2B5EF4-FFF2-40B4-BE49-F238E27FC236}">
                  <a16:creationId xmlns:a16="http://schemas.microsoft.com/office/drawing/2014/main" id="{2F599F67-7DC2-4443-A29E-E957A4FC2D6C}"/>
                </a:ext>
              </a:extLst>
            </p:cNvPr>
            <p:cNvSpPr/>
            <p:nvPr/>
          </p:nvSpPr>
          <p:spPr>
            <a:xfrm>
              <a:off x="1954157" y="2436312"/>
              <a:ext cx="2362200" cy="190500"/>
            </a:xfrm>
            <a:prstGeom prst="trapezoid">
              <a:avLst>
                <a:gd name="adj" fmla="val 183222"/>
              </a:avLst>
            </a:prstGeom>
            <a:gradFill>
              <a:gsLst>
                <a:gs pos="100000">
                  <a:schemeClr val="accent1">
                    <a:alpha val="42000"/>
                  </a:schemeClr>
                </a:gs>
                <a:gs pos="0">
                  <a:schemeClr val="accent1">
                    <a:alpha val="0"/>
                  </a:schemeClr>
                </a:gs>
              </a:gsLst>
              <a:lin ang="5400000" scaled="1"/>
            </a:gradFill>
            <a:ln cap="rnd">
              <a:gradFill>
                <a:gsLst>
                  <a:gs pos="100000">
                    <a:schemeClr val="accent1"/>
                  </a:gs>
                  <a:gs pos="1000">
                    <a:schemeClr val="accent1">
                      <a:alpha val="0"/>
                    </a:schemeClr>
                  </a:gs>
                </a:gsLst>
                <a:lin ang="5400000" scaled="1"/>
              </a:gra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4" name="文本框 63">
              <a:extLst>
                <a:ext uri="{FF2B5EF4-FFF2-40B4-BE49-F238E27FC236}">
                  <a16:creationId xmlns:a16="http://schemas.microsoft.com/office/drawing/2014/main" id="{AC1AD0AC-B80D-4A9A-AE6A-157698B54D6C}"/>
                </a:ext>
              </a:extLst>
            </p:cNvPr>
            <p:cNvSpPr txBox="1"/>
            <p:nvPr/>
          </p:nvSpPr>
          <p:spPr>
            <a:xfrm>
              <a:off x="2365816" y="2223785"/>
              <a:ext cx="1538883" cy="369332"/>
            </a:xfrm>
            <a:prstGeom prst="rect">
              <a:avLst/>
            </a:prstGeom>
            <a:noFill/>
          </p:spPr>
          <p:txBody>
            <a:bodyPr wrap="none" lIns="0" tIns="0" rIns="0" bIns="0" rtlCol="0" anchor="t">
              <a:spAutoFit/>
            </a:bodyPr>
            <a:lstStyle/>
            <a:p>
              <a:pPr algn="ctr"/>
              <a:r>
                <a:rPr lang="zh-CN" altLang="en-US" sz="2400" dirty="0">
                  <a:solidFill>
                    <a:schemeClr val="accent1"/>
                  </a:solidFill>
                  <a:latin typeface="+mj-ea"/>
                  <a:ea typeface="+mj-ea"/>
                </a:rPr>
                <a:t>关键词标题</a:t>
              </a:r>
            </a:p>
          </p:txBody>
        </p:sp>
        <p:sp>
          <p:nvSpPr>
            <p:cNvPr id="65" name="文本框 64">
              <a:extLst>
                <a:ext uri="{FF2B5EF4-FFF2-40B4-BE49-F238E27FC236}">
                  <a16:creationId xmlns:a16="http://schemas.microsoft.com/office/drawing/2014/main" id="{04689BC2-3245-4C8B-BAD9-A766E3AE3471}"/>
                </a:ext>
              </a:extLst>
            </p:cNvPr>
            <p:cNvSpPr txBox="1"/>
            <p:nvPr/>
          </p:nvSpPr>
          <p:spPr>
            <a:xfrm>
              <a:off x="1902535" y="2756789"/>
              <a:ext cx="2465443" cy="387286"/>
            </a:xfrm>
            <a:prstGeom prst="rect">
              <a:avLst/>
            </a:prstGeom>
            <a:noFill/>
          </p:spPr>
          <p:txBody>
            <a:bodyPr wrap="square" lIns="0" tIns="0" rIns="0" bIns="0" rtlCol="0" anchor="t">
              <a:spAutoFit/>
            </a:bodyPr>
            <a:lstStyle/>
            <a:p>
              <a:pPr algn="ctr">
                <a:lnSpc>
                  <a:spcPct val="130000"/>
                </a:lnSpc>
              </a:pPr>
              <a:r>
                <a:rPr lang="en-US" altLang="zh-CN" sz="1000" b="0" dirty="0">
                  <a:solidFill>
                    <a:schemeClr val="tx1">
                      <a:lumMod val="75000"/>
                      <a:lumOff val="25000"/>
                    </a:schemeClr>
                  </a:solidFill>
                  <a:effectLst/>
                  <a:latin typeface="+mn-ea"/>
                </a:rPr>
                <a:t>Lorem ipsum dolor sit amet, consectetur adipisicing elit, sed do eiusmod tempor</a:t>
              </a:r>
              <a:endParaRPr lang="zh-CN" altLang="en-US" sz="1000" b="0" dirty="0">
                <a:solidFill>
                  <a:schemeClr val="tx1">
                    <a:lumMod val="75000"/>
                    <a:lumOff val="25000"/>
                  </a:schemeClr>
                </a:solidFill>
                <a:effectLst/>
                <a:latin typeface="+mn-ea"/>
              </a:endParaRPr>
            </a:p>
          </p:txBody>
        </p:sp>
      </p:grpSp>
      <p:grpSp>
        <p:nvGrpSpPr>
          <p:cNvPr id="66" name="组合 65">
            <a:extLst>
              <a:ext uri="{FF2B5EF4-FFF2-40B4-BE49-F238E27FC236}">
                <a16:creationId xmlns:a16="http://schemas.microsoft.com/office/drawing/2014/main" id="{5C9282ED-E873-47E6-B97B-53573F90C714}"/>
              </a:ext>
            </a:extLst>
          </p:cNvPr>
          <p:cNvGrpSpPr/>
          <p:nvPr/>
        </p:nvGrpSpPr>
        <p:grpSpPr>
          <a:xfrm>
            <a:off x="1297366" y="4226321"/>
            <a:ext cx="2465443" cy="920290"/>
            <a:chOff x="1902535" y="2223785"/>
            <a:chExt cx="2465443" cy="920290"/>
          </a:xfrm>
        </p:grpSpPr>
        <p:sp>
          <p:nvSpPr>
            <p:cNvPr id="67" name="梯形 66">
              <a:extLst>
                <a:ext uri="{FF2B5EF4-FFF2-40B4-BE49-F238E27FC236}">
                  <a16:creationId xmlns:a16="http://schemas.microsoft.com/office/drawing/2014/main" id="{3F8F85DB-A2E6-450D-B47B-E533B08C0CC7}"/>
                </a:ext>
              </a:extLst>
            </p:cNvPr>
            <p:cNvSpPr/>
            <p:nvPr/>
          </p:nvSpPr>
          <p:spPr>
            <a:xfrm>
              <a:off x="1954157" y="2436312"/>
              <a:ext cx="2362200" cy="190500"/>
            </a:xfrm>
            <a:prstGeom prst="trapezoid">
              <a:avLst>
                <a:gd name="adj" fmla="val 183222"/>
              </a:avLst>
            </a:prstGeom>
            <a:gradFill>
              <a:gsLst>
                <a:gs pos="100000">
                  <a:schemeClr val="accent1">
                    <a:alpha val="42000"/>
                  </a:schemeClr>
                </a:gs>
                <a:gs pos="0">
                  <a:schemeClr val="accent1">
                    <a:alpha val="0"/>
                  </a:schemeClr>
                </a:gs>
              </a:gsLst>
              <a:lin ang="5400000" scaled="1"/>
            </a:gradFill>
            <a:ln cap="rnd">
              <a:gradFill>
                <a:gsLst>
                  <a:gs pos="100000">
                    <a:schemeClr val="accent1"/>
                  </a:gs>
                  <a:gs pos="1000">
                    <a:schemeClr val="accent1">
                      <a:alpha val="0"/>
                    </a:schemeClr>
                  </a:gs>
                </a:gsLst>
                <a:lin ang="5400000" scaled="1"/>
              </a:gra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8" name="文本框 67">
              <a:extLst>
                <a:ext uri="{FF2B5EF4-FFF2-40B4-BE49-F238E27FC236}">
                  <a16:creationId xmlns:a16="http://schemas.microsoft.com/office/drawing/2014/main" id="{97C563BB-50E0-40F8-BE0A-84BE6605BD2B}"/>
                </a:ext>
              </a:extLst>
            </p:cNvPr>
            <p:cNvSpPr txBox="1"/>
            <p:nvPr/>
          </p:nvSpPr>
          <p:spPr>
            <a:xfrm>
              <a:off x="2365816" y="2223785"/>
              <a:ext cx="1538883" cy="369332"/>
            </a:xfrm>
            <a:prstGeom prst="rect">
              <a:avLst/>
            </a:prstGeom>
            <a:noFill/>
          </p:spPr>
          <p:txBody>
            <a:bodyPr wrap="none" lIns="0" tIns="0" rIns="0" bIns="0" rtlCol="0" anchor="t">
              <a:spAutoFit/>
            </a:bodyPr>
            <a:lstStyle/>
            <a:p>
              <a:pPr algn="ctr"/>
              <a:r>
                <a:rPr lang="zh-CN" altLang="en-US" sz="2400" dirty="0">
                  <a:solidFill>
                    <a:schemeClr val="accent1"/>
                  </a:solidFill>
                  <a:latin typeface="+mj-ea"/>
                  <a:ea typeface="+mj-ea"/>
                </a:rPr>
                <a:t>关键词标题</a:t>
              </a:r>
            </a:p>
          </p:txBody>
        </p:sp>
        <p:sp>
          <p:nvSpPr>
            <p:cNvPr id="71" name="文本框 70">
              <a:extLst>
                <a:ext uri="{FF2B5EF4-FFF2-40B4-BE49-F238E27FC236}">
                  <a16:creationId xmlns:a16="http://schemas.microsoft.com/office/drawing/2014/main" id="{84D2AAA8-0362-490F-AB78-437357383961}"/>
                </a:ext>
              </a:extLst>
            </p:cNvPr>
            <p:cNvSpPr txBox="1"/>
            <p:nvPr/>
          </p:nvSpPr>
          <p:spPr>
            <a:xfrm>
              <a:off x="1902535" y="2756789"/>
              <a:ext cx="2465443" cy="387286"/>
            </a:xfrm>
            <a:prstGeom prst="rect">
              <a:avLst/>
            </a:prstGeom>
            <a:noFill/>
          </p:spPr>
          <p:txBody>
            <a:bodyPr wrap="square" lIns="0" tIns="0" rIns="0" bIns="0" rtlCol="0" anchor="t">
              <a:spAutoFit/>
            </a:bodyPr>
            <a:lstStyle/>
            <a:p>
              <a:pPr algn="ctr">
                <a:lnSpc>
                  <a:spcPct val="130000"/>
                </a:lnSpc>
              </a:pPr>
              <a:r>
                <a:rPr lang="en-US" altLang="zh-CN" sz="1000" b="0" dirty="0">
                  <a:solidFill>
                    <a:schemeClr val="tx1">
                      <a:lumMod val="75000"/>
                      <a:lumOff val="25000"/>
                    </a:schemeClr>
                  </a:solidFill>
                  <a:effectLst/>
                  <a:latin typeface="+mn-ea"/>
                </a:rPr>
                <a:t>Lorem ipsum dolor sit amet, consectetur adipisicing elit, sed do eiusmod tempor</a:t>
              </a:r>
              <a:endParaRPr lang="zh-CN" altLang="en-US" sz="1000" b="0" dirty="0">
                <a:solidFill>
                  <a:schemeClr val="tx1">
                    <a:lumMod val="75000"/>
                    <a:lumOff val="25000"/>
                  </a:schemeClr>
                </a:solidFill>
                <a:effectLst/>
                <a:latin typeface="+mn-ea"/>
              </a:endParaRPr>
            </a:p>
          </p:txBody>
        </p:sp>
      </p:grpSp>
      <p:grpSp>
        <p:nvGrpSpPr>
          <p:cNvPr id="74" name="组合 73">
            <a:extLst>
              <a:ext uri="{FF2B5EF4-FFF2-40B4-BE49-F238E27FC236}">
                <a16:creationId xmlns:a16="http://schemas.microsoft.com/office/drawing/2014/main" id="{7D6E86C6-31D3-45F1-AF77-6D7BA553E003}"/>
              </a:ext>
            </a:extLst>
          </p:cNvPr>
          <p:cNvGrpSpPr/>
          <p:nvPr/>
        </p:nvGrpSpPr>
        <p:grpSpPr>
          <a:xfrm>
            <a:off x="4863279" y="3666149"/>
            <a:ext cx="2465443" cy="920290"/>
            <a:chOff x="1902535" y="2223785"/>
            <a:chExt cx="2465443" cy="920290"/>
          </a:xfrm>
        </p:grpSpPr>
        <p:sp>
          <p:nvSpPr>
            <p:cNvPr id="77" name="梯形 76">
              <a:extLst>
                <a:ext uri="{FF2B5EF4-FFF2-40B4-BE49-F238E27FC236}">
                  <a16:creationId xmlns:a16="http://schemas.microsoft.com/office/drawing/2014/main" id="{28865902-56B8-4849-8D0C-A446FE2C310A}"/>
                </a:ext>
              </a:extLst>
            </p:cNvPr>
            <p:cNvSpPr/>
            <p:nvPr/>
          </p:nvSpPr>
          <p:spPr>
            <a:xfrm>
              <a:off x="1954157" y="2436312"/>
              <a:ext cx="2362200" cy="190500"/>
            </a:xfrm>
            <a:prstGeom prst="trapezoid">
              <a:avLst>
                <a:gd name="adj" fmla="val 183222"/>
              </a:avLst>
            </a:prstGeom>
            <a:gradFill>
              <a:gsLst>
                <a:gs pos="100000">
                  <a:schemeClr val="accent1">
                    <a:alpha val="42000"/>
                  </a:schemeClr>
                </a:gs>
                <a:gs pos="0">
                  <a:schemeClr val="accent1">
                    <a:alpha val="0"/>
                  </a:schemeClr>
                </a:gs>
              </a:gsLst>
              <a:lin ang="5400000" scaled="1"/>
            </a:gradFill>
            <a:ln cap="rnd">
              <a:gradFill>
                <a:gsLst>
                  <a:gs pos="100000">
                    <a:schemeClr val="accent1"/>
                  </a:gs>
                  <a:gs pos="1000">
                    <a:schemeClr val="accent1">
                      <a:alpha val="0"/>
                    </a:schemeClr>
                  </a:gs>
                </a:gsLst>
                <a:lin ang="5400000" scaled="1"/>
              </a:gra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6" name="文本框 85">
              <a:extLst>
                <a:ext uri="{FF2B5EF4-FFF2-40B4-BE49-F238E27FC236}">
                  <a16:creationId xmlns:a16="http://schemas.microsoft.com/office/drawing/2014/main" id="{B1C541D0-650D-4EEA-8629-239388D0F5B3}"/>
                </a:ext>
              </a:extLst>
            </p:cNvPr>
            <p:cNvSpPr txBox="1"/>
            <p:nvPr/>
          </p:nvSpPr>
          <p:spPr>
            <a:xfrm>
              <a:off x="2365816" y="2223785"/>
              <a:ext cx="1538883" cy="369332"/>
            </a:xfrm>
            <a:prstGeom prst="rect">
              <a:avLst/>
            </a:prstGeom>
            <a:noFill/>
          </p:spPr>
          <p:txBody>
            <a:bodyPr wrap="none" lIns="0" tIns="0" rIns="0" bIns="0" rtlCol="0" anchor="t">
              <a:spAutoFit/>
            </a:bodyPr>
            <a:lstStyle/>
            <a:p>
              <a:pPr algn="ctr"/>
              <a:r>
                <a:rPr lang="zh-CN" altLang="en-US" sz="2400" dirty="0">
                  <a:solidFill>
                    <a:schemeClr val="accent1"/>
                  </a:solidFill>
                  <a:latin typeface="+mj-ea"/>
                  <a:ea typeface="+mj-ea"/>
                </a:rPr>
                <a:t>关键词标题</a:t>
              </a:r>
            </a:p>
          </p:txBody>
        </p:sp>
        <p:sp>
          <p:nvSpPr>
            <p:cNvPr id="88" name="文本框 87">
              <a:extLst>
                <a:ext uri="{FF2B5EF4-FFF2-40B4-BE49-F238E27FC236}">
                  <a16:creationId xmlns:a16="http://schemas.microsoft.com/office/drawing/2014/main" id="{9DECCF50-E996-4EC5-8436-79E5681A5401}"/>
                </a:ext>
              </a:extLst>
            </p:cNvPr>
            <p:cNvSpPr txBox="1"/>
            <p:nvPr/>
          </p:nvSpPr>
          <p:spPr>
            <a:xfrm>
              <a:off x="1902535" y="2756789"/>
              <a:ext cx="2465443" cy="387286"/>
            </a:xfrm>
            <a:prstGeom prst="rect">
              <a:avLst/>
            </a:prstGeom>
            <a:noFill/>
          </p:spPr>
          <p:txBody>
            <a:bodyPr wrap="square" lIns="0" tIns="0" rIns="0" bIns="0" rtlCol="0" anchor="t">
              <a:spAutoFit/>
            </a:bodyPr>
            <a:lstStyle/>
            <a:p>
              <a:pPr algn="ctr">
                <a:lnSpc>
                  <a:spcPct val="130000"/>
                </a:lnSpc>
              </a:pPr>
              <a:r>
                <a:rPr lang="en-US" altLang="zh-CN" sz="1000" b="0" dirty="0">
                  <a:solidFill>
                    <a:schemeClr val="tx1">
                      <a:lumMod val="75000"/>
                      <a:lumOff val="25000"/>
                    </a:schemeClr>
                  </a:solidFill>
                  <a:effectLst/>
                  <a:latin typeface="+mn-ea"/>
                </a:rPr>
                <a:t>Lorem ipsum dolor sit amet, consectetur adipisicing elit, sed do eiusmod tempor</a:t>
              </a:r>
              <a:endParaRPr lang="zh-CN" altLang="en-US" sz="1000" b="0" dirty="0">
                <a:solidFill>
                  <a:schemeClr val="tx1">
                    <a:lumMod val="75000"/>
                    <a:lumOff val="25000"/>
                  </a:schemeClr>
                </a:solidFill>
                <a:effectLst/>
                <a:latin typeface="+mn-ea"/>
              </a:endParaRPr>
            </a:p>
          </p:txBody>
        </p:sp>
      </p:grpSp>
      <p:grpSp>
        <p:nvGrpSpPr>
          <p:cNvPr id="89" name="组合 88">
            <a:extLst>
              <a:ext uri="{FF2B5EF4-FFF2-40B4-BE49-F238E27FC236}">
                <a16:creationId xmlns:a16="http://schemas.microsoft.com/office/drawing/2014/main" id="{76AF523A-6DF0-427B-B75B-F868B6B35E2F}"/>
              </a:ext>
            </a:extLst>
          </p:cNvPr>
          <p:cNvGrpSpPr/>
          <p:nvPr/>
        </p:nvGrpSpPr>
        <p:grpSpPr>
          <a:xfrm>
            <a:off x="8429192" y="4226321"/>
            <a:ext cx="2465443" cy="920290"/>
            <a:chOff x="1902535" y="2223785"/>
            <a:chExt cx="2465443" cy="920290"/>
          </a:xfrm>
        </p:grpSpPr>
        <p:sp>
          <p:nvSpPr>
            <p:cNvPr id="91" name="梯形 90">
              <a:extLst>
                <a:ext uri="{FF2B5EF4-FFF2-40B4-BE49-F238E27FC236}">
                  <a16:creationId xmlns:a16="http://schemas.microsoft.com/office/drawing/2014/main" id="{B29CFDE4-5D62-40CC-953A-0FCEDF36BBE1}"/>
                </a:ext>
              </a:extLst>
            </p:cNvPr>
            <p:cNvSpPr/>
            <p:nvPr/>
          </p:nvSpPr>
          <p:spPr>
            <a:xfrm>
              <a:off x="1954157" y="2436312"/>
              <a:ext cx="2362200" cy="190500"/>
            </a:xfrm>
            <a:prstGeom prst="trapezoid">
              <a:avLst>
                <a:gd name="adj" fmla="val 183222"/>
              </a:avLst>
            </a:prstGeom>
            <a:gradFill>
              <a:gsLst>
                <a:gs pos="100000">
                  <a:schemeClr val="accent1">
                    <a:alpha val="42000"/>
                  </a:schemeClr>
                </a:gs>
                <a:gs pos="0">
                  <a:schemeClr val="accent1">
                    <a:alpha val="0"/>
                  </a:schemeClr>
                </a:gs>
              </a:gsLst>
              <a:lin ang="5400000" scaled="1"/>
            </a:gradFill>
            <a:ln cap="rnd">
              <a:gradFill>
                <a:gsLst>
                  <a:gs pos="100000">
                    <a:schemeClr val="accent1"/>
                  </a:gs>
                  <a:gs pos="1000">
                    <a:schemeClr val="accent1">
                      <a:alpha val="0"/>
                    </a:schemeClr>
                  </a:gs>
                </a:gsLst>
                <a:lin ang="5400000" scaled="1"/>
              </a:gra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3" name="文本框 92">
              <a:extLst>
                <a:ext uri="{FF2B5EF4-FFF2-40B4-BE49-F238E27FC236}">
                  <a16:creationId xmlns:a16="http://schemas.microsoft.com/office/drawing/2014/main" id="{542D1161-0ED5-4AD9-B296-1CD64C85B1FD}"/>
                </a:ext>
              </a:extLst>
            </p:cNvPr>
            <p:cNvSpPr txBox="1"/>
            <p:nvPr/>
          </p:nvSpPr>
          <p:spPr>
            <a:xfrm>
              <a:off x="2365816" y="2223785"/>
              <a:ext cx="1538883" cy="369332"/>
            </a:xfrm>
            <a:prstGeom prst="rect">
              <a:avLst/>
            </a:prstGeom>
            <a:noFill/>
          </p:spPr>
          <p:txBody>
            <a:bodyPr wrap="none" lIns="0" tIns="0" rIns="0" bIns="0" rtlCol="0" anchor="t">
              <a:spAutoFit/>
            </a:bodyPr>
            <a:lstStyle/>
            <a:p>
              <a:pPr algn="ctr"/>
              <a:r>
                <a:rPr lang="zh-CN" altLang="en-US" sz="2400" dirty="0">
                  <a:solidFill>
                    <a:schemeClr val="accent1"/>
                  </a:solidFill>
                  <a:latin typeface="+mj-ea"/>
                  <a:ea typeface="+mj-ea"/>
                </a:rPr>
                <a:t>关键词标题</a:t>
              </a:r>
            </a:p>
          </p:txBody>
        </p:sp>
        <p:sp>
          <p:nvSpPr>
            <p:cNvPr id="95" name="文本框 94">
              <a:extLst>
                <a:ext uri="{FF2B5EF4-FFF2-40B4-BE49-F238E27FC236}">
                  <a16:creationId xmlns:a16="http://schemas.microsoft.com/office/drawing/2014/main" id="{3735D93B-A067-4178-8EBC-321441AFE50E}"/>
                </a:ext>
              </a:extLst>
            </p:cNvPr>
            <p:cNvSpPr txBox="1"/>
            <p:nvPr/>
          </p:nvSpPr>
          <p:spPr>
            <a:xfrm>
              <a:off x="1902535" y="2756789"/>
              <a:ext cx="2465443" cy="387286"/>
            </a:xfrm>
            <a:prstGeom prst="rect">
              <a:avLst/>
            </a:prstGeom>
            <a:noFill/>
          </p:spPr>
          <p:txBody>
            <a:bodyPr wrap="square" lIns="0" tIns="0" rIns="0" bIns="0" rtlCol="0" anchor="t">
              <a:spAutoFit/>
            </a:bodyPr>
            <a:lstStyle/>
            <a:p>
              <a:pPr algn="ctr">
                <a:lnSpc>
                  <a:spcPct val="130000"/>
                </a:lnSpc>
              </a:pPr>
              <a:r>
                <a:rPr lang="en-US" altLang="zh-CN" sz="1000" b="0" dirty="0">
                  <a:solidFill>
                    <a:schemeClr val="tx1">
                      <a:lumMod val="75000"/>
                      <a:lumOff val="25000"/>
                    </a:schemeClr>
                  </a:solidFill>
                  <a:effectLst/>
                  <a:latin typeface="+mn-ea"/>
                </a:rPr>
                <a:t>Lorem ipsum dolor sit amet, consectetur adipisicing elit, sed do eiusmod tempor</a:t>
              </a:r>
              <a:endParaRPr lang="zh-CN" altLang="en-US" sz="1000" b="0" dirty="0">
                <a:solidFill>
                  <a:schemeClr val="tx1">
                    <a:lumMod val="75000"/>
                    <a:lumOff val="25000"/>
                  </a:schemeClr>
                </a:solidFill>
                <a:effectLst/>
                <a:latin typeface="+mn-ea"/>
              </a:endParaRPr>
            </a:p>
          </p:txBody>
        </p:sp>
      </p:grpSp>
    </p:spTree>
    <p:custDataLst>
      <p:tags r:id="rId2"/>
    </p:custDataLst>
    <p:extLst>
      <p:ext uri="{BB962C8B-B14F-4D97-AF65-F5344CB8AC3E}">
        <p14:creationId xmlns:p14="http://schemas.microsoft.com/office/powerpoint/2010/main" val="3090809007"/>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2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任意形状 9">
            <a:extLst>
              <a:ext uri="{FF2B5EF4-FFF2-40B4-BE49-F238E27FC236}">
                <a16:creationId xmlns:a16="http://schemas.microsoft.com/office/drawing/2014/main" id="{79C0392D-8AB4-4C9C-BB47-E593C645F444}"/>
              </a:ext>
            </a:extLst>
          </p:cNvPr>
          <p:cNvSpPr/>
          <p:nvPr/>
        </p:nvSpPr>
        <p:spPr>
          <a:xfrm>
            <a:off x="0" y="6457950"/>
            <a:ext cx="12192000" cy="400050"/>
          </a:xfrm>
          <a:custGeom>
            <a:avLst/>
            <a:gdLst>
              <a:gd name="connsiteX0" fmla="*/ 12192000 w 12192000"/>
              <a:gd name="connsiteY0" fmla="*/ 0 h 329410"/>
              <a:gd name="connsiteX1" fmla="*/ 12192000 w 12192000"/>
              <a:gd name="connsiteY1" fmla="*/ 329410 h 329410"/>
              <a:gd name="connsiteX2" fmla="*/ 0 w 12192000"/>
              <a:gd name="connsiteY2" fmla="*/ 329410 h 329410"/>
              <a:gd name="connsiteX3" fmla="*/ 0 w 12192000"/>
              <a:gd name="connsiteY3" fmla="*/ 29375 h 329410"/>
              <a:gd name="connsiteX4" fmla="*/ 577089 w 12192000"/>
              <a:gd name="connsiteY4" fmla="*/ 49593 h 329410"/>
              <a:gd name="connsiteX5" fmla="*/ 5704114 w 12192000"/>
              <a:gd name="connsiteY5" fmla="*/ 124873 h 329410"/>
              <a:gd name="connsiteX6" fmla="*/ 11982536 w 12192000"/>
              <a:gd name="connsiteY6" fmla="*/ 9255 h 329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329410">
                <a:moveTo>
                  <a:pt x="12192000" y="0"/>
                </a:moveTo>
                <a:lnTo>
                  <a:pt x="12192000" y="329410"/>
                </a:lnTo>
                <a:lnTo>
                  <a:pt x="0" y="329410"/>
                </a:lnTo>
                <a:lnTo>
                  <a:pt x="0" y="29375"/>
                </a:lnTo>
                <a:lnTo>
                  <a:pt x="577089" y="49593"/>
                </a:lnTo>
                <a:cubicBezTo>
                  <a:pt x="2152931" y="98068"/>
                  <a:pt x="3885480" y="124873"/>
                  <a:pt x="5704114" y="124873"/>
                </a:cubicBezTo>
                <a:cubicBezTo>
                  <a:pt x="7977407" y="124873"/>
                  <a:pt x="10116192" y="82990"/>
                  <a:pt x="11982536" y="9255"/>
                </a:cubicBezTo>
                <a:close/>
              </a:path>
            </a:pathLst>
          </a:custGeom>
          <a:solidFill>
            <a:schemeClr val="accent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zh-CN" altLang="en-US"/>
          </a:p>
        </p:txBody>
      </p:sp>
      <p:sp>
        <p:nvSpPr>
          <p:cNvPr id="8" name="椭圆 7">
            <a:extLst>
              <a:ext uri="{FF2B5EF4-FFF2-40B4-BE49-F238E27FC236}">
                <a16:creationId xmlns:a16="http://schemas.microsoft.com/office/drawing/2014/main" id="{70AEF339-31CA-485F-8A86-3C899621259A}"/>
              </a:ext>
            </a:extLst>
          </p:cNvPr>
          <p:cNvSpPr/>
          <p:nvPr/>
        </p:nvSpPr>
        <p:spPr>
          <a:xfrm>
            <a:off x="728663" y="1890713"/>
            <a:ext cx="1038223" cy="1038223"/>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600" dirty="0">
                <a:solidFill>
                  <a:schemeClr val="bg1"/>
                </a:solidFill>
                <a:latin typeface="+mj-ea"/>
                <a:ea typeface="+mj-ea"/>
              </a:rPr>
              <a:t>icon</a:t>
            </a:r>
            <a:endParaRPr lang="zh-CN" altLang="en-US" sz="1600" dirty="0">
              <a:solidFill>
                <a:schemeClr val="bg1"/>
              </a:solidFill>
              <a:latin typeface="+mj-ea"/>
              <a:ea typeface="+mj-ea"/>
            </a:endParaRPr>
          </a:p>
        </p:txBody>
      </p:sp>
      <p:sp>
        <p:nvSpPr>
          <p:cNvPr id="16" name="文本框 15">
            <a:extLst>
              <a:ext uri="{FF2B5EF4-FFF2-40B4-BE49-F238E27FC236}">
                <a16:creationId xmlns:a16="http://schemas.microsoft.com/office/drawing/2014/main" id="{4025E0D0-4600-4A9A-A4DC-B4A96A72BB54}"/>
              </a:ext>
            </a:extLst>
          </p:cNvPr>
          <p:cNvSpPr txBox="1"/>
          <p:nvPr/>
        </p:nvSpPr>
        <p:spPr>
          <a:xfrm>
            <a:off x="1933529" y="1852142"/>
            <a:ext cx="2067874" cy="369332"/>
          </a:xfrm>
          <a:prstGeom prst="rect">
            <a:avLst/>
          </a:prstGeom>
          <a:noFill/>
        </p:spPr>
        <p:txBody>
          <a:bodyPr wrap="none" lIns="0" tIns="0" rIns="0" bIns="0" rtlCol="0" anchor="t">
            <a:spAutoFit/>
          </a:bodyPr>
          <a:lstStyle/>
          <a:p>
            <a:r>
              <a:rPr lang="en-US" altLang="zh-CN" sz="2400" dirty="0">
                <a:solidFill>
                  <a:schemeClr val="accent1"/>
                </a:solidFill>
                <a:latin typeface="+mj-ea"/>
                <a:ea typeface="+mj-ea"/>
              </a:rPr>
              <a:t>01.</a:t>
            </a:r>
            <a:r>
              <a:rPr lang="zh-CN" altLang="en-US" sz="2400" dirty="0">
                <a:solidFill>
                  <a:schemeClr val="accent1"/>
                </a:solidFill>
                <a:latin typeface="+mj-ea"/>
                <a:ea typeface="+mj-ea"/>
              </a:rPr>
              <a:t> 关键词标题</a:t>
            </a:r>
          </a:p>
        </p:txBody>
      </p:sp>
      <p:sp>
        <p:nvSpPr>
          <p:cNvPr id="17" name="文本框 16">
            <a:extLst>
              <a:ext uri="{FF2B5EF4-FFF2-40B4-BE49-F238E27FC236}">
                <a16:creationId xmlns:a16="http://schemas.microsoft.com/office/drawing/2014/main" id="{A095A4F0-2713-4A36-B034-0BEB03FEB005}"/>
              </a:ext>
            </a:extLst>
          </p:cNvPr>
          <p:cNvSpPr txBox="1"/>
          <p:nvPr/>
        </p:nvSpPr>
        <p:spPr>
          <a:xfrm>
            <a:off x="1933529" y="2261587"/>
            <a:ext cx="3648121" cy="464807"/>
          </a:xfrm>
          <a:prstGeom prst="rect">
            <a:avLst/>
          </a:prstGeom>
          <a:noFill/>
        </p:spPr>
        <p:txBody>
          <a:bodyPr wrap="square" lIns="0" tIns="0" rIns="0" bIns="0" rtlCol="0" anchor="t">
            <a:spAutoFit/>
          </a:bodyPr>
          <a:lstStyle/>
          <a:p>
            <a:pPr>
              <a:lnSpc>
                <a:spcPct val="130000"/>
              </a:lnSpc>
            </a:pPr>
            <a:r>
              <a:rPr lang="en-US" altLang="zh-CN" sz="1200" b="0" dirty="0">
                <a:solidFill>
                  <a:schemeClr val="tx1">
                    <a:lumMod val="75000"/>
                    <a:lumOff val="25000"/>
                  </a:schemeClr>
                </a:solidFill>
                <a:effectLst/>
                <a:latin typeface="+mn-ea"/>
              </a:rPr>
              <a:t>Lorem ipsum dolor sit amet, consectetur adipisicing elit, sed do eiusmod tempor</a:t>
            </a:r>
            <a:endParaRPr lang="zh-CN" altLang="en-US" sz="1200" b="0" dirty="0">
              <a:solidFill>
                <a:schemeClr val="tx1">
                  <a:lumMod val="75000"/>
                  <a:lumOff val="25000"/>
                </a:schemeClr>
              </a:solidFill>
              <a:effectLst/>
              <a:latin typeface="+mn-ea"/>
            </a:endParaRPr>
          </a:p>
        </p:txBody>
      </p:sp>
      <p:sp>
        <p:nvSpPr>
          <p:cNvPr id="20" name="椭圆 19">
            <a:extLst>
              <a:ext uri="{FF2B5EF4-FFF2-40B4-BE49-F238E27FC236}">
                <a16:creationId xmlns:a16="http://schemas.microsoft.com/office/drawing/2014/main" id="{F560E8E1-5BEB-4D9A-B7F8-0976AC80CBC9}"/>
              </a:ext>
            </a:extLst>
          </p:cNvPr>
          <p:cNvSpPr/>
          <p:nvPr/>
        </p:nvSpPr>
        <p:spPr>
          <a:xfrm>
            <a:off x="6538913" y="1890713"/>
            <a:ext cx="1038223" cy="1038223"/>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600" dirty="0">
                <a:solidFill>
                  <a:schemeClr val="bg1"/>
                </a:solidFill>
                <a:latin typeface="+mj-ea"/>
                <a:ea typeface="+mj-ea"/>
              </a:rPr>
              <a:t>icon</a:t>
            </a:r>
            <a:endParaRPr lang="zh-CN" altLang="en-US" sz="1600" dirty="0">
              <a:solidFill>
                <a:schemeClr val="bg1"/>
              </a:solidFill>
              <a:latin typeface="+mj-ea"/>
              <a:ea typeface="+mj-ea"/>
            </a:endParaRPr>
          </a:p>
        </p:txBody>
      </p:sp>
      <p:sp>
        <p:nvSpPr>
          <p:cNvPr id="21" name="文本框 20">
            <a:extLst>
              <a:ext uri="{FF2B5EF4-FFF2-40B4-BE49-F238E27FC236}">
                <a16:creationId xmlns:a16="http://schemas.microsoft.com/office/drawing/2014/main" id="{F2BA7E87-968B-43F8-AC1C-F19B0B983A60}"/>
              </a:ext>
            </a:extLst>
          </p:cNvPr>
          <p:cNvSpPr txBox="1"/>
          <p:nvPr/>
        </p:nvSpPr>
        <p:spPr>
          <a:xfrm>
            <a:off x="7743779" y="1852142"/>
            <a:ext cx="2122376" cy="369332"/>
          </a:xfrm>
          <a:prstGeom prst="rect">
            <a:avLst/>
          </a:prstGeom>
          <a:noFill/>
        </p:spPr>
        <p:txBody>
          <a:bodyPr wrap="none" lIns="0" tIns="0" rIns="0" bIns="0" rtlCol="0" anchor="t">
            <a:spAutoFit/>
          </a:bodyPr>
          <a:lstStyle/>
          <a:p>
            <a:r>
              <a:rPr lang="en-US" altLang="zh-CN" sz="2400" dirty="0">
                <a:solidFill>
                  <a:schemeClr val="accent1"/>
                </a:solidFill>
                <a:latin typeface="+mj-ea"/>
                <a:ea typeface="+mj-ea"/>
              </a:rPr>
              <a:t>02.</a:t>
            </a:r>
            <a:r>
              <a:rPr lang="zh-CN" altLang="en-US" sz="2400" dirty="0">
                <a:solidFill>
                  <a:schemeClr val="accent1"/>
                </a:solidFill>
                <a:latin typeface="+mj-ea"/>
                <a:ea typeface="+mj-ea"/>
              </a:rPr>
              <a:t> 关键词标题</a:t>
            </a:r>
          </a:p>
        </p:txBody>
      </p:sp>
      <p:sp>
        <p:nvSpPr>
          <p:cNvPr id="22" name="文本框 21">
            <a:extLst>
              <a:ext uri="{FF2B5EF4-FFF2-40B4-BE49-F238E27FC236}">
                <a16:creationId xmlns:a16="http://schemas.microsoft.com/office/drawing/2014/main" id="{AF45E357-7CCF-4676-9D5D-004F20DF3883}"/>
              </a:ext>
            </a:extLst>
          </p:cNvPr>
          <p:cNvSpPr txBox="1"/>
          <p:nvPr/>
        </p:nvSpPr>
        <p:spPr>
          <a:xfrm>
            <a:off x="7743780" y="2261587"/>
            <a:ext cx="3648122" cy="464807"/>
          </a:xfrm>
          <a:prstGeom prst="rect">
            <a:avLst/>
          </a:prstGeom>
          <a:noFill/>
        </p:spPr>
        <p:txBody>
          <a:bodyPr wrap="square" lIns="0" tIns="0" rIns="0" bIns="0" rtlCol="0" anchor="t">
            <a:spAutoFit/>
          </a:bodyPr>
          <a:lstStyle/>
          <a:p>
            <a:pPr>
              <a:lnSpc>
                <a:spcPct val="130000"/>
              </a:lnSpc>
            </a:pPr>
            <a:r>
              <a:rPr lang="en-US" altLang="zh-CN" sz="1200" b="0" dirty="0">
                <a:solidFill>
                  <a:schemeClr val="tx1">
                    <a:lumMod val="75000"/>
                    <a:lumOff val="25000"/>
                  </a:schemeClr>
                </a:solidFill>
                <a:effectLst/>
                <a:latin typeface="+mn-ea"/>
              </a:rPr>
              <a:t>Lorem ipsum dolor sit amet, consectetur adipisicing elit, sed do eiusmod tempor</a:t>
            </a:r>
            <a:endParaRPr lang="zh-CN" altLang="en-US" sz="1200" b="0" dirty="0">
              <a:solidFill>
                <a:schemeClr val="tx1">
                  <a:lumMod val="75000"/>
                  <a:lumOff val="25000"/>
                </a:schemeClr>
              </a:solidFill>
              <a:effectLst/>
              <a:latin typeface="+mn-ea"/>
            </a:endParaRPr>
          </a:p>
        </p:txBody>
      </p:sp>
      <p:sp>
        <p:nvSpPr>
          <p:cNvPr id="24" name="椭圆 23">
            <a:extLst>
              <a:ext uri="{FF2B5EF4-FFF2-40B4-BE49-F238E27FC236}">
                <a16:creationId xmlns:a16="http://schemas.microsoft.com/office/drawing/2014/main" id="{BD6DB7B1-2099-4D31-8226-37039FE20DCC}"/>
              </a:ext>
            </a:extLst>
          </p:cNvPr>
          <p:cNvSpPr/>
          <p:nvPr/>
        </p:nvSpPr>
        <p:spPr>
          <a:xfrm>
            <a:off x="728663" y="3795713"/>
            <a:ext cx="1038223" cy="1038223"/>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600" dirty="0">
                <a:solidFill>
                  <a:schemeClr val="bg1"/>
                </a:solidFill>
                <a:latin typeface="+mj-ea"/>
                <a:ea typeface="+mj-ea"/>
              </a:rPr>
              <a:t>icon</a:t>
            </a:r>
            <a:endParaRPr lang="zh-CN" altLang="en-US" sz="1600" dirty="0">
              <a:solidFill>
                <a:schemeClr val="bg1"/>
              </a:solidFill>
              <a:latin typeface="+mj-ea"/>
              <a:ea typeface="+mj-ea"/>
            </a:endParaRPr>
          </a:p>
        </p:txBody>
      </p:sp>
      <p:sp>
        <p:nvSpPr>
          <p:cNvPr id="25" name="文本框 24">
            <a:extLst>
              <a:ext uri="{FF2B5EF4-FFF2-40B4-BE49-F238E27FC236}">
                <a16:creationId xmlns:a16="http://schemas.microsoft.com/office/drawing/2014/main" id="{F2B86C35-62E0-47F9-837A-3887E84CDD9A}"/>
              </a:ext>
            </a:extLst>
          </p:cNvPr>
          <p:cNvSpPr txBox="1"/>
          <p:nvPr/>
        </p:nvSpPr>
        <p:spPr>
          <a:xfrm>
            <a:off x="1933529" y="3757142"/>
            <a:ext cx="2122376" cy="369332"/>
          </a:xfrm>
          <a:prstGeom prst="rect">
            <a:avLst/>
          </a:prstGeom>
          <a:noFill/>
        </p:spPr>
        <p:txBody>
          <a:bodyPr wrap="none" lIns="0" tIns="0" rIns="0" bIns="0" rtlCol="0" anchor="t">
            <a:spAutoFit/>
          </a:bodyPr>
          <a:lstStyle/>
          <a:p>
            <a:r>
              <a:rPr lang="en-US" altLang="zh-CN" sz="2400" dirty="0">
                <a:solidFill>
                  <a:schemeClr val="accent1"/>
                </a:solidFill>
                <a:latin typeface="+mj-ea"/>
                <a:ea typeface="+mj-ea"/>
              </a:rPr>
              <a:t>03.</a:t>
            </a:r>
            <a:r>
              <a:rPr lang="zh-CN" altLang="en-US" sz="2400" dirty="0">
                <a:solidFill>
                  <a:schemeClr val="accent1"/>
                </a:solidFill>
                <a:latin typeface="+mj-ea"/>
                <a:ea typeface="+mj-ea"/>
              </a:rPr>
              <a:t> 关键词标题</a:t>
            </a:r>
          </a:p>
        </p:txBody>
      </p:sp>
      <p:sp>
        <p:nvSpPr>
          <p:cNvPr id="26" name="文本框 25">
            <a:extLst>
              <a:ext uri="{FF2B5EF4-FFF2-40B4-BE49-F238E27FC236}">
                <a16:creationId xmlns:a16="http://schemas.microsoft.com/office/drawing/2014/main" id="{30268CE6-13CA-4C56-A034-58C9EC955A17}"/>
              </a:ext>
            </a:extLst>
          </p:cNvPr>
          <p:cNvSpPr txBox="1"/>
          <p:nvPr/>
        </p:nvSpPr>
        <p:spPr>
          <a:xfrm>
            <a:off x="1933529" y="4166587"/>
            <a:ext cx="3648121" cy="464807"/>
          </a:xfrm>
          <a:prstGeom prst="rect">
            <a:avLst/>
          </a:prstGeom>
          <a:noFill/>
        </p:spPr>
        <p:txBody>
          <a:bodyPr wrap="square" lIns="0" tIns="0" rIns="0" bIns="0" rtlCol="0" anchor="t">
            <a:spAutoFit/>
          </a:bodyPr>
          <a:lstStyle/>
          <a:p>
            <a:pPr>
              <a:lnSpc>
                <a:spcPct val="130000"/>
              </a:lnSpc>
            </a:pPr>
            <a:r>
              <a:rPr lang="en-US" altLang="zh-CN" sz="1200" b="0" dirty="0">
                <a:solidFill>
                  <a:schemeClr val="tx1">
                    <a:lumMod val="75000"/>
                    <a:lumOff val="25000"/>
                  </a:schemeClr>
                </a:solidFill>
                <a:effectLst/>
                <a:latin typeface="+mn-ea"/>
              </a:rPr>
              <a:t>Lorem ipsum dolor sit amet, consectetur adipisicing elit, sed do eiusmod tempor</a:t>
            </a:r>
            <a:endParaRPr lang="zh-CN" altLang="en-US" sz="1200" b="0" dirty="0">
              <a:solidFill>
                <a:schemeClr val="tx1">
                  <a:lumMod val="75000"/>
                  <a:lumOff val="25000"/>
                </a:schemeClr>
              </a:solidFill>
              <a:effectLst/>
              <a:latin typeface="+mn-ea"/>
            </a:endParaRPr>
          </a:p>
        </p:txBody>
      </p:sp>
      <p:sp>
        <p:nvSpPr>
          <p:cNvPr id="33" name="椭圆 32">
            <a:extLst>
              <a:ext uri="{FF2B5EF4-FFF2-40B4-BE49-F238E27FC236}">
                <a16:creationId xmlns:a16="http://schemas.microsoft.com/office/drawing/2014/main" id="{E56333F5-AEF0-470A-A27F-321501E292F0}"/>
              </a:ext>
            </a:extLst>
          </p:cNvPr>
          <p:cNvSpPr/>
          <p:nvPr/>
        </p:nvSpPr>
        <p:spPr>
          <a:xfrm>
            <a:off x="6538913" y="3795713"/>
            <a:ext cx="1038223" cy="1038223"/>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600" dirty="0">
                <a:solidFill>
                  <a:schemeClr val="bg1"/>
                </a:solidFill>
                <a:latin typeface="+mj-ea"/>
                <a:ea typeface="+mj-ea"/>
              </a:rPr>
              <a:t>icon</a:t>
            </a:r>
            <a:endParaRPr lang="zh-CN" altLang="en-US" sz="1600" dirty="0">
              <a:solidFill>
                <a:schemeClr val="bg1"/>
              </a:solidFill>
              <a:latin typeface="+mj-ea"/>
              <a:ea typeface="+mj-ea"/>
            </a:endParaRPr>
          </a:p>
        </p:txBody>
      </p:sp>
      <p:sp>
        <p:nvSpPr>
          <p:cNvPr id="34" name="文本框 33">
            <a:extLst>
              <a:ext uri="{FF2B5EF4-FFF2-40B4-BE49-F238E27FC236}">
                <a16:creationId xmlns:a16="http://schemas.microsoft.com/office/drawing/2014/main" id="{67F73C66-BFCF-4622-ABD7-CA6749339CF5}"/>
              </a:ext>
            </a:extLst>
          </p:cNvPr>
          <p:cNvSpPr txBox="1"/>
          <p:nvPr/>
        </p:nvSpPr>
        <p:spPr>
          <a:xfrm>
            <a:off x="7743779" y="3757142"/>
            <a:ext cx="2122376" cy="369332"/>
          </a:xfrm>
          <a:prstGeom prst="rect">
            <a:avLst/>
          </a:prstGeom>
          <a:noFill/>
        </p:spPr>
        <p:txBody>
          <a:bodyPr wrap="none" lIns="0" tIns="0" rIns="0" bIns="0" rtlCol="0" anchor="t">
            <a:spAutoFit/>
          </a:bodyPr>
          <a:lstStyle/>
          <a:p>
            <a:r>
              <a:rPr lang="en-US" altLang="zh-CN" sz="2400" dirty="0">
                <a:solidFill>
                  <a:schemeClr val="accent1"/>
                </a:solidFill>
                <a:latin typeface="+mj-ea"/>
                <a:ea typeface="+mj-ea"/>
              </a:rPr>
              <a:t>04.</a:t>
            </a:r>
            <a:r>
              <a:rPr lang="zh-CN" altLang="en-US" sz="2400" dirty="0">
                <a:solidFill>
                  <a:schemeClr val="accent1"/>
                </a:solidFill>
                <a:latin typeface="+mj-ea"/>
                <a:ea typeface="+mj-ea"/>
              </a:rPr>
              <a:t> 关键词标题</a:t>
            </a:r>
          </a:p>
        </p:txBody>
      </p:sp>
      <p:sp>
        <p:nvSpPr>
          <p:cNvPr id="35" name="文本框 34">
            <a:extLst>
              <a:ext uri="{FF2B5EF4-FFF2-40B4-BE49-F238E27FC236}">
                <a16:creationId xmlns:a16="http://schemas.microsoft.com/office/drawing/2014/main" id="{F8DEAE98-CE7F-4D19-A4EC-B6F14CD54A97}"/>
              </a:ext>
            </a:extLst>
          </p:cNvPr>
          <p:cNvSpPr txBox="1"/>
          <p:nvPr/>
        </p:nvSpPr>
        <p:spPr>
          <a:xfrm>
            <a:off x="7743779" y="4166587"/>
            <a:ext cx="3648121" cy="464807"/>
          </a:xfrm>
          <a:prstGeom prst="rect">
            <a:avLst/>
          </a:prstGeom>
          <a:noFill/>
        </p:spPr>
        <p:txBody>
          <a:bodyPr wrap="square" lIns="0" tIns="0" rIns="0" bIns="0" rtlCol="0" anchor="t">
            <a:spAutoFit/>
          </a:bodyPr>
          <a:lstStyle/>
          <a:p>
            <a:pPr>
              <a:lnSpc>
                <a:spcPct val="130000"/>
              </a:lnSpc>
            </a:pPr>
            <a:r>
              <a:rPr lang="en-US" altLang="zh-CN" sz="1200" b="0" dirty="0">
                <a:solidFill>
                  <a:schemeClr val="tx1">
                    <a:lumMod val="75000"/>
                    <a:lumOff val="25000"/>
                  </a:schemeClr>
                </a:solidFill>
                <a:effectLst/>
                <a:latin typeface="+mn-ea"/>
              </a:rPr>
              <a:t>Lorem ipsum dolor sit amet, consectetur adipisicing elit, sed do eiusmod tempor</a:t>
            </a:r>
            <a:endParaRPr lang="zh-CN" altLang="en-US" sz="1200" b="0" dirty="0">
              <a:solidFill>
                <a:schemeClr val="tx1">
                  <a:lumMod val="75000"/>
                  <a:lumOff val="25000"/>
                </a:schemeClr>
              </a:solidFill>
              <a:effectLst/>
              <a:latin typeface="+mn-ea"/>
            </a:endParaRPr>
          </a:p>
        </p:txBody>
      </p:sp>
    </p:spTree>
    <p:extLst>
      <p:ext uri="{BB962C8B-B14F-4D97-AF65-F5344CB8AC3E}">
        <p14:creationId xmlns:p14="http://schemas.microsoft.com/office/powerpoint/2010/main" val="3007193661"/>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2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任意多边形: 形状 9">
            <a:extLst>
              <a:ext uri="{FF2B5EF4-FFF2-40B4-BE49-F238E27FC236}">
                <a16:creationId xmlns:a16="http://schemas.microsoft.com/office/drawing/2014/main" id="{4685CBEB-422F-419C-8FC4-C050F41A4137}"/>
              </a:ext>
            </a:extLst>
          </p:cNvPr>
          <p:cNvSpPr/>
          <p:nvPr/>
        </p:nvSpPr>
        <p:spPr>
          <a:xfrm>
            <a:off x="-461391" y="2324862"/>
            <a:ext cx="13160502" cy="608364"/>
          </a:xfrm>
          <a:custGeom>
            <a:avLst/>
            <a:gdLst>
              <a:gd name="connsiteX0" fmla="*/ 0 w 10128250"/>
              <a:gd name="connsiteY0" fmla="*/ 0 h 412769"/>
              <a:gd name="connsiteX1" fmla="*/ 2171700 w 10128250"/>
              <a:gd name="connsiteY1" fmla="*/ 412750 h 412769"/>
              <a:gd name="connsiteX2" fmla="*/ 5137150 w 10128250"/>
              <a:gd name="connsiteY2" fmla="*/ 19050 h 412769"/>
              <a:gd name="connsiteX3" fmla="*/ 7950200 w 10128250"/>
              <a:gd name="connsiteY3" fmla="*/ 342900 h 412769"/>
              <a:gd name="connsiteX4" fmla="*/ 10128250 w 10128250"/>
              <a:gd name="connsiteY4" fmla="*/ 76200 h 412769"/>
              <a:gd name="connsiteX0" fmla="*/ 0 w 10093186"/>
              <a:gd name="connsiteY0" fmla="*/ 0 h 662867"/>
              <a:gd name="connsiteX1" fmla="*/ 2136636 w 10093186"/>
              <a:gd name="connsiteY1" fmla="*/ 659638 h 662867"/>
              <a:gd name="connsiteX2" fmla="*/ 5102086 w 10093186"/>
              <a:gd name="connsiteY2" fmla="*/ 265938 h 662867"/>
              <a:gd name="connsiteX3" fmla="*/ 7915136 w 10093186"/>
              <a:gd name="connsiteY3" fmla="*/ 589788 h 662867"/>
              <a:gd name="connsiteX4" fmla="*/ 10093186 w 10093186"/>
              <a:gd name="connsiteY4" fmla="*/ 323088 h 662867"/>
              <a:gd name="connsiteX0" fmla="*/ 0 w 10093186"/>
              <a:gd name="connsiteY0" fmla="*/ 0 h 662867"/>
              <a:gd name="connsiteX1" fmla="*/ 2136636 w 10093186"/>
              <a:gd name="connsiteY1" fmla="*/ 659638 h 662867"/>
              <a:gd name="connsiteX2" fmla="*/ 5102086 w 10093186"/>
              <a:gd name="connsiteY2" fmla="*/ 265938 h 662867"/>
              <a:gd name="connsiteX3" fmla="*/ 7915136 w 10093186"/>
              <a:gd name="connsiteY3" fmla="*/ 589788 h 662867"/>
              <a:gd name="connsiteX4" fmla="*/ 10093186 w 10093186"/>
              <a:gd name="connsiteY4" fmla="*/ 323088 h 662867"/>
              <a:gd name="connsiteX0" fmla="*/ 0 w 10093186"/>
              <a:gd name="connsiteY0" fmla="*/ 0 h 608364"/>
              <a:gd name="connsiteX1" fmla="*/ 2206764 w 10093186"/>
              <a:gd name="connsiteY1" fmla="*/ 604774 h 608364"/>
              <a:gd name="connsiteX2" fmla="*/ 5102086 w 10093186"/>
              <a:gd name="connsiteY2" fmla="*/ 265938 h 608364"/>
              <a:gd name="connsiteX3" fmla="*/ 7915136 w 10093186"/>
              <a:gd name="connsiteY3" fmla="*/ 589788 h 608364"/>
              <a:gd name="connsiteX4" fmla="*/ 10093186 w 10093186"/>
              <a:gd name="connsiteY4" fmla="*/ 323088 h 6083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93186" h="608364">
                <a:moveTo>
                  <a:pt x="0" y="0"/>
                </a:moveTo>
                <a:cubicBezTo>
                  <a:pt x="510485" y="250507"/>
                  <a:pt x="1356416" y="560451"/>
                  <a:pt x="2206764" y="604774"/>
                </a:cubicBezTo>
                <a:cubicBezTo>
                  <a:pt x="3057112" y="649097"/>
                  <a:pt x="4150691" y="268436"/>
                  <a:pt x="5102086" y="265938"/>
                </a:cubicBezTo>
                <a:cubicBezTo>
                  <a:pt x="6053481" y="263440"/>
                  <a:pt x="7083286" y="580263"/>
                  <a:pt x="7915136" y="589788"/>
                </a:cubicBezTo>
                <a:cubicBezTo>
                  <a:pt x="8746986" y="599313"/>
                  <a:pt x="9420086" y="461200"/>
                  <a:pt x="10093186" y="323088"/>
                </a:cubicBezTo>
              </a:path>
            </a:pathLst>
          </a:cu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 name="任意形状 9">
            <a:extLst>
              <a:ext uri="{FF2B5EF4-FFF2-40B4-BE49-F238E27FC236}">
                <a16:creationId xmlns:a16="http://schemas.microsoft.com/office/drawing/2014/main" id="{79C0392D-8AB4-4C9C-BB47-E593C645F444}"/>
              </a:ext>
            </a:extLst>
          </p:cNvPr>
          <p:cNvSpPr/>
          <p:nvPr/>
        </p:nvSpPr>
        <p:spPr>
          <a:xfrm>
            <a:off x="0" y="6457950"/>
            <a:ext cx="12192000" cy="400050"/>
          </a:xfrm>
          <a:custGeom>
            <a:avLst/>
            <a:gdLst>
              <a:gd name="connsiteX0" fmla="*/ 12192000 w 12192000"/>
              <a:gd name="connsiteY0" fmla="*/ 0 h 329410"/>
              <a:gd name="connsiteX1" fmla="*/ 12192000 w 12192000"/>
              <a:gd name="connsiteY1" fmla="*/ 329410 h 329410"/>
              <a:gd name="connsiteX2" fmla="*/ 0 w 12192000"/>
              <a:gd name="connsiteY2" fmla="*/ 329410 h 329410"/>
              <a:gd name="connsiteX3" fmla="*/ 0 w 12192000"/>
              <a:gd name="connsiteY3" fmla="*/ 29375 h 329410"/>
              <a:gd name="connsiteX4" fmla="*/ 577089 w 12192000"/>
              <a:gd name="connsiteY4" fmla="*/ 49593 h 329410"/>
              <a:gd name="connsiteX5" fmla="*/ 5704114 w 12192000"/>
              <a:gd name="connsiteY5" fmla="*/ 124873 h 329410"/>
              <a:gd name="connsiteX6" fmla="*/ 11982536 w 12192000"/>
              <a:gd name="connsiteY6" fmla="*/ 9255 h 329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329410">
                <a:moveTo>
                  <a:pt x="12192000" y="0"/>
                </a:moveTo>
                <a:lnTo>
                  <a:pt x="12192000" y="329410"/>
                </a:lnTo>
                <a:lnTo>
                  <a:pt x="0" y="329410"/>
                </a:lnTo>
                <a:lnTo>
                  <a:pt x="0" y="29375"/>
                </a:lnTo>
                <a:lnTo>
                  <a:pt x="577089" y="49593"/>
                </a:lnTo>
                <a:cubicBezTo>
                  <a:pt x="2152931" y="98068"/>
                  <a:pt x="3885480" y="124873"/>
                  <a:pt x="5704114" y="124873"/>
                </a:cubicBezTo>
                <a:cubicBezTo>
                  <a:pt x="7977407" y="124873"/>
                  <a:pt x="10116192" y="82990"/>
                  <a:pt x="11982536" y="9255"/>
                </a:cubicBezTo>
                <a:close/>
              </a:path>
            </a:pathLst>
          </a:custGeom>
          <a:solidFill>
            <a:schemeClr val="accent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zh-CN" altLang="en-US"/>
          </a:p>
        </p:txBody>
      </p:sp>
      <p:sp>
        <p:nvSpPr>
          <p:cNvPr id="8" name="椭圆 7">
            <a:extLst>
              <a:ext uri="{FF2B5EF4-FFF2-40B4-BE49-F238E27FC236}">
                <a16:creationId xmlns:a16="http://schemas.microsoft.com/office/drawing/2014/main" id="{70AEF339-31CA-485F-8A86-3C899621259A}"/>
              </a:ext>
            </a:extLst>
          </p:cNvPr>
          <p:cNvSpPr/>
          <p:nvPr/>
        </p:nvSpPr>
        <p:spPr>
          <a:xfrm>
            <a:off x="1247777" y="2241773"/>
            <a:ext cx="1038223" cy="1038223"/>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600" dirty="0">
                <a:solidFill>
                  <a:schemeClr val="bg1"/>
                </a:solidFill>
                <a:latin typeface="+mj-ea"/>
                <a:ea typeface="+mj-ea"/>
              </a:rPr>
              <a:t>icon</a:t>
            </a:r>
            <a:endParaRPr lang="zh-CN" altLang="en-US" sz="1600" dirty="0">
              <a:solidFill>
                <a:schemeClr val="bg1"/>
              </a:solidFill>
              <a:latin typeface="+mj-ea"/>
              <a:ea typeface="+mj-ea"/>
            </a:endParaRPr>
          </a:p>
        </p:txBody>
      </p:sp>
      <p:sp>
        <p:nvSpPr>
          <p:cNvPr id="16" name="文本框 15">
            <a:extLst>
              <a:ext uri="{FF2B5EF4-FFF2-40B4-BE49-F238E27FC236}">
                <a16:creationId xmlns:a16="http://schemas.microsoft.com/office/drawing/2014/main" id="{4025E0D0-4600-4A9A-A4DC-B4A96A72BB54}"/>
              </a:ext>
            </a:extLst>
          </p:cNvPr>
          <p:cNvSpPr txBox="1"/>
          <p:nvPr/>
        </p:nvSpPr>
        <p:spPr>
          <a:xfrm>
            <a:off x="997447" y="3430913"/>
            <a:ext cx="1538883" cy="369332"/>
          </a:xfrm>
          <a:prstGeom prst="rect">
            <a:avLst/>
          </a:prstGeom>
          <a:noFill/>
        </p:spPr>
        <p:txBody>
          <a:bodyPr wrap="none" lIns="0" tIns="0" rIns="0" bIns="0" rtlCol="0" anchor="t">
            <a:spAutoFit/>
          </a:bodyPr>
          <a:lstStyle/>
          <a:p>
            <a:pPr algn="ctr"/>
            <a:r>
              <a:rPr lang="zh-CN" altLang="en-US" sz="2400" dirty="0">
                <a:solidFill>
                  <a:schemeClr val="accent1"/>
                </a:solidFill>
                <a:latin typeface="+mj-ea"/>
                <a:ea typeface="+mj-ea"/>
              </a:rPr>
              <a:t>关键词标题</a:t>
            </a:r>
          </a:p>
        </p:txBody>
      </p:sp>
      <p:sp>
        <p:nvSpPr>
          <p:cNvPr id="17" name="文本框 16">
            <a:extLst>
              <a:ext uri="{FF2B5EF4-FFF2-40B4-BE49-F238E27FC236}">
                <a16:creationId xmlns:a16="http://schemas.microsoft.com/office/drawing/2014/main" id="{A095A4F0-2713-4A36-B034-0BEB03FEB005}"/>
              </a:ext>
            </a:extLst>
          </p:cNvPr>
          <p:cNvSpPr txBox="1"/>
          <p:nvPr/>
        </p:nvSpPr>
        <p:spPr>
          <a:xfrm>
            <a:off x="654867" y="3840358"/>
            <a:ext cx="2224042" cy="704873"/>
          </a:xfrm>
          <a:prstGeom prst="rect">
            <a:avLst/>
          </a:prstGeom>
          <a:noFill/>
        </p:spPr>
        <p:txBody>
          <a:bodyPr wrap="square" lIns="0" tIns="0" rIns="0" bIns="0" rtlCol="0" anchor="t">
            <a:spAutoFit/>
          </a:bodyPr>
          <a:lstStyle/>
          <a:p>
            <a:pPr algn="ctr">
              <a:lnSpc>
                <a:spcPct val="130000"/>
              </a:lnSpc>
            </a:pPr>
            <a:r>
              <a:rPr lang="en-US" altLang="zh-CN" sz="1200" b="0" dirty="0">
                <a:solidFill>
                  <a:schemeClr val="tx1">
                    <a:lumMod val="75000"/>
                    <a:lumOff val="25000"/>
                  </a:schemeClr>
                </a:solidFill>
                <a:effectLst/>
                <a:latin typeface="+mn-ea"/>
              </a:rPr>
              <a:t>Lorem ipsum dolor sit amet, consectetur adipisicing elit, sed do eiusmod tempor</a:t>
            </a:r>
            <a:endParaRPr lang="zh-CN" altLang="en-US" sz="1200" b="0" dirty="0">
              <a:solidFill>
                <a:schemeClr val="tx1">
                  <a:lumMod val="75000"/>
                  <a:lumOff val="25000"/>
                </a:schemeClr>
              </a:solidFill>
              <a:effectLst/>
              <a:latin typeface="+mn-ea"/>
            </a:endParaRPr>
          </a:p>
        </p:txBody>
      </p:sp>
      <p:sp>
        <p:nvSpPr>
          <p:cNvPr id="29" name="椭圆 28">
            <a:extLst>
              <a:ext uri="{FF2B5EF4-FFF2-40B4-BE49-F238E27FC236}">
                <a16:creationId xmlns:a16="http://schemas.microsoft.com/office/drawing/2014/main" id="{5F34FA20-5AC1-415F-96AC-3C88B8CD626D}"/>
              </a:ext>
            </a:extLst>
          </p:cNvPr>
          <p:cNvSpPr/>
          <p:nvPr/>
        </p:nvSpPr>
        <p:spPr>
          <a:xfrm>
            <a:off x="4133852" y="2241773"/>
            <a:ext cx="1038223" cy="1038223"/>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600" dirty="0">
                <a:solidFill>
                  <a:schemeClr val="bg1"/>
                </a:solidFill>
                <a:latin typeface="+mj-ea"/>
                <a:ea typeface="+mj-ea"/>
              </a:rPr>
              <a:t>icon</a:t>
            </a:r>
            <a:endParaRPr lang="zh-CN" altLang="en-US" sz="1600" dirty="0">
              <a:solidFill>
                <a:schemeClr val="bg1"/>
              </a:solidFill>
              <a:latin typeface="+mj-ea"/>
              <a:ea typeface="+mj-ea"/>
            </a:endParaRPr>
          </a:p>
        </p:txBody>
      </p:sp>
      <p:sp>
        <p:nvSpPr>
          <p:cNvPr id="30" name="文本框 29">
            <a:extLst>
              <a:ext uri="{FF2B5EF4-FFF2-40B4-BE49-F238E27FC236}">
                <a16:creationId xmlns:a16="http://schemas.microsoft.com/office/drawing/2014/main" id="{26E9AA49-EA85-4ADE-8C4E-FE1CC7B9FA72}"/>
              </a:ext>
            </a:extLst>
          </p:cNvPr>
          <p:cNvSpPr txBox="1"/>
          <p:nvPr/>
        </p:nvSpPr>
        <p:spPr>
          <a:xfrm>
            <a:off x="3883522" y="3430913"/>
            <a:ext cx="1538883" cy="369332"/>
          </a:xfrm>
          <a:prstGeom prst="rect">
            <a:avLst/>
          </a:prstGeom>
          <a:noFill/>
        </p:spPr>
        <p:txBody>
          <a:bodyPr wrap="none" lIns="0" tIns="0" rIns="0" bIns="0" rtlCol="0" anchor="t">
            <a:spAutoFit/>
          </a:bodyPr>
          <a:lstStyle/>
          <a:p>
            <a:pPr algn="ctr"/>
            <a:r>
              <a:rPr lang="zh-CN" altLang="en-US" sz="2400" dirty="0">
                <a:solidFill>
                  <a:schemeClr val="accent1"/>
                </a:solidFill>
                <a:latin typeface="+mj-ea"/>
                <a:ea typeface="+mj-ea"/>
              </a:rPr>
              <a:t>关键词标题</a:t>
            </a:r>
          </a:p>
        </p:txBody>
      </p:sp>
      <p:sp>
        <p:nvSpPr>
          <p:cNvPr id="31" name="文本框 30">
            <a:extLst>
              <a:ext uri="{FF2B5EF4-FFF2-40B4-BE49-F238E27FC236}">
                <a16:creationId xmlns:a16="http://schemas.microsoft.com/office/drawing/2014/main" id="{276B2D73-2007-4836-80A5-B69C51291F00}"/>
              </a:ext>
            </a:extLst>
          </p:cNvPr>
          <p:cNvSpPr txBox="1"/>
          <p:nvPr/>
        </p:nvSpPr>
        <p:spPr>
          <a:xfrm>
            <a:off x="3540942" y="3840358"/>
            <a:ext cx="2224042" cy="704873"/>
          </a:xfrm>
          <a:prstGeom prst="rect">
            <a:avLst/>
          </a:prstGeom>
          <a:noFill/>
        </p:spPr>
        <p:txBody>
          <a:bodyPr wrap="square" lIns="0" tIns="0" rIns="0" bIns="0" rtlCol="0" anchor="t">
            <a:spAutoFit/>
          </a:bodyPr>
          <a:lstStyle/>
          <a:p>
            <a:pPr algn="ctr">
              <a:lnSpc>
                <a:spcPct val="130000"/>
              </a:lnSpc>
            </a:pPr>
            <a:r>
              <a:rPr lang="en-US" altLang="zh-CN" sz="1200" b="0" dirty="0">
                <a:solidFill>
                  <a:schemeClr val="tx1">
                    <a:lumMod val="75000"/>
                    <a:lumOff val="25000"/>
                  </a:schemeClr>
                </a:solidFill>
                <a:effectLst/>
                <a:latin typeface="+mn-ea"/>
              </a:rPr>
              <a:t>Lorem ipsum dolor sit amet, consectetur adipisicing elit, sed do eiusmod tempor</a:t>
            </a:r>
            <a:endParaRPr lang="zh-CN" altLang="en-US" sz="1200" b="0" dirty="0">
              <a:solidFill>
                <a:schemeClr val="tx1">
                  <a:lumMod val="75000"/>
                  <a:lumOff val="25000"/>
                </a:schemeClr>
              </a:solidFill>
              <a:effectLst/>
              <a:latin typeface="+mn-ea"/>
            </a:endParaRPr>
          </a:p>
        </p:txBody>
      </p:sp>
      <p:sp>
        <p:nvSpPr>
          <p:cNvPr id="36" name="椭圆 35">
            <a:extLst>
              <a:ext uri="{FF2B5EF4-FFF2-40B4-BE49-F238E27FC236}">
                <a16:creationId xmlns:a16="http://schemas.microsoft.com/office/drawing/2014/main" id="{C1BF9605-6AC9-43AE-9118-F7C9027FBC73}"/>
              </a:ext>
            </a:extLst>
          </p:cNvPr>
          <p:cNvSpPr/>
          <p:nvPr/>
        </p:nvSpPr>
        <p:spPr>
          <a:xfrm>
            <a:off x="7019927" y="2241773"/>
            <a:ext cx="1038223" cy="1038223"/>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600" dirty="0">
                <a:solidFill>
                  <a:schemeClr val="bg1"/>
                </a:solidFill>
                <a:latin typeface="+mj-ea"/>
                <a:ea typeface="+mj-ea"/>
              </a:rPr>
              <a:t>icon</a:t>
            </a:r>
            <a:endParaRPr lang="zh-CN" altLang="en-US" sz="1600" dirty="0">
              <a:solidFill>
                <a:schemeClr val="bg1"/>
              </a:solidFill>
              <a:latin typeface="+mj-ea"/>
              <a:ea typeface="+mj-ea"/>
            </a:endParaRPr>
          </a:p>
        </p:txBody>
      </p:sp>
      <p:sp>
        <p:nvSpPr>
          <p:cNvPr id="37" name="文本框 36">
            <a:extLst>
              <a:ext uri="{FF2B5EF4-FFF2-40B4-BE49-F238E27FC236}">
                <a16:creationId xmlns:a16="http://schemas.microsoft.com/office/drawing/2014/main" id="{B76EFF0B-6480-42B0-A2AF-01FC46F5451A}"/>
              </a:ext>
            </a:extLst>
          </p:cNvPr>
          <p:cNvSpPr txBox="1"/>
          <p:nvPr/>
        </p:nvSpPr>
        <p:spPr>
          <a:xfrm>
            <a:off x="6769597" y="3430913"/>
            <a:ext cx="1538883" cy="369332"/>
          </a:xfrm>
          <a:prstGeom prst="rect">
            <a:avLst/>
          </a:prstGeom>
          <a:noFill/>
        </p:spPr>
        <p:txBody>
          <a:bodyPr wrap="none" lIns="0" tIns="0" rIns="0" bIns="0" rtlCol="0" anchor="t">
            <a:spAutoFit/>
          </a:bodyPr>
          <a:lstStyle/>
          <a:p>
            <a:pPr algn="ctr"/>
            <a:r>
              <a:rPr lang="zh-CN" altLang="en-US" sz="2400" dirty="0">
                <a:solidFill>
                  <a:schemeClr val="accent1"/>
                </a:solidFill>
                <a:latin typeface="+mj-ea"/>
                <a:ea typeface="+mj-ea"/>
              </a:rPr>
              <a:t>关键词标题</a:t>
            </a:r>
          </a:p>
        </p:txBody>
      </p:sp>
      <p:sp>
        <p:nvSpPr>
          <p:cNvPr id="38" name="文本框 37">
            <a:extLst>
              <a:ext uri="{FF2B5EF4-FFF2-40B4-BE49-F238E27FC236}">
                <a16:creationId xmlns:a16="http://schemas.microsoft.com/office/drawing/2014/main" id="{C5ADDE78-D2F1-45CB-8C34-8695C25BBFBB}"/>
              </a:ext>
            </a:extLst>
          </p:cNvPr>
          <p:cNvSpPr txBox="1"/>
          <p:nvPr/>
        </p:nvSpPr>
        <p:spPr>
          <a:xfrm>
            <a:off x="6427017" y="3840358"/>
            <a:ext cx="2224042" cy="704873"/>
          </a:xfrm>
          <a:prstGeom prst="rect">
            <a:avLst/>
          </a:prstGeom>
          <a:noFill/>
        </p:spPr>
        <p:txBody>
          <a:bodyPr wrap="square" lIns="0" tIns="0" rIns="0" bIns="0" rtlCol="0" anchor="t">
            <a:spAutoFit/>
          </a:bodyPr>
          <a:lstStyle/>
          <a:p>
            <a:pPr algn="ctr">
              <a:lnSpc>
                <a:spcPct val="130000"/>
              </a:lnSpc>
            </a:pPr>
            <a:r>
              <a:rPr lang="en-US" altLang="zh-CN" sz="1200" b="0" dirty="0">
                <a:solidFill>
                  <a:schemeClr val="tx1">
                    <a:lumMod val="75000"/>
                    <a:lumOff val="25000"/>
                  </a:schemeClr>
                </a:solidFill>
                <a:effectLst/>
                <a:latin typeface="+mn-ea"/>
              </a:rPr>
              <a:t>Lorem ipsum dolor sit amet, consectetur adipisicing elit, sed do eiusmod tempor</a:t>
            </a:r>
            <a:endParaRPr lang="zh-CN" altLang="en-US" sz="1200" b="0" dirty="0">
              <a:solidFill>
                <a:schemeClr val="tx1">
                  <a:lumMod val="75000"/>
                  <a:lumOff val="25000"/>
                </a:schemeClr>
              </a:solidFill>
              <a:effectLst/>
              <a:latin typeface="+mn-ea"/>
            </a:endParaRPr>
          </a:p>
        </p:txBody>
      </p:sp>
      <p:sp>
        <p:nvSpPr>
          <p:cNvPr id="40" name="椭圆 39">
            <a:extLst>
              <a:ext uri="{FF2B5EF4-FFF2-40B4-BE49-F238E27FC236}">
                <a16:creationId xmlns:a16="http://schemas.microsoft.com/office/drawing/2014/main" id="{0F6A1314-0D0F-497B-B04A-F94F05D85802}"/>
              </a:ext>
            </a:extLst>
          </p:cNvPr>
          <p:cNvSpPr/>
          <p:nvPr/>
        </p:nvSpPr>
        <p:spPr>
          <a:xfrm>
            <a:off x="9906002" y="2241773"/>
            <a:ext cx="1038223" cy="1038223"/>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600" dirty="0">
                <a:solidFill>
                  <a:schemeClr val="bg1"/>
                </a:solidFill>
                <a:latin typeface="+mj-ea"/>
                <a:ea typeface="+mj-ea"/>
              </a:rPr>
              <a:t>icon</a:t>
            </a:r>
            <a:endParaRPr lang="zh-CN" altLang="en-US" sz="1600" dirty="0">
              <a:solidFill>
                <a:schemeClr val="bg1"/>
              </a:solidFill>
              <a:latin typeface="+mj-ea"/>
              <a:ea typeface="+mj-ea"/>
            </a:endParaRPr>
          </a:p>
        </p:txBody>
      </p:sp>
      <p:sp>
        <p:nvSpPr>
          <p:cNvPr id="41" name="文本框 40">
            <a:extLst>
              <a:ext uri="{FF2B5EF4-FFF2-40B4-BE49-F238E27FC236}">
                <a16:creationId xmlns:a16="http://schemas.microsoft.com/office/drawing/2014/main" id="{2F53D5AD-ACEA-4DED-9F1E-44E83C638B44}"/>
              </a:ext>
            </a:extLst>
          </p:cNvPr>
          <p:cNvSpPr txBox="1"/>
          <p:nvPr/>
        </p:nvSpPr>
        <p:spPr>
          <a:xfrm>
            <a:off x="9655672" y="3430913"/>
            <a:ext cx="1538883" cy="369332"/>
          </a:xfrm>
          <a:prstGeom prst="rect">
            <a:avLst/>
          </a:prstGeom>
          <a:noFill/>
        </p:spPr>
        <p:txBody>
          <a:bodyPr wrap="none" lIns="0" tIns="0" rIns="0" bIns="0" rtlCol="0" anchor="t">
            <a:spAutoFit/>
          </a:bodyPr>
          <a:lstStyle/>
          <a:p>
            <a:pPr algn="ctr"/>
            <a:r>
              <a:rPr lang="zh-CN" altLang="en-US" sz="2400" dirty="0">
                <a:solidFill>
                  <a:schemeClr val="accent1"/>
                </a:solidFill>
                <a:latin typeface="+mj-ea"/>
                <a:ea typeface="+mj-ea"/>
              </a:rPr>
              <a:t>关键词标题</a:t>
            </a:r>
          </a:p>
        </p:txBody>
      </p:sp>
      <p:sp>
        <p:nvSpPr>
          <p:cNvPr id="42" name="文本框 41">
            <a:extLst>
              <a:ext uri="{FF2B5EF4-FFF2-40B4-BE49-F238E27FC236}">
                <a16:creationId xmlns:a16="http://schemas.microsoft.com/office/drawing/2014/main" id="{3E7462BF-0921-4D1F-B522-36F11F62DDF0}"/>
              </a:ext>
            </a:extLst>
          </p:cNvPr>
          <p:cNvSpPr txBox="1"/>
          <p:nvPr/>
        </p:nvSpPr>
        <p:spPr>
          <a:xfrm>
            <a:off x="9313092" y="3840358"/>
            <a:ext cx="2224042" cy="704873"/>
          </a:xfrm>
          <a:prstGeom prst="rect">
            <a:avLst/>
          </a:prstGeom>
          <a:noFill/>
        </p:spPr>
        <p:txBody>
          <a:bodyPr wrap="square" lIns="0" tIns="0" rIns="0" bIns="0" rtlCol="0" anchor="t">
            <a:spAutoFit/>
          </a:bodyPr>
          <a:lstStyle/>
          <a:p>
            <a:pPr algn="ctr">
              <a:lnSpc>
                <a:spcPct val="130000"/>
              </a:lnSpc>
            </a:pPr>
            <a:r>
              <a:rPr lang="en-US" altLang="zh-CN" sz="1200" b="0" dirty="0">
                <a:solidFill>
                  <a:schemeClr val="tx1">
                    <a:lumMod val="75000"/>
                    <a:lumOff val="25000"/>
                  </a:schemeClr>
                </a:solidFill>
                <a:effectLst/>
                <a:latin typeface="+mn-ea"/>
              </a:rPr>
              <a:t>Lorem ipsum dolor sit amet, consectetur adipisicing elit, sed do eiusmod tempor</a:t>
            </a:r>
            <a:endParaRPr lang="zh-CN" altLang="en-US" sz="1200" b="0" dirty="0">
              <a:solidFill>
                <a:schemeClr val="tx1">
                  <a:lumMod val="75000"/>
                  <a:lumOff val="25000"/>
                </a:schemeClr>
              </a:solidFill>
              <a:effectLst/>
              <a:latin typeface="+mn-ea"/>
            </a:endParaRPr>
          </a:p>
        </p:txBody>
      </p:sp>
      <p:sp>
        <p:nvSpPr>
          <p:cNvPr id="12" name="椭圆 11">
            <a:extLst>
              <a:ext uri="{FF2B5EF4-FFF2-40B4-BE49-F238E27FC236}">
                <a16:creationId xmlns:a16="http://schemas.microsoft.com/office/drawing/2014/main" id="{CD1D00EC-B7E0-40E9-8864-70E3DF7C9DAB}"/>
              </a:ext>
            </a:extLst>
          </p:cNvPr>
          <p:cNvSpPr/>
          <p:nvPr/>
        </p:nvSpPr>
        <p:spPr>
          <a:xfrm>
            <a:off x="2213005" y="2881635"/>
            <a:ext cx="81598" cy="81598"/>
          </a:xfrm>
          <a:prstGeom prst="ellipse">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43" name="椭圆 42">
            <a:extLst>
              <a:ext uri="{FF2B5EF4-FFF2-40B4-BE49-F238E27FC236}">
                <a16:creationId xmlns:a16="http://schemas.microsoft.com/office/drawing/2014/main" id="{40B0F613-917A-49B4-9A61-E73CDC7CA0E4}"/>
              </a:ext>
            </a:extLst>
          </p:cNvPr>
          <p:cNvSpPr/>
          <p:nvPr/>
        </p:nvSpPr>
        <p:spPr>
          <a:xfrm>
            <a:off x="4097815" y="2754883"/>
            <a:ext cx="81598" cy="81598"/>
          </a:xfrm>
          <a:prstGeom prst="ellipse">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44" name="椭圆 43">
            <a:extLst>
              <a:ext uri="{FF2B5EF4-FFF2-40B4-BE49-F238E27FC236}">
                <a16:creationId xmlns:a16="http://schemas.microsoft.com/office/drawing/2014/main" id="{669EFD58-5393-4695-BF87-AF871783AE9C}"/>
              </a:ext>
            </a:extLst>
          </p:cNvPr>
          <p:cNvSpPr/>
          <p:nvPr/>
        </p:nvSpPr>
        <p:spPr>
          <a:xfrm>
            <a:off x="5126514" y="2629044"/>
            <a:ext cx="81598" cy="81598"/>
          </a:xfrm>
          <a:prstGeom prst="ellipse">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45" name="椭圆 44">
            <a:extLst>
              <a:ext uri="{FF2B5EF4-FFF2-40B4-BE49-F238E27FC236}">
                <a16:creationId xmlns:a16="http://schemas.microsoft.com/office/drawing/2014/main" id="{0B351445-0ED0-4423-A2D2-094C2801664E}"/>
              </a:ext>
            </a:extLst>
          </p:cNvPr>
          <p:cNvSpPr/>
          <p:nvPr/>
        </p:nvSpPr>
        <p:spPr>
          <a:xfrm>
            <a:off x="6998178" y="2607247"/>
            <a:ext cx="81598" cy="81598"/>
          </a:xfrm>
          <a:prstGeom prst="ellipse">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46" name="椭圆 45">
            <a:extLst>
              <a:ext uri="{FF2B5EF4-FFF2-40B4-BE49-F238E27FC236}">
                <a16:creationId xmlns:a16="http://schemas.microsoft.com/office/drawing/2014/main" id="{25FE02FE-96CE-45B0-8FEE-B82A969DF4BA}"/>
              </a:ext>
            </a:extLst>
          </p:cNvPr>
          <p:cNvSpPr/>
          <p:nvPr/>
        </p:nvSpPr>
        <p:spPr>
          <a:xfrm>
            <a:off x="8010527" y="2710642"/>
            <a:ext cx="81598" cy="81598"/>
          </a:xfrm>
          <a:prstGeom prst="ellipse">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47" name="椭圆 46">
            <a:extLst>
              <a:ext uri="{FF2B5EF4-FFF2-40B4-BE49-F238E27FC236}">
                <a16:creationId xmlns:a16="http://schemas.microsoft.com/office/drawing/2014/main" id="{797FD796-FD9D-4998-8692-EBE641FB4CAF}"/>
              </a:ext>
            </a:extLst>
          </p:cNvPr>
          <p:cNvSpPr/>
          <p:nvPr/>
        </p:nvSpPr>
        <p:spPr>
          <a:xfrm>
            <a:off x="9895334" y="2870996"/>
            <a:ext cx="81598" cy="81598"/>
          </a:xfrm>
          <a:prstGeom prst="ellipse">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48" name="椭圆 47">
            <a:extLst>
              <a:ext uri="{FF2B5EF4-FFF2-40B4-BE49-F238E27FC236}">
                <a16:creationId xmlns:a16="http://schemas.microsoft.com/office/drawing/2014/main" id="{2A8066F9-573D-4FB8-BCD0-815B4FE5B092}"/>
              </a:ext>
            </a:extLst>
          </p:cNvPr>
          <p:cNvSpPr/>
          <p:nvPr/>
        </p:nvSpPr>
        <p:spPr>
          <a:xfrm>
            <a:off x="10892345" y="2834959"/>
            <a:ext cx="81598" cy="81598"/>
          </a:xfrm>
          <a:prstGeom prst="ellipse">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49" name="椭圆 48">
            <a:extLst>
              <a:ext uri="{FF2B5EF4-FFF2-40B4-BE49-F238E27FC236}">
                <a16:creationId xmlns:a16="http://schemas.microsoft.com/office/drawing/2014/main" id="{620195A5-D3CE-4B66-946C-FDFD255DE6EB}"/>
              </a:ext>
            </a:extLst>
          </p:cNvPr>
          <p:cNvSpPr/>
          <p:nvPr/>
        </p:nvSpPr>
        <p:spPr>
          <a:xfrm>
            <a:off x="1213453" y="2746074"/>
            <a:ext cx="81598" cy="81598"/>
          </a:xfrm>
          <a:prstGeom prst="ellipse">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Tree>
    <p:extLst>
      <p:ext uri="{BB962C8B-B14F-4D97-AF65-F5344CB8AC3E}">
        <p14:creationId xmlns:p14="http://schemas.microsoft.com/office/powerpoint/2010/main" val="1545027290"/>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2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任意形状 9">
            <a:extLst>
              <a:ext uri="{FF2B5EF4-FFF2-40B4-BE49-F238E27FC236}">
                <a16:creationId xmlns:a16="http://schemas.microsoft.com/office/drawing/2014/main" id="{79C0392D-8AB4-4C9C-BB47-E593C645F444}"/>
              </a:ext>
            </a:extLst>
          </p:cNvPr>
          <p:cNvSpPr/>
          <p:nvPr/>
        </p:nvSpPr>
        <p:spPr>
          <a:xfrm>
            <a:off x="0" y="6457950"/>
            <a:ext cx="12192000" cy="400050"/>
          </a:xfrm>
          <a:custGeom>
            <a:avLst/>
            <a:gdLst>
              <a:gd name="connsiteX0" fmla="*/ 12192000 w 12192000"/>
              <a:gd name="connsiteY0" fmla="*/ 0 h 329410"/>
              <a:gd name="connsiteX1" fmla="*/ 12192000 w 12192000"/>
              <a:gd name="connsiteY1" fmla="*/ 329410 h 329410"/>
              <a:gd name="connsiteX2" fmla="*/ 0 w 12192000"/>
              <a:gd name="connsiteY2" fmla="*/ 329410 h 329410"/>
              <a:gd name="connsiteX3" fmla="*/ 0 w 12192000"/>
              <a:gd name="connsiteY3" fmla="*/ 29375 h 329410"/>
              <a:gd name="connsiteX4" fmla="*/ 577089 w 12192000"/>
              <a:gd name="connsiteY4" fmla="*/ 49593 h 329410"/>
              <a:gd name="connsiteX5" fmla="*/ 5704114 w 12192000"/>
              <a:gd name="connsiteY5" fmla="*/ 124873 h 329410"/>
              <a:gd name="connsiteX6" fmla="*/ 11982536 w 12192000"/>
              <a:gd name="connsiteY6" fmla="*/ 9255 h 329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329410">
                <a:moveTo>
                  <a:pt x="12192000" y="0"/>
                </a:moveTo>
                <a:lnTo>
                  <a:pt x="12192000" y="329410"/>
                </a:lnTo>
                <a:lnTo>
                  <a:pt x="0" y="329410"/>
                </a:lnTo>
                <a:lnTo>
                  <a:pt x="0" y="29375"/>
                </a:lnTo>
                <a:lnTo>
                  <a:pt x="577089" y="49593"/>
                </a:lnTo>
                <a:cubicBezTo>
                  <a:pt x="2152931" y="98068"/>
                  <a:pt x="3885480" y="124873"/>
                  <a:pt x="5704114" y="124873"/>
                </a:cubicBezTo>
                <a:cubicBezTo>
                  <a:pt x="7977407" y="124873"/>
                  <a:pt x="10116192" y="82990"/>
                  <a:pt x="11982536" y="9255"/>
                </a:cubicBezTo>
                <a:close/>
              </a:path>
            </a:pathLst>
          </a:custGeom>
          <a:solidFill>
            <a:schemeClr val="accent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zh-CN" altLang="en-US"/>
          </a:p>
        </p:txBody>
      </p:sp>
      <p:sp>
        <p:nvSpPr>
          <p:cNvPr id="28" name="任意多边形: 形状 27">
            <a:extLst>
              <a:ext uri="{FF2B5EF4-FFF2-40B4-BE49-F238E27FC236}">
                <a16:creationId xmlns:a16="http://schemas.microsoft.com/office/drawing/2014/main" id="{EF86DF1A-A424-4132-ADBC-32815E2D87BF}"/>
              </a:ext>
            </a:extLst>
          </p:cNvPr>
          <p:cNvSpPr/>
          <p:nvPr/>
        </p:nvSpPr>
        <p:spPr>
          <a:xfrm flipH="1">
            <a:off x="4671009" y="2289432"/>
            <a:ext cx="2693816" cy="2599156"/>
          </a:xfrm>
          <a:custGeom>
            <a:avLst/>
            <a:gdLst>
              <a:gd name="connsiteX0" fmla="*/ 1632755 w 3273275"/>
              <a:gd name="connsiteY0" fmla="*/ 446564 h 3158255"/>
              <a:gd name="connsiteX1" fmla="*/ 2920762 w 3273275"/>
              <a:gd name="connsiteY1" fmla="*/ 1734571 h 3158255"/>
              <a:gd name="connsiteX2" fmla="*/ 1632755 w 3273275"/>
              <a:gd name="connsiteY2" fmla="*/ 3022578 h 3158255"/>
              <a:gd name="connsiteX3" fmla="*/ 344748 w 3273275"/>
              <a:gd name="connsiteY3" fmla="*/ 1734571 h 3158255"/>
              <a:gd name="connsiteX4" fmla="*/ 1632755 w 3273275"/>
              <a:gd name="connsiteY4" fmla="*/ 446564 h 3158255"/>
              <a:gd name="connsiteX5" fmla="*/ 1632756 w 3273275"/>
              <a:gd name="connsiteY5" fmla="*/ 0 h 3158255"/>
              <a:gd name="connsiteX6" fmla="*/ 1444389 w 3273275"/>
              <a:gd name="connsiteY6" fmla="*/ 324770 h 3158255"/>
              <a:gd name="connsiteX7" fmla="*/ 1345833 w 3273275"/>
              <a:gd name="connsiteY7" fmla="*/ 339811 h 3158255"/>
              <a:gd name="connsiteX8" fmla="*/ 209071 w 3273275"/>
              <a:gd name="connsiteY8" fmla="*/ 1734571 h 3158255"/>
              <a:gd name="connsiteX9" fmla="*/ 237995 w 3273275"/>
              <a:gd name="connsiteY9" fmla="*/ 2021493 h 3158255"/>
              <a:gd name="connsiteX10" fmla="*/ 244705 w 3273275"/>
              <a:gd name="connsiteY10" fmla="*/ 2047589 h 3158255"/>
              <a:gd name="connsiteX11" fmla="*/ 0 w 3273275"/>
              <a:gd name="connsiteY11" fmla="*/ 2345052 h 3158255"/>
              <a:gd name="connsiteX12" fmla="*/ 379206 w 3273275"/>
              <a:gd name="connsiteY12" fmla="*/ 2409663 h 3158255"/>
              <a:gd name="connsiteX13" fmla="*/ 380902 w 3273275"/>
              <a:gd name="connsiteY13" fmla="*/ 2413184 h 3158255"/>
              <a:gd name="connsiteX14" fmla="*/ 1632755 w 3273275"/>
              <a:gd name="connsiteY14" fmla="*/ 3158255 h 3158255"/>
              <a:gd name="connsiteX15" fmla="*/ 2884608 w 3273275"/>
              <a:gd name="connsiteY15" fmla="*/ 2413184 h 3158255"/>
              <a:gd name="connsiteX16" fmla="*/ 2887004 w 3273275"/>
              <a:gd name="connsiteY16" fmla="*/ 2408211 h 3158255"/>
              <a:gd name="connsiteX17" fmla="*/ 3273275 w 3273275"/>
              <a:gd name="connsiteY17" fmla="*/ 2347294 h 3158255"/>
              <a:gd name="connsiteX18" fmla="*/ 3023733 w 3273275"/>
              <a:gd name="connsiteY18" fmla="*/ 2036200 h 3158255"/>
              <a:gd name="connsiteX19" fmla="*/ 3027515 w 3273275"/>
              <a:gd name="connsiteY19" fmla="*/ 2021493 h 3158255"/>
              <a:gd name="connsiteX20" fmla="*/ 3056439 w 3273275"/>
              <a:gd name="connsiteY20" fmla="*/ 1734571 h 3158255"/>
              <a:gd name="connsiteX21" fmla="*/ 1919677 w 3273275"/>
              <a:gd name="connsiteY21" fmla="*/ 339811 h 3158255"/>
              <a:gd name="connsiteX22" fmla="*/ 1821122 w 3273275"/>
              <a:gd name="connsiteY22" fmla="*/ 324770 h 3158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273275" h="3158255">
                <a:moveTo>
                  <a:pt x="1632755" y="446564"/>
                </a:moveTo>
                <a:cubicBezTo>
                  <a:pt x="2344102" y="446564"/>
                  <a:pt x="2920762" y="1023224"/>
                  <a:pt x="2920762" y="1734571"/>
                </a:cubicBezTo>
                <a:cubicBezTo>
                  <a:pt x="2920762" y="2445918"/>
                  <a:pt x="2344102" y="3022578"/>
                  <a:pt x="1632755" y="3022578"/>
                </a:cubicBezTo>
                <a:cubicBezTo>
                  <a:pt x="921408" y="3022578"/>
                  <a:pt x="344748" y="2445918"/>
                  <a:pt x="344748" y="1734571"/>
                </a:cubicBezTo>
                <a:cubicBezTo>
                  <a:pt x="344748" y="1023224"/>
                  <a:pt x="921408" y="446564"/>
                  <a:pt x="1632755" y="446564"/>
                </a:cubicBezTo>
                <a:close/>
                <a:moveTo>
                  <a:pt x="1632756" y="0"/>
                </a:moveTo>
                <a:lnTo>
                  <a:pt x="1444389" y="324770"/>
                </a:lnTo>
                <a:lnTo>
                  <a:pt x="1345833" y="339811"/>
                </a:lnTo>
                <a:cubicBezTo>
                  <a:pt x="697084" y="472565"/>
                  <a:pt x="209071" y="1046577"/>
                  <a:pt x="209071" y="1734571"/>
                </a:cubicBezTo>
                <a:cubicBezTo>
                  <a:pt x="209071" y="1832856"/>
                  <a:pt x="219030" y="1928815"/>
                  <a:pt x="237995" y="2021493"/>
                </a:cubicBezTo>
                <a:lnTo>
                  <a:pt x="244705" y="2047589"/>
                </a:lnTo>
                <a:lnTo>
                  <a:pt x="0" y="2345052"/>
                </a:lnTo>
                <a:lnTo>
                  <a:pt x="379206" y="2409663"/>
                </a:lnTo>
                <a:lnTo>
                  <a:pt x="380902" y="2413184"/>
                </a:lnTo>
                <a:cubicBezTo>
                  <a:pt x="621987" y="2856982"/>
                  <a:pt x="1092188" y="3158255"/>
                  <a:pt x="1632755" y="3158255"/>
                </a:cubicBezTo>
                <a:cubicBezTo>
                  <a:pt x="2173322" y="3158255"/>
                  <a:pt x="2643523" y="2856982"/>
                  <a:pt x="2884608" y="2413184"/>
                </a:cubicBezTo>
                <a:lnTo>
                  <a:pt x="2887004" y="2408211"/>
                </a:lnTo>
                <a:lnTo>
                  <a:pt x="3273275" y="2347294"/>
                </a:lnTo>
                <a:lnTo>
                  <a:pt x="3023733" y="2036200"/>
                </a:lnTo>
                <a:lnTo>
                  <a:pt x="3027515" y="2021493"/>
                </a:lnTo>
                <a:cubicBezTo>
                  <a:pt x="3046480" y="1928815"/>
                  <a:pt x="3056439" y="1832856"/>
                  <a:pt x="3056439" y="1734571"/>
                </a:cubicBezTo>
                <a:cubicBezTo>
                  <a:pt x="3056439" y="1046577"/>
                  <a:pt x="2568426" y="472565"/>
                  <a:pt x="1919677" y="339811"/>
                </a:cubicBezTo>
                <a:lnTo>
                  <a:pt x="1821122" y="32477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p>
        </p:txBody>
      </p:sp>
      <p:sp>
        <p:nvSpPr>
          <p:cNvPr id="29" name="椭圆 28">
            <a:extLst>
              <a:ext uri="{FF2B5EF4-FFF2-40B4-BE49-F238E27FC236}">
                <a16:creationId xmlns:a16="http://schemas.microsoft.com/office/drawing/2014/main" id="{6A379A06-7EF9-485B-B8D4-4788D75C3079}"/>
              </a:ext>
            </a:extLst>
          </p:cNvPr>
          <p:cNvSpPr/>
          <p:nvPr/>
        </p:nvSpPr>
        <p:spPr>
          <a:xfrm>
            <a:off x="5244696" y="2940520"/>
            <a:ext cx="1552833" cy="1552832"/>
          </a:xfrm>
          <a:prstGeom prst="ellipse">
            <a:avLst/>
          </a:prstGeom>
          <a:solidFill>
            <a:schemeClr val="bg1"/>
          </a:solidFill>
          <a:ln>
            <a:noFill/>
          </a:ln>
          <a:effectLst>
            <a:outerShdw blurRad="342900" sx="110000" sy="110000" algn="ctr" rotWithShape="0">
              <a:schemeClr val="accent1">
                <a:alpha val="9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 name="文本框 8">
            <a:extLst>
              <a:ext uri="{FF2B5EF4-FFF2-40B4-BE49-F238E27FC236}">
                <a16:creationId xmlns:a16="http://schemas.microsoft.com/office/drawing/2014/main" id="{4CD1208E-EB4A-4CD7-B4CB-BBC9FEBFE8AA}"/>
              </a:ext>
            </a:extLst>
          </p:cNvPr>
          <p:cNvSpPr txBox="1"/>
          <p:nvPr/>
        </p:nvSpPr>
        <p:spPr>
          <a:xfrm>
            <a:off x="5448734" y="3501492"/>
            <a:ext cx="1077218" cy="430887"/>
          </a:xfrm>
          <a:prstGeom prst="rect">
            <a:avLst/>
          </a:prstGeom>
          <a:noFill/>
        </p:spPr>
        <p:txBody>
          <a:bodyPr wrap="none" lIns="0" tIns="0" rIns="0" bIns="0" rtlCol="0" anchor="t">
            <a:spAutoFit/>
          </a:bodyPr>
          <a:lstStyle/>
          <a:p>
            <a:pPr algn="ctr"/>
            <a:r>
              <a:rPr lang="zh-CN" altLang="en-US" sz="2800" dirty="0">
                <a:solidFill>
                  <a:schemeClr val="accent1"/>
                </a:solidFill>
                <a:latin typeface="+mj-ea"/>
                <a:ea typeface="+mj-ea"/>
              </a:rPr>
              <a:t>关键词</a:t>
            </a:r>
          </a:p>
        </p:txBody>
      </p:sp>
      <p:sp>
        <p:nvSpPr>
          <p:cNvPr id="30" name="文本框 29">
            <a:extLst>
              <a:ext uri="{FF2B5EF4-FFF2-40B4-BE49-F238E27FC236}">
                <a16:creationId xmlns:a16="http://schemas.microsoft.com/office/drawing/2014/main" id="{36F3FDCC-842E-4F25-B54A-6C97B6B9C775}"/>
              </a:ext>
            </a:extLst>
          </p:cNvPr>
          <p:cNvSpPr txBox="1"/>
          <p:nvPr/>
        </p:nvSpPr>
        <p:spPr>
          <a:xfrm>
            <a:off x="4983980" y="1048702"/>
            <a:ext cx="2067874" cy="369332"/>
          </a:xfrm>
          <a:prstGeom prst="rect">
            <a:avLst/>
          </a:prstGeom>
          <a:noFill/>
        </p:spPr>
        <p:txBody>
          <a:bodyPr wrap="none" lIns="0" tIns="0" rIns="0" bIns="0" rtlCol="0" anchor="t">
            <a:spAutoFit/>
          </a:bodyPr>
          <a:lstStyle/>
          <a:p>
            <a:pPr algn="ctr"/>
            <a:r>
              <a:rPr lang="en-US" altLang="zh-CN" sz="2400" dirty="0">
                <a:solidFill>
                  <a:schemeClr val="accent1"/>
                </a:solidFill>
                <a:latin typeface="+mj-ea"/>
                <a:ea typeface="+mj-ea"/>
              </a:rPr>
              <a:t>01.</a:t>
            </a:r>
            <a:r>
              <a:rPr lang="zh-CN" altLang="en-US" sz="2400" dirty="0">
                <a:solidFill>
                  <a:schemeClr val="accent1"/>
                </a:solidFill>
                <a:latin typeface="+mj-ea"/>
                <a:ea typeface="+mj-ea"/>
              </a:rPr>
              <a:t> 关键词标题</a:t>
            </a:r>
          </a:p>
        </p:txBody>
      </p:sp>
      <p:sp>
        <p:nvSpPr>
          <p:cNvPr id="31" name="文本框 30">
            <a:extLst>
              <a:ext uri="{FF2B5EF4-FFF2-40B4-BE49-F238E27FC236}">
                <a16:creationId xmlns:a16="http://schemas.microsoft.com/office/drawing/2014/main" id="{2FA0FEC3-ACFA-4CBC-A157-344D4C0EEB00}"/>
              </a:ext>
            </a:extLst>
          </p:cNvPr>
          <p:cNvSpPr txBox="1"/>
          <p:nvPr/>
        </p:nvSpPr>
        <p:spPr>
          <a:xfrm>
            <a:off x="4349161" y="1458147"/>
            <a:ext cx="3337514" cy="464807"/>
          </a:xfrm>
          <a:prstGeom prst="rect">
            <a:avLst/>
          </a:prstGeom>
          <a:noFill/>
        </p:spPr>
        <p:txBody>
          <a:bodyPr wrap="square" lIns="0" tIns="0" rIns="0" bIns="0" rtlCol="0" anchor="t">
            <a:spAutoFit/>
          </a:bodyPr>
          <a:lstStyle/>
          <a:p>
            <a:pPr algn="ctr">
              <a:lnSpc>
                <a:spcPct val="130000"/>
              </a:lnSpc>
            </a:pPr>
            <a:r>
              <a:rPr lang="en-US" altLang="zh-CN" sz="1200" b="0" dirty="0">
                <a:solidFill>
                  <a:schemeClr val="tx1">
                    <a:lumMod val="75000"/>
                    <a:lumOff val="25000"/>
                  </a:schemeClr>
                </a:solidFill>
                <a:effectLst/>
                <a:latin typeface="+mn-ea"/>
              </a:rPr>
              <a:t>Lorem ipsum dolor sit amet, consectetur adipisicing elit, sed do eiusmod tempor</a:t>
            </a:r>
            <a:endParaRPr lang="zh-CN" altLang="en-US" sz="1200" b="0" dirty="0">
              <a:solidFill>
                <a:schemeClr val="tx1">
                  <a:lumMod val="75000"/>
                  <a:lumOff val="25000"/>
                </a:schemeClr>
              </a:solidFill>
              <a:effectLst/>
              <a:latin typeface="+mn-ea"/>
            </a:endParaRPr>
          </a:p>
        </p:txBody>
      </p:sp>
      <p:sp>
        <p:nvSpPr>
          <p:cNvPr id="32" name="文本框 31">
            <a:extLst>
              <a:ext uri="{FF2B5EF4-FFF2-40B4-BE49-F238E27FC236}">
                <a16:creationId xmlns:a16="http://schemas.microsoft.com/office/drawing/2014/main" id="{6DE3930C-37A7-4FEC-BDF5-91E21042B600}"/>
              </a:ext>
            </a:extLst>
          </p:cNvPr>
          <p:cNvSpPr txBox="1"/>
          <p:nvPr/>
        </p:nvSpPr>
        <p:spPr>
          <a:xfrm>
            <a:off x="2418714" y="4124020"/>
            <a:ext cx="2122376" cy="369332"/>
          </a:xfrm>
          <a:prstGeom prst="rect">
            <a:avLst/>
          </a:prstGeom>
          <a:noFill/>
        </p:spPr>
        <p:txBody>
          <a:bodyPr wrap="none" lIns="0" tIns="0" rIns="0" bIns="0" rtlCol="0" anchor="t">
            <a:spAutoFit/>
          </a:bodyPr>
          <a:lstStyle/>
          <a:p>
            <a:pPr algn="r"/>
            <a:r>
              <a:rPr lang="en-US" altLang="zh-CN" sz="2400" dirty="0">
                <a:solidFill>
                  <a:schemeClr val="accent1"/>
                </a:solidFill>
                <a:latin typeface="+mj-ea"/>
                <a:ea typeface="+mj-ea"/>
              </a:rPr>
              <a:t>02.</a:t>
            </a:r>
            <a:r>
              <a:rPr lang="zh-CN" altLang="en-US" sz="2400" dirty="0">
                <a:solidFill>
                  <a:schemeClr val="accent1"/>
                </a:solidFill>
                <a:latin typeface="+mj-ea"/>
                <a:ea typeface="+mj-ea"/>
              </a:rPr>
              <a:t> 关键词标题</a:t>
            </a:r>
          </a:p>
        </p:txBody>
      </p:sp>
      <p:sp>
        <p:nvSpPr>
          <p:cNvPr id="36" name="文本框 35">
            <a:extLst>
              <a:ext uri="{FF2B5EF4-FFF2-40B4-BE49-F238E27FC236}">
                <a16:creationId xmlns:a16="http://schemas.microsoft.com/office/drawing/2014/main" id="{1E2A98A4-8250-41E4-9EEC-3C8CA7895256}"/>
              </a:ext>
            </a:extLst>
          </p:cNvPr>
          <p:cNvSpPr txBox="1"/>
          <p:nvPr/>
        </p:nvSpPr>
        <p:spPr>
          <a:xfrm>
            <a:off x="1276350" y="4533465"/>
            <a:ext cx="3264740" cy="464807"/>
          </a:xfrm>
          <a:prstGeom prst="rect">
            <a:avLst/>
          </a:prstGeom>
          <a:noFill/>
        </p:spPr>
        <p:txBody>
          <a:bodyPr wrap="square" lIns="0" tIns="0" rIns="0" bIns="0" rtlCol="0" anchor="t">
            <a:spAutoFit/>
          </a:bodyPr>
          <a:lstStyle/>
          <a:p>
            <a:pPr algn="r">
              <a:lnSpc>
                <a:spcPct val="130000"/>
              </a:lnSpc>
            </a:pPr>
            <a:r>
              <a:rPr lang="en-US" altLang="zh-CN" sz="1200" b="0" dirty="0">
                <a:solidFill>
                  <a:schemeClr val="tx1">
                    <a:lumMod val="75000"/>
                    <a:lumOff val="25000"/>
                  </a:schemeClr>
                </a:solidFill>
                <a:effectLst/>
                <a:latin typeface="+mn-ea"/>
              </a:rPr>
              <a:t>Lorem ipsum dolor sit amet, consectetur adipisicing elit, sed do eiusmod tempor</a:t>
            </a:r>
            <a:endParaRPr lang="zh-CN" altLang="en-US" sz="1200" b="0" dirty="0">
              <a:solidFill>
                <a:schemeClr val="tx1">
                  <a:lumMod val="75000"/>
                  <a:lumOff val="25000"/>
                </a:schemeClr>
              </a:solidFill>
              <a:effectLst/>
              <a:latin typeface="+mn-ea"/>
            </a:endParaRPr>
          </a:p>
        </p:txBody>
      </p:sp>
      <p:sp>
        <p:nvSpPr>
          <p:cNvPr id="37" name="文本框 36">
            <a:extLst>
              <a:ext uri="{FF2B5EF4-FFF2-40B4-BE49-F238E27FC236}">
                <a16:creationId xmlns:a16="http://schemas.microsoft.com/office/drawing/2014/main" id="{C306588C-E200-44AD-95C2-34397674D2C9}"/>
              </a:ext>
            </a:extLst>
          </p:cNvPr>
          <p:cNvSpPr txBox="1"/>
          <p:nvPr/>
        </p:nvSpPr>
        <p:spPr>
          <a:xfrm>
            <a:off x="7494744" y="4124020"/>
            <a:ext cx="2122376" cy="369332"/>
          </a:xfrm>
          <a:prstGeom prst="rect">
            <a:avLst/>
          </a:prstGeom>
          <a:noFill/>
        </p:spPr>
        <p:txBody>
          <a:bodyPr wrap="none" lIns="0" tIns="0" rIns="0" bIns="0" rtlCol="0" anchor="t">
            <a:spAutoFit/>
          </a:bodyPr>
          <a:lstStyle/>
          <a:p>
            <a:r>
              <a:rPr lang="en-US" altLang="zh-CN" sz="2400" dirty="0">
                <a:solidFill>
                  <a:schemeClr val="accent1"/>
                </a:solidFill>
                <a:latin typeface="+mj-ea"/>
                <a:ea typeface="+mj-ea"/>
              </a:rPr>
              <a:t>03.</a:t>
            </a:r>
            <a:r>
              <a:rPr lang="zh-CN" altLang="en-US" sz="2400" dirty="0">
                <a:solidFill>
                  <a:schemeClr val="accent1"/>
                </a:solidFill>
                <a:latin typeface="+mj-ea"/>
                <a:ea typeface="+mj-ea"/>
              </a:rPr>
              <a:t> 关键词标题</a:t>
            </a:r>
          </a:p>
        </p:txBody>
      </p:sp>
      <p:sp>
        <p:nvSpPr>
          <p:cNvPr id="38" name="文本框 37">
            <a:extLst>
              <a:ext uri="{FF2B5EF4-FFF2-40B4-BE49-F238E27FC236}">
                <a16:creationId xmlns:a16="http://schemas.microsoft.com/office/drawing/2014/main" id="{BA942B6D-D83C-4F96-8F6F-CAF3D8A5A5CE}"/>
              </a:ext>
            </a:extLst>
          </p:cNvPr>
          <p:cNvSpPr txBox="1"/>
          <p:nvPr/>
        </p:nvSpPr>
        <p:spPr>
          <a:xfrm>
            <a:off x="7494744" y="4533465"/>
            <a:ext cx="3264741" cy="464807"/>
          </a:xfrm>
          <a:prstGeom prst="rect">
            <a:avLst/>
          </a:prstGeom>
          <a:noFill/>
        </p:spPr>
        <p:txBody>
          <a:bodyPr wrap="square" lIns="0" tIns="0" rIns="0" bIns="0" rtlCol="0" anchor="t">
            <a:spAutoFit/>
          </a:bodyPr>
          <a:lstStyle/>
          <a:p>
            <a:pPr>
              <a:lnSpc>
                <a:spcPct val="130000"/>
              </a:lnSpc>
            </a:pPr>
            <a:r>
              <a:rPr lang="en-US" altLang="zh-CN" sz="1200" b="0" dirty="0">
                <a:solidFill>
                  <a:schemeClr val="tx1">
                    <a:lumMod val="75000"/>
                    <a:lumOff val="25000"/>
                  </a:schemeClr>
                </a:solidFill>
                <a:effectLst/>
                <a:latin typeface="+mn-ea"/>
              </a:rPr>
              <a:t>Lorem ipsum dolor sit amet, consectetur adipisicing elit, sed do eiusmod tempor</a:t>
            </a:r>
            <a:endParaRPr lang="zh-CN" altLang="en-US" sz="1200" b="0" dirty="0">
              <a:solidFill>
                <a:schemeClr val="tx1">
                  <a:lumMod val="75000"/>
                  <a:lumOff val="25000"/>
                </a:schemeClr>
              </a:solidFill>
              <a:effectLst/>
              <a:latin typeface="+mn-ea"/>
            </a:endParaRPr>
          </a:p>
        </p:txBody>
      </p:sp>
    </p:spTree>
    <p:extLst>
      <p:ext uri="{BB962C8B-B14F-4D97-AF65-F5344CB8AC3E}">
        <p14:creationId xmlns:p14="http://schemas.microsoft.com/office/powerpoint/2010/main" val="1948845582"/>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2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椭圆 7">
            <a:extLst>
              <a:ext uri="{FF2B5EF4-FFF2-40B4-BE49-F238E27FC236}">
                <a16:creationId xmlns:a16="http://schemas.microsoft.com/office/drawing/2014/main" id="{DBF64155-BABC-4980-AE1A-815BF5217CAC}"/>
              </a:ext>
            </a:extLst>
          </p:cNvPr>
          <p:cNvSpPr/>
          <p:nvPr/>
        </p:nvSpPr>
        <p:spPr>
          <a:xfrm>
            <a:off x="5064721" y="2670048"/>
            <a:ext cx="2093774" cy="209377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2" name="任意形状 9">
            <a:extLst>
              <a:ext uri="{FF2B5EF4-FFF2-40B4-BE49-F238E27FC236}">
                <a16:creationId xmlns:a16="http://schemas.microsoft.com/office/drawing/2014/main" id="{79C0392D-8AB4-4C9C-BB47-E593C645F444}"/>
              </a:ext>
            </a:extLst>
          </p:cNvPr>
          <p:cNvSpPr/>
          <p:nvPr/>
        </p:nvSpPr>
        <p:spPr>
          <a:xfrm>
            <a:off x="0" y="6457950"/>
            <a:ext cx="12192000" cy="400050"/>
          </a:xfrm>
          <a:custGeom>
            <a:avLst/>
            <a:gdLst>
              <a:gd name="connsiteX0" fmla="*/ 12192000 w 12192000"/>
              <a:gd name="connsiteY0" fmla="*/ 0 h 329410"/>
              <a:gd name="connsiteX1" fmla="*/ 12192000 w 12192000"/>
              <a:gd name="connsiteY1" fmla="*/ 329410 h 329410"/>
              <a:gd name="connsiteX2" fmla="*/ 0 w 12192000"/>
              <a:gd name="connsiteY2" fmla="*/ 329410 h 329410"/>
              <a:gd name="connsiteX3" fmla="*/ 0 w 12192000"/>
              <a:gd name="connsiteY3" fmla="*/ 29375 h 329410"/>
              <a:gd name="connsiteX4" fmla="*/ 577089 w 12192000"/>
              <a:gd name="connsiteY4" fmla="*/ 49593 h 329410"/>
              <a:gd name="connsiteX5" fmla="*/ 5704114 w 12192000"/>
              <a:gd name="connsiteY5" fmla="*/ 124873 h 329410"/>
              <a:gd name="connsiteX6" fmla="*/ 11982536 w 12192000"/>
              <a:gd name="connsiteY6" fmla="*/ 9255 h 329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329410">
                <a:moveTo>
                  <a:pt x="12192000" y="0"/>
                </a:moveTo>
                <a:lnTo>
                  <a:pt x="12192000" y="329410"/>
                </a:lnTo>
                <a:lnTo>
                  <a:pt x="0" y="329410"/>
                </a:lnTo>
                <a:lnTo>
                  <a:pt x="0" y="29375"/>
                </a:lnTo>
                <a:lnTo>
                  <a:pt x="577089" y="49593"/>
                </a:lnTo>
                <a:cubicBezTo>
                  <a:pt x="2152931" y="98068"/>
                  <a:pt x="3885480" y="124873"/>
                  <a:pt x="5704114" y="124873"/>
                </a:cubicBezTo>
                <a:cubicBezTo>
                  <a:pt x="7977407" y="124873"/>
                  <a:pt x="10116192" y="82990"/>
                  <a:pt x="11982536" y="9255"/>
                </a:cubicBezTo>
                <a:close/>
              </a:path>
            </a:pathLst>
          </a:custGeom>
          <a:solidFill>
            <a:schemeClr val="accent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zh-CN" altLang="en-US"/>
          </a:p>
        </p:txBody>
      </p:sp>
      <p:sp>
        <p:nvSpPr>
          <p:cNvPr id="9" name="文本框 8">
            <a:extLst>
              <a:ext uri="{FF2B5EF4-FFF2-40B4-BE49-F238E27FC236}">
                <a16:creationId xmlns:a16="http://schemas.microsoft.com/office/drawing/2014/main" id="{4CD1208E-EB4A-4CD7-B4CB-BBC9FEBFE8AA}"/>
              </a:ext>
            </a:extLst>
          </p:cNvPr>
          <p:cNvSpPr txBox="1"/>
          <p:nvPr/>
        </p:nvSpPr>
        <p:spPr>
          <a:xfrm>
            <a:off x="5572999" y="3501492"/>
            <a:ext cx="1077218" cy="430887"/>
          </a:xfrm>
          <a:prstGeom prst="rect">
            <a:avLst/>
          </a:prstGeom>
          <a:noFill/>
        </p:spPr>
        <p:txBody>
          <a:bodyPr wrap="none" lIns="0" tIns="0" rIns="0" bIns="0" rtlCol="0" anchor="t">
            <a:spAutoFit/>
          </a:bodyPr>
          <a:lstStyle/>
          <a:p>
            <a:pPr algn="ctr"/>
            <a:r>
              <a:rPr lang="zh-CN" altLang="en-US" sz="2800" dirty="0">
                <a:solidFill>
                  <a:schemeClr val="bg1"/>
                </a:solidFill>
                <a:latin typeface="+mj-ea"/>
                <a:ea typeface="+mj-ea"/>
              </a:rPr>
              <a:t>关键词</a:t>
            </a:r>
          </a:p>
        </p:txBody>
      </p:sp>
      <p:sp>
        <p:nvSpPr>
          <p:cNvPr id="30" name="文本框 29">
            <a:extLst>
              <a:ext uri="{FF2B5EF4-FFF2-40B4-BE49-F238E27FC236}">
                <a16:creationId xmlns:a16="http://schemas.microsoft.com/office/drawing/2014/main" id="{36F3FDCC-842E-4F25-B54A-6C97B6B9C775}"/>
              </a:ext>
            </a:extLst>
          </p:cNvPr>
          <p:cNvSpPr txBox="1"/>
          <p:nvPr/>
        </p:nvSpPr>
        <p:spPr>
          <a:xfrm>
            <a:off x="604901" y="1795796"/>
            <a:ext cx="2067874" cy="369332"/>
          </a:xfrm>
          <a:prstGeom prst="rect">
            <a:avLst/>
          </a:prstGeom>
          <a:noFill/>
        </p:spPr>
        <p:txBody>
          <a:bodyPr wrap="none" lIns="0" tIns="0" rIns="0" bIns="0" rtlCol="0" anchor="t">
            <a:spAutoFit/>
          </a:bodyPr>
          <a:lstStyle/>
          <a:p>
            <a:r>
              <a:rPr lang="en-US" altLang="zh-CN" sz="2400" dirty="0">
                <a:solidFill>
                  <a:schemeClr val="accent1"/>
                </a:solidFill>
                <a:latin typeface="+mj-ea"/>
                <a:ea typeface="+mj-ea"/>
              </a:rPr>
              <a:t>01.</a:t>
            </a:r>
            <a:r>
              <a:rPr lang="zh-CN" altLang="en-US" sz="2400" dirty="0">
                <a:solidFill>
                  <a:schemeClr val="accent1"/>
                </a:solidFill>
                <a:latin typeface="+mj-ea"/>
                <a:ea typeface="+mj-ea"/>
              </a:rPr>
              <a:t> 关键词标题</a:t>
            </a:r>
          </a:p>
        </p:txBody>
      </p:sp>
      <p:sp>
        <p:nvSpPr>
          <p:cNvPr id="31" name="文本框 30">
            <a:extLst>
              <a:ext uri="{FF2B5EF4-FFF2-40B4-BE49-F238E27FC236}">
                <a16:creationId xmlns:a16="http://schemas.microsoft.com/office/drawing/2014/main" id="{2FA0FEC3-ACFA-4CBC-A157-344D4C0EEB00}"/>
              </a:ext>
            </a:extLst>
          </p:cNvPr>
          <p:cNvSpPr txBox="1"/>
          <p:nvPr/>
        </p:nvSpPr>
        <p:spPr>
          <a:xfrm>
            <a:off x="604901" y="2205241"/>
            <a:ext cx="4266539" cy="426079"/>
          </a:xfrm>
          <a:prstGeom prst="rect">
            <a:avLst/>
          </a:prstGeom>
          <a:noFill/>
        </p:spPr>
        <p:txBody>
          <a:bodyPr wrap="square" lIns="0" tIns="0" rIns="0" bIns="0" rtlCol="0" anchor="t">
            <a:spAutoFit/>
          </a:bodyPr>
          <a:lstStyle/>
          <a:p>
            <a:pPr>
              <a:lnSpc>
                <a:spcPct val="130000"/>
              </a:lnSpc>
            </a:pPr>
            <a:r>
              <a:rPr lang="en-US" altLang="zh-CN" sz="1100" b="0" dirty="0">
                <a:solidFill>
                  <a:schemeClr val="tx1">
                    <a:lumMod val="75000"/>
                    <a:lumOff val="25000"/>
                  </a:schemeClr>
                </a:solidFill>
                <a:effectLst/>
                <a:latin typeface="+mn-ea"/>
              </a:rPr>
              <a:t>Lorem ipsum dolor sit amet, consectetur adipisicing elit, sed do eiusmod tempor</a:t>
            </a:r>
            <a:endParaRPr lang="zh-CN" altLang="en-US" sz="1100" b="0" dirty="0">
              <a:solidFill>
                <a:schemeClr val="tx1">
                  <a:lumMod val="75000"/>
                  <a:lumOff val="25000"/>
                </a:schemeClr>
              </a:solidFill>
              <a:effectLst/>
              <a:latin typeface="+mn-ea"/>
            </a:endParaRPr>
          </a:p>
        </p:txBody>
      </p:sp>
      <p:sp>
        <p:nvSpPr>
          <p:cNvPr id="18" name="椭圆 17">
            <a:extLst>
              <a:ext uri="{FF2B5EF4-FFF2-40B4-BE49-F238E27FC236}">
                <a16:creationId xmlns:a16="http://schemas.microsoft.com/office/drawing/2014/main" id="{687DA74E-B98D-4B6D-9820-9D10CE6E7F61}"/>
              </a:ext>
            </a:extLst>
          </p:cNvPr>
          <p:cNvSpPr/>
          <p:nvPr/>
        </p:nvSpPr>
        <p:spPr>
          <a:xfrm>
            <a:off x="4871440" y="2476767"/>
            <a:ext cx="2480336" cy="2480336"/>
          </a:xfrm>
          <a:prstGeom prst="ellipse">
            <a:avLst/>
          </a:prstGeom>
          <a:no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cxnSp>
        <p:nvCxnSpPr>
          <p:cNvPr id="11" name="直接连接符 10">
            <a:extLst>
              <a:ext uri="{FF2B5EF4-FFF2-40B4-BE49-F238E27FC236}">
                <a16:creationId xmlns:a16="http://schemas.microsoft.com/office/drawing/2014/main" id="{85DE8CF1-0EF1-47A5-BB47-522249CD943D}"/>
              </a:ext>
            </a:extLst>
          </p:cNvPr>
          <p:cNvCxnSpPr>
            <a:cxnSpLocks/>
            <a:stCxn id="18" idx="1"/>
          </p:cNvCxnSpPr>
          <p:nvPr/>
        </p:nvCxnSpPr>
        <p:spPr>
          <a:xfrm flipH="1" flipV="1">
            <a:off x="569119" y="2828973"/>
            <a:ext cx="4665558" cy="11031"/>
          </a:xfrm>
          <a:prstGeom prst="line">
            <a:avLst/>
          </a:prstGeom>
          <a:ln w="19050">
            <a:gradFill>
              <a:gsLst>
                <a:gs pos="0">
                  <a:schemeClr val="accent1">
                    <a:alpha val="0"/>
                  </a:schemeClr>
                </a:gs>
                <a:gs pos="100000">
                  <a:schemeClr val="accent1"/>
                </a:gs>
              </a:gsLst>
              <a:lin ang="0" scaled="0"/>
            </a:gradFill>
            <a:prstDash val="lgDash"/>
            <a:tailEnd type="oval"/>
          </a:ln>
        </p:spPr>
        <p:style>
          <a:lnRef idx="1">
            <a:schemeClr val="accent1"/>
          </a:lnRef>
          <a:fillRef idx="0">
            <a:schemeClr val="accent1"/>
          </a:fillRef>
          <a:effectRef idx="0">
            <a:schemeClr val="accent1"/>
          </a:effectRef>
          <a:fontRef idx="minor">
            <a:schemeClr val="tx1"/>
          </a:fontRef>
        </p:style>
      </p:cxnSp>
      <p:sp>
        <p:nvSpPr>
          <p:cNvPr id="27" name="文本框 26">
            <a:extLst>
              <a:ext uri="{FF2B5EF4-FFF2-40B4-BE49-F238E27FC236}">
                <a16:creationId xmlns:a16="http://schemas.microsoft.com/office/drawing/2014/main" id="{74C83BE1-E34B-4049-AF0F-EBA05DD283DF}"/>
              </a:ext>
            </a:extLst>
          </p:cNvPr>
          <p:cNvSpPr txBox="1"/>
          <p:nvPr/>
        </p:nvSpPr>
        <p:spPr>
          <a:xfrm>
            <a:off x="604901" y="3560939"/>
            <a:ext cx="2122376" cy="369332"/>
          </a:xfrm>
          <a:prstGeom prst="rect">
            <a:avLst/>
          </a:prstGeom>
          <a:noFill/>
        </p:spPr>
        <p:txBody>
          <a:bodyPr wrap="none" lIns="0" tIns="0" rIns="0" bIns="0" rtlCol="0" anchor="t">
            <a:spAutoFit/>
          </a:bodyPr>
          <a:lstStyle/>
          <a:p>
            <a:r>
              <a:rPr lang="en-US" altLang="zh-CN" sz="2400" dirty="0">
                <a:solidFill>
                  <a:schemeClr val="accent1"/>
                </a:solidFill>
                <a:latin typeface="+mj-ea"/>
                <a:ea typeface="+mj-ea"/>
              </a:rPr>
              <a:t>02.</a:t>
            </a:r>
            <a:r>
              <a:rPr lang="zh-CN" altLang="en-US" sz="2400" dirty="0">
                <a:solidFill>
                  <a:schemeClr val="accent1"/>
                </a:solidFill>
                <a:latin typeface="+mj-ea"/>
                <a:ea typeface="+mj-ea"/>
              </a:rPr>
              <a:t> 关键词标题</a:t>
            </a:r>
          </a:p>
        </p:txBody>
      </p:sp>
      <p:sp>
        <p:nvSpPr>
          <p:cNvPr id="33" name="文本框 32">
            <a:extLst>
              <a:ext uri="{FF2B5EF4-FFF2-40B4-BE49-F238E27FC236}">
                <a16:creationId xmlns:a16="http://schemas.microsoft.com/office/drawing/2014/main" id="{3C34FBCE-3256-4CB3-9A26-2EE662277D51}"/>
              </a:ext>
            </a:extLst>
          </p:cNvPr>
          <p:cNvSpPr txBox="1"/>
          <p:nvPr/>
        </p:nvSpPr>
        <p:spPr>
          <a:xfrm>
            <a:off x="604901" y="3970384"/>
            <a:ext cx="4266539" cy="426079"/>
          </a:xfrm>
          <a:prstGeom prst="rect">
            <a:avLst/>
          </a:prstGeom>
          <a:noFill/>
        </p:spPr>
        <p:txBody>
          <a:bodyPr wrap="square" lIns="0" tIns="0" rIns="0" bIns="0" rtlCol="0" anchor="t">
            <a:spAutoFit/>
          </a:bodyPr>
          <a:lstStyle/>
          <a:p>
            <a:pPr>
              <a:lnSpc>
                <a:spcPct val="130000"/>
              </a:lnSpc>
            </a:pPr>
            <a:r>
              <a:rPr lang="en-US" altLang="zh-CN" sz="1100" b="0" dirty="0">
                <a:solidFill>
                  <a:schemeClr val="tx1">
                    <a:lumMod val="75000"/>
                    <a:lumOff val="25000"/>
                  </a:schemeClr>
                </a:solidFill>
                <a:effectLst/>
                <a:latin typeface="+mn-ea"/>
              </a:rPr>
              <a:t>Lorem ipsum dolor sit amet, consectetur adipisicing elit, sed do eiusmod tempor</a:t>
            </a:r>
            <a:endParaRPr lang="zh-CN" altLang="en-US" sz="1100" b="0" dirty="0">
              <a:solidFill>
                <a:schemeClr val="tx1">
                  <a:lumMod val="75000"/>
                  <a:lumOff val="25000"/>
                </a:schemeClr>
              </a:solidFill>
              <a:effectLst/>
              <a:latin typeface="+mn-ea"/>
            </a:endParaRPr>
          </a:p>
        </p:txBody>
      </p:sp>
      <p:cxnSp>
        <p:nvCxnSpPr>
          <p:cNvPr id="34" name="直接连接符 33">
            <a:extLst>
              <a:ext uri="{FF2B5EF4-FFF2-40B4-BE49-F238E27FC236}">
                <a16:creationId xmlns:a16="http://schemas.microsoft.com/office/drawing/2014/main" id="{A5329B0B-72BE-4589-883F-D8C923CFF190}"/>
              </a:ext>
            </a:extLst>
          </p:cNvPr>
          <p:cNvCxnSpPr>
            <a:cxnSpLocks/>
          </p:cNvCxnSpPr>
          <p:nvPr/>
        </p:nvCxnSpPr>
        <p:spPr>
          <a:xfrm flipH="1" flipV="1">
            <a:off x="569119" y="4594116"/>
            <a:ext cx="4665558" cy="11031"/>
          </a:xfrm>
          <a:prstGeom prst="line">
            <a:avLst/>
          </a:prstGeom>
          <a:ln w="19050">
            <a:gradFill>
              <a:gsLst>
                <a:gs pos="0">
                  <a:schemeClr val="accent1">
                    <a:alpha val="0"/>
                  </a:schemeClr>
                </a:gs>
                <a:gs pos="100000">
                  <a:schemeClr val="accent1"/>
                </a:gs>
              </a:gsLst>
              <a:lin ang="0" scaled="0"/>
            </a:gradFill>
            <a:prstDash val="lgDash"/>
            <a:tailEnd type="oval"/>
          </a:ln>
        </p:spPr>
        <p:style>
          <a:lnRef idx="1">
            <a:schemeClr val="accent1"/>
          </a:lnRef>
          <a:fillRef idx="0">
            <a:schemeClr val="accent1"/>
          </a:fillRef>
          <a:effectRef idx="0">
            <a:schemeClr val="accent1"/>
          </a:effectRef>
          <a:fontRef idx="minor">
            <a:schemeClr val="tx1"/>
          </a:fontRef>
        </p:style>
      </p:cxnSp>
      <p:sp>
        <p:nvSpPr>
          <p:cNvPr id="35" name="文本框 34">
            <a:extLst>
              <a:ext uri="{FF2B5EF4-FFF2-40B4-BE49-F238E27FC236}">
                <a16:creationId xmlns:a16="http://schemas.microsoft.com/office/drawing/2014/main" id="{7D8A7E18-C565-4826-98F0-25DDD06E2837}"/>
              </a:ext>
            </a:extLst>
          </p:cNvPr>
          <p:cNvSpPr txBox="1"/>
          <p:nvPr/>
        </p:nvSpPr>
        <p:spPr>
          <a:xfrm>
            <a:off x="9464723" y="1795796"/>
            <a:ext cx="2122376" cy="369332"/>
          </a:xfrm>
          <a:prstGeom prst="rect">
            <a:avLst/>
          </a:prstGeom>
          <a:noFill/>
        </p:spPr>
        <p:txBody>
          <a:bodyPr wrap="none" lIns="0" tIns="0" rIns="0" bIns="0" rtlCol="0" anchor="t">
            <a:spAutoFit/>
          </a:bodyPr>
          <a:lstStyle/>
          <a:p>
            <a:pPr algn="r"/>
            <a:r>
              <a:rPr lang="en-US" altLang="zh-CN" sz="2400" dirty="0">
                <a:solidFill>
                  <a:schemeClr val="accent1"/>
                </a:solidFill>
                <a:latin typeface="+mj-ea"/>
                <a:ea typeface="+mj-ea"/>
              </a:rPr>
              <a:t>03.</a:t>
            </a:r>
            <a:r>
              <a:rPr lang="zh-CN" altLang="en-US" sz="2400" dirty="0">
                <a:solidFill>
                  <a:schemeClr val="accent1"/>
                </a:solidFill>
                <a:latin typeface="+mj-ea"/>
                <a:ea typeface="+mj-ea"/>
              </a:rPr>
              <a:t> 关键词标题</a:t>
            </a:r>
          </a:p>
        </p:txBody>
      </p:sp>
      <p:sp>
        <p:nvSpPr>
          <p:cNvPr id="39" name="文本框 38">
            <a:extLst>
              <a:ext uri="{FF2B5EF4-FFF2-40B4-BE49-F238E27FC236}">
                <a16:creationId xmlns:a16="http://schemas.microsoft.com/office/drawing/2014/main" id="{A150C1AC-932A-4334-B12F-37DE7E906982}"/>
              </a:ext>
            </a:extLst>
          </p:cNvPr>
          <p:cNvSpPr txBox="1"/>
          <p:nvPr/>
        </p:nvSpPr>
        <p:spPr>
          <a:xfrm>
            <a:off x="7615128" y="2205241"/>
            <a:ext cx="3971971" cy="426079"/>
          </a:xfrm>
          <a:prstGeom prst="rect">
            <a:avLst/>
          </a:prstGeom>
          <a:noFill/>
        </p:spPr>
        <p:txBody>
          <a:bodyPr wrap="square" lIns="0" tIns="0" rIns="0" bIns="0" rtlCol="0" anchor="t">
            <a:spAutoFit/>
          </a:bodyPr>
          <a:lstStyle/>
          <a:p>
            <a:pPr marL="0" marR="0" lvl="0" indent="0" algn="r" defTabSz="914400" rtl="0" eaLnBrk="1" fontAlgn="auto" latinLnBrk="0" hangingPunct="1">
              <a:lnSpc>
                <a:spcPct val="130000"/>
              </a:lnSpc>
              <a:spcBef>
                <a:spcPts val="0"/>
              </a:spcBef>
              <a:spcAft>
                <a:spcPts val="0"/>
              </a:spcAft>
              <a:buClrTx/>
              <a:buSzTx/>
              <a:buFontTx/>
              <a:buNone/>
              <a:tabLst/>
              <a:defRPr/>
            </a:pPr>
            <a:r>
              <a:rPr kumimoji="0" lang="en-US" altLang="zh-CN" sz="1100" b="0" i="0" u="none" strike="noStrike" kern="1200" cap="none" spc="0" normalizeH="0" baseline="0" noProof="0" dirty="0">
                <a:ln>
                  <a:noFill/>
                </a:ln>
                <a:solidFill>
                  <a:srgbClr val="000000">
                    <a:lumMod val="75000"/>
                    <a:lumOff val="25000"/>
                  </a:srgbClr>
                </a:solidFill>
                <a:effectLst/>
                <a:uLnTx/>
                <a:uFillTx/>
                <a:latin typeface="OPPOSans R"/>
                <a:ea typeface="OPPOSans R"/>
                <a:cs typeface="+mn-cs"/>
              </a:rPr>
              <a:t>Lorem ipsum dolor sit amet, consectetur adipisicing elit, sed do eiusmod tempor</a:t>
            </a:r>
            <a:endParaRPr kumimoji="0" lang="zh-CN" altLang="en-US" sz="1100" b="0" i="0" u="none" strike="noStrike" kern="1200" cap="none" spc="0" normalizeH="0" baseline="0" noProof="0" dirty="0">
              <a:ln>
                <a:noFill/>
              </a:ln>
              <a:solidFill>
                <a:srgbClr val="000000">
                  <a:lumMod val="75000"/>
                  <a:lumOff val="25000"/>
                </a:srgbClr>
              </a:solidFill>
              <a:effectLst/>
              <a:uLnTx/>
              <a:uFillTx/>
              <a:latin typeface="OPPOSans R"/>
              <a:ea typeface="OPPOSans R"/>
              <a:cs typeface="+mn-cs"/>
            </a:endParaRPr>
          </a:p>
        </p:txBody>
      </p:sp>
      <p:cxnSp>
        <p:nvCxnSpPr>
          <p:cNvPr id="40" name="直接连接符 39">
            <a:extLst>
              <a:ext uri="{FF2B5EF4-FFF2-40B4-BE49-F238E27FC236}">
                <a16:creationId xmlns:a16="http://schemas.microsoft.com/office/drawing/2014/main" id="{C6FCF32A-78F9-48E0-8EBD-4A8AD4C8808A}"/>
              </a:ext>
            </a:extLst>
          </p:cNvPr>
          <p:cNvCxnSpPr>
            <a:cxnSpLocks/>
          </p:cNvCxnSpPr>
          <p:nvPr/>
        </p:nvCxnSpPr>
        <p:spPr>
          <a:xfrm flipV="1">
            <a:off x="6988539" y="2828973"/>
            <a:ext cx="4665558" cy="11031"/>
          </a:xfrm>
          <a:prstGeom prst="line">
            <a:avLst/>
          </a:prstGeom>
          <a:ln w="19050">
            <a:gradFill>
              <a:gsLst>
                <a:gs pos="0">
                  <a:schemeClr val="accent1">
                    <a:alpha val="0"/>
                  </a:schemeClr>
                </a:gs>
                <a:gs pos="100000">
                  <a:schemeClr val="accent1"/>
                </a:gs>
              </a:gsLst>
              <a:lin ang="0" scaled="0"/>
            </a:gradFill>
            <a:prstDash val="lgDash"/>
            <a:tailEnd type="oval"/>
          </a:ln>
        </p:spPr>
        <p:style>
          <a:lnRef idx="1">
            <a:schemeClr val="accent1"/>
          </a:lnRef>
          <a:fillRef idx="0">
            <a:schemeClr val="accent1"/>
          </a:fillRef>
          <a:effectRef idx="0">
            <a:schemeClr val="accent1"/>
          </a:effectRef>
          <a:fontRef idx="minor">
            <a:schemeClr val="tx1"/>
          </a:fontRef>
        </p:style>
      </p:cxnSp>
      <p:sp>
        <p:nvSpPr>
          <p:cNvPr id="41" name="文本框 40">
            <a:extLst>
              <a:ext uri="{FF2B5EF4-FFF2-40B4-BE49-F238E27FC236}">
                <a16:creationId xmlns:a16="http://schemas.microsoft.com/office/drawing/2014/main" id="{9E51746E-06FF-4C7E-A9F5-1FF15617E51A}"/>
              </a:ext>
            </a:extLst>
          </p:cNvPr>
          <p:cNvSpPr txBox="1"/>
          <p:nvPr/>
        </p:nvSpPr>
        <p:spPr>
          <a:xfrm>
            <a:off x="9464723" y="3560939"/>
            <a:ext cx="2122376" cy="369332"/>
          </a:xfrm>
          <a:prstGeom prst="rect">
            <a:avLst/>
          </a:prstGeom>
          <a:noFill/>
        </p:spPr>
        <p:txBody>
          <a:bodyPr wrap="none" lIns="0" tIns="0" rIns="0" bIns="0" rtlCol="0" anchor="t">
            <a:spAutoFit/>
          </a:bodyPr>
          <a:lstStyle/>
          <a:p>
            <a:pPr algn="r"/>
            <a:r>
              <a:rPr lang="en-US" altLang="zh-CN" sz="2400" dirty="0">
                <a:solidFill>
                  <a:schemeClr val="accent1"/>
                </a:solidFill>
                <a:latin typeface="+mj-ea"/>
                <a:ea typeface="+mj-ea"/>
              </a:rPr>
              <a:t>04.</a:t>
            </a:r>
            <a:r>
              <a:rPr lang="zh-CN" altLang="en-US" sz="2400" dirty="0">
                <a:solidFill>
                  <a:schemeClr val="accent1"/>
                </a:solidFill>
                <a:latin typeface="+mj-ea"/>
                <a:ea typeface="+mj-ea"/>
              </a:rPr>
              <a:t> 关键词标题</a:t>
            </a:r>
          </a:p>
        </p:txBody>
      </p:sp>
      <p:sp>
        <p:nvSpPr>
          <p:cNvPr id="42" name="文本框 41">
            <a:extLst>
              <a:ext uri="{FF2B5EF4-FFF2-40B4-BE49-F238E27FC236}">
                <a16:creationId xmlns:a16="http://schemas.microsoft.com/office/drawing/2014/main" id="{3994699A-203B-4F75-ACCD-812900FCD870}"/>
              </a:ext>
            </a:extLst>
          </p:cNvPr>
          <p:cNvSpPr txBox="1"/>
          <p:nvPr/>
        </p:nvSpPr>
        <p:spPr>
          <a:xfrm>
            <a:off x="7615128" y="3970384"/>
            <a:ext cx="3971971" cy="426079"/>
          </a:xfrm>
          <a:prstGeom prst="rect">
            <a:avLst/>
          </a:prstGeom>
          <a:noFill/>
        </p:spPr>
        <p:txBody>
          <a:bodyPr wrap="square" lIns="0" tIns="0" rIns="0" bIns="0" rtlCol="0" anchor="t">
            <a:spAutoFit/>
          </a:bodyPr>
          <a:lstStyle/>
          <a:p>
            <a:pPr marL="0" marR="0" lvl="0" indent="0" algn="r" defTabSz="914400" rtl="0" eaLnBrk="1" fontAlgn="auto" latinLnBrk="0" hangingPunct="1">
              <a:lnSpc>
                <a:spcPct val="130000"/>
              </a:lnSpc>
              <a:spcBef>
                <a:spcPts val="0"/>
              </a:spcBef>
              <a:spcAft>
                <a:spcPts val="0"/>
              </a:spcAft>
              <a:buClrTx/>
              <a:buSzTx/>
              <a:buFontTx/>
              <a:buNone/>
              <a:tabLst/>
              <a:defRPr/>
            </a:pPr>
            <a:r>
              <a:rPr kumimoji="0" lang="en-US" altLang="zh-CN" sz="1100" b="0" i="0" u="none" strike="noStrike" kern="1200" cap="none" spc="0" normalizeH="0" baseline="0" noProof="0" dirty="0">
                <a:ln>
                  <a:noFill/>
                </a:ln>
                <a:solidFill>
                  <a:srgbClr val="000000">
                    <a:lumMod val="75000"/>
                    <a:lumOff val="25000"/>
                  </a:srgbClr>
                </a:solidFill>
                <a:effectLst/>
                <a:uLnTx/>
                <a:uFillTx/>
                <a:latin typeface="OPPOSans R"/>
                <a:ea typeface="OPPOSans R"/>
                <a:cs typeface="+mn-cs"/>
              </a:rPr>
              <a:t>Lorem ipsum dolor sit amet, consectetur adipisicing elit, sed do eiusmod tempor</a:t>
            </a:r>
            <a:endParaRPr kumimoji="0" lang="zh-CN" altLang="en-US" sz="1100" b="0" i="0" u="none" strike="noStrike" kern="1200" cap="none" spc="0" normalizeH="0" baseline="0" noProof="0" dirty="0">
              <a:ln>
                <a:noFill/>
              </a:ln>
              <a:solidFill>
                <a:srgbClr val="000000">
                  <a:lumMod val="75000"/>
                  <a:lumOff val="25000"/>
                </a:srgbClr>
              </a:solidFill>
              <a:effectLst/>
              <a:uLnTx/>
              <a:uFillTx/>
              <a:latin typeface="OPPOSans R"/>
              <a:ea typeface="OPPOSans R"/>
              <a:cs typeface="+mn-cs"/>
            </a:endParaRPr>
          </a:p>
        </p:txBody>
      </p:sp>
      <p:cxnSp>
        <p:nvCxnSpPr>
          <p:cNvPr id="43" name="直接连接符 42">
            <a:extLst>
              <a:ext uri="{FF2B5EF4-FFF2-40B4-BE49-F238E27FC236}">
                <a16:creationId xmlns:a16="http://schemas.microsoft.com/office/drawing/2014/main" id="{8F3526A6-6E74-480D-9143-0BC7389FCD22}"/>
              </a:ext>
            </a:extLst>
          </p:cNvPr>
          <p:cNvCxnSpPr>
            <a:cxnSpLocks/>
          </p:cNvCxnSpPr>
          <p:nvPr/>
        </p:nvCxnSpPr>
        <p:spPr>
          <a:xfrm flipV="1">
            <a:off x="6988539" y="4594116"/>
            <a:ext cx="4665558" cy="11031"/>
          </a:xfrm>
          <a:prstGeom prst="line">
            <a:avLst/>
          </a:prstGeom>
          <a:ln w="19050">
            <a:gradFill>
              <a:gsLst>
                <a:gs pos="0">
                  <a:schemeClr val="accent1">
                    <a:alpha val="0"/>
                  </a:schemeClr>
                </a:gs>
                <a:gs pos="100000">
                  <a:schemeClr val="accent1"/>
                </a:gs>
              </a:gsLst>
              <a:lin ang="0" scaled="0"/>
            </a:gradFill>
            <a:prstDash val="lgDash"/>
            <a:tailEnd type="ova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51056383"/>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2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任意形状 9">
            <a:extLst>
              <a:ext uri="{FF2B5EF4-FFF2-40B4-BE49-F238E27FC236}">
                <a16:creationId xmlns:a16="http://schemas.microsoft.com/office/drawing/2014/main" id="{79C0392D-8AB4-4C9C-BB47-E593C645F444}"/>
              </a:ext>
            </a:extLst>
          </p:cNvPr>
          <p:cNvSpPr/>
          <p:nvPr/>
        </p:nvSpPr>
        <p:spPr>
          <a:xfrm>
            <a:off x="0" y="6457950"/>
            <a:ext cx="12192000" cy="400050"/>
          </a:xfrm>
          <a:custGeom>
            <a:avLst/>
            <a:gdLst>
              <a:gd name="connsiteX0" fmla="*/ 12192000 w 12192000"/>
              <a:gd name="connsiteY0" fmla="*/ 0 h 329410"/>
              <a:gd name="connsiteX1" fmla="*/ 12192000 w 12192000"/>
              <a:gd name="connsiteY1" fmla="*/ 329410 h 329410"/>
              <a:gd name="connsiteX2" fmla="*/ 0 w 12192000"/>
              <a:gd name="connsiteY2" fmla="*/ 329410 h 329410"/>
              <a:gd name="connsiteX3" fmla="*/ 0 w 12192000"/>
              <a:gd name="connsiteY3" fmla="*/ 29375 h 329410"/>
              <a:gd name="connsiteX4" fmla="*/ 577089 w 12192000"/>
              <a:gd name="connsiteY4" fmla="*/ 49593 h 329410"/>
              <a:gd name="connsiteX5" fmla="*/ 5704114 w 12192000"/>
              <a:gd name="connsiteY5" fmla="*/ 124873 h 329410"/>
              <a:gd name="connsiteX6" fmla="*/ 11982536 w 12192000"/>
              <a:gd name="connsiteY6" fmla="*/ 9255 h 329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329410">
                <a:moveTo>
                  <a:pt x="12192000" y="0"/>
                </a:moveTo>
                <a:lnTo>
                  <a:pt x="12192000" y="329410"/>
                </a:lnTo>
                <a:lnTo>
                  <a:pt x="0" y="329410"/>
                </a:lnTo>
                <a:lnTo>
                  <a:pt x="0" y="29375"/>
                </a:lnTo>
                <a:lnTo>
                  <a:pt x="577089" y="49593"/>
                </a:lnTo>
                <a:cubicBezTo>
                  <a:pt x="2152931" y="98068"/>
                  <a:pt x="3885480" y="124873"/>
                  <a:pt x="5704114" y="124873"/>
                </a:cubicBezTo>
                <a:cubicBezTo>
                  <a:pt x="7977407" y="124873"/>
                  <a:pt x="10116192" y="82990"/>
                  <a:pt x="11982536" y="9255"/>
                </a:cubicBezTo>
                <a:close/>
              </a:path>
            </a:pathLst>
          </a:custGeom>
          <a:solidFill>
            <a:schemeClr val="accent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zh-CN" altLang="en-US"/>
          </a:p>
        </p:txBody>
      </p:sp>
      <p:sp>
        <p:nvSpPr>
          <p:cNvPr id="8" name="椭圆 7">
            <a:extLst>
              <a:ext uri="{FF2B5EF4-FFF2-40B4-BE49-F238E27FC236}">
                <a16:creationId xmlns:a16="http://schemas.microsoft.com/office/drawing/2014/main" id="{DBF64155-BABC-4980-AE1A-815BF5217CAC}"/>
              </a:ext>
            </a:extLst>
          </p:cNvPr>
          <p:cNvSpPr/>
          <p:nvPr/>
        </p:nvSpPr>
        <p:spPr>
          <a:xfrm>
            <a:off x="5058638" y="2441468"/>
            <a:ext cx="2093774" cy="209377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9" name="文本框 8">
            <a:extLst>
              <a:ext uri="{FF2B5EF4-FFF2-40B4-BE49-F238E27FC236}">
                <a16:creationId xmlns:a16="http://schemas.microsoft.com/office/drawing/2014/main" id="{4CD1208E-EB4A-4CD7-B4CB-BBC9FEBFE8AA}"/>
              </a:ext>
            </a:extLst>
          </p:cNvPr>
          <p:cNvSpPr txBox="1"/>
          <p:nvPr/>
        </p:nvSpPr>
        <p:spPr>
          <a:xfrm>
            <a:off x="5566916" y="3272912"/>
            <a:ext cx="1077218" cy="430887"/>
          </a:xfrm>
          <a:prstGeom prst="rect">
            <a:avLst/>
          </a:prstGeom>
          <a:noFill/>
        </p:spPr>
        <p:txBody>
          <a:bodyPr wrap="none" lIns="0" tIns="0" rIns="0" bIns="0" rtlCol="0" anchor="t">
            <a:spAutoFit/>
          </a:bodyPr>
          <a:lstStyle/>
          <a:p>
            <a:pPr algn="ctr"/>
            <a:r>
              <a:rPr lang="zh-CN" altLang="en-US" sz="2800" dirty="0">
                <a:solidFill>
                  <a:schemeClr val="bg1"/>
                </a:solidFill>
                <a:latin typeface="+mj-ea"/>
                <a:ea typeface="+mj-ea"/>
              </a:rPr>
              <a:t>关键词</a:t>
            </a:r>
          </a:p>
        </p:txBody>
      </p:sp>
      <p:sp>
        <p:nvSpPr>
          <p:cNvPr id="18" name="椭圆 17">
            <a:extLst>
              <a:ext uri="{FF2B5EF4-FFF2-40B4-BE49-F238E27FC236}">
                <a16:creationId xmlns:a16="http://schemas.microsoft.com/office/drawing/2014/main" id="{687DA74E-B98D-4B6D-9820-9D10CE6E7F61}"/>
              </a:ext>
            </a:extLst>
          </p:cNvPr>
          <p:cNvSpPr/>
          <p:nvPr/>
        </p:nvSpPr>
        <p:spPr>
          <a:xfrm>
            <a:off x="4454258" y="1837088"/>
            <a:ext cx="3302534" cy="3302534"/>
          </a:xfrm>
          <a:prstGeom prst="ellipse">
            <a:avLst/>
          </a:prstGeom>
          <a:no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7" name="椭圆 6">
            <a:extLst>
              <a:ext uri="{FF2B5EF4-FFF2-40B4-BE49-F238E27FC236}">
                <a16:creationId xmlns:a16="http://schemas.microsoft.com/office/drawing/2014/main" id="{FC95AB89-719C-4242-BC2B-397B98BB6A5D}"/>
              </a:ext>
            </a:extLst>
          </p:cNvPr>
          <p:cNvSpPr/>
          <p:nvPr/>
        </p:nvSpPr>
        <p:spPr>
          <a:xfrm>
            <a:off x="4634340" y="1997242"/>
            <a:ext cx="684052" cy="68405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dirty="0">
              <a:solidFill>
                <a:schemeClr val="bg1"/>
              </a:solidFill>
              <a:latin typeface="+mj-ea"/>
              <a:ea typeface="+mj-ea"/>
            </a:endParaRPr>
          </a:p>
        </p:txBody>
      </p:sp>
      <p:sp>
        <p:nvSpPr>
          <p:cNvPr id="23" name="椭圆 22">
            <a:extLst>
              <a:ext uri="{FF2B5EF4-FFF2-40B4-BE49-F238E27FC236}">
                <a16:creationId xmlns:a16="http://schemas.microsoft.com/office/drawing/2014/main" id="{CF447B78-A8B9-4A6A-AF2D-B61D3FC0E94C}"/>
              </a:ext>
            </a:extLst>
          </p:cNvPr>
          <p:cNvSpPr/>
          <p:nvPr/>
        </p:nvSpPr>
        <p:spPr>
          <a:xfrm>
            <a:off x="6892658" y="1997242"/>
            <a:ext cx="684052" cy="68405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24" name="椭圆 23">
            <a:extLst>
              <a:ext uri="{FF2B5EF4-FFF2-40B4-BE49-F238E27FC236}">
                <a16:creationId xmlns:a16="http://schemas.microsoft.com/office/drawing/2014/main" id="{600BBF98-8D53-45CA-BBF8-FC9C196A5B25}"/>
              </a:ext>
            </a:extLst>
          </p:cNvPr>
          <p:cNvSpPr/>
          <p:nvPr/>
        </p:nvSpPr>
        <p:spPr>
          <a:xfrm>
            <a:off x="4634340" y="4349917"/>
            <a:ext cx="684052" cy="68405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25" name="椭圆 24">
            <a:extLst>
              <a:ext uri="{FF2B5EF4-FFF2-40B4-BE49-F238E27FC236}">
                <a16:creationId xmlns:a16="http://schemas.microsoft.com/office/drawing/2014/main" id="{00E009B6-05C3-4F7B-B4CB-C5E676AF3E57}"/>
              </a:ext>
            </a:extLst>
          </p:cNvPr>
          <p:cNvSpPr/>
          <p:nvPr/>
        </p:nvSpPr>
        <p:spPr>
          <a:xfrm>
            <a:off x="6892658" y="4349917"/>
            <a:ext cx="684052" cy="68405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26" name="文本框 25">
            <a:extLst>
              <a:ext uri="{FF2B5EF4-FFF2-40B4-BE49-F238E27FC236}">
                <a16:creationId xmlns:a16="http://schemas.microsoft.com/office/drawing/2014/main" id="{F32197C2-E879-4489-B011-10CE16B7ADC5}"/>
              </a:ext>
            </a:extLst>
          </p:cNvPr>
          <p:cNvSpPr txBox="1"/>
          <p:nvPr/>
        </p:nvSpPr>
        <p:spPr>
          <a:xfrm>
            <a:off x="2354317" y="1976235"/>
            <a:ext cx="2067874" cy="369332"/>
          </a:xfrm>
          <a:prstGeom prst="rect">
            <a:avLst/>
          </a:prstGeom>
          <a:noFill/>
        </p:spPr>
        <p:txBody>
          <a:bodyPr wrap="none" lIns="0" tIns="0" rIns="0" bIns="0" rtlCol="0" anchor="t">
            <a:spAutoFit/>
          </a:bodyPr>
          <a:lstStyle/>
          <a:p>
            <a:pPr algn="r"/>
            <a:r>
              <a:rPr lang="en-US" altLang="zh-CN" sz="2400" dirty="0">
                <a:solidFill>
                  <a:schemeClr val="accent1"/>
                </a:solidFill>
                <a:latin typeface="+mj-ea"/>
                <a:ea typeface="+mj-ea"/>
              </a:rPr>
              <a:t>01.</a:t>
            </a:r>
            <a:r>
              <a:rPr lang="zh-CN" altLang="en-US" sz="2400" dirty="0">
                <a:solidFill>
                  <a:schemeClr val="accent1"/>
                </a:solidFill>
                <a:latin typeface="+mj-ea"/>
                <a:ea typeface="+mj-ea"/>
              </a:rPr>
              <a:t> 关键词标题</a:t>
            </a:r>
          </a:p>
        </p:txBody>
      </p:sp>
      <p:sp>
        <p:nvSpPr>
          <p:cNvPr id="28" name="文本框 27">
            <a:extLst>
              <a:ext uri="{FF2B5EF4-FFF2-40B4-BE49-F238E27FC236}">
                <a16:creationId xmlns:a16="http://schemas.microsoft.com/office/drawing/2014/main" id="{761C4615-BB80-4798-8829-073EE0D8E61F}"/>
              </a:ext>
            </a:extLst>
          </p:cNvPr>
          <p:cNvSpPr txBox="1"/>
          <p:nvPr/>
        </p:nvSpPr>
        <p:spPr>
          <a:xfrm>
            <a:off x="452169" y="2385680"/>
            <a:ext cx="3970022" cy="426079"/>
          </a:xfrm>
          <a:prstGeom prst="rect">
            <a:avLst/>
          </a:prstGeom>
          <a:noFill/>
        </p:spPr>
        <p:txBody>
          <a:bodyPr wrap="square" lIns="0" tIns="0" rIns="0" bIns="0" rtlCol="0" anchor="t">
            <a:spAutoFit/>
          </a:bodyPr>
          <a:lstStyle/>
          <a:p>
            <a:pPr algn="r">
              <a:lnSpc>
                <a:spcPct val="130000"/>
              </a:lnSpc>
            </a:pPr>
            <a:r>
              <a:rPr lang="en-US" altLang="zh-CN" sz="1100" b="0" dirty="0">
                <a:solidFill>
                  <a:schemeClr val="tx1">
                    <a:lumMod val="75000"/>
                    <a:lumOff val="25000"/>
                  </a:schemeClr>
                </a:solidFill>
                <a:effectLst/>
                <a:latin typeface="+mn-ea"/>
              </a:rPr>
              <a:t>Lorem ipsum dolor sit amet, consectetur adipisicing elit, sed do eiusmod tempor</a:t>
            </a:r>
            <a:endParaRPr lang="zh-CN" altLang="en-US" sz="1100" b="0" dirty="0">
              <a:solidFill>
                <a:schemeClr val="tx1">
                  <a:lumMod val="75000"/>
                  <a:lumOff val="25000"/>
                </a:schemeClr>
              </a:solidFill>
              <a:effectLst/>
              <a:latin typeface="+mn-ea"/>
            </a:endParaRPr>
          </a:p>
        </p:txBody>
      </p:sp>
      <p:sp>
        <p:nvSpPr>
          <p:cNvPr id="29" name="文本框 28">
            <a:extLst>
              <a:ext uri="{FF2B5EF4-FFF2-40B4-BE49-F238E27FC236}">
                <a16:creationId xmlns:a16="http://schemas.microsoft.com/office/drawing/2014/main" id="{1C7DB24B-E483-4488-8C83-5BC0AC6EDDE9}"/>
              </a:ext>
            </a:extLst>
          </p:cNvPr>
          <p:cNvSpPr txBox="1"/>
          <p:nvPr/>
        </p:nvSpPr>
        <p:spPr>
          <a:xfrm>
            <a:off x="2299815" y="4354457"/>
            <a:ext cx="2122376" cy="369332"/>
          </a:xfrm>
          <a:prstGeom prst="rect">
            <a:avLst/>
          </a:prstGeom>
          <a:noFill/>
        </p:spPr>
        <p:txBody>
          <a:bodyPr wrap="none" lIns="0" tIns="0" rIns="0" bIns="0" rtlCol="0" anchor="t">
            <a:spAutoFit/>
          </a:bodyPr>
          <a:lstStyle/>
          <a:p>
            <a:pPr algn="r"/>
            <a:r>
              <a:rPr lang="en-US" altLang="zh-CN" sz="2400" dirty="0">
                <a:solidFill>
                  <a:schemeClr val="accent1"/>
                </a:solidFill>
                <a:latin typeface="+mj-ea"/>
                <a:ea typeface="+mj-ea"/>
              </a:rPr>
              <a:t>02.</a:t>
            </a:r>
            <a:r>
              <a:rPr lang="zh-CN" altLang="en-US" sz="2400" dirty="0">
                <a:solidFill>
                  <a:schemeClr val="accent1"/>
                </a:solidFill>
                <a:latin typeface="+mj-ea"/>
                <a:ea typeface="+mj-ea"/>
              </a:rPr>
              <a:t> 关键词标题</a:t>
            </a:r>
          </a:p>
        </p:txBody>
      </p:sp>
      <p:sp>
        <p:nvSpPr>
          <p:cNvPr id="32" name="文本框 31">
            <a:extLst>
              <a:ext uri="{FF2B5EF4-FFF2-40B4-BE49-F238E27FC236}">
                <a16:creationId xmlns:a16="http://schemas.microsoft.com/office/drawing/2014/main" id="{25C4C4A1-11D0-4699-B120-414E49C0AAEA}"/>
              </a:ext>
            </a:extLst>
          </p:cNvPr>
          <p:cNvSpPr txBox="1"/>
          <p:nvPr/>
        </p:nvSpPr>
        <p:spPr>
          <a:xfrm>
            <a:off x="452169" y="4763902"/>
            <a:ext cx="3970022" cy="426079"/>
          </a:xfrm>
          <a:prstGeom prst="rect">
            <a:avLst/>
          </a:prstGeom>
          <a:noFill/>
        </p:spPr>
        <p:txBody>
          <a:bodyPr wrap="square" lIns="0" tIns="0" rIns="0" bIns="0" rtlCol="0" anchor="t">
            <a:spAutoFit/>
          </a:bodyPr>
          <a:lstStyle/>
          <a:p>
            <a:pPr algn="r">
              <a:lnSpc>
                <a:spcPct val="130000"/>
              </a:lnSpc>
            </a:pPr>
            <a:r>
              <a:rPr lang="en-US" altLang="zh-CN" sz="1100" b="0" dirty="0">
                <a:solidFill>
                  <a:schemeClr val="tx1">
                    <a:lumMod val="75000"/>
                    <a:lumOff val="25000"/>
                  </a:schemeClr>
                </a:solidFill>
                <a:effectLst/>
                <a:latin typeface="+mn-ea"/>
              </a:rPr>
              <a:t>Lorem ipsum dolor sit amet, consectetur adipisicing elit, sed do eiusmod tempor</a:t>
            </a:r>
            <a:endParaRPr lang="zh-CN" altLang="en-US" sz="1100" b="0" dirty="0">
              <a:solidFill>
                <a:schemeClr val="tx1">
                  <a:lumMod val="75000"/>
                  <a:lumOff val="25000"/>
                </a:schemeClr>
              </a:solidFill>
              <a:effectLst/>
              <a:latin typeface="+mn-ea"/>
            </a:endParaRPr>
          </a:p>
        </p:txBody>
      </p:sp>
      <p:sp>
        <p:nvSpPr>
          <p:cNvPr id="36" name="文本框 35">
            <a:extLst>
              <a:ext uri="{FF2B5EF4-FFF2-40B4-BE49-F238E27FC236}">
                <a16:creationId xmlns:a16="http://schemas.microsoft.com/office/drawing/2014/main" id="{657EDF84-6389-401B-B7F7-D33433B52348}"/>
              </a:ext>
            </a:extLst>
          </p:cNvPr>
          <p:cNvSpPr txBox="1"/>
          <p:nvPr/>
        </p:nvSpPr>
        <p:spPr>
          <a:xfrm>
            <a:off x="7769809" y="1976235"/>
            <a:ext cx="2067874" cy="369332"/>
          </a:xfrm>
          <a:prstGeom prst="rect">
            <a:avLst/>
          </a:prstGeom>
          <a:noFill/>
        </p:spPr>
        <p:txBody>
          <a:bodyPr wrap="none" lIns="0" tIns="0" rIns="0" bIns="0" rtlCol="0" anchor="t">
            <a:spAutoFit/>
          </a:bodyPr>
          <a:lstStyle/>
          <a:p>
            <a:r>
              <a:rPr lang="en-US" altLang="zh-CN" sz="2400" dirty="0">
                <a:solidFill>
                  <a:schemeClr val="accent1"/>
                </a:solidFill>
                <a:latin typeface="+mj-ea"/>
                <a:ea typeface="+mj-ea"/>
              </a:rPr>
              <a:t>01.</a:t>
            </a:r>
            <a:r>
              <a:rPr lang="zh-CN" altLang="en-US" sz="2400" dirty="0">
                <a:solidFill>
                  <a:schemeClr val="accent1"/>
                </a:solidFill>
                <a:latin typeface="+mj-ea"/>
                <a:ea typeface="+mj-ea"/>
              </a:rPr>
              <a:t> 关键词标题</a:t>
            </a:r>
          </a:p>
        </p:txBody>
      </p:sp>
      <p:sp>
        <p:nvSpPr>
          <p:cNvPr id="37" name="文本框 36">
            <a:extLst>
              <a:ext uri="{FF2B5EF4-FFF2-40B4-BE49-F238E27FC236}">
                <a16:creationId xmlns:a16="http://schemas.microsoft.com/office/drawing/2014/main" id="{A9A1C964-4CF1-42C7-9E05-3C3D05349D19}"/>
              </a:ext>
            </a:extLst>
          </p:cNvPr>
          <p:cNvSpPr txBox="1"/>
          <p:nvPr/>
        </p:nvSpPr>
        <p:spPr>
          <a:xfrm>
            <a:off x="7769809" y="2385680"/>
            <a:ext cx="3970022" cy="426079"/>
          </a:xfrm>
          <a:prstGeom prst="rect">
            <a:avLst/>
          </a:prstGeom>
          <a:noFill/>
        </p:spPr>
        <p:txBody>
          <a:bodyPr wrap="square" lIns="0" tIns="0" rIns="0" bIns="0" rtlCol="0" anchor="t">
            <a:spAutoFit/>
          </a:bodyPr>
          <a:lstStyle/>
          <a:p>
            <a:pPr>
              <a:lnSpc>
                <a:spcPct val="130000"/>
              </a:lnSpc>
            </a:pPr>
            <a:r>
              <a:rPr lang="en-US" altLang="zh-CN" sz="1100" b="0" dirty="0">
                <a:solidFill>
                  <a:schemeClr val="tx1">
                    <a:lumMod val="75000"/>
                    <a:lumOff val="25000"/>
                  </a:schemeClr>
                </a:solidFill>
                <a:effectLst/>
                <a:latin typeface="+mn-ea"/>
              </a:rPr>
              <a:t>Lorem ipsum dolor sit amet, consectetur adipisicing elit, sed do eiusmod tempor</a:t>
            </a:r>
            <a:endParaRPr lang="zh-CN" altLang="en-US" sz="1100" b="0" dirty="0">
              <a:solidFill>
                <a:schemeClr val="tx1">
                  <a:lumMod val="75000"/>
                  <a:lumOff val="25000"/>
                </a:schemeClr>
              </a:solidFill>
              <a:effectLst/>
              <a:latin typeface="+mn-ea"/>
            </a:endParaRPr>
          </a:p>
        </p:txBody>
      </p:sp>
      <p:sp>
        <p:nvSpPr>
          <p:cNvPr id="38" name="文本框 37">
            <a:extLst>
              <a:ext uri="{FF2B5EF4-FFF2-40B4-BE49-F238E27FC236}">
                <a16:creationId xmlns:a16="http://schemas.microsoft.com/office/drawing/2014/main" id="{0A020806-9AFB-49BB-A6A3-36A7D6C75E7C}"/>
              </a:ext>
            </a:extLst>
          </p:cNvPr>
          <p:cNvSpPr txBox="1"/>
          <p:nvPr/>
        </p:nvSpPr>
        <p:spPr>
          <a:xfrm>
            <a:off x="7769809" y="4354457"/>
            <a:ext cx="2122376" cy="369332"/>
          </a:xfrm>
          <a:prstGeom prst="rect">
            <a:avLst/>
          </a:prstGeom>
          <a:noFill/>
        </p:spPr>
        <p:txBody>
          <a:bodyPr wrap="none" lIns="0" tIns="0" rIns="0" bIns="0" rtlCol="0" anchor="t">
            <a:spAutoFit/>
          </a:bodyPr>
          <a:lstStyle/>
          <a:p>
            <a:r>
              <a:rPr lang="en-US" altLang="zh-CN" sz="2400" dirty="0">
                <a:solidFill>
                  <a:schemeClr val="accent1"/>
                </a:solidFill>
                <a:latin typeface="+mj-ea"/>
                <a:ea typeface="+mj-ea"/>
              </a:rPr>
              <a:t>02.</a:t>
            </a:r>
            <a:r>
              <a:rPr lang="zh-CN" altLang="en-US" sz="2400" dirty="0">
                <a:solidFill>
                  <a:schemeClr val="accent1"/>
                </a:solidFill>
                <a:latin typeface="+mj-ea"/>
                <a:ea typeface="+mj-ea"/>
              </a:rPr>
              <a:t> 关键词标题</a:t>
            </a:r>
          </a:p>
        </p:txBody>
      </p:sp>
      <p:sp>
        <p:nvSpPr>
          <p:cNvPr id="44" name="文本框 43">
            <a:extLst>
              <a:ext uri="{FF2B5EF4-FFF2-40B4-BE49-F238E27FC236}">
                <a16:creationId xmlns:a16="http://schemas.microsoft.com/office/drawing/2014/main" id="{8393E449-E940-42E9-9E4E-6CFBC76696CE}"/>
              </a:ext>
            </a:extLst>
          </p:cNvPr>
          <p:cNvSpPr txBox="1"/>
          <p:nvPr/>
        </p:nvSpPr>
        <p:spPr>
          <a:xfrm>
            <a:off x="7769809" y="4763902"/>
            <a:ext cx="3970022" cy="426079"/>
          </a:xfrm>
          <a:prstGeom prst="rect">
            <a:avLst/>
          </a:prstGeom>
          <a:noFill/>
        </p:spPr>
        <p:txBody>
          <a:bodyPr wrap="square" lIns="0" tIns="0" rIns="0" bIns="0" rtlCol="0" anchor="t">
            <a:spAutoFit/>
          </a:bodyPr>
          <a:lstStyle/>
          <a:p>
            <a:pPr>
              <a:lnSpc>
                <a:spcPct val="130000"/>
              </a:lnSpc>
            </a:pPr>
            <a:r>
              <a:rPr lang="en-US" altLang="zh-CN" sz="1100" b="0" dirty="0">
                <a:solidFill>
                  <a:schemeClr val="tx1">
                    <a:lumMod val="75000"/>
                    <a:lumOff val="25000"/>
                  </a:schemeClr>
                </a:solidFill>
                <a:effectLst/>
                <a:latin typeface="+mn-ea"/>
              </a:rPr>
              <a:t>Lorem ipsum dolor sit amet, consectetur adipisicing elit, sed do eiusmod tempor</a:t>
            </a:r>
            <a:endParaRPr lang="zh-CN" altLang="en-US" sz="1100" b="0" dirty="0">
              <a:solidFill>
                <a:schemeClr val="tx1">
                  <a:lumMod val="75000"/>
                  <a:lumOff val="25000"/>
                </a:schemeClr>
              </a:solidFill>
              <a:effectLst/>
              <a:latin typeface="+mn-ea"/>
            </a:endParaRPr>
          </a:p>
        </p:txBody>
      </p:sp>
      <p:sp>
        <p:nvSpPr>
          <p:cNvPr id="45" name="shop_346547">
            <a:extLst>
              <a:ext uri="{FF2B5EF4-FFF2-40B4-BE49-F238E27FC236}">
                <a16:creationId xmlns:a16="http://schemas.microsoft.com/office/drawing/2014/main" id="{80FC5F87-D89C-4A23-AD28-DE95132CB177}"/>
              </a:ext>
            </a:extLst>
          </p:cNvPr>
          <p:cNvSpPr/>
          <p:nvPr/>
        </p:nvSpPr>
        <p:spPr>
          <a:xfrm>
            <a:off x="4805268" y="2141849"/>
            <a:ext cx="332670" cy="332587"/>
          </a:xfrm>
          <a:custGeom>
            <a:avLst/>
            <a:gdLst>
              <a:gd name="connsiteX0" fmla="*/ 339625 w 606239"/>
              <a:gd name="connsiteY0" fmla="*/ 410867 h 606087"/>
              <a:gd name="connsiteX1" fmla="*/ 339625 w 606239"/>
              <a:gd name="connsiteY1" fmla="*/ 511555 h 606087"/>
              <a:gd name="connsiteX2" fmla="*/ 486677 w 606239"/>
              <a:gd name="connsiteY2" fmla="*/ 511555 h 606087"/>
              <a:gd name="connsiteX3" fmla="*/ 486677 w 606239"/>
              <a:gd name="connsiteY3" fmla="*/ 410867 h 606087"/>
              <a:gd name="connsiteX4" fmla="*/ 117843 w 606239"/>
              <a:gd name="connsiteY4" fmla="*/ 298351 h 606087"/>
              <a:gd name="connsiteX5" fmla="*/ 179572 w 606239"/>
              <a:gd name="connsiteY5" fmla="*/ 324124 h 606087"/>
              <a:gd name="connsiteX6" fmla="*/ 241302 w 606239"/>
              <a:gd name="connsiteY6" fmla="*/ 298351 h 606087"/>
              <a:gd name="connsiteX7" fmla="*/ 303127 w 606239"/>
              <a:gd name="connsiteY7" fmla="*/ 324124 h 606087"/>
              <a:gd name="connsiteX8" fmla="*/ 364856 w 606239"/>
              <a:gd name="connsiteY8" fmla="*/ 298351 h 606087"/>
              <a:gd name="connsiteX9" fmla="*/ 426585 w 606239"/>
              <a:gd name="connsiteY9" fmla="*/ 324124 h 606087"/>
              <a:gd name="connsiteX10" fmla="*/ 488411 w 606239"/>
              <a:gd name="connsiteY10" fmla="*/ 298351 h 606087"/>
              <a:gd name="connsiteX11" fmla="*/ 550140 w 606239"/>
              <a:gd name="connsiteY11" fmla="*/ 324124 h 606087"/>
              <a:gd name="connsiteX12" fmla="*/ 559385 w 606239"/>
              <a:gd name="connsiteY12" fmla="*/ 323547 h 606087"/>
              <a:gd name="connsiteX13" fmla="*/ 559385 w 606239"/>
              <a:gd name="connsiteY13" fmla="*/ 606087 h 606087"/>
              <a:gd name="connsiteX14" fmla="*/ 269518 w 606239"/>
              <a:gd name="connsiteY14" fmla="*/ 606087 h 606087"/>
              <a:gd name="connsiteX15" fmla="*/ 269518 w 606239"/>
              <a:gd name="connsiteY15" fmla="*/ 410867 h 606087"/>
              <a:gd name="connsiteX16" fmla="*/ 123525 w 606239"/>
              <a:gd name="connsiteY16" fmla="*/ 410867 h 606087"/>
              <a:gd name="connsiteX17" fmla="*/ 123525 w 606239"/>
              <a:gd name="connsiteY17" fmla="*/ 606087 h 606087"/>
              <a:gd name="connsiteX18" fmla="*/ 46869 w 606239"/>
              <a:gd name="connsiteY18" fmla="*/ 606087 h 606087"/>
              <a:gd name="connsiteX19" fmla="*/ 46869 w 606239"/>
              <a:gd name="connsiteY19" fmla="*/ 323547 h 606087"/>
              <a:gd name="connsiteX20" fmla="*/ 56018 w 606239"/>
              <a:gd name="connsiteY20" fmla="*/ 324124 h 606087"/>
              <a:gd name="connsiteX21" fmla="*/ 117843 w 606239"/>
              <a:gd name="connsiteY21" fmla="*/ 298351 h 606087"/>
              <a:gd name="connsiteX22" fmla="*/ 194887 w 606239"/>
              <a:gd name="connsiteY22" fmla="*/ 0 h 606087"/>
              <a:gd name="connsiteX23" fmla="*/ 411297 w 606239"/>
              <a:gd name="connsiteY23" fmla="*/ 0 h 606087"/>
              <a:gd name="connsiteX24" fmla="*/ 411297 w 606239"/>
              <a:gd name="connsiteY24" fmla="*/ 55101 h 606087"/>
              <a:gd name="connsiteX25" fmla="*/ 509053 w 606239"/>
              <a:gd name="connsiteY25" fmla="*/ 55101 h 606087"/>
              <a:gd name="connsiteX26" fmla="*/ 599489 w 606239"/>
              <a:gd name="connsiteY26" fmla="*/ 213287 h 606087"/>
              <a:gd name="connsiteX27" fmla="*/ 557401 w 606239"/>
              <a:gd name="connsiteY27" fmla="*/ 298390 h 606087"/>
              <a:gd name="connsiteX28" fmla="*/ 550178 w 606239"/>
              <a:gd name="connsiteY28" fmla="*/ 298774 h 606087"/>
              <a:gd name="connsiteX29" fmla="*/ 488442 w 606239"/>
              <a:gd name="connsiteY29" fmla="*/ 237135 h 606087"/>
              <a:gd name="connsiteX30" fmla="*/ 426611 w 606239"/>
              <a:gd name="connsiteY30" fmla="*/ 298774 h 606087"/>
              <a:gd name="connsiteX31" fmla="*/ 364875 w 606239"/>
              <a:gd name="connsiteY31" fmla="*/ 237135 h 606087"/>
              <a:gd name="connsiteX32" fmla="*/ 303140 w 606239"/>
              <a:gd name="connsiteY32" fmla="*/ 298774 h 606087"/>
              <a:gd name="connsiteX33" fmla="*/ 241309 w 606239"/>
              <a:gd name="connsiteY33" fmla="*/ 237135 h 606087"/>
              <a:gd name="connsiteX34" fmla="*/ 179573 w 606239"/>
              <a:gd name="connsiteY34" fmla="*/ 298774 h 606087"/>
              <a:gd name="connsiteX35" fmla="*/ 117838 w 606239"/>
              <a:gd name="connsiteY35" fmla="*/ 237135 h 606087"/>
              <a:gd name="connsiteX36" fmla="*/ 56007 w 606239"/>
              <a:gd name="connsiteY36" fmla="*/ 298774 h 606087"/>
              <a:gd name="connsiteX37" fmla="*/ 48880 w 606239"/>
              <a:gd name="connsiteY37" fmla="*/ 298390 h 606087"/>
              <a:gd name="connsiteX38" fmla="*/ 6792 w 606239"/>
              <a:gd name="connsiteY38" fmla="*/ 213287 h 606087"/>
              <a:gd name="connsiteX39" fmla="*/ 97228 w 606239"/>
              <a:gd name="connsiteY39" fmla="*/ 55101 h 606087"/>
              <a:gd name="connsiteX40" fmla="*/ 194887 w 606239"/>
              <a:gd name="connsiteY40" fmla="*/ 55101 h 606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606239" h="606087">
                <a:moveTo>
                  <a:pt x="339625" y="410867"/>
                </a:moveTo>
                <a:lnTo>
                  <a:pt x="339625" y="511555"/>
                </a:lnTo>
                <a:lnTo>
                  <a:pt x="486677" y="511555"/>
                </a:lnTo>
                <a:lnTo>
                  <a:pt x="486677" y="410867"/>
                </a:lnTo>
                <a:close/>
                <a:moveTo>
                  <a:pt x="117843" y="298351"/>
                </a:moveTo>
                <a:cubicBezTo>
                  <a:pt x="133637" y="314315"/>
                  <a:pt x="155497" y="324124"/>
                  <a:pt x="179572" y="324124"/>
                </a:cubicBezTo>
                <a:cubicBezTo>
                  <a:pt x="203744" y="324124"/>
                  <a:pt x="225604" y="314315"/>
                  <a:pt x="241302" y="298351"/>
                </a:cubicBezTo>
                <a:cubicBezTo>
                  <a:pt x="257095" y="314315"/>
                  <a:pt x="278955" y="324124"/>
                  <a:pt x="303127" y="324124"/>
                </a:cubicBezTo>
                <a:cubicBezTo>
                  <a:pt x="327202" y="324124"/>
                  <a:pt x="349063" y="314315"/>
                  <a:pt x="364856" y="298351"/>
                </a:cubicBezTo>
                <a:cubicBezTo>
                  <a:pt x="380650" y="314315"/>
                  <a:pt x="402510" y="324124"/>
                  <a:pt x="426585" y="324124"/>
                </a:cubicBezTo>
                <a:cubicBezTo>
                  <a:pt x="450757" y="324124"/>
                  <a:pt x="472617" y="314315"/>
                  <a:pt x="488411" y="298351"/>
                </a:cubicBezTo>
                <a:cubicBezTo>
                  <a:pt x="504204" y="314315"/>
                  <a:pt x="526065" y="324124"/>
                  <a:pt x="550140" y="324124"/>
                </a:cubicBezTo>
                <a:cubicBezTo>
                  <a:pt x="553222" y="324124"/>
                  <a:pt x="556303" y="323932"/>
                  <a:pt x="559385" y="323547"/>
                </a:cubicBezTo>
                <a:lnTo>
                  <a:pt x="559385" y="606087"/>
                </a:lnTo>
                <a:lnTo>
                  <a:pt x="269518" y="606087"/>
                </a:lnTo>
                <a:lnTo>
                  <a:pt x="269518" y="410867"/>
                </a:lnTo>
                <a:lnTo>
                  <a:pt x="123525" y="410867"/>
                </a:lnTo>
                <a:lnTo>
                  <a:pt x="123525" y="606087"/>
                </a:lnTo>
                <a:lnTo>
                  <a:pt x="46869" y="606087"/>
                </a:lnTo>
                <a:lnTo>
                  <a:pt x="46869" y="323547"/>
                </a:lnTo>
                <a:cubicBezTo>
                  <a:pt x="49854" y="323932"/>
                  <a:pt x="52936" y="324124"/>
                  <a:pt x="56018" y="324124"/>
                </a:cubicBezTo>
                <a:cubicBezTo>
                  <a:pt x="80189" y="324124"/>
                  <a:pt x="102050" y="314315"/>
                  <a:pt x="117843" y="298351"/>
                </a:cubicBezTo>
                <a:close/>
                <a:moveTo>
                  <a:pt x="194887" y="0"/>
                </a:moveTo>
                <a:lnTo>
                  <a:pt x="411297" y="0"/>
                </a:lnTo>
                <a:lnTo>
                  <a:pt x="411297" y="55101"/>
                </a:lnTo>
                <a:lnTo>
                  <a:pt x="509053" y="55101"/>
                </a:lnTo>
                <a:lnTo>
                  <a:pt x="599489" y="213287"/>
                </a:lnTo>
                <a:cubicBezTo>
                  <a:pt x="617884" y="248578"/>
                  <a:pt x="596985" y="293774"/>
                  <a:pt x="557401" y="298390"/>
                </a:cubicBezTo>
                <a:cubicBezTo>
                  <a:pt x="554993" y="298678"/>
                  <a:pt x="552585" y="298774"/>
                  <a:pt x="550178" y="298774"/>
                </a:cubicBezTo>
                <a:cubicBezTo>
                  <a:pt x="516083" y="298774"/>
                  <a:pt x="488442" y="271176"/>
                  <a:pt x="488442" y="237135"/>
                </a:cubicBezTo>
                <a:cubicBezTo>
                  <a:pt x="488442" y="271176"/>
                  <a:pt x="460801" y="298774"/>
                  <a:pt x="426611" y="298774"/>
                </a:cubicBezTo>
                <a:cubicBezTo>
                  <a:pt x="392517" y="298774"/>
                  <a:pt x="364875" y="271176"/>
                  <a:pt x="364875" y="237135"/>
                </a:cubicBezTo>
                <a:cubicBezTo>
                  <a:pt x="364875" y="271176"/>
                  <a:pt x="337234" y="298774"/>
                  <a:pt x="303140" y="298774"/>
                </a:cubicBezTo>
                <a:cubicBezTo>
                  <a:pt x="269046" y="298774"/>
                  <a:pt x="241309" y="271176"/>
                  <a:pt x="241309" y="237135"/>
                </a:cubicBezTo>
                <a:cubicBezTo>
                  <a:pt x="241309" y="271176"/>
                  <a:pt x="213667" y="298774"/>
                  <a:pt x="179573" y="298774"/>
                </a:cubicBezTo>
                <a:cubicBezTo>
                  <a:pt x="145479" y="298774"/>
                  <a:pt x="117838" y="271176"/>
                  <a:pt x="117838" y="237135"/>
                </a:cubicBezTo>
                <a:cubicBezTo>
                  <a:pt x="117838" y="271176"/>
                  <a:pt x="90197" y="298774"/>
                  <a:pt x="56007" y="298774"/>
                </a:cubicBezTo>
                <a:cubicBezTo>
                  <a:pt x="53599" y="298774"/>
                  <a:pt x="51191" y="298678"/>
                  <a:pt x="48880" y="298390"/>
                </a:cubicBezTo>
                <a:cubicBezTo>
                  <a:pt x="9296" y="293774"/>
                  <a:pt x="-11700" y="248578"/>
                  <a:pt x="6792" y="213287"/>
                </a:cubicBezTo>
                <a:lnTo>
                  <a:pt x="97228" y="55101"/>
                </a:lnTo>
                <a:lnTo>
                  <a:pt x="194887" y="55101"/>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7" name="shop_346547">
            <a:extLst>
              <a:ext uri="{FF2B5EF4-FFF2-40B4-BE49-F238E27FC236}">
                <a16:creationId xmlns:a16="http://schemas.microsoft.com/office/drawing/2014/main" id="{91D3E792-7602-4998-90C7-C0A39BC66A61}"/>
              </a:ext>
            </a:extLst>
          </p:cNvPr>
          <p:cNvSpPr/>
          <p:nvPr/>
        </p:nvSpPr>
        <p:spPr>
          <a:xfrm>
            <a:off x="4813438" y="4504803"/>
            <a:ext cx="316329" cy="332670"/>
          </a:xfrm>
          <a:custGeom>
            <a:avLst/>
            <a:gdLst>
              <a:gd name="T0" fmla="*/ 327 w 354"/>
              <a:gd name="T1" fmla="*/ 260 h 373"/>
              <a:gd name="T2" fmla="*/ 99 w 354"/>
              <a:gd name="T3" fmla="*/ 286 h 373"/>
              <a:gd name="T4" fmla="*/ 0 w 354"/>
              <a:gd name="T5" fmla="*/ 95 h 373"/>
              <a:gd name="T6" fmla="*/ 78 w 354"/>
              <a:gd name="T7" fmla="*/ 70 h 373"/>
              <a:gd name="T8" fmla="*/ 144 w 354"/>
              <a:gd name="T9" fmla="*/ 303 h 373"/>
              <a:gd name="T10" fmla="*/ 144 w 354"/>
              <a:gd name="T11" fmla="*/ 373 h 373"/>
              <a:gd name="T12" fmla="*/ 144 w 354"/>
              <a:gd name="T13" fmla="*/ 303 h 373"/>
              <a:gd name="T14" fmla="*/ 253 w 354"/>
              <a:gd name="T15" fmla="*/ 338 h 373"/>
              <a:gd name="T16" fmla="*/ 323 w 354"/>
              <a:gd name="T17" fmla="*/ 338 h 373"/>
              <a:gd name="T18" fmla="*/ 133 w 354"/>
              <a:gd name="T19" fmla="*/ 240 h 373"/>
              <a:gd name="T20" fmla="*/ 153 w 354"/>
              <a:gd name="T21" fmla="*/ 82 h 373"/>
              <a:gd name="T22" fmla="*/ 314 w 354"/>
              <a:gd name="T23" fmla="*/ 68 h 373"/>
              <a:gd name="T24" fmla="*/ 354 w 354"/>
              <a:gd name="T25" fmla="*/ 82 h 373"/>
              <a:gd name="T26" fmla="*/ 133 w 354"/>
              <a:gd name="T27" fmla="*/ 240 h 373"/>
              <a:gd name="T28" fmla="*/ 294 w 354"/>
              <a:gd name="T29" fmla="*/ 82 h 373"/>
              <a:gd name="T30" fmla="*/ 305 w 354"/>
              <a:gd name="T31" fmla="*/ 73 h 373"/>
              <a:gd name="T32" fmla="*/ 191 w 354"/>
              <a:gd name="T33" fmla="*/ 82 h 373"/>
              <a:gd name="T34" fmla="*/ 194 w 354"/>
              <a:gd name="T35" fmla="*/ 76 h 373"/>
              <a:gd name="T36" fmla="*/ 205 w 354"/>
              <a:gd name="T37" fmla="*/ 82 h 373"/>
              <a:gd name="T38" fmla="*/ 204 w 354"/>
              <a:gd name="T39" fmla="*/ 69 h 373"/>
              <a:gd name="T40" fmla="*/ 220 w 354"/>
              <a:gd name="T41" fmla="*/ 82 h 373"/>
              <a:gd name="T42" fmla="*/ 213 w 354"/>
              <a:gd name="T43" fmla="*/ 62 h 373"/>
              <a:gd name="T44" fmla="*/ 236 w 354"/>
              <a:gd name="T45" fmla="*/ 82 h 373"/>
              <a:gd name="T46" fmla="*/ 224 w 354"/>
              <a:gd name="T47" fmla="*/ 54 h 373"/>
              <a:gd name="T48" fmla="*/ 251 w 354"/>
              <a:gd name="T49" fmla="*/ 82 h 373"/>
              <a:gd name="T50" fmla="*/ 234 w 354"/>
              <a:gd name="T51" fmla="*/ 47 h 373"/>
              <a:gd name="T52" fmla="*/ 281 w 354"/>
              <a:gd name="T53" fmla="*/ 82 h 373"/>
              <a:gd name="T54" fmla="*/ 262 w 354"/>
              <a:gd name="T55" fmla="*/ 10 h 373"/>
              <a:gd name="T56" fmla="*/ 281 w 354"/>
              <a:gd name="T57" fmla="*/ 71 h 373"/>
              <a:gd name="T58" fmla="*/ 248 w 354"/>
              <a:gd name="T59" fmla="*/ 37 h 373"/>
              <a:gd name="T60" fmla="*/ 281 w 354"/>
              <a:gd name="T61" fmla="*/ 71 h 373"/>
              <a:gd name="T62" fmla="*/ 243 w 354"/>
              <a:gd name="T63" fmla="*/ 40 h 373"/>
              <a:gd name="T64" fmla="*/ 266 w 354"/>
              <a:gd name="T65" fmla="*/ 82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54" h="373">
                <a:moveTo>
                  <a:pt x="120" y="260"/>
                </a:moveTo>
                <a:lnTo>
                  <a:pt x="327" y="260"/>
                </a:lnTo>
                <a:lnTo>
                  <a:pt x="327" y="286"/>
                </a:lnTo>
                <a:lnTo>
                  <a:pt x="99" y="286"/>
                </a:lnTo>
                <a:lnTo>
                  <a:pt x="58" y="95"/>
                </a:lnTo>
                <a:lnTo>
                  <a:pt x="0" y="95"/>
                </a:lnTo>
                <a:lnTo>
                  <a:pt x="0" y="70"/>
                </a:lnTo>
                <a:lnTo>
                  <a:pt x="78" y="70"/>
                </a:lnTo>
                <a:lnTo>
                  <a:pt x="120" y="260"/>
                </a:lnTo>
                <a:close/>
                <a:moveTo>
                  <a:pt x="144" y="303"/>
                </a:moveTo>
                <a:cubicBezTo>
                  <a:pt x="124" y="303"/>
                  <a:pt x="109" y="318"/>
                  <a:pt x="109" y="338"/>
                </a:cubicBezTo>
                <a:cubicBezTo>
                  <a:pt x="109" y="357"/>
                  <a:pt x="124" y="373"/>
                  <a:pt x="144" y="373"/>
                </a:cubicBezTo>
                <a:cubicBezTo>
                  <a:pt x="163" y="373"/>
                  <a:pt x="179" y="357"/>
                  <a:pt x="179" y="338"/>
                </a:cubicBezTo>
                <a:cubicBezTo>
                  <a:pt x="179" y="318"/>
                  <a:pt x="163" y="303"/>
                  <a:pt x="144" y="303"/>
                </a:cubicBezTo>
                <a:close/>
                <a:moveTo>
                  <a:pt x="288" y="303"/>
                </a:moveTo>
                <a:cubicBezTo>
                  <a:pt x="268" y="303"/>
                  <a:pt x="253" y="318"/>
                  <a:pt x="253" y="338"/>
                </a:cubicBezTo>
                <a:cubicBezTo>
                  <a:pt x="253" y="357"/>
                  <a:pt x="268" y="373"/>
                  <a:pt x="288" y="373"/>
                </a:cubicBezTo>
                <a:cubicBezTo>
                  <a:pt x="307" y="373"/>
                  <a:pt x="323" y="357"/>
                  <a:pt x="323" y="338"/>
                </a:cubicBezTo>
                <a:cubicBezTo>
                  <a:pt x="323" y="318"/>
                  <a:pt x="307" y="303"/>
                  <a:pt x="288" y="303"/>
                </a:cubicBezTo>
                <a:close/>
                <a:moveTo>
                  <a:pt x="133" y="240"/>
                </a:moveTo>
                <a:lnTo>
                  <a:pt x="103" y="82"/>
                </a:lnTo>
                <a:lnTo>
                  <a:pt x="153" y="82"/>
                </a:lnTo>
                <a:lnTo>
                  <a:pt x="264" y="0"/>
                </a:lnTo>
                <a:lnTo>
                  <a:pt x="314" y="68"/>
                </a:lnTo>
                <a:lnTo>
                  <a:pt x="311" y="82"/>
                </a:lnTo>
                <a:lnTo>
                  <a:pt x="354" y="82"/>
                </a:lnTo>
                <a:lnTo>
                  <a:pt x="319" y="240"/>
                </a:lnTo>
                <a:lnTo>
                  <a:pt x="133" y="240"/>
                </a:lnTo>
                <a:close/>
                <a:moveTo>
                  <a:pt x="305" y="73"/>
                </a:moveTo>
                <a:lnTo>
                  <a:pt x="294" y="82"/>
                </a:lnTo>
                <a:lnTo>
                  <a:pt x="304" y="82"/>
                </a:lnTo>
                <a:lnTo>
                  <a:pt x="305" y="73"/>
                </a:lnTo>
                <a:close/>
                <a:moveTo>
                  <a:pt x="165" y="82"/>
                </a:moveTo>
                <a:lnTo>
                  <a:pt x="191" y="82"/>
                </a:lnTo>
                <a:lnTo>
                  <a:pt x="189" y="80"/>
                </a:lnTo>
                <a:lnTo>
                  <a:pt x="194" y="76"/>
                </a:lnTo>
                <a:lnTo>
                  <a:pt x="199" y="82"/>
                </a:lnTo>
                <a:lnTo>
                  <a:pt x="205" y="82"/>
                </a:lnTo>
                <a:lnTo>
                  <a:pt x="199" y="73"/>
                </a:lnTo>
                <a:lnTo>
                  <a:pt x="204" y="69"/>
                </a:lnTo>
                <a:lnTo>
                  <a:pt x="213" y="82"/>
                </a:lnTo>
                <a:lnTo>
                  <a:pt x="220" y="82"/>
                </a:lnTo>
                <a:lnTo>
                  <a:pt x="208" y="66"/>
                </a:lnTo>
                <a:lnTo>
                  <a:pt x="213" y="62"/>
                </a:lnTo>
                <a:lnTo>
                  <a:pt x="228" y="82"/>
                </a:lnTo>
                <a:lnTo>
                  <a:pt x="236" y="82"/>
                </a:lnTo>
                <a:lnTo>
                  <a:pt x="219" y="58"/>
                </a:lnTo>
                <a:lnTo>
                  <a:pt x="224" y="54"/>
                </a:lnTo>
                <a:lnTo>
                  <a:pt x="244" y="82"/>
                </a:lnTo>
                <a:lnTo>
                  <a:pt x="251" y="82"/>
                </a:lnTo>
                <a:lnTo>
                  <a:pt x="229" y="51"/>
                </a:lnTo>
                <a:lnTo>
                  <a:pt x="234" y="47"/>
                </a:lnTo>
                <a:lnTo>
                  <a:pt x="259" y="82"/>
                </a:lnTo>
                <a:lnTo>
                  <a:pt x="281" y="82"/>
                </a:lnTo>
                <a:lnTo>
                  <a:pt x="303" y="66"/>
                </a:lnTo>
                <a:lnTo>
                  <a:pt x="262" y="10"/>
                </a:lnTo>
                <a:lnTo>
                  <a:pt x="165" y="82"/>
                </a:lnTo>
                <a:close/>
                <a:moveTo>
                  <a:pt x="281" y="71"/>
                </a:moveTo>
                <a:lnTo>
                  <a:pt x="253" y="33"/>
                </a:lnTo>
                <a:lnTo>
                  <a:pt x="248" y="37"/>
                </a:lnTo>
                <a:lnTo>
                  <a:pt x="276" y="74"/>
                </a:lnTo>
                <a:lnTo>
                  <a:pt x="281" y="71"/>
                </a:lnTo>
                <a:close/>
                <a:moveTo>
                  <a:pt x="271" y="78"/>
                </a:moveTo>
                <a:lnTo>
                  <a:pt x="243" y="40"/>
                </a:lnTo>
                <a:lnTo>
                  <a:pt x="238" y="44"/>
                </a:lnTo>
                <a:lnTo>
                  <a:pt x="266" y="82"/>
                </a:lnTo>
                <a:lnTo>
                  <a:pt x="271" y="78"/>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sp>
        <p:nvSpPr>
          <p:cNvPr id="49" name="shop_346547">
            <a:extLst>
              <a:ext uri="{FF2B5EF4-FFF2-40B4-BE49-F238E27FC236}">
                <a16:creationId xmlns:a16="http://schemas.microsoft.com/office/drawing/2014/main" id="{618161B9-9B2B-43F1-AEAA-14F0718C96C5}"/>
              </a:ext>
            </a:extLst>
          </p:cNvPr>
          <p:cNvSpPr/>
          <p:nvPr/>
        </p:nvSpPr>
        <p:spPr>
          <a:xfrm>
            <a:off x="7067744" y="4505013"/>
            <a:ext cx="332670" cy="332250"/>
          </a:xfrm>
          <a:custGeom>
            <a:avLst/>
            <a:gdLst>
              <a:gd name="T0" fmla="*/ 5136 w 5158"/>
              <a:gd name="T1" fmla="*/ 1919 h 5159"/>
              <a:gd name="T2" fmla="*/ 4927 w 5158"/>
              <a:gd name="T3" fmla="*/ 600 h 5159"/>
              <a:gd name="T4" fmla="*/ 4559 w 5158"/>
              <a:gd name="T5" fmla="*/ 232 h 5159"/>
              <a:gd name="T6" fmla="*/ 3240 w 5158"/>
              <a:gd name="T7" fmla="*/ 22 h 5159"/>
              <a:gd name="T8" fmla="*/ 2858 w 5158"/>
              <a:gd name="T9" fmla="*/ 147 h 5159"/>
              <a:gd name="T10" fmla="*/ 173 w 5158"/>
              <a:gd name="T11" fmla="*/ 2831 h 5159"/>
              <a:gd name="T12" fmla="*/ 173 w 5158"/>
              <a:gd name="T13" fmla="*/ 3457 h 5159"/>
              <a:gd name="T14" fmla="*/ 1701 w 5158"/>
              <a:gd name="T15" fmla="*/ 4986 h 5159"/>
              <a:gd name="T16" fmla="*/ 2327 w 5158"/>
              <a:gd name="T17" fmla="*/ 4986 h 5159"/>
              <a:gd name="T18" fmla="*/ 5012 w 5158"/>
              <a:gd name="T19" fmla="*/ 2301 h 5159"/>
              <a:gd name="T20" fmla="*/ 5136 w 5158"/>
              <a:gd name="T21" fmla="*/ 1919 h 5159"/>
              <a:gd name="T22" fmla="*/ 2212 w 5158"/>
              <a:gd name="T23" fmla="*/ 4643 h 5159"/>
              <a:gd name="T24" fmla="*/ 1968 w 5158"/>
              <a:gd name="T25" fmla="*/ 4643 h 5159"/>
              <a:gd name="T26" fmla="*/ 515 w 5158"/>
              <a:gd name="T27" fmla="*/ 3191 h 5159"/>
              <a:gd name="T28" fmla="*/ 515 w 5158"/>
              <a:gd name="T29" fmla="*/ 2946 h 5159"/>
              <a:gd name="T30" fmla="*/ 760 w 5158"/>
              <a:gd name="T31" fmla="*/ 2946 h 5159"/>
              <a:gd name="T32" fmla="*/ 2212 w 5158"/>
              <a:gd name="T33" fmla="*/ 4399 h 5159"/>
              <a:gd name="T34" fmla="*/ 2212 w 5158"/>
              <a:gd name="T35" fmla="*/ 4643 h 5159"/>
              <a:gd name="T36" fmla="*/ 4166 w 5158"/>
              <a:gd name="T37" fmla="*/ 1464 h 5159"/>
              <a:gd name="T38" fmla="*/ 3695 w 5158"/>
              <a:gd name="T39" fmla="*/ 1464 h 5159"/>
              <a:gd name="T40" fmla="*/ 3695 w 5158"/>
              <a:gd name="T41" fmla="*/ 993 h 5159"/>
              <a:gd name="T42" fmla="*/ 4166 w 5158"/>
              <a:gd name="T43" fmla="*/ 993 h 5159"/>
              <a:gd name="T44" fmla="*/ 4166 w 5158"/>
              <a:gd name="T45" fmla="*/ 1464 h 5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158" h="5159">
                <a:moveTo>
                  <a:pt x="5136" y="1919"/>
                </a:moveTo>
                <a:lnTo>
                  <a:pt x="4927" y="600"/>
                </a:lnTo>
                <a:cubicBezTo>
                  <a:pt x="4897" y="411"/>
                  <a:pt x="4748" y="262"/>
                  <a:pt x="4559" y="232"/>
                </a:cubicBezTo>
                <a:lnTo>
                  <a:pt x="3240" y="22"/>
                </a:lnTo>
                <a:cubicBezTo>
                  <a:pt x="3100" y="0"/>
                  <a:pt x="2958" y="46"/>
                  <a:pt x="2858" y="147"/>
                </a:cubicBezTo>
                <a:lnTo>
                  <a:pt x="173" y="2831"/>
                </a:lnTo>
                <a:cubicBezTo>
                  <a:pt x="0" y="3004"/>
                  <a:pt x="0" y="3285"/>
                  <a:pt x="173" y="3457"/>
                </a:cubicBezTo>
                <a:lnTo>
                  <a:pt x="1701" y="4986"/>
                </a:lnTo>
                <a:cubicBezTo>
                  <a:pt x="1874" y="5159"/>
                  <a:pt x="2154" y="5159"/>
                  <a:pt x="2327" y="4986"/>
                </a:cubicBezTo>
                <a:lnTo>
                  <a:pt x="5012" y="2301"/>
                </a:lnTo>
                <a:cubicBezTo>
                  <a:pt x="5112" y="2201"/>
                  <a:pt x="5158" y="2059"/>
                  <a:pt x="5136" y="1919"/>
                </a:cubicBezTo>
                <a:close/>
                <a:moveTo>
                  <a:pt x="2212" y="4643"/>
                </a:moveTo>
                <a:cubicBezTo>
                  <a:pt x="2145" y="4711"/>
                  <a:pt x="2035" y="4711"/>
                  <a:pt x="1968" y="4643"/>
                </a:cubicBezTo>
                <a:lnTo>
                  <a:pt x="515" y="3191"/>
                </a:lnTo>
                <a:cubicBezTo>
                  <a:pt x="448" y="3124"/>
                  <a:pt x="448" y="3014"/>
                  <a:pt x="515" y="2946"/>
                </a:cubicBezTo>
                <a:cubicBezTo>
                  <a:pt x="583" y="2879"/>
                  <a:pt x="692" y="2879"/>
                  <a:pt x="760" y="2946"/>
                </a:cubicBezTo>
                <a:lnTo>
                  <a:pt x="2212" y="4399"/>
                </a:lnTo>
                <a:cubicBezTo>
                  <a:pt x="2280" y="4466"/>
                  <a:pt x="2280" y="4576"/>
                  <a:pt x="2212" y="4643"/>
                </a:cubicBezTo>
                <a:close/>
                <a:moveTo>
                  <a:pt x="4166" y="1464"/>
                </a:moveTo>
                <a:cubicBezTo>
                  <a:pt x="4036" y="1594"/>
                  <a:pt x="3825" y="1594"/>
                  <a:pt x="3695" y="1464"/>
                </a:cubicBezTo>
                <a:cubicBezTo>
                  <a:pt x="3565" y="1334"/>
                  <a:pt x="3565" y="1123"/>
                  <a:pt x="3695" y="993"/>
                </a:cubicBezTo>
                <a:cubicBezTo>
                  <a:pt x="3825" y="862"/>
                  <a:pt x="4036" y="862"/>
                  <a:pt x="4166" y="993"/>
                </a:cubicBezTo>
                <a:cubicBezTo>
                  <a:pt x="4296" y="1123"/>
                  <a:pt x="4296" y="1334"/>
                  <a:pt x="4166" y="1464"/>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sp>
        <p:nvSpPr>
          <p:cNvPr id="51" name="shop_346547">
            <a:extLst>
              <a:ext uri="{FF2B5EF4-FFF2-40B4-BE49-F238E27FC236}">
                <a16:creationId xmlns:a16="http://schemas.microsoft.com/office/drawing/2014/main" id="{5B81F475-2613-49CD-B331-FB6E9064CB78}"/>
              </a:ext>
            </a:extLst>
          </p:cNvPr>
          <p:cNvSpPr/>
          <p:nvPr/>
        </p:nvSpPr>
        <p:spPr>
          <a:xfrm>
            <a:off x="7067744" y="2197045"/>
            <a:ext cx="332670" cy="259962"/>
          </a:xfrm>
          <a:custGeom>
            <a:avLst/>
            <a:gdLst>
              <a:gd name="connsiteX0" fmla="*/ 198121 w 607639"/>
              <a:gd name="connsiteY0" fmla="*/ 347033 h 474835"/>
              <a:gd name="connsiteX1" fmla="*/ 198121 w 607639"/>
              <a:gd name="connsiteY1" fmla="*/ 370229 h 474835"/>
              <a:gd name="connsiteX2" fmla="*/ 212274 w 607639"/>
              <a:gd name="connsiteY2" fmla="*/ 389159 h 474835"/>
              <a:gd name="connsiteX3" fmla="*/ 331101 w 607639"/>
              <a:gd name="connsiteY3" fmla="*/ 424797 h 474835"/>
              <a:gd name="connsiteX4" fmla="*/ 356647 w 607639"/>
              <a:gd name="connsiteY4" fmla="*/ 405779 h 474835"/>
              <a:gd name="connsiteX5" fmla="*/ 356647 w 607639"/>
              <a:gd name="connsiteY5" fmla="*/ 394581 h 474835"/>
              <a:gd name="connsiteX6" fmla="*/ 39622 w 607639"/>
              <a:gd name="connsiteY6" fmla="*/ 118691 h 474835"/>
              <a:gd name="connsiteX7" fmla="*/ 79245 w 607639"/>
              <a:gd name="connsiteY7" fmla="*/ 158240 h 474835"/>
              <a:gd name="connsiteX8" fmla="*/ 79245 w 607639"/>
              <a:gd name="connsiteY8" fmla="*/ 316524 h 474835"/>
              <a:gd name="connsiteX9" fmla="*/ 39622 w 607639"/>
              <a:gd name="connsiteY9" fmla="*/ 356073 h 474835"/>
              <a:gd name="connsiteX10" fmla="*/ 0 w 607639"/>
              <a:gd name="connsiteY10" fmla="*/ 316524 h 474835"/>
              <a:gd name="connsiteX11" fmla="*/ 0 w 607639"/>
              <a:gd name="connsiteY11" fmla="*/ 158240 h 474835"/>
              <a:gd name="connsiteX12" fmla="*/ 39622 w 607639"/>
              <a:gd name="connsiteY12" fmla="*/ 118691 h 474835"/>
              <a:gd name="connsiteX13" fmla="*/ 488736 w 607639"/>
              <a:gd name="connsiteY13" fmla="*/ 44597 h 474835"/>
              <a:gd name="connsiteX14" fmla="*/ 488736 w 607639"/>
              <a:gd name="connsiteY14" fmla="*/ 430130 h 474835"/>
              <a:gd name="connsiteX15" fmla="*/ 396167 w 607639"/>
              <a:gd name="connsiteY15" fmla="*/ 406401 h 474835"/>
              <a:gd name="connsiteX16" fmla="*/ 372312 w 607639"/>
              <a:gd name="connsiteY16" fmla="*/ 453415 h 474835"/>
              <a:gd name="connsiteX17" fmla="*/ 319797 w 607639"/>
              <a:gd name="connsiteY17" fmla="*/ 462658 h 474835"/>
              <a:gd name="connsiteX18" fmla="*/ 200881 w 607639"/>
              <a:gd name="connsiteY18" fmla="*/ 427019 h 474835"/>
              <a:gd name="connsiteX19" fmla="*/ 158512 w 607639"/>
              <a:gd name="connsiteY19" fmla="*/ 370229 h 474835"/>
              <a:gd name="connsiteX20" fmla="*/ 158512 w 607639"/>
              <a:gd name="connsiteY20" fmla="*/ 335213 h 474835"/>
              <a:gd name="connsiteX21" fmla="*/ 118903 w 607639"/>
              <a:gd name="connsiteY21" fmla="*/ 323304 h 474835"/>
              <a:gd name="connsiteX22" fmla="*/ 118903 w 607639"/>
              <a:gd name="connsiteY22" fmla="*/ 151512 h 474835"/>
              <a:gd name="connsiteX23" fmla="*/ 567937 w 607639"/>
              <a:gd name="connsiteY23" fmla="*/ 0 h 474835"/>
              <a:gd name="connsiteX24" fmla="*/ 607639 w 607639"/>
              <a:gd name="connsiteY24" fmla="*/ 39547 h 474835"/>
              <a:gd name="connsiteX25" fmla="*/ 607639 w 607639"/>
              <a:gd name="connsiteY25" fmla="*/ 435199 h 474835"/>
              <a:gd name="connsiteX26" fmla="*/ 567937 w 607639"/>
              <a:gd name="connsiteY26" fmla="*/ 474835 h 474835"/>
              <a:gd name="connsiteX27" fmla="*/ 528323 w 607639"/>
              <a:gd name="connsiteY27" fmla="*/ 435199 h 474835"/>
              <a:gd name="connsiteX28" fmla="*/ 528323 w 607639"/>
              <a:gd name="connsiteY28" fmla="*/ 39547 h 474835"/>
              <a:gd name="connsiteX29" fmla="*/ 567937 w 607639"/>
              <a:gd name="connsiteY29" fmla="*/ 0 h 4748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607639" h="474835">
                <a:moveTo>
                  <a:pt x="198121" y="347033"/>
                </a:moveTo>
                <a:lnTo>
                  <a:pt x="198121" y="370229"/>
                </a:lnTo>
                <a:cubicBezTo>
                  <a:pt x="198121" y="378939"/>
                  <a:pt x="203818" y="386582"/>
                  <a:pt x="212274" y="389159"/>
                </a:cubicBezTo>
                <a:lnTo>
                  <a:pt x="331101" y="424797"/>
                </a:lnTo>
                <a:cubicBezTo>
                  <a:pt x="344452" y="428619"/>
                  <a:pt x="356647" y="418665"/>
                  <a:pt x="356647" y="405779"/>
                </a:cubicBezTo>
                <a:lnTo>
                  <a:pt x="356647" y="394581"/>
                </a:lnTo>
                <a:close/>
                <a:moveTo>
                  <a:pt x="39622" y="118691"/>
                </a:moveTo>
                <a:cubicBezTo>
                  <a:pt x="61526" y="118691"/>
                  <a:pt x="79245" y="136377"/>
                  <a:pt x="79245" y="158240"/>
                </a:cubicBezTo>
                <a:lnTo>
                  <a:pt x="79245" y="316524"/>
                </a:lnTo>
                <a:cubicBezTo>
                  <a:pt x="79245" y="338298"/>
                  <a:pt x="61526" y="356073"/>
                  <a:pt x="39622" y="356073"/>
                </a:cubicBezTo>
                <a:cubicBezTo>
                  <a:pt x="17808" y="356073"/>
                  <a:pt x="0" y="338298"/>
                  <a:pt x="0" y="316524"/>
                </a:cubicBezTo>
                <a:lnTo>
                  <a:pt x="0" y="158240"/>
                </a:lnTo>
                <a:cubicBezTo>
                  <a:pt x="0" y="136377"/>
                  <a:pt x="17808" y="118691"/>
                  <a:pt x="39622" y="118691"/>
                </a:cubicBezTo>
                <a:close/>
                <a:moveTo>
                  <a:pt x="488736" y="44597"/>
                </a:moveTo>
                <a:lnTo>
                  <a:pt x="488736" y="430130"/>
                </a:lnTo>
                <a:lnTo>
                  <a:pt x="396167" y="406401"/>
                </a:lnTo>
                <a:cubicBezTo>
                  <a:pt x="395989" y="425064"/>
                  <a:pt x="387355" y="442217"/>
                  <a:pt x="372312" y="453415"/>
                </a:cubicBezTo>
                <a:cubicBezTo>
                  <a:pt x="356736" y="464968"/>
                  <a:pt x="337332" y="467990"/>
                  <a:pt x="319797" y="462658"/>
                </a:cubicBezTo>
                <a:lnTo>
                  <a:pt x="200881" y="427019"/>
                </a:lnTo>
                <a:cubicBezTo>
                  <a:pt x="175513" y="419465"/>
                  <a:pt x="158512" y="396625"/>
                  <a:pt x="158512" y="370229"/>
                </a:cubicBezTo>
                <a:lnTo>
                  <a:pt x="158512" y="335213"/>
                </a:lnTo>
                <a:lnTo>
                  <a:pt x="118903" y="323304"/>
                </a:lnTo>
                <a:lnTo>
                  <a:pt x="118903" y="151512"/>
                </a:lnTo>
                <a:close/>
                <a:moveTo>
                  <a:pt x="567937" y="0"/>
                </a:moveTo>
                <a:cubicBezTo>
                  <a:pt x="589835" y="0"/>
                  <a:pt x="607639" y="17774"/>
                  <a:pt x="607639" y="39547"/>
                </a:cubicBezTo>
                <a:lnTo>
                  <a:pt x="607639" y="435199"/>
                </a:lnTo>
                <a:cubicBezTo>
                  <a:pt x="607639" y="457061"/>
                  <a:pt x="589835" y="474835"/>
                  <a:pt x="567937" y="474835"/>
                </a:cubicBezTo>
                <a:cubicBezTo>
                  <a:pt x="546127" y="474835"/>
                  <a:pt x="528323" y="457061"/>
                  <a:pt x="528323" y="435199"/>
                </a:cubicBezTo>
                <a:lnTo>
                  <a:pt x="528323" y="39547"/>
                </a:lnTo>
                <a:cubicBezTo>
                  <a:pt x="528323" y="17774"/>
                  <a:pt x="546127" y="0"/>
                  <a:pt x="567937"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spTree>
    <p:custDataLst>
      <p:tags r:id="rId2"/>
    </p:custDataLst>
    <p:extLst>
      <p:ext uri="{BB962C8B-B14F-4D97-AF65-F5344CB8AC3E}">
        <p14:creationId xmlns:p14="http://schemas.microsoft.com/office/powerpoint/2010/main" val="1529137671"/>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2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任意形状 9">
            <a:extLst>
              <a:ext uri="{FF2B5EF4-FFF2-40B4-BE49-F238E27FC236}">
                <a16:creationId xmlns:a16="http://schemas.microsoft.com/office/drawing/2014/main" id="{79C0392D-8AB4-4C9C-BB47-E593C645F444}"/>
              </a:ext>
            </a:extLst>
          </p:cNvPr>
          <p:cNvSpPr/>
          <p:nvPr/>
        </p:nvSpPr>
        <p:spPr>
          <a:xfrm>
            <a:off x="0" y="6457950"/>
            <a:ext cx="12192000" cy="400050"/>
          </a:xfrm>
          <a:custGeom>
            <a:avLst/>
            <a:gdLst>
              <a:gd name="connsiteX0" fmla="*/ 12192000 w 12192000"/>
              <a:gd name="connsiteY0" fmla="*/ 0 h 329410"/>
              <a:gd name="connsiteX1" fmla="*/ 12192000 w 12192000"/>
              <a:gd name="connsiteY1" fmla="*/ 329410 h 329410"/>
              <a:gd name="connsiteX2" fmla="*/ 0 w 12192000"/>
              <a:gd name="connsiteY2" fmla="*/ 329410 h 329410"/>
              <a:gd name="connsiteX3" fmla="*/ 0 w 12192000"/>
              <a:gd name="connsiteY3" fmla="*/ 29375 h 329410"/>
              <a:gd name="connsiteX4" fmla="*/ 577089 w 12192000"/>
              <a:gd name="connsiteY4" fmla="*/ 49593 h 329410"/>
              <a:gd name="connsiteX5" fmla="*/ 5704114 w 12192000"/>
              <a:gd name="connsiteY5" fmla="*/ 124873 h 329410"/>
              <a:gd name="connsiteX6" fmla="*/ 11982536 w 12192000"/>
              <a:gd name="connsiteY6" fmla="*/ 9255 h 329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329410">
                <a:moveTo>
                  <a:pt x="12192000" y="0"/>
                </a:moveTo>
                <a:lnTo>
                  <a:pt x="12192000" y="329410"/>
                </a:lnTo>
                <a:lnTo>
                  <a:pt x="0" y="329410"/>
                </a:lnTo>
                <a:lnTo>
                  <a:pt x="0" y="29375"/>
                </a:lnTo>
                <a:lnTo>
                  <a:pt x="577089" y="49593"/>
                </a:lnTo>
                <a:cubicBezTo>
                  <a:pt x="2152931" y="98068"/>
                  <a:pt x="3885480" y="124873"/>
                  <a:pt x="5704114" y="124873"/>
                </a:cubicBezTo>
                <a:cubicBezTo>
                  <a:pt x="7977407" y="124873"/>
                  <a:pt x="10116192" y="82990"/>
                  <a:pt x="11982536" y="9255"/>
                </a:cubicBezTo>
                <a:close/>
              </a:path>
            </a:pathLst>
          </a:custGeom>
          <a:solidFill>
            <a:schemeClr val="accent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zh-CN" altLang="en-US"/>
          </a:p>
        </p:txBody>
      </p:sp>
      <p:sp>
        <p:nvSpPr>
          <p:cNvPr id="17" name="椭圆 16">
            <a:extLst>
              <a:ext uri="{FF2B5EF4-FFF2-40B4-BE49-F238E27FC236}">
                <a16:creationId xmlns:a16="http://schemas.microsoft.com/office/drawing/2014/main" id="{E545B7AD-CCB3-4166-9A1F-C64A4FDE23AB}"/>
              </a:ext>
            </a:extLst>
          </p:cNvPr>
          <p:cNvSpPr/>
          <p:nvPr/>
        </p:nvSpPr>
        <p:spPr>
          <a:xfrm>
            <a:off x="5020987" y="2287313"/>
            <a:ext cx="2150026" cy="2150024"/>
          </a:xfrm>
          <a:prstGeom prst="ellipse">
            <a:avLst/>
          </a:prstGeom>
          <a:solidFill>
            <a:schemeClr val="bg1"/>
          </a:solidFill>
          <a:ln>
            <a:noFill/>
          </a:ln>
          <a:effectLst>
            <a:outerShdw blurRad="342900" sx="110000" sy="110000" algn="ctr" rotWithShape="0">
              <a:schemeClr val="accent1">
                <a:alpha val="9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 name="弧形 7">
            <a:extLst>
              <a:ext uri="{FF2B5EF4-FFF2-40B4-BE49-F238E27FC236}">
                <a16:creationId xmlns:a16="http://schemas.microsoft.com/office/drawing/2014/main" id="{6754515F-C93F-49C5-A5F8-CA599E014D81}"/>
              </a:ext>
            </a:extLst>
          </p:cNvPr>
          <p:cNvSpPr/>
          <p:nvPr/>
        </p:nvSpPr>
        <p:spPr>
          <a:xfrm>
            <a:off x="4438650" y="1704975"/>
            <a:ext cx="3314700" cy="3314700"/>
          </a:xfrm>
          <a:prstGeom prst="arc">
            <a:avLst>
              <a:gd name="adj1" fmla="val 6168660"/>
              <a:gd name="adj2" fmla="val 4674309"/>
            </a:avLst>
          </a:prstGeom>
          <a:ln w="38100">
            <a:gradFill>
              <a:gsLst>
                <a:gs pos="0">
                  <a:schemeClr val="accent1"/>
                </a:gs>
                <a:gs pos="94000">
                  <a:schemeClr val="accent1">
                    <a:alpha val="0"/>
                  </a:schemeClr>
                </a:gs>
              </a:gsLst>
              <a:lin ang="5400000" scaled="1"/>
            </a:gra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sp>
        <p:nvSpPr>
          <p:cNvPr id="10" name="椭圆 9">
            <a:extLst>
              <a:ext uri="{FF2B5EF4-FFF2-40B4-BE49-F238E27FC236}">
                <a16:creationId xmlns:a16="http://schemas.microsoft.com/office/drawing/2014/main" id="{FCBF7328-F2B9-4033-A601-9442E7BF82A5}"/>
              </a:ext>
            </a:extLst>
          </p:cNvPr>
          <p:cNvSpPr/>
          <p:nvPr/>
        </p:nvSpPr>
        <p:spPr>
          <a:xfrm>
            <a:off x="4798737" y="2120350"/>
            <a:ext cx="166963" cy="166963"/>
          </a:xfrm>
          <a:prstGeom prst="ellipse">
            <a:avLst/>
          </a:prstGeom>
          <a:solidFill>
            <a:schemeClr val="bg1"/>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20" name="椭圆 19">
            <a:extLst>
              <a:ext uri="{FF2B5EF4-FFF2-40B4-BE49-F238E27FC236}">
                <a16:creationId xmlns:a16="http://schemas.microsoft.com/office/drawing/2014/main" id="{3DBBCE3F-1628-45B8-849A-3C46F36C7819}"/>
              </a:ext>
            </a:extLst>
          </p:cNvPr>
          <p:cNvSpPr/>
          <p:nvPr/>
        </p:nvSpPr>
        <p:spPr>
          <a:xfrm>
            <a:off x="4355168" y="3338565"/>
            <a:ext cx="166963" cy="166963"/>
          </a:xfrm>
          <a:prstGeom prst="ellipse">
            <a:avLst/>
          </a:prstGeom>
          <a:solidFill>
            <a:schemeClr val="bg1"/>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21" name="椭圆 20">
            <a:extLst>
              <a:ext uri="{FF2B5EF4-FFF2-40B4-BE49-F238E27FC236}">
                <a16:creationId xmlns:a16="http://schemas.microsoft.com/office/drawing/2014/main" id="{1168F8F9-190A-4309-AC6D-ABD1B62EABF0}"/>
              </a:ext>
            </a:extLst>
          </p:cNvPr>
          <p:cNvSpPr/>
          <p:nvPr/>
        </p:nvSpPr>
        <p:spPr>
          <a:xfrm>
            <a:off x="4798737" y="4403725"/>
            <a:ext cx="166963" cy="166963"/>
          </a:xfrm>
          <a:prstGeom prst="ellipse">
            <a:avLst/>
          </a:prstGeom>
          <a:solidFill>
            <a:schemeClr val="bg1"/>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22" name="椭圆 21">
            <a:extLst>
              <a:ext uri="{FF2B5EF4-FFF2-40B4-BE49-F238E27FC236}">
                <a16:creationId xmlns:a16="http://schemas.microsoft.com/office/drawing/2014/main" id="{8ADB0EDF-3292-4AEE-A3F7-F9806400AFD6}"/>
              </a:ext>
            </a:extLst>
          </p:cNvPr>
          <p:cNvSpPr/>
          <p:nvPr/>
        </p:nvSpPr>
        <p:spPr>
          <a:xfrm>
            <a:off x="7227908" y="2120350"/>
            <a:ext cx="166963" cy="166963"/>
          </a:xfrm>
          <a:prstGeom prst="ellipse">
            <a:avLst/>
          </a:prstGeom>
          <a:solidFill>
            <a:schemeClr val="bg1"/>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23" name="椭圆 22">
            <a:extLst>
              <a:ext uri="{FF2B5EF4-FFF2-40B4-BE49-F238E27FC236}">
                <a16:creationId xmlns:a16="http://schemas.microsoft.com/office/drawing/2014/main" id="{8C77D36E-2B9A-4F85-B4CC-AC212FFB741D}"/>
              </a:ext>
            </a:extLst>
          </p:cNvPr>
          <p:cNvSpPr/>
          <p:nvPr/>
        </p:nvSpPr>
        <p:spPr>
          <a:xfrm>
            <a:off x="7669869" y="3338565"/>
            <a:ext cx="166963" cy="166963"/>
          </a:xfrm>
          <a:prstGeom prst="ellipse">
            <a:avLst/>
          </a:prstGeom>
          <a:solidFill>
            <a:schemeClr val="bg1"/>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24" name="椭圆 23">
            <a:extLst>
              <a:ext uri="{FF2B5EF4-FFF2-40B4-BE49-F238E27FC236}">
                <a16:creationId xmlns:a16="http://schemas.microsoft.com/office/drawing/2014/main" id="{42300245-16C2-4B7A-9827-EB8AA83B017F}"/>
              </a:ext>
            </a:extLst>
          </p:cNvPr>
          <p:cNvSpPr/>
          <p:nvPr/>
        </p:nvSpPr>
        <p:spPr>
          <a:xfrm>
            <a:off x="7227908" y="4403725"/>
            <a:ext cx="166963" cy="166963"/>
          </a:xfrm>
          <a:prstGeom prst="ellipse">
            <a:avLst/>
          </a:prstGeom>
          <a:solidFill>
            <a:schemeClr val="bg1"/>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26" name="文本框 25">
            <a:extLst>
              <a:ext uri="{FF2B5EF4-FFF2-40B4-BE49-F238E27FC236}">
                <a16:creationId xmlns:a16="http://schemas.microsoft.com/office/drawing/2014/main" id="{EC8378A4-A415-4DC1-94D2-76624096F6BD}"/>
              </a:ext>
            </a:extLst>
          </p:cNvPr>
          <p:cNvSpPr txBox="1"/>
          <p:nvPr/>
        </p:nvSpPr>
        <p:spPr>
          <a:xfrm>
            <a:off x="3023745" y="2079787"/>
            <a:ext cx="1282402" cy="307777"/>
          </a:xfrm>
          <a:prstGeom prst="rect">
            <a:avLst/>
          </a:prstGeom>
          <a:noFill/>
        </p:spPr>
        <p:txBody>
          <a:bodyPr wrap="none" lIns="0" tIns="0" rIns="0" bIns="0" rtlCol="0" anchor="t">
            <a:spAutoFit/>
          </a:bodyPr>
          <a:lstStyle/>
          <a:p>
            <a:pPr algn="r"/>
            <a:r>
              <a:rPr lang="zh-CN" altLang="en-US" sz="2000" dirty="0">
                <a:solidFill>
                  <a:schemeClr val="accent1"/>
                </a:solidFill>
                <a:latin typeface="+mj-ea"/>
                <a:ea typeface="+mj-ea"/>
              </a:rPr>
              <a:t>关键词标题</a:t>
            </a:r>
          </a:p>
        </p:txBody>
      </p:sp>
      <p:sp>
        <p:nvSpPr>
          <p:cNvPr id="27" name="文本框 26">
            <a:extLst>
              <a:ext uri="{FF2B5EF4-FFF2-40B4-BE49-F238E27FC236}">
                <a16:creationId xmlns:a16="http://schemas.microsoft.com/office/drawing/2014/main" id="{95BFF846-10A0-4DBC-8D40-7CA9DE6D052B}"/>
              </a:ext>
            </a:extLst>
          </p:cNvPr>
          <p:cNvSpPr txBox="1"/>
          <p:nvPr/>
        </p:nvSpPr>
        <p:spPr>
          <a:xfrm>
            <a:off x="1034308" y="2397792"/>
            <a:ext cx="3271839" cy="348557"/>
          </a:xfrm>
          <a:prstGeom prst="rect">
            <a:avLst/>
          </a:prstGeom>
          <a:noFill/>
        </p:spPr>
        <p:txBody>
          <a:bodyPr wrap="square" lIns="0" tIns="0" rIns="0" bIns="0" rtlCol="0" anchor="t">
            <a:spAutoFit/>
          </a:bodyPr>
          <a:lstStyle/>
          <a:p>
            <a:pPr algn="r">
              <a:lnSpc>
                <a:spcPct val="130000"/>
              </a:lnSpc>
            </a:pPr>
            <a:r>
              <a:rPr lang="en-US" altLang="zh-CN" sz="900" b="0" dirty="0">
                <a:solidFill>
                  <a:schemeClr val="tx1">
                    <a:lumMod val="75000"/>
                    <a:lumOff val="25000"/>
                  </a:schemeClr>
                </a:solidFill>
                <a:effectLst/>
                <a:latin typeface="+mn-ea"/>
              </a:rPr>
              <a:t>Lorem ipsum dolor sit amet, consectetur adipisicing elit, sed do eiusmod tempor</a:t>
            </a:r>
            <a:endParaRPr lang="zh-CN" altLang="en-US" sz="900" b="0" dirty="0">
              <a:solidFill>
                <a:schemeClr val="tx1">
                  <a:lumMod val="75000"/>
                  <a:lumOff val="25000"/>
                </a:schemeClr>
              </a:solidFill>
              <a:effectLst/>
              <a:latin typeface="+mn-ea"/>
            </a:endParaRPr>
          </a:p>
        </p:txBody>
      </p:sp>
      <p:sp>
        <p:nvSpPr>
          <p:cNvPr id="33" name="文本框 32">
            <a:extLst>
              <a:ext uri="{FF2B5EF4-FFF2-40B4-BE49-F238E27FC236}">
                <a16:creationId xmlns:a16="http://schemas.microsoft.com/office/drawing/2014/main" id="{99E7458B-8642-4DFC-AC51-F4DDFD56855C}"/>
              </a:ext>
            </a:extLst>
          </p:cNvPr>
          <p:cNvSpPr txBox="1"/>
          <p:nvPr/>
        </p:nvSpPr>
        <p:spPr>
          <a:xfrm>
            <a:off x="2657392" y="3278674"/>
            <a:ext cx="1282402" cy="307777"/>
          </a:xfrm>
          <a:prstGeom prst="rect">
            <a:avLst/>
          </a:prstGeom>
          <a:noFill/>
        </p:spPr>
        <p:txBody>
          <a:bodyPr wrap="none" lIns="0" tIns="0" rIns="0" bIns="0" rtlCol="0" anchor="t">
            <a:spAutoFit/>
          </a:bodyPr>
          <a:lstStyle/>
          <a:p>
            <a:pPr algn="r"/>
            <a:r>
              <a:rPr lang="zh-CN" altLang="en-US" sz="2000" dirty="0">
                <a:solidFill>
                  <a:schemeClr val="accent1"/>
                </a:solidFill>
                <a:latin typeface="+mj-ea"/>
                <a:ea typeface="+mj-ea"/>
              </a:rPr>
              <a:t>关键词标题</a:t>
            </a:r>
          </a:p>
        </p:txBody>
      </p:sp>
      <p:sp>
        <p:nvSpPr>
          <p:cNvPr id="34" name="文本框 33">
            <a:extLst>
              <a:ext uri="{FF2B5EF4-FFF2-40B4-BE49-F238E27FC236}">
                <a16:creationId xmlns:a16="http://schemas.microsoft.com/office/drawing/2014/main" id="{DDC1FFD8-9918-4074-A8DF-CC0D795BFA04}"/>
              </a:ext>
            </a:extLst>
          </p:cNvPr>
          <p:cNvSpPr txBox="1"/>
          <p:nvPr/>
        </p:nvSpPr>
        <p:spPr>
          <a:xfrm>
            <a:off x="667955" y="3596679"/>
            <a:ext cx="3271839" cy="348557"/>
          </a:xfrm>
          <a:prstGeom prst="rect">
            <a:avLst/>
          </a:prstGeom>
          <a:noFill/>
        </p:spPr>
        <p:txBody>
          <a:bodyPr wrap="square" lIns="0" tIns="0" rIns="0" bIns="0" rtlCol="0" anchor="t">
            <a:spAutoFit/>
          </a:bodyPr>
          <a:lstStyle/>
          <a:p>
            <a:pPr marL="0" marR="0" lvl="0" indent="0" algn="r" defTabSz="914400" rtl="0" eaLnBrk="1" fontAlgn="auto" latinLnBrk="0" hangingPunct="1">
              <a:lnSpc>
                <a:spcPct val="130000"/>
              </a:lnSpc>
              <a:spcBef>
                <a:spcPts val="0"/>
              </a:spcBef>
              <a:spcAft>
                <a:spcPts val="0"/>
              </a:spcAft>
              <a:buClrTx/>
              <a:buSzTx/>
              <a:buFontTx/>
              <a:buNone/>
              <a:tabLst/>
              <a:defRPr/>
            </a:pPr>
            <a:r>
              <a:rPr kumimoji="0" lang="en-US" altLang="zh-CN" sz="900" b="0" i="0" u="none" strike="noStrike" kern="1200" cap="none" spc="0" normalizeH="0" baseline="0" noProof="0" dirty="0">
                <a:ln>
                  <a:noFill/>
                </a:ln>
                <a:solidFill>
                  <a:srgbClr val="000000">
                    <a:lumMod val="75000"/>
                    <a:lumOff val="25000"/>
                  </a:srgbClr>
                </a:solidFill>
                <a:effectLst/>
                <a:uLnTx/>
                <a:uFillTx/>
                <a:latin typeface="OPPOSans R"/>
                <a:ea typeface="OPPOSans R"/>
                <a:cs typeface="+mn-cs"/>
              </a:rPr>
              <a:t>Lorem ipsum dolor sit amet, consectetur adipisicing elit, sed do eiusmod tempor</a:t>
            </a:r>
            <a:endParaRPr kumimoji="0" lang="zh-CN" altLang="en-US" sz="900" b="0" i="0" u="none" strike="noStrike" kern="1200" cap="none" spc="0" normalizeH="0" baseline="0" noProof="0" dirty="0">
              <a:ln>
                <a:noFill/>
              </a:ln>
              <a:solidFill>
                <a:srgbClr val="000000">
                  <a:lumMod val="75000"/>
                  <a:lumOff val="25000"/>
                </a:srgbClr>
              </a:solidFill>
              <a:effectLst/>
              <a:uLnTx/>
              <a:uFillTx/>
              <a:latin typeface="OPPOSans R"/>
              <a:ea typeface="OPPOSans R"/>
              <a:cs typeface="+mn-cs"/>
            </a:endParaRPr>
          </a:p>
        </p:txBody>
      </p:sp>
      <p:sp>
        <p:nvSpPr>
          <p:cNvPr id="35" name="文本框 34">
            <a:extLst>
              <a:ext uri="{FF2B5EF4-FFF2-40B4-BE49-F238E27FC236}">
                <a16:creationId xmlns:a16="http://schemas.microsoft.com/office/drawing/2014/main" id="{DD99A2E7-83B0-4193-8BC5-5611DD484CED}"/>
              </a:ext>
            </a:extLst>
          </p:cNvPr>
          <p:cNvSpPr txBox="1"/>
          <p:nvPr/>
        </p:nvSpPr>
        <p:spPr>
          <a:xfrm>
            <a:off x="3023745" y="4367953"/>
            <a:ext cx="1282402" cy="307777"/>
          </a:xfrm>
          <a:prstGeom prst="rect">
            <a:avLst/>
          </a:prstGeom>
          <a:noFill/>
        </p:spPr>
        <p:txBody>
          <a:bodyPr wrap="none" lIns="0" tIns="0" rIns="0" bIns="0" rtlCol="0" anchor="t">
            <a:spAutoFit/>
          </a:bodyPr>
          <a:lstStyle/>
          <a:p>
            <a:pPr algn="r"/>
            <a:r>
              <a:rPr lang="zh-CN" altLang="en-US" sz="2000" dirty="0">
                <a:solidFill>
                  <a:schemeClr val="accent1"/>
                </a:solidFill>
                <a:latin typeface="+mj-ea"/>
                <a:ea typeface="+mj-ea"/>
              </a:rPr>
              <a:t>关键词标题</a:t>
            </a:r>
          </a:p>
        </p:txBody>
      </p:sp>
      <p:sp>
        <p:nvSpPr>
          <p:cNvPr id="39" name="文本框 38">
            <a:extLst>
              <a:ext uri="{FF2B5EF4-FFF2-40B4-BE49-F238E27FC236}">
                <a16:creationId xmlns:a16="http://schemas.microsoft.com/office/drawing/2014/main" id="{E5A935F9-2001-4CCB-9D65-07B65A7EFE67}"/>
              </a:ext>
            </a:extLst>
          </p:cNvPr>
          <p:cNvSpPr txBox="1"/>
          <p:nvPr/>
        </p:nvSpPr>
        <p:spPr>
          <a:xfrm>
            <a:off x="1034308" y="4685958"/>
            <a:ext cx="3271839" cy="348557"/>
          </a:xfrm>
          <a:prstGeom prst="rect">
            <a:avLst/>
          </a:prstGeom>
          <a:noFill/>
        </p:spPr>
        <p:txBody>
          <a:bodyPr wrap="square" lIns="0" tIns="0" rIns="0" bIns="0" rtlCol="0" anchor="t">
            <a:spAutoFit/>
          </a:bodyPr>
          <a:lstStyle/>
          <a:p>
            <a:pPr marL="0" marR="0" lvl="0" indent="0" algn="r" defTabSz="914400" rtl="0" eaLnBrk="1" fontAlgn="auto" latinLnBrk="0" hangingPunct="1">
              <a:lnSpc>
                <a:spcPct val="130000"/>
              </a:lnSpc>
              <a:spcBef>
                <a:spcPts val="0"/>
              </a:spcBef>
              <a:spcAft>
                <a:spcPts val="0"/>
              </a:spcAft>
              <a:buClrTx/>
              <a:buSzTx/>
              <a:buFontTx/>
              <a:buNone/>
              <a:tabLst/>
              <a:defRPr/>
            </a:pPr>
            <a:r>
              <a:rPr kumimoji="0" lang="en-US" altLang="zh-CN" sz="900" b="0" i="0" u="none" strike="noStrike" kern="1200" cap="none" spc="0" normalizeH="0" baseline="0" noProof="0" dirty="0">
                <a:ln>
                  <a:noFill/>
                </a:ln>
                <a:solidFill>
                  <a:srgbClr val="000000">
                    <a:lumMod val="75000"/>
                    <a:lumOff val="25000"/>
                  </a:srgbClr>
                </a:solidFill>
                <a:effectLst/>
                <a:uLnTx/>
                <a:uFillTx/>
                <a:latin typeface="OPPOSans R"/>
                <a:ea typeface="OPPOSans R"/>
                <a:cs typeface="+mn-cs"/>
              </a:rPr>
              <a:t>Lorem ipsum dolor sit amet, consectetur adipisicing elit, sed do eiusmod tempor</a:t>
            </a:r>
            <a:endParaRPr kumimoji="0" lang="zh-CN" altLang="en-US" sz="900" b="0" i="0" u="none" strike="noStrike" kern="1200" cap="none" spc="0" normalizeH="0" baseline="0" noProof="0" dirty="0">
              <a:ln>
                <a:noFill/>
              </a:ln>
              <a:solidFill>
                <a:srgbClr val="000000">
                  <a:lumMod val="75000"/>
                  <a:lumOff val="25000"/>
                </a:srgbClr>
              </a:solidFill>
              <a:effectLst/>
              <a:uLnTx/>
              <a:uFillTx/>
              <a:latin typeface="OPPOSans R"/>
              <a:ea typeface="OPPOSans R"/>
              <a:cs typeface="+mn-cs"/>
            </a:endParaRPr>
          </a:p>
        </p:txBody>
      </p:sp>
      <p:sp>
        <p:nvSpPr>
          <p:cNvPr id="40" name="文本框 39">
            <a:extLst>
              <a:ext uri="{FF2B5EF4-FFF2-40B4-BE49-F238E27FC236}">
                <a16:creationId xmlns:a16="http://schemas.microsoft.com/office/drawing/2014/main" id="{09F2609D-4F69-4A33-9F39-856A3ECDD272}"/>
              </a:ext>
            </a:extLst>
          </p:cNvPr>
          <p:cNvSpPr txBox="1"/>
          <p:nvPr/>
        </p:nvSpPr>
        <p:spPr>
          <a:xfrm>
            <a:off x="7969334" y="2079787"/>
            <a:ext cx="1282402" cy="307777"/>
          </a:xfrm>
          <a:prstGeom prst="rect">
            <a:avLst/>
          </a:prstGeom>
          <a:noFill/>
        </p:spPr>
        <p:txBody>
          <a:bodyPr wrap="none" lIns="0" tIns="0" rIns="0" bIns="0" rtlCol="0" anchor="t">
            <a:spAutoFit/>
          </a:bodyPr>
          <a:lstStyle/>
          <a:p>
            <a:r>
              <a:rPr lang="zh-CN" altLang="en-US" sz="2000" dirty="0">
                <a:solidFill>
                  <a:schemeClr val="accent1"/>
                </a:solidFill>
                <a:latin typeface="+mj-ea"/>
                <a:ea typeface="+mj-ea"/>
              </a:rPr>
              <a:t>关键词标题</a:t>
            </a:r>
          </a:p>
        </p:txBody>
      </p:sp>
      <p:sp>
        <p:nvSpPr>
          <p:cNvPr id="41" name="文本框 40">
            <a:extLst>
              <a:ext uri="{FF2B5EF4-FFF2-40B4-BE49-F238E27FC236}">
                <a16:creationId xmlns:a16="http://schemas.microsoft.com/office/drawing/2014/main" id="{FFFE477F-884C-46A2-94EF-3AFB946D4EF9}"/>
              </a:ext>
            </a:extLst>
          </p:cNvPr>
          <p:cNvSpPr txBox="1"/>
          <p:nvPr/>
        </p:nvSpPr>
        <p:spPr>
          <a:xfrm>
            <a:off x="7969334" y="2397792"/>
            <a:ext cx="3271839" cy="348557"/>
          </a:xfrm>
          <a:prstGeom prst="rect">
            <a:avLst/>
          </a:prstGeom>
          <a:noFill/>
        </p:spPr>
        <p:txBody>
          <a:bodyPr wrap="square" lIns="0" tIns="0" rIns="0" bIns="0" rtlCol="0" anchor="t">
            <a:spAutoFit/>
          </a:bodyPr>
          <a:lstStyle/>
          <a:p>
            <a:pPr marL="0" marR="0" lvl="0" indent="0" algn="r" defTabSz="914400" rtl="0" eaLnBrk="1" fontAlgn="auto" latinLnBrk="0" hangingPunct="1">
              <a:lnSpc>
                <a:spcPct val="130000"/>
              </a:lnSpc>
              <a:spcBef>
                <a:spcPts val="0"/>
              </a:spcBef>
              <a:spcAft>
                <a:spcPts val="0"/>
              </a:spcAft>
              <a:buClrTx/>
              <a:buSzTx/>
              <a:buFontTx/>
              <a:buNone/>
              <a:tabLst/>
              <a:defRPr/>
            </a:pPr>
            <a:r>
              <a:rPr kumimoji="0" lang="en-US" altLang="zh-CN" sz="900" b="0" i="0" u="none" strike="noStrike" kern="1200" cap="none" spc="0" normalizeH="0" baseline="0" noProof="0" dirty="0">
                <a:ln>
                  <a:noFill/>
                </a:ln>
                <a:solidFill>
                  <a:srgbClr val="000000">
                    <a:lumMod val="75000"/>
                    <a:lumOff val="25000"/>
                  </a:srgbClr>
                </a:solidFill>
                <a:effectLst/>
                <a:uLnTx/>
                <a:uFillTx/>
                <a:latin typeface="OPPOSans R"/>
                <a:ea typeface="OPPOSans R"/>
                <a:cs typeface="+mn-cs"/>
              </a:rPr>
              <a:t>Lorem ipsum dolor sit amet, consectetur adipisicing elit, sed do eiusmod tempor</a:t>
            </a:r>
            <a:endParaRPr kumimoji="0" lang="zh-CN" altLang="en-US" sz="900" b="0" i="0" u="none" strike="noStrike" kern="1200" cap="none" spc="0" normalizeH="0" baseline="0" noProof="0" dirty="0">
              <a:ln>
                <a:noFill/>
              </a:ln>
              <a:solidFill>
                <a:srgbClr val="000000">
                  <a:lumMod val="75000"/>
                  <a:lumOff val="25000"/>
                </a:srgbClr>
              </a:solidFill>
              <a:effectLst/>
              <a:uLnTx/>
              <a:uFillTx/>
              <a:latin typeface="OPPOSans R"/>
              <a:ea typeface="OPPOSans R"/>
              <a:cs typeface="+mn-cs"/>
            </a:endParaRPr>
          </a:p>
        </p:txBody>
      </p:sp>
      <p:sp>
        <p:nvSpPr>
          <p:cNvPr id="42" name="文本框 41">
            <a:extLst>
              <a:ext uri="{FF2B5EF4-FFF2-40B4-BE49-F238E27FC236}">
                <a16:creationId xmlns:a16="http://schemas.microsoft.com/office/drawing/2014/main" id="{2507DFEC-F1F6-4744-B7A0-4F9CD1BE8CCB}"/>
              </a:ext>
            </a:extLst>
          </p:cNvPr>
          <p:cNvSpPr txBox="1"/>
          <p:nvPr/>
        </p:nvSpPr>
        <p:spPr>
          <a:xfrm>
            <a:off x="8252206" y="3278674"/>
            <a:ext cx="1282402" cy="307777"/>
          </a:xfrm>
          <a:prstGeom prst="rect">
            <a:avLst/>
          </a:prstGeom>
          <a:noFill/>
        </p:spPr>
        <p:txBody>
          <a:bodyPr wrap="none" lIns="0" tIns="0" rIns="0" bIns="0" rtlCol="0" anchor="t">
            <a:spAutoFit/>
          </a:bodyPr>
          <a:lstStyle/>
          <a:p>
            <a:r>
              <a:rPr lang="zh-CN" altLang="en-US" sz="2000" dirty="0">
                <a:solidFill>
                  <a:schemeClr val="accent1"/>
                </a:solidFill>
                <a:latin typeface="+mj-ea"/>
                <a:ea typeface="+mj-ea"/>
              </a:rPr>
              <a:t>关键词标题</a:t>
            </a:r>
          </a:p>
        </p:txBody>
      </p:sp>
      <p:sp>
        <p:nvSpPr>
          <p:cNvPr id="43" name="文本框 42">
            <a:extLst>
              <a:ext uri="{FF2B5EF4-FFF2-40B4-BE49-F238E27FC236}">
                <a16:creationId xmlns:a16="http://schemas.microsoft.com/office/drawing/2014/main" id="{E7364929-291E-466F-AEAA-87C303D57E87}"/>
              </a:ext>
            </a:extLst>
          </p:cNvPr>
          <p:cNvSpPr txBox="1"/>
          <p:nvPr/>
        </p:nvSpPr>
        <p:spPr>
          <a:xfrm>
            <a:off x="8252206" y="3596679"/>
            <a:ext cx="3271839" cy="348557"/>
          </a:xfrm>
          <a:prstGeom prst="rect">
            <a:avLst/>
          </a:prstGeom>
          <a:noFill/>
        </p:spPr>
        <p:txBody>
          <a:bodyPr wrap="square" lIns="0" tIns="0" rIns="0" bIns="0" rtlCol="0" anchor="t">
            <a:spAutoFit/>
          </a:bodyPr>
          <a:lstStyle/>
          <a:p>
            <a:pPr marL="0" marR="0" lvl="0" indent="0" algn="r" defTabSz="914400" rtl="0" eaLnBrk="1" fontAlgn="auto" latinLnBrk="0" hangingPunct="1">
              <a:lnSpc>
                <a:spcPct val="130000"/>
              </a:lnSpc>
              <a:spcBef>
                <a:spcPts val="0"/>
              </a:spcBef>
              <a:spcAft>
                <a:spcPts val="0"/>
              </a:spcAft>
              <a:buClrTx/>
              <a:buSzTx/>
              <a:buFontTx/>
              <a:buNone/>
              <a:tabLst/>
              <a:defRPr/>
            </a:pPr>
            <a:r>
              <a:rPr kumimoji="0" lang="en-US" altLang="zh-CN" sz="900" b="0" i="0" u="none" strike="noStrike" kern="1200" cap="none" spc="0" normalizeH="0" baseline="0" noProof="0" dirty="0">
                <a:ln>
                  <a:noFill/>
                </a:ln>
                <a:solidFill>
                  <a:srgbClr val="000000">
                    <a:lumMod val="75000"/>
                    <a:lumOff val="25000"/>
                  </a:srgbClr>
                </a:solidFill>
                <a:effectLst/>
                <a:uLnTx/>
                <a:uFillTx/>
                <a:latin typeface="OPPOSans R"/>
                <a:ea typeface="OPPOSans R"/>
                <a:cs typeface="+mn-cs"/>
              </a:rPr>
              <a:t>Lorem ipsum dolor sit amet, consectetur adipisicing elit, sed do eiusmod tempor</a:t>
            </a:r>
            <a:endParaRPr kumimoji="0" lang="zh-CN" altLang="en-US" sz="900" b="0" i="0" u="none" strike="noStrike" kern="1200" cap="none" spc="0" normalizeH="0" baseline="0" noProof="0" dirty="0">
              <a:ln>
                <a:noFill/>
              </a:ln>
              <a:solidFill>
                <a:srgbClr val="000000">
                  <a:lumMod val="75000"/>
                  <a:lumOff val="25000"/>
                </a:srgbClr>
              </a:solidFill>
              <a:effectLst/>
              <a:uLnTx/>
              <a:uFillTx/>
              <a:latin typeface="OPPOSans R"/>
              <a:ea typeface="OPPOSans R"/>
              <a:cs typeface="+mn-cs"/>
            </a:endParaRPr>
          </a:p>
        </p:txBody>
      </p:sp>
      <p:sp>
        <p:nvSpPr>
          <p:cNvPr id="44" name="文本框 43">
            <a:extLst>
              <a:ext uri="{FF2B5EF4-FFF2-40B4-BE49-F238E27FC236}">
                <a16:creationId xmlns:a16="http://schemas.microsoft.com/office/drawing/2014/main" id="{88E4E406-B007-442B-A8F7-BBD813BAEB76}"/>
              </a:ext>
            </a:extLst>
          </p:cNvPr>
          <p:cNvSpPr txBox="1"/>
          <p:nvPr/>
        </p:nvSpPr>
        <p:spPr>
          <a:xfrm>
            <a:off x="7969334" y="4367953"/>
            <a:ext cx="1282402" cy="307777"/>
          </a:xfrm>
          <a:prstGeom prst="rect">
            <a:avLst/>
          </a:prstGeom>
          <a:noFill/>
        </p:spPr>
        <p:txBody>
          <a:bodyPr wrap="none" lIns="0" tIns="0" rIns="0" bIns="0" rtlCol="0" anchor="t">
            <a:spAutoFit/>
          </a:bodyPr>
          <a:lstStyle/>
          <a:p>
            <a:r>
              <a:rPr lang="zh-CN" altLang="en-US" sz="2000" dirty="0">
                <a:solidFill>
                  <a:schemeClr val="accent1"/>
                </a:solidFill>
                <a:latin typeface="+mj-ea"/>
                <a:ea typeface="+mj-ea"/>
              </a:rPr>
              <a:t>关键词标题</a:t>
            </a:r>
          </a:p>
        </p:txBody>
      </p:sp>
      <p:sp>
        <p:nvSpPr>
          <p:cNvPr id="45" name="文本框 44">
            <a:extLst>
              <a:ext uri="{FF2B5EF4-FFF2-40B4-BE49-F238E27FC236}">
                <a16:creationId xmlns:a16="http://schemas.microsoft.com/office/drawing/2014/main" id="{8AA8BE23-831E-4D0C-BE5F-7DD98A68F41F}"/>
              </a:ext>
            </a:extLst>
          </p:cNvPr>
          <p:cNvSpPr txBox="1"/>
          <p:nvPr/>
        </p:nvSpPr>
        <p:spPr>
          <a:xfrm>
            <a:off x="7969334" y="4685958"/>
            <a:ext cx="3271839" cy="348557"/>
          </a:xfrm>
          <a:prstGeom prst="rect">
            <a:avLst/>
          </a:prstGeom>
          <a:noFill/>
        </p:spPr>
        <p:txBody>
          <a:bodyPr wrap="square" lIns="0" tIns="0" rIns="0" bIns="0" rtlCol="0" anchor="t">
            <a:spAutoFit/>
          </a:bodyPr>
          <a:lstStyle/>
          <a:p>
            <a:pPr marL="0" marR="0" lvl="0" indent="0" algn="r" defTabSz="914400" rtl="0" eaLnBrk="1" fontAlgn="auto" latinLnBrk="0" hangingPunct="1">
              <a:lnSpc>
                <a:spcPct val="130000"/>
              </a:lnSpc>
              <a:spcBef>
                <a:spcPts val="0"/>
              </a:spcBef>
              <a:spcAft>
                <a:spcPts val="0"/>
              </a:spcAft>
              <a:buClrTx/>
              <a:buSzTx/>
              <a:buFontTx/>
              <a:buNone/>
              <a:tabLst/>
              <a:defRPr/>
            </a:pPr>
            <a:r>
              <a:rPr kumimoji="0" lang="en-US" altLang="zh-CN" sz="900" b="0" i="0" u="none" strike="noStrike" kern="1200" cap="none" spc="0" normalizeH="0" baseline="0" noProof="0" dirty="0">
                <a:ln>
                  <a:noFill/>
                </a:ln>
                <a:solidFill>
                  <a:srgbClr val="000000">
                    <a:lumMod val="75000"/>
                    <a:lumOff val="25000"/>
                  </a:srgbClr>
                </a:solidFill>
                <a:effectLst/>
                <a:uLnTx/>
                <a:uFillTx/>
                <a:latin typeface="OPPOSans R"/>
                <a:ea typeface="OPPOSans R"/>
                <a:cs typeface="+mn-cs"/>
              </a:rPr>
              <a:t>Lorem ipsum dolor sit amet, consectetur adipisicing elit, sed do eiusmod tempor</a:t>
            </a:r>
            <a:endParaRPr kumimoji="0" lang="zh-CN" altLang="en-US" sz="900" b="0" i="0" u="none" strike="noStrike" kern="1200" cap="none" spc="0" normalizeH="0" baseline="0" noProof="0" dirty="0">
              <a:ln>
                <a:noFill/>
              </a:ln>
              <a:solidFill>
                <a:srgbClr val="000000">
                  <a:lumMod val="75000"/>
                  <a:lumOff val="25000"/>
                </a:srgbClr>
              </a:solidFill>
              <a:effectLst/>
              <a:uLnTx/>
              <a:uFillTx/>
              <a:latin typeface="OPPOSans R"/>
              <a:ea typeface="OPPOSans R"/>
              <a:cs typeface="+mn-cs"/>
            </a:endParaRPr>
          </a:p>
        </p:txBody>
      </p:sp>
      <p:sp>
        <p:nvSpPr>
          <p:cNvPr id="46" name="shopping-cart_87339">
            <a:extLst>
              <a:ext uri="{FF2B5EF4-FFF2-40B4-BE49-F238E27FC236}">
                <a16:creationId xmlns:a16="http://schemas.microsoft.com/office/drawing/2014/main" id="{433FF702-1780-43C8-BA95-93B0E428D48A}"/>
              </a:ext>
            </a:extLst>
          </p:cNvPr>
          <p:cNvSpPr/>
          <p:nvPr/>
        </p:nvSpPr>
        <p:spPr>
          <a:xfrm>
            <a:off x="5654039" y="3046275"/>
            <a:ext cx="883922" cy="765450"/>
          </a:xfrm>
          <a:custGeom>
            <a:avLst/>
            <a:gdLst>
              <a:gd name="connsiteX0" fmla="*/ 205065 w 605876"/>
              <a:gd name="connsiteY0" fmla="*/ 428776 h 524672"/>
              <a:gd name="connsiteX1" fmla="*/ 226551 w 605876"/>
              <a:gd name="connsiteY1" fmla="*/ 446081 h 524672"/>
              <a:gd name="connsiteX2" fmla="*/ 233109 w 605876"/>
              <a:gd name="connsiteY2" fmla="*/ 453684 h 524672"/>
              <a:gd name="connsiteX3" fmla="*/ 228349 w 605876"/>
              <a:gd name="connsiteY3" fmla="*/ 499196 h 524672"/>
              <a:gd name="connsiteX4" fmla="*/ 223377 w 605876"/>
              <a:gd name="connsiteY4" fmla="*/ 507538 h 524672"/>
              <a:gd name="connsiteX5" fmla="*/ 141188 w 605876"/>
              <a:gd name="connsiteY5" fmla="*/ 476282 h 524672"/>
              <a:gd name="connsiteX6" fmla="*/ 176835 w 605876"/>
              <a:gd name="connsiteY6" fmla="*/ 430241 h 524672"/>
              <a:gd name="connsiteX7" fmla="*/ 205065 w 605876"/>
              <a:gd name="connsiteY7" fmla="*/ 428776 h 524672"/>
              <a:gd name="connsiteX8" fmla="*/ 481191 w 605876"/>
              <a:gd name="connsiteY8" fmla="*/ 426712 h 524672"/>
              <a:gd name="connsiteX9" fmla="*/ 499583 w 605876"/>
              <a:gd name="connsiteY9" fmla="*/ 434333 h 524672"/>
              <a:gd name="connsiteX10" fmla="*/ 510478 w 605876"/>
              <a:gd name="connsiteY10" fmla="*/ 438454 h 524672"/>
              <a:gd name="connsiteX11" fmla="*/ 526874 w 605876"/>
              <a:gd name="connsiteY11" fmla="*/ 493716 h 524672"/>
              <a:gd name="connsiteX12" fmla="*/ 478851 w 605876"/>
              <a:gd name="connsiteY12" fmla="*/ 524041 h 524672"/>
              <a:gd name="connsiteX13" fmla="*/ 435059 w 605876"/>
              <a:gd name="connsiteY13" fmla="*/ 484629 h 524672"/>
              <a:gd name="connsiteX14" fmla="*/ 460022 w 605876"/>
              <a:gd name="connsiteY14" fmla="*/ 432008 h 524672"/>
              <a:gd name="connsiteX15" fmla="*/ 481191 w 605876"/>
              <a:gd name="connsiteY15" fmla="*/ 426712 h 524672"/>
              <a:gd name="connsiteX16" fmla="*/ 53061 w 605876"/>
              <a:gd name="connsiteY16" fmla="*/ 1 h 524672"/>
              <a:gd name="connsiteX17" fmla="*/ 98044 w 605876"/>
              <a:gd name="connsiteY17" fmla="*/ 2087 h 524672"/>
              <a:gd name="connsiteX18" fmla="*/ 147021 w 605876"/>
              <a:gd name="connsiteY18" fmla="*/ 21735 h 524672"/>
              <a:gd name="connsiteX19" fmla="*/ 159609 w 605876"/>
              <a:gd name="connsiteY19" fmla="*/ 48882 h 524672"/>
              <a:gd name="connsiteX20" fmla="*/ 576919 w 605876"/>
              <a:gd name="connsiteY20" fmla="*/ 34622 h 524672"/>
              <a:gd name="connsiteX21" fmla="*/ 604951 w 605876"/>
              <a:gd name="connsiteY21" fmla="*/ 62508 h 524672"/>
              <a:gd name="connsiteX22" fmla="*/ 551531 w 605876"/>
              <a:gd name="connsiteY22" fmla="*/ 185886 h 524672"/>
              <a:gd name="connsiteX23" fmla="*/ 509959 w 605876"/>
              <a:gd name="connsiteY23" fmla="*/ 288244 h 524672"/>
              <a:gd name="connsiteX24" fmla="*/ 501919 w 605876"/>
              <a:gd name="connsiteY24" fmla="*/ 295532 h 524672"/>
              <a:gd name="connsiteX25" fmla="*/ 486898 w 605876"/>
              <a:gd name="connsiteY25" fmla="*/ 302082 h 524672"/>
              <a:gd name="connsiteX26" fmla="*/ 487216 w 605876"/>
              <a:gd name="connsiteY26" fmla="*/ 302927 h 524672"/>
              <a:gd name="connsiteX27" fmla="*/ 212394 w 605876"/>
              <a:gd name="connsiteY27" fmla="*/ 303772 h 524672"/>
              <a:gd name="connsiteX28" fmla="*/ 198748 w 605876"/>
              <a:gd name="connsiteY28" fmla="*/ 360813 h 524672"/>
              <a:gd name="connsiteX29" fmla="*/ 533865 w 605876"/>
              <a:gd name="connsiteY29" fmla="*/ 360285 h 524672"/>
              <a:gd name="connsiteX30" fmla="*/ 533865 w 605876"/>
              <a:gd name="connsiteY30" fmla="*/ 403594 h 524672"/>
              <a:gd name="connsiteX31" fmla="*/ 167225 w 605876"/>
              <a:gd name="connsiteY31" fmla="*/ 406340 h 524672"/>
              <a:gd name="connsiteX32" fmla="*/ 145434 w 605876"/>
              <a:gd name="connsiteY32" fmla="*/ 377714 h 524672"/>
              <a:gd name="connsiteX33" fmla="*/ 181612 w 605876"/>
              <a:gd name="connsiteY33" fmla="*/ 279793 h 524672"/>
              <a:gd name="connsiteX34" fmla="*/ 181506 w 605876"/>
              <a:gd name="connsiteY34" fmla="*/ 279793 h 524672"/>
              <a:gd name="connsiteX35" fmla="*/ 131789 w 605876"/>
              <a:gd name="connsiteY35" fmla="*/ 122507 h 524672"/>
              <a:gd name="connsiteX36" fmla="*/ 98044 w 605876"/>
              <a:gd name="connsiteY36" fmla="*/ 47298 h 524672"/>
              <a:gd name="connsiteX37" fmla="*/ 30979 w 605876"/>
              <a:gd name="connsiteY37" fmla="*/ 45291 h 524672"/>
              <a:gd name="connsiteX38" fmla="*/ 20824 w 605876"/>
              <a:gd name="connsiteY38" fmla="*/ 47931 h 524672"/>
              <a:gd name="connsiteX39" fmla="*/ 10140 w 605876"/>
              <a:gd name="connsiteY39" fmla="*/ 8214 h 524672"/>
              <a:gd name="connsiteX40" fmla="*/ 53061 w 605876"/>
              <a:gd name="connsiteY40" fmla="*/ 1 h 524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605876" h="524672">
                <a:moveTo>
                  <a:pt x="205065" y="428776"/>
                </a:moveTo>
                <a:cubicBezTo>
                  <a:pt x="214175" y="431298"/>
                  <a:pt x="222161" y="436947"/>
                  <a:pt x="226551" y="446081"/>
                </a:cubicBezTo>
                <a:cubicBezTo>
                  <a:pt x="229089" y="448299"/>
                  <a:pt x="231310" y="450833"/>
                  <a:pt x="233109" y="453684"/>
                </a:cubicBezTo>
                <a:cubicBezTo>
                  <a:pt x="242100" y="468151"/>
                  <a:pt x="238186" y="486102"/>
                  <a:pt x="228349" y="499196"/>
                </a:cubicBezTo>
                <a:cubicBezTo>
                  <a:pt x="226974" y="502047"/>
                  <a:pt x="225493" y="504793"/>
                  <a:pt x="223377" y="507538"/>
                </a:cubicBezTo>
                <a:cubicBezTo>
                  <a:pt x="196721" y="542174"/>
                  <a:pt x="136746" y="520527"/>
                  <a:pt x="141188" y="476282"/>
                </a:cubicBezTo>
                <a:cubicBezTo>
                  <a:pt x="143198" y="455902"/>
                  <a:pt x="157690" y="437528"/>
                  <a:pt x="176835" y="430241"/>
                </a:cubicBezTo>
                <a:cubicBezTo>
                  <a:pt x="185721" y="426862"/>
                  <a:pt x="195955" y="426255"/>
                  <a:pt x="205065" y="428776"/>
                </a:cubicBezTo>
                <a:close/>
                <a:moveTo>
                  <a:pt x="481191" y="426712"/>
                </a:moveTo>
                <a:cubicBezTo>
                  <a:pt x="488080" y="427095"/>
                  <a:pt x="494506" y="429631"/>
                  <a:pt x="499583" y="434333"/>
                </a:cubicBezTo>
                <a:cubicBezTo>
                  <a:pt x="503391" y="435178"/>
                  <a:pt x="507093" y="436446"/>
                  <a:pt x="510478" y="438454"/>
                </a:cubicBezTo>
                <a:cubicBezTo>
                  <a:pt x="529201" y="449548"/>
                  <a:pt x="536499" y="474274"/>
                  <a:pt x="526874" y="493716"/>
                </a:cubicBezTo>
                <a:cubicBezTo>
                  <a:pt x="518517" y="510727"/>
                  <a:pt x="498102" y="524886"/>
                  <a:pt x="478851" y="524041"/>
                </a:cubicBezTo>
                <a:cubicBezTo>
                  <a:pt x="456743" y="522984"/>
                  <a:pt x="438655" y="505973"/>
                  <a:pt x="435059" y="484629"/>
                </a:cubicBezTo>
                <a:cubicBezTo>
                  <a:pt x="431568" y="464024"/>
                  <a:pt x="441723" y="442363"/>
                  <a:pt x="460022" y="432008"/>
                </a:cubicBezTo>
                <a:cubicBezTo>
                  <a:pt x="466951" y="428099"/>
                  <a:pt x="474302" y="426329"/>
                  <a:pt x="481191" y="426712"/>
                </a:cubicBezTo>
                <a:close/>
                <a:moveTo>
                  <a:pt x="53061" y="1"/>
                </a:moveTo>
                <a:cubicBezTo>
                  <a:pt x="68584" y="54"/>
                  <a:pt x="84451" y="1823"/>
                  <a:pt x="98044" y="2087"/>
                </a:cubicBezTo>
                <a:cubicBezTo>
                  <a:pt x="121634" y="2510"/>
                  <a:pt x="134433" y="1453"/>
                  <a:pt x="147021" y="21735"/>
                </a:cubicBezTo>
                <a:cubicBezTo>
                  <a:pt x="151887" y="29657"/>
                  <a:pt x="156013" y="38847"/>
                  <a:pt x="159609" y="48882"/>
                </a:cubicBezTo>
                <a:cubicBezTo>
                  <a:pt x="300405" y="43072"/>
                  <a:pt x="435700" y="56593"/>
                  <a:pt x="576919" y="34622"/>
                </a:cubicBezTo>
                <a:cubicBezTo>
                  <a:pt x="593315" y="31981"/>
                  <a:pt x="610028" y="44340"/>
                  <a:pt x="604951" y="62508"/>
                </a:cubicBezTo>
                <a:cubicBezTo>
                  <a:pt x="592363" y="106240"/>
                  <a:pt x="565811" y="142789"/>
                  <a:pt x="551531" y="185886"/>
                </a:cubicBezTo>
                <a:cubicBezTo>
                  <a:pt x="539154" y="223175"/>
                  <a:pt x="532279" y="255392"/>
                  <a:pt x="509959" y="288244"/>
                </a:cubicBezTo>
                <a:cubicBezTo>
                  <a:pt x="507632" y="291624"/>
                  <a:pt x="504881" y="293948"/>
                  <a:pt x="501919" y="295532"/>
                </a:cubicBezTo>
                <a:cubicBezTo>
                  <a:pt x="498217" y="299335"/>
                  <a:pt x="493351" y="302082"/>
                  <a:pt x="486898" y="302082"/>
                </a:cubicBezTo>
                <a:lnTo>
                  <a:pt x="487216" y="302927"/>
                </a:lnTo>
                <a:cubicBezTo>
                  <a:pt x="404282" y="309581"/>
                  <a:pt x="294481" y="328384"/>
                  <a:pt x="212394" y="303772"/>
                </a:cubicBezTo>
                <a:cubicBezTo>
                  <a:pt x="210067" y="323102"/>
                  <a:pt x="204990" y="342010"/>
                  <a:pt x="198748" y="360813"/>
                </a:cubicBezTo>
                <a:cubicBezTo>
                  <a:pt x="310348" y="359756"/>
                  <a:pt x="422371" y="356904"/>
                  <a:pt x="533865" y="360285"/>
                </a:cubicBezTo>
                <a:cubicBezTo>
                  <a:pt x="561898" y="361024"/>
                  <a:pt x="561686" y="402537"/>
                  <a:pt x="533865" y="403594"/>
                </a:cubicBezTo>
                <a:cubicBezTo>
                  <a:pt x="411899" y="408453"/>
                  <a:pt x="289298" y="405706"/>
                  <a:pt x="167225" y="406340"/>
                </a:cubicBezTo>
                <a:cubicBezTo>
                  <a:pt x="153157" y="406340"/>
                  <a:pt x="140780" y="391763"/>
                  <a:pt x="145434" y="377714"/>
                </a:cubicBezTo>
                <a:cubicBezTo>
                  <a:pt x="156542" y="344440"/>
                  <a:pt x="164793" y="310321"/>
                  <a:pt x="181612" y="279793"/>
                </a:cubicBezTo>
                <a:cubicBezTo>
                  <a:pt x="181506" y="279793"/>
                  <a:pt x="181506" y="279793"/>
                  <a:pt x="181506" y="279793"/>
                </a:cubicBezTo>
                <a:cubicBezTo>
                  <a:pt x="164369" y="227505"/>
                  <a:pt x="148291" y="174901"/>
                  <a:pt x="131789" y="122507"/>
                </a:cubicBezTo>
                <a:cubicBezTo>
                  <a:pt x="125230" y="101698"/>
                  <a:pt x="120470" y="57544"/>
                  <a:pt x="98044" y="47298"/>
                </a:cubicBezTo>
                <a:cubicBezTo>
                  <a:pt x="90957" y="44023"/>
                  <a:pt x="37854" y="42016"/>
                  <a:pt x="30979" y="45291"/>
                </a:cubicBezTo>
                <a:cubicBezTo>
                  <a:pt x="27488" y="46981"/>
                  <a:pt x="24632" y="47614"/>
                  <a:pt x="20824" y="47931"/>
                </a:cubicBezTo>
                <a:cubicBezTo>
                  <a:pt x="-439" y="49410"/>
                  <a:pt x="-7843" y="18037"/>
                  <a:pt x="10140" y="8214"/>
                </a:cubicBezTo>
                <a:cubicBezTo>
                  <a:pt x="22358" y="1612"/>
                  <a:pt x="37537" y="-52"/>
                  <a:pt x="53061" y="1"/>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custDataLst>
      <p:tags r:id="rId2"/>
    </p:custDataLst>
    <p:extLst>
      <p:ext uri="{BB962C8B-B14F-4D97-AF65-F5344CB8AC3E}">
        <p14:creationId xmlns:p14="http://schemas.microsoft.com/office/powerpoint/2010/main" val="113075887"/>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2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任意形状 9">
            <a:extLst>
              <a:ext uri="{FF2B5EF4-FFF2-40B4-BE49-F238E27FC236}">
                <a16:creationId xmlns:a16="http://schemas.microsoft.com/office/drawing/2014/main" id="{79C0392D-8AB4-4C9C-BB47-E593C645F444}"/>
              </a:ext>
            </a:extLst>
          </p:cNvPr>
          <p:cNvSpPr/>
          <p:nvPr/>
        </p:nvSpPr>
        <p:spPr>
          <a:xfrm>
            <a:off x="0" y="6457950"/>
            <a:ext cx="12192000" cy="400050"/>
          </a:xfrm>
          <a:custGeom>
            <a:avLst/>
            <a:gdLst>
              <a:gd name="connsiteX0" fmla="*/ 12192000 w 12192000"/>
              <a:gd name="connsiteY0" fmla="*/ 0 h 329410"/>
              <a:gd name="connsiteX1" fmla="*/ 12192000 w 12192000"/>
              <a:gd name="connsiteY1" fmla="*/ 329410 h 329410"/>
              <a:gd name="connsiteX2" fmla="*/ 0 w 12192000"/>
              <a:gd name="connsiteY2" fmla="*/ 329410 h 329410"/>
              <a:gd name="connsiteX3" fmla="*/ 0 w 12192000"/>
              <a:gd name="connsiteY3" fmla="*/ 29375 h 329410"/>
              <a:gd name="connsiteX4" fmla="*/ 577089 w 12192000"/>
              <a:gd name="connsiteY4" fmla="*/ 49593 h 329410"/>
              <a:gd name="connsiteX5" fmla="*/ 5704114 w 12192000"/>
              <a:gd name="connsiteY5" fmla="*/ 124873 h 329410"/>
              <a:gd name="connsiteX6" fmla="*/ 11982536 w 12192000"/>
              <a:gd name="connsiteY6" fmla="*/ 9255 h 329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329410">
                <a:moveTo>
                  <a:pt x="12192000" y="0"/>
                </a:moveTo>
                <a:lnTo>
                  <a:pt x="12192000" y="329410"/>
                </a:lnTo>
                <a:lnTo>
                  <a:pt x="0" y="329410"/>
                </a:lnTo>
                <a:lnTo>
                  <a:pt x="0" y="29375"/>
                </a:lnTo>
                <a:lnTo>
                  <a:pt x="577089" y="49593"/>
                </a:lnTo>
                <a:cubicBezTo>
                  <a:pt x="2152931" y="98068"/>
                  <a:pt x="3885480" y="124873"/>
                  <a:pt x="5704114" y="124873"/>
                </a:cubicBezTo>
                <a:cubicBezTo>
                  <a:pt x="7977407" y="124873"/>
                  <a:pt x="10116192" y="82990"/>
                  <a:pt x="11982536" y="9255"/>
                </a:cubicBezTo>
                <a:close/>
              </a:path>
            </a:pathLst>
          </a:custGeom>
          <a:solidFill>
            <a:schemeClr val="accent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zh-CN" altLang="en-US"/>
          </a:p>
        </p:txBody>
      </p:sp>
      <p:sp>
        <p:nvSpPr>
          <p:cNvPr id="38" name="椭圆 37">
            <a:extLst>
              <a:ext uri="{FF2B5EF4-FFF2-40B4-BE49-F238E27FC236}">
                <a16:creationId xmlns:a16="http://schemas.microsoft.com/office/drawing/2014/main" id="{AAC82409-95A5-4FDC-A3D2-71710DF9540C}"/>
              </a:ext>
            </a:extLst>
          </p:cNvPr>
          <p:cNvSpPr/>
          <p:nvPr/>
        </p:nvSpPr>
        <p:spPr>
          <a:xfrm>
            <a:off x="793601" y="1409167"/>
            <a:ext cx="4261784" cy="4261784"/>
          </a:xfrm>
          <a:prstGeom prst="ellipse">
            <a:avLst/>
          </a:prstGeom>
          <a:noFill/>
          <a:ln w="28575" cap="flat" cmpd="sng" algn="ctr">
            <a:gradFill flip="none" rotWithShape="1">
              <a:gsLst>
                <a:gs pos="0">
                  <a:schemeClr val="accent1">
                    <a:alpha val="0"/>
                  </a:schemeClr>
                </a:gs>
                <a:gs pos="100000">
                  <a:schemeClr val="accent1"/>
                </a:gs>
              </a:gsLst>
              <a:lin ang="0" scaled="1"/>
              <a:tileRect/>
            </a:gra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dirty="0">
              <a:ln>
                <a:noFill/>
              </a:ln>
              <a:solidFill>
                <a:prstClr val="white"/>
              </a:solidFill>
              <a:effectLst/>
              <a:uLnTx/>
              <a:uFillTx/>
              <a:cs typeface="+mn-ea"/>
              <a:sym typeface="+mn-lt"/>
            </a:endParaRPr>
          </a:p>
        </p:txBody>
      </p:sp>
      <p:sp>
        <p:nvSpPr>
          <p:cNvPr id="47" name="椭圆 46">
            <a:extLst>
              <a:ext uri="{FF2B5EF4-FFF2-40B4-BE49-F238E27FC236}">
                <a16:creationId xmlns:a16="http://schemas.microsoft.com/office/drawing/2014/main" id="{45085F74-0F22-4543-964B-34C89AC834E0}"/>
              </a:ext>
            </a:extLst>
          </p:cNvPr>
          <p:cNvSpPr/>
          <p:nvPr/>
        </p:nvSpPr>
        <p:spPr>
          <a:xfrm>
            <a:off x="1125354" y="1740920"/>
            <a:ext cx="3598278" cy="3598278"/>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solidFill>
                <a:prstClr val="white"/>
              </a:solidFill>
              <a:cs typeface="+mn-ea"/>
              <a:sym typeface="+mn-lt"/>
            </a:endParaRPr>
          </a:p>
        </p:txBody>
      </p:sp>
      <p:sp>
        <p:nvSpPr>
          <p:cNvPr id="56" name="椭圆 55">
            <a:extLst>
              <a:ext uri="{FF2B5EF4-FFF2-40B4-BE49-F238E27FC236}">
                <a16:creationId xmlns:a16="http://schemas.microsoft.com/office/drawing/2014/main" id="{9F59ECEC-FF2F-43C6-BC8C-DC42E361E63E}"/>
              </a:ext>
            </a:extLst>
          </p:cNvPr>
          <p:cNvSpPr/>
          <p:nvPr/>
        </p:nvSpPr>
        <p:spPr>
          <a:xfrm>
            <a:off x="4347288" y="4683470"/>
            <a:ext cx="532435" cy="532435"/>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solidFill>
                <a:prstClr val="white"/>
              </a:solidFill>
              <a:cs typeface="+mn-ea"/>
              <a:sym typeface="+mn-lt"/>
            </a:endParaRPr>
          </a:p>
        </p:txBody>
      </p:sp>
      <p:sp>
        <p:nvSpPr>
          <p:cNvPr id="57" name="图形 2">
            <a:extLst>
              <a:ext uri="{FF2B5EF4-FFF2-40B4-BE49-F238E27FC236}">
                <a16:creationId xmlns:a16="http://schemas.microsoft.com/office/drawing/2014/main" id="{9AD36EA0-B27F-4E18-85C0-A14B6F1E15E4}"/>
              </a:ext>
            </a:extLst>
          </p:cNvPr>
          <p:cNvSpPr/>
          <p:nvPr/>
        </p:nvSpPr>
        <p:spPr>
          <a:xfrm>
            <a:off x="4491668" y="4802114"/>
            <a:ext cx="243675" cy="295146"/>
          </a:xfrm>
          <a:custGeom>
            <a:avLst/>
            <a:gdLst>
              <a:gd name="connsiteX0" fmla="*/ 394463 w 617210"/>
              <a:gd name="connsiteY0" fmla="*/ 131115 h 747580"/>
              <a:gd name="connsiteX1" fmla="*/ 175068 w 617210"/>
              <a:gd name="connsiteY1" fmla="*/ 131115 h 747580"/>
              <a:gd name="connsiteX2" fmla="*/ 175068 w 617210"/>
              <a:gd name="connsiteY2" fmla="*/ 43581 h 747580"/>
              <a:gd name="connsiteX3" fmla="*/ 219395 w 617210"/>
              <a:gd name="connsiteY3" fmla="*/ 43581 h 747580"/>
              <a:gd name="connsiteX4" fmla="*/ 232059 w 617210"/>
              <a:gd name="connsiteY4" fmla="*/ 12665 h 747580"/>
              <a:gd name="connsiteX5" fmla="*/ 262975 w 617210"/>
              <a:gd name="connsiteY5" fmla="*/ 0 h 747580"/>
              <a:gd name="connsiteX6" fmla="*/ 307301 w 617210"/>
              <a:gd name="connsiteY6" fmla="*/ 0 h 747580"/>
              <a:gd name="connsiteX7" fmla="*/ 338217 w 617210"/>
              <a:gd name="connsiteY7" fmla="*/ 12665 h 747580"/>
              <a:gd name="connsiteX8" fmla="*/ 350882 w 617210"/>
              <a:gd name="connsiteY8" fmla="*/ 43581 h 747580"/>
              <a:gd name="connsiteX9" fmla="*/ 395208 w 617210"/>
              <a:gd name="connsiteY9" fmla="*/ 43581 h 747580"/>
              <a:gd name="connsiteX10" fmla="*/ 394463 w 617210"/>
              <a:gd name="connsiteY10" fmla="*/ 131115 h 747580"/>
              <a:gd name="connsiteX11" fmla="*/ 284952 w 617210"/>
              <a:gd name="connsiteY11" fmla="*/ 91632 h 747580"/>
              <a:gd name="connsiteX12" fmla="*/ 304322 w 617210"/>
              <a:gd name="connsiteY12" fmla="*/ 83437 h 747580"/>
              <a:gd name="connsiteX13" fmla="*/ 312516 w 617210"/>
              <a:gd name="connsiteY13" fmla="*/ 64068 h 747580"/>
              <a:gd name="connsiteX14" fmla="*/ 304322 w 617210"/>
              <a:gd name="connsiteY14" fmla="*/ 44326 h 747580"/>
              <a:gd name="connsiteX15" fmla="*/ 284952 w 617210"/>
              <a:gd name="connsiteY15" fmla="*/ 36504 h 747580"/>
              <a:gd name="connsiteX16" fmla="*/ 265210 w 617210"/>
              <a:gd name="connsiteY16" fmla="*/ 44326 h 747580"/>
              <a:gd name="connsiteX17" fmla="*/ 257388 w 617210"/>
              <a:gd name="connsiteY17" fmla="*/ 64068 h 747580"/>
              <a:gd name="connsiteX18" fmla="*/ 265210 w 617210"/>
              <a:gd name="connsiteY18" fmla="*/ 83437 h 747580"/>
              <a:gd name="connsiteX19" fmla="*/ 284952 w 617210"/>
              <a:gd name="connsiteY19" fmla="*/ 91632 h 747580"/>
              <a:gd name="connsiteX20" fmla="*/ 260368 w 617210"/>
              <a:gd name="connsiteY20" fmla="*/ 569904 h 747580"/>
              <a:gd name="connsiteX21" fmla="*/ 259995 w 617210"/>
              <a:gd name="connsiteY21" fmla="*/ 579588 h 747580"/>
              <a:gd name="connsiteX22" fmla="*/ 259623 w 617210"/>
              <a:gd name="connsiteY22" fmla="*/ 590018 h 747580"/>
              <a:gd name="connsiteX23" fmla="*/ 268563 w 617210"/>
              <a:gd name="connsiteY23" fmla="*/ 649989 h 747580"/>
              <a:gd name="connsiteX24" fmla="*/ 294637 w 617210"/>
              <a:gd name="connsiteY24" fmla="*/ 702137 h 747580"/>
              <a:gd name="connsiteX25" fmla="*/ 90141 w 617210"/>
              <a:gd name="connsiteY25" fmla="*/ 702137 h 747580"/>
              <a:gd name="connsiteX26" fmla="*/ 61088 w 617210"/>
              <a:gd name="connsiteY26" fmla="*/ 694314 h 747580"/>
              <a:gd name="connsiteX27" fmla="*/ 31661 w 617210"/>
              <a:gd name="connsiteY27" fmla="*/ 673828 h 747580"/>
              <a:gd name="connsiteX28" fmla="*/ 8940 w 617210"/>
              <a:gd name="connsiteY28" fmla="*/ 645146 h 747580"/>
              <a:gd name="connsiteX29" fmla="*/ 0 w 617210"/>
              <a:gd name="connsiteY29" fmla="*/ 611623 h 747580"/>
              <a:gd name="connsiteX30" fmla="*/ 0 w 617210"/>
              <a:gd name="connsiteY30" fmla="*/ 178048 h 747580"/>
              <a:gd name="connsiteX31" fmla="*/ 7077 w 617210"/>
              <a:gd name="connsiteY31" fmla="*/ 147505 h 747580"/>
              <a:gd name="connsiteX32" fmla="*/ 25329 w 617210"/>
              <a:gd name="connsiteY32" fmla="*/ 118451 h 747580"/>
              <a:gd name="connsiteX33" fmla="*/ 51403 w 617210"/>
              <a:gd name="connsiteY33" fmla="*/ 96474 h 747580"/>
              <a:gd name="connsiteX34" fmla="*/ 82320 w 617210"/>
              <a:gd name="connsiteY34" fmla="*/ 87534 h 747580"/>
              <a:gd name="connsiteX35" fmla="*/ 132233 w 617210"/>
              <a:gd name="connsiteY35" fmla="*/ 87534 h 747580"/>
              <a:gd name="connsiteX36" fmla="*/ 132233 w 617210"/>
              <a:gd name="connsiteY36" fmla="*/ 175069 h 747580"/>
              <a:gd name="connsiteX37" fmla="*/ 438417 w 617210"/>
              <a:gd name="connsiteY37" fmla="*/ 175069 h 747580"/>
              <a:gd name="connsiteX38" fmla="*/ 438417 w 617210"/>
              <a:gd name="connsiteY38" fmla="*/ 87534 h 747580"/>
              <a:gd name="connsiteX39" fmla="*/ 481997 w 617210"/>
              <a:gd name="connsiteY39" fmla="*/ 87534 h 747580"/>
              <a:gd name="connsiteX40" fmla="*/ 514031 w 617210"/>
              <a:gd name="connsiteY40" fmla="*/ 94611 h 747580"/>
              <a:gd name="connsiteX41" fmla="*/ 542340 w 617210"/>
              <a:gd name="connsiteY41" fmla="*/ 113608 h 747580"/>
              <a:gd name="connsiteX42" fmla="*/ 563200 w 617210"/>
              <a:gd name="connsiteY42" fmla="*/ 142290 h 747580"/>
              <a:gd name="connsiteX43" fmla="*/ 571394 w 617210"/>
              <a:gd name="connsiteY43" fmla="*/ 178048 h 747580"/>
              <a:gd name="connsiteX44" fmla="*/ 571394 w 617210"/>
              <a:gd name="connsiteY44" fmla="*/ 426124 h 747580"/>
              <a:gd name="connsiteX45" fmla="*/ 518873 w 617210"/>
              <a:gd name="connsiteY45" fmla="*/ 400796 h 747580"/>
              <a:gd name="connsiteX46" fmla="*/ 459276 w 617210"/>
              <a:gd name="connsiteY46" fmla="*/ 391855 h 747580"/>
              <a:gd name="connsiteX47" fmla="*/ 454433 w 617210"/>
              <a:gd name="connsiteY47" fmla="*/ 391855 h 747580"/>
              <a:gd name="connsiteX48" fmla="*/ 475293 w 617210"/>
              <a:gd name="connsiteY48" fmla="*/ 375839 h 747580"/>
              <a:gd name="connsiteX49" fmla="*/ 483487 w 617210"/>
              <a:gd name="connsiteY49" fmla="*/ 350510 h 747580"/>
              <a:gd name="connsiteX50" fmla="*/ 470450 w 617210"/>
              <a:gd name="connsiteY50" fmla="*/ 319593 h 747580"/>
              <a:gd name="connsiteX51" fmla="*/ 439161 w 617210"/>
              <a:gd name="connsiteY51" fmla="*/ 306929 h 747580"/>
              <a:gd name="connsiteX52" fmla="*/ 131488 w 617210"/>
              <a:gd name="connsiteY52" fmla="*/ 306929 h 747580"/>
              <a:gd name="connsiteX53" fmla="*/ 100199 w 617210"/>
              <a:gd name="connsiteY53" fmla="*/ 319593 h 747580"/>
              <a:gd name="connsiteX54" fmla="*/ 87162 w 617210"/>
              <a:gd name="connsiteY54" fmla="*/ 350510 h 747580"/>
              <a:gd name="connsiteX55" fmla="*/ 100199 w 617210"/>
              <a:gd name="connsiteY55" fmla="*/ 381799 h 747580"/>
              <a:gd name="connsiteX56" fmla="*/ 131488 w 617210"/>
              <a:gd name="connsiteY56" fmla="*/ 394835 h 747580"/>
              <a:gd name="connsiteX57" fmla="*/ 425007 w 617210"/>
              <a:gd name="connsiteY57" fmla="*/ 394835 h 747580"/>
              <a:gd name="connsiteX58" fmla="*/ 348647 w 617210"/>
              <a:gd name="connsiteY58" fmla="*/ 424634 h 747580"/>
              <a:gd name="connsiteX59" fmla="*/ 292030 w 617210"/>
              <a:gd name="connsiteY59" fmla="*/ 482369 h 747580"/>
              <a:gd name="connsiteX60" fmla="*/ 131488 w 617210"/>
              <a:gd name="connsiteY60" fmla="*/ 482369 h 747580"/>
              <a:gd name="connsiteX61" fmla="*/ 100199 w 617210"/>
              <a:gd name="connsiteY61" fmla="*/ 495035 h 747580"/>
              <a:gd name="connsiteX62" fmla="*/ 87162 w 617210"/>
              <a:gd name="connsiteY62" fmla="*/ 525951 h 747580"/>
              <a:gd name="connsiteX63" fmla="*/ 100199 w 617210"/>
              <a:gd name="connsiteY63" fmla="*/ 557240 h 747580"/>
              <a:gd name="connsiteX64" fmla="*/ 131488 w 617210"/>
              <a:gd name="connsiteY64" fmla="*/ 570277 h 747580"/>
              <a:gd name="connsiteX65" fmla="*/ 260368 w 617210"/>
              <a:gd name="connsiteY65" fmla="*/ 569904 h 747580"/>
              <a:gd name="connsiteX66" fmla="*/ 462628 w 617210"/>
              <a:gd name="connsiteY66" fmla="*/ 605290 h 747580"/>
              <a:gd name="connsiteX67" fmla="*/ 433946 w 617210"/>
              <a:gd name="connsiteY67" fmla="*/ 633972 h 747580"/>
              <a:gd name="connsiteX68" fmla="*/ 433946 w 617210"/>
              <a:gd name="connsiteY68" fmla="*/ 651851 h 747580"/>
              <a:gd name="connsiteX69" fmla="*/ 491682 w 617210"/>
              <a:gd name="connsiteY69" fmla="*/ 651851 h 747580"/>
              <a:gd name="connsiteX70" fmla="*/ 491682 w 617210"/>
              <a:gd name="connsiteY70" fmla="*/ 633972 h 747580"/>
              <a:gd name="connsiteX71" fmla="*/ 462628 w 617210"/>
              <a:gd name="connsiteY71" fmla="*/ 605290 h 747580"/>
              <a:gd name="connsiteX72" fmla="*/ 433946 w 617210"/>
              <a:gd name="connsiteY72" fmla="*/ 552770 h 747580"/>
              <a:gd name="connsiteX73" fmla="*/ 462628 w 617210"/>
              <a:gd name="connsiteY73" fmla="*/ 581451 h 747580"/>
              <a:gd name="connsiteX74" fmla="*/ 491309 w 617210"/>
              <a:gd name="connsiteY74" fmla="*/ 552770 h 747580"/>
              <a:gd name="connsiteX75" fmla="*/ 491309 w 617210"/>
              <a:gd name="connsiteY75" fmla="*/ 534891 h 747580"/>
              <a:gd name="connsiteX76" fmla="*/ 433574 w 617210"/>
              <a:gd name="connsiteY76" fmla="*/ 534891 h 747580"/>
              <a:gd name="connsiteX77" fmla="*/ 433574 w 617210"/>
              <a:gd name="connsiteY77" fmla="*/ 552770 h 747580"/>
              <a:gd name="connsiteX78" fmla="*/ 604918 w 617210"/>
              <a:gd name="connsiteY78" fmla="*/ 533773 h 747580"/>
              <a:gd name="connsiteX79" fmla="*/ 571766 w 617210"/>
              <a:gd name="connsiteY79" fmla="*/ 484605 h 747580"/>
              <a:gd name="connsiteX80" fmla="*/ 522598 w 617210"/>
              <a:gd name="connsiteY80" fmla="*/ 451454 h 747580"/>
              <a:gd name="connsiteX81" fmla="*/ 463001 w 617210"/>
              <a:gd name="connsiteY81" fmla="*/ 439162 h 747580"/>
              <a:gd name="connsiteX82" fmla="*/ 402658 w 617210"/>
              <a:gd name="connsiteY82" fmla="*/ 451454 h 747580"/>
              <a:gd name="connsiteX83" fmla="*/ 353490 w 617210"/>
              <a:gd name="connsiteY83" fmla="*/ 484605 h 747580"/>
              <a:gd name="connsiteX84" fmla="*/ 320338 w 617210"/>
              <a:gd name="connsiteY84" fmla="*/ 533773 h 747580"/>
              <a:gd name="connsiteX85" fmla="*/ 308046 w 617210"/>
              <a:gd name="connsiteY85" fmla="*/ 593370 h 747580"/>
              <a:gd name="connsiteX86" fmla="*/ 320338 w 617210"/>
              <a:gd name="connsiteY86" fmla="*/ 653713 h 747580"/>
              <a:gd name="connsiteX87" fmla="*/ 353490 w 617210"/>
              <a:gd name="connsiteY87" fmla="*/ 702881 h 747580"/>
              <a:gd name="connsiteX88" fmla="*/ 402658 w 617210"/>
              <a:gd name="connsiteY88" fmla="*/ 735658 h 747580"/>
              <a:gd name="connsiteX89" fmla="*/ 463001 w 617210"/>
              <a:gd name="connsiteY89" fmla="*/ 747580 h 747580"/>
              <a:gd name="connsiteX90" fmla="*/ 522598 w 617210"/>
              <a:gd name="connsiteY90" fmla="*/ 735658 h 747580"/>
              <a:gd name="connsiteX91" fmla="*/ 571766 w 617210"/>
              <a:gd name="connsiteY91" fmla="*/ 702881 h 747580"/>
              <a:gd name="connsiteX92" fmla="*/ 604918 w 617210"/>
              <a:gd name="connsiteY92" fmla="*/ 653713 h 747580"/>
              <a:gd name="connsiteX93" fmla="*/ 617210 w 617210"/>
              <a:gd name="connsiteY93" fmla="*/ 593370 h 747580"/>
              <a:gd name="connsiteX94" fmla="*/ 604918 w 617210"/>
              <a:gd name="connsiteY94" fmla="*/ 533773 h 747580"/>
              <a:gd name="connsiteX95" fmla="*/ 514776 w 617210"/>
              <a:gd name="connsiteY95" fmla="*/ 633972 h 747580"/>
              <a:gd name="connsiteX96" fmla="*/ 514776 w 617210"/>
              <a:gd name="connsiteY96" fmla="*/ 651851 h 747580"/>
              <a:gd name="connsiteX97" fmla="*/ 525951 w 617210"/>
              <a:gd name="connsiteY97" fmla="*/ 663398 h 747580"/>
              <a:gd name="connsiteX98" fmla="*/ 514403 w 617210"/>
              <a:gd name="connsiteY98" fmla="*/ 674945 h 747580"/>
              <a:gd name="connsiteX99" fmla="*/ 410852 w 617210"/>
              <a:gd name="connsiteY99" fmla="*/ 674945 h 747580"/>
              <a:gd name="connsiteX100" fmla="*/ 399305 w 617210"/>
              <a:gd name="connsiteY100" fmla="*/ 663398 h 747580"/>
              <a:gd name="connsiteX101" fmla="*/ 410480 w 617210"/>
              <a:gd name="connsiteY101" fmla="*/ 651851 h 747580"/>
              <a:gd name="connsiteX102" fmla="*/ 410480 w 617210"/>
              <a:gd name="connsiteY102" fmla="*/ 633972 h 747580"/>
              <a:gd name="connsiteX103" fmla="*/ 429849 w 617210"/>
              <a:gd name="connsiteY103" fmla="*/ 593370 h 747580"/>
              <a:gd name="connsiteX104" fmla="*/ 410480 w 617210"/>
              <a:gd name="connsiteY104" fmla="*/ 552770 h 747580"/>
              <a:gd name="connsiteX105" fmla="*/ 410480 w 617210"/>
              <a:gd name="connsiteY105" fmla="*/ 534891 h 747580"/>
              <a:gd name="connsiteX106" fmla="*/ 399305 w 617210"/>
              <a:gd name="connsiteY106" fmla="*/ 523343 h 747580"/>
              <a:gd name="connsiteX107" fmla="*/ 410852 w 617210"/>
              <a:gd name="connsiteY107" fmla="*/ 511796 h 747580"/>
              <a:gd name="connsiteX108" fmla="*/ 514403 w 617210"/>
              <a:gd name="connsiteY108" fmla="*/ 511796 h 747580"/>
              <a:gd name="connsiteX109" fmla="*/ 525951 w 617210"/>
              <a:gd name="connsiteY109" fmla="*/ 523343 h 747580"/>
              <a:gd name="connsiteX110" fmla="*/ 514776 w 617210"/>
              <a:gd name="connsiteY110" fmla="*/ 534891 h 747580"/>
              <a:gd name="connsiteX111" fmla="*/ 514776 w 617210"/>
              <a:gd name="connsiteY111" fmla="*/ 552770 h 747580"/>
              <a:gd name="connsiteX112" fmla="*/ 495407 w 617210"/>
              <a:gd name="connsiteY112" fmla="*/ 593370 h 747580"/>
              <a:gd name="connsiteX113" fmla="*/ 514776 w 617210"/>
              <a:gd name="connsiteY113" fmla="*/ 633972 h 747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Lst>
            <a:rect l="l" t="t" r="r" b="b"/>
            <a:pathLst>
              <a:path w="617210" h="747580">
                <a:moveTo>
                  <a:pt x="394463" y="131115"/>
                </a:moveTo>
                <a:lnTo>
                  <a:pt x="175068" y="131115"/>
                </a:lnTo>
                <a:lnTo>
                  <a:pt x="175068" y="43581"/>
                </a:lnTo>
                <a:lnTo>
                  <a:pt x="219395" y="43581"/>
                </a:lnTo>
                <a:cubicBezTo>
                  <a:pt x="219395" y="31289"/>
                  <a:pt x="223492" y="21232"/>
                  <a:pt x="232059" y="12665"/>
                </a:cubicBezTo>
                <a:cubicBezTo>
                  <a:pt x="240626" y="4097"/>
                  <a:pt x="250683" y="0"/>
                  <a:pt x="262975" y="0"/>
                </a:cubicBezTo>
                <a:lnTo>
                  <a:pt x="307301" y="0"/>
                </a:lnTo>
                <a:cubicBezTo>
                  <a:pt x="319593" y="0"/>
                  <a:pt x="329650" y="4097"/>
                  <a:pt x="338217" y="12665"/>
                </a:cubicBezTo>
                <a:cubicBezTo>
                  <a:pt x="346785" y="21232"/>
                  <a:pt x="350882" y="31289"/>
                  <a:pt x="350882" y="43581"/>
                </a:cubicBezTo>
                <a:lnTo>
                  <a:pt x="395208" y="43581"/>
                </a:lnTo>
                <a:lnTo>
                  <a:pt x="394463" y="131115"/>
                </a:lnTo>
                <a:close/>
                <a:moveTo>
                  <a:pt x="284952" y="91632"/>
                </a:moveTo>
                <a:cubicBezTo>
                  <a:pt x="292402" y="91632"/>
                  <a:pt x="298734" y="89024"/>
                  <a:pt x="304322" y="83437"/>
                </a:cubicBezTo>
                <a:cubicBezTo>
                  <a:pt x="309536" y="78222"/>
                  <a:pt x="312516" y="71517"/>
                  <a:pt x="312516" y="64068"/>
                </a:cubicBezTo>
                <a:cubicBezTo>
                  <a:pt x="312516" y="56245"/>
                  <a:pt x="309909" y="49541"/>
                  <a:pt x="304322" y="44326"/>
                </a:cubicBezTo>
                <a:cubicBezTo>
                  <a:pt x="299107" y="39111"/>
                  <a:pt x="292402" y="36504"/>
                  <a:pt x="284952" y="36504"/>
                </a:cubicBezTo>
                <a:cubicBezTo>
                  <a:pt x="277130" y="36504"/>
                  <a:pt x="270425" y="39111"/>
                  <a:pt x="265210" y="44326"/>
                </a:cubicBezTo>
                <a:cubicBezTo>
                  <a:pt x="259995" y="49541"/>
                  <a:pt x="257388" y="55873"/>
                  <a:pt x="257388" y="64068"/>
                </a:cubicBezTo>
                <a:cubicBezTo>
                  <a:pt x="257388" y="71517"/>
                  <a:pt x="259995" y="77850"/>
                  <a:pt x="265210" y="83437"/>
                </a:cubicBezTo>
                <a:cubicBezTo>
                  <a:pt x="270425" y="89024"/>
                  <a:pt x="277130" y="91632"/>
                  <a:pt x="284952" y="91632"/>
                </a:cubicBezTo>
                <a:close/>
                <a:moveTo>
                  <a:pt x="260368" y="569904"/>
                </a:moveTo>
                <a:cubicBezTo>
                  <a:pt x="260368" y="573257"/>
                  <a:pt x="260368" y="576609"/>
                  <a:pt x="259995" y="579588"/>
                </a:cubicBezTo>
                <a:cubicBezTo>
                  <a:pt x="259623" y="582941"/>
                  <a:pt x="259623" y="586293"/>
                  <a:pt x="259623" y="590018"/>
                </a:cubicBezTo>
                <a:cubicBezTo>
                  <a:pt x="259623" y="610877"/>
                  <a:pt x="262603" y="630992"/>
                  <a:pt x="268563" y="649989"/>
                </a:cubicBezTo>
                <a:cubicBezTo>
                  <a:pt x="274523" y="668986"/>
                  <a:pt x="283462" y="686492"/>
                  <a:pt x="294637" y="702137"/>
                </a:cubicBezTo>
                <a:lnTo>
                  <a:pt x="90141" y="702137"/>
                </a:lnTo>
                <a:cubicBezTo>
                  <a:pt x="81202" y="702137"/>
                  <a:pt x="71518" y="699529"/>
                  <a:pt x="61088" y="694314"/>
                </a:cubicBezTo>
                <a:cubicBezTo>
                  <a:pt x="50658" y="689099"/>
                  <a:pt x="40601" y="682395"/>
                  <a:pt x="31661" y="673828"/>
                </a:cubicBezTo>
                <a:cubicBezTo>
                  <a:pt x="22722" y="665261"/>
                  <a:pt x="14899" y="655948"/>
                  <a:pt x="8940" y="645146"/>
                </a:cubicBezTo>
                <a:cubicBezTo>
                  <a:pt x="2980" y="634344"/>
                  <a:pt x="0" y="623169"/>
                  <a:pt x="0" y="611623"/>
                </a:cubicBezTo>
                <a:lnTo>
                  <a:pt x="0" y="178048"/>
                </a:lnTo>
                <a:cubicBezTo>
                  <a:pt x="0" y="168364"/>
                  <a:pt x="2235" y="157934"/>
                  <a:pt x="7077" y="147505"/>
                </a:cubicBezTo>
                <a:cubicBezTo>
                  <a:pt x="11920" y="137075"/>
                  <a:pt x="17879" y="127390"/>
                  <a:pt x="25329" y="118451"/>
                </a:cubicBezTo>
                <a:cubicBezTo>
                  <a:pt x="32779" y="109511"/>
                  <a:pt x="41346" y="102061"/>
                  <a:pt x="51403" y="96474"/>
                </a:cubicBezTo>
                <a:cubicBezTo>
                  <a:pt x="61460" y="90886"/>
                  <a:pt x="71518" y="87534"/>
                  <a:pt x="82320" y="87534"/>
                </a:cubicBezTo>
                <a:lnTo>
                  <a:pt x="132233" y="87534"/>
                </a:lnTo>
                <a:lnTo>
                  <a:pt x="132233" y="175069"/>
                </a:lnTo>
                <a:lnTo>
                  <a:pt x="438417" y="175069"/>
                </a:lnTo>
                <a:lnTo>
                  <a:pt x="438417" y="87534"/>
                </a:lnTo>
                <a:lnTo>
                  <a:pt x="481997" y="87534"/>
                </a:lnTo>
                <a:cubicBezTo>
                  <a:pt x="492799" y="87534"/>
                  <a:pt x="503229" y="89769"/>
                  <a:pt x="514031" y="94611"/>
                </a:cubicBezTo>
                <a:cubicBezTo>
                  <a:pt x="524461" y="99454"/>
                  <a:pt x="534146" y="105414"/>
                  <a:pt x="542340" y="113608"/>
                </a:cubicBezTo>
                <a:cubicBezTo>
                  <a:pt x="550907" y="121431"/>
                  <a:pt x="557612" y="131115"/>
                  <a:pt x="563200" y="142290"/>
                </a:cubicBezTo>
                <a:cubicBezTo>
                  <a:pt x="568414" y="153464"/>
                  <a:pt x="571394" y="165384"/>
                  <a:pt x="571394" y="178048"/>
                </a:cubicBezTo>
                <a:lnTo>
                  <a:pt x="571394" y="426124"/>
                </a:lnTo>
                <a:cubicBezTo>
                  <a:pt x="555005" y="415322"/>
                  <a:pt x="537498" y="407127"/>
                  <a:pt x="518873" y="400796"/>
                </a:cubicBezTo>
                <a:cubicBezTo>
                  <a:pt x="500249" y="394835"/>
                  <a:pt x="480507" y="391855"/>
                  <a:pt x="459276" y="391855"/>
                </a:cubicBezTo>
                <a:lnTo>
                  <a:pt x="454433" y="391855"/>
                </a:lnTo>
                <a:cubicBezTo>
                  <a:pt x="463001" y="388503"/>
                  <a:pt x="469705" y="383288"/>
                  <a:pt x="475293" y="375839"/>
                </a:cubicBezTo>
                <a:cubicBezTo>
                  <a:pt x="480507" y="368389"/>
                  <a:pt x="483487" y="359822"/>
                  <a:pt x="483487" y="350510"/>
                </a:cubicBezTo>
                <a:cubicBezTo>
                  <a:pt x="483487" y="338218"/>
                  <a:pt x="479017" y="328161"/>
                  <a:pt x="470450" y="319593"/>
                </a:cubicBezTo>
                <a:cubicBezTo>
                  <a:pt x="461883" y="311026"/>
                  <a:pt x="451453" y="306929"/>
                  <a:pt x="439161" y="306929"/>
                </a:cubicBezTo>
                <a:lnTo>
                  <a:pt x="131488" y="306929"/>
                </a:lnTo>
                <a:cubicBezTo>
                  <a:pt x="119196" y="306929"/>
                  <a:pt x="108766" y="311026"/>
                  <a:pt x="100199" y="319593"/>
                </a:cubicBezTo>
                <a:cubicBezTo>
                  <a:pt x="91631" y="328161"/>
                  <a:pt x="87162" y="338218"/>
                  <a:pt x="87162" y="350510"/>
                </a:cubicBezTo>
                <a:cubicBezTo>
                  <a:pt x="87162" y="362802"/>
                  <a:pt x="91631" y="373232"/>
                  <a:pt x="100199" y="381799"/>
                </a:cubicBezTo>
                <a:cubicBezTo>
                  <a:pt x="108766" y="390366"/>
                  <a:pt x="119196" y="394835"/>
                  <a:pt x="131488" y="394835"/>
                </a:cubicBezTo>
                <a:lnTo>
                  <a:pt x="425007" y="394835"/>
                </a:lnTo>
                <a:cubicBezTo>
                  <a:pt x="397070" y="399678"/>
                  <a:pt x="371369" y="409362"/>
                  <a:pt x="348647" y="424634"/>
                </a:cubicBezTo>
                <a:cubicBezTo>
                  <a:pt x="325925" y="439906"/>
                  <a:pt x="306929" y="459275"/>
                  <a:pt x="292030" y="482369"/>
                </a:cubicBezTo>
                <a:lnTo>
                  <a:pt x="131488" y="482369"/>
                </a:lnTo>
                <a:cubicBezTo>
                  <a:pt x="119196" y="482369"/>
                  <a:pt x="108766" y="486467"/>
                  <a:pt x="100199" y="495035"/>
                </a:cubicBezTo>
                <a:cubicBezTo>
                  <a:pt x="91631" y="503602"/>
                  <a:pt x="87162" y="513658"/>
                  <a:pt x="87162" y="525951"/>
                </a:cubicBezTo>
                <a:cubicBezTo>
                  <a:pt x="87162" y="538243"/>
                  <a:pt x="91631" y="548673"/>
                  <a:pt x="100199" y="557240"/>
                </a:cubicBezTo>
                <a:cubicBezTo>
                  <a:pt x="108766" y="565806"/>
                  <a:pt x="119196" y="570277"/>
                  <a:pt x="131488" y="570277"/>
                </a:cubicBezTo>
                <a:lnTo>
                  <a:pt x="260368" y="569904"/>
                </a:lnTo>
                <a:close/>
                <a:moveTo>
                  <a:pt x="462628" y="605290"/>
                </a:moveTo>
                <a:cubicBezTo>
                  <a:pt x="446611" y="605290"/>
                  <a:pt x="433946" y="618328"/>
                  <a:pt x="433946" y="633972"/>
                </a:cubicBezTo>
                <a:lnTo>
                  <a:pt x="433946" y="651851"/>
                </a:lnTo>
                <a:lnTo>
                  <a:pt x="491682" y="651851"/>
                </a:lnTo>
                <a:lnTo>
                  <a:pt x="491682" y="633972"/>
                </a:lnTo>
                <a:cubicBezTo>
                  <a:pt x="491682" y="618328"/>
                  <a:pt x="478645" y="605290"/>
                  <a:pt x="462628" y="605290"/>
                </a:cubicBezTo>
                <a:close/>
                <a:moveTo>
                  <a:pt x="433946" y="552770"/>
                </a:moveTo>
                <a:cubicBezTo>
                  <a:pt x="433946" y="568786"/>
                  <a:pt x="446984" y="581451"/>
                  <a:pt x="462628" y="581451"/>
                </a:cubicBezTo>
                <a:cubicBezTo>
                  <a:pt x="478645" y="581451"/>
                  <a:pt x="491309" y="568414"/>
                  <a:pt x="491309" y="552770"/>
                </a:cubicBezTo>
                <a:lnTo>
                  <a:pt x="491309" y="534891"/>
                </a:lnTo>
                <a:lnTo>
                  <a:pt x="433574" y="534891"/>
                </a:lnTo>
                <a:lnTo>
                  <a:pt x="433574" y="552770"/>
                </a:lnTo>
                <a:close/>
                <a:moveTo>
                  <a:pt x="604918" y="533773"/>
                </a:moveTo>
                <a:cubicBezTo>
                  <a:pt x="596723" y="515148"/>
                  <a:pt x="585548" y="498759"/>
                  <a:pt x="571766" y="484605"/>
                </a:cubicBezTo>
                <a:cubicBezTo>
                  <a:pt x="557985" y="470451"/>
                  <a:pt x="541223" y="459648"/>
                  <a:pt x="522598" y="451454"/>
                </a:cubicBezTo>
                <a:cubicBezTo>
                  <a:pt x="503974" y="443259"/>
                  <a:pt x="484232" y="439162"/>
                  <a:pt x="463001" y="439162"/>
                </a:cubicBezTo>
                <a:cubicBezTo>
                  <a:pt x="441397" y="439162"/>
                  <a:pt x="421282" y="443259"/>
                  <a:pt x="402658" y="451454"/>
                </a:cubicBezTo>
                <a:cubicBezTo>
                  <a:pt x="384034" y="459648"/>
                  <a:pt x="367644" y="470823"/>
                  <a:pt x="353490" y="484605"/>
                </a:cubicBezTo>
                <a:cubicBezTo>
                  <a:pt x="339335" y="498759"/>
                  <a:pt x="328533" y="515148"/>
                  <a:pt x="320338" y="533773"/>
                </a:cubicBezTo>
                <a:cubicBezTo>
                  <a:pt x="312143" y="552397"/>
                  <a:pt x="308046" y="572139"/>
                  <a:pt x="308046" y="593370"/>
                </a:cubicBezTo>
                <a:cubicBezTo>
                  <a:pt x="308046" y="614975"/>
                  <a:pt x="312143" y="635089"/>
                  <a:pt x="320338" y="653713"/>
                </a:cubicBezTo>
                <a:cubicBezTo>
                  <a:pt x="328533" y="672338"/>
                  <a:pt x="339708" y="688727"/>
                  <a:pt x="353490" y="702881"/>
                </a:cubicBezTo>
                <a:cubicBezTo>
                  <a:pt x="367644" y="717036"/>
                  <a:pt x="384034" y="727839"/>
                  <a:pt x="402658" y="735658"/>
                </a:cubicBezTo>
                <a:cubicBezTo>
                  <a:pt x="421282" y="743484"/>
                  <a:pt x="441397" y="747580"/>
                  <a:pt x="463001" y="747580"/>
                </a:cubicBezTo>
                <a:cubicBezTo>
                  <a:pt x="483860" y="747580"/>
                  <a:pt x="503974" y="743484"/>
                  <a:pt x="522598" y="735658"/>
                </a:cubicBezTo>
                <a:cubicBezTo>
                  <a:pt x="541223" y="727839"/>
                  <a:pt x="557612" y="716663"/>
                  <a:pt x="571766" y="702881"/>
                </a:cubicBezTo>
                <a:cubicBezTo>
                  <a:pt x="585921" y="689099"/>
                  <a:pt x="596723" y="672338"/>
                  <a:pt x="604918" y="653713"/>
                </a:cubicBezTo>
                <a:cubicBezTo>
                  <a:pt x="613112" y="635089"/>
                  <a:pt x="617210" y="614975"/>
                  <a:pt x="617210" y="593370"/>
                </a:cubicBezTo>
                <a:cubicBezTo>
                  <a:pt x="617210" y="572511"/>
                  <a:pt x="613112" y="552397"/>
                  <a:pt x="604918" y="533773"/>
                </a:cubicBezTo>
                <a:close/>
                <a:moveTo>
                  <a:pt x="514776" y="633972"/>
                </a:moveTo>
                <a:lnTo>
                  <a:pt x="514776" y="651851"/>
                </a:lnTo>
                <a:cubicBezTo>
                  <a:pt x="521108" y="651851"/>
                  <a:pt x="525951" y="657066"/>
                  <a:pt x="525951" y="663398"/>
                </a:cubicBezTo>
                <a:cubicBezTo>
                  <a:pt x="525951" y="669730"/>
                  <a:pt x="520736" y="674945"/>
                  <a:pt x="514403" y="674945"/>
                </a:cubicBezTo>
                <a:lnTo>
                  <a:pt x="410852" y="674945"/>
                </a:lnTo>
                <a:cubicBezTo>
                  <a:pt x="404520" y="674945"/>
                  <a:pt x="399305" y="669730"/>
                  <a:pt x="399305" y="663398"/>
                </a:cubicBezTo>
                <a:cubicBezTo>
                  <a:pt x="399305" y="657066"/>
                  <a:pt x="404520" y="651851"/>
                  <a:pt x="410480" y="651851"/>
                </a:cubicBezTo>
                <a:lnTo>
                  <a:pt x="410480" y="633972"/>
                </a:lnTo>
                <a:cubicBezTo>
                  <a:pt x="410480" y="617582"/>
                  <a:pt x="418302" y="603055"/>
                  <a:pt x="429849" y="593370"/>
                </a:cubicBezTo>
                <a:cubicBezTo>
                  <a:pt x="417930" y="583686"/>
                  <a:pt x="410480" y="569159"/>
                  <a:pt x="410480" y="552770"/>
                </a:cubicBezTo>
                <a:lnTo>
                  <a:pt x="410480" y="534891"/>
                </a:lnTo>
                <a:cubicBezTo>
                  <a:pt x="404148" y="534891"/>
                  <a:pt x="399305" y="529676"/>
                  <a:pt x="399305" y="523343"/>
                </a:cubicBezTo>
                <a:cubicBezTo>
                  <a:pt x="399305" y="517011"/>
                  <a:pt x="404520" y="511796"/>
                  <a:pt x="410852" y="511796"/>
                </a:cubicBezTo>
                <a:lnTo>
                  <a:pt x="514403" y="511796"/>
                </a:lnTo>
                <a:cubicBezTo>
                  <a:pt x="520736" y="511796"/>
                  <a:pt x="525951" y="517011"/>
                  <a:pt x="525951" y="523343"/>
                </a:cubicBezTo>
                <a:cubicBezTo>
                  <a:pt x="525951" y="529676"/>
                  <a:pt x="520736" y="534891"/>
                  <a:pt x="514776" y="534891"/>
                </a:cubicBezTo>
                <a:lnTo>
                  <a:pt x="514776" y="552770"/>
                </a:lnTo>
                <a:cubicBezTo>
                  <a:pt x="514776" y="569159"/>
                  <a:pt x="506954" y="583686"/>
                  <a:pt x="495407" y="593370"/>
                </a:cubicBezTo>
                <a:cubicBezTo>
                  <a:pt x="507326" y="603055"/>
                  <a:pt x="514776" y="617582"/>
                  <a:pt x="514776" y="633972"/>
                </a:cubicBezTo>
                <a:close/>
              </a:path>
            </a:pathLst>
          </a:custGeom>
          <a:solidFill>
            <a:schemeClr val="bg1"/>
          </a:solidFill>
          <a:ln>
            <a:noFill/>
          </a:ln>
        </p:spPr>
        <p:txBody>
          <a:bodyPr vert="horz" wrap="square" lIns="91440" tIns="45720" rIns="91440" bIns="45720" numCol="1" anchor="t" anchorCtr="0" compatLnSpc="1"/>
          <a:lstStyle/>
          <a:p>
            <a:endParaRPr lang="zh-CN" altLang="en-US">
              <a:solidFill>
                <a:prstClr val="black"/>
              </a:solidFill>
              <a:cs typeface="+mn-ea"/>
            </a:endParaRPr>
          </a:p>
        </p:txBody>
      </p:sp>
      <p:sp>
        <p:nvSpPr>
          <p:cNvPr id="54" name="椭圆 53">
            <a:extLst>
              <a:ext uri="{FF2B5EF4-FFF2-40B4-BE49-F238E27FC236}">
                <a16:creationId xmlns:a16="http://schemas.microsoft.com/office/drawing/2014/main" id="{C566C918-5DE5-42BB-AA12-46BF9AC25B8E}"/>
              </a:ext>
            </a:extLst>
          </p:cNvPr>
          <p:cNvSpPr/>
          <p:nvPr/>
        </p:nvSpPr>
        <p:spPr>
          <a:xfrm>
            <a:off x="4347288" y="1818904"/>
            <a:ext cx="532435" cy="532435"/>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solidFill>
                <a:prstClr val="white"/>
              </a:solidFill>
              <a:cs typeface="+mn-ea"/>
              <a:sym typeface="+mn-lt"/>
            </a:endParaRPr>
          </a:p>
        </p:txBody>
      </p:sp>
      <p:sp>
        <p:nvSpPr>
          <p:cNvPr id="55" name="图形 6">
            <a:extLst>
              <a:ext uri="{FF2B5EF4-FFF2-40B4-BE49-F238E27FC236}">
                <a16:creationId xmlns:a16="http://schemas.microsoft.com/office/drawing/2014/main" id="{84F4D5C5-3D82-4A08-A322-F76BF5B3EBD2}"/>
              </a:ext>
            </a:extLst>
          </p:cNvPr>
          <p:cNvSpPr/>
          <p:nvPr/>
        </p:nvSpPr>
        <p:spPr>
          <a:xfrm>
            <a:off x="4448648" y="1952253"/>
            <a:ext cx="329714" cy="265736"/>
          </a:xfrm>
          <a:custGeom>
            <a:avLst/>
            <a:gdLst>
              <a:gd name="connsiteX0" fmla="*/ 608604 w 668425"/>
              <a:gd name="connsiteY0" fmla="*/ 0 h 538723"/>
              <a:gd name="connsiteX1" fmla="*/ 59821 w 668425"/>
              <a:gd name="connsiteY1" fmla="*/ 0 h 538723"/>
              <a:gd name="connsiteX2" fmla="*/ 0 w 668425"/>
              <a:gd name="connsiteY2" fmla="*/ 59551 h 538723"/>
              <a:gd name="connsiteX3" fmla="*/ 0 w 668425"/>
              <a:gd name="connsiteY3" fmla="*/ 59821 h 538723"/>
              <a:gd name="connsiteX4" fmla="*/ 0 w 668425"/>
              <a:gd name="connsiteY4" fmla="*/ 398996 h 538723"/>
              <a:gd name="connsiteX5" fmla="*/ 59551 w 668425"/>
              <a:gd name="connsiteY5" fmla="*/ 458816 h 538723"/>
              <a:gd name="connsiteX6" fmla="*/ 59821 w 668425"/>
              <a:gd name="connsiteY6" fmla="*/ 458816 h 538723"/>
              <a:gd name="connsiteX7" fmla="*/ 279253 w 668425"/>
              <a:gd name="connsiteY7" fmla="*/ 458816 h 538723"/>
              <a:gd name="connsiteX8" fmla="*/ 279253 w 668425"/>
              <a:gd name="connsiteY8" fmla="*/ 498686 h 538723"/>
              <a:gd name="connsiteX9" fmla="*/ 199379 w 668425"/>
              <a:gd name="connsiteY9" fmla="*/ 498686 h 538723"/>
              <a:gd name="connsiteX10" fmla="*/ 169469 w 668425"/>
              <a:gd name="connsiteY10" fmla="*/ 528596 h 538723"/>
              <a:gd name="connsiteX11" fmla="*/ 169469 w 668425"/>
              <a:gd name="connsiteY11" fmla="*/ 538724 h 538723"/>
              <a:gd name="connsiteX12" fmla="*/ 498685 w 668425"/>
              <a:gd name="connsiteY12" fmla="*/ 538724 h 538723"/>
              <a:gd name="connsiteX13" fmla="*/ 498685 w 668425"/>
              <a:gd name="connsiteY13" fmla="*/ 528596 h 538723"/>
              <a:gd name="connsiteX14" fmla="*/ 468775 w 668425"/>
              <a:gd name="connsiteY14" fmla="*/ 498686 h 538723"/>
              <a:gd name="connsiteX15" fmla="*/ 389037 w 668425"/>
              <a:gd name="connsiteY15" fmla="*/ 498686 h 538723"/>
              <a:gd name="connsiteX16" fmla="*/ 389037 w 668425"/>
              <a:gd name="connsiteY16" fmla="*/ 459120 h 538723"/>
              <a:gd name="connsiteX17" fmla="*/ 608469 w 668425"/>
              <a:gd name="connsiteY17" fmla="*/ 459120 h 538723"/>
              <a:gd name="connsiteX18" fmla="*/ 668424 w 668425"/>
              <a:gd name="connsiteY18" fmla="*/ 399706 h 538723"/>
              <a:gd name="connsiteX19" fmla="*/ 668425 w 668425"/>
              <a:gd name="connsiteY19" fmla="*/ 399266 h 538723"/>
              <a:gd name="connsiteX20" fmla="*/ 668425 w 668425"/>
              <a:gd name="connsiteY20" fmla="*/ 59821 h 538723"/>
              <a:gd name="connsiteX21" fmla="*/ 608604 w 668425"/>
              <a:gd name="connsiteY21" fmla="*/ 0 h 538723"/>
              <a:gd name="connsiteX22" fmla="*/ 528596 w 668425"/>
              <a:gd name="connsiteY22" fmla="*/ 203398 h 538723"/>
              <a:gd name="connsiteX23" fmla="*/ 507834 w 668425"/>
              <a:gd name="connsiteY23" fmla="*/ 198266 h 538723"/>
              <a:gd name="connsiteX24" fmla="*/ 441026 w 668425"/>
              <a:gd name="connsiteY24" fmla="*/ 264838 h 538723"/>
              <a:gd name="connsiteX25" fmla="*/ 446157 w 668425"/>
              <a:gd name="connsiteY25" fmla="*/ 286106 h 538723"/>
              <a:gd name="connsiteX26" fmla="*/ 400886 w 668425"/>
              <a:gd name="connsiteY26" fmla="*/ 331377 h 538723"/>
              <a:gd name="connsiteX27" fmla="*/ 355616 w 668425"/>
              <a:gd name="connsiteY27" fmla="*/ 285837 h 538723"/>
              <a:gd name="connsiteX28" fmla="*/ 360747 w 668425"/>
              <a:gd name="connsiteY28" fmla="*/ 264838 h 538723"/>
              <a:gd name="connsiteX29" fmla="*/ 293938 w 668425"/>
              <a:gd name="connsiteY29" fmla="*/ 198299 h 538723"/>
              <a:gd name="connsiteX30" fmla="*/ 272400 w 668425"/>
              <a:gd name="connsiteY30" fmla="*/ 203431 h 538723"/>
              <a:gd name="connsiteX31" fmla="*/ 251639 w 668425"/>
              <a:gd name="connsiteY31" fmla="*/ 198299 h 538723"/>
              <a:gd name="connsiteX32" fmla="*/ 184829 w 668425"/>
              <a:gd name="connsiteY32" fmla="*/ 264838 h 538723"/>
              <a:gd name="connsiteX33" fmla="*/ 189961 w 668425"/>
              <a:gd name="connsiteY33" fmla="*/ 285837 h 538723"/>
              <a:gd name="connsiteX34" fmla="*/ 144421 w 668425"/>
              <a:gd name="connsiteY34" fmla="*/ 331107 h 538723"/>
              <a:gd name="connsiteX35" fmla="*/ 112350 w 668425"/>
              <a:gd name="connsiteY35" fmla="*/ 317907 h 538723"/>
              <a:gd name="connsiteX36" fmla="*/ 99151 w 668425"/>
              <a:gd name="connsiteY36" fmla="*/ 285837 h 538723"/>
              <a:gd name="connsiteX37" fmla="*/ 144691 w 668425"/>
              <a:gd name="connsiteY37" fmla="*/ 240600 h 538723"/>
              <a:gd name="connsiteX38" fmla="*/ 165689 w 668425"/>
              <a:gd name="connsiteY38" fmla="*/ 245731 h 538723"/>
              <a:gd name="connsiteX39" fmla="*/ 232497 w 668425"/>
              <a:gd name="connsiteY39" fmla="*/ 179158 h 538723"/>
              <a:gd name="connsiteX40" fmla="*/ 227366 w 668425"/>
              <a:gd name="connsiteY40" fmla="*/ 157890 h 538723"/>
              <a:gd name="connsiteX41" fmla="*/ 272906 w 668425"/>
              <a:gd name="connsiteY41" fmla="*/ 112620 h 538723"/>
              <a:gd name="connsiteX42" fmla="*/ 318177 w 668425"/>
              <a:gd name="connsiteY42" fmla="*/ 158161 h 538723"/>
              <a:gd name="connsiteX43" fmla="*/ 313046 w 668425"/>
              <a:gd name="connsiteY43" fmla="*/ 179158 h 538723"/>
              <a:gd name="connsiteX44" fmla="*/ 379854 w 668425"/>
              <a:gd name="connsiteY44" fmla="*/ 245697 h 538723"/>
              <a:gd name="connsiteX45" fmla="*/ 400853 w 668425"/>
              <a:gd name="connsiteY45" fmla="*/ 240566 h 538723"/>
              <a:gd name="connsiteX46" fmla="*/ 401122 w 668425"/>
              <a:gd name="connsiteY46" fmla="*/ 240566 h 538723"/>
              <a:gd name="connsiteX47" fmla="*/ 421884 w 668425"/>
              <a:gd name="connsiteY47" fmla="*/ 245697 h 538723"/>
              <a:gd name="connsiteX48" fmla="*/ 488693 w 668425"/>
              <a:gd name="connsiteY48" fmla="*/ 179158 h 538723"/>
              <a:gd name="connsiteX49" fmla="*/ 496761 w 668425"/>
              <a:gd name="connsiteY49" fmla="*/ 125819 h 538723"/>
              <a:gd name="connsiteX50" fmla="*/ 528832 w 668425"/>
              <a:gd name="connsiteY50" fmla="*/ 112620 h 538723"/>
              <a:gd name="connsiteX51" fmla="*/ 534234 w 668425"/>
              <a:gd name="connsiteY51" fmla="*/ 113160 h 538723"/>
              <a:gd name="connsiteX52" fmla="*/ 573682 w 668425"/>
              <a:gd name="connsiteY52" fmla="*/ 163645 h 538723"/>
              <a:gd name="connsiteX53" fmla="*/ 528562 w 668425"/>
              <a:gd name="connsiteY53" fmla="*/ 203431 h 5387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668425" h="538723">
                <a:moveTo>
                  <a:pt x="608604" y="0"/>
                </a:moveTo>
                <a:lnTo>
                  <a:pt x="59821" y="0"/>
                </a:lnTo>
                <a:cubicBezTo>
                  <a:pt x="26857" y="-75"/>
                  <a:pt x="75" y="26587"/>
                  <a:pt x="0" y="59551"/>
                </a:cubicBezTo>
                <a:cubicBezTo>
                  <a:pt x="0" y="59641"/>
                  <a:pt x="0" y="59730"/>
                  <a:pt x="0" y="59821"/>
                </a:cubicBezTo>
                <a:lnTo>
                  <a:pt x="0" y="398996"/>
                </a:lnTo>
                <a:cubicBezTo>
                  <a:pt x="-74" y="431959"/>
                  <a:pt x="26587" y="458742"/>
                  <a:pt x="59551" y="458816"/>
                </a:cubicBezTo>
                <a:cubicBezTo>
                  <a:pt x="59641" y="458817"/>
                  <a:pt x="59730" y="458817"/>
                  <a:pt x="59821" y="458816"/>
                </a:cubicBezTo>
                <a:lnTo>
                  <a:pt x="279253" y="458816"/>
                </a:lnTo>
                <a:lnTo>
                  <a:pt x="279253" y="498686"/>
                </a:lnTo>
                <a:lnTo>
                  <a:pt x="199379" y="498686"/>
                </a:lnTo>
                <a:cubicBezTo>
                  <a:pt x="182883" y="498741"/>
                  <a:pt x="169525" y="512100"/>
                  <a:pt x="169469" y="528596"/>
                </a:cubicBezTo>
                <a:lnTo>
                  <a:pt x="169469" y="538724"/>
                </a:lnTo>
                <a:lnTo>
                  <a:pt x="498685" y="538724"/>
                </a:lnTo>
                <a:lnTo>
                  <a:pt x="498685" y="528596"/>
                </a:lnTo>
                <a:cubicBezTo>
                  <a:pt x="498630" y="512100"/>
                  <a:pt x="485271" y="498741"/>
                  <a:pt x="468775" y="498686"/>
                </a:cubicBezTo>
                <a:lnTo>
                  <a:pt x="389037" y="498686"/>
                </a:lnTo>
                <a:lnTo>
                  <a:pt x="389037" y="459120"/>
                </a:lnTo>
                <a:lnTo>
                  <a:pt x="608469" y="459120"/>
                </a:lnTo>
                <a:cubicBezTo>
                  <a:pt x="641432" y="459269"/>
                  <a:pt x="668275" y="432669"/>
                  <a:pt x="668424" y="399706"/>
                </a:cubicBezTo>
                <a:cubicBezTo>
                  <a:pt x="668425" y="399559"/>
                  <a:pt x="668426" y="399412"/>
                  <a:pt x="668425" y="399266"/>
                </a:cubicBezTo>
                <a:lnTo>
                  <a:pt x="668425" y="59821"/>
                </a:lnTo>
                <a:cubicBezTo>
                  <a:pt x="668406" y="26791"/>
                  <a:pt x="641634" y="19"/>
                  <a:pt x="608604" y="0"/>
                </a:cubicBezTo>
                <a:close/>
                <a:moveTo>
                  <a:pt x="528596" y="203398"/>
                </a:moveTo>
                <a:cubicBezTo>
                  <a:pt x="521369" y="203331"/>
                  <a:pt x="514259" y="201573"/>
                  <a:pt x="507834" y="198266"/>
                </a:cubicBezTo>
                <a:lnTo>
                  <a:pt x="441026" y="264838"/>
                </a:lnTo>
                <a:cubicBezTo>
                  <a:pt x="444484" y="271388"/>
                  <a:pt x="446249" y="278700"/>
                  <a:pt x="446157" y="286106"/>
                </a:cubicBezTo>
                <a:cubicBezTo>
                  <a:pt x="446101" y="311085"/>
                  <a:pt x="425866" y="331321"/>
                  <a:pt x="400886" y="331377"/>
                </a:cubicBezTo>
                <a:cubicBezTo>
                  <a:pt x="375840" y="331229"/>
                  <a:pt x="355615" y="310883"/>
                  <a:pt x="355616" y="285837"/>
                </a:cubicBezTo>
                <a:cubicBezTo>
                  <a:pt x="355556" y="278519"/>
                  <a:pt x="357319" y="271303"/>
                  <a:pt x="360747" y="264838"/>
                </a:cubicBezTo>
                <a:lnTo>
                  <a:pt x="293938" y="198299"/>
                </a:lnTo>
                <a:cubicBezTo>
                  <a:pt x="287270" y="201703"/>
                  <a:pt x="279886" y="203461"/>
                  <a:pt x="272400" y="203431"/>
                </a:cubicBezTo>
                <a:cubicBezTo>
                  <a:pt x="265174" y="203365"/>
                  <a:pt x="258063" y="201607"/>
                  <a:pt x="251639" y="198299"/>
                </a:cubicBezTo>
                <a:lnTo>
                  <a:pt x="184829" y="264838"/>
                </a:lnTo>
                <a:cubicBezTo>
                  <a:pt x="188257" y="271303"/>
                  <a:pt x="190021" y="278519"/>
                  <a:pt x="189961" y="285837"/>
                </a:cubicBezTo>
                <a:cubicBezTo>
                  <a:pt x="189887" y="310913"/>
                  <a:pt x="169498" y="331181"/>
                  <a:pt x="144421" y="331107"/>
                </a:cubicBezTo>
                <a:cubicBezTo>
                  <a:pt x="132417" y="331065"/>
                  <a:pt x="120906" y="326328"/>
                  <a:pt x="112350" y="317907"/>
                </a:cubicBezTo>
                <a:cubicBezTo>
                  <a:pt x="103823" y="309423"/>
                  <a:pt x="99066" y="297865"/>
                  <a:pt x="99151" y="285837"/>
                </a:cubicBezTo>
                <a:cubicBezTo>
                  <a:pt x="99243" y="260773"/>
                  <a:pt x="119627" y="240525"/>
                  <a:pt x="144691" y="240600"/>
                </a:cubicBezTo>
                <a:cubicBezTo>
                  <a:pt x="152033" y="240310"/>
                  <a:pt x="159308" y="242087"/>
                  <a:pt x="165689" y="245731"/>
                </a:cubicBezTo>
                <a:lnTo>
                  <a:pt x="232497" y="179158"/>
                </a:lnTo>
                <a:cubicBezTo>
                  <a:pt x="229161" y="172563"/>
                  <a:pt x="227405" y="165281"/>
                  <a:pt x="227366" y="157890"/>
                </a:cubicBezTo>
                <a:cubicBezTo>
                  <a:pt x="227514" y="132844"/>
                  <a:pt x="247860" y="112619"/>
                  <a:pt x="272906" y="112620"/>
                </a:cubicBezTo>
                <a:cubicBezTo>
                  <a:pt x="297952" y="112769"/>
                  <a:pt x="318178" y="133114"/>
                  <a:pt x="318177" y="158161"/>
                </a:cubicBezTo>
                <a:cubicBezTo>
                  <a:pt x="318237" y="165477"/>
                  <a:pt x="316473" y="172694"/>
                  <a:pt x="313046" y="179158"/>
                </a:cubicBezTo>
                <a:lnTo>
                  <a:pt x="379854" y="245697"/>
                </a:lnTo>
                <a:cubicBezTo>
                  <a:pt x="386319" y="242269"/>
                  <a:pt x="393535" y="240506"/>
                  <a:pt x="400853" y="240566"/>
                </a:cubicBezTo>
                <a:lnTo>
                  <a:pt x="401122" y="240566"/>
                </a:lnTo>
                <a:cubicBezTo>
                  <a:pt x="408348" y="240632"/>
                  <a:pt x="415459" y="242389"/>
                  <a:pt x="421884" y="245697"/>
                </a:cubicBezTo>
                <a:lnTo>
                  <a:pt x="488693" y="179158"/>
                </a:lnTo>
                <a:cubicBezTo>
                  <a:pt x="479188" y="161569"/>
                  <a:pt x="482479" y="139811"/>
                  <a:pt x="496761" y="125819"/>
                </a:cubicBezTo>
                <a:cubicBezTo>
                  <a:pt x="505333" y="117423"/>
                  <a:pt x="516834" y="112689"/>
                  <a:pt x="528832" y="112620"/>
                </a:cubicBezTo>
                <a:lnTo>
                  <a:pt x="534234" y="113160"/>
                </a:lnTo>
                <a:cubicBezTo>
                  <a:pt x="559068" y="116208"/>
                  <a:pt x="576730" y="138811"/>
                  <a:pt x="573682" y="163645"/>
                </a:cubicBezTo>
                <a:cubicBezTo>
                  <a:pt x="570887" y="186419"/>
                  <a:pt x="551507" y="203508"/>
                  <a:pt x="528562" y="203431"/>
                </a:cubicBezTo>
                <a:close/>
              </a:path>
            </a:pathLst>
          </a:custGeom>
          <a:solidFill>
            <a:schemeClr val="bg1"/>
          </a:solidFill>
          <a:ln>
            <a:no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zh-CN" altLang="en-US">
              <a:solidFill>
                <a:prstClr val="black"/>
              </a:solidFill>
              <a:cs typeface="+mn-ea"/>
            </a:endParaRPr>
          </a:p>
        </p:txBody>
      </p:sp>
      <p:sp>
        <p:nvSpPr>
          <p:cNvPr id="52" name="椭圆 51">
            <a:extLst>
              <a:ext uri="{FF2B5EF4-FFF2-40B4-BE49-F238E27FC236}">
                <a16:creationId xmlns:a16="http://schemas.microsoft.com/office/drawing/2014/main" id="{044FB8E4-A4D1-498B-A50B-941095948783}"/>
              </a:ext>
            </a:extLst>
          </p:cNvPr>
          <p:cNvSpPr/>
          <p:nvPr/>
        </p:nvSpPr>
        <p:spPr>
          <a:xfrm>
            <a:off x="4871141" y="3273842"/>
            <a:ext cx="532435" cy="532435"/>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solidFill>
                <a:prstClr val="white"/>
              </a:solidFill>
              <a:cs typeface="+mn-ea"/>
              <a:sym typeface="+mn-lt"/>
            </a:endParaRPr>
          </a:p>
        </p:txBody>
      </p:sp>
      <p:sp>
        <p:nvSpPr>
          <p:cNvPr id="53" name="图形 4">
            <a:extLst>
              <a:ext uri="{FF2B5EF4-FFF2-40B4-BE49-F238E27FC236}">
                <a16:creationId xmlns:a16="http://schemas.microsoft.com/office/drawing/2014/main" id="{8169105A-D73B-4D35-97E2-D528D34D3575}"/>
              </a:ext>
            </a:extLst>
          </p:cNvPr>
          <p:cNvSpPr/>
          <p:nvPr/>
        </p:nvSpPr>
        <p:spPr>
          <a:xfrm>
            <a:off x="5006659" y="3409275"/>
            <a:ext cx="261399" cy="261568"/>
          </a:xfrm>
          <a:custGeom>
            <a:avLst/>
            <a:gdLst>
              <a:gd name="connsiteX0" fmla="*/ 593407 w 602054"/>
              <a:gd name="connsiteY0" fmla="*/ 150181 h 602444"/>
              <a:gd name="connsiteX1" fmla="*/ 509495 w 602054"/>
              <a:gd name="connsiteY1" fmla="*/ 24098 h 602444"/>
              <a:gd name="connsiteX2" fmla="*/ 463452 w 602054"/>
              <a:gd name="connsiteY2" fmla="*/ 0 h 602444"/>
              <a:gd name="connsiteX3" fmla="*/ 138992 w 602054"/>
              <a:gd name="connsiteY3" fmla="*/ 0 h 602444"/>
              <a:gd name="connsiteX4" fmla="*/ 93379 w 602054"/>
              <a:gd name="connsiteY4" fmla="*/ 24528 h 602444"/>
              <a:gd name="connsiteX5" fmla="*/ 9467 w 602054"/>
              <a:gd name="connsiteY5" fmla="*/ 150181 h 602444"/>
              <a:gd name="connsiteX6" fmla="*/ 0 w 602054"/>
              <a:gd name="connsiteY6" fmla="*/ 180733 h 602444"/>
              <a:gd name="connsiteX7" fmla="*/ 0 w 602054"/>
              <a:gd name="connsiteY7" fmla="*/ 547794 h 602444"/>
              <a:gd name="connsiteX8" fmla="*/ 54650 w 602054"/>
              <a:gd name="connsiteY8" fmla="*/ 602444 h 602444"/>
              <a:gd name="connsiteX9" fmla="*/ 547363 w 602054"/>
              <a:gd name="connsiteY9" fmla="*/ 602444 h 602444"/>
              <a:gd name="connsiteX10" fmla="*/ 602015 w 602054"/>
              <a:gd name="connsiteY10" fmla="*/ 547794 h 602444"/>
              <a:gd name="connsiteX11" fmla="*/ 602015 w 602054"/>
              <a:gd name="connsiteY11" fmla="*/ 180733 h 602444"/>
              <a:gd name="connsiteX12" fmla="*/ 593407 w 602054"/>
              <a:gd name="connsiteY12" fmla="*/ 150181 h 602444"/>
              <a:gd name="connsiteX13" fmla="*/ 192352 w 602054"/>
              <a:gd name="connsiteY13" fmla="*/ 314992 h 602444"/>
              <a:gd name="connsiteX14" fmla="*/ 212146 w 602054"/>
              <a:gd name="connsiteY14" fmla="*/ 295198 h 602444"/>
              <a:gd name="connsiteX15" fmla="*/ 222044 w 602054"/>
              <a:gd name="connsiteY15" fmla="*/ 305095 h 602444"/>
              <a:gd name="connsiteX16" fmla="*/ 202249 w 602054"/>
              <a:gd name="connsiteY16" fmla="*/ 324890 h 602444"/>
              <a:gd name="connsiteX17" fmla="*/ 212146 w 602054"/>
              <a:gd name="connsiteY17" fmla="*/ 334787 h 602444"/>
              <a:gd name="connsiteX18" fmla="*/ 241838 w 602054"/>
              <a:gd name="connsiteY18" fmla="*/ 305095 h 602444"/>
              <a:gd name="connsiteX19" fmla="*/ 252166 w 602054"/>
              <a:gd name="connsiteY19" fmla="*/ 314992 h 602444"/>
              <a:gd name="connsiteX20" fmla="*/ 221614 w 602054"/>
              <a:gd name="connsiteY20" fmla="*/ 344684 h 602444"/>
              <a:gd name="connsiteX21" fmla="*/ 224626 w 602054"/>
              <a:gd name="connsiteY21" fmla="*/ 347696 h 602444"/>
              <a:gd name="connsiteX22" fmla="*/ 215158 w 602054"/>
              <a:gd name="connsiteY22" fmla="*/ 357593 h 602444"/>
              <a:gd name="connsiteX23" fmla="*/ 157496 w 602054"/>
              <a:gd name="connsiteY23" fmla="*/ 299931 h 602444"/>
              <a:gd name="connsiteX24" fmla="*/ 216880 w 602054"/>
              <a:gd name="connsiteY24" fmla="*/ 240548 h 602444"/>
              <a:gd name="connsiteX25" fmla="*/ 266366 w 602054"/>
              <a:gd name="connsiteY25" fmla="*/ 240548 h 602444"/>
              <a:gd name="connsiteX26" fmla="*/ 299071 w 602054"/>
              <a:gd name="connsiteY26" fmla="*/ 273251 h 602444"/>
              <a:gd name="connsiteX27" fmla="*/ 289173 w 602054"/>
              <a:gd name="connsiteY27" fmla="*/ 283579 h 602444"/>
              <a:gd name="connsiteX28" fmla="*/ 259481 w 602054"/>
              <a:gd name="connsiteY28" fmla="*/ 253457 h 602444"/>
              <a:gd name="connsiteX29" fmla="*/ 224195 w 602054"/>
              <a:gd name="connsiteY29" fmla="*/ 253457 h 602444"/>
              <a:gd name="connsiteX30" fmla="*/ 177291 w 602054"/>
              <a:gd name="connsiteY30" fmla="*/ 299931 h 602444"/>
              <a:gd name="connsiteX31" fmla="*/ 192352 w 602054"/>
              <a:gd name="connsiteY31" fmla="*/ 314992 h 602444"/>
              <a:gd name="connsiteX32" fmla="*/ 260342 w 602054"/>
              <a:gd name="connsiteY32" fmla="*/ 472919 h 602444"/>
              <a:gd name="connsiteX33" fmla="*/ 176000 w 602054"/>
              <a:gd name="connsiteY33" fmla="*/ 496586 h 602444"/>
              <a:gd name="connsiteX34" fmla="*/ 200958 w 602054"/>
              <a:gd name="connsiteY34" fmla="*/ 413535 h 602444"/>
              <a:gd name="connsiteX35" fmla="*/ 209565 w 602054"/>
              <a:gd name="connsiteY35" fmla="*/ 404928 h 602444"/>
              <a:gd name="connsiteX36" fmla="*/ 268948 w 602054"/>
              <a:gd name="connsiteY36" fmla="*/ 464312 h 602444"/>
              <a:gd name="connsiteX37" fmla="*/ 260342 w 602054"/>
              <a:gd name="connsiteY37" fmla="*/ 472919 h 602444"/>
              <a:gd name="connsiteX38" fmla="*/ 219462 w 602054"/>
              <a:gd name="connsiteY38" fmla="*/ 395031 h 602444"/>
              <a:gd name="connsiteX39" fmla="*/ 335647 w 602054"/>
              <a:gd name="connsiteY39" fmla="*/ 278846 h 602444"/>
              <a:gd name="connsiteX40" fmla="*/ 395031 w 602054"/>
              <a:gd name="connsiteY40" fmla="*/ 338229 h 602444"/>
              <a:gd name="connsiteX41" fmla="*/ 278846 w 602054"/>
              <a:gd name="connsiteY41" fmla="*/ 454415 h 602444"/>
              <a:gd name="connsiteX42" fmla="*/ 219462 w 602054"/>
              <a:gd name="connsiteY42" fmla="*/ 395031 h 602444"/>
              <a:gd name="connsiteX43" fmla="*/ 345545 w 602054"/>
              <a:gd name="connsiteY43" fmla="*/ 268948 h 602444"/>
              <a:gd name="connsiteX44" fmla="*/ 362327 w 602054"/>
              <a:gd name="connsiteY44" fmla="*/ 252166 h 602444"/>
              <a:gd name="connsiteX45" fmla="*/ 398043 w 602054"/>
              <a:gd name="connsiteY45" fmla="*/ 252166 h 602444"/>
              <a:gd name="connsiteX46" fmla="*/ 421711 w 602054"/>
              <a:gd name="connsiteY46" fmla="*/ 275833 h 602444"/>
              <a:gd name="connsiteX47" fmla="*/ 421711 w 602054"/>
              <a:gd name="connsiteY47" fmla="*/ 311549 h 602444"/>
              <a:gd name="connsiteX48" fmla="*/ 404928 w 602054"/>
              <a:gd name="connsiteY48" fmla="*/ 328332 h 602444"/>
              <a:gd name="connsiteX49" fmla="*/ 345545 w 602054"/>
              <a:gd name="connsiteY49" fmla="*/ 268948 h 602444"/>
              <a:gd name="connsiteX50" fmla="*/ 435050 w 602054"/>
              <a:gd name="connsiteY50" fmla="*/ 458718 h 602444"/>
              <a:gd name="connsiteX51" fmla="*/ 385564 w 602054"/>
              <a:gd name="connsiteY51" fmla="*/ 508204 h 602444"/>
              <a:gd name="connsiteX52" fmla="*/ 375667 w 602054"/>
              <a:gd name="connsiteY52" fmla="*/ 518102 h 602444"/>
              <a:gd name="connsiteX53" fmla="*/ 316713 w 602054"/>
              <a:gd name="connsiteY53" fmla="*/ 459148 h 602444"/>
              <a:gd name="connsiteX54" fmla="*/ 326611 w 602054"/>
              <a:gd name="connsiteY54" fmla="*/ 448821 h 602444"/>
              <a:gd name="connsiteX55" fmla="*/ 330914 w 602054"/>
              <a:gd name="connsiteY55" fmla="*/ 453554 h 602444"/>
              <a:gd name="connsiteX56" fmla="*/ 360606 w 602054"/>
              <a:gd name="connsiteY56" fmla="*/ 423862 h 602444"/>
              <a:gd name="connsiteX57" fmla="*/ 370933 w 602054"/>
              <a:gd name="connsiteY57" fmla="*/ 433760 h 602444"/>
              <a:gd name="connsiteX58" fmla="*/ 341242 w 602054"/>
              <a:gd name="connsiteY58" fmla="*/ 463452 h 602444"/>
              <a:gd name="connsiteX59" fmla="*/ 350708 w 602054"/>
              <a:gd name="connsiteY59" fmla="*/ 473349 h 602444"/>
              <a:gd name="connsiteX60" fmla="*/ 375667 w 602054"/>
              <a:gd name="connsiteY60" fmla="*/ 448821 h 602444"/>
              <a:gd name="connsiteX61" fmla="*/ 385564 w 602054"/>
              <a:gd name="connsiteY61" fmla="*/ 458718 h 602444"/>
              <a:gd name="connsiteX62" fmla="*/ 360606 w 602054"/>
              <a:gd name="connsiteY62" fmla="*/ 483246 h 602444"/>
              <a:gd name="connsiteX63" fmla="*/ 375667 w 602054"/>
              <a:gd name="connsiteY63" fmla="*/ 497877 h 602444"/>
              <a:gd name="connsiteX64" fmla="*/ 422141 w 602054"/>
              <a:gd name="connsiteY64" fmla="*/ 451403 h 602444"/>
              <a:gd name="connsiteX65" fmla="*/ 422141 w 602054"/>
              <a:gd name="connsiteY65" fmla="*/ 416116 h 602444"/>
              <a:gd name="connsiteX66" fmla="*/ 390728 w 602054"/>
              <a:gd name="connsiteY66" fmla="*/ 384703 h 602444"/>
              <a:gd name="connsiteX67" fmla="*/ 400625 w 602054"/>
              <a:gd name="connsiteY67" fmla="*/ 374806 h 602444"/>
              <a:gd name="connsiteX68" fmla="*/ 435050 w 602054"/>
              <a:gd name="connsiteY68" fmla="*/ 409232 h 602444"/>
              <a:gd name="connsiteX69" fmla="*/ 435050 w 602054"/>
              <a:gd name="connsiteY69" fmla="*/ 458718 h 602444"/>
              <a:gd name="connsiteX70" fmla="*/ 82191 w 602054"/>
              <a:gd name="connsiteY70" fmla="*/ 136841 h 602444"/>
              <a:gd name="connsiteX71" fmla="*/ 136841 w 602054"/>
              <a:gd name="connsiteY71" fmla="*/ 54650 h 602444"/>
              <a:gd name="connsiteX72" fmla="*/ 465603 w 602054"/>
              <a:gd name="connsiteY72" fmla="*/ 54650 h 602444"/>
              <a:gd name="connsiteX73" fmla="*/ 520253 w 602054"/>
              <a:gd name="connsiteY73" fmla="*/ 136841 h 602444"/>
              <a:gd name="connsiteX74" fmla="*/ 82191 w 602054"/>
              <a:gd name="connsiteY74" fmla="*/ 136841 h 602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Lst>
            <a:rect l="l" t="t" r="r" b="b"/>
            <a:pathLst>
              <a:path w="602054" h="602444">
                <a:moveTo>
                  <a:pt x="593407" y="150181"/>
                </a:moveTo>
                <a:lnTo>
                  <a:pt x="509495" y="24098"/>
                </a:lnTo>
                <a:cubicBezTo>
                  <a:pt x="499168" y="9037"/>
                  <a:pt x="481955" y="0"/>
                  <a:pt x="463452" y="0"/>
                </a:cubicBezTo>
                <a:lnTo>
                  <a:pt x="138992" y="0"/>
                </a:lnTo>
                <a:cubicBezTo>
                  <a:pt x="120919" y="0"/>
                  <a:pt x="103706" y="9037"/>
                  <a:pt x="93379" y="24528"/>
                </a:cubicBezTo>
                <a:lnTo>
                  <a:pt x="9467" y="150181"/>
                </a:lnTo>
                <a:cubicBezTo>
                  <a:pt x="3443" y="159218"/>
                  <a:pt x="0" y="169975"/>
                  <a:pt x="0" y="180733"/>
                </a:cubicBezTo>
                <a:lnTo>
                  <a:pt x="0" y="547794"/>
                </a:lnTo>
                <a:cubicBezTo>
                  <a:pt x="0" y="577916"/>
                  <a:pt x="24528" y="602444"/>
                  <a:pt x="54650" y="602444"/>
                </a:cubicBezTo>
                <a:lnTo>
                  <a:pt x="547363" y="602444"/>
                </a:lnTo>
                <a:cubicBezTo>
                  <a:pt x="577916" y="602444"/>
                  <a:pt x="602015" y="577916"/>
                  <a:pt x="602015" y="547794"/>
                </a:cubicBezTo>
                <a:lnTo>
                  <a:pt x="602015" y="180733"/>
                </a:lnTo>
                <a:cubicBezTo>
                  <a:pt x="602444" y="169975"/>
                  <a:pt x="599432" y="159218"/>
                  <a:pt x="593407" y="150181"/>
                </a:cubicBezTo>
                <a:close/>
                <a:moveTo>
                  <a:pt x="192352" y="314992"/>
                </a:moveTo>
                <a:lnTo>
                  <a:pt x="212146" y="295198"/>
                </a:lnTo>
                <a:lnTo>
                  <a:pt x="222044" y="305095"/>
                </a:lnTo>
                <a:lnTo>
                  <a:pt x="202249" y="324890"/>
                </a:lnTo>
                <a:lnTo>
                  <a:pt x="212146" y="334787"/>
                </a:lnTo>
                <a:lnTo>
                  <a:pt x="241838" y="305095"/>
                </a:lnTo>
                <a:lnTo>
                  <a:pt x="252166" y="314992"/>
                </a:lnTo>
                <a:lnTo>
                  <a:pt x="221614" y="344684"/>
                </a:lnTo>
                <a:lnTo>
                  <a:pt x="224626" y="347696"/>
                </a:lnTo>
                <a:lnTo>
                  <a:pt x="215158" y="357593"/>
                </a:lnTo>
                <a:lnTo>
                  <a:pt x="157496" y="299931"/>
                </a:lnTo>
                <a:lnTo>
                  <a:pt x="216880" y="240548"/>
                </a:lnTo>
                <a:cubicBezTo>
                  <a:pt x="230650" y="226777"/>
                  <a:pt x="252596" y="226777"/>
                  <a:pt x="266366" y="240548"/>
                </a:cubicBezTo>
                <a:lnTo>
                  <a:pt x="299071" y="273251"/>
                </a:lnTo>
                <a:lnTo>
                  <a:pt x="289173" y="283579"/>
                </a:lnTo>
                <a:lnTo>
                  <a:pt x="259481" y="253457"/>
                </a:lnTo>
                <a:cubicBezTo>
                  <a:pt x="245711" y="239687"/>
                  <a:pt x="237965" y="239687"/>
                  <a:pt x="224195" y="253457"/>
                </a:cubicBezTo>
                <a:lnTo>
                  <a:pt x="177291" y="299931"/>
                </a:lnTo>
                <a:lnTo>
                  <a:pt x="192352" y="314992"/>
                </a:lnTo>
                <a:close/>
                <a:moveTo>
                  <a:pt x="260342" y="472919"/>
                </a:moveTo>
                <a:lnTo>
                  <a:pt x="176000" y="496586"/>
                </a:lnTo>
                <a:lnTo>
                  <a:pt x="200958" y="413535"/>
                </a:lnTo>
                <a:lnTo>
                  <a:pt x="209565" y="404928"/>
                </a:lnTo>
                <a:lnTo>
                  <a:pt x="268948" y="464312"/>
                </a:lnTo>
                <a:lnTo>
                  <a:pt x="260342" y="472919"/>
                </a:lnTo>
                <a:close/>
                <a:moveTo>
                  <a:pt x="219462" y="395031"/>
                </a:moveTo>
                <a:lnTo>
                  <a:pt x="335647" y="278846"/>
                </a:lnTo>
                <a:lnTo>
                  <a:pt x="395031" y="338229"/>
                </a:lnTo>
                <a:lnTo>
                  <a:pt x="278846" y="454415"/>
                </a:lnTo>
                <a:lnTo>
                  <a:pt x="219462" y="395031"/>
                </a:lnTo>
                <a:close/>
                <a:moveTo>
                  <a:pt x="345545" y="268948"/>
                </a:moveTo>
                <a:lnTo>
                  <a:pt x="362327" y="252166"/>
                </a:lnTo>
                <a:cubicBezTo>
                  <a:pt x="376097" y="238395"/>
                  <a:pt x="384273" y="238395"/>
                  <a:pt x="398043" y="252166"/>
                </a:cubicBezTo>
                <a:lnTo>
                  <a:pt x="421711" y="275833"/>
                </a:lnTo>
                <a:cubicBezTo>
                  <a:pt x="435481" y="289603"/>
                  <a:pt x="435481" y="297780"/>
                  <a:pt x="421711" y="311549"/>
                </a:cubicBezTo>
                <a:lnTo>
                  <a:pt x="404928" y="328332"/>
                </a:lnTo>
                <a:lnTo>
                  <a:pt x="345545" y="268948"/>
                </a:lnTo>
                <a:close/>
                <a:moveTo>
                  <a:pt x="435050" y="458718"/>
                </a:moveTo>
                <a:lnTo>
                  <a:pt x="385564" y="508204"/>
                </a:lnTo>
                <a:lnTo>
                  <a:pt x="375667" y="518102"/>
                </a:lnTo>
                <a:lnTo>
                  <a:pt x="316713" y="459148"/>
                </a:lnTo>
                <a:lnTo>
                  <a:pt x="326611" y="448821"/>
                </a:lnTo>
                <a:lnTo>
                  <a:pt x="330914" y="453554"/>
                </a:lnTo>
                <a:lnTo>
                  <a:pt x="360606" y="423862"/>
                </a:lnTo>
                <a:lnTo>
                  <a:pt x="370933" y="433760"/>
                </a:lnTo>
                <a:lnTo>
                  <a:pt x="341242" y="463452"/>
                </a:lnTo>
                <a:lnTo>
                  <a:pt x="350708" y="473349"/>
                </a:lnTo>
                <a:lnTo>
                  <a:pt x="375667" y="448821"/>
                </a:lnTo>
                <a:lnTo>
                  <a:pt x="385564" y="458718"/>
                </a:lnTo>
                <a:lnTo>
                  <a:pt x="360606" y="483246"/>
                </a:lnTo>
                <a:lnTo>
                  <a:pt x="375667" y="497877"/>
                </a:lnTo>
                <a:lnTo>
                  <a:pt x="422141" y="451403"/>
                </a:lnTo>
                <a:cubicBezTo>
                  <a:pt x="435911" y="437633"/>
                  <a:pt x="435911" y="429457"/>
                  <a:pt x="422141" y="416116"/>
                </a:cubicBezTo>
                <a:lnTo>
                  <a:pt x="390728" y="384703"/>
                </a:lnTo>
                <a:lnTo>
                  <a:pt x="400625" y="374806"/>
                </a:lnTo>
                <a:lnTo>
                  <a:pt x="435050" y="409232"/>
                </a:lnTo>
                <a:cubicBezTo>
                  <a:pt x="448391" y="423002"/>
                  <a:pt x="448391" y="444948"/>
                  <a:pt x="435050" y="458718"/>
                </a:cubicBezTo>
                <a:close/>
                <a:moveTo>
                  <a:pt x="82191" y="136841"/>
                </a:moveTo>
                <a:lnTo>
                  <a:pt x="136841" y="54650"/>
                </a:lnTo>
                <a:lnTo>
                  <a:pt x="465603" y="54650"/>
                </a:lnTo>
                <a:lnTo>
                  <a:pt x="520253" y="136841"/>
                </a:lnTo>
                <a:lnTo>
                  <a:pt x="82191" y="136841"/>
                </a:lnTo>
                <a:close/>
              </a:path>
            </a:pathLst>
          </a:custGeom>
          <a:solidFill>
            <a:schemeClr val="bg1"/>
          </a:solidFill>
          <a:ln>
            <a:no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zh-CN" altLang="en-US">
              <a:solidFill>
                <a:prstClr val="black"/>
              </a:solidFill>
              <a:cs typeface="+mn-ea"/>
            </a:endParaRPr>
          </a:p>
        </p:txBody>
      </p:sp>
      <p:sp>
        <p:nvSpPr>
          <p:cNvPr id="58" name="文本框 57">
            <a:extLst>
              <a:ext uri="{FF2B5EF4-FFF2-40B4-BE49-F238E27FC236}">
                <a16:creationId xmlns:a16="http://schemas.microsoft.com/office/drawing/2014/main" id="{4403F5C9-7F55-4FBF-83FF-49DAD34B159C}"/>
              </a:ext>
            </a:extLst>
          </p:cNvPr>
          <p:cNvSpPr txBox="1"/>
          <p:nvPr/>
        </p:nvSpPr>
        <p:spPr>
          <a:xfrm>
            <a:off x="5156745" y="1785468"/>
            <a:ext cx="1538883" cy="369332"/>
          </a:xfrm>
          <a:prstGeom prst="rect">
            <a:avLst/>
          </a:prstGeom>
          <a:noFill/>
        </p:spPr>
        <p:txBody>
          <a:bodyPr wrap="none" lIns="0" tIns="0" rIns="0" bIns="0" rtlCol="0" anchor="t">
            <a:spAutoFit/>
          </a:bodyPr>
          <a:lstStyle/>
          <a:p>
            <a:r>
              <a:rPr lang="zh-CN" altLang="en-US" sz="2400" dirty="0">
                <a:solidFill>
                  <a:schemeClr val="accent1"/>
                </a:solidFill>
                <a:latin typeface="+mj-ea"/>
                <a:ea typeface="+mj-ea"/>
              </a:rPr>
              <a:t>关键词标题</a:t>
            </a:r>
          </a:p>
        </p:txBody>
      </p:sp>
      <p:sp>
        <p:nvSpPr>
          <p:cNvPr id="59" name="文本框 58">
            <a:extLst>
              <a:ext uri="{FF2B5EF4-FFF2-40B4-BE49-F238E27FC236}">
                <a16:creationId xmlns:a16="http://schemas.microsoft.com/office/drawing/2014/main" id="{7EE4B7E7-73F2-4CB0-A9CB-3D7C0C3FCAF6}"/>
              </a:ext>
            </a:extLst>
          </p:cNvPr>
          <p:cNvSpPr txBox="1"/>
          <p:nvPr/>
        </p:nvSpPr>
        <p:spPr>
          <a:xfrm>
            <a:off x="5156745" y="2194913"/>
            <a:ext cx="5210966" cy="464807"/>
          </a:xfrm>
          <a:prstGeom prst="rect">
            <a:avLst/>
          </a:prstGeom>
          <a:noFill/>
        </p:spPr>
        <p:txBody>
          <a:bodyPr wrap="square" lIns="0" tIns="0" rIns="0" bIns="0" rtlCol="0" anchor="t">
            <a:spAutoFit/>
          </a:bodyPr>
          <a:lstStyle/>
          <a:p>
            <a:pPr>
              <a:lnSpc>
                <a:spcPct val="130000"/>
              </a:lnSpc>
            </a:pPr>
            <a:r>
              <a:rPr lang="en-US" altLang="zh-CN" sz="1200" b="0" dirty="0">
                <a:solidFill>
                  <a:schemeClr val="tx1">
                    <a:lumMod val="75000"/>
                    <a:lumOff val="25000"/>
                  </a:schemeClr>
                </a:solidFill>
                <a:effectLst/>
                <a:latin typeface="+mn-ea"/>
              </a:rPr>
              <a:t>Lorem ipsum dolor sit amet, consectetur adipisicing elit, sed do eiusmod tempor</a:t>
            </a:r>
            <a:endParaRPr lang="zh-CN" altLang="en-US" sz="1200" b="0" dirty="0">
              <a:solidFill>
                <a:schemeClr val="tx1">
                  <a:lumMod val="75000"/>
                  <a:lumOff val="25000"/>
                </a:schemeClr>
              </a:solidFill>
              <a:effectLst/>
              <a:latin typeface="+mn-ea"/>
            </a:endParaRPr>
          </a:p>
        </p:txBody>
      </p:sp>
      <p:sp>
        <p:nvSpPr>
          <p:cNvPr id="61" name="文本框 60">
            <a:extLst>
              <a:ext uri="{FF2B5EF4-FFF2-40B4-BE49-F238E27FC236}">
                <a16:creationId xmlns:a16="http://schemas.microsoft.com/office/drawing/2014/main" id="{D1510BB0-F3D3-43DF-B92E-D07B499AA97F}"/>
              </a:ext>
            </a:extLst>
          </p:cNvPr>
          <p:cNvSpPr txBox="1"/>
          <p:nvPr/>
        </p:nvSpPr>
        <p:spPr>
          <a:xfrm>
            <a:off x="5677953" y="3247457"/>
            <a:ext cx="1538883" cy="369332"/>
          </a:xfrm>
          <a:prstGeom prst="rect">
            <a:avLst/>
          </a:prstGeom>
          <a:noFill/>
        </p:spPr>
        <p:txBody>
          <a:bodyPr wrap="none" lIns="0" tIns="0" rIns="0" bIns="0" rtlCol="0" anchor="t">
            <a:spAutoFit/>
          </a:bodyPr>
          <a:lstStyle/>
          <a:p>
            <a:r>
              <a:rPr lang="zh-CN" altLang="en-US" sz="2400" dirty="0">
                <a:solidFill>
                  <a:schemeClr val="accent1"/>
                </a:solidFill>
                <a:latin typeface="+mj-ea"/>
                <a:ea typeface="+mj-ea"/>
              </a:rPr>
              <a:t>关键词标题</a:t>
            </a:r>
          </a:p>
        </p:txBody>
      </p:sp>
      <p:sp>
        <p:nvSpPr>
          <p:cNvPr id="62" name="文本框 61">
            <a:extLst>
              <a:ext uri="{FF2B5EF4-FFF2-40B4-BE49-F238E27FC236}">
                <a16:creationId xmlns:a16="http://schemas.microsoft.com/office/drawing/2014/main" id="{AE40324D-5BAC-4926-AE43-D1CBDD108F61}"/>
              </a:ext>
            </a:extLst>
          </p:cNvPr>
          <p:cNvSpPr txBox="1"/>
          <p:nvPr/>
        </p:nvSpPr>
        <p:spPr>
          <a:xfrm>
            <a:off x="5677953" y="3656902"/>
            <a:ext cx="5210966" cy="464807"/>
          </a:xfrm>
          <a:prstGeom prst="rect">
            <a:avLst/>
          </a:prstGeom>
          <a:noFill/>
        </p:spPr>
        <p:txBody>
          <a:bodyPr wrap="square" lIns="0" tIns="0" rIns="0" bIns="0" rtlCol="0" anchor="t">
            <a:spAutoFit/>
          </a:bodyPr>
          <a:lstStyle/>
          <a:p>
            <a:pPr>
              <a:lnSpc>
                <a:spcPct val="130000"/>
              </a:lnSpc>
            </a:pPr>
            <a:r>
              <a:rPr lang="en-US" altLang="zh-CN" sz="1200" b="0" dirty="0">
                <a:solidFill>
                  <a:schemeClr val="tx1">
                    <a:lumMod val="75000"/>
                    <a:lumOff val="25000"/>
                  </a:schemeClr>
                </a:solidFill>
                <a:effectLst/>
                <a:latin typeface="+mn-ea"/>
              </a:rPr>
              <a:t>Lorem ipsum dolor sit amet, consectetur adipisicing elit, sed do eiusmod tempor</a:t>
            </a:r>
            <a:endParaRPr lang="zh-CN" altLang="en-US" sz="1200" b="0" dirty="0">
              <a:solidFill>
                <a:schemeClr val="tx1">
                  <a:lumMod val="75000"/>
                  <a:lumOff val="25000"/>
                </a:schemeClr>
              </a:solidFill>
              <a:effectLst/>
              <a:latin typeface="+mn-ea"/>
            </a:endParaRPr>
          </a:p>
        </p:txBody>
      </p:sp>
      <p:sp>
        <p:nvSpPr>
          <p:cNvPr id="63" name="文本框 62">
            <a:extLst>
              <a:ext uri="{FF2B5EF4-FFF2-40B4-BE49-F238E27FC236}">
                <a16:creationId xmlns:a16="http://schemas.microsoft.com/office/drawing/2014/main" id="{B97B8D93-C10F-46BB-9A42-E27487523CD4}"/>
              </a:ext>
            </a:extLst>
          </p:cNvPr>
          <p:cNvSpPr txBox="1"/>
          <p:nvPr/>
        </p:nvSpPr>
        <p:spPr>
          <a:xfrm>
            <a:off x="5156745" y="4668025"/>
            <a:ext cx="1538883" cy="369332"/>
          </a:xfrm>
          <a:prstGeom prst="rect">
            <a:avLst/>
          </a:prstGeom>
          <a:noFill/>
        </p:spPr>
        <p:txBody>
          <a:bodyPr wrap="none" lIns="0" tIns="0" rIns="0" bIns="0" rtlCol="0" anchor="t">
            <a:spAutoFit/>
          </a:bodyPr>
          <a:lstStyle/>
          <a:p>
            <a:r>
              <a:rPr lang="zh-CN" altLang="en-US" sz="2400" dirty="0">
                <a:solidFill>
                  <a:schemeClr val="accent1"/>
                </a:solidFill>
                <a:latin typeface="+mj-ea"/>
                <a:ea typeface="+mj-ea"/>
              </a:rPr>
              <a:t>关键词标题</a:t>
            </a:r>
          </a:p>
        </p:txBody>
      </p:sp>
      <p:sp>
        <p:nvSpPr>
          <p:cNvPr id="64" name="文本框 63">
            <a:extLst>
              <a:ext uri="{FF2B5EF4-FFF2-40B4-BE49-F238E27FC236}">
                <a16:creationId xmlns:a16="http://schemas.microsoft.com/office/drawing/2014/main" id="{FC6B62E5-8EA7-44A2-98E4-1A3A78D18D93}"/>
              </a:ext>
            </a:extLst>
          </p:cNvPr>
          <p:cNvSpPr txBox="1"/>
          <p:nvPr/>
        </p:nvSpPr>
        <p:spPr>
          <a:xfrm>
            <a:off x="5156745" y="5077470"/>
            <a:ext cx="5210966" cy="464807"/>
          </a:xfrm>
          <a:prstGeom prst="rect">
            <a:avLst/>
          </a:prstGeom>
          <a:noFill/>
        </p:spPr>
        <p:txBody>
          <a:bodyPr wrap="square" lIns="0" tIns="0" rIns="0" bIns="0" rtlCol="0" anchor="t">
            <a:spAutoFit/>
          </a:bodyPr>
          <a:lstStyle/>
          <a:p>
            <a:pPr>
              <a:lnSpc>
                <a:spcPct val="130000"/>
              </a:lnSpc>
            </a:pPr>
            <a:r>
              <a:rPr lang="en-US" altLang="zh-CN" sz="1200" b="0" dirty="0">
                <a:solidFill>
                  <a:schemeClr val="tx1">
                    <a:lumMod val="75000"/>
                    <a:lumOff val="25000"/>
                  </a:schemeClr>
                </a:solidFill>
                <a:effectLst/>
                <a:latin typeface="+mn-ea"/>
              </a:rPr>
              <a:t>Lorem ipsum dolor sit amet, consectetur adipisicing elit, sed do eiusmod tempor</a:t>
            </a:r>
            <a:endParaRPr lang="zh-CN" altLang="en-US" sz="1200" b="0" dirty="0">
              <a:solidFill>
                <a:schemeClr val="tx1">
                  <a:lumMod val="75000"/>
                  <a:lumOff val="25000"/>
                </a:schemeClr>
              </a:solidFill>
              <a:effectLst/>
              <a:latin typeface="+mn-ea"/>
            </a:endParaRPr>
          </a:p>
        </p:txBody>
      </p:sp>
      <p:sp>
        <p:nvSpPr>
          <p:cNvPr id="65" name="任意多边形: 形状 64">
            <a:extLst>
              <a:ext uri="{FF2B5EF4-FFF2-40B4-BE49-F238E27FC236}">
                <a16:creationId xmlns:a16="http://schemas.microsoft.com/office/drawing/2014/main" id="{B81520EF-BD15-48EF-BA62-B2621DDEB10B}"/>
              </a:ext>
            </a:extLst>
          </p:cNvPr>
          <p:cNvSpPr/>
          <p:nvPr/>
        </p:nvSpPr>
        <p:spPr>
          <a:xfrm>
            <a:off x="2320380" y="2873938"/>
            <a:ext cx="1219200" cy="1118208"/>
          </a:xfrm>
          <a:custGeom>
            <a:avLst/>
            <a:gdLst>
              <a:gd name="connsiteX0" fmla="*/ 1006264 w 1331826"/>
              <a:gd name="connsiteY0" fmla="*/ 238125 h 1221507"/>
              <a:gd name="connsiteX1" fmla="*/ 1123466 w 1331826"/>
              <a:gd name="connsiteY1" fmla="*/ 355327 h 1221507"/>
              <a:gd name="connsiteX2" fmla="*/ 1006264 w 1331826"/>
              <a:gd name="connsiteY2" fmla="*/ 472529 h 1221507"/>
              <a:gd name="connsiteX3" fmla="*/ 889062 w 1331826"/>
              <a:gd name="connsiteY3" fmla="*/ 355327 h 1221507"/>
              <a:gd name="connsiteX4" fmla="*/ 1006264 w 1331826"/>
              <a:gd name="connsiteY4" fmla="*/ 238125 h 1221507"/>
              <a:gd name="connsiteX5" fmla="*/ 172827 w 1331826"/>
              <a:gd name="connsiteY5" fmla="*/ 104180 h 1221507"/>
              <a:gd name="connsiteX6" fmla="*/ 105482 w 1331826"/>
              <a:gd name="connsiteY6" fmla="*/ 171152 h 1221507"/>
              <a:gd name="connsiteX7" fmla="*/ 105482 w 1331826"/>
              <a:gd name="connsiteY7" fmla="*/ 726281 h 1221507"/>
              <a:gd name="connsiteX8" fmla="*/ 179152 w 1331826"/>
              <a:gd name="connsiteY8" fmla="*/ 599777 h 1221507"/>
              <a:gd name="connsiteX9" fmla="*/ 303795 w 1331826"/>
              <a:gd name="connsiteY9" fmla="*/ 490761 h 1221507"/>
              <a:gd name="connsiteX10" fmla="*/ 414300 w 1331826"/>
              <a:gd name="connsiteY10" fmla="*/ 507504 h 1221507"/>
              <a:gd name="connsiteX11" fmla="*/ 731676 w 1331826"/>
              <a:gd name="connsiteY11" fmla="*/ 856878 h 1221507"/>
              <a:gd name="connsiteX12" fmla="*/ 780790 w 1331826"/>
              <a:gd name="connsiteY12" fmla="*/ 791022 h 1221507"/>
              <a:gd name="connsiteX13" fmla="*/ 988777 w 1331826"/>
              <a:gd name="connsiteY13" fmla="*/ 633264 h 1221507"/>
              <a:gd name="connsiteX14" fmla="*/ 1093329 w 1331826"/>
              <a:gd name="connsiteY14" fmla="*/ 666006 h 1221507"/>
              <a:gd name="connsiteX15" fmla="*/ 1227646 w 1331826"/>
              <a:gd name="connsiteY15" fmla="*/ 821159 h 1221507"/>
              <a:gd name="connsiteX16" fmla="*/ 1227646 w 1331826"/>
              <a:gd name="connsiteY16" fmla="*/ 171152 h 1221507"/>
              <a:gd name="connsiteX17" fmla="*/ 1160673 w 1331826"/>
              <a:gd name="connsiteY17" fmla="*/ 104180 h 1221507"/>
              <a:gd name="connsiteX18" fmla="*/ 172827 w 1331826"/>
              <a:gd name="connsiteY18" fmla="*/ 0 h 1221507"/>
              <a:gd name="connsiteX19" fmla="*/ 1160673 w 1331826"/>
              <a:gd name="connsiteY19" fmla="*/ 0 h 1221507"/>
              <a:gd name="connsiteX20" fmla="*/ 1331826 w 1331826"/>
              <a:gd name="connsiteY20" fmla="*/ 171152 h 1221507"/>
              <a:gd name="connsiteX21" fmla="*/ 1331826 w 1331826"/>
              <a:gd name="connsiteY21" fmla="*/ 1050355 h 1221507"/>
              <a:gd name="connsiteX22" fmla="*/ 1160673 w 1331826"/>
              <a:gd name="connsiteY22" fmla="*/ 1221507 h 1221507"/>
              <a:gd name="connsiteX23" fmla="*/ 172827 w 1331826"/>
              <a:gd name="connsiteY23" fmla="*/ 1221507 h 1221507"/>
              <a:gd name="connsiteX24" fmla="*/ 1674 w 1331826"/>
              <a:gd name="connsiteY24" fmla="*/ 1050355 h 1221507"/>
              <a:gd name="connsiteX25" fmla="*/ 1674 w 1331826"/>
              <a:gd name="connsiteY25" fmla="*/ 1006450 h 1221507"/>
              <a:gd name="connsiteX26" fmla="*/ 1674 w 1331826"/>
              <a:gd name="connsiteY26" fmla="*/ 980405 h 1221507"/>
              <a:gd name="connsiteX27" fmla="*/ 1674 w 1331826"/>
              <a:gd name="connsiteY27" fmla="*/ 171152 h 1221507"/>
              <a:gd name="connsiteX28" fmla="*/ 172827 w 1331826"/>
              <a:gd name="connsiteY28" fmla="*/ 0 h 1221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31826" h="1221507">
                <a:moveTo>
                  <a:pt x="1006264" y="238125"/>
                </a:moveTo>
                <a:cubicBezTo>
                  <a:pt x="1070993" y="238125"/>
                  <a:pt x="1123466" y="290598"/>
                  <a:pt x="1123466" y="355327"/>
                </a:cubicBezTo>
                <a:cubicBezTo>
                  <a:pt x="1123466" y="420056"/>
                  <a:pt x="1070993" y="472529"/>
                  <a:pt x="1006264" y="472529"/>
                </a:cubicBezTo>
                <a:cubicBezTo>
                  <a:pt x="941535" y="472529"/>
                  <a:pt x="889062" y="420056"/>
                  <a:pt x="889062" y="355327"/>
                </a:cubicBezTo>
                <a:cubicBezTo>
                  <a:pt x="889062" y="290598"/>
                  <a:pt x="941535" y="238125"/>
                  <a:pt x="1006264" y="238125"/>
                </a:cubicBezTo>
                <a:close/>
                <a:moveTo>
                  <a:pt x="172827" y="104180"/>
                </a:moveTo>
                <a:cubicBezTo>
                  <a:pt x="135620" y="104180"/>
                  <a:pt x="105854" y="133945"/>
                  <a:pt x="105482" y="171152"/>
                </a:cubicBezTo>
                <a:lnTo>
                  <a:pt x="105482" y="726281"/>
                </a:lnTo>
                <a:cubicBezTo>
                  <a:pt x="130411" y="676424"/>
                  <a:pt x="154967" y="634008"/>
                  <a:pt x="179152" y="599777"/>
                </a:cubicBezTo>
                <a:cubicBezTo>
                  <a:pt x="220824" y="540246"/>
                  <a:pt x="261751" y="504527"/>
                  <a:pt x="303795" y="490761"/>
                </a:cubicBezTo>
                <a:cubicBezTo>
                  <a:pt x="342491" y="478110"/>
                  <a:pt x="380442" y="483691"/>
                  <a:pt x="414300" y="507504"/>
                </a:cubicBezTo>
                <a:cubicBezTo>
                  <a:pt x="528526" y="587871"/>
                  <a:pt x="663215" y="762372"/>
                  <a:pt x="731676" y="856878"/>
                </a:cubicBezTo>
                <a:cubicBezTo>
                  <a:pt x="745443" y="837158"/>
                  <a:pt x="762186" y="814090"/>
                  <a:pt x="780790" y="791022"/>
                </a:cubicBezTo>
                <a:cubicBezTo>
                  <a:pt x="858552" y="693911"/>
                  <a:pt x="926641" y="642193"/>
                  <a:pt x="988777" y="633264"/>
                </a:cubicBezTo>
                <a:cubicBezTo>
                  <a:pt x="1028216" y="627683"/>
                  <a:pt x="1064307" y="638845"/>
                  <a:pt x="1093329" y="666006"/>
                </a:cubicBezTo>
                <a:cubicBezTo>
                  <a:pt x="1142070" y="711398"/>
                  <a:pt x="1188951" y="768697"/>
                  <a:pt x="1227646" y="821159"/>
                </a:cubicBezTo>
                <a:lnTo>
                  <a:pt x="1227646" y="171152"/>
                </a:lnTo>
                <a:cubicBezTo>
                  <a:pt x="1227646" y="134317"/>
                  <a:pt x="1197508" y="104180"/>
                  <a:pt x="1160673" y="104180"/>
                </a:cubicBezTo>
                <a:close/>
                <a:moveTo>
                  <a:pt x="172827" y="0"/>
                </a:moveTo>
                <a:lnTo>
                  <a:pt x="1160673" y="0"/>
                </a:lnTo>
                <a:cubicBezTo>
                  <a:pt x="1255179" y="0"/>
                  <a:pt x="1331826" y="76646"/>
                  <a:pt x="1331826" y="171152"/>
                </a:cubicBezTo>
                <a:lnTo>
                  <a:pt x="1331826" y="1050355"/>
                </a:lnTo>
                <a:cubicBezTo>
                  <a:pt x="1331826" y="1144860"/>
                  <a:pt x="1255179" y="1221507"/>
                  <a:pt x="1160673" y="1221507"/>
                </a:cubicBezTo>
                <a:lnTo>
                  <a:pt x="172827" y="1221507"/>
                </a:lnTo>
                <a:cubicBezTo>
                  <a:pt x="78321" y="1221507"/>
                  <a:pt x="1674" y="1144860"/>
                  <a:pt x="1674" y="1050355"/>
                </a:cubicBezTo>
                <a:lnTo>
                  <a:pt x="1674" y="1006450"/>
                </a:lnTo>
                <a:cubicBezTo>
                  <a:pt x="-558" y="997893"/>
                  <a:pt x="-558" y="989335"/>
                  <a:pt x="1674" y="980405"/>
                </a:cubicBezTo>
                <a:lnTo>
                  <a:pt x="1674" y="171152"/>
                </a:lnTo>
                <a:cubicBezTo>
                  <a:pt x="1674" y="76646"/>
                  <a:pt x="78321" y="0"/>
                  <a:pt x="172827" y="0"/>
                </a:cubicBezTo>
                <a:close/>
              </a:path>
            </a:pathLst>
          </a:custGeom>
          <a:solidFill>
            <a:schemeClr val="bg1"/>
          </a:solidFill>
          <a:ln w="1860" cap="flat">
            <a:noFill/>
            <a:prstDash val="solid"/>
            <a:miter/>
          </a:ln>
        </p:spPr>
        <p:txBody>
          <a:bodyPr rtlCol="0" anchor="ctr"/>
          <a:lstStyle/>
          <a:p>
            <a:endParaRPr lang="zh-CN" altLang="en-US"/>
          </a:p>
        </p:txBody>
      </p:sp>
    </p:spTree>
    <p:custDataLst>
      <p:tags r:id="rId2"/>
    </p:custDataLst>
    <p:extLst>
      <p:ext uri="{BB962C8B-B14F-4D97-AF65-F5344CB8AC3E}">
        <p14:creationId xmlns:p14="http://schemas.microsoft.com/office/powerpoint/2010/main" val="1168311177"/>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a:extLst>
              <a:ext uri="{FF2B5EF4-FFF2-40B4-BE49-F238E27FC236}">
                <a16:creationId xmlns:a16="http://schemas.microsoft.com/office/drawing/2014/main" id="{F682F9CF-E3FB-4D92-9D66-55D5787E1B96}"/>
              </a:ext>
            </a:extLst>
          </p:cNvPr>
          <p:cNvSpPr/>
          <p:nvPr/>
        </p:nvSpPr>
        <p:spPr>
          <a:xfrm>
            <a:off x="1694688" y="0"/>
            <a:ext cx="8802624"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p>
        </p:txBody>
      </p:sp>
      <p:sp>
        <p:nvSpPr>
          <p:cNvPr id="3" name="矩形 2">
            <a:extLst>
              <a:ext uri="{FF2B5EF4-FFF2-40B4-BE49-F238E27FC236}">
                <a16:creationId xmlns:a16="http://schemas.microsoft.com/office/drawing/2014/main" id="{39459A02-5E42-4E52-82D6-CFBD80660FE7}"/>
              </a:ext>
            </a:extLst>
          </p:cNvPr>
          <p:cNvSpPr/>
          <p:nvPr/>
        </p:nvSpPr>
        <p:spPr>
          <a:xfrm>
            <a:off x="1333500" y="1801368"/>
            <a:ext cx="9525000" cy="2980944"/>
          </a:xfrm>
          <a:prstGeom prst="rect">
            <a:avLst/>
          </a:prstGeom>
          <a:solidFill>
            <a:schemeClr val="accent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p>
        </p:txBody>
      </p:sp>
      <p:sp>
        <p:nvSpPr>
          <p:cNvPr id="11" name="文本框 10">
            <a:extLst>
              <a:ext uri="{FF2B5EF4-FFF2-40B4-BE49-F238E27FC236}">
                <a16:creationId xmlns:a16="http://schemas.microsoft.com/office/drawing/2014/main" id="{E4393356-E9A7-46D9-B5F5-0D21EC991A29}"/>
              </a:ext>
            </a:extLst>
          </p:cNvPr>
          <p:cNvSpPr txBox="1"/>
          <p:nvPr/>
        </p:nvSpPr>
        <p:spPr>
          <a:xfrm>
            <a:off x="1941017" y="2813447"/>
            <a:ext cx="8309967" cy="1107996"/>
          </a:xfrm>
          <a:prstGeom prst="rect">
            <a:avLst/>
          </a:prstGeom>
          <a:noFill/>
        </p:spPr>
        <p:txBody>
          <a:bodyPr wrap="none" lIns="0" tIns="0" rIns="0" bIns="0" rtlCol="0" anchor="t">
            <a:spAutoFit/>
          </a:bodyPr>
          <a:lstStyle/>
          <a:p>
            <a:pPr algn="ctr"/>
            <a:r>
              <a:rPr lang="zh-CN" altLang="en-US" sz="7200" dirty="0">
                <a:solidFill>
                  <a:schemeClr val="bg1"/>
                </a:solidFill>
                <a:latin typeface="+mj-ea"/>
                <a:ea typeface="+mj-ea"/>
              </a:rPr>
              <a:t>输入你的封面大标题</a:t>
            </a:r>
          </a:p>
        </p:txBody>
      </p:sp>
      <p:sp>
        <p:nvSpPr>
          <p:cNvPr id="12" name="文本框 11">
            <a:extLst>
              <a:ext uri="{FF2B5EF4-FFF2-40B4-BE49-F238E27FC236}">
                <a16:creationId xmlns:a16="http://schemas.microsoft.com/office/drawing/2014/main" id="{08D1ED60-C0E7-408E-A5AA-59B489440FCB}"/>
              </a:ext>
            </a:extLst>
          </p:cNvPr>
          <p:cNvSpPr txBox="1"/>
          <p:nvPr/>
        </p:nvSpPr>
        <p:spPr>
          <a:xfrm>
            <a:off x="4095451" y="2275523"/>
            <a:ext cx="4001095" cy="369332"/>
          </a:xfrm>
          <a:prstGeom prst="rect">
            <a:avLst/>
          </a:prstGeom>
          <a:noFill/>
        </p:spPr>
        <p:txBody>
          <a:bodyPr wrap="none" lIns="0" tIns="0" rIns="0" bIns="0" rtlCol="0" anchor="t">
            <a:spAutoFit/>
          </a:bodyPr>
          <a:lstStyle/>
          <a:p>
            <a:pPr algn="ctr"/>
            <a:r>
              <a:rPr lang="zh-CN" altLang="en-US" sz="2400" dirty="0">
                <a:solidFill>
                  <a:schemeClr val="bg1"/>
                </a:solidFill>
                <a:latin typeface="+mn-ea"/>
              </a:rPr>
              <a:t>输入你的副标题或大标题英文</a:t>
            </a:r>
          </a:p>
        </p:txBody>
      </p:sp>
      <p:cxnSp>
        <p:nvCxnSpPr>
          <p:cNvPr id="14" name="直接连接符 13">
            <a:extLst>
              <a:ext uri="{FF2B5EF4-FFF2-40B4-BE49-F238E27FC236}">
                <a16:creationId xmlns:a16="http://schemas.microsoft.com/office/drawing/2014/main" id="{99FDF5DC-EAFA-4C3B-B052-660243EB047F}"/>
              </a:ext>
            </a:extLst>
          </p:cNvPr>
          <p:cNvCxnSpPr/>
          <p:nvPr/>
        </p:nvCxnSpPr>
        <p:spPr>
          <a:xfrm flipH="1">
            <a:off x="2029968" y="2465975"/>
            <a:ext cx="1901952"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 name="直接连接符 14">
            <a:extLst>
              <a:ext uri="{FF2B5EF4-FFF2-40B4-BE49-F238E27FC236}">
                <a16:creationId xmlns:a16="http://schemas.microsoft.com/office/drawing/2014/main" id="{C6CC629A-E754-4728-BB95-563C56597B63}"/>
              </a:ext>
            </a:extLst>
          </p:cNvPr>
          <p:cNvCxnSpPr/>
          <p:nvPr/>
        </p:nvCxnSpPr>
        <p:spPr>
          <a:xfrm flipH="1">
            <a:off x="8284464" y="2465975"/>
            <a:ext cx="1901952"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grpSp>
        <p:nvGrpSpPr>
          <p:cNvPr id="18" name="组合 17">
            <a:extLst>
              <a:ext uri="{FF2B5EF4-FFF2-40B4-BE49-F238E27FC236}">
                <a16:creationId xmlns:a16="http://schemas.microsoft.com/office/drawing/2014/main" id="{FC799265-AC15-410F-82A2-679AB60B288F}"/>
              </a:ext>
            </a:extLst>
          </p:cNvPr>
          <p:cNvGrpSpPr/>
          <p:nvPr/>
        </p:nvGrpSpPr>
        <p:grpSpPr>
          <a:xfrm>
            <a:off x="4331702" y="4268914"/>
            <a:ext cx="1475214" cy="246221"/>
            <a:chOff x="4095451" y="4640913"/>
            <a:chExt cx="1475214" cy="246221"/>
          </a:xfrm>
        </p:grpSpPr>
        <p:sp>
          <p:nvSpPr>
            <p:cNvPr id="16" name="矩形 15">
              <a:extLst>
                <a:ext uri="{FF2B5EF4-FFF2-40B4-BE49-F238E27FC236}">
                  <a16:creationId xmlns:a16="http://schemas.microsoft.com/office/drawing/2014/main" id="{74C493E7-1B47-4349-BC5B-BF3163490795}"/>
                </a:ext>
              </a:extLst>
            </p:cNvPr>
            <p:cNvSpPr/>
            <p:nvPr/>
          </p:nvSpPr>
          <p:spPr>
            <a:xfrm>
              <a:off x="4095451" y="4672584"/>
              <a:ext cx="164592" cy="1645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solidFill>
                  <a:schemeClr val="bg1"/>
                </a:solidFill>
              </a:endParaRPr>
            </a:p>
          </p:txBody>
        </p:sp>
        <p:sp>
          <p:nvSpPr>
            <p:cNvPr id="17" name="文本框 16">
              <a:extLst>
                <a:ext uri="{FF2B5EF4-FFF2-40B4-BE49-F238E27FC236}">
                  <a16:creationId xmlns:a16="http://schemas.microsoft.com/office/drawing/2014/main" id="{B804F6AA-7656-4EF8-84F0-3B3FB5CF0922}"/>
                </a:ext>
              </a:extLst>
            </p:cNvPr>
            <p:cNvSpPr txBox="1"/>
            <p:nvPr/>
          </p:nvSpPr>
          <p:spPr>
            <a:xfrm>
              <a:off x="4408487" y="4640913"/>
              <a:ext cx="1162178" cy="246221"/>
            </a:xfrm>
            <a:prstGeom prst="rect">
              <a:avLst/>
            </a:prstGeom>
            <a:noFill/>
          </p:spPr>
          <p:txBody>
            <a:bodyPr wrap="none" lIns="0" tIns="0" rIns="0" bIns="0" rtlCol="0" anchor="t">
              <a:spAutoFit/>
            </a:bodyPr>
            <a:lstStyle/>
            <a:p>
              <a:r>
                <a:rPr lang="zh-CN" altLang="en-US" sz="1600" dirty="0">
                  <a:solidFill>
                    <a:schemeClr val="bg1"/>
                  </a:solidFill>
                  <a:latin typeface="+mn-ea"/>
                </a:rPr>
                <a:t>汇报人：</a:t>
              </a:r>
              <a:r>
                <a:rPr lang="en-US" altLang="zh-CN" sz="1600" dirty="0">
                  <a:solidFill>
                    <a:schemeClr val="bg1"/>
                  </a:solidFill>
                  <a:latin typeface="+mn-ea"/>
                </a:rPr>
                <a:t>xxx</a:t>
              </a:r>
              <a:endParaRPr lang="zh-CN" altLang="en-US" sz="1600" dirty="0">
                <a:solidFill>
                  <a:schemeClr val="bg1"/>
                </a:solidFill>
                <a:latin typeface="+mn-ea"/>
              </a:endParaRPr>
            </a:p>
          </p:txBody>
        </p:sp>
      </p:grpSp>
      <p:grpSp>
        <p:nvGrpSpPr>
          <p:cNvPr id="19" name="组合 18">
            <a:extLst>
              <a:ext uri="{FF2B5EF4-FFF2-40B4-BE49-F238E27FC236}">
                <a16:creationId xmlns:a16="http://schemas.microsoft.com/office/drawing/2014/main" id="{482B1619-178E-45D1-BC39-C5F4314075B6}"/>
              </a:ext>
            </a:extLst>
          </p:cNvPr>
          <p:cNvGrpSpPr/>
          <p:nvPr/>
        </p:nvGrpSpPr>
        <p:grpSpPr>
          <a:xfrm>
            <a:off x="6590270" y="4268914"/>
            <a:ext cx="1270029" cy="246221"/>
            <a:chOff x="4095451" y="4640913"/>
            <a:chExt cx="1270029" cy="246221"/>
          </a:xfrm>
        </p:grpSpPr>
        <p:sp>
          <p:nvSpPr>
            <p:cNvPr id="20" name="矩形 19">
              <a:extLst>
                <a:ext uri="{FF2B5EF4-FFF2-40B4-BE49-F238E27FC236}">
                  <a16:creationId xmlns:a16="http://schemas.microsoft.com/office/drawing/2014/main" id="{3A1AE345-38CE-49BE-9E58-2C20078777A3}"/>
                </a:ext>
              </a:extLst>
            </p:cNvPr>
            <p:cNvSpPr/>
            <p:nvPr/>
          </p:nvSpPr>
          <p:spPr>
            <a:xfrm>
              <a:off x="4095451" y="4672584"/>
              <a:ext cx="164592" cy="1645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solidFill>
                  <a:schemeClr val="bg1"/>
                </a:solidFill>
              </a:endParaRPr>
            </a:p>
          </p:txBody>
        </p:sp>
        <p:sp>
          <p:nvSpPr>
            <p:cNvPr id="21" name="文本框 20">
              <a:extLst>
                <a:ext uri="{FF2B5EF4-FFF2-40B4-BE49-F238E27FC236}">
                  <a16:creationId xmlns:a16="http://schemas.microsoft.com/office/drawing/2014/main" id="{FCC3031D-C171-43E7-B549-82FC96054817}"/>
                </a:ext>
              </a:extLst>
            </p:cNvPr>
            <p:cNvSpPr txBox="1"/>
            <p:nvPr/>
          </p:nvSpPr>
          <p:spPr>
            <a:xfrm>
              <a:off x="4408487" y="4640913"/>
              <a:ext cx="956993" cy="246221"/>
            </a:xfrm>
            <a:prstGeom prst="rect">
              <a:avLst/>
            </a:prstGeom>
            <a:noFill/>
          </p:spPr>
          <p:txBody>
            <a:bodyPr wrap="none" lIns="0" tIns="0" rIns="0" bIns="0" rtlCol="0" anchor="t">
              <a:spAutoFit/>
            </a:bodyPr>
            <a:lstStyle/>
            <a:p>
              <a:r>
                <a:rPr lang="zh-CN" altLang="en-US" sz="1600" dirty="0">
                  <a:solidFill>
                    <a:schemeClr val="bg1"/>
                  </a:solidFill>
                  <a:latin typeface="+mn-ea"/>
                </a:rPr>
                <a:t>单位：</a:t>
              </a:r>
              <a:r>
                <a:rPr lang="en-US" altLang="zh-CN" sz="1600" dirty="0">
                  <a:solidFill>
                    <a:schemeClr val="bg1"/>
                  </a:solidFill>
                  <a:latin typeface="+mn-ea"/>
                </a:rPr>
                <a:t>xxx</a:t>
              </a:r>
              <a:endParaRPr lang="zh-CN" altLang="en-US" sz="1600" dirty="0">
                <a:solidFill>
                  <a:schemeClr val="bg1"/>
                </a:solidFill>
                <a:latin typeface="+mn-ea"/>
              </a:endParaRPr>
            </a:p>
          </p:txBody>
        </p:sp>
      </p:grpSp>
      <p:cxnSp>
        <p:nvCxnSpPr>
          <p:cNvPr id="23" name="直接连接符 22">
            <a:extLst>
              <a:ext uri="{FF2B5EF4-FFF2-40B4-BE49-F238E27FC236}">
                <a16:creationId xmlns:a16="http://schemas.microsoft.com/office/drawing/2014/main" id="{CE4614EF-B88F-4347-B526-58ECE7F96194}"/>
              </a:ext>
            </a:extLst>
          </p:cNvPr>
          <p:cNvCxnSpPr>
            <a:cxnSpLocks/>
          </p:cNvCxnSpPr>
          <p:nvPr/>
        </p:nvCxnSpPr>
        <p:spPr>
          <a:xfrm flipH="1">
            <a:off x="2029968" y="3989975"/>
            <a:ext cx="8156448"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65045170"/>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2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矩形: 圆角 8">
            <a:extLst>
              <a:ext uri="{FF2B5EF4-FFF2-40B4-BE49-F238E27FC236}">
                <a16:creationId xmlns:a16="http://schemas.microsoft.com/office/drawing/2014/main" id="{7109B775-4B66-40D4-8D4D-43C7F416F836}"/>
              </a:ext>
            </a:extLst>
          </p:cNvPr>
          <p:cNvSpPr/>
          <p:nvPr/>
        </p:nvSpPr>
        <p:spPr>
          <a:xfrm>
            <a:off x="4544567" y="1519237"/>
            <a:ext cx="5904357" cy="812483"/>
          </a:xfrm>
          <a:prstGeom prst="roundRect">
            <a:avLst>
              <a:gd name="adj" fmla="val 12485"/>
            </a:avLst>
          </a:prstGeom>
          <a:solidFill>
            <a:schemeClr val="bg1"/>
          </a:solidFill>
          <a:ln>
            <a:noFill/>
          </a:ln>
          <a:effectLst>
            <a:outerShdw blurRad="203200" sx="102000" sy="102000" algn="ctr" rotWithShape="0">
              <a:schemeClr val="accent1">
                <a:lumMod val="90000"/>
                <a:lumOff val="10000"/>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40" name="矩形: 圆角 39">
            <a:extLst>
              <a:ext uri="{FF2B5EF4-FFF2-40B4-BE49-F238E27FC236}">
                <a16:creationId xmlns:a16="http://schemas.microsoft.com/office/drawing/2014/main" id="{2EDBB55B-150C-4E09-9A4E-31EB403694C0}"/>
              </a:ext>
            </a:extLst>
          </p:cNvPr>
          <p:cNvSpPr/>
          <p:nvPr/>
        </p:nvSpPr>
        <p:spPr>
          <a:xfrm>
            <a:off x="4544567" y="3017387"/>
            <a:ext cx="5904357" cy="812483"/>
          </a:xfrm>
          <a:prstGeom prst="roundRect">
            <a:avLst>
              <a:gd name="adj" fmla="val 12485"/>
            </a:avLst>
          </a:prstGeom>
          <a:solidFill>
            <a:schemeClr val="bg1"/>
          </a:solidFill>
          <a:ln>
            <a:noFill/>
          </a:ln>
          <a:effectLst>
            <a:outerShdw blurRad="203200" sx="102000" sy="102000" algn="ctr" rotWithShape="0">
              <a:schemeClr val="accent1">
                <a:lumMod val="90000"/>
                <a:lumOff val="10000"/>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zh-CN" altLang="en-US" sz="1600">
              <a:solidFill>
                <a:schemeClr val="bg1"/>
              </a:solidFill>
              <a:latin typeface="+mj-ea"/>
              <a:ea typeface="+mj-ea"/>
            </a:endParaRPr>
          </a:p>
        </p:txBody>
      </p:sp>
      <p:sp>
        <p:nvSpPr>
          <p:cNvPr id="45" name="矩形: 圆角 44">
            <a:extLst>
              <a:ext uri="{FF2B5EF4-FFF2-40B4-BE49-F238E27FC236}">
                <a16:creationId xmlns:a16="http://schemas.microsoft.com/office/drawing/2014/main" id="{1F5E51C1-9CE5-4764-AC1F-3E667FCDC476}"/>
              </a:ext>
            </a:extLst>
          </p:cNvPr>
          <p:cNvSpPr/>
          <p:nvPr/>
        </p:nvSpPr>
        <p:spPr>
          <a:xfrm>
            <a:off x="4544567" y="4515536"/>
            <a:ext cx="5904357" cy="812483"/>
          </a:xfrm>
          <a:prstGeom prst="roundRect">
            <a:avLst>
              <a:gd name="adj" fmla="val 11313"/>
            </a:avLst>
          </a:prstGeom>
          <a:solidFill>
            <a:schemeClr val="bg1"/>
          </a:solidFill>
          <a:ln>
            <a:noFill/>
          </a:ln>
          <a:effectLst>
            <a:outerShdw blurRad="203200" sx="102000" sy="102000" algn="ctr" rotWithShape="0">
              <a:schemeClr val="accent1">
                <a:lumMod val="90000"/>
                <a:lumOff val="10000"/>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2" name="任意形状 9">
            <a:extLst>
              <a:ext uri="{FF2B5EF4-FFF2-40B4-BE49-F238E27FC236}">
                <a16:creationId xmlns:a16="http://schemas.microsoft.com/office/drawing/2014/main" id="{79C0392D-8AB4-4C9C-BB47-E593C645F444}"/>
              </a:ext>
            </a:extLst>
          </p:cNvPr>
          <p:cNvSpPr/>
          <p:nvPr/>
        </p:nvSpPr>
        <p:spPr>
          <a:xfrm>
            <a:off x="0" y="6457950"/>
            <a:ext cx="12192000" cy="400050"/>
          </a:xfrm>
          <a:custGeom>
            <a:avLst/>
            <a:gdLst>
              <a:gd name="connsiteX0" fmla="*/ 12192000 w 12192000"/>
              <a:gd name="connsiteY0" fmla="*/ 0 h 329410"/>
              <a:gd name="connsiteX1" fmla="*/ 12192000 w 12192000"/>
              <a:gd name="connsiteY1" fmla="*/ 329410 h 329410"/>
              <a:gd name="connsiteX2" fmla="*/ 0 w 12192000"/>
              <a:gd name="connsiteY2" fmla="*/ 329410 h 329410"/>
              <a:gd name="connsiteX3" fmla="*/ 0 w 12192000"/>
              <a:gd name="connsiteY3" fmla="*/ 29375 h 329410"/>
              <a:gd name="connsiteX4" fmla="*/ 577089 w 12192000"/>
              <a:gd name="connsiteY4" fmla="*/ 49593 h 329410"/>
              <a:gd name="connsiteX5" fmla="*/ 5704114 w 12192000"/>
              <a:gd name="connsiteY5" fmla="*/ 124873 h 329410"/>
              <a:gd name="connsiteX6" fmla="*/ 11982536 w 12192000"/>
              <a:gd name="connsiteY6" fmla="*/ 9255 h 329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329410">
                <a:moveTo>
                  <a:pt x="12192000" y="0"/>
                </a:moveTo>
                <a:lnTo>
                  <a:pt x="12192000" y="329410"/>
                </a:lnTo>
                <a:lnTo>
                  <a:pt x="0" y="329410"/>
                </a:lnTo>
                <a:lnTo>
                  <a:pt x="0" y="29375"/>
                </a:lnTo>
                <a:lnTo>
                  <a:pt x="577089" y="49593"/>
                </a:lnTo>
                <a:cubicBezTo>
                  <a:pt x="2152931" y="98068"/>
                  <a:pt x="3885480" y="124873"/>
                  <a:pt x="5704114" y="124873"/>
                </a:cubicBezTo>
                <a:cubicBezTo>
                  <a:pt x="7977407" y="124873"/>
                  <a:pt x="10116192" y="82990"/>
                  <a:pt x="11982536" y="9255"/>
                </a:cubicBezTo>
                <a:close/>
              </a:path>
            </a:pathLst>
          </a:custGeom>
          <a:solidFill>
            <a:schemeClr val="accent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zh-CN" altLang="en-US"/>
          </a:p>
        </p:txBody>
      </p:sp>
      <p:sp>
        <p:nvSpPr>
          <p:cNvPr id="7" name="椭圆 6">
            <a:extLst>
              <a:ext uri="{FF2B5EF4-FFF2-40B4-BE49-F238E27FC236}">
                <a16:creationId xmlns:a16="http://schemas.microsoft.com/office/drawing/2014/main" id="{076CC3D7-D4BE-45CD-8D2C-0DC1AA735C53}"/>
              </a:ext>
            </a:extLst>
          </p:cNvPr>
          <p:cNvSpPr/>
          <p:nvPr/>
        </p:nvSpPr>
        <p:spPr>
          <a:xfrm>
            <a:off x="1400175" y="2181225"/>
            <a:ext cx="2314575" cy="2314575"/>
          </a:xfrm>
          <a:prstGeom prst="ellipse">
            <a:avLst/>
          </a:prstGeom>
          <a:solidFill>
            <a:schemeClr val="accent1"/>
          </a:solidFill>
          <a:ln>
            <a:noFill/>
          </a:ln>
          <a:effectLst>
            <a:outerShdw blurRad="228600" dist="114300" dir="5400000" algn="t" rotWithShape="0">
              <a:schemeClr val="accent1">
                <a:lumMod val="90000"/>
                <a:lumOff val="10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23" name="shop_346547">
            <a:extLst>
              <a:ext uri="{FF2B5EF4-FFF2-40B4-BE49-F238E27FC236}">
                <a16:creationId xmlns:a16="http://schemas.microsoft.com/office/drawing/2014/main" id="{51B5FF73-C811-4BD6-BEB0-C22B76A07E60}"/>
              </a:ext>
            </a:extLst>
          </p:cNvPr>
          <p:cNvSpPr/>
          <p:nvPr/>
        </p:nvSpPr>
        <p:spPr>
          <a:xfrm>
            <a:off x="2172400" y="2953547"/>
            <a:ext cx="770124" cy="769930"/>
          </a:xfrm>
          <a:custGeom>
            <a:avLst/>
            <a:gdLst>
              <a:gd name="connsiteX0" fmla="*/ 339625 w 606239"/>
              <a:gd name="connsiteY0" fmla="*/ 410867 h 606087"/>
              <a:gd name="connsiteX1" fmla="*/ 339625 w 606239"/>
              <a:gd name="connsiteY1" fmla="*/ 511555 h 606087"/>
              <a:gd name="connsiteX2" fmla="*/ 486677 w 606239"/>
              <a:gd name="connsiteY2" fmla="*/ 511555 h 606087"/>
              <a:gd name="connsiteX3" fmla="*/ 486677 w 606239"/>
              <a:gd name="connsiteY3" fmla="*/ 410867 h 606087"/>
              <a:gd name="connsiteX4" fmla="*/ 117843 w 606239"/>
              <a:gd name="connsiteY4" fmla="*/ 298351 h 606087"/>
              <a:gd name="connsiteX5" fmla="*/ 179572 w 606239"/>
              <a:gd name="connsiteY5" fmla="*/ 324124 h 606087"/>
              <a:gd name="connsiteX6" fmla="*/ 241302 w 606239"/>
              <a:gd name="connsiteY6" fmla="*/ 298351 h 606087"/>
              <a:gd name="connsiteX7" fmla="*/ 303127 w 606239"/>
              <a:gd name="connsiteY7" fmla="*/ 324124 h 606087"/>
              <a:gd name="connsiteX8" fmla="*/ 364856 w 606239"/>
              <a:gd name="connsiteY8" fmla="*/ 298351 h 606087"/>
              <a:gd name="connsiteX9" fmla="*/ 426585 w 606239"/>
              <a:gd name="connsiteY9" fmla="*/ 324124 h 606087"/>
              <a:gd name="connsiteX10" fmla="*/ 488411 w 606239"/>
              <a:gd name="connsiteY10" fmla="*/ 298351 h 606087"/>
              <a:gd name="connsiteX11" fmla="*/ 550140 w 606239"/>
              <a:gd name="connsiteY11" fmla="*/ 324124 h 606087"/>
              <a:gd name="connsiteX12" fmla="*/ 559385 w 606239"/>
              <a:gd name="connsiteY12" fmla="*/ 323547 h 606087"/>
              <a:gd name="connsiteX13" fmla="*/ 559385 w 606239"/>
              <a:gd name="connsiteY13" fmla="*/ 606087 h 606087"/>
              <a:gd name="connsiteX14" fmla="*/ 269518 w 606239"/>
              <a:gd name="connsiteY14" fmla="*/ 606087 h 606087"/>
              <a:gd name="connsiteX15" fmla="*/ 269518 w 606239"/>
              <a:gd name="connsiteY15" fmla="*/ 410867 h 606087"/>
              <a:gd name="connsiteX16" fmla="*/ 123525 w 606239"/>
              <a:gd name="connsiteY16" fmla="*/ 410867 h 606087"/>
              <a:gd name="connsiteX17" fmla="*/ 123525 w 606239"/>
              <a:gd name="connsiteY17" fmla="*/ 606087 h 606087"/>
              <a:gd name="connsiteX18" fmla="*/ 46869 w 606239"/>
              <a:gd name="connsiteY18" fmla="*/ 606087 h 606087"/>
              <a:gd name="connsiteX19" fmla="*/ 46869 w 606239"/>
              <a:gd name="connsiteY19" fmla="*/ 323547 h 606087"/>
              <a:gd name="connsiteX20" fmla="*/ 56018 w 606239"/>
              <a:gd name="connsiteY20" fmla="*/ 324124 h 606087"/>
              <a:gd name="connsiteX21" fmla="*/ 117843 w 606239"/>
              <a:gd name="connsiteY21" fmla="*/ 298351 h 606087"/>
              <a:gd name="connsiteX22" fmla="*/ 194887 w 606239"/>
              <a:gd name="connsiteY22" fmla="*/ 0 h 606087"/>
              <a:gd name="connsiteX23" fmla="*/ 411297 w 606239"/>
              <a:gd name="connsiteY23" fmla="*/ 0 h 606087"/>
              <a:gd name="connsiteX24" fmla="*/ 411297 w 606239"/>
              <a:gd name="connsiteY24" fmla="*/ 55101 h 606087"/>
              <a:gd name="connsiteX25" fmla="*/ 509053 w 606239"/>
              <a:gd name="connsiteY25" fmla="*/ 55101 h 606087"/>
              <a:gd name="connsiteX26" fmla="*/ 599489 w 606239"/>
              <a:gd name="connsiteY26" fmla="*/ 213287 h 606087"/>
              <a:gd name="connsiteX27" fmla="*/ 557401 w 606239"/>
              <a:gd name="connsiteY27" fmla="*/ 298390 h 606087"/>
              <a:gd name="connsiteX28" fmla="*/ 550178 w 606239"/>
              <a:gd name="connsiteY28" fmla="*/ 298774 h 606087"/>
              <a:gd name="connsiteX29" fmla="*/ 488442 w 606239"/>
              <a:gd name="connsiteY29" fmla="*/ 237135 h 606087"/>
              <a:gd name="connsiteX30" fmla="*/ 426611 w 606239"/>
              <a:gd name="connsiteY30" fmla="*/ 298774 h 606087"/>
              <a:gd name="connsiteX31" fmla="*/ 364875 w 606239"/>
              <a:gd name="connsiteY31" fmla="*/ 237135 h 606087"/>
              <a:gd name="connsiteX32" fmla="*/ 303140 w 606239"/>
              <a:gd name="connsiteY32" fmla="*/ 298774 h 606087"/>
              <a:gd name="connsiteX33" fmla="*/ 241309 w 606239"/>
              <a:gd name="connsiteY33" fmla="*/ 237135 h 606087"/>
              <a:gd name="connsiteX34" fmla="*/ 179573 w 606239"/>
              <a:gd name="connsiteY34" fmla="*/ 298774 h 606087"/>
              <a:gd name="connsiteX35" fmla="*/ 117838 w 606239"/>
              <a:gd name="connsiteY35" fmla="*/ 237135 h 606087"/>
              <a:gd name="connsiteX36" fmla="*/ 56007 w 606239"/>
              <a:gd name="connsiteY36" fmla="*/ 298774 h 606087"/>
              <a:gd name="connsiteX37" fmla="*/ 48880 w 606239"/>
              <a:gd name="connsiteY37" fmla="*/ 298390 h 606087"/>
              <a:gd name="connsiteX38" fmla="*/ 6792 w 606239"/>
              <a:gd name="connsiteY38" fmla="*/ 213287 h 606087"/>
              <a:gd name="connsiteX39" fmla="*/ 97228 w 606239"/>
              <a:gd name="connsiteY39" fmla="*/ 55101 h 606087"/>
              <a:gd name="connsiteX40" fmla="*/ 194887 w 606239"/>
              <a:gd name="connsiteY40" fmla="*/ 55101 h 606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606239" h="606087">
                <a:moveTo>
                  <a:pt x="339625" y="410867"/>
                </a:moveTo>
                <a:lnTo>
                  <a:pt x="339625" y="511555"/>
                </a:lnTo>
                <a:lnTo>
                  <a:pt x="486677" y="511555"/>
                </a:lnTo>
                <a:lnTo>
                  <a:pt x="486677" y="410867"/>
                </a:lnTo>
                <a:close/>
                <a:moveTo>
                  <a:pt x="117843" y="298351"/>
                </a:moveTo>
                <a:cubicBezTo>
                  <a:pt x="133637" y="314315"/>
                  <a:pt x="155497" y="324124"/>
                  <a:pt x="179572" y="324124"/>
                </a:cubicBezTo>
                <a:cubicBezTo>
                  <a:pt x="203744" y="324124"/>
                  <a:pt x="225604" y="314315"/>
                  <a:pt x="241302" y="298351"/>
                </a:cubicBezTo>
                <a:cubicBezTo>
                  <a:pt x="257095" y="314315"/>
                  <a:pt x="278955" y="324124"/>
                  <a:pt x="303127" y="324124"/>
                </a:cubicBezTo>
                <a:cubicBezTo>
                  <a:pt x="327202" y="324124"/>
                  <a:pt x="349063" y="314315"/>
                  <a:pt x="364856" y="298351"/>
                </a:cubicBezTo>
                <a:cubicBezTo>
                  <a:pt x="380650" y="314315"/>
                  <a:pt x="402510" y="324124"/>
                  <a:pt x="426585" y="324124"/>
                </a:cubicBezTo>
                <a:cubicBezTo>
                  <a:pt x="450757" y="324124"/>
                  <a:pt x="472617" y="314315"/>
                  <a:pt x="488411" y="298351"/>
                </a:cubicBezTo>
                <a:cubicBezTo>
                  <a:pt x="504204" y="314315"/>
                  <a:pt x="526065" y="324124"/>
                  <a:pt x="550140" y="324124"/>
                </a:cubicBezTo>
                <a:cubicBezTo>
                  <a:pt x="553222" y="324124"/>
                  <a:pt x="556303" y="323932"/>
                  <a:pt x="559385" y="323547"/>
                </a:cubicBezTo>
                <a:lnTo>
                  <a:pt x="559385" y="606087"/>
                </a:lnTo>
                <a:lnTo>
                  <a:pt x="269518" y="606087"/>
                </a:lnTo>
                <a:lnTo>
                  <a:pt x="269518" y="410867"/>
                </a:lnTo>
                <a:lnTo>
                  <a:pt x="123525" y="410867"/>
                </a:lnTo>
                <a:lnTo>
                  <a:pt x="123525" y="606087"/>
                </a:lnTo>
                <a:lnTo>
                  <a:pt x="46869" y="606087"/>
                </a:lnTo>
                <a:lnTo>
                  <a:pt x="46869" y="323547"/>
                </a:lnTo>
                <a:cubicBezTo>
                  <a:pt x="49854" y="323932"/>
                  <a:pt x="52936" y="324124"/>
                  <a:pt x="56018" y="324124"/>
                </a:cubicBezTo>
                <a:cubicBezTo>
                  <a:pt x="80189" y="324124"/>
                  <a:pt x="102050" y="314315"/>
                  <a:pt x="117843" y="298351"/>
                </a:cubicBezTo>
                <a:close/>
                <a:moveTo>
                  <a:pt x="194887" y="0"/>
                </a:moveTo>
                <a:lnTo>
                  <a:pt x="411297" y="0"/>
                </a:lnTo>
                <a:lnTo>
                  <a:pt x="411297" y="55101"/>
                </a:lnTo>
                <a:lnTo>
                  <a:pt x="509053" y="55101"/>
                </a:lnTo>
                <a:lnTo>
                  <a:pt x="599489" y="213287"/>
                </a:lnTo>
                <a:cubicBezTo>
                  <a:pt x="617884" y="248578"/>
                  <a:pt x="596985" y="293774"/>
                  <a:pt x="557401" y="298390"/>
                </a:cubicBezTo>
                <a:cubicBezTo>
                  <a:pt x="554993" y="298678"/>
                  <a:pt x="552585" y="298774"/>
                  <a:pt x="550178" y="298774"/>
                </a:cubicBezTo>
                <a:cubicBezTo>
                  <a:pt x="516083" y="298774"/>
                  <a:pt x="488442" y="271176"/>
                  <a:pt x="488442" y="237135"/>
                </a:cubicBezTo>
                <a:cubicBezTo>
                  <a:pt x="488442" y="271176"/>
                  <a:pt x="460801" y="298774"/>
                  <a:pt x="426611" y="298774"/>
                </a:cubicBezTo>
                <a:cubicBezTo>
                  <a:pt x="392517" y="298774"/>
                  <a:pt x="364875" y="271176"/>
                  <a:pt x="364875" y="237135"/>
                </a:cubicBezTo>
                <a:cubicBezTo>
                  <a:pt x="364875" y="271176"/>
                  <a:pt x="337234" y="298774"/>
                  <a:pt x="303140" y="298774"/>
                </a:cubicBezTo>
                <a:cubicBezTo>
                  <a:pt x="269046" y="298774"/>
                  <a:pt x="241309" y="271176"/>
                  <a:pt x="241309" y="237135"/>
                </a:cubicBezTo>
                <a:cubicBezTo>
                  <a:pt x="241309" y="271176"/>
                  <a:pt x="213667" y="298774"/>
                  <a:pt x="179573" y="298774"/>
                </a:cubicBezTo>
                <a:cubicBezTo>
                  <a:pt x="145479" y="298774"/>
                  <a:pt x="117838" y="271176"/>
                  <a:pt x="117838" y="237135"/>
                </a:cubicBezTo>
                <a:cubicBezTo>
                  <a:pt x="117838" y="271176"/>
                  <a:pt x="90197" y="298774"/>
                  <a:pt x="56007" y="298774"/>
                </a:cubicBezTo>
                <a:cubicBezTo>
                  <a:pt x="53599" y="298774"/>
                  <a:pt x="51191" y="298678"/>
                  <a:pt x="48880" y="298390"/>
                </a:cubicBezTo>
                <a:cubicBezTo>
                  <a:pt x="9296" y="293774"/>
                  <a:pt x="-11700" y="248578"/>
                  <a:pt x="6792" y="213287"/>
                </a:cubicBezTo>
                <a:lnTo>
                  <a:pt x="97228" y="55101"/>
                </a:lnTo>
                <a:lnTo>
                  <a:pt x="194887" y="55101"/>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左大括号 7">
            <a:extLst>
              <a:ext uri="{FF2B5EF4-FFF2-40B4-BE49-F238E27FC236}">
                <a16:creationId xmlns:a16="http://schemas.microsoft.com/office/drawing/2014/main" id="{1EF27D59-364A-4E60-979A-D921D83EFF49}"/>
              </a:ext>
            </a:extLst>
          </p:cNvPr>
          <p:cNvSpPr/>
          <p:nvPr/>
        </p:nvSpPr>
        <p:spPr>
          <a:xfrm>
            <a:off x="4031932" y="1519237"/>
            <a:ext cx="320993" cy="3819525"/>
          </a:xfrm>
          <a:prstGeom prst="leftBrace">
            <a:avLst>
              <a:gd name="adj1" fmla="val 65304"/>
              <a:gd name="adj2" fmla="val 50000"/>
            </a:avLst>
          </a:prstGeom>
          <a:ln w="1905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sp>
        <p:nvSpPr>
          <p:cNvPr id="25" name="椭圆 24">
            <a:extLst>
              <a:ext uri="{FF2B5EF4-FFF2-40B4-BE49-F238E27FC236}">
                <a16:creationId xmlns:a16="http://schemas.microsoft.com/office/drawing/2014/main" id="{03E5E93A-9487-437C-B0F5-1F6E4DC19B92}"/>
              </a:ext>
            </a:extLst>
          </p:cNvPr>
          <p:cNvSpPr/>
          <p:nvPr/>
        </p:nvSpPr>
        <p:spPr>
          <a:xfrm>
            <a:off x="4635182" y="1590110"/>
            <a:ext cx="673418" cy="673418"/>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29" name="文本框 28">
            <a:extLst>
              <a:ext uri="{FF2B5EF4-FFF2-40B4-BE49-F238E27FC236}">
                <a16:creationId xmlns:a16="http://schemas.microsoft.com/office/drawing/2014/main" id="{C3CD96D4-323E-41F3-8E42-167D79E3F5DC}"/>
              </a:ext>
            </a:extLst>
          </p:cNvPr>
          <p:cNvSpPr txBox="1"/>
          <p:nvPr/>
        </p:nvSpPr>
        <p:spPr>
          <a:xfrm>
            <a:off x="5500243" y="1693074"/>
            <a:ext cx="4649597" cy="464807"/>
          </a:xfrm>
          <a:prstGeom prst="rect">
            <a:avLst/>
          </a:prstGeom>
          <a:noFill/>
        </p:spPr>
        <p:txBody>
          <a:bodyPr wrap="square" lIns="0" tIns="0" rIns="0" bIns="0" rtlCol="0" anchor="t">
            <a:spAutoFit/>
          </a:bodyPr>
          <a:lstStyle/>
          <a:p>
            <a:pPr>
              <a:lnSpc>
                <a:spcPct val="130000"/>
              </a:lnSpc>
            </a:pPr>
            <a:r>
              <a:rPr lang="en-US" altLang="zh-CN" sz="1200" b="0" dirty="0">
                <a:solidFill>
                  <a:schemeClr val="tx1">
                    <a:lumMod val="75000"/>
                    <a:lumOff val="25000"/>
                  </a:schemeClr>
                </a:solidFill>
                <a:effectLst/>
                <a:latin typeface="+mn-ea"/>
              </a:rPr>
              <a:t>Lorem ipsum dolor sit amet, consectetur adipisicing elit, sed do eiusmod tempor</a:t>
            </a:r>
            <a:endParaRPr lang="zh-CN" altLang="en-US" sz="1200" b="0" dirty="0">
              <a:solidFill>
                <a:schemeClr val="tx1">
                  <a:lumMod val="75000"/>
                  <a:lumOff val="25000"/>
                </a:schemeClr>
              </a:solidFill>
              <a:effectLst/>
              <a:latin typeface="+mn-ea"/>
            </a:endParaRPr>
          </a:p>
        </p:txBody>
      </p:sp>
      <p:sp>
        <p:nvSpPr>
          <p:cNvPr id="36" name="lab-flask_77311">
            <a:extLst>
              <a:ext uri="{FF2B5EF4-FFF2-40B4-BE49-F238E27FC236}">
                <a16:creationId xmlns:a16="http://schemas.microsoft.com/office/drawing/2014/main" id="{8FB99496-3461-4C86-AA5A-591CDB50593C}"/>
              </a:ext>
            </a:extLst>
          </p:cNvPr>
          <p:cNvSpPr/>
          <p:nvPr/>
        </p:nvSpPr>
        <p:spPr>
          <a:xfrm>
            <a:off x="4846189" y="1756520"/>
            <a:ext cx="228731" cy="318246"/>
          </a:xfrm>
          <a:custGeom>
            <a:avLst/>
            <a:gdLst>
              <a:gd name="connsiteX0" fmla="*/ 264916 w 435254"/>
              <a:gd name="connsiteY0" fmla="*/ 387002 h 605592"/>
              <a:gd name="connsiteX1" fmla="*/ 232980 w 435254"/>
              <a:gd name="connsiteY1" fmla="*/ 444284 h 605592"/>
              <a:gd name="connsiteX2" fmla="*/ 290446 w 435254"/>
              <a:gd name="connsiteY2" fmla="*/ 476076 h 605592"/>
              <a:gd name="connsiteX3" fmla="*/ 322289 w 435254"/>
              <a:gd name="connsiteY3" fmla="*/ 418794 h 605592"/>
              <a:gd name="connsiteX4" fmla="*/ 264916 w 435254"/>
              <a:gd name="connsiteY4" fmla="*/ 387002 h 605592"/>
              <a:gd name="connsiteX5" fmla="*/ 139402 w 435254"/>
              <a:gd name="connsiteY5" fmla="*/ 338432 h 605592"/>
              <a:gd name="connsiteX6" fmla="*/ 295830 w 435254"/>
              <a:gd name="connsiteY6" fmla="*/ 338432 h 605592"/>
              <a:gd name="connsiteX7" fmla="*/ 380961 w 435254"/>
              <a:gd name="connsiteY7" fmla="*/ 497395 h 605592"/>
              <a:gd name="connsiteX8" fmla="*/ 379940 w 435254"/>
              <a:gd name="connsiteY8" fmla="*/ 538271 h 605592"/>
              <a:gd name="connsiteX9" fmla="*/ 344291 w 435254"/>
              <a:gd name="connsiteY9" fmla="*/ 558384 h 605592"/>
              <a:gd name="connsiteX10" fmla="*/ 90941 w 435254"/>
              <a:gd name="connsiteY10" fmla="*/ 558384 h 605592"/>
              <a:gd name="connsiteX11" fmla="*/ 55385 w 435254"/>
              <a:gd name="connsiteY11" fmla="*/ 538271 h 605592"/>
              <a:gd name="connsiteX12" fmla="*/ 54364 w 435254"/>
              <a:gd name="connsiteY12" fmla="*/ 497395 h 605592"/>
              <a:gd name="connsiteX13" fmla="*/ 206517 w 435254"/>
              <a:gd name="connsiteY13" fmla="*/ 242939 h 605592"/>
              <a:gd name="connsiteX14" fmla="*/ 242338 w 435254"/>
              <a:gd name="connsiteY14" fmla="*/ 262869 h 605592"/>
              <a:gd name="connsiteX15" fmla="*/ 222386 w 435254"/>
              <a:gd name="connsiteY15" fmla="*/ 298651 h 605592"/>
              <a:gd name="connsiteX16" fmla="*/ 186565 w 435254"/>
              <a:gd name="connsiteY16" fmla="*/ 278813 h 605592"/>
              <a:gd name="connsiteX17" fmla="*/ 206517 w 435254"/>
              <a:gd name="connsiteY17" fmla="*/ 242939 h 605592"/>
              <a:gd name="connsiteX18" fmla="*/ 247634 w 435254"/>
              <a:gd name="connsiteY18" fmla="*/ 115529 h 605592"/>
              <a:gd name="connsiteX19" fmla="*/ 277725 w 435254"/>
              <a:gd name="connsiteY19" fmla="*/ 132203 h 605592"/>
              <a:gd name="connsiteX20" fmla="*/ 261007 w 435254"/>
              <a:gd name="connsiteY20" fmla="*/ 162123 h 605592"/>
              <a:gd name="connsiteX21" fmla="*/ 231009 w 435254"/>
              <a:gd name="connsiteY21" fmla="*/ 145542 h 605592"/>
              <a:gd name="connsiteX22" fmla="*/ 247634 w 435254"/>
              <a:gd name="connsiteY22" fmla="*/ 115529 h 605592"/>
              <a:gd name="connsiteX23" fmla="*/ 150273 w 435254"/>
              <a:gd name="connsiteY23" fmla="*/ 71748 h 605592"/>
              <a:gd name="connsiteX24" fmla="*/ 150273 w 435254"/>
              <a:gd name="connsiteY24" fmla="*/ 263353 h 605592"/>
              <a:gd name="connsiteX25" fmla="*/ 32555 w 435254"/>
              <a:gd name="connsiteY25" fmla="*/ 483510 h 605592"/>
              <a:gd name="connsiteX26" fmla="*/ 34134 w 435254"/>
              <a:gd name="connsiteY26" fmla="*/ 548769 h 605592"/>
              <a:gd name="connsiteX27" fmla="*/ 90950 w 435254"/>
              <a:gd name="connsiteY27" fmla="*/ 580935 h 605592"/>
              <a:gd name="connsiteX28" fmla="*/ 344304 w 435254"/>
              <a:gd name="connsiteY28" fmla="*/ 580935 h 605592"/>
              <a:gd name="connsiteX29" fmla="*/ 401120 w 435254"/>
              <a:gd name="connsiteY29" fmla="*/ 548769 h 605592"/>
              <a:gd name="connsiteX30" fmla="*/ 402791 w 435254"/>
              <a:gd name="connsiteY30" fmla="*/ 483510 h 605592"/>
              <a:gd name="connsiteX31" fmla="*/ 284981 w 435254"/>
              <a:gd name="connsiteY31" fmla="*/ 263353 h 605592"/>
              <a:gd name="connsiteX32" fmla="*/ 284981 w 435254"/>
              <a:gd name="connsiteY32" fmla="*/ 71748 h 605592"/>
              <a:gd name="connsiteX33" fmla="*/ 96799 w 435254"/>
              <a:gd name="connsiteY33" fmla="*/ 0 h 605592"/>
              <a:gd name="connsiteX34" fmla="*/ 337527 w 435254"/>
              <a:gd name="connsiteY34" fmla="*/ 0 h 605592"/>
              <a:gd name="connsiteX35" fmla="*/ 373548 w 435254"/>
              <a:gd name="connsiteY35" fmla="*/ 35874 h 605592"/>
              <a:gd name="connsiteX36" fmla="*/ 337527 w 435254"/>
              <a:gd name="connsiteY36" fmla="*/ 71748 h 605592"/>
              <a:gd name="connsiteX37" fmla="*/ 309768 w 435254"/>
              <a:gd name="connsiteY37" fmla="*/ 71748 h 605592"/>
              <a:gd name="connsiteX38" fmla="*/ 309768 w 435254"/>
              <a:gd name="connsiteY38" fmla="*/ 257235 h 605592"/>
              <a:gd name="connsiteX39" fmla="*/ 424608 w 435254"/>
              <a:gd name="connsiteY39" fmla="*/ 471923 h 605592"/>
              <a:gd name="connsiteX40" fmla="*/ 422380 w 435254"/>
              <a:gd name="connsiteY40" fmla="*/ 561468 h 605592"/>
              <a:gd name="connsiteX41" fmla="*/ 344304 w 435254"/>
              <a:gd name="connsiteY41" fmla="*/ 605592 h 605592"/>
              <a:gd name="connsiteX42" fmla="*/ 90950 w 435254"/>
              <a:gd name="connsiteY42" fmla="*/ 605592 h 605592"/>
              <a:gd name="connsiteX43" fmla="*/ 12874 w 435254"/>
              <a:gd name="connsiteY43" fmla="*/ 561468 h 605592"/>
              <a:gd name="connsiteX44" fmla="*/ 10646 w 435254"/>
              <a:gd name="connsiteY44" fmla="*/ 471923 h 605592"/>
              <a:gd name="connsiteX45" fmla="*/ 125579 w 435254"/>
              <a:gd name="connsiteY45" fmla="*/ 257235 h 605592"/>
              <a:gd name="connsiteX46" fmla="*/ 125579 w 435254"/>
              <a:gd name="connsiteY46" fmla="*/ 71748 h 605592"/>
              <a:gd name="connsiteX47" fmla="*/ 96799 w 435254"/>
              <a:gd name="connsiteY47" fmla="*/ 71748 h 605592"/>
              <a:gd name="connsiteX48" fmla="*/ 61799 w 435254"/>
              <a:gd name="connsiteY48" fmla="*/ 35874 h 605592"/>
              <a:gd name="connsiteX49" fmla="*/ 96799 w 435254"/>
              <a:gd name="connsiteY49" fmla="*/ 0 h 6055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435254" h="605592">
                <a:moveTo>
                  <a:pt x="264916" y="387002"/>
                </a:moveTo>
                <a:cubicBezTo>
                  <a:pt x="240222" y="393953"/>
                  <a:pt x="225925" y="419628"/>
                  <a:pt x="232980" y="444284"/>
                </a:cubicBezTo>
                <a:cubicBezTo>
                  <a:pt x="240036" y="468846"/>
                  <a:pt x="265752" y="483120"/>
                  <a:pt x="290446" y="476076"/>
                </a:cubicBezTo>
                <a:cubicBezTo>
                  <a:pt x="315048" y="469032"/>
                  <a:pt x="329344" y="443357"/>
                  <a:pt x="322289" y="418794"/>
                </a:cubicBezTo>
                <a:cubicBezTo>
                  <a:pt x="315233" y="394139"/>
                  <a:pt x="289518" y="379957"/>
                  <a:pt x="264916" y="387002"/>
                </a:cubicBezTo>
                <a:close/>
                <a:moveTo>
                  <a:pt x="139402" y="338432"/>
                </a:moveTo>
                <a:lnTo>
                  <a:pt x="295830" y="338432"/>
                </a:lnTo>
                <a:lnTo>
                  <a:pt x="380961" y="497395"/>
                </a:lnTo>
                <a:cubicBezTo>
                  <a:pt x="387831" y="510278"/>
                  <a:pt x="387367" y="525758"/>
                  <a:pt x="379940" y="538271"/>
                </a:cubicBezTo>
                <a:cubicBezTo>
                  <a:pt x="372420" y="550784"/>
                  <a:pt x="358866" y="558384"/>
                  <a:pt x="344291" y="558384"/>
                </a:cubicBezTo>
                <a:lnTo>
                  <a:pt x="90941" y="558384"/>
                </a:lnTo>
                <a:cubicBezTo>
                  <a:pt x="76366" y="558384"/>
                  <a:pt x="62905" y="550784"/>
                  <a:pt x="55385" y="538271"/>
                </a:cubicBezTo>
                <a:cubicBezTo>
                  <a:pt x="47865" y="525758"/>
                  <a:pt x="47494" y="510278"/>
                  <a:pt x="54364" y="497395"/>
                </a:cubicBezTo>
                <a:close/>
                <a:moveTo>
                  <a:pt x="206517" y="242939"/>
                </a:moveTo>
                <a:cubicBezTo>
                  <a:pt x="221829" y="238582"/>
                  <a:pt x="237884" y="247481"/>
                  <a:pt x="242338" y="262869"/>
                </a:cubicBezTo>
                <a:cubicBezTo>
                  <a:pt x="246700" y="278257"/>
                  <a:pt x="237791" y="294201"/>
                  <a:pt x="222386" y="298651"/>
                </a:cubicBezTo>
                <a:cubicBezTo>
                  <a:pt x="206981" y="303008"/>
                  <a:pt x="191019" y="294109"/>
                  <a:pt x="186565" y="278813"/>
                </a:cubicBezTo>
                <a:cubicBezTo>
                  <a:pt x="182203" y="263425"/>
                  <a:pt x="191112" y="247388"/>
                  <a:pt x="206517" y="242939"/>
                </a:cubicBezTo>
                <a:close/>
                <a:moveTo>
                  <a:pt x="247634" y="115529"/>
                </a:moveTo>
                <a:cubicBezTo>
                  <a:pt x="260543" y="111917"/>
                  <a:pt x="274010" y="119327"/>
                  <a:pt x="277725" y="132203"/>
                </a:cubicBezTo>
                <a:cubicBezTo>
                  <a:pt x="281347" y="145079"/>
                  <a:pt x="273917" y="158418"/>
                  <a:pt x="261007" y="162123"/>
                </a:cubicBezTo>
                <a:cubicBezTo>
                  <a:pt x="248191" y="165829"/>
                  <a:pt x="234724" y="158326"/>
                  <a:pt x="231009" y="145542"/>
                </a:cubicBezTo>
                <a:cubicBezTo>
                  <a:pt x="227294" y="132666"/>
                  <a:pt x="234817" y="119235"/>
                  <a:pt x="247634" y="115529"/>
                </a:cubicBezTo>
                <a:close/>
                <a:moveTo>
                  <a:pt x="150273" y="71748"/>
                </a:moveTo>
                <a:lnTo>
                  <a:pt x="150273" y="263353"/>
                </a:lnTo>
                <a:lnTo>
                  <a:pt x="32555" y="483510"/>
                </a:lnTo>
                <a:cubicBezTo>
                  <a:pt x="21601" y="503903"/>
                  <a:pt x="22251" y="528931"/>
                  <a:pt x="34134" y="548769"/>
                </a:cubicBezTo>
                <a:cubicBezTo>
                  <a:pt x="46017" y="568606"/>
                  <a:pt x="67834" y="580935"/>
                  <a:pt x="90950" y="580935"/>
                </a:cubicBezTo>
                <a:lnTo>
                  <a:pt x="344304" y="580935"/>
                </a:lnTo>
                <a:cubicBezTo>
                  <a:pt x="367420" y="580935"/>
                  <a:pt x="389237" y="568606"/>
                  <a:pt x="401120" y="548769"/>
                </a:cubicBezTo>
                <a:cubicBezTo>
                  <a:pt x="413096" y="528931"/>
                  <a:pt x="413653" y="503903"/>
                  <a:pt x="402791" y="483510"/>
                </a:cubicBezTo>
                <a:lnTo>
                  <a:pt x="284981" y="263353"/>
                </a:lnTo>
                <a:lnTo>
                  <a:pt x="284981" y="71748"/>
                </a:lnTo>
                <a:close/>
                <a:moveTo>
                  <a:pt x="96799" y="0"/>
                </a:moveTo>
                <a:lnTo>
                  <a:pt x="337527" y="0"/>
                </a:lnTo>
                <a:cubicBezTo>
                  <a:pt x="357394" y="0"/>
                  <a:pt x="373548" y="16036"/>
                  <a:pt x="373548" y="35874"/>
                </a:cubicBezTo>
                <a:cubicBezTo>
                  <a:pt x="373548" y="55711"/>
                  <a:pt x="357394" y="71748"/>
                  <a:pt x="337527" y="71748"/>
                </a:cubicBezTo>
                <a:lnTo>
                  <a:pt x="309768" y="71748"/>
                </a:lnTo>
                <a:lnTo>
                  <a:pt x="309768" y="257235"/>
                </a:lnTo>
                <a:lnTo>
                  <a:pt x="424608" y="471923"/>
                </a:lnTo>
                <a:cubicBezTo>
                  <a:pt x="439555" y="499917"/>
                  <a:pt x="438719" y="534215"/>
                  <a:pt x="422380" y="561468"/>
                </a:cubicBezTo>
                <a:cubicBezTo>
                  <a:pt x="406041" y="588721"/>
                  <a:pt x="376147" y="605592"/>
                  <a:pt x="344304" y="605592"/>
                </a:cubicBezTo>
                <a:lnTo>
                  <a:pt x="90950" y="605592"/>
                </a:lnTo>
                <a:cubicBezTo>
                  <a:pt x="59200" y="605592"/>
                  <a:pt x="29213" y="588721"/>
                  <a:pt x="12874" y="561468"/>
                </a:cubicBezTo>
                <a:cubicBezTo>
                  <a:pt x="-3465" y="534215"/>
                  <a:pt x="-4301" y="499917"/>
                  <a:pt x="10646" y="471923"/>
                </a:cubicBezTo>
                <a:lnTo>
                  <a:pt x="125579" y="257235"/>
                </a:lnTo>
                <a:lnTo>
                  <a:pt x="125579" y="71748"/>
                </a:lnTo>
                <a:lnTo>
                  <a:pt x="96799" y="71748"/>
                </a:lnTo>
                <a:cubicBezTo>
                  <a:pt x="77396" y="71284"/>
                  <a:pt x="61799" y="55433"/>
                  <a:pt x="61799" y="35874"/>
                </a:cubicBezTo>
                <a:cubicBezTo>
                  <a:pt x="61799" y="16407"/>
                  <a:pt x="77396" y="556"/>
                  <a:pt x="96799"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1" name="椭圆 40">
            <a:extLst>
              <a:ext uri="{FF2B5EF4-FFF2-40B4-BE49-F238E27FC236}">
                <a16:creationId xmlns:a16="http://schemas.microsoft.com/office/drawing/2014/main" id="{8900A91B-451A-4358-9FAD-E1C9FF0AA58B}"/>
              </a:ext>
            </a:extLst>
          </p:cNvPr>
          <p:cNvSpPr/>
          <p:nvPr/>
        </p:nvSpPr>
        <p:spPr>
          <a:xfrm>
            <a:off x="4635182" y="3088260"/>
            <a:ext cx="673418" cy="673418"/>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42" name="文本框 41">
            <a:extLst>
              <a:ext uri="{FF2B5EF4-FFF2-40B4-BE49-F238E27FC236}">
                <a16:creationId xmlns:a16="http://schemas.microsoft.com/office/drawing/2014/main" id="{1B52368A-D7F9-417D-B685-96E287B80FC5}"/>
              </a:ext>
            </a:extLst>
          </p:cNvPr>
          <p:cNvSpPr txBox="1"/>
          <p:nvPr/>
        </p:nvSpPr>
        <p:spPr>
          <a:xfrm>
            <a:off x="5500243" y="3191224"/>
            <a:ext cx="4649597" cy="464807"/>
          </a:xfrm>
          <a:prstGeom prst="rect">
            <a:avLst/>
          </a:prstGeom>
          <a:noFill/>
        </p:spPr>
        <p:txBody>
          <a:bodyPr wrap="square" lIns="0" tIns="0" rIns="0" bIns="0" rtlCol="0" anchor="t">
            <a:spAutoFit/>
          </a:bodyPr>
          <a:lstStyle/>
          <a:p>
            <a:pPr>
              <a:lnSpc>
                <a:spcPct val="130000"/>
              </a:lnSpc>
            </a:pPr>
            <a:r>
              <a:rPr lang="en-US" altLang="zh-CN" sz="1200" b="0" dirty="0">
                <a:solidFill>
                  <a:schemeClr val="tx1">
                    <a:lumMod val="75000"/>
                    <a:lumOff val="25000"/>
                  </a:schemeClr>
                </a:solidFill>
                <a:effectLst/>
                <a:latin typeface="+mn-ea"/>
              </a:rPr>
              <a:t>Lorem ipsum dolor sit amet, consectetur adipisicing elit, sed do eiusmod tempor</a:t>
            </a:r>
            <a:endParaRPr lang="zh-CN" altLang="en-US" sz="1200" b="0" dirty="0">
              <a:solidFill>
                <a:schemeClr val="tx1">
                  <a:lumMod val="75000"/>
                  <a:lumOff val="25000"/>
                </a:schemeClr>
              </a:solidFill>
              <a:effectLst/>
              <a:latin typeface="+mn-ea"/>
            </a:endParaRPr>
          </a:p>
        </p:txBody>
      </p:sp>
      <p:sp>
        <p:nvSpPr>
          <p:cNvPr id="50" name="lab-flask_77311">
            <a:extLst>
              <a:ext uri="{FF2B5EF4-FFF2-40B4-BE49-F238E27FC236}">
                <a16:creationId xmlns:a16="http://schemas.microsoft.com/office/drawing/2014/main" id="{8E040022-640B-464F-A619-067CFDE0DAF9}"/>
              </a:ext>
            </a:extLst>
          </p:cNvPr>
          <p:cNvSpPr/>
          <p:nvPr/>
        </p:nvSpPr>
        <p:spPr>
          <a:xfrm>
            <a:off x="4801432" y="3315660"/>
            <a:ext cx="318245" cy="196265"/>
          </a:xfrm>
          <a:custGeom>
            <a:avLst/>
            <a:gdLst>
              <a:gd name="connsiteX0" fmla="*/ 93338 w 608536"/>
              <a:gd name="connsiteY0" fmla="*/ 167235 h 375291"/>
              <a:gd name="connsiteX1" fmla="*/ 292893 w 608536"/>
              <a:gd name="connsiteY1" fmla="*/ 244637 h 375291"/>
              <a:gd name="connsiteX2" fmla="*/ 305814 w 608536"/>
              <a:gd name="connsiteY2" fmla="*/ 244637 h 375291"/>
              <a:gd name="connsiteX3" fmla="*/ 503933 w 608536"/>
              <a:gd name="connsiteY3" fmla="*/ 167235 h 375291"/>
              <a:gd name="connsiteX4" fmla="*/ 503933 w 608536"/>
              <a:gd name="connsiteY4" fmla="*/ 244637 h 375291"/>
              <a:gd name="connsiteX5" fmla="*/ 298636 w 608536"/>
              <a:gd name="connsiteY5" fmla="*/ 356439 h 375291"/>
              <a:gd name="connsiteX6" fmla="*/ 93338 w 608536"/>
              <a:gd name="connsiteY6" fmla="*/ 244637 h 375291"/>
              <a:gd name="connsiteX7" fmla="*/ 93338 w 608536"/>
              <a:gd name="connsiteY7" fmla="*/ 167235 h 375291"/>
              <a:gd name="connsiteX8" fmla="*/ 292786 w 608536"/>
              <a:gd name="connsiteY8" fmla="*/ 1075 h 375291"/>
              <a:gd name="connsiteX9" fmla="*/ 304268 w 608536"/>
              <a:gd name="connsiteY9" fmla="*/ 1075 h 375291"/>
              <a:gd name="connsiteX10" fmla="*/ 595619 w 608536"/>
              <a:gd name="connsiteY10" fmla="*/ 102873 h 375291"/>
              <a:gd name="connsiteX11" fmla="*/ 598490 w 608536"/>
              <a:gd name="connsiteY11" fmla="*/ 107174 h 375291"/>
              <a:gd name="connsiteX12" fmla="*/ 595619 w 608536"/>
              <a:gd name="connsiteY12" fmla="*/ 111476 h 375291"/>
              <a:gd name="connsiteX13" fmla="*/ 595619 w 608536"/>
              <a:gd name="connsiteY13" fmla="*/ 251986 h 375291"/>
              <a:gd name="connsiteX14" fmla="*/ 608536 w 608536"/>
              <a:gd name="connsiteY14" fmla="*/ 272059 h 375291"/>
              <a:gd name="connsiteX15" fmla="*/ 594184 w 608536"/>
              <a:gd name="connsiteY15" fmla="*/ 293566 h 375291"/>
              <a:gd name="connsiteX16" fmla="*/ 608536 w 608536"/>
              <a:gd name="connsiteY16" fmla="*/ 352351 h 375291"/>
              <a:gd name="connsiteX17" fmla="*/ 585573 w 608536"/>
              <a:gd name="connsiteY17" fmla="*/ 375291 h 375291"/>
              <a:gd name="connsiteX18" fmla="*/ 562609 w 608536"/>
              <a:gd name="connsiteY18" fmla="*/ 352351 h 375291"/>
              <a:gd name="connsiteX19" fmla="*/ 575526 w 608536"/>
              <a:gd name="connsiteY19" fmla="*/ 293566 h 375291"/>
              <a:gd name="connsiteX20" fmla="*/ 562609 w 608536"/>
              <a:gd name="connsiteY20" fmla="*/ 272059 h 375291"/>
              <a:gd name="connsiteX21" fmla="*/ 575526 w 608536"/>
              <a:gd name="connsiteY21" fmla="*/ 251986 h 375291"/>
              <a:gd name="connsiteX22" fmla="*/ 575526 w 608536"/>
              <a:gd name="connsiteY22" fmla="*/ 118645 h 375291"/>
              <a:gd name="connsiteX23" fmla="*/ 305703 w 608536"/>
              <a:gd name="connsiteY23" fmla="*/ 223310 h 375291"/>
              <a:gd name="connsiteX24" fmla="*/ 292786 w 608536"/>
              <a:gd name="connsiteY24" fmla="*/ 223310 h 375291"/>
              <a:gd name="connsiteX25" fmla="*/ 2870 w 608536"/>
              <a:gd name="connsiteY25" fmla="*/ 111476 h 375291"/>
              <a:gd name="connsiteX26" fmla="*/ 0 w 608536"/>
              <a:gd name="connsiteY26" fmla="*/ 107174 h 375291"/>
              <a:gd name="connsiteX27" fmla="*/ 2870 w 608536"/>
              <a:gd name="connsiteY27" fmla="*/ 102873 h 3752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08536" h="375291">
                <a:moveTo>
                  <a:pt x="93338" y="167235"/>
                </a:moveTo>
                <a:lnTo>
                  <a:pt x="292893" y="244637"/>
                </a:lnTo>
                <a:cubicBezTo>
                  <a:pt x="297200" y="246070"/>
                  <a:pt x="301507" y="246070"/>
                  <a:pt x="305814" y="244637"/>
                </a:cubicBezTo>
                <a:lnTo>
                  <a:pt x="503933" y="167235"/>
                </a:lnTo>
                <a:cubicBezTo>
                  <a:pt x="503933" y="200202"/>
                  <a:pt x="503933" y="238903"/>
                  <a:pt x="503933" y="244637"/>
                </a:cubicBezTo>
                <a:cubicBezTo>
                  <a:pt x="503933" y="304838"/>
                  <a:pt x="413487" y="353572"/>
                  <a:pt x="298636" y="356439"/>
                </a:cubicBezTo>
                <a:cubicBezTo>
                  <a:pt x="185220" y="353572"/>
                  <a:pt x="93338" y="304838"/>
                  <a:pt x="93338" y="244637"/>
                </a:cubicBezTo>
                <a:cubicBezTo>
                  <a:pt x="93338" y="237470"/>
                  <a:pt x="93338" y="200202"/>
                  <a:pt x="93338" y="167235"/>
                </a:cubicBezTo>
                <a:close/>
                <a:moveTo>
                  <a:pt x="292786" y="1075"/>
                </a:moveTo>
                <a:cubicBezTo>
                  <a:pt x="297092" y="-359"/>
                  <a:pt x="301398" y="-359"/>
                  <a:pt x="304268" y="1075"/>
                </a:cubicBezTo>
                <a:lnTo>
                  <a:pt x="595619" y="102873"/>
                </a:lnTo>
                <a:cubicBezTo>
                  <a:pt x="597054" y="102873"/>
                  <a:pt x="598490" y="105741"/>
                  <a:pt x="598490" y="107174"/>
                </a:cubicBezTo>
                <a:cubicBezTo>
                  <a:pt x="598490" y="108608"/>
                  <a:pt x="597054" y="110042"/>
                  <a:pt x="595619" y="111476"/>
                </a:cubicBezTo>
                <a:lnTo>
                  <a:pt x="595619" y="251986"/>
                </a:lnTo>
                <a:cubicBezTo>
                  <a:pt x="602795" y="254854"/>
                  <a:pt x="608536" y="263456"/>
                  <a:pt x="608536" y="272059"/>
                </a:cubicBezTo>
                <a:cubicBezTo>
                  <a:pt x="608536" y="280662"/>
                  <a:pt x="602795" y="289264"/>
                  <a:pt x="594184" y="293566"/>
                </a:cubicBezTo>
                <a:cubicBezTo>
                  <a:pt x="602795" y="309337"/>
                  <a:pt x="608536" y="342314"/>
                  <a:pt x="608536" y="352351"/>
                </a:cubicBezTo>
                <a:cubicBezTo>
                  <a:pt x="608536" y="363821"/>
                  <a:pt x="597054" y="375291"/>
                  <a:pt x="585573" y="375291"/>
                </a:cubicBezTo>
                <a:cubicBezTo>
                  <a:pt x="572656" y="375291"/>
                  <a:pt x="562609" y="363821"/>
                  <a:pt x="562609" y="352351"/>
                </a:cubicBezTo>
                <a:cubicBezTo>
                  <a:pt x="562609" y="342314"/>
                  <a:pt x="568350" y="309337"/>
                  <a:pt x="575526" y="293566"/>
                </a:cubicBezTo>
                <a:cubicBezTo>
                  <a:pt x="568350" y="289264"/>
                  <a:pt x="562609" y="280662"/>
                  <a:pt x="562609" y="272059"/>
                </a:cubicBezTo>
                <a:cubicBezTo>
                  <a:pt x="562609" y="263456"/>
                  <a:pt x="566915" y="254854"/>
                  <a:pt x="575526" y="251986"/>
                </a:cubicBezTo>
                <a:lnTo>
                  <a:pt x="575526" y="118645"/>
                </a:lnTo>
                <a:lnTo>
                  <a:pt x="305703" y="223310"/>
                </a:lnTo>
                <a:cubicBezTo>
                  <a:pt x="301398" y="224744"/>
                  <a:pt x="297092" y="224744"/>
                  <a:pt x="292786" y="223310"/>
                </a:cubicBezTo>
                <a:lnTo>
                  <a:pt x="2870" y="111476"/>
                </a:lnTo>
                <a:cubicBezTo>
                  <a:pt x="1435" y="110042"/>
                  <a:pt x="0" y="108608"/>
                  <a:pt x="0" y="107174"/>
                </a:cubicBezTo>
                <a:cubicBezTo>
                  <a:pt x="0" y="105741"/>
                  <a:pt x="1435" y="102873"/>
                  <a:pt x="2870" y="102873"/>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sp>
        <p:nvSpPr>
          <p:cNvPr id="46" name="椭圆 45">
            <a:extLst>
              <a:ext uri="{FF2B5EF4-FFF2-40B4-BE49-F238E27FC236}">
                <a16:creationId xmlns:a16="http://schemas.microsoft.com/office/drawing/2014/main" id="{D5B6104F-0D64-400E-9FE0-A81CB76A0CEF}"/>
              </a:ext>
            </a:extLst>
          </p:cNvPr>
          <p:cNvSpPr/>
          <p:nvPr/>
        </p:nvSpPr>
        <p:spPr>
          <a:xfrm>
            <a:off x="4635182" y="4586409"/>
            <a:ext cx="673418" cy="673418"/>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48" name="文本框 47">
            <a:extLst>
              <a:ext uri="{FF2B5EF4-FFF2-40B4-BE49-F238E27FC236}">
                <a16:creationId xmlns:a16="http://schemas.microsoft.com/office/drawing/2014/main" id="{56D15EDE-5C02-4302-A020-BF143ECE46B9}"/>
              </a:ext>
            </a:extLst>
          </p:cNvPr>
          <p:cNvSpPr txBox="1"/>
          <p:nvPr/>
        </p:nvSpPr>
        <p:spPr>
          <a:xfrm>
            <a:off x="5500243" y="4689373"/>
            <a:ext cx="4649597" cy="464807"/>
          </a:xfrm>
          <a:prstGeom prst="rect">
            <a:avLst/>
          </a:prstGeom>
          <a:noFill/>
        </p:spPr>
        <p:txBody>
          <a:bodyPr wrap="square" lIns="0" tIns="0" rIns="0" bIns="0" rtlCol="0" anchor="t">
            <a:spAutoFit/>
          </a:bodyPr>
          <a:lstStyle/>
          <a:p>
            <a:pPr>
              <a:lnSpc>
                <a:spcPct val="130000"/>
              </a:lnSpc>
            </a:pPr>
            <a:r>
              <a:rPr lang="en-US" altLang="zh-CN" sz="1200" b="0" dirty="0">
                <a:solidFill>
                  <a:schemeClr val="tx1">
                    <a:lumMod val="75000"/>
                    <a:lumOff val="25000"/>
                  </a:schemeClr>
                </a:solidFill>
                <a:effectLst/>
                <a:latin typeface="+mn-ea"/>
              </a:rPr>
              <a:t>Lorem ipsum dolor sit amet, consectetur adipisicing elit, sed do eiusmod tempor</a:t>
            </a:r>
            <a:endParaRPr lang="zh-CN" altLang="en-US" sz="1200" b="0" dirty="0">
              <a:solidFill>
                <a:schemeClr val="tx1">
                  <a:lumMod val="75000"/>
                  <a:lumOff val="25000"/>
                </a:schemeClr>
              </a:solidFill>
              <a:effectLst/>
              <a:latin typeface="+mn-ea"/>
            </a:endParaRPr>
          </a:p>
        </p:txBody>
      </p:sp>
      <p:sp>
        <p:nvSpPr>
          <p:cNvPr id="51" name="lab-flask_77311">
            <a:extLst>
              <a:ext uri="{FF2B5EF4-FFF2-40B4-BE49-F238E27FC236}">
                <a16:creationId xmlns:a16="http://schemas.microsoft.com/office/drawing/2014/main" id="{9D7AACDF-0B08-4267-9174-5C2C0A3A69B7}"/>
              </a:ext>
            </a:extLst>
          </p:cNvPr>
          <p:cNvSpPr/>
          <p:nvPr/>
        </p:nvSpPr>
        <p:spPr>
          <a:xfrm>
            <a:off x="4801432" y="4753374"/>
            <a:ext cx="318245" cy="317136"/>
          </a:xfrm>
          <a:custGeom>
            <a:avLst/>
            <a:gdLst>
              <a:gd name="connsiteX0" fmla="*/ 539770 w 607639"/>
              <a:gd name="connsiteY0" fmla="*/ 462319 h 605522"/>
              <a:gd name="connsiteX1" fmla="*/ 561806 w 607639"/>
              <a:gd name="connsiteY1" fmla="*/ 467228 h 605522"/>
              <a:gd name="connsiteX2" fmla="*/ 607639 w 607639"/>
              <a:gd name="connsiteY2" fmla="*/ 533887 h 605522"/>
              <a:gd name="connsiteX3" fmla="*/ 535909 w 607639"/>
              <a:gd name="connsiteY3" fmla="*/ 605522 h 605522"/>
              <a:gd name="connsiteX4" fmla="*/ 470319 w 607639"/>
              <a:gd name="connsiteY4" fmla="*/ 562861 h 605522"/>
              <a:gd name="connsiteX5" fmla="*/ 539770 w 607639"/>
              <a:gd name="connsiteY5" fmla="*/ 462319 h 605522"/>
              <a:gd name="connsiteX6" fmla="*/ 89495 w 607639"/>
              <a:gd name="connsiteY6" fmla="*/ 419567 h 605522"/>
              <a:gd name="connsiteX7" fmla="*/ 134240 w 607639"/>
              <a:gd name="connsiteY7" fmla="*/ 434641 h 605522"/>
              <a:gd name="connsiteX8" fmla="*/ 171263 w 607639"/>
              <a:gd name="connsiteY8" fmla="*/ 504941 h 605522"/>
              <a:gd name="connsiteX9" fmla="*/ 85737 w 607639"/>
              <a:gd name="connsiteY9" fmla="*/ 590351 h 605522"/>
              <a:gd name="connsiteX10" fmla="*/ 212 w 607639"/>
              <a:gd name="connsiteY10" fmla="*/ 504941 h 605522"/>
              <a:gd name="connsiteX11" fmla="*/ 89495 w 607639"/>
              <a:gd name="connsiteY11" fmla="*/ 419567 h 605522"/>
              <a:gd name="connsiteX12" fmla="*/ 397424 w 607639"/>
              <a:gd name="connsiteY12" fmla="*/ 114115 h 605522"/>
              <a:gd name="connsiteX13" fmla="*/ 402675 w 607639"/>
              <a:gd name="connsiteY13" fmla="*/ 115181 h 605522"/>
              <a:gd name="connsiteX14" fmla="*/ 430267 w 607639"/>
              <a:gd name="connsiteY14" fmla="*/ 148770 h 605522"/>
              <a:gd name="connsiteX15" fmla="*/ 430356 w 607639"/>
              <a:gd name="connsiteY15" fmla="*/ 154101 h 605522"/>
              <a:gd name="connsiteX16" fmla="*/ 362802 w 607639"/>
              <a:gd name="connsiteY16" fmla="*/ 209371 h 605522"/>
              <a:gd name="connsiteX17" fmla="*/ 359420 w 607639"/>
              <a:gd name="connsiteY17" fmla="*/ 337860 h 605522"/>
              <a:gd name="connsiteX18" fmla="*/ 480642 w 607639"/>
              <a:gd name="connsiteY18" fmla="*/ 448400 h 605522"/>
              <a:gd name="connsiteX19" fmla="*/ 480286 w 607639"/>
              <a:gd name="connsiteY19" fmla="*/ 453820 h 605522"/>
              <a:gd name="connsiteX20" fmla="*/ 450915 w 607639"/>
              <a:gd name="connsiteY20" fmla="*/ 485721 h 605522"/>
              <a:gd name="connsiteX21" fmla="*/ 445575 w 607639"/>
              <a:gd name="connsiteY21" fmla="*/ 486520 h 605522"/>
              <a:gd name="connsiteX22" fmla="*/ 324442 w 607639"/>
              <a:gd name="connsiteY22" fmla="*/ 375981 h 605522"/>
              <a:gd name="connsiteX23" fmla="*/ 196011 w 607639"/>
              <a:gd name="connsiteY23" fmla="*/ 390642 h 605522"/>
              <a:gd name="connsiteX24" fmla="*/ 170912 w 607639"/>
              <a:gd name="connsiteY24" fmla="*/ 426985 h 605522"/>
              <a:gd name="connsiteX25" fmla="*/ 165661 w 607639"/>
              <a:gd name="connsiteY25" fmla="*/ 427430 h 605522"/>
              <a:gd name="connsiteX26" fmla="*/ 129704 w 607639"/>
              <a:gd name="connsiteY26" fmla="*/ 402727 h 605522"/>
              <a:gd name="connsiteX27" fmla="*/ 128279 w 607639"/>
              <a:gd name="connsiteY27" fmla="*/ 397573 h 605522"/>
              <a:gd name="connsiteX28" fmla="*/ 153289 w 607639"/>
              <a:gd name="connsiteY28" fmla="*/ 361319 h 605522"/>
              <a:gd name="connsiteX29" fmla="*/ 131929 w 607639"/>
              <a:gd name="connsiteY29" fmla="*/ 209371 h 605522"/>
              <a:gd name="connsiteX30" fmla="*/ 111547 w 607639"/>
              <a:gd name="connsiteY30" fmla="*/ 192666 h 605522"/>
              <a:gd name="connsiteX31" fmla="*/ 111725 w 607639"/>
              <a:gd name="connsiteY31" fmla="*/ 187245 h 605522"/>
              <a:gd name="connsiteX32" fmla="*/ 139227 w 607639"/>
              <a:gd name="connsiteY32" fmla="*/ 153923 h 605522"/>
              <a:gd name="connsiteX33" fmla="*/ 144478 w 607639"/>
              <a:gd name="connsiteY33" fmla="*/ 152679 h 605522"/>
              <a:gd name="connsiteX34" fmla="*/ 164771 w 607639"/>
              <a:gd name="connsiteY34" fmla="*/ 169385 h 605522"/>
              <a:gd name="connsiteX35" fmla="*/ 329960 w 607639"/>
              <a:gd name="connsiteY35" fmla="*/ 169385 h 605522"/>
              <a:gd name="connsiteX36" fmla="*/ 60695 w 607639"/>
              <a:gd name="connsiteY36" fmla="*/ 56735 h 605522"/>
              <a:gd name="connsiteX37" fmla="*/ 121302 w 607639"/>
              <a:gd name="connsiteY37" fmla="*/ 117350 h 605522"/>
              <a:gd name="connsiteX38" fmla="*/ 60695 w 607639"/>
              <a:gd name="connsiteY38" fmla="*/ 177966 h 605522"/>
              <a:gd name="connsiteX39" fmla="*/ 0 w 607639"/>
              <a:gd name="connsiteY39" fmla="*/ 117350 h 605522"/>
              <a:gd name="connsiteX40" fmla="*/ 60695 w 607639"/>
              <a:gd name="connsiteY40" fmla="*/ 56735 h 605522"/>
              <a:gd name="connsiteX41" fmla="*/ 490042 w 607639"/>
              <a:gd name="connsiteY41" fmla="*/ 0 h 605522"/>
              <a:gd name="connsiteX42" fmla="*/ 561772 w 607639"/>
              <a:gd name="connsiteY42" fmla="*/ 71624 h 605522"/>
              <a:gd name="connsiteX43" fmla="*/ 490042 w 607639"/>
              <a:gd name="connsiteY43" fmla="*/ 143248 h 605522"/>
              <a:gd name="connsiteX44" fmla="*/ 418312 w 607639"/>
              <a:gd name="connsiteY44" fmla="*/ 71624 h 605522"/>
              <a:gd name="connsiteX45" fmla="*/ 490042 w 607639"/>
              <a:gd name="connsiteY45" fmla="*/ 0 h 6055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607639" h="605522">
                <a:moveTo>
                  <a:pt x="539770" y="462319"/>
                </a:moveTo>
                <a:cubicBezTo>
                  <a:pt x="546987" y="462769"/>
                  <a:pt x="554386" y="464351"/>
                  <a:pt x="561806" y="467228"/>
                </a:cubicBezTo>
                <a:cubicBezTo>
                  <a:pt x="589662" y="477983"/>
                  <a:pt x="607639" y="504201"/>
                  <a:pt x="607639" y="533887"/>
                </a:cubicBezTo>
                <a:cubicBezTo>
                  <a:pt x="607639" y="573437"/>
                  <a:pt x="575423" y="605522"/>
                  <a:pt x="535909" y="605522"/>
                </a:cubicBezTo>
                <a:cubicBezTo>
                  <a:pt x="507074" y="605522"/>
                  <a:pt x="481977" y="589168"/>
                  <a:pt x="470319" y="562861"/>
                </a:cubicBezTo>
                <a:cubicBezTo>
                  <a:pt x="447658" y="511457"/>
                  <a:pt x="489251" y="459167"/>
                  <a:pt x="539770" y="462319"/>
                </a:cubicBezTo>
                <a:close/>
                <a:moveTo>
                  <a:pt x="89495" y="419567"/>
                </a:moveTo>
                <a:cubicBezTo>
                  <a:pt x="104705" y="420171"/>
                  <a:pt x="120134" y="424931"/>
                  <a:pt x="134240" y="434641"/>
                </a:cubicBezTo>
                <a:cubicBezTo>
                  <a:pt x="157379" y="450638"/>
                  <a:pt x="171263" y="476946"/>
                  <a:pt x="171263" y="504941"/>
                </a:cubicBezTo>
                <a:cubicBezTo>
                  <a:pt x="171263" y="552046"/>
                  <a:pt x="132816" y="590351"/>
                  <a:pt x="85737" y="590351"/>
                </a:cubicBezTo>
                <a:cubicBezTo>
                  <a:pt x="38569" y="590351"/>
                  <a:pt x="212" y="552046"/>
                  <a:pt x="212" y="504941"/>
                </a:cubicBezTo>
                <a:cubicBezTo>
                  <a:pt x="212" y="453349"/>
                  <a:pt x="43865" y="417754"/>
                  <a:pt x="89495" y="419567"/>
                </a:cubicBezTo>
                <a:close/>
                <a:moveTo>
                  <a:pt x="397424" y="114115"/>
                </a:moveTo>
                <a:cubicBezTo>
                  <a:pt x="399115" y="112693"/>
                  <a:pt x="401696" y="113226"/>
                  <a:pt x="402675" y="115181"/>
                </a:cubicBezTo>
                <a:cubicBezTo>
                  <a:pt x="409350" y="128421"/>
                  <a:pt x="418785" y="139795"/>
                  <a:pt x="430267" y="148770"/>
                </a:cubicBezTo>
                <a:cubicBezTo>
                  <a:pt x="431958" y="150102"/>
                  <a:pt x="432047" y="152679"/>
                  <a:pt x="430356" y="154101"/>
                </a:cubicBezTo>
                <a:lnTo>
                  <a:pt x="362802" y="209371"/>
                </a:lnTo>
                <a:cubicBezTo>
                  <a:pt x="384252" y="249624"/>
                  <a:pt x="383095" y="298585"/>
                  <a:pt x="359420" y="337860"/>
                </a:cubicBezTo>
                <a:lnTo>
                  <a:pt x="480642" y="448400"/>
                </a:lnTo>
                <a:cubicBezTo>
                  <a:pt x="482244" y="449911"/>
                  <a:pt x="482066" y="452576"/>
                  <a:pt x="480286" y="453820"/>
                </a:cubicBezTo>
                <a:cubicBezTo>
                  <a:pt x="467737" y="462440"/>
                  <a:pt x="457857" y="473636"/>
                  <a:pt x="450915" y="485721"/>
                </a:cubicBezTo>
                <a:cubicBezTo>
                  <a:pt x="449758" y="487676"/>
                  <a:pt x="447177" y="488031"/>
                  <a:pt x="445575" y="486520"/>
                </a:cubicBezTo>
                <a:lnTo>
                  <a:pt x="324442" y="375981"/>
                </a:lnTo>
                <a:cubicBezTo>
                  <a:pt x="287328" y="402994"/>
                  <a:pt x="238376" y="408680"/>
                  <a:pt x="196011" y="390642"/>
                </a:cubicBezTo>
                <a:lnTo>
                  <a:pt x="170912" y="426985"/>
                </a:lnTo>
                <a:cubicBezTo>
                  <a:pt x="169755" y="428762"/>
                  <a:pt x="167174" y="429029"/>
                  <a:pt x="165661" y="427430"/>
                </a:cubicBezTo>
                <a:cubicBezTo>
                  <a:pt x="155336" y="416855"/>
                  <a:pt x="143232" y="408503"/>
                  <a:pt x="129704" y="402727"/>
                </a:cubicBezTo>
                <a:cubicBezTo>
                  <a:pt x="127745" y="401838"/>
                  <a:pt x="127033" y="399350"/>
                  <a:pt x="128279" y="397573"/>
                </a:cubicBezTo>
                <a:lnTo>
                  <a:pt x="153289" y="361319"/>
                </a:lnTo>
                <a:cubicBezTo>
                  <a:pt x="113861" y="320622"/>
                  <a:pt x="105495" y="258865"/>
                  <a:pt x="131929" y="209371"/>
                </a:cubicBezTo>
                <a:lnTo>
                  <a:pt x="111547" y="192666"/>
                </a:lnTo>
                <a:cubicBezTo>
                  <a:pt x="109856" y="191244"/>
                  <a:pt x="109945" y="188578"/>
                  <a:pt x="111725" y="187245"/>
                </a:cubicBezTo>
                <a:cubicBezTo>
                  <a:pt x="123651" y="178537"/>
                  <a:pt x="132997" y="167252"/>
                  <a:pt x="139227" y="153923"/>
                </a:cubicBezTo>
                <a:cubicBezTo>
                  <a:pt x="140117" y="151880"/>
                  <a:pt x="142787" y="151258"/>
                  <a:pt x="144478" y="152679"/>
                </a:cubicBezTo>
                <a:lnTo>
                  <a:pt x="164771" y="169385"/>
                </a:lnTo>
                <a:cubicBezTo>
                  <a:pt x="212565" y="130376"/>
                  <a:pt x="282076" y="130287"/>
                  <a:pt x="329960" y="169385"/>
                </a:cubicBezTo>
                <a:close/>
                <a:moveTo>
                  <a:pt x="60695" y="56735"/>
                </a:moveTo>
                <a:cubicBezTo>
                  <a:pt x="94158" y="56735"/>
                  <a:pt x="121302" y="83932"/>
                  <a:pt x="121302" y="117350"/>
                </a:cubicBezTo>
                <a:cubicBezTo>
                  <a:pt x="121302" y="150858"/>
                  <a:pt x="94158" y="177966"/>
                  <a:pt x="60695" y="177966"/>
                </a:cubicBezTo>
                <a:cubicBezTo>
                  <a:pt x="27233" y="177966"/>
                  <a:pt x="0" y="150769"/>
                  <a:pt x="0" y="117350"/>
                </a:cubicBezTo>
                <a:cubicBezTo>
                  <a:pt x="0" y="83932"/>
                  <a:pt x="27233" y="56735"/>
                  <a:pt x="60695" y="56735"/>
                </a:cubicBezTo>
                <a:close/>
                <a:moveTo>
                  <a:pt x="490042" y="0"/>
                </a:moveTo>
                <a:cubicBezTo>
                  <a:pt x="529556" y="0"/>
                  <a:pt x="561772" y="32169"/>
                  <a:pt x="561772" y="71624"/>
                </a:cubicBezTo>
                <a:cubicBezTo>
                  <a:pt x="561772" y="111168"/>
                  <a:pt x="529556" y="143248"/>
                  <a:pt x="490042" y="143248"/>
                </a:cubicBezTo>
                <a:cubicBezTo>
                  <a:pt x="449816" y="143248"/>
                  <a:pt x="418312" y="110635"/>
                  <a:pt x="418312" y="71624"/>
                </a:cubicBezTo>
                <a:cubicBezTo>
                  <a:pt x="418312" y="32169"/>
                  <a:pt x="450439" y="0"/>
                  <a:pt x="490042"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sp>
        <p:nvSpPr>
          <p:cNvPr id="60" name="矩形: 圆顶角 59">
            <a:extLst>
              <a:ext uri="{FF2B5EF4-FFF2-40B4-BE49-F238E27FC236}">
                <a16:creationId xmlns:a16="http://schemas.microsoft.com/office/drawing/2014/main" id="{40BC66AF-A185-47E5-A510-BA11CCEC5475}"/>
              </a:ext>
            </a:extLst>
          </p:cNvPr>
          <p:cNvSpPr/>
          <p:nvPr/>
        </p:nvSpPr>
        <p:spPr>
          <a:xfrm rot="16200000" flipH="1">
            <a:off x="9998629" y="1881427"/>
            <a:ext cx="812484" cy="88105"/>
          </a:xfrm>
          <a:prstGeom prst="round2SameRect">
            <a:avLst>
              <a:gd name="adj1" fmla="val 0"/>
              <a:gd name="adj2" fmla="val 50000"/>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66" name="矩形: 圆顶角 65">
            <a:extLst>
              <a:ext uri="{FF2B5EF4-FFF2-40B4-BE49-F238E27FC236}">
                <a16:creationId xmlns:a16="http://schemas.microsoft.com/office/drawing/2014/main" id="{2EAA8F84-28CA-4794-A1A3-A7630898F672}"/>
              </a:ext>
            </a:extLst>
          </p:cNvPr>
          <p:cNvSpPr/>
          <p:nvPr/>
        </p:nvSpPr>
        <p:spPr>
          <a:xfrm rot="16200000" flipH="1">
            <a:off x="9998630" y="3379576"/>
            <a:ext cx="812484" cy="88105"/>
          </a:xfrm>
          <a:prstGeom prst="round2SameRect">
            <a:avLst>
              <a:gd name="adj1" fmla="val 0"/>
              <a:gd name="adj2" fmla="val 50000"/>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67" name="矩形: 圆顶角 66">
            <a:extLst>
              <a:ext uri="{FF2B5EF4-FFF2-40B4-BE49-F238E27FC236}">
                <a16:creationId xmlns:a16="http://schemas.microsoft.com/office/drawing/2014/main" id="{40E14BCC-A384-4E79-8AFF-A9A3FDD78300}"/>
              </a:ext>
            </a:extLst>
          </p:cNvPr>
          <p:cNvSpPr/>
          <p:nvPr/>
        </p:nvSpPr>
        <p:spPr>
          <a:xfrm rot="16200000" flipH="1">
            <a:off x="9998632" y="4877725"/>
            <a:ext cx="812484" cy="88105"/>
          </a:xfrm>
          <a:prstGeom prst="round2SameRect">
            <a:avLst>
              <a:gd name="adj1" fmla="val 0"/>
              <a:gd name="adj2" fmla="val 50000"/>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Tree>
    <p:custDataLst>
      <p:tags r:id="rId2"/>
    </p:custDataLst>
    <p:extLst>
      <p:ext uri="{BB962C8B-B14F-4D97-AF65-F5344CB8AC3E}">
        <p14:creationId xmlns:p14="http://schemas.microsoft.com/office/powerpoint/2010/main" val="2755050377"/>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2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圆: 空心 19">
            <a:extLst>
              <a:ext uri="{FF2B5EF4-FFF2-40B4-BE49-F238E27FC236}">
                <a16:creationId xmlns:a16="http://schemas.microsoft.com/office/drawing/2014/main" id="{0076D239-C03D-4D8D-8054-2D282177E22C}"/>
              </a:ext>
            </a:extLst>
          </p:cNvPr>
          <p:cNvSpPr/>
          <p:nvPr/>
        </p:nvSpPr>
        <p:spPr>
          <a:xfrm>
            <a:off x="266700" y="-2400300"/>
            <a:ext cx="11658600" cy="11658600"/>
          </a:xfrm>
          <a:prstGeom prst="donut">
            <a:avLst>
              <a:gd name="adj" fmla="val 9081"/>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2" name="椭圆 1">
            <a:extLst>
              <a:ext uri="{FF2B5EF4-FFF2-40B4-BE49-F238E27FC236}">
                <a16:creationId xmlns:a16="http://schemas.microsoft.com/office/drawing/2014/main" id="{CAB5C2C8-38B2-46CE-95AD-AACCAA0D9BAF}"/>
              </a:ext>
            </a:extLst>
          </p:cNvPr>
          <p:cNvSpPr/>
          <p:nvPr/>
        </p:nvSpPr>
        <p:spPr>
          <a:xfrm>
            <a:off x="4962144" y="2295144"/>
            <a:ext cx="2267712" cy="2267712"/>
          </a:xfrm>
          <a:prstGeom prst="ellipse">
            <a:avLst/>
          </a:prstGeom>
          <a:gradFill>
            <a:gsLst>
              <a:gs pos="0">
                <a:schemeClr val="accent1"/>
              </a:gs>
              <a:gs pos="100000">
                <a:schemeClr val="accent1">
                  <a:alpha val="0"/>
                </a:scheme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3" name="椭圆 2">
            <a:extLst>
              <a:ext uri="{FF2B5EF4-FFF2-40B4-BE49-F238E27FC236}">
                <a16:creationId xmlns:a16="http://schemas.microsoft.com/office/drawing/2014/main" id="{E41FD75D-889D-4755-ADFE-613A2A714741}"/>
              </a:ext>
            </a:extLst>
          </p:cNvPr>
          <p:cNvSpPr/>
          <p:nvPr/>
        </p:nvSpPr>
        <p:spPr>
          <a:xfrm>
            <a:off x="4319016" y="1652016"/>
            <a:ext cx="3553968" cy="3553968"/>
          </a:xfrm>
          <a:prstGeom prst="ellipse">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4" name="文本框 3">
            <a:extLst>
              <a:ext uri="{FF2B5EF4-FFF2-40B4-BE49-F238E27FC236}">
                <a16:creationId xmlns:a16="http://schemas.microsoft.com/office/drawing/2014/main" id="{165F3D14-8AF8-46D5-86BE-5F1355F09A15}"/>
              </a:ext>
            </a:extLst>
          </p:cNvPr>
          <p:cNvSpPr txBox="1"/>
          <p:nvPr/>
        </p:nvSpPr>
        <p:spPr>
          <a:xfrm>
            <a:off x="5518919" y="3290501"/>
            <a:ext cx="1154162" cy="276999"/>
          </a:xfrm>
          <a:prstGeom prst="rect">
            <a:avLst/>
          </a:prstGeom>
          <a:noFill/>
        </p:spPr>
        <p:txBody>
          <a:bodyPr wrap="none" lIns="0" tIns="0" rIns="0" bIns="0" rtlCol="0" anchor="t">
            <a:spAutoFit/>
          </a:bodyPr>
          <a:lstStyle/>
          <a:p>
            <a:r>
              <a:rPr lang="zh-CN" altLang="en-US" sz="1800" dirty="0">
                <a:solidFill>
                  <a:schemeClr val="bg1"/>
                </a:solidFill>
                <a:latin typeface="+mj-ea"/>
                <a:ea typeface="+mj-ea"/>
              </a:rPr>
              <a:t>关键词标题</a:t>
            </a:r>
          </a:p>
        </p:txBody>
      </p:sp>
      <p:sp>
        <p:nvSpPr>
          <p:cNvPr id="5" name="椭圆 4">
            <a:extLst>
              <a:ext uri="{FF2B5EF4-FFF2-40B4-BE49-F238E27FC236}">
                <a16:creationId xmlns:a16="http://schemas.microsoft.com/office/drawing/2014/main" id="{21DE8FC6-379E-4065-A066-A94F6F903DDB}"/>
              </a:ext>
            </a:extLst>
          </p:cNvPr>
          <p:cNvSpPr/>
          <p:nvPr/>
        </p:nvSpPr>
        <p:spPr>
          <a:xfrm>
            <a:off x="7787640" y="1299972"/>
            <a:ext cx="1255776" cy="1255776"/>
          </a:xfrm>
          <a:prstGeom prst="ellipse">
            <a:avLst/>
          </a:prstGeom>
          <a:gradFill>
            <a:gsLst>
              <a:gs pos="0">
                <a:schemeClr val="accent1"/>
              </a:gs>
              <a:gs pos="100000">
                <a:schemeClr val="accent1">
                  <a:alpha val="0"/>
                </a:scheme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6" name="文本框 5">
            <a:extLst>
              <a:ext uri="{FF2B5EF4-FFF2-40B4-BE49-F238E27FC236}">
                <a16:creationId xmlns:a16="http://schemas.microsoft.com/office/drawing/2014/main" id="{B97B257B-E0ED-43E2-B03F-1EB4BEEFFDE7}"/>
              </a:ext>
            </a:extLst>
          </p:cNvPr>
          <p:cNvSpPr txBox="1"/>
          <p:nvPr/>
        </p:nvSpPr>
        <p:spPr>
          <a:xfrm>
            <a:off x="8069279" y="1789360"/>
            <a:ext cx="692497" cy="276999"/>
          </a:xfrm>
          <a:prstGeom prst="rect">
            <a:avLst/>
          </a:prstGeom>
          <a:noFill/>
        </p:spPr>
        <p:txBody>
          <a:bodyPr wrap="none" lIns="0" tIns="0" rIns="0" bIns="0" rtlCol="0" anchor="t">
            <a:spAutoFit/>
          </a:bodyPr>
          <a:lstStyle/>
          <a:p>
            <a:r>
              <a:rPr lang="zh-CN" altLang="en-US" sz="1800" dirty="0">
                <a:solidFill>
                  <a:schemeClr val="bg1"/>
                </a:solidFill>
                <a:latin typeface="+mj-ea"/>
                <a:ea typeface="+mj-ea"/>
              </a:rPr>
              <a:t>关键词</a:t>
            </a:r>
          </a:p>
        </p:txBody>
      </p:sp>
      <p:sp>
        <p:nvSpPr>
          <p:cNvPr id="9" name="椭圆 8">
            <a:extLst>
              <a:ext uri="{FF2B5EF4-FFF2-40B4-BE49-F238E27FC236}">
                <a16:creationId xmlns:a16="http://schemas.microsoft.com/office/drawing/2014/main" id="{AD8BABDA-F8A9-4DDD-9269-642E97A498D5}"/>
              </a:ext>
            </a:extLst>
          </p:cNvPr>
          <p:cNvSpPr/>
          <p:nvPr/>
        </p:nvSpPr>
        <p:spPr>
          <a:xfrm>
            <a:off x="8415528" y="2801112"/>
            <a:ext cx="1255776" cy="1255776"/>
          </a:xfrm>
          <a:prstGeom prst="ellipse">
            <a:avLst/>
          </a:prstGeom>
          <a:gradFill>
            <a:gsLst>
              <a:gs pos="0">
                <a:schemeClr val="accent1"/>
              </a:gs>
              <a:gs pos="100000">
                <a:schemeClr val="accent1">
                  <a:alpha val="0"/>
                </a:scheme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10" name="文本框 9">
            <a:extLst>
              <a:ext uri="{FF2B5EF4-FFF2-40B4-BE49-F238E27FC236}">
                <a16:creationId xmlns:a16="http://schemas.microsoft.com/office/drawing/2014/main" id="{64C620F4-0FAE-4764-8633-9B6EF757B2B4}"/>
              </a:ext>
            </a:extLst>
          </p:cNvPr>
          <p:cNvSpPr txBox="1"/>
          <p:nvPr/>
        </p:nvSpPr>
        <p:spPr>
          <a:xfrm>
            <a:off x="8697167" y="3290501"/>
            <a:ext cx="692497" cy="276999"/>
          </a:xfrm>
          <a:prstGeom prst="rect">
            <a:avLst/>
          </a:prstGeom>
          <a:noFill/>
        </p:spPr>
        <p:txBody>
          <a:bodyPr wrap="none" lIns="0" tIns="0" rIns="0" bIns="0" rtlCol="0" anchor="t">
            <a:spAutoFit/>
          </a:bodyPr>
          <a:lstStyle/>
          <a:p>
            <a:r>
              <a:rPr lang="zh-CN" altLang="en-US" sz="1800" dirty="0">
                <a:solidFill>
                  <a:schemeClr val="bg1"/>
                </a:solidFill>
                <a:latin typeface="+mj-ea"/>
                <a:ea typeface="+mj-ea"/>
              </a:rPr>
              <a:t>关键词</a:t>
            </a:r>
          </a:p>
        </p:txBody>
      </p:sp>
      <p:sp>
        <p:nvSpPr>
          <p:cNvPr id="11" name="椭圆 10">
            <a:extLst>
              <a:ext uri="{FF2B5EF4-FFF2-40B4-BE49-F238E27FC236}">
                <a16:creationId xmlns:a16="http://schemas.microsoft.com/office/drawing/2014/main" id="{1B0A11E7-FB25-46F4-9AA9-99441F34F6E3}"/>
              </a:ext>
            </a:extLst>
          </p:cNvPr>
          <p:cNvSpPr/>
          <p:nvPr/>
        </p:nvSpPr>
        <p:spPr>
          <a:xfrm>
            <a:off x="7787640" y="4354068"/>
            <a:ext cx="1255776" cy="1255776"/>
          </a:xfrm>
          <a:prstGeom prst="ellipse">
            <a:avLst/>
          </a:prstGeom>
          <a:gradFill>
            <a:gsLst>
              <a:gs pos="0">
                <a:schemeClr val="accent1"/>
              </a:gs>
              <a:gs pos="100000">
                <a:schemeClr val="accent1">
                  <a:alpha val="0"/>
                </a:scheme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12" name="文本框 11">
            <a:extLst>
              <a:ext uri="{FF2B5EF4-FFF2-40B4-BE49-F238E27FC236}">
                <a16:creationId xmlns:a16="http://schemas.microsoft.com/office/drawing/2014/main" id="{0CE9148D-7100-4890-9AFA-D6BABF9D0F27}"/>
              </a:ext>
            </a:extLst>
          </p:cNvPr>
          <p:cNvSpPr txBox="1"/>
          <p:nvPr/>
        </p:nvSpPr>
        <p:spPr>
          <a:xfrm>
            <a:off x="8069279" y="4843456"/>
            <a:ext cx="692497" cy="276999"/>
          </a:xfrm>
          <a:prstGeom prst="rect">
            <a:avLst/>
          </a:prstGeom>
          <a:noFill/>
        </p:spPr>
        <p:txBody>
          <a:bodyPr wrap="none" lIns="0" tIns="0" rIns="0" bIns="0" rtlCol="0" anchor="t">
            <a:spAutoFit/>
          </a:bodyPr>
          <a:lstStyle/>
          <a:p>
            <a:r>
              <a:rPr lang="zh-CN" altLang="en-US" sz="1800" dirty="0">
                <a:solidFill>
                  <a:schemeClr val="bg1"/>
                </a:solidFill>
                <a:latin typeface="+mj-ea"/>
                <a:ea typeface="+mj-ea"/>
              </a:rPr>
              <a:t>关键词</a:t>
            </a:r>
          </a:p>
        </p:txBody>
      </p:sp>
      <p:sp>
        <p:nvSpPr>
          <p:cNvPr id="13" name="椭圆 12">
            <a:extLst>
              <a:ext uri="{FF2B5EF4-FFF2-40B4-BE49-F238E27FC236}">
                <a16:creationId xmlns:a16="http://schemas.microsoft.com/office/drawing/2014/main" id="{F6605E03-5AC9-440E-A998-6E573C9E18F2}"/>
              </a:ext>
            </a:extLst>
          </p:cNvPr>
          <p:cNvSpPr/>
          <p:nvPr/>
        </p:nvSpPr>
        <p:spPr>
          <a:xfrm>
            <a:off x="3151847" y="1299972"/>
            <a:ext cx="1255776" cy="1255776"/>
          </a:xfrm>
          <a:prstGeom prst="ellipse">
            <a:avLst/>
          </a:prstGeom>
          <a:gradFill>
            <a:gsLst>
              <a:gs pos="0">
                <a:schemeClr val="accent1"/>
              </a:gs>
              <a:gs pos="100000">
                <a:schemeClr val="accent1">
                  <a:alpha val="0"/>
                </a:scheme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14" name="文本框 13">
            <a:extLst>
              <a:ext uri="{FF2B5EF4-FFF2-40B4-BE49-F238E27FC236}">
                <a16:creationId xmlns:a16="http://schemas.microsoft.com/office/drawing/2014/main" id="{50BE84CD-CEDC-4300-9873-1A8D208BAD97}"/>
              </a:ext>
            </a:extLst>
          </p:cNvPr>
          <p:cNvSpPr txBox="1"/>
          <p:nvPr/>
        </p:nvSpPr>
        <p:spPr>
          <a:xfrm>
            <a:off x="3433486" y="1789360"/>
            <a:ext cx="692497" cy="276999"/>
          </a:xfrm>
          <a:prstGeom prst="rect">
            <a:avLst/>
          </a:prstGeom>
          <a:noFill/>
        </p:spPr>
        <p:txBody>
          <a:bodyPr wrap="none" lIns="0" tIns="0" rIns="0" bIns="0" rtlCol="0" anchor="t">
            <a:spAutoFit/>
          </a:bodyPr>
          <a:lstStyle/>
          <a:p>
            <a:r>
              <a:rPr lang="zh-CN" altLang="en-US" sz="1800" dirty="0">
                <a:solidFill>
                  <a:schemeClr val="bg1"/>
                </a:solidFill>
                <a:latin typeface="+mj-ea"/>
                <a:ea typeface="+mj-ea"/>
              </a:rPr>
              <a:t>关键词</a:t>
            </a:r>
          </a:p>
        </p:txBody>
      </p:sp>
      <p:sp>
        <p:nvSpPr>
          <p:cNvPr id="15" name="椭圆 14">
            <a:extLst>
              <a:ext uri="{FF2B5EF4-FFF2-40B4-BE49-F238E27FC236}">
                <a16:creationId xmlns:a16="http://schemas.microsoft.com/office/drawing/2014/main" id="{AFDC8145-6D48-44A5-8577-B7A83637BB78}"/>
              </a:ext>
            </a:extLst>
          </p:cNvPr>
          <p:cNvSpPr/>
          <p:nvPr/>
        </p:nvSpPr>
        <p:spPr>
          <a:xfrm>
            <a:off x="2554224" y="2801112"/>
            <a:ext cx="1255776" cy="1255776"/>
          </a:xfrm>
          <a:prstGeom prst="ellipse">
            <a:avLst/>
          </a:prstGeom>
          <a:gradFill>
            <a:gsLst>
              <a:gs pos="0">
                <a:schemeClr val="accent1"/>
              </a:gs>
              <a:gs pos="100000">
                <a:schemeClr val="accent1">
                  <a:alpha val="0"/>
                </a:scheme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16" name="文本框 15">
            <a:extLst>
              <a:ext uri="{FF2B5EF4-FFF2-40B4-BE49-F238E27FC236}">
                <a16:creationId xmlns:a16="http://schemas.microsoft.com/office/drawing/2014/main" id="{03D4E38E-C4D4-4F2A-A597-8971788C35ED}"/>
              </a:ext>
            </a:extLst>
          </p:cNvPr>
          <p:cNvSpPr txBox="1"/>
          <p:nvPr/>
        </p:nvSpPr>
        <p:spPr>
          <a:xfrm>
            <a:off x="2835863" y="3290501"/>
            <a:ext cx="692497" cy="276999"/>
          </a:xfrm>
          <a:prstGeom prst="rect">
            <a:avLst/>
          </a:prstGeom>
          <a:noFill/>
        </p:spPr>
        <p:txBody>
          <a:bodyPr wrap="none" lIns="0" tIns="0" rIns="0" bIns="0" rtlCol="0" anchor="t">
            <a:spAutoFit/>
          </a:bodyPr>
          <a:lstStyle/>
          <a:p>
            <a:r>
              <a:rPr lang="zh-CN" altLang="en-US" sz="1800" dirty="0">
                <a:solidFill>
                  <a:schemeClr val="bg1"/>
                </a:solidFill>
                <a:latin typeface="+mj-ea"/>
                <a:ea typeface="+mj-ea"/>
              </a:rPr>
              <a:t>关键词</a:t>
            </a:r>
          </a:p>
        </p:txBody>
      </p:sp>
      <p:sp>
        <p:nvSpPr>
          <p:cNvPr id="17" name="椭圆 16">
            <a:extLst>
              <a:ext uri="{FF2B5EF4-FFF2-40B4-BE49-F238E27FC236}">
                <a16:creationId xmlns:a16="http://schemas.microsoft.com/office/drawing/2014/main" id="{F0E5F465-516A-4905-938D-9A49D5D81C4C}"/>
              </a:ext>
            </a:extLst>
          </p:cNvPr>
          <p:cNvSpPr/>
          <p:nvPr/>
        </p:nvSpPr>
        <p:spPr>
          <a:xfrm>
            <a:off x="3151847" y="4354068"/>
            <a:ext cx="1255776" cy="1255776"/>
          </a:xfrm>
          <a:prstGeom prst="ellipse">
            <a:avLst/>
          </a:prstGeom>
          <a:gradFill>
            <a:gsLst>
              <a:gs pos="0">
                <a:schemeClr val="accent1"/>
              </a:gs>
              <a:gs pos="100000">
                <a:schemeClr val="accent1">
                  <a:alpha val="0"/>
                </a:scheme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18" name="文本框 17">
            <a:extLst>
              <a:ext uri="{FF2B5EF4-FFF2-40B4-BE49-F238E27FC236}">
                <a16:creationId xmlns:a16="http://schemas.microsoft.com/office/drawing/2014/main" id="{70FEE96C-DD3F-4F49-86EF-E3AFFD198F95}"/>
              </a:ext>
            </a:extLst>
          </p:cNvPr>
          <p:cNvSpPr txBox="1"/>
          <p:nvPr/>
        </p:nvSpPr>
        <p:spPr>
          <a:xfrm>
            <a:off x="3433486" y="4843456"/>
            <a:ext cx="692497" cy="276999"/>
          </a:xfrm>
          <a:prstGeom prst="rect">
            <a:avLst/>
          </a:prstGeom>
          <a:noFill/>
        </p:spPr>
        <p:txBody>
          <a:bodyPr wrap="none" lIns="0" tIns="0" rIns="0" bIns="0" rtlCol="0" anchor="t">
            <a:spAutoFit/>
          </a:bodyPr>
          <a:lstStyle/>
          <a:p>
            <a:r>
              <a:rPr lang="zh-CN" altLang="en-US" sz="1800" dirty="0">
                <a:solidFill>
                  <a:schemeClr val="bg1"/>
                </a:solidFill>
                <a:latin typeface="+mj-ea"/>
                <a:ea typeface="+mj-ea"/>
              </a:rPr>
              <a:t>关键词</a:t>
            </a:r>
          </a:p>
        </p:txBody>
      </p:sp>
      <p:sp>
        <p:nvSpPr>
          <p:cNvPr id="19" name="椭圆 18">
            <a:extLst>
              <a:ext uri="{FF2B5EF4-FFF2-40B4-BE49-F238E27FC236}">
                <a16:creationId xmlns:a16="http://schemas.microsoft.com/office/drawing/2014/main" id="{18FCA03F-6965-4DA5-9C81-3DDE48451EA1}"/>
              </a:ext>
            </a:extLst>
          </p:cNvPr>
          <p:cNvSpPr/>
          <p:nvPr/>
        </p:nvSpPr>
        <p:spPr>
          <a:xfrm>
            <a:off x="1943100" y="-723900"/>
            <a:ext cx="8305800" cy="8305800"/>
          </a:xfrm>
          <a:prstGeom prst="ellipse">
            <a:avLst/>
          </a:prstGeom>
          <a:noFill/>
          <a:ln>
            <a:solidFill>
              <a:schemeClr val="accent1">
                <a:alpha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Tree>
    <p:extLst>
      <p:ext uri="{BB962C8B-B14F-4D97-AF65-F5344CB8AC3E}">
        <p14:creationId xmlns:p14="http://schemas.microsoft.com/office/powerpoint/2010/main" val="3264390152"/>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2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6" name="组合 25">
            <a:extLst>
              <a:ext uri="{FF2B5EF4-FFF2-40B4-BE49-F238E27FC236}">
                <a16:creationId xmlns:a16="http://schemas.microsoft.com/office/drawing/2014/main" id="{537F2BE7-5165-415B-8A7E-0130B99C9012}"/>
              </a:ext>
            </a:extLst>
          </p:cNvPr>
          <p:cNvGrpSpPr/>
          <p:nvPr/>
        </p:nvGrpSpPr>
        <p:grpSpPr>
          <a:xfrm>
            <a:off x="2352675" y="1796161"/>
            <a:ext cx="1600200" cy="1600200"/>
            <a:chOff x="5295900" y="1596136"/>
            <a:chExt cx="1600200" cy="1600200"/>
          </a:xfrm>
        </p:grpSpPr>
        <p:sp>
          <p:nvSpPr>
            <p:cNvPr id="7" name="椭圆 6">
              <a:extLst>
                <a:ext uri="{FF2B5EF4-FFF2-40B4-BE49-F238E27FC236}">
                  <a16:creationId xmlns:a16="http://schemas.microsoft.com/office/drawing/2014/main" id="{B7A21EF4-1811-4663-8133-FB0521843647}"/>
                </a:ext>
              </a:extLst>
            </p:cNvPr>
            <p:cNvSpPr/>
            <p:nvPr/>
          </p:nvSpPr>
          <p:spPr>
            <a:xfrm>
              <a:off x="5295900" y="1596136"/>
              <a:ext cx="1600200" cy="1600200"/>
            </a:xfrm>
            <a:prstGeom prst="ellipse">
              <a:avLst/>
            </a:prstGeom>
            <a:solidFill>
              <a:schemeClr val="bg1"/>
            </a:solidFill>
            <a:ln w="53975">
              <a:solidFill>
                <a:schemeClr val="accent1"/>
              </a:solidFill>
            </a:ln>
            <a:effectLst>
              <a:outerShdw blurRad="368300" sx="102000" sy="102000" algn="ctr" rotWithShape="0">
                <a:schemeClr val="accent1">
                  <a:lumMod val="90000"/>
                  <a:lumOff val="10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8" name="椭圆 7">
              <a:extLst>
                <a:ext uri="{FF2B5EF4-FFF2-40B4-BE49-F238E27FC236}">
                  <a16:creationId xmlns:a16="http://schemas.microsoft.com/office/drawing/2014/main" id="{74A35CCE-3A0D-4BE8-B7FD-31E2A70F10F9}"/>
                </a:ext>
              </a:extLst>
            </p:cNvPr>
            <p:cNvSpPr/>
            <p:nvPr/>
          </p:nvSpPr>
          <p:spPr>
            <a:xfrm>
              <a:off x="5422107" y="1722343"/>
              <a:ext cx="1347786" cy="134778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21" name="lab-flask_77311">
              <a:extLst>
                <a:ext uri="{FF2B5EF4-FFF2-40B4-BE49-F238E27FC236}">
                  <a16:creationId xmlns:a16="http://schemas.microsoft.com/office/drawing/2014/main" id="{6B81C751-9ECF-4C9E-A6B9-A1FD6C7E4C88}"/>
                </a:ext>
              </a:extLst>
            </p:cNvPr>
            <p:cNvSpPr/>
            <p:nvPr/>
          </p:nvSpPr>
          <p:spPr>
            <a:xfrm>
              <a:off x="5914812" y="1892045"/>
              <a:ext cx="362376" cy="504191"/>
            </a:xfrm>
            <a:custGeom>
              <a:avLst/>
              <a:gdLst>
                <a:gd name="connsiteX0" fmla="*/ 264916 w 435254"/>
                <a:gd name="connsiteY0" fmla="*/ 387002 h 605592"/>
                <a:gd name="connsiteX1" fmla="*/ 232980 w 435254"/>
                <a:gd name="connsiteY1" fmla="*/ 444284 h 605592"/>
                <a:gd name="connsiteX2" fmla="*/ 290446 w 435254"/>
                <a:gd name="connsiteY2" fmla="*/ 476076 h 605592"/>
                <a:gd name="connsiteX3" fmla="*/ 322289 w 435254"/>
                <a:gd name="connsiteY3" fmla="*/ 418794 h 605592"/>
                <a:gd name="connsiteX4" fmla="*/ 264916 w 435254"/>
                <a:gd name="connsiteY4" fmla="*/ 387002 h 605592"/>
                <a:gd name="connsiteX5" fmla="*/ 139402 w 435254"/>
                <a:gd name="connsiteY5" fmla="*/ 338432 h 605592"/>
                <a:gd name="connsiteX6" fmla="*/ 295830 w 435254"/>
                <a:gd name="connsiteY6" fmla="*/ 338432 h 605592"/>
                <a:gd name="connsiteX7" fmla="*/ 380961 w 435254"/>
                <a:gd name="connsiteY7" fmla="*/ 497395 h 605592"/>
                <a:gd name="connsiteX8" fmla="*/ 379940 w 435254"/>
                <a:gd name="connsiteY8" fmla="*/ 538271 h 605592"/>
                <a:gd name="connsiteX9" fmla="*/ 344291 w 435254"/>
                <a:gd name="connsiteY9" fmla="*/ 558384 h 605592"/>
                <a:gd name="connsiteX10" fmla="*/ 90941 w 435254"/>
                <a:gd name="connsiteY10" fmla="*/ 558384 h 605592"/>
                <a:gd name="connsiteX11" fmla="*/ 55385 w 435254"/>
                <a:gd name="connsiteY11" fmla="*/ 538271 h 605592"/>
                <a:gd name="connsiteX12" fmla="*/ 54364 w 435254"/>
                <a:gd name="connsiteY12" fmla="*/ 497395 h 605592"/>
                <a:gd name="connsiteX13" fmla="*/ 206517 w 435254"/>
                <a:gd name="connsiteY13" fmla="*/ 242939 h 605592"/>
                <a:gd name="connsiteX14" fmla="*/ 242338 w 435254"/>
                <a:gd name="connsiteY14" fmla="*/ 262869 h 605592"/>
                <a:gd name="connsiteX15" fmla="*/ 222386 w 435254"/>
                <a:gd name="connsiteY15" fmla="*/ 298651 h 605592"/>
                <a:gd name="connsiteX16" fmla="*/ 186565 w 435254"/>
                <a:gd name="connsiteY16" fmla="*/ 278813 h 605592"/>
                <a:gd name="connsiteX17" fmla="*/ 206517 w 435254"/>
                <a:gd name="connsiteY17" fmla="*/ 242939 h 605592"/>
                <a:gd name="connsiteX18" fmla="*/ 247634 w 435254"/>
                <a:gd name="connsiteY18" fmla="*/ 115529 h 605592"/>
                <a:gd name="connsiteX19" fmla="*/ 277725 w 435254"/>
                <a:gd name="connsiteY19" fmla="*/ 132203 h 605592"/>
                <a:gd name="connsiteX20" fmla="*/ 261007 w 435254"/>
                <a:gd name="connsiteY20" fmla="*/ 162123 h 605592"/>
                <a:gd name="connsiteX21" fmla="*/ 231009 w 435254"/>
                <a:gd name="connsiteY21" fmla="*/ 145542 h 605592"/>
                <a:gd name="connsiteX22" fmla="*/ 247634 w 435254"/>
                <a:gd name="connsiteY22" fmla="*/ 115529 h 605592"/>
                <a:gd name="connsiteX23" fmla="*/ 150273 w 435254"/>
                <a:gd name="connsiteY23" fmla="*/ 71748 h 605592"/>
                <a:gd name="connsiteX24" fmla="*/ 150273 w 435254"/>
                <a:gd name="connsiteY24" fmla="*/ 263353 h 605592"/>
                <a:gd name="connsiteX25" fmla="*/ 32555 w 435254"/>
                <a:gd name="connsiteY25" fmla="*/ 483510 h 605592"/>
                <a:gd name="connsiteX26" fmla="*/ 34134 w 435254"/>
                <a:gd name="connsiteY26" fmla="*/ 548769 h 605592"/>
                <a:gd name="connsiteX27" fmla="*/ 90950 w 435254"/>
                <a:gd name="connsiteY27" fmla="*/ 580935 h 605592"/>
                <a:gd name="connsiteX28" fmla="*/ 344304 w 435254"/>
                <a:gd name="connsiteY28" fmla="*/ 580935 h 605592"/>
                <a:gd name="connsiteX29" fmla="*/ 401120 w 435254"/>
                <a:gd name="connsiteY29" fmla="*/ 548769 h 605592"/>
                <a:gd name="connsiteX30" fmla="*/ 402791 w 435254"/>
                <a:gd name="connsiteY30" fmla="*/ 483510 h 605592"/>
                <a:gd name="connsiteX31" fmla="*/ 284981 w 435254"/>
                <a:gd name="connsiteY31" fmla="*/ 263353 h 605592"/>
                <a:gd name="connsiteX32" fmla="*/ 284981 w 435254"/>
                <a:gd name="connsiteY32" fmla="*/ 71748 h 605592"/>
                <a:gd name="connsiteX33" fmla="*/ 96799 w 435254"/>
                <a:gd name="connsiteY33" fmla="*/ 0 h 605592"/>
                <a:gd name="connsiteX34" fmla="*/ 337527 w 435254"/>
                <a:gd name="connsiteY34" fmla="*/ 0 h 605592"/>
                <a:gd name="connsiteX35" fmla="*/ 373548 w 435254"/>
                <a:gd name="connsiteY35" fmla="*/ 35874 h 605592"/>
                <a:gd name="connsiteX36" fmla="*/ 337527 w 435254"/>
                <a:gd name="connsiteY36" fmla="*/ 71748 h 605592"/>
                <a:gd name="connsiteX37" fmla="*/ 309768 w 435254"/>
                <a:gd name="connsiteY37" fmla="*/ 71748 h 605592"/>
                <a:gd name="connsiteX38" fmla="*/ 309768 w 435254"/>
                <a:gd name="connsiteY38" fmla="*/ 257235 h 605592"/>
                <a:gd name="connsiteX39" fmla="*/ 424608 w 435254"/>
                <a:gd name="connsiteY39" fmla="*/ 471923 h 605592"/>
                <a:gd name="connsiteX40" fmla="*/ 422380 w 435254"/>
                <a:gd name="connsiteY40" fmla="*/ 561468 h 605592"/>
                <a:gd name="connsiteX41" fmla="*/ 344304 w 435254"/>
                <a:gd name="connsiteY41" fmla="*/ 605592 h 605592"/>
                <a:gd name="connsiteX42" fmla="*/ 90950 w 435254"/>
                <a:gd name="connsiteY42" fmla="*/ 605592 h 605592"/>
                <a:gd name="connsiteX43" fmla="*/ 12874 w 435254"/>
                <a:gd name="connsiteY43" fmla="*/ 561468 h 605592"/>
                <a:gd name="connsiteX44" fmla="*/ 10646 w 435254"/>
                <a:gd name="connsiteY44" fmla="*/ 471923 h 605592"/>
                <a:gd name="connsiteX45" fmla="*/ 125579 w 435254"/>
                <a:gd name="connsiteY45" fmla="*/ 257235 h 605592"/>
                <a:gd name="connsiteX46" fmla="*/ 125579 w 435254"/>
                <a:gd name="connsiteY46" fmla="*/ 71748 h 605592"/>
                <a:gd name="connsiteX47" fmla="*/ 96799 w 435254"/>
                <a:gd name="connsiteY47" fmla="*/ 71748 h 605592"/>
                <a:gd name="connsiteX48" fmla="*/ 61799 w 435254"/>
                <a:gd name="connsiteY48" fmla="*/ 35874 h 605592"/>
                <a:gd name="connsiteX49" fmla="*/ 96799 w 435254"/>
                <a:gd name="connsiteY49" fmla="*/ 0 h 6055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435254" h="605592">
                  <a:moveTo>
                    <a:pt x="264916" y="387002"/>
                  </a:moveTo>
                  <a:cubicBezTo>
                    <a:pt x="240222" y="393953"/>
                    <a:pt x="225925" y="419628"/>
                    <a:pt x="232980" y="444284"/>
                  </a:cubicBezTo>
                  <a:cubicBezTo>
                    <a:pt x="240036" y="468846"/>
                    <a:pt x="265752" y="483120"/>
                    <a:pt x="290446" y="476076"/>
                  </a:cubicBezTo>
                  <a:cubicBezTo>
                    <a:pt x="315048" y="469032"/>
                    <a:pt x="329344" y="443357"/>
                    <a:pt x="322289" y="418794"/>
                  </a:cubicBezTo>
                  <a:cubicBezTo>
                    <a:pt x="315233" y="394139"/>
                    <a:pt x="289518" y="379957"/>
                    <a:pt x="264916" y="387002"/>
                  </a:cubicBezTo>
                  <a:close/>
                  <a:moveTo>
                    <a:pt x="139402" y="338432"/>
                  </a:moveTo>
                  <a:lnTo>
                    <a:pt x="295830" y="338432"/>
                  </a:lnTo>
                  <a:lnTo>
                    <a:pt x="380961" y="497395"/>
                  </a:lnTo>
                  <a:cubicBezTo>
                    <a:pt x="387831" y="510278"/>
                    <a:pt x="387367" y="525758"/>
                    <a:pt x="379940" y="538271"/>
                  </a:cubicBezTo>
                  <a:cubicBezTo>
                    <a:pt x="372420" y="550784"/>
                    <a:pt x="358866" y="558384"/>
                    <a:pt x="344291" y="558384"/>
                  </a:cubicBezTo>
                  <a:lnTo>
                    <a:pt x="90941" y="558384"/>
                  </a:lnTo>
                  <a:cubicBezTo>
                    <a:pt x="76366" y="558384"/>
                    <a:pt x="62905" y="550784"/>
                    <a:pt x="55385" y="538271"/>
                  </a:cubicBezTo>
                  <a:cubicBezTo>
                    <a:pt x="47865" y="525758"/>
                    <a:pt x="47494" y="510278"/>
                    <a:pt x="54364" y="497395"/>
                  </a:cubicBezTo>
                  <a:close/>
                  <a:moveTo>
                    <a:pt x="206517" y="242939"/>
                  </a:moveTo>
                  <a:cubicBezTo>
                    <a:pt x="221829" y="238582"/>
                    <a:pt x="237884" y="247481"/>
                    <a:pt x="242338" y="262869"/>
                  </a:cubicBezTo>
                  <a:cubicBezTo>
                    <a:pt x="246700" y="278257"/>
                    <a:pt x="237791" y="294201"/>
                    <a:pt x="222386" y="298651"/>
                  </a:cubicBezTo>
                  <a:cubicBezTo>
                    <a:pt x="206981" y="303008"/>
                    <a:pt x="191019" y="294109"/>
                    <a:pt x="186565" y="278813"/>
                  </a:cubicBezTo>
                  <a:cubicBezTo>
                    <a:pt x="182203" y="263425"/>
                    <a:pt x="191112" y="247388"/>
                    <a:pt x="206517" y="242939"/>
                  </a:cubicBezTo>
                  <a:close/>
                  <a:moveTo>
                    <a:pt x="247634" y="115529"/>
                  </a:moveTo>
                  <a:cubicBezTo>
                    <a:pt x="260543" y="111917"/>
                    <a:pt x="274010" y="119327"/>
                    <a:pt x="277725" y="132203"/>
                  </a:cubicBezTo>
                  <a:cubicBezTo>
                    <a:pt x="281347" y="145079"/>
                    <a:pt x="273917" y="158418"/>
                    <a:pt x="261007" y="162123"/>
                  </a:cubicBezTo>
                  <a:cubicBezTo>
                    <a:pt x="248191" y="165829"/>
                    <a:pt x="234724" y="158326"/>
                    <a:pt x="231009" y="145542"/>
                  </a:cubicBezTo>
                  <a:cubicBezTo>
                    <a:pt x="227294" y="132666"/>
                    <a:pt x="234817" y="119235"/>
                    <a:pt x="247634" y="115529"/>
                  </a:cubicBezTo>
                  <a:close/>
                  <a:moveTo>
                    <a:pt x="150273" y="71748"/>
                  </a:moveTo>
                  <a:lnTo>
                    <a:pt x="150273" y="263353"/>
                  </a:lnTo>
                  <a:lnTo>
                    <a:pt x="32555" y="483510"/>
                  </a:lnTo>
                  <a:cubicBezTo>
                    <a:pt x="21601" y="503903"/>
                    <a:pt x="22251" y="528931"/>
                    <a:pt x="34134" y="548769"/>
                  </a:cubicBezTo>
                  <a:cubicBezTo>
                    <a:pt x="46017" y="568606"/>
                    <a:pt x="67834" y="580935"/>
                    <a:pt x="90950" y="580935"/>
                  </a:cubicBezTo>
                  <a:lnTo>
                    <a:pt x="344304" y="580935"/>
                  </a:lnTo>
                  <a:cubicBezTo>
                    <a:pt x="367420" y="580935"/>
                    <a:pt x="389237" y="568606"/>
                    <a:pt x="401120" y="548769"/>
                  </a:cubicBezTo>
                  <a:cubicBezTo>
                    <a:pt x="413096" y="528931"/>
                    <a:pt x="413653" y="503903"/>
                    <a:pt x="402791" y="483510"/>
                  </a:cubicBezTo>
                  <a:lnTo>
                    <a:pt x="284981" y="263353"/>
                  </a:lnTo>
                  <a:lnTo>
                    <a:pt x="284981" y="71748"/>
                  </a:lnTo>
                  <a:close/>
                  <a:moveTo>
                    <a:pt x="96799" y="0"/>
                  </a:moveTo>
                  <a:lnTo>
                    <a:pt x="337527" y="0"/>
                  </a:lnTo>
                  <a:cubicBezTo>
                    <a:pt x="357394" y="0"/>
                    <a:pt x="373548" y="16036"/>
                    <a:pt x="373548" y="35874"/>
                  </a:cubicBezTo>
                  <a:cubicBezTo>
                    <a:pt x="373548" y="55711"/>
                    <a:pt x="357394" y="71748"/>
                    <a:pt x="337527" y="71748"/>
                  </a:cubicBezTo>
                  <a:lnTo>
                    <a:pt x="309768" y="71748"/>
                  </a:lnTo>
                  <a:lnTo>
                    <a:pt x="309768" y="257235"/>
                  </a:lnTo>
                  <a:lnTo>
                    <a:pt x="424608" y="471923"/>
                  </a:lnTo>
                  <a:cubicBezTo>
                    <a:pt x="439555" y="499917"/>
                    <a:pt x="438719" y="534215"/>
                    <a:pt x="422380" y="561468"/>
                  </a:cubicBezTo>
                  <a:cubicBezTo>
                    <a:pt x="406041" y="588721"/>
                    <a:pt x="376147" y="605592"/>
                    <a:pt x="344304" y="605592"/>
                  </a:cubicBezTo>
                  <a:lnTo>
                    <a:pt x="90950" y="605592"/>
                  </a:lnTo>
                  <a:cubicBezTo>
                    <a:pt x="59200" y="605592"/>
                    <a:pt x="29213" y="588721"/>
                    <a:pt x="12874" y="561468"/>
                  </a:cubicBezTo>
                  <a:cubicBezTo>
                    <a:pt x="-3465" y="534215"/>
                    <a:pt x="-4301" y="499917"/>
                    <a:pt x="10646" y="471923"/>
                  </a:cubicBezTo>
                  <a:lnTo>
                    <a:pt x="125579" y="257235"/>
                  </a:lnTo>
                  <a:lnTo>
                    <a:pt x="125579" y="71748"/>
                  </a:lnTo>
                  <a:lnTo>
                    <a:pt x="96799" y="71748"/>
                  </a:lnTo>
                  <a:cubicBezTo>
                    <a:pt x="77396" y="71284"/>
                    <a:pt x="61799" y="55433"/>
                    <a:pt x="61799" y="35874"/>
                  </a:cubicBezTo>
                  <a:cubicBezTo>
                    <a:pt x="61799" y="16407"/>
                    <a:pt x="77396" y="556"/>
                    <a:pt x="96799"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文本框 24">
              <a:extLst>
                <a:ext uri="{FF2B5EF4-FFF2-40B4-BE49-F238E27FC236}">
                  <a16:creationId xmlns:a16="http://schemas.microsoft.com/office/drawing/2014/main" id="{0FC32659-3CC9-4538-8C8A-68481ED26DE6}"/>
                </a:ext>
              </a:extLst>
            </p:cNvPr>
            <p:cNvSpPr txBox="1"/>
            <p:nvPr/>
          </p:nvSpPr>
          <p:spPr>
            <a:xfrm>
              <a:off x="5749751" y="2456183"/>
              <a:ext cx="692497" cy="276999"/>
            </a:xfrm>
            <a:prstGeom prst="rect">
              <a:avLst/>
            </a:prstGeom>
            <a:noFill/>
          </p:spPr>
          <p:txBody>
            <a:bodyPr wrap="none" lIns="0" tIns="0" rIns="0" bIns="0" rtlCol="0" anchor="t">
              <a:spAutoFit/>
            </a:bodyPr>
            <a:lstStyle/>
            <a:p>
              <a:pPr algn="l"/>
              <a:r>
                <a:rPr lang="zh-CN" altLang="en-US" dirty="0">
                  <a:solidFill>
                    <a:schemeClr val="bg1"/>
                  </a:solidFill>
                  <a:latin typeface="+mj-ea"/>
                  <a:ea typeface="+mj-ea"/>
                </a:rPr>
                <a:t>关键词</a:t>
              </a:r>
            </a:p>
          </p:txBody>
        </p:sp>
      </p:grpSp>
      <p:sp>
        <p:nvSpPr>
          <p:cNvPr id="28" name="椭圆 27">
            <a:extLst>
              <a:ext uri="{FF2B5EF4-FFF2-40B4-BE49-F238E27FC236}">
                <a16:creationId xmlns:a16="http://schemas.microsoft.com/office/drawing/2014/main" id="{0A1D502A-11F5-4D97-9711-D2E577D05394}"/>
              </a:ext>
            </a:extLst>
          </p:cNvPr>
          <p:cNvSpPr/>
          <p:nvPr/>
        </p:nvSpPr>
        <p:spPr>
          <a:xfrm>
            <a:off x="1120140" y="3754501"/>
            <a:ext cx="1600200" cy="1600200"/>
          </a:xfrm>
          <a:prstGeom prst="ellipse">
            <a:avLst/>
          </a:prstGeom>
          <a:solidFill>
            <a:schemeClr val="bg1"/>
          </a:solidFill>
          <a:ln w="53975">
            <a:solidFill>
              <a:schemeClr val="accent1"/>
            </a:solidFill>
          </a:ln>
          <a:effectLst>
            <a:outerShdw blurRad="368300" sx="102000" sy="102000" algn="ctr" rotWithShape="0">
              <a:schemeClr val="accent1">
                <a:lumMod val="90000"/>
                <a:lumOff val="10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29" name="椭圆 28">
            <a:extLst>
              <a:ext uri="{FF2B5EF4-FFF2-40B4-BE49-F238E27FC236}">
                <a16:creationId xmlns:a16="http://schemas.microsoft.com/office/drawing/2014/main" id="{679CABC2-A58E-4F02-B082-4FB1E8C0130C}"/>
              </a:ext>
            </a:extLst>
          </p:cNvPr>
          <p:cNvSpPr/>
          <p:nvPr/>
        </p:nvSpPr>
        <p:spPr>
          <a:xfrm>
            <a:off x="1246347" y="3880708"/>
            <a:ext cx="1347786" cy="134778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31" name="文本框 30">
            <a:extLst>
              <a:ext uri="{FF2B5EF4-FFF2-40B4-BE49-F238E27FC236}">
                <a16:creationId xmlns:a16="http://schemas.microsoft.com/office/drawing/2014/main" id="{FA7A3990-F96A-4BE0-B213-9F5CDA91F5EE}"/>
              </a:ext>
            </a:extLst>
          </p:cNvPr>
          <p:cNvSpPr txBox="1"/>
          <p:nvPr/>
        </p:nvSpPr>
        <p:spPr>
          <a:xfrm>
            <a:off x="1573991" y="4614548"/>
            <a:ext cx="692497" cy="276999"/>
          </a:xfrm>
          <a:prstGeom prst="rect">
            <a:avLst/>
          </a:prstGeom>
          <a:noFill/>
        </p:spPr>
        <p:txBody>
          <a:bodyPr wrap="none" lIns="0" tIns="0" rIns="0" bIns="0" rtlCol="0" anchor="t">
            <a:spAutoFit/>
          </a:bodyPr>
          <a:lstStyle/>
          <a:p>
            <a:pPr algn="l"/>
            <a:r>
              <a:rPr lang="zh-CN" altLang="en-US" dirty="0">
                <a:solidFill>
                  <a:schemeClr val="bg1"/>
                </a:solidFill>
                <a:latin typeface="+mj-ea"/>
                <a:ea typeface="+mj-ea"/>
              </a:rPr>
              <a:t>关键词</a:t>
            </a:r>
          </a:p>
        </p:txBody>
      </p:sp>
      <p:sp>
        <p:nvSpPr>
          <p:cNvPr id="33" name="椭圆 32">
            <a:extLst>
              <a:ext uri="{FF2B5EF4-FFF2-40B4-BE49-F238E27FC236}">
                <a16:creationId xmlns:a16="http://schemas.microsoft.com/office/drawing/2014/main" id="{0DEFA214-47F1-41D0-8C22-7FF470D8E5FB}"/>
              </a:ext>
            </a:extLst>
          </p:cNvPr>
          <p:cNvSpPr/>
          <p:nvPr/>
        </p:nvSpPr>
        <p:spPr>
          <a:xfrm>
            <a:off x="3622848" y="3754501"/>
            <a:ext cx="1600200" cy="1600200"/>
          </a:xfrm>
          <a:prstGeom prst="ellipse">
            <a:avLst/>
          </a:prstGeom>
          <a:solidFill>
            <a:schemeClr val="bg1"/>
          </a:solidFill>
          <a:ln w="53975">
            <a:solidFill>
              <a:schemeClr val="accent1"/>
            </a:solidFill>
          </a:ln>
          <a:effectLst>
            <a:outerShdw blurRad="368300" sx="102000" sy="102000" algn="ctr" rotWithShape="0">
              <a:schemeClr val="accent1">
                <a:lumMod val="90000"/>
                <a:lumOff val="10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34" name="椭圆 33">
            <a:extLst>
              <a:ext uri="{FF2B5EF4-FFF2-40B4-BE49-F238E27FC236}">
                <a16:creationId xmlns:a16="http://schemas.microsoft.com/office/drawing/2014/main" id="{01E20CED-DD14-4663-A15E-424D892A45F4}"/>
              </a:ext>
            </a:extLst>
          </p:cNvPr>
          <p:cNvSpPr/>
          <p:nvPr/>
        </p:nvSpPr>
        <p:spPr>
          <a:xfrm>
            <a:off x="3749055" y="3880708"/>
            <a:ext cx="1347786" cy="134778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36" name="文本框 35">
            <a:extLst>
              <a:ext uri="{FF2B5EF4-FFF2-40B4-BE49-F238E27FC236}">
                <a16:creationId xmlns:a16="http://schemas.microsoft.com/office/drawing/2014/main" id="{60283F14-EE90-44EA-B1E0-DD87C307F031}"/>
              </a:ext>
            </a:extLst>
          </p:cNvPr>
          <p:cNvSpPr txBox="1"/>
          <p:nvPr/>
        </p:nvSpPr>
        <p:spPr>
          <a:xfrm>
            <a:off x="4076699" y="4614548"/>
            <a:ext cx="692497" cy="276999"/>
          </a:xfrm>
          <a:prstGeom prst="rect">
            <a:avLst/>
          </a:prstGeom>
          <a:noFill/>
        </p:spPr>
        <p:txBody>
          <a:bodyPr wrap="none" lIns="0" tIns="0" rIns="0" bIns="0" rtlCol="0" anchor="t">
            <a:spAutoFit/>
          </a:bodyPr>
          <a:lstStyle/>
          <a:p>
            <a:pPr algn="l"/>
            <a:r>
              <a:rPr lang="zh-CN" altLang="en-US" dirty="0">
                <a:solidFill>
                  <a:schemeClr val="bg1"/>
                </a:solidFill>
                <a:latin typeface="+mj-ea"/>
                <a:ea typeface="+mj-ea"/>
              </a:rPr>
              <a:t>关键词</a:t>
            </a:r>
          </a:p>
        </p:txBody>
      </p:sp>
      <p:sp>
        <p:nvSpPr>
          <p:cNvPr id="37" name="shop_346547">
            <a:extLst>
              <a:ext uri="{FF2B5EF4-FFF2-40B4-BE49-F238E27FC236}">
                <a16:creationId xmlns:a16="http://schemas.microsoft.com/office/drawing/2014/main" id="{CE0B68F9-EFDA-4010-A6BC-337837FC98FD}"/>
              </a:ext>
            </a:extLst>
          </p:cNvPr>
          <p:cNvSpPr/>
          <p:nvPr/>
        </p:nvSpPr>
        <p:spPr>
          <a:xfrm>
            <a:off x="1710053" y="4085287"/>
            <a:ext cx="420372" cy="420266"/>
          </a:xfrm>
          <a:custGeom>
            <a:avLst/>
            <a:gdLst>
              <a:gd name="connsiteX0" fmla="*/ 339625 w 606239"/>
              <a:gd name="connsiteY0" fmla="*/ 410867 h 606087"/>
              <a:gd name="connsiteX1" fmla="*/ 339625 w 606239"/>
              <a:gd name="connsiteY1" fmla="*/ 511555 h 606087"/>
              <a:gd name="connsiteX2" fmla="*/ 486677 w 606239"/>
              <a:gd name="connsiteY2" fmla="*/ 511555 h 606087"/>
              <a:gd name="connsiteX3" fmla="*/ 486677 w 606239"/>
              <a:gd name="connsiteY3" fmla="*/ 410867 h 606087"/>
              <a:gd name="connsiteX4" fmla="*/ 117843 w 606239"/>
              <a:gd name="connsiteY4" fmla="*/ 298351 h 606087"/>
              <a:gd name="connsiteX5" fmla="*/ 179572 w 606239"/>
              <a:gd name="connsiteY5" fmla="*/ 324124 h 606087"/>
              <a:gd name="connsiteX6" fmla="*/ 241302 w 606239"/>
              <a:gd name="connsiteY6" fmla="*/ 298351 h 606087"/>
              <a:gd name="connsiteX7" fmla="*/ 303127 w 606239"/>
              <a:gd name="connsiteY7" fmla="*/ 324124 h 606087"/>
              <a:gd name="connsiteX8" fmla="*/ 364856 w 606239"/>
              <a:gd name="connsiteY8" fmla="*/ 298351 h 606087"/>
              <a:gd name="connsiteX9" fmla="*/ 426585 w 606239"/>
              <a:gd name="connsiteY9" fmla="*/ 324124 h 606087"/>
              <a:gd name="connsiteX10" fmla="*/ 488411 w 606239"/>
              <a:gd name="connsiteY10" fmla="*/ 298351 h 606087"/>
              <a:gd name="connsiteX11" fmla="*/ 550140 w 606239"/>
              <a:gd name="connsiteY11" fmla="*/ 324124 h 606087"/>
              <a:gd name="connsiteX12" fmla="*/ 559385 w 606239"/>
              <a:gd name="connsiteY12" fmla="*/ 323547 h 606087"/>
              <a:gd name="connsiteX13" fmla="*/ 559385 w 606239"/>
              <a:gd name="connsiteY13" fmla="*/ 606087 h 606087"/>
              <a:gd name="connsiteX14" fmla="*/ 269518 w 606239"/>
              <a:gd name="connsiteY14" fmla="*/ 606087 h 606087"/>
              <a:gd name="connsiteX15" fmla="*/ 269518 w 606239"/>
              <a:gd name="connsiteY15" fmla="*/ 410867 h 606087"/>
              <a:gd name="connsiteX16" fmla="*/ 123525 w 606239"/>
              <a:gd name="connsiteY16" fmla="*/ 410867 h 606087"/>
              <a:gd name="connsiteX17" fmla="*/ 123525 w 606239"/>
              <a:gd name="connsiteY17" fmla="*/ 606087 h 606087"/>
              <a:gd name="connsiteX18" fmla="*/ 46869 w 606239"/>
              <a:gd name="connsiteY18" fmla="*/ 606087 h 606087"/>
              <a:gd name="connsiteX19" fmla="*/ 46869 w 606239"/>
              <a:gd name="connsiteY19" fmla="*/ 323547 h 606087"/>
              <a:gd name="connsiteX20" fmla="*/ 56018 w 606239"/>
              <a:gd name="connsiteY20" fmla="*/ 324124 h 606087"/>
              <a:gd name="connsiteX21" fmla="*/ 117843 w 606239"/>
              <a:gd name="connsiteY21" fmla="*/ 298351 h 606087"/>
              <a:gd name="connsiteX22" fmla="*/ 194887 w 606239"/>
              <a:gd name="connsiteY22" fmla="*/ 0 h 606087"/>
              <a:gd name="connsiteX23" fmla="*/ 411297 w 606239"/>
              <a:gd name="connsiteY23" fmla="*/ 0 h 606087"/>
              <a:gd name="connsiteX24" fmla="*/ 411297 w 606239"/>
              <a:gd name="connsiteY24" fmla="*/ 55101 h 606087"/>
              <a:gd name="connsiteX25" fmla="*/ 509053 w 606239"/>
              <a:gd name="connsiteY25" fmla="*/ 55101 h 606087"/>
              <a:gd name="connsiteX26" fmla="*/ 599489 w 606239"/>
              <a:gd name="connsiteY26" fmla="*/ 213287 h 606087"/>
              <a:gd name="connsiteX27" fmla="*/ 557401 w 606239"/>
              <a:gd name="connsiteY27" fmla="*/ 298390 h 606087"/>
              <a:gd name="connsiteX28" fmla="*/ 550178 w 606239"/>
              <a:gd name="connsiteY28" fmla="*/ 298774 h 606087"/>
              <a:gd name="connsiteX29" fmla="*/ 488442 w 606239"/>
              <a:gd name="connsiteY29" fmla="*/ 237135 h 606087"/>
              <a:gd name="connsiteX30" fmla="*/ 426611 w 606239"/>
              <a:gd name="connsiteY30" fmla="*/ 298774 h 606087"/>
              <a:gd name="connsiteX31" fmla="*/ 364875 w 606239"/>
              <a:gd name="connsiteY31" fmla="*/ 237135 h 606087"/>
              <a:gd name="connsiteX32" fmla="*/ 303140 w 606239"/>
              <a:gd name="connsiteY32" fmla="*/ 298774 h 606087"/>
              <a:gd name="connsiteX33" fmla="*/ 241309 w 606239"/>
              <a:gd name="connsiteY33" fmla="*/ 237135 h 606087"/>
              <a:gd name="connsiteX34" fmla="*/ 179573 w 606239"/>
              <a:gd name="connsiteY34" fmla="*/ 298774 h 606087"/>
              <a:gd name="connsiteX35" fmla="*/ 117838 w 606239"/>
              <a:gd name="connsiteY35" fmla="*/ 237135 h 606087"/>
              <a:gd name="connsiteX36" fmla="*/ 56007 w 606239"/>
              <a:gd name="connsiteY36" fmla="*/ 298774 h 606087"/>
              <a:gd name="connsiteX37" fmla="*/ 48880 w 606239"/>
              <a:gd name="connsiteY37" fmla="*/ 298390 h 606087"/>
              <a:gd name="connsiteX38" fmla="*/ 6792 w 606239"/>
              <a:gd name="connsiteY38" fmla="*/ 213287 h 606087"/>
              <a:gd name="connsiteX39" fmla="*/ 97228 w 606239"/>
              <a:gd name="connsiteY39" fmla="*/ 55101 h 606087"/>
              <a:gd name="connsiteX40" fmla="*/ 194887 w 606239"/>
              <a:gd name="connsiteY40" fmla="*/ 55101 h 606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606239" h="606087">
                <a:moveTo>
                  <a:pt x="339625" y="410867"/>
                </a:moveTo>
                <a:lnTo>
                  <a:pt x="339625" y="511555"/>
                </a:lnTo>
                <a:lnTo>
                  <a:pt x="486677" y="511555"/>
                </a:lnTo>
                <a:lnTo>
                  <a:pt x="486677" y="410867"/>
                </a:lnTo>
                <a:close/>
                <a:moveTo>
                  <a:pt x="117843" y="298351"/>
                </a:moveTo>
                <a:cubicBezTo>
                  <a:pt x="133637" y="314315"/>
                  <a:pt x="155497" y="324124"/>
                  <a:pt x="179572" y="324124"/>
                </a:cubicBezTo>
                <a:cubicBezTo>
                  <a:pt x="203744" y="324124"/>
                  <a:pt x="225604" y="314315"/>
                  <a:pt x="241302" y="298351"/>
                </a:cubicBezTo>
                <a:cubicBezTo>
                  <a:pt x="257095" y="314315"/>
                  <a:pt x="278955" y="324124"/>
                  <a:pt x="303127" y="324124"/>
                </a:cubicBezTo>
                <a:cubicBezTo>
                  <a:pt x="327202" y="324124"/>
                  <a:pt x="349063" y="314315"/>
                  <a:pt x="364856" y="298351"/>
                </a:cubicBezTo>
                <a:cubicBezTo>
                  <a:pt x="380650" y="314315"/>
                  <a:pt x="402510" y="324124"/>
                  <a:pt x="426585" y="324124"/>
                </a:cubicBezTo>
                <a:cubicBezTo>
                  <a:pt x="450757" y="324124"/>
                  <a:pt x="472617" y="314315"/>
                  <a:pt x="488411" y="298351"/>
                </a:cubicBezTo>
                <a:cubicBezTo>
                  <a:pt x="504204" y="314315"/>
                  <a:pt x="526065" y="324124"/>
                  <a:pt x="550140" y="324124"/>
                </a:cubicBezTo>
                <a:cubicBezTo>
                  <a:pt x="553222" y="324124"/>
                  <a:pt x="556303" y="323932"/>
                  <a:pt x="559385" y="323547"/>
                </a:cubicBezTo>
                <a:lnTo>
                  <a:pt x="559385" y="606087"/>
                </a:lnTo>
                <a:lnTo>
                  <a:pt x="269518" y="606087"/>
                </a:lnTo>
                <a:lnTo>
                  <a:pt x="269518" y="410867"/>
                </a:lnTo>
                <a:lnTo>
                  <a:pt x="123525" y="410867"/>
                </a:lnTo>
                <a:lnTo>
                  <a:pt x="123525" y="606087"/>
                </a:lnTo>
                <a:lnTo>
                  <a:pt x="46869" y="606087"/>
                </a:lnTo>
                <a:lnTo>
                  <a:pt x="46869" y="323547"/>
                </a:lnTo>
                <a:cubicBezTo>
                  <a:pt x="49854" y="323932"/>
                  <a:pt x="52936" y="324124"/>
                  <a:pt x="56018" y="324124"/>
                </a:cubicBezTo>
                <a:cubicBezTo>
                  <a:pt x="80189" y="324124"/>
                  <a:pt x="102050" y="314315"/>
                  <a:pt x="117843" y="298351"/>
                </a:cubicBezTo>
                <a:close/>
                <a:moveTo>
                  <a:pt x="194887" y="0"/>
                </a:moveTo>
                <a:lnTo>
                  <a:pt x="411297" y="0"/>
                </a:lnTo>
                <a:lnTo>
                  <a:pt x="411297" y="55101"/>
                </a:lnTo>
                <a:lnTo>
                  <a:pt x="509053" y="55101"/>
                </a:lnTo>
                <a:lnTo>
                  <a:pt x="599489" y="213287"/>
                </a:lnTo>
                <a:cubicBezTo>
                  <a:pt x="617884" y="248578"/>
                  <a:pt x="596985" y="293774"/>
                  <a:pt x="557401" y="298390"/>
                </a:cubicBezTo>
                <a:cubicBezTo>
                  <a:pt x="554993" y="298678"/>
                  <a:pt x="552585" y="298774"/>
                  <a:pt x="550178" y="298774"/>
                </a:cubicBezTo>
                <a:cubicBezTo>
                  <a:pt x="516083" y="298774"/>
                  <a:pt x="488442" y="271176"/>
                  <a:pt x="488442" y="237135"/>
                </a:cubicBezTo>
                <a:cubicBezTo>
                  <a:pt x="488442" y="271176"/>
                  <a:pt x="460801" y="298774"/>
                  <a:pt x="426611" y="298774"/>
                </a:cubicBezTo>
                <a:cubicBezTo>
                  <a:pt x="392517" y="298774"/>
                  <a:pt x="364875" y="271176"/>
                  <a:pt x="364875" y="237135"/>
                </a:cubicBezTo>
                <a:cubicBezTo>
                  <a:pt x="364875" y="271176"/>
                  <a:pt x="337234" y="298774"/>
                  <a:pt x="303140" y="298774"/>
                </a:cubicBezTo>
                <a:cubicBezTo>
                  <a:pt x="269046" y="298774"/>
                  <a:pt x="241309" y="271176"/>
                  <a:pt x="241309" y="237135"/>
                </a:cubicBezTo>
                <a:cubicBezTo>
                  <a:pt x="241309" y="271176"/>
                  <a:pt x="213667" y="298774"/>
                  <a:pt x="179573" y="298774"/>
                </a:cubicBezTo>
                <a:cubicBezTo>
                  <a:pt x="145479" y="298774"/>
                  <a:pt x="117838" y="271176"/>
                  <a:pt x="117838" y="237135"/>
                </a:cubicBezTo>
                <a:cubicBezTo>
                  <a:pt x="117838" y="271176"/>
                  <a:pt x="90197" y="298774"/>
                  <a:pt x="56007" y="298774"/>
                </a:cubicBezTo>
                <a:cubicBezTo>
                  <a:pt x="53599" y="298774"/>
                  <a:pt x="51191" y="298678"/>
                  <a:pt x="48880" y="298390"/>
                </a:cubicBezTo>
                <a:cubicBezTo>
                  <a:pt x="9296" y="293774"/>
                  <a:pt x="-11700" y="248578"/>
                  <a:pt x="6792" y="213287"/>
                </a:cubicBezTo>
                <a:lnTo>
                  <a:pt x="97228" y="55101"/>
                </a:lnTo>
                <a:lnTo>
                  <a:pt x="194887" y="55101"/>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8" name="shop_346547">
            <a:extLst>
              <a:ext uri="{FF2B5EF4-FFF2-40B4-BE49-F238E27FC236}">
                <a16:creationId xmlns:a16="http://schemas.microsoft.com/office/drawing/2014/main" id="{BBE42C44-E65D-4FB0-ABAD-A0384D250771}"/>
              </a:ext>
            </a:extLst>
          </p:cNvPr>
          <p:cNvSpPr/>
          <p:nvPr/>
        </p:nvSpPr>
        <p:spPr>
          <a:xfrm>
            <a:off x="4223085" y="4086151"/>
            <a:ext cx="399724" cy="420372"/>
          </a:xfrm>
          <a:custGeom>
            <a:avLst/>
            <a:gdLst>
              <a:gd name="T0" fmla="*/ 327 w 354"/>
              <a:gd name="T1" fmla="*/ 260 h 373"/>
              <a:gd name="T2" fmla="*/ 99 w 354"/>
              <a:gd name="T3" fmla="*/ 286 h 373"/>
              <a:gd name="T4" fmla="*/ 0 w 354"/>
              <a:gd name="T5" fmla="*/ 95 h 373"/>
              <a:gd name="T6" fmla="*/ 78 w 354"/>
              <a:gd name="T7" fmla="*/ 70 h 373"/>
              <a:gd name="T8" fmla="*/ 144 w 354"/>
              <a:gd name="T9" fmla="*/ 303 h 373"/>
              <a:gd name="T10" fmla="*/ 144 w 354"/>
              <a:gd name="T11" fmla="*/ 373 h 373"/>
              <a:gd name="T12" fmla="*/ 144 w 354"/>
              <a:gd name="T13" fmla="*/ 303 h 373"/>
              <a:gd name="T14" fmla="*/ 253 w 354"/>
              <a:gd name="T15" fmla="*/ 338 h 373"/>
              <a:gd name="T16" fmla="*/ 323 w 354"/>
              <a:gd name="T17" fmla="*/ 338 h 373"/>
              <a:gd name="T18" fmla="*/ 133 w 354"/>
              <a:gd name="T19" fmla="*/ 240 h 373"/>
              <a:gd name="T20" fmla="*/ 153 w 354"/>
              <a:gd name="T21" fmla="*/ 82 h 373"/>
              <a:gd name="T22" fmla="*/ 314 w 354"/>
              <a:gd name="T23" fmla="*/ 68 h 373"/>
              <a:gd name="T24" fmla="*/ 354 w 354"/>
              <a:gd name="T25" fmla="*/ 82 h 373"/>
              <a:gd name="T26" fmla="*/ 133 w 354"/>
              <a:gd name="T27" fmla="*/ 240 h 373"/>
              <a:gd name="T28" fmla="*/ 294 w 354"/>
              <a:gd name="T29" fmla="*/ 82 h 373"/>
              <a:gd name="T30" fmla="*/ 305 w 354"/>
              <a:gd name="T31" fmla="*/ 73 h 373"/>
              <a:gd name="T32" fmla="*/ 191 w 354"/>
              <a:gd name="T33" fmla="*/ 82 h 373"/>
              <a:gd name="T34" fmla="*/ 194 w 354"/>
              <a:gd name="T35" fmla="*/ 76 h 373"/>
              <a:gd name="T36" fmla="*/ 205 w 354"/>
              <a:gd name="T37" fmla="*/ 82 h 373"/>
              <a:gd name="T38" fmla="*/ 204 w 354"/>
              <a:gd name="T39" fmla="*/ 69 h 373"/>
              <a:gd name="T40" fmla="*/ 220 w 354"/>
              <a:gd name="T41" fmla="*/ 82 h 373"/>
              <a:gd name="T42" fmla="*/ 213 w 354"/>
              <a:gd name="T43" fmla="*/ 62 h 373"/>
              <a:gd name="T44" fmla="*/ 236 w 354"/>
              <a:gd name="T45" fmla="*/ 82 h 373"/>
              <a:gd name="T46" fmla="*/ 224 w 354"/>
              <a:gd name="T47" fmla="*/ 54 h 373"/>
              <a:gd name="T48" fmla="*/ 251 w 354"/>
              <a:gd name="T49" fmla="*/ 82 h 373"/>
              <a:gd name="T50" fmla="*/ 234 w 354"/>
              <a:gd name="T51" fmla="*/ 47 h 373"/>
              <a:gd name="T52" fmla="*/ 281 w 354"/>
              <a:gd name="T53" fmla="*/ 82 h 373"/>
              <a:gd name="T54" fmla="*/ 262 w 354"/>
              <a:gd name="T55" fmla="*/ 10 h 373"/>
              <a:gd name="T56" fmla="*/ 281 w 354"/>
              <a:gd name="T57" fmla="*/ 71 h 373"/>
              <a:gd name="T58" fmla="*/ 248 w 354"/>
              <a:gd name="T59" fmla="*/ 37 h 373"/>
              <a:gd name="T60" fmla="*/ 281 w 354"/>
              <a:gd name="T61" fmla="*/ 71 h 373"/>
              <a:gd name="T62" fmla="*/ 243 w 354"/>
              <a:gd name="T63" fmla="*/ 40 h 373"/>
              <a:gd name="T64" fmla="*/ 266 w 354"/>
              <a:gd name="T65" fmla="*/ 82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54" h="373">
                <a:moveTo>
                  <a:pt x="120" y="260"/>
                </a:moveTo>
                <a:lnTo>
                  <a:pt x="327" y="260"/>
                </a:lnTo>
                <a:lnTo>
                  <a:pt x="327" y="286"/>
                </a:lnTo>
                <a:lnTo>
                  <a:pt x="99" y="286"/>
                </a:lnTo>
                <a:lnTo>
                  <a:pt x="58" y="95"/>
                </a:lnTo>
                <a:lnTo>
                  <a:pt x="0" y="95"/>
                </a:lnTo>
                <a:lnTo>
                  <a:pt x="0" y="70"/>
                </a:lnTo>
                <a:lnTo>
                  <a:pt x="78" y="70"/>
                </a:lnTo>
                <a:lnTo>
                  <a:pt x="120" y="260"/>
                </a:lnTo>
                <a:close/>
                <a:moveTo>
                  <a:pt x="144" y="303"/>
                </a:moveTo>
                <a:cubicBezTo>
                  <a:pt x="124" y="303"/>
                  <a:pt x="109" y="318"/>
                  <a:pt x="109" y="338"/>
                </a:cubicBezTo>
                <a:cubicBezTo>
                  <a:pt x="109" y="357"/>
                  <a:pt x="124" y="373"/>
                  <a:pt x="144" y="373"/>
                </a:cubicBezTo>
                <a:cubicBezTo>
                  <a:pt x="163" y="373"/>
                  <a:pt x="179" y="357"/>
                  <a:pt x="179" y="338"/>
                </a:cubicBezTo>
                <a:cubicBezTo>
                  <a:pt x="179" y="318"/>
                  <a:pt x="163" y="303"/>
                  <a:pt x="144" y="303"/>
                </a:cubicBezTo>
                <a:close/>
                <a:moveTo>
                  <a:pt x="288" y="303"/>
                </a:moveTo>
                <a:cubicBezTo>
                  <a:pt x="268" y="303"/>
                  <a:pt x="253" y="318"/>
                  <a:pt x="253" y="338"/>
                </a:cubicBezTo>
                <a:cubicBezTo>
                  <a:pt x="253" y="357"/>
                  <a:pt x="268" y="373"/>
                  <a:pt x="288" y="373"/>
                </a:cubicBezTo>
                <a:cubicBezTo>
                  <a:pt x="307" y="373"/>
                  <a:pt x="323" y="357"/>
                  <a:pt x="323" y="338"/>
                </a:cubicBezTo>
                <a:cubicBezTo>
                  <a:pt x="323" y="318"/>
                  <a:pt x="307" y="303"/>
                  <a:pt x="288" y="303"/>
                </a:cubicBezTo>
                <a:close/>
                <a:moveTo>
                  <a:pt x="133" y="240"/>
                </a:moveTo>
                <a:lnTo>
                  <a:pt x="103" y="82"/>
                </a:lnTo>
                <a:lnTo>
                  <a:pt x="153" y="82"/>
                </a:lnTo>
                <a:lnTo>
                  <a:pt x="264" y="0"/>
                </a:lnTo>
                <a:lnTo>
                  <a:pt x="314" y="68"/>
                </a:lnTo>
                <a:lnTo>
                  <a:pt x="311" y="82"/>
                </a:lnTo>
                <a:lnTo>
                  <a:pt x="354" y="82"/>
                </a:lnTo>
                <a:lnTo>
                  <a:pt x="319" y="240"/>
                </a:lnTo>
                <a:lnTo>
                  <a:pt x="133" y="240"/>
                </a:lnTo>
                <a:close/>
                <a:moveTo>
                  <a:pt x="305" y="73"/>
                </a:moveTo>
                <a:lnTo>
                  <a:pt x="294" y="82"/>
                </a:lnTo>
                <a:lnTo>
                  <a:pt x="304" y="82"/>
                </a:lnTo>
                <a:lnTo>
                  <a:pt x="305" y="73"/>
                </a:lnTo>
                <a:close/>
                <a:moveTo>
                  <a:pt x="165" y="82"/>
                </a:moveTo>
                <a:lnTo>
                  <a:pt x="191" y="82"/>
                </a:lnTo>
                <a:lnTo>
                  <a:pt x="189" y="80"/>
                </a:lnTo>
                <a:lnTo>
                  <a:pt x="194" y="76"/>
                </a:lnTo>
                <a:lnTo>
                  <a:pt x="199" y="82"/>
                </a:lnTo>
                <a:lnTo>
                  <a:pt x="205" y="82"/>
                </a:lnTo>
                <a:lnTo>
                  <a:pt x="199" y="73"/>
                </a:lnTo>
                <a:lnTo>
                  <a:pt x="204" y="69"/>
                </a:lnTo>
                <a:lnTo>
                  <a:pt x="213" y="82"/>
                </a:lnTo>
                <a:lnTo>
                  <a:pt x="220" y="82"/>
                </a:lnTo>
                <a:lnTo>
                  <a:pt x="208" y="66"/>
                </a:lnTo>
                <a:lnTo>
                  <a:pt x="213" y="62"/>
                </a:lnTo>
                <a:lnTo>
                  <a:pt x="228" y="82"/>
                </a:lnTo>
                <a:lnTo>
                  <a:pt x="236" y="82"/>
                </a:lnTo>
                <a:lnTo>
                  <a:pt x="219" y="58"/>
                </a:lnTo>
                <a:lnTo>
                  <a:pt x="224" y="54"/>
                </a:lnTo>
                <a:lnTo>
                  <a:pt x="244" y="82"/>
                </a:lnTo>
                <a:lnTo>
                  <a:pt x="251" y="82"/>
                </a:lnTo>
                <a:lnTo>
                  <a:pt x="229" y="51"/>
                </a:lnTo>
                <a:lnTo>
                  <a:pt x="234" y="47"/>
                </a:lnTo>
                <a:lnTo>
                  <a:pt x="259" y="82"/>
                </a:lnTo>
                <a:lnTo>
                  <a:pt x="281" y="82"/>
                </a:lnTo>
                <a:lnTo>
                  <a:pt x="303" y="66"/>
                </a:lnTo>
                <a:lnTo>
                  <a:pt x="262" y="10"/>
                </a:lnTo>
                <a:lnTo>
                  <a:pt x="165" y="82"/>
                </a:lnTo>
                <a:close/>
                <a:moveTo>
                  <a:pt x="281" y="71"/>
                </a:moveTo>
                <a:lnTo>
                  <a:pt x="253" y="33"/>
                </a:lnTo>
                <a:lnTo>
                  <a:pt x="248" y="37"/>
                </a:lnTo>
                <a:lnTo>
                  <a:pt x="276" y="74"/>
                </a:lnTo>
                <a:lnTo>
                  <a:pt x="281" y="71"/>
                </a:lnTo>
                <a:close/>
                <a:moveTo>
                  <a:pt x="271" y="78"/>
                </a:moveTo>
                <a:lnTo>
                  <a:pt x="243" y="40"/>
                </a:lnTo>
                <a:lnTo>
                  <a:pt x="238" y="44"/>
                </a:lnTo>
                <a:lnTo>
                  <a:pt x="266" y="82"/>
                </a:lnTo>
                <a:lnTo>
                  <a:pt x="271" y="78"/>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sp>
        <p:nvSpPr>
          <p:cNvPr id="39" name="图形 51">
            <a:extLst>
              <a:ext uri="{FF2B5EF4-FFF2-40B4-BE49-F238E27FC236}">
                <a16:creationId xmlns:a16="http://schemas.microsoft.com/office/drawing/2014/main" id="{2C3E1AAF-3B4E-41DB-AFDE-C82FD0EEB446}"/>
              </a:ext>
            </a:extLst>
          </p:cNvPr>
          <p:cNvSpPr/>
          <p:nvPr/>
        </p:nvSpPr>
        <p:spPr>
          <a:xfrm rot="5400000">
            <a:off x="3497857" y="2935752"/>
            <a:ext cx="887553" cy="1002362"/>
          </a:xfrm>
          <a:custGeom>
            <a:avLst/>
            <a:gdLst>
              <a:gd name="connsiteX0" fmla="*/ 998991 w 1294602"/>
              <a:gd name="connsiteY0" fmla="*/ 89719 h 1462064"/>
              <a:gd name="connsiteX1" fmla="*/ 703372 w 1294602"/>
              <a:gd name="connsiteY1" fmla="*/ 0 h 1462064"/>
              <a:gd name="connsiteX2" fmla="*/ 749897 w 1294602"/>
              <a:gd name="connsiteY2" fmla="*/ 199658 h 1462064"/>
              <a:gd name="connsiteX3" fmla="*/ 161634 w 1294602"/>
              <a:gd name="connsiteY3" fmla="*/ 655136 h 1462064"/>
              <a:gd name="connsiteX4" fmla="*/ 28276 w 1294602"/>
              <a:gd name="connsiteY4" fmla="*/ 1462064 h 1462064"/>
              <a:gd name="connsiteX5" fmla="*/ 222105 w 1294602"/>
              <a:gd name="connsiteY5" fmla="*/ 1416906 h 1462064"/>
              <a:gd name="connsiteX6" fmla="*/ 795241 w 1294602"/>
              <a:gd name="connsiteY6" fmla="*/ 394242 h 1462064"/>
              <a:gd name="connsiteX7" fmla="*/ 843580 w 1294602"/>
              <a:gd name="connsiteY7" fmla="*/ 601750 h 1462064"/>
              <a:gd name="connsiteX8" fmla="*/ 1069099 w 1294602"/>
              <a:gd name="connsiteY8" fmla="*/ 390598 h 1462064"/>
              <a:gd name="connsiteX9" fmla="*/ 1294603 w 1294602"/>
              <a:gd name="connsiteY9" fmla="*/ 179453 h 1462064"/>
              <a:gd name="connsiteX10" fmla="*/ 998991 w 1294602"/>
              <a:gd name="connsiteY10" fmla="*/ 89719 h 1462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94602" h="1462064">
                <a:moveTo>
                  <a:pt x="998991" y="89719"/>
                </a:moveTo>
                <a:lnTo>
                  <a:pt x="703372" y="0"/>
                </a:lnTo>
                <a:lnTo>
                  <a:pt x="749897" y="199658"/>
                </a:lnTo>
                <a:cubicBezTo>
                  <a:pt x="505244" y="275798"/>
                  <a:pt x="298344" y="435365"/>
                  <a:pt x="161634" y="655136"/>
                </a:cubicBezTo>
                <a:cubicBezTo>
                  <a:pt x="10863" y="897505"/>
                  <a:pt x="-36498" y="1184081"/>
                  <a:pt x="28276" y="1462064"/>
                </a:cubicBezTo>
                <a:lnTo>
                  <a:pt x="222105" y="1416906"/>
                </a:lnTo>
                <a:cubicBezTo>
                  <a:pt x="119368" y="975982"/>
                  <a:pt x="373462" y="533813"/>
                  <a:pt x="795241" y="394242"/>
                </a:cubicBezTo>
                <a:lnTo>
                  <a:pt x="843580" y="601750"/>
                </a:lnTo>
                <a:lnTo>
                  <a:pt x="1069099" y="390598"/>
                </a:lnTo>
                <a:lnTo>
                  <a:pt x="1294603" y="179453"/>
                </a:lnTo>
                <a:lnTo>
                  <a:pt x="998991" y="89719"/>
                </a:lnTo>
                <a:close/>
              </a:path>
            </a:pathLst>
          </a:custGeom>
          <a:gradFill>
            <a:gsLst>
              <a:gs pos="0">
                <a:schemeClr val="accent1"/>
              </a:gs>
              <a:gs pos="84000">
                <a:schemeClr val="accent1">
                  <a:alpha val="0"/>
                </a:schemeClr>
              </a:gs>
            </a:gsLst>
            <a:lin ang="8400000" scaled="0"/>
          </a:gradFill>
          <a:ln w="3546" cap="flat">
            <a:noFill/>
            <a:prstDash val="solid"/>
            <a:miter/>
          </a:ln>
        </p:spPr>
        <p:txBody>
          <a:bodyPr rtlCol="0" anchor="ctr"/>
          <a:lstStyle/>
          <a:p>
            <a:endParaRPr lang="zh-CN" altLang="en-US"/>
          </a:p>
        </p:txBody>
      </p:sp>
      <p:sp>
        <p:nvSpPr>
          <p:cNvPr id="40" name="图形 51">
            <a:extLst>
              <a:ext uri="{FF2B5EF4-FFF2-40B4-BE49-F238E27FC236}">
                <a16:creationId xmlns:a16="http://schemas.microsoft.com/office/drawing/2014/main" id="{71ACCC80-D857-46CF-93CC-6920A2FC430A}"/>
              </a:ext>
            </a:extLst>
          </p:cNvPr>
          <p:cNvSpPr/>
          <p:nvPr/>
        </p:nvSpPr>
        <p:spPr>
          <a:xfrm rot="13500000">
            <a:off x="2742909" y="4122231"/>
            <a:ext cx="887553" cy="1002362"/>
          </a:xfrm>
          <a:custGeom>
            <a:avLst/>
            <a:gdLst>
              <a:gd name="connsiteX0" fmla="*/ 998991 w 1294602"/>
              <a:gd name="connsiteY0" fmla="*/ 89719 h 1462064"/>
              <a:gd name="connsiteX1" fmla="*/ 703372 w 1294602"/>
              <a:gd name="connsiteY1" fmla="*/ 0 h 1462064"/>
              <a:gd name="connsiteX2" fmla="*/ 749897 w 1294602"/>
              <a:gd name="connsiteY2" fmla="*/ 199658 h 1462064"/>
              <a:gd name="connsiteX3" fmla="*/ 161634 w 1294602"/>
              <a:gd name="connsiteY3" fmla="*/ 655136 h 1462064"/>
              <a:gd name="connsiteX4" fmla="*/ 28276 w 1294602"/>
              <a:gd name="connsiteY4" fmla="*/ 1462064 h 1462064"/>
              <a:gd name="connsiteX5" fmla="*/ 222105 w 1294602"/>
              <a:gd name="connsiteY5" fmla="*/ 1416906 h 1462064"/>
              <a:gd name="connsiteX6" fmla="*/ 795241 w 1294602"/>
              <a:gd name="connsiteY6" fmla="*/ 394242 h 1462064"/>
              <a:gd name="connsiteX7" fmla="*/ 843580 w 1294602"/>
              <a:gd name="connsiteY7" fmla="*/ 601750 h 1462064"/>
              <a:gd name="connsiteX8" fmla="*/ 1069099 w 1294602"/>
              <a:gd name="connsiteY8" fmla="*/ 390598 h 1462064"/>
              <a:gd name="connsiteX9" fmla="*/ 1294603 w 1294602"/>
              <a:gd name="connsiteY9" fmla="*/ 179453 h 1462064"/>
              <a:gd name="connsiteX10" fmla="*/ 998991 w 1294602"/>
              <a:gd name="connsiteY10" fmla="*/ 89719 h 1462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94602" h="1462064">
                <a:moveTo>
                  <a:pt x="998991" y="89719"/>
                </a:moveTo>
                <a:lnTo>
                  <a:pt x="703372" y="0"/>
                </a:lnTo>
                <a:lnTo>
                  <a:pt x="749897" y="199658"/>
                </a:lnTo>
                <a:cubicBezTo>
                  <a:pt x="505244" y="275798"/>
                  <a:pt x="298344" y="435365"/>
                  <a:pt x="161634" y="655136"/>
                </a:cubicBezTo>
                <a:cubicBezTo>
                  <a:pt x="10863" y="897505"/>
                  <a:pt x="-36498" y="1184081"/>
                  <a:pt x="28276" y="1462064"/>
                </a:cubicBezTo>
                <a:lnTo>
                  <a:pt x="222105" y="1416906"/>
                </a:lnTo>
                <a:cubicBezTo>
                  <a:pt x="119368" y="975982"/>
                  <a:pt x="373462" y="533813"/>
                  <a:pt x="795241" y="394242"/>
                </a:cubicBezTo>
                <a:lnTo>
                  <a:pt x="843580" y="601750"/>
                </a:lnTo>
                <a:lnTo>
                  <a:pt x="1069099" y="390598"/>
                </a:lnTo>
                <a:lnTo>
                  <a:pt x="1294603" y="179453"/>
                </a:lnTo>
                <a:lnTo>
                  <a:pt x="998991" y="89719"/>
                </a:lnTo>
                <a:close/>
              </a:path>
            </a:pathLst>
          </a:custGeom>
          <a:gradFill>
            <a:gsLst>
              <a:gs pos="0">
                <a:schemeClr val="accent1"/>
              </a:gs>
              <a:gs pos="84000">
                <a:schemeClr val="accent1">
                  <a:alpha val="0"/>
                </a:schemeClr>
              </a:gs>
            </a:gsLst>
            <a:lin ang="8400000" scaled="0"/>
          </a:gradFill>
          <a:ln w="3546" cap="flat">
            <a:noFill/>
            <a:prstDash val="solid"/>
            <a:miter/>
          </a:ln>
        </p:spPr>
        <p:txBody>
          <a:bodyPr rtlCol="0" anchor="ctr"/>
          <a:lstStyle/>
          <a:p>
            <a:endParaRPr lang="zh-CN" altLang="en-US"/>
          </a:p>
        </p:txBody>
      </p:sp>
      <p:sp>
        <p:nvSpPr>
          <p:cNvPr id="42" name="图形 51">
            <a:extLst>
              <a:ext uri="{FF2B5EF4-FFF2-40B4-BE49-F238E27FC236}">
                <a16:creationId xmlns:a16="http://schemas.microsoft.com/office/drawing/2014/main" id="{9ACE40AF-4B99-497D-908C-CADABC220472}"/>
              </a:ext>
            </a:extLst>
          </p:cNvPr>
          <p:cNvSpPr/>
          <p:nvPr/>
        </p:nvSpPr>
        <p:spPr>
          <a:xfrm rot="10800000" flipH="1" flipV="1">
            <a:off x="1714057" y="2935752"/>
            <a:ext cx="887553" cy="1002362"/>
          </a:xfrm>
          <a:custGeom>
            <a:avLst/>
            <a:gdLst>
              <a:gd name="connsiteX0" fmla="*/ 998991 w 1294602"/>
              <a:gd name="connsiteY0" fmla="*/ 89719 h 1462064"/>
              <a:gd name="connsiteX1" fmla="*/ 703372 w 1294602"/>
              <a:gd name="connsiteY1" fmla="*/ 0 h 1462064"/>
              <a:gd name="connsiteX2" fmla="*/ 749897 w 1294602"/>
              <a:gd name="connsiteY2" fmla="*/ 199658 h 1462064"/>
              <a:gd name="connsiteX3" fmla="*/ 161634 w 1294602"/>
              <a:gd name="connsiteY3" fmla="*/ 655136 h 1462064"/>
              <a:gd name="connsiteX4" fmla="*/ 28276 w 1294602"/>
              <a:gd name="connsiteY4" fmla="*/ 1462064 h 1462064"/>
              <a:gd name="connsiteX5" fmla="*/ 222105 w 1294602"/>
              <a:gd name="connsiteY5" fmla="*/ 1416906 h 1462064"/>
              <a:gd name="connsiteX6" fmla="*/ 795241 w 1294602"/>
              <a:gd name="connsiteY6" fmla="*/ 394242 h 1462064"/>
              <a:gd name="connsiteX7" fmla="*/ 843580 w 1294602"/>
              <a:gd name="connsiteY7" fmla="*/ 601750 h 1462064"/>
              <a:gd name="connsiteX8" fmla="*/ 1069099 w 1294602"/>
              <a:gd name="connsiteY8" fmla="*/ 390598 h 1462064"/>
              <a:gd name="connsiteX9" fmla="*/ 1294603 w 1294602"/>
              <a:gd name="connsiteY9" fmla="*/ 179453 h 1462064"/>
              <a:gd name="connsiteX10" fmla="*/ 998991 w 1294602"/>
              <a:gd name="connsiteY10" fmla="*/ 89719 h 1462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94602" h="1462064">
                <a:moveTo>
                  <a:pt x="998991" y="89719"/>
                </a:moveTo>
                <a:lnTo>
                  <a:pt x="703372" y="0"/>
                </a:lnTo>
                <a:lnTo>
                  <a:pt x="749897" y="199658"/>
                </a:lnTo>
                <a:cubicBezTo>
                  <a:pt x="505244" y="275798"/>
                  <a:pt x="298344" y="435365"/>
                  <a:pt x="161634" y="655136"/>
                </a:cubicBezTo>
                <a:cubicBezTo>
                  <a:pt x="10863" y="897505"/>
                  <a:pt x="-36498" y="1184081"/>
                  <a:pt x="28276" y="1462064"/>
                </a:cubicBezTo>
                <a:lnTo>
                  <a:pt x="222105" y="1416906"/>
                </a:lnTo>
                <a:cubicBezTo>
                  <a:pt x="119368" y="975982"/>
                  <a:pt x="373462" y="533813"/>
                  <a:pt x="795241" y="394242"/>
                </a:cubicBezTo>
                <a:lnTo>
                  <a:pt x="843580" y="601750"/>
                </a:lnTo>
                <a:lnTo>
                  <a:pt x="1069099" y="390598"/>
                </a:lnTo>
                <a:lnTo>
                  <a:pt x="1294603" y="179453"/>
                </a:lnTo>
                <a:lnTo>
                  <a:pt x="998991" y="89719"/>
                </a:lnTo>
                <a:close/>
              </a:path>
            </a:pathLst>
          </a:custGeom>
          <a:gradFill>
            <a:gsLst>
              <a:gs pos="0">
                <a:schemeClr val="accent1"/>
              </a:gs>
              <a:gs pos="84000">
                <a:schemeClr val="accent1">
                  <a:alpha val="0"/>
                </a:schemeClr>
              </a:gs>
            </a:gsLst>
            <a:lin ang="8400000" scaled="0"/>
          </a:gradFill>
          <a:ln w="3546" cap="flat">
            <a:noFill/>
            <a:prstDash val="solid"/>
            <a:miter/>
          </a:ln>
        </p:spPr>
        <p:txBody>
          <a:bodyPr rtlCol="0" anchor="ctr"/>
          <a:lstStyle/>
          <a:p>
            <a:endParaRPr lang="zh-CN" altLang="en-US"/>
          </a:p>
        </p:txBody>
      </p:sp>
      <p:sp>
        <p:nvSpPr>
          <p:cNvPr id="43" name="矩形: 圆角 42">
            <a:extLst>
              <a:ext uri="{FF2B5EF4-FFF2-40B4-BE49-F238E27FC236}">
                <a16:creationId xmlns:a16="http://schemas.microsoft.com/office/drawing/2014/main" id="{D698C04A-19F9-4A0E-BC95-910A8AD9B71F}"/>
              </a:ext>
            </a:extLst>
          </p:cNvPr>
          <p:cNvSpPr/>
          <p:nvPr/>
        </p:nvSpPr>
        <p:spPr>
          <a:xfrm>
            <a:off x="5924550" y="1796161"/>
            <a:ext cx="5391150" cy="3558540"/>
          </a:xfrm>
          <a:prstGeom prst="roundRect">
            <a:avLst>
              <a:gd name="adj" fmla="val 7031"/>
            </a:avLst>
          </a:prstGeom>
          <a:solidFill>
            <a:schemeClr val="bg1"/>
          </a:solidFill>
          <a:ln w="3810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zh-CN" altLang="en-US" sz="1600">
              <a:solidFill>
                <a:schemeClr val="bg1"/>
              </a:solidFill>
              <a:latin typeface="+mj-ea"/>
              <a:ea typeface="+mj-ea"/>
            </a:endParaRPr>
          </a:p>
        </p:txBody>
      </p:sp>
      <p:grpSp>
        <p:nvGrpSpPr>
          <p:cNvPr id="47" name="组合 46">
            <a:extLst>
              <a:ext uri="{FF2B5EF4-FFF2-40B4-BE49-F238E27FC236}">
                <a16:creationId xmlns:a16="http://schemas.microsoft.com/office/drawing/2014/main" id="{CABF2B53-5B62-41AB-92D3-5EA8685D3F1A}"/>
              </a:ext>
            </a:extLst>
          </p:cNvPr>
          <p:cNvGrpSpPr/>
          <p:nvPr/>
        </p:nvGrpSpPr>
        <p:grpSpPr>
          <a:xfrm>
            <a:off x="6172200" y="2014359"/>
            <a:ext cx="5015484" cy="874252"/>
            <a:chOff x="6515100" y="2014359"/>
            <a:chExt cx="5015484" cy="874252"/>
          </a:xfrm>
        </p:grpSpPr>
        <p:sp>
          <p:nvSpPr>
            <p:cNvPr id="44" name="文本框 43">
              <a:extLst>
                <a:ext uri="{FF2B5EF4-FFF2-40B4-BE49-F238E27FC236}">
                  <a16:creationId xmlns:a16="http://schemas.microsoft.com/office/drawing/2014/main" id="{83B11CF1-2752-4719-81C0-FB1078BD96C3}"/>
                </a:ext>
              </a:extLst>
            </p:cNvPr>
            <p:cNvSpPr txBox="1"/>
            <p:nvPr/>
          </p:nvSpPr>
          <p:spPr>
            <a:xfrm>
              <a:off x="6811809" y="2014359"/>
              <a:ext cx="1538883" cy="369332"/>
            </a:xfrm>
            <a:prstGeom prst="rect">
              <a:avLst/>
            </a:prstGeom>
            <a:noFill/>
          </p:spPr>
          <p:txBody>
            <a:bodyPr wrap="none" lIns="0" tIns="0" rIns="0" bIns="0" rtlCol="0" anchor="t">
              <a:spAutoFit/>
            </a:bodyPr>
            <a:lstStyle/>
            <a:p>
              <a:r>
                <a:rPr lang="zh-CN" altLang="en-US" sz="2400" dirty="0">
                  <a:solidFill>
                    <a:schemeClr val="accent1"/>
                  </a:solidFill>
                  <a:latin typeface="+mj-ea"/>
                  <a:ea typeface="+mj-ea"/>
                </a:rPr>
                <a:t>关键词标题</a:t>
              </a:r>
            </a:p>
          </p:txBody>
        </p:sp>
        <p:sp>
          <p:nvSpPr>
            <p:cNvPr id="45" name="文本框 44">
              <a:extLst>
                <a:ext uri="{FF2B5EF4-FFF2-40B4-BE49-F238E27FC236}">
                  <a16:creationId xmlns:a16="http://schemas.microsoft.com/office/drawing/2014/main" id="{37E28B90-0F83-4B1D-A4D3-245FED6FAED7}"/>
                </a:ext>
              </a:extLst>
            </p:cNvPr>
            <p:cNvSpPr txBox="1"/>
            <p:nvPr/>
          </p:nvSpPr>
          <p:spPr>
            <a:xfrm>
              <a:off x="6811809" y="2423804"/>
              <a:ext cx="4718775" cy="464807"/>
            </a:xfrm>
            <a:prstGeom prst="rect">
              <a:avLst/>
            </a:prstGeom>
            <a:noFill/>
          </p:spPr>
          <p:txBody>
            <a:bodyPr wrap="square" lIns="0" tIns="0" rIns="0" bIns="0" rtlCol="0" anchor="t">
              <a:spAutoFit/>
            </a:bodyPr>
            <a:lstStyle/>
            <a:p>
              <a:pPr>
                <a:lnSpc>
                  <a:spcPct val="130000"/>
                </a:lnSpc>
              </a:pPr>
              <a:r>
                <a:rPr lang="en-US" altLang="zh-CN" sz="1200" b="0" dirty="0">
                  <a:solidFill>
                    <a:schemeClr val="tx1">
                      <a:lumMod val="75000"/>
                      <a:lumOff val="25000"/>
                    </a:schemeClr>
                  </a:solidFill>
                  <a:effectLst/>
                  <a:latin typeface="+mn-ea"/>
                </a:rPr>
                <a:t>Lorem ipsum dolor sit amet, consectetur adipisicing elit, sed do eiusmod tempor</a:t>
              </a:r>
              <a:endParaRPr lang="zh-CN" altLang="en-US" sz="1200" b="0" dirty="0">
                <a:solidFill>
                  <a:schemeClr val="tx1">
                    <a:lumMod val="75000"/>
                    <a:lumOff val="25000"/>
                  </a:schemeClr>
                </a:solidFill>
                <a:effectLst/>
                <a:latin typeface="+mn-ea"/>
              </a:endParaRPr>
            </a:p>
          </p:txBody>
        </p:sp>
        <p:sp>
          <p:nvSpPr>
            <p:cNvPr id="46" name="椭圆 45">
              <a:extLst>
                <a:ext uri="{FF2B5EF4-FFF2-40B4-BE49-F238E27FC236}">
                  <a16:creationId xmlns:a16="http://schemas.microsoft.com/office/drawing/2014/main" id="{F3C84982-6A5F-4EE6-BAD0-EB138F17E44E}"/>
                </a:ext>
              </a:extLst>
            </p:cNvPr>
            <p:cNvSpPr/>
            <p:nvPr/>
          </p:nvSpPr>
          <p:spPr>
            <a:xfrm>
              <a:off x="6515100" y="2092070"/>
              <a:ext cx="171450" cy="171450"/>
            </a:xfrm>
            <a:prstGeom prst="ellipse">
              <a:avLst/>
            </a:prstGeom>
            <a:solidFill>
              <a:schemeClr val="accent1"/>
            </a:solidFill>
            <a:ln>
              <a:noFill/>
            </a:ln>
            <a:effectLst>
              <a:outerShdw dist="38100" dir="2700000" algn="tl" rotWithShape="0">
                <a:prstClr val="black">
                  <a:alpha val="2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grpSp>
      <p:grpSp>
        <p:nvGrpSpPr>
          <p:cNvPr id="48" name="组合 47">
            <a:extLst>
              <a:ext uri="{FF2B5EF4-FFF2-40B4-BE49-F238E27FC236}">
                <a16:creationId xmlns:a16="http://schemas.microsoft.com/office/drawing/2014/main" id="{6937263D-CBE1-437D-BD9C-522391205D0D}"/>
              </a:ext>
            </a:extLst>
          </p:cNvPr>
          <p:cNvGrpSpPr/>
          <p:nvPr/>
        </p:nvGrpSpPr>
        <p:grpSpPr>
          <a:xfrm>
            <a:off x="6172200" y="3172599"/>
            <a:ext cx="5015484" cy="874252"/>
            <a:chOff x="6515100" y="2014359"/>
            <a:chExt cx="5015484" cy="874252"/>
          </a:xfrm>
        </p:grpSpPr>
        <p:sp>
          <p:nvSpPr>
            <p:cNvPr id="49" name="文本框 48">
              <a:extLst>
                <a:ext uri="{FF2B5EF4-FFF2-40B4-BE49-F238E27FC236}">
                  <a16:creationId xmlns:a16="http://schemas.microsoft.com/office/drawing/2014/main" id="{8A28B55B-50C5-4BFD-9B67-642B3BA63727}"/>
                </a:ext>
              </a:extLst>
            </p:cNvPr>
            <p:cNvSpPr txBox="1"/>
            <p:nvPr/>
          </p:nvSpPr>
          <p:spPr>
            <a:xfrm>
              <a:off x="6811809" y="2014359"/>
              <a:ext cx="1538883" cy="369332"/>
            </a:xfrm>
            <a:prstGeom prst="rect">
              <a:avLst/>
            </a:prstGeom>
            <a:noFill/>
          </p:spPr>
          <p:txBody>
            <a:bodyPr wrap="none" lIns="0" tIns="0" rIns="0" bIns="0" rtlCol="0" anchor="t">
              <a:spAutoFit/>
            </a:bodyPr>
            <a:lstStyle/>
            <a:p>
              <a:r>
                <a:rPr lang="zh-CN" altLang="en-US" sz="2400" dirty="0">
                  <a:solidFill>
                    <a:schemeClr val="accent1"/>
                  </a:solidFill>
                  <a:latin typeface="+mj-ea"/>
                  <a:ea typeface="+mj-ea"/>
                </a:rPr>
                <a:t>关键词标题</a:t>
              </a:r>
            </a:p>
          </p:txBody>
        </p:sp>
        <p:sp>
          <p:nvSpPr>
            <p:cNvPr id="50" name="文本框 49">
              <a:extLst>
                <a:ext uri="{FF2B5EF4-FFF2-40B4-BE49-F238E27FC236}">
                  <a16:creationId xmlns:a16="http://schemas.microsoft.com/office/drawing/2014/main" id="{5405B3B8-0C7F-4148-935F-A7754043692B}"/>
                </a:ext>
              </a:extLst>
            </p:cNvPr>
            <p:cNvSpPr txBox="1"/>
            <p:nvPr/>
          </p:nvSpPr>
          <p:spPr>
            <a:xfrm>
              <a:off x="6811809" y="2423804"/>
              <a:ext cx="4718775" cy="464807"/>
            </a:xfrm>
            <a:prstGeom prst="rect">
              <a:avLst/>
            </a:prstGeom>
            <a:noFill/>
          </p:spPr>
          <p:txBody>
            <a:bodyPr wrap="square" lIns="0" tIns="0" rIns="0" bIns="0" rtlCol="0" anchor="t">
              <a:spAutoFit/>
            </a:bodyPr>
            <a:lstStyle/>
            <a:p>
              <a:pPr>
                <a:lnSpc>
                  <a:spcPct val="130000"/>
                </a:lnSpc>
              </a:pPr>
              <a:r>
                <a:rPr lang="en-US" altLang="zh-CN" sz="1200" b="0" dirty="0">
                  <a:solidFill>
                    <a:schemeClr val="tx1">
                      <a:lumMod val="75000"/>
                      <a:lumOff val="25000"/>
                    </a:schemeClr>
                  </a:solidFill>
                  <a:effectLst/>
                  <a:latin typeface="+mn-ea"/>
                </a:rPr>
                <a:t>Lorem ipsum dolor sit amet, consectetur adipisicing elit, sed do eiusmod tempor</a:t>
              </a:r>
              <a:endParaRPr lang="zh-CN" altLang="en-US" sz="1200" b="0" dirty="0">
                <a:solidFill>
                  <a:schemeClr val="tx1">
                    <a:lumMod val="75000"/>
                    <a:lumOff val="25000"/>
                  </a:schemeClr>
                </a:solidFill>
                <a:effectLst/>
                <a:latin typeface="+mn-ea"/>
              </a:endParaRPr>
            </a:p>
          </p:txBody>
        </p:sp>
        <p:sp>
          <p:nvSpPr>
            <p:cNvPr id="51" name="椭圆 50">
              <a:extLst>
                <a:ext uri="{FF2B5EF4-FFF2-40B4-BE49-F238E27FC236}">
                  <a16:creationId xmlns:a16="http://schemas.microsoft.com/office/drawing/2014/main" id="{78B4D138-82AA-4BD6-AC23-0DF91FA47B65}"/>
                </a:ext>
              </a:extLst>
            </p:cNvPr>
            <p:cNvSpPr/>
            <p:nvPr/>
          </p:nvSpPr>
          <p:spPr>
            <a:xfrm>
              <a:off x="6515100" y="2092070"/>
              <a:ext cx="171450" cy="171450"/>
            </a:xfrm>
            <a:prstGeom prst="ellipse">
              <a:avLst/>
            </a:prstGeom>
            <a:solidFill>
              <a:schemeClr val="accent1"/>
            </a:solidFill>
            <a:ln>
              <a:noFill/>
            </a:ln>
            <a:effectLst>
              <a:outerShdw dist="38100" dir="2700000" algn="tl" rotWithShape="0">
                <a:prstClr val="black">
                  <a:alpha val="2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grpSp>
      <p:grpSp>
        <p:nvGrpSpPr>
          <p:cNvPr id="52" name="组合 51">
            <a:extLst>
              <a:ext uri="{FF2B5EF4-FFF2-40B4-BE49-F238E27FC236}">
                <a16:creationId xmlns:a16="http://schemas.microsoft.com/office/drawing/2014/main" id="{CFB6216C-3357-437E-AB53-2C1D4A81ED23}"/>
              </a:ext>
            </a:extLst>
          </p:cNvPr>
          <p:cNvGrpSpPr/>
          <p:nvPr/>
        </p:nvGrpSpPr>
        <p:grpSpPr>
          <a:xfrm>
            <a:off x="6172200" y="4330839"/>
            <a:ext cx="5015484" cy="874252"/>
            <a:chOff x="6515100" y="2014359"/>
            <a:chExt cx="5015484" cy="874252"/>
          </a:xfrm>
        </p:grpSpPr>
        <p:sp>
          <p:nvSpPr>
            <p:cNvPr id="53" name="文本框 52">
              <a:extLst>
                <a:ext uri="{FF2B5EF4-FFF2-40B4-BE49-F238E27FC236}">
                  <a16:creationId xmlns:a16="http://schemas.microsoft.com/office/drawing/2014/main" id="{3ACE8B8B-04CE-44F8-AF62-5F6963F691A3}"/>
                </a:ext>
              </a:extLst>
            </p:cNvPr>
            <p:cNvSpPr txBox="1"/>
            <p:nvPr/>
          </p:nvSpPr>
          <p:spPr>
            <a:xfrm>
              <a:off x="6811809" y="2014359"/>
              <a:ext cx="1538883" cy="369332"/>
            </a:xfrm>
            <a:prstGeom prst="rect">
              <a:avLst/>
            </a:prstGeom>
            <a:noFill/>
          </p:spPr>
          <p:txBody>
            <a:bodyPr wrap="none" lIns="0" tIns="0" rIns="0" bIns="0" rtlCol="0" anchor="t">
              <a:spAutoFit/>
            </a:bodyPr>
            <a:lstStyle/>
            <a:p>
              <a:r>
                <a:rPr lang="zh-CN" altLang="en-US" sz="2400" dirty="0">
                  <a:solidFill>
                    <a:schemeClr val="accent1"/>
                  </a:solidFill>
                  <a:latin typeface="+mj-ea"/>
                  <a:ea typeface="+mj-ea"/>
                </a:rPr>
                <a:t>关键词标题</a:t>
              </a:r>
            </a:p>
          </p:txBody>
        </p:sp>
        <p:sp>
          <p:nvSpPr>
            <p:cNvPr id="54" name="文本框 53">
              <a:extLst>
                <a:ext uri="{FF2B5EF4-FFF2-40B4-BE49-F238E27FC236}">
                  <a16:creationId xmlns:a16="http://schemas.microsoft.com/office/drawing/2014/main" id="{7A0CD4CD-AE10-463C-9399-5D5875759F4F}"/>
                </a:ext>
              </a:extLst>
            </p:cNvPr>
            <p:cNvSpPr txBox="1"/>
            <p:nvPr/>
          </p:nvSpPr>
          <p:spPr>
            <a:xfrm>
              <a:off x="6811809" y="2423804"/>
              <a:ext cx="4718775" cy="464807"/>
            </a:xfrm>
            <a:prstGeom prst="rect">
              <a:avLst/>
            </a:prstGeom>
            <a:noFill/>
          </p:spPr>
          <p:txBody>
            <a:bodyPr wrap="square" lIns="0" tIns="0" rIns="0" bIns="0" rtlCol="0" anchor="t">
              <a:spAutoFit/>
            </a:bodyPr>
            <a:lstStyle/>
            <a:p>
              <a:pPr>
                <a:lnSpc>
                  <a:spcPct val="130000"/>
                </a:lnSpc>
              </a:pPr>
              <a:r>
                <a:rPr lang="en-US" altLang="zh-CN" sz="1200" b="0" dirty="0">
                  <a:solidFill>
                    <a:schemeClr val="tx1">
                      <a:lumMod val="75000"/>
                      <a:lumOff val="25000"/>
                    </a:schemeClr>
                  </a:solidFill>
                  <a:effectLst/>
                  <a:latin typeface="+mn-ea"/>
                </a:rPr>
                <a:t>Lorem ipsum dolor sit amet, consectetur adipisicing elit, sed do eiusmod tempor</a:t>
              </a:r>
              <a:endParaRPr lang="zh-CN" altLang="en-US" sz="1200" b="0" dirty="0">
                <a:solidFill>
                  <a:schemeClr val="tx1">
                    <a:lumMod val="75000"/>
                    <a:lumOff val="25000"/>
                  </a:schemeClr>
                </a:solidFill>
                <a:effectLst/>
                <a:latin typeface="+mn-ea"/>
              </a:endParaRPr>
            </a:p>
          </p:txBody>
        </p:sp>
        <p:sp>
          <p:nvSpPr>
            <p:cNvPr id="55" name="椭圆 54">
              <a:extLst>
                <a:ext uri="{FF2B5EF4-FFF2-40B4-BE49-F238E27FC236}">
                  <a16:creationId xmlns:a16="http://schemas.microsoft.com/office/drawing/2014/main" id="{F7A0BAB4-1AA8-43F6-BC0D-EB6978D9A77F}"/>
                </a:ext>
              </a:extLst>
            </p:cNvPr>
            <p:cNvSpPr/>
            <p:nvPr/>
          </p:nvSpPr>
          <p:spPr>
            <a:xfrm>
              <a:off x="6515100" y="2092070"/>
              <a:ext cx="171450" cy="171450"/>
            </a:xfrm>
            <a:prstGeom prst="ellipse">
              <a:avLst/>
            </a:prstGeom>
            <a:solidFill>
              <a:schemeClr val="accent1"/>
            </a:solidFill>
            <a:ln>
              <a:noFill/>
            </a:ln>
            <a:effectLst>
              <a:outerShdw dist="38100" dir="2700000" algn="tl" rotWithShape="0">
                <a:prstClr val="black">
                  <a:alpha val="2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grpSp>
      <p:cxnSp>
        <p:nvCxnSpPr>
          <p:cNvPr id="57" name="直接连接符 56">
            <a:extLst>
              <a:ext uri="{FF2B5EF4-FFF2-40B4-BE49-F238E27FC236}">
                <a16:creationId xmlns:a16="http://schemas.microsoft.com/office/drawing/2014/main" id="{E952F71D-4FC4-41EA-BE89-54C256C912E3}"/>
              </a:ext>
            </a:extLst>
          </p:cNvPr>
          <p:cNvCxnSpPr/>
          <p:nvPr/>
        </p:nvCxnSpPr>
        <p:spPr>
          <a:xfrm>
            <a:off x="6257925" y="3034030"/>
            <a:ext cx="4841875" cy="0"/>
          </a:xfrm>
          <a:prstGeom prst="line">
            <a:avLst/>
          </a:prstGeom>
          <a:ln>
            <a:prstDash val="lgDash"/>
          </a:ln>
        </p:spPr>
        <p:style>
          <a:lnRef idx="1">
            <a:schemeClr val="accent1"/>
          </a:lnRef>
          <a:fillRef idx="0">
            <a:schemeClr val="accent1"/>
          </a:fillRef>
          <a:effectRef idx="0">
            <a:schemeClr val="accent1"/>
          </a:effectRef>
          <a:fontRef idx="minor">
            <a:schemeClr val="tx1"/>
          </a:fontRef>
        </p:style>
      </p:cxnSp>
      <p:cxnSp>
        <p:nvCxnSpPr>
          <p:cNvPr id="58" name="直接连接符 57">
            <a:extLst>
              <a:ext uri="{FF2B5EF4-FFF2-40B4-BE49-F238E27FC236}">
                <a16:creationId xmlns:a16="http://schemas.microsoft.com/office/drawing/2014/main" id="{35BCF995-3AC9-40E0-B1F1-F074F8AC8DF8}"/>
              </a:ext>
            </a:extLst>
          </p:cNvPr>
          <p:cNvCxnSpPr/>
          <p:nvPr/>
        </p:nvCxnSpPr>
        <p:spPr>
          <a:xfrm>
            <a:off x="6257925" y="4184650"/>
            <a:ext cx="4841875" cy="0"/>
          </a:xfrm>
          <a:prstGeom prst="line">
            <a:avLst/>
          </a:prstGeom>
          <a:ln>
            <a:prstDash val="lg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13406133"/>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2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矩形: 圆角 34">
            <a:extLst>
              <a:ext uri="{FF2B5EF4-FFF2-40B4-BE49-F238E27FC236}">
                <a16:creationId xmlns:a16="http://schemas.microsoft.com/office/drawing/2014/main" id="{6169F18B-1C00-4004-B615-12DD0469FD4B}"/>
              </a:ext>
            </a:extLst>
          </p:cNvPr>
          <p:cNvSpPr/>
          <p:nvPr/>
        </p:nvSpPr>
        <p:spPr>
          <a:xfrm>
            <a:off x="2231898" y="1952626"/>
            <a:ext cx="1624013" cy="3971924"/>
          </a:xfrm>
          <a:prstGeom prst="roundRect">
            <a:avLst>
              <a:gd name="adj" fmla="val 50000"/>
            </a:avLst>
          </a:prstGeom>
          <a:gradFill>
            <a:gsLst>
              <a:gs pos="0">
                <a:schemeClr val="accent1"/>
              </a:gs>
              <a:gs pos="100000">
                <a:schemeClr val="accent1">
                  <a:alpha val="6000"/>
                </a:schemeClr>
              </a:gs>
            </a:gsLst>
            <a:lin ang="5400000" scaled="1"/>
          </a:gradFill>
          <a:ln w="158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2" name="矩形: 圆角 1">
            <a:extLst>
              <a:ext uri="{FF2B5EF4-FFF2-40B4-BE49-F238E27FC236}">
                <a16:creationId xmlns:a16="http://schemas.microsoft.com/office/drawing/2014/main" id="{9F2667FD-356A-4A55-AACF-F7DC4852BD23}"/>
              </a:ext>
            </a:extLst>
          </p:cNvPr>
          <p:cNvSpPr/>
          <p:nvPr/>
        </p:nvSpPr>
        <p:spPr>
          <a:xfrm>
            <a:off x="2231899" y="1771651"/>
            <a:ext cx="1638300" cy="3467100"/>
          </a:xfrm>
          <a:prstGeom prst="roundRect">
            <a:avLst>
              <a:gd name="adj" fmla="val 50000"/>
            </a:avLst>
          </a:prstGeom>
          <a:solidFill>
            <a:schemeClr val="accent1"/>
          </a:solidFill>
          <a:ln w="158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3" name="矩形: 圆角 2">
            <a:extLst>
              <a:ext uri="{FF2B5EF4-FFF2-40B4-BE49-F238E27FC236}">
                <a16:creationId xmlns:a16="http://schemas.microsoft.com/office/drawing/2014/main" id="{9413938D-AF30-4D93-B2AF-FE42BDD5E132}"/>
              </a:ext>
            </a:extLst>
          </p:cNvPr>
          <p:cNvSpPr/>
          <p:nvPr/>
        </p:nvSpPr>
        <p:spPr>
          <a:xfrm>
            <a:off x="2380964" y="3300412"/>
            <a:ext cx="1325880" cy="464820"/>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4" name="文本框 3">
            <a:extLst>
              <a:ext uri="{FF2B5EF4-FFF2-40B4-BE49-F238E27FC236}">
                <a16:creationId xmlns:a16="http://schemas.microsoft.com/office/drawing/2014/main" id="{2BF82E5C-F6BC-47DA-AED0-F1785CFF2C7E}"/>
              </a:ext>
            </a:extLst>
          </p:cNvPr>
          <p:cNvSpPr txBox="1"/>
          <p:nvPr/>
        </p:nvSpPr>
        <p:spPr>
          <a:xfrm>
            <a:off x="2704800" y="3411945"/>
            <a:ext cx="692497" cy="276999"/>
          </a:xfrm>
          <a:prstGeom prst="rect">
            <a:avLst/>
          </a:prstGeom>
          <a:noFill/>
        </p:spPr>
        <p:txBody>
          <a:bodyPr wrap="none" lIns="0" tIns="0" rIns="0" bIns="0" rtlCol="0" anchor="t">
            <a:spAutoFit/>
          </a:bodyPr>
          <a:lstStyle/>
          <a:p>
            <a:pPr algn="ctr"/>
            <a:r>
              <a:rPr lang="zh-CN" altLang="en-US" dirty="0">
                <a:solidFill>
                  <a:schemeClr val="accent1"/>
                </a:solidFill>
                <a:latin typeface="+mj-ea"/>
                <a:ea typeface="+mj-ea"/>
              </a:rPr>
              <a:t>关键词</a:t>
            </a:r>
          </a:p>
        </p:txBody>
      </p:sp>
      <p:sp>
        <p:nvSpPr>
          <p:cNvPr id="41" name="文本框 40">
            <a:extLst>
              <a:ext uri="{FF2B5EF4-FFF2-40B4-BE49-F238E27FC236}">
                <a16:creationId xmlns:a16="http://schemas.microsoft.com/office/drawing/2014/main" id="{79741327-10B7-400F-ABE5-F817892D6162}"/>
              </a:ext>
            </a:extLst>
          </p:cNvPr>
          <p:cNvSpPr txBox="1"/>
          <p:nvPr/>
        </p:nvSpPr>
        <p:spPr>
          <a:xfrm>
            <a:off x="2704800" y="2692807"/>
            <a:ext cx="692497" cy="276999"/>
          </a:xfrm>
          <a:prstGeom prst="rect">
            <a:avLst/>
          </a:prstGeom>
          <a:noFill/>
        </p:spPr>
        <p:txBody>
          <a:bodyPr wrap="none" lIns="0" tIns="0" rIns="0" bIns="0" rtlCol="0" anchor="t">
            <a:spAutoFit/>
          </a:bodyPr>
          <a:lstStyle/>
          <a:p>
            <a:pPr algn="ctr"/>
            <a:r>
              <a:rPr lang="zh-CN" altLang="en-US" dirty="0">
                <a:solidFill>
                  <a:schemeClr val="bg1"/>
                </a:solidFill>
              </a:rPr>
              <a:t>关键词</a:t>
            </a:r>
          </a:p>
        </p:txBody>
      </p:sp>
      <p:sp>
        <p:nvSpPr>
          <p:cNvPr id="56" name="文本框 55">
            <a:extLst>
              <a:ext uri="{FF2B5EF4-FFF2-40B4-BE49-F238E27FC236}">
                <a16:creationId xmlns:a16="http://schemas.microsoft.com/office/drawing/2014/main" id="{0D4DFEB1-C98D-473C-8154-0177E26FAD54}"/>
              </a:ext>
            </a:extLst>
          </p:cNvPr>
          <p:cNvSpPr txBox="1"/>
          <p:nvPr/>
        </p:nvSpPr>
        <p:spPr>
          <a:xfrm>
            <a:off x="2704800" y="4131082"/>
            <a:ext cx="692497" cy="276999"/>
          </a:xfrm>
          <a:prstGeom prst="rect">
            <a:avLst/>
          </a:prstGeom>
          <a:noFill/>
        </p:spPr>
        <p:txBody>
          <a:bodyPr wrap="none" lIns="0" tIns="0" rIns="0" bIns="0" rtlCol="0" anchor="t">
            <a:spAutoFit/>
          </a:bodyPr>
          <a:lstStyle/>
          <a:p>
            <a:pPr algn="ctr"/>
            <a:r>
              <a:rPr lang="zh-CN" altLang="en-US" dirty="0">
                <a:solidFill>
                  <a:schemeClr val="bg1"/>
                </a:solidFill>
              </a:rPr>
              <a:t>关键词</a:t>
            </a:r>
          </a:p>
        </p:txBody>
      </p:sp>
      <p:sp>
        <p:nvSpPr>
          <p:cNvPr id="59" name="矩形: 圆角 58">
            <a:extLst>
              <a:ext uri="{FF2B5EF4-FFF2-40B4-BE49-F238E27FC236}">
                <a16:creationId xmlns:a16="http://schemas.microsoft.com/office/drawing/2014/main" id="{01FB53D3-65B0-4A8D-AB2A-DE05B1866079}"/>
              </a:ext>
            </a:extLst>
          </p:cNvPr>
          <p:cNvSpPr/>
          <p:nvPr/>
        </p:nvSpPr>
        <p:spPr>
          <a:xfrm>
            <a:off x="5276850" y="1952626"/>
            <a:ext cx="1624013" cy="3971924"/>
          </a:xfrm>
          <a:prstGeom prst="roundRect">
            <a:avLst>
              <a:gd name="adj" fmla="val 50000"/>
            </a:avLst>
          </a:prstGeom>
          <a:gradFill>
            <a:gsLst>
              <a:gs pos="0">
                <a:schemeClr val="accent1"/>
              </a:gs>
              <a:gs pos="100000">
                <a:schemeClr val="accent1">
                  <a:alpha val="6000"/>
                </a:schemeClr>
              </a:gs>
            </a:gsLst>
            <a:lin ang="5400000" scaled="1"/>
          </a:gradFill>
          <a:ln w="158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60" name="矩形: 圆角 59">
            <a:extLst>
              <a:ext uri="{FF2B5EF4-FFF2-40B4-BE49-F238E27FC236}">
                <a16:creationId xmlns:a16="http://schemas.microsoft.com/office/drawing/2014/main" id="{C239C78A-501A-41E3-88A2-89C9AFCD2D8D}"/>
              </a:ext>
            </a:extLst>
          </p:cNvPr>
          <p:cNvSpPr/>
          <p:nvPr/>
        </p:nvSpPr>
        <p:spPr>
          <a:xfrm>
            <a:off x="5276851" y="1771651"/>
            <a:ext cx="1638300" cy="3467100"/>
          </a:xfrm>
          <a:prstGeom prst="roundRect">
            <a:avLst>
              <a:gd name="adj" fmla="val 50000"/>
            </a:avLst>
          </a:prstGeom>
          <a:solidFill>
            <a:schemeClr val="accent1"/>
          </a:solidFill>
          <a:ln w="158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61" name="矩形: 圆角 60">
            <a:extLst>
              <a:ext uri="{FF2B5EF4-FFF2-40B4-BE49-F238E27FC236}">
                <a16:creationId xmlns:a16="http://schemas.microsoft.com/office/drawing/2014/main" id="{9A468578-F47F-4265-8F56-2FE1353362E5}"/>
              </a:ext>
            </a:extLst>
          </p:cNvPr>
          <p:cNvSpPr/>
          <p:nvPr/>
        </p:nvSpPr>
        <p:spPr>
          <a:xfrm>
            <a:off x="5425916" y="3300412"/>
            <a:ext cx="1325880" cy="464820"/>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62" name="文本框 61">
            <a:extLst>
              <a:ext uri="{FF2B5EF4-FFF2-40B4-BE49-F238E27FC236}">
                <a16:creationId xmlns:a16="http://schemas.microsoft.com/office/drawing/2014/main" id="{478CEC7C-CE30-49F8-BAF8-15518083C2C0}"/>
              </a:ext>
            </a:extLst>
          </p:cNvPr>
          <p:cNvSpPr txBox="1"/>
          <p:nvPr/>
        </p:nvSpPr>
        <p:spPr>
          <a:xfrm>
            <a:off x="5749752" y="3411945"/>
            <a:ext cx="692497" cy="276999"/>
          </a:xfrm>
          <a:prstGeom prst="rect">
            <a:avLst/>
          </a:prstGeom>
          <a:noFill/>
        </p:spPr>
        <p:txBody>
          <a:bodyPr wrap="none" lIns="0" tIns="0" rIns="0" bIns="0" rtlCol="0" anchor="t">
            <a:spAutoFit/>
          </a:bodyPr>
          <a:lstStyle/>
          <a:p>
            <a:pPr algn="ctr"/>
            <a:r>
              <a:rPr lang="zh-CN" altLang="en-US" dirty="0">
                <a:solidFill>
                  <a:schemeClr val="accent1"/>
                </a:solidFill>
                <a:latin typeface="+mj-ea"/>
                <a:ea typeface="+mj-ea"/>
              </a:rPr>
              <a:t>关键词</a:t>
            </a:r>
          </a:p>
        </p:txBody>
      </p:sp>
      <p:sp>
        <p:nvSpPr>
          <p:cNvPr id="63" name="文本框 62">
            <a:extLst>
              <a:ext uri="{FF2B5EF4-FFF2-40B4-BE49-F238E27FC236}">
                <a16:creationId xmlns:a16="http://schemas.microsoft.com/office/drawing/2014/main" id="{31FAE8AF-4355-46F5-B35A-9F767419B064}"/>
              </a:ext>
            </a:extLst>
          </p:cNvPr>
          <p:cNvSpPr txBox="1"/>
          <p:nvPr/>
        </p:nvSpPr>
        <p:spPr>
          <a:xfrm>
            <a:off x="5749752" y="2692807"/>
            <a:ext cx="692497" cy="276999"/>
          </a:xfrm>
          <a:prstGeom prst="rect">
            <a:avLst/>
          </a:prstGeom>
          <a:noFill/>
        </p:spPr>
        <p:txBody>
          <a:bodyPr wrap="none" lIns="0" tIns="0" rIns="0" bIns="0" rtlCol="0" anchor="t">
            <a:spAutoFit/>
          </a:bodyPr>
          <a:lstStyle/>
          <a:p>
            <a:pPr algn="ctr"/>
            <a:r>
              <a:rPr lang="zh-CN" altLang="en-US" dirty="0">
                <a:solidFill>
                  <a:schemeClr val="bg1"/>
                </a:solidFill>
              </a:rPr>
              <a:t>关键词</a:t>
            </a:r>
          </a:p>
        </p:txBody>
      </p:sp>
      <p:sp>
        <p:nvSpPr>
          <p:cNvPr id="64" name="文本框 63">
            <a:extLst>
              <a:ext uri="{FF2B5EF4-FFF2-40B4-BE49-F238E27FC236}">
                <a16:creationId xmlns:a16="http://schemas.microsoft.com/office/drawing/2014/main" id="{23AA6FC0-033D-403B-A37B-09C0B8E56CCE}"/>
              </a:ext>
            </a:extLst>
          </p:cNvPr>
          <p:cNvSpPr txBox="1"/>
          <p:nvPr/>
        </p:nvSpPr>
        <p:spPr>
          <a:xfrm>
            <a:off x="5749752" y="4131082"/>
            <a:ext cx="692497" cy="276999"/>
          </a:xfrm>
          <a:prstGeom prst="rect">
            <a:avLst/>
          </a:prstGeom>
          <a:noFill/>
        </p:spPr>
        <p:txBody>
          <a:bodyPr wrap="none" lIns="0" tIns="0" rIns="0" bIns="0" rtlCol="0" anchor="t">
            <a:spAutoFit/>
          </a:bodyPr>
          <a:lstStyle/>
          <a:p>
            <a:pPr algn="ctr"/>
            <a:r>
              <a:rPr lang="zh-CN" altLang="en-US" dirty="0">
                <a:solidFill>
                  <a:schemeClr val="bg1"/>
                </a:solidFill>
              </a:rPr>
              <a:t>关键词</a:t>
            </a:r>
          </a:p>
        </p:txBody>
      </p:sp>
      <p:cxnSp>
        <p:nvCxnSpPr>
          <p:cNvPr id="6" name="直接箭头连接符 5">
            <a:extLst>
              <a:ext uri="{FF2B5EF4-FFF2-40B4-BE49-F238E27FC236}">
                <a16:creationId xmlns:a16="http://schemas.microsoft.com/office/drawing/2014/main" id="{074062C3-3C98-457D-9552-BF93615AC6FB}"/>
              </a:ext>
            </a:extLst>
          </p:cNvPr>
          <p:cNvCxnSpPr/>
          <p:nvPr/>
        </p:nvCxnSpPr>
        <p:spPr>
          <a:xfrm>
            <a:off x="4068637" y="2831306"/>
            <a:ext cx="965200" cy="0"/>
          </a:xfrm>
          <a:prstGeom prst="straightConnector1">
            <a:avLst/>
          </a:prstGeom>
          <a:ln w="9525">
            <a:tailEnd type="triangle"/>
          </a:ln>
        </p:spPr>
        <p:style>
          <a:lnRef idx="1">
            <a:schemeClr val="accent1"/>
          </a:lnRef>
          <a:fillRef idx="0">
            <a:schemeClr val="accent1"/>
          </a:fillRef>
          <a:effectRef idx="0">
            <a:schemeClr val="accent1"/>
          </a:effectRef>
          <a:fontRef idx="minor">
            <a:schemeClr val="tx1"/>
          </a:fontRef>
        </p:style>
      </p:cxnSp>
      <p:cxnSp>
        <p:nvCxnSpPr>
          <p:cNvPr id="65" name="直接箭头连接符 64">
            <a:extLst>
              <a:ext uri="{FF2B5EF4-FFF2-40B4-BE49-F238E27FC236}">
                <a16:creationId xmlns:a16="http://schemas.microsoft.com/office/drawing/2014/main" id="{D47A5762-FBEF-4DAF-AD4E-7D2C3C7B0C54}"/>
              </a:ext>
            </a:extLst>
          </p:cNvPr>
          <p:cNvCxnSpPr/>
          <p:nvPr/>
        </p:nvCxnSpPr>
        <p:spPr>
          <a:xfrm>
            <a:off x="4068637" y="3545681"/>
            <a:ext cx="965200" cy="0"/>
          </a:xfrm>
          <a:prstGeom prst="straightConnector1">
            <a:avLst/>
          </a:prstGeom>
          <a:ln w="9525">
            <a:tailEnd type="triangle"/>
          </a:ln>
        </p:spPr>
        <p:style>
          <a:lnRef idx="1">
            <a:schemeClr val="accent1"/>
          </a:lnRef>
          <a:fillRef idx="0">
            <a:schemeClr val="accent1"/>
          </a:fillRef>
          <a:effectRef idx="0">
            <a:schemeClr val="accent1"/>
          </a:effectRef>
          <a:fontRef idx="minor">
            <a:schemeClr val="tx1"/>
          </a:fontRef>
        </p:style>
      </p:cxnSp>
      <p:cxnSp>
        <p:nvCxnSpPr>
          <p:cNvPr id="66" name="直接箭头连接符 65">
            <a:extLst>
              <a:ext uri="{FF2B5EF4-FFF2-40B4-BE49-F238E27FC236}">
                <a16:creationId xmlns:a16="http://schemas.microsoft.com/office/drawing/2014/main" id="{82A5832B-2382-4FDC-B661-42440A8FEC08}"/>
              </a:ext>
            </a:extLst>
          </p:cNvPr>
          <p:cNvCxnSpPr/>
          <p:nvPr/>
        </p:nvCxnSpPr>
        <p:spPr>
          <a:xfrm>
            <a:off x="4068637" y="4260056"/>
            <a:ext cx="965200" cy="0"/>
          </a:xfrm>
          <a:prstGeom prst="straightConnector1">
            <a:avLst/>
          </a:prstGeom>
          <a:ln w="9525">
            <a:tailEnd type="triangle"/>
          </a:ln>
        </p:spPr>
        <p:style>
          <a:lnRef idx="1">
            <a:schemeClr val="accent1"/>
          </a:lnRef>
          <a:fillRef idx="0">
            <a:schemeClr val="accent1"/>
          </a:fillRef>
          <a:effectRef idx="0">
            <a:schemeClr val="accent1"/>
          </a:effectRef>
          <a:fontRef idx="minor">
            <a:schemeClr val="tx1"/>
          </a:fontRef>
        </p:style>
      </p:cxnSp>
      <p:sp>
        <p:nvSpPr>
          <p:cNvPr id="67" name="文本框 66">
            <a:extLst>
              <a:ext uri="{FF2B5EF4-FFF2-40B4-BE49-F238E27FC236}">
                <a16:creationId xmlns:a16="http://schemas.microsoft.com/office/drawing/2014/main" id="{79746D2A-8D6D-4399-9BC3-EAB02D60FE79}"/>
              </a:ext>
            </a:extLst>
          </p:cNvPr>
          <p:cNvSpPr txBox="1"/>
          <p:nvPr/>
        </p:nvSpPr>
        <p:spPr>
          <a:xfrm>
            <a:off x="2704800" y="5352187"/>
            <a:ext cx="692497" cy="276999"/>
          </a:xfrm>
          <a:prstGeom prst="rect">
            <a:avLst/>
          </a:prstGeom>
          <a:noFill/>
        </p:spPr>
        <p:txBody>
          <a:bodyPr wrap="none" lIns="0" tIns="0" rIns="0" bIns="0" rtlCol="0" anchor="t">
            <a:spAutoFit/>
          </a:bodyPr>
          <a:lstStyle/>
          <a:p>
            <a:pPr algn="ctr"/>
            <a:r>
              <a:rPr lang="zh-CN" altLang="en-US" dirty="0">
                <a:solidFill>
                  <a:schemeClr val="accent1"/>
                </a:solidFill>
              </a:rPr>
              <a:t>关键词</a:t>
            </a:r>
          </a:p>
        </p:txBody>
      </p:sp>
      <p:sp>
        <p:nvSpPr>
          <p:cNvPr id="68" name="文本框 67">
            <a:extLst>
              <a:ext uri="{FF2B5EF4-FFF2-40B4-BE49-F238E27FC236}">
                <a16:creationId xmlns:a16="http://schemas.microsoft.com/office/drawing/2014/main" id="{209E2F6C-A93C-4651-808E-5D4A2808E8D0}"/>
              </a:ext>
            </a:extLst>
          </p:cNvPr>
          <p:cNvSpPr txBox="1"/>
          <p:nvPr/>
        </p:nvSpPr>
        <p:spPr>
          <a:xfrm>
            <a:off x="5742607" y="5352187"/>
            <a:ext cx="692497" cy="276999"/>
          </a:xfrm>
          <a:prstGeom prst="rect">
            <a:avLst/>
          </a:prstGeom>
          <a:noFill/>
        </p:spPr>
        <p:txBody>
          <a:bodyPr wrap="none" lIns="0" tIns="0" rIns="0" bIns="0" rtlCol="0" anchor="t">
            <a:spAutoFit/>
          </a:bodyPr>
          <a:lstStyle/>
          <a:p>
            <a:pPr algn="ctr"/>
            <a:r>
              <a:rPr lang="zh-CN" altLang="en-US" dirty="0">
                <a:solidFill>
                  <a:schemeClr val="accent1"/>
                </a:solidFill>
              </a:rPr>
              <a:t>关键词</a:t>
            </a:r>
          </a:p>
        </p:txBody>
      </p:sp>
      <p:sp>
        <p:nvSpPr>
          <p:cNvPr id="69" name="矩形: 圆角 68">
            <a:extLst>
              <a:ext uri="{FF2B5EF4-FFF2-40B4-BE49-F238E27FC236}">
                <a16:creationId xmlns:a16="http://schemas.microsoft.com/office/drawing/2014/main" id="{50D9783A-4D2D-4909-AAC3-A287903ECD17}"/>
              </a:ext>
            </a:extLst>
          </p:cNvPr>
          <p:cNvSpPr/>
          <p:nvPr/>
        </p:nvSpPr>
        <p:spPr>
          <a:xfrm>
            <a:off x="8321802" y="1771651"/>
            <a:ext cx="1638300" cy="3467100"/>
          </a:xfrm>
          <a:prstGeom prst="roundRect">
            <a:avLst>
              <a:gd name="adj" fmla="val 50000"/>
            </a:avLst>
          </a:prstGeom>
          <a:solidFill>
            <a:schemeClr val="accent1"/>
          </a:solidFill>
          <a:ln w="158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70" name="矩形: 圆角 69">
            <a:extLst>
              <a:ext uri="{FF2B5EF4-FFF2-40B4-BE49-F238E27FC236}">
                <a16:creationId xmlns:a16="http://schemas.microsoft.com/office/drawing/2014/main" id="{0047D781-4854-4208-9488-801C7949C705}"/>
              </a:ext>
            </a:extLst>
          </p:cNvPr>
          <p:cNvSpPr/>
          <p:nvPr/>
        </p:nvSpPr>
        <p:spPr>
          <a:xfrm>
            <a:off x="8470867" y="3300412"/>
            <a:ext cx="1325880" cy="464820"/>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71" name="文本框 70">
            <a:extLst>
              <a:ext uri="{FF2B5EF4-FFF2-40B4-BE49-F238E27FC236}">
                <a16:creationId xmlns:a16="http://schemas.microsoft.com/office/drawing/2014/main" id="{B8B645D3-67B4-4B78-9FAD-E3B401B4CC71}"/>
              </a:ext>
            </a:extLst>
          </p:cNvPr>
          <p:cNvSpPr txBox="1"/>
          <p:nvPr/>
        </p:nvSpPr>
        <p:spPr>
          <a:xfrm>
            <a:off x="8794703" y="3411945"/>
            <a:ext cx="692497" cy="276999"/>
          </a:xfrm>
          <a:prstGeom prst="rect">
            <a:avLst/>
          </a:prstGeom>
          <a:noFill/>
        </p:spPr>
        <p:txBody>
          <a:bodyPr wrap="none" lIns="0" tIns="0" rIns="0" bIns="0" rtlCol="0" anchor="t">
            <a:spAutoFit/>
          </a:bodyPr>
          <a:lstStyle/>
          <a:p>
            <a:pPr algn="ctr"/>
            <a:r>
              <a:rPr lang="zh-CN" altLang="en-US" dirty="0">
                <a:solidFill>
                  <a:schemeClr val="accent1"/>
                </a:solidFill>
                <a:latin typeface="+mj-ea"/>
                <a:ea typeface="+mj-ea"/>
              </a:rPr>
              <a:t>关键词</a:t>
            </a:r>
          </a:p>
        </p:txBody>
      </p:sp>
      <p:sp>
        <p:nvSpPr>
          <p:cNvPr id="72" name="文本框 71">
            <a:extLst>
              <a:ext uri="{FF2B5EF4-FFF2-40B4-BE49-F238E27FC236}">
                <a16:creationId xmlns:a16="http://schemas.microsoft.com/office/drawing/2014/main" id="{FBE12E00-CE37-4D71-B3EF-035EA2DC31CD}"/>
              </a:ext>
            </a:extLst>
          </p:cNvPr>
          <p:cNvSpPr txBox="1"/>
          <p:nvPr/>
        </p:nvSpPr>
        <p:spPr>
          <a:xfrm>
            <a:off x="8794703" y="2692807"/>
            <a:ext cx="692497" cy="276999"/>
          </a:xfrm>
          <a:prstGeom prst="rect">
            <a:avLst/>
          </a:prstGeom>
          <a:noFill/>
        </p:spPr>
        <p:txBody>
          <a:bodyPr wrap="none" lIns="0" tIns="0" rIns="0" bIns="0" rtlCol="0" anchor="t">
            <a:spAutoFit/>
          </a:bodyPr>
          <a:lstStyle/>
          <a:p>
            <a:pPr algn="ctr"/>
            <a:r>
              <a:rPr lang="zh-CN" altLang="en-US" dirty="0">
                <a:solidFill>
                  <a:schemeClr val="bg1"/>
                </a:solidFill>
              </a:rPr>
              <a:t>关键词</a:t>
            </a:r>
          </a:p>
        </p:txBody>
      </p:sp>
      <p:sp>
        <p:nvSpPr>
          <p:cNvPr id="73" name="文本框 72">
            <a:extLst>
              <a:ext uri="{FF2B5EF4-FFF2-40B4-BE49-F238E27FC236}">
                <a16:creationId xmlns:a16="http://schemas.microsoft.com/office/drawing/2014/main" id="{FF871F33-AC4C-4B98-903B-CAA5D88D4BFF}"/>
              </a:ext>
            </a:extLst>
          </p:cNvPr>
          <p:cNvSpPr txBox="1"/>
          <p:nvPr/>
        </p:nvSpPr>
        <p:spPr>
          <a:xfrm>
            <a:off x="8794703" y="4131082"/>
            <a:ext cx="692497" cy="276999"/>
          </a:xfrm>
          <a:prstGeom prst="rect">
            <a:avLst/>
          </a:prstGeom>
          <a:noFill/>
        </p:spPr>
        <p:txBody>
          <a:bodyPr wrap="none" lIns="0" tIns="0" rIns="0" bIns="0" rtlCol="0" anchor="t">
            <a:spAutoFit/>
          </a:bodyPr>
          <a:lstStyle/>
          <a:p>
            <a:pPr algn="ctr"/>
            <a:r>
              <a:rPr lang="zh-CN" altLang="en-US" dirty="0">
                <a:solidFill>
                  <a:schemeClr val="bg1"/>
                </a:solidFill>
              </a:rPr>
              <a:t>关键词</a:t>
            </a:r>
          </a:p>
        </p:txBody>
      </p:sp>
      <p:cxnSp>
        <p:nvCxnSpPr>
          <p:cNvPr id="74" name="直接箭头连接符 73">
            <a:extLst>
              <a:ext uri="{FF2B5EF4-FFF2-40B4-BE49-F238E27FC236}">
                <a16:creationId xmlns:a16="http://schemas.microsoft.com/office/drawing/2014/main" id="{BFF240B7-3E80-4D9B-809B-1AF904341C94}"/>
              </a:ext>
            </a:extLst>
          </p:cNvPr>
          <p:cNvCxnSpPr/>
          <p:nvPr/>
        </p:nvCxnSpPr>
        <p:spPr>
          <a:xfrm>
            <a:off x="7107112" y="2831306"/>
            <a:ext cx="965200" cy="0"/>
          </a:xfrm>
          <a:prstGeom prst="straightConnector1">
            <a:avLst/>
          </a:prstGeom>
          <a:ln w="9525">
            <a:tailEnd type="triangle"/>
          </a:ln>
        </p:spPr>
        <p:style>
          <a:lnRef idx="1">
            <a:schemeClr val="accent1"/>
          </a:lnRef>
          <a:fillRef idx="0">
            <a:schemeClr val="accent1"/>
          </a:fillRef>
          <a:effectRef idx="0">
            <a:schemeClr val="accent1"/>
          </a:effectRef>
          <a:fontRef idx="minor">
            <a:schemeClr val="tx1"/>
          </a:fontRef>
        </p:style>
      </p:cxnSp>
      <p:cxnSp>
        <p:nvCxnSpPr>
          <p:cNvPr id="75" name="直接箭头连接符 74">
            <a:extLst>
              <a:ext uri="{FF2B5EF4-FFF2-40B4-BE49-F238E27FC236}">
                <a16:creationId xmlns:a16="http://schemas.microsoft.com/office/drawing/2014/main" id="{1CFCB0CA-5DF1-4FE4-9838-6397CF7E6242}"/>
              </a:ext>
            </a:extLst>
          </p:cNvPr>
          <p:cNvCxnSpPr/>
          <p:nvPr/>
        </p:nvCxnSpPr>
        <p:spPr>
          <a:xfrm>
            <a:off x="7107112" y="3545681"/>
            <a:ext cx="965200" cy="0"/>
          </a:xfrm>
          <a:prstGeom prst="straightConnector1">
            <a:avLst/>
          </a:prstGeom>
          <a:ln w="9525">
            <a:tailEnd type="triangle"/>
          </a:ln>
        </p:spPr>
        <p:style>
          <a:lnRef idx="1">
            <a:schemeClr val="accent1"/>
          </a:lnRef>
          <a:fillRef idx="0">
            <a:schemeClr val="accent1"/>
          </a:fillRef>
          <a:effectRef idx="0">
            <a:schemeClr val="accent1"/>
          </a:effectRef>
          <a:fontRef idx="minor">
            <a:schemeClr val="tx1"/>
          </a:fontRef>
        </p:style>
      </p:cxnSp>
      <p:cxnSp>
        <p:nvCxnSpPr>
          <p:cNvPr id="76" name="直接箭头连接符 75">
            <a:extLst>
              <a:ext uri="{FF2B5EF4-FFF2-40B4-BE49-F238E27FC236}">
                <a16:creationId xmlns:a16="http://schemas.microsoft.com/office/drawing/2014/main" id="{895485BC-E4C4-418E-B0B5-C51BB8F8027B}"/>
              </a:ext>
            </a:extLst>
          </p:cNvPr>
          <p:cNvCxnSpPr/>
          <p:nvPr/>
        </p:nvCxnSpPr>
        <p:spPr>
          <a:xfrm>
            <a:off x="7107112" y="4260056"/>
            <a:ext cx="965200" cy="0"/>
          </a:xfrm>
          <a:prstGeom prst="straightConnector1">
            <a:avLst/>
          </a:prstGeom>
          <a:ln w="9525">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85618599"/>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2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a:extLst>
              <a:ext uri="{FF2B5EF4-FFF2-40B4-BE49-F238E27FC236}">
                <a16:creationId xmlns:a16="http://schemas.microsoft.com/office/drawing/2014/main" id="{93ACB0D5-A1FB-4FFC-8ABF-7F39213D1334}"/>
              </a:ext>
            </a:extLst>
          </p:cNvPr>
          <p:cNvSpPr txBox="1"/>
          <p:nvPr/>
        </p:nvSpPr>
        <p:spPr>
          <a:xfrm>
            <a:off x="5070080" y="1183081"/>
            <a:ext cx="2051844" cy="492443"/>
          </a:xfrm>
          <a:prstGeom prst="rect">
            <a:avLst/>
          </a:prstGeom>
          <a:noFill/>
        </p:spPr>
        <p:txBody>
          <a:bodyPr wrap="none" lIns="0" tIns="0" rIns="0" bIns="0" rtlCol="0" anchor="t">
            <a:spAutoFit/>
          </a:bodyPr>
          <a:lstStyle/>
          <a:p>
            <a:pPr algn="ctr"/>
            <a:r>
              <a:rPr lang="zh-CN" altLang="en-US" sz="3200" dirty="0">
                <a:solidFill>
                  <a:schemeClr val="accent1"/>
                </a:solidFill>
                <a:latin typeface="+mj-ea"/>
                <a:ea typeface="+mj-ea"/>
              </a:rPr>
              <a:t>关键词标题</a:t>
            </a:r>
          </a:p>
        </p:txBody>
      </p:sp>
      <p:sp>
        <p:nvSpPr>
          <p:cNvPr id="3" name="文本框 2">
            <a:extLst>
              <a:ext uri="{FF2B5EF4-FFF2-40B4-BE49-F238E27FC236}">
                <a16:creationId xmlns:a16="http://schemas.microsoft.com/office/drawing/2014/main" id="{8C559DC0-1AA6-49D6-B38D-0C5B7109DD32}"/>
              </a:ext>
            </a:extLst>
          </p:cNvPr>
          <p:cNvSpPr txBox="1"/>
          <p:nvPr/>
        </p:nvSpPr>
        <p:spPr>
          <a:xfrm>
            <a:off x="4575571" y="1691359"/>
            <a:ext cx="3040858" cy="464807"/>
          </a:xfrm>
          <a:prstGeom prst="rect">
            <a:avLst/>
          </a:prstGeom>
          <a:noFill/>
        </p:spPr>
        <p:txBody>
          <a:bodyPr wrap="square" lIns="0" tIns="0" rIns="0" bIns="0" rtlCol="0" anchor="t">
            <a:spAutoFit/>
          </a:bodyPr>
          <a:lstStyle/>
          <a:p>
            <a:pPr algn="ctr">
              <a:lnSpc>
                <a:spcPct val="130000"/>
              </a:lnSpc>
            </a:pPr>
            <a:r>
              <a:rPr lang="en-US" altLang="zh-CN" sz="1200" b="0" dirty="0">
                <a:solidFill>
                  <a:schemeClr val="tx1">
                    <a:lumMod val="75000"/>
                    <a:lumOff val="25000"/>
                  </a:schemeClr>
                </a:solidFill>
                <a:effectLst/>
                <a:latin typeface="+mn-ea"/>
              </a:rPr>
              <a:t>Lorem ipsum dolor sit amet, consectetur adipisicing elit, sed do eiusmod tempor</a:t>
            </a:r>
            <a:endParaRPr lang="zh-CN" altLang="en-US" sz="1200" b="0" dirty="0">
              <a:solidFill>
                <a:schemeClr val="tx1">
                  <a:lumMod val="75000"/>
                  <a:lumOff val="25000"/>
                </a:schemeClr>
              </a:solidFill>
              <a:effectLst/>
              <a:latin typeface="+mn-ea"/>
            </a:endParaRPr>
          </a:p>
        </p:txBody>
      </p:sp>
      <p:sp>
        <p:nvSpPr>
          <p:cNvPr id="4" name="矩形: 圆角 3">
            <a:extLst>
              <a:ext uri="{FF2B5EF4-FFF2-40B4-BE49-F238E27FC236}">
                <a16:creationId xmlns:a16="http://schemas.microsoft.com/office/drawing/2014/main" id="{8F3EBB42-AB52-4A27-A839-14A306236AA2}"/>
              </a:ext>
            </a:extLst>
          </p:cNvPr>
          <p:cNvSpPr/>
          <p:nvPr/>
        </p:nvSpPr>
        <p:spPr>
          <a:xfrm>
            <a:off x="824484" y="2511171"/>
            <a:ext cx="2468880" cy="3255264"/>
          </a:xfrm>
          <a:prstGeom prst="roundRect">
            <a:avLst>
              <a:gd name="adj" fmla="val 5926"/>
            </a:avLst>
          </a:prstGeom>
          <a:solidFill>
            <a:schemeClr val="bg1"/>
          </a:solidFill>
          <a:ln w="158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5" name="矩形: 圆角 4">
            <a:extLst>
              <a:ext uri="{FF2B5EF4-FFF2-40B4-BE49-F238E27FC236}">
                <a16:creationId xmlns:a16="http://schemas.microsoft.com/office/drawing/2014/main" id="{8B5906FD-C61B-4D3F-9139-1A1C4D71A77F}"/>
              </a:ext>
            </a:extLst>
          </p:cNvPr>
          <p:cNvSpPr/>
          <p:nvPr/>
        </p:nvSpPr>
        <p:spPr>
          <a:xfrm>
            <a:off x="1698924" y="2735109"/>
            <a:ext cx="720000" cy="720000"/>
          </a:xfrm>
          <a:prstGeom prst="roundRect">
            <a:avLst>
              <a:gd name="adj" fmla="val 13544"/>
            </a:avLst>
          </a:prstGeom>
          <a:solidFill>
            <a:schemeClr val="bg1"/>
          </a:solidFill>
          <a:ln w="158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6" name="文本框 5">
            <a:extLst>
              <a:ext uri="{FF2B5EF4-FFF2-40B4-BE49-F238E27FC236}">
                <a16:creationId xmlns:a16="http://schemas.microsoft.com/office/drawing/2014/main" id="{605350B8-264A-433E-A11A-6CBDCF63F9C4}"/>
              </a:ext>
            </a:extLst>
          </p:cNvPr>
          <p:cNvSpPr txBox="1"/>
          <p:nvPr/>
        </p:nvSpPr>
        <p:spPr>
          <a:xfrm>
            <a:off x="1289482" y="3657257"/>
            <a:ext cx="1538883" cy="369332"/>
          </a:xfrm>
          <a:prstGeom prst="rect">
            <a:avLst/>
          </a:prstGeom>
          <a:noFill/>
        </p:spPr>
        <p:txBody>
          <a:bodyPr wrap="none" lIns="0" tIns="0" rIns="0" bIns="0" rtlCol="0" anchor="t">
            <a:spAutoFit/>
          </a:bodyPr>
          <a:lstStyle/>
          <a:p>
            <a:pPr algn="ctr"/>
            <a:r>
              <a:rPr lang="zh-CN" altLang="en-US" sz="2400" dirty="0">
                <a:solidFill>
                  <a:schemeClr val="accent1"/>
                </a:solidFill>
                <a:latin typeface="+mj-ea"/>
                <a:ea typeface="+mj-ea"/>
              </a:rPr>
              <a:t>关键词标题</a:t>
            </a:r>
          </a:p>
        </p:txBody>
      </p:sp>
      <p:sp>
        <p:nvSpPr>
          <p:cNvPr id="7" name="文本框 6">
            <a:extLst>
              <a:ext uri="{FF2B5EF4-FFF2-40B4-BE49-F238E27FC236}">
                <a16:creationId xmlns:a16="http://schemas.microsoft.com/office/drawing/2014/main" id="{9BB4557E-F6D2-4D15-B262-B41233979AB0}"/>
              </a:ext>
            </a:extLst>
          </p:cNvPr>
          <p:cNvSpPr txBox="1"/>
          <p:nvPr/>
        </p:nvSpPr>
        <p:spPr>
          <a:xfrm>
            <a:off x="965452" y="4058658"/>
            <a:ext cx="2270571" cy="299634"/>
          </a:xfrm>
          <a:prstGeom prst="rect">
            <a:avLst/>
          </a:prstGeom>
          <a:noFill/>
        </p:spPr>
        <p:txBody>
          <a:bodyPr wrap="square" lIns="0" tIns="0" rIns="0" bIns="0" rtlCol="0" anchor="t">
            <a:spAutoFit/>
          </a:bodyPr>
          <a:lstStyle/>
          <a:p>
            <a:pPr algn="ctr">
              <a:lnSpc>
                <a:spcPct val="130000"/>
              </a:lnSpc>
            </a:pPr>
            <a:r>
              <a:rPr lang="en-US" altLang="zh-CN" sz="1600" b="0" dirty="0">
                <a:solidFill>
                  <a:schemeClr val="tx1">
                    <a:lumMod val="75000"/>
                    <a:lumOff val="25000"/>
                  </a:schemeClr>
                </a:solidFill>
                <a:effectLst/>
                <a:latin typeface="+mj-ea"/>
                <a:ea typeface="+mj-ea"/>
              </a:rPr>
              <a:t>Lorem ipsum dolor</a:t>
            </a:r>
            <a:endParaRPr lang="zh-CN" altLang="en-US" sz="1600" b="0" dirty="0">
              <a:solidFill>
                <a:schemeClr val="tx1">
                  <a:lumMod val="75000"/>
                  <a:lumOff val="25000"/>
                </a:schemeClr>
              </a:solidFill>
              <a:effectLst/>
              <a:latin typeface="+mj-ea"/>
              <a:ea typeface="+mj-ea"/>
            </a:endParaRPr>
          </a:p>
        </p:txBody>
      </p:sp>
      <p:cxnSp>
        <p:nvCxnSpPr>
          <p:cNvPr id="9" name="直接连接符 8">
            <a:extLst>
              <a:ext uri="{FF2B5EF4-FFF2-40B4-BE49-F238E27FC236}">
                <a16:creationId xmlns:a16="http://schemas.microsoft.com/office/drawing/2014/main" id="{A9A12E6C-94CC-400B-BBF8-380FC7208ADA}"/>
              </a:ext>
            </a:extLst>
          </p:cNvPr>
          <p:cNvCxnSpPr/>
          <p:nvPr/>
        </p:nvCxnSpPr>
        <p:spPr>
          <a:xfrm>
            <a:off x="1007174" y="4614863"/>
            <a:ext cx="2095500"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sp>
        <p:nvSpPr>
          <p:cNvPr id="10" name="矩形 9">
            <a:extLst>
              <a:ext uri="{FF2B5EF4-FFF2-40B4-BE49-F238E27FC236}">
                <a16:creationId xmlns:a16="http://schemas.microsoft.com/office/drawing/2014/main" id="{9CBCEE49-B6DF-41B8-90BB-EA300D418E5B}"/>
              </a:ext>
            </a:extLst>
          </p:cNvPr>
          <p:cNvSpPr/>
          <p:nvPr/>
        </p:nvSpPr>
        <p:spPr>
          <a:xfrm>
            <a:off x="3083625" y="4572000"/>
            <a:ext cx="76200" cy="762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11" name="矩形 10">
            <a:extLst>
              <a:ext uri="{FF2B5EF4-FFF2-40B4-BE49-F238E27FC236}">
                <a16:creationId xmlns:a16="http://schemas.microsoft.com/office/drawing/2014/main" id="{C2C77A07-3340-4457-8296-CE8656011E18}"/>
              </a:ext>
            </a:extLst>
          </p:cNvPr>
          <p:cNvSpPr/>
          <p:nvPr/>
        </p:nvSpPr>
        <p:spPr>
          <a:xfrm>
            <a:off x="969075" y="4572000"/>
            <a:ext cx="76200" cy="762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12" name="文本框 11">
            <a:extLst>
              <a:ext uri="{FF2B5EF4-FFF2-40B4-BE49-F238E27FC236}">
                <a16:creationId xmlns:a16="http://schemas.microsoft.com/office/drawing/2014/main" id="{DC2E428A-B6D7-4A92-927C-615C46886ABB}"/>
              </a:ext>
            </a:extLst>
          </p:cNvPr>
          <p:cNvSpPr txBox="1"/>
          <p:nvPr/>
        </p:nvSpPr>
        <p:spPr>
          <a:xfrm>
            <a:off x="965452" y="4817012"/>
            <a:ext cx="2194373" cy="704873"/>
          </a:xfrm>
          <a:prstGeom prst="rect">
            <a:avLst/>
          </a:prstGeom>
          <a:noFill/>
        </p:spPr>
        <p:txBody>
          <a:bodyPr wrap="square" lIns="0" tIns="0" rIns="0" bIns="0" rtlCol="0" anchor="t">
            <a:spAutoFit/>
          </a:bodyPr>
          <a:lstStyle/>
          <a:p>
            <a:pPr algn="ctr">
              <a:lnSpc>
                <a:spcPct val="130000"/>
              </a:lnSpc>
            </a:pPr>
            <a:r>
              <a:rPr lang="en-US" altLang="zh-CN" sz="1200" b="0" dirty="0">
                <a:solidFill>
                  <a:schemeClr val="tx1">
                    <a:lumMod val="75000"/>
                    <a:lumOff val="25000"/>
                  </a:schemeClr>
                </a:solidFill>
                <a:effectLst/>
                <a:latin typeface="+mn-ea"/>
              </a:rPr>
              <a:t>Lorem ipsum dolor sit amet consectetur adipisicing elit sed do eiusmod tempor</a:t>
            </a:r>
            <a:endParaRPr lang="zh-CN" altLang="en-US" sz="1200" b="0" dirty="0">
              <a:solidFill>
                <a:schemeClr val="tx1">
                  <a:lumMod val="75000"/>
                  <a:lumOff val="25000"/>
                </a:schemeClr>
              </a:solidFill>
              <a:effectLst/>
              <a:latin typeface="+mn-ea"/>
            </a:endParaRPr>
          </a:p>
        </p:txBody>
      </p:sp>
      <p:sp>
        <p:nvSpPr>
          <p:cNvPr id="13" name="iconfont-1191-801535">
            <a:extLst>
              <a:ext uri="{FF2B5EF4-FFF2-40B4-BE49-F238E27FC236}">
                <a16:creationId xmlns:a16="http://schemas.microsoft.com/office/drawing/2014/main" id="{421E3D45-0456-4EB9-A0BE-28B96AB0DA5D}"/>
              </a:ext>
            </a:extLst>
          </p:cNvPr>
          <p:cNvSpPr/>
          <p:nvPr/>
        </p:nvSpPr>
        <p:spPr>
          <a:xfrm>
            <a:off x="1883872" y="2868300"/>
            <a:ext cx="357532" cy="453618"/>
          </a:xfrm>
          <a:custGeom>
            <a:avLst/>
            <a:gdLst>
              <a:gd name="T0" fmla="*/ 3166 w 6332"/>
              <a:gd name="T1" fmla="*/ 0 h 8034"/>
              <a:gd name="T2" fmla="*/ 0 w 6332"/>
              <a:gd name="T3" fmla="*/ 3166 h 8034"/>
              <a:gd name="T4" fmla="*/ 2481 w 6332"/>
              <a:gd name="T5" fmla="*/ 7590 h 8034"/>
              <a:gd name="T6" fmla="*/ 3853 w 6332"/>
              <a:gd name="T7" fmla="*/ 7588 h 8034"/>
              <a:gd name="T8" fmla="*/ 6332 w 6332"/>
              <a:gd name="T9" fmla="*/ 3166 h 8034"/>
              <a:gd name="T10" fmla="*/ 3166 w 6332"/>
              <a:gd name="T11" fmla="*/ 0 h 8034"/>
              <a:gd name="T12" fmla="*/ 3166 w 6332"/>
              <a:gd name="T13" fmla="*/ 0 h 8034"/>
              <a:gd name="T14" fmla="*/ 3166 w 6332"/>
              <a:gd name="T15" fmla="*/ 0 h 8034"/>
              <a:gd name="T16" fmla="*/ 3166 w 6332"/>
              <a:gd name="T17" fmla="*/ 0 h 8034"/>
              <a:gd name="T18" fmla="*/ 3166 w 6332"/>
              <a:gd name="T19" fmla="*/ 4529 h 8034"/>
              <a:gd name="T20" fmla="*/ 1702 w 6332"/>
              <a:gd name="T21" fmla="*/ 3065 h 8034"/>
              <a:gd name="T22" fmla="*/ 3166 w 6332"/>
              <a:gd name="T23" fmla="*/ 1600 h 8034"/>
              <a:gd name="T24" fmla="*/ 4630 w 6332"/>
              <a:gd name="T25" fmla="*/ 3065 h 8034"/>
              <a:gd name="T26" fmla="*/ 3166 w 6332"/>
              <a:gd name="T27" fmla="*/ 4529 h 8034"/>
              <a:gd name="T28" fmla="*/ 3166 w 6332"/>
              <a:gd name="T29" fmla="*/ 4529 h 8034"/>
              <a:gd name="T30" fmla="*/ 3166 w 6332"/>
              <a:gd name="T31" fmla="*/ 4529 h 8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332" h="8034">
                <a:moveTo>
                  <a:pt x="3166" y="0"/>
                </a:moveTo>
                <a:cubicBezTo>
                  <a:pt x="1418" y="0"/>
                  <a:pt x="0" y="1418"/>
                  <a:pt x="0" y="3166"/>
                </a:cubicBezTo>
                <a:cubicBezTo>
                  <a:pt x="0" y="4914"/>
                  <a:pt x="2481" y="7590"/>
                  <a:pt x="2481" y="7590"/>
                </a:cubicBezTo>
                <a:cubicBezTo>
                  <a:pt x="2859" y="8031"/>
                  <a:pt x="3478" y="8034"/>
                  <a:pt x="3853" y="7588"/>
                </a:cubicBezTo>
                <a:cubicBezTo>
                  <a:pt x="3853" y="7588"/>
                  <a:pt x="6332" y="4914"/>
                  <a:pt x="6332" y="3166"/>
                </a:cubicBezTo>
                <a:cubicBezTo>
                  <a:pt x="6332" y="1418"/>
                  <a:pt x="4914" y="0"/>
                  <a:pt x="3166" y="0"/>
                </a:cubicBezTo>
                <a:lnTo>
                  <a:pt x="3166" y="0"/>
                </a:lnTo>
                <a:lnTo>
                  <a:pt x="3166" y="0"/>
                </a:lnTo>
                <a:lnTo>
                  <a:pt x="3166" y="0"/>
                </a:lnTo>
                <a:close/>
                <a:moveTo>
                  <a:pt x="3166" y="4529"/>
                </a:moveTo>
                <a:cubicBezTo>
                  <a:pt x="2357" y="4529"/>
                  <a:pt x="1702" y="3874"/>
                  <a:pt x="1702" y="3065"/>
                </a:cubicBezTo>
                <a:cubicBezTo>
                  <a:pt x="1702" y="2256"/>
                  <a:pt x="2357" y="1600"/>
                  <a:pt x="3166" y="1600"/>
                </a:cubicBezTo>
                <a:cubicBezTo>
                  <a:pt x="3975" y="1600"/>
                  <a:pt x="4630" y="2256"/>
                  <a:pt x="4630" y="3065"/>
                </a:cubicBezTo>
                <a:cubicBezTo>
                  <a:pt x="4630" y="3874"/>
                  <a:pt x="3975" y="4529"/>
                  <a:pt x="3166" y="4529"/>
                </a:cubicBezTo>
                <a:lnTo>
                  <a:pt x="3166" y="4529"/>
                </a:lnTo>
                <a:close/>
                <a:moveTo>
                  <a:pt x="3166" y="4529"/>
                </a:move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矩形: 圆角 15">
            <a:extLst>
              <a:ext uri="{FF2B5EF4-FFF2-40B4-BE49-F238E27FC236}">
                <a16:creationId xmlns:a16="http://schemas.microsoft.com/office/drawing/2014/main" id="{87D829C4-37C0-40F0-AFCD-4587685EB0AC}"/>
              </a:ext>
            </a:extLst>
          </p:cNvPr>
          <p:cNvSpPr/>
          <p:nvPr/>
        </p:nvSpPr>
        <p:spPr>
          <a:xfrm>
            <a:off x="3515868" y="2511171"/>
            <a:ext cx="2468880" cy="3255264"/>
          </a:xfrm>
          <a:prstGeom prst="roundRect">
            <a:avLst>
              <a:gd name="adj" fmla="val 5926"/>
            </a:avLst>
          </a:prstGeom>
          <a:solidFill>
            <a:schemeClr val="bg1"/>
          </a:solidFill>
          <a:ln w="158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17" name="矩形: 圆角 16">
            <a:extLst>
              <a:ext uri="{FF2B5EF4-FFF2-40B4-BE49-F238E27FC236}">
                <a16:creationId xmlns:a16="http://schemas.microsoft.com/office/drawing/2014/main" id="{1F61750C-0398-47B4-9098-EE165BFA48AF}"/>
              </a:ext>
            </a:extLst>
          </p:cNvPr>
          <p:cNvSpPr/>
          <p:nvPr/>
        </p:nvSpPr>
        <p:spPr>
          <a:xfrm>
            <a:off x="4390308" y="2735109"/>
            <a:ext cx="720000" cy="720000"/>
          </a:xfrm>
          <a:prstGeom prst="roundRect">
            <a:avLst>
              <a:gd name="adj" fmla="val 13544"/>
            </a:avLst>
          </a:prstGeom>
          <a:solidFill>
            <a:schemeClr val="bg1"/>
          </a:solidFill>
          <a:ln w="158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18" name="文本框 17">
            <a:extLst>
              <a:ext uri="{FF2B5EF4-FFF2-40B4-BE49-F238E27FC236}">
                <a16:creationId xmlns:a16="http://schemas.microsoft.com/office/drawing/2014/main" id="{AE97ED83-0B73-4B13-904D-3B768E92145B}"/>
              </a:ext>
            </a:extLst>
          </p:cNvPr>
          <p:cNvSpPr txBox="1"/>
          <p:nvPr/>
        </p:nvSpPr>
        <p:spPr>
          <a:xfrm>
            <a:off x="3980866" y="3657257"/>
            <a:ext cx="1538883" cy="369332"/>
          </a:xfrm>
          <a:prstGeom prst="rect">
            <a:avLst/>
          </a:prstGeom>
          <a:noFill/>
        </p:spPr>
        <p:txBody>
          <a:bodyPr wrap="none" lIns="0" tIns="0" rIns="0" bIns="0" rtlCol="0" anchor="t">
            <a:spAutoFit/>
          </a:bodyPr>
          <a:lstStyle/>
          <a:p>
            <a:pPr algn="ctr"/>
            <a:r>
              <a:rPr lang="zh-CN" altLang="en-US" sz="2400" dirty="0">
                <a:solidFill>
                  <a:schemeClr val="accent1"/>
                </a:solidFill>
                <a:latin typeface="+mj-ea"/>
                <a:ea typeface="+mj-ea"/>
              </a:rPr>
              <a:t>关键词标题</a:t>
            </a:r>
          </a:p>
        </p:txBody>
      </p:sp>
      <p:sp>
        <p:nvSpPr>
          <p:cNvPr id="19" name="文本框 18">
            <a:extLst>
              <a:ext uri="{FF2B5EF4-FFF2-40B4-BE49-F238E27FC236}">
                <a16:creationId xmlns:a16="http://schemas.microsoft.com/office/drawing/2014/main" id="{568BAF40-5A70-4BD8-8977-03EF354ADACA}"/>
              </a:ext>
            </a:extLst>
          </p:cNvPr>
          <p:cNvSpPr txBox="1"/>
          <p:nvPr/>
        </p:nvSpPr>
        <p:spPr>
          <a:xfrm>
            <a:off x="3656836" y="4058658"/>
            <a:ext cx="2270571" cy="299634"/>
          </a:xfrm>
          <a:prstGeom prst="rect">
            <a:avLst/>
          </a:prstGeom>
          <a:noFill/>
        </p:spPr>
        <p:txBody>
          <a:bodyPr wrap="square" lIns="0" tIns="0" rIns="0" bIns="0" rtlCol="0" anchor="t">
            <a:spAutoFit/>
          </a:bodyPr>
          <a:lstStyle/>
          <a:p>
            <a:pPr algn="ctr">
              <a:lnSpc>
                <a:spcPct val="130000"/>
              </a:lnSpc>
            </a:pPr>
            <a:r>
              <a:rPr lang="en-US" altLang="zh-CN" sz="1600" b="0" dirty="0">
                <a:solidFill>
                  <a:schemeClr val="tx1">
                    <a:lumMod val="75000"/>
                    <a:lumOff val="25000"/>
                  </a:schemeClr>
                </a:solidFill>
                <a:effectLst/>
                <a:latin typeface="+mj-ea"/>
                <a:ea typeface="+mj-ea"/>
              </a:rPr>
              <a:t>Lorem ipsum dolor</a:t>
            </a:r>
            <a:endParaRPr lang="zh-CN" altLang="en-US" sz="1600" b="0" dirty="0">
              <a:solidFill>
                <a:schemeClr val="tx1">
                  <a:lumMod val="75000"/>
                  <a:lumOff val="25000"/>
                </a:schemeClr>
              </a:solidFill>
              <a:effectLst/>
              <a:latin typeface="+mj-ea"/>
              <a:ea typeface="+mj-ea"/>
            </a:endParaRPr>
          </a:p>
        </p:txBody>
      </p:sp>
      <p:cxnSp>
        <p:nvCxnSpPr>
          <p:cNvPr id="20" name="直接连接符 19">
            <a:extLst>
              <a:ext uri="{FF2B5EF4-FFF2-40B4-BE49-F238E27FC236}">
                <a16:creationId xmlns:a16="http://schemas.microsoft.com/office/drawing/2014/main" id="{E97283A5-81A9-45F8-B172-9EE91E6D1C81}"/>
              </a:ext>
            </a:extLst>
          </p:cNvPr>
          <p:cNvCxnSpPr/>
          <p:nvPr/>
        </p:nvCxnSpPr>
        <p:spPr>
          <a:xfrm>
            <a:off x="3698558" y="4614863"/>
            <a:ext cx="2095500"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sp>
        <p:nvSpPr>
          <p:cNvPr id="21" name="矩形 20">
            <a:extLst>
              <a:ext uri="{FF2B5EF4-FFF2-40B4-BE49-F238E27FC236}">
                <a16:creationId xmlns:a16="http://schemas.microsoft.com/office/drawing/2014/main" id="{DDDEF66F-F211-4CBD-9F64-5DA347CFCB61}"/>
              </a:ext>
            </a:extLst>
          </p:cNvPr>
          <p:cNvSpPr/>
          <p:nvPr/>
        </p:nvSpPr>
        <p:spPr>
          <a:xfrm>
            <a:off x="5775009" y="4572000"/>
            <a:ext cx="76200" cy="762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22" name="矩形 21">
            <a:extLst>
              <a:ext uri="{FF2B5EF4-FFF2-40B4-BE49-F238E27FC236}">
                <a16:creationId xmlns:a16="http://schemas.microsoft.com/office/drawing/2014/main" id="{791FCEB3-2687-42A5-AE56-46C3E0459167}"/>
              </a:ext>
            </a:extLst>
          </p:cNvPr>
          <p:cNvSpPr/>
          <p:nvPr/>
        </p:nvSpPr>
        <p:spPr>
          <a:xfrm>
            <a:off x="3660459" y="4572000"/>
            <a:ext cx="76200" cy="762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23" name="文本框 22">
            <a:extLst>
              <a:ext uri="{FF2B5EF4-FFF2-40B4-BE49-F238E27FC236}">
                <a16:creationId xmlns:a16="http://schemas.microsoft.com/office/drawing/2014/main" id="{CC8A17DF-E5B5-4C7E-A235-193D72BB1227}"/>
              </a:ext>
            </a:extLst>
          </p:cNvPr>
          <p:cNvSpPr txBox="1"/>
          <p:nvPr/>
        </p:nvSpPr>
        <p:spPr>
          <a:xfrm>
            <a:off x="3656836" y="4817012"/>
            <a:ext cx="2194373" cy="704873"/>
          </a:xfrm>
          <a:prstGeom prst="rect">
            <a:avLst/>
          </a:prstGeom>
          <a:noFill/>
        </p:spPr>
        <p:txBody>
          <a:bodyPr wrap="square" lIns="0" tIns="0" rIns="0" bIns="0" rtlCol="0" anchor="t">
            <a:spAutoFit/>
          </a:bodyPr>
          <a:lstStyle/>
          <a:p>
            <a:pPr algn="ctr">
              <a:lnSpc>
                <a:spcPct val="130000"/>
              </a:lnSpc>
            </a:pPr>
            <a:r>
              <a:rPr lang="en-US" altLang="zh-CN" sz="1200" b="0" dirty="0">
                <a:solidFill>
                  <a:schemeClr val="tx1">
                    <a:lumMod val="75000"/>
                    <a:lumOff val="25000"/>
                  </a:schemeClr>
                </a:solidFill>
                <a:effectLst/>
                <a:latin typeface="+mn-ea"/>
              </a:rPr>
              <a:t>Lorem ipsum dolor sit amet consectetur adipisicing elit sed do eiusmod tempor</a:t>
            </a:r>
            <a:endParaRPr lang="zh-CN" altLang="en-US" sz="1200" b="0" dirty="0">
              <a:solidFill>
                <a:schemeClr val="tx1">
                  <a:lumMod val="75000"/>
                  <a:lumOff val="25000"/>
                </a:schemeClr>
              </a:solidFill>
              <a:effectLst/>
              <a:latin typeface="+mn-ea"/>
            </a:endParaRPr>
          </a:p>
        </p:txBody>
      </p:sp>
      <p:sp>
        <p:nvSpPr>
          <p:cNvPr id="25" name="iconfont-1191-801535">
            <a:extLst>
              <a:ext uri="{FF2B5EF4-FFF2-40B4-BE49-F238E27FC236}">
                <a16:creationId xmlns:a16="http://schemas.microsoft.com/office/drawing/2014/main" id="{E0770730-3F3E-4664-8E3C-FE20613C2BF7}"/>
              </a:ext>
            </a:extLst>
          </p:cNvPr>
          <p:cNvSpPr/>
          <p:nvPr/>
        </p:nvSpPr>
        <p:spPr>
          <a:xfrm>
            <a:off x="4527213" y="2873079"/>
            <a:ext cx="453618" cy="444061"/>
          </a:xfrm>
          <a:custGeom>
            <a:avLst/>
            <a:gdLst>
              <a:gd name="T0" fmla="*/ 2895 w 12754"/>
              <a:gd name="T1" fmla="*/ 3482 h 12486"/>
              <a:gd name="T2" fmla="*/ 6377 w 12754"/>
              <a:gd name="T3" fmla="*/ 0 h 12486"/>
              <a:gd name="T4" fmla="*/ 9859 w 12754"/>
              <a:gd name="T5" fmla="*/ 3482 h 12486"/>
              <a:gd name="T6" fmla="*/ 6377 w 12754"/>
              <a:gd name="T7" fmla="*/ 6963 h 12486"/>
              <a:gd name="T8" fmla="*/ 2895 w 12754"/>
              <a:gd name="T9" fmla="*/ 3482 h 12486"/>
              <a:gd name="T10" fmla="*/ 0 w 12754"/>
              <a:gd name="T11" fmla="*/ 12468 h 12486"/>
              <a:gd name="T12" fmla="*/ 3586 w 12754"/>
              <a:gd name="T13" fmla="*/ 7045 h 12486"/>
              <a:gd name="T14" fmla="*/ 6377 w 12754"/>
              <a:gd name="T15" fmla="*/ 8014 h 12486"/>
              <a:gd name="T16" fmla="*/ 9182 w 12754"/>
              <a:gd name="T17" fmla="*/ 7036 h 12486"/>
              <a:gd name="T18" fmla="*/ 12754 w 12754"/>
              <a:gd name="T19" fmla="*/ 12468 h 12486"/>
              <a:gd name="T20" fmla="*/ 0 w 12754"/>
              <a:gd name="T21" fmla="*/ 12468 h 12486"/>
              <a:gd name="T22" fmla="*/ 0 w 12754"/>
              <a:gd name="T23" fmla="*/ 12468 h 12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754" h="12486">
                <a:moveTo>
                  <a:pt x="2895" y="3482"/>
                </a:moveTo>
                <a:cubicBezTo>
                  <a:pt x="2895" y="1562"/>
                  <a:pt x="4457" y="0"/>
                  <a:pt x="6377" y="0"/>
                </a:cubicBezTo>
                <a:cubicBezTo>
                  <a:pt x="8297" y="0"/>
                  <a:pt x="9859" y="1562"/>
                  <a:pt x="9859" y="3482"/>
                </a:cubicBezTo>
                <a:cubicBezTo>
                  <a:pt x="9859" y="5402"/>
                  <a:pt x="8297" y="6963"/>
                  <a:pt x="6377" y="6963"/>
                </a:cubicBezTo>
                <a:cubicBezTo>
                  <a:pt x="4457" y="6963"/>
                  <a:pt x="2895" y="5402"/>
                  <a:pt x="2895" y="3482"/>
                </a:cubicBezTo>
                <a:close/>
                <a:moveTo>
                  <a:pt x="0" y="12468"/>
                </a:moveTo>
                <a:cubicBezTo>
                  <a:pt x="75" y="11626"/>
                  <a:pt x="479" y="8643"/>
                  <a:pt x="3586" y="7045"/>
                </a:cubicBezTo>
                <a:cubicBezTo>
                  <a:pt x="4356" y="7650"/>
                  <a:pt x="5324" y="8014"/>
                  <a:pt x="6377" y="8014"/>
                </a:cubicBezTo>
                <a:cubicBezTo>
                  <a:pt x="7436" y="8014"/>
                  <a:pt x="8409" y="7647"/>
                  <a:pt x="9182" y="7036"/>
                </a:cubicBezTo>
                <a:cubicBezTo>
                  <a:pt x="12302" y="8627"/>
                  <a:pt x="12678" y="11589"/>
                  <a:pt x="12754" y="12468"/>
                </a:cubicBezTo>
                <a:cubicBezTo>
                  <a:pt x="12736" y="12486"/>
                  <a:pt x="18" y="12470"/>
                  <a:pt x="0" y="12468"/>
                </a:cubicBezTo>
                <a:close/>
                <a:moveTo>
                  <a:pt x="0" y="12468"/>
                </a:move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sp>
        <p:nvSpPr>
          <p:cNvPr id="37" name="矩形: 圆角 36">
            <a:extLst>
              <a:ext uri="{FF2B5EF4-FFF2-40B4-BE49-F238E27FC236}">
                <a16:creationId xmlns:a16="http://schemas.microsoft.com/office/drawing/2014/main" id="{9E5E94B3-B65C-42F3-BA1C-58E7A5C40DAF}"/>
              </a:ext>
            </a:extLst>
          </p:cNvPr>
          <p:cNvSpPr/>
          <p:nvPr/>
        </p:nvSpPr>
        <p:spPr>
          <a:xfrm>
            <a:off x="6207252" y="2511171"/>
            <a:ext cx="2468880" cy="3255264"/>
          </a:xfrm>
          <a:prstGeom prst="roundRect">
            <a:avLst>
              <a:gd name="adj" fmla="val 5926"/>
            </a:avLst>
          </a:prstGeom>
          <a:solidFill>
            <a:schemeClr val="bg1"/>
          </a:solidFill>
          <a:ln w="158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38" name="矩形: 圆角 37">
            <a:extLst>
              <a:ext uri="{FF2B5EF4-FFF2-40B4-BE49-F238E27FC236}">
                <a16:creationId xmlns:a16="http://schemas.microsoft.com/office/drawing/2014/main" id="{CB4D1E2F-AC06-4339-B9D1-DB0E10748860}"/>
              </a:ext>
            </a:extLst>
          </p:cNvPr>
          <p:cNvSpPr/>
          <p:nvPr/>
        </p:nvSpPr>
        <p:spPr>
          <a:xfrm>
            <a:off x="7081692" y="2735109"/>
            <a:ext cx="720000" cy="720000"/>
          </a:xfrm>
          <a:prstGeom prst="roundRect">
            <a:avLst>
              <a:gd name="adj" fmla="val 13544"/>
            </a:avLst>
          </a:prstGeom>
          <a:solidFill>
            <a:schemeClr val="bg1"/>
          </a:solidFill>
          <a:ln w="158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39" name="文本框 38">
            <a:extLst>
              <a:ext uri="{FF2B5EF4-FFF2-40B4-BE49-F238E27FC236}">
                <a16:creationId xmlns:a16="http://schemas.microsoft.com/office/drawing/2014/main" id="{C0601F8D-B490-4107-86F2-46D9300DAF69}"/>
              </a:ext>
            </a:extLst>
          </p:cNvPr>
          <p:cNvSpPr txBox="1"/>
          <p:nvPr/>
        </p:nvSpPr>
        <p:spPr>
          <a:xfrm>
            <a:off x="6672250" y="3657257"/>
            <a:ext cx="1538883" cy="369332"/>
          </a:xfrm>
          <a:prstGeom prst="rect">
            <a:avLst/>
          </a:prstGeom>
          <a:noFill/>
        </p:spPr>
        <p:txBody>
          <a:bodyPr wrap="none" lIns="0" tIns="0" rIns="0" bIns="0" rtlCol="0" anchor="t">
            <a:spAutoFit/>
          </a:bodyPr>
          <a:lstStyle/>
          <a:p>
            <a:pPr algn="ctr"/>
            <a:r>
              <a:rPr lang="zh-CN" altLang="en-US" sz="2400" dirty="0">
                <a:solidFill>
                  <a:schemeClr val="accent1"/>
                </a:solidFill>
                <a:latin typeface="+mj-ea"/>
                <a:ea typeface="+mj-ea"/>
              </a:rPr>
              <a:t>关键词标题</a:t>
            </a:r>
          </a:p>
        </p:txBody>
      </p:sp>
      <p:sp>
        <p:nvSpPr>
          <p:cNvPr id="40" name="文本框 39">
            <a:extLst>
              <a:ext uri="{FF2B5EF4-FFF2-40B4-BE49-F238E27FC236}">
                <a16:creationId xmlns:a16="http://schemas.microsoft.com/office/drawing/2014/main" id="{735FB8AE-FCB5-475E-9BA0-4DACFF3C4960}"/>
              </a:ext>
            </a:extLst>
          </p:cNvPr>
          <p:cNvSpPr txBox="1"/>
          <p:nvPr/>
        </p:nvSpPr>
        <p:spPr>
          <a:xfrm>
            <a:off x="6348220" y="4058658"/>
            <a:ext cx="2270571" cy="299634"/>
          </a:xfrm>
          <a:prstGeom prst="rect">
            <a:avLst/>
          </a:prstGeom>
          <a:noFill/>
        </p:spPr>
        <p:txBody>
          <a:bodyPr wrap="square" lIns="0" tIns="0" rIns="0" bIns="0" rtlCol="0" anchor="t">
            <a:spAutoFit/>
          </a:bodyPr>
          <a:lstStyle/>
          <a:p>
            <a:pPr algn="ctr">
              <a:lnSpc>
                <a:spcPct val="130000"/>
              </a:lnSpc>
            </a:pPr>
            <a:r>
              <a:rPr lang="en-US" altLang="zh-CN" sz="1600" b="0" dirty="0">
                <a:solidFill>
                  <a:schemeClr val="tx1">
                    <a:lumMod val="75000"/>
                    <a:lumOff val="25000"/>
                  </a:schemeClr>
                </a:solidFill>
                <a:effectLst/>
                <a:latin typeface="+mj-ea"/>
                <a:ea typeface="+mj-ea"/>
              </a:rPr>
              <a:t>Lorem ipsum dolor</a:t>
            </a:r>
            <a:endParaRPr lang="zh-CN" altLang="en-US" sz="1600" b="0" dirty="0">
              <a:solidFill>
                <a:schemeClr val="tx1">
                  <a:lumMod val="75000"/>
                  <a:lumOff val="25000"/>
                </a:schemeClr>
              </a:solidFill>
              <a:effectLst/>
              <a:latin typeface="+mj-ea"/>
              <a:ea typeface="+mj-ea"/>
            </a:endParaRPr>
          </a:p>
        </p:txBody>
      </p:sp>
      <p:cxnSp>
        <p:nvCxnSpPr>
          <p:cNvPr id="41" name="直接连接符 40">
            <a:extLst>
              <a:ext uri="{FF2B5EF4-FFF2-40B4-BE49-F238E27FC236}">
                <a16:creationId xmlns:a16="http://schemas.microsoft.com/office/drawing/2014/main" id="{A1F5D329-44E4-4725-A582-183ACB80FECB}"/>
              </a:ext>
            </a:extLst>
          </p:cNvPr>
          <p:cNvCxnSpPr/>
          <p:nvPr/>
        </p:nvCxnSpPr>
        <p:spPr>
          <a:xfrm>
            <a:off x="6389942" y="4614863"/>
            <a:ext cx="2095500"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sp>
        <p:nvSpPr>
          <p:cNvPr id="42" name="矩形 41">
            <a:extLst>
              <a:ext uri="{FF2B5EF4-FFF2-40B4-BE49-F238E27FC236}">
                <a16:creationId xmlns:a16="http://schemas.microsoft.com/office/drawing/2014/main" id="{E79B3FAF-1218-4FBE-B0A5-C59C876D4806}"/>
              </a:ext>
            </a:extLst>
          </p:cNvPr>
          <p:cNvSpPr/>
          <p:nvPr/>
        </p:nvSpPr>
        <p:spPr>
          <a:xfrm>
            <a:off x="8466393" y="4572000"/>
            <a:ext cx="76200" cy="762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43" name="矩形 42">
            <a:extLst>
              <a:ext uri="{FF2B5EF4-FFF2-40B4-BE49-F238E27FC236}">
                <a16:creationId xmlns:a16="http://schemas.microsoft.com/office/drawing/2014/main" id="{B6343DB6-7152-4551-8303-8D5BD8112B32}"/>
              </a:ext>
            </a:extLst>
          </p:cNvPr>
          <p:cNvSpPr/>
          <p:nvPr/>
        </p:nvSpPr>
        <p:spPr>
          <a:xfrm>
            <a:off x="6351843" y="4572000"/>
            <a:ext cx="76200" cy="762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44" name="文本框 43">
            <a:extLst>
              <a:ext uri="{FF2B5EF4-FFF2-40B4-BE49-F238E27FC236}">
                <a16:creationId xmlns:a16="http://schemas.microsoft.com/office/drawing/2014/main" id="{E6A5D7CB-11CC-475A-B1C0-6A308666EB40}"/>
              </a:ext>
            </a:extLst>
          </p:cNvPr>
          <p:cNvSpPr txBox="1"/>
          <p:nvPr/>
        </p:nvSpPr>
        <p:spPr>
          <a:xfrm>
            <a:off x="6348220" y="4817012"/>
            <a:ext cx="2194373" cy="704873"/>
          </a:xfrm>
          <a:prstGeom prst="rect">
            <a:avLst/>
          </a:prstGeom>
          <a:noFill/>
        </p:spPr>
        <p:txBody>
          <a:bodyPr wrap="square" lIns="0" tIns="0" rIns="0" bIns="0" rtlCol="0" anchor="t">
            <a:spAutoFit/>
          </a:bodyPr>
          <a:lstStyle/>
          <a:p>
            <a:pPr algn="ctr">
              <a:lnSpc>
                <a:spcPct val="130000"/>
              </a:lnSpc>
            </a:pPr>
            <a:r>
              <a:rPr lang="en-US" altLang="zh-CN" sz="1200" b="0" dirty="0">
                <a:solidFill>
                  <a:schemeClr val="tx1">
                    <a:lumMod val="75000"/>
                    <a:lumOff val="25000"/>
                  </a:schemeClr>
                </a:solidFill>
                <a:effectLst/>
                <a:latin typeface="+mn-ea"/>
              </a:rPr>
              <a:t>Lorem ipsum dolor sit amet consectetur adipisicing elit sed do eiusmod tempor</a:t>
            </a:r>
            <a:endParaRPr lang="zh-CN" altLang="en-US" sz="1200" b="0" dirty="0">
              <a:solidFill>
                <a:schemeClr val="tx1">
                  <a:lumMod val="75000"/>
                  <a:lumOff val="25000"/>
                </a:schemeClr>
              </a:solidFill>
              <a:effectLst/>
              <a:latin typeface="+mn-ea"/>
            </a:endParaRPr>
          </a:p>
        </p:txBody>
      </p:sp>
      <p:sp>
        <p:nvSpPr>
          <p:cNvPr id="57" name="iconfont-1191-801535">
            <a:extLst>
              <a:ext uri="{FF2B5EF4-FFF2-40B4-BE49-F238E27FC236}">
                <a16:creationId xmlns:a16="http://schemas.microsoft.com/office/drawing/2014/main" id="{7A60CD87-2A39-4BC5-9971-6EA4F571FF18}"/>
              </a:ext>
            </a:extLst>
          </p:cNvPr>
          <p:cNvSpPr/>
          <p:nvPr/>
        </p:nvSpPr>
        <p:spPr>
          <a:xfrm>
            <a:off x="7331973" y="2868301"/>
            <a:ext cx="226867" cy="453618"/>
          </a:xfrm>
          <a:custGeom>
            <a:avLst/>
            <a:gdLst>
              <a:gd name="T0" fmla="*/ 541 w 4094"/>
              <a:gd name="T1" fmla="*/ 4469 h 8186"/>
              <a:gd name="T2" fmla="*/ 541 w 4094"/>
              <a:gd name="T3" fmla="*/ 4465 h 8186"/>
              <a:gd name="T4" fmla="*/ 3524 w 4094"/>
              <a:gd name="T5" fmla="*/ 4467 h 8186"/>
              <a:gd name="T6" fmla="*/ 3535 w 4094"/>
              <a:gd name="T7" fmla="*/ 4465 h 8186"/>
              <a:gd name="T8" fmla="*/ 4094 w 4094"/>
              <a:gd name="T9" fmla="*/ 5023 h 8186"/>
              <a:gd name="T10" fmla="*/ 3986 w 4094"/>
              <a:gd name="T11" fmla="*/ 5332 h 8186"/>
              <a:gd name="T12" fmla="*/ 3997 w 4094"/>
              <a:gd name="T13" fmla="*/ 5339 h 8186"/>
              <a:gd name="T14" fmla="*/ 3987 w 4094"/>
              <a:gd name="T15" fmla="*/ 5357 h 8186"/>
              <a:gd name="T16" fmla="*/ 3991 w 4094"/>
              <a:gd name="T17" fmla="*/ 5359 h 8186"/>
              <a:gd name="T18" fmla="*/ 2565 w 4094"/>
              <a:gd name="T19" fmla="*/ 7829 h 8186"/>
              <a:gd name="T20" fmla="*/ 2519 w 4094"/>
              <a:gd name="T21" fmla="*/ 7908 h 8186"/>
              <a:gd name="T22" fmla="*/ 2503 w 4094"/>
              <a:gd name="T23" fmla="*/ 7935 h 8186"/>
              <a:gd name="T24" fmla="*/ 2502 w 4094"/>
              <a:gd name="T25" fmla="*/ 7934 h 8186"/>
              <a:gd name="T26" fmla="*/ 2047 w 4094"/>
              <a:gd name="T27" fmla="*/ 8186 h 8186"/>
              <a:gd name="T28" fmla="*/ 1562 w 4094"/>
              <a:gd name="T29" fmla="*/ 7876 h 8186"/>
              <a:gd name="T30" fmla="*/ 97 w 4094"/>
              <a:gd name="T31" fmla="*/ 5339 h 8186"/>
              <a:gd name="T32" fmla="*/ 109 w 4094"/>
              <a:gd name="T33" fmla="*/ 5331 h 8186"/>
              <a:gd name="T34" fmla="*/ 1 w 4094"/>
              <a:gd name="T35" fmla="*/ 5023 h 8186"/>
              <a:gd name="T36" fmla="*/ 541 w 4094"/>
              <a:gd name="T37" fmla="*/ 4469 h 8186"/>
              <a:gd name="T38" fmla="*/ 541 w 4094"/>
              <a:gd name="T39" fmla="*/ 4469 h 8186"/>
              <a:gd name="T40" fmla="*/ 541 w 4094"/>
              <a:gd name="T41" fmla="*/ 4469 h 8186"/>
              <a:gd name="T42" fmla="*/ 2047 w 4094"/>
              <a:gd name="T43" fmla="*/ 7228 h 8186"/>
              <a:gd name="T44" fmla="*/ 3213 w 4094"/>
              <a:gd name="T45" fmla="*/ 5209 h 8186"/>
              <a:gd name="T46" fmla="*/ 882 w 4094"/>
              <a:gd name="T47" fmla="*/ 5209 h 8186"/>
              <a:gd name="T48" fmla="*/ 2047 w 4094"/>
              <a:gd name="T49" fmla="*/ 7228 h 8186"/>
              <a:gd name="T50" fmla="*/ 3554 w 4094"/>
              <a:gd name="T51" fmla="*/ 3717 h 8186"/>
              <a:gd name="T52" fmla="*/ 3554 w 4094"/>
              <a:gd name="T53" fmla="*/ 3721 h 8186"/>
              <a:gd name="T54" fmla="*/ 579 w 4094"/>
              <a:gd name="T55" fmla="*/ 3721 h 8186"/>
              <a:gd name="T56" fmla="*/ 579 w 4094"/>
              <a:gd name="T57" fmla="*/ 3717 h 8186"/>
              <a:gd name="T58" fmla="*/ 559 w 4094"/>
              <a:gd name="T59" fmla="*/ 3721 h 8186"/>
              <a:gd name="T60" fmla="*/ 0 w 4094"/>
              <a:gd name="T61" fmla="*/ 3163 h 8186"/>
              <a:gd name="T62" fmla="*/ 118 w 4094"/>
              <a:gd name="T63" fmla="*/ 2835 h 8186"/>
              <a:gd name="T64" fmla="*/ 104 w 4094"/>
              <a:gd name="T65" fmla="*/ 2827 h 8186"/>
              <a:gd name="T66" fmla="*/ 1529 w 4094"/>
              <a:gd name="T67" fmla="*/ 357 h 8186"/>
              <a:gd name="T68" fmla="*/ 1576 w 4094"/>
              <a:gd name="T69" fmla="*/ 277 h 8186"/>
              <a:gd name="T70" fmla="*/ 1591 w 4094"/>
              <a:gd name="T71" fmla="*/ 251 h 8186"/>
              <a:gd name="T72" fmla="*/ 1593 w 4094"/>
              <a:gd name="T73" fmla="*/ 252 h 8186"/>
              <a:gd name="T74" fmla="*/ 2047 w 4094"/>
              <a:gd name="T75" fmla="*/ 0 h 8186"/>
              <a:gd name="T76" fmla="*/ 2570 w 4094"/>
              <a:gd name="T77" fmla="*/ 384 h 8186"/>
              <a:gd name="T78" fmla="*/ 3967 w 4094"/>
              <a:gd name="T79" fmla="*/ 2803 h 8186"/>
              <a:gd name="T80" fmla="*/ 3958 w 4094"/>
              <a:gd name="T81" fmla="*/ 2809 h 8186"/>
              <a:gd name="T82" fmla="*/ 4093 w 4094"/>
              <a:gd name="T83" fmla="*/ 3163 h 8186"/>
              <a:gd name="T84" fmla="*/ 3554 w 4094"/>
              <a:gd name="T85" fmla="*/ 3717 h 8186"/>
              <a:gd name="T86" fmla="*/ 3554 w 4094"/>
              <a:gd name="T87" fmla="*/ 3717 h 8186"/>
              <a:gd name="T88" fmla="*/ 3554 w 4094"/>
              <a:gd name="T89" fmla="*/ 3717 h 8186"/>
              <a:gd name="T90" fmla="*/ 3554 w 4094"/>
              <a:gd name="T91" fmla="*/ 3717 h 8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094" h="8186">
                <a:moveTo>
                  <a:pt x="541" y="4469"/>
                </a:moveTo>
                <a:lnTo>
                  <a:pt x="541" y="4465"/>
                </a:lnTo>
                <a:lnTo>
                  <a:pt x="3524" y="4467"/>
                </a:lnTo>
                <a:cubicBezTo>
                  <a:pt x="3528" y="4466"/>
                  <a:pt x="3531" y="4465"/>
                  <a:pt x="3535" y="4465"/>
                </a:cubicBezTo>
                <a:cubicBezTo>
                  <a:pt x="3844" y="4465"/>
                  <a:pt x="4094" y="4715"/>
                  <a:pt x="4094" y="5023"/>
                </a:cubicBezTo>
                <a:cubicBezTo>
                  <a:pt x="4094" y="5141"/>
                  <a:pt x="4049" y="5243"/>
                  <a:pt x="3986" y="5332"/>
                </a:cubicBezTo>
                <a:lnTo>
                  <a:pt x="3997" y="5339"/>
                </a:lnTo>
                <a:lnTo>
                  <a:pt x="3987" y="5357"/>
                </a:lnTo>
                <a:lnTo>
                  <a:pt x="3991" y="5359"/>
                </a:lnTo>
                <a:lnTo>
                  <a:pt x="2565" y="7829"/>
                </a:lnTo>
                <a:cubicBezTo>
                  <a:pt x="2553" y="7858"/>
                  <a:pt x="2535" y="7882"/>
                  <a:pt x="2519" y="7908"/>
                </a:cubicBezTo>
                <a:lnTo>
                  <a:pt x="2503" y="7935"/>
                </a:lnTo>
                <a:lnTo>
                  <a:pt x="2502" y="7934"/>
                </a:lnTo>
                <a:cubicBezTo>
                  <a:pt x="2401" y="8082"/>
                  <a:pt x="2240" y="8186"/>
                  <a:pt x="2047" y="8186"/>
                </a:cubicBezTo>
                <a:cubicBezTo>
                  <a:pt x="1831" y="8186"/>
                  <a:pt x="1653" y="8057"/>
                  <a:pt x="1562" y="7876"/>
                </a:cubicBezTo>
                <a:lnTo>
                  <a:pt x="97" y="5339"/>
                </a:lnTo>
                <a:lnTo>
                  <a:pt x="109" y="5331"/>
                </a:lnTo>
                <a:cubicBezTo>
                  <a:pt x="46" y="5243"/>
                  <a:pt x="1" y="5141"/>
                  <a:pt x="1" y="5023"/>
                </a:cubicBezTo>
                <a:cubicBezTo>
                  <a:pt x="0" y="4721"/>
                  <a:pt x="241" y="4479"/>
                  <a:pt x="541" y="4469"/>
                </a:cubicBezTo>
                <a:lnTo>
                  <a:pt x="541" y="4469"/>
                </a:lnTo>
                <a:lnTo>
                  <a:pt x="541" y="4469"/>
                </a:lnTo>
                <a:close/>
                <a:moveTo>
                  <a:pt x="2047" y="7228"/>
                </a:moveTo>
                <a:lnTo>
                  <a:pt x="3213" y="5209"/>
                </a:lnTo>
                <a:lnTo>
                  <a:pt x="882" y="5209"/>
                </a:lnTo>
                <a:lnTo>
                  <a:pt x="2047" y="7228"/>
                </a:lnTo>
                <a:close/>
                <a:moveTo>
                  <a:pt x="3554" y="3717"/>
                </a:moveTo>
                <a:lnTo>
                  <a:pt x="3554" y="3721"/>
                </a:lnTo>
                <a:lnTo>
                  <a:pt x="579" y="3721"/>
                </a:lnTo>
                <a:lnTo>
                  <a:pt x="579" y="3717"/>
                </a:lnTo>
                <a:cubicBezTo>
                  <a:pt x="572" y="3717"/>
                  <a:pt x="566" y="3721"/>
                  <a:pt x="559" y="3721"/>
                </a:cubicBezTo>
                <a:cubicBezTo>
                  <a:pt x="250" y="3721"/>
                  <a:pt x="0" y="3471"/>
                  <a:pt x="0" y="3163"/>
                </a:cubicBezTo>
                <a:cubicBezTo>
                  <a:pt x="0" y="3038"/>
                  <a:pt x="49" y="2928"/>
                  <a:pt x="118" y="2835"/>
                </a:cubicBezTo>
                <a:lnTo>
                  <a:pt x="104" y="2827"/>
                </a:lnTo>
                <a:lnTo>
                  <a:pt x="1529" y="357"/>
                </a:lnTo>
                <a:cubicBezTo>
                  <a:pt x="1541" y="328"/>
                  <a:pt x="1560" y="304"/>
                  <a:pt x="1576" y="277"/>
                </a:cubicBezTo>
                <a:lnTo>
                  <a:pt x="1591" y="251"/>
                </a:lnTo>
                <a:lnTo>
                  <a:pt x="1593" y="252"/>
                </a:lnTo>
                <a:cubicBezTo>
                  <a:pt x="1693" y="103"/>
                  <a:pt x="1854" y="0"/>
                  <a:pt x="2047" y="0"/>
                </a:cubicBezTo>
                <a:cubicBezTo>
                  <a:pt x="2293" y="0"/>
                  <a:pt x="2496" y="162"/>
                  <a:pt x="2570" y="384"/>
                </a:cubicBezTo>
                <a:lnTo>
                  <a:pt x="3967" y="2803"/>
                </a:lnTo>
                <a:lnTo>
                  <a:pt x="3958" y="2809"/>
                </a:lnTo>
                <a:cubicBezTo>
                  <a:pt x="4039" y="2906"/>
                  <a:pt x="4093" y="3026"/>
                  <a:pt x="4093" y="3163"/>
                </a:cubicBezTo>
                <a:cubicBezTo>
                  <a:pt x="4094" y="3465"/>
                  <a:pt x="3853" y="3707"/>
                  <a:pt x="3554" y="3717"/>
                </a:cubicBezTo>
                <a:lnTo>
                  <a:pt x="3554" y="3717"/>
                </a:lnTo>
                <a:lnTo>
                  <a:pt x="3554" y="3717"/>
                </a:lnTo>
                <a:close/>
                <a:moveTo>
                  <a:pt x="3554" y="3717"/>
                </a:move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sp>
        <p:nvSpPr>
          <p:cNvPr id="47" name="矩形: 圆角 46">
            <a:extLst>
              <a:ext uri="{FF2B5EF4-FFF2-40B4-BE49-F238E27FC236}">
                <a16:creationId xmlns:a16="http://schemas.microsoft.com/office/drawing/2014/main" id="{8D1CE6C4-3A58-4AB0-AD2A-58C90A10B6D8}"/>
              </a:ext>
            </a:extLst>
          </p:cNvPr>
          <p:cNvSpPr/>
          <p:nvPr/>
        </p:nvSpPr>
        <p:spPr>
          <a:xfrm>
            <a:off x="8898636" y="2511171"/>
            <a:ext cx="2468880" cy="3255264"/>
          </a:xfrm>
          <a:prstGeom prst="roundRect">
            <a:avLst>
              <a:gd name="adj" fmla="val 5926"/>
            </a:avLst>
          </a:prstGeom>
          <a:solidFill>
            <a:schemeClr val="bg1"/>
          </a:solidFill>
          <a:ln w="158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48" name="矩形: 圆角 47">
            <a:extLst>
              <a:ext uri="{FF2B5EF4-FFF2-40B4-BE49-F238E27FC236}">
                <a16:creationId xmlns:a16="http://schemas.microsoft.com/office/drawing/2014/main" id="{6B230123-895C-4707-B9DF-B58DE1FB044E}"/>
              </a:ext>
            </a:extLst>
          </p:cNvPr>
          <p:cNvSpPr/>
          <p:nvPr/>
        </p:nvSpPr>
        <p:spPr>
          <a:xfrm>
            <a:off x="9773076" y="2735109"/>
            <a:ext cx="720000" cy="720000"/>
          </a:xfrm>
          <a:prstGeom prst="roundRect">
            <a:avLst>
              <a:gd name="adj" fmla="val 13544"/>
            </a:avLst>
          </a:prstGeom>
          <a:solidFill>
            <a:schemeClr val="bg1"/>
          </a:solidFill>
          <a:ln w="158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49" name="文本框 48">
            <a:extLst>
              <a:ext uri="{FF2B5EF4-FFF2-40B4-BE49-F238E27FC236}">
                <a16:creationId xmlns:a16="http://schemas.microsoft.com/office/drawing/2014/main" id="{B62CBFDF-3410-4121-A05C-0DBABED90B2B}"/>
              </a:ext>
            </a:extLst>
          </p:cNvPr>
          <p:cNvSpPr txBox="1"/>
          <p:nvPr/>
        </p:nvSpPr>
        <p:spPr>
          <a:xfrm>
            <a:off x="9363634" y="3657257"/>
            <a:ext cx="1538883" cy="369332"/>
          </a:xfrm>
          <a:prstGeom prst="rect">
            <a:avLst/>
          </a:prstGeom>
          <a:noFill/>
        </p:spPr>
        <p:txBody>
          <a:bodyPr wrap="none" lIns="0" tIns="0" rIns="0" bIns="0" rtlCol="0" anchor="t">
            <a:spAutoFit/>
          </a:bodyPr>
          <a:lstStyle/>
          <a:p>
            <a:pPr algn="ctr"/>
            <a:r>
              <a:rPr lang="zh-CN" altLang="en-US" sz="2400" dirty="0">
                <a:solidFill>
                  <a:schemeClr val="accent1"/>
                </a:solidFill>
                <a:latin typeface="+mj-ea"/>
                <a:ea typeface="+mj-ea"/>
              </a:rPr>
              <a:t>关键词标题</a:t>
            </a:r>
          </a:p>
        </p:txBody>
      </p:sp>
      <p:sp>
        <p:nvSpPr>
          <p:cNvPr id="50" name="文本框 49">
            <a:extLst>
              <a:ext uri="{FF2B5EF4-FFF2-40B4-BE49-F238E27FC236}">
                <a16:creationId xmlns:a16="http://schemas.microsoft.com/office/drawing/2014/main" id="{51F2930B-BC34-4C3A-BBC3-76E28779E21A}"/>
              </a:ext>
            </a:extLst>
          </p:cNvPr>
          <p:cNvSpPr txBox="1"/>
          <p:nvPr/>
        </p:nvSpPr>
        <p:spPr>
          <a:xfrm>
            <a:off x="9039604" y="4058658"/>
            <a:ext cx="2270571" cy="299634"/>
          </a:xfrm>
          <a:prstGeom prst="rect">
            <a:avLst/>
          </a:prstGeom>
          <a:noFill/>
        </p:spPr>
        <p:txBody>
          <a:bodyPr wrap="square" lIns="0" tIns="0" rIns="0" bIns="0" rtlCol="0" anchor="t">
            <a:spAutoFit/>
          </a:bodyPr>
          <a:lstStyle/>
          <a:p>
            <a:pPr algn="ctr">
              <a:lnSpc>
                <a:spcPct val="130000"/>
              </a:lnSpc>
            </a:pPr>
            <a:r>
              <a:rPr lang="en-US" altLang="zh-CN" sz="1600" b="0" dirty="0">
                <a:solidFill>
                  <a:schemeClr val="tx1">
                    <a:lumMod val="75000"/>
                    <a:lumOff val="25000"/>
                  </a:schemeClr>
                </a:solidFill>
                <a:effectLst/>
                <a:latin typeface="+mj-ea"/>
                <a:ea typeface="+mj-ea"/>
              </a:rPr>
              <a:t>Lorem ipsum dolor</a:t>
            </a:r>
            <a:endParaRPr lang="zh-CN" altLang="en-US" sz="1600" b="0" dirty="0">
              <a:solidFill>
                <a:schemeClr val="tx1">
                  <a:lumMod val="75000"/>
                  <a:lumOff val="25000"/>
                </a:schemeClr>
              </a:solidFill>
              <a:effectLst/>
              <a:latin typeface="+mj-ea"/>
              <a:ea typeface="+mj-ea"/>
            </a:endParaRPr>
          </a:p>
        </p:txBody>
      </p:sp>
      <p:cxnSp>
        <p:nvCxnSpPr>
          <p:cNvPr id="51" name="直接连接符 50">
            <a:extLst>
              <a:ext uri="{FF2B5EF4-FFF2-40B4-BE49-F238E27FC236}">
                <a16:creationId xmlns:a16="http://schemas.microsoft.com/office/drawing/2014/main" id="{47B1997A-915A-4E9B-B00A-6A30CEC029E5}"/>
              </a:ext>
            </a:extLst>
          </p:cNvPr>
          <p:cNvCxnSpPr/>
          <p:nvPr/>
        </p:nvCxnSpPr>
        <p:spPr>
          <a:xfrm>
            <a:off x="9081326" y="4614863"/>
            <a:ext cx="2095500"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sp>
        <p:nvSpPr>
          <p:cNvPr id="52" name="矩形 51">
            <a:extLst>
              <a:ext uri="{FF2B5EF4-FFF2-40B4-BE49-F238E27FC236}">
                <a16:creationId xmlns:a16="http://schemas.microsoft.com/office/drawing/2014/main" id="{02453E6A-CA30-4C04-8C2A-DA40CA9E4C81}"/>
              </a:ext>
            </a:extLst>
          </p:cNvPr>
          <p:cNvSpPr/>
          <p:nvPr/>
        </p:nvSpPr>
        <p:spPr>
          <a:xfrm>
            <a:off x="11157777" y="4572000"/>
            <a:ext cx="76200" cy="762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53" name="矩形 52">
            <a:extLst>
              <a:ext uri="{FF2B5EF4-FFF2-40B4-BE49-F238E27FC236}">
                <a16:creationId xmlns:a16="http://schemas.microsoft.com/office/drawing/2014/main" id="{EC2666AA-5A0D-4198-8467-72FF524A0F3B}"/>
              </a:ext>
            </a:extLst>
          </p:cNvPr>
          <p:cNvSpPr/>
          <p:nvPr/>
        </p:nvSpPr>
        <p:spPr>
          <a:xfrm>
            <a:off x="9043227" y="4572000"/>
            <a:ext cx="76200" cy="762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54" name="文本框 53">
            <a:extLst>
              <a:ext uri="{FF2B5EF4-FFF2-40B4-BE49-F238E27FC236}">
                <a16:creationId xmlns:a16="http://schemas.microsoft.com/office/drawing/2014/main" id="{8CE39709-19CD-4847-A0F5-5C688AA1BC19}"/>
              </a:ext>
            </a:extLst>
          </p:cNvPr>
          <p:cNvSpPr txBox="1"/>
          <p:nvPr/>
        </p:nvSpPr>
        <p:spPr>
          <a:xfrm>
            <a:off x="9039604" y="4817012"/>
            <a:ext cx="2194373" cy="704873"/>
          </a:xfrm>
          <a:prstGeom prst="rect">
            <a:avLst/>
          </a:prstGeom>
          <a:noFill/>
        </p:spPr>
        <p:txBody>
          <a:bodyPr wrap="square" lIns="0" tIns="0" rIns="0" bIns="0" rtlCol="0" anchor="t">
            <a:spAutoFit/>
          </a:bodyPr>
          <a:lstStyle/>
          <a:p>
            <a:pPr algn="ctr">
              <a:lnSpc>
                <a:spcPct val="130000"/>
              </a:lnSpc>
            </a:pPr>
            <a:r>
              <a:rPr lang="en-US" altLang="zh-CN" sz="1200" b="0" dirty="0">
                <a:solidFill>
                  <a:schemeClr val="tx1">
                    <a:lumMod val="75000"/>
                    <a:lumOff val="25000"/>
                  </a:schemeClr>
                </a:solidFill>
                <a:effectLst/>
                <a:latin typeface="+mn-ea"/>
              </a:rPr>
              <a:t>Lorem ipsum dolor sit amet consectetur adipisicing elit sed do eiusmod tempor</a:t>
            </a:r>
            <a:endParaRPr lang="zh-CN" altLang="en-US" sz="1200" b="0" dirty="0">
              <a:solidFill>
                <a:schemeClr val="tx1">
                  <a:lumMod val="75000"/>
                  <a:lumOff val="25000"/>
                </a:schemeClr>
              </a:solidFill>
              <a:effectLst/>
              <a:latin typeface="+mn-ea"/>
            </a:endParaRPr>
          </a:p>
        </p:txBody>
      </p:sp>
      <p:sp>
        <p:nvSpPr>
          <p:cNvPr id="58" name="iconfont-1191-801535">
            <a:extLst>
              <a:ext uri="{FF2B5EF4-FFF2-40B4-BE49-F238E27FC236}">
                <a16:creationId xmlns:a16="http://schemas.microsoft.com/office/drawing/2014/main" id="{35A802D1-4F32-4855-83AA-A64C2B747C9A}"/>
              </a:ext>
            </a:extLst>
          </p:cNvPr>
          <p:cNvSpPr/>
          <p:nvPr/>
        </p:nvSpPr>
        <p:spPr>
          <a:xfrm>
            <a:off x="9919448" y="2868301"/>
            <a:ext cx="434683" cy="453618"/>
          </a:xfrm>
          <a:custGeom>
            <a:avLst/>
            <a:gdLst>
              <a:gd name="T0" fmla="*/ 6616 w 7940"/>
              <a:gd name="T1" fmla="*/ 8286 h 8286"/>
              <a:gd name="T2" fmla="*/ 6616 w 7940"/>
              <a:gd name="T3" fmla="*/ 4638 h 8286"/>
              <a:gd name="T4" fmla="*/ 5734 w 7940"/>
              <a:gd name="T5" fmla="*/ 3726 h 8286"/>
              <a:gd name="T6" fmla="*/ 2205 w 7940"/>
              <a:gd name="T7" fmla="*/ 3726 h 8286"/>
              <a:gd name="T8" fmla="*/ 1323 w 7940"/>
              <a:gd name="T9" fmla="*/ 4638 h 8286"/>
              <a:gd name="T10" fmla="*/ 1323 w 7940"/>
              <a:gd name="T11" fmla="*/ 8286 h 8286"/>
              <a:gd name="T12" fmla="*/ 0 w 7940"/>
              <a:gd name="T13" fmla="*/ 8286 h 8286"/>
              <a:gd name="T14" fmla="*/ 0 w 7940"/>
              <a:gd name="T15" fmla="*/ 2359 h 8286"/>
              <a:gd name="T16" fmla="*/ 3970 w 7940"/>
              <a:gd name="T17" fmla="*/ 0 h 8286"/>
              <a:gd name="T18" fmla="*/ 7940 w 7940"/>
              <a:gd name="T19" fmla="*/ 2359 h 8286"/>
              <a:gd name="T20" fmla="*/ 7940 w 7940"/>
              <a:gd name="T21" fmla="*/ 8286 h 8286"/>
              <a:gd name="T22" fmla="*/ 6616 w 7940"/>
              <a:gd name="T23" fmla="*/ 8286 h 8286"/>
              <a:gd name="T24" fmla="*/ 5734 w 7940"/>
              <a:gd name="T25" fmla="*/ 5550 h 8286"/>
              <a:gd name="T26" fmla="*/ 2205 w 7940"/>
              <a:gd name="T27" fmla="*/ 5550 h 8286"/>
              <a:gd name="T28" fmla="*/ 2205 w 7940"/>
              <a:gd name="T29" fmla="*/ 4638 h 8286"/>
              <a:gd name="T30" fmla="*/ 5734 w 7940"/>
              <a:gd name="T31" fmla="*/ 4638 h 8286"/>
              <a:gd name="T32" fmla="*/ 5734 w 7940"/>
              <a:gd name="T33" fmla="*/ 5550 h 8286"/>
              <a:gd name="T34" fmla="*/ 5734 w 7940"/>
              <a:gd name="T35" fmla="*/ 6918 h 8286"/>
              <a:gd name="T36" fmla="*/ 2205 w 7940"/>
              <a:gd name="T37" fmla="*/ 6918 h 8286"/>
              <a:gd name="T38" fmla="*/ 2205 w 7940"/>
              <a:gd name="T39" fmla="*/ 6006 h 8286"/>
              <a:gd name="T40" fmla="*/ 5734 w 7940"/>
              <a:gd name="T41" fmla="*/ 6006 h 8286"/>
              <a:gd name="T42" fmla="*/ 5734 w 7940"/>
              <a:gd name="T43" fmla="*/ 6918 h 8286"/>
              <a:gd name="T44" fmla="*/ 5734 w 7940"/>
              <a:gd name="T45" fmla="*/ 8286 h 8286"/>
              <a:gd name="T46" fmla="*/ 2205 w 7940"/>
              <a:gd name="T47" fmla="*/ 8286 h 8286"/>
              <a:gd name="T48" fmla="*/ 2205 w 7940"/>
              <a:gd name="T49" fmla="*/ 7374 h 8286"/>
              <a:gd name="T50" fmla="*/ 5734 w 7940"/>
              <a:gd name="T51" fmla="*/ 7374 h 8286"/>
              <a:gd name="T52" fmla="*/ 5734 w 7940"/>
              <a:gd name="T53" fmla="*/ 8286 h 8286"/>
              <a:gd name="T54" fmla="*/ 5734 w 7940"/>
              <a:gd name="T55" fmla="*/ 8286 h 8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940" h="8286">
                <a:moveTo>
                  <a:pt x="6616" y="8286"/>
                </a:moveTo>
                <a:lnTo>
                  <a:pt x="6616" y="4638"/>
                </a:lnTo>
                <a:cubicBezTo>
                  <a:pt x="6616" y="4135"/>
                  <a:pt x="6222" y="3726"/>
                  <a:pt x="5734" y="3726"/>
                </a:cubicBezTo>
                <a:lnTo>
                  <a:pt x="2205" y="3726"/>
                </a:lnTo>
                <a:cubicBezTo>
                  <a:pt x="1718" y="3726"/>
                  <a:pt x="1323" y="4135"/>
                  <a:pt x="1323" y="4638"/>
                </a:cubicBezTo>
                <a:lnTo>
                  <a:pt x="1323" y="8286"/>
                </a:lnTo>
                <a:lnTo>
                  <a:pt x="0" y="8286"/>
                </a:lnTo>
                <a:lnTo>
                  <a:pt x="0" y="2359"/>
                </a:lnTo>
                <a:lnTo>
                  <a:pt x="3970" y="0"/>
                </a:lnTo>
                <a:lnTo>
                  <a:pt x="7940" y="2359"/>
                </a:lnTo>
                <a:lnTo>
                  <a:pt x="7940" y="8286"/>
                </a:lnTo>
                <a:lnTo>
                  <a:pt x="6616" y="8286"/>
                </a:lnTo>
                <a:close/>
                <a:moveTo>
                  <a:pt x="5734" y="5550"/>
                </a:moveTo>
                <a:lnTo>
                  <a:pt x="2205" y="5550"/>
                </a:lnTo>
                <a:lnTo>
                  <a:pt x="2205" y="4638"/>
                </a:lnTo>
                <a:lnTo>
                  <a:pt x="5734" y="4638"/>
                </a:lnTo>
                <a:lnTo>
                  <a:pt x="5734" y="5550"/>
                </a:lnTo>
                <a:close/>
                <a:moveTo>
                  <a:pt x="5734" y="6918"/>
                </a:moveTo>
                <a:lnTo>
                  <a:pt x="2205" y="6918"/>
                </a:lnTo>
                <a:lnTo>
                  <a:pt x="2205" y="6006"/>
                </a:lnTo>
                <a:lnTo>
                  <a:pt x="5734" y="6006"/>
                </a:lnTo>
                <a:lnTo>
                  <a:pt x="5734" y="6918"/>
                </a:lnTo>
                <a:close/>
                <a:moveTo>
                  <a:pt x="5734" y="8286"/>
                </a:moveTo>
                <a:lnTo>
                  <a:pt x="2205" y="8286"/>
                </a:lnTo>
                <a:lnTo>
                  <a:pt x="2205" y="7374"/>
                </a:lnTo>
                <a:lnTo>
                  <a:pt x="5734" y="7374"/>
                </a:lnTo>
                <a:lnTo>
                  <a:pt x="5734" y="8286"/>
                </a:lnTo>
                <a:close/>
                <a:moveTo>
                  <a:pt x="5734" y="8286"/>
                </a:move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spTree>
    <p:custDataLst>
      <p:tags r:id="rId2"/>
    </p:custDataLst>
    <p:extLst>
      <p:ext uri="{BB962C8B-B14F-4D97-AF65-F5344CB8AC3E}">
        <p14:creationId xmlns:p14="http://schemas.microsoft.com/office/powerpoint/2010/main" val="1775809870"/>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2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矩形: 圆角 2">
            <a:extLst>
              <a:ext uri="{FF2B5EF4-FFF2-40B4-BE49-F238E27FC236}">
                <a16:creationId xmlns:a16="http://schemas.microsoft.com/office/drawing/2014/main" id="{18AC62EC-E98F-46FC-A539-AA0067AFDA0D}"/>
              </a:ext>
            </a:extLst>
          </p:cNvPr>
          <p:cNvSpPr/>
          <p:nvPr>
            <p:custDataLst>
              <p:tags r:id="rId2"/>
            </p:custDataLst>
          </p:nvPr>
        </p:nvSpPr>
        <p:spPr>
          <a:xfrm>
            <a:off x="2875921" y="1247942"/>
            <a:ext cx="6284302" cy="1311857"/>
          </a:xfrm>
          <a:prstGeom prst="roundRect">
            <a:avLst>
              <a:gd name="adj" fmla="val 5303"/>
            </a:avLst>
          </a:prstGeom>
          <a:gradFill>
            <a:gsLst>
              <a:gs pos="0">
                <a:schemeClr val="bg1"/>
              </a:gs>
              <a:gs pos="100000">
                <a:schemeClr val="bg1">
                  <a:lumMod val="95000"/>
                </a:schemeClr>
              </a:gs>
            </a:gsLst>
            <a:lin ang="2700000" scaled="0"/>
          </a:gradFill>
          <a:ln w="1143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82296" tIns="41148" rIns="82296" bIns="41148" rtlCol="0" anchor="ctr"/>
          <a:lstStyle/>
          <a:p>
            <a:pPr algn="l"/>
            <a:endParaRPr lang="zh-CN" altLang="en-US" sz="1440">
              <a:solidFill>
                <a:schemeClr val="bg1"/>
              </a:solidFill>
              <a:latin typeface="+mj-ea"/>
              <a:ea typeface="+mj-ea"/>
            </a:endParaRPr>
          </a:p>
        </p:txBody>
      </p:sp>
      <p:sp>
        <p:nvSpPr>
          <p:cNvPr id="4" name="箭头: 下 3">
            <a:extLst>
              <a:ext uri="{FF2B5EF4-FFF2-40B4-BE49-F238E27FC236}">
                <a16:creationId xmlns:a16="http://schemas.microsoft.com/office/drawing/2014/main" id="{758EBC4A-54A7-49A1-950B-2758A177665C}"/>
              </a:ext>
            </a:extLst>
          </p:cNvPr>
          <p:cNvSpPr/>
          <p:nvPr/>
        </p:nvSpPr>
        <p:spPr>
          <a:xfrm>
            <a:off x="3294491" y="1127926"/>
            <a:ext cx="612934" cy="1013534"/>
          </a:xfrm>
          <a:prstGeom prst="downArrow">
            <a:avLst>
              <a:gd name="adj1" fmla="val 100000"/>
              <a:gd name="adj2" fmla="val 50000"/>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82296" tIns="41148" rIns="82296" bIns="41148" rtlCol="0" anchor="ctr"/>
          <a:lstStyle/>
          <a:p>
            <a:pPr algn="l"/>
            <a:endParaRPr lang="zh-CN" altLang="en-US" sz="1440">
              <a:solidFill>
                <a:schemeClr val="bg1"/>
              </a:solidFill>
              <a:latin typeface="+mj-ea"/>
              <a:ea typeface="+mj-ea"/>
            </a:endParaRPr>
          </a:p>
        </p:txBody>
      </p:sp>
      <p:sp>
        <p:nvSpPr>
          <p:cNvPr id="5" name="直角三角形 4">
            <a:extLst>
              <a:ext uri="{FF2B5EF4-FFF2-40B4-BE49-F238E27FC236}">
                <a16:creationId xmlns:a16="http://schemas.microsoft.com/office/drawing/2014/main" id="{CC237BA0-B9AD-4D36-8845-3A34BE48F73C}"/>
              </a:ext>
            </a:extLst>
          </p:cNvPr>
          <p:cNvSpPr/>
          <p:nvPr/>
        </p:nvSpPr>
        <p:spPr>
          <a:xfrm rot="10800000" flipV="1">
            <a:off x="3222433" y="1129258"/>
            <a:ext cx="72867" cy="120016"/>
          </a:xfrm>
          <a:prstGeom prst="rtTriangle">
            <a:avLst/>
          </a:prstGeom>
          <a:solidFill>
            <a:schemeClr val="accent1">
              <a:lumMod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82296" tIns="41148" rIns="82296" bIns="41148" rtlCol="0" anchor="ctr"/>
          <a:lstStyle/>
          <a:p>
            <a:pPr algn="l"/>
            <a:endParaRPr lang="zh-CN" altLang="en-US" sz="1440">
              <a:solidFill>
                <a:schemeClr val="bg1"/>
              </a:solidFill>
              <a:latin typeface="+mj-ea"/>
              <a:ea typeface="+mj-ea"/>
            </a:endParaRPr>
          </a:p>
        </p:txBody>
      </p:sp>
      <p:sp>
        <p:nvSpPr>
          <p:cNvPr id="6" name="文本框 5">
            <a:extLst>
              <a:ext uri="{FF2B5EF4-FFF2-40B4-BE49-F238E27FC236}">
                <a16:creationId xmlns:a16="http://schemas.microsoft.com/office/drawing/2014/main" id="{66F8D6E4-36F8-4A3D-8E9A-EFBF36B30B38}"/>
              </a:ext>
            </a:extLst>
          </p:cNvPr>
          <p:cNvSpPr txBox="1"/>
          <p:nvPr/>
        </p:nvSpPr>
        <p:spPr>
          <a:xfrm>
            <a:off x="3417735" y="1356964"/>
            <a:ext cx="366447" cy="387798"/>
          </a:xfrm>
          <a:prstGeom prst="rect">
            <a:avLst/>
          </a:prstGeom>
          <a:noFill/>
          <a:effectLst/>
        </p:spPr>
        <p:txBody>
          <a:bodyPr wrap="none" lIns="0" tIns="0" rIns="0" bIns="0" rtlCol="0" anchor="t">
            <a:spAutoFit/>
          </a:bodyPr>
          <a:lstStyle/>
          <a:p>
            <a:r>
              <a:rPr lang="en-US" altLang="zh-CN" sz="2520" dirty="0">
                <a:solidFill>
                  <a:schemeClr val="bg1"/>
                </a:solidFill>
                <a:latin typeface="+mj-ea"/>
                <a:ea typeface="+mj-ea"/>
              </a:rPr>
              <a:t>01</a:t>
            </a:r>
            <a:endParaRPr lang="zh-CN" altLang="en-US" sz="2520" dirty="0">
              <a:solidFill>
                <a:schemeClr val="bg1"/>
              </a:solidFill>
              <a:latin typeface="+mj-ea"/>
              <a:ea typeface="+mj-ea"/>
            </a:endParaRPr>
          </a:p>
        </p:txBody>
      </p:sp>
      <p:sp>
        <p:nvSpPr>
          <p:cNvPr id="7" name="文本框 6">
            <a:extLst>
              <a:ext uri="{FF2B5EF4-FFF2-40B4-BE49-F238E27FC236}">
                <a16:creationId xmlns:a16="http://schemas.microsoft.com/office/drawing/2014/main" id="{2A68C809-CA83-406D-8B0A-9802815324A4}"/>
              </a:ext>
            </a:extLst>
          </p:cNvPr>
          <p:cNvSpPr txBox="1"/>
          <p:nvPr/>
        </p:nvSpPr>
        <p:spPr>
          <a:xfrm>
            <a:off x="4225743" y="1381290"/>
            <a:ext cx="1384995" cy="332399"/>
          </a:xfrm>
          <a:prstGeom prst="rect">
            <a:avLst/>
          </a:prstGeom>
          <a:noFill/>
          <a:effectLst/>
        </p:spPr>
        <p:txBody>
          <a:bodyPr wrap="none" lIns="0" tIns="0" rIns="0" bIns="0" rtlCol="0" anchor="t">
            <a:spAutoFit/>
          </a:bodyPr>
          <a:lstStyle/>
          <a:p>
            <a:r>
              <a:rPr lang="zh-CN" altLang="en-US" sz="2160" dirty="0">
                <a:solidFill>
                  <a:schemeClr val="accent1"/>
                </a:solidFill>
                <a:latin typeface="+mj-ea"/>
                <a:ea typeface="+mj-ea"/>
              </a:rPr>
              <a:t>关键词标题</a:t>
            </a:r>
          </a:p>
        </p:txBody>
      </p:sp>
      <p:sp>
        <p:nvSpPr>
          <p:cNvPr id="8" name="文本框 7">
            <a:extLst>
              <a:ext uri="{FF2B5EF4-FFF2-40B4-BE49-F238E27FC236}">
                <a16:creationId xmlns:a16="http://schemas.microsoft.com/office/drawing/2014/main" id="{2920078A-8539-40F9-8398-DDC8C444DC7B}"/>
              </a:ext>
            </a:extLst>
          </p:cNvPr>
          <p:cNvSpPr txBox="1"/>
          <p:nvPr/>
        </p:nvSpPr>
        <p:spPr>
          <a:xfrm>
            <a:off x="4225742" y="1795122"/>
            <a:ext cx="5089994" cy="634386"/>
          </a:xfrm>
          <a:prstGeom prst="rect">
            <a:avLst/>
          </a:prstGeom>
          <a:noFill/>
          <a:effectLst/>
        </p:spPr>
        <p:txBody>
          <a:bodyPr wrap="square" lIns="0" tIns="0" rIns="0" bIns="0" rtlCol="0" anchor="t">
            <a:spAutoFit/>
          </a:bodyPr>
          <a:lstStyle/>
          <a:p>
            <a:pPr>
              <a:lnSpc>
                <a:spcPct val="130000"/>
              </a:lnSpc>
            </a:pPr>
            <a:r>
              <a:rPr lang="en-US" altLang="zh-CN" sz="1080" b="0" dirty="0">
                <a:solidFill>
                  <a:schemeClr val="accent1"/>
                </a:solidFill>
                <a:effectLst/>
                <a:latin typeface="+mn-ea"/>
              </a:rPr>
              <a:t>Lorem ipsum dolor sit ametconsectetur adipisicing elit</a:t>
            </a:r>
            <a:r>
              <a:rPr lang="en-US" altLang="zh-CN" sz="1080" dirty="0">
                <a:solidFill>
                  <a:schemeClr val="accent1"/>
                </a:solidFill>
                <a:latin typeface="+mn-ea"/>
              </a:rPr>
              <a:t> </a:t>
            </a:r>
            <a:r>
              <a:rPr lang="en-US" altLang="zh-CN" sz="1080" b="0" dirty="0">
                <a:solidFill>
                  <a:schemeClr val="accent1"/>
                </a:solidFill>
                <a:effectLst/>
                <a:latin typeface="+mn-ea"/>
              </a:rPr>
              <a:t>sed do eiusmod tempor Lorem ipsum dolor sit ametconsectetur adipisicing elit</a:t>
            </a:r>
            <a:r>
              <a:rPr lang="en-US" altLang="zh-CN" sz="1080" dirty="0">
                <a:solidFill>
                  <a:schemeClr val="accent1"/>
                </a:solidFill>
                <a:latin typeface="+mn-ea"/>
              </a:rPr>
              <a:t> </a:t>
            </a:r>
            <a:r>
              <a:rPr lang="en-US" altLang="zh-CN" sz="1080" b="0" dirty="0">
                <a:solidFill>
                  <a:schemeClr val="accent1"/>
                </a:solidFill>
                <a:effectLst/>
                <a:latin typeface="+mn-ea"/>
              </a:rPr>
              <a:t>sed do eiusmod tempor </a:t>
            </a:r>
            <a:endParaRPr lang="zh-CN" altLang="en-US" sz="1080" b="0" dirty="0">
              <a:solidFill>
                <a:schemeClr val="accent1"/>
              </a:solidFill>
              <a:effectLst/>
              <a:latin typeface="+mn-ea"/>
            </a:endParaRPr>
          </a:p>
        </p:txBody>
      </p:sp>
      <p:sp>
        <p:nvSpPr>
          <p:cNvPr id="15" name="矩形: 圆角 14">
            <a:extLst>
              <a:ext uri="{FF2B5EF4-FFF2-40B4-BE49-F238E27FC236}">
                <a16:creationId xmlns:a16="http://schemas.microsoft.com/office/drawing/2014/main" id="{12DF488A-00F1-47A2-A9E5-35D7AA01DB0D}"/>
              </a:ext>
            </a:extLst>
          </p:cNvPr>
          <p:cNvSpPr/>
          <p:nvPr>
            <p:custDataLst>
              <p:tags r:id="rId3"/>
            </p:custDataLst>
          </p:nvPr>
        </p:nvSpPr>
        <p:spPr>
          <a:xfrm>
            <a:off x="4153224" y="3031171"/>
            <a:ext cx="6284302" cy="1311857"/>
          </a:xfrm>
          <a:prstGeom prst="roundRect">
            <a:avLst>
              <a:gd name="adj" fmla="val 5303"/>
            </a:avLst>
          </a:prstGeom>
          <a:gradFill>
            <a:gsLst>
              <a:gs pos="0">
                <a:schemeClr val="bg1"/>
              </a:gs>
              <a:gs pos="100000">
                <a:schemeClr val="bg1">
                  <a:lumMod val="95000"/>
                </a:schemeClr>
              </a:gs>
            </a:gsLst>
            <a:lin ang="2700000" scaled="0"/>
          </a:gradFill>
          <a:ln w="1143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82296" tIns="41148" rIns="82296" bIns="41148" rtlCol="0" anchor="ctr"/>
          <a:lstStyle/>
          <a:p>
            <a:pPr algn="l"/>
            <a:endParaRPr lang="zh-CN" altLang="en-US" sz="1440">
              <a:solidFill>
                <a:schemeClr val="bg1"/>
              </a:solidFill>
              <a:latin typeface="+mj-ea"/>
              <a:ea typeface="+mj-ea"/>
            </a:endParaRPr>
          </a:p>
        </p:txBody>
      </p:sp>
      <p:sp>
        <p:nvSpPr>
          <p:cNvPr id="16" name="箭头: 下 15">
            <a:extLst>
              <a:ext uri="{FF2B5EF4-FFF2-40B4-BE49-F238E27FC236}">
                <a16:creationId xmlns:a16="http://schemas.microsoft.com/office/drawing/2014/main" id="{A3709B89-13EC-4DF8-B0CF-5B735AA6A141}"/>
              </a:ext>
            </a:extLst>
          </p:cNvPr>
          <p:cNvSpPr/>
          <p:nvPr/>
        </p:nvSpPr>
        <p:spPr>
          <a:xfrm>
            <a:off x="4571793" y="2911155"/>
            <a:ext cx="612934" cy="1013534"/>
          </a:xfrm>
          <a:prstGeom prst="downArrow">
            <a:avLst>
              <a:gd name="adj1" fmla="val 100000"/>
              <a:gd name="adj2" fmla="val 50000"/>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82296" tIns="41148" rIns="82296" bIns="41148" rtlCol="0" anchor="ctr"/>
          <a:lstStyle/>
          <a:p>
            <a:pPr algn="l"/>
            <a:endParaRPr lang="zh-CN" altLang="en-US" sz="1440">
              <a:solidFill>
                <a:schemeClr val="bg1"/>
              </a:solidFill>
              <a:latin typeface="+mj-ea"/>
              <a:ea typeface="+mj-ea"/>
            </a:endParaRPr>
          </a:p>
        </p:txBody>
      </p:sp>
      <p:sp>
        <p:nvSpPr>
          <p:cNvPr id="17" name="直角三角形 16">
            <a:extLst>
              <a:ext uri="{FF2B5EF4-FFF2-40B4-BE49-F238E27FC236}">
                <a16:creationId xmlns:a16="http://schemas.microsoft.com/office/drawing/2014/main" id="{6EA9A6AF-A1AF-469E-B81A-F009529FF722}"/>
              </a:ext>
            </a:extLst>
          </p:cNvPr>
          <p:cNvSpPr/>
          <p:nvPr/>
        </p:nvSpPr>
        <p:spPr>
          <a:xfrm rot="10800000" flipV="1">
            <a:off x="4499735" y="2912487"/>
            <a:ext cx="72867" cy="120016"/>
          </a:xfrm>
          <a:prstGeom prst="rtTriangle">
            <a:avLst/>
          </a:prstGeom>
          <a:solidFill>
            <a:schemeClr val="accent1">
              <a:lumMod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82296" tIns="41148" rIns="82296" bIns="41148" rtlCol="0" anchor="ctr"/>
          <a:lstStyle/>
          <a:p>
            <a:pPr algn="l"/>
            <a:endParaRPr lang="zh-CN" altLang="en-US" sz="1440">
              <a:solidFill>
                <a:schemeClr val="bg1"/>
              </a:solidFill>
              <a:latin typeface="+mj-ea"/>
              <a:ea typeface="+mj-ea"/>
            </a:endParaRPr>
          </a:p>
        </p:txBody>
      </p:sp>
      <p:sp>
        <p:nvSpPr>
          <p:cNvPr id="18" name="文本框 17">
            <a:extLst>
              <a:ext uri="{FF2B5EF4-FFF2-40B4-BE49-F238E27FC236}">
                <a16:creationId xmlns:a16="http://schemas.microsoft.com/office/drawing/2014/main" id="{78564BAA-C1E7-4B35-ADB3-BAF02E312596}"/>
              </a:ext>
            </a:extLst>
          </p:cNvPr>
          <p:cNvSpPr txBox="1"/>
          <p:nvPr/>
        </p:nvSpPr>
        <p:spPr>
          <a:xfrm>
            <a:off x="4695037" y="3140194"/>
            <a:ext cx="426399" cy="387798"/>
          </a:xfrm>
          <a:prstGeom prst="rect">
            <a:avLst/>
          </a:prstGeom>
          <a:noFill/>
          <a:effectLst/>
        </p:spPr>
        <p:txBody>
          <a:bodyPr wrap="none" lIns="0" tIns="0" rIns="0" bIns="0" rtlCol="0" anchor="t">
            <a:spAutoFit/>
          </a:bodyPr>
          <a:lstStyle/>
          <a:p>
            <a:r>
              <a:rPr lang="en-US" altLang="zh-CN" sz="2520" dirty="0">
                <a:solidFill>
                  <a:schemeClr val="bg1"/>
                </a:solidFill>
                <a:latin typeface="+mj-ea"/>
                <a:ea typeface="+mj-ea"/>
              </a:rPr>
              <a:t>02</a:t>
            </a:r>
            <a:endParaRPr lang="zh-CN" altLang="en-US" sz="2520" dirty="0">
              <a:solidFill>
                <a:schemeClr val="bg1"/>
              </a:solidFill>
              <a:latin typeface="+mj-ea"/>
              <a:ea typeface="+mj-ea"/>
            </a:endParaRPr>
          </a:p>
        </p:txBody>
      </p:sp>
      <p:sp>
        <p:nvSpPr>
          <p:cNvPr id="19" name="文本框 18">
            <a:extLst>
              <a:ext uri="{FF2B5EF4-FFF2-40B4-BE49-F238E27FC236}">
                <a16:creationId xmlns:a16="http://schemas.microsoft.com/office/drawing/2014/main" id="{FAAE2F4B-36FE-4633-ADD8-A22B1C3381E5}"/>
              </a:ext>
            </a:extLst>
          </p:cNvPr>
          <p:cNvSpPr txBox="1"/>
          <p:nvPr/>
        </p:nvSpPr>
        <p:spPr>
          <a:xfrm>
            <a:off x="5503046" y="3164519"/>
            <a:ext cx="1384995" cy="332399"/>
          </a:xfrm>
          <a:prstGeom prst="rect">
            <a:avLst/>
          </a:prstGeom>
          <a:noFill/>
          <a:effectLst/>
        </p:spPr>
        <p:txBody>
          <a:bodyPr wrap="none" lIns="0" tIns="0" rIns="0" bIns="0" rtlCol="0" anchor="t">
            <a:spAutoFit/>
          </a:bodyPr>
          <a:lstStyle/>
          <a:p>
            <a:r>
              <a:rPr lang="zh-CN" altLang="en-US" sz="2160" dirty="0">
                <a:solidFill>
                  <a:schemeClr val="accent1"/>
                </a:solidFill>
                <a:latin typeface="+mj-ea"/>
                <a:ea typeface="+mj-ea"/>
              </a:rPr>
              <a:t>关键词标题</a:t>
            </a:r>
          </a:p>
        </p:txBody>
      </p:sp>
      <p:sp>
        <p:nvSpPr>
          <p:cNvPr id="20" name="文本框 19">
            <a:extLst>
              <a:ext uri="{FF2B5EF4-FFF2-40B4-BE49-F238E27FC236}">
                <a16:creationId xmlns:a16="http://schemas.microsoft.com/office/drawing/2014/main" id="{FC625E98-A236-4776-89AE-8DB0C5590A32}"/>
              </a:ext>
            </a:extLst>
          </p:cNvPr>
          <p:cNvSpPr txBox="1"/>
          <p:nvPr/>
        </p:nvSpPr>
        <p:spPr>
          <a:xfrm>
            <a:off x="5503045" y="3578352"/>
            <a:ext cx="5089994" cy="634386"/>
          </a:xfrm>
          <a:prstGeom prst="rect">
            <a:avLst/>
          </a:prstGeom>
          <a:noFill/>
          <a:effectLst/>
        </p:spPr>
        <p:txBody>
          <a:bodyPr wrap="square" lIns="0" tIns="0" rIns="0" bIns="0" rtlCol="0" anchor="t">
            <a:spAutoFit/>
          </a:bodyPr>
          <a:lstStyle/>
          <a:p>
            <a:pPr>
              <a:lnSpc>
                <a:spcPct val="130000"/>
              </a:lnSpc>
            </a:pPr>
            <a:r>
              <a:rPr lang="en-US" altLang="zh-CN" sz="1080" b="0" dirty="0">
                <a:solidFill>
                  <a:schemeClr val="accent1"/>
                </a:solidFill>
                <a:effectLst/>
                <a:latin typeface="+mn-ea"/>
              </a:rPr>
              <a:t>Lorem ipsum dolor sit ametconsectetur adipisicing elit</a:t>
            </a:r>
            <a:r>
              <a:rPr lang="en-US" altLang="zh-CN" sz="1080" dirty="0">
                <a:solidFill>
                  <a:schemeClr val="accent1"/>
                </a:solidFill>
                <a:latin typeface="+mn-ea"/>
              </a:rPr>
              <a:t> </a:t>
            </a:r>
            <a:r>
              <a:rPr lang="en-US" altLang="zh-CN" sz="1080" b="0" dirty="0">
                <a:solidFill>
                  <a:schemeClr val="accent1"/>
                </a:solidFill>
                <a:effectLst/>
                <a:latin typeface="+mn-ea"/>
              </a:rPr>
              <a:t>sed do eiusmod tempor Lorem ipsum dolor sit ametconsectetur adipisicing elit</a:t>
            </a:r>
            <a:r>
              <a:rPr lang="en-US" altLang="zh-CN" sz="1080" dirty="0">
                <a:solidFill>
                  <a:schemeClr val="accent1"/>
                </a:solidFill>
                <a:latin typeface="+mn-ea"/>
              </a:rPr>
              <a:t> </a:t>
            </a:r>
            <a:r>
              <a:rPr lang="en-US" altLang="zh-CN" sz="1080" b="0" dirty="0">
                <a:solidFill>
                  <a:schemeClr val="accent1"/>
                </a:solidFill>
                <a:effectLst/>
                <a:latin typeface="+mn-ea"/>
              </a:rPr>
              <a:t>sed do eiusmod tempor </a:t>
            </a:r>
            <a:endParaRPr lang="zh-CN" altLang="en-US" sz="1080" b="0" dirty="0">
              <a:solidFill>
                <a:schemeClr val="accent1"/>
              </a:solidFill>
              <a:effectLst/>
              <a:latin typeface="+mn-ea"/>
            </a:endParaRPr>
          </a:p>
        </p:txBody>
      </p:sp>
      <p:sp>
        <p:nvSpPr>
          <p:cNvPr id="21" name="矩形: 圆角 20">
            <a:extLst>
              <a:ext uri="{FF2B5EF4-FFF2-40B4-BE49-F238E27FC236}">
                <a16:creationId xmlns:a16="http://schemas.microsoft.com/office/drawing/2014/main" id="{D566079B-29E3-48A2-9C78-FA653D93EAA8}"/>
              </a:ext>
            </a:extLst>
          </p:cNvPr>
          <p:cNvSpPr/>
          <p:nvPr>
            <p:custDataLst>
              <p:tags r:id="rId4"/>
            </p:custDataLst>
          </p:nvPr>
        </p:nvSpPr>
        <p:spPr>
          <a:xfrm>
            <a:off x="2875921" y="4814400"/>
            <a:ext cx="6284302" cy="1311857"/>
          </a:xfrm>
          <a:prstGeom prst="roundRect">
            <a:avLst>
              <a:gd name="adj" fmla="val 5303"/>
            </a:avLst>
          </a:prstGeom>
          <a:gradFill>
            <a:gsLst>
              <a:gs pos="0">
                <a:schemeClr val="bg1"/>
              </a:gs>
              <a:gs pos="100000">
                <a:schemeClr val="bg1">
                  <a:lumMod val="95000"/>
                </a:schemeClr>
              </a:gs>
            </a:gsLst>
            <a:lin ang="2700000" scaled="0"/>
          </a:gradFill>
          <a:ln w="1143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82296" tIns="41148" rIns="82296" bIns="41148" rtlCol="0" anchor="ctr"/>
          <a:lstStyle/>
          <a:p>
            <a:pPr algn="l"/>
            <a:endParaRPr lang="zh-CN" altLang="en-US" sz="1440">
              <a:solidFill>
                <a:schemeClr val="bg1"/>
              </a:solidFill>
              <a:latin typeface="+mj-ea"/>
              <a:ea typeface="+mj-ea"/>
            </a:endParaRPr>
          </a:p>
        </p:txBody>
      </p:sp>
      <p:sp>
        <p:nvSpPr>
          <p:cNvPr id="22" name="箭头: 下 21">
            <a:extLst>
              <a:ext uri="{FF2B5EF4-FFF2-40B4-BE49-F238E27FC236}">
                <a16:creationId xmlns:a16="http://schemas.microsoft.com/office/drawing/2014/main" id="{081B196C-FEFA-4946-B6E2-C91669A8FF13}"/>
              </a:ext>
            </a:extLst>
          </p:cNvPr>
          <p:cNvSpPr/>
          <p:nvPr/>
        </p:nvSpPr>
        <p:spPr>
          <a:xfrm>
            <a:off x="3294491" y="4694384"/>
            <a:ext cx="612934" cy="1013534"/>
          </a:xfrm>
          <a:prstGeom prst="downArrow">
            <a:avLst>
              <a:gd name="adj1" fmla="val 100000"/>
              <a:gd name="adj2" fmla="val 50000"/>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82296" tIns="41148" rIns="82296" bIns="41148" rtlCol="0" anchor="ctr"/>
          <a:lstStyle/>
          <a:p>
            <a:pPr algn="l"/>
            <a:endParaRPr lang="zh-CN" altLang="en-US" sz="1440">
              <a:solidFill>
                <a:schemeClr val="bg1"/>
              </a:solidFill>
              <a:latin typeface="+mj-ea"/>
              <a:ea typeface="+mj-ea"/>
            </a:endParaRPr>
          </a:p>
        </p:txBody>
      </p:sp>
      <p:sp>
        <p:nvSpPr>
          <p:cNvPr id="23" name="直角三角形 22">
            <a:extLst>
              <a:ext uri="{FF2B5EF4-FFF2-40B4-BE49-F238E27FC236}">
                <a16:creationId xmlns:a16="http://schemas.microsoft.com/office/drawing/2014/main" id="{F9D231E4-4159-47EF-8081-F18220E015DB}"/>
              </a:ext>
            </a:extLst>
          </p:cNvPr>
          <p:cNvSpPr/>
          <p:nvPr/>
        </p:nvSpPr>
        <p:spPr>
          <a:xfrm rot="10800000" flipV="1">
            <a:off x="3222433" y="4695716"/>
            <a:ext cx="72867" cy="120016"/>
          </a:xfrm>
          <a:prstGeom prst="rtTriangle">
            <a:avLst/>
          </a:prstGeom>
          <a:solidFill>
            <a:schemeClr val="accent1">
              <a:lumMod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82296" tIns="41148" rIns="82296" bIns="41148" rtlCol="0" anchor="ctr"/>
          <a:lstStyle/>
          <a:p>
            <a:pPr algn="l"/>
            <a:endParaRPr lang="zh-CN" altLang="en-US" sz="1440">
              <a:solidFill>
                <a:schemeClr val="bg1"/>
              </a:solidFill>
              <a:latin typeface="+mj-ea"/>
              <a:ea typeface="+mj-ea"/>
            </a:endParaRPr>
          </a:p>
        </p:txBody>
      </p:sp>
      <p:sp>
        <p:nvSpPr>
          <p:cNvPr id="24" name="文本框 23">
            <a:extLst>
              <a:ext uri="{FF2B5EF4-FFF2-40B4-BE49-F238E27FC236}">
                <a16:creationId xmlns:a16="http://schemas.microsoft.com/office/drawing/2014/main" id="{304BF71B-FF50-4A45-A780-A1A27E11CB5B}"/>
              </a:ext>
            </a:extLst>
          </p:cNvPr>
          <p:cNvSpPr txBox="1"/>
          <p:nvPr/>
        </p:nvSpPr>
        <p:spPr>
          <a:xfrm>
            <a:off x="3417735" y="4923423"/>
            <a:ext cx="426399" cy="387798"/>
          </a:xfrm>
          <a:prstGeom prst="rect">
            <a:avLst/>
          </a:prstGeom>
          <a:noFill/>
          <a:effectLst/>
        </p:spPr>
        <p:txBody>
          <a:bodyPr wrap="none" lIns="0" tIns="0" rIns="0" bIns="0" rtlCol="0" anchor="t">
            <a:spAutoFit/>
          </a:bodyPr>
          <a:lstStyle/>
          <a:p>
            <a:r>
              <a:rPr lang="en-US" altLang="zh-CN" sz="2520" dirty="0">
                <a:solidFill>
                  <a:schemeClr val="bg1"/>
                </a:solidFill>
                <a:latin typeface="+mj-ea"/>
                <a:ea typeface="+mj-ea"/>
              </a:rPr>
              <a:t>03</a:t>
            </a:r>
            <a:endParaRPr lang="zh-CN" altLang="en-US" sz="2520" dirty="0">
              <a:solidFill>
                <a:schemeClr val="bg1"/>
              </a:solidFill>
              <a:latin typeface="+mj-ea"/>
              <a:ea typeface="+mj-ea"/>
            </a:endParaRPr>
          </a:p>
        </p:txBody>
      </p:sp>
      <p:sp>
        <p:nvSpPr>
          <p:cNvPr id="25" name="文本框 24">
            <a:extLst>
              <a:ext uri="{FF2B5EF4-FFF2-40B4-BE49-F238E27FC236}">
                <a16:creationId xmlns:a16="http://schemas.microsoft.com/office/drawing/2014/main" id="{3BF1E9E6-B312-4D8A-80DE-EBE374A6F313}"/>
              </a:ext>
            </a:extLst>
          </p:cNvPr>
          <p:cNvSpPr txBox="1"/>
          <p:nvPr/>
        </p:nvSpPr>
        <p:spPr>
          <a:xfrm>
            <a:off x="4225743" y="4947749"/>
            <a:ext cx="1384995" cy="332399"/>
          </a:xfrm>
          <a:prstGeom prst="rect">
            <a:avLst/>
          </a:prstGeom>
          <a:noFill/>
          <a:effectLst/>
        </p:spPr>
        <p:txBody>
          <a:bodyPr wrap="none" lIns="0" tIns="0" rIns="0" bIns="0" rtlCol="0" anchor="t">
            <a:spAutoFit/>
          </a:bodyPr>
          <a:lstStyle/>
          <a:p>
            <a:r>
              <a:rPr lang="zh-CN" altLang="en-US" sz="2160" dirty="0">
                <a:solidFill>
                  <a:schemeClr val="accent1"/>
                </a:solidFill>
                <a:latin typeface="+mj-ea"/>
                <a:ea typeface="+mj-ea"/>
              </a:rPr>
              <a:t>关键词标题</a:t>
            </a:r>
          </a:p>
        </p:txBody>
      </p:sp>
      <p:sp>
        <p:nvSpPr>
          <p:cNvPr id="26" name="文本框 25">
            <a:extLst>
              <a:ext uri="{FF2B5EF4-FFF2-40B4-BE49-F238E27FC236}">
                <a16:creationId xmlns:a16="http://schemas.microsoft.com/office/drawing/2014/main" id="{88DF573E-1837-454B-8251-E8DCDABC891D}"/>
              </a:ext>
            </a:extLst>
          </p:cNvPr>
          <p:cNvSpPr txBox="1"/>
          <p:nvPr/>
        </p:nvSpPr>
        <p:spPr>
          <a:xfrm>
            <a:off x="4225742" y="5361581"/>
            <a:ext cx="5089994" cy="634386"/>
          </a:xfrm>
          <a:prstGeom prst="rect">
            <a:avLst/>
          </a:prstGeom>
          <a:noFill/>
          <a:effectLst/>
        </p:spPr>
        <p:txBody>
          <a:bodyPr wrap="square" lIns="0" tIns="0" rIns="0" bIns="0" rtlCol="0" anchor="t">
            <a:spAutoFit/>
          </a:bodyPr>
          <a:lstStyle/>
          <a:p>
            <a:pPr>
              <a:lnSpc>
                <a:spcPct val="130000"/>
              </a:lnSpc>
            </a:pPr>
            <a:r>
              <a:rPr lang="en-US" altLang="zh-CN" sz="1080" b="0" dirty="0">
                <a:solidFill>
                  <a:schemeClr val="accent1"/>
                </a:solidFill>
                <a:effectLst/>
                <a:latin typeface="+mn-ea"/>
              </a:rPr>
              <a:t>Lorem ipsum dolor sit ametconsectetur adipisicing elit</a:t>
            </a:r>
            <a:r>
              <a:rPr lang="en-US" altLang="zh-CN" sz="1080" dirty="0">
                <a:solidFill>
                  <a:schemeClr val="accent1"/>
                </a:solidFill>
                <a:latin typeface="+mn-ea"/>
              </a:rPr>
              <a:t> </a:t>
            </a:r>
            <a:r>
              <a:rPr lang="en-US" altLang="zh-CN" sz="1080" b="0" dirty="0">
                <a:solidFill>
                  <a:schemeClr val="accent1"/>
                </a:solidFill>
                <a:effectLst/>
                <a:latin typeface="+mn-ea"/>
              </a:rPr>
              <a:t>sed do eiusmod tempor Lorem ipsum dolor sit ametconsectetur adipisicing elit</a:t>
            </a:r>
            <a:r>
              <a:rPr lang="en-US" altLang="zh-CN" sz="1080" dirty="0">
                <a:solidFill>
                  <a:schemeClr val="accent1"/>
                </a:solidFill>
                <a:latin typeface="+mn-ea"/>
              </a:rPr>
              <a:t> </a:t>
            </a:r>
            <a:r>
              <a:rPr lang="en-US" altLang="zh-CN" sz="1080" b="0" dirty="0">
                <a:solidFill>
                  <a:schemeClr val="accent1"/>
                </a:solidFill>
                <a:effectLst/>
                <a:latin typeface="+mn-ea"/>
              </a:rPr>
              <a:t>sed do eiusmod tempor </a:t>
            </a:r>
            <a:endParaRPr lang="zh-CN" altLang="en-US" sz="1080" b="0" dirty="0">
              <a:solidFill>
                <a:schemeClr val="accent1"/>
              </a:solidFill>
              <a:effectLst/>
              <a:latin typeface="+mn-ea"/>
            </a:endParaRPr>
          </a:p>
        </p:txBody>
      </p:sp>
    </p:spTree>
    <p:extLst>
      <p:ext uri="{BB962C8B-B14F-4D97-AF65-F5344CB8AC3E}">
        <p14:creationId xmlns:p14="http://schemas.microsoft.com/office/powerpoint/2010/main" val="2248582296"/>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2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圆: 空心 9">
            <a:extLst>
              <a:ext uri="{FF2B5EF4-FFF2-40B4-BE49-F238E27FC236}">
                <a16:creationId xmlns:a16="http://schemas.microsoft.com/office/drawing/2014/main" id="{1FCCD770-5DA3-4F4E-80E7-1BDDFEAEFF46}"/>
              </a:ext>
            </a:extLst>
          </p:cNvPr>
          <p:cNvSpPr/>
          <p:nvPr/>
        </p:nvSpPr>
        <p:spPr>
          <a:xfrm>
            <a:off x="2381250" y="-571500"/>
            <a:ext cx="7429500" cy="7429500"/>
          </a:xfrm>
          <a:prstGeom prst="donut">
            <a:avLst>
              <a:gd name="adj" fmla="val 18702"/>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9" name="椭圆 8">
            <a:extLst>
              <a:ext uri="{FF2B5EF4-FFF2-40B4-BE49-F238E27FC236}">
                <a16:creationId xmlns:a16="http://schemas.microsoft.com/office/drawing/2014/main" id="{BCE98D16-B582-4E30-9BD9-A9A2780830F2}"/>
              </a:ext>
            </a:extLst>
          </p:cNvPr>
          <p:cNvSpPr/>
          <p:nvPr/>
        </p:nvSpPr>
        <p:spPr>
          <a:xfrm>
            <a:off x="3581400" y="628650"/>
            <a:ext cx="5029200" cy="5029200"/>
          </a:xfrm>
          <a:prstGeom prst="ellipse">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30" name="任意多边形: 形状 29">
            <a:extLst>
              <a:ext uri="{FF2B5EF4-FFF2-40B4-BE49-F238E27FC236}">
                <a16:creationId xmlns:a16="http://schemas.microsoft.com/office/drawing/2014/main" id="{7537831B-892C-4F39-AD00-8CCF43B930BD}"/>
              </a:ext>
            </a:extLst>
          </p:cNvPr>
          <p:cNvSpPr/>
          <p:nvPr/>
        </p:nvSpPr>
        <p:spPr>
          <a:xfrm>
            <a:off x="0" y="3162300"/>
            <a:ext cx="12192000" cy="3695701"/>
          </a:xfrm>
          <a:custGeom>
            <a:avLst/>
            <a:gdLst>
              <a:gd name="connsiteX0" fmla="*/ 1384300 w 12192000"/>
              <a:gd name="connsiteY0" fmla="*/ 766 h 2782066"/>
              <a:gd name="connsiteX1" fmla="*/ 3365500 w 12192000"/>
              <a:gd name="connsiteY1" fmla="*/ 330966 h 2782066"/>
              <a:gd name="connsiteX2" fmla="*/ 5461000 w 12192000"/>
              <a:gd name="connsiteY2" fmla="*/ 38866 h 2782066"/>
              <a:gd name="connsiteX3" fmla="*/ 7759700 w 12192000"/>
              <a:gd name="connsiteY3" fmla="*/ 381766 h 2782066"/>
              <a:gd name="connsiteX4" fmla="*/ 10134600 w 12192000"/>
              <a:gd name="connsiteY4" fmla="*/ 13466 h 2782066"/>
              <a:gd name="connsiteX5" fmla="*/ 11772900 w 12192000"/>
              <a:gd name="connsiteY5" fmla="*/ 343666 h 2782066"/>
              <a:gd name="connsiteX6" fmla="*/ 12145367 w 12192000"/>
              <a:gd name="connsiteY6" fmla="*/ 252385 h 2782066"/>
              <a:gd name="connsiteX7" fmla="*/ 12192000 w 12192000"/>
              <a:gd name="connsiteY7" fmla="*/ 229153 h 2782066"/>
              <a:gd name="connsiteX8" fmla="*/ 12192000 w 12192000"/>
              <a:gd name="connsiteY8" fmla="*/ 2782066 h 2782066"/>
              <a:gd name="connsiteX9" fmla="*/ 0 w 12192000"/>
              <a:gd name="connsiteY9" fmla="*/ 2782066 h 2782066"/>
              <a:gd name="connsiteX10" fmla="*/ 0 w 12192000"/>
              <a:gd name="connsiteY10" fmla="*/ 349784 h 2782066"/>
              <a:gd name="connsiteX11" fmla="*/ 7342 w 12192000"/>
              <a:gd name="connsiteY11" fmla="*/ 347238 h 2782066"/>
              <a:gd name="connsiteX12" fmla="*/ 1384300 w 12192000"/>
              <a:gd name="connsiteY12" fmla="*/ 766 h 27820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192000" h="2782066">
                <a:moveTo>
                  <a:pt x="1384300" y="766"/>
                </a:moveTo>
                <a:cubicBezTo>
                  <a:pt x="1993900" y="-18284"/>
                  <a:pt x="2686050" y="324616"/>
                  <a:pt x="3365500" y="330966"/>
                </a:cubicBezTo>
                <a:cubicBezTo>
                  <a:pt x="4044950" y="337316"/>
                  <a:pt x="4728633" y="30399"/>
                  <a:pt x="5461000" y="38866"/>
                </a:cubicBezTo>
                <a:cubicBezTo>
                  <a:pt x="6193367" y="47333"/>
                  <a:pt x="6980767" y="385999"/>
                  <a:pt x="7759700" y="381766"/>
                </a:cubicBezTo>
                <a:cubicBezTo>
                  <a:pt x="8538633" y="377533"/>
                  <a:pt x="9465733" y="19816"/>
                  <a:pt x="10134600" y="13466"/>
                </a:cubicBezTo>
                <a:cubicBezTo>
                  <a:pt x="10803467" y="7116"/>
                  <a:pt x="11286067" y="322499"/>
                  <a:pt x="11772900" y="343666"/>
                </a:cubicBezTo>
                <a:cubicBezTo>
                  <a:pt x="11894608" y="348958"/>
                  <a:pt x="12020814" y="308477"/>
                  <a:pt x="12145367" y="252385"/>
                </a:cubicBezTo>
                <a:lnTo>
                  <a:pt x="12192000" y="229153"/>
                </a:lnTo>
                <a:lnTo>
                  <a:pt x="12192000" y="2782066"/>
                </a:lnTo>
                <a:lnTo>
                  <a:pt x="0" y="2782066"/>
                </a:lnTo>
                <a:lnTo>
                  <a:pt x="0" y="349784"/>
                </a:lnTo>
                <a:lnTo>
                  <a:pt x="7342" y="347238"/>
                </a:lnTo>
                <a:cubicBezTo>
                  <a:pt x="377032" y="216270"/>
                  <a:pt x="927100" y="15054"/>
                  <a:pt x="1384300" y="766"/>
                </a:cubicBezTo>
                <a:close/>
              </a:path>
            </a:pathLst>
          </a:custGeom>
          <a:solidFill>
            <a:schemeClr val="accent1">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l"/>
            <a:endParaRPr lang="zh-CN" altLang="en-US" sz="1600">
              <a:solidFill>
                <a:schemeClr val="bg1"/>
              </a:solidFill>
              <a:latin typeface="+mj-ea"/>
              <a:ea typeface="+mj-ea"/>
            </a:endParaRPr>
          </a:p>
        </p:txBody>
      </p:sp>
      <p:sp>
        <p:nvSpPr>
          <p:cNvPr id="31" name="文本框 30">
            <a:extLst>
              <a:ext uri="{FF2B5EF4-FFF2-40B4-BE49-F238E27FC236}">
                <a16:creationId xmlns:a16="http://schemas.microsoft.com/office/drawing/2014/main" id="{7FC50A11-3B75-44B5-883B-25449382CB80}"/>
              </a:ext>
            </a:extLst>
          </p:cNvPr>
          <p:cNvSpPr txBox="1"/>
          <p:nvPr/>
        </p:nvSpPr>
        <p:spPr>
          <a:xfrm>
            <a:off x="5070078" y="1235856"/>
            <a:ext cx="2051844" cy="492443"/>
          </a:xfrm>
          <a:prstGeom prst="rect">
            <a:avLst/>
          </a:prstGeom>
          <a:noFill/>
        </p:spPr>
        <p:txBody>
          <a:bodyPr wrap="none" lIns="0" tIns="0" rIns="0" bIns="0" rtlCol="0" anchor="t">
            <a:spAutoFit/>
          </a:bodyPr>
          <a:lstStyle/>
          <a:p>
            <a:pPr algn="ctr"/>
            <a:r>
              <a:rPr lang="zh-CN" altLang="en-US" sz="3200" dirty="0">
                <a:solidFill>
                  <a:schemeClr val="accent1"/>
                </a:solidFill>
                <a:latin typeface="+mj-ea"/>
                <a:ea typeface="+mj-ea"/>
              </a:rPr>
              <a:t>关键词标题</a:t>
            </a:r>
          </a:p>
        </p:txBody>
      </p:sp>
      <p:sp>
        <p:nvSpPr>
          <p:cNvPr id="32" name="文本框 31">
            <a:extLst>
              <a:ext uri="{FF2B5EF4-FFF2-40B4-BE49-F238E27FC236}">
                <a16:creationId xmlns:a16="http://schemas.microsoft.com/office/drawing/2014/main" id="{2CA22ACA-207A-4697-9998-0C6768CB711F}"/>
              </a:ext>
            </a:extLst>
          </p:cNvPr>
          <p:cNvSpPr txBox="1"/>
          <p:nvPr/>
        </p:nvSpPr>
        <p:spPr>
          <a:xfrm>
            <a:off x="4318000" y="1744134"/>
            <a:ext cx="3556000" cy="944939"/>
          </a:xfrm>
          <a:prstGeom prst="rect">
            <a:avLst/>
          </a:prstGeom>
          <a:noFill/>
        </p:spPr>
        <p:txBody>
          <a:bodyPr wrap="square" lIns="0" tIns="0" rIns="0" bIns="0" rtlCol="0" anchor="t">
            <a:spAutoFit/>
          </a:bodyPr>
          <a:lstStyle/>
          <a:p>
            <a:pPr algn="ctr">
              <a:lnSpc>
                <a:spcPct val="130000"/>
              </a:lnSpc>
            </a:pPr>
            <a:r>
              <a:rPr lang="en-US" altLang="zh-CN" sz="1200" b="0" dirty="0">
                <a:solidFill>
                  <a:schemeClr val="tx1">
                    <a:lumMod val="75000"/>
                    <a:lumOff val="25000"/>
                  </a:schemeClr>
                </a:solidFill>
                <a:effectLst/>
                <a:latin typeface="+mn-ea"/>
              </a:rPr>
              <a:t>Lorem ipsum dolor sit amet, consectetur adipisicing elit, sed do eiusmod tempor</a:t>
            </a:r>
            <a:r>
              <a:rPr lang="en-US" altLang="zh-CN" sz="1200" dirty="0">
                <a:solidFill>
                  <a:schemeClr val="tx1">
                    <a:lumMod val="75000"/>
                    <a:lumOff val="25000"/>
                  </a:schemeClr>
                </a:solidFill>
                <a:latin typeface="+mn-ea"/>
              </a:rPr>
              <a:t> </a:t>
            </a:r>
            <a:r>
              <a:rPr lang="en-US" altLang="zh-CN" sz="1200" b="0" dirty="0">
                <a:solidFill>
                  <a:schemeClr val="tx1">
                    <a:lumMod val="75000"/>
                    <a:lumOff val="25000"/>
                  </a:schemeClr>
                </a:solidFill>
                <a:effectLst/>
                <a:latin typeface="+mn-ea"/>
              </a:rPr>
              <a:t>Lorem ipsum dolor sit amet, consectetur adipisicing elitsed do eiusmod tempor</a:t>
            </a:r>
            <a:endParaRPr lang="zh-CN" altLang="en-US" sz="1200" b="0" dirty="0">
              <a:solidFill>
                <a:schemeClr val="tx1">
                  <a:lumMod val="75000"/>
                  <a:lumOff val="25000"/>
                </a:schemeClr>
              </a:solidFill>
              <a:effectLst/>
              <a:latin typeface="+mn-ea"/>
            </a:endParaRPr>
          </a:p>
        </p:txBody>
      </p:sp>
      <p:sp>
        <p:nvSpPr>
          <p:cNvPr id="36" name="椭圆 35">
            <a:extLst>
              <a:ext uri="{FF2B5EF4-FFF2-40B4-BE49-F238E27FC236}">
                <a16:creationId xmlns:a16="http://schemas.microsoft.com/office/drawing/2014/main" id="{187D7D74-66FA-4815-8692-20776A30A26B}"/>
              </a:ext>
            </a:extLst>
          </p:cNvPr>
          <p:cNvSpPr/>
          <p:nvPr/>
        </p:nvSpPr>
        <p:spPr>
          <a:xfrm>
            <a:off x="3095625" y="142875"/>
            <a:ext cx="6000750" cy="6000750"/>
          </a:xfrm>
          <a:prstGeom prst="ellipse">
            <a:avLst/>
          </a:prstGeom>
          <a:noFill/>
          <a:ln w="76200">
            <a:gradFill>
              <a:gsLst>
                <a:gs pos="0">
                  <a:schemeClr val="accent1"/>
                </a:gs>
                <a:gs pos="66000">
                  <a:schemeClr val="accent1">
                    <a:alpha val="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11" name="矩形 10">
            <a:extLst>
              <a:ext uri="{FF2B5EF4-FFF2-40B4-BE49-F238E27FC236}">
                <a16:creationId xmlns:a16="http://schemas.microsoft.com/office/drawing/2014/main" id="{7720E7D3-E484-42EB-A638-A372F48F677E}"/>
              </a:ext>
            </a:extLst>
          </p:cNvPr>
          <p:cNvSpPr/>
          <p:nvPr/>
        </p:nvSpPr>
        <p:spPr>
          <a:xfrm>
            <a:off x="5829299" y="2943226"/>
            <a:ext cx="533402" cy="4801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38" name="椭圆 37">
            <a:extLst>
              <a:ext uri="{FF2B5EF4-FFF2-40B4-BE49-F238E27FC236}">
                <a16:creationId xmlns:a16="http://schemas.microsoft.com/office/drawing/2014/main" id="{7A4E008E-AA65-42C0-960E-B938CECF50DF}"/>
              </a:ext>
            </a:extLst>
          </p:cNvPr>
          <p:cNvSpPr/>
          <p:nvPr/>
        </p:nvSpPr>
        <p:spPr>
          <a:xfrm>
            <a:off x="1291771" y="-1660979"/>
            <a:ext cx="9608458" cy="9608458"/>
          </a:xfrm>
          <a:prstGeom prst="ellipse">
            <a:avLst/>
          </a:prstGeom>
          <a:noFill/>
          <a:ln w="76200">
            <a:gradFill>
              <a:gsLst>
                <a:gs pos="0">
                  <a:schemeClr val="accent1">
                    <a:alpha val="28000"/>
                  </a:schemeClr>
                </a:gs>
                <a:gs pos="47000">
                  <a:schemeClr val="accent1">
                    <a:alpha val="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grpSp>
        <p:nvGrpSpPr>
          <p:cNvPr id="15" name="组合 14">
            <a:extLst>
              <a:ext uri="{FF2B5EF4-FFF2-40B4-BE49-F238E27FC236}">
                <a16:creationId xmlns:a16="http://schemas.microsoft.com/office/drawing/2014/main" id="{DE8A976A-0C6C-40CE-A5C9-1CE6637E16B9}"/>
              </a:ext>
            </a:extLst>
          </p:cNvPr>
          <p:cNvGrpSpPr/>
          <p:nvPr/>
        </p:nvGrpSpPr>
        <p:grpSpPr>
          <a:xfrm>
            <a:off x="910998" y="3954689"/>
            <a:ext cx="2054680" cy="2298700"/>
            <a:chOff x="555171" y="3954689"/>
            <a:chExt cx="2054680" cy="2298700"/>
          </a:xfrm>
        </p:grpSpPr>
        <p:sp>
          <p:nvSpPr>
            <p:cNvPr id="12" name="矩形: 圆角 11">
              <a:extLst>
                <a:ext uri="{FF2B5EF4-FFF2-40B4-BE49-F238E27FC236}">
                  <a16:creationId xmlns:a16="http://schemas.microsoft.com/office/drawing/2014/main" id="{94E3F535-B5F0-4FF5-80D3-CF9FDFDFB349}"/>
                </a:ext>
              </a:extLst>
            </p:cNvPr>
            <p:cNvSpPr/>
            <p:nvPr/>
          </p:nvSpPr>
          <p:spPr>
            <a:xfrm>
              <a:off x="555171" y="3954689"/>
              <a:ext cx="2054680" cy="2298700"/>
            </a:xfrm>
            <a:prstGeom prst="roundRect">
              <a:avLst>
                <a:gd name="adj" fmla="val 9438"/>
              </a:avLst>
            </a:prstGeom>
            <a:solidFill>
              <a:schemeClr val="bg1"/>
            </a:solidFill>
            <a:ln>
              <a:noFill/>
            </a:ln>
            <a:effectLst>
              <a:outerShdw blurRad="2032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40" name="文本框 39">
              <a:extLst>
                <a:ext uri="{FF2B5EF4-FFF2-40B4-BE49-F238E27FC236}">
                  <a16:creationId xmlns:a16="http://schemas.microsoft.com/office/drawing/2014/main" id="{1BFFD4C9-A77C-4879-87FD-E7C25E83B911}"/>
                </a:ext>
              </a:extLst>
            </p:cNvPr>
            <p:cNvSpPr txBox="1"/>
            <p:nvPr/>
          </p:nvSpPr>
          <p:spPr>
            <a:xfrm>
              <a:off x="813070" y="4338067"/>
              <a:ext cx="1538883" cy="369332"/>
            </a:xfrm>
            <a:prstGeom prst="rect">
              <a:avLst/>
            </a:prstGeom>
            <a:noFill/>
          </p:spPr>
          <p:txBody>
            <a:bodyPr wrap="none" lIns="0" tIns="0" rIns="0" bIns="0" rtlCol="0" anchor="t">
              <a:spAutoFit/>
            </a:bodyPr>
            <a:lstStyle/>
            <a:p>
              <a:pPr algn="ctr"/>
              <a:r>
                <a:rPr lang="zh-CN" altLang="en-US" sz="2400" dirty="0">
                  <a:solidFill>
                    <a:schemeClr val="accent1"/>
                  </a:solidFill>
                  <a:latin typeface="+mj-ea"/>
                  <a:ea typeface="+mj-ea"/>
                </a:rPr>
                <a:t>关键词标题</a:t>
              </a:r>
            </a:p>
          </p:txBody>
        </p:sp>
        <p:sp>
          <p:nvSpPr>
            <p:cNvPr id="43" name="文本框 42">
              <a:extLst>
                <a:ext uri="{FF2B5EF4-FFF2-40B4-BE49-F238E27FC236}">
                  <a16:creationId xmlns:a16="http://schemas.microsoft.com/office/drawing/2014/main" id="{8CD09A2B-0DB0-4EFA-AE83-D054FA585D71}"/>
                </a:ext>
              </a:extLst>
            </p:cNvPr>
            <p:cNvSpPr txBox="1"/>
            <p:nvPr/>
          </p:nvSpPr>
          <p:spPr>
            <a:xfrm>
              <a:off x="777196" y="4925073"/>
              <a:ext cx="1610630" cy="944939"/>
            </a:xfrm>
            <a:prstGeom prst="rect">
              <a:avLst/>
            </a:prstGeom>
            <a:noFill/>
          </p:spPr>
          <p:txBody>
            <a:bodyPr wrap="square" lIns="0" tIns="0" rIns="0" bIns="0" rtlCol="0" anchor="t">
              <a:spAutoFit/>
            </a:bodyPr>
            <a:lstStyle/>
            <a:p>
              <a:pPr algn="ctr">
                <a:lnSpc>
                  <a:spcPct val="130000"/>
                </a:lnSpc>
              </a:pPr>
              <a:r>
                <a:rPr lang="en-US" altLang="zh-CN" sz="1200" b="0" dirty="0">
                  <a:solidFill>
                    <a:schemeClr val="tx1">
                      <a:lumMod val="75000"/>
                      <a:lumOff val="25000"/>
                    </a:schemeClr>
                  </a:solidFill>
                  <a:effectLst/>
                  <a:latin typeface="+mn-ea"/>
                </a:rPr>
                <a:t>Lorem ipsum dolor sit amet consectetur adipisicing elit sed do eiusmod tempor</a:t>
              </a:r>
              <a:endParaRPr lang="zh-CN" altLang="en-US" sz="1200" b="0" dirty="0">
                <a:solidFill>
                  <a:schemeClr val="tx1">
                    <a:lumMod val="75000"/>
                    <a:lumOff val="25000"/>
                  </a:schemeClr>
                </a:solidFill>
                <a:effectLst/>
                <a:latin typeface="+mn-ea"/>
              </a:endParaRPr>
            </a:p>
          </p:txBody>
        </p:sp>
        <p:sp>
          <p:nvSpPr>
            <p:cNvPr id="13" name="矩形 12">
              <a:extLst>
                <a:ext uri="{FF2B5EF4-FFF2-40B4-BE49-F238E27FC236}">
                  <a16:creationId xmlns:a16="http://schemas.microsoft.com/office/drawing/2014/main" id="{046E1F98-F0F0-4006-9C56-C472E1D15D48}"/>
                </a:ext>
              </a:extLst>
            </p:cNvPr>
            <p:cNvSpPr/>
            <p:nvPr/>
          </p:nvSpPr>
          <p:spPr>
            <a:xfrm>
              <a:off x="1382486" y="4788092"/>
              <a:ext cx="400050" cy="508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grpSp>
      <p:grpSp>
        <p:nvGrpSpPr>
          <p:cNvPr id="51" name="组合 50">
            <a:extLst>
              <a:ext uri="{FF2B5EF4-FFF2-40B4-BE49-F238E27FC236}">
                <a16:creationId xmlns:a16="http://schemas.microsoft.com/office/drawing/2014/main" id="{A4518F0A-15D6-4A0B-AF56-7C281FBDED5F}"/>
              </a:ext>
            </a:extLst>
          </p:cNvPr>
          <p:cNvGrpSpPr/>
          <p:nvPr/>
        </p:nvGrpSpPr>
        <p:grpSpPr>
          <a:xfrm>
            <a:off x="3682773" y="3954689"/>
            <a:ext cx="2054680" cy="2298700"/>
            <a:chOff x="555171" y="3954689"/>
            <a:chExt cx="2054680" cy="2298700"/>
          </a:xfrm>
        </p:grpSpPr>
        <p:sp>
          <p:nvSpPr>
            <p:cNvPr id="52" name="矩形: 圆角 51">
              <a:extLst>
                <a:ext uri="{FF2B5EF4-FFF2-40B4-BE49-F238E27FC236}">
                  <a16:creationId xmlns:a16="http://schemas.microsoft.com/office/drawing/2014/main" id="{ED33EC3B-DC97-44E8-B034-AF1F64DE48A5}"/>
                </a:ext>
              </a:extLst>
            </p:cNvPr>
            <p:cNvSpPr/>
            <p:nvPr/>
          </p:nvSpPr>
          <p:spPr>
            <a:xfrm>
              <a:off x="555171" y="3954689"/>
              <a:ext cx="2054680" cy="2298700"/>
            </a:xfrm>
            <a:prstGeom prst="roundRect">
              <a:avLst>
                <a:gd name="adj" fmla="val 9438"/>
              </a:avLst>
            </a:prstGeom>
            <a:solidFill>
              <a:schemeClr val="bg1"/>
            </a:solidFill>
            <a:ln>
              <a:noFill/>
            </a:ln>
            <a:effectLst>
              <a:outerShdw blurRad="2032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53" name="文本框 52">
              <a:extLst>
                <a:ext uri="{FF2B5EF4-FFF2-40B4-BE49-F238E27FC236}">
                  <a16:creationId xmlns:a16="http://schemas.microsoft.com/office/drawing/2014/main" id="{5A4FB3FD-4B17-49F5-B582-0E1A0EF0C312}"/>
                </a:ext>
              </a:extLst>
            </p:cNvPr>
            <p:cNvSpPr txBox="1"/>
            <p:nvPr/>
          </p:nvSpPr>
          <p:spPr>
            <a:xfrm>
              <a:off x="813070" y="4338067"/>
              <a:ext cx="1538883" cy="369332"/>
            </a:xfrm>
            <a:prstGeom prst="rect">
              <a:avLst/>
            </a:prstGeom>
            <a:noFill/>
          </p:spPr>
          <p:txBody>
            <a:bodyPr wrap="none" lIns="0" tIns="0" rIns="0" bIns="0" rtlCol="0" anchor="t">
              <a:spAutoFit/>
            </a:bodyPr>
            <a:lstStyle/>
            <a:p>
              <a:pPr algn="ctr"/>
              <a:r>
                <a:rPr lang="zh-CN" altLang="en-US" sz="2400" dirty="0">
                  <a:solidFill>
                    <a:schemeClr val="accent1"/>
                  </a:solidFill>
                  <a:latin typeface="+mj-ea"/>
                  <a:ea typeface="+mj-ea"/>
                </a:rPr>
                <a:t>关键词标题</a:t>
              </a:r>
            </a:p>
          </p:txBody>
        </p:sp>
        <p:sp>
          <p:nvSpPr>
            <p:cNvPr id="54" name="文本框 53">
              <a:extLst>
                <a:ext uri="{FF2B5EF4-FFF2-40B4-BE49-F238E27FC236}">
                  <a16:creationId xmlns:a16="http://schemas.microsoft.com/office/drawing/2014/main" id="{166545E8-A9BA-4102-9756-1ABE1167E4CE}"/>
                </a:ext>
              </a:extLst>
            </p:cNvPr>
            <p:cNvSpPr txBox="1"/>
            <p:nvPr/>
          </p:nvSpPr>
          <p:spPr>
            <a:xfrm>
              <a:off x="777196" y="4925073"/>
              <a:ext cx="1610630" cy="944939"/>
            </a:xfrm>
            <a:prstGeom prst="rect">
              <a:avLst/>
            </a:prstGeom>
            <a:noFill/>
          </p:spPr>
          <p:txBody>
            <a:bodyPr wrap="square" lIns="0" tIns="0" rIns="0" bIns="0" rtlCol="0" anchor="t">
              <a:spAutoFit/>
            </a:bodyPr>
            <a:lstStyle/>
            <a:p>
              <a:pPr algn="ctr">
                <a:lnSpc>
                  <a:spcPct val="130000"/>
                </a:lnSpc>
              </a:pPr>
              <a:r>
                <a:rPr lang="en-US" altLang="zh-CN" sz="1200" b="0" dirty="0">
                  <a:solidFill>
                    <a:schemeClr val="tx1">
                      <a:lumMod val="75000"/>
                      <a:lumOff val="25000"/>
                    </a:schemeClr>
                  </a:solidFill>
                  <a:effectLst/>
                  <a:latin typeface="+mn-ea"/>
                </a:rPr>
                <a:t>Lorem ipsum dolor sit amet consectetur adipisicing elit sed do eiusmod tempor</a:t>
              </a:r>
              <a:endParaRPr lang="zh-CN" altLang="en-US" sz="1200" b="0" dirty="0">
                <a:solidFill>
                  <a:schemeClr val="tx1">
                    <a:lumMod val="75000"/>
                    <a:lumOff val="25000"/>
                  </a:schemeClr>
                </a:solidFill>
                <a:effectLst/>
                <a:latin typeface="+mn-ea"/>
              </a:endParaRPr>
            </a:p>
          </p:txBody>
        </p:sp>
        <p:sp>
          <p:nvSpPr>
            <p:cNvPr id="55" name="矩形 54">
              <a:extLst>
                <a:ext uri="{FF2B5EF4-FFF2-40B4-BE49-F238E27FC236}">
                  <a16:creationId xmlns:a16="http://schemas.microsoft.com/office/drawing/2014/main" id="{5D12A37B-C2B4-4B1C-8CDB-6FA77F19BF83}"/>
                </a:ext>
              </a:extLst>
            </p:cNvPr>
            <p:cNvSpPr/>
            <p:nvPr/>
          </p:nvSpPr>
          <p:spPr>
            <a:xfrm>
              <a:off x="1382486" y="4788092"/>
              <a:ext cx="400050" cy="508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grpSp>
      <p:grpSp>
        <p:nvGrpSpPr>
          <p:cNvPr id="57" name="组合 56">
            <a:extLst>
              <a:ext uri="{FF2B5EF4-FFF2-40B4-BE49-F238E27FC236}">
                <a16:creationId xmlns:a16="http://schemas.microsoft.com/office/drawing/2014/main" id="{5048A976-7111-474C-A3D8-47ECFD7AEEBC}"/>
              </a:ext>
            </a:extLst>
          </p:cNvPr>
          <p:cNvGrpSpPr/>
          <p:nvPr/>
        </p:nvGrpSpPr>
        <p:grpSpPr>
          <a:xfrm>
            <a:off x="6454548" y="3954689"/>
            <a:ext cx="2054680" cy="2298700"/>
            <a:chOff x="555171" y="3954689"/>
            <a:chExt cx="2054680" cy="2298700"/>
          </a:xfrm>
        </p:grpSpPr>
        <p:sp>
          <p:nvSpPr>
            <p:cNvPr id="58" name="矩形: 圆角 57">
              <a:extLst>
                <a:ext uri="{FF2B5EF4-FFF2-40B4-BE49-F238E27FC236}">
                  <a16:creationId xmlns:a16="http://schemas.microsoft.com/office/drawing/2014/main" id="{C2837B50-39D3-4989-A762-DB79B1656C0E}"/>
                </a:ext>
              </a:extLst>
            </p:cNvPr>
            <p:cNvSpPr/>
            <p:nvPr/>
          </p:nvSpPr>
          <p:spPr>
            <a:xfrm>
              <a:off x="555171" y="3954689"/>
              <a:ext cx="2054680" cy="2298700"/>
            </a:xfrm>
            <a:prstGeom prst="roundRect">
              <a:avLst>
                <a:gd name="adj" fmla="val 9438"/>
              </a:avLst>
            </a:prstGeom>
            <a:solidFill>
              <a:schemeClr val="bg1"/>
            </a:solidFill>
            <a:ln>
              <a:noFill/>
            </a:ln>
            <a:effectLst>
              <a:outerShdw blurRad="2032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77" name="文本框 76">
              <a:extLst>
                <a:ext uri="{FF2B5EF4-FFF2-40B4-BE49-F238E27FC236}">
                  <a16:creationId xmlns:a16="http://schemas.microsoft.com/office/drawing/2014/main" id="{39A50BEC-CAB2-4117-80D9-3E687228F03E}"/>
                </a:ext>
              </a:extLst>
            </p:cNvPr>
            <p:cNvSpPr txBox="1"/>
            <p:nvPr/>
          </p:nvSpPr>
          <p:spPr>
            <a:xfrm>
              <a:off x="813070" y="4338067"/>
              <a:ext cx="1538883" cy="369332"/>
            </a:xfrm>
            <a:prstGeom prst="rect">
              <a:avLst/>
            </a:prstGeom>
            <a:noFill/>
          </p:spPr>
          <p:txBody>
            <a:bodyPr wrap="none" lIns="0" tIns="0" rIns="0" bIns="0" rtlCol="0" anchor="t">
              <a:spAutoFit/>
            </a:bodyPr>
            <a:lstStyle/>
            <a:p>
              <a:pPr algn="ctr"/>
              <a:r>
                <a:rPr lang="zh-CN" altLang="en-US" sz="2400" dirty="0">
                  <a:solidFill>
                    <a:schemeClr val="accent1"/>
                  </a:solidFill>
                  <a:latin typeface="+mj-ea"/>
                  <a:ea typeface="+mj-ea"/>
                </a:rPr>
                <a:t>关键词标题</a:t>
              </a:r>
            </a:p>
          </p:txBody>
        </p:sp>
        <p:sp>
          <p:nvSpPr>
            <p:cNvPr id="78" name="文本框 77">
              <a:extLst>
                <a:ext uri="{FF2B5EF4-FFF2-40B4-BE49-F238E27FC236}">
                  <a16:creationId xmlns:a16="http://schemas.microsoft.com/office/drawing/2014/main" id="{73DCF3AC-3E56-4F45-8265-C15BB544589D}"/>
                </a:ext>
              </a:extLst>
            </p:cNvPr>
            <p:cNvSpPr txBox="1"/>
            <p:nvPr/>
          </p:nvSpPr>
          <p:spPr>
            <a:xfrm>
              <a:off x="777196" y="4925073"/>
              <a:ext cx="1610630" cy="944939"/>
            </a:xfrm>
            <a:prstGeom prst="rect">
              <a:avLst/>
            </a:prstGeom>
            <a:noFill/>
          </p:spPr>
          <p:txBody>
            <a:bodyPr wrap="square" lIns="0" tIns="0" rIns="0" bIns="0" rtlCol="0" anchor="t">
              <a:spAutoFit/>
            </a:bodyPr>
            <a:lstStyle/>
            <a:p>
              <a:pPr algn="ctr">
                <a:lnSpc>
                  <a:spcPct val="130000"/>
                </a:lnSpc>
              </a:pPr>
              <a:r>
                <a:rPr lang="en-US" altLang="zh-CN" sz="1200" b="0" dirty="0">
                  <a:solidFill>
                    <a:schemeClr val="tx1">
                      <a:lumMod val="75000"/>
                      <a:lumOff val="25000"/>
                    </a:schemeClr>
                  </a:solidFill>
                  <a:effectLst/>
                  <a:latin typeface="+mn-ea"/>
                </a:rPr>
                <a:t>Lorem ipsum dolor sit amet consectetur adipisicing elit sed do eiusmod tempor</a:t>
              </a:r>
              <a:endParaRPr lang="zh-CN" altLang="en-US" sz="1200" b="0" dirty="0">
                <a:solidFill>
                  <a:schemeClr val="tx1">
                    <a:lumMod val="75000"/>
                    <a:lumOff val="25000"/>
                  </a:schemeClr>
                </a:solidFill>
                <a:effectLst/>
                <a:latin typeface="+mn-ea"/>
              </a:endParaRPr>
            </a:p>
          </p:txBody>
        </p:sp>
        <p:sp>
          <p:nvSpPr>
            <p:cNvPr id="79" name="矩形 78">
              <a:extLst>
                <a:ext uri="{FF2B5EF4-FFF2-40B4-BE49-F238E27FC236}">
                  <a16:creationId xmlns:a16="http://schemas.microsoft.com/office/drawing/2014/main" id="{5C931B03-1EB3-4545-B6C1-84CCCB3041C3}"/>
                </a:ext>
              </a:extLst>
            </p:cNvPr>
            <p:cNvSpPr/>
            <p:nvPr/>
          </p:nvSpPr>
          <p:spPr>
            <a:xfrm>
              <a:off x="1382486" y="4788092"/>
              <a:ext cx="400050" cy="508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grpSp>
      <p:grpSp>
        <p:nvGrpSpPr>
          <p:cNvPr id="80" name="组合 79">
            <a:extLst>
              <a:ext uri="{FF2B5EF4-FFF2-40B4-BE49-F238E27FC236}">
                <a16:creationId xmlns:a16="http://schemas.microsoft.com/office/drawing/2014/main" id="{426407CD-2539-470C-8A6A-63FA4C25D655}"/>
              </a:ext>
            </a:extLst>
          </p:cNvPr>
          <p:cNvGrpSpPr/>
          <p:nvPr/>
        </p:nvGrpSpPr>
        <p:grpSpPr>
          <a:xfrm>
            <a:off x="9226323" y="3954689"/>
            <a:ext cx="2054680" cy="2298700"/>
            <a:chOff x="555171" y="3954689"/>
            <a:chExt cx="2054680" cy="2298700"/>
          </a:xfrm>
        </p:grpSpPr>
        <p:sp>
          <p:nvSpPr>
            <p:cNvPr id="81" name="矩形: 圆角 80">
              <a:extLst>
                <a:ext uri="{FF2B5EF4-FFF2-40B4-BE49-F238E27FC236}">
                  <a16:creationId xmlns:a16="http://schemas.microsoft.com/office/drawing/2014/main" id="{2984A669-3CEB-4484-9DA0-0FE56BAC089A}"/>
                </a:ext>
              </a:extLst>
            </p:cNvPr>
            <p:cNvSpPr/>
            <p:nvPr/>
          </p:nvSpPr>
          <p:spPr>
            <a:xfrm>
              <a:off x="555171" y="3954689"/>
              <a:ext cx="2054680" cy="2298700"/>
            </a:xfrm>
            <a:prstGeom prst="roundRect">
              <a:avLst>
                <a:gd name="adj" fmla="val 9438"/>
              </a:avLst>
            </a:prstGeom>
            <a:solidFill>
              <a:schemeClr val="bg1"/>
            </a:solidFill>
            <a:ln>
              <a:noFill/>
            </a:ln>
            <a:effectLst>
              <a:outerShdw blurRad="2032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82" name="文本框 81">
              <a:extLst>
                <a:ext uri="{FF2B5EF4-FFF2-40B4-BE49-F238E27FC236}">
                  <a16:creationId xmlns:a16="http://schemas.microsoft.com/office/drawing/2014/main" id="{C2C8E70E-378A-40FA-BF78-B6EEE4612122}"/>
                </a:ext>
              </a:extLst>
            </p:cNvPr>
            <p:cNvSpPr txBox="1"/>
            <p:nvPr/>
          </p:nvSpPr>
          <p:spPr>
            <a:xfrm>
              <a:off x="813070" y="4338067"/>
              <a:ext cx="1538883" cy="369332"/>
            </a:xfrm>
            <a:prstGeom prst="rect">
              <a:avLst/>
            </a:prstGeom>
            <a:noFill/>
          </p:spPr>
          <p:txBody>
            <a:bodyPr wrap="none" lIns="0" tIns="0" rIns="0" bIns="0" rtlCol="0" anchor="t">
              <a:spAutoFit/>
            </a:bodyPr>
            <a:lstStyle/>
            <a:p>
              <a:pPr algn="ctr"/>
              <a:r>
                <a:rPr lang="zh-CN" altLang="en-US" sz="2400" dirty="0">
                  <a:solidFill>
                    <a:schemeClr val="accent1"/>
                  </a:solidFill>
                  <a:latin typeface="+mj-ea"/>
                  <a:ea typeface="+mj-ea"/>
                </a:rPr>
                <a:t>关键词标题</a:t>
              </a:r>
            </a:p>
          </p:txBody>
        </p:sp>
        <p:sp>
          <p:nvSpPr>
            <p:cNvPr id="83" name="文本框 82">
              <a:extLst>
                <a:ext uri="{FF2B5EF4-FFF2-40B4-BE49-F238E27FC236}">
                  <a16:creationId xmlns:a16="http://schemas.microsoft.com/office/drawing/2014/main" id="{0921E6A4-E4B9-43B5-BFC7-CF372DEC6979}"/>
                </a:ext>
              </a:extLst>
            </p:cNvPr>
            <p:cNvSpPr txBox="1"/>
            <p:nvPr/>
          </p:nvSpPr>
          <p:spPr>
            <a:xfrm>
              <a:off x="777196" y="4925073"/>
              <a:ext cx="1610630" cy="944939"/>
            </a:xfrm>
            <a:prstGeom prst="rect">
              <a:avLst/>
            </a:prstGeom>
            <a:noFill/>
          </p:spPr>
          <p:txBody>
            <a:bodyPr wrap="square" lIns="0" tIns="0" rIns="0" bIns="0" rtlCol="0" anchor="t">
              <a:spAutoFit/>
            </a:bodyPr>
            <a:lstStyle/>
            <a:p>
              <a:pPr algn="ctr">
                <a:lnSpc>
                  <a:spcPct val="130000"/>
                </a:lnSpc>
              </a:pPr>
              <a:r>
                <a:rPr lang="en-US" altLang="zh-CN" sz="1200" b="0" dirty="0">
                  <a:solidFill>
                    <a:schemeClr val="tx1">
                      <a:lumMod val="75000"/>
                      <a:lumOff val="25000"/>
                    </a:schemeClr>
                  </a:solidFill>
                  <a:effectLst/>
                  <a:latin typeface="+mn-ea"/>
                </a:rPr>
                <a:t>Lorem ipsum dolor sit amet consectetur adipisicing elit sed do eiusmod tempor</a:t>
              </a:r>
              <a:endParaRPr lang="zh-CN" altLang="en-US" sz="1200" b="0" dirty="0">
                <a:solidFill>
                  <a:schemeClr val="tx1">
                    <a:lumMod val="75000"/>
                    <a:lumOff val="25000"/>
                  </a:schemeClr>
                </a:solidFill>
                <a:effectLst/>
                <a:latin typeface="+mn-ea"/>
              </a:endParaRPr>
            </a:p>
          </p:txBody>
        </p:sp>
        <p:sp>
          <p:nvSpPr>
            <p:cNvPr id="84" name="矩形 83">
              <a:extLst>
                <a:ext uri="{FF2B5EF4-FFF2-40B4-BE49-F238E27FC236}">
                  <a16:creationId xmlns:a16="http://schemas.microsoft.com/office/drawing/2014/main" id="{44ADCBCF-3534-495F-A4A2-E92A7682EBE9}"/>
                </a:ext>
              </a:extLst>
            </p:cNvPr>
            <p:cNvSpPr/>
            <p:nvPr/>
          </p:nvSpPr>
          <p:spPr>
            <a:xfrm>
              <a:off x="1382486" y="4788092"/>
              <a:ext cx="400050" cy="508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grpSp>
    </p:spTree>
    <p:extLst>
      <p:ext uri="{BB962C8B-B14F-4D97-AF65-F5344CB8AC3E}">
        <p14:creationId xmlns:p14="http://schemas.microsoft.com/office/powerpoint/2010/main" val="1763909193"/>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2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任意形状 9">
            <a:extLst>
              <a:ext uri="{FF2B5EF4-FFF2-40B4-BE49-F238E27FC236}">
                <a16:creationId xmlns:a16="http://schemas.microsoft.com/office/drawing/2014/main" id="{79C0392D-8AB4-4C9C-BB47-E593C645F444}"/>
              </a:ext>
            </a:extLst>
          </p:cNvPr>
          <p:cNvSpPr/>
          <p:nvPr/>
        </p:nvSpPr>
        <p:spPr>
          <a:xfrm>
            <a:off x="0" y="6457950"/>
            <a:ext cx="12192000" cy="400050"/>
          </a:xfrm>
          <a:custGeom>
            <a:avLst/>
            <a:gdLst>
              <a:gd name="connsiteX0" fmla="*/ 12192000 w 12192000"/>
              <a:gd name="connsiteY0" fmla="*/ 0 h 329410"/>
              <a:gd name="connsiteX1" fmla="*/ 12192000 w 12192000"/>
              <a:gd name="connsiteY1" fmla="*/ 329410 h 329410"/>
              <a:gd name="connsiteX2" fmla="*/ 0 w 12192000"/>
              <a:gd name="connsiteY2" fmla="*/ 329410 h 329410"/>
              <a:gd name="connsiteX3" fmla="*/ 0 w 12192000"/>
              <a:gd name="connsiteY3" fmla="*/ 29375 h 329410"/>
              <a:gd name="connsiteX4" fmla="*/ 577089 w 12192000"/>
              <a:gd name="connsiteY4" fmla="*/ 49593 h 329410"/>
              <a:gd name="connsiteX5" fmla="*/ 5704114 w 12192000"/>
              <a:gd name="connsiteY5" fmla="*/ 124873 h 329410"/>
              <a:gd name="connsiteX6" fmla="*/ 11982536 w 12192000"/>
              <a:gd name="connsiteY6" fmla="*/ 9255 h 329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329410">
                <a:moveTo>
                  <a:pt x="12192000" y="0"/>
                </a:moveTo>
                <a:lnTo>
                  <a:pt x="12192000" y="329410"/>
                </a:lnTo>
                <a:lnTo>
                  <a:pt x="0" y="329410"/>
                </a:lnTo>
                <a:lnTo>
                  <a:pt x="0" y="29375"/>
                </a:lnTo>
                <a:lnTo>
                  <a:pt x="577089" y="49593"/>
                </a:lnTo>
                <a:cubicBezTo>
                  <a:pt x="2152931" y="98068"/>
                  <a:pt x="3885480" y="124873"/>
                  <a:pt x="5704114" y="124873"/>
                </a:cubicBezTo>
                <a:cubicBezTo>
                  <a:pt x="7977407" y="124873"/>
                  <a:pt x="10116192" y="82990"/>
                  <a:pt x="11982536" y="9255"/>
                </a:cubicBezTo>
                <a:close/>
              </a:path>
            </a:pathLst>
          </a:custGeom>
          <a:solidFill>
            <a:schemeClr val="accent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zh-CN" altLang="en-US"/>
          </a:p>
        </p:txBody>
      </p:sp>
      <p:sp>
        <p:nvSpPr>
          <p:cNvPr id="8" name="椭圆 7">
            <a:extLst>
              <a:ext uri="{FF2B5EF4-FFF2-40B4-BE49-F238E27FC236}">
                <a16:creationId xmlns:a16="http://schemas.microsoft.com/office/drawing/2014/main" id="{0BF1852D-B998-442B-8199-F9556173EDE1}"/>
              </a:ext>
            </a:extLst>
          </p:cNvPr>
          <p:cNvSpPr/>
          <p:nvPr/>
        </p:nvSpPr>
        <p:spPr>
          <a:xfrm>
            <a:off x="4424363" y="2373418"/>
            <a:ext cx="1971675" cy="1971675"/>
          </a:xfrm>
          <a:prstGeom prst="ellipse">
            <a:avLst/>
          </a:prstGeom>
          <a:solidFill>
            <a:schemeClr val="accent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18" name="椭圆 17">
            <a:extLst>
              <a:ext uri="{FF2B5EF4-FFF2-40B4-BE49-F238E27FC236}">
                <a16:creationId xmlns:a16="http://schemas.microsoft.com/office/drawing/2014/main" id="{72A5C50E-7175-4A84-80CA-4F26595AAE22}"/>
              </a:ext>
            </a:extLst>
          </p:cNvPr>
          <p:cNvSpPr/>
          <p:nvPr/>
        </p:nvSpPr>
        <p:spPr>
          <a:xfrm>
            <a:off x="5795963" y="2373418"/>
            <a:ext cx="1971675" cy="1971675"/>
          </a:xfrm>
          <a:prstGeom prst="ellipse">
            <a:avLst/>
          </a:prstGeom>
          <a:solidFill>
            <a:schemeClr val="accent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20" name="文本框 19">
            <a:extLst>
              <a:ext uri="{FF2B5EF4-FFF2-40B4-BE49-F238E27FC236}">
                <a16:creationId xmlns:a16="http://schemas.microsoft.com/office/drawing/2014/main" id="{0C66C6EA-CDA8-48EE-B682-BC830E0B6D38}"/>
              </a:ext>
            </a:extLst>
          </p:cNvPr>
          <p:cNvSpPr txBox="1"/>
          <p:nvPr/>
        </p:nvSpPr>
        <p:spPr>
          <a:xfrm>
            <a:off x="4830856" y="3206748"/>
            <a:ext cx="769441" cy="307777"/>
          </a:xfrm>
          <a:prstGeom prst="rect">
            <a:avLst/>
          </a:prstGeom>
          <a:noFill/>
        </p:spPr>
        <p:txBody>
          <a:bodyPr wrap="none" lIns="0" tIns="0" rIns="0" bIns="0" rtlCol="0" anchor="t">
            <a:spAutoFit/>
          </a:bodyPr>
          <a:lstStyle/>
          <a:p>
            <a:pPr algn="ctr"/>
            <a:r>
              <a:rPr lang="zh-CN" altLang="en-US" sz="2000" dirty="0">
                <a:solidFill>
                  <a:schemeClr val="bg1"/>
                </a:solidFill>
                <a:latin typeface="+mj-ea"/>
                <a:ea typeface="+mj-ea"/>
              </a:rPr>
              <a:t>关键词</a:t>
            </a:r>
          </a:p>
        </p:txBody>
      </p:sp>
      <p:sp>
        <p:nvSpPr>
          <p:cNvPr id="21" name="文本框 20">
            <a:extLst>
              <a:ext uri="{FF2B5EF4-FFF2-40B4-BE49-F238E27FC236}">
                <a16:creationId xmlns:a16="http://schemas.microsoft.com/office/drawing/2014/main" id="{10FE68D9-BDE2-47B0-8467-3591787C5660}"/>
              </a:ext>
            </a:extLst>
          </p:cNvPr>
          <p:cNvSpPr txBox="1"/>
          <p:nvPr/>
        </p:nvSpPr>
        <p:spPr>
          <a:xfrm>
            <a:off x="6587176" y="3206748"/>
            <a:ext cx="769441" cy="307777"/>
          </a:xfrm>
          <a:prstGeom prst="rect">
            <a:avLst/>
          </a:prstGeom>
          <a:noFill/>
        </p:spPr>
        <p:txBody>
          <a:bodyPr wrap="none" lIns="0" tIns="0" rIns="0" bIns="0" rtlCol="0" anchor="t">
            <a:spAutoFit/>
          </a:bodyPr>
          <a:lstStyle/>
          <a:p>
            <a:pPr algn="ctr"/>
            <a:r>
              <a:rPr lang="zh-CN" altLang="en-US" sz="2000" dirty="0">
                <a:solidFill>
                  <a:schemeClr val="bg1"/>
                </a:solidFill>
                <a:latin typeface="+mj-ea"/>
                <a:ea typeface="+mj-ea"/>
              </a:rPr>
              <a:t>关键词</a:t>
            </a:r>
          </a:p>
        </p:txBody>
      </p:sp>
      <p:sp>
        <p:nvSpPr>
          <p:cNvPr id="22" name="文本框 21">
            <a:extLst>
              <a:ext uri="{FF2B5EF4-FFF2-40B4-BE49-F238E27FC236}">
                <a16:creationId xmlns:a16="http://schemas.microsoft.com/office/drawing/2014/main" id="{8E3DC8CA-B87B-4D5F-8964-50B150142F38}"/>
              </a:ext>
            </a:extLst>
          </p:cNvPr>
          <p:cNvSpPr txBox="1"/>
          <p:nvPr/>
        </p:nvSpPr>
        <p:spPr>
          <a:xfrm>
            <a:off x="1773084" y="2163106"/>
            <a:ext cx="2067874" cy="369332"/>
          </a:xfrm>
          <a:prstGeom prst="rect">
            <a:avLst/>
          </a:prstGeom>
          <a:noFill/>
        </p:spPr>
        <p:txBody>
          <a:bodyPr wrap="none" lIns="0" tIns="0" rIns="0" bIns="0" rtlCol="0" anchor="t">
            <a:spAutoFit/>
          </a:bodyPr>
          <a:lstStyle/>
          <a:p>
            <a:pPr algn="r"/>
            <a:r>
              <a:rPr lang="en-US" altLang="zh-CN" sz="2400" dirty="0">
                <a:solidFill>
                  <a:schemeClr val="accent1"/>
                </a:solidFill>
                <a:latin typeface="+mj-ea"/>
                <a:ea typeface="+mj-ea"/>
              </a:rPr>
              <a:t>01.</a:t>
            </a:r>
            <a:r>
              <a:rPr lang="zh-CN" altLang="en-US" sz="2400" dirty="0">
                <a:solidFill>
                  <a:schemeClr val="accent1"/>
                </a:solidFill>
                <a:latin typeface="+mj-ea"/>
                <a:ea typeface="+mj-ea"/>
              </a:rPr>
              <a:t> 关键词标题</a:t>
            </a:r>
          </a:p>
        </p:txBody>
      </p:sp>
      <p:sp>
        <p:nvSpPr>
          <p:cNvPr id="23" name="文本框 22">
            <a:extLst>
              <a:ext uri="{FF2B5EF4-FFF2-40B4-BE49-F238E27FC236}">
                <a16:creationId xmlns:a16="http://schemas.microsoft.com/office/drawing/2014/main" id="{FEC291EA-404F-4E02-BB86-7CBCDCD0C855}"/>
              </a:ext>
            </a:extLst>
          </p:cNvPr>
          <p:cNvSpPr txBox="1"/>
          <p:nvPr/>
        </p:nvSpPr>
        <p:spPr>
          <a:xfrm>
            <a:off x="800100" y="2572551"/>
            <a:ext cx="3040858" cy="464807"/>
          </a:xfrm>
          <a:prstGeom prst="rect">
            <a:avLst/>
          </a:prstGeom>
          <a:noFill/>
        </p:spPr>
        <p:txBody>
          <a:bodyPr wrap="square" lIns="0" tIns="0" rIns="0" bIns="0" rtlCol="0" anchor="t">
            <a:spAutoFit/>
          </a:bodyPr>
          <a:lstStyle/>
          <a:p>
            <a:pPr algn="r">
              <a:lnSpc>
                <a:spcPct val="130000"/>
              </a:lnSpc>
            </a:pPr>
            <a:r>
              <a:rPr lang="en-US" altLang="zh-CN" sz="1200" b="0" dirty="0">
                <a:solidFill>
                  <a:schemeClr val="tx1">
                    <a:lumMod val="75000"/>
                    <a:lumOff val="25000"/>
                  </a:schemeClr>
                </a:solidFill>
                <a:effectLst/>
                <a:latin typeface="+mn-ea"/>
              </a:rPr>
              <a:t>Lorem ipsum dolor sit amet, consectetur adipisicing elit, sed do eiusmod tempor</a:t>
            </a:r>
            <a:endParaRPr lang="zh-CN" altLang="en-US" sz="1200" b="0" dirty="0">
              <a:solidFill>
                <a:schemeClr val="tx1">
                  <a:lumMod val="75000"/>
                  <a:lumOff val="25000"/>
                </a:schemeClr>
              </a:solidFill>
              <a:effectLst/>
              <a:latin typeface="+mn-ea"/>
            </a:endParaRPr>
          </a:p>
        </p:txBody>
      </p:sp>
      <p:sp>
        <p:nvSpPr>
          <p:cNvPr id="24" name="文本框 23">
            <a:extLst>
              <a:ext uri="{FF2B5EF4-FFF2-40B4-BE49-F238E27FC236}">
                <a16:creationId xmlns:a16="http://schemas.microsoft.com/office/drawing/2014/main" id="{56E3E022-6C16-4406-ABB8-0CE74294C6FA}"/>
              </a:ext>
            </a:extLst>
          </p:cNvPr>
          <p:cNvSpPr txBox="1"/>
          <p:nvPr/>
        </p:nvSpPr>
        <p:spPr>
          <a:xfrm>
            <a:off x="1718582" y="3624161"/>
            <a:ext cx="2122376" cy="369332"/>
          </a:xfrm>
          <a:prstGeom prst="rect">
            <a:avLst/>
          </a:prstGeom>
          <a:noFill/>
        </p:spPr>
        <p:txBody>
          <a:bodyPr wrap="none" lIns="0" tIns="0" rIns="0" bIns="0" rtlCol="0" anchor="t">
            <a:spAutoFit/>
          </a:bodyPr>
          <a:lstStyle/>
          <a:p>
            <a:pPr algn="r"/>
            <a:r>
              <a:rPr lang="en-US" altLang="zh-CN" sz="2400" dirty="0">
                <a:solidFill>
                  <a:schemeClr val="accent1"/>
                </a:solidFill>
                <a:latin typeface="+mj-ea"/>
                <a:ea typeface="+mj-ea"/>
              </a:rPr>
              <a:t>02.</a:t>
            </a:r>
            <a:r>
              <a:rPr lang="zh-CN" altLang="en-US" sz="2400" dirty="0">
                <a:solidFill>
                  <a:schemeClr val="accent1"/>
                </a:solidFill>
                <a:latin typeface="+mj-ea"/>
                <a:ea typeface="+mj-ea"/>
              </a:rPr>
              <a:t> 关键词标题</a:t>
            </a:r>
          </a:p>
        </p:txBody>
      </p:sp>
      <p:sp>
        <p:nvSpPr>
          <p:cNvPr id="25" name="文本框 24">
            <a:extLst>
              <a:ext uri="{FF2B5EF4-FFF2-40B4-BE49-F238E27FC236}">
                <a16:creationId xmlns:a16="http://schemas.microsoft.com/office/drawing/2014/main" id="{296CBDFD-1A1B-4276-9F27-003DE6DAD8E1}"/>
              </a:ext>
            </a:extLst>
          </p:cNvPr>
          <p:cNvSpPr txBox="1"/>
          <p:nvPr/>
        </p:nvSpPr>
        <p:spPr>
          <a:xfrm>
            <a:off x="800100" y="4033606"/>
            <a:ext cx="3040858" cy="464807"/>
          </a:xfrm>
          <a:prstGeom prst="rect">
            <a:avLst/>
          </a:prstGeom>
          <a:noFill/>
        </p:spPr>
        <p:txBody>
          <a:bodyPr wrap="square" lIns="0" tIns="0" rIns="0" bIns="0" rtlCol="0" anchor="t">
            <a:spAutoFit/>
          </a:bodyPr>
          <a:lstStyle/>
          <a:p>
            <a:pPr algn="r">
              <a:lnSpc>
                <a:spcPct val="130000"/>
              </a:lnSpc>
            </a:pPr>
            <a:r>
              <a:rPr lang="en-US" altLang="zh-CN" sz="1200" b="0" dirty="0">
                <a:solidFill>
                  <a:schemeClr val="tx1">
                    <a:lumMod val="75000"/>
                    <a:lumOff val="25000"/>
                  </a:schemeClr>
                </a:solidFill>
                <a:effectLst/>
                <a:latin typeface="+mn-ea"/>
              </a:rPr>
              <a:t>Lorem ipsum dolor sit amet, consectetur adipisicing elit, sed do eiusmod tempor</a:t>
            </a:r>
            <a:endParaRPr lang="zh-CN" altLang="en-US" sz="1200" b="0" dirty="0">
              <a:solidFill>
                <a:schemeClr val="tx1">
                  <a:lumMod val="75000"/>
                  <a:lumOff val="25000"/>
                </a:schemeClr>
              </a:solidFill>
              <a:effectLst/>
              <a:latin typeface="+mn-ea"/>
            </a:endParaRPr>
          </a:p>
        </p:txBody>
      </p:sp>
      <p:sp>
        <p:nvSpPr>
          <p:cNvPr id="26" name="文本框 25">
            <a:extLst>
              <a:ext uri="{FF2B5EF4-FFF2-40B4-BE49-F238E27FC236}">
                <a16:creationId xmlns:a16="http://schemas.microsoft.com/office/drawing/2014/main" id="{14D4B9F8-790B-4CC8-A3B4-0027EE9F4506}"/>
              </a:ext>
            </a:extLst>
          </p:cNvPr>
          <p:cNvSpPr txBox="1"/>
          <p:nvPr/>
        </p:nvSpPr>
        <p:spPr>
          <a:xfrm>
            <a:off x="8343497" y="2163106"/>
            <a:ext cx="2122376" cy="369332"/>
          </a:xfrm>
          <a:prstGeom prst="rect">
            <a:avLst/>
          </a:prstGeom>
          <a:noFill/>
        </p:spPr>
        <p:txBody>
          <a:bodyPr wrap="none" lIns="0" tIns="0" rIns="0" bIns="0" rtlCol="0" anchor="t">
            <a:spAutoFit/>
          </a:bodyPr>
          <a:lstStyle/>
          <a:p>
            <a:r>
              <a:rPr lang="en-US" altLang="zh-CN" sz="2400" dirty="0">
                <a:solidFill>
                  <a:schemeClr val="accent1"/>
                </a:solidFill>
                <a:latin typeface="+mj-ea"/>
                <a:ea typeface="+mj-ea"/>
              </a:rPr>
              <a:t>03.</a:t>
            </a:r>
            <a:r>
              <a:rPr lang="zh-CN" altLang="en-US" sz="2400" dirty="0">
                <a:solidFill>
                  <a:schemeClr val="accent1"/>
                </a:solidFill>
                <a:latin typeface="+mj-ea"/>
                <a:ea typeface="+mj-ea"/>
              </a:rPr>
              <a:t> 关键词标题</a:t>
            </a:r>
          </a:p>
        </p:txBody>
      </p:sp>
      <p:sp>
        <p:nvSpPr>
          <p:cNvPr id="27" name="文本框 26">
            <a:extLst>
              <a:ext uri="{FF2B5EF4-FFF2-40B4-BE49-F238E27FC236}">
                <a16:creationId xmlns:a16="http://schemas.microsoft.com/office/drawing/2014/main" id="{826411EC-6521-4747-A808-EB16D389D3E3}"/>
              </a:ext>
            </a:extLst>
          </p:cNvPr>
          <p:cNvSpPr txBox="1"/>
          <p:nvPr/>
        </p:nvSpPr>
        <p:spPr>
          <a:xfrm>
            <a:off x="8343497" y="2572551"/>
            <a:ext cx="2915053" cy="702628"/>
          </a:xfrm>
          <a:prstGeom prst="rect">
            <a:avLst/>
          </a:prstGeom>
          <a:noFill/>
        </p:spPr>
        <p:txBody>
          <a:bodyPr wrap="square" lIns="0" tIns="0" rIns="0" bIns="0" rtlCol="0" anchor="t">
            <a:spAutoFit/>
          </a:bodyPr>
          <a:lstStyle/>
          <a:p>
            <a:pPr>
              <a:lnSpc>
                <a:spcPct val="130000"/>
              </a:lnSpc>
            </a:pPr>
            <a:r>
              <a:rPr lang="en-US" altLang="zh-CN" sz="1200" b="0" dirty="0">
                <a:solidFill>
                  <a:schemeClr val="tx1">
                    <a:lumMod val="75000"/>
                    <a:lumOff val="25000"/>
                  </a:schemeClr>
                </a:solidFill>
                <a:effectLst/>
                <a:latin typeface="+mn-ea"/>
              </a:rPr>
              <a:t>Lorem ipsum dolor sit amet, consectetur adipisicing elit, sed do eiusmod tempor</a:t>
            </a:r>
            <a:endParaRPr lang="zh-CN" altLang="en-US" sz="1200" b="0" dirty="0">
              <a:solidFill>
                <a:schemeClr val="tx1">
                  <a:lumMod val="75000"/>
                  <a:lumOff val="25000"/>
                </a:schemeClr>
              </a:solidFill>
              <a:effectLst/>
              <a:latin typeface="+mn-ea"/>
            </a:endParaRPr>
          </a:p>
        </p:txBody>
      </p:sp>
      <p:sp>
        <p:nvSpPr>
          <p:cNvPr id="33" name="文本框 32">
            <a:extLst>
              <a:ext uri="{FF2B5EF4-FFF2-40B4-BE49-F238E27FC236}">
                <a16:creationId xmlns:a16="http://schemas.microsoft.com/office/drawing/2014/main" id="{02562A53-015A-4DD2-A57B-59730CA24D5B}"/>
              </a:ext>
            </a:extLst>
          </p:cNvPr>
          <p:cNvSpPr txBox="1"/>
          <p:nvPr/>
        </p:nvSpPr>
        <p:spPr>
          <a:xfrm>
            <a:off x="8343497" y="3624161"/>
            <a:ext cx="2122376" cy="369332"/>
          </a:xfrm>
          <a:prstGeom prst="rect">
            <a:avLst/>
          </a:prstGeom>
          <a:noFill/>
        </p:spPr>
        <p:txBody>
          <a:bodyPr wrap="none" lIns="0" tIns="0" rIns="0" bIns="0" rtlCol="0" anchor="t">
            <a:spAutoFit/>
          </a:bodyPr>
          <a:lstStyle/>
          <a:p>
            <a:r>
              <a:rPr lang="en-US" altLang="zh-CN" sz="2400" dirty="0">
                <a:solidFill>
                  <a:schemeClr val="accent1"/>
                </a:solidFill>
                <a:latin typeface="+mj-ea"/>
                <a:ea typeface="+mj-ea"/>
              </a:rPr>
              <a:t>04.</a:t>
            </a:r>
            <a:r>
              <a:rPr lang="zh-CN" altLang="en-US" sz="2400" dirty="0">
                <a:solidFill>
                  <a:schemeClr val="accent1"/>
                </a:solidFill>
                <a:latin typeface="+mj-ea"/>
                <a:ea typeface="+mj-ea"/>
              </a:rPr>
              <a:t> 关键词标题</a:t>
            </a:r>
          </a:p>
        </p:txBody>
      </p:sp>
      <p:sp>
        <p:nvSpPr>
          <p:cNvPr id="34" name="文本框 33">
            <a:extLst>
              <a:ext uri="{FF2B5EF4-FFF2-40B4-BE49-F238E27FC236}">
                <a16:creationId xmlns:a16="http://schemas.microsoft.com/office/drawing/2014/main" id="{6F939085-1556-4AC8-A428-3DD34879AF30}"/>
              </a:ext>
            </a:extLst>
          </p:cNvPr>
          <p:cNvSpPr txBox="1"/>
          <p:nvPr/>
        </p:nvSpPr>
        <p:spPr>
          <a:xfrm>
            <a:off x="8343497" y="4033606"/>
            <a:ext cx="2915053" cy="702628"/>
          </a:xfrm>
          <a:prstGeom prst="rect">
            <a:avLst/>
          </a:prstGeom>
          <a:noFill/>
        </p:spPr>
        <p:txBody>
          <a:bodyPr wrap="square" lIns="0" tIns="0" rIns="0" bIns="0" rtlCol="0" anchor="t">
            <a:spAutoFit/>
          </a:bodyPr>
          <a:lstStyle/>
          <a:p>
            <a:pPr>
              <a:lnSpc>
                <a:spcPct val="130000"/>
              </a:lnSpc>
            </a:pPr>
            <a:r>
              <a:rPr lang="en-US" altLang="zh-CN" sz="1200" b="0" dirty="0">
                <a:solidFill>
                  <a:schemeClr val="tx1">
                    <a:lumMod val="75000"/>
                    <a:lumOff val="25000"/>
                  </a:schemeClr>
                </a:solidFill>
                <a:effectLst/>
                <a:latin typeface="+mn-ea"/>
              </a:rPr>
              <a:t>Lorem ipsum dolor sit amet, consectetur adipisicing elit, sed do eiusmod tempor</a:t>
            </a:r>
            <a:endParaRPr lang="zh-CN" altLang="en-US" sz="1200" b="0" dirty="0">
              <a:solidFill>
                <a:schemeClr val="tx1">
                  <a:lumMod val="75000"/>
                  <a:lumOff val="25000"/>
                </a:schemeClr>
              </a:solidFill>
              <a:effectLst/>
              <a:latin typeface="+mn-ea"/>
            </a:endParaRPr>
          </a:p>
        </p:txBody>
      </p:sp>
    </p:spTree>
    <p:extLst>
      <p:ext uri="{BB962C8B-B14F-4D97-AF65-F5344CB8AC3E}">
        <p14:creationId xmlns:p14="http://schemas.microsoft.com/office/powerpoint/2010/main" val="4234509956"/>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2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任意形状 9">
            <a:extLst>
              <a:ext uri="{FF2B5EF4-FFF2-40B4-BE49-F238E27FC236}">
                <a16:creationId xmlns:a16="http://schemas.microsoft.com/office/drawing/2014/main" id="{79C0392D-8AB4-4C9C-BB47-E593C645F444}"/>
              </a:ext>
            </a:extLst>
          </p:cNvPr>
          <p:cNvSpPr/>
          <p:nvPr/>
        </p:nvSpPr>
        <p:spPr>
          <a:xfrm>
            <a:off x="0" y="6457950"/>
            <a:ext cx="12192000" cy="400050"/>
          </a:xfrm>
          <a:custGeom>
            <a:avLst/>
            <a:gdLst>
              <a:gd name="connsiteX0" fmla="*/ 12192000 w 12192000"/>
              <a:gd name="connsiteY0" fmla="*/ 0 h 329410"/>
              <a:gd name="connsiteX1" fmla="*/ 12192000 w 12192000"/>
              <a:gd name="connsiteY1" fmla="*/ 329410 h 329410"/>
              <a:gd name="connsiteX2" fmla="*/ 0 w 12192000"/>
              <a:gd name="connsiteY2" fmla="*/ 329410 h 329410"/>
              <a:gd name="connsiteX3" fmla="*/ 0 w 12192000"/>
              <a:gd name="connsiteY3" fmla="*/ 29375 h 329410"/>
              <a:gd name="connsiteX4" fmla="*/ 577089 w 12192000"/>
              <a:gd name="connsiteY4" fmla="*/ 49593 h 329410"/>
              <a:gd name="connsiteX5" fmla="*/ 5704114 w 12192000"/>
              <a:gd name="connsiteY5" fmla="*/ 124873 h 329410"/>
              <a:gd name="connsiteX6" fmla="*/ 11982536 w 12192000"/>
              <a:gd name="connsiteY6" fmla="*/ 9255 h 329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329410">
                <a:moveTo>
                  <a:pt x="12192000" y="0"/>
                </a:moveTo>
                <a:lnTo>
                  <a:pt x="12192000" y="329410"/>
                </a:lnTo>
                <a:lnTo>
                  <a:pt x="0" y="329410"/>
                </a:lnTo>
                <a:lnTo>
                  <a:pt x="0" y="29375"/>
                </a:lnTo>
                <a:lnTo>
                  <a:pt x="577089" y="49593"/>
                </a:lnTo>
                <a:cubicBezTo>
                  <a:pt x="2152931" y="98068"/>
                  <a:pt x="3885480" y="124873"/>
                  <a:pt x="5704114" y="124873"/>
                </a:cubicBezTo>
                <a:cubicBezTo>
                  <a:pt x="7977407" y="124873"/>
                  <a:pt x="10116192" y="82990"/>
                  <a:pt x="11982536" y="9255"/>
                </a:cubicBezTo>
                <a:close/>
              </a:path>
            </a:pathLst>
          </a:custGeom>
          <a:solidFill>
            <a:schemeClr val="accent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zh-CN" altLang="en-US"/>
          </a:p>
        </p:txBody>
      </p:sp>
      <p:sp>
        <p:nvSpPr>
          <p:cNvPr id="7" name="矩形: 圆角 6">
            <a:extLst>
              <a:ext uri="{FF2B5EF4-FFF2-40B4-BE49-F238E27FC236}">
                <a16:creationId xmlns:a16="http://schemas.microsoft.com/office/drawing/2014/main" id="{AEB6CF59-5A9B-4942-822A-6D325F847105}"/>
              </a:ext>
            </a:extLst>
          </p:cNvPr>
          <p:cNvSpPr/>
          <p:nvPr/>
        </p:nvSpPr>
        <p:spPr>
          <a:xfrm>
            <a:off x="921645" y="3063240"/>
            <a:ext cx="10348711" cy="731520"/>
          </a:xfrm>
          <a:prstGeom prst="roundRect">
            <a:avLst>
              <a:gd name="adj" fmla="val 5000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28" name="矩形: 圆角 27">
            <a:extLst>
              <a:ext uri="{FF2B5EF4-FFF2-40B4-BE49-F238E27FC236}">
                <a16:creationId xmlns:a16="http://schemas.microsoft.com/office/drawing/2014/main" id="{43FF5470-BF5F-49CD-9A3A-647BE954D02F}"/>
              </a:ext>
            </a:extLst>
          </p:cNvPr>
          <p:cNvSpPr/>
          <p:nvPr/>
        </p:nvSpPr>
        <p:spPr>
          <a:xfrm>
            <a:off x="1480187" y="3200728"/>
            <a:ext cx="1252710" cy="456544"/>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dirty="0">
                <a:solidFill>
                  <a:schemeClr val="bg1"/>
                </a:solidFill>
                <a:latin typeface="+mj-ea"/>
                <a:ea typeface="+mj-ea"/>
              </a:rPr>
              <a:t>关键词</a:t>
            </a:r>
          </a:p>
        </p:txBody>
      </p:sp>
      <p:sp>
        <p:nvSpPr>
          <p:cNvPr id="9" name="矩形: 圆角 8">
            <a:extLst>
              <a:ext uri="{FF2B5EF4-FFF2-40B4-BE49-F238E27FC236}">
                <a16:creationId xmlns:a16="http://schemas.microsoft.com/office/drawing/2014/main" id="{3F933E27-76F9-471A-8A36-98C85D0503F6}"/>
              </a:ext>
            </a:extLst>
          </p:cNvPr>
          <p:cNvSpPr/>
          <p:nvPr/>
        </p:nvSpPr>
        <p:spPr>
          <a:xfrm>
            <a:off x="1203572" y="1697881"/>
            <a:ext cx="1805940" cy="1173480"/>
          </a:xfrm>
          <a:prstGeom prst="roundRect">
            <a:avLst>
              <a:gd name="adj" fmla="val 9524"/>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30" name="任意多边形: 形状 29">
            <a:extLst>
              <a:ext uri="{FF2B5EF4-FFF2-40B4-BE49-F238E27FC236}">
                <a16:creationId xmlns:a16="http://schemas.microsoft.com/office/drawing/2014/main" id="{DF2F1AE3-64E7-4039-B749-9617BC437300}"/>
              </a:ext>
            </a:extLst>
          </p:cNvPr>
          <p:cNvSpPr/>
          <p:nvPr/>
        </p:nvSpPr>
        <p:spPr>
          <a:xfrm>
            <a:off x="1656010" y="1871408"/>
            <a:ext cx="901065" cy="826426"/>
          </a:xfrm>
          <a:custGeom>
            <a:avLst/>
            <a:gdLst>
              <a:gd name="connsiteX0" fmla="*/ 1006264 w 1331826"/>
              <a:gd name="connsiteY0" fmla="*/ 238125 h 1221507"/>
              <a:gd name="connsiteX1" fmla="*/ 1123466 w 1331826"/>
              <a:gd name="connsiteY1" fmla="*/ 355327 h 1221507"/>
              <a:gd name="connsiteX2" fmla="*/ 1006264 w 1331826"/>
              <a:gd name="connsiteY2" fmla="*/ 472529 h 1221507"/>
              <a:gd name="connsiteX3" fmla="*/ 889062 w 1331826"/>
              <a:gd name="connsiteY3" fmla="*/ 355327 h 1221507"/>
              <a:gd name="connsiteX4" fmla="*/ 1006264 w 1331826"/>
              <a:gd name="connsiteY4" fmla="*/ 238125 h 1221507"/>
              <a:gd name="connsiteX5" fmla="*/ 172827 w 1331826"/>
              <a:gd name="connsiteY5" fmla="*/ 104180 h 1221507"/>
              <a:gd name="connsiteX6" fmla="*/ 105482 w 1331826"/>
              <a:gd name="connsiteY6" fmla="*/ 171152 h 1221507"/>
              <a:gd name="connsiteX7" fmla="*/ 105482 w 1331826"/>
              <a:gd name="connsiteY7" fmla="*/ 726281 h 1221507"/>
              <a:gd name="connsiteX8" fmla="*/ 179152 w 1331826"/>
              <a:gd name="connsiteY8" fmla="*/ 599777 h 1221507"/>
              <a:gd name="connsiteX9" fmla="*/ 303795 w 1331826"/>
              <a:gd name="connsiteY9" fmla="*/ 490761 h 1221507"/>
              <a:gd name="connsiteX10" fmla="*/ 414300 w 1331826"/>
              <a:gd name="connsiteY10" fmla="*/ 507504 h 1221507"/>
              <a:gd name="connsiteX11" fmla="*/ 731676 w 1331826"/>
              <a:gd name="connsiteY11" fmla="*/ 856878 h 1221507"/>
              <a:gd name="connsiteX12" fmla="*/ 780790 w 1331826"/>
              <a:gd name="connsiteY12" fmla="*/ 791022 h 1221507"/>
              <a:gd name="connsiteX13" fmla="*/ 988777 w 1331826"/>
              <a:gd name="connsiteY13" fmla="*/ 633264 h 1221507"/>
              <a:gd name="connsiteX14" fmla="*/ 1093329 w 1331826"/>
              <a:gd name="connsiteY14" fmla="*/ 666006 h 1221507"/>
              <a:gd name="connsiteX15" fmla="*/ 1227646 w 1331826"/>
              <a:gd name="connsiteY15" fmla="*/ 821159 h 1221507"/>
              <a:gd name="connsiteX16" fmla="*/ 1227646 w 1331826"/>
              <a:gd name="connsiteY16" fmla="*/ 171152 h 1221507"/>
              <a:gd name="connsiteX17" fmla="*/ 1160673 w 1331826"/>
              <a:gd name="connsiteY17" fmla="*/ 104180 h 1221507"/>
              <a:gd name="connsiteX18" fmla="*/ 172827 w 1331826"/>
              <a:gd name="connsiteY18" fmla="*/ 0 h 1221507"/>
              <a:gd name="connsiteX19" fmla="*/ 1160673 w 1331826"/>
              <a:gd name="connsiteY19" fmla="*/ 0 h 1221507"/>
              <a:gd name="connsiteX20" fmla="*/ 1331826 w 1331826"/>
              <a:gd name="connsiteY20" fmla="*/ 171152 h 1221507"/>
              <a:gd name="connsiteX21" fmla="*/ 1331826 w 1331826"/>
              <a:gd name="connsiteY21" fmla="*/ 1050355 h 1221507"/>
              <a:gd name="connsiteX22" fmla="*/ 1160673 w 1331826"/>
              <a:gd name="connsiteY22" fmla="*/ 1221507 h 1221507"/>
              <a:gd name="connsiteX23" fmla="*/ 172827 w 1331826"/>
              <a:gd name="connsiteY23" fmla="*/ 1221507 h 1221507"/>
              <a:gd name="connsiteX24" fmla="*/ 1674 w 1331826"/>
              <a:gd name="connsiteY24" fmla="*/ 1050355 h 1221507"/>
              <a:gd name="connsiteX25" fmla="*/ 1674 w 1331826"/>
              <a:gd name="connsiteY25" fmla="*/ 1006450 h 1221507"/>
              <a:gd name="connsiteX26" fmla="*/ 1674 w 1331826"/>
              <a:gd name="connsiteY26" fmla="*/ 980405 h 1221507"/>
              <a:gd name="connsiteX27" fmla="*/ 1674 w 1331826"/>
              <a:gd name="connsiteY27" fmla="*/ 171152 h 1221507"/>
              <a:gd name="connsiteX28" fmla="*/ 172827 w 1331826"/>
              <a:gd name="connsiteY28" fmla="*/ 0 h 1221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31826" h="1221507">
                <a:moveTo>
                  <a:pt x="1006264" y="238125"/>
                </a:moveTo>
                <a:cubicBezTo>
                  <a:pt x="1070993" y="238125"/>
                  <a:pt x="1123466" y="290598"/>
                  <a:pt x="1123466" y="355327"/>
                </a:cubicBezTo>
                <a:cubicBezTo>
                  <a:pt x="1123466" y="420056"/>
                  <a:pt x="1070993" y="472529"/>
                  <a:pt x="1006264" y="472529"/>
                </a:cubicBezTo>
                <a:cubicBezTo>
                  <a:pt x="941535" y="472529"/>
                  <a:pt x="889062" y="420056"/>
                  <a:pt x="889062" y="355327"/>
                </a:cubicBezTo>
                <a:cubicBezTo>
                  <a:pt x="889062" y="290598"/>
                  <a:pt x="941535" y="238125"/>
                  <a:pt x="1006264" y="238125"/>
                </a:cubicBezTo>
                <a:close/>
                <a:moveTo>
                  <a:pt x="172827" y="104180"/>
                </a:moveTo>
                <a:cubicBezTo>
                  <a:pt x="135620" y="104180"/>
                  <a:pt x="105854" y="133945"/>
                  <a:pt x="105482" y="171152"/>
                </a:cubicBezTo>
                <a:lnTo>
                  <a:pt x="105482" y="726281"/>
                </a:lnTo>
                <a:cubicBezTo>
                  <a:pt x="130411" y="676424"/>
                  <a:pt x="154967" y="634008"/>
                  <a:pt x="179152" y="599777"/>
                </a:cubicBezTo>
                <a:cubicBezTo>
                  <a:pt x="220824" y="540246"/>
                  <a:pt x="261751" y="504527"/>
                  <a:pt x="303795" y="490761"/>
                </a:cubicBezTo>
                <a:cubicBezTo>
                  <a:pt x="342491" y="478110"/>
                  <a:pt x="380442" y="483691"/>
                  <a:pt x="414300" y="507504"/>
                </a:cubicBezTo>
                <a:cubicBezTo>
                  <a:pt x="528526" y="587871"/>
                  <a:pt x="663215" y="762372"/>
                  <a:pt x="731676" y="856878"/>
                </a:cubicBezTo>
                <a:cubicBezTo>
                  <a:pt x="745443" y="837158"/>
                  <a:pt x="762186" y="814090"/>
                  <a:pt x="780790" y="791022"/>
                </a:cubicBezTo>
                <a:cubicBezTo>
                  <a:pt x="858552" y="693911"/>
                  <a:pt x="926641" y="642193"/>
                  <a:pt x="988777" y="633264"/>
                </a:cubicBezTo>
                <a:cubicBezTo>
                  <a:pt x="1028216" y="627683"/>
                  <a:pt x="1064307" y="638845"/>
                  <a:pt x="1093329" y="666006"/>
                </a:cubicBezTo>
                <a:cubicBezTo>
                  <a:pt x="1142070" y="711398"/>
                  <a:pt x="1188951" y="768697"/>
                  <a:pt x="1227646" y="821159"/>
                </a:cubicBezTo>
                <a:lnTo>
                  <a:pt x="1227646" y="171152"/>
                </a:lnTo>
                <a:cubicBezTo>
                  <a:pt x="1227646" y="134317"/>
                  <a:pt x="1197508" y="104180"/>
                  <a:pt x="1160673" y="104180"/>
                </a:cubicBezTo>
                <a:close/>
                <a:moveTo>
                  <a:pt x="172827" y="0"/>
                </a:moveTo>
                <a:lnTo>
                  <a:pt x="1160673" y="0"/>
                </a:lnTo>
                <a:cubicBezTo>
                  <a:pt x="1255179" y="0"/>
                  <a:pt x="1331826" y="76646"/>
                  <a:pt x="1331826" y="171152"/>
                </a:cubicBezTo>
                <a:lnTo>
                  <a:pt x="1331826" y="1050355"/>
                </a:lnTo>
                <a:cubicBezTo>
                  <a:pt x="1331826" y="1144860"/>
                  <a:pt x="1255179" y="1221507"/>
                  <a:pt x="1160673" y="1221507"/>
                </a:cubicBezTo>
                <a:lnTo>
                  <a:pt x="172827" y="1221507"/>
                </a:lnTo>
                <a:cubicBezTo>
                  <a:pt x="78321" y="1221507"/>
                  <a:pt x="1674" y="1144860"/>
                  <a:pt x="1674" y="1050355"/>
                </a:cubicBezTo>
                <a:lnTo>
                  <a:pt x="1674" y="1006450"/>
                </a:lnTo>
                <a:cubicBezTo>
                  <a:pt x="-558" y="997893"/>
                  <a:pt x="-558" y="989335"/>
                  <a:pt x="1674" y="980405"/>
                </a:cubicBezTo>
                <a:lnTo>
                  <a:pt x="1674" y="171152"/>
                </a:lnTo>
                <a:cubicBezTo>
                  <a:pt x="1674" y="76646"/>
                  <a:pt x="78321" y="0"/>
                  <a:pt x="172827" y="0"/>
                </a:cubicBezTo>
                <a:close/>
              </a:path>
            </a:pathLst>
          </a:custGeom>
          <a:solidFill>
            <a:schemeClr val="bg1"/>
          </a:solidFill>
          <a:ln w="1860" cap="flat">
            <a:noFill/>
            <a:prstDash val="solid"/>
            <a:miter/>
          </a:ln>
        </p:spPr>
        <p:txBody>
          <a:bodyPr rtlCol="0" anchor="ctr"/>
          <a:lstStyle/>
          <a:p>
            <a:endParaRPr lang="zh-CN" altLang="en-US"/>
          </a:p>
        </p:txBody>
      </p:sp>
      <p:sp>
        <p:nvSpPr>
          <p:cNvPr id="31" name="文本框 30">
            <a:extLst>
              <a:ext uri="{FF2B5EF4-FFF2-40B4-BE49-F238E27FC236}">
                <a16:creationId xmlns:a16="http://schemas.microsoft.com/office/drawing/2014/main" id="{4E974742-C02C-4ED7-9517-56A6C54F6CEA}"/>
              </a:ext>
            </a:extLst>
          </p:cNvPr>
          <p:cNvSpPr txBox="1"/>
          <p:nvPr/>
        </p:nvSpPr>
        <p:spPr>
          <a:xfrm>
            <a:off x="984109" y="3932248"/>
            <a:ext cx="2244866" cy="704873"/>
          </a:xfrm>
          <a:prstGeom prst="rect">
            <a:avLst/>
          </a:prstGeom>
          <a:noFill/>
        </p:spPr>
        <p:txBody>
          <a:bodyPr wrap="square" lIns="0" tIns="0" rIns="0" bIns="0" rtlCol="0" anchor="t">
            <a:spAutoFit/>
          </a:bodyPr>
          <a:lstStyle/>
          <a:p>
            <a:pPr algn="ctr">
              <a:lnSpc>
                <a:spcPct val="130000"/>
              </a:lnSpc>
            </a:pPr>
            <a:r>
              <a:rPr lang="en-US" altLang="zh-CN" sz="1200" b="0" dirty="0">
                <a:solidFill>
                  <a:schemeClr val="tx1">
                    <a:lumMod val="75000"/>
                    <a:lumOff val="25000"/>
                  </a:schemeClr>
                </a:solidFill>
                <a:effectLst/>
                <a:latin typeface="+mn-ea"/>
              </a:rPr>
              <a:t>Lorem ipsum dolor sit amet, consectetur adipisicing elit, sed do eiusmod tempor</a:t>
            </a:r>
            <a:endParaRPr lang="zh-CN" altLang="en-US" sz="1200" dirty="0">
              <a:solidFill>
                <a:schemeClr val="tx1">
                  <a:lumMod val="75000"/>
                  <a:lumOff val="25000"/>
                </a:schemeClr>
              </a:solidFill>
              <a:latin typeface="+mn-ea"/>
            </a:endParaRPr>
          </a:p>
        </p:txBody>
      </p:sp>
      <p:sp>
        <p:nvSpPr>
          <p:cNvPr id="32" name="矩形: 圆角 31">
            <a:extLst>
              <a:ext uri="{FF2B5EF4-FFF2-40B4-BE49-F238E27FC236}">
                <a16:creationId xmlns:a16="http://schemas.microsoft.com/office/drawing/2014/main" id="{38741F35-311A-4BBD-B734-7B3BED507F36}"/>
              </a:ext>
            </a:extLst>
          </p:cNvPr>
          <p:cNvSpPr/>
          <p:nvPr/>
        </p:nvSpPr>
        <p:spPr>
          <a:xfrm>
            <a:off x="4232912" y="3200728"/>
            <a:ext cx="1252710" cy="456544"/>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dirty="0">
                <a:solidFill>
                  <a:schemeClr val="bg1"/>
                </a:solidFill>
                <a:latin typeface="+mj-ea"/>
                <a:ea typeface="+mj-ea"/>
              </a:rPr>
              <a:t>关键词</a:t>
            </a:r>
          </a:p>
        </p:txBody>
      </p:sp>
      <p:sp>
        <p:nvSpPr>
          <p:cNvPr id="35" name="矩形: 圆角 34">
            <a:extLst>
              <a:ext uri="{FF2B5EF4-FFF2-40B4-BE49-F238E27FC236}">
                <a16:creationId xmlns:a16="http://schemas.microsoft.com/office/drawing/2014/main" id="{E5DD4453-3209-4B5A-999E-5EE86928E878}"/>
              </a:ext>
            </a:extLst>
          </p:cNvPr>
          <p:cNvSpPr/>
          <p:nvPr/>
        </p:nvSpPr>
        <p:spPr>
          <a:xfrm>
            <a:off x="3956297" y="4006153"/>
            <a:ext cx="1805940" cy="1173480"/>
          </a:xfrm>
          <a:prstGeom prst="roundRect">
            <a:avLst>
              <a:gd name="adj" fmla="val 9524"/>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36" name="任意多边形: 形状 35">
            <a:extLst>
              <a:ext uri="{FF2B5EF4-FFF2-40B4-BE49-F238E27FC236}">
                <a16:creationId xmlns:a16="http://schemas.microsoft.com/office/drawing/2014/main" id="{5CF7ED03-3404-4C9D-A17F-9F9895730FC3}"/>
              </a:ext>
            </a:extLst>
          </p:cNvPr>
          <p:cNvSpPr/>
          <p:nvPr/>
        </p:nvSpPr>
        <p:spPr>
          <a:xfrm>
            <a:off x="4408735" y="4179680"/>
            <a:ext cx="901065" cy="826426"/>
          </a:xfrm>
          <a:custGeom>
            <a:avLst/>
            <a:gdLst>
              <a:gd name="connsiteX0" fmla="*/ 1006264 w 1331826"/>
              <a:gd name="connsiteY0" fmla="*/ 238125 h 1221507"/>
              <a:gd name="connsiteX1" fmla="*/ 1123466 w 1331826"/>
              <a:gd name="connsiteY1" fmla="*/ 355327 h 1221507"/>
              <a:gd name="connsiteX2" fmla="*/ 1006264 w 1331826"/>
              <a:gd name="connsiteY2" fmla="*/ 472529 h 1221507"/>
              <a:gd name="connsiteX3" fmla="*/ 889062 w 1331826"/>
              <a:gd name="connsiteY3" fmla="*/ 355327 h 1221507"/>
              <a:gd name="connsiteX4" fmla="*/ 1006264 w 1331826"/>
              <a:gd name="connsiteY4" fmla="*/ 238125 h 1221507"/>
              <a:gd name="connsiteX5" fmla="*/ 172827 w 1331826"/>
              <a:gd name="connsiteY5" fmla="*/ 104180 h 1221507"/>
              <a:gd name="connsiteX6" fmla="*/ 105482 w 1331826"/>
              <a:gd name="connsiteY6" fmla="*/ 171152 h 1221507"/>
              <a:gd name="connsiteX7" fmla="*/ 105482 w 1331826"/>
              <a:gd name="connsiteY7" fmla="*/ 726281 h 1221507"/>
              <a:gd name="connsiteX8" fmla="*/ 179152 w 1331826"/>
              <a:gd name="connsiteY8" fmla="*/ 599777 h 1221507"/>
              <a:gd name="connsiteX9" fmla="*/ 303795 w 1331826"/>
              <a:gd name="connsiteY9" fmla="*/ 490761 h 1221507"/>
              <a:gd name="connsiteX10" fmla="*/ 414300 w 1331826"/>
              <a:gd name="connsiteY10" fmla="*/ 507504 h 1221507"/>
              <a:gd name="connsiteX11" fmla="*/ 731676 w 1331826"/>
              <a:gd name="connsiteY11" fmla="*/ 856878 h 1221507"/>
              <a:gd name="connsiteX12" fmla="*/ 780790 w 1331826"/>
              <a:gd name="connsiteY12" fmla="*/ 791022 h 1221507"/>
              <a:gd name="connsiteX13" fmla="*/ 988777 w 1331826"/>
              <a:gd name="connsiteY13" fmla="*/ 633264 h 1221507"/>
              <a:gd name="connsiteX14" fmla="*/ 1093329 w 1331826"/>
              <a:gd name="connsiteY14" fmla="*/ 666006 h 1221507"/>
              <a:gd name="connsiteX15" fmla="*/ 1227646 w 1331826"/>
              <a:gd name="connsiteY15" fmla="*/ 821159 h 1221507"/>
              <a:gd name="connsiteX16" fmla="*/ 1227646 w 1331826"/>
              <a:gd name="connsiteY16" fmla="*/ 171152 h 1221507"/>
              <a:gd name="connsiteX17" fmla="*/ 1160673 w 1331826"/>
              <a:gd name="connsiteY17" fmla="*/ 104180 h 1221507"/>
              <a:gd name="connsiteX18" fmla="*/ 172827 w 1331826"/>
              <a:gd name="connsiteY18" fmla="*/ 0 h 1221507"/>
              <a:gd name="connsiteX19" fmla="*/ 1160673 w 1331826"/>
              <a:gd name="connsiteY19" fmla="*/ 0 h 1221507"/>
              <a:gd name="connsiteX20" fmla="*/ 1331826 w 1331826"/>
              <a:gd name="connsiteY20" fmla="*/ 171152 h 1221507"/>
              <a:gd name="connsiteX21" fmla="*/ 1331826 w 1331826"/>
              <a:gd name="connsiteY21" fmla="*/ 1050355 h 1221507"/>
              <a:gd name="connsiteX22" fmla="*/ 1160673 w 1331826"/>
              <a:gd name="connsiteY22" fmla="*/ 1221507 h 1221507"/>
              <a:gd name="connsiteX23" fmla="*/ 172827 w 1331826"/>
              <a:gd name="connsiteY23" fmla="*/ 1221507 h 1221507"/>
              <a:gd name="connsiteX24" fmla="*/ 1674 w 1331826"/>
              <a:gd name="connsiteY24" fmla="*/ 1050355 h 1221507"/>
              <a:gd name="connsiteX25" fmla="*/ 1674 w 1331826"/>
              <a:gd name="connsiteY25" fmla="*/ 1006450 h 1221507"/>
              <a:gd name="connsiteX26" fmla="*/ 1674 w 1331826"/>
              <a:gd name="connsiteY26" fmla="*/ 980405 h 1221507"/>
              <a:gd name="connsiteX27" fmla="*/ 1674 w 1331826"/>
              <a:gd name="connsiteY27" fmla="*/ 171152 h 1221507"/>
              <a:gd name="connsiteX28" fmla="*/ 172827 w 1331826"/>
              <a:gd name="connsiteY28" fmla="*/ 0 h 1221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31826" h="1221507">
                <a:moveTo>
                  <a:pt x="1006264" y="238125"/>
                </a:moveTo>
                <a:cubicBezTo>
                  <a:pt x="1070993" y="238125"/>
                  <a:pt x="1123466" y="290598"/>
                  <a:pt x="1123466" y="355327"/>
                </a:cubicBezTo>
                <a:cubicBezTo>
                  <a:pt x="1123466" y="420056"/>
                  <a:pt x="1070993" y="472529"/>
                  <a:pt x="1006264" y="472529"/>
                </a:cubicBezTo>
                <a:cubicBezTo>
                  <a:pt x="941535" y="472529"/>
                  <a:pt x="889062" y="420056"/>
                  <a:pt x="889062" y="355327"/>
                </a:cubicBezTo>
                <a:cubicBezTo>
                  <a:pt x="889062" y="290598"/>
                  <a:pt x="941535" y="238125"/>
                  <a:pt x="1006264" y="238125"/>
                </a:cubicBezTo>
                <a:close/>
                <a:moveTo>
                  <a:pt x="172827" y="104180"/>
                </a:moveTo>
                <a:cubicBezTo>
                  <a:pt x="135620" y="104180"/>
                  <a:pt x="105854" y="133945"/>
                  <a:pt x="105482" y="171152"/>
                </a:cubicBezTo>
                <a:lnTo>
                  <a:pt x="105482" y="726281"/>
                </a:lnTo>
                <a:cubicBezTo>
                  <a:pt x="130411" y="676424"/>
                  <a:pt x="154967" y="634008"/>
                  <a:pt x="179152" y="599777"/>
                </a:cubicBezTo>
                <a:cubicBezTo>
                  <a:pt x="220824" y="540246"/>
                  <a:pt x="261751" y="504527"/>
                  <a:pt x="303795" y="490761"/>
                </a:cubicBezTo>
                <a:cubicBezTo>
                  <a:pt x="342491" y="478110"/>
                  <a:pt x="380442" y="483691"/>
                  <a:pt x="414300" y="507504"/>
                </a:cubicBezTo>
                <a:cubicBezTo>
                  <a:pt x="528526" y="587871"/>
                  <a:pt x="663215" y="762372"/>
                  <a:pt x="731676" y="856878"/>
                </a:cubicBezTo>
                <a:cubicBezTo>
                  <a:pt x="745443" y="837158"/>
                  <a:pt x="762186" y="814090"/>
                  <a:pt x="780790" y="791022"/>
                </a:cubicBezTo>
                <a:cubicBezTo>
                  <a:pt x="858552" y="693911"/>
                  <a:pt x="926641" y="642193"/>
                  <a:pt x="988777" y="633264"/>
                </a:cubicBezTo>
                <a:cubicBezTo>
                  <a:pt x="1028216" y="627683"/>
                  <a:pt x="1064307" y="638845"/>
                  <a:pt x="1093329" y="666006"/>
                </a:cubicBezTo>
                <a:cubicBezTo>
                  <a:pt x="1142070" y="711398"/>
                  <a:pt x="1188951" y="768697"/>
                  <a:pt x="1227646" y="821159"/>
                </a:cubicBezTo>
                <a:lnTo>
                  <a:pt x="1227646" y="171152"/>
                </a:lnTo>
                <a:cubicBezTo>
                  <a:pt x="1227646" y="134317"/>
                  <a:pt x="1197508" y="104180"/>
                  <a:pt x="1160673" y="104180"/>
                </a:cubicBezTo>
                <a:close/>
                <a:moveTo>
                  <a:pt x="172827" y="0"/>
                </a:moveTo>
                <a:lnTo>
                  <a:pt x="1160673" y="0"/>
                </a:lnTo>
                <a:cubicBezTo>
                  <a:pt x="1255179" y="0"/>
                  <a:pt x="1331826" y="76646"/>
                  <a:pt x="1331826" y="171152"/>
                </a:cubicBezTo>
                <a:lnTo>
                  <a:pt x="1331826" y="1050355"/>
                </a:lnTo>
                <a:cubicBezTo>
                  <a:pt x="1331826" y="1144860"/>
                  <a:pt x="1255179" y="1221507"/>
                  <a:pt x="1160673" y="1221507"/>
                </a:cubicBezTo>
                <a:lnTo>
                  <a:pt x="172827" y="1221507"/>
                </a:lnTo>
                <a:cubicBezTo>
                  <a:pt x="78321" y="1221507"/>
                  <a:pt x="1674" y="1144860"/>
                  <a:pt x="1674" y="1050355"/>
                </a:cubicBezTo>
                <a:lnTo>
                  <a:pt x="1674" y="1006450"/>
                </a:lnTo>
                <a:cubicBezTo>
                  <a:pt x="-558" y="997893"/>
                  <a:pt x="-558" y="989335"/>
                  <a:pt x="1674" y="980405"/>
                </a:cubicBezTo>
                <a:lnTo>
                  <a:pt x="1674" y="171152"/>
                </a:lnTo>
                <a:cubicBezTo>
                  <a:pt x="1674" y="76646"/>
                  <a:pt x="78321" y="0"/>
                  <a:pt x="172827" y="0"/>
                </a:cubicBezTo>
                <a:close/>
              </a:path>
            </a:pathLst>
          </a:custGeom>
          <a:solidFill>
            <a:schemeClr val="bg1"/>
          </a:solidFill>
          <a:ln w="1860" cap="flat">
            <a:noFill/>
            <a:prstDash val="solid"/>
            <a:miter/>
          </a:ln>
        </p:spPr>
        <p:txBody>
          <a:bodyPr rtlCol="0" anchor="ctr"/>
          <a:lstStyle/>
          <a:p>
            <a:endParaRPr lang="zh-CN" altLang="en-US"/>
          </a:p>
        </p:txBody>
      </p:sp>
      <p:sp>
        <p:nvSpPr>
          <p:cNvPr id="37" name="文本框 36">
            <a:extLst>
              <a:ext uri="{FF2B5EF4-FFF2-40B4-BE49-F238E27FC236}">
                <a16:creationId xmlns:a16="http://schemas.microsoft.com/office/drawing/2014/main" id="{8D440A49-8B77-4692-8AEE-D0B5B42F09F7}"/>
              </a:ext>
            </a:extLst>
          </p:cNvPr>
          <p:cNvSpPr txBox="1"/>
          <p:nvPr/>
        </p:nvSpPr>
        <p:spPr>
          <a:xfrm>
            <a:off x="3741208" y="1683961"/>
            <a:ext cx="2236118" cy="704873"/>
          </a:xfrm>
          <a:prstGeom prst="rect">
            <a:avLst/>
          </a:prstGeom>
          <a:noFill/>
        </p:spPr>
        <p:txBody>
          <a:bodyPr wrap="square" lIns="0" tIns="0" rIns="0" bIns="0" rtlCol="0" anchor="t">
            <a:spAutoFit/>
          </a:bodyPr>
          <a:lstStyle/>
          <a:p>
            <a:pPr algn="ctr">
              <a:lnSpc>
                <a:spcPct val="130000"/>
              </a:lnSpc>
            </a:pPr>
            <a:r>
              <a:rPr lang="en-US" altLang="zh-CN" sz="1200" b="0" dirty="0">
                <a:solidFill>
                  <a:schemeClr val="tx1">
                    <a:lumMod val="75000"/>
                    <a:lumOff val="25000"/>
                  </a:schemeClr>
                </a:solidFill>
                <a:effectLst/>
                <a:latin typeface="+mn-ea"/>
              </a:rPr>
              <a:t>Lorem ipsum dolor sit amet, consectetur adipisicing elit, sed do eiusmod tempor</a:t>
            </a:r>
            <a:endParaRPr lang="zh-CN" altLang="en-US" sz="1200" b="0" dirty="0">
              <a:solidFill>
                <a:schemeClr val="tx1">
                  <a:lumMod val="75000"/>
                  <a:lumOff val="25000"/>
                </a:schemeClr>
              </a:solidFill>
              <a:effectLst/>
              <a:latin typeface="+mn-ea"/>
            </a:endParaRPr>
          </a:p>
        </p:txBody>
      </p:sp>
      <p:sp>
        <p:nvSpPr>
          <p:cNvPr id="38" name="矩形: 圆角 37">
            <a:extLst>
              <a:ext uri="{FF2B5EF4-FFF2-40B4-BE49-F238E27FC236}">
                <a16:creationId xmlns:a16="http://schemas.microsoft.com/office/drawing/2014/main" id="{F207A933-44F5-486D-9930-2A4E6F3BC614}"/>
              </a:ext>
            </a:extLst>
          </p:cNvPr>
          <p:cNvSpPr/>
          <p:nvPr/>
        </p:nvSpPr>
        <p:spPr>
          <a:xfrm>
            <a:off x="6706378" y="3200728"/>
            <a:ext cx="1252710" cy="456544"/>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dirty="0">
                <a:solidFill>
                  <a:schemeClr val="bg1"/>
                </a:solidFill>
                <a:latin typeface="+mj-ea"/>
                <a:ea typeface="+mj-ea"/>
              </a:rPr>
              <a:t>关键词</a:t>
            </a:r>
          </a:p>
        </p:txBody>
      </p:sp>
      <p:sp>
        <p:nvSpPr>
          <p:cNvPr id="39" name="矩形: 圆角 38">
            <a:extLst>
              <a:ext uri="{FF2B5EF4-FFF2-40B4-BE49-F238E27FC236}">
                <a16:creationId xmlns:a16="http://schemas.microsoft.com/office/drawing/2014/main" id="{187767AD-4257-4AA8-BFD3-4617056FDCC1}"/>
              </a:ext>
            </a:extLst>
          </p:cNvPr>
          <p:cNvSpPr/>
          <p:nvPr/>
        </p:nvSpPr>
        <p:spPr>
          <a:xfrm>
            <a:off x="6429763" y="1697881"/>
            <a:ext cx="1805940" cy="1173480"/>
          </a:xfrm>
          <a:prstGeom prst="roundRect">
            <a:avLst>
              <a:gd name="adj" fmla="val 9524"/>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40" name="任意多边形: 形状 39">
            <a:extLst>
              <a:ext uri="{FF2B5EF4-FFF2-40B4-BE49-F238E27FC236}">
                <a16:creationId xmlns:a16="http://schemas.microsoft.com/office/drawing/2014/main" id="{47C225CC-1045-4708-84E2-6A82F33CA602}"/>
              </a:ext>
            </a:extLst>
          </p:cNvPr>
          <p:cNvSpPr/>
          <p:nvPr/>
        </p:nvSpPr>
        <p:spPr>
          <a:xfrm>
            <a:off x="6882201" y="1871408"/>
            <a:ext cx="901065" cy="826426"/>
          </a:xfrm>
          <a:custGeom>
            <a:avLst/>
            <a:gdLst>
              <a:gd name="connsiteX0" fmla="*/ 1006264 w 1331826"/>
              <a:gd name="connsiteY0" fmla="*/ 238125 h 1221507"/>
              <a:gd name="connsiteX1" fmla="*/ 1123466 w 1331826"/>
              <a:gd name="connsiteY1" fmla="*/ 355327 h 1221507"/>
              <a:gd name="connsiteX2" fmla="*/ 1006264 w 1331826"/>
              <a:gd name="connsiteY2" fmla="*/ 472529 h 1221507"/>
              <a:gd name="connsiteX3" fmla="*/ 889062 w 1331826"/>
              <a:gd name="connsiteY3" fmla="*/ 355327 h 1221507"/>
              <a:gd name="connsiteX4" fmla="*/ 1006264 w 1331826"/>
              <a:gd name="connsiteY4" fmla="*/ 238125 h 1221507"/>
              <a:gd name="connsiteX5" fmla="*/ 172827 w 1331826"/>
              <a:gd name="connsiteY5" fmla="*/ 104180 h 1221507"/>
              <a:gd name="connsiteX6" fmla="*/ 105482 w 1331826"/>
              <a:gd name="connsiteY6" fmla="*/ 171152 h 1221507"/>
              <a:gd name="connsiteX7" fmla="*/ 105482 w 1331826"/>
              <a:gd name="connsiteY7" fmla="*/ 726281 h 1221507"/>
              <a:gd name="connsiteX8" fmla="*/ 179152 w 1331826"/>
              <a:gd name="connsiteY8" fmla="*/ 599777 h 1221507"/>
              <a:gd name="connsiteX9" fmla="*/ 303795 w 1331826"/>
              <a:gd name="connsiteY9" fmla="*/ 490761 h 1221507"/>
              <a:gd name="connsiteX10" fmla="*/ 414300 w 1331826"/>
              <a:gd name="connsiteY10" fmla="*/ 507504 h 1221507"/>
              <a:gd name="connsiteX11" fmla="*/ 731676 w 1331826"/>
              <a:gd name="connsiteY11" fmla="*/ 856878 h 1221507"/>
              <a:gd name="connsiteX12" fmla="*/ 780790 w 1331826"/>
              <a:gd name="connsiteY12" fmla="*/ 791022 h 1221507"/>
              <a:gd name="connsiteX13" fmla="*/ 988777 w 1331826"/>
              <a:gd name="connsiteY13" fmla="*/ 633264 h 1221507"/>
              <a:gd name="connsiteX14" fmla="*/ 1093329 w 1331826"/>
              <a:gd name="connsiteY14" fmla="*/ 666006 h 1221507"/>
              <a:gd name="connsiteX15" fmla="*/ 1227646 w 1331826"/>
              <a:gd name="connsiteY15" fmla="*/ 821159 h 1221507"/>
              <a:gd name="connsiteX16" fmla="*/ 1227646 w 1331826"/>
              <a:gd name="connsiteY16" fmla="*/ 171152 h 1221507"/>
              <a:gd name="connsiteX17" fmla="*/ 1160673 w 1331826"/>
              <a:gd name="connsiteY17" fmla="*/ 104180 h 1221507"/>
              <a:gd name="connsiteX18" fmla="*/ 172827 w 1331826"/>
              <a:gd name="connsiteY18" fmla="*/ 0 h 1221507"/>
              <a:gd name="connsiteX19" fmla="*/ 1160673 w 1331826"/>
              <a:gd name="connsiteY19" fmla="*/ 0 h 1221507"/>
              <a:gd name="connsiteX20" fmla="*/ 1331826 w 1331826"/>
              <a:gd name="connsiteY20" fmla="*/ 171152 h 1221507"/>
              <a:gd name="connsiteX21" fmla="*/ 1331826 w 1331826"/>
              <a:gd name="connsiteY21" fmla="*/ 1050355 h 1221507"/>
              <a:gd name="connsiteX22" fmla="*/ 1160673 w 1331826"/>
              <a:gd name="connsiteY22" fmla="*/ 1221507 h 1221507"/>
              <a:gd name="connsiteX23" fmla="*/ 172827 w 1331826"/>
              <a:gd name="connsiteY23" fmla="*/ 1221507 h 1221507"/>
              <a:gd name="connsiteX24" fmla="*/ 1674 w 1331826"/>
              <a:gd name="connsiteY24" fmla="*/ 1050355 h 1221507"/>
              <a:gd name="connsiteX25" fmla="*/ 1674 w 1331826"/>
              <a:gd name="connsiteY25" fmla="*/ 1006450 h 1221507"/>
              <a:gd name="connsiteX26" fmla="*/ 1674 w 1331826"/>
              <a:gd name="connsiteY26" fmla="*/ 980405 h 1221507"/>
              <a:gd name="connsiteX27" fmla="*/ 1674 w 1331826"/>
              <a:gd name="connsiteY27" fmla="*/ 171152 h 1221507"/>
              <a:gd name="connsiteX28" fmla="*/ 172827 w 1331826"/>
              <a:gd name="connsiteY28" fmla="*/ 0 h 1221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31826" h="1221507">
                <a:moveTo>
                  <a:pt x="1006264" y="238125"/>
                </a:moveTo>
                <a:cubicBezTo>
                  <a:pt x="1070993" y="238125"/>
                  <a:pt x="1123466" y="290598"/>
                  <a:pt x="1123466" y="355327"/>
                </a:cubicBezTo>
                <a:cubicBezTo>
                  <a:pt x="1123466" y="420056"/>
                  <a:pt x="1070993" y="472529"/>
                  <a:pt x="1006264" y="472529"/>
                </a:cubicBezTo>
                <a:cubicBezTo>
                  <a:pt x="941535" y="472529"/>
                  <a:pt x="889062" y="420056"/>
                  <a:pt x="889062" y="355327"/>
                </a:cubicBezTo>
                <a:cubicBezTo>
                  <a:pt x="889062" y="290598"/>
                  <a:pt x="941535" y="238125"/>
                  <a:pt x="1006264" y="238125"/>
                </a:cubicBezTo>
                <a:close/>
                <a:moveTo>
                  <a:pt x="172827" y="104180"/>
                </a:moveTo>
                <a:cubicBezTo>
                  <a:pt x="135620" y="104180"/>
                  <a:pt x="105854" y="133945"/>
                  <a:pt x="105482" y="171152"/>
                </a:cubicBezTo>
                <a:lnTo>
                  <a:pt x="105482" y="726281"/>
                </a:lnTo>
                <a:cubicBezTo>
                  <a:pt x="130411" y="676424"/>
                  <a:pt x="154967" y="634008"/>
                  <a:pt x="179152" y="599777"/>
                </a:cubicBezTo>
                <a:cubicBezTo>
                  <a:pt x="220824" y="540246"/>
                  <a:pt x="261751" y="504527"/>
                  <a:pt x="303795" y="490761"/>
                </a:cubicBezTo>
                <a:cubicBezTo>
                  <a:pt x="342491" y="478110"/>
                  <a:pt x="380442" y="483691"/>
                  <a:pt x="414300" y="507504"/>
                </a:cubicBezTo>
                <a:cubicBezTo>
                  <a:pt x="528526" y="587871"/>
                  <a:pt x="663215" y="762372"/>
                  <a:pt x="731676" y="856878"/>
                </a:cubicBezTo>
                <a:cubicBezTo>
                  <a:pt x="745443" y="837158"/>
                  <a:pt x="762186" y="814090"/>
                  <a:pt x="780790" y="791022"/>
                </a:cubicBezTo>
                <a:cubicBezTo>
                  <a:pt x="858552" y="693911"/>
                  <a:pt x="926641" y="642193"/>
                  <a:pt x="988777" y="633264"/>
                </a:cubicBezTo>
                <a:cubicBezTo>
                  <a:pt x="1028216" y="627683"/>
                  <a:pt x="1064307" y="638845"/>
                  <a:pt x="1093329" y="666006"/>
                </a:cubicBezTo>
                <a:cubicBezTo>
                  <a:pt x="1142070" y="711398"/>
                  <a:pt x="1188951" y="768697"/>
                  <a:pt x="1227646" y="821159"/>
                </a:cubicBezTo>
                <a:lnTo>
                  <a:pt x="1227646" y="171152"/>
                </a:lnTo>
                <a:cubicBezTo>
                  <a:pt x="1227646" y="134317"/>
                  <a:pt x="1197508" y="104180"/>
                  <a:pt x="1160673" y="104180"/>
                </a:cubicBezTo>
                <a:close/>
                <a:moveTo>
                  <a:pt x="172827" y="0"/>
                </a:moveTo>
                <a:lnTo>
                  <a:pt x="1160673" y="0"/>
                </a:lnTo>
                <a:cubicBezTo>
                  <a:pt x="1255179" y="0"/>
                  <a:pt x="1331826" y="76646"/>
                  <a:pt x="1331826" y="171152"/>
                </a:cubicBezTo>
                <a:lnTo>
                  <a:pt x="1331826" y="1050355"/>
                </a:lnTo>
                <a:cubicBezTo>
                  <a:pt x="1331826" y="1144860"/>
                  <a:pt x="1255179" y="1221507"/>
                  <a:pt x="1160673" y="1221507"/>
                </a:cubicBezTo>
                <a:lnTo>
                  <a:pt x="172827" y="1221507"/>
                </a:lnTo>
                <a:cubicBezTo>
                  <a:pt x="78321" y="1221507"/>
                  <a:pt x="1674" y="1144860"/>
                  <a:pt x="1674" y="1050355"/>
                </a:cubicBezTo>
                <a:lnTo>
                  <a:pt x="1674" y="1006450"/>
                </a:lnTo>
                <a:cubicBezTo>
                  <a:pt x="-558" y="997893"/>
                  <a:pt x="-558" y="989335"/>
                  <a:pt x="1674" y="980405"/>
                </a:cubicBezTo>
                <a:lnTo>
                  <a:pt x="1674" y="171152"/>
                </a:lnTo>
                <a:cubicBezTo>
                  <a:pt x="1674" y="76646"/>
                  <a:pt x="78321" y="0"/>
                  <a:pt x="172827" y="0"/>
                </a:cubicBezTo>
                <a:close/>
              </a:path>
            </a:pathLst>
          </a:custGeom>
          <a:solidFill>
            <a:schemeClr val="bg1"/>
          </a:solidFill>
          <a:ln w="1860" cap="flat">
            <a:noFill/>
            <a:prstDash val="solid"/>
            <a:miter/>
          </a:ln>
        </p:spPr>
        <p:txBody>
          <a:bodyPr rtlCol="0" anchor="ctr"/>
          <a:lstStyle/>
          <a:p>
            <a:endParaRPr lang="zh-CN" altLang="en-US"/>
          </a:p>
        </p:txBody>
      </p:sp>
      <p:sp>
        <p:nvSpPr>
          <p:cNvPr id="41" name="文本框 40">
            <a:extLst>
              <a:ext uri="{FF2B5EF4-FFF2-40B4-BE49-F238E27FC236}">
                <a16:creationId xmlns:a16="http://schemas.microsoft.com/office/drawing/2014/main" id="{85DD3E3C-EB6F-491E-8871-EB3CFF0137E2}"/>
              </a:ext>
            </a:extLst>
          </p:cNvPr>
          <p:cNvSpPr txBox="1"/>
          <p:nvPr/>
        </p:nvSpPr>
        <p:spPr>
          <a:xfrm>
            <a:off x="6151948" y="3932248"/>
            <a:ext cx="2361570" cy="704873"/>
          </a:xfrm>
          <a:prstGeom prst="rect">
            <a:avLst/>
          </a:prstGeom>
          <a:noFill/>
        </p:spPr>
        <p:txBody>
          <a:bodyPr wrap="square" lIns="0" tIns="0" rIns="0" bIns="0" rtlCol="0" anchor="t">
            <a:spAutoFit/>
          </a:bodyPr>
          <a:lstStyle/>
          <a:p>
            <a:pPr algn="ctr">
              <a:lnSpc>
                <a:spcPct val="130000"/>
              </a:lnSpc>
            </a:pPr>
            <a:r>
              <a:rPr lang="en-US" altLang="zh-CN" sz="1200" b="0" dirty="0">
                <a:solidFill>
                  <a:schemeClr val="tx1">
                    <a:lumMod val="75000"/>
                    <a:lumOff val="25000"/>
                  </a:schemeClr>
                </a:solidFill>
                <a:effectLst/>
                <a:latin typeface="+mn-ea"/>
              </a:rPr>
              <a:t>Lorem ipsum dolor sit amet, consectetur adipisicing elit, sed do eiusmod tempor</a:t>
            </a:r>
            <a:endParaRPr lang="zh-CN" altLang="en-US" sz="1200" b="0" dirty="0">
              <a:solidFill>
                <a:schemeClr val="tx1">
                  <a:lumMod val="75000"/>
                  <a:lumOff val="25000"/>
                </a:schemeClr>
              </a:solidFill>
              <a:effectLst/>
              <a:latin typeface="+mn-ea"/>
            </a:endParaRPr>
          </a:p>
        </p:txBody>
      </p:sp>
      <p:sp>
        <p:nvSpPr>
          <p:cNvPr id="42" name="矩形: 圆角 41">
            <a:extLst>
              <a:ext uri="{FF2B5EF4-FFF2-40B4-BE49-F238E27FC236}">
                <a16:creationId xmlns:a16="http://schemas.microsoft.com/office/drawing/2014/main" id="{630DF7B0-6C83-4680-B794-EB78CF9D2525}"/>
              </a:ext>
            </a:extLst>
          </p:cNvPr>
          <p:cNvSpPr/>
          <p:nvPr/>
        </p:nvSpPr>
        <p:spPr>
          <a:xfrm>
            <a:off x="9459103" y="3200728"/>
            <a:ext cx="1252710" cy="456544"/>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dirty="0">
                <a:solidFill>
                  <a:schemeClr val="bg1"/>
                </a:solidFill>
                <a:latin typeface="+mj-ea"/>
                <a:ea typeface="+mj-ea"/>
              </a:rPr>
              <a:t>关键词</a:t>
            </a:r>
          </a:p>
        </p:txBody>
      </p:sp>
      <p:sp>
        <p:nvSpPr>
          <p:cNvPr id="43" name="矩形: 圆角 42">
            <a:extLst>
              <a:ext uri="{FF2B5EF4-FFF2-40B4-BE49-F238E27FC236}">
                <a16:creationId xmlns:a16="http://schemas.microsoft.com/office/drawing/2014/main" id="{86BF8784-4955-4894-A7C4-DD57BE631F01}"/>
              </a:ext>
            </a:extLst>
          </p:cNvPr>
          <p:cNvSpPr/>
          <p:nvPr/>
        </p:nvSpPr>
        <p:spPr>
          <a:xfrm>
            <a:off x="9182488" y="4006153"/>
            <a:ext cx="1805940" cy="1173480"/>
          </a:xfrm>
          <a:prstGeom prst="roundRect">
            <a:avLst>
              <a:gd name="adj" fmla="val 9524"/>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44" name="任意多边形: 形状 43">
            <a:extLst>
              <a:ext uri="{FF2B5EF4-FFF2-40B4-BE49-F238E27FC236}">
                <a16:creationId xmlns:a16="http://schemas.microsoft.com/office/drawing/2014/main" id="{A2C41ADF-6980-4CED-BAE5-EDA91A20348E}"/>
              </a:ext>
            </a:extLst>
          </p:cNvPr>
          <p:cNvSpPr/>
          <p:nvPr/>
        </p:nvSpPr>
        <p:spPr>
          <a:xfrm>
            <a:off x="9634926" y="4179680"/>
            <a:ext cx="901065" cy="826426"/>
          </a:xfrm>
          <a:custGeom>
            <a:avLst/>
            <a:gdLst>
              <a:gd name="connsiteX0" fmla="*/ 1006264 w 1331826"/>
              <a:gd name="connsiteY0" fmla="*/ 238125 h 1221507"/>
              <a:gd name="connsiteX1" fmla="*/ 1123466 w 1331826"/>
              <a:gd name="connsiteY1" fmla="*/ 355327 h 1221507"/>
              <a:gd name="connsiteX2" fmla="*/ 1006264 w 1331826"/>
              <a:gd name="connsiteY2" fmla="*/ 472529 h 1221507"/>
              <a:gd name="connsiteX3" fmla="*/ 889062 w 1331826"/>
              <a:gd name="connsiteY3" fmla="*/ 355327 h 1221507"/>
              <a:gd name="connsiteX4" fmla="*/ 1006264 w 1331826"/>
              <a:gd name="connsiteY4" fmla="*/ 238125 h 1221507"/>
              <a:gd name="connsiteX5" fmla="*/ 172827 w 1331826"/>
              <a:gd name="connsiteY5" fmla="*/ 104180 h 1221507"/>
              <a:gd name="connsiteX6" fmla="*/ 105482 w 1331826"/>
              <a:gd name="connsiteY6" fmla="*/ 171152 h 1221507"/>
              <a:gd name="connsiteX7" fmla="*/ 105482 w 1331826"/>
              <a:gd name="connsiteY7" fmla="*/ 726281 h 1221507"/>
              <a:gd name="connsiteX8" fmla="*/ 179152 w 1331826"/>
              <a:gd name="connsiteY8" fmla="*/ 599777 h 1221507"/>
              <a:gd name="connsiteX9" fmla="*/ 303795 w 1331826"/>
              <a:gd name="connsiteY9" fmla="*/ 490761 h 1221507"/>
              <a:gd name="connsiteX10" fmla="*/ 414300 w 1331826"/>
              <a:gd name="connsiteY10" fmla="*/ 507504 h 1221507"/>
              <a:gd name="connsiteX11" fmla="*/ 731676 w 1331826"/>
              <a:gd name="connsiteY11" fmla="*/ 856878 h 1221507"/>
              <a:gd name="connsiteX12" fmla="*/ 780790 w 1331826"/>
              <a:gd name="connsiteY12" fmla="*/ 791022 h 1221507"/>
              <a:gd name="connsiteX13" fmla="*/ 988777 w 1331826"/>
              <a:gd name="connsiteY13" fmla="*/ 633264 h 1221507"/>
              <a:gd name="connsiteX14" fmla="*/ 1093329 w 1331826"/>
              <a:gd name="connsiteY14" fmla="*/ 666006 h 1221507"/>
              <a:gd name="connsiteX15" fmla="*/ 1227646 w 1331826"/>
              <a:gd name="connsiteY15" fmla="*/ 821159 h 1221507"/>
              <a:gd name="connsiteX16" fmla="*/ 1227646 w 1331826"/>
              <a:gd name="connsiteY16" fmla="*/ 171152 h 1221507"/>
              <a:gd name="connsiteX17" fmla="*/ 1160673 w 1331826"/>
              <a:gd name="connsiteY17" fmla="*/ 104180 h 1221507"/>
              <a:gd name="connsiteX18" fmla="*/ 172827 w 1331826"/>
              <a:gd name="connsiteY18" fmla="*/ 0 h 1221507"/>
              <a:gd name="connsiteX19" fmla="*/ 1160673 w 1331826"/>
              <a:gd name="connsiteY19" fmla="*/ 0 h 1221507"/>
              <a:gd name="connsiteX20" fmla="*/ 1331826 w 1331826"/>
              <a:gd name="connsiteY20" fmla="*/ 171152 h 1221507"/>
              <a:gd name="connsiteX21" fmla="*/ 1331826 w 1331826"/>
              <a:gd name="connsiteY21" fmla="*/ 1050355 h 1221507"/>
              <a:gd name="connsiteX22" fmla="*/ 1160673 w 1331826"/>
              <a:gd name="connsiteY22" fmla="*/ 1221507 h 1221507"/>
              <a:gd name="connsiteX23" fmla="*/ 172827 w 1331826"/>
              <a:gd name="connsiteY23" fmla="*/ 1221507 h 1221507"/>
              <a:gd name="connsiteX24" fmla="*/ 1674 w 1331826"/>
              <a:gd name="connsiteY24" fmla="*/ 1050355 h 1221507"/>
              <a:gd name="connsiteX25" fmla="*/ 1674 w 1331826"/>
              <a:gd name="connsiteY25" fmla="*/ 1006450 h 1221507"/>
              <a:gd name="connsiteX26" fmla="*/ 1674 w 1331826"/>
              <a:gd name="connsiteY26" fmla="*/ 980405 h 1221507"/>
              <a:gd name="connsiteX27" fmla="*/ 1674 w 1331826"/>
              <a:gd name="connsiteY27" fmla="*/ 171152 h 1221507"/>
              <a:gd name="connsiteX28" fmla="*/ 172827 w 1331826"/>
              <a:gd name="connsiteY28" fmla="*/ 0 h 1221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31826" h="1221507">
                <a:moveTo>
                  <a:pt x="1006264" y="238125"/>
                </a:moveTo>
                <a:cubicBezTo>
                  <a:pt x="1070993" y="238125"/>
                  <a:pt x="1123466" y="290598"/>
                  <a:pt x="1123466" y="355327"/>
                </a:cubicBezTo>
                <a:cubicBezTo>
                  <a:pt x="1123466" y="420056"/>
                  <a:pt x="1070993" y="472529"/>
                  <a:pt x="1006264" y="472529"/>
                </a:cubicBezTo>
                <a:cubicBezTo>
                  <a:pt x="941535" y="472529"/>
                  <a:pt x="889062" y="420056"/>
                  <a:pt x="889062" y="355327"/>
                </a:cubicBezTo>
                <a:cubicBezTo>
                  <a:pt x="889062" y="290598"/>
                  <a:pt x="941535" y="238125"/>
                  <a:pt x="1006264" y="238125"/>
                </a:cubicBezTo>
                <a:close/>
                <a:moveTo>
                  <a:pt x="172827" y="104180"/>
                </a:moveTo>
                <a:cubicBezTo>
                  <a:pt x="135620" y="104180"/>
                  <a:pt x="105854" y="133945"/>
                  <a:pt x="105482" y="171152"/>
                </a:cubicBezTo>
                <a:lnTo>
                  <a:pt x="105482" y="726281"/>
                </a:lnTo>
                <a:cubicBezTo>
                  <a:pt x="130411" y="676424"/>
                  <a:pt x="154967" y="634008"/>
                  <a:pt x="179152" y="599777"/>
                </a:cubicBezTo>
                <a:cubicBezTo>
                  <a:pt x="220824" y="540246"/>
                  <a:pt x="261751" y="504527"/>
                  <a:pt x="303795" y="490761"/>
                </a:cubicBezTo>
                <a:cubicBezTo>
                  <a:pt x="342491" y="478110"/>
                  <a:pt x="380442" y="483691"/>
                  <a:pt x="414300" y="507504"/>
                </a:cubicBezTo>
                <a:cubicBezTo>
                  <a:pt x="528526" y="587871"/>
                  <a:pt x="663215" y="762372"/>
                  <a:pt x="731676" y="856878"/>
                </a:cubicBezTo>
                <a:cubicBezTo>
                  <a:pt x="745443" y="837158"/>
                  <a:pt x="762186" y="814090"/>
                  <a:pt x="780790" y="791022"/>
                </a:cubicBezTo>
                <a:cubicBezTo>
                  <a:pt x="858552" y="693911"/>
                  <a:pt x="926641" y="642193"/>
                  <a:pt x="988777" y="633264"/>
                </a:cubicBezTo>
                <a:cubicBezTo>
                  <a:pt x="1028216" y="627683"/>
                  <a:pt x="1064307" y="638845"/>
                  <a:pt x="1093329" y="666006"/>
                </a:cubicBezTo>
                <a:cubicBezTo>
                  <a:pt x="1142070" y="711398"/>
                  <a:pt x="1188951" y="768697"/>
                  <a:pt x="1227646" y="821159"/>
                </a:cubicBezTo>
                <a:lnTo>
                  <a:pt x="1227646" y="171152"/>
                </a:lnTo>
                <a:cubicBezTo>
                  <a:pt x="1227646" y="134317"/>
                  <a:pt x="1197508" y="104180"/>
                  <a:pt x="1160673" y="104180"/>
                </a:cubicBezTo>
                <a:close/>
                <a:moveTo>
                  <a:pt x="172827" y="0"/>
                </a:moveTo>
                <a:lnTo>
                  <a:pt x="1160673" y="0"/>
                </a:lnTo>
                <a:cubicBezTo>
                  <a:pt x="1255179" y="0"/>
                  <a:pt x="1331826" y="76646"/>
                  <a:pt x="1331826" y="171152"/>
                </a:cubicBezTo>
                <a:lnTo>
                  <a:pt x="1331826" y="1050355"/>
                </a:lnTo>
                <a:cubicBezTo>
                  <a:pt x="1331826" y="1144860"/>
                  <a:pt x="1255179" y="1221507"/>
                  <a:pt x="1160673" y="1221507"/>
                </a:cubicBezTo>
                <a:lnTo>
                  <a:pt x="172827" y="1221507"/>
                </a:lnTo>
                <a:cubicBezTo>
                  <a:pt x="78321" y="1221507"/>
                  <a:pt x="1674" y="1144860"/>
                  <a:pt x="1674" y="1050355"/>
                </a:cubicBezTo>
                <a:lnTo>
                  <a:pt x="1674" y="1006450"/>
                </a:lnTo>
                <a:cubicBezTo>
                  <a:pt x="-558" y="997893"/>
                  <a:pt x="-558" y="989335"/>
                  <a:pt x="1674" y="980405"/>
                </a:cubicBezTo>
                <a:lnTo>
                  <a:pt x="1674" y="171152"/>
                </a:lnTo>
                <a:cubicBezTo>
                  <a:pt x="1674" y="76646"/>
                  <a:pt x="78321" y="0"/>
                  <a:pt x="172827" y="0"/>
                </a:cubicBezTo>
                <a:close/>
              </a:path>
            </a:pathLst>
          </a:custGeom>
          <a:solidFill>
            <a:schemeClr val="bg1"/>
          </a:solidFill>
          <a:ln w="1860" cap="flat">
            <a:noFill/>
            <a:prstDash val="solid"/>
            <a:miter/>
          </a:ln>
        </p:spPr>
        <p:txBody>
          <a:bodyPr rtlCol="0" anchor="ctr"/>
          <a:lstStyle/>
          <a:p>
            <a:endParaRPr lang="zh-CN" altLang="en-US"/>
          </a:p>
        </p:txBody>
      </p:sp>
      <p:sp>
        <p:nvSpPr>
          <p:cNvPr id="45" name="文本框 44">
            <a:extLst>
              <a:ext uri="{FF2B5EF4-FFF2-40B4-BE49-F238E27FC236}">
                <a16:creationId xmlns:a16="http://schemas.microsoft.com/office/drawing/2014/main" id="{12FBD0E6-4B87-4240-9F2C-184413749C02}"/>
              </a:ext>
            </a:extLst>
          </p:cNvPr>
          <p:cNvSpPr txBox="1"/>
          <p:nvPr/>
        </p:nvSpPr>
        <p:spPr>
          <a:xfrm>
            <a:off x="8998091" y="1683961"/>
            <a:ext cx="2174734" cy="704873"/>
          </a:xfrm>
          <a:prstGeom prst="rect">
            <a:avLst/>
          </a:prstGeom>
          <a:noFill/>
        </p:spPr>
        <p:txBody>
          <a:bodyPr wrap="square" lIns="0" tIns="0" rIns="0" bIns="0" rtlCol="0" anchor="t">
            <a:spAutoFit/>
          </a:bodyPr>
          <a:lstStyle/>
          <a:p>
            <a:pPr algn="ctr">
              <a:lnSpc>
                <a:spcPct val="130000"/>
              </a:lnSpc>
            </a:pPr>
            <a:r>
              <a:rPr lang="en-US" altLang="zh-CN" sz="1200" b="0" dirty="0">
                <a:solidFill>
                  <a:schemeClr val="tx1">
                    <a:lumMod val="75000"/>
                    <a:lumOff val="25000"/>
                  </a:schemeClr>
                </a:solidFill>
                <a:effectLst/>
                <a:latin typeface="+mn-ea"/>
              </a:rPr>
              <a:t>Lorem ipsum dolor sit amet, consectetur adipisicing elit, sed do eiusmod tempor</a:t>
            </a:r>
            <a:endParaRPr lang="zh-CN" altLang="en-US" sz="1200" b="0" dirty="0">
              <a:solidFill>
                <a:schemeClr val="tx1">
                  <a:lumMod val="75000"/>
                  <a:lumOff val="25000"/>
                </a:schemeClr>
              </a:solidFill>
              <a:effectLst/>
              <a:latin typeface="+mn-ea"/>
            </a:endParaRPr>
          </a:p>
        </p:txBody>
      </p:sp>
    </p:spTree>
    <p:extLst>
      <p:ext uri="{BB962C8B-B14F-4D97-AF65-F5344CB8AC3E}">
        <p14:creationId xmlns:p14="http://schemas.microsoft.com/office/powerpoint/2010/main" val="3110939352"/>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2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任意形状 9">
            <a:extLst>
              <a:ext uri="{FF2B5EF4-FFF2-40B4-BE49-F238E27FC236}">
                <a16:creationId xmlns:a16="http://schemas.microsoft.com/office/drawing/2014/main" id="{79C0392D-8AB4-4C9C-BB47-E593C645F444}"/>
              </a:ext>
            </a:extLst>
          </p:cNvPr>
          <p:cNvSpPr/>
          <p:nvPr/>
        </p:nvSpPr>
        <p:spPr>
          <a:xfrm>
            <a:off x="0" y="6457950"/>
            <a:ext cx="12192000" cy="400050"/>
          </a:xfrm>
          <a:custGeom>
            <a:avLst/>
            <a:gdLst>
              <a:gd name="connsiteX0" fmla="*/ 12192000 w 12192000"/>
              <a:gd name="connsiteY0" fmla="*/ 0 h 329410"/>
              <a:gd name="connsiteX1" fmla="*/ 12192000 w 12192000"/>
              <a:gd name="connsiteY1" fmla="*/ 329410 h 329410"/>
              <a:gd name="connsiteX2" fmla="*/ 0 w 12192000"/>
              <a:gd name="connsiteY2" fmla="*/ 329410 h 329410"/>
              <a:gd name="connsiteX3" fmla="*/ 0 w 12192000"/>
              <a:gd name="connsiteY3" fmla="*/ 29375 h 329410"/>
              <a:gd name="connsiteX4" fmla="*/ 577089 w 12192000"/>
              <a:gd name="connsiteY4" fmla="*/ 49593 h 329410"/>
              <a:gd name="connsiteX5" fmla="*/ 5704114 w 12192000"/>
              <a:gd name="connsiteY5" fmla="*/ 124873 h 329410"/>
              <a:gd name="connsiteX6" fmla="*/ 11982536 w 12192000"/>
              <a:gd name="connsiteY6" fmla="*/ 9255 h 329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329410">
                <a:moveTo>
                  <a:pt x="12192000" y="0"/>
                </a:moveTo>
                <a:lnTo>
                  <a:pt x="12192000" y="329410"/>
                </a:lnTo>
                <a:lnTo>
                  <a:pt x="0" y="329410"/>
                </a:lnTo>
                <a:lnTo>
                  <a:pt x="0" y="29375"/>
                </a:lnTo>
                <a:lnTo>
                  <a:pt x="577089" y="49593"/>
                </a:lnTo>
                <a:cubicBezTo>
                  <a:pt x="2152931" y="98068"/>
                  <a:pt x="3885480" y="124873"/>
                  <a:pt x="5704114" y="124873"/>
                </a:cubicBezTo>
                <a:cubicBezTo>
                  <a:pt x="7977407" y="124873"/>
                  <a:pt x="10116192" y="82990"/>
                  <a:pt x="11982536" y="9255"/>
                </a:cubicBezTo>
                <a:close/>
              </a:path>
            </a:pathLst>
          </a:custGeom>
          <a:solidFill>
            <a:schemeClr val="accent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zh-CN" altLang="en-US"/>
          </a:p>
        </p:txBody>
      </p:sp>
      <p:cxnSp>
        <p:nvCxnSpPr>
          <p:cNvPr id="10" name="直接连接符 9">
            <a:extLst>
              <a:ext uri="{FF2B5EF4-FFF2-40B4-BE49-F238E27FC236}">
                <a16:creationId xmlns:a16="http://schemas.microsoft.com/office/drawing/2014/main" id="{AA3C27B2-EAD2-4FAE-AC85-DBB1C9417FDC}"/>
              </a:ext>
            </a:extLst>
          </p:cNvPr>
          <p:cNvCxnSpPr>
            <a:cxnSpLocks/>
          </p:cNvCxnSpPr>
          <p:nvPr/>
        </p:nvCxnSpPr>
        <p:spPr>
          <a:xfrm>
            <a:off x="2049970" y="1078992"/>
            <a:ext cx="0" cy="5065776"/>
          </a:xfrm>
          <a:prstGeom prst="line">
            <a:avLst/>
          </a:prstGeom>
          <a:ln w="25400">
            <a:gradFill>
              <a:gsLst>
                <a:gs pos="0">
                  <a:schemeClr val="accent1">
                    <a:alpha val="0"/>
                  </a:schemeClr>
                </a:gs>
                <a:gs pos="50000">
                  <a:schemeClr val="accent1"/>
                </a:gs>
                <a:gs pos="100000">
                  <a:schemeClr val="accent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27" name="椭圆 26">
            <a:extLst>
              <a:ext uri="{FF2B5EF4-FFF2-40B4-BE49-F238E27FC236}">
                <a16:creationId xmlns:a16="http://schemas.microsoft.com/office/drawing/2014/main" id="{32F1A294-CC12-4622-BDB2-CA7EA97AF040}"/>
              </a:ext>
            </a:extLst>
          </p:cNvPr>
          <p:cNvSpPr/>
          <p:nvPr/>
        </p:nvSpPr>
        <p:spPr>
          <a:xfrm>
            <a:off x="1979421" y="3233211"/>
            <a:ext cx="141097" cy="14109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400">
              <a:solidFill>
                <a:schemeClr val="bg1"/>
              </a:solidFill>
              <a:latin typeface="+mj-ea"/>
              <a:ea typeface="+mj-ea"/>
            </a:endParaRPr>
          </a:p>
        </p:txBody>
      </p:sp>
      <p:sp>
        <p:nvSpPr>
          <p:cNvPr id="29" name="椭圆 28">
            <a:extLst>
              <a:ext uri="{FF2B5EF4-FFF2-40B4-BE49-F238E27FC236}">
                <a16:creationId xmlns:a16="http://schemas.microsoft.com/office/drawing/2014/main" id="{4A4B6BAF-9B45-4171-92A1-3759633CE465}"/>
              </a:ext>
            </a:extLst>
          </p:cNvPr>
          <p:cNvSpPr/>
          <p:nvPr/>
        </p:nvSpPr>
        <p:spPr>
          <a:xfrm>
            <a:off x="1979421" y="4843050"/>
            <a:ext cx="141097" cy="14109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400">
              <a:solidFill>
                <a:schemeClr val="bg1"/>
              </a:solidFill>
              <a:latin typeface="+mj-ea"/>
              <a:ea typeface="+mj-ea"/>
            </a:endParaRPr>
          </a:p>
        </p:txBody>
      </p:sp>
      <p:sp>
        <p:nvSpPr>
          <p:cNvPr id="13" name="椭圆 12">
            <a:extLst>
              <a:ext uri="{FF2B5EF4-FFF2-40B4-BE49-F238E27FC236}">
                <a16:creationId xmlns:a16="http://schemas.microsoft.com/office/drawing/2014/main" id="{F9941C2C-3495-4273-BFCF-19812D47EBDF}"/>
              </a:ext>
            </a:extLst>
          </p:cNvPr>
          <p:cNvSpPr/>
          <p:nvPr/>
        </p:nvSpPr>
        <p:spPr>
          <a:xfrm>
            <a:off x="1022095" y="1623372"/>
            <a:ext cx="661734" cy="66173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400">
              <a:solidFill>
                <a:schemeClr val="bg1"/>
              </a:solidFill>
              <a:latin typeface="+mj-ea"/>
              <a:ea typeface="+mj-ea"/>
            </a:endParaRPr>
          </a:p>
        </p:txBody>
      </p:sp>
      <p:sp>
        <p:nvSpPr>
          <p:cNvPr id="33" name="椭圆 32">
            <a:extLst>
              <a:ext uri="{FF2B5EF4-FFF2-40B4-BE49-F238E27FC236}">
                <a16:creationId xmlns:a16="http://schemas.microsoft.com/office/drawing/2014/main" id="{40A02E0B-FC54-47E1-8FE5-493811E3E989}"/>
              </a:ext>
            </a:extLst>
          </p:cNvPr>
          <p:cNvSpPr/>
          <p:nvPr/>
        </p:nvSpPr>
        <p:spPr>
          <a:xfrm>
            <a:off x="1022095" y="3233211"/>
            <a:ext cx="661734" cy="66173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400">
              <a:solidFill>
                <a:schemeClr val="bg1"/>
              </a:solidFill>
              <a:latin typeface="+mj-ea"/>
              <a:ea typeface="+mj-ea"/>
            </a:endParaRPr>
          </a:p>
        </p:txBody>
      </p:sp>
      <p:sp>
        <p:nvSpPr>
          <p:cNvPr id="34" name="椭圆 33">
            <a:extLst>
              <a:ext uri="{FF2B5EF4-FFF2-40B4-BE49-F238E27FC236}">
                <a16:creationId xmlns:a16="http://schemas.microsoft.com/office/drawing/2014/main" id="{2555A74B-5421-4317-AD14-F066382E2987}"/>
              </a:ext>
            </a:extLst>
          </p:cNvPr>
          <p:cNvSpPr/>
          <p:nvPr/>
        </p:nvSpPr>
        <p:spPr>
          <a:xfrm>
            <a:off x="1022095" y="4844270"/>
            <a:ext cx="661734" cy="66173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400">
              <a:solidFill>
                <a:schemeClr val="bg1"/>
              </a:solidFill>
              <a:latin typeface="+mj-ea"/>
              <a:ea typeface="+mj-ea"/>
            </a:endParaRPr>
          </a:p>
        </p:txBody>
      </p:sp>
      <p:sp>
        <p:nvSpPr>
          <p:cNvPr id="47" name="文本框 46">
            <a:extLst>
              <a:ext uri="{FF2B5EF4-FFF2-40B4-BE49-F238E27FC236}">
                <a16:creationId xmlns:a16="http://schemas.microsoft.com/office/drawing/2014/main" id="{91653672-2F38-4B9F-997C-004AE3098928}"/>
              </a:ext>
            </a:extLst>
          </p:cNvPr>
          <p:cNvSpPr txBox="1"/>
          <p:nvPr/>
        </p:nvSpPr>
        <p:spPr>
          <a:xfrm>
            <a:off x="2292286" y="1944707"/>
            <a:ext cx="3479292" cy="426079"/>
          </a:xfrm>
          <a:prstGeom prst="rect">
            <a:avLst/>
          </a:prstGeom>
          <a:noFill/>
        </p:spPr>
        <p:txBody>
          <a:bodyPr wrap="square" lIns="0" tIns="0" rIns="0" bIns="0" rtlCol="0" anchor="t">
            <a:spAutoFit/>
          </a:bodyPr>
          <a:lstStyle/>
          <a:p>
            <a:pPr>
              <a:lnSpc>
                <a:spcPct val="130000"/>
              </a:lnSpc>
            </a:pPr>
            <a:r>
              <a:rPr lang="en-US" altLang="zh-CN" sz="1100" b="0" dirty="0">
                <a:solidFill>
                  <a:schemeClr val="tx1">
                    <a:lumMod val="75000"/>
                    <a:lumOff val="25000"/>
                  </a:schemeClr>
                </a:solidFill>
                <a:effectLst/>
                <a:latin typeface="+mn-ea"/>
              </a:rPr>
              <a:t>Lorem ipsum dolor sit amet, consectetur adipisicing elit, sed do eiusmod tempor</a:t>
            </a:r>
            <a:endParaRPr lang="zh-CN" altLang="en-US" sz="1100" b="0" dirty="0">
              <a:solidFill>
                <a:schemeClr val="tx1">
                  <a:lumMod val="75000"/>
                  <a:lumOff val="25000"/>
                </a:schemeClr>
              </a:solidFill>
              <a:effectLst/>
              <a:latin typeface="+mn-ea"/>
            </a:endParaRPr>
          </a:p>
        </p:txBody>
      </p:sp>
      <p:sp>
        <p:nvSpPr>
          <p:cNvPr id="48" name="文本框 47">
            <a:extLst>
              <a:ext uri="{FF2B5EF4-FFF2-40B4-BE49-F238E27FC236}">
                <a16:creationId xmlns:a16="http://schemas.microsoft.com/office/drawing/2014/main" id="{CE3C2755-7C36-4EFD-8282-7146DFCD109D}"/>
              </a:ext>
            </a:extLst>
          </p:cNvPr>
          <p:cNvSpPr txBox="1"/>
          <p:nvPr/>
        </p:nvSpPr>
        <p:spPr>
          <a:xfrm>
            <a:off x="2292286" y="3189642"/>
            <a:ext cx="1769715" cy="307777"/>
          </a:xfrm>
          <a:prstGeom prst="rect">
            <a:avLst/>
          </a:prstGeom>
          <a:noFill/>
        </p:spPr>
        <p:txBody>
          <a:bodyPr wrap="none" lIns="0" tIns="0" rIns="0" bIns="0" rtlCol="0" anchor="t">
            <a:spAutoFit/>
          </a:bodyPr>
          <a:lstStyle/>
          <a:p>
            <a:r>
              <a:rPr lang="en-US" altLang="zh-CN" sz="2000" dirty="0">
                <a:solidFill>
                  <a:schemeClr val="accent1"/>
                </a:solidFill>
                <a:latin typeface="+mj-ea"/>
                <a:ea typeface="+mj-ea"/>
              </a:rPr>
              <a:t>02.</a:t>
            </a:r>
            <a:r>
              <a:rPr lang="zh-CN" altLang="en-US" sz="2000" dirty="0">
                <a:solidFill>
                  <a:schemeClr val="accent1"/>
                </a:solidFill>
                <a:latin typeface="+mj-ea"/>
                <a:ea typeface="+mj-ea"/>
              </a:rPr>
              <a:t> 关键词标题</a:t>
            </a:r>
          </a:p>
        </p:txBody>
      </p:sp>
      <p:sp>
        <p:nvSpPr>
          <p:cNvPr id="49" name="文本框 48">
            <a:extLst>
              <a:ext uri="{FF2B5EF4-FFF2-40B4-BE49-F238E27FC236}">
                <a16:creationId xmlns:a16="http://schemas.microsoft.com/office/drawing/2014/main" id="{0FBC9E36-87D0-4EA4-A430-B644D2AE0023}"/>
              </a:ext>
            </a:extLst>
          </p:cNvPr>
          <p:cNvSpPr txBox="1"/>
          <p:nvPr/>
        </p:nvSpPr>
        <p:spPr>
          <a:xfrm>
            <a:off x="2292286" y="3599087"/>
            <a:ext cx="3479292" cy="426079"/>
          </a:xfrm>
          <a:prstGeom prst="rect">
            <a:avLst/>
          </a:prstGeom>
          <a:noFill/>
        </p:spPr>
        <p:txBody>
          <a:bodyPr wrap="square" lIns="0" tIns="0" rIns="0" bIns="0" rtlCol="0" anchor="t">
            <a:spAutoFit/>
          </a:bodyPr>
          <a:lstStyle/>
          <a:p>
            <a:pPr>
              <a:lnSpc>
                <a:spcPct val="130000"/>
              </a:lnSpc>
            </a:pPr>
            <a:r>
              <a:rPr lang="en-US" altLang="zh-CN" sz="1100" b="0" dirty="0">
                <a:solidFill>
                  <a:schemeClr val="tx1">
                    <a:lumMod val="75000"/>
                    <a:lumOff val="25000"/>
                  </a:schemeClr>
                </a:solidFill>
                <a:effectLst/>
                <a:latin typeface="+mn-ea"/>
              </a:rPr>
              <a:t>Lorem ipsum dolor sit amet, consectetur adipisicing elit, sed do eiusmod tempor</a:t>
            </a:r>
            <a:endParaRPr lang="zh-CN" altLang="en-US" sz="1100" b="0" dirty="0">
              <a:solidFill>
                <a:schemeClr val="tx1">
                  <a:lumMod val="75000"/>
                  <a:lumOff val="25000"/>
                </a:schemeClr>
              </a:solidFill>
              <a:effectLst/>
              <a:latin typeface="+mn-ea"/>
            </a:endParaRPr>
          </a:p>
        </p:txBody>
      </p:sp>
      <p:sp>
        <p:nvSpPr>
          <p:cNvPr id="50" name="文本框 49">
            <a:extLst>
              <a:ext uri="{FF2B5EF4-FFF2-40B4-BE49-F238E27FC236}">
                <a16:creationId xmlns:a16="http://schemas.microsoft.com/office/drawing/2014/main" id="{0BB57F6E-3A00-4D5F-ABAC-6C1BB33C5343}"/>
              </a:ext>
            </a:extLst>
          </p:cNvPr>
          <p:cNvSpPr txBox="1"/>
          <p:nvPr/>
        </p:nvSpPr>
        <p:spPr>
          <a:xfrm>
            <a:off x="2292286" y="4822182"/>
            <a:ext cx="1769715" cy="307777"/>
          </a:xfrm>
          <a:prstGeom prst="rect">
            <a:avLst/>
          </a:prstGeom>
          <a:noFill/>
        </p:spPr>
        <p:txBody>
          <a:bodyPr wrap="none" lIns="0" tIns="0" rIns="0" bIns="0" rtlCol="0" anchor="t">
            <a:spAutoFit/>
          </a:bodyPr>
          <a:lstStyle/>
          <a:p>
            <a:r>
              <a:rPr lang="en-US" altLang="zh-CN" sz="2000" dirty="0">
                <a:solidFill>
                  <a:schemeClr val="accent1"/>
                </a:solidFill>
                <a:latin typeface="+mj-ea"/>
                <a:ea typeface="+mj-ea"/>
              </a:rPr>
              <a:t>03.</a:t>
            </a:r>
            <a:r>
              <a:rPr lang="zh-CN" altLang="en-US" sz="2000" dirty="0">
                <a:solidFill>
                  <a:schemeClr val="accent1"/>
                </a:solidFill>
                <a:latin typeface="+mj-ea"/>
                <a:ea typeface="+mj-ea"/>
              </a:rPr>
              <a:t> 关键词标题</a:t>
            </a:r>
          </a:p>
        </p:txBody>
      </p:sp>
      <p:sp>
        <p:nvSpPr>
          <p:cNvPr id="51" name="文本框 50">
            <a:extLst>
              <a:ext uri="{FF2B5EF4-FFF2-40B4-BE49-F238E27FC236}">
                <a16:creationId xmlns:a16="http://schemas.microsoft.com/office/drawing/2014/main" id="{C8619974-7DFA-4F37-A31A-B8E2FC5C9E27}"/>
              </a:ext>
            </a:extLst>
          </p:cNvPr>
          <p:cNvSpPr txBox="1"/>
          <p:nvPr/>
        </p:nvSpPr>
        <p:spPr>
          <a:xfrm>
            <a:off x="2292286" y="5231627"/>
            <a:ext cx="3479292" cy="426079"/>
          </a:xfrm>
          <a:prstGeom prst="rect">
            <a:avLst/>
          </a:prstGeom>
          <a:noFill/>
        </p:spPr>
        <p:txBody>
          <a:bodyPr wrap="square" lIns="0" tIns="0" rIns="0" bIns="0" rtlCol="0" anchor="t">
            <a:spAutoFit/>
          </a:bodyPr>
          <a:lstStyle/>
          <a:p>
            <a:pPr>
              <a:lnSpc>
                <a:spcPct val="130000"/>
              </a:lnSpc>
            </a:pPr>
            <a:r>
              <a:rPr lang="en-US" altLang="zh-CN" sz="1100" b="0" dirty="0">
                <a:solidFill>
                  <a:schemeClr val="tx1">
                    <a:lumMod val="75000"/>
                    <a:lumOff val="25000"/>
                  </a:schemeClr>
                </a:solidFill>
                <a:effectLst/>
                <a:latin typeface="+mn-ea"/>
              </a:rPr>
              <a:t>Lorem ipsum dolor sit amet, consectetur adipisicing elit, sed do eiusmod tempor</a:t>
            </a:r>
            <a:endParaRPr lang="zh-CN" altLang="en-US" sz="1100" b="0" dirty="0">
              <a:solidFill>
                <a:schemeClr val="tx1">
                  <a:lumMod val="75000"/>
                  <a:lumOff val="25000"/>
                </a:schemeClr>
              </a:solidFill>
              <a:effectLst/>
              <a:latin typeface="+mn-ea"/>
            </a:endParaRPr>
          </a:p>
        </p:txBody>
      </p:sp>
      <p:cxnSp>
        <p:nvCxnSpPr>
          <p:cNvPr id="52" name="直接连接符 51">
            <a:extLst>
              <a:ext uri="{FF2B5EF4-FFF2-40B4-BE49-F238E27FC236}">
                <a16:creationId xmlns:a16="http://schemas.microsoft.com/office/drawing/2014/main" id="{3FC3CB1F-019C-4817-ACC1-90C0F247033E}"/>
              </a:ext>
            </a:extLst>
          </p:cNvPr>
          <p:cNvCxnSpPr>
            <a:cxnSpLocks/>
          </p:cNvCxnSpPr>
          <p:nvPr/>
        </p:nvCxnSpPr>
        <p:spPr>
          <a:xfrm>
            <a:off x="7673530" y="1078992"/>
            <a:ext cx="0" cy="5065776"/>
          </a:xfrm>
          <a:prstGeom prst="line">
            <a:avLst/>
          </a:prstGeom>
          <a:ln w="25400">
            <a:gradFill>
              <a:gsLst>
                <a:gs pos="0">
                  <a:schemeClr val="accent1">
                    <a:alpha val="0"/>
                  </a:schemeClr>
                </a:gs>
                <a:gs pos="50000">
                  <a:schemeClr val="accent1"/>
                </a:gs>
                <a:gs pos="100000">
                  <a:schemeClr val="accent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53" name="椭圆 52">
            <a:extLst>
              <a:ext uri="{FF2B5EF4-FFF2-40B4-BE49-F238E27FC236}">
                <a16:creationId xmlns:a16="http://schemas.microsoft.com/office/drawing/2014/main" id="{E2881C3B-2B26-472A-9538-80D12FB84C41}"/>
              </a:ext>
            </a:extLst>
          </p:cNvPr>
          <p:cNvSpPr/>
          <p:nvPr/>
        </p:nvSpPr>
        <p:spPr>
          <a:xfrm>
            <a:off x="7602981" y="1623372"/>
            <a:ext cx="141097" cy="14109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400">
              <a:solidFill>
                <a:schemeClr val="bg1"/>
              </a:solidFill>
              <a:latin typeface="+mj-ea"/>
              <a:ea typeface="+mj-ea"/>
            </a:endParaRPr>
          </a:p>
        </p:txBody>
      </p:sp>
      <p:sp>
        <p:nvSpPr>
          <p:cNvPr id="54" name="椭圆 53">
            <a:extLst>
              <a:ext uri="{FF2B5EF4-FFF2-40B4-BE49-F238E27FC236}">
                <a16:creationId xmlns:a16="http://schemas.microsoft.com/office/drawing/2014/main" id="{93A3C202-3DAB-435E-882C-A18A81151595}"/>
              </a:ext>
            </a:extLst>
          </p:cNvPr>
          <p:cNvSpPr/>
          <p:nvPr/>
        </p:nvSpPr>
        <p:spPr>
          <a:xfrm>
            <a:off x="7602981" y="3233211"/>
            <a:ext cx="141097" cy="14109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400">
              <a:solidFill>
                <a:schemeClr val="bg1"/>
              </a:solidFill>
              <a:latin typeface="+mj-ea"/>
              <a:ea typeface="+mj-ea"/>
            </a:endParaRPr>
          </a:p>
        </p:txBody>
      </p:sp>
      <p:sp>
        <p:nvSpPr>
          <p:cNvPr id="55" name="椭圆 54">
            <a:extLst>
              <a:ext uri="{FF2B5EF4-FFF2-40B4-BE49-F238E27FC236}">
                <a16:creationId xmlns:a16="http://schemas.microsoft.com/office/drawing/2014/main" id="{818987A8-BF71-4800-83FB-9BCFE6A9044F}"/>
              </a:ext>
            </a:extLst>
          </p:cNvPr>
          <p:cNvSpPr/>
          <p:nvPr/>
        </p:nvSpPr>
        <p:spPr>
          <a:xfrm>
            <a:off x="7602981" y="4843050"/>
            <a:ext cx="141097" cy="14109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400">
              <a:solidFill>
                <a:schemeClr val="bg1"/>
              </a:solidFill>
              <a:latin typeface="+mj-ea"/>
              <a:ea typeface="+mj-ea"/>
            </a:endParaRPr>
          </a:p>
        </p:txBody>
      </p:sp>
      <p:sp>
        <p:nvSpPr>
          <p:cNvPr id="56" name="椭圆 55">
            <a:extLst>
              <a:ext uri="{FF2B5EF4-FFF2-40B4-BE49-F238E27FC236}">
                <a16:creationId xmlns:a16="http://schemas.microsoft.com/office/drawing/2014/main" id="{02FABD92-8917-43FE-B674-1000714FE8A4}"/>
              </a:ext>
            </a:extLst>
          </p:cNvPr>
          <p:cNvSpPr/>
          <p:nvPr/>
        </p:nvSpPr>
        <p:spPr>
          <a:xfrm>
            <a:off x="6645655" y="1623372"/>
            <a:ext cx="661734" cy="66173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400">
              <a:solidFill>
                <a:schemeClr val="bg1"/>
              </a:solidFill>
              <a:latin typeface="+mj-ea"/>
              <a:ea typeface="+mj-ea"/>
            </a:endParaRPr>
          </a:p>
        </p:txBody>
      </p:sp>
      <p:sp>
        <p:nvSpPr>
          <p:cNvPr id="57" name="椭圆 56">
            <a:extLst>
              <a:ext uri="{FF2B5EF4-FFF2-40B4-BE49-F238E27FC236}">
                <a16:creationId xmlns:a16="http://schemas.microsoft.com/office/drawing/2014/main" id="{67B096A3-F796-49F8-83EE-70806B358B7F}"/>
              </a:ext>
            </a:extLst>
          </p:cNvPr>
          <p:cNvSpPr/>
          <p:nvPr/>
        </p:nvSpPr>
        <p:spPr>
          <a:xfrm>
            <a:off x="6645655" y="3233211"/>
            <a:ext cx="661734" cy="66173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400">
              <a:solidFill>
                <a:schemeClr val="bg1"/>
              </a:solidFill>
              <a:latin typeface="+mj-ea"/>
              <a:ea typeface="+mj-ea"/>
            </a:endParaRPr>
          </a:p>
        </p:txBody>
      </p:sp>
      <p:sp>
        <p:nvSpPr>
          <p:cNvPr id="58" name="椭圆 57">
            <a:extLst>
              <a:ext uri="{FF2B5EF4-FFF2-40B4-BE49-F238E27FC236}">
                <a16:creationId xmlns:a16="http://schemas.microsoft.com/office/drawing/2014/main" id="{3A784F0F-B61F-4782-85E0-5DF3EBA0F6C4}"/>
              </a:ext>
            </a:extLst>
          </p:cNvPr>
          <p:cNvSpPr/>
          <p:nvPr/>
        </p:nvSpPr>
        <p:spPr>
          <a:xfrm>
            <a:off x="6645655" y="4844270"/>
            <a:ext cx="661734" cy="66173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400">
              <a:solidFill>
                <a:schemeClr val="bg1"/>
              </a:solidFill>
              <a:latin typeface="+mj-ea"/>
              <a:ea typeface="+mj-ea"/>
            </a:endParaRPr>
          </a:p>
        </p:txBody>
      </p:sp>
      <p:sp>
        <p:nvSpPr>
          <p:cNvPr id="59" name="文本框 58">
            <a:extLst>
              <a:ext uri="{FF2B5EF4-FFF2-40B4-BE49-F238E27FC236}">
                <a16:creationId xmlns:a16="http://schemas.microsoft.com/office/drawing/2014/main" id="{F4487DE9-C041-43AD-BE66-F236A1DCE3A6}"/>
              </a:ext>
            </a:extLst>
          </p:cNvPr>
          <p:cNvSpPr txBox="1"/>
          <p:nvPr/>
        </p:nvSpPr>
        <p:spPr>
          <a:xfrm>
            <a:off x="7915846" y="1535262"/>
            <a:ext cx="1769715" cy="307777"/>
          </a:xfrm>
          <a:prstGeom prst="rect">
            <a:avLst/>
          </a:prstGeom>
          <a:noFill/>
        </p:spPr>
        <p:txBody>
          <a:bodyPr wrap="none" lIns="0" tIns="0" rIns="0" bIns="0" rtlCol="0" anchor="t">
            <a:spAutoFit/>
          </a:bodyPr>
          <a:lstStyle/>
          <a:p>
            <a:r>
              <a:rPr lang="en-US" altLang="zh-CN" sz="2000" dirty="0">
                <a:solidFill>
                  <a:schemeClr val="accent1"/>
                </a:solidFill>
                <a:latin typeface="+mj-ea"/>
                <a:ea typeface="+mj-ea"/>
              </a:rPr>
              <a:t>04.</a:t>
            </a:r>
            <a:r>
              <a:rPr lang="zh-CN" altLang="en-US" sz="2000" dirty="0">
                <a:solidFill>
                  <a:schemeClr val="accent1"/>
                </a:solidFill>
                <a:latin typeface="+mj-ea"/>
                <a:ea typeface="+mj-ea"/>
              </a:rPr>
              <a:t> 关键词标题</a:t>
            </a:r>
          </a:p>
        </p:txBody>
      </p:sp>
      <p:sp>
        <p:nvSpPr>
          <p:cNvPr id="60" name="文本框 59">
            <a:extLst>
              <a:ext uri="{FF2B5EF4-FFF2-40B4-BE49-F238E27FC236}">
                <a16:creationId xmlns:a16="http://schemas.microsoft.com/office/drawing/2014/main" id="{138160DE-962F-4A65-862D-4BA2B28A9A1F}"/>
              </a:ext>
            </a:extLst>
          </p:cNvPr>
          <p:cNvSpPr txBox="1"/>
          <p:nvPr/>
        </p:nvSpPr>
        <p:spPr>
          <a:xfrm>
            <a:off x="7915846" y="1944707"/>
            <a:ext cx="3479292" cy="426079"/>
          </a:xfrm>
          <a:prstGeom prst="rect">
            <a:avLst/>
          </a:prstGeom>
          <a:noFill/>
        </p:spPr>
        <p:txBody>
          <a:bodyPr wrap="square" lIns="0" tIns="0" rIns="0" bIns="0" rtlCol="0" anchor="t">
            <a:spAutoFit/>
          </a:bodyPr>
          <a:lstStyle/>
          <a:p>
            <a:pPr>
              <a:lnSpc>
                <a:spcPct val="130000"/>
              </a:lnSpc>
            </a:pPr>
            <a:r>
              <a:rPr lang="en-US" altLang="zh-CN" sz="1100" b="0" dirty="0">
                <a:solidFill>
                  <a:schemeClr val="tx1">
                    <a:lumMod val="75000"/>
                    <a:lumOff val="25000"/>
                  </a:schemeClr>
                </a:solidFill>
                <a:effectLst/>
                <a:latin typeface="+mn-ea"/>
              </a:rPr>
              <a:t>Lorem ipsum dolor sit amet, consectetur adipisicing elit, sed do eiusmod tempor</a:t>
            </a:r>
            <a:endParaRPr lang="zh-CN" altLang="en-US" sz="1100" b="0" dirty="0">
              <a:solidFill>
                <a:schemeClr val="tx1">
                  <a:lumMod val="75000"/>
                  <a:lumOff val="25000"/>
                </a:schemeClr>
              </a:solidFill>
              <a:effectLst/>
              <a:latin typeface="+mn-ea"/>
            </a:endParaRPr>
          </a:p>
        </p:txBody>
      </p:sp>
      <p:sp>
        <p:nvSpPr>
          <p:cNvPr id="61" name="文本框 60">
            <a:extLst>
              <a:ext uri="{FF2B5EF4-FFF2-40B4-BE49-F238E27FC236}">
                <a16:creationId xmlns:a16="http://schemas.microsoft.com/office/drawing/2014/main" id="{1C9C236B-230E-4682-BF2C-BDD3A8DC9B6F}"/>
              </a:ext>
            </a:extLst>
          </p:cNvPr>
          <p:cNvSpPr txBox="1"/>
          <p:nvPr/>
        </p:nvSpPr>
        <p:spPr>
          <a:xfrm>
            <a:off x="7915846" y="3189642"/>
            <a:ext cx="1769715" cy="307777"/>
          </a:xfrm>
          <a:prstGeom prst="rect">
            <a:avLst/>
          </a:prstGeom>
          <a:noFill/>
        </p:spPr>
        <p:txBody>
          <a:bodyPr wrap="none" lIns="0" tIns="0" rIns="0" bIns="0" rtlCol="0" anchor="t">
            <a:spAutoFit/>
          </a:bodyPr>
          <a:lstStyle/>
          <a:p>
            <a:r>
              <a:rPr lang="en-US" altLang="zh-CN" sz="2000" dirty="0">
                <a:solidFill>
                  <a:schemeClr val="accent1"/>
                </a:solidFill>
                <a:latin typeface="+mj-ea"/>
                <a:ea typeface="+mj-ea"/>
              </a:rPr>
              <a:t>05.</a:t>
            </a:r>
            <a:r>
              <a:rPr lang="zh-CN" altLang="en-US" sz="2000" dirty="0">
                <a:solidFill>
                  <a:schemeClr val="accent1"/>
                </a:solidFill>
                <a:latin typeface="+mj-ea"/>
                <a:ea typeface="+mj-ea"/>
              </a:rPr>
              <a:t> 关键词标题</a:t>
            </a:r>
          </a:p>
        </p:txBody>
      </p:sp>
      <p:sp>
        <p:nvSpPr>
          <p:cNvPr id="62" name="文本框 61">
            <a:extLst>
              <a:ext uri="{FF2B5EF4-FFF2-40B4-BE49-F238E27FC236}">
                <a16:creationId xmlns:a16="http://schemas.microsoft.com/office/drawing/2014/main" id="{8DEB8966-BE0B-4C9D-837F-57B6650888D9}"/>
              </a:ext>
            </a:extLst>
          </p:cNvPr>
          <p:cNvSpPr txBox="1"/>
          <p:nvPr/>
        </p:nvSpPr>
        <p:spPr>
          <a:xfrm>
            <a:off x="7915846" y="3599087"/>
            <a:ext cx="3479292" cy="426079"/>
          </a:xfrm>
          <a:prstGeom prst="rect">
            <a:avLst/>
          </a:prstGeom>
          <a:noFill/>
        </p:spPr>
        <p:txBody>
          <a:bodyPr wrap="square" lIns="0" tIns="0" rIns="0" bIns="0" rtlCol="0" anchor="t">
            <a:spAutoFit/>
          </a:bodyPr>
          <a:lstStyle/>
          <a:p>
            <a:pPr>
              <a:lnSpc>
                <a:spcPct val="130000"/>
              </a:lnSpc>
            </a:pPr>
            <a:r>
              <a:rPr lang="en-US" altLang="zh-CN" sz="1100" b="0" dirty="0">
                <a:solidFill>
                  <a:schemeClr val="tx1">
                    <a:lumMod val="75000"/>
                    <a:lumOff val="25000"/>
                  </a:schemeClr>
                </a:solidFill>
                <a:effectLst/>
                <a:latin typeface="+mn-ea"/>
              </a:rPr>
              <a:t>Lorem ipsum dolor sit amet, consectetur adipisicing elit, sed do eiusmod tempor</a:t>
            </a:r>
            <a:endParaRPr lang="zh-CN" altLang="en-US" sz="1100" b="0" dirty="0">
              <a:solidFill>
                <a:schemeClr val="tx1">
                  <a:lumMod val="75000"/>
                  <a:lumOff val="25000"/>
                </a:schemeClr>
              </a:solidFill>
              <a:effectLst/>
              <a:latin typeface="+mn-ea"/>
            </a:endParaRPr>
          </a:p>
        </p:txBody>
      </p:sp>
      <p:sp>
        <p:nvSpPr>
          <p:cNvPr id="63" name="文本框 62">
            <a:extLst>
              <a:ext uri="{FF2B5EF4-FFF2-40B4-BE49-F238E27FC236}">
                <a16:creationId xmlns:a16="http://schemas.microsoft.com/office/drawing/2014/main" id="{ED981669-6AF0-464E-A9B2-BD2C9CB518C0}"/>
              </a:ext>
            </a:extLst>
          </p:cNvPr>
          <p:cNvSpPr txBox="1"/>
          <p:nvPr/>
        </p:nvSpPr>
        <p:spPr>
          <a:xfrm>
            <a:off x="7915846" y="4822182"/>
            <a:ext cx="1769715" cy="307777"/>
          </a:xfrm>
          <a:prstGeom prst="rect">
            <a:avLst/>
          </a:prstGeom>
          <a:noFill/>
        </p:spPr>
        <p:txBody>
          <a:bodyPr wrap="none" lIns="0" tIns="0" rIns="0" bIns="0" rtlCol="0" anchor="t">
            <a:spAutoFit/>
          </a:bodyPr>
          <a:lstStyle/>
          <a:p>
            <a:r>
              <a:rPr lang="en-US" altLang="zh-CN" sz="2000" dirty="0">
                <a:solidFill>
                  <a:schemeClr val="accent1"/>
                </a:solidFill>
                <a:latin typeface="+mj-ea"/>
                <a:ea typeface="+mj-ea"/>
              </a:rPr>
              <a:t>06.</a:t>
            </a:r>
            <a:r>
              <a:rPr lang="zh-CN" altLang="en-US" sz="2000" dirty="0">
                <a:solidFill>
                  <a:schemeClr val="accent1"/>
                </a:solidFill>
                <a:latin typeface="+mj-ea"/>
                <a:ea typeface="+mj-ea"/>
              </a:rPr>
              <a:t> 关键词标题</a:t>
            </a:r>
          </a:p>
        </p:txBody>
      </p:sp>
      <p:sp>
        <p:nvSpPr>
          <p:cNvPr id="64" name="文本框 63">
            <a:extLst>
              <a:ext uri="{FF2B5EF4-FFF2-40B4-BE49-F238E27FC236}">
                <a16:creationId xmlns:a16="http://schemas.microsoft.com/office/drawing/2014/main" id="{4729FDBB-0971-41B4-AF20-3289B3C678BF}"/>
              </a:ext>
            </a:extLst>
          </p:cNvPr>
          <p:cNvSpPr txBox="1"/>
          <p:nvPr/>
        </p:nvSpPr>
        <p:spPr>
          <a:xfrm>
            <a:off x="7915846" y="5231627"/>
            <a:ext cx="3479292" cy="426079"/>
          </a:xfrm>
          <a:prstGeom prst="rect">
            <a:avLst/>
          </a:prstGeom>
          <a:noFill/>
        </p:spPr>
        <p:txBody>
          <a:bodyPr wrap="square" lIns="0" tIns="0" rIns="0" bIns="0" rtlCol="0" anchor="t">
            <a:spAutoFit/>
          </a:bodyPr>
          <a:lstStyle/>
          <a:p>
            <a:pPr>
              <a:lnSpc>
                <a:spcPct val="130000"/>
              </a:lnSpc>
            </a:pPr>
            <a:r>
              <a:rPr lang="en-US" altLang="zh-CN" sz="1100" b="0" dirty="0">
                <a:solidFill>
                  <a:schemeClr val="tx1">
                    <a:lumMod val="75000"/>
                    <a:lumOff val="25000"/>
                  </a:schemeClr>
                </a:solidFill>
                <a:effectLst/>
                <a:latin typeface="+mn-ea"/>
              </a:rPr>
              <a:t>Lorem ipsum dolor sit amet, consectetur adipisicing elit, sed do eiusmod tempor</a:t>
            </a:r>
            <a:endParaRPr lang="zh-CN" altLang="en-US" sz="1100" b="0" dirty="0">
              <a:solidFill>
                <a:schemeClr val="tx1">
                  <a:lumMod val="75000"/>
                  <a:lumOff val="25000"/>
                </a:schemeClr>
              </a:solidFill>
              <a:effectLst/>
              <a:latin typeface="+mn-ea"/>
            </a:endParaRPr>
          </a:p>
        </p:txBody>
      </p:sp>
      <p:sp>
        <p:nvSpPr>
          <p:cNvPr id="65" name="price-ticket_70951">
            <a:extLst>
              <a:ext uri="{FF2B5EF4-FFF2-40B4-BE49-F238E27FC236}">
                <a16:creationId xmlns:a16="http://schemas.microsoft.com/office/drawing/2014/main" id="{D5505BB9-3298-44DC-8F95-48F41398234C}"/>
              </a:ext>
            </a:extLst>
          </p:cNvPr>
          <p:cNvSpPr/>
          <p:nvPr/>
        </p:nvSpPr>
        <p:spPr>
          <a:xfrm>
            <a:off x="1182041" y="1804566"/>
            <a:ext cx="341960" cy="341528"/>
          </a:xfrm>
          <a:custGeom>
            <a:avLst/>
            <a:gdLst>
              <a:gd name="T0" fmla="*/ 5136 w 5158"/>
              <a:gd name="T1" fmla="*/ 1919 h 5159"/>
              <a:gd name="T2" fmla="*/ 4927 w 5158"/>
              <a:gd name="T3" fmla="*/ 600 h 5159"/>
              <a:gd name="T4" fmla="*/ 4559 w 5158"/>
              <a:gd name="T5" fmla="*/ 232 h 5159"/>
              <a:gd name="T6" fmla="*/ 3240 w 5158"/>
              <a:gd name="T7" fmla="*/ 22 h 5159"/>
              <a:gd name="T8" fmla="*/ 2858 w 5158"/>
              <a:gd name="T9" fmla="*/ 147 h 5159"/>
              <a:gd name="T10" fmla="*/ 173 w 5158"/>
              <a:gd name="T11" fmla="*/ 2831 h 5159"/>
              <a:gd name="T12" fmla="*/ 173 w 5158"/>
              <a:gd name="T13" fmla="*/ 3457 h 5159"/>
              <a:gd name="T14" fmla="*/ 1701 w 5158"/>
              <a:gd name="T15" fmla="*/ 4986 h 5159"/>
              <a:gd name="T16" fmla="*/ 2327 w 5158"/>
              <a:gd name="T17" fmla="*/ 4986 h 5159"/>
              <a:gd name="T18" fmla="*/ 5012 w 5158"/>
              <a:gd name="T19" fmla="*/ 2301 h 5159"/>
              <a:gd name="T20" fmla="*/ 5136 w 5158"/>
              <a:gd name="T21" fmla="*/ 1919 h 5159"/>
              <a:gd name="T22" fmla="*/ 2212 w 5158"/>
              <a:gd name="T23" fmla="*/ 4643 h 5159"/>
              <a:gd name="T24" fmla="*/ 1968 w 5158"/>
              <a:gd name="T25" fmla="*/ 4643 h 5159"/>
              <a:gd name="T26" fmla="*/ 515 w 5158"/>
              <a:gd name="T27" fmla="*/ 3191 h 5159"/>
              <a:gd name="T28" fmla="*/ 515 w 5158"/>
              <a:gd name="T29" fmla="*/ 2946 h 5159"/>
              <a:gd name="T30" fmla="*/ 760 w 5158"/>
              <a:gd name="T31" fmla="*/ 2946 h 5159"/>
              <a:gd name="T32" fmla="*/ 2212 w 5158"/>
              <a:gd name="T33" fmla="*/ 4399 h 5159"/>
              <a:gd name="T34" fmla="*/ 2212 w 5158"/>
              <a:gd name="T35" fmla="*/ 4643 h 5159"/>
              <a:gd name="T36" fmla="*/ 4166 w 5158"/>
              <a:gd name="T37" fmla="*/ 1464 h 5159"/>
              <a:gd name="T38" fmla="*/ 3695 w 5158"/>
              <a:gd name="T39" fmla="*/ 1464 h 5159"/>
              <a:gd name="T40" fmla="*/ 3695 w 5158"/>
              <a:gd name="T41" fmla="*/ 993 h 5159"/>
              <a:gd name="T42" fmla="*/ 4166 w 5158"/>
              <a:gd name="T43" fmla="*/ 993 h 5159"/>
              <a:gd name="T44" fmla="*/ 4166 w 5158"/>
              <a:gd name="T45" fmla="*/ 1464 h 5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158" h="5159">
                <a:moveTo>
                  <a:pt x="5136" y="1919"/>
                </a:moveTo>
                <a:lnTo>
                  <a:pt x="4927" y="600"/>
                </a:lnTo>
                <a:cubicBezTo>
                  <a:pt x="4897" y="411"/>
                  <a:pt x="4748" y="262"/>
                  <a:pt x="4559" y="232"/>
                </a:cubicBezTo>
                <a:lnTo>
                  <a:pt x="3240" y="22"/>
                </a:lnTo>
                <a:cubicBezTo>
                  <a:pt x="3100" y="0"/>
                  <a:pt x="2958" y="46"/>
                  <a:pt x="2858" y="147"/>
                </a:cubicBezTo>
                <a:lnTo>
                  <a:pt x="173" y="2831"/>
                </a:lnTo>
                <a:cubicBezTo>
                  <a:pt x="0" y="3004"/>
                  <a:pt x="0" y="3285"/>
                  <a:pt x="173" y="3457"/>
                </a:cubicBezTo>
                <a:lnTo>
                  <a:pt x="1701" y="4986"/>
                </a:lnTo>
                <a:cubicBezTo>
                  <a:pt x="1874" y="5159"/>
                  <a:pt x="2154" y="5159"/>
                  <a:pt x="2327" y="4986"/>
                </a:cubicBezTo>
                <a:lnTo>
                  <a:pt x="5012" y="2301"/>
                </a:lnTo>
                <a:cubicBezTo>
                  <a:pt x="5112" y="2201"/>
                  <a:pt x="5158" y="2059"/>
                  <a:pt x="5136" y="1919"/>
                </a:cubicBezTo>
                <a:close/>
                <a:moveTo>
                  <a:pt x="2212" y="4643"/>
                </a:moveTo>
                <a:cubicBezTo>
                  <a:pt x="2145" y="4711"/>
                  <a:pt x="2035" y="4711"/>
                  <a:pt x="1968" y="4643"/>
                </a:cubicBezTo>
                <a:lnTo>
                  <a:pt x="515" y="3191"/>
                </a:lnTo>
                <a:cubicBezTo>
                  <a:pt x="448" y="3124"/>
                  <a:pt x="448" y="3014"/>
                  <a:pt x="515" y="2946"/>
                </a:cubicBezTo>
                <a:cubicBezTo>
                  <a:pt x="583" y="2879"/>
                  <a:pt x="692" y="2879"/>
                  <a:pt x="760" y="2946"/>
                </a:cubicBezTo>
                <a:lnTo>
                  <a:pt x="2212" y="4399"/>
                </a:lnTo>
                <a:cubicBezTo>
                  <a:pt x="2280" y="4466"/>
                  <a:pt x="2280" y="4576"/>
                  <a:pt x="2212" y="4643"/>
                </a:cubicBezTo>
                <a:close/>
                <a:moveTo>
                  <a:pt x="4166" y="1464"/>
                </a:moveTo>
                <a:cubicBezTo>
                  <a:pt x="4036" y="1594"/>
                  <a:pt x="3825" y="1594"/>
                  <a:pt x="3695" y="1464"/>
                </a:cubicBezTo>
                <a:cubicBezTo>
                  <a:pt x="3565" y="1334"/>
                  <a:pt x="3565" y="1123"/>
                  <a:pt x="3695" y="993"/>
                </a:cubicBezTo>
                <a:cubicBezTo>
                  <a:pt x="3825" y="862"/>
                  <a:pt x="4036" y="862"/>
                  <a:pt x="4166" y="993"/>
                </a:cubicBezTo>
                <a:cubicBezTo>
                  <a:pt x="4296" y="1123"/>
                  <a:pt x="4296" y="1334"/>
                  <a:pt x="4166" y="1464"/>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67" name="price-ticket_70951">
            <a:extLst>
              <a:ext uri="{FF2B5EF4-FFF2-40B4-BE49-F238E27FC236}">
                <a16:creationId xmlns:a16="http://schemas.microsoft.com/office/drawing/2014/main" id="{05231660-7FE2-4285-9BE4-2E952EE08874}"/>
              </a:ext>
            </a:extLst>
          </p:cNvPr>
          <p:cNvSpPr/>
          <p:nvPr/>
        </p:nvSpPr>
        <p:spPr>
          <a:xfrm>
            <a:off x="1182041" y="3393364"/>
            <a:ext cx="341960" cy="341428"/>
          </a:xfrm>
          <a:custGeom>
            <a:avLst/>
            <a:gdLst>
              <a:gd name="T0" fmla="*/ 370 w 413"/>
              <a:gd name="T1" fmla="*/ 139 h 413"/>
              <a:gd name="T2" fmla="*/ 353 w 413"/>
              <a:gd name="T3" fmla="*/ 61 h 413"/>
              <a:gd name="T4" fmla="*/ 274 w 413"/>
              <a:gd name="T5" fmla="*/ 43 h 413"/>
              <a:gd name="T6" fmla="*/ 207 w 413"/>
              <a:gd name="T7" fmla="*/ 0 h 413"/>
              <a:gd name="T8" fmla="*/ 139 w 413"/>
              <a:gd name="T9" fmla="*/ 43 h 413"/>
              <a:gd name="T10" fmla="*/ 43 w 413"/>
              <a:gd name="T11" fmla="*/ 103 h 413"/>
              <a:gd name="T12" fmla="*/ 18 w 413"/>
              <a:gd name="T13" fmla="*/ 164 h 413"/>
              <a:gd name="T14" fmla="*/ 18 w 413"/>
              <a:gd name="T15" fmla="*/ 249 h 413"/>
              <a:gd name="T16" fmla="*/ 43 w 413"/>
              <a:gd name="T17" fmla="*/ 310 h 413"/>
              <a:gd name="T18" fmla="*/ 103 w 413"/>
              <a:gd name="T19" fmla="*/ 370 h 413"/>
              <a:gd name="T20" fmla="*/ 164 w 413"/>
              <a:gd name="T21" fmla="*/ 396 h 413"/>
              <a:gd name="T22" fmla="*/ 249 w 413"/>
              <a:gd name="T23" fmla="*/ 396 h 413"/>
              <a:gd name="T24" fmla="*/ 310 w 413"/>
              <a:gd name="T25" fmla="*/ 370 h 413"/>
              <a:gd name="T26" fmla="*/ 370 w 413"/>
              <a:gd name="T27" fmla="*/ 274 h 413"/>
              <a:gd name="T28" fmla="*/ 413 w 413"/>
              <a:gd name="T29" fmla="*/ 207 h 413"/>
              <a:gd name="T30" fmla="*/ 146 w 413"/>
              <a:gd name="T31" fmla="*/ 261 h 413"/>
              <a:gd name="T32" fmla="*/ 104 w 413"/>
              <a:gd name="T33" fmla="*/ 225 h 413"/>
              <a:gd name="T34" fmla="*/ 88 w 413"/>
              <a:gd name="T35" fmla="*/ 192 h 413"/>
              <a:gd name="T36" fmla="*/ 89 w 413"/>
              <a:gd name="T37" fmla="*/ 261 h 413"/>
              <a:gd name="T38" fmla="*/ 69 w 413"/>
              <a:gd name="T39" fmla="*/ 167 h 413"/>
              <a:gd name="T40" fmla="*/ 113 w 413"/>
              <a:gd name="T41" fmla="*/ 201 h 413"/>
              <a:gd name="T42" fmla="*/ 129 w 413"/>
              <a:gd name="T43" fmla="*/ 233 h 413"/>
              <a:gd name="T44" fmla="*/ 127 w 413"/>
              <a:gd name="T45" fmla="*/ 167 h 413"/>
              <a:gd name="T46" fmla="*/ 146 w 413"/>
              <a:gd name="T47" fmla="*/ 261 h 413"/>
              <a:gd name="T48" fmla="*/ 224 w 413"/>
              <a:gd name="T49" fmla="*/ 261 h 413"/>
              <a:gd name="T50" fmla="*/ 165 w 413"/>
              <a:gd name="T51" fmla="*/ 167 h 413"/>
              <a:gd name="T52" fmla="*/ 222 w 413"/>
              <a:gd name="T53" fmla="*/ 185 h 413"/>
              <a:gd name="T54" fmla="*/ 186 w 413"/>
              <a:gd name="T55" fmla="*/ 204 h 413"/>
              <a:gd name="T56" fmla="*/ 220 w 413"/>
              <a:gd name="T57" fmla="*/ 221 h 413"/>
              <a:gd name="T58" fmla="*/ 186 w 413"/>
              <a:gd name="T59" fmla="*/ 243 h 413"/>
              <a:gd name="T60" fmla="*/ 224 w 413"/>
              <a:gd name="T61" fmla="*/ 261 h 413"/>
              <a:gd name="T62" fmla="*/ 327 w 413"/>
              <a:gd name="T63" fmla="*/ 261 h 413"/>
              <a:gd name="T64" fmla="*/ 297 w 413"/>
              <a:gd name="T65" fmla="*/ 220 h 413"/>
              <a:gd name="T66" fmla="*/ 292 w 413"/>
              <a:gd name="T67" fmla="*/ 192 h 413"/>
              <a:gd name="T68" fmla="*/ 278 w 413"/>
              <a:gd name="T69" fmla="*/ 261 h 413"/>
              <a:gd name="T70" fmla="*/ 232 w 413"/>
              <a:gd name="T71" fmla="*/ 167 h 413"/>
              <a:gd name="T72" fmla="*/ 262 w 413"/>
              <a:gd name="T73" fmla="*/ 206 h 413"/>
              <a:gd name="T74" fmla="*/ 268 w 413"/>
              <a:gd name="T75" fmla="*/ 238 h 413"/>
              <a:gd name="T76" fmla="*/ 282 w 413"/>
              <a:gd name="T77" fmla="*/ 167 h 413"/>
              <a:gd name="T78" fmla="*/ 312 w 413"/>
              <a:gd name="T79" fmla="*/ 207 h 413"/>
              <a:gd name="T80" fmla="*/ 317 w 413"/>
              <a:gd name="T81" fmla="*/ 238 h 413"/>
              <a:gd name="T82" fmla="*/ 330 w 413"/>
              <a:gd name="T83" fmla="*/ 167 h 413"/>
              <a:gd name="T84" fmla="*/ 327 w 413"/>
              <a:gd name="T85" fmla="*/ 261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13" h="413">
                <a:moveTo>
                  <a:pt x="396" y="164"/>
                </a:moveTo>
                <a:lnTo>
                  <a:pt x="370" y="139"/>
                </a:lnTo>
                <a:lnTo>
                  <a:pt x="370" y="103"/>
                </a:lnTo>
                <a:cubicBezTo>
                  <a:pt x="370" y="87"/>
                  <a:pt x="364" y="72"/>
                  <a:pt x="353" y="61"/>
                </a:cubicBezTo>
                <a:cubicBezTo>
                  <a:pt x="341" y="49"/>
                  <a:pt x="326" y="43"/>
                  <a:pt x="310" y="43"/>
                </a:cubicBezTo>
                <a:lnTo>
                  <a:pt x="274" y="43"/>
                </a:lnTo>
                <a:lnTo>
                  <a:pt x="249" y="18"/>
                </a:lnTo>
                <a:cubicBezTo>
                  <a:pt x="238" y="6"/>
                  <a:pt x="223" y="0"/>
                  <a:pt x="207" y="0"/>
                </a:cubicBezTo>
                <a:cubicBezTo>
                  <a:pt x="191" y="0"/>
                  <a:pt x="176" y="6"/>
                  <a:pt x="164" y="18"/>
                </a:cubicBezTo>
                <a:lnTo>
                  <a:pt x="139" y="43"/>
                </a:lnTo>
                <a:lnTo>
                  <a:pt x="103" y="43"/>
                </a:lnTo>
                <a:cubicBezTo>
                  <a:pt x="70" y="43"/>
                  <a:pt x="43" y="70"/>
                  <a:pt x="43" y="103"/>
                </a:cubicBezTo>
                <a:lnTo>
                  <a:pt x="43" y="139"/>
                </a:lnTo>
                <a:lnTo>
                  <a:pt x="18" y="164"/>
                </a:lnTo>
                <a:cubicBezTo>
                  <a:pt x="6" y="176"/>
                  <a:pt x="0" y="191"/>
                  <a:pt x="0" y="207"/>
                </a:cubicBezTo>
                <a:cubicBezTo>
                  <a:pt x="0" y="223"/>
                  <a:pt x="6" y="238"/>
                  <a:pt x="18" y="249"/>
                </a:cubicBezTo>
                <a:lnTo>
                  <a:pt x="43" y="274"/>
                </a:lnTo>
                <a:lnTo>
                  <a:pt x="43" y="310"/>
                </a:lnTo>
                <a:cubicBezTo>
                  <a:pt x="43" y="326"/>
                  <a:pt x="49" y="341"/>
                  <a:pt x="61" y="353"/>
                </a:cubicBezTo>
                <a:cubicBezTo>
                  <a:pt x="72" y="364"/>
                  <a:pt x="87" y="370"/>
                  <a:pt x="103" y="370"/>
                </a:cubicBezTo>
                <a:lnTo>
                  <a:pt x="139" y="370"/>
                </a:lnTo>
                <a:lnTo>
                  <a:pt x="164" y="396"/>
                </a:lnTo>
                <a:cubicBezTo>
                  <a:pt x="176" y="407"/>
                  <a:pt x="191" y="413"/>
                  <a:pt x="207" y="413"/>
                </a:cubicBezTo>
                <a:cubicBezTo>
                  <a:pt x="223" y="413"/>
                  <a:pt x="238" y="407"/>
                  <a:pt x="249" y="396"/>
                </a:cubicBezTo>
                <a:lnTo>
                  <a:pt x="274" y="370"/>
                </a:lnTo>
                <a:lnTo>
                  <a:pt x="310" y="370"/>
                </a:lnTo>
                <a:cubicBezTo>
                  <a:pt x="343" y="370"/>
                  <a:pt x="370" y="343"/>
                  <a:pt x="370" y="310"/>
                </a:cubicBezTo>
                <a:lnTo>
                  <a:pt x="370" y="274"/>
                </a:lnTo>
                <a:lnTo>
                  <a:pt x="396" y="249"/>
                </a:lnTo>
                <a:cubicBezTo>
                  <a:pt x="407" y="238"/>
                  <a:pt x="413" y="223"/>
                  <a:pt x="413" y="207"/>
                </a:cubicBezTo>
                <a:cubicBezTo>
                  <a:pt x="413" y="191"/>
                  <a:pt x="407" y="176"/>
                  <a:pt x="396" y="164"/>
                </a:cubicBezTo>
                <a:close/>
                <a:moveTo>
                  <a:pt x="146" y="261"/>
                </a:moveTo>
                <a:lnTo>
                  <a:pt x="124" y="261"/>
                </a:lnTo>
                <a:lnTo>
                  <a:pt x="104" y="225"/>
                </a:lnTo>
                <a:cubicBezTo>
                  <a:pt x="99" y="215"/>
                  <a:pt x="93" y="203"/>
                  <a:pt x="88" y="192"/>
                </a:cubicBezTo>
                <a:lnTo>
                  <a:pt x="88" y="192"/>
                </a:lnTo>
                <a:cubicBezTo>
                  <a:pt x="88" y="204"/>
                  <a:pt x="89" y="217"/>
                  <a:pt x="89" y="232"/>
                </a:cubicBezTo>
                <a:lnTo>
                  <a:pt x="89" y="261"/>
                </a:lnTo>
                <a:lnTo>
                  <a:pt x="69" y="261"/>
                </a:lnTo>
                <a:lnTo>
                  <a:pt x="69" y="167"/>
                </a:lnTo>
                <a:lnTo>
                  <a:pt x="94" y="167"/>
                </a:lnTo>
                <a:lnTo>
                  <a:pt x="113" y="201"/>
                </a:lnTo>
                <a:cubicBezTo>
                  <a:pt x="119" y="211"/>
                  <a:pt x="124" y="223"/>
                  <a:pt x="128" y="233"/>
                </a:cubicBezTo>
                <a:lnTo>
                  <a:pt x="129" y="233"/>
                </a:lnTo>
                <a:cubicBezTo>
                  <a:pt x="128" y="221"/>
                  <a:pt x="127" y="209"/>
                  <a:pt x="127" y="195"/>
                </a:cubicBezTo>
                <a:lnTo>
                  <a:pt x="127" y="167"/>
                </a:lnTo>
                <a:lnTo>
                  <a:pt x="146" y="167"/>
                </a:lnTo>
                <a:lnTo>
                  <a:pt x="146" y="261"/>
                </a:lnTo>
                <a:lnTo>
                  <a:pt x="146" y="261"/>
                </a:lnTo>
                <a:close/>
                <a:moveTo>
                  <a:pt x="224" y="261"/>
                </a:moveTo>
                <a:lnTo>
                  <a:pt x="165" y="261"/>
                </a:lnTo>
                <a:lnTo>
                  <a:pt x="165" y="167"/>
                </a:lnTo>
                <a:lnTo>
                  <a:pt x="222" y="167"/>
                </a:lnTo>
                <a:lnTo>
                  <a:pt x="222" y="185"/>
                </a:lnTo>
                <a:lnTo>
                  <a:pt x="186" y="185"/>
                </a:lnTo>
                <a:lnTo>
                  <a:pt x="186" y="204"/>
                </a:lnTo>
                <a:lnTo>
                  <a:pt x="220" y="204"/>
                </a:lnTo>
                <a:lnTo>
                  <a:pt x="220" y="221"/>
                </a:lnTo>
                <a:lnTo>
                  <a:pt x="186" y="221"/>
                </a:lnTo>
                <a:lnTo>
                  <a:pt x="186" y="243"/>
                </a:lnTo>
                <a:lnTo>
                  <a:pt x="224" y="243"/>
                </a:lnTo>
                <a:lnTo>
                  <a:pt x="224" y="261"/>
                </a:lnTo>
                <a:lnTo>
                  <a:pt x="224" y="261"/>
                </a:lnTo>
                <a:close/>
                <a:moveTo>
                  <a:pt x="327" y="261"/>
                </a:moveTo>
                <a:lnTo>
                  <a:pt x="305" y="261"/>
                </a:lnTo>
                <a:lnTo>
                  <a:pt x="297" y="220"/>
                </a:lnTo>
                <a:cubicBezTo>
                  <a:pt x="295" y="211"/>
                  <a:pt x="293" y="202"/>
                  <a:pt x="292" y="192"/>
                </a:cubicBezTo>
                <a:lnTo>
                  <a:pt x="292" y="192"/>
                </a:lnTo>
                <a:cubicBezTo>
                  <a:pt x="290" y="202"/>
                  <a:pt x="289" y="211"/>
                  <a:pt x="287" y="220"/>
                </a:cubicBezTo>
                <a:lnTo>
                  <a:pt x="278" y="261"/>
                </a:lnTo>
                <a:lnTo>
                  <a:pt x="255" y="261"/>
                </a:lnTo>
                <a:lnTo>
                  <a:pt x="232" y="167"/>
                </a:lnTo>
                <a:lnTo>
                  <a:pt x="255" y="167"/>
                </a:lnTo>
                <a:lnTo>
                  <a:pt x="262" y="206"/>
                </a:lnTo>
                <a:cubicBezTo>
                  <a:pt x="264" y="217"/>
                  <a:pt x="266" y="229"/>
                  <a:pt x="268" y="238"/>
                </a:cubicBezTo>
                <a:lnTo>
                  <a:pt x="268" y="238"/>
                </a:lnTo>
                <a:cubicBezTo>
                  <a:pt x="269" y="228"/>
                  <a:pt x="272" y="217"/>
                  <a:pt x="274" y="206"/>
                </a:cubicBezTo>
                <a:lnTo>
                  <a:pt x="282" y="167"/>
                </a:lnTo>
                <a:lnTo>
                  <a:pt x="304" y="167"/>
                </a:lnTo>
                <a:lnTo>
                  <a:pt x="312" y="207"/>
                </a:lnTo>
                <a:cubicBezTo>
                  <a:pt x="314" y="218"/>
                  <a:pt x="315" y="228"/>
                  <a:pt x="317" y="238"/>
                </a:cubicBezTo>
                <a:lnTo>
                  <a:pt x="317" y="238"/>
                </a:lnTo>
                <a:cubicBezTo>
                  <a:pt x="318" y="228"/>
                  <a:pt x="320" y="217"/>
                  <a:pt x="322" y="206"/>
                </a:cubicBezTo>
                <a:lnTo>
                  <a:pt x="330" y="167"/>
                </a:lnTo>
                <a:lnTo>
                  <a:pt x="351" y="167"/>
                </a:lnTo>
                <a:lnTo>
                  <a:pt x="327" y="261"/>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600" dirty="0"/>
          </a:p>
        </p:txBody>
      </p:sp>
      <p:sp>
        <p:nvSpPr>
          <p:cNvPr id="70" name="price-ticket_70951">
            <a:extLst>
              <a:ext uri="{FF2B5EF4-FFF2-40B4-BE49-F238E27FC236}">
                <a16:creationId xmlns:a16="http://schemas.microsoft.com/office/drawing/2014/main" id="{53170B78-453C-45BE-93B6-41A998CA188C}"/>
              </a:ext>
            </a:extLst>
          </p:cNvPr>
          <p:cNvSpPr/>
          <p:nvPr/>
        </p:nvSpPr>
        <p:spPr>
          <a:xfrm>
            <a:off x="1182041" y="5016702"/>
            <a:ext cx="341960" cy="310480"/>
          </a:xfrm>
          <a:custGeom>
            <a:avLst/>
            <a:gdLst>
              <a:gd name="T0" fmla="*/ 246 w 266"/>
              <a:gd name="T1" fmla="*/ 108 h 242"/>
              <a:gd name="T2" fmla="*/ 266 w 266"/>
              <a:gd name="T3" fmla="*/ 109 h 242"/>
              <a:gd name="T4" fmla="*/ 242 w 266"/>
              <a:gd name="T5" fmla="*/ 26 h 242"/>
              <a:gd name="T6" fmla="*/ 242 w 266"/>
              <a:gd name="T7" fmla="*/ 26 h 242"/>
              <a:gd name="T8" fmla="*/ 249 w 266"/>
              <a:gd name="T9" fmla="*/ 17 h 242"/>
              <a:gd name="T10" fmla="*/ 249 w 266"/>
              <a:gd name="T11" fmla="*/ 11 h 242"/>
              <a:gd name="T12" fmla="*/ 236 w 266"/>
              <a:gd name="T13" fmla="*/ 0 h 242"/>
              <a:gd name="T14" fmla="*/ 30 w 266"/>
              <a:gd name="T15" fmla="*/ 0 h 242"/>
              <a:gd name="T16" fmla="*/ 17 w 266"/>
              <a:gd name="T17" fmla="*/ 11 h 242"/>
              <a:gd name="T18" fmla="*/ 17 w 266"/>
              <a:gd name="T19" fmla="*/ 17 h 242"/>
              <a:gd name="T20" fmla="*/ 24 w 266"/>
              <a:gd name="T21" fmla="*/ 26 h 242"/>
              <a:gd name="T22" fmla="*/ 23 w 266"/>
              <a:gd name="T23" fmla="*/ 26 h 242"/>
              <a:gd name="T24" fmla="*/ 0 w 266"/>
              <a:gd name="T25" fmla="*/ 110 h 242"/>
              <a:gd name="T26" fmla="*/ 20 w 266"/>
              <a:gd name="T27" fmla="*/ 109 h 242"/>
              <a:gd name="T28" fmla="*/ 20 w 266"/>
              <a:gd name="T29" fmla="*/ 223 h 242"/>
              <a:gd name="T30" fmla="*/ 10 w 266"/>
              <a:gd name="T31" fmla="*/ 223 h 242"/>
              <a:gd name="T32" fmla="*/ 10 w 266"/>
              <a:gd name="T33" fmla="*/ 242 h 242"/>
              <a:gd name="T34" fmla="*/ 255 w 266"/>
              <a:gd name="T35" fmla="*/ 242 h 242"/>
              <a:gd name="T36" fmla="*/ 255 w 266"/>
              <a:gd name="T37" fmla="*/ 223 h 242"/>
              <a:gd name="T38" fmla="*/ 246 w 266"/>
              <a:gd name="T39" fmla="*/ 223 h 242"/>
              <a:gd name="T40" fmla="*/ 246 w 266"/>
              <a:gd name="T41" fmla="*/ 108 h 242"/>
              <a:gd name="T42" fmla="*/ 246 w 266"/>
              <a:gd name="T43" fmla="*/ 108 h 242"/>
              <a:gd name="T44" fmla="*/ 176 w 266"/>
              <a:gd name="T45" fmla="*/ 37 h 242"/>
              <a:gd name="T46" fmla="*/ 181 w 266"/>
              <a:gd name="T47" fmla="*/ 100 h 242"/>
              <a:gd name="T48" fmla="*/ 149 w 266"/>
              <a:gd name="T49" fmla="*/ 99 h 242"/>
              <a:gd name="T50" fmla="*/ 147 w 266"/>
              <a:gd name="T51" fmla="*/ 37 h 242"/>
              <a:gd name="T52" fmla="*/ 154 w 266"/>
              <a:gd name="T53" fmla="*/ 28 h 242"/>
              <a:gd name="T54" fmla="*/ 169 w 266"/>
              <a:gd name="T55" fmla="*/ 28 h 242"/>
              <a:gd name="T56" fmla="*/ 176 w 266"/>
              <a:gd name="T57" fmla="*/ 37 h 242"/>
              <a:gd name="T58" fmla="*/ 122 w 266"/>
              <a:gd name="T59" fmla="*/ 37 h 242"/>
              <a:gd name="T60" fmla="*/ 121 w 266"/>
              <a:gd name="T61" fmla="*/ 99 h 242"/>
              <a:gd name="T62" fmla="*/ 89 w 266"/>
              <a:gd name="T63" fmla="*/ 100 h 242"/>
              <a:gd name="T64" fmla="*/ 93 w 266"/>
              <a:gd name="T65" fmla="*/ 37 h 242"/>
              <a:gd name="T66" fmla="*/ 100 w 266"/>
              <a:gd name="T67" fmla="*/ 28 h 242"/>
              <a:gd name="T68" fmla="*/ 115 w 266"/>
              <a:gd name="T69" fmla="*/ 28 h 242"/>
              <a:gd name="T70" fmla="*/ 122 w 266"/>
              <a:gd name="T71" fmla="*/ 37 h 242"/>
              <a:gd name="T72" fmla="*/ 40 w 266"/>
              <a:gd name="T73" fmla="*/ 37 h 242"/>
              <a:gd name="T74" fmla="*/ 47 w 266"/>
              <a:gd name="T75" fmla="*/ 28 h 242"/>
              <a:gd name="T76" fmla="*/ 61 w 266"/>
              <a:gd name="T77" fmla="*/ 28 h 242"/>
              <a:gd name="T78" fmla="*/ 68 w 266"/>
              <a:gd name="T79" fmla="*/ 37 h 242"/>
              <a:gd name="T80" fmla="*/ 61 w 266"/>
              <a:gd name="T81" fmla="*/ 101 h 242"/>
              <a:gd name="T82" fmla="*/ 29 w 266"/>
              <a:gd name="T83" fmla="*/ 103 h 242"/>
              <a:gd name="T84" fmla="*/ 40 w 266"/>
              <a:gd name="T85" fmla="*/ 37 h 242"/>
              <a:gd name="T86" fmla="*/ 152 w 266"/>
              <a:gd name="T87" fmla="*/ 175 h 242"/>
              <a:gd name="T88" fmla="*/ 42 w 266"/>
              <a:gd name="T89" fmla="*/ 175 h 242"/>
              <a:gd name="T90" fmla="*/ 42 w 266"/>
              <a:gd name="T91" fmla="*/ 123 h 242"/>
              <a:gd name="T92" fmla="*/ 152 w 266"/>
              <a:gd name="T93" fmla="*/ 123 h 242"/>
              <a:gd name="T94" fmla="*/ 152 w 266"/>
              <a:gd name="T95" fmla="*/ 175 h 242"/>
              <a:gd name="T96" fmla="*/ 223 w 266"/>
              <a:gd name="T97" fmla="*/ 212 h 242"/>
              <a:gd name="T98" fmla="*/ 180 w 266"/>
              <a:gd name="T99" fmla="*/ 212 h 242"/>
              <a:gd name="T100" fmla="*/ 180 w 266"/>
              <a:gd name="T101" fmla="*/ 123 h 242"/>
              <a:gd name="T102" fmla="*/ 223 w 266"/>
              <a:gd name="T103" fmla="*/ 123 h 242"/>
              <a:gd name="T104" fmla="*/ 223 w 266"/>
              <a:gd name="T105" fmla="*/ 212 h 242"/>
              <a:gd name="T106" fmla="*/ 208 w 266"/>
              <a:gd name="T107" fmla="*/ 101 h 242"/>
              <a:gd name="T108" fmla="*/ 201 w 266"/>
              <a:gd name="T109" fmla="*/ 37 h 242"/>
              <a:gd name="T110" fmla="*/ 208 w 266"/>
              <a:gd name="T111" fmla="*/ 28 h 242"/>
              <a:gd name="T112" fmla="*/ 223 w 266"/>
              <a:gd name="T113" fmla="*/ 28 h 242"/>
              <a:gd name="T114" fmla="*/ 230 w 266"/>
              <a:gd name="T115" fmla="*/ 37 h 242"/>
              <a:gd name="T116" fmla="*/ 240 w 266"/>
              <a:gd name="T117" fmla="*/ 102 h 242"/>
              <a:gd name="T118" fmla="*/ 208 w 266"/>
              <a:gd name="T119" fmla="*/ 101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66" h="242">
                <a:moveTo>
                  <a:pt x="246" y="108"/>
                </a:moveTo>
                <a:cubicBezTo>
                  <a:pt x="249" y="108"/>
                  <a:pt x="263" y="108"/>
                  <a:pt x="266" y="109"/>
                </a:cubicBezTo>
                <a:lnTo>
                  <a:pt x="242" y="26"/>
                </a:lnTo>
                <a:lnTo>
                  <a:pt x="242" y="26"/>
                </a:lnTo>
                <a:cubicBezTo>
                  <a:pt x="246" y="25"/>
                  <a:pt x="249" y="21"/>
                  <a:pt x="249" y="17"/>
                </a:cubicBezTo>
                <a:lnTo>
                  <a:pt x="249" y="11"/>
                </a:lnTo>
                <a:cubicBezTo>
                  <a:pt x="249" y="5"/>
                  <a:pt x="243" y="0"/>
                  <a:pt x="236" y="0"/>
                </a:cubicBezTo>
                <a:lnTo>
                  <a:pt x="30" y="0"/>
                </a:lnTo>
                <a:cubicBezTo>
                  <a:pt x="23" y="0"/>
                  <a:pt x="17" y="5"/>
                  <a:pt x="17" y="11"/>
                </a:cubicBezTo>
                <a:lnTo>
                  <a:pt x="17" y="17"/>
                </a:lnTo>
                <a:cubicBezTo>
                  <a:pt x="17" y="21"/>
                  <a:pt x="20" y="25"/>
                  <a:pt x="24" y="26"/>
                </a:cubicBezTo>
                <a:lnTo>
                  <a:pt x="23" y="26"/>
                </a:lnTo>
                <a:lnTo>
                  <a:pt x="0" y="110"/>
                </a:lnTo>
                <a:cubicBezTo>
                  <a:pt x="0" y="110"/>
                  <a:pt x="14" y="110"/>
                  <a:pt x="20" y="109"/>
                </a:cubicBezTo>
                <a:lnTo>
                  <a:pt x="20" y="223"/>
                </a:lnTo>
                <a:lnTo>
                  <a:pt x="10" y="223"/>
                </a:lnTo>
                <a:lnTo>
                  <a:pt x="10" y="242"/>
                </a:lnTo>
                <a:lnTo>
                  <a:pt x="255" y="242"/>
                </a:lnTo>
                <a:lnTo>
                  <a:pt x="255" y="223"/>
                </a:lnTo>
                <a:lnTo>
                  <a:pt x="246" y="223"/>
                </a:lnTo>
                <a:lnTo>
                  <a:pt x="246" y="108"/>
                </a:lnTo>
                <a:lnTo>
                  <a:pt x="246" y="108"/>
                </a:lnTo>
                <a:close/>
                <a:moveTo>
                  <a:pt x="176" y="37"/>
                </a:moveTo>
                <a:lnTo>
                  <a:pt x="181" y="100"/>
                </a:lnTo>
                <a:cubicBezTo>
                  <a:pt x="169" y="100"/>
                  <a:pt x="159" y="99"/>
                  <a:pt x="149" y="99"/>
                </a:cubicBezTo>
                <a:lnTo>
                  <a:pt x="147" y="37"/>
                </a:lnTo>
                <a:cubicBezTo>
                  <a:pt x="147" y="33"/>
                  <a:pt x="150" y="29"/>
                  <a:pt x="154" y="28"/>
                </a:cubicBezTo>
                <a:lnTo>
                  <a:pt x="169" y="28"/>
                </a:lnTo>
                <a:cubicBezTo>
                  <a:pt x="173" y="29"/>
                  <a:pt x="176" y="33"/>
                  <a:pt x="176" y="37"/>
                </a:cubicBezTo>
                <a:close/>
                <a:moveTo>
                  <a:pt x="122" y="37"/>
                </a:moveTo>
                <a:lnTo>
                  <a:pt x="121" y="99"/>
                </a:lnTo>
                <a:cubicBezTo>
                  <a:pt x="109" y="99"/>
                  <a:pt x="99" y="99"/>
                  <a:pt x="89" y="100"/>
                </a:cubicBezTo>
                <a:lnTo>
                  <a:pt x="93" y="37"/>
                </a:lnTo>
                <a:cubicBezTo>
                  <a:pt x="93" y="33"/>
                  <a:pt x="96" y="29"/>
                  <a:pt x="100" y="28"/>
                </a:cubicBezTo>
                <a:lnTo>
                  <a:pt x="115" y="28"/>
                </a:lnTo>
                <a:cubicBezTo>
                  <a:pt x="119" y="29"/>
                  <a:pt x="122" y="33"/>
                  <a:pt x="122" y="37"/>
                </a:cubicBezTo>
                <a:close/>
                <a:moveTo>
                  <a:pt x="40" y="37"/>
                </a:moveTo>
                <a:cubicBezTo>
                  <a:pt x="40" y="33"/>
                  <a:pt x="43" y="29"/>
                  <a:pt x="47" y="28"/>
                </a:cubicBezTo>
                <a:lnTo>
                  <a:pt x="61" y="28"/>
                </a:lnTo>
                <a:cubicBezTo>
                  <a:pt x="66" y="29"/>
                  <a:pt x="68" y="33"/>
                  <a:pt x="68" y="37"/>
                </a:cubicBezTo>
                <a:lnTo>
                  <a:pt x="61" y="101"/>
                </a:lnTo>
                <a:cubicBezTo>
                  <a:pt x="48" y="101"/>
                  <a:pt x="37" y="102"/>
                  <a:pt x="29" y="103"/>
                </a:cubicBezTo>
                <a:lnTo>
                  <a:pt x="40" y="37"/>
                </a:lnTo>
                <a:close/>
                <a:moveTo>
                  <a:pt x="152" y="175"/>
                </a:moveTo>
                <a:lnTo>
                  <a:pt x="42" y="175"/>
                </a:lnTo>
                <a:lnTo>
                  <a:pt x="42" y="123"/>
                </a:lnTo>
                <a:lnTo>
                  <a:pt x="152" y="123"/>
                </a:lnTo>
                <a:lnTo>
                  <a:pt x="152" y="175"/>
                </a:lnTo>
                <a:close/>
                <a:moveTo>
                  <a:pt x="223" y="212"/>
                </a:moveTo>
                <a:lnTo>
                  <a:pt x="180" y="212"/>
                </a:lnTo>
                <a:lnTo>
                  <a:pt x="180" y="123"/>
                </a:lnTo>
                <a:lnTo>
                  <a:pt x="223" y="123"/>
                </a:lnTo>
                <a:lnTo>
                  <a:pt x="223" y="212"/>
                </a:lnTo>
                <a:close/>
                <a:moveTo>
                  <a:pt x="208" y="101"/>
                </a:moveTo>
                <a:lnTo>
                  <a:pt x="201" y="37"/>
                </a:lnTo>
                <a:cubicBezTo>
                  <a:pt x="201" y="33"/>
                  <a:pt x="204" y="29"/>
                  <a:pt x="208" y="28"/>
                </a:cubicBezTo>
                <a:lnTo>
                  <a:pt x="223" y="28"/>
                </a:lnTo>
                <a:cubicBezTo>
                  <a:pt x="227" y="29"/>
                  <a:pt x="230" y="33"/>
                  <a:pt x="230" y="37"/>
                </a:cubicBezTo>
                <a:lnTo>
                  <a:pt x="240" y="102"/>
                </a:lnTo>
                <a:cubicBezTo>
                  <a:pt x="229" y="102"/>
                  <a:pt x="218" y="101"/>
                  <a:pt x="208" y="101"/>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600" dirty="0"/>
          </a:p>
        </p:txBody>
      </p:sp>
      <p:sp>
        <p:nvSpPr>
          <p:cNvPr id="72" name="price-ticket_70951">
            <a:extLst>
              <a:ext uri="{FF2B5EF4-FFF2-40B4-BE49-F238E27FC236}">
                <a16:creationId xmlns:a16="http://schemas.microsoft.com/office/drawing/2014/main" id="{4342975E-F326-49F3-80BC-7556CD3EE66A}"/>
              </a:ext>
            </a:extLst>
          </p:cNvPr>
          <p:cNvSpPr/>
          <p:nvPr/>
        </p:nvSpPr>
        <p:spPr>
          <a:xfrm>
            <a:off x="6805542" y="5012261"/>
            <a:ext cx="341960" cy="319363"/>
          </a:xfrm>
          <a:custGeom>
            <a:avLst/>
            <a:gdLst>
              <a:gd name="connsiteX0" fmla="*/ 420884 w 608697"/>
              <a:gd name="connsiteY0" fmla="*/ 485137 h 568475"/>
              <a:gd name="connsiteX1" fmla="*/ 589080 w 608697"/>
              <a:gd name="connsiteY1" fmla="*/ 485137 h 568475"/>
              <a:gd name="connsiteX2" fmla="*/ 608697 w 608697"/>
              <a:gd name="connsiteY2" fmla="*/ 504650 h 568475"/>
              <a:gd name="connsiteX3" fmla="*/ 608697 w 608697"/>
              <a:gd name="connsiteY3" fmla="*/ 511203 h 568475"/>
              <a:gd name="connsiteX4" fmla="*/ 589080 w 608697"/>
              <a:gd name="connsiteY4" fmla="*/ 530716 h 568475"/>
              <a:gd name="connsiteX5" fmla="*/ 418721 w 608697"/>
              <a:gd name="connsiteY5" fmla="*/ 530716 h 568475"/>
              <a:gd name="connsiteX6" fmla="*/ 330483 w 608697"/>
              <a:gd name="connsiteY6" fmla="*/ 564900 h 568475"/>
              <a:gd name="connsiteX7" fmla="*/ 320861 w 608697"/>
              <a:gd name="connsiteY7" fmla="*/ 568475 h 568475"/>
              <a:gd name="connsiteX8" fmla="*/ 320861 w 608697"/>
              <a:gd name="connsiteY8" fmla="*/ 526992 h 568475"/>
              <a:gd name="connsiteX9" fmla="*/ 328096 w 608697"/>
              <a:gd name="connsiteY9" fmla="*/ 513438 h 568475"/>
              <a:gd name="connsiteX10" fmla="*/ 420884 w 608697"/>
              <a:gd name="connsiteY10" fmla="*/ 485137 h 568475"/>
              <a:gd name="connsiteX11" fmla="*/ 19622 w 608697"/>
              <a:gd name="connsiteY11" fmla="*/ 485137 h 568475"/>
              <a:gd name="connsiteX12" fmla="*/ 187860 w 608697"/>
              <a:gd name="connsiteY12" fmla="*/ 485137 h 568475"/>
              <a:gd name="connsiteX13" fmla="*/ 280670 w 608697"/>
              <a:gd name="connsiteY13" fmla="*/ 513438 h 568475"/>
              <a:gd name="connsiteX14" fmla="*/ 287907 w 608697"/>
              <a:gd name="connsiteY14" fmla="*/ 526992 h 568475"/>
              <a:gd name="connsiteX15" fmla="*/ 287907 w 608697"/>
              <a:gd name="connsiteY15" fmla="*/ 568475 h 568475"/>
              <a:gd name="connsiteX16" fmla="*/ 278134 w 608697"/>
              <a:gd name="connsiteY16" fmla="*/ 564826 h 568475"/>
              <a:gd name="connsiteX17" fmla="*/ 187860 w 608697"/>
              <a:gd name="connsiteY17" fmla="*/ 530716 h 568475"/>
              <a:gd name="connsiteX18" fmla="*/ 19622 w 608697"/>
              <a:gd name="connsiteY18" fmla="*/ 530716 h 568475"/>
              <a:gd name="connsiteX19" fmla="*/ 0 w 608697"/>
              <a:gd name="connsiteY19" fmla="*/ 511203 h 568475"/>
              <a:gd name="connsiteX20" fmla="*/ 0 w 608697"/>
              <a:gd name="connsiteY20" fmla="*/ 504650 h 568475"/>
              <a:gd name="connsiteX21" fmla="*/ 19622 w 608697"/>
              <a:gd name="connsiteY21" fmla="*/ 485137 h 568475"/>
              <a:gd name="connsiteX22" fmla="*/ 420884 w 608697"/>
              <a:gd name="connsiteY22" fmla="*/ 29920 h 568475"/>
              <a:gd name="connsiteX23" fmla="*/ 438710 w 608697"/>
              <a:gd name="connsiteY23" fmla="*/ 29920 h 568475"/>
              <a:gd name="connsiteX24" fmla="*/ 438710 w 608697"/>
              <a:gd name="connsiteY24" fmla="*/ 162804 h 568475"/>
              <a:gd name="connsiteX25" fmla="*/ 450421 w 608697"/>
              <a:gd name="connsiteY25" fmla="*/ 193343 h 568475"/>
              <a:gd name="connsiteX26" fmla="*/ 473469 w 608697"/>
              <a:gd name="connsiteY26" fmla="*/ 218817 h 568475"/>
              <a:gd name="connsiteX27" fmla="*/ 500097 w 608697"/>
              <a:gd name="connsiteY27" fmla="*/ 230661 h 568475"/>
              <a:gd name="connsiteX28" fmla="*/ 526799 w 608697"/>
              <a:gd name="connsiteY28" fmla="*/ 218817 h 568475"/>
              <a:gd name="connsiteX29" fmla="*/ 549772 w 608697"/>
              <a:gd name="connsiteY29" fmla="*/ 193343 h 568475"/>
              <a:gd name="connsiteX30" fmla="*/ 561557 w 608697"/>
              <a:gd name="connsiteY30" fmla="*/ 162804 h 568475"/>
              <a:gd name="connsiteX31" fmla="*/ 561557 w 608697"/>
              <a:gd name="connsiteY31" fmla="*/ 29920 h 568475"/>
              <a:gd name="connsiteX32" fmla="*/ 589080 w 608697"/>
              <a:gd name="connsiteY32" fmla="*/ 29920 h 568475"/>
              <a:gd name="connsiteX33" fmla="*/ 608697 w 608697"/>
              <a:gd name="connsiteY33" fmla="*/ 49435 h 568475"/>
              <a:gd name="connsiteX34" fmla="*/ 608697 w 608697"/>
              <a:gd name="connsiteY34" fmla="*/ 440489 h 568475"/>
              <a:gd name="connsiteX35" fmla="*/ 589080 w 608697"/>
              <a:gd name="connsiteY35" fmla="*/ 460004 h 568475"/>
              <a:gd name="connsiteX36" fmla="*/ 420884 w 608697"/>
              <a:gd name="connsiteY36" fmla="*/ 460004 h 568475"/>
              <a:gd name="connsiteX37" fmla="*/ 320861 w 608697"/>
              <a:gd name="connsiteY37" fmla="*/ 497769 h 568475"/>
              <a:gd name="connsiteX38" fmla="*/ 320861 w 608697"/>
              <a:gd name="connsiteY38" fmla="*/ 67610 h 568475"/>
              <a:gd name="connsiteX39" fmla="*/ 420884 w 608697"/>
              <a:gd name="connsiteY39" fmla="*/ 29920 h 568475"/>
              <a:gd name="connsiteX40" fmla="*/ 19622 w 608697"/>
              <a:gd name="connsiteY40" fmla="*/ 29920 h 568475"/>
              <a:gd name="connsiteX41" fmla="*/ 187860 w 608697"/>
              <a:gd name="connsiteY41" fmla="*/ 29920 h 568475"/>
              <a:gd name="connsiteX42" fmla="*/ 287907 w 608697"/>
              <a:gd name="connsiteY42" fmla="*/ 67610 h 568475"/>
              <a:gd name="connsiteX43" fmla="*/ 287907 w 608697"/>
              <a:gd name="connsiteY43" fmla="*/ 497769 h 568475"/>
              <a:gd name="connsiteX44" fmla="*/ 187860 w 608697"/>
              <a:gd name="connsiteY44" fmla="*/ 460004 h 568475"/>
              <a:gd name="connsiteX45" fmla="*/ 19622 w 608697"/>
              <a:gd name="connsiteY45" fmla="*/ 460004 h 568475"/>
              <a:gd name="connsiteX46" fmla="*/ 0 w 608697"/>
              <a:gd name="connsiteY46" fmla="*/ 440489 h 568475"/>
              <a:gd name="connsiteX47" fmla="*/ 0 w 608697"/>
              <a:gd name="connsiteY47" fmla="*/ 49435 h 568475"/>
              <a:gd name="connsiteX48" fmla="*/ 19622 w 608697"/>
              <a:gd name="connsiteY48" fmla="*/ 29920 h 568475"/>
              <a:gd name="connsiteX49" fmla="*/ 484356 w 608697"/>
              <a:gd name="connsiteY49" fmla="*/ 0 h 568475"/>
              <a:gd name="connsiteX50" fmla="*/ 515833 w 608697"/>
              <a:gd name="connsiteY50" fmla="*/ 0 h 568475"/>
              <a:gd name="connsiteX51" fmla="*/ 535450 w 608697"/>
              <a:gd name="connsiteY51" fmla="*/ 19586 h 568475"/>
              <a:gd name="connsiteX52" fmla="*/ 535450 w 608697"/>
              <a:gd name="connsiteY52" fmla="*/ 29937 h 568475"/>
              <a:gd name="connsiteX53" fmla="*/ 535450 w 608697"/>
              <a:gd name="connsiteY53" fmla="*/ 162791 h 568475"/>
              <a:gd name="connsiteX54" fmla="*/ 530378 w 608697"/>
              <a:gd name="connsiteY54" fmla="*/ 175898 h 568475"/>
              <a:gd name="connsiteX55" fmla="*/ 507404 w 608697"/>
              <a:gd name="connsiteY55" fmla="*/ 201367 h 568475"/>
              <a:gd name="connsiteX56" fmla="*/ 500095 w 608697"/>
              <a:gd name="connsiteY56" fmla="*/ 204569 h 568475"/>
              <a:gd name="connsiteX57" fmla="*/ 492860 w 608697"/>
              <a:gd name="connsiteY57" fmla="*/ 201367 h 568475"/>
              <a:gd name="connsiteX58" fmla="*/ 469811 w 608697"/>
              <a:gd name="connsiteY58" fmla="*/ 175898 h 568475"/>
              <a:gd name="connsiteX59" fmla="*/ 464814 w 608697"/>
              <a:gd name="connsiteY59" fmla="*/ 162791 h 568475"/>
              <a:gd name="connsiteX60" fmla="*/ 464814 w 608697"/>
              <a:gd name="connsiteY60" fmla="*/ 29937 h 568475"/>
              <a:gd name="connsiteX61" fmla="*/ 464814 w 608697"/>
              <a:gd name="connsiteY61" fmla="*/ 19586 h 568475"/>
              <a:gd name="connsiteX62" fmla="*/ 484356 w 608697"/>
              <a:gd name="connsiteY62" fmla="*/ 0 h 568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608697" h="568475">
                <a:moveTo>
                  <a:pt x="420884" y="485137"/>
                </a:moveTo>
                <a:lnTo>
                  <a:pt x="589080" y="485137"/>
                </a:lnTo>
                <a:cubicBezTo>
                  <a:pt x="599896" y="485137"/>
                  <a:pt x="608697" y="493851"/>
                  <a:pt x="608697" y="504650"/>
                </a:cubicBezTo>
                <a:lnTo>
                  <a:pt x="608697" y="511203"/>
                </a:lnTo>
                <a:cubicBezTo>
                  <a:pt x="608697" y="522002"/>
                  <a:pt x="599896" y="530716"/>
                  <a:pt x="589080" y="530716"/>
                </a:cubicBezTo>
                <a:lnTo>
                  <a:pt x="418721" y="530716"/>
                </a:lnTo>
                <a:cubicBezTo>
                  <a:pt x="386051" y="530716"/>
                  <a:pt x="355172" y="543526"/>
                  <a:pt x="330483" y="564900"/>
                </a:cubicBezTo>
                <a:cubicBezTo>
                  <a:pt x="327723" y="567283"/>
                  <a:pt x="324292" y="568475"/>
                  <a:pt x="320861" y="568475"/>
                </a:cubicBezTo>
                <a:lnTo>
                  <a:pt x="320861" y="526992"/>
                </a:lnTo>
                <a:cubicBezTo>
                  <a:pt x="320861" y="521556"/>
                  <a:pt x="323621" y="516491"/>
                  <a:pt x="328096" y="513438"/>
                </a:cubicBezTo>
                <a:cubicBezTo>
                  <a:pt x="355395" y="495042"/>
                  <a:pt x="387617" y="485137"/>
                  <a:pt x="420884" y="485137"/>
                </a:cubicBezTo>
                <a:close/>
                <a:moveTo>
                  <a:pt x="19622" y="485137"/>
                </a:moveTo>
                <a:lnTo>
                  <a:pt x="187860" y="485137"/>
                </a:lnTo>
                <a:cubicBezTo>
                  <a:pt x="221134" y="485137"/>
                  <a:pt x="253364" y="495042"/>
                  <a:pt x="280670" y="513438"/>
                </a:cubicBezTo>
                <a:cubicBezTo>
                  <a:pt x="285147" y="516491"/>
                  <a:pt x="287907" y="521556"/>
                  <a:pt x="287907" y="526992"/>
                </a:cubicBezTo>
                <a:lnTo>
                  <a:pt x="287907" y="568475"/>
                </a:lnTo>
                <a:cubicBezTo>
                  <a:pt x="284400" y="568475"/>
                  <a:pt x="280969" y="567283"/>
                  <a:pt x="278134" y="564826"/>
                </a:cubicBezTo>
                <a:cubicBezTo>
                  <a:pt x="253215" y="542856"/>
                  <a:pt x="221134" y="530716"/>
                  <a:pt x="187860" y="530716"/>
                </a:cubicBezTo>
                <a:lnTo>
                  <a:pt x="19622" y="530716"/>
                </a:lnTo>
                <a:cubicBezTo>
                  <a:pt x="8804" y="530716"/>
                  <a:pt x="0" y="522002"/>
                  <a:pt x="0" y="511203"/>
                </a:cubicBezTo>
                <a:lnTo>
                  <a:pt x="0" y="504650"/>
                </a:lnTo>
                <a:cubicBezTo>
                  <a:pt x="0" y="493851"/>
                  <a:pt x="8804" y="485137"/>
                  <a:pt x="19622" y="485137"/>
                </a:cubicBezTo>
                <a:close/>
                <a:moveTo>
                  <a:pt x="420884" y="29920"/>
                </a:moveTo>
                <a:lnTo>
                  <a:pt x="438710" y="29920"/>
                </a:lnTo>
                <a:lnTo>
                  <a:pt x="438710" y="162804"/>
                </a:lnTo>
                <a:cubicBezTo>
                  <a:pt x="438710" y="174126"/>
                  <a:pt x="442887" y="184926"/>
                  <a:pt x="450421" y="193343"/>
                </a:cubicBezTo>
                <a:lnTo>
                  <a:pt x="473469" y="218817"/>
                </a:lnTo>
                <a:cubicBezTo>
                  <a:pt x="480256" y="226341"/>
                  <a:pt x="489953" y="230661"/>
                  <a:pt x="500097" y="230661"/>
                </a:cubicBezTo>
                <a:cubicBezTo>
                  <a:pt x="510241" y="230661"/>
                  <a:pt x="520012" y="226341"/>
                  <a:pt x="526799" y="218817"/>
                </a:cubicBezTo>
                <a:lnTo>
                  <a:pt x="549772" y="193343"/>
                </a:lnTo>
                <a:cubicBezTo>
                  <a:pt x="557380" y="184926"/>
                  <a:pt x="561557" y="174126"/>
                  <a:pt x="561557" y="162804"/>
                </a:cubicBezTo>
                <a:lnTo>
                  <a:pt x="561557" y="29920"/>
                </a:lnTo>
                <a:lnTo>
                  <a:pt x="589080" y="29920"/>
                </a:lnTo>
                <a:cubicBezTo>
                  <a:pt x="599896" y="29920"/>
                  <a:pt x="608697" y="38635"/>
                  <a:pt x="608697" y="49435"/>
                </a:cubicBezTo>
                <a:lnTo>
                  <a:pt x="608697" y="440489"/>
                </a:lnTo>
                <a:cubicBezTo>
                  <a:pt x="608697" y="451289"/>
                  <a:pt x="599896" y="460004"/>
                  <a:pt x="589080" y="460004"/>
                </a:cubicBezTo>
                <a:lnTo>
                  <a:pt x="420884" y="460004"/>
                </a:lnTo>
                <a:cubicBezTo>
                  <a:pt x="384037" y="460004"/>
                  <a:pt x="348533" y="473412"/>
                  <a:pt x="320861" y="497769"/>
                </a:cubicBezTo>
                <a:lnTo>
                  <a:pt x="320861" y="67610"/>
                </a:lnTo>
                <a:cubicBezTo>
                  <a:pt x="348533" y="43327"/>
                  <a:pt x="384037" y="29920"/>
                  <a:pt x="420884" y="29920"/>
                </a:cubicBezTo>
                <a:close/>
                <a:moveTo>
                  <a:pt x="19622" y="29920"/>
                </a:moveTo>
                <a:lnTo>
                  <a:pt x="187860" y="29920"/>
                </a:lnTo>
                <a:cubicBezTo>
                  <a:pt x="224715" y="29920"/>
                  <a:pt x="260228" y="43327"/>
                  <a:pt x="287907" y="67610"/>
                </a:cubicBezTo>
                <a:lnTo>
                  <a:pt x="287907" y="497769"/>
                </a:lnTo>
                <a:cubicBezTo>
                  <a:pt x="260228" y="473412"/>
                  <a:pt x="224715" y="460004"/>
                  <a:pt x="187860" y="460004"/>
                </a:cubicBezTo>
                <a:lnTo>
                  <a:pt x="19622" y="460004"/>
                </a:lnTo>
                <a:cubicBezTo>
                  <a:pt x="8804" y="460004"/>
                  <a:pt x="0" y="451289"/>
                  <a:pt x="0" y="440489"/>
                </a:cubicBezTo>
                <a:lnTo>
                  <a:pt x="0" y="49435"/>
                </a:lnTo>
                <a:cubicBezTo>
                  <a:pt x="0" y="38635"/>
                  <a:pt x="8804" y="29920"/>
                  <a:pt x="19622" y="29920"/>
                </a:cubicBezTo>
                <a:close/>
                <a:moveTo>
                  <a:pt x="484356" y="0"/>
                </a:moveTo>
                <a:lnTo>
                  <a:pt x="515833" y="0"/>
                </a:lnTo>
                <a:cubicBezTo>
                  <a:pt x="526648" y="0"/>
                  <a:pt x="535450" y="8787"/>
                  <a:pt x="535450" y="19586"/>
                </a:cubicBezTo>
                <a:lnTo>
                  <a:pt x="535450" y="29937"/>
                </a:lnTo>
                <a:lnTo>
                  <a:pt x="535450" y="162791"/>
                </a:lnTo>
                <a:cubicBezTo>
                  <a:pt x="535450" y="167632"/>
                  <a:pt x="533660" y="172249"/>
                  <a:pt x="530378" y="175898"/>
                </a:cubicBezTo>
                <a:lnTo>
                  <a:pt x="507404" y="201367"/>
                </a:lnTo>
                <a:cubicBezTo>
                  <a:pt x="505465" y="203526"/>
                  <a:pt x="502780" y="204569"/>
                  <a:pt x="500095" y="204569"/>
                </a:cubicBezTo>
                <a:cubicBezTo>
                  <a:pt x="497409" y="204569"/>
                  <a:pt x="494799" y="203526"/>
                  <a:pt x="492860" y="201367"/>
                </a:cubicBezTo>
                <a:lnTo>
                  <a:pt x="469811" y="175898"/>
                </a:lnTo>
                <a:cubicBezTo>
                  <a:pt x="466604" y="172249"/>
                  <a:pt x="464814" y="167632"/>
                  <a:pt x="464814" y="162791"/>
                </a:cubicBezTo>
                <a:lnTo>
                  <a:pt x="464814" y="29937"/>
                </a:lnTo>
                <a:lnTo>
                  <a:pt x="464814" y="19586"/>
                </a:lnTo>
                <a:cubicBezTo>
                  <a:pt x="464814" y="8787"/>
                  <a:pt x="473541" y="0"/>
                  <a:pt x="484356"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600" dirty="0"/>
          </a:p>
        </p:txBody>
      </p:sp>
      <p:sp>
        <p:nvSpPr>
          <p:cNvPr id="74" name="price-ticket_70951">
            <a:extLst>
              <a:ext uri="{FF2B5EF4-FFF2-40B4-BE49-F238E27FC236}">
                <a16:creationId xmlns:a16="http://schemas.microsoft.com/office/drawing/2014/main" id="{C0E15134-4CCE-40BB-9F51-0EC045A8A94E}"/>
              </a:ext>
            </a:extLst>
          </p:cNvPr>
          <p:cNvSpPr/>
          <p:nvPr/>
        </p:nvSpPr>
        <p:spPr>
          <a:xfrm>
            <a:off x="6809094" y="3400096"/>
            <a:ext cx="334855" cy="341960"/>
          </a:xfrm>
          <a:custGeom>
            <a:avLst/>
            <a:gdLst>
              <a:gd name="connsiteX0" fmla="*/ 47370 w 595290"/>
              <a:gd name="connsiteY0" fmla="*/ 369974 h 607921"/>
              <a:gd name="connsiteX1" fmla="*/ 48020 w 595290"/>
              <a:gd name="connsiteY1" fmla="*/ 369974 h 607921"/>
              <a:gd name="connsiteX2" fmla="*/ 96040 w 595290"/>
              <a:gd name="connsiteY2" fmla="*/ 417923 h 607921"/>
              <a:gd name="connsiteX3" fmla="*/ 48020 w 595290"/>
              <a:gd name="connsiteY3" fmla="*/ 465872 h 607921"/>
              <a:gd name="connsiteX4" fmla="*/ 47370 w 595290"/>
              <a:gd name="connsiteY4" fmla="*/ 465872 h 607921"/>
              <a:gd name="connsiteX5" fmla="*/ 37366 w 595290"/>
              <a:gd name="connsiteY5" fmla="*/ 464673 h 607921"/>
              <a:gd name="connsiteX6" fmla="*/ 27361 w 595290"/>
              <a:gd name="connsiteY6" fmla="*/ 461177 h 607921"/>
              <a:gd name="connsiteX7" fmla="*/ 0 w 595290"/>
              <a:gd name="connsiteY7" fmla="*/ 417923 h 607921"/>
              <a:gd name="connsiteX8" fmla="*/ 27361 w 595290"/>
              <a:gd name="connsiteY8" fmla="*/ 374619 h 607921"/>
              <a:gd name="connsiteX9" fmla="*/ 37366 w 595290"/>
              <a:gd name="connsiteY9" fmla="*/ 371173 h 607921"/>
              <a:gd name="connsiteX10" fmla="*/ 47370 w 595290"/>
              <a:gd name="connsiteY10" fmla="*/ 369974 h 607921"/>
              <a:gd name="connsiteX11" fmla="*/ 547270 w 595290"/>
              <a:gd name="connsiteY11" fmla="*/ 369833 h 607921"/>
              <a:gd name="connsiteX12" fmla="*/ 557274 w 595290"/>
              <a:gd name="connsiteY12" fmla="*/ 370882 h 607921"/>
              <a:gd name="connsiteX13" fmla="*/ 567278 w 595290"/>
              <a:gd name="connsiteY13" fmla="*/ 374228 h 607921"/>
              <a:gd name="connsiteX14" fmla="*/ 595290 w 595290"/>
              <a:gd name="connsiteY14" fmla="*/ 417828 h 607921"/>
              <a:gd name="connsiteX15" fmla="*/ 567278 w 595290"/>
              <a:gd name="connsiteY15" fmla="*/ 461478 h 607921"/>
              <a:gd name="connsiteX16" fmla="*/ 557274 w 595290"/>
              <a:gd name="connsiteY16" fmla="*/ 464774 h 607921"/>
              <a:gd name="connsiteX17" fmla="*/ 547270 w 595290"/>
              <a:gd name="connsiteY17" fmla="*/ 465873 h 607921"/>
              <a:gd name="connsiteX18" fmla="*/ 499250 w 595290"/>
              <a:gd name="connsiteY18" fmla="*/ 417928 h 607921"/>
              <a:gd name="connsiteX19" fmla="*/ 547270 w 595290"/>
              <a:gd name="connsiteY19" fmla="*/ 369833 h 607921"/>
              <a:gd name="connsiteX20" fmla="*/ 172366 w 595290"/>
              <a:gd name="connsiteY20" fmla="*/ 284449 h 607921"/>
              <a:gd name="connsiteX21" fmla="*/ 297363 w 595290"/>
              <a:gd name="connsiteY21" fmla="*/ 306124 h 607921"/>
              <a:gd name="connsiteX22" fmla="*/ 422360 w 595290"/>
              <a:gd name="connsiteY22" fmla="*/ 284449 h 607921"/>
              <a:gd name="connsiteX23" fmla="*/ 535652 w 595290"/>
              <a:gd name="connsiteY23" fmla="*/ 302128 h 607921"/>
              <a:gd name="connsiteX24" fmla="*/ 547306 w 595290"/>
              <a:gd name="connsiteY24" fmla="*/ 318010 h 607921"/>
              <a:gd name="connsiteX25" fmla="*/ 547306 w 595290"/>
              <a:gd name="connsiteY25" fmla="*/ 345977 h 607921"/>
              <a:gd name="connsiteX26" fmla="*/ 496387 w 595290"/>
              <a:gd name="connsiteY26" fmla="*/ 367002 h 607921"/>
              <a:gd name="connsiteX27" fmla="*/ 475279 w 595290"/>
              <a:gd name="connsiteY27" fmla="*/ 417893 h 607921"/>
              <a:gd name="connsiteX28" fmla="*/ 496387 w 595290"/>
              <a:gd name="connsiteY28" fmla="*/ 468734 h 607921"/>
              <a:gd name="connsiteX29" fmla="*/ 547306 w 595290"/>
              <a:gd name="connsiteY29" fmla="*/ 489809 h 607921"/>
              <a:gd name="connsiteX30" fmla="*/ 547306 w 595290"/>
              <a:gd name="connsiteY30" fmla="*/ 586197 h 607921"/>
              <a:gd name="connsiteX31" fmla="*/ 530700 w 595290"/>
              <a:gd name="connsiteY31" fmla="*/ 602877 h 607921"/>
              <a:gd name="connsiteX32" fmla="*/ 527299 w 595290"/>
              <a:gd name="connsiteY32" fmla="*/ 602527 h 607921"/>
              <a:gd name="connsiteX33" fmla="*/ 422360 w 595290"/>
              <a:gd name="connsiteY33" fmla="*/ 594087 h 607921"/>
              <a:gd name="connsiteX34" fmla="*/ 297363 w 595290"/>
              <a:gd name="connsiteY34" fmla="*/ 607921 h 607921"/>
              <a:gd name="connsiteX35" fmla="*/ 172366 w 595290"/>
              <a:gd name="connsiteY35" fmla="*/ 594087 h 607921"/>
              <a:gd name="connsiteX36" fmla="*/ 67427 w 595290"/>
              <a:gd name="connsiteY36" fmla="*/ 602527 h 607921"/>
              <a:gd name="connsiteX37" fmla="*/ 64026 w 595290"/>
              <a:gd name="connsiteY37" fmla="*/ 602877 h 607921"/>
              <a:gd name="connsiteX38" fmla="*/ 47420 w 595290"/>
              <a:gd name="connsiteY38" fmla="*/ 586197 h 607921"/>
              <a:gd name="connsiteX39" fmla="*/ 47420 w 595290"/>
              <a:gd name="connsiteY39" fmla="*/ 489809 h 607921"/>
              <a:gd name="connsiteX40" fmla="*/ 48070 w 595290"/>
              <a:gd name="connsiteY40" fmla="*/ 489809 h 607921"/>
              <a:gd name="connsiteX41" fmla="*/ 99039 w 595290"/>
              <a:gd name="connsiteY41" fmla="*/ 468734 h 607921"/>
              <a:gd name="connsiteX42" fmla="*/ 120097 w 595290"/>
              <a:gd name="connsiteY42" fmla="*/ 417893 h 607921"/>
              <a:gd name="connsiteX43" fmla="*/ 99039 w 595290"/>
              <a:gd name="connsiteY43" fmla="*/ 367002 h 607921"/>
              <a:gd name="connsiteX44" fmla="*/ 48070 w 595290"/>
              <a:gd name="connsiteY44" fmla="*/ 345977 h 607921"/>
              <a:gd name="connsiteX45" fmla="*/ 47420 w 595290"/>
              <a:gd name="connsiteY45" fmla="*/ 345977 h 607921"/>
              <a:gd name="connsiteX46" fmla="*/ 47420 w 595290"/>
              <a:gd name="connsiteY46" fmla="*/ 318010 h 607921"/>
              <a:gd name="connsiteX47" fmla="*/ 59074 w 595290"/>
              <a:gd name="connsiteY47" fmla="*/ 302128 h 607921"/>
              <a:gd name="connsiteX48" fmla="*/ 172366 w 595290"/>
              <a:gd name="connsiteY48" fmla="*/ 284449 h 607921"/>
              <a:gd name="connsiteX49" fmla="*/ 297363 w 595290"/>
              <a:gd name="connsiteY49" fmla="*/ 0 h 607921"/>
              <a:gd name="connsiteX50" fmla="*/ 432355 w 595290"/>
              <a:gd name="connsiteY50" fmla="*/ 134780 h 607921"/>
              <a:gd name="connsiteX51" fmla="*/ 297363 w 595290"/>
              <a:gd name="connsiteY51" fmla="*/ 269560 h 607921"/>
              <a:gd name="connsiteX52" fmla="*/ 162371 w 595290"/>
              <a:gd name="connsiteY52" fmla="*/ 134780 h 607921"/>
              <a:gd name="connsiteX53" fmla="*/ 297363 w 595290"/>
              <a:gd name="connsiteY53" fmla="*/ 0 h 6079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595290" h="607921">
                <a:moveTo>
                  <a:pt x="47370" y="369974"/>
                </a:moveTo>
                <a:lnTo>
                  <a:pt x="48020" y="369974"/>
                </a:lnTo>
                <a:cubicBezTo>
                  <a:pt x="74581" y="369974"/>
                  <a:pt x="96040" y="391401"/>
                  <a:pt x="96040" y="417923"/>
                </a:cubicBezTo>
                <a:cubicBezTo>
                  <a:pt x="96040" y="444395"/>
                  <a:pt x="74581" y="465872"/>
                  <a:pt x="48020" y="465872"/>
                </a:cubicBezTo>
                <a:lnTo>
                  <a:pt x="47370" y="465872"/>
                </a:lnTo>
                <a:cubicBezTo>
                  <a:pt x="43968" y="465772"/>
                  <a:pt x="40567" y="465373"/>
                  <a:pt x="37366" y="464673"/>
                </a:cubicBezTo>
                <a:cubicBezTo>
                  <a:pt x="33864" y="463874"/>
                  <a:pt x="30463" y="462725"/>
                  <a:pt x="27361" y="461177"/>
                </a:cubicBezTo>
                <a:cubicBezTo>
                  <a:pt x="11205" y="453485"/>
                  <a:pt x="0" y="437003"/>
                  <a:pt x="0" y="417923"/>
                </a:cubicBezTo>
                <a:cubicBezTo>
                  <a:pt x="0" y="398793"/>
                  <a:pt x="11155" y="382361"/>
                  <a:pt x="27361" y="374619"/>
                </a:cubicBezTo>
                <a:cubicBezTo>
                  <a:pt x="30463" y="373071"/>
                  <a:pt x="33864" y="371972"/>
                  <a:pt x="37366" y="371173"/>
                </a:cubicBezTo>
                <a:cubicBezTo>
                  <a:pt x="40617" y="370424"/>
                  <a:pt x="43968" y="370024"/>
                  <a:pt x="47370" y="369974"/>
                </a:cubicBezTo>
                <a:close/>
                <a:moveTo>
                  <a:pt x="547270" y="369833"/>
                </a:moveTo>
                <a:cubicBezTo>
                  <a:pt x="550671" y="369833"/>
                  <a:pt x="554073" y="370233"/>
                  <a:pt x="557274" y="370882"/>
                </a:cubicBezTo>
                <a:cubicBezTo>
                  <a:pt x="560726" y="371631"/>
                  <a:pt x="564127" y="372780"/>
                  <a:pt x="567278" y="374228"/>
                </a:cubicBezTo>
                <a:cubicBezTo>
                  <a:pt x="583835" y="381819"/>
                  <a:pt x="595290" y="398450"/>
                  <a:pt x="595290" y="417828"/>
                </a:cubicBezTo>
                <a:cubicBezTo>
                  <a:pt x="595290" y="437206"/>
                  <a:pt x="583835" y="453887"/>
                  <a:pt x="567278" y="461478"/>
                </a:cubicBezTo>
                <a:cubicBezTo>
                  <a:pt x="564127" y="462927"/>
                  <a:pt x="560726" y="464075"/>
                  <a:pt x="557274" y="464774"/>
                </a:cubicBezTo>
                <a:cubicBezTo>
                  <a:pt x="554073" y="465524"/>
                  <a:pt x="550671" y="465873"/>
                  <a:pt x="547270" y="465873"/>
                </a:cubicBezTo>
                <a:cubicBezTo>
                  <a:pt x="520709" y="465873"/>
                  <a:pt x="499250" y="444398"/>
                  <a:pt x="499250" y="417928"/>
                </a:cubicBezTo>
                <a:cubicBezTo>
                  <a:pt x="499250" y="391458"/>
                  <a:pt x="520709" y="369983"/>
                  <a:pt x="547270" y="369833"/>
                </a:cubicBezTo>
                <a:close/>
                <a:moveTo>
                  <a:pt x="172366" y="284449"/>
                </a:moveTo>
                <a:cubicBezTo>
                  <a:pt x="241392" y="284449"/>
                  <a:pt x="297363" y="306124"/>
                  <a:pt x="297363" y="306124"/>
                </a:cubicBezTo>
                <a:cubicBezTo>
                  <a:pt x="297363" y="306124"/>
                  <a:pt x="353334" y="284449"/>
                  <a:pt x="422360" y="284449"/>
                </a:cubicBezTo>
                <a:cubicBezTo>
                  <a:pt x="472478" y="284449"/>
                  <a:pt x="515794" y="295886"/>
                  <a:pt x="535652" y="302128"/>
                </a:cubicBezTo>
                <a:cubicBezTo>
                  <a:pt x="542604" y="304276"/>
                  <a:pt x="547306" y="310718"/>
                  <a:pt x="547306" y="318010"/>
                </a:cubicBezTo>
                <a:lnTo>
                  <a:pt x="547306" y="345977"/>
                </a:lnTo>
                <a:cubicBezTo>
                  <a:pt x="528049" y="345977"/>
                  <a:pt x="509992" y="353418"/>
                  <a:pt x="496387" y="367002"/>
                </a:cubicBezTo>
                <a:cubicBezTo>
                  <a:pt x="482782" y="380587"/>
                  <a:pt x="475279" y="398716"/>
                  <a:pt x="475279" y="417893"/>
                </a:cubicBezTo>
                <a:cubicBezTo>
                  <a:pt x="475279" y="437121"/>
                  <a:pt x="482782" y="455150"/>
                  <a:pt x="496387" y="468734"/>
                </a:cubicBezTo>
                <a:cubicBezTo>
                  <a:pt x="509992" y="482318"/>
                  <a:pt x="528099" y="489809"/>
                  <a:pt x="547306" y="489809"/>
                </a:cubicBezTo>
                <a:lnTo>
                  <a:pt x="547306" y="586197"/>
                </a:lnTo>
                <a:cubicBezTo>
                  <a:pt x="547306" y="595586"/>
                  <a:pt x="539703" y="602877"/>
                  <a:pt x="530700" y="602877"/>
                </a:cubicBezTo>
                <a:cubicBezTo>
                  <a:pt x="529599" y="602877"/>
                  <a:pt x="528449" y="602727"/>
                  <a:pt x="527299" y="602527"/>
                </a:cubicBezTo>
                <a:cubicBezTo>
                  <a:pt x="502039" y="597334"/>
                  <a:pt x="464425" y="594087"/>
                  <a:pt x="422360" y="594087"/>
                </a:cubicBezTo>
                <a:cubicBezTo>
                  <a:pt x="366939" y="594087"/>
                  <a:pt x="319171" y="599731"/>
                  <a:pt x="297363" y="607921"/>
                </a:cubicBezTo>
                <a:cubicBezTo>
                  <a:pt x="275505" y="599731"/>
                  <a:pt x="227737" y="594087"/>
                  <a:pt x="172366" y="594087"/>
                </a:cubicBezTo>
                <a:cubicBezTo>
                  <a:pt x="130301" y="594087"/>
                  <a:pt x="92687" y="597383"/>
                  <a:pt x="67427" y="602527"/>
                </a:cubicBezTo>
                <a:cubicBezTo>
                  <a:pt x="66277" y="602727"/>
                  <a:pt x="65127" y="602877"/>
                  <a:pt x="64026" y="602877"/>
                </a:cubicBezTo>
                <a:cubicBezTo>
                  <a:pt x="55073" y="602877"/>
                  <a:pt x="47420" y="595586"/>
                  <a:pt x="47420" y="586197"/>
                </a:cubicBezTo>
                <a:lnTo>
                  <a:pt x="47420" y="489809"/>
                </a:lnTo>
                <a:lnTo>
                  <a:pt x="48070" y="489809"/>
                </a:lnTo>
                <a:cubicBezTo>
                  <a:pt x="67327" y="489809"/>
                  <a:pt x="85434" y="482318"/>
                  <a:pt x="99039" y="468734"/>
                </a:cubicBezTo>
                <a:cubicBezTo>
                  <a:pt x="112644" y="455150"/>
                  <a:pt x="120097" y="437071"/>
                  <a:pt x="120097" y="417893"/>
                </a:cubicBezTo>
                <a:cubicBezTo>
                  <a:pt x="120097" y="398616"/>
                  <a:pt x="112644" y="380587"/>
                  <a:pt x="99039" y="367002"/>
                </a:cubicBezTo>
                <a:cubicBezTo>
                  <a:pt x="85434" y="353418"/>
                  <a:pt x="67277" y="345977"/>
                  <a:pt x="48070" y="345977"/>
                </a:cubicBezTo>
                <a:lnTo>
                  <a:pt x="47420" y="345977"/>
                </a:lnTo>
                <a:lnTo>
                  <a:pt x="47420" y="318010"/>
                </a:lnTo>
                <a:cubicBezTo>
                  <a:pt x="47420" y="310718"/>
                  <a:pt x="52122" y="304326"/>
                  <a:pt x="59074" y="302128"/>
                </a:cubicBezTo>
                <a:cubicBezTo>
                  <a:pt x="78932" y="295886"/>
                  <a:pt x="122248" y="284449"/>
                  <a:pt x="172366" y="284449"/>
                </a:cubicBezTo>
                <a:close/>
                <a:moveTo>
                  <a:pt x="297363" y="0"/>
                </a:moveTo>
                <a:cubicBezTo>
                  <a:pt x="371917" y="0"/>
                  <a:pt x="432355" y="60343"/>
                  <a:pt x="432355" y="134780"/>
                </a:cubicBezTo>
                <a:cubicBezTo>
                  <a:pt x="432355" y="209217"/>
                  <a:pt x="371917" y="269560"/>
                  <a:pt x="297363" y="269560"/>
                </a:cubicBezTo>
                <a:cubicBezTo>
                  <a:pt x="222809" y="269560"/>
                  <a:pt x="162371" y="209217"/>
                  <a:pt x="162371" y="134780"/>
                </a:cubicBezTo>
                <a:cubicBezTo>
                  <a:pt x="162371" y="60343"/>
                  <a:pt x="222809" y="0"/>
                  <a:pt x="297363"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600" dirty="0"/>
          </a:p>
        </p:txBody>
      </p:sp>
      <p:sp>
        <p:nvSpPr>
          <p:cNvPr id="76" name="price-ticket_70951">
            <a:extLst>
              <a:ext uri="{FF2B5EF4-FFF2-40B4-BE49-F238E27FC236}">
                <a16:creationId xmlns:a16="http://schemas.microsoft.com/office/drawing/2014/main" id="{F9FE2E89-59DA-4663-BB3E-A7F7DC05E9F5}"/>
              </a:ext>
            </a:extLst>
          </p:cNvPr>
          <p:cNvSpPr/>
          <p:nvPr/>
        </p:nvSpPr>
        <p:spPr>
          <a:xfrm>
            <a:off x="6815506" y="1764388"/>
            <a:ext cx="322030" cy="341960"/>
          </a:xfrm>
          <a:custGeom>
            <a:avLst/>
            <a:gdLst>
              <a:gd name="connsiteX0" fmla="*/ 285671 w 571362"/>
              <a:gd name="connsiteY0" fmla="*/ 470107 h 606722"/>
              <a:gd name="connsiteX1" fmla="*/ 374169 w 571362"/>
              <a:gd name="connsiteY1" fmla="*/ 512238 h 606722"/>
              <a:gd name="connsiteX2" fmla="*/ 369717 w 571362"/>
              <a:gd name="connsiteY2" fmla="*/ 522815 h 606722"/>
              <a:gd name="connsiteX3" fmla="*/ 285671 w 571362"/>
              <a:gd name="connsiteY3" fmla="*/ 606722 h 606722"/>
              <a:gd name="connsiteX4" fmla="*/ 201625 w 571362"/>
              <a:gd name="connsiteY4" fmla="*/ 522815 h 606722"/>
              <a:gd name="connsiteX5" fmla="*/ 197262 w 571362"/>
              <a:gd name="connsiteY5" fmla="*/ 512238 h 606722"/>
              <a:gd name="connsiteX6" fmla="*/ 285671 w 571362"/>
              <a:gd name="connsiteY6" fmla="*/ 470107 h 606722"/>
              <a:gd name="connsiteX7" fmla="*/ 403524 w 571362"/>
              <a:gd name="connsiteY7" fmla="*/ 393967 h 606722"/>
              <a:gd name="connsiteX8" fmla="*/ 384914 w 571362"/>
              <a:gd name="connsiteY8" fmla="*/ 481539 h 606722"/>
              <a:gd name="connsiteX9" fmla="*/ 318846 w 571362"/>
              <a:gd name="connsiteY9" fmla="*/ 451044 h 606722"/>
              <a:gd name="connsiteX10" fmla="*/ 388387 w 571362"/>
              <a:gd name="connsiteY10" fmla="*/ 405169 h 606722"/>
              <a:gd name="connsiteX11" fmla="*/ 403524 w 571362"/>
              <a:gd name="connsiteY11" fmla="*/ 393967 h 606722"/>
              <a:gd name="connsiteX12" fmla="*/ 167906 w 571362"/>
              <a:gd name="connsiteY12" fmla="*/ 393967 h 606722"/>
              <a:gd name="connsiteX13" fmla="*/ 183034 w 571362"/>
              <a:gd name="connsiteY13" fmla="*/ 405169 h 606722"/>
              <a:gd name="connsiteX14" fmla="*/ 252443 w 571362"/>
              <a:gd name="connsiteY14" fmla="*/ 451044 h 606722"/>
              <a:gd name="connsiteX15" fmla="*/ 186504 w 571362"/>
              <a:gd name="connsiteY15" fmla="*/ 481539 h 606722"/>
              <a:gd name="connsiteX16" fmla="*/ 167906 w 571362"/>
              <a:gd name="connsiteY16" fmla="*/ 393967 h 606722"/>
              <a:gd name="connsiteX17" fmla="*/ 483987 w 571362"/>
              <a:gd name="connsiteY17" fmla="*/ 326436 h 606722"/>
              <a:gd name="connsiteX18" fmla="*/ 571215 w 571362"/>
              <a:gd name="connsiteY18" fmla="*/ 468871 h 606722"/>
              <a:gd name="connsiteX19" fmla="*/ 561602 w 571362"/>
              <a:gd name="connsiteY19" fmla="*/ 498549 h 606722"/>
              <a:gd name="connsiteX20" fmla="*/ 427733 w 571362"/>
              <a:gd name="connsiteY20" fmla="*/ 496860 h 606722"/>
              <a:gd name="connsiteX21" fmla="*/ 415450 w 571362"/>
              <a:gd name="connsiteY21" fmla="*/ 492862 h 606722"/>
              <a:gd name="connsiteX22" fmla="*/ 439304 w 571362"/>
              <a:gd name="connsiteY22" fmla="*/ 365888 h 606722"/>
              <a:gd name="connsiteX23" fmla="*/ 483987 w 571362"/>
              <a:gd name="connsiteY23" fmla="*/ 326436 h 606722"/>
              <a:gd name="connsiteX24" fmla="*/ 87462 w 571362"/>
              <a:gd name="connsiteY24" fmla="*/ 326436 h 606722"/>
              <a:gd name="connsiteX25" fmla="*/ 132145 w 571362"/>
              <a:gd name="connsiteY25" fmla="*/ 365899 h 606722"/>
              <a:gd name="connsiteX26" fmla="*/ 155910 w 571362"/>
              <a:gd name="connsiteY26" fmla="*/ 492907 h 606722"/>
              <a:gd name="connsiteX27" fmla="*/ 143716 w 571362"/>
              <a:gd name="connsiteY27" fmla="*/ 496907 h 606722"/>
              <a:gd name="connsiteX28" fmla="*/ 9758 w 571362"/>
              <a:gd name="connsiteY28" fmla="*/ 498596 h 606722"/>
              <a:gd name="connsiteX29" fmla="*/ 145 w 571362"/>
              <a:gd name="connsiteY29" fmla="*/ 468910 h 606722"/>
              <a:gd name="connsiteX30" fmla="*/ 87462 w 571362"/>
              <a:gd name="connsiteY30" fmla="*/ 326436 h 606722"/>
              <a:gd name="connsiteX31" fmla="*/ 441700 w 571362"/>
              <a:gd name="connsiteY31" fmla="*/ 285931 h 606722"/>
              <a:gd name="connsiteX32" fmla="*/ 460682 w 571362"/>
              <a:gd name="connsiteY32" fmla="*/ 303352 h 606722"/>
              <a:gd name="connsiteX33" fmla="*/ 441700 w 571362"/>
              <a:gd name="connsiteY33" fmla="*/ 320861 h 606722"/>
              <a:gd name="connsiteX34" fmla="*/ 441878 w 571362"/>
              <a:gd name="connsiteY34" fmla="*/ 303352 h 606722"/>
              <a:gd name="connsiteX35" fmla="*/ 441700 w 571362"/>
              <a:gd name="connsiteY35" fmla="*/ 285931 h 606722"/>
              <a:gd name="connsiteX36" fmla="*/ 129660 w 571362"/>
              <a:gd name="connsiteY36" fmla="*/ 285931 h 606722"/>
              <a:gd name="connsiteX37" fmla="*/ 129482 w 571362"/>
              <a:gd name="connsiteY37" fmla="*/ 303352 h 606722"/>
              <a:gd name="connsiteX38" fmla="*/ 129660 w 571362"/>
              <a:gd name="connsiteY38" fmla="*/ 320861 h 606722"/>
              <a:gd name="connsiteX39" fmla="*/ 110678 w 571362"/>
              <a:gd name="connsiteY39" fmla="*/ 303352 h 606722"/>
              <a:gd name="connsiteX40" fmla="*/ 129660 w 571362"/>
              <a:gd name="connsiteY40" fmla="*/ 285931 h 606722"/>
              <a:gd name="connsiteX41" fmla="*/ 285715 w 571362"/>
              <a:gd name="connsiteY41" fmla="*/ 279439 h 606722"/>
              <a:gd name="connsiteX42" fmla="*/ 309672 w 571362"/>
              <a:gd name="connsiteY42" fmla="*/ 303396 h 606722"/>
              <a:gd name="connsiteX43" fmla="*/ 285715 w 571362"/>
              <a:gd name="connsiteY43" fmla="*/ 327353 h 606722"/>
              <a:gd name="connsiteX44" fmla="*/ 261758 w 571362"/>
              <a:gd name="connsiteY44" fmla="*/ 303396 h 606722"/>
              <a:gd name="connsiteX45" fmla="*/ 285715 w 571362"/>
              <a:gd name="connsiteY45" fmla="*/ 279439 h 606722"/>
              <a:gd name="connsiteX46" fmla="*/ 285680 w 571362"/>
              <a:gd name="connsiteY46" fmla="*/ 246856 h 606722"/>
              <a:gd name="connsiteX47" fmla="*/ 229160 w 571362"/>
              <a:gd name="connsiteY47" fmla="*/ 303291 h 606722"/>
              <a:gd name="connsiteX48" fmla="*/ 285680 w 571362"/>
              <a:gd name="connsiteY48" fmla="*/ 359814 h 606722"/>
              <a:gd name="connsiteX49" fmla="*/ 342288 w 571362"/>
              <a:gd name="connsiteY49" fmla="*/ 303291 h 606722"/>
              <a:gd name="connsiteX50" fmla="*/ 285680 w 571362"/>
              <a:gd name="connsiteY50" fmla="*/ 246856 h 606722"/>
              <a:gd name="connsiteX51" fmla="*/ 285680 w 571362"/>
              <a:gd name="connsiteY51" fmla="*/ 173803 h 606722"/>
              <a:gd name="connsiteX52" fmla="*/ 369346 w 571362"/>
              <a:gd name="connsiteY52" fmla="*/ 227926 h 606722"/>
              <a:gd name="connsiteX53" fmla="*/ 407886 w 571362"/>
              <a:gd name="connsiteY53" fmla="*/ 257254 h 606722"/>
              <a:gd name="connsiteX54" fmla="*/ 409310 w 571362"/>
              <a:gd name="connsiteY54" fmla="*/ 303291 h 606722"/>
              <a:gd name="connsiteX55" fmla="*/ 407886 w 571362"/>
              <a:gd name="connsiteY55" fmla="*/ 349327 h 606722"/>
              <a:gd name="connsiteX56" fmla="*/ 369346 w 571362"/>
              <a:gd name="connsiteY56" fmla="*/ 378743 h 606722"/>
              <a:gd name="connsiteX57" fmla="*/ 285680 w 571362"/>
              <a:gd name="connsiteY57" fmla="*/ 432778 h 606722"/>
              <a:gd name="connsiteX58" fmla="*/ 202102 w 571362"/>
              <a:gd name="connsiteY58" fmla="*/ 378743 h 606722"/>
              <a:gd name="connsiteX59" fmla="*/ 163562 w 571362"/>
              <a:gd name="connsiteY59" fmla="*/ 349327 h 606722"/>
              <a:gd name="connsiteX60" fmla="*/ 162049 w 571362"/>
              <a:gd name="connsiteY60" fmla="*/ 303291 h 606722"/>
              <a:gd name="connsiteX61" fmla="*/ 163562 w 571362"/>
              <a:gd name="connsiteY61" fmla="*/ 257254 h 606722"/>
              <a:gd name="connsiteX62" fmla="*/ 202102 w 571362"/>
              <a:gd name="connsiteY62" fmla="*/ 227926 h 606722"/>
              <a:gd name="connsiteX63" fmla="*/ 285680 w 571362"/>
              <a:gd name="connsiteY63" fmla="*/ 173803 h 606722"/>
              <a:gd name="connsiteX64" fmla="*/ 384914 w 571362"/>
              <a:gd name="connsiteY64" fmla="*/ 125113 h 606722"/>
              <a:gd name="connsiteX65" fmla="*/ 403524 w 571362"/>
              <a:gd name="connsiteY65" fmla="*/ 212685 h 606722"/>
              <a:gd name="connsiteX66" fmla="*/ 388387 w 571362"/>
              <a:gd name="connsiteY66" fmla="*/ 201572 h 606722"/>
              <a:gd name="connsiteX67" fmla="*/ 318846 w 571362"/>
              <a:gd name="connsiteY67" fmla="*/ 155608 h 606722"/>
              <a:gd name="connsiteX68" fmla="*/ 384914 w 571362"/>
              <a:gd name="connsiteY68" fmla="*/ 125113 h 606722"/>
              <a:gd name="connsiteX69" fmla="*/ 186504 w 571362"/>
              <a:gd name="connsiteY69" fmla="*/ 125113 h 606722"/>
              <a:gd name="connsiteX70" fmla="*/ 252443 w 571362"/>
              <a:gd name="connsiteY70" fmla="*/ 155608 h 606722"/>
              <a:gd name="connsiteX71" fmla="*/ 183034 w 571362"/>
              <a:gd name="connsiteY71" fmla="*/ 201572 h 606722"/>
              <a:gd name="connsiteX72" fmla="*/ 167906 w 571362"/>
              <a:gd name="connsiteY72" fmla="*/ 212685 h 606722"/>
              <a:gd name="connsiteX73" fmla="*/ 186504 w 571362"/>
              <a:gd name="connsiteY73" fmla="*/ 125113 h 606722"/>
              <a:gd name="connsiteX74" fmla="*/ 513359 w 571362"/>
              <a:gd name="connsiteY74" fmla="*/ 94417 h 606722"/>
              <a:gd name="connsiteX75" fmla="*/ 561602 w 571362"/>
              <a:gd name="connsiteY75" fmla="*/ 108100 h 606722"/>
              <a:gd name="connsiteX76" fmla="*/ 571215 w 571362"/>
              <a:gd name="connsiteY76" fmla="*/ 137863 h 606722"/>
              <a:gd name="connsiteX77" fmla="*/ 483987 w 571362"/>
              <a:gd name="connsiteY77" fmla="*/ 280286 h 606722"/>
              <a:gd name="connsiteX78" fmla="*/ 439304 w 571362"/>
              <a:gd name="connsiteY78" fmla="*/ 240838 h 606722"/>
              <a:gd name="connsiteX79" fmla="*/ 415450 w 571362"/>
              <a:gd name="connsiteY79" fmla="*/ 113875 h 606722"/>
              <a:gd name="connsiteX80" fmla="*/ 427733 w 571362"/>
              <a:gd name="connsiteY80" fmla="*/ 109876 h 606722"/>
              <a:gd name="connsiteX81" fmla="*/ 513359 w 571362"/>
              <a:gd name="connsiteY81" fmla="*/ 94417 h 606722"/>
              <a:gd name="connsiteX82" fmla="*/ 57990 w 571362"/>
              <a:gd name="connsiteY82" fmla="*/ 94417 h 606722"/>
              <a:gd name="connsiteX83" fmla="*/ 143715 w 571362"/>
              <a:gd name="connsiteY83" fmla="*/ 109876 h 606722"/>
              <a:gd name="connsiteX84" fmla="*/ 155911 w 571362"/>
              <a:gd name="connsiteY84" fmla="*/ 113875 h 606722"/>
              <a:gd name="connsiteX85" fmla="*/ 132143 w 571362"/>
              <a:gd name="connsiteY85" fmla="*/ 240838 h 606722"/>
              <a:gd name="connsiteX86" fmla="*/ 87455 w 571362"/>
              <a:gd name="connsiteY86" fmla="*/ 280286 h 606722"/>
              <a:gd name="connsiteX87" fmla="*/ 127 w 571362"/>
              <a:gd name="connsiteY87" fmla="*/ 137863 h 606722"/>
              <a:gd name="connsiteX88" fmla="*/ 9741 w 571362"/>
              <a:gd name="connsiteY88" fmla="*/ 108100 h 606722"/>
              <a:gd name="connsiteX89" fmla="*/ 57990 w 571362"/>
              <a:gd name="connsiteY89" fmla="*/ 94417 h 606722"/>
              <a:gd name="connsiteX90" fmla="*/ 285671 w 571362"/>
              <a:gd name="connsiteY90" fmla="*/ 0 h 606722"/>
              <a:gd name="connsiteX91" fmla="*/ 369717 w 571362"/>
              <a:gd name="connsiteY91" fmla="*/ 83918 h 606722"/>
              <a:gd name="connsiteX92" fmla="*/ 374169 w 571362"/>
              <a:gd name="connsiteY92" fmla="*/ 94496 h 606722"/>
              <a:gd name="connsiteX93" fmla="*/ 285671 w 571362"/>
              <a:gd name="connsiteY93" fmla="*/ 136544 h 606722"/>
              <a:gd name="connsiteX94" fmla="*/ 197262 w 571362"/>
              <a:gd name="connsiteY94" fmla="*/ 94496 h 606722"/>
              <a:gd name="connsiteX95" fmla="*/ 201625 w 571362"/>
              <a:gd name="connsiteY95" fmla="*/ 83918 h 606722"/>
              <a:gd name="connsiteX96" fmla="*/ 285671 w 571362"/>
              <a:gd name="connsiteY96" fmla="*/ 0 h 606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Lst>
            <a:rect l="l" t="t" r="r" b="b"/>
            <a:pathLst>
              <a:path w="571362" h="606722">
                <a:moveTo>
                  <a:pt x="285671" y="470107"/>
                </a:moveTo>
                <a:cubicBezTo>
                  <a:pt x="315586" y="486551"/>
                  <a:pt x="345412" y="500772"/>
                  <a:pt x="374169" y="512238"/>
                </a:cubicBezTo>
                <a:cubicBezTo>
                  <a:pt x="372744" y="515793"/>
                  <a:pt x="371231" y="519349"/>
                  <a:pt x="369717" y="522815"/>
                </a:cubicBezTo>
                <a:cubicBezTo>
                  <a:pt x="346391" y="576146"/>
                  <a:pt x="315764" y="606722"/>
                  <a:pt x="285671" y="606722"/>
                </a:cubicBezTo>
                <a:cubicBezTo>
                  <a:pt x="255667" y="606722"/>
                  <a:pt x="225040" y="576146"/>
                  <a:pt x="201625" y="522815"/>
                </a:cubicBezTo>
                <a:cubicBezTo>
                  <a:pt x="200111" y="519349"/>
                  <a:pt x="198687" y="515793"/>
                  <a:pt x="197262" y="512238"/>
                </a:cubicBezTo>
                <a:cubicBezTo>
                  <a:pt x="226019" y="500772"/>
                  <a:pt x="255756" y="486551"/>
                  <a:pt x="285671" y="470107"/>
                </a:cubicBezTo>
                <a:close/>
                <a:moveTo>
                  <a:pt x="403524" y="393967"/>
                </a:moveTo>
                <a:cubicBezTo>
                  <a:pt x="399428" y="425262"/>
                  <a:pt x="393106" y="454778"/>
                  <a:pt x="384914" y="481539"/>
                </a:cubicBezTo>
                <a:cubicBezTo>
                  <a:pt x="363367" y="472915"/>
                  <a:pt x="341284" y="462691"/>
                  <a:pt x="318846" y="451044"/>
                </a:cubicBezTo>
                <a:cubicBezTo>
                  <a:pt x="342264" y="436997"/>
                  <a:pt x="365593" y="421617"/>
                  <a:pt x="388387" y="405169"/>
                </a:cubicBezTo>
                <a:cubicBezTo>
                  <a:pt x="393462" y="401435"/>
                  <a:pt x="398538" y="397701"/>
                  <a:pt x="403524" y="393967"/>
                </a:cubicBezTo>
                <a:close/>
                <a:moveTo>
                  <a:pt x="167906" y="393967"/>
                </a:moveTo>
                <a:cubicBezTo>
                  <a:pt x="172800" y="397701"/>
                  <a:pt x="177872" y="401435"/>
                  <a:pt x="183034" y="405169"/>
                </a:cubicBezTo>
                <a:cubicBezTo>
                  <a:pt x="205814" y="421617"/>
                  <a:pt x="229129" y="436997"/>
                  <a:pt x="252443" y="451044"/>
                </a:cubicBezTo>
                <a:cubicBezTo>
                  <a:pt x="230107" y="462691"/>
                  <a:pt x="208039" y="472915"/>
                  <a:pt x="186504" y="481539"/>
                </a:cubicBezTo>
                <a:cubicBezTo>
                  <a:pt x="178228" y="454778"/>
                  <a:pt x="171999" y="425262"/>
                  <a:pt x="167906" y="393967"/>
                </a:cubicBezTo>
                <a:close/>
                <a:moveTo>
                  <a:pt x="483987" y="326436"/>
                </a:moveTo>
                <a:cubicBezTo>
                  <a:pt x="535879" y="380371"/>
                  <a:pt x="568723" y="432263"/>
                  <a:pt x="571215" y="468871"/>
                </a:cubicBezTo>
                <a:cubicBezTo>
                  <a:pt x="572105" y="481844"/>
                  <a:pt x="568990" y="491618"/>
                  <a:pt x="561602" y="498549"/>
                </a:cubicBezTo>
                <a:cubicBezTo>
                  <a:pt x="541842" y="517386"/>
                  <a:pt x="491730" y="516764"/>
                  <a:pt x="427733" y="496860"/>
                </a:cubicBezTo>
                <a:cubicBezTo>
                  <a:pt x="423728" y="495616"/>
                  <a:pt x="419633" y="494284"/>
                  <a:pt x="415450" y="492862"/>
                </a:cubicBezTo>
                <a:cubicBezTo>
                  <a:pt x="427377" y="454654"/>
                  <a:pt x="435477" y="411559"/>
                  <a:pt x="439304" y="365888"/>
                </a:cubicBezTo>
                <a:cubicBezTo>
                  <a:pt x="455148" y="352826"/>
                  <a:pt x="470101" y="339587"/>
                  <a:pt x="483987" y="326436"/>
                </a:cubicBezTo>
                <a:close/>
                <a:moveTo>
                  <a:pt x="87462" y="326436"/>
                </a:moveTo>
                <a:cubicBezTo>
                  <a:pt x="101348" y="339590"/>
                  <a:pt x="116301" y="352833"/>
                  <a:pt x="132145" y="365899"/>
                </a:cubicBezTo>
                <a:cubicBezTo>
                  <a:pt x="135972" y="411583"/>
                  <a:pt x="144072" y="454689"/>
                  <a:pt x="155910" y="492907"/>
                </a:cubicBezTo>
                <a:cubicBezTo>
                  <a:pt x="151816" y="494329"/>
                  <a:pt x="147721" y="495663"/>
                  <a:pt x="143716" y="496907"/>
                </a:cubicBezTo>
                <a:cubicBezTo>
                  <a:pt x="79630" y="516816"/>
                  <a:pt x="29607" y="517527"/>
                  <a:pt x="9758" y="498596"/>
                </a:cubicBezTo>
                <a:cubicBezTo>
                  <a:pt x="2459" y="491663"/>
                  <a:pt x="-745" y="481886"/>
                  <a:pt x="145" y="468910"/>
                </a:cubicBezTo>
                <a:cubicBezTo>
                  <a:pt x="2637" y="432292"/>
                  <a:pt x="35481" y="380386"/>
                  <a:pt x="87462" y="326436"/>
                </a:cubicBezTo>
                <a:close/>
                <a:moveTo>
                  <a:pt x="441700" y="285931"/>
                </a:moveTo>
                <a:cubicBezTo>
                  <a:pt x="448206" y="291708"/>
                  <a:pt x="454622" y="297574"/>
                  <a:pt x="460682" y="303352"/>
                </a:cubicBezTo>
                <a:cubicBezTo>
                  <a:pt x="454622" y="309218"/>
                  <a:pt x="448206" y="314995"/>
                  <a:pt x="441700" y="320861"/>
                </a:cubicBezTo>
                <a:cubicBezTo>
                  <a:pt x="441878" y="314995"/>
                  <a:pt x="441878" y="309218"/>
                  <a:pt x="441878" y="303352"/>
                </a:cubicBezTo>
                <a:cubicBezTo>
                  <a:pt x="441878" y="297574"/>
                  <a:pt x="441878" y="291708"/>
                  <a:pt x="441700" y="285931"/>
                </a:cubicBezTo>
                <a:close/>
                <a:moveTo>
                  <a:pt x="129660" y="285931"/>
                </a:moveTo>
                <a:cubicBezTo>
                  <a:pt x="129571" y="291708"/>
                  <a:pt x="129482" y="297574"/>
                  <a:pt x="129482" y="303352"/>
                </a:cubicBezTo>
                <a:cubicBezTo>
                  <a:pt x="129482" y="309218"/>
                  <a:pt x="129571" y="314995"/>
                  <a:pt x="129660" y="320861"/>
                </a:cubicBezTo>
                <a:cubicBezTo>
                  <a:pt x="123154" y="314995"/>
                  <a:pt x="116827" y="309218"/>
                  <a:pt x="110678" y="303352"/>
                </a:cubicBezTo>
                <a:cubicBezTo>
                  <a:pt x="116827" y="297574"/>
                  <a:pt x="123154" y="291708"/>
                  <a:pt x="129660" y="285931"/>
                </a:cubicBezTo>
                <a:close/>
                <a:moveTo>
                  <a:pt x="285715" y="279439"/>
                </a:moveTo>
                <a:cubicBezTo>
                  <a:pt x="298946" y="279439"/>
                  <a:pt x="309672" y="290165"/>
                  <a:pt x="309672" y="303396"/>
                </a:cubicBezTo>
                <a:cubicBezTo>
                  <a:pt x="309672" y="316627"/>
                  <a:pt x="298946" y="327353"/>
                  <a:pt x="285715" y="327353"/>
                </a:cubicBezTo>
                <a:cubicBezTo>
                  <a:pt x="272484" y="327353"/>
                  <a:pt x="261758" y="316627"/>
                  <a:pt x="261758" y="303396"/>
                </a:cubicBezTo>
                <a:cubicBezTo>
                  <a:pt x="261758" y="290165"/>
                  <a:pt x="272484" y="279439"/>
                  <a:pt x="285715" y="279439"/>
                </a:cubicBezTo>
                <a:close/>
                <a:moveTo>
                  <a:pt x="285680" y="246856"/>
                </a:moveTo>
                <a:cubicBezTo>
                  <a:pt x="254527" y="246856"/>
                  <a:pt x="229160" y="272185"/>
                  <a:pt x="229160" y="303291"/>
                </a:cubicBezTo>
                <a:cubicBezTo>
                  <a:pt x="229160" y="334485"/>
                  <a:pt x="254527" y="359814"/>
                  <a:pt x="285680" y="359814"/>
                </a:cubicBezTo>
                <a:cubicBezTo>
                  <a:pt x="316921" y="359814"/>
                  <a:pt x="342288" y="334485"/>
                  <a:pt x="342288" y="303291"/>
                </a:cubicBezTo>
                <a:cubicBezTo>
                  <a:pt x="342288" y="272185"/>
                  <a:pt x="316921" y="246856"/>
                  <a:pt x="285680" y="246856"/>
                </a:cubicBezTo>
                <a:close/>
                <a:moveTo>
                  <a:pt x="285680" y="173803"/>
                </a:moveTo>
                <a:cubicBezTo>
                  <a:pt x="313717" y="189978"/>
                  <a:pt x="341843" y="208108"/>
                  <a:pt x="369346" y="227926"/>
                </a:cubicBezTo>
                <a:cubicBezTo>
                  <a:pt x="382608" y="237525"/>
                  <a:pt x="395514" y="247301"/>
                  <a:pt x="407886" y="257254"/>
                </a:cubicBezTo>
                <a:cubicBezTo>
                  <a:pt x="408865" y="272363"/>
                  <a:pt x="409310" y="287738"/>
                  <a:pt x="409310" y="303291"/>
                </a:cubicBezTo>
                <a:cubicBezTo>
                  <a:pt x="409310" y="318843"/>
                  <a:pt x="408865" y="334218"/>
                  <a:pt x="407886" y="349327"/>
                </a:cubicBezTo>
                <a:cubicBezTo>
                  <a:pt x="395514" y="359280"/>
                  <a:pt x="382608" y="369145"/>
                  <a:pt x="369346" y="378743"/>
                </a:cubicBezTo>
                <a:cubicBezTo>
                  <a:pt x="341843" y="398562"/>
                  <a:pt x="313717" y="416692"/>
                  <a:pt x="285680" y="432778"/>
                </a:cubicBezTo>
                <a:cubicBezTo>
                  <a:pt x="257642" y="416692"/>
                  <a:pt x="229605" y="398562"/>
                  <a:pt x="202102" y="378743"/>
                </a:cubicBezTo>
                <a:cubicBezTo>
                  <a:pt x="188840" y="369145"/>
                  <a:pt x="175934" y="359280"/>
                  <a:pt x="163562" y="349327"/>
                </a:cubicBezTo>
                <a:cubicBezTo>
                  <a:pt x="162583" y="334218"/>
                  <a:pt x="162049" y="318843"/>
                  <a:pt x="162049" y="303291"/>
                </a:cubicBezTo>
                <a:cubicBezTo>
                  <a:pt x="162049" y="287738"/>
                  <a:pt x="162583" y="272363"/>
                  <a:pt x="163562" y="257254"/>
                </a:cubicBezTo>
                <a:cubicBezTo>
                  <a:pt x="175934" y="247301"/>
                  <a:pt x="188840" y="237525"/>
                  <a:pt x="202102" y="227926"/>
                </a:cubicBezTo>
                <a:cubicBezTo>
                  <a:pt x="229605" y="208108"/>
                  <a:pt x="257642" y="189978"/>
                  <a:pt x="285680" y="173803"/>
                </a:cubicBezTo>
                <a:close/>
                <a:moveTo>
                  <a:pt x="384914" y="125113"/>
                </a:moveTo>
                <a:cubicBezTo>
                  <a:pt x="393106" y="151962"/>
                  <a:pt x="399428" y="181479"/>
                  <a:pt x="403524" y="212685"/>
                </a:cubicBezTo>
                <a:cubicBezTo>
                  <a:pt x="398538" y="208951"/>
                  <a:pt x="393462" y="205306"/>
                  <a:pt x="388387" y="201572"/>
                </a:cubicBezTo>
                <a:cubicBezTo>
                  <a:pt x="365503" y="185124"/>
                  <a:pt x="342264" y="169744"/>
                  <a:pt x="318846" y="155608"/>
                </a:cubicBezTo>
                <a:cubicBezTo>
                  <a:pt x="341284" y="144050"/>
                  <a:pt x="363367" y="133826"/>
                  <a:pt x="384914" y="125113"/>
                </a:cubicBezTo>
                <a:close/>
                <a:moveTo>
                  <a:pt x="186504" y="125113"/>
                </a:moveTo>
                <a:cubicBezTo>
                  <a:pt x="208039" y="133826"/>
                  <a:pt x="230107" y="144050"/>
                  <a:pt x="252443" y="155608"/>
                </a:cubicBezTo>
                <a:cubicBezTo>
                  <a:pt x="229129" y="169744"/>
                  <a:pt x="205814" y="185124"/>
                  <a:pt x="183034" y="201572"/>
                </a:cubicBezTo>
                <a:cubicBezTo>
                  <a:pt x="177872" y="205306"/>
                  <a:pt x="172800" y="208951"/>
                  <a:pt x="167906" y="212685"/>
                </a:cubicBezTo>
                <a:cubicBezTo>
                  <a:pt x="171999" y="181479"/>
                  <a:pt x="178228" y="151962"/>
                  <a:pt x="186504" y="125113"/>
                </a:cubicBezTo>
                <a:close/>
                <a:moveTo>
                  <a:pt x="513359" y="94417"/>
                </a:moveTo>
                <a:cubicBezTo>
                  <a:pt x="535344" y="94417"/>
                  <a:pt x="551989" y="98948"/>
                  <a:pt x="561602" y="108100"/>
                </a:cubicBezTo>
                <a:cubicBezTo>
                  <a:pt x="568990" y="115118"/>
                  <a:pt x="572105" y="124803"/>
                  <a:pt x="571215" y="137863"/>
                </a:cubicBezTo>
                <a:cubicBezTo>
                  <a:pt x="568723" y="174380"/>
                  <a:pt x="535879" y="226356"/>
                  <a:pt x="483987" y="280286"/>
                </a:cubicBezTo>
                <a:cubicBezTo>
                  <a:pt x="470101" y="267048"/>
                  <a:pt x="455148" y="253898"/>
                  <a:pt x="439304" y="240838"/>
                </a:cubicBezTo>
                <a:cubicBezTo>
                  <a:pt x="435477" y="195170"/>
                  <a:pt x="427377" y="151990"/>
                  <a:pt x="415450" y="113875"/>
                </a:cubicBezTo>
                <a:cubicBezTo>
                  <a:pt x="419633" y="112453"/>
                  <a:pt x="423728" y="111120"/>
                  <a:pt x="427733" y="109876"/>
                </a:cubicBezTo>
                <a:cubicBezTo>
                  <a:pt x="460755" y="99570"/>
                  <a:pt x="490039" y="94417"/>
                  <a:pt x="513359" y="94417"/>
                </a:cubicBezTo>
                <a:close/>
                <a:moveTo>
                  <a:pt x="57990" y="94417"/>
                </a:moveTo>
                <a:cubicBezTo>
                  <a:pt x="81402" y="94417"/>
                  <a:pt x="110689" y="99570"/>
                  <a:pt x="143715" y="109876"/>
                </a:cubicBezTo>
                <a:cubicBezTo>
                  <a:pt x="147721" y="111120"/>
                  <a:pt x="151816" y="112453"/>
                  <a:pt x="155911" y="113875"/>
                </a:cubicBezTo>
                <a:cubicBezTo>
                  <a:pt x="144071" y="151990"/>
                  <a:pt x="135971" y="195170"/>
                  <a:pt x="132143" y="240838"/>
                </a:cubicBezTo>
                <a:cubicBezTo>
                  <a:pt x="116297" y="253898"/>
                  <a:pt x="101342" y="267048"/>
                  <a:pt x="87455" y="280286"/>
                </a:cubicBezTo>
                <a:cubicBezTo>
                  <a:pt x="35468" y="226356"/>
                  <a:pt x="2620" y="174380"/>
                  <a:pt x="127" y="137863"/>
                </a:cubicBezTo>
                <a:cubicBezTo>
                  <a:pt x="-674" y="124803"/>
                  <a:pt x="2442" y="115118"/>
                  <a:pt x="9741" y="108100"/>
                </a:cubicBezTo>
                <a:cubicBezTo>
                  <a:pt x="19355" y="98948"/>
                  <a:pt x="36091" y="94417"/>
                  <a:pt x="57990" y="94417"/>
                </a:cubicBezTo>
                <a:close/>
                <a:moveTo>
                  <a:pt x="285671" y="0"/>
                </a:moveTo>
                <a:cubicBezTo>
                  <a:pt x="315764" y="0"/>
                  <a:pt x="346391" y="30580"/>
                  <a:pt x="369717" y="83918"/>
                </a:cubicBezTo>
                <a:cubicBezTo>
                  <a:pt x="371231" y="87385"/>
                  <a:pt x="372744" y="90852"/>
                  <a:pt x="374169" y="94496"/>
                </a:cubicBezTo>
                <a:cubicBezTo>
                  <a:pt x="345412" y="105964"/>
                  <a:pt x="315586" y="120098"/>
                  <a:pt x="285671" y="136544"/>
                </a:cubicBezTo>
                <a:cubicBezTo>
                  <a:pt x="255756" y="120098"/>
                  <a:pt x="226019" y="105964"/>
                  <a:pt x="197262" y="94496"/>
                </a:cubicBezTo>
                <a:cubicBezTo>
                  <a:pt x="198687" y="90852"/>
                  <a:pt x="200111" y="87296"/>
                  <a:pt x="201625" y="83918"/>
                </a:cubicBezTo>
                <a:cubicBezTo>
                  <a:pt x="225040" y="30580"/>
                  <a:pt x="255667" y="0"/>
                  <a:pt x="285671"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600" dirty="0"/>
          </a:p>
        </p:txBody>
      </p:sp>
      <p:sp>
        <p:nvSpPr>
          <p:cNvPr id="35" name="椭圆 34">
            <a:extLst>
              <a:ext uri="{FF2B5EF4-FFF2-40B4-BE49-F238E27FC236}">
                <a16:creationId xmlns:a16="http://schemas.microsoft.com/office/drawing/2014/main" id="{A7B14A57-B1DB-42CB-8691-B6FC660F4C48}"/>
              </a:ext>
            </a:extLst>
          </p:cNvPr>
          <p:cNvSpPr/>
          <p:nvPr/>
        </p:nvSpPr>
        <p:spPr>
          <a:xfrm>
            <a:off x="1979421" y="1861611"/>
            <a:ext cx="141097" cy="14109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400">
              <a:solidFill>
                <a:schemeClr val="bg1"/>
              </a:solidFill>
              <a:latin typeface="+mj-ea"/>
              <a:ea typeface="+mj-ea"/>
            </a:endParaRPr>
          </a:p>
        </p:txBody>
      </p:sp>
      <p:sp>
        <p:nvSpPr>
          <p:cNvPr id="36" name="文本框 35">
            <a:extLst>
              <a:ext uri="{FF2B5EF4-FFF2-40B4-BE49-F238E27FC236}">
                <a16:creationId xmlns:a16="http://schemas.microsoft.com/office/drawing/2014/main" id="{3A7F7E58-6BFE-42A6-AD2D-80D4BD608566}"/>
              </a:ext>
            </a:extLst>
          </p:cNvPr>
          <p:cNvSpPr txBox="1"/>
          <p:nvPr/>
        </p:nvSpPr>
        <p:spPr>
          <a:xfrm>
            <a:off x="2292286" y="1598967"/>
            <a:ext cx="1769715" cy="307777"/>
          </a:xfrm>
          <a:prstGeom prst="rect">
            <a:avLst/>
          </a:prstGeom>
          <a:noFill/>
        </p:spPr>
        <p:txBody>
          <a:bodyPr wrap="none" lIns="0" tIns="0" rIns="0" bIns="0" rtlCol="0" anchor="t">
            <a:spAutoFit/>
          </a:bodyPr>
          <a:lstStyle/>
          <a:p>
            <a:r>
              <a:rPr lang="en-US" altLang="zh-CN" sz="2000" dirty="0">
                <a:solidFill>
                  <a:schemeClr val="accent1"/>
                </a:solidFill>
                <a:latin typeface="+mj-ea"/>
                <a:ea typeface="+mj-ea"/>
              </a:rPr>
              <a:t>01.</a:t>
            </a:r>
            <a:r>
              <a:rPr lang="zh-CN" altLang="en-US" sz="2000" dirty="0">
                <a:solidFill>
                  <a:schemeClr val="accent1"/>
                </a:solidFill>
                <a:latin typeface="+mj-ea"/>
                <a:ea typeface="+mj-ea"/>
              </a:rPr>
              <a:t> 关键词标题</a:t>
            </a:r>
          </a:p>
        </p:txBody>
      </p:sp>
    </p:spTree>
    <p:custDataLst>
      <p:tags r:id="rId2"/>
    </p:custDataLst>
    <p:extLst>
      <p:ext uri="{BB962C8B-B14F-4D97-AF65-F5344CB8AC3E}">
        <p14:creationId xmlns:p14="http://schemas.microsoft.com/office/powerpoint/2010/main" val="2376304516"/>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a:extLst>
              <a:ext uri="{FF2B5EF4-FFF2-40B4-BE49-F238E27FC236}">
                <a16:creationId xmlns:a16="http://schemas.microsoft.com/office/drawing/2014/main" id="{F682F9CF-E3FB-4D92-9D66-55D5787E1B96}"/>
              </a:ext>
            </a:extLst>
          </p:cNvPr>
          <p:cNvSpPr/>
          <p:nvPr/>
        </p:nvSpPr>
        <p:spPr>
          <a:xfrm>
            <a:off x="0" y="0"/>
            <a:ext cx="12192000" cy="47879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p>
        </p:txBody>
      </p:sp>
      <p:sp>
        <p:nvSpPr>
          <p:cNvPr id="11" name="文本框 10">
            <a:extLst>
              <a:ext uri="{FF2B5EF4-FFF2-40B4-BE49-F238E27FC236}">
                <a16:creationId xmlns:a16="http://schemas.microsoft.com/office/drawing/2014/main" id="{E4393356-E9A7-46D9-B5F5-0D21EC991A29}"/>
              </a:ext>
            </a:extLst>
          </p:cNvPr>
          <p:cNvSpPr txBox="1"/>
          <p:nvPr/>
        </p:nvSpPr>
        <p:spPr>
          <a:xfrm>
            <a:off x="1941017" y="1812068"/>
            <a:ext cx="8309967" cy="1107996"/>
          </a:xfrm>
          <a:prstGeom prst="rect">
            <a:avLst/>
          </a:prstGeom>
          <a:noFill/>
        </p:spPr>
        <p:txBody>
          <a:bodyPr wrap="none" lIns="0" tIns="0" rIns="0" bIns="0" rtlCol="0" anchor="t">
            <a:spAutoFit/>
          </a:bodyPr>
          <a:lstStyle/>
          <a:p>
            <a:pPr algn="ctr"/>
            <a:r>
              <a:rPr lang="zh-CN" altLang="en-US" sz="7200" dirty="0">
                <a:solidFill>
                  <a:schemeClr val="bg1"/>
                </a:solidFill>
                <a:latin typeface="+mj-ea"/>
                <a:ea typeface="+mj-ea"/>
              </a:rPr>
              <a:t>输入你的封面大标题</a:t>
            </a:r>
          </a:p>
        </p:txBody>
      </p:sp>
      <p:sp>
        <p:nvSpPr>
          <p:cNvPr id="12" name="文本框 11">
            <a:extLst>
              <a:ext uri="{FF2B5EF4-FFF2-40B4-BE49-F238E27FC236}">
                <a16:creationId xmlns:a16="http://schemas.microsoft.com/office/drawing/2014/main" id="{08D1ED60-C0E7-408E-A5AA-59B489440FCB}"/>
              </a:ext>
            </a:extLst>
          </p:cNvPr>
          <p:cNvSpPr txBox="1"/>
          <p:nvPr/>
        </p:nvSpPr>
        <p:spPr>
          <a:xfrm>
            <a:off x="4095451" y="1274144"/>
            <a:ext cx="4001095" cy="369332"/>
          </a:xfrm>
          <a:prstGeom prst="rect">
            <a:avLst/>
          </a:prstGeom>
          <a:noFill/>
        </p:spPr>
        <p:txBody>
          <a:bodyPr wrap="none" lIns="0" tIns="0" rIns="0" bIns="0" rtlCol="0" anchor="t">
            <a:spAutoFit/>
          </a:bodyPr>
          <a:lstStyle/>
          <a:p>
            <a:pPr algn="ctr"/>
            <a:r>
              <a:rPr lang="zh-CN" altLang="en-US" sz="2400" dirty="0">
                <a:solidFill>
                  <a:schemeClr val="bg1"/>
                </a:solidFill>
                <a:latin typeface="+mn-ea"/>
              </a:rPr>
              <a:t>输入你的副标题或大标题英文</a:t>
            </a:r>
          </a:p>
        </p:txBody>
      </p:sp>
      <p:cxnSp>
        <p:nvCxnSpPr>
          <p:cNvPr id="14" name="直接连接符 13">
            <a:extLst>
              <a:ext uri="{FF2B5EF4-FFF2-40B4-BE49-F238E27FC236}">
                <a16:creationId xmlns:a16="http://schemas.microsoft.com/office/drawing/2014/main" id="{99FDF5DC-EAFA-4C3B-B052-660243EB047F}"/>
              </a:ext>
            </a:extLst>
          </p:cNvPr>
          <p:cNvCxnSpPr/>
          <p:nvPr/>
        </p:nvCxnSpPr>
        <p:spPr>
          <a:xfrm flipH="1">
            <a:off x="2029968" y="1464596"/>
            <a:ext cx="1901952"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 name="直接连接符 14">
            <a:extLst>
              <a:ext uri="{FF2B5EF4-FFF2-40B4-BE49-F238E27FC236}">
                <a16:creationId xmlns:a16="http://schemas.microsoft.com/office/drawing/2014/main" id="{C6CC629A-E754-4728-BB95-563C56597B63}"/>
              </a:ext>
            </a:extLst>
          </p:cNvPr>
          <p:cNvCxnSpPr/>
          <p:nvPr/>
        </p:nvCxnSpPr>
        <p:spPr>
          <a:xfrm flipH="1">
            <a:off x="8284464" y="1464596"/>
            <a:ext cx="1901952"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grpSp>
        <p:nvGrpSpPr>
          <p:cNvPr id="18" name="组合 17">
            <a:extLst>
              <a:ext uri="{FF2B5EF4-FFF2-40B4-BE49-F238E27FC236}">
                <a16:creationId xmlns:a16="http://schemas.microsoft.com/office/drawing/2014/main" id="{FC799265-AC15-410F-82A2-679AB60B288F}"/>
              </a:ext>
            </a:extLst>
          </p:cNvPr>
          <p:cNvGrpSpPr/>
          <p:nvPr/>
        </p:nvGrpSpPr>
        <p:grpSpPr>
          <a:xfrm>
            <a:off x="4331702" y="3267535"/>
            <a:ext cx="1475214" cy="246221"/>
            <a:chOff x="4095451" y="4640913"/>
            <a:chExt cx="1475214" cy="246221"/>
          </a:xfrm>
        </p:grpSpPr>
        <p:sp>
          <p:nvSpPr>
            <p:cNvPr id="16" name="矩形 15">
              <a:extLst>
                <a:ext uri="{FF2B5EF4-FFF2-40B4-BE49-F238E27FC236}">
                  <a16:creationId xmlns:a16="http://schemas.microsoft.com/office/drawing/2014/main" id="{74C493E7-1B47-4349-BC5B-BF3163490795}"/>
                </a:ext>
              </a:extLst>
            </p:cNvPr>
            <p:cNvSpPr/>
            <p:nvPr/>
          </p:nvSpPr>
          <p:spPr>
            <a:xfrm>
              <a:off x="4095451" y="4672584"/>
              <a:ext cx="164592" cy="1645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solidFill>
                  <a:schemeClr val="bg1"/>
                </a:solidFill>
              </a:endParaRPr>
            </a:p>
          </p:txBody>
        </p:sp>
        <p:sp>
          <p:nvSpPr>
            <p:cNvPr id="17" name="文本框 16">
              <a:extLst>
                <a:ext uri="{FF2B5EF4-FFF2-40B4-BE49-F238E27FC236}">
                  <a16:creationId xmlns:a16="http://schemas.microsoft.com/office/drawing/2014/main" id="{B804F6AA-7656-4EF8-84F0-3B3FB5CF0922}"/>
                </a:ext>
              </a:extLst>
            </p:cNvPr>
            <p:cNvSpPr txBox="1"/>
            <p:nvPr/>
          </p:nvSpPr>
          <p:spPr>
            <a:xfrm>
              <a:off x="4408487" y="4640913"/>
              <a:ext cx="1162178" cy="246221"/>
            </a:xfrm>
            <a:prstGeom prst="rect">
              <a:avLst/>
            </a:prstGeom>
            <a:noFill/>
          </p:spPr>
          <p:txBody>
            <a:bodyPr wrap="none" lIns="0" tIns="0" rIns="0" bIns="0" rtlCol="0" anchor="t">
              <a:spAutoFit/>
            </a:bodyPr>
            <a:lstStyle/>
            <a:p>
              <a:r>
                <a:rPr lang="zh-CN" altLang="en-US" sz="1600" dirty="0">
                  <a:solidFill>
                    <a:schemeClr val="bg1"/>
                  </a:solidFill>
                  <a:latin typeface="+mn-ea"/>
                </a:rPr>
                <a:t>汇报人：</a:t>
              </a:r>
              <a:r>
                <a:rPr lang="en-US" altLang="zh-CN" sz="1600" dirty="0">
                  <a:solidFill>
                    <a:schemeClr val="bg1"/>
                  </a:solidFill>
                  <a:latin typeface="+mn-ea"/>
                </a:rPr>
                <a:t>xxx</a:t>
              </a:r>
              <a:endParaRPr lang="zh-CN" altLang="en-US" sz="1600" dirty="0">
                <a:solidFill>
                  <a:schemeClr val="bg1"/>
                </a:solidFill>
                <a:latin typeface="+mn-ea"/>
              </a:endParaRPr>
            </a:p>
          </p:txBody>
        </p:sp>
      </p:grpSp>
      <p:grpSp>
        <p:nvGrpSpPr>
          <p:cNvPr id="19" name="组合 18">
            <a:extLst>
              <a:ext uri="{FF2B5EF4-FFF2-40B4-BE49-F238E27FC236}">
                <a16:creationId xmlns:a16="http://schemas.microsoft.com/office/drawing/2014/main" id="{482B1619-178E-45D1-BC39-C5F4314075B6}"/>
              </a:ext>
            </a:extLst>
          </p:cNvPr>
          <p:cNvGrpSpPr/>
          <p:nvPr/>
        </p:nvGrpSpPr>
        <p:grpSpPr>
          <a:xfrm>
            <a:off x="6590270" y="3267535"/>
            <a:ext cx="1270029" cy="246221"/>
            <a:chOff x="4095451" y="4640913"/>
            <a:chExt cx="1270029" cy="246221"/>
          </a:xfrm>
        </p:grpSpPr>
        <p:sp>
          <p:nvSpPr>
            <p:cNvPr id="20" name="矩形 19">
              <a:extLst>
                <a:ext uri="{FF2B5EF4-FFF2-40B4-BE49-F238E27FC236}">
                  <a16:creationId xmlns:a16="http://schemas.microsoft.com/office/drawing/2014/main" id="{3A1AE345-38CE-49BE-9E58-2C20078777A3}"/>
                </a:ext>
              </a:extLst>
            </p:cNvPr>
            <p:cNvSpPr/>
            <p:nvPr/>
          </p:nvSpPr>
          <p:spPr>
            <a:xfrm>
              <a:off x="4095451" y="4672584"/>
              <a:ext cx="164592" cy="1645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solidFill>
                  <a:schemeClr val="bg1"/>
                </a:solidFill>
              </a:endParaRPr>
            </a:p>
          </p:txBody>
        </p:sp>
        <p:sp>
          <p:nvSpPr>
            <p:cNvPr id="21" name="文本框 20">
              <a:extLst>
                <a:ext uri="{FF2B5EF4-FFF2-40B4-BE49-F238E27FC236}">
                  <a16:creationId xmlns:a16="http://schemas.microsoft.com/office/drawing/2014/main" id="{FCC3031D-C171-43E7-B549-82FC96054817}"/>
                </a:ext>
              </a:extLst>
            </p:cNvPr>
            <p:cNvSpPr txBox="1"/>
            <p:nvPr/>
          </p:nvSpPr>
          <p:spPr>
            <a:xfrm>
              <a:off x="4408487" y="4640913"/>
              <a:ext cx="956993" cy="246221"/>
            </a:xfrm>
            <a:prstGeom prst="rect">
              <a:avLst/>
            </a:prstGeom>
            <a:noFill/>
          </p:spPr>
          <p:txBody>
            <a:bodyPr wrap="none" lIns="0" tIns="0" rIns="0" bIns="0" rtlCol="0" anchor="t">
              <a:spAutoFit/>
            </a:bodyPr>
            <a:lstStyle/>
            <a:p>
              <a:r>
                <a:rPr lang="zh-CN" altLang="en-US" sz="1600" dirty="0">
                  <a:solidFill>
                    <a:schemeClr val="bg1"/>
                  </a:solidFill>
                  <a:latin typeface="+mn-ea"/>
                </a:rPr>
                <a:t>单位：</a:t>
              </a:r>
              <a:r>
                <a:rPr lang="en-US" altLang="zh-CN" sz="1600" dirty="0">
                  <a:solidFill>
                    <a:schemeClr val="bg1"/>
                  </a:solidFill>
                  <a:latin typeface="+mn-ea"/>
                </a:rPr>
                <a:t>xxx</a:t>
              </a:r>
              <a:endParaRPr lang="zh-CN" altLang="en-US" sz="1600" dirty="0">
                <a:solidFill>
                  <a:schemeClr val="bg1"/>
                </a:solidFill>
                <a:latin typeface="+mn-ea"/>
              </a:endParaRPr>
            </a:p>
          </p:txBody>
        </p:sp>
      </p:grpSp>
      <p:cxnSp>
        <p:nvCxnSpPr>
          <p:cNvPr id="23" name="直接连接符 22">
            <a:extLst>
              <a:ext uri="{FF2B5EF4-FFF2-40B4-BE49-F238E27FC236}">
                <a16:creationId xmlns:a16="http://schemas.microsoft.com/office/drawing/2014/main" id="{CE4614EF-B88F-4347-B526-58ECE7F96194}"/>
              </a:ext>
            </a:extLst>
          </p:cNvPr>
          <p:cNvCxnSpPr>
            <a:cxnSpLocks/>
          </p:cNvCxnSpPr>
          <p:nvPr/>
        </p:nvCxnSpPr>
        <p:spPr>
          <a:xfrm flipH="1">
            <a:off x="2029968" y="2988596"/>
            <a:ext cx="8156448"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34145689"/>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2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任意形状 9">
            <a:extLst>
              <a:ext uri="{FF2B5EF4-FFF2-40B4-BE49-F238E27FC236}">
                <a16:creationId xmlns:a16="http://schemas.microsoft.com/office/drawing/2014/main" id="{79C0392D-8AB4-4C9C-BB47-E593C645F444}"/>
              </a:ext>
            </a:extLst>
          </p:cNvPr>
          <p:cNvSpPr/>
          <p:nvPr/>
        </p:nvSpPr>
        <p:spPr>
          <a:xfrm>
            <a:off x="0" y="6457950"/>
            <a:ext cx="12192000" cy="400050"/>
          </a:xfrm>
          <a:custGeom>
            <a:avLst/>
            <a:gdLst>
              <a:gd name="connsiteX0" fmla="*/ 12192000 w 12192000"/>
              <a:gd name="connsiteY0" fmla="*/ 0 h 329410"/>
              <a:gd name="connsiteX1" fmla="*/ 12192000 w 12192000"/>
              <a:gd name="connsiteY1" fmla="*/ 329410 h 329410"/>
              <a:gd name="connsiteX2" fmla="*/ 0 w 12192000"/>
              <a:gd name="connsiteY2" fmla="*/ 329410 h 329410"/>
              <a:gd name="connsiteX3" fmla="*/ 0 w 12192000"/>
              <a:gd name="connsiteY3" fmla="*/ 29375 h 329410"/>
              <a:gd name="connsiteX4" fmla="*/ 577089 w 12192000"/>
              <a:gd name="connsiteY4" fmla="*/ 49593 h 329410"/>
              <a:gd name="connsiteX5" fmla="*/ 5704114 w 12192000"/>
              <a:gd name="connsiteY5" fmla="*/ 124873 h 329410"/>
              <a:gd name="connsiteX6" fmla="*/ 11982536 w 12192000"/>
              <a:gd name="connsiteY6" fmla="*/ 9255 h 329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329410">
                <a:moveTo>
                  <a:pt x="12192000" y="0"/>
                </a:moveTo>
                <a:lnTo>
                  <a:pt x="12192000" y="329410"/>
                </a:lnTo>
                <a:lnTo>
                  <a:pt x="0" y="329410"/>
                </a:lnTo>
                <a:lnTo>
                  <a:pt x="0" y="29375"/>
                </a:lnTo>
                <a:lnTo>
                  <a:pt x="577089" y="49593"/>
                </a:lnTo>
                <a:cubicBezTo>
                  <a:pt x="2152931" y="98068"/>
                  <a:pt x="3885480" y="124873"/>
                  <a:pt x="5704114" y="124873"/>
                </a:cubicBezTo>
                <a:cubicBezTo>
                  <a:pt x="7977407" y="124873"/>
                  <a:pt x="10116192" y="82990"/>
                  <a:pt x="11982536" y="9255"/>
                </a:cubicBezTo>
                <a:close/>
              </a:path>
            </a:pathLst>
          </a:custGeom>
          <a:solidFill>
            <a:schemeClr val="accent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zh-CN" altLang="en-US"/>
          </a:p>
        </p:txBody>
      </p:sp>
      <p:sp>
        <p:nvSpPr>
          <p:cNvPr id="11" name="椭圆 10">
            <a:extLst>
              <a:ext uri="{FF2B5EF4-FFF2-40B4-BE49-F238E27FC236}">
                <a16:creationId xmlns:a16="http://schemas.microsoft.com/office/drawing/2014/main" id="{B1AD4698-20B7-429F-A22F-41E4CE0A144B}"/>
              </a:ext>
            </a:extLst>
          </p:cNvPr>
          <p:cNvSpPr/>
          <p:nvPr/>
        </p:nvSpPr>
        <p:spPr>
          <a:xfrm>
            <a:off x="4288536" y="3274354"/>
            <a:ext cx="3630168" cy="640080"/>
          </a:xfrm>
          <a:prstGeom prst="ellipse">
            <a:avLst/>
          </a:prstGeom>
          <a:gradFill>
            <a:gsLst>
              <a:gs pos="0">
                <a:schemeClr val="accent1">
                  <a:alpha val="0"/>
                </a:schemeClr>
              </a:gs>
              <a:gs pos="100000">
                <a:schemeClr val="accent1">
                  <a:alpha val="33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27" name="椭圆 26">
            <a:extLst>
              <a:ext uri="{FF2B5EF4-FFF2-40B4-BE49-F238E27FC236}">
                <a16:creationId xmlns:a16="http://schemas.microsoft.com/office/drawing/2014/main" id="{47B99D9F-3BC8-4F52-8765-229B2316C749}"/>
              </a:ext>
            </a:extLst>
          </p:cNvPr>
          <p:cNvSpPr/>
          <p:nvPr/>
        </p:nvSpPr>
        <p:spPr>
          <a:xfrm>
            <a:off x="3867912" y="3546367"/>
            <a:ext cx="4471416" cy="640080"/>
          </a:xfrm>
          <a:prstGeom prst="ellipse">
            <a:avLst/>
          </a:prstGeom>
          <a:gradFill>
            <a:gsLst>
              <a:gs pos="10000">
                <a:schemeClr val="accent1">
                  <a:alpha val="0"/>
                </a:schemeClr>
              </a:gs>
              <a:gs pos="100000">
                <a:schemeClr val="accent1">
                  <a:alpha val="12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12" name="椭圆 11">
            <a:extLst>
              <a:ext uri="{FF2B5EF4-FFF2-40B4-BE49-F238E27FC236}">
                <a16:creationId xmlns:a16="http://schemas.microsoft.com/office/drawing/2014/main" id="{51998309-60E6-4072-9636-2E171D0EFDD5}"/>
              </a:ext>
            </a:extLst>
          </p:cNvPr>
          <p:cNvSpPr/>
          <p:nvPr/>
        </p:nvSpPr>
        <p:spPr>
          <a:xfrm>
            <a:off x="5646420" y="2681148"/>
            <a:ext cx="914400" cy="9144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30" name="dna-scheme_72281">
            <a:extLst>
              <a:ext uri="{FF2B5EF4-FFF2-40B4-BE49-F238E27FC236}">
                <a16:creationId xmlns:a16="http://schemas.microsoft.com/office/drawing/2014/main" id="{68725C38-AAEF-4E44-B559-494B96E91F7F}"/>
              </a:ext>
            </a:extLst>
          </p:cNvPr>
          <p:cNvSpPr/>
          <p:nvPr/>
        </p:nvSpPr>
        <p:spPr>
          <a:xfrm>
            <a:off x="5834102" y="2871354"/>
            <a:ext cx="523795" cy="520429"/>
          </a:xfrm>
          <a:custGeom>
            <a:avLst/>
            <a:gdLst>
              <a:gd name="T0" fmla="*/ 8079 w 8242"/>
              <a:gd name="T1" fmla="*/ 2177 h 8201"/>
              <a:gd name="T2" fmla="*/ 7493 w 8242"/>
              <a:gd name="T3" fmla="*/ 2177 h 8201"/>
              <a:gd name="T4" fmla="*/ 7402 w 8242"/>
              <a:gd name="T5" fmla="*/ 2260 h 8201"/>
              <a:gd name="T6" fmla="*/ 5982 w 8242"/>
              <a:gd name="T7" fmla="*/ 840 h 8201"/>
              <a:gd name="T8" fmla="*/ 6065 w 8242"/>
              <a:gd name="T9" fmla="*/ 749 h 8201"/>
              <a:gd name="T10" fmla="*/ 6065 w 8242"/>
              <a:gd name="T11" fmla="*/ 163 h 8201"/>
              <a:gd name="T12" fmla="*/ 5478 w 8242"/>
              <a:gd name="T13" fmla="*/ 163 h 8201"/>
              <a:gd name="T14" fmla="*/ 4914 w 8242"/>
              <a:gd name="T15" fmla="*/ 2319 h 8201"/>
              <a:gd name="T16" fmla="*/ 2903 w 8242"/>
              <a:gd name="T17" fmla="*/ 2903 h 8201"/>
              <a:gd name="T18" fmla="*/ 2319 w 8242"/>
              <a:gd name="T19" fmla="*/ 4914 h 8201"/>
              <a:gd name="T20" fmla="*/ 163 w 8242"/>
              <a:gd name="T21" fmla="*/ 5478 h 8201"/>
              <a:gd name="T22" fmla="*/ 163 w 8242"/>
              <a:gd name="T23" fmla="*/ 6065 h 8201"/>
              <a:gd name="T24" fmla="*/ 456 w 8242"/>
              <a:gd name="T25" fmla="*/ 6187 h 8201"/>
              <a:gd name="T26" fmla="*/ 749 w 8242"/>
              <a:gd name="T27" fmla="*/ 6065 h 8201"/>
              <a:gd name="T28" fmla="*/ 840 w 8242"/>
              <a:gd name="T29" fmla="*/ 5982 h 8201"/>
              <a:gd name="T30" fmla="*/ 2260 w 8242"/>
              <a:gd name="T31" fmla="*/ 7402 h 8201"/>
              <a:gd name="T32" fmla="*/ 2177 w 8242"/>
              <a:gd name="T33" fmla="*/ 7493 h 8201"/>
              <a:gd name="T34" fmla="*/ 2177 w 8242"/>
              <a:gd name="T35" fmla="*/ 8079 h 8201"/>
              <a:gd name="T36" fmla="*/ 2470 w 8242"/>
              <a:gd name="T37" fmla="*/ 8201 h 8201"/>
              <a:gd name="T38" fmla="*/ 2764 w 8242"/>
              <a:gd name="T39" fmla="*/ 8079 h 8201"/>
              <a:gd name="T40" fmla="*/ 3328 w 8242"/>
              <a:gd name="T41" fmla="*/ 5923 h 8201"/>
              <a:gd name="T42" fmla="*/ 5339 w 8242"/>
              <a:gd name="T43" fmla="*/ 5339 h 8201"/>
              <a:gd name="T44" fmla="*/ 5923 w 8242"/>
              <a:gd name="T45" fmla="*/ 3328 h 8201"/>
              <a:gd name="T46" fmla="*/ 8079 w 8242"/>
              <a:gd name="T47" fmla="*/ 2764 h 8201"/>
              <a:gd name="T48" fmla="*/ 8079 w 8242"/>
              <a:gd name="T49" fmla="*/ 2177 h 8201"/>
              <a:gd name="T50" fmla="*/ 5062 w 8242"/>
              <a:gd name="T51" fmla="*/ 3179 h 8201"/>
              <a:gd name="T52" fmla="*/ 4951 w 8242"/>
              <a:gd name="T53" fmla="*/ 4499 h 8201"/>
              <a:gd name="T54" fmla="*/ 3743 w 8242"/>
              <a:gd name="T55" fmla="*/ 3291 h 8201"/>
              <a:gd name="T56" fmla="*/ 5062 w 8242"/>
              <a:gd name="T57" fmla="*/ 3179 h 8201"/>
              <a:gd name="T58" fmla="*/ 1470 w 8242"/>
              <a:gd name="T59" fmla="*/ 5708 h 8201"/>
              <a:gd name="T60" fmla="*/ 2464 w 8242"/>
              <a:gd name="T61" fmla="*/ 5778 h 8201"/>
              <a:gd name="T62" fmla="*/ 2534 w 8242"/>
              <a:gd name="T63" fmla="*/ 6772 h 8201"/>
              <a:gd name="T64" fmla="*/ 1470 w 8242"/>
              <a:gd name="T65" fmla="*/ 5708 h 8201"/>
              <a:gd name="T66" fmla="*/ 3179 w 8242"/>
              <a:gd name="T67" fmla="*/ 5063 h 8201"/>
              <a:gd name="T68" fmla="*/ 3291 w 8242"/>
              <a:gd name="T69" fmla="*/ 3743 h 8201"/>
              <a:gd name="T70" fmla="*/ 4499 w 8242"/>
              <a:gd name="T71" fmla="*/ 4951 h 8201"/>
              <a:gd name="T72" fmla="*/ 3179 w 8242"/>
              <a:gd name="T73" fmla="*/ 5063 h 8201"/>
              <a:gd name="T74" fmla="*/ 5778 w 8242"/>
              <a:gd name="T75" fmla="*/ 2464 h 8201"/>
              <a:gd name="T76" fmla="*/ 5708 w 8242"/>
              <a:gd name="T77" fmla="*/ 1470 h 8201"/>
              <a:gd name="T78" fmla="*/ 6772 w 8242"/>
              <a:gd name="T79" fmla="*/ 2534 h 8201"/>
              <a:gd name="T80" fmla="*/ 5778 w 8242"/>
              <a:gd name="T81" fmla="*/ 2464 h 8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242" h="8201">
                <a:moveTo>
                  <a:pt x="8079" y="2177"/>
                </a:moveTo>
                <a:cubicBezTo>
                  <a:pt x="7917" y="2015"/>
                  <a:pt x="7655" y="2015"/>
                  <a:pt x="7493" y="2177"/>
                </a:cubicBezTo>
                <a:cubicBezTo>
                  <a:pt x="7463" y="2207"/>
                  <a:pt x="7433" y="2234"/>
                  <a:pt x="7402" y="2260"/>
                </a:cubicBezTo>
                <a:lnTo>
                  <a:pt x="5982" y="840"/>
                </a:lnTo>
                <a:cubicBezTo>
                  <a:pt x="6008" y="809"/>
                  <a:pt x="6035" y="779"/>
                  <a:pt x="6065" y="749"/>
                </a:cubicBezTo>
                <a:cubicBezTo>
                  <a:pt x="6227" y="587"/>
                  <a:pt x="6227" y="325"/>
                  <a:pt x="6065" y="163"/>
                </a:cubicBezTo>
                <a:cubicBezTo>
                  <a:pt x="5903" y="0"/>
                  <a:pt x="5640" y="0"/>
                  <a:pt x="5478" y="163"/>
                </a:cubicBezTo>
                <a:cubicBezTo>
                  <a:pt x="4816" y="825"/>
                  <a:pt x="4808" y="1592"/>
                  <a:pt x="4914" y="2319"/>
                </a:cubicBezTo>
                <a:cubicBezTo>
                  <a:pt x="4231" y="2237"/>
                  <a:pt x="3521" y="2285"/>
                  <a:pt x="2903" y="2903"/>
                </a:cubicBezTo>
                <a:cubicBezTo>
                  <a:pt x="2285" y="3521"/>
                  <a:pt x="2237" y="4231"/>
                  <a:pt x="2319" y="4914"/>
                </a:cubicBezTo>
                <a:cubicBezTo>
                  <a:pt x="1592" y="4808"/>
                  <a:pt x="825" y="4816"/>
                  <a:pt x="163" y="5478"/>
                </a:cubicBezTo>
                <a:cubicBezTo>
                  <a:pt x="0" y="5640"/>
                  <a:pt x="0" y="5903"/>
                  <a:pt x="163" y="6065"/>
                </a:cubicBezTo>
                <a:cubicBezTo>
                  <a:pt x="244" y="6146"/>
                  <a:pt x="350" y="6187"/>
                  <a:pt x="456" y="6187"/>
                </a:cubicBezTo>
                <a:cubicBezTo>
                  <a:pt x="562" y="6187"/>
                  <a:pt x="668" y="6146"/>
                  <a:pt x="749" y="6065"/>
                </a:cubicBezTo>
                <a:cubicBezTo>
                  <a:pt x="779" y="6035"/>
                  <a:pt x="809" y="6008"/>
                  <a:pt x="840" y="5982"/>
                </a:cubicBezTo>
                <a:lnTo>
                  <a:pt x="2260" y="7402"/>
                </a:lnTo>
                <a:cubicBezTo>
                  <a:pt x="2234" y="7433"/>
                  <a:pt x="2207" y="7463"/>
                  <a:pt x="2177" y="7493"/>
                </a:cubicBezTo>
                <a:cubicBezTo>
                  <a:pt x="2015" y="7655"/>
                  <a:pt x="2015" y="7917"/>
                  <a:pt x="2177" y="8079"/>
                </a:cubicBezTo>
                <a:cubicBezTo>
                  <a:pt x="2258" y="8160"/>
                  <a:pt x="2364" y="8201"/>
                  <a:pt x="2470" y="8201"/>
                </a:cubicBezTo>
                <a:cubicBezTo>
                  <a:pt x="2576" y="8201"/>
                  <a:pt x="2683" y="8160"/>
                  <a:pt x="2764" y="8079"/>
                </a:cubicBezTo>
                <a:cubicBezTo>
                  <a:pt x="3426" y="7417"/>
                  <a:pt x="3434" y="6650"/>
                  <a:pt x="3328" y="5923"/>
                </a:cubicBezTo>
                <a:cubicBezTo>
                  <a:pt x="4011" y="6005"/>
                  <a:pt x="4721" y="5957"/>
                  <a:pt x="5339" y="5339"/>
                </a:cubicBezTo>
                <a:cubicBezTo>
                  <a:pt x="5957" y="4721"/>
                  <a:pt x="6005" y="4011"/>
                  <a:pt x="5923" y="3328"/>
                </a:cubicBezTo>
                <a:cubicBezTo>
                  <a:pt x="6650" y="3434"/>
                  <a:pt x="7417" y="3426"/>
                  <a:pt x="8079" y="2764"/>
                </a:cubicBezTo>
                <a:cubicBezTo>
                  <a:pt x="8242" y="2602"/>
                  <a:pt x="8242" y="2339"/>
                  <a:pt x="8079" y="2177"/>
                </a:cubicBezTo>
                <a:close/>
                <a:moveTo>
                  <a:pt x="5062" y="3179"/>
                </a:moveTo>
                <a:cubicBezTo>
                  <a:pt x="5151" y="3727"/>
                  <a:pt x="5166" y="4141"/>
                  <a:pt x="4951" y="4499"/>
                </a:cubicBezTo>
                <a:lnTo>
                  <a:pt x="3743" y="3291"/>
                </a:lnTo>
                <a:cubicBezTo>
                  <a:pt x="4101" y="3076"/>
                  <a:pt x="4515" y="3091"/>
                  <a:pt x="5062" y="3179"/>
                </a:cubicBezTo>
                <a:close/>
                <a:moveTo>
                  <a:pt x="1470" y="5708"/>
                </a:moveTo>
                <a:cubicBezTo>
                  <a:pt x="1753" y="5671"/>
                  <a:pt x="2076" y="5711"/>
                  <a:pt x="2464" y="5778"/>
                </a:cubicBezTo>
                <a:cubicBezTo>
                  <a:pt x="2531" y="6166"/>
                  <a:pt x="2571" y="6489"/>
                  <a:pt x="2534" y="6772"/>
                </a:cubicBezTo>
                <a:lnTo>
                  <a:pt x="1470" y="5708"/>
                </a:lnTo>
                <a:close/>
                <a:moveTo>
                  <a:pt x="3179" y="5063"/>
                </a:moveTo>
                <a:cubicBezTo>
                  <a:pt x="3091" y="4515"/>
                  <a:pt x="3076" y="4101"/>
                  <a:pt x="3291" y="3743"/>
                </a:cubicBezTo>
                <a:lnTo>
                  <a:pt x="4499" y="4951"/>
                </a:lnTo>
                <a:cubicBezTo>
                  <a:pt x="4141" y="5166"/>
                  <a:pt x="3727" y="5151"/>
                  <a:pt x="3179" y="5063"/>
                </a:cubicBezTo>
                <a:close/>
                <a:moveTo>
                  <a:pt x="5778" y="2464"/>
                </a:moveTo>
                <a:cubicBezTo>
                  <a:pt x="5711" y="2076"/>
                  <a:pt x="5671" y="1753"/>
                  <a:pt x="5708" y="1470"/>
                </a:cubicBezTo>
                <a:lnTo>
                  <a:pt x="6772" y="2534"/>
                </a:lnTo>
                <a:cubicBezTo>
                  <a:pt x="6489" y="2571"/>
                  <a:pt x="6166" y="2531"/>
                  <a:pt x="5778" y="2464"/>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矩形: 圆角 12">
            <a:extLst>
              <a:ext uri="{FF2B5EF4-FFF2-40B4-BE49-F238E27FC236}">
                <a16:creationId xmlns:a16="http://schemas.microsoft.com/office/drawing/2014/main" id="{314C6BB8-CEFC-40FF-9BF9-6DF90C4C1A03}"/>
              </a:ext>
            </a:extLst>
          </p:cNvPr>
          <p:cNvSpPr/>
          <p:nvPr/>
        </p:nvSpPr>
        <p:spPr>
          <a:xfrm>
            <a:off x="5282184" y="979551"/>
            <a:ext cx="1627632" cy="576072"/>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a:solidFill>
                  <a:schemeClr val="bg1"/>
                </a:solidFill>
                <a:latin typeface="+mj-ea"/>
                <a:ea typeface="+mj-ea"/>
              </a:rPr>
              <a:t>关键词标题</a:t>
            </a:r>
          </a:p>
        </p:txBody>
      </p:sp>
      <p:sp>
        <p:nvSpPr>
          <p:cNvPr id="31" name="文本框 30">
            <a:extLst>
              <a:ext uri="{FF2B5EF4-FFF2-40B4-BE49-F238E27FC236}">
                <a16:creationId xmlns:a16="http://schemas.microsoft.com/office/drawing/2014/main" id="{5E347A99-D107-4ED1-8841-563696142478}"/>
              </a:ext>
            </a:extLst>
          </p:cNvPr>
          <p:cNvSpPr txBox="1"/>
          <p:nvPr/>
        </p:nvSpPr>
        <p:spPr>
          <a:xfrm>
            <a:off x="4084510" y="1625997"/>
            <a:ext cx="4038220" cy="426079"/>
          </a:xfrm>
          <a:prstGeom prst="rect">
            <a:avLst/>
          </a:prstGeom>
          <a:noFill/>
        </p:spPr>
        <p:txBody>
          <a:bodyPr wrap="square" lIns="0" tIns="0" rIns="0" bIns="0" rtlCol="0" anchor="t">
            <a:spAutoFit/>
          </a:bodyPr>
          <a:lstStyle/>
          <a:p>
            <a:pPr algn="ctr">
              <a:lnSpc>
                <a:spcPct val="130000"/>
              </a:lnSpc>
            </a:pPr>
            <a:r>
              <a:rPr lang="en-US" altLang="zh-CN" sz="1100" b="0" dirty="0">
                <a:solidFill>
                  <a:schemeClr val="tx1">
                    <a:lumMod val="75000"/>
                    <a:lumOff val="25000"/>
                  </a:schemeClr>
                </a:solidFill>
                <a:effectLst/>
                <a:latin typeface="+mn-ea"/>
              </a:rPr>
              <a:t>Lorem ipsum dolor sit amet, consectetur adipisicing elit, sed do eiusmod tempor</a:t>
            </a:r>
            <a:endParaRPr lang="zh-CN" altLang="en-US" sz="1100" b="0" dirty="0">
              <a:solidFill>
                <a:schemeClr val="tx1">
                  <a:lumMod val="75000"/>
                  <a:lumOff val="25000"/>
                </a:schemeClr>
              </a:solidFill>
              <a:effectLst/>
              <a:latin typeface="+mn-ea"/>
            </a:endParaRPr>
          </a:p>
        </p:txBody>
      </p:sp>
      <p:sp>
        <p:nvSpPr>
          <p:cNvPr id="32" name="矩形: 圆角 31">
            <a:extLst>
              <a:ext uri="{FF2B5EF4-FFF2-40B4-BE49-F238E27FC236}">
                <a16:creationId xmlns:a16="http://schemas.microsoft.com/office/drawing/2014/main" id="{70C5D764-64FE-4C91-9973-A3E8F69179FA}"/>
              </a:ext>
            </a:extLst>
          </p:cNvPr>
          <p:cNvSpPr/>
          <p:nvPr/>
        </p:nvSpPr>
        <p:spPr>
          <a:xfrm>
            <a:off x="1447990" y="2962517"/>
            <a:ext cx="1627632" cy="576072"/>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dirty="0">
                <a:solidFill>
                  <a:schemeClr val="bg1"/>
                </a:solidFill>
                <a:latin typeface="+mj-ea"/>
                <a:ea typeface="+mj-ea"/>
              </a:rPr>
              <a:t>关键词标题</a:t>
            </a:r>
          </a:p>
        </p:txBody>
      </p:sp>
      <p:sp>
        <p:nvSpPr>
          <p:cNvPr id="33" name="文本框 32">
            <a:extLst>
              <a:ext uri="{FF2B5EF4-FFF2-40B4-BE49-F238E27FC236}">
                <a16:creationId xmlns:a16="http://schemas.microsoft.com/office/drawing/2014/main" id="{892DAF17-57F8-41DC-B53F-1AC1650742A5}"/>
              </a:ext>
            </a:extLst>
          </p:cNvPr>
          <p:cNvSpPr txBox="1"/>
          <p:nvPr/>
        </p:nvSpPr>
        <p:spPr>
          <a:xfrm>
            <a:off x="881252" y="3608963"/>
            <a:ext cx="2776348" cy="426079"/>
          </a:xfrm>
          <a:prstGeom prst="rect">
            <a:avLst/>
          </a:prstGeom>
          <a:noFill/>
        </p:spPr>
        <p:txBody>
          <a:bodyPr wrap="square" lIns="0" tIns="0" rIns="0" bIns="0" rtlCol="0" anchor="t">
            <a:spAutoFit/>
          </a:bodyPr>
          <a:lstStyle/>
          <a:p>
            <a:pPr algn="ctr">
              <a:lnSpc>
                <a:spcPct val="130000"/>
              </a:lnSpc>
            </a:pPr>
            <a:r>
              <a:rPr lang="en-US" altLang="zh-CN" sz="1100" b="0" dirty="0">
                <a:solidFill>
                  <a:schemeClr val="tx1">
                    <a:lumMod val="75000"/>
                    <a:lumOff val="25000"/>
                  </a:schemeClr>
                </a:solidFill>
                <a:effectLst/>
                <a:latin typeface="+mn-ea"/>
              </a:rPr>
              <a:t>Lorem ipsum dolor sit amet, consectetur adipisicing elit, sed do eiusmod tempor</a:t>
            </a:r>
            <a:endParaRPr lang="zh-CN" altLang="en-US" sz="1100" b="0" dirty="0">
              <a:solidFill>
                <a:schemeClr val="tx1">
                  <a:lumMod val="75000"/>
                  <a:lumOff val="25000"/>
                </a:schemeClr>
              </a:solidFill>
              <a:effectLst/>
              <a:latin typeface="+mn-ea"/>
            </a:endParaRPr>
          </a:p>
        </p:txBody>
      </p:sp>
      <p:sp>
        <p:nvSpPr>
          <p:cNvPr id="34" name="矩形: 圆角 33">
            <a:extLst>
              <a:ext uri="{FF2B5EF4-FFF2-40B4-BE49-F238E27FC236}">
                <a16:creationId xmlns:a16="http://schemas.microsoft.com/office/drawing/2014/main" id="{85CF6FCF-FB26-47AC-9CA0-ADCF5E112467}"/>
              </a:ext>
            </a:extLst>
          </p:cNvPr>
          <p:cNvSpPr/>
          <p:nvPr/>
        </p:nvSpPr>
        <p:spPr>
          <a:xfrm>
            <a:off x="8906066" y="2962517"/>
            <a:ext cx="1627632" cy="576072"/>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a:solidFill>
                  <a:schemeClr val="bg1"/>
                </a:solidFill>
                <a:latin typeface="+mj-ea"/>
                <a:ea typeface="+mj-ea"/>
              </a:rPr>
              <a:t>关键词标题</a:t>
            </a:r>
          </a:p>
        </p:txBody>
      </p:sp>
      <p:sp>
        <p:nvSpPr>
          <p:cNvPr id="35" name="文本框 34">
            <a:extLst>
              <a:ext uri="{FF2B5EF4-FFF2-40B4-BE49-F238E27FC236}">
                <a16:creationId xmlns:a16="http://schemas.microsoft.com/office/drawing/2014/main" id="{B544C1A1-7842-4B56-8697-7FC9A937F740}"/>
              </a:ext>
            </a:extLst>
          </p:cNvPr>
          <p:cNvSpPr txBox="1"/>
          <p:nvPr/>
        </p:nvSpPr>
        <p:spPr>
          <a:xfrm>
            <a:off x="8339328" y="3608963"/>
            <a:ext cx="2776348" cy="426079"/>
          </a:xfrm>
          <a:prstGeom prst="rect">
            <a:avLst/>
          </a:prstGeom>
          <a:noFill/>
        </p:spPr>
        <p:txBody>
          <a:bodyPr wrap="square" lIns="0" tIns="0" rIns="0" bIns="0" rtlCol="0" anchor="t">
            <a:spAutoFit/>
          </a:bodyPr>
          <a:lstStyle/>
          <a:p>
            <a:pPr algn="ctr">
              <a:lnSpc>
                <a:spcPct val="130000"/>
              </a:lnSpc>
            </a:pPr>
            <a:r>
              <a:rPr lang="en-US" altLang="zh-CN" sz="1100" b="0" dirty="0">
                <a:solidFill>
                  <a:schemeClr val="tx1">
                    <a:lumMod val="75000"/>
                    <a:lumOff val="25000"/>
                  </a:schemeClr>
                </a:solidFill>
                <a:effectLst/>
                <a:latin typeface="+mn-ea"/>
              </a:rPr>
              <a:t>Lorem ipsum dolor sit amet, consectetur adipisicing elit, sed do eiusmod tempor</a:t>
            </a:r>
            <a:endParaRPr lang="zh-CN" altLang="en-US" sz="1100" b="0" dirty="0">
              <a:solidFill>
                <a:schemeClr val="tx1">
                  <a:lumMod val="75000"/>
                  <a:lumOff val="25000"/>
                </a:schemeClr>
              </a:solidFill>
              <a:effectLst/>
              <a:latin typeface="+mn-ea"/>
            </a:endParaRPr>
          </a:p>
        </p:txBody>
      </p:sp>
      <p:sp>
        <p:nvSpPr>
          <p:cNvPr id="37" name="矩形: 圆角 36">
            <a:extLst>
              <a:ext uri="{FF2B5EF4-FFF2-40B4-BE49-F238E27FC236}">
                <a16:creationId xmlns:a16="http://schemas.microsoft.com/office/drawing/2014/main" id="{6AB16672-6AB1-47D0-812F-F55CFC958184}"/>
              </a:ext>
            </a:extLst>
          </p:cNvPr>
          <p:cNvSpPr/>
          <p:nvPr/>
        </p:nvSpPr>
        <p:spPr>
          <a:xfrm>
            <a:off x="5282184" y="4782892"/>
            <a:ext cx="1627632" cy="576072"/>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dirty="0">
                <a:solidFill>
                  <a:schemeClr val="bg1"/>
                </a:solidFill>
                <a:latin typeface="+mj-ea"/>
                <a:ea typeface="+mj-ea"/>
              </a:rPr>
              <a:t>关键词标题</a:t>
            </a:r>
          </a:p>
        </p:txBody>
      </p:sp>
      <p:sp>
        <p:nvSpPr>
          <p:cNvPr id="38" name="文本框 37">
            <a:extLst>
              <a:ext uri="{FF2B5EF4-FFF2-40B4-BE49-F238E27FC236}">
                <a16:creationId xmlns:a16="http://schemas.microsoft.com/office/drawing/2014/main" id="{B3E15FE9-D001-49D5-B442-0D5F38DE5CD9}"/>
              </a:ext>
            </a:extLst>
          </p:cNvPr>
          <p:cNvSpPr txBox="1"/>
          <p:nvPr/>
        </p:nvSpPr>
        <p:spPr>
          <a:xfrm>
            <a:off x="4084510" y="5429338"/>
            <a:ext cx="4038220" cy="426079"/>
          </a:xfrm>
          <a:prstGeom prst="rect">
            <a:avLst/>
          </a:prstGeom>
          <a:noFill/>
        </p:spPr>
        <p:txBody>
          <a:bodyPr wrap="square" lIns="0" tIns="0" rIns="0" bIns="0" rtlCol="0" anchor="t">
            <a:spAutoFit/>
          </a:bodyPr>
          <a:lstStyle/>
          <a:p>
            <a:pPr algn="ctr">
              <a:lnSpc>
                <a:spcPct val="130000"/>
              </a:lnSpc>
            </a:pPr>
            <a:r>
              <a:rPr lang="en-US" altLang="zh-CN" sz="1100" b="0" dirty="0">
                <a:solidFill>
                  <a:schemeClr val="tx1">
                    <a:lumMod val="75000"/>
                    <a:lumOff val="25000"/>
                  </a:schemeClr>
                </a:solidFill>
                <a:effectLst/>
                <a:latin typeface="+mn-ea"/>
              </a:rPr>
              <a:t>Lorem ipsum dolor sit amet, consectetur adipisicing elit, sed do eiusmod tempor</a:t>
            </a:r>
            <a:endParaRPr lang="zh-CN" altLang="en-US" sz="1100" b="0" dirty="0">
              <a:solidFill>
                <a:schemeClr val="tx1">
                  <a:lumMod val="75000"/>
                  <a:lumOff val="25000"/>
                </a:schemeClr>
              </a:solidFill>
              <a:effectLst/>
              <a:latin typeface="+mn-ea"/>
            </a:endParaRPr>
          </a:p>
        </p:txBody>
      </p:sp>
      <p:sp>
        <p:nvSpPr>
          <p:cNvPr id="14" name="箭头: V 形 13">
            <a:extLst>
              <a:ext uri="{FF2B5EF4-FFF2-40B4-BE49-F238E27FC236}">
                <a16:creationId xmlns:a16="http://schemas.microsoft.com/office/drawing/2014/main" id="{71DB46DA-0EC0-4C21-A349-4547B9FFDD6B}"/>
              </a:ext>
            </a:extLst>
          </p:cNvPr>
          <p:cNvSpPr/>
          <p:nvPr/>
        </p:nvSpPr>
        <p:spPr>
          <a:xfrm>
            <a:off x="3526123" y="3090141"/>
            <a:ext cx="311912" cy="311912"/>
          </a:xfrm>
          <a:prstGeom prst="chevr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39" name="箭头: V 形 38">
            <a:extLst>
              <a:ext uri="{FF2B5EF4-FFF2-40B4-BE49-F238E27FC236}">
                <a16:creationId xmlns:a16="http://schemas.microsoft.com/office/drawing/2014/main" id="{A3E7BEE4-3E0F-4623-92B0-69D55E1F30C9}"/>
              </a:ext>
            </a:extLst>
          </p:cNvPr>
          <p:cNvSpPr/>
          <p:nvPr/>
        </p:nvSpPr>
        <p:spPr>
          <a:xfrm flipH="1">
            <a:off x="8256429" y="3090141"/>
            <a:ext cx="311912" cy="311912"/>
          </a:xfrm>
          <a:prstGeom prst="chevr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43" name="箭头: V 形 42">
            <a:extLst>
              <a:ext uri="{FF2B5EF4-FFF2-40B4-BE49-F238E27FC236}">
                <a16:creationId xmlns:a16="http://schemas.microsoft.com/office/drawing/2014/main" id="{57C02B2C-406A-4128-BCFD-9F7BB4B0E1B6}"/>
              </a:ext>
            </a:extLst>
          </p:cNvPr>
          <p:cNvSpPr/>
          <p:nvPr/>
        </p:nvSpPr>
        <p:spPr>
          <a:xfrm rot="16200000" flipH="1">
            <a:off x="5940043" y="2201986"/>
            <a:ext cx="311912" cy="311912"/>
          </a:xfrm>
          <a:prstGeom prst="chevr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44" name="箭头: V 形 43">
            <a:extLst>
              <a:ext uri="{FF2B5EF4-FFF2-40B4-BE49-F238E27FC236}">
                <a16:creationId xmlns:a16="http://schemas.microsoft.com/office/drawing/2014/main" id="{429654F5-CEFF-4E18-BD9A-F4617571F8B9}"/>
              </a:ext>
            </a:extLst>
          </p:cNvPr>
          <p:cNvSpPr/>
          <p:nvPr/>
        </p:nvSpPr>
        <p:spPr>
          <a:xfrm rot="5400000" flipH="1" flipV="1">
            <a:off x="5940043" y="4302504"/>
            <a:ext cx="311912" cy="311912"/>
          </a:xfrm>
          <a:prstGeom prst="chevr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Tree>
    <p:custDataLst>
      <p:tags r:id="rId2"/>
    </p:custDataLst>
    <p:extLst>
      <p:ext uri="{BB962C8B-B14F-4D97-AF65-F5344CB8AC3E}">
        <p14:creationId xmlns:p14="http://schemas.microsoft.com/office/powerpoint/2010/main" val="34820613"/>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2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任意形状 9">
            <a:extLst>
              <a:ext uri="{FF2B5EF4-FFF2-40B4-BE49-F238E27FC236}">
                <a16:creationId xmlns:a16="http://schemas.microsoft.com/office/drawing/2014/main" id="{79C0392D-8AB4-4C9C-BB47-E593C645F444}"/>
              </a:ext>
            </a:extLst>
          </p:cNvPr>
          <p:cNvSpPr/>
          <p:nvPr/>
        </p:nvSpPr>
        <p:spPr>
          <a:xfrm>
            <a:off x="0" y="6457950"/>
            <a:ext cx="12192000" cy="400050"/>
          </a:xfrm>
          <a:custGeom>
            <a:avLst/>
            <a:gdLst>
              <a:gd name="connsiteX0" fmla="*/ 12192000 w 12192000"/>
              <a:gd name="connsiteY0" fmla="*/ 0 h 329410"/>
              <a:gd name="connsiteX1" fmla="*/ 12192000 w 12192000"/>
              <a:gd name="connsiteY1" fmla="*/ 329410 h 329410"/>
              <a:gd name="connsiteX2" fmla="*/ 0 w 12192000"/>
              <a:gd name="connsiteY2" fmla="*/ 329410 h 329410"/>
              <a:gd name="connsiteX3" fmla="*/ 0 w 12192000"/>
              <a:gd name="connsiteY3" fmla="*/ 29375 h 329410"/>
              <a:gd name="connsiteX4" fmla="*/ 577089 w 12192000"/>
              <a:gd name="connsiteY4" fmla="*/ 49593 h 329410"/>
              <a:gd name="connsiteX5" fmla="*/ 5704114 w 12192000"/>
              <a:gd name="connsiteY5" fmla="*/ 124873 h 329410"/>
              <a:gd name="connsiteX6" fmla="*/ 11982536 w 12192000"/>
              <a:gd name="connsiteY6" fmla="*/ 9255 h 329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329410">
                <a:moveTo>
                  <a:pt x="12192000" y="0"/>
                </a:moveTo>
                <a:lnTo>
                  <a:pt x="12192000" y="329410"/>
                </a:lnTo>
                <a:lnTo>
                  <a:pt x="0" y="329410"/>
                </a:lnTo>
                <a:lnTo>
                  <a:pt x="0" y="29375"/>
                </a:lnTo>
                <a:lnTo>
                  <a:pt x="577089" y="49593"/>
                </a:lnTo>
                <a:cubicBezTo>
                  <a:pt x="2152931" y="98068"/>
                  <a:pt x="3885480" y="124873"/>
                  <a:pt x="5704114" y="124873"/>
                </a:cubicBezTo>
                <a:cubicBezTo>
                  <a:pt x="7977407" y="124873"/>
                  <a:pt x="10116192" y="82990"/>
                  <a:pt x="11982536" y="9255"/>
                </a:cubicBezTo>
                <a:close/>
              </a:path>
            </a:pathLst>
          </a:custGeom>
          <a:solidFill>
            <a:schemeClr val="accent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zh-CN" altLang="en-US"/>
          </a:p>
        </p:txBody>
      </p:sp>
      <p:sp>
        <p:nvSpPr>
          <p:cNvPr id="11" name="椭圆 10">
            <a:extLst>
              <a:ext uri="{FF2B5EF4-FFF2-40B4-BE49-F238E27FC236}">
                <a16:creationId xmlns:a16="http://schemas.microsoft.com/office/drawing/2014/main" id="{B1AD4698-20B7-429F-A22F-41E4CE0A144B}"/>
              </a:ext>
            </a:extLst>
          </p:cNvPr>
          <p:cNvSpPr/>
          <p:nvPr/>
        </p:nvSpPr>
        <p:spPr>
          <a:xfrm>
            <a:off x="4288536" y="2212485"/>
            <a:ext cx="3630168" cy="640080"/>
          </a:xfrm>
          <a:prstGeom prst="ellipse">
            <a:avLst/>
          </a:prstGeom>
          <a:gradFill>
            <a:gsLst>
              <a:gs pos="0">
                <a:schemeClr val="accent1">
                  <a:alpha val="0"/>
                </a:schemeClr>
              </a:gs>
              <a:gs pos="100000">
                <a:schemeClr val="accent1">
                  <a:alpha val="33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27" name="椭圆 26">
            <a:extLst>
              <a:ext uri="{FF2B5EF4-FFF2-40B4-BE49-F238E27FC236}">
                <a16:creationId xmlns:a16="http://schemas.microsoft.com/office/drawing/2014/main" id="{47B99D9F-3BC8-4F52-8765-229B2316C749}"/>
              </a:ext>
            </a:extLst>
          </p:cNvPr>
          <p:cNvSpPr/>
          <p:nvPr/>
        </p:nvSpPr>
        <p:spPr>
          <a:xfrm>
            <a:off x="3867912" y="2484498"/>
            <a:ext cx="4471416" cy="640080"/>
          </a:xfrm>
          <a:prstGeom prst="ellipse">
            <a:avLst/>
          </a:prstGeom>
          <a:gradFill>
            <a:gsLst>
              <a:gs pos="10000">
                <a:schemeClr val="accent1">
                  <a:alpha val="0"/>
                </a:schemeClr>
              </a:gs>
              <a:gs pos="100000">
                <a:schemeClr val="accent1">
                  <a:alpha val="12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12" name="椭圆 11">
            <a:extLst>
              <a:ext uri="{FF2B5EF4-FFF2-40B4-BE49-F238E27FC236}">
                <a16:creationId xmlns:a16="http://schemas.microsoft.com/office/drawing/2014/main" id="{51998309-60E6-4072-9636-2E171D0EFDD5}"/>
              </a:ext>
            </a:extLst>
          </p:cNvPr>
          <p:cNvSpPr/>
          <p:nvPr/>
        </p:nvSpPr>
        <p:spPr>
          <a:xfrm>
            <a:off x="5646420" y="1619279"/>
            <a:ext cx="914400" cy="9144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30" name="dna-scheme_72281">
            <a:extLst>
              <a:ext uri="{FF2B5EF4-FFF2-40B4-BE49-F238E27FC236}">
                <a16:creationId xmlns:a16="http://schemas.microsoft.com/office/drawing/2014/main" id="{68725C38-AAEF-4E44-B559-494B96E91F7F}"/>
              </a:ext>
            </a:extLst>
          </p:cNvPr>
          <p:cNvSpPr/>
          <p:nvPr/>
        </p:nvSpPr>
        <p:spPr>
          <a:xfrm>
            <a:off x="5834102" y="1809485"/>
            <a:ext cx="523795" cy="520429"/>
          </a:xfrm>
          <a:custGeom>
            <a:avLst/>
            <a:gdLst>
              <a:gd name="T0" fmla="*/ 8079 w 8242"/>
              <a:gd name="T1" fmla="*/ 2177 h 8201"/>
              <a:gd name="T2" fmla="*/ 7493 w 8242"/>
              <a:gd name="T3" fmla="*/ 2177 h 8201"/>
              <a:gd name="T4" fmla="*/ 7402 w 8242"/>
              <a:gd name="T5" fmla="*/ 2260 h 8201"/>
              <a:gd name="T6" fmla="*/ 5982 w 8242"/>
              <a:gd name="T7" fmla="*/ 840 h 8201"/>
              <a:gd name="T8" fmla="*/ 6065 w 8242"/>
              <a:gd name="T9" fmla="*/ 749 h 8201"/>
              <a:gd name="T10" fmla="*/ 6065 w 8242"/>
              <a:gd name="T11" fmla="*/ 163 h 8201"/>
              <a:gd name="T12" fmla="*/ 5478 w 8242"/>
              <a:gd name="T13" fmla="*/ 163 h 8201"/>
              <a:gd name="T14" fmla="*/ 4914 w 8242"/>
              <a:gd name="T15" fmla="*/ 2319 h 8201"/>
              <a:gd name="T16" fmla="*/ 2903 w 8242"/>
              <a:gd name="T17" fmla="*/ 2903 h 8201"/>
              <a:gd name="T18" fmla="*/ 2319 w 8242"/>
              <a:gd name="T19" fmla="*/ 4914 h 8201"/>
              <a:gd name="T20" fmla="*/ 163 w 8242"/>
              <a:gd name="T21" fmla="*/ 5478 h 8201"/>
              <a:gd name="T22" fmla="*/ 163 w 8242"/>
              <a:gd name="T23" fmla="*/ 6065 h 8201"/>
              <a:gd name="T24" fmla="*/ 456 w 8242"/>
              <a:gd name="T25" fmla="*/ 6187 h 8201"/>
              <a:gd name="T26" fmla="*/ 749 w 8242"/>
              <a:gd name="T27" fmla="*/ 6065 h 8201"/>
              <a:gd name="T28" fmla="*/ 840 w 8242"/>
              <a:gd name="T29" fmla="*/ 5982 h 8201"/>
              <a:gd name="T30" fmla="*/ 2260 w 8242"/>
              <a:gd name="T31" fmla="*/ 7402 h 8201"/>
              <a:gd name="T32" fmla="*/ 2177 w 8242"/>
              <a:gd name="T33" fmla="*/ 7493 h 8201"/>
              <a:gd name="T34" fmla="*/ 2177 w 8242"/>
              <a:gd name="T35" fmla="*/ 8079 h 8201"/>
              <a:gd name="T36" fmla="*/ 2470 w 8242"/>
              <a:gd name="T37" fmla="*/ 8201 h 8201"/>
              <a:gd name="T38" fmla="*/ 2764 w 8242"/>
              <a:gd name="T39" fmla="*/ 8079 h 8201"/>
              <a:gd name="T40" fmla="*/ 3328 w 8242"/>
              <a:gd name="T41" fmla="*/ 5923 h 8201"/>
              <a:gd name="T42" fmla="*/ 5339 w 8242"/>
              <a:gd name="T43" fmla="*/ 5339 h 8201"/>
              <a:gd name="T44" fmla="*/ 5923 w 8242"/>
              <a:gd name="T45" fmla="*/ 3328 h 8201"/>
              <a:gd name="T46" fmla="*/ 8079 w 8242"/>
              <a:gd name="T47" fmla="*/ 2764 h 8201"/>
              <a:gd name="T48" fmla="*/ 8079 w 8242"/>
              <a:gd name="T49" fmla="*/ 2177 h 8201"/>
              <a:gd name="T50" fmla="*/ 5062 w 8242"/>
              <a:gd name="T51" fmla="*/ 3179 h 8201"/>
              <a:gd name="T52" fmla="*/ 4951 w 8242"/>
              <a:gd name="T53" fmla="*/ 4499 h 8201"/>
              <a:gd name="T54" fmla="*/ 3743 w 8242"/>
              <a:gd name="T55" fmla="*/ 3291 h 8201"/>
              <a:gd name="T56" fmla="*/ 5062 w 8242"/>
              <a:gd name="T57" fmla="*/ 3179 h 8201"/>
              <a:gd name="T58" fmla="*/ 1470 w 8242"/>
              <a:gd name="T59" fmla="*/ 5708 h 8201"/>
              <a:gd name="T60" fmla="*/ 2464 w 8242"/>
              <a:gd name="T61" fmla="*/ 5778 h 8201"/>
              <a:gd name="T62" fmla="*/ 2534 w 8242"/>
              <a:gd name="T63" fmla="*/ 6772 h 8201"/>
              <a:gd name="T64" fmla="*/ 1470 w 8242"/>
              <a:gd name="T65" fmla="*/ 5708 h 8201"/>
              <a:gd name="T66" fmla="*/ 3179 w 8242"/>
              <a:gd name="T67" fmla="*/ 5063 h 8201"/>
              <a:gd name="T68" fmla="*/ 3291 w 8242"/>
              <a:gd name="T69" fmla="*/ 3743 h 8201"/>
              <a:gd name="T70" fmla="*/ 4499 w 8242"/>
              <a:gd name="T71" fmla="*/ 4951 h 8201"/>
              <a:gd name="T72" fmla="*/ 3179 w 8242"/>
              <a:gd name="T73" fmla="*/ 5063 h 8201"/>
              <a:gd name="T74" fmla="*/ 5778 w 8242"/>
              <a:gd name="T75" fmla="*/ 2464 h 8201"/>
              <a:gd name="T76" fmla="*/ 5708 w 8242"/>
              <a:gd name="T77" fmla="*/ 1470 h 8201"/>
              <a:gd name="T78" fmla="*/ 6772 w 8242"/>
              <a:gd name="T79" fmla="*/ 2534 h 8201"/>
              <a:gd name="T80" fmla="*/ 5778 w 8242"/>
              <a:gd name="T81" fmla="*/ 2464 h 8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242" h="8201">
                <a:moveTo>
                  <a:pt x="8079" y="2177"/>
                </a:moveTo>
                <a:cubicBezTo>
                  <a:pt x="7917" y="2015"/>
                  <a:pt x="7655" y="2015"/>
                  <a:pt x="7493" y="2177"/>
                </a:cubicBezTo>
                <a:cubicBezTo>
                  <a:pt x="7463" y="2207"/>
                  <a:pt x="7433" y="2234"/>
                  <a:pt x="7402" y="2260"/>
                </a:cubicBezTo>
                <a:lnTo>
                  <a:pt x="5982" y="840"/>
                </a:lnTo>
                <a:cubicBezTo>
                  <a:pt x="6008" y="809"/>
                  <a:pt x="6035" y="779"/>
                  <a:pt x="6065" y="749"/>
                </a:cubicBezTo>
                <a:cubicBezTo>
                  <a:pt x="6227" y="587"/>
                  <a:pt x="6227" y="325"/>
                  <a:pt x="6065" y="163"/>
                </a:cubicBezTo>
                <a:cubicBezTo>
                  <a:pt x="5903" y="0"/>
                  <a:pt x="5640" y="0"/>
                  <a:pt x="5478" y="163"/>
                </a:cubicBezTo>
                <a:cubicBezTo>
                  <a:pt x="4816" y="825"/>
                  <a:pt x="4808" y="1592"/>
                  <a:pt x="4914" y="2319"/>
                </a:cubicBezTo>
                <a:cubicBezTo>
                  <a:pt x="4231" y="2237"/>
                  <a:pt x="3521" y="2285"/>
                  <a:pt x="2903" y="2903"/>
                </a:cubicBezTo>
                <a:cubicBezTo>
                  <a:pt x="2285" y="3521"/>
                  <a:pt x="2237" y="4231"/>
                  <a:pt x="2319" y="4914"/>
                </a:cubicBezTo>
                <a:cubicBezTo>
                  <a:pt x="1592" y="4808"/>
                  <a:pt x="825" y="4816"/>
                  <a:pt x="163" y="5478"/>
                </a:cubicBezTo>
                <a:cubicBezTo>
                  <a:pt x="0" y="5640"/>
                  <a:pt x="0" y="5903"/>
                  <a:pt x="163" y="6065"/>
                </a:cubicBezTo>
                <a:cubicBezTo>
                  <a:pt x="244" y="6146"/>
                  <a:pt x="350" y="6187"/>
                  <a:pt x="456" y="6187"/>
                </a:cubicBezTo>
                <a:cubicBezTo>
                  <a:pt x="562" y="6187"/>
                  <a:pt x="668" y="6146"/>
                  <a:pt x="749" y="6065"/>
                </a:cubicBezTo>
                <a:cubicBezTo>
                  <a:pt x="779" y="6035"/>
                  <a:pt x="809" y="6008"/>
                  <a:pt x="840" y="5982"/>
                </a:cubicBezTo>
                <a:lnTo>
                  <a:pt x="2260" y="7402"/>
                </a:lnTo>
                <a:cubicBezTo>
                  <a:pt x="2234" y="7433"/>
                  <a:pt x="2207" y="7463"/>
                  <a:pt x="2177" y="7493"/>
                </a:cubicBezTo>
                <a:cubicBezTo>
                  <a:pt x="2015" y="7655"/>
                  <a:pt x="2015" y="7917"/>
                  <a:pt x="2177" y="8079"/>
                </a:cubicBezTo>
                <a:cubicBezTo>
                  <a:pt x="2258" y="8160"/>
                  <a:pt x="2364" y="8201"/>
                  <a:pt x="2470" y="8201"/>
                </a:cubicBezTo>
                <a:cubicBezTo>
                  <a:pt x="2576" y="8201"/>
                  <a:pt x="2683" y="8160"/>
                  <a:pt x="2764" y="8079"/>
                </a:cubicBezTo>
                <a:cubicBezTo>
                  <a:pt x="3426" y="7417"/>
                  <a:pt x="3434" y="6650"/>
                  <a:pt x="3328" y="5923"/>
                </a:cubicBezTo>
                <a:cubicBezTo>
                  <a:pt x="4011" y="6005"/>
                  <a:pt x="4721" y="5957"/>
                  <a:pt x="5339" y="5339"/>
                </a:cubicBezTo>
                <a:cubicBezTo>
                  <a:pt x="5957" y="4721"/>
                  <a:pt x="6005" y="4011"/>
                  <a:pt x="5923" y="3328"/>
                </a:cubicBezTo>
                <a:cubicBezTo>
                  <a:pt x="6650" y="3434"/>
                  <a:pt x="7417" y="3426"/>
                  <a:pt x="8079" y="2764"/>
                </a:cubicBezTo>
                <a:cubicBezTo>
                  <a:pt x="8242" y="2602"/>
                  <a:pt x="8242" y="2339"/>
                  <a:pt x="8079" y="2177"/>
                </a:cubicBezTo>
                <a:close/>
                <a:moveTo>
                  <a:pt x="5062" y="3179"/>
                </a:moveTo>
                <a:cubicBezTo>
                  <a:pt x="5151" y="3727"/>
                  <a:pt x="5166" y="4141"/>
                  <a:pt x="4951" y="4499"/>
                </a:cubicBezTo>
                <a:lnTo>
                  <a:pt x="3743" y="3291"/>
                </a:lnTo>
                <a:cubicBezTo>
                  <a:pt x="4101" y="3076"/>
                  <a:pt x="4515" y="3091"/>
                  <a:pt x="5062" y="3179"/>
                </a:cubicBezTo>
                <a:close/>
                <a:moveTo>
                  <a:pt x="1470" y="5708"/>
                </a:moveTo>
                <a:cubicBezTo>
                  <a:pt x="1753" y="5671"/>
                  <a:pt x="2076" y="5711"/>
                  <a:pt x="2464" y="5778"/>
                </a:cubicBezTo>
                <a:cubicBezTo>
                  <a:pt x="2531" y="6166"/>
                  <a:pt x="2571" y="6489"/>
                  <a:pt x="2534" y="6772"/>
                </a:cubicBezTo>
                <a:lnTo>
                  <a:pt x="1470" y="5708"/>
                </a:lnTo>
                <a:close/>
                <a:moveTo>
                  <a:pt x="3179" y="5063"/>
                </a:moveTo>
                <a:cubicBezTo>
                  <a:pt x="3091" y="4515"/>
                  <a:pt x="3076" y="4101"/>
                  <a:pt x="3291" y="3743"/>
                </a:cubicBezTo>
                <a:lnTo>
                  <a:pt x="4499" y="4951"/>
                </a:lnTo>
                <a:cubicBezTo>
                  <a:pt x="4141" y="5166"/>
                  <a:pt x="3727" y="5151"/>
                  <a:pt x="3179" y="5063"/>
                </a:cubicBezTo>
                <a:close/>
                <a:moveTo>
                  <a:pt x="5778" y="2464"/>
                </a:moveTo>
                <a:cubicBezTo>
                  <a:pt x="5711" y="2076"/>
                  <a:pt x="5671" y="1753"/>
                  <a:pt x="5708" y="1470"/>
                </a:cubicBezTo>
                <a:lnTo>
                  <a:pt x="6772" y="2534"/>
                </a:lnTo>
                <a:cubicBezTo>
                  <a:pt x="6489" y="2571"/>
                  <a:pt x="6166" y="2531"/>
                  <a:pt x="5778" y="2464"/>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椭圆 22">
            <a:extLst>
              <a:ext uri="{FF2B5EF4-FFF2-40B4-BE49-F238E27FC236}">
                <a16:creationId xmlns:a16="http://schemas.microsoft.com/office/drawing/2014/main" id="{B283393C-75DB-45A8-95A2-6DFE26A73AA8}"/>
              </a:ext>
            </a:extLst>
          </p:cNvPr>
          <p:cNvSpPr/>
          <p:nvPr/>
        </p:nvSpPr>
        <p:spPr>
          <a:xfrm>
            <a:off x="2186940" y="1619279"/>
            <a:ext cx="7833360" cy="1862434"/>
          </a:xfrm>
          <a:prstGeom prst="ellipse">
            <a:avLst/>
          </a:prstGeom>
          <a:noFill/>
          <a:ln w="28575">
            <a:gradFill>
              <a:gsLst>
                <a:gs pos="39000">
                  <a:schemeClr val="accent1">
                    <a:alpha val="0"/>
                  </a:schemeClr>
                </a:gs>
                <a:gs pos="100000">
                  <a:schemeClr val="accent1"/>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7" name="椭圆 6">
            <a:extLst>
              <a:ext uri="{FF2B5EF4-FFF2-40B4-BE49-F238E27FC236}">
                <a16:creationId xmlns:a16="http://schemas.microsoft.com/office/drawing/2014/main" id="{DB2BC52F-738D-4EF4-8296-C0E4DD47AEFA}"/>
              </a:ext>
            </a:extLst>
          </p:cNvPr>
          <p:cNvSpPr/>
          <p:nvPr/>
        </p:nvSpPr>
        <p:spPr>
          <a:xfrm>
            <a:off x="2447925" y="2852565"/>
            <a:ext cx="169360" cy="16936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25" name="椭圆 24">
            <a:extLst>
              <a:ext uri="{FF2B5EF4-FFF2-40B4-BE49-F238E27FC236}">
                <a16:creationId xmlns:a16="http://schemas.microsoft.com/office/drawing/2014/main" id="{B9B37DFA-9681-4270-9264-7D7E2C553EF7}"/>
              </a:ext>
            </a:extLst>
          </p:cNvPr>
          <p:cNvSpPr/>
          <p:nvPr/>
        </p:nvSpPr>
        <p:spPr>
          <a:xfrm>
            <a:off x="3750074" y="3226024"/>
            <a:ext cx="169360" cy="16936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26" name="椭圆 25">
            <a:extLst>
              <a:ext uri="{FF2B5EF4-FFF2-40B4-BE49-F238E27FC236}">
                <a16:creationId xmlns:a16="http://schemas.microsoft.com/office/drawing/2014/main" id="{C2B4D38F-AA1C-4E05-959B-B96BD61431C3}"/>
              </a:ext>
            </a:extLst>
          </p:cNvPr>
          <p:cNvSpPr/>
          <p:nvPr/>
        </p:nvSpPr>
        <p:spPr>
          <a:xfrm>
            <a:off x="6011319" y="3416326"/>
            <a:ext cx="169360" cy="16936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29" name="椭圆 28">
            <a:extLst>
              <a:ext uri="{FF2B5EF4-FFF2-40B4-BE49-F238E27FC236}">
                <a16:creationId xmlns:a16="http://schemas.microsoft.com/office/drawing/2014/main" id="{696E5A37-D1F2-4CEC-A72D-42243C3A5340}"/>
              </a:ext>
            </a:extLst>
          </p:cNvPr>
          <p:cNvSpPr/>
          <p:nvPr/>
        </p:nvSpPr>
        <p:spPr>
          <a:xfrm>
            <a:off x="9589955" y="2852565"/>
            <a:ext cx="169360" cy="16936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36" name="矩形: 圆角 35">
            <a:extLst>
              <a:ext uri="{FF2B5EF4-FFF2-40B4-BE49-F238E27FC236}">
                <a16:creationId xmlns:a16="http://schemas.microsoft.com/office/drawing/2014/main" id="{F176A571-1254-4155-BEE2-DF68ABBDE39F}"/>
              </a:ext>
            </a:extLst>
          </p:cNvPr>
          <p:cNvSpPr/>
          <p:nvPr/>
        </p:nvSpPr>
        <p:spPr>
          <a:xfrm>
            <a:off x="1107049" y="2945531"/>
            <a:ext cx="1046520" cy="343424"/>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a:solidFill>
                  <a:schemeClr val="bg1"/>
                </a:solidFill>
                <a:latin typeface="+mj-ea"/>
                <a:ea typeface="+mj-ea"/>
              </a:rPr>
              <a:t>关键词标题</a:t>
            </a:r>
          </a:p>
        </p:txBody>
      </p:sp>
      <p:sp>
        <p:nvSpPr>
          <p:cNvPr id="40" name="文本框 39">
            <a:extLst>
              <a:ext uri="{FF2B5EF4-FFF2-40B4-BE49-F238E27FC236}">
                <a16:creationId xmlns:a16="http://schemas.microsoft.com/office/drawing/2014/main" id="{72AF48B9-51FD-43C6-93F2-A49E16A025CF}"/>
              </a:ext>
            </a:extLst>
          </p:cNvPr>
          <p:cNvSpPr txBox="1"/>
          <p:nvPr/>
        </p:nvSpPr>
        <p:spPr>
          <a:xfrm>
            <a:off x="824865" y="3475653"/>
            <a:ext cx="1610888" cy="866199"/>
          </a:xfrm>
          <a:prstGeom prst="rect">
            <a:avLst/>
          </a:prstGeom>
          <a:noFill/>
        </p:spPr>
        <p:txBody>
          <a:bodyPr wrap="square" lIns="0" tIns="0" rIns="0" bIns="0" rtlCol="0" anchor="t">
            <a:spAutoFit/>
          </a:bodyPr>
          <a:lstStyle/>
          <a:p>
            <a:pPr algn="ctr">
              <a:lnSpc>
                <a:spcPct val="130000"/>
              </a:lnSpc>
            </a:pPr>
            <a:r>
              <a:rPr lang="en-US" altLang="zh-CN" sz="1100" b="0" dirty="0">
                <a:solidFill>
                  <a:schemeClr val="tx1">
                    <a:lumMod val="75000"/>
                    <a:lumOff val="25000"/>
                  </a:schemeClr>
                </a:solidFill>
                <a:effectLst/>
                <a:latin typeface="+mn-ea"/>
              </a:rPr>
              <a:t>Lorem ipsum dolor sit amet, consectetur adipisicing elit, sed do eiusmod tempor</a:t>
            </a:r>
            <a:endParaRPr lang="zh-CN" altLang="en-US" sz="1100" b="0" dirty="0">
              <a:solidFill>
                <a:schemeClr val="tx1">
                  <a:lumMod val="75000"/>
                  <a:lumOff val="25000"/>
                </a:schemeClr>
              </a:solidFill>
              <a:effectLst/>
              <a:latin typeface="+mn-ea"/>
            </a:endParaRPr>
          </a:p>
        </p:txBody>
      </p:sp>
      <p:sp>
        <p:nvSpPr>
          <p:cNvPr id="45" name="矩形: 圆角 44">
            <a:extLst>
              <a:ext uri="{FF2B5EF4-FFF2-40B4-BE49-F238E27FC236}">
                <a16:creationId xmlns:a16="http://schemas.microsoft.com/office/drawing/2014/main" id="{9FF955D8-0895-4301-8DB6-DB4C8A43E595}"/>
              </a:ext>
            </a:extLst>
          </p:cNvPr>
          <p:cNvSpPr/>
          <p:nvPr/>
        </p:nvSpPr>
        <p:spPr>
          <a:xfrm>
            <a:off x="3287065" y="3646844"/>
            <a:ext cx="1046520" cy="343424"/>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a:solidFill>
                  <a:schemeClr val="bg1"/>
                </a:solidFill>
                <a:latin typeface="+mj-ea"/>
                <a:ea typeface="+mj-ea"/>
              </a:rPr>
              <a:t>关键词标题</a:t>
            </a:r>
          </a:p>
        </p:txBody>
      </p:sp>
      <p:sp>
        <p:nvSpPr>
          <p:cNvPr id="46" name="文本框 45">
            <a:extLst>
              <a:ext uri="{FF2B5EF4-FFF2-40B4-BE49-F238E27FC236}">
                <a16:creationId xmlns:a16="http://schemas.microsoft.com/office/drawing/2014/main" id="{D430695B-18AE-4393-B045-A50764072431}"/>
              </a:ext>
            </a:extLst>
          </p:cNvPr>
          <p:cNvSpPr txBox="1"/>
          <p:nvPr/>
        </p:nvSpPr>
        <p:spPr>
          <a:xfrm>
            <a:off x="3004881" y="4176966"/>
            <a:ext cx="1610888" cy="866199"/>
          </a:xfrm>
          <a:prstGeom prst="rect">
            <a:avLst/>
          </a:prstGeom>
          <a:noFill/>
        </p:spPr>
        <p:txBody>
          <a:bodyPr wrap="square" lIns="0" tIns="0" rIns="0" bIns="0" rtlCol="0" anchor="t">
            <a:spAutoFit/>
          </a:bodyPr>
          <a:lstStyle/>
          <a:p>
            <a:pPr algn="ctr">
              <a:lnSpc>
                <a:spcPct val="130000"/>
              </a:lnSpc>
            </a:pPr>
            <a:r>
              <a:rPr lang="en-US" altLang="zh-CN" sz="1100" b="0" dirty="0">
                <a:solidFill>
                  <a:schemeClr val="tx1">
                    <a:lumMod val="75000"/>
                    <a:lumOff val="25000"/>
                  </a:schemeClr>
                </a:solidFill>
                <a:effectLst/>
                <a:latin typeface="+mn-ea"/>
              </a:rPr>
              <a:t>Lorem ipsum dolor sit amet, consectetur adipisicing elit, sed do eiusmod tempor</a:t>
            </a:r>
            <a:endParaRPr lang="zh-CN" altLang="en-US" sz="1100" b="0" dirty="0">
              <a:solidFill>
                <a:schemeClr val="tx1">
                  <a:lumMod val="75000"/>
                  <a:lumOff val="25000"/>
                </a:schemeClr>
              </a:solidFill>
              <a:effectLst/>
              <a:latin typeface="+mn-ea"/>
            </a:endParaRPr>
          </a:p>
        </p:txBody>
      </p:sp>
      <p:sp>
        <p:nvSpPr>
          <p:cNvPr id="47" name="矩形: 圆角 46">
            <a:extLst>
              <a:ext uri="{FF2B5EF4-FFF2-40B4-BE49-F238E27FC236}">
                <a16:creationId xmlns:a16="http://schemas.microsoft.com/office/drawing/2014/main" id="{C7A270F9-96C1-48B3-87FB-0DC2C5EAEE25}"/>
              </a:ext>
            </a:extLst>
          </p:cNvPr>
          <p:cNvSpPr/>
          <p:nvPr/>
        </p:nvSpPr>
        <p:spPr>
          <a:xfrm>
            <a:off x="5597168" y="3833542"/>
            <a:ext cx="1046520" cy="343424"/>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a:solidFill>
                  <a:schemeClr val="bg1"/>
                </a:solidFill>
                <a:latin typeface="+mj-ea"/>
                <a:ea typeface="+mj-ea"/>
              </a:rPr>
              <a:t>关键词标题</a:t>
            </a:r>
          </a:p>
        </p:txBody>
      </p:sp>
      <p:sp>
        <p:nvSpPr>
          <p:cNvPr id="48" name="文本框 47">
            <a:extLst>
              <a:ext uri="{FF2B5EF4-FFF2-40B4-BE49-F238E27FC236}">
                <a16:creationId xmlns:a16="http://schemas.microsoft.com/office/drawing/2014/main" id="{714F9B81-EC50-4765-A2F3-AD833BE0513E}"/>
              </a:ext>
            </a:extLst>
          </p:cNvPr>
          <p:cNvSpPr txBox="1"/>
          <p:nvPr/>
        </p:nvSpPr>
        <p:spPr>
          <a:xfrm>
            <a:off x="5314984" y="4363664"/>
            <a:ext cx="1610888" cy="866199"/>
          </a:xfrm>
          <a:prstGeom prst="rect">
            <a:avLst/>
          </a:prstGeom>
          <a:noFill/>
        </p:spPr>
        <p:txBody>
          <a:bodyPr wrap="square" lIns="0" tIns="0" rIns="0" bIns="0" rtlCol="0" anchor="t">
            <a:spAutoFit/>
          </a:bodyPr>
          <a:lstStyle/>
          <a:p>
            <a:pPr algn="ctr">
              <a:lnSpc>
                <a:spcPct val="130000"/>
              </a:lnSpc>
            </a:pPr>
            <a:r>
              <a:rPr lang="en-US" altLang="zh-CN" sz="1100" b="0" dirty="0">
                <a:solidFill>
                  <a:schemeClr val="tx1">
                    <a:lumMod val="75000"/>
                    <a:lumOff val="25000"/>
                  </a:schemeClr>
                </a:solidFill>
                <a:effectLst/>
                <a:latin typeface="+mn-ea"/>
              </a:rPr>
              <a:t>Lorem ipsum dolor sit amet, consectetur adipisicing elit, sed do eiusmod tempor</a:t>
            </a:r>
            <a:endParaRPr lang="zh-CN" altLang="en-US" sz="1100" b="0" dirty="0">
              <a:solidFill>
                <a:schemeClr val="tx1">
                  <a:lumMod val="75000"/>
                  <a:lumOff val="25000"/>
                </a:schemeClr>
              </a:solidFill>
              <a:effectLst/>
              <a:latin typeface="+mn-ea"/>
            </a:endParaRPr>
          </a:p>
        </p:txBody>
      </p:sp>
      <p:sp>
        <p:nvSpPr>
          <p:cNvPr id="49" name="椭圆 48">
            <a:extLst>
              <a:ext uri="{FF2B5EF4-FFF2-40B4-BE49-F238E27FC236}">
                <a16:creationId xmlns:a16="http://schemas.microsoft.com/office/drawing/2014/main" id="{F0C6E887-1409-4CDF-934D-44232B284005}"/>
              </a:ext>
            </a:extLst>
          </p:cNvPr>
          <p:cNvSpPr/>
          <p:nvPr/>
        </p:nvSpPr>
        <p:spPr>
          <a:xfrm>
            <a:off x="8339328" y="3226024"/>
            <a:ext cx="169360" cy="16936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50" name="矩形: 圆角 49">
            <a:extLst>
              <a:ext uri="{FF2B5EF4-FFF2-40B4-BE49-F238E27FC236}">
                <a16:creationId xmlns:a16="http://schemas.microsoft.com/office/drawing/2014/main" id="{AEFB5027-AF7B-438B-8E9C-52995FC3E1B5}"/>
              </a:ext>
            </a:extLst>
          </p:cNvPr>
          <p:cNvSpPr/>
          <p:nvPr/>
        </p:nvSpPr>
        <p:spPr>
          <a:xfrm>
            <a:off x="7858413" y="3646844"/>
            <a:ext cx="1046520" cy="343424"/>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a:solidFill>
                  <a:schemeClr val="bg1"/>
                </a:solidFill>
                <a:latin typeface="+mj-ea"/>
                <a:ea typeface="+mj-ea"/>
              </a:rPr>
              <a:t>关键词标题</a:t>
            </a:r>
          </a:p>
        </p:txBody>
      </p:sp>
      <p:sp>
        <p:nvSpPr>
          <p:cNvPr id="51" name="文本框 50">
            <a:extLst>
              <a:ext uri="{FF2B5EF4-FFF2-40B4-BE49-F238E27FC236}">
                <a16:creationId xmlns:a16="http://schemas.microsoft.com/office/drawing/2014/main" id="{0E2F6CA1-8022-482D-92D7-446F90B3DCE8}"/>
              </a:ext>
            </a:extLst>
          </p:cNvPr>
          <p:cNvSpPr txBox="1"/>
          <p:nvPr/>
        </p:nvSpPr>
        <p:spPr>
          <a:xfrm>
            <a:off x="7576229" y="4176966"/>
            <a:ext cx="1610888" cy="866199"/>
          </a:xfrm>
          <a:prstGeom prst="rect">
            <a:avLst/>
          </a:prstGeom>
          <a:noFill/>
        </p:spPr>
        <p:txBody>
          <a:bodyPr wrap="square" lIns="0" tIns="0" rIns="0" bIns="0" rtlCol="0" anchor="t">
            <a:spAutoFit/>
          </a:bodyPr>
          <a:lstStyle/>
          <a:p>
            <a:pPr algn="ctr">
              <a:lnSpc>
                <a:spcPct val="130000"/>
              </a:lnSpc>
            </a:pPr>
            <a:r>
              <a:rPr lang="en-US" altLang="zh-CN" sz="1100" b="0" dirty="0">
                <a:solidFill>
                  <a:schemeClr val="tx1">
                    <a:lumMod val="75000"/>
                    <a:lumOff val="25000"/>
                  </a:schemeClr>
                </a:solidFill>
                <a:effectLst/>
                <a:latin typeface="+mn-ea"/>
              </a:rPr>
              <a:t>Lorem ipsum dolor sit amet, consectetur adipisicing elit, sed do eiusmod tempor</a:t>
            </a:r>
            <a:endParaRPr lang="zh-CN" altLang="en-US" sz="1100" b="0" dirty="0">
              <a:solidFill>
                <a:schemeClr val="tx1">
                  <a:lumMod val="75000"/>
                  <a:lumOff val="25000"/>
                </a:schemeClr>
              </a:solidFill>
              <a:effectLst/>
              <a:latin typeface="+mn-ea"/>
            </a:endParaRPr>
          </a:p>
        </p:txBody>
      </p:sp>
      <p:sp>
        <p:nvSpPr>
          <p:cNvPr id="52" name="矩形: 圆角 51">
            <a:extLst>
              <a:ext uri="{FF2B5EF4-FFF2-40B4-BE49-F238E27FC236}">
                <a16:creationId xmlns:a16="http://schemas.microsoft.com/office/drawing/2014/main" id="{26F88DAD-A07C-4457-B93B-0D8E82906F8D}"/>
              </a:ext>
            </a:extLst>
          </p:cNvPr>
          <p:cNvSpPr/>
          <p:nvPr/>
        </p:nvSpPr>
        <p:spPr>
          <a:xfrm>
            <a:off x="10053671" y="2945531"/>
            <a:ext cx="1046520" cy="343424"/>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a:solidFill>
                  <a:schemeClr val="bg1"/>
                </a:solidFill>
                <a:latin typeface="+mj-ea"/>
                <a:ea typeface="+mj-ea"/>
              </a:rPr>
              <a:t>关键词标题</a:t>
            </a:r>
          </a:p>
        </p:txBody>
      </p:sp>
      <p:sp>
        <p:nvSpPr>
          <p:cNvPr id="53" name="文本框 52">
            <a:extLst>
              <a:ext uri="{FF2B5EF4-FFF2-40B4-BE49-F238E27FC236}">
                <a16:creationId xmlns:a16="http://schemas.microsoft.com/office/drawing/2014/main" id="{8BAC0E4F-D884-4B48-8876-A76329CE26A8}"/>
              </a:ext>
            </a:extLst>
          </p:cNvPr>
          <p:cNvSpPr txBox="1"/>
          <p:nvPr/>
        </p:nvSpPr>
        <p:spPr>
          <a:xfrm>
            <a:off x="9771487" y="3475653"/>
            <a:ext cx="1610888" cy="866199"/>
          </a:xfrm>
          <a:prstGeom prst="rect">
            <a:avLst/>
          </a:prstGeom>
          <a:noFill/>
        </p:spPr>
        <p:txBody>
          <a:bodyPr wrap="square" lIns="0" tIns="0" rIns="0" bIns="0" rtlCol="0" anchor="t">
            <a:spAutoFit/>
          </a:bodyPr>
          <a:lstStyle/>
          <a:p>
            <a:pPr algn="ctr">
              <a:lnSpc>
                <a:spcPct val="130000"/>
              </a:lnSpc>
            </a:pPr>
            <a:r>
              <a:rPr lang="en-US" altLang="zh-CN" sz="1100" b="0" dirty="0">
                <a:solidFill>
                  <a:schemeClr val="tx1">
                    <a:lumMod val="75000"/>
                    <a:lumOff val="25000"/>
                  </a:schemeClr>
                </a:solidFill>
                <a:effectLst/>
                <a:latin typeface="+mn-ea"/>
              </a:rPr>
              <a:t>Lorem ipsum dolor sit amet, consectetur adipisicing elit, sed do eiusmod tempor</a:t>
            </a:r>
            <a:endParaRPr lang="zh-CN" altLang="en-US" sz="1100" b="0" dirty="0">
              <a:solidFill>
                <a:schemeClr val="tx1">
                  <a:lumMod val="75000"/>
                  <a:lumOff val="25000"/>
                </a:schemeClr>
              </a:solidFill>
              <a:effectLst/>
              <a:latin typeface="+mn-ea"/>
            </a:endParaRPr>
          </a:p>
        </p:txBody>
      </p:sp>
    </p:spTree>
    <p:custDataLst>
      <p:tags r:id="rId2"/>
    </p:custDataLst>
    <p:extLst>
      <p:ext uri="{BB962C8B-B14F-4D97-AF65-F5344CB8AC3E}">
        <p14:creationId xmlns:p14="http://schemas.microsoft.com/office/powerpoint/2010/main" val="59694952"/>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2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任意形状 9">
            <a:extLst>
              <a:ext uri="{FF2B5EF4-FFF2-40B4-BE49-F238E27FC236}">
                <a16:creationId xmlns:a16="http://schemas.microsoft.com/office/drawing/2014/main" id="{79C0392D-8AB4-4C9C-BB47-E593C645F444}"/>
              </a:ext>
            </a:extLst>
          </p:cNvPr>
          <p:cNvSpPr/>
          <p:nvPr/>
        </p:nvSpPr>
        <p:spPr>
          <a:xfrm>
            <a:off x="0" y="6457950"/>
            <a:ext cx="12192000" cy="400050"/>
          </a:xfrm>
          <a:custGeom>
            <a:avLst/>
            <a:gdLst>
              <a:gd name="connsiteX0" fmla="*/ 12192000 w 12192000"/>
              <a:gd name="connsiteY0" fmla="*/ 0 h 329410"/>
              <a:gd name="connsiteX1" fmla="*/ 12192000 w 12192000"/>
              <a:gd name="connsiteY1" fmla="*/ 329410 h 329410"/>
              <a:gd name="connsiteX2" fmla="*/ 0 w 12192000"/>
              <a:gd name="connsiteY2" fmla="*/ 329410 h 329410"/>
              <a:gd name="connsiteX3" fmla="*/ 0 w 12192000"/>
              <a:gd name="connsiteY3" fmla="*/ 29375 h 329410"/>
              <a:gd name="connsiteX4" fmla="*/ 577089 w 12192000"/>
              <a:gd name="connsiteY4" fmla="*/ 49593 h 329410"/>
              <a:gd name="connsiteX5" fmla="*/ 5704114 w 12192000"/>
              <a:gd name="connsiteY5" fmla="*/ 124873 h 329410"/>
              <a:gd name="connsiteX6" fmla="*/ 11982536 w 12192000"/>
              <a:gd name="connsiteY6" fmla="*/ 9255 h 329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329410">
                <a:moveTo>
                  <a:pt x="12192000" y="0"/>
                </a:moveTo>
                <a:lnTo>
                  <a:pt x="12192000" y="329410"/>
                </a:lnTo>
                <a:lnTo>
                  <a:pt x="0" y="329410"/>
                </a:lnTo>
                <a:lnTo>
                  <a:pt x="0" y="29375"/>
                </a:lnTo>
                <a:lnTo>
                  <a:pt x="577089" y="49593"/>
                </a:lnTo>
                <a:cubicBezTo>
                  <a:pt x="2152931" y="98068"/>
                  <a:pt x="3885480" y="124873"/>
                  <a:pt x="5704114" y="124873"/>
                </a:cubicBezTo>
                <a:cubicBezTo>
                  <a:pt x="7977407" y="124873"/>
                  <a:pt x="10116192" y="82990"/>
                  <a:pt x="11982536" y="9255"/>
                </a:cubicBezTo>
                <a:close/>
              </a:path>
            </a:pathLst>
          </a:custGeom>
          <a:solidFill>
            <a:schemeClr val="accent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zh-CN" altLang="en-US"/>
          </a:p>
        </p:txBody>
      </p:sp>
      <p:sp>
        <p:nvSpPr>
          <p:cNvPr id="8" name="椭圆 7">
            <a:extLst>
              <a:ext uri="{FF2B5EF4-FFF2-40B4-BE49-F238E27FC236}">
                <a16:creationId xmlns:a16="http://schemas.microsoft.com/office/drawing/2014/main" id="{285B4C52-2296-467C-AC6E-F78D0F047577}"/>
              </a:ext>
            </a:extLst>
          </p:cNvPr>
          <p:cNvSpPr/>
          <p:nvPr/>
        </p:nvSpPr>
        <p:spPr>
          <a:xfrm>
            <a:off x="5801273" y="2211200"/>
            <a:ext cx="2320928" cy="2320928"/>
          </a:xfrm>
          <a:prstGeom prst="ellipse">
            <a:avLst/>
          </a:prstGeom>
          <a:gradFill>
            <a:gsLst>
              <a:gs pos="0">
                <a:schemeClr val="accent1">
                  <a:alpha val="24000"/>
                </a:schemeClr>
              </a:gs>
              <a:gs pos="100000">
                <a:schemeClr val="accent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28" name="椭圆 27">
            <a:extLst>
              <a:ext uri="{FF2B5EF4-FFF2-40B4-BE49-F238E27FC236}">
                <a16:creationId xmlns:a16="http://schemas.microsoft.com/office/drawing/2014/main" id="{D76C9AD2-1DE1-4D3E-B9AC-6504FA559A7D}"/>
              </a:ext>
            </a:extLst>
          </p:cNvPr>
          <p:cNvSpPr/>
          <p:nvPr/>
        </p:nvSpPr>
        <p:spPr>
          <a:xfrm>
            <a:off x="4047083" y="2211200"/>
            <a:ext cx="2320928" cy="2320928"/>
          </a:xfrm>
          <a:prstGeom prst="ellipse">
            <a:avLst/>
          </a:prstGeom>
          <a:gradFill>
            <a:gsLst>
              <a:gs pos="0">
                <a:schemeClr val="accent1">
                  <a:alpha val="24000"/>
                </a:schemeClr>
              </a:gs>
              <a:gs pos="100000">
                <a:schemeClr val="accent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zh-CN" altLang="en-US" sz="1600">
              <a:solidFill>
                <a:schemeClr val="bg1"/>
              </a:solidFill>
              <a:latin typeface="+mj-ea"/>
              <a:ea typeface="+mj-ea"/>
            </a:endParaRPr>
          </a:p>
        </p:txBody>
      </p:sp>
      <p:sp>
        <p:nvSpPr>
          <p:cNvPr id="31" name="椭圆 30">
            <a:extLst>
              <a:ext uri="{FF2B5EF4-FFF2-40B4-BE49-F238E27FC236}">
                <a16:creationId xmlns:a16="http://schemas.microsoft.com/office/drawing/2014/main" id="{A59324B1-77E3-42D5-9F77-192AC4CA48DC}"/>
              </a:ext>
            </a:extLst>
          </p:cNvPr>
          <p:cNvSpPr/>
          <p:nvPr/>
        </p:nvSpPr>
        <p:spPr>
          <a:xfrm>
            <a:off x="5524229" y="1934156"/>
            <a:ext cx="2875016" cy="2875016"/>
          </a:xfrm>
          <a:prstGeom prst="ellipse">
            <a:avLst/>
          </a:prstGeom>
          <a:noFill/>
          <a:ln>
            <a:gradFill>
              <a:gsLst>
                <a:gs pos="11000">
                  <a:schemeClr val="accent1">
                    <a:alpha val="0"/>
                  </a:schemeClr>
                </a:gs>
                <a:gs pos="35000">
                  <a:schemeClr val="accent1"/>
                </a:gs>
              </a:gsLst>
              <a:lin ang="0" scaled="0"/>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32" name="椭圆 31">
            <a:extLst>
              <a:ext uri="{FF2B5EF4-FFF2-40B4-BE49-F238E27FC236}">
                <a16:creationId xmlns:a16="http://schemas.microsoft.com/office/drawing/2014/main" id="{DDA67B7A-65FB-4F61-9F85-BEB2FF7C468D}"/>
              </a:ext>
            </a:extLst>
          </p:cNvPr>
          <p:cNvSpPr/>
          <p:nvPr/>
        </p:nvSpPr>
        <p:spPr>
          <a:xfrm flipH="1">
            <a:off x="3770039" y="1920240"/>
            <a:ext cx="2875016" cy="2875016"/>
          </a:xfrm>
          <a:prstGeom prst="ellipse">
            <a:avLst/>
          </a:prstGeom>
          <a:noFill/>
          <a:ln>
            <a:gradFill>
              <a:gsLst>
                <a:gs pos="11000">
                  <a:schemeClr val="accent1">
                    <a:alpha val="0"/>
                  </a:schemeClr>
                </a:gs>
                <a:gs pos="35000">
                  <a:schemeClr val="accent1"/>
                </a:gs>
              </a:gsLst>
              <a:lin ang="0" scaled="0"/>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zh-CN" altLang="en-US" sz="1600">
              <a:solidFill>
                <a:schemeClr val="bg1"/>
              </a:solidFill>
              <a:latin typeface="+mj-ea"/>
              <a:ea typeface="+mj-ea"/>
            </a:endParaRPr>
          </a:p>
        </p:txBody>
      </p:sp>
      <p:sp>
        <p:nvSpPr>
          <p:cNvPr id="33" name="椭圆 32">
            <a:extLst>
              <a:ext uri="{FF2B5EF4-FFF2-40B4-BE49-F238E27FC236}">
                <a16:creationId xmlns:a16="http://schemas.microsoft.com/office/drawing/2014/main" id="{5BADFE97-6C34-42DC-B855-954858BF07FF}"/>
              </a:ext>
            </a:extLst>
          </p:cNvPr>
          <p:cNvSpPr/>
          <p:nvPr/>
        </p:nvSpPr>
        <p:spPr>
          <a:xfrm>
            <a:off x="4698319" y="2869746"/>
            <a:ext cx="1018456" cy="1018455"/>
          </a:xfrm>
          <a:prstGeom prst="ellipse">
            <a:avLst/>
          </a:prstGeom>
          <a:solidFill>
            <a:schemeClr val="accent1"/>
          </a:solidFill>
          <a:ln>
            <a:noFill/>
          </a:ln>
          <a:effectLst>
            <a:outerShdw blurRad="342900" sx="110000" sy="110000" algn="ctr" rotWithShape="0">
              <a:schemeClr val="accent1">
                <a:alpha val="9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4" name="椭圆 33">
            <a:extLst>
              <a:ext uri="{FF2B5EF4-FFF2-40B4-BE49-F238E27FC236}">
                <a16:creationId xmlns:a16="http://schemas.microsoft.com/office/drawing/2014/main" id="{04F679AB-51E4-4EDF-8A9C-AC626EF86024}"/>
              </a:ext>
            </a:extLst>
          </p:cNvPr>
          <p:cNvSpPr/>
          <p:nvPr/>
        </p:nvSpPr>
        <p:spPr>
          <a:xfrm>
            <a:off x="6547982" y="2869746"/>
            <a:ext cx="1018456" cy="1018455"/>
          </a:xfrm>
          <a:prstGeom prst="ellipse">
            <a:avLst/>
          </a:prstGeom>
          <a:solidFill>
            <a:schemeClr val="accent1"/>
          </a:solidFill>
          <a:ln>
            <a:noFill/>
          </a:ln>
          <a:effectLst>
            <a:outerShdw blurRad="342900" sx="110000" sy="110000" algn="ctr" rotWithShape="0">
              <a:schemeClr val="accent1">
                <a:alpha val="9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1" name="椭圆 40">
            <a:extLst>
              <a:ext uri="{FF2B5EF4-FFF2-40B4-BE49-F238E27FC236}">
                <a16:creationId xmlns:a16="http://schemas.microsoft.com/office/drawing/2014/main" id="{99877610-8630-47CB-9440-67578C12BE34}"/>
              </a:ext>
            </a:extLst>
          </p:cNvPr>
          <p:cNvSpPr/>
          <p:nvPr/>
        </p:nvSpPr>
        <p:spPr>
          <a:xfrm>
            <a:off x="4998231" y="1697008"/>
            <a:ext cx="418633" cy="418632"/>
          </a:xfrm>
          <a:prstGeom prst="ellipse">
            <a:avLst/>
          </a:prstGeom>
          <a:solidFill>
            <a:schemeClr val="accent1"/>
          </a:solidFill>
          <a:ln>
            <a:noFill/>
          </a:ln>
          <a:effectLst>
            <a:outerShdw blurRad="342900" sx="110000" sy="110000" algn="ctr" rotWithShape="0">
              <a:schemeClr val="accent1">
                <a:alpha val="9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2" name="椭圆 41">
            <a:extLst>
              <a:ext uri="{FF2B5EF4-FFF2-40B4-BE49-F238E27FC236}">
                <a16:creationId xmlns:a16="http://schemas.microsoft.com/office/drawing/2014/main" id="{101D6AF4-E586-4CE2-9428-E1DA6D3DB37E}"/>
              </a:ext>
            </a:extLst>
          </p:cNvPr>
          <p:cNvSpPr/>
          <p:nvPr/>
        </p:nvSpPr>
        <p:spPr>
          <a:xfrm>
            <a:off x="3770039" y="2451114"/>
            <a:ext cx="418633" cy="418632"/>
          </a:xfrm>
          <a:prstGeom prst="ellipse">
            <a:avLst/>
          </a:prstGeom>
          <a:solidFill>
            <a:schemeClr val="accent1"/>
          </a:solidFill>
          <a:ln>
            <a:noFill/>
          </a:ln>
          <a:effectLst>
            <a:outerShdw blurRad="342900" sx="110000" sy="110000" algn="ctr" rotWithShape="0">
              <a:schemeClr val="accent1">
                <a:alpha val="9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3" name="椭圆 42">
            <a:extLst>
              <a:ext uri="{FF2B5EF4-FFF2-40B4-BE49-F238E27FC236}">
                <a16:creationId xmlns:a16="http://schemas.microsoft.com/office/drawing/2014/main" id="{B9F2CA6A-FF9C-4BFC-A5F9-B1345E4417AF}"/>
              </a:ext>
            </a:extLst>
          </p:cNvPr>
          <p:cNvSpPr/>
          <p:nvPr/>
        </p:nvSpPr>
        <p:spPr>
          <a:xfrm>
            <a:off x="3770039" y="3911138"/>
            <a:ext cx="418633" cy="418632"/>
          </a:xfrm>
          <a:prstGeom prst="ellipse">
            <a:avLst/>
          </a:prstGeom>
          <a:solidFill>
            <a:schemeClr val="accent1"/>
          </a:solidFill>
          <a:ln>
            <a:noFill/>
          </a:ln>
          <a:effectLst>
            <a:outerShdw blurRad="342900" sx="110000" sy="110000" algn="ctr" rotWithShape="0">
              <a:schemeClr val="accent1">
                <a:alpha val="9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4" name="椭圆 43">
            <a:extLst>
              <a:ext uri="{FF2B5EF4-FFF2-40B4-BE49-F238E27FC236}">
                <a16:creationId xmlns:a16="http://schemas.microsoft.com/office/drawing/2014/main" id="{702452FB-CFE4-4F47-9DA8-34EDDA398E2C}"/>
              </a:ext>
            </a:extLst>
          </p:cNvPr>
          <p:cNvSpPr/>
          <p:nvPr/>
        </p:nvSpPr>
        <p:spPr>
          <a:xfrm>
            <a:off x="4998231" y="4585940"/>
            <a:ext cx="418633" cy="418632"/>
          </a:xfrm>
          <a:prstGeom prst="ellipse">
            <a:avLst/>
          </a:prstGeom>
          <a:solidFill>
            <a:schemeClr val="accent1"/>
          </a:solidFill>
          <a:ln>
            <a:noFill/>
          </a:ln>
          <a:effectLst>
            <a:outerShdw blurRad="342900" sx="110000" sy="110000" algn="ctr" rotWithShape="0">
              <a:schemeClr val="accent1">
                <a:alpha val="9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4" name="椭圆 53">
            <a:extLst>
              <a:ext uri="{FF2B5EF4-FFF2-40B4-BE49-F238E27FC236}">
                <a16:creationId xmlns:a16="http://schemas.microsoft.com/office/drawing/2014/main" id="{7D1830E7-CEF3-4F7F-A14F-09C2687DD104}"/>
              </a:ext>
            </a:extLst>
          </p:cNvPr>
          <p:cNvSpPr/>
          <p:nvPr/>
        </p:nvSpPr>
        <p:spPr>
          <a:xfrm flipH="1">
            <a:off x="6847894" y="1697008"/>
            <a:ext cx="418633" cy="418632"/>
          </a:xfrm>
          <a:prstGeom prst="ellipse">
            <a:avLst/>
          </a:prstGeom>
          <a:solidFill>
            <a:schemeClr val="accent1"/>
          </a:solidFill>
          <a:ln>
            <a:noFill/>
          </a:ln>
          <a:effectLst>
            <a:outerShdw blurRad="342900" sx="110000" sy="110000" algn="ctr" rotWithShape="0">
              <a:schemeClr val="accent1">
                <a:alpha val="9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5" name="椭圆 54">
            <a:extLst>
              <a:ext uri="{FF2B5EF4-FFF2-40B4-BE49-F238E27FC236}">
                <a16:creationId xmlns:a16="http://schemas.microsoft.com/office/drawing/2014/main" id="{A36715BB-1943-4780-A31C-0C6729E34746}"/>
              </a:ext>
            </a:extLst>
          </p:cNvPr>
          <p:cNvSpPr/>
          <p:nvPr/>
        </p:nvSpPr>
        <p:spPr>
          <a:xfrm flipH="1">
            <a:off x="8003329" y="2451114"/>
            <a:ext cx="418633" cy="418632"/>
          </a:xfrm>
          <a:prstGeom prst="ellipse">
            <a:avLst/>
          </a:prstGeom>
          <a:solidFill>
            <a:schemeClr val="accent1"/>
          </a:solidFill>
          <a:ln>
            <a:noFill/>
          </a:ln>
          <a:effectLst>
            <a:outerShdw blurRad="342900" sx="110000" sy="110000" algn="ctr" rotWithShape="0">
              <a:schemeClr val="accent1">
                <a:alpha val="9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6" name="椭圆 55">
            <a:extLst>
              <a:ext uri="{FF2B5EF4-FFF2-40B4-BE49-F238E27FC236}">
                <a16:creationId xmlns:a16="http://schemas.microsoft.com/office/drawing/2014/main" id="{6BFD2C8A-24F5-49D0-BAEB-5C10B4F60646}"/>
              </a:ext>
            </a:extLst>
          </p:cNvPr>
          <p:cNvSpPr/>
          <p:nvPr/>
        </p:nvSpPr>
        <p:spPr>
          <a:xfrm flipH="1">
            <a:off x="8003329" y="3911138"/>
            <a:ext cx="418633" cy="418632"/>
          </a:xfrm>
          <a:prstGeom prst="ellipse">
            <a:avLst/>
          </a:prstGeom>
          <a:solidFill>
            <a:schemeClr val="accent1"/>
          </a:solidFill>
          <a:ln>
            <a:noFill/>
          </a:ln>
          <a:effectLst>
            <a:outerShdw blurRad="342900" sx="110000" sy="110000" algn="ctr" rotWithShape="0">
              <a:schemeClr val="accent1">
                <a:alpha val="9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7" name="椭圆 56">
            <a:extLst>
              <a:ext uri="{FF2B5EF4-FFF2-40B4-BE49-F238E27FC236}">
                <a16:creationId xmlns:a16="http://schemas.microsoft.com/office/drawing/2014/main" id="{ACBA7553-718E-4529-A174-753CA6C28F6F}"/>
              </a:ext>
            </a:extLst>
          </p:cNvPr>
          <p:cNvSpPr/>
          <p:nvPr/>
        </p:nvSpPr>
        <p:spPr>
          <a:xfrm flipH="1">
            <a:off x="6847894" y="4585940"/>
            <a:ext cx="418633" cy="418632"/>
          </a:xfrm>
          <a:prstGeom prst="ellipse">
            <a:avLst/>
          </a:prstGeom>
          <a:solidFill>
            <a:schemeClr val="accent1"/>
          </a:solidFill>
          <a:ln>
            <a:noFill/>
          </a:ln>
          <a:effectLst>
            <a:outerShdw blurRad="342900" sx="110000" sy="110000" algn="ctr" rotWithShape="0">
              <a:schemeClr val="accent1">
                <a:alpha val="9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8" name="文本框 57">
            <a:extLst>
              <a:ext uri="{FF2B5EF4-FFF2-40B4-BE49-F238E27FC236}">
                <a16:creationId xmlns:a16="http://schemas.microsoft.com/office/drawing/2014/main" id="{81DFDA3D-E479-49E6-B698-0F12ABFFBAF7}"/>
              </a:ext>
            </a:extLst>
          </p:cNvPr>
          <p:cNvSpPr txBox="1"/>
          <p:nvPr/>
        </p:nvSpPr>
        <p:spPr>
          <a:xfrm>
            <a:off x="1799096" y="1665409"/>
            <a:ext cx="1378583" cy="246221"/>
          </a:xfrm>
          <a:prstGeom prst="rect">
            <a:avLst/>
          </a:prstGeom>
          <a:noFill/>
        </p:spPr>
        <p:txBody>
          <a:bodyPr wrap="none" lIns="0" tIns="0" rIns="0" bIns="0" rtlCol="0" anchor="t">
            <a:spAutoFit/>
          </a:bodyPr>
          <a:lstStyle/>
          <a:p>
            <a:pPr algn="r"/>
            <a:r>
              <a:rPr lang="en-US" altLang="zh-CN" sz="1600" dirty="0">
                <a:solidFill>
                  <a:schemeClr val="accent1"/>
                </a:solidFill>
                <a:latin typeface="+mj-ea"/>
                <a:ea typeface="+mj-ea"/>
              </a:rPr>
              <a:t>01.</a:t>
            </a:r>
            <a:r>
              <a:rPr lang="zh-CN" altLang="en-US" sz="1600" dirty="0">
                <a:solidFill>
                  <a:schemeClr val="accent1"/>
                </a:solidFill>
                <a:latin typeface="+mj-ea"/>
                <a:ea typeface="+mj-ea"/>
              </a:rPr>
              <a:t> 关键词标题</a:t>
            </a:r>
          </a:p>
        </p:txBody>
      </p:sp>
      <p:sp>
        <p:nvSpPr>
          <p:cNvPr id="59" name="文本框 58">
            <a:extLst>
              <a:ext uri="{FF2B5EF4-FFF2-40B4-BE49-F238E27FC236}">
                <a16:creationId xmlns:a16="http://schemas.microsoft.com/office/drawing/2014/main" id="{2E6DB296-5F91-4A66-9800-6FEDABD79234}"/>
              </a:ext>
            </a:extLst>
          </p:cNvPr>
          <p:cNvSpPr txBox="1"/>
          <p:nvPr/>
        </p:nvSpPr>
        <p:spPr>
          <a:xfrm>
            <a:off x="243979" y="1906024"/>
            <a:ext cx="2933700" cy="309828"/>
          </a:xfrm>
          <a:prstGeom prst="rect">
            <a:avLst/>
          </a:prstGeom>
          <a:noFill/>
        </p:spPr>
        <p:txBody>
          <a:bodyPr wrap="square" lIns="0" tIns="0" rIns="0" bIns="0" rtlCol="0" anchor="t">
            <a:spAutoFit/>
          </a:bodyPr>
          <a:lstStyle/>
          <a:p>
            <a:pPr algn="r">
              <a:lnSpc>
                <a:spcPct val="130000"/>
              </a:lnSpc>
            </a:pPr>
            <a:r>
              <a:rPr lang="en-US" altLang="zh-CN" sz="800" b="0" dirty="0">
                <a:solidFill>
                  <a:schemeClr val="tx1">
                    <a:lumMod val="75000"/>
                    <a:lumOff val="25000"/>
                  </a:schemeClr>
                </a:solidFill>
                <a:effectLst/>
                <a:latin typeface="+mn-ea"/>
              </a:rPr>
              <a:t>Lorem ipsum dolor sit amet, consectetur adipisicing elit, sed do eiusmod tempor</a:t>
            </a:r>
            <a:endParaRPr lang="zh-CN" altLang="en-US" sz="800" b="0" dirty="0">
              <a:solidFill>
                <a:schemeClr val="tx1">
                  <a:lumMod val="75000"/>
                  <a:lumOff val="25000"/>
                </a:schemeClr>
              </a:solidFill>
              <a:effectLst/>
              <a:latin typeface="+mn-ea"/>
            </a:endParaRPr>
          </a:p>
        </p:txBody>
      </p:sp>
      <p:sp>
        <p:nvSpPr>
          <p:cNvPr id="69" name="文本框 68">
            <a:extLst>
              <a:ext uri="{FF2B5EF4-FFF2-40B4-BE49-F238E27FC236}">
                <a16:creationId xmlns:a16="http://schemas.microsoft.com/office/drawing/2014/main" id="{7327812C-15E2-4E90-88E6-BC9B3FC84D16}"/>
              </a:ext>
            </a:extLst>
          </p:cNvPr>
          <p:cNvSpPr txBox="1"/>
          <p:nvPr/>
        </p:nvSpPr>
        <p:spPr>
          <a:xfrm>
            <a:off x="1762227" y="2594640"/>
            <a:ext cx="1415452" cy="246221"/>
          </a:xfrm>
          <a:prstGeom prst="rect">
            <a:avLst/>
          </a:prstGeom>
          <a:noFill/>
        </p:spPr>
        <p:txBody>
          <a:bodyPr wrap="none" lIns="0" tIns="0" rIns="0" bIns="0" rtlCol="0" anchor="t">
            <a:spAutoFit/>
          </a:bodyPr>
          <a:lstStyle/>
          <a:p>
            <a:pPr algn="r"/>
            <a:r>
              <a:rPr lang="en-US" altLang="zh-CN" sz="1600" dirty="0">
                <a:solidFill>
                  <a:schemeClr val="accent1"/>
                </a:solidFill>
                <a:latin typeface="+mj-ea"/>
                <a:ea typeface="+mj-ea"/>
              </a:rPr>
              <a:t>02.</a:t>
            </a:r>
            <a:r>
              <a:rPr lang="zh-CN" altLang="en-US" sz="1600" dirty="0">
                <a:solidFill>
                  <a:schemeClr val="accent1"/>
                </a:solidFill>
                <a:latin typeface="+mj-ea"/>
                <a:ea typeface="+mj-ea"/>
              </a:rPr>
              <a:t> 关键词标题</a:t>
            </a:r>
          </a:p>
        </p:txBody>
      </p:sp>
      <p:sp>
        <p:nvSpPr>
          <p:cNvPr id="70" name="文本框 69">
            <a:extLst>
              <a:ext uri="{FF2B5EF4-FFF2-40B4-BE49-F238E27FC236}">
                <a16:creationId xmlns:a16="http://schemas.microsoft.com/office/drawing/2014/main" id="{BBC40B7B-E34D-4BA5-80A7-29829B88B5C6}"/>
              </a:ext>
            </a:extLst>
          </p:cNvPr>
          <p:cNvSpPr txBox="1"/>
          <p:nvPr/>
        </p:nvSpPr>
        <p:spPr>
          <a:xfrm>
            <a:off x="243979" y="2835255"/>
            <a:ext cx="2933700" cy="309828"/>
          </a:xfrm>
          <a:prstGeom prst="rect">
            <a:avLst/>
          </a:prstGeom>
          <a:noFill/>
        </p:spPr>
        <p:txBody>
          <a:bodyPr wrap="square" lIns="0" tIns="0" rIns="0" bIns="0" rtlCol="0" anchor="t">
            <a:spAutoFit/>
          </a:bodyPr>
          <a:lstStyle/>
          <a:p>
            <a:pPr algn="r">
              <a:lnSpc>
                <a:spcPct val="130000"/>
              </a:lnSpc>
            </a:pPr>
            <a:r>
              <a:rPr lang="en-US" altLang="zh-CN" sz="800" b="0" dirty="0">
                <a:solidFill>
                  <a:schemeClr val="tx1">
                    <a:lumMod val="75000"/>
                    <a:lumOff val="25000"/>
                  </a:schemeClr>
                </a:solidFill>
                <a:effectLst/>
                <a:latin typeface="+mn-ea"/>
              </a:rPr>
              <a:t>Lorem ipsum dolor sit amet, consectetur adipisicing elit, sed do eiusmod tempor</a:t>
            </a:r>
            <a:endParaRPr lang="zh-CN" altLang="en-US" sz="800" b="0" dirty="0">
              <a:solidFill>
                <a:schemeClr val="tx1">
                  <a:lumMod val="75000"/>
                  <a:lumOff val="25000"/>
                </a:schemeClr>
              </a:solidFill>
              <a:effectLst/>
              <a:latin typeface="+mn-ea"/>
            </a:endParaRPr>
          </a:p>
        </p:txBody>
      </p:sp>
      <p:sp>
        <p:nvSpPr>
          <p:cNvPr id="72" name="文本框 71">
            <a:extLst>
              <a:ext uri="{FF2B5EF4-FFF2-40B4-BE49-F238E27FC236}">
                <a16:creationId xmlns:a16="http://schemas.microsoft.com/office/drawing/2014/main" id="{B7E5E774-D32D-4573-8AA9-37D7AF4F5D50}"/>
              </a:ext>
            </a:extLst>
          </p:cNvPr>
          <p:cNvSpPr txBox="1"/>
          <p:nvPr/>
        </p:nvSpPr>
        <p:spPr>
          <a:xfrm>
            <a:off x="1762227" y="3523871"/>
            <a:ext cx="1415452" cy="246221"/>
          </a:xfrm>
          <a:prstGeom prst="rect">
            <a:avLst/>
          </a:prstGeom>
          <a:noFill/>
        </p:spPr>
        <p:txBody>
          <a:bodyPr wrap="none" lIns="0" tIns="0" rIns="0" bIns="0" rtlCol="0" anchor="t">
            <a:spAutoFit/>
          </a:bodyPr>
          <a:lstStyle/>
          <a:p>
            <a:pPr algn="r"/>
            <a:r>
              <a:rPr lang="en-US" altLang="zh-CN" sz="1600" dirty="0">
                <a:solidFill>
                  <a:schemeClr val="accent1"/>
                </a:solidFill>
                <a:latin typeface="+mj-ea"/>
                <a:ea typeface="+mj-ea"/>
              </a:rPr>
              <a:t>03.</a:t>
            </a:r>
            <a:r>
              <a:rPr lang="zh-CN" altLang="en-US" sz="1600" dirty="0">
                <a:solidFill>
                  <a:schemeClr val="accent1"/>
                </a:solidFill>
                <a:latin typeface="+mj-ea"/>
                <a:ea typeface="+mj-ea"/>
              </a:rPr>
              <a:t> 关键词标题</a:t>
            </a:r>
          </a:p>
        </p:txBody>
      </p:sp>
      <p:sp>
        <p:nvSpPr>
          <p:cNvPr id="73" name="文本框 72">
            <a:extLst>
              <a:ext uri="{FF2B5EF4-FFF2-40B4-BE49-F238E27FC236}">
                <a16:creationId xmlns:a16="http://schemas.microsoft.com/office/drawing/2014/main" id="{A27CE48C-2E3C-4F5A-A31A-AD0A4433A3E0}"/>
              </a:ext>
            </a:extLst>
          </p:cNvPr>
          <p:cNvSpPr txBox="1"/>
          <p:nvPr/>
        </p:nvSpPr>
        <p:spPr>
          <a:xfrm>
            <a:off x="243979" y="3764486"/>
            <a:ext cx="2933700" cy="309828"/>
          </a:xfrm>
          <a:prstGeom prst="rect">
            <a:avLst/>
          </a:prstGeom>
          <a:noFill/>
        </p:spPr>
        <p:txBody>
          <a:bodyPr wrap="square" lIns="0" tIns="0" rIns="0" bIns="0" rtlCol="0" anchor="t">
            <a:spAutoFit/>
          </a:bodyPr>
          <a:lstStyle/>
          <a:p>
            <a:pPr algn="r">
              <a:lnSpc>
                <a:spcPct val="130000"/>
              </a:lnSpc>
            </a:pPr>
            <a:r>
              <a:rPr lang="en-US" altLang="zh-CN" sz="800" b="0" dirty="0">
                <a:solidFill>
                  <a:schemeClr val="tx1">
                    <a:lumMod val="75000"/>
                    <a:lumOff val="25000"/>
                  </a:schemeClr>
                </a:solidFill>
                <a:effectLst/>
                <a:latin typeface="+mn-ea"/>
              </a:rPr>
              <a:t>Lorem ipsum dolor sit amet, consectetur adipisicing elit, sed do eiusmod tempor</a:t>
            </a:r>
            <a:endParaRPr lang="zh-CN" altLang="en-US" sz="800" b="0" dirty="0">
              <a:solidFill>
                <a:schemeClr val="tx1">
                  <a:lumMod val="75000"/>
                  <a:lumOff val="25000"/>
                </a:schemeClr>
              </a:solidFill>
              <a:effectLst/>
              <a:latin typeface="+mn-ea"/>
            </a:endParaRPr>
          </a:p>
        </p:txBody>
      </p:sp>
      <p:sp>
        <p:nvSpPr>
          <p:cNvPr id="75" name="文本框 74">
            <a:extLst>
              <a:ext uri="{FF2B5EF4-FFF2-40B4-BE49-F238E27FC236}">
                <a16:creationId xmlns:a16="http://schemas.microsoft.com/office/drawing/2014/main" id="{6149DE93-D022-4EB8-B0A9-AB12C7447B70}"/>
              </a:ext>
            </a:extLst>
          </p:cNvPr>
          <p:cNvSpPr txBox="1"/>
          <p:nvPr/>
        </p:nvSpPr>
        <p:spPr>
          <a:xfrm>
            <a:off x="1762227" y="4453102"/>
            <a:ext cx="1415452" cy="246221"/>
          </a:xfrm>
          <a:prstGeom prst="rect">
            <a:avLst/>
          </a:prstGeom>
          <a:noFill/>
        </p:spPr>
        <p:txBody>
          <a:bodyPr wrap="none" lIns="0" tIns="0" rIns="0" bIns="0" rtlCol="0" anchor="t">
            <a:spAutoFit/>
          </a:bodyPr>
          <a:lstStyle/>
          <a:p>
            <a:pPr algn="r"/>
            <a:r>
              <a:rPr lang="en-US" altLang="zh-CN" sz="1600" dirty="0">
                <a:solidFill>
                  <a:schemeClr val="accent1"/>
                </a:solidFill>
                <a:latin typeface="+mj-ea"/>
                <a:ea typeface="+mj-ea"/>
              </a:rPr>
              <a:t>04.</a:t>
            </a:r>
            <a:r>
              <a:rPr lang="zh-CN" altLang="en-US" sz="1600" dirty="0">
                <a:solidFill>
                  <a:schemeClr val="accent1"/>
                </a:solidFill>
                <a:latin typeface="+mj-ea"/>
                <a:ea typeface="+mj-ea"/>
              </a:rPr>
              <a:t> 关键词标题</a:t>
            </a:r>
          </a:p>
        </p:txBody>
      </p:sp>
      <p:sp>
        <p:nvSpPr>
          <p:cNvPr id="76" name="文本框 75">
            <a:extLst>
              <a:ext uri="{FF2B5EF4-FFF2-40B4-BE49-F238E27FC236}">
                <a16:creationId xmlns:a16="http://schemas.microsoft.com/office/drawing/2014/main" id="{538237B1-6884-4A90-AADE-EC35BBDEA023}"/>
              </a:ext>
            </a:extLst>
          </p:cNvPr>
          <p:cNvSpPr txBox="1"/>
          <p:nvPr/>
        </p:nvSpPr>
        <p:spPr>
          <a:xfrm>
            <a:off x="243979" y="4693717"/>
            <a:ext cx="2933700" cy="309828"/>
          </a:xfrm>
          <a:prstGeom prst="rect">
            <a:avLst/>
          </a:prstGeom>
          <a:noFill/>
        </p:spPr>
        <p:txBody>
          <a:bodyPr wrap="square" lIns="0" tIns="0" rIns="0" bIns="0" rtlCol="0" anchor="t">
            <a:spAutoFit/>
          </a:bodyPr>
          <a:lstStyle/>
          <a:p>
            <a:pPr algn="r">
              <a:lnSpc>
                <a:spcPct val="130000"/>
              </a:lnSpc>
            </a:pPr>
            <a:r>
              <a:rPr lang="en-US" altLang="zh-CN" sz="800" b="0" dirty="0">
                <a:solidFill>
                  <a:schemeClr val="tx1">
                    <a:lumMod val="75000"/>
                    <a:lumOff val="25000"/>
                  </a:schemeClr>
                </a:solidFill>
                <a:effectLst/>
                <a:latin typeface="+mn-ea"/>
              </a:rPr>
              <a:t>Lorem ipsum dolor sit amet, consectetur adipisicing elit, sed do eiusmod tempor</a:t>
            </a:r>
            <a:endParaRPr lang="zh-CN" altLang="en-US" sz="800" b="0" dirty="0">
              <a:solidFill>
                <a:schemeClr val="tx1">
                  <a:lumMod val="75000"/>
                  <a:lumOff val="25000"/>
                </a:schemeClr>
              </a:solidFill>
              <a:effectLst/>
              <a:latin typeface="+mn-ea"/>
            </a:endParaRPr>
          </a:p>
        </p:txBody>
      </p:sp>
      <p:sp>
        <p:nvSpPr>
          <p:cNvPr id="78" name="文本框 77">
            <a:extLst>
              <a:ext uri="{FF2B5EF4-FFF2-40B4-BE49-F238E27FC236}">
                <a16:creationId xmlns:a16="http://schemas.microsoft.com/office/drawing/2014/main" id="{E6821C44-1F9B-434D-9D5C-EA09C8D0C437}"/>
              </a:ext>
            </a:extLst>
          </p:cNvPr>
          <p:cNvSpPr txBox="1"/>
          <p:nvPr/>
        </p:nvSpPr>
        <p:spPr>
          <a:xfrm>
            <a:off x="9009156" y="1665409"/>
            <a:ext cx="1356140" cy="246221"/>
          </a:xfrm>
          <a:prstGeom prst="rect">
            <a:avLst/>
          </a:prstGeom>
          <a:noFill/>
        </p:spPr>
        <p:txBody>
          <a:bodyPr wrap="none" lIns="0" tIns="0" rIns="0" bIns="0" rtlCol="0" anchor="t">
            <a:spAutoFit/>
          </a:bodyPr>
          <a:lstStyle/>
          <a:p>
            <a:r>
              <a:rPr lang="en-US" altLang="zh-CN" sz="1600" dirty="0">
                <a:solidFill>
                  <a:schemeClr val="accent1"/>
                </a:solidFill>
                <a:latin typeface="+mj-ea"/>
                <a:ea typeface="+mj-ea"/>
              </a:rPr>
              <a:t>05</a:t>
            </a:r>
            <a:r>
              <a:rPr lang="zh-CN" altLang="en-US" sz="1600" dirty="0">
                <a:solidFill>
                  <a:schemeClr val="accent1"/>
                </a:solidFill>
                <a:latin typeface="+mj-ea"/>
                <a:ea typeface="+mj-ea"/>
              </a:rPr>
              <a:t> 关键词标题</a:t>
            </a:r>
          </a:p>
        </p:txBody>
      </p:sp>
      <p:sp>
        <p:nvSpPr>
          <p:cNvPr id="79" name="文本框 78">
            <a:extLst>
              <a:ext uri="{FF2B5EF4-FFF2-40B4-BE49-F238E27FC236}">
                <a16:creationId xmlns:a16="http://schemas.microsoft.com/office/drawing/2014/main" id="{1A834300-138C-4A7F-A5A7-FB9C509D4557}"/>
              </a:ext>
            </a:extLst>
          </p:cNvPr>
          <p:cNvSpPr txBox="1"/>
          <p:nvPr/>
        </p:nvSpPr>
        <p:spPr>
          <a:xfrm>
            <a:off x="9009156" y="1906024"/>
            <a:ext cx="2933700" cy="309828"/>
          </a:xfrm>
          <a:prstGeom prst="rect">
            <a:avLst/>
          </a:prstGeom>
          <a:noFill/>
        </p:spPr>
        <p:txBody>
          <a:bodyPr wrap="square" lIns="0" tIns="0" rIns="0" bIns="0" rtlCol="0" anchor="t">
            <a:spAutoFit/>
          </a:bodyPr>
          <a:lstStyle/>
          <a:p>
            <a:pPr>
              <a:lnSpc>
                <a:spcPct val="130000"/>
              </a:lnSpc>
            </a:pPr>
            <a:r>
              <a:rPr lang="en-US" altLang="zh-CN" sz="800" b="0" dirty="0">
                <a:solidFill>
                  <a:schemeClr val="tx1">
                    <a:lumMod val="75000"/>
                    <a:lumOff val="25000"/>
                  </a:schemeClr>
                </a:solidFill>
                <a:effectLst/>
                <a:latin typeface="+mn-ea"/>
              </a:rPr>
              <a:t>Lorem ipsum dolor sit amet, consectetur adipisicing elit, sed do eiusmod tempor</a:t>
            </a:r>
            <a:endParaRPr lang="zh-CN" altLang="en-US" sz="800" b="0" dirty="0">
              <a:solidFill>
                <a:schemeClr val="tx1">
                  <a:lumMod val="75000"/>
                  <a:lumOff val="25000"/>
                </a:schemeClr>
              </a:solidFill>
              <a:effectLst/>
              <a:latin typeface="+mn-ea"/>
            </a:endParaRPr>
          </a:p>
        </p:txBody>
      </p:sp>
      <p:sp>
        <p:nvSpPr>
          <p:cNvPr id="80" name="文本框 79">
            <a:extLst>
              <a:ext uri="{FF2B5EF4-FFF2-40B4-BE49-F238E27FC236}">
                <a16:creationId xmlns:a16="http://schemas.microsoft.com/office/drawing/2014/main" id="{3718B57B-DDB2-44B8-81BA-BF8A019F3350}"/>
              </a:ext>
            </a:extLst>
          </p:cNvPr>
          <p:cNvSpPr txBox="1"/>
          <p:nvPr/>
        </p:nvSpPr>
        <p:spPr>
          <a:xfrm>
            <a:off x="9009156" y="2594640"/>
            <a:ext cx="1415452" cy="246221"/>
          </a:xfrm>
          <a:prstGeom prst="rect">
            <a:avLst/>
          </a:prstGeom>
          <a:noFill/>
        </p:spPr>
        <p:txBody>
          <a:bodyPr wrap="none" lIns="0" tIns="0" rIns="0" bIns="0" rtlCol="0" anchor="t">
            <a:spAutoFit/>
          </a:bodyPr>
          <a:lstStyle/>
          <a:p>
            <a:r>
              <a:rPr lang="en-US" altLang="zh-CN" sz="1600" dirty="0">
                <a:solidFill>
                  <a:schemeClr val="accent1"/>
                </a:solidFill>
                <a:latin typeface="+mj-ea"/>
                <a:ea typeface="+mj-ea"/>
              </a:rPr>
              <a:t>06.</a:t>
            </a:r>
            <a:r>
              <a:rPr lang="zh-CN" altLang="en-US" sz="1600" dirty="0">
                <a:solidFill>
                  <a:schemeClr val="accent1"/>
                </a:solidFill>
                <a:latin typeface="+mj-ea"/>
                <a:ea typeface="+mj-ea"/>
              </a:rPr>
              <a:t> 关键词标题</a:t>
            </a:r>
          </a:p>
        </p:txBody>
      </p:sp>
      <p:sp>
        <p:nvSpPr>
          <p:cNvPr id="81" name="文本框 80">
            <a:extLst>
              <a:ext uri="{FF2B5EF4-FFF2-40B4-BE49-F238E27FC236}">
                <a16:creationId xmlns:a16="http://schemas.microsoft.com/office/drawing/2014/main" id="{8F83A703-B42B-46BF-A5E9-B1967C43E053}"/>
              </a:ext>
            </a:extLst>
          </p:cNvPr>
          <p:cNvSpPr txBox="1"/>
          <p:nvPr/>
        </p:nvSpPr>
        <p:spPr>
          <a:xfrm>
            <a:off x="9009156" y="2835255"/>
            <a:ext cx="2933700" cy="309828"/>
          </a:xfrm>
          <a:prstGeom prst="rect">
            <a:avLst/>
          </a:prstGeom>
          <a:noFill/>
        </p:spPr>
        <p:txBody>
          <a:bodyPr wrap="square" lIns="0" tIns="0" rIns="0" bIns="0" rtlCol="0" anchor="t">
            <a:spAutoFit/>
          </a:bodyPr>
          <a:lstStyle/>
          <a:p>
            <a:pPr>
              <a:lnSpc>
                <a:spcPct val="130000"/>
              </a:lnSpc>
            </a:pPr>
            <a:r>
              <a:rPr lang="en-US" altLang="zh-CN" sz="800" b="0" dirty="0">
                <a:solidFill>
                  <a:schemeClr val="tx1">
                    <a:lumMod val="75000"/>
                    <a:lumOff val="25000"/>
                  </a:schemeClr>
                </a:solidFill>
                <a:effectLst/>
                <a:latin typeface="+mn-ea"/>
              </a:rPr>
              <a:t>Lorem ipsum dolor sit amet, consectetur adipisicing elit, sed do eiusmod tempor</a:t>
            </a:r>
            <a:endParaRPr lang="zh-CN" altLang="en-US" sz="800" b="0" dirty="0">
              <a:solidFill>
                <a:schemeClr val="tx1">
                  <a:lumMod val="75000"/>
                  <a:lumOff val="25000"/>
                </a:schemeClr>
              </a:solidFill>
              <a:effectLst/>
              <a:latin typeface="+mn-ea"/>
            </a:endParaRPr>
          </a:p>
        </p:txBody>
      </p:sp>
      <p:sp>
        <p:nvSpPr>
          <p:cNvPr id="82" name="文本框 81">
            <a:extLst>
              <a:ext uri="{FF2B5EF4-FFF2-40B4-BE49-F238E27FC236}">
                <a16:creationId xmlns:a16="http://schemas.microsoft.com/office/drawing/2014/main" id="{5FC61749-263C-492B-BB7F-492E27EE612E}"/>
              </a:ext>
            </a:extLst>
          </p:cNvPr>
          <p:cNvSpPr txBox="1"/>
          <p:nvPr/>
        </p:nvSpPr>
        <p:spPr>
          <a:xfrm>
            <a:off x="9009156" y="3523871"/>
            <a:ext cx="1415452" cy="246221"/>
          </a:xfrm>
          <a:prstGeom prst="rect">
            <a:avLst/>
          </a:prstGeom>
          <a:noFill/>
        </p:spPr>
        <p:txBody>
          <a:bodyPr wrap="none" lIns="0" tIns="0" rIns="0" bIns="0" rtlCol="0" anchor="t">
            <a:spAutoFit/>
          </a:bodyPr>
          <a:lstStyle/>
          <a:p>
            <a:r>
              <a:rPr lang="en-US" altLang="zh-CN" sz="1600" dirty="0">
                <a:solidFill>
                  <a:schemeClr val="accent1"/>
                </a:solidFill>
                <a:latin typeface="+mj-ea"/>
                <a:ea typeface="+mj-ea"/>
              </a:rPr>
              <a:t>07.</a:t>
            </a:r>
            <a:r>
              <a:rPr lang="zh-CN" altLang="en-US" sz="1600" dirty="0">
                <a:solidFill>
                  <a:schemeClr val="accent1"/>
                </a:solidFill>
                <a:latin typeface="+mj-ea"/>
                <a:ea typeface="+mj-ea"/>
              </a:rPr>
              <a:t> 关键词标题</a:t>
            </a:r>
          </a:p>
        </p:txBody>
      </p:sp>
      <p:sp>
        <p:nvSpPr>
          <p:cNvPr id="83" name="文本框 82">
            <a:extLst>
              <a:ext uri="{FF2B5EF4-FFF2-40B4-BE49-F238E27FC236}">
                <a16:creationId xmlns:a16="http://schemas.microsoft.com/office/drawing/2014/main" id="{1EE846EC-AB4E-4677-B5DB-4EA483026F1B}"/>
              </a:ext>
            </a:extLst>
          </p:cNvPr>
          <p:cNvSpPr txBox="1"/>
          <p:nvPr/>
        </p:nvSpPr>
        <p:spPr>
          <a:xfrm>
            <a:off x="9009156" y="3764486"/>
            <a:ext cx="2933700" cy="309828"/>
          </a:xfrm>
          <a:prstGeom prst="rect">
            <a:avLst/>
          </a:prstGeom>
          <a:noFill/>
        </p:spPr>
        <p:txBody>
          <a:bodyPr wrap="square" lIns="0" tIns="0" rIns="0" bIns="0" rtlCol="0" anchor="t">
            <a:spAutoFit/>
          </a:bodyPr>
          <a:lstStyle/>
          <a:p>
            <a:pPr>
              <a:lnSpc>
                <a:spcPct val="130000"/>
              </a:lnSpc>
            </a:pPr>
            <a:r>
              <a:rPr lang="en-US" altLang="zh-CN" sz="800" b="0" dirty="0">
                <a:solidFill>
                  <a:schemeClr val="tx1">
                    <a:lumMod val="75000"/>
                    <a:lumOff val="25000"/>
                  </a:schemeClr>
                </a:solidFill>
                <a:effectLst/>
                <a:latin typeface="+mn-ea"/>
              </a:rPr>
              <a:t>Lorem ipsum dolor sit amet, consectetur adipisicing elit, sed do eiusmod tempor</a:t>
            </a:r>
            <a:endParaRPr lang="zh-CN" altLang="en-US" sz="800" b="0" dirty="0">
              <a:solidFill>
                <a:schemeClr val="tx1">
                  <a:lumMod val="75000"/>
                  <a:lumOff val="25000"/>
                </a:schemeClr>
              </a:solidFill>
              <a:effectLst/>
              <a:latin typeface="+mn-ea"/>
            </a:endParaRPr>
          </a:p>
        </p:txBody>
      </p:sp>
      <p:sp>
        <p:nvSpPr>
          <p:cNvPr id="84" name="文本框 83">
            <a:extLst>
              <a:ext uri="{FF2B5EF4-FFF2-40B4-BE49-F238E27FC236}">
                <a16:creationId xmlns:a16="http://schemas.microsoft.com/office/drawing/2014/main" id="{2D1D895E-58C5-4383-BB90-43926A1DE3C1}"/>
              </a:ext>
            </a:extLst>
          </p:cNvPr>
          <p:cNvSpPr txBox="1"/>
          <p:nvPr/>
        </p:nvSpPr>
        <p:spPr>
          <a:xfrm>
            <a:off x="9009156" y="4453102"/>
            <a:ext cx="1415452" cy="246221"/>
          </a:xfrm>
          <a:prstGeom prst="rect">
            <a:avLst/>
          </a:prstGeom>
          <a:noFill/>
        </p:spPr>
        <p:txBody>
          <a:bodyPr wrap="none" lIns="0" tIns="0" rIns="0" bIns="0" rtlCol="0" anchor="t">
            <a:spAutoFit/>
          </a:bodyPr>
          <a:lstStyle/>
          <a:p>
            <a:r>
              <a:rPr lang="en-US" altLang="zh-CN" sz="1600" dirty="0">
                <a:solidFill>
                  <a:schemeClr val="accent1"/>
                </a:solidFill>
                <a:latin typeface="+mj-ea"/>
                <a:ea typeface="+mj-ea"/>
              </a:rPr>
              <a:t>08.</a:t>
            </a:r>
            <a:r>
              <a:rPr lang="zh-CN" altLang="en-US" sz="1600" dirty="0">
                <a:solidFill>
                  <a:schemeClr val="accent1"/>
                </a:solidFill>
                <a:latin typeface="+mj-ea"/>
                <a:ea typeface="+mj-ea"/>
              </a:rPr>
              <a:t> 关键词标题</a:t>
            </a:r>
          </a:p>
        </p:txBody>
      </p:sp>
      <p:sp>
        <p:nvSpPr>
          <p:cNvPr id="85" name="文本框 84">
            <a:extLst>
              <a:ext uri="{FF2B5EF4-FFF2-40B4-BE49-F238E27FC236}">
                <a16:creationId xmlns:a16="http://schemas.microsoft.com/office/drawing/2014/main" id="{FD1D3FCD-8434-48E3-B2F3-0A1FE50A767C}"/>
              </a:ext>
            </a:extLst>
          </p:cNvPr>
          <p:cNvSpPr txBox="1"/>
          <p:nvPr/>
        </p:nvSpPr>
        <p:spPr>
          <a:xfrm>
            <a:off x="9009156" y="4693717"/>
            <a:ext cx="2933700" cy="309828"/>
          </a:xfrm>
          <a:prstGeom prst="rect">
            <a:avLst/>
          </a:prstGeom>
          <a:noFill/>
        </p:spPr>
        <p:txBody>
          <a:bodyPr wrap="square" lIns="0" tIns="0" rIns="0" bIns="0" rtlCol="0" anchor="t">
            <a:spAutoFit/>
          </a:bodyPr>
          <a:lstStyle/>
          <a:p>
            <a:pPr>
              <a:lnSpc>
                <a:spcPct val="130000"/>
              </a:lnSpc>
            </a:pPr>
            <a:r>
              <a:rPr lang="en-US" altLang="zh-CN" sz="800" b="0" dirty="0">
                <a:solidFill>
                  <a:schemeClr val="tx1">
                    <a:lumMod val="75000"/>
                    <a:lumOff val="25000"/>
                  </a:schemeClr>
                </a:solidFill>
                <a:effectLst/>
                <a:latin typeface="+mn-ea"/>
              </a:rPr>
              <a:t>Lorem ipsum dolor sit amet, consectetur adipisicing elit, sed do eiusmod tempor</a:t>
            </a:r>
            <a:endParaRPr lang="zh-CN" altLang="en-US" sz="800" b="0" dirty="0">
              <a:solidFill>
                <a:schemeClr val="tx1">
                  <a:lumMod val="75000"/>
                  <a:lumOff val="25000"/>
                </a:schemeClr>
              </a:solidFill>
              <a:effectLst/>
              <a:latin typeface="+mn-ea"/>
            </a:endParaRPr>
          </a:p>
        </p:txBody>
      </p:sp>
      <p:sp>
        <p:nvSpPr>
          <p:cNvPr id="35" name="user_209046">
            <a:extLst>
              <a:ext uri="{FF2B5EF4-FFF2-40B4-BE49-F238E27FC236}">
                <a16:creationId xmlns:a16="http://schemas.microsoft.com/office/drawing/2014/main" id="{EF43ACDE-5158-4621-A5FD-40837B070D0A}"/>
              </a:ext>
            </a:extLst>
          </p:cNvPr>
          <p:cNvSpPr/>
          <p:nvPr/>
        </p:nvSpPr>
        <p:spPr>
          <a:xfrm>
            <a:off x="5098467" y="1771278"/>
            <a:ext cx="227686" cy="205318"/>
          </a:xfrm>
          <a:custGeom>
            <a:avLst/>
            <a:gdLst>
              <a:gd name="connsiteX0" fmla="*/ 521432 w 608344"/>
              <a:gd name="connsiteY0" fmla="*/ 370453 h 548582"/>
              <a:gd name="connsiteX1" fmla="*/ 465737 w 608344"/>
              <a:gd name="connsiteY1" fmla="*/ 425787 h 548582"/>
              <a:gd name="connsiteX2" fmla="*/ 442491 w 608344"/>
              <a:gd name="connsiteY2" fmla="*/ 402479 h 548582"/>
              <a:gd name="connsiteX3" fmla="*/ 418201 w 608344"/>
              <a:gd name="connsiteY3" fmla="*/ 426545 h 548582"/>
              <a:gd name="connsiteX4" fmla="*/ 441447 w 608344"/>
              <a:gd name="connsiteY4" fmla="*/ 449948 h 548582"/>
              <a:gd name="connsiteX5" fmla="*/ 465642 w 608344"/>
              <a:gd name="connsiteY5" fmla="*/ 474204 h 548582"/>
              <a:gd name="connsiteX6" fmla="*/ 489932 w 608344"/>
              <a:gd name="connsiteY6" fmla="*/ 450043 h 548582"/>
              <a:gd name="connsiteX7" fmla="*/ 545532 w 608344"/>
              <a:gd name="connsiteY7" fmla="*/ 394709 h 548582"/>
              <a:gd name="connsiteX8" fmla="*/ 481962 w 608344"/>
              <a:gd name="connsiteY8" fmla="*/ 296170 h 548582"/>
              <a:gd name="connsiteX9" fmla="*/ 608344 w 608344"/>
              <a:gd name="connsiteY9" fmla="*/ 422376 h 548582"/>
              <a:gd name="connsiteX10" fmla="*/ 481962 w 608344"/>
              <a:gd name="connsiteY10" fmla="*/ 548582 h 548582"/>
              <a:gd name="connsiteX11" fmla="*/ 355579 w 608344"/>
              <a:gd name="connsiteY11" fmla="*/ 422376 h 548582"/>
              <a:gd name="connsiteX12" fmla="*/ 481962 w 608344"/>
              <a:gd name="connsiteY12" fmla="*/ 296170 h 548582"/>
              <a:gd name="connsiteX13" fmla="*/ 255835 w 608344"/>
              <a:gd name="connsiteY13" fmla="*/ 446 h 548582"/>
              <a:gd name="connsiteX14" fmla="*/ 317801 w 608344"/>
              <a:gd name="connsiteY14" fmla="*/ 13616 h 548582"/>
              <a:gd name="connsiteX15" fmla="*/ 348072 w 608344"/>
              <a:gd name="connsiteY15" fmla="*/ 41661 h 548582"/>
              <a:gd name="connsiteX16" fmla="*/ 381190 w 608344"/>
              <a:gd name="connsiteY16" fmla="*/ 146831 h 548582"/>
              <a:gd name="connsiteX17" fmla="*/ 378913 w 608344"/>
              <a:gd name="connsiteY17" fmla="*/ 156211 h 548582"/>
              <a:gd name="connsiteX18" fmla="*/ 387833 w 608344"/>
              <a:gd name="connsiteY18" fmla="*/ 200458 h 548582"/>
              <a:gd name="connsiteX19" fmla="*/ 366387 w 608344"/>
              <a:gd name="connsiteY19" fmla="*/ 237694 h 548582"/>
              <a:gd name="connsiteX20" fmla="*/ 351393 w 608344"/>
              <a:gd name="connsiteY20" fmla="*/ 278720 h 548582"/>
              <a:gd name="connsiteX21" fmla="*/ 351393 w 608344"/>
              <a:gd name="connsiteY21" fmla="*/ 322873 h 548582"/>
              <a:gd name="connsiteX22" fmla="*/ 317611 w 608344"/>
              <a:gd name="connsiteY22" fmla="*/ 422358 h 548582"/>
              <a:gd name="connsiteX23" fmla="*/ 376635 w 608344"/>
              <a:gd name="connsiteY23" fmla="*/ 548088 h 548582"/>
              <a:gd name="connsiteX24" fmla="*/ 26855 w 608344"/>
              <a:gd name="connsiteY24" fmla="*/ 548088 h 548582"/>
              <a:gd name="connsiteX25" fmla="*/ 0 w 608344"/>
              <a:gd name="connsiteY25" fmla="*/ 521274 h 548582"/>
              <a:gd name="connsiteX26" fmla="*/ 0 w 608344"/>
              <a:gd name="connsiteY26" fmla="*/ 473806 h 548582"/>
              <a:gd name="connsiteX27" fmla="*/ 19453 w 608344"/>
              <a:gd name="connsiteY27" fmla="*/ 432969 h 548582"/>
              <a:gd name="connsiteX28" fmla="*/ 173751 w 608344"/>
              <a:gd name="connsiteY28" fmla="*/ 334242 h 548582"/>
              <a:gd name="connsiteX29" fmla="*/ 176408 w 608344"/>
              <a:gd name="connsiteY29" fmla="*/ 329884 h 548582"/>
              <a:gd name="connsiteX30" fmla="*/ 176408 w 608344"/>
              <a:gd name="connsiteY30" fmla="*/ 278720 h 548582"/>
              <a:gd name="connsiteX31" fmla="*/ 161320 w 608344"/>
              <a:gd name="connsiteY31" fmla="*/ 237694 h 548582"/>
              <a:gd name="connsiteX32" fmla="*/ 139969 w 608344"/>
              <a:gd name="connsiteY32" fmla="*/ 200458 h 548582"/>
              <a:gd name="connsiteX33" fmla="*/ 148320 w 608344"/>
              <a:gd name="connsiteY33" fmla="*/ 156211 h 548582"/>
              <a:gd name="connsiteX34" fmla="*/ 146042 w 608344"/>
              <a:gd name="connsiteY34" fmla="*/ 146736 h 548582"/>
              <a:gd name="connsiteX35" fmla="*/ 145758 w 608344"/>
              <a:gd name="connsiteY35" fmla="*/ 95099 h 548582"/>
              <a:gd name="connsiteX36" fmla="*/ 176029 w 608344"/>
              <a:gd name="connsiteY36" fmla="*/ 42135 h 548582"/>
              <a:gd name="connsiteX37" fmla="*/ 203928 w 608344"/>
              <a:gd name="connsiteY37" fmla="*/ 19017 h 548582"/>
              <a:gd name="connsiteX38" fmla="*/ 231162 w 608344"/>
              <a:gd name="connsiteY38" fmla="*/ 5089 h 548582"/>
              <a:gd name="connsiteX39" fmla="*/ 255835 w 608344"/>
              <a:gd name="connsiteY39" fmla="*/ 446 h 548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608344" h="548582">
                <a:moveTo>
                  <a:pt x="521432" y="370453"/>
                </a:moveTo>
                <a:lnTo>
                  <a:pt x="465737" y="425787"/>
                </a:lnTo>
                <a:lnTo>
                  <a:pt x="442491" y="402479"/>
                </a:lnTo>
                <a:lnTo>
                  <a:pt x="418201" y="426545"/>
                </a:lnTo>
                <a:lnTo>
                  <a:pt x="441447" y="449948"/>
                </a:lnTo>
                <a:lnTo>
                  <a:pt x="465642" y="474204"/>
                </a:lnTo>
                <a:lnTo>
                  <a:pt x="489932" y="450043"/>
                </a:lnTo>
                <a:lnTo>
                  <a:pt x="545532" y="394709"/>
                </a:lnTo>
                <a:close/>
                <a:moveTo>
                  <a:pt x="481962" y="296170"/>
                </a:moveTo>
                <a:cubicBezTo>
                  <a:pt x="551795" y="296170"/>
                  <a:pt x="608344" y="352641"/>
                  <a:pt x="608344" y="422376"/>
                </a:cubicBezTo>
                <a:cubicBezTo>
                  <a:pt x="608344" y="492111"/>
                  <a:pt x="551795" y="548582"/>
                  <a:pt x="481962" y="548582"/>
                </a:cubicBezTo>
                <a:cubicBezTo>
                  <a:pt x="412129" y="548582"/>
                  <a:pt x="355579" y="492111"/>
                  <a:pt x="355579" y="422376"/>
                </a:cubicBezTo>
                <a:cubicBezTo>
                  <a:pt x="355579" y="352641"/>
                  <a:pt x="412129" y="296170"/>
                  <a:pt x="481962" y="296170"/>
                </a:cubicBezTo>
                <a:close/>
                <a:moveTo>
                  <a:pt x="255835" y="446"/>
                </a:moveTo>
                <a:cubicBezTo>
                  <a:pt x="282785" y="-1828"/>
                  <a:pt x="303187" y="4899"/>
                  <a:pt x="317801" y="13616"/>
                </a:cubicBezTo>
                <a:cubicBezTo>
                  <a:pt x="339721" y="25744"/>
                  <a:pt x="348072" y="41661"/>
                  <a:pt x="348072" y="41661"/>
                </a:cubicBezTo>
                <a:cubicBezTo>
                  <a:pt x="348072" y="41661"/>
                  <a:pt x="398176" y="45167"/>
                  <a:pt x="381190" y="146831"/>
                </a:cubicBezTo>
                <a:cubicBezTo>
                  <a:pt x="380621" y="149863"/>
                  <a:pt x="379862" y="153085"/>
                  <a:pt x="378913" y="156211"/>
                </a:cubicBezTo>
                <a:cubicBezTo>
                  <a:pt x="388592" y="156211"/>
                  <a:pt x="398271" y="163507"/>
                  <a:pt x="387833" y="200458"/>
                </a:cubicBezTo>
                <a:cubicBezTo>
                  <a:pt x="379672" y="229262"/>
                  <a:pt x="372080" y="237221"/>
                  <a:pt x="366387" y="237694"/>
                </a:cubicBezTo>
                <a:cubicBezTo>
                  <a:pt x="364394" y="250675"/>
                  <a:pt x="359175" y="265076"/>
                  <a:pt x="351393" y="278720"/>
                </a:cubicBezTo>
                <a:lnTo>
                  <a:pt x="351393" y="322873"/>
                </a:lnTo>
                <a:cubicBezTo>
                  <a:pt x="330232" y="350539"/>
                  <a:pt x="317611" y="385027"/>
                  <a:pt x="317611" y="422358"/>
                </a:cubicBezTo>
                <a:cubicBezTo>
                  <a:pt x="317611" y="472764"/>
                  <a:pt x="340480" y="518053"/>
                  <a:pt x="376635" y="548088"/>
                </a:cubicBezTo>
                <a:lnTo>
                  <a:pt x="26855" y="548088"/>
                </a:lnTo>
                <a:cubicBezTo>
                  <a:pt x="12052" y="548088"/>
                  <a:pt x="0" y="536055"/>
                  <a:pt x="0" y="521274"/>
                </a:cubicBezTo>
                <a:lnTo>
                  <a:pt x="0" y="473806"/>
                </a:lnTo>
                <a:cubicBezTo>
                  <a:pt x="0" y="457983"/>
                  <a:pt x="7212" y="443013"/>
                  <a:pt x="19453" y="432969"/>
                </a:cubicBezTo>
                <a:cubicBezTo>
                  <a:pt x="86638" y="377921"/>
                  <a:pt x="159043" y="341443"/>
                  <a:pt x="173751" y="334242"/>
                </a:cubicBezTo>
                <a:cubicBezTo>
                  <a:pt x="175365" y="333484"/>
                  <a:pt x="176408" y="331779"/>
                  <a:pt x="176408" y="329884"/>
                </a:cubicBezTo>
                <a:lnTo>
                  <a:pt x="176408" y="278720"/>
                </a:lnTo>
                <a:cubicBezTo>
                  <a:pt x="168437" y="265076"/>
                  <a:pt x="163313" y="250675"/>
                  <a:pt x="161320" y="237694"/>
                </a:cubicBezTo>
                <a:cubicBezTo>
                  <a:pt x="155627" y="237221"/>
                  <a:pt x="148035" y="229072"/>
                  <a:pt x="139969" y="200458"/>
                </a:cubicBezTo>
                <a:cubicBezTo>
                  <a:pt x="129531" y="164170"/>
                  <a:pt x="138925" y="156496"/>
                  <a:pt x="148320" y="156211"/>
                </a:cubicBezTo>
                <a:cubicBezTo>
                  <a:pt x="147371" y="153085"/>
                  <a:pt x="146612" y="149863"/>
                  <a:pt x="146042" y="146736"/>
                </a:cubicBezTo>
                <a:cubicBezTo>
                  <a:pt x="142436" y="128450"/>
                  <a:pt x="141487" y="111396"/>
                  <a:pt x="145758" y="95099"/>
                </a:cubicBezTo>
                <a:cubicBezTo>
                  <a:pt x="150787" y="73212"/>
                  <a:pt x="162744" y="55684"/>
                  <a:pt x="176029" y="42135"/>
                </a:cubicBezTo>
                <a:cubicBezTo>
                  <a:pt x="184379" y="33134"/>
                  <a:pt x="193869" y="25459"/>
                  <a:pt x="203928" y="19017"/>
                </a:cubicBezTo>
                <a:cubicBezTo>
                  <a:pt x="212183" y="13332"/>
                  <a:pt x="221293" y="8405"/>
                  <a:pt x="231162" y="5089"/>
                </a:cubicBezTo>
                <a:cubicBezTo>
                  <a:pt x="238849" y="2625"/>
                  <a:pt x="247105" y="825"/>
                  <a:pt x="255835" y="446"/>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7" name="user_209046">
            <a:extLst>
              <a:ext uri="{FF2B5EF4-FFF2-40B4-BE49-F238E27FC236}">
                <a16:creationId xmlns:a16="http://schemas.microsoft.com/office/drawing/2014/main" id="{7F161D37-9FD7-4167-AE80-961F36A70C84}"/>
              </a:ext>
            </a:extLst>
          </p:cNvPr>
          <p:cNvSpPr/>
          <p:nvPr/>
        </p:nvSpPr>
        <p:spPr>
          <a:xfrm>
            <a:off x="3879670" y="2527887"/>
            <a:ext cx="199202" cy="227686"/>
          </a:xfrm>
          <a:custGeom>
            <a:avLst/>
            <a:gdLst>
              <a:gd name="T0" fmla="*/ 8582 w 9077"/>
              <a:gd name="T1" fmla="*/ 4538 h 10373"/>
              <a:gd name="T2" fmla="*/ 9077 w 9077"/>
              <a:gd name="T3" fmla="*/ 4538 h 10373"/>
              <a:gd name="T4" fmla="*/ 9077 w 9077"/>
              <a:gd name="T5" fmla="*/ 9151 h 10373"/>
              <a:gd name="T6" fmla="*/ 7855 w 9077"/>
              <a:gd name="T7" fmla="*/ 10373 h 10373"/>
              <a:gd name="T8" fmla="*/ 4789 w 9077"/>
              <a:gd name="T9" fmla="*/ 10373 h 10373"/>
              <a:gd name="T10" fmla="*/ 4539 w 9077"/>
              <a:gd name="T11" fmla="*/ 10123 h 10373"/>
              <a:gd name="T12" fmla="*/ 4539 w 9077"/>
              <a:gd name="T13" fmla="*/ 9562 h 10373"/>
              <a:gd name="T14" fmla="*/ 4789 w 9077"/>
              <a:gd name="T15" fmla="*/ 9312 h 10373"/>
              <a:gd name="T16" fmla="*/ 7532 w 9077"/>
              <a:gd name="T17" fmla="*/ 9312 h 10373"/>
              <a:gd name="T18" fmla="*/ 8106 w 9077"/>
              <a:gd name="T19" fmla="*/ 8738 h 10373"/>
              <a:gd name="T20" fmla="*/ 8106 w 9077"/>
              <a:gd name="T21" fmla="*/ 7780 h 10373"/>
              <a:gd name="T22" fmla="*/ 6734 w 9077"/>
              <a:gd name="T23" fmla="*/ 7780 h 10373"/>
              <a:gd name="T24" fmla="*/ 6484 w 9077"/>
              <a:gd name="T25" fmla="*/ 7530 h 10373"/>
              <a:gd name="T26" fmla="*/ 6484 w 9077"/>
              <a:gd name="T27" fmla="*/ 4788 h 10373"/>
              <a:gd name="T28" fmla="*/ 6734 w 9077"/>
              <a:gd name="T29" fmla="*/ 4538 h 10373"/>
              <a:gd name="T30" fmla="*/ 8582 w 9077"/>
              <a:gd name="T31" fmla="*/ 4538 h 10373"/>
              <a:gd name="T32" fmla="*/ 8087 w 9077"/>
              <a:gd name="T33" fmla="*/ 4538 h 10373"/>
              <a:gd name="T34" fmla="*/ 8087 w 9077"/>
              <a:gd name="T35" fmla="*/ 4520 h 10373"/>
              <a:gd name="T36" fmla="*/ 4521 w 9077"/>
              <a:gd name="T37" fmla="*/ 972 h 10373"/>
              <a:gd name="T38" fmla="*/ 955 w 9077"/>
              <a:gd name="T39" fmla="*/ 4520 h 10373"/>
              <a:gd name="T40" fmla="*/ 955 w 9077"/>
              <a:gd name="T41" fmla="*/ 4538 h 10373"/>
              <a:gd name="T42" fmla="*/ 0 w 9077"/>
              <a:gd name="T43" fmla="*/ 4538 h 10373"/>
              <a:gd name="T44" fmla="*/ 0 w 9077"/>
              <a:gd name="T45" fmla="*/ 6558 h 10373"/>
              <a:gd name="T46" fmla="*/ 1222 w 9077"/>
              <a:gd name="T47" fmla="*/ 7781 h 10373"/>
              <a:gd name="T48" fmla="*/ 2343 w 9077"/>
              <a:gd name="T49" fmla="*/ 7781 h 10373"/>
              <a:gd name="T50" fmla="*/ 2593 w 9077"/>
              <a:gd name="T51" fmla="*/ 7531 h 10373"/>
              <a:gd name="T52" fmla="*/ 2593 w 9077"/>
              <a:gd name="T53" fmla="*/ 4788 h 10373"/>
              <a:gd name="T54" fmla="*/ 2343 w 9077"/>
              <a:gd name="T55" fmla="*/ 4538 h 10373"/>
              <a:gd name="T56" fmla="*/ 0 w 9077"/>
              <a:gd name="T57" fmla="*/ 4538 h 10373"/>
              <a:gd name="T58" fmla="*/ 0 w 9077"/>
              <a:gd name="T59" fmla="*/ 4516 h 10373"/>
              <a:gd name="T60" fmla="*/ 4539 w 9077"/>
              <a:gd name="T61" fmla="*/ 0 h 10373"/>
              <a:gd name="T62" fmla="*/ 9077 w 9077"/>
              <a:gd name="T63" fmla="*/ 4516 h 10373"/>
              <a:gd name="T64" fmla="*/ 9077 w 9077"/>
              <a:gd name="T65" fmla="*/ 4538 h 10373"/>
              <a:gd name="T66" fmla="*/ 8582 w 9077"/>
              <a:gd name="T67" fmla="*/ 4538 h 10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077" h="10373">
                <a:moveTo>
                  <a:pt x="8582" y="4538"/>
                </a:moveTo>
                <a:lnTo>
                  <a:pt x="9077" y="4538"/>
                </a:lnTo>
                <a:lnTo>
                  <a:pt x="9077" y="9151"/>
                </a:lnTo>
                <a:cubicBezTo>
                  <a:pt x="9077" y="9826"/>
                  <a:pt x="8530" y="10373"/>
                  <a:pt x="7855" y="10373"/>
                </a:cubicBezTo>
                <a:lnTo>
                  <a:pt x="4789" y="10373"/>
                </a:lnTo>
                <a:cubicBezTo>
                  <a:pt x="4651" y="10373"/>
                  <a:pt x="4539" y="10261"/>
                  <a:pt x="4539" y="10123"/>
                </a:cubicBezTo>
                <a:lnTo>
                  <a:pt x="4539" y="9562"/>
                </a:lnTo>
                <a:cubicBezTo>
                  <a:pt x="4539" y="9425"/>
                  <a:pt x="4651" y="9312"/>
                  <a:pt x="4789" y="9312"/>
                </a:cubicBezTo>
                <a:lnTo>
                  <a:pt x="7532" y="9312"/>
                </a:lnTo>
                <a:cubicBezTo>
                  <a:pt x="7850" y="9312"/>
                  <a:pt x="8106" y="9055"/>
                  <a:pt x="8106" y="8738"/>
                </a:cubicBezTo>
                <a:lnTo>
                  <a:pt x="8106" y="7780"/>
                </a:lnTo>
                <a:lnTo>
                  <a:pt x="6734" y="7780"/>
                </a:lnTo>
                <a:cubicBezTo>
                  <a:pt x="6596" y="7780"/>
                  <a:pt x="6484" y="7667"/>
                  <a:pt x="6484" y="7530"/>
                </a:cubicBezTo>
                <a:lnTo>
                  <a:pt x="6484" y="4788"/>
                </a:lnTo>
                <a:cubicBezTo>
                  <a:pt x="6484" y="4651"/>
                  <a:pt x="6596" y="4538"/>
                  <a:pt x="6734" y="4538"/>
                </a:cubicBezTo>
                <a:lnTo>
                  <a:pt x="8582" y="4538"/>
                </a:lnTo>
                <a:lnTo>
                  <a:pt x="8087" y="4538"/>
                </a:lnTo>
                <a:lnTo>
                  <a:pt x="8087" y="4520"/>
                </a:lnTo>
                <a:cubicBezTo>
                  <a:pt x="8087" y="2560"/>
                  <a:pt x="6491" y="972"/>
                  <a:pt x="4521" y="972"/>
                </a:cubicBezTo>
                <a:cubicBezTo>
                  <a:pt x="2552" y="972"/>
                  <a:pt x="955" y="2561"/>
                  <a:pt x="955" y="4520"/>
                </a:cubicBezTo>
                <a:lnTo>
                  <a:pt x="955" y="4538"/>
                </a:lnTo>
                <a:lnTo>
                  <a:pt x="0" y="4538"/>
                </a:lnTo>
                <a:lnTo>
                  <a:pt x="0" y="6558"/>
                </a:lnTo>
                <a:cubicBezTo>
                  <a:pt x="0" y="7233"/>
                  <a:pt x="547" y="7781"/>
                  <a:pt x="1222" y="7781"/>
                </a:cubicBezTo>
                <a:lnTo>
                  <a:pt x="2343" y="7781"/>
                </a:lnTo>
                <a:cubicBezTo>
                  <a:pt x="2481" y="7781"/>
                  <a:pt x="2593" y="7668"/>
                  <a:pt x="2593" y="7531"/>
                </a:cubicBezTo>
                <a:lnTo>
                  <a:pt x="2593" y="4788"/>
                </a:lnTo>
                <a:cubicBezTo>
                  <a:pt x="2593" y="4651"/>
                  <a:pt x="2481" y="4538"/>
                  <a:pt x="2343" y="4538"/>
                </a:cubicBezTo>
                <a:lnTo>
                  <a:pt x="0" y="4538"/>
                </a:lnTo>
                <a:lnTo>
                  <a:pt x="0" y="4516"/>
                </a:lnTo>
                <a:cubicBezTo>
                  <a:pt x="0" y="2022"/>
                  <a:pt x="2032" y="0"/>
                  <a:pt x="4539" y="0"/>
                </a:cubicBezTo>
                <a:cubicBezTo>
                  <a:pt x="7045" y="0"/>
                  <a:pt x="9077" y="2021"/>
                  <a:pt x="9077" y="4516"/>
                </a:cubicBezTo>
                <a:lnTo>
                  <a:pt x="9077" y="4538"/>
                </a:lnTo>
                <a:lnTo>
                  <a:pt x="8582" y="4538"/>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sp>
        <p:nvSpPr>
          <p:cNvPr id="90" name="user_209046">
            <a:extLst>
              <a:ext uri="{FF2B5EF4-FFF2-40B4-BE49-F238E27FC236}">
                <a16:creationId xmlns:a16="http://schemas.microsoft.com/office/drawing/2014/main" id="{7CF2E957-BAE5-4568-B645-8E3514A8E565}"/>
              </a:ext>
            </a:extLst>
          </p:cNvPr>
          <p:cNvSpPr/>
          <p:nvPr/>
        </p:nvSpPr>
        <p:spPr>
          <a:xfrm>
            <a:off x="3860666" y="4007597"/>
            <a:ext cx="227686" cy="192442"/>
          </a:xfrm>
          <a:custGeom>
            <a:avLst/>
            <a:gdLst>
              <a:gd name="T0" fmla="*/ 4484 w 10375"/>
              <a:gd name="T1" fmla="*/ 6967 h 8769"/>
              <a:gd name="T2" fmla="*/ 4484 w 10375"/>
              <a:gd name="T3" fmla="*/ 8374 h 8769"/>
              <a:gd name="T4" fmla="*/ 5891 w 10375"/>
              <a:gd name="T5" fmla="*/ 8374 h 8769"/>
              <a:gd name="T6" fmla="*/ 5891 w 10375"/>
              <a:gd name="T7" fmla="*/ 6967 h 8769"/>
              <a:gd name="T8" fmla="*/ 4484 w 10375"/>
              <a:gd name="T9" fmla="*/ 6967 h 8769"/>
              <a:gd name="T10" fmla="*/ 1754 w 10375"/>
              <a:gd name="T11" fmla="*/ 5262 h 8769"/>
              <a:gd name="T12" fmla="*/ 2766 w 10375"/>
              <a:gd name="T13" fmla="*/ 6423 h 8769"/>
              <a:gd name="T14" fmla="*/ 7633 w 10375"/>
              <a:gd name="T15" fmla="*/ 6423 h 8769"/>
              <a:gd name="T16" fmla="*/ 8645 w 10375"/>
              <a:gd name="T17" fmla="*/ 5262 h 8769"/>
              <a:gd name="T18" fmla="*/ 1754 w 10375"/>
              <a:gd name="T19" fmla="*/ 5262 h 8769"/>
              <a:gd name="T20" fmla="*/ 0 w 10375"/>
              <a:gd name="T21" fmla="*/ 3261 h 8769"/>
              <a:gd name="T22" fmla="*/ 1038 w 10375"/>
              <a:gd name="T23" fmla="*/ 4447 h 8769"/>
              <a:gd name="T24" fmla="*/ 9338 w 10375"/>
              <a:gd name="T25" fmla="*/ 4447 h 8769"/>
              <a:gd name="T26" fmla="*/ 10375 w 10375"/>
              <a:gd name="T27" fmla="*/ 3261 h 8769"/>
              <a:gd name="T28" fmla="*/ 0 w 10375"/>
              <a:gd name="T29" fmla="*/ 3261 h 8769"/>
              <a:gd name="T30" fmla="*/ 0 w 10375"/>
              <a:gd name="T31" fmla="*/ 3261 h 87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375" h="8769">
                <a:moveTo>
                  <a:pt x="4484" y="6967"/>
                </a:moveTo>
                <a:cubicBezTo>
                  <a:pt x="4089" y="7362"/>
                  <a:pt x="4089" y="7979"/>
                  <a:pt x="4484" y="8374"/>
                </a:cubicBezTo>
                <a:cubicBezTo>
                  <a:pt x="4879" y="8769"/>
                  <a:pt x="5496" y="8769"/>
                  <a:pt x="5891" y="8374"/>
                </a:cubicBezTo>
                <a:cubicBezTo>
                  <a:pt x="6286" y="7979"/>
                  <a:pt x="6286" y="7362"/>
                  <a:pt x="5891" y="6967"/>
                </a:cubicBezTo>
                <a:cubicBezTo>
                  <a:pt x="5471" y="6571"/>
                  <a:pt x="4854" y="6571"/>
                  <a:pt x="4484" y="6967"/>
                </a:cubicBezTo>
                <a:close/>
                <a:moveTo>
                  <a:pt x="1754" y="5262"/>
                </a:moveTo>
                <a:lnTo>
                  <a:pt x="2766" y="6423"/>
                </a:lnTo>
                <a:cubicBezTo>
                  <a:pt x="4100" y="4892"/>
                  <a:pt x="6299" y="4892"/>
                  <a:pt x="7633" y="6423"/>
                </a:cubicBezTo>
                <a:lnTo>
                  <a:pt x="8645" y="5262"/>
                </a:lnTo>
                <a:cubicBezTo>
                  <a:pt x="6719" y="3088"/>
                  <a:pt x="3656" y="3088"/>
                  <a:pt x="1754" y="5262"/>
                </a:cubicBezTo>
                <a:close/>
                <a:moveTo>
                  <a:pt x="0" y="3261"/>
                </a:moveTo>
                <a:lnTo>
                  <a:pt x="1038" y="4447"/>
                </a:lnTo>
                <a:cubicBezTo>
                  <a:pt x="3335" y="1803"/>
                  <a:pt x="7040" y="1803"/>
                  <a:pt x="9338" y="4447"/>
                </a:cubicBezTo>
                <a:lnTo>
                  <a:pt x="10375" y="3261"/>
                </a:lnTo>
                <a:cubicBezTo>
                  <a:pt x="7534" y="0"/>
                  <a:pt x="2865" y="0"/>
                  <a:pt x="0" y="3261"/>
                </a:cubicBezTo>
                <a:close/>
                <a:moveTo>
                  <a:pt x="0" y="3261"/>
                </a:move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sp>
        <p:nvSpPr>
          <p:cNvPr id="92" name="user_209046">
            <a:extLst>
              <a:ext uri="{FF2B5EF4-FFF2-40B4-BE49-F238E27FC236}">
                <a16:creationId xmlns:a16="http://schemas.microsoft.com/office/drawing/2014/main" id="{EA36735A-2DC9-4C4D-92BC-1C068AF27A19}"/>
              </a:ext>
            </a:extLst>
          </p:cNvPr>
          <p:cNvSpPr/>
          <p:nvPr/>
        </p:nvSpPr>
        <p:spPr>
          <a:xfrm>
            <a:off x="5107102" y="4676095"/>
            <a:ext cx="184880" cy="227686"/>
          </a:xfrm>
          <a:custGeom>
            <a:avLst/>
            <a:gdLst>
              <a:gd name="T0" fmla="*/ 7781 w 8430"/>
              <a:gd name="T1" fmla="*/ 7127 h 10381"/>
              <a:gd name="T2" fmla="*/ 7559 w 8430"/>
              <a:gd name="T3" fmla="*/ 7127 h 10381"/>
              <a:gd name="T4" fmla="*/ 7559 w 8430"/>
              <a:gd name="T5" fmla="*/ 6663 h 10381"/>
              <a:gd name="T6" fmla="*/ 6498 w 8430"/>
              <a:gd name="T7" fmla="*/ 5838 h 10381"/>
              <a:gd name="T8" fmla="*/ 6485 w 8430"/>
              <a:gd name="T9" fmla="*/ 5838 h 10381"/>
              <a:gd name="T10" fmla="*/ 6485 w 8430"/>
              <a:gd name="T11" fmla="*/ 5189 h 10381"/>
              <a:gd name="T12" fmla="*/ 1298 w 8430"/>
              <a:gd name="T13" fmla="*/ 5189 h 10381"/>
              <a:gd name="T14" fmla="*/ 1298 w 8430"/>
              <a:gd name="T15" fmla="*/ 6486 h 10381"/>
              <a:gd name="T16" fmla="*/ 5409 w 8430"/>
              <a:gd name="T17" fmla="*/ 6486 h 10381"/>
              <a:gd name="T18" fmla="*/ 5409 w 8430"/>
              <a:gd name="T19" fmla="*/ 7134 h 10381"/>
              <a:gd name="T20" fmla="*/ 1296 w 8430"/>
              <a:gd name="T21" fmla="*/ 7134 h 10381"/>
              <a:gd name="T22" fmla="*/ 1296 w 8430"/>
              <a:gd name="T23" fmla="*/ 8432 h 10381"/>
              <a:gd name="T24" fmla="*/ 3890 w 8430"/>
              <a:gd name="T25" fmla="*/ 8432 h 10381"/>
              <a:gd name="T26" fmla="*/ 3890 w 8430"/>
              <a:gd name="T27" fmla="*/ 8442 h 10381"/>
              <a:gd name="T28" fmla="*/ 4533 w 8430"/>
              <a:gd name="T29" fmla="*/ 9280 h 10381"/>
              <a:gd name="T30" fmla="*/ 5408 w 8430"/>
              <a:gd name="T31" fmla="*/ 9280 h 10381"/>
              <a:gd name="T32" fmla="*/ 5408 w 8430"/>
              <a:gd name="T33" fmla="*/ 10377 h 10381"/>
              <a:gd name="T34" fmla="*/ 649 w 8430"/>
              <a:gd name="T35" fmla="*/ 10377 h 10381"/>
              <a:gd name="T36" fmla="*/ 0 w 8430"/>
              <a:gd name="T37" fmla="*/ 9728 h 10381"/>
              <a:gd name="T38" fmla="*/ 0 w 8430"/>
              <a:gd name="T39" fmla="*/ 3251 h 10381"/>
              <a:gd name="T40" fmla="*/ 3241 w 8430"/>
              <a:gd name="T41" fmla="*/ 3251 h 10381"/>
              <a:gd name="T42" fmla="*/ 3241 w 8430"/>
              <a:gd name="T43" fmla="*/ 3243 h 10381"/>
              <a:gd name="T44" fmla="*/ 3243 w 8430"/>
              <a:gd name="T45" fmla="*/ 3243 h 10381"/>
              <a:gd name="T46" fmla="*/ 3243 w 8430"/>
              <a:gd name="T47" fmla="*/ 1 h 10381"/>
              <a:gd name="T48" fmla="*/ 7134 w 8430"/>
              <a:gd name="T49" fmla="*/ 1 h 10381"/>
              <a:gd name="T50" fmla="*/ 7783 w 8430"/>
              <a:gd name="T51" fmla="*/ 649 h 10381"/>
              <a:gd name="T52" fmla="*/ 7783 w 8430"/>
              <a:gd name="T53" fmla="*/ 7127 h 10381"/>
              <a:gd name="T54" fmla="*/ 7781 w 8430"/>
              <a:gd name="T55" fmla="*/ 7127 h 10381"/>
              <a:gd name="T56" fmla="*/ 2594 w 8430"/>
              <a:gd name="T57" fmla="*/ 0 h 10381"/>
              <a:gd name="T58" fmla="*/ 2594 w 8430"/>
              <a:gd name="T59" fmla="*/ 2594 h 10381"/>
              <a:gd name="T60" fmla="*/ 0 w 8430"/>
              <a:gd name="T61" fmla="*/ 2594 h 10381"/>
              <a:gd name="T62" fmla="*/ 2594 w 8430"/>
              <a:gd name="T63" fmla="*/ 0 h 10381"/>
              <a:gd name="T64" fmla="*/ 7954 w 8430"/>
              <a:gd name="T65" fmla="*/ 7947 h 10381"/>
              <a:gd name="T66" fmla="*/ 8430 w 8430"/>
              <a:gd name="T67" fmla="*/ 8424 h 10381"/>
              <a:gd name="T68" fmla="*/ 8430 w 8430"/>
              <a:gd name="T69" fmla="*/ 8444 h 10381"/>
              <a:gd name="T70" fmla="*/ 7954 w 8430"/>
              <a:gd name="T71" fmla="*/ 8922 h 10381"/>
              <a:gd name="T72" fmla="*/ 6971 w 8430"/>
              <a:gd name="T73" fmla="*/ 8922 h 10381"/>
              <a:gd name="T74" fmla="*/ 6971 w 8430"/>
              <a:gd name="T75" fmla="*/ 9901 h 10381"/>
              <a:gd name="T76" fmla="*/ 6495 w 8430"/>
              <a:gd name="T77" fmla="*/ 10378 h 10381"/>
              <a:gd name="T78" fmla="*/ 6480 w 8430"/>
              <a:gd name="T79" fmla="*/ 10378 h 10381"/>
              <a:gd name="T80" fmla="*/ 5999 w 8430"/>
              <a:gd name="T81" fmla="*/ 9907 h 10381"/>
              <a:gd name="T82" fmla="*/ 5999 w 8430"/>
              <a:gd name="T83" fmla="*/ 8922 h 10381"/>
              <a:gd name="T84" fmla="*/ 5021 w 8430"/>
              <a:gd name="T85" fmla="*/ 8922 h 10381"/>
              <a:gd name="T86" fmla="*/ 4540 w 8430"/>
              <a:gd name="T87" fmla="*/ 8443 h 10381"/>
              <a:gd name="T88" fmla="*/ 4540 w 8430"/>
              <a:gd name="T89" fmla="*/ 8427 h 10381"/>
              <a:gd name="T90" fmla="*/ 5021 w 8430"/>
              <a:gd name="T91" fmla="*/ 7949 h 10381"/>
              <a:gd name="T92" fmla="*/ 5999 w 8430"/>
              <a:gd name="T93" fmla="*/ 7949 h 10381"/>
              <a:gd name="T94" fmla="*/ 5999 w 8430"/>
              <a:gd name="T95" fmla="*/ 6966 h 10381"/>
              <a:gd name="T96" fmla="*/ 6480 w 8430"/>
              <a:gd name="T97" fmla="*/ 6488 h 10381"/>
              <a:gd name="T98" fmla="*/ 6495 w 8430"/>
              <a:gd name="T99" fmla="*/ 6488 h 10381"/>
              <a:gd name="T100" fmla="*/ 6971 w 8430"/>
              <a:gd name="T101" fmla="*/ 6966 h 10381"/>
              <a:gd name="T102" fmla="*/ 6971 w 8430"/>
              <a:gd name="T103" fmla="*/ 7948 h 10381"/>
              <a:gd name="T104" fmla="*/ 7954 w 8430"/>
              <a:gd name="T105" fmla="*/ 7947 h 103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430" h="10381">
                <a:moveTo>
                  <a:pt x="7781" y="7127"/>
                </a:moveTo>
                <a:lnTo>
                  <a:pt x="7559" y="7127"/>
                </a:lnTo>
                <a:lnTo>
                  <a:pt x="7559" y="6663"/>
                </a:lnTo>
                <a:cubicBezTo>
                  <a:pt x="7559" y="6132"/>
                  <a:pt x="7019" y="5838"/>
                  <a:pt x="6498" y="5838"/>
                </a:cubicBezTo>
                <a:lnTo>
                  <a:pt x="6485" y="5838"/>
                </a:lnTo>
                <a:lnTo>
                  <a:pt x="6485" y="5189"/>
                </a:lnTo>
                <a:lnTo>
                  <a:pt x="1298" y="5189"/>
                </a:lnTo>
                <a:lnTo>
                  <a:pt x="1298" y="6486"/>
                </a:lnTo>
                <a:lnTo>
                  <a:pt x="5409" y="6486"/>
                </a:lnTo>
                <a:lnTo>
                  <a:pt x="5409" y="7134"/>
                </a:lnTo>
                <a:lnTo>
                  <a:pt x="1296" y="7134"/>
                </a:lnTo>
                <a:lnTo>
                  <a:pt x="1296" y="8432"/>
                </a:lnTo>
                <a:lnTo>
                  <a:pt x="3890" y="8432"/>
                </a:lnTo>
                <a:lnTo>
                  <a:pt x="3890" y="8442"/>
                </a:lnTo>
                <a:cubicBezTo>
                  <a:pt x="3890" y="8798"/>
                  <a:pt x="4175" y="9280"/>
                  <a:pt x="4533" y="9280"/>
                </a:cubicBezTo>
                <a:lnTo>
                  <a:pt x="5408" y="9280"/>
                </a:lnTo>
                <a:lnTo>
                  <a:pt x="5408" y="10377"/>
                </a:lnTo>
                <a:lnTo>
                  <a:pt x="649" y="10377"/>
                </a:lnTo>
                <a:cubicBezTo>
                  <a:pt x="290" y="10377"/>
                  <a:pt x="0" y="10087"/>
                  <a:pt x="0" y="9728"/>
                </a:cubicBezTo>
                <a:lnTo>
                  <a:pt x="0" y="3251"/>
                </a:lnTo>
                <a:lnTo>
                  <a:pt x="3241" y="3251"/>
                </a:lnTo>
                <a:lnTo>
                  <a:pt x="3241" y="3243"/>
                </a:lnTo>
                <a:lnTo>
                  <a:pt x="3243" y="3243"/>
                </a:lnTo>
                <a:lnTo>
                  <a:pt x="3243" y="1"/>
                </a:lnTo>
                <a:lnTo>
                  <a:pt x="7134" y="1"/>
                </a:lnTo>
                <a:cubicBezTo>
                  <a:pt x="7493" y="1"/>
                  <a:pt x="7783" y="291"/>
                  <a:pt x="7783" y="649"/>
                </a:cubicBezTo>
                <a:lnTo>
                  <a:pt x="7783" y="7127"/>
                </a:lnTo>
                <a:lnTo>
                  <a:pt x="7781" y="7127"/>
                </a:lnTo>
                <a:close/>
                <a:moveTo>
                  <a:pt x="2594" y="0"/>
                </a:moveTo>
                <a:lnTo>
                  <a:pt x="2594" y="2594"/>
                </a:lnTo>
                <a:lnTo>
                  <a:pt x="0" y="2594"/>
                </a:lnTo>
                <a:lnTo>
                  <a:pt x="2594" y="0"/>
                </a:lnTo>
                <a:close/>
                <a:moveTo>
                  <a:pt x="7954" y="7947"/>
                </a:moveTo>
                <a:cubicBezTo>
                  <a:pt x="8216" y="7947"/>
                  <a:pt x="8430" y="8161"/>
                  <a:pt x="8430" y="8424"/>
                </a:cubicBezTo>
                <a:lnTo>
                  <a:pt x="8430" y="8444"/>
                </a:lnTo>
                <a:cubicBezTo>
                  <a:pt x="8430" y="8707"/>
                  <a:pt x="8216" y="8922"/>
                  <a:pt x="7954" y="8922"/>
                </a:cubicBezTo>
                <a:lnTo>
                  <a:pt x="6971" y="8922"/>
                </a:lnTo>
                <a:lnTo>
                  <a:pt x="6971" y="9901"/>
                </a:lnTo>
                <a:cubicBezTo>
                  <a:pt x="6971" y="10163"/>
                  <a:pt x="6757" y="10378"/>
                  <a:pt x="6495" y="10378"/>
                </a:cubicBezTo>
                <a:lnTo>
                  <a:pt x="6480" y="10378"/>
                </a:lnTo>
                <a:cubicBezTo>
                  <a:pt x="6217" y="10381"/>
                  <a:pt x="6001" y="10171"/>
                  <a:pt x="5999" y="9907"/>
                </a:cubicBezTo>
                <a:lnTo>
                  <a:pt x="5999" y="8922"/>
                </a:lnTo>
                <a:lnTo>
                  <a:pt x="5021" y="8922"/>
                </a:lnTo>
                <a:cubicBezTo>
                  <a:pt x="4756" y="8923"/>
                  <a:pt x="4541" y="8708"/>
                  <a:pt x="4540" y="8443"/>
                </a:cubicBezTo>
                <a:lnTo>
                  <a:pt x="4540" y="8427"/>
                </a:lnTo>
                <a:cubicBezTo>
                  <a:pt x="4544" y="8163"/>
                  <a:pt x="4757" y="7952"/>
                  <a:pt x="5021" y="7949"/>
                </a:cubicBezTo>
                <a:lnTo>
                  <a:pt x="5999" y="7949"/>
                </a:lnTo>
                <a:lnTo>
                  <a:pt x="5999" y="6966"/>
                </a:lnTo>
                <a:cubicBezTo>
                  <a:pt x="5999" y="6702"/>
                  <a:pt x="6212" y="6488"/>
                  <a:pt x="6480" y="6488"/>
                </a:cubicBezTo>
                <a:lnTo>
                  <a:pt x="6495" y="6488"/>
                </a:lnTo>
                <a:cubicBezTo>
                  <a:pt x="6757" y="6488"/>
                  <a:pt x="6971" y="6702"/>
                  <a:pt x="6971" y="6966"/>
                </a:cubicBezTo>
                <a:lnTo>
                  <a:pt x="6971" y="7948"/>
                </a:lnTo>
                <a:lnTo>
                  <a:pt x="7954" y="7947"/>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sp>
        <p:nvSpPr>
          <p:cNvPr id="94" name="user_209046">
            <a:extLst>
              <a:ext uri="{FF2B5EF4-FFF2-40B4-BE49-F238E27FC236}">
                <a16:creationId xmlns:a16="http://schemas.microsoft.com/office/drawing/2014/main" id="{D2767EDF-8BBE-4139-A06F-DB92228541BD}"/>
              </a:ext>
            </a:extLst>
          </p:cNvPr>
          <p:cNvSpPr/>
          <p:nvPr/>
        </p:nvSpPr>
        <p:spPr>
          <a:xfrm>
            <a:off x="6960546" y="4676095"/>
            <a:ext cx="185403" cy="227686"/>
          </a:xfrm>
          <a:custGeom>
            <a:avLst/>
            <a:gdLst>
              <a:gd name="T0" fmla="*/ 4225 w 8450"/>
              <a:gd name="T1" fmla="*/ 0 h 10376"/>
              <a:gd name="T2" fmla="*/ 0 w 8450"/>
              <a:gd name="T3" fmla="*/ 4225 h 10376"/>
              <a:gd name="T4" fmla="*/ 4225 w 8450"/>
              <a:gd name="T5" fmla="*/ 8450 h 10376"/>
              <a:gd name="T6" fmla="*/ 8450 w 8450"/>
              <a:gd name="T7" fmla="*/ 4225 h 10376"/>
              <a:gd name="T8" fmla="*/ 4225 w 8450"/>
              <a:gd name="T9" fmla="*/ 0 h 10376"/>
              <a:gd name="T10" fmla="*/ 4225 w 8450"/>
              <a:gd name="T11" fmla="*/ 6092 h 10376"/>
              <a:gd name="T12" fmla="*/ 2359 w 8450"/>
              <a:gd name="T13" fmla="*/ 4226 h 10376"/>
              <a:gd name="T14" fmla="*/ 4225 w 8450"/>
              <a:gd name="T15" fmla="*/ 2360 h 10376"/>
              <a:gd name="T16" fmla="*/ 6092 w 8450"/>
              <a:gd name="T17" fmla="*/ 4226 h 10376"/>
              <a:gd name="T18" fmla="*/ 4225 w 8450"/>
              <a:gd name="T19" fmla="*/ 6092 h 10376"/>
              <a:gd name="T20" fmla="*/ 6682 w 8450"/>
              <a:gd name="T21" fmla="*/ 8571 h 10376"/>
              <a:gd name="T22" fmla="*/ 6322 w 8450"/>
              <a:gd name="T23" fmla="*/ 8582 h 10376"/>
              <a:gd name="T24" fmla="*/ 4225 w 8450"/>
              <a:gd name="T25" fmla="*/ 9225 h 10376"/>
              <a:gd name="T26" fmla="*/ 2180 w 8450"/>
              <a:gd name="T27" fmla="*/ 8611 h 10376"/>
              <a:gd name="T28" fmla="*/ 1793 w 8450"/>
              <a:gd name="T29" fmla="*/ 8620 h 10376"/>
              <a:gd name="T30" fmla="*/ 1533 w 8450"/>
              <a:gd name="T31" fmla="*/ 8956 h 10376"/>
              <a:gd name="T32" fmla="*/ 1352 w 8450"/>
              <a:gd name="T33" fmla="*/ 9871 h 10376"/>
              <a:gd name="T34" fmla="*/ 1857 w 8450"/>
              <a:gd name="T35" fmla="*/ 10376 h 10376"/>
              <a:gd name="T36" fmla="*/ 6680 w 8450"/>
              <a:gd name="T37" fmla="*/ 10376 h 10376"/>
              <a:gd name="T38" fmla="*/ 7185 w 8450"/>
              <a:gd name="T39" fmla="*/ 9871 h 10376"/>
              <a:gd name="T40" fmla="*/ 7004 w 8450"/>
              <a:gd name="T41" fmla="*/ 8956 h 10376"/>
              <a:gd name="T42" fmla="*/ 6682 w 8450"/>
              <a:gd name="T43" fmla="*/ 8571 h 10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450" h="10376">
                <a:moveTo>
                  <a:pt x="4225" y="0"/>
                </a:moveTo>
                <a:cubicBezTo>
                  <a:pt x="1892" y="0"/>
                  <a:pt x="0" y="1891"/>
                  <a:pt x="0" y="4225"/>
                </a:cubicBezTo>
                <a:cubicBezTo>
                  <a:pt x="0" y="6558"/>
                  <a:pt x="1892" y="8450"/>
                  <a:pt x="4225" y="8450"/>
                </a:cubicBezTo>
                <a:cubicBezTo>
                  <a:pt x="6559" y="8450"/>
                  <a:pt x="8450" y="6558"/>
                  <a:pt x="8450" y="4225"/>
                </a:cubicBezTo>
                <a:cubicBezTo>
                  <a:pt x="8450" y="1892"/>
                  <a:pt x="6559" y="0"/>
                  <a:pt x="4225" y="0"/>
                </a:cubicBezTo>
                <a:close/>
                <a:moveTo>
                  <a:pt x="4225" y="6092"/>
                </a:moveTo>
                <a:cubicBezTo>
                  <a:pt x="3194" y="6092"/>
                  <a:pt x="2359" y="5257"/>
                  <a:pt x="2359" y="4226"/>
                </a:cubicBezTo>
                <a:cubicBezTo>
                  <a:pt x="2359" y="3194"/>
                  <a:pt x="3194" y="2360"/>
                  <a:pt x="4225" y="2360"/>
                </a:cubicBezTo>
                <a:cubicBezTo>
                  <a:pt x="5257" y="2360"/>
                  <a:pt x="6092" y="3195"/>
                  <a:pt x="6092" y="4226"/>
                </a:cubicBezTo>
                <a:cubicBezTo>
                  <a:pt x="6092" y="5257"/>
                  <a:pt x="5257" y="6092"/>
                  <a:pt x="4225" y="6092"/>
                </a:cubicBezTo>
                <a:close/>
                <a:moveTo>
                  <a:pt x="6682" y="8571"/>
                </a:moveTo>
                <a:cubicBezTo>
                  <a:pt x="6570" y="8507"/>
                  <a:pt x="6432" y="8516"/>
                  <a:pt x="6322" y="8582"/>
                </a:cubicBezTo>
                <a:cubicBezTo>
                  <a:pt x="5643" y="8991"/>
                  <a:pt x="5117" y="9225"/>
                  <a:pt x="4225" y="9225"/>
                </a:cubicBezTo>
                <a:cubicBezTo>
                  <a:pt x="3355" y="9225"/>
                  <a:pt x="2843" y="9002"/>
                  <a:pt x="2180" y="8611"/>
                </a:cubicBezTo>
                <a:cubicBezTo>
                  <a:pt x="2060" y="8539"/>
                  <a:pt x="1909" y="8542"/>
                  <a:pt x="1793" y="8620"/>
                </a:cubicBezTo>
                <a:cubicBezTo>
                  <a:pt x="1659" y="8710"/>
                  <a:pt x="1584" y="8811"/>
                  <a:pt x="1533" y="8956"/>
                </a:cubicBezTo>
                <a:lnTo>
                  <a:pt x="1352" y="9871"/>
                </a:lnTo>
                <a:cubicBezTo>
                  <a:pt x="1352" y="10148"/>
                  <a:pt x="1579" y="10376"/>
                  <a:pt x="1857" y="10376"/>
                </a:cubicBezTo>
                <a:lnTo>
                  <a:pt x="6680" y="10376"/>
                </a:lnTo>
                <a:cubicBezTo>
                  <a:pt x="6958" y="10376"/>
                  <a:pt x="7185" y="10148"/>
                  <a:pt x="7185" y="9871"/>
                </a:cubicBezTo>
                <a:lnTo>
                  <a:pt x="7004" y="8956"/>
                </a:lnTo>
                <a:cubicBezTo>
                  <a:pt x="6947" y="8792"/>
                  <a:pt x="6845" y="8663"/>
                  <a:pt x="6682" y="8571"/>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sp>
        <p:nvSpPr>
          <p:cNvPr id="96" name="user_209046">
            <a:extLst>
              <a:ext uri="{FF2B5EF4-FFF2-40B4-BE49-F238E27FC236}">
                <a16:creationId xmlns:a16="http://schemas.microsoft.com/office/drawing/2014/main" id="{89412F15-89A9-46AE-80C0-57E153AE719A}"/>
              </a:ext>
            </a:extLst>
          </p:cNvPr>
          <p:cNvSpPr/>
          <p:nvPr/>
        </p:nvSpPr>
        <p:spPr>
          <a:xfrm>
            <a:off x="8121310" y="4006611"/>
            <a:ext cx="170775" cy="227686"/>
          </a:xfrm>
          <a:custGeom>
            <a:avLst/>
            <a:gdLst>
              <a:gd name="T0" fmla="*/ 3242 w 7782"/>
              <a:gd name="T1" fmla="*/ 0 h 10376"/>
              <a:gd name="T2" fmla="*/ 7134 w 7782"/>
              <a:gd name="T3" fmla="*/ 0 h 10376"/>
              <a:gd name="T4" fmla="*/ 7782 w 7782"/>
              <a:gd name="T5" fmla="*/ 648 h 10376"/>
              <a:gd name="T6" fmla="*/ 7782 w 7782"/>
              <a:gd name="T7" fmla="*/ 9727 h 10376"/>
              <a:gd name="T8" fmla="*/ 7134 w 7782"/>
              <a:gd name="T9" fmla="*/ 10376 h 10376"/>
              <a:gd name="T10" fmla="*/ 649 w 7782"/>
              <a:gd name="T11" fmla="*/ 10376 h 10376"/>
              <a:gd name="T12" fmla="*/ 0 w 7782"/>
              <a:gd name="T13" fmla="*/ 9727 h 10376"/>
              <a:gd name="T14" fmla="*/ 0 w 7782"/>
              <a:gd name="T15" fmla="*/ 3250 h 10376"/>
              <a:gd name="T16" fmla="*/ 3241 w 7782"/>
              <a:gd name="T17" fmla="*/ 3250 h 10376"/>
              <a:gd name="T18" fmla="*/ 3241 w 7782"/>
              <a:gd name="T19" fmla="*/ 3242 h 10376"/>
              <a:gd name="T20" fmla="*/ 3242 w 7782"/>
              <a:gd name="T21" fmla="*/ 3242 h 10376"/>
              <a:gd name="T22" fmla="*/ 3242 w 7782"/>
              <a:gd name="T23" fmla="*/ 0 h 10376"/>
              <a:gd name="T24" fmla="*/ 1297 w 7782"/>
              <a:gd name="T25" fmla="*/ 5188 h 10376"/>
              <a:gd name="T26" fmla="*/ 1297 w 7782"/>
              <a:gd name="T27" fmla="*/ 6485 h 10376"/>
              <a:gd name="T28" fmla="*/ 6485 w 7782"/>
              <a:gd name="T29" fmla="*/ 6485 h 10376"/>
              <a:gd name="T30" fmla="*/ 6485 w 7782"/>
              <a:gd name="T31" fmla="*/ 5188 h 10376"/>
              <a:gd name="T32" fmla="*/ 1297 w 7782"/>
              <a:gd name="T33" fmla="*/ 5188 h 10376"/>
              <a:gd name="T34" fmla="*/ 1297 w 7782"/>
              <a:gd name="T35" fmla="*/ 7133 h 10376"/>
              <a:gd name="T36" fmla="*/ 1297 w 7782"/>
              <a:gd name="T37" fmla="*/ 8431 h 10376"/>
              <a:gd name="T38" fmla="*/ 6485 w 7782"/>
              <a:gd name="T39" fmla="*/ 8431 h 10376"/>
              <a:gd name="T40" fmla="*/ 6485 w 7782"/>
              <a:gd name="T41" fmla="*/ 7133 h 10376"/>
              <a:gd name="T42" fmla="*/ 1297 w 7782"/>
              <a:gd name="T43" fmla="*/ 7133 h 10376"/>
              <a:gd name="T44" fmla="*/ 2594 w 7782"/>
              <a:gd name="T45" fmla="*/ 0 h 10376"/>
              <a:gd name="T46" fmla="*/ 2594 w 7782"/>
              <a:gd name="T47" fmla="*/ 2593 h 10376"/>
              <a:gd name="T48" fmla="*/ 0 w 7782"/>
              <a:gd name="T49" fmla="*/ 2593 h 10376"/>
              <a:gd name="T50" fmla="*/ 2594 w 7782"/>
              <a:gd name="T51" fmla="*/ 0 h 10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782" h="10376">
                <a:moveTo>
                  <a:pt x="3242" y="0"/>
                </a:moveTo>
                <a:lnTo>
                  <a:pt x="7134" y="0"/>
                </a:lnTo>
                <a:cubicBezTo>
                  <a:pt x="7492" y="0"/>
                  <a:pt x="7782" y="290"/>
                  <a:pt x="7782" y="648"/>
                </a:cubicBezTo>
                <a:lnTo>
                  <a:pt x="7782" y="9727"/>
                </a:lnTo>
                <a:cubicBezTo>
                  <a:pt x="7782" y="10086"/>
                  <a:pt x="7492" y="10376"/>
                  <a:pt x="7134" y="10376"/>
                </a:cubicBezTo>
                <a:lnTo>
                  <a:pt x="649" y="10376"/>
                </a:lnTo>
                <a:cubicBezTo>
                  <a:pt x="290" y="10376"/>
                  <a:pt x="0" y="10086"/>
                  <a:pt x="0" y="9727"/>
                </a:cubicBezTo>
                <a:lnTo>
                  <a:pt x="0" y="3250"/>
                </a:lnTo>
                <a:lnTo>
                  <a:pt x="3241" y="3250"/>
                </a:lnTo>
                <a:lnTo>
                  <a:pt x="3241" y="3242"/>
                </a:lnTo>
                <a:lnTo>
                  <a:pt x="3242" y="3242"/>
                </a:lnTo>
                <a:lnTo>
                  <a:pt x="3242" y="0"/>
                </a:lnTo>
                <a:close/>
                <a:moveTo>
                  <a:pt x="1297" y="5188"/>
                </a:moveTo>
                <a:lnTo>
                  <a:pt x="1297" y="6485"/>
                </a:lnTo>
                <a:lnTo>
                  <a:pt x="6485" y="6485"/>
                </a:lnTo>
                <a:lnTo>
                  <a:pt x="6485" y="5188"/>
                </a:lnTo>
                <a:lnTo>
                  <a:pt x="1297" y="5188"/>
                </a:lnTo>
                <a:close/>
                <a:moveTo>
                  <a:pt x="1297" y="7133"/>
                </a:moveTo>
                <a:lnTo>
                  <a:pt x="1297" y="8431"/>
                </a:lnTo>
                <a:lnTo>
                  <a:pt x="6485" y="8431"/>
                </a:lnTo>
                <a:lnTo>
                  <a:pt x="6485" y="7133"/>
                </a:lnTo>
                <a:lnTo>
                  <a:pt x="1297" y="7133"/>
                </a:lnTo>
                <a:close/>
                <a:moveTo>
                  <a:pt x="2594" y="0"/>
                </a:moveTo>
                <a:lnTo>
                  <a:pt x="2594" y="2593"/>
                </a:lnTo>
                <a:lnTo>
                  <a:pt x="0" y="2593"/>
                </a:lnTo>
                <a:lnTo>
                  <a:pt x="2594"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sp>
        <p:nvSpPr>
          <p:cNvPr id="98" name="user_209046">
            <a:extLst>
              <a:ext uri="{FF2B5EF4-FFF2-40B4-BE49-F238E27FC236}">
                <a16:creationId xmlns:a16="http://schemas.microsoft.com/office/drawing/2014/main" id="{3F4FCD95-70B9-459F-94D6-E5FE0CFA431C}"/>
              </a:ext>
            </a:extLst>
          </p:cNvPr>
          <p:cNvSpPr/>
          <p:nvPr/>
        </p:nvSpPr>
        <p:spPr>
          <a:xfrm>
            <a:off x="8092922" y="2548839"/>
            <a:ext cx="227550" cy="227686"/>
          </a:xfrm>
          <a:custGeom>
            <a:avLst/>
            <a:gdLst>
              <a:gd name="T0" fmla="*/ 5584 w 10429"/>
              <a:gd name="T1" fmla="*/ 8805 h 10436"/>
              <a:gd name="T2" fmla="*/ 7986 w 10429"/>
              <a:gd name="T3" fmla="*/ 10331 h 10436"/>
              <a:gd name="T4" fmla="*/ 8475 w 10429"/>
              <a:gd name="T5" fmla="*/ 10221 h 10436"/>
              <a:gd name="T6" fmla="*/ 8521 w 10429"/>
              <a:gd name="T7" fmla="*/ 9955 h 10436"/>
              <a:gd name="T8" fmla="*/ 7776 w 10429"/>
              <a:gd name="T9" fmla="*/ 6595 h 10436"/>
              <a:gd name="T10" fmla="*/ 10275 w 10429"/>
              <a:gd name="T11" fmla="*/ 4316 h 10436"/>
              <a:gd name="T12" fmla="*/ 10298 w 10429"/>
              <a:gd name="T13" fmla="*/ 3816 h 10436"/>
              <a:gd name="T14" fmla="*/ 10068 w 10429"/>
              <a:gd name="T15" fmla="*/ 3703 h 10436"/>
              <a:gd name="T16" fmla="*/ 6795 w 10429"/>
              <a:gd name="T17" fmla="*/ 3410 h 10436"/>
              <a:gd name="T18" fmla="*/ 5532 w 10429"/>
              <a:gd name="T19" fmla="*/ 270 h 10436"/>
              <a:gd name="T20" fmla="*/ 5071 w 10429"/>
              <a:gd name="T21" fmla="*/ 74 h 10436"/>
              <a:gd name="T22" fmla="*/ 4875 w 10429"/>
              <a:gd name="T23" fmla="*/ 270 h 10436"/>
              <a:gd name="T24" fmla="*/ 3611 w 10429"/>
              <a:gd name="T25" fmla="*/ 3409 h 10436"/>
              <a:gd name="T26" fmla="*/ 339 w 10429"/>
              <a:gd name="T27" fmla="*/ 3701 h 10436"/>
              <a:gd name="T28" fmla="*/ 17 w 10429"/>
              <a:gd name="T29" fmla="*/ 4086 h 10436"/>
              <a:gd name="T30" fmla="*/ 131 w 10429"/>
              <a:gd name="T31" fmla="*/ 4315 h 10436"/>
              <a:gd name="T32" fmla="*/ 2631 w 10429"/>
              <a:gd name="T33" fmla="*/ 6595 h 10436"/>
              <a:gd name="T34" fmla="*/ 1886 w 10429"/>
              <a:gd name="T35" fmla="*/ 9956 h 10436"/>
              <a:gd name="T36" fmla="*/ 2156 w 10429"/>
              <a:gd name="T37" fmla="*/ 10379 h 10436"/>
              <a:gd name="T38" fmla="*/ 2422 w 10429"/>
              <a:gd name="T39" fmla="*/ 10332 h 10436"/>
              <a:gd name="T40" fmla="*/ 4824 w 10429"/>
              <a:gd name="T41" fmla="*/ 8806 h 10436"/>
              <a:gd name="T42" fmla="*/ 5584 w 10429"/>
              <a:gd name="T43" fmla="*/ 8805 h 104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429" h="10436">
                <a:moveTo>
                  <a:pt x="5584" y="8805"/>
                </a:moveTo>
                <a:lnTo>
                  <a:pt x="7986" y="10331"/>
                </a:lnTo>
                <a:cubicBezTo>
                  <a:pt x="8151" y="10436"/>
                  <a:pt x="8370" y="10388"/>
                  <a:pt x="8475" y="10221"/>
                </a:cubicBezTo>
                <a:cubicBezTo>
                  <a:pt x="8525" y="10143"/>
                  <a:pt x="8543" y="10046"/>
                  <a:pt x="8521" y="9955"/>
                </a:cubicBezTo>
                <a:lnTo>
                  <a:pt x="7776" y="6595"/>
                </a:lnTo>
                <a:lnTo>
                  <a:pt x="10275" y="4316"/>
                </a:lnTo>
                <a:cubicBezTo>
                  <a:pt x="10419" y="4184"/>
                  <a:pt x="10429" y="3960"/>
                  <a:pt x="10298" y="3816"/>
                </a:cubicBezTo>
                <a:cubicBezTo>
                  <a:pt x="10238" y="3751"/>
                  <a:pt x="10156" y="3710"/>
                  <a:pt x="10068" y="3703"/>
                </a:cubicBezTo>
                <a:lnTo>
                  <a:pt x="6795" y="3410"/>
                </a:lnTo>
                <a:lnTo>
                  <a:pt x="5532" y="270"/>
                </a:lnTo>
                <a:cubicBezTo>
                  <a:pt x="5460" y="89"/>
                  <a:pt x="5254" y="0"/>
                  <a:pt x="5071" y="74"/>
                </a:cubicBezTo>
                <a:cubicBezTo>
                  <a:pt x="4981" y="110"/>
                  <a:pt x="4910" y="181"/>
                  <a:pt x="4875" y="270"/>
                </a:cubicBezTo>
                <a:lnTo>
                  <a:pt x="3611" y="3409"/>
                </a:lnTo>
                <a:lnTo>
                  <a:pt x="339" y="3701"/>
                </a:lnTo>
                <a:cubicBezTo>
                  <a:pt x="144" y="3719"/>
                  <a:pt x="0" y="3891"/>
                  <a:pt x="17" y="4086"/>
                </a:cubicBezTo>
                <a:cubicBezTo>
                  <a:pt x="25" y="4174"/>
                  <a:pt x="66" y="4256"/>
                  <a:pt x="131" y="4315"/>
                </a:cubicBezTo>
                <a:lnTo>
                  <a:pt x="2631" y="6595"/>
                </a:lnTo>
                <a:lnTo>
                  <a:pt x="1886" y="9956"/>
                </a:lnTo>
                <a:cubicBezTo>
                  <a:pt x="1844" y="10148"/>
                  <a:pt x="1965" y="10336"/>
                  <a:pt x="2156" y="10379"/>
                </a:cubicBezTo>
                <a:cubicBezTo>
                  <a:pt x="2247" y="10399"/>
                  <a:pt x="2344" y="10382"/>
                  <a:pt x="2422" y="10332"/>
                </a:cubicBezTo>
                <a:lnTo>
                  <a:pt x="4824" y="8806"/>
                </a:lnTo>
                <a:cubicBezTo>
                  <a:pt x="5055" y="8657"/>
                  <a:pt x="5351" y="8657"/>
                  <a:pt x="5584" y="8805"/>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sp>
        <p:nvSpPr>
          <p:cNvPr id="39" name="user_209046">
            <a:extLst>
              <a:ext uri="{FF2B5EF4-FFF2-40B4-BE49-F238E27FC236}">
                <a16:creationId xmlns:a16="http://schemas.microsoft.com/office/drawing/2014/main" id="{11DE9BD8-CCFD-4E06-9859-049FFCBE0286}"/>
              </a:ext>
            </a:extLst>
          </p:cNvPr>
          <p:cNvSpPr/>
          <p:nvPr/>
        </p:nvSpPr>
        <p:spPr>
          <a:xfrm>
            <a:off x="6960546" y="1828650"/>
            <a:ext cx="182487" cy="175984"/>
          </a:xfrm>
          <a:custGeom>
            <a:avLst/>
            <a:gdLst>
              <a:gd name="T0" fmla="*/ 11888 w 12803"/>
              <a:gd name="T1" fmla="*/ 0 h 12345"/>
              <a:gd name="T2" fmla="*/ 914 w 12803"/>
              <a:gd name="T3" fmla="*/ 0 h 12345"/>
              <a:gd name="T4" fmla="*/ 0 w 12803"/>
              <a:gd name="T5" fmla="*/ 914 h 12345"/>
              <a:gd name="T6" fmla="*/ 0 w 12803"/>
              <a:gd name="T7" fmla="*/ 8687 h 12345"/>
              <a:gd name="T8" fmla="*/ 914 w 12803"/>
              <a:gd name="T9" fmla="*/ 9602 h 12345"/>
              <a:gd name="T10" fmla="*/ 3201 w 12803"/>
              <a:gd name="T11" fmla="*/ 9602 h 12345"/>
              <a:gd name="T12" fmla="*/ 3201 w 12803"/>
              <a:gd name="T13" fmla="*/ 12345 h 12345"/>
              <a:gd name="T14" fmla="*/ 8230 w 12803"/>
              <a:gd name="T15" fmla="*/ 9602 h 12345"/>
              <a:gd name="T16" fmla="*/ 11888 w 12803"/>
              <a:gd name="T17" fmla="*/ 9602 h 12345"/>
              <a:gd name="T18" fmla="*/ 12803 w 12803"/>
              <a:gd name="T19" fmla="*/ 8687 h 12345"/>
              <a:gd name="T20" fmla="*/ 12803 w 12803"/>
              <a:gd name="T21" fmla="*/ 914 h 12345"/>
              <a:gd name="T22" fmla="*/ 11888 w 12803"/>
              <a:gd name="T23" fmla="*/ 0 h 12345"/>
              <a:gd name="T24" fmla="*/ 3201 w 12803"/>
              <a:gd name="T25" fmla="*/ 5487 h 12345"/>
              <a:gd name="T26" fmla="*/ 2286 w 12803"/>
              <a:gd name="T27" fmla="*/ 4572 h 12345"/>
              <a:gd name="T28" fmla="*/ 3201 w 12803"/>
              <a:gd name="T29" fmla="*/ 3658 h 12345"/>
              <a:gd name="T30" fmla="*/ 4115 w 12803"/>
              <a:gd name="T31" fmla="*/ 4572 h 12345"/>
              <a:gd name="T32" fmla="*/ 3201 w 12803"/>
              <a:gd name="T33" fmla="*/ 5487 h 12345"/>
              <a:gd name="T34" fmla="*/ 6401 w 12803"/>
              <a:gd name="T35" fmla="*/ 5487 h 12345"/>
              <a:gd name="T36" fmla="*/ 5487 w 12803"/>
              <a:gd name="T37" fmla="*/ 4572 h 12345"/>
              <a:gd name="T38" fmla="*/ 6401 w 12803"/>
              <a:gd name="T39" fmla="*/ 3658 h 12345"/>
              <a:gd name="T40" fmla="*/ 7316 w 12803"/>
              <a:gd name="T41" fmla="*/ 4572 h 12345"/>
              <a:gd name="T42" fmla="*/ 6401 w 12803"/>
              <a:gd name="T43" fmla="*/ 5487 h 12345"/>
              <a:gd name="T44" fmla="*/ 9602 w 12803"/>
              <a:gd name="T45" fmla="*/ 5487 h 12345"/>
              <a:gd name="T46" fmla="*/ 8687 w 12803"/>
              <a:gd name="T47" fmla="*/ 4572 h 12345"/>
              <a:gd name="T48" fmla="*/ 9602 w 12803"/>
              <a:gd name="T49" fmla="*/ 3658 h 12345"/>
              <a:gd name="T50" fmla="*/ 10516 w 12803"/>
              <a:gd name="T51" fmla="*/ 4572 h 12345"/>
              <a:gd name="T52" fmla="*/ 9602 w 12803"/>
              <a:gd name="T53" fmla="*/ 5487 h 12345"/>
              <a:gd name="T54" fmla="*/ 9602 w 12803"/>
              <a:gd name="T55" fmla="*/ 5487 h 123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2803" h="12345">
                <a:moveTo>
                  <a:pt x="11888" y="0"/>
                </a:moveTo>
                <a:lnTo>
                  <a:pt x="914" y="0"/>
                </a:lnTo>
                <a:cubicBezTo>
                  <a:pt x="409" y="0"/>
                  <a:pt x="0" y="409"/>
                  <a:pt x="0" y="914"/>
                </a:cubicBezTo>
                <a:lnTo>
                  <a:pt x="0" y="8687"/>
                </a:lnTo>
                <a:cubicBezTo>
                  <a:pt x="0" y="9193"/>
                  <a:pt x="409" y="9602"/>
                  <a:pt x="914" y="9602"/>
                </a:cubicBezTo>
                <a:lnTo>
                  <a:pt x="3201" y="9602"/>
                </a:lnTo>
                <a:lnTo>
                  <a:pt x="3201" y="12345"/>
                </a:lnTo>
                <a:lnTo>
                  <a:pt x="8230" y="9602"/>
                </a:lnTo>
                <a:lnTo>
                  <a:pt x="11888" y="9602"/>
                </a:lnTo>
                <a:cubicBezTo>
                  <a:pt x="12393" y="9602"/>
                  <a:pt x="12803" y="9193"/>
                  <a:pt x="12803" y="8687"/>
                </a:cubicBezTo>
                <a:lnTo>
                  <a:pt x="12803" y="914"/>
                </a:lnTo>
                <a:cubicBezTo>
                  <a:pt x="12803" y="409"/>
                  <a:pt x="12393" y="0"/>
                  <a:pt x="11888" y="0"/>
                </a:cubicBezTo>
                <a:close/>
                <a:moveTo>
                  <a:pt x="3201" y="5487"/>
                </a:moveTo>
                <a:cubicBezTo>
                  <a:pt x="2695" y="5487"/>
                  <a:pt x="2286" y="5077"/>
                  <a:pt x="2286" y="4572"/>
                </a:cubicBezTo>
                <a:cubicBezTo>
                  <a:pt x="2286" y="4067"/>
                  <a:pt x="2695" y="3658"/>
                  <a:pt x="3201" y="3658"/>
                </a:cubicBezTo>
                <a:cubicBezTo>
                  <a:pt x="3706" y="3658"/>
                  <a:pt x="4115" y="4067"/>
                  <a:pt x="4115" y="4572"/>
                </a:cubicBezTo>
                <a:cubicBezTo>
                  <a:pt x="4115" y="5077"/>
                  <a:pt x="3706" y="5487"/>
                  <a:pt x="3201" y="5487"/>
                </a:cubicBezTo>
                <a:close/>
                <a:moveTo>
                  <a:pt x="6401" y="5487"/>
                </a:moveTo>
                <a:cubicBezTo>
                  <a:pt x="5896" y="5487"/>
                  <a:pt x="5487" y="5077"/>
                  <a:pt x="5487" y="4572"/>
                </a:cubicBezTo>
                <a:cubicBezTo>
                  <a:pt x="5487" y="4067"/>
                  <a:pt x="5896" y="3658"/>
                  <a:pt x="6401" y="3658"/>
                </a:cubicBezTo>
                <a:cubicBezTo>
                  <a:pt x="6907" y="3658"/>
                  <a:pt x="7316" y="4067"/>
                  <a:pt x="7316" y="4572"/>
                </a:cubicBezTo>
                <a:cubicBezTo>
                  <a:pt x="7316" y="5077"/>
                  <a:pt x="6907" y="5487"/>
                  <a:pt x="6401" y="5487"/>
                </a:cubicBezTo>
                <a:close/>
                <a:moveTo>
                  <a:pt x="9602" y="5487"/>
                </a:moveTo>
                <a:cubicBezTo>
                  <a:pt x="9097" y="5487"/>
                  <a:pt x="8687" y="5077"/>
                  <a:pt x="8687" y="4572"/>
                </a:cubicBezTo>
                <a:cubicBezTo>
                  <a:pt x="8687" y="4067"/>
                  <a:pt x="9097" y="3658"/>
                  <a:pt x="9602" y="3658"/>
                </a:cubicBezTo>
                <a:cubicBezTo>
                  <a:pt x="10107" y="3658"/>
                  <a:pt x="10516" y="4067"/>
                  <a:pt x="10516" y="4572"/>
                </a:cubicBezTo>
                <a:cubicBezTo>
                  <a:pt x="10516" y="5077"/>
                  <a:pt x="10107" y="5487"/>
                  <a:pt x="9602" y="5487"/>
                </a:cubicBezTo>
                <a:close/>
                <a:moveTo>
                  <a:pt x="9602" y="5487"/>
                </a:move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sp>
        <p:nvSpPr>
          <p:cNvPr id="99" name="文本框 98">
            <a:extLst>
              <a:ext uri="{FF2B5EF4-FFF2-40B4-BE49-F238E27FC236}">
                <a16:creationId xmlns:a16="http://schemas.microsoft.com/office/drawing/2014/main" id="{EEACB29B-C7E2-41A9-980D-BD2127B76A87}"/>
              </a:ext>
            </a:extLst>
          </p:cNvPr>
          <p:cNvSpPr txBox="1"/>
          <p:nvPr/>
        </p:nvSpPr>
        <p:spPr>
          <a:xfrm>
            <a:off x="4878388" y="3255862"/>
            <a:ext cx="615553" cy="246221"/>
          </a:xfrm>
          <a:prstGeom prst="rect">
            <a:avLst/>
          </a:prstGeom>
          <a:noFill/>
        </p:spPr>
        <p:txBody>
          <a:bodyPr wrap="none" lIns="0" tIns="0" rIns="0" bIns="0" rtlCol="0" anchor="t">
            <a:spAutoFit/>
          </a:bodyPr>
          <a:lstStyle/>
          <a:p>
            <a:pPr algn="ctr"/>
            <a:r>
              <a:rPr lang="zh-CN" altLang="en-US" sz="1600" dirty="0">
                <a:solidFill>
                  <a:schemeClr val="bg1"/>
                </a:solidFill>
                <a:latin typeface="+mj-ea"/>
                <a:ea typeface="+mj-ea"/>
              </a:rPr>
              <a:t>关键词</a:t>
            </a:r>
          </a:p>
        </p:txBody>
      </p:sp>
      <p:sp>
        <p:nvSpPr>
          <p:cNvPr id="100" name="文本框 99">
            <a:extLst>
              <a:ext uri="{FF2B5EF4-FFF2-40B4-BE49-F238E27FC236}">
                <a16:creationId xmlns:a16="http://schemas.microsoft.com/office/drawing/2014/main" id="{4A93F70B-90B5-421D-B086-2CADEBB08187}"/>
              </a:ext>
            </a:extLst>
          </p:cNvPr>
          <p:cNvSpPr txBox="1"/>
          <p:nvPr/>
        </p:nvSpPr>
        <p:spPr>
          <a:xfrm>
            <a:off x="6768074" y="3255862"/>
            <a:ext cx="615553" cy="246221"/>
          </a:xfrm>
          <a:prstGeom prst="rect">
            <a:avLst/>
          </a:prstGeom>
          <a:noFill/>
        </p:spPr>
        <p:txBody>
          <a:bodyPr wrap="none" lIns="0" tIns="0" rIns="0" bIns="0" rtlCol="0" anchor="t">
            <a:spAutoFit/>
          </a:bodyPr>
          <a:lstStyle/>
          <a:p>
            <a:pPr algn="ctr"/>
            <a:r>
              <a:rPr lang="zh-CN" altLang="en-US" sz="1600" dirty="0">
                <a:solidFill>
                  <a:schemeClr val="bg1"/>
                </a:solidFill>
                <a:latin typeface="+mj-ea"/>
                <a:ea typeface="+mj-ea"/>
              </a:rPr>
              <a:t>关键词</a:t>
            </a:r>
          </a:p>
        </p:txBody>
      </p:sp>
    </p:spTree>
    <p:custDataLst>
      <p:tags r:id="rId2"/>
    </p:custDataLst>
    <p:extLst>
      <p:ext uri="{BB962C8B-B14F-4D97-AF65-F5344CB8AC3E}">
        <p14:creationId xmlns:p14="http://schemas.microsoft.com/office/powerpoint/2010/main" val="4290596856"/>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2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 name="椭圆 62">
            <a:extLst>
              <a:ext uri="{FF2B5EF4-FFF2-40B4-BE49-F238E27FC236}">
                <a16:creationId xmlns:a16="http://schemas.microsoft.com/office/drawing/2014/main" id="{48488CD1-2D64-4146-91DD-31CBE54F1B9A}"/>
              </a:ext>
            </a:extLst>
          </p:cNvPr>
          <p:cNvSpPr/>
          <p:nvPr/>
        </p:nvSpPr>
        <p:spPr>
          <a:xfrm>
            <a:off x="3331462" y="766062"/>
            <a:ext cx="5529074" cy="5529074"/>
          </a:xfrm>
          <a:prstGeom prst="ellipse">
            <a:avLst/>
          </a:prstGeom>
          <a:solidFill>
            <a:schemeClr val="accent1">
              <a:alpha val="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50" name="椭圆 49">
            <a:extLst>
              <a:ext uri="{FF2B5EF4-FFF2-40B4-BE49-F238E27FC236}">
                <a16:creationId xmlns:a16="http://schemas.microsoft.com/office/drawing/2014/main" id="{F0C1EFBC-DEAA-4245-8048-D240CD86BC68}"/>
              </a:ext>
            </a:extLst>
          </p:cNvPr>
          <p:cNvSpPr/>
          <p:nvPr/>
        </p:nvSpPr>
        <p:spPr>
          <a:xfrm>
            <a:off x="4062984" y="1497584"/>
            <a:ext cx="4066032" cy="4066032"/>
          </a:xfrm>
          <a:prstGeom prst="ellipse">
            <a:avLst/>
          </a:prstGeom>
          <a:solidFill>
            <a:schemeClr val="accent1">
              <a:alpha val="2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49" name="椭圆 48">
            <a:extLst>
              <a:ext uri="{FF2B5EF4-FFF2-40B4-BE49-F238E27FC236}">
                <a16:creationId xmlns:a16="http://schemas.microsoft.com/office/drawing/2014/main" id="{58F15AE6-ADBB-4D9E-A78D-757B9D32C4CE}"/>
              </a:ext>
            </a:extLst>
          </p:cNvPr>
          <p:cNvSpPr/>
          <p:nvPr/>
        </p:nvSpPr>
        <p:spPr>
          <a:xfrm>
            <a:off x="4594225" y="2028825"/>
            <a:ext cx="3003550" cy="3003550"/>
          </a:xfrm>
          <a:prstGeom prst="ellipse">
            <a:avLst/>
          </a:prstGeom>
          <a:solidFill>
            <a:schemeClr val="accent1">
              <a:alpha val="5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7" name="椭圆 6">
            <a:extLst>
              <a:ext uri="{FF2B5EF4-FFF2-40B4-BE49-F238E27FC236}">
                <a16:creationId xmlns:a16="http://schemas.microsoft.com/office/drawing/2014/main" id="{EDCA9B07-18BA-4372-BFF8-A9B54607B74F}"/>
              </a:ext>
            </a:extLst>
          </p:cNvPr>
          <p:cNvSpPr/>
          <p:nvPr/>
        </p:nvSpPr>
        <p:spPr>
          <a:xfrm>
            <a:off x="5029200" y="2463800"/>
            <a:ext cx="2133600" cy="2133600"/>
          </a:xfrm>
          <a:prstGeom prst="ellipse">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51" name="椭圆 50">
            <a:extLst>
              <a:ext uri="{FF2B5EF4-FFF2-40B4-BE49-F238E27FC236}">
                <a16:creationId xmlns:a16="http://schemas.microsoft.com/office/drawing/2014/main" id="{3453648D-CF53-4854-B11B-CBCD07DAFD7A}"/>
              </a:ext>
            </a:extLst>
          </p:cNvPr>
          <p:cNvSpPr/>
          <p:nvPr/>
        </p:nvSpPr>
        <p:spPr>
          <a:xfrm>
            <a:off x="1868890" y="-697505"/>
            <a:ext cx="8456210" cy="8456210"/>
          </a:xfrm>
          <a:prstGeom prst="ellipse">
            <a:avLst/>
          </a:prstGeom>
          <a:noFill/>
          <a:ln w="28575">
            <a:solidFill>
              <a:schemeClr val="accent1">
                <a:alpha val="2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52" name="椭圆 51">
            <a:extLst>
              <a:ext uri="{FF2B5EF4-FFF2-40B4-BE49-F238E27FC236}">
                <a16:creationId xmlns:a16="http://schemas.microsoft.com/office/drawing/2014/main" id="{4F209E1D-4E16-4ECE-BEC8-AB1E21F14B93}"/>
              </a:ext>
            </a:extLst>
          </p:cNvPr>
          <p:cNvSpPr/>
          <p:nvPr/>
        </p:nvSpPr>
        <p:spPr>
          <a:xfrm>
            <a:off x="3896288" y="1336940"/>
            <a:ext cx="673588" cy="673586"/>
          </a:xfrm>
          <a:prstGeom prst="ellipse">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53" name="椭圆 52">
            <a:extLst>
              <a:ext uri="{FF2B5EF4-FFF2-40B4-BE49-F238E27FC236}">
                <a16:creationId xmlns:a16="http://schemas.microsoft.com/office/drawing/2014/main" id="{0CA890D9-F10F-4C07-9D2D-EEE77F298F22}"/>
              </a:ext>
            </a:extLst>
          </p:cNvPr>
          <p:cNvSpPr/>
          <p:nvPr/>
        </p:nvSpPr>
        <p:spPr>
          <a:xfrm>
            <a:off x="8708511" y="2012707"/>
            <a:ext cx="673588" cy="673586"/>
          </a:xfrm>
          <a:prstGeom prst="ellipse">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60" name="椭圆 59">
            <a:extLst>
              <a:ext uri="{FF2B5EF4-FFF2-40B4-BE49-F238E27FC236}">
                <a16:creationId xmlns:a16="http://schemas.microsoft.com/office/drawing/2014/main" id="{8A759DD8-D3A1-4EAA-8EF4-F552EEEBC3E0}"/>
              </a:ext>
            </a:extLst>
          </p:cNvPr>
          <p:cNvSpPr/>
          <p:nvPr/>
        </p:nvSpPr>
        <p:spPr>
          <a:xfrm>
            <a:off x="3632881" y="5096384"/>
            <a:ext cx="673588" cy="673586"/>
          </a:xfrm>
          <a:prstGeom prst="ellipse">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61" name="椭圆 60">
            <a:extLst>
              <a:ext uri="{FF2B5EF4-FFF2-40B4-BE49-F238E27FC236}">
                <a16:creationId xmlns:a16="http://schemas.microsoft.com/office/drawing/2014/main" id="{00C57B51-C1B9-4AA6-83FA-43FB3E32937C}"/>
              </a:ext>
            </a:extLst>
          </p:cNvPr>
          <p:cNvSpPr/>
          <p:nvPr/>
        </p:nvSpPr>
        <p:spPr>
          <a:xfrm>
            <a:off x="7374894" y="4358789"/>
            <a:ext cx="673588" cy="673586"/>
          </a:xfrm>
          <a:prstGeom prst="ellipse">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62" name="椭圆 61">
            <a:extLst>
              <a:ext uri="{FF2B5EF4-FFF2-40B4-BE49-F238E27FC236}">
                <a16:creationId xmlns:a16="http://schemas.microsoft.com/office/drawing/2014/main" id="{FAE74B00-D728-4A7A-AB46-AE0DEC818B20}"/>
              </a:ext>
            </a:extLst>
          </p:cNvPr>
          <p:cNvSpPr/>
          <p:nvPr/>
        </p:nvSpPr>
        <p:spPr>
          <a:xfrm>
            <a:off x="2395704" y="3119658"/>
            <a:ext cx="673588" cy="673586"/>
          </a:xfrm>
          <a:prstGeom prst="ellipse">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10" name="文本框 9">
            <a:extLst>
              <a:ext uri="{FF2B5EF4-FFF2-40B4-BE49-F238E27FC236}">
                <a16:creationId xmlns:a16="http://schemas.microsoft.com/office/drawing/2014/main" id="{4F89EE47-D4DB-4F0D-91E6-5D36BB8DD79B}"/>
              </a:ext>
            </a:extLst>
          </p:cNvPr>
          <p:cNvSpPr txBox="1"/>
          <p:nvPr/>
        </p:nvSpPr>
        <p:spPr>
          <a:xfrm>
            <a:off x="5480446" y="3284378"/>
            <a:ext cx="1231107" cy="492443"/>
          </a:xfrm>
          <a:prstGeom prst="rect">
            <a:avLst/>
          </a:prstGeom>
          <a:noFill/>
        </p:spPr>
        <p:txBody>
          <a:bodyPr wrap="none" lIns="0" tIns="0" rIns="0" bIns="0" rtlCol="0" anchor="t">
            <a:spAutoFit/>
          </a:bodyPr>
          <a:lstStyle/>
          <a:p>
            <a:pPr algn="ctr"/>
            <a:r>
              <a:rPr lang="zh-CN" altLang="en-US" sz="3200" dirty="0">
                <a:solidFill>
                  <a:schemeClr val="bg1"/>
                </a:solidFill>
                <a:latin typeface="+mj-ea"/>
                <a:ea typeface="+mj-ea"/>
              </a:rPr>
              <a:t>关键词</a:t>
            </a:r>
          </a:p>
        </p:txBody>
      </p:sp>
      <p:sp>
        <p:nvSpPr>
          <p:cNvPr id="11" name="文本框 10">
            <a:extLst>
              <a:ext uri="{FF2B5EF4-FFF2-40B4-BE49-F238E27FC236}">
                <a16:creationId xmlns:a16="http://schemas.microsoft.com/office/drawing/2014/main" id="{2BE49B2F-50B1-4B62-81A3-2AB4B67E0587}"/>
              </a:ext>
            </a:extLst>
          </p:cNvPr>
          <p:cNvSpPr txBox="1"/>
          <p:nvPr/>
        </p:nvSpPr>
        <p:spPr>
          <a:xfrm>
            <a:off x="3886834" y="2061512"/>
            <a:ext cx="692497" cy="276999"/>
          </a:xfrm>
          <a:prstGeom prst="rect">
            <a:avLst/>
          </a:prstGeom>
          <a:noFill/>
        </p:spPr>
        <p:txBody>
          <a:bodyPr wrap="none" lIns="0" tIns="0" rIns="0" bIns="0" rtlCol="0" anchor="t">
            <a:spAutoFit/>
          </a:bodyPr>
          <a:lstStyle/>
          <a:p>
            <a:pPr algn="l"/>
            <a:r>
              <a:rPr lang="zh-CN" altLang="en-US" dirty="0">
                <a:solidFill>
                  <a:schemeClr val="accent1"/>
                </a:solidFill>
                <a:latin typeface="+mj-ea"/>
                <a:ea typeface="+mj-ea"/>
              </a:rPr>
              <a:t>关键词</a:t>
            </a:r>
          </a:p>
        </p:txBody>
      </p:sp>
      <p:sp>
        <p:nvSpPr>
          <p:cNvPr id="64" name="文本框 63">
            <a:extLst>
              <a:ext uri="{FF2B5EF4-FFF2-40B4-BE49-F238E27FC236}">
                <a16:creationId xmlns:a16="http://schemas.microsoft.com/office/drawing/2014/main" id="{B3E047DD-EAA2-43FC-B0D2-26ECD9325C9D}"/>
              </a:ext>
            </a:extLst>
          </p:cNvPr>
          <p:cNvSpPr txBox="1"/>
          <p:nvPr/>
        </p:nvSpPr>
        <p:spPr>
          <a:xfrm>
            <a:off x="2386250" y="3828098"/>
            <a:ext cx="692497" cy="276999"/>
          </a:xfrm>
          <a:prstGeom prst="rect">
            <a:avLst/>
          </a:prstGeom>
          <a:noFill/>
        </p:spPr>
        <p:txBody>
          <a:bodyPr wrap="none" lIns="0" tIns="0" rIns="0" bIns="0" rtlCol="0" anchor="t">
            <a:spAutoFit/>
          </a:bodyPr>
          <a:lstStyle/>
          <a:p>
            <a:pPr algn="l"/>
            <a:r>
              <a:rPr lang="zh-CN" altLang="en-US" dirty="0">
                <a:solidFill>
                  <a:schemeClr val="accent1"/>
                </a:solidFill>
                <a:latin typeface="+mj-ea"/>
                <a:ea typeface="+mj-ea"/>
              </a:rPr>
              <a:t>关键词</a:t>
            </a:r>
          </a:p>
        </p:txBody>
      </p:sp>
      <p:sp>
        <p:nvSpPr>
          <p:cNvPr id="65" name="文本框 64">
            <a:extLst>
              <a:ext uri="{FF2B5EF4-FFF2-40B4-BE49-F238E27FC236}">
                <a16:creationId xmlns:a16="http://schemas.microsoft.com/office/drawing/2014/main" id="{A27964EA-337B-4E03-A57C-B6C43103477B}"/>
              </a:ext>
            </a:extLst>
          </p:cNvPr>
          <p:cNvSpPr txBox="1"/>
          <p:nvPr/>
        </p:nvSpPr>
        <p:spPr>
          <a:xfrm>
            <a:off x="3623427" y="5796593"/>
            <a:ext cx="692497" cy="276999"/>
          </a:xfrm>
          <a:prstGeom prst="rect">
            <a:avLst/>
          </a:prstGeom>
          <a:noFill/>
        </p:spPr>
        <p:txBody>
          <a:bodyPr wrap="none" lIns="0" tIns="0" rIns="0" bIns="0" rtlCol="0" anchor="t">
            <a:spAutoFit/>
          </a:bodyPr>
          <a:lstStyle/>
          <a:p>
            <a:pPr algn="l"/>
            <a:r>
              <a:rPr lang="zh-CN" altLang="en-US" dirty="0">
                <a:solidFill>
                  <a:schemeClr val="accent1"/>
                </a:solidFill>
                <a:latin typeface="+mj-ea"/>
                <a:ea typeface="+mj-ea"/>
              </a:rPr>
              <a:t>关键词</a:t>
            </a:r>
          </a:p>
        </p:txBody>
      </p:sp>
      <p:sp>
        <p:nvSpPr>
          <p:cNvPr id="66" name="文本框 65">
            <a:extLst>
              <a:ext uri="{FF2B5EF4-FFF2-40B4-BE49-F238E27FC236}">
                <a16:creationId xmlns:a16="http://schemas.microsoft.com/office/drawing/2014/main" id="{A9A26A6E-9B27-4E76-B3F7-29396124C10D}"/>
              </a:ext>
            </a:extLst>
          </p:cNvPr>
          <p:cNvSpPr txBox="1"/>
          <p:nvPr/>
        </p:nvSpPr>
        <p:spPr>
          <a:xfrm>
            <a:off x="7365440" y="5060870"/>
            <a:ext cx="692497" cy="276999"/>
          </a:xfrm>
          <a:prstGeom prst="rect">
            <a:avLst/>
          </a:prstGeom>
          <a:noFill/>
        </p:spPr>
        <p:txBody>
          <a:bodyPr wrap="none" lIns="0" tIns="0" rIns="0" bIns="0" rtlCol="0" anchor="t">
            <a:spAutoFit/>
          </a:bodyPr>
          <a:lstStyle/>
          <a:p>
            <a:pPr algn="l"/>
            <a:r>
              <a:rPr lang="zh-CN" altLang="en-US" dirty="0">
                <a:solidFill>
                  <a:schemeClr val="accent1"/>
                </a:solidFill>
                <a:latin typeface="+mj-ea"/>
                <a:ea typeface="+mj-ea"/>
              </a:rPr>
              <a:t>关键词</a:t>
            </a:r>
          </a:p>
        </p:txBody>
      </p:sp>
      <p:sp>
        <p:nvSpPr>
          <p:cNvPr id="67" name="文本框 66">
            <a:extLst>
              <a:ext uri="{FF2B5EF4-FFF2-40B4-BE49-F238E27FC236}">
                <a16:creationId xmlns:a16="http://schemas.microsoft.com/office/drawing/2014/main" id="{718E095E-5A95-4639-9305-70FC667482EB}"/>
              </a:ext>
            </a:extLst>
          </p:cNvPr>
          <p:cNvSpPr txBox="1"/>
          <p:nvPr/>
        </p:nvSpPr>
        <p:spPr>
          <a:xfrm>
            <a:off x="8699057" y="2711498"/>
            <a:ext cx="692497" cy="276999"/>
          </a:xfrm>
          <a:prstGeom prst="rect">
            <a:avLst/>
          </a:prstGeom>
          <a:noFill/>
        </p:spPr>
        <p:txBody>
          <a:bodyPr wrap="none" lIns="0" tIns="0" rIns="0" bIns="0" rtlCol="0" anchor="t">
            <a:spAutoFit/>
          </a:bodyPr>
          <a:lstStyle/>
          <a:p>
            <a:pPr algn="l"/>
            <a:r>
              <a:rPr lang="zh-CN" altLang="en-US" dirty="0">
                <a:solidFill>
                  <a:schemeClr val="accent1"/>
                </a:solidFill>
                <a:latin typeface="+mj-ea"/>
                <a:ea typeface="+mj-ea"/>
              </a:rPr>
              <a:t>关键词</a:t>
            </a:r>
          </a:p>
        </p:txBody>
      </p:sp>
      <p:sp>
        <p:nvSpPr>
          <p:cNvPr id="68" name="user_209046">
            <a:extLst>
              <a:ext uri="{FF2B5EF4-FFF2-40B4-BE49-F238E27FC236}">
                <a16:creationId xmlns:a16="http://schemas.microsoft.com/office/drawing/2014/main" id="{DC7ADE13-5673-49C7-90C1-CD05F71155FC}"/>
              </a:ext>
            </a:extLst>
          </p:cNvPr>
          <p:cNvSpPr/>
          <p:nvPr/>
        </p:nvSpPr>
        <p:spPr>
          <a:xfrm>
            <a:off x="4061192" y="1504230"/>
            <a:ext cx="343168" cy="309454"/>
          </a:xfrm>
          <a:custGeom>
            <a:avLst/>
            <a:gdLst>
              <a:gd name="connsiteX0" fmla="*/ 521432 w 608344"/>
              <a:gd name="connsiteY0" fmla="*/ 370453 h 548582"/>
              <a:gd name="connsiteX1" fmla="*/ 465737 w 608344"/>
              <a:gd name="connsiteY1" fmla="*/ 425787 h 548582"/>
              <a:gd name="connsiteX2" fmla="*/ 442491 w 608344"/>
              <a:gd name="connsiteY2" fmla="*/ 402479 h 548582"/>
              <a:gd name="connsiteX3" fmla="*/ 418201 w 608344"/>
              <a:gd name="connsiteY3" fmla="*/ 426545 h 548582"/>
              <a:gd name="connsiteX4" fmla="*/ 441447 w 608344"/>
              <a:gd name="connsiteY4" fmla="*/ 449948 h 548582"/>
              <a:gd name="connsiteX5" fmla="*/ 465642 w 608344"/>
              <a:gd name="connsiteY5" fmla="*/ 474204 h 548582"/>
              <a:gd name="connsiteX6" fmla="*/ 489932 w 608344"/>
              <a:gd name="connsiteY6" fmla="*/ 450043 h 548582"/>
              <a:gd name="connsiteX7" fmla="*/ 545532 w 608344"/>
              <a:gd name="connsiteY7" fmla="*/ 394709 h 548582"/>
              <a:gd name="connsiteX8" fmla="*/ 481962 w 608344"/>
              <a:gd name="connsiteY8" fmla="*/ 296170 h 548582"/>
              <a:gd name="connsiteX9" fmla="*/ 608344 w 608344"/>
              <a:gd name="connsiteY9" fmla="*/ 422376 h 548582"/>
              <a:gd name="connsiteX10" fmla="*/ 481962 w 608344"/>
              <a:gd name="connsiteY10" fmla="*/ 548582 h 548582"/>
              <a:gd name="connsiteX11" fmla="*/ 355579 w 608344"/>
              <a:gd name="connsiteY11" fmla="*/ 422376 h 548582"/>
              <a:gd name="connsiteX12" fmla="*/ 481962 w 608344"/>
              <a:gd name="connsiteY12" fmla="*/ 296170 h 548582"/>
              <a:gd name="connsiteX13" fmla="*/ 255835 w 608344"/>
              <a:gd name="connsiteY13" fmla="*/ 446 h 548582"/>
              <a:gd name="connsiteX14" fmla="*/ 317801 w 608344"/>
              <a:gd name="connsiteY14" fmla="*/ 13616 h 548582"/>
              <a:gd name="connsiteX15" fmla="*/ 348072 w 608344"/>
              <a:gd name="connsiteY15" fmla="*/ 41661 h 548582"/>
              <a:gd name="connsiteX16" fmla="*/ 381190 w 608344"/>
              <a:gd name="connsiteY16" fmla="*/ 146831 h 548582"/>
              <a:gd name="connsiteX17" fmla="*/ 378913 w 608344"/>
              <a:gd name="connsiteY17" fmla="*/ 156211 h 548582"/>
              <a:gd name="connsiteX18" fmla="*/ 387833 w 608344"/>
              <a:gd name="connsiteY18" fmla="*/ 200458 h 548582"/>
              <a:gd name="connsiteX19" fmla="*/ 366387 w 608344"/>
              <a:gd name="connsiteY19" fmla="*/ 237694 h 548582"/>
              <a:gd name="connsiteX20" fmla="*/ 351393 w 608344"/>
              <a:gd name="connsiteY20" fmla="*/ 278720 h 548582"/>
              <a:gd name="connsiteX21" fmla="*/ 351393 w 608344"/>
              <a:gd name="connsiteY21" fmla="*/ 322873 h 548582"/>
              <a:gd name="connsiteX22" fmla="*/ 317611 w 608344"/>
              <a:gd name="connsiteY22" fmla="*/ 422358 h 548582"/>
              <a:gd name="connsiteX23" fmla="*/ 376635 w 608344"/>
              <a:gd name="connsiteY23" fmla="*/ 548088 h 548582"/>
              <a:gd name="connsiteX24" fmla="*/ 26855 w 608344"/>
              <a:gd name="connsiteY24" fmla="*/ 548088 h 548582"/>
              <a:gd name="connsiteX25" fmla="*/ 0 w 608344"/>
              <a:gd name="connsiteY25" fmla="*/ 521274 h 548582"/>
              <a:gd name="connsiteX26" fmla="*/ 0 w 608344"/>
              <a:gd name="connsiteY26" fmla="*/ 473806 h 548582"/>
              <a:gd name="connsiteX27" fmla="*/ 19453 w 608344"/>
              <a:gd name="connsiteY27" fmla="*/ 432969 h 548582"/>
              <a:gd name="connsiteX28" fmla="*/ 173751 w 608344"/>
              <a:gd name="connsiteY28" fmla="*/ 334242 h 548582"/>
              <a:gd name="connsiteX29" fmla="*/ 176408 w 608344"/>
              <a:gd name="connsiteY29" fmla="*/ 329884 h 548582"/>
              <a:gd name="connsiteX30" fmla="*/ 176408 w 608344"/>
              <a:gd name="connsiteY30" fmla="*/ 278720 h 548582"/>
              <a:gd name="connsiteX31" fmla="*/ 161320 w 608344"/>
              <a:gd name="connsiteY31" fmla="*/ 237694 h 548582"/>
              <a:gd name="connsiteX32" fmla="*/ 139969 w 608344"/>
              <a:gd name="connsiteY32" fmla="*/ 200458 h 548582"/>
              <a:gd name="connsiteX33" fmla="*/ 148320 w 608344"/>
              <a:gd name="connsiteY33" fmla="*/ 156211 h 548582"/>
              <a:gd name="connsiteX34" fmla="*/ 146042 w 608344"/>
              <a:gd name="connsiteY34" fmla="*/ 146736 h 548582"/>
              <a:gd name="connsiteX35" fmla="*/ 145758 w 608344"/>
              <a:gd name="connsiteY35" fmla="*/ 95099 h 548582"/>
              <a:gd name="connsiteX36" fmla="*/ 176029 w 608344"/>
              <a:gd name="connsiteY36" fmla="*/ 42135 h 548582"/>
              <a:gd name="connsiteX37" fmla="*/ 203928 w 608344"/>
              <a:gd name="connsiteY37" fmla="*/ 19017 h 548582"/>
              <a:gd name="connsiteX38" fmla="*/ 231162 w 608344"/>
              <a:gd name="connsiteY38" fmla="*/ 5089 h 548582"/>
              <a:gd name="connsiteX39" fmla="*/ 255835 w 608344"/>
              <a:gd name="connsiteY39" fmla="*/ 446 h 548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608344" h="548582">
                <a:moveTo>
                  <a:pt x="521432" y="370453"/>
                </a:moveTo>
                <a:lnTo>
                  <a:pt x="465737" y="425787"/>
                </a:lnTo>
                <a:lnTo>
                  <a:pt x="442491" y="402479"/>
                </a:lnTo>
                <a:lnTo>
                  <a:pt x="418201" y="426545"/>
                </a:lnTo>
                <a:lnTo>
                  <a:pt x="441447" y="449948"/>
                </a:lnTo>
                <a:lnTo>
                  <a:pt x="465642" y="474204"/>
                </a:lnTo>
                <a:lnTo>
                  <a:pt x="489932" y="450043"/>
                </a:lnTo>
                <a:lnTo>
                  <a:pt x="545532" y="394709"/>
                </a:lnTo>
                <a:close/>
                <a:moveTo>
                  <a:pt x="481962" y="296170"/>
                </a:moveTo>
                <a:cubicBezTo>
                  <a:pt x="551795" y="296170"/>
                  <a:pt x="608344" y="352641"/>
                  <a:pt x="608344" y="422376"/>
                </a:cubicBezTo>
                <a:cubicBezTo>
                  <a:pt x="608344" y="492111"/>
                  <a:pt x="551795" y="548582"/>
                  <a:pt x="481962" y="548582"/>
                </a:cubicBezTo>
                <a:cubicBezTo>
                  <a:pt x="412129" y="548582"/>
                  <a:pt x="355579" y="492111"/>
                  <a:pt x="355579" y="422376"/>
                </a:cubicBezTo>
                <a:cubicBezTo>
                  <a:pt x="355579" y="352641"/>
                  <a:pt x="412129" y="296170"/>
                  <a:pt x="481962" y="296170"/>
                </a:cubicBezTo>
                <a:close/>
                <a:moveTo>
                  <a:pt x="255835" y="446"/>
                </a:moveTo>
                <a:cubicBezTo>
                  <a:pt x="282785" y="-1828"/>
                  <a:pt x="303187" y="4899"/>
                  <a:pt x="317801" y="13616"/>
                </a:cubicBezTo>
                <a:cubicBezTo>
                  <a:pt x="339721" y="25744"/>
                  <a:pt x="348072" y="41661"/>
                  <a:pt x="348072" y="41661"/>
                </a:cubicBezTo>
                <a:cubicBezTo>
                  <a:pt x="348072" y="41661"/>
                  <a:pt x="398176" y="45167"/>
                  <a:pt x="381190" y="146831"/>
                </a:cubicBezTo>
                <a:cubicBezTo>
                  <a:pt x="380621" y="149863"/>
                  <a:pt x="379862" y="153085"/>
                  <a:pt x="378913" y="156211"/>
                </a:cubicBezTo>
                <a:cubicBezTo>
                  <a:pt x="388592" y="156211"/>
                  <a:pt x="398271" y="163507"/>
                  <a:pt x="387833" y="200458"/>
                </a:cubicBezTo>
                <a:cubicBezTo>
                  <a:pt x="379672" y="229262"/>
                  <a:pt x="372080" y="237221"/>
                  <a:pt x="366387" y="237694"/>
                </a:cubicBezTo>
                <a:cubicBezTo>
                  <a:pt x="364394" y="250675"/>
                  <a:pt x="359175" y="265076"/>
                  <a:pt x="351393" y="278720"/>
                </a:cubicBezTo>
                <a:lnTo>
                  <a:pt x="351393" y="322873"/>
                </a:lnTo>
                <a:cubicBezTo>
                  <a:pt x="330232" y="350539"/>
                  <a:pt x="317611" y="385027"/>
                  <a:pt x="317611" y="422358"/>
                </a:cubicBezTo>
                <a:cubicBezTo>
                  <a:pt x="317611" y="472764"/>
                  <a:pt x="340480" y="518053"/>
                  <a:pt x="376635" y="548088"/>
                </a:cubicBezTo>
                <a:lnTo>
                  <a:pt x="26855" y="548088"/>
                </a:lnTo>
                <a:cubicBezTo>
                  <a:pt x="12052" y="548088"/>
                  <a:pt x="0" y="536055"/>
                  <a:pt x="0" y="521274"/>
                </a:cubicBezTo>
                <a:lnTo>
                  <a:pt x="0" y="473806"/>
                </a:lnTo>
                <a:cubicBezTo>
                  <a:pt x="0" y="457983"/>
                  <a:pt x="7212" y="443013"/>
                  <a:pt x="19453" y="432969"/>
                </a:cubicBezTo>
                <a:cubicBezTo>
                  <a:pt x="86638" y="377921"/>
                  <a:pt x="159043" y="341443"/>
                  <a:pt x="173751" y="334242"/>
                </a:cubicBezTo>
                <a:cubicBezTo>
                  <a:pt x="175365" y="333484"/>
                  <a:pt x="176408" y="331779"/>
                  <a:pt x="176408" y="329884"/>
                </a:cubicBezTo>
                <a:lnTo>
                  <a:pt x="176408" y="278720"/>
                </a:lnTo>
                <a:cubicBezTo>
                  <a:pt x="168437" y="265076"/>
                  <a:pt x="163313" y="250675"/>
                  <a:pt x="161320" y="237694"/>
                </a:cubicBezTo>
                <a:cubicBezTo>
                  <a:pt x="155627" y="237221"/>
                  <a:pt x="148035" y="229072"/>
                  <a:pt x="139969" y="200458"/>
                </a:cubicBezTo>
                <a:cubicBezTo>
                  <a:pt x="129531" y="164170"/>
                  <a:pt x="138925" y="156496"/>
                  <a:pt x="148320" y="156211"/>
                </a:cubicBezTo>
                <a:cubicBezTo>
                  <a:pt x="147371" y="153085"/>
                  <a:pt x="146612" y="149863"/>
                  <a:pt x="146042" y="146736"/>
                </a:cubicBezTo>
                <a:cubicBezTo>
                  <a:pt x="142436" y="128450"/>
                  <a:pt x="141487" y="111396"/>
                  <a:pt x="145758" y="95099"/>
                </a:cubicBezTo>
                <a:cubicBezTo>
                  <a:pt x="150787" y="73212"/>
                  <a:pt x="162744" y="55684"/>
                  <a:pt x="176029" y="42135"/>
                </a:cubicBezTo>
                <a:cubicBezTo>
                  <a:pt x="184379" y="33134"/>
                  <a:pt x="193869" y="25459"/>
                  <a:pt x="203928" y="19017"/>
                </a:cubicBezTo>
                <a:cubicBezTo>
                  <a:pt x="212183" y="13332"/>
                  <a:pt x="221293" y="8405"/>
                  <a:pt x="231162" y="5089"/>
                </a:cubicBezTo>
                <a:cubicBezTo>
                  <a:pt x="238849" y="2625"/>
                  <a:pt x="247105" y="825"/>
                  <a:pt x="255835" y="446"/>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1" name="user_209046">
            <a:extLst>
              <a:ext uri="{FF2B5EF4-FFF2-40B4-BE49-F238E27FC236}">
                <a16:creationId xmlns:a16="http://schemas.microsoft.com/office/drawing/2014/main" id="{65353745-1EDF-4EBD-A821-2B14C882CEDE}"/>
              </a:ext>
            </a:extLst>
          </p:cNvPr>
          <p:cNvSpPr/>
          <p:nvPr/>
        </p:nvSpPr>
        <p:spPr>
          <a:xfrm>
            <a:off x="2587978" y="3291266"/>
            <a:ext cx="289040" cy="330370"/>
          </a:xfrm>
          <a:custGeom>
            <a:avLst/>
            <a:gdLst>
              <a:gd name="T0" fmla="*/ 8582 w 9077"/>
              <a:gd name="T1" fmla="*/ 4538 h 10373"/>
              <a:gd name="T2" fmla="*/ 9077 w 9077"/>
              <a:gd name="T3" fmla="*/ 4538 h 10373"/>
              <a:gd name="T4" fmla="*/ 9077 w 9077"/>
              <a:gd name="T5" fmla="*/ 9151 h 10373"/>
              <a:gd name="T6" fmla="*/ 7855 w 9077"/>
              <a:gd name="T7" fmla="*/ 10373 h 10373"/>
              <a:gd name="T8" fmla="*/ 4789 w 9077"/>
              <a:gd name="T9" fmla="*/ 10373 h 10373"/>
              <a:gd name="T10" fmla="*/ 4539 w 9077"/>
              <a:gd name="T11" fmla="*/ 10123 h 10373"/>
              <a:gd name="T12" fmla="*/ 4539 w 9077"/>
              <a:gd name="T13" fmla="*/ 9562 h 10373"/>
              <a:gd name="T14" fmla="*/ 4789 w 9077"/>
              <a:gd name="T15" fmla="*/ 9312 h 10373"/>
              <a:gd name="T16" fmla="*/ 7532 w 9077"/>
              <a:gd name="T17" fmla="*/ 9312 h 10373"/>
              <a:gd name="T18" fmla="*/ 8106 w 9077"/>
              <a:gd name="T19" fmla="*/ 8738 h 10373"/>
              <a:gd name="T20" fmla="*/ 8106 w 9077"/>
              <a:gd name="T21" fmla="*/ 7780 h 10373"/>
              <a:gd name="T22" fmla="*/ 6734 w 9077"/>
              <a:gd name="T23" fmla="*/ 7780 h 10373"/>
              <a:gd name="T24" fmla="*/ 6484 w 9077"/>
              <a:gd name="T25" fmla="*/ 7530 h 10373"/>
              <a:gd name="T26" fmla="*/ 6484 w 9077"/>
              <a:gd name="T27" fmla="*/ 4788 h 10373"/>
              <a:gd name="T28" fmla="*/ 6734 w 9077"/>
              <a:gd name="T29" fmla="*/ 4538 h 10373"/>
              <a:gd name="T30" fmla="*/ 8582 w 9077"/>
              <a:gd name="T31" fmla="*/ 4538 h 10373"/>
              <a:gd name="T32" fmla="*/ 8087 w 9077"/>
              <a:gd name="T33" fmla="*/ 4538 h 10373"/>
              <a:gd name="T34" fmla="*/ 8087 w 9077"/>
              <a:gd name="T35" fmla="*/ 4520 h 10373"/>
              <a:gd name="T36" fmla="*/ 4521 w 9077"/>
              <a:gd name="T37" fmla="*/ 972 h 10373"/>
              <a:gd name="T38" fmla="*/ 955 w 9077"/>
              <a:gd name="T39" fmla="*/ 4520 h 10373"/>
              <a:gd name="T40" fmla="*/ 955 w 9077"/>
              <a:gd name="T41" fmla="*/ 4538 h 10373"/>
              <a:gd name="T42" fmla="*/ 0 w 9077"/>
              <a:gd name="T43" fmla="*/ 4538 h 10373"/>
              <a:gd name="T44" fmla="*/ 0 w 9077"/>
              <a:gd name="T45" fmla="*/ 6558 h 10373"/>
              <a:gd name="T46" fmla="*/ 1222 w 9077"/>
              <a:gd name="T47" fmla="*/ 7781 h 10373"/>
              <a:gd name="T48" fmla="*/ 2343 w 9077"/>
              <a:gd name="T49" fmla="*/ 7781 h 10373"/>
              <a:gd name="T50" fmla="*/ 2593 w 9077"/>
              <a:gd name="T51" fmla="*/ 7531 h 10373"/>
              <a:gd name="T52" fmla="*/ 2593 w 9077"/>
              <a:gd name="T53" fmla="*/ 4788 h 10373"/>
              <a:gd name="T54" fmla="*/ 2343 w 9077"/>
              <a:gd name="T55" fmla="*/ 4538 h 10373"/>
              <a:gd name="T56" fmla="*/ 0 w 9077"/>
              <a:gd name="T57" fmla="*/ 4538 h 10373"/>
              <a:gd name="T58" fmla="*/ 0 w 9077"/>
              <a:gd name="T59" fmla="*/ 4516 h 10373"/>
              <a:gd name="T60" fmla="*/ 4539 w 9077"/>
              <a:gd name="T61" fmla="*/ 0 h 10373"/>
              <a:gd name="T62" fmla="*/ 9077 w 9077"/>
              <a:gd name="T63" fmla="*/ 4516 h 10373"/>
              <a:gd name="T64" fmla="*/ 9077 w 9077"/>
              <a:gd name="T65" fmla="*/ 4538 h 10373"/>
              <a:gd name="T66" fmla="*/ 8582 w 9077"/>
              <a:gd name="T67" fmla="*/ 4538 h 10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077" h="10373">
                <a:moveTo>
                  <a:pt x="8582" y="4538"/>
                </a:moveTo>
                <a:lnTo>
                  <a:pt x="9077" y="4538"/>
                </a:lnTo>
                <a:lnTo>
                  <a:pt x="9077" y="9151"/>
                </a:lnTo>
                <a:cubicBezTo>
                  <a:pt x="9077" y="9826"/>
                  <a:pt x="8530" y="10373"/>
                  <a:pt x="7855" y="10373"/>
                </a:cubicBezTo>
                <a:lnTo>
                  <a:pt x="4789" y="10373"/>
                </a:lnTo>
                <a:cubicBezTo>
                  <a:pt x="4651" y="10373"/>
                  <a:pt x="4539" y="10261"/>
                  <a:pt x="4539" y="10123"/>
                </a:cubicBezTo>
                <a:lnTo>
                  <a:pt x="4539" y="9562"/>
                </a:lnTo>
                <a:cubicBezTo>
                  <a:pt x="4539" y="9425"/>
                  <a:pt x="4651" y="9312"/>
                  <a:pt x="4789" y="9312"/>
                </a:cubicBezTo>
                <a:lnTo>
                  <a:pt x="7532" y="9312"/>
                </a:lnTo>
                <a:cubicBezTo>
                  <a:pt x="7850" y="9312"/>
                  <a:pt x="8106" y="9055"/>
                  <a:pt x="8106" y="8738"/>
                </a:cubicBezTo>
                <a:lnTo>
                  <a:pt x="8106" y="7780"/>
                </a:lnTo>
                <a:lnTo>
                  <a:pt x="6734" y="7780"/>
                </a:lnTo>
                <a:cubicBezTo>
                  <a:pt x="6596" y="7780"/>
                  <a:pt x="6484" y="7667"/>
                  <a:pt x="6484" y="7530"/>
                </a:cubicBezTo>
                <a:lnTo>
                  <a:pt x="6484" y="4788"/>
                </a:lnTo>
                <a:cubicBezTo>
                  <a:pt x="6484" y="4651"/>
                  <a:pt x="6596" y="4538"/>
                  <a:pt x="6734" y="4538"/>
                </a:cubicBezTo>
                <a:lnTo>
                  <a:pt x="8582" y="4538"/>
                </a:lnTo>
                <a:lnTo>
                  <a:pt x="8087" y="4538"/>
                </a:lnTo>
                <a:lnTo>
                  <a:pt x="8087" y="4520"/>
                </a:lnTo>
                <a:cubicBezTo>
                  <a:pt x="8087" y="2560"/>
                  <a:pt x="6491" y="972"/>
                  <a:pt x="4521" y="972"/>
                </a:cubicBezTo>
                <a:cubicBezTo>
                  <a:pt x="2552" y="972"/>
                  <a:pt x="955" y="2561"/>
                  <a:pt x="955" y="4520"/>
                </a:cubicBezTo>
                <a:lnTo>
                  <a:pt x="955" y="4538"/>
                </a:lnTo>
                <a:lnTo>
                  <a:pt x="0" y="4538"/>
                </a:lnTo>
                <a:lnTo>
                  <a:pt x="0" y="6558"/>
                </a:lnTo>
                <a:cubicBezTo>
                  <a:pt x="0" y="7233"/>
                  <a:pt x="547" y="7781"/>
                  <a:pt x="1222" y="7781"/>
                </a:cubicBezTo>
                <a:lnTo>
                  <a:pt x="2343" y="7781"/>
                </a:lnTo>
                <a:cubicBezTo>
                  <a:pt x="2481" y="7781"/>
                  <a:pt x="2593" y="7668"/>
                  <a:pt x="2593" y="7531"/>
                </a:cubicBezTo>
                <a:lnTo>
                  <a:pt x="2593" y="4788"/>
                </a:lnTo>
                <a:cubicBezTo>
                  <a:pt x="2593" y="4651"/>
                  <a:pt x="2481" y="4538"/>
                  <a:pt x="2343" y="4538"/>
                </a:cubicBezTo>
                <a:lnTo>
                  <a:pt x="0" y="4538"/>
                </a:lnTo>
                <a:lnTo>
                  <a:pt x="0" y="4516"/>
                </a:lnTo>
                <a:cubicBezTo>
                  <a:pt x="0" y="2022"/>
                  <a:pt x="2032" y="0"/>
                  <a:pt x="4539" y="0"/>
                </a:cubicBezTo>
                <a:cubicBezTo>
                  <a:pt x="7045" y="0"/>
                  <a:pt x="9077" y="2021"/>
                  <a:pt x="9077" y="4516"/>
                </a:cubicBezTo>
                <a:lnTo>
                  <a:pt x="9077" y="4538"/>
                </a:lnTo>
                <a:lnTo>
                  <a:pt x="8582" y="4538"/>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sp>
        <p:nvSpPr>
          <p:cNvPr id="74" name="user_209046">
            <a:extLst>
              <a:ext uri="{FF2B5EF4-FFF2-40B4-BE49-F238E27FC236}">
                <a16:creationId xmlns:a16="http://schemas.microsoft.com/office/drawing/2014/main" id="{28A21D13-CB69-43B3-8AC6-9123F6C8710B}"/>
              </a:ext>
            </a:extLst>
          </p:cNvPr>
          <p:cNvSpPr/>
          <p:nvPr/>
        </p:nvSpPr>
        <p:spPr>
          <a:xfrm>
            <a:off x="7530166" y="4541685"/>
            <a:ext cx="363044" cy="306848"/>
          </a:xfrm>
          <a:custGeom>
            <a:avLst/>
            <a:gdLst>
              <a:gd name="T0" fmla="*/ 4484 w 10375"/>
              <a:gd name="T1" fmla="*/ 6967 h 8769"/>
              <a:gd name="T2" fmla="*/ 4484 w 10375"/>
              <a:gd name="T3" fmla="*/ 8374 h 8769"/>
              <a:gd name="T4" fmla="*/ 5891 w 10375"/>
              <a:gd name="T5" fmla="*/ 8374 h 8769"/>
              <a:gd name="T6" fmla="*/ 5891 w 10375"/>
              <a:gd name="T7" fmla="*/ 6967 h 8769"/>
              <a:gd name="T8" fmla="*/ 4484 w 10375"/>
              <a:gd name="T9" fmla="*/ 6967 h 8769"/>
              <a:gd name="T10" fmla="*/ 1754 w 10375"/>
              <a:gd name="T11" fmla="*/ 5262 h 8769"/>
              <a:gd name="T12" fmla="*/ 2766 w 10375"/>
              <a:gd name="T13" fmla="*/ 6423 h 8769"/>
              <a:gd name="T14" fmla="*/ 7633 w 10375"/>
              <a:gd name="T15" fmla="*/ 6423 h 8769"/>
              <a:gd name="T16" fmla="*/ 8645 w 10375"/>
              <a:gd name="T17" fmla="*/ 5262 h 8769"/>
              <a:gd name="T18" fmla="*/ 1754 w 10375"/>
              <a:gd name="T19" fmla="*/ 5262 h 8769"/>
              <a:gd name="T20" fmla="*/ 0 w 10375"/>
              <a:gd name="T21" fmla="*/ 3261 h 8769"/>
              <a:gd name="T22" fmla="*/ 1038 w 10375"/>
              <a:gd name="T23" fmla="*/ 4447 h 8769"/>
              <a:gd name="T24" fmla="*/ 9338 w 10375"/>
              <a:gd name="T25" fmla="*/ 4447 h 8769"/>
              <a:gd name="T26" fmla="*/ 10375 w 10375"/>
              <a:gd name="T27" fmla="*/ 3261 h 8769"/>
              <a:gd name="T28" fmla="*/ 0 w 10375"/>
              <a:gd name="T29" fmla="*/ 3261 h 8769"/>
              <a:gd name="T30" fmla="*/ 0 w 10375"/>
              <a:gd name="T31" fmla="*/ 3261 h 87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375" h="8769">
                <a:moveTo>
                  <a:pt x="4484" y="6967"/>
                </a:moveTo>
                <a:cubicBezTo>
                  <a:pt x="4089" y="7362"/>
                  <a:pt x="4089" y="7979"/>
                  <a:pt x="4484" y="8374"/>
                </a:cubicBezTo>
                <a:cubicBezTo>
                  <a:pt x="4879" y="8769"/>
                  <a:pt x="5496" y="8769"/>
                  <a:pt x="5891" y="8374"/>
                </a:cubicBezTo>
                <a:cubicBezTo>
                  <a:pt x="6286" y="7979"/>
                  <a:pt x="6286" y="7362"/>
                  <a:pt x="5891" y="6967"/>
                </a:cubicBezTo>
                <a:cubicBezTo>
                  <a:pt x="5471" y="6571"/>
                  <a:pt x="4854" y="6571"/>
                  <a:pt x="4484" y="6967"/>
                </a:cubicBezTo>
                <a:close/>
                <a:moveTo>
                  <a:pt x="1754" y="5262"/>
                </a:moveTo>
                <a:lnTo>
                  <a:pt x="2766" y="6423"/>
                </a:lnTo>
                <a:cubicBezTo>
                  <a:pt x="4100" y="4892"/>
                  <a:pt x="6299" y="4892"/>
                  <a:pt x="7633" y="6423"/>
                </a:cubicBezTo>
                <a:lnTo>
                  <a:pt x="8645" y="5262"/>
                </a:lnTo>
                <a:cubicBezTo>
                  <a:pt x="6719" y="3088"/>
                  <a:pt x="3656" y="3088"/>
                  <a:pt x="1754" y="5262"/>
                </a:cubicBezTo>
                <a:close/>
                <a:moveTo>
                  <a:pt x="0" y="3261"/>
                </a:moveTo>
                <a:lnTo>
                  <a:pt x="1038" y="4447"/>
                </a:lnTo>
                <a:cubicBezTo>
                  <a:pt x="3335" y="1803"/>
                  <a:pt x="7040" y="1803"/>
                  <a:pt x="9338" y="4447"/>
                </a:cubicBezTo>
                <a:lnTo>
                  <a:pt x="10375" y="3261"/>
                </a:lnTo>
                <a:cubicBezTo>
                  <a:pt x="7534" y="0"/>
                  <a:pt x="2865" y="0"/>
                  <a:pt x="0" y="3261"/>
                </a:cubicBezTo>
                <a:close/>
                <a:moveTo>
                  <a:pt x="0" y="3261"/>
                </a:move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sp>
        <p:nvSpPr>
          <p:cNvPr id="77" name="user_209046">
            <a:extLst>
              <a:ext uri="{FF2B5EF4-FFF2-40B4-BE49-F238E27FC236}">
                <a16:creationId xmlns:a16="http://schemas.microsoft.com/office/drawing/2014/main" id="{6D580841-3858-409B-92D0-ACE16F32F82A}"/>
              </a:ext>
            </a:extLst>
          </p:cNvPr>
          <p:cNvSpPr/>
          <p:nvPr/>
        </p:nvSpPr>
        <p:spPr>
          <a:xfrm>
            <a:off x="3851876" y="5288104"/>
            <a:ext cx="235598" cy="290146"/>
          </a:xfrm>
          <a:custGeom>
            <a:avLst/>
            <a:gdLst>
              <a:gd name="T0" fmla="*/ 7781 w 8430"/>
              <a:gd name="T1" fmla="*/ 7127 h 10381"/>
              <a:gd name="T2" fmla="*/ 7559 w 8430"/>
              <a:gd name="T3" fmla="*/ 7127 h 10381"/>
              <a:gd name="T4" fmla="*/ 7559 w 8430"/>
              <a:gd name="T5" fmla="*/ 6663 h 10381"/>
              <a:gd name="T6" fmla="*/ 6498 w 8430"/>
              <a:gd name="T7" fmla="*/ 5838 h 10381"/>
              <a:gd name="T8" fmla="*/ 6485 w 8430"/>
              <a:gd name="T9" fmla="*/ 5838 h 10381"/>
              <a:gd name="T10" fmla="*/ 6485 w 8430"/>
              <a:gd name="T11" fmla="*/ 5189 h 10381"/>
              <a:gd name="T12" fmla="*/ 1298 w 8430"/>
              <a:gd name="T13" fmla="*/ 5189 h 10381"/>
              <a:gd name="T14" fmla="*/ 1298 w 8430"/>
              <a:gd name="T15" fmla="*/ 6486 h 10381"/>
              <a:gd name="T16" fmla="*/ 5409 w 8430"/>
              <a:gd name="T17" fmla="*/ 6486 h 10381"/>
              <a:gd name="T18" fmla="*/ 5409 w 8430"/>
              <a:gd name="T19" fmla="*/ 7134 h 10381"/>
              <a:gd name="T20" fmla="*/ 1296 w 8430"/>
              <a:gd name="T21" fmla="*/ 7134 h 10381"/>
              <a:gd name="T22" fmla="*/ 1296 w 8430"/>
              <a:gd name="T23" fmla="*/ 8432 h 10381"/>
              <a:gd name="T24" fmla="*/ 3890 w 8430"/>
              <a:gd name="T25" fmla="*/ 8432 h 10381"/>
              <a:gd name="T26" fmla="*/ 3890 w 8430"/>
              <a:gd name="T27" fmla="*/ 8442 h 10381"/>
              <a:gd name="T28" fmla="*/ 4533 w 8430"/>
              <a:gd name="T29" fmla="*/ 9280 h 10381"/>
              <a:gd name="T30" fmla="*/ 5408 w 8430"/>
              <a:gd name="T31" fmla="*/ 9280 h 10381"/>
              <a:gd name="T32" fmla="*/ 5408 w 8430"/>
              <a:gd name="T33" fmla="*/ 10377 h 10381"/>
              <a:gd name="T34" fmla="*/ 649 w 8430"/>
              <a:gd name="T35" fmla="*/ 10377 h 10381"/>
              <a:gd name="T36" fmla="*/ 0 w 8430"/>
              <a:gd name="T37" fmla="*/ 9728 h 10381"/>
              <a:gd name="T38" fmla="*/ 0 w 8430"/>
              <a:gd name="T39" fmla="*/ 3251 h 10381"/>
              <a:gd name="T40" fmla="*/ 3241 w 8430"/>
              <a:gd name="T41" fmla="*/ 3251 h 10381"/>
              <a:gd name="T42" fmla="*/ 3241 w 8430"/>
              <a:gd name="T43" fmla="*/ 3243 h 10381"/>
              <a:gd name="T44" fmla="*/ 3243 w 8430"/>
              <a:gd name="T45" fmla="*/ 3243 h 10381"/>
              <a:gd name="T46" fmla="*/ 3243 w 8430"/>
              <a:gd name="T47" fmla="*/ 1 h 10381"/>
              <a:gd name="T48" fmla="*/ 7134 w 8430"/>
              <a:gd name="T49" fmla="*/ 1 h 10381"/>
              <a:gd name="T50" fmla="*/ 7783 w 8430"/>
              <a:gd name="T51" fmla="*/ 649 h 10381"/>
              <a:gd name="T52" fmla="*/ 7783 w 8430"/>
              <a:gd name="T53" fmla="*/ 7127 h 10381"/>
              <a:gd name="T54" fmla="*/ 7781 w 8430"/>
              <a:gd name="T55" fmla="*/ 7127 h 10381"/>
              <a:gd name="T56" fmla="*/ 2594 w 8430"/>
              <a:gd name="T57" fmla="*/ 0 h 10381"/>
              <a:gd name="T58" fmla="*/ 2594 w 8430"/>
              <a:gd name="T59" fmla="*/ 2594 h 10381"/>
              <a:gd name="T60" fmla="*/ 0 w 8430"/>
              <a:gd name="T61" fmla="*/ 2594 h 10381"/>
              <a:gd name="T62" fmla="*/ 2594 w 8430"/>
              <a:gd name="T63" fmla="*/ 0 h 10381"/>
              <a:gd name="T64" fmla="*/ 7954 w 8430"/>
              <a:gd name="T65" fmla="*/ 7947 h 10381"/>
              <a:gd name="T66" fmla="*/ 8430 w 8430"/>
              <a:gd name="T67" fmla="*/ 8424 h 10381"/>
              <a:gd name="T68" fmla="*/ 8430 w 8430"/>
              <a:gd name="T69" fmla="*/ 8444 h 10381"/>
              <a:gd name="T70" fmla="*/ 7954 w 8430"/>
              <a:gd name="T71" fmla="*/ 8922 h 10381"/>
              <a:gd name="T72" fmla="*/ 6971 w 8430"/>
              <a:gd name="T73" fmla="*/ 8922 h 10381"/>
              <a:gd name="T74" fmla="*/ 6971 w 8430"/>
              <a:gd name="T75" fmla="*/ 9901 h 10381"/>
              <a:gd name="T76" fmla="*/ 6495 w 8430"/>
              <a:gd name="T77" fmla="*/ 10378 h 10381"/>
              <a:gd name="T78" fmla="*/ 6480 w 8430"/>
              <a:gd name="T79" fmla="*/ 10378 h 10381"/>
              <a:gd name="T80" fmla="*/ 5999 w 8430"/>
              <a:gd name="T81" fmla="*/ 9907 h 10381"/>
              <a:gd name="T82" fmla="*/ 5999 w 8430"/>
              <a:gd name="T83" fmla="*/ 8922 h 10381"/>
              <a:gd name="T84" fmla="*/ 5021 w 8430"/>
              <a:gd name="T85" fmla="*/ 8922 h 10381"/>
              <a:gd name="T86" fmla="*/ 4540 w 8430"/>
              <a:gd name="T87" fmla="*/ 8443 h 10381"/>
              <a:gd name="T88" fmla="*/ 4540 w 8430"/>
              <a:gd name="T89" fmla="*/ 8427 h 10381"/>
              <a:gd name="T90" fmla="*/ 5021 w 8430"/>
              <a:gd name="T91" fmla="*/ 7949 h 10381"/>
              <a:gd name="T92" fmla="*/ 5999 w 8430"/>
              <a:gd name="T93" fmla="*/ 7949 h 10381"/>
              <a:gd name="T94" fmla="*/ 5999 w 8430"/>
              <a:gd name="T95" fmla="*/ 6966 h 10381"/>
              <a:gd name="T96" fmla="*/ 6480 w 8430"/>
              <a:gd name="T97" fmla="*/ 6488 h 10381"/>
              <a:gd name="T98" fmla="*/ 6495 w 8430"/>
              <a:gd name="T99" fmla="*/ 6488 h 10381"/>
              <a:gd name="T100" fmla="*/ 6971 w 8430"/>
              <a:gd name="T101" fmla="*/ 6966 h 10381"/>
              <a:gd name="T102" fmla="*/ 6971 w 8430"/>
              <a:gd name="T103" fmla="*/ 7948 h 10381"/>
              <a:gd name="T104" fmla="*/ 7954 w 8430"/>
              <a:gd name="T105" fmla="*/ 7947 h 103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430" h="10381">
                <a:moveTo>
                  <a:pt x="7781" y="7127"/>
                </a:moveTo>
                <a:lnTo>
                  <a:pt x="7559" y="7127"/>
                </a:lnTo>
                <a:lnTo>
                  <a:pt x="7559" y="6663"/>
                </a:lnTo>
                <a:cubicBezTo>
                  <a:pt x="7559" y="6132"/>
                  <a:pt x="7019" y="5838"/>
                  <a:pt x="6498" y="5838"/>
                </a:cubicBezTo>
                <a:lnTo>
                  <a:pt x="6485" y="5838"/>
                </a:lnTo>
                <a:lnTo>
                  <a:pt x="6485" y="5189"/>
                </a:lnTo>
                <a:lnTo>
                  <a:pt x="1298" y="5189"/>
                </a:lnTo>
                <a:lnTo>
                  <a:pt x="1298" y="6486"/>
                </a:lnTo>
                <a:lnTo>
                  <a:pt x="5409" y="6486"/>
                </a:lnTo>
                <a:lnTo>
                  <a:pt x="5409" y="7134"/>
                </a:lnTo>
                <a:lnTo>
                  <a:pt x="1296" y="7134"/>
                </a:lnTo>
                <a:lnTo>
                  <a:pt x="1296" y="8432"/>
                </a:lnTo>
                <a:lnTo>
                  <a:pt x="3890" y="8432"/>
                </a:lnTo>
                <a:lnTo>
                  <a:pt x="3890" y="8442"/>
                </a:lnTo>
                <a:cubicBezTo>
                  <a:pt x="3890" y="8798"/>
                  <a:pt x="4175" y="9280"/>
                  <a:pt x="4533" y="9280"/>
                </a:cubicBezTo>
                <a:lnTo>
                  <a:pt x="5408" y="9280"/>
                </a:lnTo>
                <a:lnTo>
                  <a:pt x="5408" y="10377"/>
                </a:lnTo>
                <a:lnTo>
                  <a:pt x="649" y="10377"/>
                </a:lnTo>
                <a:cubicBezTo>
                  <a:pt x="290" y="10377"/>
                  <a:pt x="0" y="10087"/>
                  <a:pt x="0" y="9728"/>
                </a:cubicBezTo>
                <a:lnTo>
                  <a:pt x="0" y="3251"/>
                </a:lnTo>
                <a:lnTo>
                  <a:pt x="3241" y="3251"/>
                </a:lnTo>
                <a:lnTo>
                  <a:pt x="3241" y="3243"/>
                </a:lnTo>
                <a:lnTo>
                  <a:pt x="3243" y="3243"/>
                </a:lnTo>
                <a:lnTo>
                  <a:pt x="3243" y="1"/>
                </a:lnTo>
                <a:lnTo>
                  <a:pt x="7134" y="1"/>
                </a:lnTo>
                <a:cubicBezTo>
                  <a:pt x="7493" y="1"/>
                  <a:pt x="7783" y="291"/>
                  <a:pt x="7783" y="649"/>
                </a:cubicBezTo>
                <a:lnTo>
                  <a:pt x="7783" y="7127"/>
                </a:lnTo>
                <a:lnTo>
                  <a:pt x="7781" y="7127"/>
                </a:lnTo>
                <a:close/>
                <a:moveTo>
                  <a:pt x="2594" y="0"/>
                </a:moveTo>
                <a:lnTo>
                  <a:pt x="2594" y="2594"/>
                </a:lnTo>
                <a:lnTo>
                  <a:pt x="0" y="2594"/>
                </a:lnTo>
                <a:lnTo>
                  <a:pt x="2594" y="0"/>
                </a:lnTo>
                <a:close/>
                <a:moveTo>
                  <a:pt x="7954" y="7947"/>
                </a:moveTo>
                <a:cubicBezTo>
                  <a:pt x="8216" y="7947"/>
                  <a:pt x="8430" y="8161"/>
                  <a:pt x="8430" y="8424"/>
                </a:cubicBezTo>
                <a:lnTo>
                  <a:pt x="8430" y="8444"/>
                </a:lnTo>
                <a:cubicBezTo>
                  <a:pt x="8430" y="8707"/>
                  <a:pt x="8216" y="8922"/>
                  <a:pt x="7954" y="8922"/>
                </a:cubicBezTo>
                <a:lnTo>
                  <a:pt x="6971" y="8922"/>
                </a:lnTo>
                <a:lnTo>
                  <a:pt x="6971" y="9901"/>
                </a:lnTo>
                <a:cubicBezTo>
                  <a:pt x="6971" y="10163"/>
                  <a:pt x="6757" y="10378"/>
                  <a:pt x="6495" y="10378"/>
                </a:cubicBezTo>
                <a:lnTo>
                  <a:pt x="6480" y="10378"/>
                </a:lnTo>
                <a:cubicBezTo>
                  <a:pt x="6217" y="10381"/>
                  <a:pt x="6001" y="10171"/>
                  <a:pt x="5999" y="9907"/>
                </a:cubicBezTo>
                <a:lnTo>
                  <a:pt x="5999" y="8922"/>
                </a:lnTo>
                <a:lnTo>
                  <a:pt x="5021" y="8922"/>
                </a:lnTo>
                <a:cubicBezTo>
                  <a:pt x="4756" y="8923"/>
                  <a:pt x="4541" y="8708"/>
                  <a:pt x="4540" y="8443"/>
                </a:cubicBezTo>
                <a:lnTo>
                  <a:pt x="4540" y="8427"/>
                </a:lnTo>
                <a:cubicBezTo>
                  <a:pt x="4544" y="8163"/>
                  <a:pt x="4757" y="7952"/>
                  <a:pt x="5021" y="7949"/>
                </a:cubicBezTo>
                <a:lnTo>
                  <a:pt x="5999" y="7949"/>
                </a:lnTo>
                <a:lnTo>
                  <a:pt x="5999" y="6966"/>
                </a:lnTo>
                <a:cubicBezTo>
                  <a:pt x="5999" y="6702"/>
                  <a:pt x="6212" y="6488"/>
                  <a:pt x="6480" y="6488"/>
                </a:cubicBezTo>
                <a:lnTo>
                  <a:pt x="6495" y="6488"/>
                </a:lnTo>
                <a:cubicBezTo>
                  <a:pt x="6757" y="6488"/>
                  <a:pt x="6971" y="6702"/>
                  <a:pt x="6971" y="6966"/>
                </a:cubicBezTo>
                <a:lnTo>
                  <a:pt x="6971" y="7948"/>
                </a:lnTo>
                <a:lnTo>
                  <a:pt x="7954" y="7947"/>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sp>
        <p:nvSpPr>
          <p:cNvPr id="86" name="dna-scheme_72281">
            <a:extLst>
              <a:ext uri="{FF2B5EF4-FFF2-40B4-BE49-F238E27FC236}">
                <a16:creationId xmlns:a16="http://schemas.microsoft.com/office/drawing/2014/main" id="{38688272-16E2-4C8A-90C8-10A202B6A154}"/>
              </a:ext>
            </a:extLst>
          </p:cNvPr>
          <p:cNvSpPr/>
          <p:nvPr/>
        </p:nvSpPr>
        <p:spPr>
          <a:xfrm>
            <a:off x="8840017" y="2154095"/>
            <a:ext cx="393338" cy="390810"/>
          </a:xfrm>
          <a:custGeom>
            <a:avLst/>
            <a:gdLst>
              <a:gd name="T0" fmla="*/ 8079 w 8242"/>
              <a:gd name="T1" fmla="*/ 2177 h 8201"/>
              <a:gd name="T2" fmla="*/ 7493 w 8242"/>
              <a:gd name="T3" fmla="*/ 2177 h 8201"/>
              <a:gd name="T4" fmla="*/ 7402 w 8242"/>
              <a:gd name="T5" fmla="*/ 2260 h 8201"/>
              <a:gd name="T6" fmla="*/ 5982 w 8242"/>
              <a:gd name="T7" fmla="*/ 840 h 8201"/>
              <a:gd name="T8" fmla="*/ 6065 w 8242"/>
              <a:gd name="T9" fmla="*/ 749 h 8201"/>
              <a:gd name="T10" fmla="*/ 6065 w 8242"/>
              <a:gd name="T11" fmla="*/ 163 h 8201"/>
              <a:gd name="T12" fmla="*/ 5478 w 8242"/>
              <a:gd name="T13" fmla="*/ 163 h 8201"/>
              <a:gd name="T14" fmla="*/ 4914 w 8242"/>
              <a:gd name="T15" fmla="*/ 2319 h 8201"/>
              <a:gd name="T16" fmla="*/ 2903 w 8242"/>
              <a:gd name="T17" fmla="*/ 2903 h 8201"/>
              <a:gd name="T18" fmla="*/ 2319 w 8242"/>
              <a:gd name="T19" fmla="*/ 4914 h 8201"/>
              <a:gd name="T20" fmla="*/ 163 w 8242"/>
              <a:gd name="T21" fmla="*/ 5478 h 8201"/>
              <a:gd name="T22" fmla="*/ 163 w 8242"/>
              <a:gd name="T23" fmla="*/ 6065 h 8201"/>
              <a:gd name="T24" fmla="*/ 456 w 8242"/>
              <a:gd name="T25" fmla="*/ 6187 h 8201"/>
              <a:gd name="T26" fmla="*/ 749 w 8242"/>
              <a:gd name="T27" fmla="*/ 6065 h 8201"/>
              <a:gd name="T28" fmla="*/ 840 w 8242"/>
              <a:gd name="T29" fmla="*/ 5982 h 8201"/>
              <a:gd name="T30" fmla="*/ 2260 w 8242"/>
              <a:gd name="T31" fmla="*/ 7402 h 8201"/>
              <a:gd name="T32" fmla="*/ 2177 w 8242"/>
              <a:gd name="T33" fmla="*/ 7493 h 8201"/>
              <a:gd name="T34" fmla="*/ 2177 w 8242"/>
              <a:gd name="T35" fmla="*/ 8079 h 8201"/>
              <a:gd name="T36" fmla="*/ 2470 w 8242"/>
              <a:gd name="T37" fmla="*/ 8201 h 8201"/>
              <a:gd name="T38" fmla="*/ 2764 w 8242"/>
              <a:gd name="T39" fmla="*/ 8079 h 8201"/>
              <a:gd name="T40" fmla="*/ 3328 w 8242"/>
              <a:gd name="T41" fmla="*/ 5923 h 8201"/>
              <a:gd name="T42" fmla="*/ 5339 w 8242"/>
              <a:gd name="T43" fmla="*/ 5339 h 8201"/>
              <a:gd name="T44" fmla="*/ 5923 w 8242"/>
              <a:gd name="T45" fmla="*/ 3328 h 8201"/>
              <a:gd name="T46" fmla="*/ 8079 w 8242"/>
              <a:gd name="T47" fmla="*/ 2764 h 8201"/>
              <a:gd name="T48" fmla="*/ 8079 w 8242"/>
              <a:gd name="T49" fmla="*/ 2177 h 8201"/>
              <a:gd name="T50" fmla="*/ 5062 w 8242"/>
              <a:gd name="T51" fmla="*/ 3179 h 8201"/>
              <a:gd name="T52" fmla="*/ 4951 w 8242"/>
              <a:gd name="T53" fmla="*/ 4499 h 8201"/>
              <a:gd name="T54" fmla="*/ 3743 w 8242"/>
              <a:gd name="T55" fmla="*/ 3291 h 8201"/>
              <a:gd name="T56" fmla="*/ 5062 w 8242"/>
              <a:gd name="T57" fmla="*/ 3179 h 8201"/>
              <a:gd name="T58" fmla="*/ 1470 w 8242"/>
              <a:gd name="T59" fmla="*/ 5708 h 8201"/>
              <a:gd name="T60" fmla="*/ 2464 w 8242"/>
              <a:gd name="T61" fmla="*/ 5778 h 8201"/>
              <a:gd name="T62" fmla="*/ 2534 w 8242"/>
              <a:gd name="T63" fmla="*/ 6772 h 8201"/>
              <a:gd name="T64" fmla="*/ 1470 w 8242"/>
              <a:gd name="T65" fmla="*/ 5708 h 8201"/>
              <a:gd name="T66" fmla="*/ 3179 w 8242"/>
              <a:gd name="T67" fmla="*/ 5063 h 8201"/>
              <a:gd name="T68" fmla="*/ 3291 w 8242"/>
              <a:gd name="T69" fmla="*/ 3743 h 8201"/>
              <a:gd name="T70" fmla="*/ 4499 w 8242"/>
              <a:gd name="T71" fmla="*/ 4951 h 8201"/>
              <a:gd name="T72" fmla="*/ 3179 w 8242"/>
              <a:gd name="T73" fmla="*/ 5063 h 8201"/>
              <a:gd name="T74" fmla="*/ 5778 w 8242"/>
              <a:gd name="T75" fmla="*/ 2464 h 8201"/>
              <a:gd name="T76" fmla="*/ 5708 w 8242"/>
              <a:gd name="T77" fmla="*/ 1470 h 8201"/>
              <a:gd name="T78" fmla="*/ 6772 w 8242"/>
              <a:gd name="T79" fmla="*/ 2534 h 8201"/>
              <a:gd name="T80" fmla="*/ 5778 w 8242"/>
              <a:gd name="T81" fmla="*/ 2464 h 8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242" h="8201">
                <a:moveTo>
                  <a:pt x="8079" y="2177"/>
                </a:moveTo>
                <a:cubicBezTo>
                  <a:pt x="7917" y="2015"/>
                  <a:pt x="7655" y="2015"/>
                  <a:pt x="7493" y="2177"/>
                </a:cubicBezTo>
                <a:cubicBezTo>
                  <a:pt x="7463" y="2207"/>
                  <a:pt x="7433" y="2234"/>
                  <a:pt x="7402" y="2260"/>
                </a:cubicBezTo>
                <a:lnTo>
                  <a:pt x="5982" y="840"/>
                </a:lnTo>
                <a:cubicBezTo>
                  <a:pt x="6008" y="809"/>
                  <a:pt x="6035" y="779"/>
                  <a:pt x="6065" y="749"/>
                </a:cubicBezTo>
                <a:cubicBezTo>
                  <a:pt x="6227" y="587"/>
                  <a:pt x="6227" y="325"/>
                  <a:pt x="6065" y="163"/>
                </a:cubicBezTo>
                <a:cubicBezTo>
                  <a:pt x="5903" y="0"/>
                  <a:pt x="5640" y="0"/>
                  <a:pt x="5478" y="163"/>
                </a:cubicBezTo>
                <a:cubicBezTo>
                  <a:pt x="4816" y="825"/>
                  <a:pt x="4808" y="1592"/>
                  <a:pt x="4914" y="2319"/>
                </a:cubicBezTo>
                <a:cubicBezTo>
                  <a:pt x="4231" y="2237"/>
                  <a:pt x="3521" y="2285"/>
                  <a:pt x="2903" y="2903"/>
                </a:cubicBezTo>
                <a:cubicBezTo>
                  <a:pt x="2285" y="3521"/>
                  <a:pt x="2237" y="4231"/>
                  <a:pt x="2319" y="4914"/>
                </a:cubicBezTo>
                <a:cubicBezTo>
                  <a:pt x="1592" y="4808"/>
                  <a:pt x="825" y="4816"/>
                  <a:pt x="163" y="5478"/>
                </a:cubicBezTo>
                <a:cubicBezTo>
                  <a:pt x="0" y="5640"/>
                  <a:pt x="0" y="5903"/>
                  <a:pt x="163" y="6065"/>
                </a:cubicBezTo>
                <a:cubicBezTo>
                  <a:pt x="244" y="6146"/>
                  <a:pt x="350" y="6187"/>
                  <a:pt x="456" y="6187"/>
                </a:cubicBezTo>
                <a:cubicBezTo>
                  <a:pt x="562" y="6187"/>
                  <a:pt x="668" y="6146"/>
                  <a:pt x="749" y="6065"/>
                </a:cubicBezTo>
                <a:cubicBezTo>
                  <a:pt x="779" y="6035"/>
                  <a:pt x="809" y="6008"/>
                  <a:pt x="840" y="5982"/>
                </a:cubicBezTo>
                <a:lnTo>
                  <a:pt x="2260" y="7402"/>
                </a:lnTo>
                <a:cubicBezTo>
                  <a:pt x="2234" y="7433"/>
                  <a:pt x="2207" y="7463"/>
                  <a:pt x="2177" y="7493"/>
                </a:cubicBezTo>
                <a:cubicBezTo>
                  <a:pt x="2015" y="7655"/>
                  <a:pt x="2015" y="7917"/>
                  <a:pt x="2177" y="8079"/>
                </a:cubicBezTo>
                <a:cubicBezTo>
                  <a:pt x="2258" y="8160"/>
                  <a:pt x="2364" y="8201"/>
                  <a:pt x="2470" y="8201"/>
                </a:cubicBezTo>
                <a:cubicBezTo>
                  <a:pt x="2576" y="8201"/>
                  <a:pt x="2683" y="8160"/>
                  <a:pt x="2764" y="8079"/>
                </a:cubicBezTo>
                <a:cubicBezTo>
                  <a:pt x="3426" y="7417"/>
                  <a:pt x="3434" y="6650"/>
                  <a:pt x="3328" y="5923"/>
                </a:cubicBezTo>
                <a:cubicBezTo>
                  <a:pt x="4011" y="6005"/>
                  <a:pt x="4721" y="5957"/>
                  <a:pt x="5339" y="5339"/>
                </a:cubicBezTo>
                <a:cubicBezTo>
                  <a:pt x="5957" y="4721"/>
                  <a:pt x="6005" y="4011"/>
                  <a:pt x="5923" y="3328"/>
                </a:cubicBezTo>
                <a:cubicBezTo>
                  <a:pt x="6650" y="3434"/>
                  <a:pt x="7417" y="3426"/>
                  <a:pt x="8079" y="2764"/>
                </a:cubicBezTo>
                <a:cubicBezTo>
                  <a:pt x="8242" y="2602"/>
                  <a:pt x="8242" y="2339"/>
                  <a:pt x="8079" y="2177"/>
                </a:cubicBezTo>
                <a:close/>
                <a:moveTo>
                  <a:pt x="5062" y="3179"/>
                </a:moveTo>
                <a:cubicBezTo>
                  <a:pt x="5151" y="3727"/>
                  <a:pt x="5166" y="4141"/>
                  <a:pt x="4951" y="4499"/>
                </a:cubicBezTo>
                <a:lnTo>
                  <a:pt x="3743" y="3291"/>
                </a:lnTo>
                <a:cubicBezTo>
                  <a:pt x="4101" y="3076"/>
                  <a:pt x="4515" y="3091"/>
                  <a:pt x="5062" y="3179"/>
                </a:cubicBezTo>
                <a:close/>
                <a:moveTo>
                  <a:pt x="1470" y="5708"/>
                </a:moveTo>
                <a:cubicBezTo>
                  <a:pt x="1753" y="5671"/>
                  <a:pt x="2076" y="5711"/>
                  <a:pt x="2464" y="5778"/>
                </a:cubicBezTo>
                <a:cubicBezTo>
                  <a:pt x="2531" y="6166"/>
                  <a:pt x="2571" y="6489"/>
                  <a:pt x="2534" y="6772"/>
                </a:cubicBezTo>
                <a:lnTo>
                  <a:pt x="1470" y="5708"/>
                </a:lnTo>
                <a:close/>
                <a:moveTo>
                  <a:pt x="3179" y="5063"/>
                </a:moveTo>
                <a:cubicBezTo>
                  <a:pt x="3091" y="4515"/>
                  <a:pt x="3076" y="4101"/>
                  <a:pt x="3291" y="3743"/>
                </a:cubicBezTo>
                <a:lnTo>
                  <a:pt x="4499" y="4951"/>
                </a:lnTo>
                <a:cubicBezTo>
                  <a:pt x="4141" y="5166"/>
                  <a:pt x="3727" y="5151"/>
                  <a:pt x="3179" y="5063"/>
                </a:cubicBezTo>
                <a:close/>
                <a:moveTo>
                  <a:pt x="5778" y="2464"/>
                </a:moveTo>
                <a:cubicBezTo>
                  <a:pt x="5711" y="2076"/>
                  <a:pt x="5671" y="1753"/>
                  <a:pt x="5708" y="1470"/>
                </a:cubicBezTo>
                <a:lnTo>
                  <a:pt x="6772" y="2534"/>
                </a:lnTo>
                <a:cubicBezTo>
                  <a:pt x="6489" y="2571"/>
                  <a:pt x="6166" y="2531"/>
                  <a:pt x="5778" y="2464"/>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8" name="文本框 87">
            <a:extLst>
              <a:ext uri="{FF2B5EF4-FFF2-40B4-BE49-F238E27FC236}">
                <a16:creationId xmlns:a16="http://schemas.microsoft.com/office/drawing/2014/main" id="{64D894C1-C017-4D0E-A761-814EB59279A1}"/>
              </a:ext>
            </a:extLst>
          </p:cNvPr>
          <p:cNvSpPr txBox="1"/>
          <p:nvPr/>
        </p:nvSpPr>
        <p:spPr>
          <a:xfrm>
            <a:off x="2623076" y="2385650"/>
            <a:ext cx="538609" cy="215444"/>
          </a:xfrm>
          <a:prstGeom prst="rect">
            <a:avLst/>
          </a:prstGeom>
          <a:noFill/>
        </p:spPr>
        <p:txBody>
          <a:bodyPr wrap="none" lIns="0" tIns="0" rIns="0" bIns="0" rtlCol="0" anchor="t">
            <a:spAutoFit/>
          </a:bodyPr>
          <a:lstStyle/>
          <a:p>
            <a:pPr algn="l"/>
            <a:r>
              <a:rPr lang="zh-CN" altLang="en-US" sz="1400" dirty="0">
                <a:solidFill>
                  <a:schemeClr val="tx1">
                    <a:lumMod val="75000"/>
                    <a:lumOff val="25000"/>
                  </a:schemeClr>
                </a:solidFill>
                <a:latin typeface="+mn-ea"/>
              </a:rPr>
              <a:t>关键词</a:t>
            </a:r>
          </a:p>
        </p:txBody>
      </p:sp>
      <p:sp>
        <p:nvSpPr>
          <p:cNvPr id="89" name="文本框 88">
            <a:extLst>
              <a:ext uri="{FF2B5EF4-FFF2-40B4-BE49-F238E27FC236}">
                <a16:creationId xmlns:a16="http://schemas.microsoft.com/office/drawing/2014/main" id="{8ABAC7F3-B631-4549-AA4F-A95B10A0412E}"/>
              </a:ext>
            </a:extLst>
          </p:cNvPr>
          <p:cNvSpPr txBox="1"/>
          <p:nvPr/>
        </p:nvSpPr>
        <p:spPr>
          <a:xfrm>
            <a:off x="8660257" y="3825216"/>
            <a:ext cx="538609" cy="215444"/>
          </a:xfrm>
          <a:prstGeom prst="rect">
            <a:avLst/>
          </a:prstGeom>
          <a:noFill/>
        </p:spPr>
        <p:txBody>
          <a:bodyPr wrap="none" lIns="0" tIns="0" rIns="0" bIns="0" rtlCol="0" anchor="t">
            <a:spAutoFit/>
          </a:bodyPr>
          <a:lstStyle/>
          <a:p>
            <a:pPr algn="l"/>
            <a:r>
              <a:rPr lang="zh-CN" altLang="en-US" sz="1400" dirty="0">
                <a:solidFill>
                  <a:schemeClr val="tx1">
                    <a:lumMod val="75000"/>
                    <a:lumOff val="25000"/>
                  </a:schemeClr>
                </a:solidFill>
                <a:latin typeface="+mn-ea"/>
              </a:rPr>
              <a:t>关键词</a:t>
            </a:r>
          </a:p>
        </p:txBody>
      </p:sp>
      <p:sp>
        <p:nvSpPr>
          <p:cNvPr id="93" name="文本框 92">
            <a:extLst>
              <a:ext uri="{FF2B5EF4-FFF2-40B4-BE49-F238E27FC236}">
                <a16:creationId xmlns:a16="http://schemas.microsoft.com/office/drawing/2014/main" id="{58570AF1-9644-46A5-A710-6811BFACAA24}"/>
              </a:ext>
            </a:extLst>
          </p:cNvPr>
          <p:cNvSpPr txBox="1"/>
          <p:nvPr/>
        </p:nvSpPr>
        <p:spPr>
          <a:xfrm>
            <a:off x="6711553" y="5721514"/>
            <a:ext cx="538609" cy="215444"/>
          </a:xfrm>
          <a:prstGeom prst="rect">
            <a:avLst/>
          </a:prstGeom>
          <a:noFill/>
        </p:spPr>
        <p:txBody>
          <a:bodyPr wrap="none" lIns="0" tIns="0" rIns="0" bIns="0" rtlCol="0" anchor="t">
            <a:spAutoFit/>
          </a:bodyPr>
          <a:lstStyle/>
          <a:p>
            <a:pPr algn="l"/>
            <a:r>
              <a:rPr lang="zh-CN" altLang="en-US" sz="1400" dirty="0">
                <a:solidFill>
                  <a:schemeClr val="tx1">
                    <a:lumMod val="75000"/>
                    <a:lumOff val="25000"/>
                  </a:schemeClr>
                </a:solidFill>
                <a:latin typeface="+mn-ea"/>
              </a:rPr>
              <a:t>关键词</a:t>
            </a:r>
          </a:p>
        </p:txBody>
      </p:sp>
      <p:sp>
        <p:nvSpPr>
          <p:cNvPr id="95" name="文本框 94">
            <a:extLst>
              <a:ext uri="{FF2B5EF4-FFF2-40B4-BE49-F238E27FC236}">
                <a16:creationId xmlns:a16="http://schemas.microsoft.com/office/drawing/2014/main" id="{E0FC1330-51EB-4DC1-AD7B-28E8CAD7C370}"/>
              </a:ext>
            </a:extLst>
          </p:cNvPr>
          <p:cNvSpPr txBox="1"/>
          <p:nvPr/>
        </p:nvSpPr>
        <p:spPr>
          <a:xfrm>
            <a:off x="8506696" y="1212542"/>
            <a:ext cx="538609" cy="215444"/>
          </a:xfrm>
          <a:prstGeom prst="rect">
            <a:avLst/>
          </a:prstGeom>
          <a:noFill/>
        </p:spPr>
        <p:txBody>
          <a:bodyPr wrap="none" lIns="0" tIns="0" rIns="0" bIns="0" rtlCol="0" anchor="t">
            <a:spAutoFit/>
          </a:bodyPr>
          <a:lstStyle/>
          <a:p>
            <a:pPr algn="l"/>
            <a:r>
              <a:rPr lang="zh-CN" altLang="en-US" sz="1400" dirty="0">
                <a:solidFill>
                  <a:schemeClr val="tx1">
                    <a:lumMod val="75000"/>
                    <a:lumOff val="25000"/>
                  </a:schemeClr>
                </a:solidFill>
                <a:latin typeface="+mn-ea"/>
              </a:rPr>
              <a:t>关键词</a:t>
            </a:r>
          </a:p>
        </p:txBody>
      </p:sp>
      <p:sp>
        <p:nvSpPr>
          <p:cNvPr id="97" name="文本框 96">
            <a:extLst>
              <a:ext uri="{FF2B5EF4-FFF2-40B4-BE49-F238E27FC236}">
                <a16:creationId xmlns:a16="http://schemas.microsoft.com/office/drawing/2014/main" id="{66D694F8-B61D-4523-AB73-7D36F2E0AD89}"/>
              </a:ext>
            </a:extLst>
          </p:cNvPr>
          <p:cNvSpPr txBox="1"/>
          <p:nvPr/>
        </p:nvSpPr>
        <p:spPr>
          <a:xfrm>
            <a:off x="3550536" y="4230974"/>
            <a:ext cx="538609" cy="215444"/>
          </a:xfrm>
          <a:prstGeom prst="rect">
            <a:avLst/>
          </a:prstGeom>
          <a:noFill/>
        </p:spPr>
        <p:txBody>
          <a:bodyPr wrap="none" lIns="0" tIns="0" rIns="0" bIns="0" rtlCol="0" anchor="t">
            <a:spAutoFit/>
          </a:bodyPr>
          <a:lstStyle/>
          <a:p>
            <a:pPr algn="l"/>
            <a:r>
              <a:rPr lang="zh-CN" altLang="en-US" sz="1400" dirty="0">
                <a:solidFill>
                  <a:schemeClr val="tx1">
                    <a:lumMod val="75000"/>
                    <a:lumOff val="25000"/>
                  </a:schemeClr>
                </a:solidFill>
                <a:latin typeface="+mn-ea"/>
              </a:rPr>
              <a:t>关键词</a:t>
            </a:r>
          </a:p>
        </p:txBody>
      </p:sp>
      <p:sp>
        <p:nvSpPr>
          <p:cNvPr id="101" name="文本框 100">
            <a:extLst>
              <a:ext uri="{FF2B5EF4-FFF2-40B4-BE49-F238E27FC236}">
                <a16:creationId xmlns:a16="http://schemas.microsoft.com/office/drawing/2014/main" id="{73A29514-181A-45C1-AD8A-6CFD0261F165}"/>
              </a:ext>
            </a:extLst>
          </p:cNvPr>
          <p:cNvSpPr txBox="1"/>
          <p:nvPr/>
        </p:nvSpPr>
        <p:spPr>
          <a:xfrm>
            <a:off x="5810836" y="1624558"/>
            <a:ext cx="538609" cy="215444"/>
          </a:xfrm>
          <a:prstGeom prst="rect">
            <a:avLst/>
          </a:prstGeom>
          <a:noFill/>
        </p:spPr>
        <p:txBody>
          <a:bodyPr wrap="none" lIns="0" tIns="0" rIns="0" bIns="0" rtlCol="0" anchor="t">
            <a:spAutoFit/>
          </a:bodyPr>
          <a:lstStyle/>
          <a:p>
            <a:pPr algn="l"/>
            <a:r>
              <a:rPr lang="zh-CN" altLang="en-US" sz="1400" dirty="0">
                <a:solidFill>
                  <a:schemeClr val="tx1">
                    <a:lumMod val="75000"/>
                    <a:lumOff val="25000"/>
                  </a:schemeClr>
                </a:solidFill>
                <a:latin typeface="+mn-ea"/>
              </a:rPr>
              <a:t>关键词</a:t>
            </a:r>
          </a:p>
        </p:txBody>
      </p:sp>
      <p:sp>
        <p:nvSpPr>
          <p:cNvPr id="102" name="文本框 101">
            <a:extLst>
              <a:ext uri="{FF2B5EF4-FFF2-40B4-BE49-F238E27FC236}">
                <a16:creationId xmlns:a16="http://schemas.microsoft.com/office/drawing/2014/main" id="{60650287-B4E4-4F49-81D9-797DC2195C26}"/>
              </a:ext>
            </a:extLst>
          </p:cNvPr>
          <p:cNvSpPr txBox="1"/>
          <p:nvPr/>
        </p:nvSpPr>
        <p:spPr>
          <a:xfrm>
            <a:off x="4585406" y="489157"/>
            <a:ext cx="538609" cy="215444"/>
          </a:xfrm>
          <a:prstGeom prst="rect">
            <a:avLst/>
          </a:prstGeom>
          <a:noFill/>
        </p:spPr>
        <p:txBody>
          <a:bodyPr wrap="none" lIns="0" tIns="0" rIns="0" bIns="0" rtlCol="0" anchor="t">
            <a:spAutoFit/>
          </a:bodyPr>
          <a:lstStyle/>
          <a:p>
            <a:pPr algn="l"/>
            <a:r>
              <a:rPr lang="zh-CN" altLang="en-US" sz="1400" dirty="0">
                <a:solidFill>
                  <a:schemeClr val="tx1">
                    <a:lumMod val="75000"/>
                    <a:lumOff val="25000"/>
                  </a:schemeClr>
                </a:solidFill>
                <a:latin typeface="+mn-ea"/>
              </a:rPr>
              <a:t>关键词</a:t>
            </a:r>
          </a:p>
        </p:txBody>
      </p:sp>
    </p:spTree>
    <p:custDataLst>
      <p:tags r:id="rId2"/>
    </p:custDataLst>
    <p:extLst>
      <p:ext uri="{BB962C8B-B14F-4D97-AF65-F5344CB8AC3E}">
        <p14:creationId xmlns:p14="http://schemas.microsoft.com/office/powerpoint/2010/main" val="263250924"/>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2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椭圆 38">
            <a:extLst>
              <a:ext uri="{FF2B5EF4-FFF2-40B4-BE49-F238E27FC236}">
                <a16:creationId xmlns:a16="http://schemas.microsoft.com/office/drawing/2014/main" id="{178A649F-013A-42B9-87DB-B405B274A35E}"/>
              </a:ext>
            </a:extLst>
          </p:cNvPr>
          <p:cNvSpPr/>
          <p:nvPr/>
        </p:nvSpPr>
        <p:spPr>
          <a:xfrm>
            <a:off x="2047015" y="2615185"/>
            <a:ext cx="7876990" cy="2379344"/>
          </a:xfrm>
          <a:prstGeom prst="ellipse">
            <a:avLst/>
          </a:prstGeom>
          <a:gradFill flip="none" rotWithShape="1">
            <a:gsLst>
              <a:gs pos="88000">
                <a:schemeClr val="accent1">
                  <a:alpha val="0"/>
                </a:schemeClr>
              </a:gs>
              <a:gs pos="100000">
                <a:schemeClr val="accent1">
                  <a:alpha val="7000"/>
                </a:schemeClr>
              </a:gs>
            </a:gsLst>
            <a:path path="shape">
              <a:fillToRect l="50000" t="50000" r="50000" b="50000"/>
            </a:path>
            <a:tileRect/>
          </a:gradFill>
          <a:ln w="19050">
            <a:gradFill>
              <a:gsLst>
                <a:gs pos="23000">
                  <a:schemeClr val="accent1">
                    <a:alpha val="0"/>
                  </a:schemeClr>
                </a:gs>
                <a:gs pos="100000">
                  <a:schemeClr val="accent1"/>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zh-CN" altLang="en-US" sz="1600">
              <a:solidFill>
                <a:schemeClr val="bg1"/>
              </a:solidFill>
              <a:latin typeface="+mj-ea"/>
              <a:ea typeface="+mj-ea"/>
            </a:endParaRPr>
          </a:p>
        </p:txBody>
      </p:sp>
      <p:sp>
        <p:nvSpPr>
          <p:cNvPr id="8" name="圆柱体 7">
            <a:extLst>
              <a:ext uri="{FF2B5EF4-FFF2-40B4-BE49-F238E27FC236}">
                <a16:creationId xmlns:a16="http://schemas.microsoft.com/office/drawing/2014/main" id="{CAF2CACD-DE97-4A5C-8860-B51B91346654}"/>
              </a:ext>
            </a:extLst>
          </p:cNvPr>
          <p:cNvSpPr/>
          <p:nvPr/>
        </p:nvSpPr>
        <p:spPr>
          <a:xfrm>
            <a:off x="4046220" y="2231707"/>
            <a:ext cx="3878580" cy="2011680"/>
          </a:xfrm>
          <a:prstGeom prst="can">
            <a:avLst>
              <a:gd name="adj" fmla="val 50000"/>
            </a:avLst>
          </a:prstGeom>
          <a:gradFill>
            <a:gsLst>
              <a:gs pos="100000">
                <a:schemeClr val="accent1">
                  <a:alpha val="9000"/>
                </a:schemeClr>
              </a:gs>
              <a:gs pos="0">
                <a:schemeClr val="accent1">
                  <a:alpha val="45000"/>
                </a:schemeClr>
              </a:gs>
            </a:gsLst>
            <a:lin ang="5400000" scaled="1"/>
          </a:gradFill>
          <a:ln w="19050">
            <a:gradFill>
              <a:gsLst>
                <a:gs pos="100000">
                  <a:schemeClr val="accent1">
                    <a:alpha val="0"/>
                  </a:schemeClr>
                </a:gs>
                <a:gs pos="0">
                  <a:schemeClr val="accent1">
                    <a:alpha val="4400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zh-CN" altLang="en-US" sz="1600">
              <a:solidFill>
                <a:schemeClr val="bg1"/>
              </a:solidFill>
              <a:latin typeface="+mj-ea"/>
              <a:ea typeface="+mj-ea"/>
            </a:endParaRPr>
          </a:p>
        </p:txBody>
      </p:sp>
      <p:sp>
        <p:nvSpPr>
          <p:cNvPr id="11" name="椭圆 10">
            <a:extLst>
              <a:ext uri="{FF2B5EF4-FFF2-40B4-BE49-F238E27FC236}">
                <a16:creationId xmlns:a16="http://schemas.microsoft.com/office/drawing/2014/main" id="{8C3F6351-123B-42DF-89CF-D0C266C61BF0}"/>
              </a:ext>
            </a:extLst>
          </p:cNvPr>
          <p:cNvSpPr/>
          <p:nvPr/>
        </p:nvSpPr>
        <p:spPr>
          <a:xfrm>
            <a:off x="4046220" y="2843212"/>
            <a:ext cx="3878580" cy="1171575"/>
          </a:xfrm>
          <a:prstGeom prst="ellipse">
            <a:avLst/>
          </a:prstGeom>
          <a:gradFill>
            <a:gsLst>
              <a:gs pos="0">
                <a:schemeClr val="accent1">
                  <a:alpha val="0"/>
                </a:schemeClr>
              </a:gs>
              <a:gs pos="100000">
                <a:schemeClr val="accent1">
                  <a:alpha val="15000"/>
                </a:schemeClr>
              </a:gs>
            </a:gsLst>
            <a:lin ang="5400000" scaled="1"/>
          </a:gra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zh-CN" altLang="en-US" sz="1600">
              <a:solidFill>
                <a:schemeClr val="bg1"/>
              </a:solidFill>
              <a:latin typeface="+mj-ea"/>
              <a:ea typeface="+mj-ea"/>
            </a:endParaRPr>
          </a:p>
        </p:txBody>
      </p:sp>
      <p:sp>
        <p:nvSpPr>
          <p:cNvPr id="12" name="椭圆 11">
            <a:extLst>
              <a:ext uri="{FF2B5EF4-FFF2-40B4-BE49-F238E27FC236}">
                <a16:creationId xmlns:a16="http://schemas.microsoft.com/office/drawing/2014/main" id="{AAC9EF1A-6971-4A59-A8DA-68A3F379665E}"/>
              </a:ext>
            </a:extLst>
          </p:cNvPr>
          <p:cNvSpPr/>
          <p:nvPr/>
        </p:nvSpPr>
        <p:spPr>
          <a:xfrm>
            <a:off x="4370070" y="1865947"/>
            <a:ext cx="853440" cy="853440"/>
          </a:xfrm>
          <a:prstGeom prst="ellipse">
            <a:avLst/>
          </a:prstGeom>
          <a:solidFill>
            <a:schemeClr val="accent1"/>
          </a:solidFill>
          <a:ln>
            <a:noFill/>
          </a:ln>
          <a:effectLst>
            <a:reflection blurRad="6350" stA="17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42" name="椭圆 41">
            <a:extLst>
              <a:ext uri="{FF2B5EF4-FFF2-40B4-BE49-F238E27FC236}">
                <a16:creationId xmlns:a16="http://schemas.microsoft.com/office/drawing/2014/main" id="{259B6E6C-F97A-4C1A-A31E-BA92789AC447}"/>
              </a:ext>
            </a:extLst>
          </p:cNvPr>
          <p:cNvSpPr/>
          <p:nvPr/>
        </p:nvSpPr>
        <p:spPr>
          <a:xfrm>
            <a:off x="5559481" y="1865947"/>
            <a:ext cx="853440" cy="853440"/>
          </a:xfrm>
          <a:prstGeom prst="ellipse">
            <a:avLst/>
          </a:prstGeom>
          <a:solidFill>
            <a:schemeClr val="accent1"/>
          </a:solidFill>
          <a:ln>
            <a:noFill/>
          </a:ln>
          <a:effectLst>
            <a:reflection blurRad="6350" stA="17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43" name="椭圆 42">
            <a:extLst>
              <a:ext uri="{FF2B5EF4-FFF2-40B4-BE49-F238E27FC236}">
                <a16:creationId xmlns:a16="http://schemas.microsoft.com/office/drawing/2014/main" id="{014220B0-96A6-411F-83B6-1310F9F3CFF9}"/>
              </a:ext>
            </a:extLst>
          </p:cNvPr>
          <p:cNvSpPr/>
          <p:nvPr/>
        </p:nvSpPr>
        <p:spPr>
          <a:xfrm>
            <a:off x="6748892" y="1865947"/>
            <a:ext cx="853440" cy="853440"/>
          </a:xfrm>
          <a:prstGeom prst="ellipse">
            <a:avLst/>
          </a:prstGeom>
          <a:solidFill>
            <a:schemeClr val="accent1"/>
          </a:solidFill>
          <a:ln>
            <a:noFill/>
          </a:ln>
          <a:effectLst>
            <a:reflection blurRad="6350" stA="17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58" name="user_209046">
            <a:extLst>
              <a:ext uri="{FF2B5EF4-FFF2-40B4-BE49-F238E27FC236}">
                <a16:creationId xmlns:a16="http://schemas.microsoft.com/office/drawing/2014/main" id="{A2EAFF96-FF27-4FB1-A4B3-0B1827A429E2}"/>
              </a:ext>
            </a:extLst>
          </p:cNvPr>
          <p:cNvSpPr/>
          <p:nvPr/>
        </p:nvSpPr>
        <p:spPr>
          <a:xfrm>
            <a:off x="4617251" y="1981490"/>
            <a:ext cx="351190" cy="316688"/>
          </a:xfrm>
          <a:custGeom>
            <a:avLst/>
            <a:gdLst>
              <a:gd name="connsiteX0" fmla="*/ 521432 w 608344"/>
              <a:gd name="connsiteY0" fmla="*/ 370453 h 548582"/>
              <a:gd name="connsiteX1" fmla="*/ 465737 w 608344"/>
              <a:gd name="connsiteY1" fmla="*/ 425787 h 548582"/>
              <a:gd name="connsiteX2" fmla="*/ 442491 w 608344"/>
              <a:gd name="connsiteY2" fmla="*/ 402479 h 548582"/>
              <a:gd name="connsiteX3" fmla="*/ 418201 w 608344"/>
              <a:gd name="connsiteY3" fmla="*/ 426545 h 548582"/>
              <a:gd name="connsiteX4" fmla="*/ 441447 w 608344"/>
              <a:gd name="connsiteY4" fmla="*/ 449948 h 548582"/>
              <a:gd name="connsiteX5" fmla="*/ 465642 w 608344"/>
              <a:gd name="connsiteY5" fmla="*/ 474204 h 548582"/>
              <a:gd name="connsiteX6" fmla="*/ 489932 w 608344"/>
              <a:gd name="connsiteY6" fmla="*/ 450043 h 548582"/>
              <a:gd name="connsiteX7" fmla="*/ 545532 w 608344"/>
              <a:gd name="connsiteY7" fmla="*/ 394709 h 548582"/>
              <a:gd name="connsiteX8" fmla="*/ 481962 w 608344"/>
              <a:gd name="connsiteY8" fmla="*/ 296170 h 548582"/>
              <a:gd name="connsiteX9" fmla="*/ 608344 w 608344"/>
              <a:gd name="connsiteY9" fmla="*/ 422376 h 548582"/>
              <a:gd name="connsiteX10" fmla="*/ 481962 w 608344"/>
              <a:gd name="connsiteY10" fmla="*/ 548582 h 548582"/>
              <a:gd name="connsiteX11" fmla="*/ 355579 w 608344"/>
              <a:gd name="connsiteY11" fmla="*/ 422376 h 548582"/>
              <a:gd name="connsiteX12" fmla="*/ 481962 w 608344"/>
              <a:gd name="connsiteY12" fmla="*/ 296170 h 548582"/>
              <a:gd name="connsiteX13" fmla="*/ 255835 w 608344"/>
              <a:gd name="connsiteY13" fmla="*/ 446 h 548582"/>
              <a:gd name="connsiteX14" fmla="*/ 317801 w 608344"/>
              <a:gd name="connsiteY14" fmla="*/ 13616 h 548582"/>
              <a:gd name="connsiteX15" fmla="*/ 348072 w 608344"/>
              <a:gd name="connsiteY15" fmla="*/ 41661 h 548582"/>
              <a:gd name="connsiteX16" fmla="*/ 381190 w 608344"/>
              <a:gd name="connsiteY16" fmla="*/ 146831 h 548582"/>
              <a:gd name="connsiteX17" fmla="*/ 378913 w 608344"/>
              <a:gd name="connsiteY17" fmla="*/ 156211 h 548582"/>
              <a:gd name="connsiteX18" fmla="*/ 387833 w 608344"/>
              <a:gd name="connsiteY18" fmla="*/ 200458 h 548582"/>
              <a:gd name="connsiteX19" fmla="*/ 366387 w 608344"/>
              <a:gd name="connsiteY19" fmla="*/ 237694 h 548582"/>
              <a:gd name="connsiteX20" fmla="*/ 351393 w 608344"/>
              <a:gd name="connsiteY20" fmla="*/ 278720 h 548582"/>
              <a:gd name="connsiteX21" fmla="*/ 351393 w 608344"/>
              <a:gd name="connsiteY21" fmla="*/ 322873 h 548582"/>
              <a:gd name="connsiteX22" fmla="*/ 317611 w 608344"/>
              <a:gd name="connsiteY22" fmla="*/ 422358 h 548582"/>
              <a:gd name="connsiteX23" fmla="*/ 376635 w 608344"/>
              <a:gd name="connsiteY23" fmla="*/ 548088 h 548582"/>
              <a:gd name="connsiteX24" fmla="*/ 26855 w 608344"/>
              <a:gd name="connsiteY24" fmla="*/ 548088 h 548582"/>
              <a:gd name="connsiteX25" fmla="*/ 0 w 608344"/>
              <a:gd name="connsiteY25" fmla="*/ 521274 h 548582"/>
              <a:gd name="connsiteX26" fmla="*/ 0 w 608344"/>
              <a:gd name="connsiteY26" fmla="*/ 473806 h 548582"/>
              <a:gd name="connsiteX27" fmla="*/ 19453 w 608344"/>
              <a:gd name="connsiteY27" fmla="*/ 432969 h 548582"/>
              <a:gd name="connsiteX28" fmla="*/ 173751 w 608344"/>
              <a:gd name="connsiteY28" fmla="*/ 334242 h 548582"/>
              <a:gd name="connsiteX29" fmla="*/ 176408 w 608344"/>
              <a:gd name="connsiteY29" fmla="*/ 329884 h 548582"/>
              <a:gd name="connsiteX30" fmla="*/ 176408 w 608344"/>
              <a:gd name="connsiteY30" fmla="*/ 278720 h 548582"/>
              <a:gd name="connsiteX31" fmla="*/ 161320 w 608344"/>
              <a:gd name="connsiteY31" fmla="*/ 237694 h 548582"/>
              <a:gd name="connsiteX32" fmla="*/ 139969 w 608344"/>
              <a:gd name="connsiteY32" fmla="*/ 200458 h 548582"/>
              <a:gd name="connsiteX33" fmla="*/ 148320 w 608344"/>
              <a:gd name="connsiteY33" fmla="*/ 156211 h 548582"/>
              <a:gd name="connsiteX34" fmla="*/ 146042 w 608344"/>
              <a:gd name="connsiteY34" fmla="*/ 146736 h 548582"/>
              <a:gd name="connsiteX35" fmla="*/ 145758 w 608344"/>
              <a:gd name="connsiteY35" fmla="*/ 95099 h 548582"/>
              <a:gd name="connsiteX36" fmla="*/ 176029 w 608344"/>
              <a:gd name="connsiteY36" fmla="*/ 42135 h 548582"/>
              <a:gd name="connsiteX37" fmla="*/ 203928 w 608344"/>
              <a:gd name="connsiteY37" fmla="*/ 19017 h 548582"/>
              <a:gd name="connsiteX38" fmla="*/ 231162 w 608344"/>
              <a:gd name="connsiteY38" fmla="*/ 5089 h 548582"/>
              <a:gd name="connsiteX39" fmla="*/ 255835 w 608344"/>
              <a:gd name="connsiteY39" fmla="*/ 446 h 548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608344" h="548582">
                <a:moveTo>
                  <a:pt x="521432" y="370453"/>
                </a:moveTo>
                <a:lnTo>
                  <a:pt x="465737" y="425787"/>
                </a:lnTo>
                <a:lnTo>
                  <a:pt x="442491" y="402479"/>
                </a:lnTo>
                <a:lnTo>
                  <a:pt x="418201" y="426545"/>
                </a:lnTo>
                <a:lnTo>
                  <a:pt x="441447" y="449948"/>
                </a:lnTo>
                <a:lnTo>
                  <a:pt x="465642" y="474204"/>
                </a:lnTo>
                <a:lnTo>
                  <a:pt x="489932" y="450043"/>
                </a:lnTo>
                <a:lnTo>
                  <a:pt x="545532" y="394709"/>
                </a:lnTo>
                <a:close/>
                <a:moveTo>
                  <a:pt x="481962" y="296170"/>
                </a:moveTo>
                <a:cubicBezTo>
                  <a:pt x="551795" y="296170"/>
                  <a:pt x="608344" y="352641"/>
                  <a:pt x="608344" y="422376"/>
                </a:cubicBezTo>
                <a:cubicBezTo>
                  <a:pt x="608344" y="492111"/>
                  <a:pt x="551795" y="548582"/>
                  <a:pt x="481962" y="548582"/>
                </a:cubicBezTo>
                <a:cubicBezTo>
                  <a:pt x="412129" y="548582"/>
                  <a:pt x="355579" y="492111"/>
                  <a:pt x="355579" y="422376"/>
                </a:cubicBezTo>
                <a:cubicBezTo>
                  <a:pt x="355579" y="352641"/>
                  <a:pt x="412129" y="296170"/>
                  <a:pt x="481962" y="296170"/>
                </a:cubicBezTo>
                <a:close/>
                <a:moveTo>
                  <a:pt x="255835" y="446"/>
                </a:moveTo>
                <a:cubicBezTo>
                  <a:pt x="282785" y="-1828"/>
                  <a:pt x="303187" y="4899"/>
                  <a:pt x="317801" y="13616"/>
                </a:cubicBezTo>
                <a:cubicBezTo>
                  <a:pt x="339721" y="25744"/>
                  <a:pt x="348072" y="41661"/>
                  <a:pt x="348072" y="41661"/>
                </a:cubicBezTo>
                <a:cubicBezTo>
                  <a:pt x="348072" y="41661"/>
                  <a:pt x="398176" y="45167"/>
                  <a:pt x="381190" y="146831"/>
                </a:cubicBezTo>
                <a:cubicBezTo>
                  <a:pt x="380621" y="149863"/>
                  <a:pt x="379862" y="153085"/>
                  <a:pt x="378913" y="156211"/>
                </a:cubicBezTo>
                <a:cubicBezTo>
                  <a:pt x="388592" y="156211"/>
                  <a:pt x="398271" y="163507"/>
                  <a:pt x="387833" y="200458"/>
                </a:cubicBezTo>
                <a:cubicBezTo>
                  <a:pt x="379672" y="229262"/>
                  <a:pt x="372080" y="237221"/>
                  <a:pt x="366387" y="237694"/>
                </a:cubicBezTo>
                <a:cubicBezTo>
                  <a:pt x="364394" y="250675"/>
                  <a:pt x="359175" y="265076"/>
                  <a:pt x="351393" y="278720"/>
                </a:cubicBezTo>
                <a:lnTo>
                  <a:pt x="351393" y="322873"/>
                </a:lnTo>
                <a:cubicBezTo>
                  <a:pt x="330232" y="350539"/>
                  <a:pt x="317611" y="385027"/>
                  <a:pt x="317611" y="422358"/>
                </a:cubicBezTo>
                <a:cubicBezTo>
                  <a:pt x="317611" y="472764"/>
                  <a:pt x="340480" y="518053"/>
                  <a:pt x="376635" y="548088"/>
                </a:cubicBezTo>
                <a:lnTo>
                  <a:pt x="26855" y="548088"/>
                </a:lnTo>
                <a:cubicBezTo>
                  <a:pt x="12052" y="548088"/>
                  <a:pt x="0" y="536055"/>
                  <a:pt x="0" y="521274"/>
                </a:cubicBezTo>
                <a:lnTo>
                  <a:pt x="0" y="473806"/>
                </a:lnTo>
                <a:cubicBezTo>
                  <a:pt x="0" y="457983"/>
                  <a:pt x="7212" y="443013"/>
                  <a:pt x="19453" y="432969"/>
                </a:cubicBezTo>
                <a:cubicBezTo>
                  <a:pt x="86638" y="377921"/>
                  <a:pt x="159043" y="341443"/>
                  <a:pt x="173751" y="334242"/>
                </a:cubicBezTo>
                <a:cubicBezTo>
                  <a:pt x="175365" y="333484"/>
                  <a:pt x="176408" y="331779"/>
                  <a:pt x="176408" y="329884"/>
                </a:cubicBezTo>
                <a:lnTo>
                  <a:pt x="176408" y="278720"/>
                </a:lnTo>
                <a:cubicBezTo>
                  <a:pt x="168437" y="265076"/>
                  <a:pt x="163313" y="250675"/>
                  <a:pt x="161320" y="237694"/>
                </a:cubicBezTo>
                <a:cubicBezTo>
                  <a:pt x="155627" y="237221"/>
                  <a:pt x="148035" y="229072"/>
                  <a:pt x="139969" y="200458"/>
                </a:cubicBezTo>
                <a:cubicBezTo>
                  <a:pt x="129531" y="164170"/>
                  <a:pt x="138925" y="156496"/>
                  <a:pt x="148320" y="156211"/>
                </a:cubicBezTo>
                <a:cubicBezTo>
                  <a:pt x="147371" y="153085"/>
                  <a:pt x="146612" y="149863"/>
                  <a:pt x="146042" y="146736"/>
                </a:cubicBezTo>
                <a:cubicBezTo>
                  <a:pt x="142436" y="128450"/>
                  <a:pt x="141487" y="111396"/>
                  <a:pt x="145758" y="95099"/>
                </a:cubicBezTo>
                <a:cubicBezTo>
                  <a:pt x="150787" y="73212"/>
                  <a:pt x="162744" y="55684"/>
                  <a:pt x="176029" y="42135"/>
                </a:cubicBezTo>
                <a:cubicBezTo>
                  <a:pt x="184379" y="33134"/>
                  <a:pt x="193869" y="25459"/>
                  <a:pt x="203928" y="19017"/>
                </a:cubicBezTo>
                <a:cubicBezTo>
                  <a:pt x="212183" y="13332"/>
                  <a:pt x="221293" y="8405"/>
                  <a:pt x="231162" y="5089"/>
                </a:cubicBezTo>
                <a:cubicBezTo>
                  <a:pt x="238849" y="2625"/>
                  <a:pt x="247105" y="825"/>
                  <a:pt x="255835" y="446"/>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9" name="user_209046">
            <a:extLst>
              <a:ext uri="{FF2B5EF4-FFF2-40B4-BE49-F238E27FC236}">
                <a16:creationId xmlns:a16="http://schemas.microsoft.com/office/drawing/2014/main" id="{E54E258B-F63B-48FE-8BC4-DA6612DB0789}"/>
              </a:ext>
            </a:extLst>
          </p:cNvPr>
          <p:cNvSpPr/>
          <p:nvPr/>
        </p:nvSpPr>
        <p:spPr>
          <a:xfrm>
            <a:off x="5838302" y="1981245"/>
            <a:ext cx="295798" cy="338094"/>
          </a:xfrm>
          <a:custGeom>
            <a:avLst/>
            <a:gdLst>
              <a:gd name="T0" fmla="*/ 8582 w 9077"/>
              <a:gd name="T1" fmla="*/ 4538 h 10373"/>
              <a:gd name="T2" fmla="*/ 9077 w 9077"/>
              <a:gd name="T3" fmla="*/ 4538 h 10373"/>
              <a:gd name="T4" fmla="*/ 9077 w 9077"/>
              <a:gd name="T5" fmla="*/ 9151 h 10373"/>
              <a:gd name="T6" fmla="*/ 7855 w 9077"/>
              <a:gd name="T7" fmla="*/ 10373 h 10373"/>
              <a:gd name="T8" fmla="*/ 4789 w 9077"/>
              <a:gd name="T9" fmla="*/ 10373 h 10373"/>
              <a:gd name="T10" fmla="*/ 4539 w 9077"/>
              <a:gd name="T11" fmla="*/ 10123 h 10373"/>
              <a:gd name="T12" fmla="*/ 4539 w 9077"/>
              <a:gd name="T13" fmla="*/ 9562 h 10373"/>
              <a:gd name="T14" fmla="*/ 4789 w 9077"/>
              <a:gd name="T15" fmla="*/ 9312 h 10373"/>
              <a:gd name="T16" fmla="*/ 7532 w 9077"/>
              <a:gd name="T17" fmla="*/ 9312 h 10373"/>
              <a:gd name="T18" fmla="*/ 8106 w 9077"/>
              <a:gd name="T19" fmla="*/ 8738 h 10373"/>
              <a:gd name="T20" fmla="*/ 8106 w 9077"/>
              <a:gd name="T21" fmla="*/ 7780 h 10373"/>
              <a:gd name="T22" fmla="*/ 6734 w 9077"/>
              <a:gd name="T23" fmla="*/ 7780 h 10373"/>
              <a:gd name="T24" fmla="*/ 6484 w 9077"/>
              <a:gd name="T25" fmla="*/ 7530 h 10373"/>
              <a:gd name="T26" fmla="*/ 6484 w 9077"/>
              <a:gd name="T27" fmla="*/ 4788 h 10373"/>
              <a:gd name="T28" fmla="*/ 6734 w 9077"/>
              <a:gd name="T29" fmla="*/ 4538 h 10373"/>
              <a:gd name="T30" fmla="*/ 8582 w 9077"/>
              <a:gd name="T31" fmla="*/ 4538 h 10373"/>
              <a:gd name="T32" fmla="*/ 8087 w 9077"/>
              <a:gd name="T33" fmla="*/ 4538 h 10373"/>
              <a:gd name="T34" fmla="*/ 8087 w 9077"/>
              <a:gd name="T35" fmla="*/ 4520 h 10373"/>
              <a:gd name="T36" fmla="*/ 4521 w 9077"/>
              <a:gd name="T37" fmla="*/ 972 h 10373"/>
              <a:gd name="T38" fmla="*/ 955 w 9077"/>
              <a:gd name="T39" fmla="*/ 4520 h 10373"/>
              <a:gd name="T40" fmla="*/ 955 w 9077"/>
              <a:gd name="T41" fmla="*/ 4538 h 10373"/>
              <a:gd name="T42" fmla="*/ 0 w 9077"/>
              <a:gd name="T43" fmla="*/ 4538 h 10373"/>
              <a:gd name="T44" fmla="*/ 0 w 9077"/>
              <a:gd name="T45" fmla="*/ 6558 h 10373"/>
              <a:gd name="T46" fmla="*/ 1222 w 9077"/>
              <a:gd name="T47" fmla="*/ 7781 h 10373"/>
              <a:gd name="T48" fmla="*/ 2343 w 9077"/>
              <a:gd name="T49" fmla="*/ 7781 h 10373"/>
              <a:gd name="T50" fmla="*/ 2593 w 9077"/>
              <a:gd name="T51" fmla="*/ 7531 h 10373"/>
              <a:gd name="T52" fmla="*/ 2593 w 9077"/>
              <a:gd name="T53" fmla="*/ 4788 h 10373"/>
              <a:gd name="T54" fmla="*/ 2343 w 9077"/>
              <a:gd name="T55" fmla="*/ 4538 h 10373"/>
              <a:gd name="T56" fmla="*/ 0 w 9077"/>
              <a:gd name="T57" fmla="*/ 4538 h 10373"/>
              <a:gd name="T58" fmla="*/ 0 w 9077"/>
              <a:gd name="T59" fmla="*/ 4516 h 10373"/>
              <a:gd name="T60" fmla="*/ 4539 w 9077"/>
              <a:gd name="T61" fmla="*/ 0 h 10373"/>
              <a:gd name="T62" fmla="*/ 9077 w 9077"/>
              <a:gd name="T63" fmla="*/ 4516 h 10373"/>
              <a:gd name="T64" fmla="*/ 9077 w 9077"/>
              <a:gd name="T65" fmla="*/ 4538 h 10373"/>
              <a:gd name="T66" fmla="*/ 8582 w 9077"/>
              <a:gd name="T67" fmla="*/ 4538 h 10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077" h="10373">
                <a:moveTo>
                  <a:pt x="8582" y="4538"/>
                </a:moveTo>
                <a:lnTo>
                  <a:pt x="9077" y="4538"/>
                </a:lnTo>
                <a:lnTo>
                  <a:pt x="9077" y="9151"/>
                </a:lnTo>
                <a:cubicBezTo>
                  <a:pt x="9077" y="9826"/>
                  <a:pt x="8530" y="10373"/>
                  <a:pt x="7855" y="10373"/>
                </a:cubicBezTo>
                <a:lnTo>
                  <a:pt x="4789" y="10373"/>
                </a:lnTo>
                <a:cubicBezTo>
                  <a:pt x="4651" y="10373"/>
                  <a:pt x="4539" y="10261"/>
                  <a:pt x="4539" y="10123"/>
                </a:cubicBezTo>
                <a:lnTo>
                  <a:pt x="4539" y="9562"/>
                </a:lnTo>
                <a:cubicBezTo>
                  <a:pt x="4539" y="9425"/>
                  <a:pt x="4651" y="9312"/>
                  <a:pt x="4789" y="9312"/>
                </a:cubicBezTo>
                <a:lnTo>
                  <a:pt x="7532" y="9312"/>
                </a:lnTo>
                <a:cubicBezTo>
                  <a:pt x="7850" y="9312"/>
                  <a:pt x="8106" y="9055"/>
                  <a:pt x="8106" y="8738"/>
                </a:cubicBezTo>
                <a:lnTo>
                  <a:pt x="8106" y="7780"/>
                </a:lnTo>
                <a:lnTo>
                  <a:pt x="6734" y="7780"/>
                </a:lnTo>
                <a:cubicBezTo>
                  <a:pt x="6596" y="7780"/>
                  <a:pt x="6484" y="7667"/>
                  <a:pt x="6484" y="7530"/>
                </a:cubicBezTo>
                <a:lnTo>
                  <a:pt x="6484" y="4788"/>
                </a:lnTo>
                <a:cubicBezTo>
                  <a:pt x="6484" y="4651"/>
                  <a:pt x="6596" y="4538"/>
                  <a:pt x="6734" y="4538"/>
                </a:cubicBezTo>
                <a:lnTo>
                  <a:pt x="8582" y="4538"/>
                </a:lnTo>
                <a:lnTo>
                  <a:pt x="8087" y="4538"/>
                </a:lnTo>
                <a:lnTo>
                  <a:pt x="8087" y="4520"/>
                </a:lnTo>
                <a:cubicBezTo>
                  <a:pt x="8087" y="2560"/>
                  <a:pt x="6491" y="972"/>
                  <a:pt x="4521" y="972"/>
                </a:cubicBezTo>
                <a:cubicBezTo>
                  <a:pt x="2552" y="972"/>
                  <a:pt x="955" y="2561"/>
                  <a:pt x="955" y="4520"/>
                </a:cubicBezTo>
                <a:lnTo>
                  <a:pt x="955" y="4538"/>
                </a:lnTo>
                <a:lnTo>
                  <a:pt x="0" y="4538"/>
                </a:lnTo>
                <a:lnTo>
                  <a:pt x="0" y="6558"/>
                </a:lnTo>
                <a:cubicBezTo>
                  <a:pt x="0" y="7233"/>
                  <a:pt x="547" y="7781"/>
                  <a:pt x="1222" y="7781"/>
                </a:cubicBezTo>
                <a:lnTo>
                  <a:pt x="2343" y="7781"/>
                </a:lnTo>
                <a:cubicBezTo>
                  <a:pt x="2481" y="7781"/>
                  <a:pt x="2593" y="7668"/>
                  <a:pt x="2593" y="7531"/>
                </a:cubicBezTo>
                <a:lnTo>
                  <a:pt x="2593" y="4788"/>
                </a:lnTo>
                <a:cubicBezTo>
                  <a:pt x="2593" y="4651"/>
                  <a:pt x="2481" y="4538"/>
                  <a:pt x="2343" y="4538"/>
                </a:cubicBezTo>
                <a:lnTo>
                  <a:pt x="0" y="4538"/>
                </a:lnTo>
                <a:lnTo>
                  <a:pt x="0" y="4516"/>
                </a:lnTo>
                <a:cubicBezTo>
                  <a:pt x="0" y="2022"/>
                  <a:pt x="2032" y="0"/>
                  <a:pt x="4539" y="0"/>
                </a:cubicBezTo>
                <a:cubicBezTo>
                  <a:pt x="7045" y="0"/>
                  <a:pt x="9077" y="2021"/>
                  <a:pt x="9077" y="4516"/>
                </a:cubicBezTo>
                <a:lnTo>
                  <a:pt x="9077" y="4538"/>
                </a:lnTo>
                <a:lnTo>
                  <a:pt x="8582" y="4538"/>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sp>
        <p:nvSpPr>
          <p:cNvPr id="60" name="user_209046">
            <a:extLst>
              <a:ext uri="{FF2B5EF4-FFF2-40B4-BE49-F238E27FC236}">
                <a16:creationId xmlns:a16="http://schemas.microsoft.com/office/drawing/2014/main" id="{421A3F4D-4862-4942-BCD1-138FC199F83A}"/>
              </a:ext>
            </a:extLst>
          </p:cNvPr>
          <p:cNvSpPr/>
          <p:nvPr/>
        </p:nvSpPr>
        <p:spPr>
          <a:xfrm>
            <a:off x="7056372" y="1996548"/>
            <a:ext cx="241106" cy="296928"/>
          </a:xfrm>
          <a:custGeom>
            <a:avLst/>
            <a:gdLst>
              <a:gd name="T0" fmla="*/ 7781 w 8430"/>
              <a:gd name="T1" fmla="*/ 7127 h 10381"/>
              <a:gd name="T2" fmla="*/ 7559 w 8430"/>
              <a:gd name="T3" fmla="*/ 7127 h 10381"/>
              <a:gd name="T4" fmla="*/ 7559 w 8430"/>
              <a:gd name="T5" fmla="*/ 6663 h 10381"/>
              <a:gd name="T6" fmla="*/ 6498 w 8430"/>
              <a:gd name="T7" fmla="*/ 5838 h 10381"/>
              <a:gd name="T8" fmla="*/ 6485 w 8430"/>
              <a:gd name="T9" fmla="*/ 5838 h 10381"/>
              <a:gd name="T10" fmla="*/ 6485 w 8430"/>
              <a:gd name="T11" fmla="*/ 5189 h 10381"/>
              <a:gd name="T12" fmla="*/ 1298 w 8430"/>
              <a:gd name="T13" fmla="*/ 5189 h 10381"/>
              <a:gd name="T14" fmla="*/ 1298 w 8430"/>
              <a:gd name="T15" fmla="*/ 6486 h 10381"/>
              <a:gd name="T16" fmla="*/ 5409 w 8430"/>
              <a:gd name="T17" fmla="*/ 6486 h 10381"/>
              <a:gd name="T18" fmla="*/ 5409 w 8430"/>
              <a:gd name="T19" fmla="*/ 7134 h 10381"/>
              <a:gd name="T20" fmla="*/ 1296 w 8430"/>
              <a:gd name="T21" fmla="*/ 7134 h 10381"/>
              <a:gd name="T22" fmla="*/ 1296 w 8430"/>
              <a:gd name="T23" fmla="*/ 8432 h 10381"/>
              <a:gd name="T24" fmla="*/ 3890 w 8430"/>
              <a:gd name="T25" fmla="*/ 8432 h 10381"/>
              <a:gd name="T26" fmla="*/ 3890 w 8430"/>
              <a:gd name="T27" fmla="*/ 8442 h 10381"/>
              <a:gd name="T28" fmla="*/ 4533 w 8430"/>
              <a:gd name="T29" fmla="*/ 9280 h 10381"/>
              <a:gd name="T30" fmla="*/ 5408 w 8430"/>
              <a:gd name="T31" fmla="*/ 9280 h 10381"/>
              <a:gd name="T32" fmla="*/ 5408 w 8430"/>
              <a:gd name="T33" fmla="*/ 10377 h 10381"/>
              <a:gd name="T34" fmla="*/ 649 w 8430"/>
              <a:gd name="T35" fmla="*/ 10377 h 10381"/>
              <a:gd name="T36" fmla="*/ 0 w 8430"/>
              <a:gd name="T37" fmla="*/ 9728 h 10381"/>
              <a:gd name="T38" fmla="*/ 0 w 8430"/>
              <a:gd name="T39" fmla="*/ 3251 h 10381"/>
              <a:gd name="T40" fmla="*/ 3241 w 8430"/>
              <a:gd name="T41" fmla="*/ 3251 h 10381"/>
              <a:gd name="T42" fmla="*/ 3241 w 8430"/>
              <a:gd name="T43" fmla="*/ 3243 h 10381"/>
              <a:gd name="T44" fmla="*/ 3243 w 8430"/>
              <a:gd name="T45" fmla="*/ 3243 h 10381"/>
              <a:gd name="T46" fmla="*/ 3243 w 8430"/>
              <a:gd name="T47" fmla="*/ 1 h 10381"/>
              <a:gd name="T48" fmla="*/ 7134 w 8430"/>
              <a:gd name="T49" fmla="*/ 1 h 10381"/>
              <a:gd name="T50" fmla="*/ 7783 w 8430"/>
              <a:gd name="T51" fmla="*/ 649 h 10381"/>
              <a:gd name="T52" fmla="*/ 7783 w 8430"/>
              <a:gd name="T53" fmla="*/ 7127 h 10381"/>
              <a:gd name="T54" fmla="*/ 7781 w 8430"/>
              <a:gd name="T55" fmla="*/ 7127 h 10381"/>
              <a:gd name="T56" fmla="*/ 2594 w 8430"/>
              <a:gd name="T57" fmla="*/ 0 h 10381"/>
              <a:gd name="T58" fmla="*/ 2594 w 8430"/>
              <a:gd name="T59" fmla="*/ 2594 h 10381"/>
              <a:gd name="T60" fmla="*/ 0 w 8430"/>
              <a:gd name="T61" fmla="*/ 2594 h 10381"/>
              <a:gd name="T62" fmla="*/ 2594 w 8430"/>
              <a:gd name="T63" fmla="*/ 0 h 10381"/>
              <a:gd name="T64" fmla="*/ 7954 w 8430"/>
              <a:gd name="T65" fmla="*/ 7947 h 10381"/>
              <a:gd name="T66" fmla="*/ 8430 w 8430"/>
              <a:gd name="T67" fmla="*/ 8424 h 10381"/>
              <a:gd name="T68" fmla="*/ 8430 w 8430"/>
              <a:gd name="T69" fmla="*/ 8444 h 10381"/>
              <a:gd name="T70" fmla="*/ 7954 w 8430"/>
              <a:gd name="T71" fmla="*/ 8922 h 10381"/>
              <a:gd name="T72" fmla="*/ 6971 w 8430"/>
              <a:gd name="T73" fmla="*/ 8922 h 10381"/>
              <a:gd name="T74" fmla="*/ 6971 w 8430"/>
              <a:gd name="T75" fmla="*/ 9901 h 10381"/>
              <a:gd name="T76" fmla="*/ 6495 w 8430"/>
              <a:gd name="T77" fmla="*/ 10378 h 10381"/>
              <a:gd name="T78" fmla="*/ 6480 w 8430"/>
              <a:gd name="T79" fmla="*/ 10378 h 10381"/>
              <a:gd name="T80" fmla="*/ 5999 w 8430"/>
              <a:gd name="T81" fmla="*/ 9907 h 10381"/>
              <a:gd name="T82" fmla="*/ 5999 w 8430"/>
              <a:gd name="T83" fmla="*/ 8922 h 10381"/>
              <a:gd name="T84" fmla="*/ 5021 w 8430"/>
              <a:gd name="T85" fmla="*/ 8922 h 10381"/>
              <a:gd name="T86" fmla="*/ 4540 w 8430"/>
              <a:gd name="T87" fmla="*/ 8443 h 10381"/>
              <a:gd name="T88" fmla="*/ 4540 w 8430"/>
              <a:gd name="T89" fmla="*/ 8427 h 10381"/>
              <a:gd name="T90" fmla="*/ 5021 w 8430"/>
              <a:gd name="T91" fmla="*/ 7949 h 10381"/>
              <a:gd name="T92" fmla="*/ 5999 w 8430"/>
              <a:gd name="T93" fmla="*/ 7949 h 10381"/>
              <a:gd name="T94" fmla="*/ 5999 w 8430"/>
              <a:gd name="T95" fmla="*/ 6966 h 10381"/>
              <a:gd name="T96" fmla="*/ 6480 w 8430"/>
              <a:gd name="T97" fmla="*/ 6488 h 10381"/>
              <a:gd name="T98" fmla="*/ 6495 w 8430"/>
              <a:gd name="T99" fmla="*/ 6488 h 10381"/>
              <a:gd name="T100" fmla="*/ 6971 w 8430"/>
              <a:gd name="T101" fmla="*/ 6966 h 10381"/>
              <a:gd name="T102" fmla="*/ 6971 w 8430"/>
              <a:gd name="T103" fmla="*/ 7948 h 10381"/>
              <a:gd name="T104" fmla="*/ 7954 w 8430"/>
              <a:gd name="T105" fmla="*/ 7947 h 103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430" h="10381">
                <a:moveTo>
                  <a:pt x="7781" y="7127"/>
                </a:moveTo>
                <a:lnTo>
                  <a:pt x="7559" y="7127"/>
                </a:lnTo>
                <a:lnTo>
                  <a:pt x="7559" y="6663"/>
                </a:lnTo>
                <a:cubicBezTo>
                  <a:pt x="7559" y="6132"/>
                  <a:pt x="7019" y="5838"/>
                  <a:pt x="6498" y="5838"/>
                </a:cubicBezTo>
                <a:lnTo>
                  <a:pt x="6485" y="5838"/>
                </a:lnTo>
                <a:lnTo>
                  <a:pt x="6485" y="5189"/>
                </a:lnTo>
                <a:lnTo>
                  <a:pt x="1298" y="5189"/>
                </a:lnTo>
                <a:lnTo>
                  <a:pt x="1298" y="6486"/>
                </a:lnTo>
                <a:lnTo>
                  <a:pt x="5409" y="6486"/>
                </a:lnTo>
                <a:lnTo>
                  <a:pt x="5409" y="7134"/>
                </a:lnTo>
                <a:lnTo>
                  <a:pt x="1296" y="7134"/>
                </a:lnTo>
                <a:lnTo>
                  <a:pt x="1296" y="8432"/>
                </a:lnTo>
                <a:lnTo>
                  <a:pt x="3890" y="8432"/>
                </a:lnTo>
                <a:lnTo>
                  <a:pt x="3890" y="8442"/>
                </a:lnTo>
                <a:cubicBezTo>
                  <a:pt x="3890" y="8798"/>
                  <a:pt x="4175" y="9280"/>
                  <a:pt x="4533" y="9280"/>
                </a:cubicBezTo>
                <a:lnTo>
                  <a:pt x="5408" y="9280"/>
                </a:lnTo>
                <a:lnTo>
                  <a:pt x="5408" y="10377"/>
                </a:lnTo>
                <a:lnTo>
                  <a:pt x="649" y="10377"/>
                </a:lnTo>
                <a:cubicBezTo>
                  <a:pt x="290" y="10377"/>
                  <a:pt x="0" y="10087"/>
                  <a:pt x="0" y="9728"/>
                </a:cubicBezTo>
                <a:lnTo>
                  <a:pt x="0" y="3251"/>
                </a:lnTo>
                <a:lnTo>
                  <a:pt x="3241" y="3251"/>
                </a:lnTo>
                <a:lnTo>
                  <a:pt x="3241" y="3243"/>
                </a:lnTo>
                <a:lnTo>
                  <a:pt x="3243" y="3243"/>
                </a:lnTo>
                <a:lnTo>
                  <a:pt x="3243" y="1"/>
                </a:lnTo>
                <a:lnTo>
                  <a:pt x="7134" y="1"/>
                </a:lnTo>
                <a:cubicBezTo>
                  <a:pt x="7493" y="1"/>
                  <a:pt x="7783" y="291"/>
                  <a:pt x="7783" y="649"/>
                </a:cubicBezTo>
                <a:lnTo>
                  <a:pt x="7783" y="7127"/>
                </a:lnTo>
                <a:lnTo>
                  <a:pt x="7781" y="7127"/>
                </a:lnTo>
                <a:close/>
                <a:moveTo>
                  <a:pt x="2594" y="0"/>
                </a:moveTo>
                <a:lnTo>
                  <a:pt x="2594" y="2594"/>
                </a:lnTo>
                <a:lnTo>
                  <a:pt x="0" y="2594"/>
                </a:lnTo>
                <a:lnTo>
                  <a:pt x="2594" y="0"/>
                </a:lnTo>
                <a:close/>
                <a:moveTo>
                  <a:pt x="7954" y="7947"/>
                </a:moveTo>
                <a:cubicBezTo>
                  <a:pt x="8216" y="7947"/>
                  <a:pt x="8430" y="8161"/>
                  <a:pt x="8430" y="8424"/>
                </a:cubicBezTo>
                <a:lnTo>
                  <a:pt x="8430" y="8444"/>
                </a:lnTo>
                <a:cubicBezTo>
                  <a:pt x="8430" y="8707"/>
                  <a:pt x="8216" y="8922"/>
                  <a:pt x="7954" y="8922"/>
                </a:cubicBezTo>
                <a:lnTo>
                  <a:pt x="6971" y="8922"/>
                </a:lnTo>
                <a:lnTo>
                  <a:pt x="6971" y="9901"/>
                </a:lnTo>
                <a:cubicBezTo>
                  <a:pt x="6971" y="10163"/>
                  <a:pt x="6757" y="10378"/>
                  <a:pt x="6495" y="10378"/>
                </a:cubicBezTo>
                <a:lnTo>
                  <a:pt x="6480" y="10378"/>
                </a:lnTo>
                <a:cubicBezTo>
                  <a:pt x="6217" y="10381"/>
                  <a:pt x="6001" y="10171"/>
                  <a:pt x="5999" y="9907"/>
                </a:cubicBezTo>
                <a:lnTo>
                  <a:pt x="5999" y="8922"/>
                </a:lnTo>
                <a:lnTo>
                  <a:pt x="5021" y="8922"/>
                </a:lnTo>
                <a:cubicBezTo>
                  <a:pt x="4756" y="8923"/>
                  <a:pt x="4541" y="8708"/>
                  <a:pt x="4540" y="8443"/>
                </a:cubicBezTo>
                <a:lnTo>
                  <a:pt x="4540" y="8427"/>
                </a:lnTo>
                <a:cubicBezTo>
                  <a:pt x="4544" y="8163"/>
                  <a:pt x="4757" y="7952"/>
                  <a:pt x="5021" y="7949"/>
                </a:cubicBezTo>
                <a:lnTo>
                  <a:pt x="5999" y="7949"/>
                </a:lnTo>
                <a:lnTo>
                  <a:pt x="5999" y="6966"/>
                </a:lnTo>
                <a:cubicBezTo>
                  <a:pt x="5999" y="6702"/>
                  <a:pt x="6212" y="6488"/>
                  <a:pt x="6480" y="6488"/>
                </a:cubicBezTo>
                <a:lnTo>
                  <a:pt x="6495" y="6488"/>
                </a:lnTo>
                <a:cubicBezTo>
                  <a:pt x="6757" y="6488"/>
                  <a:pt x="6971" y="6702"/>
                  <a:pt x="6971" y="6966"/>
                </a:cubicBezTo>
                <a:lnTo>
                  <a:pt x="6971" y="7948"/>
                </a:lnTo>
                <a:lnTo>
                  <a:pt x="7954" y="7947"/>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sp>
        <p:nvSpPr>
          <p:cNvPr id="13" name="文本框 12">
            <a:extLst>
              <a:ext uri="{FF2B5EF4-FFF2-40B4-BE49-F238E27FC236}">
                <a16:creationId xmlns:a16="http://schemas.microsoft.com/office/drawing/2014/main" id="{C703A5F9-E321-4D6F-AD78-D60077A88CAB}"/>
              </a:ext>
            </a:extLst>
          </p:cNvPr>
          <p:cNvSpPr txBox="1"/>
          <p:nvPr/>
        </p:nvSpPr>
        <p:spPr>
          <a:xfrm>
            <a:off x="4523541" y="2348594"/>
            <a:ext cx="538609" cy="215444"/>
          </a:xfrm>
          <a:prstGeom prst="rect">
            <a:avLst/>
          </a:prstGeom>
          <a:noFill/>
        </p:spPr>
        <p:txBody>
          <a:bodyPr wrap="none" lIns="0" tIns="0" rIns="0" bIns="0" rtlCol="0" anchor="t">
            <a:spAutoFit/>
          </a:bodyPr>
          <a:lstStyle/>
          <a:p>
            <a:pPr algn="ctr"/>
            <a:r>
              <a:rPr lang="zh-CN" altLang="en-US" sz="1400" dirty="0">
                <a:solidFill>
                  <a:schemeClr val="bg1"/>
                </a:solidFill>
                <a:latin typeface="+mj-ea"/>
                <a:ea typeface="+mj-ea"/>
              </a:rPr>
              <a:t>关键词</a:t>
            </a:r>
          </a:p>
        </p:txBody>
      </p:sp>
      <p:sp>
        <p:nvSpPr>
          <p:cNvPr id="62" name="文本框 61">
            <a:extLst>
              <a:ext uri="{FF2B5EF4-FFF2-40B4-BE49-F238E27FC236}">
                <a16:creationId xmlns:a16="http://schemas.microsoft.com/office/drawing/2014/main" id="{665FFF91-B46B-4309-9C31-62D4290D7A03}"/>
              </a:ext>
            </a:extLst>
          </p:cNvPr>
          <p:cNvSpPr txBox="1"/>
          <p:nvPr/>
        </p:nvSpPr>
        <p:spPr>
          <a:xfrm>
            <a:off x="5716896" y="2348594"/>
            <a:ext cx="538609" cy="215444"/>
          </a:xfrm>
          <a:prstGeom prst="rect">
            <a:avLst/>
          </a:prstGeom>
          <a:noFill/>
        </p:spPr>
        <p:txBody>
          <a:bodyPr wrap="none" lIns="0" tIns="0" rIns="0" bIns="0" rtlCol="0" anchor="t">
            <a:spAutoFit/>
          </a:bodyPr>
          <a:lstStyle/>
          <a:p>
            <a:pPr algn="ctr"/>
            <a:r>
              <a:rPr lang="zh-CN" altLang="en-US" sz="1400" dirty="0">
                <a:solidFill>
                  <a:schemeClr val="bg1"/>
                </a:solidFill>
                <a:latin typeface="+mj-ea"/>
                <a:ea typeface="+mj-ea"/>
              </a:rPr>
              <a:t>关键词</a:t>
            </a:r>
          </a:p>
        </p:txBody>
      </p:sp>
      <p:sp>
        <p:nvSpPr>
          <p:cNvPr id="63" name="文本框 62">
            <a:extLst>
              <a:ext uri="{FF2B5EF4-FFF2-40B4-BE49-F238E27FC236}">
                <a16:creationId xmlns:a16="http://schemas.microsoft.com/office/drawing/2014/main" id="{6A721D48-78D4-488B-9CE9-D8A289CE7284}"/>
              </a:ext>
            </a:extLst>
          </p:cNvPr>
          <p:cNvSpPr txBox="1"/>
          <p:nvPr/>
        </p:nvSpPr>
        <p:spPr>
          <a:xfrm>
            <a:off x="6906307" y="2348594"/>
            <a:ext cx="538609" cy="215444"/>
          </a:xfrm>
          <a:prstGeom prst="rect">
            <a:avLst/>
          </a:prstGeom>
          <a:noFill/>
        </p:spPr>
        <p:txBody>
          <a:bodyPr wrap="none" lIns="0" tIns="0" rIns="0" bIns="0" rtlCol="0" anchor="t">
            <a:spAutoFit/>
          </a:bodyPr>
          <a:lstStyle/>
          <a:p>
            <a:pPr algn="ctr"/>
            <a:r>
              <a:rPr lang="zh-CN" altLang="en-US" sz="1400" dirty="0">
                <a:solidFill>
                  <a:schemeClr val="bg1"/>
                </a:solidFill>
                <a:latin typeface="+mj-ea"/>
                <a:ea typeface="+mj-ea"/>
              </a:rPr>
              <a:t>关键词</a:t>
            </a:r>
          </a:p>
        </p:txBody>
      </p:sp>
      <p:sp>
        <p:nvSpPr>
          <p:cNvPr id="65" name="文本框 64">
            <a:extLst>
              <a:ext uri="{FF2B5EF4-FFF2-40B4-BE49-F238E27FC236}">
                <a16:creationId xmlns:a16="http://schemas.microsoft.com/office/drawing/2014/main" id="{C0E216CC-1FE1-4FC2-9B16-5FF22B181433}"/>
              </a:ext>
            </a:extLst>
          </p:cNvPr>
          <p:cNvSpPr txBox="1"/>
          <p:nvPr/>
        </p:nvSpPr>
        <p:spPr>
          <a:xfrm>
            <a:off x="5216762" y="3419594"/>
            <a:ext cx="1538883" cy="369332"/>
          </a:xfrm>
          <a:prstGeom prst="rect">
            <a:avLst/>
          </a:prstGeom>
          <a:noFill/>
        </p:spPr>
        <p:txBody>
          <a:bodyPr wrap="none" lIns="0" tIns="0" rIns="0" bIns="0" rtlCol="0" anchor="t">
            <a:spAutoFit/>
          </a:bodyPr>
          <a:lstStyle/>
          <a:p>
            <a:pPr algn="ctr"/>
            <a:r>
              <a:rPr lang="zh-CN" altLang="en-US" sz="2400" dirty="0">
                <a:solidFill>
                  <a:schemeClr val="accent1"/>
                </a:solidFill>
                <a:latin typeface="+mj-ea"/>
                <a:ea typeface="+mj-ea"/>
              </a:rPr>
              <a:t>关键词标题</a:t>
            </a:r>
          </a:p>
        </p:txBody>
      </p:sp>
      <p:sp>
        <p:nvSpPr>
          <p:cNvPr id="14" name="椭圆 13">
            <a:extLst>
              <a:ext uri="{FF2B5EF4-FFF2-40B4-BE49-F238E27FC236}">
                <a16:creationId xmlns:a16="http://schemas.microsoft.com/office/drawing/2014/main" id="{36B11F45-4D44-4331-8886-EF5920124BDB}"/>
              </a:ext>
            </a:extLst>
          </p:cNvPr>
          <p:cNvSpPr/>
          <p:nvPr/>
        </p:nvSpPr>
        <p:spPr>
          <a:xfrm>
            <a:off x="2678906" y="3254788"/>
            <a:ext cx="140494" cy="65564"/>
          </a:xfrm>
          <a:prstGeom prst="ellipse">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66" name="椭圆 65">
            <a:extLst>
              <a:ext uri="{FF2B5EF4-FFF2-40B4-BE49-F238E27FC236}">
                <a16:creationId xmlns:a16="http://schemas.microsoft.com/office/drawing/2014/main" id="{1B097A4B-27AC-40E5-9663-C5139D20A4DA}"/>
              </a:ext>
            </a:extLst>
          </p:cNvPr>
          <p:cNvSpPr/>
          <p:nvPr/>
        </p:nvSpPr>
        <p:spPr>
          <a:xfrm>
            <a:off x="2287270" y="3990232"/>
            <a:ext cx="197644" cy="92234"/>
          </a:xfrm>
          <a:prstGeom prst="ellipse">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67" name="椭圆 66">
            <a:extLst>
              <a:ext uri="{FF2B5EF4-FFF2-40B4-BE49-F238E27FC236}">
                <a16:creationId xmlns:a16="http://schemas.microsoft.com/office/drawing/2014/main" id="{10CA9F8C-1EEA-477B-8242-24AB7D61B1A8}"/>
              </a:ext>
            </a:extLst>
          </p:cNvPr>
          <p:cNvSpPr/>
          <p:nvPr/>
        </p:nvSpPr>
        <p:spPr>
          <a:xfrm>
            <a:off x="3296695" y="4494189"/>
            <a:ext cx="197644" cy="92234"/>
          </a:xfrm>
          <a:prstGeom prst="ellipse">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68" name="椭圆 67">
            <a:extLst>
              <a:ext uri="{FF2B5EF4-FFF2-40B4-BE49-F238E27FC236}">
                <a16:creationId xmlns:a16="http://schemas.microsoft.com/office/drawing/2014/main" id="{F6E26B1B-415F-4FD0-A4A5-9C747645A5DB}"/>
              </a:ext>
            </a:extLst>
          </p:cNvPr>
          <p:cNvSpPr/>
          <p:nvPr/>
        </p:nvSpPr>
        <p:spPr>
          <a:xfrm>
            <a:off x="4594629" y="4732301"/>
            <a:ext cx="197644" cy="92234"/>
          </a:xfrm>
          <a:prstGeom prst="ellipse">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69" name="椭圆 68">
            <a:extLst>
              <a:ext uri="{FF2B5EF4-FFF2-40B4-BE49-F238E27FC236}">
                <a16:creationId xmlns:a16="http://schemas.microsoft.com/office/drawing/2014/main" id="{3D8A9E6E-6740-4B0E-AA50-7235247211C5}"/>
              </a:ext>
            </a:extLst>
          </p:cNvPr>
          <p:cNvSpPr/>
          <p:nvPr/>
        </p:nvSpPr>
        <p:spPr>
          <a:xfrm>
            <a:off x="5997178" y="4816094"/>
            <a:ext cx="197644" cy="92234"/>
          </a:xfrm>
          <a:prstGeom prst="ellipse">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70" name="椭圆 69">
            <a:extLst>
              <a:ext uri="{FF2B5EF4-FFF2-40B4-BE49-F238E27FC236}">
                <a16:creationId xmlns:a16="http://schemas.microsoft.com/office/drawing/2014/main" id="{0E739D19-5B30-489A-BB36-EA3F3D5695AB}"/>
              </a:ext>
            </a:extLst>
          </p:cNvPr>
          <p:cNvSpPr/>
          <p:nvPr/>
        </p:nvSpPr>
        <p:spPr>
          <a:xfrm>
            <a:off x="7420379" y="4732301"/>
            <a:ext cx="197644" cy="92234"/>
          </a:xfrm>
          <a:prstGeom prst="ellipse">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71" name="椭圆 70">
            <a:extLst>
              <a:ext uri="{FF2B5EF4-FFF2-40B4-BE49-F238E27FC236}">
                <a16:creationId xmlns:a16="http://schemas.microsoft.com/office/drawing/2014/main" id="{A3316601-D393-43F5-BC22-D336028FF657}"/>
              </a:ext>
            </a:extLst>
          </p:cNvPr>
          <p:cNvSpPr/>
          <p:nvPr/>
        </p:nvSpPr>
        <p:spPr>
          <a:xfrm>
            <a:off x="8630695" y="4494189"/>
            <a:ext cx="197644" cy="92234"/>
          </a:xfrm>
          <a:prstGeom prst="ellipse">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72" name="椭圆 71">
            <a:extLst>
              <a:ext uri="{FF2B5EF4-FFF2-40B4-BE49-F238E27FC236}">
                <a16:creationId xmlns:a16="http://schemas.microsoft.com/office/drawing/2014/main" id="{F490F2A6-F852-4F48-BB9A-0DCB98EFAD81}"/>
              </a:ext>
            </a:extLst>
          </p:cNvPr>
          <p:cNvSpPr/>
          <p:nvPr/>
        </p:nvSpPr>
        <p:spPr>
          <a:xfrm>
            <a:off x="9589545" y="3948089"/>
            <a:ext cx="197644" cy="92234"/>
          </a:xfrm>
          <a:prstGeom prst="ellipse">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73" name="椭圆 72">
            <a:extLst>
              <a:ext uri="{FF2B5EF4-FFF2-40B4-BE49-F238E27FC236}">
                <a16:creationId xmlns:a16="http://schemas.microsoft.com/office/drawing/2014/main" id="{E4946F4C-D6AB-4ADD-ABD4-A0E2049543A7}"/>
              </a:ext>
            </a:extLst>
          </p:cNvPr>
          <p:cNvSpPr/>
          <p:nvPr/>
        </p:nvSpPr>
        <p:spPr>
          <a:xfrm>
            <a:off x="9200356" y="3254788"/>
            <a:ext cx="140494" cy="65564"/>
          </a:xfrm>
          <a:prstGeom prst="ellipse">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cxnSp>
        <p:nvCxnSpPr>
          <p:cNvPr id="17" name="直接连接符 16">
            <a:extLst>
              <a:ext uri="{FF2B5EF4-FFF2-40B4-BE49-F238E27FC236}">
                <a16:creationId xmlns:a16="http://schemas.microsoft.com/office/drawing/2014/main" id="{4A5D35E6-B9FD-474B-AB9B-97D779D06BBE}"/>
              </a:ext>
            </a:extLst>
          </p:cNvPr>
          <p:cNvCxnSpPr/>
          <p:nvPr/>
        </p:nvCxnSpPr>
        <p:spPr>
          <a:xfrm flipV="1">
            <a:off x="2755900" y="2874789"/>
            <a:ext cx="0" cy="324000"/>
          </a:xfrm>
          <a:prstGeom prst="line">
            <a:avLst/>
          </a:prstGeom>
          <a:ln w="38100" cap="rnd">
            <a:gradFill>
              <a:gsLst>
                <a:gs pos="0">
                  <a:schemeClr val="accent1">
                    <a:alpha val="0"/>
                  </a:schemeClr>
                </a:gs>
                <a:gs pos="100000">
                  <a:schemeClr val="accent1"/>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74" name="直接连接符 73">
            <a:extLst>
              <a:ext uri="{FF2B5EF4-FFF2-40B4-BE49-F238E27FC236}">
                <a16:creationId xmlns:a16="http://schemas.microsoft.com/office/drawing/2014/main" id="{B48F15AE-2858-44A2-96CC-68C9CA1AA149}"/>
              </a:ext>
            </a:extLst>
          </p:cNvPr>
          <p:cNvCxnSpPr/>
          <p:nvPr/>
        </p:nvCxnSpPr>
        <p:spPr>
          <a:xfrm flipV="1">
            <a:off x="2381475" y="3667939"/>
            <a:ext cx="0" cy="324000"/>
          </a:xfrm>
          <a:prstGeom prst="line">
            <a:avLst/>
          </a:prstGeom>
          <a:ln w="38100" cap="rnd">
            <a:gradFill>
              <a:gsLst>
                <a:gs pos="0">
                  <a:schemeClr val="accent1">
                    <a:alpha val="0"/>
                  </a:schemeClr>
                </a:gs>
                <a:gs pos="100000">
                  <a:schemeClr val="accent1"/>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75" name="直接连接符 74">
            <a:extLst>
              <a:ext uri="{FF2B5EF4-FFF2-40B4-BE49-F238E27FC236}">
                <a16:creationId xmlns:a16="http://schemas.microsoft.com/office/drawing/2014/main" id="{8E0F6E8D-14BE-445D-A742-55AB7F908140}"/>
              </a:ext>
            </a:extLst>
          </p:cNvPr>
          <p:cNvCxnSpPr/>
          <p:nvPr/>
        </p:nvCxnSpPr>
        <p:spPr>
          <a:xfrm flipV="1">
            <a:off x="3403600" y="4170189"/>
            <a:ext cx="0" cy="324000"/>
          </a:xfrm>
          <a:prstGeom prst="line">
            <a:avLst/>
          </a:prstGeom>
          <a:ln w="38100" cap="rnd">
            <a:gradFill>
              <a:gsLst>
                <a:gs pos="0">
                  <a:schemeClr val="accent1">
                    <a:alpha val="0"/>
                  </a:schemeClr>
                </a:gs>
                <a:gs pos="100000">
                  <a:schemeClr val="accent1"/>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76" name="直接连接符 75">
            <a:extLst>
              <a:ext uri="{FF2B5EF4-FFF2-40B4-BE49-F238E27FC236}">
                <a16:creationId xmlns:a16="http://schemas.microsoft.com/office/drawing/2014/main" id="{3580D4F6-A18B-4273-BBAB-66742D5469DD}"/>
              </a:ext>
            </a:extLst>
          </p:cNvPr>
          <p:cNvCxnSpPr/>
          <p:nvPr/>
        </p:nvCxnSpPr>
        <p:spPr>
          <a:xfrm flipV="1">
            <a:off x="4699000" y="4398789"/>
            <a:ext cx="0" cy="324000"/>
          </a:xfrm>
          <a:prstGeom prst="line">
            <a:avLst/>
          </a:prstGeom>
          <a:ln w="38100" cap="rnd">
            <a:gradFill>
              <a:gsLst>
                <a:gs pos="0">
                  <a:schemeClr val="accent1">
                    <a:alpha val="0"/>
                  </a:schemeClr>
                </a:gs>
                <a:gs pos="100000">
                  <a:schemeClr val="accent1"/>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77" name="直接连接符 76">
            <a:extLst>
              <a:ext uri="{FF2B5EF4-FFF2-40B4-BE49-F238E27FC236}">
                <a16:creationId xmlns:a16="http://schemas.microsoft.com/office/drawing/2014/main" id="{13E7060E-29A7-48D4-922E-BB16C283E708}"/>
              </a:ext>
            </a:extLst>
          </p:cNvPr>
          <p:cNvCxnSpPr/>
          <p:nvPr/>
        </p:nvCxnSpPr>
        <p:spPr>
          <a:xfrm flipV="1">
            <a:off x="6089650" y="4494039"/>
            <a:ext cx="0" cy="324000"/>
          </a:xfrm>
          <a:prstGeom prst="line">
            <a:avLst/>
          </a:prstGeom>
          <a:ln w="38100" cap="rnd">
            <a:gradFill>
              <a:gsLst>
                <a:gs pos="0">
                  <a:schemeClr val="accent1">
                    <a:alpha val="0"/>
                  </a:schemeClr>
                </a:gs>
                <a:gs pos="100000">
                  <a:schemeClr val="accent1"/>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78" name="直接连接符 77">
            <a:extLst>
              <a:ext uri="{FF2B5EF4-FFF2-40B4-BE49-F238E27FC236}">
                <a16:creationId xmlns:a16="http://schemas.microsoft.com/office/drawing/2014/main" id="{3779C141-ABCA-47F8-A786-3667AEB991D6}"/>
              </a:ext>
            </a:extLst>
          </p:cNvPr>
          <p:cNvCxnSpPr/>
          <p:nvPr/>
        </p:nvCxnSpPr>
        <p:spPr>
          <a:xfrm flipV="1">
            <a:off x="7512050" y="4398789"/>
            <a:ext cx="0" cy="324000"/>
          </a:xfrm>
          <a:prstGeom prst="line">
            <a:avLst/>
          </a:prstGeom>
          <a:ln w="38100" cap="rnd">
            <a:gradFill>
              <a:gsLst>
                <a:gs pos="0">
                  <a:schemeClr val="accent1">
                    <a:alpha val="0"/>
                  </a:schemeClr>
                </a:gs>
                <a:gs pos="100000">
                  <a:schemeClr val="accent1"/>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79" name="直接连接符 78">
            <a:extLst>
              <a:ext uri="{FF2B5EF4-FFF2-40B4-BE49-F238E27FC236}">
                <a16:creationId xmlns:a16="http://schemas.microsoft.com/office/drawing/2014/main" id="{6A949C3E-32C6-4B53-A6BD-8BA305331947}"/>
              </a:ext>
            </a:extLst>
          </p:cNvPr>
          <p:cNvCxnSpPr/>
          <p:nvPr/>
        </p:nvCxnSpPr>
        <p:spPr>
          <a:xfrm flipV="1">
            <a:off x="8718550" y="4170189"/>
            <a:ext cx="0" cy="324000"/>
          </a:xfrm>
          <a:prstGeom prst="line">
            <a:avLst/>
          </a:prstGeom>
          <a:ln w="38100" cap="rnd">
            <a:gradFill>
              <a:gsLst>
                <a:gs pos="0">
                  <a:schemeClr val="accent1">
                    <a:alpha val="0"/>
                  </a:schemeClr>
                </a:gs>
                <a:gs pos="100000">
                  <a:schemeClr val="accent1"/>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80" name="直接连接符 79">
            <a:extLst>
              <a:ext uri="{FF2B5EF4-FFF2-40B4-BE49-F238E27FC236}">
                <a16:creationId xmlns:a16="http://schemas.microsoft.com/office/drawing/2014/main" id="{C302CC9F-961E-4AFC-A153-FDC46DFA2289}"/>
              </a:ext>
            </a:extLst>
          </p:cNvPr>
          <p:cNvCxnSpPr/>
          <p:nvPr/>
        </p:nvCxnSpPr>
        <p:spPr>
          <a:xfrm flipV="1">
            <a:off x="9671050" y="3625796"/>
            <a:ext cx="0" cy="324000"/>
          </a:xfrm>
          <a:prstGeom prst="line">
            <a:avLst/>
          </a:prstGeom>
          <a:ln w="38100" cap="rnd">
            <a:gradFill>
              <a:gsLst>
                <a:gs pos="0">
                  <a:schemeClr val="accent1">
                    <a:alpha val="0"/>
                  </a:schemeClr>
                </a:gs>
                <a:gs pos="100000">
                  <a:schemeClr val="accent1"/>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81" name="直接连接符 80">
            <a:extLst>
              <a:ext uri="{FF2B5EF4-FFF2-40B4-BE49-F238E27FC236}">
                <a16:creationId xmlns:a16="http://schemas.microsoft.com/office/drawing/2014/main" id="{B04A55C8-7AF4-4ED8-81D0-AA359CCD1313}"/>
              </a:ext>
            </a:extLst>
          </p:cNvPr>
          <p:cNvCxnSpPr/>
          <p:nvPr/>
        </p:nvCxnSpPr>
        <p:spPr>
          <a:xfrm flipV="1">
            <a:off x="9271000" y="2874789"/>
            <a:ext cx="0" cy="324000"/>
          </a:xfrm>
          <a:prstGeom prst="line">
            <a:avLst/>
          </a:prstGeom>
          <a:ln w="38100" cap="rnd">
            <a:gradFill>
              <a:gsLst>
                <a:gs pos="0">
                  <a:schemeClr val="accent1">
                    <a:alpha val="0"/>
                  </a:schemeClr>
                </a:gs>
                <a:gs pos="100000">
                  <a:schemeClr val="accent1"/>
                </a:gs>
              </a:gsLst>
              <a:lin ang="5400000" scaled="1"/>
            </a:gradFill>
          </a:ln>
        </p:spPr>
        <p:style>
          <a:lnRef idx="1">
            <a:schemeClr val="accent1"/>
          </a:lnRef>
          <a:fillRef idx="0">
            <a:schemeClr val="accent1"/>
          </a:fillRef>
          <a:effectRef idx="0">
            <a:schemeClr val="accent1"/>
          </a:effectRef>
          <a:fontRef idx="minor">
            <a:schemeClr val="tx1"/>
          </a:fontRef>
        </p:style>
      </p:cxnSp>
      <p:sp>
        <p:nvSpPr>
          <p:cNvPr id="82" name="文本框 81">
            <a:extLst>
              <a:ext uri="{FF2B5EF4-FFF2-40B4-BE49-F238E27FC236}">
                <a16:creationId xmlns:a16="http://schemas.microsoft.com/office/drawing/2014/main" id="{5D8966CE-FFD7-4162-93F2-F8CEBE58D261}"/>
              </a:ext>
            </a:extLst>
          </p:cNvPr>
          <p:cNvSpPr txBox="1"/>
          <p:nvPr/>
        </p:nvSpPr>
        <p:spPr>
          <a:xfrm>
            <a:off x="2362200" y="2646359"/>
            <a:ext cx="769441" cy="184666"/>
          </a:xfrm>
          <a:prstGeom prst="rect">
            <a:avLst/>
          </a:prstGeom>
          <a:noFill/>
        </p:spPr>
        <p:txBody>
          <a:bodyPr wrap="none" lIns="0" tIns="0" rIns="0" bIns="0" rtlCol="0" anchor="t">
            <a:spAutoFit/>
          </a:bodyPr>
          <a:lstStyle/>
          <a:p>
            <a:pPr algn="ctr"/>
            <a:r>
              <a:rPr lang="zh-CN" altLang="en-US" sz="1200" dirty="0">
                <a:solidFill>
                  <a:schemeClr val="accent1"/>
                </a:solidFill>
                <a:latin typeface="+mj-ea"/>
                <a:ea typeface="+mj-ea"/>
              </a:rPr>
              <a:t>关键词标题</a:t>
            </a:r>
          </a:p>
        </p:txBody>
      </p:sp>
      <p:sp>
        <p:nvSpPr>
          <p:cNvPr id="83" name="文本框 82">
            <a:extLst>
              <a:ext uri="{FF2B5EF4-FFF2-40B4-BE49-F238E27FC236}">
                <a16:creationId xmlns:a16="http://schemas.microsoft.com/office/drawing/2014/main" id="{3DD8CF6E-E1FA-4DD4-A1CA-A899C07B7C68}"/>
              </a:ext>
            </a:extLst>
          </p:cNvPr>
          <p:cNvSpPr txBox="1"/>
          <p:nvPr/>
        </p:nvSpPr>
        <p:spPr>
          <a:xfrm>
            <a:off x="1996754" y="3445316"/>
            <a:ext cx="769441" cy="184666"/>
          </a:xfrm>
          <a:prstGeom prst="rect">
            <a:avLst/>
          </a:prstGeom>
          <a:noFill/>
        </p:spPr>
        <p:txBody>
          <a:bodyPr wrap="none" lIns="0" tIns="0" rIns="0" bIns="0" rtlCol="0" anchor="t">
            <a:spAutoFit/>
          </a:bodyPr>
          <a:lstStyle/>
          <a:p>
            <a:pPr algn="ctr"/>
            <a:r>
              <a:rPr lang="zh-CN" altLang="en-US" sz="1200" dirty="0">
                <a:solidFill>
                  <a:schemeClr val="accent1"/>
                </a:solidFill>
                <a:latin typeface="+mj-ea"/>
                <a:ea typeface="+mj-ea"/>
              </a:rPr>
              <a:t>关键词标题</a:t>
            </a:r>
          </a:p>
        </p:txBody>
      </p:sp>
      <p:sp>
        <p:nvSpPr>
          <p:cNvPr id="84" name="文本框 83">
            <a:extLst>
              <a:ext uri="{FF2B5EF4-FFF2-40B4-BE49-F238E27FC236}">
                <a16:creationId xmlns:a16="http://schemas.microsoft.com/office/drawing/2014/main" id="{896D144A-10D7-45F4-9BC7-54FC80613B73}"/>
              </a:ext>
            </a:extLst>
          </p:cNvPr>
          <p:cNvSpPr txBox="1"/>
          <p:nvPr/>
        </p:nvSpPr>
        <p:spPr>
          <a:xfrm>
            <a:off x="3018879" y="3915856"/>
            <a:ext cx="769441" cy="184666"/>
          </a:xfrm>
          <a:prstGeom prst="rect">
            <a:avLst/>
          </a:prstGeom>
          <a:noFill/>
        </p:spPr>
        <p:txBody>
          <a:bodyPr wrap="none" lIns="0" tIns="0" rIns="0" bIns="0" rtlCol="0" anchor="t">
            <a:spAutoFit/>
          </a:bodyPr>
          <a:lstStyle/>
          <a:p>
            <a:pPr algn="ctr"/>
            <a:r>
              <a:rPr lang="zh-CN" altLang="en-US" sz="1200" dirty="0">
                <a:solidFill>
                  <a:schemeClr val="accent1"/>
                </a:solidFill>
                <a:latin typeface="+mj-ea"/>
                <a:ea typeface="+mj-ea"/>
              </a:rPr>
              <a:t>关键词标题</a:t>
            </a:r>
          </a:p>
        </p:txBody>
      </p:sp>
      <p:sp>
        <p:nvSpPr>
          <p:cNvPr id="85" name="文本框 84">
            <a:extLst>
              <a:ext uri="{FF2B5EF4-FFF2-40B4-BE49-F238E27FC236}">
                <a16:creationId xmlns:a16="http://schemas.microsoft.com/office/drawing/2014/main" id="{A75C91DB-7589-41AD-9B94-DDACC0C4DC35}"/>
              </a:ext>
            </a:extLst>
          </p:cNvPr>
          <p:cNvSpPr txBox="1"/>
          <p:nvPr/>
        </p:nvSpPr>
        <p:spPr>
          <a:xfrm>
            <a:off x="4318180" y="4170278"/>
            <a:ext cx="769441" cy="184666"/>
          </a:xfrm>
          <a:prstGeom prst="rect">
            <a:avLst/>
          </a:prstGeom>
          <a:noFill/>
        </p:spPr>
        <p:txBody>
          <a:bodyPr wrap="none" lIns="0" tIns="0" rIns="0" bIns="0" rtlCol="0" anchor="t">
            <a:spAutoFit/>
          </a:bodyPr>
          <a:lstStyle/>
          <a:p>
            <a:pPr algn="ctr"/>
            <a:r>
              <a:rPr lang="zh-CN" altLang="en-US" sz="1200" dirty="0">
                <a:solidFill>
                  <a:schemeClr val="accent1"/>
                </a:solidFill>
                <a:latin typeface="+mj-ea"/>
                <a:ea typeface="+mj-ea"/>
              </a:rPr>
              <a:t>关键词标题</a:t>
            </a:r>
          </a:p>
        </p:txBody>
      </p:sp>
      <p:sp>
        <p:nvSpPr>
          <p:cNvPr id="86" name="文本框 85">
            <a:extLst>
              <a:ext uri="{FF2B5EF4-FFF2-40B4-BE49-F238E27FC236}">
                <a16:creationId xmlns:a16="http://schemas.microsoft.com/office/drawing/2014/main" id="{A474300F-11DD-4F87-9109-B9624FF86082}"/>
              </a:ext>
            </a:extLst>
          </p:cNvPr>
          <p:cNvSpPr txBox="1"/>
          <p:nvPr/>
        </p:nvSpPr>
        <p:spPr>
          <a:xfrm>
            <a:off x="5704929" y="4257330"/>
            <a:ext cx="769441" cy="184666"/>
          </a:xfrm>
          <a:prstGeom prst="rect">
            <a:avLst/>
          </a:prstGeom>
          <a:noFill/>
        </p:spPr>
        <p:txBody>
          <a:bodyPr wrap="none" lIns="0" tIns="0" rIns="0" bIns="0" rtlCol="0" anchor="t">
            <a:spAutoFit/>
          </a:bodyPr>
          <a:lstStyle/>
          <a:p>
            <a:pPr algn="ctr"/>
            <a:r>
              <a:rPr lang="zh-CN" altLang="en-US" sz="1200" dirty="0">
                <a:solidFill>
                  <a:schemeClr val="accent1"/>
                </a:solidFill>
                <a:latin typeface="+mj-ea"/>
                <a:ea typeface="+mj-ea"/>
              </a:rPr>
              <a:t>关键词标题</a:t>
            </a:r>
          </a:p>
        </p:txBody>
      </p:sp>
      <p:sp>
        <p:nvSpPr>
          <p:cNvPr id="87" name="文本框 86">
            <a:extLst>
              <a:ext uri="{FF2B5EF4-FFF2-40B4-BE49-F238E27FC236}">
                <a16:creationId xmlns:a16="http://schemas.microsoft.com/office/drawing/2014/main" id="{10E92E9C-5F4D-4BA4-8949-854199CAA747}"/>
              </a:ext>
            </a:extLst>
          </p:cNvPr>
          <p:cNvSpPr txBox="1"/>
          <p:nvPr/>
        </p:nvSpPr>
        <p:spPr>
          <a:xfrm>
            <a:off x="7127329" y="4170278"/>
            <a:ext cx="769441" cy="184666"/>
          </a:xfrm>
          <a:prstGeom prst="rect">
            <a:avLst/>
          </a:prstGeom>
          <a:noFill/>
        </p:spPr>
        <p:txBody>
          <a:bodyPr wrap="none" lIns="0" tIns="0" rIns="0" bIns="0" rtlCol="0" anchor="t">
            <a:spAutoFit/>
          </a:bodyPr>
          <a:lstStyle/>
          <a:p>
            <a:pPr algn="ctr"/>
            <a:r>
              <a:rPr lang="zh-CN" altLang="en-US" sz="1200" dirty="0">
                <a:solidFill>
                  <a:schemeClr val="accent1"/>
                </a:solidFill>
                <a:latin typeface="+mj-ea"/>
                <a:ea typeface="+mj-ea"/>
              </a:rPr>
              <a:t>关键词标题</a:t>
            </a:r>
          </a:p>
        </p:txBody>
      </p:sp>
      <p:sp>
        <p:nvSpPr>
          <p:cNvPr id="88" name="文本框 87">
            <a:extLst>
              <a:ext uri="{FF2B5EF4-FFF2-40B4-BE49-F238E27FC236}">
                <a16:creationId xmlns:a16="http://schemas.microsoft.com/office/drawing/2014/main" id="{0A7567B7-1D46-46F8-9AEC-2CBF4B18F589}"/>
              </a:ext>
            </a:extLst>
          </p:cNvPr>
          <p:cNvSpPr txBox="1"/>
          <p:nvPr/>
        </p:nvSpPr>
        <p:spPr>
          <a:xfrm>
            <a:off x="8327479" y="3915856"/>
            <a:ext cx="769441" cy="184666"/>
          </a:xfrm>
          <a:prstGeom prst="rect">
            <a:avLst/>
          </a:prstGeom>
          <a:noFill/>
        </p:spPr>
        <p:txBody>
          <a:bodyPr wrap="none" lIns="0" tIns="0" rIns="0" bIns="0" rtlCol="0" anchor="t">
            <a:spAutoFit/>
          </a:bodyPr>
          <a:lstStyle/>
          <a:p>
            <a:pPr algn="ctr"/>
            <a:r>
              <a:rPr lang="zh-CN" altLang="en-US" sz="1200" dirty="0">
                <a:solidFill>
                  <a:schemeClr val="accent1"/>
                </a:solidFill>
                <a:latin typeface="+mj-ea"/>
                <a:ea typeface="+mj-ea"/>
              </a:rPr>
              <a:t>关键词标题</a:t>
            </a:r>
          </a:p>
        </p:txBody>
      </p:sp>
      <p:sp>
        <p:nvSpPr>
          <p:cNvPr id="89" name="文本框 88">
            <a:extLst>
              <a:ext uri="{FF2B5EF4-FFF2-40B4-BE49-F238E27FC236}">
                <a16:creationId xmlns:a16="http://schemas.microsoft.com/office/drawing/2014/main" id="{D2573763-A257-40C8-A1CF-271E3E58B0E2}"/>
              </a:ext>
            </a:extLst>
          </p:cNvPr>
          <p:cNvSpPr txBox="1"/>
          <p:nvPr/>
        </p:nvSpPr>
        <p:spPr>
          <a:xfrm>
            <a:off x="9273854" y="3445316"/>
            <a:ext cx="769441" cy="184666"/>
          </a:xfrm>
          <a:prstGeom prst="rect">
            <a:avLst/>
          </a:prstGeom>
          <a:noFill/>
        </p:spPr>
        <p:txBody>
          <a:bodyPr wrap="none" lIns="0" tIns="0" rIns="0" bIns="0" rtlCol="0" anchor="t">
            <a:spAutoFit/>
          </a:bodyPr>
          <a:lstStyle/>
          <a:p>
            <a:pPr algn="ctr"/>
            <a:r>
              <a:rPr lang="zh-CN" altLang="en-US" sz="1200" dirty="0">
                <a:solidFill>
                  <a:schemeClr val="accent1"/>
                </a:solidFill>
                <a:latin typeface="+mj-ea"/>
                <a:ea typeface="+mj-ea"/>
              </a:rPr>
              <a:t>关键词标题</a:t>
            </a:r>
          </a:p>
        </p:txBody>
      </p:sp>
      <p:sp>
        <p:nvSpPr>
          <p:cNvPr id="90" name="文本框 89">
            <a:extLst>
              <a:ext uri="{FF2B5EF4-FFF2-40B4-BE49-F238E27FC236}">
                <a16:creationId xmlns:a16="http://schemas.microsoft.com/office/drawing/2014/main" id="{BFFE60B7-0DC7-4364-864D-98F1DCEAD7B8}"/>
              </a:ext>
            </a:extLst>
          </p:cNvPr>
          <p:cNvSpPr txBox="1"/>
          <p:nvPr/>
        </p:nvSpPr>
        <p:spPr>
          <a:xfrm>
            <a:off x="8896350" y="2646359"/>
            <a:ext cx="769441" cy="184666"/>
          </a:xfrm>
          <a:prstGeom prst="rect">
            <a:avLst/>
          </a:prstGeom>
          <a:noFill/>
        </p:spPr>
        <p:txBody>
          <a:bodyPr wrap="none" lIns="0" tIns="0" rIns="0" bIns="0" rtlCol="0" anchor="t">
            <a:spAutoFit/>
          </a:bodyPr>
          <a:lstStyle/>
          <a:p>
            <a:pPr algn="ctr"/>
            <a:r>
              <a:rPr lang="zh-CN" altLang="en-US" sz="1200" dirty="0">
                <a:solidFill>
                  <a:schemeClr val="accent1"/>
                </a:solidFill>
                <a:latin typeface="+mj-ea"/>
                <a:ea typeface="+mj-ea"/>
              </a:rPr>
              <a:t>关键词标题</a:t>
            </a:r>
          </a:p>
        </p:txBody>
      </p:sp>
    </p:spTree>
    <p:extLst>
      <p:ext uri="{BB962C8B-B14F-4D97-AF65-F5344CB8AC3E}">
        <p14:creationId xmlns:p14="http://schemas.microsoft.com/office/powerpoint/2010/main" val="1419136888"/>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2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六边形 1">
            <a:extLst>
              <a:ext uri="{FF2B5EF4-FFF2-40B4-BE49-F238E27FC236}">
                <a16:creationId xmlns:a16="http://schemas.microsoft.com/office/drawing/2014/main" id="{FD3D3FE9-4315-416B-BF3B-ECC3C18AFC81}"/>
              </a:ext>
            </a:extLst>
          </p:cNvPr>
          <p:cNvSpPr/>
          <p:nvPr/>
        </p:nvSpPr>
        <p:spPr>
          <a:xfrm>
            <a:off x="2877220" y="2809178"/>
            <a:ext cx="1276615" cy="1440814"/>
          </a:xfrm>
          <a:custGeom>
            <a:avLst/>
            <a:gdLst>
              <a:gd name="connsiteX0" fmla="*/ 908522 w 1623848"/>
              <a:gd name="connsiteY0" fmla="*/ 22821 h 1832708"/>
              <a:gd name="connsiteX1" fmla="*/ 1504446 w 1623848"/>
              <a:gd name="connsiteY1" fmla="*/ 320783 h 1832708"/>
              <a:gd name="connsiteX2" fmla="*/ 1623848 w 1623848"/>
              <a:gd name="connsiteY2" fmla="*/ 513979 h 1832708"/>
              <a:gd name="connsiteX3" fmla="*/ 1623848 w 1623848"/>
              <a:gd name="connsiteY3" fmla="*/ 1318729 h 1832708"/>
              <a:gd name="connsiteX4" fmla="*/ 1504446 w 1623848"/>
              <a:gd name="connsiteY4" fmla="*/ 1511925 h 1832708"/>
              <a:gd name="connsiteX5" fmla="*/ 908522 w 1623848"/>
              <a:gd name="connsiteY5" fmla="*/ 1809887 h 1832708"/>
              <a:gd name="connsiteX6" fmla="*/ 715326 w 1623848"/>
              <a:gd name="connsiteY6" fmla="*/ 1809887 h 1832708"/>
              <a:gd name="connsiteX7" fmla="*/ 119402 w 1623848"/>
              <a:gd name="connsiteY7" fmla="*/ 1511925 h 1832708"/>
              <a:gd name="connsiteX8" fmla="*/ 0 w 1623848"/>
              <a:gd name="connsiteY8" fmla="*/ 1318729 h 1832708"/>
              <a:gd name="connsiteX9" fmla="*/ 0 w 1623848"/>
              <a:gd name="connsiteY9" fmla="*/ 513979 h 1832708"/>
              <a:gd name="connsiteX10" fmla="*/ 119402 w 1623848"/>
              <a:gd name="connsiteY10" fmla="*/ 320783 h 1832708"/>
              <a:gd name="connsiteX11" fmla="*/ 715326 w 1623848"/>
              <a:gd name="connsiteY11" fmla="*/ 22821 h 1832708"/>
              <a:gd name="connsiteX12" fmla="*/ 908522 w 1623848"/>
              <a:gd name="connsiteY12" fmla="*/ 22821 h 18327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623848" h="1832708">
                <a:moveTo>
                  <a:pt x="908522" y="22821"/>
                </a:moveTo>
                <a:lnTo>
                  <a:pt x="1504446" y="320783"/>
                </a:lnTo>
                <a:cubicBezTo>
                  <a:pt x="1577639" y="357380"/>
                  <a:pt x="1623848" y="432147"/>
                  <a:pt x="1623848" y="513979"/>
                </a:cubicBezTo>
                <a:lnTo>
                  <a:pt x="1623848" y="1318729"/>
                </a:lnTo>
                <a:cubicBezTo>
                  <a:pt x="1623848" y="1400561"/>
                  <a:pt x="1577639" y="1475329"/>
                  <a:pt x="1504446" y="1511925"/>
                </a:cubicBezTo>
                <a:lnTo>
                  <a:pt x="908522" y="1809887"/>
                </a:lnTo>
                <a:cubicBezTo>
                  <a:pt x="847665" y="1840316"/>
                  <a:pt x="776183" y="1840316"/>
                  <a:pt x="715326" y="1809887"/>
                </a:cubicBezTo>
                <a:lnTo>
                  <a:pt x="119402" y="1511925"/>
                </a:lnTo>
                <a:cubicBezTo>
                  <a:pt x="46208" y="1475329"/>
                  <a:pt x="0" y="1400561"/>
                  <a:pt x="0" y="1318729"/>
                </a:cubicBezTo>
                <a:lnTo>
                  <a:pt x="0" y="513979"/>
                </a:lnTo>
                <a:cubicBezTo>
                  <a:pt x="0" y="432147"/>
                  <a:pt x="46208" y="357380"/>
                  <a:pt x="119402" y="320783"/>
                </a:cubicBezTo>
                <a:lnTo>
                  <a:pt x="715326" y="22821"/>
                </a:lnTo>
                <a:cubicBezTo>
                  <a:pt x="776183" y="-7607"/>
                  <a:pt x="847665" y="-7607"/>
                  <a:pt x="908522" y="22821"/>
                </a:cubicBezTo>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zh-CN" altLang="en-US" sz="1400">
              <a:solidFill>
                <a:schemeClr val="bg1"/>
              </a:solidFill>
              <a:latin typeface="+mj-ea"/>
              <a:ea typeface="+mj-ea"/>
            </a:endParaRPr>
          </a:p>
        </p:txBody>
      </p:sp>
      <p:sp>
        <p:nvSpPr>
          <p:cNvPr id="55" name="六边形 1">
            <a:extLst>
              <a:ext uri="{FF2B5EF4-FFF2-40B4-BE49-F238E27FC236}">
                <a16:creationId xmlns:a16="http://schemas.microsoft.com/office/drawing/2014/main" id="{A959E44F-9A6E-401C-A44E-165687613C5C}"/>
              </a:ext>
            </a:extLst>
          </p:cNvPr>
          <p:cNvSpPr/>
          <p:nvPr/>
        </p:nvSpPr>
        <p:spPr>
          <a:xfrm>
            <a:off x="2148159" y="1508533"/>
            <a:ext cx="1276615" cy="1440814"/>
          </a:xfrm>
          <a:custGeom>
            <a:avLst/>
            <a:gdLst>
              <a:gd name="connsiteX0" fmla="*/ 908522 w 1623848"/>
              <a:gd name="connsiteY0" fmla="*/ 22821 h 1832708"/>
              <a:gd name="connsiteX1" fmla="*/ 1504446 w 1623848"/>
              <a:gd name="connsiteY1" fmla="*/ 320783 h 1832708"/>
              <a:gd name="connsiteX2" fmla="*/ 1623848 w 1623848"/>
              <a:gd name="connsiteY2" fmla="*/ 513979 h 1832708"/>
              <a:gd name="connsiteX3" fmla="*/ 1623848 w 1623848"/>
              <a:gd name="connsiteY3" fmla="*/ 1318729 h 1832708"/>
              <a:gd name="connsiteX4" fmla="*/ 1504446 w 1623848"/>
              <a:gd name="connsiteY4" fmla="*/ 1511925 h 1832708"/>
              <a:gd name="connsiteX5" fmla="*/ 908522 w 1623848"/>
              <a:gd name="connsiteY5" fmla="*/ 1809887 h 1832708"/>
              <a:gd name="connsiteX6" fmla="*/ 715326 w 1623848"/>
              <a:gd name="connsiteY6" fmla="*/ 1809887 h 1832708"/>
              <a:gd name="connsiteX7" fmla="*/ 119402 w 1623848"/>
              <a:gd name="connsiteY7" fmla="*/ 1511925 h 1832708"/>
              <a:gd name="connsiteX8" fmla="*/ 0 w 1623848"/>
              <a:gd name="connsiteY8" fmla="*/ 1318729 h 1832708"/>
              <a:gd name="connsiteX9" fmla="*/ 0 w 1623848"/>
              <a:gd name="connsiteY9" fmla="*/ 513979 h 1832708"/>
              <a:gd name="connsiteX10" fmla="*/ 119402 w 1623848"/>
              <a:gd name="connsiteY10" fmla="*/ 320783 h 1832708"/>
              <a:gd name="connsiteX11" fmla="*/ 715326 w 1623848"/>
              <a:gd name="connsiteY11" fmla="*/ 22821 h 1832708"/>
              <a:gd name="connsiteX12" fmla="*/ 908522 w 1623848"/>
              <a:gd name="connsiteY12" fmla="*/ 22821 h 18327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623848" h="1832708">
                <a:moveTo>
                  <a:pt x="908522" y="22821"/>
                </a:moveTo>
                <a:lnTo>
                  <a:pt x="1504446" y="320783"/>
                </a:lnTo>
                <a:cubicBezTo>
                  <a:pt x="1577639" y="357380"/>
                  <a:pt x="1623848" y="432147"/>
                  <a:pt x="1623848" y="513979"/>
                </a:cubicBezTo>
                <a:lnTo>
                  <a:pt x="1623848" y="1318729"/>
                </a:lnTo>
                <a:cubicBezTo>
                  <a:pt x="1623848" y="1400561"/>
                  <a:pt x="1577639" y="1475329"/>
                  <a:pt x="1504446" y="1511925"/>
                </a:cubicBezTo>
                <a:lnTo>
                  <a:pt x="908522" y="1809887"/>
                </a:lnTo>
                <a:cubicBezTo>
                  <a:pt x="847665" y="1840316"/>
                  <a:pt x="776183" y="1840316"/>
                  <a:pt x="715326" y="1809887"/>
                </a:cubicBezTo>
                <a:lnTo>
                  <a:pt x="119402" y="1511925"/>
                </a:lnTo>
                <a:cubicBezTo>
                  <a:pt x="46208" y="1475329"/>
                  <a:pt x="0" y="1400561"/>
                  <a:pt x="0" y="1318729"/>
                </a:cubicBezTo>
                <a:lnTo>
                  <a:pt x="0" y="513979"/>
                </a:lnTo>
                <a:cubicBezTo>
                  <a:pt x="0" y="432147"/>
                  <a:pt x="46208" y="357380"/>
                  <a:pt x="119402" y="320783"/>
                </a:cubicBezTo>
                <a:lnTo>
                  <a:pt x="715326" y="22821"/>
                </a:lnTo>
                <a:cubicBezTo>
                  <a:pt x="776183" y="-7607"/>
                  <a:pt x="847665" y="-7607"/>
                  <a:pt x="908522" y="22821"/>
                </a:cubicBezTo>
              </a:path>
            </a:pathLst>
          </a:custGeom>
          <a:solidFill>
            <a:schemeClr val="accent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zh-CN" altLang="en-US" sz="1400">
              <a:solidFill>
                <a:schemeClr val="bg1"/>
              </a:solidFill>
              <a:latin typeface="+mj-ea"/>
              <a:ea typeface="+mj-ea"/>
            </a:endParaRPr>
          </a:p>
        </p:txBody>
      </p:sp>
      <p:sp>
        <p:nvSpPr>
          <p:cNvPr id="56" name="六边形 1">
            <a:extLst>
              <a:ext uri="{FF2B5EF4-FFF2-40B4-BE49-F238E27FC236}">
                <a16:creationId xmlns:a16="http://schemas.microsoft.com/office/drawing/2014/main" id="{E529C280-9421-4913-B0F9-B7F608F650BE}"/>
              </a:ext>
            </a:extLst>
          </p:cNvPr>
          <p:cNvSpPr/>
          <p:nvPr/>
        </p:nvSpPr>
        <p:spPr>
          <a:xfrm>
            <a:off x="1419098" y="2809178"/>
            <a:ext cx="1276615" cy="1440814"/>
          </a:xfrm>
          <a:custGeom>
            <a:avLst/>
            <a:gdLst>
              <a:gd name="connsiteX0" fmla="*/ 908522 w 1623848"/>
              <a:gd name="connsiteY0" fmla="*/ 22821 h 1832708"/>
              <a:gd name="connsiteX1" fmla="*/ 1504446 w 1623848"/>
              <a:gd name="connsiteY1" fmla="*/ 320783 h 1832708"/>
              <a:gd name="connsiteX2" fmla="*/ 1623848 w 1623848"/>
              <a:gd name="connsiteY2" fmla="*/ 513979 h 1832708"/>
              <a:gd name="connsiteX3" fmla="*/ 1623848 w 1623848"/>
              <a:gd name="connsiteY3" fmla="*/ 1318729 h 1832708"/>
              <a:gd name="connsiteX4" fmla="*/ 1504446 w 1623848"/>
              <a:gd name="connsiteY4" fmla="*/ 1511925 h 1832708"/>
              <a:gd name="connsiteX5" fmla="*/ 908522 w 1623848"/>
              <a:gd name="connsiteY5" fmla="*/ 1809887 h 1832708"/>
              <a:gd name="connsiteX6" fmla="*/ 715326 w 1623848"/>
              <a:gd name="connsiteY6" fmla="*/ 1809887 h 1832708"/>
              <a:gd name="connsiteX7" fmla="*/ 119402 w 1623848"/>
              <a:gd name="connsiteY7" fmla="*/ 1511925 h 1832708"/>
              <a:gd name="connsiteX8" fmla="*/ 0 w 1623848"/>
              <a:gd name="connsiteY8" fmla="*/ 1318729 h 1832708"/>
              <a:gd name="connsiteX9" fmla="*/ 0 w 1623848"/>
              <a:gd name="connsiteY9" fmla="*/ 513979 h 1832708"/>
              <a:gd name="connsiteX10" fmla="*/ 119402 w 1623848"/>
              <a:gd name="connsiteY10" fmla="*/ 320783 h 1832708"/>
              <a:gd name="connsiteX11" fmla="*/ 715326 w 1623848"/>
              <a:gd name="connsiteY11" fmla="*/ 22821 h 1832708"/>
              <a:gd name="connsiteX12" fmla="*/ 908522 w 1623848"/>
              <a:gd name="connsiteY12" fmla="*/ 22821 h 18327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623848" h="1832708">
                <a:moveTo>
                  <a:pt x="908522" y="22821"/>
                </a:moveTo>
                <a:lnTo>
                  <a:pt x="1504446" y="320783"/>
                </a:lnTo>
                <a:cubicBezTo>
                  <a:pt x="1577639" y="357380"/>
                  <a:pt x="1623848" y="432147"/>
                  <a:pt x="1623848" y="513979"/>
                </a:cubicBezTo>
                <a:lnTo>
                  <a:pt x="1623848" y="1318729"/>
                </a:lnTo>
                <a:cubicBezTo>
                  <a:pt x="1623848" y="1400561"/>
                  <a:pt x="1577639" y="1475329"/>
                  <a:pt x="1504446" y="1511925"/>
                </a:cubicBezTo>
                <a:lnTo>
                  <a:pt x="908522" y="1809887"/>
                </a:lnTo>
                <a:cubicBezTo>
                  <a:pt x="847665" y="1840316"/>
                  <a:pt x="776183" y="1840316"/>
                  <a:pt x="715326" y="1809887"/>
                </a:cubicBezTo>
                <a:lnTo>
                  <a:pt x="119402" y="1511925"/>
                </a:lnTo>
                <a:cubicBezTo>
                  <a:pt x="46208" y="1475329"/>
                  <a:pt x="0" y="1400561"/>
                  <a:pt x="0" y="1318729"/>
                </a:cubicBezTo>
                <a:lnTo>
                  <a:pt x="0" y="513979"/>
                </a:lnTo>
                <a:cubicBezTo>
                  <a:pt x="0" y="432147"/>
                  <a:pt x="46208" y="357380"/>
                  <a:pt x="119402" y="320783"/>
                </a:cubicBezTo>
                <a:lnTo>
                  <a:pt x="715326" y="22821"/>
                </a:lnTo>
                <a:cubicBezTo>
                  <a:pt x="776183" y="-7607"/>
                  <a:pt x="847665" y="-7607"/>
                  <a:pt x="908522" y="22821"/>
                </a:cubicBezTo>
              </a:path>
            </a:pathLst>
          </a:custGeom>
          <a:solidFill>
            <a:schemeClr val="accent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zh-CN" altLang="en-US" sz="1400">
              <a:solidFill>
                <a:schemeClr val="bg1"/>
              </a:solidFill>
              <a:latin typeface="+mj-ea"/>
              <a:ea typeface="+mj-ea"/>
            </a:endParaRPr>
          </a:p>
        </p:txBody>
      </p:sp>
      <p:sp>
        <p:nvSpPr>
          <p:cNvPr id="57" name="六边形 1">
            <a:extLst>
              <a:ext uri="{FF2B5EF4-FFF2-40B4-BE49-F238E27FC236}">
                <a16:creationId xmlns:a16="http://schemas.microsoft.com/office/drawing/2014/main" id="{01B88EE0-84D6-4C7B-B458-8A5CF60B19DB}"/>
              </a:ext>
            </a:extLst>
          </p:cNvPr>
          <p:cNvSpPr/>
          <p:nvPr/>
        </p:nvSpPr>
        <p:spPr>
          <a:xfrm>
            <a:off x="2148159" y="4109823"/>
            <a:ext cx="1276615" cy="1440814"/>
          </a:xfrm>
          <a:custGeom>
            <a:avLst/>
            <a:gdLst>
              <a:gd name="connsiteX0" fmla="*/ 908522 w 1623848"/>
              <a:gd name="connsiteY0" fmla="*/ 22821 h 1832708"/>
              <a:gd name="connsiteX1" fmla="*/ 1504446 w 1623848"/>
              <a:gd name="connsiteY1" fmla="*/ 320783 h 1832708"/>
              <a:gd name="connsiteX2" fmla="*/ 1623848 w 1623848"/>
              <a:gd name="connsiteY2" fmla="*/ 513979 h 1832708"/>
              <a:gd name="connsiteX3" fmla="*/ 1623848 w 1623848"/>
              <a:gd name="connsiteY3" fmla="*/ 1318729 h 1832708"/>
              <a:gd name="connsiteX4" fmla="*/ 1504446 w 1623848"/>
              <a:gd name="connsiteY4" fmla="*/ 1511925 h 1832708"/>
              <a:gd name="connsiteX5" fmla="*/ 908522 w 1623848"/>
              <a:gd name="connsiteY5" fmla="*/ 1809887 h 1832708"/>
              <a:gd name="connsiteX6" fmla="*/ 715326 w 1623848"/>
              <a:gd name="connsiteY6" fmla="*/ 1809887 h 1832708"/>
              <a:gd name="connsiteX7" fmla="*/ 119402 w 1623848"/>
              <a:gd name="connsiteY7" fmla="*/ 1511925 h 1832708"/>
              <a:gd name="connsiteX8" fmla="*/ 0 w 1623848"/>
              <a:gd name="connsiteY8" fmla="*/ 1318729 h 1832708"/>
              <a:gd name="connsiteX9" fmla="*/ 0 w 1623848"/>
              <a:gd name="connsiteY9" fmla="*/ 513979 h 1832708"/>
              <a:gd name="connsiteX10" fmla="*/ 119402 w 1623848"/>
              <a:gd name="connsiteY10" fmla="*/ 320783 h 1832708"/>
              <a:gd name="connsiteX11" fmla="*/ 715326 w 1623848"/>
              <a:gd name="connsiteY11" fmla="*/ 22821 h 1832708"/>
              <a:gd name="connsiteX12" fmla="*/ 908522 w 1623848"/>
              <a:gd name="connsiteY12" fmla="*/ 22821 h 18327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623848" h="1832708">
                <a:moveTo>
                  <a:pt x="908522" y="22821"/>
                </a:moveTo>
                <a:lnTo>
                  <a:pt x="1504446" y="320783"/>
                </a:lnTo>
                <a:cubicBezTo>
                  <a:pt x="1577639" y="357380"/>
                  <a:pt x="1623848" y="432147"/>
                  <a:pt x="1623848" y="513979"/>
                </a:cubicBezTo>
                <a:lnTo>
                  <a:pt x="1623848" y="1318729"/>
                </a:lnTo>
                <a:cubicBezTo>
                  <a:pt x="1623848" y="1400561"/>
                  <a:pt x="1577639" y="1475329"/>
                  <a:pt x="1504446" y="1511925"/>
                </a:cubicBezTo>
                <a:lnTo>
                  <a:pt x="908522" y="1809887"/>
                </a:lnTo>
                <a:cubicBezTo>
                  <a:pt x="847665" y="1840316"/>
                  <a:pt x="776183" y="1840316"/>
                  <a:pt x="715326" y="1809887"/>
                </a:cubicBezTo>
                <a:lnTo>
                  <a:pt x="119402" y="1511925"/>
                </a:lnTo>
                <a:cubicBezTo>
                  <a:pt x="46208" y="1475329"/>
                  <a:pt x="0" y="1400561"/>
                  <a:pt x="0" y="1318729"/>
                </a:cubicBezTo>
                <a:lnTo>
                  <a:pt x="0" y="513979"/>
                </a:lnTo>
                <a:cubicBezTo>
                  <a:pt x="0" y="432147"/>
                  <a:pt x="46208" y="357380"/>
                  <a:pt x="119402" y="320783"/>
                </a:cubicBezTo>
                <a:lnTo>
                  <a:pt x="715326" y="22821"/>
                </a:lnTo>
                <a:cubicBezTo>
                  <a:pt x="776183" y="-7607"/>
                  <a:pt x="847665" y="-7607"/>
                  <a:pt x="908522" y="22821"/>
                </a:cubicBezTo>
              </a:path>
            </a:pathLst>
          </a:custGeom>
          <a:solidFill>
            <a:schemeClr val="accent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zh-CN" altLang="en-US" sz="1400">
              <a:solidFill>
                <a:schemeClr val="bg1"/>
              </a:solidFill>
              <a:latin typeface="+mj-ea"/>
              <a:ea typeface="+mj-ea"/>
            </a:endParaRPr>
          </a:p>
        </p:txBody>
      </p:sp>
      <p:sp>
        <p:nvSpPr>
          <p:cNvPr id="61" name="六边形 1">
            <a:extLst>
              <a:ext uri="{FF2B5EF4-FFF2-40B4-BE49-F238E27FC236}">
                <a16:creationId xmlns:a16="http://schemas.microsoft.com/office/drawing/2014/main" id="{382465A6-5AFB-45C6-AB9B-C36BB616D8A0}"/>
              </a:ext>
            </a:extLst>
          </p:cNvPr>
          <p:cNvSpPr/>
          <p:nvPr/>
        </p:nvSpPr>
        <p:spPr>
          <a:xfrm>
            <a:off x="3606281" y="4109823"/>
            <a:ext cx="1276615" cy="1440814"/>
          </a:xfrm>
          <a:custGeom>
            <a:avLst/>
            <a:gdLst>
              <a:gd name="connsiteX0" fmla="*/ 908522 w 1623848"/>
              <a:gd name="connsiteY0" fmla="*/ 22821 h 1832708"/>
              <a:gd name="connsiteX1" fmla="*/ 1504446 w 1623848"/>
              <a:gd name="connsiteY1" fmla="*/ 320783 h 1832708"/>
              <a:gd name="connsiteX2" fmla="*/ 1623848 w 1623848"/>
              <a:gd name="connsiteY2" fmla="*/ 513979 h 1832708"/>
              <a:gd name="connsiteX3" fmla="*/ 1623848 w 1623848"/>
              <a:gd name="connsiteY3" fmla="*/ 1318729 h 1832708"/>
              <a:gd name="connsiteX4" fmla="*/ 1504446 w 1623848"/>
              <a:gd name="connsiteY4" fmla="*/ 1511925 h 1832708"/>
              <a:gd name="connsiteX5" fmla="*/ 908522 w 1623848"/>
              <a:gd name="connsiteY5" fmla="*/ 1809887 h 1832708"/>
              <a:gd name="connsiteX6" fmla="*/ 715326 w 1623848"/>
              <a:gd name="connsiteY6" fmla="*/ 1809887 h 1832708"/>
              <a:gd name="connsiteX7" fmla="*/ 119402 w 1623848"/>
              <a:gd name="connsiteY7" fmla="*/ 1511925 h 1832708"/>
              <a:gd name="connsiteX8" fmla="*/ 0 w 1623848"/>
              <a:gd name="connsiteY8" fmla="*/ 1318729 h 1832708"/>
              <a:gd name="connsiteX9" fmla="*/ 0 w 1623848"/>
              <a:gd name="connsiteY9" fmla="*/ 513979 h 1832708"/>
              <a:gd name="connsiteX10" fmla="*/ 119402 w 1623848"/>
              <a:gd name="connsiteY10" fmla="*/ 320783 h 1832708"/>
              <a:gd name="connsiteX11" fmla="*/ 715326 w 1623848"/>
              <a:gd name="connsiteY11" fmla="*/ 22821 h 1832708"/>
              <a:gd name="connsiteX12" fmla="*/ 908522 w 1623848"/>
              <a:gd name="connsiteY12" fmla="*/ 22821 h 18327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623848" h="1832708">
                <a:moveTo>
                  <a:pt x="908522" y="22821"/>
                </a:moveTo>
                <a:lnTo>
                  <a:pt x="1504446" y="320783"/>
                </a:lnTo>
                <a:cubicBezTo>
                  <a:pt x="1577639" y="357380"/>
                  <a:pt x="1623848" y="432147"/>
                  <a:pt x="1623848" y="513979"/>
                </a:cubicBezTo>
                <a:lnTo>
                  <a:pt x="1623848" y="1318729"/>
                </a:lnTo>
                <a:cubicBezTo>
                  <a:pt x="1623848" y="1400561"/>
                  <a:pt x="1577639" y="1475329"/>
                  <a:pt x="1504446" y="1511925"/>
                </a:cubicBezTo>
                <a:lnTo>
                  <a:pt x="908522" y="1809887"/>
                </a:lnTo>
                <a:cubicBezTo>
                  <a:pt x="847665" y="1840316"/>
                  <a:pt x="776183" y="1840316"/>
                  <a:pt x="715326" y="1809887"/>
                </a:cubicBezTo>
                <a:lnTo>
                  <a:pt x="119402" y="1511925"/>
                </a:lnTo>
                <a:cubicBezTo>
                  <a:pt x="46208" y="1475329"/>
                  <a:pt x="0" y="1400561"/>
                  <a:pt x="0" y="1318729"/>
                </a:cubicBezTo>
                <a:lnTo>
                  <a:pt x="0" y="513979"/>
                </a:lnTo>
                <a:cubicBezTo>
                  <a:pt x="0" y="432147"/>
                  <a:pt x="46208" y="357380"/>
                  <a:pt x="119402" y="320783"/>
                </a:cubicBezTo>
                <a:lnTo>
                  <a:pt x="715326" y="22821"/>
                </a:lnTo>
                <a:cubicBezTo>
                  <a:pt x="776183" y="-7607"/>
                  <a:pt x="847665" y="-7607"/>
                  <a:pt x="908522" y="22821"/>
                </a:cubicBezTo>
              </a:path>
            </a:pathLst>
          </a:custGeom>
          <a:solidFill>
            <a:schemeClr val="accent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zh-CN" altLang="en-US" sz="1400">
              <a:solidFill>
                <a:schemeClr val="bg1"/>
              </a:solidFill>
              <a:latin typeface="+mj-ea"/>
              <a:ea typeface="+mj-ea"/>
            </a:endParaRPr>
          </a:p>
        </p:txBody>
      </p:sp>
      <p:sp>
        <p:nvSpPr>
          <p:cNvPr id="64" name="六边形 1">
            <a:extLst>
              <a:ext uri="{FF2B5EF4-FFF2-40B4-BE49-F238E27FC236}">
                <a16:creationId xmlns:a16="http://schemas.microsoft.com/office/drawing/2014/main" id="{9EDE14FC-07F0-46D6-BB35-6D5A9381C7B5}"/>
              </a:ext>
            </a:extLst>
          </p:cNvPr>
          <p:cNvSpPr/>
          <p:nvPr/>
        </p:nvSpPr>
        <p:spPr>
          <a:xfrm>
            <a:off x="3606281" y="1508533"/>
            <a:ext cx="1276615" cy="1440814"/>
          </a:xfrm>
          <a:custGeom>
            <a:avLst/>
            <a:gdLst>
              <a:gd name="connsiteX0" fmla="*/ 908522 w 1623848"/>
              <a:gd name="connsiteY0" fmla="*/ 22821 h 1832708"/>
              <a:gd name="connsiteX1" fmla="*/ 1504446 w 1623848"/>
              <a:gd name="connsiteY1" fmla="*/ 320783 h 1832708"/>
              <a:gd name="connsiteX2" fmla="*/ 1623848 w 1623848"/>
              <a:gd name="connsiteY2" fmla="*/ 513979 h 1832708"/>
              <a:gd name="connsiteX3" fmla="*/ 1623848 w 1623848"/>
              <a:gd name="connsiteY3" fmla="*/ 1318729 h 1832708"/>
              <a:gd name="connsiteX4" fmla="*/ 1504446 w 1623848"/>
              <a:gd name="connsiteY4" fmla="*/ 1511925 h 1832708"/>
              <a:gd name="connsiteX5" fmla="*/ 908522 w 1623848"/>
              <a:gd name="connsiteY5" fmla="*/ 1809887 h 1832708"/>
              <a:gd name="connsiteX6" fmla="*/ 715326 w 1623848"/>
              <a:gd name="connsiteY6" fmla="*/ 1809887 h 1832708"/>
              <a:gd name="connsiteX7" fmla="*/ 119402 w 1623848"/>
              <a:gd name="connsiteY7" fmla="*/ 1511925 h 1832708"/>
              <a:gd name="connsiteX8" fmla="*/ 0 w 1623848"/>
              <a:gd name="connsiteY8" fmla="*/ 1318729 h 1832708"/>
              <a:gd name="connsiteX9" fmla="*/ 0 w 1623848"/>
              <a:gd name="connsiteY9" fmla="*/ 513979 h 1832708"/>
              <a:gd name="connsiteX10" fmla="*/ 119402 w 1623848"/>
              <a:gd name="connsiteY10" fmla="*/ 320783 h 1832708"/>
              <a:gd name="connsiteX11" fmla="*/ 715326 w 1623848"/>
              <a:gd name="connsiteY11" fmla="*/ 22821 h 1832708"/>
              <a:gd name="connsiteX12" fmla="*/ 908522 w 1623848"/>
              <a:gd name="connsiteY12" fmla="*/ 22821 h 18327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623848" h="1832708">
                <a:moveTo>
                  <a:pt x="908522" y="22821"/>
                </a:moveTo>
                <a:lnTo>
                  <a:pt x="1504446" y="320783"/>
                </a:lnTo>
                <a:cubicBezTo>
                  <a:pt x="1577639" y="357380"/>
                  <a:pt x="1623848" y="432147"/>
                  <a:pt x="1623848" y="513979"/>
                </a:cubicBezTo>
                <a:lnTo>
                  <a:pt x="1623848" y="1318729"/>
                </a:lnTo>
                <a:cubicBezTo>
                  <a:pt x="1623848" y="1400561"/>
                  <a:pt x="1577639" y="1475329"/>
                  <a:pt x="1504446" y="1511925"/>
                </a:cubicBezTo>
                <a:lnTo>
                  <a:pt x="908522" y="1809887"/>
                </a:lnTo>
                <a:cubicBezTo>
                  <a:pt x="847665" y="1840316"/>
                  <a:pt x="776183" y="1840316"/>
                  <a:pt x="715326" y="1809887"/>
                </a:cubicBezTo>
                <a:lnTo>
                  <a:pt x="119402" y="1511925"/>
                </a:lnTo>
                <a:cubicBezTo>
                  <a:pt x="46208" y="1475329"/>
                  <a:pt x="0" y="1400561"/>
                  <a:pt x="0" y="1318729"/>
                </a:cubicBezTo>
                <a:lnTo>
                  <a:pt x="0" y="513979"/>
                </a:lnTo>
                <a:cubicBezTo>
                  <a:pt x="0" y="432147"/>
                  <a:pt x="46208" y="357380"/>
                  <a:pt x="119402" y="320783"/>
                </a:cubicBezTo>
                <a:lnTo>
                  <a:pt x="715326" y="22821"/>
                </a:lnTo>
                <a:cubicBezTo>
                  <a:pt x="776183" y="-7607"/>
                  <a:pt x="847665" y="-7607"/>
                  <a:pt x="908522" y="22821"/>
                </a:cubicBezTo>
              </a:path>
            </a:pathLst>
          </a:custGeom>
          <a:solidFill>
            <a:schemeClr val="accent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zh-CN" altLang="en-US" sz="1400">
              <a:solidFill>
                <a:schemeClr val="bg1"/>
              </a:solidFill>
              <a:latin typeface="+mj-ea"/>
              <a:ea typeface="+mj-ea"/>
            </a:endParaRPr>
          </a:p>
        </p:txBody>
      </p:sp>
      <p:sp>
        <p:nvSpPr>
          <p:cNvPr id="91" name="文本框 90">
            <a:extLst>
              <a:ext uri="{FF2B5EF4-FFF2-40B4-BE49-F238E27FC236}">
                <a16:creationId xmlns:a16="http://schemas.microsoft.com/office/drawing/2014/main" id="{D778B0AC-5DED-4DDB-B109-089A80C0B914}"/>
              </a:ext>
            </a:extLst>
          </p:cNvPr>
          <p:cNvSpPr txBox="1"/>
          <p:nvPr/>
        </p:nvSpPr>
        <p:spPr>
          <a:xfrm>
            <a:off x="3104898" y="3529585"/>
            <a:ext cx="848081" cy="307777"/>
          </a:xfrm>
          <a:prstGeom prst="rect">
            <a:avLst/>
          </a:prstGeom>
          <a:noFill/>
        </p:spPr>
        <p:txBody>
          <a:bodyPr wrap="square" lIns="0" tIns="0" rIns="0" bIns="0" rtlCol="0" anchor="t">
            <a:spAutoFit/>
          </a:bodyPr>
          <a:lstStyle/>
          <a:p>
            <a:pPr algn="ctr"/>
            <a:r>
              <a:rPr lang="zh-CN" altLang="en-US" sz="2000" dirty="0">
                <a:solidFill>
                  <a:schemeClr val="bg1"/>
                </a:solidFill>
                <a:latin typeface="+mj-ea"/>
                <a:ea typeface="+mj-ea"/>
              </a:rPr>
              <a:t>关键词</a:t>
            </a:r>
          </a:p>
        </p:txBody>
      </p:sp>
      <p:sp>
        <p:nvSpPr>
          <p:cNvPr id="92" name="user_209046">
            <a:extLst>
              <a:ext uri="{FF2B5EF4-FFF2-40B4-BE49-F238E27FC236}">
                <a16:creationId xmlns:a16="http://schemas.microsoft.com/office/drawing/2014/main" id="{FF0B7057-A096-4155-B6B7-3F961BBBBAED}"/>
              </a:ext>
            </a:extLst>
          </p:cNvPr>
          <p:cNvSpPr/>
          <p:nvPr/>
        </p:nvSpPr>
        <p:spPr>
          <a:xfrm>
            <a:off x="3315346" y="3095970"/>
            <a:ext cx="427184" cy="385216"/>
          </a:xfrm>
          <a:custGeom>
            <a:avLst/>
            <a:gdLst>
              <a:gd name="connsiteX0" fmla="*/ 521432 w 608344"/>
              <a:gd name="connsiteY0" fmla="*/ 370453 h 548582"/>
              <a:gd name="connsiteX1" fmla="*/ 465737 w 608344"/>
              <a:gd name="connsiteY1" fmla="*/ 425787 h 548582"/>
              <a:gd name="connsiteX2" fmla="*/ 442491 w 608344"/>
              <a:gd name="connsiteY2" fmla="*/ 402479 h 548582"/>
              <a:gd name="connsiteX3" fmla="*/ 418201 w 608344"/>
              <a:gd name="connsiteY3" fmla="*/ 426545 h 548582"/>
              <a:gd name="connsiteX4" fmla="*/ 441447 w 608344"/>
              <a:gd name="connsiteY4" fmla="*/ 449948 h 548582"/>
              <a:gd name="connsiteX5" fmla="*/ 465642 w 608344"/>
              <a:gd name="connsiteY5" fmla="*/ 474204 h 548582"/>
              <a:gd name="connsiteX6" fmla="*/ 489932 w 608344"/>
              <a:gd name="connsiteY6" fmla="*/ 450043 h 548582"/>
              <a:gd name="connsiteX7" fmla="*/ 545532 w 608344"/>
              <a:gd name="connsiteY7" fmla="*/ 394709 h 548582"/>
              <a:gd name="connsiteX8" fmla="*/ 481962 w 608344"/>
              <a:gd name="connsiteY8" fmla="*/ 296170 h 548582"/>
              <a:gd name="connsiteX9" fmla="*/ 608344 w 608344"/>
              <a:gd name="connsiteY9" fmla="*/ 422376 h 548582"/>
              <a:gd name="connsiteX10" fmla="*/ 481962 w 608344"/>
              <a:gd name="connsiteY10" fmla="*/ 548582 h 548582"/>
              <a:gd name="connsiteX11" fmla="*/ 355579 w 608344"/>
              <a:gd name="connsiteY11" fmla="*/ 422376 h 548582"/>
              <a:gd name="connsiteX12" fmla="*/ 481962 w 608344"/>
              <a:gd name="connsiteY12" fmla="*/ 296170 h 548582"/>
              <a:gd name="connsiteX13" fmla="*/ 255835 w 608344"/>
              <a:gd name="connsiteY13" fmla="*/ 446 h 548582"/>
              <a:gd name="connsiteX14" fmla="*/ 317801 w 608344"/>
              <a:gd name="connsiteY14" fmla="*/ 13616 h 548582"/>
              <a:gd name="connsiteX15" fmla="*/ 348072 w 608344"/>
              <a:gd name="connsiteY15" fmla="*/ 41661 h 548582"/>
              <a:gd name="connsiteX16" fmla="*/ 381190 w 608344"/>
              <a:gd name="connsiteY16" fmla="*/ 146831 h 548582"/>
              <a:gd name="connsiteX17" fmla="*/ 378913 w 608344"/>
              <a:gd name="connsiteY17" fmla="*/ 156211 h 548582"/>
              <a:gd name="connsiteX18" fmla="*/ 387833 w 608344"/>
              <a:gd name="connsiteY18" fmla="*/ 200458 h 548582"/>
              <a:gd name="connsiteX19" fmla="*/ 366387 w 608344"/>
              <a:gd name="connsiteY19" fmla="*/ 237694 h 548582"/>
              <a:gd name="connsiteX20" fmla="*/ 351393 w 608344"/>
              <a:gd name="connsiteY20" fmla="*/ 278720 h 548582"/>
              <a:gd name="connsiteX21" fmla="*/ 351393 w 608344"/>
              <a:gd name="connsiteY21" fmla="*/ 322873 h 548582"/>
              <a:gd name="connsiteX22" fmla="*/ 317611 w 608344"/>
              <a:gd name="connsiteY22" fmla="*/ 422358 h 548582"/>
              <a:gd name="connsiteX23" fmla="*/ 376635 w 608344"/>
              <a:gd name="connsiteY23" fmla="*/ 548088 h 548582"/>
              <a:gd name="connsiteX24" fmla="*/ 26855 w 608344"/>
              <a:gd name="connsiteY24" fmla="*/ 548088 h 548582"/>
              <a:gd name="connsiteX25" fmla="*/ 0 w 608344"/>
              <a:gd name="connsiteY25" fmla="*/ 521274 h 548582"/>
              <a:gd name="connsiteX26" fmla="*/ 0 w 608344"/>
              <a:gd name="connsiteY26" fmla="*/ 473806 h 548582"/>
              <a:gd name="connsiteX27" fmla="*/ 19453 w 608344"/>
              <a:gd name="connsiteY27" fmla="*/ 432969 h 548582"/>
              <a:gd name="connsiteX28" fmla="*/ 173751 w 608344"/>
              <a:gd name="connsiteY28" fmla="*/ 334242 h 548582"/>
              <a:gd name="connsiteX29" fmla="*/ 176408 w 608344"/>
              <a:gd name="connsiteY29" fmla="*/ 329884 h 548582"/>
              <a:gd name="connsiteX30" fmla="*/ 176408 w 608344"/>
              <a:gd name="connsiteY30" fmla="*/ 278720 h 548582"/>
              <a:gd name="connsiteX31" fmla="*/ 161320 w 608344"/>
              <a:gd name="connsiteY31" fmla="*/ 237694 h 548582"/>
              <a:gd name="connsiteX32" fmla="*/ 139969 w 608344"/>
              <a:gd name="connsiteY32" fmla="*/ 200458 h 548582"/>
              <a:gd name="connsiteX33" fmla="*/ 148320 w 608344"/>
              <a:gd name="connsiteY33" fmla="*/ 156211 h 548582"/>
              <a:gd name="connsiteX34" fmla="*/ 146042 w 608344"/>
              <a:gd name="connsiteY34" fmla="*/ 146736 h 548582"/>
              <a:gd name="connsiteX35" fmla="*/ 145758 w 608344"/>
              <a:gd name="connsiteY35" fmla="*/ 95099 h 548582"/>
              <a:gd name="connsiteX36" fmla="*/ 176029 w 608344"/>
              <a:gd name="connsiteY36" fmla="*/ 42135 h 548582"/>
              <a:gd name="connsiteX37" fmla="*/ 203928 w 608344"/>
              <a:gd name="connsiteY37" fmla="*/ 19017 h 548582"/>
              <a:gd name="connsiteX38" fmla="*/ 231162 w 608344"/>
              <a:gd name="connsiteY38" fmla="*/ 5089 h 548582"/>
              <a:gd name="connsiteX39" fmla="*/ 255835 w 608344"/>
              <a:gd name="connsiteY39" fmla="*/ 446 h 548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608344" h="548582">
                <a:moveTo>
                  <a:pt x="521432" y="370453"/>
                </a:moveTo>
                <a:lnTo>
                  <a:pt x="465737" y="425787"/>
                </a:lnTo>
                <a:lnTo>
                  <a:pt x="442491" y="402479"/>
                </a:lnTo>
                <a:lnTo>
                  <a:pt x="418201" y="426545"/>
                </a:lnTo>
                <a:lnTo>
                  <a:pt x="441447" y="449948"/>
                </a:lnTo>
                <a:lnTo>
                  <a:pt x="465642" y="474204"/>
                </a:lnTo>
                <a:lnTo>
                  <a:pt x="489932" y="450043"/>
                </a:lnTo>
                <a:lnTo>
                  <a:pt x="545532" y="394709"/>
                </a:lnTo>
                <a:close/>
                <a:moveTo>
                  <a:pt x="481962" y="296170"/>
                </a:moveTo>
                <a:cubicBezTo>
                  <a:pt x="551795" y="296170"/>
                  <a:pt x="608344" y="352641"/>
                  <a:pt x="608344" y="422376"/>
                </a:cubicBezTo>
                <a:cubicBezTo>
                  <a:pt x="608344" y="492111"/>
                  <a:pt x="551795" y="548582"/>
                  <a:pt x="481962" y="548582"/>
                </a:cubicBezTo>
                <a:cubicBezTo>
                  <a:pt x="412129" y="548582"/>
                  <a:pt x="355579" y="492111"/>
                  <a:pt x="355579" y="422376"/>
                </a:cubicBezTo>
                <a:cubicBezTo>
                  <a:pt x="355579" y="352641"/>
                  <a:pt x="412129" y="296170"/>
                  <a:pt x="481962" y="296170"/>
                </a:cubicBezTo>
                <a:close/>
                <a:moveTo>
                  <a:pt x="255835" y="446"/>
                </a:moveTo>
                <a:cubicBezTo>
                  <a:pt x="282785" y="-1828"/>
                  <a:pt x="303187" y="4899"/>
                  <a:pt x="317801" y="13616"/>
                </a:cubicBezTo>
                <a:cubicBezTo>
                  <a:pt x="339721" y="25744"/>
                  <a:pt x="348072" y="41661"/>
                  <a:pt x="348072" y="41661"/>
                </a:cubicBezTo>
                <a:cubicBezTo>
                  <a:pt x="348072" y="41661"/>
                  <a:pt x="398176" y="45167"/>
                  <a:pt x="381190" y="146831"/>
                </a:cubicBezTo>
                <a:cubicBezTo>
                  <a:pt x="380621" y="149863"/>
                  <a:pt x="379862" y="153085"/>
                  <a:pt x="378913" y="156211"/>
                </a:cubicBezTo>
                <a:cubicBezTo>
                  <a:pt x="388592" y="156211"/>
                  <a:pt x="398271" y="163507"/>
                  <a:pt x="387833" y="200458"/>
                </a:cubicBezTo>
                <a:cubicBezTo>
                  <a:pt x="379672" y="229262"/>
                  <a:pt x="372080" y="237221"/>
                  <a:pt x="366387" y="237694"/>
                </a:cubicBezTo>
                <a:cubicBezTo>
                  <a:pt x="364394" y="250675"/>
                  <a:pt x="359175" y="265076"/>
                  <a:pt x="351393" y="278720"/>
                </a:cubicBezTo>
                <a:lnTo>
                  <a:pt x="351393" y="322873"/>
                </a:lnTo>
                <a:cubicBezTo>
                  <a:pt x="330232" y="350539"/>
                  <a:pt x="317611" y="385027"/>
                  <a:pt x="317611" y="422358"/>
                </a:cubicBezTo>
                <a:cubicBezTo>
                  <a:pt x="317611" y="472764"/>
                  <a:pt x="340480" y="518053"/>
                  <a:pt x="376635" y="548088"/>
                </a:cubicBezTo>
                <a:lnTo>
                  <a:pt x="26855" y="548088"/>
                </a:lnTo>
                <a:cubicBezTo>
                  <a:pt x="12052" y="548088"/>
                  <a:pt x="0" y="536055"/>
                  <a:pt x="0" y="521274"/>
                </a:cubicBezTo>
                <a:lnTo>
                  <a:pt x="0" y="473806"/>
                </a:lnTo>
                <a:cubicBezTo>
                  <a:pt x="0" y="457983"/>
                  <a:pt x="7212" y="443013"/>
                  <a:pt x="19453" y="432969"/>
                </a:cubicBezTo>
                <a:cubicBezTo>
                  <a:pt x="86638" y="377921"/>
                  <a:pt x="159043" y="341443"/>
                  <a:pt x="173751" y="334242"/>
                </a:cubicBezTo>
                <a:cubicBezTo>
                  <a:pt x="175365" y="333484"/>
                  <a:pt x="176408" y="331779"/>
                  <a:pt x="176408" y="329884"/>
                </a:cubicBezTo>
                <a:lnTo>
                  <a:pt x="176408" y="278720"/>
                </a:lnTo>
                <a:cubicBezTo>
                  <a:pt x="168437" y="265076"/>
                  <a:pt x="163313" y="250675"/>
                  <a:pt x="161320" y="237694"/>
                </a:cubicBezTo>
                <a:cubicBezTo>
                  <a:pt x="155627" y="237221"/>
                  <a:pt x="148035" y="229072"/>
                  <a:pt x="139969" y="200458"/>
                </a:cubicBezTo>
                <a:cubicBezTo>
                  <a:pt x="129531" y="164170"/>
                  <a:pt x="138925" y="156496"/>
                  <a:pt x="148320" y="156211"/>
                </a:cubicBezTo>
                <a:cubicBezTo>
                  <a:pt x="147371" y="153085"/>
                  <a:pt x="146612" y="149863"/>
                  <a:pt x="146042" y="146736"/>
                </a:cubicBezTo>
                <a:cubicBezTo>
                  <a:pt x="142436" y="128450"/>
                  <a:pt x="141487" y="111396"/>
                  <a:pt x="145758" y="95099"/>
                </a:cubicBezTo>
                <a:cubicBezTo>
                  <a:pt x="150787" y="73212"/>
                  <a:pt x="162744" y="55684"/>
                  <a:pt x="176029" y="42135"/>
                </a:cubicBezTo>
                <a:cubicBezTo>
                  <a:pt x="184379" y="33134"/>
                  <a:pt x="193869" y="25459"/>
                  <a:pt x="203928" y="19017"/>
                </a:cubicBezTo>
                <a:cubicBezTo>
                  <a:pt x="212183" y="13332"/>
                  <a:pt x="221293" y="8405"/>
                  <a:pt x="231162" y="5089"/>
                </a:cubicBezTo>
                <a:cubicBezTo>
                  <a:pt x="238849" y="2625"/>
                  <a:pt x="247105" y="825"/>
                  <a:pt x="255835" y="446"/>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bg1"/>
              </a:solidFill>
            </a:endParaRPr>
          </a:p>
        </p:txBody>
      </p:sp>
      <p:sp>
        <p:nvSpPr>
          <p:cNvPr id="5" name="文本框 4">
            <a:extLst>
              <a:ext uri="{FF2B5EF4-FFF2-40B4-BE49-F238E27FC236}">
                <a16:creationId xmlns:a16="http://schemas.microsoft.com/office/drawing/2014/main" id="{BB32B468-797F-4DB7-905B-3A69C8DB549D}"/>
              </a:ext>
            </a:extLst>
          </p:cNvPr>
          <p:cNvSpPr txBox="1"/>
          <p:nvPr/>
        </p:nvSpPr>
        <p:spPr>
          <a:xfrm>
            <a:off x="2468436" y="1974516"/>
            <a:ext cx="636060" cy="492443"/>
          </a:xfrm>
          <a:prstGeom prst="rect">
            <a:avLst/>
          </a:prstGeom>
          <a:noFill/>
        </p:spPr>
        <p:txBody>
          <a:bodyPr wrap="square" lIns="0" tIns="0" rIns="0" bIns="0" rtlCol="0" anchor="t">
            <a:spAutoFit/>
          </a:bodyPr>
          <a:lstStyle/>
          <a:p>
            <a:pPr algn="ctr"/>
            <a:r>
              <a:rPr lang="zh-CN" altLang="en-US" sz="1600" dirty="0">
                <a:solidFill>
                  <a:schemeClr val="bg1"/>
                </a:solidFill>
              </a:rPr>
              <a:t>关键词</a:t>
            </a:r>
            <a:endParaRPr lang="en-US" altLang="zh-CN" sz="1600" dirty="0">
              <a:solidFill>
                <a:schemeClr val="bg1"/>
              </a:solidFill>
            </a:endParaRPr>
          </a:p>
          <a:p>
            <a:pPr algn="ctr"/>
            <a:r>
              <a:rPr lang="zh-CN" altLang="en-US" sz="1600" dirty="0">
                <a:solidFill>
                  <a:schemeClr val="bg1"/>
                </a:solidFill>
              </a:rPr>
              <a:t>标题</a:t>
            </a:r>
          </a:p>
        </p:txBody>
      </p:sp>
      <p:sp>
        <p:nvSpPr>
          <p:cNvPr id="93" name="文本框 92">
            <a:extLst>
              <a:ext uri="{FF2B5EF4-FFF2-40B4-BE49-F238E27FC236}">
                <a16:creationId xmlns:a16="http://schemas.microsoft.com/office/drawing/2014/main" id="{545BBAB5-F007-42D3-8264-8FC5127C8213}"/>
              </a:ext>
            </a:extLst>
          </p:cNvPr>
          <p:cNvSpPr txBox="1"/>
          <p:nvPr/>
        </p:nvSpPr>
        <p:spPr>
          <a:xfrm>
            <a:off x="3926558" y="1974516"/>
            <a:ext cx="636060" cy="492443"/>
          </a:xfrm>
          <a:prstGeom prst="rect">
            <a:avLst/>
          </a:prstGeom>
          <a:noFill/>
        </p:spPr>
        <p:txBody>
          <a:bodyPr wrap="square" lIns="0" tIns="0" rIns="0" bIns="0" rtlCol="0" anchor="t">
            <a:spAutoFit/>
          </a:bodyPr>
          <a:lstStyle/>
          <a:p>
            <a:pPr algn="ctr"/>
            <a:r>
              <a:rPr lang="zh-CN" altLang="en-US" sz="1600" dirty="0">
                <a:solidFill>
                  <a:schemeClr val="bg1"/>
                </a:solidFill>
              </a:rPr>
              <a:t>关键词</a:t>
            </a:r>
            <a:endParaRPr lang="en-US" altLang="zh-CN" sz="1600" dirty="0">
              <a:solidFill>
                <a:schemeClr val="bg1"/>
              </a:solidFill>
            </a:endParaRPr>
          </a:p>
          <a:p>
            <a:pPr algn="ctr"/>
            <a:r>
              <a:rPr lang="zh-CN" altLang="en-US" sz="1600" dirty="0">
                <a:solidFill>
                  <a:schemeClr val="bg1"/>
                </a:solidFill>
              </a:rPr>
              <a:t>标题</a:t>
            </a:r>
          </a:p>
        </p:txBody>
      </p:sp>
      <p:sp>
        <p:nvSpPr>
          <p:cNvPr id="94" name="文本框 93">
            <a:extLst>
              <a:ext uri="{FF2B5EF4-FFF2-40B4-BE49-F238E27FC236}">
                <a16:creationId xmlns:a16="http://schemas.microsoft.com/office/drawing/2014/main" id="{3A469CF6-8BE8-442E-8DFB-728D5FC501BF}"/>
              </a:ext>
            </a:extLst>
          </p:cNvPr>
          <p:cNvSpPr txBox="1"/>
          <p:nvPr/>
        </p:nvSpPr>
        <p:spPr>
          <a:xfrm>
            <a:off x="1739375" y="3275160"/>
            <a:ext cx="636060" cy="492443"/>
          </a:xfrm>
          <a:prstGeom prst="rect">
            <a:avLst/>
          </a:prstGeom>
          <a:noFill/>
        </p:spPr>
        <p:txBody>
          <a:bodyPr wrap="square" lIns="0" tIns="0" rIns="0" bIns="0" rtlCol="0" anchor="t">
            <a:spAutoFit/>
          </a:bodyPr>
          <a:lstStyle/>
          <a:p>
            <a:pPr algn="ctr"/>
            <a:r>
              <a:rPr lang="zh-CN" altLang="en-US" sz="1600" dirty="0">
                <a:solidFill>
                  <a:schemeClr val="bg1"/>
                </a:solidFill>
              </a:rPr>
              <a:t>关键词</a:t>
            </a:r>
            <a:endParaRPr lang="en-US" altLang="zh-CN" sz="1600" dirty="0">
              <a:solidFill>
                <a:schemeClr val="bg1"/>
              </a:solidFill>
            </a:endParaRPr>
          </a:p>
          <a:p>
            <a:pPr algn="ctr"/>
            <a:r>
              <a:rPr lang="zh-CN" altLang="en-US" sz="1600" dirty="0">
                <a:solidFill>
                  <a:schemeClr val="bg1"/>
                </a:solidFill>
              </a:rPr>
              <a:t>标题</a:t>
            </a:r>
          </a:p>
        </p:txBody>
      </p:sp>
      <p:sp>
        <p:nvSpPr>
          <p:cNvPr id="95" name="文本框 94">
            <a:extLst>
              <a:ext uri="{FF2B5EF4-FFF2-40B4-BE49-F238E27FC236}">
                <a16:creationId xmlns:a16="http://schemas.microsoft.com/office/drawing/2014/main" id="{BEF4D94D-1B5B-4ACC-B342-1C226515C815}"/>
              </a:ext>
            </a:extLst>
          </p:cNvPr>
          <p:cNvSpPr txBox="1"/>
          <p:nvPr/>
        </p:nvSpPr>
        <p:spPr>
          <a:xfrm>
            <a:off x="2468435" y="4575805"/>
            <a:ext cx="636060" cy="492443"/>
          </a:xfrm>
          <a:prstGeom prst="rect">
            <a:avLst/>
          </a:prstGeom>
          <a:noFill/>
        </p:spPr>
        <p:txBody>
          <a:bodyPr wrap="square" lIns="0" tIns="0" rIns="0" bIns="0" rtlCol="0" anchor="t">
            <a:spAutoFit/>
          </a:bodyPr>
          <a:lstStyle/>
          <a:p>
            <a:pPr algn="ctr"/>
            <a:r>
              <a:rPr lang="zh-CN" altLang="en-US" sz="1600" dirty="0">
                <a:solidFill>
                  <a:schemeClr val="bg1"/>
                </a:solidFill>
              </a:rPr>
              <a:t>关键词</a:t>
            </a:r>
            <a:endParaRPr lang="en-US" altLang="zh-CN" sz="1600" dirty="0">
              <a:solidFill>
                <a:schemeClr val="bg1"/>
              </a:solidFill>
            </a:endParaRPr>
          </a:p>
          <a:p>
            <a:pPr algn="ctr"/>
            <a:r>
              <a:rPr lang="zh-CN" altLang="en-US" sz="1600" dirty="0">
                <a:solidFill>
                  <a:schemeClr val="bg1"/>
                </a:solidFill>
              </a:rPr>
              <a:t>标题</a:t>
            </a:r>
          </a:p>
        </p:txBody>
      </p:sp>
      <p:sp>
        <p:nvSpPr>
          <p:cNvPr id="96" name="文本框 95">
            <a:extLst>
              <a:ext uri="{FF2B5EF4-FFF2-40B4-BE49-F238E27FC236}">
                <a16:creationId xmlns:a16="http://schemas.microsoft.com/office/drawing/2014/main" id="{4557517E-98BD-4441-AFCB-2DFF9CCFAFB6}"/>
              </a:ext>
            </a:extLst>
          </p:cNvPr>
          <p:cNvSpPr txBox="1"/>
          <p:nvPr/>
        </p:nvSpPr>
        <p:spPr>
          <a:xfrm>
            <a:off x="3926557" y="4575805"/>
            <a:ext cx="636060" cy="492443"/>
          </a:xfrm>
          <a:prstGeom prst="rect">
            <a:avLst/>
          </a:prstGeom>
          <a:noFill/>
        </p:spPr>
        <p:txBody>
          <a:bodyPr wrap="square" lIns="0" tIns="0" rIns="0" bIns="0" rtlCol="0" anchor="t">
            <a:spAutoFit/>
          </a:bodyPr>
          <a:lstStyle/>
          <a:p>
            <a:pPr algn="ctr"/>
            <a:r>
              <a:rPr lang="zh-CN" altLang="en-US" sz="1600" dirty="0">
                <a:solidFill>
                  <a:schemeClr val="bg1"/>
                </a:solidFill>
              </a:rPr>
              <a:t>关键词</a:t>
            </a:r>
            <a:endParaRPr lang="en-US" altLang="zh-CN" sz="1600" dirty="0">
              <a:solidFill>
                <a:schemeClr val="bg1"/>
              </a:solidFill>
            </a:endParaRPr>
          </a:p>
          <a:p>
            <a:pPr algn="ctr"/>
            <a:r>
              <a:rPr lang="zh-CN" altLang="en-US" sz="1600" dirty="0">
                <a:solidFill>
                  <a:schemeClr val="bg1"/>
                </a:solidFill>
              </a:rPr>
              <a:t>标题</a:t>
            </a:r>
          </a:p>
        </p:txBody>
      </p:sp>
      <p:cxnSp>
        <p:nvCxnSpPr>
          <p:cNvPr id="9" name="直接箭头连接符 8">
            <a:extLst>
              <a:ext uri="{FF2B5EF4-FFF2-40B4-BE49-F238E27FC236}">
                <a16:creationId xmlns:a16="http://schemas.microsoft.com/office/drawing/2014/main" id="{363C25E6-5C0B-4176-BAF1-B61D7C3AC6AA}"/>
              </a:ext>
            </a:extLst>
          </p:cNvPr>
          <p:cNvCxnSpPr>
            <a:cxnSpLocks/>
          </p:cNvCxnSpPr>
          <p:nvPr/>
        </p:nvCxnSpPr>
        <p:spPr>
          <a:xfrm>
            <a:off x="4352544" y="3481186"/>
            <a:ext cx="2062544" cy="0"/>
          </a:xfrm>
          <a:prstGeom prst="straightConnector1">
            <a:avLst/>
          </a:prstGeom>
          <a:ln w="25400">
            <a:tailEnd type="triangle"/>
          </a:ln>
        </p:spPr>
        <p:style>
          <a:lnRef idx="1">
            <a:schemeClr val="accent1"/>
          </a:lnRef>
          <a:fillRef idx="0">
            <a:schemeClr val="accent1"/>
          </a:fillRef>
          <a:effectRef idx="0">
            <a:schemeClr val="accent1"/>
          </a:effectRef>
          <a:fontRef idx="minor">
            <a:schemeClr val="tx1"/>
          </a:fontRef>
        </p:style>
      </p:cxnSp>
      <p:sp>
        <p:nvSpPr>
          <p:cNvPr id="10" name="矩形: 圆角 9">
            <a:extLst>
              <a:ext uri="{FF2B5EF4-FFF2-40B4-BE49-F238E27FC236}">
                <a16:creationId xmlns:a16="http://schemas.microsoft.com/office/drawing/2014/main" id="{3883D496-741E-4903-B09E-7426376DB5E9}"/>
              </a:ext>
            </a:extLst>
          </p:cNvPr>
          <p:cNvSpPr/>
          <p:nvPr/>
        </p:nvSpPr>
        <p:spPr>
          <a:xfrm>
            <a:off x="6976872" y="1508533"/>
            <a:ext cx="3782660" cy="958426"/>
          </a:xfrm>
          <a:prstGeom prst="roundRect">
            <a:avLst>
              <a:gd name="adj" fmla="val 14171"/>
            </a:avLst>
          </a:prstGeom>
          <a:solidFill>
            <a:schemeClr val="accent1"/>
          </a:solidFill>
          <a:ln>
            <a:noFill/>
          </a:ln>
          <a:effectLst>
            <a:outerShdw blurRad="190500" sx="102000" sy="102000" algn="ctr" rotWithShape="0">
              <a:schemeClr val="accent1">
                <a:lumMod val="90000"/>
                <a:lumOff val="10000"/>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98" name="文本框 97">
            <a:extLst>
              <a:ext uri="{FF2B5EF4-FFF2-40B4-BE49-F238E27FC236}">
                <a16:creationId xmlns:a16="http://schemas.microsoft.com/office/drawing/2014/main" id="{0670B3A2-7BB9-49C2-9B2F-A2EC935683B5}"/>
              </a:ext>
            </a:extLst>
          </p:cNvPr>
          <p:cNvSpPr txBox="1"/>
          <p:nvPr/>
        </p:nvSpPr>
        <p:spPr>
          <a:xfrm>
            <a:off x="7222171" y="1680846"/>
            <a:ext cx="3604325" cy="587340"/>
          </a:xfrm>
          <a:prstGeom prst="rect">
            <a:avLst/>
          </a:prstGeom>
          <a:noFill/>
        </p:spPr>
        <p:txBody>
          <a:bodyPr wrap="square" lIns="0" tIns="0" rIns="0" bIns="0" rtlCol="0" anchor="t">
            <a:spAutoFit/>
          </a:bodyPr>
          <a:lstStyle/>
          <a:p>
            <a:pPr>
              <a:lnSpc>
                <a:spcPct val="130000"/>
              </a:lnSpc>
            </a:pPr>
            <a:r>
              <a:rPr lang="en-US" altLang="zh-CN" sz="1000" b="0" dirty="0">
                <a:solidFill>
                  <a:schemeClr val="bg1"/>
                </a:solidFill>
                <a:effectLst/>
                <a:latin typeface="+mn-ea"/>
              </a:rPr>
              <a:t>Lorem ipsum dolor sit amet, consectetur adipisicing elit sed do eiusmod temporLorem ipsum dolor sit amet  consectetur adipisicing elit, sed do eiusmod tempor</a:t>
            </a:r>
            <a:endParaRPr lang="zh-CN" altLang="en-US" sz="1000" b="0" dirty="0">
              <a:solidFill>
                <a:schemeClr val="bg1"/>
              </a:solidFill>
              <a:effectLst/>
              <a:latin typeface="+mn-ea"/>
            </a:endParaRPr>
          </a:p>
        </p:txBody>
      </p:sp>
      <p:sp>
        <p:nvSpPr>
          <p:cNvPr id="100" name="矩形: 圆角 99">
            <a:extLst>
              <a:ext uri="{FF2B5EF4-FFF2-40B4-BE49-F238E27FC236}">
                <a16:creationId xmlns:a16="http://schemas.microsoft.com/office/drawing/2014/main" id="{7985BB3E-A002-41DF-8DB4-B9D7B50EADE8}"/>
              </a:ext>
            </a:extLst>
          </p:cNvPr>
          <p:cNvSpPr/>
          <p:nvPr/>
        </p:nvSpPr>
        <p:spPr>
          <a:xfrm>
            <a:off x="6976872" y="3001973"/>
            <a:ext cx="3782660" cy="958426"/>
          </a:xfrm>
          <a:prstGeom prst="roundRect">
            <a:avLst>
              <a:gd name="adj" fmla="val 14171"/>
            </a:avLst>
          </a:prstGeom>
          <a:solidFill>
            <a:schemeClr val="accent1"/>
          </a:solidFill>
          <a:ln>
            <a:noFill/>
          </a:ln>
          <a:effectLst>
            <a:outerShdw blurRad="190500" sx="102000" sy="102000" algn="ctr" rotWithShape="0">
              <a:schemeClr val="accent1">
                <a:lumMod val="90000"/>
                <a:lumOff val="10000"/>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101" name="文本框 100">
            <a:extLst>
              <a:ext uri="{FF2B5EF4-FFF2-40B4-BE49-F238E27FC236}">
                <a16:creationId xmlns:a16="http://schemas.microsoft.com/office/drawing/2014/main" id="{9DEBB9AF-0BDC-4220-8A4F-9D3553E08D86}"/>
              </a:ext>
            </a:extLst>
          </p:cNvPr>
          <p:cNvSpPr txBox="1"/>
          <p:nvPr/>
        </p:nvSpPr>
        <p:spPr>
          <a:xfrm>
            <a:off x="7222171" y="3174286"/>
            <a:ext cx="3604325" cy="587340"/>
          </a:xfrm>
          <a:prstGeom prst="rect">
            <a:avLst/>
          </a:prstGeom>
          <a:noFill/>
        </p:spPr>
        <p:txBody>
          <a:bodyPr wrap="square" lIns="0" tIns="0" rIns="0" bIns="0" rtlCol="0" anchor="t">
            <a:spAutoFit/>
          </a:bodyPr>
          <a:lstStyle/>
          <a:p>
            <a:pPr>
              <a:lnSpc>
                <a:spcPct val="130000"/>
              </a:lnSpc>
            </a:pPr>
            <a:r>
              <a:rPr lang="en-US" altLang="zh-CN" sz="1000" b="0" dirty="0">
                <a:solidFill>
                  <a:schemeClr val="bg1"/>
                </a:solidFill>
                <a:effectLst/>
                <a:latin typeface="+mn-ea"/>
              </a:rPr>
              <a:t>Lorem ipsum dolor sit amet, consectetur adipisicing elit sed do eiusmod temporLorem ipsum dolor sit amet  consectetur adipisicing elit, sed do eiusmod tempor</a:t>
            </a:r>
            <a:endParaRPr lang="zh-CN" altLang="en-US" sz="1000" b="0" dirty="0">
              <a:solidFill>
                <a:schemeClr val="bg1"/>
              </a:solidFill>
              <a:effectLst/>
              <a:latin typeface="+mn-ea"/>
            </a:endParaRPr>
          </a:p>
        </p:txBody>
      </p:sp>
      <p:sp>
        <p:nvSpPr>
          <p:cNvPr id="103" name="矩形: 圆角 102">
            <a:extLst>
              <a:ext uri="{FF2B5EF4-FFF2-40B4-BE49-F238E27FC236}">
                <a16:creationId xmlns:a16="http://schemas.microsoft.com/office/drawing/2014/main" id="{D22286AE-D977-4911-9D82-DEB2A7DD6C7C}"/>
              </a:ext>
            </a:extLst>
          </p:cNvPr>
          <p:cNvSpPr/>
          <p:nvPr/>
        </p:nvSpPr>
        <p:spPr>
          <a:xfrm>
            <a:off x="6976872" y="4592211"/>
            <a:ext cx="3782660" cy="958426"/>
          </a:xfrm>
          <a:prstGeom prst="roundRect">
            <a:avLst>
              <a:gd name="adj" fmla="val 14171"/>
            </a:avLst>
          </a:prstGeom>
          <a:solidFill>
            <a:schemeClr val="accent1"/>
          </a:solidFill>
          <a:ln>
            <a:noFill/>
          </a:ln>
          <a:effectLst>
            <a:outerShdw blurRad="190500" sx="102000" sy="102000" algn="ctr" rotWithShape="0">
              <a:schemeClr val="accent1">
                <a:lumMod val="90000"/>
                <a:lumOff val="10000"/>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104" name="文本框 103">
            <a:extLst>
              <a:ext uri="{FF2B5EF4-FFF2-40B4-BE49-F238E27FC236}">
                <a16:creationId xmlns:a16="http://schemas.microsoft.com/office/drawing/2014/main" id="{0CEFEE93-7853-4F88-90A9-68E8C3E8A905}"/>
              </a:ext>
            </a:extLst>
          </p:cNvPr>
          <p:cNvSpPr txBox="1"/>
          <p:nvPr/>
        </p:nvSpPr>
        <p:spPr>
          <a:xfrm>
            <a:off x="7222171" y="4764524"/>
            <a:ext cx="3604325" cy="587340"/>
          </a:xfrm>
          <a:prstGeom prst="rect">
            <a:avLst/>
          </a:prstGeom>
          <a:noFill/>
        </p:spPr>
        <p:txBody>
          <a:bodyPr wrap="square" lIns="0" tIns="0" rIns="0" bIns="0" rtlCol="0" anchor="t">
            <a:spAutoFit/>
          </a:bodyPr>
          <a:lstStyle/>
          <a:p>
            <a:pPr>
              <a:lnSpc>
                <a:spcPct val="130000"/>
              </a:lnSpc>
            </a:pPr>
            <a:r>
              <a:rPr lang="en-US" altLang="zh-CN" sz="1000" b="0" dirty="0">
                <a:solidFill>
                  <a:schemeClr val="bg1"/>
                </a:solidFill>
                <a:effectLst/>
                <a:latin typeface="+mn-ea"/>
              </a:rPr>
              <a:t>Lorem ipsum dolor sit amet, consectetur adipisicing elit sed do eiusmod temporLorem ipsum dolor sit amet  consectetur adipisicing elit, sed do eiusmod tempor</a:t>
            </a:r>
            <a:endParaRPr lang="zh-CN" altLang="en-US" sz="1000" b="0" dirty="0">
              <a:solidFill>
                <a:schemeClr val="bg1"/>
              </a:solidFill>
              <a:effectLst/>
              <a:latin typeface="+mn-ea"/>
            </a:endParaRPr>
          </a:p>
        </p:txBody>
      </p:sp>
      <p:sp>
        <p:nvSpPr>
          <p:cNvPr id="16" name="左大括号 15">
            <a:extLst>
              <a:ext uri="{FF2B5EF4-FFF2-40B4-BE49-F238E27FC236}">
                <a16:creationId xmlns:a16="http://schemas.microsoft.com/office/drawing/2014/main" id="{DF6265DC-F414-4C37-9E05-356ADDF44ACC}"/>
              </a:ext>
            </a:extLst>
          </p:cNvPr>
          <p:cNvSpPr/>
          <p:nvPr/>
        </p:nvSpPr>
        <p:spPr>
          <a:xfrm>
            <a:off x="6548426" y="1737942"/>
            <a:ext cx="174048" cy="3486487"/>
          </a:xfrm>
          <a:prstGeom prst="leftBrace">
            <a:avLst>
              <a:gd name="adj1" fmla="val 136027"/>
              <a:gd name="adj2" fmla="val 50000"/>
            </a:avLst>
          </a:prstGeom>
          <a:ln w="19050"/>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sp>
        <p:nvSpPr>
          <p:cNvPr id="18" name="椭圆 17">
            <a:extLst>
              <a:ext uri="{FF2B5EF4-FFF2-40B4-BE49-F238E27FC236}">
                <a16:creationId xmlns:a16="http://schemas.microsoft.com/office/drawing/2014/main" id="{A576B838-3640-42E0-B2C1-89DCF59FD44E}"/>
              </a:ext>
            </a:extLst>
          </p:cNvPr>
          <p:cNvSpPr/>
          <p:nvPr/>
        </p:nvSpPr>
        <p:spPr>
          <a:xfrm>
            <a:off x="6462713" y="3429000"/>
            <a:ext cx="109526" cy="109526"/>
          </a:xfrm>
          <a:prstGeom prst="ellipse">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Tree>
    <p:extLst>
      <p:ext uri="{BB962C8B-B14F-4D97-AF65-F5344CB8AC3E}">
        <p14:creationId xmlns:p14="http://schemas.microsoft.com/office/powerpoint/2010/main" val="2357224362"/>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2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任意多边形: 形状 6">
            <a:extLst>
              <a:ext uri="{FF2B5EF4-FFF2-40B4-BE49-F238E27FC236}">
                <a16:creationId xmlns:a16="http://schemas.microsoft.com/office/drawing/2014/main" id="{B6AD50FC-A3F9-47D3-B41E-71EA79BA3C94}"/>
              </a:ext>
            </a:extLst>
          </p:cNvPr>
          <p:cNvSpPr/>
          <p:nvPr/>
        </p:nvSpPr>
        <p:spPr>
          <a:xfrm>
            <a:off x="2059131" y="3328669"/>
            <a:ext cx="1019175" cy="1889125"/>
          </a:xfrm>
          <a:custGeom>
            <a:avLst/>
            <a:gdLst>
              <a:gd name="connsiteX0" fmla="*/ 0 w 1000125"/>
              <a:gd name="connsiteY0" fmla="*/ 361950 h 1885950"/>
              <a:gd name="connsiteX1" fmla="*/ 0 w 1000125"/>
              <a:gd name="connsiteY1" fmla="*/ 361950 h 1885950"/>
              <a:gd name="connsiteX2" fmla="*/ 0 w 1000125"/>
              <a:gd name="connsiteY2" fmla="*/ 466725 h 1885950"/>
              <a:gd name="connsiteX3" fmla="*/ 0 w 1000125"/>
              <a:gd name="connsiteY3" fmla="*/ 1885950 h 1885950"/>
              <a:gd name="connsiteX4" fmla="*/ 1000125 w 1000125"/>
              <a:gd name="connsiteY4" fmla="*/ 0 h 1885950"/>
              <a:gd name="connsiteX5" fmla="*/ 0 w 1000125"/>
              <a:gd name="connsiteY5" fmla="*/ 361950 h 1885950"/>
              <a:gd name="connsiteX0" fmla="*/ 0 w 1006475"/>
              <a:gd name="connsiteY0" fmla="*/ 365125 h 1889125"/>
              <a:gd name="connsiteX1" fmla="*/ 0 w 1006475"/>
              <a:gd name="connsiteY1" fmla="*/ 365125 h 1889125"/>
              <a:gd name="connsiteX2" fmla="*/ 0 w 1006475"/>
              <a:gd name="connsiteY2" fmla="*/ 469900 h 1889125"/>
              <a:gd name="connsiteX3" fmla="*/ 0 w 1006475"/>
              <a:gd name="connsiteY3" fmla="*/ 1889125 h 1889125"/>
              <a:gd name="connsiteX4" fmla="*/ 1006475 w 1006475"/>
              <a:gd name="connsiteY4" fmla="*/ 0 h 1889125"/>
              <a:gd name="connsiteX5" fmla="*/ 0 w 1006475"/>
              <a:gd name="connsiteY5" fmla="*/ 365125 h 1889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6475" h="1889125">
                <a:moveTo>
                  <a:pt x="0" y="365125"/>
                </a:moveTo>
                <a:lnTo>
                  <a:pt x="0" y="365125"/>
                </a:lnTo>
                <a:lnTo>
                  <a:pt x="0" y="469900"/>
                </a:lnTo>
                <a:lnTo>
                  <a:pt x="0" y="1889125"/>
                </a:lnTo>
                <a:lnTo>
                  <a:pt x="1006475" y="0"/>
                </a:lnTo>
                <a:lnTo>
                  <a:pt x="0" y="365125"/>
                </a:lnTo>
                <a:close/>
              </a:path>
            </a:pathLst>
          </a:custGeom>
          <a:gradFill>
            <a:gsLst>
              <a:gs pos="100000">
                <a:schemeClr val="accent1">
                  <a:lumMod val="10000"/>
                  <a:lumOff val="90000"/>
                </a:schemeClr>
              </a:gs>
              <a:gs pos="0">
                <a:schemeClr val="accent1">
                  <a:lumMod val="25000"/>
                  <a:lumOff val="75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28" name="菱形 27">
            <a:extLst>
              <a:ext uri="{FF2B5EF4-FFF2-40B4-BE49-F238E27FC236}">
                <a16:creationId xmlns:a16="http://schemas.microsoft.com/office/drawing/2014/main" id="{BBFCBB12-B42A-42AF-BDA9-CF6258ACB6AD}"/>
              </a:ext>
            </a:extLst>
          </p:cNvPr>
          <p:cNvSpPr/>
          <p:nvPr/>
        </p:nvSpPr>
        <p:spPr>
          <a:xfrm>
            <a:off x="1062181" y="2977770"/>
            <a:ext cx="2000250" cy="715474"/>
          </a:xfrm>
          <a:prstGeom prst="diamond">
            <a:avLst/>
          </a:prstGeom>
          <a:solidFill>
            <a:schemeClr val="accent1">
              <a:lumMod val="75000"/>
              <a:lumOff val="25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27" name="菱形 26">
            <a:extLst>
              <a:ext uri="{FF2B5EF4-FFF2-40B4-BE49-F238E27FC236}">
                <a16:creationId xmlns:a16="http://schemas.microsoft.com/office/drawing/2014/main" id="{E49ACFB0-ED08-4F47-B647-95682F309F22}"/>
              </a:ext>
            </a:extLst>
          </p:cNvPr>
          <p:cNvSpPr/>
          <p:nvPr/>
        </p:nvSpPr>
        <p:spPr>
          <a:xfrm>
            <a:off x="1173306" y="2937550"/>
            <a:ext cx="1778000" cy="635976"/>
          </a:xfrm>
          <a:prstGeom prst="diamond">
            <a:avLst/>
          </a:prstGeom>
          <a:solidFill>
            <a:schemeClr val="accent1">
              <a:lumMod val="10000"/>
              <a:lumOff val="9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3" name="菱形 2">
            <a:extLst>
              <a:ext uri="{FF2B5EF4-FFF2-40B4-BE49-F238E27FC236}">
                <a16:creationId xmlns:a16="http://schemas.microsoft.com/office/drawing/2014/main" id="{EED94DBB-9B64-4AB0-A676-D13CCB3551E5}"/>
              </a:ext>
            </a:extLst>
          </p:cNvPr>
          <p:cNvSpPr/>
          <p:nvPr/>
        </p:nvSpPr>
        <p:spPr>
          <a:xfrm>
            <a:off x="1357456" y="2846655"/>
            <a:ext cx="1409700" cy="504239"/>
          </a:xfrm>
          <a:prstGeom prst="diamond">
            <a:avLst/>
          </a:prstGeom>
          <a:solidFill>
            <a:schemeClr val="accent1">
              <a:lumMod val="10000"/>
              <a:lumOff val="9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6" name="梯形 5">
            <a:extLst>
              <a:ext uri="{FF2B5EF4-FFF2-40B4-BE49-F238E27FC236}">
                <a16:creationId xmlns:a16="http://schemas.microsoft.com/office/drawing/2014/main" id="{219A8094-7F27-4D30-9E51-BFAC8FC5024E}"/>
              </a:ext>
            </a:extLst>
          </p:cNvPr>
          <p:cNvSpPr/>
          <p:nvPr/>
        </p:nvSpPr>
        <p:spPr>
          <a:xfrm rot="10800000">
            <a:off x="1081231" y="2027493"/>
            <a:ext cx="1969294" cy="1323401"/>
          </a:xfrm>
          <a:custGeom>
            <a:avLst/>
            <a:gdLst>
              <a:gd name="connsiteX0" fmla="*/ 0 w 1969294"/>
              <a:gd name="connsiteY0" fmla="*/ 1064133 h 1064133"/>
              <a:gd name="connsiteX1" fmla="*/ 266033 w 1969294"/>
              <a:gd name="connsiteY1" fmla="*/ 0 h 1064133"/>
              <a:gd name="connsiteX2" fmla="*/ 1703261 w 1969294"/>
              <a:gd name="connsiteY2" fmla="*/ 0 h 1064133"/>
              <a:gd name="connsiteX3" fmla="*/ 1969294 w 1969294"/>
              <a:gd name="connsiteY3" fmla="*/ 1064133 h 1064133"/>
              <a:gd name="connsiteX4" fmla="*/ 0 w 1969294"/>
              <a:gd name="connsiteY4" fmla="*/ 1064133 h 1064133"/>
              <a:gd name="connsiteX0" fmla="*/ 0 w 1969294"/>
              <a:gd name="connsiteY0" fmla="*/ 1064133 h 1064133"/>
              <a:gd name="connsiteX1" fmla="*/ 266033 w 1969294"/>
              <a:gd name="connsiteY1" fmla="*/ 0 h 1064133"/>
              <a:gd name="connsiteX2" fmla="*/ 981075 w 1969294"/>
              <a:gd name="connsiteY2" fmla="*/ 2670 h 1064133"/>
              <a:gd name="connsiteX3" fmla="*/ 1703261 w 1969294"/>
              <a:gd name="connsiteY3" fmla="*/ 0 h 1064133"/>
              <a:gd name="connsiteX4" fmla="*/ 1969294 w 1969294"/>
              <a:gd name="connsiteY4" fmla="*/ 1064133 h 1064133"/>
              <a:gd name="connsiteX5" fmla="*/ 0 w 1969294"/>
              <a:gd name="connsiteY5" fmla="*/ 1064133 h 1064133"/>
              <a:gd name="connsiteX0" fmla="*/ 0 w 1969294"/>
              <a:gd name="connsiteY0" fmla="*/ 1323401 h 1323401"/>
              <a:gd name="connsiteX1" fmla="*/ 266033 w 1969294"/>
              <a:gd name="connsiteY1" fmla="*/ 259268 h 1323401"/>
              <a:gd name="connsiteX2" fmla="*/ 992981 w 1969294"/>
              <a:gd name="connsiteY2" fmla="*/ 0 h 1323401"/>
              <a:gd name="connsiteX3" fmla="*/ 1703261 w 1969294"/>
              <a:gd name="connsiteY3" fmla="*/ 259268 h 1323401"/>
              <a:gd name="connsiteX4" fmla="*/ 1969294 w 1969294"/>
              <a:gd name="connsiteY4" fmla="*/ 1323401 h 1323401"/>
              <a:gd name="connsiteX5" fmla="*/ 0 w 1969294"/>
              <a:gd name="connsiteY5" fmla="*/ 1323401 h 1323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69294" h="1323401">
                <a:moveTo>
                  <a:pt x="0" y="1323401"/>
                </a:moveTo>
                <a:lnTo>
                  <a:pt x="266033" y="259268"/>
                </a:lnTo>
                <a:lnTo>
                  <a:pt x="992981" y="0"/>
                </a:lnTo>
                <a:lnTo>
                  <a:pt x="1703261" y="259268"/>
                </a:lnTo>
                <a:lnTo>
                  <a:pt x="1969294" y="1323401"/>
                </a:lnTo>
                <a:lnTo>
                  <a:pt x="0" y="1323401"/>
                </a:lnTo>
                <a:close/>
              </a:path>
            </a:pathLst>
          </a:custGeom>
          <a:gradFill>
            <a:gsLst>
              <a:gs pos="100000">
                <a:schemeClr val="accent1">
                  <a:alpha val="0"/>
                </a:schemeClr>
              </a:gs>
              <a:gs pos="0">
                <a:schemeClr val="accent1">
                  <a:alpha val="38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30" name="任意多边形: 形状 29">
            <a:extLst>
              <a:ext uri="{FF2B5EF4-FFF2-40B4-BE49-F238E27FC236}">
                <a16:creationId xmlns:a16="http://schemas.microsoft.com/office/drawing/2014/main" id="{4EF9D626-485E-42B6-A1F4-EF3E36B7D733}"/>
              </a:ext>
            </a:extLst>
          </p:cNvPr>
          <p:cNvSpPr/>
          <p:nvPr/>
        </p:nvSpPr>
        <p:spPr>
          <a:xfrm flipH="1">
            <a:off x="1048687" y="3335813"/>
            <a:ext cx="1010444" cy="1881982"/>
          </a:xfrm>
          <a:custGeom>
            <a:avLst/>
            <a:gdLst>
              <a:gd name="connsiteX0" fmla="*/ 0 w 1000125"/>
              <a:gd name="connsiteY0" fmla="*/ 361950 h 1885950"/>
              <a:gd name="connsiteX1" fmla="*/ 0 w 1000125"/>
              <a:gd name="connsiteY1" fmla="*/ 361950 h 1885950"/>
              <a:gd name="connsiteX2" fmla="*/ 0 w 1000125"/>
              <a:gd name="connsiteY2" fmla="*/ 466725 h 1885950"/>
              <a:gd name="connsiteX3" fmla="*/ 0 w 1000125"/>
              <a:gd name="connsiteY3" fmla="*/ 1885950 h 1885950"/>
              <a:gd name="connsiteX4" fmla="*/ 1000125 w 1000125"/>
              <a:gd name="connsiteY4" fmla="*/ 0 h 1885950"/>
              <a:gd name="connsiteX5" fmla="*/ 0 w 1000125"/>
              <a:gd name="connsiteY5" fmla="*/ 361950 h 1885950"/>
              <a:gd name="connsiteX0" fmla="*/ 0 w 1006475"/>
              <a:gd name="connsiteY0" fmla="*/ 365125 h 1889125"/>
              <a:gd name="connsiteX1" fmla="*/ 0 w 1006475"/>
              <a:gd name="connsiteY1" fmla="*/ 365125 h 1889125"/>
              <a:gd name="connsiteX2" fmla="*/ 0 w 1006475"/>
              <a:gd name="connsiteY2" fmla="*/ 469900 h 1889125"/>
              <a:gd name="connsiteX3" fmla="*/ 0 w 1006475"/>
              <a:gd name="connsiteY3" fmla="*/ 1889125 h 1889125"/>
              <a:gd name="connsiteX4" fmla="*/ 1006475 w 1006475"/>
              <a:gd name="connsiteY4" fmla="*/ 0 h 1889125"/>
              <a:gd name="connsiteX5" fmla="*/ 0 w 1006475"/>
              <a:gd name="connsiteY5" fmla="*/ 365125 h 1889125"/>
              <a:gd name="connsiteX0" fmla="*/ 0 w 1004109"/>
              <a:gd name="connsiteY0" fmla="*/ 355600 h 1879600"/>
              <a:gd name="connsiteX1" fmla="*/ 0 w 1004109"/>
              <a:gd name="connsiteY1" fmla="*/ 355600 h 1879600"/>
              <a:gd name="connsiteX2" fmla="*/ 0 w 1004109"/>
              <a:gd name="connsiteY2" fmla="*/ 460375 h 1879600"/>
              <a:gd name="connsiteX3" fmla="*/ 0 w 1004109"/>
              <a:gd name="connsiteY3" fmla="*/ 1879600 h 1879600"/>
              <a:gd name="connsiteX4" fmla="*/ 1004109 w 1004109"/>
              <a:gd name="connsiteY4" fmla="*/ 0 h 1879600"/>
              <a:gd name="connsiteX5" fmla="*/ 0 w 1004109"/>
              <a:gd name="connsiteY5" fmla="*/ 355600 h 1879600"/>
              <a:gd name="connsiteX0" fmla="*/ 0 w 1004109"/>
              <a:gd name="connsiteY0" fmla="*/ 357982 h 1881982"/>
              <a:gd name="connsiteX1" fmla="*/ 0 w 1004109"/>
              <a:gd name="connsiteY1" fmla="*/ 357982 h 1881982"/>
              <a:gd name="connsiteX2" fmla="*/ 0 w 1004109"/>
              <a:gd name="connsiteY2" fmla="*/ 462757 h 1881982"/>
              <a:gd name="connsiteX3" fmla="*/ 0 w 1004109"/>
              <a:gd name="connsiteY3" fmla="*/ 1881982 h 1881982"/>
              <a:gd name="connsiteX4" fmla="*/ 1004109 w 1004109"/>
              <a:gd name="connsiteY4" fmla="*/ 0 h 1881982"/>
              <a:gd name="connsiteX5" fmla="*/ 0 w 1004109"/>
              <a:gd name="connsiteY5" fmla="*/ 357982 h 1881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4109" h="1881982">
                <a:moveTo>
                  <a:pt x="0" y="357982"/>
                </a:moveTo>
                <a:lnTo>
                  <a:pt x="0" y="357982"/>
                </a:lnTo>
                <a:lnTo>
                  <a:pt x="0" y="462757"/>
                </a:lnTo>
                <a:lnTo>
                  <a:pt x="0" y="1881982"/>
                </a:lnTo>
                <a:lnTo>
                  <a:pt x="1004109" y="0"/>
                </a:lnTo>
                <a:lnTo>
                  <a:pt x="0" y="357982"/>
                </a:lnTo>
                <a:close/>
              </a:path>
            </a:pathLst>
          </a:custGeom>
          <a:gradFill>
            <a:gsLst>
              <a:gs pos="100000">
                <a:schemeClr val="accent1">
                  <a:lumMod val="25000"/>
                  <a:lumOff val="75000"/>
                </a:schemeClr>
              </a:gs>
              <a:gs pos="0">
                <a:schemeClr val="accent1">
                  <a:lumMod val="50000"/>
                  <a:lumOff val="5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32" name="文本框 31">
            <a:extLst>
              <a:ext uri="{FF2B5EF4-FFF2-40B4-BE49-F238E27FC236}">
                <a16:creationId xmlns:a16="http://schemas.microsoft.com/office/drawing/2014/main" id="{D5660F2F-F963-4A9A-8BD8-8756B49213F5}"/>
              </a:ext>
            </a:extLst>
          </p:cNvPr>
          <p:cNvSpPr txBox="1"/>
          <p:nvPr/>
        </p:nvSpPr>
        <p:spPr>
          <a:xfrm>
            <a:off x="1527269" y="2379757"/>
            <a:ext cx="1077219" cy="430887"/>
          </a:xfrm>
          <a:prstGeom prst="rect">
            <a:avLst/>
          </a:prstGeom>
          <a:noFill/>
        </p:spPr>
        <p:txBody>
          <a:bodyPr wrap="none" lIns="0" tIns="0" rIns="0" bIns="0" rtlCol="0" anchor="t">
            <a:spAutoFit/>
          </a:bodyPr>
          <a:lstStyle/>
          <a:p>
            <a:pPr algn="ctr"/>
            <a:r>
              <a:rPr lang="zh-CN" altLang="en-US" sz="2800" dirty="0">
                <a:solidFill>
                  <a:schemeClr val="accent1"/>
                </a:solidFill>
                <a:latin typeface="+mj-ea"/>
                <a:ea typeface="+mj-ea"/>
              </a:rPr>
              <a:t>关键词</a:t>
            </a:r>
          </a:p>
        </p:txBody>
      </p:sp>
      <p:sp>
        <p:nvSpPr>
          <p:cNvPr id="51" name="任意多边形: 形状 50">
            <a:extLst>
              <a:ext uri="{FF2B5EF4-FFF2-40B4-BE49-F238E27FC236}">
                <a16:creationId xmlns:a16="http://schemas.microsoft.com/office/drawing/2014/main" id="{2F605B44-C428-4684-B472-5AA814D024E2}"/>
              </a:ext>
            </a:extLst>
          </p:cNvPr>
          <p:cNvSpPr/>
          <p:nvPr/>
        </p:nvSpPr>
        <p:spPr>
          <a:xfrm>
            <a:off x="4747467" y="3328669"/>
            <a:ext cx="1019175" cy="1889125"/>
          </a:xfrm>
          <a:custGeom>
            <a:avLst/>
            <a:gdLst>
              <a:gd name="connsiteX0" fmla="*/ 0 w 1000125"/>
              <a:gd name="connsiteY0" fmla="*/ 361950 h 1885950"/>
              <a:gd name="connsiteX1" fmla="*/ 0 w 1000125"/>
              <a:gd name="connsiteY1" fmla="*/ 361950 h 1885950"/>
              <a:gd name="connsiteX2" fmla="*/ 0 w 1000125"/>
              <a:gd name="connsiteY2" fmla="*/ 466725 h 1885950"/>
              <a:gd name="connsiteX3" fmla="*/ 0 w 1000125"/>
              <a:gd name="connsiteY3" fmla="*/ 1885950 h 1885950"/>
              <a:gd name="connsiteX4" fmla="*/ 1000125 w 1000125"/>
              <a:gd name="connsiteY4" fmla="*/ 0 h 1885950"/>
              <a:gd name="connsiteX5" fmla="*/ 0 w 1000125"/>
              <a:gd name="connsiteY5" fmla="*/ 361950 h 1885950"/>
              <a:gd name="connsiteX0" fmla="*/ 0 w 1006475"/>
              <a:gd name="connsiteY0" fmla="*/ 365125 h 1889125"/>
              <a:gd name="connsiteX1" fmla="*/ 0 w 1006475"/>
              <a:gd name="connsiteY1" fmla="*/ 365125 h 1889125"/>
              <a:gd name="connsiteX2" fmla="*/ 0 w 1006475"/>
              <a:gd name="connsiteY2" fmla="*/ 469900 h 1889125"/>
              <a:gd name="connsiteX3" fmla="*/ 0 w 1006475"/>
              <a:gd name="connsiteY3" fmla="*/ 1889125 h 1889125"/>
              <a:gd name="connsiteX4" fmla="*/ 1006475 w 1006475"/>
              <a:gd name="connsiteY4" fmla="*/ 0 h 1889125"/>
              <a:gd name="connsiteX5" fmla="*/ 0 w 1006475"/>
              <a:gd name="connsiteY5" fmla="*/ 365125 h 1889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6475" h="1889125">
                <a:moveTo>
                  <a:pt x="0" y="365125"/>
                </a:moveTo>
                <a:lnTo>
                  <a:pt x="0" y="365125"/>
                </a:lnTo>
                <a:lnTo>
                  <a:pt x="0" y="469900"/>
                </a:lnTo>
                <a:lnTo>
                  <a:pt x="0" y="1889125"/>
                </a:lnTo>
                <a:lnTo>
                  <a:pt x="1006475" y="0"/>
                </a:lnTo>
                <a:lnTo>
                  <a:pt x="0" y="365125"/>
                </a:lnTo>
                <a:close/>
              </a:path>
            </a:pathLst>
          </a:custGeom>
          <a:gradFill>
            <a:gsLst>
              <a:gs pos="100000">
                <a:schemeClr val="accent1">
                  <a:lumMod val="10000"/>
                  <a:lumOff val="90000"/>
                </a:schemeClr>
              </a:gs>
              <a:gs pos="0">
                <a:schemeClr val="accent1">
                  <a:lumMod val="25000"/>
                  <a:lumOff val="75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52" name="菱形 51">
            <a:extLst>
              <a:ext uri="{FF2B5EF4-FFF2-40B4-BE49-F238E27FC236}">
                <a16:creationId xmlns:a16="http://schemas.microsoft.com/office/drawing/2014/main" id="{BA295637-E909-4DC7-A36E-B5A73E4B973B}"/>
              </a:ext>
            </a:extLst>
          </p:cNvPr>
          <p:cNvSpPr/>
          <p:nvPr/>
        </p:nvSpPr>
        <p:spPr>
          <a:xfrm>
            <a:off x="3750517" y="2977770"/>
            <a:ext cx="2000250" cy="715474"/>
          </a:xfrm>
          <a:prstGeom prst="diamond">
            <a:avLst/>
          </a:prstGeom>
          <a:solidFill>
            <a:schemeClr val="accent1">
              <a:lumMod val="75000"/>
              <a:lumOff val="25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53" name="菱形 52">
            <a:extLst>
              <a:ext uri="{FF2B5EF4-FFF2-40B4-BE49-F238E27FC236}">
                <a16:creationId xmlns:a16="http://schemas.microsoft.com/office/drawing/2014/main" id="{103BBAE5-5C72-48AB-96AB-2816CAC3A664}"/>
              </a:ext>
            </a:extLst>
          </p:cNvPr>
          <p:cNvSpPr/>
          <p:nvPr/>
        </p:nvSpPr>
        <p:spPr>
          <a:xfrm>
            <a:off x="3861642" y="2937550"/>
            <a:ext cx="1778000" cy="635976"/>
          </a:xfrm>
          <a:prstGeom prst="diamond">
            <a:avLst/>
          </a:prstGeom>
          <a:solidFill>
            <a:schemeClr val="accent1">
              <a:lumMod val="10000"/>
              <a:lumOff val="9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54" name="菱形 53">
            <a:extLst>
              <a:ext uri="{FF2B5EF4-FFF2-40B4-BE49-F238E27FC236}">
                <a16:creationId xmlns:a16="http://schemas.microsoft.com/office/drawing/2014/main" id="{06DC64A5-050E-4D5B-BDF4-6ECAE2439AEB}"/>
              </a:ext>
            </a:extLst>
          </p:cNvPr>
          <p:cNvSpPr/>
          <p:nvPr/>
        </p:nvSpPr>
        <p:spPr>
          <a:xfrm>
            <a:off x="4045792" y="2846655"/>
            <a:ext cx="1409700" cy="504239"/>
          </a:xfrm>
          <a:prstGeom prst="diamond">
            <a:avLst/>
          </a:prstGeom>
          <a:solidFill>
            <a:schemeClr val="accent1">
              <a:lumMod val="10000"/>
              <a:lumOff val="9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58" name="梯形 5">
            <a:extLst>
              <a:ext uri="{FF2B5EF4-FFF2-40B4-BE49-F238E27FC236}">
                <a16:creationId xmlns:a16="http://schemas.microsoft.com/office/drawing/2014/main" id="{7B06998A-276E-44FB-B07F-D7FCA486AAF8}"/>
              </a:ext>
            </a:extLst>
          </p:cNvPr>
          <p:cNvSpPr/>
          <p:nvPr/>
        </p:nvSpPr>
        <p:spPr>
          <a:xfrm rot="10800000">
            <a:off x="3769567" y="2027493"/>
            <a:ext cx="1969294" cy="1323401"/>
          </a:xfrm>
          <a:custGeom>
            <a:avLst/>
            <a:gdLst>
              <a:gd name="connsiteX0" fmla="*/ 0 w 1969294"/>
              <a:gd name="connsiteY0" fmla="*/ 1064133 h 1064133"/>
              <a:gd name="connsiteX1" fmla="*/ 266033 w 1969294"/>
              <a:gd name="connsiteY1" fmla="*/ 0 h 1064133"/>
              <a:gd name="connsiteX2" fmla="*/ 1703261 w 1969294"/>
              <a:gd name="connsiteY2" fmla="*/ 0 h 1064133"/>
              <a:gd name="connsiteX3" fmla="*/ 1969294 w 1969294"/>
              <a:gd name="connsiteY3" fmla="*/ 1064133 h 1064133"/>
              <a:gd name="connsiteX4" fmla="*/ 0 w 1969294"/>
              <a:gd name="connsiteY4" fmla="*/ 1064133 h 1064133"/>
              <a:gd name="connsiteX0" fmla="*/ 0 w 1969294"/>
              <a:gd name="connsiteY0" fmla="*/ 1064133 h 1064133"/>
              <a:gd name="connsiteX1" fmla="*/ 266033 w 1969294"/>
              <a:gd name="connsiteY1" fmla="*/ 0 h 1064133"/>
              <a:gd name="connsiteX2" fmla="*/ 981075 w 1969294"/>
              <a:gd name="connsiteY2" fmla="*/ 2670 h 1064133"/>
              <a:gd name="connsiteX3" fmla="*/ 1703261 w 1969294"/>
              <a:gd name="connsiteY3" fmla="*/ 0 h 1064133"/>
              <a:gd name="connsiteX4" fmla="*/ 1969294 w 1969294"/>
              <a:gd name="connsiteY4" fmla="*/ 1064133 h 1064133"/>
              <a:gd name="connsiteX5" fmla="*/ 0 w 1969294"/>
              <a:gd name="connsiteY5" fmla="*/ 1064133 h 1064133"/>
              <a:gd name="connsiteX0" fmla="*/ 0 w 1969294"/>
              <a:gd name="connsiteY0" fmla="*/ 1323401 h 1323401"/>
              <a:gd name="connsiteX1" fmla="*/ 266033 w 1969294"/>
              <a:gd name="connsiteY1" fmla="*/ 259268 h 1323401"/>
              <a:gd name="connsiteX2" fmla="*/ 992981 w 1969294"/>
              <a:gd name="connsiteY2" fmla="*/ 0 h 1323401"/>
              <a:gd name="connsiteX3" fmla="*/ 1703261 w 1969294"/>
              <a:gd name="connsiteY3" fmla="*/ 259268 h 1323401"/>
              <a:gd name="connsiteX4" fmla="*/ 1969294 w 1969294"/>
              <a:gd name="connsiteY4" fmla="*/ 1323401 h 1323401"/>
              <a:gd name="connsiteX5" fmla="*/ 0 w 1969294"/>
              <a:gd name="connsiteY5" fmla="*/ 1323401 h 1323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69294" h="1323401">
                <a:moveTo>
                  <a:pt x="0" y="1323401"/>
                </a:moveTo>
                <a:lnTo>
                  <a:pt x="266033" y="259268"/>
                </a:lnTo>
                <a:lnTo>
                  <a:pt x="992981" y="0"/>
                </a:lnTo>
                <a:lnTo>
                  <a:pt x="1703261" y="259268"/>
                </a:lnTo>
                <a:lnTo>
                  <a:pt x="1969294" y="1323401"/>
                </a:lnTo>
                <a:lnTo>
                  <a:pt x="0" y="1323401"/>
                </a:lnTo>
                <a:close/>
              </a:path>
            </a:pathLst>
          </a:custGeom>
          <a:gradFill>
            <a:gsLst>
              <a:gs pos="100000">
                <a:schemeClr val="accent1">
                  <a:alpha val="0"/>
                </a:schemeClr>
              </a:gs>
              <a:gs pos="0">
                <a:schemeClr val="accent1">
                  <a:alpha val="38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59" name="任意多边形: 形状 58">
            <a:extLst>
              <a:ext uri="{FF2B5EF4-FFF2-40B4-BE49-F238E27FC236}">
                <a16:creationId xmlns:a16="http://schemas.microsoft.com/office/drawing/2014/main" id="{3E5FCA09-F619-4691-9AB9-A70B66FC3904}"/>
              </a:ext>
            </a:extLst>
          </p:cNvPr>
          <p:cNvSpPr/>
          <p:nvPr/>
        </p:nvSpPr>
        <p:spPr>
          <a:xfrm flipH="1">
            <a:off x="3737023" y="3335813"/>
            <a:ext cx="1010444" cy="1881982"/>
          </a:xfrm>
          <a:custGeom>
            <a:avLst/>
            <a:gdLst>
              <a:gd name="connsiteX0" fmla="*/ 0 w 1000125"/>
              <a:gd name="connsiteY0" fmla="*/ 361950 h 1885950"/>
              <a:gd name="connsiteX1" fmla="*/ 0 w 1000125"/>
              <a:gd name="connsiteY1" fmla="*/ 361950 h 1885950"/>
              <a:gd name="connsiteX2" fmla="*/ 0 w 1000125"/>
              <a:gd name="connsiteY2" fmla="*/ 466725 h 1885950"/>
              <a:gd name="connsiteX3" fmla="*/ 0 w 1000125"/>
              <a:gd name="connsiteY3" fmla="*/ 1885950 h 1885950"/>
              <a:gd name="connsiteX4" fmla="*/ 1000125 w 1000125"/>
              <a:gd name="connsiteY4" fmla="*/ 0 h 1885950"/>
              <a:gd name="connsiteX5" fmla="*/ 0 w 1000125"/>
              <a:gd name="connsiteY5" fmla="*/ 361950 h 1885950"/>
              <a:gd name="connsiteX0" fmla="*/ 0 w 1006475"/>
              <a:gd name="connsiteY0" fmla="*/ 365125 h 1889125"/>
              <a:gd name="connsiteX1" fmla="*/ 0 w 1006475"/>
              <a:gd name="connsiteY1" fmla="*/ 365125 h 1889125"/>
              <a:gd name="connsiteX2" fmla="*/ 0 w 1006475"/>
              <a:gd name="connsiteY2" fmla="*/ 469900 h 1889125"/>
              <a:gd name="connsiteX3" fmla="*/ 0 w 1006475"/>
              <a:gd name="connsiteY3" fmla="*/ 1889125 h 1889125"/>
              <a:gd name="connsiteX4" fmla="*/ 1006475 w 1006475"/>
              <a:gd name="connsiteY4" fmla="*/ 0 h 1889125"/>
              <a:gd name="connsiteX5" fmla="*/ 0 w 1006475"/>
              <a:gd name="connsiteY5" fmla="*/ 365125 h 1889125"/>
              <a:gd name="connsiteX0" fmla="*/ 0 w 1004109"/>
              <a:gd name="connsiteY0" fmla="*/ 355600 h 1879600"/>
              <a:gd name="connsiteX1" fmla="*/ 0 w 1004109"/>
              <a:gd name="connsiteY1" fmla="*/ 355600 h 1879600"/>
              <a:gd name="connsiteX2" fmla="*/ 0 w 1004109"/>
              <a:gd name="connsiteY2" fmla="*/ 460375 h 1879600"/>
              <a:gd name="connsiteX3" fmla="*/ 0 w 1004109"/>
              <a:gd name="connsiteY3" fmla="*/ 1879600 h 1879600"/>
              <a:gd name="connsiteX4" fmla="*/ 1004109 w 1004109"/>
              <a:gd name="connsiteY4" fmla="*/ 0 h 1879600"/>
              <a:gd name="connsiteX5" fmla="*/ 0 w 1004109"/>
              <a:gd name="connsiteY5" fmla="*/ 355600 h 1879600"/>
              <a:gd name="connsiteX0" fmla="*/ 0 w 1004109"/>
              <a:gd name="connsiteY0" fmla="*/ 357982 h 1881982"/>
              <a:gd name="connsiteX1" fmla="*/ 0 w 1004109"/>
              <a:gd name="connsiteY1" fmla="*/ 357982 h 1881982"/>
              <a:gd name="connsiteX2" fmla="*/ 0 w 1004109"/>
              <a:gd name="connsiteY2" fmla="*/ 462757 h 1881982"/>
              <a:gd name="connsiteX3" fmla="*/ 0 w 1004109"/>
              <a:gd name="connsiteY3" fmla="*/ 1881982 h 1881982"/>
              <a:gd name="connsiteX4" fmla="*/ 1004109 w 1004109"/>
              <a:gd name="connsiteY4" fmla="*/ 0 h 1881982"/>
              <a:gd name="connsiteX5" fmla="*/ 0 w 1004109"/>
              <a:gd name="connsiteY5" fmla="*/ 357982 h 1881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4109" h="1881982">
                <a:moveTo>
                  <a:pt x="0" y="357982"/>
                </a:moveTo>
                <a:lnTo>
                  <a:pt x="0" y="357982"/>
                </a:lnTo>
                <a:lnTo>
                  <a:pt x="0" y="462757"/>
                </a:lnTo>
                <a:lnTo>
                  <a:pt x="0" y="1881982"/>
                </a:lnTo>
                <a:lnTo>
                  <a:pt x="1004109" y="0"/>
                </a:lnTo>
                <a:lnTo>
                  <a:pt x="0" y="357982"/>
                </a:lnTo>
                <a:close/>
              </a:path>
            </a:pathLst>
          </a:custGeom>
          <a:gradFill>
            <a:gsLst>
              <a:gs pos="100000">
                <a:schemeClr val="accent1">
                  <a:lumMod val="25000"/>
                  <a:lumOff val="75000"/>
                </a:schemeClr>
              </a:gs>
              <a:gs pos="0">
                <a:schemeClr val="accent1">
                  <a:lumMod val="50000"/>
                  <a:lumOff val="5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60" name="文本框 59">
            <a:extLst>
              <a:ext uri="{FF2B5EF4-FFF2-40B4-BE49-F238E27FC236}">
                <a16:creationId xmlns:a16="http://schemas.microsoft.com/office/drawing/2014/main" id="{665ECC1D-5C12-45D4-8ABD-F673FBB6A59F}"/>
              </a:ext>
            </a:extLst>
          </p:cNvPr>
          <p:cNvSpPr txBox="1"/>
          <p:nvPr/>
        </p:nvSpPr>
        <p:spPr>
          <a:xfrm>
            <a:off x="4215605" y="2379757"/>
            <a:ext cx="1077219" cy="430887"/>
          </a:xfrm>
          <a:prstGeom prst="rect">
            <a:avLst/>
          </a:prstGeom>
          <a:noFill/>
        </p:spPr>
        <p:txBody>
          <a:bodyPr wrap="none" lIns="0" tIns="0" rIns="0" bIns="0" rtlCol="0" anchor="t">
            <a:spAutoFit/>
          </a:bodyPr>
          <a:lstStyle/>
          <a:p>
            <a:pPr algn="ctr"/>
            <a:r>
              <a:rPr lang="zh-CN" altLang="en-US" sz="2800" dirty="0">
                <a:solidFill>
                  <a:schemeClr val="accent1"/>
                </a:solidFill>
                <a:latin typeface="+mj-ea"/>
                <a:ea typeface="+mj-ea"/>
              </a:rPr>
              <a:t>关键词</a:t>
            </a:r>
          </a:p>
        </p:txBody>
      </p:sp>
      <p:sp>
        <p:nvSpPr>
          <p:cNvPr id="63" name="任意多边形: 形状 62">
            <a:extLst>
              <a:ext uri="{FF2B5EF4-FFF2-40B4-BE49-F238E27FC236}">
                <a16:creationId xmlns:a16="http://schemas.microsoft.com/office/drawing/2014/main" id="{7BDA7AE9-2B40-4E43-9E31-08E6DA2B4F2B}"/>
              </a:ext>
            </a:extLst>
          </p:cNvPr>
          <p:cNvSpPr/>
          <p:nvPr/>
        </p:nvSpPr>
        <p:spPr>
          <a:xfrm>
            <a:off x="7435803" y="3328669"/>
            <a:ext cx="1019175" cy="1889125"/>
          </a:xfrm>
          <a:custGeom>
            <a:avLst/>
            <a:gdLst>
              <a:gd name="connsiteX0" fmla="*/ 0 w 1000125"/>
              <a:gd name="connsiteY0" fmla="*/ 361950 h 1885950"/>
              <a:gd name="connsiteX1" fmla="*/ 0 w 1000125"/>
              <a:gd name="connsiteY1" fmla="*/ 361950 h 1885950"/>
              <a:gd name="connsiteX2" fmla="*/ 0 w 1000125"/>
              <a:gd name="connsiteY2" fmla="*/ 466725 h 1885950"/>
              <a:gd name="connsiteX3" fmla="*/ 0 w 1000125"/>
              <a:gd name="connsiteY3" fmla="*/ 1885950 h 1885950"/>
              <a:gd name="connsiteX4" fmla="*/ 1000125 w 1000125"/>
              <a:gd name="connsiteY4" fmla="*/ 0 h 1885950"/>
              <a:gd name="connsiteX5" fmla="*/ 0 w 1000125"/>
              <a:gd name="connsiteY5" fmla="*/ 361950 h 1885950"/>
              <a:gd name="connsiteX0" fmla="*/ 0 w 1006475"/>
              <a:gd name="connsiteY0" fmla="*/ 365125 h 1889125"/>
              <a:gd name="connsiteX1" fmla="*/ 0 w 1006475"/>
              <a:gd name="connsiteY1" fmla="*/ 365125 h 1889125"/>
              <a:gd name="connsiteX2" fmla="*/ 0 w 1006475"/>
              <a:gd name="connsiteY2" fmla="*/ 469900 h 1889125"/>
              <a:gd name="connsiteX3" fmla="*/ 0 w 1006475"/>
              <a:gd name="connsiteY3" fmla="*/ 1889125 h 1889125"/>
              <a:gd name="connsiteX4" fmla="*/ 1006475 w 1006475"/>
              <a:gd name="connsiteY4" fmla="*/ 0 h 1889125"/>
              <a:gd name="connsiteX5" fmla="*/ 0 w 1006475"/>
              <a:gd name="connsiteY5" fmla="*/ 365125 h 1889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6475" h="1889125">
                <a:moveTo>
                  <a:pt x="0" y="365125"/>
                </a:moveTo>
                <a:lnTo>
                  <a:pt x="0" y="365125"/>
                </a:lnTo>
                <a:lnTo>
                  <a:pt x="0" y="469900"/>
                </a:lnTo>
                <a:lnTo>
                  <a:pt x="0" y="1889125"/>
                </a:lnTo>
                <a:lnTo>
                  <a:pt x="1006475" y="0"/>
                </a:lnTo>
                <a:lnTo>
                  <a:pt x="0" y="365125"/>
                </a:lnTo>
                <a:close/>
              </a:path>
            </a:pathLst>
          </a:custGeom>
          <a:gradFill>
            <a:gsLst>
              <a:gs pos="100000">
                <a:schemeClr val="accent1">
                  <a:lumMod val="10000"/>
                  <a:lumOff val="90000"/>
                </a:schemeClr>
              </a:gs>
              <a:gs pos="0">
                <a:schemeClr val="accent1">
                  <a:lumMod val="25000"/>
                  <a:lumOff val="75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65" name="菱形 64">
            <a:extLst>
              <a:ext uri="{FF2B5EF4-FFF2-40B4-BE49-F238E27FC236}">
                <a16:creationId xmlns:a16="http://schemas.microsoft.com/office/drawing/2014/main" id="{938128D2-1ECD-410B-8F89-5155C5265111}"/>
              </a:ext>
            </a:extLst>
          </p:cNvPr>
          <p:cNvSpPr/>
          <p:nvPr/>
        </p:nvSpPr>
        <p:spPr>
          <a:xfrm>
            <a:off x="6438853" y="2977770"/>
            <a:ext cx="2000250" cy="715474"/>
          </a:xfrm>
          <a:prstGeom prst="diamond">
            <a:avLst/>
          </a:prstGeom>
          <a:solidFill>
            <a:schemeClr val="accent1">
              <a:lumMod val="75000"/>
              <a:lumOff val="25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66" name="菱形 65">
            <a:extLst>
              <a:ext uri="{FF2B5EF4-FFF2-40B4-BE49-F238E27FC236}">
                <a16:creationId xmlns:a16="http://schemas.microsoft.com/office/drawing/2014/main" id="{A072BD66-CCC2-458B-BCC9-0F371409532C}"/>
              </a:ext>
            </a:extLst>
          </p:cNvPr>
          <p:cNvSpPr/>
          <p:nvPr/>
        </p:nvSpPr>
        <p:spPr>
          <a:xfrm>
            <a:off x="6549978" y="2937550"/>
            <a:ext cx="1778000" cy="635976"/>
          </a:xfrm>
          <a:prstGeom prst="diamond">
            <a:avLst/>
          </a:prstGeom>
          <a:solidFill>
            <a:schemeClr val="accent1">
              <a:lumMod val="10000"/>
              <a:lumOff val="9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67" name="菱形 66">
            <a:extLst>
              <a:ext uri="{FF2B5EF4-FFF2-40B4-BE49-F238E27FC236}">
                <a16:creationId xmlns:a16="http://schemas.microsoft.com/office/drawing/2014/main" id="{349D4CEA-0E2F-4D2B-A2D9-CB86A2BEC95E}"/>
              </a:ext>
            </a:extLst>
          </p:cNvPr>
          <p:cNvSpPr/>
          <p:nvPr/>
        </p:nvSpPr>
        <p:spPr>
          <a:xfrm>
            <a:off x="6734128" y="2846655"/>
            <a:ext cx="1409700" cy="504239"/>
          </a:xfrm>
          <a:prstGeom prst="diamond">
            <a:avLst/>
          </a:prstGeom>
          <a:solidFill>
            <a:schemeClr val="accent1">
              <a:lumMod val="10000"/>
              <a:lumOff val="9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68" name="梯形 5">
            <a:extLst>
              <a:ext uri="{FF2B5EF4-FFF2-40B4-BE49-F238E27FC236}">
                <a16:creationId xmlns:a16="http://schemas.microsoft.com/office/drawing/2014/main" id="{D47A37C2-E334-43EF-88F6-C030857029D6}"/>
              </a:ext>
            </a:extLst>
          </p:cNvPr>
          <p:cNvSpPr/>
          <p:nvPr/>
        </p:nvSpPr>
        <p:spPr>
          <a:xfrm rot="10800000">
            <a:off x="6457903" y="2027493"/>
            <a:ext cx="1969294" cy="1323401"/>
          </a:xfrm>
          <a:custGeom>
            <a:avLst/>
            <a:gdLst>
              <a:gd name="connsiteX0" fmla="*/ 0 w 1969294"/>
              <a:gd name="connsiteY0" fmla="*/ 1064133 h 1064133"/>
              <a:gd name="connsiteX1" fmla="*/ 266033 w 1969294"/>
              <a:gd name="connsiteY1" fmla="*/ 0 h 1064133"/>
              <a:gd name="connsiteX2" fmla="*/ 1703261 w 1969294"/>
              <a:gd name="connsiteY2" fmla="*/ 0 h 1064133"/>
              <a:gd name="connsiteX3" fmla="*/ 1969294 w 1969294"/>
              <a:gd name="connsiteY3" fmla="*/ 1064133 h 1064133"/>
              <a:gd name="connsiteX4" fmla="*/ 0 w 1969294"/>
              <a:gd name="connsiteY4" fmla="*/ 1064133 h 1064133"/>
              <a:gd name="connsiteX0" fmla="*/ 0 w 1969294"/>
              <a:gd name="connsiteY0" fmla="*/ 1064133 h 1064133"/>
              <a:gd name="connsiteX1" fmla="*/ 266033 w 1969294"/>
              <a:gd name="connsiteY1" fmla="*/ 0 h 1064133"/>
              <a:gd name="connsiteX2" fmla="*/ 981075 w 1969294"/>
              <a:gd name="connsiteY2" fmla="*/ 2670 h 1064133"/>
              <a:gd name="connsiteX3" fmla="*/ 1703261 w 1969294"/>
              <a:gd name="connsiteY3" fmla="*/ 0 h 1064133"/>
              <a:gd name="connsiteX4" fmla="*/ 1969294 w 1969294"/>
              <a:gd name="connsiteY4" fmla="*/ 1064133 h 1064133"/>
              <a:gd name="connsiteX5" fmla="*/ 0 w 1969294"/>
              <a:gd name="connsiteY5" fmla="*/ 1064133 h 1064133"/>
              <a:gd name="connsiteX0" fmla="*/ 0 w 1969294"/>
              <a:gd name="connsiteY0" fmla="*/ 1323401 h 1323401"/>
              <a:gd name="connsiteX1" fmla="*/ 266033 w 1969294"/>
              <a:gd name="connsiteY1" fmla="*/ 259268 h 1323401"/>
              <a:gd name="connsiteX2" fmla="*/ 992981 w 1969294"/>
              <a:gd name="connsiteY2" fmla="*/ 0 h 1323401"/>
              <a:gd name="connsiteX3" fmla="*/ 1703261 w 1969294"/>
              <a:gd name="connsiteY3" fmla="*/ 259268 h 1323401"/>
              <a:gd name="connsiteX4" fmla="*/ 1969294 w 1969294"/>
              <a:gd name="connsiteY4" fmla="*/ 1323401 h 1323401"/>
              <a:gd name="connsiteX5" fmla="*/ 0 w 1969294"/>
              <a:gd name="connsiteY5" fmla="*/ 1323401 h 1323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69294" h="1323401">
                <a:moveTo>
                  <a:pt x="0" y="1323401"/>
                </a:moveTo>
                <a:lnTo>
                  <a:pt x="266033" y="259268"/>
                </a:lnTo>
                <a:lnTo>
                  <a:pt x="992981" y="0"/>
                </a:lnTo>
                <a:lnTo>
                  <a:pt x="1703261" y="259268"/>
                </a:lnTo>
                <a:lnTo>
                  <a:pt x="1969294" y="1323401"/>
                </a:lnTo>
                <a:lnTo>
                  <a:pt x="0" y="1323401"/>
                </a:lnTo>
                <a:close/>
              </a:path>
            </a:pathLst>
          </a:custGeom>
          <a:gradFill>
            <a:gsLst>
              <a:gs pos="100000">
                <a:schemeClr val="accent1">
                  <a:alpha val="0"/>
                </a:schemeClr>
              </a:gs>
              <a:gs pos="0">
                <a:schemeClr val="accent1">
                  <a:alpha val="38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69" name="任意多边形: 形状 68">
            <a:extLst>
              <a:ext uri="{FF2B5EF4-FFF2-40B4-BE49-F238E27FC236}">
                <a16:creationId xmlns:a16="http://schemas.microsoft.com/office/drawing/2014/main" id="{F672EDF6-EDB6-42FA-BDCA-FB12541A0EC3}"/>
              </a:ext>
            </a:extLst>
          </p:cNvPr>
          <p:cNvSpPr/>
          <p:nvPr/>
        </p:nvSpPr>
        <p:spPr>
          <a:xfrm flipH="1">
            <a:off x="6425359" y="3335813"/>
            <a:ext cx="1010444" cy="1881982"/>
          </a:xfrm>
          <a:custGeom>
            <a:avLst/>
            <a:gdLst>
              <a:gd name="connsiteX0" fmla="*/ 0 w 1000125"/>
              <a:gd name="connsiteY0" fmla="*/ 361950 h 1885950"/>
              <a:gd name="connsiteX1" fmla="*/ 0 w 1000125"/>
              <a:gd name="connsiteY1" fmla="*/ 361950 h 1885950"/>
              <a:gd name="connsiteX2" fmla="*/ 0 w 1000125"/>
              <a:gd name="connsiteY2" fmla="*/ 466725 h 1885950"/>
              <a:gd name="connsiteX3" fmla="*/ 0 w 1000125"/>
              <a:gd name="connsiteY3" fmla="*/ 1885950 h 1885950"/>
              <a:gd name="connsiteX4" fmla="*/ 1000125 w 1000125"/>
              <a:gd name="connsiteY4" fmla="*/ 0 h 1885950"/>
              <a:gd name="connsiteX5" fmla="*/ 0 w 1000125"/>
              <a:gd name="connsiteY5" fmla="*/ 361950 h 1885950"/>
              <a:gd name="connsiteX0" fmla="*/ 0 w 1006475"/>
              <a:gd name="connsiteY0" fmla="*/ 365125 h 1889125"/>
              <a:gd name="connsiteX1" fmla="*/ 0 w 1006475"/>
              <a:gd name="connsiteY1" fmla="*/ 365125 h 1889125"/>
              <a:gd name="connsiteX2" fmla="*/ 0 w 1006475"/>
              <a:gd name="connsiteY2" fmla="*/ 469900 h 1889125"/>
              <a:gd name="connsiteX3" fmla="*/ 0 w 1006475"/>
              <a:gd name="connsiteY3" fmla="*/ 1889125 h 1889125"/>
              <a:gd name="connsiteX4" fmla="*/ 1006475 w 1006475"/>
              <a:gd name="connsiteY4" fmla="*/ 0 h 1889125"/>
              <a:gd name="connsiteX5" fmla="*/ 0 w 1006475"/>
              <a:gd name="connsiteY5" fmla="*/ 365125 h 1889125"/>
              <a:gd name="connsiteX0" fmla="*/ 0 w 1004109"/>
              <a:gd name="connsiteY0" fmla="*/ 355600 h 1879600"/>
              <a:gd name="connsiteX1" fmla="*/ 0 w 1004109"/>
              <a:gd name="connsiteY1" fmla="*/ 355600 h 1879600"/>
              <a:gd name="connsiteX2" fmla="*/ 0 w 1004109"/>
              <a:gd name="connsiteY2" fmla="*/ 460375 h 1879600"/>
              <a:gd name="connsiteX3" fmla="*/ 0 w 1004109"/>
              <a:gd name="connsiteY3" fmla="*/ 1879600 h 1879600"/>
              <a:gd name="connsiteX4" fmla="*/ 1004109 w 1004109"/>
              <a:gd name="connsiteY4" fmla="*/ 0 h 1879600"/>
              <a:gd name="connsiteX5" fmla="*/ 0 w 1004109"/>
              <a:gd name="connsiteY5" fmla="*/ 355600 h 1879600"/>
              <a:gd name="connsiteX0" fmla="*/ 0 w 1004109"/>
              <a:gd name="connsiteY0" fmla="*/ 357982 h 1881982"/>
              <a:gd name="connsiteX1" fmla="*/ 0 w 1004109"/>
              <a:gd name="connsiteY1" fmla="*/ 357982 h 1881982"/>
              <a:gd name="connsiteX2" fmla="*/ 0 w 1004109"/>
              <a:gd name="connsiteY2" fmla="*/ 462757 h 1881982"/>
              <a:gd name="connsiteX3" fmla="*/ 0 w 1004109"/>
              <a:gd name="connsiteY3" fmla="*/ 1881982 h 1881982"/>
              <a:gd name="connsiteX4" fmla="*/ 1004109 w 1004109"/>
              <a:gd name="connsiteY4" fmla="*/ 0 h 1881982"/>
              <a:gd name="connsiteX5" fmla="*/ 0 w 1004109"/>
              <a:gd name="connsiteY5" fmla="*/ 357982 h 1881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4109" h="1881982">
                <a:moveTo>
                  <a:pt x="0" y="357982"/>
                </a:moveTo>
                <a:lnTo>
                  <a:pt x="0" y="357982"/>
                </a:lnTo>
                <a:lnTo>
                  <a:pt x="0" y="462757"/>
                </a:lnTo>
                <a:lnTo>
                  <a:pt x="0" y="1881982"/>
                </a:lnTo>
                <a:lnTo>
                  <a:pt x="1004109" y="0"/>
                </a:lnTo>
                <a:lnTo>
                  <a:pt x="0" y="357982"/>
                </a:lnTo>
                <a:close/>
              </a:path>
            </a:pathLst>
          </a:custGeom>
          <a:gradFill>
            <a:gsLst>
              <a:gs pos="100000">
                <a:schemeClr val="accent1">
                  <a:lumMod val="25000"/>
                  <a:lumOff val="75000"/>
                </a:schemeClr>
              </a:gs>
              <a:gs pos="0">
                <a:schemeClr val="accent1">
                  <a:lumMod val="50000"/>
                  <a:lumOff val="5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70" name="文本框 69">
            <a:extLst>
              <a:ext uri="{FF2B5EF4-FFF2-40B4-BE49-F238E27FC236}">
                <a16:creationId xmlns:a16="http://schemas.microsoft.com/office/drawing/2014/main" id="{2787FC0F-29A4-46A2-92CF-B1F9E2909A44}"/>
              </a:ext>
            </a:extLst>
          </p:cNvPr>
          <p:cNvSpPr txBox="1"/>
          <p:nvPr/>
        </p:nvSpPr>
        <p:spPr>
          <a:xfrm>
            <a:off x="6903941" y="2379757"/>
            <a:ext cx="1077219" cy="430887"/>
          </a:xfrm>
          <a:prstGeom prst="rect">
            <a:avLst/>
          </a:prstGeom>
          <a:noFill/>
        </p:spPr>
        <p:txBody>
          <a:bodyPr wrap="none" lIns="0" tIns="0" rIns="0" bIns="0" rtlCol="0" anchor="t">
            <a:spAutoFit/>
          </a:bodyPr>
          <a:lstStyle/>
          <a:p>
            <a:pPr algn="ctr"/>
            <a:r>
              <a:rPr lang="zh-CN" altLang="en-US" sz="2800" dirty="0">
                <a:solidFill>
                  <a:schemeClr val="accent1"/>
                </a:solidFill>
                <a:latin typeface="+mj-ea"/>
                <a:ea typeface="+mj-ea"/>
              </a:rPr>
              <a:t>关键词</a:t>
            </a:r>
          </a:p>
        </p:txBody>
      </p:sp>
      <p:sp>
        <p:nvSpPr>
          <p:cNvPr id="72" name="任意多边形: 形状 71">
            <a:extLst>
              <a:ext uri="{FF2B5EF4-FFF2-40B4-BE49-F238E27FC236}">
                <a16:creationId xmlns:a16="http://schemas.microsoft.com/office/drawing/2014/main" id="{7120A766-A4B2-40FD-8F64-3867628EEF12}"/>
              </a:ext>
            </a:extLst>
          </p:cNvPr>
          <p:cNvSpPr/>
          <p:nvPr/>
        </p:nvSpPr>
        <p:spPr>
          <a:xfrm>
            <a:off x="10124139" y="3328669"/>
            <a:ext cx="1019175" cy="1889125"/>
          </a:xfrm>
          <a:custGeom>
            <a:avLst/>
            <a:gdLst>
              <a:gd name="connsiteX0" fmla="*/ 0 w 1000125"/>
              <a:gd name="connsiteY0" fmla="*/ 361950 h 1885950"/>
              <a:gd name="connsiteX1" fmla="*/ 0 w 1000125"/>
              <a:gd name="connsiteY1" fmla="*/ 361950 h 1885950"/>
              <a:gd name="connsiteX2" fmla="*/ 0 w 1000125"/>
              <a:gd name="connsiteY2" fmla="*/ 466725 h 1885950"/>
              <a:gd name="connsiteX3" fmla="*/ 0 w 1000125"/>
              <a:gd name="connsiteY3" fmla="*/ 1885950 h 1885950"/>
              <a:gd name="connsiteX4" fmla="*/ 1000125 w 1000125"/>
              <a:gd name="connsiteY4" fmla="*/ 0 h 1885950"/>
              <a:gd name="connsiteX5" fmla="*/ 0 w 1000125"/>
              <a:gd name="connsiteY5" fmla="*/ 361950 h 1885950"/>
              <a:gd name="connsiteX0" fmla="*/ 0 w 1006475"/>
              <a:gd name="connsiteY0" fmla="*/ 365125 h 1889125"/>
              <a:gd name="connsiteX1" fmla="*/ 0 w 1006475"/>
              <a:gd name="connsiteY1" fmla="*/ 365125 h 1889125"/>
              <a:gd name="connsiteX2" fmla="*/ 0 w 1006475"/>
              <a:gd name="connsiteY2" fmla="*/ 469900 h 1889125"/>
              <a:gd name="connsiteX3" fmla="*/ 0 w 1006475"/>
              <a:gd name="connsiteY3" fmla="*/ 1889125 h 1889125"/>
              <a:gd name="connsiteX4" fmla="*/ 1006475 w 1006475"/>
              <a:gd name="connsiteY4" fmla="*/ 0 h 1889125"/>
              <a:gd name="connsiteX5" fmla="*/ 0 w 1006475"/>
              <a:gd name="connsiteY5" fmla="*/ 365125 h 1889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6475" h="1889125">
                <a:moveTo>
                  <a:pt x="0" y="365125"/>
                </a:moveTo>
                <a:lnTo>
                  <a:pt x="0" y="365125"/>
                </a:lnTo>
                <a:lnTo>
                  <a:pt x="0" y="469900"/>
                </a:lnTo>
                <a:lnTo>
                  <a:pt x="0" y="1889125"/>
                </a:lnTo>
                <a:lnTo>
                  <a:pt x="1006475" y="0"/>
                </a:lnTo>
                <a:lnTo>
                  <a:pt x="0" y="365125"/>
                </a:lnTo>
                <a:close/>
              </a:path>
            </a:pathLst>
          </a:custGeom>
          <a:gradFill>
            <a:gsLst>
              <a:gs pos="100000">
                <a:schemeClr val="accent1">
                  <a:lumMod val="10000"/>
                  <a:lumOff val="90000"/>
                </a:schemeClr>
              </a:gs>
              <a:gs pos="0">
                <a:schemeClr val="accent1">
                  <a:lumMod val="25000"/>
                  <a:lumOff val="75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73" name="菱形 72">
            <a:extLst>
              <a:ext uri="{FF2B5EF4-FFF2-40B4-BE49-F238E27FC236}">
                <a16:creationId xmlns:a16="http://schemas.microsoft.com/office/drawing/2014/main" id="{6ED54A59-8CDE-49D2-B295-7A2AD143683F}"/>
              </a:ext>
            </a:extLst>
          </p:cNvPr>
          <p:cNvSpPr/>
          <p:nvPr/>
        </p:nvSpPr>
        <p:spPr>
          <a:xfrm>
            <a:off x="9127189" y="2977770"/>
            <a:ext cx="2000250" cy="715474"/>
          </a:xfrm>
          <a:prstGeom prst="diamond">
            <a:avLst/>
          </a:prstGeom>
          <a:solidFill>
            <a:schemeClr val="accent1">
              <a:lumMod val="75000"/>
              <a:lumOff val="25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74" name="菱形 73">
            <a:extLst>
              <a:ext uri="{FF2B5EF4-FFF2-40B4-BE49-F238E27FC236}">
                <a16:creationId xmlns:a16="http://schemas.microsoft.com/office/drawing/2014/main" id="{72348659-70AB-4C05-80C0-730D0C4161CF}"/>
              </a:ext>
            </a:extLst>
          </p:cNvPr>
          <p:cNvSpPr/>
          <p:nvPr/>
        </p:nvSpPr>
        <p:spPr>
          <a:xfrm>
            <a:off x="9238314" y="2937550"/>
            <a:ext cx="1778000" cy="635976"/>
          </a:xfrm>
          <a:prstGeom prst="diamond">
            <a:avLst/>
          </a:prstGeom>
          <a:solidFill>
            <a:schemeClr val="accent1">
              <a:lumMod val="10000"/>
              <a:lumOff val="9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75" name="菱形 74">
            <a:extLst>
              <a:ext uri="{FF2B5EF4-FFF2-40B4-BE49-F238E27FC236}">
                <a16:creationId xmlns:a16="http://schemas.microsoft.com/office/drawing/2014/main" id="{90714B63-18B0-4927-B4FC-27D68BFE2B77}"/>
              </a:ext>
            </a:extLst>
          </p:cNvPr>
          <p:cNvSpPr/>
          <p:nvPr/>
        </p:nvSpPr>
        <p:spPr>
          <a:xfrm>
            <a:off x="9422464" y="2846655"/>
            <a:ext cx="1409700" cy="504239"/>
          </a:xfrm>
          <a:prstGeom prst="diamond">
            <a:avLst/>
          </a:prstGeom>
          <a:solidFill>
            <a:schemeClr val="accent1">
              <a:lumMod val="10000"/>
              <a:lumOff val="9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76" name="梯形 5">
            <a:extLst>
              <a:ext uri="{FF2B5EF4-FFF2-40B4-BE49-F238E27FC236}">
                <a16:creationId xmlns:a16="http://schemas.microsoft.com/office/drawing/2014/main" id="{551E270F-C8BC-4D1D-B05D-EBDFDD5D4793}"/>
              </a:ext>
            </a:extLst>
          </p:cNvPr>
          <p:cNvSpPr/>
          <p:nvPr/>
        </p:nvSpPr>
        <p:spPr>
          <a:xfrm rot="10800000">
            <a:off x="9146239" y="2027493"/>
            <a:ext cx="1969294" cy="1323401"/>
          </a:xfrm>
          <a:custGeom>
            <a:avLst/>
            <a:gdLst>
              <a:gd name="connsiteX0" fmla="*/ 0 w 1969294"/>
              <a:gd name="connsiteY0" fmla="*/ 1064133 h 1064133"/>
              <a:gd name="connsiteX1" fmla="*/ 266033 w 1969294"/>
              <a:gd name="connsiteY1" fmla="*/ 0 h 1064133"/>
              <a:gd name="connsiteX2" fmla="*/ 1703261 w 1969294"/>
              <a:gd name="connsiteY2" fmla="*/ 0 h 1064133"/>
              <a:gd name="connsiteX3" fmla="*/ 1969294 w 1969294"/>
              <a:gd name="connsiteY3" fmla="*/ 1064133 h 1064133"/>
              <a:gd name="connsiteX4" fmla="*/ 0 w 1969294"/>
              <a:gd name="connsiteY4" fmla="*/ 1064133 h 1064133"/>
              <a:gd name="connsiteX0" fmla="*/ 0 w 1969294"/>
              <a:gd name="connsiteY0" fmla="*/ 1064133 h 1064133"/>
              <a:gd name="connsiteX1" fmla="*/ 266033 w 1969294"/>
              <a:gd name="connsiteY1" fmla="*/ 0 h 1064133"/>
              <a:gd name="connsiteX2" fmla="*/ 981075 w 1969294"/>
              <a:gd name="connsiteY2" fmla="*/ 2670 h 1064133"/>
              <a:gd name="connsiteX3" fmla="*/ 1703261 w 1969294"/>
              <a:gd name="connsiteY3" fmla="*/ 0 h 1064133"/>
              <a:gd name="connsiteX4" fmla="*/ 1969294 w 1969294"/>
              <a:gd name="connsiteY4" fmla="*/ 1064133 h 1064133"/>
              <a:gd name="connsiteX5" fmla="*/ 0 w 1969294"/>
              <a:gd name="connsiteY5" fmla="*/ 1064133 h 1064133"/>
              <a:gd name="connsiteX0" fmla="*/ 0 w 1969294"/>
              <a:gd name="connsiteY0" fmla="*/ 1323401 h 1323401"/>
              <a:gd name="connsiteX1" fmla="*/ 266033 w 1969294"/>
              <a:gd name="connsiteY1" fmla="*/ 259268 h 1323401"/>
              <a:gd name="connsiteX2" fmla="*/ 992981 w 1969294"/>
              <a:gd name="connsiteY2" fmla="*/ 0 h 1323401"/>
              <a:gd name="connsiteX3" fmla="*/ 1703261 w 1969294"/>
              <a:gd name="connsiteY3" fmla="*/ 259268 h 1323401"/>
              <a:gd name="connsiteX4" fmla="*/ 1969294 w 1969294"/>
              <a:gd name="connsiteY4" fmla="*/ 1323401 h 1323401"/>
              <a:gd name="connsiteX5" fmla="*/ 0 w 1969294"/>
              <a:gd name="connsiteY5" fmla="*/ 1323401 h 1323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69294" h="1323401">
                <a:moveTo>
                  <a:pt x="0" y="1323401"/>
                </a:moveTo>
                <a:lnTo>
                  <a:pt x="266033" y="259268"/>
                </a:lnTo>
                <a:lnTo>
                  <a:pt x="992981" y="0"/>
                </a:lnTo>
                <a:lnTo>
                  <a:pt x="1703261" y="259268"/>
                </a:lnTo>
                <a:lnTo>
                  <a:pt x="1969294" y="1323401"/>
                </a:lnTo>
                <a:lnTo>
                  <a:pt x="0" y="1323401"/>
                </a:lnTo>
                <a:close/>
              </a:path>
            </a:pathLst>
          </a:custGeom>
          <a:gradFill>
            <a:gsLst>
              <a:gs pos="100000">
                <a:schemeClr val="accent1">
                  <a:alpha val="0"/>
                </a:schemeClr>
              </a:gs>
              <a:gs pos="0">
                <a:schemeClr val="accent1">
                  <a:alpha val="38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77" name="任意多边形: 形状 76">
            <a:extLst>
              <a:ext uri="{FF2B5EF4-FFF2-40B4-BE49-F238E27FC236}">
                <a16:creationId xmlns:a16="http://schemas.microsoft.com/office/drawing/2014/main" id="{9ECBEDDE-74CD-423D-9983-A3E7AA525174}"/>
              </a:ext>
            </a:extLst>
          </p:cNvPr>
          <p:cNvSpPr/>
          <p:nvPr/>
        </p:nvSpPr>
        <p:spPr>
          <a:xfrm flipH="1">
            <a:off x="9113695" y="3335813"/>
            <a:ext cx="1010444" cy="1881982"/>
          </a:xfrm>
          <a:custGeom>
            <a:avLst/>
            <a:gdLst>
              <a:gd name="connsiteX0" fmla="*/ 0 w 1000125"/>
              <a:gd name="connsiteY0" fmla="*/ 361950 h 1885950"/>
              <a:gd name="connsiteX1" fmla="*/ 0 w 1000125"/>
              <a:gd name="connsiteY1" fmla="*/ 361950 h 1885950"/>
              <a:gd name="connsiteX2" fmla="*/ 0 w 1000125"/>
              <a:gd name="connsiteY2" fmla="*/ 466725 h 1885950"/>
              <a:gd name="connsiteX3" fmla="*/ 0 w 1000125"/>
              <a:gd name="connsiteY3" fmla="*/ 1885950 h 1885950"/>
              <a:gd name="connsiteX4" fmla="*/ 1000125 w 1000125"/>
              <a:gd name="connsiteY4" fmla="*/ 0 h 1885950"/>
              <a:gd name="connsiteX5" fmla="*/ 0 w 1000125"/>
              <a:gd name="connsiteY5" fmla="*/ 361950 h 1885950"/>
              <a:gd name="connsiteX0" fmla="*/ 0 w 1006475"/>
              <a:gd name="connsiteY0" fmla="*/ 365125 h 1889125"/>
              <a:gd name="connsiteX1" fmla="*/ 0 w 1006475"/>
              <a:gd name="connsiteY1" fmla="*/ 365125 h 1889125"/>
              <a:gd name="connsiteX2" fmla="*/ 0 w 1006475"/>
              <a:gd name="connsiteY2" fmla="*/ 469900 h 1889125"/>
              <a:gd name="connsiteX3" fmla="*/ 0 w 1006475"/>
              <a:gd name="connsiteY3" fmla="*/ 1889125 h 1889125"/>
              <a:gd name="connsiteX4" fmla="*/ 1006475 w 1006475"/>
              <a:gd name="connsiteY4" fmla="*/ 0 h 1889125"/>
              <a:gd name="connsiteX5" fmla="*/ 0 w 1006475"/>
              <a:gd name="connsiteY5" fmla="*/ 365125 h 1889125"/>
              <a:gd name="connsiteX0" fmla="*/ 0 w 1004109"/>
              <a:gd name="connsiteY0" fmla="*/ 355600 h 1879600"/>
              <a:gd name="connsiteX1" fmla="*/ 0 w 1004109"/>
              <a:gd name="connsiteY1" fmla="*/ 355600 h 1879600"/>
              <a:gd name="connsiteX2" fmla="*/ 0 w 1004109"/>
              <a:gd name="connsiteY2" fmla="*/ 460375 h 1879600"/>
              <a:gd name="connsiteX3" fmla="*/ 0 w 1004109"/>
              <a:gd name="connsiteY3" fmla="*/ 1879600 h 1879600"/>
              <a:gd name="connsiteX4" fmla="*/ 1004109 w 1004109"/>
              <a:gd name="connsiteY4" fmla="*/ 0 h 1879600"/>
              <a:gd name="connsiteX5" fmla="*/ 0 w 1004109"/>
              <a:gd name="connsiteY5" fmla="*/ 355600 h 1879600"/>
              <a:gd name="connsiteX0" fmla="*/ 0 w 1004109"/>
              <a:gd name="connsiteY0" fmla="*/ 357982 h 1881982"/>
              <a:gd name="connsiteX1" fmla="*/ 0 w 1004109"/>
              <a:gd name="connsiteY1" fmla="*/ 357982 h 1881982"/>
              <a:gd name="connsiteX2" fmla="*/ 0 w 1004109"/>
              <a:gd name="connsiteY2" fmla="*/ 462757 h 1881982"/>
              <a:gd name="connsiteX3" fmla="*/ 0 w 1004109"/>
              <a:gd name="connsiteY3" fmla="*/ 1881982 h 1881982"/>
              <a:gd name="connsiteX4" fmla="*/ 1004109 w 1004109"/>
              <a:gd name="connsiteY4" fmla="*/ 0 h 1881982"/>
              <a:gd name="connsiteX5" fmla="*/ 0 w 1004109"/>
              <a:gd name="connsiteY5" fmla="*/ 357982 h 1881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4109" h="1881982">
                <a:moveTo>
                  <a:pt x="0" y="357982"/>
                </a:moveTo>
                <a:lnTo>
                  <a:pt x="0" y="357982"/>
                </a:lnTo>
                <a:lnTo>
                  <a:pt x="0" y="462757"/>
                </a:lnTo>
                <a:lnTo>
                  <a:pt x="0" y="1881982"/>
                </a:lnTo>
                <a:lnTo>
                  <a:pt x="1004109" y="0"/>
                </a:lnTo>
                <a:lnTo>
                  <a:pt x="0" y="357982"/>
                </a:lnTo>
                <a:close/>
              </a:path>
            </a:pathLst>
          </a:custGeom>
          <a:gradFill>
            <a:gsLst>
              <a:gs pos="100000">
                <a:schemeClr val="accent1">
                  <a:lumMod val="25000"/>
                  <a:lumOff val="75000"/>
                </a:schemeClr>
              </a:gs>
              <a:gs pos="0">
                <a:schemeClr val="accent1">
                  <a:lumMod val="50000"/>
                  <a:lumOff val="5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78" name="文本框 77">
            <a:extLst>
              <a:ext uri="{FF2B5EF4-FFF2-40B4-BE49-F238E27FC236}">
                <a16:creationId xmlns:a16="http://schemas.microsoft.com/office/drawing/2014/main" id="{FF4AE878-B2A4-4344-AF31-FD7108107433}"/>
              </a:ext>
            </a:extLst>
          </p:cNvPr>
          <p:cNvSpPr txBox="1"/>
          <p:nvPr/>
        </p:nvSpPr>
        <p:spPr>
          <a:xfrm>
            <a:off x="9592277" y="2379757"/>
            <a:ext cx="1077219" cy="430887"/>
          </a:xfrm>
          <a:prstGeom prst="rect">
            <a:avLst/>
          </a:prstGeom>
          <a:noFill/>
        </p:spPr>
        <p:txBody>
          <a:bodyPr wrap="none" lIns="0" tIns="0" rIns="0" bIns="0" rtlCol="0" anchor="t">
            <a:spAutoFit/>
          </a:bodyPr>
          <a:lstStyle/>
          <a:p>
            <a:pPr algn="ctr"/>
            <a:r>
              <a:rPr lang="zh-CN" altLang="en-US" sz="2800" dirty="0">
                <a:solidFill>
                  <a:schemeClr val="accent1"/>
                </a:solidFill>
                <a:latin typeface="+mj-ea"/>
                <a:ea typeface="+mj-ea"/>
              </a:rPr>
              <a:t>关键词</a:t>
            </a:r>
          </a:p>
        </p:txBody>
      </p:sp>
    </p:spTree>
    <p:extLst>
      <p:ext uri="{BB962C8B-B14F-4D97-AF65-F5344CB8AC3E}">
        <p14:creationId xmlns:p14="http://schemas.microsoft.com/office/powerpoint/2010/main" val="1807288901"/>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2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椭圆 5">
            <a:extLst>
              <a:ext uri="{FF2B5EF4-FFF2-40B4-BE49-F238E27FC236}">
                <a16:creationId xmlns:a16="http://schemas.microsoft.com/office/drawing/2014/main" id="{BEE2307F-E0B9-4C7D-88A0-D42D5557C448}"/>
              </a:ext>
            </a:extLst>
          </p:cNvPr>
          <p:cNvSpPr/>
          <p:nvPr/>
        </p:nvSpPr>
        <p:spPr>
          <a:xfrm>
            <a:off x="2342168" y="2497434"/>
            <a:ext cx="2396532" cy="2396532"/>
          </a:xfrm>
          <a:prstGeom prst="ellipse">
            <a:avLst/>
          </a:prstGeom>
          <a:solidFill>
            <a:schemeClr val="accent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14" name="椭圆 13">
            <a:extLst>
              <a:ext uri="{FF2B5EF4-FFF2-40B4-BE49-F238E27FC236}">
                <a16:creationId xmlns:a16="http://schemas.microsoft.com/office/drawing/2014/main" id="{24786021-B871-490C-92CD-3BA0549DFA72}"/>
              </a:ext>
            </a:extLst>
          </p:cNvPr>
          <p:cNvSpPr/>
          <p:nvPr/>
        </p:nvSpPr>
        <p:spPr>
          <a:xfrm>
            <a:off x="2168834" y="2324100"/>
            <a:ext cx="2743200" cy="2743200"/>
          </a:xfrm>
          <a:prstGeom prst="ellipse">
            <a:avLst/>
          </a:prstGeom>
          <a:noFill/>
          <a:ln w="19050">
            <a:solidFill>
              <a:schemeClr val="accent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15" name="user_209046">
            <a:extLst>
              <a:ext uri="{FF2B5EF4-FFF2-40B4-BE49-F238E27FC236}">
                <a16:creationId xmlns:a16="http://schemas.microsoft.com/office/drawing/2014/main" id="{A9458776-8EA5-4823-9AA6-70534CF193B9}"/>
              </a:ext>
            </a:extLst>
          </p:cNvPr>
          <p:cNvSpPr/>
          <p:nvPr/>
        </p:nvSpPr>
        <p:spPr>
          <a:xfrm>
            <a:off x="3194185" y="2957024"/>
            <a:ext cx="819152" cy="738676"/>
          </a:xfrm>
          <a:custGeom>
            <a:avLst/>
            <a:gdLst>
              <a:gd name="connsiteX0" fmla="*/ 521432 w 608344"/>
              <a:gd name="connsiteY0" fmla="*/ 370453 h 548582"/>
              <a:gd name="connsiteX1" fmla="*/ 465737 w 608344"/>
              <a:gd name="connsiteY1" fmla="*/ 425787 h 548582"/>
              <a:gd name="connsiteX2" fmla="*/ 442491 w 608344"/>
              <a:gd name="connsiteY2" fmla="*/ 402479 h 548582"/>
              <a:gd name="connsiteX3" fmla="*/ 418201 w 608344"/>
              <a:gd name="connsiteY3" fmla="*/ 426545 h 548582"/>
              <a:gd name="connsiteX4" fmla="*/ 441447 w 608344"/>
              <a:gd name="connsiteY4" fmla="*/ 449948 h 548582"/>
              <a:gd name="connsiteX5" fmla="*/ 465642 w 608344"/>
              <a:gd name="connsiteY5" fmla="*/ 474204 h 548582"/>
              <a:gd name="connsiteX6" fmla="*/ 489932 w 608344"/>
              <a:gd name="connsiteY6" fmla="*/ 450043 h 548582"/>
              <a:gd name="connsiteX7" fmla="*/ 545532 w 608344"/>
              <a:gd name="connsiteY7" fmla="*/ 394709 h 548582"/>
              <a:gd name="connsiteX8" fmla="*/ 481962 w 608344"/>
              <a:gd name="connsiteY8" fmla="*/ 296170 h 548582"/>
              <a:gd name="connsiteX9" fmla="*/ 608344 w 608344"/>
              <a:gd name="connsiteY9" fmla="*/ 422376 h 548582"/>
              <a:gd name="connsiteX10" fmla="*/ 481962 w 608344"/>
              <a:gd name="connsiteY10" fmla="*/ 548582 h 548582"/>
              <a:gd name="connsiteX11" fmla="*/ 355579 w 608344"/>
              <a:gd name="connsiteY11" fmla="*/ 422376 h 548582"/>
              <a:gd name="connsiteX12" fmla="*/ 481962 w 608344"/>
              <a:gd name="connsiteY12" fmla="*/ 296170 h 548582"/>
              <a:gd name="connsiteX13" fmla="*/ 255835 w 608344"/>
              <a:gd name="connsiteY13" fmla="*/ 446 h 548582"/>
              <a:gd name="connsiteX14" fmla="*/ 317801 w 608344"/>
              <a:gd name="connsiteY14" fmla="*/ 13616 h 548582"/>
              <a:gd name="connsiteX15" fmla="*/ 348072 w 608344"/>
              <a:gd name="connsiteY15" fmla="*/ 41661 h 548582"/>
              <a:gd name="connsiteX16" fmla="*/ 381190 w 608344"/>
              <a:gd name="connsiteY16" fmla="*/ 146831 h 548582"/>
              <a:gd name="connsiteX17" fmla="*/ 378913 w 608344"/>
              <a:gd name="connsiteY17" fmla="*/ 156211 h 548582"/>
              <a:gd name="connsiteX18" fmla="*/ 387833 w 608344"/>
              <a:gd name="connsiteY18" fmla="*/ 200458 h 548582"/>
              <a:gd name="connsiteX19" fmla="*/ 366387 w 608344"/>
              <a:gd name="connsiteY19" fmla="*/ 237694 h 548582"/>
              <a:gd name="connsiteX20" fmla="*/ 351393 w 608344"/>
              <a:gd name="connsiteY20" fmla="*/ 278720 h 548582"/>
              <a:gd name="connsiteX21" fmla="*/ 351393 w 608344"/>
              <a:gd name="connsiteY21" fmla="*/ 322873 h 548582"/>
              <a:gd name="connsiteX22" fmla="*/ 317611 w 608344"/>
              <a:gd name="connsiteY22" fmla="*/ 422358 h 548582"/>
              <a:gd name="connsiteX23" fmla="*/ 376635 w 608344"/>
              <a:gd name="connsiteY23" fmla="*/ 548088 h 548582"/>
              <a:gd name="connsiteX24" fmla="*/ 26855 w 608344"/>
              <a:gd name="connsiteY24" fmla="*/ 548088 h 548582"/>
              <a:gd name="connsiteX25" fmla="*/ 0 w 608344"/>
              <a:gd name="connsiteY25" fmla="*/ 521274 h 548582"/>
              <a:gd name="connsiteX26" fmla="*/ 0 w 608344"/>
              <a:gd name="connsiteY26" fmla="*/ 473806 h 548582"/>
              <a:gd name="connsiteX27" fmla="*/ 19453 w 608344"/>
              <a:gd name="connsiteY27" fmla="*/ 432969 h 548582"/>
              <a:gd name="connsiteX28" fmla="*/ 173751 w 608344"/>
              <a:gd name="connsiteY28" fmla="*/ 334242 h 548582"/>
              <a:gd name="connsiteX29" fmla="*/ 176408 w 608344"/>
              <a:gd name="connsiteY29" fmla="*/ 329884 h 548582"/>
              <a:gd name="connsiteX30" fmla="*/ 176408 w 608344"/>
              <a:gd name="connsiteY30" fmla="*/ 278720 h 548582"/>
              <a:gd name="connsiteX31" fmla="*/ 161320 w 608344"/>
              <a:gd name="connsiteY31" fmla="*/ 237694 h 548582"/>
              <a:gd name="connsiteX32" fmla="*/ 139969 w 608344"/>
              <a:gd name="connsiteY32" fmla="*/ 200458 h 548582"/>
              <a:gd name="connsiteX33" fmla="*/ 148320 w 608344"/>
              <a:gd name="connsiteY33" fmla="*/ 156211 h 548582"/>
              <a:gd name="connsiteX34" fmla="*/ 146042 w 608344"/>
              <a:gd name="connsiteY34" fmla="*/ 146736 h 548582"/>
              <a:gd name="connsiteX35" fmla="*/ 145758 w 608344"/>
              <a:gd name="connsiteY35" fmla="*/ 95099 h 548582"/>
              <a:gd name="connsiteX36" fmla="*/ 176029 w 608344"/>
              <a:gd name="connsiteY36" fmla="*/ 42135 h 548582"/>
              <a:gd name="connsiteX37" fmla="*/ 203928 w 608344"/>
              <a:gd name="connsiteY37" fmla="*/ 19017 h 548582"/>
              <a:gd name="connsiteX38" fmla="*/ 231162 w 608344"/>
              <a:gd name="connsiteY38" fmla="*/ 5089 h 548582"/>
              <a:gd name="connsiteX39" fmla="*/ 255835 w 608344"/>
              <a:gd name="connsiteY39" fmla="*/ 446 h 548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608344" h="548582">
                <a:moveTo>
                  <a:pt x="521432" y="370453"/>
                </a:moveTo>
                <a:lnTo>
                  <a:pt x="465737" y="425787"/>
                </a:lnTo>
                <a:lnTo>
                  <a:pt x="442491" y="402479"/>
                </a:lnTo>
                <a:lnTo>
                  <a:pt x="418201" y="426545"/>
                </a:lnTo>
                <a:lnTo>
                  <a:pt x="441447" y="449948"/>
                </a:lnTo>
                <a:lnTo>
                  <a:pt x="465642" y="474204"/>
                </a:lnTo>
                <a:lnTo>
                  <a:pt x="489932" y="450043"/>
                </a:lnTo>
                <a:lnTo>
                  <a:pt x="545532" y="394709"/>
                </a:lnTo>
                <a:close/>
                <a:moveTo>
                  <a:pt x="481962" y="296170"/>
                </a:moveTo>
                <a:cubicBezTo>
                  <a:pt x="551795" y="296170"/>
                  <a:pt x="608344" y="352641"/>
                  <a:pt x="608344" y="422376"/>
                </a:cubicBezTo>
                <a:cubicBezTo>
                  <a:pt x="608344" y="492111"/>
                  <a:pt x="551795" y="548582"/>
                  <a:pt x="481962" y="548582"/>
                </a:cubicBezTo>
                <a:cubicBezTo>
                  <a:pt x="412129" y="548582"/>
                  <a:pt x="355579" y="492111"/>
                  <a:pt x="355579" y="422376"/>
                </a:cubicBezTo>
                <a:cubicBezTo>
                  <a:pt x="355579" y="352641"/>
                  <a:pt x="412129" y="296170"/>
                  <a:pt x="481962" y="296170"/>
                </a:cubicBezTo>
                <a:close/>
                <a:moveTo>
                  <a:pt x="255835" y="446"/>
                </a:moveTo>
                <a:cubicBezTo>
                  <a:pt x="282785" y="-1828"/>
                  <a:pt x="303187" y="4899"/>
                  <a:pt x="317801" y="13616"/>
                </a:cubicBezTo>
                <a:cubicBezTo>
                  <a:pt x="339721" y="25744"/>
                  <a:pt x="348072" y="41661"/>
                  <a:pt x="348072" y="41661"/>
                </a:cubicBezTo>
                <a:cubicBezTo>
                  <a:pt x="348072" y="41661"/>
                  <a:pt x="398176" y="45167"/>
                  <a:pt x="381190" y="146831"/>
                </a:cubicBezTo>
                <a:cubicBezTo>
                  <a:pt x="380621" y="149863"/>
                  <a:pt x="379862" y="153085"/>
                  <a:pt x="378913" y="156211"/>
                </a:cubicBezTo>
                <a:cubicBezTo>
                  <a:pt x="388592" y="156211"/>
                  <a:pt x="398271" y="163507"/>
                  <a:pt x="387833" y="200458"/>
                </a:cubicBezTo>
                <a:cubicBezTo>
                  <a:pt x="379672" y="229262"/>
                  <a:pt x="372080" y="237221"/>
                  <a:pt x="366387" y="237694"/>
                </a:cubicBezTo>
                <a:cubicBezTo>
                  <a:pt x="364394" y="250675"/>
                  <a:pt x="359175" y="265076"/>
                  <a:pt x="351393" y="278720"/>
                </a:cubicBezTo>
                <a:lnTo>
                  <a:pt x="351393" y="322873"/>
                </a:lnTo>
                <a:cubicBezTo>
                  <a:pt x="330232" y="350539"/>
                  <a:pt x="317611" y="385027"/>
                  <a:pt x="317611" y="422358"/>
                </a:cubicBezTo>
                <a:cubicBezTo>
                  <a:pt x="317611" y="472764"/>
                  <a:pt x="340480" y="518053"/>
                  <a:pt x="376635" y="548088"/>
                </a:cubicBezTo>
                <a:lnTo>
                  <a:pt x="26855" y="548088"/>
                </a:lnTo>
                <a:cubicBezTo>
                  <a:pt x="12052" y="548088"/>
                  <a:pt x="0" y="536055"/>
                  <a:pt x="0" y="521274"/>
                </a:cubicBezTo>
                <a:lnTo>
                  <a:pt x="0" y="473806"/>
                </a:lnTo>
                <a:cubicBezTo>
                  <a:pt x="0" y="457983"/>
                  <a:pt x="7212" y="443013"/>
                  <a:pt x="19453" y="432969"/>
                </a:cubicBezTo>
                <a:cubicBezTo>
                  <a:pt x="86638" y="377921"/>
                  <a:pt x="159043" y="341443"/>
                  <a:pt x="173751" y="334242"/>
                </a:cubicBezTo>
                <a:cubicBezTo>
                  <a:pt x="175365" y="333484"/>
                  <a:pt x="176408" y="331779"/>
                  <a:pt x="176408" y="329884"/>
                </a:cubicBezTo>
                <a:lnTo>
                  <a:pt x="176408" y="278720"/>
                </a:lnTo>
                <a:cubicBezTo>
                  <a:pt x="168437" y="265076"/>
                  <a:pt x="163313" y="250675"/>
                  <a:pt x="161320" y="237694"/>
                </a:cubicBezTo>
                <a:cubicBezTo>
                  <a:pt x="155627" y="237221"/>
                  <a:pt x="148035" y="229072"/>
                  <a:pt x="139969" y="200458"/>
                </a:cubicBezTo>
                <a:cubicBezTo>
                  <a:pt x="129531" y="164170"/>
                  <a:pt x="138925" y="156496"/>
                  <a:pt x="148320" y="156211"/>
                </a:cubicBezTo>
                <a:cubicBezTo>
                  <a:pt x="147371" y="153085"/>
                  <a:pt x="146612" y="149863"/>
                  <a:pt x="146042" y="146736"/>
                </a:cubicBezTo>
                <a:cubicBezTo>
                  <a:pt x="142436" y="128450"/>
                  <a:pt x="141487" y="111396"/>
                  <a:pt x="145758" y="95099"/>
                </a:cubicBezTo>
                <a:cubicBezTo>
                  <a:pt x="150787" y="73212"/>
                  <a:pt x="162744" y="55684"/>
                  <a:pt x="176029" y="42135"/>
                </a:cubicBezTo>
                <a:cubicBezTo>
                  <a:pt x="184379" y="33134"/>
                  <a:pt x="193869" y="25459"/>
                  <a:pt x="203928" y="19017"/>
                </a:cubicBezTo>
                <a:cubicBezTo>
                  <a:pt x="212183" y="13332"/>
                  <a:pt x="221293" y="8405"/>
                  <a:pt x="231162" y="5089"/>
                </a:cubicBezTo>
                <a:cubicBezTo>
                  <a:pt x="238849" y="2625"/>
                  <a:pt x="247105" y="825"/>
                  <a:pt x="255835" y="446"/>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文本框 15">
            <a:extLst>
              <a:ext uri="{FF2B5EF4-FFF2-40B4-BE49-F238E27FC236}">
                <a16:creationId xmlns:a16="http://schemas.microsoft.com/office/drawing/2014/main" id="{785FDCC4-FD14-43BF-812A-8FF1CC9695C0}"/>
              </a:ext>
            </a:extLst>
          </p:cNvPr>
          <p:cNvSpPr txBox="1"/>
          <p:nvPr/>
        </p:nvSpPr>
        <p:spPr>
          <a:xfrm>
            <a:off x="3001825" y="3793188"/>
            <a:ext cx="1077219" cy="430887"/>
          </a:xfrm>
          <a:prstGeom prst="rect">
            <a:avLst/>
          </a:prstGeom>
          <a:noFill/>
        </p:spPr>
        <p:txBody>
          <a:bodyPr wrap="square" lIns="0" tIns="0" rIns="0" bIns="0" rtlCol="0" anchor="t">
            <a:spAutoFit/>
          </a:bodyPr>
          <a:lstStyle/>
          <a:p>
            <a:pPr algn="ctr"/>
            <a:r>
              <a:rPr lang="zh-CN" altLang="en-US" sz="2800" dirty="0">
                <a:solidFill>
                  <a:schemeClr val="bg1"/>
                </a:solidFill>
                <a:latin typeface="+mj-ea"/>
                <a:ea typeface="+mj-ea"/>
              </a:rPr>
              <a:t>关键词</a:t>
            </a:r>
          </a:p>
        </p:txBody>
      </p:sp>
      <p:sp>
        <p:nvSpPr>
          <p:cNvPr id="25" name="任意多边形: 形状 24">
            <a:extLst>
              <a:ext uri="{FF2B5EF4-FFF2-40B4-BE49-F238E27FC236}">
                <a16:creationId xmlns:a16="http://schemas.microsoft.com/office/drawing/2014/main" id="{8776F684-5DB1-4BF7-A82C-7E01FC74BD25}"/>
              </a:ext>
            </a:extLst>
          </p:cNvPr>
          <p:cNvSpPr/>
          <p:nvPr/>
        </p:nvSpPr>
        <p:spPr>
          <a:xfrm>
            <a:off x="3455220" y="1804490"/>
            <a:ext cx="2743200" cy="519609"/>
          </a:xfrm>
          <a:custGeom>
            <a:avLst/>
            <a:gdLst>
              <a:gd name="connsiteX0" fmla="*/ 1250454 w 6580752"/>
              <a:gd name="connsiteY0" fmla="*/ 0 h 1009650"/>
              <a:gd name="connsiteX1" fmla="*/ 5330297 w 6580752"/>
              <a:gd name="connsiteY1" fmla="*/ 0 h 1009650"/>
              <a:gd name="connsiteX2" fmla="*/ 6552312 w 6580752"/>
              <a:gd name="connsiteY2" fmla="*/ 899045 h 1009650"/>
              <a:gd name="connsiteX3" fmla="*/ 6580752 w 6580752"/>
              <a:gd name="connsiteY3" fmla="*/ 1009650 h 1009650"/>
              <a:gd name="connsiteX4" fmla="*/ 0 w 6580752"/>
              <a:gd name="connsiteY4" fmla="*/ 1009650 h 1009650"/>
              <a:gd name="connsiteX5" fmla="*/ 28439 w 6580752"/>
              <a:gd name="connsiteY5" fmla="*/ 899045 h 1009650"/>
              <a:gd name="connsiteX6" fmla="*/ 1250454 w 6580752"/>
              <a:gd name="connsiteY6" fmla="*/ 0 h 1009650"/>
              <a:gd name="connsiteX0" fmla="*/ 6580752 w 6672192"/>
              <a:gd name="connsiteY0" fmla="*/ 1009650 h 1101090"/>
              <a:gd name="connsiteX1" fmla="*/ 0 w 6672192"/>
              <a:gd name="connsiteY1" fmla="*/ 1009650 h 1101090"/>
              <a:gd name="connsiteX2" fmla="*/ 28439 w 6672192"/>
              <a:gd name="connsiteY2" fmla="*/ 899045 h 1101090"/>
              <a:gd name="connsiteX3" fmla="*/ 1250454 w 6672192"/>
              <a:gd name="connsiteY3" fmla="*/ 0 h 1101090"/>
              <a:gd name="connsiteX4" fmla="*/ 5330297 w 6672192"/>
              <a:gd name="connsiteY4" fmla="*/ 0 h 1101090"/>
              <a:gd name="connsiteX5" fmla="*/ 6552312 w 6672192"/>
              <a:gd name="connsiteY5" fmla="*/ 899045 h 1101090"/>
              <a:gd name="connsiteX6" fmla="*/ 6672192 w 6672192"/>
              <a:gd name="connsiteY6" fmla="*/ 1101090 h 1101090"/>
              <a:gd name="connsiteX0" fmla="*/ 6580752 w 6580752"/>
              <a:gd name="connsiteY0" fmla="*/ 1009650 h 1009650"/>
              <a:gd name="connsiteX1" fmla="*/ 0 w 6580752"/>
              <a:gd name="connsiteY1" fmla="*/ 1009650 h 1009650"/>
              <a:gd name="connsiteX2" fmla="*/ 28439 w 6580752"/>
              <a:gd name="connsiteY2" fmla="*/ 899045 h 1009650"/>
              <a:gd name="connsiteX3" fmla="*/ 1250454 w 6580752"/>
              <a:gd name="connsiteY3" fmla="*/ 0 h 1009650"/>
              <a:gd name="connsiteX4" fmla="*/ 5330297 w 6580752"/>
              <a:gd name="connsiteY4" fmla="*/ 0 h 1009650"/>
              <a:gd name="connsiteX5" fmla="*/ 6552312 w 6580752"/>
              <a:gd name="connsiteY5" fmla="*/ 899045 h 1009650"/>
              <a:gd name="connsiteX0" fmla="*/ 0 w 6552312"/>
              <a:gd name="connsiteY0" fmla="*/ 1009650 h 1009650"/>
              <a:gd name="connsiteX1" fmla="*/ 28439 w 6552312"/>
              <a:gd name="connsiteY1" fmla="*/ 899045 h 1009650"/>
              <a:gd name="connsiteX2" fmla="*/ 1250454 w 6552312"/>
              <a:gd name="connsiteY2" fmla="*/ 0 h 1009650"/>
              <a:gd name="connsiteX3" fmla="*/ 5330297 w 6552312"/>
              <a:gd name="connsiteY3" fmla="*/ 0 h 1009650"/>
              <a:gd name="connsiteX4" fmla="*/ 6552312 w 6552312"/>
              <a:gd name="connsiteY4" fmla="*/ 899045 h 1009650"/>
              <a:gd name="connsiteX0" fmla="*/ 0 w 5330297"/>
              <a:gd name="connsiteY0" fmla="*/ 1009650 h 1009650"/>
              <a:gd name="connsiteX1" fmla="*/ 28439 w 5330297"/>
              <a:gd name="connsiteY1" fmla="*/ 899045 h 1009650"/>
              <a:gd name="connsiteX2" fmla="*/ 1250454 w 5330297"/>
              <a:gd name="connsiteY2" fmla="*/ 0 h 1009650"/>
              <a:gd name="connsiteX3" fmla="*/ 5330297 w 5330297"/>
              <a:gd name="connsiteY3" fmla="*/ 0 h 1009650"/>
            </a:gdLst>
            <a:ahLst/>
            <a:cxnLst>
              <a:cxn ang="0">
                <a:pos x="connsiteX0" y="connsiteY0"/>
              </a:cxn>
              <a:cxn ang="0">
                <a:pos x="connsiteX1" y="connsiteY1"/>
              </a:cxn>
              <a:cxn ang="0">
                <a:pos x="connsiteX2" y="connsiteY2"/>
              </a:cxn>
              <a:cxn ang="0">
                <a:pos x="connsiteX3" y="connsiteY3"/>
              </a:cxn>
            </a:cxnLst>
            <a:rect l="l" t="t" r="r" b="b"/>
            <a:pathLst>
              <a:path w="5330297" h="1009650">
                <a:moveTo>
                  <a:pt x="0" y="1009650"/>
                </a:moveTo>
                <a:lnTo>
                  <a:pt x="28439" y="899045"/>
                </a:lnTo>
                <a:cubicBezTo>
                  <a:pt x="190443" y="378184"/>
                  <a:pt x="676284" y="0"/>
                  <a:pt x="1250454" y="0"/>
                </a:cubicBezTo>
                <a:lnTo>
                  <a:pt x="5330297" y="0"/>
                </a:lnTo>
              </a:path>
            </a:pathLst>
          </a:custGeom>
          <a:noFill/>
          <a:ln w="19050">
            <a:solidFill>
              <a:schemeClr val="accent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l"/>
            <a:endParaRPr lang="zh-CN" altLang="en-US" sz="1600">
              <a:solidFill>
                <a:schemeClr val="bg1"/>
              </a:solidFill>
              <a:latin typeface="+mj-ea"/>
              <a:ea typeface="+mj-ea"/>
            </a:endParaRPr>
          </a:p>
        </p:txBody>
      </p:sp>
      <p:sp>
        <p:nvSpPr>
          <p:cNvPr id="29" name="任意多边形: 形状 28">
            <a:extLst>
              <a:ext uri="{FF2B5EF4-FFF2-40B4-BE49-F238E27FC236}">
                <a16:creationId xmlns:a16="http://schemas.microsoft.com/office/drawing/2014/main" id="{9D2D671F-CD5C-434E-B64F-177D6BEFD585}"/>
              </a:ext>
            </a:extLst>
          </p:cNvPr>
          <p:cNvSpPr/>
          <p:nvPr/>
        </p:nvSpPr>
        <p:spPr>
          <a:xfrm flipV="1">
            <a:off x="3455220" y="5085710"/>
            <a:ext cx="2743200" cy="519609"/>
          </a:xfrm>
          <a:custGeom>
            <a:avLst/>
            <a:gdLst>
              <a:gd name="connsiteX0" fmla="*/ 1250454 w 6580752"/>
              <a:gd name="connsiteY0" fmla="*/ 0 h 1009650"/>
              <a:gd name="connsiteX1" fmla="*/ 5330297 w 6580752"/>
              <a:gd name="connsiteY1" fmla="*/ 0 h 1009650"/>
              <a:gd name="connsiteX2" fmla="*/ 6552312 w 6580752"/>
              <a:gd name="connsiteY2" fmla="*/ 899045 h 1009650"/>
              <a:gd name="connsiteX3" fmla="*/ 6580752 w 6580752"/>
              <a:gd name="connsiteY3" fmla="*/ 1009650 h 1009650"/>
              <a:gd name="connsiteX4" fmla="*/ 0 w 6580752"/>
              <a:gd name="connsiteY4" fmla="*/ 1009650 h 1009650"/>
              <a:gd name="connsiteX5" fmla="*/ 28439 w 6580752"/>
              <a:gd name="connsiteY5" fmla="*/ 899045 h 1009650"/>
              <a:gd name="connsiteX6" fmla="*/ 1250454 w 6580752"/>
              <a:gd name="connsiteY6" fmla="*/ 0 h 1009650"/>
              <a:gd name="connsiteX0" fmla="*/ 6580752 w 6672192"/>
              <a:gd name="connsiteY0" fmla="*/ 1009650 h 1101090"/>
              <a:gd name="connsiteX1" fmla="*/ 0 w 6672192"/>
              <a:gd name="connsiteY1" fmla="*/ 1009650 h 1101090"/>
              <a:gd name="connsiteX2" fmla="*/ 28439 w 6672192"/>
              <a:gd name="connsiteY2" fmla="*/ 899045 h 1101090"/>
              <a:gd name="connsiteX3" fmla="*/ 1250454 w 6672192"/>
              <a:gd name="connsiteY3" fmla="*/ 0 h 1101090"/>
              <a:gd name="connsiteX4" fmla="*/ 5330297 w 6672192"/>
              <a:gd name="connsiteY4" fmla="*/ 0 h 1101090"/>
              <a:gd name="connsiteX5" fmla="*/ 6552312 w 6672192"/>
              <a:gd name="connsiteY5" fmla="*/ 899045 h 1101090"/>
              <a:gd name="connsiteX6" fmla="*/ 6672192 w 6672192"/>
              <a:gd name="connsiteY6" fmla="*/ 1101090 h 1101090"/>
              <a:gd name="connsiteX0" fmla="*/ 6580752 w 6580752"/>
              <a:gd name="connsiteY0" fmla="*/ 1009650 h 1009650"/>
              <a:gd name="connsiteX1" fmla="*/ 0 w 6580752"/>
              <a:gd name="connsiteY1" fmla="*/ 1009650 h 1009650"/>
              <a:gd name="connsiteX2" fmla="*/ 28439 w 6580752"/>
              <a:gd name="connsiteY2" fmla="*/ 899045 h 1009650"/>
              <a:gd name="connsiteX3" fmla="*/ 1250454 w 6580752"/>
              <a:gd name="connsiteY3" fmla="*/ 0 h 1009650"/>
              <a:gd name="connsiteX4" fmla="*/ 5330297 w 6580752"/>
              <a:gd name="connsiteY4" fmla="*/ 0 h 1009650"/>
              <a:gd name="connsiteX5" fmla="*/ 6552312 w 6580752"/>
              <a:gd name="connsiteY5" fmla="*/ 899045 h 1009650"/>
              <a:gd name="connsiteX0" fmla="*/ 0 w 6552312"/>
              <a:gd name="connsiteY0" fmla="*/ 1009650 h 1009650"/>
              <a:gd name="connsiteX1" fmla="*/ 28439 w 6552312"/>
              <a:gd name="connsiteY1" fmla="*/ 899045 h 1009650"/>
              <a:gd name="connsiteX2" fmla="*/ 1250454 w 6552312"/>
              <a:gd name="connsiteY2" fmla="*/ 0 h 1009650"/>
              <a:gd name="connsiteX3" fmla="*/ 5330297 w 6552312"/>
              <a:gd name="connsiteY3" fmla="*/ 0 h 1009650"/>
              <a:gd name="connsiteX4" fmla="*/ 6552312 w 6552312"/>
              <a:gd name="connsiteY4" fmla="*/ 899045 h 1009650"/>
              <a:gd name="connsiteX0" fmla="*/ 0 w 5330297"/>
              <a:gd name="connsiteY0" fmla="*/ 1009650 h 1009650"/>
              <a:gd name="connsiteX1" fmla="*/ 28439 w 5330297"/>
              <a:gd name="connsiteY1" fmla="*/ 899045 h 1009650"/>
              <a:gd name="connsiteX2" fmla="*/ 1250454 w 5330297"/>
              <a:gd name="connsiteY2" fmla="*/ 0 h 1009650"/>
              <a:gd name="connsiteX3" fmla="*/ 5330297 w 5330297"/>
              <a:gd name="connsiteY3" fmla="*/ 0 h 1009650"/>
            </a:gdLst>
            <a:ahLst/>
            <a:cxnLst>
              <a:cxn ang="0">
                <a:pos x="connsiteX0" y="connsiteY0"/>
              </a:cxn>
              <a:cxn ang="0">
                <a:pos x="connsiteX1" y="connsiteY1"/>
              </a:cxn>
              <a:cxn ang="0">
                <a:pos x="connsiteX2" y="connsiteY2"/>
              </a:cxn>
              <a:cxn ang="0">
                <a:pos x="connsiteX3" y="connsiteY3"/>
              </a:cxn>
            </a:cxnLst>
            <a:rect l="l" t="t" r="r" b="b"/>
            <a:pathLst>
              <a:path w="5330297" h="1009650">
                <a:moveTo>
                  <a:pt x="0" y="1009650"/>
                </a:moveTo>
                <a:lnTo>
                  <a:pt x="28439" y="899045"/>
                </a:lnTo>
                <a:cubicBezTo>
                  <a:pt x="190443" y="378184"/>
                  <a:pt x="676284" y="0"/>
                  <a:pt x="1250454" y="0"/>
                </a:cubicBezTo>
                <a:lnTo>
                  <a:pt x="5330297" y="0"/>
                </a:lnTo>
              </a:path>
            </a:pathLst>
          </a:custGeom>
          <a:noFill/>
          <a:ln w="19050">
            <a:solidFill>
              <a:schemeClr val="accent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l"/>
            <a:endParaRPr lang="zh-CN" altLang="en-US" sz="1600">
              <a:solidFill>
                <a:schemeClr val="bg1"/>
              </a:solidFill>
              <a:latin typeface="+mj-ea"/>
              <a:ea typeface="+mj-ea"/>
            </a:endParaRPr>
          </a:p>
        </p:txBody>
      </p:sp>
      <p:sp>
        <p:nvSpPr>
          <p:cNvPr id="30" name="矩形: 圆角 29">
            <a:extLst>
              <a:ext uri="{FF2B5EF4-FFF2-40B4-BE49-F238E27FC236}">
                <a16:creationId xmlns:a16="http://schemas.microsoft.com/office/drawing/2014/main" id="{1A2E97BB-03CB-4DCA-98D5-52DE070CBA02}"/>
              </a:ext>
            </a:extLst>
          </p:cNvPr>
          <p:cNvSpPr/>
          <p:nvPr/>
        </p:nvSpPr>
        <p:spPr>
          <a:xfrm flipV="1">
            <a:off x="6026481" y="4991454"/>
            <a:ext cx="3084174" cy="1227730"/>
          </a:xfrm>
          <a:prstGeom prst="roundRect">
            <a:avLst/>
          </a:prstGeom>
          <a:solidFill>
            <a:schemeClr val="bg1"/>
          </a:solidFill>
          <a:ln>
            <a:noFill/>
          </a:ln>
          <a:effectLst>
            <a:outerShdw blurRad="127000" sx="104000" sy="104000" algn="ctr" rotWithShape="0">
              <a:schemeClr val="accent1">
                <a:lumMod val="90000"/>
                <a:lumOff val="10000"/>
                <a:alpha val="1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31" name="椭圆 30">
            <a:extLst>
              <a:ext uri="{FF2B5EF4-FFF2-40B4-BE49-F238E27FC236}">
                <a16:creationId xmlns:a16="http://schemas.microsoft.com/office/drawing/2014/main" id="{61133EC0-EF0C-4C54-A3CA-0166003AF341}"/>
              </a:ext>
            </a:extLst>
          </p:cNvPr>
          <p:cNvSpPr/>
          <p:nvPr/>
        </p:nvSpPr>
        <p:spPr>
          <a:xfrm flipV="1">
            <a:off x="5969350" y="5548191"/>
            <a:ext cx="114260" cy="114258"/>
          </a:xfrm>
          <a:prstGeom prst="ellipse">
            <a:avLst/>
          </a:prstGeom>
          <a:solidFill>
            <a:schemeClr val="bg1"/>
          </a:solidFill>
          <a:ln w="19050">
            <a:solidFill>
              <a:schemeClr val="accent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27" name="矩形: 圆角 26">
            <a:extLst>
              <a:ext uri="{FF2B5EF4-FFF2-40B4-BE49-F238E27FC236}">
                <a16:creationId xmlns:a16="http://schemas.microsoft.com/office/drawing/2014/main" id="{6621CDAF-20D0-4F2A-A740-491298CB96D4}"/>
              </a:ext>
            </a:extLst>
          </p:cNvPr>
          <p:cNvSpPr/>
          <p:nvPr/>
        </p:nvSpPr>
        <p:spPr>
          <a:xfrm>
            <a:off x="6026481" y="1190625"/>
            <a:ext cx="3084173" cy="1227730"/>
          </a:xfrm>
          <a:prstGeom prst="roundRect">
            <a:avLst/>
          </a:prstGeom>
          <a:solidFill>
            <a:schemeClr val="bg1"/>
          </a:solidFill>
          <a:ln>
            <a:noFill/>
          </a:ln>
          <a:effectLst>
            <a:outerShdw blurRad="127000" sx="104000" sy="104000" algn="ctr" rotWithShape="0">
              <a:schemeClr val="accent1">
                <a:lumMod val="90000"/>
                <a:lumOff val="10000"/>
                <a:alpha val="1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42" name="矩形: 圆角 41">
            <a:extLst>
              <a:ext uri="{FF2B5EF4-FFF2-40B4-BE49-F238E27FC236}">
                <a16:creationId xmlns:a16="http://schemas.microsoft.com/office/drawing/2014/main" id="{75F8383F-13CF-4E8F-A34C-8F01FE989E44}"/>
              </a:ext>
            </a:extLst>
          </p:cNvPr>
          <p:cNvSpPr/>
          <p:nvPr/>
        </p:nvSpPr>
        <p:spPr>
          <a:xfrm>
            <a:off x="7053253" y="3081835"/>
            <a:ext cx="2969913" cy="1227730"/>
          </a:xfrm>
          <a:prstGeom prst="roundRect">
            <a:avLst/>
          </a:prstGeom>
          <a:solidFill>
            <a:schemeClr val="bg1"/>
          </a:solidFill>
          <a:ln>
            <a:noFill/>
          </a:ln>
          <a:effectLst>
            <a:outerShdw blurRad="127000" sx="104000" sy="104000" algn="ctr" rotWithShape="0">
              <a:schemeClr val="accent1">
                <a:lumMod val="90000"/>
                <a:lumOff val="10000"/>
                <a:alpha val="1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28" name="椭圆 27">
            <a:extLst>
              <a:ext uri="{FF2B5EF4-FFF2-40B4-BE49-F238E27FC236}">
                <a16:creationId xmlns:a16="http://schemas.microsoft.com/office/drawing/2014/main" id="{433E3FEE-6000-4F18-9E4F-25B8B2D374B8}"/>
              </a:ext>
            </a:extLst>
          </p:cNvPr>
          <p:cNvSpPr/>
          <p:nvPr/>
        </p:nvSpPr>
        <p:spPr>
          <a:xfrm>
            <a:off x="5969350" y="1747360"/>
            <a:ext cx="114260" cy="114258"/>
          </a:xfrm>
          <a:prstGeom prst="ellipse">
            <a:avLst/>
          </a:prstGeom>
          <a:solidFill>
            <a:schemeClr val="bg1"/>
          </a:solidFill>
          <a:ln w="19050">
            <a:solidFill>
              <a:schemeClr val="accent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41" name="椭圆 40">
            <a:extLst>
              <a:ext uri="{FF2B5EF4-FFF2-40B4-BE49-F238E27FC236}">
                <a16:creationId xmlns:a16="http://schemas.microsoft.com/office/drawing/2014/main" id="{325F11E0-E326-4BCD-96E9-A29DD083C12E}"/>
              </a:ext>
            </a:extLst>
          </p:cNvPr>
          <p:cNvSpPr/>
          <p:nvPr/>
        </p:nvSpPr>
        <p:spPr>
          <a:xfrm>
            <a:off x="6987252" y="3638571"/>
            <a:ext cx="114260" cy="114258"/>
          </a:xfrm>
          <a:prstGeom prst="ellipse">
            <a:avLst/>
          </a:prstGeom>
          <a:solidFill>
            <a:schemeClr val="bg1"/>
          </a:solidFill>
          <a:ln w="19050">
            <a:solidFill>
              <a:schemeClr val="accent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cxnSp>
        <p:nvCxnSpPr>
          <p:cNvPr id="47" name="直接连接符 46">
            <a:extLst>
              <a:ext uri="{FF2B5EF4-FFF2-40B4-BE49-F238E27FC236}">
                <a16:creationId xmlns:a16="http://schemas.microsoft.com/office/drawing/2014/main" id="{FA89E683-E981-4A64-9324-D06136A64799}"/>
              </a:ext>
            </a:extLst>
          </p:cNvPr>
          <p:cNvCxnSpPr>
            <a:stCxn id="14" idx="6"/>
          </p:cNvCxnSpPr>
          <p:nvPr/>
        </p:nvCxnSpPr>
        <p:spPr>
          <a:xfrm>
            <a:off x="4912034" y="3695700"/>
            <a:ext cx="2075218" cy="0"/>
          </a:xfrm>
          <a:prstGeom prst="line">
            <a:avLst/>
          </a:prstGeom>
          <a:noFill/>
          <a:ln w="19050">
            <a:solidFill>
              <a:schemeClr val="accent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cxnSp>
      <p:sp>
        <p:nvSpPr>
          <p:cNvPr id="48" name="文本框 47">
            <a:extLst>
              <a:ext uri="{FF2B5EF4-FFF2-40B4-BE49-F238E27FC236}">
                <a16:creationId xmlns:a16="http://schemas.microsoft.com/office/drawing/2014/main" id="{0F1F94A6-F119-4921-B02F-1F57289BB6DA}"/>
              </a:ext>
            </a:extLst>
          </p:cNvPr>
          <p:cNvSpPr txBox="1"/>
          <p:nvPr/>
        </p:nvSpPr>
        <p:spPr>
          <a:xfrm>
            <a:off x="6356134" y="1491652"/>
            <a:ext cx="1154162" cy="276999"/>
          </a:xfrm>
          <a:prstGeom prst="rect">
            <a:avLst/>
          </a:prstGeom>
          <a:noFill/>
        </p:spPr>
        <p:txBody>
          <a:bodyPr wrap="none" lIns="0" tIns="0" rIns="0" bIns="0" rtlCol="0" anchor="t">
            <a:spAutoFit/>
          </a:bodyPr>
          <a:lstStyle/>
          <a:p>
            <a:r>
              <a:rPr lang="zh-CN" altLang="en-US" dirty="0">
                <a:solidFill>
                  <a:schemeClr val="accent1"/>
                </a:solidFill>
                <a:latin typeface="+mj-ea"/>
                <a:ea typeface="+mj-ea"/>
              </a:rPr>
              <a:t>关键词标题</a:t>
            </a:r>
          </a:p>
        </p:txBody>
      </p:sp>
      <p:sp>
        <p:nvSpPr>
          <p:cNvPr id="49" name="文本框 48">
            <a:extLst>
              <a:ext uri="{FF2B5EF4-FFF2-40B4-BE49-F238E27FC236}">
                <a16:creationId xmlns:a16="http://schemas.microsoft.com/office/drawing/2014/main" id="{FF59A825-D623-42D1-9C8D-5572E5932994}"/>
              </a:ext>
            </a:extLst>
          </p:cNvPr>
          <p:cNvSpPr txBox="1"/>
          <p:nvPr/>
        </p:nvSpPr>
        <p:spPr>
          <a:xfrm>
            <a:off x="6356134" y="1768651"/>
            <a:ext cx="2465443" cy="387286"/>
          </a:xfrm>
          <a:prstGeom prst="rect">
            <a:avLst/>
          </a:prstGeom>
          <a:noFill/>
        </p:spPr>
        <p:txBody>
          <a:bodyPr wrap="square" lIns="0" tIns="0" rIns="0" bIns="0" rtlCol="0" anchor="t">
            <a:spAutoFit/>
          </a:bodyPr>
          <a:lstStyle/>
          <a:p>
            <a:pPr>
              <a:lnSpc>
                <a:spcPct val="130000"/>
              </a:lnSpc>
            </a:pPr>
            <a:r>
              <a:rPr lang="en-US" altLang="zh-CN" sz="1000" b="0" dirty="0">
                <a:solidFill>
                  <a:schemeClr val="tx1">
                    <a:lumMod val="75000"/>
                    <a:lumOff val="25000"/>
                  </a:schemeClr>
                </a:solidFill>
                <a:effectLst/>
                <a:latin typeface="+mn-ea"/>
              </a:rPr>
              <a:t>Lorem ipsum dolor sit amet, consectetur adipisicing elit, sed do eiusmod tempor</a:t>
            </a:r>
            <a:endParaRPr lang="zh-CN" altLang="en-US" sz="1000" b="0" dirty="0">
              <a:solidFill>
                <a:schemeClr val="tx1">
                  <a:lumMod val="75000"/>
                  <a:lumOff val="25000"/>
                </a:schemeClr>
              </a:solidFill>
              <a:effectLst/>
              <a:latin typeface="+mn-ea"/>
            </a:endParaRPr>
          </a:p>
        </p:txBody>
      </p:sp>
      <p:sp>
        <p:nvSpPr>
          <p:cNvPr id="50" name="文本框 49">
            <a:extLst>
              <a:ext uri="{FF2B5EF4-FFF2-40B4-BE49-F238E27FC236}">
                <a16:creationId xmlns:a16="http://schemas.microsoft.com/office/drawing/2014/main" id="{60260234-D671-422C-82C6-24D1C8DF1901}"/>
              </a:ext>
            </a:extLst>
          </p:cNvPr>
          <p:cNvSpPr txBox="1"/>
          <p:nvPr/>
        </p:nvSpPr>
        <p:spPr>
          <a:xfrm>
            <a:off x="7329618" y="3365902"/>
            <a:ext cx="1154162" cy="276999"/>
          </a:xfrm>
          <a:prstGeom prst="rect">
            <a:avLst/>
          </a:prstGeom>
          <a:noFill/>
        </p:spPr>
        <p:txBody>
          <a:bodyPr wrap="none" lIns="0" tIns="0" rIns="0" bIns="0" rtlCol="0" anchor="t">
            <a:spAutoFit/>
          </a:bodyPr>
          <a:lstStyle/>
          <a:p>
            <a:r>
              <a:rPr lang="zh-CN" altLang="en-US" dirty="0">
                <a:solidFill>
                  <a:schemeClr val="accent1"/>
                </a:solidFill>
                <a:latin typeface="+mj-ea"/>
                <a:ea typeface="+mj-ea"/>
              </a:rPr>
              <a:t>关键词标题</a:t>
            </a:r>
          </a:p>
        </p:txBody>
      </p:sp>
      <p:sp>
        <p:nvSpPr>
          <p:cNvPr id="51" name="文本框 50">
            <a:extLst>
              <a:ext uri="{FF2B5EF4-FFF2-40B4-BE49-F238E27FC236}">
                <a16:creationId xmlns:a16="http://schemas.microsoft.com/office/drawing/2014/main" id="{4F5D9277-B56D-41F3-AFD3-02DE11691870}"/>
              </a:ext>
            </a:extLst>
          </p:cNvPr>
          <p:cNvSpPr txBox="1"/>
          <p:nvPr/>
        </p:nvSpPr>
        <p:spPr>
          <a:xfrm>
            <a:off x="7329618" y="3642901"/>
            <a:ext cx="2465443" cy="387286"/>
          </a:xfrm>
          <a:prstGeom prst="rect">
            <a:avLst/>
          </a:prstGeom>
          <a:noFill/>
        </p:spPr>
        <p:txBody>
          <a:bodyPr wrap="square" lIns="0" tIns="0" rIns="0" bIns="0" rtlCol="0" anchor="t">
            <a:spAutoFit/>
          </a:bodyPr>
          <a:lstStyle/>
          <a:p>
            <a:pPr>
              <a:lnSpc>
                <a:spcPct val="130000"/>
              </a:lnSpc>
            </a:pPr>
            <a:r>
              <a:rPr lang="en-US" altLang="zh-CN" sz="1000" b="0" dirty="0">
                <a:solidFill>
                  <a:schemeClr val="tx1">
                    <a:lumMod val="75000"/>
                    <a:lumOff val="25000"/>
                  </a:schemeClr>
                </a:solidFill>
                <a:effectLst/>
                <a:latin typeface="+mn-ea"/>
              </a:rPr>
              <a:t>Lorem ipsum dolor sit amet, consectetur adipisicing elit, sed do eiusmod tempor</a:t>
            </a:r>
            <a:endParaRPr lang="zh-CN" altLang="en-US" sz="1000" b="0" dirty="0">
              <a:solidFill>
                <a:schemeClr val="tx1">
                  <a:lumMod val="75000"/>
                  <a:lumOff val="25000"/>
                </a:schemeClr>
              </a:solidFill>
              <a:effectLst/>
              <a:latin typeface="+mn-ea"/>
            </a:endParaRPr>
          </a:p>
        </p:txBody>
      </p:sp>
      <p:sp>
        <p:nvSpPr>
          <p:cNvPr id="52" name="文本框 51">
            <a:extLst>
              <a:ext uri="{FF2B5EF4-FFF2-40B4-BE49-F238E27FC236}">
                <a16:creationId xmlns:a16="http://schemas.microsoft.com/office/drawing/2014/main" id="{24695274-BF3F-4A0F-B907-432FA8878941}"/>
              </a:ext>
            </a:extLst>
          </p:cNvPr>
          <p:cNvSpPr txBox="1"/>
          <p:nvPr/>
        </p:nvSpPr>
        <p:spPr>
          <a:xfrm>
            <a:off x="6356134" y="5271191"/>
            <a:ext cx="1154162" cy="276999"/>
          </a:xfrm>
          <a:prstGeom prst="rect">
            <a:avLst/>
          </a:prstGeom>
          <a:noFill/>
        </p:spPr>
        <p:txBody>
          <a:bodyPr wrap="none" lIns="0" tIns="0" rIns="0" bIns="0" rtlCol="0" anchor="t">
            <a:spAutoFit/>
          </a:bodyPr>
          <a:lstStyle/>
          <a:p>
            <a:r>
              <a:rPr lang="zh-CN" altLang="en-US" dirty="0">
                <a:solidFill>
                  <a:schemeClr val="accent1"/>
                </a:solidFill>
                <a:latin typeface="+mj-ea"/>
                <a:ea typeface="+mj-ea"/>
              </a:rPr>
              <a:t>关键词标题</a:t>
            </a:r>
          </a:p>
        </p:txBody>
      </p:sp>
      <p:sp>
        <p:nvSpPr>
          <p:cNvPr id="53" name="文本框 52">
            <a:extLst>
              <a:ext uri="{FF2B5EF4-FFF2-40B4-BE49-F238E27FC236}">
                <a16:creationId xmlns:a16="http://schemas.microsoft.com/office/drawing/2014/main" id="{B3D61AFF-97A7-4A77-897D-99C2ED17775A}"/>
              </a:ext>
            </a:extLst>
          </p:cNvPr>
          <p:cNvSpPr txBox="1"/>
          <p:nvPr/>
        </p:nvSpPr>
        <p:spPr>
          <a:xfrm>
            <a:off x="6356134" y="5548190"/>
            <a:ext cx="2465443" cy="387286"/>
          </a:xfrm>
          <a:prstGeom prst="rect">
            <a:avLst/>
          </a:prstGeom>
          <a:noFill/>
        </p:spPr>
        <p:txBody>
          <a:bodyPr wrap="square" lIns="0" tIns="0" rIns="0" bIns="0" rtlCol="0" anchor="t">
            <a:spAutoFit/>
          </a:bodyPr>
          <a:lstStyle/>
          <a:p>
            <a:pPr>
              <a:lnSpc>
                <a:spcPct val="130000"/>
              </a:lnSpc>
            </a:pPr>
            <a:r>
              <a:rPr lang="en-US" altLang="zh-CN" sz="1000" b="0" dirty="0">
                <a:solidFill>
                  <a:schemeClr val="tx1">
                    <a:lumMod val="75000"/>
                    <a:lumOff val="25000"/>
                  </a:schemeClr>
                </a:solidFill>
                <a:effectLst/>
                <a:latin typeface="+mn-ea"/>
              </a:rPr>
              <a:t>Lorem ipsum dolor sit amet, consectetur adipisicing elit, sed do eiusmod tempor</a:t>
            </a:r>
            <a:endParaRPr lang="zh-CN" altLang="en-US" sz="1000" b="0" dirty="0">
              <a:solidFill>
                <a:schemeClr val="tx1">
                  <a:lumMod val="75000"/>
                  <a:lumOff val="25000"/>
                </a:schemeClr>
              </a:solidFill>
              <a:effectLst/>
              <a:latin typeface="+mn-ea"/>
            </a:endParaRPr>
          </a:p>
        </p:txBody>
      </p:sp>
    </p:spTree>
    <p:extLst>
      <p:ext uri="{BB962C8B-B14F-4D97-AF65-F5344CB8AC3E}">
        <p14:creationId xmlns:p14="http://schemas.microsoft.com/office/powerpoint/2010/main" val="2471823851"/>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2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 name="椭圆 63">
            <a:extLst>
              <a:ext uri="{FF2B5EF4-FFF2-40B4-BE49-F238E27FC236}">
                <a16:creationId xmlns:a16="http://schemas.microsoft.com/office/drawing/2014/main" id="{0A7760BE-286B-4463-925B-ED6C1CD2B123}"/>
              </a:ext>
            </a:extLst>
          </p:cNvPr>
          <p:cNvSpPr/>
          <p:nvPr/>
        </p:nvSpPr>
        <p:spPr>
          <a:xfrm>
            <a:off x="927100" y="4225134"/>
            <a:ext cx="10337800" cy="2222711"/>
          </a:xfrm>
          <a:prstGeom prst="ellipse">
            <a:avLst/>
          </a:prstGeom>
          <a:gradFill>
            <a:gsLst>
              <a:gs pos="0">
                <a:schemeClr val="accent1">
                  <a:lumMod val="75000"/>
                  <a:lumOff val="25000"/>
                  <a:alpha val="0"/>
                </a:schemeClr>
              </a:gs>
              <a:gs pos="100000">
                <a:schemeClr val="accent1">
                  <a:lumMod val="50000"/>
                  <a:lumOff val="50000"/>
                  <a:alpha val="15000"/>
                </a:schemeClr>
              </a:gs>
            </a:gsLst>
            <a:lin ang="5400000" scaled="1"/>
          </a:gra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2" name="椭圆 1">
            <a:extLst>
              <a:ext uri="{FF2B5EF4-FFF2-40B4-BE49-F238E27FC236}">
                <a16:creationId xmlns:a16="http://schemas.microsoft.com/office/drawing/2014/main" id="{8A990B49-C60A-4F6F-A008-75EC0086A9AE}"/>
              </a:ext>
            </a:extLst>
          </p:cNvPr>
          <p:cNvSpPr/>
          <p:nvPr/>
        </p:nvSpPr>
        <p:spPr>
          <a:xfrm>
            <a:off x="1197312" y="4364599"/>
            <a:ext cx="9797375" cy="1788855"/>
          </a:xfrm>
          <a:prstGeom prst="ellipse">
            <a:avLst/>
          </a:prstGeom>
          <a:solidFill>
            <a:schemeClr val="accent1">
              <a:lumMod val="10000"/>
              <a:lumOff val="90000"/>
              <a:alpha val="17000"/>
            </a:schemeClr>
          </a:solidFill>
          <a:ln w="25400">
            <a:gradFill>
              <a:gsLst>
                <a:gs pos="18000">
                  <a:schemeClr val="accent1">
                    <a:lumMod val="75000"/>
                    <a:lumOff val="25000"/>
                    <a:alpha val="0"/>
                  </a:schemeClr>
                </a:gs>
                <a:gs pos="100000">
                  <a:schemeClr val="accent1">
                    <a:lumMod val="50000"/>
                    <a:lumOff val="5000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5" name="梯形 4">
            <a:extLst>
              <a:ext uri="{FF2B5EF4-FFF2-40B4-BE49-F238E27FC236}">
                <a16:creationId xmlns:a16="http://schemas.microsoft.com/office/drawing/2014/main" id="{6573E0C4-D329-4DF6-AF2D-EFEFCE040881}"/>
              </a:ext>
            </a:extLst>
          </p:cNvPr>
          <p:cNvSpPr/>
          <p:nvPr/>
        </p:nvSpPr>
        <p:spPr>
          <a:xfrm rot="10800000">
            <a:off x="1323579" y="1977251"/>
            <a:ext cx="4123040" cy="2996523"/>
          </a:xfrm>
          <a:prstGeom prst="trapezoid">
            <a:avLst/>
          </a:prstGeom>
          <a:gradFill>
            <a:gsLst>
              <a:gs pos="0">
                <a:schemeClr val="accent1">
                  <a:lumMod val="25000"/>
                  <a:lumOff val="75000"/>
                  <a:alpha val="25000"/>
                </a:schemeClr>
              </a:gs>
              <a:gs pos="100000">
                <a:schemeClr val="accent1">
                  <a:lumMod val="25000"/>
                  <a:lumOff val="75000"/>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23" name="椭圆 22">
            <a:extLst>
              <a:ext uri="{FF2B5EF4-FFF2-40B4-BE49-F238E27FC236}">
                <a16:creationId xmlns:a16="http://schemas.microsoft.com/office/drawing/2014/main" id="{ED1E4604-6F76-474C-89CF-F7806BFDE86B}"/>
              </a:ext>
            </a:extLst>
          </p:cNvPr>
          <p:cNvSpPr/>
          <p:nvPr/>
        </p:nvSpPr>
        <p:spPr>
          <a:xfrm>
            <a:off x="1684393" y="4677126"/>
            <a:ext cx="3410253" cy="898241"/>
          </a:xfrm>
          <a:prstGeom prst="ellipse">
            <a:avLst/>
          </a:prstGeom>
          <a:solidFill>
            <a:schemeClr val="accent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24" name="椭圆 23">
            <a:extLst>
              <a:ext uri="{FF2B5EF4-FFF2-40B4-BE49-F238E27FC236}">
                <a16:creationId xmlns:a16="http://schemas.microsoft.com/office/drawing/2014/main" id="{C4172B8D-9C67-4193-B6F8-C05B466DE493}"/>
              </a:ext>
            </a:extLst>
          </p:cNvPr>
          <p:cNvSpPr/>
          <p:nvPr/>
        </p:nvSpPr>
        <p:spPr>
          <a:xfrm>
            <a:off x="1810730" y="4677126"/>
            <a:ext cx="3157578" cy="729020"/>
          </a:xfrm>
          <a:prstGeom prst="ellipse">
            <a:avLst/>
          </a:prstGeom>
          <a:solidFill>
            <a:schemeClr val="accent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32" name="椭圆 31">
            <a:extLst>
              <a:ext uri="{FF2B5EF4-FFF2-40B4-BE49-F238E27FC236}">
                <a16:creationId xmlns:a16="http://schemas.microsoft.com/office/drawing/2014/main" id="{4854A982-46EB-4B04-9790-2B832CF086CF}"/>
              </a:ext>
            </a:extLst>
          </p:cNvPr>
          <p:cNvSpPr/>
          <p:nvPr/>
        </p:nvSpPr>
        <p:spPr>
          <a:xfrm>
            <a:off x="2082041" y="4677126"/>
            <a:ext cx="2614958" cy="554948"/>
          </a:xfrm>
          <a:prstGeom prst="ellipse">
            <a:avLst/>
          </a:prstGeom>
          <a:gradFill>
            <a:gsLst>
              <a:gs pos="0">
                <a:schemeClr val="accent1">
                  <a:lumMod val="50000"/>
                  <a:lumOff val="50000"/>
                  <a:alpha val="0"/>
                </a:schemeClr>
              </a:gs>
              <a:gs pos="100000">
                <a:schemeClr val="accent1">
                  <a:lumMod val="50000"/>
                  <a:lumOff val="50000"/>
                  <a:alpha val="15000"/>
                </a:schemeClr>
              </a:gs>
            </a:gsLst>
            <a:lin ang="5400000" scaled="1"/>
          </a:gradFill>
          <a:ln w="25400">
            <a:gradFill>
              <a:gsLst>
                <a:gs pos="20000">
                  <a:schemeClr val="accent1">
                    <a:alpha val="0"/>
                  </a:schemeClr>
                </a:gs>
                <a:gs pos="100000">
                  <a:schemeClr val="accent1"/>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zh-CN" altLang="en-US" sz="1600">
              <a:solidFill>
                <a:schemeClr val="bg1"/>
              </a:solidFill>
              <a:latin typeface="+mj-ea"/>
              <a:ea typeface="+mj-ea"/>
            </a:endParaRPr>
          </a:p>
        </p:txBody>
      </p:sp>
      <p:sp>
        <p:nvSpPr>
          <p:cNvPr id="33" name="椭圆 32">
            <a:extLst>
              <a:ext uri="{FF2B5EF4-FFF2-40B4-BE49-F238E27FC236}">
                <a16:creationId xmlns:a16="http://schemas.microsoft.com/office/drawing/2014/main" id="{55EA8AE4-6D7B-4C4E-984E-E15FCA0A26C6}"/>
              </a:ext>
            </a:extLst>
          </p:cNvPr>
          <p:cNvSpPr/>
          <p:nvPr/>
        </p:nvSpPr>
        <p:spPr>
          <a:xfrm>
            <a:off x="2082041" y="3934329"/>
            <a:ext cx="2614958" cy="554948"/>
          </a:xfrm>
          <a:prstGeom prst="ellipse">
            <a:avLst/>
          </a:prstGeom>
          <a:gradFill>
            <a:gsLst>
              <a:gs pos="0">
                <a:schemeClr val="accent1">
                  <a:lumMod val="50000"/>
                  <a:lumOff val="50000"/>
                  <a:alpha val="0"/>
                </a:schemeClr>
              </a:gs>
              <a:gs pos="100000">
                <a:schemeClr val="accent1">
                  <a:lumMod val="50000"/>
                  <a:lumOff val="50000"/>
                  <a:alpha val="15000"/>
                </a:schemeClr>
              </a:gs>
            </a:gsLst>
            <a:lin ang="5400000" scaled="1"/>
          </a:gradFill>
          <a:ln w="25400">
            <a:gradFill>
              <a:gsLst>
                <a:gs pos="20000">
                  <a:schemeClr val="accent1">
                    <a:alpha val="0"/>
                  </a:schemeClr>
                </a:gs>
                <a:gs pos="100000">
                  <a:schemeClr val="accent1"/>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34" name="椭圆 33">
            <a:extLst>
              <a:ext uri="{FF2B5EF4-FFF2-40B4-BE49-F238E27FC236}">
                <a16:creationId xmlns:a16="http://schemas.microsoft.com/office/drawing/2014/main" id="{8BC27904-2DAB-482C-AE8D-2F0A50C1EA20}"/>
              </a:ext>
            </a:extLst>
          </p:cNvPr>
          <p:cNvSpPr/>
          <p:nvPr/>
        </p:nvSpPr>
        <p:spPr>
          <a:xfrm>
            <a:off x="2082041" y="3191534"/>
            <a:ext cx="2614958" cy="554948"/>
          </a:xfrm>
          <a:prstGeom prst="ellipse">
            <a:avLst/>
          </a:prstGeom>
          <a:gradFill>
            <a:gsLst>
              <a:gs pos="0">
                <a:schemeClr val="accent1">
                  <a:lumMod val="50000"/>
                  <a:lumOff val="50000"/>
                  <a:alpha val="0"/>
                </a:schemeClr>
              </a:gs>
              <a:gs pos="100000">
                <a:schemeClr val="accent1">
                  <a:lumMod val="50000"/>
                  <a:lumOff val="50000"/>
                  <a:alpha val="15000"/>
                </a:schemeClr>
              </a:gs>
            </a:gsLst>
            <a:lin ang="5400000" scaled="1"/>
          </a:gradFill>
          <a:ln w="25400">
            <a:gradFill>
              <a:gsLst>
                <a:gs pos="20000">
                  <a:schemeClr val="accent1">
                    <a:alpha val="0"/>
                  </a:schemeClr>
                </a:gs>
                <a:gs pos="100000">
                  <a:schemeClr val="accent1"/>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35" name="椭圆 34">
            <a:extLst>
              <a:ext uri="{FF2B5EF4-FFF2-40B4-BE49-F238E27FC236}">
                <a16:creationId xmlns:a16="http://schemas.microsoft.com/office/drawing/2014/main" id="{21005A44-159A-43C2-A698-8D51D1AB5770}"/>
              </a:ext>
            </a:extLst>
          </p:cNvPr>
          <p:cNvSpPr/>
          <p:nvPr/>
        </p:nvSpPr>
        <p:spPr>
          <a:xfrm>
            <a:off x="2082041" y="2448738"/>
            <a:ext cx="2614958" cy="554948"/>
          </a:xfrm>
          <a:prstGeom prst="ellipse">
            <a:avLst/>
          </a:prstGeom>
          <a:gradFill>
            <a:gsLst>
              <a:gs pos="0">
                <a:schemeClr val="accent1">
                  <a:lumMod val="50000"/>
                  <a:lumOff val="50000"/>
                  <a:alpha val="0"/>
                </a:schemeClr>
              </a:gs>
              <a:gs pos="100000">
                <a:schemeClr val="accent1">
                  <a:lumMod val="50000"/>
                  <a:lumOff val="50000"/>
                  <a:alpha val="15000"/>
                </a:schemeClr>
              </a:gs>
            </a:gsLst>
            <a:lin ang="5400000" scaled="1"/>
          </a:gradFill>
          <a:ln w="25400">
            <a:gradFill>
              <a:gsLst>
                <a:gs pos="20000">
                  <a:schemeClr val="accent1">
                    <a:alpha val="0"/>
                  </a:schemeClr>
                </a:gs>
                <a:gs pos="100000">
                  <a:schemeClr val="accent1"/>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36" name="文本框 35">
            <a:extLst>
              <a:ext uri="{FF2B5EF4-FFF2-40B4-BE49-F238E27FC236}">
                <a16:creationId xmlns:a16="http://schemas.microsoft.com/office/drawing/2014/main" id="{B5B220B8-218E-48B6-A7EA-7A03C8D8D3D5}"/>
              </a:ext>
            </a:extLst>
          </p:cNvPr>
          <p:cNvSpPr txBox="1"/>
          <p:nvPr/>
        </p:nvSpPr>
        <p:spPr>
          <a:xfrm>
            <a:off x="2861419" y="2589271"/>
            <a:ext cx="1154162" cy="276999"/>
          </a:xfrm>
          <a:prstGeom prst="rect">
            <a:avLst/>
          </a:prstGeom>
          <a:noFill/>
        </p:spPr>
        <p:txBody>
          <a:bodyPr wrap="none" lIns="0" tIns="0" rIns="0" bIns="0" rtlCol="0" anchor="t">
            <a:spAutoFit/>
          </a:bodyPr>
          <a:lstStyle/>
          <a:p>
            <a:r>
              <a:rPr lang="zh-CN" altLang="en-US" dirty="0">
                <a:solidFill>
                  <a:schemeClr val="accent1"/>
                </a:solidFill>
                <a:latin typeface="+mj-ea"/>
                <a:ea typeface="+mj-ea"/>
              </a:rPr>
              <a:t>关键词标题</a:t>
            </a:r>
          </a:p>
        </p:txBody>
      </p:sp>
      <p:sp>
        <p:nvSpPr>
          <p:cNvPr id="37" name="文本框 36">
            <a:extLst>
              <a:ext uri="{FF2B5EF4-FFF2-40B4-BE49-F238E27FC236}">
                <a16:creationId xmlns:a16="http://schemas.microsoft.com/office/drawing/2014/main" id="{738DA48A-8423-4E4F-99C7-092EC2717CDD}"/>
              </a:ext>
            </a:extLst>
          </p:cNvPr>
          <p:cNvSpPr txBox="1"/>
          <p:nvPr/>
        </p:nvSpPr>
        <p:spPr>
          <a:xfrm>
            <a:off x="2861419" y="3377246"/>
            <a:ext cx="1154162" cy="276999"/>
          </a:xfrm>
          <a:prstGeom prst="rect">
            <a:avLst/>
          </a:prstGeom>
          <a:noFill/>
        </p:spPr>
        <p:txBody>
          <a:bodyPr wrap="none" lIns="0" tIns="0" rIns="0" bIns="0" rtlCol="0" anchor="t">
            <a:spAutoFit/>
          </a:bodyPr>
          <a:lstStyle/>
          <a:p>
            <a:r>
              <a:rPr lang="zh-CN" altLang="en-US" dirty="0">
                <a:solidFill>
                  <a:schemeClr val="accent1"/>
                </a:solidFill>
                <a:latin typeface="+mj-ea"/>
                <a:ea typeface="+mj-ea"/>
              </a:rPr>
              <a:t>关键词标题</a:t>
            </a:r>
          </a:p>
        </p:txBody>
      </p:sp>
      <p:sp>
        <p:nvSpPr>
          <p:cNvPr id="38" name="文本框 37">
            <a:extLst>
              <a:ext uri="{FF2B5EF4-FFF2-40B4-BE49-F238E27FC236}">
                <a16:creationId xmlns:a16="http://schemas.microsoft.com/office/drawing/2014/main" id="{44C60FB8-6B6D-447A-B616-85B0D502819F}"/>
              </a:ext>
            </a:extLst>
          </p:cNvPr>
          <p:cNvSpPr txBox="1"/>
          <p:nvPr/>
        </p:nvSpPr>
        <p:spPr>
          <a:xfrm>
            <a:off x="2861419" y="4074568"/>
            <a:ext cx="1154162" cy="276999"/>
          </a:xfrm>
          <a:prstGeom prst="rect">
            <a:avLst/>
          </a:prstGeom>
          <a:noFill/>
        </p:spPr>
        <p:txBody>
          <a:bodyPr wrap="none" lIns="0" tIns="0" rIns="0" bIns="0" rtlCol="0" anchor="t">
            <a:spAutoFit/>
          </a:bodyPr>
          <a:lstStyle/>
          <a:p>
            <a:r>
              <a:rPr lang="zh-CN" altLang="en-US" dirty="0">
                <a:solidFill>
                  <a:schemeClr val="accent1"/>
                </a:solidFill>
                <a:latin typeface="+mj-ea"/>
                <a:ea typeface="+mj-ea"/>
              </a:rPr>
              <a:t>关键词标题</a:t>
            </a:r>
          </a:p>
        </p:txBody>
      </p:sp>
      <p:sp>
        <p:nvSpPr>
          <p:cNvPr id="39" name="文本框 38">
            <a:extLst>
              <a:ext uri="{FF2B5EF4-FFF2-40B4-BE49-F238E27FC236}">
                <a16:creationId xmlns:a16="http://schemas.microsoft.com/office/drawing/2014/main" id="{A04F7A64-B0B0-48A2-8CE4-004062863646}"/>
              </a:ext>
            </a:extLst>
          </p:cNvPr>
          <p:cNvSpPr txBox="1"/>
          <p:nvPr/>
        </p:nvSpPr>
        <p:spPr>
          <a:xfrm>
            <a:off x="2861419" y="4794553"/>
            <a:ext cx="1154162" cy="276999"/>
          </a:xfrm>
          <a:prstGeom prst="rect">
            <a:avLst/>
          </a:prstGeom>
          <a:noFill/>
        </p:spPr>
        <p:txBody>
          <a:bodyPr wrap="none" lIns="0" tIns="0" rIns="0" bIns="0" rtlCol="0" anchor="t">
            <a:spAutoFit/>
          </a:bodyPr>
          <a:lstStyle/>
          <a:p>
            <a:r>
              <a:rPr lang="zh-CN" altLang="en-US" dirty="0">
                <a:solidFill>
                  <a:schemeClr val="accent1"/>
                </a:solidFill>
                <a:latin typeface="+mj-ea"/>
                <a:ea typeface="+mj-ea"/>
              </a:rPr>
              <a:t>关键词标题</a:t>
            </a:r>
          </a:p>
        </p:txBody>
      </p:sp>
      <p:sp>
        <p:nvSpPr>
          <p:cNvPr id="40" name="梯形 39">
            <a:extLst>
              <a:ext uri="{FF2B5EF4-FFF2-40B4-BE49-F238E27FC236}">
                <a16:creationId xmlns:a16="http://schemas.microsoft.com/office/drawing/2014/main" id="{623E129D-DDB9-4A1C-8174-7D09C0FB1EF4}"/>
              </a:ext>
            </a:extLst>
          </p:cNvPr>
          <p:cNvSpPr/>
          <p:nvPr/>
        </p:nvSpPr>
        <p:spPr>
          <a:xfrm rot="10800000">
            <a:off x="6536759" y="1977251"/>
            <a:ext cx="4123040" cy="2996523"/>
          </a:xfrm>
          <a:prstGeom prst="trapezoid">
            <a:avLst/>
          </a:prstGeom>
          <a:gradFill>
            <a:gsLst>
              <a:gs pos="0">
                <a:schemeClr val="accent1">
                  <a:lumMod val="25000"/>
                  <a:lumOff val="75000"/>
                  <a:alpha val="25000"/>
                </a:schemeClr>
              </a:gs>
              <a:gs pos="100000">
                <a:schemeClr val="accent1">
                  <a:lumMod val="25000"/>
                  <a:lumOff val="75000"/>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43" name="椭圆 42">
            <a:extLst>
              <a:ext uri="{FF2B5EF4-FFF2-40B4-BE49-F238E27FC236}">
                <a16:creationId xmlns:a16="http://schemas.microsoft.com/office/drawing/2014/main" id="{E0BDBA08-EE38-4A8C-901B-5D85D2D1EC1B}"/>
              </a:ext>
            </a:extLst>
          </p:cNvPr>
          <p:cNvSpPr/>
          <p:nvPr/>
        </p:nvSpPr>
        <p:spPr>
          <a:xfrm>
            <a:off x="6897573" y="4677126"/>
            <a:ext cx="3410253" cy="898241"/>
          </a:xfrm>
          <a:prstGeom prst="ellipse">
            <a:avLst/>
          </a:prstGeom>
          <a:solidFill>
            <a:schemeClr val="accent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44" name="椭圆 43">
            <a:extLst>
              <a:ext uri="{FF2B5EF4-FFF2-40B4-BE49-F238E27FC236}">
                <a16:creationId xmlns:a16="http://schemas.microsoft.com/office/drawing/2014/main" id="{3514002E-972E-4480-878F-872E1CFDBF4C}"/>
              </a:ext>
            </a:extLst>
          </p:cNvPr>
          <p:cNvSpPr/>
          <p:nvPr/>
        </p:nvSpPr>
        <p:spPr>
          <a:xfrm>
            <a:off x="7023910" y="4677126"/>
            <a:ext cx="3157578" cy="729020"/>
          </a:xfrm>
          <a:prstGeom prst="ellipse">
            <a:avLst/>
          </a:prstGeom>
          <a:solidFill>
            <a:schemeClr val="accent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45" name="椭圆 44">
            <a:extLst>
              <a:ext uri="{FF2B5EF4-FFF2-40B4-BE49-F238E27FC236}">
                <a16:creationId xmlns:a16="http://schemas.microsoft.com/office/drawing/2014/main" id="{0A176180-CCA9-41A9-A449-0A3AF9FBCDA8}"/>
              </a:ext>
            </a:extLst>
          </p:cNvPr>
          <p:cNvSpPr/>
          <p:nvPr/>
        </p:nvSpPr>
        <p:spPr>
          <a:xfrm>
            <a:off x="7295221" y="4677126"/>
            <a:ext cx="2614958" cy="554948"/>
          </a:xfrm>
          <a:prstGeom prst="ellipse">
            <a:avLst/>
          </a:prstGeom>
          <a:gradFill>
            <a:gsLst>
              <a:gs pos="0">
                <a:schemeClr val="accent1">
                  <a:lumMod val="50000"/>
                  <a:lumOff val="50000"/>
                  <a:alpha val="0"/>
                </a:schemeClr>
              </a:gs>
              <a:gs pos="100000">
                <a:schemeClr val="accent1">
                  <a:lumMod val="50000"/>
                  <a:lumOff val="50000"/>
                  <a:alpha val="15000"/>
                </a:schemeClr>
              </a:gs>
            </a:gsLst>
            <a:lin ang="5400000" scaled="1"/>
          </a:gradFill>
          <a:ln w="25400">
            <a:gradFill>
              <a:gsLst>
                <a:gs pos="20000">
                  <a:schemeClr val="accent1">
                    <a:alpha val="0"/>
                  </a:schemeClr>
                </a:gs>
                <a:gs pos="100000">
                  <a:schemeClr val="accent1"/>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zh-CN" altLang="en-US" sz="1600">
              <a:solidFill>
                <a:schemeClr val="bg1"/>
              </a:solidFill>
              <a:latin typeface="+mj-ea"/>
              <a:ea typeface="+mj-ea"/>
            </a:endParaRPr>
          </a:p>
        </p:txBody>
      </p:sp>
      <p:sp>
        <p:nvSpPr>
          <p:cNvPr id="46" name="椭圆 45">
            <a:extLst>
              <a:ext uri="{FF2B5EF4-FFF2-40B4-BE49-F238E27FC236}">
                <a16:creationId xmlns:a16="http://schemas.microsoft.com/office/drawing/2014/main" id="{0E6A8B11-E901-4EF5-837B-F39489C0F350}"/>
              </a:ext>
            </a:extLst>
          </p:cNvPr>
          <p:cNvSpPr/>
          <p:nvPr/>
        </p:nvSpPr>
        <p:spPr>
          <a:xfrm>
            <a:off x="7295221" y="3934329"/>
            <a:ext cx="2614958" cy="554948"/>
          </a:xfrm>
          <a:prstGeom prst="ellipse">
            <a:avLst/>
          </a:prstGeom>
          <a:gradFill>
            <a:gsLst>
              <a:gs pos="0">
                <a:schemeClr val="accent1">
                  <a:lumMod val="50000"/>
                  <a:lumOff val="50000"/>
                  <a:alpha val="0"/>
                </a:schemeClr>
              </a:gs>
              <a:gs pos="100000">
                <a:schemeClr val="accent1">
                  <a:lumMod val="50000"/>
                  <a:lumOff val="50000"/>
                  <a:alpha val="15000"/>
                </a:schemeClr>
              </a:gs>
            </a:gsLst>
            <a:lin ang="5400000" scaled="1"/>
          </a:gradFill>
          <a:ln w="25400">
            <a:gradFill>
              <a:gsLst>
                <a:gs pos="20000">
                  <a:schemeClr val="accent1">
                    <a:alpha val="0"/>
                  </a:schemeClr>
                </a:gs>
                <a:gs pos="100000">
                  <a:schemeClr val="accent1"/>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54" name="椭圆 53">
            <a:extLst>
              <a:ext uri="{FF2B5EF4-FFF2-40B4-BE49-F238E27FC236}">
                <a16:creationId xmlns:a16="http://schemas.microsoft.com/office/drawing/2014/main" id="{B280CC40-52F1-4D58-8709-246FB9CFB972}"/>
              </a:ext>
            </a:extLst>
          </p:cNvPr>
          <p:cNvSpPr/>
          <p:nvPr/>
        </p:nvSpPr>
        <p:spPr>
          <a:xfrm>
            <a:off x="7295221" y="3191534"/>
            <a:ext cx="2614958" cy="554948"/>
          </a:xfrm>
          <a:prstGeom prst="ellipse">
            <a:avLst/>
          </a:prstGeom>
          <a:gradFill>
            <a:gsLst>
              <a:gs pos="0">
                <a:schemeClr val="accent1">
                  <a:lumMod val="50000"/>
                  <a:lumOff val="50000"/>
                  <a:alpha val="0"/>
                </a:schemeClr>
              </a:gs>
              <a:gs pos="100000">
                <a:schemeClr val="accent1">
                  <a:lumMod val="50000"/>
                  <a:lumOff val="50000"/>
                  <a:alpha val="15000"/>
                </a:schemeClr>
              </a:gs>
            </a:gsLst>
            <a:lin ang="5400000" scaled="1"/>
          </a:gradFill>
          <a:ln w="25400">
            <a:gradFill>
              <a:gsLst>
                <a:gs pos="20000">
                  <a:schemeClr val="accent1">
                    <a:alpha val="0"/>
                  </a:schemeClr>
                </a:gs>
                <a:gs pos="100000">
                  <a:schemeClr val="accent1"/>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55" name="椭圆 54">
            <a:extLst>
              <a:ext uri="{FF2B5EF4-FFF2-40B4-BE49-F238E27FC236}">
                <a16:creationId xmlns:a16="http://schemas.microsoft.com/office/drawing/2014/main" id="{23A04149-3419-4D0E-83FE-08291A4C9CEB}"/>
              </a:ext>
            </a:extLst>
          </p:cNvPr>
          <p:cNvSpPr/>
          <p:nvPr/>
        </p:nvSpPr>
        <p:spPr>
          <a:xfrm>
            <a:off x="7295221" y="2448738"/>
            <a:ext cx="2614958" cy="554948"/>
          </a:xfrm>
          <a:prstGeom prst="ellipse">
            <a:avLst/>
          </a:prstGeom>
          <a:gradFill>
            <a:gsLst>
              <a:gs pos="0">
                <a:schemeClr val="accent1">
                  <a:lumMod val="50000"/>
                  <a:lumOff val="50000"/>
                  <a:alpha val="0"/>
                </a:schemeClr>
              </a:gs>
              <a:gs pos="100000">
                <a:schemeClr val="accent1">
                  <a:lumMod val="50000"/>
                  <a:lumOff val="50000"/>
                  <a:alpha val="15000"/>
                </a:schemeClr>
              </a:gs>
            </a:gsLst>
            <a:lin ang="5400000" scaled="1"/>
          </a:gradFill>
          <a:ln w="25400">
            <a:gradFill>
              <a:gsLst>
                <a:gs pos="20000">
                  <a:schemeClr val="accent1">
                    <a:alpha val="0"/>
                  </a:schemeClr>
                </a:gs>
                <a:gs pos="100000">
                  <a:schemeClr val="accent1"/>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56" name="文本框 55">
            <a:extLst>
              <a:ext uri="{FF2B5EF4-FFF2-40B4-BE49-F238E27FC236}">
                <a16:creationId xmlns:a16="http://schemas.microsoft.com/office/drawing/2014/main" id="{873B363F-0B14-4B30-B6E7-BC8DC96AFCEC}"/>
              </a:ext>
            </a:extLst>
          </p:cNvPr>
          <p:cNvSpPr txBox="1"/>
          <p:nvPr/>
        </p:nvSpPr>
        <p:spPr>
          <a:xfrm>
            <a:off x="8074599" y="2589271"/>
            <a:ext cx="1154162" cy="276999"/>
          </a:xfrm>
          <a:prstGeom prst="rect">
            <a:avLst/>
          </a:prstGeom>
          <a:noFill/>
        </p:spPr>
        <p:txBody>
          <a:bodyPr wrap="none" lIns="0" tIns="0" rIns="0" bIns="0" rtlCol="0" anchor="t">
            <a:spAutoFit/>
          </a:bodyPr>
          <a:lstStyle/>
          <a:p>
            <a:r>
              <a:rPr lang="zh-CN" altLang="en-US" dirty="0">
                <a:solidFill>
                  <a:schemeClr val="accent1"/>
                </a:solidFill>
                <a:latin typeface="+mj-ea"/>
                <a:ea typeface="+mj-ea"/>
              </a:rPr>
              <a:t>关键词标题</a:t>
            </a:r>
          </a:p>
        </p:txBody>
      </p:sp>
      <p:sp>
        <p:nvSpPr>
          <p:cNvPr id="57" name="文本框 56">
            <a:extLst>
              <a:ext uri="{FF2B5EF4-FFF2-40B4-BE49-F238E27FC236}">
                <a16:creationId xmlns:a16="http://schemas.microsoft.com/office/drawing/2014/main" id="{39A73E72-C847-48B8-A33E-4015830B2CE4}"/>
              </a:ext>
            </a:extLst>
          </p:cNvPr>
          <p:cNvSpPr txBox="1"/>
          <p:nvPr/>
        </p:nvSpPr>
        <p:spPr>
          <a:xfrm>
            <a:off x="8074599" y="3377246"/>
            <a:ext cx="1154162" cy="276999"/>
          </a:xfrm>
          <a:prstGeom prst="rect">
            <a:avLst/>
          </a:prstGeom>
          <a:noFill/>
        </p:spPr>
        <p:txBody>
          <a:bodyPr wrap="none" lIns="0" tIns="0" rIns="0" bIns="0" rtlCol="0" anchor="t">
            <a:spAutoFit/>
          </a:bodyPr>
          <a:lstStyle/>
          <a:p>
            <a:r>
              <a:rPr lang="zh-CN" altLang="en-US" dirty="0">
                <a:solidFill>
                  <a:schemeClr val="accent1"/>
                </a:solidFill>
                <a:latin typeface="+mj-ea"/>
                <a:ea typeface="+mj-ea"/>
              </a:rPr>
              <a:t>关键词标题</a:t>
            </a:r>
          </a:p>
        </p:txBody>
      </p:sp>
      <p:sp>
        <p:nvSpPr>
          <p:cNvPr id="58" name="文本框 57">
            <a:extLst>
              <a:ext uri="{FF2B5EF4-FFF2-40B4-BE49-F238E27FC236}">
                <a16:creationId xmlns:a16="http://schemas.microsoft.com/office/drawing/2014/main" id="{9F3893B2-B2E6-4796-968E-32AC48D02A6A}"/>
              </a:ext>
            </a:extLst>
          </p:cNvPr>
          <p:cNvSpPr txBox="1"/>
          <p:nvPr/>
        </p:nvSpPr>
        <p:spPr>
          <a:xfrm>
            <a:off x="8074599" y="4074568"/>
            <a:ext cx="1154162" cy="276999"/>
          </a:xfrm>
          <a:prstGeom prst="rect">
            <a:avLst/>
          </a:prstGeom>
          <a:noFill/>
        </p:spPr>
        <p:txBody>
          <a:bodyPr wrap="none" lIns="0" tIns="0" rIns="0" bIns="0" rtlCol="0" anchor="t">
            <a:spAutoFit/>
          </a:bodyPr>
          <a:lstStyle/>
          <a:p>
            <a:r>
              <a:rPr lang="zh-CN" altLang="en-US" dirty="0">
                <a:solidFill>
                  <a:schemeClr val="accent1"/>
                </a:solidFill>
                <a:latin typeface="+mj-ea"/>
                <a:ea typeface="+mj-ea"/>
              </a:rPr>
              <a:t>关键词标题</a:t>
            </a:r>
          </a:p>
        </p:txBody>
      </p:sp>
      <p:sp>
        <p:nvSpPr>
          <p:cNvPr id="59" name="文本框 58">
            <a:extLst>
              <a:ext uri="{FF2B5EF4-FFF2-40B4-BE49-F238E27FC236}">
                <a16:creationId xmlns:a16="http://schemas.microsoft.com/office/drawing/2014/main" id="{964B6B88-689C-4239-A7E7-32FFBA1B5666}"/>
              </a:ext>
            </a:extLst>
          </p:cNvPr>
          <p:cNvSpPr txBox="1"/>
          <p:nvPr/>
        </p:nvSpPr>
        <p:spPr>
          <a:xfrm>
            <a:off x="8074599" y="4794553"/>
            <a:ext cx="1154162" cy="276999"/>
          </a:xfrm>
          <a:prstGeom prst="rect">
            <a:avLst/>
          </a:prstGeom>
          <a:noFill/>
        </p:spPr>
        <p:txBody>
          <a:bodyPr wrap="none" lIns="0" tIns="0" rIns="0" bIns="0" rtlCol="0" anchor="t">
            <a:spAutoFit/>
          </a:bodyPr>
          <a:lstStyle/>
          <a:p>
            <a:r>
              <a:rPr lang="zh-CN" altLang="en-US" dirty="0">
                <a:solidFill>
                  <a:schemeClr val="accent1"/>
                </a:solidFill>
                <a:latin typeface="+mj-ea"/>
                <a:ea typeface="+mj-ea"/>
              </a:rPr>
              <a:t>关键词标题</a:t>
            </a:r>
          </a:p>
        </p:txBody>
      </p:sp>
      <p:cxnSp>
        <p:nvCxnSpPr>
          <p:cNvPr id="8" name="直接箭头连接符 7">
            <a:extLst>
              <a:ext uri="{FF2B5EF4-FFF2-40B4-BE49-F238E27FC236}">
                <a16:creationId xmlns:a16="http://schemas.microsoft.com/office/drawing/2014/main" id="{34716E8B-953E-456F-8E96-271F7D391BD1}"/>
              </a:ext>
            </a:extLst>
          </p:cNvPr>
          <p:cNvCxnSpPr/>
          <p:nvPr/>
        </p:nvCxnSpPr>
        <p:spPr>
          <a:xfrm>
            <a:off x="4968308" y="2734608"/>
            <a:ext cx="2055602" cy="0"/>
          </a:xfrm>
          <a:prstGeom prst="straightConnector1">
            <a:avLst/>
          </a:prstGeom>
          <a:ln w="22225">
            <a:solidFill>
              <a:schemeClr val="accent1">
                <a:lumMod val="50000"/>
                <a:lumOff val="50000"/>
              </a:schemeClr>
            </a:solidFill>
            <a:prstDash val="lgDash"/>
            <a:tailEnd type="triangle"/>
          </a:ln>
        </p:spPr>
        <p:style>
          <a:lnRef idx="1">
            <a:schemeClr val="accent1"/>
          </a:lnRef>
          <a:fillRef idx="0">
            <a:schemeClr val="accent1"/>
          </a:fillRef>
          <a:effectRef idx="0">
            <a:schemeClr val="accent1"/>
          </a:effectRef>
          <a:fontRef idx="minor">
            <a:schemeClr val="tx1"/>
          </a:fontRef>
        </p:style>
      </p:cxnSp>
      <p:cxnSp>
        <p:nvCxnSpPr>
          <p:cNvPr id="60" name="直接箭头连接符 59">
            <a:extLst>
              <a:ext uri="{FF2B5EF4-FFF2-40B4-BE49-F238E27FC236}">
                <a16:creationId xmlns:a16="http://schemas.microsoft.com/office/drawing/2014/main" id="{C7971949-3C2B-4A58-B216-93CF7778DBED}"/>
              </a:ext>
            </a:extLst>
          </p:cNvPr>
          <p:cNvCxnSpPr/>
          <p:nvPr/>
        </p:nvCxnSpPr>
        <p:spPr>
          <a:xfrm>
            <a:off x="4968308" y="3449364"/>
            <a:ext cx="2055602" cy="0"/>
          </a:xfrm>
          <a:prstGeom prst="straightConnector1">
            <a:avLst/>
          </a:prstGeom>
          <a:ln w="22225">
            <a:solidFill>
              <a:schemeClr val="accent1">
                <a:lumMod val="50000"/>
                <a:lumOff val="50000"/>
              </a:schemeClr>
            </a:solidFill>
            <a:prstDash val="lgDash"/>
            <a:tailEnd type="triangle"/>
          </a:ln>
        </p:spPr>
        <p:style>
          <a:lnRef idx="1">
            <a:schemeClr val="accent1"/>
          </a:lnRef>
          <a:fillRef idx="0">
            <a:schemeClr val="accent1"/>
          </a:fillRef>
          <a:effectRef idx="0">
            <a:schemeClr val="accent1"/>
          </a:effectRef>
          <a:fontRef idx="minor">
            <a:schemeClr val="tx1"/>
          </a:fontRef>
        </p:style>
      </p:cxnSp>
      <p:cxnSp>
        <p:nvCxnSpPr>
          <p:cNvPr id="61" name="直接箭头连接符 60">
            <a:extLst>
              <a:ext uri="{FF2B5EF4-FFF2-40B4-BE49-F238E27FC236}">
                <a16:creationId xmlns:a16="http://schemas.microsoft.com/office/drawing/2014/main" id="{8F0D2054-062A-4179-AE25-7C8BEBFE8752}"/>
              </a:ext>
            </a:extLst>
          </p:cNvPr>
          <p:cNvCxnSpPr/>
          <p:nvPr/>
        </p:nvCxnSpPr>
        <p:spPr>
          <a:xfrm>
            <a:off x="4968308" y="4225135"/>
            <a:ext cx="2055602" cy="0"/>
          </a:xfrm>
          <a:prstGeom prst="straightConnector1">
            <a:avLst/>
          </a:prstGeom>
          <a:ln w="22225">
            <a:solidFill>
              <a:schemeClr val="accent1">
                <a:lumMod val="50000"/>
                <a:lumOff val="50000"/>
              </a:schemeClr>
            </a:solidFill>
            <a:prstDash val="lgDash"/>
            <a:tailEnd type="triangle"/>
          </a:ln>
        </p:spPr>
        <p:style>
          <a:lnRef idx="1">
            <a:schemeClr val="accent1"/>
          </a:lnRef>
          <a:fillRef idx="0">
            <a:schemeClr val="accent1"/>
          </a:fillRef>
          <a:effectRef idx="0">
            <a:schemeClr val="accent1"/>
          </a:effectRef>
          <a:fontRef idx="minor">
            <a:schemeClr val="tx1"/>
          </a:fontRef>
        </p:style>
      </p:cxnSp>
      <p:cxnSp>
        <p:nvCxnSpPr>
          <p:cNvPr id="62" name="直接箭头连接符 61">
            <a:extLst>
              <a:ext uri="{FF2B5EF4-FFF2-40B4-BE49-F238E27FC236}">
                <a16:creationId xmlns:a16="http://schemas.microsoft.com/office/drawing/2014/main" id="{C1C247DA-4B1E-42A5-A764-B54B9650072C}"/>
              </a:ext>
            </a:extLst>
          </p:cNvPr>
          <p:cNvCxnSpPr>
            <a:cxnSpLocks/>
          </p:cNvCxnSpPr>
          <p:nvPr/>
        </p:nvCxnSpPr>
        <p:spPr>
          <a:xfrm>
            <a:off x="4840820" y="5000906"/>
            <a:ext cx="2222714" cy="0"/>
          </a:xfrm>
          <a:prstGeom prst="straightConnector1">
            <a:avLst/>
          </a:prstGeom>
          <a:ln w="22225">
            <a:solidFill>
              <a:schemeClr val="accent1">
                <a:lumMod val="50000"/>
                <a:lumOff val="50000"/>
              </a:schemeClr>
            </a:solidFill>
            <a:prstDash val="lgDash"/>
            <a:tailEnd type="triangle"/>
          </a:ln>
        </p:spPr>
        <p:style>
          <a:lnRef idx="1">
            <a:schemeClr val="accent1"/>
          </a:lnRef>
          <a:fillRef idx="0">
            <a:schemeClr val="accent1"/>
          </a:fillRef>
          <a:effectRef idx="0">
            <a:schemeClr val="accent1"/>
          </a:effectRef>
          <a:fontRef idx="minor">
            <a:schemeClr val="tx1"/>
          </a:fontRef>
        </p:style>
      </p:cxnSp>
      <p:sp>
        <p:nvSpPr>
          <p:cNvPr id="13" name="矩形: 圆角 12">
            <a:extLst>
              <a:ext uri="{FF2B5EF4-FFF2-40B4-BE49-F238E27FC236}">
                <a16:creationId xmlns:a16="http://schemas.microsoft.com/office/drawing/2014/main" id="{1BD0C586-FA2A-4E52-AFE0-33590FEF06BB}"/>
              </a:ext>
            </a:extLst>
          </p:cNvPr>
          <p:cNvSpPr/>
          <p:nvPr/>
        </p:nvSpPr>
        <p:spPr>
          <a:xfrm>
            <a:off x="2646223" y="1506133"/>
            <a:ext cx="1477750" cy="589261"/>
          </a:xfrm>
          <a:prstGeom prst="roundRect">
            <a:avLst>
              <a:gd name="adj" fmla="val 50000"/>
            </a:avLst>
          </a:prstGeom>
          <a:solidFill>
            <a:schemeClr val="accent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a:solidFill>
                  <a:schemeClr val="bg1"/>
                </a:solidFill>
                <a:latin typeface="+mj-ea"/>
                <a:ea typeface="+mj-ea"/>
              </a:rPr>
              <a:t>关键词</a:t>
            </a:r>
          </a:p>
        </p:txBody>
      </p:sp>
      <p:sp>
        <p:nvSpPr>
          <p:cNvPr id="63" name="矩形: 圆角 62">
            <a:extLst>
              <a:ext uri="{FF2B5EF4-FFF2-40B4-BE49-F238E27FC236}">
                <a16:creationId xmlns:a16="http://schemas.microsoft.com/office/drawing/2014/main" id="{967691BC-E568-4278-98EE-E6C11178FF3B}"/>
              </a:ext>
            </a:extLst>
          </p:cNvPr>
          <p:cNvSpPr/>
          <p:nvPr/>
        </p:nvSpPr>
        <p:spPr>
          <a:xfrm>
            <a:off x="7859404" y="1506133"/>
            <a:ext cx="1477750" cy="589261"/>
          </a:xfrm>
          <a:prstGeom prst="roundRect">
            <a:avLst>
              <a:gd name="adj" fmla="val 50000"/>
            </a:avLst>
          </a:prstGeom>
          <a:solidFill>
            <a:schemeClr val="accent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a:solidFill>
                  <a:schemeClr val="bg1"/>
                </a:solidFill>
                <a:latin typeface="+mj-ea"/>
                <a:ea typeface="+mj-ea"/>
              </a:rPr>
              <a:t>关键词</a:t>
            </a:r>
          </a:p>
        </p:txBody>
      </p:sp>
    </p:spTree>
    <p:extLst>
      <p:ext uri="{BB962C8B-B14F-4D97-AF65-F5344CB8AC3E}">
        <p14:creationId xmlns:p14="http://schemas.microsoft.com/office/powerpoint/2010/main" val="3539744097"/>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289.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50" name="椭圆 49">
            <a:extLst>
              <a:ext uri="{FF2B5EF4-FFF2-40B4-BE49-F238E27FC236}">
                <a16:creationId xmlns:a16="http://schemas.microsoft.com/office/drawing/2014/main" id="{76C75582-F961-497B-953E-FE01EC0DE459}"/>
              </a:ext>
            </a:extLst>
          </p:cNvPr>
          <p:cNvSpPr/>
          <p:nvPr/>
        </p:nvSpPr>
        <p:spPr>
          <a:xfrm>
            <a:off x="-7753350" y="-6537841"/>
            <a:ext cx="19907250" cy="19907250"/>
          </a:xfrm>
          <a:prstGeom prst="ellipse">
            <a:avLst/>
          </a:prstGeom>
          <a:solidFill>
            <a:schemeClr val="accent1">
              <a:lumMod val="25000"/>
              <a:lumOff val="75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49" name="椭圆 48">
            <a:extLst>
              <a:ext uri="{FF2B5EF4-FFF2-40B4-BE49-F238E27FC236}">
                <a16:creationId xmlns:a16="http://schemas.microsoft.com/office/drawing/2014/main" id="{1559E2F5-3D56-4E13-90BF-053D73A00E31}"/>
              </a:ext>
            </a:extLst>
          </p:cNvPr>
          <p:cNvSpPr/>
          <p:nvPr/>
        </p:nvSpPr>
        <p:spPr>
          <a:xfrm>
            <a:off x="-5810250" y="-4594741"/>
            <a:ext cx="16021050" cy="16021050"/>
          </a:xfrm>
          <a:prstGeom prst="ellipse">
            <a:avLst/>
          </a:prstGeom>
          <a:solidFill>
            <a:schemeClr val="accent1">
              <a:lumMod val="25000"/>
              <a:lumOff val="75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47" name="椭圆 46">
            <a:extLst>
              <a:ext uri="{FF2B5EF4-FFF2-40B4-BE49-F238E27FC236}">
                <a16:creationId xmlns:a16="http://schemas.microsoft.com/office/drawing/2014/main" id="{FDC71F02-71AE-4B25-903C-9D04385FE67B}"/>
              </a:ext>
            </a:extLst>
          </p:cNvPr>
          <p:cNvSpPr/>
          <p:nvPr/>
        </p:nvSpPr>
        <p:spPr>
          <a:xfrm>
            <a:off x="-4017736" y="-2802227"/>
            <a:ext cx="12436022" cy="12436022"/>
          </a:xfrm>
          <a:prstGeom prst="ellipse">
            <a:avLst/>
          </a:prstGeom>
          <a:solidFill>
            <a:schemeClr val="accent1">
              <a:lumMod val="25000"/>
              <a:lumOff val="75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42" name="椭圆 41">
            <a:extLst>
              <a:ext uri="{FF2B5EF4-FFF2-40B4-BE49-F238E27FC236}">
                <a16:creationId xmlns:a16="http://schemas.microsoft.com/office/drawing/2014/main" id="{21B7F332-BCE7-4252-847A-48FE7C6D3C18}"/>
              </a:ext>
            </a:extLst>
          </p:cNvPr>
          <p:cNvSpPr/>
          <p:nvPr/>
        </p:nvSpPr>
        <p:spPr>
          <a:xfrm>
            <a:off x="-2038350" y="-822841"/>
            <a:ext cx="8477250" cy="8477250"/>
          </a:xfrm>
          <a:prstGeom prst="ellipse">
            <a:avLst/>
          </a:prstGeom>
          <a:solidFill>
            <a:schemeClr val="accent1">
              <a:lumMod val="25000"/>
              <a:lumOff val="75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41" name="椭圆 40">
            <a:extLst>
              <a:ext uri="{FF2B5EF4-FFF2-40B4-BE49-F238E27FC236}">
                <a16:creationId xmlns:a16="http://schemas.microsoft.com/office/drawing/2014/main" id="{60B47879-B828-4845-85DC-91F16E137ADB}"/>
              </a:ext>
            </a:extLst>
          </p:cNvPr>
          <p:cNvSpPr/>
          <p:nvPr/>
        </p:nvSpPr>
        <p:spPr>
          <a:xfrm>
            <a:off x="-256786" y="895739"/>
            <a:ext cx="4914122" cy="4914122"/>
          </a:xfrm>
          <a:prstGeom prst="ellipse">
            <a:avLst/>
          </a:prstGeom>
          <a:solidFill>
            <a:schemeClr val="accent1">
              <a:lumMod val="25000"/>
              <a:lumOff val="75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3" name="椭圆 2">
            <a:extLst>
              <a:ext uri="{FF2B5EF4-FFF2-40B4-BE49-F238E27FC236}">
                <a16:creationId xmlns:a16="http://schemas.microsoft.com/office/drawing/2014/main" id="{B061946E-42BC-4F2F-BD50-09D2E73B6C0C}"/>
              </a:ext>
            </a:extLst>
          </p:cNvPr>
          <p:cNvSpPr/>
          <p:nvPr/>
        </p:nvSpPr>
        <p:spPr>
          <a:xfrm>
            <a:off x="1081317" y="2233842"/>
            <a:ext cx="2237916" cy="223791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4" name="文本框 3">
            <a:extLst>
              <a:ext uri="{FF2B5EF4-FFF2-40B4-BE49-F238E27FC236}">
                <a16:creationId xmlns:a16="http://schemas.microsoft.com/office/drawing/2014/main" id="{F938F23D-3FBF-49CC-B91B-C778DE78D25E}"/>
              </a:ext>
            </a:extLst>
          </p:cNvPr>
          <p:cNvSpPr txBox="1"/>
          <p:nvPr/>
        </p:nvSpPr>
        <p:spPr>
          <a:xfrm>
            <a:off x="1738610" y="3168134"/>
            <a:ext cx="923330" cy="369332"/>
          </a:xfrm>
          <a:prstGeom prst="rect">
            <a:avLst/>
          </a:prstGeom>
          <a:noFill/>
        </p:spPr>
        <p:txBody>
          <a:bodyPr wrap="none" lIns="0" tIns="0" rIns="0" bIns="0" rtlCol="0" anchor="t">
            <a:spAutoFit/>
          </a:bodyPr>
          <a:lstStyle/>
          <a:p>
            <a:pPr algn="ctr"/>
            <a:r>
              <a:rPr lang="zh-CN" altLang="en-US" sz="2400" dirty="0">
                <a:solidFill>
                  <a:schemeClr val="bg1"/>
                </a:solidFill>
                <a:latin typeface="+mj-ea"/>
                <a:ea typeface="+mj-ea"/>
              </a:rPr>
              <a:t>关键词</a:t>
            </a:r>
          </a:p>
        </p:txBody>
      </p:sp>
      <p:sp>
        <p:nvSpPr>
          <p:cNvPr id="51" name="文本框 50">
            <a:extLst>
              <a:ext uri="{FF2B5EF4-FFF2-40B4-BE49-F238E27FC236}">
                <a16:creationId xmlns:a16="http://schemas.microsoft.com/office/drawing/2014/main" id="{34D60831-59EC-4FE0-AAA3-45EAB16CDEDA}"/>
              </a:ext>
            </a:extLst>
          </p:cNvPr>
          <p:cNvSpPr txBox="1"/>
          <p:nvPr/>
        </p:nvSpPr>
        <p:spPr>
          <a:xfrm>
            <a:off x="1738610" y="1642586"/>
            <a:ext cx="923330" cy="369332"/>
          </a:xfrm>
          <a:prstGeom prst="rect">
            <a:avLst/>
          </a:prstGeom>
          <a:noFill/>
        </p:spPr>
        <p:txBody>
          <a:bodyPr wrap="none" lIns="0" tIns="0" rIns="0" bIns="0" rtlCol="0" anchor="t">
            <a:spAutoFit/>
          </a:bodyPr>
          <a:lstStyle/>
          <a:p>
            <a:pPr algn="ctr"/>
            <a:r>
              <a:rPr lang="zh-CN" altLang="en-US" sz="2400" dirty="0">
                <a:solidFill>
                  <a:schemeClr val="bg1"/>
                </a:solidFill>
                <a:latin typeface="+mj-ea"/>
                <a:ea typeface="+mj-ea"/>
              </a:rPr>
              <a:t>关键词</a:t>
            </a:r>
          </a:p>
        </p:txBody>
      </p:sp>
      <p:sp>
        <p:nvSpPr>
          <p:cNvPr id="52" name="文本框 51">
            <a:extLst>
              <a:ext uri="{FF2B5EF4-FFF2-40B4-BE49-F238E27FC236}">
                <a16:creationId xmlns:a16="http://schemas.microsoft.com/office/drawing/2014/main" id="{BE330BEB-3AE4-47EF-AC0C-82666694AD34}"/>
              </a:ext>
            </a:extLst>
          </p:cNvPr>
          <p:cNvSpPr txBox="1"/>
          <p:nvPr/>
        </p:nvSpPr>
        <p:spPr>
          <a:xfrm>
            <a:off x="4767560" y="1642586"/>
            <a:ext cx="923330" cy="369332"/>
          </a:xfrm>
          <a:prstGeom prst="rect">
            <a:avLst/>
          </a:prstGeom>
          <a:noFill/>
        </p:spPr>
        <p:txBody>
          <a:bodyPr wrap="none" lIns="0" tIns="0" rIns="0" bIns="0" rtlCol="0" anchor="t">
            <a:spAutoFit/>
          </a:bodyPr>
          <a:lstStyle/>
          <a:p>
            <a:pPr algn="ctr"/>
            <a:r>
              <a:rPr lang="zh-CN" altLang="en-US" sz="2400" dirty="0">
                <a:solidFill>
                  <a:schemeClr val="bg1"/>
                </a:solidFill>
                <a:latin typeface="+mj-ea"/>
                <a:ea typeface="+mj-ea"/>
              </a:rPr>
              <a:t>关键词</a:t>
            </a:r>
          </a:p>
        </p:txBody>
      </p:sp>
      <p:sp>
        <p:nvSpPr>
          <p:cNvPr id="53" name="文本框 52">
            <a:extLst>
              <a:ext uri="{FF2B5EF4-FFF2-40B4-BE49-F238E27FC236}">
                <a16:creationId xmlns:a16="http://schemas.microsoft.com/office/drawing/2014/main" id="{75BA81AD-F984-4C6C-B217-EF40D42212CC}"/>
              </a:ext>
            </a:extLst>
          </p:cNvPr>
          <p:cNvSpPr txBox="1"/>
          <p:nvPr/>
        </p:nvSpPr>
        <p:spPr>
          <a:xfrm>
            <a:off x="6812260" y="1642586"/>
            <a:ext cx="923330" cy="369332"/>
          </a:xfrm>
          <a:prstGeom prst="rect">
            <a:avLst/>
          </a:prstGeom>
          <a:noFill/>
        </p:spPr>
        <p:txBody>
          <a:bodyPr wrap="none" lIns="0" tIns="0" rIns="0" bIns="0" rtlCol="0" anchor="t">
            <a:spAutoFit/>
          </a:bodyPr>
          <a:lstStyle/>
          <a:p>
            <a:pPr algn="ctr"/>
            <a:r>
              <a:rPr lang="zh-CN" altLang="en-US" sz="2400" dirty="0">
                <a:solidFill>
                  <a:schemeClr val="bg1"/>
                </a:solidFill>
                <a:latin typeface="+mj-ea"/>
                <a:ea typeface="+mj-ea"/>
              </a:rPr>
              <a:t>关键词</a:t>
            </a:r>
          </a:p>
        </p:txBody>
      </p:sp>
      <p:sp>
        <p:nvSpPr>
          <p:cNvPr id="65" name="文本框 64">
            <a:extLst>
              <a:ext uri="{FF2B5EF4-FFF2-40B4-BE49-F238E27FC236}">
                <a16:creationId xmlns:a16="http://schemas.microsoft.com/office/drawing/2014/main" id="{82B06C25-AEBE-45B8-A3B3-8AB3C40AEDC0}"/>
              </a:ext>
            </a:extLst>
          </p:cNvPr>
          <p:cNvSpPr txBox="1"/>
          <p:nvPr/>
        </p:nvSpPr>
        <p:spPr>
          <a:xfrm>
            <a:off x="8679160" y="1642586"/>
            <a:ext cx="923330" cy="369332"/>
          </a:xfrm>
          <a:prstGeom prst="rect">
            <a:avLst/>
          </a:prstGeom>
          <a:noFill/>
        </p:spPr>
        <p:txBody>
          <a:bodyPr wrap="none" lIns="0" tIns="0" rIns="0" bIns="0" rtlCol="0" anchor="t">
            <a:spAutoFit/>
          </a:bodyPr>
          <a:lstStyle/>
          <a:p>
            <a:pPr algn="ctr"/>
            <a:r>
              <a:rPr lang="zh-CN" altLang="en-US" sz="2400" dirty="0">
                <a:solidFill>
                  <a:schemeClr val="bg1"/>
                </a:solidFill>
                <a:latin typeface="+mj-ea"/>
                <a:ea typeface="+mj-ea"/>
              </a:rPr>
              <a:t>关键词</a:t>
            </a:r>
          </a:p>
        </p:txBody>
      </p:sp>
      <p:sp>
        <p:nvSpPr>
          <p:cNvPr id="66" name="文本框 65">
            <a:extLst>
              <a:ext uri="{FF2B5EF4-FFF2-40B4-BE49-F238E27FC236}">
                <a16:creationId xmlns:a16="http://schemas.microsoft.com/office/drawing/2014/main" id="{10960F3D-C928-4726-83AB-157AE7C726B9}"/>
              </a:ext>
            </a:extLst>
          </p:cNvPr>
          <p:cNvSpPr txBox="1"/>
          <p:nvPr/>
        </p:nvSpPr>
        <p:spPr>
          <a:xfrm>
            <a:off x="10622260" y="1642586"/>
            <a:ext cx="923330" cy="369332"/>
          </a:xfrm>
          <a:prstGeom prst="rect">
            <a:avLst/>
          </a:prstGeom>
          <a:noFill/>
        </p:spPr>
        <p:txBody>
          <a:bodyPr wrap="none" lIns="0" tIns="0" rIns="0" bIns="0" rtlCol="0" anchor="t">
            <a:spAutoFit/>
          </a:bodyPr>
          <a:lstStyle/>
          <a:p>
            <a:pPr algn="ctr"/>
            <a:r>
              <a:rPr lang="zh-CN" altLang="en-US" sz="2400" dirty="0">
                <a:solidFill>
                  <a:schemeClr val="bg1"/>
                </a:solidFill>
                <a:latin typeface="+mj-ea"/>
                <a:ea typeface="+mj-ea"/>
              </a:rPr>
              <a:t>关键词</a:t>
            </a:r>
          </a:p>
        </p:txBody>
      </p:sp>
      <p:cxnSp>
        <p:nvCxnSpPr>
          <p:cNvPr id="7" name="直接箭头连接符 6">
            <a:extLst>
              <a:ext uri="{FF2B5EF4-FFF2-40B4-BE49-F238E27FC236}">
                <a16:creationId xmlns:a16="http://schemas.microsoft.com/office/drawing/2014/main" id="{2ED68328-F65F-4E1C-9572-86EAC0B3E9EF}"/>
              </a:ext>
            </a:extLst>
          </p:cNvPr>
          <p:cNvCxnSpPr/>
          <p:nvPr/>
        </p:nvCxnSpPr>
        <p:spPr>
          <a:xfrm>
            <a:off x="2817845" y="1827252"/>
            <a:ext cx="1632857" cy="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67" name="直接箭头连接符 66">
            <a:extLst>
              <a:ext uri="{FF2B5EF4-FFF2-40B4-BE49-F238E27FC236}">
                <a16:creationId xmlns:a16="http://schemas.microsoft.com/office/drawing/2014/main" id="{19EA91FB-96B7-41E7-B5E1-14B0A1ECB96B}"/>
              </a:ext>
            </a:extLst>
          </p:cNvPr>
          <p:cNvCxnSpPr>
            <a:cxnSpLocks/>
          </p:cNvCxnSpPr>
          <p:nvPr/>
        </p:nvCxnSpPr>
        <p:spPr>
          <a:xfrm>
            <a:off x="5906278" y="1827252"/>
            <a:ext cx="671803" cy="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68" name="直接箭头连接符 67">
            <a:extLst>
              <a:ext uri="{FF2B5EF4-FFF2-40B4-BE49-F238E27FC236}">
                <a16:creationId xmlns:a16="http://schemas.microsoft.com/office/drawing/2014/main" id="{0FBFA0B8-40F9-4D2B-B64B-A3520EE501E0}"/>
              </a:ext>
            </a:extLst>
          </p:cNvPr>
          <p:cNvCxnSpPr>
            <a:cxnSpLocks/>
          </p:cNvCxnSpPr>
          <p:nvPr/>
        </p:nvCxnSpPr>
        <p:spPr>
          <a:xfrm>
            <a:off x="7865706" y="1827252"/>
            <a:ext cx="671803" cy="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69" name="直接箭头连接符 68">
            <a:extLst>
              <a:ext uri="{FF2B5EF4-FFF2-40B4-BE49-F238E27FC236}">
                <a16:creationId xmlns:a16="http://schemas.microsoft.com/office/drawing/2014/main" id="{49D27E35-898F-426E-BAD7-3522FE226B84}"/>
              </a:ext>
            </a:extLst>
          </p:cNvPr>
          <p:cNvCxnSpPr>
            <a:cxnSpLocks/>
          </p:cNvCxnSpPr>
          <p:nvPr/>
        </p:nvCxnSpPr>
        <p:spPr>
          <a:xfrm>
            <a:off x="9750490" y="1827252"/>
            <a:ext cx="671803" cy="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70" name="文本框 69">
            <a:extLst>
              <a:ext uri="{FF2B5EF4-FFF2-40B4-BE49-F238E27FC236}">
                <a16:creationId xmlns:a16="http://schemas.microsoft.com/office/drawing/2014/main" id="{10C53FD2-8C32-4E97-A9BF-B1AC9A2E61D3}"/>
              </a:ext>
            </a:extLst>
          </p:cNvPr>
          <p:cNvSpPr txBox="1"/>
          <p:nvPr/>
        </p:nvSpPr>
        <p:spPr>
          <a:xfrm>
            <a:off x="4794344" y="3029634"/>
            <a:ext cx="1154162" cy="276999"/>
          </a:xfrm>
          <a:prstGeom prst="rect">
            <a:avLst/>
          </a:prstGeom>
          <a:noFill/>
        </p:spPr>
        <p:txBody>
          <a:bodyPr wrap="none" lIns="0" tIns="0" rIns="0" bIns="0" rtlCol="0" anchor="t">
            <a:spAutoFit/>
          </a:bodyPr>
          <a:lstStyle/>
          <a:p>
            <a:r>
              <a:rPr lang="zh-CN" altLang="en-US" dirty="0">
                <a:solidFill>
                  <a:schemeClr val="bg1"/>
                </a:solidFill>
                <a:latin typeface="+mj-ea"/>
                <a:ea typeface="+mj-ea"/>
              </a:rPr>
              <a:t>关键词标题</a:t>
            </a:r>
          </a:p>
        </p:txBody>
      </p:sp>
      <p:sp>
        <p:nvSpPr>
          <p:cNvPr id="71" name="文本框 70">
            <a:extLst>
              <a:ext uri="{FF2B5EF4-FFF2-40B4-BE49-F238E27FC236}">
                <a16:creationId xmlns:a16="http://schemas.microsoft.com/office/drawing/2014/main" id="{51991362-1739-4C41-8889-E03EA121AF05}"/>
              </a:ext>
            </a:extLst>
          </p:cNvPr>
          <p:cNvSpPr txBox="1"/>
          <p:nvPr/>
        </p:nvSpPr>
        <p:spPr>
          <a:xfrm>
            <a:off x="4794344" y="3381278"/>
            <a:ext cx="1542333" cy="987450"/>
          </a:xfrm>
          <a:prstGeom prst="rect">
            <a:avLst/>
          </a:prstGeom>
          <a:noFill/>
        </p:spPr>
        <p:txBody>
          <a:bodyPr wrap="square" lIns="0" tIns="0" rIns="0" bIns="0" rtlCol="0" anchor="t">
            <a:spAutoFit/>
          </a:bodyPr>
          <a:lstStyle/>
          <a:p>
            <a:pPr>
              <a:lnSpc>
                <a:spcPct val="130000"/>
              </a:lnSpc>
            </a:pPr>
            <a:r>
              <a:rPr lang="en-US" altLang="zh-CN" sz="1000" b="0" dirty="0">
                <a:solidFill>
                  <a:schemeClr val="bg1"/>
                </a:solidFill>
                <a:effectLst/>
                <a:latin typeface="+mn-ea"/>
              </a:rPr>
              <a:t>Lorem ipsum dolor sit amet, consectetur</a:t>
            </a:r>
          </a:p>
          <a:p>
            <a:pPr>
              <a:lnSpc>
                <a:spcPct val="130000"/>
              </a:lnSpc>
            </a:pPr>
            <a:endParaRPr lang="en-US" altLang="zh-CN" sz="1000" dirty="0">
              <a:solidFill>
                <a:schemeClr val="bg1"/>
              </a:solidFill>
              <a:latin typeface="+mn-ea"/>
            </a:endParaRPr>
          </a:p>
          <a:p>
            <a:pPr>
              <a:lnSpc>
                <a:spcPct val="130000"/>
              </a:lnSpc>
            </a:pPr>
            <a:r>
              <a:rPr lang="en-US" altLang="zh-CN" sz="1000" b="0" dirty="0">
                <a:solidFill>
                  <a:schemeClr val="bg1"/>
                </a:solidFill>
                <a:effectLst/>
                <a:latin typeface="+mn-ea"/>
              </a:rPr>
              <a:t>Lorem ipsum dolor sit amet, consectetur</a:t>
            </a:r>
            <a:endParaRPr lang="zh-CN" altLang="en-US" sz="1000" b="0" dirty="0">
              <a:solidFill>
                <a:schemeClr val="bg1"/>
              </a:solidFill>
              <a:effectLst/>
              <a:latin typeface="+mn-ea"/>
            </a:endParaRPr>
          </a:p>
        </p:txBody>
      </p:sp>
      <p:sp>
        <p:nvSpPr>
          <p:cNvPr id="72" name="文本框 71">
            <a:extLst>
              <a:ext uri="{FF2B5EF4-FFF2-40B4-BE49-F238E27FC236}">
                <a16:creationId xmlns:a16="http://schemas.microsoft.com/office/drawing/2014/main" id="{6290D50E-E4F5-4670-87B2-AB4ADCE9EF77}"/>
              </a:ext>
            </a:extLst>
          </p:cNvPr>
          <p:cNvSpPr txBox="1"/>
          <p:nvPr/>
        </p:nvSpPr>
        <p:spPr>
          <a:xfrm>
            <a:off x="6800011" y="3029634"/>
            <a:ext cx="1154162" cy="276999"/>
          </a:xfrm>
          <a:prstGeom prst="rect">
            <a:avLst/>
          </a:prstGeom>
          <a:noFill/>
        </p:spPr>
        <p:txBody>
          <a:bodyPr wrap="none" lIns="0" tIns="0" rIns="0" bIns="0" rtlCol="0" anchor="t">
            <a:spAutoFit/>
          </a:bodyPr>
          <a:lstStyle/>
          <a:p>
            <a:r>
              <a:rPr lang="zh-CN" altLang="en-US" dirty="0">
                <a:solidFill>
                  <a:schemeClr val="bg1"/>
                </a:solidFill>
                <a:latin typeface="+mj-ea"/>
                <a:ea typeface="+mj-ea"/>
              </a:rPr>
              <a:t>关键词标题</a:t>
            </a:r>
          </a:p>
        </p:txBody>
      </p:sp>
      <p:sp>
        <p:nvSpPr>
          <p:cNvPr id="74" name="文本框 73">
            <a:extLst>
              <a:ext uri="{FF2B5EF4-FFF2-40B4-BE49-F238E27FC236}">
                <a16:creationId xmlns:a16="http://schemas.microsoft.com/office/drawing/2014/main" id="{48775392-770B-4A71-ABC2-546470CE82F6}"/>
              </a:ext>
            </a:extLst>
          </p:cNvPr>
          <p:cNvSpPr txBox="1"/>
          <p:nvPr/>
        </p:nvSpPr>
        <p:spPr>
          <a:xfrm>
            <a:off x="8675464" y="3029634"/>
            <a:ext cx="1154162" cy="276999"/>
          </a:xfrm>
          <a:prstGeom prst="rect">
            <a:avLst/>
          </a:prstGeom>
          <a:noFill/>
        </p:spPr>
        <p:txBody>
          <a:bodyPr wrap="none" lIns="0" tIns="0" rIns="0" bIns="0" rtlCol="0" anchor="t">
            <a:spAutoFit/>
          </a:bodyPr>
          <a:lstStyle/>
          <a:p>
            <a:r>
              <a:rPr lang="zh-CN" altLang="en-US" dirty="0">
                <a:solidFill>
                  <a:schemeClr val="bg1"/>
                </a:solidFill>
                <a:latin typeface="+mj-ea"/>
                <a:ea typeface="+mj-ea"/>
              </a:rPr>
              <a:t>关键词标题</a:t>
            </a:r>
          </a:p>
        </p:txBody>
      </p:sp>
      <p:sp>
        <p:nvSpPr>
          <p:cNvPr id="76" name="文本框 75">
            <a:extLst>
              <a:ext uri="{FF2B5EF4-FFF2-40B4-BE49-F238E27FC236}">
                <a16:creationId xmlns:a16="http://schemas.microsoft.com/office/drawing/2014/main" id="{CC803709-6549-46D8-A7FE-327C8404AC00}"/>
              </a:ext>
            </a:extLst>
          </p:cNvPr>
          <p:cNvSpPr txBox="1"/>
          <p:nvPr/>
        </p:nvSpPr>
        <p:spPr>
          <a:xfrm>
            <a:off x="10616231" y="3029634"/>
            <a:ext cx="1154162" cy="276999"/>
          </a:xfrm>
          <a:prstGeom prst="rect">
            <a:avLst/>
          </a:prstGeom>
          <a:noFill/>
        </p:spPr>
        <p:txBody>
          <a:bodyPr wrap="none" lIns="0" tIns="0" rIns="0" bIns="0" rtlCol="0" anchor="t">
            <a:spAutoFit/>
          </a:bodyPr>
          <a:lstStyle/>
          <a:p>
            <a:r>
              <a:rPr lang="zh-CN" altLang="en-US" dirty="0">
                <a:solidFill>
                  <a:schemeClr val="bg1"/>
                </a:solidFill>
                <a:latin typeface="+mj-ea"/>
                <a:ea typeface="+mj-ea"/>
              </a:rPr>
              <a:t>关键词标题</a:t>
            </a:r>
          </a:p>
        </p:txBody>
      </p:sp>
      <p:sp>
        <p:nvSpPr>
          <p:cNvPr id="78" name="文本框 77">
            <a:extLst>
              <a:ext uri="{FF2B5EF4-FFF2-40B4-BE49-F238E27FC236}">
                <a16:creationId xmlns:a16="http://schemas.microsoft.com/office/drawing/2014/main" id="{C9970731-F897-49B5-A4B7-3D2320EE266F}"/>
              </a:ext>
            </a:extLst>
          </p:cNvPr>
          <p:cNvSpPr txBox="1"/>
          <p:nvPr/>
        </p:nvSpPr>
        <p:spPr>
          <a:xfrm>
            <a:off x="6791095" y="3381278"/>
            <a:ext cx="1542333" cy="987450"/>
          </a:xfrm>
          <a:prstGeom prst="rect">
            <a:avLst/>
          </a:prstGeom>
          <a:noFill/>
        </p:spPr>
        <p:txBody>
          <a:bodyPr wrap="square" lIns="0" tIns="0" rIns="0" bIns="0" rtlCol="0" anchor="t">
            <a:spAutoFit/>
          </a:bodyPr>
          <a:lstStyle/>
          <a:p>
            <a:pPr>
              <a:lnSpc>
                <a:spcPct val="130000"/>
              </a:lnSpc>
            </a:pPr>
            <a:r>
              <a:rPr lang="en-US" altLang="zh-CN" sz="1000" b="0" dirty="0">
                <a:solidFill>
                  <a:schemeClr val="bg1"/>
                </a:solidFill>
                <a:effectLst/>
                <a:latin typeface="+mn-ea"/>
              </a:rPr>
              <a:t>Lorem ipsum dolor sit amet, consectetur</a:t>
            </a:r>
          </a:p>
          <a:p>
            <a:pPr>
              <a:lnSpc>
                <a:spcPct val="130000"/>
              </a:lnSpc>
            </a:pPr>
            <a:endParaRPr lang="en-US" altLang="zh-CN" sz="1000" dirty="0">
              <a:solidFill>
                <a:schemeClr val="bg1"/>
              </a:solidFill>
              <a:latin typeface="+mn-ea"/>
            </a:endParaRPr>
          </a:p>
          <a:p>
            <a:pPr>
              <a:lnSpc>
                <a:spcPct val="130000"/>
              </a:lnSpc>
            </a:pPr>
            <a:r>
              <a:rPr lang="en-US" altLang="zh-CN" sz="1000" b="0" dirty="0">
                <a:solidFill>
                  <a:schemeClr val="bg1"/>
                </a:solidFill>
                <a:effectLst/>
                <a:latin typeface="+mn-ea"/>
              </a:rPr>
              <a:t>Lorem ipsum dolor sit amet, consectetur</a:t>
            </a:r>
            <a:endParaRPr lang="zh-CN" altLang="en-US" sz="1000" b="0" dirty="0">
              <a:solidFill>
                <a:schemeClr val="bg1"/>
              </a:solidFill>
              <a:effectLst/>
              <a:latin typeface="+mn-ea"/>
            </a:endParaRPr>
          </a:p>
        </p:txBody>
      </p:sp>
      <p:sp>
        <p:nvSpPr>
          <p:cNvPr id="79" name="文本框 78">
            <a:extLst>
              <a:ext uri="{FF2B5EF4-FFF2-40B4-BE49-F238E27FC236}">
                <a16:creationId xmlns:a16="http://schemas.microsoft.com/office/drawing/2014/main" id="{4D484233-1A3D-45E5-BCF2-E93FAFD61F8D}"/>
              </a:ext>
            </a:extLst>
          </p:cNvPr>
          <p:cNvSpPr txBox="1"/>
          <p:nvPr/>
        </p:nvSpPr>
        <p:spPr>
          <a:xfrm>
            <a:off x="8657218" y="3381278"/>
            <a:ext cx="1542333" cy="987450"/>
          </a:xfrm>
          <a:prstGeom prst="rect">
            <a:avLst/>
          </a:prstGeom>
          <a:noFill/>
        </p:spPr>
        <p:txBody>
          <a:bodyPr wrap="square" lIns="0" tIns="0" rIns="0" bIns="0" rtlCol="0" anchor="t">
            <a:spAutoFit/>
          </a:bodyPr>
          <a:lstStyle/>
          <a:p>
            <a:pPr>
              <a:lnSpc>
                <a:spcPct val="130000"/>
              </a:lnSpc>
            </a:pPr>
            <a:r>
              <a:rPr lang="en-US" altLang="zh-CN" sz="1000" b="0" dirty="0">
                <a:solidFill>
                  <a:schemeClr val="bg1"/>
                </a:solidFill>
                <a:effectLst/>
                <a:latin typeface="+mn-ea"/>
              </a:rPr>
              <a:t>Lorem ipsum dolor sit amet, consectetur</a:t>
            </a:r>
          </a:p>
          <a:p>
            <a:pPr>
              <a:lnSpc>
                <a:spcPct val="130000"/>
              </a:lnSpc>
            </a:pPr>
            <a:endParaRPr lang="en-US" altLang="zh-CN" sz="1000" dirty="0">
              <a:solidFill>
                <a:schemeClr val="bg1"/>
              </a:solidFill>
              <a:latin typeface="+mn-ea"/>
            </a:endParaRPr>
          </a:p>
          <a:p>
            <a:pPr>
              <a:lnSpc>
                <a:spcPct val="130000"/>
              </a:lnSpc>
            </a:pPr>
            <a:r>
              <a:rPr lang="en-US" altLang="zh-CN" sz="1000" b="0" dirty="0">
                <a:solidFill>
                  <a:schemeClr val="bg1"/>
                </a:solidFill>
                <a:effectLst/>
                <a:latin typeface="+mn-ea"/>
              </a:rPr>
              <a:t>Lorem ipsum dolor sit amet, consectetur</a:t>
            </a:r>
            <a:endParaRPr lang="zh-CN" altLang="en-US" sz="1000" b="0" dirty="0">
              <a:solidFill>
                <a:schemeClr val="bg1"/>
              </a:solidFill>
              <a:effectLst/>
              <a:latin typeface="+mn-ea"/>
            </a:endParaRPr>
          </a:p>
        </p:txBody>
      </p:sp>
      <p:sp>
        <p:nvSpPr>
          <p:cNvPr id="80" name="文本框 79">
            <a:extLst>
              <a:ext uri="{FF2B5EF4-FFF2-40B4-BE49-F238E27FC236}">
                <a16:creationId xmlns:a16="http://schemas.microsoft.com/office/drawing/2014/main" id="{A9B5CDB4-0F78-4D12-85D4-CCAF79505660}"/>
              </a:ext>
            </a:extLst>
          </p:cNvPr>
          <p:cNvSpPr txBox="1"/>
          <p:nvPr/>
        </p:nvSpPr>
        <p:spPr>
          <a:xfrm>
            <a:off x="10588655" y="3381278"/>
            <a:ext cx="1542333" cy="987450"/>
          </a:xfrm>
          <a:prstGeom prst="rect">
            <a:avLst/>
          </a:prstGeom>
          <a:noFill/>
        </p:spPr>
        <p:txBody>
          <a:bodyPr wrap="square" lIns="0" tIns="0" rIns="0" bIns="0" rtlCol="0" anchor="t">
            <a:spAutoFit/>
          </a:bodyPr>
          <a:lstStyle/>
          <a:p>
            <a:pPr>
              <a:lnSpc>
                <a:spcPct val="130000"/>
              </a:lnSpc>
            </a:pPr>
            <a:r>
              <a:rPr lang="en-US" altLang="zh-CN" sz="1000" b="0" dirty="0">
                <a:solidFill>
                  <a:schemeClr val="bg1"/>
                </a:solidFill>
                <a:effectLst/>
                <a:latin typeface="+mn-ea"/>
              </a:rPr>
              <a:t>Lorem ipsum dolor sit amet, consectetur</a:t>
            </a:r>
          </a:p>
          <a:p>
            <a:pPr>
              <a:lnSpc>
                <a:spcPct val="130000"/>
              </a:lnSpc>
            </a:pPr>
            <a:endParaRPr lang="en-US" altLang="zh-CN" sz="1000" dirty="0">
              <a:solidFill>
                <a:schemeClr val="bg1"/>
              </a:solidFill>
              <a:latin typeface="+mn-ea"/>
            </a:endParaRPr>
          </a:p>
          <a:p>
            <a:pPr>
              <a:lnSpc>
                <a:spcPct val="130000"/>
              </a:lnSpc>
            </a:pPr>
            <a:r>
              <a:rPr lang="en-US" altLang="zh-CN" sz="1000" b="0" dirty="0">
                <a:solidFill>
                  <a:schemeClr val="bg1"/>
                </a:solidFill>
                <a:effectLst/>
                <a:latin typeface="+mn-ea"/>
              </a:rPr>
              <a:t>Lorem ipsum dolor sit amet, consectetur</a:t>
            </a:r>
            <a:endParaRPr lang="zh-CN" altLang="en-US" sz="1000" b="0" dirty="0">
              <a:solidFill>
                <a:schemeClr val="bg1"/>
              </a:solidFill>
              <a:effectLst/>
              <a:latin typeface="+mn-ea"/>
            </a:endParaRPr>
          </a:p>
        </p:txBody>
      </p:sp>
    </p:spTree>
    <p:extLst>
      <p:ext uri="{BB962C8B-B14F-4D97-AF65-F5344CB8AC3E}">
        <p14:creationId xmlns:p14="http://schemas.microsoft.com/office/powerpoint/2010/main" val="176477267"/>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a:extLst>
              <a:ext uri="{FF2B5EF4-FFF2-40B4-BE49-F238E27FC236}">
                <a16:creationId xmlns:a16="http://schemas.microsoft.com/office/drawing/2014/main" id="{F682F9CF-E3FB-4D92-9D66-55D5787E1B96}"/>
              </a:ext>
            </a:extLst>
          </p:cNvPr>
          <p:cNvSpPr/>
          <p:nvPr/>
        </p:nvSpPr>
        <p:spPr>
          <a:xfrm>
            <a:off x="0" y="-1"/>
            <a:ext cx="12192000" cy="43148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p>
        </p:txBody>
      </p:sp>
      <p:sp>
        <p:nvSpPr>
          <p:cNvPr id="22" name="文本框 21">
            <a:extLst>
              <a:ext uri="{FF2B5EF4-FFF2-40B4-BE49-F238E27FC236}">
                <a16:creationId xmlns:a16="http://schemas.microsoft.com/office/drawing/2014/main" id="{80708410-B30A-48FF-AB40-F58468DDB655}"/>
              </a:ext>
            </a:extLst>
          </p:cNvPr>
          <p:cNvSpPr txBox="1"/>
          <p:nvPr/>
        </p:nvSpPr>
        <p:spPr>
          <a:xfrm>
            <a:off x="927902" y="1575529"/>
            <a:ext cx="8309967" cy="1107996"/>
          </a:xfrm>
          <a:prstGeom prst="rect">
            <a:avLst/>
          </a:prstGeom>
          <a:noFill/>
        </p:spPr>
        <p:txBody>
          <a:bodyPr wrap="none" lIns="0" tIns="0" rIns="0" bIns="0" rtlCol="0" anchor="t">
            <a:spAutoFit/>
          </a:bodyPr>
          <a:lstStyle/>
          <a:p>
            <a:pPr algn="ctr"/>
            <a:r>
              <a:rPr lang="zh-CN" altLang="en-US" sz="7200" dirty="0">
                <a:solidFill>
                  <a:schemeClr val="bg1"/>
                </a:solidFill>
                <a:latin typeface="+mj-ea"/>
                <a:ea typeface="+mj-ea"/>
              </a:rPr>
              <a:t>输入你的封面大标题</a:t>
            </a:r>
          </a:p>
        </p:txBody>
      </p:sp>
      <p:sp>
        <p:nvSpPr>
          <p:cNvPr id="24" name="文本框 23">
            <a:extLst>
              <a:ext uri="{FF2B5EF4-FFF2-40B4-BE49-F238E27FC236}">
                <a16:creationId xmlns:a16="http://schemas.microsoft.com/office/drawing/2014/main" id="{BEEE84CD-26BC-416D-BDB8-3556D9D6B572}"/>
              </a:ext>
            </a:extLst>
          </p:cNvPr>
          <p:cNvSpPr txBox="1"/>
          <p:nvPr/>
        </p:nvSpPr>
        <p:spPr>
          <a:xfrm>
            <a:off x="1016853" y="1037605"/>
            <a:ext cx="4001095" cy="369332"/>
          </a:xfrm>
          <a:prstGeom prst="rect">
            <a:avLst/>
          </a:prstGeom>
          <a:noFill/>
        </p:spPr>
        <p:txBody>
          <a:bodyPr wrap="none" lIns="0" tIns="0" rIns="0" bIns="0" rtlCol="0" anchor="t">
            <a:spAutoFit/>
          </a:bodyPr>
          <a:lstStyle/>
          <a:p>
            <a:pPr algn="ctr"/>
            <a:r>
              <a:rPr lang="zh-CN" altLang="en-US" sz="2400" dirty="0">
                <a:solidFill>
                  <a:schemeClr val="bg1"/>
                </a:solidFill>
                <a:latin typeface="+mn-ea"/>
              </a:rPr>
              <a:t>输入你的副标题或大标题英文</a:t>
            </a:r>
          </a:p>
        </p:txBody>
      </p:sp>
      <p:cxnSp>
        <p:nvCxnSpPr>
          <p:cNvPr id="25" name="直接连接符 24">
            <a:extLst>
              <a:ext uri="{FF2B5EF4-FFF2-40B4-BE49-F238E27FC236}">
                <a16:creationId xmlns:a16="http://schemas.microsoft.com/office/drawing/2014/main" id="{C3B57402-DF48-4F8B-BA33-B3FD0143670C}"/>
              </a:ext>
            </a:extLst>
          </p:cNvPr>
          <p:cNvCxnSpPr>
            <a:cxnSpLocks/>
          </p:cNvCxnSpPr>
          <p:nvPr/>
        </p:nvCxnSpPr>
        <p:spPr>
          <a:xfrm flipH="1">
            <a:off x="5159085" y="1228057"/>
            <a:ext cx="4014216"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32" name="矩形 31">
            <a:extLst>
              <a:ext uri="{FF2B5EF4-FFF2-40B4-BE49-F238E27FC236}">
                <a16:creationId xmlns:a16="http://schemas.microsoft.com/office/drawing/2014/main" id="{11984EED-5285-4903-95B1-680178D8B761}"/>
              </a:ext>
            </a:extLst>
          </p:cNvPr>
          <p:cNvSpPr/>
          <p:nvPr/>
        </p:nvSpPr>
        <p:spPr>
          <a:xfrm flipH="1">
            <a:off x="695325" y="1037605"/>
            <a:ext cx="91440" cy="151923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solidFill>
                <a:schemeClr val="bg1"/>
              </a:solidFill>
            </a:endParaRPr>
          </a:p>
        </p:txBody>
      </p:sp>
      <p:sp>
        <p:nvSpPr>
          <p:cNvPr id="34" name="矩形 33">
            <a:extLst>
              <a:ext uri="{FF2B5EF4-FFF2-40B4-BE49-F238E27FC236}">
                <a16:creationId xmlns:a16="http://schemas.microsoft.com/office/drawing/2014/main" id="{D6D32D8F-E0EA-4C1E-98D3-497CB9147EA1}"/>
              </a:ext>
            </a:extLst>
          </p:cNvPr>
          <p:cNvSpPr/>
          <p:nvPr/>
        </p:nvSpPr>
        <p:spPr>
          <a:xfrm>
            <a:off x="695325" y="3062667"/>
            <a:ext cx="164592" cy="1645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solidFill>
                <a:schemeClr val="bg1"/>
              </a:solidFill>
            </a:endParaRPr>
          </a:p>
        </p:txBody>
      </p:sp>
      <p:sp>
        <p:nvSpPr>
          <p:cNvPr id="35" name="文本框 34">
            <a:extLst>
              <a:ext uri="{FF2B5EF4-FFF2-40B4-BE49-F238E27FC236}">
                <a16:creationId xmlns:a16="http://schemas.microsoft.com/office/drawing/2014/main" id="{0BDBA75B-B952-4261-A799-BE0A8C454862}"/>
              </a:ext>
            </a:extLst>
          </p:cNvPr>
          <p:cNvSpPr txBox="1"/>
          <p:nvPr/>
        </p:nvSpPr>
        <p:spPr>
          <a:xfrm>
            <a:off x="1008361" y="3030996"/>
            <a:ext cx="1162178" cy="246221"/>
          </a:xfrm>
          <a:prstGeom prst="rect">
            <a:avLst/>
          </a:prstGeom>
          <a:noFill/>
        </p:spPr>
        <p:txBody>
          <a:bodyPr wrap="none" lIns="0" tIns="0" rIns="0" bIns="0" rtlCol="0" anchor="t">
            <a:spAutoFit/>
          </a:bodyPr>
          <a:lstStyle/>
          <a:p>
            <a:r>
              <a:rPr lang="zh-CN" altLang="en-US" sz="1600" dirty="0">
                <a:solidFill>
                  <a:schemeClr val="bg1"/>
                </a:solidFill>
                <a:latin typeface="+mn-ea"/>
              </a:rPr>
              <a:t>汇报人：</a:t>
            </a:r>
            <a:r>
              <a:rPr lang="en-US" altLang="zh-CN" sz="1600" dirty="0">
                <a:solidFill>
                  <a:schemeClr val="bg1"/>
                </a:solidFill>
                <a:latin typeface="+mn-ea"/>
              </a:rPr>
              <a:t>xxx</a:t>
            </a:r>
            <a:endParaRPr lang="zh-CN" altLang="en-US" sz="1600" dirty="0">
              <a:solidFill>
                <a:schemeClr val="bg1"/>
              </a:solidFill>
              <a:latin typeface="+mn-ea"/>
            </a:endParaRPr>
          </a:p>
        </p:txBody>
      </p:sp>
      <p:sp>
        <p:nvSpPr>
          <p:cNvPr id="37" name="矩形 36">
            <a:extLst>
              <a:ext uri="{FF2B5EF4-FFF2-40B4-BE49-F238E27FC236}">
                <a16:creationId xmlns:a16="http://schemas.microsoft.com/office/drawing/2014/main" id="{9DF50275-531E-4EB4-8589-682962BA7B97}"/>
              </a:ext>
            </a:extLst>
          </p:cNvPr>
          <p:cNvSpPr/>
          <p:nvPr/>
        </p:nvSpPr>
        <p:spPr>
          <a:xfrm>
            <a:off x="2953893" y="3062667"/>
            <a:ext cx="164592" cy="1645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solidFill>
                <a:schemeClr val="bg1"/>
              </a:solidFill>
            </a:endParaRPr>
          </a:p>
        </p:txBody>
      </p:sp>
      <p:sp>
        <p:nvSpPr>
          <p:cNvPr id="38" name="文本框 37">
            <a:extLst>
              <a:ext uri="{FF2B5EF4-FFF2-40B4-BE49-F238E27FC236}">
                <a16:creationId xmlns:a16="http://schemas.microsoft.com/office/drawing/2014/main" id="{1BDEAE96-EB95-4364-B0CB-496DBEC284C6}"/>
              </a:ext>
            </a:extLst>
          </p:cNvPr>
          <p:cNvSpPr txBox="1"/>
          <p:nvPr/>
        </p:nvSpPr>
        <p:spPr>
          <a:xfrm>
            <a:off x="3266929" y="3030996"/>
            <a:ext cx="956993" cy="246221"/>
          </a:xfrm>
          <a:prstGeom prst="rect">
            <a:avLst/>
          </a:prstGeom>
          <a:noFill/>
        </p:spPr>
        <p:txBody>
          <a:bodyPr wrap="none" lIns="0" tIns="0" rIns="0" bIns="0" rtlCol="0" anchor="t">
            <a:spAutoFit/>
          </a:bodyPr>
          <a:lstStyle/>
          <a:p>
            <a:r>
              <a:rPr lang="zh-CN" altLang="en-US" sz="1600" dirty="0">
                <a:solidFill>
                  <a:schemeClr val="bg1"/>
                </a:solidFill>
                <a:latin typeface="+mn-ea"/>
              </a:rPr>
              <a:t>单位：</a:t>
            </a:r>
            <a:r>
              <a:rPr lang="en-US" altLang="zh-CN" sz="1600" dirty="0">
                <a:solidFill>
                  <a:schemeClr val="bg1"/>
                </a:solidFill>
                <a:latin typeface="+mn-ea"/>
              </a:rPr>
              <a:t>xxx</a:t>
            </a:r>
            <a:endParaRPr lang="zh-CN" altLang="en-US" sz="1600" dirty="0">
              <a:solidFill>
                <a:schemeClr val="bg1"/>
              </a:solidFill>
              <a:latin typeface="+mn-ea"/>
            </a:endParaRPr>
          </a:p>
        </p:txBody>
      </p:sp>
    </p:spTree>
    <p:extLst>
      <p:ext uri="{BB962C8B-B14F-4D97-AF65-F5344CB8AC3E}">
        <p14:creationId xmlns:p14="http://schemas.microsoft.com/office/powerpoint/2010/main" val="2959138697"/>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290.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50" name="椭圆 49">
            <a:extLst>
              <a:ext uri="{FF2B5EF4-FFF2-40B4-BE49-F238E27FC236}">
                <a16:creationId xmlns:a16="http://schemas.microsoft.com/office/drawing/2014/main" id="{76C75582-F961-497B-953E-FE01EC0DE459}"/>
              </a:ext>
            </a:extLst>
          </p:cNvPr>
          <p:cNvSpPr/>
          <p:nvPr/>
        </p:nvSpPr>
        <p:spPr>
          <a:xfrm>
            <a:off x="-12778863" y="-8920009"/>
            <a:ext cx="24698018" cy="24698018"/>
          </a:xfrm>
          <a:prstGeom prst="ellipse">
            <a:avLst/>
          </a:prstGeom>
          <a:solidFill>
            <a:schemeClr val="accent1">
              <a:lumMod val="25000"/>
              <a:lumOff val="75000"/>
              <a:alpha val="20000"/>
            </a:schemeClr>
          </a:solidFill>
          <a:ln>
            <a:gradFill>
              <a:gsLst>
                <a:gs pos="45000">
                  <a:schemeClr val="accent1">
                    <a:lumMod val="5000"/>
                    <a:lumOff val="95000"/>
                    <a:alpha val="0"/>
                  </a:schemeClr>
                </a:gs>
                <a:gs pos="50000">
                  <a:schemeClr val="accent1">
                    <a:lumMod val="25000"/>
                    <a:lumOff val="75000"/>
                  </a:schemeClr>
                </a:gs>
                <a:gs pos="85000">
                  <a:schemeClr val="accent1">
                    <a:lumMod val="30000"/>
                    <a:lumOff val="70000"/>
                    <a:alpha val="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49" name="椭圆 48">
            <a:extLst>
              <a:ext uri="{FF2B5EF4-FFF2-40B4-BE49-F238E27FC236}">
                <a16:creationId xmlns:a16="http://schemas.microsoft.com/office/drawing/2014/main" id="{1559E2F5-3D56-4E13-90BF-053D73A00E31}"/>
              </a:ext>
            </a:extLst>
          </p:cNvPr>
          <p:cNvSpPr/>
          <p:nvPr/>
        </p:nvSpPr>
        <p:spPr>
          <a:xfrm>
            <a:off x="-10368147" y="-6509293"/>
            <a:ext cx="19876587" cy="19876587"/>
          </a:xfrm>
          <a:prstGeom prst="ellipse">
            <a:avLst/>
          </a:prstGeom>
          <a:solidFill>
            <a:schemeClr val="accent1">
              <a:lumMod val="25000"/>
              <a:lumOff val="75000"/>
              <a:alpha val="20000"/>
            </a:schemeClr>
          </a:solidFill>
          <a:ln>
            <a:gradFill>
              <a:gsLst>
                <a:gs pos="49000">
                  <a:schemeClr val="accent1">
                    <a:lumMod val="5000"/>
                    <a:lumOff val="95000"/>
                    <a:alpha val="0"/>
                  </a:schemeClr>
                </a:gs>
                <a:gs pos="69000">
                  <a:schemeClr val="accent1">
                    <a:lumMod val="25000"/>
                    <a:lumOff val="75000"/>
                  </a:schemeClr>
                </a:gs>
                <a:gs pos="85000">
                  <a:schemeClr val="accent1">
                    <a:lumMod val="30000"/>
                    <a:lumOff val="70000"/>
                    <a:alpha val="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47" name="椭圆 46">
            <a:extLst>
              <a:ext uri="{FF2B5EF4-FFF2-40B4-BE49-F238E27FC236}">
                <a16:creationId xmlns:a16="http://schemas.microsoft.com/office/drawing/2014/main" id="{FDC71F02-71AE-4B25-903C-9D04385FE67B}"/>
              </a:ext>
            </a:extLst>
          </p:cNvPr>
          <p:cNvSpPr/>
          <p:nvPr/>
        </p:nvSpPr>
        <p:spPr>
          <a:xfrm>
            <a:off x="-8144257" y="-4285403"/>
            <a:ext cx="15428806" cy="15428806"/>
          </a:xfrm>
          <a:prstGeom prst="ellipse">
            <a:avLst/>
          </a:prstGeom>
          <a:solidFill>
            <a:schemeClr val="accent1">
              <a:lumMod val="25000"/>
              <a:lumOff val="75000"/>
              <a:alpha val="20000"/>
            </a:schemeClr>
          </a:solidFill>
          <a:ln>
            <a:gradFill>
              <a:gsLst>
                <a:gs pos="44000">
                  <a:schemeClr val="accent1">
                    <a:lumMod val="5000"/>
                    <a:lumOff val="95000"/>
                    <a:alpha val="0"/>
                  </a:schemeClr>
                </a:gs>
                <a:gs pos="65000">
                  <a:schemeClr val="accent1">
                    <a:lumMod val="25000"/>
                    <a:lumOff val="75000"/>
                  </a:schemeClr>
                </a:gs>
                <a:gs pos="85000">
                  <a:schemeClr val="accent1">
                    <a:lumMod val="30000"/>
                    <a:lumOff val="70000"/>
                    <a:alpha val="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42" name="椭圆 41">
            <a:extLst>
              <a:ext uri="{FF2B5EF4-FFF2-40B4-BE49-F238E27FC236}">
                <a16:creationId xmlns:a16="http://schemas.microsoft.com/office/drawing/2014/main" id="{21B7F332-BCE7-4252-847A-48FE7C6D3C18}"/>
              </a:ext>
            </a:extLst>
          </p:cNvPr>
          <p:cNvSpPr/>
          <p:nvPr/>
        </p:nvSpPr>
        <p:spPr>
          <a:xfrm>
            <a:off x="-5688523" y="-1829669"/>
            <a:ext cx="10517338" cy="10517338"/>
          </a:xfrm>
          <a:prstGeom prst="ellipse">
            <a:avLst/>
          </a:prstGeom>
          <a:solidFill>
            <a:schemeClr val="accent1">
              <a:lumMod val="25000"/>
              <a:lumOff val="75000"/>
              <a:alpha val="20000"/>
            </a:schemeClr>
          </a:solidFill>
          <a:ln>
            <a:gradFill>
              <a:gsLst>
                <a:gs pos="44000">
                  <a:schemeClr val="accent1">
                    <a:lumMod val="5000"/>
                    <a:lumOff val="95000"/>
                    <a:alpha val="0"/>
                  </a:schemeClr>
                </a:gs>
                <a:gs pos="50000">
                  <a:schemeClr val="accent1">
                    <a:lumMod val="25000"/>
                    <a:lumOff val="75000"/>
                  </a:schemeClr>
                </a:gs>
                <a:gs pos="85000">
                  <a:schemeClr val="accent1">
                    <a:lumMod val="30000"/>
                    <a:lumOff val="70000"/>
                    <a:alpha val="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41" name="椭圆 40">
            <a:extLst>
              <a:ext uri="{FF2B5EF4-FFF2-40B4-BE49-F238E27FC236}">
                <a16:creationId xmlns:a16="http://schemas.microsoft.com/office/drawing/2014/main" id="{60B47879-B828-4845-85DC-91F16E137ADB}"/>
              </a:ext>
            </a:extLst>
          </p:cNvPr>
          <p:cNvSpPr/>
          <p:nvPr/>
        </p:nvSpPr>
        <p:spPr>
          <a:xfrm>
            <a:off x="-3478218" y="302495"/>
            <a:ext cx="6096727" cy="6096727"/>
          </a:xfrm>
          <a:prstGeom prst="ellipse">
            <a:avLst/>
          </a:prstGeom>
          <a:solidFill>
            <a:schemeClr val="accent1">
              <a:lumMod val="25000"/>
              <a:lumOff val="75000"/>
              <a:alpha val="20000"/>
            </a:schemeClr>
          </a:solidFill>
          <a:ln>
            <a:gradFill>
              <a:gsLst>
                <a:gs pos="42000">
                  <a:schemeClr val="accent1">
                    <a:lumMod val="5000"/>
                    <a:lumOff val="95000"/>
                    <a:alpha val="0"/>
                  </a:schemeClr>
                </a:gs>
                <a:gs pos="50000">
                  <a:schemeClr val="accent1">
                    <a:lumMod val="25000"/>
                    <a:lumOff val="75000"/>
                  </a:schemeClr>
                </a:gs>
                <a:gs pos="85000">
                  <a:schemeClr val="accent1">
                    <a:lumMod val="30000"/>
                    <a:lumOff val="70000"/>
                    <a:alpha val="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grpSp>
        <p:nvGrpSpPr>
          <p:cNvPr id="10" name="组合 9">
            <a:extLst>
              <a:ext uri="{FF2B5EF4-FFF2-40B4-BE49-F238E27FC236}">
                <a16:creationId xmlns:a16="http://schemas.microsoft.com/office/drawing/2014/main" id="{BAD3553D-96A4-4973-B1E6-F811786B1274}"/>
              </a:ext>
            </a:extLst>
          </p:cNvPr>
          <p:cNvGrpSpPr/>
          <p:nvPr/>
        </p:nvGrpSpPr>
        <p:grpSpPr>
          <a:xfrm>
            <a:off x="3052700" y="2678751"/>
            <a:ext cx="1542333" cy="1339094"/>
            <a:chOff x="3052700" y="2678751"/>
            <a:chExt cx="1542333" cy="1339094"/>
          </a:xfrm>
        </p:grpSpPr>
        <p:sp>
          <p:nvSpPr>
            <p:cNvPr id="70" name="文本框 69">
              <a:extLst>
                <a:ext uri="{FF2B5EF4-FFF2-40B4-BE49-F238E27FC236}">
                  <a16:creationId xmlns:a16="http://schemas.microsoft.com/office/drawing/2014/main" id="{10C53FD2-8C32-4E97-A9BF-B1AC9A2E61D3}"/>
                </a:ext>
              </a:extLst>
            </p:cNvPr>
            <p:cNvSpPr txBox="1"/>
            <p:nvPr/>
          </p:nvSpPr>
          <p:spPr>
            <a:xfrm>
              <a:off x="3052700" y="2678751"/>
              <a:ext cx="1154162" cy="276999"/>
            </a:xfrm>
            <a:prstGeom prst="rect">
              <a:avLst/>
            </a:prstGeom>
            <a:noFill/>
          </p:spPr>
          <p:txBody>
            <a:bodyPr wrap="none" lIns="0" tIns="0" rIns="0" bIns="0" rtlCol="0" anchor="t">
              <a:spAutoFit/>
            </a:bodyPr>
            <a:lstStyle/>
            <a:p>
              <a:r>
                <a:rPr lang="zh-CN" altLang="en-US" dirty="0">
                  <a:solidFill>
                    <a:schemeClr val="bg1"/>
                  </a:solidFill>
                  <a:latin typeface="+mj-ea"/>
                  <a:ea typeface="+mj-ea"/>
                </a:rPr>
                <a:t>关键词标题</a:t>
              </a:r>
            </a:p>
          </p:txBody>
        </p:sp>
        <p:sp>
          <p:nvSpPr>
            <p:cNvPr id="71" name="文本框 70">
              <a:extLst>
                <a:ext uri="{FF2B5EF4-FFF2-40B4-BE49-F238E27FC236}">
                  <a16:creationId xmlns:a16="http://schemas.microsoft.com/office/drawing/2014/main" id="{51991362-1739-4C41-8889-E03EA121AF05}"/>
                </a:ext>
              </a:extLst>
            </p:cNvPr>
            <p:cNvSpPr txBox="1"/>
            <p:nvPr/>
          </p:nvSpPr>
          <p:spPr>
            <a:xfrm>
              <a:off x="3052700" y="3030395"/>
              <a:ext cx="1542333" cy="987450"/>
            </a:xfrm>
            <a:prstGeom prst="rect">
              <a:avLst/>
            </a:prstGeom>
            <a:noFill/>
          </p:spPr>
          <p:txBody>
            <a:bodyPr wrap="square" lIns="0" tIns="0" rIns="0" bIns="0" rtlCol="0" anchor="t">
              <a:spAutoFit/>
            </a:bodyPr>
            <a:lstStyle/>
            <a:p>
              <a:pPr>
                <a:lnSpc>
                  <a:spcPct val="130000"/>
                </a:lnSpc>
              </a:pPr>
              <a:r>
                <a:rPr lang="en-US" altLang="zh-CN" sz="1000" b="0" dirty="0">
                  <a:solidFill>
                    <a:schemeClr val="bg1"/>
                  </a:solidFill>
                  <a:effectLst/>
                  <a:latin typeface="+mn-ea"/>
                </a:rPr>
                <a:t>Lorem ipsum dolor sit amet, consectetur</a:t>
              </a:r>
            </a:p>
            <a:p>
              <a:pPr>
                <a:lnSpc>
                  <a:spcPct val="130000"/>
                </a:lnSpc>
              </a:pPr>
              <a:endParaRPr lang="en-US" altLang="zh-CN" sz="1000" dirty="0">
                <a:solidFill>
                  <a:schemeClr val="bg1"/>
                </a:solidFill>
                <a:latin typeface="+mn-ea"/>
              </a:endParaRPr>
            </a:p>
            <a:p>
              <a:pPr>
                <a:lnSpc>
                  <a:spcPct val="130000"/>
                </a:lnSpc>
              </a:pPr>
              <a:r>
                <a:rPr lang="en-US" altLang="zh-CN" sz="1000" b="0" dirty="0">
                  <a:solidFill>
                    <a:schemeClr val="bg1"/>
                  </a:solidFill>
                  <a:effectLst/>
                  <a:latin typeface="+mn-ea"/>
                </a:rPr>
                <a:t>Lorem ipsum dolor sit amet, consectetur</a:t>
              </a:r>
              <a:endParaRPr lang="zh-CN" altLang="en-US" sz="1000" b="0" dirty="0">
                <a:solidFill>
                  <a:schemeClr val="bg1"/>
                </a:solidFill>
                <a:effectLst/>
                <a:latin typeface="+mn-ea"/>
              </a:endParaRPr>
            </a:p>
          </p:txBody>
        </p:sp>
      </p:grpSp>
      <p:grpSp>
        <p:nvGrpSpPr>
          <p:cNvPr id="6" name="组合 5">
            <a:extLst>
              <a:ext uri="{FF2B5EF4-FFF2-40B4-BE49-F238E27FC236}">
                <a16:creationId xmlns:a16="http://schemas.microsoft.com/office/drawing/2014/main" id="{362AF6A9-E6B0-4B17-A863-70F51DD57153}"/>
              </a:ext>
            </a:extLst>
          </p:cNvPr>
          <p:cNvGrpSpPr/>
          <p:nvPr/>
        </p:nvGrpSpPr>
        <p:grpSpPr>
          <a:xfrm>
            <a:off x="637160" y="2678751"/>
            <a:ext cx="1542333" cy="1339094"/>
            <a:chOff x="637160" y="2678751"/>
            <a:chExt cx="1542333" cy="1339094"/>
          </a:xfrm>
        </p:grpSpPr>
        <p:sp>
          <p:nvSpPr>
            <p:cNvPr id="28" name="文本框 27">
              <a:extLst>
                <a:ext uri="{FF2B5EF4-FFF2-40B4-BE49-F238E27FC236}">
                  <a16:creationId xmlns:a16="http://schemas.microsoft.com/office/drawing/2014/main" id="{6B02D87F-0099-42D9-BFFA-FE7A9C70BA8A}"/>
                </a:ext>
              </a:extLst>
            </p:cNvPr>
            <p:cNvSpPr txBox="1"/>
            <p:nvPr/>
          </p:nvSpPr>
          <p:spPr>
            <a:xfrm>
              <a:off x="637160" y="2678751"/>
              <a:ext cx="1154162" cy="276999"/>
            </a:xfrm>
            <a:prstGeom prst="rect">
              <a:avLst/>
            </a:prstGeom>
            <a:noFill/>
          </p:spPr>
          <p:txBody>
            <a:bodyPr wrap="none" lIns="0" tIns="0" rIns="0" bIns="0" rtlCol="0" anchor="t">
              <a:spAutoFit/>
            </a:bodyPr>
            <a:lstStyle/>
            <a:p>
              <a:r>
                <a:rPr lang="zh-CN" altLang="en-US" dirty="0">
                  <a:solidFill>
                    <a:schemeClr val="bg1"/>
                  </a:solidFill>
                  <a:latin typeface="+mj-ea"/>
                  <a:ea typeface="+mj-ea"/>
                </a:rPr>
                <a:t>关键词标题</a:t>
              </a:r>
            </a:p>
          </p:txBody>
        </p:sp>
        <p:sp>
          <p:nvSpPr>
            <p:cNvPr id="29" name="文本框 28">
              <a:extLst>
                <a:ext uri="{FF2B5EF4-FFF2-40B4-BE49-F238E27FC236}">
                  <a16:creationId xmlns:a16="http://schemas.microsoft.com/office/drawing/2014/main" id="{A2D76DDE-624F-47F4-B9A8-885CB9C46888}"/>
                </a:ext>
              </a:extLst>
            </p:cNvPr>
            <p:cNvSpPr txBox="1"/>
            <p:nvPr/>
          </p:nvSpPr>
          <p:spPr>
            <a:xfrm>
              <a:off x="637160" y="3030395"/>
              <a:ext cx="1542333" cy="987450"/>
            </a:xfrm>
            <a:prstGeom prst="rect">
              <a:avLst/>
            </a:prstGeom>
            <a:noFill/>
          </p:spPr>
          <p:txBody>
            <a:bodyPr wrap="square" lIns="0" tIns="0" rIns="0" bIns="0" rtlCol="0" anchor="t">
              <a:spAutoFit/>
            </a:bodyPr>
            <a:lstStyle/>
            <a:p>
              <a:pPr>
                <a:lnSpc>
                  <a:spcPct val="130000"/>
                </a:lnSpc>
              </a:pPr>
              <a:r>
                <a:rPr lang="en-US" altLang="zh-CN" sz="1000" b="0" dirty="0">
                  <a:solidFill>
                    <a:schemeClr val="bg1"/>
                  </a:solidFill>
                  <a:effectLst/>
                  <a:latin typeface="+mn-ea"/>
                </a:rPr>
                <a:t>Lorem ipsum dolor sit amet, consectetur</a:t>
              </a:r>
            </a:p>
            <a:p>
              <a:pPr>
                <a:lnSpc>
                  <a:spcPct val="130000"/>
                </a:lnSpc>
              </a:pPr>
              <a:endParaRPr lang="en-US" altLang="zh-CN" sz="1000" dirty="0">
                <a:solidFill>
                  <a:schemeClr val="bg1"/>
                </a:solidFill>
                <a:latin typeface="+mn-ea"/>
              </a:endParaRPr>
            </a:p>
            <a:p>
              <a:pPr>
                <a:lnSpc>
                  <a:spcPct val="130000"/>
                </a:lnSpc>
              </a:pPr>
              <a:r>
                <a:rPr lang="en-US" altLang="zh-CN" sz="1000" b="0" dirty="0">
                  <a:solidFill>
                    <a:schemeClr val="bg1"/>
                  </a:solidFill>
                  <a:effectLst/>
                  <a:latin typeface="+mn-ea"/>
                </a:rPr>
                <a:t>Lorem ipsum dolor sit amet, consectetur</a:t>
              </a:r>
              <a:endParaRPr lang="zh-CN" altLang="en-US" sz="1000" b="0" dirty="0">
                <a:solidFill>
                  <a:schemeClr val="bg1"/>
                </a:solidFill>
                <a:effectLst/>
                <a:latin typeface="+mn-ea"/>
              </a:endParaRPr>
            </a:p>
          </p:txBody>
        </p:sp>
      </p:grpSp>
      <p:grpSp>
        <p:nvGrpSpPr>
          <p:cNvPr id="34" name="组合 33">
            <a:extLst>
              <a:ext uri="{FF2B5EF4-FFF2-40B4-BE49-F238E27FC236}">
                <a16:creationId xmlns:a16="http://schemas.microsoft.com/office/drawing/2014/main" id="{11AA0FC8-02DF-46F5-9D95-5AD76E6936AB}"/>
              </a:ext>
            </a:extLst>
          </p:cNvPr>
          <p:cNvGrpSpPr/>
          <p:nvPr/>
        </p:nvGrpSpPr>
        <p:grpSpPr>
          <a:xfrm>
            <a:off x="5292047" y="2678751"/>
            <a:ext cx="1542333" cy="1339094"/>
            <a:chOff x="3052700" y="2678751"/>
            <a:chExt cx="1542333" cy="1339094"/>
          </a:xfrm>
        </p:grpSpPr>
        <p:sp>
          <p:nvSpPr>
            <p:cNvPr id="35" name="文本框 34">
              <a:extLst>
                <a:ext uri="{FF2B5EF4-FFF2-40B4-BE49-F238E27FC236}">
                  <a16:creationId xmlns:a16="http://schemas.microsoft.com/office/drawing/2014/main" id="{8150761A-0E5A-41E8-AD04-14B9548D81C6}"/>
                </a:ext>
              </a:extLst>
            </p:cNvPr>
            <p:cNvSpPr txBox="1"/>
            <p:nvPr/>
          </p:nvSpPr>
          <p:spPr>
            <a:xfrm>
              <a:off x="3052700" y="2678751"/>
              <a:ext cx="1154162" cy="276999"/>
            </a:xfrm>
            <a:prstGeom prst="rect">
              <a:avLst/>
            </a:prstGeom>
            <a:noFill/>
          </p:spPr>
          <p:txBody>
            <a:bodyPr wrap="none" lIns="0" tIns="0" rIns="0" bIns="0" rtlCol="0" anchor="t">
              <a:spAutoFit/>
            </a:bodyPr>
            <a:lstStyle/>
            <a:p>
              <a:r>
                <a:rPr lang="zh-CN" altLang="en-US" dirty="0">
                  <a:solidFill>
                    <a:schemeClr val="bg1"/>
                  </a:solidFill>
                  <a:latin typeface="+mj-ea"/>
                  <a:ea typeface="+mj-ea"/>
                </a:rPr>
                <a:t>关键词标题</a:t>
              </a:r>
            </a:p>
          </p:txBody>
        </p:sp>
        <p:sp>
          <p:nvSpPr>
            <p:cNvPr id="36" name="文本框 35">
              <a:extLst>
                <a:ext uri="{FF2B5EF4-FFF2-40B4-BE49-F238E27FC236}">
                  <a16:creationId xmlns:a16="http://schemas.microsoft.com/office/drawing/2014/main" id="{BBE96819-7FED-4581-9428-F9F03019CDC1}"/>
                </a:ext>
              </a:extLst>
            </p:cNvPr>
            <p:cNvSpPr txBox="1"/>
            <p:nvPr/>
          </p:nvSpPr>
          <p:spPr>
            <a:xfrm>
              <a:off x="3052700" y="3030395"/>
              <a:ext cx="1542333" cy="987450"/>
            </a:xfrm>
            <a:prstGeom prst="rect">
              <a:avLst/>
            </a:prstGeom>
            <a:noFill/>
          </p:spPr>
          <p:txBody>
            <a:bodyPr wrap="square" lIns="0" tIns="0" rIns="0" bIns="0" rtlCol="0" anchor="t">
              <a:spAutoFit/>
            </a:bodyPr>
            <a:lstStyle/>
            <a:p>
              <a:pPr>
                <a:lnSpc>
                  <a:spcPct val="130000"/>
                </a:lnSpc>
              </a:pPr>
              <a:r>
                <a:rPr lang="en-US" altLang="zh-CN" sz="1000" b="0" dirty="0">
                  <a:solidFill>
                    <a:schemeClr val="bg1"/>
                  </a:solidFill>
                  <a:effectLst/>
                  <a:latin typeface="+mn-ea"/>
                </a:rPr>
                <a:t>Lorem ipsum dolor sit amet, consectetur</a:t>
              </a:r>
            </a:p>
            <a:p>
              <a:pPr>
                <a:lnSpc>
                  <a:spcPct val="130000"/>
                </a:lnSpc>
              </a:pPr>
              <a:endParaRPr lang="en-US" altLang="zh-CN" sz="1000" dirty="0">
                <a:solidFill>
                  <a:schemeClr val="bg1"/>
                </a:solidFill>
                <a:latin typeface="+mn-ea"/>
              </a:endParaRPr>
            </a:p>
            <a:p>
              <a:pPr>
                <a:lnSpc>
                  <a:spcPct val="130000"/>
                </a:lnSpc>
              </a:pPr>
              <a:r>
                <a:rPr lang="en-US" altLang="zh-CN" sz="1000" b="0" dirty="0">
                  <a:solidFill>
                    <a:schemeClr val="bg1"/>
                  </a:solidFill>
                  <a:effectLst/>
                  <a:latin typeface="+mn-ea"/>
                </a:rPr>
                <a:t>Lorem ipsum dolor sit amet, consectetur</a:t>
              </a:r>
              <a:endParaRPr lang="zh-CN" altLang="en-US" sz="1000" b="0" dirty="0">
                <a:solidFill>
                  <a:schemeClr val="bg1"/>
                </a:solidFill>
                <a:effectLst/>
                <a:latin typeface="+mn-ea"/>
              </a:endParaRPr>
            </a:p>
          </p:txBody>
        </p:sp>
      </p:grpSp>
      <p:grpSp>
        <p:nvGrpSpPr>
          <p:cNvPr id="37" name="组合 36">
            <a:extLst>
              <a:ext uri="{FF2B5EF4-FFF2-40B4-BE49-F238E27FC236}">
                <a16:creationId xmlns:a16="http://schemas.microsoft.com/office/drawing/2014/main" id="{435F4A77-1ACC-41CE-BDAD-CA02283977B0}"/>
              </a:ext>
            </a:extLst>
          </p:cNvPr>
          <p:cNvGrpSpPr/>
          <p:nvPr/>
        </p:nvGrpSpPr>
        <p:grpSpPr>
          <a:xfrm>
            <a:off x="7657876" y="2678751"/>
            <a:ext cx="1542333" cy="1339094"/>
            <a:chOff x="3052700" y="2678751"/>
            <a:chExt cx="1542333" cy="1339094"/>
          </a:xfrm>
        </p:grpSpPr>
        <p:sp>
          <p:nvSpPr>
            <p:cNvPr id="38" name="文本框 37">
              <a:extLst>
                <a:ext uri="{FF2B5EF4-FFF2-40B4-BE49-F238E27FC236}">
                  <a16:creationId xmlns:a16="http://schemas.microsoft.com/office/drawing/2014/main" id="{3BE4C454-1300-4192-82C0-AEF99ADF1627}"/>
                </a:ext>
              </a:extLst>
            </p:cNvPr>
            <p:cNvSpPr txBox="1"/>
            <p:nvPr/>
          </p:nvSpPr>
          <p:spPr>
            <a:xfrm>
              <a:off x="3052700" y="2678751"/>
              <a:ext cx="1154162" cy="276999"/>
            </a:xfrm>
            <a:prstGeom prst="rect">
              <a:avLst/>
            </a:prstGeom>
            <a:noFill/>
          </p:spPr>
          <p:txBody>
            <a:bodyPr wrap="none" lIns="0" tIns="0" rIns="0" bIns="0" rtlCol="0" anchor="t">
              <a:spAutoFit/>
            </a:bodyPr>
            <a:lstStyle/>
            <a:p>
              <a:r>
                <a:rPr lang="zh-CN" altLang="en-US" dirty="0">
                  <a:solidFill>
                    <a:schemeClr val="bg1"/>
                  </a:solidFill>
                  <a:latin typeface="+mj-ea"/>
                  <a:ea typeface="+mj-ea"/>
                </a:rPr>
                <a:t>关键词标题</a:t>
              </a:r>
            </a:p>
          </p:txBody>
        </p:sp>
        <p:sp>
          <p:nvSpPr>
            <p:cNvPr id="39" name="文本框 38">
              <a:extLst>
                <a:ext uri="{FF2B5EF4-FFF2-40B4-BE49-F238E27FC236}">
                  <a16:creationId xmlns:a16="http://schemas.microsoft.com/office/drawing/2014/main" id="{F0C54F0C-00FA-4C02-907E-8114BEF6A76F}"/>
                </a:ext>
              </a:extLst>
            </p:cNvPr>
            <p:cNvSpPr txBox="1"/>
            <p:nvPr/>
          </p:nvSpPr>
          <p:spPr>
            <a:xfrm>
              <a:off x="3052700" y="3030395"/>
              <a:ext cx="1542333" cy="987450"/>
            </a:xfrm>
            <a:prstGeom prst="rect">
              <a:avLst/>
            </a:prstGeom>
            <a:noFill/>
          </p:spPr>
          <p:txBody>
            <a:bodyPr wrap="square" lIns="0" tIns="0" rIns="0" bIns="0" rtlCol="0" anchor="t">
              <a:spAutoFit/>
            </a:bodyPr>
            <a:lstStyle/>
            <a:p>
              <a:pPr>
                <a:lnSpc>
                  <a:spcPct val="130000"/>
                </a:lnSpc>
              </a:pPr>
              <a:r>
                <a:rPr lang="en-US" altLang="zh-CN" sz="1000" b="0" dirty="0">
                  <a:solidFill>
                    <a:schemeClr val="bg1"/>
                  </a:solidFill>
                  <a:effectLst/>
                  <a:latin typeface="+mn-ea"/>
                </a:rPr>
                <a:t>Lorem ipsum dolor sit amet, consectetur</a:t>
              </a:r>
            </a:p>
            <a:p>
              <a:pPr>
                <a:lnSpc>
                  <a:spcPct val="130000"/>
                </a:lnSpc>
              </a:pPr>
              <a:endParaRPr lang="en-US" altLang="zh-CN" sz="1000" dirty="0">
                <a:solidFill>
                  <a:schemeClr val="bg1"/>
                </a:solidFill>
                <a:latin typeface="+mn-ea"/>
              </a:endParaRPr>
            </a:p>
            <a:p>
              <a:pPr>
                <a:lnSpc>
                  <a:spcPct val="130000"/>
                </a:lnSpc>
              </a:pPr>
              <a:r>
                <a:rPr lang="en-US" altLang="zh-CN" sz="1000" b="0" dirty="0">
                  <a:solidFill>
                    <a:schemeClr val="bg1"/>
                  </a:solidFill>
                  <a:effectLst/>
                  <a:latin typeface="+mn-ea"/>
                </a:rPr>
                <a:t>Lorem ipsum dolor sit amet, consectetur</a:t>
              </a:r>
              <a:endParaRPr lang="zh-CN" altLang="en-US" sz="1000" b="0" dirty="0">
                <a:solidFill>
                  <a:schemeClr val="bg1"/>
                </a:solidFill>
                <a:effectLst/>
                <a:latin typeface="+mn-ea"/>
              </a:endParaRPr>
            </a:p>
          </p:txBody>
        </p:sp>
      </p:grpSp>
      <p:grpSp>
        <p:nvGrpSpPr>
          <p:cNvPr id="40" name="组合 39">
            <a:extLst>
              <a:ext uri="{FF2B5EF4-FFF2-40B4-BE49-F238E27FC236}">
                <a16:creationId xmlns:a16="http://schemas.microsoft.com/office/drawing/2014/main" id="{AAC83396-670B-42A5-ACDE-E8CEC7CDB56B}"/>
              </a:ext>
            </a:extLst>
          </p:cNvPr>
          <p:cNvGrpSpPr/>
          <p:nvPr/>
        </p:nvGrpSpPr>
        <p:grpSpPr>
          <a:xfrm>
            <a:off x="10018521" y="2678751"/>
            <a:ext cx="1542333" cy="1339094"/>
            <a:chOff x="3052700" y="2678751"/>
            <a:chExt cx="1542333" cy="1339094"/>
          </a:xfrm>
        </p:grpSpPr>
        <p:sp>
          <p:nvSpPr>
            <p:cNvPr id="43" name="文本框 42">
              <a:extLst>
                <a:ext uri="{FF2B5EF4-FFF2-40B4-BE49-F238E27FC236}">
                  <a16:creationId xmlns:a16="http://schemas.microsoft.com/office/drawing/2014/main" id="{DFAF5693-59E9-4723-B6C9-AA0E82531D0E}"/>
                </a:ext>
              </a:extLst>
            </p:cNvPr>
            <p:cNvSpPr txBox="1"/>
            <p:nvPr/>
          </p:nvSpPr>
          <p:spPr>
            <a:xfrm>
              <a:off x="3052700" y="2678751"/>
              <a:ext cx="1154162" cy="276999"/>
            </a:xfrm>
            <a:prstGeom prst="rect">
              <a:avLst/>
            </a:prstGeom>
            <a:noFill/>
          </p:spPr>
          <p:txBody>
            <a:bodyPr wrap="none" lIns="0" tIns="0" rIns="0" bIns="0" rtlCol="0" anchor="t">
              <a:spAutoFit/>
            </a:bodyPr>
            <a:lstStyle/>
            <a:p>
              <a:r>
                <a:rPr lang="zh-CN" altLang="en-US" dirty="0">
                  <a:solidFill>
                    <a:schemeClr val="bg1"/>
                  </a:solidFill>
                  <a:latin typeface="+mj-ea"/>
                  <a:ea typeface="+mj-ea"/>
                </a:rPr>
                <a:t>关键词标题</a:t>
              </a:r>
            </a:p>
          </p:txBody>
        </p:sp>
        <p:sp>
          <p:nvSpPr>
            <p:cNvPr id="44" name="文本框 43">
              <a:extLst>
                <a:ext uri="{FF2B5EF4-FFF2-40B4-BE49-F238E27FC236}">
                  <a16:creationId xmlns:a16="http://schemas.microsoft.com/office/drawing/2014/main" id="{185F5E74-7ABC-4048-8FDC-4D2859C75CBE}"/>
                </a:ext>
              </a:extLst>
            </p:cNvPr>
            <p:cNvSpPr txBox="1"/>
            <p:nvPr/>
          </p:nvSpPr>
          <p:spPr>
            <a:xfrm>
              <a:off x="3052700" y="3030395"/>
              <a:ext cx="1542333" cy="987450"/>
            </a:xfrm>
            <a:prstGeom prst="rect">
              <a:avLst/>
            </a:prstGeom>
            <a:noFill/>
          </p:spPr>
          <p:txBody>
            <a:bodyPr wrap="square" lIns="0" tIns="0" rIns="0" bIns="0" rtlCol="0" anchor="t">
              <a:spAutoFit/>
            </a:bodyPr>
            <a:lstStyle/>
            <a:p>
              <a:pPr>
                <a:lnSpc>
                  <a:spcPct val="130000"/>
                </a:lnSpc>
              </a:pPr>
              <a:r>
                <a:rPr lang="en-US" altLang="zh-CN" sz="1000" b="0" dirty="0">
                  <a:solidFill>
                    <a:schemeClr val="bg1"/>
                  </a:solidFill>
                  <a:effectLst/>
                  <a:latin typeface="+mn-ea"/>
                </a:rPr>
                <a:t>Lorem ipsum dolor sit amet, consectetur</a:t>
              </a:r>
            </a:p>
            <a:p>
              <a:pPr>
                <a:lnSpc>
                  <a:spcPct val="130000"/>
                </a:lnSpc>
              </a:pPr>
              <a:endParaRPr lang="en-US" altLang="zh-CN" sz="1000" dirty="0">
                <a:solidFill>
                  <a:schemeClr val="bg1"/>
                </a:solidFill>
                <a:latin typeface="+mn-ea"/>
              </a:endParaRPr>
            </a:p>
            <a:p>
              <a:pPr>
                <a:lnSpc>
                  <a:spcPct val="130000"/>
                </a:lnSpc>
              </a:pPr>
              <a:r>
                <a:rPr lang="en-US" altLang="zh-CN" sz="1000" b="0" dirty="0">
                  <a:solidFill>
                    <a:schemeClr val="bg1"/>
                  </a:solidFill>
                  <a:effectLst/>
                  <a:latin typeface="+mn-ea"/>
                </a:rPr>
                <a:t>Lorem ipsum dolor sit amet, consectetur</a:t>
              </a:r>
              <a:endParaRPr lang="zh-CN" altLang="en-US" sz="1000" b="0" dirty="0">
                <a:solidFill>
                  <a:schemeClr val="bg1"/>
                </a:solidFill>
                <a:effectLst/>
                <a:latin typeface="+mn-ea"/>
              </a:endParaRPr>
            </a:p>
          </p:txBody>
        </p:sp>
      </p:grpSp>
      <p:cxnSp>
        <p:nvCxnSpPr>
          <p:cNvPr id="12" name="直接连接符 11">
            <a:extLst>
              <a:ext uri="{FF2B5EF4-FFF2-40B4-BE49-F238E27FC236}">
                <a16:creationId xmlns:a16="http://schemas.microsoft.com/office/drawing/2014/main" id="{30B76657-558C-430B-AA23-EC7C0EE1299D}"/>
              </a:ext>
            </a:extLst>
          </p:cNvPr>
          <p:cNvCxnSpPr/>
          <p:nvPr/>
        </p:nvCxnSpPr>
        <p:spPr>
          <a:xfrm>
            <a:off x="2004633" y="2826981"/>
            <a:ext cx="816387" cy="0"/>
          </a:xfrm>
          <a:prstGeom prst="line">
            <a:avLst/>
          </a:prstGeom>
          <a:ln w="38100" cap="rnd">
            <a:gradFill>
              <a:gsLst>
                <a:gs pos="0">
                  <a:schemeClr val="bg1">
                    <a:alpha val="0"/>
                  </a:schemeClr>
                </a:gs>
                <a:gs pos="100000">
                  <a:schemeClr val="bg1"/>
                </a:gs>
              </a:gsLst>
              <a:lin ang="0" scaled="0"/>
            </a:gradFill>
          </a:ln>
        </p:spPr>
        <p:style>
          <a:lnRef idx="1">
            <a:schemeClr val="accent1"/>
          </a:lnRef>
          <a:fillRef idx="0">
            <a:schemeClr val="accent1"/>
          </a:fillRef>
          <a:effectRef idx="0">
            <a:schemeClr val="accent1"/>
          </a:effectRef>
          <a:fontRef idx="minor">
            <a:schemeClr val="tx1"/>
          </a:fontRef>
        </p:style>
      </p:cxnSp>
      <p:cxnSp>
        <p:nvCxnSpPr>
          <p:cNvPr id="45" name="直接连接符 44">
            <a:extLst>
              <a:ext uri="{FF2B5EF4-FFF2-40B4-BE49-F238E27FC236}">
                <a16:creationId xmlns:a16="http://schemas.microsoft.com/office/drawing/2014/main" id="{65109FB5-B588-4829-BE55-EE3029191C5F}"/>
              </a:ext>
            </a:extLst>
          </p:cNvPr>
          <p:cNvCxnSpPr/>
          <p:nvPr/>
        </p:nvCxnSpPr>
        <p:spPr>
          <a:xfrm>
            <a:off x="4260153" y="2826981"/>
            <a:ext cx="816387" cy="0"/>
          </a:xfrm>
          <a:prstGeom prst="line">
            <a:avLst/>
          </a:prstGeom>
          <a:ln w="38100" cap="rnd">
            <a:gradFill>
              <a:gsLst>
                <a:gs pos="0">
                  <a:schemeClr val="bg1">
                    <a:alpha val="0"/>
                  </a:schemeClr>
                </a:gs>
                <a:gs pos="100000">
                  <a:schemeClr val="bg1"/>
                </a:gs>
              </a:gsLst>
              <a:lin ang="0" scaled="0"/>
            </a:gradFill>
          </a:ln>
        </p:spPr>
        <p:style>
          <a:lnRef idx="1">
            <a:schemeClr val="accent1"/>
          </a:lnRef>
          <a:fillRef idx="0">
            <a:schemeClr val="accent1"/>
          </a:fillRef>
          <a:effectRef idx="0">
            <a:schemeClr val="accent1"/>
          </a:effectRef>
          <a:fontRef idx="minor">
            <a:schemeClr val="tx1"/>
          </a:fontRef>
        </p:style>
      </p:cxnSp>
      <p:cxnSp>
        <p:nvCxnSpPr>
          <p:cNvPr id="46" name="直接连接符 45">
            <a:extLst>
              <a:ext uri="{FF2B5EF4-FFF2-40B4-BE49-F238E27FC236}">
                <a16:creationId xmlns:a16="http://schemas.microsoft.com/office/drawing/2014/main" id="{934374C3-0C16-4892-80B2-AE401A786943}"/>
              </a:ext>
            </a:extLst>
          </p:cNvPr>
          <p:cNvCxnSpPr/>
          <p:nvPr/>
        </p:nvCxnSpPr>
        <p:spPr>
          <a:xfrm>
            <a:off x="6620798" y="2826981"/>
            <a:ext cx="816387" cy="0"/>
          </a:xfrm>
          <a:prstGeom prst="line">
            <a:avLst/>
          </a:prstGeom>
          <a:ln w="38100" cap="rnd">
            <a:gradFill>
              <a:gsLst>
                <a:gs pos="0">
                  <a:schemeClr val="bg1">
                    <a:alpha val="0"/>
                  </a:schemeClr>
                </a:gs>
                <a:gs pos="100000">
                  <a:schemeClr val="bg1"/>
                </a:gs>
              </a:gsLst>
              <a:lin ang="0" scaled="0"/>
            </a:gradFill>
          </a:ln>
        </p:spPr>
        <p:style>
          <a:lnRef idx="1">
            <a:schemeClr val="accent1"/>
          </a:lnRef>
          <a:fillRef idx="0">
            <a:schemeClr val="accent1"/>
          </a:fillRef>
          <a:effectRef idx="0">
            <a:schemeClr val="accent1"/>
          </a:effectRef>
          <a:fontRef idx="minor">
            <a:schemeClr val="tx1"/>
          </a:fontRef>
        </p:style>
      </p:cxnSp>
      <p:cxnSp>
        <p:nvCxnSpPr>
          <p:cNvPr id="48" name="直接连接符 47">
            <a:extLst>
              <a:ext uri="{FF2B5EF4-FFF2-40B4-BE49-F238E27FC236}">
                <a16:creationId xmlns:a16="http://schemas.microsoft.com/office/drawing/2014/main" id="{4A88C733-9140-45B3-826D-B4387A8014B6}"/>
              </a:ext>
            </a:extLst>
          </p:cNvPr>
          <p:cNvCxnSpPr/>
          <p:nvPr/>
        </p:nvCxnSpPr>
        <p:spPr>
          <a:xfrm>
            <a:off x="8981443" y="2826981"/>
            <a:ext cx="816387" cy="0"/>
          </a:xfrm>
          <a:prstGeom prst="line">
            <a:avLst/>
          </a:prstGeom>
          <a:ln w="38100" cap="rnd">
            <a:gradFill>
              <a:gsLst>
                <a:gs pos="0">
                  <a:schemeClr val="bg1">
                    <a:alpha val="0"/>
                  </a:schemeClr>
                </a:gs>
                <a:gs pos="100000">
                  <a:schemeClr val="bg1"/>
                </a:gs>
              </a:gsLst>
              <a:lin ang="0" scaled="0"/>
            </a:gradFill>
          </a:ln>
        </p:spPr>
        <p:style>
          <a:lnRef idx="1">
            <a:schemeClr val="accent1"/>
          </a:lnRef>
          <a:fillRef idx="0">
            <a:schemeClr val="accent1"/>
          </a:fillRef>
          <a:effectRef idx="0">
            <a:schemeClr val="accent1"/>
          </a:effectRef>
          <a:fontRef idx="minor">
            <a:schemeClr val="tx1"/>
          </a:fontRef>
        </p:style>
      </p:cxnSp>
      <p:sp>
        <p:nvSpPr>
          <p:cNvPr id="54" name="文本框 53">
            <a:extLst>
              <a:ext uri="{FF2B5EF4-FFF2-40B4-BE49-F238E27FC236}">
                <a16:creationId xmlns:a16="http://schemas.microsoft.com/office/drawing/2014/main" id="{8C081D4B-7FEE-4EEF-A71A-3BD4398F6A29}"/>
              </a:ext>
            </a:extLst>
          </p:cNvPr>
          <p:cNvSpPr txBox="1"/>
          <p:nvPr/>
        </p:nvSpPr>
        <p:spPr>
          <a:xfrm>
            <a:off x="4941840" y="1344624"/>
            <a:ext cx="2308324" cy="553998"/>
          </a:xfrm>
          <a:prstGeom prst="rect">
            <a:avLst/>
          </a:prstGeom>
          <a:noFill/>
        </p:spPr>
        <p:txBody>
          <a:bodyPr wrap="none" lIns="0" tIns="0" rIns="0" bIns="0" rtlCol="0" anchor="t">
            <a:spAutoFit/>
          </a:bodyPr>
          <a:lstStyle/>
          <a:p>
            <a:pPr algn="ctr"/>
            <a:r>
              <a:rPr lang="zh-CN" altLang="en-US" sz="3600" dirty="0">
                <a:solidFill>
                  <a:schemeClr val="bg1"/>
                </a:solidFill>
                <a:latin typeface="+mj-ea"/>
                <a:ea typeface="+mj-ea"/>
              </a:rPr>
              <a:t>关键词标题</a:t>
            </a:r>
          </a:p>
        </p:txBody>
      </p:sp>
    </p:spTree>
    <p:extLst>
      <p:ext uri="{BB962C8B-B14F-4D97-AF65-F5344CB8AC3E}">
        <p14:creationId xmlns:p14="http://schemas.microsoft.com/office/powerpoint/2010/main" val="2826668098"/>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29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2" name="菱形 31">
            <a:extLst>
              <a:ext uri="{FF2B5EF4-FFF2-40B4-BE49-F238E27FC236}">
                <a16:creationId xmlns:a16="http://schemas.microsoft.com/office/drawing/2014/main" id="{F07665D8-EF39-4147-8334-0FB06F0833EC}"/>
              </a:ext>
            </a:extLst>
          </p:cNvPr>
          <p:cNvSpPr/>
          <p:nvPr/>
        </p:nvSpPr>
        <p:spPr>
          <a:xfrm>
            <a:off x="2990850" y="2942812"/>
            <a:ext cx="6210300" cy="2080372"/>
          </a:xfrm>
          <a:prstGeom prst="diamond">
            <a:avLst/>
          </a:prstGeom>
          <a:solidFill>
            <a:schemeClr val="accent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31" name="菱形 30">
            <a:extLst>
              <a:ext uri="{FF2B5EF4-FFF2-40B4-BE49-F238E27FC236}">
                <a16:creationId xmlns:a16="http://schemas.microsoft.com/office/drawing/2014/main" id="{EC3EF04E-26F1-4BAE-8764-C44931EAF6BB}"/>
              </a:ext>
            </a:extLst>
          </p:cNvPr>
          <p:cNvSpPr/>
          <p:nvPr/>
        </p:nvSpPr>
        <p:spPr>
          <a:xfrm>
            <a:off x="2726581" y="2628900"/>
            <a:ext cx="6738838" cy="2257426"/>
          </a:xfrm>
          <a:prstGeom prst="diamond">
            <a:avLst/>
          </a:prstGeom>
          <a:solidFill>
            <a:schemeClr val="accent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2" name="菱形 1">
            <a:extLst>
              <a:ext uri="{FF2B5EF4-FFF2-40B4-BE49-F238E27FC236}">
                <a16:creationId xmlns:a16="http://schemas.microsoft.com/office/drawing/2014/main" id="{74B40162-678A-4971-A2B2-BB8635CF01A5}"/>
              </a:ext>
            </a:extLst>
          </p:cNvPr>
          <p:cNvSpPr/>
          <p:nvPr/>
        </p:nvSpPr>
        <p:spPr>
          <a:xfrm>
            <a:off x="3219450" y="2794005"/>
            <a:ext cx="5753100" cy="1927216"/>
          </a:xfrm>
          <a:prstGeom prst="diamond">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30" name="文本框 29">
            <a:extLst>
              <a:ext uri="{FF2B5EF4-FFF2-40B4-BE49-F238E27FC236}">
                <a16:creationId xmlns:a16="http://schemas.microsoft.com/office/drawing/2014/main" id="{30DB3AEB-D336-46E5-8DA3-C3DFFF27E2AB}"/>
              </a:ext>
            </a:extLst>
          </p:cNvPr>
          <p:cNvSpPr txBox="1"/>
          <p:nvPr/>
        </p:nvSpPr>
        <p:spPr>
          <a:xfrm>
            <a:off x="4941838" y="3429000"/>
            <a:ext cx="2308324" cy="553998"/>
          </a:xfrm>
          <a:prstGeom prst="rect">
            <a:avLst/>
          </a:prstGeom>
          <a:noFill/>
        </p:spPr>
        <p:txBody>
          <a:bodyPr wrap="none" lIns="0" tIns="0" rIns="0" bIns="0" rtlCol="0" anchor="t">
            <a:spAutoFit/>
          </a:bodyPr>
          <a:lstStyle/>
          <a:p>
            <a:pPr algn="ctr"/>
            <a:r>
              <a:rPr lang="zh-CN" altLang="en-US" sz="3600" dirty="0">
                <a:solidFill>
                  <a:schemeClr val="bg1"/>
                </a:solidFill>
                <a:latin typeface="+mj-ea"/>
                <a:ea typeface="+mj-ea"/>
              </a:rPr>
              <a:t>关键词标题</a:t>
            </a:r>
          </a:p>
        </p:txBody>
      </p:sp>
      <p:sp>
        <p:nvSpPr>
          <p:cNvPr id="51" name="菱形 50">
            <a:extLst>
              <a:ext uri="{FF2B5EF4-FFF2-40B4-BE49-F238E27FC236}">
                <a16:creationId xmlns:a16="http://schemas.microsoft.com/office/drawing/2014/main" id="{E076D2FE-5B9F-4969-BAC8-4CCFDA7A29D9}"/>
              </a:ext>
            </a:extLst>
          </p:cNvPr>
          <p:cNvSpPr/>
          <p:nvPr/>
        </p:nvSpPr>
        <p:spPr>
          <a:xfrm>
            <a:off x="1646093" y="2266950"/>
            <a:ext cx="8899814" cy="2981326"/>
          </a:xfrm>
          <a:prstGeom prst="diamond">
            <a:avLst/>
          </a:prstGeom>
          <a:noFill/>
          <a:ln>
            <a:gradFill>
              <a:gsLst>
                <a:gs pos="0">
                  <a:schemeClr val="accent1">
                    <a:alpha val="0"/>
                  </a:schemeClr>
                </a:gs>
                <a:gs pos="50000">
                  <a:schemeClr val="accent1"/>
                </a:gs>
                <a:gs pos="100000">
                  <a:schemeClr val="accent1"/>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3" name="矩形: 圆角 2">
            <a:extLst>
              <a:ext uri="{FF2B5EF4-FFF2-40B4-BE49-F238E27FC236}">
                <a16:creationId xmlns:a16="http://schemas.microsoft.com/office/drawing/2014/main" id="{9A27CD62-B666-4578-8B0E-22DBFD3C319D}"/>
              </a:ext>
            </a:extLst>
          </p:cNvPr>
          <p:cNvSpPr/>
          <p:nvPr/>
        </p:nvSpPr>
        <p:spPr>
          <a:xfrm>
            <a:off x="3565525" y="1322128"/>
            <a:ext cx="1631950" cy="1393745"/>
          </a:xfrm>
          <a:prstGeom prst="roundRect">
            <a:avLst>
              <a:gd name="adj" fmla="val 12189"/>
            </a:avLst>
          </a:prstGeom>
          <a:noFill/>
          <a:ln>
            <a:gradFill>
              <a:gsLst>
                <a:gs pos="0">
                  <a:schemeClr val="accent1"/>
                </a:gs>
                <a:gs pos="88000">
                  <a:schemeClr val="accent1">
                    <a:alpha val="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52" name="文本框 51">
            <a:extLst>
              <a:ext uri="{FF2B5EF4-FFF2-40B4-BE49-F238E27FC236}">
                <a16:creationId xmlns:a16="http://schemas.microsoft.com/office/drawing/2014/main" id="{CC010557-95D2-4A5A-BB33-222831FD3DB4}"/>
              </a:ext>
            </a:extLst>
          </p:cNvPr>
          <p:cNvSpPr txBox="1"/>
          <p:nvPr/>
        </p:nvSpPr>
        <p:spPr>
          <a:xfrm>
            <a:off x="3804419" y="1499006"/>
            <a:ext cx="1154162" cy="276999"/>
          </a:xfrm>
          <a:prstGeom prst="rect">
            <a:avLst/>
          </a:prstGeom>
          <a:noFill/>
        </p:spPr>
        <p:txBody>
          <a:bodyPr wrap="none" lIns="0" tIns="0" rIns="0" bIns="0" rtlCol="0" anchor="t">
            <a:spAutoFit/>
          </a:bodyPr>
          <a:lstStyle/>
          <a:p>
            <a:r>
              <a:rPr lang="zh-CN" altLang="en-US" dirty="0">
                <a:solidFill>
                  <a:schemeClr val="accent1"/>
                </a:solidFill>
                <a:latin typeface="+mj-ea"/>
                <a:ea typeface="+mj-ea"/>
              </a:rPr>
              <a:t>关键词标题</a:t>
            </a:r>
          </a:p>
        </p:txBody>
      </p:sp>
      <p:sp>
        <p:nvSpPr>
          <p:cNvPr id="53" name="文本框 52">
            <a:extLst>
              <a:ext uri="{FF2B5EF4-FFF2-40B4-BE49-F238E27FC236}">
                <a16:creationId xmlns:a16="http://schemas.microsoft.com/office/drawing/2014/main" id="{E9A81721-45F0-4C0C-9D1C-068DED8EA1C8}"/>
              </a:ext>
            </a:extLst>
          </p:cNvPr>
          <p:cNvSpPr txBox="1"/>
          <p:nvPr/>
        </p:nvSpPr>
        <p:spPr>
          <a:xfrm>
            <a:off x="3707632" y="1776005"/>
            <a:ext cx="1347736" cy="387286"/>
          </a:xfrm>
          <a:prstGeom prst="rect">
            <a:avLst/>
          </a:prstGeom>
          <a:noFill/>
        </p:spPr>
        <p:txBody>
          <a:bodyPr wrap="square" lIns="0" tIns="0" rIns="0" bIns="0" rtlCol="0" anchor="t">
            <a:spAutoFit/>
          </a:bodyPr>
          <a:lstStyle/>
          <a:p>
            <a:pPr algn="ctr">
              <a:lnSpc>
                <a:spcPct val="130000"/>
              </a:lnSpc>
            </a:pPr>
            <a:r>
              <a:rPr lang="en-US" altLang="zh-CN" sz="1000" b="0" dirty="0">
                <a:solidFill>
                  <a:schemeClr val="tx1">
                    <a:lumMod val="75000"/>
                    <a:lumOff val="25000"/>
                  </a:schemeClr>
                </a:solidFill>
                <a:effectLst/>
                <a:latin typeface="+mn-ea"/>
              </a:rPr>
              <a:t>Lorem ipsum dolor sit amet, consectetur</a:t>
            </a:r>
            <a:endParaRPr lang="zh-CN" altLang="en-US" sz="1000" b="0" dirty="0">
              <a:solidFill>
                <a:schemeClr val="tx1">
                  <a:lumMod val="75000"/>
                  <a:lumOff val="25000"/>
                </a:schemeClr>
              </a:solidFill>
              <a:effectLst/>
              <a:latin typeface="+mn-ea"/>
            </a:endParaRPr>
          </a:p>
        </p:txBody>
      </p:sp>
      <p:sp>
        <p:nvSpPr>
          <p:cNvPr id="55" name="矩形: 圆角 54">
            <a:extLst>
              <a:ext uri="{FF2B5EF4-FFF2-40B4-BE49-F238E27FC236}">
                <a16:creationId xmlns:a16="http://schemas.microsoft.com/office/drawing/2014/main" id="{722E999E-8D8A-4D2F-9A96-217A49890ED3}"/>
              </a:ext>
            </a:extLst>
          </p:cNvPr>
          <p:cNvSpPr/>
          <p:nvPr/>
        </p:nvSpPr>
        <p:spPr>
          <a:xfrm>
            <a:off x="866031" y="2097132"/>
            <a:ext cx="1631950" cy="1393745"/>
          </a:xfrm>
          <a:prstGeom prst="roundRect">
            <a:avLst>
              <a:gd name="adj" fmla="val 12189"/>
            </a:avLst>
          </a:prstGeom>
          <a:noFill/>
          <a:ln>
            <a:gradFill>
              <a:gsLst>
                <a:gs pos="0">
                  <a:schemeClr val="accent1"/>
                </a:gs>
                <a:gs pos="88000">
                  <a:schemeClr val="accent1">
                    <a:alpha val="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56" name="文本框 55">
            <a:extLst>
              <a:ext uri="{FF2B5EF4-FFF2-40B4-BE49-F238E27FC236}">
                <a16:creationId xmlns:a16="http://schemas.microsoft.com/office/drawing/2014/main" id="{8823B6D8-CBD6-49B9-9D96-4FA27792E93F}"/>
              </a:ext>
            </a:extLst>
          </p:cNvPr>
          <p:cNvSpPr txBox="1"/>
          <p:nvPr/>
        </p:nvSpPr>
        <p:spPr>
          <a:xfrm>
            <a:off x="1104925" y="2274010"/>
            <a:ext cx="1154162" cy="276999"/>
          </a:xfrm>
          <a:prstGeom prst="rect">
            <a:avLst/>
          </a:prstGeom>
          <a:noFill/>
        </p:spPr>
        <p:txBody>
          <a:bodyPr wrap="none" lIns="0" tIns="0" rIns="0" bIns="0" rtlCol="0" anchor="t">
            <a:spAutoFit/>
          </a:bodyPr>
          <a:lstStyle/>
          <a:p>
            <a:r>
              <a:rPr lang="zh-CN" altLang="en-US" dirty="0">
                <a:solidFill>
                  <a:schemeClr val="accent1"/>
                </a:solidFill>
                <a:latin typeface="+mj-ea"/>
                <a:ea typeface="+mj-ea"/>
              </a:rPr>
              <a:t>关键词标题</a:t>
            </a:r>
          </a:p>
        </p:txBody>
      </p:sp>
      <p:sp>
        <p:nvSpPr>
          <p:cNvPr id="57" name="文本框 56">
            <a:extLst>
              <a:ext uri="{FF2B5EF4-FFF2-40B4-BE49-F238E27FC236}">
                <a16:creationId xmlns:a16="http://schemas.microsoft.com/office/drawing/2014/main" id="{5E9D0CE6-1772-44BD-B110-A5C40A1914A8}"/>
              </a:ext>
            </a:extLst>
          </p:cNvPr>
          <p:cNvSpPr txBox="1"/>
          <p:nvPr/>
        </p:nvSpPr>
        <p:spPr>
          <a:xfrm>
            <a:off x="1008138" y="2551009"/>
            <a:ext cx="1347736" cy="387286"/>
          </a:xfrm>
          <a:prstGeom prst="rect">
            <a:avLst/>
          </a:prstGeom>
          <a:noFill/>
        </p:spPr>
        <p:txBody>
          <a:bodyPr wrap="square" lIns="0" tIns="0" rIns="0" bIns="0" rtlCol="0" anchor="t">
            <a:spAutoFit/>
          </a:bodyPr>
          <a:lstStyle/>
          <a:p>
            <a:pPr algn="ctr">
              <a:lnSpc>
                <a:spcPct val="130000"/>
              </a:lnSpc>
            </a:pPr>
            <a:r>
              <a:rPr lang="en-US" altLang="zh-CN" sz="1000" b="0" dirty="0">
                <a:solidFill>
                  <a:schemeClr val="tx1">
                    <a:lumMod val="75000"/>
                    <a:lumOff val="25000"/>
                  </a:schemeClr>
                </a:solidFill>
                <a:effectLst/>
                <a:latin typeface="+mn-ea"/>
              </a:rPr>
              <a:t>Lorem ipsum dolor sit amet, consectetur</a:t>
            </a:r>
            <a:endParaRPr lang="zh-CN" altLang="en-US" sz="1000" b="0" dirty="0">
              <a:solidFill>
                <a:schemeClr val="tx1">
                  <a:lumMod val="75000"/>
                  <a:lumOff val="25000"/>
                </a:schemeClr>
              </a:solidFill>
              <a:effectLst/>
              <a:latin typeface="+mn-ea"/>
            </a:endParaRPr>
          </a:p>
        </p:txBody>
      </p:sp>
      <p:sp>
        <p:nvSpPr>
          <p:cNvPr id="59" name="矩形: 圆角 58">
            <a:extLst>
              <a:ext uri="{FF2B5EF4-FFF2-40B4-BE49-F238E27FC236}">
                <a16:creationId xmlns:a16="http://schemas.microsoft.com/office/drawing/2014/main" id="{22CCA102-031F-4063-A686-ABD4315DB8D0}"/>
              </a:ext>
            </a:extLst>
          </p:cNvPr>
          <p:cNvSpPr/>
          <p:nvPr/>
        </p:nvSpPr>
        <p:spPr>
          <a:xfrm>
            <a:off x="7004050" y="1322128"/>
            <a:ext cx="1631950" cy="1393745"/>
          </a:xfrm>
          <a:prstGeom prst="roundRect">
            <a:avLst>
              <a:gd name="adj" fmla="val 12189"/>
            </a:avLst>
          </a:prstGeom>
          <a:noFill/>
          <a:ln>
            <a:gradFill>
              <a:gsLst>
                <a:gs pos="0">
                  <a:schemeClr val="accent1"/>
                </a:gs>
                <a:gs pos="88000">
                  <a:schemeClr val="accent1">
                    <a:alpha val="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60" name="文本框 59">
            <a:extLst>
              <a:ext uri="{FF2B5EF4-FFF2-40B4-BE49-F238E27FC236}">
                <a16:creationId xmlns:a16="http://schemas.microsoft.com/office/drawing/2014/main" id="{0EDAC89D-7006-499D-8765-EDA7DD17C7BD}"/>
              </a:ext>
            </a:extLst>
          </p:cNvPr>
          <p:cNvSpPr txBox="1"/>
          <p:nvPr/>
        </p:nvSpPr>
        <p:spPr>
          <a:xfrm>
            <a:off x="7242944" y="1499006"/>
            <a:ext cx="1154162" cy="276999"/>
          </a:xfrm>
          <a:prstGeom prst="rect">
            <a:avLst/>
          </a:prstGeom>
          <a:noFill/>
        </p:spPr>
        <p:txBody>
          <a:bodyPr wrap="none" lIns="0" tIns="0" rIns="0" bIns="0" rtlCol="0" anchor="t">
            <a:spAutoFit/>
          </a:bodyPr>
          <a:lstStyle/>
          <a:p>
            <a:r>
              <a:rPr lang="zh-CN" altLang="en-US" dirty="0">
                <a:solidFill>
                  <a:schemeClr val="accent1"/>
                </a:solidFill>
                <a:latin typeface="+mj-ea"/>
                <a:ea typeface="+mj-ea"/>
              </a:rPr>
              <a:t>关键词标题</a:t>
            </a:r>
          </a:p>
        </p:txBody>
      </p:sp>
      <p:sp>
        <p:nvSpPr>
          <p:cNvPr id="61" name="文本框 60">
            <a:extLst>
              <a:ext uri="{FF2B5EF4-FFF2-40B4-BE49-F238E27FC236}">
                <a16:creationId xmlns:a16="http://schemas.microsoft.com/office/drawing/2014/main" id="{E1A18094-C009-4ACB-8A45-B2C1E062FECE}"/>
              </a:ext>
            </a:extLst>
          </p:cNvPr>
          <p:cNvSpPr txBox="1"/>
          <p:nvPr/>
        </p:nvSpPr>
        <p:spPr>
          <a:xfrm>
            <a:off x="7146157" y="1776005"/>
            <a:ext cx="1347736" cy="387286"/>
          </a:xfrm>
          <a:prstGeom prst="rect">
            <a:avLst/>
          </a:prstGeom>
          <a:noFill/>
        </p:spPr>
        <p:txBody>
          <a:bodyPr wrap="square" lIns="0" tIns="0" rIns="0" bIns="0" rtlCol="0" anchor="t">
            <a:spAutoFit/>
          </a:bodyPr>
          <a:lstStyle/>
          <a:p>
            <a:pPr algn="ctr">
              <a:lnSpc>
                <a:spcPct val="130000"/>
              </a:lnSpc>
            </a:pPr>
            <a:r>
              <a:rPr lang="en-US" altLang="zh-CN" sz="1000" b="0" dirty="0">
                <a:solidFill>
                  <a:schemeClr val="tx1">
                    <a:lumMod val="75000"/>
                    <a:lumOff val="25000"/>
                  </a:schemeClr>
                </a:solidFill>
                <a:effectLst/>
                <a:latin typeface="+mn-ea"/>
              </a:rPr>
              <a:t>Lorem ipsum dolor sit amet, consectetur</a:t>
            </a:r>
            <a:endParaRPr lang="zh-CN" altLang="en-US" sz="1000" b="0" dirty="0">
              <a:solidFill>
                <a:schemeClr val="tx1">
                  <a:lumMod val="75000"/>
                  <a:lumOff val="25000"/>
                </a:schemeClr>
              </a:solidFill>
              <a:effectLst/>
              <a:latin typeface="+mn-ea"/>
            </a:endParaRPr>
          </a:p>
        </p:txBody>
      </p:sp>
      <p:sp>
        <p:nvSpPr>
          <p:cNvPr id="62" name="矩形: 圆角 61">
            <a:extLst>
              <a:ext uri="{FF2B5EF4-FFF2-40B4-BE49-F238E27FC236}">
                <a16:creationId xmlns:a16="http://schemas.microsoft.com/office/drawing/2014/main" id="{D9BE6BB9-5D44-4508-99F0-D6D4015D5EB7}"/>
              </a:ext>
            </a:extLst>
          </p:cNvPr>
          <p:cNvSpPr/>
          <p:nvPr/>
        </p:nvSpPr>
        <p:spPr>
          <a:xfrm>
            <a:off x="9800481" y="2097132"/>
            <a:ext cx="1631950" cy="1393745"/>
          </a:xfrm>
          <a:prstGeom prst="roundRect">
            <a:avLst>
              <a:gd name="adj" fmla="val 12189"/>
            </a:avLst>
          </a:prstGeom>
          <a:noFill/>
          <a:ln>
            <a:gradFill>
              <a:gsLst>
                <a:gs pos="0">
                  <a:schemeClr val="accent1"/>
                </a:gs>
                <a:gs pos="88000">
                  <a:schemeClr val="accent1">
                    <a:alpha val="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63" name="文本框 62">
            <a:extLst>
              <a:ext uri="{FF2B5EF4-FFF2-40B4-BE49-F238E27FC236}">
                <a16:creationId xmlns:a16="http://schemas.microsoft.com/office/drawing/2014/main" id="{6A50CBF2-8698-49AB-9916-87D182090032}"/>
              </a:ext>
            </a:extLst>
          </p:cNvPr>
          <p:cNvSpPr txBox="1"/>
          <p:nvPr/>
        </p:nvSpPr>
        <p:spPr>
          <a:xfrm>
            <a:off x="10039375" y="2274010"/>
            <a:ext cx="1154162" cy="276999"/>
          </a:xfrm>
          <a:prstGeom prst="rect">
            <a:avLst/>
          </a:prstGeom>
          <a:noFill/>
        </p:spPr>
        <p:txBody>
          <a:bodyPr wrap="none" lIns="0" tIns="0" rIns="0" bIns="0" rtlCol="0" anchor="t">
            <a:spAutoFit/>
          </a:bodyPr>
          <a:lstStyle/>
          <a:p>
            <a:r>
              <a:rPr lang="zh-CN" altLang="en-US" dirty="0">
                <a:solidFill>
                  <a:schemeClr val="accent1"/>
                </a:solidFill>
                <a:latin typeface="+mj-ea"/>
                <a:ea typeface="+mj-ea"/>
              </a:rPr>
              <a:t>关键词标题</a:t>
            </a:r>
          </a:p>
        </p:txBody>
      </p:sp>
      <p:sp>
        <p:nvSpPr>
          <p:cNvPr id="64" name="文本框 63">
            <a:extLst>
              <a:ext uri="{FF2B5EF4-FFF2-40B4-BE49-F238E27FC236}">
                <a16:creationId xmlns:a16="http://schemas.microsoft.com/office/drawing/2014/main" id="{82D5EAEA-5B63-4EFD-9B16-EFB72043ACC7}"/>
              </a:ext>
            </a:extLst>
          </p:cNvPr>
          <p:cNvSpPr txBox="1"/>
          <p:nvPr/>
        </p:nvSpPr>
        <p:spPr>
          <a:xfrm>
            <a:off x="9942588" y="2551009"/>
            <a:ext cx="1347736" cy="387286"/>
          </a:xfrm>
          <a:prstGeom prst="rect">
            <a:avLst/>
          </a:prstGeom>
          <a:noFill/>
        </p:spPr>
        <p:txBody>
          <a:bodyPr wrap="square" lIns="0" tIns="0" rIns="0" bIns="0" rtlCol="0" anchor="t">
            <a:spAutoFit/>
          </a:bodyPr>
          <a:lstStyle/>
          <a:p>
            <a:pPr algn="ctr">
              <a:lnSpc>
                <a:spcPct val="130000"/>
              </a:lnSpc>
            </a:pPr>
            <a:r>
              <a:rPr lang="en-US" altLang="zh-CN" sz="1000" b="0" dirty="0">
                <a:solidFill>
                  <a:schemeClr val="tx1">
                    <a:lumMod val="75000"/>
                    <a:lumOff val="25000"/>
                  </a:schemeClr>
                </a:solidFill>
                <a:effectLst/>
                <a:latin typeface="+mn-ea"/>
              </a:rPr>
              <a:t>Lorem ipsum dolor sit amet, consectetur</a:t>
            </a:r>
            <a:endParaRPr lang="zh-CN" altLang="en-US" sz="1000" b="0" dirty="0">
              <a:solidFill>
                <a:schemeClr val="tx1">
                  <a:lumMod val="75000"/>
                  <a:lumOff val="25000"/>
                </a:schemeClr>
              </a:solidFill>
              <a:effectLst/>
              <a:latin typeface="+mn-ea"/>
            </a:endParaRPr>
          </a:p>
        </p:txBody>
      </p:sp>
      <p:sp>
        <p:nvSpPr>
          <p:cNvPr id="65" name="矩形: 圆角 64">
            <a:extLst>
              <a:ext uri="{FF2B5EF4-FFF2-40B4-BE49-F238E27FC236}">
                <a16:creationId xmlns:a16="http://schemas.microsoft.com/office/drawing/2014/main" id="{30C1E8C4-1A9F-4FAE-B721-3686EA70AE26}"/>
              </a:ext>
            </a:extLst>
          </p:cNvPr>
          <p:cNvSpPr/>
          <p:nvPr/>
        </p:nvSpPr>
        <p:spPr>
          <a:xfrm>
            <a:off x="2403475" y="4776415"/>
            <a:ext cx="1631950" cy="1393745"/>
          </a:xfrm>
          <a:prstGeom prst="roundRect">
            <a:avLst>
              <a:gd name="adj" fmla="val 12189"/>
            </a:avLst>
          </a:prstGeom>
          <a:noFill/>
          <a:ln>
            <a:gradFill>
              <a:gsLst>
                <a:gs pos="0">
                  <a:schemeClr val="accent1"/>
                </a:gs>
                <a:gs pos="88000">
                  <a:schemeClr val="accent1">
                    <a:alpha val="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66" name="文本框 65">
            <a:extLst>
              <a:ext uri="{FF2B5EF4-FFF2-40B4-BE49-F238E27FC236}">
                <a16:creationId xmlns:a16="http://schemas.microsoft.com/office/drawing/2014/main" id="{0C4F3081-B69A-402A-9C8B-450803A07322}"/>
              </a:ext>
            </a:extLst>
          </p:cNvPr>
          <p:cNvSpPr txBox="1"/>
          <p:nvPr/>
        </p:nvSpPr>
        <p:spPr>
          <a:xfrm>
            <a:off x="2642369" y="4953293"/>
            <a:ext cx="1154162" cy="276999"/>
          </a:xfrm>
          <a:prstGeom prst="rect">
            <a:avLst/>
          </a:prstGeom>
          <a:noFill/>
        </p:spPr>
        <p:txBody>
          <a:bodyPr wrap="none" lIns="0" tIns="0" rIns="0" bIns="0" rtlCol="0" anchor="t">
            <a:spAutoFit/>
          </a:bodyPr>
          <a:lstStyle/>
          <a:p>
            <a:r>
              <a:rPr lang="zh-CN" altLang="en-US" dirty="0">
                <a:solidFill>
                  <a:schemeClr val="accent1"/>
                </a:solidFill>
                <a:latin typeface="+mj-ea"/>
                <a:ea typeface="+mj-ea"/>
              </a:rPr>
              <a:t>关键词标题</a:t>
            </a:r>
          </a:p>
        </p:txBody>
      </p:sp>
      <p:sp>
        <p:nvSpPr>
          <p:cNvPr id="67" name="文本框 66">
            <a:extLst>
              <a:ext uri="{FF2B5EF4-FFF2-40B4-BE49-F238E27FC236}">
                <a16:creationId xmlns:a16="http://schemas.microsoft.com/office/drawing/2014/main" id="{08BCA8FD-06C8-4470-AF99-9CAB21BA6343}"/>
              </a:ext>
            </a:extLst>
          </p:cNvPr>
          <p:cNvSpPr txBox="1"/>
          <p:nvPr/>
        </p:nvSpPr>
        <p:spPr>
          <a:xfrm>
            <a:off x="2545582" y="5230292"/>
            <a:ext cx="1347736" cy="387286"/>
          </a:xfrm>
          <a:prstGeom prst="rect">
            <a:avLst/>
          </a:prstGeom>
          <a:noFill/>
        </p:spPr>
        <p:txBody>
          <a:bodyPr wrap="square" lIns="0" tIns="0" rIns="0" bIns="0" rtlCol="0" anchor="t">
            <a:spAutoFit/>
          </a:bodyPr>
          <a:lstStyle/>
          <a:p>
            <a:pPr algn="ctr">
              <a:lnSpc>
                <a:spcPct val="130000"/>
              </a:lnSpc>
            </a:pPr>
            <a:r>
              <a:rPr lang="en-US" altLang="zh-CN" sz="1000" b="0" dirty="0">
                <a:solidFill>
                  <a:schemeClr val="tx1">
                    <a:lumMod val="75000"/>
                    <a:lumOff val="25000"/>
                  </a:schemeClr>
                </a:solidFill>
                <a:effectLst/>
                <a:latin typeface="+mn-ea"/>
              </a:rPr>
              <a:t>Lorem ipsum dolor sit amet, consectetur</a:t>
            </a:r>
            <a:endParaRPr lang="zh-CN" altLang="en-US" sz="1000" b="0" dirty="0">
              <a:solidFill>
                <a:schemeClr val="tx1">
                  <a:lumMod val="75000"/>
                  <a:lumOff val="25000"/>
                </a:schemeClr>
              </a:solidFill>
              <a:effectLst/>
              <a:latin typeface="+mn-ea"/>
            </a:endParaRPr>
          </a:p>
        </p:txBody>
      </p:sp>
      <p:sp>
        <p:nvSpPr>
          <p:cNvPr id="68" name="矩形: 圆角 67">
            <a:extLst>
              <a:ext uri="{FF2B5EF4-FFF2-40B4-BE49-F238E27FC236}">
                <a16:creationId xmlns:a16="http://schemas.microsoft.com/office/drawing/2014/main" id="{2B885E5A-60A4-4030-8AD6-E22482987F4A}"/>
              </a:ext>
            </a:extLst>
          </p:cNvPr>
          <p:cNvSpPr/>
          <p:nvPr/>
        </p:nvSpPr>
        <p:spPr>
          <a:xfrm>
            <a:off x="7947025" y="4776415"/>
            <a:ext cx="1631950" cy="1393745"/>
          </a:xfrm>
          <a:prstGeom prst="roundRect">
            <a:avLst>
              <a:gd name="adj" fmla="val 12189"/>
            </a:avLst>
          </a:prstGeom>
          <a:noFill/>
          <a:ln>
            <a:gradFill>
              <a:gsLst>
                <a:gs pos="0">
                  <a:schemeClr val="accent1"/>
                </a:gs>
                <a:gs pos="88000">
                  <a:schemeClr val="accent1">
                    <a:alpha val="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69" name="文本框 68">
            <a:extLst>
              <a:ext uri="{FF2B5EF4-FFF2-40B4-BE49-F238E27FC236}">
                <a16:creationId xmlns:a16="http://schemas.microsoft.com/office/drawing/2014/main" id="{A438F57F-82FB-4550-8616-33886D43EE6D}"/>
              </a:ext>
            </a:extLst>
          </p:cNvPr>
          <p:cNvSpPr txBox="1"/>
          <p:nvPr/>
        </p:nvSpPr>
        <p:spPr>
          <a:xfrm>
            <a:off x="8185919" y="4953293"/>
            <a:ext cx="1154162" cy="276999"/>
          </a:xfrm>
          <a:prstGeom prst="rect">
            <a:avLst/>
          </a:prstGeom>
          <a:noFill/>
        </p:spPr>
        <p:txBody>
          <a:bodyPr wrap="none" lIns="0" tIns="0" rIns="0" bIns="0" rtlCol="0" anchor="t">
            <a:spAutoFit/>
          </a:bodyPr>
          <a:lstStyle/>
          <a:p>
            <a:r>
              <a:rPr lang="zh-CN" altLang="en-US" dirty="0">
                <a:solidFill>
                  <a:schemeClr val="accent1"/>
                </a:solidFill>
                <a:latin typeface="+mj-ea"/>
                <a:ea typeface="+mj-ea"/>
              </a:rPr>
              <a:t>关键词标题</a:t>
            </a:r>
          </a:p>
        </p:txBody>
      </p:sp>
      <p:sp>
        <p:nvSpPr>
          <p:cNvPr id="72" name="文本框 71">
            <a:extLst>
              <a:ext uri="{FF2B5EF4-FFF2-40B4-BE49-F238E27FC236}">
                <a16:creationId xmlns:a16="http://schemas.microsoft.com/office/drawing/2014/main" id="{89D8F250-BC34-4D6E-A5C8-9A022AD24C1A}"/>
              </a:ext>
            </a:extLst>
          </p:cNvPr>
          <p:cNvSpPr txBox="1"/>
          <p:nvPr/>
        </p:nvSpPr>
        <p:spPr>
          <a:xfrm>
            <a:off x="8089132" y="5230292"/>
            <a:ext cx="1347736" cy="387286"/>
          </a:xfrm>
          <a:prstGeom prst="rect">
            <a:avLst/>
          </a:prstGeom>
          <a:noFill/>
        </p:spPr>
        <p:txBody>
          <a:bodyPr wrap="square" lIns="0" tIns="0" rIns="0" bIns="0" rtlCol="0" anchor="t">
            <a:spAutoFit/>
          </a:bodyPr>
          <a:lstStyle/>
          <a:p>
            <a:pPr algn="ctr">
              <a:lnSpc>
                <a:spcPct val="130000"/>
              </a:lnSpc>
            </a:pPr>
            <a:r>
              <a:rPr lang="en-US" altLang="zh-CN" sz="1000" b="0" dirty="0">
                <a:solidFill>
                  <a:schemeClr val="tx1">
                    <a:lumMod val="75000"/>
                    <a:lumOff val="25000"/>
                  </a:schemeClr>
                </a:solidFill>
                <a:effectLst/>
                <a:latin typeface="+mn-ea"/>
              </a:rPr>
              <a:t>Lorem ipsum dolor sit amet, consectetur</a:t>
            </a:r>
            <a:endParaRPr lang="zh-CN" altLang="en-US" sz="1000" b="0" dirty="0">
              <a:solidFill>
                <a:schemeClr val="tx1">
                  <a:lumMod val="75000"/>
                  <a:lumOff val="25000"/>
                </a:schemeClr>
              </a:solidFill>
              <a:effectLst/>
              <a:latin typeface="+mn-ea"/>
            </a:endParaRPr>
          </a:p>
        </p:txBody>
      </p:sp>
      <p:sp>
        <p:nvSpPr>
          <p:cNvPr id="73" name="菱形 72">
            <a:extLst>
              <a:ext uri="{FF2B5EF4-FFF2-40B4-BE49-F238E27FC236}">
                <a16:creationId xmlns:a16="http://schemas.microsoft.com/office/drawing/2014/main" id="{8B8B86DC-16F0-478C-97E7-5F21565F9F90}"/>
              </a:ext>
            </a:extLst>
          </p:cNvPr>
          <p:cNvSpPr/>
          <p:nvPr/>
        </p:nvSpPr>
        <p:spPr>
          <a:xfrm>
            <a:off x="-4763132" y="127000"/>
            <a:ext cx="21718264" cy="7275346"/>
          </a:xfrm>
          <a:prstGeom prst="diamond">
            <a:avLst/>
          </a:prstGeom>
          <a:noFill/>
          <a:ln>
            <a:solidFill>
              <a:schemeClr val="accent1">
                <a:alpha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Tree>
    <p:extLst>
      <p:ext uri="{BB962C8B-B14F-4D97-AF65-F5344CB8AC3E}">
        <p14:creationId xmlns:p14="http://schemas.microsoft.com/office/powerpoint/2010/main" val="1059799154"/>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2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圆角 1">
            <a:extLst>
              <a:ext uri="{FF2B5EF4-FFF2-40B4-BE49-F238E27FC236}">
                <a16:creationId xmlns:a16="http://schemas.microsoft.com/office/drawing/2014/main" id="{F5CBA4AC-7B2E-4762-AB0E-3BDD2B2E6C2C}"/>
              </a:ext>
            </a:extLst>
          </p:cNvPr>
          <p:cNvSpPr/>
          <p:nvPr/>
        </p:nvSpPr>
        <p:spPr>
          <a:xfrm>
            <a:off x="1008380" y="1752600"/>
            <a:ext cx="2959100" cy="5359400"/>
          </a:xfrm>
          <a:prstGeom prst="roundRect">
            <a:avLst>
              <a:gd name="adj" fmla="val 8083"/>
            </a:avLst>
          </a:prstGeom>
          <a:solidFill>
            <a:schemeClr val="bg1"/>
          </a:solidFill>
          <a:ln w="19050">
            <a:gradFill>
              <a:gsLst>
                <a:gs pos="0">
                  <a:schemeClr val="accent1"/>
                </a:gs>
                <a:gs pos="100000">
                  <a:schemeClr val="accent1"/>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3" name="矩形: 圆角 2">
            <a:extLst>
              <a:ext uri="{FF2B5EF4-FFF2-40B4-BE49-F238E27FC236}">
                <a16:creationId xmlns:a16="http://schemas.microsoft.com/office/drawing/2014/main" id="{3B63159C-6987-4B1F-9E75-EAD298A534FE}"/>
              </a:ext>
            </a:extLst>
          </p:cNvPr>
          <p:cNvSpPr/>
          <p:nvPr/>
        </p:nvSpPr>
        <p:spPr>
          <a:xfrm>
            <a:off x="3103880" y="1752600"/>
            <a:ext cx="2959100" cy="5359400"/>
          </a:xfrm>
          <a:prstGeom prst="roundRect">
            <a:avLst>
              <a:gd name="adj" fmla="val 8083"/>
            </a:avLst>
          </a:prstGeom>
          <a:solidFill>
            <a:schemeClr val="bg1"/>
          </a:solidFill>
          <a:ln w="19050">
            <a:gradFill>
              <a:gsLst>
                <a:gs pos="0">
                  <a:schemeClr val="accent1"/>
                </a:gs>
                <a:gs pos="100000">
                  <a:schemeClr val="accent1"/>
                </a:gs>
              </a:gsLst>
              <a:lin ang="5400000" scaled="1"/>
            </a:gradFill>
          </a:ln>
          <a:effectLst>
            <a:outerShdw blurRad="254000" dist="139700" dir="5400000" algn="t" rotWithShape="0">
              <a:srgbClr val="031559">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4" name="矩形: 圆角 3">
            <a:extLst>
              <a:ext uri="{FF2B5EF4-FFF2-40B4-BE49-F238E27FC236}">
                <a16:creationId xmlns:a16="http://schemas.microsoft.com/office/drawing/2014/main" id="{2D1918E5-60E8-4525-875D-E950B0B53DD8}"/>
              </a:ext>
            </a:extLst>
          </p:cNvPr>
          <p:cNvSpPr/>
          <p:nvPr/>
        </p:nvSpPr>
        <p:spPr>
          <a:xfrm>
            <a:off x="5709920" y="1752600"/>
            <a:ext cx="2959100" cy="5359400"/>
          </a:xfrm>
          <a:prstGeom prst="roundRect">
            <a:avLst>
              <a:gd name="adj" fmla="val 8083"/>
            </a:avLst>
          </a:prstGeom>
          <a:solidFill>
            <a:schemeClr val="bg1"/>
          </a:solidFill>
          <a:ln w="19050">
            <a:gradFill>
              <a:gsLst>
                <a:gs pos="0">
                  <a:schemeClr val="accent1"/>
                </a:gs>
                <a:gs pos="100000">
                  <a:schemeClr val="accent1"/>
                </a:gs>
              </a:gsLst>
              <a:lin ang="5400000" scaled="1"/>
            </a:gradFill>
          </a:ln>
          <a:effectLst>
            <a:outerShdw blurRad="254000" dist="139700" dir="5400000" algn="t" rotWithShape="0">
              <a:srgbClr val="031559">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5" name="矩形: 圆角 4">
            <a:extLst>
              <a:ext uri="{FF2B5EF4-FFF2-40B4-BE49-F238E27FC236}">
                <a16:creationId xmlns:a16="http://schemas.microsoft.com/office/drawing/2014/main" id="{FAA6DBF2-6B51-484C-89CF-530D2733A56D}"/>
              </a:ext>
            </a:extLst>
          </p:cNvPr>
          <p:cNvSpPr/>
          <p:nvPr/>
        </p:nvSpPr>
        <p:spPr>
          <a:xfrm>
            <a:off x="8224520" y="1752600"/>
            <a:ext cx="2959100" cy="5359400"/>
          </a:xfrm>
          <a:prstGeom prst="roundRect">
            <a:avLst>
              <a:gd name="adj" fmla="val 8083"/>
            </a:avLst>
          </a:prstGeom>
          <a:solidFill>
            <a:schemeClr val="bg1"/>
          </a:solidFill>
          <a:ln w="19050">
            <a:gradFill>
              <a:gsLst>
                <a:gs pos="0">
                  <a:schemeClr val="accent1"/>
                </a:gs>
                <a:gs pos="100000">
                  <a:schemeClr val="accent1"/>
                </a:gs>
              </a:gsLst>
              <a:lin ang="5400000" scaled="1"/>
            </a:gradFill>
          </a:ln>
          <a:effectLst>
            <a:outerShdw blurRad="254000" dist="139700" dir="5400000" algn="t" rotWithShape="0">
              <a:srgbClr val="031559">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7" name="椭圆 6">
            <a:extLst>
              <a:ext uri="{FF2B5EF4-FFF2-40B4-BE49-F238E27FC236}">
                <a16:creationId xmlns:a16="http://schemas.microsoft.com/office/drawing/2014/main" id="{4C0E10F9-89E3-4AFD-B2C3-DD22377F5191}"/>
              </a:ext>
            </a:extLst>
          </p:cNvPr>
          <p:cNvSpPr/>
          <p:nvPr/>
        </p:nvSpPr>
        <p:spPr>
          <a:xfrm>
            <a:off x="1539494" y="2272284"/>
            <a:ext cx="1033272" cy="103327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8" name="文本框 7">
            <a:extLst>
              <a:ext uri="{FF2B5EF4-FFF2-40B4-BE49-F238E27FC236}">
                <a16:creationId xmlns:a16="http://schemas.microsoft.com/office/drawing/2014/main" id="{76AA23A0-9848-42C9-AD03-831215440901}"/>
              </a:ext>
            </a:extLst>
          </p:cNvPr>
          <p:cNvSpPr txBox="1"/>
          <p:nvPr/>
        </p:nvSpPr>
        <p:spPr>
          <a:xfrm>
            <a:off x="1479049" y="3444240"/>
            <a:ext cx="1154162" cy="276999"/>
          </a:xfrm>
          <a:prstGeom prst="rect">
            <a:avLst/>
          </a:prstGeom>
          <a:noFill/>
        </p:spPr>
        <p:txBody>
          <a:bodyPr wrap="none" lIns="0" tIns="0" rIns="0" bIns="0" rtlCol="0" anchor="t">
            <a:spAutoFit/>
          </a:bodyPr>
          <a:lstStyle/>
          <a:p>
            <a:r>
              <a:rPr lang="zh-CN" altLang="en-US" dirty="0">
                <a:solidFill>
                  <a:schemeClr val="accent1"/>
                </a:solidFill>
                <a:latin typeface="+mj-ea"/>
                <a:ea typeface="+mj-ea"/>
              </a:rPr>
              <a:t>关键词标题</a:t>
            </a:r>
          </a:p>
        </p:txBody>
      </p:sp>
      <p:sp>
        <p:nvSpPr>
          <p:cNvPr id="9" name="文本框 8">
            <a:extLst>
              <a:ext uri="{FF2B5EF4-FFF2-40B4-BE49-F238E27FC236}">
                <a16:creationId xmlns:a16="http://schemas.microsoft.com/office/drawing/2014/main" id="{9FB62D1A-783A-4758-90BC-001B8B0D2ADC}"/>
              </a:ext>
            </a:extLst>
          </p:cNvPr>
          <p:cNvSpPr txBox="1"/>
          <p:nvPr/>
        </p:nvSpPr>
        <p:spPr>
          <a:xfrm>
            <a:off x="1318074" y="3753662"/>
            <a:ext cx="1476113" cy="826829"/>
          </a:xfrm>
          <a:prstGeom prst="rect">
            <a:avLst/>
          </a:prstGeom>
          <a:noFill/>
        </p:spPr>
        <p:txBody>
          <a:bodyPr wrap="square" lIns="0" tIns="0" rIns="0" bIns="0" rtlCol="0" anchor="t">
            <a:spAutoFit/>
          </a:bodyPr>
          <a:lstStyle/>
          <a:p>
            <a:pPr algn="ctr">
              <a:lnSpc>
                <a:spcPct val="130000"/>
              </a:lnSpc>
            </a:pPr>
            <a:r>
              <a:rPr lang="en-US" altLang="zh-CN" sz="1050" b="0" dirty="0">
                <a:solidFill>
                  <a:schemeClr val="tx1">
                    <a:lumMod val="75000"/>
                    <a:lumOff val="25000"/>
                  </a:schemeClr>
                </a:solidFill>
                <a:effectLst/>
                <a:latin typeface="+mn-ea"/>
              </a:rPr>
              <a:t>Lorem ipsum dolor sit amet, consectetur adipisicing elit, sed do eiusmod tempor</a:t>
            </a:r>
            <a:endParaRPr lang="zh-CN" altLang="en-US" sz="1050" b="0" dirty="0">
              <a:solidFill>
                <a:schemeClr val="tx1">
                  <a:lumMod val="75000"/>
                  <a:lumOff val="25000"/>
                </a:schemeClr>
              </a:solidFill>
              <a:effectLst/>
              <a:latin typeface="+mn-ea"/>
            </a:endParaRPr>
          </a:p>
        </p:txBody>
      </p:sp>
      <p:sp>
        <p:nvSpPr>
          <p:cNvPr id="10" name="文本框 9">
            <a:extLst>
              <a:ext uri="{FF2B5EF4-FFF2-40B4-BE49-F238E27FC236}">
                <a16:creationId xmlns:a16="http://schemas.microsoft.com/office/drawing/2014/main" id="{3A6FD94F-D05A-4D5F-9BE1-73B6AA87542D}"/>
              </a:ext>
            </a:extLst>
          </p:cNvPr>
          <p:cNvSpPr txBox="1"/>
          <p:nvPr/>
        </p:nvSpPr>
        <p:spPr>
          <a:xfrm>
            <a:off x="1318074" y="4759502"/>
            <a:ext cx="1476113" cy="826829"/>
          </a:xfrm>
          <a:prstGeom prst="rect">
            <a:avLst/>
          </a:prstGeom>
          <a:noFill/>
        </p:spPr>
        <p:txBody>
          <a:bodyPr wrap="square" lIns="0" tIns="0" rIns="0" bIns="0" rtlCol="0" anchor="t">
            <a:spAutoFit/>
          </a:bodyPr>
          <a:lstStyle/>
          <a:p>
            <a:pPr algn="ctr">
              <a:lnSpc>
                <a:spcPct val="130000"/>
              </a:lnSpc>
            </a:pPr>
            <a:r>
              <a:rPr lang="en-US" altLang="zh-CN" sz="1050" b="0" dirty="0">
                <a:solidFill>
                  <a:schemeClr val="tx1">
                    <a:lumMod val="75000"/>
                    <a:lumOff val="25000"/>
                  </a:schemeClr>
                </a:solidFill>
                <a:effectLst/>
                <a:latin typeface="+mn-ea"/>
              </a:rPr>
              <a:t>Lorem ipsum dolor sit amet, consectetur adipisicing elit, sed do eiusmod tempor</a:t>
            </a:r>
            <a:endParaRPr lang="zh-CN" altLang="en-US" sz="1050" b="0" dirty="0">
              <a:solidFill>
                <a:schemeClr val="tx1">
                  <a:lumMod val="75000"/>
                  <a:lumOff val="25000"/>
                </a:schemeClr>
              </a:solidFill>
              <a:effectLst/>
              <a:latin typeface="+mn-ea"/>
            </a:endParaRPr>
          </a:p>
        </p:txBody>
      </p:sp>
      <p:sp>
        <p:nvSpPr>
          <p:cNvPr id="13" name="椭圆 12">
            <a:extLst>
              <a:ext uri="{FF2B5EF4-FFF2-40B4-BE49-F238E27FC236}">
                <a16:creationId xmlns:a16="http://schemas.microsoft.com/office/drawing/2014/main" id="{B9BBAAE6-7823-478E-888F-48FC8DD8BC84}"/>
              </a:ext>
            </a:extLst>
          </p:cNvPr>
          <p:cNvSpPr/>
          <p:nvPr/>
        </p:nvSpPr>
        <p:spPr>
          <a:xfrm>
            <a:off x="3947414" y="2272284"/>
            <a:ext cx="1033272" cy="103327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14" name="文本框 13">
            <a:extLst>
              <a:ext uri="{FF2B5EF4-FFF2-40B4-BE49-F238E27FC236}">
                <a16:creationId xmlns:a16="http://schemas.microsoft.com/office/drawing/2014/main" id="{5A7478EE-50EC-4936-856E-6310B4DFC8A1}"/>
              </a:ext>
            </a:extLst>
          </p:cNvPr>
          <p:cNvSpPr txBox="1"/>
          <p:nvPr/>
        </p:nvSpPr>
        <p:spPr>
          <a:xfrm>
            <a:off x="3886969" y="3444240"/>
            <a:ext cx="1154162" cy="276999"/>
          </a:xfrm>
          <a:prstGeom prst="rect">
            <a:avLst/>
          </a:prstGeom>
          <a:noFill/>
        </p:spPr>
        <p:txBody>
          <a:bodyPr wrap="none" lIns="0" tIns="0" rIns="0" bIns="0" rtlCol="0" anchor="t">
            <a:spAutoFit/>
          </a:bodyPr>
          <a:lstStyle/>
          <a:p>
            <a:r>
              <a:rPr lang="zh-CN" altLang="en-US" dirty="0">
                <a:solidFill>
                  <a:schemeClr val="accent1"/>
                </a:solidFill>
                <a:latin typeface="+mj-ea"/>
                <a:ea typeface="+mj-ea"/>
              </a:rPr>
              <a:t>关键词标题</a:t>
            </a:r>
          </a:p>
        </p:txBody>
      </p:sp>
      <p:sp>
        <p:nvSpPr>
          <p:cNvPr id="15" name="文本框 14">
            <a:extLst>
              <a:ext uri="{FF2B5EF4-FFF2-40B4-BE49-F238E27FC236}">
                <a16:creationId xmlns:a16="http://schemas.microsoft.com/office/drawing/2014/main" id="{734360FC-D1D8-4B0A-BBEB-9458AB7CD52F}"/>
              </a:ext>
            </a:extLst>
          </p:cNvPr>
          <p:cNvSpPr txBox="1"/>
          <p:nvPr/>
        </p:nvSpPr>
        <p:spPr>
          <a:xfrm>
            <a:off x="3725994" y="3753662"/>
            <a:ext cx="1476113" cy="826829"/>
          </a:xfrm>
          <a:prstGeom prst="rect">
            <a:avLst/>
          </a:prstGeom>
          <a:noFill/>
        </p:spPr>
        <p:txBody>
          <a:bodyPr wrap="square" lIns="0" tIns="0" rIns="0" bIns="0" rtlCol="0" anchor="t">
            <a:spAutoFit/>
          </a:bodyPr>
          <a:lstStyle/>
          <a:p>
            <a:pPr algn="ctr">
              <a:lnSpc>
                <a:spcPct val="130000"/>
              </a:lnSpc>
            </a:pPr>
            <a:r>
              <a:rPr lang="en-US" altLang="zh-CN" sz="1050" b="0" dirty="0">
                <a:solidFill>
                  <a:schemeClr val="tx1">
                    <a:lumMod val="75000"/>
                    <a:lumOff val="25000"/>
                  </a:schemeClr>
                </a:solidFill>
                <a:effectLst/>
                <a:latin typeface="+mn-ea"/>
              </a:rPr>
              <a:t>Lorem ipsum dolor sit amet, consectetur adipisicing elit, sed do eiusmod tempor</a:t>
            </a:r>
            <a:endParaRPr lang="zh-CN" altLang="en-US" sz="1050" b="0" dirty="0">
              <a:solidFill>
                <a:schemeClr val="tx1">
                  <a:lumMod val="75000"/>
                  <a:lumOff val="25000"/>
                </a:schemeClr>
              </a:solidFill>
              <a:effectLst/>
              <a:latin typeface="+mn-ea"/>
            </a:endParaRPr>
          </a:p>
        </p:txBody>
      </p:sp>
      <p:sp>
        <p:nvSpPr>
          <p:cNvPr id="16" name="文本框 15">
            <a:extLst>
              <a:ext uri="{FF2B5EF4-FFF2-40B4-BE49-F238E27FC236}">
                <a16:creationId xmlns:a16="http://schemas.microsoft.com/office/drawing/2014/main" id="{1C94AC6F-19BE-45E9-A33D-8D341AC1D6FB}"/>
              </a:ext>
            </a:extLst>
          </p:cNvPr>
          <p:cNvSpPr txBox="1"/>
          <p:nvPr/>
        </p:nvSpPr>
        <p:spPr>
          <a:xfrm>
            <a:off x="3725994" y="4759502"/>
            <a:ext cx="1476113" cy="826829"/>
          </a:xfrm>
          <a:prstGeom prst="rect">
            <a:avLst/>
          </a:prstGeom>
          <a:noFill/>
        </p:spPr>
        <p:txBody>
          <a:bodyPr wrap="square" lIns="0" tIns="0" rIns="0" bIns="0" rtlCol="0" anchor="t">
            <a:spAutoFit/>
          </a:bodyPr>
          <a:lstStyle/>
          <a:p>
            <a:pPr algn="ctr">
              <a:lnSpc>
                <a:spcPct val="130000"/>
              </a:lnSpc>
            </a:pPr>
            <a:r>
              <a:rPr lang="en-US" altLang="zh-CN" sz="1050" b="0" dirty="0">
                <a:solidFill>
                  <a:schemeClr val="tx1">
                    <a:lumMod val="75000"/>
                    <a:lumOff val="25000"/>
                  </a:schemeClr>
                </a:solidFill>
                <a:effectLst/>
                <a:latin typeface="+mn-ea"/>
              </a:rPr>
              <a:t>Lorem ipsum dolor sit amet, consectetur adipisicing elit, sed do eiusmod tempor</a:t>
            </a:r>
            <a:endParaRPr lang="zh-CN" altLang="en-US" sz="1050" b="0" dirty="0">
              <a:solidFill>
                <a:schemeClr val="tx1">
                  <a:lumMod val="75000"/>
                  <a:lumOff val="25000"/>
                </a:schemeClr>
              </a:solidFill>
              <a:effectLst/>
              <a:latin typeface="+mn-ea"/>
            </a:endParaRPr>
          </a:p>
        </p:txBody>
      </p:sp>
      <p:sp>
        <p:nvSpPr>
          <p:cNvPr id="18" name="椭圆 17">
            <a:extLst>
              <a:ext uri="{FF2B5EF4-FFF2-40B4-BE49-F238E27FC236}">
                <a16:creationId xmlns:a16="http://schemas.microsoft.com/office/drawing/2014/main" id="{6C0F6AFD-5E39-4265-8A74-954E4AF31212}"/>
              </a:ext>
            </a:extLst>
          </p:cNvPr>
          <p:cNvSpPr/>
          <p:nvPr/>
        </p:nvSpPr>
        <p:spPr>
          <a:xfrm>
            <a:off x="6446774" y="2272284"/>
            <a:ext cx="1033272" cy="103327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19" name="文本框 18">
            <a:extLst>
              <a:ext uri="{FF2B5EF4-FFF2-40B4-BE49-F238E27FC236}">
                <a16:creationId xmlns:a16="http://schemas.microsoft.com/office/drawing/2014/main" id="{04DA1F32-AEFF-4361-8DC9-4CDA016DC5D3}"/>
              </a:ext>
            </a:extLst>
          </p:cNvPr>
          <p:cNvSpPr txBox="1"/>
          <p:nvPr/>
        </p:nvSpPr>
        <p:spPr>
          <a:xfrm>
            <a:off x="6386329" y="3444240"/>
            <a:ext cx="1154162" cy="276999"/>
          </a:xfrm>
          <a:prstGeom prst="rect">
            <a:avLst/>
          </a:prstGeom>
          <a:noFill/>
        </p:spPr>
        <p:txBody>
          <a:bodyPr wrap="none" lIns="0" tIns="0" rIns="0" bIns="0" rtlCol="0" anchor="t">
            <a:spAutoFit/>
          </a:bodyPr>
          <a:lstStyle/>
          <a:p>
            <a:r>
              <a:rPr lang="zh-CN" altLang="en-US" dirty="0">
                <a:solidFill>
                  <a:schemeClr val="accent1"/>
                </a:solidFill>
                <a:latin typeface="+mj-ea"/>
                <a:ea typeface="+mj-ea"/>
              </a:rPr>
              <a:t>关键词标题</a:t>
            </a:r>
          </a:p>
        </p:txBody>
      </p:sp>
      <p:sp>
        <p:nvSpPr>
          <p:cNvPr id="20" name="文本框 19">
            <a:extLst>
              <a:ext uri="{FF2B5EF4-FFF2-40B4-BE49-F238E27FC236}">
                <a16:creationId xmlns:a16="http://schemas.microsoft.com/office/drawing/2014/main" id="{1FFF8F2B-F5E7-4DEB-A168-7BCCCFCADDB8}"/>
              </a:ext>
            </a:extLst>
          </p:cNvPr>
          <p:cNvSpPr txBox="1"/>
          <p:nvPr/>
        </p:nvSpPr>
        <p:spPr>
          <a:xfrm>
            <a:off x="6225354" y="3753662"/>
            <a:ext cx="1476113" cy="826829"/>
          </a:xfrm>
          <a:prstGeom prst="rect">
            <a:avLst/>
          </a:prstGeom>
          <a:noFill/>
        </p:spPr>
        <p:txBody>
          <a:bodyPr wrap="square" lIns="0" tIns="0" rIns="0" bIns="0" rtlCol="0" anchor="t">
            <a:spAutoFit/>
          </a:bodyPr>
          <a:lstStyle/>
          <a:p>
            <a:pPr algn="ctr">
              <a:lnSpc>
                <a:spcPct val="130000"/>
              </a:lnSpc>
            </a:pPr>
            <a:r>
              <a:rPr lang="en-US" altLang="zh-CN" sz="1050" b="0" dirty="0">
                <a:solidFill>
                  <a:schemeClr val="tx1">
                    <a:lumMod val="75000"/>
                    <a:lumOff val="25000"/>
                  </a:schemeClr>
                </a:solidFill>
                <a:effectLst/>
                <a:latin typeface="+mn-ea"/>
              </a:rPr>
              <a:t>Lorem ipsum dolor sit amet, consectetur adipisicing elit, sed do eiusmod tempor</a:t>
            </a:r>
            <a:endParaRPr lang="zh-CN" altLang="en-US" sz="1050" b="0" dirty="0">
              <a:solidFill>
                <a:schemeClr val="tx1">
                  <a:lumMod val="75000"/>
                  <a:lumOff val="25000"/>
                </a:schemeClr>
              </a:solidFill>
              <a:effectLst/>
              <a:latin typeface="+mn-ea"/>
            </a:endParaRPr>
          </a:p>
        </p:txBody>
      </p:sp>
      <p:sp>
        <p:nvSpPr>
          <p:cNvPr id="21" name="文本框 20">
            <a:extLst>
              <a:ext uri="{FF2B5EF4-FFF2-40B4-BE49-F238E27FC236}">
                <a16:creationId xmlns:a16="http://schemas.microsoft.com/office/drawing/2014/main" id="{67ED8A6C-666A-4306-9123-99E218377FA1}"/>
              </a:ext>
            </a:extLst>
          </p:cNvPr>
          <p:cNvSpPr txBox="1"/>
          <p:nvPr/>
        </p:nvSpPr>
        <p:spPr>
          <a:xfrm>
            <a:off x="6225354" y="4759502"/>
            <a:ext cx="1476113" cy="826829"/>
          </a:xfrm>
          <a:prstGeom prst="rect">
            <a:avLst/>
          </a:prstGeom>
          <a:noFill/>
        </p:spPr>
        <p:txBody>
          <a:bodyPr wrap="square" lIns="0" tIns="0" rIns="0" bIns="0" rtlCol="0" anchor="t">
            <a:spAutoFit/>
          </a:bodyPr>
          <a:lstStyle/>
          <a:p>
            <a:pPr algn="ctr">
              <a:lnSpc>
                <a:spcPct val="130000"/>
              </a:lnSpc>
            </a:pPr>
            <a:r>
              <a:rPr lang="en-US" altLang="zh-CN" sz="1050" b="0" dirty="0">
                <a:solidFill>
                  <a:schemeClr val="tx1">
                    <a:lumMod val="75000"/>
                    <a:lumOff val="25000"/>
                  </a:schemeClr>
                </a:solidFill>
                <a:effectLst/>
                <a:latin typeface="+mn-ea"/>
              </a:rPr>
              <a:t>Lorem ipsum dolor sit amet, consectetur adipisicing elit, sed do eiusmod tempor</a:t>
            </a:r>
            <a:endParaRPr lang="zh-CN" altLang="en-US" sz="1050" b="0" dirty="0">
              <a:solidFill>
                <a:schemeClr val="tx1">
                  <a:lumMod val="75000"/>
                  <a:lumOff val="25000"/>
                </a:schemeClr>
              </a:solidFill>
              <a:effectLst/>
              <a:latin typeface="+mn-ea"/>
            </a:endParaRPr>
          </a:p>
        </p:txBody>
      </p:sp>
      <p:sp>
        <p:nvSpPr>
          <p:cNvPr id="23" name="椭圆 22">
            <a:extLst>
              <a:ext uri="{FF2B5EF4-FFF2-40B4-BE49-F238E27FC236}">
                <a16:creationId xmlns:a16="http://schemas.microsoft.com/office/drawing/2014/main" id="{F9C8371D-B760-4F68-A051-59FDFC390E2C}"/>
              </a:ext>
            </a:extLst>
          </p:cNvPr>
          <p:cNvSpPr/>
          <p:nvPr/>
        </p:nvSpPr>
        <p:spPr>
          <a:xfrm>
            <a:off x="9197594" y="2272284"/>
            <a:ext cx="1033272" cy="103327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24" name="文本框 23">
            <a:extLst>
              <a:ext uri="{FF2B5EF4-FFF2-40B4-BE49-F238E27FC236}">
                <a16:creationId xmlns:a16="http://schemas.microsoft.com/office/drawing/2014/main" id="{AC4D4D0D-E20C-49A5-97DE-8397EA7DDA85}"/>
              </a:ext>
            </a:extLst>
          </p:cNvPr>
          <p:cNvSpPr txBox="1"/>
          <p:nvPr/>
        </p:nvSpPr>
        <p:spPr>
          <a:xfrm>
            <a:off x="9137149" y="3444240"/>
            <a:ext cx="1154162" cy="276999"/>
          </a:xfrm>
          <a:prstGeom prst="rect">
            <a:avLst/>
          </a:prstGeom>
          <a:noFill/>
        </p:spPr>
        <p:txBody>
          <a:bodyPr wrap="none" lIns="0" tIns="0" rIns="0" bIns="0" rtlCol="0" anchor="t">
            <a:spAutoFit/>
          </a:bodyPr>
          <a:lstStyle/>
          <a:p>
            <a:r>
              <a:rPr lang="zh-CN" altLang="en-US" dirty="0">
                <a:solidFill>
                  <a:schemeClr val="accent1"/>
                </a:solidFill>
                <a:latin typeface="+mj-ea"/>
                <a:ea typeface="+mj-ea"/>
              </a:rPr>
              <a:t>关键词标题</a:t>
            </a:r>
          </a:p>
        </p:txBody>
      </p:sp>
      <p:sp>
        <p:nvSpPr>
          <p:cNvPr id="25" name="文本框 24">
            <a:extLst>
              <a:ext uri="{FF2B5EF4-FFF2-40B4-BE49-F238E27FC236}">
                <a16:creationId xmlns:a16="http://schemas.microsoft.com/office/drawing/2014/main" id="{7DB3CF0A-0A67-4BBB-A982-8446F00D0453}"/>
              </a:ext>
            </a:extLst>
          </p:cNvPr>
          <p:cNvSpPr txBox="1"/>
          <p:nvPr/>
        </p:nvSpPr>
        <p:spPr>
          <a:xfrm>
            <a:off x="8976174" y="3753662"/>
            <a:ext cx="1476113" cy="826829"/>
          </a:xfrm>
          <a:prstGeom prst="rect">
            <a:avLst/>
          </a:prstGeom>
          <a:noFill/>
        </p:spPr>
        <p:txBody>
          <a:bodyPr wrap="square" lIns="0" tIns="0" rIns="0" bIns="0" rtlCol="0" anchor="t">
            <a:spAutoFit/>
          </a:bodyPr>
          <a:lstStyle/>
          <a:p>
            <a:pPr algn="ctr">
              <a:lnSpc>
                <a:spcPct val="130000"/>
              </a:lnSpc>
            </a:pPr>
            <a:r>
              <a:rPr lang="en-US" altLang="zh-CN" sz="1050" b="0" dirty="0">
                <a:solidFill>
                  <a:schemeClr val="tx1">
                    <a:lumMod val="75000"/>
                    <a:lumOff val="25000"/>
                  </a:schemeClr>
                </a:solidFill>
                <a:effectLst/>
                <a:latin typeface="+mn-ea"/>
              </a:rPr>
              <a:t>Lorem ipsum dolor sit amet, consectetur adipisicing elit, sed do eiusmod tempor</a:t>
            </a:r>
            <a:endParaRPr lang="zh-CN" altLang="en-US" sz="1050" b="0" dirty="0">
              <a:solidFill>
                <a:schemeClr val="tx1">
                  <a:lumMod val="75000"/>
                  <a:lumOff val="25000"/>
                </a:schemeClr>
              </a:solidFill>
              <a:effectLst/>
              <a:latin typeface="+mn-ea"/>
            </a:endParaRPr>
          </a:p>
        </p:txBody>
      </p:sp>
      <p:sp>
        <p:nvSpPr>
          <p:cNvPr id="26" name="文本框 25">
            <a:extLst>
              <a:ext uri="{FF2B5EF4-FFF2-40B4-BE49-F238E27FC236}">
                <a16:creationId xmlns:a16="http://schemas.microsoft.com/office/drawing/2014/main" id="{DFDA70B4-6AE3-4D99-A42C-33DEFE9A0237}"/>
              </a:ext>
            </a:extLst>
          </p:cNvPr>
          <p:cNvSpPr txBox="1"/>
          <p:nvPr/>
        </p:nvSpPr>
        <p:spPr>
          <a:xfrm>
            <a:off x="8976174" y="4759502"/>
            <a:ext cx="1476113" cy="826829"/>
          </a:xfrm>
          <a:prstGeom prst="rect">
            <a:avLst/>
          </a:prstGeom>
          <a:noFill/>
        </p:spPr>
        <p:txBody>
          <a:bodyPr wrap="square" lIns="0" tIns="0" rIns="0" bIns="0" rtlCol="0" anchor="t">
            <a:spAutoFit/>
          </a:bodyPr>
          <a:lstStyle/>
          <a:p>
            <a:pPr algn="ctr">
              <a:lnSpc>
                <a:spcPct val="130000"/>
              </a:lnSpc>
            </a:pPr>
            <a:r>
              <a:rPr lang="en-US" altLang="zh-CN" sz="1050" b="0" dirty="0">
                <a:solidFill>
                  <a:schemeClr val="tx1">
                    <a:lumMod val="75000"/>
                    <a:lumOff val="25000"/>
                  </a:schemeClr>
                </a:solidFill>
                <a:effectLst/>
                <a:latin typeface="+mn-ea"/>
              </a:rPr>
              <a:t>Lorem ipsum dolor sit amet, consectetur adipisicing elit, sed do eiusmod tempor</a:t>
            </a:r>
            <a:endParaRPr lang="zh-CN" altLang="en-US" sz="1050" b="0" dirty="0">
              <a:solidFill>
                <a:schemeClr val="tx1">
                  <a:lumMod val="75000"/>
                  <a:lumOff val="25000"/>
                </a:schemeClr>
              </a:solidFill>
              <a:effectLst/>
              <a:latin typeface="+mn-ea"/>
            </a:endParaRPr>
          </a:p>
        </p:txBody>
      </p:sp>
      <p:sp>
        <p:nvSpPr>
          <p:cNvPr id="27" name="iconfont-1191-801535">
            <a:extLst>
              <a:ext uri="{FF2B5EF4-FFF2-40B4-BE49-F238E27FC236}">
                <a16:creationId xmlns:a16="http://schemas.microsoft.com/office/drawing/2014/main" id="{DEBDB001-C052-477C-98AC-E123310B9340}"/>
              </a:ext>
            </a:extLst>
          </p:cNvPr>
          <p:cNvSpPr/>
          <p:nvPr/>
        </p:nvSpPr>
        <p:spPr>
          <a:xfrm>
            <a:off x="1885347" y="2597151"/>
            <a:ext cx="348680" cy="442386"/>
          </a:xfrm>
          <a:custGeom>
            <a:avLst/>
            <a:gdLst>
              <a:gd name="T0" fmla="*/ 3166 w 6332"/>
              <a:gd name="T1" fmla="*/ 0 h 8034"/>
              <a:gd name="T2" fmla="*/ 0 w 6332"/>
              <a:gd name="T3" fmla="*/ 3166 h 8034"/>
              <a:gd name="T4" fmla="*/ 2481 w 6332"/>
              <a:gd name="T5" fmla="*/ 7590 h 8034"/>
              <a:gd name="T6" fmla="*/ 3853 w 6332"/>
              <a:gd name="T7" fmla="*/ 7588 h 8034"/>
              <a:gd name="T8" fmla="*/ 6332 w 6332"/>
              <a:gd name="T9" fmla="*/ 3166 h 8034"/>
              <a:gd name="T10" fmla="*/ 3166 w 6332"/>
              <a:gd name="T11" fmla="*/ 0 h 8034"/>
              <a:gd name="T12" fmla="*/ 3166 w 6332"/>
              <a:gd name="T13" fmla="*/ 0 h 8034"/>
              <a:gd name="T14" fmla="*/ 3166 w 6332"/>
              <a:gd name="T15" fmla="*/ 0 h 8034"/>
              <a:gd name="T16" fmla="*/ 3166 w 6332"/>
              <a:gd name="T17" fmla="*/ 0 h 8034"/>
              <a:gd name="T18" fmla="*/ 3166 w 6332"/>
              <a:gd name="T19" fmla="*/ 4529 h 8034"/>
              <a:gd name="T20" fmla="*/ 1702 w 6332"/>
              <a:gd name="T21" fmla="*/ 3065 h 8034"/>
              <a:gd name="T22" fmla="*/ 3166 w 6332"/>
              <a:gd name="T23" fmla="*/ 1600 h 8034"/>
              <a:gd name="T24" fmla="*/ 4630 w 6332"/>
              <a:gd name="T25" fmla="*/ 3065 h 8034"/>
              <a:gd name="T26" fmla="*/ 3166 w 6332"/>
              <a:gd name="T27" fmla="*/ 4529 h 8034"/>
              <a:gd name="T28" fmla="*/ 3166 w 6332"/>
              <a:gd name="T29" fmla="*/ 4529 h 8034"/>
              <a:gd name="T30" fmla="*/ 3166 w 6332"/>
              <a:gd name="T31" fmla="*/ 4529 h 8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332" h="8034">
                <a:moveTo>
                  <a:pt x="3166" y="0"/>
                </a:moveTo>
                <a:cubicBezTo>
                  <a:pt x="1418" y="0"/>
                  <a:pt x="0" y="1418"/>
                  <a:pt x="0" y="3166"/>
                </a:cubicBezTo>
                <a:cubicBezTo>
                  <a:pt x="0" y="4914"/>
                  <a:pt x="2481" y="7590"/>
                  <a:pt x="2481" y="7590"/>
                </a:cubicBezTo>
                <a:cubicBezTo>
                  <a:pt x="2859" y="8031"/>
                  <a:pt x="3478" y="8034"/>
                  <a:pt x="3853" y="7588"/>
                </a:cubicBezTo>
                <a:cubicBezTo>
                  <a:pt x="3853" y="7588"/>
                  <a:pt x="6332" y="4914"/>
                  <a:pt x="6332" y="3166"/>
                </a:cubicBezTo>
                <a:cubicBezTo>
                  <a:pt x="6332" y="1418"/>
                  <a:pt x="4914" y="0"/>
                  <a:pt x="3166" y="0"/>
                </a:cubicBezTo>
                <a:lnTo>
                  <a:pt x="3166" y="0"/>
                </a:lnTo>
                <a:lnTo>
                  <a:pt x="3166" y="0"/>
                </a:lnTo>
                <a:lnTo>
                  <a:pt x="3166" y="0"/>
                </a:lnTo>
                <a:close/>
                <a:moveTo>
                  <a:pt x="3166" y="4529"/>
                </a:moveTo>
                <a:cubicBezTo>
                  <a:pt x="2357" y="4529"/>
                  <a:pt x="1702" y="3874"/>
                  <a:pt x="1702" y="3065"/>
                </a:cubicBezTo>
                <a:cubicBezTo>
                  <a:pt x="1702" y="2256"/>
                  <a:pt x="2357" y="1600"/>
                  <a:pt x="3166" y="1600"/>
                </a:cubicBezTo>
                <a:cubicBezTo>
                  <a:pt x="3975" y="1600"/>
                  <a:pt x="4630" y="2256"/>
                  <a:pt x="4630" y="3065"/>
                </a:cubicBezTo>
                <a:cubicBezTo>
                  <a:pt x="4630" y="3874"/>
                  <a:pt x="3975" y="4529"/>
                  <a:pt x="3166" y="4529"/>
                </a:cubicBezTo>
                <a:lnTo>
                  <a:pt x="3166" y="4529"/>
                </a:lnTo>
                <a:close/>
                <a:moveTo>
                  <a:pt x="3166" y="4529"/>
                </a:move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9" name="iconfont-1191-801535">
            <a:extLst>
              <a:ext uri="{FF2B5EF4-FFF2-40B4-BE49-F238E27FC236}">
                <a16:creationId xmlns:a16="http://schemas.microsoft.com/office/drawing/2014/main" id="{8C705E5F-F350-4B8D-AA5B-0F9BE2911368}"/>
              </a:ext>
            </a:extLst>
          </p:cNvPr>
          <p:cNvSpPr/>
          <p:nvPr/>
        </p:nvSpPr>
        <p:spPr>
          <a:xfrm>
            <a:off x="4245144" y="2651554"/>
            <a:ext cx="442386" cy="333579"/>
          </a:xfrm>
          <a:custGeom>
            <a:avLst/>
            <a:gdLst>
              <a:gd name="T0" fmla="*/ 10397 w 12867"/>
              <a:gd name="T1" fmla="*/ 3762 h 9701"/>
              <a:gd name="T2" fmla="*/ 12479 w 12867"/>
              <a:gd name="T3" fmla="*/ 6910 h 9701"/>
              <a:gd name="T4" fmla="*/ 12802 w 12867"/>
              <a:gd name="T5" fmla="*/ 9701 h 9701"/>
              <a:gd name="T6" fmla="*/ 12096 w 12867"/>
              <a:gd name="T7" fmla="*/ 8604 h 9701"/>
              <a:gd name="T8" fmla="*/ 9701 w 12867"/>
              <a:gd name="T9" fmla="*/ 6645 h 9701"/>
              <a:gd name="T10" fmla="*/ 6140 w 12867"/>
              <a:gd name="T11" fmla="*/ 6140 h 9701"/>
              <a:gd name="T12" fmla="*/ 6140 w 12867"/>
              <a:gd name="T13" fmla="*/ 8699 h 9701"/>
              <a:gd name="T14" fmla="*/ 0 w 12867"/>
              <a:gd name="T15" fmla="*/ 4350 h 9701"/>
              <a:gd name="T16" fmla="*/ 6140 w 12867"/>
              <a:gd name="T17" fmla="*/ 0 h 9701"/>
              <a:gd name="T18" fmla="*/ 6140 w 12867"/>
              <a:gd name="T19" fmla="*/ 2583 h 9701"/>
              <a:gd name="T20" fmla="*/ 8386 w 12867"/>
              <a:gd name="T21" fmla="*/ 2853 h 9701"/>
              <a:gd name="T22" fmla="*/ 10397 w 12867"/>
              <a:gd name="T23" fmla="*/ 3762 h 9701"/>
              <a:gd name="T24" fmla="*/ 10397 w 12867"/>
              <a:gd name="T25" fmla="*/ 3762 h 97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867" h="9701">
                <a:moveTo>
                  <a:pt x="10397" y="3762"/>
                </a:moveTo>
                <a:cubicBezTo>
                  <a:pt x="11157" y="4215"/>
                  <a:pt x="12090" y="5438"/>
                  <a:pt x="12479" y="6910"/>
                </a:cubicBezTo>
                <a:cubicBezTo>
                  <a:pt x="12867" y="8382"/>
                  <a:pt x="12802" y="9701"/>
                  <a:pt x="12802" y="9701"/>
                </a:cubicBezTo>
                <a:cubicBezTo>
                  <a:pt x="12802" y="9701"/>
                  <a:pt x="12300" y="8889"/>
                  <a:pt x="12096" y="8604"/>
                </a:cubicBezTo>
                <a:cubicBezTo>
                  <a:pt x="11892" y="8320"/>
                  <a:pt x="11034" y="7260"/>
                  <a:pt x="9701" y="6645"/>
                </a:cubicBezTo>
                <a:cubicBezTo>
                  <a:pt x="8368" y="6031"/>
                  <a:pt x="6140" y="6140"/>
                  <a:pt x="6140" y="6140"/>
                </a:cubicBezTo>
                <a:lnTo>
                  <a:pt x="6140" y="8699"/>
                </a:lnTo>
                <a:lnTo>
                  <a:pt x="0" y="4350"/>
                </a:lnTo>
                <a:lnTo>
                  <a:pt x="6140" y="0"/>
                </a:lnTo>
                <a:lnTo>
                  <a:pt x="6140" y="2583"/>
                </a:lnTo>
                <a:cubicBezTo>
                  <a:pt x="6140" y="2583"/>
                  <a:pt x="7615" y="2694"/>
                  <a:pt x="8386" y="2853"/>
                </a:cubicBezTo>
                <a:cubicBezTo>
                  <a:pt x="9685" y="3122"/>
                  <a:pt x="10397" y="3762"/>
                  <a:pt x="10397" y="3762"/>
                </a:cubicBezTo>
                <a:close/>
                <a:moveTo>
                  <a:pt x="10397" y="3762"/>
                </a:move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sp>
        <p:nvSpPr>
          <p:cNvPr id="31" name="iconfont-1191-801535">
            <a:extLst>
              <a:ext uri="{FF2B5EF4-FFF2-40B4-BE49-F238E27FC236}">
                <a16:creationId xmlns:a16="http://schemas.microsoft.com/office/drawing/2014/main" id="{DC937E89-3317-4877-954E-D4B7867BFBA8}"/>
              </a:ext>
            </a:extLst>
          </p:cNvPr>
          <p:cNvSpPr/>
          <p:nvPr/>
        </p:nvSpPr>
        <p:spPr>
          <a:xfrm>
            <a:off x="6745912" y="2597150"/>
            <a:ext cx="378610" cy="442386"/>
          </a:xfrm>
          <a:custGeom>
            <a:avLst/>
            <a:gdLst>
              <a:gd name="T0" fmla="*/ 8209 w 10908"/>
              <a:gd name="T1" fmla="*/ 2143 h 12744"/>
              <a:gd name="T2" fmla="*/ 8209 w 10908"/>
              <a:gd name="T3" fmla="*/ 1057 h 12744"/>
              <a:gd name="T4" fmla="*/ 7124 w 10908"/>
              <a:gd name="T5" fmla="*/ 0 h 12744"/>
              <a:gd name="T6" fmla="*/ 3840 w 10908"/>
              <a:gd name="T7" fmla="*/ 0 h 12744"/>
              <a:gd name="T8" fmla="*/ 2755 w 10908"/>
              <a:gd name="T9" fmla="*/ 1057 h 12744"/>
              <a:gd name="T10" fmla="*/ 2755 w 10908"/>
              <a:gd name="T11" fmla="*/ 2115 h 12744"/>
              <a:gd name="T12" fmla="*/ 0 w 10908"/>
              <a:gd name="T13" fmla="*/ 2115 h 12744"/>
              <a:gd name="T14" fmla="*/ 0 w 10908"/>
              <a:gd name="T15" fmla="*/ 3172 h 12744"/>
              <a:gd name="T16" fmla="*/ 1085 w 10908"/>
              <a:gd name="T17" fmla="*/ 3172 h 12744"/>
              <a:gd name="T18" fmla="*/ 1085 w 10908"/>
              <a:gd name="T19" fmla="*/ 11687 h 12744"/>
              <a:gd name="T20" fmla="*/ 2171 w 10908"/>
              <a:gd name="T21" fmla="*/ 12744 h 12744"/>
              <a:gd name="T22" fmla="*/ 8738 w 10908"/>
              <a:gd name="T23" fmla="*/ 12744 h 12744"/>
              <a:gd name="T24" fmla="*/ 9823 w 10908"/>
              <a:gd name="T25" fmla="*/ 11687 h 12744"/>
              <a:gd name="T26" fmla="*/ 9823 w 10908"/>
              <a:gd name="T27" fmla="*/ 3200 h 12744"/>
              <a:gd name="T28" fmla="*/ 10908 w 10908"/>
              <a:gd name="T29" fmla="*/ 3200 h 12744"/>
              <a:gd name="T30" fmla="*/ 10908 w 10908"/>
              <a:gd name="T31" fmla="*/ 2143 h 12744"/>
              <a:gd name="T32" fmla="*/ 8209 w 10908"/>
              <a:gd name="T33" fmla="*/ 2143 h 12744"/>
              <a:gd name="T34" fmla="*/ 4870 w 10908"/>
              <a:gd name="T35" fmla="*/ 10963 h 12744"/>
              <a:gd name="T36" fmla="*/ 3645 w 10908"/>
              <a:gd name="T37" fmla="*/ 10963 h 12744"/>
              <a:gd name="T38" fmla="*/ 3645 w 10908"/>
              <a:gd name="T39" fmla="*/ 4257 h 12744"/>
              <a:gd name="T40" fmla="*/ 4870 w 10908"/>
              <a:gd name="T41" fmla="*/ 4257 h 12744"/>
              <a:gd name="T42" fmla="*/ 4870 w 10908"/>
              <a:gd name="T43" fmla="*/ 10963 h 12744"/>
              <a:gd name="T44" fmla="*/ 7319 w 10908"/>
              <a:gd name="T45" fmla="*/ 10963 h 12744"/>
              <a:gd name="T46" fmla="*/ 6094 w 10908"/>
              <a:gd name="T47" fmla="*/ 10963 h 12744"/>
              <a:gd name="T48" fmla="*/ 6094 w 10908"/>
              <a:gd name="T49" fmla="*/ 4257 h 12744"/>
              <a:gd name="T50" fmla="*/ 7319 w 10908"/>
              <a:gd name="T51" fmla="*/ 4257 h 12744"/>
              <a:gd name="T52" fmla="*/ 7319 w 10908"/>
              <a:gd name="T53" fmla="*/ 10963 h 127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0908" h="12744">
                <a:moveTo>
                  <a:pt x="8209" y="2143"/>
                </a:moveTo>
                <a:lnTo>
                  <a:pt x="8209" y="1057"/>
                </a:lnTo>
                <a:cubicBezTo>
                  <a:pt x="8209" y="473"/>
                  <a:pt x="7708" y="0"/>
                  <a:pt x="7124" y="0"/>
                </a:cubicBezTo>
                <a:lnTo>
                  <a:pt x="3840" y="0"/>
                </a:lnTo>
                <a:cubicBezTo>
                  <a:pt x="3228" y="0"/>
                  <a:pt x="2755" y="473"/>
                  <a:pt x="2755" y="1057"/>
                </a:cubicBezTo>
                <a:lnTo>
                  <a:pt x="2755" y="2115"/>
                </a:lnTo>
                <a:lnTo>
                  <a:pt x="0" y="2115"/>
                </a:lnTo>
                <a:lnTo>
                  <a:pt x="0" y="3172"/>
                </a:lnTo>
                <a:lnTo>
                  <a:pt x="1085" y="3172"/>
                </a:lnTo>
                <a:lnTo>
                  <a:pt x="1085" y="11687"/>
                </a:lnTo>
                <a:cubicBezTo>
                  <a:pt x="1085" y="12271"/>
                  <a:pt x="1586" y="12744"/>
                  <a:pt x="2171" y="12744"/>
                </a:cubicBezTo>
                <a:lnTo>
                  <a:pt x="8738" y="12744"/>
                </a:lnTo>
                <a:cubicBezTo>
                  <a:pt x="9350" y="12744"/>
                  <a:pt x="9823" y="12271"/>
                  <a:pt x="9823" y="11687"/>
                </a:cubicBezTo>
                <a:lnTo>
                  <a:pt x="9823" y="3200"/>
                </a:lnTo>
                <a:lnTo>
                  <a:pt x="10908" y="3200"/>
                </a:lnTo>
                <a:lnTo>
                  <a:pt x="10908" y="2143"/>
                </a:lnTo>
                <a:lnTo>
                  <a:pt x="8209" y="2143"/>
                </a:lnTo>
                <a:close/>
                <a:moveTo>
                  <a:pt x="4870" y="10963"/>
                </a:moveTo>
                <a:lnTo>
                  <a:pt x="3645" y="10963"/>
                </a:lnTo>
                <a:lnTo>
                  <a:pt x="3645" y="4257"/>
                </a:lnTo>
                <a:lnTo>
                  <a:pt x="4870" y="4257"/>
                </a:lnTo>
                <a:lnTo>
                  <a:pt x="4870" y="10963"/>
                </a:lnTo>
                <a:close/>
                <a:moveTo>
                  <a:pt x="7319" y="10963"/>
                </a:moveTo>
                <a:lnTo>
                  <a:pt x="6094" y="10963"/>
                </a:lnTo>
                <a:lnTo>
                  <a:pt x="6094" y="4257"/>
                </a:lnTo>
                <a:lnTo>
                  <a:pt x="7319" y="4257"/>
                </a:lnTo>
                <a:lnTo>
                  <a:pt x="7319" y="1096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sp>
        <p:nvSpPr>
          <p:cNvPr id="33" name="iconfont-1191-801535">
            <a:extLst>
              <a:ext uri="{FF2B5EF4-FFF2-40B4-BE49-F238E27FC236}">
                <a16:creationId xmlns:a16="http://schemas.microsoft.com/office/drawing/2014/main" id="{1351F595-EE8D-4893-9DA5-859D7A267273}"/>
              </a:ext>
            </a:extLst>
          </p:cNvPr>
          <p:cNvSpPr/>
          <p:nvPr/>
        </p:nvSpPr>
        <p:spPr>
          <a:xfrm>
            <a:off x="9493800" y="2597333"/>
            <a:ext cx="442386" cy="442020"/>
          </a:xfrm>
          <a:custGeom>
            <a:avLst/>
            <a:gdLst>
              <a:gd name="T0" fmla="*/ 11212 w 12607"/>
              <a:gd name="T1" fmla="*/ 4855 h 12594"/>
              <a:gd name="T2" fmla="*/ 11019 w 12607"/>
              <a:gd name="T3" fmla="*/ 4855 h 12594"/>
              <a:gd name="T4" fmla="*/ 10644 w 12607"/>
              <a:gd name="T5" fmla="*/ 3981 h 12594"/>
              <a:gd name="T6" fmla="*/ 10796 w 12607"/>
              <a:gd name="T7" fmla="*/ 3830 h 12594"/>
              <a:gd name="T8" fmla="*/ 10796 w 12607"/>
              <a:gd name="T9" fmla="*/ 1864 h 12594"/>
              <a:gd name="T10" fmla="*/ 10755 w 12607"/>
              <a:gd name="T11" fmla="*/ 1823 h 12594"/>
              <a:gd name="T12" fmla="*/ 8781 w 12607"/>
              <a:gd name="T13" fmla="*/ 1823 h 12594"/>
              <a:gd name="T14" fmla="*/ 8611 w 12607"/>
              <a:gd name="T15" fmla="*/ 1992 h 12594"/>
              <a:gd name="T16" fmla="*/ 7729 w 12607"/>
              <a:gd name="T17" fmla="*/ 1634 h 12594"/>
              <a:gd name="T18" fmla="*/ 7729 w 12607"/>
              <a:gd name="T19" fmla="*/ 1390 h 12594"/>
              <a:gd name="T20" fmla="*/ 6333 w 12607"/>
              <a:gd name="T21" fmla="*/ 0 h 12594"/>
              <a:gd name="T22" fmla="*/ 6274 w 12607"/>
              <a:gd name="T23" fmla="*/ 0 h 12594"/>
              <a:gd name="T24" fmla="*/ 4878 w 12607"/>
              <a:gd name="T25" fmla="*/ 1390 h 12594"/>
              <a:gd name="T26" fmla="*/ 4878 w 12607"/>
              <a:gd name="T27" fmla="*/ 1652 h 12594"/>
              <a:gd name="T28" fmla="*/ 4033 w 12607"/>
              <a:gd name="T29" fmla="*/ 2003 h 12594"/>
              <a:gd name="T30" fmla="*/ 3852 w 12607"/>
              <a:gd name="T31" fmla="*/ 1823 h 12594"/>
              <a:gd name="T32" fmla="*/ 1878 w 12607"/>
              <a:gd name="T33" fmla="*/ 1823 h 12594"/>
              <a:gd name="T34" fmla="*/ 1837 w 12607"/>
              <a:gd name="T35" fmla="*/ 1864 h 12594"/>
              <a:gd name="T36" fmla="*/ 1837 w 12607"/>
              <a:gd name="T37" fmla="*/ 3830 h 12594"/>
              <a:gd name="T38" fmla="*/ 2012 w 12607"/>
              <a:gd name="T39" fmla="*/ 4004 h 12594"/>
              <a:gd name="T40" fmla="*/ 1650 w 12607"/>
              <a:gd name="T41" fmla="*/ 4855 h 12594"/>
              <a:gd name="T42" fmla="*/ 1396 w 12607"/>
              <a:gd name="T43" fmla="*/ 4855 h 12594"/>
              <a:gd name="T44" fmla="*/ 0 w 12607"/>
              <a:gd name="T45" fmla="*/ 6245 h 12594"/>
              <a:gd name="T46" fmla="*/ 0 w 12607"/>
              <a:gd name="T47" fmla="*/ 6304 h 12594"/>
              <a:gd name="T48" fmla="*/ 1396 w 12607"/>
              <a:gd name="T49" fmla="*/ 7694 h 12594"/>
              <a:gd name="T50" fmla="*/ 1618 w 12607"/>
              <a:gd name="T51" fmla="*/ 7694 h 12594"/>
              <a:gd name="T52" fmla="*/ 1983 w 12607"/>
              <a:gd name="T53" fmla="*/ 8593 h 12594"/>
              <a:gd name="T54" fmla="*/ 1814 w 12607"/>
              <a:gd name="T55" fmla="*/ 8761 h 12594"/>
              <a:gd name="T56" fmla="*/ 1814 w 12607"/>
              <a:gd name="T57" fmla="*/ 10728 h 12594"/>
              <a:gd name="T58" fmla="*/ 1855 w 12607"/>
              <a:gd name="T59" fmla="*/ 10769 h 12594"/>
              <a:gd name="T60" fmla="*/ 3829 w 12607"/>
              <a:gd name="T61" fmla="*/ 10769 h 12594"/>
              <a:gd name="T62" fmla="*/ 3981 w 12607"/>
              <a:gd name="T63" fmla="*/ 10618 h 12594"/>
              <a:gd name="T64" fmla="*/ 4878 w 12607"/>
              <a:gd name="T65" fmla="*/ 10999 h 12594"/>
              <a:gd name="T66" fmla="*/ 4878 w 12607"/>
              <a:gd name="T67" fmla="*/ 11204 h 12594"/>
              <a:gd name="T68" fmla="*/ 6274 w 12607"/>
              <a:gd name="T69" fmla="*/ 12594 h 12594"/>
              <a:gd name="T70" fmla="*/ 6333 w 12607"/>
              <a:gd name="T71" fmla="*/ 12594 h 12594"/>
              <a:gd name="T72" fmla="*/ 7729 w 12607"/>
              <a:gd name="T73" fmla="*/ 11204 h 12594"/>
              <a:gd name="T74" fmla="*/ 7729 w 12607"/>
              <a:gd name="T75" fmla="*/ 11016 h 12594"/>
              <a:gd name="T76" fmla="*/ 8664 w 12607"/>
              <a:gd name="T77" fmla="*/ 10630 h 12594"/>
              <a:gd name="T78" fmla="*/ 8803 w 12607"/>
              <a:gd name="T79" fmla="*/ 10769 h 12594"/>
              <a:gd name="T80" fmla="*/ 10777 w 12607"/>
              <a:gd name="T81" fmla="*/ 10769 h 12594"/>
              <a:gd name="T82" fmla="*/ 10819 w 12607"/>
              <a:gd name="T83" fmla="*/ 10728 h 12594"/>
              <a:gd name="T84" fmla="*/ 10819 w 12607"/>
              <a:gd name="T85" fmla="*/ 8761 h 12594"/>
              <a:gd name="T86" fmla="*/ 10673 w 12607"/>
              <a:gd name="T87" fmla="*/ 8616 h 12594"/>
              <a:gd name="T88" fmla="*/ 11051 w 12607"/>
              <a:gd name="T89" fmla="*/ 7694 h 12594"/>
              <a:gd name="T90" fmla="*/ 11211 w 12607"/>
              <a:gd name="T91" fmla="*/ 7694 h 12594"/>
              <a:gd name="T92" fmla="*/ 12607 w 12607"/>
              <a:gd name="T93" fmla="*/ 6304 h 12594"/>
              <a:gd name="T94" fmla="*/ 12607 w 12607"/>
              <a:gd name="T95" fmla="*/ 6245 h 12594"/>
              <a:gd name="T96" fmla="*/ 11212 w 12607"/>
              <a:gd name="T97" fmla="*/ 4855 h 12594"/>
              <a:gd name="T98" fmla="*/ 6337 w 12607"/>
              <a:gd name="T99" fmla="*/ 8498 h 12594"/>
              <a:gd name="T100" fmla="*/ 4152 w 12607"/>
              <a:gd name="T101" fmla="*/ 6323 h 12594"/>
              <a:gd name="T102" fmla="*/ 6337 w 12607"/>
              <a:gd name="T103" fmla="*/ 4146 h 12594"/>
              <a:gd name="T104" fmla="*/ 8521 w 12607"/>
              <a:gd name="T105" fmla="*/ 6323 h 12594"/>
              <a:gd name="T106" fmla="*/ 6337 w 12607"/>
              <a:gd name="T107" fmla="*/ 8498 h 12594"/>
              <a:gd name="T108" fmla="*/ 6337 w 12607"/>
              <a:gd name="T109" fmla="*/ 8498 h 125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2607" h="12594">
                <a:moveTo>
                  <a:pt x="11212" y="4855"/>
                </a:moveTo>
                <a:lnTo>
                  <a:pt x="11019" y="4855"/>
                </a:lnTo>
                <a:cubicBezTo>
                  <a:pt x="10923" y="4550"/>
                  <a:pt x="10796" y="4258"/>
                  <a:pt x="10644" y="3981"/>
                </a:cubicBezTo>
                <a:lnTo>
                  <a:pt x="10796" y="3830"/>
                </a:lnTo>
                <a:cubicBezTo>
                  <a:pt x="11341" y="3287"/>
                  <a:pt x="11341" y="2407"/>
                  <a:pt x="10796" y="1864"/>
                </a:cubicBezTo>
                <a:lnTo>
                  <a:pt x="10755" y="1823"/>
                </a:lnTo>
                <a:cubicBezTo>
                  <a:pt x="10209" y="1279"/>
                  <a:pt x="9326" y="1279"/>
                  <a:pt x="8781" y="1823"/>
                </a:cubicBezTo>
                <a:lnTo>
                  <a:pt x="8611" y="1992"/>
                </a:lnTo>
                <a:cubicBezTo>
                  <a:pt x="8332" y="1846"/>
                  <a:pt x="8037" y="1725"/>
                  <a:pt x="7729" y="1634"/>
                </a:cubicBezTo>
                <a:lnTo>
                  <a:pt x="7729" y="1390"/>
                </a:lnTo>
                <a:cubicBezTo>
                  <a:pt x="7729" y="622"/>
                  <a:pt x="7104" y="0"/>
                  <a:pt x="6333" y="0"/>
                </a:cubicBezTo>
                <a:lnTo>
                  <a:pt x="6274" y="0"/>
                </a:lnTo>
                <a:cubicBezTo>
                  <a:pt x="5503" y="0"/>
                  <a:pt x="4878" y="622"/>
                  <a:pt x="4878" y="1390"/>
                </a:cubicBezTo>
                <a:lnTo>
                  <a:pt x="4878" y="1652"/>
                </a:lnTo>
                <a:cubicBezTo>
                  <a:pt x="4584" y="1742"/>
                  <a:pt x="4301" y="1861"/>
                  <a:pt x="4033" y="2003"/>
                </a:cubicBezTo>
                <a:lnTo>
                  <a:pt x="3852" y="1823"/>
                </a:lnTo>
                <a:cubicBezTo>
                  <a:pt x="3307" y="1280"/>
                  <a:pt x="2423" y="1280"/>
                  <a:pt x="1878" y="1823"/>
                </a:cubicBezTo>
                <a:lnTo>
                  <a:pt x="1837" y="1864"/>
                </a:lnTo>
                <a:cubicBezTo>
                  <a:pt x="1292" y="2407"/>
                  <a:pt x="1292" y="3287"/>
                  <a:pt x="1837" y="3830"/>
                </a:cubicBezTo>
                <a:lnTo>
                  <a:pt x="2012" y="4004"/>
                </a:lnTo>
                <a:cubicBezTo>
                  <a:pt x="1865" y="4274"/>
                  <a:pt x="1743" y="4558"/>
                  <a:pt x="1650" y="4855"/>
                </a:cubicBezTo>
                <a:lnTo>
                  <a:pt x="1396" y="4855"/>
                </a:lnTo>
                <a:cubicBezTo>
                  <a:pt x="625" y="4855"/>
                  <a:pt x="0" y="5478"/>
                  <a:pt x="0" y="6245"/>
                </a:cubicBezTo>
                <a:lnTo>
                  <a:pt x="0" y="6304"/>
                </a:lnTo>
                <a:cubicBezTo>
                  <a:pt x="0" y="7072"/>
                  <a:pt x="625" y="7694"/>
                  <a:pt x="1396" y="7694"/>
                </a:cubicBezTo>
                <a:lnTo>
                  <a:pt x="1618" y="7694"/>
                </a:lnTo>
                <a:cubicBezTo>
                  <a:pt x="1710" y="8008"/>
                  <a:pt x="1833" y="8308"/>
                  <a:pt x="1983" y="8593"/>
                </a:cubicBezTo>
                <a:lnTo>
                  <a:pt x="1814" y="8761"/>
                </a:lnTo>
                <a:cubicBezTo>
                  <a:pt x="1269" y="9304"/>
                  <a:pt x="1269" y="10185"/>
                  <a:pt x="1814" y="10728"/>
                </a:cubicBezTo>
                <a:lnTo>
                  <a:pt x="1855" y="10769"/>
                </a:lnTo>
                <a:cubicBezTo>
                  <a:pt x="2400" y="11312"/>
                  <a:pt x="3284" y="11312"/>
                  <a:pt x="3829" y="10769"/>
                </a:cubicBezTo>
                <a:lnTo>
                  <a:pt x="3981" y="10618"/>
                </a:lnTo>
                <a:cubicBezTo>
                  <a:pt x="4264" y="10773"/>
                  <a:pt x="4564" y="10902"/>
                  <a:pt x="4878" y="10999"/>
                </a:cubicBezTo>
                <a:lnTo>
                  <a:pt x="4878" y="11204"/>
                </a:lnTo>
                <a:cubicBezTo>
                  <a:pt x="4878" y="11972"/>
                  <a:pt x="5503" y="12594"/>
                  <a:pt x="6274" y="12594"/>
                </a:cubicBezTo>
                <a:lnTo>
                  <a:pt x="6333" y="12594"/>
                </a:lnTo>
                <a:cubicBezTo>
                  <a:pt x="7104" y="12594"/>
                  <a:pt x="7729" y="11972"/>
                  <a:pt x="7729" y="11204"/>
                </a:cubicBezTo>
                <a:lnTo>
                  <a:pt x="7729" y="11016"/>
                </a:lnTo>
                <a:cubicBezTo>
                  <a:pt x="8056" y="10920"/>
                  <a:pt x="8368" y="10788"/>
                  <a:pt x="8664" y="10630"/>
                </a:cubicBezTo>
                <a:lnTo>
                  <a:pt x="8803" y="10769"/>
                </a:lnTo>
                <a:cubicBezTo>
                  <a:pt x="9348" y="11312"/>
                  <a:pt x="10233" y="11312"/>
                  <a:pt x="10777" y="10769"/>
                </a:cubicBezTo>
                <a:lnTo>
                  <a:pt x="10819" y="10728"/>
                </a:lnTo>
                <a:cubicBezTo>
                  <a:pt x="11364" y="10185"/>
                  <a:pt x="11364" y="9304"/>
                  <a:pt x="10819" y="8761"/>
                </a:cubicBezTo>
                <a:lnTo>
                  <a:pt x="10673" y="8616"/>
                </a:lnTo>
                <a:cubicBezTo>
                  <a:pt x="10828" y="8324"/>
                  <a:pt x="10956" y="8017"/>
                  <a:pt x="11051" y="7694"/>
                </a:cubicBezTo>
                <a:lnTo>
                  <a:pt x="11211" y="7694"/>
                </a:lnTo>
                <a:cubicBezTo>
                  <a:pt x="11982" y="7694"/>
                  <a:pt x="12607" y="7071"/>
                  <a:pt x="12607" y="6304"/>
                </a:cubicBezTo>
                <a:lnTo>
                  <a:pt x="12607" y="6245"/>
                </a:lnTo>
                <a:cubicBezTo>
                  <a:pt x="12607" y="5477"/>
                  <a:pt x="11982" y="4855"/>
                  <a:pt x="11212" y="4855"/>
                </a:cubicBezTo>
                <a:close/>
                <a:moveTo>
                  <a:pt x="6337" y="8498"/>
                </a:moveTo>
                <a:cubicBezTo>
                  <a:pt x="5130" y="8498"/>
                  <a:pt x="4152" y="7524"/>
                  <a:pt x="4152" y="6323"/>
                </a:cubicBezTo>
                <a:cubicBezTo>
                  <a:pt x="4152" y="5120"/>
                  <a:pt x="5130" y="4146"/>
                  <a:pt x="6337" y="4146"/>
                </a:cubicBezTo>
                <a:cubicBezTo>
                  <a:pt x="7544" y="4146"/>
                  <a:pt x="8521" y="5120"/>
                  <a:pt x="8521" y="6323"/>
                </a:cubicBezTo>
                <a:cubicBezTo>
                  <a:pt x="8521" y="7524"/>
                  <a:pt x="7544" y="8498"/>
                  <a:pt x="6337" y="8498"/>
                </a:cubicBezTo>
                <a:close/>
                <a:moveTo>
                  <a:pt x="6337" y="8498"/>
                </a:move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spTree>
    <p:custDataLst>
      <p:tags r:id="rId2"/>
    </p:custDataLst>
    <p:extLst>
      <p:ext uri="{BB962C8B-B14F-4D97-AF65-F5344CB8AC3E}">
        <p14:creationId xmlns:p14="http://schemas.microsoft.com/office/powerpoint/2010/main" val="2724339418"/>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2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椭圆 6">
            <a:extLst>
              <a:ext uri="{FF2B5EF4-FFF2-40B4-BE49-F238E27FC236}">
                <a16:creationId xmlns:a16="http://schemas.microsoft.com/office/drawing/2014/main" id="{4C0E10F9-89E3-4AFD-B2C3-DD22377F5191}"/>
              </a:ext>
            </a:extLst>
          </p:cNvPr>
          <p:cNvSpPr/>
          <p:nvPr/>
        </p:nvSpPr>
        <p:spPr>
          <a:xfrm>
            <a:off x="1539494" y="2038674"/>
            <a:ext cx="1033272" cy="103327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8" name="文本框 7">
            <a:extLst>
              <a:ext uri="{FF2B5EF4-FFF2-40B4-BE49-F238E27FC236}">
                <a16:creationId xmlns:a16="http://schemas.microsoft.com/office/drawing/2014/main" id="{76AA23A0-9848-42C9-AD03-831215440901}"/>
              </a:ext>
            </a:extLst>
          </p:cNvPr>
          <p:cNvSpPr txBox="1"/>
          <p:nvPr/>
        </p:nvSpPr>
        <p:spPr>
          <a:xfrm>
            <a:off x="1479049" y="3210630"/>
            <a:ext cx="1154162" cy="276999"/>
          </a:xfrm>
          <a:prstGeom prst="rect">
            <a:avLst/>
          </a:prstGeom>
          <a:noFill/>
        </p:spPr>
        <p:txBody>
          <a:bodyPr wrap="none" lIns="0" tIns="0" rIns="0" bIns="0" rtlCol="0" anchor="t">
            <a:spAutoFit/>
          </a:bodyPr>
          <a:lstStyle/>
          <a:p>
            <a:r>
              <a:rPr lang="zh-CN" altLang="en-US" dirty="0">
                <a:solidFill>
                  <a:schemeClr val="accent1"/>
                </a:solidFill>
                <a:latin typeface="+mj-ea"/>
                <a:ea typeface="+mj-ea"/>
              </a:rPr>
              <a:t>关键词标题</a:t>
            </a:r>
          </a:p>
        </p:txBody>
      </p:sp>
      <p:sp>
        <p:nvSpPr>
          <p:cNvPr id="9" name="文本框 8">
            <a:extLst>
              <a:ext uri="{FF2B5EF4-FFF2-40B4-BE49-F238E27FC236}">
                <a16:creationId xmlns:a16="http://schemas.microsoft.com/office/drawing/2014/main" id="{9FB62D1A-783A-4758-90BC-001B8B0D2ADC}"/>
              </a:ext>
            </a:extLst>
          </p:cNvPr>
          <p:cNvSpPr txBox="1"/>
          <p:nvPr/>
        </p:nvSpPr>
        <p:spPr>
          <a:xfrm>
            <a:off x="1318074" y="3520052"/>
            <a:ext cx="1476113" cy="826829"/>
          </a:xfrm>
          <a:prstGeom prst="rect">
            <a:avLst/>
          </a:prstGeom>
          <a:noFill/>
        </p:spPr>
        <p:txBody>
          <a:bodyPr wrap="square" lIns="0" tIns="0" rIns="0" bIns="0" rtlCol="0" anchor="t">
            <a:spAutoFit/>
          </a:bodyPr>
          <a:lstStyle/>
          <a:p>
            <a:pPr algn="ctr">
              <a:lnSpc>
                <a:spcPct val="130000"/>
              </a:lnSpc>
            </a:pPr>
            <a:r>
              <a:rPr lang="en-US" altLang="zh-CN" sz="1050" b="0" dirty="0">
                <a:solidFill>
                  <a:schemeClr val="tx1">
                    <a:lumMod val="75000"/>
                    <a:lumOff val="25000"/>
                  </a:schemeClr>
                </a:solidFill>
                <a:effectLst/>
                <a:latin typeface="+mn-ea"/>
              </a:rPr>
              <a:t>Lorem ipsum dolor sit amet, consectetur adipisicing elit, sed do eiusmod tempor</a:t>
            </a:r>
            <a:endParaRPr lang="zh-CN" altLang="en-US" sz="1050" b="0" dirty="0">
              <a:solidFill>
                <a:schemeClr val="tx1">
                  <a:lumMod val="75000"/>
                  <a:lumOff val="25000"/>
                </a:schemeClr>
              </a:solidFill>
              <a:effectLst/>
              <a:latin typeface="+mn-ea"/>
            </a:endParaRPr>
          </a:p>
        </p:txBody>
      </p:sp>
      <p:sp>
        <p:nvSpPr>
          <p:cNvPr id="10" name="文本框 9">
            <a:extLst>
              <a:ext uri="{FF2B5EF4-FFF2-40B4-BE49-F238E27FC236}">
                <a16:creationId xmlns:a16="http://schemas.microsoft.com/office/drawing/2014/main" id="{3A6FD94F-D05A-4D5F-9BE1-73B6AA87542D}"/>
              </a:ext>
            </a:extLst>
          </p:cNvPr>
          <p:cNvSpPr txBox="1"/>
          <p:nvPr/>
        </p:nvSpPr>
        <p:spPr>
          <a:xfrm>
            <a:off x="1318074" y="4525892"/>
            <a:ext cx="1476113" cy="826829"/>
          </a:xfrm>
          <a:prstGeom prst="rect">
            <a:avLst/>
          </a:prstGeom>
          <a:noFill/>
        </p:spPr>
        <p:txBody>
          <a:bodyPr wrap="square" lIns="0" tIns="0" rIns="0" bIns="0" rtlCol="0" anchor="t">
            <a:spAutoFit/>
          </a:bodyPr>
          <a:lstStyle/>
          <a:p>
            <a:pPr algn="ctr">
              <a:lnSpc>
                <a:spcPct val="130000"/>
              </a:lnSpc>
            </a:pPr>
            <a:r>
              <a:rPr lang="en-US" altLang="zh-CN" sz="1050" b="0" dirty="0">
                <a:solidFill>
                  <a:schemeClr val="tx1">
                    <a:lumMod val="75000"/>
                    <a:lumOff val="25000"/>
                  </a:schemeClr>
                </a:solidFill>
                <a:effectLst/>
                <a:latin typeface="+mn-ea"/>
              </a:rPr>
              <a:t>Lorem ipsum dolor sit amet, consectetur adipisicing elit, sed do eiusmod tempor</a:t>
            </a:r>
            <a:endParaRPr lang="zh-CN" altLang="en-US" sz="1050" b="0" dirty="0">
              <a:solidFill>
                <a:schemeClr val="tx1">
                  <a:lumMod val="75000"/>
                  <a:lumOff val="25000"/>
                </a:schemeClr>
              </a:solidFill>
              <a:effectLst/>
              <a:latin typeface="+mn-ea"/>
            </a:endParaRPr>
          </a:p>
        </p:txBody>
      </p:sp>
      <p:sp>
        <p:nvSpPr>
          <p:cNvPr id="27" name="iconfont-1191-801535">
            <a:extLst>
              <a:ext uri="{FF2B5EF4-FFF2-40B4-BE49-F238E27FC236}">
                <a16:creationId xmlns:a16="http://schemas.microsoft.com/office/drawing/2014/main" id="{DEBDB001-C052-477C-98AC-E123310B9340}"/>
              </a:ext>
            </a:extLst>
          </p:cNvPr>
          <p:cNvSpPr/>
          <p:nvPr/>
        </p:nvSpPr>
        <p:spPr>
          <a:xfrm>
            <a:off x="1885347" y="2363541"/>
            <a:ext cx="348680" cy="442386"/>
          </a:xfrm>
          <a:custGeom>
            <a:avLst/>
            <a:gdLst>
              <a:gd name="T0" fmla="*/ 3166 w 6332"/>
              <a:gd name="T1" fmla="*/ 0 h 8034"/>
              <a:gd name="T2" fmla="*/ 0 w 6332"/>
              <a:gd name="T3" fmla="*/ 3166 h 8034"/>
              <a:gd name="T4" fmla="*/ 2481 w 6332"/>
              <a:gd name="T5" fmla="*/ 7590 h 8034"/>
              <a:gd name="T6" fmla="*/ 3853 w 6332"/>
              <a:gd name="T7" fmla="*/ 7588 h 8034"/>
              <a:gd name="T8" fmla="*/ 6332 w 6332"/>
              <a:gd name="T9" fmla="*/ 3166 h 8034"/>
              <a:gd name="T10" fmla="*/ 3166 w 6332"/>
              <a:gd name="T11" fmla="*/ 0 h 8034"/>
              <a:gd name="T12" fmla="*/ 3166 w 6332"/>
              <a:gd name="T13" fmla="*/ 0 h 8034"/>
              <a:gd name="T14" fmla="*/ 3166 w 6332"/>
              <a:gd name="T15" fmla="*/ 0 h 8034"/>
              <a:gd name="T16" fmla="*/ 3166 w 6332"/>
              <a:gd name="T17" fmla="*/ 0 h 8034"/>
              <a:gd name="T18" fmla="*/ 3166 w 6332"/>
              <a:gd name="T19" fmla="*/ 4529 h 8034"/>
              <a:gd name="T20" fmla="*/ 1702 w 6332"/>
              <a:gd name="T21" fmla="*/ 3065 h 8034"/>
              <a:gd name="T22" fmla="*/ 3166 w 6332"/>
              <a:gd name="T23" fmla="*/ 1600 h 8034"/>
              <a:gd name="T24" fmla="*/ 4630 w 6332"/>
              <a:gd name="T25" fmla="*/ 3065 h 8034"/>
              <a:gd name="T26" fmla="*/ 3166 w 6332"/>
              <a:gd name="T27" fmla="*/ 4529 h 8034"/>
              <a:gd name="T28" fmla="*/ 3166 w 6332"/>
              <a:gd name="T29" fmla="*/ 4529 h 8034"/>
              <a:gd name="T30" fmla="*/ 3166 w 6332"/>
              <a:gd name="T31" fmla="*/ 4529 h 8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332" h="8034">
                <a:moveTo>
                  <a:pt x="3166" y="0"/>
                </a:moveTo>
                <a:cubicBezTo>
                  <a:pt x="1418" y="0"/>
                  <a:pt x="0" y="1418"/>
                  <a:pt x="0" y="3166"/>
                </a:cubicBezTo>
                <a:cubicBezTo>
                  <a:pt x="0" y="4914"/>
                  <a:pt x="2481" y="7590"/>
                  <a:pt x="2481" y="7590"/>
                </a:cubicBezTo>
                <a:cubicBezTo>
                  <a:pt x="2859" y="8031"/>
                  <a:pt x="3478" y="8034"/>
                  <a:pt x="3853" y="7588"/>
                </a:cubicBezTo>
                <a:cubicBezTo>
                  <a:pt x="3853" y="7588"/>
                  <a:pt x="6332" y="4914"/>
                  <a:pt x="6332" y="3166"/>
                </a:cubicBezTo>
                <a:cubicBezTo>
                  <a:pt x="6332" y="1418"/>
                  <a:pt x="4914" y="0"/>
                  <a:pt x="3166" y="0"/>
                </a:cubicBezTo>
                <a:lnTo>
                  <a:pt x="3166" y="0"/>
                </a:lnTo>
                <a:lnTo>
                  <a:pt x="3166" y="0"/>
                </a:lnTo>
                <a:lnTo>
                  <a:pt x="3166" y="0"/>
                </a:lnTo>
                <a:close/>
                <a:moveTo>
                  <a:pt x="3166" y="4529"/>
                </a:moveTo>
                <a:cubicBezTo>
                  <a:pt x="2357" y="4529"/>
                  <a:pt x="1702" y="3874"/>
                  <a:pt x="1702" y="3065"/>
                </a:cubicBezTo>
                <a:cubicBezTo>
                  <a:pt x="1702" y="2256"/>
                  <a:pt x="2357" y="1600"/>
                  <a:pt x="3166" y="1600"/>
                </a:cubicBezTo>
                <a:cubicBezTo>
                  <a:pt x="3975" y="1600"/>
                  <a:pt x="4630" y="2256"/>
                  <a:pt x="4630" y="3065"/>
                </a:cubicBezTo>
                <a:cubicBezTo>
                  <a:pt x="4630" y="3874"/>
                  <a:pt x="3975" y="4529"/>
                  <a:pt x="3166" y="4529"/>
                </a:cubicBezTo>
                <a:lnTo>
                  <a:pt x="3166" y="4529"/>
                </a:lnTo>
                <a:close/>
                <a:moveTo>
                  <a:pt x="3166" y="4529"/>
                </a:move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椭圆 12">
            <a:extLst>
              <a:ext uri="{FF2B5EF4-FFF2-40B4-BE49-F238E27FC236}">
                <a16:creationId xmlns:a16="http://schemas.microsoft.com/office/drawing/2014/main" id="{B9BBAAE6-7823-478E-888F-48FC8DD8BC84}"/>
              </a:ext>
            </a:extLst>
          </p:cNvPr>
          <p:cNvSpPr/>
          <p:nvPr/>
        </p:nvSpPr>
        <p:spPr>
          <a:xfrm>
            <a:off x="4092194" y="2038674"/>
            <a:ext cx="1033272" cy="103327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14" name="文本框 13">
            <a:extLst>
              <a:ext uri="{FF2B5EF4-FFF2-40B4-BE49-F238E27FC236}">
                <a16:creationId xmlns:a16="http://schemas.microsoft.com/office/drawing/2014/main" id="{5A7478EE-50EC-4936-856E-6310B4DFC8A1}"/>
              </a:ext>
            </a:extLst>
          </p:cNvPr>
          <p:cNvSpPr txBox="1"/>
          <p:nvPr/>
        </p:nvSpPr>
        <p:spPr>
          <a:xfrm>
            <a:off x="4031749" y="3210630"/>
            <a:ext cx="1154162" cy="276999"/>
          </a:xfrm>
          <a:prstGeom prst="rect">
            <a:avLst/>
          </a:prstGeom>
          <a:noFill/>
        </p:spPr>
        <p:txBody>
          <a:bodyPr wrap="none" lIns="0" tIns="0" rIns="0" bIns="0" rtlCol="0" anchor="t">
            <a:spAutoFit/>
          </a:bodyPr>
          <a:lstStyle/>
          <a:p>
            <a:r>
              <a:rPr lang="zh-CN" altLang="en-US" dirty="0">
                <a:solidFill>
                  <a:schemeClr val="accent1"/>
                </a:solidFill>
                <a:latin typeface="+mj-ea"/>
                <a:ea typeface="+mj-ea"/>
              </a:rPr>
              <a:t>关键词标题</a:t>
            </a:r>
          </a:p>
        </p:txBody>
      </p:sp>
      <p:sp>
        <p:nvSpPr>
          <p:cNvPr id="15" name="文本框 14">
            <a:extLst>
              <a:ext uri="{FF2B5EF4-FFF2-40B4-BE49-F238E27FC236}">
                <a16:creationId xmlns:a16="http://schemas.microsoft.com/office/drawing/2014/main" id="{734360FC-D1D8-4B0A-BBEB-9458AB7CD52F}"/>
              </a:ext>
            </a:extLst>
          </p:cNvPr>
          <p:cNvSpPr txBox="1"/>
          <p:nvPr/>
        </p:nvSpPr>
        <p:spPr>
          <a:xfrm>
            <a:off x="3870774" y="3520052"/>
            <a:ext cx="1476113" cy="826829"/>
          </a:xfrm>
          <a:prstGeom prst="rect">
            <a:avLst/>
          </a:prstGeom>
          <a:noFill/>
        </p:spPr>
        <p:txBody>
          <a:bodyPr wrap="square" lIns="0" tIns="0" rIns="0" bIns="0" rtlCol="0" anchor="t">
            <a:spAutoFit/>
          </a:bodyPr>
          <a:lstStyle/>
          <a:p>
            <a:pPr algn="ctr">
              <a:lnSpc>
                <a:spcPct val="130000"/>
              </a:lnSpc>
            </a:pPr>
            <a:r>
              <a:rPr lang="en-US" altLang="zh-CN" sz="1050" b="0" dirty="0">
                <a:solidFill>
                  <a:schemeClr val="tx1">
                    <a:lumMod val="75000"/>
                    <a:lumOff val="25000"/>
                  </a:schemeClr>
                </a:solidFill>
                <a:effectLst/>
                <a:latin typeface="+mn-ea"/>
              </a:rPr>
              <a:t>Lorem ipsum dolor sit amet, consectetur adipisicing elit, sed do eiusmod tempor</a:t>
            </a:r>
            <a:endParaRPr lang="zh-CN" altLang="en-US" sz="1050" b="0" dirty="0">
              <a:solidFill>
                <a:schemeClr val="tx1">
                  <a:lumMod val="75000"/>
                  <a:lumOff val="25000"/>
                </a:schemeClr>
              </a:solidFill>
              <a:effectLst/>
              <a:latin typeface="+mn-ea"/>
            </a:endParaRPr>
          </a:p>
        </p:txBody>
      </p:sp>
      <p:sp>
        <p:nvSpPr>
          <p:cNvPr id="16" name="文本框 15">
            <a:extLst>
              <a:ext uri="{FF2B5EF4-FFF2-40B4-BE49-F238E27FC236}">
                <a16:creationId xmlns:a16="http://schemas.microsoft.com/office/drawing/2014/main" id="{1C94AC6F-19BE-45E9-A33D-8D341AC1D6FB}"/>
              </a:ext>
            </a:extLst>
          </p:cNvPr>
          <p:cNvSpPr txBox="1"/>
          <p:nvPr/>
        </p:nvSpPr>
        <p:spPr>
          <a:xfrm>
            <a:off x="3870774" y="4525892"/>
            <a:ext cx="1476113" cy="826829"/>
          </a:xfrm>
          <a:prstGeom prst="rect">
            <a:avLst/>
          </a:prstGeom>
          <a:noFill/>
        </p:spPr>
        <p:txBody>
          <a:bodyPr wrap="square" lIns="0" tIns="0" rIns="0" bIns="0" rtlCol="0" anchor="t">
            <a:spAutoFit/>
          </a:bodyPr>
          <a:lstStyle/>
          <a:p>
            <a:pPr algn="ctr">
              <a:lnSpc>
                <a:spcPct val="130000"/>
              </a:lnSpc>
            </a:pPr>
            <a:r>
              <a:rPr lang="en-US" altLang="zh-CN" sz="1050" b="0" dirty="0">
                <a:solidFill>
                  <a:schemeClr val="tx1">
                    <a:lumMod val="75000"/>
                    <a:lumOff val="25000"/>
                  </a:schemeClr>
                </a:solidFill>
                <a:effectLst/>
                <a:latin typeface="+mn-ea"/>
              </a:rPr>
              <a:t>Lorem ipsum dolor sit amet, consectetur adipisicing elit, sed do eiusmod tempor</a:t>
            </a:r>
            <a:endParaRPr lang="zh-CN" altLang="en-US" sz="1050" b="0" dirty="0">
              <a:solidFill>
                <a:schemeClr val="tx1">
                  <a:lumMod val="75000"/>
                  <a:lumOff val="25000"/>
                </a:schemeClr>
              </a:solidFill>
              <a:effectLst/>
              <a:latin typeface="+mn-ea"/>
            </a:endParaRPr>
          </a:p>
        </p:txBody>
      </p:sp>
      <p:sp>
        <p:nvSpPr>
          <p:cNvPr id="29" name="iconfont-1191-801535">
            <a:extLst>
              <a:ext uri="{FF2B5EF4-FFF2-40B4-BE49-F238E27FC236}">
                <a16:creationId xmlns:a16="http://schemas.microsoft.com/office/drawing/2014/main" id="{8C705E5F-F350-4B8D-AA5B-0F9BE2911368}"/>
              </a:ext>
            </a:extLst>
          </p:cNvPr>
          <p:cNvSpPr/>
          <p:nvPr/>
        </p:nvSpPr>
        <p:spPr>
          <a:xfrm>
            <a:off x="4387637" y="2417944"/>
            <a:ext cx="442386" cy="333579"/>
          </a:xfrm>
          <a:custGeom>
            <a:avLst/>
            <a:gdLst>
              <a:gd name="T0" fmla="*/ 10397 w 12867"/>
              <a:gd name="T1" fmla="*/ 3762 h 9701"/>
              <a:gd name="T2" fmla="*/ 12479 w 12867"/>
              <a:gd name="T3" fmla="*/ 6910 h 9701"/>
              <a:gd name="T4" fmla="*/ 12802 w 12867"/>
              <a:gd name="T5" fmla="*/ 9701 h 9701"/>
              <a:gd name="T6" fmla="*/ 12096 w 12867"/>
              <a:gd name="T7" fmla="*/ 8604 h 9701"/>
              <a:gd name="T8" fmla="*/ 9701 w 12867"/>
              <a:gd name="T9" fmla="*/ 6645 h 9701"/>
              <a:gd name="T10" fmla="*/ 6140 w 12867"/>
              <a:gd name="T11" fmla="*/ 6140 h 9701"/>
              <a:gd name="T12" fmla="*/ 6140 w 12867"/>
              <a:gd name="T13" fmla="*/ 8699 h 9701"/>
              <a:gd name="T14" fmla="*/ 0 w 12867"/>
              <a:gd name="T15" fmla="*/ 4350 h 9701"/>
              <a:gd name="T16" fmla="*/ 6140 w 12867"/>
              <a:gd name="T17" fmla="*/ 0 h 9701"/>
              <a:gd name="T18" fmla="*/ 6140 w 12867"/>
              <a:gd name="T19" fmla="*/ 2583 h 9701"/>
              <a:gd name="T20" fmla="*/ 8386 w 12867"/>
              <a:gd name="T21" fmla="*/ 2853 h 9701"/>
              <a:gd name="T22" fmla="*/ 10397 w 12867"/>
              <a:gd name="T23" fmla="*/ 3762 h 9701"/>
              <a:gd name="T24" fmla="*/ 10397 w 12867"/>
              <a:gd name="T25" fmla="*/ 3762 h 97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867" h="9701">
                <a:moveTo>
                  <a:pt x="10397" y="3762"/>
                </a:moveTo>
                <a:cubicBezTo>
                  <a:pt x="11157" y="4215"/>
                  <a:pt x="12090" y="5438"/>
                  <a:pt x="12479" y="6910"/>
                </a:cubicBezTo>
                <a:cubicBezTo>
                  <a:pt x="12867" y="8382"/>
                  <a:pt x="12802" y="9701"/>
                  <a:pt x="12802" y="9701"/>
                </a:cubicBezTo>
                <a:cubicBezTo>
                  <a:pt x="12802" y="9701"/>
                  <a:pt x="12300" y="8889"/>
                  <a:pt x="12096" y="8604"/>
                </a:cubicBezTo>
                <a:cubicBezTo>
                  <a:pt x="11892" y="8320"/>
                  <a:pt x="11034" y="7260"/>
                  <a:pt x="9701" y="6645"/>
                </a:cubicBezTo>
                <a:cubicBezTo>
                  <a:pt x="8368" y="6031"/>
                  <a:pt x="6140" y="6140"/>
                  <a:pt x="6140" y="6140"/>
                </a:cubicBezTo>
                <a:lnTo>
                  <a:pt x="6140" y="8699"/>
                </a:lnTo>
                <a:lnTo>
                  <a:pt x="0" y="4350"/>
                </a:lnTo>
                <a:lnTo>
                  <a:pt x="6140" y="0"/>
                </a:lnTo>
                <a:lnTo>
                  <a:pt x="6140" y="2583"/>
                </a:lnTo>
                <a:cubicBezTo>
                  <a:pt x="6140" y="2583"/>
                  <a:pt x="7615" y="2694"/>
                  <a:pt x="8386" y="2853"/>
                </a:cubicBezTo>
                <a:cubicBezTo>
                  <a:pt x="9685" y="3122"/>
                  <a:pt x="10397" y="3762"/>
                  <a:pt x="10397" y="3762"/>
                </a:cubicBezTo>
                <a:close/>
                <a:moveTo>
                  <a:pt x="10397" y="3762"/>
                </a:move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sp>
        <p:nvSpPr>
          <p:cNvPr id="18" name="椭圆 17">
            <a:extLst>
              <a:ext uri="{FF2B5EF4-FFF2-40B4-BE49-F238E27FC236}">
                <a16:creationId xmlns:a16="http://schemas.microsoft.com/office/drawing/2014/main" id="{6C0F6AFD-5E39-4265-8A74-954E4AF31212}"/>
              </a:ext>
            </a:extLst>
          </p:cNvPr>
          <p:cNvSpPr/>
          <p:nvPr/>
        </p:nvSpPr>
        <p:spPr>
          <a:xfrm>
            <a:off x="6644894" y="2038674"/>
            <a:ext cx="1033272" cy="103327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19" name="文本框 18">
            <a:extLst>
              <a:ext uri="{FF2B5EF4-FFF2-40B4-BE49-F238E27FC236}">
                <a16:creationId xmlns:a16="http://schemas.microsoft.com/office/drawing/2014/main" id="{04DA1F32-AEFF-4361-8DC9-4CDA016DC5D3}"/>
              </a:ext>
            </a:extLst>
          </p:cNvPr>
          <p:cNvSpPr txBox="1"/>
          <p:nvPr/>
        </p:nvSpPr>
        <p:spPr>
          <a:xfrm>
            <a:off x="6584449" y="3210630"/>
            <a:ext cx="1154162" cy="276999"/>
          </a:xfrm>
          <a:prstGeom prst="rect">
            <a:avLst/>
          </a:prstGeom>
          <a:noFill/>
        </p:spPr>
        <p:txBody>
          <a:bodyPr wrap="none" lIns="0" tIns="0" rIns="0" bIns="0" rtlCol="0" anchor="t">
            <a:spAutoFit/>
          </a:bodyPr>
          <a:lstStyle/>
          <a:p>
            <a:r>
              <a:rPr lang="zh-CN" altLang="en-US" dirty="0">
                <a:solidFill>
                  <a:schemeClr val="accent1"/>
                </a:solidFill>
                <a:latin typeface="+mj-ea"/>
                <a:ea typeface="+mj-ea"/>
              </a:rPr>
              <a:t>关键词标题</a:t>
            </a:r>
          </a:p>
        </p:txBody>
      </p:sp>
      <p:sp>
        <p:nvSpPr>
          <p:cNvPr id="20" name="文本框 19">
            <a:extLst>
              <a:ext uri="{FF2B5EF4-FFF2-40B4-BE49-F238E27FC236}">
                <a16:creationId xmlns:a16="http://schemas.microsoft.com/office/drawing/2014/main" id="{1FFF8F2B-F5E7-4DEB-A168-7BCCCFCADDB8}"/>
              </a:ext>
            </a:extLst>
          </p:cNvPr>
          <p:cNvSpPr txBox="1"/>
          <p:nvPr/>
        </p:nvSpPr>
        <p:spPr>
          <a:xfrm>
            <a:off x="6423474" y="3520052"/>
            <a:ext cx="1476113" cy="826829"/>
          </a:xfrm>
          <a:prstGeom prst="rect">
            <a:avLst/>
          </a:prstGeom>
          <a:noFill/>
        </p:spPr>
        <p:txBody>
          <a:bodyPr wrap="square" lIns="0" tIns="0" rIns="0" bIns="0" rtlCol="0" anchor="t">
            <a:spAutoFit/>
          </a:bodyPr>
          <a:lstStyle/>
          <a:p>
            <a:pPr algn="ctr">
              <a:lnSpc>
                <a:spcPct val="130000"/>
              </a:lnSpc>
            </a:pPr>
            <a:r>
              <a:rPr lang="en-US" altLang="zh-CN" sz="1050" b="0" dirty="0">
                <a:solidFill>
                  <a:schemeClr val="tx1">
                    <a:lumMod val="75000"/>
                    <a:lumOff val="25000"/>
                  </a:schemeClr>
                </a:solidFill>
                <a:effectLst/>
                <a:latin typeface="+mn-ea"/>
              </a:rPr>
              <a:t>Lorem ipsum dolor sit amet, consectetur adipisicing elit, sed do eiusmod tempor</a:t>
            </a:r>
            <a:endParaRPr lang="zh-CN" altLang="en-US" sz="1050" b="0" dirty="0">
              <a:solidFill>
                <a:schemeClr val="tx1">
                  <a:lumMod val="75000"/>
                  <a:lumOff val="25000"/>
                </a:schemeClr>
              </a:solidFill>
              <a:effectLst/>
              <a:latin typeface="+mn-ea"/>
            </a:endParaRPr>
          </a:p>
        </p:txBody>
      </p:sp>
      <p:sp>
        <p:nvSpPr>
          <p:cNvPr id="21" name="文本框 20">
            <a:extLst>
              <a:ext uri="{FF2B5EF4-FFF2-40B4-BE49-F238E27FC236}">
                <a16:creationId xmlns:a16="http://schemas.microsoft.com/office/drawing/2014/main" id="{67ED8A6C-666A-4306-9123-99E218377FA1}"/>
              </a:ext>
            </a:extLst>
          </p:cNvPr>
          <p:cNvSpPr txBox="1"/>
          <p:nvPr/>
        </p:nvSpPr>
        <p:spPr>
          <a:xfrm>
            <a:off x="6423474" y="4525892"/>
            <a:ext cx="1476113" cy="826829"/>
          </a:xfrm>
          <a:prstGeom prst="rect">
            <a:avLst/>
          </a:prstGeom>
          <a:noFill/>
        </p:spPr>
        <p:txBody>
          <a:bodyPr wrap="square" lIns="0" tIns="0" rIns="0" bIns="0" rtlCol="0" anchor="t">
            <a:spAutoFit/>
          </a:bodyPr>
          <a:lstStyle/>
          <a:p>
            <a:pPr algn="ctr">
              <a:lnSpc>
                <a:spcPct val="130000"/>
              </a:lnSpc>
            </a:pPr>
            <a:r>
              <a:rPr lang="en-US" altLang="zh-CN" sz="1050" b="0" dirty="0">
                <a:solidFill>
                  <a:schemeClr val="tx1">
                    <a:lumMod val="75000"/>
                    <a:lumOff val="25000"/>
                  </a:schemeClr>
                </a:solidFill>
                <a:effectLst/>
                <a:latin typeface="+mn-ea"/>
              </a:rPr>
              <a:t>Lorem ipsum dolor sit amet, consectetur adipisicing elit, sed do eiusmod tempor</a:t>
            </a:r>
            <a:endParaRPr lang="zh-CN" altLang="en-US" sz="1050" b="0" dirty="0">
              <a:solidFill>
                <a:schemeClr val="tx1">
                  <a:lumMod val="75000"/>
                  <a:lumOff val="25000"/>
                </a:schemeClr>
              </a:solidFill>
              <a:effectLst/>
              <a:latin typeface="+mn-ea"/>
            </a:endParaRPr>
          </a:p>
        </p:txBody>
      </p:sp>
      <p:sp>
        <p:nvSpPr>
          <p:cNvPr id="31" name="iconfont-1191-801535">
            <a:extLst>
              <a:ext uri="{FF2B5EF4-FFF2-40B4-BE49-F238E27FC236}">
                <a16:creationId xmlns:a16="http://schemas.microsoft.com/office/drawing/2014/main" id="{DC937E89-3317-4877-954E-D4B7867BFBA8}"/>
              </a:ext>
            </a:extLst>
          </p:cNvPr>
          <p:cNvSpPr/>
          <p:nvPr/>
        </p:nvSpPr>
        <p:spPr>
          <a:xfrm>
            <a:off x="6972225" y="2334300"/>
            <a:ext cx="378610" cy="442386"/>
          </a:xfrm>
          <a:custGeom>
            <a:avLst/>
            <a:gdLst>
              <a:gd name="T0" fmla="*/ 8209 w 10908"/>
              <a:gd name="T1" fmla="*/ 2143 h 12744"/>
              <a:gd name="T2" fmla="*/ 8209 w 10908"/>
              <a:gd name="T3" fmla="*/ 1057 h 12744"/>
              <a:gd name="T4" fmla="*/ 7124 w 10908"/>
              <a:gd name="T5" fmla="*/ 0 h 12744"/>
              <a:gd name="T6" fmla="*/ 3840 w 10908"/>
              <a:gd name="T7" fmla="*/ 0 h 12744"/>
              <a:gd name="T8" fmla="*/ 2755 w 10908"/>
              <a:gd name="T9" fmla="*/ 1057 h 12744"/>
              <a:gd name="T10" fmla="*/ 2755 w 10908"/>
              <a:gd name="T11" fmla="*/ 2115 h 12744"/>
              <a:gd name="T12" fmla="*/ 0 w 10908"/>
              <a:gd name="T13" fmla="*/ 2115 h 12744"/>
              <a:gd name="T14" fmla="*/ 0 w 10908"/>
              <a:gd name="T15" fmla="*/ 3172 h 12744"/>
              <a:gd name="T16" fmla="*/ 1085 w 10908"/>
              <a:gd name="T17" fmla="*/ 3172 h 12744"/>
              <a:gd name="T18" fmla="*/ 1085 w 10908"/>
              <a:gd name="T19" fmla="*/ 11687 h 12744"/>
              <a:gd name="T20" fmla="*/ 2171 w 10908"/>
              <a:gd name="T21" fmla="*/ 12744 h 12744"/>
              <a:gd name="T22" fmla="*/ 8738 w 10908"/>
              <a:gd name="T23" fmla="*/ 12744 h 12744"/>
              <a:gd name="T24" fmla="*/ 9823 w 10908"/>
              <a:gd name="T25" fmla="*/ 11687 h 12744"/>
              <a:gd name="T26" fmla="*/ 9823 w 10908"/>
              <a:gd name="T27" fmla="*/ 3200 h 12744"/>
              <a:gd name="T28" fmla="*/ 10908 w 10908"/>
              <a:gd name="T29" fmla="*/ 3200 h 12744"/>
              <a:gd name="T30" fmla="*/ 10908 w 10908"/>
              <a:gd name="T31" fmla="*/ 2143 h 12744"/>
              <a:gd name="T32" fmla="*/ 8209 w 10908"/>
              <a:gd name="T33" fmla="*/ 2143 h 12744"/>
              <a:gd name="T34" fmla="*/ 4870 w 10908"/>
              <a:gd name="T35" fmla="*/ 10963 h 12744"/>
              <a:gd name="T36" fmla="*/ 3645 w 10908"/>
              <a:gd name="T37" fmla="*/ 10963 h 12744"/>
              <a:gd name="T38" fmla="*/ 3645 w 10908"/>
              <a:gd name="T39" fmla="*/ 4257 h 12744"/>
              <a:gd name="T40" fmla="*/ 4870 w 10908"/>
              <a:gd name="T41" fmla="*/ 4257 h 12744"/>
              <a:gd name="T42" fmla="*/ 4870 w 10908"/>
              <a:gd name="T43" fmla="*/ 10963 h 12744"/>
              <a:gd name="T44" fmla="*/ 7319 w 10908"/>
              <a:gd name="T45" fmla="*/ 10963 h 12744"/>
              <a:gd name="T46" fmla="*/ 6094 w 10908"/>
              <a:gd name="T47" fmla="*/ 10963 h 12744"/>
              <a:gd name="T48" fmla="*/ 6094 w 10908"/>
              <a:gd name="T49" fmla="*/ 4257 h 12744"/>
              <a:gd name="T50" fmla="*/ 7319 w 10908"/>
              <a:gd name="T51" fmla="*/ 4257 h 12744"/>
              <a:gd name="T52" fmla="*/ 7319 w 10908"/>
              <a:gd name="T53" fmla="*/ 10963 h 127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0908" h="12744">
                <a:moveTo>
                  <a:pt x="8209" y="2143"/>
                </a:moveTo>
                <a:lnTo>
                  <a:pt x="8209" y="1057"/>
                </a:lnTo>
                <a:cubicBezTo>
                  <a:pt x="8209" y="473"/>
                  <a:pt x="7708" y="0"/>
                  <a:pt x="7124" y="0"/>
                </a:cubicBezTo>
                <a:lnTo>
                  <a:pt x="3840" y="0"/>
                </a:lnTo>
                <a:cubicBezTo>
                  <a:pt x="3228" y="0"/>
                  <a:pt x="2755" y="473"/>
                  <a:pt x="2755" y="1057"/>
                </a:cubicBezTo>
                <a:lnTo>
                  <a:pt x="2755" y="2115"/>
                </a:lnTo>
                <a:lnTo>
                  <a:pt x="0" y="2115"/>
                </a:lnTo>
                <a:lnTo>
                  <a:pt x="0" y="3172"/>
                </a:lnTo>
                <a:lnTo>
                  <a:pt x="1085" y="3172"/>
                </a:lnTo>
                <a:lnTo>
                  <a:pt x="1085" y="11687"/>
                </a:lnTo>
                <a:cubicBezTo>
                  <a:pt x="1085" y="12271"/>
                  <a:pt x="1586" y="12744"/>
                  <a:pt x="2171" y="12744"/>
                </a:cubicBezTo>
                <a:lnTo>
                  <a:pt x="8738" y="12744"/>
                </a:lnTo>
                <a:cubicBezTo>
                  <a:pt x="9350" y="12744"/>
                  <a:pt x="9823" y="12271"/>
                  <a:pt x="9823" y="11687"/>
                </a:cubicBezTo>
                <a:lnTo>
                  <a:pt x="9823" y="3200"/>
                </a:lnTo>
                <a:lnTo>
                  <a:pt x="10908" y="3200"/>
                </a:lnTo>
                <a:lnTo>
                  <a:pt x="10908" y="2143"/>
                </a:lnTo>
                <a:lnTo>
                  <a:pt x="8209" y="2143"/>
                </a:lnTo>
                <a:close/>
                <a:moveTo>
                  <a:pt x="4870" y="10963"/>
                </a:moveTo>
                <a:lnTo>
                  <a:pt x="3645" y="10963"/>
                </a:lnTo>
                <a:lnTo>
                  <a:pt x="3645" y="4257"/>
                </a:lnTo>
                <a:lnTo>
                  <a:pt x="4870" y="4257"/>
                </a:lnTo>
                <a:lnTo>
                  <a:pt x="4870" y="10963"/>
                </a:lnTo>
                <a:close/>
                <a:moveTo>
                  <a:pt x="7319" y="10963"/>
                </a:moveTo>
                <a:lnTo>
                  <a:pt x="6094" y="10963"/>
                </a:lnTo>
                <a:lnTo>
                  <a:pt x="6094" y="4257"/>
                </a:lnTo>
                <a:lnTo>
                  <a:pt x="7319" y="4257"/>
                </a:lnTo>
                <a:lnTo>
                  <a:pt x="7319" y="1096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sp>
        <p:nvSpPr>
          <p:cNvPr id="23" name="椭圆 22">
            <a:extLst>
              <a:ext uri="{FF2B5EF4-FFF2-40B4-BE49-F238E27FC236}">
                <a16:creationId xmlns:a16="http://schemas.microsoft.com/office/drawing/2014/main" id="{F9C8371D-B760-4F68-A051-59FDFC390E2C}"/>
              </a:ext>
            </a:extLst>
          </p:cNvPr>
          <p:cNvSpPr/>
          <p:nvPr/>
        </p:nvSpPr>
        <p:spPr>
          <a:xfrm>
            <a:off x="9197594" y="2038674"/>
            <a:ext cx="1033272" cy="103327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24" name="文本框 23">
            <a:extLst>
              <a:ext uri="{FF2B5EF4-FFF2-40B4-BE49-F238E27FC236}">
                <a16:creationId xmlns:a16="http://schemas.microsoft.com/office/drawing/2014/main" id="{AC4D4D0D-E20C-49A5-97DE-8397EA7DDA85}"/>
              </a:ext>
            </a:extLst>
          </p:cNvPr>
          <p:cNvSpPr txBox="1"/>
          <p:nvPr/>
        </p:nvSpPr>
        <p:spPr>
          <a:xfrm>
            <a:off x="9137149" y="3210630"/>
            <a:ext cx="1154162" cy="276999"/>
          </a:xfrm>
          <a:prstGeom prst="rect">
            <a:avLst/>
          </a:prstGeom>
          <a:noFill/>
        </p:spPr>
        <p:txBody>
          <a:bodyPr wrap="none" lIns="0" tIns="0" rIns="0" bIns="0" rtlCol="0" anchor="t">
            <a:spAutoFit/>
          </a:bodyPr>
          <a:lstStyle/>
          <a:p>
            <a:r>
              <a:rPr lang="zh-CN" altLang="en-US" dirty="0">
                <a:solidFill>
                  <a:schemeClr val="accent1"/>
                </a:solidFill>
                <a:latin typeface="+mj-ea"/>
                <a:ea typeface="+mj-ea"/>
              </a:rPr>
              <a:t>关键词标题</a:t>
            </a:r>
          </a:p>
        </p:txBody>
      </p:sp>
      <p:sp>
        <p:nvSpPr>
          <p:cNvPr id="25" name="文本框 24">
            <a:extLst>
              <a:ext uri="{FF2B5EF4-FFF2-40B4-BE49-F238E27FC236}">
                <a16:creationId xmlns:a16="http://schemas.microsoft.com/office/drawing/2014/main" id="{7DB3CF0A-0A67-4BBB-A982-8446F00D0453}"/>
              </a:ext>
            </a:extLst>
          </p:cNvPr>
          <p:cNvSpPr txBox="1"/>
          <p:nvPr/>
        </p:nvSpPr>
        <p:spPr>
          <a:xfrm>
            <a:off x="8976174" y="3520052"/>
            <a:ext cx="1476113" cy="826829"/>
          </a:xfrm>
          <a:prstGeom prst="rect">
            <a:avLst/>
          </a:prstGeom>
          <a:noFill/>
        </p:spPr>
        <p:txBody>
          <a:bodyPr wrap="square" lIns="0" tIns="0" rIns="0" bIns="0" rtlCol="0" anchor="t">
            <a:spAutoFit/>
          </a:bodyPr>
          <a:lstStyle/>
          <a:p>
            <a:pPr algn="ctr">
              <a:lnSpc>
                <a:spcPct val="130000"/>
              </a:lnSpc>
            </a:pPr>
            <a:r>
              <a:rPr lang="en-US" altLang="zh-CN" sz="1050" b="0" dirty="0">
                <a:solidFill>
                  <a:schemeClr val="tx1">
                    <a:lumMod val="75000"/>
                    <a:lumOff val="25000"/>
                  </a:schemeClr>
                </a:solidFill>
                <a:effectLst/>
                <a:latin typeface="+mn-ea"/>
              </a:rPr>
              <a:t>Lorem ipsum dolor sit amet, consectetur adipisicing elit, sed do eiusmod tempor</a:t>
            </a:r>
            <a:endParaRPr lang="zh-CN" altLang="en-US" sz="1050" b="0" dirty="0">
              <a:solidFill>
                <a:schemeClr val="tx1">
                  <a:lumMod val="75000"/>
                  <a:lumOff val="25000"/>
                </a:schemeClr>
              </a:solidFill>
              <a:effectLst/>
              <a:latin typeface="+mn-ea"/>
            </a:endParaRPr>
          </a:p>
        </p:txBody>
      </p:sp>
      <p:sp>
        <p:nvSpPr>
          <p:cNvPr id="26" name="文本框 25">
            <a:extLst>
              <a:ext uri="{FF2B5EF4-FFF2-40B4-BE49-F238E27FC236}">
                <a16:creationId xmlns:a16="http://schemas.microsoft.com/office/drawing/2014/main" id="{DFDA70B4-6AE3-4D99-A42C-33DEFE9A0237}"/>
              </a:ext>
            </a:extLst>
          </p:cNvPr>
          <p:cNvSpPr txBox="1"/>
          <p:nvPr/>
        </p:nvSpPr>
        <p:spPr>
          <a:xfrm>
            <a:off x="8976174" y="4525892"/>
            <a:ext cx="1476113" cy="826829"/>
          </a:xfrm>
          <a:prstGeom prst="rect">
            <a:avLst/>
          </a:prstGeom>
          <a:noFill/>
        </p:spPr>
        <p:txBody>
          <a:bodyPr wrap="square" lIns="0" tIns="0" rIns="0" bIns="0" rtlCol="0" anchor="t">
            <a:spAutoFit/>
          </a:bodyPr>
          <a:lstStyle/>
          <a:p>
            <a:pPr algn="ctr">
              <a:lnSpc>
                <a:spcPct val="130000"/>
              </a:lnSpc>
            </a:pPr>
            <a:r>
              <a:rPr lang="en-US" altLang="zh-CN" sz="1050" b="0" dirty="0">
                <a:solidFill>
                  <a:schemeClr val="tx1">
                    <a:lumMod val="75000"/>
                    <a:lumOff val="25000"/>
                  </a:schemeClr>
                </a:solidFill>
                <a:effectLst/>
                <a:latin typeface="+mn-ea"/>
              </a:rPr>
              <a:t>Lorem ipsum dolor sit amet, consectetur adipisicing elit, sed do eiusmod tempor</a:t>
            </a:r>
            <a:endParaRPr lang="zh-CN" altLang="en-US" sz="1050" b="0" dirty="0">
              <a:solidFill>
                <a:schemeClr val="tx1">
                  <a:lumMod val="75000"/>
                  <a:lumOff val="25000"/>
                </a:schemeClr>
              </a:solidFill>
              <a:effectLst/>
              <a:latin typeface="+mn-ea"/>
            </a:endParaRPr>
          </a:p>
        </p:txBody>
      </p:sp>
      <p:sp>
        <p:nvSpPr>
          <p:cNvPr id="33" name="iconfont-1191-801535">
            <a:extLst>
              <a:ext uri="{FF2B5EF4-FFF2-40B4-BE49-F238E27FC236}">
                <a16:creationId xmlns:a16="http://schemas.microsoft.com/office/drawing/2014/main" id="{1351F595-EE8D-4893-9DA5-859D7A267273}"/>
              </a:ext>
            </a:extLst>
          </p:cNvPr>
          <p:cNvSpPr/>
          <p:nvPr/>
        </p:nvSpPr>
        <p:spPr>
          <a:xfrm>
            <a:off x="9493037" y="2334300"/>
            <a:ext cx="442386" cy="442020"/>
          </a:xfrm>
          <a:custGeom>
            <a:avLst/>
            <a:gdLst>
              <a:gd name="T0" fmla="*/ 11212 w 12607"/>
              <a:gd name="T1" fmla="*/ 4855 h 12594"/>
              <a:gd name="T2" fmla="*/ 11019 w 12607"/>
              <a:gd name="T3" fmla="*/ 4855 h 12594"/>
              <a:gd name="T4" fmla="*/ 10644 w 12607"/>
              <a:gd name="T5" fmla="*/ 3981 h 12594"/>
              <a:gd name="T6" fmla="*/ 10796 w 12607"/>
              <a:gd name="T7" fmla="*/ 3830 h 12594"/>
              <a:gd name="T8" fmla="*/ 10796 w 12607"/>
              <a:gd name="T9" fmla="*/ 1864 h 12594"/>
              <a:gd name="T10" fmla="*/ 10755 w 12607"/>
              <a:gd name="T11" fmla="*/ 1823 h 12594"/>
              <a:gd name="T12" fmla="*/ 8781 w 12607"/>
              <a:gd name="T13" fmla="*/ 1823 h 12594"/>
              <a:gd name="T14" fmla="*/ 8611 w 12607"/>
              <a:gd name="T15" fmla="*/ 1992 h 12594"/>
              <a:gd name="T16" fmla="*/ 7729 w 12607"/>
              <a:gd name="T17" fmla="*/ 1634 h 12594"/>
              <a:gd name="T18" fmla="*/ 7729 w 12607"/>
              <a:gd name="T19" fmla="*/ 1390 h 12594"/>
              <a:gd name="T20" fmla="*/ 6333 w 12607"/>
              <a:gd name="T21" fmla="*/ 0 h 12594"/>
              <a:gd name="T22" fmla="*/ 6274 w 12607"/>
              <a:gd name="T23" fmla="*/ 0 h 12594"/>
              <a:gd name="T24" fmla="*/ 4878 w 12607"/>
              <a:gd name="T25" fmla="*/ 1390 h 12594"/>
              <a:gd name="T26" fmla="*/ 4878 w 12607"/>
              <a:gd name="T27" fmla="*/ 1652 h 12594"/>
              <a:gd name="T28" fmla="*/ 4033 w 12607"/>
              <a:gd name="T29" fmla="*/ 2003 h 12594"/>
              <a:gd name="T30" fmla="*/ 3852 w 12607"/>
              <a:gd name="T31" fmla="*/ 1823 h 12594"/>
              <a:gd name="T32" fmla="*/ 1878 w 12607"/>
              <a:gd name="T33" fmla="*/ 1823 h 12594"/>
              <a:gd name="T34" fmla="*/ 1837 w 12607"/>
              <a:gd name="T35" fmla="*/ 1864 h 12594"/>
              <a:gd name="T36" fmla="*/ 1837 w 12607"/>
              <a:gd name="T37" fmla="*/ 3830 h 12594"/>
              <a:gd name="T38" fmla="*/ 2012 w 12607"/>
              <a:gd name="T39" fmla="*/ 4004 h 12594"/>
              <a:gd name="T40" fmla="*/ 1650 w 12607"/>
              <a:gd name="T41" fmla="*/ 4855 h 12594"/>
              <a:gd name="T42" fmla="*/ 1396 w 12607"/>
              <a:gd name="T43" fmla="*/ 4855 h 12594"/>
              <a:gd name="T44" fmla="*/ 0 w 12607"/>
              <a:gd name="T45" fmla="*/ 6245 h 12594"/>
              <a:gd name="T46" fmla="*/ 0 w 12607"/>
              <a:gd name="T47" fmla="*/ 6304 h 12594"/>
              <a:gd name="T48" fmla="*/ 1396 w 12607"/>
              <a:gd name="T49" fmla="*/ 7694 h 12594"/>
              <a:gd name="T50" fmla="*/ 1618 w 12607"/>
              <a:gd name="T51" fmla="*/ 7694 h 12594"/>
              <a:gd name="T52" fmla="*/ 1983 w 12607"/>
              <a:gd name="T53" fmla="*/ 8593 h 12594"/>
              <a:gd name="T54" fmla="*/ 1814 w 12607"/>
              <a:gd name="T55" fmla="*/ 8761 h 12594"/>
              <a:gd name="T56" fmla="*/ 1814 w 12607"/>
              <a:gd name="T57" fmla="*/ 10728 h 12594"/>
              <a:gd name="T58" fmla="*/ 1855 w 12607"/>
              <a:gd name="T59" fmla="*/ 10769 h 12594"/>
              <a:gd name="T60" fmla="*/ 3829 w 12607"/>
              <a:gd name="T61" fmla="*/ 10769 h 12594"/>
              <a:gd name="T62" fmla="*/ 3981 w 12607"/>
              <a:gd name="T63" fmla="*/ 10618 h 12594"/>
              <a:gd name="T64" fmla="*/ 4878 w 12607"/>
              <a:gd name="T65" fmla="*/ 10999 h 12594"/>
              <a:gd name="T66" fmla="*/ 4878 w 12607"/>
              <a:gd name="T67" fmla="*/ 11204 h 12594"/>
              <a:gd name="T68" fmla="*/ 6274 w 12607"/>
              <a:gd name="T69" fmla="*/ 12594 h 12594"/>
              <a:gd name="T70" fmla="*/ 6333 w 12607"/>
              <a:gd name="T71" fmla="*/ 12594 h 12594"/>
              <a:gd name="T72" fmla="*/ 7729 w 12607"/>
              <a:gd name="T73" fmla="*/ 11204 h 12594"/>
              <a:gd name="T74" fmla="*/ 7729 w 12607"/>
              <a:gd name="T75" fmla="*/ 11016 h 12594"/>
              <a:gd name="T76" fmla="*/ 8664 w 12607"/>
              <a:gd name="T77" fmla="*/ 10630 h 12594"/>
              <a:gd name="T78" fmla="*/ 8803 w 12607"/>
              <a:gd name="T79" fmla="*/ 10769 h 12594"/>
              <a:gd name="T80" fmla="*/ 10777 w 12607"/>
              <a:gd name="T81" fmla="*/ 10769 h 12594"/>
              <a:gd name="T82" fmla="*/ 10819 w 12607"/>
              <a:gd name="T83" fmla="*/ 10728 h 12594"/>
              <a:gd name="T84" fmla="*/ 10819 w 12607"/>
              <a:gd name="T85" fmla="*/ 8761 h 12594"/>
              <a:gd name="T86" fmla="*/ 10673 w 12607"/>
              <a:gd name="T87" fmla="*/ 8616 h 12594"/>
              <a:gd name="T88" fmla="*/ 11051 w 12607"/>
              <a:gd name="T89" fmla="*/ 7694 h 12594"/>
              <a:gd name="T90" fmla="*/ 11211 w 12607"/>
              <a:gd name="T91" fmla="*/ 7694 h 12594"/>
              <a:gd name="T92" fmla="*/ 12607 w 12607"/>
              <a:gd name="T93" fmla="*/ 6304 h 12594"/>
              <a:gd name="T94" fmla="*/ 12607 w 12607"/>
              <a:gd name="T95" fmla="*/ 6245 h 12594"/>
              <a:gd name="T96" fmla="*/ 11212 w 12607"/>
              <a:gd name="T97" fmla="*/ 4855 h 12594"/>
              <a:gd name="T98" fmla="*/ 6337 w 12607"/>
              <a:gd name="T99" fmla="*/ 8498 h 12594"/>
              <a:gd name="T100" fmla="*/ 4152 w 12607"/>
              <a:gd name="T101" fmla="*/ 6323 h 12594"/>
              <a:gd name="T102" fmla="*/ 6337 w 12607"/>
              <a:gd name="T103" fmla="*/ 4146 h 12594"/>
              <a:gd name="T104" fmla="*/ 8521 w 12607"/>
              <a:gd name="T105" fmla="*/ 6323 h 12594"/>
              <a:gd name="T106" fmla="*/ 6337 w 12607"/>
              <a:gd name="T107" fmla="*/ 8498 h 12594"/>
              <a:gd name="T108" fmla="*/ 6337 w 12607"/>
              <a:gd name="T109" fmla="*/ 8498 h 125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2607" h="12594">
                <a:moveTo>
                  <a:pt x="11212" y="4855"/>
                </a:moveTo>
                <a:lnTo>
                  <a:pt x="11019" y="4855"/>
                </a:lnTo>
                <a:cubicBezTo>
                  <a:pt x="10923" y="4550"/>
                  <a:pt x="10796" y="4258"/>
                  <a:pt x="10644" y="3981"/>
                </a:cubicBezTo>
                <a:lnTo>
                  <a:pt x="10796" y="3830"/>
                </a:lnTo>
                <a:cubicBezTo>
                  <a:pt x="11341" y="3287"/>
                  <a:pt x="11341" y="2407"/>
                  <a:pt x="10796" y="1864"/>
                </a:cubicBezTo>
                <a:lnTo>
                  <a:pt x="10755" y="1823"/>
                </a:lnTo>
                <a:cubicBezTo>
                  <a:pt x="10209" y="1279"/>
                  <a:pt x="9326" y="1279"/>
                  <a:pt x="8781" y="1823"/>
                </a:cubicBezTo>
                <a:lnTo>
                  <a:pt x="8611" y="1992"/>
                </a:lnTo>
                <a:cubicBezTo>
                  <a:pt x="8332" y="1846"/>
                  <a:pt x="8037" y="1725"/>
                  <a:pt x="7729" y="1634"/>
                </a:cubicBezTo>
                <a:lnTo>
                  <a:pt x="7729" y="1390"/>
                </a:lnTo>
                <a:cubicBezTo>
                  <a:pt x="7729" y="622"/>
                  <a:pt x="7104" y="0"/>
                  <a:pt x="6333" y="0"/>
                </a:cubicBezTo>
                <a:lnTo>
                  <a:pt x="6274" y="0"/>
                </a:lnTo>
                <a:cubicBezTo>
                  <a:pt x="5503" y="0"/>
                  <a:pt x="4878" y="622"/>
                  <a:pt x="4878" y="1390"/>
                </a:cubicBezTo>
                <a:lnTo>
                  <a:pt x="4878" y="1652"/>
                </a:lnTo>
                <a:cubicBezTo>
                  <a:pt x="4584" y="1742"/>
                  <a:pt x="4301" y="1861"/>
                  <a:pt x="4033" y="2003"/>
                </a:cubicBezTo>
                <a:lnTo>
                  <a:pt x="3852" y="1823"/>
                </a:lnTo>
                <a:cubicBezTo>
                  <a:pt x="3307" y="1280"/>
                  <a:pt x="2423" y="1280"/>
                  <a:pt x="1878" y="1823"/>
                </a:cubicBezTo>
                <a:lnTo>
                  <a:pt x="1837" y="1864"/>
                </a:lnTo>
                <a:cubicBezTo>
                  <a:pt x="1292" y="2407"/>
                  <a:pt x="1292" y="3287"/>
                  <a:pt x="1837" y="3830"/>
                </a:cubicBezTo>
                <a:lnTo>
                  <a:pt x="2012" y="4004"/>
                </a:lnTo>
                <a:cubicBezTo>
                  <a:pt x="1865" y="4274"/>
                  <a:pt x="1743" y="4558"/>
                  <a:pt x="1650" y="4855"/>
                </a:cubicBezTo>
                <a:lnTo>
                  <a:pt x="1396" y="4855"/>
                </a:lnTo>
                <a:cubicBezTo>
                  <a:pt x="625" y="4855"/>
                  <a:pt x="0" y="5478"/>
                  <a:pt x="0" y="6245"/>
                </a:cubicBezTo>
                <a:lnTo>
                  <a:pt x="0" y="6304"/>
                </a:lnTo>
                <a:cubicBezTo>
                  <a:pt x="0" y="7072"/>
                  <a:pt x="625" y="7694"/>
                  <a:pt x="1396" y="7694"/>
                </a:cubicBezTo>
                <a:lnTo>
                  <a:pt x="1618" y="7694"/>
                </a:lnTo>
                <a:cubicBezTo>
                  <a:pt x="1710" y="8008"/>
                  <a:pt x="1833" y="8308"/>
                  <a:pt x="1983" y="8593"/>
                </a:cubicBezTo>
                <a:lnTo>
                  <a:pt x="1814" y="8761"/>
                </a:lnTo>
                <a:cubicBezTo>
                  <a:pt x="1269" y="9304"/>
                  <a:pt x="1269" y="10185"/>
                  <a:pt x="1814" y="10728"/>
                </a:cubicBezTo>
                <a:lnTo>
                  <a:pt x="1855" y="10769"/>
                </a:lnTo>
                <a:cubicBezTo>
                  <a:pt x="2400" y="11312"/>
                  <a:pt x="3284" y="11312"/>
                  <a:pt x="3829" y="10769"/>
                </a:cubicBezTo>
                <a:lnTo>
                  <a:pt x="3981" y="10618"/>
                </a:lnTo>
                <a:cubicBezTo>
                  <a:pt x="4264" y="10773"/>
                  <a:pt x="4564" y="10902"/>
                  <a:pt x="4878" y="10999"/>
                </a:cubicBezTo>
                <a:lnTo>
                  <a:pt x="4878" y="11204"/>
                </a:lnTo>
                <a:cubicBezTo>
                  <a:pt x="4878" y="11972"/>
                  <a:pt x="5503" y="12594"/>
                  <a:pt x="6274" y="12594"/>
                </a:cubicBezTo>
                <a:lnTo>
                  <a:pt x="6333" y="12594"/>
                </a:lnTo>
                <a:cubicBezTo>
                  <a:pt x="7104" y="12594"/>
                  <a:pt x="7729" y="11972"/>
                  <a:pt x="7729" y="11204"/>
                </a:cubicBezTo>
                <a:lnTo>
                  <a:pt x="7729" y="11016"/>
                </a:lnTo>
                <a:cubicBezTo>
                  <a:pt x="8056" y="10920"/>
                  <a:pt x="8368" y="10788"/>
                  <a:pt x="8664" y="10630"/>
                </a:cubicBezTo>
                <a:lnTo>
                  <a:pt x="8803" y="10769"/>
                </a:lnTo>
                <a:cubicBezTo>
                  <a:pt x="9348" y="11312"/>
                  <a:pt x="10233" y="11312"/>
                  <a:pt x="10777" y="10769"/>
                </a:cubicBezTo>
                <a:lnTo>
                  <a:pt x="10819" y="10728"/>
                </a:lnTo>
                <a:cubicBezTo>
                  <a:pt x="11364" y="10185"/>
                  <a:pt x="11364" y="9304"/>
                  <a:pt x="10819" y="8761"/>
                </a:cubicBezTo>
                <a:lnTo>
                  <a:pt x="10673" y="8616"/>
                </a:lnTo>
                <a:cubicBezTo>
                  <a:pt x="10828" y="8324"/>
                  <a:pt x="10956" y="8017"/>
                  <a:pt x="11051" y="7694"/>
                </a:cubicBezTo>
                <a:lnTo>
                  <a:pt x="11211" y="7694"/>
                </a:lnTo>
                <a:cubicBezTo>
                  <a:pt x="11982" y="7694"/>
                  <a:pt x="12607" y="7071"/>
                  <a:pt x="12607" y="6304"/>
                </a:cubicBezTo>
                <a:lnTo>
                  <a:pt x="12607" y="6245"/>
                </a:lnTo>
                <a:cubicBezTo>
                  <a:pt x="12607" y="5477"/>
                  <a:pt x="11982" y="4855"/>
                  <a:pt x="11212" y="4855"/>
                </a:cubicBezTo>
                <a:close/>
                <a:moveTo>
                  <a:pt x="6337" y="8498"/>
                </a:moveTo>
                <a:cubicBezTo>
                  <a:pt x="5130" y="8498"/>
                  <a:pt x="4152" y="7524"/>
                  <a:pt x="4152" y="6323"/>
                </a:cubicBezTo>
                <a:cubicBezTo>
                  <a:pt x="4152" y="5120"/>
                  <a:pt x="5130" y="4146"/>
                  <a:pt x="6337" y="4146"/>
                </a:cubicBezTo>
                <a:cubicBezTo>
                  <a:pt x="7544" y="4146"/>
                  <a:pt x="8521" y="5120"/>
                  <a:pt x="8521" y="6323"/>
                </a:cubicBezTo>
                <a:cubicBezTo>
                  <a:pt x="8521" y="7524"/>
                  <a:pt x="7544" y="8498"/>
                  <a:pt x="6337" y="8498"/>
                </a:cubicBezTo>
                <a:close/>
                <a:moveTo>
                  <a:pt x="6337" y="8498"/>
                </a:move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pic>
        <p:nvPicPr>
          <p:cNvPr id="30" name="图片 29">
            <a:extLst>
              <a:ext uri="{FF2B5EF4-FFF2-40B4-BE49-F238E27FC236}">
                <a16:creationId xmlns:a16="http://schemas.microsoft.com/office/drawing/2014/main" id="{57866FB4-0454-4007-AE27-AE7BB4293824}"/>
              </a:ext>
            </a:extLst>
          </p:cNvPr>
          <p:cNvPicPr>
            <a:picLocks noChangeAspect="1"/>
          </p:cNvPicPr>
          <p:nvPr/>
        </p:nvPicPr>
        <p:blipFill>
          <a:blip r:embed="rId4">
            <a:alphaModFix amt="40000"/>
            <a:extLst>
              <a:ext uri="{28A0092B-C50C-407E-A947-70E740481C1C}">
                <a14:useLocalDpi xmlns:a14="http://schemas.microsoft.com/office/drawing/2010/main" val="0"/>
              </a:ext>
            </a:extLst>
          </a:blip>
          <a:stretch>
            <a:fillRect/>
          </a:stretch>
        </p:blipFill>
        <p:spPr>
          <a:xfrm rot="5400000">
            <a:off x="6813722" y="3631646"/>
            <a:ext cx="3314047" cy="128110"/>
          </a:xfrm>
          <a:prstGeom prst="rect">
            <a:avLst/>
          </a:prstGeom>
        </p:spPr>
      </p:pic>
      <p:pic>
        <p:nvPicPr>
          <p:cNvPr id="32" name="图片 31">
            <a:extLst>
              <a:ext uri="{FF2B5EF4-FFF2-40B4-BE49-F238E27FC236}">
                <a16:creationId xmlns:a16="http://schemas.microsoft.com/office/drawing/2014/main" id="{C5EE345C-B1BA-4988-9260-3FA182BB21FB}"/>
              </a:ext>
            </a:extLst>
          </p:cNvPr>
          <p:cNvPicPr>
            <a:picLocks noChangeAspect="1"/>
          </p:cNvPicPr>
          <p:nvPr/>
        </p:nvPicPr>
        <p:blipFill>
          <a:blip r:embed="rId4">
            <a:alphaModFix amt="40000"/>
            <a:extLst>
              <a:ext uri="{28A0092B-C50C-407E-A947-70E740481C1C}">
                <a14:useLocalDpi xmlns:a14="http://schemas.microsoft.com/office/drawing/2010/main" val="0"/>
              </a:ext>
            </a:extLst>
          </a:blip>
          <a:stretch>
            <a:fillRect/>
          </a:stretch>
        </p:blipFill>
        <p:spPr>
          <a:xfrm rot="5400000">
            <a:off x="4232447" y="3631647"/>
            <a:ext cx="3314047" cy="128110"/>
          </a:xfrm>
          <a:prstGeom prst="rect">
            <a:avLst/>
          </a:prstGeom>
        </p:spPr>
      </p:pic>
      <p:pic>
        <p:nvPicPr>
          <p:cNvPr id="34" name="图片 33">
            <a:extLst>
              <a:ext uri="{FF2B5EF4-FFF2-40B4-BE49-F238E27FC236}">
                <a16:creationId xmlns:a16="http://schemas.microsoft.com/office/drawing/2014/main" id="{CE982F97-B939-4F95-8070-30A88DB56D25}"/>
              </a:ext>
            </a:extLst>
          </p:cNvPr>
          <p:cNvPicPr>
            <a:picLocks noChangeAspect="1"/>
          </p:cNvPicPr>
          <p:nvPr/>
        </p:nvPicPr>
        <p:blipFill>
          <a:blip r:embed="rId4">
            <a:alphaModFix amt="40000"/>
            <a:extLst>
              <a:ext uri="{28A0092B-C50C-407E-A947-70E740481C1C}">
                <a14:useLocalDpi xmlns:a14="http://schemas.microsoft.com/office/drawing/2010/main" val="0"/>
              </a:ext>
            </a:extLst>
          </a:blip>
          <a:stretch>
            <a:fillRect/>
          </a:stretch>
        </p:blipFill>
        <p:spPr>
          <a:xfrm rot="5400000">
            <a:off x="1698797" y="3631648"/>
            <a:ext cx="3314047" cy="128110"/>
          </a:xfrm>
          <a:prstGeom prst="rect">
            <a:avLst/>
          </a:prstGeom>
        </p:spPr>
      </p:pic>
    </p:spTree>
    <p:custDataLst>
      <p:tags r:id="rId2"/>
    </p:custDataLst>
    <p:extLst>
      <p:ext uri="{BB962C8B-B14F-4D97-AF65-F5344CB8AC3E}">
        <p14:creationId xmlns:p14="http://schemas.microsoft.com/office/powerpoint/2010/main" val="3080022273"/>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2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椭圆 1">
            <a:extLst>
              <a:ext uri="{FF2B5EF4-FFF2-40B4-BE49-F238E27FC236}">
                <a16:creationId xmlns:a16="http://schemas.microsoft.com/office/drawing/2014/main" id="{F64ADF7C-F7CE-4C95-998B-C2989A24F120}"/>
              </a:ext>
            </a:extLst>
          </p:cNvPr>
          <p:cNvSpPr/>
          <p:nvPr/>
        </p:nvSpPr>
        <p:spPr>
          <a:xfrm>
            <a:off x="5092700" y="2425700"/>
            <a:ext cx="2006600" cy="20066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35" name="椭圆 34">
            <a:extLst>
              <a:ext uri="{FF2B5EF4-FFF2-40B4-BE49-F238E27FC236}">
                <a16:creationId xmlns:a16="http://schemas.microsoft.com/office/drawing/2014/main" id="{1533DF00-6E34-4819-8AB0-B1E9D4A99BA4}"/>
              </a:ext>
            </a:extLst>
          </p:cNvPr>
          <p:cNvSpPr/>
          <p:nvPr/>
        </p:nvSpPr>
        <p:spPr>
          <a:xfrm>
            <a:off x="4867656" y="2200656"/>
            <a:ext cx="2456688" cy="2456688"/>
          </a:xfrm>
          <a:prstGeom prst="ellipse">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36" name="文本框 35">
            <a:extLst>
              <a:ext uri="{FF2B5EF4-FFF2-40B4-BE49-F238E27FC236}">
                <a16:creationId xmlns:a16="http://schemas.microsoft.com/office/drawing/2014/main" id="{D053C2F3-4F1A-4DAA-A46B-D563AF0A03DE}"/>
              </a:ext>
            </a:extLst>
          </p:cNvPr>
          <p:cNvSpPr txBox="1"/>
          <p:nvPr/>
        </p:nvSpPr>
        <p:spPr>
          <a:xfrm>
            <a:off x="5326559" y="3500366"/>
            <a:ext cx="1538884" cy="369332"/>
          </a:xfrm>
          <a:prstGeom prst="rect">
            <a:avLst/>
          </a:prstGeom>
          <a:noFill/>
        </p:spPr>
        <p:txBody>
          <a:bodyPr wrap="none" lIns="0" tIns="0" rIns="0" bIns="0" rtlCol="0" anchor="t">
            <a:spAutoFit/>
          </a:bodyPr>
          <a:lstStyle/>
          <a:p>
            <a:pPr algn="ctr"/>
            <a:r>
              <a:rPr lang="zh-CN" altLang="en-US" sz="2400" dirty="0">
                <a:solidFill>
                  <a:schemeClr val="bg1"/>
                </a:solidFill>
                <a:latin typeface="+mj-ea"/>
                <a:ea typeface="+mj-ea"/>
              </a:rPr>
              <a:t>关键词标题</a:t>
            </a:r>
          </a:p>
        </p:txBody>
      </p:sp>
      <p:sp>
        <p:nvSpPr>
          <p:cNvPr id="38" name="user_209046">
            <a:extLst>
              <a:ext uri="{FF2B5EF4-FFF2-40B4-BE49-F238E27FC236}">
                <a16:creationId xmlns:a16="http://schemas.microsoft.com/office/drawing/2014/main" id="{3C31D61B-66A7-4516-96F4-82BC17F60247}"/>
              </a:ext>
            </a:extLst>
          </p:cNvPr>
          <p:cNvSpPr/>
          <p:nvPr/>
        </p:nvSpPr>
        <p:spPr>
          <a:xfrm>
            <a:off x="5686424" y="2666470"/>
            <a:ext cx="819152" cy="738676"/>
          </a:xfrm>
          <a:custGeom>
            <a:avLst/>
            <a:gdLst>
              <a:gd name="connsiteX0" fmla="*/ 521432 w 608344"/>
              <a:gd name="connsiteY0" fmla="*/ 370453 h 548582"/>
              <a:gd name="connsiteX1" fmla="*/ 465737 w 608344"/>
              <a:gd name="connsiteY1" fmla="*/ 425787 h 548582"/>
              <a:gd name="connsiteX2" fmla="*/ 442491 w 608344"/>
              <a:gd name="connsiteY2" fmla="*/ 402479 h 548582"/>
              <a:gd name="connsiteX3" fmla="*/ 418201 w 608344"/>
              <a:gd name="connsiteY3" fmla="*/ 426545 h 548582"/>
              <a:gd name="connsiteX4" fmla="*/ 441447 w 608344"/>
              <a:gd name="connsiteY4" fmla="*/ 449948 h 548582"/>
              <a:gd name="connsiteX5" fmla="*/ 465642 w 608344"/>
              <a:gd name="connsiteY5" fmla="*/ 474204 h 548582"/>
              <a:gd name="connsiteX6" fmla="*/ 489932 w 608344"/>
              <a:gd name="connsiteY6" fmla="*/ 450043 h 548582"/>
              <a:gd name="connsiteX7" fmla="*/ 545532 w 608344"/>
              <a:gd name="connsiteY7" fmla="*/ 394709 h 548582"/>
              <a:gd name="connsiteX8" fmla="*/ 481962 w 608344"/>
              <a:gd name="connsiteY8" fmla="*/ 296170 h 548582"/>
              <a:gd name="connsiteX9" fmla="*/ 608344 w 608344"/>
              <a:gd name="connsiteY9" fmla="*/ 422376 h 548582"/>
              <a:gd name="connsiteX10" fmla="*/ 481962 w 608344"/>
              <a:gd name="connsiteY10" fmla="*/ 548582 h 548582"/>
              <a:gd name="connsiteX11" fmla="*/ 355579 w 608344"/>
              <a:gd name="connsiteY11" fmla="*/ 422376 h 548582"/>
              <a:gd name="connsiteX12" fmla="*/ 481962 w 608344"/>
              <a:gd name="connsiteY12" fmla="*/ 296170 h 548582"/>
              <a:gd name="connsiteX13" fmla="*/ 255835 w 608344"/>
              <a:gd name="connsiteY13" fmla="*/ 446 h 548582"/>
              <a:gd name="connsiteX14" fmla="*/ 317801 w 608344"/>
              <a:gd name="connsiteY14" fmla="*/ 13616 h 548582"/>
              <a:gd name="connsiteX15" fmla="*/ 348072 w 608344"/>
              <a:gd name="connsiteY15" fmla="*/ 41661 h 548582"/>
              <a:gd name="connsiteX16" fmla="*/ 381190 w 608344"/>
              <a:gd name="connsiteY16" fmla="*/ 146831 h 548582"/>
              <a:gd name="connsiteX17" fmla="*/ 378913 w 608344"/>
              <a:gd name="connsiteY17" fmla="*/ 156211 h 548582"/>
              <a:gd name="connsiteX18" fmla="*/ 387833 w 608344"/>
              <a:gd name="connsiteY18" fmla="*/ 200458 h 548582"/>
              <a:gd name="connsiteX19" fmla="*/ 366387 w 608344"/>
              <a:gd name="connsiteY19" fmla="*/ 237694 h 548582"/>
              <a:gd name="connsiteX20" fmla="*/ 351393 w 608344"/>
              <a:gd name="connsiteY20" fmla="*/ 278720 h 548582"/>
              <a:gd name="connsiteX21" fmla="*/ 351393 w 608344"/>
              <a:gd name="connsiteY21" fmla="*/ 322873 h 548582"/>
              <a:gd name="connsiteX22" fmla="*/ 317611 w 608344"/>
              <a:gd name="connsiteY22" fmla="*/ 422358 h 548582"/>
              <a:gd name="connsiteX23" fmla="*/ 376635 w 608344"/>
              <a:gd name="connsiteY23" fmla="*/ 548088 h 548582"/>
              <a:gd name="connsiteX24" fmla="*/ 26855 w 608344"/>
              <a:gd name="connsiteY24" fmla="*/ 548088 h 548582"/>
              <a:gd name="connsiteX25" fmla="*/ 0 w 608344"/>
              <a:gd name="connsiteY25" fmla="*/ 521274 h 548582"/>
              <a:gd name="connsiteX26" fmla="*/ 0 w 608344"/>
              <a:gd name="connsiteY26" fmla="*/ 473806 h 548582"/>
              <a:gd name="connsiteX27" fmla="*/ 19453 w 608344"/>
              <a:gd name="connsiteY27" fmla="*/ 432969 h 548582"/>
              <a:gd name="connsiteX28" fmla="*/ 173751 w 608344"/>
              <a:gd name="connsiteY28" fmla="*/ 334242 h 548582"/>
              <a:gd name="connsiteX29" fmla="*/ 176408 w 608344"/>
              <a:gd name="connsiteY29" fmla="*/ 329884 h 548582"/>
              <a:gd name="connsiteX30" fmla="*/ 176408 w 608344"/>
              <a:gd name="connsiteY30" fmla="*/ 278720 h 548582"/>
              <a:gd name="connsiteX31" fmla="*/ 161320 w 608344"/>
              <a:gd name="connsiteY31" fmla="*/ 237694 h 548582"/>
              <a:gd name="connsiteX32" fmla="*/ 139969 w 608344"/>
              <a:gd name="connsiteY32" fmla="*/ 200458 h 548582"/>
              <a:gd name="connsiteX33" fmla="*/ 148320 w 608344"/>
              <a:gd name="connsiteY33" fmla="*/ 156211 h 548582"/>
              <a:gd name="connsiteX34" fmla="*/ 146042 w 608344"/>
              <a:gd name="connsiteY34" fmla="*/ 146736 h 548582"/>
              <a:gd name="connsiteX35" fmla="*/ 145758 w 608344"/>
              <a:gd name="connsiteY35" fmla="*/ 95099 h 548582"/>
              <a:gd name="connsiteX36" fmla="*/ 176029 w 608344"/>
              <a:gd name="connsiteY36" fmla="*/ 42135 h 548582"/>
              <a:gd name="connsiteX37" fmla="*/ 203928 w 608344"/>
              <a:gd name="connsiteY37" fmla="*/ 19017 h 548582"/>
              <a:gd name="connsiteX38" fmla="*/ 231162 w 608344"/>
              <a:gd name="connsiteY38" fmla="*/ 5089 h 548582"/>
              <a:gd name="connsiteX39" fmla="*/ 255835 w 608344"/>
              <a:gd name="connsiteY39" fmla="*/ 446 h 548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608344" h="548582">
                <a:moveTo>
                  <a:pt x="521432" y="370453"/>
                </a:moveTo>
                <a:lnTo>
                  <a:pt x="465737" y="425787"/>
                </a:lnTo>
                <a:lnTo>
                  <a:pt x="442491" y="402479"/>
                </a:lnTo>
                <a:lnTo>
                  <a:pt x="418201" y="426545"/>
                </a:lnTo>
                <a:lnTo>
                  <a:pt x="441447" y="449948"/>
                </a:lnTo>
                <a:lnTo>
                  <a:pt x="465642" y="474204"/>
                </a:lnTo>
                <a:lnTo>
                  <a:pt x="489932" y="450043"/>
                </a:lnTo>
                <a:lnTo>
                  <a:pt x="545532" y="394709"/>
                </a:lnTo>
                <a:close/>
                <a:moveTo>
                  <a:pt x="481962" y="296170"/>
                </a:moveTo>
                <a:cubicBezTo>
                  <a:pt x="551795" y="296170"/>
                  <a:pt x="608344" y="352641"/>
                  <a:pt x="608344" y="422376"/>
                </a:cubicBezTo>
                <a:cubicBezTo>
                  <a:pt x="608344" y="492111"/>
                  <a:pt x="551795" y="548582"/>
                  <a:pt x="481962" y="548582"/>
                </a:cubicBezTo>
                <a:cubicBezTo>
                  <a:pt x="412129" y="548582"/>
                  <a:pt x="355579" y="492111"/>
                  <a:pt x="355579" y="422376"/>
                </a:cubicBezTo>
                <a:cubicBezTo>
                  <a:pt x="355579" y="352641"/>
                  <a:pt x="412129" y="296170"/>
                  <a:pt x="481962" y="296170"/>
                </a:cubicBezTo>
                <a:close/>
                <a:moveTo>
                  <a:pt x="255835" y="446"/>
                </a:moveTo>
                <a:cubicBezTo>
                  <a:pt x="282785" y="-1828"/>
                  <a:pt x="303187" y="4899"/>
                  <a:pt x="317801" y="13616"/>
                </a:cubicBezTo>
                <a:cubicBezTo>
                  <a:pt x="339721" y="25744"/>
                  <a:pt x="348072" y="41661"/>
                  <a:pt x="348072" y="41661"/>
                </a:cubicBezTo>
                <a:cubicBezTo>
                  <a:pt x="348072" y="41661"/>
                  <a:pt x="398176" y="45167"/>
                  <a:pt x="381190" y="146831"/>
                </a:cubicBezTo>
                <a:cubicBezTo>
                  <a:pt x="380621" y="149863"/>
                  <a:pt x="379862" y="153085"/>
                  <a:pt x="378913" y="156211"/>
                </a:cubicBezTo>
                <a:cubicBezTo>
                  <a:pt x="388592" y="156211"/>
                  <a:pt x="398271" y="163507"/>
                  <a:pt x="387833" y="200458"/>
                </a:cubicBezTo>
                <a:cubicBezTo>
                  <a:pt x="379672" y="229262"/>
                  <a:pt x="372080" y="237221"/>
                  <a:pt x="366387" y="237694"/>
                </a:cubicBezTo>
                <a:cubicBezTo>
                  <a:pt x="364394" y="250675"/>
                  <a:pt x="359175" y="265076"/>
                  <a:pt x="351393" y="278720"/>
                </a:cubicBezTo>
                <a:lnTo>
                  <a:pt x="351393" y="322873"/>
                </a:lnTo>
                <a:cubicBezTo>
                  <a:pt x="330232" y="350539"/>
                  <a:pt x="317611" y="385027"/>
                  <a:pt x="317611" y="422358"/>
                </a:cubicBezTo>
                <a:cubicBezTo>
                  <a:pt x="317611" y="472764"/>
                  <a:pt x="340480" y="518053"/>
                  <a:pt x="376635" y="548088"/>
                </a:cubicBezTo>
                <a:lnTo>
                  <a:pt x="26855" y="548088"/>
                </a:lnTo>
                <a:cubicBezTo>
                  <a:pt x="12052" y="548088"/>
                  <a:pt x="0" y="536055"/>
                  <a:pt x="0" y="521274"/>
                </a:cubicBezTo>
                <a:lnTo>
                  <a:pt x="0" y="473806"/>
                </a:lnTo>
                <a:cubicBezTo>
                  <a:pt x="0" y="457983"/>
                  <a:pt x="7212" y="443013"/>
                  <a:pt x="19453" y="432969"/>
                </a:cubicBezTo>
                <a:cubicBezTo>
                  <a:pt x="86638" y="377921"/>
                  <a:pt x="159043" y="341443"/>
                  <a:pt x="173751" y="334242"/>
                </a:cubicBezTo>
                <a:cubicBezTo>
                  <a:pt x="175365" y="333484"/>
                  <a:pt x="176408" y="331779"/>
                  <a:pt x="176408" y="329884"/>
                </a:cubicBezTo>
                <a:lnTo>
                  <a:pt x="176408" y="278720"/>
                </a:lnTo>
                <a:cubicBezTo>
                  <a:pt x="168437" y="265076"/>
                  <a:pt x="163313" y="250675"/>
                  <a:pt x="161320" y="237694"/>
                </a:cubicBezTo>
                <a:cubicBezTo>
                  <a:pt x="155627" y="237221"/>
                  <a:pt x="148035" y="229072"/>
                  <a:pt x="139969" y="200458"/>
                </a:cubicBezTo>
                <a:cubicBezTo>
                  <a:pt x="129531" y="164170"/>
                  <a:pt x="138925" y="156496"/>
                  <a:pt x="148320" y="156211"/>
                </a:cubicBezTo>
                <a:cubicBezTo>
                  <a:pt x="147371" y="153085"/>
                  <a:pt x="146612" y="149863"/>
                  <a:pt x="146042" y="146736"/>
                </a:cubicBezTo>
                <a:cubicBezTo>
                  <a:pt x="142436" y="128450"/>
                  <a:pt x="141487" y="111396"/>
                  <a:pt x="145758" y="95099"/>
                </a:cubicBezTo>
                <a:cubicBezTo>
                  <a:pt x="150787" y="73212"/>
                  <a:pt x="162744" y="55684"/>
                  <a:pt x="176029" y="42135"/>
                </a:cubicBezTo>
                <a:cubicBezTo>
                  <a:pt x="184379" y="33134"/>
                  <a:pt x="193869" y="25459"/>
                  <a:pt x="203928" y="19017"/>
                </a:cubicBezTo>
                <a:cubicBezTo>
                  <a:pt x="212183" y="13332"/>
                  <a:pt x="221293" y="8405"/>
                  <a:pt x="231162" y="5089"/>
                </a:cubicBezTo>
                <a:cubicBezTo>
                  <a:pt x="238849" y="2625"/>
                  <a:pt x="247105" y="825"/>
                  <a:pt x="255835" y="446"/>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9" name="椭圆 38">
            <a:extLst>
              <a:ext uri="{FF2B5EF4-FFF2-40B4-BE49-F238E27FC236}">
                <a16:creationId xmlns:a16="http://schemas.microsoft.com/office/drawing/2014/main" id="{E7535451-3174-42E5-8E45-E705E7BBF555}"/>
              </a:ext>
            </a:extLst>
          </p:cNvPr>
          <p:cNvSpPr/>
          <p:nvPr/>
        </p:nvSpPr>
        <p:spPr>
          <a:xfrm>
            <a:off x="4448175" y="1781175"/>
            <a:ext cx="3295650" cy="3295650"/>
          </a:xfrm>
          <a:prstGeom prst="ellipse">
            <a:avLst/>
          </a:prstGeom>
          <a:noFill/>
          <a:ln>
            <a:solidFill>
              <a:schemeClr val="accent1">
                <a:alpha val="2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3" name="矩形: 圆角 2">
            <a:extLst>
              <a:ext uri="{FF2B5EF4-FFF2-40B4-BE49-F238E27FC236}">
                <a16:creationId xmlns:a16="http://schemas.microsoft.com/office/drawing/2014/main" id="{460F6684-CC29-4B3D-9E84-E14C3920E4D9}"/>
              </a:ext>
            </a:extLst>
          </p:cNvPr>
          <p:cNvSpPr/>
          <p:nvPr/>
        </p:nvSpPr>
        <p:spPr>
          <a:xfrm>
            <a:off x="7549388" y="2062544"/>
            <a:ext cx="2535555" cy="657225"/>
          </a:xfrm>
          <a:prstGeom prst="roundRect">
            <a:avLst>
              <a:gd name="adj" fmla="val 50000"/>
            </a:avLst>
          </a:prstGeom>
          <a:gradFill>
            <a:gsLst>
              <a:gs pos="52200">
                <a:schemeClr val="accent1">
                  <a:alpha val="55000"/>
                </a:schemeClr>
              </a:gs>
              <a:gs pos="0">
                <a:schemeClr val="accent1"/>
              </a:gs>
              <a:gs pos="15000">
                <a:schemeClr val="accent1">
                  <a:alpha val="70000"/>
                </a:schemeClr>
              </a:gs>
              <a:gs pos="89000">
                <a:schemeClr val="accent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40" name="文本框 39">
            <a:extLst>
              <a:ext uri="{FF2B5EF4-FFF2-40B4-BE49-F238E27FC236}">
                <a16:creationId xmlns:a16="http://schemas.microsoft.com/office/drawing/2014/main" id="{536308D3-9748-4E40-8555-90A1F4941035}"/>
              </a:ext>
            </a:extLst>
          </p:cNvPr>
          <p:cNvSpPr txBox="1"/>
          <p:nvPr/>
        </p:nvSpPr>
        <p:spPr>
          <a:xfrm>
            <a:off x="7723631" y="2249127"/>
            <a:ext cx="1154162" cy="276999"/>
          </a:xfrm>
          <a:prstGeom prst="rect">
            <a:avLst/>
          </a:prstGeom>
          <a:noFill/>
        </p:spPr>
        <p:txBody>
          <a:bodyPr wrap="none" lIns="0" tIns="0" rIns="0" bIns="0" rtlCol="0" anchor="t">
            <a:spAutoFit/>
          </a:bodyPr>
          <a:lstStyle/>
          <a:p>
            <a:r>
              <a:rPr lang="zh-CN" altLang="en-US" dirty="0">
                <a:solidFill>
                  <a:schemeClr val="bg1"/>
                </a:solidFill>
                <a:latin typeface="+mj-ea"/>
                <a:ea typeface="+mj-ea"/>
              </a:rPr>
              <a:t>关键词标题</a:t>
            </a:r>
          </a:p>
        </p:txBody>
      </p:sp>
      <p:sp>
        <p:nvSpPr>
          <p:cNvPr id="42" name="矩形: 圆角 41">
            <a:extLst>
              <a:ext uri="{FF2B5EF4-FFF2-40B4-BE49-F238E27FC236}">
                <a16:creationId xmlns:a16="http://schemas.microsoft.com/office/drawing/2014/main" id="{86253E9E-A03F-4B3A-BC11-C15A52D20D0F}"/>
              </a:ext>
            </a:extLst>
          </p:cNvPr>
          <p:cNvSpPr/>
          <p:nvPr/>
        </p:nvSpPr>
        <p:spPr>
          <a:xfrm>
            <a:off x="7549388" y="4138232"/>
            <a:ext cx="2535555" cy="657225"/>
          </a:xfrm>
          <a:prstGeom prst="roundRect">
            <a:avLst>
              <a:gd name="adj" fmla="val 50000"/>
            </a:avLst>
          </a:prstGeom>
          <a:gradFill>
            <a:gsLst>
              <a:gs pos="52200">
                <a:schemeClr val="accent1">
                  <a:alpha val="55000"/>
                </a:schemeClr>
              </a:gs>
              <a:gs pos="0">
                <a:schemeClr val="accent1"/>
              </a:gs>
              <a:gs pos="15000">
                <a:schemeClr val="accent1">
                  <a:alpha val="70000"/>
                </a:schemeClr>
              </a:gs>
              <a:gs pos="89000">
                <a:schemeClr val="accent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43" name="文本框 42">
            <a:extLst>
              <a:ext uri="{FF2B5EF4-FFF2-40B4-BE49-F238E27FC236}">
                <a16:creationId xmlns:a16="http://schemas.microsoft.com/office/drawing/2014/main" id="{D3DDFC7D-643D-4148-94D1-C37CD51584E1}"/>
              </a:ext>
            </a:extLst>
          </p:cNvPr>
          <p:cNvSpPr txBox="1"/>
          <p:nvPr/>
        </p:nvSpPr>
        <p:spPr>
          <a:xfrm>
            <a:off x="7723631" y="4324815"/>
            <a:ext cx="1154162" cy="276999"/>
          </a:xfrm>
          <a:prstGeom prst="rect">
            <a:avLst/>
          </a:prstGeom>
          <a:noFill/>
        </p:spPr>
        <p:txBody>
          <a:bodyPr wrap="none" lIns="0" tIns="0" rIns="0" bIns="0" rtlCol="0" anchor="t">
            <a:spAutoFit/>
          </a:bodyPr>
          <a:lstStyle/>
          <a:p>
            <a:r>
              <a:rPr lang="zh-CN" altLang="en-US" dirty="0">
                <a:solidFill>
                  <a:schemeClr val="bg1"/>
                </a:solidFill>
                <a:latin typeface="+mj-ea"/>
                <a:ea typeface="+mj-ea"/>
              </a:rPr>
              <a:t>关键词标题</a:t>
            </a:r>
          </a:p>
        </p:txBody>
      </p:sp>
      <p:sp>
        <p:nvSpPr>
          <p:cNvPr id="44" name="矩形: 圆角 43">
            <a:extLst>
              <a:ext uri="{FF2B5EF4-FFF2-40B4-BE49-F238E27FC236}">
                <a16:creationId xmlns:a16="http://schemas.microsoft.com/office/drawing/2014/main" id="{6672ECBA-A346-4684-935F-27E518E6007D}"/>
              </a:ext>
            </a:extLst>
          </p:cNvPr>
          <p:cNvSpPr/>
          <p:nvPr/>
        </p:nvSpPr>
        <p:spPr>
          <a:xfrm flipH="1">
            <a:off x="1998980" y="2062544"/>
            <a:ext cx="2535555" cy="657225"/>
          </a:xfrm>
          <a:prstGeom prst="roundRect">
            <a:avLst>
              <a:gd name="adj" fmla="val 50000"/>
            </a:avLst>
          </a:prstGeom>
          <a:gradFill>
            <a:gsLst>
              <a:gs pos="52200">
                <a:schemeClr val="accent1">
                  <a:alpha val="55000"/>
                </a:schemeClr>
              </a:gs>
              <a:gs pos="0">
                <a:schemeClr val="accent1"/>
              </a:gs>
              <a:gs pos="15000">
                <a:schemeClr val="accent1">
                  <a:alpha val="70000"/>
                </a:schemeClr>
              </a:gs>
              <a:gs pos="89000">
                <a:schemeClr val="accent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45" name="文本框 44">
            <a:extLst>
              <a:ext uri="{FF2B5EF4-FFF2-40B4-BE49-F238E27FC236}">
                <a16:creationId xmlns:a16="http://schemas.microsoft.com/office/drawing/2014/main" id="{D6933FE2-68B3-491C-B2C5-3B00EBFACF85}"/>
              </a:ext>
            </a:extLst>
          </p:cNvPr>
          <p:cNvSpPr txBox="1"/>
          <p:nvPr/>
        </p:nvSpPr>
        <p:spPr>
          <a:xfrm>
            <a:off x="3197351" y="2249127"/>
            <a:ext cx="1154162" cy="276999"/>
          </a:xfrm>
          <a:prstGeom prst="rect">
            <a:avLst/>
          </a:prstGeom>
          <a:noFill/>
        </p:spPr>
        <p:txBody>
          <a:bodyPr wrap="none" lIns="0" tIns="0" rIns="0" bIns="0" rtlCol="0" anchor="t">
            <a:spAutoFit/>
          </a:bodyPr>
          <a:lstStyle/>
          <a:p>
            <a:r>
              <a:rPr lang="zh-CN" altLang="en-US" dirty="0">
                <a:solidFill>
                  <a:schemeClr val="bg1"/>
                </a:solidFill>
                <a:latin typeface="+mj-ea"/>
                <a:ea typeface="+mj-ea"/>
              </a:rPr>
              <a:t>关键词标题</a:t>
            </a:r>
          </a:p>
        </p:txBody>
      </p:sp>
      <p:sp>
        <p:nvSpPr>
          <p:cNvPr id="46" name="矩形: 圆角 45">
            <a:extLst>
              <a:ext uri="{FF2B5EF4-FFF2-40B4-BE49-F238E27FC236}">
                <a16:creationId xmlns:a16="http://schemas.microsoft.com/office/drawing/2014/main" id="{2A892826-DA23-4B4D-80CB-6DA81EC3187B}"/>
              </a:ext>
            </a:extLst>
          </p:cNvPr>
          <p:cNvSpPr/>
          <p:nvPr/>
        </p:nvSpPr>
        <p:spPr>
          <a:xfrm flipH="1">
            <a:off x="1998980" y="4138232"/>
            <a:ext cx="2535555" cy="657225"/>
          </a:xfrm>
          <a:prstGeom prst="roundRect">
            <a:avLst>
              <a:gd name="adj" fmla="val 50000"/>
            </a:avLst>
          </a:prstGeom>
          <a:gradFill>
            <a:gsLst>
              <a:gs pos="52200">
                <a:schemeClr val="accent1">
                  <a:alpha val="55000"/>
                </a:schemeClr>
              </a:gs>
              <a:gs pos="0">
                <a:schemeClr val="accent1"/>
              </a:gs>
              <a:gs pos="15000">
                <a:schemeClr val="accent1">
                  <a:alpha val="70000"/>
                </a:schemeClr>
              </a:gs>
              <a:gs pos="89000">
                <a:schemeClr val="accent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47" name="文本框 46">
            <a:extLst>
              <a:ext uri="{FF2B5EF4-FFF2-40B4-BE49-F238E27FC236}">
                <a16:creationId xmlns:a16="http://schemas.microsoft.com/office/drawing/2014/main" id="{4BB1397D-C502-4D72-A596-7A7A05A425C7}"/>
              </a:ext>
            </a:extLst>
          </p:cNvPr>
          <p:cNvSpPr txBox="1"/>
          <p:nvPr/>
        </p:nvSpPr>
        <p:spPr>
          <a:xfrm>
            <a:off x="3197351" y="4324815"/>
            <a:ext cx="1154162" cy="276999"/>
          </a:xfrm>
          <a:prstGeom prst="rect">
            <a:avLst/>
          </a:prstGeom>
          <a:noFill/>
        </p:spPr>
        <p:txBody>
          <a:bodyPr wrap="none" lIns="0" tIns="0" rIns="0" bIns="0" rtlCol="0" anchor="t">
            <a:spAutoFit/>
          </a:bodyPr>
          <a:lstStyle/>
          <a:p>
            <a:r>
              <a:rPr lang="zh-CN" altLang="en-US" dirty="0">
                <a:solidFill>
                  <a:schemeClr val="bg1"/>
                </a:solidFill>
                <a:latin typeface="+mj-ea"/>
                <a:ea typeface="+mj-ea"/>
              </a:rPr>
              <a:t>关键词标题</a:t>
            </a:r>
          </a:p>
        </p:txBody>
      </p:sp>
      <p:sp>
        <p:nvSpPr>
          <p:cNvPr id="48" name="椭圆 47">
            <a:extLst>
              <a:ext uri="{FF2B5EF4-FFF2-40B4-BE49-F238E27FC236}">
                <a16:creationId xmlns:a16="http://schemas.microsoft.com/office/drawing/2014/main" id="{E0DF9469-176A-4382-AA1A-5EC04E045CF9}"/>
              </a:ext>
            </a:extLst>
          </p:cNvPr>
          <p:cNvSpPr/>
          <p:nvPr/>
        </p:nvSpPr>
        <p:spPr>
          <a:xfrm>
            <a:off x="2514600" y="-152400"/>
            <a:ext cx="7162800" cy="7162800"/>
          </a:xfrm>
          <a:prstGeom prst="ellipse">
            <a:avLst/>
          </a:prstGeom>
          <a:noFill/>
          <a:ln>
            <a:solidFill>
              <a:schemeClr val="accent1">
                <a:alpha val="2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Tree>
    <p:custDataLst>
      <p:tags r:id="rId2"/>
    </p:custDataLst>
    <p:extLst>
      <p:ext uri="{BB962C8B-B14F-4D97-AF65-F5344CB8AC3E}">
        <p14:creationId xmlns:p14="http://schemas.microsoft.com/office/powerpoint/2010/main" val="262196242"/>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2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直接连接符 2">
            <a:extLst>
              <a:ext uri="{FF2B5EF4-FFF2-40B4-BE49-F238E27FC236}">
                <a16:creationId xmlns:a16="http://schemas.microsoft.com/office/drawing/2014/main" id="{8757C03E-5489-46DB-AEB8-A2C6A95F0415}"/>
              </a:ext>
            </a:extLst>
          </p:cNvPr>
          <p:cNvCxnSpPr>
            <a:cxnSpLocks/>
          </p:cNvCxnSpPr>
          <p:nvPr/>
        </p:nvCxnSpPr>
        <p:spPr>
          <a:xfrm>
            <a:off x="530352" y="1981200"/>
            <a:ext cx="0" cy="3898900"/>
          </a:xfrm>
          <a:prstGeom prst="line">
            <a:avLst/>
          </a:prstGeom>
          <a:ln w="25400">
            <a:gradFill>
              <a:gsLst>
                <a:gs pos="0">
                  <a:schemeClr val="accent1">
                    <a:lumMod val="75000"/>
                    <a:lumOff val="25000"/>
                  </a:schemeClr>
                </a:gs>
                <a:gs pos="100000">
                  <a:schemeClr val="accent1">
                    <a:lumMod val="75000"/>
                    <a:lumOff val="25000"/>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grpSp>
        <p:nvGrpSpPr>
          <p:cNvPr id="38" name="组合 37">
            <a:extLst>
              <a:ext uri="{FF2B5EF4-FFF2-40B4-BE49-F238E27FC236}">
                <a16:creationId xmlns:a16="http://schemas.microsoft.com/office/drawing/2014/main" id="{FA371563-1FE8-45A4-A040-C6A83D11C2B4}"/>
              </a:ext>
            </a:extLst>
          </p:cNvPr>
          <p:cNvGrpSpPr/>
          <p:nvPr/>
        </p:nvGrpSpPr>
        <p:grpSpPr>
          <a:xfrm>
            <a:off x="484632" y="4417732"/>
            <a:ext cx="1975105" cy="864339"/>
            <a:chOff x="484632" y="4417732"/>
            <a:chExt cx="1975105" cy="864339"/>
          </a:xfrm>
        </p:grpSpPr>
        <p:sp>
          <p:nvSpPr>
            <p:cNvPr id="5" name="矩形 4">
              <a:extLst>
                <a:ext uri="{FF2B5EF4-FFF2-40B4-BE49-F238E27FC236}">
                  <a16:creationId xmlns:a16="http://schemas.microsoft.com/office/drawing/2014/main" id="{B1836668-4B3A-4BB4-ACE4-6B729D40D185}"/>
                </a:ext>
              </a:extLst>
            </p:cNvPr>
            <p:cNvSpPr/>
            <p:nvPr/>
          </p:nvSpPr>
          <p:spPr>
            <a:xfrm>
              <a:off x="484632" y="4434840"/>
              <a:ext cx="91440" cy="704088"/>
            </a:xfrm>
            <a:prstGeom prst="rect">
              <a:avLst/>
            </a:prstGeom>
            <a:solidFill>
              <a:schemeClr val="accent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9" name="文本框 8">
              <a:extLst>
                <a:ext uri="{FF2B5EF4-FFF2-40B4-BE49-F238E27FC236}">
                  <a16:creationId xmlns:a16="http://schemas.microsoft.com/office/drawing/2014/main" id="{89617184-DBF2-4C1E-A10E-9B95DE9D3C05}"/>
                </a:ext>
              </a:extLst>
            </p:cNvPr>
            <p:cNvSpPr txBox="1"/>
            <p:nvPr/>
          </p:nvSpPr>
          <p:spPr>
            <a:xfrm>
              <a:off x="769150" y="4417732"/>
              <a:ext cx="1154162" cy="276999"/>
            </a:xfrm>
            <a:prstGeom prst="rect">
              <a:avLst/>
            </a:prstGeom>
            <a:noFill/>
          </p:spPr>
          <p:txBody>
            <a:bodyPr wrap="none" lIns="0" tIns="0" rIns="0" bIns="0" rtlCol="0" anchor="t">
              <a:spAutoFit/>
            </a:bodyPr>
            <a:lstStyle/>
            <a:p>
              <a:r>
                <a:rPr lang="zh-CN" altLang="en-US" dirty="0">
                  <a:solidFill>
                    <a:schemeClr val="accent1"/>
                  </a:solidFill>
                  <a:latin typeface="+mj-ea"/>
                  <a:ea typeface="+mj-ea"/>
                </a:rPr>
                <a:t>关键词标题</a:t>
              </a:r>
            </a:p>
          </p:txBody>
        </p:sp>
        <p:sp>
          <p:nvSpPr>
            <p:cNvPr id="10" name="文本框 9">
              <a:extLst>
                <a:ext uri="{FF2B5EF4-FFF2-40B4-BE49-F238E27FC236}">
                  <a16:creationId xmlns:a16="http://schemas.microsoft.com/office/drawing/2014/main" id="{75781E32-95DB-405B-96E4-8EBB7D399176}"/>
                </a:ext>
              </a:extLst>
            </p:cNvPr>
            <p:cNvSpPr txBox="1"/>
            <p:nvPr/>
          </p:nvSpPr>
          <p:spPr>
            <a:xfrm>
              <a:off x="769151" y="4694731"/>
              <a:ext cx="1690586" cy="587340"/>
            </a:xfrm>
            <a:prstGeom prst="rect">
              <a:avLst/>
            </a:prstGeom>
            <a:noFill/>
          </p:spPr>
          <p:txBody>
            <a:bodyPr wrap="square" lIns="0" tIns="0" rIns="0" bIns="0" rtlCol="0" anchor="t">
              <a:spAutoFit/>
            </a:bodyPr>
            <a:lstStyle/>
            <a:p>
              <a:pPr>
                <a:lnSpc>
                  <a:spcPct val="130000"/>
                </a:lnSpc>
              </a:pPr>
              <a:r>
                <a:rPr lang="en-US" altLang="zh-CN" sz="1000" b="0" dirty="0">
                  <a:solidFill>
                    <a:schemeClr val="tx1">
                      <a:lumMod val="75000"/>
                      <a:lumOff val="25000"/>
                    </a:schemeClr>
                  </a:solidFill>
                  <a:effectLst/>
                  <a:latin typeface="+mn-ea"/>
                </a:rPr>
                <a:t>Lorem ipsum dolor sit amet, consectetur adipisicing elit, sed do eiusmod tempor</a:t>
              </a:r>
              <a:endParaRPr lang="zh-CN" altLang="en-US" sz="1000" b="0" dirty="0">
                <a:solidFill>
                  <a:schemeClr val="tx1">
                    <a:lumMod val="75000"/>
                    <a:lumOff val="25000"/>
                  </a:schemeClr>
                </a:solidFill>
                <a:effectLst/>
                <a:latin typeface="+mn-ea"/>
              </a:endParaRPr>
            </a:p>
          </p:txBody>
        </p:sp>
      </p:grpSp>
      <p:cxnSp>
        <p:nvCxnSpPr>
          <p:cNvPr id="23" name="直接连接符 22">
            <a:extLst>
              <a:ext uri="{FF2B5EF4-FFF2-40B4-BE49-F238E27FC236}">
                <a16:creationId xmlns:a16="http://schemas.microsoft.com/office/drawing/2014/main" id="{9E525E74-FDF3-4B8A-A6C2-148E29ACA1BB}"/>
              </a:ext>
            </a:extLst>
          </p:cNvPr>
          <p:cNvCxnSpPr>
            <a:cxnSpLocks/>
          </p:cNvCxnSpPr>
          <p:nvPr/>
        </p:nvCxnSpPr>
        <p:spPr>
          <a:xfrm>
            <a:off x="3587496" y="1981200"/>
            <a:ext cx="0" cy="3898900"/>
          </a:xfrm>
          <a:prstGeom prst="line">
            <a:avLst/>
          </a:prstGeom>
          <a:ln w="25400">
            <a:gradFill>
              <a:gsLst>
                <a:gs pos="0">
                  <a:schemeClr val="accent1">
                    <a:lumMod val="75000"/>
                    <a:lumOff val="25000"/>
                  </a:schemeClr>
                </a:gs>
                <a:gs pos="100000">
                  <a:schemeClr val="accent1">
                    <a:lumMod val="75000"/>
                    <a:lumOff val="25000"/>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grpSp>
        <p:nvGrpSpPr>
          <p:cNvPr id="37" name="组合 36">
            <a:extLst>
              <a:ext uri="{FF2B5EF4-FFF2-40B4-BE49-F238E27FC236}">
                <a16:creationId xmlns:a16="http://schemas.microsoft.com/office/drawing/2014/main" id="{4718F509-1286-4766-9E30-F3B90701E29E}"/>
              </a:ext>
            </a:extLst>
          </p:cNvPr>
          <p:cNvGrpSpPr/>
          <p:nvPr/>
        </p:nvGrpSpPr>
        <p:grpSpPr>
          <a:xfrm>
            <a:off x="3541776" y="3756316"/>
            <a:ext cx="1975105" cy="864339"/>
            <a:chOff x="3541776" y="4042828"/>
            <a:chExt cx="1975105" cy="864339"/>
          </a:xfrm>
        </p:grpSpPr>
        <p:sp>
          <p:nvSpPr>
            <p:cNvPr id="24" name="矩形 23">
              <a:extLst>
                <a:ext uri="{FF2B5EF4-FFF2-40B4-BE49-F238E27FC236}">
                  <a16:creationId xmlns:a16="http://schemas.microsoft.com/office/drawing/2014/main" id="{FE5B3AD0-2F60-4ABB-91F7-06AC5606EA19}"/>
                </a:ext>
              </a:extLst>
            </p:cNvPr>
            <p:cNvSpPr/>
            <p:nvPr/>
          </p:nvSpPr>
          <p:spPr>
            <a:xfrm>
              <a:off x="3541776" y="4059936"/>
              <a:ext cx="91440" cy="704088"/>
            </a:xfrm>
            <a:prstGeom prst="rect">
              <a:avLst/>
            </a:prstGeom>
            <a:solidFill>
              <a:schemeClr val="accent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25" name="文本框 24">
              <a:extLst>
                <a:ext uri="{FF2B5EF4-FFF2-40B4-BE49-F238E27FC236}">
                  <a16:creationId xmlns:a16="http://schemas.microsoft.com/office/drawing/2014/main" id="{A09E4C12-7ACF-4613-B66C-8DA0DF2FA4FC}"/>
                </a:ext>
              </a:extLst>
            </p:cNvPr>
            <p:cNvSpPr txBox="1"/>
            <p:nvPr/>
          </p:nvSpPr>
          <p:spPr>
            <a:xfrm>
              <a:off x="3826294" y="4042828"/>
              <a:ext cx="1154162" cy="276999"/>
            </a:xfrm>
            <a:prstGeom prst="rect">
              <a:avLst/>
            </a:prstGeom>
            <a:noFill/>
          </p:spPr>
          <p:txBody>
            <a:bodyPr wrap="none" lIns="0" tIns="0" rIns="0" bIns="0" rtlCol="0" anchor="t">
              <a:spAutoFit/>
            </a:bodyPr>
            <a:lstStyle/>
            <a:p>
              <a:r>
                <a:rPr lang="zh-CN" altLang="en-US" dirty="0">
                  <a:solidFill>
                    <a:schemeClr val="accent1"/>
                  </a:solidFill>
                  <a:latin typeface="+mj-ea"/>
                  <a:ea typeface="+mj-ea"/>
                </a:rPr>
                <a:t>关键词标题</a:t>
              </a:r>
            </a:p>
          </p:txBody>
        </p:sp>
        <p:sp>
          <p:nvSpPr>
            <p:cNvPr id="26" name="文本框 25">
              <a:extLst>
                <a:ext uri="{FF2B5EF4-FFF2-40B4-BE49-F238E27FC236}">
                  <a16:creationId xmlns:a16="http://schemas.microsoft.com/office/drawing/2014/main" id="{E93CF007-8A4C-4633-B68B-A8BB00B187B8}"/>
                </a:ext>
              </a:extLst>
            </p:cNvPr>
            <p:cNvSpPr txBox="1"/>
            <p:nvPr/>
          </p:nvSpPr>
          <p:spPr>
            <a:xfrm>
              <a:off x="3826295" y="4319827"/>
              <a:ext cx="1690586" cy="587340"/>
            </a:xfrm>
            <a:prstGeom prst="rect">
              <a:avLst/>
            </a:prstGeom>
            <a:noFill/>
          </p:spPr>
          <p:txBody>
            <a:bodyPr wrap="square" lIns="0" tIns="0" rIns="0" bIns="0" rtlCol="0" anchor="t">
              <a:spAutoFit/>
            </a:bodyPr>
            <a:lstStyle/>
            <a:p>
              <a:pPr>
                <a:lnSpc>
                  <a:spcPct val="130000"/>
                </a:lnSpc>
              </a:pPr>
              <a:r>
                <a:rPr lang="en-US" altLang="zh-CN" sz="1000" b="0" dirty="0">
                  <a:solidFill>
                    <a:schemeClr val="tx1">
                      <a:lumMod val="75000"/>
                      <a:lumOff val="25000"/>
                    </a:schemeClr>
                  </a:solidFill>
                  <a:effectLst/>
                  <a:latin typeface="+mn-ea"/>
                </a:rPr>
                <a:t>Lorem ipsum dolor sit amet, consectetur adipisicing elit, sed do eiusmod tempor</a:t>
              </a:r>
              <a:endParaRPr lang="zh-CN" altLang="en-US" sz="1000" b="0" dirty="0">
                <a:solidFill>
                  <a:schemeClr val="tx1">
                    <a:lumMod val="75000"/>
                    <a:lumOff val="25000"/>
                  </a:schemeClr>
                </a:solidFill>
                <a:effectLst/>
                <a:latin typeface="+mn-ea"/>
              </a:endParaRPr>
            </a:p>
          </p:txBody>
        </p:sp>
      </p:grpSp>
      <p:cxnSp>
        <p:nvCxnSpPr>
          <p:cNvPr id="28" name="直接连接符 27">
            <a:extLst>
              <a:ext uri="{FF2B5EF4-FFF2-40B4-BE49-F238E27FC236}">
                <a16:creationId xmlns:a16="http://schemas.microsoft.com/office/drawing/2014/main" id="{F79D6FE3-40FD-4CC1-85EA-9299F4B73679}"/>
              </a:ext>
            </a:extLst>
          </p:cNvPr>
          <p:cNvCxnSpPr>
            <a:cxnSpLocks/>
          </p:cNvCxnSpPr>
          <p:nvPr/>
        </p:nvCxnSpPr>
        <p:spPr>
          <a:xfrm>
            <a:off x="6644640" y="1981200"/>
            <a:ext cx="0" cy="3898900"/>
          </a:xfrm>
          <a:prstGeom prst="line">
            <a:avLst/>
          </a:prstGeom>
          <a:ln w="25400">
            <a:gradFill>
              <a:gsLst>
                <a:gs pos="0">
                  <a:schemeClr val="accent1">
                    <a:lumMod val="75000"/>
                    <a:lumOff val="25000"/>
                  </a:schemeClr>
                </a:gs>
                <a:gs pos="100000">
                  <a:schemeClr val="accent1">
                    <a:lumMod val="75000"/>
                    <a:lumOff val="25000"/>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grpSp>
        <p:nvGrpSpPr>
          <p:cNvPr id="39" name="组合 38">
            <a:extLst>
              <a:ext uri="{FF2B5EF4-FFF2-40B4-BE49-F238E27FC236}">
                <a16:creationId xmlns:a16="http://schemas.microsoft.com/office/drawing/2014/main" id="{38722C20-2A91-4869-94CB-E3124BDD9C26}"/>
              </a:ext>
            </a:extLst>
          </p:cNvPr>
          <p:cNvGrpSpPr/>
          <p:nvPr/>
        </p:nvGrpSpPr>
        <p:grpSpPr>
          <a:xfrm>
            <a:off x="6598920" y="3094900"/>
            <a:ext cx="1975105" cy="864339"/>
            <a:chOff x="6598920" y="4417732"/>
            <a:chExt cx="1975105" cy="864339"/>
          </a:xfrm>
        </p:grpSpPr>
        <p:sp>
          <p:nvSpPr>
            <p:cNvPr id="29" name="矩形 28">
              <a:extLst>
                <a:ext uri="{FF2B5EF4-FFF2-40B4-BE49-F238E27FC236}">
                  <a16:creationId xmlns:a16="http://schemas.microsoft.com/office/drawing/2014/main" id="{000BDF29-DBCE-4745-81D4-2BB1B2FBCDEE}"/>
                </a:ext>
              </a:extLst>
            </p:cNvPr>
            <p:cNvSpPr/>
            <p:nvPr/>
          </p:nvSpPr>
          <p:spPr>
            <a:xfrm>
              <a:off x="6598920" y="4434840"/>
              <a:ext cx="91440" cy="704088"/>
            </a:xfrm>
            <a:prstGeom prst="rect">
              <a:avLst/>
            </a:prstGeom>
            <a:solidFill>
              <a:schemeClr val="accent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30" name="文本框 29">
              <a:extLst>
                <a:ext uri="{FF2B5EF4-FFF2-40B4-BE49-F238E27FC236}">
                  <a16:creationId xmlns:a16="http://schemas.microsoft.com/office/drawing/2014/main" id="{A43447FD-35EC-4488-9834-93DB636C9EA0}"/>
                </a:ext>
              </a:extLst>
            </p:cNvPr>
            <p:cNvSpPr txBox="1"/>
            <p:nvPr/>
          </p:nvSpPr>
          <p:spPr>
            <a:xfrm>
              <a:off x="6883438" y="4417732"/>
              <a:ext cx="1154162" cy="276999"/>
            </a:xfrm>
            <a:prstGeom prst="rect">
              <a:avLst/>
            </a:prstGeom>
            <a:noFill/>
          </p:spPr>
          <p:txBody>
            <a:bodyPr wrap="none" lIns="0" tIns="0" rIns="0" bIns="0" rtlCol="0" anchor="t">
              <a:spAutoFit/>
            </a:bodyPr>
            <a:lstStyle/>
            <a:p>
              <a:r>
                <a:rPr lang="zh-CN" altLang="en-US" dirty="0">
                  <a:solidFill>
                    <a:schemeClr val="accent1"/>
                  </a:solidFill>
                  <a:latin typeface="+mj-ea"/>
                  <a:ea typeface="+mj-ea"/>
                </a:rPr>
                <a:t>关键词标题</a:t>
              </a:r>
            </a:p>
          </p:txBody>
        </p:sp>
        <p:sp>
          <p:nvSpPr>
            <p:cNvPr id="31" name="文本框 30">
              <a:extLst>
                <a:ext uri="{FF2B5EF4-FFF2-40B4-BE49-F238E27FC236}">
                  <a16:creationId xmlns:a16="http://schemas.microsoft.com/office/drawing/2014/main" id="{FFBC4C7C-1AE3-454F-8BDC-003953542E57}"/>
                </a:ext>
              </a:extLst>
            </p:cNvPr>
            <p:cNvSpPr txBox="1"/>
            <p:nvPr/>
          </p:nvSpPr>
          <p:spPr>
            <a:xfrm>
              <a:off x="6883439" y="4694731"/>
              <a:ext cx="1690586" cy="587340"/>
            </a:xfrm>
            <a:prstGeom prst="rect">
              <a:avLst/>
            </a:prstGeom>
            <a:noFill/>
          </p:spPr>
          <p:txBody>
            <a:bodyPr wrap="square" lIns="0" tIns="0" rIns="0" bIns="0" rtlCol="0" anchor="t">
              <a:spAutoFit/>
            </a:bodyPr>
            <a:lstStyle/>
            <a:p>
              <a:pPr>
                <a:lnSpc>
                  <a:spcPct val="130000"/>
                </a:lnSpc>
              </a:pPr>
              <a:r>
                <a:rPr lang="en-US" altLang="zh-CN" sz="1000" b="0" dirty="0">
                  <a:solidFill>
                    <a:schemeClr val="tx1">
                      <a:lumMod val="75000"/>
                      <a:lumOff val="25000"/>
                    </a:schemeClr>
                  </a:solidFill>
                  <a:effectLst/>
                  <a:latin typeface="+mn-ea"/>
                </a:rPr>
                <a:t>Lorem ipsum dolor sit amet, consectetur adipisicing elit, sed do eiusmod tempor</a:t>
              </a:r>
              <a:endParaRPr lang="zh-CN" altLang="en-US" sz="1000" b="0" dirty="0">
                <a:solidFill>
                  <a:schemeClr val="tx1">
                    <a:lumMod val="75000"/>
                    <a:lumOff val="25000"/>
                  </a:schemeClr>
                </a:solidFill>
                <a:effectLst/>
                <a:latin typeface="+mn-ea"/>
              </a:endParaRPr>
            </a:p>
          </p:txBody>
        </p:sp>
      </p:grpSp>
      <p:cxnSp>
        <p:nvCxnSpPr>
          <p:cNvPr id="33" name="直接连接符 32">
            <a:extLst>
              <a:ext uri="{FF2B5EF4-FFF2-40B4-BE49-F238E27FC236}">
                <a16:creationId xmlns:a16="http://schemas.microsoft.com/office/drawing/2014/main" id="{BFE9EA42-E331-41C6-9A7D-B698226BA420}"/>
              </a:ext>
            </a:extLst>
          </p:cNvPr>
          <p:cNvCxnSpPr>
            <a:cxnSpLocks/>
          </p:cNvCxnSpPr>
          <p:nvPr/>
        </p:nvCxnSpPr>
        <p:spPr>
          <a:xfrm>
            <a:off x="9701784" y="1981200"/>
            <a:ext cx="0" cy="3898900"/>
          </a:xfrm>
          <a:prstGeom prst="line">
            <a:avLst/>
          </a:prstGeom>
          <a:ln w="25400">
            <a:gradFill>
              <a:gsLst>
                <a:gs pos="0">
                  <a:schemeClr val="accent1">
                    <a:lumMod val="75000"/>
                    <a:lumOff val="25000"/>
                  </a:schemeClr>
                </a:gs>
                <a:gs pos="100000">
                  <a:schemeClr val="accent1">
                    <a:lumMod val="75000"/>
                    <a:lumOff val="25000"/>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grpSp>
        <p:nvGrpSpPr>
          <p:cNvPr id="40" name="组合 39">
            <a:extLst>
              <a:ext uri="{FF2B5EF4-FFF2-40B4-BE49-F238E27FC236}">
                <a16:creationId xmlns:a16="http://schemas.microsoft.com/office/drawing/2014/main" id="{EB460E3F-975D-466C-9E8E-ED7405F49551}"/>
              </a:ext>
            </a:extLst>
          </p:cNvPr>
          <p:cNvGrpSpPr/>
          <p:nvPr/>
        </p:nvGrpSpPr>
        <p:grpSpPr>
          <a:xfrm>
            <a:off x="9656064" y="2433484"/>
            <a:ext cx="1975105" cy="864339"/>
            <a:chOff x="9656064" y="4417732"/>
            <a:chExt cx="1975105" cy="864339"/>
          </a:xfrm>
        </p:grpSpPr>
        <p:sp>
          <p:nvSpPr>
            <p:cNvPr id="34" name="矩形 33">
              <a:extLst>
                <a:ext uri="{FF2B5EF4-FFF2-40B4-BE49-F238E27FC236}">
                  <a16:creationId xmlns:a16="http://schemas.microsoft.com/office/drawing/2014/main" id="{1C45028C-B596-4140-A640-0F66503CB449}"/>
                </a:ext>
              </a:extLst>
            </p:cNvPr>
            <p:cNvSpPr/>
            <p:nvPr/>
          </p:nvSpPr>
          <p:spPr>
            <a:xfrm>
              <a:off x="9656064" y="4434840"/>
              <a:ext cx="91440" cy="704088"/>
            </a:xfrm>
            <a:prstGeom prst="rect">
              <a:avLst/>
            </a:prstGeom>
            <a:solidFill>
              <a:schemeClr val="accent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35" name="文本框 34">
              <a:extLst>
                <a:ext uri="{FF2B5EF4-FFF2-40B4-BE49-F238E27FC236}">
                  <a16:creationId xmlns:a16="http://schemas.microsoft.com/office/drawing/2014/main" id="{75313F82-427A-4142-904A-374E6001334A}"/>
                </a:ext>
              </a:extLst>
            </p:cNvPr>
            <p:cNvSpPr txBox="1"/>
            <p:nvPr/>
          </p:nvSpPr>
          <p:spPr>
            <a:xfrm>
              <a:off x="9940582" y="4417732"/>
              <a:ext cx="1154162" cy="276999"/>
            </a:xfrm>
            <a:prstGeom prst="rect">
              <a:avLst/>
            </a:prstGeom>
            <a:noFill/>
          </p:spPr>
          <p:txBody>
            <a:bodyPr wrap="none" lIns="0" tIns="0" rIns="0" bIns="0" rtlCol="0" anchor="t">
              <a:spAutoFit/>
            </a:bodyPr>
            <a:lstStyle/>
            <a:p>
              <a:r>
                <a:rPr lang="zh-CN" altLang="en-US" dirty="0">
                  <a:solidFill>
                    <a:schemeClr val="accent1"/>
                  </a:solidFill>
                  <a:latin typeface="+mj-ea"/>
                  <a:ea typeface="+mj-ea"/>
                </a:rPr>
                <a:t>关键词标题</a:t>
              </a:r>
            </a:p>
          </p:txBody>
        </p:sp>
        <p:sp>
          <p:nvSpPr>
            <p:cNvPr id="36" name="文本框 35">
              <a:extLst>
                <a:ext uri="{FF2B5EF4-FFF2-40B4-BE49-F238E27FC236}">
                  <a16:creationId xmlns:a16="http://schemas.microsoft.com/office/drawing/2014/main" id="{C5DA6A41-DA14-406A-96A7-B24F9E99862C}"/>
                </a:ext>
              </a:extLst>
            </p:cNvPr>
            <p:cNvSpPr txBox="1"/>
            <p:nvPr/>
          </p:nvSpPr>
          <p:spPr>
            <a:xfrm>
              <a:off x="9940583" y="4694731"/>
              <a:ext cx="1690586" cy="587340"/>
            </a:xfrm>
            <a:prstGeom prst="rect">
              <a:avLst/>
            </a:prstGeom>
            <a:noFill/>
          </p:spPr>
          <p:txBody>
            <a:bodyPr wrap="square" lIns="0" tIns="0" rIns="0" bIns="0" rtlCol="0" anchor="t">
              <a:spAutoFit/>
            </a:bodyPr>
            <a:lstStyle/>
            <a:p>
              <a:pPr>
                <a:lnSpc>
                  <a:spcPct val="130000"/>
                </a:lnSpc>
              </a:pPr>
              <a:r>
                <a:rPr lang="en-US" altLang="zh-CN" sz="1000" b="0" dirty="0">
                  <a:solidFill>
                    <a:schemeClr val="tx1">
                      <a:lumMod val="75000"/>
                      <a:lumOff val="25000"/>
                    </a:schemeClr>
                  </a:solidFill>
                  <a:effectLst/>
                  <a:latin typeface="+mn-ea"/>
                </a:rPr>
                <a:t>Lorem ipsum dolor sit amet, consectetur adipisicing elit, sed do eiusmod tempor</a:t>
              </a:r>
              <a:endParaRPr lang="zh-CN" altLang="en-US" sz="1000" b="0" dirty="0">
                <a:solidFill>
                  <a:schemeClr val="tx1">
                    <a:lumMod val="75000"/>
                    <a:lumOff val="25000"/>
                  </a:schemeClr>
                </a:solidFill>
                <a:effectLst/>
                <a:latin typeface="+mn-ea"/>
              </a:endParaRPr>
            </a:p>
          </p:txBody>
        </p:sp>
      </p:grpSp>
    </p:spTree>
    <p:extLst>
      <p:ext uri="{BB962C8B-B14F-4D97-AF65-F5344CB8AC3E}">
        <p14:creationId xmlns:p14="http://schemas.microsoft.com/office/powerpoint/2010/main" val="3603780272"/>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2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 name="梯形 57">
            <a:extLst>
              <a:ext uri="{FF2B5EF4-FFF2-40B4-BE49-F238E27FC236}">
                <a16:creationId xmlns:a16="http://schemas.microsoft.com/office/drawing/2014/main" id="{0CCDC890-1CFB-4C4D-A382-33F3B9542C25}"/>
              </a:ext>
            </a:extLst>
          </p:cNvPr>
          <p:cNvSpPr/>
          <p:nvPr/>
        </p:nvSpPr>
        <p:spPr>
          <a:xfrm rot="5400000">
            <a:off x="2747339" y="2482164"/>
            <a:ext cx="5020921" cy="2121408"/>
          </a:xfrm>
          <a:prstGeom prst="trapezoid">
            <a:avLst/>
          </a:prstGeom>
          <a:solidFill>
            <a:schemeClr val="accent1">
              <a:lumMod val="25000"/>
              <a:lumOff val="75000"/>
              <a:alpha val="20000"/>
            </a:schemeClr>
          </a:solidFill>
          <a:ln>
            <a:gradFill>
              <a:gsLst>
                <a:gs pos="0">
                  <a:schemeClr val="accent1">
                    <a:lumMod val="5000"/>
                    <a:lumOff val="95000"/>
                  </a:schemeClr>
                </a:gs>
                <a:gs pos="100000">
                  <a:schemeClr val="accent1">
                    <a:lumMod val="30000"/>
                    <a:lumOff val="7000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2" name="梯形 1">
            <a:extLst>
              <a:ext uri="{FF2B5EF4-FFF2-40B4-BE49-F238E27FC236}">
                <a16:creationId xmlns:a16="http://schemas.microsoft.com/office/drawing/2014/main" id="{6D95B36A-D11E-4618-BEAE-8E60D03D9E68}"/>
              </a:ext>
            </a:extLst>
          </p:cNvPr>
          <p:cNvSpPr/>
          <p:nvPr/>
        </p:nvSpPr>
        <p:spPr>
          <a:xfrm rot="5400000">
            <a:off x="2921508" y="2702052"/>
            <a:ext cx="4910328" cy="2029968"/>
          </a:xfrm>
          <a:prstGeom prst="trapezoid">
            <a:avLst/>
          </a:prstGeom>
          <a:solidFill>
            <a:schemeClr val="accent1">
              <a:lumMod val="10000"/>
              <a:lumOff val="90000"/>
            </a:schemeClr>
          </a:solidFill>
          <a:ln>
            <a:gradFill>
              <a:gsLst>
                <a:gs pos="0">
                  <a:schemeClr val="accent1">
                    <a:lumMod val="5000"/>
                    <a:lumOff val="95000"/>
                  </a:schemeClr>
                </a:gs>
                <a:gs pos="100000">
                  <a:schemeClr val="accent1">
                    <a:lumMod val="30000"/>
                    <a:lumOff val="7000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cxnSp>
        <p:nvCxnSpPr>
          <p:cNvPr id="6" name="直接箭头连接符 5">
            <a:extLst>
              <a:ext uri="{FF2B5EF4-FFF2-40B4-BE49-F238E27FC236}">
                <a16:creationId xmlns:a16="http://schemas.microsoft.com/office/drawing/2014/main" id="{232734D1-4FBD-4589-84BB-342337E8C337}"/>
              </a:ext>
            </a:extLst>
          </p:cNvPr>
          <p:cNvCxnSpPr>
            <a:cxnSpLocks/>
          </p:cNvCxnSpPr>
          <p:nvPr/>
        </p:nvCxnSpPr>
        <p:spPr>
          <a:xfrm>
            <a:off x="5660136" y="2578608"/>
            <a:ext cx="1975104" cy="0"/>
          </a:xfrm>
          <a:prstGeom prst="straightConnector1">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32" name="直接箭头连接符 31">
            <a:extLst>
              <a:ext uri="{FF2B5EF4-FFF2-40B4-BE49-F238E27FC236}">
                <a16:creationId xmlns:a16="http://schemas.microsoft.com/office/drawing/2014/main" id="{647CD2E8-9370-439D-9DEC-6034F0104025}"/>
              </a:ext>
            </a:extLst>
          </p:cNvPr>
          <p:cNvCxnSpPr>
            <a:cxnSpLocks/>
          </p:cNvCxnSpPr>
          <p:nvPr/>
        </p:nvCxnSpPr>
        <p:spPr>
          <a:xfrm>
            <a:off x="3429000" y="2578608"/>
            <a:ext cx="950976" cy="0"/>
          </a:xfrm>
          <a:prstGeom prst="straightConnector1">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42" name="直接箭头连接符 41">
            <a:extLst>
              <a:ext uri="{FF2B5EF4-FFF2-40B4-BE49-F238E27FC236}">
                <a16:creationId xmlns:a16="http://schemas.microsoft.com/office/drawing/2014/main" id="{9BB99A88-7A78-4833-B16F-E12DF07E5661}"/>
              </a:ext>
            </a:extLst>
          </p:cNvPr>
          <p:cNvCxnSpPr>
            <a:cxnSpLocks/>
          </p:cNvCxnSpPr>
          <p:nvPr/>
        </p:nvCxnSpPr>
        <p:spPr>
          <a:xfrm>
            <a:off x="5660136" y="3717036"/>
            <a:ext cx="1975104" cy="0"/>
          </a:xfrm>
          <a:prstGeom prst="straightConnector1">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43" name="直接箭头连接符 42">
            <a:extLst>
              <a:ext uri="{FF2B5EF4-FFF2-40B4-BE49-F238E27FC236}">
                <a16:creationId xmlns:a16="http://schemas.microsoft.com/office/drawing/2014/main" id="{5A2064A5-12CD-4F88-B3E0-4E326AC9A086}"/>
              </a:ext>
            </a:extLst>
          </p:cNvPr>
          <p:cNvCxnSpPr>
            <a:cxnSpLocks/>
          </p:cNvCxnSpPr>
          <p:nvPr/>
        </p:nvCxnSpPr>
        <p:spPr>
          <a:xfrm>
            <a:off x="3429000" y="3717036"/>
            <a:ext cx="950976" cy="0"/>
          </a:xfrm>
          <a:prstGeom prst="straightConnector1">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45" name="直接箭头连接符 44">
            <a:extLst>
              <a:ext uri="{FF2B5EF4-FFF2-40B4-BE49-F238E27FC236}">
                <a16:creationId xmlns:a16="http://schemas.microsoft.com/office/drawing/2014/main" id="{8EDFE5A0-C0E7-4376-AA47-C513AFB2B414}"/>
              </a:ext>
            </a:extLst>
          </p:cNvPr>
          <p:cNvCxnSpPr>
            <a:cxnSpLocks/>
          </p:cNvCxnSpPr>
          <p:nvPr/>
        </p:nvCxnSpPr>
        <p:spPr>
          <a:xfrm>
            <a:off x="5660136" y="4855464"/>
            <a:ext cx="1975104" cy="0"/>
          </a:xfrm>
          <a:prstGeom prst="straightConnector1">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46" name="直接箭头连接符 45">
            <a:extLst>
              <a:ext uri="{FF2B5EF4-FFF2-40B4-BE49-F238E27FC236}">
                <a16:creationId xmlns:a16="http://schemas.microsoft.com/office/drawing/2014/main" id="{E331899B-2345-4546-88B6-CD5BAC573B94}"/>
              </a:ext>
            </a:extLst>
          </p:cNvPr>
          <p:cNvCxnSpPr>
            <a:cxnSpLocks/>
          </p:cNvCxnSpPr>
          <p:nvPr/>
        </p:nvCxnSpPr>
        <p:spPr>
          <a:xfrm>
            <a:off x="3429000" y="4855464"/>
            <a:ext cx="950976" cy="0"/>
          </a:xfrm>
          <a:prstGeom prst="straightConnector1">
            <a:avLst/>
          </a:prstGeom>
          <a:ln w="12700">
            <a:tailEnd type="triangle"/>
          </a:ln>
        </p:spPr>
        <p:style>
          <a:lnRef idx="1">
            <a:schemeClr val="accent1"/>
          </a:lnRef>
          <a:fillRef idx="0">
            <a:schemeClr val="accent1"/>
          </a:fillRef>
          <a:effectRef idx="0">
            <a:schemeClr val="accent1"/>
          </a:effectRef>
          <a:fontRef idx="minor">
            <a:schemeClr val="tx1"/>
          </a:fontRef>
        </p:style>
      </p:cxnSp>
      <p:sp>
        <p:nvSpPr>
          <p:cNvPr id="47" name="文本框 46">
            <a:extLst>
              <a:ext uri="{FF2B5EF4-FFF2-40B4-BE49-F238E27FC236}">
                <a16:creationId xmlns:a16="http://schemas.microsoft.com/office/drawing/2014/main" id="{092109EB-F418-4A94-8160-F2713199D1B8}"/>
              </a:ext>
            </a:extLst>
          </p:cNvPr>
          <p:cNvSpPr txBox="1"/>
          <p:nvPr/>
        </p:nvSpPr>
        <p:spPr>
          <a:xfrm>
            <a:off x="7819174" y="2424340"/>
            <a:ext cx="1154162" cy="276999"/>
          </a:xfrm>
          <a:prstGeom prst="rect">
            <a:avLst/>
          </a:prstGeom>
          <a:noFill/>
        </p:spPr>
        <p:txBody>
          <a:bodyPr wrap="none" lIns="0" tIns="0" rIns="0" bIns="0" rtlCol="0" anchor="t">
            <a:spAutoFit/>
          </a:bodyPr>
          <a:lstStyle/>
          <a:p>
            <a:r>
              <a:rPr lang="zh-CN" altLang="en-US" dirty="0">
                <a:solidFill>
                  <a:schemeClr val="accent1"/>
                </a:solidFill>
                <a:latin typeface="+mj-ea"/>
                <a:ea typeface="+mj-ea"/>
              </a:rPr>
              <a:t>关键词标题</a:t>
            </a:r>
          </a:p>
        </p:txBody>
      </p:sp>
      <p:sp>
        <p:nvSpPr>
          <p:cNvPr id="48" name="文本框 47">
            <a:extLst>
              <a:ext uri="{FF2B5EF4-FFF2-40B4-BE49-F238E27FC236}">
                <a16:creationId xmlns:a16="http://schemas.microsoft.com/office/drawing/2014/main" id="{0957250C-C22E-4D87-A470-ACA685072B6B}"/>
              </a:ext>
            </a:extLst>
          </p:cNvPr>
          <p:cNvSpPr txBox="1"/>
          <p:nvPr/>
        </p:nvSpPr>
        <p:spPr>
          <a:xfrm>
            <a:off x="7819174" y="2701339"/>
            <a:ext cx="2465443" cy="387286"/>
          </a:xfrm>
          <a:prstGeom prst="rect">
            <a:avLst/>
          </a:prstGeom>
          <a:noFill/>
        </p:spPr>
        <p:txBody>
          <a:bodyPr wrap="square" lIns="0" tIns="0" rIns="0" bIns="0" rtlCol="0" anchor="t">
            <a:spAutoFit/>
          </a:bodyPr>
          <a:lstStyle/>
          <a:p>
            <a:pPr>
              <a:lnSpc>
                <a:spcPct val="130000"/>
              </a:lnSpc>
            </a:pPr>
            <a:r>
              <a:rPr lang="en-US" altLang="zh-CN" sz="1000" b="0" dirty="0">
                <a:solidFill>
                  <a:schemeClr val="tx1">
                    <a:lumMod val="75000"/>
                    <a:lumOff val="25000"/>
                  </a:schemeClr>
                </a:solidFill>
                <a:effectLst/>
                <a:latin typeface="+mn-ea"/>
              </a:rPr>
              <a:t>Lorem ipsum dolor sit amet, consectetur adipisicing elit, sed do eiusmod tempor</a:t>
            </a:r>
            <a:endParaRPr lang="zh-CN" altLang="en-US" sz="1000" b="0" dirty="0">
              <a:solidFill>
                <a:schemeClr val="tx1">
                  <a:lumMod val="75000"/>
                  <a:lumOff val="25000"/>
                </a:schemeClr>
              </a:solidFill>
              <a:effectLst/>
              <a:latin typeface="+mn-ea"/>
            </a:endParaRPr>
          </a:p>
        </p:txBody>
      </p:sp>
      <p:sp>
        <p:nvSpPr>
          <p:cNvPr id="49" name="文本框 48">
            <a:extLst>
              <a:ext uri="{FF2B5EF4-FFF2-40B4-BE49-F238E27FC236}">
                <a16:creationId xmlns:a16="http://schemas.microsoft.com/office/drawing/2014/main" id="{3C0C0166-31EC-4530-9A03-D7F7624D0893}"/>
              </a:ext>
            </a:extLst>
          </p:cNvPr>
          <p:cNvSpPr txBox="1"/>
          <p:nvPr/>
        </p:nvSpPr>
        <p:spPr>
          <a:xfrm>
            <a:off x="7819174" y="3576484"/>
            <a:ext cx="1154162" cy="276999"/>
          </a:xfrm>
          <a:prstGeom prst="rect">
            <a:avLst/>
          </a:prstGeom>
          <a:noFill/>
        </p:spPr>
        <p:txBody>
          <a:bodyPr wrap="none" lIns="0" tIns="0" rIns="0" bIns="0" rtlCol="0" anchor="t">
            <a:spAutoFit/>
          </a:bodyPr>
          <a:lstStyle/>
          <a:p>
            <a:r>
              <a:rPr lang="zh-CN" altLang="en-US" dirty="0">
                <a:solidFill>
                  <a:schemeClr val="accent1"/>
                </a:solidFill>
                <a:latin typeface="+mj-ea"/>
                <a:ea typeface="+mj-ea"/>
              </a:rPr>
              <a:t>关键词标题</a:t>
            </a:r>
          </a:p>
        </p:txBody>
      </p:sp>
      <p:sp>
        <p:nvSpPr>
          <p:cNvPr id="50" name="文本框 49">
            <a:extLst>
              <a:ext uri="{FF2B5EF4-FFF2-40B4-BE49-F238E27FC236}">
                <a16:creationId xmlns:a16="http://schemas.microsoft.com/office/drawing/2014/main" id="{A2E44785-71C3-4E5A-9FD9-D9EBB3C00F11}"/>
              </a:ext>
            </a:extLst>
          </p:cNvPr>
          <p:cNvSpPr txBox="1"/>
          <p:nvPr/>
        </p:nvSpPr>
        <p:spPr>
          <a:xfrm>
            <a:off x="7819174" y="3853483"/>
            <a:ext cx="2465443" cy="387286"/>
          </a:xfrm>
          <a:prstGeom prst="rect">
            <a:avLst/>
          </a:prstGeom>
          <a:noFill/>
        </p:spPr>
        <p:txBody>
          <a:bodyPr wrap="square" lIns="0" tIns="0" rIns="0" bIns="0" rtlCol="0" anchor="t">
            <a:spAutoFit/>
          </a:bodyPr>
          <a:lstStyle/>
          <a:p>
            <a:pPr>
              <a:lnSpc>
                <a:spcPct val="130000"/>
              </a:lnSpc>
            </a:pPr>
            <a:r>
              <a:rPr lang="en-US" altLang="zh-CN" sz="1000" b="0" dirty="0">
                <a:solidFill>
                  <a:schemeClr val="tx1">
                    <a:lumMod val="75000"/>
                    <a:lumOff val="25000"/>
                  </a:schemeClr>
                </a:solidFill>
                <a:effectLst/>
                <a:latin typeface="+mn-ea"/>
              </a:rPr>
              <a:t>Lorem ipsum dolor sit amet, consectetur adipisicing elit, sed do eiusmod tempor</a:t>
            </a:r>
            <a:endParaRPr lang="zh-CN" altLang="en-US" sz="1000" b="0" dirty="0">
              <a:solidFill>
                <a:schemeClr val="tx1">
                  <a:lumMod val="75000"/>
                  <a:lumOff val="25000"/>
                </a:schemeClr>
              </a:solidFill>
              <a:effectLst/>
              <a:latin typeface="+mn-ea"/>
            </a:endParaRPr>
          </a:p>
        </p:txBody>
      </p:sp>
      <p:sp>
        <p:nvSpPr>
          <p:cNvPr id="51" name="文本框 50">
            <a:extLst>
              <a:ext uri="{FF2B5EF4-FFF2-40B4-BE49-F238E27FC236}">
                <a16:creationId xmlns:a16="http://schemas.microsoft.com/office/drawing/2014/main" id="{A359BC00-13D9-4002-A728-3E4EA1BB1956}"/>
              </a:ext>
            </a:extLst>
          </p:cNvPr>
          <p:cNvSpPr txBox="1"/>
          <p:nvPr/>
        </p:nvSpPr>
        <p:spPr>
          <a:xfrm>
            <a:off x="7819174" y="4701196"/>
            <a:ext cx="1154162" cy="276999"/>
          </a:xfrm>
          <a:prstGeom prst="rect">
            <a:avLst/>
          </a:prstGeom>
          <a:noFill/>
        </p:spPr>
        <p:txBody>
          <a:bodyPr wrap="none" lIns="0" tIns="0" rIns="0" bIns="0" rtlCol="0" anchor="t">
            <a:spAutoFit/>
          </a:bodyPr>
          <a:lstStyle/>
          <a:p>
            <a:r>
              <a:rPr lang="zh-CN" altLang="en-US" dirty="0">
                <a:solidFill>
                  <a:schemeClr val="accent1"/>
                </a:solidFill>
                <a:latin typeface="+mj-ea"/>
                <a:ea typeface="+mj-ea"/>
              </a:rPr>
              <a:t>关键词标题</a:t>
            </a:r>
          </a:p>
        </p:txBody>
      </p:sp>
      <p:sp>
        <p:nvSpPr>
          <p:cNvPr id="52" name="文本框 51">
            <a:extLst>
              <a:ext uri="{FF2B5EF4-FFF2-40B4-BE49-F238E27FC236}">
                <a16:creationId xmlns:a16="http://schemas.microsoft.com/office/drawing/2014/main" id="{05F20212-B717-4264-B6BA-B417600132EC}"/>
              </a:ext>
            </a:extLst>
          </p:cNvPr>
          <p:cNvSpPr txBox="1"/>
          <p:nvPr/>
        </p:nvSpPr>
        <p:spPr>
          <a:xfrm>
            <a:off x="7819174" y="4978195"/>
            <a:ext cx="2465443" cy="387286"/>
          </a:xfrm>
          <a:prstGeom prst="rect">
            <a:avLst/>
          </a:prstGeom>
          <a:noFill/>
        </p:spPr>
        <p:txBody>
          <a:bodyPr wrap="square" lIns="0" tIns="0" rIns="0" bIns="0" rtlCol="0" anchor="t">
            <a:spAutoFit/>
          </a:bodyPr>
          <a:lstStyle/>
          <a:p>
            <a:pPr>
              <a:lnSpc>
                <a:spcPct val="130000"/>
              </a:lnSpc>
            </a:pPr>
            <a:r>
              <a:rPr lang="en-US" altLang="zh-CN" sz="1000" b="0" dirty="0">
                <a:solidFill>
                  <a:schemeClr val="tx1">
                    <a:lumMod val="75000"/>
                    <a:lumOff val="25000"/>
                  </a:schemeClr>
                </a:solidFill>
                <a:effectLst/>
                <a:latin typeface="+mn-ea"/>
              </a:rPr>
              <a:t>Lorem ipsum dolor sit amet, consectetur adipisicing elit, sed do eiusmod tempor</a:t>
            </a:r>
            <a:endParaRPr lang="zh-CN" altLang="en-US" sz="1000" b="0" dirty="0">
              <a:solidFill>
                <a:schemeClr val="tx1">
                  <a:lumMod val="75000"/>
                  <a:lumOff val="25000"/>
                </a:schemeClr>
              </a:solidFill>
              <a:effectLst/>
              <a:latin typeface="+mn-ea"/>
            </a:endParaRPr>
          </a:p>
        </p:txBody>
      </p:sp>
      <p:sp>
        <p:nvSpPr>
          <p:cNvPr id="16" name="椭圆 15">
            <a:extLst>
              <a:ext uri="{FF2B5EF4-FFF2-40B4-BE49-F238E27FC236}">
                <a16:creationId xmlns:a16="http://schemas.microsoft.com/office/drawing/2014/main" id="{FB45BBE8-FDC5-4D73-B977-DE1BC893047D}"/>
              </a:ext>
            </a:extLst>
          </p:cNvPr>
          <p:cNvSpPr/>
          <p:nvPr/>
        </p:nvSpPr>
        <p:spPr>
          <a:xfrm>
            <a:off x="2284089" y="2185350"/>
            <a:ext cx="786518" cy="786516"/>
          </a:xfrm>
          <a:prstGeom prst="ellipse">
            <a:avLst/>
          </a:prstGeom>
          <a:noFill/>
          <a:ln>
            <a:solidFill>
              <a:schemeClr val="accent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53" name="椭圆 52">
            <a:extLst>
              <a:ext uri="{FF2B5EF4-FFF2-40B4-BE49-F238E27FC236}">
                <a16:creationId xmlns:a16="http://schemas.microsoft.com/office/drawing/2014/main" id="{378B5567-370C-4D87-A6A7-B607111861DE}"/>
              </a:ext>
            </a:extLst>
          </p:cNvPr>
          <p:cNvSpPr/>
          <p:nvPr/>
        </p:nvSpPr>
        <p:spPr>
          <a:xfrm>
            <a:off x="2284089" y="3321725"/>
            <a:ext cx="786518" cy="786516"/>
          </a:xfrm>
          <a:prstGeom prst="ellipse">
            <a:avLst/>
          </a:prstGeom>
          <a:noFill/>
          <a:ln>
            <a:solidFill>
              <a:schemeClr val="accent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54" name="椭圆 53">
            <a:extLst>
              <a:ext uri="{FF2B5EF4-FFF2-40B4-BE49-F238E27FC236}">
                <a16:creationId xmlns:a16="http://schemas.microsoft.com/office/drawing/2014/main" id="{85CE6C17-E8DF-45F3-9D79-C977B4F2EE5D}"/>
              </a:ext>
            </a:extLst>
          </p:cNvPr>
          <p:cNvSpPr/>
          <p:nvPr/>
        </p:nvSpPr>
        <p:spPr>
          <a:xfrm>
            <a:off x="2284089" y="4431726"/>
            <a:ext cx="786518" cy="786516"/>
          </a:xfrm>
          <a:prstGeom prst="ellipse">
            <a:avLst/>
          </a:prstGeom>
          <a:noFill/>
          <a:ln>
            <a:solidFill>
              <a:schemeClr val="accent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55" name="文本框 54">
            <a:extLst>
              <a:ext uri="{FF2B5EF4-FFF2-40B4-BE49-F238E27FC236}">
                <a16:creationId xmlns:a16="http://schemas.microsoft.com/office/drawing/2014/main" id="{895CB085-185D-41F5-9D11-6161A138DBB7}"/>
              </a:ext>
            </a:extLst>
          </p:cNvPr>
          <p:cNvSpPr txBox="1"/>
          <p:nvPr/>
        </p:nvSpPr>
        <p:spPr>
          <a:xfrm>
            <a:off x="2408043" y="2455117"/>
            <a:ext cx="538609" cy="215444"/>
          </a:xfrm>
          <a:prstGeom prst="rect">
            <a:avLst/>
          </a:prstGeom>
          <a:noFill/>
        </p:spPr>
        <p:txBody>
          <a:bodyPr wrap="none" lIns="0" tIns="0" rIns="0" bIns="0" rtlCol="0" anchor="t">
            <a:spAutoFit/>
          </a:bodyPr>
          <a:lstStyle/>
          <a:p>
            <a:pPr algn="ctr"/>
            <a:r>
              <a:rPr lang="zh-CN" altLang="en-US" sz="1400" dirty="0">
                <a:solidFill>
                  <a:schemeClr val="accent1"/>
                </a:solidFill>
                <a:latin typeface="+mj-ea"/>
                <a:ea typeface="+mj-ea"/>
              </a:rPr>
              <a:t>关键词</a:t>
            </a:r>
          </a:p>
        </p:txBody>
      </p:sp>
      <p:sp>
        <p:nvSpPr>
          <p:cNvPr id="56" name="文本框 55">
            <a:extLst>
              <a:ext uri="{FF2B5EF4-FFF2-40B4-BE49-F238E27FC236}">
                <a16:creationId xmlns:a16="http://schemas.microsoft.com/office/drawing/2014/main" id="{17455489-FF78-486E-9A39-07F18007E88C}"/>
              </a:ext>
            </a:extLst>
          </p:cNvPr>
          <p:cNvSpPr txBox="1"/>
          <p:nvPr/>
        </p:nvSpPr>
        <p:spPr>
          <a:xfrm>
            <a:off x="2408043" y="3607261"/>
            <a:ext cx="538609" cy="215444"/>
          </a:xfrm>
          <a:prstGeom prst="rect">
            <a:avLst/>
          </a:prstGeom>
          <a:noFill/>
        </p:spPr>
        <p:txBody>
          <a:bodyPr wrap="none" lIns="0" tIns="0" rIns="0" bIns="0" rtlCol="0" anchor="t">
            <a:spAutoFit/>
          </a:bodyPr>
          <a:lstStyle/>
          <a:p>
            <a:pPr algn="ctr"/>
            <a:r>
              <a:rPr lang="zh-CN" altLang="en-US" sz="1400" dirty="0">
                <a:solidFill>
                  <a:schemeClr val="accent1"/>
                </a:solidFill>
                <a:latin typeface="+mj-ea"/>
                <a:ea typeface="+mj-ea"/>
              </a:rPr>
              <a:t>关键词</a:t>
            </a:r>
          </a:p>
        </p:txBody>
      </p:sp>
      <p:sp>
        <p:nvSpPr>
          <p:cNvPr id="57" name="文本框 56">
            <a:extLst>
              <a:ext uri="{FF2B5EF4-FFF2-40B4-BE49-F238E27FC236}">
                <a16:creationId xmlns:a16="http://schemas.microsoft.com/office/drawing/2014/main" id="{C2F2193B-6918-4B88-8066-0D976A828EC9}"/>
              </a:ext>
            </a:extLst>
          </p:cNvPr>
          <p:cNvSpPr txBox="1"/>
          <p:nvPr/>
        </p:nvSpPr>
        <p:spPr>
          <a:xfrm>
            <a:off x="2408043" y="4747742"/>
            <a:ext cx="538609" cy="215444"/>
          </a:xfrm>
          <a:prstGeom prst="rect">
            <a:avLst/>
          </a:prstGeom>
          <a:noFill/>
        </p:spPr>
        <p:txBody>
          <a:bodyPr wrap="none" lIns="0" tIns="0" rIns="0" bIns="0" rtlCol="0" anchor="t">
            <a:spAutoFit/>
          </a:bodyPr>
          <a:lstStyle/>
          <a:p>
            <a:pPr algn="ctr"/>
            <a:r>
              <a:rPr lang="zh-CN" altLang="en-US" sz="1400" dirty="0">
                <a:solidFill>
                  <a:schemeClr val="accent1"/>
                </a:solidFill>
                <a:latin typeface="+mj-ea"/>
                <a:ea typeface="+mj-ea"/>
              </a:rPr>
              <a:t>关键词</a:t>
            </a:r>
          </a:p>
        </p:txBody>
      </p:sp>
    </p:spTree>
    <p:extLst>
      <p:ext uri="{BB962C8B-B14F-4D97-AF65-F5344CB8AC3E}">
        <p14:creationId xmlns:p14="http://schemas.microsoft.com/office/powerpoint/2010/main" val="142127805"/>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2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圆角矩形 7">
            <a:extLst>
              <a:ext uri="{FF2B5EF4-FFF2-40B4-BE49-F238E27FC236}">
                <a16:creationId xmlns:a16="http://schemas.microsoft.com/office/drawing/2014/main" id="{B8DBC66D-86CA-4402-9C5E-518DBED410F5}"/>
              </a:ext>
            </a:extLst>
          </p:cNvPr>
          <p:cNvSpPr/>
          <p:nvPr/>
        </p:nvSpPr>
        <p:spPr>
          <a:xfrm>
            <a:off x="9437997" y="3024611"/>
            <a:ext cx="1933977" cy="3838521"/>
          </a:xfrm>
          <a:prstGeom prst="roundRect">
            <a:avLst>
              <a:gd name="adj" fmla="val 2882"/>
            </a:avLst>
          </a:prstGeom>
          <a:solidFill>
            <a:sysClr val="window" lastClr="FFFFFF"/>
          </a:solidFill>
          <a:ln w="12700" cap="flat" cmpd="sng" algn="ctr">
            <a:noFill/>
            <a:prstDash val="solid"/>
            <a:miter lim="800000"/>
          </a:ln>
          <a:effectLst>
            <a:outerShdw blurRad="127000" algn="ctr" rotWithShape="0">
              <a:schemeClr val="accent1">
                <a:lumMod val="50000"/>
                <a:alpha val="15000"/>
              </a:schemeClr>
            </a:outerShdw>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800" b="0" i="0" u="none" strike="noStrike" kern="0" cap="none" spc="0" normalizeH="0" baseline="0" noProof="0" dirty="0">
                <a:ln>
                  <a:noFill/>
                </a:ln>
                <a:solidFill>
                  <a:prstClr val="white"/>
                </a:solidFill>
                <a:effectLst/>
                <a:uLnTx/>
                <a:uFillTx/>
              </a:rPr>
              <a:t>电商体量增速迅猛</a:t>
            </a:r>
            <a:endParaRPr kumimoji="0" lang="en-US" altLang="zh-CN" sz="1800" b="0" i="0" u="none" strike="noStrike" kern="0" cap="none" spc="0" normalizeH="0" baseline="0" noProof="0" dirty="0">
              <a:ln>
                <a:noFill/>
              </a:ln>
              <a:solidFill>
                <a:prstClr val="white"/>
              </a:solidFill>
              <a:effectLst/>
              <a:uLnTx/>
              <a:uFillTx/>
            </a:endParaRPr>
          </a:p>
        </p:txBody>
      </p:sp>
      <p:sp>
        <p:nvSpPr>
          <p:cNvPr id="3" name="梯形 2">
            <a:extLst>
              <a:ext uri="{FF2B5EF4-FFF2-40B4-BE49-F238E27FC236}">
                <a16:creationId xmlns:a16="http://schemas.microsoft.com/office/drawing/2014/main" id="{CE90C52B-5238-4C1F-9C55-19693CA44ED3}"/>
              </a:ext>
            </a:extLst>
          </p:cNvPr>
          <p:cNvSpPr/>
          <p:nvPr>
            <p:custDataLst>
              <p:tags r:id="rId2"/>
            </p:custDataLst>
          </p:nvPr>
        </p:nvSpPr>
        <p:spPr>
          <a:xfrm rot="16200000" flipH="1">
            <a:off x="7458225" y="4883254"/>
            <a:ext cx="3779083" cy="180685"/>
          </a:xfrm>
          <a:prstGeom prst="trapezoid">
            <a:avLst>
              <a:gd name="adj" fmla="val 196907"/>
            </a:avLst>
          </a:prstGeom>
          <a:gradFill flip="none" rotWithShape="1">
            <a:gsLst>
              <a:gs pos="0">
                <a:schemeClr val="accent1">
                  <a:alpha val="0"/>
                </a:schemeClr>
              </a:gs>
              <a:gs pos="100000">
                <a:schemeClr val="accent1">
                  <a:alpha val="30000"/>
                </a:schemeClr>
              </a:gs>
            </a:gsLst>
            <a:lin ang="5400000" scaled="1"/>
            <a:tileRect/>
          </a:gra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endParaRPr>
          </a:p>
        </p:txBody>
      </p:sp>
      <p:sp>
        <p:nvSpPr>
          <p:cNvPr id="4" name="圆角矩形 10">
            <a:extLst>
              <a:ext uri="{FF2B5EF4-FFF2-40B4-BE49-F238E27FC236}">
                <a16:creationId xmlns:a16="http://schemas.microsoft.com/office/drawing/2014/main" id="{C0EC65B4-10A0-43AE-AAC4-DAFDBB9FF73E}"/>
              </a:ext>
            </a:extLst>
          </p:cNvPr>
          <p:cNvSpPr/>
          <p:nvPr/>
        </p:nvSpPr>
        <p:spPr>
          <a:xfrm>
            <a:off x="824299" y="3024611"/>
            <a:ext cx="1933978" cy="3838520"/>
          </a:xfrm>
          <a:prstGeom prst="roundRect">
            <a:avLst>
              <a:gd name="adj" fmla="val 2882"/>
            </a:avLst>
          </a:prstGeom>
          <a:solidFill>
            <a:sysClr val="window" lastClr="FFFFFF"/>
          </a:solidFill>
          <a:ln w="12700" cap="flat" cmpd="sng" algn="ctr">
            <a:noFill/>
            <a:prstDash val="solid"/>
            <a:miter lim="800000"/>
          </a:ln>
          <a:effectLst>
            <a:outerShdw blurRad="127000" algn="ctr" rotWithShape="0">
              <a:schemeClr val="accent1">
                <a:lumMod val="50000"/>
                <a:alpha val="15000"/>
              </a:schemeClr>
            </a:outerShdw>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800" b="0" i="0" u="none" strike="noStrike" kern="0" cap="none" spc="0" normalizeH="0" baseline="0" noProof="0" dirty="0">
                <a:ln>
                  <a:noFill/>
                </a:ln>
                <a:solidFill>
                  <a:prstClr val="white"/>
                </a:solidFill>
                <a:effectLst/>
                <a:uLnTx/>
                <a:uFillTx/>
              </a:rPr>
              <a:t>电商体量增速迅猛</a:t>
            </a:r>
            <a:endParaRPr kumimoji="0" lang="en-US" altLang="zh-CN" sz="1800" b="0" i="0" u="none" strike="noStrike" kern="0" cap="none" spc="0" normalizeH="0" baseline="0" noProof="0" dirty="0">
              <a:ln>
                <a:noFill/>
              </a:ln>
              <a:solidFill>
                <a:prstClr val="white"/>
              </a:solidFill>
              <a:effectLst/>
              <a:uLnTx/>
              <a:uFillTx/>
            </a:endParaRPr>
          </a:p>
        </p:txBody>
      </p:sp>
      <p:sp>
        <p:nvSpPr>
          <p:cNvPr id="5" name="梯形 4">
            <a:extLst>
              <a:ext uri="{FF2B5EF4-FFF2-40B4-BE49-F238E27FC236}">
                <a16:creationId xmlns:a16="http://schemas.microsoft.com/office/drawing/2014/main" id="{4D090AF8-95CE-4CBF-8084-4296A8D452BB}"/>
              </a:ext>
            </a:extLst>
          </p:cNvPr>
          <p:cNvSpPr/>
          <p:nvPr>
            <p:custDataLst>
              <p:tags r:id="rId3"/>
            </p:custDataLst>
          </p:nvPr>
        </p:nvSpPr>
        <p:spPr>
          <a:xfrm rot="5400000">
            <a:off x="959078" y="4883251"/>
            <a:ext cx="3779081" cy="180685"/>
          </a:xfrm>
          <a:prstGeom prst="trapezoid">
            <a:avLst>
              <a:gd name="adj" fmla="val 196907"/>
            </a:avLst>
          </a:prstGeom>
          <a:gradFill flip="none" rotWithShape="1">
            <a:gsLst>
              <a:gs pos="0">
                <a:schemeClr val="accent1">
                  <a:alpha val="0"/>
                </a:schemeClr>
              </a:gs>
              <a:gs pos="100000">
                <a:schemeClr val="accent1">
                  <a:alpha val="30000"/>
                </a:schemeClr>
              </a:gs>
            </a:gsLst>
            <a:lin ang="5400000" scaled="1"/>
            <a:tileRect/>
          </a:gra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endParaRPr>
          </a:p>
        </p:txBody>
      </p:sp>
      <p:sp>
        <p:nvSpPr>
          <p:cNvPr id="6" name="圆角矩形 13">
            <a:extLst>
              <a:ext uri="{FF2B5EF4-FFF2-40B4-BE49-F238E27FC236}">
                <a16:creationId xmlns:a16="http://schemas.microsoft.com/office/drawing/2014/main" id="{71B1A98F-E279-4D1A-A49C-DDE6988B0C7E}"/>
              </a:ext>
            </a:extLst>
          </p:cNvPr>
          <p:cNvSpPr/>
          <p:nvPr/>
        </p:nvSpPr>
        <p:spPr>
          <a:xfrm>
            <a:off x="2893154" y="2700557"/>
            <a:ext cx="2021296" cy="4157443"/>
          </a:xfrm>
          <a:prstGeom prst="roundRect">
            <a:avLst>
              <a:gd name="adj" fmla="val 2882"/>
            </a:avLst>
          </a:prstGeom>
          <a:solidFill>
            <a:sysClr val="window" lastClr="FFFFFF"/>
          </a:solidFill>
          <a:ln w="12700" cap="flat" cmpd="sng" algn="ctr">
            <a:noFill/>
            <a:prstDash val="solid"/>
            <a:miter lim="800000"/>
          </a:ln>
          <a:effectLst>
            <a:outerShdw blurRad="127000" algn="ctr" rotWithShape="0">
              <a:schemeClr val="accent1">
                <a:lumMod val="50000"/>
                <a:alpha val="15000"/>
              </a:schemeClr>
            </a:outerShdw>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800" b="0" i="0" u="none" strike="noStrike" kern="0" cap="none" spc="0" normalizeH="0" baseline="0" noProof="0" dirty="0">
                <a:ln>
                  <a:noFill/>
                </a:ln>
                <a:solidFill>
                  <a:prstClr val="white"/>
                </a:solidFill>
                <a:effectLst/>
                <a:uLnTx/>
                <a:uFillTx/>
              </a:rPr>
              <a:t>电商体量增速迅猛</a:t>
            </a:r>
            <a:endParaRPr kumimoji="0" lang="en-US" altLang="zh-CN" sz="1800" b="0" i="0" u="none" strike="noStrike" kern="0" cap="none" spc="0" normalizeH="0" baseline="0" noProof="0" dirty="0">
              <a:ln>
                <a:noFill/>
              </a:ln>
              <a:solidFill>
                <a:prstClr val="white"/>
              </a:solidFill>
              <a:effectLst/>
              <a:uLnTx/>
              <a:uFillTx/>
            </a:endParaRPr>
          </a:p>
        </p:txBody>
      </p:sp>
      <p:sp>
        <p:nvSpPr>
          <p:cNvPr id="7" name="梯形 6">
            <a:extLst>
              <a:ext uri="{FF2B5EF4-FFF2-40B4-BE49-F238E27FC236}">
                <a16:creationId xmlns:a16="http://schemas.microsoft.com/office/drawing/2014/main" id="{A7BA879D-DC0D-4B77-8A8C-B1246570FF94}"/>
              </a:ext>
            </a:extLst>
          </p:cNvPr>
          <p:cNvSpPr/>
          <p:nvPr>
            <p:custDataLst>
              <p:tags r:id="rId4"/>
            </p:custDataLst>
          </p:nvPr>
        </p:nvSpPr>
        <p:spPr>
          <a:xfrm rot="5400000">
            <a:off x="2954066" y="4729596"/>
            <a:ext cx="4093066" cy="163751"/>
          </a:xfrm>
          <a:prstGeom prst="trapezoid">
            <a:avLst>
              <a:gd name="adj" fmla="val 196907"/>
            </a:avLst>
          </a:prstGeom>
          <a:gradFill flip="none" rotWithShape="1">
            <a:gsLst>
              <a:gs pos="0">
                <a:schemeClr val="accent1">
                  <a:alpha val="0"/>
                </a:schemeClr>
              </a:gs>
              <a:gs pos="100000">
                <a:schemeClr val="accent1">
                  <a:alpha val="30000"/>
                </a:schemeClr>
              </a:gs>
            </a:gsLst>
            <a:lin ang="5400000" scaled="1"/>
            <a:tileRect/>
          </a:gra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endParaRPr>
          </a:p>
        </p:txBody>
      </p:sp>
      <p:sp>
        <p:nvSpPr>
          <p:cNvPr id="8" name="圆角矩形 16">
            <a:extLst>
              <a:ext uri="{FF2B5EF4-FFF2-40B4-BE49-F238E27FC236}">
                <a16:creationId xmlns:a16="http://schemas.microsoft.com/office/drawing/2014/main" id="{5166D089-1E0E-4D97-AAA2-FA1C08F2B30F}"/>
              </a:ext>
            </a:extLst>
          </p:cNvPr>
          <p:cNvSpPr/>
          <p:nvPr/>
        </p:nvSpPr>
        <p:spPr>
          <a:xfrm>
            <a:off x="7281940" y="2700556"/>
            <a:ext cx="2021296" cy="4157443"/>
          </a:xfrm>
          <a:prstGeom prst="roundRect">
            <a:avLst>
              <a:gd name="adj" fmla="val 2882"/>
            </a:avLst>
          </a:prstGeom>
          <a:solidFill>
            <a:sysClr val="window" lastClr="FFFFFF"/>
          </a:solidFill>
          <a:ln w="12700" cap="flat" cmpd="sng" algn="ctr">
            <a:noFill/>
            <a:prstDash val="solid"/>
            <a:miter lim="800000"/>
          </a:ln>
          <a:effectLst>
            <a:outerShdw blurRad="127000" algn="ctr" rotWithShape="0">
              <a:schemeClr val="accent1">
                <a:lumMod val="50000"/>
                <a:alpha val="15000"/>
              </a:schemeClr>
            </a:outerShdw>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800" b="0" i="0" u="none" strike="noStrike" kern="0" cap="none" spc="0" normalizeH="0" baseline="0" noProof="0" dirty="0">
                <a:ln>
                  <a:noFill/>
                </a:ln>
                <a:solidFill>
                  <a:prstClr val="white"/>
                </a:solidFill>
                <a:effectLst/>
                <a:uLnTx/>
                <a:uFillTx/>
              </a:rPr>
              <a:t>电商体量增速迅猛</a:t>
            </a:r>
            <a:endParaRPr kumimoji="0" lang="en-US" altLang="zh-CN" sz="1800" b="0" i="0" u="none" strike="noStrike" kern="0" cap="none" spc="0" normalizeH="0" baseline="0" noProof="0" dirty="0">
              <a:ln>
                <a:noFill/>
              </a:ln>
              <a:solidFill>
                <a:prstClr val="white"/>
              </a:solidFill>
              <a:effectLst/>
              <a:uLnTx/>
              <a:uFillTx/>
            </a:endParaRPr>
          </a:p>
        </p:txBody>
      </p:sp>
      <p:sp>
        <p:nvSpPr>
          <p:cNvPr id="9" name="梯形 8">
            <a:extLst>
              <a:ext uri="{FF2B5EF4-FFF2-40B4-BE49-F238E27FC236}">
                <a16:creationId xmlns:a16="http://schemas.microsoft.com/office/drawing/2014/main" id="{9D1FF6D6-6989-483D-B5FC-D14EA8DE276F}"/>
              </a:ext>
            </a:extLst>
          </p:cNvPr>
          <p:cNvSpPr/>
          <p:nvPr>
            <p:custDataLst>
              <p:tags r:id="rId5"/>
            </p:custDataLst>
          </p:nvPr>
        </p:nvSpPr>
        <p:spPr>
          <a:xfrm rot="16200000" flipH="1">
            <a:off x="5149757" y="4728986"/>
            <a:ext cx="4093066" cy="164972"/>
          </a:xfrm>
          <a:prstGeom prst="trapezoid">
            <a:avLst>
              <a:gd name="adj" fmla="val 196907"/>
            </a:avLst>
          </a:prstGeom>
          <a:gradFill flip="none" rotWithShape="1">
            <a:gsLst>
              <a:gs pos="0">
                <a:schemeClr val="accent1">
                  <a:alpha val="0"/>
                </a:schemeClr>
              </a:gs>
              <a:gs pos="100000">
                <a:schemeClr val="accent1">
                  <a:alpha val="30000"/>
                </a:schemeClr>
              </a:gs>
            </a:gsLst>
            <a:lin ang="5400000" scaled="1"/>
            <a:tileRect/>
          </a:gra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endParaRPr>
          </a:p>
        </p:txBody>
      </p:sp>
      <p:sp>
        <p:nvSpPr>
          <p:cNvPr id="10" name="圆角矩形 18">
            <a:extLst>
              <a:ext uri="{FF2B5EF4-FFF2-40B4-BE49-F238E27FC236}">
                <a16:creationId xmlns:a16="http://schemas.microsoft.com/office/drawing/2014/main" id="{791F31D2-F3DF-4FFF-AEB5-9E2CC9A1A9A4}"/>
              </a:ext>
            </a:extLst>
          </p:cNvPr>
          <p:cNvSpPr/>
          <p:nvPr/>
        </p:nvSpPr>
        <p:spPr>
          <a:xfrm>
            <a:off x="5085011" y="2516111"/>
            <a:ext cx="2021296" cy="4341889"/>
          </a:xfrm>
          <a:prstGeom prst="roundRect">
            <a:avLst>
              <a:gd name="adj" fmla="val 2882"/>
            </a:avLst>
          </a:prstGeom>
          <a:solidFill>
            <a:sysClr val="window" lastClr="FFFFFF"/>
          </a:solidFill>
          <a:ln w="12700" cap="flat" cmpd="sng" algn="ctr">
            <a:noFill/>
            <a:prstDash val="solid"/>
            <a:miter lim="800000"/>
          </a:ln>
          <a:effectLst>
            <a:outerShdw blurRad="127000" algn="ctr" rotWithShape="0">
              <a:schemeClr val="accent1">
                <a:lumMod val="50000"/>
                <a:alpha val="15000"/>
              </a:schemeClr>
            </a:outerShdw>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800" b="0" i="0" u="none" strike="noStrike" kern="0" cap="none" spc="0" normalizeH="0" baseline="0" noProof="0" dirty="0">
                <a:ln>
                  <a:noFill/>
                </a:ln>
                <a:solidFill>
                  <a:prstClr val="white"/>
                </a:solidFill>
                <a:effectLst/>
                <a:uLnTx/>
                <a:uFillTx/>
              </a:rPr>
              <a:t>电商体量增速迅猛</a:t>
            </a:r>
            <a:endParaRPr kumimoji="0" lang="en-US" altLang="zh-CN" sz="1800" b="0" i="0" u="none" strike="noStrike" kern="0" cap="none" spc="0" normalizeH="0" baseline="0" noProof="0" dirty="0">
              <a:ln>
                <a:noFill/>
              </a:ln>
              <a:solidFill>
                <a:prstClr val="white"/>
              </a:solidFill>
              <a:effectLst/>
              <a:uLnTx/>
              <a:uFillTx/>
            </a:endParaRPr>
          </a:p>
        </p:txBody>
      </p:sp>
      <p:sp>
        <p:nvSpPr>
          <p:cNvPr id="11" name="文本框 10">
            <a:extLst>
              <a:ext uri="{FF2B5EF4-FFF2-40B4-BE49-F238E27FC236}">
                <a16:creationId xmlns:a16="http://schemas.microsoft.com/office/drawing/2014/main" id="{52971013-1167-43ED-AD12-551ED36CAE2C}"/>
              </a:ext>
            </a:extLst>
          </p:cNvPr>
          <p:cNvSpPr txBox="1"/>
          <p:nvPr/>
        </p:nvSpPr>
        <p:spPr>
          <a:xfrm>
            <a:off x="1240514" y="4095172"/>
            <a:ext cx="1154162" cy="276999"/>
          </a:xfrm>
          <a:prstGeom prst="rect">
            <a:avLst/>
          </a:prstGeom>
          <a:noFill/>
        </p:spPr>
        <p:txBody>
          <a:bodyPr wrap="none" lIns="0" tIns="0" rIns="0" bIns="0" rtlCol="0" anchor="t">
            <a:spAutoFit/>
          </a:bodyPr>
          <a:lstStyle/>
          <a:p>
            <a:r>
              <a:rPr lang="zh-CN" altLang="en-US" dirty="0">
                <a:solidFill>
                  <a:schemeClr val="accent1"/>
                </a:solidFill>
                <a:latin typeface="+mj-ea"/>
                <a:ea typeface="+mj-ea"/>
              </a:rPr>
              <a:t>关键词标题</a:t>
            </a:r>
          </a:p>
        </p:txBody>
      </p:sp>
      <p:sp>
        <p:nvSpPr>
          <p:cNvPr id="12" name="文本框 11">
            <a:extLst>
              <a:ext uri="{FF2B5EF4-FFF2-40B4-BE49-F238E27FC236}">
                <a16:creationId xmlns:a16="http://schemas.microsoft.com/office/drawing/2014/main" id="{28EE375A-1A2E-487A-81AE-29DE89CCABC5}"/>
              </a:ext>
            </a:extLst>
          </p:cNvPr>
          <p:cNvSpPr txBox="1"/>
          <p:nvPr/>
        </p:nvSpPr>
        <p:spPr>
          <a:xfrm>
            <a:off x="1079539" y="4404594"/>
            <a:ext cx="1476113" cy="826829"/>
          </a:xfrm>
          <a:prstGeom prst="rect">
            <a:avLst/>
          </a:prstGeom>
          <a:noFill/>
        </p:spPr>
        <p:txBody>
          <a:bodyPr wrap="square" lIns="0" tIns="0" rIns="0" bIns="0" rtlCol="0" anchor="t">
            <a:spAutoFit/>
          </a:bodyPr>
          <a:lstStyle/>
          <a:p>
            <a:pPr algn="ctr">
              <a:lnSpc>
                <a:spcPct val="130000"/>
              </a:lnSpc>
            </a:pPr>
            <a:r>
              <a:rPr lang="en-US" altLang="zh-CN" sz="1050" b="0" dirty="0">
                <a:solidFill>
                  <a:schemeClr val="tx1">
                    <a:lumMod val="75000"/>
                    <a:lumOff val="25000"/>
                  </a:schemeClr>
                </a:solidFill>
                <a:effectLst/>
                <a:latin typeface="+mn-ea"/>
              </a:rPr>
              <a:t>Lorem ipsum dolor sit amet, consectetur adipisicing elit, sed do eiusmod tempor</a:t>
            </a:r>
            <a:endParaRPr lang="zh-CN" altLang="en-US" sz="1050" b="0" dirty="0">
              <a:solidFill>
                <a:schemeClr val="tx1">
                  <a:lumMod val="75000"/>
                  <a:lumOff val="25000"/>
                </a:schemeClr>
              </a:solidFill>
              <a:effectLst/>
              <a:latin typeface="+mn-ea"/>
            </a:endParaRPr>
          </a:p>
        </p:txBody>
      </p:sp>
      <p:sp>
        <p:nvSpPr>
          <p:cNvPr id="13" name="文本框 12">
            <a:extLst>
              <a:ext uri="{FF2B5EF4-FFF2-40B4-BE49-F238E27FC236}">
                <a16:creationId xmlns:a16="http://schemas.microsoft.com/office/drawing/2014/main" id="{089710D2-947F-4013-B33E-73B133A9A12B}"/>
              </a:ext>
            </a:extLst>
          </p:cNvPr>
          <p:cNvSpPr txBox="1"/>
          <p:nvPr/>
        </p:nvSpPr>
        <p:spPr>
          <a:xfrm>
            <a:off x="1079539" y="5410434"/>
            <a:ext cx="1476113" cy="826829"/>
          </a:xfrm>
          <a:prstGeom prst="rect">
            <a:avLst/>
          </a:prstGeom>
          <a:noFill/>
        </p:spPr>
        <p:txBody>
          <a:bodyPr wrap="square" lIns="0" tIns="0" rIns="0" bIns="0" rtlCol="0" anchor="t">
            <a:spAutoFit/>
          </a:bodyPr>
          <a:lstStyle/>
          <a:p>
            <a:pPr algn="ctr">
              <a:lnSpc>
                <a:spcPct val="130000"/>
              </a:lnSpc>
            </a:pPr>
            <a:r>
              <a:rPr lang="en-US" altLang="zh-CN" sz="1050" b="0" dirty="0">
                <a:solidFill>
                  <a:schemeClr val="tx1">
                    <a:lumMod val="75000"/>
                    <a:lumOff val="25000"/>
                  </a:schemeClr>
                </a:solidFill>
                <a:effectLst/>
                <a:latin typeface="+mn-ea"/>
              </a:rPr>
              <a:t>Lorem ipsum dolor sit amet, consectetur adipisicing elit, sed do eiusmod tempor</a:t>
            </a:r>
            <a:endParaRPr lang="zh-CN" altLang="en-US" sz="1050" b="0" dirty="0">
              <a:solidFill>
                <a:schemeClr val="tx1">
                  <a:lumMod val="75000"/>
                  <a:lumOff val="25000"/>
                </a:schemeClr>
              </a:solidFill>
              <a:effectLst/>
              <a:latin typeface="+mn-ea"/>
            </a:endParaRPr>
          </a:p>
        </p:txBody>
      </p:sp>
      <p:sp>
        <p:nvSpPr>
          <p:cNvPr id="21" name="文本框 20">
            <a:extLst>
              <a:ext uri="{FF2B5EF4-FFF2-40B4-BE49-F238E27FC236}">
                <a16:creationId xmlns:a16="http://schemas.microsoft.com/office/drawing/2014/main" id="{7F4F93A1-9F7B-4F5F-B611-8B3D62F4E32C}"/>
              </a:ext>
            </a:extLst>
          </p:cNvPr>
          <p:cNvSpPr txBox="1"/>
          <p:nvPr/>
        </p:nvSpPr>
        <p:spPr>
          <a:xfrm>
            <a:off x="3377490" y="3720268"/>
            <a:ext cx="1154162" cy="276999"/>
          </a:xfrm>
          <a:prstGeom prst="rect">
            <a:avLst/>
          </a:prstGeom>
          <a:noFill/>
        </p:spPr>
        <p:txBody>
          <a:bodyPr wrap="none" lIns="0" tIns="0" rIns="0" bIns="0" rtlCol="0" anchor="t">
            <a:spAutoFit/>
          </a:bodyPr>
          <a:lstStyle/>
          <a:p>
            <a:r>
              <a:rPr lang="zh-CN" altLang="en-US" dirty="0">
                <a:solidFill>
                  <a:schemeClr val="accent1"/>
                </a:solidFill>
                <a:latin typeface="+mj-ea"/>
                <a:ea typeface="+mj-ea"/>
              </a:rPr>
              <a:t>关键词标题</a:t>
            </a:r>
          </a:p>
        </p:txBody>
      </p:sp>
      <p:sp>
        <p:nvSpPr>
          <p:cNvPr id="22" name="文本框 21">
            <a:extLst>
              <a:ext uri="{FF2B5EF4-FFF2-40B4-BE49-F238E27FC236}">
                <a16:creationId xmlns:a16="http://schemas.microsoft.com/office/drawing/2014/main" id="{ECA4B054-642D-425A-A195-65D13D27255D}"/>
              </a:ext>
            </a:extLst>
          </p:cNvPr>
          <p:cNvSpPr txBox="1"/>
          <p:nvPr/>
        </p:nvSpPr>
        <p:spPr>
          <a:xfrm>
            <a:off x="3216515" y="4029690"/>
            <a:ext cx="1476113" cy="826829"/>
          </a:xfrm>
          <a:prstGeom prst="rect">
            <a:avLst/>
          </a:prstGeom>
          <a:noFill/>
        </p:spPr>
        <p:txBody>
          <a:bodyPr wrap="square" lIns="0" tIns="0" rIns="0" bIns="0" rtlCol="0" anchor="t">
            <a:spAutoFit/>
          </a:bodyPr>
          <a:lstStyle/>
          <a:p>
            <a:pPr algn="ctr">
              <a:lnSpc>
                <a:spcPct val="130000"/>
              </a:lnSpc>
            </a:pPr>
            <a:r>
              <a:rPr lang="en-US" altLang="zh-CN" sz="1050" b="0" dirty="0">
                <a:solidFill>
                  <a:schemeClr val="tx1">
                    <a:lumMod val="75000"/>
                    <a:lumOff val="25000"/>
                  </a:schemeClr>
                </a:solidFill>
                <a:effectLst/>
                <a:latin typeface="+mn-ea"/>
              </a:rPr>
              <a:t>Lorem ipsum dolor sit amet, consectetur adipisicing elit, sed do eiusmod tempor</a:t>
            </a:r>
            <a:endParaRPr lang="zh-CN" altLang="en-US" sz="1050" b="0" dirty="0">
              <a:solidFill>
                <a:schemeClr val="tx1">
                  <a:lumMod val="75000"/>
                  <a:lumOff val="25000"/>
                </a:schemeClr>
              </a:solidFill>
              <a:effectLst/>
              <a:latin typeface="+mn-ea"/>
            </a:endParaRPr>
          </a:p>
        </p:txBody>
      </p:sp>
      <p:sp>
        <p:nvSpPr>
          <p:cNvPr id="23" name="文本框 22">
            <a:extLst>
              <a:ext uri="{FF2B5EF4-FFF2-40B4-BE49-F238E27FC236}">
                <a16:creationId xmlns:a16="http://schemas.microsoft.com/office/drawing/2014/main" id="{8BC20140-8506-489B-9741-312AC395AC3C}"/>
              </a:ext>
            </a:extLst>
          </p:cNvPr>
          <p:cNvSpPr txBox="1"/>
          <p:nvPr/>
        </p:nvSpPr>
        <p:spPr>
          <a:xfrm>
            <a:off x="3216515" y="5035530"/>
            <a:ext cx="1476113" cy="826829"/>
          </a:xfrm>
          <a:prstGeom prst="rect">
            <a:avLst/>
          </a:prstGeom>
          <a:noFill/>
        </p:spPr>
        <p:txBody>
          <a:bodyPr wrap="square" lIns="0" tIns="0" rIns="0" bIns="0" rtlCol="0" anchor="t">
            <a:spAutoFit/>
          </a:bodyPr>
          <a:lstStyle/>
          <a:p>
            <a:pPr algn="ctr">
              <a:lnSpc>
                <a:spcPct val="130000"/>
              </a:lnSpc>
            </a:pPr>
            <a:r>
              <a:rPr lang="en-US" altLang="zh-CN" sz="1050" b="0" dirty="0">
                <a:solidFill>
                  <a:schemeClr val="tx1">
                    <a:lumMod val="75000"/>
                    <a:lumOff val="25000"/>
                  </a:schemeClr>
                </a:solidFill>
                <a:effectLst/>
                <a:latin typeface="+mn-ea"/>
              </a:rPr>
              <a:t>Lorem ipsum dolor sit amet, consectetur adipisicing elit, sed do eiusmod tempor</a:t>
            </a:r>
            <a:endParaRPr lang="zh-CN" altLang="en-US" sz="1050" b="0" dirty="0">
              <a:solidFill>
                <a:schemeClr val="tx1">
                  <a:lumMod val="75000"/>
                  <a:lumOff val="25000"/>
                </a:schemeClr>
              </a:solidFill>
              <a:effectLst/>
              <a:latin typeface="+mn-ea"/>
            </a:endParaRPr>
          </a:p>
        </p:txBody>
      </p:sp>
      <p:sp>
        <p:nvSpPr>
          <p:cNvPr id="26" name="文本框 25">
            <a:extLst>
              <a:ext uri="{FF2B5EF4-FFF2-40B4-BE49-F238E27FC236}">
                <a16:creationId xmlns:a16="http://schemas.microsoft.com/office/drawing/2014/main" id="{4730A8FD-06A0-4516-ADC8-07D52A300874}"/>
              </a:ext>
            </a:extLst>
          </p:cNvPr>
          <p:cNvSpPr txBox="1"/>
          <p:nvPr/>
        </p:nvSpPr>
        <p:spPr>
          <a:xfrm>
            <a:off x="5518578" y="3505228"/>
            <a:ext cx="1154162" cy="276999"/>
          </a:xfrm>
          <a:prstGeom prst="rect">
            <a:avLst/>
          </a:prstGeom>
          <a:noFill/>
        </p:spPr>
        <p:txBody>
          <a:bodyPr wrap="none" lIns="0" tIns="0" rIns="0" bIns="0" rtlCol="0" anchor="t">
            <a:spAutoFit/>
          </a:bodyPr>
          <a:lstStyle/>
          <a:p>
            <a:r>
              <a:rPr lang="zh-CN" altLang="en-US" dirty="0">
                <a:solidFill>
                  <a:schemeClr val="accent1"/>
                </a:solidFill>
                <a:latin typeface="+mj-ea"/>
                <a:ea typeface="+mj-ea"/>
              </a:rPr>
              <a:t>关键词标题</a:t>
            </a:r>
          </a:p>
        </p:txBody>
      </p:sp>
      <p:sp>
        <p:nvSpPr>
          <p:cNvPr id="27" name="文本框 26">
            <a:extLst>
              <a:ext uri="{FF2B5EF4-FFF2-40B4-BE49-F238E27FC236}">
                <a16:creationId xmlns:a16="http://schemas.microsoft.com/office/drawing/2014/main" id="{55DC0B68-927C-41E6-86C2-45B6B1617CEF}"/>
              </a:ext>
            </a:extLst>
          </p:cNvPr>
          <p:cNvSpPr txBox="1"/>
          <p:nvPr/>
        </p:nvSpPr>
        <p:spPr>
          <a:xfrm>
            <a:off x="5357603" y="3814650"/>
            <a:ext cx="1476113" cy="826829"/>
          </a:xfrm>
          <a:prstGeom prst="rect">
            <a:avLst/>
          </a:prstGeom>
          <a:noFill/>
        </p:spPr>
        <p:txBody>
          <a:bodyPr wrap="square" lIns="0" tIns="0" rIns="0" bIns="0" rtlCol="0" anchor="t">
            <a:spAutoFit/>
          </a:bodyPr>
          <a:lstStyle/>
          <a:p>
            <a:pPr algn="ctr">
              <a:lnSpc>
                <a:spcPct val="130000"/>
              </a:lnSpc>
            </a:pPr>
            <a:r>
              <a:rPr lang="en-US" altLang="zh-CN" sz="1050" b="0" dirty="0">
                <a:solidFill>
                  <a:schemeClr val="tx1">
                    <a:lumMod val="75000"/>
                    <a:lumOff val="25000"/>
                  </a:schemeClr>
                </a:solidFill>
                <a:effectLst/>
                <a:latin typeface="+mn-ea"/>
              </a:rPr>
              <a:t>Lorem ipsum dolor sit amet, consectetur adipisicing elit, sed do eiusmod tempor</a:t>
            </a:r>
            <a:endParaRPr lang="zh-CN" altLang="en-US" sz="1050" b="0" dirty="0">
              <a:solidFill>
                <a:schemeClr val="tx1">
                  <a:lumMod val="75000"/>
                  <a:lumOff val="25000"/>
                </a:schemeClr>
              </a:solidFill>
              <a:effectLst/>
              <a:latin typeface="+mn-ea"/>
            </a:endParaRPr>
          </a:p>
        </p:txBody>
      </p:sp>
      <p:sp>
        <p:nvSpPr>
          <p:cNvPr id="28" name="文本框 27">
            <a:extLst>
              <a:ext uri="{FF2B5EF4-FFF2-40B4-BE49-F238E27FC236}">
                <a16:creationId xmlns:a16="http://schemas.microsoft.com/office/drawing/2014/main" id="{4AA69375-061F-4045-9045-D024B1505ADD}"/>
              </a:ext>
            </a:extLst>
          </p:cNvPr>
          <p:cNvSpPr txBox="1"/>
          <p:nvPr/>
        </p:nvSpPr>
        <p:spPr>
          <a:xfrm>
            <a:off x="5357603" y="4820490"/>
            <a:ext cx="1476113" cy="826829"/>
          </a:xfrm>
          <a:prstGeom prst="rect">
            <a:avLst/>
          </a:prstGeom>
          <a:noFill/>
        </p:spPr>
        <p:txBody>
          <a:bodyPr wrap="square" lIns="0" tIns="0" rIns="0" bIns="0" rtlCol="0" anchor="t">
            <a:spAutoFit/>
          </a:bodyPr>
          <a:lstStyle/>
          <a:p>
            <a:pPr algn="ctr">
              <a:lnSpc>
                <a:spcPct val="130000"/>
              </a:lnSpc>
            </a:pPr>
            <a:r>
              <a:rPr lang="en-US" altLang="zh-CN" sz="1050" b="0" dirty="0">
                <a:solidFill>
                  <a:schemeClr val="tx1">
                    <a:lumMod val="75000"/>
                    <a:lumOff val="25000"/>
                  </a:schemeClr>
                </a:solidFill>
                <a:effectLst/>
                <a:latin typeface="+mn-ea"/>
              </a:rPr>
              <a:t>Lorem ipsum dolor sit amet, consectetur adipisicing elit, sed do eiusmod tempor</a:t>
            </a:r>
            <a:endParaRPr lang="zh-CN" altLang="en-US" sz="1050" b="0" dirty="0">
              <a:solidFill>
                <a:schemeClr val="tx1">
                  <a:lumMod val="75000"/>
                  <a:lumOff val="25000"/>
                </a:schemeClr>
              </a:solidFill>
              <a:effectLst/>
              <a:latin typeface="+mn-ea"/>
            </a:endParaRPr>
          </a:p>
        </p:txBody>
      </p:sp>
      <p:sp>
        <p:nvSpPr>
          <p:cNvPr id="30" name="文本框 29">
            <a:extLst>
              <a:ext uri="{FF2B5EF4-FFF2-40B4-BE49-F238E27FC236}">
                <a16:creationId xmlns:a16="http://schemas.microsoft.com/office/drawing/2014/main" id="{AE3414F3-538E-4C50-BD1D-4E9D91A1DB58}"/>
              </a:ext>
            </a:extLst>
          </p:cNvPr>
          <p:cNvSpPr txBox="1"/>
          <p:nvPr/>
        </p:nvSpPr>
        <p:spPr>
          <a:xfrm>
            <a:off x="7766610" y="3720268"/>
            <a:ext cx="1154162" cy="276999"/>
          </a:xfrm>
          <a:prstGeom prst="rect">
            <a:avLst/>
          </a:prstGeom>
          <a:noFill/>
        </p:spPr>
        <p:txBody>
          <a:bodyPr wrap="none" lIns="0" tIns="0" rIns="0" bIns="0" rtlCol="0" anchor="t">
            <a:spAutoFit/>
          </a:bodyPr>
          <a:lstStyle/>
          <a:p>
            <a:r>
              <a:rPr lang="zh-CN" altLang="en-US" dirty="0">
                <a:solidFill>
                  <a:schemeClr val="accent1"/>
                </a:solidFill>
                <a:latin typeface="+mj-ea"/>
                <a:ea typeface="+mj-ea"/>
              </a:rPr>
              <a:t>关键词标题</a:t>
            </a:r>
          </a:p>
        </p:txBody>
      </p:sp>
      <p:sp>
        <p:nvSpPr>
          <p:cNvPr id="31" name="文本框 30">
            <a:extLst>
              <a:ext uri="{FF2B5EF4-FFF2-40B4-BE49-F238E27FC236}">
                <a16:creationId xmlns:a16="http://schemas.microsoft.com/office/drawing/2014/main" id="{84E1B6E2-E5EE-4441-984B-3F0B24118E3E}"/>
              </a:ext>
            </a:extLst>
          </p:cNvPr>
          <p:cNvSpPr txBox="1"/>
          <p:nvPr/>
        </p:nvSpPr>
        <p:spPr>
          <a:xfrm>
            <a:off x="7605635" y="4029690"/>
            <a:ext cx="1476113" cy="826829"/>
          </a:xfrm>
          <a:prstGeom prst="rect">
            <a:avLst/>
          </a:prstGeom>
          <a:noFill/>
        </p:spPr>
        <p:txBody>
          <a:bodyPr wrap="square" lIns="0" tIns="0" rIns="0" bIns="0" rtlCol="0" anchor="t">
            <a:spAutoFit/>
          </a:bodyPr>
          <a:lstStyle/>
          <a:p>
            <a:pPr algn="ctr">
              <a:lnSpc>
                <a:spcPct val="130000"/>
              </a:lnSpc>
            </a:pPr>
            <a:r>
              <a:rPr lang="en-US" altLang="zh-CN" sz="1050" b="0" dirty="0">
                <a:solidFill>
                  <a:schemeClr val="tx1">
                    <a:lumMod val="75000"/>
                    <a:lumOff val="25000"/>
                  </a:schemeClr>
                </a:solidFill>
                <a:effectLst/>
                <a:latin typeface="+mn-ea"/>
              </a:rPr>
              <a:t>Lorem ipsum dolor sit amet, consectetur adipisicing elit, sed do eiusmod tempor</a:t>
            </a:r>
            <a:endParaRPr lang="zh-CN" altLang="en-US" sz="1050" b="0" dirty="0">
              <a:solidFill>
                <a:schemeClr val="tx1">
                  <a:lumMod val="75000"/>
                  <a:lumOff val="25000"/>
                </a:schemeClr>
              </a:solidFill>
              <a:effectLst/>
              <a:latin typeface="+mn-ea"/>
            </a:endParaRPr>
          </a:p>
        </p:txBody>
      </p:sp>
      <p:sp>
        <p:nvSpPr>
          <p:cNvPr id="32" name="文本框 31">
            <a:extLst>
              <a:ext uri="{FF2B5EF4-FFF2-40B4-BE49-F238E27FC236}">
                <a16:creationId xmlns:a16="http://schemas.microsoft.com/office/drawing/2014/main" id="{5D743922-02AF-488D-B6F2-374617960407}"/>
              </a:ext>
            </a:extLst>
          </p:cNvPr>
          <p:cNvSpPr txBox="1"/>
          <p:nvPr/>
        </p:nvSpPr>
        <p:spPr>
          <a:xfrm>
            <a:off x="7605635" y="5035530"/>
            <a:ext cx="1476113" cy="826829"/>
          </a:xfrm>
          <a:prstGeom prst="rect">
            <a:avLst/>
          </a:prstGeom>
          <a:noFill/>
        </p:spPr>
        <p:txBody>
          <a:bodyPr wrap="square" lIns="0" tIns="0" rIns="0" bIns="0" rtlCol="0" anchor="t">
            <a:spAutoFit/>
          </a:bodyPr>
          <a:lstStyle/>
          <a:p>
            <a:pPr algn="ctr">
              <a:lnSpc>
                <a:spcPct val="130000"/>
              </a:lnSpc>
            </a:pPr>
            <a:r>
              <a:rPr lang="en-US" altLang="zh-CN" sz="1050" b="0" dirty="0">
                <a:solidFill>
                  <a:schemeClr val="tx1">
                    <a:lumMod val="75000"/>
                    <a:lumOff val="25000"/>
                  </a:schemeClr>
                </a:solidFill>
                <a:effectLst/>
                <a:latin typeface="+mn-ea"/>
              </a:rPr>
              <a:t>Lorem ipsum dolor sit amet, consectetur adipisicing elit, sed do eiusmod tempor</a:t>
            </a:r>
            <a:endParaRPr lang="zh-CN" altLang="en-US" sz="1050" b="0" dirty="0">
              <a:solidFill>
                <a:schemeClr val="tx1">
                  <a:lumMod val="75000"/>
                  <a:lumOff val="25000"/>
                </a:schemeClr>
              </a:solidFill>
              <a:effectLst/>
              <a:latin typeface="+mn-ea"/>
            </a:endParaRPr>
          </a:p>
        </p:txBody>
      </p:sp>
      <p:grpSp>
        <p:nvGrpSpPr>
          <p:cNvPr id="33" name="组合 32">
            <a:extLst>
              <a:ext uri="{FF2B5EF4-FFF2-40B4-BE49-F238E27FC236}">
                <a16:creationId xmlns:a16="http://schemas.microsoft.com/office/drawing/2014/main" id="{0F396E5A-8880-4362-B748-220A716EED5E}"/>
              </a:ext>
            </a:extLst>
          </p:cNvPr>
          <p:cNvGrpSpPr/>
          <p:nvPr/>
        </p:nvGrpSpPr>
        <p:grpSpPr>
          <a:xfrm>
            <a:off x="9720619" y="4095172"/>
            <a:ext cx="1476113" cy="2142091"/>
            <a:chOff x="1079539" y="3290500"/>
            <a:chExt cx="1476113" cy="2142091"/>
          </a:xfrm>
        </p:grpSpPr>
        <p:sp>
          <p:nvSpPr>
            <p:cNvPr id="34" name="文本框 33">
              <a:extLst>
                <a:ext uri="{FF2B5EF4-FFF2-40B4-BE49-F238E27FC236}">
                  <a16:creationId xmlns:a16="http://schemas.microsoft.com/office/drawing/2014/main" id="{F086A401-568B-42CA-A33E-3723C8DCB71D}"/>
                </a:ext>
              </a:extLst>
            </p:cNvPr>
            <p:cNvSpPr txBox="1"/>
            <p:nvPr/>
          </p:nvSpPr>
          <p:spPr>
            <a:xfrm>
              <a:off x="1240514" y="3290500"/>
              <a:ext cx="1154162" cy="276999"/>
            </a:xfrm>
            <a:prstGeom prst="rect">
              <a:avLst/>
            </a:prstGeom>
            <a:noFill/>
          </p:spPr>
          <p:txBody>
            <a:bodyPr wrap="none" lIns="0" tIns="0" rIns="0" bIns="0" rtlCol="0" anchor="t">
              <a:spAutoFit/>
            </a:bodyPr>
            <a:lstStyle/>
            <a:p>
              <a:r>
                <a:rPr lang="zh-CN" altLang="en-US" dirty="0">
                  <a:solidFill>
                    <a:schemeClr val="accent1"/>
                  </a:solidFill>
                  <a:latin typeface="+mj-ea"/>
                  <a:ea typeface="+mj-ea"/>
                </a:rPr>
                <a:t>关键词标题</a:t>
              </a:r>
            </a:p>
          </p:txBody>
        </p:sp>
        <p:sp>
          <p:nvSpPr>
            <p:cNvPr id="35" name="文本框 34">
              <a:extLst>
                <a:ext uri="{FF2B5EF4-FFF2-40B4-BE49-F238E27FC236}">
                  <a16:creationId xmlns:a16="http://schemas.microsoft.com/office/drawing/2014/main" id="{F766EA47-3DE6-4A2A-A2F1-D3F430E7D55A}"/>
                </a:ext>
              </a:extLst>
            </p:cNvPr>
            <p:cNvSpPr txBox="1"/>
            <p:nvPr/>
          </p:nvSpPr>
          <p:spPr>
            <a:xfrm>
              <a:off x="1079539" y="3599922"/>
              <a:ext cx="1476113" cy="826829"/>
            </a:xfrm>
            <a:prstGeom prst="rect">
              <a:avLst/>
            </a:prstGeom>
            <a:noFill/>
          </p:spPr>
          <p:txBody>
            <a:bodyPr wrap="square" lIns="0" tIns="0" rIns="0" bIns="0" rtlCol="0" anchor="t">
              <a:spAutoFit/>
            </a:bodyPr>
            <a:lstStyle/>
            <a:p>
              <a:pPr algn="ctr">
                <a:lnSpc>
                  <a:spcPct val="130000"/>
                </a:lnSpc>
              </a:pPr>
              <a:r>
                <a:rPr lang="en-US" altLang="zh-CN" sz="1050" b="0" dirty="0">
                  <a:solidFill>
                    <a:schemeClr val="tx1">
                      <a:lumMod val="75000"/>
                      <a:lumOff val="25000"/>
                    </a:schemeClr>
                  </a:solidFill>
                  <a:effectLst/>
                  <a:latin typeface="+mn-ea"/>
                </a:rPr>
                <a:t>Lorem ipsum dolor sit amet, consectetur adipisicing elit, sed do eiusmod tempor</a:t>
              </a:r>
              <a:endParaRPr lang="zh-CN" altLang="en-US" sz="1050" b="0" dirty="0">
                <a:solidFill>
                  <a:schemeClr val="tx1">
                    <a:lumMod val="75000"/>
                    <a:lumOff val="25000"/>
                  </a:schemeClr>
                </a:solidFill>
                <a:effectLst/>
                <a:latin typeface="+mn-ea"/>
              </a:endParaRPr>
            </a:p>
          </p:txBody>
        </p:sp>
        <p:sp>
          <p:nvSpPr>
            <p:cNvPr id="36" name="文本框 35">
              <a:extLst>
                <a:ext uri="{FF2B5EF4-FFF2-40B4-BE49-F238E27FC236}">
                  <a16:creationId xmlns:a16="http://schemas.microsoft.com/office/drawing/2014/main" id="{307AD9A6-7EFB-411A-885F-E0C504C2B7B2}"/>
                </a:ext>
              </a:extLst>
            </p:cNvPr>
            <p:cNvSpPr txBox="1"/>
            <p:nvPr/>
          </p:nvSpPr>
          <p:spPr>
            <a:xfrm>
              <a:off x="1079539" y="4605762"/>
              <a:ext cx="1476113" cy="826829"/>
            </a:xfrm>
            <a:prstGeom prst="rect">
              <a:avLst/>
            </a:prstGeom>
            <a:noFill/>
          </p:spPr>
          <p:txBody>
            <a:bodyPr wrap="square" lIns="0" tIns="0" rIns="0" bIns="0" rtlCol="0" anchor="t">
              <a:spAutoFit/>
            </a:bodyPr>
            <a:lstStyle/>
            <a:p>
              <a:pPr algn="ctr">
                <a:lnSpc>
                  <a:spcPct val="130000"/>
                </a:lnSpc>
              </a:pPr>
              <a:r>
                <a:rPr lang="en-US" altLang="zh-CN" sz="1050" b="0" dirty="0">
                  <a:solidFill>
                    <a:schemeClr val="tx1">
                      <a:lumMod val="75000"/>
                      <a:lumOff val="25000"/>
                    </a:schemeClr>
                  </a:solidFill>
                  <a:effectLst/>
                  <a:latin typeface="+mn-ea"/>
                </a:rPr>
                <a:t>Lorem ipsum dolor sit amet, consectetur adipisicing elit, sed do eiusmod tempor</a:t>
              </a:r>
              <a:endParaRPr lang="zh-CN" altLang="en-US" sz="1050" b="0" dirty="0">
                <a:solidFill>
                  <a:schemeClr val="tx1">
                    <a:lumMod val="75000"/>
                    <a:lumOff val="25000"/>
                  </a:schemeClr>
                </a:solidFill>
                <a:effectLst/>
                <a:latin typeface="+mn-ea"/>
              </a:endParaRPr>
            </a:p>
          </p:txBody>
        </p:sp>
      </p:grpSp>
      <p:sp>
        <p:nvSpPr>
          <p:cNvPr id="37" name="椭圆 36">
            <a:extLst>
              <a:ext uri="{FF2B5EF4-FFF2-40B4-BE49-F238E27FC236}">
                <a16:creationId xmlns:a16="http://schemas.microsoft.com/office/drawing/2014/main" id="{FA1407E8-6D8C-44EE-B559-CBFE4D9352ED}"/>
              </a:ext>
            </a:extLst>
          </p:cNvPr>
          <p:cNvSpPr/>
          <p:nvPr/>
        </p:nvSpPr>
        <p:spPr>
          <a:xfrm>
            <a:off x="1434085" y="3221640"/>
            <a:ext cx="767022" cy="76702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38" name="椭圆 37">
            <a:extLst>
              <a:ext uri="{FF2B5EF4-FFF2-40B4-BE49-F238E27FC236}">
                <a16:creationId xmlns:a16="http://schemas.microsoft.com/office/drawing/2014/main" id="{EAB7C232-1478-4FF7-B7FF-BE0ED4A70C86}"/>
              </a:ext>
            </a:extLst>
          </p:cNvPr>
          <p:cNvSpPr/>
          <p:nvPr/>
        </p:nvSpPr>
        <p:spPr>
          <a:xfrm>
            <a:off x="3571061" y="2846737"/>
            <a:ext cx="767022" cy="76702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39" name="椭圆 38">
            <a:extLst>
              <a:ext uri="{FF2B5EF4-FFF2-40B4-BE49-F238E27FC236}">
                <a16:creationId xmlns:a16="http://schemas.microsoft.com/office/drawing/2014/main" id="{55BDD583-456C-4ADE-BF39-CCF9947BC9A5}"/>
              </a:ext>
            </a:extLst>
          </p:cNvPr>
          <p:cNvSpPr/>
          <p:nvPr/>
        </p:nvSpPr>
        <p:spPr>
          <a:xfrm>
            <a:off x="5712148" y="2627159"/>
            <a:ext cx="767022" cy="76702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40" name="椭圆 39">
            <a:extLst>
              <a:ext uri="{FF2B5EF4-FFF2-40B4-BE49-F238E27FC236}">
                <a16:creationId xmlns:a16="http://schemas.microsoft.com/office/drawing/2014/main" id="{BAF017FC-B15B-4F32-831D-303081D32C91}"/>
              </a:ext>
            </a:extLst>
          </p:cNvPr>
          <p:cNvSpPr/>
          <p:nvPr/>
        </p:nvSpPr>
        <p:spPr>
          <a:xfrm>
            <a:off x="7960180" y="2846737"/>
            <a:ext cx="767022" cy="76702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41" name="椭圆 40">
            <a:extLst>
              <a:ext uri="{FF2B5EF4-FFF2-40B4-BE49-F238E27FC236}">
                <a16:creationId xmlns:a16="http://schemas.microsoft.com/office/drawing/2014/main" id="{85E66B6A-3E21-4147-A991-628DC82DB62D}"/>
              </a:ext>
            </a:extLst>
          </p:cNvPr>
          <p:cNvSpPr/>
          <p:nvPr/>
        </p:nvSpPr>
        <p:spPr>
          <a:xfrm>
            <a:off x="10021530" y="3221640"/>
            <a:ext cx="767022" cy="76702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42" name="iconfont-1191-801535">
            <a:extLst>
              <a:ext uri="{FF2B5EF4-FFF2-40B4-BE49-F238E27FC236}">
                <a16:creationId xmlns:a16="http://schemas.microsoft.com/office/drawing/2014/main" id="{DF3E5B09-21C0-46B7-90C8-745479E80E86}"/>
              </a:ext>
            </a:extLst>
          </p:cNvPr>
          <p:cNvSpPr/>
          <p:nvPr/>
        </p:nvSpPr>
        <p:spPr>
          <a:xfrm>
            <a:off x="1680904" y="3440333"/>
            <a:ext cx="273381" cy="346851"/>
          </a:xfrm>
          <a:custGeom>
            <a:avLst/>
            <a:gdLst>
              <a:gd name="T0" fmla="*/ 3166 w 6332"/>
              <a:gd name="T1" fmla="*/ 0 h 8034"/>
              <a:gd name="T2" fmla="*/ 0 w 6332"/>
              <a:gd name="T3" fmla="*/ 3166 h 8034"/>
              <a:gd name="T4" fmla="*/ 2481 w 6332"/>
              <a:gd name="T5" fmla="*/ 7590 h 8034"/>
              <a:gd name="T6" fmla="*/ 3853 w 6332"/>
              <a:gd name="T7" fmla="*/ 7588 h 8034"/>
              <a:gd name="T8" fmla="*/ 6332 w 6332"/>
              <a:gd name="T9" fmla="*/ 3166 h 8034"/>
              <a:gd name="T10" fmla="*/ 3166 w 6332"/>
              <a:gd name="T11" fmla="*/ 0 h 8034"/>
              <a:gd name="T12" fmla="*/ 3166 w 6332"/>
              <a:gd name="T13" fmla="*/ 0 h 8034"/>
              <a:gd name="T14" fmla="*/ 3166 w 6332"/>
              <a:gd name="T15" fmla="*/ 0 h 8034"/>
              <a:gd name="T16" fmla="*/ 3166 w 6332"/>
              <a:gd name="T17" fmla="*/ 0 h 8034"/>
              <a:gd name="T18" fmla="*/ 3166 w 6332"/>
              <a:gd name="T19" fmla="*/ 4529 h 8034"/>
              <a:gd name="T20" fmla="*/ 1702 w 6332"/>
              <a:gd name="T21" fmla="*/ 3065 h 8034"/>
              <a:gd name="T22" fmla="*/ 3166 w 6332"/>
              <a:gd name="T23" fmla="*/ 1600 h 8034"/>
              <a:gd name="T24" fmla="*/ 4630 w 6332"/>
              <a:gd name="T25" fmla="*/ 3065 h 8034"/>
              <a:gd name="T26" fmla="*/ 3166 w 6332"/>
              <a:gd name="T27" fmla="*/ 4529 h 8034"/>
              <a:gd name="T28" fmla="*/ 3166 w 6332"/>
              <a:gd name="T29" fmla="*/ 4529 h 8034"/>
              <a:gd name="T30" fmla="*/ 3166 w 6332"/>
              <a:gd name="T31" fmla="*/ 4529 h 8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332" h="8034">
                <a:moveTo>
                  <a:pt x="3166" y="0"/>
                </a:moveTo>
                <a:cubicBezTo>
                  <a:pt x="1418" y="0"/>
                  <a:pt x="0" y="1418"/>
                  <a:pt x="0" y="3166"/>
                </a:cubicBezTo>
                <a:cubicBezTo>
                  <a:pt x="0" y="4914"/>
                  <a:pt x="2481" y="7590"/>
                  <a:pt x="2481" y="7590"/>
                </a:cubicBezTo>
                <a:cubicBezTo>
                  <a:pt x="2859" y="8031"/>
                  <a:pt x="3478" y="8034"/>
                  <a:pt x="3853" y="7588"/>
                </a:cubicBezTo>
                <a:cubicBezTo>
                  <a:pt x="3853" y="7588"/>
                  <a:pt x="6332" y="4914"/>
                  <a:pt x="6332" y="3166"/>
                </a:cubicBezTo>
                <a:cubicBezTo>
                  <a:pt x="6332" y="1418"/>
                  <a:pt x="4914" y="0"/>
                  <a:pt x="3166" y="0"/>
                </a:cubicBezTo>
                <a:lnTo>
                  <a:pt x="3166" y="0"/>
                </a:lnTo>
                <a:lnTo>
                  <a:pt x="3166" y="0"/>
                </a:lnTo>
                <a:lnTo>
                  <a:pt x="3166" y="0"/>
                </a:lnTo>
                <a:close/>
                <a:moveTo>
                  <a:pt x="3166" y="4529"/>
                </a:moveTo>
                <a:cubicBezTo>
                  <a:pt x="2357" y="4529"/>
                  <a:pt x="1702" y="3874"/>
                  <a:pt x="1702" y="3065"/>
                </a:cubicBezTo>
                <a:cubicBezTo>
                  <a:pt x="1702" y="2256"/>
                  <a:pt x="2357" y="1600"/>
                  <a:pt x="3166" y="1600"/>
                </a:cubicBezTo>
                <a:cubicBezTo>
                  <a:pt x="3975" y="1600"/>
                  <a:pt x="4630" y="2256"/>
                  <a:pt x="4630" y="3065"/>
                </a:cubicBezTo>
                <a:cubicBezTo>
                  <a:pt x="4630" y="3874"/>
                  <a:pt x="3975" y="4529"/>
                  <a:pt x="3166" y="4529"/>
                </a:cubicBezTo>
                <a:lnTo>
                  <a:pt x="3166" y="4529"/>
                </a:lnTo>
                <a:close/>
                <a:moveTo>
                  <a:pt x="3166" y="4529"/>
                </a:move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3" name="iconfont-1191-801535">
            <a:extLst>
              <a:ext uri="{FF2B5EF4-FFF2-40B4-BE49-F238E27FC236}">
                <a16:creationId xmlns:a16="http://schemas.microsoft.com/office/drawing/2014/main" id="{1BC681BA-A137-4154-B982-CFEB66C3A681}"/>
              </a:ext>
            </a:extLst>
          </p:cNvPr>
          <p:cNvSpPr/>
          <p:nvPr/>
        </p:nvSpPr>
        <p:spPr>
          <a:xfrm>
            <a:off x="3727954" y="3037920"/>
            <a:ext cx="442386" cy="333579"/>
          </a:xfrm>
          <a:custGeom>
            <a:avLst/>
            <a:gdLst>
              <a:gd name="T0" fmla="*/ 10397 w 12867"/>
              <a:gd name="T1" fmla="*/ 3762 h 9701"/>
              <a:gd name="T2" fmla="*/ 12479 w 12867"/>
              <a:gd name="T3" fmla="*/ 6910 h 9701"/>
              <a:gd name="T4" fmla="*/ 12802 w 12867"/>
              <a:gd name="T5" fmla="*/ 9701 h 9701"/>
              <a:gd name="T6" fmla="*/ 12096 w 12867"/>
              <a:gd name="T7" fmla="*/ 8604 h 9701"/>
              <a:gd name="T8" fmla="*/ 9701 w 12867"/>
              <a:gd name="T9" fmla="*/ 6645 h 9701"/>
              <a:gd name="T10" fmla="*/ 6140 w 12867"/>
              <a:gd name="T11" fmla="*/ 6140 h 9701"/>
              <a:gd name="T12" fmla="*/ 6140 w 12867"/>
              <a:gd name="T13" fmla="*/ 8699 h 9701"/>
              <a:gd name="T14" fmla="*/ 0 w 12867"/>
              <a:gd name="T15" fmla="*/ 4350 h 9701"/>
              <a:gd name="T16" fmla="*/ 6140 w 12867"/>
              <a:gd name="T17" fmla="*/ 0 h 9701"/>
              <a:gd name="T18" fmla="*/ 6140 w 12867"/>
              <a:gd name="T19" fmla="*/ 2583 h 9701"/>
              <a:gd name="T20" fmla="*/ 8386 w 12867"/>
              <a:gd name="T21" fmla="*/ 2853 h 9701"/>
              <a:gd name="T22" fmla="*/ 10397 w 12867"/>
              <a:gd name="T23" fmla="*/ 3762 h 9701"/>
              <a:gd name="T24" fmla="*/ 10397 w 12867"/>
              <a:gd name="T25" fmla="*/ 3762 h 97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867" h="9701">
                <a:moveTo>
                  <a:pt x="10397" y="3762"/>
                </a:moveTo>
                <a:cubicBezTo>
                  <a:pt x="11157" y="4215"/>
                  <a:pt x="12090" y="5438"/>
                  <a:pt x="12479" y="6910"/>
                </a:cubicBezTo>
                <a:cubicBezTo>
                  <a:pt x="12867" y="8382"/>
                  <a:pt x="12802" y="9701"/>
                  <a:pt x="12802" y="9701"/>
                </a:cubicBezTo>
                <a:cubicBezTo>
                  <a:pt x="12802" y="9701"/>
                  <a:pt x="12300" y="8889"/>
                  <a:pt x="12096" y="8604"/>
                </a:cubicBezTo>
                <a:cubicBezTo>
                  <a:pt x="11892" y="8320"/>
                  <a:pt x="11034" y="7260"/>
                  <a:pt x="9701" y="6645"/>
                </a:cubicBezTo>
                <a:cubicBezTo>
                  <a:pt x="8368" y="6031"/>
                  <a:pt x="6140" y="6140"/>
                  <a:pt x="6140" y="6140"/>
                </a:cubicBezTo>
                <a:lnTo>
                  <a:pt x="6140" y="8699"/>
                </a:lnTo>
                <a:lnTo>
                  <a:pt x="0" y="4350"/>
                </a:lnTo>
                <a:lnTo>
                  <a:pt x="6140" y="0"/>
                </a:lnTo>
                <a:lnTo>
                  <a:pt x="6140" y="2583"/>
                </a:lnTo>
                <a:cubicBezTo>
                  <a:pt x="6140" y="2583"/>
                  <a:pt x="7615" y="2694"/>
                  <a:pt x="8386" y="2853"/>
                </a:cubicBezTo>
                <a:cubicBezTo>
                  <a:pt x="9685" y="3122"/>
                  <a:pt x="10397" y="3762"/>
                  <a:pt x="10397" y="3762"/>
                </a:cubicBezTo>
                <a:close/>
                <a:moveTo>
                  <a:pt x="10397" y="3762"/>
                </a:move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sp>
        <p:nvSpPr>
          <p:cNvPr id="44" name="iconfont-1191-801535">
            <a:extLst>
              <a:ext uri="{FF2B5EF4-FFF2-40B4-BE49-F238E27FC236}">
                <a16:creationId xmlns:a16="http://schemas.microsoft.com/office/drawing/2014/main" id="{9EF67389-457A-44BB-A03D-B4DB3965B635}"/>
              </a:ext>
            </a:extLst>
          </p:cNvPr>
          <p:cNvSpPr/>
          <p:nvPr/>
        </p:nvSpPr>
        <p:spPr>
          <a:xfrm>
            <a:off x="5942153" y="2831306"/>
            <a:ext cx="307012" cy="358728"/>
          </a:xfrm>
          <a:custGeom>
            <a:avLst/>
            <a:gdLst>
              <a:gd name="T0" fmla="*/ 8209 w 10908"/>
              <a:gd name="T1" fmla="*/ 2143 h 12744"/>
              <a:gd name="T2" fmla="*/ 8209 w 10908"/>
              <a:gd name="T3" fmla="*/ 1057 h 12744"/>
              <a:gd name="T4" fmla="*/ 7124 w 10908"/>
              <a:gd name="T5" fmla="*/ 0 h 12744"/>
              <a:gd name="T6" fmla="*/ 3840 w 10908"/>
              <a:gd name="T7" fmla="*/ 0 h 12744"/>
              <a:gd name="T8" fmla="*/ 2755 w 10908"/>
              <a:gd name="T9" fmla="*/ 1057 h 12744"/>
              <a:gd name="T10" fmla="*/ 2755 w 10908"/>
              <a:gd name="T11" fmla="*/ 2115 h 12744"/>
              <a:gd name="T12" fmla="*/ 0 w 10908"/>
              <a:gd name="T13" fmla="*/ 2115 h 12744"/>
              <a:gd name="T14" fmla="*/ 0 w 10908"/>
              <a:gd name="T15" fmla="*/ 3172 h 12744"/>
              <a:gd name="T16" fmla="*/ 1085 w 10908"/>
              <a:gd name="T17" fmla="*/ 3172 h 12744"/>
              <a:gd name="T18" fmla="*/ 1085 w 10908"/>
              <a:gd name="T19" fmla="*/ 11687 h 12744"/>
              <a:gd name="T20" fmla="*/ 2171 w 10908"/>
              <a:gd name="T21" fmla="*/ 12744 h 12744"/>
              <a:gd name="T22" fmla="*/ 8738 w 10908"/>
              <a:gd name="T23" fmla="*/ 12744 h 12744"/>
              <a:gd name="T24" fmla="*/ 9823 w 10908"/>
              <a:gd name="T25" fmla="*/ 11687 h 12744"/>
              <a:gd name="T26" fmla="*/ 9823 w 10908"/>
              <a:gd name="T27" fmla="*/ 3200 h 12744"/>
              <a:gd name="T28" fmla="*/ 10908 w 10908"/>
              <a:gd name="T29" fmla="*/ 3200 h 12744"/>
              <a:gd name="T30" fmla="*/ 10908 w 10908"/>
              <a:gd name="T31" fmla="*/ 2143 h 12744"/>
              <a:gd name="T32" fmla="*/ 8209 w 10908"/>
              <a:gd name="T33" fmla="*/ 2143 h 12744"/>
              <a:gd name="T34" fmla="*/ 4870 w 10908"/>
              <a:gd name="T35" fmla="*/ 10963 h 12744"/>
              <a:gd name="T36" fmla="*/ 3645 w 10908"/>
              <a:gd name="T37" fmla="*/ 10963 h 12744"/>
              <a:gd name="T38" fmla="*/ 3645 w 10908"/>
              <a:gd name="T39" fmla="*/ 4257 h 12744"/>
              <a:gd name="T40" fmla="*/ 4870 w 10908"/>
              <a:gd name="T41" fmla="*/ 4257 h 12744"/>
              <a:gd name="T42" fmla="*/ 4870 w 10908"/>
              <a:gd name="T43" fmla="*/ 10963 h 12744"/>
              <a:gd name="T44" fmla="*/ 7319 w 10908"/>
              <a:gd name="T45" fmla="*/ 10963 h 12744"/>
              <a:gd name="T46" fmla="*/ 6094 w 10908"/>
              <a:gd name="T47" fmla="*/ 10963 h 12744"/>
              <a:gd name="T48" fmla="*/ 6094 w 10908"/>
              <a:gd name="T49" fmla="*/ 4257 h 12744"/>
              <a:gd name="T50" fmla="*/ 7319 w 10908"/>
              <a:gd name="T51" fmla="*/ 4257 h 12744"/>
              <a:gd name="T52" fmla="*/ 7319 w 10908"/>
              <a:gd name="T53" fmla="*/ 10963 h 127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0908" h="12744">
                <a:moveTo>
                  <a:pt x="8209" y="2143"/>
                </a:moveTo>
                <a:lnTo>
                  <a:pt x="8209" y="1057"/>
                </a:lnTo>
                <a:cubicBezTo>
                  <a:pt x="8209" y="473"/>
                  <a:pt x="7708" y="0"/>
                  <a:pt x="7124" y="0"/>
                </a:cubicBezTo>
                <a:lnTo>
                  <a:pt x="3840" y="0"/>
                </a:lnTo>
                <a:cubicBezTo>
                  <a:pt x="3228" y="0"/>
                  <a:pt x="2755" y="473"/>
                  <a:pt x="2755" y="1057"/>
                </a:cubicBezTo>
                <a:lnTo>
                  <a:pt x="2755" y="2115"/>
                </a:lnTo>
                <a:lnTo>
                  <a:pt x="0" y="2115"/>
                </a:lnTo>
                <a:lnTo>
                  <a:pt x="0" y="3172"/>
                </a:lnTo>
                <a:lnTo>
                  <a:pt x="1085" y="3172"/>
                </a:lnTo>
                <a:lnTo>
                  <a:pt x="1085" y="11687"/>
                </a:lnTo>
                <a:cubicBezTo>
                  <a:pt x="1085" y="12271"/>
                  <a:pt x="1586" y="12744"/>
                  <a:pt x="2171" y="12744"/>
                </a:cubicBezTo>
                <a:lnTo>
                  <a:pt x="8738" y="12744"/>
                </a:lnTo>
                <a:cubicBezTo>
                  <a:pt x="9350" y="12744"/>
                  <a:pt x="9823" y="12271"/>
                  <a:pt x="9823" y="11687"/>
                </a:cubicBezTo>
                <a:lnTo>
                  <a:pt x="9823" y="3200"/>
                </a:lnTo>
                <a:lnTo>
                  <a:pt x="10908" y="3200"/>
                </a:lnTo>
                <a:lnTo>
                  <a:pt x="10908" y="2143"/>
                </a:lnTo>
                <a:lnTo>
                  <a:pt x="8209" y="2143"/>
                </a:lnTo>
                <a:close/>
                <a:moveTo>
                  <a:pt x="4870" y="10963"/>
                </a:moveTo>
                <a:lnTo>
                  <a:pt x="3645" y="10963"/>
                </a:lnTo>
                <a:lnTo>
                  <a:pt x="3645" y="4257"/>
                </a:lnTo>
                <a:lnTo>
                  <a:pt x="4870" y="4257"/>
                </a:lnTo>
                <a:lnTo>
                  <a:pt x="4870" y="10963"/>
                </a:lnTo>
                <a:close/>
                <a:moveTo>
                  <a:pt x="7319" y="10963"/>
                </a:moveTo>
                <a:lnTo>
                  <a:pt x="6094" y="10963"/>
                </a:lnTo>
                <a:lnTo>
                  <a:pt x="6094" y="4257"/>
                </a:lnTo>
                <a:lnTo>
                  <a:pt x="7319" y="4257"/>
                </a:lnTo>
                <a:lnTo>
                  <a:pt x="7319" y="1096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sp>
        <p:nvSpPr>
          <p:cNvPr id="45" name="iconfont-1191-801535">
            <a:extLst>
              <a:ext uri="{FF2B5EF4-FFF2-40B4-BE49-F238E27FC236}">
                <a16:creationId xmlns:a16="http://schemas.microsoft.com/office/drawing/2014/main" id="{110E8F29-E9C9-435B-8B5D-CECF57CFA43B}"/>
              </a:ext>
            </a:extLst>
          </p:cNvPr>
          <p:cNvSpPr/>
          <p:nvPr/>
        </p:nvSpPr>
        <p:spPr>
          <a:xfrm>
            <a:off x="8158999" y="3045721"/>
            <a:ext cx="372226" cy="371918"/>
          </a:xfrm>
          <a:custGeom>
            <a:avLst/>
            <a:gdLst>
              <a:gd name="T0" fmla="*/ 11212 w 12607"/>
              <a:gd name="T1" fmla="*/ 4855 h 12594"/>
              <a:gd name="T2" fmla="*/ 11019 w 12607"/>
              <a:gd name="T3" fmla="*/ 4855 h 12594"/>
              <a:gd name="T4" fmla="*/ 10644 w 12607"/>
              <a:gd name="T5" fmla="*/ 3981 h 12594"/>
              <a:gd name="T6" fmla="*/ 10796 w 12607"/>
              <a:gd name="T7" fmla="*/ 3830 h 12594"/>
              <a:gd name="T8" fmla="*/ 10796 w 12607"/>
              <a:gd name="T9" fmla="*/ 1864 h 12594"/>
              <a:gd name="T10" fmla="*/ 10755 w 12607"/>
              <a:gd name="T11" fmla="*/ 1823 h 12594"/>
              <a:gd name="T12" fmla="*/ 8781 w 12607"/>
              <a:gd name="T13" fmla="*/ 1823 h 12594"/>
              <a:gd name="T14" fmla="*/ 8611 w 12607"/>
              <a:gd name="T15" fmla="*/ 1992 h 12594"/>
              <a:gd name="T16" fmla="*/ 7729 w 12607"/>
              <a:gd name="T17" fmla="*/ 1634 h 12594"/>
              <a:gd name="T18" fmla="*/ 7729 w 12607"/>
              <a:gd name="T19" fmla="*/ 1390 h 12594"/>
              <a:gd name="T20" fmla="*/ 6333 w 12607"/>
              <a:gd name="T21" fmla="*/ 0 h 12594"/>
              <a:gd name="T22" fmla="*/ 6274 w 12607"/>
              <a:gd name="T23" fmla="*/ 0 h 12594"/>
              <a:gd name="T24" fmla="*/ 4878 w 12607"/>
              <a:gd name="T25" fmla="*/ 1390 h 12594"/>
              <a:gd name="T26" fmla="*/ 4878 w 12607"/>
              <a:gd name="T27" fmla="*/ 1652 h 12594"/>
              <a:gd name="T28" fmla="*/ 4033 w 12607"/>
              <a:gd name="T29" fmla="*/ 2003 h 12594"/>
              <a:gd name="T30" fmla="*/ 3852 w 12607"/>
              <a:gd name="T31" fmla="*/ 1823 h 12594"/>
              <a:gd name="T32" fmla="*/ 1878 w 12607"/>
              <a:gd name="T33" fmla="*/ 1823 h 12594"/>
              <a:gd name="T34" fmla="*/ 1837 w 12607"/>
              <a:gd name="T35" fmla="*/ 1864 h 12594"/>
              <a:gd name="T36" fmla="*/ 1837 w 12607"/>
              <a:gd name="T37" fmla="*/ 3830 h 12594"/>
              <a:gd name="T38" fmla="*/ 2012 w 12607"/>
              <a:gd name="T39" fmla="*/ 4004 h 12594"/>
              <a:gd name="T40" fmla="*/ 1650 w 12607"/>
              <a:gd name="T41" fmla="*/ 4855 h 12594"/>
              <a:gd name="T42" fmla="*/ 1396 w 12607"/>
              <a:gd name="T43" fmla="*/ 4855 h 12594"/>
              <a:gd name="T44" fmla="*/ 0 w 12607"/>
              <a:gd name="T45" fmla="*/ 6245 h 12594"/>
              <a:gd name="T46" fmla="*/ 0 w 12607"/>
              <a:gd name="T47" fmla="*/ 6304 h 12594"/>
              <a:gd name="T48" fmla="*/ 1396 w 12607"/>
              <a:gd name="T49" fmla="*/ 7694 h 12594"/>
              <a:gd name="T50" fmla="*/ 1618 w 12607"/>
              <a:gd name="T51" fmla="*/ 7694 h 12594"/>
              <a:gd name="T52" fmla="*/ 1983 w 12607"/>
              <a:gd name="T53" fmla="*/ 8593 h 12594"/>
              <a:gd name="T54" fmla="*/ 1814 w 12607"/>
              <a:gd name="T55" fmla="*/ 8761 h 12594"/>
              <a:gd name="T56" fmla="*/ 1814 w 12607"/>
              <a:gd name="T57" fmla="*/ 10728 h 12594"/>
              <a:gd name="T58" fmla="*/ 1855 w 12607"/>
              <a:gd name="T59" fmla="*/ 10769 h 12594"/>
              <a:gd name="T60" fmla="*/ 3829 w 12607"/>
              <a:gd name="T61" fmla="*/ 10769 h 12594"/>
              <a:gd name="T62" fmla="*/ 3981 w 12607"/>
              <a:gd name="T63" fmla="*/ 10618 h 12594"/>
              <a:gd name="T64" fmla="*/ 4878 w 12607"/>
              <a:gd name="T65" fmla="*/ 10999 h 12594"/>
              <a:gd name="T66" fmla="*/ 4878 w 12607"/>
              <a:gd name="T67" fmla="*/ 11204 h 12594"/>
              <a:gd name="T68" fmla="*/ 6274 w 12607"/>
              <a:gd name="T69" fmla="*/ 12594 h 12594"/>
              <a:gd name="T70" fmla="*/ 6333 w 12607"/>
              <a:gd name="T71" fmla="*/ 12594 h 12594"/>
              <a:gd name="T72" fmla="*/ 7729 w 12607"/>
              <a:gd name="T73" fmla="*/ 11204 h 12594"/>
              <a:gd name="T74" fmla="*/ 7729 w 12607"/>
              <a:gd name="T75" fmla="*/ 11016 h 12594"/>
              <a:gd name="T76" fmla="*/ 8664 w 12607"/>
              <a:gd name="T77" fmla="*/ 10630 h 12594"/>
              <a:gd name="T78" fmla="*/ 8803 w 12607"/>
              <a:gd name="T79" fmla="*/ 10769 h 12594"/>
              <a:gd name="T80" fmla="*/ 10777 w 12607"/>
              <a:gd name="T81" fmla="*/ 10769 h 12594"/>
              <a:gd name="T82" fmla="*/ 10819 w 12607"/>
              <a:gd name="T83" fmla="*/ 10728 h 12594"/>
              <a:gd name="T84" fmla="*/ 10819 w 12607"/>
              <a:gd name="T85" fmla="*/ 8761 h 12594"/>
              <a:gd name="T86" fmla="*/ 10673 w 12607"/>
              <a:gd name="T87" fmla="*/ 8616 h 12594"/>
              <a:gd name="T88" fmla="*/ 11051 w 12607"/>
              <a:gd name="T89" fmla="*/ 7694 h 12594"/>
              <a:gd name="T90" fmla="*/ 11211 w 12607"/>
              <a:gd name="T91" fmla="*/ 7694 h 12594"/>
              <a:gd name="T92" fmla="*/ 12607 w 12607"/>
              <a:gd name="T93" fmla="*/ 6304 h 12594"/>
              <a:gd name="T94" fmla="*/ 12607 w 12607"/>
              <a:gd name="T95" fmla="*/ 6245 h 12594"/>
              <a:gd name="T96" fmla="*/ 11212 w 12607"/>
              <a:gd name="T97" fmla="*/ 4855 h 12594"/>
              <a:gd name="T98" fmla="*/ 6337 w 12607"/>
              <a:gd name="T99" fmla="*/ 8498 h 12594"/>
              <a:gd name="T100" fmla="*/ 4152 w 12607"/>
              <a:gd name="T101" fmla="*/ 6323 h 12594"/>
              <a:gd name="T102" fmla="*/ 6337 w 12607"/>
              <a:gd name="T103" fmla="*/ 4146 h 12594"/>
              <a:gd name="T104" fmla="*/ 8521 w 12607"/>
              <a:gd name="T105" fmla="*/ 6323 h 12594"/>
              <a:gd name="T106" fmla="*/ 6337 w 12607"/>
              <a:gd name="T107" fmla="*/ 8498 h 12594"/>
              <a:gd name="T108" fmla="*/ 6337 w 12607"/>
              <a:gd name="T109" fmla="*/ 8498 h 125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2607" h="12594">
                <a:moveTo>
                  <a:pt x="11212" y="4855"/>
                </a:moveTo>
                <a:lnTo>
                  <a:pt x="11019" y="4855"/>
                </a:lnTo>
                <a:cubicBezTo>
                  <a:pt x="10923" y="4550"/>
                  <a:pt x="10796" y="4258"/>
                  <a:pt x="10644" y="3981"/>
                </a:cubicBezTo>
                <a:lnTo>
                  <a:pt x="10796" y="3830"/>
                </a:lnTo>
                <a:cubicBezTo>
                  <a:pt x="11341" y="3287"/>
                  <a:pt x="11341" y="2407"/>
                  <a:pt x="10796" y="1864"/>
                </a:cubicBezTo>
                <a:lnTo>
                  <a:pt x="10755" y="1823"/>
                </a:lnTo>
                <a:cubicBezTo>
                  <a:pt x="10209" y="1279"/>
                  <a:pt x="9326" y="1279"/>
                  <a:pt x="8781" y="1823"/>
                </a:cubicBezTo>
                <a:lnTo>
                  <a:pt x="8611" y="1992"/>
                </a:lnTo>
                <a:cubicBezTo>
                  <a:pt x="8332" y="1846"/>
                  <a:pt x="8037" y="1725"/>
                  <a:pt x="7729" y="1634"/>
                </a:cubicBezTo>
                <a:lnTo>
                  <a:pt x="7729" y="1390"/>
                </a:lnTo>
                <a:cubicBezTo>
                  <a:pt x="7729" y="622"/>
                  <a:pt x="7104" y="0"/>
                  <a:pt x="6333" y="0"/>
                </a:cubicBezTo>
                <a:lnTo>
                  <a:pt x="6274" y="0"/>
                </a:lnTo>
                <a:cubicBezTo>
                  <a:pt x="5503" y="0"/>
                  <a:pt x="4878" y="622"/>
                  <a:pt x="4878" y="1390"/>
                </a:cubicBezTo>
                <a:lnTo>
                  <a:pt x="4878" y="1652"/>
                </a:lnTo>
                <a:cubicBezTo>
                  <a:pt x="4584" y="1742"/>
                  <a:pt x="4301" y="1861"/>
                  <a:pt x="4033" y="2003"/>
                </a:cubicBezTo>
                <a:lnTo>
                  <a:pt x="3852" y="1823"/>
                </a:lnTo>
                <a:cubicBezTo>
                  <a:pt x="3307" y="1280"/>
                  <a:pt x="2423" y="1280"/>
                  <a:pt x="1878" y="1823"/>
                </a:cubicBezTo>
                <a:lnTo>
                  <a:pt x="1837" y="1864"/>
                </a:lnTo>
                <a:cubicBezTo>
                  <a:pt x="1292" y="2407"/>
                  <a:pt x="1292" y="3287"/>
                  <a:pt x="1837" y="3830"/>
                </a:cubicBezTo>
                <a:lnTo>
                  <a:pt x="2012" y="4004"/>
                </a:lnTo>
                <a:cubicBezTo>
                  <a:pt x="1865" y="4274"/>
                  <a:pt x="1743" y="4558"/>
                  <a:pt x="1650" y="4855"/>
                </a:cubicBezTo>
                <a:lnTo>
                  <a:pt x="1396" y="4855"/>
                </a:lnTo>
                <a:cubicBezTo>
                  <a:pt x="625" y="4855"/>
                  <a:pt x="0" y="5478"/>
                  <a:pt x="0" y="6245"/>
                </a:cubicBezTo>
                <a:lnTo>
                  <a:pt x="0" y="6304"/>
                </a:lnTo>
                <a:cubicBezTo>
                  <a:pt x="0" y="7072"/>
                  <a:pt x="625" y="7694"/>
                  <a:pt x="1396" y="7694"/>
                </a:cubicBezTo>
                <a:lnTo>
                  <a:pt x="1618" y="7694"/>
                </a:lnTo>
                <a:cubicBezTo>
                  <a:pt x="1710" y="8008"/>
                  <a:pt x="1833" y="8308"/>
                  <a:pt x="1983" y="8593"/>
                </a:cubicBezTo>
                <a:lnTo>
                  <a:pt x="1814" y="8761"/>
                </a:lnTo>
                <a:cubicBezTo>
                  <a:pt x="1269" y="9304"/>
                  <a:pt x="1269" y="10185"/>
                  <a:pt x="1814" y="10728"/>
                </a:cubicBezTo>
                <a:lnTo>
                  <a:pt x="1855" y="10769"/>
                </a:lnTo>
                <a:cubicBezTo>
                  <a:pt x="2400" y="11312"/>
                  <a:pt x="3284" y="11312"/>
                  <a:pt x="3829" y="10769"/>
                </a:cubicBezTo>
                <a:lnTo>
                  <a:pt x="3981" y="10618"/>
                </a:lnTo>
                <a:cubicBezTo>
                  <a:pt x="4264" y="10773"/>
                  <a:pt x="4564" y="10902"/>
                  <a:pt x="4878" y="10999"/>
                </a:cubicBezTo>
                <a:lnTo>
                  <a:pt x="4878" y="11204"/>
                </a:lnTo>
                <a:cubicBezTo>
                  <a:pt x="4878" y="11972"/>
                  <a:pt x="5503" y="12594"/>
                  <a:pt x="6274" y="12594"/>
                </a:cubicBezTo>
                <a:lnTo>
                  <a:pt x="6333" y="12594"/>
                </a:lnTo>
                <a:cubicBezTo>
                  <a:pt x="7104" y="12594"/>
                  <a:pt x="7729" y="11972"/>
                  <a:pt x="7729" y="11204"/>
                </a:cubicBezTo>
                <a:lnTo>
                  <a:pt x="7729" y="11016"/>
                </a:lnTo>
                <a:cubicBezTo>
                  <a:pt x="8056" y="10920"/>
                  <a:pt x="8368" y="10788"/>
                  <a:pt x="8664" y="10630"/>
                </a:cubicBezTo>
                <a:lnTo>
                  <a:pt x="8803" y="10769"/>
                </a:lnTo>
                <a:cubicBezTo>
                  <a:pt x="9348" y="11312"/>
                  <a:pt x="10233" y="11312"/>
                  <a:pt x="10777" y="10769"/>
                </a:cubicBezTo>
                <a:lnTo>
                  <a:pt x="10819" y="10728"/>
                </a:lnTo>
                <a:cubicBezTo>
                  <a:pt x="11364" y="10185"/>
                  <a:pt x="11364" y="9304"/>
                  <a:pt x="10819" y="8761"/>
                </a:cubicBezTo>
                <a:lnTo>
                  <a:pt x="10673" y="8616"/>
                </a:lnTo>
                <a:cubicBezTo>
                  <a:pt x="10828" y="8324"/>
                  <a:pt x="10956" y="8017"/>
                  <a:pt x="11051" y="7694"/>
                </a:cubicBezTo>
                <a:lnTo>
                  <a:pt x="11211" y="7694"/>
                </a:lnTo>
                <a:cubicBezTo>
                  <a:pt x="11982" y="7694"/>
                  <a:pt x="12607" y="7071"/>
                  <a:pt x="12607" y="6304"/>
                </a:cubicBezTo>
                <a:lnTo>
                  <a:pt x="12607" y="6245"/>
                </a:lnTo>
                <a:cubicBezTo>
                  <a:pt x="12607" y="5477"/>
                  <a:pt x="11982" y="4855"/>
                  <a:pt x="11212" y="4855"/>
                </a:cubicBezTo>
                <a:close/>
                <a:moveTo>
                  <a:pt x="6337" y="8498"/>
                </a:moveTo>
                <a:cubicBezTo>
                  <a:pt x="5130" y="8498"/>
                  <a:pt x="4152" y="7524"/>
                  <a:pt x="4152" y="6323"/>
                </a:cubicBezTo>
                <a:cubicBezTo>
                  <a:pt x="4152" y="5120"/>
                  <a:pt x="5130" y="4146"/>
                  <a:pt x="6337" y="4146"/>
                </a:cubicBezTo>
                <a:cubicBezTo>
                  <a:pt x="7544" y="4146"/>
                  <a:pt x="8521" y="5120"/>
                  <a:pt x="8521" y="6323"/>
                </a:cubicBezTo>
                <a:cubicBezTo>
                  <a:pt x="8521" y="7524"/>
                  <a:pt x="7544" y="8498"/>
                  <a:pt x="6337" y="8498"/>
                </a:cubicBezTo>
                <a:close/>
                <a:moveTo>
                  <a:pt x="6337" y="8498"/>
                </a:move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sp>
        <p:nvSpPr>
          <p:cNvPr id="46" name="user_209046">
            <a:extLst>
              <a:ext uri="{FF2B5EF4-FFF2-40B4-BE49-F238E27FC236}">
                <a16:creationId xmlns:a16="http://schemas.microsoft.com/office/drawing/2014/main" id="{33017521-829F-41F4-9636-EF781CA74E7D}"/>
              </a:ext>
            </a:extLst>
          </p:cNvPr>
          <p:cNvSpPr/>
          <p:nvPr/>
        </p:nvSpPr>
        <p:spPr>
          <a:xfrm>
            <a:off x="10278266" y="3406350"/>
            <a:ext cx="360818" cy="325370"/>
          </a:xfrm>
          <a:custGeom>
            <a:avLst/>
            <a:gdLst>
              <a:gd name="connsiteX0" fmla="*/ 521432 w 608344"/>
              <a:gd name="connsiteY0" fmla="*/ 370453 h 548582"/>
              <a:gd name="connsiteX1" fmla="*/ 465737 w 608344"/>
              <a:gd name="connsiteY1" fmla="*/ 425787 h 548582"/>
              <a:gd name="connsiteX2" fmla="*/ 442491 w 608344"/>
              <a:gd name="connsiteY2" fmla="*/ 402479 h 548582"/>
              <a:gd name="connsiteX3" fmla="*/ 418201 w 608344"/>
              <a:gd name="connsiteY3" fmla="*/ 426545 h 548582"/>
              <a:gd name="connsiteX4" fmla="*/ 441447 w 608344"/>
              <a:gd name="connsiteY4" fmla="*/ 449948 h 548582"/>
              <a:gd name="connsiteX5" fmla="*/ 465642 w 608344"/>
              <a:gd name="connsiteY5" fmla="*/ 474204 h 548582"/>
              <a:gd name="connsiteX6" fmla="*/ 489932 w 608344"/>
              <a:gd name="connsiteY6" fmla="*/ 450043 h 548582"/>
              <a:gd name="connsiteX7" fmla="*/ 545532 w 608344"/>
              <a:gd name="connsiteY7" fmla="*/ 394709 h 548582"/>
              <a:gd name="connsiteX8" fmla="*/ 481962 w 608344"/>
              <a:gd name="connsiteY8" fmla="*/ 296170 h 548582"/>
              <a:gd name="connsiteX9" fmla="*/ 608344 w 608344"/>
              <a:gd name="connsiteY9" fmla="*/ 422376 h 548582"/>
              <a:gd name="connsiteX10" fmla="*/ 481962 w 608344"/>
              <a:gd name="connsiteY10" fmla="*/ 548582 h 548582"/>
              <a:gd name="connsiteX11" fmla="*/ 355579 w 608344"/>
              <a:gd name="connsiteY11" fmla="*/ 422376 h 548582"/>
              <a:gd name="connsiteX12" fmla="*/ 481962 w 608344"/>
              <a:gd name="connsiteY12" fmla="*/ 296170 h 548582"/>
              <a:gd name="connsiteX13" fmla="*/ 255835 w 608344"/>
              <a:gd name="connsiteY13" fmla="*/ 446 h 548582"/>
              <a:gd name="connsiteX14" fmla="*/ 317801 w 608344"/>
              <a:gd name="connsiteY14" fmla="*/ 13616 h 548582"/>
              <a:gd name="connsiteX15" fmla="*/ 348072 w 608344"/>
              <a:gd name="connsiteY15" fmla="*/ 41661 h 548582"/>
              <a:gd name="connsiteX16" fmla="*/ 381190 w 608344"/>
              <a:gd name="connsiteY16" fmla="*/ 146831 h 548582"/>
              <a:gd name="connsiteX17" fmla="*/ 378913 w 608344"/>
              <a:gd name="connsiteY17" fmla="*/ 156211 h 548582"/>
              <a:gd name="connsiteX18" fmla="*/ 387833 w 608344"/>
              <a:gd name="connsiteY18" fmla="*/ 200458 h 548582"/>
              <a:gd name="connsiteX19" fmla="*/ 366387 w 608344"/>
              <a:gd name="connsiteY19" fmla="*/ 237694 h 548582"/>
              <a:gd name="connsiteX20" fmla="*/ 351393 w 608344"/>
              <a:gd name="connsiteY20" fmla="*/ 278720 h 548582"/>
              <a:gd name="connsiteX21" fmla="*/ 351393 w 608344"/>
              <a:gd name="connsiteY21" fmla="*/ 322873 h 548582"/>
              <a:gd name="connsiteX22" fmla="*/ 317611 w 608344"/>
              <a:gd name="connsiteY22" fmla="*/ 422358 h 548582"/>
              <a:gd name="connsiteX23" fmla="*/ 376635 w 608344"/>
              <a:gd name="connsiteY23" fmla="*/ 548088 h 548582"/>
              <a:gd name="connsiteX24" fmla="*/ 26855 w 608344"/>
              <a:gd name="connsiteY24" fmla="*/ 548088 h 548582"/>
              <a:gd name="connsiteX25" fmla="*/ 0 w 608344"/>
              <a:gd name="connsiteY25" fmla="*/ 521274 h 548582"/>
              <a:gd name="connsiteX26" fmla="*/ 0 w 608344"/>
              <a:gd name="connsiteY26" fmla="*/ 473806 h 548582"/>
              <a:gd name="connsiteX27" fmla="*/ 19453 w 608344"/>
              <a:gd name="connsiteY27" fmla="*/ 432969 h 548582"/>
              <a:gd name="connsiteX28" fmla="*/ 173751 w 608344"/>
              <a:gd name="connsiteY28" fmla="*/ 334242 h 548582"/>
              <a:gd name="connsiteX29" fmla="*/ 176408 w 608344"/>
              <a:gd name="connsiteY29" fmla="*/ 329884 h 548582"/>
              <a:gd name="connsiteX30" fmla="*/ 176408 w 608344"/>
              <a:gd name="connsiteY30" fmla="*/ 278720 h 548582"/>
              <a:gd name="connsiteX31" fmla="*/ 161320 w 608344"/>
              <a:gd name="connsiteY31" fmla="*/ 237694 h 548582"/>
              <a:gd name="connsiteX32" fmla="*/ 139969 w 608344"/>
              <a:gd name="connsiteY32" fmla="*/ 200458 h 548582"/>
              <a:gd name="connsiteX33" fmla="*/ 148320 w 608344"/>
              <a:gd name="connsiteY33" fmla="*/ 156211 h 548582"/>
              <a:gd name="connsiteX34" fmla="*/ 146042 w 608344"/>
              <a:gd name="connsiteY34" fmla="*/ 146736 h 548582"/>
              <a:gd name="connsiteX35" fmla="*/ 145758 w 608344"/>
              <a:gd name="connsiteY35" fmla="*/ 95099 h 548582"/>
              <a:gd name="connsiteX36" fmla="*/ 176029 w 608344"/>
              <a:gd name="connsiteY36" fmla="*/ 42135 h 548582"/>
              <a:gd name="connsiteX37" fmla="*/ 203928 w 608344"/>
              <a:gd name="connsiteY37" fmla="*/ 19017 h 548582"/>
              <a:gd name="connsiteX38" fmla="*/ 231162 w 608344"/>
              <a:gd name="connsiteY38" fmla="*/ 5089 h 548582"/>
              <a:gd name="connsiteX39" fmla="*/ 255835 w 608344"/>
              <a:gd name="connsiteY39" fmla="*/ 446 h 548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608344" h="548582">
                <a:moveTo>
                  <a:pt x="521432" y="370453"/>
                </a:moveTo>
                <a:lnTo>
                  <a:pt x="465737" y="425787"/>
                </a:lnTo>
                <a:lnTo>
                  <a:pt x="442491" y="402479"/>
                </a:lnTo>
                <a:lnTo>
                  <a:pt x="418201" y="426545"/>
                </a:lnTo>
                <a:lnTo>
                  <a:pt x="441447" y="449948"/>
                </a:lnTo>
                <a:lnTo>
                  <a:pt x="465642" y="474204"/>
                </a:lnTo>
                <a:lnTo>
                  <a:pt x="489932" y="450043"/>
                </a:lnTo>
                <a:lnTo>
                  <a:pt x="545532" y="394709"/>
                </a:lnTo>
                <a:close/>
                <a:moveTo>
                  <a:pt x="481962" y="296170"/>
                </a:moveTo>
                <a:cubicBezTo>
                  <a:pt x="551795" y="296170"/>
                  <a:pt x="608344" y="352641"/>
                  <a:pt x="608344" y="422376"/>
                </a:cubicBezTo>
                <a:cubicBezTo>
                  <a:pt x="608344" y="492111"/>
                  <a:pt x="551795" y="548582"/>
                  <a:pt x="481962" y="548582"/>
                </a:cubicBezTo>
                <a:cubicBezTo>
                  <a:pt x="412129" y="548582"/>
                  <a:pt x="355579" y="492111"/>
                  <a:pt x="355579" y="422376"/>
                </a:cubicBezTo>
                <a:cubicBezTo>
                  <a:pt x="355579" y="352641"/>
                  <a:pt x="412129" y="296170"/>
                  <a:pt x="481962" y="296170"/>
                </a:cubicBezTo>
                <a:close/>
                <a:moveTo>
                  <a:pt x="255835" y="446"/>
                </a:moveTo>
                <a:cubicBezTo>
                  <a:pt x="282785" y="-1828"/>
                  <a:pt x="303187" y="4899"/>
                  <a:pt x="317801" y="13616"/>
                </a:cubicBezTo>
                <a:cubicBezTo>
                  <a:pt x="339721" y="25744"/>
                  <a:pt x="348072" y="41661"/>
                  <a:pt x="348072" y="41661"/>
                </a:cubicBezTo>
                <a:cubicBezTo>
                  <a:pt x="348072" y="41661"/>
                  <a:pt x="398176" y="45167"/>
                  <a:pt x="381190" y="146831"/>
                </a:cubicBezTo>
                <a:cubicBezTo>
                  <a:pt x="380621" y="149863"/>
                  <a:pt x="379862" y="153085"/>
                  <a:pt x="378913" y="156211"/>
                </a:cubicBezTo>
                <a:cubicBezTo>
                  <a:pt x="388592" y="156211"/>
                  <a:pt x="398271" y="163507"/>
                  <a:pt x="387833" y="200458"/>
                </a:cubicBezTo>
                <a:cubicBezTo>
                  <a:pt x="379672" y="229262"/>
                  <a:pt x="372080" y="237221"/>
                  <a:pt x="366387" y="237694"/>
                </a:cubicBezTo>
                <a:cubicBezTo>
                  <a:pt x="364394" y="250675"/>
                  <a:pt x="359175" y="265076"/>
                  <a:pt x="351393" y="278720"/>
                </a:cubicBezTo>
                <a:lnTo>
                  <a:pt x="351393" y="322873"/>
                </a:lnTo>
                <a:cubicBezTo>
                  <a:pt x="330232" y="350539"/>
                  <a:pt x="317611" y="385027"/>
                  <a:pt x="317611" y="422358"/>
                </a:cubicBezTo>
                <a:cubicBezTo>
                  <a:pt x="317611" y="472764"/>
                  <a:pt x="340480" y="518053"/>
                  <a:pt x="376635" y="548088"/>
                </a:cubicBezTo>
                <a:lnTo>
                  <a:pt x="26855" y="548088"/>
                </a:lnTo>
                <a:cubicBezTo>
                  <a:pt x="12052" y="548088"/>
                  <a:pt x="0" y="536055"/>
                  <a:pt x="0" y="521274"/>
                </a:cubicBezTo>
                <a:lnTo>
                  <a:pt x="0" y="473806"/>
                </a:lnTo>
                <a:cubicBezTo>
                  <a:pt x="0" y="457983"/>
                  <a:pt x="7212" y="443013"/>
                  <a:pt x="19453" y="432969"/>
                </a:cubicBezTo>
                <a:cubicBezTo>
                  <a:pt x="86638" y="377921"/>
                  <a:pt x="159043" y="341443"/>
                  <a:pt x="173751" y="334242"/>
                </a:cubicBezTo>
                <a:cubicBezTo>
                  <a:pt x="175365" y="333484"/>
                  <a:pt x="176408" y="331779"/>
                  <a:pt x="176408" y="329884"/>
                </a:cubicBezTo>
                <a:lnTo>
                  <a:pt x="176408" y="278720"/>
                </a:lnTo>
                <a:cubicBezTo>
                  <a:pt x="168437" y="265076"/>
                  <a:pt x="163313" y="250675"/>
                  <a:pt x="161320" y="237694"/>
                </a:cubicBezTo>
                <a:cubicBezTo>
                  <a:pt x="155627" y="237221"/>
                  <a:pt x="148035" y="229072"/>
                  <a:pt x="139969" y="200458"/>
                </a:cubicBezTo>
                <a:cubicBezTo>
                  <a:pt x="129531" y="164170"/>
                  <a:pt x="138925" y="156496"/>
                  <a:pt x="148320" y="156211"/>
                </a:cubicBezTo>
                <a:cubicBezTo>
                  <a:pt x="147371" y="153085"/>
                  <a:pt x="146612" y="149863"/>
                  <a:pt x="146042" y="146736"/>
                </a:cubicBezTo>
                <a:cubicBezTo>
                  <a:pt x="142436" y="128450"/>
                  <a:pt x="141487" y="111396"/>
                  <a:pt x="145758" y="95099"/>
                </a:cubicBezTo>
                <a:cubicBezTo>
                  <a:pt x="150787" y="73212"/>
                  <a:pt x="162744" y="55684"/>
                  <a:pt x="176029" y="42135"/>
                </a:cubicBezTo>
                <a:cubicBezTo>
                  <a:pt x="184379" y="33134"/>
                  <a:pt x="193869" y="25459"/>
                  <a:pt x="203928" y="19017"/>
                </a:cubicBezTo>
                <a:cubicBezTo>
                  <a:pt x="212183" y="13332"/>
                  <a:pt x="221293" y="8405"/>
                  <a:pt x="231162" y="5089"/>
                </a:cubicBezTo>
                <a:cubicBezTo>
                  <a:pt x="238849" y="2625"/>
                  <a:pt x="247105" y="825"/>
                  <a:pt x="255835" y="446"/>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7" name="文本框 46">
            <a:extLst>
              <a:ext uri="{FF2B5EF4-FFF2-40B4-BE49-F238E27FC236}">
                <a16:creationId xmlns:a16="http://schemas.microsoft.com/office/drawing/2014/main" id="{F4B971FE-7A4C-4D9A-A39F-D45F3D3A0F72}"/>
              </a:ext>
            </a:extLst>
          </p:cNvPr>
          <p:cNvSpPr txBox="1"/>
          <p:nvPr/>
        </p:nvSpPr>
        <p:spPr>
          <a:xfrm>
            <a:off x="5070079" y="1130724"/>
            <a:ext cx="2051845" cy="492443"/>
          </a:xfrm>
          <a:prstGeom prst="rect">
            <a:avLst/>
          </a:prstGeom>
          <a:noFill/>
        </p:spPr>
        <p:txBody>
          <a:bodyPr wrap="none" lIns="0" tIns="0" rIns="0" bIns="0" rtlCol="0" anchor="t">
            <a:spAutoFit/>
          </a:bodyPr>
          <a:lstStyle/>
          <a:p>
            <a:pPr algn="ctr"/>
            <a:r>
              <a:rPr lang="zh-CN" altLang="en-US" sz="3200" dirty="0">
                <a:solidFill>
                  <a:schemeClr val="accent1"/>
                </a:solidFill>
                <a:latin typeface="+mj-ea"/>
                <a:ea typeface="+mj-ea"/>
              </a:rPr>
              <a:t>关键词标题</a:t>
            </a:r>
          </a:p>
        </p:txBody>
      </p:sp>
      <p:sp>
        <p:nvSpPr>
          <p:cNvPr id="48" name="文本框 47">
            <a:extLst>
              <a:ext uri="{FF2B5EF4-FFF2-40B4-BE49-F238E27FC236}">
                <a16:creationId xmlns:a16="http://schemas.microsoft.com/office/drawing/2014/main" id="{60AD5DCA-AE93-404A-89FB-FA807A004124}"/>
              </a:ext>
            </a:extLst>
          </p:cNvPr>
          <p:cNvSpPr txBox="1"/>
          <p:nvPr/>
        </p:nvSpPr>
        <p:spPr>
          <a:xfrm>
            <a:off x="4231140" y="1648187"/>
            <a:ext cx="3729040" cy="426079"/>
          </a:xfrm>
          <a:prstGeom prst="rect">
            <a:avLst/>
          </a:prstGeom>
          <a:noFill/>
        </p:spPr>
        <p:txBody>
          <a:bodyPr wrap="square" lIns="0" tIns="0" rIns="0" bIns="0" rtlCol="0" anchor="t">
            <a:spAutoFit/>
          </a:bodyPr>
          <a:lstStyle/>
          <a:p>
            <a:pPr algn="ctr">
              <a:lnSpc>
                <a:spcPct val="130000"/>
              </a:lnSpc>
            </a:pPr>
            <a:r>
              <a:rPr lang="en-US" altLang="zh-CN" sz="1100" b="0" dirty="0">
                <a:solidFill>
                  <a:schemeClr val="tx1">
                    <a:lumMod val="75000"/>
                    <a:lumOff val="25000"/>
                  </a:schemeClr>
                </a:solidFill>
                <a:effectLst/>
                <a:latin typeface="+mn-ea"/>
              </a:rPr>
              <a:t>Lorem ipsum dolor sit amet, consectetur adipisicing elit, sed do eiusmod tempor</a:t>
            </a:r>
            <a:endParaRPr lang="zh-CN" altLang="en-US" sz="1100" b="0" dirty="0">
              <a:solidFill>
                <a:schemeClr val="tx1">
                  <a:lumMod val="75000"/>
                  <a:lumOff val="25000"/>
                </a:schemeClr>
              </a:solidFill>
              <a:effectLst/>
              <a:latin typeface="+mn-ea"/>
            </a:endParaRPr>
          </a:p>
        </p:txBody>
      </p:sp>
    </p:spTree>
    <p:extLst>
      <p:ext uri="{BB962C8B-B14F-4D97-AF65-F5344CB8AC3E}">
        <p14:creationId xmlns:p14="http://schemas.microsoft.com/office/powerpoint/2010/main" val="1548088566"/>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2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组合 5">
            <a:extLst>
              <a:ext uri="{FF2B5EF4-FFF2-40B4-BE49-F238E27FC236}">
                <a16:creationId xmlns:a16="http://schemas.microsoft.com/office/drawing/2014/main" id="{AD8EF8E3-2DD1-4207-98B8-8F0C82BEC73B}"/>
              </a:ext>
            </a:extLst>
          </p:cNvPr>
          <p:cNvGrpSpPr/>
          <p:nvPr>
            <p:custDataLst>
              <p:tags r:id="rId2"/>
            </p:custDataLst>
          </p:nvPr>
        </p:nvGrpSpPr>
        <p:grpSpPr>
          <a:xfrm>
            <a:off x="2399733" y="1668610"/>
            <a:ext cx="3135144" cy="1775809"/>
            <a:chOff x="946263" y="1969127"/>
            <a:chExt cx="3135144" cy="1775809"/>
          </a:xfrm>
        </p:grpSpPr>
        <p:sp>
          <p:nvSpPr>
            <p:cNvPr id="2" name="圆角矩形 59">
              <a:extLst>
                <a:ext uri="{FF2B5EF4-FFF2-40B4-BE49-F238E27FC236}">
                  <a16:creationId xmlns:a16="http://schemas.microsoft.com/office/drawing/2014/main" id="{67E5CC2C-6CEF-4FF0-A31F-FEBD7B3EF929}"/>
                </a:ext>
              </a:extLst>
            </p:cNvPr>
            <p:cNvSpPr/>
            <p:nvPr>
              <p:custDataLst>
                <p:tags r:id="rId12"/>
              </p:custDataLst>
            </p:nvPr>
          </p:nvSpPr>
          <p:spPr>
            <a:xfrm>
              <a:off x="946263" y="1969127"/>
              <a:ext cx="3135144" cy="1775809"/>
            </a:xfrm>
            <a:prstGeom prst="roundRect">
              <a:avLst>
                <a:gd name="adj" fmla="val 6970"/>
              </a:avLst>
            </a:prstGeom>
            <a:solidFill>
              <a:schemeClr val="accent1">
                <a:alpha val="88000"/>
              </a:schemeClr>
            </a:solidFill>
            <a:ln w="12700" cap="flat" cmpd="sng" algn="ctr">
              <a:noFill/>
              <a:prstDash val="solid"/>
              <a:miter lim="800000"/>
            </a:ln>
            <a:effectLst>
              <a:outerShdw blurRad="379565" dist="151826" dir="2700007" algn="tl" rotWithShape="0">
                <a:prstClr val="black">
                  <a:alpha val="10000"/>
                </a:prstClr>
              </a:outerShdw>
            </a:effectLst>
          </p:spPr>
          <p:txBody>
            <a:bodyPr lIns="109316" tIns="54657" rIns="109316" bIns="54657" rtlCol="0" anchor="ctr"/>
            <a:lstStyle/>
            <a:p>
              <a:pPr marL="0" marR="0" lvl="0" indent="0" algn="ctr" defTabSz="914400" eaLnBrk="1" fontAlgn="auto" latinLnBrk="0" hangingPunct="1">
                <a:lnSpc>
                  <a:spcPct val="100000"/>
                </a:lnSpc>
                <a:spcBef>
                  <a:spcPts val="0"/>
                </a:spcBef>
                <a:buClrTx/>
                <a:buSzTx/>
                <a:buFontTx/>
                <a:buNone/>
                <a:tabLst/>
                <a:defRPr/>
              </a:pPr>
              <a:endParaRPr kumimoji="0" lang="zh-CN" altLang="en-US" sz="1912" b="1" i="0" u="none" strike="noStrike" kern="0" cap="none" spc="0" normalizeH="0" baseline="0" noProof="0">
                <a:ln>
                  <a:noFill/>
                </a:ln>
                <a:gradFill>
                  <a:gsLst>
                    <a:gs pos="0">
                      <a:prstClr val="white"/>
                    </a:gs>
                    <a:gs pos="100000">
                      <a:prstClr val="white">
                        <a:lumMod val="95000"/>
                      </a:prstClr>
                    </a:gs>
                  </a:gsLst>
                  <a:lin ang="0" scaled="0"/>
                </a:gradFill>
                <a:effectLst/>
                <a:uLnTx/>
                <a:uFillTx/>
              </a:endParaRPr>
            </a:p>
          </p:txBody>
        </p:sp>
        <p:sp>
          <p:nvSpPr>
            <p:cNvPr id="3" name="圆角矩形 60">
              <a:extLst>
                <a:ext uri="{FF2B5EF4-FFF2-40B4-BE49-F238E27FC236}">
                  <a16:creationId xmlns:a16="http://schemas.microsoft.com/office/drawing/2014/main" id="{1E307F82-12CB-4C08-8AE0-D99BC1A51AA3}"/>
                </a:ext>
              </a:extLst>
            </p:cNvPr>
            <p:cNvSpPr/>
            <p:nvPr>
              <p:custDataLst>
                <p:tags r:id="rId13"/>
              </p:custDataLst>
            </p:nvPr>
          </p:nvSpPr>
          <p:spPr>
            <a:xfrm>
              <a:off x="946263" y="2432217"/>
              <a:ext cx="3135144" cy="1312715"/>
            </a:xfrm>
            <a:prstGeom prst="roundRect">
              <a:avLst>
                <a:gd name="adj" fmla="val 6970"/>
              </a:avLst>
            </a:prstGeom>
            <a:solidFill>
              <a:sysClr val="window" lastClr="FFFFFF"/>
            </a:solidFill>
            <a:ln w="12700" cap="flat" cmpd="sng" algn="ctr">
              <a:noFill/>
              <a:prstDash val="solid"/>
              <a:miter lim="800000"/>
            </a:ln>
            <a:effectLst/>
          </p:spPr>
          <p:txBody>
            <a:bodyPr lIns="109316" tIns="54657" rIns="109316" bIns="54657" rtlCol="0" anchor="ctr"/>
            <a:lstStyle/>
            <a:p>
              <a:pPr marL="0" marR="0" lvl="0" indent="0" defTabSz="914400" eaLnBrk="1" fontAlgn="auto" latinLnBrk="0" hangingPunct="1">
                <a:lnSpc>
                  <a:spcPct val="100000"/>
                </a:lnSpc>
                <a:spcBef>
                  <a:spcPts val="0"/>
                </a:spcBef>
                <a:buClrTx/>
                <a:buSzTx/>
                <a:buFontTx/>
                <a:buNone/>
                <a:tabLst/>
                <a:defRPr/>
              </a:pPr>
              <a:endParaRPr kumimoji="0" lang="zh-CN" altLang="en-US" sz="2152" b="0" i="0" u="none" strike="noStrike" kern="0" cap="none" spc="0" normalizeH="0" baseline="0" noProof="0">
                <a:ln>
                  <a:noFill/>
                </a:ln>
                <a:solidFill>
                  <a:prstClr val="white"/>
                </a:solidFill>
                <a:effectLst/>
                <a:uLnTx/>
                <a:uFillTx/>
              </a:endParaRPr>
            </a:p>
          </p:txBody>
        </p:sp>
        <p:sp>
          <p:nvSpPr>
            <p:cNvPr id="4" name="矩形 3">
              <a:extLst>
                <a:ext uri="{FF2B5EF4-FFF2-40B4-BE49-F238E27FC236}">
                  <a16:creationId xmlns:a16="http://schemas.microsoft.com/office/drawing/2014/main" id="{A7F85914-E7D9-4766-BC04-C98C218BFDDF}"/>
                </a:ext>
              </a:extLst>
            </p:cNvPr>
            <p:cNvSpPr/>
            <p:nvPr/>
          </p:nvSpPr>
          <p:spPr>
            <a:xfrm>
              <a:off x="1823947" y="2047851"/>
              <a:ext cx="1379778" cy="331147"/>
            </a:xfrm>
            <a:prstGeom prst="rect">
              <a:avLst/>
            </a:prstGeom>
            <a:ln w="19050">
              <a:noFill/>
            </a:ln>
            <a:effectLst/>
          </p:spPr>
          <p:txBody>
            <a:bodyPr wrap="none" lIns="0" tIns="0" rIns="0" bIns="0" anchor="ctr" anchorCtr="0">
              <a:sp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ctr" defTabSz="914400" rtl="0" eaLnBrk="1" fontAlgn="auto" latinLnBrk="0" hangingPunct="1">
                <a:lnSpc>
                  <a:spcPct val="100000"/>
                </a:lnSpc>
                <a:spcBef>
                  <a:spcPts val="0"/>
                </a:spcBef>
                <a:buClrTx/>
                <a:buSzTx/>
                <a:buFontTx/>
                <a:buNone/>
                <a:tabLst/>
                <a:defRPr/>
              </a:pPr>
              <a:r>
                <a:rPr kumimoji="0" lang="zh-CN" altLang="en-US" sz="2152" i="0" u="none" strike="noStrike" kern="1200" cap="none" spc="0" normalizeH="0" baseline="0" noProof="0" dirty="0">
                  <a:ln>
                    <a:noFill/>
                  </a:ln>
                  <a:solidFill>
                    <a:prstClr val="white"/>
                  </a:solidFill>
                  <a:effectLst/>
                  <a:uLnTx/>
                  <a:uFillTx/>
                  <a:latin typeface="+mj-ea"/>
                  <a:ea typeface="+mj-ea"/>
                </a:rPr>
                <a:t>关键词标题</a:t>
              </a:r>
            </a:p>
          </p:txBody>
        </p:sp>
        <p:sp>
          <p:nvSpPr>
            <p:cNvPr id="5" name="文本框 4">
              <a:extLst>
                <a:ext uri="{FF2B5EF4-FFF2-40B4-BE49-F238E27FC236}">
                  <a16:creationId xmlns:a16="http://schemas.microsoft.com/office/drawing/2014/main" id="{D8E29B40-866F-4273-A900-A93B7B200859}"/>
                </a:ext>
              </a:extLst>
            </p:cNvPr>
            <p:cNvSpPr txBox="1"/>
            <p:nvPr/>
          </p:nvSpPr>
          <p:spPr>
            <a:xfrm>
              <a:off x="1345562" y="2612880"/>
              <a:ext cx="2336549" cy="772447"/>
            </a:xfrm>
            <a:prstGeom prst="rect">
              <a:avLst/>
            </a:prstGeom>
            <a:noFill/>
            <a:ln>
              <a:noFill/>
            </a:ln>
            <a:effectLst/>
          </p:spPr>
          <p:txBody>
            <a:bodyPr wrap="square" lIns="0" tIns="0" rIns="0" bIns="0" anchor="t" anchorCtr="0">
              <a:sp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R="0" lvl="0" algn="ctr" defTabSz="914400" rtl="0" eaLnBrk="1" fontAlgn="auto" latinLnBrk="0" hangingPunct="1">
                <a:lnSpc>
                  <a:spcPct val="130000"/>
                </a:lnSpc>
                <a:spcBef>
                  <a:spcPct val="0"/>
                </a:spcBef>
                <a:buClrTx/>
                <a:buSzTx/>
                <a:tabLst/>
                <a:defRPr/>
              </a:pPr>
              <a:r>
                <a:rPr kumimoji="0" lang="en-US" altLang="zh-CN" sz="1315" b="0" i="0" u="none" strike="noStrike" kern="1200" cap="none" spc="0" normalizeH="0" baseline="0" noProof="0" dirty="0">
                  <a:ln>
                    <a:noFill/>
                  </a:ln>
                  <a:solidFill>
                    <a:srgbClr val="E7E6E6">
                      <a:lumMod val="25000"/>
                    </a:srgbClr>
                  </a:solidFill>
                  <a:effectLst/>
                  <a:uLnTx/>
                  <a:uFillTx/>
                </a:rPr>
                <a:t>Lorem ipsum dolor sit amet consectetur adipisicing elit</a:t>
              </a:r>
            </a:p>
            <a:p>
              <a:pPr marR="0" lvl="0" algn="ctr" defTabSz="914400" rtl="0" eaLnBrk="1" fontAlgn="auto" latinLnBrk="0" hangingPunct="1">
                <a:lnSpc>
                  <a:spcPct val="130000"/>
                </a:lnSpc>
                <a:spcBef>
                  <a:spcPct val="0"/>
                </a:spcBef>
                <a:buClrTx/>
                <a:buSzTx/>
                <a:tabLst/>
                <a:defRPr/>
              </a:pPr>
              <a:r>
                <a:rPr kumimoji="0" lang="en-US" altLang="zh-CN" sz="1315" b="0" i="0" u="none" strike="noStrike" kern="1200" cap="none" spc="0" normalizeH="0" baseline="0" noProof="0" dirty="0">
                  <a:ln>
                    <a:noFill/>
                  </a:ln>
                  <a:solidFill>
                    <a:srgbClr val="E7E6E6">
                      <a:lumMod val="25000"/>
                    </a:srgbClr>
                  </a:solidFill>
                  <a:effectLst/>
                  <a:uLnTx/>
                  <a:uFillTx/>
                </a:rPr>
                <a:t>sed do eiusmod tempor</a:t>
              </a:r>
            </a:p>
          </p:txBody>
        </p:sp>
      </p:grpSp>
      <p:grpSp>
        <p:nvGrpSpPr>
          <p:cNvPr id="7" name="组合 6">
            <a:extLst>
              <a:ext uri="{FF2B5EF4-FFF2-40B4-BE49-F238E27FC236}">
                <a16:creationId xmlns:a16="http://schemas.microsoft.com/office/drawing/2014/main" id="{2CFBC46B-42FA-455C-97A9-CBAB76C55901}"/>
              </a:ext>
            </a:extLst>
          </p:cNvPr>
          <p:cNvGrpSpPr/>
          <p:nvPr>
            <p:custDataLst>
              <p:tags r:id="rId3"/>
            </p:custDataLst>
          </p:nvPr>
        </p:nvGrpSpPr>
        <p:grpSpPr>
          <a:xfrm>
            <a:off x="6657124" y="1668610"/>
            <a:ext cx="3135144" cy="1775809"/>
            <a:chOff x="1660307" y="1969127"/>
            <a:chExt cx="3135144" cy="1775809"/>
          </a:xfrm>
        </p:grpSpPr>
        <p:sp>
          <p:nvSpPr>
            <p:cNvPr id="8" name="圆角矩形 59">
              <a:extLst>
                <a:ext uri="{FF2B5EF4-FFF2-40B4-BE49-F238E27FC236}">
                  <a16:creationId xmlns:a16="http://schemas.microsoft.com/office/drawing/2014/main" id="{503450AF-9C07-4178-8D30-C50A9246C0D1}"/>
                </a:ext>
              </a:extLst>
            </p:cNvPr>
            <p:cNvSpPr/>
            <p:nvPr>
              <p:custDataLst>
                <p:tags r:id="rId10"/>
              </p:custDataLst>
            </p:nvPr>
          </p:nvSpPr>
          <p:spPr>
            <a:xfrm>
              <a:off x="1660307" y="1969127"/>
              <a:ext cx="3135144" cy="1775809"/>
            </a:xfrm>
            <a:prstGeom prst="roundRect">
              <a:avLst>
                <a:gd name="adj" fmla="val 6970"/>
              </a:avLst>
            </a:prstGeom>
            <a:solidFill>
              <a:schemeClr val="accent1">
                <a:alpha val="88000"/>
              </a:schemeClr>
            </a:solidFill>
            <a:ln w="12700" cap="flat" cmpd="sng" algn="ctr">
              <a:noFill/>
              <a:prstDash val="solid"/>
              <a:miter lim="800000"/>
            </a:ln>
            <a:effectLst>
              <a:outerShdw blurRad="379565" dist="151826" dir="2700007" algn="tl" rotWithShape="0">
                <a:prstClr val="black">
                  <a:alpha val="10000"/>
                </a:prstClr>
              </a:outerShdw>
            </a:effectLst>
          </p:spPr>
          <p:txBody>
            <a:bodyPr lIns="109316" tIns="54657" rIns="109316" bIns="54657" rtlCol="0" anchor="ctr"/>
            <a:lstStyle/>
            <a:p>
              <a:pPr marL="0" marR="0" lvl="0" indent="0" algn="ctr" defTabSz="914400" eaLnBrk="1" fontAlgn="auto" latinLnBrk="0" hangingPunct="1">
                <a:lnSpc>
                  <a:spcPct val="100000"/>
                </a:lnSpc>
                <a:spcBef>
                  <a:spcPts val="0"/>
                </a:spcBef>
                <a:buClrTx/>
                <a:buSzTx/>
                <a:buFontTx/>
                <a:buNone/>
                <a:tabLst/>
                <a:defRPr/>
              </a:pPr>
              <a:endParaRPr kumimoji="0" lang="zh-CN" altLang="en-US" sz="1912" b="1" i="0" u="none" strike="noStrike" kern="0" cap="none" spc="0" normalizeH="0" baseline="0" noProof="0">
                <a:ln>
                  <a:noFill/>
                </a:ln>
                <a:gradFill>
                  <a:gsLst>
                    <a:gs pos="0">
                      <a:prstClr val="white"/>
                    </a:gs>
                    <a:gs pos="100000">
                      <a:prstClr val="white">
                        <a:lumMod val="95000"/>
                      </a:prstClr>
                    </a:gs>
                  </a:gsLst>
                  <a:lin ang="0" scaled="0"/>
                </a:gradFill>
                <a:effectLst/>
                <a:uLnTx/>
                <a:uFillTx/>
              </a:endParaRPr>
            </a:p>
          </p:txBody>
        </p:sp>
        <p:sp>
          <p:nvSpPr>
            <p:cNvPr id="9" name="圆角矩形 60">
              <a:extLst>
                <a:ext uri="{FF2B5EF4-FFF2-40B4-BE49-F238E27FC236}">
                  <a16:creationId xmlns:a16="http://schemas.microsoft.com/office/drawing/2014/main" id="{724E701A-83F7-4ADC-B47F-E7CB5B443B1D}"/>
                </a:ext>
              </a:extLst>
            </p:cNvPr>
            <p:cNvSpPr/>
            <p:nvPr>
              <p:custDataLst>
                <p:tags r:id="rId11"/>
              </p:custDataLst>
            </p:nvPr>
          </p:nvSpPr>
          <p:spPr>
            <a:xfrm>
              <a:off x="1660307" y="2432217"/>
              <a:ext cx="3135144" cy="1312715"/>
            </a:xfrm>
            <a:prstGeom prst="roundRect">
              <a:avLst>
                <a:gd name="adj" fmla="val 6970"/>
              </a:avLst>
            </a:prstGeom>
            <a:solidFill>
              <a:sysClr val="window" lastClr="FFFFFF"/>
            </a:solidFill>
            <a:ln w="12700" cap="flat" cmpd="sng" algn="ctr">
              <a:noFill/>
              <a:prstDash val="solid"/>
              <a:miter lim="800000"/>
            </a:ln>
            <a:effectLst/>
          </p:spPr>
          <p:txBody>
            <a:bodyPr lIns="109316" tIns="54657" rIns="109316" bIns="54657" rtlCol="0" anchor="ctr"/>
            <a:lstStyle/>
            <a:p>
              <a:pPr marL="0" marR="0" lvl="0" indent="0" defTabSz="914400" eaLnBrk="1" fontAlgn="auto" latinLnBrk="0" hangingPunct="1">
                <a:lnSpc>
                  <a:spcPct val="100000"/>
                </a:lnSpc>
                <a:spcBef>
                  <a:spcPts val="0"/>
                </a:spcBef>
                <a:buClrTx/>
                <a:buSzTx/>
                <a:buFontTx/>
                <a:buNone/>
                <a:tabLst/>
                <a:defRPr/>
              </a:pPr>
              <a:endParaRPr kumimoji="0" lang="zh-CN" altLang="en-US" sz="2152" b="0" i="0" u="none" strike="noStrike" kern="0" cap="none" spc="0" normalizeH="0" baseline="0" noProof="0">
                <a:ln>
                  <a:noFill/>
                </a:ln>
                <a:solidFill>
                  <a:prstClr val="white"/>
                </a:solidFill>
                <a:effectLst/>
                <a:uLnTx/>
                <a:uFillTx/>
              </a:endParaRPr>
            </a:p>
          </p:txBody>
        </p:sp>
        <p:sp>
          <p:nvSpPr>
            <p:cNvPr id="10" name="矩形 9">
              <a:extLst>
                <a:ext uri="{FF2B5EF4-FFF2-40B4-BE49-F238E27FC236}">
                  <a16:creationId xmlns:a16="http://schemas.microsoft.com/office/drawing/2014/main" id="{8E592703-0AF5-4514-B0C6-5623E2138CB2}"/>
                </a:ext>
              </a:extLst>
            </p:cNvPr>
            <p:cNvSpPr/>
            <p:nvPr/>
          </p:nvSpPr>
          <p:spPr>
            <a:xfrm>
              <a:off x="2537990" y="2047851"/>
              <a:ext cx="1379778" cy="331147"/>
            </a:xfrm>
            <a:prstGeom prst="rect">
              <a:avLst/>
            </a:prstGeom>
            <a:ln w="19050">
              <a:noFill/>
            </a:ln>
            <a:effectLst/>
          </p:spPr>
          <p:txBody>
            <a:bodyPr wrap="none" lIns="0" tIns="0" rIns="0" bIns="0" anchor="ctr" anchorCtr="0">
              <a:sp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ctr" defTabSz="914400" rtl="0" eaLnBrk="1" fontAlgn="auto" latinLnBrk="0" hangingPunct="1">
                <a:lnSpc>
                  <a:spcPct val="100000"/>
                </a:lnSpc>
                <a:spcBef>
                  <a:spcPts val="0"/>
                </a:spcBef>
                <a:buClrTx/>
                <a:buSzTx/>
                <a:buFontTx/>
                <a:buNone/>
                <a:tabLst/>
                <a:defRPr/>
              </a:pPr>
              <a:r>
                <a:rPr kumimoji="0" lang="zh-CN" altLang="en-US" sz="2152" i="0" u="none" strike="noStrike" kern="1200" cap="none" spc="0" normalizeH="0" baseline="0" noProof="0" dirty="0">
                  <a:ln>
                    <a:noFill/>
                  </a:ln>
                  <a:solidFill>
                    <a:prstClr val="white"/>
                  </a:solidFill>
                  <a:effectLst/>
                  <a:uLnTx/>
                  <a:uFillTx/>
                  <a:latin typeface="+mj-ea"/>
                  <a:ea typeface="+mj-ea"/>
                </a:rPr>
                <a:t>关键词标题</a:t>
              </a:r>
            </a:p>
          </p:txBody>
        </p:sp>
        <p:sp>
          <p:nvSpPr>
            <p:cNvPr id="11" name="文本框 10">
              <a:extLst>
                <a:ext uri="{FF2B5EF4-FFF2-40B4-BE49-F238E27FC236}">
                  <a16:creationId xmlns:a16="http://schemas.microsoft.com/office/drawing/2014/main" id="{0E70FB81-73EA-4821-91A7-97143062FA40}"/>
                </a:ext>
              </a:extLst>
            </p:cNvPr>
            <p:cNvSpPr txBox="1"/>
            <p:nvPr/>
          </p:nvSpPr>
          <p:spPr>
            <a:xfrm>
              <a:off x="2059606" y="2612880"/>
              <a:ext cx="2336549" cy="772447"/>
            </a:xfrm>
            <a:prstGeom prst="rect">
              <a:avLst/>
            </a:prstGeom>
            <a:noFill/>
            <a:ln>
              <a:noFill/>
            </a:ln>
            <a:effectLst/>
          </p:spPr>
          <p:txBody>
            <a:bodyPr wrap="square" lIns="0" tIns="0" rIns="0" bIns="0" anchor="t" anchorCtr="0">
              <a:sp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R="0" lvl="0" algn="ctr" defTabSz="914400" rtl="0" eaLnBrk="1" fontAlgn="auto" latinLnBrk="0" hangingPunct="1">
                <a:lnSpc>
                  <a:spcPct val="130000"/>
                </a:lnSpc>
                <a:spcBef>
                  <a:spcPct val="0"/>
                </a:spcBef>
                <a:buClrTx/>
                <a:buSzTx/>
                <a:tabLst/>
                <a:defRPr/>
              </a:pPr>
              <a:r>
                <a:rPr kumimoji="0" lang="en-US" altLang="zh-CN" sz="1315" b="0" i="0" u="none" strike="noStrike" kern="1200" cap="none" spc="0" normalizeH="0" baseline="0" noProof="0" dirty="0">
                  <a:ln>
                    <a:noFill/>
                  </a:ln>
                  <a:solidFill>
                    <a:srgbClr val="E7E6E6">
                      <a:lumMod val="25000"/>
                    </a:srgbClr>
                  </a:solidFill>
                  <a:effectLst/>
                  <a:uLnTx/>
                  <a:uFillTx/>
                </a:rPr>
                <a:t>Lorem ipsum dolor sit amet consectetur adipisicing elit</a:t>
              </a:r>
            </a:p>
            <a:p>
              <a:pPr marR="0" lvl="0" algn="ctr" defTabSz="914400" rtl="0" eaLnBrk="1" fontAlgn="auto" latinLnBrk="0" hangingPunct="1">
                <a:lnSpc>
                  <a:spcPct val="130000"/>
                </a:lnSpc>
                <a:spcBef>
                  <a:spcPct val="0"/>
                </a:spcBef>
                <a:buClrTx/>
                <a:buSzTx/>
                <a:tabLst/>
                <a:defRPr/>
              </a:pPr>
              <a:r>
                <a:rPr kumimoji="0" lang="en-US" altLang="zh-CN" sz="1315" b="0" i="0" u="none" strike="noStrike" kern="1200" cap="none" spc="0" normalizeH="0" baseline="0" noProof="0" dirty="0">
                  <a:ln>
                    <a:noFill/>
                  </a:ln>
                  <a:solidFill>
                    <a:srgbClr val="E7E6E6">
                      <a:lumMod val="25000"/>
                    </a:srgbClr>
                  </a:solidFill>
                  <a:effectLst/>
                  <a:uLnTx/>
                  <a:uFillTx/>
                </a:rPr>
                <a:t>sed do eiusmod tempor</a:t>
              </a:r>
            </a:p>
          </p:txBody>
        </p:sp>
      </p:grpSp>
      <p:grpSp>
        <p:nvGrpSpPr>
          <p:cNvPr id="15" name="组合 14">
            <a:extLst>
              <a:ext uri="{FF2B5EF4-FFF2-40B4-BE49-F238E27FC236}">
                <a16:creationId xmlns:a16="http://schemas.microsoft.com/office/drawing/2014/main" id="{2EA19F90-CF34-48F7-B089-F065C0E6E0F8}"/>
              </a:ext>
            </a:extLst>
          </p:cNvPr>
          <p:cNvGrpSpPr/>
          <p:nvPr>
            <p:custDataLst>
              <p:tags r:id="rId4"/>
            </p:custDataLst>
          </p:nvPr>
        </p:nvGrpSpPr>
        <p:grpSpPr>
          <a:xfrm>
            <a:off x="2399733" y="4030334"/>
            <a:ext cx="3135144" cy="1775809"/>
            <a:chOff x="946263" y="1844826"/>
            <a:chExt cx="3135144" cy="1775809"/>
          </a:xfrm>
        </p:grpSpPr>
        <p:sp>
          <p:nvSpPr>
            <p:cNvPr id="21" name="圆角矩形 59">
              <a:extLst>
                <a:ext uri="{FF2B5EF4-FFF2-40B4-BE49-F238E27FC236}">
                  <a16:creationId xmlns:a16="http://schemas.microsoft.com/office/drawing/2014/main" id="{7F29B6B8-7E32-4001-8BA1-627DDC6F328C}"/>
                </a:ext>
              </a:extLst>
            </p:cNvPr>
            <p:cNvSpPr/>
            <p:nvPr>
              <p:custDataLst>
                <p:tags r:id="rId8"/>
              </p:custDataLst>
            </p:nvPr>
          </p:nvSpPr>
          <p:spPr>
            <a:xfrm>
              <a:off x="946263" y="1844826"/>
              <a:ext cx="3135144" cy="1775809"/>
            </a:xfrm>
            <a:prstGeom prst="roundRect">
              <a:avLst>
                <a:gd name="adj" fmla="val 6970"/>
              </a:avLst>
            </a:prstGeom>
            <a:solidFill>
              <a:schemeClr val="accent1">
                <a:alpha val="88000"/>
              </a:schemeClr>
            </a:solidFill>
            <a:ln w="12700" cap="flat" cmpd="sng" algn="ctr">
              <a:noFill/>
              <a:prstDash val="solid"/>
              <a:miter lim="800000"/>
            </a:ln>
            <a:effectLst>
              <a:outerShdw blurRad="379565" dist="151826" dir="2700007" algn="tl" rotWithShape="0">
                <a:prstClr val="black">
                  <a:alpha val="10000"/>
                </a:prstClr>
              </a:outerShdw>
            </a:effectLst>
          </p:spPr>
          <p:txBody>
            <a:bodyPr lIns="109316" tIns="54657" rIns="109316" bIns="54657" rtlCol="0" anchor="ctr"/>
            <a:lstStyle/>
            <a:p>
              <a:pPr marL="0" marR="0" lvl="0" indent="0" algn="ctr" defTabSz="914400" eaLnBrk="1" fontAlgn="auto" latinLnBrk="0" hangingPunct="1">
                <a:lnSpc>
                  <a:spcPct val="100000"/>
                </a:lnSpc>
                <a:spcBef>
                  <a:spcPts val="0"/>
                </a:spcBef>
                <a:buClrTx/>
                <a:buSzTx/>
                <a:buFontTx/>
                <a:buNone/>
                <a:tabLst/>
                <a:defRPr/>
              </a:pPr>
              <a:endParaRPr kumimoji="0" lang="zh-CN" altLang="en-US" sz="1912" b="1" i="0" u="none" strike="noStrike" kern="0" cap="none" spc="0" normalizeH="0" baseline="0" noProof="0">
                <a:ln>
                  <a:noFill/>
                </a:ln>
                <a:gradFill>
                  <a:gsLst>
                    <a:gs pos="0">
                      <a:prstClr val="white"/>
                    </a:gs>
                    <a:gs pos="100000">
                      <a:prstClr val="white">
                        <a:lumMod val="95000"/>
                      </a:prstClr>
                    </a:gs>
                  </a:gsLst>
                  <a:lin ang="0" scaled="0"/>
                </a:gradFill>
                <a:effectLst/>
                <a:uLnTx/>
                <a:uFillTx/>
              </a:endParaRPr>
            </a:p>
          </p:txBody>
        </p:sp>
        <p:sp>
          <p:nvSpPr>
            <p:cNvPr id="22" name="圆角矩形 60">
              <a:extLst>
                <a:ext uri="{FF2B5EF4-FFF2-40B4-BE49-F238E27FC236}">
                  <a16:creationId xmlns:a16="http://schemas.microsoft.com/office/drawing/2014/main" id="{A2146539-7498-4015-B80B-C0D3F89A94B2}"/>
                </a:ext>
              </a:extLst>
            </p:cNvPr>
            <p:cNvSpPr/>
            <p:nvPr>
              <p:custDataLst>
                <p:tags r:id="rId9"/>
              </p:custDataLst>
            </p:nvPr>
          </p:nvSpPr>
          <p:spPr>
            <a:xfrm>
              <a:off x="946263" y="2307915"/>
              <a:ext cx="3135144" cy="1312715"/>
            </a:xfrm>
            <a:prstGeom prst="roundRect">
              <a:avLst>
                <a:gd name="adj" fmla="val 6970"/>
              </a:avLst>
            </a:prstGeom>
            <a:solidFill>
              <a:sysClr val="window" lastClr="FFFFFF"/>
            </a:solidFill>
            <a:ln w="12700" cap="flat" cmpd="sng" algn="ctr">
              <a:noFill/>
              <a:prstDash val="solid"/>
              <a:miter lim="800000"/>
            </a:ln>
            <a:effectLst/>
          </p:spPr>
          <p:txBody>
            <a:bodyPr lIns="109316" tIns="54657" rIns="109316" bIns="54657" rtlCol="0" anchor="ctr"/>
            <a:lstStyle/>
            <a:p>
              <a:pPr marL="0" marR="0" lvl="0" indent="0" defTabSz="914400" eaLnBrk="1" fontAlgn="auto" latinLnBrk="0" hangingPunct="1">
                <a:lnSpc>
                  <a:spcPct val="100000"/>
                </a:lnSpc>
                <a:spcBef>
                  <a:spcPts val="0"/>
                </a:spcBef>
                <a:buClrTx/>
                <a:buSzTx/>
                <a:buFontTx/>
                <a:buNone/>
                <a:tabLst/>
                <a:defRPr/>
              </a:pPr>
              <a:endParaRPr kumimoji="0" lang="zh-CN" altLang="en-US" sz="2152" b="0" i="0" u="none" strike="noStrike" kern="0" cap="none" spc="0" normalizeH="0" baseline="0" noProof="0">
                <a:ln>
                  <a:noFill/>
                </a:ln>
                <a:solidFill>
                  <a:prstClr val="white"/>
                </a:solidFill>
                <a:effectLst/>
                <a:uLnTx/>
                <a:uFillTx/>
              </a:endParaRPr>
            </a:p>
          </p:txBody>
        </p:sp>
        <p:sp>
          <p:nvSpPr>
            <p:cNvPr id="23" name="矩形 22">
              <a:extLst>
                <a:ext uri="{FF2B5EF4-FFF2-40B4-BE49-F238E27FC236}">
                  <a16:creationId xmlns:a16="http://schemas.microsoft.com/office/drawing/2014/main" id="{AA3EADE9-E1DA-44D6-8850-EE36CC59FAB8}"/>
                </a:ext>
              </a:extLst>
            </p:cNvPr>
            <p:cNvSpPr/>
            <p:nvPr/>
          </p:nvSpPr>
          <p:spPr>
            <a:xfrm>
              <a:off x="1823947" y="1923550"/>
              <a:ext cx="1379778" cy="331147"/>
            </a:xfrm>
            <a:prstGeom prst="rect">
              <a:avLst/>
            </a:prstGeom>
            <a:ln w="19050">
              <a:noFill/>
            </a:ln>
            <a:effectLst/>
          </p:spPr>
          <p:txBody>
            <a:bodyPr wrap="none" lIns="0" tIns="0" rIns="0" bIns="0" anchor="ctr" anchorCtr="0">
              <a:sp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ctr" defTabSz="914400" rtl="0" eaLnBrk="1" fontAlgn="auto" latinLnBrk="0" hangingPunct="1">
                <a:lnSpc>
                  <a:spcPct val="100000"/>
                </a:lnSpc>
                <a:spcBef>
                  <a:spcPts val="0"/>
                </a:spcBef>
                <a:buClrTx/>
                <a:buSzTx/>
                <a:buFontTx/>
                <a:buNone/>
                <a:tabLst/>
                <a:defRPr/>
              </a:pPr>
              <a:r>
                <a:rPr kumimoji="0" lang="zh-CN" altLang="en-US" sz="2152" i="0" u="none" strike="noStrike" kern="1200" cap="none" spc="0" normalizeH="0" baseline="0" noProof="0" dirty="0">
                  <a:ln>
                    <a:noFill/>
                  </a:ln>
                  <a:solidFill>
                    <a:prstClr val="white"/>
                  </a:solidFill>
                  <a:effectLst/>
                  <a:uLnTx/>
                  <a:uFillTx/>
                  <a:latin typeface="+mj-ea"/>
                  <a:ea typeface="+mj-ea"/>
                </a:rPr>
                <a:t>关键词标题</a:t>
              </a:r>
            </a:p>
          </p:txBody>
        </p:sp>
        <p:sp>
          <p:nvSpPr>
            <p:cNvPr id="24" name="文本框 23">
              <a:extLst>
                <a:ext uri="{FF2B5EF4-FFF2-40B4-BE49-F238E27FC236}">
                  <a16:creationId xmlns:a16="http://schemas.microsoft.com/office/drawing/2014/main" id="{BBB3B6F7-F3E7-4AB1-B24D-F2FB137E9AC3}"/>
                </a:ext>
              </a:extLst>
            </p:cNvPr>
            <p:cNvSpPr txBox="1"/>
            <p:nvPr/>
          </p:nvSpPr>
          <p:spPr>
            <a:xfrm>
              <a:off x="1345562" y="2488579"/>
              <a:ext cx="2336549" cy="772447"/>
            </a:xfrm>
            <a:prstGeom prst="rect">
              <a:avLst/>
            </a:prstGeom>
            <a:noFill/>
            <a:ln>
              <a:noFill/>
            </a:ln>
            <a:effectLst/>
          </p:spPr>
          <p:txBody>
            <a:bodyPr wrap="square" lIns="0" tIns="0" rIns="0" bIns="0" anchor="t" anchorCtr="0">
              <a:sp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R="0" lvl="0" algn="ctr" defTabSz="914400" rtl="0" eaLnBrk="1" fontAlgn="auto" latinLnBrk="0" hangingPunct="1">
                <a:lnSpc>
                  <a:spcPct val="130000"/>
                </a:lnSpc>
                <a:spcBef>
                  <a:spcPct val="0"/>
                </a:spcBef>
                <a:buClrTx/>
                <a:buSzTx/>
                <a:tabLst/>
                <a:defRPr/>
              </a:pPr>
              <a:r>
                <a:rPr kumimoji="0" lang="en-US" altLang="zh-CN" sz="1315" b="0" i="0" u="none" strike="noStrike" kern="1200" cap="none" spc="0" normalizeH="0" baseline="0" noProof="0" dirty="0">
                  <a:ln>
                    <a:noFill/>
                  </a:ln>
                  <a:solidFill>
                    <a:srgbClr val="E7E6E6">
                      <a:lumMod val="25000"/>
                    </a:srgbClr>
                  </a:solidFill>
                  <a:effectLst/>
                  <a:uLnTx/>
                  <a:uFillTx/>
                </a:rPr>
                <a:t>Lorem ipsum dolor sit amet consectetur adipisicing elit</a:t>
              </a:r>
            </a:p>
            <a:p>
              <a:pPr marR="0" lvl="0" algn="ctr" defTabSz="914400" rtl="0" eaLnBrk="1" fontAlgn="auto" latinLnBrk="0" hangingPunct="1">
                <a:lnSpc>
                  <a:spcPct val="130000"/>
                </a:lnSpc>
                <a:spcBef>
                  <a:spcPct val="0"/>
                </a:spcBef>
                <a:buClrTx/>
                <a:buSzTx/>
                <a:tabLst/>
                <a:defRPr/>
              </a:pPr>
              <a:r>
                <a:rPr kumimoji="0" lang="en-US" altLang="zh-CN" sz="1315" b="0" i="0" u="none" strike="noStrike" kern="1200" cap="none" spc="0" normalizeH="0" baseline="0" noProof="0" dirty="0">
                  <a:ln>
                    <a:noFill/>
                  </a:ln>
                  <a:solidFill>
                    <a:srgbClr val="E7E6E6">
                      <a:lumMod val="25000"/>
                    </a:srgbClr>
                  </a:solidFill>
                  <a:effectLst/>
                  <a:uLnTx/>
                  <a:uFillTx/>
                </a:rPr>
                <a:t>sed do eiusmod tempor</a:t>
              </a:r>
            </a:p>
          </p:txBody>
        </p:sp>
      </p:grpSp>
      <p:grpSp>
        <p:nvGrpSpPr>
          <p:cNvPr id="16" name="组合 15">
            <a:extLst>
              <a:ext uri="{FF2B5EF4-FFF2-40B4-BE49-F238E27FC236}">
                <a16:creationId xmlns:a16="http://schemas.microsoft.com/office/drawing/2014/main" id="{166A03E5-C3AC-426E-808F-1A55542A6C91}"/>
              </a:ext>
            </a:extLst>
          </p:cNvPr>
          <p:cNvGrpSpPr/>
          <p:nvPr>
            <p:custDataLst>
              <p:tags r:id="rId5"/>
            </p:custDataLst>
          </p:nvPr>
        </p:nvGrpSpPr>
        <p:grpSpPr>
          <a:xfrm>
            <a:off x="6657124" y="4030334"/>
            <a:ext cx="3135144" cy="1775809"/>
            <a:chOff x="1660307" y="1844826"/>
            <a:chExt cx="3135144" cy="1775809"/>
          </a:xfrm>
        </p:grpSpPr>
        <p:sp>
          <p:nvSpPr>
            <p:cNvPr id="17" name="圆角矩形 59">
              <a:extLst>
                <a:ext uri="{FF2B5EF4-FFF2-40B4-BE49-F238E27FC236}">
                  <a16:creationId xmlns:a16="http://schemas.microsoft.com/office/drawing/2014/main" id="{83876893-D776-485E-BBD1-21F24077D796}"/>
                </a:ext>
              </a:extLst>
            </p:cNvPr>
            <p:cNvSpPr/>
            <p:nvPr>
              <p:custDataLst>
                <p:tags r:id="rId6"/>
              </p:custDataLst>
            </p:nvPr>
          </p:nvSpPr>
          <p:spPr>
            <a:xfrm>
              <a:off x="1660307" y="1844826"/>
              <a:ext cx="3135144" cy="1775809"/>
            </a:xfrm>
            <a:prstGeom prst="roundRect">
              <a:avLst>
                <a:gd name="adj" fmla="val 6970"/>
              </a:avLst>
            </a:prstGeom>
            <a:solidFill>
              <a:schemeClr val="accent1">
                <a:alpha val="88000"/>
              </a:schemeClr>
            </a:solidFill>
            <a:ln w="12700" cap="flat" cmpd="sng" algn="ctr">
              <a:noFill/>
              <a:prstDash val="solid"/>
              <a:miter lim="800000"/>
            </a:ln>
            <a:effectLst>
              <a:outerShdw blurRad="379565" dist="151826" dir="2700007" algn="tl" rotWithShape="0">
                <a:prstClr val="black">
                  <a:alpha val="10000"/>
                </a:prstClr>
              </a:outerShdw>
            </a:effectLst>
          </p:spPr>
          <p:txBody>
            <a:bodyPr lIns="109316" tIns="54657" rIns="109316" bIns="54657" rtlCol="0" anchor="ctr"/>
            <a:lstStyle/>
            <a:p>
              <a:pPr marL="0" marR="0" lvl="0" indent="0" algn="ctr" defTabSz="914400" eaLnBrk="1" fontAlgn="auto" latinLnBrk="0" hangingPunct="1">
                <a:lnSpc>
                  <a:spcPct val="100000"/>
                </a:lnSpc>
                <a:spcBef>
                  <a:spcPts val="0"/>
                </a:spcBef>
                <a:buClrTx/>
                <a:buSzTx/>
                <a:buFontTx/>
                <a:buNone/>
                <a:tabLst/>
                <a:defRPr/>
              </a:pPr>
              <a:endParaRPr kumimoji="0" lang="zh-CN" altLang="en-US" sz="1912" b="1" i="0" u="none" strike="noStrike" kern="0" cap="none" spc="0" normalizeH="0" baseline="0" noProof="0">
                <a:ln>
                  <a:noFill/>
                </a:ln>
                <a:gradFill>
                  <a:gsLst>
                    <a:gs pos="0">
                      <a:prstClr val="white"/>
                    </a:gs>
                    <a:gs pos="100000">
                      <a:prstClr val="white">
                        <a:lumMod val="95000"/>
                      </a:prstClr>
                    </a:gs>
                  </a:gsLst>
                  <a:lin ang="0" scaled="0"/>
                </a:gradFill>
                <a:effectLst/>
                <a:uLnTx/>
                <a:uFillTx/>
              </a:endParaRPr>
            </a:p>
          </p:txBody>
        </p:sp>
        <p:sp>
          <p:nvSpPr>
            <p:cNvPr id="18" name="圆角矩形 60">
              <a:extLst>
                <a:ext uri="{FF2B5EF4-FFF2-40B4-BE49-F238E27FC236}">
                  <a16:creationId xmlns:a16="http://schemas.microsoft.com/office/drawing/2014/main" id="{633CF262-98D0-4F4D-A678-80C5A0D5F132}"/>
                </a:ext>
              </a:extLst>
            </p:cNvPr>
            <p:cNvSpPr/>
            <p:nvPr>
              <p:custDataLst>
                <p:tags r:id="rId7"/>
              </p:custDataLst>
            </p:nvPr>
          </p:nvSpPr>
          <p:spPr>
            <a:xfrm>
              <a:off x="1660307" y="2307915"/>
              <a:ext cx="3135144" cy="1312715"/>
            </a:xfrm>
            <a:prstGeom prst="roundRect">
              <a:avLst>
                <a:gd name="adj" fmla="val 6970"/>
              </a:avLst>
            </a:prstGeom>
            <a:solidFill>
              <a:sysClr val="window" lastClr="FFFFFF"/>
            </a:solidFill>
            <a:ln w="12700" cap="flat" cmpd="sng" algn="ctr">
              <a:noFill/>
              <a:prstDash val="solid"/>
              <a:miter lim="800000"/>
            </a:ln>
            <a:effectLst/>
          </p:spPr>
          <p:txBody>
            <a:bodyPr lIns="109316" tIns="54657" rIns="109316" bIns="54657" rtlCol="0" anchor="ctr"/>
            <a:lstStyle/>
            <a:p>
              <a:pPr marL="0" marR="0" lvl="0" indent="0" defTabSz="914400" eaLnBrk="1" fontAlgn="auto" latinLnBrk="0" hangingPunct="1">
                <a:lnSpc>
                  <a:spcPct val="100000"/>
                </a:lnSpc>
                <a:spcBef>
                  <a:spcPts val="0"/>
                </a:spcBef>
                <a:buClrTx/>
                <a:buSzTx/>
                <a:buFontTx/>
                <a:buNone/>
                <a:tabLst/>
                <a:defRPr/>
              </a:pPr>
              <a:endParaRPr kumimoji="0" lang="zh-CN" altLang="en-US" sz="2152" b="0" i="0" u="none" strike="noStrike" kern="0" cap="none" spc="0" normalizeH="0" baseline="0" noProof="0">
                <a:ln>
                  <a:noFill/>
                </a:ln>
                <a:solidFill>
                  <a:prstClr val="white"/>
                </a:solidFill>
                <a:effectLst/>
                <a:uLnTx/>
                <a:uFillTx/>
              </a:endParaRPr>
            </a:p>
          </p:txBody>
        </p:sp>
        <p:sp>
          <p:nvSpPr>
            <p:cNvPr id="19" name="矩形 18">
              <a:extLst>
                <a:ext uri="{FF2B5EF4-FFF2-40B4-BE49-F238E27FC236}">
                  <a16:creationId xmlns:a16="http://schemas.microsoft.com/office/drawing/2014/main" id="{1D34D659-07AA-469E-ACBF-9B2F22A68F40}"/>
                </a:ext>
              </a:extLst>
            </p:cNvPr>
            <p:cNvSpPr/>
            <p:nvPr/>
          </p:nvSpPr>
          <p:spPr>
            <a:xfrm>
              <a:off x="2537990" y="1923550"/>
              <a:ext cx="1379778" cy="331147"/>
            </a:xfrm>
            <a:prstGeom prst="rect">
              <a:avLst/>
            </a:prstGeom>
            <a:ln w="19050">
              <a:noFill/>
            </a:ln>
            <a:effectLst/>
          </p:spPr>
          <p:txBody>
            <a:bodyPr wrap="none" lIns="0" tIns="0" rIns="0" bIns="0" anchor="ctr" anchorCtr="0">
              <a:sp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ctr" defTabSz="914400" rtl="0" eaLnBrk="1" fontAlgn="auto" latinLnBrk="0" hangingPunct="1">
                <a:lnSpc>
                  <a:spcPct val="100000"/>
                </a:lnSpc>
                <a:spcBef>
                  <a:spcPts val="0"/>
                </a:spcBef>
                <a:buClrTx/>
                <a:buSzTx/>
                <a:buFontTx/>
                <a:buNone/>
                <a:tabLst/>
                <a:defRPr/>
              </a:pPr>
              <a:r>
                <a:rPr kumimoji="0" lang="zh-CN" altLang="en-US" sz="2152" i="0" u="none" strike="noStrike" kern="1200" cap="none" spc="0" normalizeH="0" baseline="0" noProof="0" dirty="0">
                  <a:ln>
                    <a:noFill/>
                  </a:ln>
                  <a:solidFill>
                    <a:prstClr val="white"/>
                  </a:solidFill>
                  <a:effectLst/>
                  <a:uLnTx/>
                  <a:uFillTx/>
                  <a:latin typeface="+mj-ea"/>
                  <a:ea typeface="+mj-ea"/>
                </a:rPr>
                <a:t>关键词标题</a:t>
              </a:r>
            </a:p>
          </p:txBody>
        </p:sp>
        <p:sp>
          <p:nvSpPr>
            <p:cNvPr id="20" name="文本框 19">
              <a:extLst>
                <a:ext uri="{FF2B5EF4-FFF2-40B4-BE49-F238E27FC236}">
                  <a16:creationId xmlns:a16="http://schemas.microsoft.com/office/drawing/2014/main" id="{271A25BB-696E-436D-A941-4D99DB3D93CE}"/>
                </a:ext>
              </a:extLst>
            </p:cNvPr>
            <p:cNvSpPr txBox="1"/>
            <p:nvPr/>
          </p:nvSpPr>
          <p:spPr>
            <a:xfrm>
              <a:off x="2059606" y="2488579"/>
              <a:ext cx="2336549" cy="772447"/>
            </a:xfrm>
            <a:prstGeom prst="rect">
              <a:avLst/>
            </a:prstGeom>
            <a:noFill/>
            <a:ln>
              <a:noFill/>
            </a:ln>
            <a:effectLst/>
          </p:spPr>
          <p:txBody>
            <a:bodyPr wrap="square" lIns="0" tIns="0" rIns="0" bIns="0" anchor="t" anchorCtr="0">
              <a:sp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R="0" lvl="0" algn="ctr" defTabSz="914400" rtl="0" eaLnBrk="1" fontAlgn="auto" latinLnBrk="0" hangingPunct="1">
                <a:lnSpc>
                  <a:spcPct val="130000"/>
                </a:lnSpc>
                <a:spcBef>
                  <a:spcPct val="0"/>
                </a:spcBef>
                <a:buClrTx/>
                <a:buSzTx/>
                <a:tabLst/>
                <a:defRPr/>
              </a:pPr>
              <a:r>
                <a:rPr kumimoji="0" lang="en-US" altLang="zh-CN" sz="1315" b="0" i="0" u="none" strike="noStrike" kern="1200" cap="none" spc="0" normalizeH="0" baseline="0" noProof="0" dirty="0">
                  <a:ln>
                    <a:noFill/>
                  </a:ln>
                  <a:solidFill>
                    <a:srgbClr val="E7E6E6">
                      <a:lumMod val="25000"/>
                    </a:srgbClr>
                  </a:solidFill>
                  <a:effectLst/>
                  <a:uLnTx/>
                  <a:uFillTx/>
                </a:rPr>
                <a:t>Lorem ipsum dolor sit amet consectetur adipisicing elit</a:t>
              </a:r>
            </a:p>
            <a:p>
              <a:pPr marR="0" lvl="0" algn="ctr" defTabSz="914400" rtl="0" eaLnBrk="1" fontAlgn="auto" latinLnBrk="0" hangingPunct="1">
                <a:lnSpc>
                  <a:spcPct val="130000"/>
                </a:lnSpc>
                <a:spcBef>
                  <a:spcPct val="0"/>
                </a:spcBef>
                <a:buClrTx/>
                <a:buSzTx/>
                <a:tabLst/>
                <a:defRPr/>
              </a:pPr>
              <a:r>
                <a:rPr kumimoji="0" lang="en-US" altLang="zh-CN" sz="1315" b="0" i="0" u="none" strike="noStrike" kern="1200" cap="none" spc="0" normalizeH="0" baseline="0" noProof="0" dirty="0">
                  <a:ln>
                    <a:noFill/>
                  </a:ln>
                  <a:solidFill>
                    <a:srgbClr val="E7E6E6">
                      <a:lumMod val="25000"/>
                    </a:srgbClr>
                  </a:solidFill>
                  <a:effectLst/>
                  <a:uLnTx/>
                  <a:uFillTx/>
                </a:rPr>
                <a:t>sed do eiusmod tempor</a:t>
              </a:r>
            </a:p>
          </p:txBody>
        </p:sp>
      </p:grpSp>
    </p:spTree>
    <p:extLst>
      <p:ext uri="{BB962C8B-B14F-4D97-AF65-F5344CB8AC3E}">
        <p14:creationId xmlns:p14="http://schemas.microsoft.com/office/powerpoint/2010/main" val="4024127558"/>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2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椭圆 32">
            <a:extLst>
              <a:ext uri="{FF2B5EF4-FFF2-40B4-BE49-F238E27FC236}">
                <a16:creationId xmlns:a16="http://schemas.microsoft.com/office/drawing/2014/main" id="{FBAE7639-06F8-4A19-ACC4-0E34F2C46B41}"/>
              </a:ext>
            </a:extLst>
          </p:cNvPr>
          <p:cNvSpPr/>
          <p:nvPr/>
        </p:nvSpPr>
        <p:spPr>
          <a:xfrm>
            <a:off x="2009775" y="-313193"/>
            <a:ext cx="8172450" cy="8172450"/>
          </a:xfrm>
          <a:prstGeom prst="ellipse">
            <a:avLst/>
          </a:prstGeom>
          <a:gradFill flip="none" rotWithShape="1">
            <a:gsLst>
              <a:gs pos="85000">
                <a:schemeClr val="accent1">
                  <a:alpha val="0"/>
                </a:schemeClr>
              </a:gs>
              <a:gs pos="100000">
                <a:schemeClr val="accent1">
                  <a:alpha val="18000"/>
                </a:schemeClr>
              </a:gs>
            </a:gsLst>
            <a:path path="shape">
              <a:fillToRect l="50000" t="50000" r="50000" b="50000"/>
            </a:path>
            <a:tileRect/>
          </a:gradFill>
          <a:ln>
            <a:solidFill>
              <a:schemeClr val="accent1">
                <a:alpha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9" name="椭圆 8">
            <a:extLst>
              <a:ext uri="{FF2B5EF4-FFF2-40B4-BE49-F238E27FC236}">
                <a16:creationId xmlns:a16="http://schemas.microsoft.com/office/drawing/2014/main" id="{BE994272-AF93-472D-A483-6FE0674789C9}"/>
              </a:ext>
            </a:extLst>
          </p:cNvPr>
          <p:cNvSpPr/>
          <p:nvPr/>
        </p:nvSpPr>
        <p:spPr>
          <a:xfrm>
            <a:off x="4448175" y="2125207"/>
            <a:ext cx="3295650" cy="3295650"/>
          </a:xfrm>
          <a:prstGeom prst="ellipse">
            <a:avLst/>
          </a:prstGeom>
          <a:gradFill flip="none" rotWithShape="1">
            <a:gsLst>
              <a:gs pos="92000">
                <a:schemeClr val="accent1">
                  <a:alpha val="0"/>
                </a:schemeClr>
              </a:gs>
              <a:gs pos="100000">
                <a:schemeClr val="accent1">
                  <a:alpha val="18000"/>
                </a:schemeClr>
              </a:gs>
            </a:gsLst>
            <a:path path="shape">
              <a:fillToRect l="50000" t="50000" r="50000" b="50000"/>
            </a:path>
            <a:tileRect/>
          </a:gra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grpSp>
        <p:nvGrpSpPr>
          <p:cNvPr id="2" name="组合 1">
            <a:extLst>
              <a:ext uri="{FF2B5EF4-FFF2-40B4-BE49-F238E27FC236}">
                <a16:creationId xmlns:a16="http://schemas.microsoft.com/office/drawing/2014/main" id="{D3A06313-8617-4C26-9C3F-DAEA38265299}"/>
              </a:ext>
            </a:extLst>
          </p:cNvPr>
          <p:cNvGrpSpPr/>
          <p:nvPr>
            <p:custDataLst>
              <p:tags r:id="rId2"/>
            </p:custDataLst>
          </p:nvPr>
        </p:nvGrpSpPr>
        <p:grpSpPr>
          <a:xfrm>
            <a:off x="889018" y="1768618"/>
            <a:ext cx="2727575" cy="1544954"/>
            <a:chOff x="1150048" y="2084554"/>
            <a:chExt cx="2727575" cy="1544954"/>
          </a:xfrm>
        </p:grpSpPr>
        <p:sp>
          <p:nvSpPr>
            <p:cNvPr id="3" name="圆角矩形 59">
              <a:extLst>
                <a:ext uri="{FF2B5EF4-FFF2-40B4-BE49-F238E27FC236}">
                  <a16:creationId xmlns:a16="http://schemas.microsoft.com/office/drawing/2014/main" id="{483CAE2A-699A-4D16-A992-891AED299DAC}"/>
                </a:ext>
              </a:extLst>
            </p:cNvPr>
            <p:cNvSpPr/>
            <p:nvPr>
              <p:custDataLst>
                <p:tags r:id="rId12"/>
              </p:custDataLst>
            </p:nvPr>
          </p:nvSpPr>
          <p:spPr>
            <a:xfrm>
              <a:off x="1150048" y="2084554"/>
              <a:ext cx="2727575" cy="1544954"/>
            </a:xfrm>
            <a:prstGeom prst="roundRect">
              <a:avLst>
                <a:gd name="adj" fmla="val 6970"/>
              </a:avLst>
            </a:prstGeom>
            <a:solidFill>
              <a:schemeClr val="accent1"/>
            </a:solidFill>
            <a:ln w="12700" cap="flat" cmpd="sng" algn="ctr">
              <a:noFill/>
              <a:prstDash val="solid"/>
              <a:miter lim="800000"/>
            </a:ln>
            <a:effectLst>
              <a:outerShdw blurRad="330222" dist="132089" dir="2700007" algn="tl" rotWithShape="0">
                <a:prstClr val="black">
                  <a:alpha val="10000"/>
                </a:prstClr>
              </a:outerShdw>
            </a:effectLst>
          </p:spPr>
          <p:txBody>
            <a:bodyPr lIns="95105" tIns="47552" rIns="95105" bIns="47552" rtlCol="0" anchor="ctr"/>
            <a:lstStyle/>
            <a:p>
              <a:pPr marL="0" marR="0" lvl="0" indent="0" algn="ctr" defTabSz="914400" eaLnBrk="1" fontAlgn="auto" latinLnBrk="0" hangingPunct="1">
                <a:lnSpc>
                  <a:spcPct val="100000"/>
                </a:lnSpc>
                <a:spcBef>
                  <a:spcPts val="0"/>
                </a:spcBef>
                <a:buClrTx/>
                <a:buSzTx/>
                <a:buFontTx/>
                <a:buNone/>
                <a:tabLst/>
                <a:defRPr/>
              </a:pPr>
              <a:endParaRPr kumimoji="0" lang="zh-CN" altLang="en-US" sz="1663" b="1" i="0" u="none" strike="noStrike" kern="0" cap="none" spc="0" normalizeH="0" baseline="0" noProof="0">
                <a:ln>
                  <a:noFill/>
                </a:ln>
                <a:gradFill>
                  <a:gsLst>
                    <a:gs pos="0">
                      <a:prstClr val="white"/>
                    </a:gs>
                    <a:gs pos="100000">
                      <a:prstClr val="white">
                        <a:lumMod val="95000"/>
                      </a:prstClr>
                    </a:gs>
                  </a:gsLst>
                  <a:lin ang="0" scaled="0"/>
                </a:gradFill>
                <a:effectLst/>
                <a:uLnTx/>
                <a:uFillTx/>
              </a:endParaRPr>
            </a:p>
          </p:txBody>
        </p:sp>
        <p:sp>
          <p:nvSpPr>
            <p:cNvPr id="4" name="圆角矩形 60">
              <a:extLst>
                <a:ext uri="{FF2B5EF4-FFF2-40B4-BE49-F238E27FC236}">
                  <a16:creationId xmlns:a16="http://schemas.microsoft.com/office/drawing/2014/main" id="{63E3D35A-79DF-4959-8FFF-A0F14D473EFD}"/>
                </a:ext>
              </a:extLst>
            </p:cNvPr>
            <p:cNvSpPr/>
            <p:nvPr>
              <p:custDataLst>
                <p:tags r:id="rId13"/>
              </p:custDataLst>
            </p:nvPr>
          </p:nvSpPr>
          <p:spPr>
            <a:xfrm>
              <a:off x="1150048" y="2487443"/>
              <a:ext cx="2727575" cy="1142062"/>
            </a:xfrm>
            <a:prstGeom prst="roundRect">
              <a:avLst>
                <a:gd name="adj" fmla="val 6970"/>
              </a:avLst>
            </a:prstGeom>
            <a:solidFill>
              <a:sysClr val="window" lastClr="FFFFFF"/>
            </a:solidFill>
            <a:ln w="12700" cap="flat" cmpd="sng" algn="ctr">
              <a:noFill/>
              <a:prstDash val="solid"/>
              <a:miter lim="800000"/>
            </a:ln>
            <a:effectLst/>
          </p:spPr>
          <p:txBody>
            <a:bodyPr lIns="95105" tIns="47552" rIns="95105" bIns="47552" rtlCol="0" anchor="ctr"/>
            <a:lstStyle/>
            <a:p>
              <a:pPr marL="0" marR="0" lvl="0" indent="0" defTabSz="914400" eaLnBrk="1" fontAlgn="auto" latinLnBrk="0" hangingPunct="1">
                <a:lnSpc>
                  <a:spcPct val="100000"/>
                </a:lnSpc>
                <a:spcBef>
                  <a:spcPts val="0"/>
                </a:spcBef>
                <a:buClrTx/>
                <a:buSzTx/>
                <a:buFontTx/>
                <a:buNone/>
                <a:tabLst/>
                <a:defRPr/>
              </a:pPr>
              <a:endParaRPr kumimoji="0" lang="zh-CN" altLang="en-US" sz="1872" b="0" i="0" u="none" strike="noStrike" kern="0" cap="none" spc="0" normalizeH="0" baseline="0" noProof="0">
                <a:ln>
                  <a:noFill/>
                </a:ln>
                <a:solidFill>
                  <a:prstClr val="white"/>
                </a:solidFill>
                <a:effectLst/>
                <a:uLnTx/>
                <a:uFillTx/>
              </a:endParaRPr>
            </a:p>
          </p:txBody>
        </p:sp>
        <p:sp>
          <p:nvSpPr>
            <p:cNvPr id="5" name="矩形 4">
              <a:extLst>
                <a:ext uri="{FF2B5EF4-FFF2-40B4-BE49-F238E27FC236}">
                  <a16:creationId xmlns:a16="http://schemas.microsoft.com/office/drawing/2014/main" id="{2C0B59A2-8B62-4C07-9064-4817C0519433}"/>
                </a:ext>
              </a:extLst>
            </p:cNvPr>
            <p:cNvSpPr/>
            <p:nvPr/>
          </p:nvSpPr>
          <p:spPr>
            <a:xfrm>
              <a:off x="1913632" y="2153045"/>
              <a:ext cx="1200406" cy="288098"/>
            </a:xfrm>
            <a:prstGeom prst="rect">
              <a:avLst/>
            </a:prstGeom>
            <a:ln w="19050">
              <a:noFill/>
            </a:ln>
            <a:effectLst/>
          </p:spPr>
          <p:txBody>
            <a:bodyPr wrap="none" lIns="0" tIns="0" rIns="0" bIns="0" anchor="ctr" anchorCtr="0">
              <a:sp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ctr" defTabSz="914400" rtl="0" eaLnBrk="1" fontAlgn="auto" latinLnBrk="0" hangingPunct="1">
                <a:lnSpc>
                  <a:spcPct val="100000"/>
                </a:lnSpc>
                <a:spcBef>
                  <a:spcPts val="0"/>
                </a:spcBef>
                <a:buClrTx/>
                <a:buSzTx/>
                <a:buFontTx/>
                <a:buNone/>
                <a:tabLst/>
                <a:defRPr/>
              </a:pPr>
              <a:r>
                <a:rPr kumimoji="0" lang="zh-CN" altLang="en-US" sz="1872" i="0" u="none" strike="noStrike" kern="1200" cap="none" spc="0" normalizeH="0" baseline="0" noProof="0" dirty="0">
                  <a:ln>
                    <a:noFill/>
                  </a:ln>
                  <a:solidFill>
                    <a:prstClr val="white"/>
                  </a:solidFill>
                  <a:effectLst/>
                  <a:uLnTx/>
                  <a:uFillTx/>
                  <a:latin typeface="+mj-ea"/>
                  <a:ea typeface="+mj-ea"/>
                </a:rPr>
                <a:t>关键词标题</a:t>
              </a:r>
            </a:p>
          </p:txBody>
        </p:sp>
        <p:sp>
          <p:nvSpPr>
            <p:cNvPr id="6" name="文本框 5">
              <a:extLst>
                <a:ext uri="{FF2B5EF4-FFF2-40B4-BE49-F238E27FC236}">
                  <a16:creationId xmlns:a16="http://schemas.microsoft.com/office/drawing/2014/main" id="{F7629737-2A4D-4B06-B09F-D2111AD7153F}"/>
                </a:ext>
              </a:extLst>
            </p:cNvPr>
            <p:cNvSpPr txBox="1"/>
            <p:nvPr/>
          </p:nvSpPr>
          <p:spPr>
            <a:xfrm>
              <a:off x="1497437" y="2644619"/>
              <a:ext cx="2032797" cy="672029"/>
            </a:xfrm>
            <a:prstGeom prst="rect">
              <a:avLst/>
            </a:prstGeom>
            <a:noFill/>
            <a:ln>
              <a:noFill/>
            </a:ln>
            <a:effectLst/>
          </p:spPr>
          <p:txBody>
            <a:bodyPr wrap="square" lIns="0" tIns="0" rIns="0" bIns="0" anchor="t" anchorCtr="0">
              <a:sp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R="0" lvl="0" algn="ctr" defTabSz="914400" rtl="0" eaLnBrk="1" fontAlgn="auto" latinLnBrk="0" hangingPunct="1">
                <a:lnSpc>
                  <a:spcPct val="130000"/>
                </a:lnSpc>
                <a:spcBef>
                  <a:spcPct val="0"/>
                </a:spcBef>
                <a:buClrTx/>
                <a:buSzTx/>
                <a:tabLst/>
                <a:defRPr/>
              </a:pPr>
              <a:r>
                <a:rPr kumimoji="0" lang="en-US" altLang="zh-CN" sz="1144" b="0" i="0" u="none" strike="noStrike" kern="1200" cap="none" spc="0" normalizeH="0" baseline="0" noProof="0" dirty="0">
                  <a:ln>
                    <a:noFill/>
                  </a:ln>
                  <a:solidFill>
                    <a:srgbClr val="E7E6E6">
                      <a:lumMod val="25000"/>
                    </a:srgbClr>
                  </a:solidFill>
                  <a:effectLst/>
                  <a:uLnTx/>
                  <a:uFillTx/>
                </a:rPr>
                <a:t>Lorem ipsum dolor sit amet consectetur adipisicing elit</a:t>
              </a:r>
            </a:p>
            <a:p>
              <a:pPr marR="0" lvl="0" algn="ctr" defTabSz="914400" rtl="0" eaLnBrk="1" fontAlgn="auto" latinLnBrk="0" hangingPunct="1">
                <a:lnSpc>
                  <a:spcPct val="130000"/>
                </a:lnSpc>
                <a:spcBef>
                  <a:spcPct val="0"/>
                </a:spcBef>
                <a:buClrTx/>
                <a:buSzTx/>
                <a:tabLst/>
                <a:defRPr/>
              </a:pPr>
              <a:r>
                <a:rPr kumimoji="0" lang="en-US" altLang="zh-CN" sz="1144" b="0" i="0" u="none" strike="noStrike" kern="1200" cap="none" spc="0" normalizeH="0" baseline="0" noProof="0" dirty="0">
                  <a:ln>
                    <a:noFill/>
                  </a:ln>
                  <a:solidFill>
                    <a:srgbClr val="E7E6E6">
                      <a:lumMod val="25000"/>
                    </a:srgbClr>
                  </a:solidFill>
                  <a:effectLst/>
                  <a:uLnTx/>
                  <a:uFillTx/>
                </a:rPr>
                <a:t>sed do eiusmod tempor</a:t>
              </a:r>
            </a:p>
          </p:txBody>
        </p:sp>
      </p:grpSp>
      <p:sp>
        <p:nvSpPr>
          <p:cNvPr id="7" name="椭圆 6">
            <a:extLst>
              <a:ext uri="{FF2B5EF4-FFF2-40B4-BE49-F238E27FC236}">
                <a16:creationId xmlns:a16="http://schemas.microsoft.com/office/drawing/2014/main" id="{EDAFA937-3A02-420D-9260-377D88290645}"/>
              </a:ext>
            </a:extLst>
          </p:cNvPr>
          <p:cNvSpPr/>
          <p:nvPr/>
        </p:nvSpPr>
        <p:spPr>
          <a:xfrm>
            <a:off x="5092700" y="2769732"/>
            <a:ext cx="2006600" cy="20066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8" name="椭圆 7">
            <a:extLst>
              <a:ext uri="{FF2B5EF4-FFF2-40B4-BE49-F238E27FC236}">
                <a16:creationId xmlns:a16="http://schemas.microsoft.com/office/drawing/2014/main" id="{F1AF2D7C-8AF3-4A57-9C6F-476562460B7A}"/>
              </a:ext>
            </a:extLst>
          </p:cNvPr>
          <p:cNvSpPr/>
          <p:nvPr/>
        </p:nvSpPr>
        <p:spPr>
          <a:xfrm>
            <a:off x="4867656" y="2544688"/>
            <a:ext cx="2456688" cy="2456688"/>
          </a:xfrm>
          <a:prstGeom prst="ellipse">
            <a:avLst/>
          </a:prstGeom>
          <a:noFill/>
          <a:ln>
            <a:solidFill>
              <a:schemeClr val="accent1"/>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grpSp>
        <p:nvGrpSpPr>
          <p:cNvPr id="10" name="组合 9">
            <a:extLst>
              <a:ext uri="{FF2B5EF4-FFF2-40B4-BE49-F238E27FC236}">
                <a16:creationId xmlns:a16="http://schemas.microsoft.com/office/drawing/2014/main" id="{D7996E36-4E80-41A8-AEA0-2AF871F4E4CF}"/>
              </a:ext>
            </a:extLst>
          </p:cNvPr>
          <p:cNvGrpSpPr/>
          <p:nvPr>
            <p:custDataLst>
              <p:tags r:id="rId3"/>
            </p:custDataLst>
          </p:nvPr>
        </p:nvGrpSpPr>
        <p:grpSpPr>
          <a:xfrm>
            <a:off x="889018" y="4245118"/>
            <a:ext cx="2727575" cy="1544954"/>
            <a:chOff x="1150048" y="2084554"/>
            <a:chExt cx="2727575" cy="1544954"/>
          </a:xfrm>
        </p:grpSpPr>
        <p:sp>
          <p:nvSpPr>
            <p:cNvPr id="11" name="圆角矩形 59">
              <a:extLst>
                <a:ext uri="{FF2B5EF4-FFF2-40B4-BE49-F238E27FC236}">
                  <a16:creationId xmlns:a16="http://schemas.microsoft.com/office/drawing/2014/main" id="{7DA7779C-59EF-4B28-A94B-E5B193EEE0E5}"/>
                </a:ext>
              </a:extLst>
            </p:cNvPr>
            <p:cNvSpPr/>
            <p:nvPr>
              <p:custDataLst>
                <p:tags r:id="rId10"/>
              </p:custDataLst>
            </p:nvPr>
          </p:nvSpPr>
          <p:spPr>
            <a:xfrm>
              <a:off x="1150048" y="2084554"/>
              <a:ext cx="2727575" cy="1544954"/>
            </a:xfrm>
            <a:prstGeom prst="roundRect">
              <a:avLst>
                <a:gd name="adj" fmla="val 6970"/>
              </a:avLst>
            </a:prstGeom>
            <a:solidFill>
              <a:schemeClr val="accent1"/>
            </a:solidFill>
            <a:ln w="12700" cap="flat" cmpd="sng" algn="ctr">
              <a:noFill/>
              <a:prstDash val="solid"/>
              <a:miter lim="800000"/>
            </a:ln>
            <a:effectLst>
              <a:outerShdw blurRad="330222" dist="132089" dir="2700007" algn="tl" rotWithShape="0">
                <a:prstClr val="black">
                  <a:alpha val="10000"/>
                </a:prstClr>
              </a:outerShdw>
            </a:effectLst>
          </p:spPr>
          <p:txBody>
            <a:bodyPr lIns="95105" tIns="47552" rIns="95105" bIns="47552" rtlCol="0" anchor="ctr"/>
            <a:lstStyle/>
            <a:p>
              <a:pPr marL="0" marR="0" lvl="0" indent="0" algn="ctr" defTabSz="914400" eaLnBrk="1" fontAlgn="auto" latinLnBrk="0" hangingPunct="1">
                <a:lnSpc>
                  <a:spcPct val="100000"/>
                </a:lnSpc>
                <a:spcBef>
                  <a:spcPts val="0"/>
                </a:spcBef>
                <a:buClrTx/>
                <a:buSzTx/>
                <a:buFontTx/>
                <a:buNone/>
                <a:tabLst/>
                <a:defRPr/>
              </a:pPr>
              <a:endParaRPr kumimoji="0" lang="zh-CN" altLang="en-US" sz="1663" b="1" i="0" u="none" strike="noStrike" kern="0" cap="none" spc="0" normalizeH="0" baseline="0" noProof="0">
                <a:ln>
                  <a:noFill/>
                </a:ln>
                <a:gradFill>
                  <a:gsLst>
                    <a:gs pos="0">
                      <a:prstClr val="white"/>
                    </a:gs>
                    <a:gs pos="100000">
                      <a:prstClr val="white">
                        <a:lumMod val="95000"/>
                      </a:prstClr>
                    </a:gs>
                  </a:gsLst>
                  <a:lin ang="0" scaled="0"/>
                </a:gradFill>
                <a:effectLst/>
                <a:uLnTx/>
                <a:uFillTx/>
              </a:endParaRPr>
            </a:p>
          </p:txBody>
        </p:sp>
        <p:sp>
          <p:nvSpPr>
            <p:cNvPr id="12" name="圆角矩形 60">
              <a:extLst>
                <a:ext uri="{FF2B5EF4-FFF2-40B4-BE49-F238E27FC236}">
                  <a16:creationId xmlns:a16="http://schemas.microsoft.com/office/drawing/2014/main" id="{CA9B25A0-B0A7-4FCE-A797-BF9D6662CA38}"/>
                </a:ext>
              </a:extLst>
            </p:cNvPr>
            <p:cNvSpPr/>
            <p:nvPr>
              <p:custDataLst>
                <p:tags r:id="rId11"/>
              </p:custDataLst>
            </p:nvPr>
          </p:nvSpPr>
          <p:spPr>
            <a:xfrm>
              <a:off x="1150048" y="2487443"/>
              <a:ext cx="2727575" cy="1142062"/>
            </a:xfrm>
            <a:prstGeom prst="roundRect">
              <a:avLst>
                <a:gd name="adj" fmla="val 6970"/>
              </a:avLst>
            </a:prstGeom>
            <a:solidFill>
              <a:sysClr val="window" lastClr="FFFFFF"/>
            </a:solidFill>
            <a:ln w="12700" cap="flat" cmpd="sng" algn="ctr">
              <a:noFill/>
              <a:prstDash val="solid"/>
              <a:miter lim="800000"/>
            </a:ln>
            <a:effectLst/>
          </p:spPr>
          <p:txBody>
            <a:bodyPr lIns="95105" tIns="47552" rIns="95105" bIns="47552" rtlCol="0" anchor="ctr"/>
            <a:lstStyle/>
            <a:p>
              <a:pPr marL="0" marR="0" lvl="0" indent="0" defTabSz="914400" eaLnBrk="1" fontAlgn="auto" latinLnBrk="0" hangingPunct="1">
                <a:lnSpc>
                  <a:spcPct val="100000"/>
                </a:lnSpc>
                <a:spcBef>
                  <a:spcPts val="0"/>
                </a:spcBef>
                <a:buClrTx/>
                <a:buSzTx/>
                <a:buFontTx/>
                <a:buNone/>
                <a:tabLst/>
                <a:defRPr/>
              </a:pPr>
              <a:endParaRPr kumimoji="0" lang="zh-CN" altLang="en-US" sz="1872" b="0" i="0" u="none" strike="noStrike" kern="0" cap="none" spc="0" normalizeH="0" baseline="0" noProof="0">
                <a:ln>
                  <a:noFill/>
                </a:ln>
                <a:solidFill>
                  <a:prstClr val="white"/>
                </a:solidFill>
                <a:effectLst/>
                <a:uLnTx/>
                <a:uFillTx/>
              </a:endParaRPr>
            </a:p>
          </p:txBody>
        </p:sp>
        <p:sp>
          <p:nvSpPr>
            <p:cNvPr id="13" name="矩形 12">
              <a:extLst>
                <a:ext uri="{FF2B5EF4-FFF2-40B4-BE49-F238E27FC236}">
                  <a16:creationId xmlns:a16="http://schemas.microsoft.com/office/drawing/2014/main" id="{961653DE-1B20-4450-ACE0-99798F2CCB41}"/>
                </a:ext>
              </a:extLst>
            </p:cNvPr>
            <p:cNvSpPr/>
            <p:nvPr/>
          </p:nvSpPr>
          <p:spPr>
            <a:xfrm>
              <a:off x="1913632" y="2153045"/>
              <a:ext cx="1200406" cy="288098"/>
            </a:xfrm>
            <a:prstGeom prst="rect">
              <a:avLst/>
            </a:prstGeom>
            <a:ln w="19050">
              <a:noFill/>
            </a:ln>
            <a:effectLst/>
          </p:spPr>
          <p:txBody>
            <a:bodyPr wrap="none" lIns="0" tIns="0" rIns="0" bIns="0" anchor="ctr" anchorCtr="0">
              <a:sp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ctr" defTabSz="914400" rtl="0" eaLnBrk="1" fontAlgn="auto" latinLnBrk="0" hangingPunct="1">
                <a:lnSpc>
                  <a:spcPct val="100000"/>
                </a:lnSpc>
                <a:spcBef>
                  <a:spcPts val="0"/>
                </a:spcBef>
                <a:buClrTx/>
                <a:buSzTx/>
                <a:buFontTx/>
                <a:buNone/>
                <a:tabLst/>
                <a:defRPr/>
              </a:pPr>
              <a:r>
                <a:rPr kumimoji="0" lang="zh-CN" altLang="en-US" sz="1872" i="0" u="none" strike="noStrike" kern="1200" cap="none" spc="0" normalizeH="0" baseline="0" noProof="0" dirty="0">
                  <a:ln>
                    <a:noFill/>
                  </a:ln>
                  <a:solidFill>
                    <a:prstClr val="white"/>
                  </a:solidFill>
                  <a:effectLst/>
                  <a:uLnTx/>
                  <a:uFillTx/>
                  <a:latin typeface="+mj-ea"/>
                  <a:ea typeface="+mj-ea"/>
                </a:rPr>
                <a:t>关键词标题</a:t>
              </a:r>
            </a:p>
          </p:txBody>
        </p:sp>
        <p:sp>
          <p:nvSpPr>
            <p:cNvPr id="14" name="文本框 13">
              <a:extLst>
                <a:ext uri="{FF2B5EF4-FFF2-40B4-BE49-F238E27FC236}">
                  <a16:creationId xmlns:a16="http://schemas.microsoft.com/office/drawing/2014/main" id="{4190AEAF-13B5-466C-BCC4-BEB887ED8E0F}"/>
                </a:ext>
              </a:extLst>
            </p:cNvPr>
            <p:cNvSpPr txBox="1"/>
            <p:nvPr/>
          </p:nvSpPr>
          <p:spPr>
            <a:xfrm>
              <a:off x="1497437" y="2644619"/>
              <a:ext cx="2032797" cy="672029"/>
            </a:xfrm>
            <a:prstGeom prst="rect">
              <a:avLst/>
            </a:prstGeom>
            <a:noFill/>
            <a:ln>
              <a:noFill/>
            </a:ln>
            <a:effectLst/>
          </p:spPr>
          <p:txBody>
            <a:bodyPr wrap="square" lIns="0" tIns="0" rIns="0" bIns="0" anchor="t" anchorCtr="0">
              <a:sp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R="0" lvl="0" algn="ctr" defTabSz="914400" rtl="0" eaLnBrk="1" fontAlgn="auto" latinLnBrk="0" hangingPunct="1">
                <a:lnSpc>
                  <a:spcPct val="130000"/>
                </a:lnSpc>
                <a:spcBef>
                  <a:spcPct val="0"/>
                </a:spcBef>
                <a:buClrTx/>
                <a:buSzTx/>
                <a:tabLst/>
                <a:defRPr/>
              </a:pPr>
              <a:r>
                <a:rPr kumimoji="0" lang="en-US" altLang="zh-CN" sz="1144" b="0" i="0" u="none" strike="noStrike" kern="1200" cap="none" spc="0" normalizeH="0" baseline="0" noProof="0" dirty="0">
                  <a:ln>
                    <a:noFill/>
                  </a:ln>
                  <a:solidFill>
                    <a:srgbClr val="E7E6E6">
                      <a:lumMod val="25000"/>
                    </a:srgbClr>
                  </a:solidFill>
                  <a:effectLst/>
                  <a:uLnTx/>
                  <a:uFillTx/>
                </a:rPr>
                <a:t>Lorem ipsum dolor sit amet consectetur adipisicing elit</a:t>
              </a:r>
            </a:p>
            <a:p>
              <a:pPr marR="0" lvl="0" algn="ctr" defTabSz="914400" rtl="0" eaLnBrk="1" fontAlgn="auto" latinLnBrk="0" hangingPunct="1">
                <a:lnSpc>
                  <a:spcPct val="130000"/>
                </a:lnSpc>
                <a:spcBef>
                  <a:spcPct val="0"/>
                </a:spcBef>
                <a:buClrTx/>
                <a:buSzTx/>
                <a:tabLst/>
                <a:defRPr/>
              </a:pPr>
              <a:r>
                <a:rPr kumimoji="0" lang="en-US" altLang="zh-CN" sz="1144" b="0" i="0" u="none" strike="noStrike" kern="1200" cap="none" spc="0" normalizeH="0" baseline="0" noProof="0" dirty="0">
                  <a:ln>
                    <a:noFill/>
                  </a:ln>
                  <a:solidFill>
                    <a:srgbClr val="E7E6E6">
                      <a:lumMod val="25000"/>
                    </a:srgbClr>
                  </a:solidFill>
                  <a:effectLst/>
                  <a:uLnTx/>
                  <a:uFillTx/>
                </a:rPr>
                <a:t>sed do eiusmod tempor</a:t>
              </a:r>
            </a:p>
          </p:txBody>
        </p:sp>
      </p:grpSp>
      <p:grpSp>
        <p:nvGrpSpPr>
          <p:cNvPr id="15" name="组合 14">
            <a:extLst>
              <a:ext uri="{FF2B5EF4-FFF2-40B4-BE49-F238E27FC236}">
                <a16:creationId xmlns:a16="http://schemas.microsoft.com/office/drawing/2014/main" id="{276DC04F-E965-44A4-BD99-E82BC160E1FC}"/>
              </a:ext>
            </a:extLst>
          </p:cNvPr>
          <p:cNvGrpSpPr/>
          <p:nvPr>
            <p:custDataLst>
              <p:tags r:id="rId4"/>
            </p:custDataLst>
          </p:nvPr>
        </p:nvGrpSpPr>
        <p:grpSpPr>
          <a:xfrm>
            <a:off x="8575407" y="1768618"/>
            <a:ext cx="2727575" cy="1544954"/>
            <a:chOff x="1150048" y="2084554"/>
            <a:chExt cx="2727575" cy="1544954"/>
          </a:xfrm>
        </p:grpSpPr>
        <p:sp>
          <p:nvSpPr>
            <p:cNvPr id="16" name="圆角矩形 59">
              <a:extLst>
                <a:ext uri="{FF2B5EF4-FFF2-40B4-BE49-F238E27FC236}">
                  <a16:creationId xmlns:a16="http://schemas.microsoft.com/office/drawing/2014/main" id="{1DD55A2D-6A72-4DE9-B1FC-870F986AC609}"/>
                </a:ext>
              </a:extLst>
            </p:cNvPr>
            <p:cNvSpPr/>
            <p:nvPr>
              <p:custDataLst>
                <p:tags r:id="rId8"/>
              </p:custDataLst>
            </p:nvPr>
          </p:nvSpPr>
          <p:spPr>
            <a:xfrm>
              <a:off x="1150048" y="2084554"/>
              <a:ext cx="2727575" cy="1544954"/>
            </a:xfrm>
            <a:prstGeom prst="roundRect">
              <a:avLst>
                <a:gd name="adj" fmla="val 6970"/>
              </a:avLst>
            </a:prstGeom>
            <a:solidFill>
              <a:schemeClr val="accent1"/>
            </a:solidFill>
            <a:ln w="12700" cap="flat" cmpd="sng" algn="ctr">
              <a:noFill/>
              <a:prstDash val="solid"/>
              <a:miter lim="800000"/>
            </a:ln>
            <a:effectLst>
              <a:outerShdw blurRad="330222" dist="132089" dir="2700007" algn="tl" rotWithShape="0">
                <a:prstClr val="black">
                  <a:alpha val="10000"/>
                </a:prstClr>
              </a:outerShdw>
            </a:effectLst>
          </p:spPr>
          <p:txBody>
            <a:bodyPr lIns="95105" tIns="47552" rIns="95105" bIns="47552" rtlCol="0" anchor="ctr"/>
            <a:lstStyle/>
            <a:p>
              <a:pPr marL="0" marR="0" lvl="0" indent="0" algn="ctr" defTabSz="914400" eaLnBrk="1" fontAlgn="auto" latinLnBrk="0" hangingPunct="1">
                <a:lnSpc>
                  <a:spcPct val="100000"/>
                </a:lnSpc>
                <a:spcBef>
                  <a:spcPts val="0"/>
                </a:spcBef>
                <a:buClrTx/>
                <a:buSzTx/>
                <a:buFontTx/>
                <a:buNone/>
                <a:tabLst/>
                <a:defRPr/>
              </a:pPr>
              <a:endParaRPr kumimoji="0" lang="zh-CN" altLang="en-US" sz="1663" b="1" i="0" u="none" strike="noStrike" kern="0" cap="none" spc="0" normalizeH="0" baseline="0" noProof="0">
                <a:ln>
                  <a:noFill/>
                </a:ln>
                <a:gradFill>
                  <a:gsLst>
                    <a:gs pos="0">
                      <a:prstClr val="white"/>
                    </a:gs>
                    <a:gs pos="100000">
                      <a:prstClr val="white">
                        <a:lumMod val="95000"/>
                      </a:prstClr>
                    </a:gs>
                  </a:gsLst>
                  <a:lin ang="0" scaled="0"/>
                </a:gradFill>
                <a:effectLst/>
                <a:uLnTx/>
                <a:uFillTx/>
              </a:endParaRPr>
            </a:p>
          </p:txBody>
        </p:sp>
        <p:sp>
          <p:nvSpPr>
            <p:cNvPr id="17" name="圆角矩形 60">
              <a:extLst>
                <a:ext uri="{FF2B5EF4-FFF2-40B4-BE49-F238E27FC236}">
                  <a16:creationId xmlns:a16="http://schemas.microsoft.com/office/drawing/2014/main" id="{EA9CAB08-7F3B-46CD-89F1-14C739918B11}"/>
                </a:ext>
              </a:extLst>
            </p:cNvPr>
            <p:cNvSpPr/>
            <p:nvPr>
              <p:custDataLst>
                <p:tags r:id="rId9"/>
              </p:custDataLst>
            </p:nvPr>
          </p:nvSpPr>
          <p:spPr>
            <a:xfrm>
              <a:off x="1150048" y="2487443"/>
              <a:ext cx="2727575" cy="1142062"/>
            </a:xfrm>
            <a:prstGeom prst="roundRect">
              <a:avLst>
                <a:gd name="adj" fmla="val 6970"/>
              </a:avLst>
            </a:prstGeom>
            <a:solidFill>
              <a:sysClr val="window" lastClr="FFFFFF"/>
            </a:solidFill>
            <a:ln w="12700" cap="flat" cmpd="sng" algn="ctr">
              <a:noFill/>
              <a:prstDash val="solid"/>
              <a:miter lim="800000"/>
            </a:ln>
            <a:effectLst/>
          </p:spPr>
          <p:txBody>
            <a:bodyPr lIns="95105" tIns="47552" rIns="95105" bIns="47552" rtlCol="0" anchor="ctr"/>
            <a:lstStyle/>
            <a:p>
              <a:pPr marL="0" marR="0" lvl="0" indent="0" defTabSz="914400" eaLnBrk="1" fontAlgn="auto" latinLnBrk="0" hangingPunct="1">
                <a:lnSpc>
                  <a:spcPct val="100000"/>
                </a:lnSpc>
                <a:spcBef>
                  <a:spcPts val="0"/>
                </a:spcBef>
                <a:buClrTx/>
                <a:buSzTx/>
                <a:buFontTx/>
                <a:buNone/>
                <a:tabLst/>
                <a:defRPr/>
              </a:pPr>
              <a:endParaRPr kumimoji="0" lang="zh-CN" altLang="en-US" sz="1872" b="0" i="0" u="none" strike="noStrike" kern="0" cap="none" spc="0" normalizeH="0" baseline="0" noProof="0">
                <a:ln>
                  <a:noFill/>
                </a:ln>
                <a:solidFill>
                  <a:prstClr val="white"/>
                </a:solidFill>
                <a:effectLst/>
                <a:uLnTx/>
                <a:uFillTx/>
              </a:endParaRPr>
            </a:p>
          </p:txBody>
        </p:sp>
        <p:sp>
          <p:nvSpPr>
            <p:cNvPr id="18" name="矩形 17">
              <a:extLst>
                <a:ext uri="{FF2B5EF4-FFF2-40B4-BE49-F238E27FC236}">
                  <a16:creationId xmlns:a16="http://schemas.microsoft.com/office/drawing/2014/main" id="{17A32B46-AC3D-4C62-991E-1819E4060028}"/>
                </a:ext>
              </a:extLst>
            </p:cNvPr>
            <p:cNvSpPr/>
            <p:nvPr/>
          </p:nvSpPr>
          <p:spPr>
            <a:xfrm>
              <a:off x="1913632" y="2153045"/>
              <a:ext cx="1200406" cy="288098"/>
            </a:xfrm>
            <a:prstGeom prst="rect">
              <a:avLst/>
            </a:prstGeom>
            <a:ln w="19050">
              <a:noFill/>
            </a:ln>
            <a:effectLst/>
          </p:spPr>
          <p:txBody>
            <a:bodyPr wrap="none" lIns="0" tIns="0" rIns="0" bIns="0" anchor="ctr" anchorCtr="0">
              <a:sp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ctr" defTabSz="914400" rtl="0" eaLnBrk="1" fontAlgn="auto" latinLnBrk="0" hangingPunct="1">
                <a:lnSpc>
                  <a:spcPct val="100000"/>
                </a:lnSpc>
                <a:spcBef>
                  <a:spcPts val="0"/>
                </a:spcBef>
                <a:buClrTx/>
                <a:buSzTx/>
                <a:buFontTx/>
                <a:buNone/>
                <a:tabLst/>
                <a:defRPr/>
              </a:pPr>
              <a:r>
                <a:rPr kumimoji="0" lang="zh-CN" altLang="en-US" sz="1872" i="0" u="none" strike="noStrike" kern="1200" cap="none" spc="0" normalizeH="0" baseline="0" noProof="0" dirty="0">
                  <a:ln>
                    <a:noFill/>
                  </a:ln>
                  <a:solidFill>
                    <a:prstClr val="white"/>
                  </a:solidFill>
                  <a:effectLst/>
                  <a:uLnTx/>
                  <a:uFillTx/>
                  <a:latin typeface="+mj-ea"/>
                  <a:ea typeface="+mj-ea"/>
                </a:rPr>
                <a:t>关键词标题</a:t>
              </a:r>
            </a:p>
          </p:txBody>
        </p:sp>
        <p:sp>
          <p:nvSpPr>
            <p:cNvPr id="19" name="文本框 18">
              <a:extLst>
                <a:ext uri="{FF2B5EF4-FFF2-40B4-BE49-F238E27FC236}">
                  <a16:creationId xmlns:a16="http://schemas.microsoft.com/office/drawing/2014/main" id="{EA3375D6-D901-4456-93F1-96DC01FAB84C}"/>
                </a:ext>
              </a:extLst>
            </p:cNvPr>
            <p:cNvSpPr txBox="1"/>
            <p:nvPr/>
          </p:nvSpPr>
          <p:spPr>
            <a:xfrm>
              <a:off x="1497437" y="2644619"/>
              <a:ext cx="2032797" cy="672029"/>
            </a:xfrm>
            <a:prstGeom prst="rect">
              <a:avLst/>
            </a:prstGeom>
            <a:noFill/>
            <a:ln>
              <a:noFill/>
            </a:ln>
            <a:effectLst/>
          </p:spPr>
          <p:txBody>
            <a:bodyPr wrap="square" lIns="0" tIns="0" rIns="0" bIns="0" anchor="t" anchorCtr="0">
              <a:sp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R="0" lvl="0" algn="ctr" defTabSz="914400" rtl="0" eaLnBrk="1" fontAlgn="auto" latinLnBrk="0" hangingPunct="1">
                <a:lnSpc>
                  <a:spcPct val="130000"/>
                </a:lnSpc>
                <a:spcBef>
                  <a:spcPct val="0"/>
                </a:spcBef>
                <a:buClrTx/>
                <a:buSzTx/>
                <a:tabLst/>
                <a:defRPr/>
              </a:pPr>
              <a:r>
                <a:rPr kumimoji="0" lang="en-US" altLang="zh-CN" sz="1144" b="0" i="0" u="none" strike="noStrike" kern="1200" cap="none" spc="0" normalizeH="0" baseline="0" noProof="0" dirty="0">
                  <a:ln>
                    <a:noFill/>
                  </a:ln>
                  <a:solidFill>
                    <a:srgbClr val="E7E6E6">
                      <a:lumMod val="25000"/>
                    </a:srgbClr>
                  </a:solidFill>
                  <a:effectLst/>
                  <a:uLnTx/>
                  <a:uFillTx/>
                </a:rPr>
                <a:t>Lorem ipsum dolor sit amet consectetur adipisicing elit</a:t>
              </a:r>
            </a:p>
            <a:p>
              <a:pPr marR="0" lvl="0" algn="ctr" defTabSz="914400" rtl="0" eaLnBrk="1" fontAlgn="auto" latinLnBrk="0" hangingPunct="1">
                <a:lnSpc>
                  <a:spcPct val="130000"/>
                </a:lnSpc>
                <a:spcBef>
                  <a:spcPct val="0"/>
                </a:spcBef>
                <a:buClrTx/>
                <a:buSzTx/>
                <a:tabLst/>
                <a:defRPr/>
              </a:pPr>
              <a:r>
                <a:rPr kumimoji="0" lang="en-US" altLang="zh-CN" sz="1144" b="0" i="0" u="none" strike="noStrike" kern="1200" cap="none" spc="0" normalizeH="0" baseline="0" noProof="0" dirty="0">
                  <a:ln>
                    <a:noFill/>
                  </a:ln>
                  <a:solidFill>
                    <a:srgbClr val="E7E6E6">
                      <a:lumMod val="25000"/>
                    </a:srgbClr>
                  </a:solidFill>
                  <a:effectLst/>
                  <a:uLnTx/>
                  <a:uFillTx/>
                </a:rPr>
                <a:t>sed do eiusmod tempor</a:t>
              </a:r>
            </a:p>
          </p:txBody>
        </p:sp>
      </p:grpSp>
      <p:grpSp>
        <p:nvGrpSpPr>
          <p:cNvPr id="20" name="组合 19">
            <a:extLst>
              <a:ext uri="{FF2B5EF4-FFF2-40B4-BE49-F238E27FC236}">
                <a16:creationId xmlns:a16="http://schemas.microsoft.com/office/drawing/2014/main" id="{54C23F4D-DBBF-43C5-9BBF-F9A9390646E1}"/>
              </a:ext>
            </a:extLst>
          </p:cNvPr>
          <p:cNvGrpSpPr/>
          <p:nvPr>
            <p:custDataLst>
              <p:tags r:id="rId5"/>
            </p:custDataLst>
          </p:nvPr>
        </p:nvGrpSpPr>
        <p:grpSpPr>
          <a:xfrm>
            <a:off x="8575407" y="4245118"/>
            <a:ext cx="2727575" cy="1544954"/>
            <a:chOff x="1150048" y="2084554"/>
            <a:chExt cx="2727575" cy="1544954"/>
          </a:xfrm>
        </p:grpSpPr>
        <p:sp>
          <p:nvSpPr>
            <p:cNvPr id="21" name="圆角矩形 59">
              <a:extLst>
                <a:ext uri="{FF2B5EF4-FFF2-40B4-BE49-F238E27FC236}">
                  <a16:creationId xmlns:a16="http://schemas.microsoft.com/office/drawing/2014/main" id="{91213366-8FF5-46AA-BA63-0EE72AC36CFC}"/>
                </a:ext>
              </a:extLst>
            </p:cNvPr>
            <p:cNvSpPr/>
            <p:nvPr>
              <p:custDataLst>
                <p:tags r:id="rId6"/>
              </p:custDataLst>
            </p:nvPr>
          </p:nvSpPr>
          <p:spPr>
            <a:xfrm>
              <a:off x="1150048" y="2084554"/>
              <a:ext cx="2727575" cy="1544954"/>
            </a:xfrm>
            <a:prstGeom prst="roundRect">
              <a:avLst>
                <a:gd name="adj" fmla="val 6970"/>
              </a:avLst>
            </a:prstGeom>
            <a:solidFill>
              <a:schemeClr val="accent1"/>
            </a:solidFill>
            <a:ln w="12700" cap="flat" cmpd="sng" algn="ctr">
              <a:noFill/>
              <a:prstDash val="solid"/>
              <a:miter lim="800000"/>
            </a:ln>
            <a:effectLst>
              <a:outerShdw blurRad="330222" dist="132089" dir="2700007" algn="tl" rotWithShape="0">
                <a:prstClr val="black">
                  <a:alpha val="10000"/>
                </a:prstClr>
              </a:outerShdw>
            </a:effectLst>
          </p:spPr>
          <p:txBody>
            <a:bodyPr lIns="95105" tIns="47552" rIns="95105" bIns="47552" rtlCol="0" anchor="ctr"/>
            <a:lstStyle/>
            <a:p>
              <a:pPr marL="0" marR="0" lvl="0" indent="0" algn="ctr" defTabSz="914400" eaLnBrk="1" fontAlgn="auto" latinLnBrk="0" hangingPunct="1">
                <a:lnSpc>
                  <a:spcPct val="100000"/>
                </a:lnSpc>
                <a:spcBef>
                  <a:spcPts val="0"/>
                </a:spcBef>
                <a:buClrTx/>
                <a:buSzTx/>
                <a:buFontTx/>
                <a:buNone/>
                <a:tabLst/>
                <a:defRPr/>
              </a:pPr>
              <a:endParaRPr kumimoji="0" lang="zh-CN" altLang="en-US" sz="1663" b="1" i="0" u="none" strike="noStrike" kern="0" cap="none" spc="0" normalizeH="0" baseline="0" noProof="0">
                <a:ln>
                  <a:noFill/>
                </a:ln>
                <a:gradFill>
                  <a:gsLst>
                    <a:gs pos="0">
                      <a:prstClr val="white"/>
                    </a:gs>
                    <a:gs pos="100000">
                      <a:prstClr val="white">
                        <a:lumMod val="95000"/>
                      </a:prstClr>
                    </a:gs>
                  </a:gsLst>
                  <a:lin ang="0" scaled="0"/>
                </a:gradFill>
                <a:effectLst/>
                <a:uLnTx/>
                <a:uFillTx/>
              </a:endParaRPr>
            </a:p>
          </p:txBody>
        </p:sp>
        <p:sp>
          <p:nvSpPr>
            <p:cNvPr id="22" name="圆角矩形 60">
              <a:extLst>
                <a:ext uri="{FF2B5EF4-FFF2-40B4-BE49-F238E27FC236}">
                  <a16:creationId xmlns:a16="http://schemas.microsoft.com/office/drawing/2014/main" id="{8B5B4316-786F-4561-808B-577FA6214BE4}"/>
                </a:ext>
              </a:extLst>
            </p:cNvPr>
            <p:cNvSpPr/>
            <p:nvPr>
              <p:custDataLst>
                <p:tags r:id="rId7"/>
              </p:custDataLst>
            </p:nvPr>
          </p:nvSpPr>
          <p:spPr>
            <a:xfrm>
              <a:off x="1150048" y="2487443"/>
              <a:ext cx="2727575" cy="1142062"/>
            </a:xfrm>
            <a:prstGeom prst="roundRect">
              <a:avLst>
                <a:gd name="adj" fmla="val 6970"/>
              </a:avLst>
            </a:prstGeom>
            <a:solidFill>
              <a:sysClr val="window" lastClr="FFFFFF"/>
            </a:solidFill>
            <a:ln w="12700" cap="flat" cmpd="sng" algn="ctr">
              <a:noFill/>
              <a:prstDash val="solid"/>
              <a:miter lim="800000"/>
            </a:ln>
            <a:effectLst/>
          </p:spPr>
          <p:txBody>
            <a:bodyPr lIns="95105" tIns="47552" rIns="95105" bIns="47552" rtlCol="0" anchor="ctr"/>
            <a:lstStyle/>
            <a:p>
              <a:pPr marL="0" marR="0" lvl="0" indent="0" defTabSz="914400" eaLnBrk="1" fontAlgn="auto" latinLnBrk="0" hangingPunct="1">
                <a:lnSpc>
                  <a:spcPct val="100000"/>
                </a:lnSpc>
                <a:spcBef>
                  <a:spcPts val="0"/>
                </a:spcBef>
                <a:buClrTx/>
                <a:buSzTx/>
                <a:buFontTx/>
                <a:buNone/>
                <a:tabLst/>
                <a:defRPr/>
              </a:pPr>
              <a:endParaRPr kumimoji="0" lang="zh-CN" altLang="en-US" sz="1872" b="0" i="0" u="none" strike="noStrike" kern="0" cap="none" spc="0" normalizeH="0" baseline="0" noProof="0">
                <a:ln>
                  <a:noFill/>
                </a:ln>
                <a:solidFill>
                  <a:prstClr val="white"/>
                </a:solidFill>
                <a:effectLst/>
                <a:uLnTx/>
                <a:uFillTx/>
              </a:endParaRPr>
            </a:p>
          </p:txBody>
        </p:sp>
        <p:sp>
          <p:nvSpPr>
            <p:cNvPr id="23" name="矩形 22">
              <a:extLst>
                <a:ext uri="{FF2B5EF4-FFF2-40B4-BE49-F238E27FC236}">
                  <a16:creationId xmlns:a16="http://schemas.microsoft.com/office/drawing/2014/main" id="{D66A0D0B-7374-41A9-953A-B5007EA7D3E8}"/>
                </a:ext>
              </a:extLst>
            </p:cNvPr>
            <p:cNvSpPr/>
            <p:nvPr/>
          </p:nvSpPr>
          <p:spPr>
            <a:xfrm>
              <a:off x="1913632" y="2153045"/>
              <a:ext cx="1200406" cy="288098"/>
            </a:xfrm>
            <a:prstGeom prst="rect">
              <a:avLst/>
            </a:prstGeom>
            <a:ln w="19050">
              <a:noFill/>
            </a:ln>
            <a:effectLst/>
          </p:spPr>
          <p:txBody>
            <a:bodyPr wrap="none" lIns="0" tIns="0" rIns="0" bIns="0" anchor="ctr" anchorCtr="0">
              <a:sp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marR="0" lvl="0" indent="0" algn="ctr" defTabSz="914400" rtl="0" eaLnBrk="1" fontAlgn="auto" latinLnBrk="0" hangingPunct="1">
                <a:lnSpc>
                  <a:spcPct val="100000"/>
                </a:lnSpc>
                <a:spcBef>
                  <a:spcPts val="0"/>
                </a:spcBef>
                <a:buClrTx/>
                <a:buSzTx/>
                <a:buFontTx/>
                <a:buNone/>
                <a:tabLst/>
                <a:defRPr/>
              </a:pPr>
              <a:r>
                <a:rPr kumimoji="0" lang="zh-CN" altLang="en-US" sz="1872" i="0" u="none" strike="noStrike" kern="1200" cap="none" spc="0" normalizeH="0" baseline="0" noProof="0" dirty="0">
                  <a:ln>
                    <a:noFill/>
                  </a:ln>
                  <a:solidFill>
                    <a:prstClr val="white"/>
                  </a:solidFill>
                  <a:effectLst/>
                  <a:uLnTx/>
                  <a:uFillTx/>
                  <a:latin typeface="+mj-ea"/>
                  <a:ea typeface="+mj-ea"/>
                </a:rPr>
                <a:t>关键词标题</a:t>
              </a:r>
            </a:p>
          </p:txBody>
        </p:sp>
        <p:sp>
          <p:nvSpPr>
            <p:cNvPr id="24" name="文本框 23">
              <a:extLst>
                <a:ext uri="{FF2B5EF4-FFF2-40B4-BE49-F238E27FC236}">
                  <a16:creationId xmlns:a16="http://schemas.microsoft.com/office/drawing/2014/main" id="{5B78F795-A113-43DC-B5BD-5C06E70B9FD2}"/>
                </a:ext>
              </a:extLst>
            </p:cNvPr>
            <p:cNvSpPr txBox="1"/>
            <p:nvPr/>
          </p:nvSpPr>
          <p:spPr>
            <a:xfrm>
              <a:off x="1497437" y="2644619"/>
              <a:ext cx="2032797" cy="672029"/>
            </a:xfrm>
            <a:prstGeom prst="rect">
              <a:avLst/>
            </a:prstGeom>
            <a:noFill/>
            <a:ln>
              <a:noFill/>
            </a:ln>
            <a:effectLst/>
          </p:spPr>
          <p:txBody>
            <a:bodyPr wrap="square" lIns="0" tIns="0" rIns="0" bIns="0" anchor="t" anchorCtr="0">
              <a:sp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R="0" lvl="0" algn="ctr" defTabSz="914400" rtl="0" eaLnBrk="1" fontAlgn="auto" latinLnBrk="0" hangingPunct="1">
                <a:lnSpc>
                  <a:spcPct val="130000"/>
                </a:lnSpc>
                <a:spcBef>
                  <a:spcPct val="0"/>
                </a:spcBef>
                <a:buClrTx/>
                <a:buSzTx/>
                <a:tabLst/>
                <a:defRPr/>
              </a:pPr>
              <a:r>
                <a:rPr kumimoji="0" lang="en-US" altLang="zh-CN" sz="1144" b="0" i="0" u="none" strike="noStrike" kern="1200" cap="none" spc="0" normalizeH="0" baseline="0" noProof="0" dirty="0">
                  <a:ln>
                    <a:noFill/>
                  </a:ln>
                  <a:solidFill>
                    <a:srgbClr val="E7E6E6">
                      <a:lumMod val="25000"/>
                    </a:srgbClr>
                  </a:solidFill>
                  <a:effectLst/>
                  <a:uLnTx/>
                  <a:uFillTx/>
                </a:rPr>
                <a:t>Lorem ipsum dolor sit amet consectetur adipisicing elit</a:t>
              </a:r>
            </a:p>
            <a:p>
              <a:pPr marR="0" lvl="0" algn="ctr" defTabSz="914400" rtl="0" eaLnBrk="1" fontAlgn="auto" latinLnBrk="0" hangingPunct="1">
                <a:lnSpc>
                  <a:spcPct val="130000"/>
                </a:lnSpc>
                <a:spcBef>
                  <a:spcPct val="0"/>
                </a:spcBef>
                <a:buClrTx/>
                <a:buSzTx/>
                <a:tabLst/>
                <a:defRPr/>
              </a:pPr>
              <a:r>
                <a:rPr kumimoji="0" lang="en-US" altLang="zh-CN" sz="1144" b="0" i="0" u="none" strike="noStrike" kern="1200" cap="none" spc="0" normalizeH="0" baseline="0" noProof="0" dirty="0">
                  <a:ln>
                    <a:noFill/>
                  </a:ln>
                  <a:solidFill>
                    <a:srgbClr val="E7E6E6">
                      <a:lumMod val="25000"/>
                    </a:srgbClr>
                  </a:solidFill>
                  <a:effectLst/>
                  <a:uLnTx/>
                  <a:uFillTx/>
                </a:rPr>
                <a:t>sed do eiusmod tempor</a:t>
              </a:r>
            </a:p>
          </p:txBody>
        </p:sp>
      </p:grpSp>
      <p:sp>
        <p:nvSpPr>
          <p:cNvPr id="25" name="文本框 24">
            <a:extLst>
              <a:ext uri="{FF2B5EF4-FFF2-40B4-BE49-F238E27FC236}">
                <a16:creationId xmlns:a16="http://schemas.microsoft.com/office/drawing/2014/main" id="{5603DDEB-855D-48F1-A09F-2679178078C6}"/>
              </a:ext>
            </a:extLst>
          </p:cNvPr>
          <p:cNvSpPr txBox="1"/>
          <p:nvPr/>
        </p:nvSpPr>
        <p:spPr>
          <a:xfrm>
            <a:off x="5345608" y="3854693"/>
            <a:ext cx="1538884" cy="369332"/>
          </a:xfrm>
          <a:prstGeom prst="rect">
            <a:avLst/>
          </a:prstGeom>
          <a:noFill/>
        </p:spPr>
        <p:txBody>
          <a:bodyPr wrap="none" lIns="0" tIns="0" rIns="0" bIns="0" rtlCol="0" anchor="t">
            <a:spAutoFit/>
          </a:bodyPr>
          <a:lstStyle/>
          <a:p>
            <a:pPr algn="ctr"/>
            <a:r>
              <a:rPr lang="zh-CN" altLang="en-US" sz="2400" dirty="0">
                <a:solidFill>
                  <a:schemeClr val="bg1"/>
                </a:solidFill>
                <a:latin typeface="+mj-ea"/>
                <a:ea typeface="+mj-ea"/>
              </a:rPr>
              <a:t>关键词标题</a:t>
            </a:r>
          </a:p>
        </p:txBody>
      </p:sp>
      <p:sp>
        <p:nvSpPr>
          <p:cNvPr id="26" name="user_209046">
            <a:extLst>
              <a:ext uri="{FF2B5EF4-FFF2-40B4-BE49-F238E27FC236}">
                <a16:creationId xmlns:a16="http://schemas.microsoft.com/office/drawing/2014/main" id="{2A6F96F7-C2E5-46B4-8B83-1B2FF2B69D57}"/>
              </a:ext>
            </a:extLst>
          </p:cNvPr>
          <p:cNvSpPr/>
          <p:nvPr/>
        </p:nvSpPr>
        <p:spPr>
          <a:xfrm>
            <a:off x="5705473" y="3020797"/>
            <a:ext cx="819152" cy="738676"/>
          </a:xfrm>
          <a:custGeom>
            <a:avLst/>
            <a:gdLst>
              <a:gd name="connsiteX0" fmla="*/ 521432 w 608344"/>
              <a:gd name="connsiteY0" fmla="*/ 370453 h 548582"/>
              <a:gd name="connsiteX1" fmla="*/ 465737 w 608344"/>
              <a:gd name="connsiteY1" fmla="*/ 425787 h 548582"/>
              <a:gd name="connsiteX2" fmla="*/ 442491 w 608344"/>
              <a:gd name="connsiteY2" fmla="*/ 402479 h 548582"/>
              <a:gd name="connsiteX3" fmla="*/ 418201 w 608344"/>
              <a:gd name="connsiteY3" fmla="*/ 426545 h 548582"/>
              <a:gd name="connsiteX4" fmla="*/ 441447 w 608344"/>
              <a:gd name="connsiteY4" fmla="*/ 449948 h 548582"/>
              <a:gd name="connsiteX5" fmla="*/ 465642 w 608344"/>
              <a:gd name="connsiteY5" fmla="*/ 474204 h 548582"/>
              <a:gd name="connsiteX6" fmla="*/ 489932 w 608344"/>
              <a:gd name="connsiteY6" fmla="*/ 450043 h 548582"/>
              <a:gd name="connsiteX7" fmla="*/ 545532 w 608344"/>
              <a:gd name="connsiteY7" fmla="*/ 394709 h 548582"/>
              <a:gd name="connsiteX8" fmla="*/ 481962 w 608344"/>
              <a:gd name="connsiteY8" fmla="*/ 296170 h 548582"/>
              <a:gd name="connsiteX9" fmla="*/ 608344 w 608344"/>
              <a:gd name="connsiteY9" fmla="*/ 422376 h 548582"/>
              <a:gd name="connsiteX10" fmla="*/ 481962 w 608344"/>
              <a:gd name="connsiteY10" fmla="*/ 548582 h 548582"/>
              <a:gd name="connsiteX11" fmla="*/ 355579 w 608344"/>
              <a:gd name="connsiteY11" fmla="*/ 422376 h 548582"/>
              <a:gd name="connsiteX12" fmla="*/ 481962 w 608344"/>
              <a:gd name="connsiteY12" fmla="*/ 296170 h 548582"/>
              <a:gd name="connsiteX13" fmla="*/ 255835 w 608344"/>
              <a:gd name="connsiteY13" fmla="*/ 446 h 548582"/>
              <a:gd name="connsiteX14" fmla="*/ 317801 w 608344"/>
              <a:gd name="connsiteY14" fmla="*/ 13616 h 548582"/>
              <a:gd name="connsiteX15" fmla="*/ 348072 w 608344"/>
              <a:gd name="connsiteY15" fmla="*/ 41661 h 548582"/>
              <a:gd name="connsiteX16" fmla="*/ 381190 w 608344"/>
              <a:gd name="connsiteY16" fmla="*/ 146831 h 548582"/>
              <a:gd name="connsiteX17" fmla="*/ 378913 w 608344"/>
              <a:gd name="connsiteY17" fmla="*/ 156211 h 548582"/>
              <a:gd name="connsiteX18" fmla="*/ 387833 w 608344"/>
              <a:gd name="connsiteY18" fmla="*/ 200458 h 548582"/>
              <a:gd name="connsiteX19" fmla="*/ 366387 w 608344"/>
              <a:gd name="connsiteY19" fmla="*/ 237694 h 548582"/>
              <a:gd name="connsiteX20" fmla="*/ 351393 w 608344"/>
              <a:gd name="connsiteY20" fmla="*/ 278720 h 548582"/>
              <a:gd name="connsiteX21" fmla="*/ 351393 w 608344"/>
              <a:gd name="connsiteY21" fmla="*/ 322873 h 548582"/>
              <a:gd name="connsiteX22" fmla="*/ 317611 w 608344"/>
              <a:gd name="connsiteY22" fmla="*/ 422358 h 548582"/>
              <a:gd name="connsiteX23" fmla="*/ 376635 w 608344"/>
              <a:gd name="connsiteY23" fmla="*/ 548088 h 548582"/>
              <a:gd name="connsiteX24" fmla="*/ 26855 w 608344"/>
              <a:gd name="connsiteY24" fmla="*/ 548088 h 548582"/>
              <a:gd name="connsiteX25" fmla="*/ 0 w 608344"/>
              <a:gd name="connsiteY25" fmla="*/ 521274 h 548582"/>
              <a:gd name="connsiteX26" fmla="*/ 0 w 608344"/>
              <a:gd name="connsiteY26" fmla="*/ 473806 h 548582"/>
              <a:gd name="connsiteX27" fmla="*/ 19453 w 608344"/>
              <a:gd name="connsiteY27" fmla="*/ 432969 h 548582"/>
              <a:gd name="connsiteX28" fmla="*/ 173751 w 608344"/>
              <a:gd name="connsiteY28" fmla="*/ 334242 h 548582"/>
              <a:gd name="connsiteX29" fmla="*/ 176408 w 608344"/>
              <a:gd name="connsiteY29" fmla="*/ 329884 h 548582"/>
              <a:gd name="connsiteX30" fmla="*/ 176408 w 608344"/>
              <a:gd name="connsiteY30" fmla="*/ 278720 h 548582"/>
              <a:gd name="connsiteX31" fmla="*/ 161320 w 608344"/>
              <a:gd name="connsiteY31" fmla="*/ 237694 h 548582"/>
              <a:gd name="connsiteX32" fmla="*/ 139969 w 608344"/>
              <a:gd name="connsiteY32" fmla="*/ 200458 h 548582"/>
              <a:gd name="connsiteX33" fmla="*/ 148320 w 608344"/>
              <a:gd name="connsiteY33" fmla="*/ 156211 h 548582"/>
              <a:gd name="connsiteX34" fmla="*/ 146042 w 608344"/>
              <a:gd name="connsiteY34" fmla="*/ 146736 h 548582"/>
              <a:gd name="connsiteX35" fmla="*/ 145758 w 608344"/>
              <a:gd name="connsiteY35" fmla="*/ 95099 h 548582"/>
              <a:gd name="connsiteX36" fmla="*/ 176029 w 608344"/>
              <a:gd name="connsiteY36" fmla="*/ 42135 h 548582"/>
              <a:gd name="connsiteX37" fmla="*/ 203928 w 608344"/>
              <a:gd name="connsiteY37" fmla="*/ 19017 h 548582"/>
              <a:gd name="connsiteX38" fmla="*/ 231162 w 608344"/>
              <a:gd name="connsiteY38" fmla="*/ 5089 h 548582"/>
              <a:gd name="connsiteX39" fmla="*/ 255835 w 608344"/>
              <a:gd name="connsiteY39" fmla="*/ 446 h 548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608344" h="548582">
                <a:moveTo>
                  <a:pt x="521432" y="370453"/>
                </a:moveTo>
                <a:lnTo>
                  <a:pt x="465737" y="425787"/>
                </a:lnTo>
                <a:lnTo>
                  <a:pt x="442491" y="402479"/>
                </a:lnTo>
                <a:lnTo>
                  <a:pt x="418201" y="426545"/>
                </a:lnTo>
                <a:lnTo>
                  <a:pt x="441447" y="449948"/>
                </a:lnTo>
                <a:lnTo>
                  <a:pt x="465642" y="474204"/>
                </a:lnTo>
                <a:lnTo>
                  <a:pt x="489932" y="450043"/>
                </a:lnTo>
                <a:lnTo>
                  <a:pt x="545532" y="394709"/>
                </a:lnTo>
                <a:close/>
                <a:moveTo>
                  <a:pt x="481962" y="296170"/>
                </a:moveTo>
                <a:cubicBezTo>
                  <a:pt x="551795" y="296170"/>
                  <a:pt x="608344" y="352641"/>
                  <a:pt x="608344" y="422376"/>
                </a:cubicBezTo>
                <a:cubicBezTo>
                  <a:pt x="608344" y="492111"/>
                  <a:pt x="551795" y="548582"/>
                  <a:pt x="481962" y="548582"/>
                </a:cubicBezTo>
                <a:cubicBezTo>
                  <a:pt x="412129" y="548582"/>
                  <a:pt x="355579" y="492111"/>
                  <a:pt x="355579" y="422376"/>
                </a:cubicBezTo>
                <a:cubicBezTo>
                  <a:pt x="355579" y="352641"/>
                  <a:pt x="412129" y="296170"/>
                  <a:pt x="481962" y="296170"/>
                </a:cubicBezTo>
                <a:close/>
                <a:moveTo>
                  <a:pt x="255835" y="446"/>
                </a:moveTo>
                <a:cubicBezTo>
                  <a:pt x="282785" y="-1828"/>
                  <a:pt x="303187" y="4899"/>
                  <a:pt x="317801" y="13616"/>
                </a:cubicBezTo>
                <a:cubicBezTo>
                  <a:pt x="339721" y="25744"/>
                  <a:pt x="348072" y="41661"/>
                  <a:pt x="348072" y="41661"/>
                </a:cubicBezTo>
                <a:cubicBezTo>
                  <a:pt x="348072" y="41661"/>
                  <a:pt x="398176" y="45167"/>
                  <a:pt x="381190" y="146831"/>
                </a:cubicBezTo>
                <a:cubicBezTo>
                  <a:pt x="380621" y="149863"/>
                  <a:pt x="379862" y="153085"/>
                  <a:pt x="378913" y="156211"/>
                </a:cubicBezTo>
                <a:cubicBezTo>
                  <a:pt x="388592" y="156211"/>
                  <a:pt x="398271" y="163507"/>
                  <a:pt x="387833" y="200458"/>
                </a:cubicBezTo>
                <a:cubicBezTo>
                  <a:pt x="379672" y="229262"/>
                  <a:pt x="372080" y="237221"/>
                  <a:pt x="366387" y="237694"/>
                </a:cubicBezTo>
                <a:cubicBezTo>
                  <a:pt x="364394" y="250675"/>
                  <a:pt x="359175" y="265076"/>
                  <a:pt x="351393" y="278720"/>
                </a:cubicBezTo>
                <a:lnTo>
                  <a:pt x="351393" y="322873"/>
                </a:lnTo>
                <a:cubicBezTo>
                  <a:pt x="330232" y="350539"/>
                  <a:pt x="317611" y="385027"/>
                  <a:pt x="317611" y="422358"/>
                </a:cubicBezTo>
                <a:cubicBezTo>
                  <a:pt x="317611" y="472764"/>
                  <a:pt x="340480" y="518053"/>
                  <a:pt x="376635" y="548088"/>
                </a:cubicBezTo>
                <a:lnTo>
                  <a:pt x="26855" y="548088"/>
                </a:lnTo>
                <a:cubicBezTo>
                  <a:pt x="12052" y="548088"/>
                  <a:pt x="0" y="536055"/>
                  <a:pt x="0" y="521274"/>
                </a:cubicBezTo>
                <a:lnTo>
                  <a:pt x="0" y="473806"/>
                </a:lnTo>
                <a:cubicBezTo>
                  <a:pt x="0" y="457983"/>
                  <a:pt x="7212" y="443013"/>
                  <a:pt x="19453" y="432969"/>
                </a:cubicBezTo>
                <a:cubicBezTo>
                  <a:pt x="86638" y="377921"/>
                  <a:pt x="159043" y="341443"/>
                  <a:pt x="173751" y="334242"/>
                </a:cubicBezTo>
                <a:cubicBezTo>
                  <a:pt x="175365" y="333484"/>
                  <a:pt x="176408" y="331779"/>
                  <a:pt x="176408" y="329884"/>
                </a:cubicBezTo>
                <a:lnTo>
                  <a:pt x="176408" y="278720"/>
                </a:lnTo>
                <a:cubicBezTo>
                  <a:pt x="168437" y="265076"/>
                  <a:pt x="163313" y="250675"/>
                  <a:pt x="161320" y="237694"/>
                </a:cubicBezTo>
                <a:cubicBezTo>
                  <a:pt x="155627" y="237221"/>
                  <a:pt x="148035" y="229072"/>
                  <a:pt x="139969" y="200458"/>
                </a:cubicBezTo>
                <a:cubicBezTo>
                  <a:pt x="129531" y="164170"/>
                  <a:pt x="138925" y="156496"/>
                  <a:pt x="148320" y="156211"/>
                </a:cubicBezTo>
                <a:cubicBezTo>
                  <a:pt x="147371" y="153085"/>
                  <a:pt x="146612" y="149863"/>
                  <a:pt x="146042" y="146736"/>
                </a:cubicBezTo>
                <a:cubicBezTo>
                  <a:pt x="142436" y="128450"/>
                  <a:pt x="141487" y="111396"/>
                  <a:pt x="145758" y="95099"/>
                </a:cubicBezTo>
                <a:cubicBezTo>
                  <a:pt x="150787" y="73212"/>
                  <a:pt x="162744" y="55684"/>
                  <a:pt x="176029" y="42135"/>
                </a:cubicBezTo>
                <a:cubicBezTo>
                  <a:pt x="184379" y="33134"/>
                  <a:pt x="193869" y="25459"/>
                  <a:pt x="203928" y="19017"/>
                </a:cubicBezTo>
                <a:cubicBezTo>
                  <a:pt x="212183" y="13332"/>
                  <a:pt x="221293" y="8405"/>
                  <a:pt x="231162" y="5089"/>
                </a:cubicBezTo>
                <a:cubicBezTo>
                  <a:pt x="238849" y="2625"/>
                  <a:pt x="247105" y="825"/>
                  <a:pt x="255835" y="446"/>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455629033"/>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文本框 10">
            <a:extLst>
              <a:ext uri="{FF2B5EF4-FFF2-40B4-BE49-F238E27FC236}">
                <a16:creationId xmlns:a16="http://schemas.microsoft.com/office/drawing/2014/main" id="{E4393356-E9A7-46D9-B5F5-0D21EC991A29}"/>
              </a:ext>
            </a:extLst>
          </p:cNvPr>
          <p:cNvSpPr txBox="1"/>
          <p:nvPr/>
        </p:nvSpPr>
        <p:spPr>
          <a:xfrm>
            <a:off x="1941017" y="2224445"/>
            <a:ext cx="8309967" cy="1107996"/>
          </a:xfrm>
          <a:prstGeom prst="rect">
            <a:avLst/>
          </a:prstGeom>
          <a:noFill/>
        </p:spPr>
        <p:txBody>
          <a:bodyPr wrap="none" lIns="0" tIns="0" rIns="0" bIns="0" rtlCol="0" anchor="t">
            <a:spAutoFit/>
          </a:bodyPr>
          <a:lstStyle/>
          <a:p>
            <a:pPr algn="ctr"/>
            <a:r>
              <a:rPr lang="zh-CN" altLang="en-US" sz="7200" dirty="0">
                <a:solidFill>
                  <a:schemeClr val="accent1">
                    <a:lumMod val="100000"/>
                  </a:schemeClr>
                </a:solidFill>
                <a:latin typeface="+mj-ea"/>
                <a:ea typeface="+mj-ea"/>
              </a:rPr>
              <a:t>输入你的封面大标题</a:t>
            </a:r>
          </a:p>
        </p:txBody>
      </p:sp>
      <p:sp>
        <p:nvSpPr>
          <p:cNvPr id="12" name="文本框 11">
            <a:extLst>
              <a:ext uri="{FF2B5EF4-FFF2-40B4-BE49-F238E27FC236}">
                <a16:creationId xmlns:a16="http://schemas.microsoft.com/office/drawing/2014/main" id="{08D1ED60-C0E7-408E-A5AA-59B489440FCB}"/>
              </a:ext>
            </a:extLst>
          </p:cNvPr>
          <p:cNvSpPr txBox="1"/>
          <p:nvPr/>
        </p:nvSpPr>
        <p:spPr>
          <a:xfrm>
            <a:off x="4095451" y="3414737"/>
            <a:ext cx="4001095" cy="369332"/>
          </a:xfrm>
          <a:prstGeom prst="rect">
            <a:avLst/>
          </a:prstGeom>
          <a:noFill/>
        </p:spPr>
        <p:txBody>
          <a:bodyPr wrap="none" lIns="0" tIns="0" rIns="0" bIns="0" rtlCol="0" anchor="t">
            <a:spAutoFit/>
          </a:bodyPr>
          <a:lstStyle/>
          <a:p>
            <a:pPr algn="ctr"/>
            <a:r>
              <a:rPr lang="zh-CN" altLang="en-US" sz="2400" dirty="0">
                <a:solidFill>
                  <a:schemeClr val="accent1">
                    <a:lumMod val="100000"/>
                  </a:schemeClr>
                </a:solidFill>
                <a:latin typeface="+mn-ea"/>
              </a:rPr>
              <a:t>输入你的副标题或大标题英文</a:t>
            </a:r>
          </a:p>
        </p:txBody>
      </p:sp>
      <p:cxnSp>
        <p:nvCxnSpPr>
          <p:cNvPr id="14" name="直接连接符 13">
            <a:extLst>
              <a:ext uri="{FF2B5EF4-FFF2-40B4-BE49-F238E27FC236}">
                <a16:creationId xmlns:a16="http://schemas.microsoft.com/office/drawing/2014/main" id="{99FDF5DC-EAFA-4C3B-B052-660243EB047F}"/>
              </a:ext>
            </a:extLst>
          </p:cNvPr>
          <p:cNvCxnSpPr/>
          <p:nvPr/>
        </p:nvCxnSpPr>
        <p:spPr>
          <a:xfrm flipH="1">
            <a:off x="2029968" y="3605189"/>
            <a:ext cx="1901952" cy="0"/>
          </a:xfrm>
          <a:prstGeom prst="line">
            <a:avLst/>
          </a:prstGeom>
          <a:ln w="19050">
            <a:solidFill>
              <a:schemeClr val="accent1">
                <a:lumMod val="100000"/>
              </a:schemeClr>
            </a:solidFill>
          </a:ln>
        </p:spPr>
        <p:style>
          <a:lnRef idx="1">
            <a:schemeClr val="accent1"/>
          </a:lnRef>
          <a:fillRef idx="0">
            <a:schemeClr val="accent1"/>
          </a:fillRef>
          <a:effectRef idx="0">
            <a:schemeClr val="accent1"/>
          </a:effectRef>
          <a:fontRef idx="minor">
            <a:schemeClr val="tx1"/>
          </a:fontRef>
        </p:style>
      </p:cxnSp>
      <p:cxnSp>
        <p:nvCxnSpPr>
          <p:cNvPr id="15" name="直接连接符 14">
            <a:extLst>
              <a:ext uri="{FF2B5EF4-FFF2-40B4-BE49-F238E27FC236}">
                <a16:creationId xmlns:a16="http://schemas.microsoft.com/office/drawing/2014/main" id="{C6CC629A-E754-4728-BB95-563C56597B63}"/>
              </a:ext>
            </a:extLst>
          </p:cNvPr>
          <p:cNvCxnSpPr/>
          <p:nvPr/>
        </p:nvCxnSpPr>
        <p:spPr>
          <a:xfrm flipH="1">
            <a:off x="8284464" y="3605189"/>
            <a:ext cx="1901952" cy="0"/>
          </a:xfrm>
          <a:prstGeom prst="line">
            <a:avLst/>
          </a:prstGeom>
          <a:ln w="19050">
            <a:solidFill>
              <a:schemeClr val="accent1">
                <a:lumMod val="100000"/>
              </a:schemeClr>
            </a:solidFill>
          </a:ln>
        </p:spPr>
        <p:style>
          <a:lnRef idx="1">
            <a:schemeClr val="accent1"/>
          </a:lnRef>
          <a:fillRef idx="0">
            <a:schemeClr val="accent1"/>
          </a:fillRef>
          <a:effectRef idx="0">
            <a:schemeClr val="accent1"/>
          </a:effectRef>
          <a:fontRef idx="minor">
            <a:schemeClr val="tx1"/>
          </a:fontRef>
        </p:style>
      </p:cxnSp>
      <p:grpSp>
        <p:nvGrpSpPr>
          <p:cNvPr id="18" name="组合 17">
            <a:extLst>
              <a:ext uri="{FF2B5EF4-FFF2-40B4-BE49-F238E27FC236}">
                <a16:creationId xmlns:a16="http://schemas.microsoft.com/office/drawing/2014/main" id="{FC799265-AC15-410F-82A2-679AB60B288F}"/>
              </a:ext>
            </a:extLst>
          </p:cNvPr>
          <p:cNvGrpSpPr/>
          <p:nvPr/>
        </p:nvGrpSpPr>
        <p:grpSpPr>
          <a:xfrm>
            <a:off x="4331702" y="4387334"/>
            <a:ext cx="1475214" cy="246221"/>
            <a:chOff x="4095451" y="4640913"/>
            <a:chExt cx="1475214" cy="246221"/>
          </a:xfrm>
        </p:grpSpPr>
        <p:sp>
          <p:nvSpPr>
            <p:cNvPr id="16" name="矩形 15">
              <a:extLst>
                <a:ext uri="{FF2B5EF4-FFF2-40B4-BE49-F238E27FC236}">
                  <a16:creationId xmlns:a16="http://schemas.microsoft.com/office/drawing/2014/main" id="{74C493E7-1B47-4349-BC5B-BF3163490795}"/>
                </a:ext>
              </a:extLst>
            </p:cNvPr>
            <p:cNvSpPr/>
            <p:nvPr/>
          </p:nvSpPr>
          <p:spPr>
            <a:xfrm>
              <a:off x="4095451" y="4672584"/>
              <a:ext cx="164592" cy="164592"/>
            </a:xfrm>
            <a:prstGeom prst="rect">
              <a:avLst/>
            </a:prstGeom>
            <a:solidFill>
              <a:schemeClr val="accent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p>
          </p:txBody>
        </p:sp>
        <p:sp>
          <p:nvSpPr>
            <p:cNvPr id="17" name="文本框 16">
              <a:extLst>
                <a:ext uri="{FF2B5EF4-FFF2-40B4-BE49-F238E27FC236}">
                  <a16:creationId xmlns:a16="http://schemas.microsoft.com/office/drawing/2014/main" id="{B804F6AA-7656-4EF8-84F0-3B3FB5CF0922}"/>
                </a:ext>
              </a:extLst>
            </p:cNvPr>
            <p:cNvSpPr txBox="1"/>
            <p:nvPr/>
          </p:nvSpPr>
          <p:spPr>
            <a:xfrm>
              <a:off x="4408487" y="4640913"/>
              <a:ext cx="1162178" cy="246221"/>
            </a:xfrm>
            <a:prstGeom prst="rect">
              <a:avLst/>
            </a:prstGeom>
            <a:noFill/>
          </p:spPr>
          <p:txBody>
            <a:bodyPr wrap="none" lIns="0" tIns="0" rIns="0" bIns="0" rtlCol="0" anchor="t">
              <a:spAutoFit/>
            </a:bodyPr>
            <a:lstStyle/>
            <a:p>
              <a:r>
                <a:rPr lang="zh-CN" altLang="en-US" sz="1600" dirty="0">
                  <a:solidFill>
                    <a:schemeClr val="accent1">
                      <a:lumMod val="100000"/>
                    </a:schemeClr>
                  </a:solidFill>
                  <a:latin typeface="+mn-ea"/>
                </a:rPr>
                <a:t>汇报人：</a:t>
              </a:r>
              <a:r>
                <a:rPr lang="en-US" altLang="zh-CN" sz="1600" dirty="0">
                  <a:solidFill>
                    <a:schemeClr val="accent1">
                      <a:lumMod val="100000"/>
                    </a:schemeClr>
                  </a:solidFill>
                  <a:latin typeface="+mn-ea"/>
                </a:rPr>
                <a:t>xxx</a:t>
              </a:r>
              <a:endParaRPr lang="zh-CN" altLang="en-US" sz="1600" dirty="0">
                <a:solidFill>
                  <a:schemeClr val="accent1">
                    <a:lumMod val="100000"/>
                  </a:schemeClr>
                </a:solidFill>
                <a:latin typeface="+mn-ea"/>
              </a:endParaRPr>
            </a:p>
          </p:txBody>
        </p:sp>
      </p:grpSp>
      <p:grpSp>
        <p:nvGrpSpPr>
          <p:cNvPr id="19" name="组合 18">
            <a:extLst>
              <a:ext uri="{FF2B5EF4-FFF2-40B4-BE49-F238E27FC236}">
                <a16:creationId xmlns:a16="http://schemas.microsoft.com/office/drawing/2014/main" id="{482B1619-178E-45D1-BC39-C5F4314075B6}"/>
              </a:ext>
            </a:extLst>
          </p:cNvPr>
          <p:cNvGrpSpPr/>
          <p:nvPr/>
        </p:nvGrpSpPr>
        <p:grpSpPr>
          <a:xfrm>
            <a:off x="6590270" y="4387334"/>
            <a:ext cx="1270029" cy="246221"/>
            <a:chOff x="4095451" y="4640913"/>
            <a:chExt cx="1270029" cy="246221"/>
          </a:xfrm>
        </p:grpSpPr>
        <p:sp>
          <p:nvSpPr>
            <p:cNvPr id="20" name="矩形 19">
              <a:extLst>
                <a:ext uri="{FF2B5EF4-FFF2-40B4-BE49-F238E27FC236}">
                  <a16:creationId xmlns:a16="http://schemas.microsoft.com/office/drawing/2014/main" id="{3A1AE345-38CE-49BE-9E58-2C20078777A3}"/>
                </a:ext>
              </a:extLst>
            </p:cNvPr>
            <p:cNvSpPr/>
            <p:nvPr/>
          </p:nvSpPr>
          <p:spPr>
            <a:xfrm>
              <a:off x="4095451" y="4672584"/>
              <a:ext cx="164592" cy="164592"/>
            </a:xfrm>
            <a:prstGeom prst="rect">
              <a:avLst/>
            </a:prstGeom>
            <a:solidFill>
              <a:schemeClr val="accent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p>
          </p:txBody>
        </p:sp>
        <p:sp>
          <p:nvSpPr>
            <p:cNvPr id="21" name="文本框 20">
              <a:extLst>
                <a:ext uri="{FF2B5EF4-FFF2-40B4-BE49-F238E27FC236}">
                  <a16:creationId xmlns:a16="http://schemas.microsoft.com/office/drawing/2014/main" id="{FCC3031D-C171-43E7-B549-82FC96054817}"/>
                </a:ext>
              </a:extLst>
            </p:cNvPr>
            <p:cNvSpPr txBox="1"/>
            <p:nvPr/>
          </p:nvSpPr>
          <p:spPr>
            <a:xfrm>
              <a:off x="4408487" y="4640913"/>
              <a:ext cx="956993" cy="246221"/>
            </a:xfrm>
            <a:prstGeom prst="rect">
              <a:avLst/>
            </a:prstGeom>
            <a:noFill/>
          </p:spPr>
          <p:txBody>
            <a:bodyPr wrap="none" lIns="0" tIns="0" rIns="0" bIns="0" rtlCol="0" anchor="t">
              <a:spAutoFit/>
            </a:bodyPr>
            <a:lstStyle/>
            <a:p>
              <a:r>
                <a:rPr lang="zh-CN" altLang="en-US" sz="1600" dirty="0">
                  <a:solidFill>
                    <a:schemeClr val="accent1">
                      <a:lumMod val="100000"/>
                    </a:schemeClr>
                  </a:solidFill>
                  <a:latin typeface="+mn-ea"/>
                </a:rPr>
                <a:t>单位：</a:t>
              </a:r>
              <a:r>
                <a:rPr lang="en-US" altLang="zh-CN" sz="1600" dirty="0">
                  <a:solidFill>
                    <a:schemeClr val="accent1">
                      <a:lumMod val="100000"/>
                    </a:schemeClr>
                  </a:solidFill>
                  <a:latin typeface="+mn-ea"/>
                </a:rPr>
                <a:t>xxx</a:t>
              </a:r>
              <a:endParaRPr lang="zh-CN" altLang="en-US" sz="1600" dirty="0">
                <a:solidFill>
                  <a:schemeClr val="accent1">
                    <a:lumMod val="100000"/>
                  </a:schemeClr>
                </a:solidFill>
                <a:latin typeface="+mn-ea"/>
              </a:endParaRPr>
            </a:p>
          </p:txBody>
        </p:sp>
      </p:grpSp>
    </p:spTree>
    <p:extLst>
      <p:ext uri="{BB962C8B-B14F-4D97-AF65-F5344CB8AC3E}">
        <p14:creationId xmlns:p14="http://schemas.microsoft.com/office/powerpoint/2010/main" val="2892242104"/>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任意多边形: 形状 21">
            <a:extLst>
              <a:ext uri="{FF2B5EF4-FFF2-40B4-BE49-F238E27FC236}">
                <a16:creationId xmlns:a16="http://schemas.microsoft.com/office/drawing/2014/main" id="{2C3C2FDF-528E-4A2E-8D37-81B73FCD229E}"/>
              </a:ext>
            </a:extLst>
          </p:cNvPr>
          <p:cNvSpPr/>
          <p:nvPr/>
        </p:nvSpPr>
        <p:spPr>
          <a:xfrm>
            <a:off x="0" y="0"/>
            <a:ext cx="12192000" cy="4787900"/>
          </a:xfrm>
          <a:custGeom>
            <a:avLst/>
            <a:gdLst>
              <a:gd name="connsiteX0" fmla="*/ 0 w 12192000"/>
              <a:gd name="connsiteY0" fmla="*/ 0 h 4787900"/>
              <a:gd name="connsiteX1" fmla="*/ 12192000 w 12192000"/>
              <a:gd name="connsiteY1" fmla="*/ 0 h 4787900"/>
              <a:gd name="connsiteX2" fmla="*/ 12192000 w 12192000"/>
              <a:gd name="connsiteY2" fmla="*/ 4787900 h 4787900"/>
              <a:gd name="connsiteX3" fmla="*/ 6210173 w 12192000"/>
              <a:gd name="connsiteY3" fmla="*/ 4787900 h 4787900"/>
              <a:gd name="connsiteX4" fmla="*/ 6096000 w 12192000"/>
              <a:gd name="connsiteY4" fmla="*/ 4591050 h 4787900"/>
              <a:gd name="connsiteX5" fmla="*/ 5981827 w 12192000"/>
              <a:gd name="connsiteY5" fmla="*/ 4787900 h 4787900"/>
              <a:gd name="connsiteX6" fmla="*/ 0 w 12192000"/>
              <a:gd name="connsiteY6" fmla="*/ 4787900 h 4787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4787900">
                <a:moveTo>
                  <a:pt x="0" y="0"/>
                </a:moveTo>
                <a:lnTo>
                  <a:pt x="12192000" y="0"/>
                </a:lnTo>
                <a:lnTo>
                  <a:pt x="12192000" y="4787900"/>
                </a:lnTo>
                <a:lnTo>
                  <a:pt x="6210173" y="4787900"/>
                </a:lnTo>
                <a:lnTo>
                  <a:pt x="6096000" y="4591050"/>
                </a:lnTo>
                <a:lnTo>
                  <a:pt x="5981827" y="4787900"/>
                </a:lnTo>
                <a:lnTo>
                  <a:pt x="0" y="47879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6000" dirty="0"/>
          </a:p>
        </p:txBody>
      </p:sp>
      <p:sp>
        <p:nvSpPr>
          <p:cNvPr id="11" name="文本框 10">
            <a:extLst>
              <a:ext uri="{FF2B5EF4-FFF2-40B4-BE49-F238E27FC236}">
                <a16:creationId xmlns:a16="http://schemas.microsoft.com/office/drawing/2014/main" id="{E4393356-E9A7-46D9-B5F5-0D21EC991A29}"/>
              </a:ext>
            </a:extLst>
          </p:cNvPr>
          <p:cNvSpPr txBox="1"/>
          <p:nvPr/>
        </p:nvSpPr>
        <p:spPr>
          <a:xfrm>
            <a:off x="1941017" y="1812068"/>
            <a:ext cx="8309967" cy="1107996"/>
          </a:xfrm>
          <a:prstGeom prst="rect">
            <a:avLst/>
          </a:prstGeom>
          <a:noFill/>
        </p:spPr>
        <p:txBody>
          <a:bodyPr wrap="none" lIns="0" tIns="0" rIns="0" bIns="0" rtlCol="0" anchor="t">
            <a:spAutoFit/>
          </a:bodyPr>
          <a:lstStyle/>
          <a:p>
            <a:pPr algn="ctr"/>
            <a:r>
              <a:rPr lang="zh-CN" altLang="en-US" sz="7200" dirty="0">
                <a:solidFill>
                  <a:schemeClr val="bg1"/>
                </a:solidFill>
                <a:latin typeface="+mj-ea"/>
                <a:ea typeface="+mj-ea"/>
              </a:rPr>
              <a:t>输入你的封面大标题</a:t>
            </a:r>
          </a:p>
        </p:txBody>
      </p:sp>
      <p:sp>
        <p:nvSpPr>
          <p:cNvPr id="12" name="文本框 11">
            <a:extLst>
              <a:ext uri="{FF2B5EF4-FFF2-40B4-BE49-F238E27FC236}">
                <a16:creationId xmlns:a16="http://schemas.microsoft.com/office/drawing/2014/main" id="{08D1ED60-C0E7-408E-A5AA-59B489440FCB}"/>
              </a:ext>
            </a:extLst>
          </p:cNvPr>
          <p:cNvSpPr txBox="1"/>
          <p:nvPr/>
        </p:nvSpPr>
        <p:spPr>
          <a:xfrm>
            <a:off x="4095451" y="1274144"/>
            <a:ext cx="4001095" cy="369332"/>
          </a:xfrm>
          <a:prstGeom prst="rect">
            <a:avLst/>
          </a:prstGeom>
          <a:noFill/>
        </p:spPr>
        <p:txBody>
          <a:bodyPr wrap="none" lIns="0" tIns="0" rIns="0" bIns="0" rtlCol="0" anchor="t">
            <a:spAutoFit/>
          </a:bodyPr>
          <a:lstStyle/>
          <a:p>
            <a:pPr algn="ctr"/>
            <a:r>
              <a:rPr lang="zh-CN" altLang="en-US" sz="2400" dirty="0">
                <a:solidFill>
                  <a:schemeClr val="bg1"/>
                </a:solidFill>
                <a:latin typeface="+mn-ea"/>
              </a:rPr>
              <a:t>输入你的副标题或大标题英文</a:t>
            </a:r>
          </a:p>
        </p:txBody>
      </p:sp>
      <p:cxnSp>
        <p:nvCxnSpPr>
          <p:cNvPr id="14" name="直接连接符 13">
            <a:extLst>
              <a:ext uri="{FF2B5EF4-FFF2-40B4-BE49-F238E27FC236}">
                <a16:creationId xmlns:a16="http://schemas.microsoft.com/office/drawing/2014/main" id="{99FDF5DC-EAFA-4C3B-B052-660243EB047F}"/>
              </a:ext>
            </a:extLst>
          </p:cNvPr>
          <p:cNvCxnSpPr/>
          <p:nvPr/>
        </p:nvCxnSpPr>
        <p:spPr>
          <a:xfrm flipH="1">
            <a:off x="2029968" y="1464596"/>
            <a:ext cx="1901952"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 name="直接连接符 14">
            <a:extLst>
              <a:ext uri="{FF2B5EF4-FFF2-40B4-BE49-F238E27FC236}">
                <a16:creationId xmlns:a16="http://schemas.microsoft.com/office/drawing/2014/main" id="{C6CC629A-E754-4728-BB95-563C56597B63}"/>
              </a:ext>
            </a:extLst>
          </p:cNvPr>
          <p:cNvCxnSpPr/>
          <p:nvPr/>
        </p:nvCxnSpPr>
        <p:spPr>
          <a:xfrm flipH="1">
            <a:off x="8284464" y="1464596"/>
            <a:ext cx="1901952"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grpSp>
        <p:nvGrpSpPr>
          <p:cNvPr id="18" name="组合 17">
            <a:extLst>
              <a:ext uri="{FF2B5EF4-FFF2-40B4-BE49-F238E27FC236}">
                <a16:creationId xmlns:a16="http://schemas.microsoft.com/office/drawing/2014/main" id="{FC799265-AC15-410F-82A2-679AB60B288F}"/>
              </a:ext>
            </a:extLst>
          </p:cNvPr>
          <p:cNvGrpSpPr/>
          <p:nvPr/>
        </p:nvGrpSpPr>
        <p:grpSpPr>
          <a:xfrm>
            <a:off x="4331702" y="3267535"/>
            <a:ext cx="1475214" cy="246221"/>
            <a:chOff x="4095451" y="4640913"/>
            <a:chExt cx="1475214" cy="246221"/>
          </a:xfrm>
        </p:grpSpPr>
        <p:sp>
          <p:nvSpPr>
            <p:cNvPr id="16" name="矩形 15">
              <a:extLst>
                <a:ext uri="{FF2B5EF4-FFF2-40B4-BE49-F238E27FC236}">
                  <a16:creationId xmlns:a16="http://schemas.microsoft.com/office/drawing/2014/main" id="{74C493E7-1B47-4349-BC5B-BF3163490795}"/>
                </a:ext>
              </a:extLst>
            </p:cNvPr>
            <p:cNvSpPr/>
            <p:nvPr/>
          </p:nvSpPr>
          <p:spPr>
            <a:xfrm>
              <a:off x="4095451" y="4672584"/>
              <a:ext cx="164592" cy="1645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solidFill>
                  <a:schemeClr val="bg1"/>
                </a:solidFill>
              </a:endParaRPr>
            </a:p>
          </p:txBody>
        </p:sp>
        <p:sp>
          <p:nvSpPr>
            <p:cNvPr id="17" name="文本框 16">
              <a:extLst>
                <a:ext uri="{FF2B5EF4-FFF2-40B4-BE49-F238E27FC236}">
                  <a16:creationId xmlns:a16="http://schemas.microsoft.com/office/drawing/2014/main" id="{B804F6AA-7656-4EF8-84F0-3B3FB5CF0922}"/>
                </a:ext>
              </a:extLst>
            </p:cNvPr>
            <p:cNvSpPr txBox="1"/>
            <p:nvPr/>
          </p:nvSpPr>
          <p:spPr>
            <a:xfrm>
              <a:off x="4408487" y="4640913"/>
              <a:ext cx="1162178" cy="246221"/>
            </a:xfrm>
            <a:prstGeom prst="rect">
              <a:avLst/>
            </a:prstGeom>
            <a:noFill/>
          </p:spPr>
          <p:txBody>
            <a:bodyPr wrap="none" lIns="0" tIns="0" rIns="0" bIns="0" rtlCol="0" anchor="t">
              <a:spAutoFit/>
            </a:bodyPr>
            <a:lstStyle/>
            <a:p>
              <a:r>
                <a:rPr lang="zh-CN" altLang="en-US" sz="1600" dirty="0">
                  <a:solidFill>
                    <a:schemeClr val="bg1"/>
                  </a:solidFill>
                  <a:latin typeface="+mn-ea"/>
                </a:rPr>
                <a:t>汇报人：</a:t>
              </a:r>
              <a:r>
                <a:rPr lang="en-US" altLang="zh-CN" sz="1600" dirty="0">
                  <a:solidFill>
                    <a:schemeClr val="bg1"/>
                  </a:solidFill>
                  <a:latin typeface="+mn-ea"/>
                </a:rPr>
                <a:t>xxx</a:t>
              </a:r>
              <a:endParaRPr lang="zh-CN" altLang="en-US" sz="1600" dirty="0">
                <a:solidFill>
                  <a:schemeClr val="bg1"/>
                </a:solidFill>
                <a:latin typeface="+mn-ea"/>
              </a:endParaRPr>
            </a:p>
          </p:txBody>
        </p:sp>
      </p:grpSp>
      <p:grpSp>
        <p:nvGrpSpPr>
          <p:cNvPr id="19" name="组合 18">
            <a:extLst>
              <a:ext uri="{FF2B5EF4-FFF2-40B4-BE49-F238E27FC236}">
                <a16:creationId xmlns:a16="http://schemas.microsoft.com/office/drawing/2014/main" id="{482B1619-178E-45D1-BC39-C5F4314075B6}"/>
              </a:ext>
            </a:extLst>
          </p:cNvPr>
          <p:cNvGrpSpPr/>
          <p:nvPr/>
        </p:nvGrpSpPr>
        <p:grpSpPr>
          <a:xfrm>
            <a:off x="6590270" y="3267535"/>
            <a:ext cx="1270029" cy="246221"/>
            <a:chOff x="4095451" y="4640913"/>
            <a:chExt cx="1270029" cy="246221"/>
          </a:xfrm>
        </p:grpSpPr>
        <p:sp>
          <p:nvSpPr>
            <p:cNvPr id="20" name="矩形 19">
              <a:extLst>
                <a:ext uri="{FF2B5EF4-FFF2-40B4-BE49-F238E27FC236}">
                  <a16:creationId xmlns:a16="http://schemas.microsoft.com/office/drawing/2014/main" id="{3A1AE345-38CE-49BE-9E58-2C20078777A3}"/>
                </a:ext>
              </a:extLst>
            </p:cNvPr>
            <p:cNvSpPr/>
            <p:nvPr/>
          </p:nvSpPr>
          <p:spPr>
            <a:xfrm>
              <a:off x="4095451" y="4672584"/>
              <a:ext cx="164592" cy="1645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solidFill>
                  <a:schemeClr val="bg1"/>
                </a:solidFill>
              </a:endParaRPr>
            </a:p>
          </p:txBody>
        </p:sp>
        <p:sp>
          <p:nvSpPr>
            <p:cNvPr id="21" name="文本框 20">
              <a:extLst>
                <a:ext uri="{FF2B5EF4-FFF2-40B4-BE49-F238E27FC236}">
                  <a16:creationId xmlns:a16="http://schemas.microsoft.com/office/drawing/2014/main" id="{FCC3031D-C171-43E7-B549-82FC96054817}"/>
                </a:ext>
              </a:extLst>
            </p:cNvPr>
            <p:cNvSpPr txBox="1"/>
            <p:nvPr/>
          </p:nvSpPr>
          <p:spPr>
            <a:xfrm>
              <a:off x="4408487" y="4640913"/>
              <a:ext cx="956993" cy="246221"/>
            </a:xfrm>
            <a:prstGeom prst="rect">
              <a:avLst/>
            </a:prstGeom>
            <a:noFill/>
          </p:spPr>
          <p:txBody>
            <a:bodyPr wrap="none" lIns="0" tIns="0" rIns="0" bIns="0" rtlCol="0" anchor="t">
              <a:spAutoFit/>
            </a:bodyPr>
            <a:lstStyle/>
            <a:p>
              <a:r>
                <a:rPr lang="zh-CN" altLang="en-US" sz="1600" dirty="0">
                  <a:solidFill>
                    <a:schemeClr val="bg1"/>
                  </a:solidFill>
                  <a:latin typeface="+mn-ea"/>
                </a:rPr>
                <a:t>单位：</a:t>
              </a:r>
              <a:r>
                <a:rPr lang="en-US" altLang="zh-CN" sz="1600" dirty="0">
                  <a:solidFill>
                    <a:schemeClr val="bg1"/>
                  </a:solidFill>
                  <a:latin typeface="+mn-ea"/>
                </a:rPr>
                <a:t>xxx</a:t>
              </a:r>
              <a:endParaRPr lang="zh-CN" altLang="en-US" sz="1600" dirty="0">
                <a:solidFill>
                  <a:schemeClr val="bg1"/>
                </a:solidFill>
                <a:latin typeface="+mn-ea"/>
              </a:endParaRPr>
            </a:p>
          </p:txBody>
        </p:sp>
      </p:grpSp>
      <p:cxnSp>
        <p:nvCxnSpPr>
          <p:cNvPr id="23" name="直接连接符 22">
            <a:extLst>
              <a:ext uri="{FF2B5EF4-FFF2-40B4-BE49-F238E27FC236}">
                <a16:creationId xmlns:a16="http://schemas.microsoft.com/office/drawing/2014/main" id="{CE4614EF-B88F-4347-B526-58ECE7F96194}"/>
              </a:ext>
            </a:extLst>
          </p:cNvPr>
          <p:cNvCxnSpPr>
            <a:cxnSpLocks/>
          </p:cNvCxnSpPr>
          <p:nvPr/>
        </p:nvCxnSpPr>
        <p:spPr>
          <a:xfrm flipH="1">
            <a:off x="2029968" y="2988596"/>
            <a:ext cx="8156448"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92382982"/>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3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8" name="直接箭头连接符 7">
            <a:extLst>
              <a:ext uri="{FF2B5EF4-FFF2-40B4-BE49-F238E27FC236}">
                <a16:creationId xmlns:a16="http://schemas.microsoft.com/office/drawing/2014/main" id="{94CA369A-AECB-43D9-ABB8-45052FC905BC}"/>
              </a:ext>
            </a:extLst>
          </p:cNvPr>
          <p:cNvCxnSpPr>
            <a:cxnSpLocks/>
          </p:cNvCxnSpPr>
          <p:nvPr/>
        </p:nvCxnSpPr>
        <p:spPr>
          <a:xfrm>
            <a:off x="6102094" y="2221992"/>
            <a:ext cx="0" cy="3483864"/>
          </a:xfrm>
          <a:prstGeom prst="straightConnector1">
            <a:avLst/>
          </a:prstGeom>
          <a:noFill/>
          <a:ln w="19050">
            <a:solidFill>
              <a:schemeClr val="accent1">
                <a:lumMod val="75000"/>
                <a:lumOff val="25000"/>
              </a:schemeClr>
            </a:solidFill>
            <a:headEnd type="stealth"/>
            <a:tailEnd type="stealth"/>
          </a:ln>
        </p:spPr>
        <p:style>
          <a:lnRef idx="2">
            <a:schemeClr val="accent1">
              <a:shade val="50000"/>
            </a:schemeClr>
          </a:lnRef>
          <a:fillRef idx="1">
            <a:schemeClr val="accent1"/>
          </a:fillRef>
          <a:effectRef idx="0">
            <a:schemeClr val="accent1"/>
          </a:effectRef>
          <a:fontRef idx="minor">
            <a:schemeClr val="lt1"/>
          </a:fontRef>
        </p:style>
      </p:cxnSp>
      <p:grpSp>
        <p:nvGrpSpPr>
          <p:cNvPr id="10" name="组合 9">
            <a:extLst>
              <a:ext uri="{FF2B5EF4-FFF2-40B4-BE49-F238E27FC236}">
                <a16:creationId xmlns:a16="http://schemas.microsoft.com/office/drawing/2014/main" id="{A719C4E8-2078-44C1-B910-69545FFEB7FE}"/>
              </a:ext>
            </a:extLst>
          </p:cNvPr>
          <p:cNvGrpSpPr/>
          <p:nvPr/>
        </p:nvGrpSpPr>
        <p:grpSpPr>
          <a:xfrm>
            <a:off x="2559341" y="2778732"/>
            <a:ext cx="7073316" cy="2306377"/>
            <a:chOff x="2559341" y="2624328"/>
            <a:chExt cx="7073316" cy="2306377"/>
          </a:xfrm>
        </p:grpSpPr>
        <p:sp>
          <p:nvSpPr>
            <p:cNvPr id="30" name="任意多边形: 形状 29">
              <a:extLst>
                <a:ext uri="{FF2B5EF4-FFF2-40B4-BE49-F238E27FC236}">
                  <a16:creationId xmlns:a16="http://schemas.microsoft.com/office/drawing/2014/main" id="{0B90E0F2-9ED2-4E34-AB6F-B0E5011510CA}"/>
                </a:ext>
              </a:extLst>
            </p:cNvPr>
            <p:cNvSpPr/>
            <p:nvPr/>
          </p:nvSpPr>
          <p:spPr>
            <a:xfrm>
              <a:off x="2559341" y="2624328"/>
              <a:ext cx="7073316" cy="578162"/>
            </a:xfrm>
            <a:custGeom>
              <a:avLst/>
              <a:gdLst>
                <a:gd name="connsiteX0" fmla="*/ 3175494 w 6350988"/>
                <a:gd name="connsiteY0" fmla="*/ 519119 h 519119"/>
                <a:gd name="connsiteX1" fmla="*/ 6180632 w 6350988"/>
                <a:gd name="connsiteY1" fmla="*/ 85229 h 519119"/>
                <a:gd name="connsiteX2" fmla="*/ 6350988 w 6350988"/>
                <a:gd name="connsiteY2" fmla="*/ 0 h 519119"/>
                <a:gd name="connsiteX3" fmla="*/ 0 w 6350988"/>
                <a:gd name="connsiteY3" fmla="*/ 0 h 519119"/>
                <a:gd name="connsiteX4" fmla="*/ 170356 w 6350988"/>
                <a:gd name="connsiteY4" fmla="*/ 85229 h 519119"/>
                <a:gd name="connsiteX5" fmla="*/ 3175494 w 6350988"/>
                <a:gd name="connsiteY5" fmla="*/ 519119 h 519119"/>
                <a:gd name="connsiteX0" fmla="*/ 0 w 6350988"/>
                <a:gd name="connsiteY0" fmla="*/ 0 h 519119"/>
                <a:gd name="connsiteX1" fmla="*/ 170356 w 6350988"/>
                <a:gd name="connsiteY1" fmla="*/ 85229 h 519119"/>
                <a:gd name="connsiteX2" fmla="*/ 3175494 w 6350988"/>
                <a:gd name="connsiteY2" fmla="*/ 519119 h 519119"/>
                <a:gd name="connsiteX3" fmla="*/ 6180632 w 6350988"/>
                <a:gd name="connsiteY3" fmla="*/ 85229 h 519119"/>
                <a:gd name="connsiteX4" fmla="*/ 6350988 w 6350988"/>
                <a:gd name="connsiteY4" fmla="*/ 0 h 519119"/>
                <a:gd name="connsiteX5" fmla="*/ 91440 w 6350988"/>
                <a:gd name="connsiteY5" fmla="*/ 91440 h 519119"/>
                <a:gd name="connsiteX0" fmla="*/ 0 w 6350988"/>
                <a:gd name="connsiteY0" fmla="*/ 0 h 519119"/>
                <a:gd name="connsiteX1" fmla="*/ 170356 w 6350988"/>
                <a:gd name="connsiteY1" fmla="*/ 85229 h 519119"/>
                <a:gd name="connsiteX2" fmla="*/ 3175494 w 6350988"/>
                <a:gd name="connsiteY2" fmla="*/ 519119 h 519119"/>
                <a:gd name="connsiteX3" fmla="*/ 6180632 w 6350988"/>
                <a:gd name="connsiteY3" fmla="*/ 85229 h 519119"/>
                <a:gd name="connsiteX4" fmla="*/ 6350988 w 6350988"/>
                <a:gd name="connsiteY4" fmla="*/ 0 h 519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50988" h="519119">
                  <a:moveTo>
                    <a:pt x="0" y="0"/>
                  </a:moveTo>
                  <a:lnTo>
                    <a:pt x="170356" y="85229"/>
                  </a:lnTo>
                  <a:cubicBezTo>
                    <a:pt x="821628" y="347007"/>
                    <a:pt x="1924544" y="519119"/>
                    <a:pt x="3175494" y="519119"/>
                  </a:cubicBezTo>
                  <a:cubicBezTo>
                    <a:pt x="4426444" y="519119"/>
                    <a:pt x="5529360" y="347007"/>
                    <a:pt x="6180632" y="85229"/>
                  </a:cubicBezTo>
                  <a:lnTo>
                    <a:pt x="6350988" y="0"/>
                  </a:lnTo>
                </a:path>
              </a:pathLst>
            </a:custGeom>
            <a:noFill/>
            <a:ln w="19050">
              <a:solidFill>
                <a:schemeClr val="accent1">
                  <a:lumMod val="75000"/>
                  <a:lumOff val="25000"/>
                </a:schemeClr>
              </a:solidFill>
              <a:headEnd type="stealth"/>
              <a:tailEnd type="stealth"/>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l"/>
              <a:endParaRPr lang="zh-CN" altLang="en-US" sz="1600">
                <a:solidFill>
                  <a:schemeClr val="bg1"/>
                </a:solidFill>
                <a:latin typeface="+mj-ea"/>
                <a:ea typeface="+mj-ea"/>
              </a:endParaRPr>
            </a:p>
          </p:txBody>
        </p:sp>
        <p:sp>
          <p:nvSpPr>
            <p:cNvPr id="29" name="任意多边形: 形状 28">
              <a:extLst>
                <a:ext uri="{FF2B5EF4-FFF2-40B4-BE49-F238E27FC236}">
                  <a16:creationId xmlns:a16="http://schemas.microsoft.com/office/drawing/2014/main" id="{BE2B333E-97E9-4A1F-AE5D-6F295A38A6B2}"/>
                </a:ext>
              </a:extLst>
            </p:cNvPr>
            <p:cNvSpPr/>
            <p:nvPr/>
          </p:nvSpPr>
          <p:spPr>
            <a:xfrm flipV="1">
              <a:off x="2559341" y="4352543"/>
              <a:ext cx="7073316" cy="578162"/>
            </a:xfrm>
            <a:custGeom>
              <a:avLst/>
              <a:gdLst>
                <a:gd name="connsiteX0" fmla="*/ 3175494 w 6350988"/>
                <a:gd name="connsiteY0" fmla="*/ 519119 h 519119"/>
                <a:gd name="connsiteX1" fmla="*/ 6180632 w 6350988"/>
                <a:gd name="connsiteY1" fmla="*/ 85229 h 519119"/>
                <a:gd name="connsiteX2" fmla="*/ 6350988 w 6350988"/>
                <a:gd name="connsiteY2" fmla="*/ 0 h 519119"/>
                <a:gd name="connsiteX3" fmla="*/ 0 w 6350988"/>
                <a:gd name="connsiteY3" fmla="*/ 0 h 519119"/>
                <a:gd name="connsiteX4" fmla="*/ 170356 w 6350988"/>
                <a:gd name="connsiteY4" fmla="*/ 85229 h 519119"/>
                <a:gd name="connsiteX5" fmla="*/ 3175494 w 6350988"/>
                <a:gd name="connsiteY5" fmla="*/ 519119 h 519119"/>
                <a:gd name="connsiteX0" fmla="*/ 0 w 6350988"/>
                <a:gd name="connsiteY0" fmla="*/ 0 h 519119"/>
                <a:gd name="connsiteX1" fmla="*/ 170356 w 6350988"/>
                <a:gd name="connsiteY1" fmla="*/ 85229 h 519119"/>
                <a:gd name="connsiteX2" fmla="*/ 3175494 w 6350988"/>
                <a:gd name="connsiteY2" fmla="*/ 519119 h 519119"/>
                <a:gd name="connsiteX3" fmla="*/ 6180632 w 6350988"/>
                <a:gd name="connsiteY3" fmla="*/ 85229 h 519119"/>
                <a:gd name="connsiteX4" fmla="*/ 6350988 w 6350988"/>
                <a:gd name="connsiteY4" fmla="*/ 0 h 519119"/>
                <a:gd name="connsiteX5" fmla="*/ 91440 w 6350988"/>
                <a:gd name="connsiteY5" fmla="*/ 91440 h 519119"/>
                <a:gd name="connsiteX0" fmla="*/ 0 w 6350988"/>
                <a:gd name="connsiteY0" fmla="*/ 0 h 519119"/>
                <a:gd name="connsiteX1" fmla="*/ 170356 w 6350988"/>
                <a:gd name="connsiteY1" fmla="*/ 85229 h 519119"/>
                <a:gd name="connsiteX2" fmla="*/ 3175494 w 6350988"/>
                <a:gd name="connsiteY2" fmla="*/ 519119 h 519119"/>
                <a:gd name="connsiteX3" fmla="*/ 6180632 w 6350988"/>
                <a:gd name="connsiteY3" fmla="*/ 85229 h 519119"/>
                <a:gd name="connsiteX4" fmla="*/ 6350988 w 6350988"/>
                <a:gd name="connsiteY4" fmla="*/ 0 h 519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50988" h="519119">
                  <a:moveTo>
                    <a:pt x="0" y="0"/>
                  </a:moveTo>
                  <a:lnTo>
                    <a:pt x="170356" y="85229"/>
                  </a:lnTo>
                  <a:cubicBezTo>
                    <a:pt x="821628" y="347007"/>
                    <a:pt x="1924544" y="519119"/>
                    <a:pt x="3175494" y="519119"/>
                  </a:cubicBezTo>
                  <a:cubicBezTo>
                    <a:pt x="4426444" y="519119"/>
                    <a:pt x="5529360" y="347007"/>
                    <a:pt x="6180632" y="85229"/>
                  </a:cubicBezTo>
                  <a:lnTo>
                    <a:pt x="6350988" y="0"/>
                  </a:lnTo>
                </a:path>
              </a:pathLst>
            </a:custGeom>
            <a:noFill/>
            <a:ln w="19050">
              <a:solidFill>
                <a:schemeClr val="accent1">
                  <a:lumMod val="75000"/>
                  <a:lumOff val="25000"/>
                </a:schemeClr>
              </a:solidFill>
              <a:headEnd type="stealth"/>
              <a:tailEnd type="stealth"/>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l"/>
              <a:endParaRPr lang="zh-CN" altLang="en-US" sz="1600">
                <a:solidFill>
                  <a:schemeClr val="bg1"/>
                </a:solidFill>
                <a:latin typeface="+mj-ea"/>
                <a:ea typeface="+mj-ea"/>
              </a:endParaRPr>
            </a:p>
          </p:txBody>
        </p:sp>
      </p:grpSp>
      <p:sp>
        <p:nvSpPr>
          <p:cNvPr id="3" name="椭圆 2">
            <a:extLst>
              <a:ext uri="{FF2B5EF4-FFF2-40B4-BE49-F238E27FC236}">
                <a16:creationId xmlns:a16="http://schemas.microsoft.com/office/drawing/2014/main" id="{DCE9572C-6B46-4F7B-9F25-9E30884C004B}"/>
              </a:ext>
            </a:extLst>
          </p:cNvPr>
          <p:cNvSpPr/>
          <p:nvPr/>
        </p:nvSpPr>
        <p:spPr>
          <a:xfrm>
            <a:off x="4788408" y="2624328"/>
            <a:ext cx="2615184" cy="261518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4" name="文本框 3">
            <a:extLst>
              <a:ext uri="{FF2B5EF4-FFF2-40B4-BE49-F238E27FC236}">
                <a16:creationId xmlns:a16="http://schemas.microsoft.com/office/drawing/2014/main" id="{6B7ECDB2-34EF-4793-8DEF-25616975DB8A}"/>
              </a:ext>
            </a:extLst>
          </p:cNvPr>
          <p:cNvSpPr txBox="1"/>
          <p:nvPr/>
        </p:nvSpPr>
        <p:spPr>
          <a:xfrm>
            <a:off x="5403502" y="3654921"/>
            <a:ext cx="1384995" cy="553998"/>
          </a:xfrm>
          <a:prstGeom prst="rect">
            <a:avLst/>
          </a:prstGeom>
          <a:noFill/>
        </p:spPr>
        <p:txBody>
          <a:bodyPr wrap="none" lIns="0" tIns="0" rIns="0" bIns="0" rtlCol="0" anchor="t">
            <a:spAutoFit/>
          </a:bodyPr>
          <a:lstStyle/>
          <a:p>
            <a:pPr algn="l"/>
            <a:r>
              <a:rPr lang="zh-CN" altLang="en-US" sz="3600" dirty="0">
                <a:solidFill>
                  <a:schemeClr val="bg1"/>
                </a:solidFill>
              </a:rPr>
              <a:t>关键词</a:t>
            </a:r>
          </a:p>
        </p:txBody>
      </p:sp>
      <p:sp>
        <p:nvSpPr>
          <p:cNvPr id="35" name="文本框 34">
            <a:extLst>
              <a:ext uri="{FF2B5EF4-FFF2-40B4-BE49-F238E27FC236}">
                <a16:creationId xmlns:a16="http://schemas.microsoft.com/office/drawing/2014/main" id="{15694853-33F3-4705-B547-A3A386D4022A}"/>
              </a:ext>
            </a:extLst>
          </p:cNvPr>
          <p:cNvSpPr txBox="1"/>
          <p:nvPr/>
        </p:nvSpPr>
        <p:spPr>
          <a:xfrm>
            <a:off x="1982259" y="2074054"/>
            <a:ext cx="1154162" cy="276999"/>
          </a:xfrm>
          <a:prstGeom prst="rect">
            <a:avLst/>
          </a:prstGeom>
          <a:noFill/>
        </p:spPr>
        <p:txBody>
          <a:bodyPr wrap="none" lIns="0" tIns="0" rIns="0" bIns="0" rtlCol="0" anchor="t">
            <a:spAutoFit/>
          </a:bodyPr>
          <a:lstStyle/>
          <a:p>
            <a:pPr algn="ctr"/>
            <a:r>
              <a:rPr lang="zh-CN" altLang="en-US" dirty="0">
                <a:solidFill>
                  <a:schemeClr val="accent1"/>
                </a:solidFill>
                <a:latin typeface="+mj-ea"/>
                <a:ea typeface="+mj-ea"/>
              </a:rPr>
              <a:t>关键词标题</a:t>
            </a:r>
          </a:p>
        </p:txBody>
      </p:sp>
      <p:sp>
        <p:nvSpPr>
          <p:cNvPr id="36" name="文本框 35">
            <a:extLst>
              <a:ext uri="{FF2B5EF4-FFF2-40B4-BE49-F238E27FC236}">
                <a16:creationId xmlns:a16="http://schemas.microsoft.com/office/drawing/2014/main" id="{41BA13D7-A569-4808-A417-C2BAEE21B834}"/>
              </a:ext>
            </a:extLst>
          </p:cNvPr>
          <p:cNvSpPr txBox="1"/>
          <p:nvPr/>
        </p:nvSpPr>
        <p:spPr>
          <a:xfrm>
            <a:off x="1326619" y="2351053"/>
            <a:ext cx="2465443" cy="387286"/>
          </a:xfrm>
          <a:prstGeom prst="rect">
            <a:avLst/>
          </a:prstGeom>
          <a:noFill/>
        </p:spPr>
        <p:txBody>
          <a:bodyPr wrap="square" lIns="0" tIns="0" rIns="0" bIns="0" rtlCol="0" anchor="t">
            <a:spAutoFit/>
          </a:bodyPr>
          <a:lstStyle/>
          <a:p>
            <a:pPr algn="ctr">
              <a:lnSpc>
                <a:spcPct val="130000"/>
              </a:lnSpc>
            </a:pPr>
            <a:r>
              <a:rPr lang="en-US" altLang="zh-CN" sz="1000" b="0" dirty="0">
                <a:solidFill>
                  <a:schemeClr val="tx1">
                    <a:lumMod val="75000"/>
                    <a:lumOff val="25000"/>
                  </a:schemeClr>
                </a:solidFill>
                <a:effectLst/>
                <a:latin typeface="+mn-ea"/>
              </a:rPr>
              <a:t>Lorem ipsum dolor sit amet, consectetur adipisicing elit, sed do eiusmod tempor</a:t>
            </a:r>
            <a:endParaRPr lang="zh-CN" altLang="en-US" sz="1000" b="0" dirty="0">
              <a:solidFill>
                <a:schemeClr val="tx1">
                  <a:lumMod val="75000"/>
                  <a:lumOff val="25000"/>
                </a:schemeClr>
              </a:solidFill>
              <a:effectLst/>
              <a:latin typeface="+mn-ea"/>
            </a:endParaRPr>
          </a:p>
        </p:txBody>
      </p:sp>
      <p:sp>
        <p:nvSpPr>
          <p:cNvPr id="37" name="文本框 36">
            <a:extLst>
              <a:ext uri="{FF2B5EF4-FFF2-40B4-BE49-F238E27FC236}">
                <a16:creationId xmlns:a16="http://schemas.microsoft.com/office/drawing/2014/main" id="{7999F342-D213-437B-9F8E-276FEA008853}"/>
              </a:ext>
            </a:extLst>
          </p:cNvPr>
          <p:cNvSpPr txBox="1"/>
          <p:nvPr/>
        </p:nvSpPr>
        <p:spPr>
          <a:xfrm>
            <a:off x="5444048" y="1417000"/>
            <a:ext cx="1154162" cy="276999"/>
          </a:xfrm>
          <a:prstGeom prst="rect">
            <a:avLst/>
          </a:prstGeom>
          <a:noFill/>
        </p:spPr>
        <p:txBody>
          <a:bodyPr wrap="none" lIns="0" tIns="0" rIns="0" bIns="0" rtlCol="0" anchor="t">
            <a:spAutoFit/>
          </a:bodyPr>
          <a:lstStyle/>
          <a:p>
            <a:pPr algn="ctr"/>
            <a:r>
              <a:rPr lang="zh-CN" altLang="en-US" dirty="0">
                <a:solidFill>
                  <a:schemeClr val="accent1"/>
                </a:solidFill>
                <a:latin typeface="+mj-ea"/>
                <a:ea typeface="+mj-ea"/>
              </a:rPr>
              <a:t>关键词标题</a:t>
            </a:r>
          </a:p>
        </p:txBody>
      </p:sp>
      <p:sp>
        <p:nvSpPr>
          <p:cNvPr id="38" name="文本框 37">
            <a:extLst>
              <a:ext uri="{FF2B5EF4-FFF2-40B4-BE49-F238E27FC236}">
                <a16:creationId xmlns:a16="http://schemas.microsoft.com/office/drawing/2014/main" id="{F1472A30-9AA2-452E-81EE-1F3330FBB647}"/>
              </a:ext>
            </a:extLst>
          </p:cNvPr>
          <p:cNvSpPr txBox="1"/>
          <p:nvPr/>
        </p:nvSpPr>
        <p:spPr>
          <a:xfrm>
            <a:off x="4788408" y="1693999"/>
            <a:ext cx="2465443" cy="387286"/>
          </a:xfrm>
          <a:prstGeom prst="rect">
            <a:avLst/>
          </a:prstGeom>
          <a:noFill/>
        </p:spPr>
        <p:txBody>
          <a:bodyPr wrap="square" lIns="0" tIns="0" rIns="0" bIns="0" rtlCol="0" anchor="t">
            <a:spAutoFit/>
          </a:bodyPr>
          <a:lstStyle/>
          <a:p>
            <a:pPr algn="ctr">
              <a:lnSpc>
                <a:spcPct val="130000"/>
              </a:lnSpc>
            </a:pPr>
            <a:r>
              <a:rPr lang="en-US" altLang="zh-CN" sz="1000" b="0" dirty="0">
                <a:solidFill>
                  <a:schemeClr val="tx1">
                    <a:lumMod val="75000"/>
                    <a:lumOff val="25000"/>
                  </a:schemeClr>
                </a:solidFill>
                <a:effectLst/>
                <a:latin typeface="+mn-ea"/>
              </a:rPr>
              <a:t>Lorem ipsum dolor sit amet, consectetur adipisicing elit, sed do eiusmod tempor</a:t>
            </a:r>
            <a:endParaRPr lang="zh-CN" altLang="en-US" sz="1000" b="0" dirty="0">
              <a:solidFill>
                <a:schemeClr val="tx1">
                  <a:lumMod val="75000"/>
                  <a:lumOff val="25000"/>
                </a:schemeClr>
              </a:solidFill>
              <a:effectLst/>
              <a:latin typeface="+mn-ea"/>
            </a:endParaRPr>
          </a:p>
        </p:txBody>
      </p:sp>
      <p:sp>
        <p:nvSpPr>
          <p:cNvPr id="39" name="文本框 38">
            <a:extLst>
              <a:ext uri="{FF2B5EF4-FFF2-40B4-BE49-F238E27FC236}">
                <a16:creationId xmlns:a16="http://schemas.microsoft.com/office/drawing/2014/main" id="{D33A4766-953E-476A-AD14-21B8230F0E2A}"/>
              </a:ext>
            </a:extLst>
          </p:cNvPr>
          <p:cNvSpPr txBox="1"/>
          <p:nvPr/>
        </p:nvSpPr>
        <p:spPr>
          <a:xfrm>
            <a:off x="8995707" y="2074054"/>
            <a:ext cx="1154162" cy="276999"/>
          </a:xfrm>
          <a:prstGeom prst="rect">
            <a:avLst/>
          </a:prstGeom>
          <a:noFill/>
        </p:spPr>
        <p:txBody>
          <a:bodyPr wrap="none" lIns="0" tIns="0" rIns="0" bIns="0" rtlCol="0" anchor="t">
            <a:spAutoFit/>
          </a:bodyPr>
          <a:lstStyle/>
          <a:p>
            <a:pPr algn="ctr"/>
            <a:r>
              <a:rPr lang="zh-CN" altLang="en-US" dirty="0">
                <a:solidFill>
                  <a:schemeClr val="accent1"/>
                </a:solidFill>
                <a:latin typeface="+mj-ea"/>
                <a:ea typeface="+mj-ea"/>
              </a:rPr>
              <a:t>关键词标题</a:t>
            </a:r>
          </a:p>
        </p:txBody>
      </p:sp>
      <p:sp>
        <p:nvSpPr>
          <p:cNvPr id="40" name="文本框 39">
            <a:extLst>
              <a:ext uri="{FF2B5EF4-FFF2-40B4-BE49-F238E27FC236}">
                <a16:creationId xmlns:a16="http://schemas.microsoft.com/office/drawing/2014/main" id="{B9063865-A2AD-4AA9-A4CF-62C97B5B4419}"/>
              </a:ext>
            </a:extLst>
          </p:cNvPr>
          <p:cNvSpPr txBox="1"/>
          <p:nvPr/>
        </p:nvSpPr>
        <p:spPr>
          <a:xfrm>
            <a:off x="8340067" y="2351053"/>
            <a:ext cx="2465443" cy="387286"/>
          </a:xfrm>
          <a:prstGeom prst="rect">
            <a:avLst/>
          </a:prstGeom>
          <a:noFill/>
        </p:spPr>
        <p:txBody>
          <a:bodyPr wrap="square" lIns="0" tIns="0" rIns="0" bIns="0" rtlCol="0" anchor="t">
            <a:spAutoFit/>
          </a:bodyPr>
          <a:lstStyle/>
          <a:p>
            <a:pPr algn="ctr">
              <a:lnSpc>
                <a:spcPct val="130000"/>
              </a:lnSpc>
            </a:pPr>
            <a:r>
              <a:rPr lang="en-US" altLang="zh-CN" sz="1000" b="0" dirty="0">
                <a:solidFill>
                  <a:schemeClr val="tx1">
                    <a:lumMod val="75000"/>
                    <a:lumOff val="25000"/>
                  </a:schemeClr>
                </a:solidFill>
                <a:effectLst/>
                <a:latin typeface="+mn-ea"/>
              </a:rPr>
              <a:t>Lorem ipsum dolor sit amet, consectetur adipisicing elit, sed do eiusmod tempor</a:t>
            </a:r>
            <a:endParaRPr lang="zh-CN" altLang="en-US" sz="1000" b="0" dirty="0">
              <a:solidFill>
                <a:schemeClr val="tx1">
                  <a:lumMod val="75000"/>
                  <a:lumOff val="25000"/>
                </a:schemeClr>
              </a:solidFill>
              <a:effectLst/>
              <a:latin typeface="+mn-ea"/>
            </a:endParaRPr>
          </a:p>
        </p:txBody>
      </p:sp>
      <p:sp>
        <p:nvSpPr>
          <p:cNvPr id="41" name="文本框 40">
            <a:extLst>
              <a:ext uri="{FF2B5EF4-FFF2-40B4-BE49-F238E27FC236}">
                <a16:creationId xmlns:a16="http://schemas.microsoft.com/office/drawing/2014/main" id="{C0A637BA-367D-48FC-96A4-DEF5BFE78C81}"/>
              </a:ext>
            </a:extLst>
          </p:cNvPr>
          <p:cNvSpPr txBox="1"/>
          <p:nvPr/>
        </p:nvSpPr>
        <p:spPr>
          <a:xfrm>
            <a:off x="2018835" y="5164726"/>
            <a:ext cx="1154162" cy="276999"/>
          </a:xfrm>
          <a:prstGeom prst="rect">
            <a:avLst/>
          </a:prstGeom>
          <a:noFill/>
        </p:spPr>
        <p:txBody>
          <a:bodyPr wrap="none" lIns="0" tIns="0" rIns="0" bIns="0" rtlCol="0" anchor="t">
            <a:spAutoFit/>
          </a:bodyPr>
          <a:lstStyle/>
          <a:p>
            <a:pPr algn="ctr"/>
            <a:r>
              <a:rPr lang="zh-CN" altLang="en-US" dirty="0">
                <a:solidFill>
                  <a:schemeClr val="accent1"/>
                </a:solidFill>
                <a:latin typeface="+mj-ea"/>
                <a:ea typeface="+mj-ea"/>
              </a:rPr>
              <a:t>关键词标题</a:t>
            </a:r>
          </a:p>
        </p:txBody>
      </p:sp>
      <p:sp>
        <p:nvSpPr>
          <p:cNvPr id="44" name="文本框 43">
            <a:extLst>
              <a:ext uri="{FF2B5EF4-FFF2-40B4-BE49-F238E27FC236}">
                <a16:creationId xmlns:a16="http://schemas.microsoft.com/office/drawing/2014/main" id="{213BD28E-FB74-4619-B8AA-078A6C67A05C}"/>
              </a:ext>
            </a:extLst>
          </p:cNvPr>
          <p:cNvSpPr txBox="1"/>
          <p:nvPr/>
        </p:nvSpPr>
        <p:spPr>
          <a:xfrm>
            <a:off x="1363195" y="5441725"/>
            <a:ext cx="2465443" cy="387286"/>
          </a:xfrm>
          <a:prstGeom prst="rect">
            <a:avLst/>
          </a:prstGeom>
          <a:noFill/>
        </p:spPr>
        <p:txBody>
          <a:bodyPr wrap="square" lIns="0" tIns="0" rIns="0" bIns="0" rtlCol="0" anchor="t">
            <a:spAutoFit/>
          </a:bodyPr>
          <a:lstStyle/>
          <a:p>
            <a:pPr algn="ctr">
              <a:lnSpc>
                <a:spcPct val="130000"/>
              </a:lnSpc>
            </a:pPr>
            <a:r>
              <a:rPr lang="en-US" altLang="zh-CN" sz="1000" b="0" dirty="0">
                <a:solidFill>
                  <a:schemeClr val="tx1">
                    <a:lumMod val="75000"/>
                    <a:lumOff val="25000"/>
                  </a:schemeClr>
                </a:solidFill>
                <a:effectLst/>
                <a:latin typeface="+mn-ea"/>
              </a:rPr>
              <a:t>Lorem ipsum dolor sit amet, consectetur adipisicing elit, sed do eiusmod tempor</a:t>
            </a:r>
            <a:endParaRPr lang="zh-CN" altLang="en-US" sz="1000" b="0" dirty="0">
              <a:solidFill>
                <a:schemeClr val="tx1">
                  <a:lumMod val="75000"/>
                  <a:lumOff val="25000"/>
                </a:schemeClr>
              </a:solidFill>
              <a:effectLst/>
              <a:latin typeface="+mn-ea"/>
            </a:endParaRPr>
          </a:p>
        </p:txBody>
      </p:sp>
      <p:sp>
        <p:nvSpPr>
          <p:cNvPr id="59" name="文本框 58">
            <a:extLst>
              <a:ext uri="{FF2B5EF4-FFF2-40B4-BE49-F238E27FC236}">
                <a16:creationId xmlns:a16="http://schemas.microsoft.com/office/drawing/2014/main" id="{CEECBD3C-24DC-4DC4-81AD-93C8B10947BE}"/>
              </a:ext>
            </a:extLst>
          </p:cNvPr>
          <p:cNvSpPr txBox="1"/>
          <p:nvPr/>
        </p:nvSpPr>
        <p:spPr>
          <a:xfrm>
            <a:off x="5518918" y="5761588"/>
            <a:ext cx="1154162" cy="276999"/>
          </a:xfrm>
          <a:prstGeom prst="rect">
            <a:avLst/>
          </a:prstGeom>
          <a:noFill/>
        </p:spPr>
        <p:txBody>
          <a:bodyPr wrap="none" lIns="0" tIns="0" rIns="0" bIns="0" rtlCol="0" anchor="t">
            <a:spAutoFit/>
          </a:bodyPr>
          <a:lstStyle/>
          <a:p>
            <a:pPr algn="ctr"/>
            <a:r>
              <a:rPr lang="zh-CN" altLang="en-US" dirty="0">
                <a:solidFill>
                  <a:schemeClr val="accent1"/>
                </a:solidFill>
                <a:latin typeface="+mj-ea"/>
                <a:ea typeface="+mj-ea"/>
              </a:rPr>
              <a:t>关键词标题</a:t>
            </a:r>
          </a:p>
        </p:txBody>
      </p:sp>
      <p:sp>
        <p:nvSpPr>
          <p:cNvPr id="60" name="文本框 59">
            <a:extLst>
              <a:ext uri="{FF2B5EF4-FFF2-40B4-BE49-F238E27FC236}">
                <a16:creationId xmlns:a16="http://schemas.microsoft.com/office/drawing/2014/main" id="{4C8F1781-8834-41C0-8A22-22196F1689DD}"/>
              </a:ext>
            </a:extLst>
          </p:cNvPr>
          <p:cNvSpPr txBox="1"/>
          <p:nvPr/>
        </p:nvSpPr>
        <p:spPr>
          <a:xfrm>
            <a:off x="4863278" y="6038587"/>
            <a:ext cx="2465443" cy="387286"/>
          </a:xfrm>
          <a:prstGeom prst="rect">
            <a:avLst/>
          </a:prstGeom>
          <a:noFill/>
        </p:spPr>
        <p:txBody>
          <a:bodyPr wrap="square" lIns="0" tIns="0" rIns="0" bIns="0" rtlCol="0" anchor="t">
            <a:spAutoFit/>
          </a:bodyPr>
          <a:lstStyle/>
          <a:p>
            <a:pPr algn="ctr">
              <a:lnSpc>
                <a:spcPct val="130000"/>
              </a:lnSpc>
            </a:pPr>
            <a:r>
              <a:rPr lang="en-US" altLang="zh-CN" sz="1000" b="0" dirty="0">
                <a:solidFill>
                  <a:schemeClr val="tx1">
                    <a:lumMod val="75000"/>
                    <a:lumOff val="25000"/>
                  </a:schemeClr>
                </a:solidFill>
                <a:effectLst/>
                <a:latin typeface="+mn-ea"/>
              </a:rPr>
              <a:t>Lorem ipsum dolor sit amet, consectetur adipisicing elit, sed do eiusmod tempor</a:t>
            </a:r>
            <a:endParaRPr lang="zh-CN" altLang="en-US" sz="1000" b="0" dirty="0">
              <a:solidFill>
                <a:schemeClr val="tx1">
                  <a:lumMod val="75000"/>
                  <a:lumOff val="25000"/>
                </a:schemeClr>
              </a:solidFill>
              <a:effectLst/>
              <a:latin typeface="+mn-ea"/>
            </a:endParaRPr>
          </a:p>
        </p:txBody>
      </p:sp>
      <p:sp>
        <p:nvSpPr>
          <p:cNvPr id="61" name="文本框 60">
            <a:extLst>
              <a:ext uri="{FF2B5EF4-FFF2-40B4-BE49-F238E27FC236}">
                <a16:creationId xmlns:a16="http://schemas.microsoft.com/office/drawing/2014/main" id="{8B5EE969-AC54-4406-984E-F5B71EE501FA}"/>
              </a:ext>
            </a:extLst>
          </p:cNvPr>
          <p:cNvSpPr txBox="1"/>
          <p:nvPr/>
        </p:nvSpPr>
        <p:spPr>
          <a:xfrm>
            <a:off x="8995707" y="5164726"/>
            <a:ext cx="1154162" cy="276999"/>
          </a:xfrm>
          <a:prstGeom prst="rect">
            <a:avLst/>
          </a:prstGeom>
          <a:noFill/>
        </p:spPr>
        <p:txBody>
          <a:bodyPr wrap="none" lIns="0" tIns="0" rIns="0" bIns="0" rtlCol="0" anchor="t">
            <a:spAutoFit/>
          </a:bodyPr>
          <a:lstStyle/>
          <a:p>
            <a:pPr algn="ctr"/>
            <a:r>
              <a:rPr lang="zh-CN" altLang="en-US" dirty="0">
                <a:solidFill>
                  <a:schemeClr val="accent1"/>
                </a:solidFill>
                <a:latin typeface="+mj-ea"/>
                <a:ea typeface="+mj-ea"/>
              </a:rPr>
              <a:t>关键词标题</a:t>
            </a:r>
          </a:p>
        </p:txBody>
      </p:sp>
      <p:sp>
        <p:nvSpPr>
          <p:cNvPr id="62" name="文本框 61">
            <a:extLst>
              <a:ext uri="{FF2B5EF4-FFF2-40B4-BE49-F238E27FC236}">
                <a16:creationId xmlns:a16="http://schemas.microsoft.com/office/drawing/2014/main" id="{035CF79D-80B9-4FCC-9812-0D73FF772D80}"/>
              </a:ext>
            </a:extLst>
          </p:cNvPr>
          <p:cNvSpPr txBox="1"/>
          <p:nvPr/>
        </p:nvSpPr>
        <p:spPr>
          <a:xfrm>
            <a:off x="8340067" y="5441725"/>
            <a:ext cx="2465443" cy="387286"/>
          </a:xfrm>
          <a:prstGeom prst="rect">
            <a:avLst/>
          </a:prstGeom>
          <a:noFill/>
        </p:spPr>
        <p:txBody>
          <a:bodyPr wrap="square" lIns="0" tIns="0" rIns="0" bIns="0" rtlCol="0" anchor="t">
            <a:spAutoFit/>
          </a:bodyPr>
          <a:lstStyle/>
          <a:p>
            <a:pPr algn="ctr">
              <a:lnSpc>
                <a:spcPct val="130000"/>
              </a:lnSpc>
            </a:pPr>
            <a:r>
              <a:rPr lang="en-US" altLang="zh-CN" sz="1000" b="0" dirty="0">
                <a:solidFill>
                  <a:schemeClr val="tx1">
                    <a:lumMod val="75000"/>
                    <a:lumOff val="25000"/>
                  </a:schemeClr>
                </a:solidFill>
                <a:effectLst/>
                <a:latin typeface="+mn-ea"/>
              </a:rPr>
              <a:t>Lorem ipsum dolor sit amet, consectetur adipisicing elit, sed do eiusmod tempor</a:t>
            </a:r>
            <a:endParaRPr lang="zh-CN" altLang="en-US" sz="1000" b="0" dirty="0">
              <a:solidFill>
                <a:schemeClr val="tx1">
                  <a:lumMod val="75000"/>
                  <a:lumOff val="25000"/>
                </a:schemeClr>
              </a:solidFill>
              <a:effectLst/>
              <a:latin typeface="+mn-ea"/>
            </a:endParaRPr>
          </a:p>
        </p:txBody>
      </p:sp>
    </p:spTree>
    <p:extLst>
      <p:ext uri="{BB962C8B-B14F-4D97-AF65-F5344CB8AC3E}">
        <p14:creationId xmlns:p14="http://schemas.microsoft.com/office/powerpoint/2010/main" val="3729886758"/>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3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任意形状 9">
            <a:extLst>
              <a:ext uri="{FF2B5EF4-FFF2-40B4-BE49-F238E27FC236}">
                <a16:creationId xmlns:a16="http://schemas.microsoft.com/office/drawing/2014/main" id="{79C0392D-8AB4-4C9C-BB47-E593C645F444}"/>
              </a:ext>
            </a:extLst>
          </p:cNvPr>
          <p:cNvSpPr/>
          <p:nvPr/>
        </p:nvSpPr>
        <p:spPr>
          <a:xfrm>
            <a:off x="0" y="6457950"/>
            <a:ext cx="12192000" cy="400050"/>
          </a:xfrm>
          <a:custGeom>
            <a:avLst/>
            <a:gdLst>
              <a:gd name="connsiteX0" fmla="*/ 12192000 w 12192000"/>
              <a:gd name="connsiteY0" fmla="*/ 0 h 329410"/>
              <a:gd name="connsiteX1" fmla="*/ 12192000 w 12192000"/>
              <a:gd name="connsiteY1" fmla="*/ 329410 h 329410"/>
              <a:gd name="connsiteX2" fmla="*/ 0 w 12192000"/>
              <a:gd name="connsiteY2" fmla="*/ 329410 h 329410"/>
              <a:gd name="connsiteX3" fmla="*/ 0 w 12192000"/>
              <a:gd name="connsiteY3" fmla="*/ 29375 h 329410"/>
              <a:gd name="connsiteX4" fmla="*/ 577089 w 12192000"/>
              <a:gd name="connsiteY4" fmla="*/ 49593 h 329410"/>
              <a:gd name="connsiteX5" fmla="*/ 5704114 w 12192000"/>
              <a:gd name="connsiteY5" fmla="*/ 124873 h 329410"/>
              <a:gd name="connsiteX6" fmla="*/ 11982536 w 12192000"/>
              <a:gd name="connsiteY6" fmla="*/ 9255 h 329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329410">
                <a:moveTo>
                  <a:pt x="12192000" y="0"/>
                </a:moveTo>
                <a:lnTo>
                  <a:pt x="12192000" y="329410"/>
                </a:lnTo>
                <a:lnTo>
                  <a:pt x="0" y="329410"/>
                </a:lnTo>
                <a:lnTo>
                  <a:pt x="0" y="29375"/>
                </a:lnTo>
                <a:lnTo>
                  <a:pt x="577089" y="49593"/>
                </a:lnTo>
                <a:cubicBezTo>
                  <a:pt x="2152931" y="98068"/>
                  <a:pt x="3885480" y="124873"/>
                  <a:pt x="5704114" y="124873"/>
                </a:cubicBezTo>
                <a:cubicBezTo>
                  <a:pt x="7977407" y="124873"/>
                  <a:pt x="10116192" y="82990"/>
                  <a:pt x="11982536" y="9255"/>
                </a:cubicBezTo>
                <a:close/>
              </a:path>
            </a:pathLst>
          </a:custGeom>
          <a:solidFill>
            <a:schemeClr val="accent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zh-CN" altLang="en-US"/>
          </a:p>
        </p:txBody>
      </p:sp>
      <p:sp>
        <p:nvSpPr>
          <p:cNvPr id="4" name="矩形 3">
            <a:extLst>
              <a:ext uri="{FF2B5EF4-FFF2-40B4-BE49-F238E27FC236}">
                <a16:creationId xmlns:a16="http://schemas.microsoft.com/office/drawing/2014/main" id="{4FD8F3A2-AB91-4A3D-A898-B7CBE3EEF210}"/>
              </a:ext>
            </a:extLst>
          </p:cNvPr>
          <p:cNvSpPr/>
          <p:nvPr/>
        </p:nvSpPr>
        <p:spPr>
          <a:xfrm>
            <a:off x="347384" y="347384"/>
            <a:ext cx="221735" cy="221735"/>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31" name="梯形 30">
            <a:extLst>
              <a:ext uri="{FF2B5EF4-FFF2-40B4-BE49-F238E27FC236}">
                <a16:creationId xmlns:a16="http://schemas.microsoft.com/office/drawing/2014/main" id="{D35DBD83-E7BA-499F-819A-ECE72C5EDED5}"/>
              </a:ext>
            </a:extLst>
          </p:cNvPr>
          <p:cNvSpPr/>
          <p:nvPr/>
        </p:nvSpPr>
        <p:spPr>
          <a:xfrm>
            <a:off x="1176338" y="3946451"/>
            <a:ext cx="9839325" cy="598910"/>
          </a:xfrm>
          <a:prstGeom prst="trapezoid">
            <a:avLst>
              <a:gd name="adj" fmla="val 183222"/>
            </a:avLst>
          </a:prstGeom>
          <a:gradFill>
            <a:gsLst>
              <a:gs pos="100000">
                <a:schemeClr val="accent1">
                  <a:alpha val="24000"/>
                </a:schemeClr>
              </a:gs>
              <a:gs pos="0">
                <a:schemeClr val="accent1">
                  <a:alpha val="0"/>
                </a:schemeClr>
              </a:gs>
            </a:gsLst>
            <a:lin ang="5400000" scaled="1"/>
          </a:gradFill>
          <a:ln cap="rnd">
            <a:gradFill>
              <a:gsLst>
                <a:gs pos="100000">
                  <a:schemeClr val="accent1"/>
                </a:gs>
                <a:gs pos="1000">
                  <a:schemeClr val="accent1">
                    <a:alpha val="0"/>
                  </a:schemeClr>
                </a:gs>
              </a:gsLst>
              <a:lin ang="5400000" scaled="1"/>
            </a:gra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3" name="椭圆 32">
            <a:extLst>
              <a:ext uri="{FF2B5EF4-FFF2-40B4-BE49-F238E27FC236}">
                <a16:creationId xmlns:a16="http://schemas.microsoft.com/office/drawing/2014/main" id="{9FF16A16-5F37-4732-BA6D-58DDB167C893}"/>
              </a:ext>
            </a:extLst>
          </p:cNvPr>
          <p:cNvSpPr/>
          <p:nvPr/>
        </p:nvSpPr>
        <p:spPr>
          <a:xfrm>
            <a:off x="2781301" y="1243352"/>
            <a:ext cx="3016377" cy="3016378"/>
          </a:xfrm>
          <a:prstGeom prst="ellipse">
            <a:avLst/>
          </a:prstGeom>
          <a:noFill/>
          <a:ln w="38100" cap="flat" cmpd="sng" algn="ctr">
            <a:solidFill>
              <a:schemeClr val="accent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600"/>
          </a:p>
        </p:txBody>
      </p:sp>
      <p:sp>
        <p:nvSpPr>
          <p:cNvPr id="34" name="椭圆 33">
            <a:extLst>
              <a:ext uri="{FF2B5EF4-FFF2-40B4-BE49-F238E27FC236}">
                <a16:creationId xmlns:a16="http://schemas.microsoft.com/office/drawing/2014/main" id="{DAB284CC-5708-496E-8CE0-6B1E00E612DE}"/>
              </a:ext>
            </a:extLst>
          </p:cNvPr>
          <p:cNvSpPr/>
          <p:nvPr/>
        </p:nvSpPr>
        <p:spPr>
          <a:xfrm>
            <a:off x="3659697" y="2121748"/>
            <a:ext cx="1259586" cy="1259586"/>
          </a:xfrm>
          <a:prstGeom prst="ellipse">
            <a:avLst/>
          </a:prstGeom>
          <a:gradFill>
            <a:gsLst>
              <a:gs pos="0">
                <a:schemeClr val="accent1"/>
              </a:gs>
              <a:gs pos="99000">
                <a:schemeClr val="accent1">
                  <a:lumMod val="75000"/>
                </a:schemeClr>
              </a:gs>
            </a:gsLst>
            <a:lin ang="5400000" scaled="1"/>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600"/>
          </a:p>
        </p:txBody>
      </p:sp>
      <p:sp>
        <p:nvSpPr>
          <p:cNvPr id="35" name="椭圆 34">
            <a:extLst>
              <a:ext uri="{FF2B5EF4-FFF2-40B4-BE49-F238E27FC236}">
                <a16:creationId xmlns:a16="http://schemas.microsoft.com/office/drawing/2014/main" id="{B8A0FB30-88B4-4A12-8645-09F6198C169E}"/>
              </a:ext>
            </a:extLst>
          </p:cNvPr>
          <p:cNvSpPr/>
          <p:nvPr/>
        </p:nvSpPr>
        <p:spPr>
          <a:xfrm>
            <a:off x="3850292" y="1243352"/>
            <a:ext cx="878396" cy="878396"/>
          </a:xfrm>
          <a:prstGeom prst="ellipse">
            <a:avLst/>
          </a:prstGeom>
          <a:solidFill>
            <a:schemeClr val="accent1">
              <a:alpha val="20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600"/>
          </a:p>
        </p:txBody>
      </p:sp>
      <p:sp>
        <p:nvSpPr>
          <p:cNvPr id="36" name="椭圆 35">
            <a:extLst>
              <a:ext uri="{FF2B5EF4-FFF2-40B4-BE49-F238E27FC236}">
                <a16:creationId xmlns:a16="http://schemas.microsoft.com/office/drawing/2014/main" id="{2265161A-A9F5-49A3-BAF2-4C62C82FC28D}"/>
              </a:ext>
            </a:extLst>
          </p:cNvPr>
          <p:cNvSpPr/>
          <p:nvPr/>
        </p:nvSpPr>
        <p:spPr>
          <a:xfrm>
            <a:off x="3063051" y="2998116"/>
            <a:ext cx="878396" cy="878396"/>
          </a:xfrm>
          <a:prstGeom prst="ellipse">
            <a:avLst/>
          </a:prstGeom>
          <a:solidFill>
            <a:schemeClr val="accent1">
              <a:alpha val="20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600"/>
          </a:p>
        </p:txBody>
      </p:sp>
      <p:sp>
        <p:nvSpPr>
          <p:cNvPr id="37" name="椭圆 36">
            <a:extLst>
              <a:ext uri="{FF2B5EF4-FFF2-40B4-BE49-F238E27FC236}">
                <a16:creationId xmlns:a16="http://schemas.microsoft.com/office/drawing/2014/main" id="{EBACA906-D6ED-4547-B974-3F7F9905216D}"/>
              </a:ext>
            </a:extLst>
          </p:cNvPr>
          <p:cNvSpPr/>
          <p:nvPr/>
        </p:nvSpPr>
        <p:spPr>
          <a:xfrm>
            <a:off x="4637533" y="2998116"/>
            <a:ext cx="878396" cy="878396"/>
          </a:xfrm>
          <a:prstGeom prst="ellipse">
            <a:avLst/>
          </a:prstGeom>
          <a:solidFill>
            <a:schemeClr val="accent1">
              <a:alpha val="20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600"/>
          </a:p>
        </p:txBody>
      </p:sp>
      <p:sp>
        <p:nvSpPr>
          <p:cNvPr id="38" name="文本框 37">
            <a:extLst>
              <a:ext uri="{FF2B5EF4-FFF2-40B4-BE49-F238E27FC236}">
                <a16:creationId xmlns:a16="http://schemas.microsoft.com/office/drawing/2014/main" id="{D15C49DF-9088-4F89-9BB6-07314895C862}"/>
              </a:ext>
            </a:extLst>
          </p:cNvPr>
          <p:cNvSpPr txBox="1"/>
          <p:nvPr/>
        </p:nvSpPr>
        <p:spPr>
          <a:xfrm>
            <a:off x="3943240" y="2644434"/>
            <a:ext cx="692498" cy="276999"/>
          </a:xfrm>
          <a:prstGeom prst="rect">
            <a:avLst/>
          </a:prstGeom>
          <a:noFill/>
        </p:spPr>
        <p:txBody>
          <a:bodyPr wrap="none" lIns="0" tIns="0" rIns="0" bIns="0" rtlCol="0" anchor="t">
            <a:spAutoFit/>
          </a:bodyPr>
          <a:lstStyle/>
          <a:p>
            <a:pPr algn="ctr"/>
            <a:r>
              <a:rPr lang="zh-CN" altLang="en-US" dirty="0">
                <a:solidFill>
                  <a:schemeClr val="bg1"/>
                </a:solidFill>
                <a:latin typeface="+mj-ea"/>
                <a:ea typeface="+mj-ea"/>
              </a:rPr>
              <a:t>关键词</a:t>
            </a:r>
          </a:p>
        </p:txBody>
      </p:sp>
      <p:sp>
        <p:nvSpPr>
          <p:cNvPr id="39" name="文本框 38">
            <a:extLst>
              <a:ext uri="{FF2B5EF4-FFF2-40B4-BE49-F238E27FC236}">
                <a16:creationId xmlns:a16="http://schemas.microsoft.com/office/drawing/2014/main" id="{757B523E-4173-40C3-9F7A-68B4053F846C}"/>
              </a:ext>
            </a:extLst>
          </p:cNvPr>
          <p:cNvSpPr txBox="1"/>
          <p:nvPr/>
        </p:nvSpPr>
        <p:spPr>
          <a:xfrm>
            <a:off x="4021724" y="1546861"/>
            <a:ext cx="535531" cy="214212"/>
          </a:xfrm>
          <a:prstGeom prst="rect">
            <a:avLst/>
          </a:prstGeom>
          <a:noFill/>
        </p:spPr>
        <p:txBody>
          <a:bodyPr wrap="none" lIns="0" tIns="0" rIns="0" bIns="0" rtlCol="0" anchor="t">
            <a:spAutoFit/>
          </a:bodyPr>
          <a:lstStyle/>
          <a:p>
            <a:pPr algn="ctr"/>
            <a:r>
              <a:rPr lang="zh-CN" altLang="en-US" sz="1400" dirty="0">
                <a:solidFill>
                  <a:schemeClr val="accent1"/>
                </a:solidFill>
                <a:latin typeface="+mj-ea"/>
                <a:ea typeface="+mj-ea"/>
              </a:rPr>
              <a:t>关键词</a:t>
            </a:r>
          </a:p>
        </p:txBody>
      </p:sp>
      <p:sp>
        <p:nvSpPr>
          <p:cNvPr id="40" name="文本框 39">
            <a:extLst>
              <a:ext uri="{FF2B5EF4-FFF2-40B4-BE49-F238E27FC236}">
                <a16:creationId xmlns:a16="http://schemas.microsoft.com/office/drawing/2014/main" id="{3D5235B8-8035-4844-AD76-6158209E4467}"/>
              </a:ext>
            </a:extLst>
          </p:cNvPr>
          <p:cNvSpPr txBox="1"/>
          <p:nvPr/>
        </p:nvSpPr>
        <p:spPr>
          <a:xfrm>
            <a:off x="3234482" y="3307604"/>
            <a:ext cx="535531" cy="214212"/>
          </a:xfrm>
          <a:prstGeom prst="rect">
            <a:avLst/>
          </a:prstGeom>
          <a:noFill/>
        </p:spPr>
        <p:txBody>
          <a:bodyPr wrap="none" lIns="0" tIns="0" rIns="0" bIns="0" rtlCol="0" anchor="t">
            <a:spAutoFit/>
          </a:bodyPr>
          <a:lstStyle/>
          <a:p>
            <a:pPr algn="ctr"/>
            <a:r>
              <a:rPr lang="zh-CN" altLang="en-US" sz="1400" dirty="0">
                <a:solidFill>
                  <a:schemeClr val="accent1"/>
                </a:solidFill>
                <a:latin typeface="+mj-ea"/>
                <a:ea typeface="+mj-ea"/>
              </a:rPr>
              <a:t>关键词</a:t>
            </a:r>
          </a:p>
        </p:txBody>
      </p:sp>
      <p:sp>
        <p:nvSpPr>
          <p:cNvPr id="41" name="文本框 40">
            <a:extLst>
              <a:ext uri="{FF2B5EF4-FFF2-40B4-BE49-F238E27FC236}">
                <a16:creationId xmlns:a16="http://schemas.microsoft.com/office/drawing/2014/main" id="{042AA295-E48B-4A1E-8F31-1F6BEE3AF0D6}"/>
              </a:ext>
            </a:extLst>
          </p:cNvPr>
          <p:cNvSpPr txBox="1"/>
          <p:nvPr/>
        </p:nvSpPr>
        <p:spPr>
          <a:xfrm>
            <a:off x="4792392" y="3307604"/>
            <a:ext cx="535531" cy="214212"/>
          </a:xfrm>
          <a:prstGeom prst="rect">
            <a:avLst/>
          </a:prstGeom>
          <a:noFill/>
        </p:spPr>
        <p:txBody>
          <a:bodyPr wrap="none" lIns="0" tIns="0" rIns="0" bIns="0" rtlCol="0" anchor="t">
            <a:spAutoFit/>
          </a:bodyPr>
          <a:lstStyle/>
          <a:p>
            <a:pPr algn="ctr"/>
            <a:r>
              <a:rPr lang="zh-CN" altLang="en-US" sz="1400" dirty="0">
                <a:solidFill>
                  <a:schemeClr val="accent1"/>
                </a:solidFill>
                <a:latin typeface="+mj-ea"/>
                <a:ea typeface="+mj-ea"/>
              </a:rPr>
              <a:t>关键词</a:t>
            </a:r>
          </a:p>
        </p:txBody>
      </p:sp>
      <p:sp>
        <p:nvSpPr>
          <p:cNvPr id="42" name="加号 41">
            <a:extLst>
              <a:ext uri="{FF2B5EF4-FFF2-40B4-BE49-F238E27FC236}">
                <a16:creationId xmlns:a16="http://schemas.microsoft.com/office/drawing/2014/main" id="{11F5FA7B-B42C-44E2-93A5-C9869C099ABE}"/>
              </a:ext>
            </a:extLst>
          </p:cNvPr>
          <p:cNvSpPr/>
          <p:nvPr/>
        </p:nvSpPr>
        <p:spPr>
          <a:xfrm>
            <a:off x="5896661" y="2552201"/>
            <a:ext cx="398680" cy="398680"/>
          </a:xfrm>
          <a:prstGeom prst="mathPlus">
            <a:avLst>
              <a:gd name="adj1" fmla="val 17270"/>
            </a:avLst>
          </a:prstGeom>
          <a:solidFill>
            <a:schemeClr val="accent1"/>
          </a:solidFill>
          <a:ln w="12700" cap="flat" cmpd="sng" algn="ctr">
            <a:noFill/>
            <a:prstDash val="solid"/>
            <a:miter lim="800000"/>
          </a:ln>
          <a:effectLst/>
          <a:extLst>
            <a:ext uri="{91240B29-F687-4F45-9708-019B960494DF}">
              <a14:hiddenLine xmlns:a14="http://schemas.microsoft.com/office/drawing/2010/main" w="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600" dirty="0"/>
          </a:p>
        </p:txBody>
      </p:sp>
      <p:sp>
        <p:nvSpPr>
          <p:cNvPr id="43" name="椭圆 42">
            <a:extLst>
              <a:ext uri="{FF2B5EF4-FFF2-40B4-BE49-F238E27FC236}">
                <a16:creationId xmlns:a16="http://schemas.microsoft.com/office/drawing/2014/main" id="{CC33BF70-67E6-4E0D-AEFF-E5BA80ED6619}"/>
              </a:ext>
            </a:extLst>
          </p:cNvPr>
          <p:cNvSpPr/>
          <p:nvPr/>
        </p:nvSpPr>
        <p:spPr>
          <a:xfrm>
            <a:off x="6394324" y="1243352"/>
            <a:ext cx="3016377" cy="3016378"/>
          </a:xfrm>
          <a:prstGeom prst="ellipse">
            <a:avLst/>
          </a:prstGeom>
          <a:noFill/>
          <a:ln w="38100" cap="flat" cmpd="sng" algn="ctr">
            <a:solidFill>
              <a:schemeClr val="accent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600"/>
          </a:p>
        </p:txBody>
      </p:sp>
      <p:sp>
        <p:nvSpPr>
          <p:cNvPr id="44" name="椭圆 43">
            <a:extLst>
              <a:ext uri="{FF2B5EF4-FFF2-40B4-BE49-F238E27FC236}">
                <a16:creationId xmlns:a16="http://schemas.microsoft.com/office/drawing/2014/main" id="{8E8EE882-FEFD-4B01-A7CC-B326C87A3FA8}"/>
              </a:ext>
            </a:extLst>
          </p:cNvPr>
          <p:cNvSpPr/>
          <p:nvPr/>
        </p:nvSpPr>
        <p:spPr>
          <a:xfrm>
            <a:off x="6618911" y="2586651"/>
            <a:ext cx="1258741" cy="1258742"/>
          </a:xfrm>
          <a:prstGeom prst="ellipse">
            <a:avLst/>
          </a:prstGeom>
          <a:gradFill>
            <a:gsLst>
              <a:gs pos="0">
                <a:schemeClr val="accent1"/>
              </a:gs>
              <a:gs pos="99000">
                <a:schemeClr val="accent1">
                  <a:lumMod val="75000"/>
                </a:schemeClr>
              </a:gs>
            </a:gsLst>
            <a:lin ang="5400000" scaled="1"/>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600"/>
          </a:p>
        </p:txBody>
      </p:sp>
      <p:sp>
        <p:nvSpPr>
          <p:cNvPr id="45" name="椭圆 44">
            <a:extLst>
              <a:ext uri="{FF2B5EF4-FFF2-40B4-BE49-F238E27FC236}">
                <a16:creationId xmlns:a16="http://schemas.microsoft.com/office/drawing/2014/main" id="{A3A5BF2E-4CDD-4C20-B323-AC052FA40E89}"/>
              </a:ext>
            </a:extLst>
          </p:cNvPr>
          <p:cNvSpPr/>
          <p:nvPr/>
        </p:nvSpPr>
        <p:spPr>
          <a:xfrm>
            <a:off x="7413136" y="1359367"/>
            <a:ext cx="1516475" cy="1516476"/>
          </a:xfrm>
          <a:prstGeom prst="ellipse">
            <a:avLst/>
          </a:prstGeom>
          <a:gradFill>
            <a:gsLst>
              <a:gs pos="0">
                <a:schemeClr val="accent1"/>
              </a:gs>
              <a:gs pos="99000">
                <a:schemeClr val="accent1">
                  <a:lumMod val="75000"/>
                </a:schemeClr>
              </a:gs>
            </a:gsLst>
            <a:lin ang="5400000" scaled="1"/>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600"/>
          </a:p>
        </p:txBody>
      </p:sp>
      <p:sp>
        <p:nvSpPr>
          <p:cNvPr id="46" name="椭圆 45">
            <a:extLst>
              <a:ext uri="{FF2B5EF4-FFF2-40B4-BE49-F238E27FC236}">
                <a16:creationId xmlns:a16="http://schemas.microsoft.com/office/drawing/2014/main" id="{1F873763-77E3-44D6-9F44-1EEC65ED1862}"/>
              </a:ext>
            </a:extLst>
          </p:cNvPr>
          <p:cNvSpPr/>
          <p:nvPr/>
        </p:nvSpPr>
        <p:spPr>
          <a:xfrm>
            <a:off x="8089193" y="2858810"/>
            <a:ext cx="1011442" cy="1011442"/>
          </a:xfrm>
          <a:prstGeom prst="ellipse">
            <a:avLst/>
          </a:prstGeom>
          <a:gradFill>
            <a:gsLst>
              <a:gs pos="0">
                <a:schemeClr val="accent1"/>
              </a:gs>
              <a:gs pos="99000">
                <a:schemeClr val="accent1">
                  <a:lumMod val="75000"/>
                </a:schemeClr>
              </a:gs>
            </a:gsLst>
            <a:lin ang="5400000" scaled="1"/>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600"/>
          </a:p>
        </p:txBody>
      </p:sp>
      <p:sp>
        <p:nvSpPr>
          <p:cNvPr id="47" name="文本框 46">
            <a:extLst>
              <a:ext uri="{FF2B5EF4-FFF2-40B4-BE49-F238E27FC236}">
                <a16:creationId xmlns:a16="http://schemas.microsoft.com/office/drawing/2014/main" id="{5D71E494-6D72-4D93-BE7C-3F619DD0FCE7}"/>
              </a:ext>
            </a:extLst>
          </p:cNvPr>
          <p:cNvSpPr txBox="1"/>
          <p:nvPr/>
        </p:nvSpPr>
        <p:spPr>
          <a:xfrm>
            <a:off x="7825124" y="1990568"/>
            <a:ext cx="692498" cy="276999"/>
          </a:xfrm>
          <a:prstGeom prst="rect">
            <a:avLst/>
          </a:prstGeom>
          <a:noFill/>
        </p:spPr>
        <p:txBody>
          <a:bodyPr wrap="none" lIns="0" tIns="0" rIns="0" bIns="0" rtlCol="0" anchor="t">
            <a:spAutoFit/>
          </a:bodyPr>
          <a:lstStyle/>
          <a:p>
            <a:pPr algn="ctr"/>
            <a:r>
              <a:rPr lang="zh-CN" altLang="en-US" dirty="0">
                <a:solidFill>
                  <a:schemeClr val="bg1"/>
                </a:solidFill>
                <a:latin typeface="+mj-ea"/>
                <a:ea typeface="+mj-ea"/>
              </a:rPr>
              <a:t>关键词</a:t>
            </a:r>
          </a:p>
        </p:txBody>
      </p:sp>
      <p:sp>
        <p:nvSpPr>
          <p:cNvPr id="51" name="文本框 50">
            <a:extLst>
              <a:ext uri="{FF2B5EF4-FFF2-40B4-BE49-F238E27FC236}">
                <a16:creationId xmlns:a16="http://schemas.microsoft.com/office/drawing/2014/main" id="{B7D8B19F-69EE-468F-8906-15E40D59D7BD}"/>
              </a:ext>
            </a:extLst>
          </p:cNvPr>
          <p:cNvSpPr txBox="1"/>
          <p:nvPr/>
        </p:nvSpPr>
        <p:spPr>
          <a:xfrm>
            <a:off x="6902032" y="3082138"/>
            <a:ext cx="692498" cy="276999"/>
          </a:xfrm>
          <a:prstGeom prst="rect">
            <a:avLst/>
          </a:prstGeom>
          <a:noFill/>
        </p:spPr>
        <p:txBody>
          <a:bodyPr wrap="none" lIns="0" tIns="0" rIns="0" bIns="0" rtlCol="0" anchor="t">
            <a:spAutoFit/>
          </a:bodyPr>
          <a:lstStyle/>
          <a:p>
            <a:pPr algn="ctr"/>
            <a:r>
              <a:rPr lang="zh-CN" altLang="en-US" dirty="0">
                <a:solidFill>
                  <a:schemeClr val="bg1"/>
                </a:solidFill>
                <a:latin typeface="+mj-ea"/>
                <a:ea typeface="+mj-ea"/>
              </a:rPr>
              <a:t>关键词</a:t>
            </a:r>
          </a:p>
        </p:txBody>
      </p:sp>
      <p:sp>
        <p:nvSpPr>
          <p:cNvPr id="54" name="文本框 53">
            <a:extLst>
              <a:ext uri="{FF2B5EF4-FFF2-40B4-BE49-F238E27FC236}">
                <a16:creationId xmlns:a16="http://schemas.microsoft.com/office/drawing/2014/main" id="{AD8083EE-BA27-4441-A85F-B1EB87F2EE14}"/>
              </a:ext>
            </a:extLst>
          </p:cNvPr>
          <p:cNvSpPr txBox="1"/>
          <p:nvPr/>
        </p:nvSpPr>
        <p:spPr>
          <a:xfrm>
            <a:off x="8248664" y="3216020"/>
            <a:ext cx="692498" cy="276999"/>
          </a:xfrm>
          <a:prstGeom prst="rect">
            <a:avLst/>
          </a:prstGeom>
          <a:noFill/>
        </p:spPr>
        <p:txBody>
          <a:bodyPr wrap="none" lIns="0" tIns="0" rIns="0" bIns="0" rtlCol="0" anchor="t">
            <a:spAutoFit/>
          </a:bodyPr>
          <a:lstStyle/>
          <a:p>
            <a:pPr algn="ctr"/>
            <a:r>
              <a:rPr lang="zh-CN" altLang="en-US" dirty="0">
                <a:solidFill>
                  <a:schemeClr val="bg1"/>
                </a:solidFill>
                <a:latin typeface="+mj-ea"/>
                <a:ea typeface="+mj-ea"/>
              </a:rPr>
              <a:t>关键词</a:t>
            </a:r>
          </a:p>
        </p:txBody>
      </p:sp>
      <p:sp>
        <p:nvSpPr>
          <p:cNvPr id="55" name="梯形 54">
            <a:extLst>
              <a:ext uri="{FF2B5EF4-FFF2-40B4-BE49-F238E27FC236}">
                <a16:creationId xmlns:a16="http://schemas.microsoft.com/office/drawing/2014/main" id="{E04CAE01-B95E-4961-AD41-629B7026CFF1}"/>
              </a:ext>
            </a:extLst>
          </p:cNvPr>
          <p:cNvSpPr/>
          <p:nvPr/>
        </p:nvSpPr>
        <p:spPr>
          <a:xfrm>
            <a:off x="1619252" y="4107061"/>
            <a:ext cx="8953498" cy="598910"/>
          </a:xfrm>
          <a:prstGeom prst="trapezoid">
            <a:avLst>
              <a:gd name="adj" fmla="val 183222"/>
            </a:avLst>
          </a:prstGeom>
          <a:gradFill>
            <a:gsLst>
              <a:gs pos="100000">
                <a:schemeClr val="accent1">
                  <a:alpha val="24000"/>
                </a:schemeClr>
              </a:gs>
              <a:gs pos="0">
                <a:schemeClr val="accent1">
                  <a:alpha val="0"/>
                </a:schemeClr>
              </a:gs>
            </a:gsLst>
            <a:lin ang="5400000" scaled="1"/>
          </a:gradFill>
          <a:ln cap="rnd">
            <a:gradFill>
              <a:gsLst>
                <a:gs pos="100000">
                  <a:schemeClr val="accent1"/>
                </a:gs>
                <a:gs pos="1000">
                  <a:schemeClr val="accent1">
                    <a:alpha val="0"/>
                  </a:schemeClr>
                </a:gs>
              </a:gsLst>
              <a:lin ang="5400000" scaled="1"/>
            </a:gra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6" name="文本框 55">
            <a:extLst>
              <a:ext uri="{FF2B5EF4-FFF2-40B4-BE49-F238E27FC236}">
                <a16:creationId xmlns:a16="http://schemas.microsoft.com/office/drawing/2014/main" id="{2AB2D43F-79DB-4F28-A575-DF1DE48EBBD1}"/>
              </a:ext>
            </a:extLst>
          </p:cNvPr>
          <p:cNvSpPr txBox="1"/>
          <p:nvPr/>
        </p:nvSpPr>
        <p:spPr>
          <a:xfrm>
            <a:off x="5386210" y="4970213"/>
            <a:ext cx="1538883" cy="369332"/>
          </a:xfrm>
          <a:prstGeom prst="rect">
            <a:avLst/>
          </a:prstGeom>
          <a:noFill/>
        </p:spPr>
        <p:txBody>
          <a:bodyPr wrap="none" lIns="0" tIns="0" rIns="0" bIns="0" rtlCol="0" anchor="t">
            <a:spAutoFit/>
          </a:bodyPr>
          <a:lstStyle/>
          <a:p>
            <a:pPr algn="ctr"/>
            <a:r>
              <a:rPr lang="zh-CN" altLang="en-US" sz="2400" dirty="0">
                <a:solidFill>
                  <a:schemeClr val="accent1"/>
                </a:solidFill>
                <a:latin typeface="+mj-ea"/>
                <a:ea typeface="+mj-ea"/>
              </a:rPr>
              <a:t>关键词标题</a:t>
            </a:r>
          </a:p>
        </p:txBody>
      </p:sp>
      <p:sp>
        <p:nvSpPr>
          <p:cNvPr id="57" name="文本框 56">
            <a:extLst>
              <a:ext uri="{FF2B5EF4-FFF2-40B4-BE49-F238E27FC236}">
                <a16:creationId xmlns:a16="http://schemas.microsoft.com/office/drawing/2014/main" id="{A4B6E873-2798-43CC-BAA9-A7CA417698AE}"/>
              </a:ext>
            </a:extLst>
          </p:cNvPr>
          <p:cNvSpPr txBox="1"/>
          <p:nvPr/>
        </p:nvSpPr>
        <p:spPr>
          <a:xfrm>
            <a:off x="3381691" y="5401539"/>
            <a:ext cx="5547920" cy="387286"/>
          </a:xfrm>
          <a:prstGeom prst="rect">
            <a:avLst/>
          </a:prstGeom>
          <a:noFill/>
        </p:spPr>
        <p:txBody>
          <a:bodyPr wrap="square" lIns="0" tIns="0" rIns="0" bIns="0" rtlCol="0" anchor="t">
            <a:spAutoFit/>
          </a:bodyPr>
          <a:lstStyle/>
          <a:p>
            <a:pPr algn="ctr">
              <a:lnSpc>
                <a:spcPct val="130000"/>
              </a:lnSpc>
            </a:pPr>
            <a:r>
              <a:rPr lang="en-US" altLang="zh-CN" sz="1000" b="0" dirty="0">
                <a:solidFill>
                  <a:schemeClr val="tx1">
                    <a:lumMod val="75000"/>
                    <a:lumOff val="25000"/>
                  </a:schemeClr>
                </a:solidFill>
                <a:effectLst/>
                <a:latin typeface="+mn-ea"/>
              </a:rPr>
              <a:t>Lorem ipsum dolor sit amet, consectetur adipisicing elit, sed do eiusmod temporLorem ipsum dolor sit amet, consectetur adipisicing elit, sed do eiusmod tempor</a:t>
            </a:r>
            <a:endParaRPr lang="zh-CN" altLang="en-US" sz="1000" b="0" dirty="0">
              <a:solidFill>
                <a:schemeClr val="tx1">
                  <a:lumMod val="75000"/>
                  <a:lumOff val="25000"/>
                </a:schemeClr>
              </a:solidFill>
              <a:effectLst/>
              <a:latin typeface="+mn-ea"/>
            </a:endParaRPr>
          </a:p>
        </p:txBody>
      </p:sp>
    </p:spTree>
    <p:custDataLst>
      <p:tags r:id="rId2"/>
    </p:custDataLst>
    <p:extLst>
      <p:ext uri="{BB962C8B-B14F-4D97-AF65-F5344CB8AC3E}">
        <p14:creationId xmlns:p14="http://schemas.microsoft.com/office/powerpoint/2010/main" val="3722291023"/>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3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等腰三角形 24">
            <a:extLst>
              <a:ext uri="{FF2B5EF4-FFF2-40B4-BE49-F238E27FC236}">
                <a16:creationId xmlns:a16="http://schemas.microsoft.com/office/drawing/2014/main" id="{32264D61-4C69-42B3-8857-42DE81D62B56}"/>
              </a:ext>
            </a:extLst>
          </p:cNvPr>
          <p:cNvSpPr/>
          <p:nvPr/>
        </p:nvSpPr>
        <p:spPr>
          <a:xfrm rot="16200000" flipH="1">
            <a:off x="5726204" y="1420192"/>
            <a:ext cx="4395258" cy="3789016"/>
          </a:xfrm>
          <a:prstGeom prst="triangle">
            <a:avLst/>
          </a:prstGeom>
          <a:gradFill>
            <a:gsLst>
              <a:gs pos="0">
                <a:schemeClr val="accent1">
                  <a:alpha val="16000"/>
                </a:schemeClr>
              </a:gs>
              <a:gs pos="100000">
                <a:schemeClr val="accent1">
                  <a:alpha val="0"/>
                </a:schemeClr>
              </a:gs>
            </a:gsLst>
            <a:lin ang="5400000" scaled="1"/>
          </a:gradFill>
          <a:ln w="12700">
            <a:gradFill>
              <a:gsLst>
                <a:gs pos="0">
                  <a:schemeClr val="accent1"/>
                </a:gs>
                <a:gs pos="100000">
                  <a:schemeClr val="accent1">
                    <a:alpha val="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zh-CN" altLang="en-US" sz="1600">
              <a:solidFill>
                <a:schemeClr val="bg1"/>
              </a:solidFill>
              <a:latin typeface="+mj-ea"/>
              <a:ea typeface="+mj-ea"/>
            </a:endParaRPr>
          </a:p>
        </p:txBody>
      </p:sp>
      <p:sp>
        <p:nvSpPr>
          <p:cNvPr id="13" name="等腰三角形 12">
            <a:extLst>
              <a:ext uri="{FF2B5EF4-FFF2-40B4-BE49-F238E27FC236}">
                <a16:creationId xmlns:a16="http://schemas.microsoft.com/office/drawing/2014/main" id="{61065536-68F1-4AE0-9E8D-19B03F92D149}"/>
              </a:ext>
            </a:extLst>
          </p:cNvPr>
          <p:cNvSpPr/>
          <p:nvPr/>
        </p:nvSpPr>
        <p:spPr>
          <a:xfrm rot="5400000">
            <a:off x="2070538" y="1420192"/>
            <a:ext cx="4395258" cy="3789016"/>
          </a:xfrm>
          <a:prstGeom prst="triangle">
            <a:avLst/>
          </a:prstGeom>
          <a:gradFill>
            <a:gsLst>
              <a:gs pos="0">
                <a:schemeClr val="accent1">
                  <a:alpha val="16000"/>
                </a:schemeClr>
              </a:gs>
              <a:gs pos="100000">
                <a:schemeClr val="accent1">
                  <a:alpha val="0"/>
                </a:schemeClr>
              </a:gs>
            </a:gsLst>
            <a:lin ang="5400000" scaled="1"/>
          </a:gradFill>
          <a:ln w="12700">
            <a:gradFill>
              <a:gsLst>
                <a:gs pos="0">
                  <a:schemeClr val="accent1"/>
                </a:gs>
                <a:gs pos="100000">
                  <a:schemeClr val="accent1">
                    <a:alpha val="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2" name="任意形状 9">
            <a:extLst>
              <a:ext uri="{FF2B5EF4-FFF2-40B4-BE49-F238E27FC236}">
                <a16:creationId xmlns:a16="http://schemas.microsoft.com/office/drawing/2014/main" id="{79C0392D-8AB4-4C9C-BB47-E593C645F444}"/>
              </a:ext>
            </a:extLst>
          </p:cNvPr>
          <p:cNvSpPr/>
          <p:nvPr/>
        </p:nvSpPr>
        <p:spPr>
          <a:xfrm>
            <a:off x="0" y="6457950"/>
            <a:ext cx="12192000" cy="400050"/>
          </a:xfrm>
          <a:custGeom>
            <a:avLst/>
            <a:gdLst>
              <a:gd name="connsiteX0" fmla="*/ 12192000 w 12192000"/>
              <a:gd name="connsiteY0" fmla="*/ 0 h 329410"/>
              <a:gd name="connsiteX1" fmla="*/ 12192000 w 12192000"/>
              <a:gd name="connsiteY1" fmla="*/ 329410 h 329410"/>
              <a:gd name="connsiteX2" fmla="*/ 0 w 12192000"/>
              <a:gd name="connsiteY2" fmla="*/ 329410 h 329410"/>
              <a:gd name="connsiteX3" fmla="*/ 0 w 12192000"/>
              <a:gd name="connsiteY3" fmla="*/ 29375 h 329410"/>
              <a:gd name="connsiteX4" fmla="*/ 577089 w 12192000"/>
              <a:gd name="connsiteY4" fmla="*/ 49593 h 329410"/>
              <a:gd name="connsiteX5" fmla="*/ 5704114 w 12192000"/>
              <a:gd name="connsiteY5" fmla="*/ 124873 h 329410"/>
              <a:gd name="connsiteX6" fmla="*/ 11982536 w 12192000"/>
              <a:gd name="connsiteY6" fmla="*/ 9255 h 329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329410">
                <a:moveTo>
                  <a:pt x="12192000" y="0"/>
                </a:moveTo>
                <a:lnTo>
                  <a:pt x="12192000" y="329410"/>
                </a:lnTo>
                <a:lnTo>
                  <a:pt x="0" y="329410"/>
                </a:lnTo>
                <a:lnTo>
                  <a:pt x="0" y="29375"/>
                </a:lnTo>
                <a:lnTo>
                  <a:pt x="577089" y="49593"/>
                </a:lnTo>
                <a:cubicBezTo>
                  <a:pt x="2152931" y="98068"/>
                  <a:pt x="3885480" y="124873"/>
                  <a:pt x="5704114" y="124873"/>
                </a:cubicBezTo>
                <a:cubicBezTo>
                  <a:pt x="7977407" y="124873"/>
                  <a:pt x="10116192" y="82990"/>
                  <a:pt x="11982536" y="9255"/>
                </a:cubicBezTo>
                <a:close/>
              </a:path>
            </a:pathLst>
          </a:custGeom>
          <a:solidFill>
            <a:schemeClr val="accent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zh-CN" altLang="en-US"/>
          </a:p>
        </p:txBody>
      </p:sp>
      <p:sp>
        <p:nvSpPr>
          <p:cNvPr id="4" name="矩形 3">
            <a:extLst>
              <a:ext uri="{FF2B5EF4-FFF2-40B4-BE49-F238E27FC236}">
                <a16:creationId xmlns:a16="http://schemas.microsoft.com/office/drawing/2014/main" id="{4FD8F3A2-AB91-4A3D-A898-B7CBE3EEF210}"/>
              </a:ext>
            </a:extLst>
          </p:cNvPr>
          <p:cNvSpPr/>
          <p:nvPr/>
        </p:nvSpPr>
        <p:spPr>
          <a:xfrm>
            <a:off x="347384" y="347384"/>
            <a:ext cx="221735" cy="221735"/>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9" name="椭圆 8">
            <a:extLst>
              <a:ext uri="{FF2B5EF4-FFF2-40B4-BE49-F238E27FC236}">
                <a16:creationId xmlns:a16="http://schemas.microsoft.com/office/drawing/2014/main" id="{08134BD1-08B9-4630-A8C1-642810739AAD}"/>
              </a:ext>
            </a:extLst>
          </p:cNvPr>
          <p:cNvSpPr/>
          <p:nvPr/>
        </p:nvSpPr>
        <p:spPr>
          <a:xfrm>
            <a:off x="4981575" y="2143125"/>
            <a:ext cx="2228850" cy="222885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21" name="user_209046">
            <a:extLst>
              <a:ext uri="{FF2B5EF4-FFF2-40B4-BE49-F238E27FC236}">
                <a16:creationId xmlns:a16="http://schemas.microsoft.com/office/drawing/2014/main" id="{AB1C1076-DC5E-4474-874C-451FF9FBB86D}"/>
              </a:ext>
            </a:extLst>
          </p:cNvPr>
          <p:cNvSpPr/>
          <p:nvPr/>
        </p:nvSpPr>
        <p:spPr>
          <a:xfrm>
            <a:off x="5753099" y="2624025"/>
            <a:ext cx="819152" cy="738676"/>
          </a:xfrm>
          <a:custGeom>
            <a:avLst/>
            <a:gdLst>
              <a:gd name="connsiteX0" fmla="*/ 521432 w 608344"/>
              <a:gd name="connsiteY0" fmla="*/ 370453 h 548582"/>
              <a:gd name="connsiteX1" fmla="*/ 465737 w 608344"/>
              <a:gd name="connsiteY1" fmla="*/ 425787 h 548582"/>
              <a:gd name="connsiteX2" fmla="*/ 442491 w 608344"/>
              <a:gd name="connsiteY2" fmla="*/ 402479 h 548582"/>
              <a:gd name="connsiteX3" fmla="*/ 418201 w 608344"/>
              <a:gd name="connsiteY3" fmla="*/ 426545 h 548582"/>
              <a:gd name="connsiteX4" fmla="*/ 441447 w 608344"/>
              <a:gd name="connsiteY4" fmla="*/ 449948 h 548582"/>
              <a:gd name="connsiteX5" fmla="*/ 465642 w 608344"/>
              <a:gd name="connsiteY5" fmla="*/ 474204 h 548582"/>
              <a:gd name="connsiteX6" fmla="*/ 489932 w 608344"/>
              <a:gd name="connsiteY6" fmla="*/ 450043 h 548582"/>
              <a:gd name="connsiteX7" fmla="*/ 545532 w 608344"/>
              <a:gd name="connsiteY7" fmla="*/ 394709 h 548582"/>
              <a:gd name="connsiteX8" fmla="*/ 481962 w 608344"/>
              <a:gd name="connsiteY8" fmla="*/ 296170 h 548582"/>
              <a:gd name="connsiteX9" fmla="*/ 608344 w 608344"/>
              <a:gd name="connsiteY9" fmla="*/ 422376 h 548582"/>
              <a:gd name="connsiteX10" fmla="*/ 481962 w 608344"/>
              <a:gd name="connsiteY10" fmla="*/ 548582 h 548582"/>
              <a:gd name="connsiteX11" fmla="*/ 355579 w 608344"/>
              <a:gd name="connsiteY11" fmla="*/ 422376 h 548582"/>
              <a:gd name="connsiteX12" fmla="*/ 481962 w 608344"/>
              <a:gd name="connsiteY12" fmla="*/ 296170 h 548582"/>
              <a:gd name="connsiteX13" fmla="*/ 255835 w 608344"/>
              <a:gd name="connsiteY13" fmla="*/ 446 h 548582"/>
              <a:gd name="connsiteX14" fmla="*/ 317801 w 608344"/>
              <a:gd name="connsiteY14" fmla="*/ 13616 h 548582"/>
              <a:gd name="connsiteX15" fmla="*/ 348072 w 608344"/>
              <a:gd name="connsiteY15" fmla="*/ 41661 h 548582"/>
              <a:gd name="connsiteX16" fmla="*/ 381190 w 608344"/>
              <a:gd name="connsiteY16" fmla="*/ 146831 h 548582"/>
              <a:gd name="connsiteX17" fmla="*/ 378913 w 608344"/>
              <a:gd name="connsiteY17" fmla="*/ 156211 h 548582"/>
              <a:gd name="connsiteX18" fmla="*/ 387833 w 608344"/>
              <a:gd name="connsiteY18" fmla="*/ 200458 h 548582"/>
              <a:gd name="connsiteX19" fmla="*/ 366387 w 608344"/>
              <a:gd name="connsiteY19" fmla="*/ 237694 h 548582"/>
              <a:gd name="connsiteX20" fmla="*/ 351393 w 608344"/>
              <a:gd name="connsiteY20" fmla="*/ 278720 h 548582"/>
              <a:gd name="connsiteX21" fmla="*/ 351393 w 608344"/>
              <a:gd name="connsiteY21" fmla="*/ 322873 h 548582"/>
              <a:gd name="connsiteX22" fmla="*/ 317611 w 608344"/>
              <a:gd name="connsiteY22" fmla="*/ 422358 h 548582"/>
              <a:gd name="connsiteX23" fmla="*/ 376635 w 608344"/>
              <a:gd name="connsiteY23" fmla="*/ 548088 h 548582"/>
              <a:gd name="connsiteX24" fmla="*/ 26855 w 608344"/>
              <a:gd name="connsiteY24" fmla="*/ 548088 h 548582"/>
              <a:gd name="connsiteX25" fmla="*/ 0 w 608344"/>
              <a:gd name="connsiteY25" fmla="*/ 521274 h 548582"/>
              <a:gd name="connsiteX26" fmla="*/ 0 w 608344"/>
              <a:gd name="connsiteY26" fmla="*/ 473806 h 548582"/>
              <a:gd name="connsiteX27" fmla="*/ 19453 w 608344"/>
              <a:gd name="connsiteY27" fmla="*/ 432969 h 548582"/>
              <a:gd name="connsiteX28" fmla="*/ 173751 w 608344"/>
              <a:gd name="connsiteY28" fmla="*/ 334242 h 548582"/>
              <a:gd name="connsiteX29" fmla="*/ 176408 w 608344"/>
              <a:gd name="connsiteY29" fmla="*/ 329884 h 548582"/>
              <a:gd name="connsiteX30" fmla="*/ 176408 w 608344"/>
              <a:gd name="connsiteY30" fmla="*/ 278720 h 548582"/>
              <a:gd name="connsiteX31" fmla="*/ 161320 w 608344"/>
              <a:gd name="connsiteY31" fmla="*/ 237694 h 548582"/>
              <a:gd name="connsiteX32" fmla="*/ 139969 w 608344"/>
              <a:gd name="connsiteY32" fmla="*/ 200458 h 548582"/>
              <a:gd name="connsiteX33" fmla="*/ 148320 w 608344"/>
              <a:gd name="connsiteY33" fmla="*/ 156211 h 548582"/>
              <a:gd name="connsiteX34" fmla="*/ 146042 w 608344"/>
              <a:gd name="connsiteY34" fmla="*/ 146736 h 548582"/>
              <a:gd name="connsiteX35" fmla="*/ 145758 w 608344"/>
              <a:gd name="connsiteY35" fmla="*/ 95099 h 548582"/>
              <a:gd name="connsiteX36" fmla="*/ 176029 w 608344"/>
              <a:gd name="connsiteY36" fmla="*/ 42135 h 548582"/>
              <a:gd name="connsiteX37" fmla="*/ 203928 w 608344"/>
              <a:gd name="connsiteY37" fmla="*/ 19017 h 548582"/>
              <a:gd name="connsiteX38" fmla="*/ 231162 w 608344"/>
              <a:gd name="connsiteY38" fmla="*/ 5089 h 548582"/>
              <a:gd name="connsiteX39" fmla="*/ 255835 w 608344"/>
              <a:gd name="connsiteY39" fmla="*/ 446 h 548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608344" h="548582">
                <a:moveTo>
                  <a:pt x="521432" y="370453"/>
                </a:moveTo>
                <a:lnTo>
                  <a:pt x="465737" y="425787"/>
                </a:lnTo>
                <a:lnTo>
                  <a:pt x="442491" y="402479"/>
                </a:lnTo>
                <a:lnTo>
                  <a:pt x="418201" y="426545"/>
                </a:lnTo>
                <a:lnTo>
                  <a:pt x="441447" y="449948"/>
                </a:lnTo>
                <a:lnTo>
                  <a:pt x="465642" y="474204"/>
                </a:lnTo>
                <a:lnTo>
                  <a:pt x="489932" y="450043"/>
                </a:lnTo>
                <a:lnTo>
                  <a:pt x="545532" y="394709"/>
                </a:lnTo>
                <a:close/>
                <a:moveTo>
                  <a:pt x="481962" y="296170"/>
                </a:moveTo>
                <a:cubicBezTo>
                  <a:pt x="551795" y="296170"/>
                  <a:pt x="608344" y="352641"/>
                  <a:pt x="608344" y="422376"/>
                </a:cubicBezTo>
                <a:cubicBezTo>
                  <a:pt x="608344" y="492111"/>
                  <a:pt x="551795" y="548582"/>
                  <a:pt x="481962" y="548582"/>
                </a:cubicBezTo>
                <a:cubicBezTo>
                  <a:pt x="412129" y="548582"/>
                  <a:pt x="355579" y="492111"/>
                  <a:pt x="355579" y="422376"/>
                </a:cubicBezTo>
                <a:cubicBezTo>
                  <a:pt x="355579" y="352641"/>
                  <a:pt x="412129" y="296170"/>
                  <a:pt x="481962" y="296170"/>
                </a:cubicBezTo>
                <a:close/>
                <a:moveTo>
                  <a:pt x="255835" y="446"/>
                </a:moveTo>
                <a:cubicBezTo>
                  <a:pt x="282785" y="-1828"/>
                  <a:pt x="303187" y="4899"/>
                  <a:pt x="317801" y="13616"/>
                </a:cubicBezTo>
                <a:cubicBezTo>
                  <a:pt x="339721" y="25744"/>
                  <a:pt x="348072" y="41661"/>
                  <a:pt x="348072" y="41661"/>
                </a:cubicBezTo>
                <a:cubicBezTo>
                  <a:pt x="348072" y="41661"/>
                  <a:pt x="398176" y="45167"/>
                  <a:pt x="381190" y="146831"/>
                </a:cubicBezTo>
                <a:cubicBezTo>
                  <a:pt x="380621" y="149863"/>
                  <a:pt x="379862" y="153085"/>
                  <a:pt x="378913" y="156211"/>
                </a:cubicBezTo>
                <a:cubicBezTo>
                  <a:pt x="388592" y="156211"/>
                  <a:pt x="398271" y="163507"/>
                  <a:pt x="387833" y="200458"/>
                </a:cubicBezTo>
                <a:cubicBezTo>
                  <a:pt x="379672" y="229262"/>
                  <a:pt x="372080" y="237221"/>
                  <a:pt x="366387" y="237694"/>
                </a:cubicBezTo>
                <a:cubicBezTo>
                  <a:pt x="364394" y="250675"/>
                  <a:pt x="359175" y="265076"/>
                  <a:pt x="351393" y="278720"/>
                </a:cubicBezTo>
                <a:lnTo>
                  <a:pt x="351393" y="322873"/>
                </a:lnTo>
                <a:cubicBezTo>
                  <a:pt x="330232" y="350539"/>
                  <a:pt x="317611" y="385027"/>
                  <a:pt x="317611" y="422358"/>
                </a:cubicBezTo>
                <a:cubicBezTo>
                  <a:pt x="317611" y="472764"/>
                  <a:pt x="340480" y="518053"/>
                  <a:pt x="376635" y="548088"/>
                </a:cubicBezTo>
                <a:lnTo>
                  <a:pt x="26855" y="548088"/>
                </a:lnTo>
                <a:cubicBezTo>
                  <a:pt x="12052" y="548088"/>
                  <a:pt x="0" y="536055"/>
                  <a:pt x="0" y="521274"/>
                </a:cubicBezTo>
                <a:lnTo>
                  <a:pt x="0" y="473806"/>
                </a:lnTo>
                <a:cubicBezTo>
                  <a:pt x="0" y="457983"/>
                  <a:pt x="7212" y="443013"/>
                  <a:pt x="19453" y="432969"/>
                </a:cubicBezTo>
                <a:cubicBezTo>
                  <a:pt x="86638" y="377921"/>
                  <a:pt x="159043" y="341443"/>
                  <a:pt x="173751" y="334242"/>
                </a:cubicBezTo>
                <a:cubicBezTo>
                  <a:pt x="175365" y="333484"/>
                  <a:pt x="176408" y="331779"/>
                  <a:pt x="176408" y="329884"/>
                </a:cubicBezTo>
                <a:lnTo>
                  <a:pt x="176408" y="278720"/>
                </a:lnTo>
                <a:cubicBezTo>
                  <a:pt x="168437" y="265076"/>
                  <a:pt x="163313" y="250675"/>
                  <a:pt x="161320" y="237694"/>
                </a:cubicBezTo>
                <a:cubicBezTo>
                  <a:pt x="155627" y="237221"/>
                  <a:pt x="148035" y="229072"/>
                  <a:pt x="139969" y="200458"/>
                </a:cubicBezTo>
                <a:cubicBezTo>
                  <a:pt x="129531" y="164170"/>
                  <a:pt x="138925" y="156496"/>
                  <a:pt x="148320" y="156211"/>
                </a:cubicBezTo>
                <a:cubicBezTo>
                  <a:pt x="147371" y="153085"/>
                  <a:pt x="146612" y="149863"/>
                  <a:pt x="146042" y="146736"/>
                </a:cubicBezTo>
                <a:cubicBezTo>
                  <a:pt x="142436" y="128450"/>
                  <a:pt x="141487" y="111396"/>
                  <a:pt x="145758" y="95099"/>
                </a:cubicBezTo>
                <a:cubicBezTo>
                  <a:pt x="150787" y="73212"/>
                  <a:pt x="162744" y="55684"/>
                  <a:pt x="176029" y="42135"/>
                </a:cubicBezTo>
                <a:cubicBezTo>
                  <a:pt x="184379" y="33134"/>
                  <a:pt x="193869" y="25459"/>
                  <a:pt x="203928" y="19017"/>
                </a:cubicBezTo>
                <a:cubicBezTo>
                  <a:pt x="212183" y="13332"/>
                  <a:pt x="221293" y="8405"/>
                  <a:pt x="231162" y="5089"/>
                </a:cubicBezTo>
                <a:cubicBezTo>
                  <a:pt x="238849" y="2625"/>
                  <a:pt x="247105" y="825"/>
                  <a:pt x="255835" y="446"/>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文本框 10">
            <a:extLst>
              <a:ext uri="{FF2B5EF4-FFF2-40B4-BE49-F238E27FC236}">
                <a16:creationId xmlns:a16="http://schemas.microsoft.com/office/drawing/2014/main" id="{CED044E8-B5F5-402C-8FCE-D8FF881B6C08}"/>
              </a:ext>
            </a:extLst>
          </p:cNvPr>
          <p:cNvSpPr txBox="1"/>
          <p:nvPr/>
        </p:nvSpPr>
        <p:spPr>
          <a:xfrm>
            <a:off x="5560739" y="3460189"/>
            <a:ext cx="1077219" cy="430887"/>
          </a:xfrm>
          <a:prstGeom prst="rect">
            <a:avLst/>
          </a:prstGeom>
          <a:noFill/>
        </p:spPr>
        <p:txBody>
          <a:bodyPr wrap="square" lIns="0" tIns="0" rIns="0" bIns="0" rtlCol="0" anchor="t">
            <a:spAutoFit/>
          </a:bodyPr>
          <a:lstStyle/>
          <a:p>
            <a:pPr algn="ctr"/>
            <a:r>
              <a:rPr lang="zh-CN" altLang="en-US" sz="2800" dirty="0">
                <a:solidFill>
                  <a:schemeClr val="bg1"/>
                </a:solidFill>
                <a:latin typeface="+mj-ea"/>
                <a:ea typeface="+mj-ea"/>
              </a:rPr>
              <a:t>关键词</a:t>
            </a:r>
          </a:p>
        </p:txBody>
      </p:sp>
      <p:grpSp>
        <p:nvGrpSpPr>
          <p:cNvPr id="32" name="组合 31">
            <a:extLst>
              <a:ext uri="{FF2B5EF4-FFF2-40B4-BE49-F238E27FC236}">
                <a16:creationId xmlns:a16="http://schemas.microsoft.com/office/drawing/2014/main" id="{162DD367-EBAA-4146-9E4E-A0E9DF0296E4}"/>
              </a:ext>
            </a:extLst>
          </p:cNvPr>
          <p:cNvGrpSpPr/>
          <p:nvPr/>
        </p:nvGrpSpPr>
        <p:grpSpPr>
          <a:xfrm>
            <a:off x="1802724" y="2868828"/>
            <a:ext cx="2465443" cy="920290"/>
            <a:chOff x="1902535" y="2223785"/>
            <a:chExt cx="2465443" cy="920290"/>
          </a:xfrm>
        </p:grpSpPr>
        <p:sp>
          <p:nvSpPr>
            <p:cNvPr id="33" name="梯形 32">
              <a:extLst>
                <a:ext uri="{FF2B5EF4-FFF2-40B4-BE49-F238E27FC236}">
                  <a16:creationId xmlns:a16="http://schemas.microsoft.com/office/drawing/2014/main" id="{C670EA65-711B-414E-A7BC-61AF6EBD670B}"/>
                </a:ext>
              </a:extLst>
            </p:cNvPr>
            <p:cNvSpPr/>
            <p:nvPr/>
          </p:nvSpPr>
          <p:spPr>
            <a:xfrm>
              <a:off x="1954157" y="2436312"/>
              <a:ext cx="2362200" cy="190500"/>
            </a:xfrm>
            <a:prstGeom prst="trapezoid">
              <a:avLst>
                <a:gd name="adj" fmla="val 183222"/>
              </a:avLst>
            </a:prstGeom>
            <a:gradFill>
              <a:gsLst>
                <a:gs pos="100000">
                  <a:schemeClr val="accent1">
                    <a:alpha val="42000"/>
                  </a:schemeClr>
                </a:gs>
                <a:gs pos="0">
                  <a:schemeClr val="accent1">
                    <a:alpha val="0"/>
                  </a:schemeClr>
                </a:gs>
              </a:gsLst>
              <a:lin ang="5400000" scaled="1"/>
            </a:gradFill>
            <a:ln cap="rnd">
              <a:gradFill>
                <a:gsLst>
                  <a:gs pos="100000">
                    <a:schemeClr val="accent1"/>
                  </a:gs>
                  <a:gs pos="1000">
                    <a:schemeClr val="accent1">
                      <a:alpha val="0"/>
                    </a:schemeClr>
                  </a:gs>
                </a:gsLst>
                <a:lin ang="5400000" scaled="1"/>
              </a:gra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5" name="文本框 34">
              <a:extLst>
                <a:ext uri="{FF2B5EF4-FFF2-40B4-BE49-F238E27FC236}">
                  <a16:creationId xmlns:a16="http://schemas.microsoft.com/office/drawing/2014/main" id="{D7C69F37-0049-456B-9803-FD1CCB6E7FCD}"/>
                </a:ext>
              </a:extLst>
            </p:cNvPr>
            <p:cNvSpPr txBox="1"/>
            <p:nvPr/>
          </p:nvSpPr>
          <p:spPr>
            <a:xfrm>
              <a:off x="2365816" y="2223785"/>
              <a:ext cx="1538883" cy="369332"/>
            </a:xfrm>
            <a:prstGeom prst="rect">
              <a:avLst/>
            </a:prstGeom>
            <a:noFill/>
          </p:spPr>
          <p:txBody>
            <a:bodyPr wrap="none" lIns="0" tIns="0" rIns="0" bIns="0" rtlCol="0" anchor="t">
              <a:spAutoFit/>
            </a:bodyPr>
            <a:lstStyle/>
            <a:p>
              <a:pPr algn="ctr"/>
              <a:r>
                <a:rPr lang="zh-CN" altLang="en-US" sz="2400" dirty="0">
                  <a:solidFill>
                    <a:schemeClr val="accent1"/>
                  </a:solidFill>
                  <a:latin typeface="+mj-ea"/>
                  <a:ea typeface="+mj-ea"/>
                </a:rPr>
                <a:t>关键词标题</a:t>
              </a:r>
            </a:p>
          </p:txBody>
        </p:sp>
        <p:sp>
          <p:nvSpPr>
            <p:cNvPr id="37" name="文本框 36">
              <a:extLst>
                <a:ext uri="{FF2B5EF4-FFF2-40B4-BE49-F238E27FC236}">
                  <a16:creationId xmlns:a16="http://schemas.microsoft.com/office/drawing/2014/main" id="{01EF2312-FFDD-4FFF-AFE4-98BE4DFCFE6B}"/>
                </a:ext>
              </a:extLst>
            </p:cNvPr>
            <p:cNvSpPr txBox="1"/>
            <p:nvPr/>
          </p:nvSpPr>
          <p:spPr>
            <a:xfrm>
              <a:off x="1902535" y="2756789"/>
              <a:ext cx="2465443" cy="387286"/>
            </a:xfrm>
            <a:prstGeom prst="rect">
              <a:avLst/>
            </a:prstGeom>
            <a:noFill/>
          </p:spPr>
          <p:txBody>
            <a:bodyPr wrap="square" lIns="0" tIns="0" rIns="0" bIns="0" rtlCol="0" anchor="t">
              <a:spAutoFit/>
            </a:bodyPr>
            <a:lstStyle/>
            <a:p>
              <a:pPr algn="ctr">
                <a:lnSpc>
                  <a:spcPct val="130000"/>
                </a:lnSpc>
              </a:pPr>
              <a:r>
                <a:rPr lang="en-US" altLang="zh-CN" sz="1000" b="0" dirty="0">
                  <a:solidFill>
                    <a:schemeClr val="tx1">
                      <a:lumMod val="75000"/>
                      <a:lumOff val="25000"/>
                    </a:schemeClr>
                  </a:solidFill>
                  <a:effectLst/>
                  <a:latin typeface="+mn-ea"/>
                </a:rPr>
                <a:t>Lorem ipsum dolor sit amet, consectetur adipisicing elit, sed do eiusmod tempor</a:t>
              </a:r>
              <a:endParaRPr lang="zh-CN" altLang="en-US" sz="1000" b="0" dirty="0">
                <a:solidFill>
                  <a:schemeClr val="tx1">
                    <a:lumMod val="75000"/>
                    <a:lumOff val="25000"/>
                  </a:schemeClr>
                </a:solidFill>
                <a:effectLst/>
                <a:latin typeface="+mn-ea"/>
              </a:endParaRPr>
            </a:p>
          </p:txBody>
        </p:sp>
      </p:grpSp>
      <p:grpSp>
        <p:nvGrpSpPr>
          <p:cNvPr id="38" name="组合 37">
            <a:extLst>
              <a:ext uri="{FF2B5EF4-FFF2-40B4-BE49-F238E27FC236}">
                <a16:creationId xmlns:a16="http://schemas.microsoft.com/office/drawing/2014/main" id="{9ED5ED1C-446F-463B-A8A1-5D665E7DE759}"/>
              </a:ext>
            </a:extLst>
          </p:cNvPr>
          <p:cNvGrpSpPr/>
          <p:nvPr/>
        </p:nvGrpSpPr>
        <p:grpSpPr>
          <a:xfrm>
            <a:off x="7944814" y="2868828"/>
            <a:ext cx="2465443" cy="920290"/>
            <a:chOff x="1902535" y="2223785"/>
            <a:chExt cx="2465443" cy="920290"/>
          </a:xfrm>
        </p:grpSpPr>
        <p:sp>
          <p:nvSpPr>
            <p:cNvPr id="39" name="梯形 38">
              <a:extLst>
                <a:ext uri="{FF2B5EF4-FFF2-40B4-BE49-F238E27FC236}">
                  <a16:creationId xmlns:a16="http://schemas.microsoft.com/office/drawing/2014/main" id="{F33D8726-BC71-45EA-A67C-17E4F77F948F}"/>
                </a:ext>
              </a:extLst>
            </p:cNvPr>
            <p:cNvSpPr/>
            <p:nvPr/>
          </p:nvSpPr>
          <p:spPr>
            <a:xfrm>
              <a:off x="1954157" y="2436312"/>
              <a:ext cx="2362200" cy="190500"/>
            </a:xfrm>
            <a:prstGeom prst="trapezoid">
              <a:avLst>
                <a:gd name="adj" fmla="val 183222"/>
              </a:avLst>
            </a:prstGeom>
            <a:gradFill>
              <a:gsLst>
                <a:gs pos="100000">
                  <a:schemeClr val="accent1">
                    <a:alpha val="42000"/>
                  </a:schemeClr>
                </a:gs>
                <a:gs pos="0">
                  <a:schemeClr val="accent1">
                    <a:alpha val="0"/>
                  </a:schemeClr>
                </a:gs>
              </a:gsLst>
              <a:lin ang="5400000" scaled="1"/>
            </a:gradFill>
            <a:ln cap="rnd">
              <a:gradFill>
                <a:gsLst>
                  <a:gs pos="100000">
                    <a:schemeClr val="accent1"/>
                  </a:gs>
                  <a:gs pos="1000">
                    <a:schemeClr val="accent1">
                      <a:alpha val="0"/>
                    </a:schemeClr>
                  </a:gs>
                </a:gsLst>
                <a:lin ang="5400000" scaled="1"/>
              </a:gra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2" name="文本框 41">
              <a:extLst>
                <a:ext uri="{FF2B5EF4-FFF2-40B4-BE49-F238E27FC236}">
                  <a16:creationId xmlns:a16="http://schemas.microsoft.com/office/drawing/2014/main" id="{CB965FC9-CBC3-418D-98C2-F795759DECAB}"/>
                </a:ext>
              </a:extLst>
            </p:cNvPr>
            <p:cNvSpPr txBox="1"/>
            <p:nvPr/>
          </p:nvSpPr>
          <p:spPr>
            <a:xfrm>
              <a:off x="2365816" y="2223785"/>
              <a:ext cx="1538883" cy="369332"/>
            </a:xfrm>
            <a:prstGeom prst="rect">
              <a:avLst/>
            </a:prstGeom>
            <a:noFill/>
          </p:spPr>
          <p:txBody>
            <a:bodyPr wrap="none" lIns="0" tIns="0" rIns="0" bIns="0" rtlCol="0" anchor="t">
              <a:spAutoFit/>
            </a:bodyPr>
            <a:lstStyle/>
            <a:p>
              <a:pPr algn="ctr"/>
              <a:r>
                <a:rPr lang="zh-CN" altLang="en-US" sz="2400" dirty="0">
                  <a:solidFill>
                    <a:schemeClr val="accent1"/>
                  </a:solidFill>
                  <a:latin typeface="+mj-ea"/>
                  <a:ea typeface="+mj-ea"/>
                </a:rPr>
                <a:t>关键词标题</a:t>
              </a:r>
            </a:p>
          </p:txBody>
        </p:sp>
        <p:sp>
          <p:nvSpPr>
            <p:cNvPr id="43" name="文本框 42">
              <a:extLst>
                <a:ext uri="{FF2B5EF4-FFF2-40B4-BE49-F238E27FC236}">
                  <a16:creationId xmlns:a16="http://schemas.microsoft.com/office/drawing/2014/main" id="{73FB7186-FB3D-4515-AB1A-82D339137CD2}"/>
                </a:ext>
              </a:extLst>
            </p:cNvPr>
            <p:cNvSpPr txBox="1"/>
            <p:nvPr/>
          </p:nvSpPr>
          <p:spPr>
            <a:xfrm>
              <a:off x="1902535" y="2756789"/>
              <a:ext cx="2465443" cy="387286"/>
            </a:xfrm>
            <a:prstGeom prst="rect">
              <a:avLst/>
            </a:prstGeom>
            <a:noFill/>
          </p:spPr>
          <p:txBody>
            <a:bodyPr wrap="square" lIns="0" tIns="0" rIns="0" bIns="0" rtlCol="0" anchor="t">
              <a:spAutoFit/>
            </a:bodyPr>
            <a:lstStyle/>
            <a:p>
              <a:pPr algn="ctr">
                <a:lnSpc>
                  <a:spcPct val="130000"/>
                </a:lnSpc>
              </a:pPr>
              <a:r>
                <a:rPr lang="en-US" altLang="zh-CN" sz="1000" b="0" dirty="0">
                  <a:solidFill>
                    <a:schemeClr val="tx1">
                      <a:lumMod val="75000"/>
                      <a:lumOff val="25000"/>
                    </a:schemeClr>
                  </a:solidFill>
                  <a:effectLst/>
                  <a:latin typeface="+mn-ea"/>
                </a:rPr>
                <a:t>Lorem ipsum dolor sit amet, consectetur adipisicing elit, sed do eiusmod tempor</a:t>
              </a:r>
              <a:endParaRPr lang="zh-CN" altLang="en-US" sz="1000" b="0" dirty="0">
                <a:solidFill>
                  <a:schemeClr val="tx1">
                    <a:lumMod val="75000"/>
                    <a:lumOff val="25000"/>
                  </a:schemeClr>
                </a:solidFill>
                <a:effectLst/>
                <a:latin typeface="+mn-ea"/>
              </a:endParaRPr>
            </a:p>
          </p:txBody>
        </p:sp>
      </p:grpSp>
      <p:sp>
        <p:nvSpPr>
          <p:cNvPr id="44" name="椭圆 43">
            <a:extLst>
              <a:ext uri="{FF2B5EF4-FFF2-40B4-BE49-F238E27FC236}">
                <a16:creationId xmlns:a16="http://schemas.microsoft.com/office/drawing/2014/main" id="{FFABF7A9-48F9-4E44-A734-7EE1B8112503}"/>
              </a:ext>
            </a:extLst>
          </p:cNvPr>
          <p:cNvSpPr/>
          <p:nvPr/>
        </p:nvSpPr>
        <p:spPr>
          <a:xfrm>
            <a:off x="4722469" y="1866334"/>
            <a:ext cx="2811042" cy="2811042"/>
          </a:xfrm>
          <a:prstGeom prst="ellipse">
            <a:avLst/>
          </a:prstGeom>
          <a:noFill/>
          <a:ln>
            <a:solidFill>
              <a:schemeClr val="accent1"/>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grpSp>
        <p:nvGrpSpPr>
          <p:cNvPr id="45" name="组合 44">
            <a:extLst>
              <a:ext uri="{FF2B5EF4-FFF2-40B4-BE49-F238E27FC236}">
                <a16:creationId xmlns:a16="http://schemas.microsoft.com/office/drawing/2014/main" id="{4A53BDD6-31A8-42B7-ADAA-D4FD183749F6}"/>
              </a:ext>
            </a:extLst>
          </p:cNvPr>
          <p:cNvGrpSpPr/>
          <p:nvPr/>
        </p:nvGrpSpPr>
        <p:grpSpPr>
          <a:xfrm rot="5400000">
            <a:off x="4538445" y="3049442"/>
            <a:ext cx="352390" cy="352390"/>
            <a:chOff x="5852160" y="2613660"/>
            <a:chExt cx="487680" cy="487680"/>
          </a:xfrm>
        </p:grpSpPr>
        <p:sp>
          <p:nvSpPr>
            <p:cNvPr id="46" name="椭圆 45">
              <a:extLst>
                <a:ext uri="{FF2B5EF4-FFF2-40B4-BE49-F238E27FC236}">
                  <a16:creationId xmlns:a16="http://schemas.microsoft.com/office/drawing/2014/main" id="{0A8CF0CA-C295-4A56-A363-E4EB9F8BC30D}"/>
                </a:ext>
              </a:extLst>
            </p:cNvPr>
            <p:cNvSpPr/>
            <p:nvPr/>
          </p:nvSpPr>
          <p:spPr>
            <a:xfrm>
              <a:off x="5852160" y="2613660"/>
              <a:ext cx="487680" cy="487680"/>
            </a:xfrm>
            <a:prstGeom prst="ellipse">
              <a:avLst/>
            </a:prstGeom>
            <a:solidFill>
              <a:schemeClr val="bg1"/>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47" name="箭头: V 形 46">
              <a:extLst>
                <a:ext uri="{FF2B5EF4-FFF2-40B4-BE49-F238E27FC236}">
                  <a16:creationId xmlns:a16="http://schemas.microsoft.com/office/drawing/2014/main" id="{FA8C88D9-2F10-4A90-B0D6-429416823645}"/>
                </a:ext>
              </a:extLst>
            </p:cNvPr>
            <p:cNvSpPr/>
            <p:nvPr/>
          </p:nvSpPr>
          <p:spPr>
            <a:xfrm rot="5400000">
              <a:off x="5974080" y="2735580"/>
              <a:ext cx="243840" cy="243840"/>
            </a:xfrm>
            <a:prstGeom prst="chevr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grpSp>
      <p:grpSp>
        <p:nvGrpSpPr>
          <p:cNvPr id="48" name="组合 47">
            <a:extLst>
              <a:ext uri="{FF2B5EF4-FFF2-40B4-BE49-F238E27FC236}">
                <a16:creationId xmlns:a16="http://schemas.microsoft.com/office/drawing/2014/main" id="{38DDDF92-C985-4EAA-8F52-0CDA22AF86B8}"/>
              </a:ext>
            </a:extLst>
          </p:cNvPr>
          <p:cNvGrpSpPr/>
          <p:nvPr/>
        </p:nvGrpSpPr>
        <p:grpSpPr>
          <a:xfrm rot="16200000" flipH="1">
            <a:off x="7356961" y="3049442"/>
            <a:ext cx="352390" cy="352390"/>
            <a:chOff x="5852160" y="2613660"/>
            <a:chExt cx="487680" cy="487680"/>
          </a:xfrm>
        </p:grpSpPr>
        <p:sp>
          <p:nvSpPr>
            <p:cNvPr id="49" name="椭圆 48">
              <a:extLst>
                <a:ext uri="{FF2B5EF4-FFF2-40B4-BE49-F238E27FC236}">
                  <a16:creationId xmlns:a16="http://schemas.microsoft.com/office/drawing/2014/main" id="{22B50DD9-0FA3-4832-A359-CE7482812999}"/>
                </a:ext>
              </a:extLst>
            </p:cNvPr>
            <p:cNvSpPr/>
            <p:nvPr/>
          </p:nvSpPr>
          <p:spPr>
            <a:xfrm>
              <a:off x="5852160" y="2613660"/>
              <a:ext cx="487680" cy="487680"/>
            </a:xfrm>
            <a:prstGeom prst="ellipse">
              <a:avLst/>
            </a:prstGeom>
            <a:solidFill>
              <a:schemeClr val="bg1"/>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50" name="箭头: V 形 49">
              <a:extLst>
                <a:ext uri="{FF2B5EF4-FFF2-40B4-BE49-F238E27FC236}">
                  <a16:creationId xmlns:a16="http://schemas.microsoft.com/office/drawing/2014/main" id="{AA93010E-DE99-4B27-A45E-EFCB4C14D7F4}"/>
                </a:ext>
              </a:extLst>
            </p:cNvPr>
            <p:cNvSpPr/>
            <p:nvPr/>
          </p:nvSpPr>
          <p:spPr>
            <a:xfrm rot="5400000">
              <a:off x="5974080" y="2735580"/>
              <a:ext cx="243840" cy="243840"/>
            </a:xfrm>
            <a:prstGeom prst="chevr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grpSp>
    </p:spTree>
    <p:custDataLst>
      <p:tags r:id="rId2"/>
    </p:custDataLst>
    <p:extLst>
      <p:ext uri="{BB962C8B-B14F-4D97-AF65-F5344CB8AC3E}">
        <p14:creationId xmlns:p14="http://schemas.microsoft.com/office/powerpoint/2010/main" val="3546947196"/>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3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椭圆 39">
            <a:extLst>
              <a:ext uri="{FF2B5EF4-FFF2-40B4-BE49-F238E27FC236}">
                <a16:creationId xmlns:a16="http://schemas.microsoft.com/office/drawing/2014/main" id="{0924131C-F1F3-4532-93AD-F1AED2B79341}"/>
              </a:ext>
            </a:extLst>
          </p:cNvPr>
          <p:cNvSpPr/>
          <p:nvPr/>
        </p:nvSpPr>
        <p:spPr>
          <a:xfrm>
            <a:off x="4933950" y="1123950"/>
            <a:ext cx="2457450" cy="2457450"/>
          </a:xfrm>
          <a:prstGeom prst="ellipse">
            <a:avLst/>
          </a:prstGeom>
          <a:solidFill>
            <a:schemeClr val="accent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2" name="任意形状 9">
            <a:extLst>
              <a:ext uri="{FF2B5EF4-FFF2-40B4-BE49-F238E27FC236}">
                <a16:creationId xmlns:a16="http://schemas.microsoft.com/office/drawing/2014/main" id="{79C0392D-8AB4-4C9C-BB47-E593C645F444}"/>
              </a:ext>
            </a:extLst>
          </p:cNvPr>
          <p:cNvSpPr/>
          <p:nvPr/>
        </p:nvSpPr>
        <p:spPr>
          <a:xfrm>
            <a:off x="0" y="6457950"/>
            <a:ext cx="12192000" cy="400050"/>
          </a:xfrm>
          <a:custGeom>
            <a:avLst/>
            <a:gdLst>
              <a:gd name="connsiteX0" fmla="*/ 12192000 w 12192000"/>
              <a:gd name="connsiteY0" fmla="*/ 0 h 329410"/>
              <a:gd name="connsiteX1" fmla="*/ 12192000 w 12192000"/>
              <a:gd name="connsiteY1" fmla="*/ 329410 h 329410"/>
              <a:gd name="connsiteX2" fmla="*/ 0 w 12192000"/>
              <a:gd name="connsiteY2" fmla="*/ 329410 h 329410"/>
              <a:gd name="connsiteX3" fmla="*/ 0 w 12192000"/>
              <a:gd name="connsiteY3" fmla="*/ 29375 h 329410"/>
              <a:gd name="connsiteX4" fmla="*/ 577089 w 12192000"/>
              <a:gd name="connsiteY4" fmla="*/ 49593 h 329410"/>
              <a:gd name="connsiteX5" fmla="*/ 5704114 w 12192000"/>
              <a:gd name="connsiteY5" fmla="*/ 124873 h 329410"/>
              <a:gd name="connsiteX6" fmla="*/ 11982536 w 12192000"/>
              <a:gd name="connsiteY6" fmla="*/ 9255 h 329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329410">
                <a:moveTo>
                  <a:pt x="12192000" y="0"/>
                </a:moveTo>
                <a:lnTo>
                  <a:pt x="12192000" y="329410"/>
                </a:lnTo>
                <a:lnTo>
                  <a:pt x="0" y="329410"/>
                </a:lnTo>
                <a:lnTo>
                  <a:pt x="0" y="29375"/>
                </a:lnTo>
                <a:lnTo>
                  <a:pt x="577089" y="49593"/>
                </a:lnTo>
                <a:cubicBezTo>
                  <a:pt x="2152931" y="98068"/>
                  <a:pt x="3885480" y="124873"/>
                  <a:pt x="5704114" y="124873"/>
                </a:cubicBezTo>
                <a:cubicBezTo>
                  <a:pt x="7977407" y="124873"/>
                  <a:pt x="10116192" y="82990"/>
                  <a:pt x="11982536" y="9255"/>
                </a:cubicBezTo>
                <a:close/>
              </a:path>
            </a:pathLst>
          </a:custGeom>
          <a:solidFill>
            <a:schemeClr val="accent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zh-CN" altLang="en-US"/>
          </a:p>
        </p:txBody>
      </p:sp>
      <p:sp>
        <p:nvSpPr>
          <p:cNvPr id="4" name="矩形 3">
            <a:extLst>
              <a:ext uri="{FF2B5EF4-FFF2-40B4-BE49-F238E27FC236}">
                <a16:creationId xmlns:a16="http://schemas.microsoft.com/office/drawing/2014/main" id="{4FD8F3A2-AB91-4A3D-A898-B7CBE3EEF210}"/>
              </a:ext>
            </a:extLst>
          </p:cNvPr>
          <p:cNvSpPr/>
          <p:nvPr/>
        </p:nvSpPr>
        <p:spPr>
          <a:xfrm>
            <a:off x="347384" y="347384"/>
            <a:ext cx="221735" cy="221735"/>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7" name="椭圆 6">
            <a:extLst>
              <a:ext uri="{FF2B5EF4-FFF2-40B4-BE49-F238E27FC236}">
                <a16:creationId xmlns:a16="http://schemas.microsoft.com/office/drawing/2014/main" id="{0E997083-0B17-40A2-863D-E12D22F9CF52}"/>
              </a:ext>
            </a:extLst>
          </p:cNvPr>
          <p:cNvSpPr/>
          <p:nvPr/>
        </p:nvSpPr>
        <p:spPr>
          <a:xfrm>
            <a:off x="5095875" y="1295400"/>
            <a:ext cx="2133600" cy="21336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8" name="圆: 空心 7">
            <a:extLst>
              <a:ext uri="{FF2B5EF4-FFF2-40B4-BE49-F238E27FC236}">
                <a16:creationId xmlns:a16="http://schemas.microsoft.com/office/drawing/2014/main" id="{6827ED38-6610-4D9B-801F-3EF92BF68ADD}"/>
              </a:ext>
            </a:extLst>
          </p:cNvPr>
          <p:cNvSpPr/>
          <p:nvPr/>
        </p:nvSpPr>
        <p:spPr>
          <a:xfrm>
            <a:off x="3819525" y="19050"/>
            <a:ext cx="4686300" cy="4686300"/>
          </a:xfrm>
          <a:prstGeom prst="donut">
            <a:avLst>
              <a:gd name="adj" fmla="val 7914"/>
            </a:avLst>
          </a:prstGeom>
          <a:gradFill>
            <a:gsLst>
              <a:gs pos="31000">
                <a:schemeClr val="bg1">
                  <a:lumMod val="85000"/>
                  <a:alpha val="0"/>
                </a:schemeClr>
              </a:gs>
              <a:gs pos="100000">
                <a:schemeClr val="bg1">
                  <a:lumMod val="85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10" name="椭圆 9">
            <a:extLst>
              <a:ext uri="{FF2B5EF4-FFF2-40B4-BE49-F238E27FC236}">
                <a16:creationId xmlns:a16="http://schemas.microsoft.com/office/drawing/2014/main" id="{003A60C2-61EF-40C5-A28A-A1CC70D13929}"/>
              </a:ext>
            </a:extLst>
          </p:cNvPr>
          <p:cNvSpPr/>
          <p:nvPr/>
        </p:nvSpPr>
        <p:spPr>
          <a:xfrm>
            <a:off x="3574732" y="2362200"/>
            <a:ext cx="914400" cy="9144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31" name="椭圆 30">
            <a:extLst>
              <a:ext uri="{FF2B5EF4-FFF2-40B4-BE49-F238E27FC236}">
                <a16:creationId xmlns:a16="http://schemas.microsoft.com/office/drawing/2014/main" id="{730AC162-0021-4546-9BB1-A59CAC425D63}"/>
              </a:ext>
            </a:extLst>
          </p:cNvPr>
          <p:cNvSpPr/>
          <p:nvPr/>
        </p:nvSpPr>
        <p:spPr>
          <a:xfrm>
            <a:off x="5705475" y="3971925"/>
            <a:ext cx="914400" cy="9144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34" name="椭圆 33">
            <a:extLst>
              <a:ext uri="{FF2B5EF4-FFF2-40B4-BE49-F238E27FC236}">
                <a16:creationId xmlns:a16="http://schemas.microsoft.com/office/drawing/2014/main" id="{D467BEAA-5A77-42AB-9E01-01E4CD855504}"/>
              </a:ext>
            </a:extLst>
          </p:cNvPr>
          <p:cNvSpPr/>
          <p:nvPr/>
        </p:nvSpPr>
        <p:spPr>
          <a:xfrm>
            <a:off x="7836218" y="2362200"/>
            <a:ext cx="914400" cy="9144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36" name="椭圆 35">
            <a:extLst>
              <a:ext uri="{FF2B5EF4-FFF2-40B4-BE49-F238E27FC236}">
                <a16:creationId xmlns:a16="http://schemas.microsoft.com/office/drawing/2014/main" id="{E112A1C8-219B-401F-9767-07ED452DE9B7}"/>
              </a:ext>
            </a:extLst>
          </p:cNvPr>
          <p:cNvSpPr/>
          <p:nvPr/>
        </p:nvSpPr>
        <p:spPr>
          <a:xfrm>
            <a:off x="4733925" y="933450"/>
            <a:ext cx="2857500" cy="2857500"/>
          </a:xfrm>
          <a:prstGeom prst="ellipse">
            <a:avLst/>
          </a:prstGeom>
          <a:noFill/>
          <a:ln w="15875">
            <a:gradFill>
              <a:gsLst>
                <a:gs pos="30000">
                  <a:schemeClr val="accent1">
                    <a:alpha val="0"/>
                  </a:schemeClr>
                </a:gs>
                <a:gs pos="100000">
                  <a:schemeClr val="accent1"/>
                </a:gs>
              </a:gsLst>
              <a:lin ang="5400000" scaled="1"/>
            </a:gra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51" name="user_209046">
            <a:extLst>
              <a:ext uri="{FF2B5EF4-FFF2-40B4-BE49-F238E27FC236}">
                <a16:creationId xmlns:a16="http://schemas.microsoft.com/office/drawing/2014/main" id="{B8490AFB-9D25-4188-AE77-1902329E3BF5}"/>
              </a:ext>
            </a:extLst>
          </p:cNvPr>
          <p:cNvSpPr/>
          <p:nvPr/>
        </p:nvSpPr>
        <p:spPr>
          <a:xfrm>
            <a:off x="8123872" y="2595348"/>
            <a:ext cx="339092" cy="416420"/>
          </a:xfrm>
          <a:custGeom>
            <a:avLst/>
            <a:gdLst>
              <a:gd name="T0" fmla="*/ 4225 w 8450"/>
              <a:gd name="T1" fmla="*/ 0 h 10376"/>
              <a:gd name="T2" fmla="*/ 0 w 8450"/>
              <a:gd name="T3" fmla="*/ 4225 h 10376"/>
              <a:gd name="T4" fmla="*/ 4225 w 8450"/>
              <a:gd name="T5" fmla="*/ 8450 h 10376"/>
              <a:gd name="T6" fmla="*/ 8450 w 8450"/>
              <a:gd name="T7" fmla="*/ 4225 h 10376"/>
              <a:gd name="T8" fmla="*/ 4225 w 8450"/>
              <a:gd name="T9" fmla="*/ 0 h 10376"/>
              <a:gd name="T10" fmla="*/ 4225 w 8450"/>
              <a:gd name="T11" fmla="*/ 6092 h 10376"/>
              <a:gd name="T12" fmla="*/ 2359 w 8450"/>
              <a:gd name="T13" fmla="*/ 4226 h 10376"/>
              <a:gd name="T14" fmla="*/ 4225 w 8450"/>
              <a:gd name="T15" fmla="*/ 2360 h 10376"/>
              <a:gd name="T16" fmla="*/ 6092 w 8450"/>
              <a:gd name="T17" fmla="*/ 4226 h 10376"/>
              <a:gd name="T18" fmla="*/ 4225 w 8450"/>
              <a:gd name="T19" fmla="*/ 6092 h 10376"/>
              <a:gd name="T20" fmla="*/ 6682 w 8450"/>
              <a:gd name="T21" fmla="*/ 8571 h 10376"/>
              <a:gd name="T22" fmla="*/ 6322 w 8450"/>
              <a:gd name="T23" fmla="*/ 8582 h 10376"/>
              <a:gd name="T24" fmla="*/ 4225 w 8450"/>
              <a:gd name="T25" fmla="*/ 9225 h 10376"/>
              <a:gd name="T26" fmla="*/ 2180 w 8450"/>
              <a:gd name="T27" fmla="*/ 8611 h 10376"/>
              <a:gd name="T28" fmla="*/ 1793 w 8450"/>
              <a:gd name="T29" fmla="*/ 8620 h 10376"/>
              <a:gd name="T30" fmla="*/ 1533 w 8450"/>
              <a:gd name="T31" fmla="*/ 8956 h 10376"/>
              <a:gd name="T32" fmla="*/ 1352 w 8450"/>
              <a:gd name="T33" fmla="*/ 9871 h 10376"/>
              <a:gd name="T34" fmla="*/ 1857 w 8450"/>
              <a:gd name="T35" fmla="*/ 10376 h 10376"/>
              <a:gd name="T36" fmla="*/ 6680 w 8450"/>
              <a:gd name="T37" fmla="*/ 10376 h 10376"/>
              <a:gd name="T38" fmla="*/ 7185 w 8450"/>
              <a:gd name="T39" fmla="*/ 9871 h 10376"/>
              <a:gd name="T40" fmla="*/ 7004 w 8450"/>
              <a:gd name="T41" fmla="*/ 8956 h 10376"/>
              <a:gd name="T42" fmla="*/ 6682 w 8450"/>
              <a:gd name="T43" fmla="*/ 8571 h 10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450" h="10376">
                <a:moveTo>
                  <a:pt x="4225" y="0"/>
                </a:moveTo>
                <a:cubicBezTo>
                  <a:pt x="1892" y="0"/>
                  <a:pt x="0" y="1891"/>
                  <a:pt x="0" y="4225"/>
                </a:cubicBezTo>
                <a:cubicBezTo>
                  <a:pt x="0" y="6558"/>
                  <a:pt x="1892" y="8450"/>
                  <a:pt x="4225" y="8450"/>
                </a:cubicBezTo>
                <a:cubicBezTo>
                  <a:pt x="6559" y="8450"/>
                  <a:pt x="8450" y="6558"/>
                  <a:pt x="8450" y="4225"/>
                </a:cubicBezTo>
                <a:cubicBezTo>
                  <a:pt x="8450" y="1892"/>
                  <a:pt x="6559" y="0"/>
                  <a:pt x="4225" y="0"/>
                </a:cubicBezTo>
                <a:close/>
                <a:moveTo>
                  <a:pt x="4225" y="6092"/>
                </a:moveTo>
                <a:cubicBezTo>
                  <a:pt x="3194" y="6092"/>
                  <a:pt x="2359" y="5257"/>
                  <a:pt x="2359" y="4226"/>
                </a:cubicBezTo>
                <a:cubicBezTo>
                  <a:pt x="2359" y="3194"/>
                  <a:pt x="3194" y="2360"/>
                  <a:pt x="4225" y="2360"/>
                </a:cubicBezTo>
                <a:cubicBezTo>
                  <a:pt x="5257" y="2360"/>
                  <a:pt x="6092" y="3195"/>
                  <a:pt x="6092" y="4226"/>
                </a:cubicBezTo>
                <a:cubicBezTo>
                  <a:pt x="6092" y="5257"/>
                  <a:pt x="5257" y="6092"/>
                  <a:pt x="4225" y="6092"/>
                </a:cubicBezTo>
                <a:close/>
                <a:moveTo>
                  <a:pt x="6682" y="8571"/>
                </a:moveTo>
                <a:cubicBezTo>
                  <a:pt x="6570" y="8507"/>
                  <a:pt x="6432" y="8516"/>
                  <a:pt x="6322" y="8582"/>
                </a:cubicBezTo>
                <a:cubicBezTo>
                  <a:pt x="5643" y="8991"/>
                  <a:pt x="5117" y="9225"/>
                  <a:pt x="4225" y="9225"/>
                </a:cubicBezTo>
                <a:cubicBezTo>
                  <a:pt x="3355" y="9225"/>
                  <a:pt x="2843" y="9002"/>
                  <a:pt x="2180" y="8611"/>
                </a:cubicBezTo>
                <a:cubicBezTo>
                  <a:pt x="2060" y="8539"/>
                  <a:pt x="1909" y="8542"/>
                  <a:pt x="1793" y="8620"/>
                </a:cubicBezTo>
                <a:cubicBezTo>
                  <a:pt x="1659" y="8710"/>
                  <a:pt x="1584" y="8811"/>
                  <a:pt x="1533" y="8956"/>
                </a:cubicBezTo>
                <a:lnTo>
                  <a:pt x="1352" y="9871"/>
                </a:lnTo>
                <a:cubicBezTo>
                  <a:pt x="1352" y="10148"/>
                  <a:pt x="1579" y="10376"/>
                  <a:pt x="1857" y="10376"/>
                </a:cubicBezTo>
                <a:lnTo>
                  <a:pt x="6680" y="10376"/>
                </a:lnTo>
                <a:cubicBezTo>
                  <a:pt x="6958" y="10376"/>
                  <a:pt x="7185" y="10148"/>
                  <a:pt x="7185" y="9871"/>
                </a:cubicBezTo>
                <a:lnTo>
                  <a:pt x="7004" y="8956"/>
                </a:lnTo>
                <a:cubicBezTo>
                  <a:pt x="6947" y="8792"/>
                  <a:pt x="6845" y="8663"/>
                  <a:pt x="6682" y="8571"/>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sp>
        <p:nvSpPr>
          <p:cNvPr id="52" name="user_209046">
            <a:extLst>
              <a:ext uri="{FF2B5EF4-FFF2-40B4-BE49-F238E27FC236}">
                <a16:creationId xmlns:a16="http://schemas.microsoft.com/office/drawing/2014/main" id="{0676802E-F104-4FB7-8144-621E65BCDF34}"/>
              </a:ext>
            </a:extLst>
          </p:cNvPr>
          <p:cNvSpPr/>
          <p:nvPr/>
        </p:nvSpPr>
        <p:spPr>
          <a:xfrm>
            <a:off x="5939243" y="4240279"/>
            <a:ext cx="446864" cy="377692"/>
          </a:xfrm>
          <a:custGeom>
            <a:avLst/>
            <a:gdLst>
              <a:gd name="T0" fmla="*/ 4484 w 10375"/>
              <a:gd name="T1" fmla="*/ 6967 h 8769"/>
              <a:gd name="T2" fmla="*/ 4484 w 10375"/>
              <a:gd name="T3" fmla="*/ 8374 h 8769"/>
              <a:gd name="T4" fmla="*/ 5891 w 10375"/>
              <a:gd name="T5" fmla="*/ 8374 h 8769"/>
              <a:gd name="T6" fmla="*/ 5891 w 10375"/>
              <a:gd name="T7" fmla="*/ 6967 h 8769"/>
              <a:gd name="T8" fmla="*/ 4484 w 10375"/>
              <a:gd name="T9" fmla="*/ 6967 h 8769"/>
              <a:gd name="T10" fmla="*/ 1754 w 10375"/>
              <a:gd name="T11" fmla="*/ 5262 h 8769"/>
              <a:gd name="T12" fmla="*/ 2766 w 10375"/>
              <a:gd name="T13" fmla="*/ 6423 h 8769"/>
              <a:gd name="T14" fmla="*/ 7633 w 10375"/>
              <a:gd name="T15" fmla="*/ 6423 h 8769"/>
              <a:gd name="T16" fmla="*/ 8645 w 10375"/>
              <a:gd name="T17" fmla="*/ 5262 h 8769"/>
              <a:gd name="T18" fmla="*/ 1754 w 10375"/>
              <a:gd name="T19" fmla="*/ 5262 h 8769"/>
              <a:gd name="T20" fmla="*/ 0 w 10375"/>
              <a:gd name="T21" fmla="*/ 3261 h 8769"/>
              <a:gd name="T22" fmla="*/ 1038 w 10375"/>
              <a:gd name="T23" fmla="*/ 4447 h 8769"/>
              <a:gd name="T24" fmla="*/ 9338 w 10375"/>
              <a:gd name="T25" fmla="*/ 4447 h 8769"/>
              <a:gd name="T26" fmla="*/ 10375 w 10375"/>
              <a:gd name="T27" fmla="*/ 3261 h 8769"/>
              <a:gd name="T28" fmla="*/ 0 w 10375"/>
              <a:gd name="T29" fmla="*/ 3261 h 8769"/>
              <a:gd name="T30" fmla="*/ 0 w 10375"/>
              <a:gd name="T31" fmla="*/ 3261 h 87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375" h="8769">
                <a:moveTo>
                  <a:pt x="4484" y="6967"/>
                </a:moveTo>
                <a:cubicBezTo>
                  <a:pt x="4089" y="7362"/>
                  <a:pt x="4089" y="7979"/>
                  <a:pt x="4484" y="8374"/>
                </a:cubicBezTo>
                <a:cubicBezTo>
                  <a:pt x="4879" y="8769"/>
                  <a:pt x="5496" y="8769"/>
                  <a:pt x="5891" y="8374"/>
                </a:cubicBezTo>
                <a:cubicBezTo>
                  <a:pt x="6286" y="7979"/>
                  <a:pt x="6286" y="7362"/>
                  <a:pt x="5891" y="6967"/>
                </a:cubicBezTo>
                <a:cubicBezTo>
                  <a:pt x="5471" y="6571"/>
                  <a:pt x="4854" y="6571"/>
                  <a:pt x="4484" y="6967"/>
                </a:cubicBezTo>
                <a:close/>
                <a:moveTo>
                  <a:pt x="1754" y="5262"/>
                </a:moveTo>
                <a:lnTo>
                  <a:pt x="2766" y="6423"/>
                </a:lnTo>
                <a:cubicBezTo>
                  <a:pt x="4100" y="4892"/>
                  <a:pt x="6299" y="4892"/>
                  <a:pt x="7633" y="6423"/>
                </a:cubicBezTo>
                <a:lnTo>
                  <a:pt x="8645" y="5262"/>
                </a:lnTo>
                <a:cubicBezTo>
                  <a:pt x="6719" y="3088"/>
                  <a:pt x="3656" y="3088"/>
                  <a:pt x="1754" y="5262"/>
                </a:cubicBezTo>
                <a:close/>
                <a:moveTo>
                  <a:pt x="0" y="3261"/>
                </a:moveTo>
                <a:lnTo>
                  <a:pt x="1038" y="4447"/>
                </a:lnTo>
                <a:cubicBezTo>
                  <a:pt x="3335" y="1803"/>
                  <a:pt x="7040" y="1803"/>
                  <a:pt x="9338" y="4447"/>
                </a:cubicBezTo>
                <a:lnTo>
                  <a:pt x="10375" y="3261"/>
                </a:lnTo>
                <a:cubicBezTo>
                  <a:pt x="7534" y="0"/>
                  <a:pt x="2865" y="0"/>
                  <a:pt x="0" y="3261"/>
                </a:cubicBezTo>
                <a:close/>
                <a:moveTo>
                  <a:pt x="0" y="3261"/>
                </a:move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sp>
        <p:nvSpPr>
          <p:cNvPr id="53" name="user_209046">
            <a:extLst>
              <a:ext uri="{FF2B5EF4-FFF2-40B4-BE49-F238E27FC236}">
                <a16:creationId xmlns:a16="http://schemas.microsoft.com/office/drawing/2014/main" id="{8505821E-A8B2-4F36-A7E7-D052A18899CA}"/>
              </a:ext>
            </a:extLst>
          </p:cNvPr>
          <p:cNvSpPr/>
          <p:nvPr/>
        </p:nvSpPr>
        <p:spPr>
          <a:xfrm>
            <a:off x="5804164" y="1687267"/>
            <a:ext cx="819152" cy="738676"/>
          </a:xfrm>
          <a:custGeom>
            <a:avLst/>
            <a:gdLst>
              <a:gd name="connsiteX0" fmla="*/ 521432 w 608344"/>
              <a:gd name="connsiteY0" fmla="*/ 370453 h 548582"/>
              <a:gd name="connsiteX1" fmla="*/ 465737 w 608344"/>
              <a:gd name="connsiteY1" fmla="*/ 425787 h 548582"/>
              <a:gd name="connsiteX2" fmla="*/ 442491 w 608344"/>
              <a:gd name="connsiteY2" fmla="*/ 402479 h 548582"/>
              <a:gd name="connsiteX3" fmla="*/ 418201 w 608344"/>
              <a:gd name="connsiteY3" fmla="*/ 426545 h 548582"/>
              <a:gd name="connsiteX4" fmla="*/ 441447 w 608344"/>
              <a:gd name="connsiteY4" fmla="*/ 449948 h 548582"/>
              <a:gd name="connsiteX5" fmla="*/ 465642 w 608344"/>
              <a:gd name="connsiteY5" fmla="*/ 474204 h 548582"/>
              <a:gd name="connsiteX6" fmla="*/ 489932 w 608344"/>
              <a:gd name="connsiteY6" fmla="*/ 450043 h 548582"/>
              <a:gd name="connsiteX7" fmla="*/ 545532 w 608344"/>
              <a:gd name="connsiteY7" fmla="*/ 394709 h 548582"/>
              <a:gd name="connsiteX8" fmla="*/ 481962 w 608344"/>
              <a:gd name="connsiteY8" fmla="*/ 296170 h 548582"/>
              <a:gd name="connsiteX9" fmla="*/ 608344 w 608344"/>
              <a:gd name="connsiteY9" fmla="*/ 422376 h 548582"/>
              <a:gd name="connsiteX10" fmla="*/ 481962 w 608344"/>
              <a:gd name="connsiteY10" fmla="*/ 548582 h 548582"/>
              <a:gd name="connsiteX11" fmla="*/ 355579 w 608344"/>
              <a:gd name="connsiteY11" fmla="*/ 422376 h 548582"/>
              <a:gd name="connsiteX12" fmla="*/ 481962 w 608344"/>
              <a:gd name="connsiteY12" fmla="*/ 296170 h 548582"/>
              <a:gd name="connsiteX13" fmla="*/ 255835 w 608344"/>
              <a:gd name="connsiteY13" fmla="*/ 446 h 548582"/>
              <a:gd name="connsiteX14" fmla="*/ 317801 w 608344"/>
              <a:gd name="connsiteY14" fmla="*/ 13616 h 548582"/>
              <a:gd name="connsiteX15" fmla="*/ 348072 w 608344"/>
              <a:gd name="connsiteY15" fmla="*/ 41661 h 548582"/>
              <a:gd name="connsiteX16" fmla="*/ 381190 w 608344"/>
              <a:gd name="connsiteY16" fmla="*/ 146831 h 548582"/>
              <a:gd name="connsiteX17" fmla="*/ 378913 w 608344"/>
              <a:gd name="connsiteY17" fmla="*/ 156211 h 548582"/>
              <a:gd name="connsiteX18" fmla="*/ 387833 w 608344"/>
              <a:gd name="connsiteY18" fmla="*/ 200458 h 548582"/>
              <a:gd name="connsiteX19" fmla="*/ 366387 w 608344"/>
              <a:gd name="connsiteY19" fmla="*/ 237694 h 548582"/>
              <a:gd name="connsiteX20" fmla="*/ 351393 w 608344"/>
              <a:gd name="connsiteY20" fmla="*/ 278720 h 548582"/>
              <a:gd name="connsiteX21" fmla="*/ 351393 w 608344"/>
              <a:gd name="connsiteY21" fmla="*/ 322873 h 548582"/>
              <a:gd name="connsiteX22" fmla="*/ 317611 w 608344"/>
              <a:gd name="connsiteY22" fmla="*/ 422358 h 548582"/>
              <a:gd name="connsiteX23" fmla="*/ 376635 w 608344"/>
              <a:gd name="connsiteY23" fmla="*/ 548088 h 548582"/>
              <a:gd name="connsiteX24" fmla="*/ 26855 w 608344"/>
              <a:gd name="connsiteY24" fmla="*/ 548088 h 548582"/>
              <a:gd name="connsiteX25" fmla="*/ 0 w 608344"/>
              <a:gd name="connsiteY25" fmla="*/ 521274 h 548582"/>
              <a:gd name="connsiteX26" fmla="*/ 0 w 608344"/>
              <a:gd name="connsiteY26" fmla="*/ 473806 h 548582"/>
              <a:gd name="connsiteX27" fmla="*/ 19453 w 608344"/>
              <a:gd name="connsiteY27" fmla="*/ 432969 h 548582"/>
              <a:gd name="connsiteX28" fmla="*/ 173751 w 608344"/>
              <a:gd name="connsiteY28" fmla="*/ 334242 h 548582"/>
              <a:gd name="connsiteX29" fmla="*/ 176408 w 608344"/>
              <a:gd name="connsiteY29" fmla="*/ 329884 h 548582"/>
              <a:gd name="connsiteX30" fmla="*/ 176408 w 608344"/>
              <a:gd name="connsiteY30" fmla="*/ 278720 h 548582"/>
              <a:gd name="connsiteX31" fmla="*/ 161320 w 608344"/>
              <a:gd name="connsiteY31" fmla="*/ 237694 h 548582"/>
              <a:gd name="connsiteX32" fmla="*/ 139969 w 608344"/>
              <a:gd name="connsiteY32" fmla="*/ 200458 h 548582"/>
              <a:gd name="connsiteX33" fmla="*/ 148320 w 608344"/>
              <a:gd name="connsiteY33" fmla="*/ 156211 h 548582"/>
              <a:gd name="connsiteX34" fmla="*/ 146042 w 608344"/>
              <a:gd name="connsiteY34" fmla="*/ 146736 h 548582"/>
              <a:gd name="connsiteX35" fmla="*/ 145758 w 608344"/>
              <a:gd name="connsiteY35" fmla="*/ 95099 h 548582"/>
              <a:gd name="connsiteX36" fmla="*/ 176029 w 608344"/>
              <a:gd name="connsiteY36" fmla="*/ 42135 h 548582"/>
              <a:gd name="connsiteX37" fmla="*/ 203928 w 608344"/>
              <a:gd name="connsiteY37" fmla="*/ 19017 h 548582"/>
              <a:gd name="connsiteX38" fmla="*/ 231162 w 608344"/>
              <a:gd name="connsiteY38" fmla="*/ 5089 h 548582"/>
              <a:gd name="connsiteX39" fmla="*/ 255835 w 608344"/>
              <a:gd name="connsiteY39" fmla="*/ 446 h 548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608344" h="548582">
                <a:moveTo>
                  <a:pt x="521432" y="370453"/>
                </a:moveTo>
                <a:lnTo>
                  <a:pt x="465737" y="425787"/>
                </a:lnTo>
                <a:lnTo>
                  <a:pt x="442491" y="402479"/>
                </a:lnTo>
                <a:lnTo>
                  <a:pt x="418201" y="426545"/>
                </a:lnTo>
                <a:lnTo>
                  <a:pt x="441447" y="449948"/>
                </a:lnTo>
                <a:lnTo>
                  <a:pt x="465642" y="474204"/>
                </a:lnTo>
                <a:lnTo>
                  <a:pt x="489932" y="450043"/>
                </a:lnTo>
                <a:lnTo>
                  <a:pt x="545532" y="394709"/>
                </a:lnTo>
                <a:close/>
                <a:moveTo>
                  <a:pt x="481962" y="296170"/>
                </a:moveTo>
                <a:cubicBezTo>
                  <a:pt x="551795" y="296170"/>
                  <a:pt x="608344" y="352641"/>
                  <a:pt x="608344" y="422376"/>
                </a:cubicBezTo>
                <a:cubicBezTo>
                  <a:pt x="608344" y="492111"/>
                  <a:pt x="551795" y="548582"/>
                  <a:pt x="481962" y="548582"/>
                </a:cubicBezTo>
                <a:cubicBezTo>
                  <a:pt x="412129" y="548582"/>
                  <a:pt x="355579" y="492111"/>
                  <a:pt x="355579" y="422376"/>
                </a:cubicBezTo>
                <a:cubicBezTo>
                  <a:pt x="355579" y="352641"/>
                  <a:pt x="412129" y="296170"/>
                  <a:pt x="481962" y="296170"/>
                </a:cubicBezTo>
                <a:close/>
                <a:moveTo>
                  <a:pt x="255835" y="446"/>
                </a:moveTo>
                <a:cubicBezTo>
                  <a:pt x="282785" y="-1828"/>
                  <a:pt x="303187" y="4899"/>
                  <a:pt x="317801" y="13616"/>
                </a:cubicBezTo>
                <a:cubicBezTo>
                  <a:pt x="339721" y="25744"/>
                  <a:pt x="348072" y="41661"/>
                  <a:pt x="348072" y="41661"/>
                </a:cubicBezTo>
                <a:cubicBezTo>
                  <a:pt x="348072" y="41661"/>
                  <a:pt x="398176" y="45167"/>
                  <a:pt x="381190" y="146831"/>
                </a:cubicBezTo>
                <a:cubicBezTo>
                  <a:pt x="380621" y="149863"/>
                  <a:pt x="379862" y="153085"/>
                  <a:pt x="378913" y="156211"/>
                </a:cubicBezTo>
                <a:cubicBezTo>
                  <a:pt x="388592" y="156211"/>
                  <a:pt x="398271" y="163507"/>
                  <a:pt x="387833" y="200458"/>
                </a:cubicBezTo>
                <a:cubicBezTo>
                  <a:pt x="379672" y="229262"/>
                  <a:pt x="372080" y="237221"/>
                  <a:pt x="366387" y="237694"/>
                </a:cubicBezTo>
                <a:cubicBezTo>
                  <a:pt x="364394" y="250675"/>
                  <a:pt x="359175" y="265076"/>
                  <a:pt x="351393" y="278720"/>
                </a:cubicBezTo>
                <a:lnTo>
                  <a:pt x="351393" y="322873"/>
                </a:lnTo>
                <a:cubicBezTo>
                  <a:pt x="330232" y="350539"/>
                  <a:pt x="317611" y="385027"/>
                  <a:pt x="317611" y="422358"/>
                </a:cubicBezTo>
                <a:cubicBezTo>
                  <a:pt x="317611" y="472764"/>
                  <a:pt x="340480" y="518053"/>
                  <a:pt x="376635" y="548088"/>
                </a:cubicBezTo>
                <a:lnTo>
                  <a:pt x="26855" y="548088"/>
                </a:lnTo>
                <a:cubicBezTo>
                  <a:pt x="12052" y="548088"/>
                  <a:pt x="0" y="536055"/>
                  <a:pt x="0" y="521274"/>
                </a:cubicBezTo>
                <a:lnTo>
                  <a:pt x="0" y="473806"/>
                </a:lnTo>
                <a:cubicBezTo>
                  <a:pt x="0" y="457983"/>
                  <a:pt x="7212" y="443013"/>
                  <a:pt x="19453" y="432969"/>
                </a:cubicBezTo>
                <a:cubicBezTo>
                  <a:pt x="86638" y="377921"/>
                  <a:pt x="159043" y="341443"/>
                  <a:pt x="173751" y="334242"/>
                </a:cubicBezTo>
                <a:cubicBezTo>
                  <a:pt x="175365" y="333484"/>
                  <a:pt x="176408" y="331779"/>
                  <a:pt x="176408" y="329884"/>
                </a:cubicBezTo>
                <a:lnTo>
                  <a:pt x="176408" y="278720"/>
                </a:lnTo>
                <a:cubicBezTo>
                  <a:pt x="168437" y="265076"/>
                  <a:pt x="163313" y="250675"/>
                  <a:pt x="161320" y="237694"/>
                </a:cubicBezTo>
                <a:cubicBezTo>
                  <a:pt x="155627" y="237221"/>
                  <a:pt x="148035" y="229072"/>
                  <a:pt x="139969" y="200458"/>
                </a:cubicBezTo>
                <a:cubicBezTo>
                  <a:pt x="129531" y="164170"/>
                  <a:pt x="138925" y="156496"/>
                  <a:pt x="148320" y="156211"/>
                </a:cubicBezTo>
                <a:cubicBezTo>
                  <a:pt x="147371" y="153085"/>
                  <a:pt x="146612" y="149863"/>
                  <a:pt x="146042" y="146736"/>
                </a:cubicBezTo>
                <a:cubicBezTo>
                  <a:pt x="142436" y="128450"/>
                  <a:pt x="141487" y="111396"/>
                  <a:pt x="145758" y="95099"/>
                </a:cubicBezTo>
                <a:cubicBezTo>
                  <a:pt x="150787" y="73212"/>
                  <a:pt x="162744" y="55684"/>
                  <a:pt x="176029" y="42135"/>
                </a:cubicBezTo>
                <a:cubicBezTo>
                  <a:pt x="184379" y="33134"/>
                  <a:pt x="193869" y="25459"/>
                  <a:pt x="203928" y="19017"/>
                </a:cubicBezTo>
                <a:cubicBezTo>
                  <a:pt x="212183" y="13332"/>
                  <a:pt x="221293" y="8405"/>
                  <a:pt x="231162" y="5089"/>
                </a:cubicBezTo>
                <a:cubicBezTo>
                  <a:pt x="238849" y="2625"/>
                  <a:pt x="247105" y="825"/>
                  <a:pt x="255835" y="446"/>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4" name="文本框 53">
            <a:extLst>
              <a:ext uri="{FF2B5EF4-FFF2-40B4-BE49-F238E27FC236}">
                <a16:creationId xmlns:a16="http://schemas.microsoft.com/office/drawing/2014/main" id="{618F546B-9039-401D-B528-6DB8F9A53F4D}"/>
              </a:ext>
            </a:extLst>
          </p:cNvPr>
          <p:cNvSpPr txBox="1"/>
          <p:nvPr/>
        </p:nvSpPr>
        <p:spPr>
          <a:xfrm>
            <a:off x="5611804" y="2523431"/>
            <a:ext cx="1077219" cy="430887"/>
          </a:xfrm>
          <a:prstGeom prst="rect">
            <a:avLst/>
          </a:prstGeom>
          <a:noFill/>
        </p:spPr>
        <p:txBody>
          <a:bodyPr wrap="square" lIns="0" tIns="0" rIns="0" bIns="0" rtlCol="0" anchor="t">
            <a:spAutoFit/>
          </a:bodyPr>
          <a:lstStyle/>
          <a:p>
            <a:pPr algn="ctr"/>
            <a:r>
              <a:rPr lang="zh-CN" altLang="en-US" sz="2800" dirty="0">
                <a:solidFill>
                  <a:schemeClr val="bg1"/>
                </a:solidFill>
                <a:latin typeface="+mj-ea"/>
                <a:ea typeface="+mj-ea"/>
              </a:rPr>
              <a:t>关键词</a:t>
            </a:r>
          </a:p>
        </p:txBody>
      </p:sp>
      <p:sp>
        <p:nvSpPr>
          <p:cNvPr id="55" name="user_209046">
            <a:extLst>
              <a:ext uri="{FF2B5EF4-FFF2-40B4-BE49-F238E27FC236}">
                <a16:creationId xmlns:a16="http://schemas.microsoft.com/office/drawing/2014/main" id="{70029CED-83FA-4447-9C51-6D2962F423D3}"/>
              </a:ext>
            </a:extLst>
          </p:cNvPr>
          <p:cNvSpPr/>
          <p:nvPr/>
        </p:nvSpPr>
        <p:spPr>
          <a:xfrm>
            <a:off x="3826374" y="2615304"/>
            <a:ext cx="411116" cy="396464"/>
          </a:xfrm>
          <a:custGeom>
            <a:avLst/>
            <a:gdLst>
              <a:gd name="T0" fmla="*/ 11888 w 12803"/>
              <a:gd name="T1" fmla="*/ 0 h 12345"/>
              <a:gd name="T2" fmla="*/ 914 w 12803"/>
              <a:gd name="T3" fmla="*/ 0 h 12345"/>
              <a:gd name="T4" fmla="*/ 0 w 12803"/>
              <a:gd name="T5" fmla="*/ 914 h 12345"/>
              <a:gd name="T6" fmla="*/ 0 w 12803"/>
              <a:gd name="T7" fmla="*/ 8687 h 12345"/>
              <a:gd name="T8" fmla="*/ 914 w 12803"/>
              <a:gd name="T9" fmla="*/ 9602 h 12345"/>
              <a:gd name="T10" fmla="*/ 3201 w 12803"/>
              <a:gd name="T11" fmla="*/ 9602 h 12345"/>
              <a:gd name="T12" fmla="*/ 3201 w 12803"/>
              <a:gd name="T13" fmla="*/ 12345 h 12345"/>
              <a:gd name="T14" fmla="*/ 8230 w 12803"/>
              <a:gd name="T15" fmla="*/ 9602 h 12345"/>
              <a:gd name="T16" fmla="*/ 11888 w 12803"/>
              <a:gd name="T17" fmla="*/ 9602 h 12345"/>
              <a:gd name="T18" fmla="*/ 12803 w 12803"/>
              <a:gd name="T19" fmla="*/ 8687 h 12345"/>
              <a:gd name="T20" fmla="*/ 12803 w 12803"/>
              <a:gd name="T21" fmla="*/ 914 h 12345"/>
              <a:gd name="T22" fmla="*/ 11888 w 12803"/>
              <a:gd name="T23" fmla="*/ 0 h 12345"/>
              <a:gd name="T24" fmla="*/ 3201 w 12803"/>
              <a:gd name="T25" fmla="*/ 5487 h 12345"/>
              <a:gd name="T26" fmla="*/ 2286 w 12803"/>
              <a:gd name="T27" fmla="*/ 4572 h 12345"/>
              <a:gd name="T28" fmla="*/ 3201 w 12803"/>
              <a:gd name="T29" fmla="*/ 3658 h 12345"/>
              <a:gd name="T30" fmla="*/ 4115 w 12803"/>
              <a:gd name="T31" fmla="*/ 4572 h 12345"/>
              <a:gd name="T32" fmla="*/ 3201 w 12803"/>
              <a:gd name="T33" fmla="*/ 5487 h 12345"/>
              <a:gd name="T34" fmla="*/ 6401 w 12803"/>
              <a:gd name="T35" fmla="*/ 5487 h 12345"/>
              <a:gd name="T36" fmla="*/ 5487 w 12803"/>
              <a:gd name="T37" fmla="*/ 4572 h 12345"/>
              <a:gd name="T38" fmla="*/ 6401 w 12803"/>
              <a:gd name="T39" fmla="*/ 3658 h 12345"/>
              <a:gd name="T40" fmla="*/ 7316 w 12803"/>
              <a:gd name="T41" fmla="*/ 4572 h 12345"/>
              <a:gd name="T42" fmla="*/ 6401 w 12803"/>
              <a:gd name="T43" fmla="*/ 5487 h 12345"/>
              <a:gd name="T44" fmla="*/ 9602 w 12803"/>
              <a:gd name="T45" fmla="*/ 5487 h 12345"/>
              <a:gd name="T46" fmla="*/ 8687 w 12803"/>
              <a:gd name="T47" fmla="*/ 4572 h 12345"/>
              <a:gd name="T48" fmla="*/ 9602 w 12803"/>
              <a:gd name="T49" fmla="*/ 3658 h 12345"/>
              <a:gd name="T50" fmla="*/ 10516 w 12803"/>
              <a:gd name="T51" fmla="*/ 4572 h 12345"/>
              <a:gd name="T52" fmla="*/ 9602 w 12803"/>
              <a:gd name="T53" fmla="*/ 5487 h 12345"/>
              <a:gd name="T54" fmla="*/ 9602 w 12803"/>
              <a:gd name="T55" fmla="*/ 5487 h 123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2803" h="12345">
                <a:moveTo>
                  <a:pt x="11888" y="0"/>
                </a:moveTo>
                <a:lnTo>
                  <a:pt x="914" y="0"/>
                </a:lnTo>
                <a:cubicBezTo>
                  <a:pt x="409" y="0"/>
                  <a:pt x="0" y="409"/>
                  <a:pt x="0" y="914"/>
                </a:cubicBezTo>
                <a:lnTo>
                  <a:pt x="0" y="8687"/>
                </a:lnTo>
                <a:cubicBezTo>
                  <a:pt x="0" y="9193"/>
                  <a:pt x="409" y="9602"/>
                  <a:pt x="914" y="9602"/>
                </a:cubicBezTo>
                <a:lnTo>
                  <a:pt x="3201" y="9602"/>
                </a:lnTo>
                <a:lnTo>
                  <a:pt x="3201" y="12345"/>
                </a:lnTo>
                <a:lnTo>
                  <a:pt x="8230" y="9602"/>
                </a:lnTo>
                <a:lnTo>
                  <a:pt x="11888" y="9602"/>
                </a:lnTo>
                <a:cubicBezTo>
                  <a:pt x="12393" y="9602"/>
                  <a:pt x="12803" y="9193"/>
                  <a:pt x="12803" y="8687"/>
                </a:cubicBezTo>
                <a:lnTo>
                  <a:pt x="12803" y="914"/>
                </a:lnTo>
                <a:cubicBezTo>
                  <a:pt x="12803" y="409"/>
                  <a:pt x="12393" y="0"/>
                  <a:pt x="11888" y="0"/>
                </a:cubicBezTo>
                <a:close/>
                <a:moveTo>
                  <a:pt x="3201" y="5487"/>
                </a:moveTo>
                <a:cubicBezTo>
                  <a:pt x="2695" y="5487"/>
                  <a:pt x="2286" y="5077"/>
                  <a:pt x="2286" y="4572"/>
                </a:cubicBezTo>
                <a:cubicBezTo>
                  <a:pt x="2286" y="4067"/>
                  <a:pt x="2695" y="3658"/>
                  <a:pt x="3201" y="3658"/>
                </a:cubicBezTo>
                <a:cubicBezTo>
                  <a:pt x="3706" y="3658"/>
                  <a:pt x="4115" y="4067"/>
                  <a:pt x="4115" y="4572"/>
                </a:cubicBezTo>
                <a:cubicBezTo>
                  <a:pt x="4115" y="5077"/>
                  <a:pt x="3706" y="5487"/>
                  <a:pt x="3201" y="5487"/>
                </a:cubicBezTo>
                <a:close/>
                <a:moveTo>
                  <a:pt x="6401" y="5487"/>
                </a:moveTo>
                <a:cubicBezTo>
                  <a:pt x="5896" y="5487"/>
                  <a:pt x="5487" y="5077"/>
                  <a:pt x="5487" y="4572"/>
                </a:cubicBezTo>
                <a:cubicBezTo>
                  <a:pt x="5487" y="4067"/>
                  <a:pt x="5896" y="3658"/>
                  <a:pt x="6401" y="3658"/>
                </a:cubicBezTo>
                <a:cubicBezTo>
                  <a:pt x="6907" y="3658"/>
                  <a:pt x="7316" y="4067"/>
                  <a:pt x="7316" y="4572"/>
                </a:cubicBezTo>
                <a:cubicBezTo>
                  <a:pt x="7316" y="5077"/>
                  <a:pt x="6907" y="5487"/>
                  <a:pt x="6401" y="5487"/>
                </a:cubicBezTo>
                <a:close/>
                <a:moveTo>
                  <a:pt x="9602" y="5487"/>
                </a:moveTo>
                <a:cubicBezTo>
                  <a:pt x="9097" y="5487"/>
                  <a:pt x="8687" y="5077"/>
                  <a:pt x="8687" y="4572"/>
                </a:cubicBezTo>
                <a:cubicBezTo>
                  <a:pt x="8687" y="4067"/>
                  <a:pt x="9097" y="3658"/>
                  <a:pt x="9602" y="3658"/>
                </a:cubicBezTo>
                <a:cubicBezTo>
                  <a:pt x="10107" y="3658"/>
                  <a:pt x="10516" y="4067"/>
                  <a:pt x="10516" y="4572"/>
                </a:cubicBezTo>
                <a:cubicBezTo>
                  <a:pt x="10516" y="5077"/>
                  <a:pt x="10107" y="5487"/>
                  <a:pt x="9602" y="5487"/>
                </a:cubicBezTo>
                <a:close/>
                <a:moveTo>
                  <a:pt x="9602" y="5487"/>
                </a:move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sp>
        <p:nvSpPr>
          <p:cNvPr id="56" name="文本框 55">
            <a:extLst>
              <a:ext uri="{FF2B5EF4-FFF2-40B4-BE49-F238E27FC236}">
                <a16:creationId xmlns:a16="http://schemas.microsoft.com/office/drawing/2014/main" id="{DC9406F8-2C12-416E-B577-DA290EA259E7}"/>
              </a:ext>
            </a:extLst>
          </p:cNvPr>
          <p:cNvSpPr txBox="1"/>
          <p:nvPr/>
        </p:nvSpPr>
        <p:spPr>
          <a:xfrm>
            <a:off x="1813937" y="2659505"/>
            <a:ext cx="1538883" cy="369332"/>
          </a:xfrm>
          <a:prstGeom prst="rect">
            <a:avLst/>
          </a:prstGeom>
          <a:noFill/>
        </p:spPr>
        <p:txBody>
          <a:bodyPr wrap="none" lIns="0" tIns="0" rIns="0" bIns="0" rtlCol="0" anchor="t">
            <a:spAutoFit/>
          </a:bodyPr>
          <a:lstStyle/>
          <a:p>
            <a:pPr algn="r"/>
            <a:r>
              <a:rPr lang="zh-CN" altLang="en-US" sz="2400" dirty="0">
                <a:solidFill>
                  <a:schemeClr val="accent1"/>
                </a:solidFill>
                <a:latin typeface="+mj-ea"/>
                <a:ea typeface="+mj-ea"/>
              </a:rPr>
              <a:t>关键词标题</a:t>
            </a:r>
          </a:p>
        </p:txBody>
      </p:sp>
      <p:sp>
        <p:nvSpPr>
          <p:cNvPr id="57" name="文本框 56">
            <a:extLst>
              <a:ext uri="{FF2B5EF4-FFF2-40B4-BE49-F238E27FC236}">
                <a16:creationId xmlns:a16="http://schemas.microsoft.com/office/drawing/2014/main" id="{13F2CA5F-2361-419F-BEFF-AB9D73948239}"/>
              </a:ext>
            </a:extLst>
          </p:cNvPr>
          <p:cNvSpPr txBox="1"/>
          <p:nvPr/>
        </p:nvSpPr>
        <p:spPr>
          <a:xfrm>
            <a:off x="864496" y="3164431"/>
            <a:ext cx="2465443" cy="387286"/>
          </a:xfrm>
          <a:prstGeom prst="rect">
            <a:avLst/>
          </a:prstGeom>
          <a:noFill/>
        </p:spPr>
        <p:txBody>
          <a:bodyPr wrap="square" lIns="0" tIns="0" rIns="0" bIns="0" rtlCol="0" anchor="t">
            <a:spAutoFit/>
          </a:bodyPr>
          <a:lstStyle/>
          <a:p>
            <a:pPr algn="r">
              <a:lnSpc>
                <a:spcPct val="130000"/>
              </a:lnSpc>
            </a:pPr>
            <a:r>
              <a:rPr lang="en-US" altLang="zh-CN" sz="1000" b="0" dirty="0">
                <a:solidFill>
                  <a:schemeClr val="tx1">
                    <a:lumMod val="75000"/>
                    <a:lumOff val="25000"/>
                  </a:schemeClr>
                </a:solidFill>
                <a:effectLst/>
                <a:latin typeface="+mn-ea"/>
              </a:rPr>
              <a:t>Lorem ipsum dolor sit amet, consectetur adipisicing elit, sed do eiusmod tempor</a:t>
            </a:r>
            <a:endParaRPr lang="zh-CN" altLang="en-US" sz="1000" b="0" dirty="0">
              <a:solidFill>
                <a:schemeClr val="tx1">
                  <a:lumMod val="75000"/>
                  <a:lumOff val="25000"/>
                </a:schemeClr>
              </a:solidFill>
              <a:effectLst/>
              <a:latin typeface="+mn-ea"/>
            </a:endParaRPr>
          </a:p>
        </p:txBody>
      </p:sp>
      <p:cxnSp>
        <p:nvCxnSpPr>
          <p:cNvPr id="14" name="直接连接符 13">
            <a:extLst>
              <a:ext uri="{FF2B5EF4-FFF2-40B4-BE49-F238E27FC236}">
                <a16:creationId xmlns:a16="http://schemas.microsoft.com/office/drawing/2014/main" id="{EC0A0DEC-501C-448D-9368-BC5B989F01F0}"/>
              </a:ext>
            </a:extLst>
          </p:cNvPr>
          <p:cNvCxnSpPr/>
          <p:nvPr/>
        </p:nvCxnSpPr>
        <p:spPr>
          <a:xfrm flipH="1">
            <a:off x="2874645" y="3093720"/>
            <a:ext cx="424814"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58" name="文本框 57">
            <a:extLst>
              <a:ext uri="{FF2B5EF4-FFF2-40B4-BE49-F238E27FC236}">
                <a16:creationId xmlns:a16="http://schemas.microsoft.com/office/drawing/2014/main" id="{284A172F-019C-4628-9CA8-709A07D3A485}"/>
              </a:ext>
            </a:extLst>
          </p:cNvPr>
          <p:cNvSpPr txBox="1"/>
          <p:nvPr/>
        </p:nvSpPr>
        <p:spPr>
          <a:xfrm>
            <a:off x="5397230" y="5059680"/>
            <a:ext cx="1538883" cy="369332"/>
          </a:xfrm>
          <a:prstGeom prst="rect">
            <a:avLst/>
          </a:prstGeom>
          <a:noFill/>
        </p:spPr>
        <p:txBody>
          <a:bodyPr wrap="none" lIns="0" tIns="0" rIns="0" bIns="0" rtlCol="0" anchor="t">
            <a:spAutoFit/>
          </a:bodyPr>
          <a:lstStyle/>
          <a:p>
            <a:pPr algn="ctr"/>
            <a:r>
              <a:rPr lang="zh-CN" altLang="en-US" sz="2400" dirty="0">
                <a:solidFill>
                  <a:schemeClr val="accent1"/>
                </a:solidFill>
                <a:latin typeface="+mj-ea"/>
                <a:ea typeface="+mj-ea"/>
              </a:rPr>
              <a:t>关键词标题</a:t>
            </a:r>
          </a:p>
        </p:txBody>
      </p:sp>
      <p:sp>
        <p:nvSpPr>
          <p:cNvPr id="59" name="文本框 58">
            <a:extLst>
              <a:ext uri="{FF2B5EF4-FFF2-40B4-BE49-F238E27FC236}">
                <a16:creationId xmlns:a16="http://schemas.microsoft.com/office/drawing/2014/main" id="{5AF1BAEA-3157-40A8-9E23-F410614430C6}"/>
              </a:ext>
            </a:extLst>
          </p:cNvPr>
          <p:cNvSpPr txBox="1"/>
          <p:nvPr/>
        </p:nvSpPr>
        <p:spPr>
          <a:xfrm>
            <a:off x="4933950" y="5564606"/>
            <a:ext cx="2465443" cy="387286"/>
          </a:xfrm>
          <a:prstGeom prst="rect">
            <a:avLst/>
          </a:prstGeom>
          <a:noFill/>
        </p:spPr>
        <p:txBody>
          <a:bodyPr wrap="square" lIns="0" tIns="0" rIns="0" bIns="0" rtlCol="0" anchor="t">
            <a:spAutoFit/>
          </a:bodyPr>
          <a:lstStyle/>
          <a:p>
            <a:pPr algn="ctr">
              <a:lnSpc>
                <a:spcPct val="130000"/>
              </a:lnSpc>
            </a:pPr>
            <a:r>
              <a:rPr lang="en-US" altLang="zh-CN" sz="1000" b="0" dirty="0">
                <a:solidFill>
                  <a:schemeClr val="tx1">
                    <a:lumMod val="75000"/>
                    <a:lumOff val="25000"/>
                  </a:schemeClr>
                </a:solidFill>
                <a:effectLst/>
                <a:latin typeface="+mn-ea"/>
              </a:rPr>
              <a:t>Lorem ipsum dolor sit amet, consectetur adipisicing elit, sed do eiusmod tempor</a:t>
            </a:r>
            <a:endParaRPr lang="zh-CN" altLang="en-US" sz="1000" b="0" dirty="0">
              <a:solidFill>
                <a:schemeClr val="tx1">
                  <a:lumMod val="75000"/>
                  <a:lumOff val="25000"/>
                </a:schemeClr>
              </a:solidFill>
              <a:effectLst/>
              <a:latin typeface="+mn-ea"/>
            </a:endParaRPr>
          </a:p>
        </p:txBody>
      </p:sp>
      <p:cxnSp>
        <p:nvCxnSpPr>
          <p:cNvPr id="60" name="直接连接符 59">
            <a:extLst>
              <a:ext uri="{FF2B5EF4-FFF2-40B4-BE49-F238E27FC236}">
                <a16:creationId xmlns:a16="http://schemas.microsoft.com/office/drawing/2014/main" id="{171743EF-B87E-48FF-9E72-A7B9425B6218}"/>
              </a:ext>
            </a:extLst>
          </p:cNvPr>
          <p:cNvCxnSpPr>
            <a:cxnSpLocks/>
          </p:cNvCxnSpPr>
          <p:nvPr/>
        </p:nvCxnSpPr>
        <p:spPr>
          <a:xfrm flipH="1">
            <a:off x="5954264" y="5493895"/>
            <a:ext cx="424814"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61" name="文本框 60">
            <a:extLst>
              <a:ext uri="{FF2B5EF4-FFF2-40B4-BE49-F238E27FC236}">
                <a16:creationId xmlns:a16="http://schemas.microsoft.com/office/drawing/2014/main" id="{CDF0DE73-F8C8-4DBF-B0CE-A4335E9A7C1F}"/>
              </a:ext>
            </a:extLst>
          </p:cNvPr>
          <p:cNvSpPr txBox="1"/>
          <p:nvPr/>
        </p:nvSpPr>
        <p:spPr>
          <a:xfrm>
            <a:off x="8995411" y="2659505"/>
            <a:ext cx="1538883" cy="369332"/>
          </a:xfrm>
          <a:prstGeom prst="rect">
            <a:avLst/>
          </a:prstGeom>
          <a:noFill/>
        </p:spPr>
        <p:txBody>
          <a:bodyPr wrap="none" lIns="0" tIns="0" rIns="0" bIns="0" rtlCol="0" anchor="t">
            <a:spAutoFit/>
          </a:bodyPr>
          <a:lstStyle/>
          <a:p>
            <a:r>
              <a:rPr lang="zh-CN" altLang="en-US" sz="2400" dirty="0">
                <a:solidFill>
                  <a:schemeClr val="accent1"/>
                </a:solidFill>
                <a:latin typeface="+mj-ea"/>
                <a:ea typeface="+mj-ea"/>
              </a:rPr>
              <a:t>关键词标题</a:t>
            </a:r>
          </a:p>
        </p:txBody>
      </p:sp>
      <p:sp>
        <p:nvSpPr>
          <p:cNvPr id="62" name="文本框 61">
            <a:extLst>
              <a:ext uri="{FF2B5EF4-FFF2-40B4-BE49-F238E27FC236}">
                <a16:creationId xmlns:a16="http://schemas.microsoft.com/office/drawing/2014/main" id="{32198A65-FE85-411B-A24E-031AB48F6DD0}"/>
              </a:ext>
            </a:extLst>
          </p:cNvPr>
          <p:cNvSpPr txBox="1"/>
          <p:nvPr/>
        </p:nvSpPr>
        <p:spPr>
          <a:xfrm>
            <a:off x="8995411" y="3164431"/>
            <a:ext cx="2465443" cy="387286"/>
          </a:xfrm>
          <a:prstGeom prst="rect">
            <a:avLst/>
          </a:prstGeom>
          <a:noFill/>
        </p:spPr>
        <p:txBody>
          <a:bodyPr wrap="square" lIns="0" tIns="0" rIns="0" bIns="0" rtlCol="0" anchor="t">
            <a:spAutoFit/>
          </a:bodyPr>
          <a:lstStyle/>
          <a:p>
            <a:pPr>
              <a:lnSpc>
                <a:spcPct val="130000"/>
              </a:lnSpc>
            </a:pPr>
            <a:r>
              <a:rPr lang="en-US" altLang="zh-CN" sz="1000" b="0" dirty="0">
                <a:solidFill>
                  <a:schemeClr val="tx1">
                    <a:lumMod val="75000"/>
                    <a:lumOff val="25000"/>
                  </a:schemeClr>
                </a:solidFill>
                <a:effectLst/>
                <a:latin typeface="+mn-ea"/>
              </a:rPr>
              <a:t>Lorem ipsum dolor sit amet, consectetur adipisicing elit, sed do eiusmod tempor</a:t>
            </a:r>
            <a:endParaRPr lang="zh-CN" altLang="en-US" sz="1000" b="0" dirty="0">
              <a:solidFill>
                <a:schemeClr val="tx1">
                  <a:lumMod val="75000"/>
                  <a:lumOff val="25000"/>
                </a:schemeClr>
              </a:solidFill>
              <a:effectLst/>
              <a:latin typeface="+mn-ea"/>
            </a:endParaRPr>
          </a:p>
        </p:txBody>
      </p:sp>
      <p:cxnSp>
        <p:nvCxnSpPr>
          <p:cNvPr id="63" name="直接连接符 62">
            <a:extLst>
              <a:ext uri="{FF2B5EF4-FFF2-40B4-BE49-F238E27FC236}">
                <a16:creationId xmlns:a16="http://schemas.microsoft.com/office/drawing/2014/main" id="{32D11903-06D6-4B5D-B2D6-700A3556DA82}"/>
              </a:ext>
            </a:extLst>
          </p:cNvPr>
          <p:cNvCxnSpPr>
            <a:cxnSpLocks/>
          </p:cNvCxnSpPr>
          <p:nvPr/>
        </p:nvCxnSpPr>
        <p:spPr>
          <a:xfrm flipH="1">
            <a:off x="8995411" y="3093720"/>
            <a:ext cx="424814" cy="0"/>
          </a:xfrm>
          <a:prstGeom prst="line">
            <a:avLst/>
          </a:prstGeom>
          <a:ln w="19050"/>
        </p:spPr>
        <p:style>
          <a:lnRef idx="1">
            <a:schemeClr val="accent1"/>
          </a:lnRef>
          <a:fillRef idx="0">
            <a:schemeClr val="accent1"/>
          </a:fillRef>
          <a:effectRef idx="0">
            <a:schemeClr val="accent1"/>
          </a:effectRef>
          <a:fontRef idx="minor">
            <a:schemeClr val="tx1"/>
          </a:fontRef>
        </p:style>
      </p:cxnSp>
    </p:spTree>
    <p:custDataLst>
      <p:tags r:id="rId2"/>
    </p:custDataLst>
    <p:extLst>
      <p:ext uri="{BB962C8B-B14F-4D97-AF65-F5344CB8AC3E}">
        <p14:creationId xmlns:p14="http://schemas.microsoft.com/office/powerpoint/2010/main" val="1396440254"/>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3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椭圆 42">
            <a:extLst>
              <a:ext uri="{FF2B5EF4-FFF2-40B4-BE49-F238E27FC236}">
                <a16:creationId xmlns:a16="http://schemas.microsoft.com/office/drawing/2014/main" id="{BD4B5469-B243-4C11-976C-BC9CFA5D6DD2}"/>
              </a:ext>
            </a:extLst>
          </p:cNvPr>
          <p:cNvSpPr/>
          <p:nvPr/>
        </p:nvSpPr>
        <p:spPr>
          <a:xfrm>
            <a:off x="3973370" y="1802007"/>
            <a:ext cx="3794156" cy="3794156"/>
          </a:xfrm>
          <a:prstGeom prst="ellipse">
            <a:avLst/>
          </a:prstGeom>
          <a:noFill/>
          <a:ln w="12700" cmpd="sng">
            <a:solidFill>
              <a:schemeClr val="accent1"/>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37" name="椭圆 36">
            <a:extLst>
              <a:ext uri="{FF2B5EF4-FFF2-40B4-BE49-F238E27FC236}">
                <a16:creationId xmlns:a16="http://schemas.microsoft.com/office/drawing/2014/main" id="{DD8BE95A-A82E-48DE-A31C-62BA877A051F}"/>
              </a:ext>
            </a:extLst>
          </p:cNvPr>
          <p:cNvSpPr/>
          <p:nvPr/>
        </p:nvSpPr>
        <p:spPr>
          <a:xfrm rot="7200000">
            <a:off x="7087478" y="4233837"/>
            <a:ext cx="780062" cy="78006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38" name="梯形 37">
            <a:extLst>
              <a:ext uri="{FF2B5EF4-FFF2-40B4-BE49-F238E27FC236}">
                <a16:creationId xmlns:a16="http://schemas.microsoft.com/office/drawing/2014/main" id="{C2FEE4EB-CD64-4C46-B912-7F6CE42DD688}"/>
              </a:ext>
            </a:extLst>
          </p:cNvPr>
          <p:cNvSpPr/>
          <p:nvPr/>
        </p:nvSpPr>
        <p:spPr>
          <a:xfrm rot="7200000">
            <a:off x="6099501" y="3294566"/>
            <a:ext cx="1170432" cy="1824890"/>
          </a:xfrm>
          <a:prstGeom prst="trapezoid">
            <a:avLst>
              <a:gd name="adj" fmla="val 22559"/>
            </a:avLst>
          </a:prstGeom>
          <a:gradFill>
            <a:gsLst>
              <a:gs pos="8000">
                <a:schemeClr val="accent1">
                  <a:alpha val="30000"/>
                </a:schemeClr>
              </a:gs>
              <a:gs pos="80000">
                <a:schemeClr val="accent1">
                  <a:alpha val="7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41" name="椭圆 40">
            <a:extLst>
              <a:ext uri="{FF2B5EF4-FFF2-40B4-BE49-F238E27FC236}">
                <a16:creationId xmlns:a16="http://schemas.microsoft.com/office/drawing/2014/main" id="{75E737D2-E16E-4474-9D44-9D6E9A8ADC98}"/>
              </a:ext>
            </a:extLst>
          </p:cNvPr>
          <p:cNvSpPr/>
          <p:nvPr/>
        </p:nvSpPr>
        <p:spPr>
          <a:xfrm rot="14400000" flipH="1">
            <a:off x="3873357" y="4233837"/>
            <a:ext cx="780062" cy="78006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42" name="梯形 41">
            <a:extLst>
              <a:ext uri="{FF2B5EF4-FFF2-40B4-BE49-F238E27FC236}">
                <a16:creationId xmlns:a16="http://schemas.microsoft.com/office/drawing/2014/main" id="{6499DD54-0D47-4ED8-BD77-B2D7D9652749}"/>
              </a:ext>
            </a:extLst>
          </p:cNvPr>
          <p:cNvSpPr/>
          <p:nvPr/>
        </p:nvSpPr>
        <p:spPr>
          <a:xfrm rot="14400000" flipH="1">
            <a:off x="4479340" y="3221544"/>
            <a:ext cx="1170432" cy="1824890"/>
          </a:xfrm>
          <a:prstGeom prst="trapezoid">
            <a:avLst>
              <a:gd name="adj" fmla="val 22559"/>
            </a:avLst>
          </a:prstGeom>
          <a:gradFill>
            <a:gsLst>
              <a:gs pos="8000">
                <a:schemeClr val="accent1">
                  <a:alpha val="30000"/>
                </a:schemeClr>
              </a:gs>
              <a:gs pos="80000">
                <a:schemeClr val="accent1">
                  <a:alpha val="7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29" name="椭圆 28">
            <a:extLst>
              <a:ext uri="{FF2B5EF4-FFF2-40B4-BE49-F238E27FC236}">
                <a16:creationId xmlns:a16="http://schemas.microsoft.com/office/drawing/2014/main" id="{3BE95E99-A80B-42CB-BE71-E1C458771DE6}"/>
              </a:ext>
            </a:extLst>
          </p:cNvPr>
          <p:cNvSpPr/>
          <p:nvPr/>
        </p:nvSpPr>
        <p:spPr>
          <a:xfrm>
            <a:off x="5480417" y="1462371"/>
            <a:ext cx="780062" cy="78006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12" name="梯形 11">
            <a:extLst>
              <a:ext uri="{FF2B5EF4-FFF2-40B4-BE49-F238E27FC236}">
                <a16:creationId xmlns:a16="http://schemas.microsoft.com/office/drawing/2014/main" id="{6029BD82-6527-4E79-9D41-5FD4D7F9FE31}"/>
              </a:ext>
            </a:extLst>
          </p:cNvPr>
          <p:cNvSpPr/>
          <p:nvPr/>
        </p:nvSpPr>
        <p:spPr>
          <a:xfrm>
            <a:off x="5285232" y="1860192"/>
            <a:ext cx="1170432" cy="1824890"/>
          </a:xfrm>
          <a:prstGeom prst="trapezoid">
            <a:avLst>
              <a:gd name="adj" fmla="val 22559"/>
            </a:avLst>
          </a:prstGeom>
          <a:gradFill>
            <a:gsLst>
              <a:gs pos="8000">
                <a:schemeClr val="accent1">
                  <a:alpha val="30000"/>
                </a:schemeClr>
              </a:gs>
              <a:gs pos="80000">
                <a:schemeClr val="accent1">
                  <a:alpha val="7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2" name="任意形状 9">
            <a:extLst>
              <a:ext uri="{FF2B5EF4-FFF2-40B4-BE49-F238E27FC236}">
                <a16:creationId xmlns:a16="http://schemas.microsoft.com/office/drawing/2014/main" id="{79C0392D-8AB4-4C9C-BB47-E593C645F444}"/>
              </a:ext>
            </a:extLst>
          </p:cNvPr>
          <p:cNvSpPr/>
          <p:nvPr/>
        </p:nvSpPr>
        <p:spPr>
          <a:xfrm>
            <a:off x="0" y="6457950"/>
            <a:ext cx="12192000" cy="400050"/>
          </a:xfrm>
          <a:custGeom>
            <a:avLst/>
            <a:gdLst>
              <a:gd name="connsiteX0" fmla="*/ 12192000 w 12192000"/>
              <a:gd name="connsiteY0" fmla="*/ 0 h 329410"/>
              <a:gd name="connsiteX1" fmla="*/ 12192000 w 12192000"/>
              <a:gd name="connsiteY1" fmla="*/ 329410 h 329410"/>
              <a:gd name="connsiteX2" fmla="*/ 0 w 12192000"/>
              <a:gd name="connsiteY2" fmla="*/ 329410 h 329410"/>
              <a:gd name="connsiteX3" fmla="*/ 0 w 12192000"/>
              <a:gd name="connsiteY3" fmla="*/ 29375 h 329410"/>
              <a:gd name="connsiteX4" fmla="*/ 577089 w 12192000"/>
              <a:gd name="connsiteY4" fmla="*/ 49593 h 329410"/>
              <a:gd name="connsiteX5" fmla="*/ 5704114 w 12192000"/>
              <a:gd name="connsiteY5" fmla="*/ 124873 h 329410"/>
              <a:gd name="connsiteX6" fmla="*/ 11982536 w 12192000"/>
              <a:gd name="connsiteY6" fmla="*/ 9255 h 329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329410">
                <a:moveTo>
                  <a:pt x="12192000" y="0"/>
                </a:moveTo>
                <a:lnTo>
                  <a:pt x="12192000" y="329410"/>
                </a:lnTo>
                <a:lnTo>
                  <a:pt x="0" y="329410"/>
                </a:lnTo>
                <a:lnTo>
                  <a:pt x="0" y="29375"/>
                </a:lnTo>
                <a:lnTo>
                  <a:pt x="577089" y="49593"/>
                </a:lnTo>
                <a:cubicBezTo>
                  <a:pt x="2152931" y="98068"/>
                  <a:pt x="3885480" y="124873"/>
                  <a:pt x="5704114" y="124873"/>
                </a:cubicBezTo>
                <a:cubicBezTo>
                  <a:pt x="7977407" y="124873"/>
                  <a:pt x="10116192" y="82990"/>
                  <a:pt x="11982536" y="9255"/>
                </a:cubicBezTo>
                <a:close/>
              </a:path>
            </a:pathLst>
          </a:custGeom>
          <a:solidFill>
            <a:schemeClr val="accent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zh-CN" altLang="en-US"/>
          </a:p>
        </p:txBody>
      </p:sp>
      <p:sp>
        <p:nvSpPr>
          <p:cNvPr id="9" name="椭圆 8">
            <a:extLst>
              <a:ext uri="{FF2B5EF4-FFF2-40B4-BE49-F238E27FC236}">
                <a16:creationId xmlns:a16="http://schemas.microsoft.com/office/drawing/2014/main" id="{A386A5AA-546E-491C-B44B-201B062487B9}"/>
              </a:ext>
            </a:extLst>
          </p:cNvPr>
          <p:cNvSpPr/>
          <p:nvPr/>
        </p:nvSpPr>
        <p:spPr>
          <a:xfrm>
            <a:off x="5285232" y="3109471"/>
            <a:ext cx="1170432" cy="117043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15" name="等腰三角形 14">
            <a:extLst>
              <a:ext uri="{FF2B5EF4-FFF2-40B4-BE49-F238E27FC236}">
                <a16:creationId xmlns:a16="http://schemas.microsoft.com/office/drawing/2014/main" id="{DE641FCC-FE29-4B81-A6D6-7B696D7F24AE}"/>
              </a:ext>
            </a:extLst>
          </p:cNvPr>
          <p:cNvSpPr/>
          <p:nvPr/>
        </p:nvSpPr>
        <p:spPr>
          <a:xfrm rot="2151454">
            <a:off x="4187188" y="2620713"/>
            <a:ext cx="152400" cy="131379"/>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45" name="等腰三角形 44">
            <a:extLst>
              <a:ext uri="{FF2B5EF4-FFF2-40B4-BE49-F238E27FC236}">
                <a16:creationId xmlns:a16="http://schemas.microsoft.com/office/drawing/2014/main" id="{0C82E6CB-448D-48A2-8715-57014DC2A344}"/>
              </a:ext>
            </a:extLst>
          </p:cNvPr>
          <p:cNvSpPr/>
          <p:nvPr/>
        </p:nvSpPr>
        <p:spPr>
          <a:xfrm rot="2151454">
            <a:off x="7457308" y="2635954"/>
            <a:ext cx="152400" cy="131379"/>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46" name="等腰三角形 45">
            <a:extLst>
              <a:ext uri="{FF2B5EF4-FFF2-40B4-BE49-F238E27FC236}">
                <a16:creationId xmlns:a16="http://schemas.microsoft.com/office/drawing/2014/main" id="{D81EE595-A426-4737-800E-A4797EB32FC5}"/>
              </a:ext>
            </a:extLst>
          </p:cNvPr>
          <p:cNvSpPr/>
          <p:nvPr/>
        </p:nvSpPr>
        <p:spPr>
          <a:xfrm rot="9000000">
            <a:off x="5855208" y="5549470"/>
            <a:ext cx="152400" cy="131379"/>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47" name="文本框 46">
            <a:extLst>
              <a:ext uri="{FF2B5EF4-FFF2-40B4-BE49-F238E27FC236}">
                <a16:creationId xmlns:a16="http://schemas.microsoft.com/office/drawing/2014/main" id="{62A03094-A20A-4BC7-940D-AD24B1026A24}"/>
              </a:ext>
            </a:extLst>
          </p:cNvPr>
          <p:cNvSpPr txBox="1"/>
          <p:nvPr/>
        </p:nvSpPr>
        <p:spPr>
          <a:xfrm>
            <a:off x="5331838" y="3552366"/>
            <a:ext cx="1077219" cy="307777"/>
          </a:xfrm>
          <a:prstGeom prst="rect">
            <a:avLst/>
          </a:prstGeom>
          <a:noFill/>
        </p:spPr>
        <p:txBody>
          <a:bodyPr wrap="square" lIns="0" tIns="0" rIns="0" bIns="0" rtlCol="0" anchor="t">
            <a:spAutoFit/>
          </a:bodyPr>
          <a:lstStyle/>
          <a:p>
            <a:pPr algn="ctr"/>
            <a:r>
              <a:rPr lang="zh-CN" altLang="en-US" sz="2000" dirty="0">
                <a:solidFill>
                  <a:schemeClr val="bg1"/>
                </a:solidFill>
                <a:latin typeface="+mj-ea"/>
                <a:ea typeface="+mj-ea"/>
              </a:rPr>
              <a:t>关键词</a:t>
            </a:r>
          </a:p>
        </p:txBody>
      </p:sp>
      <p:sp>
        <p:nvSpPr>
          <p:cNvPr id="48" name="文本框 47">
            <a:extLst>
              <a:ext uri="{FF2B5EF4-FFF2-40B4-BE49-F238E27FC236}">
                <a16:creationId xmlns:a16="http://schemas.microsoft.com/office/drawing/2014/main" id="{E77B2048-81C7-4B12-B4F2-4D3091C2B025}"/>
              </a:ext>
            </a:extLst>
          </p:cNvPr>
          <p:cNvSpPr txBox="1"/>
          <p:nvPr/>
        </p:nvSpPr>
        <p:spPr>
          <a:xfrm>
            <a:off x="5480417" y="1706303"/>
            <a:ext cx="780062" cy="215444"/>
          </a:xfrm>
          <a:prstGeom prst="rect">
            <a:avLst/>
          </a:prstGeom>
          <a:noFill/>
        </p:spPr>
        <p:txBody>
          <a:bodyPr wrap="square" lIns="0" tIns="0" rIns="0" bIns="0" rtlCol="0" anchor="t">
            <a:spAutoFit/>
          </a:bodyPr>
          <a:lstStyle/>
          <a:p>
            <a:pPr algn="ctr"/>
            <a:r>
              <a:rPr lang="zh-CN" altLang="en-US" sz="1400" dirty="0">
                <a:solidFill>
                  <a:schemeClr val="bg1"/>
                </a:solidFill>
                <a:latin typeface="+mj-ea"/>
                <a:ea typeface="+mj-ea"/>
              </a:rPr>
              <a:t>关键词</a:t>
            </a:r>
          </a:p>
        </p:txBody>
      </p:sp>
      <p:sp>
        <p:nvSpPr>
          <p:cNvPr id="49" name="文本框 48">
            <a:extLst>
              <a:ext uri="{FF2B5EF4-FFF2-40B4-BE49-F238E27FC236}">
                <a16:creationId xmlns:a16="http://schemas.microsoft.com/office/drawing/2014/main" id="{C0AD7E70-707B-4E4E-AA0F-AE2A4BCDF3DF}"/>
              </a:ext>
            </a:extLst>
          </p:cNvPr>
          <p:cNvSpPr txBox="1"/>
          <p:nvPr/>
        </p:nvSpPr>
        <p:spPr>
          <a:xfrm>
            <a:off x="3877093" y="4516146"/>
            <a:ext cx="780062" cy="215444"/>
          </a:xfrm>
          <a:prstGeom prst="rect">
            <a:avLst/>
          </a:prstGeom>
          <a:noFill/>
        </p:spPr>
        <p:txBody>
          <a:bodyPr wrap="square" lIns="0" tIns="0" rIns="0" bIns="0" rtlCol="0" anchor="t">
            <a:spAutoFit/>
          </a:bodyPr>
          <a:lstStyle/>
          <a:p>
            <a:pPr algn="ctr"/>
            <a:r>
              <a:rPr lang="zh-CN" altLang="en-US" sz="1400" dirty="0">
                <a:solidFill>
                  <a:schemeClr val="bg1"/>
                </a:solidFill>
                <a:latin typeface="+mj-ea"/>
                <a:ea typeface="+mj-ea"/>
              </a:rPr>
              <a:t>关键词</a:t>
            </a:r>
          </a:p>
        </p:txBody>
      </p:sp>
      <p:sp>
        <p:nvSpPr>
          <p:cNvPr id="50" name="文本框 49">
            <a:extLst>
              <a:ext uri="{FF2B5EF4-FFF2-40B4-BE49-F238E27FC236}">
                <a16:creationId xmlns:a16="http://schemas.microsoft.com/office/drawing/2014/main" id="{60A677AF-121E-4BBF-BF4C-6C6D1559FCAD}"/>
              </a:ext>
            </a:extLst>
          </p:cNvPr>
          <p:cNvSpPr txBox="1"/>
          <p:nvPr/>
        </p:nvSpPr>
        <p:spPr>
          <a:xfrm>
            <a:off x="7141614" y="4516146"/>
            <a:ext cx="780062" cy="215444"/>
          </a:xfrm>
          <a:prstGeom prst="rect">
            <a:avLst/>
          </a:prstGeom>
          <a:noFill/>
        </p:spPr>
        <p:txBody>
          <a:bodyPr wrap="square" lIns="0" tIns="0" rIns="0" bIns="0" rtlCol="0" anchor="t">
            <a:spAutoFit/>
          </a:bodyPr>
          <a:lstStyle/>
          <a:p>
            <a:pPr algn="ctr"/>
            <a:r>
              <a:rPr lang="zh-CN" altLang="en-US" sz="1400" dirty="0">
                <a:solidFill>
                  <a:schemeClr val="bg1"/>
                </a:solidFill>
                <a:latin typeface="+mj-ea"/>
                <a:ea typeface="+mj-ea"/>
              </a:rPr>
              <a:t>关键词</a:t>
            </a:r>
          </a:p>
        </p:txBody>
      </p:sp>
      <p:sp>
        <p:nvSpPr>
          <p:cNvPr id="64" name="文本框 63">
            <a:extLst>
              <a:ext uri="{FF2B5EF4-FFF2-40B4-BE49-F238E27FC236}">
                <a16:creationId xmlns:a16="http://schemas.microsoft.com/office/drawing/2014/main" id="{104FF73D-5245-425A-A49C-8E58B06736FE}"/>
              </a:ext>
            </a:extLst>
          </p:cNvPr>
          <p:cNvSpPr txBox="1"/>
          <p:nvPr/>
        </p:nvSpPr>
        <p:spPr>
          <a:xfrm>
            <a:off x="4031932" y="957834"/>
            <a:ext cx="3602350" cy="387286"/>
          </a:xfrm>
          <a:prstGeom prst="rect">
            <a:avLst/>
          </a:prstGeom>
          <a:noFill/>
        </p:spPr>
        <p:txBody>
          <a:bodyPr wrap="square" lIns="0" tIns="0" rIns="0" bIns="0" rtlCol="0" anchor="t">
            <a:spAutoFit/>
          </a:bodyPr>
          <a:lstStyle/>
          <a:p>
            <a:pPr algn="ctr">
              <a:lnSpc>
                <a:spcPct val="130000"/>
              </a:lnSpc>
            </a:pPr>
            <a:r>
              <a:rPr lang="en-US" altLang="zh-CN" sz="1000" b="0" dirty="0">
                <a:solidFill>
                  <a:schemeClr val="tx1">
                    <a:lumMod val="75000"/>
                    <a:lumOff val="25000"/>
                  </a:schemeClr>
                </a:solidFill>
                <a:effectLst/>
                <a:latin typeface="+mn-ea"/>
              </a:rPr>
              <a:t>Lorem ipsum dolor sit amet, consectetur adipisicing elit, sed do eiusmod tempor</a:t>
            </a:r>
            <a:endParaRPr lang="zh-CN" altLang="en-US" sz="1000" b="0" dirty="0">
              <a:solidFill>
                <a:schemeClr val="tx1">
                  <a:lumMod val="75000"/>
                  <a:lumOff val="25000"/>
                </a:schemeClr>
              </a:solidFill>
              <a:effectLst/>
              <a:latin typeface="+mn-ea"/>
            </a:endParaRPr>
          </a:p>
        </p:txBody>
      </p:sp>
      <p:sp>
        <p:nvSpPr>
          <p:cNvPr id="66" name="文本框 65">
            <a:extLst>
              <a:ext uri="{FF2B5EF4-FFF2-40B4-BE49-F238E27FC236}">
                <a16:creationId xmlns:a16="http://schemas.microsoft.com/office/drawing/2014/main" id="{82146ECE-D969-41F8-BEFB-D274896BB43A}"/>
              </a:ext>
            </a:extLst>
          </p:cNvPr>
          <p:cNvSpPr txBox="1"/>
          <p:nvPr/>
        </p:nvSpPr>
        <p:spPr>
          <a:xfrm>
            <a:off x="1280160" y="4516146"/>
            <a:ext cx="2431518" cy="587340"/>
          </a:xfrm>
          <a:prstGeom prst="rect">
            <a:avLst/>
          </a:prstGeom>
          <a:noFill/>
        </p:spPr>
        <p:txBody>
          <a:bodyPr wrap="square" lIns="0" tIns="0" rIns="0" bIns="0" rtlCol="0" anchor="t">
            <a:spAutoFit/>
          </a:bodyPr>
          <a:lstStyle/>
          <a:p>
            <a:pPr algn="r">
              <a:lnSpc>
                <a:spcPct val="130000"/>
              </a:lnSpc>
            </a:pPr>
            <a:r>
              <a:rPr lang="en-US" altLang="zh-CN" sz="1000" b="0" dirty="0">
                <a:solidFill>
                  <a:schemeClr val="tx1">
                    <a:lumMod val="75000"/>
                    <a:lumOff val="25000"/>
                  </a:schemeClr>
                </a:solidFill>
                <a:effectLst/>
                <a:latin typeface="+mn-ea"/>
              </a:rPr>
              <a:t>Lorem ipsum dolor sit amet, consectetur adipisicing elit, sed do eiusmod tempor</a:t>
            </a:r>
            <a:endParaRPr lang="zh-CN" altLang="en-US" sz="1000" b="0" dirty="0">
              <a:solidFill>
                <a:schemeClr val="tx1">
                  <a:lumMod val="75000"/>
                  <a:lumOff val="25000"/>
                </a:schemeClr>
              </a:solidFill>
              <a:effectLst/>
              <a:latin typeface="+mn-ea"/>
            </a:endParaRPr>
          </a:p>
        </p:txBody>
      </p:sp>
      <p:sp>
        <p:nvSpPr>
          <p:cNvPr id="67" name="文本框 66">
            <a:extLst>
              <a:ext uri="{FF2B5EF4-FFF2-40B4-BE49-F238E27FC236}">
                <a16:creationId xmlns:a16="http://schemas.microsoft.com/office/drawing/2014/main" id="{963772F8-58F6-474F-8E85-5A1C2DD4F2B6}"/>
              </a:ext>
            </a:extLst>
          </p:cNvPr>
          <p:cNvSpPr txBox="1"/>
          <p:nvPr/>
        </p:nvSpPr>
        <p:spPr>
          <a:xfrm>
            <a:off x="7964424" y="4516146"/>
            <a:ext cx="2431518" cy="587340"/>
          </a:xfrm>
          <a:prstGeom prst="rect">
            <a:avLst/>
          </a:prstGeom>
          <a:noFill/>
        </p:spPr>
        <p:txBody>
          <a:bodyPr wrap="square" lIns="0" tIns="0" rIns="0" bIns="0" rtlCol="0" anchor="t">
            <a:spAutoFit/>
          </a:bodyPr>
          <a:lstStyle/>
          <a:p>
            <a:pPr>
              <a:lnSpc>
                <a:spcPct val="130000"/>
              </a:lnSpc>
            </a:pPr>
            <a:r>
              <a:rPr lang="en-US" altLang="zh-CN" sz="1000" b="0" dirty="0">
                <a:solidFill>
                  <a:schemeClr val="tx1">
                    <a:lumMod val="75000"/>
                    <a:lumOff val="25000"/>
                  </a:schemeClr>
                </a:solidFill>
                <a:effectLst/>
                <a:latin typeface="+mn-ea"/>
              </a:rPr>
              <a:t>Lorem ipsum dolor sit amet, consectetur adipisicing elit, sed do eiusmod tempor</a:t>
            </a:r>
            <a:endParaRPr lang="zh-CN" altLang="en-US" sz="1000" b="0" dirty="0">
              <a:solidFill>
                <a:schemeClr val="tx1">
                  <a:lumMod val="75000"/>
                  <a:lumOff val="25000"/>
                </a:schemeClr>
              </a:solidFill>
              <a:effectLst/>
              <a:latin typeface="+mn-ea"/>
            </a:endParaRPr>
          </a:p>
        </p:txBody>
      </p:sp>
    </p:spTree>
    <p:custDataLst>
      <p:tags r:id="rId2"/>
    </p:custDataLst>
    <p:extLst>
      <p:ext uri="{BB962C8B-B14F-4D97-AF65-F5344CB8AC3E}">
        <p14:creationId xmlns:p14="http://schemas.microsoft.com/office/powerpoint/2010/main" val="708243764"/>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3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任意多边形: 形状 35">
            <a:extLst>
              <a:ext uri="{FF2B5EF4-FFF2-40B4-BE49-F238E27FC236}">
                <a16:creationId xmlns:a16="http://schemas.microsoft.com/office/drawing/2014/main" id="{AE50F0CF-7CB2-4ED1-B8D8-53508F51979F}"/>
              </a:ext>
            </a:extLst>
          </p:cNvPr>
          <p:cNvSpPr/>
          <p:nvPr/>
        </p:nvSpPr>
        <p:spPr>
          <a:xfrm>
            <a:off x="495300" y="1257300"/>
            <a:ext cx="11201400" cy="5600700"/>
          </a:xfrm>
          <a:custGeom>
            <a:avLst/>
            <a:gdLst>
              <a:gd name="connsiteX0" fmla="*/ 5600700 w 11201400"/>
              <a:gd name="connsiteY0" fmla="*/ 0 h 5600700"/>
              <a:gd name="connsiteX1" fmla="*/ 11201400 w 11201400"/>
              <a:gd name="connsiteY1" fmla="*/ 5600700 h 5600700"/>
              <a:gd name="connsiteX2" fmla="*/ 9572044 w 11201400"/>
              <a:gd name="connsiteY2" fmla="*/ 5600700 h 5600700"/>
              <a:gd name="connsiteX3" fmla="*/ 5600700 w 11201400"/>
              <a:gd name="connsiteY3" fmla="*/ 1629356 h 5600700"/>
              <a:gd name="connsiteX4" fmla="*/ 1629356 w 11201400"/>
              <a:gd name="connsiteY4" fmla="*/ 5600700 h 5600700"/>
              <a:gd name="connsiteX5" fmla="*/ 0 w 11201400"/>
              <a:gd name="connsiteY5" fmla="*/ 5600700 h 5600700"/>
              <a:gd name="connsiteX6" fmla="*/ 5600700 w 11201400"/>
              <a:gd name="connsiteY6" fmla="*/ 0 h 5600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201400" h="5600700">
                <a:moveTo>
                  <a:pt x="5600700" y="0"/>
                </a:moveTo>
                <a:cubicBezTo>
                  <a:pt x="8693881" y="0"/>
                  <a:pt x="11201400" y="2507519"/>
                  <a:pt x="11201400" y="5600700"/>
                </a:cubicBezTo>
                <a:lnTo>
                  <a:pt x="9572044" y="5600700"/>
                </a:lnTo>
                <a:cubicBezTo>
                  <a:pt x="9572044" y="3407387"/>
                  <a:pt x="7794013" y="1629356"/>
                  <a:pt x="5600700" y="1629356"/>
                </a:cubicBezTo>
                <a:cubicBezTo>
                  <a:pt x="3407387" y="1629356"/>
                  <a:pt x="1629356" y="3407387"/>
                  <a:pt x="1629356" y="5600700"/>
                </a:cubicBezTo>
                <a:lnTo>
                  <a:pt x="0" y="5600700"/>
                </a:lnTo>
                <a:cubicBezTo>
                  <a:pt x="0" y="2507519"/>
                  <a:pt x="2507519" y="0"/>
                  <a:pt x="5600700" y="0"/>
                </a:cubicBezTo>
                <a:close/>
              </a:path>
            </a:pathLst>
          </a:cu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l"/>
            <a:endParaRPr lang="zh-CN" altLang="en-US" sz="1600">
              <a:solidFill>
                <a:schemeClr val="bg1"/>
              </a:solidFill>
              <a:latin typeface="+mj-ea"/>
              <a:ea typeface="+mj-ea"/>
            </a:endParaRPr>
          </a:p>
        </p:txBody>
      </p:sp>
      <p:sp>
        <p:nvSpPr>
          <p:cNvPr id="69" name="任意多边形: 形状 68">
            <a:extLst>
              <a:ext uri="{FF2B5EF4-FFF2-40B4-BE49-F238E27FC236}">
                <a16:creationId xmlns:a16="http://schemas.microsoft.com/office/drawing/2014/main" id="{C3154499-AA9E-46CC-82C3-6E240BB4BB61}"/>
              </a:ext>
            </a:extLst>
          </p:cNvPr>
          <p:cNvSpPr/>
          <p:nvPr/>
        </p:nvSpPr>
        <p:spPr>
          <a:xfrm>
            <a:off x="3124200" y="3886200"/>
            <a:ext cx="5943600" cy="2971800"/>
          </a:xfrm>
          <a:custGeom>
            <a:avLst/>
            <a:gdLst>
              <a:gd name="connsiteX0" fmla="*/ 2971800 w 5943600"/>
              <a:gd name="connsiteY0" fmla="*/ 0 h 2971800"/>
              <a:gd name="connsiteX1" fmla="*/ 5943600 w 5943600"/>
              <a:gd name="connsiteY1" fmla="*/ 2971800 h 2971800"/>
              <a:gd name="connsiteX2" fmla="*/ 0 w 5943600"/>
              <a:gd name="connsiteY2" fmla="*/ 2971800 h 2971800"/>
              <a:gd name="connsiteX3" fmla="*/ 2971800 w 5943600"/>
              <a:gd name="connsiteY3" fmla="*/ 0 h 2971800"/>
            </a:gdLst>
            <a:ahLst/>
            <a:cxnLst>
              <a:cxn ang="0">
                <a:pos x="connsiteX0" y="connsiteY0"/>
              </a:cxn>
              <a:cxn ang="0">
                <a:pos x="connsiteX1" y="connsiteY1"/>
              </a:cxn>
              <a:cxn ang="0">
                <a:pos x="connsiteX2" y="connsiteY2"/>
              </a:cxn>
              <a:cxn ang="0">
                <a:pos x="connsiteX3" y="connsiteY3"/>
              </a:cxn>
            </a:cxnLst>
            <a:rect l="l" t="t" r="r" b="b"/>
            <a:pathLst>
              <a:path w="5943600" h="2971800">
                <a:moveTo>
                  <a:pt x="2971800" y="0"/>
                </a:moveTo>
                <a:cubicBezTo>
                  <a:pt x="4613080" y="0"/>
                  <a:pt x="5943600" y="1330520"/>
                  <a:pt x="5943600" y="2971800"/>
                </a:cubicBezTo>
                <a:lnTo>
                  <a:pt x="0" y="2971800"/>
                </a:lnTo>
                <a:cubicBezTo>
                  <a:pt x="0" y="1330520"/>
                  <a:pt x="1330520" y="0"/>
                  <a:pt x="2971800" y="0"/>
                </a:cubicBezTo>
                <a:close/>
              </a:path>
            </a:pathLst>
          </a:custGeom>
          <a:solidFill>
            <a:schemeClr val="accent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l"/>
            <a:endParaRPr lang="zh-CN" altLang="en-US" sz="1600">
              <a:solidFill>
                <a:schemeClr val="bg1"/>
              </a:solidFill>
              <a:latin typeface="+mj-ea"/>
              <a:ea typeface="+mj-ea"/>
            </a:endParaRPr>
          </a:p>
        </p:txBody>
      </p:sp>
      <p:sp>
        <p:nvSpPr>
          <p:cNvPr id="30" name="任意多边形: 形状 29">
            <a:extLst>
              <a:ext uri="{FF2B5EF4-FFF2-40B4-BE49-F238E27FC236}">
                <a16:creationId xmlns:a16="http://schemas.microsoft.com/office/drawing/2014/main" id="{F0D84496-0F36-4B8C-8940-AC5EBCD33FD2}"/>
              </a:ext>
            </a:extLst>
          </p:cNvPr>
          <p:cNvSpPr/>
          <p:nvPr/>
        </p:nvSpPr>
        <p:spPr>
          <a:xfrm>
            <a:off x="3499893" y="4185694"/>
            <a:ext cx="5192214" cy="2672307"/>
          </a:xfrm>
          <a:custGeom>
            <a:avLst/>
            <a:gdLst>
              <a:gd name="connsiteX0" fmla="*/ 2596107 w 5192214"/>
              <a:gd name="connsiteY0" fmla="*/ 0 h 2672307"/>
              <a:gd name="connsiteX1" fmla="*/ 5192214 w 5192214"/>
              <a:gd name="connsiteY1" fmla="*/ 2596107 h 2672307"/>
              <a:gd name="connsiteX2" fmla="*/ 5188366 w 5192214"/>
              <a:gd name="connsiteY2" fmla="*/ 2672307 h 2672307"/>
              <a:gd name="connsiteX3" fmla="*/ 3848 w 5192214"/>
              <a:gd name="connsiteY3" fmla="*/ 2672307 h 2672307"/>
              <a:gd name="connsiteX4" fmla="*/ 0 w 5192214"/>
              <a:gd name="connsiteY4" fmla="*/ 2596107 h 2672307"/>
              <a:gd name="connsiteX5" fmla="*/ 2596107 w 5192214"/>
              <a:gd name="connsiteY5" fmla="*/ 0 h 2672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192214" h="2672307">
                <a:moveTo>
                  <a:pt x="2596107" y="0"/>
                </a:moveTo>
                <a:cubicBezTo>
                  <a:pt x="4029897" y="0"/>
                  <a:pt x="5192214" y="1162317"/>
                  <a:pt x="5192214" y="2596107"/>
                </a:cubicBezTo>
                <a:lnTo>
                  <a:pt x="5188366" y="2672307"/>
                </a:lnTo>
                <a:lnTo>
                  <a:pt x="3848" y="2672307"/>
                </a:lnTo>
                <a:lnTo>
                  <a:pt x="0" y="2596107"/>
                </a:lnTo>
                <a:cubicBezTo>
                  <a:pt x="0" y="1162317"/>
                  <a:pt x="1162317" y="0"/>
                  <a:pt x="2596107"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l"/>
            <a:endParaRPr lang="zh-CN" altLang="en-US" sz="1600">
              <a:solidFill>
                <a:schemeClr val="bg1"/>
              </a:solidFill>
              <a:latin typeface="+mj-ea"/>
              <a:ea typeface="+mj-ea"/>
            </a:endParaRPr>
          </a:p>
        </p:txBody>
      </p:sp>
      <p:sp>
        <p:nvSpPr>
          <p:cNvPr id="26" name="user_209046">
            <a:extLst>
              <a:ext uri="{FF2B5EF4-FFF2-40B4-BE49-F238E27FC236}">
                <a16:creationId xmlns:a16="http://schemas.microsoft.com/office/drawing/2014/main" id="{39B71D26-C1B0-4FC1-ADC7-FB96A65B3C6B}"/>
              </a:ext>
            </a:extLst>
          </p:cNvPr>
          <p:cNvSpPr/>
          <p:nvPr/>
        </p:nvSpPr>
        <p:spPr>
          <a:xfrm>
            <a:off x="5557391" y="4714059"/>
            <a:ext cx="1203872" cy="1085600"/>
          </a:xfrm>
          <a:custGeom>
            <a:avLst/>
            <a:gdLst>
              <a:gd name="connsiteX0" fmla="*/ 521432 w 608344"/>
              <a:gd name="connsiteY0" fmla="*/ 370453 h 548582"/>
              <a:gd name="connsiteX1" fmla="*/ 465737 w 608344"/>
              <a:gd name="connsiteY1" fmla="*/ 425787 h 548582"/>
              <a:gd name="connsiteX2" fmla="*/ 442491 w 608344"/>
              <a:gd name="connsiteY2" fmla="*/ 402479 h 548582"/>
              <a:gd name="connsiteX3" fmla="*/ 418201 w 608344"/>
              <a:gd name="connsiteY3" fmla="*/ 426545 h 548582"/>
              <a:gd name="connsiteX4" fmla="*/ 441447 w 608344"/>
              <a:gd name="connsiteY4" fmla="*/ 449948 h 548582"/>
              <a:gd name="connsiteX5" fmla="*/ 465642 w 608344"/>
              <a:gd name="connsiteY5" fmla="*/ 474204 h 548582"/>
              <a:gd name="connsiteX6" fmla="*/ 489932 w 608344"/>
              <a:gd name="connsiteY6" fmla="*/ 450043 h 548582"/>
              <a:gd name="connsiteX7" fmla="*/ 545532 w 608344"/>
              <a:gd name="connsiteY7" fmla="*/ 394709 h 548582"/>
              <a:gd name="connsiteX8" fmla="*/ 481962 w 608344"/>
              <a:gd name="connsiteY8" fmla="*/ 296170 h 548582"/>
              <a:gd name="connsiteX9" fmla="*/ 608344 w 608344"/>
              <a:gd name="connsiteY9" fmla="*/ 422376 h 548582"/>
              <a:gd name="connsiteX10" fmla="*/ 481962 w 608344"/>
              <a:gd name="connsiteY10" fmla="*/ 548582 h 548582"/>
              <a:gd name="connsiteX11" fmla="*/ 355579 w 608344"/>
              <a:gd name="connsiteY11" fmla="*/ 422376 h 548582"/>
              <a:gd name="connsiteX12" fmla="*/ 481962 w 608344"/>
              <a:gd name="connsiteY12" fmla="*/ 296170 h 548582"/>
              <a:gd name="connsiteX13" fmla="*/ 255835 w 608344"/>
              <a:gd name="connsiteY13" fmla="*/ 446 h 548582"/>
              <a:gd name="connsiteX14" fmla="*/ 317801 w 608344"/>
              <a:gd name="connsiteY14" fmla="*/ 13616 h 548582"/>
              <a:gd name="connsiteX15" fmla="*/ 348072 w 608344"/>
              <a:gd name="connsiteY15" fmla="*/ 41661 h 548582"/>
              <a:gd name="connsiteX16" fmla="*/ 381190 w 608344"/>
              <a:gd name="connsiteY16" fmla="*/ 146831 h 548582"/>
              <a:gd name="connsiteX17" fmla="*/ 378913 w 608344"/>
              <a:gd name="connsiteY17" fmla="*/ 156211 h 548582"/>
              <a:gd name="connsiteX18" fmla="*/ 387833 w 608344"/>
              <a:gd name="connsiteY18" fmla="*/ 200458 h 548582"/>
              <a:gd name="connsiteX19" fmla="*/ 366387 w 608344"/>
              <a:gd name="connsiteY19" fmla="*/ 237694 h 548582"/>
              <a:gd name="connsiteX20" fmla="*/ 351393 w 608344"/>
              <a:gd name="connsiteY20" fmla="*/ 278720 h 548582"/>
              <a:gd name="connsiteX21" fmla="*/ 351393 w 608344"/>
              <a:gd name="connsiteY21" fmla="*/ 322873 h 548582"/>
              <a:gd name="connsiteX22" fmla="*/ 317611 w 608344"/>
              <a:gd name="connsiteY22" fmla="*/ 422358 h 548582"/>
              <a:gd name="connsiteX23" fmla="*/ 376635 w 608344"/>
              <a:gd name="connsiteY23" fmla="*/ 548088 h 548582"/>
              <a:gd name="connsiteX24" fmla="*/ 26855 w 608344"/>
              <a:gd name="connsiteY24" fmla="*/ 548088 h 548582"/>
              <a:gd name="connsiteX25" fmla="*/ 0 w 608344"/>
              <a:gd name="connsiteY25" fmla="*/ 521274 h 548582"/>
              <a:gd name="connsiteX26" fmla="*/ 0 w 608344"/>
              <a:gd name="connsiteY26" fmla="*/ 473806 h 548582"/>
              <a:gd name="connsiteX27" fmla="*/ 19453 w 608344"/>
              <a:gd name="connsiteY27" fmla="*/ 432969 h 548582"/>
              <a:gd name="connsiteX28" fmla="*/ 173751 w 608344"/>
              <a:gd name="connsiteY28" fmla="*/ 334242 h 548582"/>
              <a:gd name="connsiteX29" fmla="*/ 176408 w 608344"/>
              <a:gd name="connsiteY29" fmla="*/ 329884 h 548582"/>
              <a:gd name="connsiteX30" fmla="*/ 176408 w 608344"/>
              <a:gd name="connsiteY30" fmla="*/ 278720 h 548582"/>
              <a:gd name="connsiteX31" fmla="*/ 161320 w 608344"/>
              <a:gd name="connsiteY31" fmla="*/ 237694 h 548582"/>
              <a:gd name="connsiteX32" fmla="*/ 139969 w 608344"/>
              <a:gd name="connsiteY32" fmla="*/ 200458 h 548582"/>
              <a:gd name="connsiteX33" fmla="*/ 148320 w 608344"/>
              <a:gd name="connsiteY33" fmla="*/ 156211 h 548582"/>
              <a:gd name="connsiteX34" fmla="*/ 146042 w 608344"/>
              <a:gd name="connsiteY34" fmla="*/ 146736 h 548582"/>
              <a:gd name="connsiteX35" fmla="*/ 145758 w 608344"/>
              <a:gd name="connsiteY35" fmla="*/ 95099 h 548582"/>
              <a:gd name="connsiteX36" fmla="*/ 176029 w 608344"/>
              <a:gd name="connsiteY36" fmla="*/ 42135 h 548582"/>
              <a:gd name="connsiteX37" fmla="*/ 203928 w 608344"/>
              <a:gd name="connsiteY37" fmla="*/ 19017 h 548582"/>
              <a:gd name="connsiteX38" fmla="*/ 231162 w 608344"/>
              <a:gd name="connsiteY38" fmla="*/ 5089 h 548582"/>
              <a:gd name="connsiteX39" fmla="*/ 255835 w 608344"/>
              <a:gd name="connsiteY39" fmla="*/ 446 h 548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608344" h="548582">
                <a:moveTo>
                  <a:pt x="521432" y="370453"/>
                </a:moveTo>
                <a:lnTo>
                  <a:pt x="465737" y="425787"/>
                </a:lnTo>
                <a:lnTo>
                  <a:pt x="442491" y="402479"/>
                </a:lnTo>
                <a:lnTo>
                  <a:pt x="418201" y="426545"/>
                </a:lnTo>
                <a:lnTo>
                  <a:pt x="441447" y="449948"/>
                </a:lnTo>
                <a:lnTo>
                  <a:pt x="465642" y="474204"/>
                </a:lnTo>
                <a:lnTo>
                  <a:pt x="489932" y="450043"/>
                </a:lnTo>
                <a:lnTo>
                  <a:pt x="545532" y="394709"/>
                </a:lnTo>
                <a:close/>
                <a:moveTo>
                  <a:pt x="481962" y="296170"/>
                </a:moveTo>
                <a:cubicBezTo>
                  <a:pt x="551795" y="296170"/>
                  <a:pt x="608344" y="352641"/>
                  <a:pt x="608344" y="422376"/>
                </a:cubicBezTo>
                <a:cubicBezTo>
                  <a:pt x="608344" y="492111"/>
                  <a:pt x="551795" y="548582"/>
                  <a:pt x="481962" y="548582"/>
                </a:cubicBezTo>
                <a:cubicBezTo>
                  <a:pt x="412129" y="548582"/>
                  <a:pt x="355579" y="492111"/>
                  <a:pt x="355579" y="422376"/>
                </a:cubicBezTo>
                <a:cubicBezTo>
                  <a:pt x="355579" y="352641"/>
                  <a:pt x="412129" y="296170"/>
                  <a:pt x="481962" y="296170"/>
                </a:cubicBezTo>
                <a:close/>
                <a:moveTo>
                  <a:pt x="255835" y="446"/>
                </a:moveTo>
                <a:cubicBezTo>
                  <a:pt x="282785" y="-1828"/>
                  <a:pt x="303187" y="4899"/>
                  <a:pt x="317801" y="13616"/>
                </a:cubicBezTo>
                <a:cubicBezTo>
                  <a:pt x="339721" y="25744"/>
                  <a:pt x="348072" y="41661"/>
                  <a:pt x="348072" y="41661"/>
                </a:cubicBezTo>
                <a:cubicBezTo>
                  <a:pt x="348072" y="41661"/>
                  <a:pt x="398176" y="45167"/>
                  <a:pt x="381190" y="146831"/>
                </a:cubicBezTo>
                <a:cubicBezTo>
                  <a:pt x="380621" y="149863"/>
                  <a:pt x="379862" y="153085"/>
                  <a:pt x="378913" y="156211"/>
                </a:cubicBezTo>
                <a:cubicBezTo>
                  <a:pt x="388592" y="156211"/>
                  <a:pt x="398271" y="163507"/>
                  <a:pt x="387833" y="200458"/>
                </a:cubicBezTo>
                <a:cubicBezTo>
                  <a:pt x="379672" y="229262"/>
                  <a:pt x="372080" y="237221"/>
                  <a:pt x="366387" y="237694"/>
                </a:cubicBezTo>
                <a:cubicBezTo>
                  <a:pt x="364394" y="250675"/>
                  <a:pt x="359175" y="265076"/>
                  <a:pt x="351393" y="278720"/>
                </a:cubicBezTo>
                <a:lnTo>
                  <a:pt x="351393" y="322873"/>
                </a:lnTo>
                <a:cubicBezTo>
                  <a:pt x="330232" y="350539"/>
                  <a:pt x="317611" y="385027"/>
                  <a:pt x="317611" y="422358"/>
                </a:cubicBezTo>
                <a:cubicBezTo>
                  <a:pt x="317611" y="472764"/>
                  <a:pt x="340480" y="518053"/>
                  <a:pt x="376635" y="548088"/>
                </a:cubicBezTo>
                <a:lnTo>
                  <a:pt x="26855" y="548088"/>
                </a:lnTo>
                <a:cubicBezTo>
                  <a:pt x="12052" y="548088"/>
                  <a:pt x="0" y="536055"/>
                  <a:pt x="0" y="521274"/>
                </a:cubicBezTo>
                <a:lnTo>
                  <a:pt x="0" y="473806"/>
                </a:lnTo>
                <a:cubicBezTo>
                  <a:pt x="0" y="457983"/>
                  <a:pt x="7212" y="443013"/>
                  <a:pt x="19453" y="432969"/>
                </a:cubicBezTo>
                <a:cubicBezTo>
                  <a:pt x="86638" y="377921"/>
                  <a:pt x="159043" y="341443"/>
                  <a:pt x="173751" y="334242"/>
                </a:cubicBezTo>
                <a:cubicBezTo>
                  <a:pt x="175365" y="333484"/>
                  <a:pt x="176408" y="331779"/>
                  <a:pt x="176408" y="329884"/>
                </a:cubicBezTo>
                <a:lnTo>
                  <a:pt x="176408" y="278720"/>
                </a:lnTo>
                <a:cubicBezTo>
                  <a:pt x="168437" y="265076"/>
                  <a:pt x="163313" y="250675"/>
                  <a:pt x="161320" y="237694"/>
                </a:cubicBezTo>
                <a:cubicBezTo>
                  <a:pt x="155627" y="237221"/>
                  <a:pt x="148035" y="229072"/>
                  <a:pt x="139969" y="200458"/>
                </a:cubicBezTo>
                <a:cubicBezTo>
                  <a:pt x="129531" y="164170"/>
                  <a:pt x="138925" y="156496"/>
                  <a:pt x="148320" y="156211"/>
                </a:cubicBezTo>
                <a:cubicBezTo>
                  <a:pt x="147371" y="153085"/>
                  <a:pt x="146612" y="149863"/>
                  <a:pt x="146042" y="146736"/>
                </a:cubicBezTo>
                <a:cubicBezTo>
                  <a:pt x="142436" y="128450"/>
                  <a:pt x="141487" y="111396"/>
                  <a:pt x="145758" y="95099"/>
                </a:cubicBezTo>
                <a:cubicBezTo>
                  <a:pt x="150787" y="73212"/>
                  <a:pt x="162744" y="55684"/>
                  <a:pt x="176029" y="42135"/>
                </a:cubicBezTo>
                <a:cubicBezTo>
                  <a:pt x="184379" y="33134"/>
                  <a:pt x="193869" y="25459"/>
                  <a:pt x="203928" y="19017"/>
                </a:cubicBezTo>
                <a:cubicBezTo>
                  <a:pt x="212183" y="13332"/>
                  <a:pt x="221293" y="8405"/>
                  <a:pt x="231162" y="5089"/>
                </a:cubicBezTo>
                <a:cubicBezTo>
                  <a:pt x="238849" y="2625"/>
                  <a:pt x="247105" y="825"/>
                  <a:pt x="255835" y="446"/>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 name="文本框 26">
            <a:extLst>
              <a:ext uri="{FF2B5EF4-FFF2-40B4-BE49-F238E27FC236}">
                <a16:creationId xmlns:a16="http://schemas.microsoft.com/office/drawing/2014/main" id="{38D4651F-123F-4B5B-B3DC-6345117735FD}"/>
              </a:ext>
            </a:extLst>
          </p:cNvPr>
          <p:cNvSpPr txBox="1"/>
          <p:nvPr/>
        </p:nvSpPr>
        <p:spPr>
          <a:xfrm>
            <a:off x="5305426" y="5933842"/>
            <a:ext cx="1581150" cy="553998"/>
          </a:xfrm>
          <a:prstGeom prst="rect">
            <a:avLst/>
          </a:prstGeom>
          <a:noFill/>
        </p:spPr>
        <p:txBody>
          <a:bodyPr wrap="square" lIns="0" tIns="0" rIns="0" bIns="0" rtlCol="0" anchor="t">
            <a:spAutoFit/>
          </a:bodyPr>
          <a:lstStyle/>
          <a:p>
            <a:pPr algn="ctr"/>
            <a:r>
              <a:rPr lang="zh-CN" altLang="en-US" sz="3600" dirty="0">
                <a:solidFill>
                  <a:schemeClr val="bg1"/>
                </a:solidFill>
                <a:latin typeface="+mj-ea"/>
                <a:ea typeface="+mj-ea"/>
              </a:rPr>
              <a:t>关键词</a:t>
            </a:r>
          </a:p>
        </p:txBody>
      </p:sp>
      <p:grpSp>
        <p:nvGrpSpPr>
          <p:cNvPr id="17" name="组合 16">
            <a:extLst>
              <a:ext uri="{FF2B5EF4-FFF2-40B4-BE49-F238E27FC236}">
                <a16:creationId xmlns:a16="http://schemas.microsoft.com/office/drawing/2014/main" id="{49DAFE92-7D5B-4CBC-B366-B401853B6359}"/>
              </a:ext>
            </a:extLst>
          </p:cNvPr>
          <p:cNvGrpSpPr/>
          <p:nvPr/>
        </p:nvGrpSpPr>
        <p:grpSpPr>
          <a:xfrm>
            <a:off x="1199641" y="4048945"/>
            <a:ext cx="1146748" cy="1330228"/>
            <a:chOff x="1199641" y="4048945"/>
            <a:chExt cx="1146748" cy="1330228"/>
          </a:xfrm>
        </p:grpSpPr>
        <p:sp>
          <p:nvSpPr>
            <p:cNvPr id="14" name="六边形 13">
              <a:extLst>
                <a:ext uri="{FF2B5EF4-FFF2-40B4-BE49-F238E27FC236}">
                  <a16:creationId xmlns:a16="http://schemas.microsoft.com/office/drawing/2014/main" id="{E35D6576-611B-421C-81B2-335767C06950}"/>
                </a:ext>
              </a:extLst>
            </p:cNvPr>
            <p:cNvSpPr/>
            <p:nvPr/>
          </p:nvSpPr>
          <p:spPr>
            <a:xfrm rot="5400000">
              <a:off x="1107901" y="4140685"/>
              <a:ext cx="1330228" cy="1146748"/>
            </a:xfrm>
            <a:prstGeom prst="hexagon">
              <a:avLst>
                <a:gd name="adj" fmla="val 28092"/>
                <a:gd name="vf" fmla="val 115470"/>
              </a:avLst>
            </a:prstGeom>
            <a:solidFill>
              <a:schemeClr val="accent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34" name="六边形 33">
              <a:extLst>
                <a:ext uri="{FF2B5EF4-FFF2-40B4-BE49-F238E27FC236}">
                  <a16:creationId xmlns:a16="http://schemas.microsoft.com/office/drawing/2014/main" id="{6378C4E7-1DA0-4BCD-A0DA-237669A5BCEF}"/>
                </a:ext>
              </a:extLst>
            </p:cNvPr>
            <p:cNvSpPr/>
            <p:nvPr/>
          </p:nvSpPr>
          <p:spPr>
            <a:xfrm rot="5400000">
              <a:off x="1209630" y="4228382"/>
              <a:ext cx="1126770" cy="971354"/>
            </a:xfrm>
            <a:prstGeom prst="hexagon">
              <a:avLst>
                <a:gd name="adj" fmla="val 28092"/>
                <a:gd name="vf" fmla="val 11547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39" name="文本框 38">
              <a:extLst>
                <a:ext uri="{FF2B5EF4-FFF2-40B4-BE49-F238E27FC236}">
                  <a16:creationId xmlns:a16="http://schemas.microsoft.com/office/drawing/2014/main" id="{1C973AC1-A5F9-4DC6-9DDC-A64D8F92B9D0}"/>
                </a:ext>
              </a:extLst>
            </p:cNvPr>
            <p:cNvSpPr txBox="1"/>
            <p:nvPr/>
          </p:nvSpPr>
          <p:spPr>
            <a:xfrm>
              <a:off x="1334714" y="4535485"/>
              <a:ext cx="875256" cy="307777"/>
            </a:xfrm>
            <a:prstGeom prst="rect">
              <a:avLst/>
            </a:prstGeom>
            <a:noFill/>
          </p:spPr>
          <p:txBody>
            <a:bodyPr wrap="square" lIns="0" tIns="0" rIns="0" bIns="0" rtlCol="0" anchor="t">
              <a:spAutoFit/>
            </a:bodyPr>
            <a:lstStyle/>
            <a:p>
              <a:pPr algn="ctr"/>
              <a:r>
                <a:rPr lang="zh-CN" altLang="en-US" sz="2000" dirty="0">
                  <a:solidFill>
                    <a:schemeClr val="bg1"/>
                  </a:solidFill>
                  <a:latin typeface="+mj-ea"/>
                  <a:ea typeface="+mj-ea"/>
                </a:rPr>
                <a:t>关键词</a:t>
              </a:r>
            </a:p>
          </p:txBody>
        </p:sp>
      </p:grpSp>
      <p:grpSp>
        <p:nvGrpSpPr>
          <p:cNvPr id="40" name="组合 39">
            <a:extLst>
              <a:ext uri="{FF2B5EF4-FFF2-40B4-BE49-F238E27FC236}">
                <a16:creationId xmlns:a16="http://schemas.microsoft.com/office/drawing/2014/main" id="{D393CED1-DC93-478B-8E81-8A2A676CDDC7}"/>
              </a:ext>
            </a:extLst>
          </p:cNvPr>
          <p:cNvGrpSpPr/>
          <p:nvPr/>
        </p:nvGrpSpPr>
        <p:grpSpPr>
          <a:xfrm>
            <a:off x="2760587" y="2211882"/>
            <a:ext cx="1146748" cy="1330228"/>
            <a:chOff x="1199641" y="4048945"/>
            <a:chExt cx="1146748" cy="1330228"/>
          </a:xfrm>
        </p:grpSpPr>
        <p:sp>
          <p:nvSpPr>
            <p:cNvPr id="44" name="六边形 43">
              <a:extLst>
                <a:ext uri="{FF2B5EF4-FFF2-40B4-BE49-F238E27FC236}">
                  <a16:creationId xmlns:a16="http://schemas.microsoft.com/office/drawing/2014/main" id="{8F082FAB-1F65-45D0-9A6B-732332DE627F}"/>
                </a:ext>
              </a:extLst>
            </p:cNvPr>
            <p:cNvSpPr/>
            <p:nvPr/>
          </p:nvSpPr>
          <p:spPr>
            <a:xfrm rot="5400000">
              <a:off x="1107901" y="4140685"/>
              <a:ext cx="1330228" cy="1146748"/>
            </a:xfrm>
            <a:prstGeom prst="hexagon">
              <a:avLst>
                <a:gd name="adj" fmla="val 28092"/>
                <a:gd name="vf" fmla="val 115470"/>
              </a:avLst>
            </a:prstGeom>
            <a:solidFill>
              <a:schemeClr val="accent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51" name="六边形 50">
              <a:extLst>
                <a:ext uri="{FF2B5EF4-FFF2-40B4-BE49-F238E27FC236}">
                  <a16:creationId xmlns:a16="http://schemas.microsoft.com/office/drawing/2014/main" id="{C4B60BC5-1E7D-4CA7-9015-A70AD716F70F}"/>
                </a:ext>
              </a:extLst>
            </p:cNvPr>
            <p:cNvSpPr/>
            <p:nvPr/>
          </p:nvSpPr>
          <p:spPr>
            <a:xfrm rot="5400000">
              <a:off x="1209630" y="4228382"/>
              <a:ext cx="1126770" cy="971354"/>
            </a:xfrm>
            <a:prstGeom prst="hexagon">
              <a:avLst>
                <a:gd name="adj" fmla="val 28092"/>
                <a:gd name="vf" fmla="val 11547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52" name="文本框 51">
              <a:extLst>
                <a:ext uri="{FF2B5EF4-FFF2-40B4-BE49-F238E27FC236}">
                  <a16:creationId xmlns:a16="http://schemas.microsoft.com/office/drawing/2014/main" id="{68F8CCCD-8E7D-466C-9C2E-F9DD3F251776}"/>
                </a:ext>
              </a:extLst>
            </p:cNvPr>
            <p:cNvSpPr txBox="1"/>
            <p:nvPr/>
          </p:nvSpPr>
          <p:spPr>
            <a:xfrm>
              <a:off x="1334714" y="4535485"/>
              <a:ext cx="875256" cy="307777"/>
            </a:xfrm>
            <a:prstGeom prst="rect">
              <a:avLst/>
            </a:prstGeom>
            <a:noFill/>
          </p:spPr>
          <p:txBody>
            <a:bodyPr wrap="square" lIns="0" tIns="0" rIns="0" bIns="0" rtlCol="0" anchor="t">
              <a:spAutoFit/>
            </a:bodyPr>
            <a:lstStyle/>
            <a:p>
              <a:pPr algn="ctr"/>
              <a:r>
                <a:rPr lang="zh-CN" altLang="en-US" sz="2000" dirty="0">
                  <a:solidFill>
                    <a:schemeClr val="bg1"/>
                  </a:solidFill>
                  <a:latin typeface="+mj-ea"/>
                  <a:ea typeface="+mj-ea"/>
                </a:rPr>
                <a:t>关键词</a:t>
              </a:r>
            </a:p>
          </p:txBody>
        </p:sp>
      </p:grpSp>
      <p:grpSp>
        <p:nvGrpSpPr>
          <p:cNvPr id="53" name="组合 52">
            <a:extLst>
              <a:ext uri="{FF2B5EF4-FFF2-40B4-BE49-F238E27FC236}">
                <a16:creationId xmlns:a16="http://schemas.microsoft.com/office/drawing/2014/main" id="{2B6AAB8D-9183-4C09-91C5-70CA9CA0D45F}"/>
              </a:ext>
            </a:extLst>
          </p:cNvPr>
          <p:cNvGrpSpPr/>
          <p:nvPr/>
        </p:nvGrpSpPr>
        <p:grpSpPr>
          <a:xfrm>
            <a:off x="5522626" y="1366980"/>
            <a:ext cx="1146748" cy="1330228"/>
            <a:chOff x="1199641" y="4048945"/>
            <a:chExt cx="1146748" cy="1330228"/>
          </a:xfrm>
        </p:grpSpPr>
        <p:sp>
          <p:nvSpPr>
            <p:cNvPr id="54" name="六边形 53">
              <a:extLst>
                <a:ext uri="{FF2B5EF4-FFF2-40B4-BE49-F238E27FC236}">
                  <a16:creationId xmlns:a16="http://schemas.microsoft.com/office/drawing/2014/main" id="{0224C05D-7972-48C0-8B95-95B55171D230}"/>
                </a:ext>
              </a:extLst>
            </p:cNvPr>
            <p:cNvSpPr/>
            <p:nvPr/>
          </p:nvSpPr>
          <p:spPr>
            <a:xfrm rot="5400000">
              <a:off x="1107901" y="4140685"/>
              <a:ext cx="1330228" cy="1146748"/>
            </a:xfrm>
            <a:prstGeom prst="hexagon">
              <a:avLst>
                <a:gd name="adj" fmla="val 28092"/>
                <a:gd name="vf" fmla="val 115470"/>
              </a:avLst>
            </a:prstGeom>
            <a:solidFill>
              <a:schemeClr val="accent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55" name="六边形 54">
              <a:extLst>
                <a:ext uri="{FF2B5EF4-FFF2-40B4-BE49-F238E27FC236}">
                  <a16:creationId xmlns:a16="http://schemas.microsoft.com/office/drawing/2014/main" id="{F402932C-AC0F-4741-9810-F0E5D07F066B}"/>
                </a:ext>
              </a:extLst>
            </p:cNvPr>
            <p:cNvSpPr/>
            <p:nvPr/>
          </p:nvSpPr>
          <p:spPr>
            <a:xfrm rot="5400000">
              <a:off x="1209630" y="4228382"/>
              <a:ext cx="1126770" cy="971354"/>
            </a:xfrm>
            <a:prstGeom prst="hexagon">
              <a:avLst>
                <a:gd name="adj" fmla="val 28092"/>
                <a:gd name="vf" fmla="val 11547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56" name="文本框 55">
              <a:extLst>
                <a:ext uri="{FF2B5EF4-FFF2-40B4-BE49-F238E27FC236}">
                  <a16:creationId xmlns:a16="http://schemas.microsoft.com/office/drawing/2014/main" id="{D0A765BF-DE1A-4A08-8F04-FFE2464E6FF7}"/>
                </a:ext>
              </a:extLst>
            </p:cNvPr>
            <p:cNvSpPr txBox="1"/>
            <p:nvPr/>
          </p:nvSpPr>
          <p:spPr>
            <a:xfrm>
              <a:off x="1334714" y="4535485"/>
              <a:ext cx="875256" cy="307777"/>
            </a:xfrm>
            <a:prstGeom prst="rect">
              <a:avLst/>
            </a:prstGeom>
            <a:noFill/>
          </p:spPr>
          <p:txBody>
            <a:bodyPr wrap="square" lIns="0" tIns="0" rIns="0" bIns="0" rtlCol="0" anchor="t">
              <a:spAutoFit/>
            </a:bodyPr>
            <a:lstStyle/>
            <a:p>
              <a:pPr algn="ctr"/>
              <a:r>
                <a:rPr lang="zh-CN" altLang="en-US" sz="2000" dirty="0">
                  <a:solidFill>
                    <a:schemeClr val="bg1"/>
                  </a:solidFill>
                  <a:latin typeface="+mj-ea"/>
                  <a:ea typeface="+mj-ea"/>
                </a:rPr>
                <a:t>关键词</a:t>
              </a:r>
            </a:p>
          </p:txBody>
        </p:sp>
      </p:grpSp>
      <p:grpSp>
        <p:nvGrpSpPr>
          <p:cNvPr id="57" name="组合 56">
            <a:extLst>
              <a:ext uri="{FF2B5EF4-FFF2-40B4-BE49-F238E27FC236}">
                <a16:creationId xmlns:a16="http://schemas.microsoft.com/office/drawing/2014/main" id="{DC6360C2-3083-4565-8491-661633014A1D}"/>
              </a:ext>
            </a:extLst>
          </p:cNvPr>
          <p:cNvGrpSpPr/>
          <p:nvPr/>
        </p:nvGrpSpPr>
        <p:grpSpPr>
          <a:xfrm>
            <a:off x="8118733" y="2211882"/>
            <a:ext cx="1146748" cy="1330228"/>
            <a:chOff x="1199641" y="4048945"/>
            <a:chExt cx="1146748" cy="1330228"/>
          </a:xfrm>
        </p:grpSpPr>
        <p:sp>
          <p:nvSpPr>
            <p:cNvPr id="58" name="六边形 57">
              <a:extLst>
                <a:ext uri="{FF2B5EF4-FFF2-40B4-BE49-F238E27FC236}">
                  <a16:creationId xmlns:a16="http://schemas.microsoft.com/office/drawing/2014/main" id="{4204A673-2AED-4A85-A66D-838D38FA8574}"/>
                </a:ext>
              </a:extLst>
            </p:cNvPr>
            <p:cNvSpPr/>
            <p:nvPr/>
          </p:nvSpPr>
          <p:spPr>
            <a:xfrm rot="5400000">
              <a:off x="1107901" y="4140685"/>
              <a:ext cx="1330228" cy="1146748"/>
            </a:xfrm>
            <a:prstGeom prst="hexagon">
              <a:avLst>
                <a:gd name="adj" fmla="val 28092"/>
                <a:gd name="vf" fmla="val 115470"/>
              </a:avLst>
            </a:prstGeom>
            <a:solidFill>
              <a:schemeClr val="accent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59" name="六边形 58">
              <a:extLst>
                <a:ext uri="{FF2B5EF4-FFF2-40B4-BE49-F238E27FC236}">
                  <a16:creationId xmlns:a16="http://schemas.microsoft.com/office/drawing/2014/main" id="{89D10DC2-3403-4678-84C6-918C6CC03FF1}"/>
                </a:ext>
              </a:extLst>
            </p:cNvPr>
            <p:cNvSpPr/>
            <p:nvPr/>
          </p:nvSpPr>
          <p:spPr>
            <a:xfrm rot="5400000">
              <a:off x="1209630" y="4228382"/>
              <a:ext cx="1126770" cy="971354"/>
            </a:xfrm>
            <a:prstGeom prst="hexagon">
              <a:avLst>
                <a:gd name="adj" fmla="val 28092"/>
                <a:gd name="vf" fmla="val 11547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60" name="文本框 59">
              <a:extLst>
                <a:ext uri="{FF2B5EF4-FFF2-40B4-BE49-F238E27FC236}">
                  <a16:creationId xmlns:a16="http://schemas.microsoft.com/office/drawing/2014/main" id="{6F74AA66-16A2-4FA4-A7FC-4AC5F198AA0B}"/>
                </a:ext>
              </a:extLst>
            </p:cNvPr>
            <p:cNvSpPr txBox="1"/>
            <p:nvPr/>
          </p:nvSpPr>
          <p:spPr>
            <a:xfrm>
              <a:off x="1334714" y="4535485"/>
              <a:ext cx="875256" cy="307777"/>
            </a:xfrm>
            <a:prstGeom prst="rect">
              <a:avLst/>
            </a:prstGeom>
            <a:noFill/>
          </p:spPr>
          <p:txBody>
            <a:bodyPr wrap="square" lIns="0" tIns="0" rIns="0" bIns="0" rtlCol="0" anchor="t">
              <a:spAutoFit/>
            </a:bodyPr>
            <a:lstStyle/>
            <a:p>
              <a:pPr algn="ctr"/>
              <a:r>
                <a:rPr lang="zh-CN" altLang="en-US" sz="2000" dirty="0">
                  <a:solidFill>
                    <a:schemeClr val="bg1"/>
                  </a:solidFill>
                  <a:latin typeface="+mj-ea"/>
                  <a:ea typeface="+mj-ea"/>
                </a:rPr>
                <a:t>关键词</a:t>
              </a:r>
            </a:p>
          </p:txBody>
        </p:sp>
      </p:grpSp>
      <p:grpSp>
        <p:nvGrpSpPr>
          <p:cNvPr id="61" name="组合 60">
            <a:extLst>
              <a:ext uri="{FF2B5EF4-FFF2-40B4-BE49-F238E27FC236}">
                <a16:creationId xmlns:a16="http://schemas.microsoft.com/office/drawing/2014/main" id="{8B01DBBD-58C2-4A06-B9AF-76F7AA796547}"/>
              </a:ext>
            </a:extLst>
          </p:cNvPr>
          <p:cNvGrpSpPr/>
          <p:nvPr/>
        </p:nvGrpSpPr>
        <p:grpSpPr>
          <a:xfrm>
            <a:off x="9808876" y="4048945"/>
            <a:ext cx="1146748" cy="1330228"/>
            <a:chOff x="1199641" y="4048945"/>
            <a:chExt cx="1146748" cy="1330228"/>
          </a:xfrm>
        </p:grpSpPr>
        <p:sp>
          <p:nvSpPr>
            <p:cNvPr id="62" name="六边形 61">
              <a:extLst>
                <a:ext uri="{FF2B5EF4-FFF2-40B4-BE49-F238E27FC236}">
                  <a16:creationId xmlns:a16="http://schemas.microsoft.com/office/drawing/2014/main" id="{59A5DE4A-CFD9-4217-8C8D-41B3EFA8A7FB}"/>
                </a:ext>
              </a:extLst>
            </p:cNvPr>
            <p:cNvSpPr/>
            <p:nvPr/>
          </p:nvSpPr>
          <p:spPr>
            <a:xfrm rot="5400000">
              <a:off x="1107901" y="4140685"/>
              <a:ext cx="1330228" cy="1146748"/>
            </a:xfrm>
            <a:prstGeom prst="hexagon">
              <a:avLst>
                <a:gd name="adj" fmla="val 28092"/>
                <a:gd name="vf" fmla="val 115470"/>
              </a:avLst>
            </a:prstGeom>
            <a:solidFill>
              <a:schemeClr val="accent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63" name="六边形 62">
              <a:extLst>
                <a:ext uri="{FF2B5EF4-FFF2-40B4-BE49-F238E27FC236}">
                  <a16:creationId xmlns:a16="http://schemas.microsoft.com/office/drawing/2014/main" id="{AB184B02-357B-4038-810D-8BF7CF2CE5B6}"/>
                </a:ext>
              </a:extLst>
            </p:cNvPr>
            <p:cNvSpPr/>
            <p:nvPr/>
          </p:nvSpPr>
          <p:spPr>
            <a:xfrm rot="5400000">
              <a:off x="1209630" y="4228382"/>
              <a:ext cx="1126770" cy="971354"/>
            </a:xfrm>
            <a:prstGeom prst="hexagon">
              <a:avLst>
                <a:gd name="adj" fmla="val 28092"/>
                <a:gd name="vf" fmla="val 11547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65" name="文本框 64">
              <a:extLst>
                <a:ext uri="{FF2B5EF4-FFF2-40B4-BE49-F238E27FC236}">
                  <a16:creationId xmlns:a16="http://schemas.microsoft.com/office/drawing/2014/main" id="{501E856A-8D67-4E56-9D7F-4F7FC538F844}"/>
                </a:ext>
              </a:extLst>
            </p:cNvPr>
            <p:cNvSpPr txBox="1"/>
            <p:nvPr/>
          </p:nvSpPr>
          <p:spPr>
            <a:xfrm>
              <a:off x="1334714" y="4535485"/>
              <a:ext cx="875256" cy="307777"/>
            </a:xfrm>
            <a:prstGeom prst="rect">
              <a:avLst/>
            </a:prstGeom>
            <a:noFill/>
          </p:spPr>
          <p:txBody>
            <a:bodyPr wrap="square" lIns="0" tIns="0" rIns="0" bIns="0" rtlCol="0" anchor="t">
              <a:spAutoFit/>
            </a:bodyPr>
            <a:lstStyle/>
            <a:p>
              <a:pPr algn="ctr"/>
              <a:r>
                <a:rPr lang="zh-CN" altLang="en-US" sz="2000" dirty="0">
                  <a:solidFill>
                    <a:schemeClr val="bg1"/>
                  </a:solidFill>
                  <a:latin typeface="+mj-ea"/>
                  <a:ea typeface="+mj-ea"/>
                </a:rPr>
                <a:t>关键词</a:t>
              </a:r>
            </a:p>
          </p:txBody>
        </p:sp>
      </p:grpSp>
      <p:sp>
        <p:nvSpPr>
          <p:cNvPr id="19" name="弧形 18">
            <a:extLst>
              <a:ext uri="{FF2B5EF4-FFF2-40B4-BE49-F238E27FC236}">
                <a16:creationId xmlns:a16="http://schemas.microsoft.com/office/drawing/2014/main" id="{EB7F2BA1-2D8C-4C98-A644-2CCE4BE3CBFA}"/>
              </a:ext>
            </a:extLst>
          </p:cNvPr>
          <p:cNvSpPr/>
          <p:nvPr/>
        </p:nvSpPr>
        <p:spPr>
          <a:xfrm>
            <a:off x="2532743" y="3294743"/>
            <a:ext cx="7126514" cy="7126514"/>
          </a:xfrm>
          <a:prstGeom prst="arc">
            <a:avLst>
              <a:gd name="adj1" fmla="val 10792494"/>
              <a:gd name="adj2" fmla="val 13300846"/>
            </a:avLst>
          </a:prstGeom>
          <a:ln>
            <a:tailEnd type="stealt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sp>
        <p:nvSpPr>
          <p:cNvPr id="70" name="弧形 69">
            <a:extLst>
              <a:ext uri="{FF2B5EF4-FFF2-40B4-BE49-F238E27FC236}">
                <a16:creationId xmlns:a16="http://schemas.microsoft.com/office/drawing/2014/main" id="{3799D3B6-6F1D-48C4-B0A5-11669CA29E26}"/>
              </a:ext>
            </a:extLst>
          </p:cNvPr>
          <p:cNvSpPr/>
          <p:nvPr/>
        </p:nvSpPr>
        <p:spPr>
          <a:xfrm>
            <a:off x="2556178" y="3294743"/>
            <a:ext cx="7126514" cy="7126514"/>
          </a:xfrm>
          <a:prstGeom prst="arc">
            <a:avLst>
              <a:gd name="adj1" fmla="val 13968403"/>
              <a:gd name="adj2" fmla="val 18835948"/>
            </a:avLst>
          </a:prstGeom>
          <a:ln>
            <a:tailEnd type="stealt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sp>
        <p:nvSpPr>
          <p:cNvPr id="71" name="弧形 70">
            <a:extLst>
              <a:ext uri="{FF2B5EF4-FFF2-40B4-BE49-F238E27FC236}">
                <a16:creationId xmlns:a16="http://schemas.microsoft.com/office/drawing/2014/main" id="{F22E7B09-2299-4A39-97CB-E82F192440DC}"/>
              </a:ext>
            </a:extLst>
          </p:cNvPr>
          <p:cNvSpPr/>
          <p:nvPr/>
        </p:nvSpPr>
        <p:spPr>
          <a:xfrm flipH="1">
            <a:off x="2532743" y="3294743"/>
            <a:ext cx="7126514" cy="7126514"/>
          </a:xfrm>
          <a:prstGeom prst="arc">
            <a:avLst>
              <a:gd name="adj1" fmla="val 10792494"/>
              <a:gd name="adj2" fmla="val 13300846"/>
            </a:avLst>
          </a:prstGeom>
          <a:ln>
            <a:headEnd type="stealth"/>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spTree>
    <p:custDataLst>
      <p:tags r:id="rId2"/>
    </p:custDataLst>
    <p:extLst>
      <p:ext uri="{BB962C8B-B14F-4D97-AF65-F5344CB8AC3E}">
        <p14:creationId xmlns:p14="http://schemas.microsoft.com/office/powerpoint/2010/main" val="934373607"/>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3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椭圆 51">
            <a:extLst>
              <a:ext uri="{FF2B5EF4-FFF2-40B4-BE49-F238E27FC236}">
                <a16:creationId xmlns:a16="http://schemas.microsoft.com/office/drawing/2014/main" id="{15F69193-38AA-4B2C-8493-1B8FD66F5314}"/>
              </a:ext>
            </a:extLst>
          </p:cNvPr>
          <p:cNvSpPr/>
          <p:nvPr/>
        </p:nvSpPr>
        <p:spPr>
          <a:xfrm>
            <a:off x="1531776" y="1085850"/>
            <a:ext cx="4946391" cy="4946387"/>
          </a:xfrm>
          <a:prstGeom prst="ellipse">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8" name="椭圆 7">
            <a:extLst>
              <a:ext uri="{FF2B5EF4-FFF2-40B4-BE49-F238E27FC236}">
                <a16:creationId xmlns:a16="http://schemas.microsoft.com/office/drawing/2014/main" id="{BB3828D8-6831-4839-9865-184E5DEE77DA}"/>
              </a:ext>
            </a:extLst>
          </p:cNvPr>
          <p:cNvSpPr/>
          <p:nvPr/>
        </p:nvSpPr>
        <p:spPr>
          <a:xfrm>
            <a:off x="2765263" y="1095375"/>
            <a:ext cx="2505075" cy="2505075"/>
          </a:xfrm>
          <a:prstGeom prst="ellipse">
            <a:avLst/>
          </a:prstGeom>
          <a:solidFill>
            <a:schemeClr val="accent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26" name="椭圆 25">
            <a:extLst>
              <a:ext uri="{FF2B5EF4-FFF2-40B4-BE49-F238E27FC236}">
                <a16:creationId xmlns:a16="http://schemas.microsoft.com/office/drawing/2014/main" id="{6E750397-5A9D-4C0C-813F-95A1CCD1AD07}"/>
              </a:ext>
            </a:extLst>
          </p:cNvPr>
          <p:cNvSpPr/>
          <p:nvPr/>
        </p:nvSpPr>
        <p:spPr>
          <a:xfrm>
            <a:off x="1727038" y="2952750"/>
            <a:ext cx="2505075" cy="2505075"/>
          </a:xfrm>
          <a:prstGeom prst="ellipse">
            <a:avLst/>
          </a:prstGeom>
          <a:solidFill>
            <a:schemeClr val="accent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28" name="椭圆 27">
            <a:extLst>
              <a:ext uri="{FF2B5EF4-FFF2-40B4-BE49-F238E27FC236}">
                <a16:creationId xmlns:a16="http://schemas.microsoft.com/office/drawing/2014/main" id="{5965B079-9560-4087-9846-67B548756BBA}"/>
              </a:ext>
            </a:extLst>
          </p:cNvPr>
          <p:cNvSpPr/>
          <p:nvPr/>
        </p:nvSpPr>
        <p:spPr>
          <a:xfrm>
            <a:off x="3803488" y="2952750"/>
            <a:ext cx="2505075" cy="2505075"/>
          </a:xfrm>
          <a:prstGeom prst="ellipse">
            <a:avLst/>
          </a:prstGeom>
          <a:solidFill>
            <a:schemeClr val="accent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30" name="文本框 29">
            <a:extLst>
              <a:ext uri="{FF2B5EF4-FFF2-40B4-BE49-F238E27FC236}">
                <a16:creationId xmlns:a16="http://schemas.microsoft.com/office/drawing/2014/main" id="{A1CE3334-903A-4314-B3B3-1DCB51C70AB4}"/>
              </a:ext>
            </a:extLst>
          </p:cNvPr>
          <p:cNvSpPr txBox="1"/>
          <p:nvPr/>
        </p:nvSpPr>
        <p:spPr>
          <a:xfrm>
            <a:off x="3479190" y="2132468"/>
            <a:ext cx="1077219" cy="430887"/>
          </a:xfrm>
          <a:prstGeom prst="rect">
            <a:avLst/>
          </a:prstGeom>
          <a:noFill/>
        </p:spPr>
        <p:txBody>
          <a:bodyPr wrap="square" lIns="0" tIns="0" rIns="0" bIns="0" rtlCol="0" anchor="t">
            <a:spAutoFit/>
          </a:bodyPr>
          <a:lstStyle/>
          <a:p>
            <a:pPr algn="ctr"/>
            <a:r>
              <a:rPr lang="zh-CN" altLang="en-US" sz="2800" dirty="0">
                <a:solidFill>
                  <a:schemeClr val="bg1"/>
                </a:solidFill>
                <a:latin typeface="+mj-ea"/>
                <a:ea typeface="+mj-ea"/>
              </a:rPr>
              <a:t>关键词</a:t>
            </a:r>
          </a:p>
        </p:txBody>
      </p:sp>
      <p:sp>
        <p:nvSpPr>
          <p:cNvPr id="31" name="文本框 30">
            <a:extLst>
              <a:ext uri="{FF2B5EF4-FFF2-40B4-BE49-F238E27FC236}">
                <a16:creationId xmlns:a16="http://schemas.microsoft.com/office/drawing/2014/main" id="{9BB00FF7-E465-483D-856C-A38223DDFA49}"/>
              </a:ext>
            </a:extLst>
          </p:cNvPr>
          <p:cNvSpPr txBox="1"/>
          <p:nvPr/>
        </p:nvSpPr>
        <p:spPr>
          <a:xfrm>
            <a:off x="2326665" y="4008893"/>
            <a:ext cx="1077219" cy="430887"/>
          </a:xfrm>
          <a:prstGeom prst="rect">
            <a:avLst/>
          </a:prstGeom>
          <a:noFill/>
        </p:spPr>
        <p:txBody>
          <a:bodyPr wrap="square" lIns="0" tIns="0" rIns="0" bIns="0" rtlCol="0" anchor="t">
            <a:spAutoFit/>
          </a:bodyPr>
          <a:lstStyle/>
          <a:p>
            <a:pPr algn="ctr"/>
            <a:r>
              <a:rPr lang="zh-CN" altLang="en-US" sz="2800" dirty="0">
                <a:solidFill>
                  <a:schemeClr val="bg1"/>
                </a:solidFill>
                <a:latin typeface="+mj-ea"/>
                <a:ea typeface="+mj-ea"/>
              </a:rPr>
              <a:t>关键词</a:t>
            </a:r>
          </a:p>
        </p:txBody>
      </p:sp>
      <p:sp>
        <p:nvSpPr>
          <p:cNvPr id="32" name="文本框 31">
            <a:extLst>
              <a:ext uri="{FF2B5EF4-FFF2-40B4-BE49-F238E27FC236}">
                <a16:creationId xmlns:a16="http://schemas.microsoft.com/office/drawing/2014/main" id="{5E32862B-0900-416B-B5D1-552505A34B74}"/>
              </a:ext>
            </a:extLst>
          </p:cNvPr>
          <p:cNvSpPr txBox="1"/>
          <p:nvPr/>
        </p:nvSpPr>
        <p:spPr>
          <a:xfrm>
            <a:off x="4517415" y="4008893"/>
            <a:ext cx="1077219" cy="430887"/>
          </a:xfrm>
          <a:prstGeom prst="rect">
            <a:avLst/>
          </a:prstGeom>
          <a:noFill/>
        </p:spPr>
        <p:txBody>
          <a:bodyPr wrap="square" lIns="0" tIns="0" rIns="0" bIns="0" rtlCol="0" anchor="t">
            <a:spAutoFit/>
          </a:bodyPr>
          <a:lstStyle/>
          <a:p>
            <a:pPr algn="ctr"/>
            <a:r>
              <a:rPr lang="zh-CN" altLang="en-US" sz="2800" dirty="0">
                <a:solidFill>
                  <a:schemeClr val="bg1"/>
                </a:solidFill>
                <a:latin typeface="+mj-ea"/>
                <a:ea typeface="+mj-ea"/>
              </a:rPr>
              <a:t>关键词</a:t>
            </a:r>
          </a:p>
        </p:txBody>
      </p:sp>
      <p:sp>
        <p:nvSpPr>
          <p:cNvPr id="53" name="椭圆 52">
            <a:extLst>
              <a:ext uri="{FF2B5EF4-FFF2-40B4-BE49-F238E27FC236}">
                <a16:creationId xmlns:a16="http://schemas.microsoft.com/office/drawing/2014/main" id="{BB971F13-0DF7-45E6-9F5C-55ED1D0A7AB2}"/>
              </a:ext>
            </a:extLst>
          </p:cNvPr>
          <p:cNvSpPr/>
          <p:nvPr/>
        </p:nvSpPr>
        <p:spPr>
          <a:xfrm>
            <a:off x="1785777" y="2101286"/>
            <a:ext cx="993774" cy="993774"/>
          </a:xfrm>
          <a:prstGeom prst="ellipse">
            <a:avLst/>
          </a:prstGeom>
          <a:solidFill>
            <a:schemeClr val="accent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54" name="椭圆 53">
            <a:extLst>
              <a:ext uri="{FF2B5EF4-FFF2-40B4-BE49-F238E27FC236}">
                <a16:creationId xmlns:a16="http://schemas.microsoft.com/office/drawing/2014/main" id="{2E1943BA-A378-49B2-AED8-855A0963B7CA}"/>
              </a:ext>
            </a:extLst>
          </p:cNvPr>
          <p:cNvSpPr/>
          <p:nvPr/>
        </p:nvSpPr>
        <p:spPr>
          <a:xfrm>
            <a:off x="2504122" y="1928466"/>
            <a:ext cx="286887" cy="286887"/>
          </a:xfrm>
          <a:prstGeom prst="ellipse">
            <a:avLst/>
          </a:prstGeom>
          <a:solidFill>
            <a:schemeClr val="accent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55" name="椭圆 54">
            <a:extLst>
              <a:ext uri="{FF2B5EF4-FFF2-40B4-BE49-F238E27FC236}">
                <a16:creationId xmlns:a16="http://schemas.microsoft.com/office/drawing/2014/main" id="{9D2A41DF-0972-46F7-B922-A518DC2F1B2D}"/>
              </a:ext>
            </a:extLst>
          </p:cNvPr>
          <p:cNvSpPr/>
          <p:nvPr/>
        </p:nvSpPr>
        <p:spPr>
          <a:xfrm>
            <a:off x="3491197" y="5443719"/>
            <a:ext cx="574229" cy="574229"/>
          </a:xfrm>
          <a:prstGeom prst="ellipse">
            <a:avLst/>
          </a:prstGeom>
          <a:solidFill>
            <a:schemeClr val="accent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56" name="椭圆 55">
            <a:extLst>
              <a:ext uri="{FF2B5EF4-FFF2-40B4-BE49-F238E27FC236}">
                <a16:creationId xmlns:a16="http://schemas.microsoft.com/office/drawing/2014/main" id="{049D1E0A-88C1-48AA-A921-98672BE80581}"/>
              </a:ext>
            </a:extLst>
          </p:cNvPr>
          <p:cNvSpPr/>
          <p:nvPr/>
        </p:nvSpPr>
        <p:spPr>
          <a:xfrm>
            <a:off x="3782059" y="5038725"/>
            <a:ext cx="461962" cy="461962"/>
          </a:xfrm>
          <a:prstGeom prst="ellipse">
            <a:avLst/>
          </a:prstGeom>
          <a:solidFill>
            <a:schemeClr val="accent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57" name="椭圆 56">
            <a:extLst>
              <a:ext uri="{FF2B5EF4-FFF2-40B4-BE49-F238E27FC236}">
                <a16:creationId xmlns:a16="http://schemas.microsoft.com/office/drawing/2014/main" id="{96F0205A-2476-4CD7-A742-625550CC9948}"/>
              </a:ext>
            </a:extLst>
          </p:cNvPr>
          <p:cNvSpPr/>
          <p:nvPr/>
        </p:nvSpPr>
        <p:spPr>
          <a:xfrm>
            <a:off x="5201152" y="2570261"/>
            <a:ext cx="426374" cy="426374"/>
          </a:xfrm>
          <a:prstGeom prst="ellipse">
            <a:avLst/>
          </a:prstGeom>
          <a:solidFill>
            <a:schemeClr val="accent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58" name="椭圆 57">
            <a:extLst>
              <a:ext uri="{FF2B5EF4-FFF2-40B4-BE49-F238E27FC236}">
                <a16:creationId xmlns:a16="http://schemas.microsoft.com/office/drawing/2014/main" id="{178B9DF9-4803-4A9F-AE9B-AA73C2175954}"/>
              </a:ext>
            </a:extLst>
          </p:cNvPr>
          <p:cNvSpPr/>
          <p:nvPr/>
        </p:nvSpPr>
        <p:spPr>
          <a:xfrm>
            <a:off x="5308439" y="1928466"/>
            <a:ext cx="690561" cy="690561"/>
          </a:xfrm>
          <a:prstGeom prst="ellipse">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59" name="椭圆 58">
            <a:extLst>
              <a:ext uri="{FF2B5EF4-FFF2-40B4-BE49-F238E27FC236}">
                <a16:creationId xmlns:a16="http://schemas.microsoft.com/office/drawing/2014/main" id="{71D6A718-886B-4CD6-A025-C57F6F1CD870}"/>
              </a:ext>
            </a:extLst>
          </p:cNvPr>
          <p:cNvSpPr/>
          <p:nvPr/>
        </p:nvSpPr>
        <p:spPr>
          <a:xfrm>
            <a:off x="6063294" y="3195637"/>
            <a:ext cx="402430" cy="402430"/>
          </a:xfrm>
          <a:prstGeom prst="ellipse">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61" name="椭圆 60">
            <a:extLst>
              <a:ext uri="{FF2B5EF4-FFF2-40B4-BE49-F238E27FC236}">
                <a16:creationId xmlns:a16="http://schemas.microsoft.com/office/drawing/2014/main" id="{A75021E5-56A6-4B57-9C3B-F0E96B3156E8}"/>
              </a:ext>
            </a:extLst>
          </p:cNvPr>
          <p:cNvSpPr/>
          <p:nvPr/>
        </p:nvSpPr>
        <p:spPr>
          <a:xfrm>
            <a:off x="4232113" y="5555834"/>
            <a:ext cx="284480" cy="284480"/>
          </a:xfrm>
          <a:prstGeom prst="ellipse">
            <a:avLst/>
          </a:prstGeom>
          <a:solidFill>
            <a:schemeClr val="accent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12" name="左大括号 11">
            <a:extLst>
              <a:ext uri="{FF2B5EF4-FFF2-40B4-BE49-F238E27FC236}">
                <a16:creationId xmlns:a16="http://schemas.microsoft.com/office/drawing/2014/main" id="{67CC5ACC-AC4E-40B9-80EE-88A9A39B4377}"/>
              </a:ext>
            </a:extLst>
          </p:cNvPr>
          <p:cNvSpPr/>
          <p:nvPr/>
        </p:nvSpPr>
        <p:spPr>
          <a:xfrm>
            <a:off x="6570841" y="1837945"/>
            <a:ext cx="479006" cy="3442196"/>
          </a:xfrm>
          <a:prstGeom prst="leftBrace">
            <a:avLst>
              <a:gd name="adj1" fmla="val 69076"/>
              <a:gd name="adj2" fmla="val 50000"/>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sp>
        <p:nvSpPr>
          <p:cNvPr id="13" name="椭圆 12">
            <a:extLst>
              <a:ext uri="{FF2B5EF4-FFF2-40B4-BE49-F238E27FC236}">
                <a16:creationId xmlns:a16="http://schemas.microsoft.com/office/drawing/2014/main" id="{917330D6-B3F3-4E4B-93E7-621A95AE54CD}"/>
              </a:ext>
            </a:extLst>
          </p:cNvPr>
          <p:cNvSpPr/>
          <p:nvPr/>
        </p:nvSpPr>
        <p:spPr>
          <a:xfrm>
            <a:off x="7196512" y="1843978"/>
            <a:ext cx="778516" cy="77851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62" name="文本框 61">
            <a:extLst>
              <a:ext uri="{FF2B5EF4-FFF2-40B4-BE49-F238E27FC236}">
                <a16:creationId xmlns:a16="http://schemas.microsoft.com/office/drawing/2014/main" id="{EF0B0F24-6E52-473C-A797-EB1D35D9F796}"/>
              </a:ext>
            </a:extLst>
          </p:cNvPr>
          <p:cNvSpPr txBox="1"/>
          <p:nvPr/>
        </p:nvSpPr>
        <p:spPr>
          <a:xfrm>
            <a:off x="8194781" y="1844349"/>
            <a:ext cx="1538883" cy="369332"/>
          </a:xfrm>
          <a:prstGeom prst="rect">
            <a:avLst/>
          </a:prstGeom>
          <a:noFill/>
        </p:spPr>
        <p:txBody>
          <a:bodyPr wrap="none" lIns="0" tIns="0" rIns="0" bIns="0" rtlCol="0" anchor="t">
            <a:spAutoFit/>
          </a:bodyPr>
          <a:lstStyle/>
          <a:p>
            <a:r>
              <a:rPr lang="zh-CN" altLang="en-US" sz="2400" dirty="0">
                <a:solidFill>
                  <a:schemeClr val="accent1"/>
                </a:solidFill>
                <a:latin typeface="+mj-ea"/>
                <a:ea typeface="+mj-ea"/>
              </a:rPr>
              <a:t>关键词标题</a:t>
            </a:r>
          </a:p>
        </p:txBody>
      </p:sp>
      <p:sp>
        <p:nvSpPr>
          <p:cNvPr id="63" name="文本框 62">
            <a:extLst>
              <a:ext uri="{FF2B5EF4-FFF2-40B4-BE49-F238E27FC236}">
                <a16:creationId xmlns:a16="http://schemas.microsoft.com/office/drawing/2014/main" id="{C01BA62F-A21D-4AA8-B7E5-A2FB86ED17BF}"/>
              </a:ext>
            </a:extLst>
          </p:cNvPr>
          <p:cNvSpPr txBox="1"/>
          <p:nvPr/>
        </p:nvSpPr>
        <p:spPr>
          <a:xfrm>
            <a:off x="8194781" y="2235208"/>
            <a:ext cx="2465443" cy="387286"/>
          </a:xfrm>
          <a:prstGeom prst="rect">
            <a:avLst/>
          </a:prstGeom>
          <a:noFill/>
        </p:spPr>
        <p:txBody>
          <a:bodyPr wrap="square" lIns="0" tIns="0" rIns="0" bIns="0" rtlCol="0" anchor="t">
            <a:spAutoFit/>
          </a:bodyPr>
          <a:lstStyle/>
          <a:p>
            <a:pPr>
              <a:lnSpc>
                <a:spcPct val="130000"/>
              </a:lnSpc>
            </a:pPr>
            <a:r>
              <a:rPr lang="en-US" altLang="zh-CN" sz="1000" b="0" dirty="0">
                <a:solidFill>
                  <a:schemeClr val="tx1">
                    <a:lumMod val="75000"/>
                    <a:lumOff val="25000"/>
                  </a:schemeClr>
                </a:solidFill>
                <a:effectLst/>
                <a:latin typeface="+mn-ea"/>
              </a:rPr>
              <a:t>Lorem ipsum dolor sit amet, consectetur adipisicing elit, sed do eiusmod tempor</a:t>
            </a:r>
            <a:endParaRPr lang="zh-CN" altLang="en-US" sz="1000" b="0" dirty="0">
              <a:solidFill>
                <a:schemeClr val="tx1">
                  <a:lumMod val="75000"/>
                  <a:lumOff val="25000"/>
                </a:schemeClr>
              </a:solidFill>
              <a:effectLst/>
              <a:latin typeface="+mn-ea"/>
            </a:endParaRPr>
          </a:p>
        </p:txBody>
      </p:sp>
      <p:sp>
        <p:nvSpPr>
          <p:cNvPr id="70" name="user_209046">
            <a:extLst>
              <a:ext uri="{FF2B5EF4-FFF2-40B4-BE49-F238E27FC236}">
                <a16:creationId xmlns:a16="http://schemas.microsoft.com/office/drawing/2014/main" id="{C6EBF66A-E51D-4BA8-8EF2-C5AFC6389A41}"/>
              </a:ext>
            </a:extLst>
          </p:cNvPr>
          <p:cNvSpPr/>
          <p:nvPr/>
        </p:nvSpPr>
        <p:spPr>
          <a:xfrm>
            <a:off x="7384478" y="2058845"/>
            <a:ext cx="411116" cy="396464"/>
          </a:xfrm>
          <a:custGeom>
            <a:avLst/>
            <a:gdLst>
              <a:gd name="T0" fmla="*/ 11888 w 12803"/>
              <a:gd name="T1" fmla="*/ 0 h 12345"/>
              <a:gd name="T2" fmla="*/ 914 w 12803"/>
              <a:gd name="T3" fmla="*/ 0 h 12345"/>
              <a:gd name="T4" fmla="*/ 0 w 12803"/>
              <a:gd name="T5" fmla="*/ 914 h 12345"/>
              <a:gd name="T6" fmla="*/ 0 w 12803"/>
              <a:gd name="T7" fmla="*/ 8687 h 12345"/>
              <a:gd name="T8" fmla="*/ 914 w 12803"/>
              <a:gd name="T9" fmla="*/ 9602 h 12345"/>
              <a:gd name="T10" fmla="*/ 3201 w 12803"/>
              <a:gd name="T11" fmla="*/ 9602 h 12345"/>
              <a:gd name="T12" fmla="*/ 3201 w 12803"/>
              <a:gd name="T13" fmla="*/ 12345 h 12345"/>
              <a:gd name="T14" fmla="*/ 8230 w 12803"/>
              <a:gd name="T15" fmla="*/ 9602 h 12345"/>
              <a:gd name="T16" fmla="*/ 11888 w 12803"/>
              <a:gd name="T17" fmla="*/ 9602 h 12345"/>
              <a:gd name="T18" fmla="*/ 12803 w 12803"/>
              <a:gd name="T19" fmla="*/ 8687 h 12345"/>
              <a:gd name="T20" fmla="*/ 12803 w 12803"/>
              <a:gd name="T21" fmla="*/ 914 h 12345"/>
              <a:gd name="T22" fmla="*/ 11888 w 12803"/>
              <a:gd name="T23" fmla="*/ 0 h 12345"/>
              <a:gd name="T24" fmla="*/ 3201 w 12803"/>
              <a:gd name="T25" fmla="*/ 5487 h 12345"/>
              <a:gd name="T26" fmla="*/ 2286 w 12803"/>
              <a:gd name="T27" fmla="*/ 4572 h 12345"/>
              <a:gd name="T28" fmla="*/ 3201 w 12803"/>
              <a:gd name="T29" fmla="*/ 3658 h 12345"/>
              <a:gd name="T30" fmla="*/ 4115 w 12803"/>
              <a:gd name="T31" fmla="*/ 4572 h 12345"/>
              <a:gd name="T32" fmla="*/ 3201 w 12803"/>
              <a:gd name="T33" fmla="*/ 5487 h 12345"/>
              <a:gd name="T34" fmla="*/ 6401 w 12803"/>
              <a:gd name="T35" fmla="*/ 5487 h 12345"/>
              <a:gd name="T36" fmla="*/ 5487 w 12803"/>
              <a:gd name="T37" fmla="*/ 4572 h 12345"/>
              <a:gd name="T38" fmla="*/ 6401 w 12803"/>
              <a:gd name="T39" fmla="*/ 3658 h 12345"/>
              <a:gd name="T40" fmla="*/ 7316 w 12803"/>
              <a:gd name="T41" fmla="*/ 4572 h 12345"/>
              <a:gd name="T42" fmla="*/ 6401 w 12803"/>
              <a:gd name="T43" fmla="*/ 5487 h 12345"/>
              <a:gd name="T44" fmla="*/ 9602 w 12803"/>
              <a:gd name="T45" fmla="*/ 5487 h 12345"/>
              <a:gd name="T46" fmla="*/ 8687 w 12803"/>
              <a:gd name="T47" fmla="*/ 4572 h 12345"/>
              <a:gd name="T48" fmla="*/ 9602 w 12803"/>
              <a:gd name="T49" fmla="*/ 3658 h 12345"/>
              <a:gd name="T50" fmla="*/ 10516 w 12803"/>
              <a:gd name="T51" fmla="*/ 4572 h 12345"/>
              <a:gd name="T52" fmla="*/ 9602 w 12803"/>
              <a:gd name="T53" fmla="*/ 5487 h 12345"/>
              <a:gd name="T54" fmla="*/ 9602 w 12803"/>
              <a:gd name="T55" fmla="*/ 5487 h 123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2803" h="12345">
                <a:moveTo>
                  <a:pt x="11888" y="0"/>
                </a:moveTo>
                <a:lnTo>
                  <a:pt x="914" y="0"/>
                </a:lnTo>
                <a:cubicBezTo>
                  <a:pt x="409" y="0"/>
                  <a:pt x="0" y="409"/>
                  <a:pt x="0" y="914"/>
                </a:cubicBezTo>
                <a:lnTo>
                  <a:pt x="0" y="8687"/>
                </a:lnTo>
                <a:cubicBezTo>
                  <a:pt x="0" y="9193"/>
                  <a:pt x="409" y="9602"/>
                  <a:pt x="914" y="9602"/>
                </a:cubicBezTo>
                <a:lnTo>
                  <a:pt x="3201" y="9602"/>
                </a:lnTo>
                <a:lnTo>
                  <a:pt x="3201" y="12345"/>
                </a:lnTo>
                <a:lnTo>
                  <a:pt x="8230" y="9602"/>
                </a:lnTo>
                <a:lnTo>
                  <a:pt x="11888" y="9602"/>
                </a:lnTo>
                <a:cubicBezTo>
                  <a:pt x="12393" y="9602"/>
                  <a:pt x="12803" y="9193"/>
                  <a:pt x="12803" y="8687"/>
                </a:cubicBezTo>
                <a:lnTo>
                  <a:pt x="12803" y="914"/>
                </a:lnTo>
                <a:cubicBezTo>
                  <a:pt x="12803" y="409"/>
                  <a:pt x="12393" y="0"/>
                  <a:pt x="11888" y="0"/>
                </a:cubicBezTo>
                <a:close/>
                <a:moveTo>
                  <a:pt x="3201" y="5487"/>
                </a:moveTo>
                <a:cubicBezTo>
                  <a:pt x="2695" y="5487"/>
                  <a:pt x="2286" y="5077"/>
                  <a:pt x="2286" y="4572"/>
                </a:cubicBezTo>
                <a:cubicBezTo>
                  <a:pt x="2286" y="4067"/>
                  <a:pt x="2695" y="3658"/>
                  <a:pt x="3201" y="3658"/>
                </a:cubicBezTo>
                <a:cubicBezTo>
                  <a:pt x="3706" y="3658"/>
                  <a:pt x="4115" y="4067"/>
                  <a:pt x="4115" y="4572"/>
                </a:cubicBezTo>
                <a:cubicBezTo>
                  <a:pt x="4115" y="5077"/>
                  <a:pt x="3706" y="5487"/>
                  <a:pt x="3201" y="5487"/>
                </a:cubicBezTo>
                <a:close/>
                <a:moveTo>
                  <a:pt x="6401" y="5487"/>
                </a:moveTo>
                <a:cubicBezTo>
                  <a:pt x="5896" y="5487"/>
                  <a:pt x="5487" y="5077"/>
                  <a:pt x="5487" y="4572"/>
                </a:cubicBezTo>
                <a:cubicBezTo>
                  <a:pt x="5487" y="4067"/>
                  <a:pt x="5896" y="3658"/>
                  <a:pt x="6401" y="3658"/>
                </a:cubicBezTo>
                <a:cubicBezTo>
                  <a:pt x="6907" y="3658"/>
                  <a:pt x="7316" y="4067"/>
                  <a:pt x="7316" y="4572"/>
                </a:cubicBezTo>
                <a:cubicBezTo>
                  <a:pt x="7316" y="5077"/>
                  <a:pt x="6907" y="5487"/>
                  <a:pt x="6401" y="5487"/>
                </a:cubicBezTo>
                <a:close/>
                <a:moveTo>
                  <a:pt x="9602" y="5487"/>
                </a:moveTo>
                <a:cubicBezTo>
                  <a:pt x="9097" y="5487"/>
                  <a:pt x="8687" y="5077"/>
                  <a:pt x="8687" y="4572"/>
                </a:cubicBezTo>
                <a:cubicBezTo>
                  <a:pt x="8687" y="4067"/>
                  <a:pt x="9097" y="3658"/>
                  <a:pt x="9602" y="3658"/>
                </a:cubicBezTo>
                <a:cubicBezTo>
                  <a:pt x="10107" y="3658"/>
                  <a:pt x="10516" y="4067"/>
                  <a:pt x="10516" y="4572"/>
                </a:cubicBezTo>
                <a:cubicBezTo>
                  <a:pt x="10516" y="5077"/>
                  <a:pt x="10107" y="5487"/>
                  <a:pt x="9602" y="5487"/>
                </a:cubicBezTo>
                <a:close/>
                <a:moveTo>
                  <a:pt x="9602" y="5487"/>
                </a:move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sp>
        <p:nvSpPr>
          <p:cNvPr id="71" name="椭圆 70">
            <a:extLst>
              <a:ext uri="{FF2B5EF4-FFF2-40B4-BE49-F238E27FC236}">
                <a16:creationId xmlns:a16="http://schemas.microsoft.com/office/drawing/2014/main" id="{83715BEA-1684-4BE4-9A20-95D6CBE67D47}"/>
              </a:ext>
            </a:extLst>
          </p:cNvPr>
          <p:cNvSpPr/>
          <p:nvPr/>
        </p:nvSpPr>
        <p:spPr>
          <a:xfrm>
            <a:off x="7196512" y="3158340"/>
            <a:ext cx="778516" cy="77851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77" name="文本框 76">
            <a:extLst>
              <a:ext uri="{FF2B5EF4-FFF2-40B4-BE49-F238E27FC236}">
                <a16:creationId xmlns:a16="http://schemas.microsoft.com/office/drawing/2014/main" id="{E553AF01-B9F9-459B-B93A-C8D610250504}"/>
              </a:ext>
            </a:extLst>
          </p:cNvPr>
          <p:cNvSpPr txBox="1"/>
          <p:nvPr/>
        </p:nvSpPr>
        <p:spPr>
          <a:xfrm>
            <a:off x="8194781" y="3158711"/>
            <a:ext cx="1538883" cy="369332"/>
          </a:xfrm>
          <a:prstGeom prst="rect">
            <a:avLst/>
          </a:prstGeom>
          <a:noFill/>
        </p:spPr>
        <p:txBody>
          <a:bodyPr wrap="none" lIns="0" tIns="0" rIns="0" bIns="0" rtlCol="0" anchor="t">
            <a:spAutoFit/>
          </a:bodyPr>
          <a:lstStyle/>
          <a:p>
            <a:r>
              <a:rPr lang="zh-CN" altLang="en-US" sz="2400" dirty="0">
                <a:solidFill>
                  <a:schemeClr val="accent1"/>
                </a:solidFill>
                <a:latin typeface="+mj-ea"/>
                <a:ea typeface="+mj-ea"/>
              </a:rPr>
              <a:t>关键词标题</a:t>
            </a:r>
          </a:p>
        </p:txBody>
      </p:sp>
      <p:sp>
        <p:nvSpPr>
          <p:cNvPr id="78" name="文本框 77">
            <a:extLst>
              <a:ext uri="{FF2B5EF4-FFF2-40B4-BE49-F238E27FC236}">
                <a16:creationId xmlns:a16="http://schemas.microsoft.com/office/drawing/2014/main" id="{CA0710EB-06ED-442D-92FD-A7662AD4BEAD}"/>
              </a:ext>
            </a:extLst>
          </p:cNvPr>
          <p:cNvSpPr txBox="1"/>
          <p:nvPr/>
        </p:nvSpPr>
        <p:spPr>
          <a:xfrm>
            <a:off x="8194781" y="3549570"/>
            <a:ext cx="2465443" cy="387286"/>
          </a:xfrm>
          <a:prstGeom prst="rect">
            <a:avLst/>
          </a:prstGeom>
          <a:noFill/>
        </p:spPr>
        <p:txBody>
          <a:bodyPr wrap="square" lIns="0" tIns="0" rIns="0" bIns="0" rtlCol="0" anchor="t">
            <a:spAutoFit/>
          </a:bodyPr>
          <a:lstStyle/>
          <a:p>
            <a:pPr>
              <a:lnSpc>
                <a:spcPct val="130000"/>
              </a:lnSpc>
            </a:pPr>
            <a:r>
              <a:rPr lang="en-US" altLang="zh-CN" sz="1000" b="0" dirty="0">
                <a:solidFill>
                  <a:schemeClr val="tx1">
                    <a:lumMod val="75000"/>
                    <a:lumOff val="25000"/>
                  </a:schemeClr>
                </a:solidFill>
                <a:effectLst/>
                <a:latin typeface="+mn-ea"/>
              </a:rPr>
              <a:t>Lorem ipsum dolor sit amet, consectetur adipisicing elit, sed do eiusmod tempor</a:t>
            </a:r>
            <a:endParaRPr lang="zh-CN" altLang="en-US" sz="1000" b="0" dirty="0">
              <a:solidFill>
                <a:schemeClr val="tx1">
                  <a:lumMod val="75000"/>
                  <a:lumOff val="25000"/>
                </a:schemeClr>
              </a:solidFill>
              <a:effectLst/>
              <a:latin typeface="+mn-ea"/>
            </a:endParaRPr>
          </a:p>
        </p:txBody>
      </p:sp>
      <p:sp>
        <p:nvSpPr>
          <p:cNvPr id="69" name="user_209046">
            <a:extLst>
              <a:ext uri="{FF2B5EF4-FFF2-40B4-BE49-F238E27FC236}">
                <a16:creationId xmlns:a16="http://schemas.microsoft.com/office/drawing/2014/main" id="{99BA9A3E-6033-4140-B4AD-1AFFF7043B06}"/>
              </a:ext>
            </a:extLst>
          </p:cNvPr>
          <p:cNvSpPr/>
          <p:nvPr/>
        </p:nvSpPr>
        <p:spPr>
          <a:xfrm>
            <a:off x="7369673" y="3299006"/>
            <a:ext cx="493716" cy="445212"/>
          </a:xfrm>
          <a:custGeom>
            <a:avLst/>
            <a:gdLst>
              <a:gd name="connsiteX0" fmla="*/ 521432 w 608344"/>
              <a:gd name="connsiteY0" fmla="*/ 370453 h 548582"/>
              <a:gd name="connsiteX1" fmla="*/ 465737 w 608344"/>
              <a:gd name="connsiteY1" fmla="*/ 425787 h 548582"/>
              <a:gd name="connsiteX2" fmla="*/ 442491 w 608344"/>
              <a:gd name="connsiteY2" fmla="*/ 402479 h 548582"/>
              <a:gd name="connsiteX3" fmla="*/ 418201 w 608344"/>
              <a:gd name="connsiteY3" fmla="*/ 426545 h 548582"/>
              <a:gd name="connsiteX4" fmla="*/ 441447 w 608344"/>
              <a:gd name="connsiteY4" fmla="*/ 449948 h 548582"/>
              <a:gd name="connsiteX5" fmla="*/ 465642 w 608344"/>
              <a:gd name="connsiteY5" fmla="*/ 474204 h 548582"/>
              <a:gd name="connsiteX6" fmla="*/ 489932 w 608344"/>
              <a:gd name="connsiteY6" fmla="*/ 450043 h 548582"/>
              <a:gd name="connsiteX7" fmla="*/ 545532 w 608344"/>
              <a:gd name="connsiteY7" fmla="*/ 394709 h 548582"/>
              <a:gd name="connsiteX8" fmla="*/ 481962 w 608344"/>
              <a:gd name="connsiteY8" fmla="*/ 296170 h 548582"/>
              <a:gd name="connsiteX9" fmla="*/ 608344 w 608344"/>
              <a:gd name="connsiteY9" fmla="*/ 422376 h 548582"/>
              <a:gd name="connsiteX10" fmla="*/ 481962 w 608344"/>
              <a:gd name="connsiteY10" fmla="*/ 548582 h 548582"/>
              <a:gd name="connsiteX11" fmla="*/ 355579 w 608344"/>
              <a:gd name="connsiteY11" fmla="*/ 422376 h 548582"/>
              <a:gd name="connsiteX12" fmla="*/ 481962 w 608344"/>
              <a:gd name="connsiteY12" fmla="*/ 296170 h 548582"/>
              <a:gd name="connsiteX13" fmla="*/ 255835 w 608344"/>
              <a:gd name="connsiteY13" fmla="*/ 446 h 548582"/>
              <a:gd name="connsiteX14" fmla="*/ 317801 w 608344"/>
              <a:gd name="connsiteY14" fmla="*/ 13616 h 548582"/>
              <a:gd name="connsiteX15" fmla="*/ 348072 w 608344"/>
              <a:gd name="connsiteY15" fmla="*/ 41661 h 548582"/>
              <a:gd name="connsiteX16" fmla="*/ 381190 w 608344"/>
              <a:gd name="connsiteY16" fmla="*/ 146831 h 548582"/>
              <a:gd name="connsiteX17" fmla="*/ 378913 w 608344"/>
              <a:gd name="connsiteY17" fmla="*/ 156211 h 548582"/>
              <a:gd name="connsiteX18" fmla="*/ 387833 w 608344"/>
              <a:gd name="connsiteY18" fmla="*/ 200458 h 548582"/>
              <a:gd name="connsiteX19" fmla="*/ 366387 w 608344"/>
              <a:gd name="connsiteY19" fmla="*/ 237694 h 548582"/>
              <a:gd name="connsiteX20" fmla="*/ 351393 w 608344"/>
              <a:gd name="connsiteY20" fmla="*/ 278720 h 548582"/>
              <a:gd name="connsiteX21" fmla="*/ 351393 w 608344"/>
              <a:gd name="connsiteY21" fmla="*/ 322873 h 548582"/>
              <a:gd name="connsiteX22" fmla="*/ 317611 w 608344"/>
              <a:gd name="connsiteY22" fmla="*/ 422358 h 548582"/>
              <a:gd name="connsiteX23" fmla="*/ 376635 w 608344"/>
              <a:gd name="connsiteY23" fmla="*/ 548088 h 548582"/>
              <a:gd name="connsiteX24" fmla="*/ 26855 w 608344"/>
              <a:gd name="connsiteY24" fmla="*/ 548088 h 548582"/>
              <a:gd name="connsiteX25" fmla="*/ 0 w 608344"/>
              <a:gd name="connsiteY25" fmla="*/ 521274 h 548582"/>
              <a:gd name="connsiteX26" fmla="*/ 0 w 608344"/>
              <a:gd name="connsiteY26" fmla="*/ 473806 h 548582"/>
              <a:gd name="connsiteX27" fmla="*/ 19453 w 608344"/>
              <a:gd name="connsiteY27" fmla="*/ 432969 h 548582"/>
              <a:gd name="connsiteX28" fmla="*/ 173751 w 608344"/>
              <a:gd name="connsiteY28" fmla="*/ 334242 h 548582"/>
              <a:gd name="connsiteX29" fmla="*/ 176408 w 608344"/>
              <a:gd name="connsiteY29" fmla="*/ 329884 h 548582"/>
              <a:gd name="connsiteX30" fmla="*/ 176408 w 608344"/>
              <a:gd name="connsiteY30" fmla="*/ 278720 h 548582"/>
              <a:gd name="connsiteX31" fmla="*/ 161320 w 608344"/>
              <a:gd name="connsiteY31" fmla="*/ 237694 h 548582"/>
              <a:gd name="connsiteX32" fmla="*/ 139969 w 608344"/>
              <a:gd name="connsiteY32" fmla="*/ 200458 h 548582"/>
              <a:gd name="connsiteX33" fmla="*/ 148320 w 608344"/>
              <a:gd name="connsiteY33" fmla="*/ 156211 h 548582"/>
              <a:gd name="connsiteX34" fmla="*/ 146042 w 608344"/>
              <a:gd name="connsiteY34" fmla="*/ 146736 h 548582"/>
              <a:gd name="connsiteX35" fmla="*/ 145758 w 608344"/>
              <a:gd name="connsiteY35" fmla="*/ 95099 h 548582"/>
              <a:gd name="connsiteX36" fmla="*/ 176029 w 608344"/>
              <a:gd name="connsiteY36" fmla="*/ 42135 h 548582"/>
              <a:gd name="connsiteX37" fmla="*/ 203928 w 608344"/>
              <a:gd name="connsiteY37" fmla="*/ 19017 h 548582"/>
              <a:gd name="connsiteX38" fmla="*/ 231162 w 608344"/>
              <a:gd name="connsiteY38" fmla="*/ 5089 h 548582"/>
              <a:gd name="connsiteX39" fmla="*/ 255835 w 608344"/>
              <a:gd name="connsiteY39" fmla="*/ 446 h 548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608344" h="548582">
                <a:moveTo>
                  <a:pt x="521432" y="370453"/>
                </a:moveTo>
                <a:lnTo>
                  <a:pt x="465737" y="425787"/>
                </a:lnTo>
                <a:lnTo>
                  <a:pt x="442491" y="402479"/>
                </a:lnTo>
                <a:lnTo>
                  <a:pt x="418201" y="426545"/>
                </a:lnTo>
                <a:lnTo>
                  <a:pt x="441447" y="449948"/>
                </a:lnTo>
                <a:lnTo>
                  <a:pt x="465642" y="474204"/>
                </a:lnTo>
                <a:lnTo>
                  <a:pt x="489932" y="450043"/>
                </a:lnTo>
                <a:lnTo>
                  <a:pt x="545532" y="394709"/>
                </a:lnTo>
                <a:close/>
                <a:moveTo>
                  <a:pt x="481962" y="296170"/>
                </a:moveTo>
                <a:cubicBezTo>
                  <a:pt x="551795" y="296170"/>
                  <a:pt x="608344" y="352641"/>
                  <a:pt x="608344" y="422376"/>
                </a:cubicBezTo>
                <a:cubicBezTo>
                  <a:pt x="608344" y="492111"/>
                  <a:pt x="551795" y="548582"/>
                  <a:pt x="481962" y="548582"/>
                </a:cubicBezTo>
                <a:cubicBezTo>
                  <a:pt x="412129" y="548582"/>
                  <a:pt x="355579" y="492111"/>
                  <a:pt x="355579" y="422376"/>
                </a:cubicBezTo>
                <a:cubicBezTo>
                  <a:pt x="355579" y="352641"/>
                  <a:pt x="412129" y="296170"/>
                  <a:pt x="481962" y="296170"/>
                </a:cubicBezTo>
                <a:close/>
                <a:moveTo>
                  <a:pt x="255835" y="446"/>
                </a:moveTo>
                <a:cubicBezTo>
                  <a:pt x="282785" y="-1828"/>
                  <a:pt x="303187" y="4899"/>
                  <a:pt x="317801" y="13616"/>
                </a:cubicBezTo>
                <a:cubicBezTo>
                  <a:pt x="339721" y="25744"/>
                  <a:pt x="348072" y="41661"/>
                  <a:pt x="348072" y="41661"/>
                </a:cubicBezTo>
                <a:cubicBezTo>
                  <a:pt x="348072" y="41661"/>
                  <a:pt x="398176" y="45167"/>
                  <a:pt x="381190" y="146831"/>
                </a:cubicBezTo>
                <a:cubicBezTo>
                  <a:pt x="380621" y="149863"/>
                  <a:pt x="379862" y="153085"/>
                  <a:pt x="378913" y="156211"/>
                </a:cubicBezTo>
                <a:cubicBezTo>
                  <a:pt x="388592" y="156211"/>
                  <a:pt x="398271" y="163507"/>
                  <a:pt x="387833" y="200458"/>
                </a:cubicBezTo>
                <a:cubicBezTo>
                  <a:pt x="379672" y="229262"/>
                  <a:pt x="372080" y="237221"/>
                  <a:pt x="366387" y="237694"/>
                </a:cubicBezTo>
                <a:cubicBezTo>
                  <a:pt x="364394" y="250675"/>
                  <a:pt x="359175" y="265076"/>
                  <a:pt x="351393" y="278720"/>
                </a:cubicBezTo>
                <a:lnTo>
                  <a:pt x="351393" y="322873"/>
                </a:lnTo>
                <a:cubicBezTo>
                  <a:pt x="330232" y="350539"/>
                  <a:pt x="317611" y="385027"/>
                  <a:pt x="317611" y="422358"/>
                </a:cubicBezTo>
                <a:cubicBezTo>
                  <a:pt x="317611" y="472764"/>
                  <a:pt x="340480" y="518053"/>
                  <a:pt x="376635" y="548088"/>
                </a:cubicBezTo>
                <a:lnTo>
                  <a:pt x="26855" y="548088"/>
                </a:lnTo>
                <a:cubicBezTo>
                  <a:pt x="12052" y="548088"/>
                  <a:pt x="0" y="536055"/>
                  <a:pt x="0" y="521274"/>
                </a:cubicBezTo>
                <a:lnTo>
                  <a:pt x="0" y="473806"/>
                </a:lnTo>
                <a:cubicBezTo>
                  <a:pt x="0" y="457983"/>
                  <a:pt x="7212" y="443013"/>
                  <a:pt x="19453" y="432969"/>
                </a:cubicBezTo>
                <a:cubicBezTo>
                  <a:pt x="86638" y="377921"/>
                  <a:pt x="159043" y="341443"/>
                  <a:pt x="173751" y="334242"/>
                </a:cubicBezTo>
                <a:cubicBezTo>
                  <a:pt x="175365" y="333484"/>
                  <a:pt x="176408" y="331779"/>
                  <a:pt x="176408" y="329884"/>
                </a:cubicBezTo>
                <a:lnTo>
                  <a:pt x="176408" y="278720"/>
                </a:lnTo>
                <a:cubicBezTo>
                  <a:pt x="168437" y="265076"/>
                  <a:pt x="163313" y="250675"/>
                  <a:pt x="161320" y="237694"/>
                </a:cubicBezTo>
                <a:cubicBezTo>
                  <a:pt x="155627" y="237221"/>
                  <a:pt x="148035" y="229072"/>
                  <a:pt x="139969" y="200458"/>
                </a:cubicBezTo>
                <a:cubicBezTo>
                  <a:pt x="129531" y="164170"/>
                  <a:pt x="138925" y="156496"/>
                  <a:pt x="148320" y="156211"/>
                </a:cubicBezTo>
                <a:cubicBezTo>
                  <a:pt x="147371" y="153085"/>
                  <a:pt x="146612" y="149863"/>
                  <a:pt x="146042" y="146736"/>
                </a:cubicBezTo>
                <a:cubicBezTo>
                  <a:pt x="142436" y="128450"/>
                  <a:pt x="141487" y="111396"/>
                  <a:pt x="145758" y="95099"/>
                </a:cubicBezTo>
                <a:cubicBezTo>
                  <a:pt x="150787" y="73212"/>
                  <a:pt x="162744" y="55684"/>
                  <a:pt x="176029" y="42135"/>
                </a:cubicBezTo>
                <a:cubicBezTo>
                  <a:pt x="184379" y="33134"/>
                  <a:pt x="193869" y="25459"/>
                  <a:pt x="203928" y="19017"/>
                </a:cubicBezTo>
                <a:cubicBezTo>
                  <a:pt x="212183" y="13332"/>
                  <a:pt x="221293" y="8405"/>
                  <a:pt x="231162" y="5089"/>
                </a:cubicBezTo>
                <a:cubicBezTo>
                  <a:pt x="238849" y="2625"/>
                  <a:pt x="247105" y="825"/>
                  <a:pt x="255835" y="446"/>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0" name="椭圆 79">
            <a:extLst>
              <a:ext uri="{FF2B5EF4-FFF2-40B4-BE49-F238E27FC236}">
                <a16:creationId xmlns:a16="http://schemas.microsoft.com/office/drawing/2014/main" id="{5FEFE96D-B78F-47B8-AF6A-02A669251730}"/>
              </a:ext>
            </a:extLst>
          </p:cNvPr>
          <p:cNvSpPr/>
          <p:nvPr/>
        </p:nvSpPr>
        <p:spPr>
          <a:xfrm>
            <a:off x="7196512" y="4472702"/>
            <a:ext cx="778516" cy="77851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83" name="文本框 82">
            <a:extLst>
              <a:ext uri="{FF2B5EF4-FFF2-40B4-BE49-F238E27FC236}">
                <a16:creationId xmlns:a16="http://schemas.microsoft.com/office/drawing/2014/main" id="{59DA1B62-96E7-4AE0-A139-0F93F096DB93}"/>
              </a:ext>
            </a:extLst>
          </p:cNvPr>
          <p:cNvSpPr txBox="1"/>
          <p:nvPr/>
        </p:nvSpPr>
        <p:spPr>
          <a:xfrm>
            <a:off x="8194781" y="4473073"/>
            <a:ext cx="1538883" cy="369332"/>
          </a:xfrm>
          <a:prstGeom prst="rect">
            <a:avLst/>
          </a:prstGeom>
          <a:noFill/>
        </p:spPr>
        <p:txBody>
          <a:bodyPr wrap="none" lIns="0" tIns="0" rIns="0" bIns="0" rtlCol="0" anchor="t">
            <a:spAutoFit/>
          </a:bodyPr>
          <a:lstStyle/>
          <a:p>
            <a:r>
              <a:rPr lang="zh-CN" altLang="en-US" sz="2400" dirty="0">
                <a:solidFill>
                  <a:schemeClr val="accent1"/>
                </a:solidFill>
                <a:latin typeface="+mj-ea"/>
                <a:ea typeface="+mj-ea"/>
              </a:rPr>
              <a:t>关键词标题</a:t>
            </a:r>
          </a:p>
        </p:txBody>
      </p:sp>
      <p:sp>
        <p:nvSpPr>
          <p:cNvPr id="85" name="文本框 84">
            <a:extLst>
              <a:ext uri="{FF2B5EF4-FFF2-40B4-BE49-F238E27FC236}">
                <a16:creationId xmlns:a16="http://schemas.microsoft.com/office/drawing/2014/main" id="{0CBE8EBC-BF7B-4C4C-916A-0DDFB3171C95}"/>
              </a:ext>
            </a:extLst>
          </p:cNvPr>
          <p:cNvSpPr txBox="1"/>
          <p:nvPr/>
        </p:nvSpPr>
        <p:spPr>
          <a:xfrm>
            <a:off x="8194781" y="4863932"/>
            <a:ext cx="2465443" cy="387286"/>
          </a:xfrm>
          <a:prstGeom prst="rect">
            <a:avLst/>
          </a:prstGeom>
          <a:noFill/>
        </p:spPr>
        <p:txBody>
          <a:bodyPr wrap="square" lIns="0" tIns="0" rIns="0" bIns="0" rtlCol="0" anchor="t">
            <a:spAutoFit/>
          </a:bodyPr>
          <a:lstStyle/>
          <a:p>
            <a:pPr>
              <a:lnSpc>
                <a:spcPct val="130000"/>
              </a:lnSpc>
            </a:pPr>
            <a:r>
              <a:rPr lang="en-US" altLang="zh-CN" sz="1000" b="0" dirty="0">
                <a:solidFill>
                  <a:schemeClr val="tx1">
                    <a:lumMod val="75000"/>
                    <a:lumOff val="25000"/>
                  </a:schemeClr>
                </a:solidFill>
                <a:effectLst/>
                <a:latin typeface="+mn-ea"/>
              </a:rPr>
              <a:t>Lorem ipsum dolor sit amet, consectetur adipisicing elit, sed do eiusmod tempor</a:t>
            </a:r>
            <a:endParaRPr lang="zh-CN" altLang="en-US" sz="1000" b="0" dirty="0">
              <a:solidFill>
                <a:schemeClr val="tx1">
                  <a:lumMod val="75000"/>
                  <a:lumOff val="25000"/>
                </a:schemeClr>
              </a:solidFill>
              <a:effectLst/>
              <a:latin typeface="+mn-ea"/>
            </a:endParaRPr>
          </a:p>
        </p:txBody>
      </p:sp>
      <p:sp>
        <p:nvSpPr>
          <p:cNvPr id="67" name="user_209046">
            <a:extLst>
              <a:ext uri="{FF2B5EF4-FFF2-40B4-BE49-F238E27FC236}">
                <a16:creationId xmlns:a16="http://schemas.microsoft.com/office/drawing/2014/main" id="{34B560E3-C29D-458C-90B2-10F10433EE4A}"/>
              </a:ext>
            </a:extLst>
          </p:cNvPr>
          <p:cNvSpPr/>
          <p:nvPr/>
        </p:nvSpPr>
        <p:spPr>
          <a:xfrm>
            <a:off x="7415896" y="4657739"/>
            <a:ext cx="339092" cy="416420"/>
          </a:xfrm>
          <a:custGeom>
            <a:avLst/>
            <a:gdLst>
              <a:gd name="T0" fmla="*/ 4225 w 8450"/>
              <a:gd name="T1" fmla="*/ 0 h 10376"/>
              <a:gd name="T2" fmla="*/ 0 w 8450"/>
              <a:gd name="T3" fmla="*/ 4225 h 10376"/>
              <a:gd name="T4" fmla="*/ 4225 w 8450"/>
              <a:gd name="T5" fmla="*/ 8450 h 10376"/>
              <a:gd name="T6" fmla="*/ 8450 w 8450"/>
              <a:gd name="T7" fmla="*/ 4225 h 10376"/>
              <a:gd name="T8" fmla="*/ 4225 w 8450"/>
              <a:gd name="T9" fmla="*/ 0 h 10376"/>
              <a:gd name="T10" fmla="*/ 4225 w 8450"/>
              <a:gd name="T11" fmla="*/ 6092 h 10376"/>
              <a:gd name="T12" fmla="*/ 2359 w 8450"/>
              <a:gd name="T13" fmla="*/ 4226 h 10376"/>
              <a:gd name="T14" fmla="*/ 4225 w 8450"/>
              <a:gd name="T15" fmla="*/ 2360 h 10376"/>
              <a:gd name="T16" fmla="*/ 6092 w 8450"/>
              <a:gd name="T17" fmla="*/ 4226 h 10376"/>
              <a:gd name="T18" fmla="*/ 4225 w 8450"/>
              <a:gd name="T19" fmla="*/ 6092 h 10376"/>
              <a:gd name="T20" fmla="*/ 6682 w 8450"/>
              <a:gd name="T21" fmla="*/ 8571 h 10376"/>
              <a:gd name="T22" fmla="*/ 6322 w 8450"/>
              <a:gd name="T23" fmla="*/ 8582 h 10376"/>
              <a:gd name="T24" fmla="*/ 4225 w 8450"/>
              <a:gd name="T25" fmla="*/ 9225 h 10376"/>
              <a:gd name="T26" fmla="*/ 2180 w 8450"/>
              <a:gd name="T27" fmla="*/ 8611 h 10376"/>
              <a:gd name="T28" fmla="*/ 1793 w 8450"/>
              <a:gd name="T29" fmla="*/ 8620 h 10376"/>
              <a:gd name="T30" fmla="*/ 1533 w 8450"/>
              <a:gd name="T31" fmla="*/ 8956 h 10376"/>
              <a:gd name="T32" fmla="*/ 1352 w 8450"/>
              <a:gd name="T33" fmla="*/ 9871 h 10376"/>
              <a:gd name="T34" fmla="*/ 1857 w 8450"/>
              <a:gd name="T35" fmla="*/ 10376 h 10376"/>
              <a:gd name="T36" fmla="*/ 6680 w 8450"/>
              <a:gd name="T37" fmla="*/ 10376 h 10376"/>
              <a:gd name="T38" fmla="*/ 7185 w 8450"/>
              <a:gd name="T39" fmla="*/ 9871 h 10376"/>
              <a:gd name="T40" fmla="*/ 7004 w 8450"/>
              <a:gd name="T41" fmla="*/ 8956 h 10376"/>
              <a:gd name="T42" fmla="*/ 6682 w 8450"/>
              <a:gd name="T43" fmla="*/ 8571 h 10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450" h="10376">
                <a:moveTo>
                  <a:pt x="4225" y="0"/>
                </a:moveTo>
                <a:cubicBezTo>
                  <a:pt x="1892" y="0"/>
                  <a:pt x="0" y="1891"/>
                  <a:pt x="0" y="4225"/>
                </a:cubicBezTo>
                <a:cubicBezTo>
                  <a:pt x="0" y="6558"/>
                  <a:pt x="1892" y="8450"/>
                  <a:pt x="4225" y="8450"/>
                </a:cubicBezTo>
                <a:cubicBezTo>
                  <a:pt x="6559" y="8450"/>
                  <a:pt x="8450" y="6558"/>
                  <a:pt x="8450" y="4225"/>
                </a:cubicBezTo>
                <a:cubicBezTo>
                  <a:pt x="8450" y="1892"/>
                  <a:pt x="6559" y="0"/>
                  <a:pt x="4225" y="0"/>
                </a:cubicBezTo>
                <a:close/>
                <a:moveTo>
                  <a:pt x="4225" y="6092"/>
                </a:moveTo>
                <a:cubicBezTo>
                  <a:pt x="3194" y="6092"/>
                  <a:pt x="2359" y="5257"/>
                  <a:pt x="2359" y="4226"/>
                </a:cubicBezTo>
                <a:cubicBezTo>
                  <a:pt x="2359" y="3194"/>
                  <a:pt x="3194" y="2360"/>
                  <a:pt x="4225" y="2360"/>
                </a:cubicBezTo>
                <a:cubicBezTo>
                  <a:pt x="5257" y="2360"/>
                  <a:pt x="6092" y="3195"/>
                  <a:pt x="6092" y="4226"/>
                </a:cubicBezTo>
                <a:cubicBezTo>
                  <a:pt x="6092" y="5257"/>
                  <a:pt x="5257" y="6092"/>
                  <a:pt x="4225" y="6092"/>
                </a:cubicBezTo>
                <a:close/>
                <a:moveTo>
                  <a:pt x="6682" y="8571"/>
                </a:moveTo>
                <a:cubicBezTo>
                  <a:pt x="6570" y="8507"/>
                  <a:pt x="6432" y="8516"/>
                  <a:pt x="6322" y="8582"/>
                </a:cubicBezTo>
                <a:cubicBezTo>
                  <a:pt x="5643" y="8991"/>
                  <a:pt x="5117" y="9225"/>
                  <a:pt x="4225" y="9225"/>
                </a:cubicBezTo>
                <a:cubicBezTo>
                  <a:pt x="3355" y="9225"/>
                  <a:pt x="2843" y="9002"/>
                  <a:pt x="2180" y="8611"/>
                </a:cubicBezTo>
                <a:cubicBezTo>
                  <a:pt x="2060" y="8539"/>
                  <a:pt x="1909" y="8542"/>
                  <a:pt x="1793" y="8620"/>
                </a:cubicBezTo>
                <a:cubicBezTo>
                  <a:pt x="1659" y="8710"/>
                  <a:pt x="1584" y="8811"/>
                  <a:pt x="1533" y="8956"/>
                </a:cubicBezTo>
                <a:lnTo>
                  <a:pt x="1352" y="9871"/>
                </a:lnTo>
                <a:cubicBezTo>
                  <a:pt x="1352" y="10148"/>
                  <a:pt x="1579" y="10376"/>
                  <a:pt x="1857" y="10376"/>
                </a:cubicBezTo>
                <a:lnTo>
                  <a:pt x="6680" y="10376"/>
                </a:lnTo>
                <a:cubicBezTo>
                  <a:pt x="6958" y="10376"/>
                  <a:pt x="7185" y="10148"/>
                  <a:pt x="7185" y="9871"/>
                </a:cubicBezTo>
                <a:lnTo>
                  <a:pt x="7004" y="8956"/>
                </a:lnTo>
                <a:cubicBezTo>
                  <a:pt x="6947" y="8792"/>
                  <a:pt x="6845" y="8663"/>
                  <a:pt x="6682" y="8571"/>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spTree>
    <p:custDataLst>
      <p:tags r:id="rId2"/>
    </p:custDataLst>
    <p:extLst>
      <p:ext uri="{BB962C8B-B14F-4D97-AF65-F5344CB8AC3E}">
        <p14:creationId xmlns:p14="http://schemas.microsoft.com/office/powerpoint/2010/main" val="3797853116"/>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3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组合 9">
            <a:extLst>
              <a:ext uri="{FF2B5EF4-FFF2-40B4-BE49-F238E27FC236}">
                <a16:creationId xmlns:a16="http://schemas.microsoft.com/office/drawing/2014/main" id="{77603D41-DF05-4718-AF09-560E20A758BA}"/>
              </a:ext>
            </a:extLst>
          </p:cNvPr>
          <p:cNvGrpSpPr/>
          <p:nvPr/>
        </p:nvGrpSpPr>
        <p:grpSpPr>
          <a:xfrm>
            <a:off x="4983775" y="2116717"/>
            <a:ext cx="2223476" cy="2222566"/>
            <a:chOff x="4903425" y="2036400"/>
            <a:chExt cx="2384175" cy="2383200"/>
          </a:xfrm>
        </p:grpSpPr>
        <p:sp>
          <p:nvSpPr>
            <p:cNvPr id="25" name="椭圆 24">
              <a:extLst>
                <a:ext uri="{FF2B5EF4-FFF2-40B4-BE49-F238E27FC236}">
                  <a16:creationId xmlns:a16="http://schemas.microsoft.com/office/drawing/2014/main" id="{92556847-F9FA-453D-A2E8-C4C687EE02CB}"/>
                </a:ext>
              </a:extLst>
            </p:cNvPr>
            <p:cNvSpPr/>
            <p:nvPr/>
          </p:nvSpPr>
          <p:spPr>
            <a:xfrm>
              <a:off x="4905375" y="2038350"/>
              <a:ext cx="2381250" cy="2381250"/>
            </a:xfrm>
            <a:prstGeom prst="ellipse">
              <a:avLst/>
            </a:prstGeom>
            <a:noFill/>
            <a:ln w="22225">
              <a:gradFill>
                <a:gsLst>
                  <a:gs pos="0">
                    <a:schemeClr val="accent1"/>
                  </a:gs>
                  <a:gs pos="70000">
                    <a:srgbClr val="031761">
                      <a:alpha val="0"/>
                    </a:srgbClr>
                  </a:gs>
                  <a:gs pos="30000">
                    <a:schemeClr val="accent1">
                      <a:alpha val="0"/>
                    </a:schemeClr>
                  </a:gs>
                  <a:gs pos="100000">
                    <a:schemeClr val="accent1"/>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9" name="弧形 8">
              <a:extLst>
                <a:ext uri="{FF2B5EF4-FFF2-40B4-BE49-F238E27FC236}">
                  <a16:creationId xmlns:a16="http://schemas.microsoft.com/office/drawing/2014/main" id="{9D685F6B-10A8-45DC-8E1D-820073BC1A7E}"/>
                </a:ext>
              </a:extLst>
            </p:cNvPr>
            <p:cNvSpPr/>
            <p:nvPr/>
          </p:nvSpPr>
          <p:spPr>
            <a:xfrm>
              <a:off x="4904400" y="2036400"/>
              <a:ext cx="2383200" cy="2383200"/>
            </a:xfrm>
            <a:prstGeom prst="arc">
              <a:avLst>
                <a:gd name="adj1" fmla="val 16352254"/>
                <a:gd name="adj2" fmla="val 19480012"/>
              </a:avLst>
            </a:prstGeom>
            <a:ln w="60325"/>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sp>
          <p:nvSpPr>
            <p:cNvPr id="27" name="弧形 26">
              <a:extLst>
                <a:ext uri="{FF2B5EF4-FFF2-40B4-BE49-F238E27FC236}">
                  <a16:creationId xmlns:a16="http://schemas.microsoft.com/office/drawing/2014/main" id="{8E783F52-8FE4-473F-80B9-D57E4A0B061D}"/>
                </a:ext>
              </a:extLst>
            </p:cNvPr>
            <p:cNvSpPr/>
            <p:nvPr/>
          </p:nvSpPr>
          <p:spPr>
            <a:xfrm>
              <a:off x="4903425" y="2036400"/>
              <a:ext cx="2383200" cy="2383200"/>
            </a:xfrm>
            <a:prstGeom prst="arc">
              <a:avLst>
                <a:gd name="adj1" fmla="val 5412482"/>
                <a:gd name="adj2" fmla="val 8451667"/>
              </a:avLst>
            </a:prstGeom>
            <a:ln w="60325"/>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grpSp>
      <p:sp>
        <p:nvSpPr>
          <p:cNvPr id="7" name="文本框 6">
            <a:extLst>
              <a:ext uri="{FF2B5EF4-FFF2-40B4-BE49-F238E27FC236}">
                <a16:creationId xmlns:a16="http://schemas.microsoft.com/office/drawing/2014/main" id="{363E3C75-B2F9-4EF8-9160-A7231089237C}"/>
              </a:ext>
            </a:extLst>
          </p:cNvPr>
          <p:cNvSpPr txBox="1"/>
          <p:nvPr/>
        </p:nvSpPr>
        <p:spPr>
          <a:xfrm>
            <a:off x="4685360" y="2933700"/>
            <a:ext cx="2821285" cy="677108"/>
          </a:xfrm>
          <a:prstGeom prst="rect">
            <a:avLst/>
          </a:prstGeom>
          <a:noFill/>
        </p:spPr>
        <p:txBody>
          <a:bodyPr wrap="none" lIns="0" tIns="0" rIns="0" bIns="0" rtlCol="0" anchor="t">
            <a:spAutoFit/>
          </a:bodyPr>
          <a:lstStyle/>
          <a:p>
            <a:pPr algn="ctr"/>
            <a:r>
              <a:rPr lang="zh-CN" altLang="en-US" sz="4400" dirty="0">
                <a:solidFill>
                  <a:schemeClr val="accent1"/>
                </a:solidFill>
                <a:latin typeface="+mj-ea"/>
                <a:ea typeface="+mj-ea"/>
              </a:rPr>
              <a:t>关键词标题</a:t>
            </a:r>
          </a:p>
        </p:txBody>
      </p:sp>
      <p:sp>
        <p:nvSpPr>
          <p:cNvPr id="8" name="椭圆 7">
            <a:extLst>
              <a:ext uri="{FF2B5EF4-FFF2-40B4-BE49-F238E27FC236}">
                <a16:creationId xmlns:a16="http://schemas.microsoft.com/office/drawing/2014/main" id="{4C873FFE-75A5-4CAD-AC00-06307A5A0C44}"/>
              </a:ext>
            </a:extLst>
          </p:cNvPr>
          <p:cNvSpPr/>
          <p:nvPr/>
        </p:nvSpPr>
        <p:spPr>
          <a:xfrm>
            <a:off x="5267325" y="2400300"/>
            <a:ext cx="1657350" cy="1657350"/>
          </a:xfrm>
          <a:prstGeom prst="ellipse">
            <a:avLst/>
          </a:prstGeom>
          <a:noFill/>
          <a:ln w="22225">
            <a:gradFill>
              <a:gsLst>
                <a:gs pos="0">
                  <a:schemeClr val="accent1"/>
                </a:gs>
                <a:gs pos="70000">
                  <a:srgbClr val="031761">
                    <a:alpha val="0"/>
                  </a:srgbClr>
                </a:gs>
                <a:gs pos="30000">
                  <a:schemeClr val="accent1">
                    <a:alpha val="0"/>
                  </a:schemeClr>
                </a:gs>
                <a:gs pos="100000">
                  <a:schemeClr val="accent1"/>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grpSp>
        <p:nvGrpSpPr>
          <p:cNvPr id="29" name="组合 28">
            <a:extLst>
              <a:ext uri="{FF2B5EF4-FFF2-40B4-BE49-F238E27FC236}">
                <a16:creationId xmlns:a16="http://schemas.microsoft.com/office/drawing/2014/main" id="{CDACD735-7B26-42B7-B2D1-029CE1A58294}"/>
              </a:ext>
            </a:extLst>
          </p:cNvPr>
          <p:cNvGrpSpPr/>
          <p:nvPr/>
        </p:nvGrpSpPr>
        <p:grpSpPr>
          <a:xfrm rot="18000000">
            <a:off x="4687181" y="1821219"/>
            <a:ext cx="2814714" cy="2813562"/>
            <a:chOff x="4903425" y="2036400"/>
            <a:chExt cx="2384175" cy="2383200"/>
          </a:xfrm>
        </p:grpSpPr>
        <p:sp>
          <p:nvSpPr>
            <p:cNvPr id="30" name="椭圆 29">
              <a:extLst>
                <a:ext uri="{FF2B5EF4-FFF2-40B4-BE49-F238E27FC236}">
                  <a16:creationId xmlns:a16="http://schemas.microsoft.com/office/drawing/2014/main" id="{D84DEBE8-EE6B-4BE1-BABB-C73727D61656}"/>
                </a:ext>
              </a:extLst>
            </p:cNvPr>
            <p:cNvSpPr/>
            <p:nvPr/>
          </p:nvSpPr>
          <p:spPr>
            <a:xfrm>
              <a:off x="4905375" y="2038350"/>
              <a:ext cx="2381250" cy="2381250"/>
            </a:xfrm>
            <a:prstGeom prst="ellipse">
              <a:avLst/>
            </a:prstGeom>
            <a:noFill/>
            <a:ln w="22225">
              <a:gradFill>
                <a:gsLst>
                  <a:gs pos="0">
                    <a:schemeClr val="accent1"/>
                  </a:gs>
                  <a:gs pos="70000">
                    <a:srgbClr val="031761">
                      <a:alpha val="0"/>
                    </a:srgbClr>
                  </a:gs>
                  <a:gs pos="30000">
                    <a:schemeClr val="accent1">
                      <a:alpha val="0"/>
                    </a:schemeClr>
                  </a:gs>
                  <a:gs pos="100000">
                    <a:schemeClr val="accent1"/>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31" name="弧形 30">
              <a:extLst>
                <a:ext uri="{FF2B5EF4-FFF2-40B4-BE49-F238E27FC236}">
                  <a16:creationId xmlns:a16="http://schemas.microsoft.com/office/drawing/2014/main" id="{5D99E13B-016F-45F5-BFA8-BAC44D77758B}"/>
                </a:ext>
              </a:extLst>
            </p:cNvPr>
            <p:cNvSpPr/>
            <p:nvPr/>
          </p:nvSpPr>
          <p:spPr>
            <a:xfrm>
              <a:off x="4904400" y="2036400"/>
              <a:ext cx="2383200" cy="2383200"/>
            </a:xfrm>
            <a:prstGeom prst="arc">
              <a:avLst>
                <a:gd name="adj1" fmla="val 16352254"/>
                <a:gd name="adj2" fmla="val 19480012"/>
              </a:avLst>
            </a:prstGeom>
            <a:ln w="60325"/>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sp>
          <p:nvSpPr>
            <p:cNvPr id="32" name="弧形 31">
              <a:extLst>
                <a:ext uri="{FF2B5EF4-FFF2-40B4-BE49-F238E27FC236}">
                  <a16:creationId xmlns:a16="http://schemas.microsoft.com/office/drawing/2014/main" id="{0B2A9437-EAEF-41CC-9535-FFC7574CD358}"/>
                </a:ext>
              </a:extLst>
            </p:cNvPr>
            <p:cNvSpPr/>
            <p:nvPr/>
          </p:nvSpPr>
          <p:spPr>
            <a:xfrm>
              <a:off x="4903425" y="2036400"/>
              <a:ext cx="2383200" cy="2383200"/>
            </a:xfrm>
            <a:prstGeom prst="arc">
              <a:avLst>
                <a:gd name="adj1" fmla="val 5412482"/>
                <a:gd name="adj2" fmla="val 8451667"/>
              </a:avLst>
            </a:prstGeom>
            <a:ln w="60325"/>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grpSp>
      <p:sp>
        <p:nvSpPr>
          <p:cNvPr id="11" name="椭圆 10">
            <a:extLst>
              <a:ext uri="{FF2B5EF4-FFF2-40B4-BE49-F238E27FC236}">
                <a16:creationId xmlns:a16="http://schemas.microsoft.com/office/drawing/2014/main" id="{2FDCE922-3861-40E9-A384-A94C4EE7A54C}"/>
              </a:ext>
            </a:extLst>
          </p:cNvPr>
          <p:cNvSpPr/>
          <p:nvPr/>
        </p:nvSpPr>
        <p:spPr>
          <a:xfrm rot="17812014">
            <a:off x="4298902" y="1432154"/>
            <a:ext cx="3590696" cy="3590696"/>
          </a:xfrm>
          <a:prstGeom prst="ellipse">
            <a:avLst/>
          </a:prstGeom>
          <a:noFill/>
          <a:ln w="22225">
            <a:gradFill>
              <a:gsLst>
                <a:gs pos="0">
                  <a:schemeClr val="accent1"/>
                </a:gs>
                <a:gs pos="70000">
                  <a:srgbClr val="031761">
                    <a:alpha val="0"/>
                  </a:srgbClr>
                </a:gs>
                <a:gs pos="46000">
                  <a:schemeClr val="accent1">
                    <a:alpha val="0"/>
                  </a:schemeClr>
                </a:gs>
                <a:gs pos="100000">
                  <a:schemeClr val="accent1"/>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zh-CN" altLang="en-US" sz="1600">
              <a:solidFill>
                <a:schemeClr val="bg1"/>
              </a:solidFill>
              <a:latin typeface="+mj-ea"/>
              <a:ea typeface="+mj-ea"/>
            </a:endParaRPr>
          </a:p>
        </p:txBody>
      </p:sp>
      <p:sp>
        <p:nvSpPr>
          <p:cNvPr id="12" name="椭圆 11">
            <a:extLst>
              <a:ext uri="{FF2B5EF4-FFF2-40B4-BE49-F238E27FC236}">
                <a16:creationId xmlns:a16="http://schemas.microsoft.com/office/drawing/2014/main" id="{0561E799-5DBB-4CFA-95E9-23883922A790}"/>
              </a:ext>
            </a:extLst>
          </p:cNvPr>
          <p:cNvSpPr/>
          <p:nvPr/>
        </p:nvSpPr>
        <p:spPr>
          <a:xfrm>
            <a:off x="4606669" y="2043113"/>
            <a:ext cx="155424" cy="155424"/>
          </a:xfrm>
          <a:prstGeom prst="ellipse">
            <a:avLst/>
          </a:prstGeom>
          <a:solidFill>
            <a:schemeClr val="bg1"/>
          </a:solidFill>
          <a:ln w="222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36" name="椭圆 35">
            <a:extLst>
              <a:ext uri="{FF2B5EF4-FFF2-40B4-BE49-F238E27FC236}">
                <a16:creationId xmlns:a16="http://schemas.microsoft.com/office/drawing/2014/main" id="{CA4BB27D-0B93-4DC2-9612-798879516576}"/>
              </a:ext>
            </a:extLst>
          </p:cNvPr>
          <p:cNvSpPr/>
          <p:nvPr/>
        </p:nvSpPr>
        <p:spPr>
          <a:xfrm>
            <a:off x="4462411" y="4057650"/>
            <a:ext cx="155424" cy="155424"/>
          </a:xfrm>
          <a:prstGeom prst="ellipse">
            <a:avLst/>
          </a:prstGeom>
          <a:solidFill>
            <a:schemeClr val="bg1"/>
          </a:solidFill>
          <a:ln w="222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39" name="椭圆 38">
            <a:extLst>
              <a:ext uri="{FF2B5EF4-FFF2-40B4-BE49-F238E27FC236}">
                <a16:creationId xmlns:a16="http://schemas.microsoft.com/office/drawing/2014/main" id="{75EA0780-EB6E-4376-8B6A-A648DE13171D}"/>
              </a:ext>
            </a:extLst>
          </p:cNvPr>
          <p:cNvSpPr/>
          <p:nvPr/>
        </p:nvSpPr>
        <p:spPr>
          <a:xfrm>
            <a:off x="6016538" y="4952557"/>
            <a:ext cx="155424" cy="155424"/>
          </a:xfrm>
          <a:prstGeom prst="ellipse">
            <a:avLst/>
          </a:prstGeom>
          <a:solidFill>
            <a:schemeClr val="bg1"/>
          </a:solidFill>
          <a:ln w="222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40" name="椭圆 39">
            <a:extLst>
              <a:ext uri="{FF2B5EF4-FFF2-40B4-BE49-F238E27FC236}">
                <a16:creationId xmlns:a16="http://schemas.microsoft.com/office/drawing/2014/main" id="{20BE8442-2B66-4F90-99E3-C19E8F481410}"/>
              </a:ext>
            </a:extLst>
          </p:cNvPr>
          <p:cNvSpPr/>
          <p:nvPr/>
        </p:nvSpPr>
        <p:spPr>
          <a:xfrm>
            <a:off x="7419999" y="2043113"/>
            <a:ext cx="155424" cy="155424"/>
          </a:xfrm>
          <a:prstGeom prst="ellipse">
            <a:avLst/>
          </a:prstGeom>
          <a:solidFill>
            <a:schemeClr val="bg1"/>
          </a:solidFill>
          <a:ln w="222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41" name="椭圆 40">
            <a:extLst>
              <a:ext uri="{FF2B5EF4-FFF2-40B4-BE49-F238E27FC236}">
                <a16:creationId xmlns:a16="http://schemas.microsoft.com/office/drawing/2014/main" id="{3C664071-7DC7-4F18-9C2D-D02ECCD0BDC3}"/>
              </a:ext>
            </a:extLst>
          </p:cNvPr>
          <p:cNvSpPr/>
          <p:nvPr/>
        </p:nvSpPr>
        <p:spPr>
          <a:xfrm>
            <a:off x="7554861" y="4057650"/>
            <a:ext cx="155424" cy="155424"/>
          </a:xfrm>
          <a:prstGeom prst="ellipse">
            <a:avLst/>
          </a:prstGeom>
          <a:solidFill>
            <a:schemeClr val="bg1"/>
          </a:solidFill>
          <a:ln w="222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42" name="文本框 41">
            <a:extLst>
              <a:ext uri="{FF2B5EF4-FFF2-40B4-BE49-F238E27FC236}">
                <a16:creationId xmlns:a16="http://schemas.microsoft.com/office/drawing/2014/main" id="{913A750E-2E1E-4734-9E40-F9E212C80CF9}"/>
              </a:ext>
            </a:extLst>
          </p:cNvPr>
          <p:cNvSpPr txBox="1"/>
          <p:nvPr/>
        </p:nvSpPr>
        <p:spPr>
          <a:xfrm>
            <a:off x="8014422" y="1926645"/>
            <a:ext cx="1538883" cy="369332"/>
          </a:xfrm>
          <a:prstGeom prst="rect">
            <a:avLst/>
          </a:prstGeom>
          <a:noFill/>
        </p:spPr>
        <p:txBody>
          <a:bodyPr wrap="none" lIns="0" tIns="0" rIns="0" bIns="0" rtlCol="0" anchor="t">
            <a:spAutoFit/>
          </a:bodyPr>
          <a:lstStyle/>
          <a:p>
            <a:r>
              <a:rPr lang="zh-CN" altLang="en-US" sz="2400" dirty="0">
                <a:solidFill>
                  <a:schemeClr val="accent1"/>
                </a:solidFill>
                <a:latin typeface="+mj-ea"/>
                <a:ea typeface="+mj-ea"/>
              </a:rPr>
              <a:t>关键词标题</a:t>
            </a:r>
          </a:p>
        </p:txBody>
      </p:sp>
      <p:sp>
        <p:nvSpPr>
          <p:cNvPr id="43" name="文本框 42">
            <a:extLst>
              <a:ext uri="{FF2B5EF4-FFF2-40B4-BE49-F238E27FC236}">
                <a16:creationId xmlns:a16="http://schemas.microsoft.com/office/drawing/2014/main" id="{707CE4BA-6810-4203-96DC-E7C34E10EA51}"/>
              </a:ext>
            </a:extLst>
          </p:cNvPr>
          <p:cNvSpPr txBox="1"/>
          <p:nvPr/>
        </p:nvSpPr>
        <p:spPr>
          <a:xfrm>
            <a:off x="8014422" y="2317504"/>
            <a:ext cx="2465443" cy="387286"/>
          </a:xfrm>
          <a:prstGeom prst="rect">
            <a:avLst/>
          </a:prstGeom>
          <a:noFill/>
        </p:spPr>
        <p:txBody>
          <a:bodyPr wrap="square" lIns="0" tIns="0" rIns="0" bIns="0" rtlCol="0" anchor="t">
            <a:spAutoFit/>
          </a:bodyPr>
          <a:lstStyle/>
          <a:p>
            <a:pPr>
              <a:lnSpc>
                <a:spcPct val="130000"/>
              </a:lnSpc>
            </a:pPr>
            <a:r>
              <a:rPr lang="en-US" altLang="zh-CN" sz="1000" b="0" dirty="0">
                <a:solidFill>
                  <a:schemeClr val="tx1">
                    <a:lumMod val="75000"/>
                    <a:lumOff val="25000"/>
                  </a:schemeClr>
                </a:solidFill>
                <a:effectLst/>
                <a:latin typeface="+mn-ea"/>
              </a:rPr>
              <a:t>Lorem ipsum dolor sit amet, consectetur adipisicing elit, sed do eiusmod tempor</a:t>
            </a:r>
            <a:endParaRPr lang="zh-CN" altLang="en-US" sz="1000" b="0" dirty="0">
              <a:solidFill>
                <a:schemeClr val="tx1">
                  <a:lumMod val="75000"/>
                  <a:lumOff val="25000"/>
                </a:schemeClr>
              </a:solidFill>
              <a:effectLst/>
              <a:latin typeface="+mn-ea"/>
            </a:endParaRPr>
          </a:p>
        </p:txBody>
      </p:sp>
      <p:sp>
        <p:nvSpPr>
          <p:cNvPr id="44" name="文本框 43">
            <a:extLst>
              <a:ext uri="{FF2B5EF4-FFF2-40B4-BE49-F238E27FC236}">
                <a16:creationId xmlns:a16="http://schemas.microsoft.com/office/drawing/2014/main" id="{1D032342-75F6-4DB0-BDF5-B6525B7A9689}"/>
              </a:ext>
            </a:extLst>
          </p:cNvPr>
          <p:cNvSpPr txBox="1"/>
          <p:nvPr/>
        </p:nvSpPr>
        <p:spPr>
          <a:xfrm>
            <a:off x="7849830" y="3993189"/>
            <a:ext cx="1538883" cy="369332"/>
          </a:xfrm>
          <a:prstGeom prst="rect">
            <a:avLst/>
          </a:prstGeom>
          <a:noFill/>
        </p:spPr>
        <p:txBody>
          <a:bodyPr wrap="none" lIns="0" tIns="0" rIns="0" bIns="0" rtlCol="0" anchor="t">
            <a:spAutoFit/>
          </a:bodyPr>
          <a:lstStyle/>
          <a:p>
            <a:r>
              <a:rPr lang="zh-CN" altLang="en-US" sz="2400" dirty="0">
                <a:solidFill>
                  <a:schemeClr val="accent1"/>
                </a:solidFill>
                <a:latin typeface="+mj-ea"/>
                <a:ea typeface="+mj-ea"/>
              </a:rPr>
              <a:t>关键词标题</a:t>
            </a:r>
          </a:p>
        </p:txBody>
      </p:sp>
      <p:sp>
        <p:nvSpPr>
          <p:cNvPr id="50" name="文本框 49">
            <a:extLst>
              <a:ext uri="{FF2B5EF4-FFF2-40B4-BE49-F238E27FC236}">
                <a16:creationId xmlns:a16="http://schemas.microsoft.com/office/drawing/2014/main" id="{13D253D1-6286-4123-AF97-DC0B149BAE88}"/>
              </a:ext>
            </a:extLst>
          </p:cNvPr>
          <p:cNvSpPr txBox="1"/>
          <p:nvPr/>
        </p:nvSpPr>
        <p:spPr>
          <a:xfrm>
            <a:off x="7849830" y="4384048"/>
            <a:ext cx="2465443" cy="387286"/>
          </a:xfrm>
          <a:prstGeom prst="rect">
            <a:avLst/>
          </a:prstGeom>
          <a:noFill/>
        </p:spPr>
        <p:txBody>
          <a:bodyPr wrap="square" lIns="0" tIns="0" rIns="0" bIns="0" rtlCol="0" anchor="t">
            <a:spAutoFit/>
          </a:bodyPr>
          <a:lstStyle/>
          <a:p>
            <a:pPr>
              <a:lnSpc>
                <a:spcPct val="130000"/>
              </a:lnSpc>
            </a:pPr>
            <a:r>
              <a:rPr lang="en-US" altLang="zh-CN" sz="1000" b="0" dirty="0">
                <a:solidFill>
                  <a:schemeClr val="tx1">
                    <a:lumMod val="75000"/>
                    <a:lumOff val="25000"/>
                  </a:schemeClr>
                </a:solidFill>
                <a:effectLst/>
                <a:latin typeface="+mn-ea"/>
              </a:rPr>
              <a:t>Lorem ipsum dolor sit amet, consectetur adipisicing elit, sed do eiusmod tempor</a:t>
            </a:r>
            <a:endParaRPr lang="zh-CN" altLang="en-US" sz="1000" b="0" dirty="0">
              <a:solidFill>
                <a:schemeClr val="tx1">
                  <a:lumMod val="75000"/>
                  <a:lumOff val="25000"/>
                </a:schemeClr>
              </a:solidFill>
              <a:effectLst/>
              <a:latin typeface="+mn-ea"/>
            </a:endParaRPr>
          </a:p>
        </p:txBody>
      </p:sp>
      <p:sp>
        <p:nvSpPr>
          <p:cNvPr id="51" name="文本框 50">
            <a:extLst>
              <a:ext uri="{FF2B5EF4-FFF2-40B4-BE49-F238E27FC236}">
                <a16:creationId xmlns:a16="http://schemas.microsoft.com/office/drawing/2014/main" id="{A92A0A1F-8F0D-44C1-BF4B-9E8B79973750}"/>
              </a:ext>
            </a:extLst>
          </p:cNvPr>
          <p:cNvSpPr txBox="1"/>
          <p:nvPr/>
        </p:nvSpPr>
        <p:spPr>
          <a:xfrm>
            <a:off x="5326558" y="5241891"/>
            <a:ext cx="1538883" cy="369332"/>
          </a:xfrm>
          <a:prstGeom prst="rect">
            <a:avLst/>
          </a:prstGeom>
          <a:noFill/>
        </p:spPr>
        <p:txBody>
          <a:bodyPr wrap="none" lIns="0" tIns="0" rIns="0" bIns="0" rtlCol="0" anchor="t">
            <a:spAutoFit/>
          </a:bodyPr>
          <a:lstStyle/>
          <a:p>
            <a:pPr algn="ctr"/>
            <a:r>
              <a:rPr lang="zh-CN" altLang="en-US" sz="2400" dirty="0">
                <a:solidFill>
                  <a:schemeClr val="accent1"/>
                </a:solidFill>
                <a:latin typeface="+mj-ea"/>
                <a:ea typeface="+mj-ea"/>
              </a:rPr>
              <a:t>关键词标题</a:t>
            </a:r>
          </a:p>
        </p:txBody>
      </p:sp>
      <p:sp>
        <p:nvSpPr>
          <p:cNvPr id="52" name="文本框 51">
            <a:extLst>
              <a:ext uri="{FF2B5EF4-FFF2-40B4-BE49-F238E27FC236}">
                <a16:creationId xmlns:a16="http://schemas.microsoft.com/office/drawing/2014/main" id="{A70673CB-9610-4AD9-BB57-D0428E2A3F26}"/>
              </a:ext>
            </a:extLst>
          </p:cNvPr>
          <p:cNvSpPr txBox="1"/>
          <p:nvPr/>
        </p:nvSpPr>
        <p:spPr>
          <a:xfrm>
            <a:off x="4863278" y="5632750"/>
            <a:ext cx="2465443" cy="387286"/>
          </a:xfrm>
          <a:prstGeom prst="rect">
            <a:avLst/>
          </a:prstGeom>
          <a:noFill/>
        </p:spPr>
        <p:txBody>
          <a:bodyPr wrap="square" lIns="0" tIns="0" rIns="0" bIns="0" rtlCol="0" anchor="t">
            <a:spAutoFit/>
          </a:bodyPr>
          <a:lstStyle/>
          <a:p>
            <a:pPr algn="ctr">
              <a:lnSpc>
                <a:spcPct val="130000"/>
              </a:lnSpc>
            </a:pPr>
            <a:r>
              <a:rPr lang="en-US" altLang="zh-CN" sz="1000" b="0" dirty="0">
                <a:solidFill>
                  <a:schemeClr val="tx1">
                    <a:lumMod val="75000"/>
                    <a:lumOff val="25000"/>
                  </a:schemeClr>
                </a:solidFill>
                <a:effectLst/>
                <a:latin typeface="+mn-ea"/>
              </a:rPr>
              <a:t>Lorem ipsum dolor sit amet, consectetur adipisicing elit, sed do eiusmod tempor</a:t>
            </a:r>
            <a:endParaRPr lang="zh-CN" altLang="en-US" sz="1000" b="0" dirty="0">
              <a:solidFill>
                <a:schemeClr val="tx1">
                  <a:lumMod val="75000"/>
                  <a:lumOff val="25000"/>
                </a:schemeClr>
              </a:solidFill>
              <a:effectLst/>
              <a:latin typeface="+mn-ea"/>
            </a:endParaRPr>
          </a:p>
        </p:txBody>
      </p:sp>
      <p:sp>
        <p:nvSpPr>
          <p:cNvPr id="53" name="文本框 52">
            <a:extLst>
              <a:ext uri="{FF2B5EF4-FFF2-40B4-BE49-F238E27FC236}">
                <a16:creationId xmlns:a16="http://schemas.microsoft.com/office/drawing/2014/main" id="{9A8BAF20-05AD-4491-B053-DCD8DFE895B1}"/>
              </a:ext>
            </a:extLst>
          </p:cNvPr>
          <p:cNvSpPr txBox="1"/>
          <p:nvPr/>
        </p:nvSpPr>
        <p:spPr>
          <a:xfrm>
            <a:off x="2779836" y="3988795"/>
            <a:ext cx="1538883" cy="369332"/>
          </a:xfrm>
          <a:prstGeom prst="rect">
            <a:avLst/>
          </a:prstGeom>
          <a:noFill/>
        </p:spPr>
        <p:txBody>
          <a:bodyPr wrap="none" lIns="0" tIns="0" rIns="0" bIns="0" rtlCol="0" anchor="t">
            <a:spAutoFit/>
          </a:bodyPr>
          <a:lstStyle/>
          <a:p>
            <a:pPr algn="r"/>
            <a:r>
              <a:rPr lang="zh-CN" altLang="en-US" sz="2400" dirty="0">
                <a:solidFill>
                  <a:schemeClr val="accent1"/>
                </a:solidFill>
                <a:latin typeface="+mj-ea"/>
                <a:ea typeface="+mj-ea"/>
              </a:rPr>
              <a:t>关键词标题</a:t>
            </a:r>
          </a:p>
        </p:txBody>
      </p:sp>
      <p:sp>
        <p:nvSpPr>
          <p:cNvPr id="54" name="文本框 53">
            <a:extLst>
              <a:ext uri="{FF2B5EF4-FFF2-40B4-BE49-F238E27FC236}">
                <a16:creationId xmlns:a16="http://schemas.microsoft.com/office/drawing/2014/main" id="{B579AF5E-F03C-4388-843A-3C668207A254}"/>
              </a:ext>
            </a:extLst>
          </p:cNvPr>
          <p:cNvSpPr txBox="1"/>
          <p:nvPr/>
        </p:nvSpPr>
        <p:spPr>
          <a:xfrm>
            <a:off x="1853276" y="4379654"/>
            <a:ext cx="2465443" cy="387286"/>
          </a:xfrm>
          <a:prstGeom prst="rect">
            <a:avLst/>
          </a:prstGeom>
          <a:noFill/>
        </p:spPr>
        <p:txBody>
          <a:bodyPr wrap="square" lIns="0" tIns="0" rIns="0" bIns="0" rtlCol="0" anchor="t">
            <a:spAutoFit/>
          </a:bodyPr>
          <a:lstStyle/>
          <a:p>
            <a:pPr algn="r">
              <a:lnSpc>
                <a:spcPct val="130000"/>
              </a:lnSpc>
            </a:pPr>
            <a:r>
              <a:rPr lang="en-US" altLang="zh-CN" sz="1000" b="0" dirty="0">
                <a:solidFill>
                  <a:schemeClr val="tx1">
                    <a:lumMod val="75000"/>
                    <a:lumOff val="25000"/>
                  </a:schemeClr>
                </a:solidFill>
                <a:effectLst/>
                <a:latin typeface="+mn-ea"/>
              </a:rPr>
              <a:t>Lorem ipsum dolor sit amet, consectetur adipisicing elit, sed do eiusmod tempor</a:t>
            </a:r>
            <a:endParaRPr lang="zh-CN" altLang="en-US" sz="1000" b="0" dirty="0">
              <a:solidFill>
                <a:schemeClr val="tx1">
                  <a:lumMod val="75000"/>
                  <a:lumOff val="25000"/>
                </a:schemeClr>
              </a:solidFill>
              <a:effectLst/>
              <a:latin typeface="+mn-ea"/>
            </a:endParaRPr>
          </a:p>
        </p:txBody>
      </p:sp>
      <p:sp>
        <p:nvSpPr>
          <p:cNvPr id="56" name="文本框 55">
            <a:extLst>
              <a:ext uri="{FF2B5EF4-FFF2-40B4-BE49-F238E27FC236}">
                <a16:creationId xmlns:a16="http://schemas.microsoft.com/office/drawing/2014/main" id="{6BE20130-38FD-4EA5-B92A-A8A0F8AE0BD1}"/>
              </a:ext>
            </a:extLst>
          </p:cNvPr>
          <p:cNvSpPr txBox="1"/>
          <p:nvPr/>
        </p:nvSpPr>
        <p:spPr>
          <a:xfrm>
            <a:off x="2674343" y="1926645"/>
            <a:ext cx="1538883" cy="369332"/>
          </a:xfrm>
          <a:prstGeom prst="rect">
            <a:avLst/>
          </a:prstGeom>
          <a:noFill/>
        </p:spPr>
        <p:txBody>
          <a:bodyPr wrap="none" lIns="0" tIns="0" rIns="0" bIns="0" rtlCol="0" anchor="t">
            <a:spAutoFit/>
          </a:bodyPr>
          <a:lstStyle/>
          <a:p>
            <a:pPr algn="r"/>
            <a:r>
              <a:rPr lang="zh-CN" altLang="en-US" sz="2400" dirty="0">
                <a:solidFill>
                  <a:schemeClr val="accent1"/>
                </a:solidFill>
                <a:latin typeface="+mj-ea"/>
                <a:ea typeface="+mj-ea"/>
              </a:rPr>
              <a:t>关键词标题</a:t>
            </a:r>
          </a:p>
        </p:txBody>
      </p:sp>
      <p:sp>
        <p:nvSpPr>
          <p:cNvPr id="57" name="文本框 56">
            <a:extLst>
              <a:ext uri="{FF2B5EF4-FFF2-40B4-BE49-F238E27FC236}">
                <a16:creationId xmlns:a16="http://schemas.microsoft.com/office/drawing/2014/main" id="{18EA1FB6-B7B2-4DCD-A504-77C470F70F80}"/>
              </a:ext>
            </a:extLst>
          </p:cNvPr>
          <p:cNvSpPr txBox="1"/>
          <p:nvPr/>
        </p:nvSpPr>
        <p:spPr>
          <a:xfrm>
            <a:off x="1747783" y="2317504"/>
            <a:ext cx="2465443" cy="387286"/>
          </a:xfrm>
          <a:prstGeom prst="rect">
            <a:avLst/>
          </a:prstGeom>
          <a:noFill/>
        </p:spPr>
        <p:txBody>
          <a:bodyPr wrap="square" lIns="0" tIns="0" rIns="0" bIns="0" rtlCol="0" anchor="t">
            <a:spAutoFit/>
          </a:bodyPr>
          <a:lstStyle/>
          <a:p>
            <a:pPr algn="r">
              <a:lnSpc>
                <a:spcPct val="130000"/>
              </a:lnSpc>
            </a:pPr>
            <a:r>
              <a:rPr lang="en-US" altLang="zh-CN" sz="1000" b="0" dirty="0">
                <a:solidFill>
                  <a:schemeClr val="tx1">
                    <a:lumMod val="75000"/>
                    <a:lumOff val="25000"/>
                  </a:schemeClr>
                </a:solidFill>
                <a:effectLst/>
                <a:latin typeface="+mn-ea"/>
              </a:rPr>
              <a:t>Lorem ipsum dolor sit amet, consectetur adipisicing elit, sed do eiusmod tempor</a:t>
            </a:r>
            <a:endParaRPr lang="zh-CN" altLang="en-US" sz="1000" b="0" dirty="0">
              <a:solidFill>
                <a:schemeClr val="tx1">
                  <a:lumMod val="75000"/>
                  <a:lumOff val="25000"/>
                </a:schemeClr>
              </a:solidFill>
              <a:effectLst/>
              <a:latin typeface="+mn-ea"/>
            </a:endParaRPr>
          </a:p>
        </p:txBody>
      </p:sp>
    </p:spTree>
    <p:custDataLst>
      <p:tags r:id="rId2"/>
    </p:custDataLst>
    <p:extLst>
      <p:ext uri="{BB962C8B-B14F-4D97-AF65-F5344CB8AC3E}">
        <p14:creationId xmlns:p14="http://schemas.microsoft.com/office/powerpoint/2010/main" val="1650197641"/>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3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椭圆 48">
            <a:extLst>
              <a:ext uri="{FF2B5EF4-FFF2-40B4-BE49-F238E27FC236}">
                <a16:creationId xmlns:a16="http://schemas.microsoft.com/office/drawing/2014/main" id="{0F61DAEE-A7CB-42FD-9585-6425635E0E8C}"/>
              </a:ext>
            </a:extLst>
          </p:cNvPr>
          <p:cNvSpPr/>
          <p:nvPr/>
        </p:nvSpPr>
        <p:spPr>
          <a:xfrm>
            <a:off x="3906982" y="1674411"/>
            <a:ext cx="4378036" cy="437803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35" name="椭圆 34">
            <a:extLst>
              <a:ext uri="{FF2B5EF4-FFF2-40B4-BE49-F238E27FC236}">
                <a16:creationId xmlns:a16="http://schemas.microsoft.com/office/drawing/2014/main" id="{F504B1E3-E169-489D-AEC8-646848244F6A}"/>
              </a:ext>
            </a:extLst>
          </p:cNvPr>
          <p:cNvSpPr/>
          <p:nvPr/>
        </p:nvSpPr>
        <p:spPr>
          <a:xfrm>
            <a:off x="4724400" y="2491829"/>
            <a:ext cx="2743200" cy="2743200"/>
          </a:xfrm>
          <a:prstGeom prst="ellipse">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2" name="椭圆 1">
            <a:extLst>
              <a:ext uri="{FF2B5EF4-FFF2-40B4-BE49-F238E27FC236}">
                <a16:creationId xmlns:a16="http://schemas.microsoft.com/office/drawing/2014/main" id="{9806711B-D783-46E9-AE3A-696BD10A67F1}"/>
              </a:ext>
            </a:extLst>
          </p:cNvPr>
          <p:cNvSpPr/>
          <p:nvPr/>
        </p:nvSpPr>
        <p:spPr>
          <a:xfrm>
            <a:off x="5495925" y="3263354"/>
            <a:ext cx="1200150" cy="120015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cxnSp>
        <p:nvCxnSpPr>
          <p:cNvPr id="8" name="直接连接符 7">
            <a:extLst>
              <a:ext uri="{FF2B5EF4-FFF2-40B4-BE49-F238E27FC236}">
                <a16:creationId xmlns:a16="http://schemas.microsoft.com/office/drawing/2014/main" id="{A2610ED0-3A6E-4996-9FD1-3DE66AC231A6}"/>
              </a:ext>
            </a:extLst>
          </p:cNvPr>
          <p:cNvCxnSpPr>
            <a:stCxn id="35" idx="0"/>
            <a:endCxn id="2" idx="0"/>
          </p:cNvCxnSpPr>
          <p:nvPr/>
        </p:nvCxnSpPr>
        <p:spPr>
          <a:xfrm>
            <a:off x="6096000" y="2491829"/>
            <a:ext cx="0" cy="771525"/>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38" name="直接连接符 37">
            <a:extLst>
              <a:ext uri="{FF2B5EF4-FFF2-40B4-BE49-F238E27FC236}">
                <a16:creationId xmlns:a16="http://schemas.microsoft.com/office/drawing/2014/main" id="{13E0F6DF-77B2-4C31-837A-066A75360A69}"/>
              </a:ext>
            </a:extLst>
          </p:cNvPr>
          <p:cNvCxnSpPr>
            <a:cxnSpLocks/>
            <a:stCxn id="2" idx="3"/>
            <a:endCxn id="35" idx="3"/>
          </p:cNvCxnSpPr>
          <p:nvPr/>
        </p:nvCxnSpPr>
        <p:spPr>
          <a:xfrm flipH="1">
            <a:off x="5126132" y="4287746"/>
            <a:ext cx="545551" cy="545551"/>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41" name="直接连接符 40">
            <a:extLst>
              <a:ext uri="{FF2B5EF4-FFF2-40B4-BE49-F238E27FC236}">
                <a16:creationId xmlns:a16="http://schemas.microsoft.com/office/drawing/2014/main" id="{9BBA221C-569A-493B-A048-2BD643692DA6}"/>
              </a:ext>
            </a:extLst>
          </p:cNvPr>
          <p:cNvCxnSpPr>
            <a:cxnSpLocks/>
            <a:stCxn id="2" idx="5"/>
            <a:endCxn id="35" idx="5"/>
          </p:cNvCxnSpPr>
          <p:nvPr/>
        </p:nvCxnSpPr>
        <p:spPr>
          <a:xfrm>
            <a:off x="6520317" y="4287746"/>
            <a:ext cx="545551" cy="545551"/>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0" name="文本框 19">
            <a:extLst>
              <a:ext uri="{FF2B5EF4-FFF2-40B4-BE49-F238E27FC236}">
                <a16:creationId xmlns:a16="http://schemas.microsoft.com/office/drawing/2014/main" id="{06C4B316-BDA5-4F7E-9980-6E91A1DCEAA7}"/>
              </a:ext>
            </a:extLst>
          </p:cNvPr>
          <p:cNvSpPr txBox="1"/>
          <p:nvPr/>
        </p:nvSpPr>
        <p:spPr>
          <a:xfrm>
            <a:off x="5219701" y="2987130"/>
            <a:ext cx="1752598" cy="1752598"/>
          </a:xfrm>
          <a:prstGeom prst="rect">
            <a:avLst/>
          </a:prstGeom>
          <a:noFill/>
        </p:spPr>
        <p:txBody>
          <a:bodyPr wrap="none" lIns="0" tIns="0" rIns="0" bIns="0" rtlCol="0" anchor="t">
            <a:prstTxWarp prst="textCircle">
              <a:avLst/>
            </a:prstTxWarp>
            <a:spAutoFit/>
          </a:bodyPr>
          <a:lstStyle/>
          <a:p>
            <a:pPr algn="l"/>
            <a:r>
              <a:rPr lang="zh-CN" altLang="en-US" dirty="0">
                <a:solidFill>
                  <a:schemeClr val="accent1"/>
                </a:solidFill>
              </a:rPr>
              <a:t>输入关键词</a:t>
            </a:r>
          </a:p>
        </p:txBody>
      </p:sp>
      <p:sp>
        <p:nvSpPr>
          <p:cNvPr id="64" name="文本框 63">
            <a:extLst>
              <a:ext uri="{FF2B5EF4-FFF2-40B4-BE49-F238E27FC236}">
                <a16:creationId xmlns:a16="http://schemas.microsoft.com/office/drawing/2014/main" id="{3EB1E9FA-A5E5-4C19-8FDB-DE98A4D644E4}"/>
              </a:ext>
            </a:extLst>
          </p:cNvPr>
          <p:cNvSpPr txBox="1"/>
          <p:nvPr/>
        </p:nvSpPr>
        <p:spPr>
          <a:xfrm>
            <a:off x="5219701" y="2987130"/>
            <a:ext cx="1752598" cy="1752598"/>
          </a:xfrm>
          <a:prstGeom prst="rect">
            <a:avLst/>
          </a:prstGeom>
          <a:noFill/>
        </p:spPr>
        <p:txBody>
          <a:bodyPr wrap="none" lIns="0" tIns="0" rIns="0" bIns="0" rtlCol="0" anchor="t">
            <a:prstTxWarp prst="textCircle">
              <a:avLst>
                <a:gd name="adj" fmla="val 17234468"/>
              </a:avLst>
            </a:prstTxWarp>
            <a:spAutoFit/>
          </a:bodyPr>
          <a:lstStyle/>
          <a:p>
            <a:pPr algn="l"/>
            <a:r>
              <a:rPr lang="zh-CN" altLang="en-US" dirty="0">
                <a:solidFill>
                  <a:schemeClr val="accent1"/>
                </a:solidFill>
              </a:rPr>
              <a:t>输入关键词</a:t>
            </a:r>
          </a:p>
        </p:txBody>
      </p:sp>
      <p:sp>
        <p:nvSpPr>
          <p:cNvPr id="66" name="文本框 65">
            <a:extLst>
              <a:ext uri="{FF2B5EF4-FFF2-40B4-BE49-F238E27FC236}">
                <a16:creationId xmlns:a16="http://schemas.microsoft.com/office/drawing/2014/main" id="{60BB02AB-D0CA-4285-AA88-B707323F7D46}"/>
              </a:ext>
            </a:extLst>
          </p:cNvPr>
          <p:cNvSpPr txBox="1"/>
          <p:nvPr/>
        </p:nvSpPr>
        <p:spPr>
          <a:xfrm>
            <a:off x="5219701" y="2987130"/>
            <a:ext cx="1752598" cy="1752598"/>
          </a:xfrm>
          <a:prstGeom prst="rect">
            <a:avLst/>
          </a:prstGeom>
          <a:noFill/>
        </p:spPr>
        <p:txBody>
          <a:bodyPr wrap="none" lIns="0" tIns="0" rIns="0" bIns="0" rtlCol="0" anchor="t">
            <a:prstTxWarp prst="textCircle">
              <a:avLst>
                <a:gd name="adj" fmla="val 3308222"/>
              </a:avLst>
            </a:prstTxWarp>
            <a:spAutoFit/>
          </a:bodyPr>
          <a:lstStyle/>
          <a:p>
            <a:pPr algn="l"/>
            <a:r>
              <a:rPr lang="zh-CN" altLang="en-US" dirty="0">
                <a:solidFill>
                  <a:schemeClr val="accent1"/>
                </a:solidFill>
              </a:rPr>
              <a:t>输入关键词</a:t>
            </a:r>
          </a:p>
        </p:txBody>
      </p:sp>
      <p:sp>
        <p:nvSpPr>
          <p:cNvPr id="73" name="椭圆 72">
            <a:extLst>
              <a:ext uri="{FF2B5EF4-FFF2-40B4-BE49-F238E27FC236}">
                <a16:creationId xmlns:a16="http://schemas.microsoft.com/office/drawing/2014/main" id="{22CBB041-0419-4689-A6D3-78C15987E4BE}"/>
              </a:ext>
            </a:extLst>
          </p:cNvPr>
          <p:cNvSpPr/>
          <p:nvPr/>
        </p:nvSpPr>
        <p:spPr>
          <a:xfrm>
            <a:off x="4259580" y="2027015"/>
            <a:ext cx="3672840" cy="3672828"/>
          </a:xfrm>
          <a:prstGeom prst="ellipse">
            <a:avLst/>
          </a:prstGeom>
          <a:noFill/>
          <a:ln w="9525">
            <a:solidFill>
              <a:schemeClr val="bg1"/>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a:p>
        </p:txBody>
      </p:sp>
      <p:sp>
        <p:nvSpPr>
          <p:cNvPr id="21" name="椭圆 20">
            <a:extLst>
              <a:ext uri="{FF2B5EF4-FFF2-40B4-BE49-F238E27FC236}">
                <a16:creationId xmlns:a16="http://schemas.microsoft.com/office/drawing/2014/main" id="{B80DD6E7-155B-4085-A8AF-4AC230CE90E4}"/>
              </a:ext>
            </a:extLst>
          </p:cNvPr>
          <p:cNvSpPr/>
          <p:nvPr/>
        </p:nvSpPr>
        <p:spPr>
          <a:xfrm>
            <a:off x="5798079" y="1769382"/>
            <a:ext cx="595842" cy="595840"/>
          </a:xfrm>
          <a:prstGeom prst="ellipse">
            <a:avLst/>
          </a:prstGeom>
          <a:solidFill>
            <a:schemeClr val="accent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67" name="椭圆 66">
            <a:extLst>
              <a:ext uri="{FF2B5EF4-FFF2-40B4-BE49-F238E27FC236}">
                <a16:creationId xmlns:a16="http://schemas.microsoft.com/office/drawing/2014/main" id="{789502EF-EB8C-400C-AFE8-F76CC1F4F387}"/>
              </a:ext>
            </a:extLst>
          </p:cNvPr>
          <p:cNvSpPr/>
          <p:nvPr/>
        </p:nvSpPr>
        <p:spPr>
          <a:xfrm>
            <a:off x="4530290" y="4833297"/>
            <a:ext cx="595842" cy="595840"/>
          </a:xfrm>
          <a:prstGeom prst="ellipse">
            <a:avLst/>
          </a:prstGeom>
          <a:solidFill>
            <a:schemeClr val="accent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a:p>
        </p:txBody>
      </p:sp>
      <p:sp>
        <p:nvSpPr>
          <p:cNvPr id="72" name="椭圆 71">
            <a:extLst>
              <a:ext uri="{FF2B5EF4-FFF2-40B4-BE49-F238E27FC236}">
                <a16:creationId xmlns:a16="http://schemas.microsoft.com/office/drawing/2014/main" id="{09AB7822-86EE-4FDE-8709-25239C3E5742}"/>
              </a:ext>
            </a:extLst>
          </p:cNvPr>
          <p:cNvSpPr/>
          <p:nvPr/>
        </p:nvSpPr>
        <p:spPr>
          <a:xfrm>
            <a:off x="7014410" y="4833297"/>
            <a:ext cx="595842" cy="595840"/>
          </a:xfrm>
          <a:prstGeom prst="ellipse">
            <a:avLst/>
          </a:prstGeom>
          <a:solidFill>
            <a:schemeClr val="accent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a:p>
        </p:txBody>
      </p:sp>
      <p:sp>
        <p:nvSpPr>
          <p:cNvPr id="74" name="user_209046">
            <a:extLst>
              <a:ext uri="{FF2B5EF4-FFF2-40B4-BE49-F238E27FC236}">
                <a16:creationId xmlns:a16="http://schemas.microsoft.com/office/drawing/2014/main" id="{7CB954D5-0DD9-44A4-B289-6E39DB657784}"/>
              </a:ext>
            </a:extLst>
          </p:cNvPr>
          <p:cNvSpPr/>
          <p:nvPr/>
        </p:nvSpPr>
        <p:spPr>
          <a:xfrm>
            <a:off x="4699620" y="5027772"/>
            <a:ext cx="257182" cy="248016"/>
          </a:xfrm>
          <a:custGeom>
            <a:avLst/>
            <a:gdLst>
              <a:gd name="T0" fmla="*/ 11888 w 12803"/>
              <a:gd name="T1" fmla="*/ 0 h 12345"/>
              <a:gd name="T2" fmla="*/ 914 w 12803"/>
              <a:gd name="T3" fmla="*/ 0 h 12345"/>
              <a:gd name="T4" fmla="*/ 0 w 12803"/>
              <a:gd name="T5" fmla="*/ 914 h 12345"/>
              <a:gd name="T6" fmla="*/ 0 w 12803"/>
              <a:gd name="T7" fmla="*/ 8687 h 12345"/>
              <a:gd name="T8" fmla="*/ 914 w 12803"/>
              <a:gd name="T9" fmla="*/ 9602 h 12345"/>
              <a:gd name="T10" fmla="*/ 3201 w 12803"/>
              <a:gd name="T11" fmla="*/ 9602 h 12345"/>
              <a:gd name="T12" fmla="*/ 3201 w 12803"/>
              <a:gd name="T13" fmla="*/ 12345 h 12345"/>
              <a:gd name="T14" fmla="*/ 8230 w 12803"/>
              <a:gd name="T15" fmla="*/ 9602 h 12345"/>
              <a:gd name="T16" fmla="*/ 11888 w 12803"/>
              <a:gd name="T17" fmla="*/ 9602 h 12345"/>
              <a:gd name="T18" fmla="*/ 12803 w 12803"/>
              <a:gd name="T19" fmla="*/ 8687 h 12345"/>
              <a:gd name="T20" fmla="*/ 12803 w 12803"/>
              <a:gd name="T21" fmla="*/ 914 h 12345"/>
              <a:gd name="T22" fmla="*/ 11888 w 12803"/>
              <a:gd name="T23" fmla="*/ 0 h 12345"/>
              <a:gd name="T24" fmla="*/ 3201 w 12803"/>
              <a:gd name="T25" fmla="*/ 5487 h 12345"/>
              <a:gd name="T26" fmla="*/ 2286 w 12803"/>
              <a:gd name="T27" fmla="*/ 4572 h 12345"/>
              <a:gd name="T28" fmla="*/ 3201 w 12803"/>
              <a:gd name="T29" fmla="*/ 3658 h 12345"/>
              <a:gd name="T30" fmla="*/ 4115 w 12803"/>
              <a:gd name="T31" fmla="*/ 4572 h 12345"/>
              <a:gd name="T32" fmla="*/ 3201 w 12803"/>
              <a:gd name="T33" fmla="*/ 5487 h 12345"/>
              <a:gd name="T34" fmla="*/ 6401 w 12803"/>
              <a:gd name="T35" fmla="*/ 5487 h 12345"/>
              <a:gd name="T36" fmla="*/ 5487 w 12803"/>
              <a:gd name="T37" fmla="*/ 4572 h 12345"/>
              <a:gd name="T38" fmla="*/ 6401 w 12803"/>
              <a:gd name="T39" fmla="*/ 3658 h 12345"/>
              <a:gd name="T40" fmla="*/ 7316 w 12803"/>
              <a:gd name="T41" fmla="*/ 4572 h 12345"/>
              <a:gd name="T42" fmla="*/ 6401 w 12803"/>
              <a:gd name="T43" fmla="*/ 5487 h 12345"/>
              <a:gd name="T44" fmla="*/ 9602 w 12803"/>
              <a:gd name="T45" fmla="*/ 5487 h 12345"/>
              <a:gd name="T46" fmla="*/ 8687 w 12803"/>
              <a:gd name="T47" fmla="*/ 4572 h 12345"/>
              <a:gd name="T48" fmla="*/ 9602 w 12803"/>
              <a:gd name="T49" fmla="*/ 3658 h 12345"/>
              <a:gd name="T50" fmla="*/ 10516 w 12803"/>
              <a:gd name="T51" fmla="*/ 4572 h 12345"/>
              <a:gd name="T52" fmla="*/ 9602 w 12803"/>
              <a:gd name="T53" fmla="*/ 5487 h 12345"/>
              <a:gd name="T54" fmla="*/ 9602 w 12803"/>
              <a:gd name="T55" fmla="*/ 5487 h 123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2803" h="12345">
                <a:moveTo>
                  <a:pt x="11888" y="0"/>
                </a:moveTo>
                <a:lnTo>
                  <a:pt x="914" y="0"/>
                </a:lnTo>
                <a:cubicBezTo>
                  <a:pt x="409" y="0"/>
                  <a:pt x="0" y="409"/>
                  <a:pt x="0" y="914"/>
                </a:cubicBezTo>
                <a:lnTo>
                  <a:pt x="0" y="8687"/>
                </a:lnTo>
                <a:cubicBezTo>
                  <a:pt x="0" y="9193"/>
                  <a:pt x="409" y="9602"/>
                  <a:pt x="914" y="9602"/>
                </a:cubicBezTo>
                <a:lnTo>
                  <a:pt x="3201" y="9602"/>
                </a:lnTo>
                <a:lnTo>
                  <a:pt x="3201" y="12345"/>
                </a:lnTo>
                <a:lnTo>
                  <a:pt x="8230" y="9602"/>
                </a:lnTo>
                <a:lnTo>
                  <a:pt x="11888" y="9602"/>
                </a:lnTo>
                <a:cubicBezTo>
                  <a:pt x="12393" y="9602"/>
                  <a:pt x="12803" y="9193"/>
                  <a:pt x="12803" y="8687"/>
                </a:cubicBezTo>
                <a:lnTo>
                  <a:pt x="12803" y="914"/>
                </a:lnTo>
                <a:cubicBezTo>
                  <a:pt x="12803" y="409"/>
                  <a:pt x="12393" y="0"/>
                  <a:pt x="11888" y="0"/>
                </a:cubicBezTo>
                <a:close/>
                <a:moveTo>
                  <a:pt x="3201" y="5487"/>
                </a:moveTo>
                <a:cubicBezTo>
                  <a:pt x="2695" y="5487"/>
                  <a:pt x="2286" y="5077"/>
                  <a:pt x="2286" y="4572"/>
                </a:cubicBezTo>
                <a:cubicBezTo>
                  <a:pt x="2286" y="4067"/>
                  <a:pt x="2695" y="3658"/>
                  <a:pt x="3201" y="3658"/>
                </a:cubicBezTo>
                <a:cubicBezTo>
                  <a:pt x="3706" y="3658"/>
                  <a:pt x="4115" y="4067"/>
                  <a:pt x="4115" y="4572"/>
                </a:cubicBezTo>
                <a:cubicBezTo>
                  <a:pt x="4115" y="5077"/>
                  <a:pt x="3706" y="5487"/>
                  <a:pt x="3201" y="5487"/>
                </a:cubicBezTo>
                <a:close/>
                <a:moveTo>
                  <a:pt x="6401" y="5487"/>
                </a:moveTo>
                <a:cubicBezTo>
                  <a:pt x="5896" y="5487"/>
                  <a:pt x="5487" y="5077"/>
                  <a:pt x="5487" y="4572"/>
                </a:cubicBezTo>
                <a:cubicBezTo>
                  <a:pt x="5487" y="4067"/>
                  <a:pt x="5896" y="3658"/>
                  <a:pt x="6401" y="3658"/>
                </a:cubicBezTo>
                <a:cubicBezTo>
                  <a:pt x="6907" y="3658"/>
                  <a:pt x="7316" y="4067"/>
                  <a:pt x="7316" y="4572"/>
                </a:cubicBezTo>
                <a:cubicBezTo>
                  <a:pt x="7316" y="5077"/>
                  <a:pt x="6907" y="5487"/>
                  <a:pt x="6401" y="5487"/>
                </a:cubicBezTo>
                <a:close/>
                <a:moveTo>
                  <a:pt x="9602" y="5487"/>
                </a:moveTo>
                <a:cubicBezTo>
                  <a:pt x="9097" y="5487"/>
                  <a:pt x="8687" y="5077"/>
                  <a:pt x="8687" y="4572"/>
                </a:cubicBezTo>
                <a:cubicBezTo>
                  <a:pt x="8687" y="4067"/>
                  <a:pt x="9097" y="3658"/>
                  <a:pt x="9602" y="3658"/>
                </a:cubicBezTo>
                <a:cubicBezTo>
                  <a:pt x="10107" y="3658"/>
                  <a:pt x="10516" y="4067"/>
                  <a:pt x="10516" y="4572"/>
                </a:cubicBezTo>
                <a:cubicBezTo>
                  <a:pt x="10516" y="5077"/>
                  <a:pt x="10107" y="5487"/>
                  <a:pt x="9602" y="5487"/>
                </a:cubicBezTo>
                <a:close/>
                <a:moveTo>
                  <a:pt x="9602" y="5487"/>
                </a:move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sp>
        <p:nvSpPr>
          <p:cNvPr id="75" name="user_209046">
            <a:extLst>
              <a:ext uri="{FF2B5EF4-FFF2-40B4-BE49-F238E27FC236}">
                <a16:creationId xmlns:a16="http://schemas.microsoft.com/office/drawing/2014/main" id="{9450B0C3-4371-4986-B767-035B19B59EC3}"/>
              </a:ext>
            </a:extLst>
          </p:cNvPr>
          <p:cNvSpPr/>
          <p:nvPr/>
        </p:nvSpPr>
        <p:spPr>
          <a:xfrm>
            <a:off x="7232778" y="4996760"/>
            <a:ext cx="219455" cy="269503"/>
          </a:xfrm>
          <a:custGeom>
            <a:avLst/>
            <a:gdLst>
              <a:gd name="T0" fmla="*/ 4225 w 8450"/>
              <a:gd name="T1" fmla="*/ 0 h 10376"/>
              <a:gd name="T2" fmla="*/ 0 w 8450"/>
              <a:gd name="T3" fmla="*/ 4225 h 10376"/>
              <a:gd name="T4" fmla="*/ 4225 w 8450"/>
              <a:gd name="T5" fmla="*/ 8450 h 10376"/>
              <a:gd name="T6" fmla="*/ 8450 w 8450"/>
              <a:gd name="T7" fmla="*/ 4225 h 10376"/>
              <a:gd name="T8" fmla="*/ 4225 w 8450"/>
              <a:gd name="T9" fmla="*/ 0 h 10376"/>
              <a:gd name="T10" fmla="*/ 4225 w 8450"/>
              <a:gd name="T11" fmla="*/ 6092 h 10376"/>
              <a:gd name="T12" fmla="*/ 2359 w 8450"/>
              <a:gd name="T13" fmla="*/ 4226 h 10376"/>
              <a:gd name="T14" fmla="*/ 4225 w 8450"/>
              <a:gd name="T15" fmla="*/ 2360 h 10376"/>
              <a:gd name="T16" fmla="*/ 6092 w 8450"/>
              <a:gd name="T17" fmla="*/ 4226 h 10376"/>
              <a:gd name="T18" fmla="*/ 4225 w 8450"/>
              <a:gd name="T19" fmla="*/ 6092 h 10376"/>
              <a:gd name="T20" fmla="*/ 6682 w 8450"/>
              <a:gd name="T21" fmla="*/ 8571 h 10376"/>
              <a:gd name="T22" fmla="*/ 6322 w 8450"/>
              <a:gd name="T23" fmla="*/ 8582 h 10376"/>
              <a:gd name="T24" fmla="*/ 4225 w 8450"/>
              <a:gd name="T25" fmla="*/ 9225 h 10376"/>
              <a:gd name="T26" fmla="*/ 2180 w 8450"/>
              <a:gd name="T27" fmla="*/ 8611 h 10376"/>
              <a:gd name="T28" fmla="*/ 1793 w 8450"/>
              <a:gd name="T29" fmla="*/ 8620 h 10376"/>
              <a:gd name="T30" fmla="*/ 1533 w 8450"/>
              <a:gd name="T31" fmla="*/ 8956 h 10376"/>
              <a:gd name="T32" fmla="*/ 1352 w 8450"/>
              <a:gd name="T33" fmla="*/ 9871 h 10376"/>
              <a:gd name="T34" fmla="*/ 1857 w 8450"/>
              <a:gd name="T35" fmla="*/ 10376 h 10376"/>
              <a:gd name="T36" fmla="*/ 6680 w 8450"/>
              <a:gd name="T37" fmla="*/ 10376 h 10376"/>
              <a:gd name="T38" fmla="*/ 7185 w 8450"/>
              <a:gd name="T39" fmla="*/ 9871 h 10376"/>
              <a:gd name="T40" fmla="*/ 7004 w 8450"/>
              <a:gd name="T41" fmla="*/ 8956 h 10376"/>
              <a:gd name="T42" fmla="*/ 6682 w 8450"/>
              <a:gd name="T43" fmla="*/ 8571 h 10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450" h="10376">
                <a:moveTo>
                  <a:pt x="4225" y="0"/>
                </a:moveTo>
                <a:cubicBezTo>
                  <a:pt x="1892" y="0"/>
                  <a:pt x="0" y="1891"/>
                  <a:pt x="0" y="4225"/>
                </a:cubicBezTo>
                <a:cubicBezTo>
                  <a:pt x="0" y="6558"/>
                  <a:pt x="1892" y="8450"/>
                  <a:pt x="4225" y="8450"/>
                </a:cubicBezTo>
                <a:cubicBezTo>
                  <a:pt x="6559" y="8450"/>
                  <a:pt x="8450" y="6558"/>
                  <a:pt x="8450" y="4225"/>
                </a:cubicBezTo>
                <a:cubicBezTo>
                  <a:pt x="8450" y="1892"/>
                  <a:pt x="6559" y="0"/>
                  <a:pt x="4225" y="0"/>
                </a:cubicBezTo>
                <a:close/>
                <a:moveTo>
                  <a:pt x="4225" y="6092"/>
                </a:moveTo>
                <a:cubicBezTo>
                  <a:pt x="3194" y="6092"/>
                  <a:pt x="2359" y="5257"/>
                  <a:pt x="2359" y="4226"/>
                </a:cubicBezTo>
                <a:cubicBezTo>
                  <a:pt x="2359" y="3194"/>
                  <a:pt x="3194" y="2360"/>
                  <a:pt x="4225" y="2360"/>
                </a:cubicBezTo>
                <a:cubicBezTo>
                  <a:pt x="5257" y="2360"/>
                  <a:pt x="6092" y="3195"/>
                  <a:pt x="6092" y="4226"/>
                </a:cubicBezTo>
                <a:cubicBezTo>
                  <a:pt x="6092" y="5257"/>
                  <a:pt x="5257" y="6092"/>
                  <a:pt x="4225" y="6092"/>
                </a:cubicBezTo>
                <a:close/>
                <a:moveTo>
                  <a:pt x="6682" y="8571"/>
                </a:moveTo>
                <a:cubicBezTo>
                  <a:pt x="6570" y="8507"/>
                  <a:pt x="6432" y="8516"/>
                  <a:pt x="6322" y="8582"/>
                </a:cubicBezTo>
                <a:cubicBezTo>
                  <a:pt x="5643" y="8991"/>
                  <a:pt x="5117" y="9225"/>
                  <a:pt x="4225" y="9225"/>
                </a:cubicBezTo>
                <a:cubicBezTo>
                  <a:pt x="3355" y="9225"/>
                  <a:pt x="2843" y="9002"/>
                  <a:pt x="2180" y="8611"/>
                </a:cubicBezTo>
                <a:cubicBezTo>
                  <a:pt x="2060" y="8539"/>
                  <a:pt x="1909" y="8542"/>
                  <a:pt x="1793" y="8620"/>
                </a:cubicBezTo>
                <a:cubicBezTo>
                  <a:pt x="1659" y="8710"/>
                  <a:pt x="1584" y="8811"/>
                  <a:pt x="1533" y="8956"/>
                </a:cubicBezTo>
                <a:lnTo>
                  <a:pt x="1352" y="9871"/>
                </a:lnTo>
                <a:cubicBezTo>
                  <a:pt x="1352" y="10148"/>
                  <a:pt x="1579" y="10376"/>
                  <a:pt x="1857" y="10376"/>
                </a:cubicBezTo>
                <a:lnTo>
                  <a:pt x="6680" y="10376"/>
                </a:lnTo>
                <a:cubicBezTo>
                  <a:pt x="6958" y="10376"/>
                  <a:pt x="7185" y="10148"/>
                  <a:pt x="7185" y="9871"/>
                </a:cubicBezTo>
                <a:lnTo>
                  <a:pt x="7004" y="8956"/>
                </a:lnTo>
                <a:cubicBezTo>
                  <a:pt x="6947" y="8792"/>
                  <a:pt x="6845" y="8663"/>
                  <a:pt x="6682" y="8571"/>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sp>
        <p:nvSpPr>
          <p:cNvPr id="76" name="user_209046">
            <a:extLst>
              <a:ext uri="{FF2B5EF4-FFF2-40B4-BE49-F238E27FC236}">
                <a16:creationId xmlns:a16="http://schemas.microsoft.com/office/drawing/2014/main" id="{35830EE8-564A-42E4-8682-3CAF13A02B1A}"/>
              </a:ext>
            </a:extLst>
          </p:cNvPr>
          <p:cNvSpPr/>
          <p:nvPr/>
        </p:nvSpPr>
        <p:spPr>
          <a:xfrm>
            <a:off x="5949281" y="1943503"/>
            <a:ext cx="293438" cy="248016"/>
          </a:xfrm>
          <a:custGeom>
            <a:avLst/>
            <a:gdLst>
              <a:gd name="T0" fmla="*/ 4484 w 10375"/>
              <a:gd name="T1" fmla="*/ 6967 h 8769"/>
              <a:gd name="T2" fmla="*/ 4484 w 10375"/>
              <a:gd name="T3" fmla="*/ 8374 h 8769"/>
              <a:gd name="T4" fmla="*/ 5891 w 10375"/>
              <a:gd name="T5" fmla="*/ 8374 h 8769"/>
              <a:gd name="T6" fmla="*/ 5891 w 10375"/>
              <a:gd name="T7" fmla="*/ 6967 h 8769"/>
              <a:gd name="T8" fmla="*/ 4484 w 10375"/>
              <a:gd name="T9" fmla="*/ 6967 h 8769"/>
              <a:gd name="T10" fmla="*/ 1754 w 10375"/>
              <a:gd name="T11" fmla="*/ 5262 h 8769"/>
              <a:gd name="T12" fmla="*/ 2766 w 10375"/>
              <a:gd name="T13" fmla="*/ 6423 h 8769"/>
              <a:gd name="T14" fmla="*/ 7633 w 10375"/>
              <a:gd name="T15" fmla="*/ 6423 h 8769"/>
              <a:gd name="T16" fmla="*/ 8645 w 10375"/>
              <a:gd name="T17" fmla="*/ 5262 h 8769"/>
              <a:gd name="T18" fmla="*/ 1754 w 10375"/>
              <a:gd name="T19" fmla="*/ 5262 h 8769"/>
              <a:gd name="T20" fmla="*/ 0 w 10375"/>
              <a:gd name="T21" fmla="*/ 3261 h 8769"/>
              <a:gd name="T22" fmla="*/ 1038 w 10375"/>
              <a:gd name="T23" fmla="*/ 4447 h 8769"/>
              <a:gd name="T24" fmla="*/ 9338 w 10375"/>
              <a:gd name="T25" fmla="*/ 4447 h 8769"/>
              <a:gd name="T26" fmla="*/ 10375 w 10375"/>
              <a:gd name="T27" fmla="*/ 3261 h 8769"/>
              <a:gd name="T28" fmla="*/ 0 w 10375"/>
              <a:gd name="T29" fmla="*/ 3261 h 8769"/>
              <a:gd name="T30" fmla="*/ 0 w 10375"/>
              <a:gd name="T31" fmla="*/ 3261 h 87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375" h="8769">
                <a:moveTo>
                  <a:pt x="4484" y="6967"/>
                </a:moveTo>
                <a:cubicBezTo>
                  <a:pt x="4089" y="7362"/>
                  <a:pt x="4089" y="7979"/>
                  <a:pt x="4484" y="8374"/>
                </a:cubicBezTo>
                <a:cubicBezTo>
                  <a:pt x="4879" y="8769"/>
                  <a:pt x="5496" y="8769"/>
                  <a:pt x="5891" y="8374"/>
                </a:cubicBezTo>
                <a:cubicBezTo>
                  <a:pt x="6286" y="7979"/>
                  <a:pt x="6286" y="7362"/>
                  <a:pt x="5891" y="6967"/>
                </a:cubicBezTo>
                <a:cubicBezTo>
                  <a:pt x="5471" y="6571"/>
                  <a:pt x="4854" y="6571"/>
                  <a:pt x="4484" y="6967"/>
                </a:cubicBezTo>
                <a:close/>
                <a:moveTo>
                  <a:pt x="1754" y="5262"/>
                </a:moveTo>
                <a:lnTo>
                  <a:pt x="2766" y="6423"/>
                </a:lnTo>
                <a:cubicBezTo>
                  <a:pt x="4100" y="4892"/>
                  <a:pt x="6299" y="4892"/>
                  <a:pt x="7633" y="6423"/>
                </a:cubicBezTo>
                <a:lnTo>
                  <a:pt x="8645" y="5262"/>
                </a:lnTo>
                <a:cubicBezTo>
                  <a:pt x="6719" y="3088"/>
                  <a:pt x="3656" y="3088"/>
                  <a:pt x="1754" y="5262"/>
                </a:cubicBezTo>
                <a:close/>
                <a:moveTo>
                  <a:pt x="0" y="3261"/>
                </a:moveTo>
                <a:lnTo>
                  <a:pt x="1038" y="4447"/>
                </a:lnTo>
                <a:cubicBezTo>
                  <a:pt x="3335" y="1803"/>
                  <a:pt x="7040" y="1803"/>
                  <a:pt x="9338" y="4447"/>
                </a:cubicBezTo>
                <a:lnTo>
                  <a:pt x="10375" y="3261"/>
                </a:lnTo>
                <a:cubicBezTo>
                  <a:pt x="7534" y="0"/>
                  <a:pt x="2865" y="0"/>
                  <a:pt x="0" y="3261"/>
                </a:cubicBezTo>
                <a:close/>
                <a:moveTo>
                  <a:pt x="0" y="3261"/>
                </a:move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sp>
        <p:nvSpPr>
          <p:cNvPr id="77" name="文本框 76">
            <a:extLst>
              <a:ext uri="{FF2B5EF4-FFF2-40B4-BE49-F238E27FC236}">
                <a16:creationId xmlns:a16="http://schemas.microsoft.com/office/drawing/2014/main" id="{A5F0B756-9D6F-4723-B2C9-0922F7E73FAE}"/>
              </a:ext>
            </a:extLst>
          </p:cNvPr>
          <p:cNvSpPr txBox="1"/>
          <p:nvPr/>
        </p:nvSpPr>
        <p:spPr>
          <a:xfrm>
            <a:off x="2669239" y="5275788"/>
            <a:ext cx="1538883" cy="369332"/>
          </a:xfrm>
          <a:prstGeom prst="rect">
            <a:avLst/>
          </a:prstGeom>
          <a:noFill/>
        </p:spPr>
        <p:txBody>
          <a:bodyPr wrap="none" lIns="0" tIns="0" rIns="0" bIns="0" rtlCol="0" anchor="t">
            <a:spAutoFit/>
          </a:bodyPr>
          <a:lstStyle/>
          <a:p>
            <a:pPr algn="r"/>
            <a:r>
              <a:rPr lang="zh-CN" altLang="en-US" sz="2400" dirty="0">
                <a:solidFill>
                  <a:schemeClr val="accent1"/>
                </a:solidFill>
                <a:latin typeface="+mj-ea"/>
                <a:ea typeface="+mj-ea"/>
              </a:rPr>
              <a:t>关键词标题</a:t>
            </a:r>
          </a:p>
        </p:txBody>
      </p:sp>
      <p:sp>
        <p:nvSpPr>
          <p:cNvPr id="78" name="文本框 77">
            <a:extLst>
              <a:ext uri="{FF2B5EF4-FFF2-40B4-BE49-F238E27FC236}">
                <a16:creationId xmlns:a16="http://schemas.microsoft.com/office/drawing/2014/main" id="{33B355B9-51CF-4C29-B02D-483DBB9A8AC9}"/>
              </a:ext>
            </a:extLst>
          </p:cNvPr>
          <p:cNvSpPr txBox="1"/>
          <p:nvPr/>
        </p:nvSpPr>
        <p:spPr>
          <a:xfrm>
            <a:off x="1719798" y="5780714"/>
            <a:ext cx="2465443" cy="387286"/>
          </a:xfrm>
          <a:prstGeom prst="rect">
            <a:avLst/>
          </a:prstGeom>
          <a:noFill/>
        </p:spPr>
        <p:txBody>
          <a:bodyPr wrap="square" lIns="0" tIns="0" rIns="0" bIns="0" rtlCol="0" anchor="t">
            <a:spAutoFit/>
          </a:bodyPr>
          <a:lstStyle/>
          <a:p>
            <a:pPr algn="r">
              <a:lnSpc>
                <a:spcPct val="130000"/>
              </a:lnSpc>
            </a:pPr>
            <a:r>
              <a:rPr lang="en-US" altLang="zh-CN" sz="1000" b="0" dirty="0">
                <a:solidFill>
                  <a:schemeClr val="tx1">
                    <a:lumMod val="75000"/>
                    <a:lumOff val="25000"/>
                  </a:schemeClr>
                </a:solidFill>
                <a:effectLst/>
                <a:latin typeface="+mn-ea"/>
              </a:rPr>
              <a:t>Lorem ipsum dolor sit amet, consectetur adipisicing elit, sed do eiusmod tempor</a:t>
            </a:r>
            <a:endParaRPr lang="zh-CN" altLang="en-US" sz="1000" b="0" dirty="0">
              <a:solidFill>
                <a:schemeClr val="tx1">
                  <a:lumMod val="75000"/>
                  <a:lumOff val="25000"/>
                </a:schemeClr>
              </a:solidFill>
              <a:effectLst/>
              <a:latin typeface="+mn-ea"/>
            </a:endParaRPr>
          </a:p>
        </p:txBody>
      </p:sp>
      <p:cxnSp>
        <p:nvCxnSpPr>
          <p:cNvPr id="79" name="直接连接符 78">
            <a:extLst>
              <a:ext uri="{FF2B5EF4-FFF2-40B4-BE49-F238E27FC236}">
                <a16:creationId xmlns:a16="http://schemas.microsoft.com/office/drawing/2014/main" id="{092A688A-D4F4-4ED8-B476-C181619B581F}"/>
              </a:ext>
            </a:extLst>
          </p:cNvPr>
          <p:cNvCxnSpPr/>
          <p:nvPr/>
        </p:nvCxnSpPr>
        <p:spPr>
          <a:xfrm flipH="1">
            <a:off x="3729947" y="5710003"/>
            <a:ext cx="424814"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80" name="文本框 79">
            <a:extLst>
              <a:ext uri="{FF2B5EF4-FFF2-40B4-BE49-F238E27FC236}">
                <a16:creationId xmlns:a16="http://schemas.microsoft.com/office/drawing/2014/main" id="{00C50EBE-2127-478C-AC18-25B41A3BA1CA}"/>
              </a:ext>
            </a:extLst>
          </p:cNvPr>
          <p:cNvSpPr txBox="1"/>
          <p:nvPr/>
        </p:nvSpPr>
        <p:spPr>
          <a:xfrm>
            <a:off x="7959647" y="5275788"/>
            <a:ext cx="1538883" cy="369332"/>
          </a:xfrm>
          <a:prstGeom prst="rect">
            <a:avLst/>
          </a:prstGeom>
          <a:noFill/>
        </p:spPr>
        <p:txBody>
          <a:bodyPr wrap="none" lIns="0" tIns="0" rIns="0" bIns="0" rtlCol="0" anchor="t">
            <a:spAutoFit/>
          </a:bodyPr>
          <a:lstStyle/>
          <a:p>
            <a:r>
              <a:rPr lang="zh-CN" altLang="en-US" sz="2400" dirty="0">
                <a:solidFill>
                  <a:schemeClr val="accent1"/>
                </a:solidFill>
                <a:latin typeface="+mj-ea"/>
                <a:ea typeface="+mj-ea"/>
              </a:rPr>
              <a:t>关键词标题</a:t>
            </a:r>
          </a:p>
        </p:txBody>
      </p:sp>
      <p:sp>
        <p:nvSpPr>
          <p:cNvPr id="81" name="文本框 80">
            <a:extLst>
              <a:ext uri="{FF2B5EF4-FFF2-40B4-BE49-F238E27FC236}">
                <a16:creationId xmlns:a16="http://schemas.microsoft.com/office/drawing/2014/main" id="{98DB4D40-11DA-4E3F-9DE9-431BE759294E}"/>
              </a:ext>
            </a:extLst>
          </p:cNvPr>
          <p:cNvSpPr txBox="1"/>
          <p:nvPr/>
        </p:nvSpPr>
        <p:spPr>
          <a:xfrm>
            <a:off x="7959647" y="5780714"/>
            <a:ext cx="2465443" cy="387286"/>
          </a:xfrm>
          <a:prstGeom prst="rect">
            <a:avLst/>
          </a:prstGeom>
          <a:noFill/>
        </p:spPr>
        <p:txBody>
          <a:bodyPr wrap="square" lIns="0" tIns="0" rIns="0" bIns="0" rtlCol="0" anchor="t">
            <a:spAutoFit/>
          </a:bodyPr>
          <a:lstStyle/>
          <a:p>
            <a:pPr>
              <a:lnSpc>
                <a:spcPct val="130000"/>
              </a:lnSpc>
            </a:pPr>
            <a:r>
              <a:rPr lang="en-US" altLang="zh-CN" sz="1000" b="0" dirty="0">
                <a:solidFill>
                  <a:schemeClr val="tx1">
                    <a:lumMod val="75000"/>
                    <a:lumOff val="25000"/>
                  </a:schemeClr>
                </a:solidFill>
                <a:effectLst/>
                <a:latin typeface="+mn-ea"/>
              </a:rPr>
              <a:t>Lorem ipsum dolor sit amet, consectetur adipisicing elit, sed do eiusmod tempor</a:t>
            </a:r>
            <a:endParaRPr lang="zh-CN" altLang="en-US" sz="1000" b="0" dirty="0">
              <a:solidFill>
                <a:schemeClr val="tx1">
                  <a:lumMod val="75000"/>
                  <a:lumOff val="25000"/>
                </a:schemeClr>
              </a:solidFill>
              <a:effectLst/>
              <a:latin typeface="+mn-ea"/>
            </a:endParaRPr>
          </a:p>
        </p:txBody>
      </p:sp>
      <p:cxnSp>
        <p:nvCxnSpPr>
          <p:cNvPr id="82" name="直接连接符 81">
            <a:extLst>
              <a:ext uri="{FF2B5EF4-FFF2-40B4-BE49-F238E27FC236}">
                <a16:creationId xmlns:a16="http://schemas.microsoft.com/office/drawing/2014/main" id="{4448D18E-33C6-45B3-9919-0E8F8A49977C}"/>
              </a:ext>
            </a:extLst>
          </p:cNvPr>
          <p:cNvCxnSpPr>
            <a:cxnSpLocks/>
          </p:cNvCxnSpPr>
          <p:nvPr/>
        </p:nvCxnSpPr>
        <p:spPr>
          <a:xfrm flipH="1">
            <a:off x="7959647" y="5710003"/>
            <a:ext cx="424814"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83" name="文本框 82">
            <a:extLst>
              <a:ext uri="{FF2B5EF4-FFF2-40B4-BE49-F238E27FC236}">
                <a16:creationId xmlns:a16="http://schemas.microsoft.com/office/drawing/2014/main" id="{6BBEAA22-3417-4486-B5CF-22E086739736}"/>
              </a:ext>
            </a:extLst>
          </p:cNvPr>
          <p:cNvSpPr txBox="1"/>
          <p:nvPr/>
        </p:nvSpPr>
        <p:spPr>
          <a:xfrm>
            <a:off x="5326559" y="633365"/>
            <a:ext cx="1538883" cy="369332"/>
          </a:xfrm>
          <a:prstGeom prst="rect">
            <a:avLst/>
          </a:prstGeom>
          <a:noFill/>
        </p:spPr>
        <p:txBody>
          <a:bodyPr wrap="none" lIns="0" tIns="0" rIns="0" bIns="0" rtlCol="0" anchor="t">
            <a:spAutoFit/>
          </a:bodyPr>
          <a:lstStyle/>
          <a:p>
            <a:r>
              <a:rPr lang="zh-CN" altLang="en-US" sz="2400" dirty="0">
                <a:solidFill>
                  <a:schemeClr val="accent1"/>
                </a:solidFill>
                <a:latin typeface="+mj-ea"/>
                <a:ea typeface="+mj-ea"/>
              </a:rPr>
              <a:t>关键词标题</a:t>
            </a:r>
          </a:p>
        </p:txBody>
      </p:sp>
      <p:sp>
        <p:nvSpPr>
          <p:cNvPr id="84" name="文本框 83">
            <a:extLst>
              <a:ext uri="{FF2B5EF4-FFF2-40B4-BE49-F238E27FC236}">
                <a16:creationId xmlns:a16="http://schemas.microsoft.com/office/drawing/2014/main" id="{7C5DF54E-66AB-44EE-99E9-90EFEB16F0DE}"/>
              </a:ext>
            </a:extLst>
          </p:cNvPr>
          <p:cNvSpPr txBox="1"/>
          <p:nvPr/>
        </p:nvSpPr>
        <p:spPr>
          <a:xfrm>
            <a:off x="4118499" y="1138291"/>
            <a:ext cx="3955002" cy="387286"/>
          </a:xfrm>
          <a:prstGeom prst="rect">
            <a:avLst/>
          </a:prstGeom>
          <a:noFill/>
        </p:spPr>
        <p:txBody>
          <a:bodyPr wrap="square" lIns="0" tIns="0" rIns="0" bIns="0" rtlCol="0" anchor="t">
            <a:spAutoFit/>
          </a:bodyPr>
          <a:lstStyle/>
          <a:p>
            <a:pPr algn="ctr">
              <a:lnSpc>
                <a:spcPct val="130000"/>
              </a:lnSpc>
            </a:pPr>
            <a:r>
              <a:rPr lang="en-US" altLang="zh-CN" sz="1000" b="0" dirty="0">
                <a:solidFill>
                  <a:schemeClr val="tx1">
                    <a:lumMod val="75000"/>
                    <a:lumOff val="25000"/>
                  </a:schemeClr>
                </a:solidFill>
                <a:effectLst/>
                <a:latin typeface="+mn-ea"/>
              </a:rPr>
              <a:t>Lorem ipsum dolor sit amet, consectetur adipisicing elit, sed do eiusmod tempor</a:t>
            </a:r>
            <a:endParaRPr lang="zh-CN" altLang="en-US" sz="1000" b="0" dirty="0">
              <a:solidFill>
                <a:schemeClr val="tx1">
                  <a:lumMod val="75000"/>
                  <a:lumOff val="25000"/>
                </a:schemeClr>
              </a:solidFill>
              <a:effectLst/>
              <a:latin typeface="+mn-ea"/>
            </a:endParaRPr>
          </a:p>
        </p:txBody>
      </p:sp>
      <p:cxnSp>
        <p:nvCxnSpPr>
          <p:cNvPr id="85" name="直接连接符 84">
            <a:extLst>
              <a:ext uri="{FF2B5EF4-FFF2-40B4-BE49-F238E27FC236}">
                <a16:creationId xmlns:a16="http://schemas.microsoft.com/office/drawing/2014/main" id="{4FD26670-41A0-44E0-A1D0-CCC818D5131B}"/>
              </a:ext>
            </a:extLst>
          </p:cNvPr>
          <p:cNvCxnSpPr>
            <a:cxnSpLocks/>
          </p:cNvCxnSpPr>
          <p:nvPr/>
        </p:nvCxnSpPr>
        <p:spPr>
          <a:xfrm flipH="1">
            <a:off x="5883593" y="1067580"/>
            <a:ext cx="424814"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5" name="user_209046">
            <a:extLst>
              <a:ext uri="{FF2B5EF4-FFF2-40B4-BE49-F238E27FC236}">
                <a16:creationId xmlns:a16="http://schemas.microsoft.com/office/drawing/2014/main" id="{7BAE3F08-5069-42A3-8B5D-3BCF3BF0C87A}"/>
              </a:ext>
            </a:extLst>
          </p:cNvPr>
          <p:cNvSpPr/>
          <p:nvPr/>
        </p:nvSpPr>
        <p:spPr>
          <a:xfrm>
            <a:off x="5886632" y="3396579"/>
            <a:ext cx="507288" cy="457450"/>
          </a:xfrm>
          <a:custGeom>
            <a:avLst/>
            <a:gdLst>
              <a:gd name="connsiteX0" fmla="*/ 521432 w 608344"/>
              <a:gd name="connsiteY0" fmla="*/ 370453 h 548582"/>
              <a:gd name="connsiteX1" fmla="*/ 465737 w 608344"/>
              <a:gd name="connsiteY1" fmla="*/ 425787 h 548582"/>
              <a:gd name="connsiteX2" fmla="*/ 442491 w 608344"/>
              <a:gd name="connsiteY2" fmla="*/ 402479 h 548582"/>
              <a:gd name="connsiteX3" fmla="*/ 418201 w 608344"/>
              <a:gd name="connsiteY3" fmla="*/ 426545 h 548582"/>
              <a:gd name="connsiteX4" fmla="*/ 441447 w 608344"/>
              <a:gd name="connsiteY4" fmla="*/ 449948 h 548582"/>
              <a:gd name="connsiteX5" fmla="*/ 465642 w 608344"/>
              <a:gd name="connsiteY5" fmla="*/ 474204 h 548582"/>
              <a:gd name="connsiteX6" fmla="*/ 489932 w 608344"/>
              <a:gd name="connsiteY6" fmla="*/ 450043 h 548582"/>
              <a:gd name="connsiteX7" fmla="*/ 545532 w 608344"/>
              <a:gd name="connsiteY7" fmla="*/ 394709 h 548582"/>
              <a:gd name="connsiteX8" fmla="*/ 481962 w 608344"/>
              <a:gd name="connsiteY8" fmla="*/ 296170 h 548582"/>
              <a:gd name="connsiteX9" fmla="*/ 608344 w 608344"/>
              <a:gd name="connsiteY9" fmla="*/ 422376 h 548582"/>
              <a:gd name="connsiteX10" fmla="*/ 481962 w 608344"/>
              <a:gd name="connsiteY10" fmla="*/ 548582 h 548582"/>
              <a:gd name="connsiteX11" fmla="*/ 355579 w 608344"/>
              <a:gd name="connsiteY11" fmla="*/ 422376 h 548582"/>
              <a:gd name="connsiteX12" fmla="*/ 481962 w 608344"/>
              <a:gd name="connsiteY12" fmla="*/ 296170 h 548582"/>
              <a:gd name="connsiteX13" fmla="*/ 255835 w 608344"/>
              <a:gd name="connsiteY13" fmla="*/ 446 h 548582"/>
              <a:gd name="connsiteX14" fmla="*/ 317801 w 608344"/>
              <a:gd name="connsiteY14" fmla="*/ 13616 h 548582"/>
              <a:gd name="connsiteX15" fmla="*/ 348072 w 608344"/>
              <a:gd name="connsiteY15" fmla="*/ 41661 h 548582"/>
              <a:gd name="connsiteX16" fmla="*/ 381190 w 608344"/>
              <a:gd name="connsiteY16" fmla="*/ 146831 h 548582"/>
              <a:gd name="connsiteX17" fmla="*/ 378913 w 608344"/>
              <a:gd name="connsiteY17" fmla="*/ 156211 h 548582"/>
              <a:gd name="connsiteX18" fmla="*/ 387833 w 608344"/>
              <a:gd name="connsiteY18" fmla="*/ 200458 h 548582"/>
              <a:gd name="connsiteX19" fmla="*/ 366387 w 608344"/>
              <a:gd name="connsiteY19" fmla="*/ 237694 h 548582"/>
              <a:gd name="connsiteX20" fmla="*/ 351393 w 608344"/>
              <a:gd name="connsiteY20" fmla="*/ 278720 h 548582"/>
              <a:gd name="connsiteX21" fmla="*/ 351393 w 608344"/>
              <a:gd name="connsiteY21" fmla="*/ 322873 h 548582"/>
              <a:gd name="connsiteX22" fmla="*/ 317611 w 608344"/>
              <a:gd name="connsiteY22" fmla="*/ 422358 h 548582"/>
              <a:gd name="connsiteX23" fmla="*/ 376635 w 608344"/>
              <a:gd name="connsiteY23" fmla="*/ 548088 h 548582"/>
              <a:gd name="connsiteX24" fmla="*/ 26855 w 608344"/>
              <a:gd name="connsiteY24" fmla="*/ 548088 h 548582"/>
              <a:gd name="connsiteX25" fmla="*/ 0 w 608344"/>
              <a:gd name="connsiteY25" fmla="*/ 521274 h 548582"/>
              <a:gd name="connsiteX26" fmla="*/ 0 w 608344"/>
              <a:gd name="connsiteY26" fmla="*/ 473806 h 548582"/>
              <a:gd name="connsiteX27" fmla="*/ 19453 w 608344"/>
              <a:gd name="connsiteY27" fmla="*/ 432969 h 548582"/>
              <a:gd name="connsiteX28" fmla="*/ 173751 w 608344"/>
              <a:gd name="connsiteY28" fmla="*/ 334242 h 548582"/>
              <a:gd name="connsiteX29" fmla="*/ 176408 w 608344"/>
              <a:gd name="connsiteY29" fmla="*/ 329884 h 548582"/>
              <a:gd name="connsiteX30" fmla="*/ 176408 w 608344"/>
              <a:gd name="connsiteY30" fmla="*/ 278720 h 548582"/>
              <a:gd name="connsiteX31" fmla="*/ 161320 w 608344"/>
              <a:gd name="connsiteY31" fmla="*/ 237694 h 548582"/>
              <a:gd name="connsiteX32" fmla="*/ 139969 w 608344"/>
              <a:gd name="connsiteY32" fmla="*/ 200458 h 548582"/>
              <a:gd name="connsiteX33" fmla="*/ 148320 w 608344"/>
              <a:gd name="connsiteY33" fmla="*/ 156211 h 548582"/>
              <a:gd name="connsiteX34" fmla="*/ 146042 w 608344"/>
              <a:gd name="connsiteY34" fmla="*/ 146736 h 548582"/>
              <a:gd name="connsiteX35" fmla="*/ 145758 w 608344"/>
              <a:gd name="connsiteY35" fmla="*/ 95099 h 548582"/>
              <a:gd name="connsiteX36" fmla="*/ 176029 w 608344"/>
              <a:gd name="connsiteY36" fmla="*/ 42135 h 548582"/>
              <a:gd name="connsiteX37" fmla="*/ 203928 w 608344"/>
              <a:gd name="connsiteY37" fmla="*/ 19017 h 548582"/>
              <a:gd name="connsiteX38" fmla="*/ 231162 w 608344"/>
              <a:gd name="connsiteY38" fmla="*/ 5089 h 548582"/>
              <a:gd name="connsiteX39" fmla="*/ 255835 w 608344"/>
              <a:gd name="connsiteY39" fmla="*/ 446 h 548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608344" h="548582">
                <a:moveTo>
                  <a:pt x="521432" y="370453"/>
                </a:moveTo>
                <a:lnTo>
                  <a:pt x="465737" y="425787"/>
                </a:lnTo>
                <a:lnTo>
                  <a:pt x="442491" y="402479"/>
                </a:lnTo>
                <a:lnTo>
                  <a:pt x="418201" y="426545"/>
                </a:lnTo>
                <a:lnTo>
                  <a:pt x="441447" y="449948"/>
                </a:lnTo>
                <a:lnTo>
                  <a:pt x="465642" y="474204"/>
                </a:lnTo>
                <a:lnTo>
                  <a:pt x="489932" y="450043"/>
                </a:lnTo>
                <a:lnTo>
                  <a:pt x="545532" y="394709"/>
                </a:lnTo>
                <a:close/>
                <a:moveTo>
                  <a:pt x="481962" y="296170"/>
                </a:moveTo>
                <a:cubicBezTo>
                  <a:pt x="551795" y="296170"/>
                  <a:pt x="608344" y="352641"/>
                  <a:pt x="608344" y="422376"/>
                </a:cubicBezTo>
                <a:cubicBezTo>
                  <a:pt x="608344" y="492111"/>
                  <a:pt x="551795" y="548582"/>
                  <a:pt x="481962" y="548582"/>
                </a:cubicBezTo>
                <a:cubicBezTo>
                  <a:pt x="412129" y="548582"/>
                  <a:pt x="355579" y="492111"/>
                  <a:pt x="355579" y="422376"/>
                </a:cubicBezTo>
                <a:cubicBezTo>
                  <a:pt x="355579" y="352641"/>
                  <a:pt x="412129" y="296170"/>
                  <a:pt x="481962" y="296170"/>
                </a:cubicBezTo>
                <a:close/>
                <a:moveTo>
                  <a:pt x="255835" y="446"/>
                </a:moveTo>
                <a:cubicBezTo>
                  <a:pt x="282785" y="-1828"/>
                  <a:pt x="303187" y="4899"/>
                  <a:pt x="317801" y="13616"/>
                </a:cubicBezTo>
                <a:cubicBezTo>
                  <a:pt x="339721" y="25744"/>
                  <a:pt x="348072" y="41661"/>
                  <a:pt x="348072" y="41661"/>
                </a:cubicBezTo>
                <a:cubicBezTo>
                  <a:pt x="348072" y="41661"/>
                  <a:pt x="398176" y="45167"/>
                  <a:pt x="381190" y="146831"/>
                </a:cubicBezTo>
                <a:cubicBezTo>
                  <a:pt x="380621" y="149863"/>
                  <a:pt x="379862" y="153085"/>
                  <a:pt x="378913" y="156211"/>
                </a:cubicBezTo>
                <a:cubicBezTo>
                  <a:pt x="388592" y="156211"/>
                  <a:pt x="398271" y="163507"/>
                  <a:pt x="387833" y="200458"/>
                </a:cubicBezTo>
                <a:cubicBezTo>
                  <a:pt x="379672" y="229262"/>
                  <a:pt x="372080" y="237221"/>
                  <a:pt x="366387" y="237694"/>
                </a:cubicBezTo>
                <a:cubicBezTo>
                  <a:pt x="364394" y="250675"/>
                  <a:pt x="359175" y="265076"/>
                  <a:pt x="351393" y="278720"/>
                </a:cubicBezTo>
                <a:lnTo>
                  <a:pt x="351393" y="322873"/>
                </a:lnTo>
                <a:cubicBezTo>
                  <a:pt x="330232" y="350539"/>
                  <a:pt x="317611" y="385027"/>
                  <a:pt x="317611" y="422358"/>
                </a:cubicBezTo>
                <a:cubicBezTo>
                  <a:pt x="317611" y="472764"/>
                  <a:pt x="340480" y="518053"/>
                  <a:pt x="376635" y="548088"/>
                </a:cubicBezTo>
                <a:lnTo>
                  <a:pt x="26855" y="548088"/>
                </a:lnTo>
                <a:cubicBezTo>
                  <a:pt x="12052" y="548088"/>
                  <a:pt x="0" y="536055"/>
                  <a:pt x="0" y="521274"/>
                </a:cubicBezTo>
                <a:lnTo>
                  <a:pt x="0" y="473806"/>
                </a:lnTo>
                <a:cubicBezTo>
                  <a:pt x="0" y="457983"/>
                  <a:pt x="7212" y="443013"/>
                  <a:pt x="19453" y="432969"/>
                </a:cubicBezTo>
                <a:cubicBezTo>
                  <a:pt x="86638" y="377921"/>
                  <a:pt x="159043" y="341443"/>
                  <a:pt x="173751" y="334242"/>
                </a:cubicBezTo>
                <a:cubicBezTo>
                  <a:pt x="175365" y="333484"/>
                  <a:pt x="176408" y="331779"/>
                  <a:pt x="176408" y="329884"/>
                </a:cubicBezTo>
                <a:lnTo>
                  <a:pt x="176408" y="278720"/>
                </a:lnTo>
                <a:cubicBezTo>
                  <a:pt x="168437" y="265076"/>
                  <a:pt x="163313" y="250675"/>
                  <a:pt x="161320" y="237694"/>
                </a:cubicBezTo>
                <a:cubicBezTo>
                  <a:pt x="155627" y="237221"/>
                  <a:pt x="148035" y="229072"/>
                  <a:pt x="139969" y="200458"/>
                </a:cubicBezTo>
                <a:cubicBezTo>
                  <a:pt x="129531" y="164170"/>
                  <a:pt x="138925" y="156496"/>
                  <a:pt x="148320" y="156211"/>
                </a:cubicBezTo>
                <a:cubicBezTo>
                  <a:pt x="147371" y="153085"/>
                  <a:pt x="146612" y="149863"/>
                  <a:pt x="146042" y="146736"/>
                </a:cubicBezTo>
                <a:cubicBezTo>
                  <a:pt x="142436" y="128450"/>
                  <a:pt x="141487" y="111396"/>
                  <a:pt x="145758" y="95099"/>
                </a:cubicBezTo>
                <a:cubicBezTo>
                  <a:pt x="150787" y="73212"/>
                  <a:pt x="162744" y="55684"/>
                  <a:pt x="176029" y="42135"/>
                </a:cubicBezTo>
                <a:cubicBezTo>
                  <a:pt x="184379" y="33134"/>
                  <a:pt x="193869" y="25459"/>
                  <a:pt x="203928" y="19017"/>
                </a:cubicBezTo>
                <a:cubicBezTo>
                  <a:pt x="212183" y="13332"/>
                  <a:pt x="221293" y="8405"/>
                  <a:pt x="231162" y="5089"/>
                </a:cubicBezTo>
                <a:cubicBezTo>
                  <a:pt x="238849" y="2625"/>
                  <a:pt x="247105" y="825"/>
                  <a:pt x="255835" y="446"/>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6" name="文本框 45">
            <a:extLst>
              <a:ext uri="{FF2B5EF4-FFF2-40B4-BE49-F238E27FC236}">
                <a16:creationId xmlns:a16="http://schemas.microsoft.com/office/drawing/2014/main" id="{A02DBB99-894D-4AF1-A5F7-71CE56575AD5}"/>
              </a:ext>
            </a:extLst>
          </p:cNvPr>
          <p:cNvSpPr txBox="1"/>
          <p:nvPr/>
        </p:nvSpPr>
        <p:spPr>
          <a:xfrm>
            <a:off x="5671683" y="3937244"/>
            <a:ext cx="848634" cy="307777"/>
          </a:xfrm>
          <a:prstGeom prst="rect">
            <a:avLst/>
          </a:prstGeom>
          <a:noFill/>
        </p:spPr>
        <p:txBody>
          <a:bodyPr wrap="square" lIns="0" tIns="0" rIns="0" bIns="0" rtlCol="0" anchor="t">
            <a:spAutoFit/>
          </a:bodyPr>
          <a:lstStyle/>
          <a:p>
            <a:pPr algn="ctr"/>
            <a:r>
              <a:rPr lang="zh-CN" altLang="en-US" sz="2000" dirty="0">
                <a:solidFill>
                  <a:schemeClr val="bg1"/>
                </a:solidFill>
                <a:latin typeface="+mj-ea"/>
                <a:ea typeface="+mj-ea"/>
              </a:rPr>
              <a:t>关键词</a:t>
            </a:r>
          </a:p>
        </p:txBody>
      </p:sp>
    </p:spTree>
    <p:custDataLst>
      <p:tags r:id="rId2"/>
    </p:custDataLst>
    <p:extLst>
      <p:ext uri="{BB962C8B-B14F-4D97-AF65-F5344CB8AC3E}">
        <p14:creationId xmlns:p14="http://schemas.microsoft.com/office/powerpoint/2010/main" val="544677726"/>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3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不完整圆 52">
            <a:extLst>
              <a:ext uri="{FF2B5EF4-FFF2-40B4-BE49-F238E27FC236}">
                <a16:creationId xmlns:a16="http://schemas.microsoft.com/office/drawing/2014/main" id="{B8A0997D-E8A1-455A-82B1-DCE8E6E07CDC}"/>
              </a:ext>
            </a:extLst>
          </p:cNvPr>
          <p:cNvSpPr/>
          <p:nvPr/>
        </p:nvSpPr>
        <p:spPr>
          <a:xfrm flipH="1">
            <a:off x="3269457" y="904875"/>
            <a:ext cx="5807578" cy="5807570"/>
          </a:xfrm>
          <a:prstGeom prst="pie">
            <a:avLst>
              <a:gd name="adj1" fmla="val 8375964"/>
              <a:gd name="adj2" fmla="val 13191084"/>
            </a:avLst>
          </a:prstGeom>
          <a:solidFill>
            <a:schemeClr val="bg1">
              <a:lumMod val="95000"/>
            </a:schemeClr>
          </a:solidFill>
          <a:ln w="19050">
            <a:gradFill>
              <a:gsLst>
                <a:gs pos="0">
                  <a:schemeClr val="accent1"/>
                </a:gs>
                <a:gs pos="26000">
                  <a:schemeClr val="accent1">
                    <a:alpha val="0"/>
                  </a:schemeClr>
                </a:gs>
              </a:gsLst>
              <a:lin ang="0" scaled="0"/>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54" name="椭圆 53">
            <a:extLst>
              <a:ext uri="{FF2B5EF4-FFF2-40B4-BE49-F238E27FC236}">
                <a16:creationId xmlns:a16="http://schemas.microsoft.com/office/drawing/2014/main" id="{C54B35A5-6A39-4340-BBFF-C1ED4CBD7C40}"/>
              </a:ext>
            </a:extLst>
          </p:cNvPr>
          <p:cNvSpPr/>
          <p:nvPr/>
        </p:nvSpPr>
        <p:spPr>
          <a:xfrm flipH="1">
            <a:off x="8518656" y="2190746"/>
            <a:ext cx="154492" cy="154492"/>
          </a:xfrm>
          <a:prstGeom prst="ellipse">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55" name="椭圆 54">
            <a:extLst>
              <a:ext uri="{FF2B5EF4-FFF2-40B4-BE49-F238E27FC236}">
                <a16:creationId xmlns:a16="http://schemas.microsoft.com/office/drawing/2014/main" id="{6C039744-2B2D-4CD0-9FEE-D63A8D6D3E06}"/>
              </a:ext>
            </a:extLst>
          </p:cNvPr>
          <p:cNvSpPr/>
          <p:nvPr/>
        </p:nvSpPr>
        <p:spPr>
          <a:xfrm flipH="1">
            <a:off x="8999789" y="3548058"/>
            <a:ext cx="154492" cy="154492"/>
          </a:xfrm>
          <a:prstGeom prst="ellipse">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56" name="椭圆 55">
            <a:extLst>
              <a:ext uri="{FF2B5EF4-FFF2-40B4-BE49-F238E27FC236}">
                <a16:creationId xmlns:a16="http://schemas.microsoft.com/office/drawing/2014/main" id="{C15C937A-5CF5-450E-87A3-E831BA070AC6}"/>
              </a:ext>
            </a:extLst>
          </p:cNvPr>
          <p:cNvSpPr/>
          <p:nvPr/>
        </p:nvSpPr>
        <p:spPr>
          <a:xfrm flipH="1">
            <a:off x="8518656" y="5311801"/>
            <a:ext cx="154492" cy="154492"/>
          </a:xfrm>
          <a:prstGeom prst="ellipse">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57" name="文本框 56">
            <a:extLst>
              <a:ext uri="{FF2B5EF4-FFF2-40B4-BE49-F238E27FC236}">
                <a16:creationId xmlns:a16="http://schemas.microsoft.com/office/drawing/2014/main" id="{A5A39234-9395-4A94-B941-43A282E3ACCF}"/>
              </a:ext>
            </a:extLst>
          </p:cNvPr>
          <p:cNvSpPr txBox="1"/>
          <p:nvPr/>
        </p:nvSpPr>
        <p:spPr>
          <a:xfrm flipH="1">
            <a:off x="8828377" y="2027015"/>
            <a:ext cx="1282402" cy="307777"/>
          </a:xfrm>
          <a:prstGeom prst="rect">
            <a:avLst/>
          </a:prstGeom>
          <a:noFill/>
        </p:spPr>
        <p:txBody>
          <a:bodyPr wrap="none" lIns="0" tIns="0" rIns="0" bIns="0" rtlCol="0" anchor="t">
            <a:spAutoFit/>
          </a:bodyPr>
          <a:lstStyle/>
          <a:p>
            <a:pPr algn="r"/>
            <a:r>
              <a:rPr lang="zh-CN" altLang="en-US" sz="2000" dirty="0">
                <a:solidFill>
                  <a:schemeClr val="accent1"/>
                </a:solidFill>
                <a:latin typeface="+mj-ea"/>
                <a:ea typeface="+mj-ea"/>
              </a:rPr>
              <a:t>关键词标题</a:t>
            </a:r>
          </a:p>
        </p:txBody>
      </p:sp>
      <p:sp>
        <p:nvSpPr>
          <p:cNvPr id="58" name="文本框 57">
            <a:extLst>
              <a:ext uri="{FF2B5EF4-FFF2-40B4-BE49-F238E27FC236}">
                <a16:creationId xmlns:a16="http://schemas.microsoft.com/office/drawing/2014/main" id="{9450BAA5-0317-47B7-B468-A7DD1AFD4E1C}"/>
              </a:ext>
            </a:extLst>
          </p:cNvPr>
          <p:cNvSpPr txBox="1"/>
          <p:nvPr/>
        </p:nvSpPr>
        <p:spPr>
          <a:xfrm flipH="1">
            <a:off x="9292393" y="3487849"/>
            <a:ext cx="1282402" cy="307777"/>
          </a:xfrm>
          <a:prstGeom prst="rect">
            <a:avLst/>
          </a:prstGeom>
          <a:noFill/>
        </p:spPr>
        <p:txBody>
          <a:bodyPr wrap="none" lIns="0" tIns="0" rIns="0" bIns="0" rtlCol="0" anchor="t">
            <a:spAutoFit/>
          </a:bodyPr>
          <a:lstStyle/>
          <a:p>
            <a:pPr algn="r"/>
            <a:r>
              <a:rPr lang="zh-CN" altLang="en-US" sz="2000" dirty="0">
                <a:solidFill>
                  <a:schemeClr val="accent1"/>
                </a:solidFill>
                <a:latin typeface="+mj-ea"/>
                <a:ea typeface="+mj-ea"/>
              </a:rPr>
              <a:t>关键词标题</a:t>
            </a:r>
          </a:p>
        </p:txBody>
      </p:sp>
      <p:sp>
        <p:nvSpPr>
          <p:cNvPr id="59" name="文本框 58">
            <a:extLst>
              <a:ext uri="{FF2B5EF4-FFF2-40B4-BE49-F238E27FC236}">
                <a16:creationId xmlns:a16="http://schemas.microsoft.com/office/drawing/2014/main" id="{3ECFB091-D703-4498-BE06-68E62012AD16}"/>
              </a:ext>
            </a:extLst>
          </p:cNvPr>
          <p:cNvSpPr txBox="1"/>
          <p:nvPr/>
        </p:nvSpPr>
        <p:spPr>
          <a:xfrm flipH="1">
            <a:off x="8832242" y="5312404"/>
            <a:ext cx="1282402" cy="307777"/>
          </a:xfrm>
          <a:prstGeom prst="rect">
            <a:avLst/>
          </a:prstGeom>
          <a:noFill/>
        </p:spPr>
        <p:txBody>
          <a:bodyPr wrap="none" lIns="0" tIns="0" rIns="0" bIns="0" rtlCol="0" anchor="t">
            <a:spAutoFit/>
          </a:bodyPr>
          <a:lstStyle/>
          <a:p>
            <a:pPr algn="r"/>
            <a:r>
              <a:rPr lang="zh-CN" altLang="en-US" sz="2000" dirty="0">
                <a:solidFill>
                  <a:schemeClr val="accent1"/>
                </a:solidFill>
                <a:latin typeface="+mj-ea"/>
                <a:ea typeface="+mj-ea"/>
              </a:rPr>
              <a:t>关键词标题</a:t>
            </a:r>
          </a:p>
        </p:txBody>
      </p:sp>
      <p:sp>
        <p:nvSpPr>
          <p:cNvPr id="7" name="不完整圆 6">
            <a:extLst>
              <a:ext uri="{FF2B5EF4-FFF2-40B4-BE49-F238E27FC236}">
                <a16:creationId xmlns:a16="http://schemas.microsoft.com/office/drawing/2014/main" id="{C0EAABEA-BC61-4473-870D-6664FBDF2A32}"/>
              </a:ext>
            </a:extLst>
          </p:cNvPr>
          <p:cNvSpPr/>
          <p:nvPr/>
        </p:nvSpPr>
        <p:spPr>
          <a:xfrm>
            <a:off x="3192211" y="904875"/>
            <a:ext cx="5807578" cy="5807570"/>
          </a:xfrm>
          <a:prstGeom prst="pie">
            <a:avLst>
              <a:gd name="adj1" fmla="val 8375964"/>
              <a:gd name="adj2" fmla="val 13191084"/>
            </a:avLst>
          </a:prstGeom>
          <a:solidFill>
            <a:schemeClr val="bg1">
              <a:lumMod val="95000"/>
            </a:schemeClr>
          </a:solidFill>
          <a:ln w="19050">
            <a:gradFill>
              <a:gsLst>
                <a:gs pos="0">
                  <a:schemeClr val="accent1"/>
                </a:gs>
                <a:gs pos="26000">
                  <a:schemeClr val="accent1">
                    <a:alpha val="0"/>
                  </a:schemeClr>
                </a:gs>
              </a:gsLst>
              <a:lin ang="0" scaled="0"/>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9" name="椭圆 8">
            <a:extLst>
              <a:ext uri="{FF2B5EF4-FFF2-40B4-BE49-F238E27FC236}">
                <a16:creationId xmlns:a16="http://schemas.microsoft.com/office/drawing/2014/main" id="{8B869C2B-58B6-454A-B813-6F2FA06D13BB}"/>
              </a:ext>
            </a:extLst>
          </p:cNvPr>
          <p:cNvSpPr/>
          <p:nvPr/>
        </p:nvSpPr>
        <p:spPr>
          <a:xfrm>
            <a:off x="3596098" y="2190746"/>
            <a:ext cx="154492" cy="154492"/>
          </a:xfrm>
          <a:prstGeom prst="ellipse">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36" name="椭圆 35">
            <a:extLst>
              <a:ext uri="{FF2B5EF4-FFF2-40B4-BE49-F238E27FC236}">
                <a16:creationId xmlns:a16="http://schemas.microsoft.com/office/drawing/2014/main" id="{0C640750-2BC9-479E-B485-1ADE535D4067}"/>
              </a:ext>
            </a:extLst>
          </p:cNvPr>
          <p:cNvSpPr/>
          <p:nvPr/>
        </p:nvSpPr>
        <p:spPr>
          <a:xfrm>
            <a:off x="3114965" y="3548058"/>
            <a:ext cx="154492" cy="154492"/>
          </a:xfrm>
          <a:prstGeom prst="ellipse">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37" name="椭圆 36">
            <a:extLst>
              <a:ext uri="{FF2B5EF4-FFF2-40B4-BE49-F238E27FC236}">
                <a16:creationId xmlns:a16="http://schemas.microsoft.com/office/drawing/2014/main" id="{4BB82894-3B92-4DFB-881D-6076755111D9}"/>
              </a:ext>
            </a:extLst>
          </p:cNvPr>
          <p:cNvSpPr/>
          <p:nvPr/>
        </p:nvSpPr>
        <p:spPr>
          <a:xfrm>
            <a:off x="3596098" y="5311801"/>
            <a:ext cx="154492" cy="154492"/>
          </a:xfrm>
          <a:prstGeom prst="ellipse">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39" name="文本框 38">
            <a:extLst>
              <a:ext uri="{FF2B5EF4-FFF2-40B4-BE49-F238E27FC236}">
                <a16:creationId xmlns:a16="http://schemas.microsoft.com/office/drawing/2014/main" id="{18A37A92-B18F-4ED0-A65A-68E3BA91C661}"/>
              </a:ext>
            </a:extLst>
          </p:cNvPr>
          <p:cNvSpPr txBox="1"/>
          <p:nvPr/>
        </p:nvSpPr>
        <p:spPr>
          <a:xfrm>
            <a:off x="2158467" y="2027015"/>
            <a:ext cx="1282402" cy="307777"/>
          </a:xfrm>
          <a:prstGeom prst="rect">
            <a:avLst/>
          </a:prstGeom>
          <a:noFill/>
        </p:spPr>
        <p:txBody>
          <a:bodyPr wrap="none" lIns="0" tIns="0" rIns="0" bIns="0" rtlCol="0" anchor="t">
            <a:spAutoFit/>
          </a:bodyPr>
          <a:lstStyle/>
          <a:p>
            <a:pPr algn="r"/>
            <a:r>
              <a:rPr lang="zh-CN" altLang="en-US" sz="2000" dirty="0">
                <a:solidFill>
                  <a:schemeClr val="accent1"/>
                </a:solidFill>
                <a:latin typeface="+mj-ea"/>
                <a:ea typeface="+mj-ea"/>
              </a:rPr>
              <a:t>关键词标题</a:t>
            </a:r>
          </a:p>
        </p:txBody>
      </p:sp>
      <p:sp>
        <p:nvSpPr>
          <p:cNvPr id="43" name="文本框 42">
            <a:extLst>
              <a:ext uri="{FF2B5EF4-FFF2-40B4-BE49-F238E27FC236}">
                <a16:creationId xmlns:a16="http://schemas.microsoft.com/office/drawing/2014/main" id="{53FFCA1B-BD22-47B6-B6FF-492EFCFFF25C}"/>
              </a:ext>
            </a:extLst>
          </p:cNvPr>
          <p:cNvSpPr txBox="1"/>
          <p:nvPr/>
        </p:nvSpPr>
        <p:spPr>
          <a:xfrm>
            <a:off x="1694451" y="3487849"/>
            <a:ext cx="1282402" cy="307777"/>
          </a:xfrm>
          <a:prstGeom prst="rect">
            <a:avLst/>
          </a:prstGeom>
          <a:noFill/>
        </p:spPr>
        <p:txBody>
          <a:bodyPr wrap="none" lIns="0" tIns="0" rIns="0" bIns="0" rtlCol="0" anchor="t">
            <a:spAutoFit/>
          </a:bodyPr>
          <a:lstStyle/>
          <a:p>
            <a:pPr algn="r"/>
            <a:r>
              <a:rPr lang="zh-CN" altLang="en-US" sz="2000" dirty="0">
                <a:solidFill>
                  <a:schemeClr val="accent1"/>
                </a:solidFill>
                <a:latin typeface="+mj-ea"/>
                <a:ea typeface="+mj-ea"/>
              </a:rPr>
              <a:t>关键词标题</a:t>
            </a:r>
          </a:p>
        </p:txBody>
      </p:sp>
      <p:sp>
        <p:nvSpPr>
          <p:cNvPr id="48" name="文本框 47">
            <a:extLst>
              <a:ext uri="{FF2B5EF4-FFF2-40B4-BE49-F238E27FC236}">
                <a16:creationId xmlns:a16="http://schemas.microsoft.com/office/drawing/2014/main" id="{BC2E456F-D97A-4B53-A7D4-CE078F8D2129}"/>
              </a:ext>
            </a:extLst>
          </p:cNvPr>
          <p:cNvSpPr txBox="1"/>
          <p:nvPr/>
        </p:nvSpPr>
        <p:spPr>
          <a:xfrm>
            <a:off x="2154602" y="5312404"/>
            <a:ext cx="1282402" cy="307777"/>
          </a:xfrm>
          <a:prstGeom prst="rect">
            <a:avLst/>
          </a:prstGeom>
          <a:noFill/>
        </p:spPr>
        <p:txBody>
          <a:bodyPr wrap="none" lIns="0" tIns="0" rIns="0" bIns="0" rtlCol="0" anchor="t">
            <a:spAutoFit/>
          </a:bodyPr>
          <a:lstStyle/>
          <a:p>
            <a:pPr algn="r"/>
            <a:r>
              <a:rPr lang="zh-CN" altLang="en-US" sz="2000" dirty="0">
                <a:solidFill>
                  <a:schemeClr val="accent1"/>
                </a:solidFill>
                <a:latin typeface="+mj-ea"/>
                <a:ea typeface="+mj-ea"/>
              </a:rPr>
              <a:t>关键词标题</a:t>
            </a:r>
          </a:p>
        </p:txBody>
      </p:sp>
      <p:sp>
        <p:nvSpPr>
          <p:cNvPr id="49" name="椭圆 48">
            <a:extLst>
              <a:ext uri="{FF2B5EF4-FFF2-40B4-BE49-F238E27FC236}">
                <a16:creationId xmlns:a16="http://schemas.microsoft.com/office/drawing/2014/main" id="{0F61DAEE-A7CB-42FD-9585-6425635E0E8C}"/>
              </a:ext>
            </a:extLst>
          </p:cNvPr>
          <p:cNvSpPr/>
          <p:nvPr/>
        </p:nvSpPr>
        <p:spPr>
          <a:xfrm>
            <a:off x="3906982" y="1674411"/>
            <a:ext cx="4378036" cy="437803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35" name="椭圆 34">
            <a:extLst>
              <a:ext uri="{FF2B5EF4-FFF2-40B4-BE49-F238E27FC236}">
                <a16:creationId xmlns:a16="http://schemas.microsoft.com/office/drawing/2014/main" id="{F504B1E3-E169-489D-AEC8-646848244F6A}"/>
              </a:ext>
            </a:extLst>
          </p:cNvPr>
          <p:cNvSpPr/>
          <p:nvPr/>
        </p:nvSpPr>
        <p:spPr>
          <a:xfrm>
            <a:off x="4724400" y="2491829"/>
            <a:ext cx="2743200" cy="2743200"/>
          </a:xfrm>
          <a:prstGeom prst="ellipse">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2" name="椭圆 1">
            <a:extLst>
              <a:ext uri="{FF2B5EF4-FFF2-40B4-BE49-F238E27FC236}">
                <a16:creationId xmlns:a16="http://schemas.microsoft.com/office/drawing/2014/main" id="{9806711B-D783-46E9-AE3A-696BD10A67F1}"/>
              </a:ext>
            </a:extLst>
          </p:cNvPr>
          <p:cNvSpPr/>
          <p:nvPr/>
        </p:nvSpPr>
        <p:spPr>
          <a:xfrm>
            <a:off x="5495925" y="3263354"/>
            <a:ext cx="1200150" cy="120015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cxnSp>
        <p:nvCxnSpPr>
          <p:cNvPr id="8" name="直接连接符 7">
            <a:extLst>
              <a:ext uri="{FF2B5EF4-FFF2-40B4-BE49-F238E27FC236}">
                <a16:creationId xmlns:a16="http://schemas.microsoft.com/office/drawing/2014/main" id="{A2610ED0-3A6E-4996-9FD1-3DE66AC231A6}"/>
              </a:ext>
            </a:extLst>
          </p:cNvPr>
          <p:cNvCxnSpPr>
            <a:stCxn id="35" idx="0"/>
            <a:endCxn id="2" idx="0"/>
          </p:cNvCxnSpPr>
          <p:nvPr/>
        </p:nvCxnSpPr>
        <p:spPr>
          <a:xfrm>
            <a:off x="6096000" y="2491829"/>
            <a:ext cx="0" cy="771525"/>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38" name="直接连接符 37">
            <a:extLst>
              <a:ext uri="{FF2B5EF4-FFF2-40B4-BE49-F238E27FC236}">
                <a16:creationId xmlns:a16="http://schemas.microsoft.com/office/drawing/2014/main" id="{13E0F6DF-77B2-4C31-837A-066A75360A69}"/>
              </a:ext>
            </a:extLst>
          </p:cNvPr>
          <p:cNvCxnSpPr>
            <a:cxnSpLocks/>
            <a:stCxn id="2" idx="3"/>
            <a:endCxn id="35" idx="3"/>
          </p:cNvCxnSpPr>
          <p:nvPr/>
        </p:nvCxnSpPr>
        <p:spPr>
          <a:xfrm flipH="1">
            <a:off x="5126132" y="4287746"/>
            <a:ext cx="545551" cy="545551"/>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41" name="直接连接符 40">
            <a:extLst>
              <a:ext uri="{FF2B5EF4-FFF2-40B4-BE49-F238E27FC236}">
                <a16:creationId xmlns:a16="http://schemas.microsoft.com/office/drawing/2014/main" id="{9BBA221C-569A-493B-A048-2BD643692DA6}"/>
              </a:ext>
            </a:extLst>
          </p:cNvPr>
          <p:cNvCxnSpPr>
            <a:cxnSpLocks/>
            <a:stCxn id="2" idx="5"/>
            <a:endCxn id="35" idx="5"/>
          </p:cNvCxnSpPr>
          <p:nvPr/>
        </p:nvCxnSpPr>
        <p:spPr>
          <a:xfrm>
            <a:off x="6520317" y="4287746"/>
            <a:ext cx="545551" cy="545551"/>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0" name="文本框 19">
            <a:extLst>
              <a:ext uri="{FF2B5EF4-FFF2-40B4-BE49-F238E27FC236}">
                <a16:creationId xmlns:a16="http://schemas.microsoft.com/office/drawing/2014/main" id="{06C4B316-BDA5-4F7E-9980-6E91A1DCEAA7}"/>
              </a:ext>
            </a:extLst>
          </p:cNvPr>
          <p:cNvSpPr txBox="1"/>
          <p:nvPr/>
        </p:nvSpPr>
        <p:spPr>
          <a:xfrm>
            <a:off x="5219701" y="2987130"/>
            <a:ext cx="1752598" cy="1752598"/>
          </a:xfrm>
          <a:prstGeom prst="rect">
            <a:avLst/>
          </a:prstGeom>
          <a:noFill/>
        </p:spPr>
        <p:txBody>
          <a:bodyPr wrap="none" lIns="0" tIns="0" rIns="0" bIns="0" rtlCol="0" anchor="t">
            <a:prstTxWarp prst="textCircle">
              <a:avLst/>
            </a:prstTxWarp>
            <a:spAutoFit/>
          </a:bodyPr>
          <a:lstStyle/>
          <a:p>
            <a:pPr algn="l"/>
            <a:r>
              <a:rPr lang="zh-CN" altLang="en-US" dirty="0">
                <a:solidFill>
                  <a:schemeClr val="accent1"/>
                </a:solidFill>
              </a:rPr>
              <a:t>输入关键词</a:t>
            </a:r>
          </a:p>
        </p:txBody>
      </p:sp>
      <p:sp>
        <p:nvSpPr>
          <p:cNvPr id="64" name="文本框 63">
            <a:extLst>
              <a:ext uri="{FF2B5EF4-FFF2-40B4-BE49-F238E27FC236}">
                <a16:creationId xmlns:a16="http://schemas.microsoft.com/office/drawing/2014/main" id="{3EB1E9FA-A5E5-4C19-8FDB-DE98A4D644E4}"/>
              </a:ext>
            </a:extLst>
          </p:cNvPr>
          <p:cNvSpPr txBox="1"/>
          <p:nvPr/>
        </p:nvSpPr>
        <p:spPr>
          <a:xfrm>
            <a:off x="5219701" y="2987130"/>
            <a:ext cx="1752598" cy="1752598"/>
          </a:xfrm>
          <a:prstGeom prst="rect">
            <a:avLst/>
          </a:prstGeom>
          <a:noFill/>
        </p:spPr>
        <p:txBody>
          <a:bodyPr wrap="none" lIns="0" tIns="0" rIns="0" bIns="0" rtlCol="0" anchor="t">
            <a:prstTxWarp prst="textCircle">
              <a:avLst>
                <a:gd name="adj" fmla="val 17234468"/>
              </a:avLst>
            </a:prstTxWarp>
            <a:spAutoFit/>
          </a:bodyPr>
          <a:lstStyle/>
          <a:p>
            <a:pPr algn="l"/>
            <a:r>
              <a:rPr lang="zh-CN" altLang="en-US" dirty="0">
                <a:solidFill>
                  <a:schemeClr val="accent1"/>
                </a:solidFill>
              </a:rPr>
              <a:t>输入关键词</a:t>
            </a:r>
          </a:p>
        </p:txBody>
      </p:sp>
      <p:sp>
        <p:nvSpPr>
          <p:cNvPr id="66" name="文本框 65">
            <a:extLst>
              <a:ext uri="{FF2B5EF4-FFF2-40B4-BE49-F238E27FC236}">
                <a16:creationId xmlns:a16="http://schemas.microsoft.com/office/drawing/2014/main" id="{60BB02AB-D0CA-4285-AA88-B707323F7D46}"/>
              </a:ext>
            </a:extLst>
          </p:cNvPr>
          <p:cNvSpPr txBox="1"/>
          <p:nvPr/>
        </p:nvSpPr>
        <p:spPr>
          <a:xfrm>
            <a:off x="5219701" y="2987130"/>
            <a:ext cx="1752598" cy="1752598"/>
          </a:xfrm>
          <a:prstGeom prst="rect">
            <a:avLst/>
          </a:prstGeom>
          <a:noFill/>
        </p:spPr>
        <p:txBody>
          <a:bodyPr wrap="none" lIns="0" tIns="0" rIns="0" bIns="0" rtlCol="0" anchor="t">
            <a:prstTxWarp prst="textCircle">
              <a:avLst>
                <a:gd name="adj" fmla="val 3308222"/>
              </a:avLst>
            </a:prstTxWarp>
            <a:spAutoFit/>
          </a:bodyPr>
          <a:lstStyle/>
          <a:p>
            <a:pPr algn="l"/>
            <a:r>
              <a:rPr lang="zh-CN" altLang="en-US" dirty="0">
                <a:solidFill>
                  <a:schemeClr val="accent1"/>
                </a:solidFill>
              </a:rPr>
              <a:t>输入关键词</a:t>
            </a:r>
          </a:p>
        </p:txBody>
      </p:sp>
      <p:sp>
        <p:nvSpPr>
          <p:cNvPr id="73" name="椭圆 72">
            <a:extLst>
              <a:ext uri="{FF2B5EF4-FFF2-40B4-BE49-F238E27FC236}">
                <a16:creationId xmlns:a16="http://schemas.microsoft.com/office/drawing/2014/main" id="{22CBB041-0419-4689-A6D3-78C15987E4BE}"/>
              </a:ext>
            </a:extLst>
          </p:cNvPr>
          <p:cNvSpPr/>
          <p:nvPr/>
        </p:nvSpPr>
        <p:spPr>
          <a:xfrm>
            <a:off x="4259580" y="2027015"/>
            <a:ext cx="3672840" cy="3672828"/>
          </a:xfrm>
          <a:prstGeom prst="ellipse">
            <a:avLst/>
          </a:prstGeom>
          <a:noFill/>
          <a:ln w="9525">
            <a:solidFill>
              <a:schemeClr val="bg1"/>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a:p>
        </p:txBody>
      </p:sp>
      <p:sp>
        <p:nvSpPr>
          <p:cNvPr id="21" name="椭圆 20">
            <a:extLst>
              <a:ext uri="{FF2B5EF4-FFF2-40B4-BE49-F238E27FC236}">
                <a16:creationId xmlns:a16="http://schemas.microsoft.com/office/drawing/2014/main" id="{B80DD6E7-155B-4085-A8AF-4AC230CE90E4}"/>
              </a:ext>
            </a:extLst>
          </p:cNvPr>
          <p:cNvSpPr/>
          <p:nvPr/>
        </p:nvSpPr>
        <p:spPr>
          <a:xfrm>
            <a:off x="5798079" y="1769382"/>
            <a:ext cx="595842" cy="595840"/>
          </a:xfrm>
          <a:prstGeom prst="ellipse">
            <a:avLst/>
          </a:prstGeom>
          <a:solidFill>
            <a:schemeClr val="accent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67" name="椭圆 66">
            <a:extLst>
              <a:ext uri="{FF2B5EF4-FFF2-40B4-BE49-F238E27FC236}">
                <a16:creationId xmlns:a16="http://schemas.microsoft.com/office/drawing/2014/main" id="{789502EF-EB8C-400C-AFE8-F76CC1F4F387}"/>
              </a:ext>
            </a:extLst>
          </p:cNvPr>
          <p:cNvSpPr/>
          <p:nvPr/>
        </p:nvSpPr>
        <p:spPr>
          <a:xfrm>
            <a:off x="4530290" y="4833297"/>
            <a:ext cx="595842" cy="595840"/>
          </a:xfrm>
          <a:prstGeom prst="ellipse">
            <a:avLst/>
          </a:prstGeom>
          <a:solidFill>
            <a:schemeClr val="accent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a:p>
        </p:txBody>
      </p:sp>
      <p:sp>
        <p:nvSpPr>
          <p:cNvPr id="72" name="椭圆 71">
            <a:extLst>
              <a:ext uri="{FF2B5EF4-FFF2-40B4-BE49-F238E27FC236}">
                <a16:creationId xmlns:a16="http://schemas.microsoft.com/office/drawing/2014/main" id="{09AB7822-86EE-4FDE-8709-25239C3E5742}"/>
              </a:ext>
            </a:extLst>
          </p:cNvPr>
          <p:cNvSpPr/>
          <p:nvPr/>
        </p:nvSpPr>
        <p:spPr>
          <a:xfrm>
            <a:off x="7014410" y="4833297"/>
            <a:ext cx="595842" cy="595840"/>
          </a:xfrm>
          <a:prstGeom prst="ellipse">
            <a:avLst/>
          </a:prstGeom>
          <a:solidFill>
            <a:schemeClr val="accent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a:p>
        </p:txBody>
      </p:sp>
      <p:sp>
        <p:nvSpPr>
          <p:cNvPr id="74" name="user_209046">
            <a:extLst>
              <a:ext uri="{FF2B5EF4-FFF2-40B4-BE49-F238E27FC236}">
                <a16:creationId xmlns:a16="http://schemas.microsoft.com/office/drawing/2014/main" id="{7CB954D5-0DD9-44A4-B289-6E39DB657784}"/>
              </a:ext>
            </a:extLst>
          </p:cNvPr>
          <p:cNvSpPr/>
          <p:nvPr/>
        </p:nvSpPr>
        <p:spPr>
          <a:xfrm>
            <a:off x="4699620" y="5027772"/>
            <a:ext cx="257182" cy="248016"/>
          </a:xfrm>
          <a:custGeom>
            <a:avLst/>
            <a:gdLst>
              <a:gd name="T0" fmla="*/ 11888 w 12803"/>
              <a:gd name="T1" fmla="*/ 0 h 12345"/>
              <a:gd name="T2" fmla="*/ 914 w 12803"/>
              <a:gd name="T3" fmla="*/ 0 h 12345"/>
              <a:gd name="T4" fmla="*/ 0 w 12803"/>
              <a:gd name="T5" fmla="*/ 914 h 12345"/>
              <a:gd name="T6" fmla="*/ 0 w 12803"/>
              <a:gd name="T7" fmla="*/ 8687 h 12345"/>
              <a:gd name="T8" fmla="*/ 914 w 12803"/>
              <a:gd name="T9" fmla="*/ 9602 h 12345"/>
              <a:gd name="T10" fmla="*/ 3201 w 12803"/>
              <a:gd name="T11" fmla="*/ 9602 h 12345"/>
              <a:gd name="T12" fmla="*/ 3201 w 12803"/>
              <a:gd name="T13" fmla="*/ 12345 h 12345"/>
              <a:gd name="T14" fmla="*/ 8230 w 12803"/>
              <a:gd name="T15" fmla="*/ 9602 h 12345"/>
              <a:gd name="T16" fmla="*/ 11888 w 12803"/>
              <a:gd name="T17" fmla="*/ 9602 h 12345"/>
              <a:gd name="T18" fmla="*/ 12803 w 12803"/>
              <a:gd name="T19" fmla="*/ 8687 h 12345"/>
              <a:gd name="T20" fmla="*/ 12803 w 12803"/>
              <a:gd name="T21" fmla="*/ 914 h 12345"/>
              <a:gd name="T22" fmla="*/ 11888 w 12803"/>
              <a:gd name="T23" fmla="*/ 0 h 12345"/>
              <a:gd name="T24" fmla="*/ 3201 w 12803"/>
              <a:gd name="T25" fmla="*/ 5487 h 12345"/>
              <a:gd name="T26" fmla="*/ 2286 w 12803"/>
              <a:gd name="T27" fmla="*/ 4572 h 12345"/>
              <a:gd name="T28" fmla="*/ 3201 w 12803"/>
              <a:gd name="T29" fmla="*/ 3658 h 12345"/>
              <a:gd name="T30" fmla="*/ 4115 w 12803"/>
              <a:gd name="T31" fmla="*/ 4572 h 12345"/>
              <a:gd name="T32" fmla="*/ 3201 w 12803"/>
              <a:gd name="T33" fmla="*/ 5487 h 12345"/>
              <a:gd name="T34" fmla="*/ 6401 w 12803"/>
              <a:gd name="T35" fmla="*/ 5487 h 12345"/>
              <a:gd name="T36" fmla="*/ 5487 w 12803"/>
              <a:gd name="T37" fmla="*/ 4572 h 12345"/>
              <a:gd name="T38" fmla="*/ 6401 w 12803"/>
              <a:gd name="T39" fmla="*/ 3658 h 12345"/>
              <a:gd name="T40" fmla="*/ 7316 w 12803"/>
              <a:gd name="T41" fmla="*/ 4572 h 12345"/>
              <a:gd name="T42" fmla="*/ 6401 w 12803"/>
              <a:gd name="T43" fmla="*/ 5487 h 12345"/>
              <a:gd name="T44" fmla="*/ 9602 w 12803"/>
              <a:gd name="T45" fmla="*/ 5487 h 12345"/>
              <a:gd name="T46" fmla="*/ 8687 w 12803"/>
              <a:gd name="T47" fmla="*/ 4572 h 12345"/>
              <a:gd name="T48" fmla="*/ 9602 w 12803"/>
              <a:gd name="T49" fmla="*/ 3658 h 12345"/>
              <a:gd name="T50" fmla="*/ 10516 w 12803"/>
              <a:gd name="T51" fmla="*/ 4572 h 12345"/>
              <a:gd name="T52" fmla="*/ 9602 w 12803"/>
              <a:gd name="T53" fmla="*/ 5487 h 12345"/>
              <a:gd name="T54" fmla="*/ 9602 w 12803"/>
              <a:gd name="T55" fmla="*/ 5487 h 123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2803" h="12345">
                <a:moveTo>
                  <a:pt x="11888" y="0"/>
                </a:moveTo>
                <a:lnTo>
                  <a:pt x="914" y="0"/>
                </a:lnTo>
                <a:cubicBezTo>
                  <a:pt x="409" y="0"/>
                  <a:pt x="0" y="409"/>
                  <a:pt x="0" y="914"/>
                </a:cubicBezTo>
                <a:lnTo>
                  <a:pt x="0" y="8687"/>
                </a:lnTo>
                <a:cubicBezTo>
                  <a:pt x="0" y="9193"/>
                  <a:pt x="409" y="9602"/>
                  <a:pt x="914" y="9602"/>
                </a:cubicBezTo>
                <a:lnTo>
                  <a:pt x="3201" y="9602"/>
                </a:lnTo>
                <a:lnTo>
                  <a:pt x="3201" y="12345"/>
                </a:lnTo>
                <a:lnTo>
                  <a:pt x="8230" y="9602"/>
                </a:lnTo>
                <a:lnTo>
                  <a:pt x="11888" y="9602"/>
                </a:lnTo>
                <a:cubicBezTo>
                  <a:pt x="12393" y="9602"/>
                  <a:pt x="12803" y="9193"/>
                  <a:pt x="12803" y="8687"/>
                </a:cubicBezTo>
                <a:lnTo>
                  <a:pt x="12803" y="914"/>
                </a:lnTo>
                <a:cubicBezTo>
                  <a:pt x="12803" y="409"/>
                  <a:pt x="12393" y="0"/>
                  <a:pt x="11888" y="0"/>
                </a:cubicBezTo>
                <a:close/>
                <a:moveTo>
                  <a:pt x="3201" y="5487"/>
                </a:moveTo>
                <a:cubicBezTo>
                  <a:pt x="2695" y="5487"/>
                  <a:pt x="2286" y="5077"/>
                  <a:pt x="2286" y="4572"/>
                </a:cubicBezTo>
                <a:cubicBezTo>
                  <a:pt x="2286" y="4067"/>
                  <a:pt x="2695" y="3658"/>
                  <a:pt x="3201" y="3658"/>
                </a:cubicBezTo>
                <a:cubicBezTo>
                  <a:pt x="3706" y="3658"/>
                  <a:pt x="4115" y="4067"/>
                  <a:pt x="4115" y="4572"/>
                </a:cubicBezTo>
                <a:cubicBezTo>
                  <a:pt x="4115" y="5077"/>
                  <a:pt x="3706" y="5487"/>
                  <a:pt x="3201" y="5487"/>
                </a:cubicBezTo>
                <a:close/>
                <a:moveTo>
                  <a:pt x="6401" y="5487"/>
                </a:moveTo>
                <a:cubicBezTo>
                  <a:pt x="5896" y="5487"/>
                  <a:pt x="5487" y="5077"/>
                  <a:pt x="5487" y="4572"/>
                </a:cubicBezTo>
                <a:cubicBezTo>
                  <a:pt x="5487" y="4067"/>
                  <a:pt x="5896" y="3658"/>
                  <a:pt x="6401" y="3658"/>
                </a:cubicBezTo>
                <a:cubicBezTo>
                  <a:pt x="6907" y="3658"/>
                  <a:pt x="7316" y="4067"/>
                  <a:pt x="7316" y="4572"/>
                </a:cubicBezTo>
                <a:cubicBezTo>
                  <a:pt x="7316" y="5077"/>
                  <a:pt x="6907" y="5487"/>
                  <a:pt x="6401" y="5487"/>
                </a:cubicBezTo>
                <a:close/>
                <a:moveTo>
                  <a:pt x="9602" y="5487"/>
                </a:moveTo>
                <a:cubicBezTo>
                  <a:pt x="9097" y="5487"/>
                  <a:pt x="8687" y="5077"/>
                  <a:pt x="8687" y="4572"/>
                </a:cubicBezTo>
                <a:cubicBezTo>
                  <a:pt x="8687" y="4067"/>
                  <a:pt x="9097" y="3658"/>
                  <a:pt x="9602" y="3658"/>
                </a:cubicBezTo>
                <a:cubicBezTo>
                  <a:pt x="10107" y="3658"/>
                  <a:pt x="10516" y="4067"/>
                  <a:pt x="10516" y="4572"/>
                </a:cubicBezTo>
                <a:cubicBezTo>
                  <a:pt x="10516" y="5077"/>
                  <a:pt x="10107" y="5487"/>
                  <a:pt x="9602" y="5487"/>
                </a:cubicBezTo>
                <a:close/>
                <a:moveTo>
                  <a:pt x="9602" y="5487"/>
                </a:move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sp>
        <p:nvSpPr>
          <p:cNvPr id="75" name="user_209046">
            <a:extLst>
              <a:ext uri="{FF2B5EF4-FFF2-40B4-BE49-F238E27FC236}">
                <a16:creationId xmlns:a16="http://schemas.microsoft.com/office/drawing/2014/main" id="{9450B0C3-4371-4986-B767-035B19B59EC3}"/>
              </a:ext>
            </a:extLst>
          </p:cNvPr>
          <p:cNvSpPr/>
          <p:nvPr/>
        </p:nvSpPr>
        <p:spPr>
          <a:xfrm>
            <a:off x="7232778" y="4996760"/>
            <a:ext cx="219455" cy="269503"/>
          </a:xfrm>
          <a:custGeom>
            <a:avLst/>
            <a:gdLst>
              <a:gd name="T0" fmla="*/ 4225 w 8450"/>
              <a:gd name="T1" fmla="*/ 0 h 10376"/>
              <a:gd name="T2" fmla="*/ 0 w 8450"/>
              <a:gd name="T3" fmla="*/ 4225 h 10376"/>
              <a:gd name="T4" fmla="*/ 4225 w 8450"/>
              <a:gd name="T5" fmla="*/ 8450 h 10376"/>
              <a:gd name="T6" fmla="*/ 8450 w 8450"/>
              <a:gd name="T7" fmla="*/ 4225 h 10376"/>
              <a:gd name="T8" fmla="*/ 4225 w 8450"/>
              <a:gd name="T9" fmla="*/ 0 h 10376"/>
              <a:gd name="T10" fmla="*/ 4225 w 8450"/>
              <a:gd name="T11" fmla="*/ 6092 h 10376"/>
              <a:gd name="T12" fmla="*/ 2359 w 8450"/>
              <a:gd name="T13" fmla="*/ 4226 h 10376"/>
              <a:gd name="T14" fmla="*/ 4225 w 8450"/>
              <a:gd name="T15" fmla="*/ 2360 h 10376"/>
              <a:gd name="T16" fmla="*/ 6092 w 8450"/>
              <a:gd name="T17" fmla="*/ 4226 h 10376"/>
              <a:gd name="T18" fmla="*/ 4225 w 8450"/>
              <a:gd name="T19" fmla="*/ 6092 h 10376"/>
              <a:gd name="T20" fmla="*/ 6682 w 8450"/>
              <a:gd name="T21" fmla="*/ 8571 h 10376"/>
              <a:gd name="T22" fmla="*/ 6322 w 8450"/>
              <a:gd name="T23" fmla="*/ 8582 h 10376"/>
              <a:gd name="T24" fmla="*/ 4225 w 8450"/>
              <a:gd name="T25" fmla="*/ 9225 h 10376"/>
              <a:gd name="T26" fmla="*/ 2180 w 8450"/>
              <a:gd name="T27" fmla="*/ 8611 h 10376"/>
              <a:gd name="T28" fmla="*/ 1793 w 8450"/>
              <a:gd name="T29" fmla="*/ 8620 h 10376"/>
              <a:gd name="T30" fmla="*/ 1533 w 8450"/>
              <a:gd name="T31" fmla="*/ 8956 h 10376"/>
              <a:gd name="T32" fmla="*/ 1352 w 8450"/>
              <a:gd name="T33" fmla="*/ 9871 h 10376"/>
              <a:gd name="T34" fmla="*/ 1857 w 8450"/>
              <a:gd name="T35" fmla="*/ 10376 h 10376"/>
              <a:gd name="T36" fmla="*/ 6680 w 8450"/>
              <a:gd name="T37" fmla="*/ 10376 h 10376"/>
              <a:gd name="T38" fmla="*/ 7185 w 8450"/>
              <a:gd name="T39" fmla="*/ 9871 h 10376"/>
              <a:gd name="T40" fmla="*/ 7004 w 8450"/>
              <a:gd name="T41" fmla="*/ 8956 h 10376"/>
              <a:gd name="T42" fmla="*/ 6682 w 8450"/>
              <a:gd name="T43" fmla="*/ 8571 h 10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450" h="10376">
                <a:moveTo>
                  <a:pt x="4225" y="0"/>
                </a:moveTo>
                <a:cubicBezTo>
                  <a:pt x="1892" y="0"/>
                  <a:pt x="0" y="1891"/>
                  <a:pt x="0" y="4225"/>
                </a:cubicBezTo>
                <a:cubicBezTo>
                  <a:pt x="0" y="6558"/>
                  <a:pt x="1892" y="8450"/>
                  <a:pt x="4225" y="8450"/>
                </a:cubicBezTo>
                <a:cubicBezTo>
                  <a:pt x="6559" y="8450"/>
                  <a:pt x="8450" y="6558"/>
                  <a:pt x="8450" y="4225"/>
                </a:cubicBezTo>
                <a:cubicBezTo>
                  <a:pt x="8450" y="1892"/>
                  <a:pt x="6559" y="0"/>
                  <a:pt x="4225" y="0"/>
                </a:cubicBezTo>
                <a:close/>
                <a:moveTo>
                  <a:pt x="4225" y="6092"/>
                </a:moveTo>
                <a:cubicBezTo>
                  <a:pt x="3194" y="6092"/>
                  <a:pt x="2359" y="5257"/>
                  <a:pt x="2359" y="4226"/>
                </a:cubicBezTo>
                <a:cubicBezTo>
                  <a:pt x="2359" y="3194"/>
                  <a:pt x="3194" y="2360"/>
                  <a:pt x="4225" y="2360"/>
                </a:cubicBezTo>
                <a:cubicBezTo>
                  <a:pt x="5257" y="2360"/>
                  <a:pt x="6092" y="3195"/>
                  <a:pt x="6092" y="4226"/>
                </a:cubicBezTo>
                <a:cubicBezTo>
                  <a:pt x="6092" y="5257"/>
                  <a:pt x="5257" y="6092"/>
                  <a:pt x="4225" y="6092"/>
                </a:cubicBezTo>
                <a:close/>
                <a:moveTo>
                  <a:pt x="6682" y="8571"/>
                </a:moveTo>
                <a:cubicBezTo>
                  <a:pt x="6570" y="8507"/>
                  <a:pt x="6432" y="8516"/>
                  <a:pt x="6322" y="8582"/>
                </a:cubicBezTo>
                <a:cubicBezTo>
                  <a:pt x="5643" y="8991"/>
                  <a:pt x="5117" y="9225"/>
                  <a:pt x="4225" y="9225"/>
                </a:cubicBezTo>
                <a:cubicBezTo>
                  <a:pt x="3355" y="9225"/>
                  <a:pt x="2843" y="9002"/>
                  <a:pt x="2180" y="8611"/>
                </a:cubicBezTo>
                <a:cubicBezTo>
                  <a:pt x="2060" y="8539"/>
                  <a:pt x="1909" y="8542"/>
                  <a:pt x="1793" y="8620"/>
                </a:cubicBezTo>
                <a:cubicBezTo>
                  <a:pt x="1659" y="8710"/>
                  <a:pt x="1584" y="8811"/>
                  <a:pt x="1533" y="8956"/>
                </a:cubicBezTo>
                <a:lnTo>
                  <a:pt x="1352" y="9871"/>
                </a:lnTo>
                <a:cubicBezTo>
                  <a:pt x="1352" y="10148"/>
                  <a:pt x="1579" y="10376"/>
                  <a:pt x="1857" y="10376"/>
                </a:cubicBezTo>
                <a:lnTo>
                  <a:pt x="6680" y="10376"/>
                </a:lnTo>
                <a:cubicBezTo>
                  <a:pt x="6958" y="10376"/>
                  <a:pt x="7185" y="10148"/>
                  <a:pt x="7185" y="9871"/>
                </a:cubicBezTo>
                <a:lnTo>
                  <a:pt x="7004" y="8956"/>
                </a:lnTo>
                <a:cubicBezTo>
                  <a:pt x="6947" y="8792"/>
                  <a:pt x="6845" y="8663"/>
                  <a:pt x="6682" y="8571"/>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sp>
        <p:nvSpPr>
          <p:cNvPr id="76" name="user_209046">
            <a:extLst>
              <a:ext uri="{FF2B5EF4-FFF2-40B4-BE49-F238E27FC236}">
                <a16:creationId xmlns:a16="http://schemas.microsoft.com/office/drawing/2014/main" id="{35830EE8-564A-42E4-8682-3CAF13A02B1A}"/>
              </a:ext>
            </a:extLst>
          </p:cNvPr>
          <p:cNvSpPr/>
          <p:nvPr/>
        </p:nvSpPr>
        <p:spPr>
          <a:xfrm>
            <a:off x="5949281" y="1943503"/>
            <a:ext cx="293438" cy="248016"/>
          </a:xfrm>
          <a:custGeom>
            <a:avLst/>
            <a:gdLst>
              <a:gd name="T0" fmla="*/ 4484 w 10375"/>
              <a:gd name="T1" fmla="*/ 6967 h 8769"/>
              <a:gd name="T2" fmla="*/ 4484 w 10375"/>
              <a:gd name="T3" fmla="*/ 8374 h 8769"/>
              <a:gd name="T4" fmla="*/ 5891 w 10375"/>
              <a:gd name="T5" fmla="*/ 8374 h 8769"/>
              <a:gd name="T6" fmla="*/ 5891 w 10375"/>
              <a:gd name="T7" fmla="*/ 6967 h 8769"/>
              <a:gd name="T8" fmla="*/ 4484 w 10375"/>
              <a:gd name="T9" fmla="*/ 6967 h 8769"/>
              <a:gd name="T10" fmla="*/ 1754 w 10375"/>
              <a:gd name="T11" fmla="*/ 5262 h 8769"/>
              <a:gd name="T12" fmla="*/ 2766 w 10375"/>
              <a:gd name="T13" fmla="*/ 6423 h 8769"/>
              <a:gd name="T14" fmla="*/ 7633 w 10375"/>
              <a:gd name="T15" fmla="*/ 6423 h 8769"/>
              <a:gd name="T16" fmla="*/ 8645 w 10375"/>
              <a:gd name="T17" fmla="*/ 5262 h 8769"/>
              <a:gd name="T18" fmla="*/ 1754 w 10375"/>
              <a:gd name="T19" fmla="*/ 5262 h 8769"/>
              <a:gd name="T20" fmla="*/ 0 w 10375"/>
              <a:gd name="T21" fmla="*/ 3261 h 8769"/>
              <a:gd name="T22" fmla="*/ 1038 w 10375"/>
              <a:gd name="T23" fmla="*/ 4447 h 8769"/>
              <a:gd name="T24" fmla="*/ 9338 w 10375"/>
              <a:gd name="T25" fmla="*/ 4447 h 8769"/>
              <a:gd name="T26" fmla="*/ 10375 w 10375"/>
              <a:gd name="T27" fmla="*/ 3261 h 8769"/>
              <a:gd name="T28" fmla="*/ 0 w 10375"/>
              <a:gd name="T29" fmla="*/ 3261 h 8769"/>
              <a:gd name="T30" fmla="*/ 0 w 10375"/>
              <a:gd name="T31" fmla="*/ 3261 h 87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375" h="8769">
                <a:moveTo>
                  <a:pt x="4484" y="6967"/>
                </a:moveTo>
                <a:cubicBezTo>
                  <a:pt x="4089" y="7362"/>
                  <a:pt x="4089" y="7979"/>
                  <a:pt x="4484" y="8374"/>
                </a:cubicBezTo>
                <a:cubicBezTo>
                  <a:pt x="4879" y="8769"/>
                  <a:pt x="5496" y="8769"/>
                  <a:pt x="5891" y="8374"/>
                </a:cubicBezTo>
                <a:cubicBezTo>
                  <a:pt x="6286" y="7979"/>
                  <a:pt x="6286" y="7362"/>
                  <a:pt x="5891" y="6967"/>
                </a:cubicBezTo>
                <a:cubicBezTo>
                  <a:pt x="5471" y="6571"/>
                  <a:pt x="4854" y="6571"/>
                  <a:pt x="4484" y="6967"/>
                </a:cubicBezTo>
                <a:close/>
                <a:moveTo>
                  <a:pt x="1754" y="5262"/>
                </a:moveTo>
                <a:lnTo>
                  <a:pt x="2766" y="6423"/>
                </a:lnTo>
                <a:cubicBezTo>
                  <a:pt x="4100" y="4892"/>
                  <a:pt x="6299" y="4892"/>
                  <a:pt x="7633" y="6423"/>
                </a:cubicBezTo>
                <a:lnTo>
                  <a:pt x="8645" y="5262"/>
                </a:lnTo>
                <a:cubicBezTo>
                  <a:pt x="6719" y="3088"/>
                  <a:pt x="3656" y="3088"/>
                  <a:pt x="1754" y="5262"/>
                </a:cubicBezTo>
                <a:close/>
                <a:moveTo>
                  <a:pt x="0" y="3261"/>
                </a:moveTo>
                <a:lnTo>
                  <a:pt x="1038" y="4447"/>
                </a:lnTo>
                <a:cubicBezTo>
                  <a:pt x="3335" y="1803"/>
                  <a:pt x="7040" y="1803"/>
                  <a:pt x="9338" y="4447"/>
                </a:cubicBezTo>
                <a:lnTo>
                  <a:pt x="10375" y="3261"/>
                </a:lnTo>
                <a:cubicBezTo>
                  <a:pt x="7534" y="0"/>
                  <a:pt x="2865" y="0"/>
                  <a:pt x="0" y="3261"/>
                </a:cubicBezTo>
                <a:close/>
                <a:moveTo>
                  <a:pt x="0" y="3261"/>
                </a:move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sp>
        <p:nvSpPr>
          <p:cNvPr id="45" name="user_209046">
            <a:extLst>
              <a:ext uri="{FF2B5EF4-FFF2-40B4-BE49-F238E27FC236}">
                <a16:creationId xmlns:a16="http://schemas.microsoft.com/office/drawing/2014/main" id="{7BAE3F08-5069-42A3-8B5D-3BCF3BF0C87A}"/>
              </a:ext>
            </a:extLst>
          </p:cNvPr>
          <p:cNvSpPr/>
          <p:nvPr/>
        </p:nvSpPr>
        <p:spPr>
          <a:xfrm>
            <a:off x="5886632" y="3396579"/>
            <a:ext cx="507288" cy="457450"/>
          </a:xfrm>
          <a:custGeom>
            <a:avLst/>
            <a:gdLst>
              <a:gd name="connsiteX0" fmla="*/ 521432 w 608344"/>
              <a:gd name="connsiteY0" fmla="*/ 370453 h 548582"/>
              <a:gd name="connsiteX1" fmla="*/ 465737 w 608344"/>
              <a:gd name="connsiteY1" fmla="*/ 425787 h 548582"/>
              <a:gd name="connsiteX2" fmla="*/ 442491 w 608344"/>
              <a:gd name="connsiteY2" fmla="*/ 402479 h 548582"/>
              <a:gd name="connsiteX3" fmla="*/ 418201 w 608344"/>
              <a:gd name="connsiteY3" fmla="*/ 426545 h 548582"/>
              <a:gd name="connsiteX4" fmla="*/ 441447 w 608344"/>
              <a:gd name="connsiteY4" fmla="*/ 449948 h 548582"/>
              <a:gd name="connsiteX5" fmla="*/ 465642 w 608344"/>
              <a:gd name="connsiteY5" fmla="*/ 474204 h 548582"/>
              <a:gd name="connsiteX6" fmla="*/ 489932 w 608344"/>
              <a:gd name="connsiteY6" fmla="*/ 450043 h 548582"/>
              <a:gd name="connsiteX7" fmla="*/ 545532 w 608344"/>
              <a:gd name="connsiteY7" fmla="*/ 394709 h 548582"/>
              <a:gd name="connsiteX8" fmla="*/ 481962 w 608344"/>
              <a:gd name="connsiteY8" fmla="*/ 296170 h 548582"/>
              <a:gd name="connsiteX9" fmla="*/ 608344 w 608344"/>
              <a:gd name="connsiteY9" fmla="*/ 422376 h 548582"/>
              <a:gd name="connsiteX10" fmla="*/ 481962 w 608344"/>
              <a:gd name="connsiteY10" fmla="*/ 548582 h 548582"/>
              <a:gd name="connsiteX11" fmla="*/ 355579 w 608344"/>
              <a:gd name="connsiteY11" fmla="*/ 422376 h 548582"/>
              <a:gd name="connsiteX12" fmla="*/ 481962 w 608344"/>
              <a:gd name="connsiteY12" fmla="*/ 296170 h 548582"/>
              <a:gd name="connsiteX13" fmla="*/ 255835 w 608344"/>
              <a:gd name="connsiteY13" fmla="*/ 446 h 548582"/>
              <a:gd name="connsiteX14" fmla="*/ 317801 w 608344"/>
              <a:gd name="connsiteY14" fmla="*/ 13616 h 548582"/>
              <a:gd name="connsiteX15" fmla="*/ 348072 w 608344"/>
              <a:gd name="connsiteY15" fmla="*/ 41661 h 548582"/>
              <a:gd name="connsiteX16" fmla="*/ 381190 w 608344"/>
              <a:gd name="connsiteY16" fmla="*/ 146831 h 548582"/>
              <a:gd name="connsiteX17" fmla="*/ 378913 w 608344"/>
              <a:gd name="connsiteY17" fmla="*/ 156211 h 548582"/>
              <a:gd name="connsiteX18" fmla="*/ 387833 w 608344"/>
              <a:gd name="connsiteY18" fmla="*/ 200458 h 548582"/>
              <a:gd name="connsiteX19" fmla="*/ 366387 w 608344"/>
              <a:gd name="connsiteY19" fmla="*/ 237694 h 548582"/>
              <a:gd name="connsiteX20" fmla="*/ 351393 w 608344"/>
              <a:gd name="connsiteY20" fmla="*/ 278720 h 548582"/>
              <a:gd name="connsiteX21" fmla="*/ 351393 w 608344"/>
              <a:gd name="connsiteY21" fmla="*/ 322873 h 548582"/>
              <a:gd name="connsiteX22" fmla="*/ 317611 w 608344"/>
              <a:gd name="connsiteY22" fmla="*/ 422358 h 548582"/>
              <a:gd name="connsiteX23" fmla="*/ 376635 w 608344"/>
              <a:gd name="connsiteY23" fmla="*/ 548088 h 548582"/>
              <a:gd name="connsiteX24" fmla="*/ 26855 w 608344"/>
              <a:gd name="connsiteY24" fmla="*/ 548088 h 548582"/>
              <a:gd name="connsiteX25" fmla="*/ 0 w 608344"/>
              <a:gd name="connsiteY25" fmla="*/ 521274 h 548582"/>
              <a:gd name="connsiteX26" fmla="*/ 0 w 608344"/>
              <a:gd name="connsiteY26" fmla="*/ 473806 h 548582"/>
              <a:gd name="connsiteX27" fmla="*/ 19453 w 608344"/>
              <a:gd name="connsiteY27" fmla="*/ 432969 h 548582"/>
              <a:gd name="connsiteX28" fmla="*/ 173751 w 608344"/>
              <a:gd name="connsiteY28" fmla="*/ 334242 h 548582"/>
              <a:gd name="connsiteX29" fmla="*/ 176408 w 608344"/>
              <a:gd name="connsiteY29" fmla="*/ 329884 h 548582"/>
              <a:gd name="connsiteX30" fmla="*/ 176408 w 608344"/>
              <a:gd name="connsiteY30" fmla="*/ 278720 h 548582"/>
              <a:gd name="connsiteX31" fmla="*/ 161320 w 608344"/>
              <a:gd name="connsiteY31" fmla="*/ 237694 h 548582"/>
              <a:gd name="connsiteX32" fmla="*/ 139969 w 608344"/>
              <a:gd name="connsiteY32" fmla="*/ 200458 h 548582"/>
              <a:gd name="connsiteX33" fmla="*/ 148320 w 608344"/>
              <a:gd name="connsiteY33" fmla="*/ 156211 h 548582"/>
              <a:gd name="connsiteX34" fmla="*/ 146042 w 608344"/>
              <a:gd name="connsiteY34" fmla="*/ 146736 h 548582"/>
              <a:gd name="connsiteX35" fmla="*/ 145758 w 608344"/>
              <a:gd name="connsiteY35" fmla="*/ 95099 h 548582"/>
              <a:gd name="connsiteX36" fmla="*/ 176029 w 608344"/>
              <a:gd name="connsiteY36" fmla="*/ 42135 h 548582"/>
              <a:gd name="connsiteX37" fmla="*/ 203928 w 608344"/>
              <a:gd name="connsiteY37" fmla="*/ 19017 h 548582"/>
              <a:gd name="connsiteX38" fmla="*/ 231162 w 608344"/>
              <a:gd name="connsiteY38" fmla="*/ 5089 h 548582"/>
              <a:gd name="connsiteX39" fmla="*/ 255835 w 608344"/>
              <a:gd name="connsiteY39" fmla="*/ 446 h 548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608344" h="548582">
                <a:moveTo>
                  <a:pt x="521432" y="370453"/>
                </a:moveTo>
                <a:lnTo>
                  <a:pt x="465737" y="425787"/>
                </a:lnTo>
                <a:lnTo>
                  <a:pt x="442491" y="402479"/>
                </a:lnTo>
                <a:lnTo>
                  <a:pt x="418201" y="426545"/>
                </a:lnTo>
                <a:lnTo>
                  <a:pt x="441447" y="449948"/>
                </a:lnTo>
                <a:lnTo>
                  <a:pt x="465642" y="474204"/>
                </a:lnTo>
                <a:lnTo>
                  <a:pt x="489932" y="450043"/>
                </a:lnTo>
                <a:lnTo>
                  <a:pt x="545532" y="394709"/>
                </a:lnTo>
                <a:close/>
                <a:moveTo>
                  <a:pt x="481962" y="296170"/>
                </a:moveTo>
                <a:cubicBezTo>
                  <a:pt x="551795" y="296170"/>
                  <a:pt x="608344" y="352641"/>
                  <a:pt x="608344" y="422376"/>
                </a:cubicBezTo>
                <a:cubicBezTo>
                  <a:pt x="608344" y="492111"/>
                  <a:pt x="551795" y="548582"/>
                  <a:pt x="481962" y="548582"/>
                </a:cubicBezTo>
                <a:cubicBezTo>
                  <a:pt x="412129" y="548582"/>
                  <a:pt x="355579" y="492111"/>
                  <a:pt x="355579" y="422376"/>
                </a:cubicBezTo>
                <a:cubicBezTo>
                  <a:pt x="355579" y="352641"/>
                  <a:pt x="412129" y="296170"/>
                  <a:pt x="481962" y="296170"/>
                </a:cubicBezTo>
                <a:close/>
                <a:moveTo>
                  <a:pt x="255835" y="446"/>
                </a:moveTo>
                <a:cubicBezTo>
                  <a:pt x="282785" y="-1828"/>
                  <a:pt x="303187" y="4899"/>
                  <a:pt x="317801" y="13616"/>
                </a:cubicBezTo>
                <a:cubicBezTo>
                  <a:pt x="339721" y="25744"/>
                  <a:pt x="348072" y="41661"/>
                  <a:pt x="348072" y="41661"/>
                </a:cubicBezTo>
                <a:cubicBezTo>
                  <a:pt x="348072" y="41661"/>
                  <a:pt x="398176" y="45167"/>
                  <a:pt x="381190" y="146831"/>
                </a:cubicBezTo>
                <a:cubicBezTo>
                  <a:pt x="380621" y="149863"/>
                  <a:pt x="379862" y="153085"/>
                  <a:pt x="378913" y="156211"/>
                </a:cubicBezTo>
                <a:cubicBezTo>
                  <a:pt x="388592" y="156211"/>
                  <a:pt x="398271" y="163507"/>
                  <a:pt x="387833" y="200458"/>
                </a:cubicBezTo>
                <a:cubicBezTo>
                  <a:pt x="379672" y="229262"/>
                  <a:pt x="372080" y="237221"/>
                  <a:pt x="366387" y="237694"/>
                </a:cubicBezTo>
                <a:cubicBezTo>
                  <a:pt x="364394" y="250675"/>
                  <a:pt x="359175" y="265076"/>
                  <a:pt x="351393" y="278720"/>
                </a:cubicBezTo>
                <a:lnTo>
                  <a:pt x="351393" y="322873"/>
                </a:lnTo>
                <a:cubicBezTo>
                  <a:pt x="330232" y="350539"/>
                  <a:pt x="317611" y="385027"/>
                  <a:pt x="317611" y="422358"/>
                </a:cubicBezTo>
                <a:cubicBezTo>
                  <a:pt x="317611" y="472764"/>
                  <a:pt x="340480" y="518053"/>
                  <a:pt x="376635" y="548088"/>
                </a:cubicBezTo>
                <a:lnTo>
                  <a:pt x="26855" y="548088"/>
                </a:lnTo>
                <a:cubicBezTo>
                  <a:pt x="12052" y="548088"/>
                  <a:pt x="0" y="536055"/>
                  <a:pt x="0" y="521274"/>
                </a:cubicBezTo>
                <a:lnTo>
                  <a:pt x="0" y="473806"/>
                </a:lnTo>
                <a:cubicBezTo>
                  <a:pt x="0" y="457983"/>
                  <a:pt x="7212" y="443013"/>
                  <a:pt x="19453" y="432969"/>
                </a:cubicBezTo>
                <a:cubicBezTo>
                  <a:pt x="86638" y="377921"/>
                  <a:pt x="159043" y="341443"/>
                  <a:pt x="173751" y="334242"/>
                </a:cubicBezTo>
                <a:cubicBezTo>
                  <a:pt x="175365" y="333484"/>
                  <a:pt x="176408" y="331779"/>
                  <a:pt x="176408" y="329884"/>
                </a:cubicBezTo>
                <a:lnTo>
                  <a:pt x="176408" y="278720"/>
                </a:lnTo>
                <a:cubicBezTo>
                  <a:pt x="168437" y="265076"/>
                  <a:pt x="163313" y="250675"/>
                  <a:pt x="161320" y="237694"/>
                </a:cubicBezTo>
                <a:cubicBezTo>
                  <a:pt x="155627" y="237221"/>
                  <a:pt x="148035" y="229072"/>
                  <a:pt x="139969" y="200458"/>
                </a:cubicBezTo>
                <a:cubicBezTo>
                  <a:pt x="129531" y="164170"/>
                  <a:pt x="138925" y="156496"/>
                  <a:pt x="148320" y="156211"/>
                </a:cubicBezTo>
                <a:cubicBezTo>
                  <a:pt x="147371" y="153085"/>
                  <a:pt x="146612" y="149863"/>
                  <a:pt x="146042" y="146736"/>
                </a:cubicBezTo>
                <a:cubicBezTo>
                  <a:pt x="142436" y="128450"/>
                  <a:pt x="141487" y="111396"/>
                  <a:pt x="145758" y="95099"/>
                </a:cubicBezTo>
                <a:cubicBezTo>
                  <a:pt x="150787" y="73212"/>
                  <a:pt x="162744" y="55684"/>
                  <a:pt x="176029" y="42135"/>
                </a:cubicBezTo>
                <a:cubicBezTo>
                  <a:pt x="184379" y="33134"/>
                  <a:pt x="193869" y="25459"/>
                  <a:pt x="203928" y="19017"/>
                </a:cubicBezTo>
                <a:cubicBezTo>
                  <a:pt x="212183" y="13332"/>
                  <a:pt x="221293" y="8405"/>
                  <a:pt x="231162" y="5089"/>
                </a:cubicBezTo>
                <a:cubicBezTo>
                  <a:pt x="238849" y="2625"/>
                  <a:pt x="247105" y="825"/>
                  <a:pt x="255835" y="446"/>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6" name="文本框 45">
            <a:extLst>
              <a:ext uri="{FF2B5EF4-FFF2-40B4-BE49-F238E27FC236}">
                <a16:creationId xmlns:a16="http://schemas.microsoft.com/office/drawing/2014/main" id="{A02DBB99-894D-4AF1-A5F7-71CE56575AD5}"/>
              </a:ext>
            </a:extLst>
          </p:cNvPr>
          <p:cNvSpPr txBox="1"/>
          <p:nvPr/>
        </p:nvSpPr>
        <p:spPr>
          <a:xfrm>
            <a:off x="5671683" y="3937244"/>
            <a:ext cx="848634" cy="307777"/>
          </a:xfrm>
          <a:prstGeom prst="rect">
            <a:avLst/>
          </a:prstGeom>
          <a:noFill/>
        </p:spPr>
        <p:txBody>
          <a:bodyPr wrap="square" lIns="0" tIns="0" rIns="0" bIns="0" rtlCol="0" anchor="t">
            <a:spAutoFit/>
          </a:bodyPr>
          <a:lstStyle/>
          <a:p>
            <a:pPr algn="ctr"/>
            <a:r>
              <a:rPr lang="zh-CN" altLang="en-US" sz="2000" dirty="0">
                <a:solidFill>
                  <a:schemeClr val="bg1"/>
                </a:solidFill>
                <a:latin typeface="+mj-ea"/>
                <a:ea typeface="+mj-ea"/>
              </a:rPr>
              <a:t>关键词</a:t>
            </a:r>
          </a:p>
        </p:txBody>
      </p:sp>
    </p:spTree>
    <p:custDataLst>
      <p:tags r:id="rId2"/>
    </p:custDataLst>
    <p:extLst>
      <p:ext uri="{BB962C8B-B14F-4D97-AF65-F5344CB8AC3E}">
        <p14:creationId xmlns:p14="http://schemas.microsoft.com/office/powerpoint/2010/main" val="1271093256"/>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任意多边形: 形状 23">
            <a:extLst>
              <a:ext uri="{FF2B5EF4-FFF2-40B4-BE49-F238E27FC236}">
                <a16:creationId xmlns:a16="http://schemas.microsoft.com/office/drawing/2014/main" id="{E91F0CF3-32A6-4722-9944-F8C657630295}"/>
              </a:ext>
            </a:extLst>
          </p:cNvPr>
          <p:cNvSpPr/>
          <p:nvPr/>
        </p:nvSpPr>
        <p:spPr>
          <a:xfrm>
            <a:off x="0" y="0"/>
            <a:ext cx="12192000" cy="5152104"/>
          </a:xfrm>
          <a:custGeom>
            <a:avLst/>
            <a:gdLst>
              <a:gd name="connsiteX0" fmla="*/ 0 w 12192000"/>
              <a:gd name="connsiteY0" fmla="*/ 0 h 5152104"/>
              <a:gd name="connsiteX1" fmla="*/ 12192000 w 12192000"/>
              <a:gd name="connsiteY1" fmla="*/ 0 h 5152104"/>
              <a:gd name="connsiteX2" fmla="*/ 12192000 w 12192000"/>
              <a:gd name="connsiteY2" fmla="*/ 914400 h 5152104"/>
              <a:gd name="connsiteX3" fmla="*/ 12192000 w 12192000"/>
              <a:gd name="connsiteY3" fmla="*/ 2273300 h 5152104"/>
              <a:gd name="connsiteX4" fmla="*/ 12192000 w 12192000"/>
              <a:gd name="connsiteY4" fmla="*/ 3817006 h 5152104"/>
              <a:gd name="connsiteX5" fmla="*/ 12046037 w 12192000"/>
              <a:gd name="connsiteY5" fmla="*/ 3906640 h 5152104"/>
              <a:gd name="connsiteX6" fmla="*/ 6096000 w 12192000"/>
              <a:gd name="connsiteY6" fmla="*/ 5152104 h 5152104"/>
              <a:gd name="connsiteX7" fmla="*/ 145963 w 12192000"/>
              <a:gd name="connsiteY7" fmla="*/ 3906640 h 5152104"/>
              <a:gd name="connsiteX8" fmla="*/ 0 w 12192000"/>
              <a:gd name="connsiteY8" fmla="*/ 3817006 h 5152104"/>
              <a:gd name="connsiteX9" fmla="*/ 0 w 12192000"/>
              <a:gd name="connsiteY9" fmla="*/ 2273300 h 5152104"/>
              <a:gd name="connsiteX10" fmla="*/ 0 w 12192000"/>
              <a:gd name="connsiteY10" fmla="*/ 914400 h 5152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2000" h="5152104">
                <a:moveTo>
                  <a:pt x="0" y="0"/>
                </a:moveTo>
                <a:lnTo>
                  <a:pt x="12192000" y="0"/>
                </a:lnTo>
                <a:lnTo>
                  <a:pt x="12192000" y="914400"/>
                </a:lnTo>
                <a:lnTo>
                  <a:pt x="12192000" y="2273300"/>
                </a:lnTo>
                <a:lnTo>
                  <a:pt x="12192000" y="3817006"/>
                </a:lnTo>
                <a:lnTo>
                  <a:pt x="12046037" y="3906640"/>
                </a:lnTo>
                <a:cubicBezTo>
                  <a:pt x="10756548" y="4658064"/>
                  <a:pt x="8572824" y="5152104"/>
                  <a:pt x="6096000" y="5152104"/>
                </a:cubicBezTo>
                <a:cubicBezTo>
                  <a:pt x="3619176" y="5152104"/>
                  <a:pt x="1435452" y="4658064"/>
                  <a:pt x="145963" y="3906640"/>
                </a:cubicBezTo>
                <a:lnTo>
                  <a:pt x="0" y="3817006"/>
                </a:lnTo>
                <a:lnTo>
                  <a:pt x="0" y="2273300"/>
                </a:lnTo>
                <a:lnTo>
                  <a:pt x="0" y="9144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6000" dirty="0"/>
          </a:p>
        </p:txBody>
      </p:sp>
      <p:sp>
        <p:nvSpPr>
          <p:cNvPr id="11" name="文本框 10">
            <a:extLst>
              <a:ext uri="{FF2B5EF4-FFF2-40B4-BE49-F238E27FC236}">
                <a16:creationId xmlns:a16="http://schemas.microsoft.com/office/drawing/2014/main" id="{E4393356-E9A7-46D9-B5F5-0D21EC991A29}"/>
              </a:ext>
            </a:extLst>
          </p:cNvPr>
          <p:cNvSpPr txBox="1"/>
          <p:nvPr/>
        </p:nvSpPr>
        <p:spPr>
          <a:xfrm>
            <a:off x="1941017" y="1812068"/>
            <a:ext cx="8309967" cy="1107996"/>
          </a:xfrm>
          <a:prstGeom prst="rect">
            <a:avLst/>
          </a:prstGeom>
          <a:noFill/>
        </p:spPr>
        <p:txBody>
          <a:bodyPr wrap="none" lIns="0" tIns="0" rIns="0" bIns="0" rtlCol="0" anchor="t">
            <a:spAutoFit/>
          </a:bodyPr>
          <a:lstStyle/>
          <a:p>
            <a:pPr algn="ctr"/>
            <a:r>
              <a:rPr lang="zh-CN" altLang="en-US" sz="7200" dirty="0">
                <a:solidFill>
                  <a:schemeClr val="bg1"/>
                </a:solidFill>
                <a:latin typeface="+mj-ea"/>
                <a:ea typeface="+mj-ea"/>
              </a:rPr>
              <a:t>输入你的封面大标题</a:t>
            </a:r>
          </a:p>
        </p:txBody>
      </p:sp>
      <p:sp>
        <p:nvSpPr>
          <p:cNvPr id="12" name="文本框 11">
            <a:extLst>
              <a:ext uri="{FF2B5EF4-FFF2-40B4-BE49-F238E27FC236}">
                <a16:creationId xmlns:a16="http://schemas.microsoft.com/office/drawing/2014/main" id="{08D1ED60-C0E7-408E-A5AA-59B489440FCB}"/>
              </a:ext>
            </a:extLst>
          </p:cNvPr>
          <p:cNvSpPr txBox="1"/>
          <p:nvPr/>
        </p:nvSpPr>
        <p:spPr>
          <a:xfrm>
            <a:off x="4095451" y="1274144"/>
            <a:ext cx="4001095" cy="369332"/>
          </a:xfrm>
          <a:prstGeom prst="rect">
            <a:avLst/>
          </a:prstGeom>
          <a:noFill/>
        </p:spPr>
        <p:txBody>
          <a:bodyPr wrap="none" lIns="0" tIns="0" rIns="0" bIns="0" rtlCol="0" anchor="t">
            <a:spAutoFit/>
          </a:bodyPr>
          <a:lstStyle/>
          <a:p>
            <a:pPr algn="ctr"/>
            <a:r>
              <a:rPr lang="zh-CN" altLang="en-US" sz="2400" dirty="0">
                <a:solidFill>
                  <a:schemeClr val="bg1"/>
                </a:solidFill>
                <a:latin typeface="+mn-ea"/>
              </a:rPr>
              <a:t>输入你的副标题或大标题英文</a:t>
            </a:r>
          </a:p>
        </p:txBody>
      </p:sp>
      <p:cxnSp>
        <p:nvCxnSpPr>
          <p:cNvPr id="14" name="直接连接符 13">
            <a:extLst>
              <a:ext uri="{FF2B5EF4-FFF2-40B4-BE49-F238E27FC236}">
                <a16:creationId xmlns:a16="http://schemas.microsoft.com/office/drawing/2014/main" id="{99FDF5DC-EAFA-4C3B-B052-660243EB047F}"/>
              </a:ext>
            </a:extLst>
          </p:cNvPr>
          <p:cNvCxnSpPr/>
          <p:nvPr/>
        </p:nvCxnSpPr>
        <p:spPr>
          <a:xfrm flipH="1">
            <a:off x="2029968" y="1464596"/>
            <a:ext cx="1901952"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 name="直接连接符 14">
            <a:extLst>
              <a:ext uri="{FF2B5EF4-FFF2-40B4-BE49-F238E27FC236}">
                <a16:creationId xmlns:a16="http://schemas.microsoft.com/office/drawing/2014/main" id="{C6CC629A-E754-4728-BB95-563C56597B63}"/>
              </a:ext>
            </a:extLst>
          </p:cNvPr>
          <p:cNvCxnSpPr/>
          <p:nvPr/>
        </p:nvCxnSpPr>
        <p:spPr>
          <a:xfrm flipH="1">
            <a:off x="8284464" y="1464596"/>
            <a:ext cx="1901952"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grpSp>
        <p:nvGrpSpPr>
          <p:cNvPr id="18" name="组合 17">
            <a:extLst>
              <a:ext uri="{FF2B5EF4-FFF2-40B4-BE49-F238E27FC236}">
                <a16:creationId xmlns:a16="http://schemas.microsoft.com/office/drawing/2014/main" id="{FC799265-AC15-410F-82A2-679AB60B288F}"/>
              </a:ext>
            </a:extLst>
          </p:cNvPr>
          <p:cNvGrpSpPr/>
          <p:nvPr/>
        </p:nvGrpSpPr>
        <p:grpSpPr>
          <a:xfrm>
            <a:off x="4331702" y="3267535"/>
            <a:ext cx="1475214" cy="246221"/>
            <a:chOff x="4095451" y="4640913"/>
            <a:chExt cx="1475214" cy="246221"/>
          </a:xfrm>
        </p:grpSpPr>
        <p:sp>
          <p:nvSpPr>
            <p:cNvPr id="16" name="矩形 15">
              <a:extLst>
                <a:ext uri="{FF2B5EF4-FFF2-40B4-BE49-F238E27FC236}">
                  <a16:creationId xmlns:a16="http://schemas.microsoft.com/office/drawing/2014/main" id="{74C493E7-1B47-4349-BC5B-BF3163490795}"/>
                </a:ext>
              </a:extLst>
            </p:cNvPr>
            <p:cNvSpPr/>
            <p:nvPr/>
          </p:nvSpPr>
          <p:spPr>
            <a:xfrm>
              <a:off x="4095451" y="4672584"/>
              <a:ext cx="164592" cy="1645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solidFill>
                  <a:schemeClr val="bg1"/>
                </a:solidFill>
              </a:endParaRPr>
            </a:p>
          </p:txBody>
        </p:sp>
        <p:sp>
          <p:nvSpPr>
            <p:cNvPr id="17" name="文本框 16">
              <a:extLst>
                <a:ext uri="{FF2B5EF4-FFF2-40B4-BE49-F238E27FC236}">
                  <a16:creationId xmlns:a16="http://schemas.microsoft.com/office/drawing/2014/main" id="{B804F6AA-7656-4EF8-84F0-3B3FB5CF0922}"/>
                </a:ext>
              </a:extLst>
            </p:cNvPr>
            <p:cNvSpPr txBox="1"/>
            <p:nvPr/>
          </p:nvSpPr>
          <p:spPr>
            <a:xfrm>
              <a:off x="4408487" y="4640913"/>
              <a:ext cx="1162178" cy="246221"/>
            </a:xfrm>
            <a:prstGeom prst="rect">
              <a:avLst/>
            </a:prstGeom>
            <a:noFill/>
          </p:spPr>
          <p:txBody>
            <a:bodyPr wrap="none" lIns="0" tIns="0" rIns="0" bIns="0" rtlCol="0" anchor="t">
              <a:spAutoFit/>
            </a:bodyPr>
            <a:lstStyle/>
            <a:p>
              <a:r>
                <a:rPr lang="zh-CN" altLang="en-US" sz="1600" dirty="0">
                  <a:solidFill>
                    <a:schemeClr val="bg1"/>
                  </a:solidFill>
                  <a:latin typeface="+mn-ea"/>
                </a:rPr>
                <a:t>汇报人：</a:t>
              </a:r>
              <a:r>
                <a:rPr lang="en-US" altLang="zh-CN" sz="1600" dirty="0">
                  <a:solidFill>
                    <a:schemeClr val="bg1"/>
                  </a:solidFill>
                  <a:latin typeface="+mn-ea"/>
                </a:rPr>
                <a:t>xxx</a:t>
              </a:r>
              <a:endParaRPr lang="zh-CN" altLang="en-US" sz="1600" dirty="0">
                <a:solidFill>
                  <a:schemeClr val="bg1"/>
                </a:solidFill>
                <a:latin typeface="+mn-ea"/>
              </a:endParaRPr>
            </a:p>
          </p:txBody>
        </p:sp>
      </p:grpSp>
      <p:grpSp>
        <p:nvGrpSpPr>
          <p:cNvPr id="19" name="组合 18">
            <a:extLst>
              <a:ext uri="{FF2B5EF4-FFF2-40B4-BE49-F238E27FC236}">
                <a16:creationId xmlns:a16="http://schemas.microsoft.com/office/drawing/2014/main" id="{482B1619-178E-45D1-BC39-C5F4314075B6}"/>
              </a:ext>
            </a:extLst>
          </p:cNvPr>
          <p:cNvGrpSpPr/>
          <p:nvPr/>
        </p:nvGrpSpPr>
        <p:grpSpPr>
          <a:xfrm>
            <a:off x="6590270" y="3267535"/>
            <a:ext cx="1270029" cy="246221"/>
            <a:chOff x="4095451" y="4640913"/>
            <a:chExt cx="1270029" cy="246221"/>
          </a:xfrm>
        </p:grpSpPr>
        <p:sp>
          <p:nvSpPr>
            <p:cNvPr id="20" name="矩形 19">
              <a:extLst>
                <a:ext uri="{FF2B5EF4-FFF2-40B4-BE49-F238E27FC236}">
                  <a16:creationId xmlns:a16="http://schemas.microsoft.com/office/drawing/2014/main" id="{3A1AE345-38CE-49BE-9E58-2C20078777A3}"/>
                </a:ext>
              </a:extLst>
            </p:cNvPr>
            <p:cNvSpPr/>
            <p:nvPr/>
          </p:nvSpPr>
          <p:spPr>
            <a:xfrm>
              <a:off x="4095451" y="4672584"/>
              <a:ext cx="164592" cy="1645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solidFill>
                  <a:schemeClr val="bg1"/>
                </a:solidFill>
              </a:endParaRPr>
            </a:p>
          </p:txBody>
        </p:sp>
        <p:sp>
          <p:nvSpPr>
            <p:cNvPr id="21" name="文本框 20">
              <a:extLst>
                <a:ext uri="{FF2B5EF4-FFF2-40B4-BE49-F238E27FC236}">
                  <a16:creationId xmlns:a16="http://schemas.microsoft.com/office/drawing/2014/main" id="{FCC3031D-C171-43E7-B549-82FC96054817}"/>
                </a:ext>
              </a:extLst>
            </p:cNvPr>
            <p:cNvSpPr txBox="1"/>
            <p:nvPr/>
          </p:nvSpPr>
          <p:spPr>
            <a:xfrm>
              <a:off x="4408487" y="4640913"/>
              <a:ext cx="956993" cy="246221"/>
            </a:xfrm>
            <a:prstGeom prst="rect">
              <a:avLst/>
            </a:prstGeom>
            <a:noFill/>
          </p:spPr>
          <p:txBody>
            <a:bodyPr wrap="none" lIns="0" tIns="0" rIns="0" bIns="0" rtlCol="0" anchor="t">
              <a:spAutoFit/>
            </a:bodyPr>
            <a:lstStyle/>
            <a:p>
              <a:r>
                <a:rPr lang="zh-CN" altLang="en-US" sz="1600" dirty="0">
                  <a:solidFill>
                    <a:schemeClr val="bg1"/>
                  </a:solidFill>
                  <a:latin typeface="+mn-ea"/>
                </a:rPr>
                <a:t>单位：</a:t>
              </a:r>
              <a:r>
                <a:rPr lang="en-US" altLang="zh-CN" sz="1600" dirty="0">
                  <a:solidFill>
                    <a:schemeClr val="bg1"/>
                  </a:solidFill>
                  <a:latin typeface="+mn-ea"/>
                </a:rPr>
                <a:t>xxx</a:t>
              </a:r>
              <a:endParaRPr lang="zh-CN" altLang="en-US" sz="1600" dirty="0">
                <a:solidFill>
                  <a:schemeClr val="bg1"/>
                </a:solidFill>
                <a:latin typeface="+mn-ea"/>
              </a:endParaRPr>
            </a:p>
          </p:txBody>
        </p:sp>
      </p:grpSp>
      <p:cxnSp>
        <p:nvCxnSpPr>
          <p:cNvPr id="23" name="直接连接符 22">
            <a:extLst>
              <a:ext uri="{FF2B5EF4-FFF2-40B4-BE49-F238E27FC236}">
                <a16:creationId xmlns:a16="http://schemas.microsoft.com/office/drawing/2014/main" id="{CE4614EF-B88F-4347-B526-58ECE7F96194}"/>
              </a:ext>
            </a:extLst>
          </p:cNvPr>
          <p:cNvCxnSpPr>
            <a:cxnSpLocks/>
          </p:cNvCxnSpPr>
          <p:nvPr/>
        </p:nvCxnSpPr>
        <p:spPr>
          <a:xfrm flipH="1">
            <a:off x="2029968" y="2988596"/>
            <a:ext cx="8156448"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77576184"/>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3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任意形状 9">
            <a:extLst>
              <a:ext uri="{FF2B5EF4-FFF2-40B4-BE49-F238E27FC236}">
                <a16:creationId xmlns:a16="http://schemas.microsoft.com/office/drawing/2014/main" id="{E72DC63C-64B8-43C0-B593-E72FF9AABA54}"/>
              </a:ext>
            </a:extLst>
          </p:cNvPr>
          <p:cNvSpPr/>
          <p:nvPr/>
        </p:nvSpPr>
        <p:spPr>
          <a:xfrm>
            <a:off x="0" y="6457950"/>
            <a:ext cx="12192000" cy="400050"/>
          </a:xfrm>
          <a:custGeom>
            <a:avLst/>
            <a:gdLst>
              <a:gd name="connsiteX0" fmla="*/ 12192000 w 12192000"/>
              <a:gd name="connsiteY0" fmla="*/ 0 h 329410"/>
              <a:gd name="connsiteX1" fmla="*/ 12192000 w 12192000"/>
              <a:gd name="connsiteY1" fmla="*/ 329410 h 329410"/>
              <a:gd name="connsiteX2" fmla="*/ 0 w 12192000"/>
              <a:gd name="connsiteY2" fmla="*/ 329410 h 329410"/>
              <a:gd name="connsiteX3" fmla="*/ 0 w 12192000"/>
              <a:gd name="connsiteY3" fmla="*/ 29375 h 329410"/>
              <a:gd name="connsiteX4" fmla="*/ 577089 w 12192000"/>
              <a:gd name="connsiteY4" fmla="*/ 49593 h 329410"/>
              <a:gd name="connsiteX5" fmla="*/ 5704114 w 12192000"/>
              <a:gd name="connsiteY5" fmla="*/ 124873 h 329410"/>
              <a:gd name="connsiteX6" fmla="*/ 11982536 w 12192000"/>
              <a:gd name="connsiteY6" fmla="*/ 9255 h 329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329410">
                <a:moveTo>
                  <a:pt x="12192000" y="0"/>
                </a:moveTo>
                <a:lnTo>
                  <a:pt x="12192000" y="329410"/>
                </a:lnTo>
                <a:lnTo>
                  <a:pt x="0" y="329410"/>
                </a:lnTo>
                <a:lnTo>
                  <a:pt x="0" y="29375"/>
                </a:lnTo>
                <a:lnTo>
                  <a:pt x="577089" y="49593"/>
                </a:lnTo>
                <a:cubicBezTo>
                  <a:pt x="2152931" y="98068"/>
                  <a:pt x="3885480" y="124873"/>
                  <a:pt x="5704114" y="124873"/>
                </a:cubicBezTo>
                <a:cubicBezTo>
                  <a:pt x="7977407" y="124873"/>
                  <a:pt x="10116192" y="82990"/>
                  <a:pt x="11982536" y="9255"/>
                </a:cubicBezTo>
                <a:close/>
              </a:path>
            </a:pathLst>
          </a:custGeom>
          <a:solidFill>
            <a:schemeClr val="accent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zh-CN" altLang="en-US"/>
          </a:p>
        </p:txBody>
      </p:sp>
      <p:sp>
        <p:nvSpPr>
          <p:cNvPr id="21" name="Freeform 4">
            <a:extLst>
              <a:ext uri="{FF2B5EF4-FFF2-40B4-BE49-F238E27FC236}">
                <a16:creationId xmlns:a16="http://schemas.microsoft.com/office/drawing/2014/main" id="{76317637-DD98-4F50-9190-8655610E73CF}"/>
              </a:ext>
            </a:extLst>
          </p:cNvPr>
          <p:cNvSpPr>
            <a:spLocks noEditPoints="1"/>
          </p:cNvSpPr>
          <p:nvPr/>
        </p:nvSpPr>
        <p:spPr bwMode="auto">
          <a:xfrm rot="2700000">
            <a:off x="5966414" y="2005177"/>
            <a:ext cx="2039938" cy="1085850"/>
          </a:xfrm>
          <a:custGeom>
            <a:avLst/>
            <a:gdLst>
              <a:gd name="T0" fmla="*/ 266 w 400"/>
              <a:gd name="T1" fmla="*/ 74 h 213"/>
              <a:gd name="T2" fmla="*/ 266 w 400"/>
              <a:gd name="T3" fmla="*/ 66 h 213"/>
              <a:gd name="T4" fmla="*/ 200 w 400"/>
              <a:gd name="T5" fmla="*/ 0 h 213"/>
              <a:gd name="T6" fmla="*/ 134 w 400"/>
              <a:gd name="T7" fmla="*/ 66 h 213"/>
              <a:gd name="T8" fmla="*/ 134 w 400"/>
              <a:gd name="T9" fmla="*/ 74 h 213"/>
              <a:gd name="T10" fmla="*/ 0 w 400"/>
              <a:gd name="T11" fmla="*/ 149 h 213"/>
              <a:gd name="T12" fmla="*/ 63 w 400"/>
              <a:gd name="T13" fmla="*/ 213 h 213"/>
              <a:gd name="T14" fmla="*/ 337 w 400"/>
              <a:gd name="T15" fmla="*/ 213 h 213"/>
              <a:gd name="T16" fmla="*/ 400 w 400"/>
              <a:gd name="T17" fmla="*/ 149 h 213"/>
              <a:gd name="T18" fmla="*/ 266 w 400"/>
              <a:gd name="T19" fmla="*/ 74 h 213"/>
              <a:gd name="T20" fmla="*/ 200 w 400"/>
              <a:gd name="T21" fmla="*/ 120 h 213"/>
              <a:gd name="T22" fmla="*/ 147 w 400"/>
              <a:gd name="T23" fmla="*/ 66 h 213"/>
              <a:gd name="T24" fmla="*/ 200 w 400"/>
              <a:gd name="T25" fmla="*/ 13 h 213"/>
              <a:gd name="T26" fmla="*/ 253 w 400"/>
              <a:gd name="T27" fmla="*/ 66 h 213"/>
              <a:gd name="T28" fmla="*/ 200 w 400"/>
              <a:gd name="T29" fmla="*/ 120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00" h="213">
                <a:moveTo>
                  <a:pt x="266" y="74"/>
                </a:moveTo>
                <a:cubicBezTo>
                  <a:pt x="266" y="72"/>
                  <a:pt x="266" y="69"/>
                  <a:pt x="266" y="66"/>
                </a:cubicBezTo>
                <a:cubicBezTo>
                  <a:pt x="266" y="30"/>
                  <a:pt x="237" y="0"/>
                  <a:pt x="200" y="0"/>
                </a:cubicBezTo>
                <a:cubicBezTo>
                  <a:pt x="163" y="0"/>
                  <a:pt x="134" y="30"/>
                  <a:pt x="134" y="66"/>
                </a:cubicBezTo>
                <a:cubicBezTo>
                  <a:pt x="134" y="69"/>
                  <a:pt x="134" y="72"/>
                  <a:pt x="134" y="74"/>
                </a:cubicBezTo>
                <a:cubicBezTo>
                  <a:pt x="85" y="86"/>
                  <a:pt x="38" y="111"/>
                  <a:pt x="0" y="149"/>
                </a:cubicBezTo>
                <a:cubicBezTo>
                  <a:pt x="63" y="213"/>
                  <a:pt x="63" y="213"/>
                  <a:pt x="63" y="213"/>
                </a:cubicBezTo>
                <a:cubicBezTo>
                  <a:pt x="139" y="137"/>
                  <a:pt x="261" y="137"/>
                  <a:pt x="337" y="213"/>
                </a:cubicBezTo>
                <a:cubicBezTo>
                  <a:pt x="400" y="149"/>
                  <a:pt x="400" y="149"/>
                  <a:pt x="400" y="149"/>
                </a:cubicBezTo>
                <a:cubicBezTo>
                  <a:pt x="362" y="111"/>
                  <a:pt x="315" y="86"/>
                  <a:pt x="266" y="74"/>
                </a:cubicBezTo>
                <a:close/>
                <a:moveTo>
                  <a:pt x="200" y="120"/>
                </a:moveTo>
                <a:cubicBezTo>
                  <a:pt x="171" y="120"/>
                  <a:pt x="147" y="96"/>
                  <a:pt x="147" y="66"/>
                </a:cubicBezTo>
                <a:cubicBezTo>
                  <a:pt x="147" y="37"/>
                  <a:pt x="171" y="13"/>
                  <a:pt x="200" y="13"/>
                </a:cubicBezTo>
                <a:cubicBezTo>
                  <a:pt x="229" y="13"/>
                  <a:pt x="253" y="37"/>
                  <a:pt x="253" y="66"/>
                </a:cubicBezTo>
                <a:cubicBezTo>
                  <a:pt x="253" y="96"/>
                  <a:pt x="229" y="120"/>
                  <a:pt x="200" y="120"/>
                </a:cubicBez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US" dirty="0">
              <a:latin typeface="Microsoft YaHei" panose="020B0503020204020204" pitchFamily="34" charset="-122"/>
              <a:ea typeface="Microsoft YaHei" panose="020B0503020204020204" pitchFamily="34" charset="-122"/>
              <a:sym typeface="Microsoft YaHei" panose="020B0503020204020204" pitchFamily="34" charset="-122"/>
            </a:endParaRPr>
          </a:p>
        </p:txBody>
      </p:sp>
      <p:sp>
        <p:nvSpPr>
          <p:cNvPr id="22" name="Freeform 5">
            <a:extLst>
              <a:ext uri="{FF2B5EF4-FFF2-40B4-BE49-F238E27FC236}">
                <a16:creationId xmlns:a16="http://schemas.microsoft.com/office/drawing/2014/main" id="{4F3C51F1-FCEB-4A6B-A66B-E92A3228D284}"/>
              </a:ext>
            </a:extLst>
          </p:cNvPr>
          <p:cNvSpPr>
            <a:spLocks noEditPoints="1"/>
          </p:cNvSpPr>
          <p:nvPr/>
        </p:nvSpPr>
        <p:spPr bwMode="auto">
          <a:xfrm rot="2700000">
            <a:off x="4211335" y="3762637"/>
            <a:ext cx="2039938" cy="1081088"/>
          </a:xfrm>
          <a:custGeom>
            <a:avLst/>
            <a:gdLst>
              <a:gd name="T0" fmla="*/ 400 w 400"/>
              <a:gd name="T1" fmla="*/ 63 h 212"/>
              <a:gd name="T2" fmla="*/ 337 w 400"/>
              <a:gd name="T3" fmla="*/ 0 h 212"/>
              <a:gd name="T4" fmla="*/ 63 w 400"/>
              <a:gd name="T5" fmla="*/ 0 h 212"/>
              <a:gd name="T6" fmla="*/ 0 w 400"/>
              <a:gd name="T7" fmla="*/ 63 h 212"/>
              <a:gd name="T8" fmla="*/ 134 w 400"/>
              <a:gd name="T9" fmla="*/ 138 h 212"/>
              <a:gd name="T10" fmla="*/ 134 w 400"/>
              <a:gd name="T11" fmla="*/ 146 h 212"/>
              <a:gd name="T12" fmla="*/ 200 w 400"/>
              <a:gd name="T13" fmla="*/ 212 h 212"/>
              <a:gd name="T14" fmla="*/ 266 w 400"/>
              <a:gd name="T15" fmla="*/ 146 h 212"/>
              <a:gd name="T16" fmla="*/ 266 w 400"/>
              <a:gd name="T17" fmla="*/ 138 h 212"/>
              <a:gd name="T18" fmla="*/ 400 w 400"/>
              <a:gd name="T19" fmla="*/ 63 h 212"/>
              <a:gd name="T20" fmla="*/ 200 w 400"/>
              <a:gd name="T21" fmla="*/ 199 h 212"/>
              <a:gd name="T22" fmla="*/ 147 w 400"/>
              <a:gd name="T23" fmla="*/ 146 h 212"/>
              <a:gd name="T24" fmla="*/ 200 w 400"/>
              <a:gd name="T25" fmla="*/ 93 h 212"/>
              <a:gd name="T26" fmla="*/ 253 w 400"/>
              <a:gd name="T27" fmla="*/ 146 h 212"/>
              <a:gd name="T28" fmla="*/ 200 w 400"/>
              <a:gd name="T29" fmla="*/ 199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00" h="212">
                <a:moveTo>
                  <a:pt x="400" y="63"/>
                </a:moveTo>
                <a:cubicBezTo>
                  <a:pt x="337" y="0"/>
                  <a:pt x="337" y="0"/>
                  <a:pt x="337" y="0"/>
                </a:cubicBezTo>
                <a:cubicBezTo>
                  <a:pt x="261" y="75"/>
                  <a:pt x="139" y="75"/>
                  <a:pt x="63" y="0"/>
                </a:cubicBezTo>
                <a:cubicBezTo>
                  <a:pt x="0" y="63"/>
                  <a:pt x="0" y="63"/>
                  <a:pt x="0" y="63"/>
                </a:cubicBezTo>
                <a:cubicBezTo>
                  <a:pt x="38" y="101"/>
                  <a:pt x="85" y="126"/>
                  <a:pt x="134" y="138"/>
                </a:cubicBezTo>
                <a:cubicBezTo>
                  <a:pt x="134" y="140"/>
                  <a:pt x="134" y="143"/>
                  <a:pt x="134" y="146"/>
                </a:cubicBezTo>
                <a:cubicBezTo>
                  <a:pt x="134" y="182"/>
                  <a:pt x="163" y="212"/>
                  <a:pt x="200" y="212"/>
                </a:cubicBezTo>
                <a:cubicBezTo>
                  <a:pt x="237" y="212"/>
                  <a:pt x="266" y="182"/>
                  <a:pt x="266" y="146"/>
                </a:cubicBezTo>
                <a:cubicBezTo>
                  <a:pt x="266" y="143"/>
                  <a:pt x="266" y="140"/>
                  <a:pt x="266" y="138"/>
                </a:cubicBezTo>
                <a:cubicBezTo>
                  <a:pt x="315" y="126"/>
                  <a:pt x="362" y="101"/>
                  <a:pt x="400" y="63"/>
                </a:cubicBezTo>
                <a:close/>
                <a:moveTo>
                  <a:pt x="200" y="199"/>
                </a:moveTo>
                <a:cubicBezTo>
                  <a:pt x="171" y="199"/>
                  <a:pt x="147" y="175"/>
                  <a:pt x="147" y="146"/>
                </a:cubicBezTo>
                <a:cubicBezTo>
                  <a:pt x="147" y="116"/>
                  <a:pt x="171" y="93"/>
                  <a:pt x="200" y="93"/>
                </a:cubicBezTo>
                <a:cubicBezTo>
                  <a:pt x="229" y="93"/>
                  <a:pt x="253" y="116"/>
                  <a:pt x="253" y="146"/>
                </a:cubicBezTo>
                <a:cubicBezTo>
                  <a:pt x="253" y="175"/>
                  <a:pt x="229" y="199"/>
                  <a:pt x="200" y="199"/>
                </a:cubicBez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US" dirty="0">
              <a:latin typeface="Microsoft YaHei" panose="020B0503020204020204" pitchFamily="34" charset="-122"/>
              <a:ea typeface="Microsoft YaHei" panose="020B0503020204020204" pitchFamily="34" charset="-122"/>
              <a:sym typeface="Microsoft YaHei" panose="020B0503020204020204" pitchFamily="34" charset="-122"/>
            </a:endParaRPr>
          </a:p>
        </p:txBody>
      </p:sp>
      <p:sp>
        <p:nvSpPr>
          <p:cNvPr id="23" name="Freeform 6">
            <a:extLst>
              <a:ext uri="{FF2B5EF4-FFF2-40B4-BE49-F238E27FC236}">
                <a16:creationId xmlns:a16="http://schemas.microsoft.com/office/drawing/2014/main" id="{F3A40667-E24E-4B67-B333-4A85815FBB7F}"/>
              </a:ext>
            </a:extLst>
          </p:cNvPr>
          <p:cNvSpPr>
            <a:spLocks noEditPoints="1"/>
          </p:cNvSpPr>
          <p:nvPr/>
        </p:nvSpPr>
        <p:spPr bwMode="auto">
          <a:xfrm rot="2700000">
            <a:off x="6444717" y="3278024"/>
            <a:ext cx="1081088" cy="2044700"/>
          </a:xfrm>
          <a:custGeom>
            <a:avLst/>
            <a:gdLst>
              <a:gd name="T0" fmla="*/ 146 w 212"/>
              <a:gd name="T1" fmla="*/ 134 h 401"/>
              <a:gd name="T2" fmla="*/ 138 w 212"/>
              <a:gd name="T3" fmla="*/ 135 h 401"/>
              <a:gd name="T4" fmla="*/ 63 w 212"/>
              <a:gd name="T5" fmla="*/ 0 h 401"/>
              <a:gd name="T6" fmla="*/ 0 w 212"/>
              <a:gd name="T7" fmla="*/ 64 h 401"/>
              <a:gd name="T8" fmla="*/ 0 w 212"/>
              <a:gd name="T9" fmla="*/ 338 h 401"/>
              <a:gd name="T10" fmla="*/ 63 w 212"/>
              <a:gd name="T11" fmla="*/ 401 h 401"/>
              <a:gd name="T12" fmla="*/ 138 w 212"/>
              <a:gd name="T13" fmla="*/ 266 h 401"/>
              <a:gd name="T14" fmla="*/ 146 w 212"/>
              <a:gd name="T15" fmla="*/ 267 h 401"/>
              <a:gd name="T16" fmla="*/ 212 w 212"/>
              <a:gd name="T17" fmla="*/ 201 h 401"/>
              <a:gd name="T18" fmla="*/ 146 w 212"/>
              <a:gd name="T19" fmla="*/ 134 h 401"/>
              <a:gd name="T20" fmla="*/ 146 w 212"/>
              <a:gd name="T21" fmla="*/ 254 h 401"/>
              <a:gd name="T22" fmla="*/ 93 w 212"/>
              <a:gd name="T23" fmla="*/ 201 h 401"/>
              <a:gd name="T24" fmla="*/ 146 w 212"/>
              <a:gd name="T25" fmla="*/ 147 h 401"/>
              <a:gd name="T26" fmla="*/ 199 w 212"/>
              <a:gd name="T27" fmla="*/ 201 h 401"/>
              <a:gd name="T28" fmla="*/ 146 w 212"/>
              <a:gd name="T29" fmla="*/ 254 h 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2" h="401">
                <a:moveTo>
                  <a:pt x="146" y="134"/>
                </a:moveTo>
                <a:cubicBezTo>
                  <a:pt x="143" y="134"/>
                  <a:pt x="141" y="134"/>
                  <a:pt x="138" y="135"/>
                </a:cubicBezTo>
                <a:cubicBezTo>
                  <a:pt x="127" y="85"/>
                  <a:pt x="102" y="39"/>
                  <a:pt x="63" y="0"/>
                </a:cubicBezTo>
                <a:cubicBezTo>
                  <a:pt x="0" y="64"/>
                  <a:pt x="0" y="64"/>
                  <a:pt x="0" y="64"/>
                </a:cubicBezTo>
                <a:cubicBezTo>
                  <a:pt x="76" y="139"/>
                  <a:pt x="76" y="262"/>
                  <a:pt x="0" y="338"/>
                </a:cubicBezTo>
                <a:cubicBezTo>
                  <a:pt x="63" y="401"/>
                  <a:pt x="63" y="401"/>
                  <a:pt x="63" y="401"/>
                </a:cubicBezTo>
                <a:cubicBezTo>
                  <a:pt x="102" y="362"/>
                  <a:pt x="127" y="316"/>
                  <a:pt x="138" y="266"/>
                </a:cubicBezTo>
                <a:cubicBezTo>
                  <a:pt x="141" y="267"/>
                  <a:pt x="143" y="267"/>
                  <a:pt x="146" y="267"/>
                </a:cubicBezTo>
                <a:cubicBezTo>
                  <a:pt x="183" y="267"/>
                  <a:pt x="212" y="237"/>
                  <a:pt x="212" y="201"/>
                </a:cubicBezTo>
                <a:cubicBezTo>
                  <a:pt x="212" y="164"/>
                  <a:pt x="183" y="134"/>
                  <a:pt x="146" y="134"/>
                </a:cubicBezTo>
                <a:close/>
                <a:moveTo>
                  <a:pt x="146" y="254"/>
                </a:moveTo>
                <a:cubicBezTo>
                  <a:pt x="117" y="254"/>
                  <a:pt x="93" y="230"/>
                  <a:pt x="93" y="201"/>
                </a:cubicBezTo>
                <a:cubicBezTo>
                  <a:pt x="93" y="171"/>
                  <a:pt x="117" y="147"/>
                  <a:pt x="146" y="147"/>
                </a:cubicBezTo>
                <a:cubicBezTo>
                  <a:pt x="175" y="147"/>
                  <a:pt x="199" y="171"/>
                  <a:pt x="199" y="201"/>
                </a:cubicBezTo>
                <a:cubicBezTo>
                  <a:pt x="199" y="230"/>
                  <a:pt x="175" y="254"/>
                  <a:pt x="146" y="254"/>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latin typeface="Microsoft YaHei" panose="020B0503020204020204" pitchFamily="34" charset="-122"/>
              <a:ea typeface="Microsoft YaHei" panose="020B0503020204020204" pitchFamily="34" charset="-122"/>
              <a:sym typeface="Microsoft YaHei" panose="020B0503020204020204" pitchFamily="34" charset="-122"/>
            </a:endParaRPr>
          </a:p>
        </p:txBody>
      </p:sp>
      <p:sp>
        <p:nvSpPr>
          <p:cNvPr id="24" name="Freeform 7">
            <a:extLst>
              <a:ext uri="{FF2B5EF4-FFF2-40B4-BE49-F238E27FC236}">
                <a16:creationId xmlns:a16="http://schemas.microsoft.com/office/drawing/2014/main" id="{BC2C59CD-4F43-42EF-8CAB-06C8BAC9E710}"/>
              </a:ext>
            </a:extLst>
          </p:cNvPr>
          <p:cNvSpPr>
            <a:spLocks noEditPoints="1"/>
          </p:cNvSpPr>
          <p:nvPr/>
        </p:nvSpPr>
        <p:spPr bwMode="auto">
          <a:xfrm rot="2700000">
            <a:off x="4692445" y="1525752"/>
            <a:ext cx="1081088" cy="2044700"/>
          </a:xfrm>
          <a:custGeom>
            <a:avLst/>
            <a:gdLst>
              <a:gd name="T0" fmla="*/ 212 w 212"/>
              <a:gd name="T1" fmla="*/ 64 h 401"/>
              <a:gd name="T2" fmla="*/ 149 w 212"/>
              <a:gd name="T3" fmla="*/ 0 h 401"/>
              <a:gd name="T4" fmla="*/ 74 w 212"/>
              <a:gd name="T5" fmla="*/ 135 h 401"/>
              <a:gd name="T6" fmla="*/ 66 w 212"/>
              <a:gd name="T7" fmla="*/ 134 h 401"/>
              <a:gd name="T8" fmla="*/ 0 w 212"/>
              <a:gd name="T9" fmla="*/ 201 h 401"/>
              <a:gd name="T10" fmla="*/ 66 w 212"/>
              <a:gd name="T11" fmla="*/ 267 h 401"/>
              <a:gd name="T12" fmla="*/ 74 w 212"/>
              <a:gd name="T13" fmla="*/ 266 h 401"/>
              <a:gd name="T14" fmla="*/ 149 w 212"/>
              <a:gd name="T15" fmla="*/ 401 h 401"/>
              <a:gd name="T16" fmla="*/ 212 w 212"/>
              <a:gd name="T17" fmla="*/ 338 h 401"/>
              <a:gd name="T18" fmla="*/ 212 w 212"/>
              <a:gd name="T19" fmla="*/ 64 h 401"/>
              <a:gd name="T20" fmla="*/ 66 w 212"/>
              <a:gd name="T21" fmla="*/ 254 h 401"/>
              <a:gd name="T22" fmla="*/ 13 w 212"/>
              <a:gd name="T23" fmla="*/ 201 h 401"/>
              <a:gd name="T24" fmla="*/ 66 w 212"/>
              <a:gd name="T25" fmla="*/ 147 h 401"/>
              <a:gd name="T26" fmla="*/ 119 w 212"/>
              <a:gd name="T27" fmla="*/ 201 h 401"/>
              <a:gd name="T28" fmla="*/ 66 w 212"/>
              <a:gd name="T29" fmla="*/ 254 h 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2" h="401">
                <a:moveTo>
                  <a:pt x="212" y="64"/>
                </a:moveTo>
                <a:cubicBezTo>
                  <a:pt x="149" y="0"/>
                  <a:pt x="149" y="0"/>
                  <a:pt x="149" y="0"/>
                </a:cubicBezTo>
                <a:cubicBezTo>
                  <a:pt x="110" y="39"/>
                  <a:pt x="85" y="85"/>
                  <a:pt x="74" y="135"/>
                </a:cubicBezTo>
                <a:cubicBezTo>
                  <a:pt x="71" y="134"/>
                  <a:pt x="69" y="134"/>
                  <a:pt x="66" y="134"/>
                </a:cubicBezTo>
                <a:cubicBezTo>
                  <a:pt x="29" y="134"/>
                  <a:pt x="0" y="164"/>
                  <a:pt x="0" y="201"/>
                </a:cubicBezTo>
                <a:cubicBezTo>
                  <a:pt x="0" y="237"/>
                  <a:pt x="29" y="267"/>
                  <a:pt x="66" y="267"/>
                </a:cubicBezTo>
                <a:cubicBezTo>
                  <a:pt x="69" y="267"/>
                  <a:pt x="71" y="267"/>
                  <a:pt x="74" y="266"/>
                </a:cubicBezTo>
                <a:cubicBezTo>
                  <a:pt x="85" y="316"/>
                  <a:pt x="110" y="362"/>
                  <a:pt x="149" y="401"/>
                </a:cubicBezTo>
                <a:cubicBezTo>
                  <a:pt x="212" y="338"/>
                  <a:pt x="212" y="338"/>
                  <a:pt x="212" y="338"/>
                </a:cubicBezTo>
                <a:cubicBezTo>
                  <a:pt x="136" y="262"/>
                  <a:pt x="136" y="139"/>
                  <a:pt x="212" y="64"/>
                </a:cubicBezTo>
                <a:close/>
                <a:moveTo>
                  <a:pt x="66" y="254"/>
                </a:moveTo>
                <a:cubicBezTo>
                  <a:pt x="37" y="254"/>
                  <a:pt x="13" y="230"/>
                  <a:pt x="13" y="201"/>
                </a:cubicBezTo>
                <a:cubicBezTo>
                  <a:pt x="13" y="171"/>
                  <a:pt x="37" y="147"/>
                  <a:pt x="66" y="147"/>
                </a:cubicBezTo>
                <a:cubicBezTo>
                  <a:pt x="95" y="147"/>
                  <a:pt x="119" y="171"/>
                  <a:pt x="119" y="201"/>
                </a:cubicBezTo>
                <a:cubicBezTo>
                  <a:pt x="119" y="230"/>
                  <a:pt x="95" y="254"/>
                  <a:pt x="66" y="254"/>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latin typeface="Microsoft YaHei" panose="020B0503020204020204" pitchFamily="34" charset="-122"/>
              <a:ea typeface="Microsoft YaHei" panose="020B0503020204020204" pitchFamily="34" charset="-122"/>
              <a:sym typeface="Microsoft YaHei" panose="020B0503020204020204" pitchFamily="34" charset="-122"/>
            </a:endParaRPr>
          </a:p>
        </p:txBody>
      </p:sp>
      <p:sp>
        <p:nvSpPr>
          <p:cNvPr id="2" name="文本框 1">
            <a:extLst>
              <a:ext uri="{FF2B5EF4-FFF2-40B4-BE49-F238E27FC236}">
                <a16:creationId xmlns:a16="http://schemas.microsoft.com/office/drawing/2014/main" id="{B2770909-EE1E-4DF9-9DF6-66DA88E057F0}"/>
              </a:ext>
            </a:extLst>
          </p:cNvPr>
          <p:cNvSpPr txBox="1"/>
          <p:nvPr/>
        </p:nvSpPr>
        <p:spPr>
          <a:xfrm>
            <a:off x="4950232" y="2261578"/>
            <a:ext cx="262892" cy="276999"/>
          </a:xfrm>
          <a:prstGeom prst="rect">
            <a:avLst/>
          </a:prstGeom>
          <a:noFill/>
        </p:spPr>
        <p:txBody>
          <a:bodyPr wrap="none" lIns="0" tIns="0" rIns="0" bIns="0" rtlCol="0" anchor="t">
            <a:spAutoFit/>
          </a:bodyPr>
          <a:lstStyle/>
          <a:p>
            <a:pPr algn="l"/>
            <a:r>
              <a:rPr lang="en-US" altLang="zh-CN" dirty="0">
                <a:solidFill>
                  <a:schemeClr val="accent1"/>
                </a:solidFill>
                <a:latin typeface="+mj-ea"/>
                <a:ea typeface="+mj-ea"/>
              </a:rPr>
              <a:t>01</a:t>
            </a:r>
            <a:endParaRPr lang="zh-CN" altLang="en-US" dirty="0">
              <a:solidFill>
                <a:schemeClr val="accent1"/>
              </a:solidFill>
              <a:latin typeface="+mj-ea"/>
              <a:ea typeface="+mj-ea"/>
            </a:endParaRPr>
          </a:p>
        </p:txBody>
      </p:sp>
      <p:sp>
        <p:nvSpPr>
          <p:cNvPr id="25" name="文本框 24">
            <a:extLst>
              <a:ext uri="{FF2B5EF4-FFF2-40B4-BE49-F238E27FC236}">
                <a16:creationId xmlns:a16="http://schemas.microsoft.com/office/drawing/2014/main" id="{7A8F9BBC-7A17-42AB-B555-BCAFABB7083D}"/>
              </a:ext>
            </a:extLst>
          </p:cNvPr>
          <p:cNvSpPr txBox="1"/>
          <p:nvPr/>
        </p:nvSpPr>
        <p:spPr>
          <a:xfrm>
            <a:off x="6985261" y="2261578"/>
            <a:ext cx="304571" cy="276999"/>
          </a:xfrm>
          <a:prstGeom prst="rect">
            <a:avLst/>
          </a:prstGeom>
          <a:noFill/>
        </p:spPr>
        <p:txBody>
          <a:bodyPr wrap="none" lIns="0" tIns="0" rIns="0" bIns="0" rtlCol="0" anchor="t">
            <a:spAutoFit/>
          </a:bodyPr>
          <a:lstStyle/>
          <a:p>
            <a:pPr algn="l"/>
            <a:r>
              <a:rPr lang="en-US" altLang="zh-CN" dirty="0">
                <a:solidFill>
                  <a:schemeClr val="accent1"/>
                </a:solidFill>
                <a:latin typeface="+mj-ea"/>
                <a:ea typeface="+mj-ea"/>
              </a:rPr>
              <a:t>02</a:t>
            </a:r>
            <a:endParaRPr lang="zh-CN" altLang="en-US" dirty="0">
              <a:solidFill>
                <a:schemeClr val="accent1"/>
              </a:solidFill>
              <a:latin typeface="+mj-ea"/>
              <a:ea typeface="+mj-ea"/>
            </a:endParaRPr>
          </a:p>
        </p:txBody>
      </p:sp>
      <p:sp>
        <p:nvSpPr>
          <p:cNvPr id="26" name="文本框 25">
            <a:extLst>
              <a:ext uri="{FF2B5EF4-FFF2-40B4-BE49-F238E27FC236}">
                <a16:creationId xmlns:a16="http://schemas.microsoft.com/office/drawing/2014/main" id="{14487978-E366-4574-8C81-E7398C72FE85}"/>
              </a:ext>
            </a:extLst>
          </p:cNvPr>
          <p:cNvSpPr txBox="1"/>
          <p:nvPr/>
        </p:nvSpPr>
        <p:spPr>
          <a:xfrm>
            <a:off x="4918379" y="4314294"/>
            <a:ext cx="304571" cy="276999"/>
          </a:xfrm>
          <a:prstGeom prst="rect">
            <a:avLst/>
          </a:prstGeom>
          <a:noFill/>
        </p:spPr>
        <p:txBody>
          <a:bodyPr wrap="none" lIns="0" tIns="0" rIns="0" bIns="0" rtlCol="0" anchor="t">
            <a:spAutoFit/>
          </a:bodyPr>
          <a:lstStyle/>
          <a:p>
            <a:pPr algn="l"/>
            <a:r>
              <a:rPr lang="en-US" altLang="zh-CN" dirty="0">
                <a:solidFill>
                  <a:schemeClr val="accent1"/>
                </a:solidFill>
                <a:latin typeface="+mj-ea"/>
                <a:ea typeface="+mj-ea"/>
              </a:rPr>
              <a:t>03</a:t>
            </a:r>
            <a:endParaRPr lang="zh-CN" altLang="en-US" dirty="0">
              <a:solidFill>
                <a:schemeClr val="accent1"/>
              </a:solidFill>
              <a:latin typeface="+mj-ea"/>
              <a:ea typeface="+mj-ea"/>
            </a:endParaRPr>
          </a:p>
        </p:txBody>
      </p:sp>
      <p:sp>
        <p:nvSpPr>
          <p:cNvPr id="27" name="文本框 26">
            <a:extLst>
              <a:ext uri="{FF2B5EF4-FFF2-40B4-BE49-F238E27FC236}">
                <a16:creationId xmlns:a16="http://schemas.microsoft.com/office/drawing/2014/main" id="{45BC16EB-EE1E-4730-8D47-CA0FF543A9A9}"/>
              </a:ext>
            </a:extLst>
          </p:cNvPr>
          <p:cNvSpPr txBox="1"/>
          <p:nvPr/>
        </p:nvSpPr>
        <p:spPr>
          <a:xfrm>
            <a:off x="6985261" y="4309899"/>
            <a:ext cx="304571" cy="276999"/>
          </a:xfrm>
          <a:prstGeom prst="rect">
            <a:avLst/>
          </a:prstGeom>
          <a:noFill/>
        </p:spPr>
        <p:txBody>
          <a:bodyPr wrap="none" lIns="0" tIns="0" rIns="0" bIns="0" rtlCol="0" anchor="t">
            <a:spAutoFit/>
          </a:bodyPr>
          <a:lstStyle/>
          <a:p>
            <a:pPr algn="l"/>
            <a:r>
              <a:rPr lang="en-US" altLang="zh-CN" dirty="0">
                <a:solidFill>
                  <a:schemeClr val="accent1"/>
                </a:solidFill>
                <a:latin typeface="+mj-ea"/>
                <a:ea typeface="+mj-ea"/>
              </a:rPr>
              <a:t>04</a:t>
            </a:r>
            <a:endParaRPr lang="zh-CN" altLang="en-US" dirty="0">
              <a:solidFill>
                <a:schemeClr val="accent1"/>
              </a:solidFill>
              <a:latin typeface="+mj-ea"/>
              <a:ea typeface="+mj-ea"/>
            </a:endParaRPr>
          </a:p>
        </p:txBody>
      </p:sp>
      <p:sp>
        <p:nvSpPr>
          <p:cNvPr id="28" name="文本框 27">
            <a:extLst>
              <a:ext uri="{FF2B5EF4-FFF2-40B4-BE49-F238E27FC236}">
                <a16:creationId xmlns:a16="http://schemas.microsoft.com/office/drawing/2014/main" id="{043C70A8-1A87-4D7A-9410-0AD201E3266C}"/>
              </a:ext>
            </a:extLst>
          </p:cNvPr>
          <p:cNvSpPr txBox="1"/>
          <p:nvPr/>
        </p:nvSpPr>
        <p:spPr>
          <a:xfrm>
            <a:off x="3118068" y="2261578"/>
            <a:ext cx="1282402" cy="307777"/>
          </a:xfrm>
          <a:prstGeom prst="rect">
            <a:avLst/>
          </a:prstGeom>
          <a:noFill/>
        </p:spPr>
        <p:txBody>
          <a:bodyPr wrap="none" lIns="0" tIns="0" rIns="0" bIns="0" rtlCol="0" anchor="t">
            <a:spAutoFit/>
          </a:bodyPr>
          <a:lstStyle/>
          <a:p>
            <a:pPr algn="r"/>
            <a:r>
              <a:rPr lang="zh-CN" altLang="en-US" sz="2000" dirty="0">
                <a:solidFill>
                  <a:schemeClr val="accent1"/>
                </a:solidFill>
                <a:latin typeface="+mj-ea"/>
                <a:ea typeface="+mj-ea"/>
              </a:rPr>
              <a:t>关键词标题</a:t>
            </a:r>
          </a:p>
        </p:txBody>
      </p:sp>
      <p:sp>
        <p:nvSpPr>
          <p:cNvPr id="29" name="文本框 28">
            <a:extLst>
              <a:ext uri="{FF2B5EF4-FFF2-40B4-BE49-F238E27FC236}">
                <a16:creationId xmlns:a16="http://schemas.microsoft.com/office/drawing/2014/main" id="{FE6074B0-8ED9-4333-8A16-FD7C8719D2E5}"/>
              </a:ext>
            </a:extLst>
          </p:cNvPr>
          <p:cNvSpPr txBox="1"/>
          <p:nvPr/>
        </p:nvSpPr>
        <p:spPr>
          <a:xfrm>
            <a:off x="779742" y="2631023"/>
            <a:ext cx="3597847" cy="387286"/>
          </a:xfrm>
          <a:prstGeom prst="rect">
            <a:avLst/>
          </a:prstGeom>
          <a:noFill/>
        </p:spPr>
        <p:txBody>
          <a:bodyPr wrap="square" lIns="0" tIns="0" rIns="0" bIns="0" rtlCol="0" anchor="t">
            <a:spAutoFit/>
          </a:bodyPr>
          <a:lstStyle/>
          <a:p>
            <a:pPr algn="r">
              <a:lnSpc>
                <a:spcPct val="130000"/>
              </a:lnSpc>
            </a:pPr>
            <a:r>
              <a:rPr lang="en-US" altLang="zh-CN" sz="1000" b="0" dirty="0">
                <a:solidFill>
                  <a:schemeClr val="tx1">
                    <a:lumMod val="75000"/>
                    <a:lumOff val="25000"/>
                  </a:schemeClr>
                </a:solidFill>
                <a:effectLst/>
                <a:latin typeface="+mn-ea"/>
              </a:rPr>
              <a:t>Lorem ipsum dolor sit amet, consectetur adipisicing elit, sed do eiusmod tempor</a:t>
            </a:r>
            <a:endParaRPr lang="zh-CN" altLang="en-US" sz="1000" b="0" dirty="0">
              <a:solidFill>
                <a:schemeClr val="tx1">
                  <a:lumMod val="75000"/>
                  <a:lumOff val="25000"/>
                </a:schemeClr>
              </a:solidFill>
              <a:effectLst/>
              <a:latin typeface="+mn-ea"/>
            </a:endParaRPr>
          </a:p>
        </p:txBody>
      </p:sp>
      <p:sp>
        <p:nvSpPr>
          <p:cNvPr id="30" name="文本框 29">
            <a:extLst>
              <a:ext uri="{FF2B5EF4-FFF2-40B4-BE49-F238E27FC236}">
                <a16:creationId xmlns:a16="http://schemas.microsoft.com/office/drawing/2014/main" id="{0060E180-2F40-43FC-99D3-6BD3F2BE721A}"/>
              </a:ext>
            </a:extLst>
          </p:cNvPr>
          <p:cNvSpPr txBox="1"/>
          <p:nvPr/>
        </p:nvSpPr>
        <p:spPr>
          <a:xfrm>
            <a:off x="3118068" y="4326420"/>
            <a:ext cx="1282402" cy="307777"/>
          </a:xfrm>
          <a:prstGeom prst="rect">
            <a:avLst/>
          </a:prstGeom>
          <a:noFill/>
        </p:spPr>
        <p:txBody>
          <a:bodyPr wrap="none" lIns="0" tIns="0" rIns="0" bIns="0" rtlCol="0" anchor="t">
            <a:spAutoFit/>
          </a:bodyPr>
          <a:lstStyle/>
          <a:p>
            <a:pPr algn="r"/>
            <a:r>
              <a:rPr lang="zh-CN" altLang="en-US" sz="2000" dirty="0">
                <a:solidFill>
                  <a:schemeClr val="accent1"/>
                </a:solidFill>
                <a:latin typeface="+mj-ea"/>
                <a:ea typeface="+mj-ea"/>
              </a:rPr>
              <a:t>关键词标题</a:t>
            </a:r>
          </a:p>
        </p:txBody>
      </p:sp>
      <p:sp>
        <p:nvSpPr>
          <p:cNvPr id="31" name="文本框 30">
            <a:extLst>
              <a:ext uri="{FF2B5EF4-FFF2-40B4-BE49-F238E27FC236}">
                <a16:creationId xmlns:a16="http://schemas.microsoft.com/office/drawing/2014/main" id="{A0E80288-644A-4BF7-AEF2-67627D812F03}"/>
              </a:ext>
            </a:extLst>
          </p:cNvPr>
          <p:cNvSpPr txBox="1"/>
          <p:nvPr/>
        </p:nvSpPr>
        <p:spPr>
          <a:xfrm>
            <a:off x="779742" y="4695865"/>
            <a:ext cx="3597847" cy="387286"/>
          </a:xfrm>
          <a:prstGeom prst="rect">
            <a:avLst/>
          </a:prstGeom>
          <a:noFill/>
        </p:spPr>
        <p:txBody>
          <a:bodyPr wrap="square" lIns="0" tIns="0" rIns="0" bIns="0" rtlCol="0" anchor="t">
            <a:spAutoFit/>
          </a:bodyPr>
          <a:lstStyle/>
          <a:p>
            <a:pPr algn="r">
              <a:lnSpc>
                <a:spcPct val="130000"/>
              </a:lnSpc>
            </a:pPr>
            <a:r>
              <a:rPr lang="en-US" altLang="zh-CN" sz="1000" b="0" dirty="0">
                <a:solidFill>
                  <a:schemeClr val="tx1">
                    <a:lumMod val="75000"/>
                    <a:lumOff val="25000"/>
                  </a:schemeClr>
                </a:solidFill>
                <a:effectLst/>
                <a:latin typeface="+mn-ea"/>
              </a:rPr>
              <a:t>Lorem ipsum dolor sit amet, consectetur adipisicing elit, sed do eiusmod tempor</a:t>
            </a:r>
            <a:endParaRPr lang="zh-CN" altLang="en-US" sz="1000" b="0" dirty="0">
              <a:solidFill>
                <a:schemeClr val="tx1">
                  <a:lumMod val="75000"/>
                  <a:lumOff val="25000"/>
                </a:schemeClr>
              </a:solidFill>
              <a:effectLst/>
              <a:latin typeface="+mn-ea"/>
            </a:endParaRPr>
          </a:p>
        </p:txBody>
      </p:sp>
      <p:sp>
        <p:nvSpPr>
          <p:cNvPr id="32" name="文本框 31">
            <a:extLst>
              <a:ext uri="{FF2B5EF4-FFF2-40B4-BE49-F238E27FC236}">
                <a16:creationId xmlns:a16="http://schemas.microsoft.com/office/drawing/2014/main" id="{C9DC6C48-C2BD-4163-A88F-75CE66B6EE24}"/>
              </a:ext>
            </a:extLst>
          </p:cNvPr>
          <p:cNvSpPr txBox="1"/>
          <p:nvPr/>
        </p:nvSpPr>
        <p:spPr>
          <a:xfrm>
            <a:off x="7814412" y="4326420"/>
            <a:ext cx="1282402" cy="307777"/>
          </a:xfrm>
          <a:prstGeom prst="rect">
            <a:avLst/>
          </a:prstGeom>
          <a:noFill/>
        </p:spPr>
        <p:txBody>
          <a:bodyPr wrap="none" lIns="0" tIns="0" rIns="0" bIns="0" rtlCol="0" anchor="t">
            <a:spAutoFit/>
          </a:bodyPr>
          <a:lstStyle/>
          <a:p>
            <a:r>
              <a:rPr lang="zh-CN" altLang="en-US" sz="2000" dirty="0">
                <a:solidFill>
                  <a:schemeClr val="accent1"/>
                </a:solidFill>
                <a:latin typeface="+mj-ea"/>
                <a:ea typeface="+mj-ea"/>
              </a:rPr>
              <a:t>关键词标题</a:t>
            </a:r>
          </a:p>
        </p:txBody>
      </p:sp>
      <p:sp>
        <p:nvSpPr>
          <p:cNvPr id="33" name="文本框 32">
            <a:extLst>
              <a:ext uri="{FF2B5EF4-FFF2-40B4-BE49-F238E27FC236}">
                <a16:creationId xmlns:a16="http://schemas.microsoft.com/office/drawing/2014/main" id="{CA4E6594-77BF-4B44-AA9D-ED7C9ACCFA3B}"/>
              </a:ext>
            </a:extLst>
          </p:cNvPr>
          <p:cNvSpPr txBox="1"/>
          <p:nvPr/>
        </p:nvSpPr>
        <p:spPr>
          <a:xfrm>
            <a:off x="7814412" y="4695865"/>
            <a:ext cx="3597847" cy="387286"/>
          </a:xfrm>
          <a:prstGeom prst="rect">
            <a:avLst/>
          </a:prstGeom>
          <a:noFill/>
        </p:spPr>
        <p:txBody>
          <a:bodyPr wrap="square" lIns="0" tIns="0" rIns="0" bIns="0" rtlCol="0" anchor="t">
            <a:spAutoFit/>
          </a:bodyPr>
          <a:lstStyle/>
          <a:p>
            <a:pPr>
              <a:lnSpc>
                <a:spcPct val="130000"/>
              </a:lnSpc>
            </a:pPr>
            <a:r>
              <a:rPr lang="en-US" altLang="zh-CN" sz="1000" b="0" dirty="0">
                <a:solidFill>
                  <a:schemeClr val="tx1">
                    <a:lumMod val="75000"/>
                    <a:lumOff val="25000"/>
                  </a:schemeClr>
                </a:solidFill>
                <a:effectLst/>
                <a:latin typeface="+mn-ea"/>
              </a:rPr>
              <a:t>Lorem ipsum dolor sit amet, consectetur adipisicing elit, sed do eiusmod tempor</a:t>
            </a:r>
            <a:endParaRPr lang="zh-CN" altLang="en-US" sz="1000" b="0" dirty="0">
              <a:solidFill>
                <a:schemeClr val="tx1">
                  <a:lumMod val="75000"/>
                  <a:lumOff val="25000"/>
                </a:schemeClr>
              </a:solidFill>
              <a:effectLst/>
              <a:latin typeface="+mn-ea"/>
            </a:endParaRPr>
          </a:p>
        </p:txBody>
      </p:sp>
      <p:sp>
        <p:nvSpPr>
          <p:cNvPr id="34" name="文本框 33">
            <a:extLst>
              <a:ext uri="{FF2B5EF4-FFF2-40B4-BE49-F238E27FC236}">
                <a16:creationId xmlns:a16="http://schemas.microsoft.com/office/drawing/2014/main" id="{090D9DD0-686B-4096-89BA-56FF798F0595}"/>
              </a:ext>
            </a:extLst>
          </p:cNvPr>
          <p:cNvSpPr txBox="1"/>
          <p:nvPr/>
        </p:nvSpPr>
        <p:spPr>
          <a:xfrm>
            <a:off x="7814412" y="2261578"/>
            <a:ext cx="1282402" cy="307777"/>
          </a:xfrm>
          <a:prstGeom prst="rect">
            <a:avLst/>
          </a:prstGeom>
          <a:noFill/>
        </p:spPr>
        <p:txBody>
          <a:bodyPr wrap="none" lIns="0" tIns="0" rIns="0" bIns="0" rtlCol="0" anchor="t">
            <a:spAutoFit/>
          </a:bodyPr>
          <a:lstStyle/>
          <a:p>
            <a:r>
              <a:rPr lang="zh-CN" altLang="en-US" sz="2000" dirty="0">
                <a:solidFill>
                  <a:schemeClr val="accent1"/>
                </a:solidFill>
                <a:latin typeface="+mj-ea"/>
                <a:ea typeface="+mj-ea"/>
              </a:rPr>
              <a:t>关键词标题</a:t>
            </a:r>
          </a:p>
        </p:txBody>
      </p:sp>
      <p:sp>
        <p:nvSpPr>
          <p:cNvPr id="35" name="文本框 34">
            <a:extLst>
              <a:ext uri="{FF2B5EF4-FFF2-40B4-BE49-F238E27FC236}">
                <a16:creationId xmlns:a16="http://schemas.microsoft.com/office/drawing/2014/main" id="{9F46934C-131D-4AB7-9B39-7F22554E60B7}"/>
              </a:ext>
            </a:extLst>
          </p:cNvPr>
          <p:cNvSpPr txBox="1"/>
          <p:nvPr/>
        </p:nvSpPr>
        <p:spPr>
          <a:xfrm>
            <a:off x="7814412" y="2631023"/>
            <a:ext cx="3597847" cy="387286"/>
          </a:xfrm>
          <a:prstGeom prst="rect">
            <a:avLst/>
          </a:prstGeom>
          <a:noFill/>
        </p:spPr>
        <p:txBody>
          <a:bodyPr wrap="square" lIns="0" tIns="0" rIns="0" bIns="0" rtlCol="0" anchor="t">
            <a:spAutoFit/>
          </a:bodyPr>
          <a:lstStyle/>
          <a:p>
            <a:pPr>
              <a:lnSpc>
                <a:spcPct val="130000"/>
              </a:lnSpc>
            </a:pPr>
            <a:r>
              <a:rPr lang="en-US" altLang="zh-CN" sz="1000" b="0" dirty="0">
                <a:solidFill>
                  <a:schemeClr val="tx1">
                    <a:lumMod val="75000"/>
                    <a:lumOff val="25000"/>
                  </a:schemeClr>
                </a:solidFill>
                <a:effectLst/>
                <a:latin typeface="+mn-ea"/>
              </a:rPr>
              <a:t>Lorem ipsum dolor sit amet, consectetur adipisicing elit, sed do eiusmod tempor</a:t>
            </a:r>
            <a:endParaRPr lang="zh-CN" altLang="en-US" sz="1000" b="0" dirty="0">
              <a:solidFill>
                <a:schemeClr val="tx1">
                  <a:lumMod val="75000"/>
                  <a:lumOff val="25000"/>
                </a:schemeClr>
              </a:solidFill>
              <a:effectLst/>
              <a:latin typeface="+mn-ea"/>
            </a:endParaRPr>
          </a:p>
        </p:txBody>
      </p:sp>
      <p:sp>
        <p:nvSpPr>
          <p:cNvPr id="36" name="椭圆 35">
            <a:extLst>
              <a:ext uri="{FF2B5EF4-FFF2-40B4-BE49-F238E27FC236}">
                <a16:creationId xmlns:a16="http://schemas.microsoft.com/office/drawing/2014/main" id="{A4007BC7-383E-4B59-93A2-E24CBF48A249}"/>
              </a:ext>
            </a:extLst>
          </p:cNvPr>
          <p:cNvSpPr/>
          <p:nvPr/>
        </p:nvSpPr>
        <p:spPr>
          <a:xfrm>
            <a:off x="5422221" y="2733709"/>
            <a:ext cx="1373806" cy="137380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37" name="user_209046">
            <a:extLst>
              <a:ext uri="{FF2B5EF4-FFF2-40B4-BE49-F238E27FC236}">
                <a16:creationId xmlns:a16="http://schemas.microsoft.com/office/drawing/2014/main" id="{EF5746D2-2ED1-4A1C-A876-05B09FAC13DB}"/>
              </a:ext>
            </a:extLst>
          </p:cNvPr>
          <p:cNvSpPr/>
          <p:nvPr/>
        </p:nvSpPr>
        <p:spPr>
          <a:xfrm>
            <a:off x="5845402" y="2970662"/>
            <a:ext cx="527444" cy="475626"/>
          </a:xfrm>
          <a:custGeom>
            <a:avLst/>
            <a:gdLst>
              <a:gd name="connsiteX0" fmla="*/ 521432 w 608344"/>
              <a:gd name="connsiteY0" fmla="*/ 370453 h 548582"/>
              <a:gd name="connsiteX1" fmla="*/ 465737 w 608344"/>
              <a:gd name="connsiteY1" fmla="*/ 425787 h 548582"/>
              <a:gd name="connsiteX2" fmla="*/ 442491 w 608344"/>
              <a:gd name="connsiteY2" fmla="*/ 402479 h 548582"/>
              <a:gd name="connsiteX3" fmla="*/ 418201 w 608344"/>
              <a:gd name="connsiteY3" fmla="*/ 426545 h 548582"/>
              <a:gd name="connsiteX4" fmla="*/ 441447 w 608344"/>
              <a:gd name="connsiteY4" fmla="*/ 449948 h 548582"/>
              <a:gd name="connsiteX5" fmla="*/ 465642 w 608344"/>
              <a:gd name="connsiteY5" fmla="*/ 474204 h 548582"/>
              <a:gd name="connsiteX6" fmla="*/ 489932 w 608344"/>
              <a:gd name="connsiteY6" fmla="*/ 450043 h 548582"/>
              <a:gd name="connsiteX7" fmla="*/ 545532 w 608344"/>
              <a:gd name="connsiteY7" fmla="*/ 394709 h 548582"/>
              <a:gd name="connsiteX8" fmla="*/ 481962 w 608344"/>
              <a:gd name="connsiteY8" fmla="*/ 296170 h 548582"/>
              <a:gd name="connsiteX9" fmla="*/ 608344 w 608344"/>
              <a:gd name="connsiteY9" fmla="*/ 422376 h 548582"/>
              <a:gd name="connsiteX10" fmla="*/ 481962 w 608344"/>
              <a:gd name="connsiteY10" fmla="*/ 548582 h 548582"/>
              <a:gd name="connsiteX11" fmla="*/ 355579 w 608344"/>
              <a:gd name="connsiteY11" fmla="*/ 422376 h 548582"/>
              <a:gd name="connsiteX12" fmla="*/ 481962 w 608344"/>
              <a:gd name="connsiteY12" fmla="*/ 296170 h 548582"/>
              <a:gd name="connsiteX13" fmla="*/ 255835 w 608344"/>
              <a:gd name="connsiteY13" fmla="*/ 446 h 548582"/>
              <a:gd name="connsiteX14" fmla="*/ 317801 w 608344"/>
              <a:gd name="connsiteY14" fmla="*/ 13616 h 548582"/>
              <a:gd name="connsiteX15" fmla="*/ 348072 w 608344"/>
              <a:gd name="connsiteY15" fmla="*/ 41661 h 548582"/>
              <a:gd name="connsiteX16" fmla="*/ 381190 w 608344"/>
              <a:gd name="connsiteY16" fmla="*/ 146831 h 548582"/>
              <a:gd name="connsiteX17" fmla="*/ 378913 w 608344"/>
              <a:gd name="connsiteY17" fmla="*/ 156211 h 548582"/>
              <a:gd name="connsiteX18" fmla="*/ 387833 w 608344"/>
              <a:gd name="connsiteY18" fmla="*/ 200458 h 548582"/>
              <a:gd name="connsiteX19" fmla="*/ 366387 w 608344"/>
              <a:gd name="connsiteY19" fmla="*/ 237694 h 548582"/>
              <a:gd name="connsiteX20" fmla="*/ 351393 w 608344"/>
              <a:gd name="connsiteY20" fmla="*/ 278720 h 548582"/>
              <a:gd name="connsiteX21" fmla="*/ 351393 w 608344"/>
              <a:gd name="connsiteY21" fmla="*/ 322873 h 548582"/>
              <a:gd name="connsiteX22" fmla="*/ 317611 w 608344"/>
              <a:gd name="connsiteY22" fmla="*/ 422358 h 548582"/>
              <a:gd name="connsiteX23" fmla="*/ 376635 w 608344"/>
              <a:gd name="connsiteY23" fmla="*/ 548088 h 548582"/>
              <a:gd name="connsiteX24" fmla="*/ 26855 w 608344"/>
              <a:gd name="connsiteY24" fmla="*/ 548088 h 548582"/>
              <a:gd name="connsiteX25" fmla="*/ 0 w 608344"/>
              <a:gd name="connsiteY25" fmla="*/ 521274 h 548582"/>
              <a:gd name="connsiteX26" fmla="*/ 0 w 608344"/>
              <a:gd name="connsiteY26" fmla="*/ 473806 h 548582"/>
              <a:gd name="connsiteX27" fmla="*/ 19453 w 608344"/>
              <a:gd name="connsiteY27" fmla="*/ 432969 h 548582"/>
              <a:gd name="connsiteX28" fmla="*/ 173751 w 608344"/>
              <a:gd name="connsiteY28" fmla="*/ 334242 h 548582"/>
              <a:gd name="connsiteX29" fmla="*/ 176408 w 608344"/>
              <a:gd name="connsiteY29" fmla="*/ 329884 h 548582"/>
              <a:gd name="connsiteX30" fmla="*/ 176408 w 608344"/>
              <a:gd name="connsiteY30" fmla="*/ 278720 h 548582"/>
              <a:gd name="connsiteX31" fmla="*/ 161320 w 608344"/>
              <a:gd name="connsiteY31" fmla="*/ 237694 h 548582"/>
              <a:gd name="connsiteX32" fmla="*/ 139969 w 608344"/>
              <a:gd name="connsiteY32" fmla="*/ 200458 h 548582"/>
              <a:gd name="connsiteX33" fmla="*/ 148320 w 608344"/>
              <a:gd name="connsiteY33" fmla="*/ 156211 h 548582"/>
              <a:gd name="connsiteX34" fmla="*/ 146042 w 608344"/>
              <a:gd name="connsiteY34" fmla="*/ 146736 h 548582"/>
              <a:gd name="connsiteX35" fmla="*/ 145758 w 608344"/>
              <a:gd name="connsiteY35" fmla="*/ 95099 h 548582"/>
              <a:gd name="connsiteX36" fmla="*/ 176029 w 608344"/>
              <a:gd name="connsiteY36" fmla="*/ 42135 h 548582"/>
              <a:gd name="connsiteX37" fmla="*/ 203928 w 608344"/>
              <a:gd name="connsiteY37" fmla="*/ 19017 h 548582"/>
              <a:gd name="connsiteX38" fmla="*/ 231162 w 608344"/>
              <a:gd name="connsiteY38" fmla="*/ 5089 h 548582"/>
              <a:gd name="connsiteX39" fmla="*/ 255835 w 608344"/>
              <a:gd name="connsiteY39" fmla="*/ 446 h 548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608344" h="548582">
                <a:moveTo>
                  <a:pt x="521432" y="370453"/>
                </a:moveTo>
                <a:lnTo>
                  <a:pt x="465737" y="425787"/>
                </a:lnTo>
                <a:lnTo>
                  <a:pt x="442491" y="402479"/>
                </a:lnTo>
                <a:lnTo>
                  <a:pt x="418201" y="426545"/>
                </a:lnTo>
                <a:lnTo>
                  <a:pt x="441447" y="449948"/>
                </a:lnTo>
                <a:lnTo>
                  <a:pt x="465642" y="474204"/>
                </a:lnTo>
                <a:lnTo>
                  <a:pt x="489932" y="450043"/>
                </a:lnTo>
                <a:lnTo>
                  <a:pt x="545532" y="394709"/>
                </a:lnTo>
                <a:close/>
                <a:moveTo>
                  <a:pt x="481962" y="296170"/>
                </a:moveTo>
                <a:cubicBezTo>
                  <a:pt x="551795" y="296170"/>
                  <a:pt x="608344" y="352641"/>
                  <a:pt x="608344" y="422376"/>
                </a:cubicBezTo>
                <a:cubicBezTo>
                  <a:pt x="608344" y="492111"/>
                  <a:pt x="551795" y="548582"/>
                  <a:pt x="481962" y="548582"/>
                </a:cubicBezTo>
                <a:cubicBezTo>
                  <a:pt x="412129" y="548582"/>
                  <a:pt x="355579" y="492111"/>
                  <a:pt x="355579" y="422376"/>
                </a:cubicBezTo>
                <a:cubicBezTo>
                  <a:pt x="355579" y="352641"/>
                  <a:pt x="412129" y="296170"/>
                  <a:pt x="481962" y="296170"/>
                </a:cubicBezTo>
                <a:close/>
                <a:moveTo>
                  <a:pt x="255835" y="446"/>
                </a:moveTo>
                <a:cubicBezTo>
                  <a:pt x="282785" y="-1828"/>
                  <a:pt x="303187" y="4899"/>
                  <a:pt x="317801" y="13616"/>
                </a:cubicBezTo>
                <a:cubicBezTo>
                  <a:pt x="339721" y="25744"/>
                  <a:pt x="348072" y="41661"/>
                  <a:pt x="348072" y="41661"/>
                </a:cubicBezTo>
                <a:cubicBezTo>
                  <a:pt x="348072" y="41661"/>
                  <a:pt x="398176" y="45167"/>
                  <a:pt x="381190" y="146831"/>
                </a:cubicBezTo>
                <a:cubicBezTo>
                  <a:pt x="380621" y="149863"/>
                  <a:pt x="379862" y="153085"/>
                  <a:pt x="378913" y="156211"/>
                </a:cubicBezTo>
                <a:cubicBezTo>
                  <a:pt x="388592" y="156211"/>
                  <a:pt x="398271" y="163507"/>
                  <a:pt x="387833" y="200458"/>
                </a:cubicBezTo>
                <a:cubicBezTo>
                  <a:pt x="379672" y="229262"/>
                  <a:pt x="372080" y="237221"/>
                  <a:pt x="366387" y="237694"/>
                </a:cubicBezTo>
                <a:cubicBezTo>
                  <a:pt x="364394" y="250675"/>
                  <a:pt x="359175" y="265076"/>
                  <a:pt x="351393" y="278720"/>
                </a:cubicBezTo>
                <a:lnTo>
                  <a:pt x="351393" y="322873"/>
                </a:lnTo>
                <a:cubicBezTo>
                  <a:pt x="330232" y="350539"/>
                  <a:pt x="317611" y="385027"/>
                  <a:pt x="317611" y="422358"/>
                </a:cubicBezTo>
                <a:cubicBezTo>
                  <a:pt x="317611" y="472764"/>
                  <a:pt x="340480" y="518053"/>
                  <a:pt x="376635" y="548088"/>
                </a:cubicBezTo>
                <a:lnTo>
                  <a:pt x="26855" y="548088"/>
                </a:lnTo>
                <a:cubicBezTo>
                  <a:pt x="12052" y="548088"/>
                  <a:pt x="0" y="536055"/>
                  <a:pt x="0" y="521274"/>
                </a:cubicBezTo>
                <a:lnTo>
                  <a:pt x="0" y="473806"/>
                </a:lnTo>
                <a:cubicBezTo>
                  <a:pt x="0" y="457983"/>
                  <a:pt x="7212" y="443013"/>
                  <a:pt x="19453" y="432969"/>
                </a:cubicBezTo>
                <a:cubicBezTo>
                  <a:pt x="86638" y="377921"/>
                  <a:pt x="159043" y="341443"/>
                  <a:pt x="173751" y="334242"/>
                </a:cubicBezTo>
                <a:cubicBezTo>
                  <a:pt x="175365" y="333484"/>
                  <a:pt x="176408" y="331779"/>
                  <a:pt x="176408" y="329884"/>
                </a:cubicBezTo>
                <a:lnTo>
                  <a:pt x="176408" y="278720"/>
                </a:lnTo>
                <a:cubicBezTo>
                  <a:pt x="168437" y="265076"/>
                  <a:pt x="163313" y="250675"/>
                  <a:pt x="161320" y="237694"/>
                </a:cubicBezTo>
                <a:cubicBezTo>
                  <a:pt x="155627" y="237221"/>
                  <a:pt x="148035" y="229072"/>
                  <a:pt x="139969" y="200458"/>
                </a:cubicBezTo>
                <a:cubicBezTo>
                  <a:pt x="129531" y="164170"/>
                  <a:pt x="138925" y="156496"/>
                  <a:pt x="148320" y="156211"/>
                </a:cubicBezTo>
                <a:cubicBezTo>
                  <a:pt x="147371" y="153085"/>
                  <a:pt x="146612" y="149863"/>
                  <a:pt x="146042" y="146736"/>
                </a:cubicBezTo>
                <a:cubicBezTo>
                  <a:pt x="142436" y="128450"/>
                  <a:pt x="141487" y="111396"/>
                  <a:pt x="145758" y="95099"/>
                </a:cubicBezTo>
                <a:cubicBezTo>
                  <a:pt x="150787" y="73212"/>
                  <a:pt x="162744" y="55684"/>
                  <a:pt x="176029" y="42135"/>
                </a:cubicBezTo>
                <a:cubicBezTo>
                  <a:pt x="184379" y="33134"/>
                  <a:pt x="193869" y="25459"/>
                  <a:pt x="203928" y="19017"/>
                </a:cubicBezTo>
                <a:cubicBezTo>
                  <a:pt x="212183" y="13332"/>
                  <a:pt x="221293" y="8405"/>
                  <a:pt x="231162" y="5089"/>
                </a:cubicBezTo>
                <a:cubicBezTo>
                  <a:pt x="238849" y="2625"/>
                  <a:pt x="247105" y="825"/>
                  <a:pt x="255835" y="446"/>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8" name="文本框 37">
            <a:extLst>
              <a:ext uri="{FF2B5EF4-FFF2-40B4-BE49-F238E27FC236}">
                <a16:creationId xmlns:a16="http://schemas.microsoft.com/office/drawing/2014/main" id="{C0A526AC-CC1D-42AD-84BF-142E15C60427}"/>
              </a:ext>
            </a:extLst>
          </p:cNvPr>
          <p:cNvSpPr txBox="1"/>
          <p:nvPr/>
        </p:nvSpPr>
        <p:spPr>
          <a:xfrm>
            <a:off x="5762318" y="3532023"/>
            <a:ext cx="693612" cy="276999"/>
          </a:xfrm>
          <a:prstGeom prst="rect">
            <a:avLst/>
          </a:prstGeom>
          <a:noFill/>
        </p:spPr>
        <p:txBody>
          <a:bodyPr wrap="square" lIns="0" tIns="0" rIns="0" bIns="0" rtlCol="0" anchor="t">
            <a:spAutoFit/>
          </a:bodyPr>
          <a:lstStyle/>
          <a:p>
            <a:pPr algn="ctr"/>
            <a:r>
              <a:rPr lang="zh-CN" altLang="en-US" dirty="0">
                <a:solidFill>
                  <a:schemeClr val="bg1"/>
                </a:solidFill>
                <a:latin typeface="+mj-ea"/>
                <a:ea typeface="+mj-ea"/>
              </a:rPr>
              <a:t>关键词</a:t>
            </a:r>
          </a:p>
        </p:txBody>
      </p:sp>
    </p:spTree>
    <p:custDataLst>
      <p:tags r:id="rId2"/>
    </p:custDataLst>
    <p:extLst>
      <p:ext uri="{BB962C8B-B14F-4D97-AF65-F5344CB8AC3E}">
        <p14:creationId xmlns:p14="http://schemas.microsoft.com/office/powerpoint/2010/main" val="3156736764"/>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3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任意形状 9">
            <a:extLst>
              <a:ext uri="{FF2B5EF4-FFF2-40B4-BE49-F238E27FC236}">
                <a16:creationId xmlns:a16="http://schemas.microsoft.com/office/drawing/2014/main" id="{E72DC63C-64B8-43C0-B593-E72FF9AABA54}"/>
              </a:ext>
            </a:extLst>
          </p:cNvPr>
          <p:cNvSpPr/>
          <p:nvPr/>
        </p:nvSpPr>
        <p:spPr>
          <a:xfrm>
            <a:off x="0" y="6457950"/>
            <a:ext cx="12192000" cy="400050"/>
          </a:xfrm>
          <a:custGeom>
            <a:avLst/>
            <a:gdLst>
              <a:gd name="connsiteX0" fmla="*/ 12192000 w 12192000"/>
              <a:gd name="connsiteY0" fmla="*/ 0 h 329410"/>
              <a:gd name="connsiteX1" fmla="*/ 12192000 w 12192000"/>
              <a:gd name="connsiteY1" fmla="*/ 329410 h 329410"/>
              <a:gd name="connsiteX2" fmla="*/ 0 w 12192000"/>
              <a:gd name="connsiteY2" fmla="*/ 329410 h 329410"/>
              <a:gd name="connsiteX3" fmla="*/ 0 w 12192000"/>
              <a:gd name="connsiteY3" fmla="*/ 29375 h 329410"/>
              <a:gd name="connsiteX4" fmla="*/ 577089 w 12192000"/>
              <a:gd name="connsiteY4" fmla="*/ 49593 h 329410"/>
              <a:gd name="connsiteX5" fmla="*/ 5704114 w 12192000"/>
              <a:gd name="connsiteY5" fmla="*/ 124873 h 329410"/>
              <a:gd name="connsiteX6" fmla="*/ 11982536 w 12192000"/>
              <a:gd name="connsiteY6" fmla="*/ 9255 h 329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329410">
                <a:moveTo>
                  <a:pt x="12192000" y="0"/>
                </a:moveTo>
                <a:lnTo>
                  <a:pt x="12192000" y="329410"/>
                </a:lnTo>
                <a:lnTo>
                  <a:pt x="0" y="329410"/>
                </a:lnTo>
                <a:lnTo>
                  <a:pt x="0" y="29375"/>
                </a:lnTo>
                <a:lnTo>
                  <a:pt x="577089" y="49593"/>
                </a:lnTo>
                <a:cubicBezTo>
                  <a:pt x="2152931" y="98068"/>
                  <a:pt x="3885480" y="124873"/>
                  <a:pt x="5704114" y="124873"/>
                </a:cubicBezTo>
                <a:cubicBezTo>
                  <a:pt x="7977407" y="124873"/>
                  <a:pt x="10116192" y="82990"/>
                  <a:pt x="11982536" y="9255"/>
                </a:cubicBezTo>
                <a:close/>
              </a:path>
            </a:pathLst>
          </a:custGeom>
          <a:solidFill>
            <a:schemeClr val="accent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zh-CN" altLang="en-US"/>
          </a:p>
        </p:txBody>
      </p:sp>
      <p:sp>
        <p:nvSpPr>
          <p:cNvPr id="82" name="任意多边形: 形状 81">
            <a:extLst>
              <a:ext uri="{FF2B5EF4-FFF2-40B4-BE49-F238E27FC236}">
                <a16:creationId xmlns:a16="http://schemas.microsoft.com/office/drawing/2014/main" id="{BA2B504E-374F-4680-8EEF-5D708D1F8DF7}"/>
              </a:ext>
            </a:extLst>
          </p:cNvPr>
          <p:cNvSpPr/>
          <p:nvPr/>
        </p:nvSpPr>
        <p:spPr>
          <a:xfrm>
            <a:off x="4454094" y="3752589"/>
            <a:ext cx="1618846" cy="1618846"/>
          </a:xfrm>
          <a:custGeom>
            <a:avLst/>
            <a:gdLst>
              <a:gd name="connsiteX0" fmla="*/ 0 w 2198385"/>
              <a:gd name="connsiteY0" fmla="*/ 0 h 2198385"/>
              <a:gd name="connsiteX1" fmla="*/ 747213 w 2198385"/>
              <a:gd name="connsiteY1" fmla="*/ 0 h 2198385"/>
              <a:gd name="connsiteX2" fmla="*/ 754625 w 2198385"/>
              <a:gd name="connsiteY2" fmla="*/ 146768 h 2198385"/>
              <a:gd name="connsiteX3" fmla="*/ 2051618 w 2198385"/>
              <a:gd name="connsiteY3" fmla="*/ 1443761 h 2198385"/>
              <a:gd name="connsiteX4" fmla="*/ 2198385 w 2198385"/>
              <a:gd name="connsiteY4" fmla="*/ 1451172 h 2198385"/>
              <a:gd name="connsiteX5" fmla="*/ 2198385 w 2198385"/>
              <a:gd name="connsiteY5" fmla="*/ 2198385 h 2198385"/>
              <a:gd name="connsiteX6" fmla="*/ 1975220 w 2198385"/>
              <a:gd name="connsiteY6" fmla="*/ 2187116 h 2198385"/>
              <a:gd name="connsiteX7" fmla="*/ 11270 w 2198385"/>
              <a:gd name="connsiteY7" fmla="*/ 223166 h 2198385"/>
              <a:gd name="connsiteX8" fmla="*/ 0 w 2198385"/>
              <a:gd name="connsiteY8" fmla="*/ 0 h 2198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98385" h="2198385">
                <a:moveTo>
                  <a:pt x="0" y="0"/>
                </a:moveTo>
                <a:lnTo>
                  <a:pt x="747213" y="0"/>
                </a:lnTo>
                <a:lnTo>
                  <a:pt x="754625" y="146768"/>
                </a:lnTo>
                <a:cubicBezTo>
                  <a:pt x="824075" y="830636"/>
                  <a:pt x="1367750" y="1374310"/>
                  <a:pt x="2051618" y="1443761"/>
                </a:cubicBezTo>
                <a:lnTo>
                  <a:pt x="2198385" y="1451172"/>
                </a:lnTo>
                <a:lnTo>
                  <a:pt x="2198385" y="2198385"/>
                </a:lnTo>
                <a:lnTo>
                  <a:pt x="1975220" y="2187116"/>
                </a:lnTo>
                <a:cubicBezTo>
                  <a:pt x="939684" y="2081952"/>
                  <a:pt x="116434" y="1258701"/>
                  <a:pt x="11270" y="223166"/>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l"/>
            <a:endParaRPr lang="zh-CN" altLang="en-US" sz="1600">
              <a:solidFill>
                <a:schemeClr val="bg1"/>
              </a:solidFill>
              <a:latin typeface="+mj-ea"/>
              <a:ea typeface="+mj-ea"/>
            </a:endParaRPr>
          </a:p>
        </p:txBody>
      </p:sp>
      <p:sp>
        <p:nvSpPr>
          <p:cNvPr id="81" name="任意多边形: 形状 80">
            <a:extLst>
              <a:ext uri="{FF2B5EF4-FFF2-40B4-BE49-F238E27FC236}">
                <a16:creationId xmlns:a16="http://schemas.microsoft.com/office/drawing/2014/main" id="{21268433-9B7A-4949-833F-33432A0137E9}"/>
              </a:ext>
            </a:extLst>
          </p:cNvPr>
          <p:cNvSpPr/>
          <p:nvPr/>
        </p:nvSpPr>
        <p:spPr>
          <a:xfrm>
            <a:off x="4454094" y="2138109"/>
            <a:ext cx="1618845" cy="1618844"/>
          </a:xfrm>
          <a:custGeom>
            <a:avLst/>
            <a:gdLst>
              <a:gd name="connsiteX0" fmla="*/ 0 w 2198384"/>
              <a:gd name="connsiteY0" fmla="*/ 2198383 h 2198383"/>
              <a:gd name="connsiteX1" fmla="*/ 11269 w 2198384"/>
              <a:gd name="connsiteY1" fmla="*/ 1975219 h 2198383"/>
              <a:gd name="connsiteX2" fmla="*/ 1975219 w 2198384"/>
              <a:gd name="connsiteY2" fmla="*/ 11269 h 2198383"/>
              <a:gd name="connsiteX3" fmla="*/ 2198384 w 2198384"/>
              <a:gd name="connsiteY3" fmla="*/ 0 h 2198383"/>
              <a:gd name="connsiteX4" fmla="*/ 2198384 w 2198384"/>
              <a:gd name="connsiteY4" fmla="*/ 747213 h 2198383"/>
              <a:gd name="connsiteX5" fmla="*/ 2051617 w 2198384"/>
              <a:gd name="connsiteY5" fmla="*/ 754624 h 2198383"/>
              <a:gd name="connsiteX6" fmla="*/ 754624 w 2198384"/>
              <a:gd name="connsiteY6" fmla="*/ 2051617 h 2198383"/>
              <a:gd name="connsiteX7" fmla="*/ 747213 w 2198384"/>
              <a:gd name="connsiteY7" fmla="*/ 2198383 h 2198383"/>
              <a:gd name="connsiteX8" fmla="*/ 0 w 2198384"/>
              <a:gd name="connsiteY8" fmla="*/ 2198383 h 21983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98384" h="2198383">
                <a:moveTo>
                  <a:pt x="0" y="2198383"/>
                </a:moveTo>
                <a:lnTo>
                  <a:pt x="11269" y="1975219"/>
                </a:lnTo>
                <a:cubicBezTo>
                  <a:pt x="116433" y="939684"/>
                  <a:pt x="939683" y="116433"/>
                  <a:pt x="1975219" y="11269"/>
                </a:cubicBezTo>
                <a:lnTo>
                  <a:pt x="2198384" y="0"/>
                </a:lnTo>
                <a:lnTo>
                  <a:pt x="2198384" y="747213"/>
                </a:lnTo>
                <a:lnTo>
                  <a:pt x="2051617" y="754624"/>
                </a:lnTo>
                <a:cubicBezTo>
                  <a:pt x="1367749" y="824075"/>
                  <a:pt x="824074" y="1367749"/>
                  <a:pt x="754624" y="2051617"/>
                </a:cubicBezTo>
                <a:lnTo>
                  <a:pt x="747213" y="2198383"/>
                </a:lnTo>
                <a:lnTo>
                  <a:pt x="0" y="2198383"/>
                </a:lnTo>
                <a:close/>
              </a:path>
            </a:pathLst>
          </a:cu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l"/>
            <a:endParaRPr lang="zh-CN" altLang="en-US" sz="1600">
              <a:solidFill>
                <a:schemeClr val="bg1"/>
              </a:solidFill>
              <a:latin typeface="+mj-ea"/>
              <a:ea typeface="+mj-ea"/>
            </a:endParaRPr>
          </a:p>
        </p:txBody>
      </p:sp>
      <p:sp>
        <p:nvSpPr>
          <p:cNvPr id="75" name="任意多边形: 形状 74">
            <a:extLst>
              <a:ext uri="{FF2B5EF4-FFF2-40B4-BE49-F238E27FC236}">
                <a16:creationId xmlns:a16="http://schemas.microsoft.com/office/drawing/2014/main" id="{20AD75A5-BEC8-4ED4-B583-8F7DE7FEF3A0}"/>
              </a:ext>
            </a:extLst>
          </p:cNvPr>
          <p:cNvSpPr/>
          <p:nvPr/>
        </p:nvSpPr>
        <p:spPr>
          <a:xfrm>
            <a:off x="6075591" y="3752590"/>
            <a:ext cx="1618845" cy="1618846"/>
          </a:xfrm>
          <a:custGeom>
            <a:avLst/>
            <a:gdLst>
              <a:gd name="connsiteX0" fmla="*/ 0 w 2198384"/>
              <a:gd name="connsiteY0" fmla="*/ 2198385 h 2198385"/>
              <a:gd name="connsiteX1" fmla="*/ 0 w 2198384"/>
              <a:gd name="connsiteY1" fmla="*/ 1451172 h 2198385"/>
              <a:gd name="connsiteX2" fmla="*/ 146767 w 2198384"/>
              <a:gd name="connsiteY2" fmla="*/ 1443761 h 2198385"/>
              <a:gd name="connsiteX3" fmla="*/ 1443760 w 2198384"/>
              <a:gd name="connsiteY3" fmla="*/ 146768 h 2198385"/>
              <a:gd name="connsiteX4" fmla="*/ 1451171 w 2198384"/>
              <a:gd name="connsiteY4" fmla="*/ 0 h 2198385"/>
              <a:gd name="connsiteX5" fmla="*/ 2198384 w 2198384"/>
              <a:gd name="connsiteY5" fmla="*/ 0 h 2198385"/>
              <a:gd name="connsiteX6" fmla="*/ 2187115 w 2198384"/>
              <a:gd name="connsiteY6" fmla="*/ 223166 h 2198385"/>
              <a:gd name="connsiteX7" fmla="*/ 223165 w 2198384"/>
              <a:gd name="connsiteY7" fmla="*/ 2187116 h 2198385"/>
              <a:gd name="connsiteX8" fmla="*/ 0 w 2198384"/>
              <a:gd name="connsiteY8" fmla="*/ 2198385 h 2198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98384" h="2198385">
                <a:moveTo>
                  <a:pt x="0" y="2198385"/>
                </a:moveTo>
                <a:lnTo>
                  <a:pt x="0" y="1451172"/>
                </a:lnTo>
                <a:lnTo>
                  <a:pt x="146767" y="1443761"/>
                </a:lnTo>
                <a:cubicBezTo>
                  <a:pt x="830635" y="1374310"/>
                  <a:pt x="1374309" y="830636"/>
                  <a:pt x="1443760" y="146768"/>
                </a:cubicBezTo>
                <a:lnTo>
                  <a:pt x="1451171" y="0"/>
                </a:lnTo>
                <a:lnTo>
                  <a:pt x="2198384" y="0"/>
                </a:lnTo>
                <a:lnTo>
                  <a:pt x="2187115" y="223166"/>
                </a:lnTo>
                <a:cubicBezTo>
                  <a:pt x="2081951" y="1258701"/>
                  <a:pt x="1258700" y="2081952"/>
                  <a:pt x="223165" y="2187116"/>
                </a:cubicBezTo>
                <a:lnTo>
                  <a:pt x="0" y="2198385"/>
                </a:lnTo>
                <a:close/>
              </a:path>
            </a:pathLst>
          </a:cu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l"/>
            <a:endParaRPr lang="zh-CN" altLang="en-US" sz="1600">
              <a:solidFill>
                <a:schemeClr val="bg1"/>
              </a:solidFill>
              <a:latin typeface="+mj-ea"/>
              <a:ea typeface="+mj-ea"/>
            </a:endParaRPr>
          </a:p>
        </p:txBody>
      </p:sp>
      <p:sp>
        <p:nvSpPr>
          <p:cNvPr id="73" name="任意多边形: 形状 72">
            <a:extLst>
              <a:ext uri="{FF2B5EF4-FFF2-40B4-BE49-F238E27FC236}">
                <a16:creationId xmlns:a16="http://schemas.microsoft.com/office/drawing/2014/main" id="{FE393164-2586-4BE1-93A7-11197605BA7C}"/>
              </a:ext>
            </a:extLst>
          </p:cNvPr>
          <p:cNvSpPr/>
          <p:nvPr/>
        </p:nvSpPr>
        <p:spPr>
          <a:xfrm>
            <a:off x="6075591" y="2138109"/>
            <a:ext cx="1618845" cy="1618844"/>
          </a:xfrm>
          <a:custGeom>
            <a:avLst/>
            <a:gdLst>
              <a:gd name="connsiteX0" fmla="*/ 0 w 2198384"/>
              <a:gd name="connsiteY0" fmla="*/ 747213 h 2198383"/>
              <a:gd name="connsiteX1" fmla="*/ 0 w 2198384"/>
              <a:gd name="connsiteY1" fmla="*/ 0 h 2198383"/>
              <a:gd name="connsiteX2" fmla="*/ 223165 w 2198384"/>
              <a:gd name="connsiteY2" fmla="*/ 11269 h 2198383"/>
              <a:gd name="connsiteX3" fmla="*/ 2187115 w 2198384"/>
              <a:gd name="connsiteY3" fmla="*/ 1975219 h 2198383"/>
              <a:gd name="connsiteX4" fmla="*/ 2198384 w 2198384"/>
              <a:gd name="connsiteY4" fmla="*/ 2198383 h 2198383"/>
              <a:gd name="connsiteX5" fmla="*/ 1451171 w 2198384"/>
              <a:gd name="connsiteY5" fmla="*/ 2198383 h 2198383"/>
              <a:gd name="connsiteX6" fmla="*/ 1443760 w 2198384"/>
              <a:gd name="connsiteY6" fmla="*/ 2051617 h 2198383"/>
              <a:gd name="connsiteX7" fmla="*/ 146767 w 2198384"/>
              <a:gd name="connsiteY7" fmla="*/ 754624 h 2198383"/>
              <a:gd name="connsiteX8" fmla="*/ 0 w 2198384"/>
              <a:gd name="connsiteY8" fmla="*/ 747213 h 21983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98384" h="2198383">
                <a:moveTo>
                  <a:pt x="0" y="747213"/>
                </a:moveTo>
                <a:lnTo>
                  <a:pt x="0" y="0"/>
                </a:lnTo>
                <a:lnTo>
                  <a:pt x="223165" y="11269"/>
                </a:lnTo>
                <a:cubicBezTo>
                  <a:pt x="1258700" y="116433"/>
                  <a:pt x="2081951" y="939684"/>
                  <a:pt x="2187115" y="1975219"/>
                </a:cubicBezTo>
                <a:lnTo>
                  <a:pt x="2198384" y="2198383"/>
                </a:lnTo>
                <a:lnTo>
                  <a:pt x="1451171" y="2198383"/>
                </a:lnTo>
                <a:lnTo>
                  <a:pt x="1443760" y="2051617"/>
                </a:lnTo>
                <a:cubicBezTo>
                  <a:pt x="1374309" y="1367749"/>
                  <a:pt x="830635" y="824075"/>
                  <a:pt x="146767" y="754624"/>
                </a:cubicBezTo>
                <a:lnTo>
                  <a:pt x="0" y="74721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l"/>
            <a:endParaRPr lang="zh-CN" altLang="en-US" sz="1600">
              <a:solidFill>
                <a:schemeClr val="bg1"/>
              </a:solidFill>
              <a:latin typeface="+mj-ea"/>
              <a:ea typeface="+mj-ea"/>
            </a:endParaRPr>
          </a:p>
        </p:txBody>
      </p:sp>
      <p:sp>
        <p:nvSpPr>
          <p:cNvPr id="106" name="user_209046">
            <a:extLst>
              <a:ext uri="{FF2B5EF4-FFF2-40B4-BE49-F238E27FC236}">
                <a16:creationId xmlns:a16="http://schemas.microsoft.com/office/drawing/2014/main" id="{422DAAB6-D559-4772-B4F5-86ADB8BF9F83}"/>
              </a:ext>
            </a:extLst>
          </p:cNvPr>
          <p:cNvSpPr/>
          <p:nvPr/>
        </p:nvSpPr>
        <p:spPr>
          <a:xfrm>
            <a:off x="5623939" y="3109887"/>
            <a:ext cx="898000" cy="809778"/>
          </a:xfrm>
          <a:custGeom>
            <a:avLst/>
            <a:gdLst>
              <a:gd name="connsiteX0" fmla="*/ 521432 w 608344"/>
              <a:gd name="connsiteY0" fmla="*/ 370453 h 548582"/>
              <a:gd name="connsiteX1" fmla="*/ 465737 w 608344"/>
              <a:gd name="connsiteY1" fmla="*/ 425787 h 548582"/>
              <a:gd name="connsiteX2" fmla="*/ 442491 w 608344"/>
              <a:gd name="connsiteY2" fmla="*/ 402479 h 548582"/>
              <a:gd name="connsiteX3" fmla="*/ 418201 w 608344"/>
              <a:gd name="connsiteY3" fmla="*/ 426545 h 548582"/>
              <a:gd name="connsiteX4" fmla="*/ 441447 w 608344"/>
              <a:gd name="connsiteY4" fmla="*/ 449948 h 548582"/>
              <a:gd name="connsiteX5" fmla="*/ 465642 w 608344"/>
              <a:gd name="connsiteY5" fmla="*/ 474204 h 548582"/>
              <a:gd name="connsiteX6" fmla="*/ 489932 w 608344"/>
              <a:gd name="connsiteY6" fmla="*/ 450043 h 548582"/>
              <a:gd name="connsiteX7" fmla="*/ 545532 w 608344"/>
              <a:gd name="connsiteY7" fmla="*/ 394709 h 548582"/>
              <a:gd name="connsiteX8" fmla="*/ 481962 w 608344"/>
              <a:gd name="connsiteY8" fmla="*/ 296170 h 548582"/>
              <a:gd name="connsiteX9" fmla="*/ 608344 w 608344"/>
              <a:gd name="connsiteY9" fmla="*/ 422376 h 548582"/>
              <a:gd name="connsiteX10" fmla="*/ 481962 w 608344"/>
              <a:gd name="connsiteY10" fmla="*/ 548582 h 548582"/>
              <a:gd name="connsiteX11" fmla="*/ 355579 w 608344"/>
              <a:gd name="connsiteY11" fmla="*/ 422376 h 548582"/>
              <a:gd name="connsiteX12" fmla="*/ 481962 w 608344"/>
              <a:gd name="connsiteY12" fmla="*/ 296170 h 548582"/>
              <a:gd name="connsiteX13" fmla="*/ 255835 w 608344"/>
              <a:gd name="connsiteY13" fmla="*/ 446 h 548582"/>
              <a:gd name="connsiteX14" fmla="*/ 317801 w 608344"/>
              <a:gd name="connsiteY14" fmla="*/ 13616 h 548582"/>
              <a:gd name="connsiteX15" fmla="*/ 348072 w 608344"/>
              <a:gd name="connsiteY15" fmla="*/ 41661 h 548582"/>
              <a:gd name="connsiteX16" fmla="*/ 381190 w 608344"/>
              <a:gd name="connsiteY16" fmla="*/ 146831 h 548582"/>
              <a:gd name="connsiteX17" fmla="*/ 378913 w 608344"/>
              <a:gd name="connsiteY17" fmla="*/ 156211 h 548582"/>
              <a:gd name="connsiteX18" fmla="*/ 387833 w 608344"/>
              <a:gd name="connsiteY18" fmla="*/ 200458 h 548582"/>
              <a:gd name="connsiteX19" fmla="*/ 366387 w 608344"/>
              <a:gd name="connsiteY19" fmla="*/ 237694 h 548582"/>
              <a:gd name="connsiteX20" fmla="*/ 351393 w 608344"/>
              <a:gd name="connsiteY20" fmla="*/ 278720 h 548582"/>
              <a:gd name="connsiteX21" fmla="*/ 351393 w 608344"/>
              <a:gd name="connsiteY21" fmla="*/ 322873 h 548582"/>
              <a:gd name="connsiteX22" fmla="*/ 317611 w 608344"/>
              <a:gd name="connsiteY22" fmla="*/ 422358 h 548582"/>
              <a:gd name="connsiteX23" fmla="*/ 376635 w 608344"/>
              <a:gd name="connsiteY23" fmla="*/ 548088 h 548582"/>
              <a:gd name="connsiteX24" fmla="*/ 26855 w 608344"/>
              <a:gd name="connsiteY24" fmla="*/ 548088 h 548582"/>
              <a:gd name="connsiteX25" fmla="*/ 0 w 608344"/>
              <a:gd name="connsiteY25" fmla="*/ 521274 h 548582"/>
              <a:gd name="connsiteX26" fmla="*/ 0 w 608344"/>
              <a:gd name="connsiteY26" fmla="*/ 473806 h 548582"/>
              <a:gd name="connsiteX27" fmla="*/ 19453 w 608344"/>
              <a:gd name="connsiteY27" fmla="*/ 432969 h 548582"/>
              <a:gd name="connsiteX28" fmla="*/ 173751 w 608344"/>
              <a:gd name="connsiteY28" fmla="*/ 334242 h 548582"/>
              <a:gd name="connsiteX29" fmla="*/ 176408 w 608344"/>
              <a:gd name="connsiteY29" fmla="*/ 329884 h 548582"/>
              <a:gd name="connsiteX30" fmla="*/ 176408 w 608344"/>
              <a:gd name="connsiteY30" fmla="*/ 278720 h 548582"/>
              <a:gd name="connsiteX31" fmla="*/ 161320 w 608344"/>
              <a:gd name="connsiteY31" fmla="*/ 237694 h 548582"/>
              <a:gd name="connsiteX32" fmla="*/ 139969 w 608344"/>
              <a:gd name="connsiteY32" fmla="*/ 200458 h 548582"/>
              <a:gd name="connsiteX33" fmla="*/ 148320 w 608344"/>
              <a:gd name="connsiteY33" fmla="*/ 156211 h 548582"/>
              <a:gd name="connsiteX34" fmla="*/ 146042 w 608344"/>
              <a:gd name="connsiteY34" fmla="*/ 146736 h 548582"/>
              <a:gd name="connsiteX35" fmla="*/ 145758 w 608344"/>
              <a:gd name="connsiteY35" fmla="*/ 95099 h 548582"/>
              <a:gd name="connsiteX36" fmla="*/ 176029 w 608344"/>
              <a:gd name="connsiteY36" fmla="*/ 42135 h 548582"/>
              <a:gd name="connsiteX37" fmla="*/ 203928 w 608344"/>
              <a:gd name="connsiteY37" fmla="*/ 19017 h 548582"/>
              <a:gd name="connsiteX38" fmla="*/ 231162 w 608344"/>
              <a:gd name="connsiteY38" fmla="*/ 5089 h 548582"/>
              <a:gd name="connsiteX39" fmla="*/ 255835 w 608344"/>
              <a:gd name="connsiteY39" fmla="*/ 446 h 548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608344" h="548582">
                <a:moveTo>
                  <a:pt x="521432" y="370453"/>
                </a:moveTo>
                <a:lnTo>
                  <a:pt x="465737" y="425787"/>
                </a:lnTo>
                <a:lnTo>
                  <a:pt x="442491" y="402479"/>
                </a:lnTo>
                <a:lnTo>
                  <a:pt x="418201" y="426545"/>
                </a:lnTo>
                <a:lnTo>
                  <a:pt x="441447" y="449948"/>
                </a:lnTo>
                <a:lnTo>
                  <a:pt x="465642" y="474204"/>
                </a:lnTo>
                <a:lnTo>
                  <a:pt x="489932" y="450043"/>
                </a:lnTo>
                <a:lnTo>
                  <a:pt x="545532" y="394709"/>
                </a:lnTo>
                <a:close/>
                <a:moveTo>
                  <a:pt x="481962" y="296170"/>
                </a:moveTo>
                <a:cubicBezTo>
                  <a:pt x="551795" y="296170"/>
                  <a:pt x="608344" y="352641"/>
                  <a:pt x="608344" y="422376"/>
                </a:cubicBezTo>
                <a:cubicBezTo>
                  <a:pt x="608344" y="492111"/>
                  <a:pt x="551795" y="548582"/>
                  <a:pt x="481962" y="548582"/>
                </a:cubicBezTo>
                <a:cubicBezTo>
                  <a:pt x="412129" y="548582"/>
                  <a:pt x="355579" y="492111"/>
                  <a:pt x="355579" y="422376"/>
                </a:cubicBezTo>
                <a:cubicBezTo>
                  <a:pt x="355579" y="352641"/>
                  <a:pt x="412129" y="296170"/>
                  <a:pt x="481962" y="296170"/>
                </a:cubicBezTo>
                <a:close/>
                <a:moveTo>
                  <a:pt x="255835" y="446"/>
                </a:moveTo>
                <a:cubicBezTo>
                  <a:pt x="282785" y="-1828"/>
                  <a:pt x="303187" y="4899"/>
                  <a:pt x="317801" y="13616"/>
                </a:cubicBezTo>
                <a:cubicBezTo>
                  <a:pt x="339721" y="25744"/>
                  <a:pt x="348072" y="41661"/>
                  <a:pt x="348072" y="41661"/>
                </a:cubicBezTo>
                <a:cubicBezTo>
                  <a:pt x="348072" y="41661"/>
                  <a:pt x="398176" y="45167"/>
                  <a:pt x="381190" y="146831"/>
                </a:cubicBezTo>
                <a:cubicBezTo>
                  <a:pt x="380621" y="149863"/>
                  <a:pt x="379862" y="153085"/>
                  <a:pt x="378913" y="156211"/>
                </a:cubicBezTo>
                <a:cubicBezTo>
                  <a:pt x="388592" y="156211"/>
                  <a:pt x="398271" y="163507"/>
                  <a:pt x="387833" y="200458"/>
                </a:cubicBezTo>
                <a:cubicBezTo>
                  <a:pt x="379672" y="229262"/>
                  <a:pt x="372080" y="237221"/>
                  <a:pt x="366387" y="237694"/>
                </a:cubicBezTo>
                <a:cubicBezTo>
                  <a:pt x="364394" y="250675"/>
                  <a:pt x="359175" y="265076"/>
                  <a:pt x="351393" y="278720"/>
                </a:cubicBezTo>
                <a:lnTo>
                  <a:pt x="351393" y="322873"/>
                </a:lnTo>
                <a:cubicBezTo>
                  <a:pt x="330232" y="350539"/>
                  <a:pt x="317611" y="385027"/>
                  <a:pt x="317611" y="422358"/>
                </a:cubicBezTo>
                <a:cubicBezTo>
                  <a:pt x="317611" y="472764"/>
                  <a:pt x="340480" y="518053"/>
                  <a:pt x="376635" y="548088"/>
                </a:cubicBezTo>
                <a:lnTo>
                  <a:pt x="26855" y="548088"/>
                </a:lnTo>
                <a:cubicBezTo>
                  <a:pt x="12052" y="548088"/>
                  <a:pt x="0" y="536055"/>
                  <a:pt x="0" y="521274"/>
                </a:cubicBezTo>
                <a:lnTo>
                  <a:pt x="0" y="473806"/>
                </a:lnTo>
                <a:cubicBezTo>
                  <a:pt x="0" y="457983"/>
                  <a:pt x="7212" y="443013"/>
                  <a:pt x="19453" y="432969"/>
                </a:cubicBezTo>
                <a:cubicBezTo>
                  <a:pt x="86638" y="377921"/>
                  <a:pt x="159043" y="341443"/>
                  <a:pt x="173751" y="334242"/>
                </a:cubicBezTo>
                <a:cubicBezTo>
                  <a:pt x="175365" y="333484"/>
                  <a:pt x="176408" y="331779"/>
                  <a:pt x="176408" y="329884"/>
                </a:cubicBezTo>
                <a:lnTo>
                  <a:pt x="176408" y="278720"/>
                </a:lnTo>
                <a:cubicBezTo>
                  <a:pt x="168437" y="265076"/>
                  <a:pt x="163313" y="250675"/>
                  <a:pt x="161320" y="237694"/>
                </a:cubicBezTo>
                <a:cubicBezTo>
                  <a:pt x="155627" y="237221"/>
                  <a:pt x="148035" y="229072"/>
                  <a:pt x="139969" y="200458"/>
                </a:cubicBezTo>
                <a:cubicBezTo>
                  <a:pt x="129531" y="164170"/>
                  <a:pt x="138925" y="156496"/>
                  <a:pt x="148320" y="156211"/>
                </a:cubicBezTo>
                <a:cubicBezTo>
                  <a:pt x="147371" y="153085"/>
                  <a:pt x="146612" y="149863"/>
                  <a:pt x="146042" y="146736"/>
                </a:cubicBezTo>
                <a:cubicBezTo>
                  <a:pt x="142436" y="128450"/>
                  <a:pt x="141487" y="111396"/>
                  <a:pt x="145758" y="95099"/>
                </a:cubicBezTo>
                <a:cubicBezTo>
                  <a:pt x="150787" y="73212"/>
                  <a:pt x="162744" y="55684"/>
                  <a:pt x="176029" y="42135"/>
                </a:cubicBezTo>
                <a:cubicBezTo>
                  <a:pt x="184379" y="33134"/>
                  <a:pt x="193869" y="25459"/>
                  <a:pt x="203928" y="19017"/>
                </a:cubicBezTo>
                <a:cubicBezTo>
                  <a:pt x="212183" y="13332"/>
                  <a:pt x="221293" y="8405"/>
                  <a:pt x="231162" y="5089"/>
                </a:cubicBezTo>
                <a:cubicBezTo>
                  <a:pt x="238849" y="2625"/>
                  <a:pt x="247105" y="825"/>
                  <a:pt x="255835" y="446"/>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accent1"/>
              </a:solidFill>
            </a:endParaRPr>
          </a:p>
        </p:txBody>
      </p:sp>
      <p:sp>
        <p:nvSpPr>
          <p:cNvPr id="107" name="文本框 106">
            <a:extLst>
              <a:ext uri="{FF2B5EF4-FFF2-40B4-BE49-F238E27FC236}">
                <a16:creationId xmlns:a16="http://schemas.microsoft.com/office/drawing/2014/main" id="{8CFCD37D-2D2D-40AF-A08F-68EF5523573A}"/>
              </a:ext>
            </a:extLst>
          </p:cNvPr>
          <p:cNvSpPr txBox="1"/>
          <p:nvPr/>
        </p:nvSpPr>
        <p:spPr>
          <a:xfrm>
            <a:off x="5528689" y="4047760"/>
            <a:ext cx="1088500" cy="369332"/>
          </a:xfrm>
          <a:prstGeom prst="rect">
            <a:avLst/>
          </a:prstGeom>
          <a:noFill/>
        </p:spPr>
        <p:txBody>
          <a:bodyPr wrap="square" lIns="0" tIns="0" rIns="0" bIns="0" rtlCol="0" anchor="t">
            <a:spAutoFit/>
          </a:bodyPr>
          <a:lstStyle/>
          <a:p>
            <a:pPr algn="ctr"/>
            <a:r>
              <a:rPr lang="zh-CN" altLang="en-US" sz="2400" dirty="0">
                <a:solidFill>
                  <a:schemeClr val="accent1"/>
                </a:solidFill>
                <a:latin typeface="+mj-ea"/>
                <a:ea typeface="+mj-ea"/>
              </a:rPr>
              <a:t>关键词</a:t>
            </a:r>
          </a:p>
        </p:txBody>
      </p:sp>
      <p:sp>
        <p:nvSpPr>
          <p:cNvPr id="20" name="任意多边形: 形状 19">
            <a:extLst>
              <a:ext uri="{FF2B5EF4-FFF2-40B4-BE49-F238E27FC236}">
                <a16:creationId xmlns:a16="http://schemas.microsoft.com/office/drawing/2014/main" id="{140EB8A8-B500-42A0-90E4-8EF1A8661D3F}"/>
              </a:ext>
            </a:extLst>
          </p:cNvPr>
          <p:cNvSpPr/>
          <p:nvPr/>
        </p:nvSpPr>
        <p:spPr>
          <a:xfrm>
            <a:off x="590775" y="2391118"/>
            <a:ext cx="4156628" cy="475332"/>
          </a:xfrm>
          <a:custGeom>
            <a:avLst/>
            <a:gdLst>
              <a:gd name="connsiteX0" fmla="*/ 3796146 w 3796146"/>
              <a:gd name="connsiteY0" fmla="*/ 526472 h 526472"/>
              <a:gd name="connsiteX1" fmla="*/ 3362037 w 3796146"/>
              <a:gd name="connsiteY1" fmla="*/ 92363 h 526472"/>
              <a:gd name="connsiteX2" fmla="*/ 0 w 3796146"/>
              <a:gd name="connsiteY2" fmla="*/ 92363 h 526472"/>
              <a:gd name="connsiteX3" fmla="*/ 0 w 3796146"/>
              <a:gd name="connsiteY3" fmla="*/ 0 h 526472"/>
              <a:gd name="connsiteX0" fmla="*/ 3796146 w 3796146"/>
              <a:gd name="connsiteY0" fmla="*/ 434109 h 434109"/>
              <a:gd name="connsiteX1" fmla="*/ 3362037 w 3796146"/>
              <a:gd name="connsiteY1" fmla="*/ 0 h 434109"/>
              <a:gd name="connsiteX2" fmla="*/ 0 w 3796146"/>
              <a:gd name="connsiteY2" fmla="*/ 0 h 434109"/>
            </a:gdLst>
            <a:ahLst/>
            <a:cxnLst>
              <a:cxn ang="0">
                <a:pos x="connsiteX0" y="connsiteY0"/>
              </a:cxn>
              <a:cxn ang="0">
                <a:pos x="connsiteX1" y="connsiteY1"/>
              </a:cxn>
              <a:cxn ang="0">
                <a:pos x="connsiteX2" y="connsiteY2"/>
              </a:cxn>
            </a:cxnLst>
            <a:rect l="l" t="t" r="r" b="b"/>
            <a:pathLst>
              <a:path w="3796146" h="434109">
                <a:moveTo>
                  <a:pt x="3796146" y="434109"/>
                </a:moveTo>
                <a:lnTo>
                  <a:pt x="3362037" y="0"/>
                </a:lnTo>
                <a:lnTo>
                  <a:pt x="0" y="0"/>
                </a:lnTo>
              </a:path>
            </a:pathLst>
          </a:custGeom>
          <a:noFill/>
          <a:ln w="158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111" name="椭圆 110">
            <a:extLst>
              <a:ext uri="{FF2B5EF4-FFF2-40B4-BE49-F238E27FC236}">
                <a16:creationId xmlns:a16="http://schemas.microsoft.com/office/drawing/2014/main" id="{C74445EA-822A-47CB-845C-7815225785CE}"/>
              </a:ext>
            </a:extLst>
          </p:cNvPr>
          <p:cNvSpPr/>
          <p:nvPr/>
        </p:nvSpPr>
        <p:spPr>
          <a:xfrm>
            <a:off x="545379" y="2317347"/>
            <a:ext cx="138545" cy="138545"/>
          </a:xfrm>
          <a:prstGeom prst="ellipse">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112" name="文本框 111">
            <a:extLst>
              <a:ext uri="{FF2B5EF4-FFF2-40B4-BE49-F238E27FC236}">
                <a16:creationId xmlns:a16="http://schemas.microsoft.com/office/drawing/2014/main" id="{2E7CFC59-1A7A-4011-957F-AB2AB0A168E3}"/>
              </a:ext>
            </a:extLst>
          </p:cNvPr>
          <p:cNvSpPr txBox="1"/>
          <p:nvPr/>
        </p:nvSpPr>
        <p:spPr>
          <a:xfrm>
            <a:off x="2986553" y="1528495"/>
            <a:ext cx="1282402" cy="307777"/>
          </a:xfrm>
          <a:prstGeom prst="rect">
            <a:avLst/>
          </a:prstGeom>
          <a:noFill/>
        </p:spPr>
        <p:txBody>
          <a:bodyPr wrap="none" lIns="0" tIns="0" rIns="0" bIns="0" rtlCol="0" anchor="t">
            <a:spAutoFit/>
          </a:bodyPr>
          <a:lstStyle/>
          <a:p>
            <a:pPr algn="r"/>
            <a:r>
              <a:rPr lang="zh-CN" altLang="en-US" sz="2000" dirty="0">
                <a:solidFill>
                  <a:schemeClr val="accent1"/>
                </a:solidFill>
                <a:latin typeface="+mj-ea"/>
                <a:ea typeface="+mj-ea"/>
              </a:rPr>
              <a:t>关键词标题</a:t>
            </a:r>
          </a:p>
        </p:txBody>
      </p:sp>
      <p:sp>
        <p:nvSpPr>
          <p:cNvPr id="113" name="文本框 112">
            <a:extLst>
              <a:ext uri="{FF2B5EF4-FFF2-40B4-BE49-F238E27FC236}">
                <a16:creationId xmlns:a16="http://schemas.microsoft.com/office/drawing/2014/main" id="{0B25BA37-1DF5-4FCF-B759-889F36AC9407}"/>
              </a:ext>
            </a:extLst>
          </p:cNvPr>
          <p:cNvSpPr txBox="1"/>
          <p:nvPr/>
        </p:nvSpPr>
        <p:spPr>
          <a:xfrm>
            <a:off x="660986" y="1897940"/>
            <a:ext cx="3607969" cy="387286"/>
          </a:xfrm>
          <a:prstGeom prst="rect">
            <a:avLst/>
          </a:prstGeom>
          <a:noFill/>
        </p:spPr>
        <p:txBody>
          <a:bodyPr wrap="square" lIns="0" tIns="0" rIns="0" bIns="0" rtlCol="0" anchor="t">
            <a:spAutoFit/>
          </a:bodyPr>
          <a:lstStyle/>
          <a:p>
            <a:pPr algn="r">
              <a:lnSpc>
                <a:spcPct val="130000"/>
              </a:lnSpc>
            </a:pPr>
            <a:r>
              <a:rPr lang="en-US" altLang="zh-CN" sz="1000" b="0" dirty="0">
                <a:solidFill>
                  <a:schemeClr val="tx1">
                    <a:lumMod val="75000"/>
                    <a:lumOff val="25000"/>
                  </a:schemeClr>
                </a:solidFill>
                <a:effectLst/>
                <a:latin typeface="+mn-ea"/>
              </a:rPr>
              <a:t>Lorem ipsum dolor sit amet, consectetur adipisicing elit, sed do eiusmod tempor</a:t>
            </a:r>
            <a:endParaRPr lang="zh-CN" altLang="en-US" sz="1000" b="0" dirty="0">
              <a:solidFill>
                <a:schemeClr val="tx1">
                  <a:lumMod val="75000"/>
                  <a:lumOff val="25000"/>
                </a:schemeClr>
              </a:solidFill>
              <a:effectLst/>
              <a:latin typeface="+mn-ea"/>
            </a:endParaRPr>
          </a:p>
        </p:txBody>
      </p:sp>
      <p:sp>
        <p:nvSpPr>
          <p:cNvPr id="114" name="文本框 113">
            <a:extLst>
              <a:ext uri="{FF2B5EF4-FFF2-40B4-BE49-F238E27FC236}">
                <a16:creationId xmlns:a16="http://schemas.microsoft.com/office/drawing/2014/main" id="{C0270738-8682-4A6C-B49F-3BA4D795D154}"/>
              </a:ext>
            </a:extLst>
          </p:cNvPr>
          <p:cNvSpPr txBox="1"/>
          <p:nvPr/>
        </p:nvSpPr>
        <p:spPr>
          <a:xfrm>
            <a:off x="2986553" y="4339514"/>
            <a:ext cx="1282402" cy="307777"/>
          </a:xfrm>
          <a:prstGeom prst="rect">
            <a:avLst/>
          </a:prstGeom>
          <a:noFill/>
        </p:spPr>
        <p:txBody>
          <a:bodyPr wrap="none" lIns="0" tIns="0" rIns="0" bIns="0" rtlCol="0" anchor="t">
            <a:spAutoFit/>
          </a:bodyPr>
          <a:lstStyle/>
          <a:p>
            <a:pPr algn="r"/>
            <a:r>
              <a:rPr lang="zh-CN" altLang="en-US" sz="2000" dirty="0">
                <a:solidFill>
                  <a:schemeClr val="accent1"/>
                </a:solidFill>
                <a:latin typeface="+mj-ea"/>
                <a:ea typeface="+mj-ea"/>
              </a:rPr>
              <a:t>关键词标题</a:t>
            </a:r>
          </a:p>
        </p:txBody>
      </p:sp>
      <p:sp>
        <p:nvSpPr>
          <p:cNvPr id="115" name="文本框 114">
            <a:extLst>
              <a:ext uri="{FF2B5EF4-FFF2-40B4-BE49-F238E27FC236}">
                <a16:creationId xmlns:a16="http://schemas.microsoft.com/office/drawing/2014/main" id="{23F3453C-B8A3-4F1B-ABC0-5A6EB5A07545}"/>
              </a:ext>
            </a:extLst>
          </p:cNvPr>
          <p:cNvSpPr txBox="1"/>
          <p:nvPr/>
        </p:nvSpPr>
        <p:spPr>
          <a:xfrm>
            <a:off x="660986" y="4708959"/>
            <a:ext cx="3607969" cy="387286"/>
          </a:xfrm>
          <a:prstGeom prst="rect">
            <a:avLst/>
          </a:prstGeom>
          <a:noFill/>
        </p:spPr>
        <p:txBody>
          <a:bodyPr wrap="square" lIns="0" tIns="0" rIns="0" bIns="0" rtlCol="0" anchor="t">
            <a:spAutoFit/>
          </a:bodyPr>
          <a:lstStyle/>
          <a:p>
            <a:pPr algn="r">
              <a:lnSpc>
                <a:spcPct val="130000"/>
              </a:lnSpc>
            </a:pPr>
            <a:r>
              <a:rPr lang="en-US" altLang="zh-CN" sz="1000" b="0" dirty="0">
                <a:solidFill>
                  <a:schemeClr val="tx1">
                    <a:lumMod val="75000"/>
                    <a:lumOff val="25000"/>
                  </a:schemeClr>
                </a:solidFill>
                <a:effectLst/>
                <a:latin typeface="+mn-ea"/>
              </a:rPr>
              <a:t>Lorem ipsum dolor sit amet, consectetur adipisicing elit, sed do eiusmod tempor</a:t>
            </a:r>
            <a:endParaRPr lang="zh-CN" altLang="en-US" sz="1000" b="0" dirty="0">
              <a:solidFill>
                <a:schemeClr val="tx1">
                  <a:lumMod val="75000"/>
                  <a:lumOff val="25000"/>
                </a:schemeClr>
              </a:solidFill>
              <a:effectLst/>
              <a:latin typeface="+mn-ea"/>
            </a:endParaRPr>
          </a:p>
        </p:txBody>
      </p:sp>
      <p:sp>
        <p:nvSpPr>
          <p:cNvPr id="116" name="任意多边形: 形状 115">
            <a:extLst>
              <a:ext uri="{FF2B5EF4-FFF2-40B4-BE49-F238E27FC236}">
                <a16:creationId xmlns:a16="http://schemas.microsoft.com/office/drawing/2014/main" id="{EAEBC766-B0A0-41B3-B293-F7C937704668}"/>
              </a:ext>
            </a:extLst>
          </p:cNvPr>
          <p:cNvSpPr/>
          <p:nvPr/>
        </p:nvSpPr>
        <p:spPr>
          <a:xfrm flipV="1">
            <a:off x="590775" y="4693346"/>
            <a:ext cx="4156628" cy="475332"/>
          </a:xfrm>
          <a:custGeom>
            <a:avLst/>
            <a:gdLst>
              <a:gd name="connsiteX0" fmla="*/ 3796146 w 3796146"/>
              <a:gd name="connsiteY0" fmla="*/ 526472 h 526472"/>
              <a:gd name="connsiteX1" fmla="*/ 3362037 w 3796146"/>
              <a:gd name="connsiteY1" fmla="*/ 92363 h 526472"/>
              <a:gd name="connsiteX2" fmla="*/ 0 w 3796146"/>
              <a:gd name="connsiteY2" fmla="*/ 92363 h 526472"/>
              <a:gd name="connsiteX3" fmla="*/ 0 w 3796146"/>
              <a:gd name="connsiteY3" fmla="*/ 0 h 526472"/>
              <a:gd name="connsiteX0" fmla="*/ 3796146 w 3796146"/>
              <a:gd name="connsiteY0" fmla="*/ 434109 h 434109"/>
              <a:gd name="connsiteX1" fmla="*/ 3362037 w 3796146"/>
              <a:gd name="connsiteY1" fmla="*/ 0 h 434109"/>
              <a:gd name="connsiteX2" fmla="*/ 0 w 3796146"/>
              <a:gd name="connsiteY2" fmla="*/ 0 h 434109"/>
            </a:gdLst>
            <a:ahLst/>
            <a:cxnLst>
              <a:cxn ang="0">
                <a:pos x="connsiteX0" y="connsiteY0"/>
              </a:cxn>
              <a:cxn ang="0">
                <a:pos x="connsiteX1" y="connsiteY1"/>
              </a:cxn>
              <a:cxn ang="0">
                <a:pos x="connsiteX2" y="connsiteY2"/>
              </a:cxn>
            </a:cxnLst>
            <a:rect l="l" t="t" r="r" b="b"/>
            <a:pathLst>
              <a:path w="3796146" h="434109">
                <a:moveTo>
                  <a:pt x="3796146" y="434109"/>
                </a:moveTo>
                <a:lnTo>
                  <a:pt x="3362037" y="0"/>
                </a:lnTo>
                <a:lnTo>
                  <a:pt x="0" y="0"/>
                </a:lnTo>
              </a:path>
            </a:pathLst>
          </a:custGeom>
          <a:noFill/>
          <a:ln w="158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117" name="椭圆 116">
            <a:extLst>
              <a:ext uri="{FF2B5EF4-FFF2-40B4-BE49-F238E27FC236}">
                <a16:creationId xmlns:a16="http://schemas.microsoft.com/office/drawing/2014/main" id="{F588D60D-A99F-495F-85E0-AE05E0F5B667}"/>
              </a:ext>
            </a:extLst>
          </p:cNvPr>
          <p:cNvSpPr/>
          <p:nvPr/>
        </p:nvSpPr>
        <p:spPr>
          <a:xfrm>
            <a:off x="545379" y="5098647"/>
            <a:ext cx="138545" cy="138545"/>
          </a:xfrm>
          <a:prstGeom prst="ellipse">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118" name="任意多边形: 形状 117">
            <a:extLst>
              <a:ext uri="{FF2B5EF4-FFF2-40B4-BE49-F238E27FC236}">
                <a16:creationId xmlns:a16="http://schemas.microsoft.com/office/drawing/2014/main" id="{BF4BB0F7-B962-4E60-8D74-B58758769623}"/>
              </a:ext>
            </a:extLst>
          </p:cNvPr>
          <p:cNvSpPr/>
          <p:nvPr/>
        </p:nvSpPr>
        <p:spPr>
          <a:xfrm flipH="1">
            <a:off x="7420722" y="2391118"/>
            <a:ext cx="4156628" cy="475332"/>
          </a:xfrm>
          <a:custGeom>
            <a:avLst/>
            <a:gdLst>
              <a:gd name="connsiteX0" fmla="*/ 3796146 w 3796146"/>
              <a:gd name="connsiteY0" fmla="*/ 526472 h 526472"/>
              <a:gd name="connsiteX1" fmla="*/ 3362037 w 3796146"/>
              <a:gd name="connsiteY1" fmla="*/ 92363 h 526472"/>
              <a:gd name="connsiteX2" fmla="*/ 0 w 3796146"/>
              <a:gd name="connsiteY2" fmla="*/ 92363 h 526472"/>
              <a:gd name="connsiteX3" fmla="*/ 0 w 3796146"/>
              <a:gd name="connsiteY3" fmla="*/ 0 h 526472"/>
              <a:gd name="connsiteX0" fmla="*/ 3796146 w 3796146"/>
              <a:gd name="connsiteY0" fmla="*/ 434109 h 434109"/>
              <a:gd name="connsiteX1" fmla="*/ 3362037 w 3796146"/>
              <a:gd name="connsiteY1" fmla="*/ 0 h 434109"/>
              <a:gd name="connsiteX2" fmla="*/ 0 w 3796146"/>
              <a:gd name="connsiteY2" fmla="*/ 0 h 434109"/>
            </a:gdLst>
            <a:ahLst/>
            <a:cxnLst>
              <a:cxn ang="0">
                <a:pos x="connsiteX0" y="connsiteY0"/>
              </a:cxn>
              <a:cxn ang="0">
                <a:pos x="connsiteX1" y="connsiteY1"/>
              </a:cxn>
              <a:cxn ang="0">
                <a:pos x="connsiteX2" y="connsiteY2"/>
              </a:cxn>
            </a:cxnLst>
            <a:rect l="l" t="t" r="r" b="b"/>
            <a:pathLst>
              <a:path w="3796146" h="434109">
                <a:moveTo>
                  <a:pt x="3796146" y="434109"/>
                </a:moveTo>
                <a:lnTo>
                  <a:pt x="3362037" y="0"/>
                </a:lnTo>
                <a:lnTo>
                  <a:pt x="0" y="0"/>
                </a:lnTo>
              </a:path>
            </a:pathLst>
          </a:custGeom>
          <a:noFill/>
          <a:ln w="158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119" name="文本框 118">
            <a:extLst>
              <a:ext uri="{FF2B5EF4-FFF2-40B4-BE49-F238E27FC236}">
                <a16:creationId xmlns:a16="http://schemas.microsoft.com/office/drawing/2014/main" id="{37ECC21F-D2BC-4E0C-9ABC-E8EDBE9D1537}"/>
              </a:ext>
            </a:extLst>
          </p:cNvPr>
          <p:cNvSpPr txBox="1"/>
          <p:nvPr/>
        </p:nvSpPr>
        <p:spPr>
          <a:xfrm>
            <a:off x="7887326" y="1528495"/>
            <a:ext cx="1282402" cy="307777"/>
          </a:xfrm>
          <a:prstGeom prst="rect">
            <a:avLst/>
          </a:prstGeom>
          <a:noFill/>
        </p:spPr>
        <p:txBody>
          <a:bodyPr wrap="none" lIns="0" tIns="0" rIns="0" bIns="0" rtlCol="0" anchor="t">
            <a:spAutoFit/>
          </a:bodyPr>
          <a:lstStyle/>
          <a:p>
            <a:r>
              <a:rPr lang="zh-CN" altLang="en-US" sz="2000" dirty="0">
                <a:solidFill>
                  <a:schemeClr val="accent1"/>
                </a:solidFill>
                <a:latin typeface="+mj-ea"/>
                <a:ea typeface="+mj-ea"/>
              </a:rPr>
              <a:t>关键词标题</a:t>
            </a:r>
          </a:p>
        </p:txBody>
      </p:sp>
      <p:sp>
        <p:nvSpPr>
          <p:cNvPr id="120" name="文本框 119">
            <a:extLst>
              <a:ext uri="{FF2B5EF4-FFF2-40B4-BE49-F238E27FC236}">
                <a16:creationId xmlns:a16="http://schemas.microsoft.com/office/drawing/2014/main" id="{49F8C373-A428-434E-8105-71DD8AAED3F9}"/>
              </a:ext>
            </a:extLst>
          </p:cNvPr>
          <p:cNvSpPr txBox="1"/>
          <p:nvPr/>
        </p:nvSpPr>
        <p:spPr>
          <a:xfrm>
            <a:off x="7887326" y="1897940"/>
            <a:ext cx="3607969" cy="387286"/>
          </a:xfrm>
          <a:prstGeom prst="rect">
            <a:avLst/>
          </a:prstGeom>
          <a:noFill/>
        </p:spPr>
        <p:txBody>
          <a:bodyPr wrap="square" lIns="0" tIns="0" rIns="0" bIns="0" rtlCol="0" anchor="t">
            <a:spAutoFit/>
          </a:bodyPr>
          <a:lstStyle/>
          <a:p>
            <a:pPr>
              <a:lnSpc>
                <a:spcPct val="130000"/>
              </a:lnSpc>
            </a:pPr>
            <a:r>
              <a:rPr lang="en-US" altLang="zh-CN" sz="1000" b="0" dirty="0">
                <a:solidFill>
                  <a:schemeClr val="tx1">
                    <a:lumMod val="75000"/>
                    <a:lumOff val="25000"/>
                  </a:schemeClr>
                </a:solidFill>
                <a:effectLst/>
                <a:latin typeface="+mn-ea"/>
              </a:rPr>
              <a:t>Lorem ipsum dolor sit amet, consectetur adipisicing elit, sed do eiusmod tempor</a:t>
            </a:r>
            <a:endParaRPr lang="zh-CN" altLang="en-US" sz="1000" b="0" dirty="0">
              <a:solidFill>
                <a:schemeClr val="tx1">
                  <a:lumMod val="75000"/>
                  <a:lumOff val="25000"/>
                </a:schemeClr>
              </a:solidFill>
              <a:effectLst/>
              <a:latin typeface="+mn-ea"/>
            </a:endParaRPr>
          </a:p>
        </p:txBody>
      </p:sp>
      <p:sp>
        <p:nvSpPr>
          <p:cNvPr id="121" name="文本框 120">
            <a:extLst>
              <a:ext uri="{FF2B5EF4-FFF2-40B4-BE49-F238E27FC236}">
                <a16:creationId xmlns:a16="http://schemas.microsoft.com/office/drawing/2014/main" id="{D8652201-2FAD-457F-B231-24B4FDEA902C}"/>
              </a:ext>
            </a:extLst>
          </p:cNvPr>
          <p:cNvSpPr txBox="1"/>
          <p:nvPr/>
        </p:nvSpPr>
        <p:spPr>
          <a:xfrm>
            <a:off x="7887326" y="4282391"/>
            <a:ext cx="1282402" cy="307777"/>
          </a:xfrm>
          <a:prstGeom prst="rect">
            <a:avLst/>
          </a:prstGeom>
          <a:noFill/>
        </p:spPr>
        <p:txBody>
          <a:bodyPr wrap="none" lIns="0" tIns="0" rIns="0" bIns="0" rtlCol="0" anchor="t">
            <a:spAutoFit/>
          </a:bodyPr>
          <a:lstStyle/>
          <a:p>
            <a:r>
              <a:rPr lang="zh-CN" altLang="en-US" sz="2000" dirty="0">
                <a:solidFill>
                  <a:schemeClr val="accent1"/>
                </a:solidFill>
                <a:latin typeface="+mj-ea"/>
                <a:ea typeface="+mj-ea"/>
              </a:rPr>
              <a:t>关键词标题</a:t>
            </a:r>
          </a:p>
        </p:txBody>
      </p:sp>
      <p:sp>
        <p:nvSpPr>
          <p:cNvPr id="122" name="文本框 121">
            <a:extLst>
              <a:ext uri="{FF2B5EF4-FFF2-40B4-BE49-F238E27FC236}">
                <a16:creationId xmlns:a16="http://schemas.microsoft.com/office/drawing/2014/main" id="{D083C19D-BF28-43E1-970B-2BE332C40BF2}"/>
              </a:ext>
            </a:extLst>
          </p:cNvPr>
          <p:cNvSpPr txBox="1"/>
          <p:nvPr/>
        </p:nvSpPr>
        <p:spPr>
          <a:xfrm>
            <a:off x="7887326" y="4651836"/>
            <a:ext cx="3607969" cy="387286"/>
          </a:xfrm>
          <a:prstGeom prst="rect">
            <a:avLst/>
          </a:prstGeom>
          <a:noFill/>
        </p:spPr>
        <p:txBody>
          <a:bodyPr wrap="square" lIns="0" tIns="0" rIns="0" bIns="0" rtlCol="0" anchor="t">
            <a:spAutoFit/>
          </a:bodyPr>
          <a:lstStyle/>
          <a:p>
            <a:pPr>
              <a:lnSpc>
                <a:spcPct val="130000"/>
              </a:lnSpc>
            </a:pPr>
            <a:r>
              <a:rPr lang="en-US" altLang="zh-CN" sz="1000" b="0" dirty="0">
                <a:solidFill>
                  <a:schemeClr val="tx1">
                    <a:lumMod val="75000"/>
                    <a:lumOff val="25000"/>
                  </a:schemeClr>
                </a:solidFill>
                <a:effectLst/>
                <a:latin typeface="+mn-ea"/>
              </a:rPr>
              <a:t>Lorem ipsum dolor sit amet, consectetur adipisicing elit, sed do eiusmod tempor</a:t>
            </a:r>
            <a:endParaRPr lang="zh-CN" altLang="en-US" sz="1000" b="0" dirty="0">
              <a:solidFill>
                <a:schemeClr val="tx1">
                  <a:lumMod val="75000"/>
                  <a:lumOff val="25000"/>
                </a:schemeClr>
              </a:solidFill>
              <a:effectLst/>
              <a:latin typeface="+mn-ea"/>
            </a:endParaRPr>
          </a:p>
        </p:txBody>
      </p:sp>
      <p:sp>
        <p:nvSpPr>
          <p:cNvPr id="123" name="任意多边形: 形状 122">
            <a:extLst>
              <a:ext uri="{FF2B5EF4-FFF2-40B4-BE49-F238E27FC236}">
                <a16:creationId xmlns:a16="http://schemas.microsoft.com/office/drawing/2014/main" id="{8F80CA61-5B26-422E-99FC-232CD3B9E9F2}"/>
              </a:ext>
            </a:extLst>
          </p:cNvPr>
          <p:cNvSpPr/>
          <p:nvPr/>
        </p:nvSpPr>
        <p:spPr>
          <a:xfrm flipH="1" flipV="1">
            <a:off x="7420722" y="4652181"/>
            <a:ext cx="4156628" cy="475332"/>
          </a:xfrm>
          <a:custGeom>
            <a:avLst/>
            <a:gdLst>
              <a:gd name="connsiteX0" fmla="*/ 3796146 w 3796146"/>
              <a:gd name="connsiteY0" fmla="*/ 526472 h 526472"/>
              <a:gd name="connsiteX1" fmla="*/ 3362037 w 3796146"/>
              <a:gd name="connsiteY1" fmla="*/ 92363 h 526472"/>
              <a:gd name="connsiteX2" fmla="*/ 0 w 3796146"/>
              <a:gd name="connsiteY2" fmla="*/ 92363 h 526472"/>
              <a:gd name="connsiteX3" fmla="*/ 0 w 3796146"/>
              <a:gd name="connsiteY3" fmla="*/ 0 h 526472"/>
              <a:gd name="connsiteX0" fmla="*/ 3796146 w 3796146"/>
              <a:gd name="connsiteY0" fmla="*/ 434109 h 434109"/>
              <a:gd name="connsiteX1" fmla="*/ 3362037 w 3796146"/>
              <a:gd name="connsiteY1" fmla="*/ 0 h 434109"/>
              <a:gd name="connsiteX2" fmla="*/ 0 w 3796146"/>
              <a:gd name="connsiteY2" fmla="*/ 0 h 434109"/>
            </a:gdLst>
            <a:ahLst/>
            <a:cxnLst>
              <a:cxn ang="0">
                <a:pos x="connsiteX0" y="connsiteY0"/>
              </a:cxn>
              <a:cxn ang="0">
                <a:pos x="connsiteX1" y="connsiteY1"/>
              </a:cxn>
              <a:cxn ang="0">
                <a:pos x="connsiteX2" y="connsiteY2"/>
              </a:cxn>
            </a:cxnLst>
            <a:rect l="l" t="t" r="r" b="b"/>
            <a:pathLst>
              <a:path w="3796146" h="434109">
                <a:moveTo>
                  <a:pt x="3796146" y="434109"/>
                </a:moveTo>
                <a:lnTo>
                  <a:pt x="3362037" y="0"/>
                </a:lnTo>
                <a:lnTo>
                  <a:pt x="0" y="0"/>
                </a:lnTo>
              </a:path>
            </a:pathLst>
          </a:custGeom>
          <a:noFill/>
          <a:ln w="158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124" name="椭圆 123">
            <a:extLst>
              <a:ext uri="{FF2B5EF4-FFF2-40B4-BE49-F238E27FC236}">
                <a16:creationId xmlns:a16="http://schemas.microsoft.com/office/drawing/2014/main" id="{42594617-14A1-4B19-81D6-BCFD88CA546E}"/>
              </a:ext>
            </a:extLst>
          </p:cNvPr>
          <p:cNvSpPr/>
          <p:nvPr/>
        </p:nvSpPr>
        <p:spPr>
          <a:xfrm>
            <a:off x="11508077" y="2317347"/>
            <a:ext cx="138545" cy="138545"/>
          </a:xfrm>
          <a:prstGeom prst="ellipse">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125" name="椭圆 124">
            <a:extLst>
              <a:ext uri="{FF2B5EF4-FFF2-40B4-BE49-F238E27FC236}">
                <a16:creationId xmlns:a16="http://schemas.microsoft.com/office/drawing/2014/main" id="{449CDC2C-013C-44C1-92E9-413C5DDE7C20}"/>
              </a:ext>
            </a:extLst>
          </p:cNvPr>
          <p:cNvSpPr/>
          <p:nvPr/>
        </p:nvSpPr>
        <p:spPr>
          <a:xfrm>
            <a:off x="11507813" y="5058240"/>
            <a:ext cx="138545" cy="138545"/>
          </a:xfrm>
          <a:prstGeom prst="ellipse">
            <a:avLst/>
          </a:prstGeom>
          <a:solidFill>
            <a:schemeClr val="bg1"/>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Tree>
    <p:custDataLst>
      <p:tags r:id="rId2"/>
    </p:custDataLst>
    <p:extLst>
      <p:ext uri="{BB962C8B-B14F-4D97-AF65-F5344CB8AC3E}">
        <p14:creationId xmlns:p14="http://schemas.microsoft.com/office/powerpoint/2010/main" val="3792561178"/>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3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组合 9">
            <a:extLst>
              <a:ext uri="{FF2B5EF4-FFF2-40B4-BE49-F238E27FC236}">
                <a16:creationId xmlns:a16="http://schemas.microsoft.com/office/drawing/2014/main" id="{C762A0BE-CA4C-458E-AC04-79730B1F07A1}"/>
              </a:ext>
            </a:extLst>
          </p:cNvPr>
          <p:cNvGrpSpPr/>
          <p:nvPr/>
        </p:nvGrpSpPr>
        <p:grpSpPr>
          <a:xfrm>
            <a:off x="4498109" y="2040550"/>
            <a:ext cx="3195782" cy="3043600"/>
            <a:chOff x="4141885" y="1701290"/>
            <a:chExt cx="3908230" cy="3722121"/>
          </a:xfrm>
        </p:grpSpPr>
        <p:sp>
          <p:nvSpPr>
            <p:cNvPr id="36" name="五边形 35">
              <a:extLst>
                <a:ext uri="{FF2B5EF4-FFF2-40B4-BE49-F238E27FC236}">
                  <a16:creationId xmlns:a16="http://schemas.microsoft.com/office/drawing/2014/main" id="{4C8FF35D-3666-40B0-9718-C8A7F9EC1E7B}"/>
                </a:ext>
              </a:extLst>
            </p:cNvPr>
            <p:cNvSpPr/>
            <p:nvPr/>
          </p:nvSpPr>
          <p:spPr>
            <a:xfrm>
              <a:off x="4141885" y="1701290"/>
              <a:ext cx="3908230" cy="3722121"/>
            </a:xfrm>
            <a:prstGeom prst="pentagon">
              <a:avLst/>
            </a:prstGeom>
            <a:solidFill>
              <a:schemeClr val="bg1"/>
            </a:solidFill>
            <a:ln w="6350">
              <a:solidFill>
                <a:schemeClr val="accent1"/>
              </a:solidFill>
            </a:ln>
            <a:effectLst>
              <a:outerShdw blurRad="228600" sx="102000" sy="102000" algn="ctr" rotWithShape="0">
                <a:schemeClr val="accent1">
                  <a:lumMod val="90000"/>
                  <a:lumOff val="10000"/>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7" name="五边形 6">
              <a:extLst>
                <a:ext uri="{FF2B5EF4-FFF2-40B4-BE49-F238E27FC236}">
                  <a16:creationId xmlns:a16="http://schemas.microsoft.com/office/drawing/2014/main" id="{5468B806-24EB-4D5C-A384-4F1AD89DFEBF}"/>
                </a:ext>
              </a:extLst>
            </p:cNvPr>
            <p:cNvSpPr/>
            <p:nvPr/>
          </p:nvSpPr>
          <p:spPr>
            <a:xfrm>
              <a:off x="4486275" y="2029279"/>
              <a:ext cx="3219450" cy="3066142"/>
            </a:xfrm>
            <a:prstGeom prst="pentagon">
              <a:avLst/>
            </a:prstGeom>
            <a:solidFill>
              <a:schemeClr val="bg1"/>
            </a:solidFill>
            <a:ln>
              <a:noFill/>
            </a:ln>
            <a:effectLst>
              <a:outerShdw blurRad="228600" sx="102000" sy="102000" algn="ctr" rotWithShape="0">
                <a:schemeClr val="accent1">
                  <a:lumMod val="90000"/>
                  <a:lumOff val="10000"/>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9" name="椭圆 8">
              <a:extLst>
                <a:ext uri="{FF2B5EF4-FFF2-40B4-BE49-F238E27FC236}">
                  <a16:creationId xmlns:a16="http://schemas.microsoft.com/office/drawing/2014/main" id="{15DE216A-34E8-4869-84AD-44B2FCE1B0D1}"/>
                </a:ext>
              </a:extLst>
            </p:cNvPr>
            <p:cNvSpPr/>
            <p:nvPr/>
          </p:nvSpPr>
          <p:spPr>
            <a:xfrm>
              <a:off x="5114925" y="2714625"/>
              <a:ext cx="1962150" cy="196215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grpSp>
      <p:sp>
        <p:nvSpPr>
          <p:cNvPr id="37" name="user_209046">
            <a:extLst>
              <a:ext uri="{FF2B5EF4-FFF2-40B4-BE49-F238E27FC236}">
                <a16:creationId xmlns:a16="http://schemas.microsoft.com/office/drawing/2014/main" id="{1FCE0550-7EF6-4768-B24A-2270CDB748F3}"/>
              </a:ext>
            </a:extLst>
          </p:cNvPr>
          <p:cNvSpPr/>
          <p:nvPr/>
        </p:nvSpPr>
        <p:spPr>
          <a:xfrm>
            <a:off x="5842356" y="3200275"/>
            <a:ext cx="507288" cy="457450"/>
          </a:xfrm>
          <a:custGeom>
            <a:avLst/>
            <a:gdLst>
              <a:gd name="connsiteX0" fmla="*/ 521432 w 608344"/>
              <a:gd name="connsiteY0" fmla="*/ 370453 h 548582"/>
              <a:gd name="connsiteX1" fmla="*/ 465737 w 608344"/>
              <a:gd name="connsiteY1" fmla="*/ 425787 h 548582"/>
              <a:gd name="connsiteX2" fmla="*/ 442491 w 608344"/>
              <a:gd name="connsiteY2" fmla="*/ 402479 h 548582"/>
              <a:gd name="connsiteX3" fmla="*/ 418201 w 608344"/>
              <a:gd name="connsiteY3" fmla="*/ 426545 h 548582"/>
              <a:gd name="connsiteX4" fmla="*/ 441447 w 608344"/>
              <a:gd name="connsiteY4" fmla="*/ 449948 h 548582"/>
              <a:gd name="connsiteX5" fmla="*/ 465642 w 608344"/>
              <a:gd name="connsiteY5" fmla="*/ 474204 h 548582"/>
              <a:gd name="connsiteX6" fmla="*/ 489932 w 608344"/>
              <a:gd name="connsiteY6" fmla="*/ 450043 h 548582"/>
              <a:gd name="connsiteX7" fmla="*/ 545532 w 608344"/>
              <a:gd name="connsiteY7" fmla="*/ 394709 h 548582"/>
              <a:gd name="connsiteX8" fmla="*/ 481962 w 608344"/>
              <a:gd name="connsiteY8" fmla="*/ 296170 h 548582"/>
              <a:gd name="connsiteX9" fmla="*/ 608344 w 608344"/>
              <a:gd name="connsiteY9" fmla="*/ 422376 h 548582"/>
              <a:gd name="connsiteX10" fmla="*/ 481962 w 608344"/>
              <a:gd name="connsiteY10" fmla="*/ 548582 h 548582"/>
              <a:gd name="connsiteX11" fmla="*/ 355579 w 608344"/>
              <a:gd name="connsiteY11" fmla="*/ 422376 h 548582"/>
              <a:gd name="connsiteX12" fmla="*/ 481962 w 608344"/>
              <a:gd name="connsiteY12" fmla="*/ 296170 h 548582"/>
              <a:gd name="connsiteX13" fmla="*/ 255835 w 608344"/>
              <a:gd name="connsiteY13" fmla="*/ 446 h 548582"/>
              <a:gd name="connsiteX14" fmla="*/ 317801 w 608344"/>
              <a:gd name="connsiteY14" fmla="*/ 13616 h 548582"/>
              <a:gd name="connsiteX15" fmla="*/ 348072 w 608344"/>
              <a:gd name="connsiteY15" fmla="*/ 41661 h 548582"/>
              <a:gd name="connsiteX16" fmla="*/ 381190 w 608344"/>
              <a:gd name="connsiteY16" fmla="*/ 146831 h 548582"/>
              <a:gd name="connsiteX17" fmla="*/ 378913 w 608344"/>
              <a:gd name="connsiteY17" fmla="*/ 156211 h 548582"/>
              <a:gd name="connsiteX18" fmla="*/ 387833 w 608344"/>
              <a:gd name="connsiteY18" fmla="*/ 200458 h 548582"/>
              <a:gd name="connsiteX19" fmla="*/ 366387 w 608344"/>
              <a:gd name="connsiteY19" fmla="*/ 237694 h 548582"/>
              <a:gd name="connsiteX20" fmla="*/ 351393 w 608344"/>
              <a:gd name="connsiteY20" fmla="*/ 278720 h 548582"/>
              <a:gd name="connsiteX21" fmla="*/ 351393 w 608344"/>
              <a:gd name="connsiteY21" fmla="*/ 322873 h 548582"/>
              <a:gd name="connsiteX22" fmla="*/ 317611 w 608344"/>
              <a:gd name="connsiteY22" fmla="*/ 422358 h 548582"/>
              <a:gd name="connsiteX23" fmla="*/ 376635 w 608344"/>
              <a:gd name="connsiteY23" fmla="*/ 548088 h 548582"/>
              <a:gd name="connsiteX24" fmla="*/ 26855 w 608344"/>
              <a:gd name="connsiteY24" fmla="*/ 548088 h 548582"/>
              <a:gd name="connsiteX25" fmla="*/ 0 w 608344"/>
              <a:gd name="connsiteY25" fmla="*/ 521274 h 548582"/>
              <a:gd name="connsiteX26" fmla="*/ 0 w 608344"/>
              <a:gd name="connsiteY26" fmla="*/ 473806 h 548582"/>
              <a:gd name="connsiteX27" fmla="*/ 19453 w 608344"/>
              <a:gd name="connsiteY27" fmla="*/ 432969 h 548582"/>
              <a:gd name="connsiteX28" fmla="*/ 173751 w 608344"/>
              <a:gd name="connsiteY28" fmla="*/ 334242 h 548582"/>
              <a:gd name="connsiteX29" fmla="*/ 176408 w 608344"/>
              <a:gd name="connsiteY29" fmla="*/ 329884 h 548582"/>
              <a:gd name="connsiteX30" fmla="*/ 176408 w 608344"/>
              <a:gd name="connsiteY30" fmla="*/ 278720 h 548582"/>
              <a:gd name="connsiteX31" fmla="*/ 161320 w 608344"/>
              <a:gd name="connsiteY31" fmla="*/ 237694 h 548582"/>
              <a:gd name="connsiteX32" fmla="*/ 139969 w 608344"/>
              <a:gd name="connsiteY32" fmla="*/ 200458 h 548582"/>
              <a:gd name="connsiteX33" fmla="*/ 148320 w 608344"/>
              <a:gd name="connsiteY33" fmla="*/ 156211 h 548582"/>
              <a:gd name="connsiteX34" fmla="*/ 146042 w 608344"/>
              <a:gd name="connsiteY34" fmla="*/ 146736 h 548582"/>
              <a:gd name="connsiteX35" fmla="*/ 145758 w 608344"/>
              <a:gd name="connsiteY35" fmla="*/ 95099 h 548582"/>
              <a:gd name="connsiteX36" fmla="*/ 176029 w 608344"/>
              <a:gd name="connsiteY36" fmla="*/ 42135 h 548582"/>
              <a:gd name="connsiteX37" fmla="*/ 203928 w 608344"/>
              <a:gd name="connsiteY37" fmla="*/ 19017 h 548582"/>
              <a:gd name="connsiteX38" fmla="*/ 231162 w 608344"/>
              <a:gd name="connsiteY38" fmla="*/ 5089 h 548582"/>
              <a:gd name="connsiteX39" fmla="*/ 255835 w 608344"/>
              <a:gd name="connsiteY39" fmla="*/ 446 h 548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608344" h="548582">
                <a:moveTo>
                  <a:pt x="521432" y="370453"/>
                </a:moveTo>
                <a:lnTo>
                  <a:pt x="465737" y="425787"/>
                </a:lnTo>
                <a:lnTo>
                  <a:pt x="442491" y="402479"/>
                </a:lnTo>
                <a:lnTo>
                  <a:pt x="418201" y="426545"/>
                </a:lnTo>
                <a:lnTo>
                  <a:pt x="441447" y="449948"/>
                </a:lnTo>
                <a:lnTo>
                  <a:pt x="465642" y="474204"/>
                </a:lnTo>
                <a:lnTo>
                  <a:pt x="489932" y="450043"/>
                </a:lnTo>
                <a:lnTo>
                  <a:pt x="545532" y="394709"/>
                </a:lnTo>
                <a:close/>
                <a:moveTo>
                  <a:pt x="481962" y="296170"/>
                </a:moveTo>
                <a:cubicBezTo>
                  <a:pt x="551795" y="296170"/>
                  <a:pt x="608344" y="352641"/>
                  <a:pt x="608344" y="422376"/>
                </a:cubicBezTo>
                <a:cubicBezTo>
                  <a:pt x="608344" y="492111"/>
                  <a:pt x="551795" y="548582"/>
                  <a:pt x="481962" y="548582"/>
                </a:cubicBezTo>
                <a:cubicBezTo>
                  <a:pt x="412129" y="548582"/>
                  <a:pt x="355579" y="492111"/>
                  <a:pt x="355579" y="422376"/>
                </a:cubicBezTo>
                <a:cubicBezTo>
                  <a:pt x="355579" y="352641"/>
                  <a:pt x="412129" y="296170"/>
                  <a:pt x="481962" y="296170"/>
                </a:cubicBezTo>
                <a:close/>
                <a:moveTo>
                  <a:pt x="255835" y="446"/>
                </a:moveTo>
                <a:cubicBezTo>
                  <a:pt x="282785" y="-1828"/>
                  <a:pt x="303187" y="4899"/>
                  <a:pt x="317801" y="13616"/>
                </a:cubicBezTo>
                <a:cubicBezTo>
                  <a:pt x="339721" y="25744"/>
                  <a:pt x="348072" y="41661"/>
                  <a:pt x="348072" y="41661"/>
                </a:cubicBezTo>
                <a:cubicBezTo>
                  <a:pt x="348072" y="41661"/>
                  <a:pt x="398176" y="45167"/>
                  <a:pt x="381190" y="146831"/>
                </a:cubicBezTo>
                <a:cubicBezTo>
                  <a:pt x="380621" y="149863"/>
                  <a:pt x="379862" y="153085"/>
                  <a:pt x="378913" y="156211"/>
                </a:cubicBezTo>
                <a:cubicBezTo>
                  <a:pt x="388592" y="156211"/>
                  <a:pt x="398271" y="163507"/>
                  <a:pt x="387833" y="200458"/>
                </a:cubicBezTo>
                <a:cubicBezTo>
                  <a:pt x="379672" y="229262"/>
                  <a:pt x="372080" y="237221"/>
                  <a:pt x="366387" y="237694"/>
                </a:cubicBezTo>
                <a:cubicBezTo>
                  <a:pt x="364394" y="250675"/>
                  <a:pt x="359175" y="265076"/>
                  <a:pt x="351393" y="278720"/>
                </a:cubicBezTo>
                <a:lnTo>
                  <a:pt x="351393" y="322873"/>
                </a:lnTo>
                <a:cubicBezTo>
                  <a:pt x="330232" y="350539"/>
                  <a:pt x="317611" y="385027"/>
                  <a:pt x="317611" y="422358"/>
                </a:cubicBezTo>
                <a:cubicBezTo>
                  <a:pt x="317611" y="472764"/>
                  <a:pt x="340480" y="518053"/>
                  <a:pt x="376635" y="548088"/>
                </a:cubicBezTo>
                <a:lnTo>
                  <a:pt x="26855" y="548088"/>
                </a:lnTo>
                <a:cubicBezTo>
                  <a:pt x="12052" y="548088"/>
                  <a:pt x="0" y="536055"/>
                  <a:pt x="0" y="521274"/>
                </a:cubicBezTo>
                <a:lnTo>
                  <a:pt x="0" y="473806"/>
                </a:lnTo>
                <a:cubicBezTo>
                  <a:pt x="0" y="457983"/>
                  <a:pt x="7212" y="443013"/>
                  <a:pt x="19453" y="432969"/>
                </a:cubicBezTo>
                <a:cubicBezTo>
                  <a:pt x="86638" y="377921"/>
                  <a:pt x="159043" y="341443"/>
                  <a:pt x="173751" y="334242"/>
                </a:cubicBezTo>
                <a:cubicBezTo>
                  <a:pt x="175365" y="333484"/>
                  <a:pt x="176408" y="331779"/>
                  <a:pt x="176408" y="329884"/>
                </a:cubicBezTo>
                <a:lnTo>
                  <a:pt x="176408" y="278720"/>
                </a:lnTo>
                <a:cubicBezTo>
                  <a:pt x="168437" y="265076"/>
                  <a:pt x="163313" y="250675"/>
                  <a:pt x="161320" y="237694"/>
                </a:cubicBezTo>
                <a:cubicBezTo>
                  <a:pt x="155627" y="237221"/>
                  <a:pt x="148035" y="229072"/>
                  <a:pt x="139969" y="200458"/>
                </a:cubicBezTo>
                <a:cubicBezTo>
                  <a:pt x="129531" y="164170"/>
                  <a:pt x="138925" y="156496"/>
                  <a:pt x="148320" y="156211"/>
                </a:cubicBezTo>
                <a:cubicBezTo>
                  <a:pt x="147371" y="153085"/>
                  <a:pt x="146612" y="149863"/>
                  <a:pt x="146042" y="146736"/>
                </a:cubicBezTo>
                <a:cubicBezTo>
                  <a:pt x="142436" y="128450"/>
                  <a:pt x="141487" y="111396"/>
                  <a:pt x="145758" y="95099"/>
                </a:cubicBezTo>
                <a:cubicBezTo>
                  <a:pt x="150787" y="73212"/>
                  <a:pt x="162744" y="55684"/>
                  <a:pt x="176029" y="42135"/>
                </a:cubicBezTo>
                <a:cubicBezTo>
                  <a:pt x="184379" y="33134"/>
                  <a:pt x="193869" y="25459"/>
                  <a:pt x="203928" y="19017"/>
                </a:cubicBezTo>
                <a:cubicBezTo>
                  <a:pt x="212183" y="13332"/>
                  <a:pt x="221293" y="8405"/>
                  <a:pt x="231162" y="5089"/>
                </a:cubicBezTo>
                <a:cubicBezTo>
                  <a:pt x="238849" y="2625"/>
                  <a:pt x="247105" y="825"/>
                  <a:pt x="255835" y="446"/>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9" name="文本框 38">
            <a:extLst>
              <a:ext uri="{FF2B5EF4-FFF2-40B4-BE49-F238E27FC236}">
                <a16:creationId xmlns:a16="http://schemas.microsoft.com/office/drawing/2014/main" id="{9AD58C18-97F0-41E9-96C3-A8203F461CEC}"/>
              </a:ext>
            </a:extLst>
          </p:cNvPr>
          <p:cNvSpPr txBox="1"/>
          <p:nvPr/>
        </p:nvSpPr>
        <p:spPr>
          <a:xfrm>
            <a:off x="5671683" y="3740940"/>
            <a:ext cx="848634" cy="307777"/>
          </a:xfrm>
          <a:prstGeom prst="rect">
            <a:avLst/>
          </a:prstGeom>
          <a:noFill/>
        </p:spPr>
        <p:txBody>
          <a:bodyPr wrap="square" lIns="0" tIns="0" rIns="0" bIns="0" rtlCol="0" anchor="t">
            <a:spAutoFit/>
          </a:bodyPr>
          <a:lstStyle/>
          <a:p>
            <a:pPr algn="ctr"/>
            <a:r>
              <a:rPr lang="zh-CN" altLang="en-US" sz="2000" dirty="0">
                <a:solidFill>
                  <a:schemeClr val="bg1"/>
                </a:solidFill>
                <a:latin typeface="+mj-ea"/>
                <a:ea typeface="+mj-ea"/>
              </a:rPr>
              <a:t>关键词</a:t>
            </a:r>
          </a:p>
        </p:txBody>
      </p:sp>
      <p:sp>
        <p:nvSpPr>
          <p:cNvPr id="11" name="椭圆 10">
            <a:extLst>
              <a:ext uri="{FF2B5EF4-FFF2-40B4-BE49-F238E27FC236}">
                <a16:creationId xmlns:a16="http://schemas.microsoft.com/office/drawing/2014/main" id="{D68A3E17-B158-4EFB-A6D2-74FA51EC9337}"/>
              </a:ext>
            </a:extLst>
          </p:cNvPr>
          <p:cNvSpPr/>
          <p:nvPr/>
        </p:nvSpPr>
        <p:spPr>
          <a:xfrm>
            <a:off x="5996651" y="1941202"/>
            <a:ext cx="198695" cy="19869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40" name="椭圆 39">
            <a:extLst>
              <a:ext uri="{FF2B5EF4-FFF2-40B4-BE49-F238E27FC236}">
                <a16:creationId xmlns:a16="http://schemas.microsoft.com/office/drawing/2014/main" id="{5D91AEB7-6356-476C-9590-499B7FFCE53B}"/>
              </a:ext>
            </a:extLst>
          </p:cNvPr>
          <p:cNvSpPr/>
          <p:nvPr/>
        </p:nvSpPr>
        <p:spPr>
          <a:xfrm>
            <a:off x="4406078" y="3100927"/>
            <a:ext cx="198695" cy="19869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42" name="椭圆 41">
            <a:extLst>
              <a:ext uri="{FF2B5EF4-FFF2-40B4-BE49-F238E27FC236}">
                <a16:creationId xmlns:a16="http://schemas.microsoft.com/office/drawing/2014/main" id="{19406738-45BA-4B78-A9A4-12F3AF31516A}"/>
              </a:ext>
            </a:extLst>
          </p:cNvPr>
          <p:cNvSpPr/>
          <p:nvPr/>
        </p:nvSpPr>
        <p:spPr>
          <a:xfrm>
            <a:off x="5009328" y="4984803"/>
            <a:ext cx="198695" cy="19869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43" name="椭圆 42">
            <a:extLst>
              <a:ext uri="{FF2B5EF4-FFF2-40B4-BE49-F238E27FC236}">
                <a16:creationId xmlns:a16="http://schemas.microsoft.com/office/drawing/2014/main" id="{1DDB1DC7-E08B-4D37-8B71-61A3A03E8088}"/>
              </a:ext>
            </a:extLst>
          </p:cNvPr>
          <p:cNvSpPr/>
          <p:nvPr/>
        </p:nvSpPr>
        <p:spPr>
          <a:xfrm>
            <a:off x="6983979" y="4984803"/>
            <a:ext cx="198695" cy="19869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44" name="椭圆 43">
            <a:extLst>
              <a:ext uri="{FF2B5EF4-FFF2-40B4-BE49-F238E27FC236}">
                <a16:creationId xmlns:a16="http://schemas.microsoft.com/office/drawing/2014/main" id="{08CBB489-ACAE-4D94-8517-E572A10A0518}"/>
              </a:ext>
            </a:extLst>
          </p:cNvPr>
          <p:cNvSpPr/>
          <p:nvPr/>
        </p:nvSpPr>
        <p:spPr>
          <a:xfrm>
            <a:off x="7594543" y="3100926"/>
            <a:ext cx="198695" cy="19869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47" name="文本框 46">
            <a:extLst>
              <a:ext uri="{FF2B5EF4-FFF2-40B4-BE49-F238E27FC236}">
                <a16:creationId xmlns:a16="http://schemas.microsoft.com/office/drawing/2014/main" id="{652FACD8-30C9-4EB7-A1E9-5EF09C7E6671}"/>
              </a:ext>
            </a:extLst>
          </p:cNvPr>
          <p:cNvSpPr txBox="1"/>
          <p:nvPr/>
        </p:nvSpPr>
        <p:spPr>
          <a:xfrm>
            <a:off x="5326559" y="948563"/>
            <a:ext cx="1282402" cy="307777"/>
          </a:xfrm>
          <a:prstGeom prst="rect">
            <a:avLst/>
          </a:prstGeom>
          <a:noFill/>
        </p:spPr>
        <p:txBody>
          <a:bodyPr wrap="none" lIns="0" tIns="0" rIns="0" bIns="0" rtlCol="0" anchor="t">
            <a:spAutoFit/>
          </a:bodyPr>
          <a:lstStyle/>
          <a:p>
            <a:r>
              <a:rPr lang="zh-CN" altLang="en-US" sz="2000" dirty="0">
                <a:solidFill>
                  <a:schemeClr val="accent1"/>
                </a:solidFill>
                <a:latin typeface="+mj-ea"/>
                <a:ea typeface="+mj-ea"/>
              </a:rPr>
              <a:t>关键词标题</a:t>
            </a:r>
          </a:p>
        </p:txBody>
      </p:sp>
      <p:sp>
        <p:nvSpPr>
          <p:cNvPr id="48" name="文本框 47">
            <a:extLst>
              <a:ext uri="{FF2B5EF4-FFF2-40B4-BE49-F238E27FC236}">
                <a16:creationId xmlns:a16="http://schemas.microsoft.com/office/drawing/2014/main" id="{486464B6-9839-4CCD-8ADE-3EEF964913D3}"/>
              </a:ext>
            </a:extLst>
          </p:cNvPr>
          <p:cNvSpPr txBox="1"/>
          <p:nvPr/>
        </p:nvSpPr>
        <p:spPr>
          <a:xfrm>
            <a:off x="4118499" y="1453489"/>
            <a:ext cx="3955002" cy="387286"/>
          </a:xfrm>
          <a:prstGeom prst="rect">
            <a:avLst/>
          </a:prstGeom>
          <a:noFill/>
        </p:spPr>
        <p:txBody>
          <a:bodyPr wrap="square" lIns="0" tIns="0" rIns="0" bIns="0" rtlCol="0" anchor="t">
            <a:spAutoFit/>
          </a:bodyPr>
          <a:lstStyle/>
          <a:p>
            <a:pPr algn="ctr">
              <a:lnSpc>
                <a:spcPct val="130000"/>
              </a:lnSpc>
            </a:pPr>
            <a:r>
              <a:rPr lang="en-US" altLang="zh-CN" sz="1000" b="0" dirty="0">
                <a:solidFill>
                  <a:schemeClr val="tx1">
                    <a:lumMod val="75000"/>
                    <a:lumOff val="25000"/>
                  </a:schemeClr>
                </a:solidFill>
                <a:effectLst/>
                <a:latin typeface="+mn-ea"/>
              </a:rPr>
              <a:t>Lorem ipsum dolor sit amet, consectetur adipisicing elit, sed do eiusmod tempor</a:t>
            </a:r>
            <a:endParaRPr lang="zh-CN" altLang="en-US" sz="1000" b="0" dirty="0">
              <a:solidFill>
                <a:schemeClr val="tx1">
                  <a:lumMod val="75000"/>
                  <a:lumOff val="25000"/>
                </a:schemeClr>
              </a:solidFill>
              <a:effectLst/>
              <a:latin typeface="+mn-ea"/>
            </a:endParaRPr>
          </a:p>
        </p:txBody>
      </p:sp>
      <p:cxnSp>
        <p:nvCxnSpPr>
          <p:cNvPr id="50" name="直接连接符 49">
            <a:extLst>
              <a:ext uri="{FF2B5EF4-FFF2-40B4-BE49-F238E27FC236}">
                <a16:creationId xmlns:a16="http://schemas.microsoft.com/office/drawing/2014/main" id="{C9CDB3AB-ED16-438C-BEFB-F3CCFF919556}"/>
              </a:ext>
            </a:extLst>
          </p:cNvPr>
          <p:cNvCxnSpPr>
            <a:cxnSpLocks/>
          </p:cNvCxnSpPr>
          <p:nvPr/>
        </p:nvCxnSpPr>
        <p:spPr>
          <a:xfrm flipH="1">
            <a:off x="5883593" y="1382778"/>
            <a:ext cx="424814"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51" name="文本框 50">
            <a:extLst>
              <a:ext uri="{FF2B5EF4-FFF2-40B4-BE49-F238E27FC236}">
                <a16:creationId xmlns:a16="http://schemas.microsoft.com/office/drawing/2014/main" id="{30BC1F8A-1893-4F02-B00A-DFC5C4BBE2A6}"/>
              </a:ext>
            </a:extLst>
          </p:cNvPr>
          <p:cNvSpPr txBox="1"/>
          <p:nvPr/>
        </p:nvSpPr>
        <p:spPr>
          <a:xfrm>
            <a:off x="2897324" y="3059668"/>
            <a:ext cx="1282402" cy="307777"/>
          </a:xfrm>
          <a:prstGeom prst="rect">
            <a:avLst/>
          </a:prstGeom>
          <a:noFill/>
        </p:spPr>
        <p:txBody>
          <a:bodyPr wrap="none" lIns="0" tIns="0" rIns="0" bIns="0" rtlCol="0" anchor="t">
            <a:spAutoFit/>
          </a:bodyPr>
          <a:lstStyle/>
          <a:p>
            <a:pPr algn="r"/>
            <a:r>
              <a:rPr lang="zh-CN" altLang="en-US" sz="2000" dirty="0">
                <a:solidFill>
                  <a:schemeClr val="accent1"/>
                </a:solidFill>
                <a:latin typeface="+mj-ea"/>
                <a:ea typeface="+mj-ea"/>
              </a:rPr>
              <a:t>关键词标题</a:t>
            </a:r>
          </a:p>
        </p:txBody>
      </p:sp>
      <p:sp>
        <p:nvSpPr>
          <p:cNvPr id="52" name="文本框 51">
            <a:extLst>
              <a:ext uri="{FF2B5EF4-FFF2-40B4-BE49-F238E27FC236}">
                <a16:creationId xmlns:a16="http://schemas.microsoft.com/office/drawing/2014/main" id="{CBEDFDC3-CD05-41D5-88BD-65DEC1836975}"/>
              </a:ext>
            </a:extLst>
          </p:cNvPr>
          <p:cNvSpPr txBox="1"/>
          <p:nvPr/>
        </p:nvSpPr>
        <p:spPr>
          <a:xfrm>
            <a:off x="1691402" y="3564594"/>
            <a:ext cx="2465443" cy="387286"/>
          </a:xfrm>
          <a:prstGeom prst="rect">
            <a:avLst/>
          </a:prstGeom>
          <a:noFill/>
        </p:spPr>
        <p:txBody>
          <a:bodyPr wrap="square" lIns="0" tIns="0" rIns="0" bIns="0" rtlCol="0" anchor="t">
            <a:spAutoFit/>
          </a:bodyPr>
          <a:lstStyle/>
          <a:p>
            <a:pPr algn="r">
              <a:lnSpc>
                <a:spcPct val="130000"/>
              </a:lnSpc>
            </a:pPr>
            <a:r>
              <a:rPr lang="en-US" altLang="zh-CN" sz="1000" b="0" dirty="0">
                <a:solidFill>
                  <a:schemeClr val="tx1">
                    <a:lumMod val="75000"/>
                    <a:lumOff val="25000"/>
                  </a:schemeClr>
                </a:solidFill>
                <a:effectLst/>
                <a:latin typeface="+mn-ea"/>
              </a:rPr>
              <a:t>Lorem ipsum dolor sit amet, consectetur adipisicing elit, sed do eiusmod tempor</a:t>
            </a:r>
            <a:endParaRPr lang="zh-CN" altLang="en-US" sz="1000" b="0" dirty="0">
              <a:solidFill>
                <a:schemeClr val="tx1">
                  <a:lumMod val="75000"/>
                  <a:lumOff val="25000"/>
                </a:schemeClr>
              </a:solidFill>
              <a:effectLst/>
              <a:latin typeface="+mn-ea"/>
            </a:endParaRPr>
          </a:p>
        </p:txBody>
      </p:sp>
      <p:cxnSp>
        <p:nvCxnSpPr>
          <p:cNvPr id="53" name="直接连接符 52">
            <a:extLst>
              <a:ext uri="{FF2B5EF4-FFF2-40B4-BE49-F238E27FC236}">
                <a16:creationId xmlns:a16="http://schemas.microsoft.com/office/drawing/2014/main" id="{DCEB0E38-C66A-4901-A9EE-42B98489372A}"/>
              </a:ext>
            </a:extLst>
          </p:cNvPr>
          <p:cNvCxnSpPr/>
          <p:nvPr/>
        </p:nvCxnSpPr>
        <p:spPr>
          <a:xfrm flipH="1">
            <a:off x="3701551" y="3493883"/>
            <a:ext cx="424814"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54" name="文本框 53">
            <a:extLst>
              <a:ext uri="{FF2B5EF4-FFF2-40B4-BE49-F238E27FC236}">
                <a16:creationId xmlns:a16="http://schemas.microsoft.com/office/drawing/2014/main" id="{7CFC0534-C5D2-40F6-B84D-900B8A46CF3D}"/>
              </a:ext>
            </a:extLst>
          </p:cNvPr>
          <p:cNvSpPr txBox="1"/>
          <p:nvPr/>
        </p:nvSpPr>
        <p:spPr>
          <a:xfrm>
            <a:off x="3569437" y="4967795"/>
            <a:ext cx="1282402" cy="307777"/>
          </a:xfrm>
          <a:prstGeom prst="rect">
            <a:avLst/>
          </a:prstGeom>
          <a:noFill/>
        </p:spPr>
        <p:txBody>
          <a:bodyPr wrap="none" lIns="0" tIns="0" rIns="0" bIns="0" rtlCol="0" anchor="t">
            <a:spAutoFit/>
          </a:bodyPr>
          <a:lstStyle/>
          <a:p>
            <a:pPr algn="r"/>
            <a:r>
              <a:rPr lang="zh-CN" altLang="en-US" sz="2000" dirty="0">
                <a:solidFill>
                  <a:schemeClr val="accent1"/>
                </a:solidFill>
                <a:latin typeface="+mj-ea"/>
                <a:ea typeface="+mj-ea"/>
              </a:rPr>
              <a:t>关键词标题</a:t>
            </a:r>
          </a:p>
        </p:txBody>
      </p:sp>
      <p:sp>
        <p:nvSpPr>
          <p:cNvPr id="55" name="文本框 54">
            <a:extLst>
              <a:ext uri="{FF2B5EF4-FFF2-40B4-BE49-F238E27FC236}">
                <a16:creationId xmlns:a16="http://schemas.microsoft.com/office/drawing/2014/main" id="{86DD574E-9693-4CB1-91CE-6B1FA8E3696E}"/>
              </a:ext>
            </a:extLst>
          </p:cNvPr>
          <p:cNvSpPr txBox="1"/>
          <p:nvPr/>
        </p:nvSpPr>
        <p:spPr>
          <a:xfrm>
            <a:off x="2363515" y="5472721"/>
            <a:ext cx="2465443" cy="387286"/>
          </a:xfrm>
          <a:prstGeom prst="rect">
            <a:avLst/>
          </a:prstGeom>
          <a:noFill/>
        </p:spPr>
        <p:txBody>
          <a:bodyPr wrap="square" lIns="0" tIns="0" rIns="0" bIns="0" rtlCol="0" anchor="t">
            <a:spAutoFit/>
          </a:bodyPr>
          <a:lstStyle/>
          <a:p>
            <a:pPr algn="r">
              <a:lnSpc>
                <a:spcPct val="130000"/>
              </a:lnSpc>
            </a:pPr>
            <a:r>
              <a:rPr lang="en-US" altLang="zh-CN" sz="1000" b="0" dirty="0">
                <a:solidFill>
                  <a:schemeClr val="tx1">
                    <a:lumMod val="75000"/>
                    <a:lumOff val="25000"/>
                  </a:schemeClr>
                </a:solidFill>
                <a:effectLst/>
                <a:latin typeface="+mn-ea"/>
              </a:rPr>
              <a:t>Lorem ipsum dolor sit amet, consectetur adipisicing elit, sed do eiusmod tempor</a:t>
            </a:r>
            <a:endParaRPr lang="zh-CN" altLang="en-US" sz="1000" b="0" dirty="0">
              <a:solidFill>
                <a:schemeClr val="tx1">
                  <a:lumMod val="75000"/>
                  <a:lumOff val="25000"/>
                </a:schemeClr>
              </a:solidFill>
              <a:effectLst/>
              <a:latin typeface="+mn-ea"/>
            </a:endParaRPr>
          </a:p>
        </p:txBody>
      </p:sp>
      <p:cxnSp>
        <p:nvCxnSpPr>
          <p:cNvPr id="56" name="直接连接符 55">
            <a:extLst>
              <a:ext uri="{FF2B5EF4-FFF2-40B4-BE49-F238E27FC236}">
                <a16:creationId xmlns:a16="http://schemas.microsoft.com/office/drawing/2014/main" id="{0FA299F6-20E6-4491-8155-65A57E6E4EFE}"/>
              </a:ext>
            </a:extLst>
          </p:cNvPr>
          <p:cNvCxnSpPr/>
          <p:nvPr/>
        </p:nvCxnSpPr>
        <p:spPr>
          <a:xfrm flipH="1">
            <a:off x="4373664" y="5402010"/>
            <a:ext cx="424814"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57" name="文本框 56">
            <a:extLst>
              <a:ext uri="{FF2B5EF4-FFF2-40B4-BE49-F238E27FC236}">
                <a16:creationId xmlns:a16="http://schemas.microsoft.com/office/drawing/2014/main" id="{040EB402-B7D1-4149-8385-A0889B447A6D}"/>
              </a:ext>
            </a:extLst>
          </p:cNvPr>
          <p:cNvSpPr txBox="1"/>
          <p:nvPr/>
        </p:nvSpPr>
        <p:spPr>
          <a:xfrm>
            <a:off x="7344510" y="4967795"/>
            <a:ext cx="1282402" cy="307777"/>
          </a:xfrm>
          <a:prstGeom prst="rect">
            <a:avLst/>
          </a:prstGeom>
          <a:noFill/>
        </p:spPr>
        <p:txBody>
          <a:bodyPr wrap="none" lIns="0" tIns="0" rIns="0" bIns="0" rtlCol="0" anchor="t">
            <a:spAutoFit/>
          </a:bodyPr>
          <a:lstStyle/>
          <a:p>
            <a:r>
              <a:rPr lang="zh-CN" altLang="en-US" sz="2000" dirty="0">
                <a:solidFill>
                  <a:schemeClr val="accent1"/>
                </a:solidFill>
                <a:latin typeface="+mj-ea"/>
                <a:ea typeface="+mj-ea"/>
              </a:rPr>
              <a:t>关键词标题</a:t>
            </a:r>
          </a:p>
        </p:txBody>
      </p:sp>
      <p:sp>
        <p:nvSpPr>
          <p:cNvPr id="58" name="文本框 57">
            <a:extLst>
              <a:ext uri="{FF2B5EF4-FFF2-40B4-BE49-F238E27FC236}">
                <a16:creationId xmlns:a16="http://schemas.microsoft.com/office/drawing/2014/main" id="{85C22637-A207-4E85-8E8C-56B545D5CD69}"/>
              </a:ext>
            </a:extLst>
          </p:cNvPr>
          <p:cNvSpPr txBox="1"/>
          <p:nvPr/>
        </p:nvSpPr>
        <p:spPr>
          <a:xfrm>
            <a:off x="7344510" y="5472721"/>
            <a:ext cx="2465443" cy="387286"/>
          </a:xfrm>
          <a:prstGeom prst="rect">
            <a:avLst/>
          </a:prstGeom>
          <a:noFill/>
        </p:spPr>
        <p:txBody>
          <a:bodyPr wrap="square" lIns="0" tIns="0" rIns="0" bIns="0" rtlCol="0" anchor="t">
            <a:spAutoFit/>
          </a:bodyPr>
          <a:lstStyle/>
          <a:p>
            <a:pPr>
              <a:lnSpc>
                <a:spcPct val="130000"/>
              </a:lnSpc>
            </a:pPr>
            <a:r>
              <a:rPr lang="en-US" altLang="zh-CN" sz="1000" b="0" dirty="0">
                <a:solidFill>
                  <a:schemeClr val="tx1">
                    <a:lumMod val="75000"/>
                    <a:lumOff val="25000"/>
                  </a:schemeClr>
                </a:solidFill>
                <a:effectLst/>
                <a:latin typeface="+mn-ea"/>
              </a:rPr>
              <a:t>Lorem ipsum dolor sit amet, consectetur adipisicing elit, sed do eiusmod tempor</a:t>
            </a:r>
            <a:endParaRPr lang="zh-CN" altLang="en-US" sz="1000" b="0" dirty="0">
              <a:solidFill>
                <a:schemeClr val="tx1">
                  <a:lumMod val="75000"/>
                  <a:lumOff val="25000"/>
                </a:schemeClr>
              </a:solidFill>
              <a:effectLst/>
              <a:latin typeface="+mn-ea"/>
            </a:endParaRPr>
          </a:p>
        </p:txBody>
      </p:sp>
      <p:cxnSp>
        <p:nvCxnSpPr>
          <p:cNvPr id="59" name="直接连接符 58">
            <a:extLst>
              <a:ext uri="{FF2B5EF4-FFF2-40B4-BE49-F238E27FC236}">
                <a16:creationId xmlns:a16="http://schemas.microsoft.com/office/drawing/2014/main" id="{FBF59468-B54A-4EBD-B180-7BEC767E49E1}"/>
              </a:ext>
            </a:extLst>
          </p:cNvPr>
          <p:cNvCxnSpPr>
            <a:cxnSpLocks/>
          </p:cNvCxnSpPr>
          <p:nvPr/>
        </p:nvCxnSpPr>
        <p:spPr>
          <a:xfrm flipH="1">
            <a:off x="7344510" y="5402010"/>
            <a:ext cx="424814"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60" name="文本框 59">
            <a:extLst>
              <a:ext uri="{FF2B5EF4-FFF2-40B4-BE49-F238E27FC236}">
                <a16:creationId xmlns:a16="http://schemas.microsoft.com/office/drawing/2014/main" id="{468F6CE1-A27C-4FB6-B0E3-F2BD9D00930F}"/>
              </a:ext>
            </a:extLst>
          </p:cNvPr>
          <p:cNvSpPr txBox="1"/>
          <p:nvPr/>
        </p:nvSpPr>
        <p:spPr>
          <a:xfrm>
            <a:off x="7973399" y="3059668"/>
            <a:ext cx="1282402" cy="307777"/>
          </a:xfrm>
          <a:prstGeom prst="rect">
            <a:avLst/>
          </a:prstGeom>
          <a:noFill/>
        </p:spPr>
        <p:txBody>
          <a:bodyPr wrap="none" lIns="0" tIns="0" rIns="0" bIns="0" rtlCol="0" anchor="t">
            <a:spAutoFit/>
          </a:bodyPr>
          <a:lstStyle/>
          <a:p>
            <a:r>
              <a:rPr lang="zh-CN" altLang="en-US" sz="2000" dirty="0">
                <a:solidFill>
                  <a:schemeClr val="accent1"/>
                </a:solidFill>
                <a:latin typeface="+mj-ea"/>
                <a:ea typeface="+mj-ea"/>
              </a:rPr>
              <a:t>关键词标题</a:t>
            </a:r>
          </a:p>
        </p:txBody>
      </p:sp>
      <p:sp>
        <p:nvSpPr>
          <p:cNvPr id="61" name="文本框 60">
            <a:extLst>
              <a:ext uri="{FF2B5EF4-FFF2-40B4-BE49-F238E27FC236}">
                <a16:creationId xmlns:a16="http://schemas.microsoft.com/office/drawing/2014/main" id="{8FA746A5-386A-4F99-BF06-F980AB58A98F}"/>
              </a:ext>
            </a:extLst>
          </p:cNvPr>
          <p:cNvSpPr txBox="1"/>
          <p:nvPr/>
        </p:nvSpPr>
        <p:spPr>
          <a:xfrm>
            <a:off x="7973399" y="3564594"/>
            <a:ext cx="2465443" cy="387286"/>
          </a:xfrm>
          <a:prstGeom prst="rect">
            <a:avLst/>
          </a:prstGeom>
          <a:noFill/>
        </p:spPr>
        <p:txBody>
          <a:bodyPr wrap="square" lIns="0" tIns="0" rIns="0" bIns="0" rtlCol="0" anchor="t">
            <a:spAutoFit/>
          </a:bodyPr>
          <a:lstStyle/>
          <a:p>
            <a:pPr>
              <a:lnSpc>
                <a:spcPct val="130000"/>
              </a:lnSpc>
            </a:pPr>
            <a:r>
              <a:rPr lang="en-US" altLang="zh-CN" sz="1000" b="0" dirty="0">
                <a:solidFill>
                  <a:schemeClr val="tx1">
                    <a:lumMod val="75000"/>
                    <a:lumOff val="25000"/>
                  </a:schemeClr>
                </a:solidFill>
                <a:effectLst/>
                <a:latin typeface="+mn-ea"/>
              </a:rPr>
              <a:t>Lorem ipsum dolor sit amet, consectetur adipisicing elit, sed do eiusmod tempor</a:t>
            </a:r>
            <a:endParaRPr lang="zh-CN" altLang="en-US" sz="1000" b="0" dirty="0">
              <a:solidFill>
                <a:schemeClr val="tx1">
                  <a:lumMod val="75000"/>
                  <a:lumOff val="25000"/>
                </a:schemeClr>
              </a:solidFill>
              <a:effectLst/>
              <a:latin typeface="+mn-ea"/>
            </a:endParaRPr>
          </a:p>
        </p:txBody>
      </p:sp>
      <p:cxnSp>
        <p:nvCxnSpPr>
          <p:cNvPr id="62" name="直接连接符 61">
            <a:extLst>
              <a:ext uri="{FF2B5EF4-FFF2-40B4-BE49-F238E27FC236}">
                <a16:creationId xmlns:a16="http://schemas.microsoft.com/office/drawing/2014/main" id="{DA0B3FC8-C1A3-4841-B265-66AEA09225CA}"/>
              </a:ext>
            </a:extLst>
          </p:cNvPr>
          <p:cNvCxnSpPr>
            <a:cxnSpLocks/>
          </p:cNvCxnSpPr>
          <p:nvPr/>
        </p:nvCxnSpPr>
        <p:spPr>
          <a:xfrm flipH="1">
            <a:off x="7973399" y="3493883"/>
            <a:ext cx="424814" cy="0"/>
          </a:xfrm>
          <a:prstGeom prst="line">
            <a:avLst/>
          </a:prstGeom>
          <a:ln w="19050"/>
        </p:spPr>
        <p:style>
          <a:lnRef idx="1">
            <a:schemeClr val="accent1"/>
          </a:lnRef>
          <a:fillRef idx="0">
            <a:schemeClr val="accent1"/>
          </a:fillRef>
          <a:effectRef idx="0">
            <a:schemeClr val="accent1"/>
          </a:effectRef>
          <a:fontRef idx="minor">
            <a:schemeClr val="tx1"/>
          </a:fontRef>
        </p:style>
      </p:cxnSp>
    </p:spTree>
    <p:custDataLst>
      <p:tags r:id="rId2"/>
    </p:custDataLst>
    <p:extLst>
      <p:ext uri="{BB962C8B-B14F-4D97-AF65-F5344CB8AC3E}">
        <p14:creationId xmlns:p14="http://schemas.microsoft.com/office/powerpoint/2010/main" val="133828141"/>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3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梯形 19">
            <a:extLst>
              <a:ext uri="{FF2B5EF4-FFF2-40B4-BE49-F238E27FC236}">
                <a16:creationId xmlns:a16="http://schemas.microsoft.com/office/drawing/2014/main" id="{E5EB9E43-7909-4662-A0BC-BAA832F6B8A9}"/>
              </a:ext>
            </a:extLst>
          </p:cNvPr>
          <p:cNvSpPr/>
          <p:nvPr/>
        </p:nvSpPr>
        <p:spPr>
          <a:xfrm>
            <a:off x="444500" y="3176385"/>
            <a:ext cx="11303000" cy="693652"/>
          </a:xfrm>
          <a:prstGeom prst="trapezoid">
            <a:avLst>
              <a:gd name="adj" fmla="val 155928"/>
            </a:avLst>
          </a:prstGeom>
          <a:gradFill>
            <a:gsLst>
              <a:gs pos="60000">
                <a:srgbClr val="031761">
                  <a:alpha val="0"/>
                </a:srgbClr>
              </a:gs>
              <a:gs pos="40000">
                <a:schemeClr val="accent1">
                  <a:alpha val="0"/>
                </a:schemeClr>
              </a:gs>
              <a:gs pos="0">
                <a:schemeClr val="accent1">
                  <a:alpha val="20000"/>
                </a:schemeClr>
              </a:gs>
              <a:gs pos="100000">
                <a:schemeClr val="accent1">
                  <a:alpha val="20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18" name="椭圆 17">
            <a:extLst>
              <a:ext uri="{FF2B5EF4-FFF2-40B4-BE49-F238E27FC236}">
                <a16:creationId xmlns:a16="http://schemas.microsoft.com/office/drawing/2014/main" id="{566105B5-1345-4F36-A651-BAC6F5F2BAE0}"/>
              </a:ext>
            </a:extLst>
          </p:cNvPr>
          <p:cNvSpPr/>
          <p:nvPr/>
        </p:nvSpPr>
        <p:spPr>
          <a:xfrm>
            <a:off x="4484255" y="1911927"/>
            <a:ext cx="3223491" cy="3223491"/>
          </a:xfrm>
          <a:prstGeom prst="ellips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69" name="椭圆 68">
            <a:extLst>
              <a:ext uri="{FF2B5EF4-FFF2-40B4-BE49-F238E27FC236}">
                <a16:creationId xmlns:a16="http://schemas.microsoft.com/office/drawing/2014/main" id="{4C4DEB08-2137-42AD-8556-E79F6A92E357}"/>
              </a:ext>
            </a:extLst>
          </p:cNvPr>
          <p:cNvSpPr/>
          <p:nvPr/>
        </p:nvSpPr>
        <p:spPr>
          <a:xfrm>
            <a:off x="4484255" y="3177308"/>
            <a:ext cx="3223491" cy="692729"/>
          </a:xfrm>
          <a:prstGeom prst="ellipse">
            <a:avLst/>
          </a:prstGeom>
          <a:gradFill>
            <a:gsLst>
              <a:gs pos="0">
                <a:schemeClr val="accent1">
                  <a:alpha val="27000"/>
                </a:schemeClr>
              </a:gs>
              <a:gs pos="100000">
                <a:schemeClr val="accent1">
                  <a:alpha val="58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70" name="user_209046">
            <a:extLst>
              <a:ext uri="{FF2B5EF4-FFF2-40B4-BE49-F238E27FC236}">
                <a16:creationId xmlns:a16="http://schemas.microsoft.com/office/drawing/2014/main" id="{1730F402-7BCE-4DE5-846F-681470DACADA}"/>
              </a:ext>
            </a:extLst>
          </p:cNvPr>
          <p:cNvSpPr/>
          <p:nvPr/>
        </p:nvSpPr>
        <p:spPr>
          <a:xfrm>
            <a:off x="5842356" y="2540428"/>
            <a:ext cx="507288" cy="457450"/>
          </a:xfrm>
          <a:custGeom>
            <a:avLst/>
            <a:gdLst>
              <a:gd name="connsiteX0" fmla="*/ 521432 w 608344"/>
              <a:gd name="connsiteY0" fmla="*/ 370453 h 548582"/>
              <a:gd name="connsiteX1" fmla="*/ 465737 w 608344"/>
              <a:gd name="connsiteY1" fmla="*/ 425787 h 548582"/>
              <a:gd name="connsiteX2" fmla="*/ 442491 w 608344"/>
              <a:gd name="connsiteY2" fmla="*/ 402479 h 548582"/>
              <a:gd name="connsiteX3" fmla="*/ 418201 w 608344"/>
              <a:gd name="connsiteY3" fmla="*/ 426545 h 548582"/>
              <a:gd name="connsiteX4" fmla="*/ 441447 w 608344"/>
              <a:gd name="connsiteY4" fmla="*/ 449948 h 548582"/>
              <a:gd name="connsiteX5" fmla="*/ 465642 w 608344"/>
              <a:gd name="connsiteY5" fmla="*/ 474204 h 548582"/>
              <a:gd name="connsiteX6" fmla="*/ 489932 w 608344"/>
              <a:gd name="connsiteY6" fmla="*/ 450043 h 548582"/>
              <a:gd name="connsiteX7" fmla="*/ 545532 w 608344"/>
              <a:gd name="connsiteY7" fmla="*/ 394709 h 548582"/>
              <a:gd name="connsiteX8" fmla="*/ 481962 w 608344"/>
              <a:gd name="connsiteY8" fmla="*/ 296170 h 548582"/>
              <a:gd name="connsiteX9" fmla="*/ 608344 w 608344"/>
              <a:gd name="connsiteY9" fmla="*/ 422376 h 548582"/>
              <a:gd name="connsiteX10" fmla="*/ 481962 w 608344"/>
              <a:gd name="connsiteY10" fmla="*/ 548582 h 548582"/>
              <a:gd name="connsiteX11" fmla="*/ 355579 w 608344"/>
              <a:gd name="connsiteY11" fmla="*/ 422376 h 548582"/>
              <a:gd name="connsiteX12" fmla="*/ 481962 w 608344"/>
              <a:gd name="connsiteY12" fmla="*/ 296170 h 548582"/>
              <a:gd name="connsiteX13" fmla="*/ 255835 w 608344"/>
              <a:gd name="connsiteY13" fmla="*/ 446 h 548582"/>
              <a:gd name="connsiteX14" fmla="*/ 317801 w 608344"/>
              <a:gd name="connsiteY14" fmla="*/ 13616 h 548582"/>
              <a:gd name="connsiteX15" fmla="*/ 348072 w 608344"/>
              <a:gd name="connsiteY15" fmla="*/ 41661 h 548582"/>
              <a:gd name="connsiteX16" fmla="*/ 381190 w 608344"/>
              <a:gd name="connsiteY16" fmla="*/ 146831 h 548582"/>
              <a:gd name="connsiteX17" fmla="*/ 378913 w 608344"/>
              <a:gd name="connsiteY17" fmla="*/ 156211 h 548582"/>
              <a:gd name="connsiteX18" fmla="*/ 387833 w 608344"/>
              <a:gd name="connsiteY18" fmla="*/ 200458 h 548582"/>
              <a:gd name="connsiteX19" fmla="*/ 366387 w 608344"/>
              <a:gd name="connsiteY19" fmla="*/ 237694 h 548582"/>
              <a:gd name="connsiteX20" fmla="*/ 351393 w 608344"/>
              <a:gd name="connsiteY20" fmla="*/ 278720 h 548582"/>
              <a:gd name="connsiteX21" fmla="*/ 351393 w 608344"/>
              <a:gd name="connsiteY21" fmla="*/ 322873 h 548582"/>
              <a:gd name="connsiteX22" fmla="*/ 317611 w 608344"/>
              <a:gd name="connsiteY22" fmla="*/ 422358 h 548582"/>
              <a:gd name="connsiteX23" fmla="*/ 376635 w 608344"/>
              <a:gd name="connsiteY23" fmla="*/ 548088 h 548582"/>
              <a:gd name="connsiteX24" fmla="*/ 26855 w 608344"/>
              <a:gd name="connsiteY24" fmla="*/ 548088 h 548582"/>
              <a:gd name="connsiteX25" fmla="*/ 0 w 608344"/>
              <a:gd name="connsiteY25" fmla="*/ 521274 h 548582"/>
              <a:gd name="connsiteX26" fmla="*/ 0 w 608344"/>
              <a:gd name="connsiteY26" fmla="*/ 473806 h 548582"/>
              <a:gd name="connsiteX27" fmla="*/ 19453 w 608344"/>
              <a:gd name="connsiteY27" fmla="*/ 432969 h 548582"/>
              <a:gd name="connsiteX28" fmla="*/ 173751 w 608344"/>
              <a:gd name="connsiteY28" fmla="*/ 334242 h 548582"/>
              <a:gd name="connsiteX29" fmla="*/ 176408 w 608344"/>
              <a:gd name="connsiteY29" fmla="*/ 329884 h 548582"/>
              <a:gd name="connsiteX30" fmla="*/ 176408 w 608344"/>
              <a:gd name="connsiteY30" fmla="*/ 278720 h 548582"/>
              <a:gd name="connsiteX31" fmla="*/ 161320 w 608344"/>
              <a:gd name="connsiteY31" fmla="*/ 237694 h 548582"/>
              <a:gd name="connsiteX32" fmla="*/ 139969 w 608344"/>
              <a:gd name="connsiteY32" fmla="*/ 200458 h 548582"/>
              <a:gd name="connsiteX33" fmla="*/ 148320 w 608344"/>
              <a:gd name="connsiteY33" fmla="*/ 156211 h 548582"/>
              <a:gd name="connsiteX34" fmla="*/ 146042 w 608344"/>
              <a:gd name="connsiteY34" fmla="*/ 146736 h 548582"/>
              <a:gd name="connsiteX35" fmla="*/ 145758 w 608344"/>
              <a:gd name="connsiteY35" fmla="*/ 95099 h 548582"/>
              <a:gd name="connsiteX36" fmla="*/ 176029 w 608344"/>
              <a:gd name="connsiteY36" fmla="*/ 42135 h 548582"/>
              <a:gd name="connsiteX37" fmla="*/ 203928 w 608344"/>
              <a:gd name="connsiteY37" fmla="*/ 19017 h 548582"/>
              <a:gd name="connsiteX38" fmla="*/ 231162 w 608344"/>
              <a:gd name="connsiteY38" fmla="*/ 5089 h 548582"/>
              <a:gd name="connsiteX39" fmla="*/ 255835 w 608344"/>
              <a:gd name="connsiteY39" fmla="*/ 446 h 548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608344" h="548582">
                <a:moveTo>
                  <a:pt x="521432" y="370453"/>
                </a:moveTo>
                <a:lnTo>
                  <a:pt x="465737" y="425787"/>
                </a:lnTo>
                <a:lnTo>
                  <a:pt x="442491" y="402479"/>
                </a:lnTo>
                <a:lnTo>
                  <a:pt x="418201" y="426545"/>
                </a:lnTo>
                <a:lnTo>
                  <a:pt x="441447" y="449948"/>
                </a:lnTo>
                <a:lnTo>
                  <a:pt x="465642" y="474204"/>
                </a:lnTo>
                <a:lnTo>
                  <a:pt x="489932" y="450043"/>
                </a:lnTo>
                <a:lnTo>
                  <a:pt x="545532" y="394709"/>
                </a:lnTo>
                <a:close/>
                <a:moveTo>
                  <a:pt x="481962" y="296170"/>
                </a:moveTo>
                <a:cubicBezTo>
                  <a:pt x="551795" y="296170"/>
                  <a:pt x="608344" y="352641"/>
                  <a:pt x="608344" y="422376"/>
                </a:cubicBezTo>
                <a:cubicBezTo>
                  <a:pt x="608344" y="492111"/>
                  <a:pt x="551795" y="548582"/>
                  <a:pt x="481962" y="548582"/>
                </a:cubicBezTo>
                <a:cubicBezTo>
                  <a:pt x="412129" y="548582"/>
                  <a:pt x="355579" y="492111"/>
                  <a:pt x="355579" y="422376"/>
                </a:cubicBezTo>
                <a:cubicBezTo>
                  <a:pt x="355579" y="352641"/>
                  <a:pt x="412129" y="296170"/>
                  <a:pt x="481962" y="296170"/>
                </a:cubicBezTo>
                <a:close/>
                <a:moveTo>
                  <a:pt x="255835" y="446"/>
                </a:moveTo>
                <a:cubicBezTo>
                  <a:pt x="282785" y="-1828"/>
                  <a:pt x="303187" y="4899"/>
                  <a:pt x="317801" y="13616"/>
                </a:cubicBezTo>
                <a:cubicBezTo>
                  <a:pt x="339721" y="25744"/>
                  <a:pt x="348072" y="41661"/>
                  <a:pt x="348072" y="41661"/>
                </a:cubicBezTo>
                <a:cubicBezTo>
                  <a:pt x="348072" y="41661"/>
                  <a:pt x="398176" y="45167"/>
                  <a:pt x="381190" y="146831"/>
                </a:cubicBezTo>
                <a:cubicBezTo>
                  <a:pt x="380621" y="149863"/>
                  <a:pt x="379862" y="153085"/>
                  <a:pt x="378913" y="156211"/>
                </a:cubicBezTo>
                <a:cubicBezTo>
                  <a:pt x="388592" y="156211"/>
                  <a:pt x="398271" y="163507"/>
                  <a:pt x="387833" y="200458"/>
                </a:cubicBezTo>
                <a:cubicBezTo>
                  <a:pt x="379672" y="229262"/>
                  <a:pt x="372080" y="237221"/>
                  <a:pt x="366387" y="237694"/>
                </a:cubicBezTo>
                <a:cubicBezTo>
                  <a:pt x="364394" y="250675"/>
                  <a:pt x="359175" y="265076"/>
                  <a:pt x="351393" y="278720"/>
                </a:cubicBezTo>
                <a:lnTo>
                  <a:pt x="351393" y="322873"/>
                </a:lnTo>
                <a:cubicBezTo>
                  <a:pt x="330232" y="350539"/>
                  <a:pt x="317611" y="385027"/>
                  <a:pt x="317611" y="422358"/>
                </a:cubicBezTo>
                <a:cubicBezTo>
                  <a:pt x="317611" y="472764"/>
                  <a:pt x="340480" y="518053"/>
                  <a:pt x="376635" y="548088"/>
                </a:cubicBezTo>
                <a:lnTo>
                  <a:pt x="26855" y="548088"/>
                </a:lnTo>
                <a:cubicBezTo>
                  <a:pt x="12052" y="548088"/>
                  <a:pt x="0" y="536055"/>
                  <a:pt x="0" y="521274"/>
                </a:cubicBezTo>
                <a:lnTo>
                  <a:pt x="0" y="473806"/>
                </a:lnTo>
                <a:cubicBezTo>
                  <a:pt x="0" y="457983"/>
                  <a:pt x="7212" y="443013"/>
                  <a:pt x="19453" y="432969"/>
                </a:cubicBezTo>
                <a:cubicBezTo>
                  <a:pt x="86638" y="377921"/>
                  <a:pt x="159043" y="341443"/>
                  <a:pt x="173751" y="334242"/>
                </a:cubicBezTo>
                <a:cubicBezTo>
                  <a:pt x="175365" y="333484"/>
                  <a:pt x="176408" y="331779"/>
                  <a:pt x="176408" y="329884"/>
                </a:cubicBezTo>
                <a:lnTo>
                  <a:pt x="176408" y="278720"/>
                </a:lnTo>
                <a:cubicBezTo>
                  <a:pt x="168437" y="265076"/>
                  <a:pt x="163313" y="250675"/>
                  <a:pt x="161320" y="237694"/>
                </a:cubicBezTo>
                <a:cubicBezTo>
                  <a:pt x="155627" y="237221"/>
                  <a:pt x="148035" y="229072"/>
                  <a:pt x="139969" y="200458"/>
                </a:cubicBezTo>
                <a:cubicBezTo>
                  <a:pt x="129531" y="164170"/>
                  <a:pt x="138925" y="156496"/>
                  <a:pt x="148320" y="156211"/>
                </a:cubicBezTo>
                <a:cubicBezTo>
                  <a:pt x="147371" y="153085"/>
                  <a:pt x="146612" y="149863"/>
                  <a:pt x="146042" y="146736"/>
                </a:cubicBezTo>
                <a:cubicBezTo>
                  <a:pt x="142436" y="128450"/>
                  <a:pt x="141487" y="111396"/>
                  <a:pt x="145758" y="95099"/>
                </a:cubicBezTo>
                <a:cubicBezTo>
                  <a:pt x="150787" y="73212"/>
                  <a:pt x="162744" y="55684"/>
                  <a:pt x="176029" y="42135"/>
                </a:cubicBezTo>
                <a:cubicBezTo>
                  <a:pt x="184379" y="33134"/>
                  <a:pt x="193869" y="25459"/>
                  <a:pt x="203928" y="19017"/>
                </a:cubicBezTo>
                <a:cubicBezTo>
                  <a:pt x="212183" y="13332"/>
                  <a:pt x="221293" y="8405"/>
                  <a:pt x="231162" y="5089"/>
                </a:cubicBezTo>
                <a:cubicBezTo>
                  <a:pt x="238849" y="2625"/>
                  <a:pt x="247105" y="825"/>
                  <a:pt x="255835" y="446"/>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1" name="文本框 70">
            <a:extLst>
              <a:ext uri="{FF2B5EF4-FFF2-40B4-BE49-F238E27FC236}">
                <a16:creationId xmlns:a16="http://schemas.microsoft.com/office/drawing/2014/main" id="{6E3616D7-ECA4-48D5-9FA2-D8E8C9124777}"/>
              </a:ext>
            </a:extLst>
          </p:cNvPr>
          <p:cNvSpPr txBox="1"/>
          <p:nvPr/>
        </p:nvSpPr>
        <p:spPr>
          <a:xfrm>
            <a:off x="5671683" y="3081093"/>
            <a:ext cx="848634" cy="307777"/>
          </a:xfrm>
          <a:prstGeom prst="rect">
            <a:avLst/>
          </a:prstGeom>
          <a:noFill/>
        </p:spPr>
        <p:txBody>
          <a:bodyPr wrap="square" lIns="0" tIns="0" rIns="0" bIns="0" rtlCol="0" anchor="t">
            <a:spAutoFit/>
          </a:bodyPr>
          <a:lstStyle/>
          <a:p>
            <a:pPr algn="ctr"/>
            <a:r>
              <a:rPr lang="zh-CN" altLang="en-US" sz="2000" dirty="0">
                <a:solidFill>
                  <a:schemeClr val="bg1"/>
                </a:solidFill>
                <a:latin typeface="+mj-ea"/>
                <a:ea typeface="+mj-ea"/>
              </a:rPr>
              <a:t>关键词</a:t>
            </a:r>
          </a:p>
        </p:txBody>
      </p:sp>
      <p:sp>
        <p:nvSpPr>
          <p:cNvPr id="74" name="user_209046">
            <a:extLst>
              <a:ext uri="{FF2B5EF4-FFF2-40B4-BE49-F238E27FC236}">
                <a16:creationId xmlns:a16="http://schemas.microsoft.com/office/drawing/2014/main" id="{7F2ED13A-A78B-4995-BEA9-7DEF8CB1831E}"/>
              </a:ext>
            </a:extLst>
          </p:cNvPr>
          <p:cNvSpPr/>
          <p:nvPr/>
        </p:nvSpPr>
        <p:spPr>
          <a:xfrm>
            <a:off x="5924550" y="4086141"/>
            <a:ext cx="342900" cy="459004"/>
          </a:xfrm>
          <a:custGeom>
            <a:avLst/>
            <a:gdLst>
              <a:gd name="T0" fmla="*/ 4141 w 7783"/>
              <a:gd name="T1" fmla="*/ 10259 h 10417"/>
              <a:gd name="T2" fmla="*/ 3685 w 7783"/>
              <a:gd name="T3" fmla="*/ 10302 h 10417"/>
              <a:gd name="T4" fmla="*/ 3643 w 7783"/>
              <a:gd name="T5" fmla="*/ 10259 h 10417"/>
              <a:gd name="T6" fmla="*/ 228 w 7783"/>
              <a:gd name="T7" fmla="*/ 5293 h 10417"/>
              <a:gd name="T8" fmla="*/ 1 w 7783"/>
              <a:gd name="T9" fmla="*/ 3959 h 10417"/>
              <a:gd name="T10" fmla="*/ 3893 w 7783"/>
              <a:gd name="T11" fmla="*/ 0 h 10417"/>
              <a:gd name="T12" fmla="*/ 7783 w 7783"/>
              <a:gd name="T13" fmla="*/ 3959 h 10417"/>
              <a:gd name="T14" fmla="*/ 7553 w 7783"/>
              <a:gd name="T15" fmla="*/ 5302 h 10417"/>
              <a:gd name="T16" fmla="*/ 4141 w 7783"/>
              <a:gd name="T17" fmla="*/ 10259 h 10417"/>
              <a:gd name="T18" fmla="*/ 3891 w 7783"/>
              <a:gd name="T19" fmla="*/ 5279 h 10417"/>
              <a:gd name="T20" fmla="*/ 5189 w 7783"/>
              <a:gd name="T21" fmla="*/ 3959 h 10417"/>
              <a:gd name="T22" fmla="*/ 3891 w 7783"/>
              <a:gd name="T23" fmla="*/ 2640 h 10417"/>
              <a:gd name="T24" fmla="*/ 2594 w 7783"/>
              <a:gd name="T25" fmla="*/ 3959 h 10417"/>
              <a:gd name="T26" fmla="*/ 3891 w 7783"/>
              <a:gd name="T27" fmla="*/ 5279 h 10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783" h="10417">
                <a:moveTo>
                  <a:pt x="4141" y="10259"/>
                </a:moveTo>
                <a:cubicBezTo>
                  <a:pt x="4028" y="10397"/>
                  <a:pt x="3823" y="10417"/>
                  <a:pt x="3685" y="10302"/>
                </a:cubicBezTo>
                <a:cubicBezTo>
                  <a:pt x="3670" y="10289"/>
                  <a:pt x="3655" y="10274"/>
                  <a:pt x="3643" y="10259"/>
                </a:cubicBezTo>
                <a:cubicBezTo>
                  <a:pt x="1710" y="7927"/>
                  <a:pt x="571" y="6272"/>
                  <a:pt x="228" y="5293"/>
                </a:cubicBezTo>
                <a:cubicBezTo>
                  <a:pt x="78" y="4864"/>
                  <a:pt x="0" y="4413"/>
                  <a:pt x="1" y="3959"/>
                </a:cubicBezTo>
                <a:cubicBezTo>
                  <a:pt x="1" y="1773"/>
                  <a:pt x="1744" y="0"/>
                  <a:pt x="3893" y="0"/>
                </a:cubicBezTo>
                <a:cubicBezTo>
                  <a:pt x="6041" y="0"/>
                  <a:pt x="7783" y="1773"/>
                  <a:pt x="7783" y="3959"/>
                </a:cubicBezTo>
                <a:cubicBezTo>
                  <a:pt x="7783" y="4431"/>
                  <a:pt x="7701" y="4883"/>
                  <a:pt x="7553" y="5302"/>
                </a:cubicBezTo>
                <a:cubicBezTo>
                  <a:pt x="7209" y="6278"/>
                  <a:pt x="6070" y="7930"/>
                  <a:pt x="4141" y="10259"/>
                </a:cubicBezTo>
                <a:close/>
                <a:moveTo>
                  <a:pt x="3891" y="5279"/>
                </a:moveTo>
                <a:cubicBezTo>
                  <a:pt x="4608" y="5279"/>
                  <a:pt x="5189" y="4688"/>
                  <a:pt x="5189" y="3959"/>
                </a:cubicBezTo>
                <a:cubicBezTo>
                  <a:pt x="5189" y="3231"/>
                  <a:pt x="4609" y="2640"/>
                  <a:pt x="3891" y="2640"/>
                </a:cubicBezTo>
                <a:cubicBezTo>
                  <a:pt x="3174" y="2640"/>
                  <a:pt x="2594" y="3231"/>
                  <a:pt x="2594" y="3959"/>
                </a:cubicBezTo>
                <a:cubicBezTo>
                  <a:pt x="2594" y="4688"/>
                  <a:pt x="3175" y="5279"/>
                  <a:pt x="3891" y="5279"/>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sp>
        <p:nvSpPr>
          <p:cNvPr id="73" name="文本框 72">
            <a:extLst>
              <a:ext uri="{FF2B5EF4-FFF2-40B4-BE49-F238E27FC236}">
                <a16:creationId xmlns:a16="http://schemas.microsoft.com/office/drawing/2014/main" id="{9E2983BE-A664-4E8C-BB51-208E4D01E0A6}"/>
              </a:ext>
            </a:extLst>
          </p:cNvPr>
          <p:cNvSpPr txBox="1"/>
          <p:nvPr/>
        </p:nvSpPr>
        <p:spPr>
          <a:xfrm>
            <a:off x="5671683" y="4627583"/>
            <a:ext cx="848634" cy="307777"/>
          </a:xfrm>
          <a:prstGeom prst="rect">
            <a:avLst/>
          </a:prstGeom>
          <a:noFill/>
        </p:spPr>
        <p:txBody>
          <a:bodyPr wrap="square" lIns="0" tIns="0" rIns="0" bIns="0" rtlCol="0" anchor="t">
            <a:spAutoFit/>
          </a:bodyPr>
          <a:lstStyle/>
          <a:p>
            <a:pPr algn="ctr"/>
            <a:r>
              <a:rPr lang="zh-CN" altLang="en-US" sz="2000" dirty="0">
                <a:solidFill>
                  <a:schemeClr val="bg1"/>
                </a:solidFill>
                <a:latin typeface="+mj-ea"/>
                <a:ea typeface="+mj-ea"/>
              </a:rPr>
              <a:t>关键词</a:t>
            </a:r>
          </a:p>
        </p:txBody>
      </p:sp>
      <p:sp>
        <p:nvSpPr>
          <p:cNvPr id="75" name="文本框 74">
            <a:extLst>
              <a:ext uri="{FF2B5EF4-FFF2-40B4-BE49-F238E27FC236}">
                <a16:creationId xmlns:a16="http://schemas.microsoft.com/office/drawing/2014/main" id="{603E74CA-D8E7-4BBD-BD27-7691B9E78A0D}"/>
              </a:ext>
            </a:extLst>
          </p:cNvPr>
          <p:cNvSpPr txBox="1"/>
          <p:nvPr/>
        </p:nvSpPr>
        <p:spPr>
          <a:xfrm>
            <a:off x="2749530" y="2423002"/>
            <a:ext cx="1282402" cy="307777"/>
          </a:xfrm>
          <a:prstGeom prst="rect">
            <a:avLst/>
          </a:prstGeom>
          <a:noFill/>
        </p:spPr>
        <p:txBody>
          <a:bodyPr wrap="none" lIns="0" tIns="0" rIns="0" bIns="0" rtlCol="0" anchor="t">
            <a:spAutoFit/>
          </a:bodyPr>
          <a:lstStyle/>
          <a:p>
            <a:pPr algn="r"/>
            <a:r>
              <a:rPr lang="zh-CN" altLang="en-US" sz="2000" dirty="0">
                <a:solidFill>
                  <a:schemeClr val="accent1"/>
                </a:solidFill>
                <a:latin typeface="+mj-ea"/>
                <a:ea typeface="+mj-ea"/>
              </a:rPr>
              <a:t>关键词标题</a:t>
            </a:r>
          </a:p>
        </p:txBody>
      </p:sp>
      <p:sp>
        <p:nvSpPr>
          <p:cNvPr id="76" name="文本框 75">
            <a:extLst>
              <a:ext uri="{FF2B5EF4-FFF2-40B4-BE49-F238E27FC236}">
                <a16:creationId xmlns:a16="http://schemas.microsoft.com/office/drawing/2014/main" id="{B88D2DBB-D442-49E0-A261-5061F224E47D}"/>
              </a:ext>
            </a:extLst>
          </p:cNvPr>
          <p:cNvSpPr txBox="1"/>
          <p:nvPr/>
        </p:nvSpPr>
        <p:spPr>
          <a:xfrm>
            <a:off x="1543608" y="2927928"/>
            <a:ext cx="2465443" cy="387286"/>
          </a:xfrm>
          <a:prstGeom prst="rect">
            <a:avLst/>
          </a:prstGeom>
          <a:noFill/>
        </p:spPr>
        <p:txBody>
          <a:bodyPr wrap="square" lIns="0" tIns="0" rIns="0" bIns="0" rtlCol="0" anchor="t">
            <a:spAutoFit/>
          </a:bodyPr>
          <a:lstStyle/>
          <a:p>
            <a:pPr algn="r">
              <a:lnSpc>
                <a:spcPct val="130000"/>
              </a:lnSpc>
            </a:pPr>
            <a:r>
              <a:rPr lang="en-US" altLang="zh-CN" sz="1000" b="0" dirty="0">
                <a:solidFill>
                  <a:schemeClr val="tx1">
                    <a:lumMod val="75000"/>
                    <a:lumOff val="25000"/>
                  </a:schemeClr>
                </a:solidFill>
                <a:effectLst/>
                <a:latin typeface="+mn-ea"/>
              </a:rPr>
              <a:t>Lorem ipsum dolor sit amet, consectetur adipisicing elit, sed do eiusmod tempor</a:t>
            </a:r>
            <a:endParaRPr lang="zh-CN" altLang="en-US" sz="1000" b="0" dirty="0">
              <a:solidFill>
                <a:schemeClr val="tx1">
                  <a:lumMod val="75000"/>
                  <a:lumOff val="25000"/>
                </a:schemeClr>
              </a:solidFill>
              <a:effectLst/>
              <a:latin typeface="+mn-ea"/>
            </a:endParaRPr>
          </a:p>
        </p:txBody>
      </p:sp>
      <p:cxnSp>
        <p:nvCxnSpPr>
          <p:cNvPr id="77" name="直接连接符 76">
            <a:extLst>
              <a:ext uri="{FF2B5EF4-FFF2-40B4-BE49-F238E27FC236}">
                <a16:creationId xmlns:a16="http://schemas.microsoft.com/office/drawing/2014/main" id="{29A236E9-3E1C-4EE8-80EE-B52D4805114C}"/>
              </a:ext>
            </a:extLst>
          </p:cNvPr>
          <p:cNvCxnSpPr/>
          <p:nvPr/>
        </p:nvCxnSpPr>
        <p:spPr>
          <a:xfrm flipH="1">
            <a:off x="3553757" y="2857217"/>
            <a:ext cx="424814"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78" name="文本框 77">
            <a:extLst>
              <a:ext uri="{FF2B5EF4-FFF2-40B4-BE49-F238E27FC236}">
                <a16:creationId xmlns:a16="http://schemas.microsoft.com/office/drawing/2014/main" id="{511C3F84-537E-4E62-98B1-CCBD01281CC6}"/>
              </a:ext>
            </a:extLst>
          </p:cNvPr>
          <p:cNvSpPr txBox="1"/>
          <p:nvPr/>
        </p:nvSpPr>
        <p:spPr>
          <a:xfrm>
            <a:off x="8182950" y="2423002"/>
            <a:ext cx="1282402" cy="307777"/>
          </a:xfrm>
          <a:prstGeom prst="rect">
            <a:avLst/>
          </a:prstGeom>
          <a:noFill/>
        </p:spPr>
        <p:txBody>
          <a:bodyPr wrap="none" lIns="0" tIns="0" rIns="0" bIns="0" rtlCol="0" anchor="t">
            <a:spAutoFit/>
          </a:bodyPr>
          <a:lstStyle/>
          <a:p>
            <a:r>
              <a:rPr lang="zh-CN" altLang="en-US" sz="2000" dirty="0">
                <a:solidFill>
                  <a:schemeClr val="accent1"/>
                </a:solidFill>
                <a:latin typeface="+mj-ea"/>
                <a:ea typeface="+mj-ea"/>
              </a:rPr>
              <a:t>关键词标题</a:t>
            </a:r>
          </a:p>
        </p:txBody>
      </p:sp>
      <p:sp>
        <p:nvSpPr>
          <p:cNvPr id="79" name="文本框 78">
            <a:extLst>
              <a:ext uri="{FF2B5EF4-FFF2-40B4-BE49-F238E27FC236}">
                <a16:creationId xmlns:a16="http://schemas.microsoft.com/office/drawing/2014/main" id="{E77DEBC5-115A-449F-8C56-87B369F977DA}"/>
              </a:ext>
            </a:extLst>
          </p:cNvPr>
          <p:cNvSpPr txBox="1"/>
          <p:nvPr/>
        </p:nvSpPr>
        <p:spPr>
          <a:xfrm>
            <a:off x="8182950" y="2927928"/>
            <a:ext cx="2465443" cy="387286"/>
          </a:xfrm>
          <a:prstGeom prst="rect">
            <a:avLst/>
          </a:prstGeom>
          <a:noFill/>
        </p:spPr>
        <p:txBody>
          <a:bodyPr wrap="square" lIns="0" tIns="0" rIns="0" bIns="0" rtlCol="0" anchor="t">
            <a:spAutoFit/>
          </a:bodyPr>
          <a:lstStyle/>
          <a:p>
            <a:pPr>
              <a:lnSpc>
                <a:spcPct val="130000"/>
              </a:lnSpc>
            </a:pPr>
            <a:r>
              <a:rPr lang="en-US" altLang="zh-CN" sz="1000" b="0" dirty="0">
                <a:solidFill>
                  <a:schemeClr val="tx1">
                    <a:lumMod val="75000"/>
                    <a:lumOff val="25000"/>
                  </a:schemeClr>
                </a:solidFill>
                <a:effectLst/>
                <a:latin typeface="+mn-ea"/>
              </a:rPr>
              <a:t>Lorem ipsum dolor sit amet, consectetur adipisicing elit, sed do eiusmod tempor</a:t>
            </a:r>
            <a:endParaRPr lang="zh-CN" altLang="en-US" sz="1000" b="0" dirty="0">
              <a:solidFill>
                <a:schemeClr val="tx1">
                  <a:lumMod val="75000"/>
                  <a:lumOff val="25000"/>
                </a:schemeClr>
              </a:solidFill>
              <a:effectLst/>
              <a:latin typeface="+mn-ea"/>
            </a:endParaRPr>
          </a:p>
        </p:txBody>
      </p:sp>
      <p:cxnSp>
        <p:nvCxnSpPr>
          <p:cNvPr id="80" name="直接连接符 79">
            <a:extLst>
              <a:ext uri="{FF2B5EF4-FFF2-40B4-BE49-F238E27FC236}">
                <a16:creationId xmlns:a16="http://schemas.microsoft.com/office/drawing/2014/main" id="{A4DC688A-02A3-4901-86F9-6EED9C094CC0}"/>
              </a:ext>
            </a:extLst>
          </p:cNvPr>
          <p:cNvCxnSpPr>
            <a:cxnSpLocks/>
          </p:cNvCxnSpPr>
          <p:nvPr/>
        </p:nvCxnSpPr>
        <p:spPr>
          <a:xfrm flipH="1">
            <a:off x="8182950" y="2857217"/>
            <a:ext cx="424814"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82" name="任意形状 9">
            <a:extLst>
              <a:ext uri="{FF2B5EF4-FFF2-40B4-BE49-F238E27FC236}">
                <a16:creationId xmlns:a16="http://schemas.microsoft.com/office/drawing/2014/main" id="{AA202101-1D6B-4874-9BE5-D6BF99331DE8}"/>
              </a:ext>
            </a:extLst>
          </p:cNvPr>
          <p:cNvSpPr/>
          <p:nvPr/>
        </p:nvSpPr>
        <p:spPr>
          <a:xfrm>
            <a:off x="0" y="6457950"/>
            <a:ext cx="12192000" cy="400050"/>
          </a:xfrm>
          <a:custGeom>
            <a:avLst/>
            <a:gdLst>
              <a:gd name="connsiteX0" fmla="*/ 12192000 w 12192000"/>
              <a:gd name="connsiteY0" fmla="*/ 0 h 329410"/>
              <a:gd name="connsiteX1" fmla="*/ 12192000 w 12192000"/>
              <a:gd name="connsiteY1" fmla="*/ 329410 h 329410"/>
              <a:gd name="connsiteX2" fmla="*/ 0 w 12192000"/>
              <a:gd name="connsiteY2" fmla="*/ 329410 h 329410"/>
              <a:gd name="connsiteX3" fmla="*/ 0 w 12192000"/>
              <a:gd name="connsiteY3" fmla="*/ 29375 h 329410"/>
              <a:gd name="connsiteX4" fmla="*/ 577089 w 12192000"/>
              <a:gd name="connsiteY4" fmla="*/ 49593 h 329410"/>
              <a:gd name="connsiteX5" fmla="*/ 5704114 w 12192000"/>
              <a:gd name="connsiteY5" fmla="*/ 124873 h 329410"/>
              <a:gd name="connsiteX6" fmla="*/ 11982536 w 12192000"/>
              <a:gd name="connsiteY6" fmla="*/ 9255 h 329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329410">
                <a:moveTo>
                  <a:pt x="12192000" y="0"/>
                </a:moveTo>
                <a:lnTo>
                  <a:pt x="12192000" y="329410"/>
                </a:lnTo>
                <a:lnTo>
                  <a:pt x="0" y="329410"/>
                </a:lnTo>
                <a:lnTo>
                  <a:pt x="0" y="29375"/>
                </a:lnTo>
                <a:lnTo>
                  <a:pt x="577089" y="49593"/>
                </a:lnTo>
                <a:cubicBezTo>
                  <a:pt x="2152931" y="98068"/>
                  <a:pt x="3885480" y="124873"/>
                  <a:pt x="5704114" y="124873"/>
                </a:cubicBezTo>
                <a:cubicBezTo>
                  <a:pt x="7977407" y="124873"/>
                  <a:pt x="10116192" y="82990"/>
                  <a:pt x="11982536" y="9255"/>
                </a:cubicBezTo>
                <a:close/>
              </a:path>
            </a:pathLst>
          </a:custGeom>
          <a:solidFill>
            <a:schemeClr val="accent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zh-CN" altLang="en-US"/>
          </a:p>
        </p:txBody>
      </p:sp>
    </p:spTree>
    <p:custDataLst>
      <p:tags r:id="rId2"/>
    </p:custDataLst>
    <p:extLst>
      <p:ext uri="{BB962C8B-B14F-4D97-AF65-F5344CB8AC3E}">
        <p14:creationId xmlns:p14="http://schemas.microsoft.com/office/powerpoint/2010/main" val="3257215031"/>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3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 name="任意形状 9">
            <a:extLst>
              <a:ext uri="{FF2B5EF4-FFF2-40B4-BE49-F238E27FC236}">
                <a16:creationId xmlns:a16="http://schemas.microsoft.com/office/drawing/2014/main" id="{AA202101-1D6B-4874-9BE5-D6BF99331DE8}"/>
              </a:ext>
            </a:extLst>
          </p:cNvPr>
          <p:cNvSpPr/>
          <p:nvPr/>
        </p:nvSpPr>
        <p:spPr>
          <a:xfrm>
            <a:off x="0" y="6457950"/>
            <a:ext cx="12192000" cy="400050"/>
          </a:xfrm>
          <a:custGeom>
            <a:avLst/>
            <a:gdLst>
              <a:gd name="connsiteX0" fmla="*/ 12192000 w 12192000"/>
              <a:gd name="connsiteY0" fmla="*/ 0 h 329410"/>
              <a:gd name="connsiteX1" fmla="*/ 12192000 w 12192000"/>
              <a:gd name="connsiteY1" fmla="*/ 329410 h 329410"/>
              <a:gd name="connsiteX2" fmla="*/ 0 w 12192000"/>
              <a:gd name="connsiteY2" fmla="*/ 329410 h 329410"/>
              <a:gd name="connsiteX3" fmla="*/ 0 w 12192000"/>
              <a:gd name="connsiteY3" fmla="*/ 29375 h 329410"/>
              <a:gd name="connsiteX4" fmla="*/ 577089 w 12192000"/>
              <a:gd name="connsiteY4" fmla="*/ 49593 h 329410"/>
              <a:gd name="connsiteX5" fmla="*/ 5704114 w 12192000"/>
              <a:gd name="connsiteY5" fmla="*/ 124873 h 329410"/>
              <a:gd name="connsiteX6" fmla="*/ 11982536 w 12192000"/>
              <a:gd name="connsiteY6" fmla="*/ 9255 h 329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329410">
                <a:moveTo>
                  <a:pt x="12192000" y="0"/>
                </a:moveTo>
                <a:lnTo>
                  <a:pt x="12192000" y="329410"/>
                </a:lnTo>
                <a:lnTo>
                  <a:pt x="0" y="329410"/>
                </a:lnTo>
                <a:lnTo>
                  <a:pt x="0" y="29375"/>
                </a:lnTo>
                <a:lnTo>
                  <a:pt x="577089" y="49593"/>
                </a:lnTo>
                <a:cubicBezTo>
                  <a:pt x="2152931" y="98068"/>
                  <a:pt x="3885480" y="124873"/>
                  <a:pt x="5704114" y="124873"/>
                </a:cubicBezTo>
                <a:cubicBezTo>
                  <a:pt x="7977407" y="124873"/>
                  <a:pt x="10116192" y="82990"/>
                  <a:pt x="11982536" y="9255"/>
                </a:cubicBezTo>
                <a:close/>
              </a:path>
            </a:pathLst>
          </a:custGeom>
          <a:solidFill>
            <a:schemeClr val="accent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zh-CN" altLang="en-US"/>
          </a:p>
        </p:txBody>
      </p:sp>
      <p:sp>
        <p:nvSpPr>
          <p:cNvPr id="2" name="椭圆 1">
            <a:extLst>
              <a:ext uri="{FF2B5EF4-FFF2-40B4-BE49-F238E27FC236}">
                <a16:creationId xmlns:a16="http://schemas.microsoft.com/office/drawing/2014/main" id="{35974FA6-391C-42F3-BCF4-F6E3A9F53909}"/>
              </a:ext>
            </a:extLst>
          </p:cNvPr>
          <p:cNvSpPr/>
          <p:nvPr/>
        </p:nvSpPr>
        <p:spPr>
          <a:xfrm>
            <a:off x="4752975" y="2245613"/>
            <a:ext cx="2686050" cy="2686050"/>
          </a:xfrm>
          <a:prstGeom prst="ellipse">
            <a:avLst/>
          </a:prstGeom>
          <a:solidFill>
            <a:schemeClr val="bg1"/>
          </a:solidFill>
          <a:ln>
            <a:solidFill>
              <a:schemeClr val="accent1"/>
            </a:solidFill>
            <a:prstDash val="lgDash"/>
          </a:ln>
          <a:effectLst>
            <a:outerShdw blurRad="787400" sx="102000" sy="102000" algn="ctr" rotWithShape="0">
              <a:schemeClr val="accent1">
                <a:lumMod val="90000"/>
                <a:lumOff val="10000"/>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21" name="椭圆 20">
            <a:extLst>
              <a:ext uri="{FF2B5EF4-FFF2-40B4-BE49-F238E27FC236}">
                <a16:creationId xmlns:a16="http://schemas.microsoft.com/office/drawing/2014/main" id="{F83BA840-E2E5-4017-BE7B-E7F111444E47}"/>
              </a:ext>
            </a:extLst>
          </p:cNvPr>
          <p:cNvSpPr/>
          <p:nvPr/>
        </p:nvSpPr>
        <p:spPr>
          <a:xfrm>
            <a:off x="5276850" y="2769488"/>
            <a:ext cx="1638300" cy="1638300"/>
          </a:xfrm>
          <a:prstGeom prst="ellipse">
            <a:avLst/>
          </a:prstGeom>
          <a:solidFill>
            <a:schemeClr val="accent1"/>
          </a:solidFill>
          <a:ln>
            <a:noFill/>
            <a:prstDash val="lgDash"/>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7" name="弧形 6">
            <a:extLst>
              <a:ext uri="{FF2B5EF4-FFF2-40B4-BE49-F238E27FC236}">
                <a16:creationId xmlns:a16="http://schemas.microsoft.com/office/drawing/2014/main" id="{241D9D67-7F0E-4217-8C6C-1759E24AFE13}"/>
              </a:ext>
            </a:extLst>
          </p:cNvPr>
          <p:cNvSpPr/>
          <p:nvPr/>
        </p:nvSpPr>
        <p:spPr>
          <a:xfrm>
            <a:off x="5001950" y="2494588"/>
            <a:ext cx="2188100" cy="2188100"/>
          </a:xfrm>
          <a:prstGeom prst="arc">
            <a:avLst>
              <a:gd name="adj1" fmla="val 16412011"/>
              <a:gd name="adj2" fmla="val 2530672"/>
            </a:avLst>
          </a:prstGeom>
          <a:ln w="9525">
            <a:tailEnd type="stealt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sp>
        <p:nvSpPr>
          <p:cNvPr id="29" name="弧形 28">
            <a:extLst>
              <a:ext uri="{FF2B5EF4-FFF2-40B4-BE49-F238E27FC236}">
                <a16:creationId xmlns:a16="http://schemas.microsoft.com/office/drawing/2014/main" id="{47B7115C-E048-47A0-B82A-0A3917923227}"/>
              </a:ext>
            </a:extLst>
          </p:cNvPr>
          <p:cNvSpPr/>
          <p:nvPr/>
        </p:nvSpPr>
        <p:spPr>
          <a:xfrm>
            <a:off x="5001950" y="2494588"/>
            <a:ext cx="2188100" cy="2188100"/>
          </a:xfrm>
          <a:prstGeom prst="arc">
            <a:avLst>
              <a:gd name="adj1" fmla="val 2927586"/>
              <a:gd name="adj2" fmla="val 7898306"/>
            </a:avLst>
          </a:prstGeom>
          <a:ln w="9525">
            <a:tailEnd type="stealt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sp>
        <p:nvSpPr>
          <p:cNvPr id="30" name="弧形 29">
            <a:extLst>
              <a:ext uri="{FF2B5EF4-FFF2-40B4-BE49-F238E27FC236}">
                <a16:creationId xmlns:a16="http://schemas.microsoft.com/office/drawing/2014/main" id="{1F89CA82-4E2B-4002-9B30-147C00BF2027}"/>
              </a:ext>
            </a:extLst>
          </p:cNvPr>
          <p:cNvSpPr/>
          <p:nvPr/>
        </p:nvSpPr>
        <p:spPr>
          <a:xfrm flipH="1">
            <a:off x="5001950" y="2494588"/>
            <a:ext cx="2188100" cy="2188100"/>
          </a:xfrm>
          <a:prstGeom prst="arc">
            <a:avLst>
              <a:gd name="adj1" fmla="val 16412011"/>
              <a:gd name="adj2" fmla="val 2530672"/>
            </a:avLst>
          </a:prstGeom>
          <a:ln w="9525">
            <a:headEnd type="stealth"/>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sp>
        <p:nvSpPr>
          <p:cNvPr id="14" name="椭圆 13">
            <a:extLst>
              <a:ext uri="{FF2B5EF4-FFF2-40B4-BE49-F238E27FC236}">
                <a16:creationId xmlns:a16="http://schemas.microsoft.com/office/drawing/2014/main" id="{7557B620-5567-490A-86B3-CE172C62C717}"/>
              </a:ext>
            </a:extLst>
          </p:cNvPr>
          <p:cNvSpPr/>
          <p:nvPr/>
        </p:nvSpPr>
        <p:spPr>
          <a:xfrm>
            <a:off x="5276850" y="4312275"/>
            <a:ext cx="64294" cy="64294"/>
          </a:xfrm>
          <a:prstGeom prst="ellipse">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32" name="椭圆 31">
            <a:extLst>
              <a:ext uri="{FF2B5EF4-FFF2-40B4-BE49-F238E27FC236}">
                <a16:creationId xmlns:a16="http://schemas.microsoft.com/office/drawing/2014/main" id="{2249EFA5-8455-41A6-9F6E-141ADE8173EE}"/>
              </a:ext>
            </a:extLst>
          </p:cNvPr>
          <p:cNvSpPr/>
          <p:nvPr/>
        </p:nvSpPr>
        <p:spPr>
          <a:xfrm>
            <a:off x="6096000" y="2462441"/>
            <a:ext cx="64294" cy="64294"/>
          </a:xfrm>
          <a:prstGeom prst="ellipse">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33" name="椭圆 32">
            <a:extLst>
              <a:ext uri="{FF2B5EF4-FFF2-40B4-BE49-F238E27FC236}">
                <a16:creationId xmlns:a16="http://schemas.microsoft.com/office/drawing/2014/main" id="{FB2A5A93-331A-44B5-9493-EA89F3421613}"/>
              </a:ext>
            </a:extLst>
          </p:cNvPr>
          <p:cNvSpPr/>
          <p:nvPr/>
        </p:nvSpPr>
        <p:spPr>
          <a:xfrm>
            <a:off x="6804819" y="4360957"/>
            <a:ext cx="64294" cy="64294"/>
          </a:xfrm>
          <a:prstGeom prst="ellipse">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34" name="user_209046">
            <a:extLst>
              <a:ext uri="{FF2B5EF4-FFF2-40B4-BE49-F238E27FC236}">
                <a16:creationId xmlns:a16="http://schemas.microsoft.com/office/drawing/2014/main" id="{8A71332F-7E5D-4E97-BC47-FD092754988B}"/>
              </a:ext>
            </a:extLst>
          </p:cNvPr>
          <p:cNvSpPr/>
          <p:nvPr/>
        </p:nvSpPr>
        <p:spPr>
          <a:xfrm>
            <a:off x="5906650" y="3064543"/>
            <a:ext cx="507288" cy="457450"/>
          </a:xfrm>
          <a:custGeom>
            <a:avLst/>
            <a:gdLst>
              <a:gd name="connsiteX0" fmla="*/ 521432 w 608344"/>
              <a:gd name="connsiteY0" fmla="*/ 370453 h 548582"/>
              <a:gd name="connsiteX1" fmla="*/ 465737 w 608344"/>
              <a:gd name="connsiteY1" fmla="*/ 425787 h 548582"/>
              <a:gd name="connsiteX2" fmla="*/ 442491 w 608344"/>
              <a:gd name="connsiteY2" fmla="*/ 402479 h 548582"/>
              <a:gd name="connsiteX3" fmla="*/ 418201 w 608344"/>
              <a:gd name="connsiteY3" fmla="*/ 426545 h 548582"/>
              <a:gd name="connsiteX4" fmla="*/ 441447 w 608344"/>
              <a:gd name="connsiteY4" fmla="*/ 449948 h 548582"/>
              <a:gd name="connsiteX5" fmla="*/ 465642 w 608344"/>
              <a:gd name="connsiteY5" fmla="*/ 474204 h 548582"/>
              <a:gd name="connsiteX6" fmla="*/ 489932 w 608344"/>
              <a:gd name="connsiteY6" fmla="*/ 450043 h 548582"/>
              <a:gd name="connsiteX7" fmla="*/ 545532 w 608344"/>
              <a:gd name="connsiteY7" fmla="*/ 394709 h 548582"/>
              <a:gd name="connsiteX8" fmla="*/ 481962 w 608344"/>
              <a:gd name="connsiteY8" fmla="*/ 296170 h 548582"/>
              <a:gd name="connsiteX9" fmla="*/ 608344 w 608344"/>
              <a:gd name="connsiteY9" fmla="*/ 422376 h 548582"/>
              <a:gd name="connsiteX10" fmla="*/ 481962 w 608344"/>
              <a:gd name="connsiteY10" fmla="*/ 548582 h 548582"/>
              <a:gd name="connsiteX11" fmla="*/ 355579 w 608344"/>
              <a:gd name="connsiteY11" fmla="*/ 422376 h 548582"/>
              <a:gd name="connsiteX12" fmla="*/ 481962 w 608344"/>
              <a:gd name="connsiteY12" fmla="*/ 296170 h 548582"/>
              <a:gd name="connsiteX13" fmla="*/ 255835 w 608344"/>
              <a:gd name="connsiteY13" fmla="*/ 446 h 548582"/>
              <a:gd name="connsiteX14" fmla="*/ 317801 w 608344"/>
              <a:gd name="connsiteY14" fmla="*/ 13616 h 548582"/>
              <a:gd name="connsiteX15" fmla="*/ 348072 w 608344"/>
              <a:gd name="connsiteY15" fmla="*/ 41661 h 548582"/>
              <a:gd name="connsiteX16" fmla="*/ 381190 w 608344"/>
              <a:gd name="connsiteY16" fmla="*/ 146831 h 548582"/>
              <a:gd name="connsiteX17" fmla="*/ 378913 w 608344"/>
              <a:gd name="connsiteY17" fmla="*/ 156211 h 548582"/>
              <a:gd name="connsiteX18" fmla="*/ 387833 w 608344"/>
              <a:gd name="connsiteY18" fmla="*/ 200458 h 548582"/>
              <a:gd name="connsiteX19" fmla="*/ 366387 w 608344"/>
              <a:gd name="connsiteY19" fmla="*/ 237694 h 548582"/>
              <a:gd name="connsiteX20" fmla="*/ 351393 w 608344"/>
              <a:gd name="connsiteY20" fmla="*/ 278720 h 548582"/>
              <a:gd name="connsiteX21" fmla="*/ 351393 w 608344"/>
              <a:gd name="connsiteY21" fmla="*/ 322873 h 548582"/>
              <a:gd name="connsiteX22" fmla="*/ 317611 w 608344"/>
              <a:gd name="connsiteY22" fmla="*/ 422358 h 548582"/>
              <a:gd name="connsiteX23" fmla="*/ 376635 w 608344"/>
              <a:gd name="connsiteY23" fmla="*/ 548088 h 548582"/>
              <a:gd name="connsiteX24" fmla="*/ 26855 w 608344"/>
              <a:gd name="connsiteY24" fmla="*/ 548088 h 548582"/>
              <a:gd name="connsiteX25" fmla="*/ 0 w 608344"/>
              <a:gd name="connsiteY25" fmla="*/ 521274 h 548582"/>
              <a:gd name="connsiteX26" fmla="*/ 0 w 608344"/>
              <a:gd name="connsiteY26" fmla="*/ 473806 h 548582"/>
              <a:gd name="connsiteX27" fmla="*/ 19453 w 608344"/>
              <a:gd name="connsiteY27" fmla="*/ 432969 h 548582"/>
              <a:gd name="connsiteX28" fmla="*/ 173751 w 608344"/>
              <a:gd name="connsiteY28" fmla="*/ 334242 h 548582"/>
              <a:gd name="connsiteX29" fmla="*/ 176408 w 608344"/>
              <a:gd name="connsiteY29" fmla="*/ 329884 h 548582"/>
              <a:gd name="connsiteX30" fmla="*/ 176408 w 608344"/>
              <a:gd name="connsiteY30" fmla="*/ 278720 h 548582"/>
              <a:gd name="connsiteX31" fmla="*/ 161320 w 608344"/>
              <a:gd name="connsiteY31" fmla="*/ 237694 h 548582"/>
              <a:gd name="connsiteX32" fmla="*/ 139969 w 608344"/>
              <a:gd name="connsiteY32" fmla="*/ 200458 h 548582"/>
              <a:gd name="connsiteX33" fmla="*/ 148320 w 608344"/>
              <a:gd name="connsiteY33" fmla="*/ 156211 h 548582"/>
              <a:gd name="connsiteX34" fmla="*/ 146042 w 608344"/>
              <a:gd name="connsiteY34" fmla="*/ 146736 h 548582"/>
              <a:gd name="connsiteX35" fmla="*/ 145758 w 608344"/>
              <a:gd name="connsiteY35" fmla="*/ 95099 h 548582"/>
              <a:gd name="connsiteX36" fmla="*/ 176029 w 608344"/>
              <a:gd name="connsiteY36" fmla="*/ 42135 h 548582"/>
              <a:gd name="connsiteX37" fmla="*/ 203928 w 608344"/>
              <a:gd name="connsiteY37" fmla="*/ 19017 h 548582"/>
              <a:gd name="connsiteX38" fmla="*/ 231162 w 608344"/>
              <a:gd name="connsiteY38" fmla="*/ 5089 h 548582"/>
              <a:gd name="connsiteX39" fmla="*/ 255835 w 608344"/>
              <a:gd name="connsiteY39" fmla="*/ 446 h 548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608344" h="548582">
                <a:moveTo>
                  <a:pt x="521432" y="370453"/>
                </a:moveTo>
                <a:lnTo>
                  <a:pt x="465737" y="425787"/>
                </a:lnTo>
                <a:lnTo>
                  <a:pt x="442491" y="402479"/>
                </a:lnTo>
                <a:lnTo>
                  <a:pt x="418201" y="426545"/>
                </a:lnTo>
                <a:lnTo>
                  <a:pt x="441447" y="449948"/>
                </a:lnTo>
                <a:lnTo>
                  <a:pt x="465642" y="474204"/>
                </a:lnTo>
                <a:lnTo>
                  <a:pt x="489932" y="450043"/>
                </a:lnTo>
                <a:lnTo>
                  <a:pt x="545532" y="394709"/>
                </a:lnTo>
                <a:close/>
                <a:moveTo>
                  <a:pt x="481962" y="296170"/>
                </a:moveTo>
                <a:cubicBezTo>
                  <a:pt x="551795" y="296170"/>
                  <a:pt x="608344" y="352641"/>
                  <a:pt x="608344" y="422376"/>
                </a:cubicBezTo>
                <a:cubicBezTo>
                  <a:pt x="608344" y="492111"/>
                  <a:pt x="551795" y="548582"/>
                  <a:pt x="481962" y="548582"/>
                </a:cubicBezTo>
                <a:cubicBezTo>
                  <a:pt x="412129" y="548582"/>
                  <a:pt x="355579" y="492111"/>
                  <a:pt x="355579" y="422376"/>
                </a:cubicBezTo>
                <a:cubicBezTo>
                  <a:pt x="355579" y="352641"/>
                  <a:pt x="412129" y="296170"/>
                  <a:pt x="481962" y="296170"/>
                </a:cubicBezTo>
                <a:close/>
                <a:moveTo>
                  <a:pt x="255835" y="446"/>
                </a:moveTo>
                <a:cubicBezTo>
                  <a:pt x="282785" y="-1828"/>
                  <a:pt x="303187" y="4899"/>
                  <a:pt x="317801" y="13616"/>
                </a:cubicBezTo>
                <a:cubicBezTo>
                  <a:pt x="339721" y="25744"/>
                  <a:pt x="348072" y="41661"/>
                  <a:pt x="348072" y="41661"/>
                </a:cubicBezTo>
                <a:cubicBezTo>
                  <a:pt x="348072" y="41661"/>
                  <a:pt x="398176" y="45167"/>
                  <a:pt x="381190" y="146831"/>
                </a:cubicBezTo>
                <a:cubicBezTo>
                  <a:pt x="380621" y="149863"/>
                  <a:pt x="379862" y="153085"/>
                  <a:pt x="378913" y="156211"/>
                </a:cubicBezTo>
                <a:cubicBezTo>
                  <a:pt x="388592" y="156211"/>
                  <a:pt x="398271" y="163507"/>
                  <a:pt x="387833" y="200458"/>
                </a:cubicBezTo>
                <a:cubicBezTo>
                  <a:pt x="379672" y="229262"/>
                  <a:pt x="372080" y="237221"/>
                  <a:pt x="366387" y="237694"/>
                </a:cubicBezTo>
                <a:cubicBezTo>
                  <a:pt x="364394" y="250675"/>
                  <a:pt x="359175" y="265076"/>
                  <a:pt x="351393" y="278720"/>
                </a:cubicBezTo>
                <a:lnTo>
                  <a:pt x="351393" y="322873"/>
                </a:lnTo>
                <a:cubicBezTo>
                  <a:pt x="330232" y="350539"/>
                  <a:pt x="317611" y="385027"/>
                  <a:pt x="317611" y="422358"/>
                </a:cubicBezTo>
                <a:cubicBezTo>
                  <a:pt x="317611" y="472764"/>
                  <a:pt x="340480" y="518053"/>
                  <a:pt x="376635" y="548088"/>
                </a:cubicBezTo>
                <a:lnTo>
                  <a:pt x="26855" y="548088"/>
                </a:lnTo>
                <a:cubicBezTo>
                  <a:pt x="12052" y="548088"/>
                  <a:pt x="0" y="536055"/>
                  <a:pt x="0" y="521274"/>
                </a:cubicBezTo>
                <a:lnTo>
                  <a:pt x="0" y="473806"/>
                </a:lnTo>
                <a:cubicBezTo>
                  <a:pt x="0" y="457983"/>
                  <a:pt x="7212" y="443013"/>
                  <a:pt x="19453" y="432969"/>
                </a:cubicBezTo>
                <a:cubicBezTo>
                  <a:pt x="86638" y="377921"/>
                  <a:pt x="159043" y="341443"/>
                  <a:pt x="173751" y="334242"/>
                </a:cubicBezTo>
                <a:cubicBezTo>
                  <a:pt x="175365" y="333484"/>
                  <a:pt x="176408" y="331779"/>
                  <a:pt x="176408" y="329884"/>
                </a:cubicBezTo>
                <a:lnTo>
                  <a:pt x="176408" y="278720"/>
                </a:lnTo>
                <a:cubicBezTo>
                  <a:pt x="168437" y="265076"/>
                  <a:pt x="163313" y="250675"/>
                  <a:pt x="161320" y="237694"/>
                </a:cubicBezTo>
                <a:cubicBezTo>
                  <a:pt x="155627" y="237221"/>
                  <a:pt x="148035" y="229072"/>
                  <a:pt x="139969" y="200458"/>
                </a:cubicBezTo>
                <a:cubicBezTo>
                  <a:pt x="129531" y="164170"/>
                  <a:pt x="138925" y="156496"/>
                  <a:pt x="148320" y="156211"/>
                </a:cubicBezTo>
                <a:cubicBezTo>
                  <a:pt x="147371" y="153085"/>
                  <a:pt x="146612" y="149863"/>
                  <a:pt x="146042" y="146736"/>
                </a:cubicBezTo>
                <a:cubicBezTo>
                  <a:pt x="142436" y="128450"/>
                  <a:pt x="141487" y="111396"/>
                  <a:pt x="145758" y="95099"/>
                </a:cubicBezTo>
                <a:cubicBezTo>
                  <a:pt x="150787" y="73212"/>
                  <a:pt x="162744" y="55684"/>
                  <a:pt x="176029" y="42135"/>
                </a:cubicBezTo>
                <a:cubicBezTo>
                  <a:pt x="184379" y="33134"/>
                  <a:pt x="193869" y="25459"/>
                  <a:pt x="203928" y="19017"/>
                </a:cubicBezTo>
                <a:cubicBezTo>
                  <a:pt x="212183" y="13332"/>
                  <a:pt x="221293" y="8405"/>
                  <a:pt x="231162" y="5089"/>
                </a:cubicBezTo>
                <a:cubicBezTo>
                  <a:pt x="238849" y="2625"/>
                  <a:pt x="247105" y="825"/>
                  <a:pt x="255835" y="446"/>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5" name="文本框 34">
            <a:extLst>
              <a:ext uri="{FF2B5EF4-FFF2-40B4-BE49-F238E27FC236}">
                <a16:creationId xmlns:a16="http://schemas.microsoft.com/office/drawing/2014/main" id="{C489FA48-EA09-44C4-B8CB-DE75B4D73010}"/>
              </a:ext>
            </a:extLst>
          </p:cNvPr>
          <p:cNvSpPr txBox="1"/>
          <p:nvPr/>
        </p:nvSpPr>
        <p:spPr>
          <a:xfrm>
            <a:off x="5671683" y="3605208"/>
            <a:ext cx="848634" cy="307777"/>
          </a:xfrm>
          <a:prstGeom prst="rect">
            <a:avLst/>
          </a:prstGeom>
          <a:noFill/>
        </p:spPr>
        <p:txBody>
          <a:bodyPr wrap="square" lIns="0" tIns="0" rIns="0" bIns="0" rtlCol="0" anchor="t">
            <a:spAutoFit/>
          </a:bodyPr>
          <a:lstStyle/>
          <a:p>
            <a:pPr algn="ctr"/>
            <a:r>
              <a:rPr lang="zh-CN" altLang="en-US" sz="2000" dirty="0">
                <a:solidFill>
                  <a:schemeClr val="bg1"/>
                </a:solidFill>
                <a:latin typeface="+mj-ea"/>
                <a:ea typeface="+mj-ea"/>
              </a:rPr>
              <a:t>关键词</a:t>
            </a:r>
          </a:p>
        </p:txBody>
      </p:sp>
      <p:sp>
        <p:nvSpPr>
          <p:cNvPr id="36" name="椭圆 35">
            <a:extLst>
              <a:ext uri="{FF2B5EF4-FFF2-40B4-BE49-F238E27FC236}">
                <a16:creationId xmlns:a16="http://schemas.microsoft.com/office/drawing/2014/main" id="{0AE7A12F-305F-41E8-9F75-97C24CC1D80D}"/>
              </a:ext>
            </a:extLst>
          </p:cNvPr>
          <p:cNvSpPr/>
          <p:nvPr/>
        </p:nvSpPr>
        <p:spPr>
          <a:xfrm>
            <a:off x="7552944" y="4064770"/>
            <a:ext cx="1235836" cy="1235836"/>
          </a:xfrm>
          <a:prstGeom prst="ellipse">
            <a:avLst/>
          </a:prstGeom>
          <a:solidFill>
            <a:schemeClr val="accent1"/>
          </a:solidFill>
          <a:ln>
            <a:noFill/>
            <a:prstDash val="lgDash"/>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37" name="椭圆 36">
            <a:extLst>
              <a:ext uri="{FF2B5EF4-FFF2-40B4-BE49-F238E27FC236}">
                <a16:creationId xmlns:a16="http://schemas.microsoft.com/office/drawing/2014/main" id="{B0BF3A97-8F88-44D1-B9C9-28A54F40CE5D}"/>
              </a:ext>
            </a:extLst>
          </p:cNvPr>
          <p:cNvSpPr/>
          <p:nvPr/>
        </p:nvSpPr>
        <p:spPr>
          <a:xfrm>
            <a:off x="3323538" y="4064770"/>
            <a:ext cx="1235836" cy="1235836"/>
          </a:xfrm>
          <a:prstGeom prst="ellipse">
            <a:avLst/>
          </a:prstGeom>
          <a:solidFill>
            <a:schemeClr val="accent1"/>
          </a:solidFill>
          <a:ln>
            <a:noFill/>
            <a:prstDash val="lgDash"/>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15" name="矩形: 圆角 14">
            <a:extLst>
              <a:ext uri="{FF2B5EF4-FFF2-40B4-BE49-F238E27FC236}">
                <a16:creationId xmlns:a16="http://schemas.microsoft.com/office/drawing/2014/main" id="{178B8D43-2304-4EE9-ADBC-A233446C1BE8}"/>
              </a:ext>
            </a:extLst>
          </p:cNvPr>
          <p:cNvSpPr/>
          <p:nvPr/>
        </p:nvSpPr>
        <p:spPr>
          <a:xfrm>
            <a:off x="4324350" y="1067108"/>
            <a:ext cx="3543300" cy="1002608"/>
          </a:xfrm>
          <a:prstGeom prst="roundRect">
            <a:avLst>
              <a:gd name="adj" fmla="val 17754"/>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39" name="文本框 38">
            <a:extLst>
              <a:ext uri="{FF2B5EF4-FFF2-40B4-BE49-F238E27FC236}">
                <a16:creationId xmlns:a16="http://schemas.microsoft.com/office/drawing/2014/main" id="{FE4CF097-1039-4F18-941F-F4FC8DD7F5E4}"/>
              </a:ext>
            </a:extLst>
          </p:cNvPr>
          <p:cNvSpPr txBox="1"/>
          <p:nvPr/>
        </p:nvSpPr>
        <p:spPr>
          <a:xfrm>
            <a:off x="3517139" y="4528799"/>
            <a:ext cx="848634" cy="307777"/>
          </a:xfrm>
          <a:prstGeom prst="rect">
            <a:avLst/>
          </a:prstGeom>
          <a:noFill/>
        </p:spPr>
        <p:txBody>
          <a:bodyPr wrap="square" lIns="0" tIns="0" rIns="0" bIns="0" rtlCol="0" anchor="t">
            <a:spAutoFit/>
          </a:bodyPr>
          <a:lstStyle/>
          <a:p>
            <a:pPr algn="ctr"/>
            <a:r>
              <a:rPr lang="zh-CN" altLang="en-US" sz="2000" dirty="0">
                <a:solidFill>
                  <a:schemeClr val="bg1"/>
                </a:solidFill>
                <a:latin typeface="+mj-ea"/>
                <a:ea typeface="+mj-ea"/>
              </a:rPr>
              <a:t>关键词</a:t>
            </a:r>
          </a:p>
        </p:txBody>
      </p:sp>
      <p:sp>
        <p:nvSpPr>
          <p:cNvPr id="40" name="文本框 39">
            <a:extLst>
              <a:ext uri="{FF2B5EF4-FFF2-40B4-BE49-F238E27FC236}">
                <a16:creationId xmlns:a16="http://schemas.microsoft.com/office/drawing/2014/main" id="{10511DC9-7B4E-4C6D-8E9C-14BD37ACF58E}"/>
              </a:ext>
            </a:extLst>
          </p:cNvPr>
          <p:cNvSpPr txBox="1"/>
          <p:nvPr/>
        </p:nvSpPr>
        <p:spPr>
          <a:xfrm>
            <a:off x="7746545" y="4528799"/>
            <a:ext cx="848634" cy="307777"/>
          </a:xfrm>
          <a:prstGeom prst="rect">
            <a:avLst/>
          </a:prstGeom>
          <a:noFill/>
        </p:spPr>
        <p:txBody>
          <a:bodyPr wrap="square" lIns="0" tIns="0" rIns="0" bIns="0" rtlCol="0" anchor="t">
            <a:spAutoFit/>
          </a:bodyPr>
          <a:lstStyle/>
          <a:p>
            <a:pPr algn="ctr"/>
            <a:r>
              <a:rPr lang="zh-CN" altLang="en-US" sz="2000" dirty="0">
                <a:solidFill>
                  <a:schemeClr val="bg1"/>
                </a:solidFill>
                <a:latin typeface="+mj-ea"/>
                <a:ea typeface="+mj-ea"/>
              </a:rPr>
              <a:t>关键词</a:t>
            </a:r>
          </a:p>
        </p:txBody>
      </p:sp>
      <p:sp>
        <p:nvSpPr>
          <p:cNvPr id="41" name="文本框 40">
            <a:extLst>
              <a:ext uri="{FF2B5EF4-FFF2-40B4-BE49-F238E27FC236}">
                <a16:creationId xmlns:a16="http://schemas.microsoft.com/office/drawing/2014/main" id="{1FC7C6A7-8D13-4D7F-8931-2E194EEFE70E}"/>
              </a:ext>
            </a:extLst>
          </p:cNvPr>
          <p:cNvSpPr txBox="1"/>
          <p:nvPr/>
        </p:nvSpPr>
        <p:spPr>
          <a:xfrm>
            <a:off x="5671683" y="1238078"/>
            <a:ext cx="848634" cy="307777"/>
          </a:xfrm>
          <a:prstGeom prst="rect">
            <a:avLst/>
          </a:prstGeom>
          <a:noFill/>
        </p:spPr>
        <p:txBody>
          <a:bodyPr wrap="square" lIns="0" tIns="0" rIns="0" bIns="0" rtlCol="0" anchor="t">
            <a:spAutoFit/>
          </a:bodyPr>
          <a:lstStyle/>
          <a:p>
            <a:pPr algn="ctr"/>
            <a:r>
              <a:rPr lang="zh-CN" altLang="en-US" sz="2000" dirty="0">
                <a:solidFill>
                  <a:schemeClr val="accent1"/>
                </a:solidFill>
                <a:latin typeface="+mj-ea"/>
                <a:ea typeface="+mj-ea"/>
              </a:rPr>
              <a:t>关键词</a:t>
            </a:r>
          </a:p>
        </p:txBody>
      </p:sp>
      <p:sp>
        <p:nvSpPr>
          <p:cNvPr id="42" name="文本框 41">
            <a:extLst>
              <a:ext uri="{FF2B5EF4-FFF2-40B4-BE49-F238E27FC236}">
                <a16:creationId xmlns:a16="http://schemas.microsoft.com/office/drawing/2014/main" id="{F6F67B0F-D1D3-413D-A186-86139A9EDFB0}"/>
              </a:ext>
            </a:extLst>
          </p:cNvPr>
          <p:cNvSpPr txBox="1"/>
          <p:nvPr/>
        </p:nvSpPr>
        <p:spPr>
          <a:xfrm>
            <a:off x="4495800" y="1558003"/>
            <a:ext cx="3200400" cy="348557"/>
          </a:xfrm>
          <a:prstGeom prst="rect">
            <a:avLst/>
          </a:prstGeom>
          <a:noFill/>
        </p:spPr>
        <p:txBody>
          <a:bodyPr wrap="square" lIns="0" tIns="0" rIns="0" bIns="0" rtlCol="0" anchor="t">
            <a:spAutoFit/>
          </a:bodyPr>
          <a:lstStyle/>
          <a:p>
            <a:pPr algn="ctr">
              <a:lnSpc>
                <a:spcPct val="130000"/>
              </a:lnSpc>
            </a:pPr>
            <a:r>
              <a:rPr lang="en-US" altLang="zh-CN" sz="900" b="0" dirty="0">
                <a:solidFill>
                  <a:schemeClr val="tx1">
                    <a:lumMod val="75000"/>
                    <a:lumOff val="25000"/>
                  </a:schemeClr>
                </a:solidFill>
                <a:effectLst/>
                <a:latin typeface="+mn-ea"/>
              </a:rPr>
              <a:t>Lorem ipsum dolor sit amet, consectetur adipisicing elit, sed do eiusmod tempor</a:t>
            </a:r>
            <a:endParaRPr lang="zh-CN" altLang="en-US" sz="900" b="0" dirty="0">
              <a:solidFill>
                <a:schemeClr val="tx1">
                  <a:lumMod val="75000"/>
                  <a:lumOff val="25000"/>
                </a:schemeClr>
              </a:solidFill>
              <a:effectLst/>
              <a:latin typeface="+mn-ea"/>
            </a:endParaRPr>
          </a:p>
        </p:txBody>
      </p:sp>
      <p:sp>
        <p:nvSpPr>
          <p:cNvPr id="24" name="弧形 23">
            <a:extLst>
              <a:ext uri="{FF2B5EF4-FFF2-40B4-BE49-F238E27FC236}">
                <a16:creationId xmlns:a16="http://schemas.microsoft.com/office/drawing/2014/main" id="{537F5DDA-8541-4718-99A9-E5940F972B94}"/>
              </a:ext>
            </a:extLst>
          </p:cNvPr>
          <p:cNvSpPr/>
          <p:nvPr/>
        </p:nvSpPr>
        <p:spPr>
          <a:xfrm>
            <a:off x="3694545" y="1203753"/>
            <a:ext cx="4802910" cy="4802910"/>
          </a:xfrm>
          <a:prstGeom prst="arc">
            <a:avLst>
              <a:gd name="adj1" fmla="val 19254442"/>
              <a:gd name="adj2" fmla="val 491077"/>
            </a:avLst>
          </a:prstGeom>
          <a:ln>
            <a:tailEnd type="stealt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sp>
        <p:nvSpPr>
          <p:cNvPr id="56" name="弧形 55">
            <a:extLst>
              <a:ext uri="{FF2B5EF4-FFF2-40B4-BE49-F238E27FC236}">
                <a16:creationId xmlns:a16="http://schemas.microsoft.com/office/drawing/2014/main" id="{E0A95628-5C27-4BA8-81A3-9B03078091C7}"/>
              </a:ext>
            </a:extLst>
          </p:cNvPr>
          <p:cNvSpPr/>
          <p:nvPr/>
        </p:nvSpPr>
        <p:spPr>
          <a:xfrm flipH="1">
            <a:off x="3694545" y="1203753"/>
            <a:ext cx="4802910" cy="4802910"/>
          </a:xfrm>
          <a:prstGeom prst="arc">
            <a:avLst>
              <a:gd name="adj1" fmla="val 19254442"/>
              <a:gd name="adj2" fmla="val 491077"/>
            </a:avLst>
          </a:prstGeom>
          <a:ln>
            <a:tailEnd type="stealt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sp>
        <p:nvSpPr>
          <p:cNvPr id="57" name="弧形 56">
            <a:extLst>
              <a:ext uri="{FF2B5EF4-FFF2-40B4-BE49-F238E27FC236}">
                <a16:creationId xmlns:a16="http://schemas.microsoft.com/office/drawing/2014/main" id="{B16586C1-589F-4379-990D-3473D2A42E60}"/>
              </a:ext>
            </a:extLst>
          </p:cNvPr>
          <p:cNvSpPr/>
          <p:nvPr/>
        </p:nvSpPr>
        <p:spPr>
          <a:xfrm flipH="1">
            <a:off x="3694545" y="1203753"/>
            <a:ext cx="4802910" cy="4802910"/>
          </a:xfrm>
          <a:prstGeom prst="arc">
            <a:avLst>
              <a:gd name="adj1" fmla="val 2811084"/>
              <a:gd name="adj2" fmla="val 8001432"/>
            </a:avLst>
          </a:prstGeom>
          <a:ln>
            <a:headEnd type="stealth"/>
            <a:tailEnd type="stealt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sp>
        <p:nvSpPr>
          <p:cNvPr id="58" name="文本框 57">
            <a:extLst>
              <a:ext uri="{FF2B5EF4-FFF2-40B4-BE49-F238E27FC236}">
                <a16:creationId xmlns:a16="http://schemas.microsoft.com/office/drawing/2014/main" id="{F35A2B83-5698-4D0B-95D8-706D7F2DF3BC}"/>
              </a:ext>
            </a:extLst>
          </p:cNvPr>
          <p:cNvSpPr txBox="1"/>
          <p:nvPr/>
        </p:nvSpPr>
        <p:spPr>
          <a:xfrm rot="17261789">
            <a:off x="3181525" y="2623617"/>
            <a:ext cx="848634" cy="307777"/>
          </a:xfrm>
          <a:prstGeom prst="rect">
            <a:avLst/>
          </a:prstGeom>
          <a:noFill/>
        </p:spPr>
        <p:txBody>
          <a:bodyPr wrap="square" lIns="0" tIns="0" rIns="0" bIns="0" rtlCol="0" anchor="t">
            <a:spAutoFit/>
          </a:bodyPr>
          <a:lstStyle/>
          <a:p>
            <a:pPr algn="ctr"/>
            <a:r>
              <a:rPr lang="zh-CN" altLang="en-US" sz="2000" dirty="0">
                <a:solidFill>
                  <a:schemeClr val="accent1"/>
                </a:solidFill>
                <a:latin typeface="+mj-ea"/>
                <a:ea typeface="+mj-ea"/>
              </a:rPr>
              <a:t>关键词</a:t>
            </a:r>
          </a:p>
        </p:txBody>
      </p:sp>
      <p:sp>
        <p:nvSpPr>
          <p:cNvPr id="59" name="文本框 58">
            <a:extLst>
              <a:ext uri="{FF2B5EF4-FFF2-40B4-BE49-F238E27FC236}">
                <a16:creationId xmlns:a16="http://schemas.microsoft.com/office/drawing/2014/main" id="{139EA8B2-2393-4F85-B53C-03907236F962}"/>
              </a:ext>
            </a:extLst>
          </p:cNvPr>
          <p:cNvSpPr txBox="1"/>
          <p:nvPr/>
        </p:nvSpPr>
        <p:spPr>
          <a:xfrm rot="4426496">
            <a:off x="8228440" y="2683697"/>
            <a:ext cx="848634" cy="307777"/>
          </a:xfrm>
          <a:prstGeom prst="rect">
            <a:avLst/>
          </a:prstGeom>
          <a:noFill/>
        </p:spPr>
        <p:txBody>
          <a:bodyPr wrap="square" lIns="0" tIns="0" rIns="0" bIns="0" rtlCol="0" anchor="t">
            <a:spAutoFit/>
          </a:bodyPr>
          <a:lstStyle/>
          <a:p>
            <a:pPr algn="ctr"/>
            <a:r>
              <a:rPr lang="zh-CN" altLang="en-US" sz="2000" dirty="0">
                <a:solidFill>
                  <a:schemeClr val="accent1"/>
                </a:solidFill>
                <a:latin typeface="+mj-ea"/>
                <a:ea typeface="+mj-ea"/>
              </a:rPr>
              <a:t>关键词</a:t>
            </a:r>
          </a:p>
        </p:txBody>
      </p:sp>
      <p:sp>
        <p:nvSpPr>
          <p:cNvPr id="60" name="文本框 59">
            <a:extLst>
              <a:ext uri="{FF2B5EF4-FFF2-40B4-BE49-F238E27FC236}">
                <a16:creationId xmlns:a16="http://schemas.microsoft.com/office/drawing/2014/main" id="{0B6CF9B4-A92F-4C85-AB3F-9B27E359F5FA}"/>
              </a:ext>
            </a:extLst>
          </p:cNvPr>
          <p:cNvSpPr txBox="1"/>
          <p:nvPr/>
        </p:nvSpPr>
        <p:spPr>
          <a:xfrm>
            <a:off x="5671683" y="5626483"/>
            <a:ext cx="848634" cy="307777"/>
          </a:xfrm>
          <a:prstGeom prst="rect">
            <a:avLst/>
          </a:prstGeom>
          <a:noFill/>
        </p:spPr>
        <p:txBody>
          <a:bodyPr wrap="square" lIns="0" tIns="0" rIns="0" bIns="0" rtlCol="0" anchor="t">
            <a:spAutoFit/>
          </a:bodyPr>
          <a:lstStyle/>
          <a:p>
            <a:pPr algn="ctr"/>
            <a:r>
              <a:rPr lang="zh-CN" altLang="en-US" sz="2000" dirty="0">
                <a:solidFill>
                  <a:schemeClr val="accent1"/>
                </a:solidFill>
                <a:latin typeface="+mj-ea"/>
                <a:ea typeface="+mj-ea"/>
              </a:rPr>
              <a:t>关键词</a:t>
            </a:r>
          </a:p>
        </p:txBody>
      </p:sp>
    </p:spTree>
    <p:custDataLst>
      <p:tags r:id="rId2"/>
    </p:custDataLst>
    <p:extLst>
      <p:ext uri="{BB962C8B-B14F-4D97-AF65-F5344CB8AC3E}">
        <p14:creationId xmlns:p14="http://schemas.microsoft.com/office/powerpoint/2010/main" val="2018396919"/>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3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 name="任意形状 9">
            <a:extLst>
              <a:ext uri="{FF2B5EF4-FFF2-40B4-BE49-F238E27FC236}">
                <a16:creationId xmlns:a16="http://schemas.microsoft.com/office/drawing/2014/main" id="{AA202101-1D6B-4874-9BE5-D6BF99331DE8}"/>
              </a:ext>
            </a:extLst>
          </p:cNvPr>
          <p:cNvSpPr/>
          <p:nvPr/>
        </p:nvSpPr>
        <p:spPr>
          <a:xfrm>
            <a:off x="0" y="6457950"/>
            <a:ext cx="12192000" cy="400050"/>
          </a:xfrm>
          <a:custGeom>
            <a:avLst/>
            <a:gdLst>
              <a:gd name="connsiteX0" fmla="*/ 12192000 w 12192000"/>
              <a:gd name="connsiteY0" fmla="*/ 0 h 329410"/>
              <a:gd name="connsiteX1" fmla="*/ 12192000 w 12192000"/>
              <a:gd name="connsiteY1" fmla="*/ 329410 h 329410"/>
              <a:gd name="connsiteX2" fmla="*/ 0 w 12192000"/>
              <a:gd name="connsiteY2" fmla="*/ 329410 h 329410"/>
              <a:gd name="connsiteX3" fmla="*/ 0 w 12192000"/>
              <a:gd name="connsiteY3" fmla="*/ 29375 h 329410"/>
              <a:gd name="connsiteX4" fmla="*/ 577089 w 12192000"/>
              <a:gd name="connsiteY4" fmla="*/ 49593 h 329410"/>
              <a:gd name="connsiteX5" fmla="*/ 5704114 w 12192000"/>
              <a:gd name="connsiteY5" fmla="*/ 124873 h 329410"/>
              <a:gd name="connsiteX6" fmla="*/ 11982536 w 12192000"/>
              <a:gd name="connsiteY6" fmla="*/ 9255 h 329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329410">
                <a:moveTo>
                  <a:pt x="12192000" y="0"/>
                </a:moveTo>
                <a:lnTo>
                  <a:pt x="12192000" y="329410"/>
                </a:lnTo>
                <a:lnTo>
                  <a:pt x="0" y="329410"/>
                </a:lnTo>
                <a:lnTo>
                  <a:pt x="0" y="29375"/>
                </a:lnTo>
                <a:lnTo>
                  <a:pt x="577089" y="49593"/>
                </a:lnTo>
                <a:cubicBezTo>
                  <a:pt x="2152931" y="98068"/>
                  <a:pt x="3885480" y="124873"/>
                  <a:pt x="5704114" y="124873"/>
                </a:cubicBezTo>
                <a:cubicBezTo>
                  <a:pt x="7977407" y="124873"/>
                  <a:pt x="10116192" y="82990"/>
                  <a:pt x="11982536" y="9255"/>
                </a:cubicBezTo>
                <a:close/>
              </a:path>
            </a:pathLst>
          </a:custGeom>
          <a:solidFill>
            <a:schemeClr val="accent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zh-CN" altLang="en-US"/>
          </a:p>
        </p:txBody>
      </p:sp>
      <p:sp>
        <p:nvSpPr>
          <p:cNvPr id="8" name="椭圆 7">
            <a:extLst>
              <a:ext uri="{FF2B5EF4-FFF2-40B4-BE49-F238E27FC236}">
                <a16:creationId xmlns:a16="http://schemas.microsoft.com/office/drawing/2014/main" id="{D1D7027F-EBB2-4521-901C-8E7933296258}"/>
              </a:ext>
            </a:extLst>
          </p:cNvPr>
          <p:cNvSpPr/>
          <p:nvPr/>
        </p:nvSpPr>
        <p:spPr>
          <a:xfrm>
            <a:off x="8948738" y="2534444"/>
            <a:ext cx="1562100" cy="15621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31" name="文本框 30">
            <a:extLst>
              <a:ext uri="{FF2B5EF4-FFF2-40B4-BE49-F238E27FC236}">
                <a16:creationId xmlns:a16="http://schemas.microsoft.com/office/drawing/2014/main" id="{50D720F0-9179-4FD7-948D-C16BFAB86554}"/>
              </a:ext>
            </a:extLst>
          </p:cNvPr>
          <p:cNvSpPr txBox="1"/>
          <p:nvPr/>
        </p:nvSpPr>
        <p:spPr>
          <a:xfrm>
            <a:off x="9305471" y="3161606"/>
            <a:ext cx="848634" cy="307777"/>
          </a:xfrm>
          <a:prstGeom prst="rect">
            <a:avLst/>
          </a:prstGeom>
          <a:noFill/>
        </p:spPr>
        <p:txBody>
          <a:bodyPr wrap="square" lIns="0" tIns="0" rIns="0" bIns="0" rtlCol="0" anchor="t">
            <a:spAutoFit/>
          </a:bodyPr>
          <a:lstStyle/>
          <a:p>
            <a:pPr algn="ctr"/>
            <a:r>
              <a:rPr lang="zh-CN" altLang="en-US" sz="2000" dirty="0">
                <a:solidFill>
                  <a:schemeClr val="bg1"/>
                </a:solidFill>
                <a:latin typeface="+mj-ea"/>
                <a:ea typeface="+mj-ea"/>
              </a:rPr>
              <a:t>关键词</a:t>
            </a:r>
          </a:p>
        </p:txBody>
      </p:sp>
      <p:sp>
        <p:nvSpPr>
          <p:cNvPr id="9" name="矩形 8">
            <a:extLst>
              <a:ext uri="{FF2B5EF4-FFF2-40B4-BE49-F238E27FC236}">
                <a16:creationId xmlns:a16="http://schemas.microsoft.com/office/drawing/2014/main" id="{94407710-59D2-4A40-9D7E-5D48AA6E27E6}"/>
              </a:ext>
            </a:extLst>
          </p:cNvPr>
          <p:cNvSpPr/>
          <p:nvPr/>
        </p:nvSpPr>
        <p:spPr>
          <a:xfrm>
            <a:off x="1547813" y="1767321"/>
            <a:ext cx="6896100" cy="101917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10" name="矩形: 圆角 9">
            <a:extLst>
              <a:ext uri="{FF2B5EF4-FFF2-40B4-BE49-F238E27FC236}">
                <a16:creationId xmlns:a16="http://schemas.microsoft.com/office/drawing/2014/main" id="{2B6E89ED-2320-40A3-8853-4A8D32B545A2}"/>
              </a:ext>
            </a:extLst>
          </p:cNvPr>
          <p:cNvSpPr/>
          <p:nvPr/>
        </p:nvSpPr>
        <p:spPr>
          <a:xfrm>
            <a:off x="1869854" y="2036762"/>
            <a:ext cx="1311563" cy="480291"/>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dirty="0">
                <a:solidFill>
                  <a:schemeClr val="bg1"/>
                </a:solidFill>
                <a:latin typeface="+mj-ea"/>
                <a:ea typeface="+mj-ea"/>
              </a:rPr>
              <a:t>关键词</a:t>
            </a:r>
          </a:p>
        </p:txBody>
      </p:sp>
      <p:sp>
        <p:nvSpPr>
          <p:cNvPr id="44" name="矩形: 圆角 43">
            <a:extLst>
              <a:ext uri="{FF2B5EF4-FFF2-40B4-BE49-F238E27FC236}">
                <a16:creationId xmlns:a16="http://schemas.microsoft.com/office/drawing/2014/main" id="{524D4DE0-5B5E-4A7C-A32E-53100C66AF44}"/>
              </a:ext>
            </a:extLst>
          </p:cNvPr>
          <p:cNvSpPr/>
          <p:nvPr/>
        </p:nvSpPr>
        <p:spPr>
          <a:xfrm>
            <a:off x="3516673" y="2036762"/>
            <a:ext cx="1311563" cy="480291"/>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dirty="0">
                <a:solidFill>
                  <a:schemeClr val="bg1"/>
                </a:solidFill>
                <a:latin typeface="+mj-ea"/>
                <a:ea typeface="+mj-ea"/>
              </a:rPr>
              <a:t>关键词</a:t>
            </a:r>
          </a:p>
        </p:txBody>
      </p:sp>
      <p:sp>
        <p:nvSpPr>
          <p:cNvPr id="45" name="矩形: 圆角 44">
            <a:extLst>
              <a:ext uri="{FF2B5EF4-FFF2-40B4-BE49-F238E27FC236}">
                <a16:creationId xmlns:a16="http://schemas.microsoft.com/office/drawing/2014/main" id="{45E4E502-39C1-4523-9676-41E72EF0642F}"/>
              </a:ext>
            </a:extLst>
          </p:cNvPr>
          <p:cNvSpPr/>
          <p:nvPr/>
        </p:nvSpPr>
        <p:spPr>
          <a:xfrm>
            <a:off x="5163492" y="2036762"/>
            <a:ext cx="1311563" cy="480291"/>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dirty="0">
                <a:solidFill>
                  <a:schemeClr val="bg1"/>
                </a:solidFill>
                <a:latin typeface="+mj-ea"/>
                <a:ea typeface="+mj-ea"/>
              </a:rPr>
              <a:t>关键词</a:t>
            </a:r>
          </a:p>
        </p:txBody>
      </p:sp>
      <p:sp>
        <p:nvSpPr>
          <p:cNvPr id="46" name="矩形: 圆角 45">
            <a:extLst>
              <a:ext uri="{FF2B5EF4-FFF2-40B4-BE49-F238E27FC236}">
                <a16:creationId xmlns:a16="http://schemas.microsoft.com/office/drawing/2014/main" id="{3ED605CA-C3F6-47E0-8FAF-ED7E227AD5AD}"/>
              </a:ext>
            </a:extLst>
          </p:cNvPr>
          <p:cNvSpPr/>
          <p:nvPr/>
        </p:nvSpPr>
        <p:spPr>
          <a:xfrm>
            <a:off x="6810310" y="2036762"/>
            <a:ext cx="1311563" cy="480291"/>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dirty="0">
                <a:solidFill>
                  <a:schemeClr val="bg1"/>
                </a:solidFill>
                <a:latin typeface="+mj-ea"/>
                <a:ea typeface="+mj-ea"/>
              </a:rPr>
              <a:t>关键词</a:t>
            </a:r>
          </a:p>
        </p:txBody>
      </p:sp>
      <p:sp>
        <p:nvSpPr>
          <p:cNvPr id="47" name="矩形 46">
            <a:extLst>
              <a:ext uri="{FF2B5EF4-FFF2-40B4-BE49-F238E27FC236}">
                <a16:creationId xmlns:a16="http://schemas.microsoft.com/office/drawing/2014/main" id="{0327D6F3-2CD3-4B76-9C16-0B7E73D721B6}"/>
              </a:ext>
            </a:extLst>
          </p:cNvPr>
          <p:cNvSpPr/>
          <p:nvPr/>
        </p:nvSpPr>
        <p:spPr>
          <a:xfrm>
            <a:off x="1547813" y="3844492"/>
            <a:ext cx="6896100" cy="101917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48" name="矩形: 圆角 47">
            <a:extLst>
              <a:ext uri="{FF2B5EF4-FFF2-40B4-BE49-F238E27FC236}">
                <a16:creationId xmlns:a16="http://schemas.microsoft.com/office/drawing/2014/main" id="{879B4FA7-3150-4C33-839A-C9E61C2C5484}"/>
              </a:ext>
            </a:extLst>
          </p:cNvPr>
          <p:cNvSpPr/>
          <p:nvPr/>
        </p:nvSpPr>
        <p:spPr>
          <a:xfrm>
            <a:off x="1869854" y="4113933"/>
            <a:ext cx="1311563" cy="480291"/>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dirty="0">
                <a:solidFill>
                  <a:schemeClr val="bg1"/>
                </a:solidFill>
                <a:latin typeface="+mj-ea"/>
                <a:ea typeface="+mj-ea"/>
              </a:rPr>
              <a:t>关键词</a:t>
            </a:r>
          </a:p>
        </p:txBody>
      </p:sp>
      <p:sp>
        <p:nvSpPr>
          <p:cNvPr id="49" name="矩形: 圆角 48">
            <a:extLst>
              <a:ext uri="{FF2B5EF4-FFF2-40B4-BE49-F238E27FC236}">
                <a16:creationId xmlns:a16="http://schemas.microsoft.com/office/drawing/2014/main" id="{1B32BE4C-8E3B-40BE-AB45-117A8B180FB3}"/>
              </a:ext>
            </a:extLst>
          </p:cNvPr>
          <p:cNvSpPr/>
          <p:nvPr/>
        </p:nvSpPr>
        <p:spPr>
          <a:xfrm>
            <a:off x="3516673" y="4113933"/>
            <a:ext cx="1311563" cy="480291"/>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dirty="0">
                <a:solidFill>
                  <a:schemeClr val="bg1"/>
                </a:solidFill>
                <a:latin typeface="+mj-ea"/>
                <a:ea typeface="+mj-ea"/>
              </a:rPr>
              <a:t>关键词</a:t>
            </a:r>
          </a:p>
        </p:txBody>
      </p:sp>
      <p:sp>
        <p:nvSpPr>
          <p:cNvPr id="50" name="矩形: 圆角 49">
            <a:extLst>
              <a:ext uri="{FF2B5EF4-FFF2-40B4-BE49-F238E27FC236}">
                <a16:creationId xmlns:a16="http://schemas.microsoft.com/office/drawing/2014/main" id="{3CB6886D-F4FF-4640-B6CF-17693F2FFDFD}"/>
              </a:ext>
            </a:extLst>
          </p:cNvPr>
          <p:cNvSpPr/>
          <p:nvPr/>
        </p:nvSpPr>
        <p:spPr>
          <a:xfrm>
            <a:off x="5163492" y="4113933"/>
            <a:ext cx="1311563" cy="480291"/>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dirty="0">
                <a:solidFill>
                  <a:schemeClr val="bg1"/>
                </a:solidFill>
                <a:latin typeface="+mj-ea"/>
                <a:ea typeface="+mj-ea"/>
              </a:rPr>
              <a:t>关键词</a:t>
            </a:r>
          </a:p>
        </p:txBody>
      </p:sp>
      <p:sp>
        <p:nvSpPr>
          <p:cNvPr id="51" name="矩形: 圆角 50">
            <a:extLst>
              <a:ext uri="{FF2B5EF4-FFF2-40B4-BE49-F238E27FC236}">
                <a16:creationId xmlns:a16="http://schemas.microsoft.com/office/drawing/2014/main" id="{64CE9EF4-9E74-4D14-BEA6-578ADAA89C12}"/>
              </a:ext>
            </a:extLst>
          </p:cNvPr>
          <p:cNvSpPr/>
          <p:nvPr/>
        </p:nvSpPr>
        <p:spPr>
          <a:xfrm>
            <a:off x="6810310" y="4113933"/>
            <a:ext cx="1311563" cy="480291"/>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dirty="0">
                <a:solidFill>
                  <a:schemeClr val="bg1"/>
                </a:solidFill>
                <a:latin typeface="+mj-ea"/>
                <a:ea typeface="+mj-ea"/>
              </a:rPr>
              <a:t>关键词</a:t>
            </a:r>
          </a:p>
        </p:txBody>
      </p:sp>
      <p:sp>
        <p:nvSpPr>
          <p:cNvPr id="52" name="文本框 51">
            <a:extLst>
              <a:ext uri="{FF2B5EF4-FFF2-40B4-BE49-F238E27FC236}">
                <a16:creationId xmlns:a16="http://schemas.microsoft.com/office/drawing/2014/main" id="{03A505B5-7A70-4DD0-ABDA-1C260577BC32}"/>
              </a:ext>
            </a:extLst>
          </p:cNvPr>
          <p:cNvSpPr txBox="1"/>
          <p:nvPr/>
        </p:nvSpPr>
        <p:spPr>
          <a:xfrm>
            <a:off x="2101318" y="3161606"/>
            <a:ext cx="848634" cy="307777"/>
          </a:xfrm>
          <a:prstGeom prst="rect">
            <a:avLst/>
          </a:prstGeom>
          <a:noFill/>
        </p:spPr>
        <p:txBody>
          <a:bodyPr wrap="square" lIns="0" tIns="0" rIns="0" bIns="0" rtlCol="0" anchor="t">
            <a:spAutoFit/>
          </a:bodyPr>
          <a:lstStyle/>
          <a:p>
            <a:pPr algn="ctr"/>
            <a:r>
              <a:rPr lang="zh-CN" altLang="en-US" sz="2000" dirty="0">
                <a:solidFill>
                  <a:schemeClr val="accent1"/>
                </a:solidFill>
                <a:latin typeface="+mj-ea"/>
                <a:ea typeface="+mj-ea"/>
              </a:rPr>
              <a:t>关键词</a:t>
            </a:r>
          </a:p>
        </p:txBody>
      </p:sp>
      <p:sp>
        <p:nvSpPr>
          <p:cNvPr id="53" name="文本框 52">
            <a:extLst>
              <a:ext uri="{FF2B5EF4-FFF2-40B4-BE49-F238E27FC236}">
                <a16:creationId xmlns:a16="http://schemas.microsoft.com/office/drawing/2014/main" id="{0E440D62-5A2D-4C38-B3CE-FA179D978D8B}"/>
              </a:ext>
            </a:extLst>
          </p:cNvPr>
          <p:cNvSpPr txBox="1"/>
          <p:nvPr/>
        </p:nvSpPr>
        <p:spPr>
          <a:xfrm>
            <a:off x="4571545" y="3161606"/>
            <a:ext cx="848634" cy="307777"/>
          </a:xfrm>
          <a:prstGeom prst="rect">
            <a:avLst/>
          </a:prstGeom>
          <a:noFill/>
        </p:spPr>
        <p:txBody>
          <a:bodyPr wrap="square" lIns="0" tIns="0" rIns="0" bIns="0" rtlCol="0" anchor="t">
            <a:spAutoFit/>
          </a:bodyPr>
          <a:lstStyle/>
          <a:p>
            <a:pPr algn="ctr"/>
            <a:r>
              <a:rPr lang="zh-CN" altLang="en-US" sz="2000" dirty="0">
                <a:solidFill>
                  <a:schemeClr val="accent1"/>
                </a:solidFill>
                <a:latin typeface="+mj-ea"/>
                <a:ea typeface="+mj-ea"/>
              </a:rPr>
              <a:t>关键词</a:t>
            </a:r>
          </a:p>
        </p:txBody>
      </p:sp>
      <p:sp>
        <p:nvSpPr>
          <p:cNvPr id="55" name="文本框 54">
            <a:extLst>
              <a:ext uri="{FF2B5EF4-FFF2-40B4-BE49-F238E27FC236}">
                <a16:creationId xmlns:a16="http://schemas.microsoft.com/office/drawing/2014/main" id="{C6E6022F-3307-4983-ADE7-B4322A890D83}"/>
              </a:ext>
            </a:extLst>
          </p:cNvPr>
          <p:cNvSpPr txBox="1"/>
          <p:nvPr/>
        </p:nvSpPr>
        <p:spPr>
          <a:xfrm>
            <a:off x="7041774" y="3161606"/>
            <a:ext cx="848634" cy="307777"/>
          </a:xfrm>
          <a:prstGeom prst="rect">
            <a:avLst/>
          </a:prstGeom>
          <a:noFill/>
        </p:spPr>
        <p:txBody>
          <a:bodyPr wrap="square" lIns="0" tIns="0" rIns="0" bIns="0" rtlCol="0" anchor="t">
            <a:spAutoFit/>
          </a:bodyPr>
          <a:lstStyle/>
          <a:p>
            <a:pPr algn="ctr"/>
            <a:r>
              <a:rPr lang="zh-CN" altLang="en-US" sz="2000" dirty="0">
                <a:solidFill>
                  <a:schemeClr val="accent1"/>
                </a:solidFill>
                <a:latin typeface="+mj-ea"/>
                <a:ea typeface="+mj-ea"/>
              </a:rPr>
              <a:t>关键词</a:t>
            </a:r>
          </a:p>
        </p:txBody>
      </p:sp>
      <p:sp>
        <p:nvSpPr>
          <p:cNvPr id="17" name="任意多边形: 形状 16">
            <a:extLst>
              <a:ext uri="{FF2B5EF4-FFF2-40B4-BE49-F238E27FC236}">
                <a16:creationId xmlns:a16="http://schemas.microsoft.com/office/drawing/2014/main" id="{D8008840-93F6-4A5B-8E21-AAF8A7E36045}"/>
              </a:ext>
            </a:extLst>
          </p:cNvPr>
          <p:cNvSpPr/>
          <p:nvPr/>
        </p:nvSpPr>
        <p:spPr>
          <a:xfrm>
            <a:off x="8577263" y="2197909"/>
            <a:ext cx="659101" cy="480291"/>
          </a:xfrm>
          <a:custGeom>
            <a:avLst/>
            <a:gdLst>
              <a:gd name="connsiteX0" fmla="*/ 0 w 572655"/>
              <a:gd name="connsiteY0" fmla="*/ 0 h 369454"/>
              <a:gd name="connsiteX1" fmla="*/ 572655 w 572655"/>
              <a:gd name="connsiteY1" fmla="*/ 369454 h 369454"/>
              <a:gd name="connsiteX0" fmla="*/ 0 w 572655"/>
              <a:gd name="connsiteY0" fmla="*/ 295 h 369749"/>
              <a:gd name="connsiteX1" fmla="*/ 572655 w 572655"/>
              <a:gd name="connsiteY1" fmla="*/ 369749 h 369749"/>
              <a:gd name="connsiteX0" fmla="*/ 0 w 572655"/>
              <a:gd name="connsiteY0" fmla="*/ 344 h 369798"/>
              <a:gd name="connsiteX1" fmla="*/ 572655 w 572655"/>
              <a:gd name="connsiteY1" fmla="*/ 369798 h 369798"/>
            </a:gdLst>
            <a:ahLst/>
            <a:cxnLst>
              <a:cxn ang="0">
                <a:pos x="connsiteX0" y="connsiteY0"/>
              </a:cxn>
              <a:cxn ang="0">
                <a:pos x="connsiteX1" y="connsiteY1"/>
              </a:cxn>
            </a:cxnLst>
            <a:rect l="l" t="t" r="r" b="b"/>
            <a:pathLst>
              <a:path w="572655" h="369798">
                <a:moveTo>
                  <a:pt x="0" y="344"/>
                </a:moveTo>
                <a:cubicBezTo>
                  <a:pt x="281373" y="-9855"/>
                  <a:pt x="500832" y="208547"/>
                  <a:pt x="572655" y="369798"/>
                </a:cubicBezTo>
              </a:path>
            </a:pathLst>
          </a:custGeom>
          <a:noFill/>
          <a:ln w="19050">
            <a:solidFill>
              <a:schemeClr val="accent1"/>
            </a:solidFill>
            <a:tailEnd type="stealt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1" name="任意多边形: 形状 60">
            <a:extLst>
              <a:ext uri="{FF2B5EF4-FFF2-40B4-BE49-F238E27FC236}">
                <a16:creationId xmlns:a16="http://schemas.microsoft.com/office/drawing/2014/main" id="{27351E71-02B9-49C7-B530-C3983130E9CF}"/>
              </a:ext>
            </a:extLst>
          </p:cNvPr>
          <p:cNvSpPr/>
          <p:nvPr/>
        </p:nvSpPr>
        <p:spPr>
          <a:xfrm flipV="1">
            <a:off x="8577263" y="3952788"/>
            <a:ext cx="659101" cy="480291"/>
          </a:xfrm>
          <a:custGeom>
            <a:avLst/>
            <a:gdLst>
              <a:gd name="connsiteX0" fmla="*/ 0 w 572655"/>
              <a:gd name="connsiteY0" fmla="*/ 0 h 369454"/>
              <a:gd name="connsiteX1" fmla="*/ 572655 w 572655"/>
              <a:gd name="connsiteY1" fmla="*/ 369454 h 369454"/>
              <a:gd name="connsiteX0" fmla="*/ 0 w 572655"/>
              <a:gd name="connsiteY0" fmla="*/ 295 h 369749"/>
              <a:gd name="connsiteX1" fmla="*/ 572655 w 572655"/>
              <a:gd name="connsiteY1" fmla="*/ 369749 h 369749"/>
              <a:gd name="connsiteX0" fmla="*/ 0 w 572655"/>
              <a:gd name="connsiteY0" fmla="*/ 344 h 369798"/>
              <a:gd name="connsiteX1" fmla="*/ 572655 w 572655"/>
              <a:gd name="connsiteY1" fmla="*/ 369798 h 369798"/>
            </a:gdLst>
            <a:ahLst/>
            <a:cxnLst>
              <a:cxn ang="0">
                <a:pos x="connsiteX0" y="connsiteY0"/>
              </a:cxn>
              <a:cxn ang="0">
                <a:pos x="connsiteX1" y="connsiteY1"/>
              </a:cxn>
            </a:cxnLst>
            <a:rect l="l" t="t" r="r" b="b"/>
            <a:pathLst>
              <a:path w="572655" h="369798">
                <a:moveTo>
                  <a:pt x="0" y="344"/>
                </a:moveTo>
                <a:cubicBezTo>
                  <a:pt x="281373" y="-9855"/>
                  <a:pt x="500832" y="208547"/>
                  <a:pt x="572655" y="369798"/>
                </a:cubicBezTo>
              </a:path>
            </a:pathLst>
          </a:custGeom>
          <a:noFill/>
          <a:ln w="19050">
            <a:solidFill>
              <a:schemeClr val="accent1"/>
            </a:solidFill>
            <a:tailEnd type="stealt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8" name="矩形 17">
            <a:extLst>
              <a:ext uri="{FF2B5EF4-FFF2-40B4-BE49-F238E27FC236}">
                <a16:creationId xmlns:a16="http://schemas.microsoft.com/office/drawing/2014/main" id="{9F3FFFAC-499C-49A4-80A4-5484528AAC94}"/>
              </a:ext>
            </a:extLst>
          </p:cNvPr>
          <p:cNvSpPr/>
          <p:nvPr/>
        </p:nvSpPr>
        <p:spPr>
          <a:xfrm>
            <a:off x="8537575" y="2162175"/>
            <a:ext cx="76200" cy="762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62" name="矩形 61">
            <a:extLst>
              <a:ext uri="{FF2B5EF4-FFF2-40B4-BE49-F238E27FC236}">
                <a16:creationId xmlns:a16="http://schemas.microsoft.com/office/drawing/2014/main" id="{88A0959F-D023-4E79-926A-362724698146}"/>
              </a:ext>
            </a:extLst>
          </p:cNvPr>
          <p:cNvSpPr/>
          <p:nvPr/>
        </p:nvSpPr>
        <p:spPr>
          <a:xfrm>
            <a:off x="8537575" y="4402455"/>
            <a:ext cx="76200" cy="762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cxnSp>
        <p:nvCxnSpPr>
          <p:cNvPr id="20" name="直接箭头连接符 19">
            <a:extLst>
              <a:ext uri="{FF2B5EF4-FFF2-40B4-BE49-F238E27FC236}">
                <a16:creationId xmlns:a16="http://schemas.microsoft.com/office/drawing/2014/main" id="{D53162B2-AD1E-4C3B-BC07-EB79723F522D}"/>
              </a:ext>
            </a:extLst>
          </p:cNvPr>
          <p:cNvCxnSpPr/>
          <p:nvPr/>
        </p:nvCxnSpPr>
        <p:spPr>
          <a:xfrm>
            <a:off x="3170232" y="3286125"/>
            <a:ext cx="1181033"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3" name="直接箭头连接符 62">
            <a:extLst>
              <a:ext uri="{FF2B5EF4-FFF2-40B4-BE49-F238E27FC236}">
                <a16:creationId xmlns:a16="http://schemas.microsoft.com/office/drawing/2014/main" id="{E09A155D-C0D6-4989-92AE-41C6CB9BAD81}"/>
              </a:ext>
            </a:extLst>
          </p:cNvPr>
          <p:cNvCxnSpPr/>
          <p:nvPr/>
        </p:nvCxnSpPr>
        <p:spPr>
          <a:xfrm>
            <a:off x="5640460" y="3286125"/>
            <a:ext cx="1181033"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custDataLst>
      <p:tags r:id="rId2"/>
    </p:custDataLst>
    <p:extLst>
      <p:ext uri="{BB962C8B-B14F-4D97-AF65-F5344CB8AC3E}">
        <p14:creationId xmlns:p14="http://schemas.microsoft.com/office/powerpoint/2010/main" val="3524946289"/>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3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 name="任意形状 9">
            <a:extLst>
              <a:ext uri="{FF2B5EF4-FFF2-40B4-BE49-F238E27FC236}">
                <a16:creationId xmlns:a16="http://schemas.microsoft.com/office/drawing/2014/main" id="{AA202101-1D6B-4874-9BE5-D6BF99331DE8}"/>
              </a:ext>
            </a:extLst>
          </p:cNvPr>
          <p:cNvSpPr/>
          <p:nvPr/>
        </p:nvSpPr>
        <p:spPr>
          <a:xfrm>
            <a:off x="0" y="6457950"/>
            <a:ext cx="12192000" cy="400050"/>
          </a:xfrm>
          <a:custGeom>
            <a:avLst/>
            <a:gdLst>
              <a:gd name="connsiteX0" fmla="*/ 12192000 w 12192000"/>
              <a:gd name="connsiteY0" fmla="*/ 0 h 329410"/>
              <a:gd name="connsiteX1" fmla="*/ 12192000 w 12192000"/>
              <a:gd name="connsiteY1" fmla="*/ 329410 h 329410"/>
              <a:gd name="connsiteX2" fmla="*/ 0 w 12192000"/>
              <a:gd name="connsiteY2" fmla="*/ 329410 h 329410"/>
              <a:gd name="connsiteX3" fmla="*/ 0 w 12192000"/>
              <a:gd name="connsiteY3" fmla="*/ 29375 h 329410"/>
              <a:gd name="connsiteX4" fmla="*/ 577089 w 12192000"/>
              <a:gd name="connsiteY4" fmla="*/ 49593 h 329410"/>
              <a:gd name="connsiteX5" fmla="*/ 5704114 w 12192000"/>
              <a:gd name="connsiteY5" fmla="*/ 124873 h 329410"/>
              <a:gd name="connsiteX6" fmla="*/ 11982536 w 12192000"/>
              <a:gd name="connsiteY6" fmla="*/ 9255 h 329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329410">
                <a:moveTo>
                  <a:pt x="12192000" y="0"/>
                </a:moveTo>
                <a:lnTo>
                  <a:pt x="12192000" y="329410"/>
                </a:lnTo>
                <a:lnTo>
                  <a:pt x="0" y="329410"/>
                </a:lnTo>
                <a:lnTo>
                  <a:pt x="0" y="29375"/>
                </a:lnTo>
                <a:lnTo>
                  <a:pt x="577089" y="49593"/>
                </a:lnTo>
                <a:cubicBezTo>
                  <a:pt x="2152931" y="98068"/>
                  <a:pt x="3885480" y="124873"/>
                  <a:pt x="5704114" y="124873"/>
                </a:cubicBezTo>
                <a:cubicBezTo>
                  <a:pt x="7977407" y="124873"/>
                  <a:pt x="10116192" y="82990"/>
                  <a:pt x="11982536" y="9255"/>
                </a:cubicBezTo>
                <a:close/>
              </a:path>
            </a:pathLst>
          </a:custGeom>
          <a:solidFill>
            <a:schemeClr val="accent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zh-CN" altLang="en-US"/>
          </a:p>
        </p:txBody>
      </p:sp>
      <p:sp>
        <p:nvSpPr>
          <p:cNvPr id="2" name="椭圆 1">
            <a:extLst>
              <a:ext uri="{FF2B5EF4-FFF2-40B4-BE49-F238E27FC236}">
                <a16:creationId xmlns:a16="http://schemas.microsoft.com/office/drawing/2014/main" id="{2C65ACB8-56C3-4849-9DF1-B4574CD23C7D}"/>
              </a:ext>
            </a:extLst>
          </p:cNvPr>
          <p:cNvSpPr/>
          <p:nvPr/>
        </p:nvSpPr>
        <p:spPr>
          <a:xfrm>
            <a:off x="5048250" y="2295525"/>
            <a:ext cx="2095500" cy="20955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29" name="椭圆 28">
            <a:extLst>
              <a:ext uri="{FF2B5EF4-FFF2-40B4-BE49-F238E27FC236}">
                <a16:creationId xmlns:a16="http://schemas.microsoft.com/office/drawing/2014/main" id="{E37CA387-8747-4BE4-8BC4-A43B2414B370}"/>
              </a:ext>
            </a:extLst>
          </p:cNvPr>
          <p:cNvSpPr/>
          <p:nvPr/>
        </p:nvSpPr>
        <p:spPr>
          <a:xfrm>
            <a:off x="3467100" y="2295525"/>
            <a:ext cx="2095500" cy="2095500"/>
          </a:xfrm>
          <a:prstGeom prst="ellipse">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32" name="椭圆 31">
            <a:extLst>
              <a:ext uri="{FF2B5EF4-FFF2-40B4-BE49-F238E27FC236}">
                <a16:creationId xmlns:a16="http://schemas.microsoft.com/office/drawing/2014/main" id="{4D97B9EE-47E2-468B-8718-D9D1750BF992}"/>
              </a:ext>
            </a:extLst>
          </p:cNvPr>
          <p:cNvSpPr/>
          <p:nvPr/>
        </p:nvSpPr>
        <p:spPr>
          <a:xfrm>
            <a:off x="6629400" y="2295525"/>
            <a:ext cx="2095500" cy="2095500"/>
          </a:xfrm>
          <a:prstGeom prst="ellipse">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33" name="user_209046">
            <a:extLst>
              <a:ext uri="{FF2B5EF4-FFF2-40B4-BE49-F238E27FC236}">
                <a16:creationId xmlns:a16="http://schemas.microsoft.com/office/drawing/2014/main" id="{4F710CF8-A741-4588-B344-1EBB1035AE16}"/>
              </a:ext>
            </a:extLst>
          </p:cNvPr>
          <p:cNvSpPr/>
          <p:nvPr/>
        </p:nvSpPr>
        <p:spPr>
          <a:xfrm>
            <a:off x="5855133" y="2814133"/>
            <a:ext cx="610322" cy="550362"/>
          </a:xfrm>
          <a:custGeom>
            <a:avLst/>
            <a:gdLst>
              <a:gd name="connsiteX0" fmla="*/ 521432 w 608344"/>
              <a:gd name="connsiteY0" fmla="*/ 370453 h 548582"/>
              <a:gd name="connsiteX1" fmla="*/ 465737 w 608344"/>
              <a:gd name="connsiteY1" fmla="*/ 425787 h 548582"/>
              <a:gd name="connsiteX2" fmla="*/ 442491 w 608344"/>
              <a:gd name="connsiteY2" fmla="*/ 402479 h 548582"/>
              <a:gd name="connsiteX3" fmla="*/ 418201 w 608344"/>
              <a:gd name="connsiteY3" fmla="*/ 426545 h 548582"/>
              <a:gd name="connsiteX4" fmla="*/ 441447 w 608344"/>
              <a:gd name="connsiteY4" fmla="*/ 449948 h 548582"/>
              <a:gd name="connsiteX5" fmla="*/ 465642 w 608344"/>
              <a:gd name="connsiteY5" fmla="*/ 474204 h 548582"/>
              <a:gd name="connsiteX6" fmla="*/ 489932 w 608344"/>
              <a:gd name="connsiteY6" fmla="*/ 450043 h 548582"/>
              <a:gd name="connsiteX7" fmla="*/ 545532 w 608344"/>
              <a:gd name="connsiteY7" fmla="*/ 394709 h 548582"/>
              <a:gd name="connsiteX8" fmla="*/ 481962 w 608344"/>
              <a:gd name="connsiteY8" fmla="*/ 296170 h 548582"/>
              <a:gd name="connsiteX9" fmla="*/ 608344 w 608344"/>
              <a:gd name="connsiteY9" fmla="*/ 422376 h 548582"/>
              <a:gd name="connsiteX10" fmla="*/ 481962 w 608344"/>
              <a:gd name="connsiteY10" fmla="*/ 548582 h 548582"/>
              <a:gd name="connsiteX11" fmla="*/ 355579 w 608344"/>
              <a:gd name="connsiteY11" fmla="*/ 422376 h 548582"/>
              <a:gd name="connsiteX12" fmla="*/ 481962 w 608344"/>
              <a:gd name="connsiteY12" fmla="*/ 296170 h 548582"/>
              <a:gd name="connsiteX13" fmla="*/ 255835 w 608344"/>
              <a:gd name="connsiteY13" fmla="*/ 446 h 548582"/>
              <a:gd name="connsiteX14" fmla="*/ 317801 w 608344"/>
              <a:gd name="connsiteY14" fmla="*/ 13616 h 548582"/>
              <a:gd name="connsiteX15" fmla="*/ 348072 w 608344"/>
              <a:gd name="connsiteY15" fmla="*/ 41661 h 548582"/>
              <a:gd name="connsiteX16" fmla="*/ 381190 w 608344"/>
              <a:gd name="connsiteY16" fmla="*/ 146831 h 548582"/>
              <a:gd name="connsiteX17" fmla="*/ 378913 w 608344"/>
              <a:gd name="connsiteY17" fmla="*/ 156211 h 548582"/>
              <a:gd name="connsiteX18" fmla="*/ 387833 w 608344"/>
              <a:gd name="connsiteY18" fmla="*/ 200458 h 548582"/>
              <a:gd name="connsiteX19" fmla="*/ 366387 w 608344"/>
              <a:gd name="connsiteY19" fmla="*/ 237694 h 548582"/>
              <a:gd name="connsiteX20" fmla="*/ 351393 w 608344"/>
              <a:gd name="connsiteY20" fmla="*/ 278720 h 548582"/>
              <a:gd name="connsiteX21" fmla="*/ 351393 w 608344"/>
              <a:gd name="connsiteY21" fmla="*/ 322873 h 548582"/>
              <a:gd name="connsiteX22" fmla="*/ 317611 w 608344"/>
              <a:gd name="connsiteY22" fmla="*/ 422358 h 548582"/>
              <a:gd name="connsiteX23" fmla="*/ 376635 w 608344"/>
              <a:gd name="connsiteY23" fmla="*/ 548088 h 548582"/>
              <a:gd name="connsiteX24" fmla="*/ 26855 w 608344"/>
              <a:gd name="connsiteY24" fmla="*/ 548088 h 548582"/>
              <a:gd name="connsiteX25" fmla="*/ 0 w 608344"/>
              <a:gd name="connsiteY25" fmla="*/ 521274 h 548582"/>
              <a:gd name="connsiteX26" fmla="*/ 0 w 608344"/>
              <a:gd name="connsiteY26" fmla="*/ 473806 h 548582"/>
              <a:gd name="connsiteX27" fmla="*/ 19453 w 608344"/>
              <a:gd name="connsiteY27" fmla="*/ 432969 h 548582"/>
              <a:gd name="connsiteX28" fmla="*/ 173751 w 608344"/>
              <a:gd name="connsiteY28" fmla="*/ 334242 h 548582"/>
              <a:gd name="connsiteX29" fmla="*/ 176408 w 608344"/>
              <a:gd name="connsiteY29" fmla="*/ 329884 h 548582"/>
              <a:gd name="connsiteX30" fmla="*/ 176408 w 608344"/>
              <a:gd name="connsiteY30" fmla="*/ 278720 h 548582"/>
              <a:gd name="connsiteX31" fmla="*/ 161320 w 608344"/>
              <a:gd name="connsiteY31" fmla="*/ 237694 h 548582"/>
              <a:gd name="connsiteX32" fmla="*/ 139969 w 608344"/>
              <a:gd name="connsiteY32" fmla="*/ 200458 h 548582"/>
              <a:gd name="connsiteX33" fmla="*/ 148320 w 608344"/>
              <a:gd name="connsiteY33" fmla="*/ 156211 h 548582"/>
              <a:gd name="connsiteX34" fmla="*/ 146042 w 608344"/>
              <a:gd name="connsiteY34" fmla="*/ 146736 h 548582"/>
              <a:gd name="connsiteX35" fmla="*/ 145758 w 608344"/>
              <a:gd name="connsiteY35" fmla="*/ 95099 h 548582"/>
              <a:gd name="connsiteX36" fmla="*/ 176029 w 608344"/>
              <a:gd name="connsiteY36" fmla="*/ 42135 h 548582"/>
              <a:gd name="connsiteX37" fmla="*/ 203928 w 608344"/>
              <a:gd name="connsiteY37" fmla="*/ 19017 h 548582"/>
              <a:gd name="connsiteX38" fmla="*/ 231162 w 608344"/>
              <a:gd name="connsiteY38" fmla="*/ 5089 h 548582"/>
              <a:gd name="connsiteX39" fmla="*/ 255835 w 608344"/>
              <a:gd name="connsiteY39" fmla="*/ 446 h 548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608344" h="548582">
                <a:moveTo>
                  <a:pt x="521432" y="370453"/>
                </a:moveTo>
                <a:lnTo>
                  <a:pt x="465737" y="425787"/>
                </a:lnTo>
                <a:lnTo>
                  <a:pt x="442491" y="402479"/>
                </a:lnTo>
                <a:lnTo>
                  <a:pt x="418201" y="426545"/>
                </a:lnTo>
                <a:lnTo>
                  <a:pt x="441447" y="449948"/>
                </a:lnTo>
                <a:lnTo>
                  <a:pt x="465642" y="474204"/>
                </a:lnTo>
                <a:lnTo>
                  <a:pt x="489932" y="450043"/>
                </a:lnTo>
                <a:lnTo>
                  <a:pt x="545532" y="394709"/>
                </a:lnTo>
                <a:close/>
                <a:moveTo>
                  <a:pt x="481962" y="296170"/>
                </a:moveTo>
                <a:cubicBezTo>
                  <a:pt x="551795" y="296170"/>
                  <a:pt x="608344" y="352641"/>
                  <a:pt x="608344" y="422376"/>
                </a:cubicBezTo>
                <a:cubicBezTo>
                  <a:pt x="608344" y="492111"/>
                  <a:pt x="551795" y="548582"/>
                  <a:pt x="481962" y="548582"/>
                </a:cubicBezTo>
                <a:cubicBezTo>
                  <a:pt x="412129" y="548582"/>
                  <a:pt x="355579" y="492111"/>
                  <a:pt x="355579" y="422376"/>
                </a:cubicBezTo>
                <a:cubicBezTo>
                  <a:pt x="355579" y="352641"/>
                  <a:pt x="412129" y="296170"/>
                  <a:pt x="481962" y="296170"/>
                </a:cubicBezTo>
                <a:close/>
                <a:moveTo>
                  <a:pt x="255835" y="446"/>
                </a:moveTo>
                <a:cubicBezTo>
                  <a:pt x="282785" y="-1828"/>
                  <a:pt x="303187" y="4899"/>
                  <a:pt x="317801" y="13616"/>
                </a:cubicBezTo>
                <a:cubicBezTo>
                  <a:pt x="339721" y="25744"/>
                  <a:pt x="348072" y="41661"/>
                  <a:pt x="348072" y="41661"/>
                </a:cubicBezTo>
                <a:cubicBezTo>
                  <a:pt x="348072" y="41661"/>
                  <a:pt x="398176" y="45167"/>
                  <a:pt x="381190" y="146831"/>
                </a:cubicBezTo>
                <a:cubicBezTo>
                  <a:pt x="380621" y="149863"/>
                  <a:pt x="379862" y="153085"/>
                  <a:pt x="378913" y="156211"/>
                </a:cubicBezTo>
                <a:cubicBezTo>
                  <a:pt x="388592" y="156211"/>
                  <a:pt x="398271" y="163507"/>
                  <a:pt x="387833" y="200458"/>
                </a:cubicBezTo>
                <a:cubicBezTo>
                  <a:pt x="379672" y="229262"/>
                  <a:pt x="372080" y="237221"/>
                  <a:pt x="366387" y="237694"/>
                </a:cubicBezTo>
                <a:cubicBezTo>
                  <a:pt x="364394" y="250675"/>
                  <a:pt x="359175" y="265076"/>
                  <a:pt x="351393" y="278720"/>
                </a:cubicBezTo>
                <a:lnTo>
                  <a:pt x="351393" y="322873"/>
                </a:lnTo>
                <a:cubicBezTo>
                  <a:pt x="330232" y="350539"/>
                  <a:pt x="317611" y="385027"/>
                  <a:pt x="317611" y="422358"/>
                </a:cubicBezTo>
                <a:cubicBezTo>
                  <a:pt x="317611" y="472764"/>
                  <a:pt x="340480" y="518053"/>
                  <a:pt x="376635" y="548088"/>
                </a:cubicBezTo>
                <a:lnTo>
                  <a:pt x="26855" y="548088"/>
                </a:lnTo>
                <a:cubicBezTo>
                  <a:pt x="12052" y="548088"/>
                  <a:pt x="0" y="536055"/>
                  <a:pt x="0" y="521274"/>
                </a:cubicBezTo>
                <a:lnTo>
                  <a:pt x="0" y="473806"/>
                </a:lnTo>
                <a:cubicBezTo>
                  <a:pt x="0" y="457983"/>
                  <a:pt x="7212" y="443013"/>
                  <a:pt x="19453" y="432969"/>
                </a:cubicBezTo>
                <a:cubicBezTo>
                  <a:pt x="86638" y="377921"/>
                  <a:pt x="159043" y="341443"/>
                  <a:pt x="173751" y="334242"/>
                </a:cubicBezTo>
                <a:cubicBezTo>
                  <a:pt x="175365" y="333484"/>
                  <a:pt x="176408" y="331779"/>
                  <a:pt x="176408" y="329884"/>
                </a:cubicBezTo>
                <a:lnTo>
                  <a:pt x="176408" y="278720"/>
                </a:lnTo>
                <a:cubicBezTo>
                  <a:pt x="168437" y="265076"/>
                  <a:pt x="163313" y="250675"/>
                  <a:pt x="161320" y="237694"/>
                </a:cubicBezTo>
                <a:cubicBezTo>
                  <a:pt x="155627" y="237221"/>
                  <a:pt x="148035" y="229072"/>
                  <a:pt x="139969" y="200458"/>
                </a:cubicBezTo>
                <a:cubicBezTo>
                  <a:pt x="129531" y="164170"/>
                  <a:pt x="138925" y="156496"/>
                  <a:pt x="148320" y="156211"/>
                </a:cubicBezTo>
                <a:cubicBezTo>
                  <a:pt x="147371" y="153085"/>
                  <a:pt x="146612" y="149863"/>
                  <a:pt x="146042" y="146736"/>
                </a:cubicBezTo>
                <a:cubicBezTo>
                  <a:pt x="142436" y="128450"/>
                  <a:pt x="141487" y="111396"/>
                  <a:pt x="145758" y="95099"/>
                </a:cubicBezTo>
                <a:cubicBezTo>
                  <a:pt x="150787" y="73212"/>
                  <a:pt x="162744" y="55684"/>
                  <a:pt x="176029" y="42135"/>
                </a:cubicBezTo>
                <a:cubicBezTo>
                  <a:pt x="184379" y="33134"/>
                  <a:pt x="193869" y="25459"/>
                  <a:pt x="203928" y="19017"/>
                </a:cubicBezTo>
                <a:cubicBezTo>
                  <a:pt x="212183" y="13332"/>
                  <a:pt x="221293" y="8405"/>
                  <a:pt x="231162" y="5089"/>
                </a:cubicBezTo>
                <a:cubicBezTo>
                  <a:pt x="238849" y="2625"/>
                  <a:pt x="247105" y="825"/>
                  <a:pt x="255835" y="446"/>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4" name="文本框 33">
            <a:extLst>
              <a:ext uri="{FF2B5EF4-FFF2-40B4-BE49-F238E27FC236}">
                <a16:creationId xmlns:a16="http://schemas.microsoft.com/office/drawing/2014/main" id="{599E01DA-5468-4641-AD65-8FC8F4C59CEE}"/>
              </a:ext>
            </a:extLst>
          </p:cNvPr>
          <p:cNvSpPr txBox="1"/>
          <p:nvPr/>
        </p:nvSpPr>
        <p:spPr>
          <a:xfrm>
            <a:off x="5477300" y="3469610"/>
            <a:ext cx="1237400" cy="369332"/>
          </a:xfrm>
          <a:prstGeom prst="rect">
            <a:avLst/>
          </a:prstGeom>
          <a:noFill/>
        </p:spPr>
        <p:txBody>
          <a:bodyPr wrap="square" lIns="0" tIns="0" rIns="0" bIns="0" rtlCol="0" anchor="t">
            <a:spAutoFit/>
          </a:bodyPr>
          <a:lstStyle/>
          <a:p>
            <a:pPr algn="ctr"/>
            <a:r>
              <a:rPr lang="zh-CN" altLang="en-US" sz="2400" dirty="0">
                <a:solidFill>
                  <a:schemeClr val="bg1"/>
                </a:solidFill>
                <a:latin typeface="+mj-ea"/>
                <a:ea typeface="+mj-ea"/>
              </a:rPr>
              <a:t>关键词</a:t>
            </a:r>
          </a:p>
        </p:txBody>
      </p:sp>
      <p:sp>
        <p:nvSpPr>
          <p:cNvPr id="35" name="文本框 34">
            <a:extLst>
              <a:ext uri="{FF2B5EF4-FFF2-40B4-BE49-F238E27FC236}">
                <a16:creationId xmlns:a16="http://schemas.microsoft.com/office/drawing/2014/main" id="{E7D956DB-82A6-4B79-974B-C5547AD62EED}"/>
              </a:ext>
            </a:extLst>
          </p:cNvPr>
          <p:cNvSpPr txBox="1"/>
          <p:nvPr/>
        </p:nvSpPr>
        <p:spPr>
          <a:xfrm>
            <a:off x="3993679" y="3121223"/>
            <a:ext cx="848634" cy="615553"/>
          </a:xfrm>
          <a:prstGeom prst="rect">
            <a:avLst/>
          </a:prstGeom>
          <a:noFill/>
        </p:spPr>
        <p:txBody>
          <a:bodyPr wrap="square" lIns="0" tIns="0" rIns="0" bIns="0" rtlCol="0" anchor="t">
            <a:spAutoFit/>
          </a:bodyPr>
          <a:lstStyle/>
          <a:p>
            <a:pPr algn="ctr"/>
            <a:r>
              <a:rPr lang="zh-CN" altLang="en-US" sz="2000" dirty="0">
                <a:solidFill>
                  <a:schemeClr val="accent1"/>
                </a:solidFill>
                <a:latin typeface="+mj-ea"/>
                <a:ea typeface="+mj-ea"/>
              </a:rPr>
              <a:t>关键词</a:t>
            </a:r>
            <a:endParaRPr lang="en-US" altLang="zh-CN" sz="2000" dirty="0">
              <a:solidFill>
                <a:schemeClr val="accent1"/>
              </a:solidFill>
              <a:latin typeface="+mj-ea"/>
              <a:ea typeface="+mj-ea"/>
            </a:endParaRPr>
          </a:p>
          <a:p>
            <a:pPr algn="ctr"/>
            <a:r>
              <a:rPr lang="zh-CN" altLang="en-US" sz="2000" dirty="0">
                <a:solidFill>
                  <a:schemeClr val="accent1"/>
                </a:solidFill>
                <a:latin typeface="+mj-ea"/>
                <a:ea typeface="+mj-ea"/>
              </a:rPr>
              <a:t>标题</a:t>
            </a:r>
          </a:p>
        </p:txBody>
      </p:sp>
      <p:sp>
        <p:nvSpPr>
          <p:cNvPr id="36" name="文本框 35">
            <a:extLst>
              <a:ext uri="{FF2B5EF4-FFF2-40B4-BE49-F238E27FC236}">
                <a16:creationId xmlns:a16="http://schemas.microsoft.com/office/drawing/2014/main" id="{3873517E-42E8-4D33-B485-9C080274992F}"/>
              </a:ext>
            </a:extLst>
          </p:cNvPr>
          <p:cNvSpPr txBox="1"/>
          <p:nvPr/>
        </p:nvSpPr>
        <p:spPr>
          <a:xfrm>
            <a:off x="7361916" y="3121223"/>
            <a:ext cx="848634" cy="615553"/>
          </a:xfrm>
          <a:prstGeom prst="rect">
            <a:avLst/>
          </a:prstGeom>
          <a:noFill/>
        </p:spPr>
        <p:txBody>
          <a:bodyPr wrap="square" lIns="0" tIns="0" rIns="0" bIns="0" rtlCol="0" anchor="t">
            <a:spAutoFit/>
          </a:bodyPr>
          <a:lstStyle/>
          <a:p>
            <a:pPr algn="ctr"/>
            <a:r>
              <a:rPr lang="zh-CN" altLang="en-US" sz="2000" dirty="0">
                <a:solidFill>
                  <a:schemeClr val="accent1"/>
                </a:solidFill>
                <a:latin typeface="+mj-ea"/>
                <a:ea typeface="+mj-ea"/>
              </a:rPr>
              <a:t>关键词</a:t>
            </a:r>
            <a:endParaRPr lang="en-US" altLang="zh-CN" sz="2000" dirty="0">
              <a:solidFill>
                <a:schemeClr val="accent1"/>
              </a:solidFill>
              <a:latin typeface="+mj-ea"/>
              <a:ea typeface="+mj-ea"/>
            </a:endParaRPr>
          </a:p>
          <a:p>
            <a:pPr algn="ctr"/>
            <a:r>
              <a:rPr lang="zh-CN" altLang="en-US" sz="2000" dirty="0">
                <a:solidFill>
                  <a:schemeClr val="accent1"/>
                </a:solidFill>
                <a:latin typeface="+mj-ea"/>
                <a:ea typeface="+mj-ea"/>
              </a:rPr>
              <a:t>标题</a:t>
            </a:r>
          </a:p>
        </p:txBody>
      </p:sp>
      <p:sp>
        <p:nvSpPr>
          <p:cNvPr id="11" name="矩形: 圆角 10">
            <a:extLst>
              <a:ext uri="{FF2B5EF4-FFF2-40B4-BE49-F238E27FC236}">
                <a16:creationId xmlns:a16="http://schemas.microsoft.com/office/drawing/2014/main" id="{9665F8F4-A7CD-4BE8-AD2E-5B5B00766B88}"/>
              </a:ext>
            </a:extLst>
          </p:cNvPr>
          <p:cNvSpPr/>
          <p:nvPr/>
        </p:nvSpPr>
        <p:spPr>
          <a:xfrm>
            <a:off x="1331089" y="1538814"/>
            <a:ext cx="1244244" cy="3838575"/>
          </a:xfrm>
          <a:prstGeom prst="roundRect">
            <a:avLst>
              <a:gd name="adj" fmla="val 50000"/>
            </a:avLst>
          </a:prstGeom>
          <a:noFill/>
          <a:ln w="15875">
            <a:solidFill>
              <a:schemeClr val="accent1"/>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39" name="文本框 38">
            <a:extLst>
              <a:ext uri="{FF2B5EF4-FFF2-40B4-BE49-F238E27FC236}">
                <a16:creationId xmlns:a16="http://schemas.microsoft.com/office/drawing/2014/main" id="{704585BA-4F59-40BD-A2DB-5C0A1C5584FF}"/>
              </a:ext>
            </a:extLst>
          </p:cNvPr>
          <p:cNvSpPr txBox="1"/>
          <p:nvPr/>
        </p:nvSpPr>
        <p:spPr>
          <a:xfrm>
            <a:off x="1528894" y="2240455"/>
            <a:ext cx="848634" cy="307777"/>
          </a:xfrm>
          <a:prstGeom prst="rect">
            <a:avLst/>
          </a:prstGeom>
          <a:noFill/>
        </p:spPr>
        <p:txBody>
          <a:bodyPr wrap="square" lIns="0" tIns="0" rIns="0" bIns="0" rtlCol="0" anchor="t">
            <a:spAutoFit/>
          </a:bodyPr>
          <a:lstStyle/>
          <a:p>
            <a:pPr algn="ctr"/>
            <a:r>
              <a:rPr lang="zh-CN" altLang="en-US" sz="2000" dirty="0">
                <a:solidFill>
                  <a:schemeClr val="accent1"/>
                </a:solidFill>
                <a:latin typeface="+mj-ea"/>
                <a:ea typeface="+mj-ea"/>
              </a:rPr>
              <a:t>关键词</a:t>
            </a:r>
          </a:p>
        </p:txBody>
      </p:sp>
      <p:sp>
        <p:nvSpPr>
          <p:cNvPr id="40" name="文本框 39">
            <a:extLst>
              <a:ext uri="{FF2B5EF4-FFF2-40B4-BE49-F238E27FC236}">
                <a16:creationId xmlns:a16="http://schemas.microsoft.com/office/drawing/2014/main" id="{062271D6-D455-4FBE-AAE3-6A19FD5BA280}"/>
              </a:ext>
            </a:extLst>
          </p:cNvPr>
          <p:cNvSpPr txBox="1"/>
          <p:nvPr/>
        </p:nvSpPr>
        <p:spPr>
          <a:xfrm>
            <a:off x="1528894" y="2949627"/>
            <a:ext cx="848634" cy="307777"/>
          </a:xfrm>
          <a:prstGeom prst="rect">
            <a:avLst/>
          </a:prstGeom>
          <a:noFill/>
        </p:spPr>
        <p:txBody>
          <a:bodyPr wrap="square" lIns="0" tIns="0" rIns="0" bIns="0" rtlCol="0" anchor="t">
            <a:spAutoFit/>
          </a:bodyPr>
          <a:lstStyle/>
          <a:p>
            <a:pPr algn="ctr"/>
            <a:r>
              <a:rPr lang="zh-CN" altLang="en-US" sz="2000" dirty="0">
                <a:solidFill>
                  <a:schemeClr val="accent1"/>
                </a:solidFill>
                <a:latin typeface="+mj-ea"/>
                <a:ea typeface="+mj-ea"/>
              </a:rPr>
              <a:t>关键词</a:t>
            </a:r>
          </a:p>
        </p:txBody>
      </p:sp>
      <p:sp>
        <p:nvSpPr>
          <p:cNvPr id="41" name="文本框 40">
            <a:extLst>
              <a:ext uri="{FF2B5EF4-FFF2-40B4-BE49-F238E27FC236}">
                <a16:creationId xmlns:a16="http://schemas.microsoft.com/office/drawing/2014/main" id="{60BB0226-A5AE-4D18-A4E6-08469C581F0D}"/>
              </a:ext>
            </a:extLst>
          </p:cNvPr>
          <p:cNvSpPr txBox="1"/>
          <p:nvPr/>
        </p:nvSpPr>
        <p:spPr>
          <a:xfrm>
            <a:off x="1528894" y="3658799"/>
            <a:ext cx="848634" cy="307777"/>
          </a:xfrm>
          <a:prstGeom prst="rect">
            <a:avLst/>
          </a:prstGeom>
          <a:noFill/>
        </p:spPr>
        <p:txBody>
          <a:bodyPr wrap="square" lIns="0" tIns="0" rIns="0" bIns="0" rtlCol="0" anchor="t">
            <a:spAutoFit/>
          </a:bodyPr>
          <a:lstStyle/>
          <a:p>
            <a:pPr algn="ctr"/>
            <a:r>
              <a:rPr lang="zh-CN" altLang="en-US" sz="2000" dirty="0">
                <a:solidFill>
                  <a:schemeClr val="accent1"/>
                </a:solidFill>
                <a:latin typeface="+mj-ea"/>
                <a:ea typeface="+mj-ea"/>
              </a:rPr>
              <a:t>关键词</a:t>
            </a:r>
          </a:p>
        </p:txBody>
      </p:sp>
      <p:sp>
        <p:nvSpPr>
          <p:cNvPr id="42" name="文本框 41">
            <a:extLst>
              <a:ext uri="{FF2B5EF4-FFF2-40B4-BE49-F238E27FC236}">
                <a16:creationId xmlns:a16="http://schemas.microsoft.com/office/drawing/2014/main" id="{6D9AA2AB-37F2-407B-92C3-D0005A50DF63}"/>
              </a:ext>
            </a:extLst>
          </p:cNvPr>
          <p:cNvSpPr txBox="1"/>
          <p:nvPr/>
        </p:nvSpPr>
        <p:spPr>
          <a:xfrm>
            <a:off x="1528894" y="4367971"/>
            <a:ext cx="848634" cy="307777"/>
          </a:xfrm>
          <a:prstGeom prst="rect">
            <a:avLst/>
          </a:prstGeom>
          <a:noFill/>
        </p:spPr>
        <p:txBody>
          <a:bodyPr wrap="square" lIns="0" tIns="0" rIns="0" bIns="0" rtlCol="0" anchor="t">
            <a:spAutoFit/>
          </a:bodyPr>
          <a:lstStyle/>
          <a:p>
            <a:pPr algn="ctr"/>
            <a:r>
              <a:rPr lang="zh-CN" altLang="en-US" sz="2000" dirty="0">
                <a:solidFill>
                  <a:schemeClr val="accent1"/>
                </a:solidFill>
                <a:latin typeface="+mj-ea"/>
                <a:ea typeface="+mj-ea"/>
              </a:rPr>
              <a:t>关键词</a:t>
            </a:r>
          </a:p>
        </p:txBody>
      </p:sp>
      <p:grpSp>
        <p:nvGrpSpPr>
          <p:cNvPr id="15" name="组合 14">
            <a:extLst>
              <a:ext uri="{FF2B5EF4-FFF2-40B4-BE49-F238E27FC236}">
                <a16:creationId xmlns:a16="http://schemas.microsoft.com/office/drawing/2014/main" id="{5150C736-94AC-4D45-AF7C-C91C2ABBBAEC}"/>
              </a:ext>
            </a:extLst>
          </p:cNvPr>
          <p:cNvGrpSpPr/>
          <p:nvPr/>
        </p:nvGrpSpPr>
        <p:grpSpPr>
          <a:xfrm>
            <a:off x="2721578" y="2469336"/>
            <a:ext cx="659101" cy="1800997"/>
            <a:chOff x="2721578" y="2469336"/>
            <a:chExt cx="659101" cy="1800997"/>
          </a:xfrm>
        </p:grpSpPr>
        <p:sp>
          <p:nvSpPr>
            <p:cNvPr id="54" name="任意多边形: 形状 53">
              <a:extLst>
                <a:ext uri="{FF2B5EF4-FFF2-40B4-BE49-F238E27FC236}">
                  <a16:creationId xmlns:a16="http://schemas.microsoft.com/office/drawing/2014/main" id="{BE558AAA-CCC9-49A4-A4D0-8A33BEF0EBFB}"/>
                </a:ext>
              </a:extLst>
            </p:cNvPr>
            <p:cNvSpPr/>
            <p:nvPr/>
          </p:nvSpPr>
          <p:spPr>
            <a:xfrm flipH="1" flipV="1">
              <a:off x="2721578" y="2469336"/>
              <a:ext cx="659101" cy="480291"/>
            </a:xfrm>
            <a:custGeom>
              <a:avLst/>
              <a:gdLst>
                <a:gd name="connsiteX0" fmla="*/ 0 w 572655"/>
                <a:gd name="connsiteY0" fmla="*/ 0 h 369454"/>
                <a:gd name="connsiteX1" fmla="*/ 572655 w 572655"/>
                <a:gd name="connsiteY1" fmla="*/ 369454 h 369454"/>
                <a:gd name="connsiteX0" fmla="*/ 0 w 572655"/>
                <a:gd name="connsiteY0" fmla="*/ 295 h 369749"/>
                <a:gd name="connsiteX1" fmla="*/ 572655 w 572655"/>
                <a:gd name="connsiteY1" fmla="*/ 369749 h 369749"/>
                <a:gd name="connsiteX0" fmla="*/ 0 w 572655"/>
                <a:gd name="connsiteY0" fmla="*/ 344 h 369798"/>
                <a:gd name="connsiteX1" fmla="*/ 572655 w 572655"/>
                <a:gd name="connsiteY1" fmla="*/ 369798 h 369798"/>
              </a:gdLst>
              <a:ahLst/>
              <a:cxnLst>
                <a:cxn ang="0">
                  <a:pos x="connsiteX0" y="connsiteY0"/>
                </a:cxn>
                <a:cxn ang="0">
                  <a:pos x="connsiteX1" y="connsiteY1"/>
                </a:cxn>
              </a:cxnLst>
              <a:rect l="l" t="t" r="r" b="b"/>
              <a:pathLst>
                <a:path w="572655" h="369798">
                  <a:moveTo>
                    <a:pt x="0" y="344"/>
                  </a:moveTo>
                  <a:cubicBezTo>
                    <a:pt x="281373" y="-9855"/>
                    <a:pt x="500832" y="208547"/>
                    <a:pt x="572655" y="369798"/>
                  </a:cubicBezTo>
                </a:path>
              </a:pathLst>
            </a:custGeom>
            <a:noFill/>
            <a:ln w="15875">
              <a:solidFill>
                <a:schemeClr val="accent1"/>
              </a:solidFill>
              <a:tailEnd type="stealt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6" name="任意多边形: 形状 55">
              <a:extLst>
                <a:ext uri="{FF2B5EF4-FFF2-40B4-BE49-F238E27FC236}">
                  <a16:creationId xmlns:a16="http://schemas.microsoft.com/office/drawing/2014/main" id="{829DA21D-52FC-4DCB-B232-75E700659840}"/>
                </a:ext>
              </a:extLst>
            </p:cNvPr>
            <p:cNvSpPr/>
            <p:nvPr/>
          </p:nvSpPr>
          <p:spPr>
            <a:xfrm flipH="1">
              <a:off x="2721578" y="3790042"/>
              <a:ext cx="659101" cy="480291"/>
            </a:xfrm>
            <a:custGeom>
              <a:avLst/>
              <a:gdLst>
                <a:gd name="connsiteX0" fmla="*/ 0 w 572655"/>
                <a:gd name="connsiteY0" fmla="*/ 0 h 369454"/>
                <a:gd name="connsiteX1" fmla="*/ 572655 w 572655"/>
                <a:gd name="connsiteY1" fmla="*/ 369454 h 369454"/>
                <a:gd name="connsiteX0" fmla="*/ 0 w 572655"/>
                <a:gd name="connsiteY0" fmla="*/ 295 h 369749"/>
                <a:gd name="connsiteX1" fmla="*/ 572655 w 572655"/>
                <a:gd name="connsiteY1" fmla="*/ 369749 h 369749"/>
                <a:gd name="connsiteX0" fmla="*/ 0 w 572655"/>
                <a:gd name="connsiteY0" fmla="*/ 344 h 369798"/>
                <a:gd name="connsiteX1" fmla="*/ 572655 w 572655"/>
                <a:gd name="connsiteY1" fmla="*/ 369798 h 369798"/>
              </a:gdLst>
              <a:ahLst/>
              <a:cxnLst>
                <a:cxn ang="0">
                  <a:pos x="connsiteX0" y="connsiteY0"/>
                </a:cxn>
                <a:cxn ang="0">
                  <a:pos x="connsiteX1" y="connsiteY1"/>
                </a:cxn>
              </a:cxnLst>
              <a:rect l="l" t="t" r="r" b="b"/>
              <a:pathLst>
                <a:path w="572655" h="369798">
                  <a:moveTo>
                    <a:pt x="0" y="344"/>
                  </a:moveTo>
                  <a:cubicBezTo>
                    <a:pt x="281373" y="-9855"/>
                    <a:pt x="500832" y="208547"/>
                    <a:pt x="572655" y="369798"/>
                  </a:cubicBezTo>
                </a:path>
              </a:pathLst>
            </a:custGeom>
            <a:noFill/>
            <a:ln w="15875">
              <a:solidFill>
                <a:schemeClr val="accent1"/>
              </a:solidFill>
              <a:tailEnd type="stealt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14" name="直接箭头连接符 13">
              <a:extLst>
                <a:ext uri="{FF2B5EF4-FFF2-40B4-BE49-F238E27FC236}">
                  <a16:creationId xmlns:a16="http://schemas.microsoft.com/office/drawing/2014/main" id="{01EEC0A3-6D3E-4E11-B7C4-816403FABF2F}"/>
                </a:ext>
              </a:extLst>
            </p:cNvPr>
            <p:cNvCxnSpPr/>
            <p:nvPr/>
          </p:nvCxnSpPr>
          <p:spPr>
            <a:xfrm flipH="1">
              <a:off x="2721578" y="3401254"/>
              <a:ext cx="559301" cy="0"/>
            </a:xfrm>
            <a:prstGeom prst="straightConnector1">
              <a:avLst/>
            </a:prstGeom>
            <a:noFill/>
            <a:ln w="15875">
              <a:solidFill>
                <a:schemeClr val="accent1"/>
              </a:solidFill>
              <a:tailEnd type="stealth"/>
            </a:ln>
          </p:spPr>
          <p:style>
            <a:lnRef idx="2">
              <a:schemeClr val="accent1">
                <a:shade val="50000"/>
              </a:schemeClr>
            </a:lnRef>
            <a:fillRef idx="1">
              <a:schemeClr val="accent1"/>
            </a:fillRef>
            <a:effectRef idx="0">
              <a:schemeClr val="accent1"/>
            </a:effectRef>
            <a:fontRef idx="minor">
              <a:schemeClr val="lt1"/>
            </a:fontRef>
          </p:style>
        </p:cxnSp>
      </p:grpSp>
      <p:grpSp>
        <p:nvGrpSpPr>
          <p:cNvPr id="57" name="组合 56">
            <a:extLst>
              <a:ext uri="{FF2B5EF4-FFF2-40B4-BE49-F238E27FC236}">
                <a16:creationId xmlns:a16="http://schemas.microsoft.com/office/drawing/2014/main" id="{54A8193C-2811-40FE-AAC2-A223894177C6}"/>
              </a:ext>
            </a:extLst>
          </p:cNvPr>
          <p:cNvGrpSpPr/>
          <p:nvPr/>
        </p:nvGrpSpPr>
        <p:grpSpPr>
          <a:xfrm flipH="1">
            <a:off x="8833983" y="2469336"/>
            <a:ext cx="659101" cy="1800997"/>
            <a:chOff x="2721578" y="2469336"/>
            <a:chExt cx="659101" cy="1800997"/>
          </a:xfrm>
        </p:grpSpPr>
        <p:sp>
          <p:nvSpPr>
            <p:cNvPr id="58" name="任意多边形: 形状 57">
              <a:extLst>
                <a:ext uri="{FF2B5EF4-FFF2-40B4-BE49-F238E27FC236}">
                  <a16:creationId xmlns:a16="http://schemas.microsoft.com/office/drawing/2014/main" id="{B72038D3-45E9-4F09-B1E5-03AD76D6A798}"/>
                </a:ext>
              </a:extLst>
            </p:cNvPr>
            <p:cNvSpPr/>
            <p:nvPr/>
          </p:nvSpPr>
          <p:spPr>
            <a:xfrm flipH="1" flipV="1">
              <a:off x="2721578" y="2469336"/>
              <a:ext cx="659101" cy="480291"/>
            </a:xfrm>
            <a:custGeom>
              <a:avLst/>
              <a:gdLst>
                <a:gd name="connsiteX0" fmla="*/ 0 w 572655"/>
                <a:gd name="connsiteY0" fmla="*/ 0 h 369454"/>
                <a:gd name="connsiteX1" fmla="*/ 572655 w 572655"/>
                <a:gd name="connsiteY1" fmla="*/ 369454 h 369454"/>
                <a:gd name="connsiteX0" fmla="*/ 0 w 572655"/>
                <a:gd name="connsiteY0" fmla="*/ 295 h 369749"/>
                <a:gd name="connsiteX1" fmla="*/ 572655 w 572655"/>
                <a:gd name="connsiteY1" fmla="*/ 369749 h 369749"/>
                <a:gd name="connsiteX0" fmla="*/ 0 w 572655"/>
                <a:gd name="connsiteY0" fmla="*/ 344 h 369798"/>
                <a:gd name="connsiteX1" fmla="*/ 572655 w 572655"/>
                <a:gd name="connsiteY1" fmla="*/ 369798 h 369798"/>
              </a:gdLst>
              <a:ahLst/>
              <a:cxnLst>
                <a:cxn ang="0">
                  <a:pos x="connsiteX0" y="connsiteY0"/>
                </a:cxn>
                <a:cxn ang="0">
                  <a:pos x="connsiteX1" y="connsiteY1"/>
                </a:cxn>
              </a:cxnLst>
              <a:rect l="l" t="t" r="r" b="b"/>
              <a:pathLst>
                <a:path w="572655" h="369798">
                  <a:moveTo>
                    <a:pt x="0" y="344"/>
                  </a:moveTo>
                  <a:cubicBezTo>
                    <a:pt x="281373" y="-9855"/>
                    <a:pt x="500832" y="208547"/>
                    <a:pt x="572655" y="369798"/>
                  </a:cubicBezTo>
                </a:path>
              </a:pathLst>
            </a:custGeom>
            <a:noFill/>
            <a:ln w="15875">
              <a:solidFill>
                <a:schemeClr val="accent1"/>
              </a:solidFill>
              <a:tailEnd type="stealt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9" name="任意多边形: 形状 58">
              <a:extLst>
                <a:ext uri="{FF2B5EF4-FFF2-40B4-BE49-F238E27FC236}">
                  <a16:creationId xmlns:a16="http://schemas.microsoft.com/office/drawing/2014/main" id="{3B8F38AE-5115-4F8D-A748-69F86F9DE505}"/>
                </a:ext>
              </a:extLst>
            </p:cNvPr>
            <p:cNvSpPr/>
            <p:nvPr/>
          </p:nvSpPr>
          <p:spPr>
            <a:xfrm flipH="1">
              <a:off x="2721578" y="3790042"/>
              <a:ext cx="659101" cy="480291"/>
            </a:xfrm>
            <a:custGeom>
              <a:avLst/>
              <a:gdLst>
                <a:gd name="connsiteX0" fmla="*/ 0 w 572655"/>
                <a:gd name="connsiteY0" fmla="*/ 0 h 369454"/>
                <a:gd name="connsiteX1" fmla="*/ 572655 w 572655"/>
                <a:gd name="connsiteY1" fmla="*/ 369454 h 369454"/>
                <a:gd name="connsiteX0" fmla="*/ 0 w 572655"/>
                <a:gd name="connsiteY0" fmla="*/ 295 h 369749"/>
                <a:gd name="connsiteX1" fmla="*/ 572655 w 572655"/>
                <a:gd name="connsiteY1" fmla="*/ 369749 h 369749"/>
                <a:gd name="connsiteX0" fmla="*/ 0 w 572655"/>
                <a:gd name="connsiteY0" fmla="*/ 344 h 369798"/>
                <a:gd name="connsiteX1" fmla="*/ 572655 w 572655"/>
                <a:gd name="connsiteY1" fmla="*/ 369798 h 369798"/>
              </a:gdLst>
              <a:ahLst/>
              <a:cxnLst>
                <a:cxn ang="0">
                  <a:pos x="connsiteX0" y="connsiteY0"/>
                </a:cxn>
                <a:cxn ang="0">
                  <a:pos x="connsiteX1" y="connsiteY1"/>
                </a:cxn>
              </a:cxnLst>
              <a:rect l="l" t="t" r="r" b="b"/>
              <a:pathLst>
                <a:path w="572655" h="369798">
                  <a:moveTo>
                    <a:pt x="0" y="344"/>
                  </a:moveTo>
                  <a:cubicBezTo>
                    <a:pt x="281373" y="-9855"/>
                    <a:pt x="500832" y="208547"/>
                    <a:pt x="572655" y="369798"/>
                  </a:cubicBezTo>
                </a:path>
              </a:pathLst>
            </a:custGeom>
            <a:noFill/>
            <a:ln w="15875">
              <a:solidFill>
                <a:schemeClr val="accent1"/>
              </a:solidFill>
              <a:tailEnd type="stealt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60" name="直接箭头连接符 59">
              <a:extLst>
                <a:ext uri="{FF2B5EF4-FFF2-40B4-BE49-F238E27FC236}">
                  <a16:creationId xmlns:a16="http://schemas.microsoft.com/office/drawing/2014/main" id="{D45AAD50-C272-4ED3-836D-099476152C4B}"/>
                </a:ext>
              </a:extLst>
            </p:cNvPr>
            <p:cNvCxnSpPr/>
            <p:nvPr/>
          </p:nvCxnSpPr>
          <p:spPr>
            <a:xfrm flipH="1">
              <a:off x="2721578" y="3401254"/>
              <a:ext cx="559301" cy="0"/>
            </a:xfrm>
            <a:prstGeom prst="straightConnector1">
              <a:avLst/>
            </a:prstGeom>
            <a:noFill/>
            <a:ln w="15875">
              <a:solidFill>
                <a:schemeClr val="accent1"/>
              </a:solidFill>
              <a:tailEnd type="stealth"/>
            </a:ln>
          </p:spPr>
          <p:style>
            <a:lnRef idx="2">
              <a:schemeClr val="accent1">
                <a:shade val="50000"/>
              </a:schemeClr>
            </a:lnRef>
            <a:fillRef idx="1">
              <a:schemeClr val="accent1"/>
            </a:fillRef>
            <a:effectRef idx="0">
              <a:schemeClr val="accent1"/>
            </a:effectRef>
            <a:fontRef idx="minor">
              <a:schemeClr val="lt1"/>
            </a:fontRef>
          </p:style>
        </p:cxnSp>
      </p:grpSp>
      <p:sp>
        <p:nvSpPr>
          <p:cNvPr id="64" name="矩形: 圆角 63">
            <a:extLst>
              <a:ext uri="{FF2B5EF4-FFF2-40B4-BE49-F238E27FC236}">
                <a16:creationId xmlns:a16="http://schemas.microsoft.com/office/drawing/2014/main" id="{7C52BCC4-22A8-41DB-BE1E-BE5F3FBF8370}"/>
              </a:ext>
            </a:extLst>
          </p:cNvPr>
          <p:cNvSpPr/>
          <p:nvPr/>
        </p:nvSpPr>
        <p:spPr>
          <a:xfrm>
            <a:off x="9701967" y="1538814"/>
            <a:ext cx="1244244" cy="3838575"/>
          </a:xfrm>
          <a:prstGeom prst="roundRect">
            <a:avLst>
              <a:gd name="adj" fmla="val 50000"/>
            </a:avLst>
          </a:prstGeom>
          <a:noFill/>
          <a:ln w="15875">
            <a:solidFill>
              <a:schemeClr val="accent1"/>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65" name="文本框 64">
            <a:extLst>
              <a:ext uri="{FF2B5EF4-FFF2-40B4-BE49-F238E27FC236}">
                <a16:creationId xmlns:a16="http://schemas.microsoft.com/office/drawing/2014/main" id="{00BBBBBA-24F2-4D10-8A91-C0FDFD84DA82}"/>
              </a:ext>
            </a:extLst>
          </p:cNvPr>
          <p:cNvSpPr txBox="1"/>
          <p:nvPr/>
        </p:nvSpPr>
        <p:spPr>
          <a:xfrm>
            <a:off x="9899772" y="2240455"/>
            <a:ext cx="848634" cy="307777"/>
          </a:xfrm>
          <a:prstGeom prst="rect">
            <a:avLst/>
          </a:prstGeom>
          <a:noFill/>
        </p:spPr>
        <p:txBody>
          <a:bodyPr wrap="square" lIns="0" tIns="0" rIns="0" bIns="0" rtlCol="0" anchor="t">
            <a:spAutoFit/>
          </a:bodyPr>
          <a:lstStyle/>
          <a:p>
            <a:pPr algn="ctr"/>
            <a:r>
              <a:rPr lang="zh-CN" altLang="en-US" sz="2000" dirty="0">
                <a:solidFill>
                  <a:schemeClr val="accent1"/>
                </a:solidFill>
                <a:latin typeface="+mj-ea"/>
                <a:ea typeface="+mj-ea"/>
              </a:rPr>
              <a:t>关键词</a:t>
            </a:r>
          </a:p>
        </p:txBody>
      </p:sp>
      <p:sp>
        <p:nvSpPr>
          <p:cNvPr id="66" name="文本框 65">
            <a:extLst>
              <a:ext uri="{FF2B5EF4-FFF2-40B4-BE49-F238E27FC236}">
                <a16:creationId xmlns:a16="http://schemas.microsoft.com/office/drawing/2014/main" id="{39A9DCA8-F7B9-41DF-822F-9AB45A2A898C}"/>
              </a:ext>
            </a:extLst>
          </p:cNvPr>
          <p:cNvSpPr txBox="1"/>
          <p:nvPr/>
        </p:nvSpPr>
        <p:spPr>
          <a:xfrm>
            <a:off x="9899772" y="2949627"/>
            <a:ext cx="848634" cy="307777"/>
          </a:xfrm>
          <a:prstGeom prst="rect">
            <a:avLst/>
          </a:prstGeom>
          <a:noFill/>
        </p:spPr>
        <p:txBody>
          <a:bodyPr wrap="square" lIns="0" tIns="0" rIns="0" bIns="0" rtlCol="0" anchor="t">
            <a:spAutoFit/>
          </a:bodyPr>
          <a:lstStyle/>
          <a:p>
            <a:pPr algn="ctr"/>
            <a:r>
              <a:rPr lang="zh-CN" altLang="en-US" sz="2000" dirty="0">
                <a:solidFill>
                  <a:schemeClr val="accent1"/>
                </a:solidFill>
                <a:latin typeface="+mj-ea"/>
                <a:ea typeface="+mj-ea"/>
              </a:rPr>
              <a:t>关键词</a:t>
            </a:r>
          </a:p>
        </p:txBody>
      </p:sp>
      <p:sp>
        <p:nvSpPr>
          <p:cNvPr id="67" name="文本框 66">
            <a:extLst>
              <a:ext uri="{FF2B5EF4-FFF2-40B4-BE49-F238E27FC236}">
                <a16:creationId xmlns:a16="http://schemas.microsoft.com/office/drawing/2014/main" id="{CAF7649F-CF60-430A-8546-B4A0AA274B23}"/>
              </a:ext>
            </a:extLst>
          </p:cNvPr>
          <p:cNvSpPr txBox="1"/>
          <p:nvPr/>
        </p:nvSpPr>
        <p:spPr>
          <a:xfrm>
            <a:off x="9899772" y="3658799"/>
            <a:ext cx="848634" cy="307777"/>
          </a:xfrm>
          <a:prstGeom prst="rect">
            <a:avLst/>
          </a:prstGeom>
          <a:noFill/>
        </p:spPr>
        <p:txBody>
          <a:bodyPr wrap="square" lIns="0" tIns="0" rIns="0" bIns="0" rtlCol="0" anchor="t">
            <a:spAutoFit/>
          </a:bodyPr>
          <a:lstStyle/>
          <a:p>
            <a:pPr algn="ctr"/>
            <a:r>
              <a:rPr lang="zh-CN" altLang="en-US" sz="2000" dirty="0">
                <a:solidFill>
                  <a:schemeClr val="accent1"/>
                </a:solidFill>
                <a:latin typeface="+mj-ea"/>
                <a:ea typeface="+mj-ea"/>
              </a:rPr>
              <a:t>关键词</a:t>
            </a:r>
          </a:p>
        </p:txBody>
      </p:sp>
      <p:sp>
        <p:nvSpPr>
          <p:cNvPr id="68" name="文本框 67">
            <a:extLst>
              <a:ext uri="{FF2B5EF4-FFF2-40B4-BE49-F238E27FC236}">
                <a16:creationId xmlns:a16="http://schemas.microsoft.com/office/drawing/2014/main" id="{C3CA09F0-1BA2-4705-96E1-9C6D98BF678A}"/>
              </a:ext>
            </a:extLst>
          </p:cNvPr>
          <p:cNvSpPr txBox="1"/>
          <p:nvPr/>
        </p:nvSpPr>
        <p:spPr>
          <a:xfrm>
            <a:off x="9899772" y="4367971"/>
            <a:ext cx="848634" cy="307777"/>
          </a:xfrm>
          <a:prstGeom prst="rect">
            <a:avLst/>
          </a:prstGeom>
          <a:noFill/>
        </p:spPr>
        <p:txBody>
          <a:bodyPr wrap="square" lIns="0" tIns="0" rIns="0" bIns="0" rtlCol="0" anchor="t">
            <a:spAutoFit/>
          </a:bodyPr>
          <a:lstStyle/>
          <a:p>
            <a:pPr algn="ctr"/>
            <a:r>
              <a:rPr lang="zh-CN" altLang="en-US" sz="2000" dirty="0">
                <a:solidFill>
                  <a:schemeClr val="accent1"/>
                </a:solidFill>
                <a:latin typeface="+mj-ea"/>
                <a:ea typeface="+mj-ea"/>
              </a:rPr>
              <a:t>关键词</a:t>
            </a:r>
          </a:p>
        </p:txBody>
      </p:sp>
    </p:spTree>
    <p:custDataLst>
      <p:tags r:id="rId2"/>
    </p:custDataLst>
    <p:extLst>
      <p:ext uri="{BB962C8B-B14F-4D97-AF65-F5344CB8AC3E}">
        <p14:creationId xmlns:p14="http://schemas.microsoft.com/office/powerpoint/2010/main" val="886872138"/>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3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 name="任意形状 9">
            <a:extLst>
              <a:ext uri="{FF2B5EF4-FFF2-40B4-BE49-F238E27FC236}">
                <a16:creationId xmlns:a16="http://schemas.microsoft.com/office/drawing/2014/main" id="{AA202101-1D6B-4874-9BE5-D6BF99331DE8}"/>
              </a:ext>
            </a:extLst>
          </p:cNvPr>
          <p:cNvSpPr/>
          <p:nvPr/>
        </p:nvSpPr>
        <p:spPr>
          <a:xfrm>
            <a:off x="0" y="6457950"/>
            <a:ext cx="12192000" cy="400050"/>
          </a:xfrm>
          <a:custGeom>
            <a:avLst/>
            <a:gdLst>
              <a:gd name="connsiteX0" fmla="*/ 12192000 w 12192000"/>
              <a:gd name="connsiteY0" fmla="*/ 0 h 329410"/>
              <a:gd name="connsiteX1" fmla="*/ 12192000 w 12192000"/>
              <a:gd name="connsiteY1" fmla="*/ 329410 h 329410"/>
              <a:gd name="connsiteX2" fmla="*/ 0 w 12192000"/>
              <a:gd name="connsiteY2" fmla="*/ 329410 h 329410"/>
              <a:gd name="connsiteX3" fmla="*/ 0 w 12192000"/>
              <a:gd name="connsiteY3" fmla="*/ 29375 h 329410"/>
              <a:gd name="connsiteX4" fmla="*/ 577089 w 12192000"/>
              <a:gd name="connsiteY4" fmla="*/ 49593 h 329410"/>
              <a:gd name="connsiteX5" fmla="*/ 5704114 w 12192000"/>
              <a:gd name="connsiteY5" fmla="*/ 124873 h 329410"/>
              <a:gd name="connsiteX6" fmla="*/ 11982536 w 12192000"/>
              <a:gd name="connsiteY6" fmla="*/ 9255 h 329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329410">
                <a:moveTo>
                  <a:pt x="12192000" y="0"/>
                </a:moveTo>
                <a:lnTo>
                  <a:pt x="12192000" y="329410"/>
                </a:lnTo>
                <a:lnTo>
                  <a:pt x="0" y="329410"/>
                </a:lnTo>
                <a:lnTo>
                  <a:pt x="0" y="29375"/>
                </a:lnTo>
                <a:lnTo>
                  <a:pt x="577089" y="49593"/>
                </a:lnTo>
                <a:cubicBezTo>
                  <a:pt x="2152931" y="98068"/>
                  <a:pt x="3885480" y="124873"/>
                  <a:pt x="5704114" y="124873"/>
                </a:cubicBezTo>
                <a:cubicBezTo>
                  <a:pt x="7977407" y="124873"/>
                  <a:pt x="10116192" y="82990"/>
                  <a:pt x="11982536" y="9255"/>
                </a:cubicBezTo>
                <a:close/>
              </a:path>
            </a:pathLst>
          </a:custGeom>
          <a:solidFill>
            <a:schemeClr val="accent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zh-CN" altLang="en-US"/>
          </a:p>
        </p:txBody>
      </p:sp>
      <p:sp>
        <p:nvSpPr>
          <p:cNvPr id="7" name="矩形: 圆角 6">
            <a:extLst>
              <a:ext uri="{FF2B5EF4-FFF2-40B4-BE49-F238E27FC236}">
                <a16:creationId xmlns:a16="http://schemas.microsoft.com/office/drawing/2014/main" id="{A33ADE3D-F2AB-4AF6-8202-AACFBCE89579}"/>
              </a:ext>
            </a:extLst>
          </p:cNvPr>
          <p:cNvSpPr/>
          <p:nvPr/>
        </p:nvSpPr>
        <p:spPr>
          <a:xfrm rot="2700000">
            <a:off x="4775086" y="2108086"/>
            <a:ext cx="2641828" cy="2641828"/>
          </a:xfrm>
          <a:prstGeom prst="roundRect">
            <a:avLst>
              <a:gd name="adj" fmla="val 8820"/>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grpSp>
        <p:nvGrpSpPr>
          <p:cNvPr id="12" name="组合 11">
            <a:extLst>
              <a:ext uri="{FF2B5EF4-FFF2-40B4-BE49-F238E27FC236}">
                <a16:creationId xmlns:a16="http://schemas.microsoft.com/office/drawing/2014/main" id="{9D6EA815-1784-42A7-A765-09C751DFEB97}"/>
              </a:ext>
            </a:extLst>
          </p:cNvPr>
          <p:cNvGrpSpPr/>
          <p:nvPr/>
        </p:nvGrpSpPr>
        <p:grpSpPr>
          <a:xfrm>
            <a:off x="5271655" y="2604655"/>
            <a:ext cx="1648690" cy="1648690"/>
            <a:chOff x="5495925" y="2988935"/>
            <a:chExt cx="1200150" cy="1200150"/>
          </a:xfrm>
        </p:grpSpPr>
        <p:cxnSp>
          <p:nvCxnSpPr>
            <p:cNvPr id="9" name="直接连接符 8">
              <a:extLst>
                <a:ext uri="{FF2B5EF4-FFF2-40B4-BE49-F238E27FC236}">
                  <a16:creationId xmlns:a16="http://schemas.microsoft.com/office/drawing/2014/main" id="{AC84F858-AFC1-436D-AFEC-54B7C8FD60E3}"/>
                </a:ext>
              </a:extLst>
            </p:cNvPr>
            <p:cNvCxnSpPr>
              <a:cxnSpLocks/>
            </p:cNvCxnSpPr>
            <p:nvPr/>
          </p:nvCxnSpPr>
          <p:spPr>
            <a:xfrm flipH="1">
              <a:off x="5495925" y="2988935"/>
              <a:ext cx="1200150" cy="1200150"/>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37" name="直接连接符 36">
              <a:extLst>
                <a:ext uri="{FF2B5EF4-FFF2-40B4-BE49-F238E27FC236}">
                  <a16:creationId xmlns:a16="http://schemas.microsoft.com/office/drawing/2014/main" id="{CDE58A63-EBA0-4F47-AD39-F25E7D5C7277}"/>
                </a:ext>
              </a:extLst>
            </p:cNvPr>
            <p:cNvCxnSpPr>
              <a:cxnSpLocks/>
            </p:cNvCxnSpPr>
            <p:nvPr/>
          </p:nvCxnSpPr>
          <p:spPr>
            <a:xfrm>
              <a:off x="5495925" y="2988935"/>
              <a:ext cx="1200150" cy="1200150"/>
            </a:xfrm>
            <a:prstGeom prst="line">
              <a:avLst/>
            </a:prstGeom>
            <a:ln w="28575"/>
          </p:spPr>
          <p:style>
            <a:lnRef idx="1">
              <a:schemeClr val="accent1"/>
            </a:lnRef>
            <a:fillRef idx="0">
              <a:schemeClr val="accent1"/>
            </a:fillRef>
            <a:effectRef idx="0">
              <a:schemeClr val="accent1"/>
            </a:effectRef>
            <a:fontRef idx="minor">
              <a:schemeClr val="tx1"/>
            </a:fontRef>
          </p:style>
        </p:cxnSp>
      </p:grpSp>
      <p:sp>
        <p:nvSpPr>
          <p:cNvPr id="13" name="椭圆 12">
            <a:extLst>
              <a:ext uri="{FF2B5EF4-FFF2-40B4-BE49-F238E27FC236}">
                <a16:creationId xmlns:a16="http://schemas.microsoft.com/office/drawing/2014/main" id="{D523FA78-89C1-4886-89E2-A71E78E25EAC}"/>
              </a:ext>
            </a:extLst>
          </p:cNvPr>
          <p:cNvSpPr/>
          <p:nvPr/>
        </p:nvSpPr>
        <p:spPr>
          <a:xfrm>
            <a:off x="4581236" y="5341253"/>
            <a:ext cx="3029528" cy="548881"/>
          </a:xfrm>
          <a:prstGeom prst="ellipse">
            <a:avLst/>
          </a:prstGeom>
          <a:solidFill>
            <a:schemeClr val="accent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17" name="椭圆 16">
            <a:extLst>
              <a:ext uri="{FF2B5EF4-FFF2-40B4-BE49-F238E27FC236}">
                <a16:creationId xmlns:a16="http://schemas.microsoft.com/office/drawing/2014/main" id="{568E4735-8E93-4AE8-B0B7-A5C5C36C406F}"/>
              </a:ext>
            </a:extLst>
          </p:cNvPr>
          <p:cNvSpPr/>
          <p:nvPr/>
        </p:nvSpPr>
        <p:spPr>
          <a:xfrm>
            <a:off x="5724525" y="2188982"/>
            <a:ext cx="742950" cy="74295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47" name="椭圆 46">
            <a:extLst>
              <a:ext uri="{FF2B5EF4-FFF2-40B4-BE49-F238E27FC236}">
                <a16:creationId xmlns:a16="http://schemas.microsoft.com/office/drawing/2014/main" id="{E18960A4-D394-42AC-8717-04025EACDCC7}"/>
              </a:ext>
            </a:extLst>
          </p:cNvPr>
          <p:cNvSpPr/>
          <p:nvPr/>
        </p:nvSpPr>
        <p:spPr>
          <a:xfrm>
            <a:off x="4900180" y="3057525"/>
            <a:ext cx="742950" cy="74295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48" name="椭圆 47">
            <a:extLst>
              <a:ext uri="{FF2B5EF4-FFF2-40B4-BE49-F238E27FC236}">
                <a16:creationId xmlns:a16="http://schemas.microsoft.com/office/drawing/2014/main" id="{C23AD5B6-AAD5-4FA4-BE6D-A16774033202}"/>
              </a:ext>
            </a:extLst>
          </p:cNvPr>
          <p:cNvSpPr/>
          <p:nvPr/>
        </p:nvSpPr>
        <p:spPr>
          <a:xfrm>
            <a:off x="5724525" y="3881870"/>
            <a:ext cx="742950" cy="74295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49" name="椭圆 48">
            <a:extLst>
              <a:ext uri="{FF2B5EF4-FFF2-40B4-BE49-F238E27FC236}">
                <a16:creationId xmlns:a16="http://schemas.microsoft.com/office/drawing/2014/main" id="{1BA64731-1077-4DB0-BCFB-3DCA626B8E05}"/>
              </a:ext>
            </a:extLst>
          </p:cNvPr>
          <p:cNvSpPr/>
          <p:nvPr/>
        </p:nvSpPr>
        <p:spPr>
          <a:xfrm>
            <a:off x="6548872" y="3057525"/>
            <a:ext cx="742950" cy="74295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50" name="user_209046">
            <a:extLst>
              <a:ext uri="{FF2B5EF4-FFF2-40B4-BE49-F238E27FC236}">
                <a16:creationId xmlns:a16="http://schemas.microsoft.com/office/drawing/2014/main" id="{81E60F15-A589-406D-BFC3-2C9EE3B455E0}"/>
              </a:ext>
            </a:extLst>
          </p:cNvPr>
          <p:cNvSpPr/>
          <p:nvPr/>
        </p:nvSpPr>
        <p:spPr>
          <a:xfrm>
            <a:off x="5942880" y="2352095"/>
            <a:ext cx="368030" cy="331874"/>
          </a:xfrm>
          <a:custGeom>
            <a:avLst/>
            <a:gdLst>
              <a:gd name="connsiteX0" fmla="*/ 521432 w 608344"/>
              <a:gd name="connsiteY0" fmla="*/ 370453 h 548582"/>
              <a:gd name="connsiteX1" fmla="*/ 465737 w 608344"/>
              <a:gd name="connsiteY1" fmla="*/ 425787 h 548582"/>
              <a:gd name="connsiteX2" fmla="*/ 442491 w 608344"/>
              <a:gd name="connsiteY2" fmla="*/ 402479 h 548582"/>
              <a:gd name="connsiteX3" fmla="*/ 418201 w 608344"/>
              <a:gd name="connsiteY3" fmla="*/ 426545 h 548582"/>
              <a:gd name="connsiteX4" fmla="*/ 441447 w 608344"/>
              <a:gd name="connsiteY4" fmla="*/ 449948 h 548582"/>
              <a:gd name="connsiteX5" fmla="*/ 465642 w 608344"/>
              <a:gd name="connsiteY5" fmla="*/ 474204 h 548582"/>
              <a:gd name="connsiteX6" fmla="*/ 489932 w 608344"/>
              <a:gd name="connsiteY6" fmla="*/ 450043 h 548582"/>
              <a:gd name="connsiteX7" fmla="*/ 545532 w 608344"/>
              <a:gd name="connsiteY7" fmla="*/ 394709 h 548582"/>
              <a:gd name="connsiteX8" fmla="*/ 481962 w 608344"/>
              <a:gd name="connsiteY8" fmla="*/ 296170 h 548582"/>
              <a:gd name="connsiteX9" fmla="*/ 608344 w 608344"/>
              <a:gd name="connsiteY9" fmla="*/ 422376 h 548582"/>
              <a:gd name="connsiteX10" fmla="*/ 481962 w 608344"/>
              <a:gd name="connsiteY10" fmla="*/ 548582 h 548582"/>
              <a:gd name="connsiteX11" fmla="*/ 355579 w 608344"/>
              <a:gd name="connsiteY11" fmla="*/ 422376 h 548582"/>
              <a:gd name="connsiteX12" fmla="*/ 481962 w 608344"/>
              <a:gd name="connsiteY12" fmla="*/ 296170 h 548582"/>
              <a:gd name="connsiteX13" fmla="*/ 255835 w 608344"/>
              <a:gd name="connsiteY13" fmla="*/ 446 h 548582"/>
              <a:gd name="connsiteX14" fmla="*/ 317801 w 608344"/>
              <a:gd name="connsiteY14" fmla="*/ 13616 h 548582"/>
              <a:gd name="connsiteX15" fmla="*/ 348072 w 608344"/>
              <a:gd name="connsiteY15" fmla="*/ 41661 h 548582"/>
              <a:gd name="connsiteX16" fmla="*/ 381190 w 608344"/>
              <a:gd name="connsiteY16" fmla="*/ 146831 h 548582"/>
              <a:gd name="connsiteX17" fmla="*/ 378913 w 608344"/>
              <a:gd name="connsiteY17" fmla="*/ 156211 h 548582"/>
              <a:gd name="connsiteX18" fmla="*/ 387833 w 608344"/>
              <a:gd name="connsiteY18" fmla="*/ 200458 h 548582"/>
              <a:gd name="connsiteX19" fmla="*/ 366387 w 608344"/>
              <a:gd name="connsiteY19" fmla="*/ 237694 h 548582"/>
              <a:gd name="connsiteX20" fmla="*/ 351393 w 608344"/>
              <a:gd name="connsiteY20" fmla="*/ 278720 h 548582"/>
              <a:gd name="connsiteX21" fmla="*/ 351393 w 608344"/>
              <a:gd name="connsiteY21" fmla="*/ 322873 h 548582"/>
              <a:gd name="connsiteX22" fmla="*/ 317611 w 608344"/>
              <a:gd name="connsiteY22" fmla="*/ 422358 h 548582"/>
              <a:gd name="connsiteX23" fmla="*/ 376635 w 608344"/>
              <a:gd name="connsiteY23" fmla="*/ 548088 h 548582"/>
              <a:gd name="connsiteX24" fmla="*/ 26855 w 608344"/>
              <a:gd name="connsiteY24" fmla="*/ 548088 h 548582"/>
              <a:gd name="connsiteX25" fmla="*/ 0 w 608344"/>
              <a:gd name="connsiteY25" fmla="*/ 521274 h 548582"/>
              <a:gd name="connsiteX26" fmla="*/ 0 w 608344"/>
              <a:gd name="connsiteY26" fmla="*/ 473806 h 548582"/>
              <a:gd name="connsiteX27" fmla="*/ 19453 w 608344"/>
              <a:gd name="connsiteY27" fmla="*/ 432969 h 548582"/>
              <a:gd name="connsiteX28" fmla="*/ 173751 w 608344"/>
              <a:gd name="connsiteY28" fmla="*/ 334242 h 548582"/>
              <a:gd name="connsiteX29" fmla="*/ 176408 w 608344"/>
              <a:gd name="connsiteY29" fmla="*/ 329884 h 548582"/>
              <a:gd name="connsiteX30" fmla="*/ 176408 w 608344"/>
              <a:gd name="connsiteY30" fmla="*/ 278720 h 548582"/>
              <a:gd name="connsiteX31" fmla="*/ 161320 w 608344"/>
              <a:gd name="connsiteY31" fmla="*/ 237694 h 548582"/>
              <a:gd name="connsiteX32" fmla="*/ 139969 w 608344"/>
              <a:gd name="connsiteY32" fmla="*/ 200458 h 548582"/>
              <a:gd name="connsiteX33" fmla="*/ 148320 w 608344"/>
              <a:gd name="connsiteY33" fmla="*/ 156211 h 548582"/>
              <a:gd name="connsiteX34" fmla="*/ 146042 w 608344"/>
              <a:gd name="connsiteY34" fmla="*/ 146736 h 548582"/>
              <a:gd name="connsiteX35" fmla="*/ 145758 w 608344"/>
              <a:gd name="connsiteY35" fmla="*/ 95099 h 548582"/>
              <a:gd name="connsiteX36" fmla="*/ 176029 w 608344"/>
              <a:gd name="connsiteY36" fmla="*/ 42135 h 548582"/>
              <a:gd name="connsiteX37" fmla="*/ 203928 w 608344"/>
              <a:gd name="connsiteY37" fmla="*/ 19017 h 548582"/>
              <a:gd name="connsiteX38" fmla="*/ 231162 w 608344"/>
              <a:gd name="connsiteY38" fmla="*/ 5089 h 548582"/>
              <a:gd name="connsiteX39" fmla="*/ 255835 w 608344"/>
              <a:gd name="connsiteY39" fmla="*/ 446 h 548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608344" h="548582">
                <a:moveTo>
                  <a:pt x="521432" y="370453"/>
                </a:moveTo>
                <a:lnTo>
                  <a:pt x="465737" y="425787"/>
                </a:lnTo>
                <a:lnTo>
                  <a:pt x="442491" y="402479"/>
                </a:lnTo>
                <a:lnTo>
                  <a:pt x="418201" y="426545"/>
                </a:lnTo>
                <a:lnTo>
                  <a:pt x="441447" y="449948"/>
                </a:lnTo>
                <a:lnTo>
                  <a:pt x="465642" y="474204"/>
                </a:lnTo>
                <a:lnTo>
                  <a:pt x="489932" y="450043"/>
                </a:lnTo>
                <a:lnTo>
                  <a:pt x="545532" y="394709"/>
                </a:lnTo>
                <a:close/>
                <a:moveTo>
                  <a:pt x="481962" y="296170"/>
                </a:moveTo>
                <a:cubicBezTo>
                  <a:pt x="551795" y="296170"/>
                  <a:pt x="608344" y="352641"/>
                  <a:pt x="608344" y="422376"/>
                </a:cubicBezTo>
                <a:cubicBezTo>
                  <a:pt x="608344" y="492111"/>
                  <a:pt x="551795" y="548582"/>
                  <a:pt x="481962" y="548582"/>
                </a:cubicBezTo>
                <a:cubicBezTo>
                  <a:pt x="412129" y="548582"/>
                  <a:pt x="355579" y="492111"/>
                  <a:pt x="355579" y="422376"/>
                </a:cubicBezTo>
                <a:cubicBezTo>
                  <a:pt x="355579" y="352641"/>
                  <a:pt x="412129" y="296170"/>
                  <a:pt x="481962" y="296170"/>
                </a:cubicBezTo>
                <a:close/>
                <a:moveTo>
                  <a:pt x="255835" y="446"/>
                </a:moveTo>
                <a:cubicBezTo>
                  <a:pt x="282785" y="-1828"/>
                  <a:pt x="303187" y="4899"/>
                  <a:pt x="317801" y="13616"/>
                </a:cubicBezTo>
                <a:cubicBezTo>
                  <a:pt x="339721" y="25744"/>
                  <a:pt x="348072" y="41661"/>
                  <a:pt x="348072" y="41661"/>
                </a:cubicBezTo>
                <a:cubicBezTo>
                  <a:pt x="348072" y="41661"/>
                  <a:pt x="398176" y="45167"/>
                  <a:pt x="381190" y="146831"/>
                </a:cubicBezTo>
                <a:cubicBezTo>
                  <a:pt x="380621" y="149863"/>
                  <a:pt x="379862" y="153085"/>
                  <a:pt x="378913" y="156211"/>
                </a:cubicBezTo>
                <a:cubicBezTo>
                  <a:pt x="388592" y="156211"/>
                  <a:pt x="398271" y="163507"/>
                  <a:pt x="387833" y="200458"/>
                </a:cubicBezTo>
                <a:cubicBezTo>
                  <a:pt x="379672" y="229262"/>
                  <a:pt x="372080" y="237221"/>
                  <a:pt x="366387" y="237694"/>
                </a:cubicBezTo>
                <a:cubicBezTo>
                  <a:pt x="364394" y="250675"/>
                  <a:pt x="359175" y="265076"/>
                  <a:pt x="351393" y="278720"/>
                </a:cubicBezTo>
                <a:lnTo>
                  <a:pt x="351393" y="322873"/>
                </a:lnTo>
                <a:cubicBezTo>
                  <a:pt x="330232" y="350539"/>
                  <a:pt x="317611" y="385027"/>
                  <a:pt x="317611" y="422358"/>
                </a:cubicBezTo>
                <a:cubicBezTo>
                  <a:pt x="317611" y="472764"/>
                  <a:pt x="340480" y="518053"/>
                  <a:pt x="376635" y="548088"/>
                </a:cubicBezTo>
                <a:lnTo>
                  <a:pt x="26855" y="548088"/>
                </a:lnTo>
                <a:cubicBezTo>
                  <a:pt x="12052" y="548088"/>
                  <a:pt x="0" y="536055"/>
                  <a:pt x="0" y="521274"/>
                </a:cubicBezTo>
                <a:lnTo>
                  <a:pt x="0" y="473806"/>
                </a:lnTo>
                <a:cubicBezTo>
                  <a:pt x="0" y="457983"/>
                  <a:pt x="7212" y="443013"/>
                  <a:pt x="19453" y="432969"/>
                </a:cubicBezTo>
                <a:cubicBezTo>
                  <a:pt x="86638" y="377921"/>
                  <a:pt x="159043" y="341443"/>
                  <a:pt x="173751" y="334242"/>
                </a:cubicBezTo>
                <a:cubicBezTo>
                  <a:pt x="175365" y="333484"/>
                  <a:pt x="176408" y="331779"/>
                  <a:pt x="176408" y="329884"/>
                </a:cubicBezTo>
                <a:lnTo>
                  <a:pt x="176408" y="278720"/>
                </a:lnTo>
                <a:cubicBezTo>
                  <a:pt x="168437" y="265076"/>
                  <a:pt x="163313" y="250675"/>
                  <a:pt x="161320" y="237694"/>
                </a:cubicBezTo>
                <a:cubicBezTo>
                  <a:pt x="155627" y="237221"/>
                  <a:pt x="148035" y="229072"/>
                  <a:pt x="139969" y="200458"/>
                </a:cubicBezTo>
                <a:cubicBezTo>
                  <a:pt x="129531" y="164170"/>
                  <a:pt x="138925" y="156496"/>
                  <a:pt x="148320" y="156211"/>
                </a:cubicBezTo>
                <a:cubicBezTo>
                  <a:pt x="147371" y="153085"/>
                  <a:pt x="146612" y="149863"/>
                  <a:pt x="146042" y="146736"/>
                </a:cubicBezTo>
                <a:cubicBezTo>
                  <a:pt x="142436" y="128450"/>
                  <a:pt x="141487" y="111396"/>
                  <a:pt x="145758" y="95099"/>
                </a:cubicBezTo>
                <a:cubicBezTo>
                  <a:pt x="150787" y="73212"/>
                  <a:pt x="162744" y="55684"/>
                  <a:pt x="176029" y="42135"/>
                </a:cubicBezTo>
                <a:cubicBezTo>
                  <a:pt x="184379" y="33134"/>
                  <a:pt x="193869" y="25459"/>
                  <a:pt x="203928" y="19017"/>
                </a:cubicBezTo>
                <a:cubicBezTo>
                  <a:pt x="212183" y="13332"/>
                  <a:pt x="221293" y="8405"/>
                  <a:pt x="231162" y="5089"/>
                </a:cubicBezTo>
                <a:cubicBezTo>
                  <a:pt x="238849" y="2625"/>
                  <a:pt x="247105" y="825"/>
                  <a:pt x="255835" y="446"/>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1" name="user_209046">
            <a:extLst>
              <a:ext uri="{FF2B5EF4-FFF2-40B4-BE49-F238E27FC236}">
                <a16:creationId xmlns:a16="http://schemas.microsoft.com/office/drawing/2014/main" id="{7524BF4C-407D-4D46-858B-1CA02AA1280D}"/>
              </a:ext>
            </a:extLst>
          </p:cNvPr>
          <p:cNvSpPr/>
          <p:nvPr/>
        </p:nvSpPr>
        <p:spPr>
          <a:xfrm>
            <a:off x="5116021" y="3225784"/>
            <a:ext cx="321988" cy="368030"/>
          </a:xfrm>
          <a:custGeom>
            <a:avLst/>
            <a:gdLst>
              <a:gd name="T0" fmla="*/ 8582 w 9077"/>
              <a:gd name="T1" fmla="*/ 4538 h 10373"/>
              <a:gd name="T2" fmla="*/ 9077 w 9077"/>
              <a:gd name="T3" fmla="*/ 4538 h 10373"/>
              <a:gd name="T4" fmla="*/ 9077 w 9077"/>
              <a:gd name="T5" fmla="*/ 9151 h 10373"/>
              <a:gd name="T6" fmla="*/ 7855 w 9077"/>
              <a:gd name="T7" fmla="*/ 10373 h 10373"/>
              <a:gd name="T8" fmla="*/ 4789 w 9077"/>
              <a:gd name="T9" fmla="*/ 10373 h 10373"/>
              <a:gd name="T10" fmla="*/ 4539 w 9077"/>
              <a:gd name="T11" fmla="*/ 10123 h 10373"/>
              <a:gd name="T12" fmla="*/ 4539 w 9077"/>
              <a:gd name="T13" fmla="*/ 9562 h 10373"/>
              <a:gd name="T14" fmla="*/ 4789 w 9077"/>
              <a:gd name="T15" fmla="*/ 9312 h 10373"/>
              <a:gd name="T16" fmla="*/ 7532 w 9077"/>
              <a:gd name="T17" fmla="*/ 9312 h 10373"/>
              <a:gd name="T18" fmla="*/ 8106 w 9077"/>
              <a:gd name="T19" fmla="*/ 8738 h 10373"/>
              <a:gd name="T20" fmla="*/ 8106 w 9077"/>
              <a:gd name="T21" fmla="*/ 7780 h 10373"/>
              <a:gd name="T22" fmla="*/ 6734 w 9077"/>
              <a:gd name="T23" fmla="*/ 7780 h 10373"/>
              <a:gd name="T24" fmla="*/ 6484 w 9077"/>
              <a:gd name="T25" fmla="*/ 7530 h 10373"/>
              <a:gd name="T26" fmla="*/ 6484 w 9077"/>
              <a:gd name="T27" fmla="*/ 4788 h 10373"/>
              <a:gd name="T28" fmla="*/ 6734 w 9077"/>
              <a:gd name="T29" fmla="*/ 4538 h 10373"/>
              <a:gd name="T30" fmla="*/ 8582 w 9077"/>
              <a:gd name="T31" fmla="*/ 4538 h 10373"/>
              <a:gd name="T32" fmla="*/ 8087 w 9077"/>
              <a:gd name="T33" fmla="*/ 4538 h 10373"/>
              <a:gd name="T34" fmla="*/ 8087 w 9077"/>
              <a:gd name="T35" fmla="*/ 4520 h 10373"/>
              <a:gd name="T36" fmla="*/ 4521 w 9077"/>
              <a:gd name="T37" fmla="*/ 972 h 10373"/>
              <a:gd name="T38" fmla="*/ 955 w 9077"/>
              <a:gd name="T39" fmla="*/ 4520 h 10373"/>
              <a:gd name="T40" fmla="*/ 955 w 9077"/>
              <a:gd name="T41" fmla="*/ 4538 h 10373"/>
              <a:gd name="T42" fmla="*/ 0 w 9077"/>
              <a:gd name="T43" fmla="*/ 4538 h 10373"/>
              <a:gd name="T44" fmla="*/ 0 w 9077"/>
              <a:gd name="T45" fmla="*/ 6558 h 10373"/>
              <a:gd name="T46" fmla="*/ 1222 w 9077"/>
              <a:gd name="T47" fmla="*/ 7781 h 10373"/>
              <a:gd name="T48" fmla="*/ 2343 w 9077"/>
              <a:gd name="T49" fmla="*/ 7781 h 10373"/>
              <a:gd name="T50" fmla="*/ 2593 w 9077"/>
              <a:gd name="T51" fmla="*/ 7531 h 10373"/>
              <a:gd name="T52" fmla="*/ 2593 w 9077"/>
              <a:gd name="T53" fmla="*/ 4788 h 10373"/>
              <a:gd name="T54" fmla="*/ 2343 w 9077"/>
              <a:gd name="T55" fmla="*/ 4538 h 10373"/>
              <a:gd name="T56" fmla="*/ 0 w 9077"/>
              <a:gd name="T57" fmla="*/ 4538 h 10373"/>
              <a:gd name="T58" fmla="*/ 0 w 9077"/>
              <a:gd name="T59" fmla="*/ 4516 h 10373"/>
              <a:gd name="T60" fmla="*/ 4539 w 9077"/>
              <a:gd name="T61" fmla="*/ 0 h 10373"/>
              <a:gd name="T62" fmla="*/ 9077 w 9077"/>
              <a:gd name="T63" fmla="*/ 4516 h 10373"/>
              <a:gd name="T64" fmla="*/ 9077 w 9077"/>
              <a:gd name="T65" fmla="*/ 4538 h 10373"/>
              <a:gd name="T66" fmla="*/ 8582 w 9077"/>
              <a:gd name="T67" fmla="*/ 4538 h 10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077" h="10373">
                <a:moveTo>
                  <a:pt x="8582" y="4538"/>
                </a:moveTo>
                <a:lnTo>
                  <a:pt x="9077" y="4538"/>
                </a:lnTo>
                <a:lnTo>
                  <a:pt x="9077" y="9151"/>
                </a:lnTo>
                <a:cubicBezTo>
                  <a:pt x="9077" y="9826"/>
                  <a:pt x="8530" y="10373"/>
                  <a:pt x="7855" y="10373"/>
                </a:cubicBezTo>
                <a:lnTo>
                  <a:pt x="4789" y="10373"/>
                </a:lnTo>
                <a:cubicBezTo>
                  <a:pt x="4651" y="10373"/>
                  <a:pt x="4539" y="10261"/>
                  <a:pt x="4539" y="10123"/>
                </a:cubicBezTo>
                <a:lnTo>
                  <a:pt x="4539" y="9562"/>
                </a:lnTo>
                <a:cubicBezTo>
                  <a:pt x="4539" y="9425"/>
                  <a:pt x="4651" y="9312"/>
                  <a:pt x="4789" y="9312"/>
                </a:cubicBezTo>
                <a:lnTo>
                  <a:pt x="7532" y="9312"/>
                </a:lnTo>
                <a:cubicBezTo>
                  <a:pt x="7850" y="9312"/>
                  <a:pt x="8106" y="9055"/>
                  <a:pt x="8106" y="8738"/>
                </a:cubicBezTo>
                <a:lnTo>
                  <a:pt x="8106" y="7780"/>
                </a:lnTo>
                <a:lnTo>
                  <a:pt x="6734" y="7780"/>
                </a:lnTo>
                <a:cubicBezTo>
                  <a:pt x="6596" y="7780"/>
                  <a:pt x="6484" y="7667"/>
                  <a:pt x="6484" y="7530"/>
                </a:cubicBezTo>
                <a:lnTo>
                  <a:pt x="6484" y="4788"/>
                </a:lnTo>
                <a:cubicBezTo>
                  <a:pt x="6484" y="4651"/>
                  <a:pt x="6596" y="4538"/>
                  <a:pt x="6734" y="4538"/>
                </a:cubicBezTo>
                <a:lnTo>
                  <a:pt x="8582" y="4538"/>
                </a:lnTo>
                <a:lnTo>
                  <a:pt x="8087" y="4538"/>
                </a:lnTo>
                <a:lnTo>
                  <a:pt x="8087" y="4520"/>
                </a:lnTo>
                <a:cubicBezTo>
                  <a:pt x="8087" y="2560"/>
                  <a:pt x="6491" y="972"/>
                  <a:pt x="4521" y="972"/>
                </a:cubicBezTo>
                <a:cubicBezTo>
                  <a:pt x="2552" y="972"/>
                  <a:pt x="955" y="2561"/>
                  <a:pt x="955" y="4520"/>
                </a:cubicBezTo>
                <a:lnTo>
                  <a:pt x="955" y="4538"/>
                </a:lnTo>
                <a:lnTo>
                  <a:pt x="0" y="4538"/>
                </a:lnTo>
                <a:lnTo>
                  <a:pt x="0" y="6558"/>
                </a:lnTo>
                <a:cubicBezTo>
                  <a:pt x="0" y="7233"/>
                  <a:pt x="547" y="7781"/>
                  <a:pt x="1222" y="7781"/>
                </a:cubicBezTo>
                <a:lnTo>
                  <a:pt x="2343" y="7781"/>
                </a:lnTo>
                <a:cubicBezTo>
                  <a:pt x="2481" y="7781"/>
                  <a:pt x="2593" y="7668"/>
                  <a:pt x="2593" y="7531"/>
                </a:cubicBezTo>
                <a:lnTo>
                  <a:pt x="2593" y="4788"/>
                </a:lnTo>
                <a:cubicBezTo>
                  <a:pt x="2593" y="4651"/>
                  <a:pt x="2481" y="4538"/>
                  <a:pt x="2343" y="4538"/>
                </a:cubicBezTo>
                <a:lnTo>
                  <a:pt x="0" y="4538"/>
                </a:lnTo>
                <a:lnTo>
                  <a:pt x="0" y="4516"/>
                </a:lnTo>
                <a:cubicBezTo>
                  <a:pt x="0" y="2022"/>
                  <a:pt x="2032" y="0"/>
                  <a:pt x="4539" y="0"/>
                </a:cubicBezTo>
                <a:cubicBezTo>
                  <a:pt x="7045" y="0"/>
                  <a:pt x="9077" y="2021"/>
                  <a:pt x="9077" y="4516"/>
                </a:cubicBezTo>
                <a:lnTo>
                  <a:pt x="9077" y="4538"/>
                </a:lnTo>
                <a:lnTo>
                  <a:pt x="8582" y="4538"/>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sp>
        <p:nvSpPr>
          <p:cNvPr id="52" name="user_209046">
            <a:extLst>
              <a:ext uri="{FF2B5EF4-FFF2-40B4-BE49-F238E27FC236}">
                <a16:creationId xmlns:a16="http://schemas.microsoft.com/office/drawing/2014/main" id="{EF7AFFFE-9461-4236-953A-965152BC2E67}"/>
              </a:ext>
            </a:extLst>
          </p:cNvPr>
          <p:cNvSpPr/>
          <p:nvPr/>
        </p:nvSpPr>
        <p:spPr>
          <a:xfrm>
            <a:off x="5911985" y="4097814"/>
            <a:ext cx="368030" cy="311062"/>
          </a:xfrm>
          <a:custGeom>
            <a:avLst/>
            <a:gdLst>
              <a:gd name="T0" fmla="*/ 4484 w 10375"/>
              <a:gd name="T1" fmla="*/ 6967 h 8769"/>
              <a:gd name="T2" fmla="*/ 4484 w 10375"/>
              <a:gd name="T3" fmla="*/ 8374 h 8769"/>
              <a:gd name="T4" fmla="*/ 5891 w 10375"/>
              <a:gd name="T5" fmla="*/ 8374 h 8769"/>
              <a:gd name="T6" fmla="*/ 5891 w 10375"/>
              <a:gd name="T7" fmla="*/ 6967 h 8769"/>
              <a:gd name="T8" fmla="*/ 4484 w 10375"/>
              <a:gd name="T9" fmla="*/ 6967 h 8769"/>
              <a:gd name="T10" fmla="*/ 1754 w 10375"/>
              <a:gd name="T11" fmla="*/ 5262 h 8769"/>
              <a:gd name="T12" fmla="*/ 2766 w 10375"/>
              <a:gd name="T13" fmla="*/ 6423 h 8769"/>
              <a:gd name="T14" fmla="*/ 7633 w 10375"/>
              <a:gd name="T15" fmla="*/ 6423 h 8769"/>
              <a:gd name="T16" fmla="*/ 8645 w 10375"/>
              <a:gd name="T17" fmla="*/ 5262 h 8769"/>
              <a:gd name="T18" fmla="*/ 1754 w 10375"/>
              <a:gd name="T19" fmla="*/ 5262 h 8769"/>
              <a:gd name="T20" fmla="*/ 0 w 10375"/>
              <a:gd name="T21" fmla="*/ 3261 h 8769"/>
              <a:gd name="T22" fmla="*/ 1038 w 10375"/>
              <a:gd name="T23" fmla="*/ 4447 h 8769"/>
              <a:gd name="T24" fmla="*/ 9338 w 10375"/>
              <a:gd name="T25" fmla="*/ 4447 h 8769"/>
              <a:gd name="T26" fmla="*/ 10375 w 10375"/>
              <a:gd name="T27" fmla="*/ 3261 h 8769"/>
              <a:gd name="T28" fmla="*/ 0 w 10375"/>
              <a:gd name="T29" fmla="*/ 3261 h 8769"/>
              <a:gd name="T30" fmla="*/ 0 w 10375"/>
              <a:gd name="T31" fmla="*/ 3261 h 87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375" h="8769">
                <a:moveTo>
                  <a:pt x="4484" y="6967"/>
                </a:moveTo>
                <a:cubicBezTo>
                  <a:pt x="4089" y="7362"/>
                  <a:pt x="4089" y="7979"/>
                  <a:pt x="4484" y="8374"/>
                </a:cubicBezTo>
                <a:cubicBezTo>
                  <a:pt x="4879" y="8769"/>
                  <a:pt x="5496" y="8769"/>
                  <a:pt x="5891" y="8374"/>
                </a:cubicBezTo>
                <a:cubicBezTo>
                  <a:pt x="6286" y="7979"/>
                  <a:pt x="6286" y="7362"/>
                  <a:pt x="5891" y="6967"/>
                </a:cubicBezTo>
                <a:cubicBezTo>
                  <a:pt x="5471" y="6571"/>
                  <a:pt x="4854" y="6571"/>
                  <a:pt x="4484" y="6967"/>
                </a:cubicBezTo>
                <a:close/>
                <a:moveTo>
                  <a:pt x="1754" y="5262"/>
                </a:moveTo>
                <a:lnTo>
                  <a:pt x="2766" y="6423"/>
                </a:lnTo>
                <a:cubicBezTo>
                  <a:pt x="4100" y="4892"/>
                  <a:pt x="6299" y="4892"/>
                  <a:pt x="7633" y="6423"/>
                </a:cubicBezTo>
                <a:lnTo>
                  <a:pt x="8645" y="5262"/>
                </a:lnTo>
                <a:cubicBezTo>
                  <a:pt x="6719" y="3088"/>
                  <a:pt x="3656" y="3088"/>
                  <a:pt x="1754" y="5262"/>
                </a:cubicBezTo>
                <a:close/>
                <a:moveTo>
                  <a:pt x="0" y="3261"/>
                </a:moveTo>
                <a:lnTo>
                  <a:pt x="1038" y="4447"/>
                </a:lnTo>
                <a:cubicBezTo>
                  <a:pt x="3335" y="1803"/>
                  <a:pt x="7040" y="1803"/>
                  <a:pt x="9338" y="4447"/>
                </a:cubicBezTo>
                <a:lnTo>
                  <a:pt x="10375" y="3261"/>
                </a:lnTo>
                <a:cubicBezTo>
                  <a:pt x="7534" y="0"/>
                  <a:pt x="2865" y="0"/>
                  <a:pt x="0" y="3261"/>
                </a:cubicBezTo>
                <a:close/>
                <a:moveTo>
                  <a:pt x="0" y="3261"/>
                </a:move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sp>
        <p:nvSpPr>
          <p:cNvPr id="53" name="user_209046">
            <a:extLst>
              <a:ext uri="{FF2B5EF4-FFF2-40B4-BE49-F238E27FC236}">
                <a16:creationId xmlns:a16="http://schemas.microsoft.com/office/drawing/2014/main" id="{826B7440-C35E-4290-90F5-77B9C22B6E66}"/>
              </a:ext>
            </a:extLst>
          </p:cNvPr>
          <p:cNvSpPr/>
          <p:nvPr/>
        </p:nvSpPr>
        <p:spPr>
          <a:xfrm>
            <a:off x="6777144" y="3209635"/>
            <a:ext cx="298838" cy="368030"/>
          </a:xfrm>
          <a:custGeom>
            <a:avLst/>
            <a:gdLst>
              <a:gd name="T0" fmla="*/ 7781 w 8430"/>
              <a:gd name="T1" fmla="*/ 7127 h 10381"/>
              <a:gd name="T2" fmla="*/ 7559 w 8430"/>
              <a:gd name="T3" fmla="*/ 7127 h 10381"/>
              <a:gd name="T4" fmla="*/ 7559 w 8430"/>
              <a:gd name="T5" fmla="*/ 6663 h 10381"/>
              <a:gd name="T6" fmla="*/ 6498 w 8430"/>
              <a:gd name="T7" fmla="*/ 5838 h 10381"/>
              <a:gd name="T8" fmla="*/ 6485 w 8430"/>
              <a:gd name="T9" fmla="*/ 5838 h 10381"/>
              <a:gd name="T10" fmla="*/ 6485 w 8430"/>
              <a:gd name="T11" fmla="*/ 5189 h 10381"/>
              <a:gd name="T12" fmla="*/ 1298 w 8430"/>
              <a:gd name="T13" fmla="*/ 5189 h 10381"/>
              <a:gd name="T14" fmla="*/ 1298 w 8430"/>
              <a:gd name="T15" fmla="*/ 6486 h 10381"/>
              <a:gd name="T16" fmla="*/ 5409 w 8430"/>
              <a:gd name="T17" fmla="*/ 6486 h 10381"/>
              <a:gd name="T18" fmla="*/ 5409 w 8430"/>
              <a:gd name="T19" fmla="*/ 7134 h 10381"/>
              <a:gd name="T20" fmla="*/ 1296 w 8430"/>
              <a:gd name="T21" fmla="*/ 7134 h 10381"/>
              <a:gd name="T22" fmla="*/ 1296 w 8430"/>
              <a:gd name="T23" fmla="*/ 8432 h 10381"/>
              <a:gd name="T24" fmla="*/ 3890 w 8430"/>
              <a:gd name="T25" fmla="*/ 8432 h 10381"/>
              <a:gd name="T26" fmla="*/ 3890 w 8430"/>
              <a:gd name="T27" fmla="*/ 8442 h 10381"/>
              <a:gd name="T28" fmla="*/ 4533 w 8430"/>
              <a:gd name="T29" fmla="*/ 9280 h 10381"/>
              <a:gd name="T30" fmla="*/ 5408 w 8430"/>
              <a:gd name="T31" fmla="*/ 9280 h 10381"/>
              <a:gd name="T32" fmla="*/ 5408 w 8430"/>
              <a:gd name="T33" fmla="*/ 10377 h 10381"/>
              <a:gd name="T34" fmla="*/ 649 w 8430"/>
              <a:gd name="T35" fmla="*/ 10377 h 10381"/>
              <a:gd name="T36" fmla="*/ 0 w 8430"/>
              <a:gd name="T37" fmla="*/ 9728 h 10381"/>
              <a:gd name="T38" fmla="*/ 0 w 8430"/>
              <a:gd name="T39" fmla="*/ 3251 h 10381"/>
              <a:gd name="T40" fmla="*/ 3241 w 8430"/>
              <a:gd name="T41" fmla="*/ 3251 h 10381"/>
              <a:gd name="T42" fmla="*/ 3241 w 8430"/>
              <a:gd name="T43" fmla="*/ 3243 h 10381"/>
              <a:gd name="T44" fmla="*/ 3243 w 8430"/>
              <a:gd name="T45" fmla="*/ 3243 h 10381"/>
              <a:gd name="T46" fmla="*/ 3243 w 8430"/>
              <a:gd name="T47" fmla="*/ 1 h 10381"/>
              <a:gd name="T48" fmla="*/ 7134 w 8430"/>
              <a:gd name="T49" fmla="*/ 1 h 10381"/>
              <a:gd name="T50" fmla="*/ 7783 w 8430"/>
              <a:gd name="T51" fmla="*/ 649 h 10381"/>
              <a:gd name="T52" fmla="*/ 7783 w 8430"/>
              <a:gd name="T53" fmla="*/ 7127 h 10381"/>
              <a:gd name="T54" fmla="*/ 7781 w 8430"/>
              <a:gd name="T55" fmla="*/ 7127 h 10381"/>
              <a:gd name="T56" fmla="*/ 2594 w 8430"/>
              <a:gd name="T57" fmla="*/ 0 h 10381"/>
              <a:gd name="T58" fmla="*/ 2594 w 8430"/>
              <a:gd name="T59" fmla="*/ 2594 h 10381"/>
              <a:gd name="T60" fmla="*/ 0 w 8430"/>
              <a:gd name="T61" fmla="*/ 2594 h 10381"/>
              <a:gd name="T62" fmla="*/ 2594 w 8430"/>
              <a:gd name="T63" fmla="*/ 0 h 10381"/>
              <a:gd name="T64" fmla="*/ 7954 w 8430"/>
              <a:gd name="T65" fmla="*/ 7947 h 10381"/>
              <a:gd name="T66" fmla="*/ 8430 w 8430"/>
              <a:gd name="T67" fmla="*/ 8424 h 10381"/>
              <a:gd name="T68" fmla="*/ 8430 w 8430"/>
              <a:gd name="T69" fmla="*/ 8444 h 10381"/>
              <a:gd name="T70" fmla="*/ 7954 w 8430"/>
              <a:gd name="T71" fmla="*/ 8922 h 10381"/>
              <a:gd name="T72" fmla="*/ 6971 w 8430"/>
              <a:gd name="T73" fmla="*/ 8922 h 10381"/>
              <a:gd name="T74" fmla="*/ 6971 w 8430"/>
              <a:gd name="T75" fmla="*/ 9901 h 10381"/>
              <a:gd name="T76" fmla="*/ 6495 w 8430"/>
              <a:gd name="T77" fmla="*/ 10378 h 10381"/>
              <a:gd name="T78" fmla="*/ 6480 w 8430"/>
              <a:gd name="T79" fmla="*/ 10378 h 10381"/>
              <a:gd name="T80" fmla="*/ 5999 w 8430"/>
              <a:gd name="T81" fmla="*/ 9907 h 10381"/>
              <a:gd name="T82" fmla="*/ 5999 w 8430"/>
              <a:gd name="T83" fmla="*/ 8922 h 10381"/>
              <a:gd name="T84" fmla="*/ 5021 w 8430"/>
              <a:gd name="T85" fmla="*/ 8922 h 10381"/>
              <a:gd name="T86" fmla="*/ 4540 w 8430"/>
              <a:gd name="T87" fmla="*/ 8443 h 10381"/>
              <a:gd name="T88" fmla="*/ 4540 w 8430"/>
              <a:gd name="T89" fmla="*/ 8427 h 10381"/>
              <a:gd name="T90" fmla="*/ 5021 w 8430"/>
              <a:gd name="T91" fmla="*/ 7949 h 10381"/>
              <a:gd name="T92" fmla="*/ 5999 w 8430"/>
              <a:gd name="T93" fmla="*/ 7949 h 10381"/>
              <a:gd name="T94" fmla="*/ 5999 w 8430"/>
              <a:gd name="T95" fmla="*/ 6966 h 10381"/>
              <a:gd name="T96" fmla="*/ 6480 w 8430"/>
              <a:gd name="T97" fmla="*/ 6488 h 10381"/>
              <a:gd name="T98" fmla="*/ 6495 w 8430"/>
              <a:gd name="T99" fmla="*/ 6488 h 10381"/>
              <a:gd name="T100" fmla="*/ 6971 w 8430"/>
              <a:gd name="T101" fmla="*/ 6966 h 10381"/>
              <a:gd name="T102" fmla="*/ 6971 w 8430"/>
              <a:gd name="T103" fmla="*/ 7948 h 10381"/>
              <a:gd name="T104" fmla="*/ 7954 w 8430"/>
              <a:gd name="T105" fmla="*/ 7947 h 103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430" h="10381">
                <a:moveTo>
                  <a:pt x="7781" y="7127"/>
                </a:moveTo>
                <a:lnTo>
                  <a:pt x="7559" y="7127"/>
                </a:lnTo>
                <a:lnTo>
                  <a:pt x="7559" y="6663"/>
                </a:lnTo>
                <a:cubicBezTo>
                  <a:pt x="7559" y="6132"/>
                  <a:pt x="7019" y="5838"/>
                  <a:pt x="6498" y="5838"/>
                </a:cubicBezTo>
                <a:lnTo>
                  <a:pt x="6485" y="5838"/>
                </a:lnTo>
                <a:lnTo>
                  <a:pt x="6485" y="5189"/>
                </a:lnTo>
                <a:lnTo>
                  <a:pt x="1298" y="5189"/>
                </a:lnTo>
                <a:lnTo>
                  <a:pt x="1298" y="6486"/>
                </a:lnTo>
                <a:lnTo>
                  <a:pt x="5409" y="6486"/>
                </a:lnTo>
                <a:lnTo>
                  <a:pt x="5409" y="7134"/>
                </a:lnTo>
                <a:lnTo>
                  <a:pt x="1296" y="7134"/>
                </a:lnTo>
                <a:lnTo>
                  <a:pt x="1296" y="8432"/>
                </a:lnTo>
                <a:lnTo>
                  <a:pt x="3890" y="8432"/>
                </a:lnTo>
                <a:lnTo>
                  <a:pt x="3890" y="8442"/>
                </a:lnTo>
                <a:cubicBezTo>
                  <a:pt x="3890" y="8798"/>
                  <a:pt x="4175" y="9280"/>
                  <a:pt x="4533" y="9280"/>
                </a:cubicBezTo>
                <a:lnTo>
                  <a:pt x="5408" y="9280"/>
                </a:lnTo>
                <a:lnTo>
                  <a:pt x="5408" y="10377"/>
                </a:lnTo>
                <a:lnTo>
                  <a:pt x="649" y="10377"/>
                </a:lnTo>
                <a:cubicBezTo>
                  <a:pt x="290" y="10377"/>
                  <a:pt x="0" y="10087"/>
                  <a:pt x="0" y="9728"/>
                </a:cubicBezTo>
                <a:lnTo>
                  <a:pt x="0" y="3251"/>
                </a:lnTo>
                <a:lnTo>
                  <a:pt x="3241" y="3251"/>
                </a:lnTo>
                <a:lnTo>
                  <a:pt x="3241" y="3243"/>
                </a:lnTo>
                <a:lnTo>
                  <a:pt x="3243" y="3243"/>
                </a:lnTo>
                <a:lnTo>
                  <a:pt x="3243" y="1"/>
                </a:lnTo>
                <a:lnTo>
                  <a:pt x="7134" y="1"/>
                </a:lnTo>
                <a:cubicBezTo>
                  <a:pt x="7493" y="1"/>
                  <a:pt x="7783" y="291"/>
                  <a:pt x="7783" y="649"/>
                </a:cubicBezTo>
                <a:lnTo>
                  <a:pt x="7783" y="7127"/>
                </a:lnTo>
                <a:lnTo>
                  <a:pt x="7781" y="7127"/>
                </a:lnTo>
                <a:close/>
                <a:moveTo>
                  <a:pt x="2594" y="0"/>
                </a:moveTo>
                <a:lnTo>
                  <a:pt x="2594" y="2594"/>
                </a:lnTo>
                <a:lnTo>
                  <a:pt x="0" y="2594"/>
                </a:lnTo>
                <a:lnTo>
                  <a:pt x="2594" y="0"/>
                </a:lnTo>
                <a:close/>
                <a:moveTo>
                  <a:pt x="7954" y="7947"/>
                </a:moveTo>
                <a:cubicBezTo>
                  <a:pt x="8216" y="7947"/>
                  <a:pt x="8430" y="8161"/>
                  <a:pt x="8430" y="8424"/>
                </a:cubicBezTo>
                <a:lnTo>
                  <a:pt x="8430" y="8444"/>
                </a:lnTo>
                <a:cubicBezTo>
                  <a:pt x="8430" y="8707"/>
                  <a:pt x="8216" y="8922"/>
                  <a:pt x="7954" y="8922"/>
                </a:cubicBezTo>
                <a:lnTo>
                  <a:pt x="6971" y="8922"/>
                </a:lnTo>
                <a:lnTo>
                  <a:pt x="6971" y="9901"/>
                </a:lnTo>
                <a:cubicBezTo>
                  <a:pt x="6971" y="10163"/>
                  <a:pt x="6757" y="10378"/>
                  <a:pt x="6495" y="10378"/>
                </a:cubicBezTo>
                <a:lnTo>
                  <a:pt x="6480" y="10378"/>
                </a:lnTo>
                <a:cubicBezTo>
                  <a:pt x="6217" y="10381"/>
                  <a:pt x="6001" y="10171"/>
                  <a:pt x="5999" y="9907"/>
                </a:cubicBezTo>
                <a:lnTo>
                  <a:pt x="5999" y="8922"/>
                </a:lnTo>
                <a:lnTo>
                  <a:pt x="5021" y="8922"/>
                </a:lnTo>
                <a:cubicBezTo>
                  <a:pt x="4756" y="8923"/>
                  <a:pt x="4541" y="8708"/>
                  <a:pt x="4540" y="8443"/>
                </a:cubicBezTo>
                <a:lnTo>
                  <a:pt x="4540" y="8427"/>
                </a:lnTo>
                <a:cubicBezTo>
                  <a:pt x="4544" y="8163"/>
                  <a:pt x="4757" y="7952"/>
                  <a:pt x="5021" y="7949"/>
                </a:cubicBezTo>
                <a:lnTo>
                  <a:pt x="5999" y="7949"/>
                </a:lnTo>
                <a:lnTo>
                  <a:pt x="5999" y="6966"/>
                </a:lnTo>
                <a:cubicBezTo>
                  <a:pt x="5999" y="6702"/>
                  <a:pt x="6212" y="6488"/>
                  <a:pt x="6480" y="6488"/>
                </a:cubicBezTo>
                <a:lnTo>
                  <a:pt x="6495" y="6488"/>
                </a:lnTo>
                <a:cubicBezTo>
                  <a:pt x="6757" y="6488"/>
                  <a:pt x="6971" y="6702"/>
                  <a:pt x="6971" y="6966"/>
                </a:cubicBezTo>
                <a:lnTo>
                  <a:pt x="6971" y="7948"/>
                </a:lnTo>
                <a:lnTo>
                  <a:pt x="7954" y="7947"/>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sp>
        <p:nvSpPr>
          <p:cNvPr id="55" name="文本框 54">
            <a:extLst>
              <a:ext uri="{FF2B5EF4-FFF2-40B4-BE49-F238E27FC236}">
                <a16:creationId xmlns:a16="http://schemas.microsoft.com/office/drawing/2014/main" id="{F504F0E2-CB47-438D-8948-3D23781A298D}"/>
              </a:ext>
            </a:extLst>
          </p:cNvPr>
          <p:cNvSpPr txBox="1"/>
          <p:nvPr/>
        </p:nvSpPr>
        <p:spPr>
          <a:xfrm>
            <a:off x="3088784" y="1727075"/>
            <a:ext cx="1282402" cy="307777"/>
          </a:xfrm>
          <a:prstGeom prst="rect">
            <a:avLst/>
          </a:prstGeom>
          <a:noFill/>
        </p:spPr>
        <p:txBody>
          <a:bodyPr wrap="none" lIns="0" tIns="0" rIns="0" bIns="0" rtlCol="0" anchor="t">
            <a:spAutoFit/>
          </a:bodyPr>
          <a:lstStyle/>
          <a:p>
            <a:pPr algn="r"/>
            <a:r>
              <a:rPr lang="zh-CN" altLang="en-US" sz="2000" dirty="0">
                <a:solidFill>
                  <a:schemeClr val="accent1"/>
                </a:solidFill>
                <a:latin typeface="+mj-ea"/>
                <a:ea typeface="+mj-ea"/>
              </a:rPr>
              <a:t>关键词标题</a:t>
            </a:r>
          </a:p>
        </p:txBody>
      </p:sp>
      <p:sp>
        <p:nvSpPr>
          <p:cNvPr id="61" name="文本框 60">
            <a:extLst>
              <a:ext uri="{FF2B5EF4-FFF2-40B4-BE49-F238E27FC236}">
                <a16:creationId xmlns:a16="http://schemas.microsoft.com/office/drawing/2014/main" id="{189A03A9-3C51-4089-A14E-FC1D5C224461}"/>
              </a:ext>
            </a:extLst>
          </p:cNvPr>
          <p:cNvSpPr txBox="1"/>
          <p:nvPr/>
        </p:nvSpPr>
        <p:spPr>
          <a:xfrm>
            <a:off x="1882862" y="2232001"/>
            <a:ext cx="2465443" cy="387286"/>
          </a:xfrm>
          <a:prstGeom prst="rect">
            <a:avLst/>
          </a:prstGeom>
          <a:noFill/>
        </p:spPr>
        <p:txBody>
          <a:bodyPr wrap="square" lIns="0" tIns="0" rIns="0" bIns="0" rtlCol="0" anchor="t">
            <a:spAutoFit/>
          </a:bodyPr>
          <a:lstStyle/>
          <a:p>
            <a:pPr algn="r">
              <a:lnSpc>
                <a:spcPct val="130000"/>
              </a:lnSpc>
            </a:pPr>
            <a:r>
              <a:rPr lang="en-US" altLang="zh-CN" sz="1000" b="0" dirty="0">
                <a:solidFill>
                  <a:schemeClr val="tx1">
                    <a:lumMod val="75000"/>
                    <a:lumOff val="25000"/>
                  </a:schemeClr>
                </a:solidFill>
                <a:effectLst/>
                <a:latin typeface="+mn-ea"/>
              </a:rPr>
              <a:t>Lorem ipsum dolor sit amet, consectetur adipisicing elit, sed do eiusmod tempor</a:t>
            </a:r>
            <a:endParaRPr lang="zh-CN" altLang="en-US" sz="1000" b="0" dirty="0">
              <a:solidFill>
                <a:schemeClr val="tx1">
                  <a:lumMod val="75000"/>
                  <a:lumOff val="25000"/>
                </a:schemeClr>
              </a:solidFill>
              <a:effectLst/>
              <a:latin typeface="+mn-ea"/>
            </a:endParaRPr>
          </a:p>
        </p:txBody>
      </p:sp>
      <p:cxnSp>
        <p:nvCxnSpPr>
          <p:cNvPr id="62" name="直接连接符 61">
            <a:extLst>
              <a:ext uri="{FF2B5EF4-FFF2-40B4-BE49-F238E27FC236}">
                <a16:creationId xmlns:a16="http://schemas.microsoft.com/office/drawing/2014/main" id="{E4A04F97-D1E0-4FAE-8626-8671A5664440}"/>
              </a:ext>
            </a:extLst>
          </p:cNvPr>
          <p:cNvCxnSpPr/>
          <p:nvPr/>
        </p:nvCxnSpPr>
        <p:spPr>
          <a:xfrm flipH="1">
            <a:off x="3893011" y="2161290"/>
            <a:ext cx="424814"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63" name="文本框 62">
            <a:extLst>
              <a:ext uri="{FF2B5EF4-FFF2-40B4-BE49-F238E27FC236}">
                <a16:creationId xmlns:a16="http://schemas.microsoft.com/office/drawing/2014/main" id="{B9ED1822-892C-4122-B054-CEFE222753DA}"/>
              </a:ext>
            </a:extLst>
          </p:cNvPr>
          <p:cNvSpPr txBox="1"/>
          <p:nvPr/>
        </p:nvSpPr>
        <p:spPr>
          <a:xfrm>
            <a:off x="3088784" y="4023496"/>
            <a:ext cx="1282402" cy="307777"/>
          </a:xfrm>
          <a:prstGeom prst="rect">
            <a:avLst/>
          </a:prstGeom>
          <a:noFill/>
        </p:spPr>
        <p:txBody>
          <a:bodyPr wrap="none" lIns="0" tIns="0" rIns="0" bIns="0" rtlCol="0" anchor="t">
            <a:spAutoFit/>
          </a:bodyPr>
          <a:lstStyle/>
          <a:p>
            <a:pPr algn="r"/>
            <a:r>
              <a:rPr lang="zh-CN" altLang="en-US" sz="2000" dirty="0">
                <a:solidFill>
                  <a:schemeClr val="accent1"/>
                </a:solidFill>
                <a:latin typeface="+mj-ea"/>
                <a:ea typeface="+mj-ea"/>
              </a:rPr>
              <a:t>关键词标题</a:t>
            </a:r>
          </a:p>
        </p:txBody>
      </p:sp>
      <p:sp>
        <p:nvSpPr>
          <p:cNvPr id="69" name="文本框 68">
            <a:extLst>
              <a:ext uri="{FF2B5EF4-FFF2-40B4-BE49-F238E27FC236}">
                <a16:creationId xmlns:a16="http://schemas.microsoft.com/office/drawing/2014/main" id="{9962C639-30B9-4192-8838-AC247BF80A1E}"/>
              </a:ext>
            </a:extLst>
          </p:cNvPr>
          <p:cNvSpPr txBox="1"/>
          <p:nvPr/>
        </p:nvSpPr>
        <p:spPr>
          <a:xfrm>
            <a:off x="1882862" y="4528422"/>
            <a:ext cx="2465443" cy="387286"/>
          </a:xfrm>
          <a:prstGeom prst="rect">
            <a:avLst/>
          </a:prstGeom>
          <a:noFill/>
        </p:spPr>
        <p:txBody>
          <a:bodyPr wrap="square" lIns="0" tIns="0" rIns="0" bIns="0" rtlCol="0" anchor="t">
            <a:spAutoFit/>
          </a:bodyPr>
          <a:lstStyle/>
          <a:p>
            <a:pPr algn="r">
              <a:lnSpc>
                <a:spcPct val="130000"/>
              </a:lnSpc>
            </a:pPr>
            <a:r>
              <a:rPr lang="en-US" altLang="zh-CN" sz="1000" b="0" dirty="0">
                <a:solidFill>
                  <a:schemeClr val="tx1">
                    <a:lumMod val="75000"/>
                    <a:lumOff val="25000"/>
                  </a:schemeClr>
                </a:solidFill>
                <a:effectLst/>
                <a:latin typeface="+mn-ea"/>
              </a:rPr>
              <a:t>Lorem ipsum dolor sit amet, consectetur adipisicing elit, sed do eiusmod tempor</a:t>
            </a:r>
            <a:endParaRPr lang="zh-CN" altLang="en-US" sz="1000" b="0" dirty="0">
              <a:solidFill>
                <a:schemeClr val="tx1">
                  <a:lumMod val="75000"/>
                  <a:lumOff val="25000"/>
                </a:schemeClr>
              </a:solidFill>
              <a:effectLst/>
              <a:latin typeface="+mn-ea"/>
            </a:endParaRPr>
          </a:p>
        </p:txBody>
      </p:sp>
      <p:cxnSp>
        <p:nvCxnSpPr>
          <p:cNvPr id="70" name="直接连接符 69">
            <a:extLst>
              <a:ext uri="{FF2B5EF4-FFF2-40B4-BE49-F238E27FC236}">
                <a16:creationId xmlns:a16="http://schemas.microsoft.com/office/drawing/2014/main" id="{5C221ABA-4E91-4535-ABAC-6A82A599469F}"/>
              </a:ext>
            </a:extLst>
          </p:cNvPr>
          <p:cNvCxnSpPr/>
          <p:nvPr/>
        </p:nvCxnSpPr>
        <p:spPr>
          <a:xfrm flipH="1">
            <a:off x="3893011" y="4457711"/>
            <a:ext cx="424814"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71" name="文本框 70">
            <a:extLst>
              <a:ext uri="{FF2B5EF4-FFF2-40B4-BE49-F238E27FC236}">
                <a16:creationId xmlns:a16="http://schemas.microsoft.com/office/drawing/2014/main" id="{DF6D97AD-401E-4822-B403-2A8847D8A020}"/>
              </a:ext>
            </a:extLst>
          </p:cNvPr>
          <p:cNvSpPr txBox="1"/>
          <p:nvPr/>
        </p:nvSpPr>
        <p:spPr>
          <a:xfrm>
            <a:off x="7631802" y="1727075"/>
            <a:ext cx="1282402" cy="307777"/>
          </a:xfrm>
          <a:prstGeom prst="rect">
            <a:avLst/>
          </a:prstGeom>
          <a:noFill/>
        </p:spPr>
        <p:txBody>
          <a:bodyPr wrap="none" lIns="0" tIns="0" rIns="0" bIns="0" rtlCol="0" anchor="t">
            <a:spAutoFit/>
          </a:bodyPr>
          <a:lstStyle/>
          <a:p>
            <a:r>
              <a:rPr lang="zh-CN" altLang="en-US" sz="2000" dirty="0">
                <a:solidFill>
                  <a:schemeClr val="accent1"/>
                </a:solidFill>
                <a:latin typeface="+mj-ea"/>
                <a:ea typeface="+mj-ea"/>
              </a:rPr>
              <a:t>关键词标题</a:t>
            </a:r>
          </a:p>
        </p:txBody>
      </p:sp>
      <p:sp>
        <p:nvSpPr>
          <p:cNvPr id="72" name="文本框 71">
            <a:extLst>
              <a:ext uri="{FF2B5EF4-FFF2-40B4-BE49-F238E27FC236}">
                <a16:creationId xmlns:a16="http://schemas.microsoft.com/office/drawing/2014/main" id="{CE8D60E6-DBD9-425E-BE21-D64B21A0740A}"/>
              </a:ext>
            </a:extLst>
          </p:cNvPr>
          <p:cNvSpPr txBox="1"/>
          <p:nvPr/>
        </p:nvSpPr>
        <p:spPr>
          <a:xfrm>
            <a:off x="7631802" y="2232001"/>
            <a:ext cx="2465443" cy="387286"/>
          </a:xfrm>
          <a:prstGeom prst="rect">
            <a:avLst/>
          </a:prstGeom>
          <a:noFill/>
        </p:spPr>
        <p:txBody>
          <a:bodyPr wrap="square" lIns="0" tIns="0" rIns="0" bIns="0" rtlCol="0" anchor="t">
            <a:spAutoFit/>
          </a:bodyPr>
          <a:lstStyle/>
          <a:p>
            <a:pPr>
              <a:lnSpc>
                <a:spcPct val="130000"/>
              </a:lnSpc>
            </a:pPr>
            <a:r>
              <a:rPr lang="en-US" altLang="zh-CN" sz="1000" b="0" dirty="0">
                <a:solidFill>
                  <a:schemeClr val="tx1">
                    <a:lumMod val="75000"/>
                    <a:lumOff val="25000"/>
                  </a:schemeClr>
                </a:solidFill>
                <a:effectLst/>
                <a:latin typeface="+mn-ea"/>
              </a:rPr>
              <a:t>Lorem ipsum dolor sit amet, consectetur adipisicing elit, sed do eiusmod tempor</a:t>
            </a:r>
            <a:endParaRPr lang="zh-CN" altLang="en-US" sz="1000" b="0" dirty="0">
              <a:solidFill>
                <a:schemeClr val="tx1">
                  <a:lumMod val="75000"/>
                  <a:lumOff val="25000"/>
                </a:schemeClr>
              </a:solidFill>
              <a:effectLst/>
              <a:latin typeface="+mn-ea"/>
            </a:endParaRPr>
          </a:p>
        </p:txBody>
      </p:sp>
      <p:cxnSp>
        <p:nvCxnSpPr>
          <p:cNvPr id="73" name="直接连接符 72">
            <a:extLst>
              <a:ext uri="{FF2B5EF4-FFF2-40B4-BE49-F238E27FC236}">
                <a16:creationId xmlns:a16="http://schemas.microsoft.com/office/drawing/2014/main" id="{BB8D5A17-9716-47F4-B198-5EF484641482}"/>
              </a:ext>
            </a:extLst>
          </p:cNvPr>
          <p:cNvCxnSpPr>
            <a:cxnSpLocks/>
          </p:cNvCxnSpPr>
          <p:nvPr/>
        </p:nvCxnSpPr>
        <p:spPr>
          <a:xfrm flipH="1">
            <a:off x="7631802" y="2161290"/>
            <a:ext cx="424814"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74" name="文本框 73">
            <a:extLst>
              <a:ext uri="{FF2B5EF4-FFF2-40B4-BE49-F238E27FC236}">
                <a16:creationId xmlns:a16="http://schemas.microsoft.com/office/drawing/2014/main" id="{E98988E7-67D2-44E2-B688-68EAFB37D563}"/>
              </a:ext>
            </a:extLst>
          </p:cNvPr>
          <p:cNvSpPr txBox="1"/>
          <p:nvPr/>
        </p:nvSpPr>
        <p:spPr>
          <a:xfrm>
            <a:off x="7631802" y="4023496"/>
            <a:ext cx="1282402" cy="307777"/>
          </a:xfrm>
          <a:prstGeom prst="rect">
            <a:avLst/>
          </a:prstGeom>
          <a:noFill/>
        </p:spPr>
        <p:txBody>
          <a:bodyPr wrap="none" lIns="0" tIns="0" rIns="0" bIns="0" rtlCol="0" anchor="t">
            <a:spAutoFit/>
          </a:bodyPr>
          <a:lstStyle/>
          <a:p>
            <a:r>
              <a:rPr lang="zh-CN" altLang="en-US" sz="2000" dirty="0">
                <a:solidFill>
                  <a:schemeClr val="accent1"/>
                </a:solidFill>
                <a:latin typeface="+mj-ea"/>
                <a:ea typeface="+mj-ea"/>
              </a:rPr>
              <a:t>关键词标题</a:t>
            </a:r>
          </a:p>
        </p:txBody>
      </p:sp>
      <p:sp>
        <p:nvSpPr>
          <p:cNvPr id="75" name="文本框 74">
            <a:extLst>
              <a:ext uri="{FF2B5EF4-FFF2-40B4-BE49-F238E27FC236}">
                <a16:creationId xmlns:a16="http://schemas.microsoft.com/office/drawing/2014/main" id="{D3DCF530-7011-4D5A-A75E-C74F11CBC0D2}"/>
              </a:ext>
            </a:extLst>
          </p:cNvPr>
          <p:cNvSpPr txBox="1"/>
          <p:nvPr/>
        </p:nvSpPr>
        <p:spPr>
          <a:xfrm>
            <a:off x="7631802" y="4528422"/>
            <a:ext cx="2465443" cy="387286"/>
          </a:xfrm>
          <a:prstGeom prst="rect">
            <a:avLst/>
          </a:prstGeom>
          <a:noFill/>
        </p:spPr>
        <p:txBody>
          <a:bodyPr wrap="square" lIns="0" tIns="0" rIns="0" bIns="0" rtlCol="0" anchor="t">
            <a:spAutoFit/>
          </a:bodyPr>
          <a:lstStyle/>
          <a:p>
            <a:pPr>
              <a:lnSpc>
                <a:spcPct val="130000"/>
              </a:lnSpc>
            </a:pPr>
            <a:r>
              <a:rPr lang="en-US" altLang="zh-CN" sz="1000" b="0" dirty="0">
                <a:solidFill>
                  <a:schemeClr val="tx1">
                    <a:lumMod val="75000"/>
                    <a:lumOff val="25000"/>
                  </a:schemeClr>
                </a:solidFill>
                <a:effectLst/>
                <a:latin typeface="+mn-ea"/>
              </a:rPr>
              <a:t>Lorem ipsum dolor sit amet, consectetur adipisicing elit, sed do eiusmod tempor</a:t>
            </a:r>
            <a:endParaRPr lang="zh-CN" altLang="en-US" sz="1000" b="0" dirty="0">
              <a:solidFill>
                <a:schemeClr val="tx1">
                  <a:lumMod val="75000"/>
                  <a:lumOff val="25000"/>
                </a:schemeClr>
              </a:solidFill>
              <a:effectLst/>
              <a:latin typeface="+mn-ea"/>
            </a:endParaRPr>
          </a:p>
        </p:txBody>
      </p:sp>
      <p:cxnSp>
        <p:nvCxnSpPr>
          <p:cNvPr id="76" name="直接连接符 75">
            <a:extLst>
              <a:ext uri="{FF2B5EF4-FFF2-40B4-BE49-F238E27FC236}">
                <a16:creationId xmlns:a16="http://schemas.microsoft.com/office/drawing/2014/main" id="{919C391D-CE8A-4146-9725-0D8DED3937EB}"/>
              </a:ext>
            </a:extLst>
          </p:cNvPr>
          <p:cNvCxnSpPr>
            <a:cxnSpLocks/>
          </p:cNvCxnSpPr>
          <p:nvPr/>
        </p:nvCxnSpPr>
        <p:spPr>
          <a:xfrm flipH="1">
            <a:off x="7631802" y="4457711"/>
            <a:ext cx="424814" cy="0"/>
          </a:xfrm>
          <a:prstGeom prst="line">
            <a:avLst/>
          </a:prstGeom>
          <a:ln w="19050"/>
        </p:spPr>
        <p:style>
          <a:lnRef idx="1">
            <a:schemeClr val="accent1"/>
          </a:lnRef>
          <a:fillRef idx="0">
            <a:schemeClr val="accent1"/>
          </a:fillRef>
          <a:effectRef idx="0">
            <a:schemeClr val="accent1"/>
          </a:effectRef>
          <a:fontRef idx="minor">
            <a:schemeClr val="tx1"/>
          </a:fontRef>
        </p:style>
      </p:cxnSp>
    </p:spTree>
    <p:custDataLst>
      <p:tags r:id="rId2"/>
    </p:custDataLst>
    <p:extLst>
      <p:ext uri="{BB962C8B-B14F-4D97-AF65-F5344CB8AC3E}">
        <p14:creationId xmlns:p14="http://schemas.microsoft.com/office/powerpoint/2010/main" val="2221734859"/>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3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 name="任意形状 9">
            <a:extLst>
              <a:ext uri="{FF2B5EF4-FFF2-40B4-BE49-F238E27FC236}">
                <a16:creationId xmlns:a16="http://schemas.microsoft.com/office/drawing/2014/main" id="{AA202101-1D6B-4874-9BE5-D6BF99331DE8}"/>
              </a:ext>
            </a:extLst>
          </p:cNvPr>
          <p:cNvSpPr/>
          <p:nvPr/>
        </p:nvSpPr>
        <p:spPr>
          <a:xfrm>
            <a:off x="0" y="6457950"/>
            <a:ext cx="12192000" cy="400050"/>
          </a:xfrm>
          <a:custGeom>
            <a:avLst/>
            <a:gdLst>
              <a:gd name="connsiteX0" fmla="*/ 12192000 w 12192000"/>
              <a:gd name="connsiteY0" fmla="*/ 0 h 329410"/>
              <a:gd name="connsiteX1" fmla="*/ 12192000 w 12192000"/>
              <a:gd name="connsiteY1" fmla="*/ 329410 h 329410"/>
              <a:gd name="connsiteX2" fmla="*/ 0 w 12192000"/>
              <a:gd name="connsiteY2" fmla="*/ 329410 h 329410"/>
              <a:gd name="connsiteX3" fmla="*/ 0 w 12192000"/>
              <a:gd name="connsiteY3" fmla="*/ 29375 h 329410"/>
              <a:gd name="connsiteX4" fmla="*/ 577089 w 12192000"/>
              <a:gd name="connsiteY4" fmla="*/ 49593 h 329410"/>
              <a:gd name="connsiteX5" fmla="*/ 5704114 w 12192000"/>
              <a:gd name="connsiteY5" fmla="*/ 124873 h 329410"/>
              <a:gd name="connsiteX6" fmla="*/ 11982536 w 12192000"/>
              <a:gd name="connsiteY6" fmla="*/ 9255 h 329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329410">
                <a:moveTo>
                  <a:pt x="12192000" y="0"/>
                </a:moveTo>
                <a:lnTo>
                  <a:pt x="12192000" y="329410"/>
                </a:lnTo>
                <a:lnTo>
                  <a:pt x="0" y="329410"/>
                </a:lnTo>
                <a:lnTo>
                  <a:pt x="0" y="29375"/>
                </a:lnTo>
                <a:lnTo>
                  <a:pt x="577089" y="49593"/>
                </a:lnTo>
                <a:cubicBezTo>
                  <a:pt x="2152931" y="98068"/>
                  <a:pt x="3885480" y="124873"/>
                  <a:pt x="5704114" y="124873"/>
                </a:cubicBezTo>
                <a:cubicBezTo>
                  <a:pt x="7977407" y="124873"/>
                  <a:pt x="10116192" y="82990"/>
                  <a:pt x="11982536" y="9255"/>
                </a:cubicBezTo>
                <a:close/>
              </a:path>
            </a:pathLst>
          </a:custGeom>
          <a:solidFill>
            <a:schemeClr val="accent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zh-CN" altLang="en-US"/>
          </a:p>
        </p:txBody>
      </p:sp>
      <p:sp>
        <p:nvSpPr>
          <p:cNvPr id="57" name="梯形 56">
            <a:extLst>
              <a:ext uri="{FF2B5EF4-FFF2-40B4-BE49-F238E27FC236}">
                <a16:creationId xmlns:a16="http://schemas.microsoft.com/office/drawing/2014/main" id="{E802AC75-6058-4D45-817B-58A19D751563}"/>
              </a:ext>
            </a:extLst>
          </p:cNvPr>
          <p:cNvSpPr/>
          <p:nvPr/>
        </p:nvSpPr>
        <p:spPr>
          <a:xfrm>
            <a:off x="4267199" y="1959210"/>
            <a:ext cx="3790952" cy="400050"/>
          </a:xfrm>
          <a:prstGeom prst="trapezoid">
            <a:avLst>
              <a:gd name="adj" fmla="val 183222"/>
            </a:avLst>
          </a:prstGeom>
          <a:gradFill>
            <a:gsLst>
              <a:gs pos="100000">
                <a:schemeClr val="accent1">
                  <a:alpha val="24000"/>
                </a:schemeClr>
              </a:gs>
              <a:gs pos="0">
                <a:schemeClr val="accent1">
                  <a:alpha val="0"/>
                </a:schemeClr>
              </a:gs>
            </a:gsLst>
            <a:lin ang="5400000" scaled="1"/>
          </a:gradFill>
          <a:ln cap="rnd">
            <a:gradFill>
              <a:gsLst>
                <a:gs pos="100000">
                  <a:schemeClr val="accent1"/>
                </a:gs>
                <a:gs pos="1000">
                  <a:schemeClr val="accent1">
                    <a:alpha val="0"/>
                  </a:schemeClr>
                </a:gs>
              </a:gsLst>
              <a:lin ang="5400000" scaled="1"/>
            </a:gra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8" name="文本框 57">
            <a:extLst>
              <a:ext uri="{FF2B5EF4-FFF2-40B4-BE49-F238E27FC236}">
                <a16:creationId xmlns:a16="http://schemas.microsoft.com/office/drawing/2014/main" id="{B6539657-B985-4933-AEC5-37F1500AF341}"/>
              </a:ext>
            </a:extLst>
          </p:cNvPr>
          <p:cNvSpPr txBox="1"/>
          <p:nvPr/>
        </p:nvSpPr>
        <p:spPr>
          <a:xfrm>
            <a:off x="5264992" y="1851458"/>
            <a:ext cx="1795364" cy="430887"/>
          </a:xfrm>
          <a:prstGeom prst="rect">
            <a:avLst/>
          </a:prstGeom>
          <a:noFill/>
        </p:spPr>
        <p:txBody>
          <a:bodyPr wrap="none" lIns="0" tIns="0" rIns="0" bIns="0" rtlCol="0" anchor="t">
            <a:spAutoFit/>
          </a:bodyPr>
          <a:lstStyle/>
          <a:p>
            <a:pPr algn="ctr"/>
            <a:r>
              <a:rPr lang="zh-CN" altLang="en-US" sz="2800" dirty="0">
                <a:solidFill>
                  <a:schemeClr val="accent1"/>
                </a:solidFill>
                <a:latin typeface="+mj-ea"/>
                <a:ea typeface="+mj-ea"/>
              </a:rPr>
              <a:t>关键词标题</a:t>
            </a:r>
          </a:p>
        </p:txBody>
      </p:sp>
      <p:sp>
        <p:nvSpPr>
          <p:cNvPr id="67" name="梯形 66">
            <a:extLst>
              <a:ext uri="{FF2B5EF4-FFF2-40B4-BE49-F238E27FC236}">
                <a16:creationId xmlns:a16="http://schemas.microsoft.com/office/drawing/2014/main" id="{8D53B5D5-C8F4-4EA4-8F1E-B6B65F069AB0}"/>
              </a:ext>
            </a:extLst>
          </p:cNvPr>
          <p:cNvSpPr/>
          <p:nvPr/>
        </p:nvSpPr>
        <p:spPr>
          <a:xfrm>
            <a:off x="4267199" y="3311952"/>
            <a:ext cx="3790952" cy="400050"/>
          </a:xfrm>
          <a:prstGeom prst="trapezoid">
            <a:avLst>
              <a:gd name="adj" fmla="val 183222"/>
            </a:avLst>
          </a:prstGeom>
          <a:gradFill>
            <a:gsLst>
              <a:gs pos="100000">
                <a:schemeClr val="accent1">
                  <a:alpha val="24000"/>
                </a:schemeClr>
              </a:gs>
              <a:gs pos="0">
                <a:schemeClr val="accent1">
                  <a:alpha val="0"/>
                </a:schemeClr>
              </a:gs>
            </a:gsLst>
            <a:lin ang="5400000" scaled="1"/>
          </a:gradFill>
          <a:ln cap="rnd">
            <a:gradFill>
              <a:gsLst>
                <a:gs pos="100000">
                  <a:schemeClr val="accent1"/>
                </a:gs>
                <a:gs pos="1000">
                  <a:schemeClr val="accent1">
                    <a:alpha val="0"/>
                  </a:schemeClr>
                </a:gs>
              </a:gsLst>
              <a:lin ang="5400000" scaled="1"/>
            </a:gra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8" name="文本框 67">
            <a:extLst>
              <a:ext uri="{FF2B5EF4-FFF2-40B4-BE49-F238E27FC236}">
                <a16:creationId xmlns:a16="http://schemas.microsoft.com/office/drawing/2014/main" id="{8316A26D-7C04-4150-B9CA-2379EB3ACA38}"/>
              </a:ext>
            </a:extLst>
          </p:cNvPr>
          <p:cNvSpPr txBox="1"/>
          <p:nvPr/>
        </p:nvSpPr>
        <p:spPr>
          <a:xfrm>
            <a:off x="5264992" y="3204200"/>
            <a:ext cx="1795364" cy="430887"/>
          </a:xfrm>
          <a:prstGeom prst="rect">
            <a:avLst/>
          </a:prstGeom>
          <a:noFill/>
        </p:spPr>
        <p:txBody>
          <a:bodyPr wrap="none" lIns="0" tIns="0" rIns="0" bIns="0" rtlCol="0" anchor="t">
            <a:spAutoFit/>
          </a:bodyPr>
          <a:lstStyle/>
          <a:p>
            <a:pPr algn="ctr"/>
            <a:r>
              <a:rPr lang="zh-CN" altLang="en-US" sz="2800" dirty="0">
                <a:solidFill>
                  <a:schemeClr val="accent1"/>
                </a:solidFill>
                <a:latin typeface="+mj-ea"/>
                <a:ea typeface="+mj-ea"/>
              </a:rPr>
              <a:t>关键词标题</a:t>
            </a:r>
          </a:p>
        </p:txBody>
      </p:sp>
      <p:sp>
        <p:nvSpPr>
          <p:cNvPr id="78" name="梯形 77">
            <a:extLst>
              <a:ext uri="{FF2B5EF4-FFF2-40B4-BE49-F238E27FC236}">
                <a16:creationId xmlns:a16="http://schemas.microsoft.com/office/drawing/2014/main" id="{0A035E88-2FCC-46C5-B85F-55441704BB57}"/>
              </a:ext>
            </a:extLst>
          </p:cNvPr>
          <p:cNvSpPr/>
          <p:nvPr/>
        </p:nvSpPr>
        <p:spPr>
          <a:xfrm>
            <a:off x="4267199" y="4664694"/>
            <a:ext cx="3790952" cy="400050"/>
          </a:xfrm>
          <a:prstGeom prst="trapezoid">
            <a:avLst>
              <a:gd name="adj" fmla="val 183222"/>
            </a:avLst>
          </a:prstGeom>
          <a:gradFill>
            <a:gsLst>
              <a:gs pos="100000">
                <a:schemeClr val="accent1">
                  <a:alpha val="24000"/>
                </a:schemeClr>
              </a:gs>
              <a:gs pos="0">
                <a:schemeClr val="accent1">
                  <a:alpha val="0"/>
                </a:schemeClr>
              </a:gs>
            </a:gsLst>
            <a:lin ang="5400000" scaled="1"/>
          </a:gradFill>
          <a:ln cap="rnd">
            <a:gradFill>
              <a:gsLst>
                <a:gs pos="100000">
                  <a:schemeClr val="accent1"/>
                </a:gs>
                <a:gs pos="1000">
                  <a:schemeClr val="accent1">
                    <a:alpha val="0"/>
                  </a:schemeClr>
                </a:gs>
              </a:gsLst>
              <a:lin ang="5400000" scaled="1"/>
            </a:gra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9" name="文本框 78">
            <a:extLst>
              <a:ext uri="{FF2B5EF4-FFF2-40B4-BE49-F238E27FC236}">
                <a16:creationId xmlns:a16="http://schemas.microsoft.com/office/drawing/2014/main" id="{5224CB1D-6812-4F70-8FC6-BF62A8A7FDC1}"/>
              </a:ext>
            </a:extLst>
          </p:cNvPr>
          <p:cNvSpPr txBox="1"/>
          <p:nvPr/>
        </p:nvSpPr>
        <p:spPr>
          <a:xfrm>
            <a:off x="5264992" y="4556942"/>
            <a:ext cx="1795364" cy="430887"/>
          </a:xfrm>
          <a:prstGeom prst="rect">
            <a:avLst/>
          </a:prstGeom>
          <a:noFill/>
        </p:spPr>
        <p:txBody>
          <a:bodyPr wrap="none" lIns="0" tIns="0" rIns="0" bIns="0" rtlCol="0" anchor="t">
            <a:spAutoFit/>
          </a:bodyPr>
          <a:lstStyle/>
          <a:p>
            <a:pPr algn="ctr"/>
            <a:r>
              <a:rPr lang="zh-CN" altLang="en-US" sz="2800" dirty="0">
                <a:solidFill>
                  <a:schemeClr val="accent1"/>
                </a:solidFill>
                <a:latin typeface="+mj-ea"/>
                <a:ea typeface="+mj-ea"/>
              </a:rPr>
              <a:t>关键词标题</a:t>
            </a:r>
          </a:p>
        </p:txBody>
      </p:sp>
      <p:sp>
        <p:nvSpPr>
          <p:cNvPr id="19" name="圆: 空心 18">
            <a:extLst>
              <a:ext uri="{FF2B5EF4-FFF2-40B4-BE49-F238E27FC236}">
                <a16:creationId xmlns:a16="http://schemas.microsoft.com/office/drawing/2014/main" id="{22FCAA30-BC39-4D6F-8859-24B4D16AC1EB}"/>
              </a:ext>
            </a:extLst>
          </p:cNvPr>
          <p:cNvSpPr/>
          <p:nvPr/>
        </p:nvSpPr>
        <p:spPr>
          <a:xfrm>
            <a:off x="3099377" y="346652"/>
            <a:ext cx="6164696" cy="6164696"/>
          </a:xfrm>
          <a:prstGeom prst="donut">
            <a:avLst>
              <a:gd name="adj" fmla="val 9563"/>
            </a:avLst>
          </a:prstGeom>
          <a:gradFill>
            <a:gsLst>
              <a:gs pos="100000">
                <a:schemeClr val="accent1">
                  <a:alpha val="20000"/>
                </a:schemeClr>
              </a:gs>
              <a:gs pos="70000">
                <a:schemeClr val="accent1">
                  <a:alpha val="0"/>
                </a:schemeClr>
              </a:gs>
              <a:gs pos="30000">
                <a:schemeClr val="accent1">
                  <a:alpha val="0"/>
                </a:schemeClr>
              </a:gs>
              <a:gs pos="0">
                <a:schemeClr val="accent1">
                  <a:alpha val="20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20" name="文本框 19">
            <a:extLst>
              <a:ext uri="{FF2B5EF4-FFF2-40B4-BE49-F238E27FC236}">
                <a16:creationId xmlns:a16="http://schemas.microsoft.com/office/drawing/2014/main" id="{41B1FC3F-5259-465E-AE38-3052F49801DB}"/>
              </a:ext>
            </a:extLst>
          </p:cNvPr>
          <p:cNvSpPr txBox="1"/>
          <p:nvPr/>
        </p:nvSpPr>
        <p:spPr>
          <a:xfrm>
            <a:off x="3299805" y="2734871"/>
            <a:ext cx="276999" cy="1154162"/>
          </a:xfrm>
          <a:prstGeom prst="rect">
            <a:avLst/>
          </a:prstGeom>
          <a:noFill/>
        </p:spPr>
        <p:txBody>
          <a:bodyPr vert="eaVert" wrap="none" lIns="0" tIns="0" rIns="0" bIns="0" rtlCol="0" anchor="t">
            <a:spAutoFit/>
          </a:bodyPr>
          <a:lstStyle/>
          <a:p>
            <a:pPr algn="l"/>
            <a:r>
              <a:rPr lang="zh-CN" altLang="en-US" dirty="0">
                <a:solidFill>
                  <a:schemeClr val="accent1"/>
                </a:solidFill>
              </a:rPr>
              <a:t>关键词内容</a:t>
            </a:r>
          </a:p>
        </p:txBody>
      </p:sp>
      <p:sp>
        <p:nvSpPr>
          <p:cNvPr id="83" name="文本框 82">
            <a:extLst>
              <a:ext uri="{FF2B5EF4-FFF2-40B4-BE49-F238E27FC236}">
                <a16:creationId xmlns:a16="http://schemas.microsoft.com/office/drawing/2014/main" id="{32078F45-6AA3-4B4A-8F96-7A3601256BD9}"/>
              </a:ext>
            </a:extLst>
          </p:cNvPr>
          <p:cNvSpPr txBox="1"/>
          <p:nvPr/>
        </p:nvSpPr>
        <p:spPr>
          <a:xfrm>
            <a:off x="8823150" y="2734871"/>
            <a:ext cx="276999" cy="1154162"/>
          </a:xfrm>
          <a:prstGeom prst="rect">
            <a:avLst/>
          </a:prstGeom>
          <a:noFill/>
        </p:spPr>
        <p:txBody>
          <a:bodyPr vert="eaVert" wrap="none" lIns="0" tIns="0" rIns="0" bIns="0" rtlCol="0" anchor="t">
            <a:spAutoFit/>
          </a:bodyPr>
          <a:lstStyle/>
          <a:p>
            <a:pPr algn="l"/>
            <a:r>
              <a:rPr lang="zh-CN" altLang="en-US" dirty="0">
                <a:solidFill>
                  <a:schemeClr val="accent1"/>
                </a:solidFill>
              </a:rPr>
              <a:t>关键词内容</a:t>
            </a:r>
          </a:p>
        </p:txBody>
      </p:sp>
      <p:sp>
        <p:nvSpPr>
          <p:cNvPr id="21" name="箭头: 上 20">
            <a:extLst>
              <a:ext uri="{FF2B5EF4-FFF2-40B4-BE49-F238E27FC236}">
                <a16:creationId xmlns:a16="http://schemas.microsoft.com/office/drawing/2014/main" id="{BDE9E38E-6EFD-4EBA-ADF6-54B7A889F6E0}"/>
              </a:ext>
            </a:extLst>
          </p:cNvPr>
          <p:cNvSpPr/>
          <p:nvPr/>
        </p:nvSpPr>
        <p:spPr>
          <a:xfrm>
            <a:off x="4800621" y="2513783"/>
            <a:ext cx="240146" cy="484823"/>
          </a:xfrm>
          <a:prstGeom prst="upArrow">
            <a:avLst/>
          </a:prstGeom>
          <a:gradFill>
            <a:gsLst>
              <a:gs pos="100000">
                <a:schemeClr val="accent1">
                  <a:alpha val="0"/>
                </a:schemeClr>
              </a:gs>
              <a:gs pos="0">
                <a:schemeClr val="accent1">
                  <a:alpha val="40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84" name="箭头: 上 83">
            <a:extLst>
              <a:ext uri="{FF2B5EF4-FFF2-40B4-BE49-F238E27FC236}">
                <a16:creationId xmlns:a16="http://schemas.microsoft.com/office/drawing/2014/main" id="{17D55D74-6512-4AE1-972A-78DDC2DCC6FC}"/>
              </a:ext>
            </a:extLst>
          </p:cNvPr>
          <p:cNvSpPr/>
          <p:nvPr/>
        </p:nvSpPr>
        <p:spPr>
          <a:xfrm>
            <a:off x="6042601" y="2513783"/>
            <a:ext cx="240146" cy="484823"/>
          </a:xfrm>
          <a:prstGeom prst="upArrow">
            <a:avLst/>
          </a:prstGeom>
          <a:gradFill>
            <a:gsLst>
              <a:gs pos="100000">
                <a:schemeClr val="accent1">
                  <a:alpha val="0"/>
                </a:schemeClr>
              </a:gs>
              <a:gs pos="0">
                <a:schemeClr val="accent1">
                  <a:alpha val="40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85" name="箭头: 上 84">
            <a:extLst>
              <a:ext uri="{FF2B5EF4-FFF2-40B4-BE49-F238E27FC236}">
                <a16:creationId xmlns:a16="http://schemas.microsoft.com/office/drawing/2014/main" id="{532B10F4-DF09-4B0F-82CB-7566632DAEB5}"/>
              </a:ext>
            </a:extLst>
          </p:cNvPr>
          <p:cNvSpPr/>
          <p:nvPr/>
        </p:nvSpPr>
        <p:spPr>
          <a:xfrm>
            <a:off x="7359187" y="2513783"/>
            <a:ext cx="240146" cy="484823"/>
          </a:xfrm>
          <a:prstGeom prst="upArrow">
            <a:avLst/>
          </a:prstGeom>
          <a:gradFill>
            <a:gsLst>
              <a:gs pos="100000">
                <a:schemeClr val="accent1">
                  <a:alpha val="0"/>
                </a:schemeClr>
              </a:gs>
              <a:gs pos="0">
                <a:schemeClr val="accent1">
                  <a:alpha val="40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86" name="箭头: 上 85">
            <a:extLst>
              <a:ext uri="{FF2B5EF4-FFF2-40B4-BE49-F238E27FC236}">
                <a16:creationId xmlns:a16="http://schemas.microsoft.com/office/drawing/2014/main" id="{5C1CF8B8-3BF4-4B6B-B1F1-A261F73A42A1}"/>
              </a:ext>
            </a:extLst>
          </p:cNvPr>
          <p:cNvSpPr/>
          <p:nvPr/>
        </p:nvSpPr>
        <p:spPr>
          <a:xfrm>
            <a:off x="4800621" y="3879944"/>
            <a:ext cx="240146" cy="484823"/>
          </a:xfrm>
          <a:prstGeom prst="upArrow">
            <a:avLst/>
          </a:prstGeom>
          <a:gradFill>
            <a:gsLst>
              <a:gs pos="100000">
                <a:schemeClr val="accent1">
                  <a:alpha val="0"/>
                </a:schemeClr>
              </a:gs>
              <a:gs pos="0">
                <a:schemeClr val="accent1">
                  <a:alpha val="40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87" name="箭头: 上 86">
            <a:extLst>
              <a:ext uri="{FF2B5EF4-FFF2-40B4-BE49-F238E27FC236}">
                <a16:creationId xmlns:a16="http://schemas.microsoft.com/office/drawing/2014/main" id="{E42B62F5-D27F-4EB2-9A80-54EFF4A85304}"/>
              </a:ext>
            </a:extLst>
          </p:cNvPr>
          <p:cNvSpPr/>
          <p:nvPr/>
        </p:nvSpPr>
        <p:spPr>
          <a:xfrm>
            <a:off x="6042601" y="3879944"/>
            <a:ext cx="240146" cy="484823"/>
          </a:xfrm>
          <a:prstGeom prst="upArrow">
            <a:avLst/>
          </a:prstGeom>
          <a:gradFill>
            <a:gsLst>
              <a:gs pos="100000">
                <a:schemeClr val="accent1">
                  <a:alpha val="0"/>
                </a:schemeClr>
              </a:gs>
              <a:gs pos="0">
                <a:schemeClr val="accent1">
                  <a:alpha val="40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88" name="箭头: 上 87">
            <a:extLst>
              <a:ext uri="{FF2B5EF4-FFF2-40B4-BE49-F238E27FC236}">
                <a16:creationId xmlns:a16="http://schemas.microsoft.com/office/drawing/2014/main" id="{4319BD35-1149-4C94-9A53-AF83E4D79216}"/>
              </a:ext>
            </a:extLst>
          </p:cNvPr>
          <p:cNvSpPr/>
          <p:nvPr/>
        </p:nvSpPr>
        <p:spPr>
          <a:xfrm>
            <a:off x="7359187" y="3879944"/>
            <a:ext cx="240146" cy="484823"/>
          </a:xfrm>
          <a:prstGeom prst="upArrow">
            <a:avLst/>
          </a:prstGeom>
          <a:gradFill>
            <a:gsLst>
              <a:gs pos="100000">
                <a:schemeClr val="accent1">
                  <a:alpha val="0"/>
                </a:schemeClr>
              </a:gs>
              <a:gs pos="0">
                <a:schemeClr val="accent1">
                  <a:alpha val="40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92" name="矩形: 圆角 91">
            <a:extLst>
              <a:ext uri="{FF2B5EF4-FFF2-40B4-BE49-F238E27FC236}">
                <a16:creationId xmlns:a16="http://schemas.microsoft.com/office/drawing/2014/main" id="{8304B24C-A78B-4E52-946A-E38667594B95}"/>
              </a:ext>
            </a:extLst>
          </p:cNvPr>
          <p:cNvSpPr/>
          <p:nvPr/>
        </p:nvSpPr>
        <p:spPr>
          <a:xfrm>
            <a:off x="1562966" y="1839902"/>
            <a:ext cx="1311563" cy="480291"/>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dirty="0">
                <a:solidFill>
                  <a:schemeClr val="bg1"/>
                </a:solidFill>
                <a:latin typeface="+mj-ea"/>
                <a:ea typeface="+mj-ea"/>
              </a:rPr>
              <a:t>关键词</a:t>
            </a:r>
          </a:p>
        </p:txBody>
      </p:sp>
      <p:sp>
        <p:nvSpPr>
          <p:cNvPr id="93" name="矩形: 圆角 92">
            <a:extLst>
              <a:ext uri="{FF2B5EF4-FFF2-40B4-BE49-F238E27FC236}">
                <a16:creationId xmlns:a16="http://schemas.microsoft.com/office/drawing/2014/main" id="{4451B726-56B4-4F34-89EA-B3413D60D440}"/>
              </a:ext>
            </a:extLst>
          </p:cNvPr>
          <p:cNvSpPr/>
          <p:nvPr/>
        </p:nvSpPr>
        <p:spPr>
          <a:xfrm>
            <a:off x="1232881" y="3071806"/>
            <a:ext cx="1311563" cy="480291"/>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dirty="0">
                <a:solidFill>
                  <a:schemeClr val="bg1"/>
                </a:solidFill>
                <a:latin typeface="+mj-ea"/>
                <a:ea typeface="+mj-ea"/>
              </a:rPr>
              <a:t>关键词</a:t>
            </a:r>
          </a:p>
        </p:txBody>
      </p:sp>
      <p:sp>
        <p:nvSpPr>
          <p:cNvPr id="94" name="矩形: 圆角 93">
            <a:extLst>
              <a:ext uri="{FF2B5EF4-FFF2-40B4-BE49-F238E27FC236}">
                <a16:creationId xmlns:a16="http://schemas.microsoft.com/office/drawing/2014/main" id="{53EA9D04-ECA2-4194-808D-3AED3F29ACC3}"/>
              </a:ext>
            </a:extLst>
          </p:cNvPr>
          <p:cNvSpPr/>
          <p:nvPr/>
        </p:nvSpPr>
        <p:spPr>
          <a:xfrm>
            <a:off x="1562966" y="4303710"/>
            <a:ext cx="1311563" cy="480291"/>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dirty="0">
                <a:solidFill>
                  <a:schemeClr val="bg1"/>
                </a:solidFill>
                <a:latin typeface="+mj-ea"/>
                <a:ea typeface="+mj-ea"/>
              </a:rPr>
              <a:t>关键词</a:t>
            </a:r>
          </a:p>
        </p:txBody>
      </p:sp>
      <p:sp>
        <p:nvSpPr>
          <p:cNvPr id="95" name="矩形: 圆角 94">
            <a:extLst>
              <a:ext uri="{FF2B5EF4-FFF2-40B4-BE49-F238E27FC236}">
                <a16:creationId xmlns:a16="http://schemas.microsoft.com/office/drawing/2014/main" id="{6F2FA1EB-28D3-49E1-9AE0-8086673EAF6A}"/>
              </a:ext>
            </a:extLst>
          </p:cNvPr>
          <p:cNvSpPr/>
          <p:nvPr/>
        </p:nvSpPr>
        <p:spPr>
          <a:xfrm flipH="1">
            <a:off x="9526362" y="1839902"/>
            <a:ext cx="1311563" cy="480291"/>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dirty="0">
                <a:solidFill>
                  <a:schemeClr val="bg1"/>
                </a:solidFill>
                <a:latin typeface="+mj-ea"/>
                <a:ea typeface="+mj-ea"/>
              </a:rPr>
              <a:t>关键词</a:t>
            </a:r>
          </a:p>
        </p:txBody>
      </p:sp>
      <p:sp>
        <p:nvSpPr>
          <p:cNvPr id="96" name="矩形: 圆角 95">
            <a:extLst>
              <a:ext uri="{FF2B5EF4-FFF2-40B4-BE49-F238E27FC236}">
                <a16:creationId xmlns:a16="http://schemas.microsoft.com/office/drawing/2014/main" id="{E7DB8B66-77D3-4E45-8084-F95E1AF2C873}"/>
              </a:ext>
            </a:extLst>
          </p:cNvPr>
          <p:cNvSpPr/>
          <p:nvPr/>
        </p:nvSpPr>
        <p:spPr>
          <a:xfrm flipH="1">
            <a:off x="9856447" y="3071806"/>
            <a:ext cx="1311563" cy="480291"/>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dirty="0">
                <a:solidFill>
                  <a:schemeClr val="bg1"/>
                </a:solidFill>
                <a:latin typeface="+mj-ea"/>
                <a:ea typeface="+mj-ea"/>
              </a:rPr>
              <a:t>关键词</a:t>
            </a:r>
          </a:p>
        </p:txBody>
      </p:sp>
      <p:sp>
        <p:nvSpPr>
          <p:cNvPr id="97" name="矩形: 圆角 96">
            <a:extLst>
              <a:ext uri="{FF2B5EF4-FFF2-40B4-BE49-F238E27FC236}">
                <a16:creationId xmlns:a16="http://schemas.microsoft.com/office/drawing/2014/main" id="{D23519F8-D29A-4A95-B1DD-33D2835FCC74}"/>
              </a:ext>
            </a:extLst>
          </p:cNvPr>
          <p:cNvSpPr/>
          <p:nvPr/>
        </p:nvSpPr>
        <p:spPr>
          <a:xfrm flipH="1">
            <a:off x="9526362" y="4303710"/>
            <a:ext cx="1311563" cy="480291"/>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dirty="0">
                <a:solidFill>
                  <a:schemeClr val="bg1"/>
                </a:solidFill>
                <a:latin typeface="+mj-ea"/>
                <a:ea typeface="+mj-ea"/>
              </a:rPr>
              <a:t>关键词</a:t>
            </a:r>
          </a:p>
        </p:txBody>
      </p:sp>
    </p:spTree>
    <p:custDataLst>
      <p:tags r:id="rId2"/>
    </p:custDataLst>
    <p:extLst>
      <p:ext uri="{BB962C8B-B14F-4D97-AF65-F5344CB8AC3E}">
        <p14:creationId xmlns:p14="http://schemas.microsoft.com/office/powerpoint/2010/main" val="3003381545"/>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3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椭圆 34">
            <a:extLst>
              <a:ext uri="{FF2B5EF4-FFF2-40B4-BE49-F238E27FC236}">
                <a16:creationId xmlns:a16="http://schemas.microsoft.com/office/drawing/2014/main" id="{BF97B2BA-89A2-4D0B-9880-316A5BE33779}"/>
              </a:ext>
            </a:extLst>
          </p:cNvPr>
          <p:cNvSpPr/>
          <p:nvPr/>
        </p:nvSpPr>
        <p:spPr>
          <a:xfrm rot="335536">
            <a:off x="4011245" y="3289238"/>
            <a:ext cx="4233829" cy="591021"/>
          </a:xfrm>
          <a:prstGeom prst="ellipse">
            <a:avLst/>
          </a:prstGeom>
          <a:gradFill>
            <a:gsLst>
              <a:gs pos="17000">
                <a:schemeClr val="accent1">
                  <a:alpha val="0"/>
                </a:schemeClr>
              </a:gs>
              <a:gs pos="100000">
                <a:schemeClr val="accent1">
                  <a:alpha val="20000"/>
                </a:schemeClr>
              </a:gs>
            </a:gsLst>
            <a:lin ang="5400000" scaled="1"/>
          </a:gradFill>
          <a:ln>
            <a:gradFill>
              <a:gsLst>
                <a:gs pos="17000">
                  <a:schemeClr val="accent1">
                    <a:alpha val="0"/>
                  </a:schemeClr>
                </a:gs>
                <a:gs pos="100000">
                  <a:schemeClr val="accent1"/>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82" name="任意形状 9">
            <a:extLst>
              <a:ext uri="{FF2B5EF4-FFF2-40B4-BE49-F238E27FC236}">
                <a16:creationId xmlns:a16="http://schemas.microsoft.com/office/drawing/2014/main" id="{AA202101-1D6B-4874-9BE5-D6BF99331DE8}"/>
              </a:ext>
            </a:extLst>
          </p:cNvPr>
          <p:cNvSpPr/>
          <p:nvPr/>
        </p:nvSpPr>
        <p:spPr>
          <a:xfrm>
            <a:off x="0" y="6457950"/>
            <a:ext cx="12192000" cy="400050"/>
          </a:xfrm>
          <a:custGeom>
            <a:avLst/>
            <a:gdLst>
              <a:gd name="connsiteX0" fmla="*/ 12192000 w 12192000"/>
              <a:gd name="connsiteY0" fmla="*/ 0 h 329410"/>
              <a:gd name="connsiteX1" fmla="*/ 12192000 w 12192000"/>
              <a:gd name="connsiteY1" fmla="*/ 329410 h 329410"/>
              <a:gd name="connsiteX2" fmla="*/ 0 w 12192000"/>
              <a:gd name="connsiteY2" fmla="*/ 329410 h 329410"/>
              <a:gd name="connsiteX3" fmla="*/ 0 w 12192000"/>
              <a:gd name="connsiteY3" fmla="*/ 29375 h 329410"/>
              <a:gd name="connsiteX4" fmla="*/ 577089 w 12192000"/>
              <a:gd name="connsiteY4" fmla="*/ 49593 h 329410"/>
              <a:gd name="connsiteX5" fmla="*/ 5704114 w 12192000"/>
              <a:gd name="connsiteY5" fmla="*/ 124873 h 329410"/>
              <a:gd name="connsiteX6" fmla="*/ 11982536 w 12192000"/>
              <a:gd name="connsiteY6" fmla="*/ 9255 h 329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329410">
                <a:moveTo>
                  <a:pt x="12192000" y="0"/>
                </a:moveTo>
                <a:lnTo>
                  <a:pt x="12192000" y="329410"/>
                </a:lnTo>
                <a:lnTo>
                  <a:pt x="0" y="329410"/>
                </a:lnTo>
                <a:lnTo>
                  <a:pt x="0" y="29375"/>
                </a:lnTo>
                <a:lnTo>
                  <a:pt x="577089" y="49593"/>
                </a:lnTo>
                <a:cubicBezTo>
                  <a:pt x="2152931" y="98068"/>
                  <a:pt x="3885480" y="124873"/>
                  <a:pt x="5704114" y="124873"/>
                </a:cubicBezTo>
                <a:cubicBezTo>
                  <a:pt x="7977407" y="124873"/>
                  <a:pt x="10116192" y="82990"/>
                  <a:pt x="11982536" y="9255"/>
                </a:cubicBezTo>
                <a:close/>
              </a:path>
            </a:pathLst>
          </a:custGeom>
          <a:solidFill>
            <a:schemeClr val="accent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zh-CN" altLang="en-US"/>
          </a:p>
        </p:txBody>
      </p:sp>
      <p:sp>
        <p:nvSpPr>
          <p:cNvPr id="33" name="任意多边形: 形状 32">
            <a:extLst>
              <a:ext uri="{FF2B5EF4-FFF2-40B4-BE49-F238E27FC236}">
                <a16:creationId xmlns:a16="http://schemas.microsoft.com/office/drawing/2014/main" id="{A24E4CDE-6210-4B0D-8D02-627D4F6A4862}"/>
              </a:ext>
            </a:extLst>
          </p:cNvPr>
          <p:cNvSpPr/>
          <p:nvPr/>
        </p:nvSpPr>
        <p:spPr>
          <a:xfrm rot="1324234">
            <a:off x="3949885" y="3092571"/>
            <a:ext cx="4503997" cy="920646"/>
          </a:xfrm>
          <a:custGeom>
            <a:avLst/>
            <a:gdLst>
              <a:gd name="connsiteX0" fmla="*/ 2200062 w 4400126"/>
              <a:gd name="connsiteY0" fmla="*/ 76200 h 1159540"/>
              <a:gd name="connsiteX1" fmla="*/ 245320 w 4400126"/>
              <a:gd name="connsiteY1" fmla="*/ 579770 h 1159540"/>
              <a:gd name="connsiteX2" fmla="*/ 2200062 w 4400126"/>
              <a:gd name="connsiteY2" fmla="*/ 1083340 h 1159540"/>
              <a:gd name="connsiteX3" fmla="*/ 4154804 w 4400126"/>
              <a:gd name="connsiteY3" fmla="*/ 579770 h 1159540"/>
              <a:gd name="connsiteX4" fmla="*/ 2200062 w 4400126"/>
              <a:gd name="connsiteY4" fmla="*/ 76200 h 1159540"/>
              <a:gd name="connsiteX5" fmla="*/ 2200063 w 4400126"/>
              <a:gd name="connsiteY5" fmla="*/ 0 h 1159540"/>
              <a:gd name="connsiteX6" fmla="*/ 4400126 w 4400126"/>
              <a:gd name="connsiteY6" fmla="*/ 579770 h 1159540"/>
              <a:gd name="connsiteX7" fmla="*/ 2200063 w 4400126"/>
              <a:gd name="connsiteY7" fmla="*/ 1159540 h 1159540"/>
              <a:gd name="connsiteX8" fmla="*/ 0 w 4400126"/>
              <a:gd name="connsiteY8" fmla="*/ 579770 h 1159540"/>
              <a:gd name="connsiteX9" fmla="*/ 2200063 w 4400126"/>
              <a:gd name="connsiteY9" fmla="*/ 0 h 1159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400126" h="1159540">
                <a:moveTo>
                  <a:pt x="2200062" y="76200"/>
                </a:moveTo>
                <a:cubicBezTo>
                  <a:pt x="1120488" y="76200"/>
                  <a:pt x="245320" y="301656"/>
                  <a:pt x="245320" y="579770"/>
                </a:cubicBezTo>
                <a:cubicBezTo>
                  <a:pt x="245320" y="857884"/>
                  <a:pt x="1120488" y="1083340"/>
                  <a:pt x="2200062" y="1083340"/>
                </a:cubicBezTo>
                <a:cubicBezTo>
                  <a:pt x="3279636" y="1083340"/>
                  <a:pt x="4154804" y="857884"/>
                  <a:pt x="4154804" y="579770"/>
                </a:cubicBezTo>
                <a:cubicBezTo>
                  <a:pt x="4154804" y="301656"/>
                  <a:pt x="3279636" y="76200"/>
                  <a:pt x="2200062" y="76200"/>
                </a:cubicBezTo>
                <a:close/>
                <a:moveTo>
                  <a:pt x="2200063" y="0"/>
                </a:moveTo>
                <a:cubicBezTo>
                  <a:pt x="3415124" y="0"/>
                  <a:pt x="4400126" y="259572"/>
                  <a:pt x="4400126" y="579770"/>
                </a:cubicBezTo>
                <a:cubicBezTo>
                  <a:pt x="4400126" y="899968"/>
                  <a:pt x="3415124" y="1159540"/>
                  <a:pt x="2200063" y="1159540"/>
                </a:cubicBezTo>
                <a:cubicBezTo>
                  <a:pt x="985002" y="1159540"/>
                  <a:pt x="0" y="899968"/>
                  <a:pt x="0" y="579770"/>
                </a:cubicBezTo>
                <a:cubicBezTo>
                  <a:pt x="0" y="259572"/>
                  <a:pt x="985002" y="0"/>
                  <a:pt x="2200063" y="0"/>
                </a:cubicBezTo>
                <a:close/>
              </a:path>
            </a:pathLst>
          </a:custGeom>
          <a:gradFill>
            <a:gsLst>
              <a:gs pos="100000">
                <a:schemeClr val="accent1">
                  <a:alpha val="98000"/>
                </a:schemeClr>
              </a:gs>
              <a:gs pos="14000">
                <a:srgbClr val="031761">
                  <a:alpha val="0"/>
                </a:srgb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l"/>
            <a:endParaRPr lang="zh-CN" altLang="en-US" sz="1600">
              <a:solidFill>
                <a:schemeClr val="bg1"/>
              </a:solidFill>
              <a:latin typeface="+mj-ea"/>
              <a:ea typeface="+mj-ea"/>
            </a:endParaRPr>
          </a:p>
        </p:txBody>
      </p:sp>
      <p:sp>
        <p:nvSpPr>
          <p:cNvPr id="2" name="椭圆 1">
            <a:extLst>
              <a:ext uri="{FF2B5EF4-FFF2-40B4-BE49-F238E27FC236}">
                <a16:creationId xmlns:a16="http://schemas.microsoft.com/office/drawing/2014/main" id="{359678C8-C22C-44FE-BDAA-F683B28B8010}"/>
              </a:ext>
            </a:extLst>
          </p:cNvPr>
          <p:cNvSpPr/>
          <p:nvPr/>
        </p:nvSpPr>
        <p:spPr>
          <a:xfrm>
            <a:off x="5494304" y="2482102"/>
            <a:ext cx="1238063" cy="1238063"/>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29" name="user_209046">
            <a:extLst>
              <a:ext uri="{FF2B5EF4-FFF2-40B4-BE49-F238E27FC236}">
                <a16:creationId xmlns:a16="http://schemas.microsoft.com/office/drawing/2014/main" id="{0C0C5D3A-E964-4C55-BD12-121B36F5A4E6}"/>
              </a:ext>
            </a:extLst>
          </p:cNvPr>
          <p:cNvSpPr/>
          <p:nvPr/>
        </p:nvSpPr>
        <p:spPr>
          <a:xfrm>
            <a:off x="5912643" y="2707866"/>
            <a:ext cx="508525" cy="458566"/>
          </a:xfrm>
          <a:custGeom>
            <a:avLst/>
            <a:gdLst>
              <a:gd name="connsiteX0" fmla="*/ 521432 w 608344"/>
              <a:gd name="connsiteY0" fmla="*/ 370453 h 548582"/>
              <a:gd name="connsiteX1" fmla="*/ 465737 w 608344"/>
              <a:gd name="connsiteY1" fmla="*/ 425787 h 548582"/>
              <a:gd name="connsiteX2" fmla="*/ 442491 w 608344"/>
              <a:gd name="connsiteY2" fmla="*/ 402479 h 548582"/>
              <a:gd name="connsiteX3" fmla="*/ 418201 w 608344"/>
              <a:gd name="connsiteY3" fmla="*/ 426545 h 548582"/>
              <a:gd name="connsiteX4" fmla="*/ 441447 w 608344"/>
              <a:gd name="connsiteY4" fmla="*/ 449948 h 548582"/>
              <a:gd name="connsiteX5" fmla="*/ 465642 w 608344"/>
              <a:gd name="connsiteY5" fmla="*/ 474204 h 548582"/>
              <a:gd name="connsiteX6" fmla="*/ 489932 w 608344"/>
              <a:gd name="connsiteY6" fmla="*/ 450043 h 548582"/>
              <a:gd name="connsiteX7" fmla="*/ 545532 w 608344"/>
              <a:gd name="connsiteY7" fmla="*/ 394709 h 548582"/>
              <a:gd name="connsiteX8" fmla="*/ 481962 w 608344"/>
              <a:gd name="connsiteY8" fmla="*/ 296170 h 548582"/>
              <a:gd name="connsiteX9" fmla="*/ 608344 w 608344"/>
              <a:gd name="connsiteY9" fmla="*/ 422376 h 548582"/>
              <a:gd name="connsiteX10" fmla="*/ 481962 w 608344"/>
              <a:gd name="connsiteY10" fmla="*/ 548582 h 548582"/>
              <a:gd name="connsiteX11" fmla="*/ 355579 w 608344"/>
              <a:gd name="connsiteY11" fmla="*/ 422376 h 548582"/>
              <a:gd name="connsiteX12" fmla="*/ 481962 w 608344"/>
              <a:gd name="connsiteY12" fmla="*/ 296170 h 548582"/>
              <a:gd name="connsiteX13" fmla="*/ 255835 w 608344"/>
              <a:gd name="connsiteY13" fmla="*/ 446 h 548582"/>
              <a:gd name="connsiteX14" fmla="*/ 317801 w 608344"/>
              <a:gd name="connsiteY14" fmla="*/ 13616 h 548582"/>
              <a:gd name="connsiteX15" fmla="*/ 348072 w 608344"/>
              <a:gd name="connsiteY15" fmla="*/ 41661 h 548582"/>
              <a:gd name="connsiteX16" fmla="*/ 381190 w 608344"/>
              <a:gd name="connsiteY16" fmla="*/ 146831 h 548582"/>
              <a:gd name="connsiteX17" fmla="*/ 378913 w 608344"/>
              <a:gd name="connsiteY17" fmla="*/ 156211 h 548582"/>
              <a:gd name="connsiteX18" fmla="*/ 387833 w 608344"/>
              <a:gd name="connsiteY18" fmla="*/ 200458 h 548582"/>
              <a:gd name="connsiteX19" fmla="*/ 366387 w 608344"/>
              <a:gd name="connsiteY19" fmla="*/ 237694 h 548582"/>
              <a:gd name="connsiteX20" fmla="*/ 351393 w 608344"/>
              <a:gd name="connsiteY20" fmla="*/ 278720 h 548582"/>
              <a:gd name="connsiteX21" fmla="*/ 351393 w 608344"/>
              <a:gd name="connsiteY21" fmla="*/ 322873 h 548582"/>
              <a:gd name="connsiteX22" fmla="*/ 317611 w 608344"/>
              <a:gd name="connsiteY22" fmla="*/ 422358 h 548582"/>
              <a:gd name="connsiteX23" fmla="*/ 376635 w 608344"/>
              <a:gd name="connsiteY23" fmla="*/ 548088 h 548582"/>
              <a:gd name="connsiteX24" fmla="*/ 26855 w 608344"/>
              <a:gd name="connsiteY24" fmla="*/ 548088 h 548582"/>
              <a:gd name="connsiteX25" fmla="*/ 0 w 608344"/>
              <a:gd name="connsiteY25" fmla="*/ 521274 h 548582"/>
              <a:gd name="connsiteX26" fmla="*/ 0 w 608344"/>
              <a:gd name="connsiteY26" fmla="*/ 473806 h 548582"/>
              <a:gd name="connsiteX27" fmla="*/ 19453 w 608344"/>
              <a:gd name="connsiteY27" fmla="*/ 432969 h 548582"/>
              <a:gd name="connsiteX28" fmla="*/ 173751 w 608344"/>
              <a:gd name="connsiteY28" fmla="*/ 334242 h 548582"/>
              <a:gd name="connsiteX29" fmla="*/ 176408 w 608344"/>
              <a:gd name="connsiteY29" fmla="*/ 329884 h 548582"/>
              <a:gd name="connsiteX30" fmla="*/ 176408 w 608344"/>
              <a:gd name="connsiteY30" fmla="*/ 278720 h 548582"/>
              <a:gd name="connsiteX31" fmla="*/ 161320 w 608344"/>
              <a:gd name="connsiteY31" fmla="*/ 237694 h 548582"/>
              <a:gd name="connsiteX32" fmla="*/ 139969 w 608344"/>
              <a:gd name="connsiteY32" fmla="*/ 200458 h 548582"/>
              <a:gd name="connsiteX33" fmla="*/ 148320 w 608344"/>
              <a:gd name="connsiteY33" fmla="*/ 156211 h 548582"/>
              <a:gd name="connsiteX34" fmla="*/ 146042 w 608344"/>
              <a:gd name="connsiteY34" fmla="*/ 146736 h 548582"/>
              <a:gd name="connsiteX35" fmla="*/ 145758 w 608344"/>
              <a:gd name="connsiteY35" fmla="*/ 95099 h 548582"/>
              <a:gd name="connsiteX36" fmla="*/ 176029 w 608344"/>
              <a:gd name="connsiteY36" fmla="*/ 42135 h 548582"/>
              <a:gd name="connsiteX37" fmla="*/ 203928 w 608344"/>
              <a:gd name="connsiteY37" fmla="*/ 19017 h 548582"/>
              <a:gd name="connsiteX38" fmla="*/ 231162 w 608344"/>
              <a:gd name="connsiteY38" fmla="*/ 5089 h 548582"/>
              <a:gd name="connsiteX39" fmla="*/ 255835 w 608344"/>
              <a:gd name="connsiteY39" fmla="*/ 446 h 548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608344" h="548582">
                <a:moveTo>
                  <a:pt x="521432" y="370453"/>
                </a:moveTo>
                <a:lnTo>
                  <a:pt x="465737" y="425787"/>
                </a:lnTo>
                <a:lnTo>
                  <a:pt x="442491" y="402479"/>
                </a:lnTo>
                <a:lnTo>
                  <a:pt x="418201" y="426545"/>
                </a:lnTo>
                <a:lnTo>
                  <a:pt x="441447" y="449948"/>
                </a:lnTo>
                <a:lnTo>
                  <a:pt x="465642" y="474204"/>
                </a:lnTo>
                <a:lnTo>
                  <a:pt x="489932" y="450043"/>
                </a:lnTo>
                <a:lnTo>
                  <a:pt x="545532" y="394709"/>
                </a:lnTo>
                <a:close/>
                <a:moveTo>
                  <a:pt x="481962" y="296170"/>
                </a:moveTo>
                <a:cubicBezTo>
                  <a:pt x="551795" y="296170"/>
                  <a:pt x="608344" y="352641"/>
                  <a:pt x="608344" y="422376"/>
                </a:cubicBezTo>
                <a:cubicBezTo>
                  <a:pt x="608344" y="492111"/>
                  <a:pt x="551795" y="548582"/>
                  <a:pt x="481962" y="548582"/>
                </a:cubicBezTo>
                <a:cubicBezTo>
                  <a:pt x="412129" y="548582"/>
                  <a:pt x="355579" y="492111"/>
                  <a:pt x="355579" y="422376"/>
                </a:cubicBezTo>
                <a:cubicBezTo>
                  <a:pt x="355579" y="352641"/>
                  <a:pt x="412129" y="296170"/>
                  <a:pt x="481962" y="296170"/>
                </a:cubicBezTo>
                <a:close/>
                <a:moveTo>
                  <a:pt x="255835" y="446"/>
                </a:moveTo>
                <a:cubicBezTo>
                  <a:pt x="282785" y="-1828"/>
                  <a:pt x="303187" y="4899"/>
                  <a:pt x="317801" y="13616"/>
                </a:cubicBezTo>
                <a:cubicBezTo>
                  <a:pt x="339721" y="25744"/>
                  <a:pt x="348072" y="41661"/>
                  <a:pt x="348072" y="41661"/>
                </a:cubicBezTo>
                <a:cubicBezTo>
                  <a:pt x="348072" y="41661"/>
                  <a:pt x="398176" y="45167"/>
                  <a:pt x="381190" y="146831"/>
                </a:cubicBezTo>
                <a:cubicBezTo>
                  <a:pt x="380621" y="149863"/>
                  <a:pt x="379862" y="153085"/>
                  <a:pt x="378913" y="156211"/>
                </a:cubicBezTo>
                <a:cubicBezTo>
                  <a:pt x="388592" y="156211"/>
                  <a:pt x="398271" y="163507"/>
                  <a:pt x="387833" y="200458"/>
                </a:cubicBezTo>
                <a:cubicBezTo>
                  <a:pt x="379672" y="229262"/>
                  <a:pt x="372080" y="237221"/>
                  <a:pt x="366387" y="237694"/>
                </a:cubicBezTo>
                <a:cubicBezTo>
                  <a:pt x="364394" y="250675"/>
                  <a:pt x="359175" y="265076"/>
                  <a:pt x="351393" y="278720"/>
                </a:cubicBezTo>
                <a:lnTo>
                  <a:pt x="351393" y="322873"/>
                </a:lnTo>
                <a:cubicBezTo>
                  <a:pt x="330232" y="350539"/>
                  <a:pt x="317611" y="385027"/>
                  <a:pt x="317611" y="422358"/>
                </a:cubicBezTo>
                <a:cubicBezTo>
                  <a:pt x="317611" y="472764"/>
                  <a:pt x="340480" y="518053"/>
                  <a:pt x="376635" y="548088"/>
                </a:cubicBezTo>
                <a:lnTo>
                  <a:pt x="26855" y="548088"/>
                </a:lnTo>
                <a:cubicBezTo>
                  <a:pt x="12052" y="548088"/>
                  <a:pt x="0" y="536055"/>
                  <a:pt x="0" y="521274"/>
                </a:cubicBezTo>
                <a:lnTo>
                  <a:pt x="0" y="473806"/>
                </a:lnTo>
                <a:cubicBezTo>
                  <a:pt x="0" y="457983"/>
                  <a:pt x="7212" y="443013"/>
                  <a:pt x="19453" y="432969"/>
                </a:cubicBezTo>
                <a:cubicBezTo>
                  <a:pt x="86638" y="377921"/>
                  <a:pt x="159043" y="341443"/>
                  <a:pt x="173751" y="334242"/>
                </a:cubicBezTo>
                <a:cubicBezTo>
                  <a:pt x="175365" y="333484"/>
                  <a:pt x="176408" y="331779"/>
                  <a:pt x="176408" y="329884"/>
                </a:cubicBezTo>
                <a:lnTo>
                  <a:pt x="176408" y="278720"/>
                </a:lnTo>
                <a:cubicBezTo>
                  <a:pt x="168437" y="265076"/>
                  <a:pt x="163313" y="250675"/>
                  <a:pt x="161320" y="237694"/>
                </a:cubicBezTo>
                <a:cubicBezTo>
                  <a:pt x="155627" y="237221"/>
                  <a:pt x="148035" y="229072"/>
                  <a:pt x="139969" y="200458"/>
                </a:cubicBezTo>
                <a:cubicBezTo>
                  <a:pt x="129531" y="164170"/>
                  <a:pt x="138925" y="156496"/>
                  <a:pt x="148320" y="156211"/>
                </a:cubicBezTo>
                <a:cubicBezTo>
                  <a:pt x="147371" y="153085"/>
                  <a:pt x="146612" y="149863"/>
                  <a:pt x="146042" y="146736"/>
                </a:cubicBezTo>
                <a:cubicBezTo>
                  <a:pt x="142436" y="128450"/>
                  <a:pt x="141487" y="111396"/>
                  <a:pt x="145758" y="95099"/>
                </a:cubicBezTo>
                <a:cubicBezTo>
                  <a:pt x="150787" y="73212"/>
                  <a:pt x="162744" y="55684"/>
                  <a:pt x="176029" y="42135"/>
                </a:cubicBezTo>
                <a:cubicBezTo>
                  <a:pt x="184379" y="33134"/>
                  <a:pt x="193869" y="25459"/>
                  <a:pt x="203928" y="19017"/>
                </a:cubicBezTo>
                <a:cubicBezTo>
                  <a:pt x="212183" y="13332"/>
                  <a:pt x="221293" y="8405"/>
                  <a:pt x="231162" y="5089"/>
                </a:cubicBezTo>
                <a:cubicBezTo>
                  <a:pt x="238849" y="2625"/>
                  <a:pt x="247105" y="825"/>
                  <a:pt x="255835" y="446"/>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0" name="文本框 29">
            <a:extLst>
              <a:ext uri="{FF2B5EF4-FFF2-40B4-BE49-F238E27FC236}">
                <a16:creationId xmlns:a16="http://schemas.microsoft.com/office/drawing/2014/main" id="{A718AC6A-4282-49D2-B9FE-6B540C6F6E4A}"/>
              </a:ext>
            </a:extLst>
          </p:cNvPr>
          <p:cNvSpPr txBox="1"/>
          <p:nvPr/>
        </p:nvSpPr>
        <p:spPr>
          <a:xfrm>
            <a:off x="5597830" y="3254014"/>
            <a:ext cx="1031011" cy="307730"/>
          </a:xfrm>
          <a:prstGeom prst="rect">
            <a:avLst/>
          </a:prstGeom>
          <a:noFill/>
        </p:spPr>
        <p:txBody>
          <a:bodyPr wrap="square" lIns="0" tIns="0" rIns="0" bIns="0" rtlCol="0" anchor="t">
            <a:spAutoFit/>
          </a:bodyPr>
          <a:lstStyle/>
          <a:p>
            <a:pPr algn="ctr"/>
            <a:r>
              <a:rPr lang="zh-CN" altLang="en-US" sz="2000" dirty="0">
                <a:solidFill>
                  <a:schemeClr val="bg1"/>
                </a:solidFill>
                <a:latin typeface="+mj-ea"/>
                <a:ea typeface="+mj-ea"/>
              </a:rPr>
              <a:t>关键词</a:t>
            </a:r>
          </a:p>
        </p:txBody>
      </p:sp>
      <p:sp>
        <p:nvSpPr>
          <p:cNvPr id="8" name="椭圆 7">
            <a:extLst>
              <a:ext uri="{FF2B5EF4-FFF2-40B4-BE49-F238E27FC236}">
                <a16:creationId xmlns:a16="http://schemas.microsoft.com/office/drawing/2014/main" id="{9AB20219-F6BE-4206-9D6E-160DA9716AAC}"/>
              </a:ext>
            </a:extLst>
          </p:cNvPr>
          <p:cNvSpPr/>
          <p:nvPr/>
        </p:nvSpPr>
        <p:spPr>
          <a:xfrm rot="20169977">
            <a:off x="4301197" y="3307730"/>
            <a:ext cx="3624274" cy="591021"/>
          </a:xfrm>
          <a:prstGeom prst="ellipse">
            <a:avLst/>
          </a:prstGeom>
          <a:noFill/>
          <a:ln>
            <a:gradFill>
              <a:gsLst>
                <a:gs pos="17000">
                  <a:schemeClr val="accent1">
                    <a:alpha val="0"/>
                  </a:schemeClr>
                </a:gs>
                <a:gs pos="100000">
                  <a:schemeClr val="accent1"/>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38" name="user_209046">
            <a:extLst>
              <a:ext uri="{FF2B5EF4-FFF2-40B4-BE49-F238E27FC236}">
                <a16:creationId xmlns:a16="http://schemas.microsoft.com/office/drawing/2014/main" id="{7B696760-A88E-4C49-8AA8-2C083699EE1E}"/>
              </a:ext>
            </a:extLst>
          </p:cNvPr>
          <p:cNvSpPr/>
          <p:nvPr/>
        </p:nvSpPr>
        <p:spPr>
          <a:xfrm>
            <a:off x="8269273" y="4189396"/>
            <a:ext cx="370981" cy="313556"/>
          </a:xfrm>
          <a:custGeom>
            <a:avLst/>
            <a:gdLst>
              <a:gd name="T0" fmla="*/ 4484 w 10375"/>
              <a:gd name="T1" fmla="*/ 6967 h 8769"/>
              <a:gd name="T2" fmla="*/ 4484 w 10375"/>
              <a:gd name="T3" fmla="*/ 8374 h 8769"/>
              <a:gd name="T4" fmla="*/ 5891 w 10375"/>
              <a:gd name="T5" fmla="*/ 8374 h 8769"/>
              <a:gd name="T6" fmla="*/ 5891 w 10375"/>
              <a:gd name="T7" fmla="*/ 6967 h 8769"/>
              <a:gd name="T8" fmla="*/ 4484 w 10375"/>
              <a:gd name="T9" fmla="*/ 6967 h 8769"/>
              <a:gd name="T10" fmla="*/ 1754 w 10375"/>
              <a:gd name="T11" fmla="*/ 5262 h 8769"/>
              <a:gd name="T12" fmla="*/ 2766 w 10375"/>
              <a:gd name="T13" fmla="*/ 6423 h 8769"/>
              <a:gd name="T14" fmla="*/ 7633 w 10375"/>
              <a:gd name="T15" fmla="*/ 6423 h 8769"/>
              <a:gd name="T16" fmla="*/ 8645 w 10375"/>
              <a:gd name="T17" fmla="*/ 5262 h 8769"/>
              <a:gd name="T18" fmla="*/ 1754 w 10375"/>
              <a:gd name="T19" fmla="*/ 5262 h 8769"/>
              <a:gd name="T20" fmla="*/ 0 w 10375"/>
              <a:gd name="T21" fmla="*/ 3261 h 8769"/>
              <a:gd name="T22" fmla="*/ 1038 w 10375"/>
              <a:gd name="T23" fmla="*/ 4447 h 8769"/>
              <a:gd name="T24" fmla="*/ 9338 w 10375"/>
              <a:gd name="T25" fmla="*/ 4447 h 8769"/>
              <a:gd name="T26" fmla="*/ 10375 w 10375"/>
              <a:gd name="T27" fmla="*/ 3261 h 8769"/>
              <a:gd name="T28" fmla="*/ 0 w 10375"/>
              <a:gd name="T29" fmla="*/ 3261 h 8769"/>
              <a:gd name="T30" fmla="*/ 0 w 10375"/>
              <a:gd name="T31" fmla="*/ 3261 h 87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375" h="8769">
                <a:moveTo>
                  <a:pt x="4484" y="6967"/>
                </a:moveTo>
                <a:cubicBezTo>
                  <a:pt x="4089" y="7362"/>
                  <a:pt x="4089" y="7979"/>
                  <a:pt x="4484" y="8374"/>
                </a:cubicBezTo>
                <a:cubicBezTo>
                  <a:pt x="4879" y="8769"/>
                  <a:pt x="5496" y="8769"/>
                  <a:pt x="5891" y="8374"/>
                </a:cubicBezTo>
                <a:cubicBezTo>
                  <a:pt x="6286" y="7979"/>
                  <a:pt x="6286" y="7362"/>
                  <a:pt x="5891" y="6967"/>
                </a:cubicBezTo>
                <a:cubicBezTo>
                  <a:pt x="5471" y="6571"/>
                  <a:pt x="4854" y="6571"/>
                  <a:pt x="4484" y="6967"/>
                </a:cubicBezTo>
                <a:close/>
                <a:moveTo>
                  <a:pt x="1754" y="5262"/>
                </a:moveTo>
                <a:lnTo>
                  <a:pt x="2766" y="6423"/>
                </a:lnTo>
                <a:cubicBezTo>
                  <a:pt x="4100" y="4892"/>
                  <a:pt x="6299" y="4892"/>
                  <a:pt x="7633" y="6423"/>
                </a:cubicBezTo>
                <a:lnTo>
                  <a:pt x="8645" y="5262"/>
                </a:lnTo>
                <a:cubicBezTo>
                  <a:pt x="6719" y="3088"/>
                  <a:pt x="3656" y="3088"/>
                  <a:pt x="1754" y="5262"/>
                </a:cubicBezTo>
                <a:close/>
                <a:moveTo>
                  <a:pt x="0" y="3261"/>
                </a:moveTo>
                <a:lnTo>
                  <a:pt x="1038" y="4447"/>
                </a:lnTo>
                <a:cubicBezTo>
                  <a:pt x="3335" y="1803"/>
                  <a:pt x="7040" y="1803"/>
                  <a:pt x="9338" y="4447"/>
                </a:cubicBezTo>
                <a:lnTo>
                  <a:pt x="10375" y="3261"/>
                </a:lnTo>
                <a:cubicBezTo>
                  <a:pt x="7534" y="0"/>
                  <a:pt x="2865" y="0"/>
                  <a:pt x="0" y="3261"/>
                </a:cubicBezTo>
                <a:close/>
                <a:moveTo>
                  <a:pt x="0" y="3261"/>
                </a:move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sp>
        <p:nvSpPr>
          <p:cNvPr id="40" name="dna-scheme_72281">
            <a:extLst>
              <a:ext uri="{FF2B5EF4-FFF2-40B4-BE49-F238E27FC236}">
                <a16:creationId xmlns:a16="http://schemas.microsoft.com/office/drawing/2014/main" id="{82D37241-A0F1-4679-9E79-4272135C6ADE}"/>
              </a:ext>
            </a:extLst>
          </p:cNvPr>
          <p:cNvSpPr/>
          <p:nvPr/>
        </p:nvSpPr>
        <p:spPr>
          <a:xfrm>
            <a:off x="7848354" y="2546010"/>
            <a:ext cx="327732" cy="325626"/>
          </a:xfrm>
          <a:custGeom>
            <a:avLst/>
            <a:gdLst>
              <a:gd name="T0" fmla="*/ 8079 w 8242"/>
              <a:gd name="T1" fmla="*/ 2177 h 8201"/>
              <a:gd name="T2" fmla="*/ 7493 w 8242"/>
              <a:gd name="T3" fmla="*/ 2177 h 8201"/>
              <a:gd name="T4" fmla="*/ 7402 w 8242"/>
              <a:gd name="T5" fmla="*/ 2260 h 8201"/>
              <a:gd name="T6" fmla="*/ 5982 w 8242"/>
              <a:gd name="T7" fmla="*/ 840 h 8201"/>
              <a:gd name="T8" fmla="*/ 6065 w 8242"/>
              <a:gd name="T9" fmla="*/ 749 h 8201"/>
              <a:gd name="T10" fmla="*/ 6065 w 8242"/>
              <a:gd name="T11" fmla="*/ 163 h 8201"/>
              <a:gd name="T12" fmla="*/ 5478 w 8242"/>
              <a:gd name="T13" fmla="*/ 163 h 8201"/>
              <a:gd name="T14" fmla="*/ 4914 w 8242"/>
              <a:gd name="T15" fmla="*/ 2319 h 8201"/>
              <a:gd name="T16" fmla="*/ 2903 w 8242"/>
              <a:gd name="T17" fmla="*/ 2903 h 8201"/>
              <a:gd name="T18" fmla="*/ 2319 w 8242"/>
              <a:gd name="T19" fmla="*/ 4914 h 8201"/>
              <a:gd name="T20" fmla="*/ 163 w 8242"/>
              <a:gd name="T21" fmla="*/ 5478 h 8201"/>
              <a:gd name="T22" fmla="*/ 163 w 8242"/>
              <a:gd name="T23" fmla="*/ 6065 h 8201"/>
              <a:gd name="T24" fmla="*/ 456 w 8242"/>
              <a:gd name="T25" fmla="*/ 6187 h 8201"/>
              <a:gd name="T26" fmla="*/ 749 w 8242"/>
              <a:gd name="T27" fmla="*/ 6065 h 8201"/>
              <a:gd name="T28" fmla="*/ 840 w 8242"/>
              <a:gd name="T29" fmla="*/ 5982 h 8201"/>
              <a:gd name="T30" fmla="*/ 2260 w 8242"/>
              <a:gd name="T31" fmla="*/ 7402 h 8201"/>
              <a:gd name="T32" fmla="*/ 2177 w 8242"/>
              <a:gd name="T33" fmla="*/ 7493 h 8201"/>
              <a:gd name="T34" fmla="*/ 2177 w 8242"/>
              <a:gd name="T35" fmla="*/ 8079 h 8201"/>
              <a:gd name="T36" fmla="*/ 2470 w 8242"/>
              <a:gd name="T37" fmla="*/ 8201 h 8201"/>
              <a:gd name="T38" fmla="*/ 2764 w 8242"/>
              <a:gd name="T39" fmla="*/ 8079 h 8201"/>
              <a:gd name="T40" fmla="*/ 3328 w 8242"/>
              <a:gd name="T41" fmla="*/ 5923 h 8201"/>
              <a:gd name="T42" fmla="*/ 5339 w 8242"/>
              <a:gd name="T43" fmla="*/ 5339 h 8201"/>
              <a:gd name="T44" fmla="*/ 5923 w 8242"/>
              <a:gd name="T45" fmla="*/ 3328 h 8201"/>
              <a:gd name="T46" fmla="*/ 8079 w 8242"/>
              <a:gd name="T47" fmla="*/ 2764 h 8201"/>
              <a:gd name="T48" fmla="*/ 8079 w 8242"/>
              <a:gd name="T49" fmla="*/ 2177 h 8201"/>
              <a:gd name="T50" fmla="*/ 5062 w 8242"/>
              <a:gd name="T51" fmla="*/ 3179 h 8201"/>
              <a:gd name="T52" fmla="*/ 4951 w 8242"/>
              <a:gd name="T53" fmla="*/ 4499 h 8201"/>
              <a:gd name="T54" fmla="*/ 3743 w 8242"/>
              <a:gd name="T55" fmla="*/ 3291 h 8201"/>
              <a:gd name="T56" fmla="*/ 5062 w 8242"/>
              <a:gd name="T57" fmla="*/ 3179 h 8201"/>
              <a:gd name="T58" fmla="*/ 1470 w 8242"/>
              <a:gd name="T59" fmla="*/ 5708 h 8201"/>
              <a:gd name="T60" fmla="*/ 2464 w 8242"/>
              <a:gd name="T61" fmla="*/ 5778 h 8201"/>
              <a:gd name="T62" fmla="*/ 2534 w 8242"/>
              <a:gd name="T63" fmla="*/ 6772 h 8201"/>
              <a:gd name="T64" fmla="*/ 1470 w 8242"/>
              <a:gd name="T65" fmla="*/ 5708 h 8201"/>
              <a:gd name="T66" fmla="*/ 3179 w 8242"/>
              <a:gd name="T67" fmla="*/ 5063 h 8201"/>
              <a:gd name="T68" fmla="*/ 3291 w 8242"/>
              <a:gd name="T69" fmla="*/ 3743 h 8201"/>
              <a:gd name="T70" fmla="*/ 4499 w 8242"/>
              <a:gd name="T71" fmla="*/ 4951 h 8201"/>
              <a:gd name="T72" fmla="*/ 3179 w 8242"/>
              <a:gd name="T73" fmla="*/ 5063 h 8201"/>
              <a:gd name="T74" fmla="*/ 5778 w 8242"/>
              <a:gd name="T75" fmla="*/ 2464 h 8201"/>
              <a:gd name="T76" fmla="*/ 5708 w 8242"/>
              <a:gd name="T77" fmla="*/ 1470 h 8201"/>
              <a:gd name="T78" fmla="*/ 6772 w 8242"/>
              <a:gd name="T79" fmla="*/ 2534 h 8201"/>
              <a:gd name="T80" fmla="*/ 5778 w 8242"/>
              <a:gd name="T81" fmla="*/ 2464 h 8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242" h="8201">
                <a:moveTo>
                  <a:pt x="8079" y="2177"/>
                </a:moveTo>
                <a:cubicBezTo>
                  <a:pt x="7917" y="2015"/>
                  <a:pt x="7655" y="2015"/>
                  <a:pt x="7493" y="2177"/>
                </a:cubicBezTo>
                <a:cubicBezTo>
                  <a:pt x="7463" y="2207"/>
                  <a:pt x="7433" y="2234"/>
                  <a:pt x="7402" y="2260"/>
                </a:cubicBezTo>
                <a:lnTo>
                  <a:pt x="5982" y="840"/>
                </a:lnTo>
                <a:cubicBezTo>
                  <a:pt x="6008" y="809"/>
                  <a:pt x="6035" y="779"/>
                  <a:pt x="6065" y="749"/>
                </a:cubicBezTo>
                <a:cubicBezTo>
                  <a:pt x="6227" y="587"/>
                  <a:pt x="6227" y="325"/>
                  <a:pt x="6065" y="163"/>
                </a:cubicBezTo>
                <a:cubicBezTo>
                  <a:pt x="5903" y="0"/>
                  <a:pt x="5640" y="0"/>
                  <a:pt x="5478" y="163"/>
                </a:cubicBezTo>
                <a:cubicBezTo>
                  <a:pt x="4816" y="825"/>
                  <a:pt x="4808" y="1592"/>
                  <a:pt x="4914" y="2319"/>
                </a:cubicBezTo>
                <a:cubicBezTo>
                  <a:pt x="4231" y="2237"/>
                  <a:pt x="3521" y="2285"/>
                  <a:pt x="2903" y="2903"/>
                </a:cubicBezTo>
                <a:cubicBezTo>
                  <a:pt x="2285" y="3521"/>
                  <a:pt x="2237" y="4231"/>
                  <a:pt x="2319" y="4914"/>
                </a:cubicBezTo>
                <a:cubicBezTo>
                  <a:pt x="1592" y="4808"/>
                  <a:pt x="825" y="4816"/>
                  <a:pt x="163" y="5478"/>
                </a:cubicBezTo>
                <a:cubicBezTo>
                  <a:pt x="0" y="5640"/>
                  <a:pt x="0" y="5903"/>
                  <a:pt x="163" y="6065"/>
                </a:cubicBezTo>
                <a:cubicBezTo>
                  <a:pt x="244" y="6146"/>
                  <a:pt x="350" y="6187"/>
                  <a:pt x="456" y="6187"/>
                </a:cubicBezTo>
                <a:cubicBezTo>
                  <a:pt x="562" y="6187"/>
                  <a:pt x="668" y="6146"/>
                  <a:pt x="749" y="6065"/>
                </a:cubicBezTo>
                <a:cubicBezTo>
                  <a:pt x="779" y="6035"/>
                  <a:pt x="809" y="6008"/>
                  <a:pt x="840" y="5982"/>
                </a:cubicBezTo>
                <a:lnTo>
                  <a:pt x="2260" y="7402"/>
                </a:lnTo>
                <a:cubicBezTo>
                  <a:pt x="2234" y="7433"/>
                  <a:pt x="2207" y="7463"/>
                  <a:pt x="2177" y="7493"/>
                </a:cubicBezTo>
                <a:cubicBezTo>
                  <a:pt x="2015" y="7655"/>
                  <a:pt x="2015" y="7917"/>
                  <a:pt x="2177" y="8079"/>
                </a:cubicBezTo>
                <a:cubicBezTo>
                  <a:pt x="2258" y="8160"/>
                  <a:pt x="2364" y="8201"/>
                  <a:pt x="2470" y="8201"/>
                </a:cubicBezTo>
                <a:cubicBezTo>
                  <a:pt x="2576" y="8201"/>
                  <a:pt x="2683" y="8160"/>
                  <a:pt x="2764" y="8079"/>
                </a:cubicBezTo>
                <a:cubicBezTo>
                  <a:pt x="3426" y="7417"/>
                  <a:pt x="3434" y="6650"/>
                  <a:pt x="3328" y="5923"/>
                </a:cubicBezTo>
                <a:cubicBezTo>
                  <a:pt x="4011" y="6005"/>
                  <a:pt x="4721" y="5957"/>
                  <a:pt x="5339" y="5339"/>
                </a:cubicBezTo>
                <a:cubicBezTo>
                  <a:pt x="5957" y="4721"/>
                  <a:pt x="6005" y="4011"/>
                  <a:pt x="5923" y="3328"/>
                </a:cubicBezTo>
                <a:cubicBezTo>
                  <a:pt x="6650" y="3434"/>
                  <a:pt x="7417" y="3426"/>
                  <a:pt x="8079" y="2764"/>
                </a:cubicBezTo>
                <a:cubicBezTo>
                  <a:pt x="8242" y="2602"/>
                  <a:pt x="8242" y="2339"/>
                  <a:pt x="8079" y="2177"/>
                </a:cubicBezTo>
                <a:close/>
                <a:moveTo>
                  <a:pt x="5062" y="3179"/>
                </a:moveTo>
                <a:cubicBezTo>
                  <a:pt x="5151" y="3727"/>
                  <a:pt x="5166" y="4141"/>
                  <a:pt x="4951" y="4499"/>
                </a:cubicBezTo>
                <a:lnTo>
                  <a:pt x="3743" y="3291"/>
                </a:lnTo>
                <a:cubicBezTo>
                  <a:pt x="4101" y="3076"/>
                  <a:pt x="4515" y="3091"/>
                  <a:pt x="5062" y="3179"/>
                </a:cubicBezTo>
                <a:close/>
                <a:moveTo>
                  <a:pt x="1470" y="5708"/>
                </a:moveTo>
                <a:cubicBezTo>
                  <a:pt x="1753" y="5671"/>
                  <a:pt x="2076" y="5711"/>
                  <a:pt x="2464" y="5778"/>
                </a:cubicBezTo>
                <a:cubicBezTo>
                  <a:pt x="2531" y="6166"/>
                  <a:pt x="2571" y="6489"/>
                  <a:pt x="2534" y="6772"/>
                </a:cubicBezTo>
                <a:lnTo>
                  <a:pt x="1470" y="5708"/>
                </a:lnTo>
                <a:close/>
                <a:moveTo>
                  <a:pt x="3179" y="5063"/>
                </a:moveTo>
                <a:cubicBezTo>
                  <a:pt x="3091" y="4515"/>
                  <a:pt x="3076" y="4101"/>
                  <a:pt x="3291" y="3743"/>
                </a:cubicBezTo>
                <a:lnTo>
                  <a:pt x="4499" y="4951"/>
                </a:lnTo>
                <a:cubicBezTo>
                  <a:pt x="4141" y="5166"/>
                  <a:pt x="3727" y="5151"/>
                  <a:pt x="3179" y="5063"/>
                </a:cubicBezTo>
                <a:close/>
                <a:moveTo>
                  <a:pt x="5778" y="2464"/>
                </a:moveTo>
                <a:cubicBezTo>
                  <a:pt x="5711" y="2076"/>
                  <a:pt x="5671" y="1753"/>
                  <a:pt x="5708" y="1470"/>
                </a:cubicBezTo>
                <a:lnTo>
                  <a:pt x="6772" y="2534"/>
                </a:lnTo>
                <a:cubicBezTo>
                  <a:pt x="6489" y="2571"/>
                  <a:pt x="6166" y="2531"/>
                  <a:pt x="5778" y="2464"/>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6" name="椭圆 35">
            <a:extLst>
              <a:ext uri="{FF2B5EF4-FFF2-40B4-BE49-F238E27FC236}">
                <a16:creationId xmlns:a16="http://schemas.microsoft.com/office/drawing/2014/main" id="{11D0C69E-598B-4895-BA63-0C5BA984E211}"/>
              </a:ext>
            </a:extLst>
          </p:cNvPr>
          <p:cNvSpPr/>
          <p:nvPr/>
        </p:nvSpPr>
        <p:spPr>
          <a:xfrm>
            <a:off x="3576711" y="2096655"/>
            <a:ext cx="730463" cy="730463"/>
          </a:xfrm>
          <a:prstGeom prst="ellipse">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37" name="user_209046">
            <a:extLst>
              <a:ext uri="{FF2B5EF4-FFF2-40B4-BE49-F238E27FC236}">
                <a16:creationId xmlns:a16="http://schemas.microsoft.com/office/drawing/2014/main" id="{973ED846-14A2-406C-B65D-D791F28532A4}"/>
              </a:ext>
            </a:extLst>
          </p:cNvPr>
          <p:cNvSpPr/>
          <p:nvPr/>
        </p:nvSpPr>
        <p:spPr>
          <a:xfrm>
            <a:off x="3781453" y="2266372"/>
            <a:ext cx="342110" cy="391029"/>
          </a:xfrm>
          <a:custGeom>
            <a:avLst/>
            <a:gdLst>
              <a:gd name="T0" fmla="*/ 8582 w 9077"/>
              <a:gd name="T1" fmla="*/ 4538 h 10373"/>
              <a:gd name="T2" fmla="*/ 9077 w 9077"/>
              <a:gd name="T3" fmla="*/ 4538 h 10373"/>
              <a:gd name="T4" fmla="*/ 9077 w 9077"/>
              <a:gd name="T5" fmla="*/ 9151 h 10373"/>
              <a:gd name="T6" fmla="*/ 7855 w 9077"/>
              <a:gd name="T7" fmla="*/ 10373 h 10373"/>
              <a:gd name="T8" fmla="*/ 4789 w 9077"/>
              <a:gd name="T9" fmla="*/ 10373 h 10373"/>
              <a:gd name="T10" fmla="*/ 4539 w 9077"/>
              <a:gd name="T11" fmla="*/ 10123 h 10373"/>
              <a:gd name="T12" fmla="*/ 4539 w 9077"/>
              <a:gd name="T13" fmla="*/ 9562 h 10373"/>
              <a:gd name="T14" fmla="*/ 4789 w 9077"/>
              <a:gd name="T15" fmla="*/ 9312 h 10373"/>
              <a:gd name="T16" fmla="*/ 7532 w 9077"/>
              <a:gd name="T17" fmla="*/ 9312 h 10373"/>
              <a:gd name="T18" fmla="*/ 8106 w 9077"/>
              <a:gd name="T19" fmla="*/ 8738 h 10373"/>
              <a:gd name="T20" fmla="*/ 8106 w 9077"/>
              <a:gd name="T21" fmla="*/ 7780 h 10373"/>
              <a:gd name="T22" fmla="*/ 6734 w 9077"/>
              <a:gd name="T23" fmla="*/ 7780 h 10373"/>
              <a:gd name="T24" fmla="*/ 6484 w 9077"/>
              <a:gd name="T25" fmla="*/ 7530 h 10373"/>
              <a:gd name="T26" fmla="*/ 6484 w 9077"/>
              <a:gd name="T27" fmla="*/ 4788 h 10373"/>
              <a:gd name="T28" fmla="*/ 6734 w 9077"/>
              <a:gd name="T29" fmla="*/ 4538 h 10373"/>
              <a:gd name="T30" fmla="*/ 8582 w 9077"/>
              <a:gd name="T31" fmla="*/ 4538 h 10373"/>
              <a:gd name="T32" fmla="*/ 8087 w 9077"/>
              <a:gd name="T33" fmla="*/ 4538 h 10373"/>
              <a:gd name="T34" fmla="*/ 8087 w 9077"/>
              <a:gd name="T35" fmla="*/ 4520 h 10373"/>
              <a:gd name="T36" fmla="*/ 4521 w 9077"/>
              <a:gd name="T37" fmla="*/ 972 h 10373"/>
              <a:gd name="T38" fmla="*/ 955 w 9077"/>
              <a:gd name="T39" fmla="*/ 4520 h 10373"/>
              <a:gd name="T40" fmla="*/ 955 w 9077"/>
              <a:gd name="T41" fmla="*/ 4538 h 10373"/>
              <a:gd name="T42" fmla="*/ 0 w 9077"/>
              <a:gd name="T43" fmla="*/ 4538 h 10373"/>
              <a:gd name="T44" fmla="*/ 0 w 9077"/>
              <a:gd name="T45" fmla="*/ 6558 h 10373"/>
              <a:gd name="T46" fmla="*/ 1222 w 9077"/>
              <a:gd name="T47" fmla="*/ 7781 h 10373"/>
              <a:gd name="T48" fmla="*/ 2343 w 9077"/>
              <a:gd name="T49" fmla="*/ 7781 h 10373"/>
              <a:gd name="T50" fmla="*/ 2593 w 9077"/>
              <a:gd name="T51" fmla="*/ 7531 h 10373"/>
              <a:gd name="T52" fmla="*/ 2593 w 9077"/>
              <a:gd name="T53" fmla="*/ 4788 h 10373"/>
              <a:gd name="T54" fmla="*/ 2343 w 9077"/>
              <a:gd name="T55" fmla="*/ 4538 h 10373"/>
              <a:gd name="T56" fmla="*/ 0 w 9077"/>
              <a:gd name="T57" fmla="*/ 4538 h 10373"/>
              <a:gd name="T58" fmla="*/ 0 w 9077"/>
              <a:gd name="T59" fmla="*/ 4516 h 10373"/>
              <a:gd name="T60" fmla="*/ 4539 w 9077"/>
              <a:gd name="T61" fmla="*/ 0 h 10373"/>
              <a:gd name="T62" fmla="*/ 9077 w 9077"/>
              <a:gd name="T63" fmla="*/ 4516 h 10373"/>
              <a:gd name="T64" fmla="*/ 9077 w 9077"/>
              <a:gd name="T65" fmla="*/ 4538 h 10373"/>
              <a:gd name="T66" fmla="*/ 8582 w 9077"/>
              <a:gd name="T67" fmla="*/ 4538 h 10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077" h="10373">
                <a:moveTo>
                  <a:pt x="8582" y="4538"/>
                </a:moveTo>
                <a:lnTo>
                  <a:pt x="9077" y="4538"/>
                </a:lnTo>
                <a:lnTo>
                  <a:pt x="9077" y="9151"/>
                </a:lnTo>
                <a:cubicBezTo>
                  <a:pt x="9077" y="9826"/>
                  <a:pt x="8530" y="10373"/>
                  <a:pt x="7855" y="10373"/>
                </a:cubicBezTo>
                <a:lnTo>
                  <a:pt x="4789" y="10373"/>
                </a:lnTo>
                <a:cubicBezTo>
                  <a:pt x="4651" y="10373"/>
                  <a:pt x="4539" y="10261"/>
                  <a:pt x="4539" y="10123"/>
                </a:cubicBezTo>
                <a:lnTo>
                  <a:pt x="4539" y="9562"/>
                </a:lnTo>
                <a:cubicBezTo>
                  <a:pt x="4539" y="9425"/>
                  <a:pt x="4651" y="9312"/>
                  <a:pt x="4789" y="9312"/>
                </a:cubicBezTo>
                <a:lnTo>
                  <a:pt x="7532" y="9312"/>
                </a:lnTo>
                <a:cubicBezTo>
                  <a:pt x="7850" y="9312"/>
                  <a:pt x="8106" y="9055"/>
                  <a:pt x="8106" y="8738"/>
                </a:cubicBezTo>
                <a:lnTo>
                  <a:pt x="8106" y="7780"/>
                </a:lnTo>
                <a:lnTo>
                  <a:pt x="6734" y="7780"/>
                </a:lnTo>
                <a:cubicBezTo>
                  <a:pt x="6596" y="7780"/>
                  <a:pt x="6484" y="7667"/>
                  <a:pt x="6484" y="7530"/>
                </a:cubicBezTo>
                <a:lnTo>
                  <a:pt x="6484" y="4788"/>
                </a:lnTo>
                <a:cubicBezTo>
                  <a:pt x="6484" y="4651"/>
                  <a:pt x="6596" y="4538"/>
                  <a:pt x="6734" y="4538"/>
                </a:cubicBezTo>
                <a:lnTo>
                  <a:pt x="8582" y="4538"/>
                </a:lnTo>
                <a:lnTo>
                  <a:pt x="8087" y="4538"/>
                </a:lnTo>
                <a:lnTo>
                  <a:pt x="8087" y="4520"/>
                </a:lnTo>
                <a:cubicBezTo>
                  <a:pt x="8087" y="2560"/>
                  <a:pt x="6491" y="972"/>
                  <a:pt x="4521" y="972"/>
                </a:cubicBezTo>
                <a:cubicBezTo>
                  <a:pt x="2552" y="972"/>
                  <a:pt x="955" y="2561"/>
                  <a:pt x="955" y="4520"/>
                </a:cubicBezTo>
                <a:lnTo>
                  <a:pt x="955" y="4538"/>
                </a:lnTo>
                <a:lnTo>
                  <a:pt x="0" y="4538"/>
                </a:lnTo>
                <a:lnTo>
                  <a:pt x="0" y="6558"/>
                </a:lnTo>
                <a:cubicBezTo>
                  <a:pt x="0" y="7233"/>
                  <a:pt x="547" y="7781"/>
                  <a:pt x="1222" y="7781"/>
                </a:cubicBezTo>
                <a:lnTo>
                  <a:pt x="2343" y="7781"/>
                </a:lnTo>
                <a:cubicBezTo>
                  <a:pt x="2481" y="7781"/>
                  <a:pt x="2593" y="7668"/>
                  <a:pt x="2593" y="7531"/>
                </a:cubicBezTo>
                <a:lnTo>
                  <a:pt x="2593" y="4788"/>
                </a:lnTo>
                <a:cubicBezTo>
                  <a:pt x="2593" y="4651"/>
                  <a:pt x="2481" y="4538"/>
                  <a:pt x="2343" y="4538"/>
                </a:cubicBezTo>
                <a:lnTo>
                  <a:pt x="0" y="4538"/>
                </a:lnTo>
                <a:lnTo>
                  <a:pt x="0" y="4516"/>
                </a:lnTo>
                <a:cubicBezTo>
                  <a:pt x="0" y="2022"/>
                  <a:pt x="2032" y="0"/>
                  <a:pt x="4539" y="0"/>
                </a:cubicBezTo>
                <a:cubicBezTo>
                  <a:pt x="7045" y="0"/>
                  <a:pt x="9077" y="2021"/>
                  <a:pt x="9077" y="4516"/>
                </a:cubicBezTo>
                <a:lnTo>
                  <a:pt x="9077" y="4538"/>
                </a:lnTo>
                <a:lnTo>
                  <a:pt x="8582" y="4538"/>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sp>
        <p:nvSpPr>
          <p:cNvPr id="39" name="user_209046">
            <a:extLst>
              <a:ext uri="{FF2B5EF4-FFF2-40B4-BE49-F238E27FC236}">
                <a16:creationId xmlns:a16="http://schemas.microsoft.com/office/drawing/2014/main" id="{362FD661-0428-4E26-903B-737C4F613833}"/>
              </a:ext>
            </a:extLst>
          </p:cNvPr>
          <p:cNvSpPr/>
          <p:nvPr/>
        </p:nvSpPr>
        <p:spPr>
          <a:xfrm>
            <a:off x="4091139" y="4087106"/>
            <a:ext cx="288021" cy="354706"/>
          </a:xfrm>
          <a:custGeom>
            <a:avLst/>
            <a:gdLst>
              <a:gd name="T0" fmla="*/ 7781 w 8430"/>
              <a:gd name="T1" fmla="*/ 7127 h 10381"/>
              <a:gd name="T2" fmla="*/ 7559 w 8430"/>
              <a:gd name="T3" fmla="*/ 7127 h 10381"/>
              <a:gd name="T4" fmla="*/ 7559 w 8430"/>
              <a:gd name="T5" fmla="*/ 6663 h 10381"/>
              <a:gd name="T6" fmla="*/ 6498 w 8430"/>
              <a:gd name="T7" fmla="*/ 5838 h 10381"/>
              <a:gd name="T8" fmla="*/ 6485 w 8430"/>
              <a:gd name="T9" fmla="*/ 5838 h 10381"/>
              <a:gd name="T10" fmla="*/ 6485 w 8430"/>
              <a:gd name="T11" fmla="*/ 5189 h 10381"/>
              <a:gd name="T12" fmla="*/ 1298 w 8430"/>
              <a:gd name="T13" fmla="*/ 5189 h 10381"/>
              <a:gd name="T14" fmla="*/ 1298 w 8430"/>
              <a:gd name="T15" fmla="*/ 6486 h 10381"/>
              <a:gd name="T16" fmla="*/ 5409 w 8430"/>
              <a:gd name="T17" fmla="*/ 6486 h 10381"/>
              <a:gd name="T18" fmla="*/ 5409 w 8430"/>
              <a:gd name="T19" fmla="*/ 7134 h 10381"/>
              <a:gd name="T20" fmla="*/ 1296 w 8430"/>
              <a:gd name="T21" fmla="*/ 7134 h 10381"/>
              <a:gd name="T22" fmla="*/ 1296 w 8430"/>
              <a:gd name="T23" fmla="*/ 8432 h 10381"/>
              <a:gd name="T24" fmla="*/ 3890 w 8430"/>
              <a:gd name="T25" fmla="*/ 8432 h 10381"/>
              <a:gd name="T26" fmla="*/ 3890 w 8430"/>
              <a:gd name="T27" fmla="*/ 8442 h 10381"/>
              <a:gd name="T28" fmla="*/ 4533 w 8430"/>
              <a:gd name="T29" fmla="*/ 9280 h 10381"/>
              <a:gd name="T30" fmla="*/ 5408 w 8430"/>
              <a:gd name="T31" fmla="*/ 9280 h 10381"/>
              <a:gd name="T32" fmla="*/ 5408 w 8430"/>
              <a:gd name="T33" fmla="*/ 10377 h 10381"/>
              <a:gd name="T34" fmla="*/ 649 w 8430"/>
              <a:gd name="T35" fmla="*/ 10377 h 10381"/>
              <a:gd name="T36" fmla="*/ 0 w 8430"/>
              <a:gd name="T37" fmla="*/ 9728 h 10381"/>
              <a:gd name="T38" fmla="*/ 0 w 8430"/>
              <a:gd name="T39" fmla="*/ 3251 h 10381"/>
              <a:gd name="T40" fmla="*/ 3241 w 8430"/>
              <a:gd name="T41" fmla="*/ 3251 h 10381"/>
              <a:gd name="T42" fmla="*/ 3241 w 8430"/>
              <a:gd name="T43" fmla="*/ 3243 h 10381"/>
              <a:gd name="T44" fmla="*/ 3243 w 8430"/>
              <a:gd name="T45" fmla="*/ 3243 h 10381"/>
              <a:gd name="T46" fmla="*/ 3243 w 8430"/>
              <a:gd name="T47" fmla="*/ 1 h 10381"/>
              <a:gd name="T48" fmla="*/ 7134 w 8430"/>
              <a:gd name="T49" fmla="*/ 1 h 10381"/>
              <a:gd name="T50" fmla="*/ 7783 w 8430"/>
              <a:gd name="T51" fmla="*/ 649 h 10381"/>
              <a:gd name="T52" fmla="*/ 7783 w 8430"/>
              <a:gd name="T53" fmla="*/ 7127 h 10381"/>
              <a:gd name="T54" fmla="*/ 7781 w 8430"/>
              <a:gd name="T55" fmla="*/ 7127 h 10381"/>
              <a:gd name="T56" fmla="*/ 2594 w 8430"/>
              <a:gd name="T57" fmla="*/ 0 h 10381"/>
              <a:gd name="T58" fmla="*/ 2594 w 8430"/>
              <a:gd name="T59" fmla="*/ 2594 h 10381"/>
              <a:gd name="T60" fmla="*/ 0 w 8430"/>
              <a:gd name="T61" fmla="*/ 2594 h 10381"/>
              <a:gd name="T62" fmla="*/ 2594 w 8430"/>
              <a:gd name="T63" fmla="*/ 0 h 10381"/>
              <a:gd name="T64" fmla="*/ 7954 w 8430"/>
              <a:gd name="T65" fmla="*/ 7947 h 10381"/>
              <a:gd name="T66" fmla="*/ 8430 w 8430"/>
              <a:gd name="T67" fmla="*/ 8424 h 10381"/>
              <a:gd name="T68" fmla="*/ 8430 w 8430"/>
              <a:gd name="T69" fmla="*/ 8444 h 10381"/>
              <a:gd name="T70" fmla="*/ 7954 w 8430"/>
              <a:gd name="T71" fmla="*/ 8922 h 10381"/>
              <a:gd name="T72" fmla="*/ 6971 w 8430"/>
              <a:gd name="T73" fmla="*/ 8922 h 10381"/>
              <a:gd name="T74" fmla="*/ 6971 w 8430"/>
              <a:gd name="T75" fmla="*/ 9901 h 10381"/>
              <a:gd name="T76" fmla="*/ 6495 w 8430"/>
              <a:gd name="T77" fmla="*/ 10378 h 10381"/>
              <a:gd name="T78" fmla="*/ 6480 w 8430"/>
              <a:gd name="T79" fmla="*/ 10378 h 10381"/>
              <a:gd name="T80" fmla="*/ 5999 w 8430"/>
              <a:gd name="T81" fmla="*/ 9907 h 10381"/>
              <a:gd name="T82" fmla="*/ 5999 w 8430"/>
              <a:gd name="T83" fmla="*/ 8922 h 10381"/>
              <a:gd name="T84" fmla="*/ 5021 w 8430"/>
              <a:gd name="T85" fmla="*/ 8922 h 10381"/>
              <a:gd name="T86" fmla="*/ 4540 w 8430"/>
              <a:gd name="T87" fmla="*/ 8443 h 10381"/>
              <a:gd name="T88" fmla="*/ 4540 w 8430"/>
              <a:gd name="T89" fmla="*/ 8427 h 10381"/>
              <a:gd name="T90" fmla="*/ 5021 w 8430"/>
              <a:gd name="T91" fmla="*/ 7949 h 10381"/>
              <a:gd name="T92" fmla="*/ 5999 w 8430"/>
              <a:gd name="T93" fmla="*/ 7949 h 10381"/>
              <a:gd name="T94" fmla="*/ 5999 w 8430"/>
              <a:gd name="T95" fmla="*/ 6966 h 10381"/>
              <a:gd name="T96" fmla="*/ 6480 w 8430"/>
              <a:gd name="T97" fmla="*/ 6488 h 10381"/>
              <a:gd name="T98" fmla="*/ 6495 w 8430"/>
              <a:gd name="T99" fmla="*/ 6488 h 10381"/>
              <a:gd name="T100" fmla="*/ 6971 w 8430"/>
              <a:gd name="T101" fmla="*/ 6966 h 10381"/>
              <a:gd name="T102" fmla="*/ 6971 w 8430"/>
              <a:gd name="T103" fmla="*/ 7948 h 10381"/>
              <a:gd name="T104" fmla="*/ 7954 w 8430"/>
              <a:gd name="T105" fmla="*/ 7947 h 103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430" h="10381">
                <a:moveTo>
                  <a:pt x="7781" y="7127"/>
                </a:moveTo>
                <a:lnTo>
                  <a:pt x="7559" y="7127"/>
                </a:lnTo>
                <a:lnTo>
                  <a:pt x="7559" y="6663"/>
                </a:lnTo>
                <a:cubicBezTo>
                  <a:pt x="7559" y="6132"/>
                  <a:pt x="7019" y="5838"/>
                  <a:pt x="6498" y="5838"/>
                </a:cubicBezTo>
                <a:lnTo>
                  <a:pt x="6485" y="5838"/>
                </a:lnTo>
                <a:lnTo>
                  <a:pt x="6485" y="5189"/>
                </a:lnTo>
                <a:lnTo>
                  <a:pt x="1298" y="5189"/>
                </a:lnTo>
                <a:lnTo>
                  <a:pt x="1298" y="6486"/>
                </a:lnTo>
                <a:lnTo>
                  <a:pt x="5409" y="6486"/>
                </a:lnTo>
                <a:lnTo>
                  <a:pt x="5409" y="7134"/>
                </a:lnTo>
                <a:lnTo>
                  <a:pt x="1296" y="7134"/>
                </a:lnTo>
                <a:lnTo>
                  <a:pt x="1296" y="8432"/>
                </a:lnTo>
                <a:lnTo>
                  <a:pt x="3890" y="8432"/>
                </a:lnTo>
                <a:lnTo>
                  <a:pt x="3890" y="8442"/>
                </a:lnTo>
                <a:cubicBezTo>
                  <a:pt x="3890" y="8798"/>
                  <a:pt x="4175" y="9280"/>
                  <a:pt x="4533" y="9280"/>
                </a:cubicBezTo>
                <a:lnTo>
                  <a:pt x="5408" y="9280"/>
                </a:lnTo>
                <a:lnTo>
                  <a:pt x="5408" y="10377"/>
                </a:lnTo>
                <a:lnTo>
                  <a:pt x="649" y="10377"/>
                </a:lnTo>
                <a:cubicBezTo>
                  <a:pt x="290" y="10377"/>
                  <a:pt x="0" y="10087"/>
                  <a:pt x="0" y="9728"/>
                </a:cubicBezTo>
                <a:lnTo>
                  <a:pt x="0" y="3251"/>
                </a:lnTo>
                <a:lnTo>
                  <a:pt x="3241" y="3251"/>
                </a:lnTo>
                <a:lnTo>
                  <a:pt x="3241" y="3243"/>
                </a:lnTo>
                <a:lnTo>
                  <a:pt x="3243" y="3243"/>
                </a:lnTo>
                <a:lnTo>
                  <a:pt x="3243" y="1"/>
                </a:lnTo>
                <a:lnTo>
                  <a:pt x="7134" y="1"/>
                </a:lnTo>
                <a:cubicBezTo>
                  <a:pt x="7493" y="1"/>
                  <a:pt x="7783" y="291"/>
                  <a:pt x="7783" y="649"/>
                </a:cubicBezTo>
                <a:lnTo>
                  <a:pt x="7783" y="7127"/>
                </a:lnTo>
                <a:lnTo>
                  <a:pt x="7781" y="7127"/>
                </a:lnTo>
                <a:close/>
                <a:moveTo>
                  <a:pt x="2594" y="0"/>
                </a:moveTo>
                <a:lnTo>
                  <a:pt x="2594" y="2594"/>
                </a:lnTo>
                <a:lnTo>
                  <a:pt x="0" y="2594"/>
                </a:lnTo>
                <a:lnTo>
                  <a:pt x="2594" y="0"/>
                </a:lnTo>
                <a:close/>
                <a:moveTo>
                  <a:pt x="7954" y="7947"/>
                </a:moveTo>
                <a:cubicBezTo>
                  <a:pt x="8216" y="7947"/>
                  <a:pt x="8430" y="8161"/>
                  <a:pt x="8430" y="8424"/>
                </a:cubicBezTo>
                <a:lnTo>
                  <a:pt x="8430" y="8444"/>
                </a:lnTo>
                <a:cubicBezTo>
                  <a:pt x="8430" y="8707"/>
                  <a:pt x="8216" y="8922"/>
                  <a:pt x="7954" y="8922"/>
                </a:cubicBezTo>
                <a:lnTo>
                  <a:pt x="6971" y="8922"/>
                </a:lnTo>
                <a:lnTo>
                  <a:pt x="6971" y="9901"/>
                </a:lnTo>
                <a:cubicBezTo>
                  <a:pt x="6971" y="10163"/>
                  <a:pt x="6757" y="10378"/>
                  <a:pt x="6495" y="10378"/>
                </a:cubicBezTo>
                <a:lnTo>
                  <a:pt x="6480" y="10378"/>
                </a:lnTo>
                <a:cubicBezTo>
                  <a:pt x="6217" y="10381"/>
                  <a:pt x="6001" y="10171"/>
                  <a:pt x="5999" y="9907"/>
                </a:cubicBezTo>
                <a:lnTo>
                  <a:pt x="5999" y="8922"/>
                </a:lnTo>
                <a:lnTo>
                  <a:pt x="5021" y="8922"/>
                </a:lnTo>
                <a:cubicBezTo>
                  <a:pt x="4756" y="8923"/>
                  <a:pt x="4541" y="8708"/>
                  <a:pt x="4540" y="8443"/>
                </a:cubicBezTo>
                <a:lnTo>
                  <a:pt x="4540" y="8427"/>
                </a:lnTo>
                <a:cubicBezTo>
                  <a:pt x="4544" y="8163"/>
                  <a:pt x="4757" y="7952"/>
                  <a:pt x="5021" y="7949"/>
                </a:cubicBezTo>
                <a:lnTo>
                  <a:pt x="5999" y="7949"/>
                </a:lnTo>
                <a:lnTo>
                  <a:pt x="5999" y="6966"/>
                </a:lnTo>
                <a:cubicBezTo>
                  <a:pt x="5999" y="6702"/>
                  <a:pt x="6212" y="6488"/>
                  <a:pt x="6480" y="6488"/>
                </a:cubicBezTo>
                <a:lnTo>
                  <a:pt x="6495" y="6488"/>
                </a:lnTo>
                <a:cubicBezTo>
                  <a:pt x="6757" y="6488"/>
                  <a:pt x="6971" y="6702"/>
                  <a:pt x="6971" y="6966"/>
                </a:cubicBezTo>
                <a:lnTo>
                  <a:pt x="6971" y="7948"/>
                </a:lnTo>
                <a:lnTo>
                  <a:pt x="7954" y="7947"/>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sp>
        <p:nvSpPr>
          <p:cNvPr id="45" name="椭圆 44">
            <a:extLst>
              <a:ext uri="{FF2B5EF4-FFF2-40B4-BE49-F238E27FC236}">
                <a16:creationId xmlns:a16="http://schemas.microsoft.com/office/drawing/2014/main" id="{702A6D15-38FD-487F-853B-9988C4D11765}"/>
              </a:ext>
            </a:extLst>
          </p:cNvPr>
          <p:cNvSpPr/>
          <p:nvPr/>
        </p:nvSpPr>
        <p:spPr>
          <a:xfrm>
            <a:off x="3869918" y="3894333"/>
            <a:ext cx="730463" cy="730463"/>
          </a:xfrm>
          <a:prstGeom prst="ellipse">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49" name="椭圆 48">
            <a:extLst>
              <a:ext uri="{FF2B5EF4-FFF2-40B4-BE49-F238E27FC236}">
                <a16:creationId xmlns:a16="http://schemas.microsoft.com/office/drawing/2014/main" id="{95C707BF-EF52-4E62-A664-2CA5AA3C43C1}"/>
              </a:ext>
            </a:extLst>
          </p:cNvPr>
          <p:cNvSpPr/>
          <p:nvPr/>
        </p:nvSpPr>
        <p:spPr>
          <a:xfrm>
            <a:off x="8092690" y="3980942"/>
            <a:ext cx="730463" cy="730463"/>
          </a:xfrm>
          <a:prstGeom prst="ellipse">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53" name="椭圆 52">
            <a:extLst>
              <a:ext uri="{FF2B5EF4-FFF2-40B4-BE49-F238E27FC236}">
                <a16:creationId xmlns:a16="http://schemas.microsoft.com/office/drawing/2014/main" id="{49C5728A-D8C6-43AF-8939-C0273E5A06B4}"/>
              </a:ext>
            </a:extLst>
          </p:cNvPr>
          <p:cNvSpPr/>
          <p:nvPr/>
        </p:nvSpPr>
        <p:spPr>
          <a:xfrm>
            <a:off x="7651872" y="2343827"/>
            <a:ext cx="730463" cy="730463"/>
          </a:xfrm>
          <a:prstGeom prst="ellipse">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11" name="任意多边形: 形状 10">
            <a:extLst>
              <a:ext uri="{FF2B5EF4-FFF2-40B4-BE49-F238E27FC236}">
                <a16:creationId xmlns:a16="http://schemas.microsoft.com/office/drawing/2014/main" id="{152F7AF8-7CD3-4DD5-9E59-584D0A70484F}"/>
              </a:ext>
            </a:extLst>
          </p:cNvPr>
          <p:cNvSpPr/>
          <p:nvPr/>
        </p:nvSpPr>
        <p:spPr>
          <a:xfrm>
            <a:off x="1228564" y="1951666"/>
            <a:ext cx="2438400" cy="248576"/>
          </a:xfrm>
          <a:custGeom>
            <a:avLst/>
            <a:gdLst>
              <a:gd name="connsiteX0" fmla="*/ 1962150 w 1962150"/>
              <a:gd name="connsiteY0" fmla="*/ 200025 h 200025"/>
              <a:gd name="connsiteX1" fmla="*/ 1762125 w 1962150"/>
              <a:gd name="connsiteY1" fmla="*/ 0 h 200025"/>
              <a:gd name="connsiteX2" fmla="*/ 0 w 1962150"/>
              <a:gd name="connsiteY2" fmla="*/ 0 h 200025"/>
            </a:gdLst>
            <a:ahLst/>
            <a:cxnLst>
              <a:cxn ang="0">
                <a:pos x="connsiteX0" y="connsiteY0"/>
              </a:cxn>
              <a:cxn ang="0">
                <a:pos x="connsiteX1" y="connsiteY1"/>
              </a:cxn>
              <a:cxn ang="0">
                <a:pos x="connsiteX2" y="connsiteY2"/>
              </a:cxn>
            </a:cxnLst>
            <a:rect l="l" t="t" r="r" b="b"/>
            <a:pathLst>
              <a:path w="1962150" h="200025">
                <a:moveTo>
                  <a:pt x="1962150" y="200025"/>
                </a:moveTo>
                <a:lnTo>
                  <a:pt x="1762125" y="0"/>
                </a:lnTo>
                <a:lnTo>
                  <a:pt x="0" y="0"/>
                </a:lnTo>
              </a:path>
            </a:pathLst>
          </a:cu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5" name="文本框 54">
            <a:extLst>
              <a:ext uri="{FF2B5EF4-FFF2-40B4-BE49-F238E27FC236}">
                <a16:creationId xmlns:a16="http://schemas.microsoft.com/office/drawing/2014/main" id="{D0E4ABC7-FEAA-4112-849C-E5344273FBA4}"/>
              </a:ext>
            </a:extLst>
          </p:cNvPr>
          <p:cNvSpPr txBox="1"/>
          <p:nvPr/>
        </p:nvSpPr>
        <p:spPr>
          <a:xfrm>
            <a:off x="1228564" y="1625186"/>
            <a:ext cx="1282402" cy="307777"/>
          </a:xfrm>
          <a:prstGeom prst="rect">
            <a:avLst/>
          </a:prstGeom>
          <a:noFill/>
        </p:spPr>
        <p:txBody>
          <a:bodyPr wrap="none" lIns="0" tIns="0" rIns="0" bIns="0" rtlCol="0" anchor="t">
            <a:spAutoFit/>
          </a:bodyPr>
          <a:lstStyle/>
          <a:p>
            <a:pPr algn="r"/>
            <a:r>
              <a:rPr lang="zh-CN" altLang="en-US" sz="2000" dirty="0">
                <a:solidFill>
                  <a:schemeClr val="accent1"/>
                </a:solidFill>
                <a:latin typeface="+mj-ea"/>
                <a:ea typeface="+mj-ea"/>
              </a:rPr>
              <a:t>关键词标题</a:t>
            </a:r>
          </a:p>
        </p:txBody>
      </p:sp>
      <p:sp>
        <p:nvSpPr>
          <p:cNvPr id="56" name="文本框 55">
            <a:extLst>
              <a:ext uri="{FF2B5EF4-FFF2-40B4-BE49-F238E27FC236}">
                <a16:creationId xmlns:a16="http://schemas.microsoft.com/office/drawing/2014/main" id="{4E8FA78D-0678-449D-BE56-1F7CC0F79F31}"/>
              </a:ext>
            </a:extLst>
          </p:cNvPr>
          <p:cNvSpPr txBox="1"/>
          <p:nvPr/>
        </p:nvSpPr>
        <p:spPr>
          <a:xfrm>
            <a:off x="1228564" y="2002285"/>
            <a:ext cx="1972410" cy="587340"/>
          </a:xfrm>
          <a:prstGeom prst="rect">
            <a:avLst/>
          </a:prstGeom>
          <a:noFill/>
        </p:spPr>
        <p:txBody>
          <a:bodyPr wrap="square" lIns="0" tIns="0" rIns="0" bIns="0" rtlCol="0" anchor="t">
            <a:spAutoFit/>
          </a:bodyPr>
          <a:lstStyle/>
          <a:p>
            <a:pPr>
              <a:lnSpc>
                <a:spcPct val="130000"/>
              </a:lnSpc>
            </a:pPr>
            <a:r>
              <a:rPr lang="en-US" altLang="zh-CN" sz="1000" b="0" dirty="0">
                <a:solidFill>
                  <a:schemeClr val="tx1">
                    <a:lumMod val="75000"/>
                    <a:lumOff val="25000"/>
                  </a:schemeClr>
                </a:solidFill>
                <a:effectLst/>
                <a:latin typeface="+mn-ea"/>
              </a:rPr>
              <a:t>Lorem ipsum dolor sit amet, consectetur adipisicing elit, sed do eiusmod tempor</a:t>
            </a:r>
            <a:endParaRPr lang="zh-CN" altLang="en-US" sz="1000" b="0" dirty="0">
              <a:solidFill>
                <a:schemeClr val="tx1">
                  <a:lumMod val="75000"/>
                  <a:lumOff val="25000"/>
                </a:schemeClr>
              </a:solidFill>
              <a:effectLst/>
              <a:latin typeface="+mn-ea"/>
            </a:endParaRPr>
          </a:p>
        </p:txBody>
      </p:sp>
      <p:sp>
        <p:nvSpPr>
          <p:cNvPr id="59" name="任意多边形: 形状 58">
            <a:extLst>
              <a:ext uri="{FF2B5EF4-FFF2-40B4-BE49-F238E27FC236}">
                <a16:creationId xmlns:a16="http://schemas.microsoft.com/office/drawing/2014/main" id="{27112EDF-9F3D-4D3B-AC3B-A0EA85568C3C}"/>
              </a:ext>
            </a:extLst>
          </p:cNvPr>
          <p:cNvSpPr/>
          <p:nvPr/>
        </p:nvSpPr>
        <p:spPr>
          <a:xfrm flipV="1">
            <a:off x="1554123" y="4540960"/>
            <a:ext cx="2438400" cy="248576"/>
          </a:xfrm>
          <a:custGeom>
            <a:avLst/>
            <a:gdLst>
              <a:gd name="connsiteX0" fmla="*/ 1962150 w 1962150"/>
              <a:gd name="connsiteY0" fmla="*/ 200025 h 200025"/>
              <a:gd name="connsiteX1" fmla="*/ 1762125 w 1962150"/>
              <a:gd name="connsiteY1" fmla="*/ 0 h 200025"/>
              <a:gd name="connsiteX2" fmla="*/ 0 w 1962150"/>
              <a:gd name="connsiteY2" fmla="*/ 0 h 200025"/>
            </a:gdLst>
            <a:ahLst/>
            <a:cxnLst>
              <a:cxn ang="0">
                <a:pos x="connsiteX0" y="connsiteY0"/>
              </a:cxn>
              <a:cxn ang="0">
                <a:pos x="connsiteX1" y="connsiteY1"/>
              </a:cxn>
              <a:cxn ang="0">
                <a:pos x="connsiteX2" y="connsiteY2"/>
              </a:cxn>
            </a:cxnLst>
            <a:rect l="l" t="t" r="r" b="b"/>
            <a:pathLst>
              <a:path w="1962150" h="200025">
                <a:moveTo>
                  <a:pt x="1962150" y="200025"/>
                </a:moveTo>
                <a:lnTo>
                  <a:pt x="1762125" y="0"/>
                </a:lnTo>
                <a:lnTo>
                  <a:pt x="0" y="0"/>
                </a:lnTo>
              </a:path>
            </a:pathLst>
          </a:cu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0" name="文本框 59">
            <a:extLst>
              <a:ext uri="{FF2B5EF4-FFF2-40B4-BE49-F238E27FC236}">
                <a16:creationId xmlns:a16="http://schemas.microsoft.com/office/drawing/2014/main" id="{8DC27A75-C252-4745-8D24-CB69487C7466}"/>
              </a:ext>
            </a:extLst>
          </p:cNvPr>
          <p:cNvSpPr txBox="1"/>
          <p:nvPr/>
        </p:nvSpPr>
        <p:spPr>
          <a:xfrm>
            <a:off x="1537757" y="4461058"/>
            <a:ext cx="1282402" cy="307777"/>
          </a:xfrm>
          <a:prstGeom prst="rect">
            <a:avLst/>
          </a:prstGeom>
          <a:noFill/>
        </p:spPr>
        <p:txBody>
          <a:bodyPr wrap="none" lIns="0" tIns="0" rIns="0" bIns="0" rtlCol="0" anchor="t">
            <a:spAutoFit/>
          </a:bodyPr>
          <a:lstStyle/>
          <a:p>
            <a:pPr algn="r"/>
            <a:r>
              <a:rPr lang="zh-CN" altLang="en-US" sz="2000" dirty="0">
                <a:solidFill>
                  <a:schemeClr val="accent1"/>
                </a:solidFill>
                <a:latin typeface="+mj-ea"/>
                <a:ea typeface="+mj-ea"/>
              </a:rPr>
              <a:t>关键词标题</a:t>
            </a:r>
          </a:p>
        </p:txBody>
      </p:sp>
      <p:sp>
        <p:nvSpPr>
          <p:cNvPr id="61" name="文本框 60">
            <a:extLst>
              <a:ext uri="{FF2B5EF4-FFF2-40B4-BE49-F238E27FC236}">
                <a16:creationId xmlns:a16="http://schemas.microsoft.com/office/drawing/2014/main" id="{4DB3EBCA-705A-4944-A287-ECFEFF678191}"/>
              </a:ext>
            </a:extLst>
          </p:cNvPr>
          <p:cNvSpPr txBox="1"/>
          <p:nvPr/>
        </p:nvSpPr>
        <p:spPr>
          <a:xfrm>
            <a:off x="1542405" y="4828632"/>
            <a:ext cx="1972410" cy="587340"/>
          </a:xfrm>
          <a:prstGeom prst="rect">
            <a:avLst/>
          </a:prstGeom>
          <a:noFill/>
        </p:spPr>
        <p:txBody>
          <a:bodyPr wrap="square" lIns="0" tIns="0" rIns="0" bIns="0" rtlCol="0" anchor="t">
            <a:spAutoFit/>
          </a:bodyPr>
          <a:lstStyle/>
          <a:p>
            <a:pPr>
              <a:lnSpc>
                <a:spcPct val="130000"/>
              </a:lnSpc>
            </a:pPr>
            <a:r>
              <a:rPr lang="en-US" altLang="zh-CN" sz="1000" b="0" dirty="0">
                <a:solidFill>
                  <a:schemeClr val="tx1">
                    <a:lumMod val="75000"/>
                    <a:lumOff val="25000"/>
                  </a:schemeClr>
                </a:solidFill>
                <a:effectLst/>
                <a:latin typeface="+mn-ea"/>
              </a:rPr>
              <a:t>Lorem ipsum dolor sit amet, consectetur adipisicing elit, sed do eiusmod tempor</a:t>
            </a:r>
            <a:endParaRPr lang="zh-CN" altLang="en-US" sz="1000" b="0" dirty="0">
              <a:solidFill>
                <a:schemeClr val="tx1">
                  <a:lumMod val="75000"/>
                  <a:lumOff val="25000"/>
                </a:schemeClr>
              </a:solidFill>
              <a:effectLst/>
              <a:latin typeface="+mn-ea"/>
            </a:endParaRPr>
          </a:p>
        </p:txBody>
      </p:sp>
      <p:sp>
        <p:nvSpPr>
          <p:cNvPr id="62" name="文本框 61">
            <a:extLst>
              <a:ext uri="{FF2B5EF4-FFF2-40B4-BE49-F238E27FC236}">
                <a16:creationId xmlns:a16="http://schemas.microsoft.com/office/drawing/2014/main" id="{A879EF76-3C24-4CD8-BB0D-5F4968E04D9D}"/>
              </a:ext>
            </a:extLst>
          </p:cNvPr>
          <p:cNvSpPr txBox="1"/>
          <p:nvPr/>
        </p:nvSpPr>
        <p:spPr>
          <a:xfrm>
            <a:off x="1228564" y="1625242"/>
            <a:ext cx="1282402" cy="307777"/>
          </a:xfrm>
          <a:prstGeom prst="rect">
            <a:avLst/>
          </a:prstGeom>
          <a:noFill/>
        </p:spPr>
        <p:txBody>
          <a:bodyPr wrap="none" lIns="0" tIns="0" rIns="0" bIns="0" rtlCol="0" anchor="t">
            <a:spAutoFit/>
          </a:bodyPr>
          <a:lstStyle/>
          <a:p>
            <a:pPr algn="r"/>
            <a:r>
              <a:rPr lang="zh-CN" altLang="en-US" sz="2000" dirty="0">
                <a:solidFill>
                  <a:schemeClr val="accent1"/>
                </a:solidFill>
                <a:latin typeface="+mj-ea"/>
                <a:ea typeface="+mj-ea"/>
              </a:rPr>
              <a:t>关键词标题</a:t>
            </a:r>
          </a:p>
        </p:txBody>
      </p:sp>
      <p:sp>
        <p:nvSpPr>
          <p:cNvPr id="63" name="任意多边形: 形状 62">
            <a:extLst>
              <a:ext uri="{FF2B5EF4-FFF2-40B4-BE49-F238E27FC236}">
                <a16:creationId xmlns:a16="http://schemas.microsoft.com/office/drawing/2014/main" id="{690FB621-0570-41D1-AB9F-9C0976FE0B89}"/>
              </a:ext>
            </a:extLst>
          </p:cNvPr>
          <p:cNvSpPr/>
          <p:nvPr/>
        </p:nvSpPr>
        <p:spPr>
          <a:xfrm flipH="1">
            <a:off x="8277474" y="2197684"/>
            <a:ext cx="2438400" cy="248576"/>
          </a:xfrm>
          <a:custGeom>
            <a:avLst/>
            <a:gdLst>
              <a:gd name="connsiteX0" fmla="*/ 1962150 w 1962150"/>
              <a:gd name="connsiteY0" fmla="*/ 200025 h 200025"/>
              <a:gd name="connsiteX1" fmla="*/ 1762125 w 1962150"/>
              <a:gd name="connsiteY1" fmla="*/ 0 h 200025"/>
              <a:gd name="connsiteX2" fmla="*/ 0 w 1962150"/>
              <a:gd name="connsiteY2" fmla="*/ 0 h 200025"/>
            </a:gdLst>
            <a:ahLst/>
            <a:cxnLst>
              <a:cxn ang="0">
                <a:pos x="connsiteX0" y="connsiteY0"/>
              </a:cxn>
              <a:cxn ang="0">
                <a:pos x="connsiteX1" y="connsiteY1"/>
              </a:cxn>
              <a:cxn ang="0">
                <a:pos x="connsiteX2" y="connsiteY2"/>
              </a:cxn>
            </a:cxnLst>
            <a:rect l="l" t="t" r="r" b="b"/>
            <a:pathLst>
              <a:path w="1962150" h="200025">
                <a:moveTo>
                  <a:pt x="1962150" y="200025"/>
                </a:moveTo>
                <a:lnTo>
                  <a:pt x="1762125" y="0"/>
                </a:lnTo>
                <a:lnTo>
                  <a:pt x="0" y="0"/>
                </a:lnTo>
              </a:path>
            </a:pathLst>
          </a:cu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4" name="文本框 63">
            <a:extLst>
              <a:ext uri="{FF2B5EF4-FFF2-40B4-BE49-F238E27FC236}">
                <a16:creationId xmlns:a16="http://schemas.microsoft.com/office/drawing/2014/main" id="{BE000D1C-7C1D-4B75-AF24-487BEFADF18E}"/>
              </a:ext>
            </a:extLst>
          </p:cNvPr>
          <p:cNvSpPr txBox="1"/>
          <p:nvPr/>
        </p:nvSpPr>
        <p:spPr>
          <a:xfrm>
            <a:off x="8743464" y="2253446"/>
            <a:ext cx="1972410" cy="587340"/>
          </a:xfrm>
          <a:prstGeom prst="rect">
            <a:avLst/>
          </a:prstGeom>
          <a:noFill/>
        </p:spPr>
        <p:txBody>
          <a:bodyPr wrap="square" lIns="0" tIns="0" rIns="0" bIns="0" rtlCol="0" anchor="t">
            <a:spAutoFit/>
          </a:bodyPr>
          <a:lstStyle/>
          <a:p>
            <a:pPr algn="r">
              <a:lnSpc>
                <a:spcPct val="130000"/>
              </a:lnSpc>
            </a:pPr>
            <a:r>
              <a:rPr lang="en-US" altLang="zh-CN" sz="1000" b="0" dirty="0">
                <a:solidFill>
                  <a:schemeClr val="tx1">
                    <a:lumMod val="75000"/>
                    <a:lumOff val="25000"/>
                  </a:schemeClr>
                </a:solidFill>
                <a:effectLst/>
                <a:latin typeface="+mn-ea"/>
              </a:rPr>
              <a:t>Lorem ipsum dolor sit amet, consectetur adipisicing elit, sed do eiusmod tempor</a:t>
            </a:r>
            <a:endParaRPr lang="zh-CN" altLang="en-US" sz="1000" b="0" dirty="0">
              <a:solidFill>
                <a:schemeClr val="tx1">
                  <a:lumMod val="75000"/>
                  <a:lumOff val="25000"/>
                </a:schemeClr>
              </a:solidFill>
              <a:effectLst/>
              <a:latin typeface="+mn-ea"/>
            </a:endParaRPr>
          </a:p>
        </p:txBody>
      </p:sp>
      <p:sp>
        <p:nvSpPr>
          <p:cNvPr id="65" name="文本框 64">
            <a:extLst>
              <a:ext uri="{FF2B5EF4-FFF2-40B4-BE49-F238E27FC236}">
                <a16:creationId xmlns:a16="http://schemas.microsoft.com/office/drawing/2014/main" id="{6D34A7F4-BE1E-4DF1-9730-EAC8D78DB5D4}"/>
              </a:ext>
            </a:extLst>
          </p:cNvPr>
          <p:cNvSpPr txBox="1"/>
          <p:nvPr/>
        </p:nvSpPr>
        <p:spPr>
          <a:xfrm>
            <a:off x="9433472" y="1889907"/>
            <a:ext cx="1282402" cy="307777"/>
          </a:xfrm>
          <a:prstGeom prst="rect">
            <a:avLst/>
          </a:prstGeom>
          <a:noFill/>
        </p:spPr>
        <p:txBody>
          <a:bodyPr wrap="none" lIns="0" tIns="0" rIns="0" bIns="0" rtlCol="0" anchor="t">
            <a:spAutoFit/>
          </a:bodyPr>
          <a:lstStyle/>
          <a:p>
            <a:pPr algn="r"/>
            <a:r>
              <a:rPr lang="zh-CN" altLang="en-US" sz="2000" dirty="0">
                <a:solidFill>
                  <a:schemeClr val="accent1"/>
                </a:solidFill>
                <a:latin typeface="+mj-ea"/>
                <a:ea typeface="+mj-ea"/>
              </a:rPr>
              <a:t>关键词标题</a:t>
            </a:r>
          </a:p>
        </p:txBody>
      </p:sp>
      <p:sp>
        <p:nvSpPr>
          <p:cNvPr id="69" name="任意多边形: 形状 68">
            <a:extLst>
              <a:ext uri="{FF2B5EF4-FFF2-40B4-BE49-F238E27FC236}">
                <a16:creationId xmlns:a16="http://schemas.microsoft.com/office/drawing/2014/main" id="{417DEE68-FCDC-4E39-A9BE-9A4EA031EDFC}"/>
              </a:ext>
            </a:extLst>
          </p:cNvPr>
          <p:cNvSpPr/>
          <p:nvPr/>
        </p:nvSpPr>
        <p:spPr>
          <a:xfrm flipH="1" flipV="1">
            <a:off x="8707008" y="4593339"/>
            <a:ext cx="2438400" cy="248576"/>
          </a:xfrm>
          <a:custGeom>
            <a:avLst/>
            <a:gdLst>
              <a:gd name="connsiteX0" fmla="*/ 1962150 w 1962150"/>
              <a:gd name="connsiteY0" fmla="*/ 200025 h 200025"/>
              <a:gd name="connsiteX1" fmla="*/ 1762125 w 1962150"/>
              <a:gd name="connsiteY1" fmla="*/ 0 h 200025"/>
              <a:gd name="connsiteX2" fmla="*/ 0 w 1962150"/>
              <a:gd name="connsiteY2" fmla="*/ 0 h 200025"/>
            </a:gdLst>
            <a:ahLst/>
            <a:cxnLst>
              <a:cxn ang="0">
                <a:pos x="connsiteX0" y="connsiteY0"/>
              </a:cxn>
              <a:cxn ang="0">
                <a:pos x="connsiteX1" y="connsiteY1"/>
              </a:cxn>
              <a:cxn ang="0">
                <a:pos x="connsiteX2" y="connsiteY2"/>
              </a:cxn>
            </a:cxnLst>
            <a:rect l="l" t="t" r="r" b="b"/>
            <a:pathLst>
              <a:path w="1962150" h="200025">
                <a:moveTo>
                  <a:pt x="1962150" y="200025"/>
                </a:moveTo>
                <a:lnTo>
                  <a:pt x="1762125" y="0"/>
                </a:lnTo>
                <a:lnTo>
                  <a:pt x="0" y="0"/>
                </a:lnTo>
              </a:path>
            </a:pathLst>
          </a:cu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0" name="文本框 69">
            <a:extLst>
              <a:ext uri="{FF2B5EF4-FFF2-40B4-BE49-F238E27FC236}">
                <a16:creationId xmlns:a16="http://schemas.microsoft.com/office/drawing/2014/main" id="{6B3C0806-5B64-4243-9DD8-4EDFA410187C}"/>
              </a:ext>
            </a:extLst>
          </p:cNvPr>
          <p:cNvSpPr txBox="1"/>
          <p:nvPr/>
        </p:nvSpPr>
        <p:spPr>
          <a:xfrm>
            <a:off x="9172998" y="4887530"/>
            <a:ext cx="1972410" cy="587340"/>
          </a:xfrm>
          <a:prstGeom prst="rect">
            <a:avLst/>
          </a:prstGeom>
          <a:noFill/>
        </p:spPr>
        <p:txBody>
          <a:bodyPr wrap="square" lIns="0" tIns="0" rIns="0" bIns="0" rtlCol="0" anchor="t">
            <a:spAutoFit/>
          </a:bodyPr>
          <a:lstStyle/>
          <a:p>
            <a:pPr algn="r">
              <a:lnSpc>
                <a:spcPct val="130000"/>
              </a:lnSpc>
            </a:pPr>
            <a:r>
              <a:rPr lang="en-US" altLang="zh-CN" sz="1000" b="0" dirty="0">
                <a:solidFill>
                  <a:schemeClr val="tx1">
                    <a:lumMod val="75000"/>
                    <a:lumOff val="25000"/>
                  </a:schemeClr>
                </a:solidFill>
                <a:effectLst/>
                <a:latin typeface="+mn-ea"/>
              </a:rPr>
              <a:t>Lorem ipsum dolor sit amet, consectetur adipisicing elit, sed do eiusmod tempor</a:t>
            </a:r>
            <a:endParaRPr lang="zh-CN" altLang="en-US" sz="1000" b="0" dirty="0">
              <a:solidFill>
                <a:schemeClr val="tx1">
                  <a:lumMod val="75000"/>
                  <a:lumOff val="25000"/>
                </a:schemeClr>
              </a:solidFill>
              <a:effectLst/>
              <a:latin typeface="+mn-ea"/>
            </a:endParaRPr>
          </a:p>
        </p:txBody>
      </p:sp>
      <p:sp>
        <p:nvSpPr>
          <p:cNvPr id="71" name="文本框 70">
            <a:extLst>
              <a:ext uri="{FF2B5EF4-FFF2-40B4-BE49-F238E27FC236}">
                <a16:creationId xmlns:a16="http://schemas.microsoft.com/office/drawing/2014/main" id="{6D9F0B69-FF2C-42A0-A4BA-F0ED00B992F2}"/>
              </a:ext>
            </a:extLst>
          </p:cNvPr>
          <p:cNvSpPr txBox="1"/>
          <p:nvPr/>
        </p:nvSpPr>
        <p:spPr>
          <a:xfrm>
            <a:off x="9848867" y="4523991"/>
            <a:ext cx="1282402" cy="307777"/>
          </a:xfrm>
          <a:prstGeom prst="rect">
            <a:avLst/>
          </a:prstGeom>
          <a:noFill/>
        </p:spPr>
        <p:txBody>
          <a:bodyPr wrap="none" lIns="0" tIns="0" rIns="0" bIns="0" rtlCol="0" anchor="t">
            <a:spAutoFit/>
          </a:bodyPr>
          <a:lstStyle/>
          <a:p>
            <a:pPr algn="r"/>
            <a:r>
              <a:rPr lang="zh-CN" altLang="en-US" sz="2000" dirty="0">
                <a:solidFill>
                  <a:schemeClr val="accent1"/>
                </a:solidFill>
                <a:latin typeface="+mj-ea"/>
                <a:ea typeface="+mj-ea"/>
              </a:rPr>
              <a:t>关键词标题</a:t>
            </a:r>
          </a:p>
        </p:txBody>
      </p:sp>
      <p:sp>
        <p:nvSpPr>
          <p:cNvPr id="13" name="椭圆 12">
            <a:extLst>
              <a:ext uri="{FF2B5EF4-FFF2-40B4-BE49-F238E27FC236}">
                <a16:creationId xmlns:a16="http://schemas.microsoft.com/office/drawing/2014/main" id="{9F3813BD-36D6-44FB-9B3A-72172EC784C7}"/>
              </a:ext>
            </a:extLst>
          </p:cNvPr>
          <p:cNvSpPr/>
          <p:nvPr/>
        </p:nvSpPr>
        <p:spPr>
          <a:xfrm>
            <a:off x="5114753" y="4201432"/>
            <a:ext cx="134348" cy="13434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72" name="椭圆 71">
            <a:extLst>
              <a:ext uri="{FF2B5EF4-FFF2-40B4-BE49-F238E27FC236}">
                <a16:creationId xmlns:a16="http://schemas.microsoft.com/office/drawing/2014/main" id="{A1E9726A-1593-4E23-95DC-D4D20F1C01C9}"/>
              </a:ext>
            </a:extLst>
          </p:cNvPr>
          <p:cNvSpPr/>
          <p:nvPr/>
        </p:nvSpPr>
        <p:spPr>
          <a:xfrm>
            <a:off x="7394735" y="3905854"/>
            <a:ext cx="85424" cy="8542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73" name="椭圆 72">
            <a:extLst>
              <a:ext uri="{FF2B5EF4-FFF2-40B4-BE49-F238E27FC236}">
                <a16:creationId xmlns:a16="http://schemas.microsoft.com/office/drawing/2014/main" id="{A0EBAC8D-3FB7-4F59-901B-9E2D8C6BEFAA}"/>
              </a:ext>
            </a:extLst>
          </p:cNvPr>
          <p:cNvSpPr/>
          <p:nvPr/>
        </p:nvSpPr>
        <p:spPr>
          <a:xfrm>
            <a:off x="3720801" y="3197511"/>
            <a:ext cx="85424" cy="8542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Tree>
    <p:custDataLst>
      <p:tags r:id="rId2"/>
    </p:custDataLst>
    <p:extLst>
      <p:ext uri="{BB962C8B-B14F-4D97-AF65-F5344CB8AC3E}">
        <p14:creationId xmlns:p14="http://schemas.microsoft.com/office/powerpoint/2010/main" val="1755615675"/>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任意多边形: 形状 25">
            <a:extLst>
              <a:ext uri="{FF2B5EF4-FFF2-40B4-BE49-F238E27FC236}">
                <a16:creationId xmlns:a16="http://schemas.microsoft.com/office/drawing/2014/main" id="{B8ADF459-A51D-4A64-848D-9A273A34FE25}"/>
              </a:ext>
            </a:extLst>
          </p:cNvPr>
          <p:cNvSpPr/>
          <p:nvPr/>
        </p:nvSpPr>
        <p:spPr>
          <a:xfrm>
            <a:off x="0" y="3864433"/>
            <a:ext cx="12192000" cy="1387722"/>
          </a:xfrm>
          <a:custGeom>
            <a:avLst/>
            <a:gdLst>
              <a:gd name="connsiteX0" fmla="*/ 0 w 12192000"/>
              <a:gd name="connsiteY0" fmla="*/ 0 h 1387722"/>
              <a:gd name="connsiteX1" fmla="*/ 12192000 w 12192000"/>
              <a:gd name="connsiteY1" fmla="*/ 300475 h 1387722"/>
              <a:gd name="connsiteX2" fmla="*/ 12192000 w 12192000"/>
              <a:gd name="connsiteY2" fmla="*/ 1173241 h 1387722"/>
              <a:gd name="connsiteX3" fmla="*/ 11484881 w 12192000"/>
              <a:gd name="connsiteY3" fmla="*/ 1258380 h 1387722"/>
              <a:gd name="connsiteX4" fmla="*/ 8362950 w 12192000"/>
              <a:gd name="connsiteY4" fmla="*/ 1355267 h 1387722"/>
              <a:gd name="connsiteX5" fmla="*/ 2962275 w 12192000"/>
              <a:gd name="connsiteY5" fmla="*/ 536117 h 1387722"/>
              <a:gd name="connsiteX6" fmla="*/ 126406 w 12192000"/>
              <a:gd name="connsiteY6" fmla="*/ 1146187 h 1387722"/>
              <a:gd name="connsiteX7" fmla="*/ 0 w 12192000"/>
              <a:gd name="connsiteY7" fmla="*/ 1201332 h 1387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1387722">
                <a:moveTo>
                  <a:pt x="0" y="0"/>
                </a:moveTo>
                <a:lnTo>
                  <a:pt x="12192000" y="300475"/>
                </a:lnTo>
                <a:lnTo>
                  <a:pt x="12192000" y="1173241"/>
                </a:lnTo>
                <a:lnTo>
                  <a:pt x="11484881" y="1258380"/>
                </a:lnTo>
                <a:cubicBezTo>
                  <a:pt x="10538669" y="1363006"/>
                  <a:pt x="9545241" y="1431467"/>
                  <a:pt x="8362950" y="1355267"/>
                </a:cubicBezTo>
                <a:cubicBezTo>
                  <a:pt x="6786563" y="1253667"/>
                  <a:pt x="4389437" y="547229"/>
                  <a:pt x="2962275" y="536117"/>
                </a:cubicBezTo>
                <a:cubicBezTo>
                  <a:pt x="1713508" y="526394"/>
                  <a:pt x="893180" y="817489"/>
                  <a:pt x="126406" y="1146187"/>
                </a:cubicBezTo>
                <a:lnTo>
                  <a:pt x="0" y="1201332"/>
                </a:lnTo>
                <a:close/>
              </a:path>
            </a:pathLst>
          </a:cu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6000" dirty="0"/>
          </a:p>
        </p:txBody>
      </p:sp>
      <p:sp>
        <p:nvSpPr>
          <p:cNvPr id="24" name="任意多边形: 形状 23">
            <a:extLst>
              <a:ext uri="{FF2B5EF4-FFF2-40B4-BE49-F238E27FC236}">
                <a16:creationId xmlns:a16="http://schemas.microsoft.com/office/drawing/2014/main" id="{13CBB28E-EC22-41EA-AE2B-F937A34CD040}"/>
              </a:ext>
            </a:extLst>
          </p:cNvPr>
          <p:cNvSpPr/>
          <p:nvPr/>
        </p:nvSpPr>
        <p:spPr>
          <a:xfrm>
            <a:off x="0" y="1"/>
            <a:ext cx="12192000" cy="4976621"/>
          </a:xfrm>
          <a:custGeom>
            <a:avLst/>
            <a:gdLst>
              <a:gd name="connsiteX0" fmla="*/ 0 w 12192000"/>
              <a:gd name="connsiteY0" fmla="*/ 0 h 4976621"/>
              <a:gd name="connsiteX1" fmla="*/ 12192000 w 12192000"/>
              <a:gd name="connsiteY1" fmla="*/ 0 h 4976621"/>
              <a:gd name="connsiteX2" fmla="*/ 12192000 w 12192000"/>
              <a:gd name="connsiteY2" fmla="*/ 4660620 h 4976621"/>
              <a:gd name="connsiteX3" fmla="*/ 0 w 12192000"/>
              <a:gd name="connsiteY3" fmla="*/ 4660620 h 4976621"/>
            </a:gdLst>
            <a:ahLst/>
            <a:cxnLst>
              <a:cxn ang="0">
                <a:pos x="connsiteX0" y="connsiteY0"/>
              </a:cxn>
              <a:cxn ang="0">
                <a:pos x="connsiteX1" y="connsiteY1"/>
              </a:cxn>
              <a:cxn ang="0">
                <a:pos x="connsiteX2" y="connsiteY2"/>
              </a:cxn>
              <a:cxn ang="0">
                <a:pos x="connsiteX3" y="connsiteY3"/>
              </a:cxn>
            </a:cxnLst>
            <a:rect l="l" t="t" r="r" b="b"/>
            <a:pathLst>
              <a:path w="12192000" h="4976621">
                <a:moveTo>
                  <a:pt x="0" y="0"/>
                </a:moveTo>
                <a:lnTo>
                  <a:pt x="12192000" y="0"/>
                </a:lnTo>
                <a:lnTo>
                  <a:pt x="12192000" y="4660620"/>
                </a:lnTo>
                <a:cubicBezTo>
                  <a:pt x="8128000" y="5755282"/>
                  <a:pt x="4064000" y="3565959"/>
                  <a:pt x="0" y="4660620"/>
                </a:cubicBezTo>
                <a:close/>
              </a:path>
            </a:pathLst>
          </a:custGeom>
          <a:gradFill>
            <a:gsLst>
              <a:gs pos="100000">
                <a:schemeClr val="accent1"/>
              </a:gs>
              <a:gs pos="0">
                <a:schemeClr val="accent1">
                  <a:lumMod val="60000"/>
                  <a:lumOff val="40000"/>
                </a:scheme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6000" dirty="0"/>
          </a:p>
        </p:txBody>
      </p:sp>
      <p:sp>
        <p:nvSpPr>
          <p:cNvPr id="11" name="文本框 10">
            <a:extLst>
              <a:ext uri="{FF2B5EF4-FFF2-40B4-BE49-F238E27FC236}">
                <a16:creationId xmlns:a16="http://schemas.microsoft.com/office/drawing/2014/main" id="{E4393356-E9A7-46D9-B5F5-0D21EC991A29}"/>
              </a:ext>
            </a:extLst>
          </p:cNvPr>
          <p:cNvSpPr txBox="1"/>
          <p:nvPr/>
        </p:nvSpPr>
        <p:spPr>
          <a:xfrm>
            <a:off x="1941017" y="1812068"/>
            <a:ext cx="8309967" cy="1107996"/>
          </a:xfrm>
          <a:prstGeom prst="rect">
            <a:avLst/>
          </a:prstGeom>
          <a:noFill/>
        </p:spPr>
        <p:txBody>
          <a:bodyPr wrap="none" lIns="0" tIns="0" rIns="0" bIns="0" rtlCol="0" anchor="t">
            <a:spAutoFit/>
          </a:bodyPr>
          <a:lstStyle/>
          <a:p>
            <a:pPr algn="ctr"/>
            <a:r>
              <a:rPr lang="zh-CN" altLang="en-US" sz="7200" dirty="0">
                <a:solidFill>
                  <a:schemeClr val="bg1"/>
                </a:solidFill>
                <a:latin typeface="+mj-ea"/>
                <a:ea typeface="+mj-ea"/>
              </a:rPr>
              <a:t>输入你的封面大标题</a:t>
            </a:r>
          </a:p>
        </p:txBody>
      </p:sp>
      <p:sp>
        <p:nvSpPr>
          <p:cNvPr id="12" name="文本框 11">
            <a:extLst>
              <a:ext uri="{FF2B5EF4-FFF2-40B4-BE49-F238E27FC236}">
                <a16:creationId xmlns:a16="http://schemas.microsoft.com/office/drawing/2014/main" id="{08D1ED60-C0E7-408E-A5AA-59B489440FCB}"/>
              </a:ext>
            </a:extLst>
          </p:cNvPr>
          <p:cNvSpPr txBox="1"/>
          <p:nvPr/>
        </p:nvSpPr>
        <p:spPr>
          <a:xfrm>
            <a:off x="4095451" y="1274144"/>
            <a:ext cx="4001095" cy="369332"/>
          </a:xfrm>
          <a:prstGeom prst="rect">
            <a:avLst/>
          </a:prstGeom>
          <a:noFill/>
        </p:spPr>
        <p:txBody>
          <a:bodyPr wrap="none" lIns="0" tIns="0" rIns="0" bIns="0" rtlCol="0" anchor="t">
            <a:spAutoFit/>
          </a:bodyPr>
          <a:lstStyle/>
          <a:p>
            <a:pPr algn="ctr"/>
            <a:r>
              <a:rPr lang="zh-CN" altLang="en-US" sz="2400" dirty="0">
                <a:solidFill>
                  <a:schemeClr val="bg1"/>
                </a:solidFill>
                <a:latin typeface="+mn-ea"/>
              </a:rPr>
              <a:t>输入你的副标题或大标题英文</a:t>
            </a:r>
          </a:p>
        </p:txBody>
      </p:sp>
      <p:cxnSp>
        <p:nvCxnSpPr>
          <p:cNvPr id="14" name="直接连接符 13">
            <a:extLst>
              <a:ext uri="{FF2B5EF4-FFF2-40B4-BE49-F238E27FC236}">
                <a16:creationId xmlns:a16="http://schemas.microsoft.com/office/drawing/2014/main" id="{99FDF5DC-EAFA-4C3B-B052-660243EB047F}"/>
              </a:ext>
            </a:extLst>
          </p:cNvPr>
          <p:cNvCxnSpPr/>
          <p:nvPr/>
        </p:nvCxnSpPr>
        <p:spPr>
          <a:xfrm flipH="1">
            <a:off x="2029968" y="1464596"/>
            <a:ext cx="1901952"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 name="直接连接符 14">
            <a:extLst>
              <a:ext uri="{FF2B5EF4-FFF2-40B4-BE49-F238E27FC236}">
                <a16:creationId xmlns:a16="http://schemas.microsoft.com/office/drawing/2014/main" id="{C6CC629A-E754-4728-BB95-563C56597B63}"/>
              </a:ext>
            </a:extLst>
          </p:cNvPr>
          <p:cNvCxnSpPr/>
          <p:nvPr/>
        </p:nvCxnSpPr>
        <p:spPr>
          <a:xfrm flipH="1">
            <a:off x="8284464" y="1464596"/>
            <a:ext cx="1901952"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grpSp>
        <p:nvGrpSpPr>
          <p:cNvPr id="18" name="组合 17">
            <a:extLst>
              <a:ext uri="{FF2B5EF4-FFF2-40B4-BE49-F238E27FC236}">
                <a16:creationId xmlns:a16="http://schemas.microsoft.com/office/drawing/2014/main" id="{FC799265-AC15-410F-82A2-679AB60B288F}"/>
              </a:ext>
            </a:extLst>
          </p:cNvPr>
          <p:cNvGrpSpPr/>
          <p:nvPr/>
        </p:nvGrpSpPr>
        <p:grpSpPr>
          <a:xfrm>
            <a:off x="4331702" y="3267535"/>
            <a:ext cx="1475214" cy="246221"/>
            <a:chOff x="4095451" y="4640913"/>
            <a:chExt cx="1475214" cy="246221"/>
          </a:xfrm>
        </p:grpSpPr>
        <p:sp>
          <p:nvSpPr>
            <p:cNvPr id="16" name="矩形 15">
              <a:extLst>
                <a:ext uri="{FF2B5EF4-FFF2-40B4-BE49-F238E27FC236}">
                  <a16:creationId xmlns:a16="http://schemas.microsoft.com/office/drawing/2014/main" id="{74C493E7-1B47-4349-BC5B-BF3163490795}"/>
                </a:ext>
              </a:extLst>
            </p:cNvPr>
            <p:cNvSpPr/>
            <p:nvPr/>
          </p:nvSpPr>
          <p:spPr>
            <a:xfrm>
              <a:off x="4095451" y="4672584"/>
              <a:ext cx="164592" cy="1645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solidFill>
                  <a:schemeClr val="bg1"/>
                </a:solidFill>
              </a:endParaRPr>
            </a:p>
          </p:txBody>
        </p:sp>
        <p:sp>
          <p:nvSpPr>
            <p:cNvPr id="17" name="文本框 16">
              <a:extLst>
                <a:ext uri="{FF2B5EF4-FFF2-40B4-BE49-F238E27FC236}">
                  <a16:creationId xmlns:a16="http://schemas.microsoft.com/office/drawing/2014/main" id="{B804F6AA-7656-4EF8-84F0-3B3FB5CF0922}"/>
                </a:ext>
              </a:extLst>
            </p:cNvPr>
            <p:cNvSpPr txBox="1"/>
            <p:nvPr/>
          </p:nvSpPr>
          <p:spPr>
            <a:xfrm>
              <a:off x="4408487" y="4640913"/>
              <a:ext cx="1162178" cy="246221"/>
            </a:xfrm>
            <a:prstGeom prst="rect">
              <a:avLst/>
            </a:prstGeom>
            <a:noFill/>
          </p:spPr>
          <p:txBody>
            <a:bodyPr wrap="none" lIns="0" tIns="0" rIns="0" bIns="0" rtlCol="0" anchor="t">
              <a:spAutoFit/>
            </a:bodyPr>
            <a:lstStyle/>
            <a:p>
              <a:r>
                <a:rPr lang="zh-CN" altLang="en-US" sz="1600" dirty="0">
                  <a:solidFill>
                    <a:schemeClr val="bg1"/>
                  </a:solidFill>
                  <a:latin typeface="+mn-ea"/>
                </a:rPr>
                <a:t>汇报人：</a:t>
              </a:r>
              <a:r>
                <a:rPr lang="en-US" altLang="zh-CN" sz="1600" dirty="0">
                  <a:solidFill>
                    <a:schemeClr val="bg1"/>
                  </a:solidFill>
                  <a:latin typeface="+mn-ea"/>
                </a:rPr>
                <a:t>xxx</a:t>
              </a:r>
              <a:endParaRPr lang="zh-CN" altLang="en-US" sz="1600" dirty="0">
                <a:solidFill>
                  <a:schemeClr val="bg1"/>
                </a:solidFill>
                <a:latin typeface="+mn-ea"/>
              </a:endParaRPr>
            </a:p>
          </p:txBody>
        </p:sp>
      </p:grpSp>
      <p:grpSp>
        <p:nvGrpSpPr>
          <p:cNvPr id="19" name="组合 18">
            <a:extLst>
              <a:ext uri="{FF2B5EF4-FFF2-40B4-BE49-F238E27FC236}">
                <a16:creationId xmlns:a16="http://schemas.microsoft.com/office/drawing/2014/main" id="{482B1619-178E-45D1-BC39-C5F4314075B6}"/>
              </a:ext>
            </a:extLst>
          </p:cNvPr>
          <p:cNvGrpSpPr/>
          <p:nvPr/>
        </p:nvGrpSpPr>
        <p:grpSpPr>
          <a:xfrm>
            <a:off x="6590270" y="3267535"/>
            <a:ext cx="1270029" cy="246221"/>
            <a:chOff x="4095451" y="4640913"/>
            <a:chExt cx="1270029" cy="246221"/>
          </a:xfrm>
        </p:grpSpPr>
        <p:sp>
          <p:nvSpPr>
            <p:cNvPr id="20" name="矩形 19">
              <a:extLst>
                <a:ext uri="{FF2B5EF4-FFF2-40B4-BE49-F238E27FC236}">
                  <a16:creationId xmlns:a16="http://schemas.microsoft.com/office/drawing/2014/main" id="{3A1AE345-38CE-49BE-9E58-2C20078777A3}"/>
                </a:ext>
              </a:extLst>
            </p:cNvPr>
            <p:cNvSpPr/>
            <p:nvPr/>
          </p:nvSpPr>
          <p:spPr>
            <a:xfrm>
              <a:off x="4095451" y="4672584"/>
              <a:ext cx="164592" cy="1645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solidFill>
                  <a:schemeClr val="bg1"/>
                </a:solidFill>
              </a:endParaRPr>
            </a:p>
          </p:txBody>
        </p:sp>
        <p:sp>
          <p:nvSpPr>
            <p:cNvPr id="21" name="文本框 20">
              <a:extLst>
                <a:ext uri="{FF2B5EF4-FFF2-40B4-BE49-F238E27FC236}">
                  <a16:creationId xmlns:a16="http://schemas.microsoft.com/office/drawing/2014/main" id="{FCC3031D-C171-43E7-B549-82FC96054817}"/>
                </a:ext>
              </a:extLst>
            </p:cNvPr>
            <p:cNvSpPr txBox="1"/>
            <p:nvPr/>
          </p:nvSpPr>
          <p:spPr>
            <a:xfrm>
              <a:off x="4408487" y="4640913"/>
              <a:ext cx="956993" cy="246221"/>
            </a:xfrm>
            <a:prstGeom prst="rect">
              <a:avLst/>
            </a:prstGeom>
            <a:noFill/>
          </p:spPr>
          <p:txBody>
            <a:bodyPr wrap="none" lIns="0" tIns="0" rIns="0" bIns="0" rtlCol="0" anchor="t">
              <a:spAutoFit/>
            </a:bodyPr>
            <a:lstStyle/>
            <a:p>
              <a:r>
                <a:rPr lang="zh-CN" altLang="en-US" sz="1600" dirty="0">
                  <a:solidFill>
                    <a:schemeClr val="bg1"/>
                  </a:solidFill>
                  <a:latin typeface="+mn-ea"/>
                </a:rPr>
                <a:t>单位：</a:t>
              </a:r>
              <a:r>
                <a:rPr lang="en-US" altLang="zh-CN" sz="1600" dirty="0">
                  <a:solidFill>
                    <a:schemeClr val="bg1"/>
                  </a:solidFill>
                  <a:latin typeface="+mn-ea"/>
                </a:rPr>
                <a:t>xxx</a:t>
              </a:r>
              <a:endParaRPr lang="zh-CN" altLang="en-US" sz="1600" dirty="0">
                <a:solidFill>
                  <a:schemeClr val="bg1"/>
                </a:solidFill>
                <a:latin typeface="+mn-ea"/>
              </a:endParaRPr>
            </a:p>
          </p:txBody>
        </p:sp>
      </p:grpSp>
      <p:cxnSp>
        <p:nvCxnSpPr>
          <p:cNvPr id="23" name="直接连接符 22">
            <a:extLst>
              <a:ext uri="{FF2B5EF4-FFF2-40B4-BE49-F238E27FC236}">
                <a16:creationId xmlns:a16="http://schemas.microsoft.com/office/drawing/2014/main" id="{CE4614EF-B88F-4347-B526-58ECE7F96194}"/>
              </a:ext>
            </a:extLst>
          </p:cNvPr>
          <p:cNvCxnSpPr>
            <a:cxnSpLocks/>
          </p:cNvCxnSpPr>
          <p:nvPr/>
        </p:nvCxnSpPr>
        <p:spPr>
          <a:xfrm flipH="1">
            <a:off x="2029968" y="2988596"/>
            <a:ext cx="8156448"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97111173"/>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3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任意多边形 56">
            <a:extLst>
              <a:ext uri="{FF2B5EF4-FFF2-40B4-BE49-F238E27FC236}">
                <a16:creationId xmlns:a16="http://schemas.microsoft.com/office/drawing/2014/main" id="{9C38A9D9-403A-48EA-8D2C-D06036780013}"/>
              </a:ext>
            </a:extLst>
          </p:cNvPr>
          <p:cNvSpPr/>
          <p:nvPr>
            <p:custDataLst>
              <p:tags r:id="rId2"/>
            </p:custDataLst>
          </p:nvPr>
        </p:nvSpPr>
        <p:spPr>
          <a:xfrm>
            <a:off x="3263876" y="1581777"/>
            <a:ext cx="1567961" cy="1544286"/>
          </a:xfrm>
          <a:custGeom>
            <a:avLst/>
            <a:gdLst>
              <a:gd name="connsiteX0" fmla="*/ 145517 w 145517"/>
              <a:gd name="connsiteY0" fmla="*/ 71660 h 143320"/>
              <a:gd name="connsiteX1" fmla="*/ 72759 w 145517"/>
              <a:gd name="connsiteY1" fmla="*/ 143321 h 143320"/>
              <a:gd name="connsiteX2" fmla="*/ 0 w 145517"/>
              <a:gd name="connsiteY2" fmla="*/ 71660 h 143320"/>
              <a:gd name="connsiteX3" fmla="*/ 72759 w 145517"/>
              <a:gd name="connsiteY3" fmla="*/ 0 h 143320"/>
              <a:gd name="connsiteX4" fmla="*/ 145517 w 145517"/>
              <a:gd name="connsiteY4" fmla="*/ 71660 h 1433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517" h="143320">
                <a:moveTo>
                  <a:pt x="145517" y="71660"/>
                </a:moveTo>
                <a:cubicBezTo>
                  <a:pt x="145517" y="111237"/>
                  <a:pt x="112942" y="143321"/>
                  <a:pt x="72759" y="143321"/>
                </a:cubicBezTo>
                <a:cubicBezTo>
                  <a:pt x="32575" y="143321"/>
                  <a:pt x="0" y="111237"/>
                  <a:pt x="0" y="71660"/>
                </a:cubicBezTo>
                <a:cubicBezTo>
                  <a:pt x="0" y="32083"/>
                  <a:pt x="32575" y="0"/>
                  <a:pt x="72759" y="0"/>
                </a:cubicBezTo>
                <a:cubicBezTo>
                  <a:pt x="112942" y="0"/>
                  <a:pt x="145517" y="32083"/>
                  <a:pt x="145517" y="71660"/>
                </a:cubicBezTo>
                <a:close/>
              </a:path>
            </a:pathLst>
          </a:custGeom>
          <a:solidFill>
            <a:schemeClr val="accent1"/>
          </a:solidFill>
          <a:ln w="9525" cap="flat">
            <a:noFill/>
            <a:prstDash val="solid"/>
            <a:miter/>
          </a:ln>
          <a:effectLst>
            <a:outerShdw blurRad="47625" sx="102000" sy="102000" algn="ctr" rotWithShape="0">
              <a:schemeClr val="accent1">
                <a:lumMod val="50000"/>
                <a:alpha val="40000"/>
              </a:schemeClr>
            </a:outerShdw>
          </a:effectLst>
        </p:spPr>
        <p:txBody>
          <a:bodyPr wrap="none" lIns="68580" tIns="34290" rIns="68580" bIns="34290" rtlCol="0" anchor="ctr"/>
          <a:lstStyle/>
          <a:p>
            <a:endParaRPr lang="zh-CN" altLang="en-US" sz="1500" dirty="0"/>
          </a:p>
        </p:txBody>
      </p:sp>
      <p:sp>
        <p:nvSpPr>
          <p:cNvPr id="30" name="文本框 29">
            <a:extLst>
              <a:ext uri="{FF2B5EF4-FFF2-40B4-BE49-F238E27FC236}">
                <a16:creationId xmlns:a16="http://schemas.microsoft.com/office/drawing/2014/main" id="{A82C21CA-204A-4E57-8DC5-DA32EF846094}"/>
              </a:ext>
            </a:extLst>
          </p:cNvPr>
          <p:cNvSpPr txBox="1"/>
          <p:nvPr/>
        </p:nvSpPr>
        <p:spPr>
          <a:xfrm>
            <a:off x="3574650" y="2379325"/>
            <a:ext cx="946413" cy="438262"/>
          </a:xfrm>
          <a:prstGeom prst="rect">
            <a:avLst/>
          </a:prstGeom>
          <a:solidFill>
            <a:schemeClr val="accent1"/>
          </a:solidFill>
          <a:effectLst/>
        </p:spPr>
        <p:txBody>
          <a:bodyPr wrap="none" lIns="68580" tIns="34290" rIns="68580" bIns="34290" rtlCol="0" anchor="ctr">
            <a:spAutoFit/>
          </a:bodyPr>
          <a:lstStyle>
            <a:defPPr>
              <a:defRPr lang="en-US"/>
            </a:defPPr>
            <a:lvl1pPr>
              <a:defRPr sz="4000" b="1">
                <a:solidFill>
                  <a:schemeClr val="bg1">
                    <a:lumMod val="50000"/>
                  </a:schemeClr>
                </a:solidFill>
              </a:defRPr>
            </a:lvl1pPr>
          </a:lstStyle>
          <a:p>
            <a:pPr algn="ctr" defTabSz="279806">
              <a:lnSpc>
                <a:spcPct val="120000"/>
              </a:lnSpc>
            </a:pPr>
            <a:r>
              <a:rPr lang="zh-CN" altLang="en-US" sz="2100">
                <a:solidFill>
                  <a:srgbClr val="FFFFFF"/>
                </a:solidFill>
              </a:rPr>
              <a:t>关键词</a:t>
            </a:r>
          </a:p>
        </p:txBody>
      </p:sp>
      <p:sp>
        <p:nvSpPr>
          <p:cNvPr id="28" name="任意多边形 61">
            <a:extLst>
              <a:ext uri="{FF2B5EF4-FFF2-40B4-BE49-F238E27FC236}">
                <a16:creationId xmlns:a16="http://schemas.microsoft.com/office/drawing/2014/main" id="{245C5F13-E303-449F-BADC-66D9FE2E74BF}"/>
              </a:ext>
            </a:extLst>
          </p:cNvPr>
          <p:cNvSpPr/>
          <p:nvPr/>
        </p:nvSpPr>
        <p:spPr>
          <a:xfrm>
            <a:off x="3826443" y="1905776"/>
            <a:ext cx="442826" cy="450931"/>
          </a:xfrm>
          <a:custGeom>
            <a:avLst/>
            <a:gdLst>
              <a:gd name="connsiteX0" fmla="*/ 448524 w 895157"/>
              <a:gd name="connsiteY0" fmla="*/ 186690 h 911542"/>
              <a:gd name="connsiteX1" fmla="*/ 178966 w 895157"/>
              <a:gd name="connsiteY1" fmla="*/ 456248 h 911542"/>
              <a:gd name="connsiteX2" fmla="*/ 448524 w 895157"/>
              <a:gd name="connsiteY2" fmla="*/ 725805 h 911542"/>
              <a:gd name="connsiteX3" fmla="*/ 718081 w 895157"/>
              <a:gd name="connsiteY3" fmla="*/ 456248 h 911542"/>
              <a:gd name="connsiteX4" fmla="*/ 448524 w 895157"/>
              <a:gd name="connsiteY4" fmla="*/ 186690 h 911542"/>
              <a:gd name="connsiteX5" fmla="*/ 448524 w 895157"/>
              <a:gd name="connsiteY5" fmla="*/ 678180 h 911542"/>
              <a:gd name="connsiteX6" fmla="*/ 226591 w 895157"/>
              <a:gd name="connsiteY6" fmla="*/ 456248 h 911542"/>
              <a:gd name="connsiteX7" fmla="*/ 448524 w 895157"/>
              <a:gd name="connsiteY7" fmla="*/ 234315 h 911542"/>
              <a:gd name="connsiteX8" fmla="*/ 670456 w 895157"/>
              <a:gd name="connsiteY8" fmla="*/ 456248 h 911542"/>
              <a:gd name="connsiteX9" fmla="*/ 448524 w 895157"/>
              <a:gd name="connsiteY9" fmla="*/ 678180 h 911542"/>
              <a:gd name="connsiteX10" fmla="*/ 864766 w 895157"/>
              <a:gd name="connsiteY10" fmla="*/ 470535 h 911542"/>
              <a:gd name="connsiteX11" fmla="*/ 864766 w 895157"/>
              <a:gd name="connsiteY11" fmla="*/ 436245 h 911542"/>
              <a:gd name="connsiteX12" fmla="*/ 880959 w 895157"/>
              <a:gd name="connsiteY12" fmla="*/ 413385 h 911542"/>
              <a:gd name="connsiteX13" fmla="*/ 893341 w 895157"/>
              <a:gd name="connsiteY13" fmla="*/ 351473 h 911542"/>
              <a:gd name="connsiteX14" fmla="*/ 855241 w 895157"/>
              <a:gd name="connsiteY14" fmla="*/ 300990 h 911542"/>
              <a:gd name="connsiteX15" fmla="*/ 829524 w 895157"/>
              <a:gd name="connsiteY15" fmla="*/ 288608 h 911542"/>
              <a:gd name="connsiteX16" fmla="*/ 814284 w 895157"/>
              <a:gd name="connsiteY16" fmla="*/ 258128 h 911542"/>
              <a:gd name="connsiteX17" fmla="*/ 819046 w 895157"/>
              <a:gd name="connsiteY17" fmla="*/ 231458 h 911542"/>
              <a:gd name="connsiteX18" fmla="*/ 802854 w 895157"/>
              <a:gd name="connsiteY18" fmla="*/ 170498 h 911542"/>
              <a:gd name="connsiteX19" fmla="*/ 746656 w 895157"/>
              <a:gd name="connsiteY19" fmla="*/ 141923 h 911542"/>
              <a:gd name="connsiteX20" fmla="*/ 719034 w 895157"/>
              <a:gd name="connsiteY20" fmla="*/ 140970 h 911542"/>
              <a:gd name="connsiteX21" fmla="*/ 692364 w 895157"/>
              <a:gd name="connsiteY21" fmla="*/ 120015 h 911542"/>
              <a:gd name="connsiteX22" fmla="*/ 684744 w 895157"/>
              <a:gd name="connsiteY22" fmla="*/ 93345 h 911542"/>
              <a:gd name="connsiteX23" fmla="*/ 610449 w 895157"/>
              <a:gd name="connsiteY23" fmla="*/ 37148 h 911542"/>
              <a:gd name="connsiteX24" fmla="*/ 579969 w 895157"/>
              <a:gd name="connsiteY24" fmla="*/ 43815 h 911542"/>
              <a:gd name="connsiteX25" fmla="*/ 554251 w 895157"/>
              <a:gd name="connsiteY25" fmla="*/ 54293 h 911542"/>
              <a:gd name="connsiteX26" fmla="*/ 520914 w 895157"/>
              <a:gd name="connsiteY26" fmla="*/ 46673 h 911542"/>
              <a:gd name="connsiteX27" fmla="*/ 502816 w 895157"/>
              <a:gd name="connsiteY27" fmla="*/ 25718 h 911542"/>
              <a:gd name="connsiteX28" fmla="*/ 445666 w 895157"/>
              <a:gd name="connsiteY28" fmla="*/ 0 h 911542"/>
              <a:gd name="connsiteX29" fmla="*/ 387564 w 895157"/>
              <a:gd name="connsiteY29" fmla="*/ 26670 h 911542"/>
              <a:gd name="connsiteX30" fmla="*/ 369466 w 895157"/>
              <a:gd name="connsiteY30" fmla="*/ 47625 h 911542"/>
              <a:gd name="connsiteX31" fmla="*/ 336129 w 895157"/>
              <a:gd name="connsiteY31" fmla="*/ 55245 h 911542"/>
              <a:gd name="connsiteX32" fmla="*/ 310411 w 895157"/>
              <a:gd name="connsiteY32" fmla="*/ 44768 h 911542"/>
              <a:gd name="connsiteX33" fmla="*/ 280884 w 895157"/>
              <a:gd name="connsiteY33" fmla="*/ 39053 h 911542"/>
              <a:gd name="connsiteX34" fmla="*/ 206589 w 895157"/>
              <a:gd name="connsiteY34" fmla="*/ 95250 h 911542"/>
              <a:gd name="connsiteX35" fmla="*/ 198969 w 895157"/>
              <a:gd name="connsiteY35" fmla="*/ 121920 h 911542"/>
              <a:gd name="connsiteX36" fmla="*/ 172299 w 895157"/>
              <a:gd name="connsiteY36" fmla="*/ 143828 h 911542"/>
              <a:gd name="connsiteX37" fmla="*/ 144676 w 895157"/>
              <a:gd name="connsiteY37" fmla="*/ 145733 h 911542"/>
              <a:gd name="connsiteX38" fmla="*/ 88479 w 895157"/>
              <a:gd name="connsiteY38" fmla="*/ 175260 h 911542"/>
              <a:gd name="connsiteX39" fmla="*/ 73239 w 895157"/>
              <a:gd name="connsiteY39" fmla="*/ 236220 h 911542"/>
              <a:gd name="connsiteX40" fmla="*/ 78001 w 895157"/>
              <a:gd name="connsiteY40" fmla="*/ 262890 h 911542"/>
              <a:gd name="connsiteX41" fmla="*/ 63714 w 895157"/>
              <a:gd name="connsiteY41" fmla="*/ 293370 h 911542"/>
              <a:gd name="connsiteX42" fmla="*/ 39901 w 895157"/>
              <a:gd name="connsiteY42" fmla="*/ 306705 h 911542"/>
              <a:gd name="connsiteX43" fmla="*/ 1801 w 895157"/>
              <a:gd name="connsiteY43" fmla="*/ 357188 h 911542"/>
              <a:gd name="connsiteX44" fmla="*/ 15136 w 895157"/>
              <a:gd name="connsiteY44" fmla="*/ 419100 h 911542"/>
              <a:gd name="connsiteX45" fmla="*/ 31329 w 895157"/>
              <a:gd name="connsiteY45" fmla="*/ 441008 h 911542"/>
              <a:gd name="connsiteX46" fmla="*/ 31329 w 895157"/>
              <a:gd name="connsiteY46" fmla="*/ 475298 h 911542"/>
              <a:gd name="connsiteX47" fmla="*/ 15136 w 895157"/>
              <a:gd name="connsiteY47" fmla="*/ 498158 h 911542"/>
              <a:gd name="connsiteX48" fmla="*/ 2754 w 895157"/>
              <a:gd name="connsiteY48" fmla="*/ 560070 h 911542"/>
              <a:gd name="connsiteX49" fmla="*/ 40854 w 895157"/>
              <a:gd name="connsiteY49" fmla="*/ 610553 h 911542"/>
              <a:gd name="connsiteX50" fmla="*/ 64666 w 895157"/>
              <a:gd name="connsiteY50" fmla="*/ 623888 h 911542"/>
              <a:gd name="connsiteX51" fmla="*/ 79906 w 895157"/>
              <a:gd name="connsiteY51" fmla="*/ 654368 h 911542"/>
              <a:gd name="connsiteX52" fmla="*/ 75144 w 895157"/>
              <a:gd name="connsiteY52" fmla="*/ 681038 h 911542"/>
              <a:gd name="connsiteX53" fmla="*/ 91336 w 895157"/>
              <a:gd name="connsiteY53" fmla="*/ 741998 h 911542"/>
              <a:gd name="connsiteX54" fmla="*/ 147534 w 895157"/>
              <a:gd name="connsiteY54" fmla="*/ 770573 h 911542"/>
              <a:gd name="connsiteX55" fmla="*/ 175156 w 895157"/>
              <a:gd name="connsiteY55" fmla="*/ 771525 h 911542"/>
              <a:gd name="connsiteX56" fmla="*/ 201826 w 895157"/>
              <a:gd name="connsiteY56" fmla="*/ 792480 h 911542"/>
              <a:gd name="connsiteX57" fmla="*/ 209446 w 895157"/>
              <a:gd name="connsiteY57" fmla="*/ 819150 h 911542"/>
              <a:gd name="connsiteX58" fmla="*/ 283741 w 895157"/>
              <a:gd name="connsiteY58" fmla="*/ 874395 h 911542"/>
              <a:gd name="connsiteX59" fmla="*/ 314221 w 895157"/>
              <a:gd name="connsiteY59" fmla="*/ 867728 h 911542"/>
              <a:gd name="connsiteX60" fmla="*/ 339939 w 895157"/>
              <a:gd name="connsiteY60" fmla="*/ 857250 h 911542"/>
              <a:gd name="connsiteX61" fmla="*/ 373276 w 895157"/>
              <a:gd name="connsiteY61" fmla="*/ 864870 h 911542"/>
              <a:gd name="connsiteX62" fmla="*/ 391374 w 895157"/>
              <a:gd name="connsiteY62" fmla="*/ 885825 h 911542"/>
              <a:gd name="connsiteX63" fmla="*/ 448524 w 895157"/>
              <a:gd name="connsiteY63" fmla="*/ 911543 h 911542"/>
              <a:gd name="connsiteX64" fmla="*/ 506626 w 895157"/>
              <a:gd name="connsiteY64" fmla="*/ 884873 h 911542"/>
              <a:gd name="connsiteX65" fmla="*/ 524724 w 895157"/>
              <a:gd name="connsiteY65" fmla="*/ 863918 h 911542"/>
              <a:gd name="connsiteX66" fmla="*/ 558061 w 895157"/>
              <a:gd name="connsiteY66" fmla="*/ 856298 h 911542"/>
              <a:gd name="connsiteX67" fmla="*/ 583779 w 895157"/>
              <a:gd name="connsiteY67" fmla="*/ 866775 h 911542"/>
              <a:gd name="connsiteX68" fmla="*/ 613306 w 895157"/>
              <a:gd name="connsiteY68" fmla="*/ 872490 h 911542"/>
              <a:gd name="connsiteX69" fmla="*/ 687601 w 895157"/>
              <a:gd name="connsiteY69" fmla="*/ 816293 h 911542"/>
              <a:gd name="connsiteX70" fmla="*/ 695221 w 895157"/>
              <a:gd name="connsiteY70" fmla="*/ 789623 h 911542"/>
              <a:gd name="connsiteX71" fmla="*/ 721891 w 895157"/>
              <a:gd name="connsiteY71" fmla="*/ 767715 h 911542"/>
              <a:gd name="connsiteX72" fmla="*/ 749514 w 895157"/>
              <a:gd name="connsiteY72" fmla="*/ 765810 h 911542"/>
              <a:gd name="connsiteX73" fmla="*/ 805711 w 895157"/>
              <a:gd name="connsiteY73" fmla="*/ 736283 h 911542"/>
              <a:gd name="connsiteX74" fmla="*/ 820951 w 895157"/>
              <a:gd name="connsiteY74" fmla="*/ 675323 h 911542"/>
              <a:gd name="connsiteX75" fmla="*/ 816189 w 895157"/>
              <a:gd name="connsiteY75" fmla="*/ 648653 h 911542"/>
              <a:gd name="connsiteX76" fmla="*/ 830476 w 895157"/>
              <a:gd name="connsiteY76" fmla="*/ 618173 h 911542"/>
              <a:gd name="connsiteX77" fmla="*/ 854289 w 895157"/>
              <a:gd name="connsiteY77" fmla="*/ 604838 h 911542"/>
              <a:gd name="connsiteX78" fmla="*/ 892389 w 895157"/>
              <a:gd name="connsiteY78" fmla="*/ 554355 h 911542"/>
              <a:gd name="connsiteX79" fmla="*/ 879054 w 895157"/>
              <a:gd name="connsiteY79" fmla="*/ 492443 h 911542"/>
              <a:gd name="connsiteX80" fmla="*/ 864766 w 895157"/>
              <a:gd name="connsiteY80" fmla="*/ 470535 h 911542"/>
              <a:gd name="connsiteX81" fmla="*/ 847621 w 895157"/>
              <a:gd name="connsiteY81" fmla="*/ 543878 h 911542"/>
              <a:gd name="connsiteX82" fmla="*/ 833334 w 895157"/>
              <a:gd name="connsiteY82" fmla="*/ 562928 h 911542"/>
              <a:gd name="connsiteX83" fmla="*/ 809521 w 895157"/>
              <a:gd name="connsiteY83" fmla="*/ 576263 h 911542"/>
              <a:gd name="connsiteX84" fmla="*/ 771421 w 895157"/>
              <a:gd name="connsiteY84" fmla="*/ 657225 h 911542"/>
              <a:gd name="connsiteX85" fmla="*/ 776184 w 895157"/>
              <a:gd name="connsiteY85" fmla="*/ 683895 h 911542"/>
              <a:gd name="connsiteX86" fmla="*/ 770469 w 895157"/>
              <a:gd name="connsiteY86" fmla="*/ 707708 h 911542"/>
              <a:gd name="connsiteX87" fmla="*/ 749514 w 895157"/>
              <a:gd name="connsiteY87" fmla="*/ 719138 h 911542"/>
              <a:gd name="connsiteX88" fmla="*/ 721891 w 895157"/>
              <a:gd name="connsiteY88" fmla="*/ 721043 h 911542"/>
              <a:gd name="connsiteX89" fmla="*/ 652359 w 895157"/>
              <a:gd name="connsiteY89" fmla="*/ 777240 h 911542"/>
              <a:gd name="connsiteX90" fmla="*/ 644739 w 895157"/>
              <a:gd name="connsiteY90" fmla="*/ 803910 h 911542"/>
              <a:gd name="connsiteX91" fmla="*/ 616164 w 895157"/>
              <a:gd name="connsiteY91" fmla="*/ 825818 h 911542"/>
              <a:gd name="connsiteX92" fmla="*/ 604734 w 895157"/>
              <a:gd name="connsiteY92" fmla="*/ 823913 h 911542"/>
              <a:gd name="connsiteX93" fmla="*/ 579016 w 895157"/>
              <a:gd name="connsiteY93" fmla="*/ 813435 h 911542"/>
              <a:gd name="connsiteX94" fmla="*/ 549489 w 895157"/>
              <a:gd name="connsiteY94" fmla="*/ 807720 h 911542"/>
              <a:gd name="connsiteX95" fmla="*/ 491386 w 895157"/>
              <a:gd name="connsiteY95" fmla="*/ 834390 h 911542"/>
              <a:gd name="connsiteX96" fmla="*/ 473289 w 895157"/>
              <a:gd name="connsiteY96" fmla="*/ 855345 h 911542"/>
              <a:gd name="connsiteX97" fmla="*/ 451381 w 895157"/>
              <a:gd name="connsiteY97" fmla="*/ 865823 h 911542"/>
              <a:gd name="connsiteX98" fmla="*/ 429474 w 895157"/>
              <a:gd name="connsiteY98" fmla="*/ 856298 h 911542"/>
              <a:gd name="connsiteX99" fmla="*/ 411376 w 895157"/>
              <a:gd name="connsiteY99" fmla="*/ 835343 h 911542"/>
              <a:gd name="connsiteX100" fmla="*/ 354226 w 895157"/>
              <a:gd name="connsiteY100" fmla="*/ 809625 h 911542"/>
              <a:gd name="connsiteX101" fmla="*/ 323746 w 895157"/>
              <a:gd name="connsiteY101" fmla="*/ 816293 h 911542"/>
              <a:gd name="connsiteX102" fmla="*/ 298029 w 895157"/>
              <a:gd name="connsiteY102" fmla="*/ 826770 h 911542"/>
              <a:gd name="connsiteX103" fmla="*/ 286599 w 895157"/>
              <a:gd name="connsiteY103" fmla="*/ 827723 h 911542"/>
              <a:gd name="connsiteX104" fmla="*/ 258024 w 895157"/>
              <a:gd name="connsiteY104" fmla="*/ 806768 h 911542"/>
              <a:gd name="connsiteX105" fmla="*/ 250404 w 895157"/>
              <a:gd name="connsiteY105" fmla="*/ 780098 h 911542"/>
              <a:gd name="connsiteX106" fmla="*/ 179919 w 895157"/>
              <a:gd name="connsiteY106" fmla="*/ 724853 h 911542"/>
              <a:gd name="connsiteX107" fmla="*/ 153249 w 895157"/>
              <a:gd name="connsiteY107" fmla="*/ 723900 h 911542"/>
              <a:gd name="connsiteX108" fmla="*/ 131341 w 895157"/>
              <a:gd name="connsiteY108" fmla="*/ 713423 h 911542"/>
              <a:gd name="connsiteX109" fmla="*/ 125626 w 895157"/>
              <a:gd name="connsiteY109" fmla="*/ 690563 h 911542"/>
              <a:gd name="connsiteX110" fmla="*/ 130389 w 895157"/>
              <a:gd name="connsiteY110" fmla="*/ 663893 h 911542"/>
              <a:gd name="connsiteX111" fmla="*/ 90384 w 895157"/>
              <a:gd name="connsiteY111" fmla="*/ 582930 h 911542"/>
              <a:gd name="connsiteX112" fmla="*/ 66571 w 895157"/>
              <a:gd name="connsiteY112" fmla="*/ 569595 h 911542"/>
              <a:gd name="connsiteX113" fmla="*/ 52284 w 895157"/>
              <a:gd name="connsiteY113" fmla="*/ 550545 h 911542"/>
              <a:gd name="connsiteX114" fmla="*/ 57046 w 895157"/>
              <a:gd name="connsiteY114" fmla="*/ 526733 h 911542"/>
              <a:gd name="connsiteX115" fmla="*/ 73239 w 895157"/>
              <a:gd name="connsiteY115" fmla="*/ 503873 h 911542"/>
              <a:gd name="connsiteX116" fmla="*/ 72286 w 895157"/>
              <a:gd name="connsiteY116" fmla="*/ 414338 h 911542"/>
              <a:gd name="connsiteX117" fmla="*/ 56094 w 895157"/>
              <a:gd name="connsiteY117" fmla="*/ 392430 h 911542"/>
              <a:gd name="connsiteX118" fmla="*/ 51331 w 895157"/>
              <a:gd name="connsiteY118" fmla="*/ 368618 h 911542"/>
              <a:gd name="connsiteX119" fmla="*/ 65619 w 895157"/>
              <a:gd name="connsiteY119" fmla="*/ 349568 h 911542"/>
              <a:gd name="connsiteX120" fmla="*/ 89431 w 895157"/>
              <a:gd name="connsiteY120" fmla="*/ 336233 h 911542"/>
              <a:gd name="connsiteX121" fmla="*/ 127531 w 895157"/>
              <a:gd name="connsiteY121" fmla="*/ 255270 h 911542"/>
              <a:gd name="connsiteX122" fmla="*/ 121816 w 895157"/>
              <a:gd name="connsiteY122" fmla="*/ 227648 h 911542"/>
              <a:gd name="connsiteX123" fmla="*/ 127531 w 895157"/>
              <a:gd name="connsiteY123" fmla="*/ 203835 h 911542"/>
              <a:gd name="connsiteX124" fmla="*/ 148486 w 895157"/>
              <a:gd name="connsiteY124" fmla="*/ 192405 h 911542"/>
              <a:gd name="connsiteX125" fmla="*/ 176109 w 895157"/>
              <a:gd name="connsiteY125" fmla="*/ 190500 h 911542"/>
              <a:gd name="connsiteX126" fmla="*/ 245641 w 895157"/>
              <a:gd name="connsiteY126" fmla="*/ 134303 h 911542"/>
              <a:gd name="connsiteX127" fmla="*/ 253261 w 895157"/>
              <a:gd name="connsiteY127" fmla="*/ 107633 h 911542"/>
              <a:gd name="connsiteX128" fmla="*/ 281836 w 895157"/>
              <a:gd name="connsiteY128" fmla="*/ 85725 h 911542"/>
              <a:gd name="connsiteX129" fmla="*/ 293266 w 895157"/>
              <a:gd name="connsiteY129" fmla="*/ 87630 h 911542"/>
              <a:gd name="connsiteX130" fmla="*/ 318984 w 895157"/>
              <a:gd name="connsiteY130" fmla="*/ 98108 h 911542"/>
              <a:gd name="connsiteX131" fmla="*/ 348511 w 895157"/>
              <a:gd name="connsiteY131" fmla="*/ 103823 h 911542"/>
              <a:gd name="connsiteX132" fmla="*/ 406614 w 895157"/>
              <a:gd name="connsiteY132" fmla="*/ 77153 h 911542"/>
              <a:gd name="connsiteX133" fmla="*/ 424711 w 895157"/>
              <a:gd name="connsiteY133" fmla="*/ 56198 h 911542"/>
              <a:gd name="connsiteX134" fmla="*/ 446619 w 895157"/>
              <a:gd name="connsiteY134" fmla="*/ 45720 h 911542"/>
              <a:gd name="connsiteX135" fmla="*/ 468526 w 895157"/>
              <a:gd name="connsiteY135" fmla="*/ 55245 h 911542"/>
              <a:gd name="connsiteX136" fmla="*/ 486624 w 895157"/>
              <a:gd name="connsiteY136" fmla="*/ 76200 h 911542"/>
              <a:gd name="connsiteX137" fmla="*/ 543774 w 895157"/>
              <a:gd name="connsiteY137" fmla="*/ 101918 h 911542"/>
              <a:gd name="connsiteX138" fmla="*/ 574254 w 895157"/>
              <a:gd name="connsiteY138" fmla="*/ 95250 h 911542"/>
              <a:gd name="connsiteX139" fmla="*/ 599971 w 895157"/>
              <a:gd name="connsiteY139" fmla="*/ 84773 h 911542"/>
              <a:gd name="connsiteX140" fmla="*/ 610449 w 895157"/>
              <a:gd name="connsiteY140" fmla="*/ 84773 h 911542"/>
              <a:gd name="connsiteX141" fmla="*/ 639024 w 895157"/>
              <a:gd name="connsiteY141" fmla="*/ 105728 h 911542"/>
              <a:gd name="connsiteX142" fmla="*/ 646644 w 895157"/>
              <a:gd name="connsiteY142" fmla="*/ 132398 h 911542"/>
              <a:gd name="connsiteX143" fmla="*/ 717129 w 895157"/>
              <a:gd name="connsiteY143" fmla="*/ 187643 h 911542"/>
              <a:gd name="connsiteX144" fmla="*/ 744751 w 895157"/>
              <a:gd name="connsiteY144" fmla="*/ 188595 h 911542"/>
              <a:gd name="connsiteX145" fmla="*/ 766659 w 895157"/>
              <a:gd name="connsiteY145" fmla="*/ 199073 h 911542"/>
              <a:gd name="connsiteX146" fmla="*/ 772374 w 895157"/>
              <a:gd name="connsiteY146" fmla="*/ 221933 h 911542"/>
              <a:gd name="connsiteX147" fmla="*/ 767611 w 895157"/>
              <a:gd name="connsiteY147" fmla="*/ 248603 h 911542"/>
              <a:gd name="connsiteX148" fmla="*/ 807616 w 895157"/>
              <a:gd name="connsiteY148" fmla="*/ 329565 h 911542"/>
              <a:gd name="connsiteX149" fmla="*/ 831429 w 895157"/>
              <a:gd name="connsiteY149" fmla="*/ 342900 h 911542"/>
              <a:gd name="connsiteX150" fmla="*/ 845716 w 895157"/>
              <a:gd name="connsiteY150" fmla="*/ 361950 h 911542"/>
              <a:gd name="connsiteX151" fmla="*/ 840954 w 895157"/>
              <a:gd name="connsiteY151" fmla="*/ 385763 h 911542"/>
              <a:gd name="connsiteX152" fmla="*/ 825714 w 895157"/>
              <a:gd name="connsiteY152" fmla="*/ 408623 h 911542"/>
              <a:gd name="connsiteX153" fmla="*/ 826666 w 895157"/>
              <a:gd name="connsiteY153" fmla="*/ 498158 h 911542"/>
              <a:gd name="connsiteX154" fmla="*/ 842859 w 895157"/>
              <a:gd name="connsiteY154" fmla="*/ 520065 h 911542"/>
              <a:gd name="connsiteX155" fmla="*/ 847621 w 895157"/>
              <a:gd name="connsiteY155" fmla="*/ 543878 h 911542"/>
              <a:gd name="connsiteX156" fmla="*/ 547584 w 895157"/>
              <a:gd name="connsiteY156" fmla="*/ 381953 h 911542"/>
              <a:gd name="connsiteX157" fmla="*/ 547584 w 895157"/>
              <a:gd name="connsiteY157" fmla="*/ 415290 h 911542"/>
              <a:gd name="connsiteX158" fmla="*/ 431379 w 895157"/>
              <a:gd name="connsiteY158" fmla="*/ 530543 h 911542"/>
              <a:gd name="connsiteX159" fmla="*/ 414234 w 895157"/>
              <a:gd name="connsiteY159" fmla="*/ 537210 h 911542"/>
              <a:gd name="connsiteX160" fmla="*/ 414234 w 895157"/>
              <a:gd name="connsiteY160" fmla="*/ 537210 h 911542"/>
              <a:gd name="connsiteX161" fmla="*/ 397089 w 895157"/>
              <a:gd name="connsiteY161" fmla="*/ 530543 h 911542"/>
              <a:gd name="connsiteX162" fmla="*/ 348511 w 895157"/>
              <a:gd name="connsiteY162" fmla="*/ 481965 h 911542"/>
              <a:gd name="connsiteX163" fmla="*/ 348511 w 895157"/>
              <a:gd name="connsiteY163" fmla="*/ 448628 h 911542"/>
              <a:gd name="connsiteX164" fmla="*/ 381849 w 895157"/>
              <a:gd name="connsiteY164" fmla="*/ 448628 h 911542"/>
              <a:gd name="connsiteX165" fmla="*/ 413281 w 895157"/>
              <a:gd name="connsiteY165" fmla="*/ 481013 h 911542"/>
              <a:gd name="connsiteX166" fmla="*/ 512341 w 895157"/>
              <a:gd name="connsiteY166" fmla="*/ 382905 h 911542"/>
              <a:gd name="connsiteX167" fmla="*/ 547584 w 895157"/>
              <a:gd name="connsiteY167" fmla="*/ 381953 h 911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Lst>
            <a:rect l="l" t="t" r="r" b="b"/>
            <a:pathLst>
              <a:path w="895157" h="911542">
                <a:moveTo>
                  <a:pt x="448524" y="186690"/>
                </a:moveTo>
                <a:cubicBezTo>
                  <a:pt x="299934" y="186690"/>
                  <a:pt x="178966" y="307658"/>
                  <a:pt x="178966" y="456248"/>
                </a:cubicBezTo>
                <a:cubicBezTo>
                  <a:pt x="178966" y="604838"/>
                  <a:pt x="299934" y="725805"/>
                  <a:pt x="448524" y="725805"/>
                </a:cubicBezTo>
                <a:cubicBezTo>
                  <a:pt x="597114" y="725805"/>
                  <a:pt x="718081" y="604838"/>
                  <a:pt x="718081" y="456248"/>
                </a:cubicBezTo>
                <a:cubicBezTo>
                  <a:pt x="718081" y="307658"/>
                  <a:pt x="597114" y="186690"/>
                  <a:pt x="448524" y="186690"/>
                </a:cubicBezTo>
                <a:close/>
                <a:moveTo>
                  <a:pt x="448524" y="678180"/>
                </a:moveTo>
                <a:cubicBezTo>
                  <a:pt x="325651" y="678180"/>
                  <a:pt x="226591" y="578168"/>
                  <a:pt x="226591" y="456248"/>
                </a:cubicBezTo>
                <a:cubicBezTo>
                  <a:pt x="226591" y="334328"/>
                  <a:pt x="325651" y="234315"/>
                  <a:pt x="448524" y="234315"/>
                </a:cubicBezTo>
                <a:cubicBezTo>
                  <a:pt x="571396" y="234315"/>
                  <a:pt x="670456" y="333375"/>
                  <a:pt x="670456" y="456248"/>
                </a:cubicBezTo>
                <a:cubicBezTo>
                  <a:pt x="670456" y="579120"/>
                  <a:pt x="571396" y="678180"/>
                  <a:pt x="448524" y="678180"/>
                </a:cubicBezTo>
                <a:close/>
                <a:moveTo>
                  <a:pt x="864766" y="470535"/>
                </a:moveTo>
                <a:cubicBezTo>
                  <a:pt x="857146" y="460058"/>
                  <a:pt x="857146" y="446723"/>
                  <a:pt x="864766" y="436245"/>
                </a:cubicBezTo>
                <a:lnTo>
                  <a:pt x="880959" y="413385"/>
                </a:lnTo>
                <a:cubicBezTo>
                  <a:pt x="893341" y="395288"/>
                  <a:pt x="898104" y="372428"/>
                  <a:pt x="893341" y="351473"/>
                </a:cubicBezTo>
                <a:cubicBezTo>
                  <a:pt x="888579" y="329565"/>
                  <a:pt x="874291" y="311468"/>
                  <a:pt x="855241" y="300990"/>
                </a:cubicBezTo>
                <a:lnTo>
                  <a:pt x="829524" y="288608"/>
                </a:lnTo>
                <a:cubicBezTo>
                  <a:pt x="818094" y="282893"/>
                  <a:pt x="812379" y="270510"/>
                  <a:pt x="814284" y="258128"/>
                </a:cubicBezTo>
                <a:lnTo>
                  <a:pt x="819046" y="231458"/>
                </a:lnTo>
                <a:cubicBezTo>
                  <a:pt x="822856" y="209550"/>
                  <a:pt x="817141" y="187643"/>
                  <a:pt x="802854" y="170498"/>
                </a:cubicBezTo>
                <a:cubicBezTo>
                  <a:pt x="788566" y="153353"/>
                  <a:pt x="768564" y="142875"/>
                  <a:pt x="746656" y="141923"/>
                </a:cubicBezTo>
                <a:lnTo>
                  <a:pt x="719034" y="140970"/>
                </a:lnTo>
                <a:cubicBezTo>
                  <a:pt x="706651" y="140018"/>
                  <a:pt x="695221" y="132398"/>
                  <a:pt x="692364" y="120015"/>
                </a:cubicBezTo>
                <a:lnTo>
                  <a:pt x="684744" y="93345"/>
                </a:lnTo>
                <a:cubicBezTo>
                  <a:pt x="674266" y="59055"/>
                  <a:pt x="644739" y="37148"/>
                  <a:pt x="610449" y="37148"/>
                </a:cubicBezTo>
                <a:cubicBezTo>
                  <a:pt x="599971" y="37148"/>
                  <a:pt x="589494" y="39053"/>
                  <a:pt x="579969" y="43815"/>
                </a:cubicBezTo>
                <a:lnTo>
                  <a:pt x="554251" y="54293"/>
                </a:lnTo>
                <a:cubicBezTo>
                  <a:pt x="543774" y="59055"/>
                  <a:pt x="529486" y="55245"/>
                  <a:pt x="520914" y="46673"/>
                </a:cubicBezTo>
                <a:lnTo>
                  <a:pt x="502816" y="25718"/>
                </a:lnTo>
                <a:cubicBezTo>
                  <a:pt x="488529" y="9525"/>
                  <a:pt x="467574" y="0"/>
                  <a:pt x="445666" y="0"/>
                </a:cubicBezTo>
                <a:cubicBezTo>
                  <a:pt x="423759" y="0"/>
                  <a:pt x="401851" y="9525"/>
                  <a:pt x="387564" y="26670"/>
                </a:cubicBezTo>
                <a:lnTo>
                  <a:pt x="369466" y="47625"/>
                </a:lnTo>
                <a:cubicBezTo>
                  <a:pt x="361846" y="57150"/>
                  <a:pt x="347559" y="60007"/>
                  <a:pt x="336129" y="55245"/>
                </a:cubicBezTo>
                <a:lnTo>
                  <a:pt x="310411" y="44768"/>
                </a:lnTo>
                <a:cubicBezTo>
                  <a:pt x="300886" y="40958"/>
                  <a:pt x="291361" y="39053"/>
                  <a:pt x="280884" y="39053"/>
                </a:cubicBezTo>
                <a:cubicBezTo>
                  <a:pt x="246594" y="39053"/>
                  <a:pt x="216114" y="61913"/>
                  <a:pt x="206589" y="95250"/>
                </a:cubicBezTo>
                <a:lnTo>
                  <a:pt x="198969" y="121920"/>
                </a:lnTo>
                <a:cubicBezTo>
                  <a:pt x="196111" y="134303"/>
                  <a:pt x="184681" y="142875"/>
                  <a:pt x="172299" y="143828"/>
                </a:cubicBezTo>
                <a:lnTo>
                  <a:pt x="144676" y="145733"/>
                </a:lnTo>
                <a:cubicBezTo>
                  <a:pt x="122769" y="146685"/>
                  <a:pt x="101814" y="158115"/>
                  <a:pt x="88479" y="175260"/>
                </a:cubicBezTo>
                <a:cubicBezTo>
                  <a:pt x="75144" y="192405"/>
                  <a:pt x="69429" y="215265"/>
                  <a:pt x="73239" y="236220"/>
                </a:cubicBezTo>
                <a:lnTo>
                  <a:pt x="78001" y="262890"/>
                </a:lnTo>
                <a:cubicBezTo>
                  <a:pt x="79906" y="275273"/>
                  <a:pt x="74191" y="287655"/>
                  <a:pt x="63714" y="293370"/>
                </a:cubicBezTo>
                <a:lnTo>
                  <a:pt x="39901" y="306705"/>
                </a:lnTo>
                <a:cubicBezTo>
                  <a:pt x="20851" y="317183"/>
                  <a:pt x="6564" y="336233"/>
                  <a:pt x="1801" y="357188"/>
                </a:cubicBezTo>
                <a:cubicBezTo>
                  <a:pt x="-2961" y="379095"/>
                  <a:pt x="1801" y="401003"/>
                  <a:pt x="15136" y="419100"/>
                </a:cubicBezTo>
                <a:lnTo>
                  <a:pt x="31329" y="441008"/>
                </a:lnTo>
                <a:cubicBezTo>
                  <a:pt x="38949" y="451485"/>
                  <a:pt x="38949" y="464820"/>
                  <a:pt x="31329" y="475298"/>
                </a:cubicBezTo>
                <a:lnTo>
                  <a:pt x="15136" y="498158"/>
                </a:lnTo>
                <a:cubicBezTo>
                  <a:pt x="2754" y="516255"/>
                  <a:pt x="-2009" y="539115"/>
                  <a:pt x="2754" y="560070"/>
                </a:cubicBezTo>
                <a:cubicBezTo>
                  <a:pt x="7516" y="581978"/>
                  <a:pt x="21804" y="600075"/>
                  <a:pt x="40854" y="610553"/>
                </a:cubicBezTo>
                <a:lnTo>
                  <a:pt x="64666" y="623888"/>
                </a:lnTo>
                <a:cubicBezTo>
                  <a:pt x="76096" y="629603"/>
                  <a:pt x="81811" y="641985"/>
                  <a:pt x="79906" y="654368"/>
                </a:cubicBezTo>
                <a:lnTo>
                  <a:pt x="75144" y="681038"/>
                </a:lnTo>
                <a:cubicBezTo>
                  <a:pt x="71334" y="702945"/>
                  <a:pt x="77049" y="724853"/>
                  <a:pt x="91336" y="741998"/>
                </a:cubicBezTo>
                <a:cubicBezTo>
                  <a:pt x="105624" y="759143"/>
                  <a:pt x="125626" y="769620"/>
                  <a:pt x="147534" y="770573"/>
                </a:cubicBezTo>
                <a:lnTo>
                  <a:pt x="175156" y="771525"/>
                </a:lnTo>
                <a:cubicBezTo>
                  <a:pt x="187539" y="772478"/>
                  <a:pt x="198969" y="780098"/>
                  <a:pt x="201826" y="792480"/>
                </a:cubicBezTo>
                <a:lnTo>
                  <a:pt x="209446" y="819150"/>
                </a:lnTo>
                <a:cubicBezTo>
                  <a:pt x="218971" y="851535"/>
                  <a:pt x="249451" y="874395"/>
                  <a:pt x="283741" y="874395"/>
                </a:cubicBezTo>
                <a:cubicBezTo>
                  <a:pt x="294219" y="874395"/>
                  <a:pt x="304696" y="872490"/>
                  <a:pt x="314221" y="867728"/>
                </a:cubicBezTo>
                <a:lnTo>
                  <a:pt x="339939" y="857250"/>
                </a:lnTo>
                <a:cubicBezTo>
                  <a:pt x="351369" y="852488"/>
                  <a:pt x="364704" y="855345"/>
                  <a:pt x="373276" y="864870"/>
                </a:cubicBezTo>
                <a:lnTo>
                  <a:pt x="391374" y="885825"/>
                </a:lnTo>
                <a:cubicBezTo>
                  <a:pt x="405661" y="902018"/>
                  <a:pt x="426616" y="911543"/>
                  <a:pt x="448524" y="911543"/>
                </a:cubicBezTo>
                <a:cubicBezTo>
                  <a:pt x="470431" y="911543"/>
                  <a:pt x="492339" y="902018"/>
                  <a:pt x="506626" y="884873"/>
                </a:cubicBezTo>
                <a:lnTo>
                  <a:pt x="524724" y="863918"/>
                </a:lnTo>
                <a:cubicBezTo>
                  <a:pt x="532344" y="854393"/>
                  <a:pt x="546631" y="851535"/>
                  <a:pt x="558061" y="856298"/>
                </a:cubicBezTo>
                <a:lnTo>
                  <a:pt x="583779" y="866775"/>
                </a:lnTo>
                <a:cubicBezTo>
                  <a:pt x="593304" y="870585"/>
                  <a:pt x="602829" y="872490"/>
                  <a:pt x="613306" y="872490"/>
                </a:cubicBezTo>
                <a:cubicBezTo>
                  <a:pt x="647596" y="872490"/>
                  <a:pt x="678076" y="849630"/>
                  <a:pt x="687601" y="816293"/>
                </a:cubicBezTo>
                <a:lnTo>
                  <a:pt x="695221" y="789623"/>
                </a:lnTo>
                <a:cubicBezTo>
                  <a:pt x="698079" y="777240"/>
                  <a:pt x="709509" y="768668"/>
                  <a:pt x="721891" y="767715"/>
                </a:cubicBezTo>
                <a:lnTo>
                  <a:pt x="749514" y="765810"/>
                </a:lnTo>
                <a:cubicBezTo>
                  <a:pt x="771421" y="764858"/>
                  <a:pt x="792376" y="753428"/>
                  <a:pt x="805711" y="736283"/>
                </a:cubicBezTo>
                <a:cubicBezTo>
                  <a:pt x="819046" y="719138"/>
                  <a:pt x="824761" y="696278"/>
                  <a:pt x="820951" y="675323"/>
                </a:cubicBezTo>
                <a:lnTo>
                  <a:pt x="816189" y="648653"/>
                </a:lnTo>
                <a:cubicBezTo>
                  <a:pt x="814284" y="636270"/>
                  <a:pt x="819999" y="623888"/>
                  <a:pt x="830476" y="618173"/>
                </a:cubicBezTo>
                <a:lnTo>
                  <a:pt x="854289" y="604838"/>
                </a:lnTo>
                <a:cubicBezTo>
                  <a:pt x="873339" y="594360"/>
                  <a:pt x="887626" y="575310"/>
                  <a:pt x="892389" y="554355"/>
                </a:cubicBezTo>
                <a:cubicBezTo>
                  <a:pt x="897151" y="532448"/>
                  <a:pt x="892389" y="510540"/>
                  <a:pt x="879054" y="492443"/>
                </a:cubicBezTo>
                <a:lnTo>
                  <a:pt x="864766" y="470535"/>
                </a:lnTo>
                <a:close/>
                <a:moveTo>
                  <a:pt x="847621" y="543878"/>
                </a:moveTo>
                <a:cubicBezTo>
                  <a:pt x="845716" y="552450"/>
                  <a:pt x="840954" y="559118"/>
                  <a:pt x="833334" y="562928"/>
                </a:cubicBezTo>
                <a:lnTo>
                  <a:pt x="809521" y="576263"/>
                </a:lnTo>
                <a:cubicBezTo>
                  <a:pt x="780946" y="592455"/>
                  <a:pt x="764754" y="624840"/>
                  <a:pt x="771421" y="657225"/>
                </a:cubicBezTo>
                <a:lnTo>
                  <a:pt x="776184" y="683895"/>
                </a:lnTo>
                <a:cubicBezTo>
                  <a:pt x="778089" y="692468"/>
                  <a:pt x="775231" y="701040"/>
                  <a:pt x="770469" y="707708"/>
                </a:cubicBezTo>
                <a:cubicBezTo>
                  <a:pt x="765706" y="714375"/>
                  <a:pt x="758086" y="718185"/>
                  <a:pt x="749514" y="719138"/>
                </a:cubicBezTo>
                <a:lnTo>
                  <a:pt x="721891" y="721043"/>
                </a:lnTo>
                <a:cubicBezTo>
                  <a:pt x="688554" y="722948"/>
                  <a:pt x="660931" y="745808"/>
                  <a:pt x="652359" y="777240"/>
                </a:cubicBezTo>
                <a:lnTo>
                  <a:pt x="644739" y="803910"/>
                </a:lnTo>
                <a:cubicBezTo>
                  <a:pt x="640929" y="816293"/>
                  <a:pt x="629499" y="825818"/>
                  <a:pt x="616164" y="825818"/>
                </a:cubicBezTo>
                <a:cubicBezTo>
                  <a:pt x="612354" y="825818"/>
                  <a:pt x="608544" y="824865"/>
                  <a:pt x="604734" y="823913"/>
                </a:cubicBezTo>
                <a:lnTo>
                  <a:pt x="579016" y="813435"/>
                </a:lnTo>
                <a:cubicBezTo>
                  <a:pt x="569491" y="809625"/>
                  <a:pt x="559966" y="807720"/>
                  <a:pt x="549489" y="807720"/>
                </a:cubicBezTo>
                <a:cubicBezTo>
                  <a:pt x="527581" y="807720"/>
                  <a:pt x="505674" y="817245"/>
                  <a:pt x="491386" y="834390"/>
                </a:cubicBezTo>
                <a:lnTo>
                  <a:pt x="473289" y="855345"/>
                </a:lnTo>
                <a:cubicBezTo>
                  <a:pt x="467574" y="862013"/>
                  <a:pt x="459954" y="865823"/>
                  <a:pt x="451381" y="865823"/>
                </a:cubicBezTo>
                <a:cubicBezTo>
                  <a:pt x="442809" y="865823"/>
                  <a:pt x="435189" y="862013"/>
                  <a:pt x="429474" y="856298"/>
                </a:cubicBezTo>
                <a:lnTo>
                  <a:pt x="411376" y="835343"/>
                </a:lnTo>
                <a:cubicBezTo>
                  <a:pt x="397089" y="819150"/>
                  <a:pt x="376134" y="809625"/>
                  <a:pt x="354226" y="809625"/>
                </a:cubicBezTo>
                <a:cubicBezTo>
                  <a:pt x="343749" y="809625"/>
                  <a:pt x="333271" y="811530"/>
                  <a:pt x="323746" y="816293"/>
                </a:cubicBezTo>
                <a:lnTo>
                  <a:pt x="298029" y="826770"/>
                </a:lnTo>
                <a:cubicBezTo>
                  <a:pt x="294219" y="827723"/>
                  <a:pt x="290409" y="827723"/>
                  <a:pt x="286599" y="827723"/>
                </a:cubicBezTo>
                <a:cubicBezTo>
                  <a:pt x="273264" y="827723"/>
                  <a:pt x="261834" y="819150"/>
                  <a:pt x="258024" y="806768"/>
                </a:cubicBezTo>
                <a:lnTo>
                  <a:pt x="250404" y="780098"/>
                </a:lnTo>
                <a:cubicBezTo>
                  <a:pt x="240879" y="748665"/>
                  <a:pt x="213256" y="725805"/>
                  <a:pt x="179919" y="724853"/>
                </a:cubicBezTo>
                <a:lnTo>
                  <a:pt x="153249" y="723900"/>
                </a:lnTo>
                <a:cubicBezTo>
                  <a:pt x="144676" y="723900"/>
                  <a:pt x="137056" y="720090"/>
                  <a:pt x="131341" y="713423"/>
                </a:cubicBezTo>
                <a:cubicBezTo>
                  <a:pt x="125626" y="706755"/>
                  <a:pt x="123721" y="698183"/>
                  <a:pt x="125626" y="690563"/>
                </a:cubicBezTo>
                <a:lnTo>
                  <a:pt x="130389" y="663893"/>
                </a:lnTo>
                <a:cubicBezTo>
                  <a:pt x="136104" y="631508"/>
                  <a:pt x="119911" y="599123"/>
                  <a:pt x="90384" y="582930"/>
                </a:cubicBezTo>
                <a:lnTo>
                  <a:pt x="66571" y="569595"/>
                </a:lnTo>
                <a:cubicBezTo>
                  <a:pt x="58951" y="565785"/>
                  <a:pt x="54189" y="559118"/>
                  <a:pt x="52284" y="550545"/>
                </a:cubicBezTo>
                <a:cubicBezTo>
                  <a:pt x="50379" y="541973"/>
                  <a:pt x="52284" y="533400"/>
                  <a:pt x="57046" y="526733"/>
                </a:cubicBezTo>
                <a:lnTo>
                  <a:pt x="73239" y="503873"/>
                </a:lnTo>
                <a:cubicBezTo>
                  <a:pt x="92289" y="477203"/>
                  <a:pt x="92289" y="441008"/>
                  <a:pt x="72286" y="414338"/>
                </a:cubicBezTo>
                <a:lnTo>
                  <a:pt x="56094" y="392430"/>
                </a:lnTo>
                <a:cubicBezTo>
                  <a:pt x="51331" y="385763"/>
                  <a:pt x="49426" y="377190"/>
                  <a:pt x="51331" y="368618"/>
                </a:cubicBezTo>
                <a:cubicBezTo>
                  <a:pt x="53236" y="360045"/>
                  <a:pt x="57999" y="353378"/>
                  <a:pt x="65619" y="349568"/>
                </a:cubicBezTo>
                <a:lnTo>
                  <a:pt x="89431" y="336233"/>
                </a:lnTo>
                <a:cubicBezTo>
                  <a:pt x="118006" y="320040"/>
                  <a:pt x="134199" y="287655"/>
                  <a:pt x="127531" y="255270"/>
                </a:cubicBezTo>
                <a:lnTo>
                  <a:pt x="121816" y="227648"/>
                </a:lnTo>
                <a:cubicBezTo>
                  <a:pt x="119911" y="219075"/>
                  <a:pt x="122769" y="210503"/>
                  <a:pt x="127531" y="203835"/>
                </a:cubicBezTo>
                <a:cubicBezTo>
                  <a:pt x="133246" y="197168"/>
                  <a:pt x="139914" y="193358"/>
                  <a:pt x="148486" y="192405"/>
                </a:cubicBezTo>
                <a:lnTo>
                  <a:pt x="176109" y="190500"/>
                </a:lnTo>
                <a:cubicBezTo>
                  <a:pt x="209446" y="188595"/>
                  <a:pt x="237069" y="165735"/>
                  <a:pt x="245641" y="134303"/>
                </a:cubicBezTo>
                <a:lnTo>
                  <a:pt x="253261" y="107633"/>
                </a:lnTo>
                <a:cubicBezTo>
                  <a:pt x="257071" y="95250"/>
                  <a:pt x="268501" y="85725"/>
                  <a:pt x="281836" y="85725"/>
                </a:cubicBezTo>
                <a:cubicBezTo>
                  <a:pt x="285646" y="85725"/>
                  <a:pt x="289456" y="86678"/>
                  <a:pt x="293266" y="87630"/>
                </a:cubicBezTo>
                <a:lnTo>
                  <a:pt x="318984" y="98108"/>
                </a:lnTo>
                <a:cubicBezTo>
                  <a:pt x="328509" y="101918"/>
                  <a:pt x="338034" y="103823"/>
                  <a:pt x="348511" y="103823"/>
                </a:cubicBezTo>
                <a:cubicBezTo>
                  <a:pt x="370419" y="103823"/>
                  <a:pt x="392326" y="94298"/>
                  <a:pt x="406614" y="77153"/>
                </a:cubicBezTo>
                <a:lnTo>
                  <a:pt x="424711" y="56198"/>
                </a:lnTo>
                <a:cubicBezTo>
                  <a:pt x="430426" y="49530"/>
                  <a:pt x="438046" y="45720"/>
                  <a:pt x="446619" y="45720"/>
                </a:cubicBezTo>
                <a:cubicBezTo>
                  <a:pt x="455191" y="45720"/>
                  <a:pt x="462811" y="49530"/>
                  <a:pt x="468526" y="55245"/>
                </a:cubicBezTo>
                <a:lnTo>
                  <a:pt x="486624" y="76200"/>
                </a:lnTo>
                <a:cubicBezTo>
                  <a:pt x="500911" y="92393"/>
                  <a:pt x="521866" y="101918"/>
                  <a:pt x="543774" y="101918"/>
                </a:cubicBezTo>
                <a:cubicBezTo>
                  <a:pt x="554251" y="101918"/>
                  <a:pt x="564729" y="100013"/>
                  <a:pt x="574254" y="95250"/>
                </a:cubicBezTo>
                <a:lnTo>
                  <a:pt x="599971" y="84773"/>
                </a:lnTo>
                <a:cubicBezTo>
                  <a:pt x="602829" y="84773"/>
                  <a:pt x="606639" y="84773"/>
                  <a:pt x="610449" y="84773"/>
                </a:cubicBezTo>
                <a:cubicBezTo>
                  <a:pt x="623784" y="84773"/>
                  <a:pt x="635214" y="93345"/>
                  <a:pt x="639024" y="105728"/>
                </a:cubicBezTo>
                <a:lnTo>
                  <a:pt x="646644" y="132398"/>
                </a:lnTo>
                <a:cubicBezTo>
                  <a:pt x="656169" y="163830"/>
                  <a:pt x="683791" y="186690"/>
                  <a:pt x="717129" y="187643"/>
                </a:cubicBezTo>
                <a:lnTo>
                  <a:pt x="744751" y="188595"/>
                </a:lnTo>
                <a:cubicBezTo>
                  <a:pt x="753324" y="188595"/>
                  <a:pt x="760944" y="192405"/>
                  <a:pt x="766659" y="199073"/>
                </a:cubicBezTo>
                <a:cubicBezTo>
                  <a:pt x="772374" y="205740"/>
                  <a:pt x="774279" y="214313"/>
                  <a:pt x="772374" y="221933"/>
                </a:cubicBezTo>
                <a:lnTo>
                  <a:pt x="767611" y="248603"/>
                </a:lnTo>
                <a:cubicBezTo>
                  <a:pt x="761896" y="280988"/>
                  <a:pt x="778089" y="313373"/>
                  <a:pt x="807616" y="329565"/>
                </a:cubicBezTo>
                <a:lnTo>
                  <a:pt x="831429" y="342900"/>
                </a:lnTo>
                <a:cubicBezTo>
                  <a:pt x="839049" y="346710"/>
                  <a:pt x="843811" y="353378"/>
                  <a:pt x="845716" y="361950"/>
                </a:cubicBezTo>
                <a:cubicBezTo>
                  <a:pt x="847621" y="370523"/>
                  <a:pt x="845716" y="379095"/>
                  <a:pt x="840954" y="385763"/>
                </a:cubicBezTo>
                <a:lnTo>
                  <a:pt x="825714" y="408623"/>
                </a:lnTo>
                <a:cubicBezTo>
                  <a:pt x="806664" y="435293"/>
                  <a:pt x="806664" y="471488"/>
                  <a:pt x="826666" y="498158"/>
                </a:cubicBezTo>
                <a:lnTo>
                  <a:pt x="842859" y="520065"/>
                </a:lnTo>
                <a:cubicBezTo>
                  <a:pt x="847621" y="527685"/>
                  <a:pt x="848574" y="535305"/>
                  <a:pt x="847621" y="543878"/>
                </a:cubicBezTo>
                <a:close/>
                <a:moveTo>
                  <a:pt x="547584" y="381953"/>
                </a:moveTo>
                <a:cubicBezTo>
                  <a:pt x="557109" y="391478"/>
                  <a:pt x="557109" y="406718"/>
                  <a:pt x="547584" y="415290"/>
                </a:cubicBezTo>
                <a:lnTo>
                  <a:pt x="431379" y="530543"/>
                </a:lnTo>
                <a:cubicBezTo>
                  <a:pt x="426616" y="535305"/>
                  <a:pt x="420901" y="537210"/>
                  <a:pt x="414234" y="537210"/>
                </a:cubicBezTo>
                <a:cubicBezTo>
                  <a:pt x="414234" y="537210"/>
                  <a:pt x="414234" y="537210"/>
                  <a:pt x="414234" y="537210"/>
                </a:cubicBezTo>
                <a:cubicBezTo>
                  <a:pt x="407566" y="537210"/>
                  <a:pt x="401851" y="534353"/>
                  <a:pt x="397089" y="530543"/>
                </a:cubicBezTo>
                <a:lnTo>
                  <a:pt x="348511" y="481965"/>
                </a:lnTo>
                <a:cubicBezTo>
                  <a:pt x="338986" y="472440"/>
                  <a:pt x="338986" y="457200"/>
                  <a:pt x="348511" y="448628"/>
                </a:cubicBezTo>
                <a:cubicBezTo>
                  <a:pt x="358036" y="439103"/>
                  <a:pt x="373276" y="439103"/>
                  <a:pt x="381849" y="448628"/>
                </a:cubicBezTo>
                <a:lnTo>
                  <a:pt x="413281" y="481013"/>
                </a:lnTo>
                <a:lnTo>
                  <a:pt x="512341" y="382905"/>
                </a:lnTo>
                <a:cubicBezTo>
                  <a:pt x="523771" y="372428"/>
                  <a:pt x="538059" y="372428"/>
                  <a:pt x="547584" y="381953"/>
                </a:cubicBezTo>
                <a:close/>
              </a:path>
            </a:pathLst>
          </a:custGeom>
          <a:solidFill>
            <a:schemeClr val="accent1"/>
          </a:solidFill>
          <a:ln w="9525" cap="flat">
            <a:noFill/>
            <a:prstDash val="solid"/>
            <a:miter/>
          </a:ln>
          <a:effectLst/>
        </p:spPr>
        <p:txBody>
          <a:bodyPr wrap="none" lIns="68580" tIns="34290" rIns="68580" bIns="34290" rtlCol="0" anchor="ctr"/>
          <a:lstStyle/>
          <a:p>
            <a:pPr marL="0" marR="0" lvl="0" indent="0" algn="l" defTabSz="914400" rtl="0" eaLnBrk="1" fontAlgn="auto" latinLnBrk="0" hangingPunct="1">
              <a:lnSpc>
                <a:spcPct val="100000"/>
              </a:lnSpc>
              <a:spcBef>
                <a:spcPts val="0"/>
              </a:spcBef>
              <a:buClrTx/>
              <a:buSzTx/>
              <a:buFontTx/>
              <a:buNone/>
              <a:tabLst/>
              <a:defRPr/>
            </a:pPr>
            <a:endParaRPr kumimoji="0" lang="zh-CN" altLang="en-US" sz="1350" b="0" i="0" u="none" strike="noStrike" kern="1200" cap="none" spc="0" normalizeH="0" baseline="0" noProof="0">
              <a:ln>
                <a:noFill/>
              </a:ln>
              <a:solidFill>
                <a:prstClr val="black"/>
              </a:solidFill>
              <a:effectLst/>
              <a:uLnTx/>
              <a:uFillTx/>
            </a:endParaRPr>
          </a:p>
        </p:txBody>
      </p:sp>
      <p:sp>
        <p:nvSpPr>
          <p:cNvPr id="40" name="梯形 39">
            <a:extLst>
              <a:ext uri="{FF2B5EF4-FFF2-40B4-BE49-F238E27FC236}">
                <a16:creationId xmlns:a16="http://schemas.microsoft.com/office/drawing/2014/main" id="{281BFC7B-94B5-43C7-B4A1-7B1AD93081CC}"/>
              </a:ext>
            </a:extLst>
          </p:cNvPr>
          <p:cNvSpPr/>
          <p:nvPr/>
        </p:nvSpPr>
        <p:spPr>
          <a:xfrm>
            <a:off x="-2140973" y="4701766"/>
            <a:ext cx="16473945" cy="2182602"/>
          </a:xfrm>
          <a:prstGeom prst="trapezoid">
            <a:avLst>
              <a:gd name="adj" fmla="val 320625"/>
            </a:avLst>
          </a:prstGeom>
          <a:gradFill flip="none" rotWithShape="1">
            <a:gsLst>
              <a:gs pos="23000">
                <a:schemeClr val="accent1">
                  <a:alpha val="30000"/>
                </a:schemeClr>
              </a:gs>
              <a:gs pos="100000">
                <a:schemeClr val="accent1">
                  <a:alpha val="10000"/>
                </a:schemeClr>
              </a:gs>
            </a:gsLst>
            <a:lin ang="162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zh-CN" altLang="en-US" sz="1350"/>
          </a:p>
        </p:txBody>
      </p:sp>
      <p:sp>
        <p:nvSpPr>
          <p:cNvPr id="41" name="梯形 40">
            <a:extLst>
              <a:ext uri="{FF2B5EF4-FFF2-40B4-BE49-F238E27FC236}">
                <a16:creationId xmlns:a16="http://schemas.microsoft.com/office/drawing/2014/main" id="{EFE5ACF3-F845-4179-880E-F7F65FE7D1DF}"/>
              </a:ext>
            </a:extLst>
          </p:cNvPr>
          <p:cNvSpPr/>
          <p:nvPr/>
        </p:nvSpPr>
        <p:spPr>
          <a:xfrm>
            <a:off x="180963" y="4701766"/>
            <a:ext cx="11817924" cy="2182602"/>
          </a:xfrm>
          <a:prstGeom prst="trapezoid">
            <a:avLst>
              <a:gd name="adj" fmla="val 227684"/>
            </a:avLst>
          </a:prstGeom>
          <a:gradFill flip="none" rotWithShape="1">
            <a:gsLst>
              <a:gs pos="23000">
                <a:schemeClr val="accent1">
                  <a:alpha val="30000"/>
                </a:schemeClr>
              </a:gs>
              <a:gs pos="100000">
                <a:schemeClr val="accent1">
                  <a:alpha val="10000"/>
                </a:schemeClr>
              </a:gs>
            </a:gsLst>
            <a:lin ang="162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zh-CN" altLang="en-US" sz="1350"/>
          </a:p>
        </p:txBody>
      </p:sp>
      <p:sp>
        <p:nvSpPr>
          <p:cNvPr id="36" name="文本框 35">
            <a:extLst>
              <a:ext uri="{FF2B5EF4-FFF2-40B4-BE49-F238E27FC236}">
                <a16:creationId xmlns:a16="http://schemas.microsoft.com/office/drawing/2014/main" id="{53B7A5D6-C8AC-46A1-9727-957418A02FC8}"/>
              </a:ext>
            </a:extLst>
          </p:cNvPr>
          <p:cNvSpPr txBox="1"/>
          <p:nvPr/>
        </p:nvSpPr>
        <p:spPr>
          <a:xfrm>
            <a:off x="5129068" y="3064078"/>
            <a:ext cx="1933863" cy="561244"/>
          </a:xfrm>
          <a:prstGeom prst="rect">
            <a:avLst/>
          </a:prstGeom>
          <a:noFill/>
          <a:effectLst/>
        </p:spPr>
        <p:txBody>
          <a:bodyPr wrap="none" lIns="68580" tIns="34290" rIns="68580" bIns="34290" rtlCol="0" anchor="ctr">
            <a:spAutoFit/>
          </a:bodyPr>
          <a:lstStyle>
            <a:defPPr>
              <a:defRPr lang="en-US"/>
            </a:defPPr>
            <a:lvl1pPr>
              <a:defRPr sz="4000" b="1">
                <a:solidFill>
                  <a:schemeClr val="bg1">
                    <a:lumMod val="50000"/>
                  </a:schemeClr>
                </a:solidFill>
              </a:defRPr>
            </a:lvl1pPr>
          </a:lstStyle>
          <a:p>
            <a:pPr algn="ctr" defTabSz="279806">
              <a:lnSpc>
                <a:spcPct val="120000"/>
              </a:lnSpc>
            </a:pPr>
            <a:r>
              <a:rPr lang="zh-CN" altLang="en-US" sz="2800" b="0" dirty="0">
                <a:solidFill>
                  <a:schemeClr val="accent1"/>
                </a:solidFill>
                <a:latin typeface="+mj-ea"/>
                <a:ea typeface="+mj-ea"/>
              </a:rPr>
              <a:t>关键词标题</a:t>
            </a:r>
          </a:p>
        </p:txBody>
      </p:sp>
      <p:sp>
        <p:nvSpPr>
          <p:cNvPr id="37" name="文本框 36">
            <a:extLst>
              <a:ext uri="{FF2B5EF4-FFF2-40B4-BE49-F238E27FC236}">
                <a16:creationId xmlns:a16="http://schemas.microsoft.com/office/drawing/2014/main" id="{A4448BEA-64E9-41D9-BCD7-9C7DCBCCDCCC}"/>
              </a:ext>
            </a:extLst>
          </p:cNvPr>
          <p:cNvSpPr txBox="1"/>
          <p:nvPr/>
        </p:nvSpPr>
        <p:spPr>
          <a:xfrm>
            <a:off x="4333877" y="3659540"/>
            <a:ext cx="3524248" cy="761747"/>
          </a:xfrm>
          <a:prstGeom prst="rect">
            <a:avLst/>
          </a:prstGeom>
          <a:noFill/>
          <a:effectLst/>
        </p:spPr>
        <p:txBody>
          <a:bodyPr wrap="square" lIns="68580" tIns="34290" rIns="68580" bIns="34290" rtlCol="0" anchor="ctr">
            <a:spAutoFit/>
          </a:bodyPr>
          <a:lstStyle>
            <a:defPPr>
              <a:defRPr lang="en-US"/>
            </a:defPPr>
            <a:lvl1pPr>
              <a:defRPr sz="4000" b="1">
                <a:solidFill>
                  <a:schemeClr val="bg1">
                    <a:lumMod val="50000"/>
                  </a:schemeClr>
                </a:solidFill>
              </a:defRPr>
            </a:lvl1pPr>
          </a:lstStyle>
          <a:p>
            <a:pPr algn="ctr" defTabSz="279806"/>
            <a:r>
              <a:rPr lang="en-US" altLang="zh-CN" sz="1500" b="0" dirty="0">
                <a:solidFill>
                  <a:srgbClr val="8F8F8F"/>
                </a:solidFill>
              </a:rPr>
              <a:t>Lorem ipsum dolor sit amet, consectetur adipisicing elit, sed do eiusmod tempor</a:t>
            </a:r>
          </a:p>
        </p:txBody>
      </p:sp>
      <p:cxnSp>
        <p:nvCxnSpPr>
          <p:cNvPr id="31" name="直接箭头连接符 30">
            <a:extLst>
              <a:ext uri="{FF2B5EF4-FFF2-40B4-BE49-F238E27FC236}">
                <a16:creationId xmlns:a16="http://schemas.microsoft.com/office/drawing/2014/main" id="{994238E0-C470-4668-94CC-34BA6555DFBA}"/>
              </a:ext>
            </a:extLst>
          </p:cNvPr>
          <p:cNvCxnSpPr>
            <a:cxnSpLocks/>
          </p:cNvCxnSpPr>
          <p:nvPr/>
        </p:nvCxnSpPr>
        <p:spPr>
          <a:xfrm>
            <a:off x="2505537" y="4061580"/>
            <a:ext cx="0" cy="1497597"/>
          </a:xfrm>
          <a:prstGeom prst="straightConnector1">
            <a:avLst/>
          </a:prstGeom>
          <a:solidFill>
            <a:srgbClr val="29937A"/>
          </a:solidFill>
          <a:ln w="7144">
            <a:solidFill>
              <a:schemeClr val="accent1"/>
            </a:solidFill>
            <a:prstDash val="sysDot"/>
            <a:headEnd type="oval"/>
            <a:tailEnd type="none"/>
          </a:ln>
          <a:effectLst/>
        </p:spPr>
        <p:style>
          <a:lnRef idx="1">
            <a:schemeClr val="accent1"/>
          </a:lnRef>
          <a:fillRef idx="0">
            <a:schemeClr val="accent1"/>
          </a:fillRef>
          <a:effectRef idx="0">
            <a:schemeClr val="accent1"/>
          </a:effectRef>
          <a:fontRef idx="minor">
            <a:schemeClr val="tx1"/>
          </a:fontRef>
        </p:style>
      </p:cxnSp>
      <p:sp>
        <p:nvSpPr>
          <p:cNvPr id="32" name="任意多边形 12">
            <a:extLst>
              <a:ext uri="{FF2B5EF4-FFF2-40B4-BE49-F238E27FC236}">
                <a16:creationId xmlns:a16="http://schemas.microsoft.com/office/drawing/2014/main" id="{8C5FC007-5E24-4B62-B93F-F772191D1BBC}"/>
              </a:ext>
            </a:extLst>
          </p:cNvPr>
          <p:cNvSpPr/>
          <p:nvPr>
            <p:custDataLst>
              <p:tags r:id="rId3"/>
            </p:custDataLst>
          </p:nvPr>
        </p:nvSpPr>
        <p:spPr>
          <a:xfrm>
            <a:off x="1721557" y="2520767"/>
            <a:ext cx="1567961" cy="1544286"/>
          </a:xfrm>
          <a:custGeom>
            <a:avLst/>
            <a:gdLst>
              <a:gd name="connsiteX0" fmla="*/ 145517 w 145517"/>
              <a:gd name="connsiteY0" fmla="*/ 71660 h 143320"/>
              <a:gd name="connsiteX1" fmla="*/ 72759 w 145517"/>
              <a:gd name="connsiteY1" fmla="*/ 143321 h 143320"/>
              <a:gd name="connsiteX2" fmla="*/ 0 w 145517"/>
              <a:gd name="connsiteY2" fmla="*/ 71660 h 143320"/>
              <a:gd name="connsiteX3" fmla="*/ 72759 w 145517"/>
              <a:gd name="connsiteY3" fmla="*/ 0 h 143320"/>
              <a:gd name="connsiteX4" fmla="*/ 145517 w 145517"/>
              <a:gd name="connsiteY4" fmla="*/ 71660 h 1433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517" h="143320">
                <a:moveTo>
                  <a:pt x="145517" y="71660"/>
                </a:moveTo>
                <a:cubicBezTo>
                  <a:pt x="145517" y="111237"/>
                  <a:pt x="112942" y="143321"/>
                  <a:pt x="72759" y="143321"/>
                </a:cubicBezTo>
                <a:cubicBezTo>
                  <a:pt x="32575" y="143321"/>
                  <a:pt x="0" y="111237"/>
                  <a:pt x="0" y="71660"/>
                </a:cubicBezTo>
                <a:cubicBezTo>
                  <a:pt x="0" y="32083"/>
                  <a:pt x="32575" y="0"/>
                  <a:pt x="72759" y="0"/>
                </a:cubicBezTo>
                <a:cubicBezTo>
                  <a:pt x="112942" y="0"/>
                  <a:pt x="145517" y="32083"/>
                  <a:pt x="145517" y="71660"/>
                </a:cubicBezTo>
                <a:close/>
              </a:path>
            </a:pathLst>
          </a:custGeom>
          <a:solidFill>
            <a:schemeClr val="accent1"/>
          </a:solidFill>
          <a:ln w="9525" cap="flat">
            <a:noFill/>
            <a:prstDash val="solid"/>
            <a:miter/>
          </a:ln>
          <a:effectLst>
            <a:outerShdw blurRad="47625" sx="102000" sy="102000" algn="ctr" rotWithShape="0">
              <a:schemeClr val="accent1">
                <a:lumMod val="50000"/>
                <a:alpha val="40000"/>
              </a:schemeClr>
            </a:outerShdw>
          </a:effectLst>
        </p:spPr>
        <p:txBody>
          <a:bodyPr wrap="none" lIns="68580" tIns="34290" rIns="68580" bIns="34290" rtlCol="0" anchor="ctr"/>
          <a:lstStyle/>
          <a:p>
            <a:endParaRPr lang="zh-CN" altLang="en-US" sz="1500"/>
          </a:p>
        </p:txBody>
      </p:sp>
      <p:sp>
        <p:nvSpPr>
          <p:cNvPr id="34" name="文本框 33">
            <a:extLst>
              <a:ext uri="{FF2B5EF4-FFF2-40B4-BE49-F238E27FC236}">
                <a16:creationId xmlns:a16="http://schemas.microsoft.com/office/drawing/2014/main" id="{4BF420D6-8A38-4B14-9508-92830D064334}"/>
              </a:ext>
            </a:extLst>
          </p:cNvPr>
          <p:cNvSpPr txBox="1"/>
          <p:nvPr/>
        </p:nvSpPr>
        <p:spPr>
          <a:xfrm>
            <a:off x="2032331" y="3318315"/>
            <a:ext cx="946413" cy="438262"/>
          </a:xfrm>
          <a:prstGeom prst="rect">
            <a:avLst/>
          </a:prstGeom>
          <a:noFill/>
          <a:effectLst/>
        </p:spPr>
        <p:txBody>
          <a:bodyPr wrap="none" lIns="68580" tIns="34290" rIns="68580" bIns="34290" rtlCol="0" anchor="ctr">
            <a:spAutoFit/>
          </a:bodyPr>
          <a:lstStyle>
            <a:defPPr>
              <a:defRPr lang="en-US"/>
            </a:defPPr>
            <a:lvl1pPr>
              <a:defRPr sz="4000" b="1">
                <a:solidFill>
                  <a:schemeClr val="bg1">
                    <a:lumMod val="50000"/>
                  </a:schemeClr>
                </a:solidFill>
              </a:defRPr>
            </a:lvl1pPr>
          </a:lstStyle>
          <a:p>
            <a:pPr algn="ctr" defTabSz="279806">
              <a:lnSpc>
                <a:spcPct val="120000"/>
              </a:lnSpc>
            </a:pPr>
            <a:r>
              <a:rPr lang="zh-CN" altLang="en-US" sz="2100">
                <a:solidFill>
                  <a:srgbClr val="FFFFFF"/>
                </a:solidFill>
              </a:rPr>
              <a:t>关键词</a:t>
            </a:r>
          </a:p>
        </p:txBody>
      </p:sp>
      <p:cxnSp>
        <p:nvCxnSpPr>
          <p:cNvPr id="25" name="直接箭头连接符 24">
            <a:extLst>
              <a:ext uri="{FF2B5EF4-FFF2-40B4-BE49-F238E27FC236}">
                <a16:creationId xmlns:a16="http://schemas.microsoft.com/office/drawing/2014/main" id="{8E6F959E-741F-4AE8-8C45-419768685CF7}"/>
              </a:ext>
            </a:extLst>
          </p:cNvPr>
          <p:cNvCxnSpPr>
            <a:cxnSpLocks/>
          </p:cNvCxnSpPr>
          <p:nvPr/>
        </p:nvCxnSpPr>
        <p:spPr>
          <a:xfrm>
            <a:off x="4047856" y="3129590"/>
            <a:ext cx="0" cy="1880560"/>
          </a:xfrm>
          <a:prstGeom prst="straightConnector1">
            <a:avLst/>
          </a:prstGeom>
          <a:solidFill>
            <a:srgbClr val="29937A"/>
          </a:solidFill>
          <a:ln w="7144">
            <a:solidFill>
              <a:schemeClr val="accent1"/>
            </a:solidFill>
            <a:prstDash val="sysDot"/>
            <a:headEnd type="oval"/>
            <a:tailEnd type="none"/>
          </a:ln>
          <a:effectLst/>
        </p:spPr>
        <p:style>
          <a:lnRef idx="1">
            <a:schemeClr val="accent1"/>
          </a:lnRef>
          <a:fillRef idx="0">
            <a:schemeClr val="accent1"/>
          </a:fillRef>
          <a:effectRef idx="0">
            <a:schemeClr val="accent1"/>
          </a:effectRef>
          <a:fontRef idx="minor">
            <a:schemeClr val="tx1"/>
          </a:fontRef>
        </p:style>
      </p:cxnSp>
      <p:cxnSp>
        <p:nvCxnSpPr>
          <p:cNvPr id="19" name="直接箭头连接符 18">
            <a:extLst>
              <a:ext uri="{FF2B5EF4-FFF2-40B4-BE49-F238E27FC236}">
                <a16:creationId xmlns:a16="http://schemas.microsoft.com/office/drawing/2014/main" id="{0E633F9C-7EF1-483F-BD66-54DC12284363}"/>
              </a:ext>
            </a:extLst>
          </p:cNvPr>
          <p:cNvCxnSpPr>
            <a:cxnSpLocks/>
          </p:cNvCxnSpPr>
          <p:nvPr/>
        </p:nvCxnSpPr>
        <p:spPr>
          <a:xfrm>
            <a:off x="8144146" y="3129590"/>
            <a:ext cx="0" cy="1880560"/>
          </a:xfrm>
          <a:prstGeom prst="straightConnector1">
            <a:avLst/>
          </a:prstGeom>
          <a:solidFill>
            <a:srgbClr val="29937A"/>
          </a:solidFill>
          <a:ln w="7144">
            <a:solidFill>
              <a:schemeClr val="accent1"/>
            </a:solidFill>
            <a:prstDash val="sysDot"/>
            <a:headEnd type="oval"/>
            <a:tailEnd type="none"/>
          </a:ln>
          <a:effectLst/>
        </p:spPr>
        <p:style>
          <a:lnRef idx="1">
            <a:schemeClr val="accent1"/>
          </a:lnRef>
          <a:fillRef idx="0">
            <a:schemeClr val="accent1"/>
          </a:fillRef>
          <a:effectRef idx="0">
            <a:schemeClr val="accent1"/>
          </a:effectRef>
          <a:fontRef idx="minor">
            <a:schemeClr val="tx1"/>
          </a:fontRef>
        </p:style>
      </p:cxnSp>
      <p:sp>
        <p:nvSpPr>
          <p:cNvPr id="23" name="任意多边形 71">
            <a:extLst>
              <a:ext uri="{FF2B5EF4-FFF2-40B4-BE49-F238E27FC236}">
                <a16:creationId xmlns:a16="http://schemas.microsoft.com/office/drawing/2014/main" id="{BB3E2CD6-5BD3-41D4-ACC7-EAD0D0FDA93C}"/>
              </a:ext>
            </a:extLst>
          </p:cNvPr>
          <p:cNvSpPr/>
          <p:nvPr>
            <p:custDataLst>
              <p:tags r:id="rId4"/>
            </p:custDataLst>
          </p:nvPr>
        </p:nvSpPr>
        <p:spPr>
          <a:xfrm>
            <a:off x="7360165" y="1581777"/>
            <a:ext cx="1567961" cy="1544286"/>
          </a:xfrm>
          <a:custGeom>
            <a:avLst/>
            <a:gdLst>
              <a:gd name="connsiteX0" fmla="*/ 145517 w 145517"/>
              <a:gd name="connsiteY0" fmla="*/ 71660 h 143320"/>
              <a:gd name="connsiteX1" fmla="*/ 72759 w 145517"/>
              <a:gd name="connsiteY1" fmla="*/ 143321 h 143320"/>
              <a:gd name="connsiteX2" fmla="*/ 0 w 145517"/>
              <a:gd name="connsiteY2" fmla="*/ 71660 h 143320"/>
              <a:gd name="connsiteX3" fmla="*/ 72759 w 145517"/>
              <a:gd name="connsiteY3" fmla="*/ 0 h 143320"/>
              <a:gd name="connsiteX4" fmla="*/ 145517 w 145517"/>
              <a:gd name="connsiteY4" fmla="*/ 71660 h 1433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517" h="143320">
                <a:moveTo>
                  <a:pt x="145517" y="71660"/>
                </a:moveTo>
                <a:cubicBezTo>
                  <a:pt x="145517" y="111237"/>
                  <a:pt x="112942" y="143321"/>
                  <a:pt x="72759" y="143321"/>
                </a:cubicBezTo>
                <a:cubicBezTo>
                  <a:pt x="32575" y="143321"/>
                  <a:pt x="0" y="111237"/>
                  <a:pt x="0" y="71660"/>
                </a:cubicBezTo>
                <a:cubicBezTo>
                  <a:pt x="0" y="32083"/>
                  <a:pt x="32575" y="0"/>
                  <a:pt x="72759" y="0"/>
                </a:cubicBezTo>
                <a:cubicBezTo>
                  <a:pt x="112942" y="0"/>
                  <a:pt x="145517" y="32083"/>
                  <a:pt x="145517" y="71660"/>
                </a:cubicBezTo>
                <a:close/>
              </a:path>
            </a:pathLst>
          </a:custGeom>
          <a:solidFill>
            <a:schemeClr val="accent1"/>
          </a:solidFill>
          <a:ln w="9525" cap="flat">
            <a:noFill/>
            <a:prstDash val="solid"/>
            <a:miter/>
          </a:ln>
          <a:effectLst>
            <a:outerShdw blurRad="47625" sx="102000" sy="102000" algn="ctr" rotWithShape="0">
              <a:schemeClr val="accent1">
                <a:lumMod val="50000"/>
                <a:alpha val="40000"/>
              </a:schemeClr>
            </a:outerShdw>
          </a:effectLst>
        </p:spPr>
        <p:txBody>
          <a:bodyPr wrap="none" lIns="68580" tIns="34290" rIns="68580" bIns="34290" rtlCol="0" anchor="ctr"/>
          <a:lstStyle/>
          <a:p>
            <a:pPr algn="ctr"/>
            <a:endParaRPr lang="zh-CN" altLang="en-US" sz="1500"/>
          </a:p>
        </p:txBody>
      </p:sp>
      <p:sp>
        <p:nvSpPr>
          <p:cNvPr id="24" name="文本框 23">
            <a:extLst>
              <a:ext uri="{FF2B5EF4-FFF2-40B4-BE49-F238E27FC236}">
                <a16:creationId xmlns:a16="http://schemas.microsoft.com/office/drawing/2014/main" id="{34A3ABFB-353B-49C5-9266-ED6203E212D1}"/>
              </a:ext>
            </a:extLst>
          </p:cNvPr>
          <p:cNvSpPr txBox="1"/>
          <p:nvPr/>
        </p:nvSpPr>
        <p:spPr>
          <a:xfrm>
            <a:off x="7670939" y="2379325"/>
            <a:ext cx="946413" cy="438262"/>
          </a:xfrm>
          <a:prstGeom prst="rect">
            <a:avLst/>
          </a:prstGeom>
          <a:solidFill>
            <a:schemeClr val="accent1"/>
          </a:solidFill>
          <a:effectLst/>
        </p:spPr>
        <p:txBody>
          <a:bodyPr wrap="none" lIns="68580" tIns="34290" rIns="68580" bIns="34290" rtlCol="0" anchor="ctr">
            <a:spAutoFit/>
          </a:bodyPr>
          <a:lstStyle>
            <a:defPPr>
              <a:defRPr lang="en-US"/>
            </a:defPPr>
            <a:lvl1pPr>
              <a:defRPr sz="4000" b="1">
                <a:solidFill>
                  <a:schemeClr val="bg1">
                    <a:lumMod val="50000"/>
                  </a:schemeClr>
                </a:solidFill>
              </a:defRPr>
            </a:lvl1pPr>
          </a:lstStyle>
          <a:p>
            <a:pPr algn="ctr" defTabSz="279806">
              <a:lnSpc>
                <a:spcPct val="120000"/>
              </a:lnSpc>
            </a:pPr>
            <a:r>
              <a:rPr lang="zh-CN" altLang="en-US" sz="2100">
                <a:solidFill>
                  <a:srgbClr val="FFFFFF"/>
                </a:solidFill>
              </a:rPr>
              <a:t>关键词</a:t>
            </a:r>
          </a:p>
        </p:txBody>
      </p:sp>
      <p:sp>
        <p:nvSpPr>
          <p:cNvPr id="22" name="任意多边形 74">
            <a:extLst>
              <a:ext uri="{FF2B5EF4-FFF2-40B4-BE49-F238E27FC236}">
                <a16:creationId xmlns:a16="http://schemas.microsoft.com/office/drawing/2014/main" id="{D3F8E50C-2840-4663-AD64-E25A9031A605}"/>
              </a:ext>
            </a:extLst>
          </p:cNvPr>
          <p:cNvSpPr/>
          <p:nvPr/>
        </p:nvSpPr>
        <p:spPr>
          <a:xfrm>
            <a:off x="7944587" y="1934101"/>
            <a:ext cx="399116" cy="399116"/>
          </a:xfrm>
          <a:custGeom>
            <a:avLst/>
            <a:gdLst>
              <a:gd name="connsiteX0" fmla="*/ 0 w 895350"/>
              <a:gd name="connsiteY0" fmla="*/ 168593 h 895350"/>
              <a:gd name="connsiteX1" fmla="*/ 92393 w 895350"/>
              <a:gd name="connsiteY1" fmla="*/ 76200 h 895350"/>
              <a:gd name="connsiteX2" fmla="*/ 314325 w 895350"/>
              <a:gd name="connsiteY2" fmla="*/ 76200 h 895350"/>
              <a:gd name="connsiteX3" fmla="*/ 338138 w 895350"/>
              <a:gd name="connsiteY3" fmla="*/ 100013 h 895350"/>
              <a:gd name="connsiteX4" fmla="*/ 314325 w 895350"/>
              <a:gd name="connsiteY4" fmla="*/ 123825 h 895350"/>
              <a:gd name="connsiteX5" fmla="*/ 92393 w 895350"/>
              <a:gd name="connsiteY5" fmla="*/ 123825 h 895350"/>
              <a:gd name="connsiteX6" fmla="*/ 47625 w 895350"/>
              <a:gd name="connsiteY6" fmla="*/ 168593 h 895350"/>
              <a:gd name="connsiteX7" fmla="*/ 47625 w 895350"/>
              <a:gd name="connsiteY7" fmla="*/ 649605 h 895350"/>
              <a:gd name="connsiteX8" fmla="*/ 92393 w 895350"/>
              <a:gd name="connsiteY8" fmla="*/ 694373 h 895350"/>
              <a:gd name="connsiteX9" fmla="*/ 371475 w 895350"/>
              <a:gd name="connsiteY9" fmla="*/ 694373 h 895350"/>
              <a:gd name="connsiteX10" fmla="*/ 395288 w 895350"/>
              <a:gd name="connsiteY10" fmla="*/ 718185 h 895350"/>
              <a:gd name="connsiteX11" fmla="*/ 395288 w 895350"/>
              <a:gd name="connsiteY11" fmla="*/ 794385 h 895350"/>
              <a:gd name="connsiteX12" fmla="*/ 371475 w 895350"/>
              <a:gd name="connsiteY12" fmla="*/ 818198 h 895350"/>
              <a:gd name="connsiteX13" fmla="*/ 323850 w 895350"/>
              <a:gd name="connsiteY13" fmla="*/ 818198 h 895350"/>
              <a:gd name="connsiteX14" fmla="*/ 323850 w 895350"/>
              <a:gd name="connsiteY14" fmla="*/ 851535 h 895350"/>
              <a:gd name="connsiteX15" fmla="*/ 571500 w 895350"/>
              <a:gd name="connsiteY15" fmla="*/ 851535 h 895350"/>
              <a:gd name="connsiteX16" fmla="*/ 571500 w 895350"/>
              <a:gd name="connsiteY16" fmla="*/ 818198 h 895350"/>
              <a:gd name="connsiteX17" fmla="*/ 523875 w 895350"/>
              <a:gd name="connsiteY17" fmla="*/ 818198 h 895350"/>
              <a:gd name="connsiteX18" fmla="*/ 500063 w 895350"/>
              <a:gd name="connsiteY18" fmla="*/ 794385 h 895350"/>
              <a:gd name="connsiteX19" fmla="*/ 500063 w 895350"/>
              <a:gd name="connsiteY19" fmla="*/ 718185 h 895350"/>
              <a:gd name="connsiteX20" fmla="*/ 523875 w 895350"/>
              <a:gd name="connsiteY20" fmla="*/ 694373 h 895350"/>
              <a:gd name="connsiteX21" fmla="*/ 802958 w 895350"/>
              <a:gd name="connsiteY21" fmla="*/ 694373 h 895350"/>
              <a:gd name="connsiteX22" fmla="*/ 847725 w 895350"/>
              <a:gd name="connsiteY22" fmla="*/ 649605 h 895350"/>
              <a:gd name="connsiteX23" fmla="*/ 847725 w 895350"/>
              <a:gd name="connsiteY23" fmla="*/ 168593 h 895350"/>
              <a:gd name="connsiteX24" fmla="*/ 802958 w 895350"/>
              <a:gd name="connsiteY24" fmla="*/ 123825 h 895350"/>
              <a:gd name="connsiteX25" fmla="*/ 592455 w 895350"/>
              <a:gd name="connsiteY25" fmla="*/ 123825 h 895350"/>
              <a:gd name="connsiteX26" fmla="*/ 568643 w 895350"/>
              <a:gd name="connsiteY26" fmla="*/ 100013 h 895350"/>
              <a:gd name="connsiteX27" fmla="*/ 592455 w 895350"/>
              <a:gd name="connsiteY27" fmla="*/ 76200 h 895350"/>
              <a:gd name="connsiteX28" fmla="*/ 805815 w 895350"/>
              <a:gd name="connsiteY28" fmla="*/ 76200 h 895350"/>
              <a:gd name="connsiteX29" fmla="*/ 898208 w 895350"/>
              <a:gd name="connsiteY29" fmla="*/ 168593 h 895350"/>
              <a:gd name="connsiteX30" fmla="*/ 898208 w 895350"/>
              <a:gd name="connsiteY30" fmla="*/ 649605 h 895350"/>
              <a:gd name="connsiteX31" fmla="*/ 805815 w 895350"/>
              <a:gd name="connsiteY31" fmla="*/ 741998 h 895350"/>
              <a:gd name="connsiteX32" fmla="*/ 549593 w 895350"/>
              <a:gd name="connsiteY32" fmla="*/ 741998 h 895350"/>
              <a:gd name="connsiteX33" fmla="*/ 549593 w 895350"/>
              <a:gd name="connsiteY33" fmla="*/ 770573 h 895350"/>
              <a:gd name="connsiteX34" fmla="*/ 580073 w 895350"/>
              <a:gd name="connsiteY34" fmla="*/ 770573 h 895350"/>
              <a:gd name="connsiteX35" fmla="*/ 620078 w 895350"/>
              <a:gd name="connsiteY35" fmla="*/ 810578 h 895350"/>
              <a:gd name="connsiteX36" fmla="*/ 620078 w 895350"/>
              <a:gd name="connsiteY36" fmla="*/ 858203 h 895350"/>
              <a:gd name="connsiteX37" fmla="*/ 580073 w 895350"/>
              <a:gd name="connsiteY37" fmla="*/ 898208 h 895350"/>
              <a:gd name="connsiteX38" fmla="*/ 317183 w 895350"/>
              <a:gd name="connsiteY38" fmla="*/ 898208 h 895350"/>
              <a:gd name="connsiteX39" fmla="*/ 277178 w 895350"/>
              <a:gd name="connsiteY39" fmla="*/ 858203 h 895350"/>
              <a:gd name="connsiteX40" fmla="*/ 277178 w 895350"/>
              <a:gd name="connsiteY40" fmla="*/ 810578 h 895350"/>
              <a:gd name="connsiteX41" fmla="*/ 317183 w 895350"/>
              <a:gd name="connsiteY41" fmla="*/ 770573 h 895350"/>
              <a:gd name="connsiteX42" fmla="*/ 347663 w 895350"/>
              <a:gd name="connsiteY42" fmla="*/ 770573 h 895350"/>
              <a:gd name="connsiteX43" fmla="*/ 347663 w 895350"/>
              <a:gd name="connsiteY43" fmla="*/ 741998 h 895350"/>
              <a:gd name="connsiteX44" fmla="*/ 92393 w 895350"/>
              <a:gd name="connsiteY44" fmla="*/ 741998 h 895350"/>
              <a:gd name="connsiteX45" fmla="*/ 0 w 895350"/>
              <a:gd name="connsiteY45" fmla="*/ 649605 h 895350"/>
              <a:gd name="connsiteX46" fmla="*/ 0 w 895350"/>
              <a:gd name="connsiteY46" fmla="*/ 168593 h 895350"/>
              <a:gd name="connsiteX47" fmla="*/ 310515 w 895350"/>
              <a:gd name="connsiteY47" fmla="*/ 217170 h 895350"/>
              <a:gd name="connsiteX48" fmla="*/ 334328 w 895350"/>
              <a:gd name="connsiteY48" fmla="*/ 193358 h 895350"/>
              <a:gd name="connsiteX49" fmla="*/ 310515 w 895350"/>
              <a:gd name="connsiteY49" fmla="*/ 169545 h 895350"/>
              <a:gd name="connsiteX50" fmla="*/ 117158 w 895350"/>
              <a:gd name="connsiteY50" fmla="*/ 169545 h 895350"/>
              <a:gd name="connsiteX51" fmla="*/ 93345 w 895350"/>
              <a:gd name="connsiteY51" fmla="*/ 193358 h 895350"/>
              <a:gd name="connsiteX52" fmla="*/ 93345 w 895350"/>
              <a:gd name="connsiteY52" fmla="*/ 623888 h 895350"/>
              <a:gd name="connsiteX53" fmla="*/ 117158 w 895350"/>
              <a:gd name="connsiteY53" fmla="*/ 647700 h 895350"/>
              <a:gd name="connsiteX54" fmla="*/ 780098 w 895350"/>
              <a:gd name="connsiteY54" fmla="*/ 647700 h 895350"/>
              <a:gd name="connsiteX55" fmla="*/ 803910 w 895350"/>
              <a:gd name="connsiteY55" fmla="*/ 623888 h 895350"/>
              <a:gd name="connsiteX56" fmla="*/ 803910 w 895350"/>
              <a:gd name="connsiteY56" fmla="*/ 193358 h 895350"/>
              <a:gd name="connsiteX57" fmla="*/ 780098 w 895350"/>
              <a:gd name="connsiteY57" fmla="*/ 169545 h 895350"/>
              <a:gd name="connsiteX58" fmla="*/ 590550 w 895350"/>
              <a:gd name="connsiteY58" fmla="*/ 169545 h 895350"/>
              <a:gd name="connsiteX59" fmla="*/ 566738 w 895350"/>
              <a:gd name="connsiteY59" fmla="*/ 193358 h 895350"/>
              <a:gd name="connsiteX60" fmla="*/ 590550 w 895350"/>
              <a:gd name="connsiteY60" fmla="*/ 217170 h 895350"/>
              <a:gd name="connsiteX61" fmla="*/ 756285 w 895350"/>
              <a:gd name="connsiteY61" fmla="*/ 217170 h 895350"/>
              <a:gd name="connsiteX62" fmla="*/ 756285 w 895350"/>
              <a:gd name="connsiteY62" fmla="*/ 600075 h 895350"/>
              <a:gd name="connsiteX63" fmla="*/ 140970 w 895350"/>
              <a:gd name="connsiteY63" fmla="*/ 600075 h 895350"/>
              <a:gd name="connsiteX64" fmla="*/ 140970 w 895350"/>
              <a:gd name="connsiteY64" fmla="*/ 217170 h 895350"/>
              <a:gd name="connsiteX65" fmla="*/ 310515 w 895350"/>
              <a:gd name="connsiteY65" fmla="*/ 217170 h 895350"/>
              <a:gd name="connsiteX66" fmla="*/ 289560 w 895350"/>
              <a:gd name="connsiteY66" fmla="*/ 332423 h 895350"/>
              <a:gd name="connsiteX67" fmla="*/ 272415 w 895350"/>
              <a:gd name="connsiteY67" fmla="*/ 339090 h 895350"/>
              <a:gd name="connsiteX68" fmla="*/ 272415 w 895350"/>
              <a:gd name="connsiteY68" fmla="*/ 372428 h 895350"/>
              <a:gd name="connsiteX69" fmla="*/ 431483 w 895350"/>
              <a:gd name="connsiteY69" fmla="*/ 531495 h 895350"/>
              <a:gd name="connsiteX70" fmla="*/ 464820 w 895350"/>
              <a:gd name="connsiteY70" fmla="*/ 531495 h 895350"/>
              <a:gd name="connsiteX71" fmla="*/ 624840 w 895350"/>
              <a:gd name="connsiteY71" fmla="*/ 373380 h 895350"/>
              <a:gd name="connsiteX72" fmla="*/ 624840 w 895350"/>
              <a:gd name="connsiteY72" fmla="*/ 340043 h 895350"/>
              <a:gd name="connsiteX73" fmla="*/ 591503 w 895350"/>
              <a:gd name="connsiteY73" fmla="*/ 340043 h 895350"/>
              <a:gd name="connsiteX74" fmla="*/ 472440 w 895350"/>
              <a:gd name="connsiteY74" fmla="*/ 457200 h 895350"/>
              <a:gd name="connsiteX75" fmla="*/ 472440 w 895350"/>
              <a:gd name="connsiteY75" fmla="*/ 23813 h 895350"/>
              <a:gd name="connsiteX76" fmla="*/ 448628 w 895350"/>
              <a:gd name="connsiteY76" fmla="*/ 0 h 895350"/>
              <a:gd name="connsiteX77" fmla="*/ 424815 w 895350"/>
              <a:gd name="connsiteY77" fmla="*/ 23813 h 895350"/>
              <a:gd name="connsiteX78" fmla="*/ 424815 w 895350"/>
              <a:gd name="connsiteY78" fmla="*/ 458153 h 895350"/>
              <a:gd name="connsiteX79" fmla="*/ 306705 w 895350"/>
              <a:gd name="connsiteY79" fmla="*/ 339090 h 895350"/>
              <a:gd name="connsiteX80" fmla="*/ 289560 w 895350"/>
              <a:gd name="connsiteY80" fmla="*/ 332423 h 895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Lst>
            <a:rect l="l" t="t" r="r" b="b"/>
            <a:pathLst>
              <a:path w="895350" h="895350">
                <a:moveTo>
                  <a:pt x="0" y="168593"/>
                </a:moveTo>
                <a:cubicBezTo>
                  <a:pt x="0" y="117158"/>
                  <a:pt x="41910" y="76200"/>
                  <a:pt x="92393" y="76200"/>
                </a:cubicBezTo>
                <a:lnTo>
                  <a:pt x="314325" y="76200"/>
                </a:lnTo>
                <a:cubicBezTo>
                  <a:pt x="327660" y="76200"/>
                  <a:pt x="338138" y="86678"/>
                  <a:pt x="338138" y="100013"/>
                </a:cubicBezTo>
                <a:cubicBezTo>
                  <a:pt x="338138" y="113348"/>
                  <a:pt x="327660" y="123825"/>
                  <a:pt x="314325" y="123825"/>
                </a:cubicBezTo>
                <a:lnTo>
                  <a:pt x="92393" y="123825"/>
                </a:lnTo>
                <a:cubicBezTo>
                  <a:pt x="67628" y="123825"/>
                  <a:pt x="47625" y="143828"/>
                  <a:pt x="47625" y="168593"/>
                </a:cubicBezTo>
                <a:lnTo>
                  <a:pt x="47625" y="649605"/>
                </a:lnTo>
                <a:cubicBezTo>
                  <a:pt x="47625" y="674370"/>
                  <a:pt x="67628" y="694373"/>
                  <a:pt x="92393" y="694373"/>
                </a:cubicBezTo>
                <a:lnTo>
                  <a:pt x="371475" y="694373"/>
                </a:lnTo>
                <a:cubicBezTo>
                  <a:pt x="384810" y="694373"/>
                  <a:pt x="395288" y="704850"/>
                  <a:pt x="395288" y="718185"/>
                </a:cubicBezTo>
                <a:lnTo>
                  <a:pt x="395288" y="794385"/>
                </a:lnTo>
                <a:cubicBezTo>
                  <a:pt x="395288" y="807720"/>
                  <a:pt x="384810" y="818198"/>
                  <a:pt x="371475" y="818198"/>
                </a:cubicBezTo>
                <a:lnTo>
                  <a:pt x="323850" y="818198"/>
                </a:lnTo>
                <a:lnTo>
                  <a:pt x="323850" y="851535"/>
                </a:lnTo>
                <a:lnTo>
                  <a:pt x="571500" y="851535"/>
                </a:lnTo>
                <a:lnTo>
                  <a:pt x="571500" y="818198"/>
                </a:lnTo>
                <a:lnTo>
                  <a:pt x="523875" y="818198"/>
                </a:lnTo>
                <a:cubicBezTo>
                  <a:pt x="510540" y="818198"/>
                  <a:pt x="500063" y="807720"/>
                  <a:pt x="500063" y="794385"/>
                </a:cubicBezTo>
                <a:lnTo>
                  <a:pt x="500063" y="718185"/>
                </a:lnTo>
                <a:cubicBezTo>
                  <a:pt x="500063" y="704850"/>
                  <a:pt x="510540" y="694373"/>
                  <a:pt x="523875" y="694373"/>
                </a:cubicBezTo>
                <a:lnTo>
                  <a:pt x="802958" y="694373"/>
                </a:lnTo>
                <a:cubicBezTo>
                  <a:pt x="827723" y="694373"/>
                  <a:pt x="847725" y="674370"/>
                  <a:pt x="847725" y="649605"/>
                </a:cubicBezTo>
                <a:lnTo>
                  <a:pt x="847725" y="168593"/>
                </a:lnTo>
                <a:cubicBezTo>
                  <a:pt x="847725" y="143828"/>
                  <a:pt x="827723" y="123825"/>
                  <a:pt x="802958" y="123825"/>
                </a:cubicBezTo>
                <a:lnTo>
                  <a:pt x="592455" y="123825"/>
                </a:lnTo>
                <a:cubicBezTo>
                  <a:pt x="579120" y="123825"/>
                  <a:pt x="568643" y="113348"/>
                  <a:pt x="568643" y="100013"/>
                </a:cubicBezTo>
                <a:cubicBezTo>
                  <a:pt x="568643" y="86678"/>
                  <a:pt x="579120" y="76200"/>
                  <a:pt x="592455" y="76200"/>
                </a:cubicBezTo>
                <a:lnTo>
                  <a:pt x="805815" y="76200"/>
                </a:lnTo>
                <a:cubicBezTo>
                  <a:pt x="857250" y="76200"/>
                  <a:pt x="898208" y="118110"/>
                  <a:pt x="898208" y="168593"/>
                </a:cubicBezTo>
                <a:lnTo>
                  <a:pt x="898208" y="649605"/>
                </a:lnTo>
                <a:cubicBezTo>
                  <a:pt x="898208" y="701040"/>
                  <a:pt x="856298" y="741998"/>
                  <a:pt x="805815" y="741998"/>
                </a:cubicBezTo>
                <a:lnTo>
                  <a:pt x="549593" y="741998"/>
                </a:lnTo>
                <a:lnTo>
                  <a:pt x="549593" y="770573"/>
                </a:lnTo>
                <a:lnTo>
                  <a:pt x="580073" y="770573"/>
                </a:lnTo>
                <a:cubicBezTo>
                  <a:pt x="601980" y="770573"/>
                  <a:pt x="620078" y="788670"/>
                  <a:pt x="620078" y="810578"/>
                </a:cubicBezTo>
                <a:lnTo>
                  <a:pt x="620078" y="858203"/>
                </a:lnTo>
                <a:cubicBezTo>
                  <a:pt x="620078" y="880110"/>
                  <a:pt x="601980" y="898208"/>
                  <a:pt x="580073" y="898208"/>
                </a:cubicBezTo>
                <a:lnTo>
                  <a:pt x="317183" y="898208"/>
                </a:lnTo>
                <a:cubicBezTo>
                  <a:pt x="295275" y="898208"/>
                  <a:pt x="277178" y="880110"/>
                  <a:pt x="277178" y="858203"/>
                </a:cubicBezTo>
                <a:lnTo>
                  <a:pt x="277178" y="810578"/>
                </a:lnTo>
                <a:cubicBezTo>
                  <a:pt x="277178" y="788670"/>
                  <a:pt x="295275" y="770573"/>
                  <a:pt x="317183" y="770573"/>
                </a:cubicBezTo>
                <a:lnTo>
                  <a:pt x="347663" y="770573"/>
                </a:lnTo>
                <a:lnTo>
                  <a:pt x="347663" y="741998"/>
                </a:lnTo>
                <a:lnTo>
                  <a:pt x="92393" y="741998"/>
                </a:lnTo>
                <a:cubicBezTo>
                  <a:pt x="40957" y="741998"/>
                  <a:pt x="0" y="700088"/>
                  <a:pt x="0" y="649605"/>
                </a:cubicBezTo>
                <a:lnTo>
                  <a:pt x="0" y="168593"/>
                </a:lnTo>
                <a:close/>
                <a:moveTo>
                  <a:pt x="310515" y="217170"/>
                </a:moveTo>
                <a:cubicBezTo>
                  <a:pt x="323850" y="217170"/>
                  <a:pt x="334328" y="206693"/>
                  <a:pt x="334328" y="193358"/>
                </a:cubicBezTo>
                <a:cubicBezTo>
                  <a:pt x="334328" y="180023"/>
                  <a:pt x="323850" y="169545"/>
                  <a:pt x="310515" y="169545"/>
                </a:cubicBezTo>
                <a:lnTo>
                  <a:pt x="117158" y="169545"/>
                </a:lnTo>
                <a:cubicBezTo>
                  <a:pt x="103823" y="169545"/>
                  <a:pt x="93345" y="180023"/>
                  <a:pt x="93345" y="193358"/>
                </a:cubicBezTo>
                <a:lnTo>
                  <a:pt x="93345" y="623888"/>
                </a:lnTo>
                <a:cubicBezTo>
                  <a:pt x="93345" y="637223"/>
                  <a:pt x="103823" y="647700"/>
                  <a:pt x="117158" y="647700"/>
                </a:cubicBezTo>
                <a:lnTo>
                  <a:pt x="780098" y="647700"/>
                </a:lnTo>
                <a:cubicBezTo>
                  <a:pt x="793433" y="647700"/>
                  <a:pt x="803910" y="637223"/>
                  <a:pt x="803910" y="623888"/>
                </a:cubicBezTo>
                <a:lnTo>
                  <a:pt x="803910" y="193358"/>
                </a:lnTo>
                <a:cubicBezTo>
                  <a:pt x="803910" y="180023"/>
                  <a:pt x="793433" y="169545"/>
                  <a:pt x="780098" y="169545"/>
                </a:cubicBezTo>
                <a:lnTo>
                  <a:pt x="590550" y="169545"/>
                </a:lnTo>
                <a:cubicBezTo>
                  <a:pt x="577215" y="169545"/>
                  <a:pt x="566738" y="180023"/>
                  <a:pt x="566738" y="193358"/>
                </a:cubicBezTo>
                <a:cubicBezTo>
                  <a:pt x="566738" y="206693"/>
                  <a:pt x="577215" y="217170"/>
                  <a:pt x="590550" y="217170"/>
                </a:cubicBezTo>
                <a:lnTo>
                  <a:pt x="756285" y="217170"/>
                </a:lnTo>
                <a:lnTo>
                  <a:pt x="756285" y="600075"/>
                </a:lnTo>
                <a:lnTo>
                  <a:pt x="140970" y="600075"/>
                </a:lnTo>
                <a:lnTo>
                  <a:pt x="140970" y="217170"/>
                </a:lnTo>
                <a:lnTo>
                  <a:pt x="310515" y="217170"/>
                </a:lnTo>
                <a:close/>
                <a:moveTo>
                  <a:pt x="289560" y="332423"/>
                </a:moveTo>
                <a:cubicBezTo>
                  <a:pt x="283845" y="332423"/>
                  <a:pt x="277178" y="334328"/>
                  <a:pt x="272415" y="339090"/>
                </a:cubicBezTo>
                <a:cubicBezTo>
                  <a:pt x="262890" y="348615"/>
                  <a:pt x="262890" y="363855"/>
                  <a:pt x="272415" y="372428"/>
                </a:cubicBezTo>
                <a:lnTo>
                  <a:pt x="431483" y="531495"/>
                </a:lnTo>
                <a:cubicBezTo>
                  <a:pt x="441008" y="541020"/>
                  <a:pt x="456248" y="541020"/>
                  <a:pt x="464820" y="531495"/>
                </a:cubicBezTo>
                <a:lnTo>
                  <a:pt x="624840" y="373380"/>
                </a:lnTo>
                <a:cubicBezTo>
                  <a:pt x="634365" y="363855"/>
                  <a:pt x="634365" y="348615"/>
                  <a:pt x="624840" y="340043"/>
                </a:cubicBezTo>
                <a:cubicBezTo>
                  <a:pt x="615315" y="330518"/>
                  <a:pt x="600075" y="330518"/>
                  <a:pt x="591503" y="340043"/>
                </a:cubicBezTo>
                <a:lnTo>
                  <a:pt x="472440" y="457200"/>
                </a:lnTo>
                <a:lnTo>
                  <a:pt x="472440" y="23813"/>
                </a:lnTo>
                <a:cubicBezTo>
                  <a:pt x="472440" y="10478"/>
                  <a:pt x="461963" y="0"/>
                  <a:pt x="448628" y="0"/>
                </a:cubicBezTo>
                <a:cubicBezTo>
                  <a:pt x="435293" y="0"/>
                  <a:pt x="424815" y="10478"/>
                  <a:pt x="424815" y="23813"/>
                </a:cubicBezTo>
                <a:lnTo>
                  <a:pt x="424815" y="458153"/>
                </a:lnTo>
                <a:lnTo>
                  <a:pt x="306705" y="339090"/>
                </a:lnTo>
                <a:cubicBezTo>
                  <a:pt x="301943" y="334328"/>
                  <a:pt x="296228" y="332423"/>
                  <a:pt x="289560" y="332423"/>
                </a:cubicBezTo>
                <a:close/>
              </a:path>
            </a:pathLst>
          </a:custGeom>
          <a:solidFill>
            <a:schemeClr val="accent1"/>
          </a:solidFill>
          <a:ln w="9525" cap="flat">
            <a:noFill/>
            <a:prstDash val="solid"/>
            <a:miter/>
          </a:ln>
          <a:effectLst/>
        </p:spPr>
        <p:txBody>
          <a:bodyPr wrap="none" lIns="68580" tIns="34290" rIns="68580" bIns="34290" rtlCol="0" anchor="ctr"/>
          <a:lstStyle/>
          <a:p>
            <a:pPr marL="0" marR="0" lvl="0" indent="0" algn="ctr" defTabSz="914400" rtl="0" eaLnBrk="1" fontAlgn="auto" latinLnBrk="0" hangingPunct="1">
              <a:lnSpc>
                <a:spcPct val="100000"/>
              </a:lnSpc>
              <a:spcBef>
                <a:spcPts val="0"/>
              </a:spcBef>
              <a:buClrTx/>
              <a:buSzTx/>
              <a:buFontTx/>
              <a:buNone/>
              <a:tabLst/>
              <a:defRPr/>
            </a:pPr>
            <a:endParaRPr kumimoji="0" lang="zh-CN" altLang="en-US" sz="1350" b="0" i="0" u="none" strike="noStrike" kern="1200" cap="none" spc="0" normalizeH="0" baseline="0" noProof="0">
              <a:ln>
                <a:noFill/>
              </a:ln>
              <a:solidFill>
                <a:prstClr val="black"/>
              </a:solidFill>
              <a:effectLst/>
              <a:uLnTx/>
              <a:uFillTx/>
            </a:endParaRPr>
          </a:p>
        </p:txBody>
      </p:sp>
      <p:cxnSp>
        <p:nvCxnSpPr>
          <p:cNvPr id="12" name="直接箭头连接符 11">
            <a:extLst>
              <a:ext uri="{FF2B5EF4-FFF2-40B4-BE49-F238E27FC236}">
                <a16:creationId xmlns:a16="http://schemas.microsoft.com/office/drawing/2014/main" id="{D13DE84E-37CF-40A6-BB55-CE151010C11A}"/>
              </a:ext>
            </a:extLst>
          </p:cNvPr>
          <p:cNvCxnSpPr>
            <a:cxnSpLocks/>
          </p:cNvCxnSpPr>
          <p:nvPr/>
        </p:nvCxnSpPr>
        <p:spPr>
          <a:xfrm flipH="1">
            <a:off x="9686465" y="4061580"/>
            <a:ext cx="0" cy="1497597"/>
          </a:xfrm>
          <a:prstGeom prst="straightConnector1">
            <a:avLst/>
          </a:prstGeom>
          <a:solidFill>
            <a:srgbClr val="29937A"/>
          </a:solidFill>
          <a:ln w="7144">
            <a:solidFill>
              <a:schemeClr val="accent1"/>
            </a:solidFill>
            <a:prstDash val="sysDot"/>
            <a:headEnd type="oval"/>
            <a:tailEnd type="none"/>
          </a:ln>
          <a:effectLst/>
        </p:spPr>
        <p:style>
          <a:lnRef idx="1">
            <a:schemeClr val="accent1"/>
          </a:lnRef>
          <a:fillRef idx="0">
            <a:schemeClr val="accent1"/>
          </a:fillRef>
          <a:effectRef idx="0">
            <a:schemeClr val="accent1"/>
          </a:effectRef>
          <a:fontRef idx="minor">
            <a:schemeClr val="tx1"/>
          </a:fontRef>
        </p:style>
      </p:cxnSp>
      <p:sp>
        <p:nvSpPr>
          <p:cNvPr id="14" name="任意多边形 82">
            <a:extLst>
              <a:ext uri="{FF2B5EF4-FFF2-40B4-BE49-F238E27FC236}">
                <a16:creationId xmlns:a16="http://schemas.microsoft.com/office/drawing/2014/main" id="{B4EE41E8-BAC1-450B-8A31-3DF9B0342814}"/>
              </a:ext>
            </a:extLst>
          </p:cNvPr>
          <p:cNvSpPr/>
          <p:nvPr>
            <p:custDataLst>
              <p:tags r:id="rId5"/>
            </p:custDataLst>
          </p:nvPr>
        </p:nvSpPr>
        <p:spPr>
          <a:xfrm>
            <a:off x="8902483" y="2520767"/>
            <a:ext cx="1567961" cy="1544286"/>
          </a:xfrm>
          <a:custGeom>
            <a:avLst/>
            <a:gdLst>
              <a:gd name="connsiteX0" fmla="*/ 145517 w 145517"/>
              <a:gd name="connsiteY0" fmla="*/ 71660 h 143320"/>
              <a:gd name="connsiteX1" fmla="*/ 72759 w 145517"/>
              <a:gd name="connsiteY1" fmla="*/ 143321 h 143320"/>
              <a:gd name="connsiteX2" fmla="*/ 0 w 145517"/>
              <a:gd name="connsiteY2" fmla="*/ 71660 h 143320"/>
              <a:gd name="connsiteX3" fmla="*/ 72759 w 145517"/>
              <a:gd name="connsiteY3" fmla="*/ 0 h 143320"/>
              <a:gd name="connsiteX4" fmla="*/ 145517 w 145517"/>
              <a:gd name="connsiteY4" fmla="*/ 71660 h 1433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517" h="143320">
                <a:moveTo>
                  <a:pt x="145517" y="71660"/>
                </a:moveTo>
                <a:cubicBezTo>
                  <a:pt x="145517" y="111237"/>
                  <a:pt x="112942" y="143321"/>
                  <a:pt x="72759" y="143321"/>
                </a:cubicBezTo>
                <a:cubicBezTo>
                  <a:pt x="32575" y="143321"/>
                  <a:pt x="0" y="111237"/>
                  <a:pt x="0" y="71660"/>
                </a:cubicBezTo>
                <a:cubicBezTo>
                  <a:pt x="0" y="32083"/>
                  <a:pt x="32575" y="0"/>
                  <a:pt x="72759" y="0"/>
                </a:cubicBezTo>
                <a:cubicBezTo>
                  <a:pt x="112942" y="0"/>
                  <a:pt x="145517" y="32083"/>
                  <a:pt x="145517" y="71660"/>
                </a:cubicBezTo>
                <a:close/>
              </a:path>
            </a:pathLst>
          </a:custGeom>
          <a:solidFill>
            <a:schemeClr val="accent1"/>
          </a:solidFill>
          <a:ln w="9525" cap="flat">
            <a:noFill/>
            <a:prstDash val="solid"/>
            <a:miter/>
          </a:ln>
          <a:effectLst>
            <a:outerShdw blurRad="47625" sx="102000" sy="102000" algn="ctr" rotWithShape="0">
              <a:schemeClr val="accent1">
                <a:lumMod val="50000"/>
                <a:alpha val="40000"/>
              </a:schemeClr>
            </a:outerShdw>
          </a:effectLst>
        </p:spPr>
        <p:txBody>
          <a:bodyPr wrap="none" lIns="68580" tIns="34290" rIns="68580" bIns="34290" rtlCol="0" anchor="ctr"/>
          <a:lstStyle/>
          <a:p>
            <a:endParaRPr lang="zh-CN" altLang="en-US" sz="1500"/>
          </a:p>
        </p:txBody>
      </p:sp>
      <p:sp>
        <p:nvSpPr>
          <p:cNvPr id="15" name="文本框 14">
            <a:extLst>
              <a:ext uri="{FF2B5EF4-FFF2-40B4-BE49-F238E27FC236}">
                <a16:creationId xmlns:a16="http://schemas.microsoft.com/office/drawing/2014/main" id="{2E995061-04B8-4860-BAA6-2C3549354E9B}"/>
              </a:ext>
            </a:extLst>
          </p:cNvPr>
          <p:cNvSpPr txBox="1"/>
          <p:nvPr/>
        </p:nvSpPr>
        <p:spPr>
          <a:xfrm>
            <a:off x="9213258" y="3318315"/>
            <a:ext cx="946413" cy="438262"/>
          </a:xfrm>
          <a:prstGeom prst="rect">
            <a:avLst/>
          </a:prstGeom>
          <a:noFill/>
          <a:effectLst/>
        </p:spPr>
        <p:txBody>
          <a:bodyPr wrap="none" lIns="68580" tIns="34290" rIns="68580" bIns="34290" rtlCol="0" anchor="ctr">
            <a:spAutoFit/>
          </a:bodyPr>
          <a:lstStyle>
            <a:defPPr>
              <a:defRPr lang="en-US"/>
            </a:defPPr>
            <a:lvl1pPr>
              <a:defRPr sz="4000" b="1">
                <a:solidFill>
                  <a:schemeClr val="bg1">
                    <a:lumMod val="50000"/>
                  </a:schemeClr>
                </a:solidFill>
              </a:defRPr>
            </a:lvl1pPr>
          </a:lstStyle>
          <a:p>
            <a:pPr algn="ctr" defTabSz="279806">
              <a:lnSpc>
                <a:spcPct val="120000"/>
              </a:lnSpc>
            </a:pPr>
            <a:r>
              <a:rPr lang="zh-CN" altLang="en-US" sz="2100">
                <a:solidFill>
                  <a:srgbClr val="FFFFFF"/>
                </a:solidFill>
              </a:rPr>
              <a:t>关键词</a:t>
            </a:r>
          </a:p>
        </p:txBody>
      </p:sp>
      <p:sp>
        <p:nvSpPr>
          <p:cNvPr id="42" name="梯形 41">
            <a:extLst>
              <a:ext uri="{FF2B5EF4-FFF2-40B4-BE49-F238E27FC236}">
                <a16:creationId xmlns:a16="http://schemas.microsoft.com/office/drawing/2014/main" id="{05335466-028C-4D3E-9EFE-EAAE8C3258F6}"/>
              </a:ext>
            </a:extLst>
          </p:cNvPr>
          <p:cNvSpPr/>
          <p:nvPr/>
        </p:nvSpPr>
        <p:spPr>
          <a:xfrm>
            <a:off x="1797600" y="4701766"/>
            <a:ext cx="8584650" cy="2182602"/>
          </a:xfrm>
          <a:prstGeom prst="trapezoid">
            <a:avLst>
              <a:gd name="adj" fmla="val 167858"/>
            </a:avLst>
          </a:prstGeom>
          <a:gradFill flip="none" rotWithShape="1">
            <a:gsLst>
              <a:gs pos="23000">
                <a:schemeClr val="accent1"/>
              </a:gs>
              <a:gs pos="100000">
                <a:schemeClr val="accent1"/>
              </a:gs>
            </a:gsLst>
            <a:lin ang="162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zh-CN" altLang="en-US" sz="1350"/>
          </a:p>
        </p:txBody>
      </p:sp>
      <p:sp>
        <p:nvSpPr>
          <p:cNvPr id="45" name="user_209046">
            <a:extLst>
              <a:ext uri="{FF2B5EF4-FFF2-40B4-BE49-F238E27FC236}">
                <a16:creationId xmlns:a16="http://schemas.microsoft.com/office/drawing/2014/main" id="{EFB70C27-3258-49FA-8AF8-6C449D0A00B7}"/>
              </a:ext>
            </a:extLst>
          </p:cNvPr>
          <p:cNvSpPr/>
          <p:nvPr/>
        </p:nvSpPr>
        <p:spPr>
          <a:xfrm>
            <a:off x="3863841" y="1972640"/>
            <a:ext cx="368030" cy="331874"/>
          </a:xfrm>
          <a:custGeom>
            <a:avLst/>
            <a:gdLst>
              <a:gd name="connsiteX0" fmla="*/ 521432 w 608344"/>
              <a:gd name="connsiteY0" fmla="*/ 370453 h 548582"/>
              <a:gd name="connsiteX1" fmla="*/ 465737 w 608344"/>
              <a:gd name="connsiteY1" fmla="*/ 425787 h 548582"/>
              <a:gd name="connsiteX2" fmla="*/ 442491 w 608344"/>
              <a:gd name="connsiteY2" fmla="*/ 402479 h 548582"/>
              <a:gd name="connsiteX3" fmla="*/ 418201 w 608344"/>
              <a:gd name="connsiteY3" fmla="*/ 426545 h 548582"/>
              <a:gd name="connsiteX4" fmla="*/ 441447 w 608344"/>
              <a:gd name="connsiteY4" fmla="*/ 449948 h 548582"/>
              <a:gd name="connsiteX5" fmla="*/ 465642 w 608344"/>
              <a:gd name="connsiteY5" fmla="*/ 474204 h 548582"/>
              <a:gd name="connsiteX6" fmla="*/ 489932 w 608344"/>
              <a:gd name="connsiteY6" fmla="*/ 450043 h 548582"/>
              <a:gd name="connsiteX7" fmla="*/ 545532 w 608344"/>
              <a:gd name="connsiteY7" fmla="*/ 394709 h 548582"/>
              <a:gd name="connsiteX8" fmla="*/ 481962 w 608344"/>
              <a:gd name="connsiteY8" fmla="*/ 296170 h 548582"/>
              <a:gd name="connsiteX9" fmla="*/ 608344 w 608344"/>
              <a:gd name="connsiteY9" fmla="*/ 422376 h 548582"/>
              <a:gd name="connsiteX10" fmla="*/ 481962 w 608344"/>
              <a:gd name="connsiteY10" fmla="*/ 548582 h 548582"/>
              <a:gd name="connsiteX11" fmla="*/ 355579 w 608344"/>
              <a:gd name="connsiteY11" fmla="*/ 422376 h 548582"/>
              <a:gd name="connsiteX12" fmla="*/ 481962 w 608344"/>
              <a:gd name="connsiteY12" fmla="*/ 296170 h 548582"/>
              <a:gd name="connsiteX13" fmla="*/ 255835 w 608344"/>
              <a:gd name="connsiteY13" fmla="*/ 446 h 548582"/>
              <a:gd name="connsiteX14" fmla="*/ 317801 w 608344"/>
              <a:gd name="connsiteY14" fmla="*/ 13616 h 548582"/>
              <a:gd name="connsiteX15" fmla="*/ 348072 w 608344"/>
              <a:gd name="connsiteY15" fmla="*/ 41661 h 548582"/>
              <a:gd name="connsiteX16" fmla="*/ 381190 w 608344"/>
              <a:gd name="connsiteY16" fmla="*/ 146831 h 548582"/>
              <a:gd name="connsiteX17" fmla="*/ 378913 w 608344"/>
              <a:gd name="connsiteY17" fmla="*/ 156211 h 548582"/>
              <a:gd name="connsiteX18" fmla="*/ 387833 w 608344"/>
              <a:gd name="connsiteY18" fmla="*/ 200458 h 548582"/>
              <a:gd name="connsiteX19" fmla="*/ 366387 w 608344"/>
              <a:gd name="connsiteY19" fmla="*/ 237694 h 548582"/>
              <a:gd name="connsiteX20" fmla="*/ 351393 w 608344"/>
              <a:gd name="connsiteY20" fmla="*/ 278720 h 548582"/>
              <a:gd name="connsiteX21" fmla="*/ 351393 w 608344"/>
              <a:gd name="connsiteY21" fmla="*/ 322873 h 548582"/>
              <a:gd name="connsiteX22" fmla="*/ 317611 w 608344"/>
              <a:gd name="connsiteY22" fmla="*/ 422358 h 548582"/>
              <a:gd name="connsiteX23" fmla="*/ 376635 w 608344"/>
              <a:gd name="connsiteY23" fmla="*/ 548088 h 548582"/>
              <a:gd name="connsiteX24" fmla="*/ 26855 w 608344"/>
              <a:gd name="connsiteY24" fmla="*/ 548088 h 548582"/>
              <a:gd name="connsiteX25" fmla="*/ 0 w 608344"/>
              <a:gd name="connsiteY25" fmla="*/ 521274 h 548582"/>
              <a:gd name="connsiteX26" fmla="*/ 0 w 608344"/>
              <a:gd name="connsiteY26" fmla="*/ 473806 h 548582"/>
              <a:gd name="connsiteX27" fmla="*/ 19453 w 608344"/>
              <a:gd name="connsiteY27" fmla="*/ 432969 h 548582"/>
              <a:gd name="connsiteX28" fmla="*/ 173751 w 608344"/>
              <a:gd name="connsiteY28" fmla="*/ 334242 h 548582"/>
              <a:gd name="connsiteX29" fmla="*/ 176408 w 608344"/>
              <a:gd name="connsiteY29" fmla="*/ 329884 h 548582"/>
              <a:gd name="connsiteX30" fmla="*/ 176408 w 608344"/>
              <a:gd name="connsiteY30" fmla="*/ 278720 h 548582"/>
              <a:gd name="connsiteX31" fmla="*/ 161320 w 608344"/>
              <a:gd name="connsiteY31" fmla="*/ 237694 h 548582"/>
              <a:gd name="connsiteX32" fmla="*/ 139969 w 608344"/>
              <a:gd name="connsiteY32" fmla="*/ 200458 h 548582"/>
              <a:gd name="connsiteX33" fmla="*/ 148320 w 608344"/>
              <a:gd name="connsiteY33" fmla="*/ 156211 h 548582"/>
              <a:gd name="connsiteX34" fmla="*/ 146042 w 608344"/>
              <a:gd name="connsiteY34" fmla="*/ 146736 h 548582"/>
              <a:gd name="connsiteX35" fmla="*/ 145758 w 608344"/>
              <a:gd name="connsiteY35" fmla="*/ 95099 h 548582"/>
              <a:gd name="connsiteX36" fmla="*/ 176029 w 608344"/>
              <a:gd name="connsiteY36" fmla="*/ 42135 h 548582"/>
              <a:gd name="connsiteX37" fmla="*/ 203928 w 608344"/>
              <a:gd name="connsiteY37" fmla="*/ 19017 h 548582"/>
              <a:gd name="connsiteX38" fmla="*/ 231162 w 608344"/>
              <a:gd name="connsiteY38" fmla="*/ 5089 h 548582"/>
              <a:gd name="connsiteX39" fmla="*/ 255835 w 608344"/>
              <a:gd name="connsiteY39" fmla="*/ 446 h 548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608344" h="548582">
                <a:moveTo>
                  <a:pt x="521432" y="370453"/>
                </a:moveTo>
                <a:lnTo>
                  <a:pt x="465737" y="425787"/>
                </a:lnTo>
                <a:lnTo>
                  <a:pt x="442491" y="402479"/>
                </a:lnTo>
                <a:lnTo>
                  <a:pt x="418201" y="426545"/>
                </a:lnTo>
                <a:lnTo>
                  <a:pt x="441447" y="449948"/>
                </a:lnTo>
                <a:lnTo>
                  <a:pt x="465642" y="474204"/>
                </a:lnTo>
                <a:lnTo>
                  <a:pt x="489932" y="450043"/>
                </a:lnTo>
                <a:lnTo>
                  <a:pt x="545532" y="394709"/>
                </a:lnTo>
                <a:close/>
                <a:moveTo>
                  <a:pt x="481962" y="296170"/>
                </a:moveTo>
                <a:cubicBezTo>
                  <a:pt x="551795" y="296170"/>
                  <a:pt x="608344" y="352641"/>
                  <a:pt x="608344" y="422376"/>
                </a:cubicBezTo>
                <a:cubicBezTo>
                  <a:pt x="608344" y="492111"/>
                  <a:pt x="551795" y="548582"/>
                  <a:pt x="481962" y="548582"/>
                </a:cubicBezTo>
                <a:cubicBezTo>
                  <a:pt x="412129" y="548582"/>
                  <a:pt x="355579" y="492111"/>
                  <a:pt x="355579" y="422376"/>
                </a:cubicBezTo>
                <a:cubicBezTo>
                  <a:pt x="355579" y="352641"/>
                  <a:pt x="412129" y="296170"/>
                  <a:pt x="481962" y="296170"/>
                </a:cubicBezTo>
                <a:close/>
                <a:moveTo>
                  <a:pt x="255835" y="446"/>
                </a:moveTo>
                <a:cubicBezTo>
                  <a:pt x="282785" y="-1828"/>
                  <a:pt x="303187" y="4899"/>
                  <a:pt x="317801" y="13616"/>
                </a:cubicBezTo>
                <a:cubicBezTo>
                  <a:pt x="339721" y="25744"/>
                  <a:pt x="348072" y="41661"/>
                  <a:pt x="348072" y="41661"/>
                </a:cubicBezTo>
                <a:cubicBezTo>
                  <a:pt x="348072" y="41661"/>
                  <a:pt x="398176" y="45167"/>
                  <a:pt x="381190" y="146831"/>
                </a:cubicBezTo>
                <a:cubicBezTo>
                  <a:pt x="380621" y="149863"/>
                  <a:pt x="379862" y="153085"/>
                  <a:pt x="378913" y="156211"/>
                </a:cubicBezTo>
                <a:cubicBezTo>
                  <a:pt x="388592" y="156211"/>
                  <a:pt x="398271" y="163507"/>
                  <a:pt x="387833" y="200458"/>
                </a:cubicBezTo>
                <a:cubicBezTo>
                  <a:pt x="379672" y="229262"/>
                  <a:pt x="372080" y="237221"/>
                  <a:pt x="366387" y="237694"/>
                </a:cubicBezTo>
                <a:cubicBezTo>
                  <a:pt x="364394" y="250675"/>
                  <a:pt x="359175" y="265076"/>
                  <a:pt x="351393" y="278720"/>
                </a:cubicBezTo>
                <a:lnTo>
                  <a:pt x="351393" y="322873"/>
                </a:lnTo>
                <a:cubicBezTo>
                  <a:pt x="330232" y="350539"/>
                  <a:pt x="317611" y="385027"/>
                  <a:pt x="317611" y="422358"/>
                </a:cubicBezTo>
                <a:cubicBezTo>
                  <a:pt x="317611" y="472764"/>
                  <a:pt x="340480" y="518053"/>
                  <a:pt x="376635" y="548088"/>
                </a:cubicBezTo>
                <a:lnTo>
                  <a:pt x="26855" y="548088"/>
                </a:lnTo>
                <a:cubicBezTo>
                  <a:pt x="12052" y="548088"/>
                  <a:pt x="0" y="536055"/>
                  <a:pt x="0" y="521274"/>
                </a:cubicBezTo>
                <a:lnTo>
                  <a:pt x="0" y="473806"/>
                </a:lnTo>
                <a:cubicBezTo>
                  <a:pt x="0" y="457983"/>
                  <a:pt x="7212" y="443013"/>
                  <a:pt x="19453" y="432969"/>
                </a:cubicBezTo>
                <a:cubicBezTo>
                  <a:pt x="86638" y="377921"/>
                  <a:pt x="159043" y="341443"/>
                  <a:pt x="173751" y="334242"/>
                </a:cubicBezTo>
                <a:cubicBezTo>
                  <a:pt x="175365" y="333484"/>
                  <a:pt x="176408" y="331779"/>
                  <a:pt x="176408" y="329884"/>
                </a:cubicBezTo>
                <a:lnTo>
                  <a:pt x="176408" y="278720"/>
                </a:lnTo>
                <a:cubicBezTo>
                  <a:pt x="168437" y="265076"/>
                  <a:pt x="163313" y="250675"/>
                  <a:pt x="161320" y="237694"/>
                </a:cubicBezTo>
                <a:cubicBezTo>
                  <a:pt x="155627" y="237221"/>
                  <a:pt x="148035" y="229072"/>
                  <a:pt x="139969" y="200458"/>
                </a:cubicBezTo>
                <a:cubicBezTo>
                  <a:pt x="129531" y="164170"/>
                  <a:pt x="138925" y="156496"/>
                  <a:pt x="148320" y="156211"/>
                </a:cubicBezTo>
                <a:cubicBezTo>
                  <a:pt x="147371" y="153085"/>
                  <a:pt x="146612" y="149863"/>
                  <a:pt x="146042" y="146736"/>
                </a:cubicBezTo>
                <a:cubicBezTo>
                  <a:pt x="142436" y="128450"/>
                  <a:pt x="141487" y="111396"/>
                  <a:pt x="145758" y="95099"/>
                </a:cubicBezTo>
                <a:cubicBezTo>
                  <a:pt x="150787" y="73212"/>
                  <a:pt x="162744" y="55684"/>
                  <a:pt x="176029" y="42135"/>
                </a:cubicBezTo>
                <a:cubicBezTo>
                  <a:pt x="184379" y="33134"/>
                  <a:pt x="193869" y="25459"/>
                  <a:pt x="203928" y="19017"/>
                </a:cubicBezTo>
                <a:cubicBezTo>
                  <a:pt x="212183" y="13332"/>
                  <a:pt x="221293" y="8405"/>
                  <a:pt x="231162" y="5089"/>
                </a:cubicBezTo>
                <a:cubicBezTo>
                  <a:pt x="238849" y="2625"/>
                  <a:pt x="247105" y="825"/>
                  <a:pt x="255835" y="446"/>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6" name="user_209046">
            <a:extLst>
              <a:ext uri="{FF2B5EF4-FFF2-40B4-BE49-F238E27FC236}">
                <a16:creationId xmlns:a16="http://schemas.microsoft.com/office/drawing/2014/main" id="{24B3CFED-5795-424D-8A3E-14E3300F8436}"/>
              </a:ext>
            </a:extLst>
          </p:cNvPr>
          <p:cNvSpPr/>
          <p:nvPr/>
        </p:nvSpPr>
        <p:spPr>
          <a:xfrm>
            <a:off x="2322000" y="2905699"/>
            <a:ext cx="321988" cy="368030"/>
          </a:xfrm>
          <a:custGeom>
            <a:avLst/>
            <a:gdLst>
              <a:gd name="T0" fmla="*/ 8582 w 9077"/>
              <a:gd name="T1" fmla="*/ 4538 h 10373"/>
              <a:gd name="T2" fmla="*/ 9077 w 9077"/>
              <a:gd name="T3" fmla="*/ 4538 h 10373"/>
              <a:gd name="T4" fmla="*/ 9077 w 9077"/>
              <a:gd name="T5" fmla="*/ 9151 h 10373"/>
              <a:gd name="T6" fmla="*/ 7855 w 9077"/>
              <a:gd name="T7" fmla="*/ 10373 h 10373"/>
              <a:gd name="T8" fmla="*/ 4789 w 9077"/>
              <a:gd name="T9" fmla="*/ 10373 h 10373"/>
              <a:gd name="T10" fmla="*/ 4539 w 9077"/>
              <a:gd name="T11" fmla="*/ 10123 h 10373"/>
              <a:gd name="T12" fmla="*/ 4539 w 9077"/>
              <a:gd name="T13" fmla="*/ 9562 h 10373"/>
              <a:gd name="T14" fmla="*/ 4789 w 9077"/>
              <a:gd name="T15" fmla="*/ 9312 h 10373"/>
              <a:gd name="T16" fmla="*/ 7532 w 9077"/>
              <a:gd name="T17" fmla="*/ 9312 h 10373"/>
              <a:gd name="T18" fmla="*/ 8106 w 9077"/>
              <a:gd name="T19" fmla="*/ 8738 h 10373"/>
              <a:gd name="T20" fmla="*/ 8106 w 9077"/>
              <a:gd name="T21" fmla="*/ 7780 h 10373"/>
              <a:gd name="T22" fmla="*/ 6734 w 9077"/>
              <a:gd name="T23" fmla="*/ 7780 h 10373"/>
              <a:gd name="T24" fmla="*/ 6484 w 9077"/>
              <a:gd name="T25" fmla="*/ 7530 h 10373"/>
              <a:gd name="T26" fmla="*/ 6484 w 9077"/>
              <a:gd name="T27" fmla="*/ 4788 h 10373"/>
              <a:gd name="T28" fmla="*/ 6734 w 9077"/>
              <a:gd name="T29" fmla="*/ 4538 h 10373"/>
              <a:gd name="T30" fmla="*/ 8582 w 9077"/>
              <a:gd name="T31" fmla="*/ 4538 h 10373"/>
              <a:gd name="T32" fmla="*/ 8087 w 9077"/>
              <a:gd name="T33" fmla="*/ 4538 h 10373"/>
              <a:gd name="T34" fmla="*/ 8087 w 9077"/>
              <a:gd name="T35" fmla="*/ 4520 h 10373"/>
              <a:gd name="T36" fmla="*/ 4521 w 9077"/>
              <a:gd name="T37" fmla="*/ 972 h 10373"/>
              <a:gd name="T38" fmla="*/ 955 w 9077"/>
              <a:gd name="T39" fmla="*/ 4520 h 10373"/>
              <a:gd name="T40" fmla="*/ 955 w 9077"/>
              <a:gd name="T41" fmla="*/ 4538 h 10373"/>
              <a:gd name="T42" fmla="*/ 0 w 9077"/>
              <a:gd name="T43" fmla="*/ 4538 h 10373"/>
              <a:gd name="T44" fmla="*/ 0 w 9077"/>
              <a:gd name="T45" fmla="*/ 6558 h 10373"/>
              <a:gd name="T46" fmla="*/ 1222 w 9077"/>
              <a:gd name="T47" fmla="*/ 7781 h 10373"/>
              <a:gd name="T48" fmla="*/ 2343 w 9077"/>
              <a:gd name="T49" fmla="*/ 7781 h 10373"/>
              <a:gd name="T50" fmla="*/ 2593 w 9077"/>
              <a:gd name="T51" fmla="*/ 7531 h 10373"/>
              <a:gd name="T52" fmla="*/ 2593 w 9077"/>
              <a:gd name="T53" fmla="*/ 4788 h 10373"/>
              <a:gd name="T54" fmla="*/ 2343 w 9077"/>
              <a:gd name="T55" fmla="*/ 4538 h 10373"/>
              <a:gd name="T56" fmla="*/ 0 w 9077"/>
              <a:gd name="T57" fmla="*/ 4538 h 10373"/>
              <a:gd name="T58" fmla="*/ 0 w 9077"/>
              <a:gd name="T59" fmla="*/ 4516 h 10373"/>
              <a:gd name="T60" fmla="*/ 4539 w 9077"/>
              <a:gd name="T61" fmla="*/ 0 h 10373"/>
              <a:gd name="T62" fmla="*/ 9077 w 9077"/>
              <a:gd name="T63" fmla="*/ 4516 h 10373"/>
              <a:gd name="T64" fmla="*/ 9077 w 9077"/>
              <a:gd name="T65" fmla="*/ 4538 h 10373"/>
              <a:gd name="T66" fmla="*/ 8582 w 9077"/>
              <a:gd name="T67" fmla="*/ 4538 h 10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077" h="10373">
                <a:moveTo>
                  <a:pt x="8582" y="4538"/>
                </a:moveTo>
                <a:lnTo>
                  <a:pt x="9077" y="4538"/>
                </a:lnTo>
                <a:lnTo>
                  <a:pt x="9077" y="9151"/>
                </a:lnTo>
                <a:cubicBezTo>
                  <a:pt x="9077" y="9826"/>
                  <a:pt x="8530" y="10373"/>
                  <a:pt x="7855" y="10373"/>
                </a:cubicBezTo>
                <a:lnTo>
                  <a:pt x="4789" y="10373"/>
                </a:lnTo>
                <a:cubicBezTo>
                  <a:pt x="4651" y="10373"/>
                  <a:pt x="4539" y="10261"/>
                  <a:pt x="4539" y="10123"/>
                </a:cubicBezTo>
                <a:lnTo>
                  <a:pt x="4539" y="9562"/>
                </a:lnTo>
                <a:cubicBezTo>
                  <a:pt x="4539" y="9425"/>
                  <a:pt x="4651" y="9312"/>
                  <a:pt x="4789" y="9312"/>
                </a:cubicBezTo>
                <a:lnTo>
                  <a:pt x="7532" y="9312"/>
                </a:lnTo>
                <a:cubicBezTo>
                  <a:pt x="7850" y="9312"/>
                  <a:pt x="8106" y="9055"/>
                  <a:pt x="8106" y="8738"/>
                </a:cubicBezTo>
                <a:lnTo>
                  <a:pt x="8106" y="7780"/>
                </a:lnTo>
                <a:lnTo>
                  <a:pt x="6734" y="7780"/>
                </a:lnTo>
                <a:cubicBezTo>
                  <a:pt x="6596" y="7780"/>
                  <a:pt x="6484" y="7667"/>
                  <a:pt x="6484" y="7530"/>
                </a:cubicBezTo>
                <a:lnTo>
                  <a:pt x="6484" y="4788"/>
                </a:lnTo>
                <a:cubicBezTo>
                  <a:pt x="6484" y="4651"/>
                  <a:pt x="6596" y="4538"/>
                  <a:pt x="6734" y="4538"/>
                </a:cubicBezTo>
                <a:lnTo>
                  <a:pt x="8582" y="4538"/>
                </a:lnTo>
                <a:lnTo>
                  <a:pt x="8087" y="4538"/>
                </a:lnTo>
                <a:lnTo>
                  <a:pt x="8087" y="4520"/>
                </a:lnTo>
                <a:cubicBezTo>
                  <a:pt x="8087" y="2560"/>
                  <a:pt x="6491" y="972"/>
                  <a:pt x="4521" y="972"/>
                </a:cubicBezTo>
                <a:cubicBezTo>
                  <a:pt x="2552" y="972"/>
                  <a:pt x="955" y="2561"/>
                  <a:pt x="955" y="4520"/>
                </a:cubicBezTo>
                <a:lnTo>
                  <a:pt x="955" y="4538"/>
                </a:lnTo>
                <a:lnTo>
                  <a:pt x="0" y="4538"/>
                </a:lnTo>
                <a:lnTo>
                  <a:pt x="0" y="6558"/>
                </a:lnTo>
                <a:cubicBezTo>
                  <a:pt x="0" y="7233"/>
                  <a:pt x="547" y="7781"/>
                  <a:pt x="1222" y="7781"/>
                </a:cubicBezTo>
                <a:lnTo>
                  <a:pt x="2343" y="7781"/>
                </a:lnTo>
                <a:cubicBezTo>
                  <a:pt x="2481" y="7781"/>
                  <a:pt x="2593" y="7668"/>
                  <a:pt x="2593" y="7531"/>
                </a:cubicBezTo>
                <a:lnTo>
                  <a:pt x="2593" y="4788"/>
                </a:lnTo>
                <a:cubicBezTo>
                  <a:pt x="2593" y="4651"/>
                  <a:pt x="2481" y="4538"/>
                  <a:pt x="2343" y="4538"/>
                </a:cubicBezTo>
                <a:lnTo>
                  <a:pt x="0" y="4538"/>
                </a:lnTo>
                <a:lnTo>
                  <a:pt x="0" y="4516"/>
                </a:lnTo>
                <a:cubicBezTo>
                  <a:pt x="0" y="2022"/>
                  <a:pt x="2032" y="0"/>
                  <a:pt x="4539" y="0"/>
                </a:cubicBezTo>
                <a:cubicBezTo>
                  <a:pt x="7045" y="0"/>
                  <a:pt x="9077" y="2021"/>
                  <a:pt x="9077" y="4516"/>
                </a:cubicBezTo>
                <a:lnTo>
                  <a:pt x="9077" y="4538"/>
                </a:lnTo>
                <a:lnTo>
                  <a:pt x="8582" y="4538"/>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sp>
        <p:nvSpPr>
          <p:cNvPr id="47" name="user_209046">
            <a:extLst>
              <a:ext uri="{FF2B5EF4-FFF2-40B4-BE49-F238E27FC236}">
                <a16:creationId xmlns:a16="http://schemas.microsoft.com/office/drawing/2014/main" id="{CABEB847-CF65-4257-AECC-F27572038925}"/>
              </a:ext>
            </a:extLst>
          </p:cNvPr>
          <p:cNvSpPr/>
          <p:nvPr/>
        </p:nvSpPr>
        <p:spPr>
          <a:xfrm>
            <a:off x="7960130" y="1975710"/>
            <a:ext cx="368030" cy="311062"/>
          </a:xfrm>
          <a:custGeom>
            <a:avLst/>
            <a:gdLst>
              <a:gd name="T0" fmla="*/ 4484 w 10375"/>
              <a:gd name="T1" fmla="*/ 6967 h 8769"/>
              <a:gd name="T2" fmla="*/ 4484 w 10375"/>
              <a:gd name="T3" fmla="*/ 8374 h 8769"/>
              <a:gd name="T4" fmla="*/ 5891 w 10375"/>
              <a:gd name="T5" fmla="*/ 8374 h 8769"/>
              <a:gd name="T6" fmla="*/ 5891 w 10375"/>
              <a:gd name="T7" fmla="*/ 6967 h 8769"/>
              <a:gd name="T8" fmla="*/ 4484 w 10375"/>
              <a:gd name="T9" fmla="*/ 6967 h 8769"/>
              <a:gd name="T10" fmla="*/ 1754 w 10375"/>
              <a:gd name="T11" fmla="*/ 5262 h 8769"/>
              <a:gd name="T12" fmla="*/ 2766 w 10375"/>
              <a:gd name="T13" fmla="*/ 6423 h 8769"/>
              <a:gd name="T14" fmla="*/ 7633 w 10375"/>
              <a:gd name="T15" fmla="*/ 6423 h 8769"/>
              <a:gd name="T16" fmla="*/ 8645 w 10375"/>
              <a:gd name="T17" fmla="*/ 5262 h 8769"/>
              <a:gd name="T18" fmla="*/ 1754 w 10375"/>
              <a:gd name="T19" fmla="*/ 5262 h 8769"/>
              <a:gd name="T20" fmla="*/ 0 w 10375"/>
              <a:gd name="T21" fmla="*/ 3261 h 8769"/>
              <a:gd name="T22" fmla="*/ 1038 w 10375"/>
              <a:gd name="T23" fmla="*/ 4447 h 8769"/>
              <a:gd name="T24" fmla="*/ 9338 w 10375"/>
              <a:gd name="T25" fmla="*/ 4447 h 8769"/>
              <a:gd name="T26" fmla="*/ 10375 w 10375"/>
              <a:gd name="T27" fmla="*/ 3261 h 8769"/>
              <a:gd name="T28" fmla="*/ 0 w 10375"/>
              <a:gd name="T29" fmla="*/ 3261 h 8769"/>
              <a:gd name="T30" fmla="*/ 0 w 10375"/>
              <a:gd name="T31" fmla="*/ 3261 h 87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375" h="8769">
                <a:moveTo>
                  <a:pt x="4484" y="6967"/>
                </a:moveTo>
                <a:cubicBezTo>
                  <a:pt x="4089" y="7362"/>
                  <a:pt x="4089" y="7979"/>
                  <a:pt x="4484" y="8374"/>
                </a:cubicBezTo>
                <a:cubicBezTo>
                  <a:pt x="4879" y="8769"/>
                  <a:pt x="5496" y="8769"/>
                  <a:pt x="5891" y="8374"/>
                </a:cubicBezTo>
                <a:cubicBezTo>
                  <a:pt x="6286" y="7979"/>
                  <a:pt x="6286" y="7362"/>
                  <a:pt x="5891" y="6967"/>
                </a:cubicBezTo>
                <a:cubicBezTo>
                  <a:pt x="5471" y="6571"/>
                  <a:pt x="4854" y="6571"/>
                  <a:pt x="4484" y="6967"/>
                </a:cubicBezTo>
                <a:close/>
                <a:moveTo>
                  <a:pt x="1754" y="5262"/>
                </a:moveTo>
                <a:lnTo>
                  <a:pt x="2766" y="6423"/>
                </a:lnTo>
                <a:cubicBezTo>
                  <a:pt x="4100" y="4892"/>
                  <a:pt x="6299" y="4892"/>
                  <a:pt x="7633" y="6423"/>
                </a:cubicBezTo>
                <a:lnTo>
                  <a:pt x="8645" y="5262"/>
                </a:lnTo>
                <a:cubicBezTo>
                  <a:pt x="6719" y="3088"/>
                  <a:pt x="3656" y="3088"/>
                  <a:pt x="1754" y="5262"/>
                </a:cubicBezTo>
                <a:close/>
                <a:moveTo>
                  <a:pt x="0" y="3261"/>
                </a:moveTo>
                <a:lnTo>
                  <a:pt x="1038" y="4447"/>
                </a:lnTo>
                <a:cubicBezTo>
                  <a:pt x="3335" y="1803"/>
                  <a:pt x="7040" y="1803"/>
                  <a:pt x="9338" y="4447"/>
                </a:cubicBezTo>
                <a:lnTo>
                  <a:pt x="10375" y="3261"/>
                </a:lnTo>
                <a:cubicBezTo>
                  <a:pt x="7534" y="0"/>
                  <a:pt x="2865" y="0"/>
                  <a:pt x="0" y="3261"/>
                </a:cubicBezTo>
                <a:close/>
                <a:moveTo>
                  <a:pt x="0" y="3261"/>
                </a:move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sp>
        <p:nvSpPr>
          <p:cNvPr id="48" name="user_209046">
            <a:extLst>
              <a:ext uri="{FF2B5EF4-FFF2-40B4-BE49-F238E27FC236}">
                <a16:creationId xmlns:a16="http://schemas.microsoft.com/office/drawing/2014/main" id="{BED915F5-14E8-4026-B52B-F98BB14083FB}"/>
              </a:ext>
            </a:extLst>
          </p:cNvPr>
          <p:cNvSpPr/>
          <p:nvPr/>
        </p:nvSpPr>
        <p:spPr>
          <a:xfrm>
            <a:off x="9549866" y="2841445"/>
            <a:ext cx="298838" cy="368030"/>
          </a:xfrm>
          <a:custGeom>
            <a:avLst/>
            <a:gdLst>
              <a:gd name="T0" fmla="*/ 7781 w 8430"/>
              <a:gd name="T1" fmla="*/ 7127 h 10381"/>
              <a:gd name="T2" fmla="*/ 7559 w 8430"/>
              <a:gd name="T3" fmla="*/ 7127 h 10381"/>
              <a:gd name="T4" fmla="*/ 7559 w 8430"/>
              <a:gd name="T5" fmla="*/ 6663 h 10381"/>
              <a:gd name="T6" fmla="*/ 6498 w 8430"/>
              <a:gd name="T7" fmla="*/ 5838 h 10381"/>
              <a:gd name="T8" fmla="*/ 6485 w 8430"/>
              <a:gd name="T9" fmla="*/ 5838 h 10381"/>
              <a:gd name="T10" fmla="*/ 6485 w 8430"/>
              <a:gd name="T11" fmla="*/ 5189 h 10381"/>
              <a:gd name="T12" fmla="*/ 1298 w 8430"/>
              <a:gd name="T13" fmla="*/ 5189 h 10381"/>
              <a:gd name="T14" fmla="*/ 1298 w 8430"/>
              <a:gd name="T15" fmla="*/ 6486 h 10381"/>
              <a:gd name="T16" fmla="*/ 5409 w 8430"/>
              <a:gd name="T17" fmla="*/ 6486 h 10381"/>
              <a:gd name="T18" fmla="*/ 5409 w 8430"/>
              <a:gd name="T19" fmla="*/ 7134 h 10381"/>
              <a:gd name="T20" fmla="*/ 1296 w 8430"/>
              <a:gd name="T21" fmla="*/ 7134 h 10381"/>
              <a:gd name="T22" fmla="*/ 1296 w 8430"/>
              <a:gd name="T23" fmla="*/ 8432 h 10381"/>
              <a:gd name="T24" fmla="*/ 3890 w 8430"/>
              <a:gd name="T25" fmla="*/ 8432 h 10381"/>
              <a:gd name="T26" fmla="*/ 3890 w 8430"/>
              <a:gd name="T27" fmla="*/ 8442 h 10381"/>
              <a:gd name="T28" fmla="*/ 4533 w 8430"/>
              <a:gd name="T29" fmla="*/ 9280 h 10381"/>
              <a:gd name="T30" fmla="*/ 5408 w 8430"/>
              <a:gd name="T31" fmla="*/ 9280 h 10381"/>
              <a:gd name="T32" fmla="*/ 5408 w 8430"/>
              <a:gd name="T33" fmla="*/ 10377 h 10381"/>
              <a:gd name="T34" fmla="*/ 649 w 8430"/>
              <a:gd name="T35" fmla="*/ 10377 h 10381"/>
              <a:gd name="T36" fmla="*/ 0 w 8430"/>
              <a:gd name="T37" fmla="*/ 9728 h 10381"/>
              <a:gd name="T38" fmla="*/ 0 w 8430"/>
              <a:gd name="T39" fmla="*/ 3251 h 10381"/>
              <a:gd name="T40" fmla="*/ 3241 w 8430"/>
              <a:gd name="T41" fmla="*/ 3251 h 10381"/>
              <a:gd name="T42" fmla="*/ 3241 w 8430"/>
              <a:gd name="T43" fmla="*/ 3243 h 10381"/>
              <a:gd name="T44" fmla="*/ 3243 w 8430"/>
              <a:gd name="T45" fmla="*/ 3243 h 10381"/>
              <a:gd name="T46" fmla="*/ 3243 w 8430"/>
              <a:gd name="T47" fmla="*/ 1 h 10381"/>
              <a:gd name="T48" fmla="*/ 7134 w 8430"/>
              <a:gd name="T49" fmla="*/ 1 h 10381"/>
              <a:gd name="T50" fmla="*/ 7783 w 8430"/>
              <a:gd name="T51" fmla="*/ 649 h 10381"/>
              <a:gd name="T52" fmla="*/ 7783 w 8430"/>
              <a:gd name="T53" fmla="*/ 7127 h 10381"/>
              <a:gd name="T54" fmla="*/ 7781 w 8430"/>
              <a:gd name="T55" fmla="*/ 7127 h 10381"/>
              <a:gd name="T56" fmla="*/ 2594 w 8430"/>
              <a:gd name="T57" fmla="*/ 0 h 10381"/>
              <a:gd name="T58" fmla="*/ 2594 w 8430"/>
              <a:gd name="T59" fmla="*/ 2594 h 10381"/>
              <a:gd name="T60" fmla="*/ 0 w 8430"/>
              <a:gd name="T61" fmla="*/ 2594 h 10381"/>
              <a:gd name="T62" fmla="*/ 2594 w 8430"/>
              <a:gd name="T63" fmla="*/ 0 h 10381"/>
              <a:gd name="T64" fmla="*/ 7954 w 8430"/>
              <a:gd name="T65" fmla="*/ 7947 h 10381"/>
              <a:gd name="T66" fmla="*/ 8430 w 8430"/>
              <a:gd name="T67" fmla="*/ 8424 h 10381"/>
              <a:gd name="T68" fmla="*/ 8430 w 8430"/>
              <a:gd name="T69" fmla="*/ 8444 h 10381"/>
              <a:gd name="T70" fmla="*/ 7954 w 8430"/>
              <a:gd name="T71" fmla="*/ 8922 h 10381"/>
              <a:gd name="T72" fmla="*/ 6971 w 8430"/>
              <a:gd name="T73" fmla="*/ 8922 h 10381"/>
              <a:gd name="T74" fmla="*/ 6971 w 8430"/>
              <a:gd name="T75" fmla="*/ 9901 h 10381"/>
              <a:gd name="T76" fmla="*/ 6495 w 8430"/>
              <a:gd name="T77" fmla="*/ 10378 h 10381"/>
              <a:gd name="T78" fmla="*/ 6480 w 8430"/>
              <a:gd name="T79" fmla="*/ 10378 h 10381"/>
              <a:gd name="T80" fmla="*/ 5999 w 8430"/>
              <a:gd name="T81" fmla="*/ 9907 h 10381"/>
              <a:gd name="T82" fmla="*/ 5999 w 8430"/>
              <a:gd name="T83" fmla="*/ 8922 h 10381"/>
              <a:gd name="T84" fmla="*/ 5021 w 8430"/>
              <a:gd name="T85" fmla="*/ 8922 h 10381"/>
              <a:gd name="T86" fmla="*/ 4540 w 8430"/>
              <a:gd name="T87" fmla="*/ 8443 h 10381"/>
              <a:gd name="T88" fmla="*/ 4540 w 8430"/>
              <a:gd name="T89" fmla="*/ 8427 h 10381"/>
              <a:gd name="T90" fmla="*/ 5021 w 8430"/>
              <a:gd name="T91" fmla="*/ 7949 h 10381"/>
              <a:gd name="T92" fmla="*/ 5999 w 8430"/>
              <a:gd name="T93" fmla="*/ 7949 h 10381"/>
              <a:gd name="T94" fmla="*/ 5999 w 8430"/>
              <a:gd name="T95" fmla="*/ 6966 h 10381"/>
              <a:gd name="T96" fmla="*/ 6480 w 8430"/>
              <a:gd name="T97" fmla="*/ 6488 h 10381"/>
              <a:gd name="T98" fmla="*/ 6495 w 8430"/>
              <a:gd name="T99" fmla="*/ 6488 h 10381"/>
              <a:gd name="T100" fmla="*/ 6971 w 8430"/>
              <a:gd name="T101" fmla="*/ 6966 h 10381"/>
              <a:gd name="T102" fmla="*/ 6971 w 8430"/>
              <a:gd name="T103" fmla="*/ 7948 h 10381"/>
              <a:gd name="T104" fmla="*/ 7954 w 8430"/>
              <a:gd name="T105" fmla="*/ 7947 h 103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430" h="10381">
                <a:moveTo>
                  <a:pt x="7781" y="7127"/>
                </a:moveTo>
                <a:lnTo>
                  <a:pt x="7559" y="7127"/>
                </a:lnTo>
                <a:lnTo>
                  <a:pt x="7559" y="6663"/>
                </a:lnTo>
                <a:cubicBezTo>
                  <a:pt x="7559" y="6132"/>
                  <a:pt x="7019" y="5838"/>
                  <a:pt x="6498" y="5838"/>
                </a:cubicBezTo>
                <a:lnTo>
                  <a:pt x="6485" y="5838"/>
                </a:lnTo>
                <a:lnTo>
                  <a:pt x="6485" y="5189"/>
                </a:lnTo>
                <a:lnTo>
                  <a:pt x="1298" y="5189"/>
                </a:lnTo>
                <a:lnTo>
                  <a:pt x="1298" y="6486"/>
                </a:lnTo>
                <a:lnTo>
                  <a:pt x="5409" y="6486"/>
                </a:lnTo>
                <a:lnTo>
                  <a:pt x="5409" y="7134"/>
                </a:lnTo>
                <a:lnTo>
                  <a:pt x="1296" y="7134"/>
                </a:lnTo>
                <a:lnTo>
                  <a:pt x="1296" y="8432"/>
                </a:lnTo>
                <a:lnTo>
                  <a:pt x="3890" y="8432"/>
                </a:lnTo>
                <a:lnTo>
                  <a:pt x="3890" y="8442"/>
                </a:lnTo>
                <a:cubicBezTo>
                  <a:pt x="3890" y="8798"/>
                  <a:pt x="4175" y="9280"/>
                  <a:pt x="4533" y="9280"/>
                </a:cubicBezTo>
                <a:lnTo>
                  <a:pt x="5408" y="9280"/>
                </a:lnTo>
                <a:lnTo>
                  <a:pt x="5408" y="10377"/>
                </a:lnTo>
                <a:lnTo>
                  <a:pt x="649" y="10377"/>
                </a:lnTo>
                <a:cubicBezTo>
                  <a:pt x="290" y="10377"/>
                  <a:pt x="0" y="10087"/>
                  <a:pt x="0" y="9728"/>
                </a:cubicBezTo>
                <a:lnTo>
                  <a:pt x="0" y="3251"/>
                </a:lnTo>
                <a:lnTo>
                  <a:pt x="3241" y="3251"/>
                </a:lnTo>
                <a:lnTo>
                  <a:pt x="3241" y="3243"/>
                </a:lnTo>
                <a:lnTo>
                  <a:pt x="3243" y="3243"/>
                </a:lnTo>
                <a:lnTo>
                  <a:pt x="3243" y="1"/>
                </a:lnTo>
                <a:lnTo>
                  <a:pt x="7134" y="1"/>
                </a:lnTo>
                <a:cubicBezTo>
                  <a:pt x="7493" y="1"/>
                  <a:pt x="7783" y="291"/>
                  <a:pt x="7783" y="649"/>
                </a:cubicBezTo>
                <a:lnTo>
                  <a:pt x="7783" y="7127"/>
                </a:lnTo>
                <a:lnTo>
                  <a:pt x="7781" y="7127"/>
                </a:lnTo>
                <a:close/>
                <a:moveTo>
                  <a:pt x="2594" y="0"/>
                </a:moveTo>
                <a:lnTo>
                  <a:pt x="2594" y="2594"/>
                </a:lnTo>
                <a:lnTo>
                  <a:pt x="0" y="2594"/>
                </a:lnTo>
                <a:lnTo>
                  <a:pt x="2594" y="0"/>
                </a:lnTo>
                <a:close/>
                <a:moveTo>
                  <a:pt x="7954" y="7947"/>
                </a:moveTo>
                <a:cubicBezTo>
                  <a:pt x="8216" y="7947"/>
                  <a:pt x="8430" y="8161"/>
                  <a:pt x="8430" y="8424"/>
                </a:cubicBezTo>
                <a:lnTo>
                  <a:pt x="8430" y="8444"/>
                </a:lnTo>
                <a:cubicBezTo>
                  <a:pt x="8430" y="8707"/>
                  <a:pt x="8216" y="8922"/>
                  <a:pt x="7954" y="8922"/>
                </a:cubicBezTo>
                <a:lnTo>
                  <a:pt x="6971" y="8922"/>
                </a:lnTo>
                <a:lnTo>
                  <a:pt x="6971" y="9901"/>
                </a:lnTo>
                <a:cubicBezTo>
                  <a:pt x="6971" y="10163"/>
                  <a:pt x="6757" y="10378"/>
                  <a:pt x="6495" y="10378"/>
                </a:cubicBezTo>
                <a:lnTo>
                  <a:pt x="6480" y="10378"/>
                </a:lnTo>
                <a:cubicBezTo>
                  <a:pt x="6217" y="10381"/>
                  <a:pt x="6001" y="10171"/>
                  <a:pt x="5999" y="9907"/>
                </a:cubicBezTo>
                <a:lnTo>
                  <a:pt x="5999" y="8922"/>
                </a:lnTo>
                <a:lnTo>
                  <a:pt x="5021" y="8922"/>
                </a:lnTo>
                <a:cubicBezTo>
                  <a:pt x="4756" y="8923"/>
                  <a:pt x="4541" y="8708"/>
                  <a:pt x="4540" y="8443"/>
                </a:cubicBezTo>
                <a:lnTo>
                  <a:pt x="4540" y="8427"/>
                </a:lnTo>
                <a:cubicBezTo>
                  <a:pt x="4544" y="8163"/>
                  <a:pt x="4757" y="7952"/>
                  <a:pt x="5021" y="7949"/>
                </a:cubicBezTo>
                <a:lnTo>
                  <a:pt x="5999" y="7949"/>
                </a:lnTo>
                <a:lnTo>
                  <a:pt x="5999" y="6966"/>
                </a:lnTo>
                <a:cubicBezTo>
                  <a:pt x="5999" y="6702"/>
                  <a:pt x="6212" y="6488"/>
                  <a:pt x="6480" y="6488"/>
                </a:cubicBezTo>
                <a:lnTo>
                  <a:pt x="6495" y="6488"/>
                </a:lnTo>
                <a:cubicBezTo>
                  <a:pt x="6757" y="6488"/>
                  <a:pt x="6971" y="6702"/>
                  <a:pt x="6971" y="6966"/>
                </a:cubicBezTo>
                <a:lnTo>
                  <a:pt x="6971" y="7948"/>
                </a:lnTo>
                <a:lnTo>
                  <a:pt x="7954" y="7947"/>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spTree>
    <p:extLst>
      <p:ext uri="{BB962C8B-B14F-4D97-AF65-F5344CB8AC3E}">
        <p14:creationId xmlns:p14="http://schemas.microsoft.com/office/powerpoint/2010/main" val="2722213711"/>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3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椭圆 1">
            <a:extLst>
              <a:ext uri="{FF2B5EF4-FFF2-40B4-BE49-F238E27FC236}">
                <a16:creationId xmlns:a16="http://schemas.microsoft.com/office/drawing/2014/main" id="{BE571BD2-38D6-4AC9-B4B8-489C63EA8BB5}"/>
              </a:ext>
            </a:extLst>
          </p:cNvPr>
          <p:cNvSpPr/>
          <p:nvPr/>
        </p:nvSpPr>
        <p:spPr>
          <a:xfrm>
            <a:off x="838200" y="313131"/>
            <a:ext cx="10515600" cy="5915028"/>
          </a:xfrm>
          <a:custGeom>
            <a:avLst/>
            <a:gdLst>
              <a:gd name="connsiteX0" fmla="*/ 0 w 3028950"/>
              <a:gd name="connsiteY0" fmla="*/ 1514475 h 3028950"/>
              <a:gd name="connsiteX1" fmla="*/ 1514475 w 3028950"/>
              <a:gd name="connsiteY1" fmla="*/ 0 h 3028950"/>
              <a:gd name="connsiteX2" fmla="*/ 3028950 w 3028950"/>
              <a:gd name="connsiteY2" fmla="*/ 1514475 h 3028950"/>
              <a:gd name="connsiteX3" fmla="*/ 1514475 w 3028950"/>
              <a:gd name="connsiteY3" fmla="*/ 3028950 h 3028950"/>
              <a:gd name="connsiteX4" fmla="*/ 0 w 3028950"/>
              <a:gd name="connsiteY4" fmla="*/ 1514475 h 3028950"/>
              <a:gd name="connsiteX0" fmla="*/ 0 w 3028950"/>
              <a:gd name="connsiteY0" fmla="*/ 1514475 h 1703784"/>
              <a:gd name="connsiteX1" fmla="*/ 1514475 w 3028950"/>
              <a:gd name="connsiteY1" fmla="*/ 0 h 1703784"/>
              <a:gd name="connsiteX2" fmla="*/ 3028950 w 3028950"/>
              <a:gd name="connsiteY2" fmla="*/ 1514475 h 1703784"/>
              <a:gd name="connsiteX3" fmla="*/ 0 w 3028950"/>
              <a:gd name="connsiteY3" fmla="*/ 1514475 h 1703784"/>
            </a:gdLst>
            <a:ahLst/>
            <a:cxnLst>
              <a:cxn ang="0">
                <a:pos x="connsiteX0" y="connsiteY0"/>
              </a:cxn>
              <a:cxn ang="0">
                <a:pos x="connsiteX1" y="connsiteY1"/>
              </a:cxn>
              <a:cxn ang="0">
                <a:pos x="connsiteX2" y="connsiteY2"/>
              </a:cxn>
              <a:cxn ang="0">
                <a:pos x="connsiteX3" y="connsiteY3"/>
              </a:cxn>
            </a:cxnLst>
            <a:rect l="l" t="t" r="r" b="b"/>
            <a:pathLst>
              <a:path w="3028950" h="1703784">
                <a:moveTo>
                  <a:pt x="0" y="1514475"/>
                </a:moveTo>
                <a:cubicBezTo>
                  <a:pt x="0" y="678054"/>
                  <a:pt x="678054" y="0"/>
                  <a:pt x="1514475" y="0"/>
                </a:cubicBezTo>
                <a:cubicBezTo>
                  <a:pt x="2350896" y="0"/>
                  <a:pt x="3028950" y="678054"/>
                  <a:pt x="3028950" y="1514475"/>
                </a:cubicBezTo>
                <a:cubicBezTo>
                  <a:pt x="2776538" y="1766887"/>
                  <a:pt x="252412" y="1766887"/>
                  <a:pt x="0" y="1514475"/>
                </a:cubicBezTo>
                <a:close/>
              </a:path>
            </a:pathLst>
          </a:custGeom>
          <a:gradFill>
            <a:gsLst>
              <a:gs pos="0">
                <a:schemeClr val="accent1">
                  <a:alpha val="20000"/>
                </a:schemeClr>
              </a:gs>
              <a:gs pos="87000">
                <a:schemeClr val="accent1">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37" name="椭圆 1">
            <a:extLst>
              <a:ext uri="{FF2B5EF4-FFF2-40B4-BE49-F238E27FC236}">
                <a16:creationId xmlns:a16="http://schemas.microsoft.com/office/drawing/2014/main" id="{2379535F-73DA-46B6-91A1-8E3D5497E897}"/>
              </a:ext>
            </a:extLst>
          </p:cNvPr>
          <p:cNvSpPr/>
          <p:nvPr/>
        </p:nvSpPr>
        <p:spPr>
          <a:xfrm>
            <a:off x="2743200" y="2230651"/>
            <a:ext cx="6705600" cy="3771900"/>
          </a:xfrm>
          <a:custGeom>
            <a:avLst/>
            <a:gdLst>
              <a:gd name="connsiteX0" fmla="*/ 0 w 3028950"/>
              <a:gd name="connsiteY0" fmla="*/ 1514475 h 3028950"/>
              <a:gd name="connsiteX1" fmla="*/ 1514475 w 3028950"/>
              <a:gd name="connsiteY1" fmla="*/ 0 h 3028950"/>
              <a:gd name="connsiteX2" fmla="*/ 3028950 w 3028950"/>
              <a:gd name="connsiteY2" fmla="*/ 1514475 h 3028950"/>
              <a:gd name="connsiteX3" fmla="*/ 1514475 w 3028950"/>
              <a:gd name="connsiteY3" fmla="*/ 3028950 h 3028950"/>
              <a:gd name="connsiteX4" fmla="*/ 0 w 3028950"/>
              <a:gd name="connsiteY4" fmla="*/ 1514475 h 3028950"/>
              <a:gd name="connsiteX0" fmla="*/ 0 w 3028950"/>
              <a:gd name="connsiteY0" fmla="*/ 1514475 h 1703784"/>
              <a:gd name="connsiteX1" fmla="*/ 1514475 w 3028950"/>
              <a:gd name="connsiteY1" fmla="*/ 0 h 1703784"/>
              <a:gd name="connsiteX2" fmla="*/ 3028950 w 3028950"/>
              <a:gd name="connsiteY2" fmla="*/ 1514475 h 1703784"/>
              <a:gd name="connsiteX3" fmla="*/ 0 w 3028950"/>
              <a:gd name="connsiteY3" fmla="*/ 1514475 h 1703784"/>
            </a:gdLst>
            <a:ahLst/>
            <a:cxnLst>
              <a:cxn ang="0">
                <a:pos x="connsiteX0" y="connsiteY0"/>
              </a:cxn>
              <a:cxn ang="0">
                <a:pos x="connsiteX1" y="connsiteY1"/>
              </a:cxn>
              <a:cxn ang="0">
                <a:pos x="connsiteX2" y="connsiteY2"/>
              </a:cxn>
              <a:cxn ang="0">
                <a:pos x="connsiteX3" y="connsiteY3"/>
              </a:cxn>
            </a:cxnLst>
            <a:rect l="l" t="t" r="r" b="b"/>
            <a:pathLst>
              <a:path w="3028950" h="1703784">
                <a:moveTo>
                  <a:pt x="0" y="1514475"/>
                </a:moveTo>
                <a:cubicBezTo>
                  <a:pt x="0" y="678054"/>
                  <a:pt x="678054" y="0"/>
                  <a:pt x="1514475" y="0"/>
                </a:cubicBezTo>
                <a:cubicBezTo>
                  <a:pt x="2350896" y="0"/>
                  <a:pt x="3028950" y="678054"/>
                  <a:pt x="3028950" y="1514475"/>
                </a:cubicBezTo>
                <a:cubicBezTo>
                  <a:pt x="2776538" y="1766887"/>
                  <a:pt x="252412" y="1766887"/>
                  <a:pt x="0" y="1514475"/>
                </a:cubicBezTo>
                <a:close/>
              </a:path>
            </a:pathLst>
          </a:custGeom>
          <a:gradFill>
            <a:gsLst>
              <a:gs pos="0">
                <a:schemeClr val="accent1">
                  <a:alpha val="20000"/>
                </a:schemeClr>
              </a:gs>
              <a:gs pos="87000">
                <a:schemeClr val="accent1">
                  <a:alpha val="0"/>
                </a:schemeClr>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35" name="椭圆 1">
            <a:extLst>
              <a:ext uri="{FF2B5EF4-FFF2-40B4-BE49-F238E27FC236}">
                <a16:creationId xmlns:a16="http://schemas.microsoft.com/office/drawing/2014/main" id="{D5D37271-3D55-4D4F-8C00-6598F9E522DD}"/>
              </a:ext>
            </a:extLst>
          </p:cNvPr>
          <p:cNvSpPr/>
          <p:nvPr/>
        </p:nvSpPr>
        <p:spPr>
          <a:xfrm>
            <a:off x="4152900" y="4042171"/>
            <a:ext cx="3886200" cy="2185988"/>
          </a:xfrm>
          <a:custGeom>
            <a:avLst/>
            <a:gdLst>
              <a:gd name="connsiteX0" fmla="*/ 0 w 3028950"/>
              <a:gd name="connsiteY0" fmla="*/ 1514475 h 3028950"/>
              <a:gd name="connsiteX1" fmla="*/ 1514475 w 3028950"/>
              <a:gd name="connsiteY1" fmla="*/ 0 h 3028950"/>
              <a:gd name="connsiteX2" fmla="*/ 3028950 w 3028950"/>
              <a:gd name="connsiteY2" fmla="*/ 1514475 h 3028950"/>
              <a:gd name="connsiteX3" fmla="*/ 1514475 w 3028950"/>
              <a:gd name="connsiteY3" fmla="*/ 3028950 h 3028950"/>
              <a:gd name="connsiteX4" fmla="*/ 0 w 3028950"/>
              <a:gd name="connsiteY4" fmla="*/ 1514475 h 3028950"/>
              <a:gd name="connsiteX0" fmla="*/ 0 w 3028950"/>
              <a:gd name="connsiteY0" fmla="*/ 1514475 h 1703784"/>
              <a:gd name="connsiteX1" fmla="*/ 1514475 w 3028950"/>
              <a:gd name="connsiteY1" fmla="*/ 0 h 1703784"/>
              <a:gd name="connsiteX2" fmla="*/ 3028950 w 3028950"/>
              <a:gd name="connsiteY2" fmla="*/ 1514475 h 1703784"/>
              <a:gd name="connsiteX3" fmla="*/ 0 w 3028950"/>
              <a:gd name="connsiteY3" fmla="*/ 1514475 h 1703784"/>
            </a:gdLst>
            <a:ahLst/>
            <a:cxnLst>
              <a:cxn ang="0">
                <a:pos x="connsiteX0" y="connsiteY0"/>
              </a:cxn>
              <a:cxn ang="0">
                <a:pos x="connsiteX1" y="connsiteY1"/>
              </a:cxn>
              <a:cxn ang="0">
                <a:pos x="connsiteX2" y="connsiteY2"/>
              </a:cxn>
              <a:cxn ang="0">
                <a:pos x="connsiteX3" y="connsiteY3"/>
              </a:cxn>
            </a:cxnLst>
            <a:rect l="l" t="t" r="r" b="b"/>
            <a:pathLst>
              <a:path w="3028950" h="1703784">
                <a:moveTo>
                  <a:pt x="0" y="1514475"/>
                </a:moveTo>
                <a:cubicBezTo>
                  <a:pt x="0" y="678054"/>
                  <a:pt x="678054" y="0"/>
                  <a:pt x="1514475" y="0"/>
                </a:cubicBezTo>
                <a:cubicBezTo>
                  <a:pt x="2350896" y="0"/>
                  <a:pt x="3028950" y="678054"/>
                  <a:pt x="3028950" y="1514475"/>
                </a:cubicBezTo>
                <a:cubicBezTo>
                  <a:pt x="2776538" y="1766887"/>
                  <a:pt x="252412" y="1766887"/>
                  <a:pt x="0" y="1514475"/>
                </a:cubicBezTo>
                <a:close/>
              </a:path>
            </a:pathLst>
          </a:custGeom>
          <a:gradFill>
            <a:gsLst>
              <a:gs pos="0">
                <a:schemeClr val="accent1">
                  <a:alpha val="37000"/>
                </a:schemeClr>
              </a:gs>
              <a:gs pos="87000">
                <a:schemeClr val="accent1">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4" name="矩形 3">
            <a:extLst>
              <a:ext uri="{FF2B5EF4-FFF2-40B4-BE49-F238E27FC236}">
                <a16:creationId xmlns:a16="http://schemas.microsoft.com/office/drawing/2014/main" id="{4FD8F3A2-AB91-4A3D-A898-B7CBE3EEF210}"/>
              </a:ext>
            </a:extLst>
          </p:cNvPr>
          <p:cNvSpPr/>
          <p:nvPr/>
        </p:nvSpPr>
        <p:spPr>
          <a:xfrm>
            <a:off x="347384" y="347384"/>
            <a:ext cx="221735" cy="221735"/>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2" name="椭圆 1">
            <a:extLst>
              <a:ext uri="{FF2B5EF4-FFF2-40B4-BE49-F238E27FC236}">
                <a16:creationId xmlns:a16="http://schemas.microsoft.com/office/drawing/2014/main" id="{8A3EDBB5-D2E1-4745-8690-4C836961B20B}"/>
              </a:ext>
            </a:extLst>
          </p:cNvPr>
          <p:cNvSpPr/>
          <p:nvPr/>
        </p:nvSpPr>
        <p:spPr>
          <a:xfrm>
            <a:off x="4581525" y="4524375"/>
            <a:ext cx="3028950" cy="1703784"/>
          </a:xfrm>
          <a:custGeom>
            <a:avLst/>
            <a:gdLst>
              <a:gd name="connsiteX0" fmla="*/ 0 w 3028950"/>
              <a:gd name="connsiteY0" fmla="*/ 1514475 h 3028950"/>
              <a:gd name="connsiteX1" fmla="*/ 1514475 w 3028950"/>
              <a:gd name="connsiteY1" fmla="*/ 0 h 3028950"/>
              <a:gd name="connsiteX2" fmla="*/ 3028950 w 3028950"/>
              <a:gd name="connsiteY2" fmla="*/ 1514475 h 3028950"/>
              <a:gd name="connsiteX3" fmla="*/ 1514475 w 3028950"/>
              <a:gd name="connsiteY3" fmla="*/ 3028950 h 3028950"/>
              <a:gd name="connsiteX4" fmla="*/ 0 w 3028950"/>
              <a:gd name="connsiteY4" fmla="*/ 1514475 h 3028950"/>
              <a:gd name="connsiteX0" fmla="*/ 0 w 3028950"/>
              <a:gd name="connsiteY0" fmla="*/ 1514475 h 1703784"/>
              <a:gd name="connsiteX1" fmla="*/ 1514475 w 3028950"/>
              <a:gd name="connsiteY1" fmla="*/ 0 h 1703784"/>
              <a:gd name="connsiteX2" fmla="*/ 3028950 w 3028950"/>
              <a:gd name="connsiteY2" fmla="*/ 1514475 h 1703784"/>
              <a:gd name="connsiteX3" fmla="*/ 0 w 3028950"/>
              <a:gd name="connsiteY3" fmla="*/ 1514475 h 1703784"/>
            </a:gdLst>
            <a:ahLst/>
            <a:cxnLst>
              <a:cxn ang="0">
                <a:pos x="connsiteX0" y="connsiteY0"/>
              </a:cxn>
              <a:cxn ang="0">
                <a:pos x="connsiteX1" y="connsiteY1"/>
              </a:cxn>
              <a:cxn ang="0">
                <a:pos x="connsiteX2" y="connsiteY2"/>
              </a:cxn>
              <a:cxn ang="0">
                <a:pos x="connsiteX3" y="connsiteY3"/>
              </a:cxn>
            </a:cxnLst>
            <a:rect l="l" t="t" r="r" b="b"/>
            <a:pathLst>
              <a:path w="3028950" h="1703784">
                <a:moveTo>
                  <a:pt x="0" y="1514475"/>
                </a:moveTo>
                <a:cubicBezTo>
                  <a:pt x="0" y="678054"/>
                  <a:pt x="678054" y="0"/>
                  <a:pt x="1514475" y="0"/>
                </a:cubicBezTo>
                <a:cubicBezTo>
                  <a:pt x="2350896" y="0"/>
                  <a:pt x="3028950" y="678054"/>
                  <a:pt x="3028950" y="1514475"/>
                </a:cubicBezTo>
                <a:cubicBezTo>
                  <a:pt x="2776538" y="1766887"/>
                  <a:pt x="252412" y="1766887"/>
                  <a:pt x="0" y="1514475"/>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45" name="椭圆 44">
            <a:extLst>
              <a:ext uri="{FF2B5EF4-FFF2-40B4-BE49-F238E27FC236}">
                <a16:creationId xmlns:a16="http://schemas.microsoft.com/office/drawing/2014/main" id="{59A61E94-9C61-4129-BC07-D56863A5032D}"/>
              </a:ext>
            </a:extLst>
          </p:cNvPr>
          <p:cNvSpPr/>
          <p:nvPr/>
        </p:nvSpPr>
        <p:spPr>
          <a:xfrm>
            <a:off x="3027811" y="5410005"/>
            <a:ext cx="914400" cy="9144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l"/>
            <a:r>
              <a:rPr lang="zh-CN" altLang="en-US" sz="1600" dirty="0">
                <a:solidFill>
                  <a:schemeClr val="bg1"/>
                </a:solidFill>
                <a:latin typeface="+mj-ea"/>
                <a:ea typeface="+mj-ea"/>
              </a:rPr>
              <a:t>关键词</a:t>
            </a:r>
          </a:p>
        </p:txBody>
      </p:sp>
      <p:sp>
        <p:nvSpPr>
          <p:cNvPr id="46" name="椭圆 45">
            <a:extLst>
              <a:ext uri="{FF2B5EF4-FFF2-40B4-BE49-F238E27FC236}">
                <a16:creationId xmlns:a16="http://schemas.microsoft.com/office/drawing/2014/main" id="{2EF069B9-B2C7-4327-81FA-CBD87940EBBD}"/>
              </a:ext>
            </a:extLst>
          </p:cNvPr>
          <p:cNvSpPr/>
          <p:nvPr/>
        </p:nvSpPr>
        <p:spPr>
          <a:xfrm>
            <a:off x="3792552" y="3563757"/>
            <a:ext cx="914400" cy="9144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l"/>
            <a:r>
              <a:rPr lang="zh-CN" altLang="en-US" sz="1600" dirty="0">
                <a:solidFill>
                  <a:schemeClr val="bg1"/>
                </a:solidFill>
                <a:latin typeface="+mj-ea"/>
                <a:ea typeface="+mj-ea"/>
              </a:rPr>
              <a:t>关键词</a:t>
            </a:r>
          </a:p>
        </p:txBody>
      </p:sp>
      <p:sp>
        <p:nvSpPr>
          <p:cNvPr id="47" name="椭圆 46">
            <a:extLst>
              <a:ext uri="{FF2B5EF4-FFF2-40B4-BE49-F238E27FC236}">
                <a16:creationId xmlns:a16="http://schemas.microsoft.com/office/drawing/2014/main" id="{56CBCE21-0169-45D4-9A8A-68515B1C82A8}"/>
              </a:ext>
            </a:extLst>
          </p:cNvPr>
          <p:cNvSpPr/>
          <p:nvPr/>
        </p:nvSpPr>
        <p:spPr>
          <a:xfrm>
            <a:off x="5638800" y="2799016"/>
            <a:ext cx="914400" cy="9144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l"/>
            <a:r>
              <a:rPr lang="zh-CN" altLang="en-US" sz="1600" dirty="0">
                <a:solidFill>
                  <a:schemeClr val="bg1"/>
                </a:solidFill>
                <a:latin typeface="+mj-ea"/>
                <a:ea typeface="+mj-ea"/>
              </a:rPr>
              <a:t>关键词</a:t>
            </a:r>
          </a:p>
        </p:txBody>
      </p:sp>
      <p:sp>
        <p:nvSpPr>
          <p:cNvPr id="48" name="椭圆 47">
            <a:extLst>
              <a:ext uri="{FF2B5EF4-FFF2-40B4-BE49-F238E27FC236}">
                <a16:creationId xmlns:a16="http://schemas.microsoft.com/office/drawing/2014/main" id="{EC19E0F4-926B-4D4D-BEAA-4B17E58F8502}"/>
              </a:ext>
            </a:extLst>
          </p:cNvPr>
          <p:cNvSpPr/>
          <p:nvPr/>
        </p:nvSpPr>
        <p:spPr>
          <a:xfrm>
            <a:off x="7485048" y="3563757"/>
            <a:ext cx="914400" cy="9144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l"/>
            <a:r>
              <a:rPr lang="zh-CN" altLang="en-US" sz="1600" dirty="0">
                <a:solidFill>
                  <a:schemeClr val="bg1"/>
                </a:solidFill>
                <a:latin typeface="+mj-ea"/>
                <a:ea typeface="+mj-ea"/>
              </a:rPr>
              <a:t>关键词</a:t>
            </a:r>
          </a:p>
        </p:txBody>
      </p:sp>
      <p:sp>
        <p:nvSpPr>
          <p:cNvPr id="49" name="椭圆 48">
            <a:extLst>
              <a:ext uri="{FF2B5EF4-FFF2-40B4-BE49-F238E27FC236}">
                <a16:creationId xmlns:a16="http://schemas.microsoft.com/office/drawing/2014/main" id="{C4CD4A39-9BFC-48E6-8A0E-5B588B3C2C81}"/>
              </a:ext>
            </a:extLst>
          </p:cNvPr>
          <p:cNvSpPr/>
          <p:nvPr/>
        </p:nvSpPr>
        <p:spPr>
          <a:xfrm>
            <a:off x="8249789" y="5410005"/>
            <a:ext cx="914400" cy="9144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l"/>
            <a:r>
              <a:rPr lang="zh-CN" altLang="en-US" sz="1600" dirty="0">
                <a:solidFill>
                  <a:schemeClr val="bg1"/>
                </a:solidFill>
                <a:latin typeface="+mj-ea"/>
                <a:ea typeface="+mj-ea"/>
              </a:rPr>
              <a:t>关键词</a:t>
            </a:r>
          </a:p>
        </p:txBody>
      </p:sp>
      <p:sp>
        <p:nvSpPr>
          <p:cNvPr id="68" name="椭圆 67">
            <a:extLst>
              <a:ext uri="{FF2B5EF4-FFF2-40B4-BE49-F238E27FC236}">
                <a16:creationId xmlns:a16="http://schemas.microsoft.com/office/drawing/2014/main" id="{35909571-2C25-4C15-955F-EA3ECB727493}"/>
              </a:ext>
            </a:extLst>
          </p:cNvPr>
          <p:cNvSpPr/>
          <p:nvPr/>
        </p:nvSpPr>
        <p:spPr>
          <a:xfrm>
            <a:off x="1403141" y="5094541"/>
            <a:ext cx="914400" cy="9144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l"/>
            <a:r>
              <a:rPr lang="zh-CN" altLang="en-US" sz="1600" dirty="0">
                <a:solidFill>
                  <a:schemeClr val="bg1"/>
                </a:solidFill>
                <a:latin typeface="+mj-ea"/>
                <a:ea typeface="+mj-ea"/>
              </a:rPr>
              <a:t>关键词</a:t>
            </a:r>
          </a:p>
        </p:txBody>
      </p:sp>
      <p:sp>
        <p:nvSpPr>
          <p:cNvPr id="72" name="椭圆 71">
            <a:extLst>
              <a:ext uri="{FF2B5EF4-FFF2-40B4-BE49-F238E27FC236}">
                <a16:creationId xmlns:a16="http://schemas.microsoft.com/office/drawing/2014/main" id="{2B3A624E-A44C-4061-98C5-1A99895D11F5}"/>
              </a:ext>
            </a:extLst>
          </p:cNvPr>
          <p:cNvSpPr/>
          <p:nvPr/>
        </p:nvSpPr>
        <p:spPr>
          <a:xfrm>
            <a:off x="2212080" y="2604883"/>
            <a:ext cx="914400" cy="9144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l"/>
            <a:r>
              <a:rPr lang="zh-CN" altLang="en-US" sz="1600" dirty="0">
                <a:solidFill>
                  <a:schemeClr val="bg1"/>
                </a:solidFill>
                <a:latin typeface="+mj-ea"/>
                <a:ea typeface="+mj-ea"/>
              </a:rPr>
              <a:t>关键词</a:t>
            </a:r>
          </a:p>
        </p:txBody>
      </p:sp>
      <p:sp>
        <p:nvSpPr>
          <p:cNvPr id="73" name="椭圆 72">
            <a:extLst>
              <a:ext uri="{FF2B5EF4-FFF2-40B4-BE49-F238E27FC236}">
                <a16:creationId xmlns:a16="http://schemas.microsoft.com/office/drawing/2014/main" id="{EA468738-4447-4952-A6C5-F66CDE10737A}"/>
              </a:ext>
            </a:extLst>
          </p:cNvPr>
          <p:cNvSpPr/>
          <p:nvPr/>
        </p:nvSpPr>
        <p:spPr>
          <a:xfrm>
            <a:off x="4329909" y="1066190"/>
            <a:ext cx="914400" cy="9144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l"/>
            <a:r>
              <a:rPr lang="zh-CN" altLang="en-US" sz="1600" dirty="0">
                <a:solidFill>
                  <a:schemeClr val="bg1"/>
                </a:solidFill>
                <a:latin typeface="+mj-ea"/>
                <a:ea typeface="+mj-ea"/>
              </a:rPr>
              <a:t>关键词</a:t>
            </a:r>
          </a:p>
        </p:txBody>
      </p:sp>
      <p:sp>
        <p:nvSpPr>
          <p:cNvPr id="74" name="椭圆 73">
            <a:extLst>
              <a:ext uri="{FF2B5EF4-FFF2-40B4-BE49-F238E27FC236}">
                <a16:creationId xmlns:a16="http://schemas.microsoft.com/office/drawing/2014/main" id="{7CC18D60-8639-4909-B9E1-345F454A1428}"/>
              </a:ext>
            </a:extLst>
          </p:cNvPr>
          <p:cNvSpPr/>
          <p:nvPr/>
        </p:nvSpPr>
        <p:spPr>
          <a:xfrm>
            <a:off x="6947691" y="1066190"/>
            <a:ext cx="914400" cy="9144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l"/>
            <a:r>
              <a:rPr lang="zh-CN" altLang="en-US" sz="1600" dirty="0">
                <a:solidFill>
                  <a:schemeClr val="bg1"/>
                </a:solidFill>
                <a:latin typeface="+mj-ea"/>
                <a:ea typeface="+mj-ea"/>
              </a:rPr>
              <a:t>关键词</a:t>
            </a:r>
          </a:p>
        </p:txBody>
      </p:sp>
      <p:sp>
        <p:nvSpPr>
          <p:cNvPr id="75" name="椭圆 74">
            <a:extLst>
              <a:ext uri="{FF2B5EF4-FFF2-40B4-BE49-F238E27FC236}">
                <a16:creationId xmlns:a16="http://schemas.microsoft.com/office/drawing/2014/main" id="{272971C8-D9EA-446E-BC48-D988540EBC40}"/>
              </a:ext>
            </a:extLst>
          </p:cNvPr>
          <p:cNvSpPr/>
          <p:nvPr/>
        </p:nvSpPr>
        <p:spPr>
          <a:xfrm>
            <a:off x="9065520" y="2604883"/>
            <a:ext cx="914400" cy="9144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l"/>
            <a:r>
              <a:rPr lang="zh-CN" altLang="en-US" sz="1600" dirty="0">
                <a:solidFill>
                  <a:schemeClr val="bg1"/>
                </a:solidFill>
                <a:latin typeface="+mj-ea"/>
                <a:ea typeface="+mj-ea"/>
              </a:rPr>
              <a:t>关键词</a:t>
            </a:r>
          </a:p>
        </p:txBody>
      </p:sp>
      <p:sp>
        <p:nvSpPr>
          <p:cNvPr id="76" name="椭圆 75">
            <a:extLst>
              <a:ext uri="{FF2B5EF4-FFF2-40B4-BE49-F238E27FC236}">
                <a16:creationId xmlns:a16="http://schemas.microsoft.com/office/drawing/2014/main" id="{67337B1A-5293-4B94-BDD5-DB547F554BD3}"/>
              </a:ext>
            </a:extLst>
          </p:cNvPr>
          <p:cNvSpPr/>
          <p:nvPr/>
        </p:nvSpPr>
        <p:spPr>
          <a:xfrm>
            <a:off x="9874459" y="5094541"/>
            <a:ext cx="914400" cy="9144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l"/>
            <a:r>
              <a:rPr lang="zh-CN" altLang="en-US" sz="1600" dirty="0">
                <a:solidFill>
                  <a:schemeClr val="bg1"/>
                </a:solidFill>
                <a:latin typeface="+mj-ea"/>
                <a:ea typeface="+mj-ea"/>
              </a:rPr>
              <a:t>关键词</a:t>
            </a:r>
          </a:p>
        </p:txBody>
      </p:sp>
      <p:sp>
        <p:nvSpPr>
          <p:cNvPr id="81" name="user_209046">
            <a:extLst>
              <a:ext uri="{FF2B5EF4-FFF2-40B4-BE49-F238E27FC236}">
                <a16:creationId xmlns:a16="http://schemas.microsoft.com/office/drawing/2014/main" id="{3E058470-2EA6-40A2-8AC3-EA8214BB8C17}"/>
              </a:ext>
            </a:extLst>
          </p:cNvPr>
          <p:cNvSpPr/>
          <p:nvPr/>
        </p:nvSpPr>
        <p:spPr>
          <a:xfrm>
            <a:off x="5822604" y="4768983"/>
            <a:ext cx="673446" cy="607284"/>
          </a:xfrm>
          <a:custGeom>
            <a:avLst/>
            <a:gdLst>
              <a:gd name="connsiteX0" fmla="*/ 521432 w 608344"/>
              <a:gd name="connsiteY0" fmla="*/ 370453 h 548582"/>
              <a:gd name="connsiteX1" fmla="*/ 465737 w 608344"/>
              <a:gd name="connsiteY1" fmla="*/ 425787 h 548582"/>
              <a:gd name="connsiteX2" fmla="*/ 442491 w 608344"/>
              <a:gd name="connsiteY2" fmla="*/ 402479 h 548582"/>
              <a:gd name="connsiteX3" fmla="*/ 418201 w 608344"/>
              <a:gd name="connsiteY3" fmla="*/ 426545 h 548582"/>
              <a:gd name="connsiteX4" fmla="*/ 441447 w 608344"/>
              <a:gd name="connsiteY4" fmla="*/ 449948 h 548582"/>
              <a:gd name="connsiteX5" fmla="*/ 465642 w 608344"/>
              <a:gd name="connsiteY5" fmla="*/ 474204 h 548582"/>
              <a:gd name="connsiteX6" fmla="*/ 489932 w 608344"/>
              <a:gd name="connsiteY6" fmla="*/ 450043 h 548582"/>
              <a:gd name="connsiteX7" fmla="*/ 545532 w 608344"/>
              <a:gd name="connsiteY7" fmla="*/ 394709 h 548582"/>
              <a:gd name="connsiteX8" fmla="*/ 481962 w 608344"/>
              <a:gd name="connsiteY8" fmla="*/ 296170 h 548582"/>
              <a:gd name="connsiteX9" fmla="*/ 608344 w 608344"/>
              <a:gd name="connsiteY9" fmla="*/ 422376 h 548582"/>
              <a:gd name="connsiteX10" fmla="*/ 481962 w 608344"/>
              <a:gd name="connsiteY10" fmla="*/ 548582 h 548582"/>
              <a:gd name="connsiteX11" fmla="*/ 355579 w 608344"/>
              <a:gd name="connsiteY11" fmla="*/ 422376 h 548582"/>
              <a:gd name="connsiteX12" fmla="*/ 481962 w 608344"/>
              <a:gd name="connsiteY12" fmla="*/ 296170 h 548582"/>
              <a:gd name="connsiteX13" fmla="*/ 255835 w 608344"/>
              <a:gd name="connsiteY13" fmla="*/ 446 h 548582"/>
              <a:gd name="connsiteX14" fmla="*/ 317801 w 608344"/>
              <a:gd name="connsiteY14" fmla="*/ 13616 h 548582"/>
              <a:gd name="connsiteX15" fmla="*/ 348072 w 608344"/>
              <a:gd name="connsiteY15" fmla="*/ 41661 h 548582"/>
              <a:gd name="connsiteX16" fmla="*/ 381190 w 608344"/>
              <a:gd name="connsiteY16" fmla="*/ 146831 h 548582"/>
              <a:gd name="connsiteX17" fmla="*/ 378913 w 608344"/>
              <a:gd name="connsiteY17" fmla="*/ 156211 h 548582"/>
              <a:gd name="connsiteX18" fmla="*/ 387833 w 608344"/>
              <a:gd name="connsiteY18" fmla="*/ 200458 h 548582"/>
              <a:gd name="connsiteX19" fmla="*/ 366387 w 608344"/>
              <a:gd name="connsiteY19" fmla="*/ 237694 h 548582"/>
              <a:gd name="connsiteX20" fmla="*/ 351393 w 608344"/>
              <a:gd name="connsiteY20" fmla="*/ 278720 h 548582"/>
              <a:gd name="connsiteX21" fmla="*/ 351393 w 608344"/>
              <a:gd name="connsiteY21" fmla="*/ 322873 h 548582"/>
              <a:gd name="connsiteX22" fmla="*/ 317611 w 608344"/>
              <a:gd name="connsiteY22" fmla="*/ 422358 h 548582"/>
              <a:gd name="connsiteX23" fmla="*/ 376635 w 608344"/>
              <a:gd name="connsiteY23" fmla="*/ 548088 h 548582"/>
              <a:gd name="connsiteX24" fmla="*/ 26855 w 608344"/>
              <a:gd name="connsiteY24" fmla="*/ 548088 h 548582"/>
              <a:gd name="connsiteX25" fmla="*/ 0 w 608344"/>
              <a:gd name="connsiteY25" fmla="*/ 521274 h 548582"/>
              <a:gd name="connsiteX26" fmla="*/ 0 w 608344"/>
              <a:gd name="connsiteY26" fmla="*/ 473806 h 548582"/>
              <a:gd name="connsiteX27" fmla="*/ 19453 w 608344"/>
              <a:gd name="connsiteY27" fmla="*/ 432969 h 548582"/>
              <a:gd name="connsiteX28" fmla="*/ 173751 w 608344"/>
              <a:gd name="connsiteY28" fmla="*/ 334242 h 548582"/>
              <a:gd name="connsiteX29" fmla="*/ 176408 w 608344"/>
              <a:gd name="connsiteY29" fmla="*/ 329884 h 548582"/>
              <a:gd name="connsiteX30" fmla="*/ 176408 w 608344"/>
              <a:gd name="connsiteY30" fmla="*/ 278720 h 548582"/>
              <a:gd name="connsiteX31" fmla="*/ 161320 w 608344"/>
              <a:gd name="connsiteY31" fmla="*/ 237694 h 548582"/>
              <a:gd name="connsiteX32" fmla="*/ 139969 w 608344"/>
              <a:gd name="connsiteY32" fmla="*/ 200458 h 548582"/>
              <a:gd name="connsiteX33" fmla="*/ 148320 w 608344"/>
              <a:gd name="connsiteY33" fmla="*/ 156211 h 548582"/>
              <a:gd name="connsiteX34" fmla="*/ 146042 w 608344"/>
              <a:gd name="connsiteY34" fmla="*/ 146736 h 548582"/>
              <a:gd name="connsiteX35" fmla="*/ 145758 w 608344"/>
              <a:gd name="connsiteY35" fmla="*/ 95099 h 548582"/>
              <a:gd name="connsiteX36" fmla="*/ 176029 w 608344"/>
              <a:gd name="connsiteY36" fmla="*/ 42135 h 548582"/>
              <a:gd name="connsiteX37" fmla="*/ 203928 w 608344"/>
              <a:gd name="connsiteY37" fmla="*/ 19017 h 548582"/>
              <a:gd name="connsiteX38" fmla="*/ 231162 w 608344"/>
              <a:gd name="connsiteY38" fmla="*/ 5089 h 548582"/>
              <a:gd name="connsiteX39" fmla="*/ 255835 w 608344"/>
              <a:gd name="connsiteY39" fmla="*/ 446 h 548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608344" h="548582">
                <a:moveTo>
                  <a:pt x="521432" y="370453"/>
                </a:moveTo>
                <a:lnTo>
                  <a:pt x="465737" y="425787"/>
                </a:lnTo>
                <a:lnTo>
                  <a:pt x="442491" y="402479"/>
                </a:lnTo>
                <a:lnTo>
                  <a:pt x="418201" y="426545"/>
                </a:lnTo>
                <a:lnTo>
                  <a:pt x="441447" y="449948"/>
                </a:lnTo>
                <a:lnTo>
                  <a:pt x="465642" y="474204"/>
                </a:lnTo>
                <a:lnTo>
                  <a:pt x="489932" y="450043"/>
                </a:lnTo>
                <a:lnTo>
                  <a:pt x="545532" y="394709"/>
                </a:lnTo>
                <a:close/>
                <a:moveTo>
                  <a:pt x="481962" y="296170"/>
                </a:moveTo>
                <a:cubicBezTo>
                  <a:pt x="551795" y="296170"/>
                  <a:pt x="608344" y="352641"/>
                  <a:pt x="608344" y="422376"/>
                </a:cubicBezTo>
                <a:cubicBezTo>
                  <a:pt x="608344" y="492111"/>
                  <a:pt x="551795" y="548582"/>
                  <a:pt x="481962" y="548582"/>
                </a:cubicBezTo>
                <a:cubicBezTo>
                  <a:pt x="412129" y="548582"/>
                  <a:pt x="355579" y="492111"/>
                  <a:pt x="355579" y="422376"/>
                </a:cubicBezTo>
                <a:cubicBezTo>
                  <a:pt x="355579" y="352641"/>
                  <a:pt x="412129" y="296170"/>
                  <a:pt x="481962" y="296170"/>
                </a:cubicBezTo>
                <a:close/>
                <a:moveTo>
                  <a:pt x="255835" y="446"/>
                </a:moveTo>
                <a:cubicBezTo>
                  <a:pt x="282785" y="-1828"/>
                  <a:pt x="303187" y="4899"/>
                  <a:pt x="317801" y="13616"/>
                </a:cubicBezTo>
                <a:cubicBezTo>
                  <a:pt x="339721" y="25744"/>
                  <a:pt x="348072" y="41661"/>
                  <a:pt x="348072" y="41661"/>
                </a:cubicBezTo>
                <a:cubicBezTo>
                  <a:pt x="348072" y="41661"/>
                  <a:pt x="398176" y="45167"/>
                  <a:pt x="381190" y="146831"/>
                </a:cubicBezTo>
                <a:cubicBezTo>
                  <a:pt x="380621" y="149863"/>
                  <a:pt x="379862" y="153085"/>
                  <a:pt x="378913" y="156211"/>
                </a:cubicBezTo>
                <a:cubicBezTo>
                  <a:pt x="388592" y="156211"/>
                  <a:pt x="398271" y="163507"/>
                  <a:pt x="387833" y="200458"/>
                </a:cubicBezTo>
                <a:cubicBezTo>
                  <a:pt x="379672" y="229262"/>
                  <a:pt x="372080" y="237221"/>
                  <a:pt x="366387" y="237694"/>
                </a:cubicBezTo>
                <a:cubicBezTo>
                  <a:pt x="364394" y="250675"/>
                  <a:pt x="359175" y="265076"/>
                  <a:pt x="351393" y="278720"/>
                </a:cubicBezTo>
                <a:lnTo>
                  <a:pt x="351393" y="322873"/>
                </a:lnTo>
                <a:cubicBezTo>
                  <a:pt x="330232" y="350539"/>
                  <a:pt x="317611" y="385027"/>
                  <a:pt x="317611" y="422358"/>
                </a:cubicBezTo>
                <a:cubicBezTo>
                  <a:pt x="317611" y="472764"/>
                  <a:pt x="340480" y="518053"/>
                  <a:pt x="376635" y="548088"/>
                </a:cubicBezTo>
                <a:lnTo>
                  <a:pt x="26855" y="548088"/>
                </a:lnTo>
                <a:cubicBezTo>
                  <a:pt x="12052" y="548088"/>
                  <a:pt x="0" y="536055"/>
                  <a:pt x="0" y="521274"/>
                </a:cubicBezTo>
                <a:lnTo>
                  <a:pt x="0" y="473806"/>
                </a:lnTo>
                <a:cubicBezTo>
                  <a:pt x="0" y="457983"/>
                  <a:pt x="7212" y="443013"/>
                  <a:pt x="19453" y="432969"/>
                </a:cubicBezTo>
                <a:cubicBezTo>
                  <a:pt x="86638" y="377921"/>
                  <a:pt x="159043" y="341443"/>
                  <a:pt x="173751" y="334242"/>
                </a:cubicBezTo>
                <a:cubicBezTo>
                  <a:pt x="175365" y="333484"/>
                  <a:pt x="176408" y="331779"/>
                  <a:pt x="176408" y="329884"/>
                </a:cubicBezTo>
                <a:lnTo>
                  <a:pt x="176408" y="278720"/>
                </a:lnTo>
                <a:cubicBezTo>
                  <a:pt x="168437" y="265076"/>
                  <a:pt x="163313" y="250675"/>
                  <a:pt x="161320" y="237694"/>
                </a:cubicBezTo>
                <a:cubicBezTo>
                  <a:pt x="155627" y="237221"/>
                  <a:pt x="148035" y="229072"/>
                  <a:pt x="139969" y="200458"/>
                </a:cubicBezTo>
                <a:cubicBezTo>
                  <a:pt x="129531" y="164170"/>
                  <a:pt x="138925" y="156496"/>
                  <a:pt x="148320" y="156211"/>
                </a:cubicBezTo>
                <a:cubicBezTo>
                  <a:pt x="147371" y="153085"/>
                  <a:pt x="146612" y="149863"/>
                  <a:pt x="146042" y="146736"/>
                </a:cubicBezTo>
                <a:cubicBezTo>
                  <a:pt x="142436" y="128450"/>
                  <a:pt x="141487" y="111396"/>
                  <a:pt x="145758" y="95099"/>
                </a:cubicBezTo>
                <a:cubicBezTo>
                  <a:pt x="150787" y="73212"/>
                  <a:pt x="162744" y="55684"/>
                  <a:pt x="176029" y="42135"/>
                </a:cubicBezTo>
                <a:cubicBezTo>
                  <a:pt x="184379" y="33134"/>
                  <a:pt x="193869" y="25459"/>
                  <a:pt x="203928" y="19017"/>
                </a:cubicBezTo>
                <a:cubicBezTo>
                  <a:pt x="212183" y="13332"/>
                  <a:pt x="221293" y="8405"/>
                  <a:pt x="231162" y="5089"/>
                </a:cubicBezTo>
                <a:cubicBezTo>
                  <a:pt x="238849" y="2625"/>
                  <a:pt x="247105" y="825"/>
                  <a:pt x="255835" y="446"/>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2" name="文本框 81">
            <a:extLst>
              <a:ext uri="{FF2B5EF4-FFF2-40B4-BE49-F238E27FC236}">
                <a16:creationId xmlns:a16="http://schemas.microsoft.com/office/drawing/2014/main" id="{113672F2-0F36-43B0-A34C-6F6F73CF1D6D}"/>
              </a:ext>
            </a:extLst>
          </p:cNvPr>
          <p:cNvSpPr txBox="1"/>
          <p:nvPr/>
        </p:nvSpPr>
        <p:spPr>
          <a:xfrm>
            <a:off x="5305426" y="5514742"/>
            <a:ext cx="1581150" cy="430887"/>
          </a:xfrm>
          <a:prstGeom prst="rect">
            <a:avLst/>
          </a:prstGeom>
          <a:noFill/>
        </p:spPr>
        <p:txBody>
          <a:bodyPr wrap="square" lIns="0" tIns="0" rIns="0" bIns="0" rtlCol="0" anchor="t">
            <a:spAutoFit/>
          </a:bodyPr>
          <a:lstStyle/>
          <a:p>
            <a:pPr algn="ctr"/>
            <a:r>
              <a:rPr lang="zh-CN" altLang="en-US" sz="2800" dirty="0">
                <a:solidFill>
                  <a:schemeClr val="bg1"/>
                </a:solidFill>
                <a:latin typeface="+mj-ea"/>
                <a:ea typeface="+mj-ea"/>
              </a:rPr>
              <a:t>关键词</a:t>
            </a:r>
          </a:p>
        </p:txBody>
      </p:sp>
      <p:sp>
        <p:nvSpPr>
          <p:cNvPr id="7" name="椭圆 6">
            <a:extLst>
              <a:ext uri="{FF2B5EF4-FFF2-40B4-BE49-F238E27FC236}">
                <a16:creationId xmlns:a16="http://schemas.microsoft.com/office/drawing/2014/main" id="{838B7743-935E-4D50-ABAF-6396D9C6F185}"/>
              </a:ext>
            </a:extLst>
          </p:cNvPr>
          <p:cNvSpPr/>
          <p:nvPr/>
        </p:nvSpPr>
        <p:spPr>
          <a:xfrm>
            <a:off x="4172873" y="5175184"/>
            <a:ext cx="3972908" cy="1057975"/>
          </a:xfrm>
          <a:prstGeom prst="ellipse">
            <a:avLst/>
          </a:prstGeom>
          <a:noFill/>
          <a:ln w="22225">
            <a:gradFill>
              <a:gsLst>
                <a:gs pos="18000">
                  <a:schemeClr val="accent1">
                    <a:alpha val="0"/>
                  </a:schemeClr>
                </a:gs>
                <a:gs pos="97000">
                  <a:schemeClr val="accent1"/>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84" name="椭圆 83">
            <a:extLst>
              <a:ext uri="{FF2B5EF4-FFF2-40B4-BE49-F238E27FC236}">
                <a16:creationId xmlns:a16="http://schemas.microsoft.com/office/drawing/2014/main" id="{4EA17FA3-F288-4E72-932F-4D870FBD5B39}"/>
              </a:ext>
            </a:extLst>
          </p:cNvPr>
          <p:cNvSpPr/>
          <p:nvPr/>
        </p:nvSpPr>
        <p:spPr>
          <a:xfrm>
            <a:off x="4287328" y="5464743"/>
            <a:ext cx="3743998" cy="997018"/>
          </a:xfrm>
          <a:prstGeom prst="ellipse">
            <a:avLst/>
          </a:prstGeom>
          <a:noFill/>
          <a:ln w="22225">
            <a:gradFill>
              <a:gsLst>
                <a:gs pos="18000">
                  <a:schemeClr val="accent1">
                    <a:alpha val="0"/>
                  </a:schemeClr>
                </a:gs>
                <a:gs pos="97000">
                  <a:schemeClr val="accent1"/>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Tree>
    <p:custDataLst>
      <p:tags r:id="rId2"/>
    </p:custDataLst>
    <p:extLst>
      <p:ext uri="{BB962C8B-B14F-4D97-AF65-F5344CB8AC3E}">
        <p14:creationId xmlns:p14="http://schemas.microsoft.com/office/powerpoint/2010/main" val="2013907938"/>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3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a:extLst>
              <a:ext uri="{FF2B5EF4-FFF2-40B4-BE49-F238E27FC236}">
                <a16:creationId xmlns:a16="http://schemas.microsoft.com/office/drawing/2014/main" id="{944F7B43-39ED-42D8-B091-32FB2698762F}"/>
              </a:ext>
            </a:extLst>
          </p:cNvPr>
          <p:cNvSpPr txBox="1"/>
          <p:nvPr/>
        </p:nvSpPr>
        <p:spPr>
          <a:xfrm>
            <a:off x="5057254" y="2972075"/>
            <a:ext cx="2077492" cy="830997"/>
          </a:xfrm>
          <a:prstGeom prst="rect">
            <a:avLst/>
          </a:prstGeom>
          <a:noFill/>
        </p:spPr>
        <p:txBody>
          <a:bodyPr wrap="none" lIns="0" tIns="0" rIns="0" bIns="0" rtlCol="0" anchor="t">
            <a:spAutoFit/>
          </a:bodyPr>
          <a:lstStyle/>
          <a:p>
            <a:pPr algn="ctr"/>
            <a:r>
              <a:rPr lang="zh-CN" altLang="en-US" sz="5400" dirty="0">
                <a:solidFill>
                  <a:schemeClr val="accent1"/>
                </a:solidFill>
                <a:latin typeface="+mj-ea"/>
                <a:ea typeface="+mj-ea"/>
              </a:rPr>
              <a:t>关键词</a:t>
            </a:r>
          </a:p>
        </p:txBody>
      </p:sp>
      <p:sp>
        <p:nvSpPr>
          <p:cNvPr id="3" name="椭圆 2">
            <a:extLst>
              <a:ext uri="{FF2B5EF4-FFF2-40B4-BE49-F238E27FC236}">
                <a16:creationId xmlns:a16="http://schemas.microsoft.com/office/drawing/2014/main" id="{3E3B2647-58C9-40BF-A7D6-707D893A3BE2}"/>
              </a:ext>
            </a:extLst>
          </p:cNvPr>
          <p:cNvSpPr/>
          <p:nvPr/>
        </p:nvSpPr>
        <p:spPr>
          <a:xfrm rot="538678">
            <a:off x="4050854" y="3334593"/>
            <a:ext cx="3934460" cy="641606"/>
          </a:xfrm>
          <a:prstGeom prst="ellipse">
            <a:avLst/>
          </a:prstGeom>
          <a:noFill/>
          <a:ln>
            <a:gradFill>
              <a:gsLst>
                <a:gs pos="17000">
                  <a:schemeClr val="accent1">
                    <a:alpha val="0"/>
                  </a:schemeClr>
                </a:gs>
                <a:gs pos="100000">
                  <a:schemeClr val="accent1"/>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4" name="椭圆 3">
            <a:extLst>
              <a:ext uri="{FF2B5EF4-FFF2-40B4-BE49-F238E27FC236}">
                <a16:creationId xmlns:a16="http://schemas.microsoft.com/office/drawing/2014/main" id="{DDDC15AC-97A6-4E3E-A548-14720142AD88}"/>
              </a:ext>
            </a:extLst>
          </p:cNvPr>
          <p:cNvSpPr/>
          <p:nvPr/>
        </p:nvSpPr>
        <p:spPr>
          <a:xfrm rot="538678">
            <a:off x="3086268" y="3250359"/>
            <a:ext cx="5826054" cy="1190895"/>
          </a:xfrm>
          <a:prstGeom prst="ellipse">
            <a:avLst/>
          </a:prstGeom>
          <a:noFill/>
          <a:ln>
            <a:gradFill>
              <a:gsLst>
                <a:gs pos="17000">
                  <a:schemeClr val="accent1">
                    <a:alpha val="0"/>
                  </a:schemeClr>
                </a:gs>
                <a:gs pos="100000">
                  <a:schemeClr val="accent1"/>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5" name="椭圆 4">
            <a:extLst>
              <a:ext uri="{FF2B5EF4-FFF2-40B4-BE49-F238E27FC236}">
                <a16:creationId xmlns:a16="http://schemas.microsoft.com/office/drawing/2014/main" id="{4E88F6F1-2F31-4D04-8FB2-3C09BE60BDC4}"/>
              </a:ext>
            </a:extLst>
          </p:cNvPr>
          <p:cNvSpPr/>
          <p:nvPr/>
        </p:nvSpPr>
        <p:spPr>
          <a:xfrm rot="538678">
            <a:off x="2108475" y="3256802"/>
            <a:ext cx="7769104" cy="1588072"/>
          </a:xfrm>
          <a:prstGeom prst="ellipse">
            <a:avLst/>
          </a:prstGeom>
          <a:noFill/>
          <a:ln>
            <a:gradFill>
              <a:gsLst>
                <a:gs pos="15000">
                  <a:schemeClr val="accent1">
                    <a:alpha val="0"/>
                  </a:schemeClr>
                </a:gs>
                <a:gs pos="100000">
                  <a:schemeClr val="accent1">
                    <a:alpha val="2800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6" name="椭圆 5">
            <a:extLst>
              <a:ext uri="{FF2B5EF4-FFF2-40B4-BE49-F238E27FC236}">
                <a16:creationId xmlns:a16="http://schemas.microsoft.com/office/drawing/2014/main" id="{54CFDC68-C3EC-4FB7-8AE6-FD23AFA8E177}"/>
              </a:ext>
            </a:extLst>
          </p:cNvPr>
          <p:cNvSpPr/>
          <p:nvPr/>
        </p:nvSpPr>
        <p:spPr>
          <a:xfrm>
            <a:off x="2957276" y="2799095"/>
            <a:ext cx="588478" cy="58847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8" name="椭圆 7">
            <a:extLst>
              <a:ext uri="{FF2B5EF4-FFF2-40B4-BE49-F238E27FC236}">
                <a16:creationId xmlns:a16="http://schemas.microsoft.com/office/drawing/2014/main" id="{7F95ADC6-D2CA-4CB3-9C06-3A789A49E4F6}"/>
              </a:ext>
            </a:extLst>
          </p:cNvPr>
          <p:cNvSpPr/>
          <p:nvPr/>
        </p:nvSpPr>
        <p:spPr>
          <a:xfrm>
            <a:off x="4481276" y="3919235"/>
            <a:ext cx="588478" cy="58847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9" name="椭圆 8">
            <a:extLst>
              <a:ext uri="{FF2B5EF4-FFF2-40B4-BE49-F238E27FC236}">
                <a16:creationId xmlns:a16="http://schemas.microsoft.com/office/drawing/2014/main" id="{4918CB1D-3691-4F66-BDCC-EDCAEB454B83}"/>
              </a:ext>
            </a:extLst>
          </p:cNvPr>
          <p:cNvSpPr/>
          <p:nvPr/>
        </p:nvSpPr>
        <p:spPr>
          <a:xfrm>
            <a:off x="6592016" y="4231655"/>
            <a:ext cx="588478" cy="58847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10" name="椭圆 9">
            <a:extLst>
              <a:ext uri="{FF2B5EF4-FFF2-40B4-BE49-F238E27FC236}">
                <a16:creationId xmlns:a16="http://schemas.microsoft.com/office/drawing/2014/main" id="{226247B2-9BE3-45D4-BBEF-1E820F3E607C}"/>
              </a:ext>
            </a:extLst>
          </p:cNvPr>
          <p:cNvSpPr/>
          <p:nvPr/>
        </p:nvSpPr>
        <p:spPr>
          <a:xfrm>
            <a:off x="8584791" y="4050838"/>
            <a:ext cx="588478" cy="58847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11" name="任意多边形: 形状 10">
            <a:extLst>
              <a:ext uri="{FF2B5EF4-FFF2-40B4-BE49-F238E27FC236}">
                <a16:creationId xmlns:a16="http://schemas.microsoft.com/office/drawing/2014/main" id="{E36D585B-4994-4524-85C0-D7EE0E08DA63}"/>
              </a:ext>
            </a:extLst>
          </p:cNvPr>
          <p:cNvSpPr/>
          <p:nvPr/>
        </p:nvSpPr>
        <p:spPr>
          <a:xfrm>
            <a:off x="904875" y="2667275"/>
            <a:ext cx="2181225" cy="219075"/>
          </a:xfrm>
          <a:custGeom>
            <a:avLst/>
            <a:gdLst>
              <a:gd name="connsiteX0" fmla="*/ 2181225 w 2181225"/>
              <a:gd name="connsiteY0" fmla="*/ 219075 h 219075"/>
              <a:gd name="connsiteX1" fmla="*/ 1962150 w 2181225"/>
              <a:gd name="connsiteY1" fmla="*/ 0 h 219075"/>
              <a:gd name="connsiteX2" fmla="*/ 0 w 2181225"/>
              <a:gd name="connsiteY2" fmla="*/ 0 h 219075"/>
            </a:gdLst>
            <a:ahLst/>
            <a:cxnLst>
              <a:cxn ang="0">
                <a:pos x="connsiteX0" y="connsiteY0"/>
              </a:cxn>
              <a:cxn ang="0">
                <a:pos x="connsiteX1" y="connsiteY1"/>
              </a:cxn>
              <a:cxn ang="0">
                <a:pos x="connsiteX2" y="connsiteY2"/>
              </a:cxn>
            </a:cxnLst>
            <a:rect l="l" t="t" r="r" b="b"/>
            <a:pathLst>
              <a:path w="2181225" h="219075">
                <a:moveTo>
                  <a:pt x="2181225" y="219075"/>
                </a:moveTo>
                <a:lnTo>
                  <a:pt x="1962150" y="0"/>
                </a:lnTo>
                <a:lnTo>
                  <a:pt x="0" y="0"/>
                </a:lnTo>
              </a:path>
            </a:pathLst>
          </a:cu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 name="椭圆 11">
            <a:extLst>
              <a:ext uri="{FF2B5EF4-FFF2-40B4-BE49-F238E27FC236}">
                <a16:creationId xmlns:a16="http://schemas.microsoft.com/office/drawing/2014/main" id="{F4C722EE-3898-40C6-8152-163C4A69FB75}"/>
              </a:ext>
            </a:extLst>
          </p:cNvPr>
          <p:cNvSpPr/>
          <p:nvPr/>
        </p:nvSpPr>
        <p:spPr>
          <a:xfrm>
            <a:off x="845344" y="2607744"/>
            <a:ext cx="119062" cy="11906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13" name="文本框 12">
            <a:extLst>
              <a:ext uri="{FF2B5EF4-FFF2-40B4-BE49-F238E27FC236}">
                <a16:creationId xmlns:a16="http://schemas.microsoft.com/office/drawing/2014/main" id="{976F65EC-7FC3-458C-A84C-8319BBC768BD}"/>
              </a:ext>
            </a:extLst>
          </p:cNvPr>
          <p:cNvSpPr txBox="1"/>
          <p:nvPr/>
        </p:nvSpPr>
        <p:spPr>
          <a:xfrm>
            <a:off x="904875" y="2136486"/>
            <a:ext cx="1972410" cy="387286"/>
          </a:xfrm>
          <a:prstGeom prst="rect">
            <a:avLst/>
          </a:prstGeom>
          <a:noFill/>
        </p:spPr>
        <p:txBody>
          <a:bodyPr wrap="square" lIns="0" tIns="0" rIns="0" bIns="0" rtlCol="0" anchor="t">
            <a:spAutoFit/>
          </a:bodyPr>
          <a:lstStyle/>
          <a:p>
            <a:pPr algn="r">
              <a:lnSpc>
                <a:spcPct val="130000"/>
              </a:lnSpc>
            </a:pPr>
            <a:r>
              <a:rPr lang="en-US" altLang="zh-CN" sz="1000" b="0" dirty="0">
                <a:solidFill>
                  <a:schemeClr val="tx1">
                    <a:lumMod val="75000"/>
                    <a:lumOff val="25000"/>
                  </a:schemeClr>
                </a:solidFill>
                <a:effectLst/>
                <a:latin typeface="+mn-ea"/>
              </a:rPr>
              <a:t>Lorem ipsum dolor sit amet, consectetur adipisicing elit, sed</a:t>
            </a:r>
            <a:endParaRPr lang="zh-CN" altLang="en-US" sz="1000" b="0" dirty="0">
              <a:solidFill>
                <a:schemeClr val="tx1">
                  <a:lumMod val="75000"/>
                  <a:lumOff val="25000"/>
                </a:schemeClr>
              </a:solidFill>
              <a:effectLst/>
              <a:latin typeface="+mn-ea"/>
            </a:endParaRPr>
          </a:p>
        </p:txBody>
      </p:sp>
      <p:sp>
        <p:nvSpPr>
          <p:cNvPr id="14" name="文本框 13">
            <a:extLst>
              <a:ext uri="{FF2B5EF4-FFF2-40B4-BE49-F238E27FC236}">
                <a16:creationId xmlns:a16="http://schemas.microsoft.com/office/drawing/2014/main" id="{A3D4169E-F05F-40F2-A8CF-86476DF6A389}"/>
              </a:ext>
            </a:extLst>
          </p:cNvPr>
          <p:cNvSpPr txBox="1"/>
          <p:nvPr/>
        </p:nvSpPr>
        <p:spPr>
          <a:xfrm>
            <a:off x="1594883" y="1823451"/>
            <a:ext cx="1282402" cy="307777"/>
          </a:xfrm>
          <a:prstGeom prst="rect">
            <a:avLst/>
          </a:prstGeom>
          <a:noFill/>
        </p:spPr>
        <p:txBody>
          <a:bodyPr wrap="none" lIns="0" tIns="0" rIns="0" bIns="0" rtlCol="0" anchor="t">
            <a:spAutoFit/>
          </a:bodyPr>
          <a:lstStyle/>
          <a:p>
            <a:pPr algn="r"/>
            <a:r>
              <a:rPr lang="zh-CN" altLang="en-US" sz="2000" dirty="0">
                <a:solidFill>
                  <a:schemeClr val="accent1"/>
                </a:solidFill>
                <a:latin typeface="+mj-ea"/>
                <a:ea typeface="+mj-ea"/>
              </a:rPr>
              <a:t>关键词标题</a:t>
            </a:r>
          </a:p>
        </p:txBody>
      </p:sp>
      <p:sp>
        <p:nvSpPr>
          <p:cNvPr id="15" name="任意多边形: 形状 14">
            <a:extLst>
              <a:ext uri="{FF2B5EF4-FFF2-40B4-BE49-F238E27FC236}">
                <a16:creationId xmlns:a16="http://schemas.microsoft.com/office/drawing/2014/main" id="{17210A0C-B781-446B-8A14-74F6C03225E0}"/>
              </a:ext>
            </a:extLst>
          </p:cNvPr>
          <p:cNvSpPr/>
          <p:nvPr/>
        </p:nvSpPr>
        <p:spPr>
          <a:xfrm flipV="1">
            <a:off x="2500065" y="4474370"/>
            <a:ext cx="2181225" cy="219075"/>
          </a:xfrm>
          <a:custGeom>
            <a:avLst/>
            <a:gdLst>
              <a:gd name="connsiteX0" fmla="*/ 2181225 w 2181225"/>
              <a:gd name="connsiteY0" fmla="*/ 219075 h 219075"/>
              <a:gd name="connsiteX1" fmla="*/ 1962150 w 2181225"/>
              <a:gd name="connsiteY1" fmla="*/ 0 h 219075"/>
              <a:gd name="connsiteX2" fmla="*/ 0 w 2181225"/>
              <a:gd name="connsiteY2" fmla="*/ 0 h 219075"/>
            </a:gdLst>
            <a:ahLst/>
            <a:cxnLst>
              <a:cxn ang="0">
                <a:pos x="connsiteX0" y="connsiteY0"/>
              </a:cxn>
              <a:cxn ang="0">
                <a:pos x="connsiteX1" y="connsiteY1"/>
              </a:cxn>
              <a:cxn ang="0">
                <a:pos x="connsiteX2" y="connsiteY2"/>
              </a:cxn>
            </a:cxnLst>
            <a:rect l="l" t="t" r="r" b="b"/>
            <a:pathLst>
              <a:path w="2181225" h="219075">
                <a:moveTo>
                  <a:pt x="2181225" y="219075"/>
                </a:moveTo>
                <a:lnTo>
                  <a:pt x="1962150" y="0"/>
                </a:lnTo>
                <a:lnTo>
                  <a:pt x="0" y="0"/>
                </a:lnTo>
              </a:path>
            </a:pathLst>
          </a:cu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6" name="文本框 15">
            <a:extLst>
              <a:ext uri="{FF2B5EF4-FFF2-40B4-BE49-F238E27FC236}">
                <a16:creationId xmlns:a16="http://schemas.microsoft.com/office/drawing/2014/main" id="{31967D20-40B4-4ED4-97C1-F5933ABFE2D0}"/>
              </a:ext>
            </a:extLst>
          </p:cNvPr>
          <p:cNvSpPr txBox="1"/>
          <p:nvPr/>
        </p:nvSpPr>
        <p:spPr>
          <a:xfrm>
            <a:off x="2514219" y="5089998"/>
            <a:ext cx="1972410" cy="387286"/>
          </a:xfrm>
          <a:prstGeom prst="rect">
            <a:avLst/>
          </a:prstGeom>
          <a:noFill/>
        </p:spPr>
        <p:txBody>
          <a:bodyPr wrap="square" lIns="0" tIns="0" rIns="0" bIns="0" rtlCol="0" anchor="t">
            <a:spAutoFit/>
          </a:bodyPr>
          <a:lstStyle/>
          <a:p>
            <a:pPr algn="r">
              <a:lnSpc>
                <a:spcPct val="130000"/>
              </a:lnSpc>
            </a:pPr>
            <a:r>
              <a:rPr lang="en-US" altLang="zh-CN" sz="1000" b="0" dirty="0">
                <a:solidFill>
                  <a:schemeClr val="tx1">
                    <a:lumMod val="75000"/>
                    <a:lumOff val="25000"/>
                  </a:schemeClr>
                </a:solidFill>
                <a:effectLst/>
                <a:latin typeface="+mn-ea"/>
              </a:rPr>
              <a:t>Lorem ipsum dolor sit amet, consectetur adipisicing elit, sed</a:t>
            </a:r>
            <a:endParaRPr lang="zh-CN" altLang="en-US" sz="1000" b="0" dirty="0">
              <a:solidFill>
                <a:schemeClr val="tx1">
                  <a:lumMod val="75000"/>
                  <a:lumOff val="25000"/>
                </a:schemeClr>
              </a:solidFill>
              <a:effectLst/>
              <a:latin typeface="+mn-ea"/>
            </a:endParaRPr>
          </a:p>
        </p:txBody>
      </p:sp>
      <p:sp>
        <p:nvSpPr>
          <p:cNvPr id="17" name="文本框 16">
            <a:extLst>
              <a:ext uri="{FF2B5EF4-FFF2-40B4-BE49-F238E27FC236}">
                <a16:creationId xmlns:a16="http://schemas.microsoft.com/office/drawing/2014/main" id="{16D44076-85F3-485B-9F98-726057FAE053}"/>
              </a:ext>
            </a:extLst>
          </p:cNvPr>
          <p:cNvSpPr txBox="1"/>
          <p:nvPr/>
        </p:nvSpPr>
        <p:spPr>
          <a:xfrm>
            <a:off x="3204227" y="4776963"/>
            <a:ext cx="1282402" cy="307777"/>
          </a:xfrm>
          <a:prstGeom prst="rect">
            <a:avLst/>
          </a:prstGeom>
          <a:noFill/>
        </p:spPr>
        <p:txBody>
          <a:bodyPr wrap="none" lIns="0" tIns="0" rIns="0" bIns="0" rtlCol="0" anchor="t">
            <a:spAutoFit/>
          </a:bodyPr>
          <a:lstStyle/>
          <a:p>
            <a:pPr algn="r"/>
            <a:r>
              <a:rPr lang="zh-CN" altLang="en-US" sz="2000" dirty="0">
                <a:solidFill>
                  <a:schemeClr val="accent1"/>
                </a:solidFill>
                <a:latin typeface="+mj-ea"/>
                <a:ea typeface="+mj-ea"/>
              </a:rPr>
              <a:t>关键词标题</a:t>
            </a:r>
          </a:p>
        </p:txBody>
      </p:sp>
      <p:sp>
        <p:nvSpPr>
          <p:cNvPr id="18" name="椭圆 17">
            <a:extLst>
              <a:ext uri="{FF2B5EF4-FFF2-40B4-BE49-F238E27FC236}">
                <a16:creationId xmlns:a16="http://schemas.microsoft.com/office/drawing/2014/main" id="{B962052F-0BF7-4B04-9B25-82430F93EB5B}"/>
              </a:ext>
            </a:extLst>
          </p:cNvPr>
          <p:cNvSpPr/>
          <p:nvPr/>
        </p:nvSpPr>
        <p:spPr>
          <a:xfrm>
            <a:off x="2454688" y="4632812"/>
            <a:ext cx="119062" cy="11906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19" name="任意多边形: 形状 18">
            <a:extLst>
              <a:ext uri="{FF2B5EF4-FFF2-40B4-BE49-F238E27FC236}">
                <a16:creationId xmlns:a16="http://schemas.microsoft.com/office/drawing/2014/main" id="{26356CF6-B772-4F11-AB7E-7BA41F7AD74C}"/>
              </a:ext>
            </a:extLst>
          </p:cNvPr>
          <p:cNvSpPr/>
          <p:nvPr/>
        </p:nvSpPr>
        <p:spPr>
          <a:xfrm flipH="1" flipV="1">
            <a:off x="7033965" y="4780314"/>
            <a:ext cx="2181225" cy="219075"/>
          </a:xfrm>
          <a:custGeom>
            <a:avLst/>
            <a:gdLst>
              <a:gd name="connsiteX0" fmla="*/ 2181225 w 2181225"/>
              <a:gd name="connsiteY0" fmla="*/ 219075 h 219075"/>
              <a:gd name="connsiteX1" fmla="*/ 1962150 w 2181225"/>
              <a:gd name="connsiteY1" fmla="*/ 0 h 219075"/>
              <a:gd name="connsiteX2" fmla="*/ 0 w 2181225"/>
              <a:gd name="connsiteY2" fmla="*/ 0 h 219075"/>
            </a:gdLst>
            <a:ahLst/>
            <a:cxnLst>
              <a:cxn ang="0">
                <a:pos x="connsiteX0" y="connsiteY0"/>
              </a:cxn>
              <a:cxn ang="0">
                <a:pos x="connsiteX1" y="connsiteY1"/>
              </a:cxn>
              <a:cxn ang="0">
                <a:pos x="connsiteX2" y="connsiteY2"/>
              </a:cxn>
            </a:cxnLst>
            <a:rect l="l" t="t" r="r" b="b"/>
            <a:pathLst>
              <a:path w="2181225" h="219075">
                <a:moveTo>
                  <a:pt x="2181225" y="219075"/>
                </a:moveTo>
                <a:lnTo>
                  <a:pt x="1962150" y="0"/>
                </a:lnTo>
                <a:lnTo>
                  <a:pt x="0" y="0"/>
                </a:lnTo>
              </a:path>
            </a:pathLst>
          </a:cu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0" name="文本框 19">
            <a:extLst>
              <a:ext uri="{FF2B5EF4-FFF2-40B4-BE49-F238E27FC236}">
                <a16:creationId xmlns:a16="http://schemas.microsoft.com/office/drawing/2014/main" id="{4E5DB834-0D69-4956-8BA6-88CE42B3817A}"/>
              </a:ext>
            </a:extLst>
          </p:cNvPr>
          <p:cNvSpPr txBox="1"/>
          <p:nvPr/>
        </p:nvSpPr>
        <p:spPr>
          <a:xfrm>
            <a:off x="7238342" y="5412699"/>
            <a:ext cx="1972410" cy="387286"/>
          </a:xfrm>
          <a:prstGeom prst="rect">
            <a:avLst/>
          </a:prstGeom>
          <a:noFill/>
        </p:spPr>
        <p:txBody>
          <a:bodyPr wrap="square" lIns="0" tIns="0" rIns="0" bIns="0" rtlCol="0" anchor="t">
            <a:spAutoFit/>
          </a:bodyPr>
          <a:lstStyle/>
          <a:p>
            <a:pPr>
              <a:lnSpc>
                <a:spcPct val="130000"/>
              </a:lnSpc>
            </a:pPr>
            <a:r>
              <a:rPr lang="en-US" altLang="zh-CN" sz="1000" b="0" dirty="0">
                <a:solidFill>
                  <a:schemeClr val="tx1">
                    <a:lumMod val="75000"/>
                    <a:lumOff val="25000"/>
                  </a:schemeClr>
                </a:solidFill>
                <a:effectLst/>
                <a:latin typeface="+mn-ea"/>
              </a:rPr>
              <a:t>Lorem ipsum dolor sit amet, consectetur adipisicing elit, sed</a:t>
            </a:r>
            <a:endParaRPr lang="zh-CN" altLang="en-US" sz="1000" b="0" dirty="0">
              <a:solidFill>
                <a:schemeClr val="tx1">
                  <a:lumMod val="75000"/>
                  <a:lumOff val="25000"/>
                </a:schemeClr>
              </a:solidFill>
              <a:effectLst/>
              <a:latin typeface="+mn-ea"/>
            </a:endParaRPr>
          </a:p>
        </p:txBody>
      </p:sp>
      <p:sp>
        <p:nvSpPr>
          <p:cNvPr id="21" name="文本框 20">
            <a:extLst>
              <a:ext uri="{FF2B5EF4-FFF2-40B4-BE49-F238E27FC236}">
                <a16:creationId xmlns:a16="http://schemas.microsoft.com/office/drawing/2014/main" id="{EBA8392D-9C60-4EE8-A6DF-44EB0A858B9C}"/>
              </a:ext>
            </a:extLst>
          </p:cNvPr>
          <p:cNvSpPr txBox="1"/>
          <p:nvPr/>
        </p:nvSpPr>
        <p:spPr>
          <a:xfrm>
            <a:off x="7238342" y="5099664"/>
            <a:ext cx="1282402" cy="307777"/>
          </a:xfrm>
          <a:prstGeom prst="rect">
            <a:avLst/>
          </a:prstGeom>
          <a:noFill/>
        </p:spPr>
        <p:txBody>
          <a:bodyPr wrap="none" lIns="0" tIns="0" rIns="0" bIns="0" rtlCol="0" anchor="t">
            <a:spAutoFit/>
          </a:bodyPr>
          <a:lstStyle/>
          <a:p>
            <a:r>
              <a:rPr lang="zh-CN" altLang="en-US" sz="2000" dirty="0">
                <a:solidFill>
                  <a:schemeClr val="accent1"/>
                </a:solidFill>
                <a:latin typeface="+mj-ea"/>
                <a:ea typeface="+mj-ea"/>
              </a:rPr>
              <a:t>关键词标题</a:t>
            </a:r>
          </a:p>
        </p:txBody>
      </p:sp>
      <p:sp>
        <p:nvSpPr>
          <p:cNvPr id="22" name="椭圆 21">
            <a:extLst>
              <a:ext uri="{FF2B5EF4-FFF2-40B4-BE49-F238E27FC236}">
                <a16:creationId xmlns:a16="http://schemas.microsoft.com/office/drawing/2014/main" id="{15696160-77EA-4EBA-8520-27ABD87BEEE0}"/>
              </a:ext>
            </a:extLst>
          </p:cNvPr>
          <p:cNvSpPr/>
          <p:nvPr/>
        </p:nvSpPr>
        <p:spPr>
          <a:xfrm>
            <a:off x="9165268" y="4940888"/>
            <a:ext cx="119062" cy="11906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23" name="任意多边形: 形状 22">
            <a:extLst>
              <a:ext uri="{FF2B5EF4-FFF2-40B4-BE49-F238E27FC236}">
                <a16:creationId xmlns:a16="http://schemas.microsoft.com/office/drawing/2014/main" id="{D17BC97C-07EC-47AE-AC50-5A6DC36E7BE5}"/>
              </a:ext>
            </a:extLst>
          </p:cNvPr>
          <p:cNvSpPr/>
          <p:nvPr/>
        </p:nvSpPr>
        <p:spPr>
          <a:xfrm flipH="1">
            <a:off x="9041314" y="3880739"/>
            <a:ext cx="2181225" cy="219075"/>
          </a:xfrm>
          <a:custGeom>
            <a:avLst/>
            <a:gdLst>
              <a:gd name="connsiteX0" fmla="*/ 2181225 w 2181225"/>
              <a:gd name="connsiteY0" fmla="*/ 219075 h 219075"/>
              <a:gd name="connsiteX1" fmla="*/ 1962150 w 2181225"/>
              <a:gd name="connsiteY1" fmla="*/ 0 h 219075"/>
              <a:gd name="connsiteX2" fmla="*/ 0 w 2181225"/>
              <a:gd name="connsiteY2" fmla="*/ 0 h 219075"/>
            </a:gdLst>
            <a:ahLst/>
            <a:cxnLst>
              <a:cxn ang="0">
                <a:pos x="connsiteX0" y="connsiteY0"/>
              </a:cxn>
              <a:cxn ang="0">
                <a:pos x="connsiteX1" y="connsiteY1"/>
              </a:cxn>
              <a:cxn ang="0">
                <a:pos x="connsiteX2" y="connsiteY2"/>
              </a:cxn>
            </a:cxnLst>
            <a:rect l="l" t="t" r="r" b="b"/>
            <a:pathLst>
              <a:path w="2181225" h="219075">
                <a:moveTo>
                  <a:pt x="2181225" y="219075"/>
                </a:moveTo>
                <a:lnTo>
                  <a:pt x="1962150" y="0"/>
                </a:lnTo>
                <a:lnTo>
                  <a:pt x="0" y="0"/>
                </a:lnTo>
              </a:path>
            </a:pathLst>
          </a:cu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4" name="文本框 23">
            <a:extLst>
              <a:ext uri="{FF2B5EF4-FFF2-40B4-BE49-F238E27FC236}">
                <a16:creationId xmlns:a16="http://schemas.microsoft.com/office/drawing/2014/main" id="{71C6F2F1-9C0A-450E-8817-0C5AB18F45F7}"/>
              </a:ext>
            </a:extLst>
          </p:cNvPr>
          <p:cNvSpPr txBox="1"/>
          <p:nvPr/>
        </p:nvSpPr>
        <p:spPr>
          <a:xfrm>
            <a:off x="9284330" y="3429000"/>
            <a:ext cx="1972410" cy="387286"/>
          </a:xfrm>
          <a:prstGeom prst="rect">
            <a:avLst/>
          </a:prstGeom>
          <a:noFill/>
        </p:spPr>
        <p:txBody>
          <a:bodyPr wrap="square" lIns="0" tIns="0" rIns="0" bIns="0" rtlCol="0" anchor="t">
            <a:spAutoFit/>
          </a:bodyPr>
          <a:lstStyle/>
          <a:p>
            <a:pPr>
              <a:lnSpc>
                <a:spcPct val="130000"/>
              </a:lnSpc>
            </a:pPr>
            <a:r>
              <a:rPr lang="en-US" altLang="zh-CN" sz="1000" b="0" dirty="0">
                <a:solidFill>
                  <a:schemeClr val="tx1">
                    <a:lumMod val="75000"/>
                    <a:lumOff val="25000"/>
                  </a:schemeClr>
                </a:solidFill>
                <a:effectLst/>
                <a:latin typeface="+mn-ea"/>
              </a:rPr>
              <a:t>Lorem ipsum dolor sit amet, consectetur adipisicing elit, sed</a:t>
            </a:r>
            <a:endParaRPr lang="zh-CN" altLang="en-US" sz="1000" b="0" dirty="0">
              <a:solidFill>
                <a:schemeClr val="tx1">
                  <a:lumMod val="75000"/>
                  <a:lumOff val="25000"/>
                </a:schemeClr>
              </a:solidFill>
              <a:effectLst/>
              <a:latin typeface="+mn-ea"/>
            </a:endParaRPr>
          </a:p>
        </p:txBody>
      </p:sp>
      <p:sp>
        <p:nvSpPr>
          <p:cNvPr id="25" name="文本框 24">
            <a:extLst>
              <a:ext uri="{FF2B5EF4-FFF2-40B4-BE49-F238E27FC236}">
                <a16:creationId xmlns:a16="http://schemas.microsoft.com/office/drawing/2014/main" id="{2598B559-1A89-451B-B273-887FC5DAE5AF}"/>
              </a:ext>
            </a:extLst>
          </p:cNvPr>
          <p:cNvSpPr txBox="1"/>
          <p:nvPr/>
        </p:nvSpPr>
        <p:spPr>
          <a:xfrm>
            <a:off x="9284330" y="3115965"/>
            <a:ext cx="1282402" cy="307777"/>
          </a:xfrm>
          <a:prstGeom prst="rect">
            <a:avLst/>
          </a:prstGeom>
          <a:noFill/>
        </p:spPr>
        <p:txBody>
          <a:bodyPr wrap="none" lIns="0" tIns="0" rIns="0" bIns="0" rtlCol="0" anchor="t">
            <a:spAutoFit/>
          </a:bodyPr>
          <a:lstStyle/>
          <a:p>
            <a:r>
              <a:rPr lang="zh-CN" altLang="en-US" sz="2000" dirty="0">
                <a:solidFill>
                  <a:schemeClr val="accent1"/>
                </a:solidFill>
                <a:latin typeface="+mj-ea"/>
                <a:ea typeface="+mj-ea"/>
              </a:rPr>
              <a:t>关键词标题</a:t>
            </a:r>
          </a:p>
        </p:txBody>
      </p:sp>
      <p:sp>
        <p:nvSpPr>
          <p:cNvPr id="26" name="椭圆 25">
            <a:extLst>
              <a:ext uri="{FF2B5EF4-FFF2-40B4-BE49-F238E27FC236}">
                <a16:creationId xmlns:a16="http://schemas.microsoft.com/office/drawing/2014/main" id="{C9CBE1CB-709E-4F7B-9F68-63DDB57E5D97}"/>
              </a:ext>
            </a:extLst>
          </p:cNvPr>
          <p:cNvSpPr/>
          <p:nvPr/>
        </p:nvSpPr>
        <p:spPr>
          <a:xfrm>
            <a:off x="11197209" y="3823456"/>
            <a:ext cx="119062" cy="11906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27" name="user_209046">
            <a:extLst>
              <a:ext uri="{FF2B5EF4-FFF2-40B4-BE49-F238E27FC236}">
                <a16:creationId xmlns:a16="http://schemas.microsoft.com/office/drawing/2014/main" id="{A9389A1D-5AAC-46E5-A470-42A62055D4BE}"/>
              </a:ext>
            </a:extLst>
          </p:cNvPr>
          <p:cNvSpPr/>
          <p:nvPr/>
        </p:nvSpPr>
        <p:spPr>
          <a:xfrm>
            <a:off x="6700764" y="4357592"/>
            <a:ext cx="370981" cy="313556"/>
          </a:xfrm>
          <a:custGeom>
            <a:avLst/>
            <a:gdLst>
              <a:gd name="T0" fmla="*/ 4484 w 10375"/>
              <a:gd name="T1" fmla="*/ 6967 h 8769"/>
              <a:gd name="T2" fmla="*/ 4484 w 10375"/>
              <a:gd name="T3" fmla="*/ 8374 h 8769"/>
              <a:gd name="T4" fmla="*/ 5891 w 10375"/>
              <a:gd name="T5" fmla="*/ 8374 h 8769"/>
              <a:gd name="T6" fmla="*/ 5891 w 10375"/>
              <a:gd name="T7" fmla="*/ 6967 h 8769"/>
              <a:gd name="T8" fmla="*/ 4484 w 10375"/>
              <a:gd name="T9" fmla="*/ 6967 h 8769"/>
              <a:gd name="T10" fmla="*/ 1754 w 10375"/>
              <a:gd name="T11" fmla="*/ 5262 h 8769"/>
              <a:gd name="T12" fmla="*/ 2766 w 10375"/>
              <a:gd name="T13" fmla="*/ 6423 h 8769"/>
              <a:gd name="T14" fmla="*/ 7633 w 10375"/>
              <a:gd name="T15" fmla="*/ 6423 h 8769"/>
              <a:gd name="T16" fmla="*/ 8645 w 10375"/>
              <a:gd name="T17" fmla="*/ 5262 h 8769"/>
              <a:gd name="T18" fmla="*/ 1754 w 10375"/>
              <a:gd name="T19" fmla="*/ 5262 h 8769"/>
              <a:gd name="T20" fmla="*/ 0 w 10375"/>
              <a:gd name="T21" fmla="*/ 3261 h 8769"/>
              <a:gd name="T22" fmla="*/ 1038 w 10375"/>
              <a:gd name="T23" fmla="*/ 4447 h 8769"/>
              <a:gd name="T24" fmla="*/ 9338 w 10375"/>
              <a:gd name="T25" fmla="*/ 4447 h 8769"/>
              <a:gd name="T26" fmla="*/ 10375 w 10375"/>
              <a:gd name="T27" fmla="*/ 3261 h 8769"/>
              <a:gd name="T28" fmla="*/ 0 w 10375"/>
              <a:gd name="T29" fmla="*/ 3261 h 8769"/>
              <a:gd name="T30" fmla="*/ 0 w 10375"/>
              <a:gd name="T31" fmla="*/ 3261 h 87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375" h="8769">
                <a:moveTo>
                  <a:pt x="4484" y="6967"/>
                </a:moveTo>
                <a:cubicBezTo>
                  <a:pt x="4089" y="7362"/>
                  <a:pt x="4089" y="7979"/>
                  <a:pt x="4484" y="8374"/>
                </a:cubicBezTo>
                <a:cubicBezTo>
                  <a:pt x="4879" y="8769"/>
                  <a:pt x="5496" y="8769"/>
                  <a:pt x="5891" y="8374"/>
                </a:cubicBezTo>
                <a:cubicBezTo>
                  <a:pt x="6286" y="7979"/>
                  <a:pt x="6286" y="7362"/>
                  <a:pt x="5891" y="6967"/>
                </a:cubicBezTo>
                <a:cubicBezTo>
                  <a:pt x="5471" y="6571"/>
                  <a:pt x="4854" y="6571"/>
                  <a:pt x="4484" y="6967"/>
                </a:cubicBezTo>
                <a:close/>
                <a:moveTo>
                  <a:pt x="1754" y="5262"/>
                </a:moveTo>
                <a:lnTo>
                  <a:pt x="2766" y="6423"/>
                </a:lnTo>
                <a:cubicBezTo>
                  <a:pt x="4100" y="4892"/>
                  <a:pt x="6299" y="4892"/>
                  <a:pt x="7633" y="6423"/>
                </a:cubicBezTo>
                <a:lnTo>
                  <a:pt x="8645" y="5262"/>
                </a:lnTo>
                <a:cubicBezTo>
                  <a:pt x="6719" y="3088"/>
                  <a:pt x="3656" y="3088"/>
                  <a:pt x="1754" y="5262"/>
                </a:cubicBezTo>
                <a:close/>
                <a:moveTo>
                  <a:pt x="0" y="3261"/>
                </a:moveTo>
                <a:lnTo>
                  <a:pt x="1038" y="4447"/>
                </a:lnTo>
                <a:cubicBezTo>
                  <a:pt x="3335" y="1803"/>
                  <a:pt x="7040" y="1803"/>
                  <a:pt x="9338" y="4447"/>
                </a:cubicBezTo>
                <a:lnTo>
                  <a:pt x="10375" y="3261"/>
                </a:lnTo>
                <a:cubicBezTo>
                  <a:pt x="7534" y="0"/>
                  <a:pt x="2865" y="0"/>
                  <a:pt x="0" y="3261"/>
                </a:cubicBezTo>
                <a:close/>
                <a:moveTo>
                  <a:pt x="0" y="3261"/>
                </a:move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sp>
        <p:nvSpPr>
          <p:cNvPr id="28" name="dna-scheme_72281">
            <a:extLst>
              <a:ext uri="{FF2B5EF4-FFF2-40B4-BE49-F238E27FC236}">
                <a16:creationId xmlns:a16="http://schemas.microsoft.com/office/drawing/2014/main" id="{FEFE5ECC-380E-45E2-90F3-BF8A9F07C516}"/>
              </a:ext>
            </a:extLst>
          </p:cNvPr>
          <p:cNvSpPr/>
          <p:nvPr/>
        </p:nvSpPr>
        <p:spPr>
          <a:xfrm>
            <a:off x="8709876" y="4188744"/>
            <a:ext cx="327732" cy="325626"/>
          </a:xfrm>
          <a:custGeom>
            <a:avLst/>
            <a:gdLst>
              <a:gd name="T0" fmla="*/ 8079 w 8242"/>
              <a:gd name="T1" fmla="*/ 2177 h 8201"/>
              <a:gd name="T2" fmla="*/ 7493 w 8242"/>
              <a:gd name="T3" fmla="*/ 2177 h 8201"/>
              <a:gd name="T4" fmla="*/ 7402 w 8242"/>
              <a:gd name="T5" fmla="*/ 2260 h 8201"/>
              <a:gd name="T6" fmla="*/ 5982 w 8242"/>
              <a:gd name="T7" fmla="*/ 840 h 8201"/>
              <a:gd name="T8" fmla="*/ 6065 w 8242"/>
              <a:gd name="T9" fmla="*/ 749 h 8201"/>
              <a:gd name="T10" fmla="*/ 6065 w 8242"/>
              <a:gd name="T11" fmla="*/ 163 h 8201"/>
              <a:gd name="T12" fmla="*/ 5478 w 8242"/>
              <a:gd name="T13" fmla="*/ 163 h 8201"/>
              <a:gd name="T14" fmla="*/ 4914 w 8242"/>
              <a:gd name="T15" fmla="*/ 2319 h 8201"/>
              <a:gd name="T16" fmla="*/ 2903 w 8242"/>
              <a:gd name="T17" fmla="*/ 2903 h 8201"/>
              <a:gd name="T18" fmla="*/ 2319 w 8242"/>
              <a:gd name="T19" fmla="*/ 4914 h 8201"/>
              <a:gd name="T20" fmla="*/ 163 w 8242"/>
              <a:gd name="T21" fmla="*/ 5478 h 8201"/>
              <a:gd name="T22" fmla="*/ 163 w 8242"/>
              <a:gd name="T23" fmla="*/ 6065 h 8201"/>
              <a:gd name="T24" fmla="*/ 456 w 8242"/>
              <a:gd name="T25" fmla="*/ 6187 h 8201"/>
              <a:gd name="T26" fmla="*/ 749 w 8242"/>
              <a:gd name="T27" fmla="*/ 6065 h 8201"/>
              <a:gd name="T28" fmla="*/ 840 w 8242"/>
              <a:gd name="T29" fmla="*/ 5982 h 8201"/>
              <a:gd name="T30" fmla="*/ 2260 w 8242"/>
              <a:gd name="T31" fmla="*/ 7402 h 8201"/>
              <a:gd name="T32" fmla="*/ 2177 w 8242"/>
              <a:gd name="T33" fmla="*/ 7493 h 8201"/>
              <a:gd name="T34" fmla="*/ 2177 w 8242"/>
              <a:gd name="T35" fmla="*/ 8079 h 8201"/>
              <a:gd name="T36" fmla="*/ 2470 w 8242"/>
              <a:gd name="T37" fmla="*/ 8201 h 8201"/>
              <a:gd name="T38" fmla="*/ 2764 w 8242"/>
              <a:gd name="T39" fmla="*/ 8079 h 8201"/>
              <a:gd name="T40" fmla="*/ 3328 w 8242"/>
              <a:gd name="T41" fmla="*/ 5923 h 8201"/>
              <a:gd name="T42" fmla="*/ 5339 w 8242"/>
              <a:gd name="T43" fmla="*/ 5339 h 8201"/>
              <a:gd name="T44" fmla="*/ 5923 w 8242"/>
              <a:gd name="T45" fmla="*/ 3328 h 8201"/>
              <a:gd name="T46" fmla="*/ 8079 w 8242"/>
              <a:gd name="T47" fmla="*/ 2764 h 8201"/>
              <a:gd name="T48" fmla="*/ 8079 w 8242"/>
              <a:gd name="T49" fmla="*/ 2177 h 8201"/>
              <a:gd name="T50" fmla="*/ 5062 w 8242"/>
              <a:gd name="T51" fmla="*/ 3179 h 8201"/>
              <a:gd name="T52" fmla="*/ 4951 w 8242"/>
              <a:gd name="T53" fmla="*/ 4499 h 8201"/>
              <a:gd name="T54" fmla="*/ 3743 w 8242"/>
              <a:gd name="T55" fmla="*/ 3291 h 8201"/>
              <a:gd name="T56" fmla="*/ 5062 w 8242"/>
              <a:gd name="T57" fmla="*/ 3179 h 8201"/>
              <a:gd name="T58" fmla="*/ 1470 w 8242"/>
              <a:gd name="T59" fmla="*/ 5708 h 8201"/>
              <a:gd name="T60" fmla="*/ 2464 w 8242"/>
              <a:gd name="T61" fmla="*/ 5778 h 8201"/>
              <a:gd name="T62" fmla="*/ 2534 w 8242"/>
              <a:gd name="T63" fmla="*/ 6772 h 8201"/>
              <a:gd name="T64" fmla="*/ 1470 w 8242"/>
              <a:gd name="T65" fmla="*/ 5708 h 8201"/>
              <a:gd name="T66" fmla="*/ 3179 w 8242"/>
              <a:gd name="T67" fmla="*/ 5063 h 8201"/>
              <a:gd name="T68" fmla="*/ 3291 w 8242"/>
              <a:gd name="T69" fmla="*/ 3743 h 8201"/>
              <a:gd name="T70" fmla="*/ 4499 w 8242"/>
              <a:gd name="T71" fmla="*/ 4951 h 8201"/>
              <a:gd name="T72" fmla="*/ 3179 w 8242"/>
              <a:gd name="T73" fmla="*/ 5063 h 8201"/>
              <a:gd name="T74" fmla="*/ 5778 w 8242"/>
              <a:gd name="T75" fmla="*/ 2464 h 8201"/>
              <a:gd name="T76" fmla="*/ 5708 w 8242"/>
              <a:gd name="T77" fmla="*/ 1470 h 8201"/>
              <a:gd name="T78" fmla="*/ 6772 w 8242"/>
              <a:gd name="T79" fmla="*/ 2534 h 8201"/>
              <a:gd name="T80" fmla="*/ 5778 w 8242"/>
              <a:gd name="T81" fmla="*/ 2464 h 8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242" h="8201">
                <a:moveTo>
                  <a:pt x="8079" y="2177"/>
                </a:moveTo>
                <a:cubicBezTo>
                  <a:pt x="7917" y="2015"/>
                  <a:pt x="7655" y="2015"/>
                  <a:pt x="7493" y="2177"/>
                </a:cubicBezTo>
                <a:cubicBezTo>
                  <a:pt x="7463" y="2207"/>
                  <a:pt x="7433" y="2234"/>
                  <a:pt x="7402" y="2260"/>
                </a:cubicBezTo>
                <a:lnTo>
                  <a:pt x="5982" y="840"/>
                </a:lnTo>
                <a:cubicBezTo>
                  <a:pt x="6008" y="809"/>
                  <a:pt x="6035" y="779"/>
                  <a:pt x="6065" y="749"/>
                </a:cubicBezTo>
                <a:cubicBezTo>
                  <a:pt x="6227" y="587"/>
                  <a:pt x="6227" y="325"/>
                  <a:pt x="6065" y="163"/>
                </a:cubicBezTo>
                <a:cubicBezTo>
                  <a:pt x="5903" y="0"/>
                  <a:pt x="5640" y="0"/>
                  <a:pt x="5478" y="163"/>
                </a:cubicBezTo>
                <a:cubicBezTo>
                  <a:pt x="4816" y="825"/>
                  <a:pt x="4808" y="1592"/>
                  <a:pt x="4914" y="2319"/>
                </a:cubicBezTo>
                <a:cubicBezTo>
                  <a:pt x="4231" y="2237"/>
                  <a:pt x="3521" y="2285"/>
                  <a:pt x="2903" y="2903"/>
                </a:cubicBezTo>
                <a:cubicBezTo>
                  <a:pt x="2285" y="3521"/>
                  <a:pt x="2237" y="4231"/>
                  <a:pt x="2319" y="4914"/>
                </a:cubicBezTo>
                <a:cubicBezTo>
                  <a:pt x="1592" y="4808"/>
                  <a:pt x="825" y="4816"/>
                  <a:pt x="163" y="5478"/>
                </a:cubicBezTo>
                <a:cubicBezTo>
                  <a:pt x="0" y="5640"/>
                  <a:pt x="0" y="5903"/>
                  <a:pt x="163" y="6065"/>
                </a:cubicBezTo>
                <a:cubicBezTo>
                  <a:pt x="244" y="6146"/>
                  <a:pt x="350" y="6187"/>
                  <a:pt x="456" y="6187"/>
                </a:cubicBezTo>
                <a:cubicBezTo>
                  <a:pt x="562" y="6187"/>
                  <a:pt x="668" y="6146"/>
                  <a:pt x="749" y="6065"/>
                </a:cubicBezTo>
                <a:cubicBezTo>
                  <a:pt x="779" y="6035"/>
                  <a:pt x="809" y="6008"/>
                  <a:pt x="840" y="5982"/>
                </a:cubicBezTo>
                <a:lnTo>
                  <a:pt x="2260" y="7402"/>
                </a:lnTo>
                <a:cubicBezTo>
                  <a:pt x="2234" y="7433"/>
                  <a:pt x="2207" y="7463"/>
                  <a:pt x="2177" y="7493"/>
                </a:cubicBezTo>
                <a:cubicBezTo>
                  <a:pt x="2015" y="7655"/>
                  <a:pt x="2015" y="7917"/>
                  <a:pt x="2177" y="8079"/>
                </a:cubicBezTo>
                <a:cubicBezTo>
                  <a:pt x="2258" y="8160"/>
                  <a:pt x="2364" y="8201"/>
                  <a:pt x="2470" y="8201"/>
                </a:cubicBezTo>
                <a:cubicBezTo>
                  <a:pt x="2576" y="8201"/>
                  <a:pt x="2683" y="8160"/>
                  <a:pt x="2764" y="8079"/>
                </a:cubicBezTo>
                <a:cubicBezTo>
                  <a:pt x="3426" y="7417"/>
                  <a:pt x="3434" y="6650"/>
                  <a:pt x="3328" y="5923"/>
                </a:cubicBezTo>
                <a:cubicBezTo>
                  <a:pt x="4011" y="6005"/>
                  <a:pt x="4721" y="5957"/>
                  <a:pt x="5339" y="5339"/>
                </a:cubicBezTo>
                <a:cubicBezTo>
                  <a:pt x="5957" y="4721"/>
                  <a:pt x="6005" y="4011"/>
                  <a:pt x="5923" y="3328"/>
                </a:cubicBezTo>
                <a:cubicBezTo>
                  <a:pt x="6650" y="3434"/>
                  <a:pt x="7417" y="3426"/>
                  <a:pt x="8079" y="2764"/>
                </a:cubicBezTo>
                <a:cubicBezTo>
                  <a:pt x="8242" y="2602"/>
                  <a:pt x="8242" y="2339"/>
                  <a:pt x="8079" y="2177"/>
                </a:cubicBezTo>
                <a:close/>
                <a:moveTo>
                  <a:pt x="5062" y="3179"/>
                </a:moveTo>
                <a:cubicBezTo>
                  <a:pt x="5151" y="3727"/>
                  <a:pt x="5166" y="4141"/>
                  <a:pt x="4951" y="4499"/>
                </a:cubicBezTo>
                <a:lnTo>
                  <a:pt x="3743" y="3291"/>
                </a:lnTo>
                <a:cubicBezTo>
                  <a:pt x="4101" y="3076"/>
                  <a:pt x="4515" y="3091"/>
                  <a:pt x="5062" y="3179"/>
                </a:cubicBezTo>
                <a:close/>
                <a:moveTo>
                  <a:pt x="1470" y="5708"/>
                </a:moveTo>
                <a:cubicBezTo>
                  <a:pt x="1753" y="5671"/>
                  <a:pt x="2076" y="5711"/>
                  <a:pt x="2464" y="5778"/>
                </a:cubicBezTo>
                <a:cubicBezTo>
                  <a:pt x="2531" y="6166"/>
                  <a:pt x="2571" y="6489"/>
                  <a:pt x="2534" y="6772"/>
                </a:cubicBezTo>
                <a:lnTo>
                  <a:pt x="1470" y="5708"/>
                </a:lnTo>
                <a:close/>
                <a:moveTo>
                  <a:pt x="3179" y="5063"/>
                </a:moveTo>
                <a:cubicBezTo>
                  <a:pt x="3091" y="4515"/>
                  <a:pt x="3076" y="4101"/>
                  <a:pt x="3291" y="3743"/>
                </a:cubicBezTo>
                <a:lnTo>
                  <a:pt x="4499" y="4951"/>
                </a:lnTo>
                <a:cubicBezTo>
                  <a:pt x="4141" y="5166"/>
                  <a:pt x="3727" y="5151"/>
                  <a:pt x="3179" y="5063"/>
                </a:cubicBezTo>
                <a:close/>
                <a:moveTo>
                  <a:pt x="5778" y="2464"/>
                </a:moveTo>
                <a:cubicBezTo>
                  <a:pt x="5711" y="2076"/>
                  <a:pt x="5671" y="1753"/>
                  <a:pt x="5708" y="1470"/>
                </a:cubicBezTo>
                <a:lnTo>
                  <a:pt x="6772" y="2534"/>
                </a:lnTo>
                <a:cubicBezTo>
                  <a:pt x="6489" y="2571"/>
                  <a:pt x="6166" y="2531"/>
                  <a:pt x="5778" y="2464"/>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9" name="user_209046">
            <a:extLst>
              <a:ext uri="{FF2B5EF4-FFF2-40B4-BE49-F238E27FC236}">
                <a16:creationId xmlns:a16="http://schemas.microsoft.com/office/drawing/2014/main" id="{3DCFC7B5-5619-4D89-8ABE-6B254F829860}"/>
              </a:ext>
            </a:extLst>
          </p:cNvPr>
          <p:cNvSpPr/>
          <p:nvPr/>
        </p:nvSpPr>
        <p:spPr>
          <a:xfrm>
            <a:off x="3105985" y="2907539"/>
            <a:ext cx="291060" cy="332678"/>
          </a:xfrm>
          <a:custGeom>
            <a:avLst/>
            <a:gdLst>
              <a:gd name="T0" fmla="*/ 8582 w 9077"/>
              <a:gd name="T1" fmla="*/ 4538 h 10373"/>
              <a:gd name="T2" fmla="*/ 9077 w 9077"/>
              <a:gd name="T3" fmla="*/ 4538 h 10373"/>
              <a:gd name="T4" fmla="*/ 9077 w 9077"/>
              <a:gd name="T5" fmla="*/ 9151 h 10373"/>
              <a:gd name="T6" fmla="*/ 7855 w 9077"/>
              <a:gd name="T7" fmla="*/ 10373 h 10373"/>
              <a:gd name="T8" fmla="*/ 4789 w 9077"/>
              <a:gd name="T9" fmla="*/ 10373 h 10373"/>
              <a:gd name="T10" fmla="*/ 4539 w 9077"/>
              <a:gd name="T11" fmla="*/ 10123 h 10373"/>
              <a:gd name="T12" fmla="*/ 4539 w 9077"/>
              <a:gd name="T13" fmla="*/ 9562 h 10373"/>
              <a:gd name="T14" fmla="*/ 4789 w 9077"/>
              <a:gd name="T15" fmla="*/ 9312 h 10373"/>
              <a:gd name="T16" fmla="*/ 7532 w 9077"/>
              <a:gd name="T17" fmla="*/ 9312 h 10373"/>
              <a:gd name="T18" fmla="*/ 8106 w 9077"/>
              <a:gd name="T19" fmla="*/ 8738 h 10373"/>
              <a:gd name="T20" fmla="*/ 8106 w 9077"/>
              <a:gd name="T21" fmla="*/ 7780 h 10373"/>
              <a:gd name="T22" fmla="*/ 6734 w 9077"/>
              <a:gd name="T23" fmla="*/ 7780 h 10373"/>
              <a:gd name="T24" fmla="*/ 6484 w 9077"/>
              <a:gd name="T25" fmla="*/ 7530 h 10373"/>
              <a:gd name="T26" fmla="*/ 6484 w 9077"/>
              <a:gd name="T27" fmla="*/ 4788 h 10373"/>
              <a:gd name="T28" fmla="*/ 6734 w 9077"/>
              <a:gd name="T29" fmla="*/ 4538 h 10373"/>
              <a:gd name="T30" fmla="*/ 8582 w 9077"/>
              <a:gd name="T31" fmla="*/ 4538 h 10373"/>
              <a:gd name="T32" fmla="*/ 8087 w 9077"/>
              <a:gd name="T33" fmla="*/ 4538 h 10373"/>
              <a:gd name="T34" fmla="*/ 8087 w 9077"/>
              <a:gd name="T35" fmla="*/ 4520 h 10373"/>
              <a:gd name="T36" fmla="*/ 4521 w 9077"/>
              <a:gd name="T37" fmla="*/ 972 h 10373"/>
              <a:gd name="T38" fmla="*/ 955 w 9077"/>
              <a:gd name="T39" fmla="*/ 4520 h 10373"/>
              <a:gd name="T40" fmla="*/ 955 w 9077"/>
              <a:gd name="T41" fmla="*/ 4538 h 10373"/>
              <a:gd name="T42" fmla="*/ 0 w 9077"/>
              <a:gd name="T43" fmla="*/ 4538 h 10373"/>
              <a:gd name="T44" fmla="*/ 0 w 9077"/>
              <a:gd name="T45" fmla="*/ 6558 h 10373"/>
              <a:gd name="T46" fmla="*/ 1222 w 9077"/>
              <a:gd name="T47" fmla="*/ 7781 h 10373"/>
              <a:gd name="T48" fmla="*/ 2343 w 9077"/>
              <a:gd name="T49" fmla="*/ 7781 h 10373"/>
              <a:gd name="T50" fmla="*/ 2593 w 9077"/>
              <a:gd name="T51" fmla="*/ 7531 h 10373"/>
              <a:gd name="T52" fmla="*/ 2593 w 9077"/>
              <a:gd name="T53" fmla="*/ 4788 h 10373"/>
              <a:gd name="T54" fmla="*/ 2343 w 9077"/>
              <a:gd name="T55" fmla="*/ 4538 h 10373"/>
              <a:gd name="T56" fmla="*/ 0 w 9077"/>
              <a:gd name="T57" fmla="*/ 4538 h 10373"/>
              <a:gd name="T58" fmla="*/ 0 w 9077"/>
              <a:gd name="T59" fmla="*/ 4516 h 10373"/>
              <a:gd name="T60" fmla="*/ 4539 w 9077"/>
              <a:gd name="T61" fmla="*/ 0 h 10373"/>
              <a:gd name="T62" fmla="*/ 9077 w 9077"/>
              <a:gd name="T63" fmla="*/ 4516 h 10373"/>
              <a:gd name="T64" fmla="*/ 9077 w 9077"/>
              <a:gd name="T65" fmla="*/ 4538 h 10373"/>
              <a:gd name="T66" fmla="*/ 8582 w 9077"/>
              <a:gd name="T67" fmla="*/ 4538 h 10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077" h="10373">
                <a:moveTo>
                  <a:pt x="8582" y="4538"/>
                </a:moveTo>
                <a:lnTo>
                  <a:pt x="9077" y="4538"/>
                </a:lnTo>
                <a:lnTo>
                  <a:pt x="9077" y="9151"/>
                </a:lnTo>
                <a:cubicBezTo>
                  <a:pt x="9077" y="9826"/>
                  <a:pt x="8530" y="10373"/>
                  <a:pt x="7855" y="10373"/>
                </a:cubicBezTo>
                <a:lnTo>
                  <a:pt x="4789" y="10373"/>
                </a:lnTo>
                <a:cubicBezTo>
                  <a:pt x="4651" y="10373"/>
                  <a:pt x="4539" y="10261"/>
                  <a:pt x="4539" y="10123"/>
                </a:cubicBezTo>
                <a:lnTo>
                  <a:pt x="4539" y="9562"/>
                </a:lnTo>
                <a:cubicBezTo>
                  <a:pt x="4539" y="9425"/>
                  <a:pt x="4651" y="9312"/>
                  <a:pt x="4789" y="9312"/>
                </a:cubicBezTo>
                <a:lnTo>
                  <a:pt x="7532" y="9312"/>
                </a:lnTo>
                <a:cubicBezTo>
                  <a:pt x="7850" y="9312"/>
                  <a:pt x="8106" y="9055"/>
                  <a:pt x="8106" y="8738"/>
                </a:cubicBezTo>
                <a:lnTo>
                  <a:pt x="8106" y="7780"/>
                </a:lnTo>
                <a:lnTo>
                  <a:pt x="6734" y="7780"/>
                </a:lnTo>
                <a:cubicBezTo>
                  <a:pt x="6596" y="7780"/>
                  <a:pt x="6484" y="7667"/>
                  <a:pt x="6484" y="7530"/>
                </a:cubicBezTo>
                <a:lnTo>
                  <a:pt x="6484" y="4788"/>
                </a:lnTo>
                <a:cubicBezTo>
                  <a:pt x="6484" y="4651"/>
                  <a:pt x="6596" y="4538"/>
                  <a:pt x="6734" y="4538"/>
                </a:cubicBezTo>
                <a:lnTo>
                  <a:pt x="8582" y="4538"/>
                </a:lnTo>
                <a:lnTo>
                  <a:pt x="8087" y="4538"/>
                </a:lnTo>
                <a:lnTo>
                  <a:pt x="8087" y="4520"/>
                </a:lnTo>
                <a:cubicBezTo>
                  <a:pt x="8087" y="2560"/>
                  <a:pt x="6491" y="972"/>
                  <a:pt x="4521" y="972"/>
                </a:cubicBezTo>
                <a:cubicBezTo>
                  <a:pt x="2552" y="972"/>
                  <a:pt x="955" y="2561"/>
                  <a:pt x="955" y="4520"/>
                </a:cubicBezTo>
                <a:lnTo>
                  <a:pt x="955" y="4538"/>
                </a:lnTo>
                <a:lnTo>
                  <a:pt x="0" y="4538"/>
                </a:lnTo>
                <a:lnTo>
                  <a:pt x="0" y="6558"/>
                </a:lnTo>
                <a:cubicBezTo>
                  <a:pt x="0" y="7233"/>
                  <a:pt x="547" y="7781"/>
                  <a:pt x="1222" y="7781"/>
                </a:cubicBezTo>
                <a:lnTo>
                  <a:pt x="2343" y="7781"/>
                </a:lnTo>
                <a:cubicBezTo>
                  <a:pt x="2481" y="7781"/>
                  <a:pt x="2593" y="7668"/>
                  <a:pt x="2593" y="7531"/>
                </a:cubicBezTo>
                <a:lnTo>
                  <a:pt x="2593" y="4788"/>
                </a:lnTo>
                <a:cubicBezTo>
                  <a:pt x="2593" y="4651"/>
                  <a:pt x="2481" y="4538"/>
                  <a:pt x="2343" y="4538"/>
                </a:cubicBezTo>
                <a:lnTo>
                  <a:pt x="0" y="4538"/>
                </a:lnTo>
                <a:lnTo>
                  <a:pt x="0" y="4516"/>
                </a:lnTo>
                <a:cubicBezTo>
                  <a:pt x="0" y="2022"/>
                  <a:pt x="2032" y="0"/>
                  <a:pt x="4539" y="0"/>
                </a:cubicBezTo>
                <a:cubicBezTo>
                  <a:pt x="7045" y="0"/>
                  <a:pt x="9077" y="2021"/>
                  <a:pt x="9077" y="4516"/>
                </a:cubicBezTo>
                <a:lnTo>
                  <a:pt x="9077" y="4538"/>
                </a:lnTo>
                <a:lnTo>
                  <a:pt x="8582" y="4538"/>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sp>
        <p:nvSpPr>
          <p:cNvPr id="30" name="user_209046">
            <a:extLst>
              <a:ext uri="{FF2B5EF4-FFF2-40B4-BE49-F238E27FC236}">
                <a16:creationId xmlns:a16="http://schemas.microsoft.com/office/drawing/2014/main" id="{9A8763D6-6337-4384-B244-98319B9AB12C}"/>
              </a:ext>
            </a:extLst>
          </p:cNvPr>
          <p:cNvSpPr/>
          <p:nvPr/>
        </p:nvSpPr>
        <p:spPr>
          <a:xfrm>
            <a:off x="4654122" y="4062688"/>
            <a:ext cx="235710" cy="290282"/>
          </a:xfrm>
          <a:custGeom>
            <a:avLst/>
            <a:gdLst>
              <a:gd name="T0" fmla="*/ 7781 w 8430"/>
              <a:gd name="T1" fmla="*/ 7127 h 10381"/>
              <a:gd name="T2" fmla="*/ 7559 w 8430"/>
              <a:gd name="T3" fmla="*/ 7127 h 10381"/>
              <a:gd name="T4" fmla="*/ 7559 w 8430"/>
              <a:gd name="T5" fmla="*/ 6663 h 10381"/>
              <a:gd name="T6" fmla="*/ 6498 w 8430"/>
              <a:gd name="T7" fmla="*/ 5838 h 10381"/>
              <a:gd name="T8" fmla="*/ 6485 w 8430"/>
              <a:gd name="T9" fmla="*/ 5838 h 10381"/>
              <a:gd name="T10" fmla="*/ 6485 w 8430"/>
              <a:gd name="T11" fmla="*/ 5189 h 10381"/>
              <a:gd name="T12" fmla="*/ 1298 w 8430"/>
              <a:gd name="T13" fmla="*/ 5189 h 10381"/>
              <a:gd name="T14" fmla="*/ 1298 w 8430"/>
              <a:gd name="T15" fmla="*/ 6486 h 10381"/>
              <a:gd name="T16" fmla="*/ 5409 w 8430"/>
              <a:gd name="T17" fmla="*/ 6486 h 10381"/>
              <a:gd name="T18" fmla="*/ 5409 w 8430"/>
              <a:gd name="T19" fmla="*/ 7134 h 10381"/>
              <a:gd name="T20" fmla="*/ 1296 w 8430"/>
              <a:gd name="T21" fmla="*/ 7134 h 10381"/>
              <a:gd name="T22" fmla="*/ 1296 w 8430"/>
              <a:gd name="T23" fmla="*/ 8432 h 10381"/>
              <a:gd name="T24" fmla="*/ 3890 w 8430"/>
              <a:gd name="T25" fmla="*/ 8432 h 10381"/>
              <a:gd name="T26" fmla="*/ 3890 w 8430"/>
              <a:gd name="T27" fmla="*/ 8442 h 10381"/>
              <a:gd name="T28" fmla="*/ 4533 w 8430"/>
              <a:gd name="T29" fmla="*/ 9280 h 10381"/>
              <a:gd name="T30" fmla="*/ 5408 w 8430"/>
              <a:gd name="T31" fmla="*/ 9280 h 10381"/>
              <a:gd name="T32" fmla="*/ 5408 w 8430"/>
              <a:gd name="T33" fmla="*/ 10377 h 10381"/>
              <a:gd name="T34" fmla="*/ 649 w 8430"/>
              <a:gd name="T35" fmla="*/ 10377 h 10381"/>
              <a:gd name="T36" fmla="*/ 0 w 8430"/>
              <a:gd name="T37" fmla="*/ 9728 h 10381"/>
              <a:gd name="T38" fmla="*/ 0 w 8430"/>
              <a:gd name="T39" fmla="*/ 3251 h 10381"/>
              <a:gd name="T40" fmla="*/ 3241 w 8430"/>
              <a:gd name="T41" fmla="*/ 3251 h 10381"/>
              <a:gd name="T42" fmla="*/ 3241 w 8430"/>
              <a:gd name="T43" fmla="*/ 3243 h 10381"/>
              <a:gd name="T44" fmla="*/ 3243 w 8430"/>
              <a:gd name="T45" fmla="*/ 3243 h 10381"/>
              <a:gd name="T46" fmla="*/ 3243 w 8430"/>
              <a:gd name="T47" fmla="*/ 1 h 10381"/>
              <a:gd name="T48" fmla="*/ 7134 w 8430"/>
              <a:gd name="T49" fmla="*/ 1 h 10381"/>
              <a:gd name="T50" fmla="*/ 7783 w 8430"/>
              <a:gd name="T51" fmla="*/ 649 h 10381"/>
              <a:gd name="T52" fmla="*/ 7783 w 8430"/>
              <a:gd name="T53" fmla="*/ 7127 h 10381"/>
              <a:gd name="T54" fmla="*/ 7781 w 8430"/>
              <a:gd name="T55" fmla="*/ 7127 h 10381"/>
              <a:gd name="T56" fmla="*/ 2594 w 8430"/>
              <a:gd name="T57" fmla="*/ 0 h 10381"/>
              <a:gd name="T58" fmla="*/ 2594 w 8430"/>
              <a:gd name="T59" fmla="*/ 2594 h 10381"/>
              <a:gd name="T60" fmla="*/ 0 w 8430"/>
              <a:gd name="T61" fmla="*/ 2594 h 10381"/>
              <a:gd name="T62" fmla="*/ 2594 w 8430"/>
              <a:gd name="T63" fmla="*/ 0 h 10381"/>
              <a:gd name="T64" fmla="*/ 7954 w 8430"/>
              <a:gd name="T65" fmla="*/ 7947 h 10381"/>
              <a:gd name="T66" fmla="*/ 8430 w 8430"/>
              <a:gd name="T67" fmla="*/ 8424 h 10381"/>
              <a:gd name="T68" fmla="*/ 8430 w 8430"/>
              <a:gd name="T69" fmla="*/ 8444 h 10381"/>
              <a:gd name="T70" fmla="*/ 7954 w 8430"/>
              <a:gd name="T71" fmla="*/ 8922 h 10381"/>
              <a:gd name="T72" fmla="*/ 6971 w 8430"/>
              <a:gd name="T73" fmla="*/ 8922 h 10381"/>
              <a:gd name="T74" fmla="*/ 6971 w 8430"/>
              <a:gd name="T75" fmla="*/ 9901 h 10381"/>
              <a:gd name="T76" fmla="*/ 6495 w 8430"/>
              <a:gd name="T77" fmla="*/ 10378 h 10381"/>
              <a:gd name="T78" fmla="*/ 6480 w 8430"/>
              <a:gd name="T79" fmla="*/ 10378 h 10381"/>
              <a:gd name="T80" fmla="*/ 5999 w 8430"/>
              <a:gd name="T81" fmla="*/ 9907 h 10381"/>
              <a:gd name="T82" fmla="*/ 5999 w 8430"/>
              <a:gd name="T83" fmla="*/ 8922 h 10381"/>
              <a:gd name="T84" fmla="*/ 5021 w 8430"/>
              <a:gd name="T85" fmla="*/ 8922 h 10381"/>
              <a:gd name="T86" fmla="*/ 4540 w 8430"/>
              <a:gd name="T87" fmla="*/ 8443 h 10381"/>
              <a:gd name="T88" fmla="*/ 4540 w 8430"/>
              <a:gd name="T89" fmla="*/ 8427 h 10381"/>
              <a:gd name="T90" fmla="*/ 5021 w 8430"/>
              <a:gd name="T91" fmla="*/ 7949 h 10381"/>
              <a:gd name="T92" fmla="*/ 5999 w 8430"/>
              <a:gd name="T93" fmla="*/ 7949 h 10381"/>
              <a:gd name="T94" fmla="*/ 5999 w 8430"/>
              <a:gd name="T95" fmla="*/ 6966 h 10381"/>
              <a:gd name="T96" fmla="*/ 6480 w 8430"/>
              <a:gd name="T97" fmla="*/ 6488 h 10381"/>
              <a:gd name="T98" fmla="*/ 6495 w 8430"/>
              <a:gd name="T99" fmla="*/ 6488 h 10381"/>
              <a:gd name="T100" fmla="*/ 6971 w 8430"/>
              <a:gd name="T101" fmla="*/ 6966 h 10381"/>
              <a:gd name="T102" fmla="*/ 6971 w 8430"/>
              <a:gd name="T103" fmla="*/ 7948 h 10381"/>
              <a:gd name="T104" fmla="*/ 7954 w 8430"/>
              <a:gd name="T105" fmla="*/ 7947 h 103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430" h="10381">
                <a:moveTo>
                  <a:pt x="7781" y="7127"/>
                </a:moveTo>
                <a:lnTo>
                  <a:pt x="7559" y="7127"/>
                </a:lnTo>
                <a:lnTo>
                  <a:pt x="7559" y="6663"/>
                </a:lnTo>
                <a:cubicBezTo>
                  <a:pt x="7559" y="6132"/>
                  <a:pt x="7019" y="5838"/>
                  <a:pt x="6498" y="5838"/>
                </a:cubicBezTo>
                <a:lnTo>
                  <a:pt x="6485" y="5838"/>
                </a:lnTo>
                <a:lnTo>
                  <a:pt x="6485" y="5189"/>
                </a:lnTo>
                <a:lnTo>
                  <a:pt x="1298" y="5189"/>
                </a:lnTo>
                <a:lnTo>
                  <a:pt x="1298" y="6486"/>
                </a:lnTo>
                <a:lnTo>
                  <a:pt x="5409" y="6486"/>
                </a:lnTo>
                <a:lnTo>
                  <a:pt x="5409" y="7134"/>
                </a:lnTo>
                <a:lnTo>
                  <a:pt x="1296" y="7134"/>
                </a:lnTo>
                <a:lnTo>
                  <a:pt x="1296" y="8432"/>
                </a:lnTo>
                <a:lnTo>
                  <a:pt x="3890" y="8432"/>
                </a:lnTo>
                <a:lnTo>
                  <a:pt x="3890" y="8442"/>
                </a:lnTo>
                <a:cubicBezTo>
                  <a:pt x="3890" y="8798"/>
                  <a:pt x="4175" y="9280"/>
                  <a:pt x="4533" y="9280"/>
                </a:cubicBezTo>
                <a:lnTo>
                  <a:pt x="5408" y="9280"/>
                </a:lnTo>
                <a:lnTo>
                  <a:pt x="5408" y="10377"/>
                </a:lnTo>
                <a:lnTo>
                  <a:pt x="649" y="10377"/>
                </a:lnTo>
                <a:cubicBezTo>
                  <a:pt x="290" y="10377"/>
                  <a:pt x="0" y="10087"/>
                  <a:pt x="0" y="9728"/>
                </a:cubicBezTo>
                <a:lnTo>
                  <a:pt x="0" y="3251"/>
                </a:lnTo>
                <a:lnTo>
                  <a:pt x="3241" y="3251"/>
                </a:lnTo>
                <a:lnTo>
                  <a:pt x="3241" y="3243"/>
                </a:lnTo>
                <a:lnTo>
                  <a:pt x="3243" y="3243"/>
                </a:lnTo>
                <a:lnTo>
                  <a:pt x="3243" y="1"/>
                </a:lnTo>
                <a:lnTo>
                  <a:pt x="7134" y="1"/>
                </a:lnTo>
                <a:cubicBezTo>
                  <a:pt x="7493" y="1"/>
                  <a:pt x="7783" y="291"/>
                  <a:pt x="7783" y="649"/>
                </a:cubicBezTo>
                <a:lnTo>
                  <a:pt x="7783" y="7127"/>
                </a:lnTo>
                <a:lnTo>
                  <a:pt x="7781" y="7127"/>
                </a:lnTo>
                <a:close/>
                <a:moveTo>
                  <a:pt x="2594" y="0"/>
                </a:moveTo>
                <a:lnTo>
                  <a:pt x="2594" y="2594"/>
                </a:lnTo>
                <a:lnTo>
                  <a:pt x="0" y="2594"/>
                </a:lnTo>
                <a:lnTo>
                  <a:pt x="2594" y="0"/>
                </a:lnTo>
                <a:close/>
                <a:moveTo>
                  <a:pt x="7954" y="7947"/>
                </a:moveTo>
                <a:cubicBezTo>
                  <a:pt x="8216" y="7947"/>
                  <a:pt x="8430" y="8161"/>
                  <a:pt x="8430" y="8424"/>
                </a:cubicBezTo>
                <a:lnTo>
                  <a:pt x="8430" y="8444"/>
                </a:lnTo>
                <a:cubicBezTo>
                  <a:pt x="8430" y="8707"/>
                  <a:pt x="8216" y="8922"/>
                  <a:pt x="7954" y="8922"/>
                </a:cubicBezTo>
                <a:lnTo>
                  <a:pt x="6971" y="8922"/>
                </a:lnTo>
                <a:lnTo>
                  <a:pt x="6971" y="9901"/>
                </a:lnTo>
                <a:cubicBezTo>
                  <a:pt x="6971" y="10163"/>
                  <a:pt x="6757" y="10378"/>
                  <a:pt x="6495" y="10378"/>
                </a:cubicBezTo>
                <a:lnTo>
                  <a:pt x="6480" y="10378"/>
                </a:lnTo>
                <a:cubicBezTo>
                  <a:pt x="6217" y="10381"/>
                  <a:pt x="6001" y="10171"/>
                  <a:pt x="5999" y="9907"/>
                </a:cubicBezTo>
                <a:lnTo>
                  <a:pt x="5999" y="8922"/>
                </a:lnTo>
                <a:lnTo>
                  <a:pt x="5021" y="8922"/>
                </a:lnTo>
                <a:cubicBezTo>
                  <a:pt x="4756" y="8923"/>
                  <a:pt x="4541" y="8708"/>
                  <a:pt x="4540" y="8443"/>
                </a:cubicBezTo>
                <a:lnTo>
                  <a:pt x="4540" y="8427"/>
                </a:lnTo>
                <a:cubicBezTo>
                  <a:pt x="4544" y="8163"/>
                  <a:pt x="4757" y="7952"/>
                  <a:pt x="5021" y="7949"/>
                </a:cubicBezTo>
                <a:lnTo>
                  <a:pt x="5999" y="7949"/>
                </a:lnTo>
                <a:lnTo>
                  <a:pt x="5999" y="6966"/>
                </a:lnTo>
                <a:cubicBezTo>
                  <a:pt x="5999" y="6702"/>
                  <a:pt x="6212" y="6488"/>
                  <a:pt x="6480" y="6488"/>
                </a:cubicBezTo>
                <a:lnTo>
                  <a:pt x="6495" y="6488"/>
                </a:lnTo>
                <a:cubicBezTo>
                  <a:pt x="6757" y="6488"/>
                  <a:pt x="6971" y="6702"/>
                  <a:pt x="6971" y="6966"/>
                </a:cubicBezTo>
                <a:lnTo>
                  <a:pt x="6971" y="7948"/>
                </a:lnTo>
                <a:lnTo>
                  <a:pt x="7954" y="7947"/>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spTree>
    <p:extLst>
      <p:ext uri="{BB962C8B-B14F-4D97-AF65-F5344CB8AC3E}">
        <p14:creationId xmlns:p14="http://schemas.microsoft.com/office/powerpoint/2010/main" val="1897673383"/>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3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9" name="组合 38">
            <a:extLst>
              <a:ext uri="{FF2B5EF4-FFF2-40B4-BE49-F238E27FC236}">
                <a16:creationId xmlns:a16="http://schemas.microsoft.com/office/drawing/2014/main" id="{43CDB2FC-9E5E-4939-B227-E3399AFCABCD}"/>
              </a:ext>
            </a:extLst>
          </p:cNvPr>
          <p:cNvGrpSpPr/>
          <p:nvPr/>
        </p:nvGrpSpPr>
        <p:grpSpPr>
          <a:xfrm>
            <a:off x="549910" y="1702191"/>
            <a:ext cx="1856740" cy="2458329"/>
            <a:chOff x="1138109" y="2580015"/>
            <a:chExt cx="2202056" cy="2915529"/>
          </a:xfrm>
        </p:grpSpPr>
        <p:sp>
          <p:nvSpPr>
            <p:cNvPr id="35" name="矩形 34">
              <a:extLst>
                <a:ext uri="{FF2B5EF4-FFF2-40B4-BE49-F238E27FC236}">
                  <a16:creationId xmlns:a16="http://schemas.microsoft.com/office/drawing/2014/main" id="{D048FD7F-2724-4802-B6CD-8932F7E3E1D7}"/>
                </a:ext>
              </a:extLst>
            </p:cNvPr>
            <p:cNvSpPr/>
            <p:nvPr/>
          </p:nvSpPr>
          <p:spPr>
            <a:xfrm>
              <a:off x="1138109" y="3608926"/>
              <a:ext cx="2202056" cy="1886618"/>
            </a:xfrm>
            <a:prstGeom prst="rect">
              <a:avLst/>
            </a:prstGeom>
            <a:gradFill>
              <a:gsLst>
                <a:gs pos="0">
                  <a:srgbClr val="031761">
                    <a:alpha val="10000"/>
                  </a:srgbClr>
                </a:gs>
                <a:gs pos="99000">
                  <a:schemeClr val="accent1">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7" name="椭圆 6">
              <a:extLst>
                <a:ext uri="{FF2B5EF4-FFF2-40B4-BE49-F238E27FC236}">
                  <a16:creationId xmlns:a16="http://schemas.microsoft.com/office/drawing/2014/main" id="{87BA3150-E9C0-45AC-848F-52006DF272D5}"/>
                </a:ext>
              </a:extLst>
            </p:cNvPr>
            <p:cNvSpPr/>
            <p:nvPr/>
          </p:nvSpPr>
          <p:spPr>
            <a:xfrm>
              <a:off x="1138109" y="3361558"/>
              <a:ext cx="2202056" cy="56536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31" name="椭圆 30">
              <a:extLst>
                <a:ext uri="{FF2B5EF4-FFF2-40B4-BE49-F238E27FC236}">
                  <a16:creationId xmlns:a16="http://schemas.microsoft.com/office/drawing/2014/main" id="{B32227E1-FA72-4D1F-9967-18C1FA575A40}"/>
                </a:ext>
              </a:extLst>
            </p:cNvPr>
            <p:cNvSpPr/>
            <p:nvPr/>
          </p:nvSpPr>
          <p:spPr>
            <a:xfrm>
              <a:off x="1138109" y="3315894"/>
              <a:ext cx="2202056" cy="56536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32" name="椭圆 31">
              <a:extLst>
                <a:ext uri="{FF2B5EF4-FFF2-40B4-BE49-F238E27FC236}">
                  <a16:creationId xmlns:a16="http://schemas.microsoft.com/office/drawing/2014/main" id="{BAD24DB3-4FC0-4F69-A6EE-8940C6F3CCE3}"/>
                </a:ext>
              </a:extLst>
            </p:cNvPr>
            <p:cNvSpPr/>
            <p:nvPr/>
          </p:nvSpPr>
          <p:spPr>
            <a:xfrm>
              <a:off x="1344158" y="3366622"/>
              <a:ext cx="1789958" cy="459562"/>
            </a:xfrm>
            <a:prstGeom prst="ellipse">
              <a:avLst/>
            </a:prstGeom>
            <a:solidFill>
              <a:schemeClr val="accent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33" name="椭圆 32">
              <a:extLst>
                <a:ext uri="{FF2B5EF4-FFF2-40B4-BE49-F238E27FC236}">
                  <a16:creationId xmlns:a16="http://schemas.microsoft.com/office/drawing/2014/main" id="{2BDC8480-1115-4459-9430-68E172A99050}"/>
                </a:ext>
              </a:extLst>
            </p:cNvPr>
            <p:cNvSpPr/>
            <p:nvPr/>
          </p:nvSpPr>
          <p:spPr>
            <a:xfrm>
              <a:off x="1570859" y="3385686"/>
              <a:ext cx="1336556" cy="343152"/>
            </a:xfrm>
            <a:prstGeom prst="ellipse">
              <a:avLst/>
            </a:prstGeom>
            <a:solidFill>
              <a:schemeClr val="accent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34" name="梯形 5">
              <a:extLst>
                <a:ext uri="{FF2B5EF4-FFF2-40B4-BE49-F238E27FC236}">
                  <a16:creationId xmlns:a16="http://schemas.microsoft.com/office/drawing/2014/main" id="{317B075C-B1E7-4A0D-B651-1DCF49DDABDF}"/>
                </a:ext>
              </a:extLst>
            </p:cNvPr>
            <p:cNvSpPr/>
            <p:nvPr/>
          </p:nvSpPr>
          <p:spPr>
            <a:xfrm rot="10800000">
              <a:off x="1357566" y="2580015"/>
              <a:ext cx="1776158" cy="1280924"/>
            </a:xfrm>
            <a:custGeom>
              <a:avLst/>
              <a:gdLst>
                <a:gd name="connsiteX0" fmla="*/ 0 w 1969294"/>
                <a:gd name="connsiteY0" fmla="*/ 1064133 h 1064133"/>
                <a:gd name="connsiteX1" fmla="*/ 266033 w 1969294"/>
                <a:gd name="connsiteY1" fmla="*/ 0 h 1064133"/>
                <a:gd name="connsiteX2" fmla="*/ 1703261 w 1969294"/>
                <a:gd name="connsiteY2" fmla="*/ 0 h 1064133"/>
                <a:gd name="connsiteX3" fmla="*/ 1969294 w 1969294"/>
                <a:gd name="connsiteY3" fmla="*/ 1064133 h 1064133"/>
                <a:gd name="connsiteX4" fmla="*/ 0 w 1969294"/>
                <a:gd name="connsiteY4" fmla="*/ 1064133 h 1064133"/>
                <a:gd name="connsiteX0" fmla="*/ 0 w 1969294"/>
                <a:gd name="connsiteY0" fmla="*/ 1064133 h 1064133"/>
                <a:gd name="connsiteX1" fmla="*/ 266033 w 1969294"/>
                <a:gd name="connsiteY1" fmla="*/ 0 h 1064133"/>
                <a:gd name="connsiteX2" fmla="*/ 981075 w 1969294"/>
                <a:gd name="connsiteY2" fmla="*/ 2670 h 1064133"/>
                <a:gd name="connsiteX3" fmla="*/ 1703261 w 1969294"/>
                <a:gd name="connsiteY3" fmla="*/ 0 h 1064133"/>
                <a:gd name="connsiteX4" fmla="*/ 1969294 w 1969294"/>
                <a:gd name="connsiteY4" fmla="*/ 1064133 h 1064133"/>
                <a:gd name="connsiteX5" fmla="*/ 0 w 1969294"/>
                <a:gd name="connsiteY5" fmla="*/ 1064133 h 1064133"/>
                <a:gd name="connsiteX0" fmla="*/ 0 w 1969294"/>
                <a:gd name="connsiteY0" fmla="*/ 1323401 h 1323401"/>
                <a:gd name="connsiteX1" fmla="*/ 266033 w 1969294"/>
                <a:gd name="connsiteY1" fmla="*/ 259268 h 1323401"/>
                <a:gd name="connsiteX2" fmla="*/ 992981 w 1969294"/>
                <a:gd name="connsiteY2" fmla="*/ 0 h 1323401"/>
                <a:gd name="connsiteX3" fmla="*/ 1703261 w 1969294"/>
                <a:gd name="connsiteY3" fmla="*/ 259268 h 1323401"/>
                <a:gd name="connsiteX4" fmla="*/ 1969294 w 1969294"/>
                <a:gd name="connsiteY4" fmla="*/ 1323401 h 1323401"/>
                <a:gd name="connsiteX5" fmla="*/ 0 w 1969294"/>
                <a:gd name="connsiteY5" fmla="*/ 1323401 h 1323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69294" h="1323401">
                  <a:moveTo>
                    <a:pt x="0" y="1323401"/>
                  </a:moveTo>
                  <a:lnTo>
                    <a:pt x="266033" y="259268"/>
                  </a:lnTo>
                  <a:lnTo>
                    <a:pt x="992981" y="0"/>
                  </a:lnTo>
                  <a:lnTo>
                    <a:pt x="1703261" y="259268"/>
                  </a:lnTo>
                  <a:lnTo>
                    <a:pt x="1969294" y="1323401"/>
                  </a:lnTo>
                  <a:lnTo>
                    <a:pt x="0" y="1323401"/>
                  </a:lnTo>
                  <a:close/>
                </a:path>
              </a:pathLst>
            </a:custGeom>
            <a:gradFill>
              <a:gsLst>
                <a:gs pos="42471">
                  <a:srgbClr val="031761">
                    <a:alpha val="10000"/>
                  </a:srgbClr>
                </a:gs>
                <a:gs pos="99000">
                  <a:schemeClr val="accent1">
                    <a:alpha val="0"/>
                  </a:schemeClr>
                </a:gs>
                <a:gs pos="17000">
                  <a:schemeClr val="accent1">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37" name="文本框 36">
              <a:extLst>
                <a:ext uri="{FF2B5EF4-FFF2-40B4-BE49-F238E27FC236}">
                  <a16:creationId xmlns:a16="http://schemas.microsoft.com/office/drawing/2014/main" id="{8176F477-4BB6-40E4-9DD6-CA50AE4971D7}"/>
                </a:ext>
              </a:extLst>
            </p:cNvPr>
            <p:cNvSpPr txBox="1"/>
            <p:nvPr/>
          </p:nvSpPr>
          <p:spPr>
            <a:xfrm>
              <a:off x="1314448" y="4038261"/>
              <a:ext cx="1849376" cy="944939"/>
            </a:xfrm>
            <a:prstGeom prst="rect">
              <a:avLst/>
            </a:prstGeom>
            <a:noFill/>
          </p:spPr>
          <p:txBody>
            <a:bodyPr wrap="square" lIns="0" tIns="0" rIns="0" bIns="0" rtlCol="0" anchor="t">
              <a:spAutoFit/>
            </a:bodyPr>
            <a:lstStyle/>
            <a:p>
              <a:pPr algn="ctr">
                <a:lnSpc>
                  <a:spcPct val="130000"/>
                </a:lnSpc>
              </a:pPr>
              <a:r>
                <a:rPr lang="en-US" altLang="zh-CN" sz="1200" b="0" dirty="0">
                  <a:solidFill>
                    <a:schemeClr val="tx1">
                      <a:lumMod val="75000"/>
                      <a:lumOff val="25000"/>
                    </a:schemeClr>
                  </a:solidFill>
                  <a:effectLst/>
                  <a:latin typeface="+mn-ea"/>
                </a:rPr>
                <a:t>Lorem ipsum dolor sit amet, consectetur adipisicing elit, sed do eiusmod tempor</a:t>
              </a:r>
              <a:endParaRPr lang="zh-CN" altLang="en-US" sz="1200" b="0" dirty="0">
                <a:solidFill>
                  <a:schemeClr val="tx1">
                    <a:lumMod val="75000"/>
                    <a:lumOff val="25000"/>
                  </a:schemeClr>
                </a:solidFill>
                <a:effectLst/>
                <a:latin typeface="+mn-ea"/>
              </a:endParaRPr>
            </a:p>
          </p:txBody>
        </p:sp>
        <p:sp>
          <p:nvSpPr>
            <p:cNvPr id="38" name="文本框 37">
              <a:extLst>
                <a:ext uri="{FF2B5EF4-FFF2-40B4-BE49-F238E27FC236}">
                  <a16:creationId xmlns:a16="http://schemas.microsoft.com/office/drawing/2014/main" id="{7F71C49B-71DA-45F5-8A8F-DAC456024608}"/>
                </a:ext>
              </a:extLst>
            </p:cNvPr>
            <p:cNvSpPr txBox="1"/>
            <p:nvPr/>
          </p:nvSpPr>
          <p:spPr>
            <a:xfrm>
              <a:off x="1784602" y="2727250"/>
              <a:ext cx="923330" cy="738664"/>
            </a:xfrm>
            <a:prstGeom prst="rect">
              <a:avLst/>
            </a:prstGeom>
            <a:noFill/>
          </p:spPr>
          <p:txBody>
            <a:bodyPr wrap="none" lIns="0" tIns="0" rIns="0" bIns="0" rtlCol="0" anchor="t">
              <a:spAutoFit/>
            </a:bodyPr>
            <a:lstStyle/>
            <a:p>
              <a:pPr algn="ctr"/>
              <a:r>
                <a:rPr lang="zh-CN" altLang="en-US" sz="2400" dirty="0">
                  <a:solidFill>
                    <a:schemeClr val="accent1"/>
                  </a:solidFill>
                  <a:latin typeface="+mj-ea"/>
                  <a:ea typeface="+mj-ea"/>
                </a:rPr>
                <a:t>关键词</a:t>
              </a:r>
              <a:endParaRPr lang="en-US" altLang="zh-CN" sz="2400" dirty="0">
                <a:solidFill>
                  <a:schemeClr val="accent1"/>
                </a:solidFill>
                <a:latin typeface="+mj-ea"/>
                <a:ea typeface="+mj-ea"/>
              </a:endParaRPr>
            </a:p>
            <a:p>
              <a:pPr algn="ctr"/>
              <a:r>
                <a:rPr lang="zh-CN" altLang="en-US" sz="2400" dirty="0">
                  <a:solidFill>
                    <a:schemeClr val="accent1"/>
                  </a:solidFill>
                  <a:latin typeface="+mj-ea"/>
                  <a:ea typeface="+mj-ea"/>
                </a:rPr>
                <a:t>标题</a:t>
              </a:r>
            </a:p>
          </p:txBody>
        </p:sp>
      </p:grpSp>
      <p:grpSp>
        <p:nvGrpSpPr>
          <p:cNvPr id="58" name="组合 57">
            <a:extLst>
              <a:ext uri="{FF2B5EF4-FFF2-40B4-BE49-F238E27FC236}">
                <a16:creationId xmlns:a16="http://schemas.microsoft.com/office/drawing/2014/main" id="{553005A5-B766-4350-A4B3-1AB656BFB9B1}"/>
              </a:ext>
            </a:extLst>
          </p:cNvPr>
          <p:cNvGrpSpPr/>
          <p:nvPr/>
        </p:nvGrpSpPr>
        <p:grpSpPr>
          <a:xfrm>
            <a:off x="2858770" y="2451999"/>
            <a:ext cx="1856740" cy="2458329"/>
            <a:chOff x="1138109" y="2580015"/>
            <a:chExt cx="2202056" cy="2915529"/>
          </a:xfrm>
        </p:grpSpPr>
        <p:sp>
          <p:nvSpPr>
            <p:cNvPr id="59" name="矩形 58">
              <a:extLst>
                <a:ext uri="{FF2B5EF4-FFF2-40B4-BE49-F238E27FC236}">
                  <a16:creationId xmlns:a16="http://schemas.microsoft.com/office/drawing/2014/main" id="{9C346C1A-D23E-4052-89EF-D5B276175FBD}"/>
                </a:ext>
              </a:extLst>
            </p:cNvPr>
            <p:cNvSpPr/>
            <p:nvPr/>
          </p:nvSpPr>
          <p:spPr>
            <a:xfrm>
              <a:off x="1138109" y="3608926"/>
              <a:ext cx="2202056" cy="1886618"/>
            </a:xfrm>
            <a:prstGeom prst="rect">
              <a:avLst/>
            </a:prstGeom>
            <a:gradFill>
              <a:gsLst>
                <a:gs pos="0">
                  <a:srgbClr val="031761">
                    <a:alpha val="10000"/>
                  </a:srgbClr>
                </a:gs>
                <a:gs pos="99000">
                  <a:schemeClr val="accent1">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60" name="椭圆 59">
              <a:extLst>
                <a:ext uri="{FF2B5EF4-FFF2-40B4-BE49-F238E27FC236}">
                  <a16:creationId xmlns:a16="http://schemas.microsoft.com/office/drawing/2014/main" id="{AC8E4662-8C62-44F6-99B3-0C14D11CC184}"/>
                </a:ext>
              </a:extLst>
            </p:cNvPr>
            <p:cNvSpPr/>
            <p:nvPr/>
          </p:nvSpPr>
          <p:spPr>
            <a:xfrm>
              <a:off x="1138109" y="3361558"/>
              <a:ext cx="2202056" cy="56536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61" name="椭圆 60">
              <a:extLst>
                <a:ext uri="{FF2B5EF4-FFF2-40B4-BE49-F238E27FC236}">
                  <a16:creationId xmlns:a16="http://schemas.microsoft.com/office/drawing/2014/main" id="{858D7AEE-8F4F-45CB-93B8-40C40946B249}"/>
                </a:ext>
              </a:extLst>
            </p:cNvPr>
            <p:cNvSpPr/>
            <p:nvPr/>
          </p:nvSpPr>
          <p:spPr>
            <a:xfrm>
              <a:off x="1138109" y="3315894"/>
              <a:ext cx="2202056" cy="56536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62" name="椭圆 61">
              <a:extLst>
                <a:ext uri="{FF2B5EF4-FFF2-40B4-BE49-F238E27FC236}">
                  <a16:creationId xmlns:a16="http://schemas.microsoft.com/office/drawing/2014/main" id="{FD180B3A-D951-4476-8578-0C13F825A15E}"/>
                </a:ext>
              </a:extLst>
            </p:cNvPr>
            <p:cNvSpPr/>
            <p:nvPr/>
          </p:nvSpPr>
          <p:spPr>
            <a:xfrm>
              <a:off x="1344158" y="3366622"/>
              <a:ext cx="1789958" cy="459562"/>
            </a:xfrm>
            <a:prstGeom prst="ellipse">
              <a:avLst/>
            </a:prstGeom>
            <a:solidFill>
              <a:schemeClr val="accent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63" name="椭圆 62">
              <a:extLst>
                <a:ext uri="{FF2B5EF4-FFF2-40B4-BE49-F238E27FC236}">
                  <a16:creationId xmlns:a16="http://schemas.microsoft.com/office/drawing/2014/main" id="{3CC00D7F-5D6F-4688-AE90-37F2FB9C359F}"/>
                </a:ext>
              </a:extLst>
            </p:cNvPr>
            <p:cNvSpPr/>
            <p:nvPr/>
          </p:nvSpPr>
          <p:spPr>
            <a:xfrm>
              <a:off x="1570859" y="3385686"/>
              <a:ext cx="1336556" cy="343152"/>
            </a:xfrm>
            <a:prstGeom prst="ellipse">
              <a:avLst/>
            </a:prstGeom>
            <a:solidFill>
              <a:schemeClr val="accent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64" name="梯形 5">
              <a:extLst>
                <a:ext uri="{FF2B5EF4-FFF2-40B4-BE49-F238E27FC236}">
                  <a16:creationId xmlns:a16="http://schemas.microsoft.com/office/drawing/2014/main" id="{7DAC1B33-C8E7-4476-9E35-29D20605A671}"/>
                </a:ext>
              </a:extLst>
            </p:cNvPr>
            <p:cNvSpPr/>
            <p:nvPr/>
          </p:nvSpPr>
          <p:spPr>
            <a:xfrm rot="10800000">
              <a:off x="1357566" y="2580015"/>
              <a:ext cx="1776158" cy="1280924"/>
            </a:xfrm>
            <a:custGeom>
              <a:avLst/>
              <a:gdLst>
                <a:gd name="connsiteX0" fmla="*/ 0 w 1969294"/>
                <a:gd name="connsiteY0" fmla="*/ 1064133 h 1064133"/>
                <a:gd name="connsiteX1" fmla="*/ 266033 w 1969294"/>
                <a:gd name="connsiteY1" fmla="*/ 0 h 1064133"/>
                <a:gd name="connsiteX2" fmla="*/ 1703261 w 1969294"/>
                <a:gd name="connsiteY2" fmla="*/ 0 h 1064133"/>
                <a:gd name="connsiteX3" fmla="*/ 1969294 w 1969294"/>
                <a:gd name="connsiteY3" fmla="*/ 1064133 h 1064133"/>
                <a:gd name="connsiteX4" fmla="*/ 0 w 1969294"/>
                <a:gd name="connsiteY4" fmla="*/ 1064133 h 1064133"/>
                <a:gd name="connsiteX0" fmla="*/ 0 w 1969294"/>
                <a:gd name="connsiteY0" fmla="*/ 1064133 h 1064133"/>
                <a:gd name="connsiteX1" fmla="*/ 266033 w 1969294"/>
                <a:gd name="connsiteY1" fmla="*/ 0 h 1064133"/>
                <a:gd name="connsiteX2" fmla="*/ 981075 w 1969294"/>
                <a:gd name="connsiteY2" fmla="*/ 2670 h 1064133"/>
                <a:gd name="connsiteX3" fmla="*/ 1703261 w 1969294"/>
                <a:gd name="connsiteY3" fmla="*/ 0 h 1064133"/>
                <a:gd name="connsiteX4" fmla="*/ 1969294 w 1969294"/>
                <a:gd name="connsiteY4" fmla="*/ 1064133 h 1064133"/>
                <a:gd name="connsiteX5" fmla="*/ 0 w 1969294"/>
                <a:gd name="connsiteY5" fmla="*/ 1064133 h 1064133"/>
                <a:gd name="connsiteX0" fmla="*/ 0 w 1969294"/>
                <a:gd name="connsiteY0" fmla="*/ 1323401 h 1323401"/>
                <a:gd name="connsiteX1" fmla="*/ 266033 w 1969294"/>
                <a:gd name="connsiteY1" fmla="*/ 259268 h 1323401"/>
                <a:gd name="connsiteX2" fmla="*/ 992981 w 1969294"/>
                <a:gd name="connsiteY2" fmla="*/ 0 h 1323401"/>
                <a:gd name="connsiteX3" fmla="*/ 1703261 w 1969294"/>
                <a:gd name="connsiteY3" fmla="*/ 259268 h 1323401"/>
                <a:gd name="connsiteX4" fmla="*/ 1969294 w 1969294"/>
                <a:gd name="connsiteY4" fmla="*/ 1323401 h 1323401"/>
                <a:gd name="connsiteX5" fmla="*/ 0 w 1969294"/>
                <a:gd name="connsiteY5" fmla="*/ 1323401 h 1323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69294" h="1323401">
                  <a:moveTo>
                    <a:pt x="0" y="1323401"/>
                  </a:moveTo>
                  <a:lnTo>
                    <a:pt x="266033" y="259268"/>
                  </a:lnTo>
                  <a:lnTo>
                    <a:pt x="992981" y="0"/>
                  </a:lnTo>
                  <a:lnTo>
                    <a:pt x="1703261" y="259268"/>
                  </a:lnTo>
                  <a:lnTo>
                    <a:pt x="1969294" y="1323401"/>
                  </a:lnTo>
                  <a:lnTo>
                    <a:pt x="0" y="1323401"/>
                  </a:lnTo>
                  <a:close/>
                </a:path>
              </a:pathLst>
            </a:custGeom>
            <a:gradFill>
              <a:gsLst>
                <a:gs pos="42471">
                  <a:srgbClr val="031761">
                    <a:alpha val="10000"/>
                  </a:srgbClr>
                </a:gs>
                <a:gs pos="99000">
                  <a:schemeClr val="accent1">
                    <a:alpha val="0"/>
                  </a:schemeClr>
                </a:gs>
                <a:gs pos="17000">
                  <a:schemeClr val="accent1">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65" name="文本框 64">
              <a:extLst>
                <a:ext uri="{FF2B5EF4-FFF2-40B4-BE49-F238E27FC236}">
                  <a16:creationId xmlns:a16="http://schemas.microsoft.com/office/drawing/2014/main" id="{DDAD3071-A49C-4FC1-A904-C5A5D04293DB}"/>
                </a:ext>
              </a:extLst>
            </p:cNvPr>
            <p:cNvSpPr txBox="1"/>
            <p:nvPr/>
          </p:nvSpPr>
          <p:spPr>
            <a:xfrm>
              <a:off x="1314448" y="4038261"/>
              <a:ext cx="1849376" cy="944939"/>
            </a:xfrm>
            <a:prstGeom prst="rect">
              <a:avLst/>
            </a:prstGeom>
            <a:noFill/>
          </p:spPr>
          <p:txBody>
            <a:bodyPr wrap="square" lIns="0" tIns="0" rIns="0" bIns="0" rtlCol="0" anchor="t">
              <a:spAutoFit/>
            </a:bodyPr>
            <a:lstStyle/>
            <a:p>
              <a:pPr algn="ctr">
                <a:lnSpc>
                  <a:spcPct val="130000"/>
                </a:lnSpc>
              </a:pPr>
              <a:r>
                <a:rPr lang="en-US" altLang="zh-CN" sz="1200" b="0" dirty="0">
                  <a:solidFill>
                    <a:schemeClr val="tx1">
                      <a:lumMod val="75000"/>
                      <a:lumOff val="25000"/>
                    </a:schemeClr>
                  </a:solidFill>
                  <a:effectLst/>
                  <a:latin typeface="+mn-ea"/>
                </a:rPr>
                <a:t>Lorem ipsum dolor sit amet, consectetur adipisicing elit, sed do eiusmod tempor</a:t>
              </a:r>
              <a:endParaRPr lang="zh-CN" altLang="en-US" sz="1200" b="0" dirty="0">
                <a:solidFill>
                  <a:schemeClr val="tx1">
                    <a:lumMod val="75000"/>
                    <a:lumOff val="25000"/>
                  </a:schemeClr>
                </a:solidFill>
                <a:effectLst/>
                <a:latin typeface="+mn-ea"/>
              </a:endParaRPr>
            </a:p>
          </p:txBody>
        </p:sp>
        <p:sp>
          <p:nvSpPr>
            <p:cNvPr id="66" name="文本框 65">
              <a:extLst>
                <a:ext uri="{FF2B5EF4-FFF2-40B4-BE49-F238E27FC236}">
                  <a16:creationId xmlns:a16="http://schemas.microsoft.com/office/drawing/2014/main" id="{5E3DDB0D-3290-442B-B329-F50558AFF549}"/>
                </a:ext>
              </a:extLst>
            </p:cNvPr>
            <p:cNvSpPr txBox="1"/>
            <p:nvPr/>
          </p:nvSpPr>
          <p:spPr>
            <a:xfrm>
              <a:off x="1784602" y="2727250"/>
              <a:ext cx="923330" cy="738664"/>
            </a:xfrm>
            <a:prstGeom prst="rect">
              <a:avLst/>
            </a:prstGeom>
            <a:noFill/>
          </p:spPr>
          <p:txBody>
            <a:bodyPr wrap="none" lIns="0" tIns="0" rIns="0" bIns="0" rtlCol="0" anchor="t">
              <a:spAutoFit/>
            </a:bodyPr>
            <a:lstStyle/>
            <a:p>
              <a:pPr algn="ctr"/>
              <a:r>
                <a:rPr lang="zh-CN" altLang="en-US" sz="2400" dirty="0">
                  <a:solidFill>
                    <a:schemeClr val="accent1"/>
                  </a:solidFill>
                  <a:latin typeface="+mj-ea"/>
                  <a:ea typeface="+mj-ea"/>
                </a:rPr>
                <a:t>关键词</a:t>
              </a:r>
              <a:endParaRPr lang="en-US" altLang="zh-CN" sz="2400" dirty="0">
                <a:solidFill>
                  <a:schemeClr val="accent1"/>
                </a:solidFill>
                <a:latin typeface="+mj-ea"/>
                <a:ea typeface="+mj-ea"/>
              </a:endParaRPr>
            </a:p>
            <a:p>
              <a:pPr algn="ctr"/>
              <a:r>
                <a:rPr lang="zh-CN" altLang="en-US" sz="2400" dirty="0">
                  <a:solidFill>
                    <a:schemeClr val="accent1"/>
                  </a:solidFill>
                  <a:latin typeface="+mj-ea"/>
                  <a:ea typeface="+mj-ea"/>
                </a:rPr>
                <a:t>标题</a:t>
              </a:r>
            </a:p>
          </p:txBody>
        </p:sp>
      </p:grpSp>
      <p:grpSp>
        <p:nvGrpSpPr>
          <p:cNvPr id="67" name="组合 66">
            <a:extLst>
              <a:ext uri="{FF2B5EF4-FFF2-40B4-BE49-F238E27FC236}">
                <a16:creationId xmlns:a16="http://schemas.microsoft.com/office/drawing/2014/main" id="{C1196CC3-1D09-4F09-85E0-5D358377B678}"/>
              </a:ext>
            </a:extLst>
          </p:cNvPr>
          <p:cNvGrpSpPr/>
          <p:nvPr/>
        </p:nvGrpSpPr>
        <p:grpSpPr>
          <a:xfrm>
            <a:off x="5167630" y="3330140"/>
            <a:ext cx="1856740" cy="2458329"/>
            <a:chOff x="1138109" y="2580015"/>
            <a:chExt cx="2202056" cy="2915529"/>
          </a:xfrm>
        </p:grpSpPr>
        <p:sp>
          <p:nvSpPr>
            <p:cNvPr id="68" name="矩形 67">
              <a:extLst>
                <a:ext uri="{FF2B5EF4-FFF2-40B4-BE49-F238E27FC236}">
                  <a16:creationId xmlns:a16="http://schemas.microsoft.com/office/drawing/2014/main" id="{239AF3DC-E09E-486E-8BD2-CEEFC0A4513C}"/>
                </a:ext>
              </a:extLst>
            </p:cNvPr>
            <p:cNvSpPr/>
            <p:nvPr/>
          </p:nvSpPr>
          <p:spPr>
            <a:xfrm>
              <a:off x="1138109" y="3608926"/>
              <a:ext cx="2202056" cy="1886618"/>
            </a:xfrm>
            <a:prstGeom prst="rect">
              <a:avLst/>
            </a:prstGeom>
            <a:gradFill>
              <a:gsLst>
                <a:gs pos="0">
                  <a:srgbClr val="031761">
                    <a:alpha val="10000"/>
                  </a:srgbClr>
                </a:gs>
                <a:gs pos="99000">
                  <a:schemeClr val="accent1">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69" name="椭圆 68">
              <a:extLst>
                <a:ext uri="{FF2B5EF4-FFF2-40B4-BE49-F238E27FC236}">
                  <a16:creationId xmlns:a16="http://schemas.microsoft.com/office/drawing/2014/main" id="{A3D16C82-7DAE-4BE2-9175-820060E8F3D6}"/>
                </a:ext>
              </a:extLst>
            </p:cNvPr>
            <p:cNvSpPr/>
            <p:nvPr/>
          </p:nvSpPr>
          <p:spPr>
            <a:xfrm>
              <a:off x="1138109" y="3361558"/>
              <a:ext cx="2202056" cy="56536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70" name="椭圆 69">
              <a:extLst>
                <a:ext uri="{FF2B5EF4-FFF2-40B4-BE49-F238E27FC236}">
                  <a16:creationId xmlns:a16="http://schemas.microsoft.com/office/drawing/2014/main" id="{9B29035D-76E9-41B1-A99A-5CB781FEC51E}"/>
                </a:ext>
              </a:extLst>
            </p:cNvPr>
            <p:cNvSpPr/>
            <p:nvPr/>
          </p:nvSpPr>
          <p:spPr>
            <a:xfrm>
              <a:off x="1138109" y="3315894"/>
              <a:ext cx="2202056" cy="56536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71" name="椭圆 70">
              <a:extLst>
                <a:ext uri="{FF2B5EF4-FFF2-40B4-BE49-F238E27FC236}">
                  <a16:creationId xmlns:a16="http://schemas.microsoft.com/office/drawing/2014/main" id="{1B203D44-F792-4448-98CB-3B78E05D38F8}"/>
                </a:ext>
              </a:extLst>
            </p:cNvPr>
            <p:cNvSpPr/>
            <p:nvPr/>
          </p:nvSpPr>
          <p:spPr>
            <a:xfrm>
              <a:off x="1344158" y="3366622"/>
              <a:ext cx="1789958" cy="459562"/>
            </a:xfrm>
            <a:prstGeom prst="ellipse">
              <a:avLst/>
            </a:prstGeom>
            <a:solidFill>
              <a:schemeClr val="accent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72" name="椭圆 71">
              <a:extLst>
                <a:ext uri="{FF2B5EF4-FFF2-40B4-BE49-F238E27FC236}">
                  <a16:creationId xmlns:a16="http://schemas.microsoft.com/office/drawing/2014/main" id="{21D6DFA6-FCB1-47E5-AF7A-8A737B2F9D54}"/>
                </a:ext>
              </a:extLst>
            </p:cNvPr>
            <p:cNvSpPr/>
            <p:nvPr/>
          </p:nvSpPr>
          <p:spPr>
            <a:xfrm>
              <a:off x="1570859" y="3385686"/>
              <a:ext cx="1336556" cy="343152"/>
            </a:xfrm>
            <a:prstGeom prst="ellipse">
              <a:avLst/>
            </a:prstGeom>
            <a:solidFill>
              <a:schemeClr val="accent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73" name="梯形 5">
              <a:extLst>
                <a:ext uri="{FF2B5EF4-FFF2-40B4-BE49-F238E27FC236}">
                  <a16:creationId xmlns:a16="http://schemas.microsoft.com/office/drawing/2014/main" id="{A62DAA4B-708F-49A2-A964-6D0200C48686}"/>
                </a:ext>
              </a:extLst>
            </p:cNvPr>
            <p:cNvSpPr/>
            <p:nvPr/>
          </p:nvSpPr>
          <p:spPr>
            <a:xfrm rot="10800000">
              <a:off x="1357566" y="2580015"/>
              <a:ext cx="1776158" cy="1280924"/>
            </a:xfrm>
            <a:custGeom>
              <a:avLst/>
              <a:gdLst>
                <a:gd name="connsiteX0" fmla="*/ 0 w 1969294"/>
                <a:gd name="connsiteY0" fmla="*/ 1064133 h 1064133"/>
                <a:gd name="connsiteX1" fmla="*/ 266033 w 1969294"/>
                <a:gd name="connsiteY1" fmla="*/ 0 h 1064133"/>
                <a:gd name="connsiteX2" fmla="*/ 1703261 w 1969294"/>
                <a:gd name="connsiteY2" fmla="*/ 0 h 1064133"/>
                <a:gd name="connsiteX3" fmla="*/ 1969294 w 1969294"/>
                <a:gd name="connsiteY3" fmla="*/ 1064133 h 1064133"/>
                <a:gd name="connsiteX4" fmla="*/ 0 w 1969294"/>
                <a:gd name="connsiteY4" fmla="*/ 1064133 h 1064133"/>
                <a:gd name="connsiteX0" fmla="*/ 0 w 1969294"/>
                <a:gd name="connsiteY0" fmla="*/ 1064133 h 1064133"/>
                <a:gd name="connsiteX1" fmla="*/ 266033 w 1969294"/>
                <a:gd name="connsiteY1" fmla="*/ 0 h 1064133"/>
                <a:gd name="connsiteX2" fmla="*/ 981075 w 1969294"/>
                <a:gd name="connsiteY2" fmla="*/ 2670 h 1064133"/>
                <a:gd name="connsiteX3" fmla="*/ 1703261 w 1969294"/>
                <a:gd name="connsiteY3" fmla="*/ 0 h 1064133"/>
                <a:gd name="connsiteX4" fmla="*/ 1969294 w 1969294"/>
                <a:gd name="connsiteY4" fmla="*/ 1064133 h 1064133"/>
                <a:gd name="connsiteX5" fmla="*/ 0 w 1969294"/>
                <a:gd name="connsiteY5" fmla="*/ 1064133 h 1064133"/>
                <a:gd name="connsiteX0" fmla="*/ 0 w 1969294"/>
                <a:gd name="connsiteY0" fmla="*/ 1323401 h 1323401"/>
                <a:gd name="connsiteX1" fmla="*/ 266033 w 1969294"/>
                <a:gd name="connsiteY1" fmla="*/ 259268 h 1323401"/>
                <a:gd name="connsiteX2" fmla="*/ 992981 w 1969294"/>
                <a:gd name="connsiteY2" fmla="*/ 0 h 1323401"/>
                <a:gd name="connsiteX3" fmla="*/ 1703261 w 1969294"/>
                <a:gd name="connsiteY3" fmla="*/ 259268 h 1323401"/>
                <a:gd name="connsiteX4" fmla="*/ 1969294 w 1969294"/>
                <a:gd name="connsiteY4" fmla="*/ 1323401 h 1323401"/>
                <a:gd name="connsiteX5" fmla="*/ 0 w 1969294"/>
                <a:gd name="connsiteY5" fmla="*/ 1323401 h 1323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69294" h="1323401">
                  <a:moveTo>
                    <a:pt x="0" y="1323401"/>
                  </a:moveTo>
                  <a:lnTo>
                    <a:pt x="266033" y="259268"/>
                  </a:lnTo>
                  <a:lnTo>
                    <a:pt x="992981" y="0"/>
                  </a:lnTo>
                  <a:lnTo>
                    <a:pt x="1703261" y="259268"/>
                  </a:lnTo>
                  <a:lnTo>
                    <a:pt x="1969294" y="1323401"/>
                  </a:lnTo>
                  <a:lnTo>
                    <a:pt x="0" y="1323401"/>
                  </a:lnTo>
                  <a:close/>
                </a:path>
              </a:pathLst>
            </a:custGeom>
            <a:gradFill>
              <a:gsLst>
                <a:gs pos="42471">
                  <a:srgbClr val="031761">
                    <a:alpha val="10000"/>
                  </a:srgbClr>
                </a:gs>
                <a:gs pos="99000">
                  <a:schemeClr val="accent1">
                    <a:alpha val="0"/>
                  </a:schemeClr>
                </a:gs>
                <a:gs pos="17000">
                  <a:schemeClr val="accent1">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74" name="文本框 73">
              <a:extLst>
                <a:ext uri="{FF2B5EF4-FFF2-40B4-BE49-F238E27FC236}">
                  <a16:creationId xmlns:a16="http://schemas.microsoft.com/office/drawing/2014/main" id="{D1258945-77EF-429F-905F-EBED46CF1695}"/>
                </a:ext>
              </a:extLst>
            </p:cNvPr>
            <p:cNvSpPr txBox="1"/>
            <p:nvPr/>
          </p:nvSpPr>
          <p:spPr>
            <a:xfrm>
              <a:off x="1314448" y="4038261"/>
              <a:ext cx="1849376" cy="944939"/>
            </a:xfrm>
            <a:prstGeom prst="rect">
              <a:avLst/>
            </a:prstGeom>
            <a:noFill/>
          </p:spPr>
          <p:txBody>
            <a:bodyPr wrap="square" lIns="0" tIns="0" rIns="0" bIns="0" rtlCol="0" anchor="t">
              <a:spAutoFit/>
            </a:bodyPr>
            <a:lstStyle/>
            <a:p>
              <a:pPr algn="ctr">
                <a:lnSpc>
                  <a:spcPct val="130000"/>
                </a:lnSpc>
              </a:pPr>
              <a:r>
                <a:rPr lang="en-US" altLang="zh-CN" sz="1200" b="0" dirty="0">
                  <a:solidFill>
                    <a:schemeClr val="tx1">
                      <a:lumMod val="75000"/>
                      <a:lumOff val="25000"/>
                    </a:schemeClr>
                  </a:solidFill>
                  <a:effectLst/>
                  <a:latin typeface="+mn-ea"/>
                </a:rPr>
                <a:t>Lorem ipsum dolor sit amet, consectetur adipisicing elit, sed do eiusmod tempor</a:t>
              </a:r>
              <a:endParaRPr lang="zh-CN" altLang="en-US" sz="1200" b="0" dirty="0">
                <a:solidFill>
                  <a:schemeClr val="tx1">
                    <a:lumMod val="75000"/>
                    <a:lumOff val="25000"/>
                  </a:schemeClr>
                </a:solidFill>
                <a:effectLst/>
                <a:latin typeface="+mn-ea"/>
              </a:endParaRPr>
            </a:p>
          </p:txBody>
        </p:sp>
        <p:sp>
          <p:nvSpPr>
            <p:cNvPr id="75" name="文本框 74">
              <a:extLst>
                <a:ext uri="{FF2B5EF4-FFF2-40B4-BE49-F238E27FC236}">
                  <a16:creationId xmlns:a16="http://schemas.microsoft.com/office/drawing/2014/main" id="{D56BD0A4-613F-40A4-91CD-6AD54580600D}"/>
                </a:ext>
              </a:extLst>
            </p:cNvPr>
            <p:cNvSpPr txBox="1"/>
            <p:nvPr/>
          </p:nvSpPr>
          <p:spPr>
            <a:xfrm>
              <a:off x="1784602" y="2727250"/>
              <a:ext cx="923330" cy="738664"/>
            </a:xfrm>
            <a:prstGeom prst="rect">
              <a:avLst/>
            </a:prstGeom>
            <a:noFill/>
          </p:spPr>
          <p:txBody>
            <a:bodyPr wrap="none" lIns="0" tIns="0" rIns="0" bIns="0" rtlCol="0" anchor="t">
              <a:spAutoFit/>
            </a:bodyPr>
            <a:lstStyle/>
            <a:p>
              <a:pPr algn="ctr"/>
              <a:r>
                <a:rPr lang="zh-CN" altLang="en-US" sz="2400" dirty="0">
                  <a:solidFill>
                    <a:schemeClr val="accent1"/>
                  </a:solidFill>
                  <a:latin typeface="+mj-ea"/>
                  <a:ea typeface="+mj-ea"/>
                </a:rPr>
                <a:t>关键词</a:t>
              </a:r>
              <a:endParaRPr lang="en-US" altLang="zh-CN" sz="2400" dirty="0">
                <a:solidFill>
                  <a:schemeClr val="accent1"/>
                </a:solidFill>
                <a:latin typeface="+mj-ea"/>
                <a:ea typeface="+mj-ea"/>
              </a:endParaRPr>
            </a:p>
            <a:p>
              <a:pPr algn="ctr"/>
              <a:r>
                <a:rPr lang="zh-CN" altLang="en-US" sz="2400" dirty="0">
                  <a:solidFill>
                    <a:schemeClr val="accent1"/>
                  </a:solidFill>
                  <a:latin typeface="+mj-ea"/>
                  <a:ea typeface="+mj-ea"/>
                </a:rPr>
                <a:t>标题</a:t>
              </a:r>
            </a:p>
          </p:txBody>
        </p:sp>
      </p:grpSp>
      <p:grpSp>
        <p:nvGrpSpPr>
          <p:cNvPr id="76" name="组合 75">
            <a:extLst>
              <a:ext uri="{FF2B5EF4-FFF2-40B4-BE49-F238E27FC236}">
                <a16:creationId xmlns:a16="http://schemas.microsoft.com/office/drawing/2014/main" id="{498D4946-3797-4550-8FEF-BB0926140FD8}"/>
              </a:ext>
            </a:extLst>
          </p:cNvPr>
          <p:cNvGrpSpPr/>
          <p:nvPr/>
        </p:nvGrpSpPr>
        <p:grpSpPr>
          <a:xfrm>
            <a:off x="7476490" y="2451999"/>
            <a:ext cx="1856740" cy="2458329"/>
            <a:chOff x="1138109" y="2580015"/>
            <a:chExt cx="2202056" cy="2915529"/>
          </a:xfrm>
        </p:grpSpPr>
        <p:sp>
          <p:nvSpPr>
            <p:cNvPr id="77" name="矩形 76">
              <a:extLst>
                <a:ext uri="{FF2B5EF4-FFF2-40B4-BE49-F238E27FC236}">
                  <a16:creationId xmlns:a16="http://schemas.microsoft.com/office/drawing/2014/main" id="{A4DB8E22-BC45-4A13-AF37-0B95E5A1D2AC}"/>
                </a:ext>
              </a:extLst>
            </p:cNvPr>
            <p:cNvSpPr/>
            <p:nvPr/>
          </p:nvSpPr>
          <p:spPr>
            <a:xfrm>
              <a:off x="1138109" y="3608926"/>
              <a:ext cx="2202056" cy="1886618"/>
            </a:xfrm>
            <a:prstGeom prst="rect">
              <a:avLst/>
            </a:prstGeom>
            <a:gradFill>
              <a:gsLst>
                <a:gs pos="0">
                  <a:srgbClr val="031761">
                    <a:alpha val="10000"/>
                  </a:srgbClr>
                </a:gs>
                <a:gs pos="99000">
                  <a:schemeClr val="accent1">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78" name="椭圆 77">
              <a:extLst>
                <a:ext uri="{FF2B5EF4-FFF2-40B4-BE49-F238E27FC236}">
                  <a16:creationId xmlns:a16="http://schemas.microsoft.com/office/drawing/2014/main" id="{E58B4CC1-1936-408E-A98F-3436B5B387E0}"/>
                </a:ext>
              </a:extLst>
            </p:cNvPr>
            <p:cNvSpPr/>
            <p:nvPr/>
          </p:nvSpPr>
          <p:spPr>
            <a:xfrm>
              <a:off x="1138109" y="3361558"/>
              <a:ext cx="2202056" cy="56536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79" name="椭圆 78">
              <a:extLst>
                <a:ext uri="{FF2B5EF4-FFF2-40B4-BE49-F238E27FC236}">
                  <a16:creationId xmlns:a16="http://schemas.microsoft.com/office/drawing/2014/main" id="{07677259-A4EC-46CB-871A-9186716FA378}"/>
                </a:ext>
              </a:extLst>
            </p:cNvPr>
            <p:cNvSpPr/>
            <p:nvPr/>
          </p:nvSpPr>
          <p:spPr>
            <a:xfrm>
              <a:off x="1138109" y="3315894"/>
              <a:ext cx="2202056" cy="56536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80" name="椭圆 79">
              <a:extLst>
                <a:ext uri="{FF2B5EF4-FFF2-40B4-BE49-F238E27FC236}">
                  <a16:creationId xmlns:a16="http://schemas.microsoft.com/office/drawing/2014/main" id="{28624384-5B14-4F92-B9D1-C942CECCA650}"/>
                </a:ext>
              </a:extLst>
            </p:cNvPr>
            <p:cNvSpPr/>
            <p:nvPr/>
          </p:nvSpPr>
          <p:spPr>
            <a:xfrm>
              <a:off x="1344158" y="3366622"/>
              <a:ext cx="1789958" cy="459562"/>
            </a:xfrm>
            <a:prstGeom prst="ellipse">
              <a:avLst/>
            </a:prstGeom>
            <a:solidFill>
              <a:schemeClr val="accent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81" name="椭圆 80">
              <a:extLst>
                <a:ext uri="{FF2B5EF4-FFF2-40B4-BE49-F238E27FC236}">
                  <a16:creationId xmlns:a16="http://schemas.microsoft.com/office/drawing/2014/main" id="{5AC19914-18D4-43EC-B055-4FBD2D5CF095}"/>
                </a:ext>
              </a:extLst>
            </p:cNvPr>
            <p:cNvSpPr/>
            <p:nvPr/>
          </p:nvSpPr>
          <p:spPr>
            <a:xfrm>
              <a:off x="1570859" y="3385686"/>
              <a:ext cx="1336556" cy="343152"/>
            </a:xfrm>
            <a:prstGeom prst="ellipse">
              <a:avLst/>
            </a:prstGeom>
            <a:solidFill>
              <a:schemeClr val="accent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82" name="梯形 5">
              <a:extLst>
                <a:ext uri="{FF2B5EF4-FFF2-40B4-BE49-F238E27FC236}">
                  <a16:creationId xmlns:a16="http://schemas.microsoft.com/office/drawing/2014/main" id="{756AFEB5-C581-4AC4-A4E2-90159DF47E02}"/>
                </a:ext>
              </a:extLst>
            </p:cNvPr>
            <p:cNvSpPr/>
            <p:nvPr/>
          </p:nvSpPr>
          <p:spPr>
            <a:xfrm rot="10800000">
              <a:off x="1357566" y="2580015"/>
              <a:ext cx="1776158" cy="1280924"/>
            </a:xfrm>
            <a:custGeom>
              <a:avLst/>
              <a:gdLst>
                <a:gd name="connsiteX0" fmla="*/ 0 w 1969294"/>
                <a:gd name="connsiteY0" fmla="*/ 1064133 h 1064133"/>
                <a:gd name="connsiteX1" fmla="*/ 266033 w 1969294"/>
                <a:gd name="connsiteY1" fmla="*/ 0 h 1064133"/>
                <a:gd name="connsiteX2" fmla="*/ 1703261 w 1969294"/>
                <a:gd name="connsiteY2" fmla="*/ 0 h 1064133"/>
                <a:gd name="connsiteX3" fmla="*/ 1969294 w 1969294"/>
                <a:gd name="connsiteY3" fmla="*/ 1064133 h 1064133"/>
                <a:gd name="connsiteX4" fmla="*/ 0 w 1969294"/>
                <a:gd name="connsiteY4" fmla="*/ 1064133 h 1064133"/>
                <a:gd name="connsiteX0" fmla="*/ 0 w 1969294"/>
                <a:gd name="connsiteY0" fmla="*/ 1064133 h 1064133"/>
                <a:gd name="connsiteX1" fmla="*/ 266033 w 1969294"/>
                <a:gd name="connsiteY1" fmla="*/ 0 h 1064133"/>
                <a:gd name="connsiteX2" fmla="*/ 981075 w 1969294"/>
                <a:gd name="connsiteY2" fmla="*/ 2670 h 1064133"/>
                <a:gd name="connsiteX3" fmla="*/ 1703261 w 1969294"/>
                <a:gd name="connsiteY3" fmla="*/ 0 h 1064133"/>
                <a:gd name="connsiteX4" fmla="*/ 1969294 w 1969294"/>
                <a:gd name="connsiteY4" fmla="*/ 1064133 h 1064133"/>
                <a:gd name="connsiteX5" fmla="*/ 0 w 1969294"/>
                <a:gd name="connsiteY5" fmla="*/ 1064133 h 1064133"/>
                <a:gd name="connsiteX0" fmla="*/ 0 w 1969294"/>
                <a:gd name="connsiteY0" fmla="*/ 1323401 h 1323401"/>
                <a:gd name="connsiteX1" fmla="*/ 266033 w 1969294"/>
                <a:gd name="connsiteY1" fmla="*/ 259268 h 1323401"/>
                <a:gd name="connsiteX2" fmla="*/ 992981 w 1969294"/>
                <a:gd name="connsiteY2" fmla="*/ 0 h 1323401"/>
                <a:gd name="connsiteX3" fmla="*/ 1703261 w 1969294"/>
                <a:gd name="connsiteY3" fmla="*/ 259268 h 1323401"/>
                <a:gd name="connsiteX4" fmla="*/ 1969294 w 1969294"/>
                <a:gd name="connsiteY4" fmla="*/ 1323401 h 1323401"/>
                <a:gd name="connsiteX5" fmla="*/ 0 w 1969294"/>
                <a:gd name="connsiteY5" fmla="*/ 1323401 h 1323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69294" h="1323401">
                  <a:moveTo>
                    <a:pt x="0" y="1323401"/>
                  </a:moveTo>
                  <a:lnTo>
                    <a:pt x="266033" y="259268"/>
                  </a:lnTo>
                  <a:lnTo>
                    <a:pt x="992981" y="0"/>
                  </a:lnTo>
                  <a:lnTo>
                    <a:pt x="1703261" y="259268"/>
                  </a:lnTo>
                  <a:lnTo>
                    <a:pt x="1969294" y="1323401"/>
                  </a:lnTo>
                  <a:lnTo>
                    <a:pt x="0" y="1323401"/>
                  </a:lnTo>
                  <a:close/>
                </a:path>
              </a:pathLst>
            </a:custGeom>
            <a:gradFill>
              <a:gsLst>
                <a:gs pos="42471">
                  <a:srgbClr val="031761">
                    <a:alpha val="10000"/>
                  </a:srgbClr>
                </a:gs>
                <a:gs pos="99000">
                  <a:schemeClr val="accent1">
                    <a:alpha val="0"/>
                  </a:schemeClr>
                </a:gs>
                <a:gs pos="17000">
                  <a:schemeClr val="accent1">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83" name="文本框 82">
              <a:extLst>
                <a:ext uri="{FF2B5EF4-FFF2-40B4-BE49-F238E27FC236}">
                  <a16:creationId xmlns:a16="http://schemas.microsoft.com/office/drawing/2014/main" id="{BDF93894-8A0A-47A5-90C1-A50CD0BB62A4}"/>
                </a:ext>
              </a:extLst>
            </p:cNvPr>
            <p:cNvSpPr txBox="1"/>
            <p:nvPr/>
          </p:nvSpPr>
          <p:spPr>
            <a:xfrm>
              <a:off x="1314448" y="4038261"/>
              <a:ext cx="1849376" cy="944939"/>
            </a:xfrm>
            <a:prstGeom prst="rect">
              <a:avLst/>
            </a:prstGeom>
            <a:noFill/>
          </p:spPr>
          <p:txBody>
            <a:bodyPr wrap="square" lIns="0" tIns="0" rIns="0" bIns="0" rtlCol="0" anchor="t">
              <a:spAutoFit/>
            </a:bodyPr>
            <a:lstStyle/>
            <a:p>
              <a:pPr algn="ctr">
                <a:lnSpc>
                  <a:spcPct val="130000"/>
                </a:lnSpc>
              </a:pPr>
              <a:r>
                <a:rPr lang="en-US" altLang="zh-CN" sz="1200" b="0" dirty="0">
                  <a:solidFill>
                    <a:schemeClr val="tx1">
                      <a:lumMod val="75000"/>
                      <a:lumOff val="25000"/>
                    </a:schemeClr>
                  </a:solidFill>
                  <a:effectLst/>
                  <a:latin typeface="+mn-ea"/>
                </a:rPr>
                <a:t>Lorem ipsum dolor sit amet, consectetur adipisicing elit, sed do eiusmod tempor</a:t>
              </a:r>
              <a:endParaRPr lang="zh-CN" altLang="en-US" sz="1200" b="0" dirty="0">
                <a:solidFill>
                  <a:schemeClr val="tx1">
                    <a:lumMod val="75000"/>
                    <a:lumOff val="25000"/>
                  </a:schemeClr>
                </a:solidFill>
                <a:effectLst/>
                <a:latin typeface="+mn-ea"/>
              </a:endParaRPr>
            </a:p>
          </p:txBody>
        </p:sp>
        <p:sp>
          <p:nvSpPr>
            <p:cNvPr id="84" name="文本框 83">
              <a:extLst>
                <a:ext uri="{FF2B5EF4-FFF2-40B4-BE49-F238E27FC236}">
                  <a16:creationId xmlns:a16="http://schemas.microsoft.com/office/drawing/2014/main" id="{624F51DC-A55C-4C49-AC48-31C67BB914DF}"/>
                </a:ext>
              </a:extLst>
            </p:cNvPr>
            <p:cNvSpPr txBox="1"/>
            <p:nvPr/>
          </p:nvSpPr>
          <p:spPr>
            <a:xfrm>
              <a:off x="1784602" y="2727250"/>
              <a:ext cx="923330" cy="738664"/>
            </a:xfrm>
            <a:prstGeom prst="rect">
              <a:avLst/>
            </a:prstGeom>
            <a:noFill/>
          </p:spPr>
          <p:txBody>
            <a:bodyPr wrap="none" lIns="0" tIns="0" rIns="0" bIns="0" rtlCol="0" anchor="t">
              <a:spAutoFit/>
            </a:bodyPr>
            <a:lstStyle/>
            <a:p>
              <a:pPr algn="ctr"/>
              <a:r>
                <a:rPr lang="zh-CN" altLang="en-US" sz="2400" dirty="0">
                  <a:solidFill>
                    <a:schemeClr val="accent1"/>
                  </a:solidFill>
                  <a:latin typeface="+mj-ea"/>
                  <a:ea typeface="+mj-ea"/>
                </a:rPr>
                <a:t>关键词</a:t>
              </a:r>
              <a:endParaRPr lang="en-US" altLang="zh-CN" sz="2400" dirty="0">
                <a:solidFill>
                  <a:schemeClr val="accent1"/>
                </a:solidFill>
                <a:latin typeface="+mj-ea"/>
                <a:ea typeface="+mj-ea"/>
              </a:endParaRPr>
            </a:p>
            <a:p>
              <a:pPr algn="ctr"/>
              <a:r>
                <a:rPr lang="zh-CN" altLang="en-US" sz="2400" dirty="0">
                  <a:solidFill>
                    <a:schemeClr val="accent1"/>
                  </a:solidFill>
                  <a:latin typeface="+mj-ea"/>
                  <a:ea typeface="+mj-ea"/>
                </a:rPr>
                <a:t>标题</a:t>
              </a:r>
            </a:p>
          </p:txBody>
        </p:sp>
      </p:grpSp>
      <p:grpSp>
        <p:nvGrpSpPr>
          <p:cNvPr id="85" name="组合 84">
            <a:extLst>
              <a:ext uri="{FF2B5EF4-FFF2-40B4-BE49-F238E27FC236}">
                <a16:creationId xmlns:a16="http://schemas.microsoft.com/office/drawing/2014/main" id="{E0EB1799-5E0C-4E70-AA44-AA4DFB730A38}"/>
              </a:ext>
            </a:extLst>
          </p:cNvPr>
          <p:cNvGrpSpPr/>
          <p:nvPr/>
        </p:nvGrpSpPr>
        <p:grpSpPr>
          <a:xfrm>
            <a:off x="9785350" y="1702191"/>
            <a:ext cx="1856740" cy="2458329"/>
            <a:chOff x="1138109" y="2580015"/>
            <a:chExt cx="2202056" cy="2915529"/>
          </a:xfrm>
        </p:grpSpPr>
        <p:sp>
          <p:nvSpPr>
            <p:cNvPr id="86" name="矩形 85">
              <a:extLst>
                <a:ext uri="{FF2B5EF4-FFF2-40B4-BE49-F238E27FC236}">
                  <a16:creationId xmlns:a16="http://schemas.microsoft.com/office/drawing/2014/main" id="{0EA08A90-515B-46ED-8255-905006E77F72}"/>
                </a:ext>
              </a:extLst>
            </p:cNvPr>
            <p:cNvSpPr/>
            <p:nvPr/>
          </p:nvSpPr>
          <p:spPr>
            <a:xfrm>
              <a:off x="1138109" y="3608926"/>
              <a:ext cx="2202056" cy="1886618"/>
            </a:xfrm>
            <a:prstGeom prst="rect">
              <a:avLst/>
            </a:prstGeom>
            <a:gradFill>
              <a:gsLst>
                <a:gs pos="0">
                  <a:srgbClr val="031761">
                    <a:alpha val="10000"/>
                  </a:srgbClr>
                </a:gs>
                <a:gs pos="99000">
                  <a:schemeClr val="accent1">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87" name="椭圆 86">
              <a:extLst>
                <a:ext uri="{FF2B5EF4-FFF2-40B4-BE49-F238E27FC236}">
                  <a16:creationId xmlns:a16="http://schemas.microsoft.com/office/drawing/2014/main" id="{F889D5DC-6322-4BAB-8BEE-3AC0E6115A61}"/>
                </a:ext>
              </a:extLst>
            </p:cNvPr>
            <p:cNvSpPr/>
            <p:nvPr/>
          </p:nvSpPr>
          <p:spPr>
            <a:xfrm>
              <a:off x="1138109" y="3361558"/>
              <a:ext cx="2202056" cy="56536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88" name="椭圆 87">
              <a:extLst>
                <a:ext uri="{FF2B5EF4-FFF2-40B4-BE49-F238E27FC236}">
                  <a16:creationId xmlns:a16="http://schemas.microsoft.com/office/drawing/2014/main" id="{010B5469-E55B-42DD-AEB1-3BE1355BFF94}"/>
                </a:ext>
              </a:extLst>
            </p:cNvPr>
            <p:cNvSpPr/>
            <p:nvPr/>
          </p:nvSpPr>
          <p:spPr>
            <a:xfrm>
              <a:off x="1138109" y="3315894"/>
              <a:ext cx="2202056" cy="56536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89" name="椭圆 88">
              <a:extLst>
                <a:ext uri="{FF2B5EF4-FFF2-40B4-BE49-F238E27FC236}">
                  <a16:creationId xmlns:a16="http://schemas.microsoft.com/office/drawing/2014/main" id="{97C2BB3A-1A3A-4F3D-A7E2-EB55AB15047D}"/>
                </a:ext>
              </a:extLst>
            </p:cNvPr>
            <p:cNvSpPr/>
            <p:nvPr/>
          </p:nvSpPr>
          <p:spPr>
            <a:xfrm>
              <a:off x="1344158" y="3366622"/>
              <a:ext cx="1789958" cy="459562"/>
            </a:xfrm>
            <a:prstGeom prst="ellipse">
              <a:avLst/>
            </a:prstGeom>
            <a:solidFill>
              <a:schemeClr val="accent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90" name="椭圆 89">
              <a:extLst>
                <a:ext uri="{FF2B5EF4-FFF2-40B4-BE49-F238E27FC236}">
                  <a16:creationId xmlns:a16="http://schemas.microsoft.com/office/drawing/2014/main" id="{AFDE6286-4E71-474A-A17E-8CB78B90D9FC}"/>
                </a:ext>
              </a:extLst>
            </p:cNvPr>
            <p:cNvSpPr/>
            <p:nvPr/>
          </p:nvSpPr>
          <p:spPr>
            <a:xfrm>
              <a:off x="1570859" y="3385686"/>
              <a:ext cx="1336556" cy="343152"/>
            </a:xfrm>
            <a:prstGeom prst="ellipse">
              <a:avLst/>
            </a:prstGeom>
            <a:solidFill>
              <a:schemeClr val="accent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91" name="梯形 5">
              <a:extLst>
                <a:ext uri="{FF2B5EF4-FFF2-40B4-BE49-F238E27FC236}">
                  <a16:creationId xmlns:a16="http://schemas.microsoft.com/office/drawing/2014/main" id="{04D7C0E6-7FED-499C-A9D8-D0CE37504A6E}"/>
                </a:ext>
              </a:extLst>
            </p:cNvPr>
            <p:cNvSpPr/>
            <p:nvPr/>
          </p:nvSpPr>
          <p:spPr>
            <a:xfrm rot="10800000">
              <a:off x="1357566" y="2580015"/>
              <a:ext cx="1776158" cy="1280924"/>
            </a:xfrm>
            <a:custGeom>
              <a:avLst/>
              <a:gdLst>
                <a:gd name="connsiteX0" fmla="*/ 0 w 1969294"/>
                <a:gd name="connsiteY0" fmla="*/ 1064133 h 1064133"/>
                <a:gd name="connsiteX1" fmla="*/ 266033 w 1969294"/>
                <a:gd name="connsiteY1" fmla="*/ 0 h 1064133"/>
                <a:gd name="connsiteX2" fmla="*/ 1703261 w 1969294"/>
                <a:gd name="connsiteY2" fmla="*/ 0 h 1064133"/>
                <a:gd name="connsiteX3" fmla="*/ 1969294 w 1969294"/>
                <a:gd name="connsiteY3" fmla="*/ 1064133 h 1064133"/>
                <a:gd name="connsiteX4" fmla="*/ 0 w 1969294"/>
                <a:gd name="connsiteY4" fmla="*/ 1064133 h 1064133"/>
                <a:gd name="connsiteX0" fmla="*/ 0 w 1969294"/>
                <a:gd name="connsiteY0" fmla="*/ 1064133 h 1064133"/>
                <a:gd name="connsiteX1" fmla="*/ 266033 w 1969294"/>
                <a:gd name="connsiteY1" fmla="*/ 0 h 1064133"/>
                <a:gd name="connsiteX2" fmla="*/ 981075 w 1969294"/>
                <a:gd name="connsiteY2" fmla="*/ 2670 h 1064133"/>
                <a:gd name="connsiteX3" fmla="*/ 1703261 w 1969294"/>
                <a:gd name="connsiteY3" fmla="*/ 0 h 1064133"/>
                <a:gd name="connsiteX4" fmla="*/ 1969294 w 1969294"/>
                <a:gd name="connsiteY4" fmla="*/ 1064133 h 1064133"/>
                <a:gd name="connsiteX5" fmla="*/ 0 w 1969294"/>
                <a:gd name="connsiteY5" fmla="*/ 1064133 h 1064133"/>
                <a:gd name="connsiteX0" fmla="*/ 0 w 1969294"/>
                <a:gd name="connsiteY0" fmla="*/ 1323401 h 1323401"/>
                <a:gd name="connsiteX1" fmla="*/ 266033 w 1969294"/>
                <a:gd name="connsiteY1" fmla="*/ 259268 h 1323401"/>
                <a:gd name="connsiteX2" fmla="*/ 992981 w 1969294"/>
                <a:gd name="connsiteY2" fmla="*/ 0 h 1323401"/>
                <a:gd name="connsiteX3" fmla="*/ 1703261 w 1969294"/>
                <a:gd name="connsiteY3" fmla="*/ 259268 h 1323401"/>
                <a:gd name="connsiteX4" fmla="*/ 1969294 w 1969294"/>
                <a:gd name="connsiteY4" fmla="*/ 1323401 h 1323401"/>
                <a:gd name="connsiteX5" fmla="*/ 0 w 1969294"/>
                <a:gd name="connsiteY5" fmla="*/ 1323401 h 1323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69294" h="1323401">
                  <a:moveTo>
                    <a:pt x="0" y="1323401"/>
                  </a:moveTo>
                  <a:lnTo>
                    <a:pt x="266033" y="259268"/>
                  </a:lnTo>
                  <a:lnTo>
                    <a:pt x="992981" y="0"/>
                  </a:lnTo>
                  <a:lnTo>
                    <a:pt x="1703261" y="259268"/>
                  </a:lnTo>
                  <a:lnTo>
                    <a:pt x="1969294" y="1323401"/>
                  </a:lnTo>
                  <a:lnTo>
                    <a:pt x="0" y="1323401"/>
                  </a:lnTo>
                  <a:close/>
                </a:path>
              </a:pathLst>
            </a:custGeom>
            <a:gradFill>
              <a:gsLst>
                <a:gs pos="42471">
                  <a:srgbClr val="031761">
                    <a:alpha val="10000"/>
                  </a:srgbClr>
                </a:gs>
                <a:gs pos="99000">
                  <a:schemeClr val="accent1">
                    <a:alpha val="0"/>
                  </a:schemeClr>
                </a:gs>
                <a:gs pos="17000">
                  <a:schemeClr val="accent1">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92" name="文本框 91">
              <a:extLst>
                <a:ext uri="{FF2B5EF4-FFF2-40B4-BE49-F238E27FC236}">
                  <a16:creationId xmlns:a16="http://schemas.microsoft.com/office/drawing/2014/main" id="{8C1BFAE0-480B-40DC-8612-4D0B3B7DB39C}"/>
                </a:ext>
              </a:extLst>
            </p:cNvPr>
            <p:cNvSpPr txBox="1"/>
            <p:nvPr/>
          </p:nvSpPr>
          <p:spPr>
            <a:xfrm>
              <a:off x="1314448" y="4038261"/>
              <a:ext cx="1849376" cy="944939"/>
            </a:xfrm>
            <a:prstGeom prst="rect">
              <a:avLst/>
            </a:prstGeom>
            <a:noFill/>
          </p:spPr>
          <p:txBody>
            <a:bodyPr wrap="square" lIns="0" tIns="0" rIns="0" bIns="0" rtlCol="0" anchor="t">
              <a:spAutoFit/>
            </a:bodyPr>
            <a:lstStyle/>
            <a:p>
              <a:pPr algn="ctr">
                <a:lnSpc>
                  <a:spcPct val="130000"/>
                </a:lnSpc>
              </a:pPr>
              <a:r>
                <a:rPr lang="en-US" altLang="zh-CN" sz="1200" b="0" dirty="0">
                  <a:solidFill>
                    <a:schemeClr val="tx1">
                      <a:lumMod val="75000"/>
                      <a:lumOff val="25000"/>
                    </a:schemeClr>
                  </a:solidFill>
                  <a:effectLst/>
                  <a:latin typeface="+mn-ea"/>
                </a:rPr>
                <a:t>Lorem ipsum dolor sit amet, consectetur adipisicing elit, sed do eiusmod tempor</a:t>
              </a:r>
              <a:endParaRPr lang="zh-CN" altLang="en-US" sz="1200" b="0" dirty="0">
                <a:solidFill>
                  <a:schemeClr val="tx1">
                    <a:lumMod val="75000"/>
                    <a:lumOff val="25000"/>
                  </a:schemeClr>
                </a:solidFill>
                <a:effectLst/>
                <a:latin typeface="+mn-ea"/>
              </a:endParaRPr>
            </a:p>
          </p:txBody>
        </p:sp>
        <p:sp>
          <p:nvSpPr>
            <p:cNvPr id="93" name="文本框 92">
              <a:extLst>
                <a:ext uri="{FF2B5EF4-FFF2-40B4-BE49-F238E27FC236}">
                  <a16:creationId xmlns:a16="http://schemas.microsoft.com/office/drawing/2014/main" id="{D67C8459-BD11-4DA3-891D-5E67162AA6D5}"/>
                </a:ext>
              </a:extLst>
            </p:cNvPr>
            <p:cNvSpPr txBox="1"/>
            <p:nvPr/>
          </p:nvSpPr>
          <p:spPr>
            <a:xfrm>
              <a:off x="1784602" y="2727250"/>
              <a:ext cx="923330" cy="738664"/>
            </a:xfrm>
            <a:prstGeom prst="rect">
              <a:avLst/>
            </a:prstGeom>
            <a:noFill/>
          </p:spPr>
          <p:txBody>
            <a:bodyPr wrap="none" lIns="0" tIns="0" rIns="0" bIns="0" rtlCol="0" anchor="t">
              <a:spAutoFit/>
            </a:bodyPr>
            <a:lstStyle/>
            <a:p>
              <a:pPr algn="ctr"/>
              <a:r>
                <a:rPr lang="zh-CN" altLang="en-US" sz="2400" dirty="0">
                  <a:solidFill>
                    <a:schemeClr val="accent1"/>
                  </a:solidFill>
                  <a:latin typeface="+mj-ea"/>
                  <a:ea typeface="+mj-ea"/>
                </a:rPr>
                <a:t>关键词</a:t>
              </a:r>
              <a:endParaRPr lang="en-US" altLang="zh-CN" sz="2400" dirty="0">
                <a:solidFill>
                  <a:schemeClr val="accent1"/>
                </a:solidFill>
                <a:latin typeface="+mj-ea"/>
                <a:ea typeface="+mj-ea"/>
              </a:endParaRPr>
            </a:p>
            <a:p>
              <a:pPr algn="ctr"/>
              <a:r>
                <a:rPr lang="zh-CN" altLang="en-US" sz="2400" dirty="0">
                  <a:solidFill>
                    <a:schemeClr val="accent1"/>
                  </a:solidFill>
                  <a:latin typeface="+mj-ea"/>
                  <a:ea typeface="+mj-ea"/>
                </a:rPr>
                <a:t>标题</a:t>
              </a:r>
            </a:p>
          </p:txBody>
        </p:sp>
      </p:grpSp>
    </p:spTree>
    <p:extLst>
      <p:ext uri="{BB962C8B-B14F-4D97-AF65-F5344CB8AC3E}">
        <p14:creationId xmlns:p14="http://schemas.microsoft.com/office/powerpoint/2010/main" val="1538419926"/>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3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椭圆 1">
            <a:extLst>
              <a:ext uri="{FF2B5EF4-FFF2-40B4-BE49-F238E27FC236}">
                <a16:creationId xmlns:a16="http://schemas.microsoft.com/office/drawing/2014/main" id="{C5417D1E-C7EC-4E30-B435-254C069E1756}"/>
              </a:ext>
            </a:extLst>
          </p:cNvPr>
          <p:cNvSpPr/>
          <p:nvPr/>
        </p:nvSpPr>
        <p:spPr>
          <a:xfrm>
            <a:off x="4843272" y="2574510"/>
            <a:ext cx="2505456" cy="2505456"/>
          </a:xfrm>
          <a:prstGeom prst="ellipse">
            <a:avLst/>
          </a:prstGeom>
          <a:gradFill flip="none" rotWithShape="1">
            <a:gsLst>
              <a:gs pos="99000">
                <a:schemeClr val="accent1">
                  <a:alpha val="10000"/>
                </a:schemeClr>
              </a:gs>
              <a:gs pos="87000">
                <a:schemeClr val="accent1">
                  <a:alpha val="0"/>
                </a:schemeClr>
              </a:gs>
            </a:gsLst>
            <a:path path="shap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grpSp>
        <p:nvGrpSpPr>
          <p:cNvPr id="7" name="组合 6">
            <a:extLst>
              <a:ext uri="{FF2B5EF4-FFF2-40B4-BE49-F238E27FC236}">
                <a16:creationId xmlns:a16="http://schemas.microsoft.com/office/drawing/2014/main" id="{56DE5118-2214-4044-A936-BE7527B92ACE}"/>
              </a:ext>
            </a:extLst>
          </p:cNvPr>
          <p:cNvGrpSpPr/>
          <p:nvPr/>
        </p:nvGrpSpPr>
        <p:grpSpPr>
          <a:xfrm>
            <a:off x="4714875" y="2446113"/>
            <a:ext cx="2762250" cy="2762250"/>
            <a:chOff x="4763262" y="1885950"/>
            <a:chExt cx="2665476" cy="2665476"/>
          </a:xfrm>
        </p:grpSpPr>
        <p:sp>
          <p:nvSpPr>
            <p:cNvPr id="4" name="弧形 3">
              <a:extLst>
                <a:ext uri="{FF2B5EF4-FFF2-40B4-BE49-F238E27FC236}">
                  <a16:creationId xmlns:a16="http://schemas.microsoft.com/office/drawing/2014/main" id="{DE8EA115-84A0-4B4C-9B3F-4A2EBF9852AE}"/>
                </a:ext>
              </a:extLst>
            </p:cNvPr>
            <p:cNvSpPr/>
            <p:nvPr/>
          </p:nvSpPr>
          <p:spPr>
            <a:xfrm>
              <a:off x="4890751" y="2013439"/>
              <a:ext cx="2410498" cy="2410498"/>
            </a:xfrm>
            <a:prstGeom prst="arc">
              <a:avLst>
                <a:gd name="adj1" fmla="val 19325756"/>
                <a:gd name="adj2" fmla="val 18407825"/>
              </a:avLst>
            </a:prstGeom>
            <a:ln w="25400" cap="rnd">
              <a:solidFill>
                <a:schemeClr val="accent1"/>
              </a:solidFill>
            </a:ln>
            <a:effectLst>
              <a:reflection blurRad="101600" stA="50000" endA="300" endPos="20000" dist="127000" dir="5400000" sy="-100000" algn="bl" rotWithShape="0"/>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sp>
          <p:nvSpPr>
            <p:cNvPr id="5" name="椭圆 4">
              <a:extLst>
                <a:ext uri="{FF2B5EF4-FFF2-40B4-BE49-F238E27FC236}">
                  <a16:creationId xmlns:a16="http://schemas.microsoft.com/office/drawing/2014/main" id="{504AD5BF-71A9-4DE6-A7A0-95F8E518E213}"/>
                </a:ext>
              </a:extLst>
            </p:cNvPr>
            <p:cNvSpPr/>
            <p:nvPr/>
          </p:nvSpPr>
          <p:spPr>
            <a:xfrm>
              <a:off x="6910664" y="2336330"/>
              <a:ext cx="106648" cy="10664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 name="椭圆 5">
              <a:extLst>
                <a:ext uri="{FF2B5EF4-FFF2-40B4-BE49-F238E27FC236}">
                  <a16:creationId xmlns:a16="http://schemas.microsoft.com/office/drawing/2014/main" id="{B72B9106-3256-4421-9A0D-74A9BF0C79CC}"/>
                </a:ext>
              </a:extLst>
            </p:cNvPr>
            <p:cNvSpPr/>
            <p:nvPr/>
          </p:nvSpPr>
          <p:spPr>
            <a:xfrm>
              <a:off x="4763262" y="1885950"/>
              <a:ext cx="2665476" cy="2665476"/>
            </a:xfrm>
            <a:prstGeom prst="ellipse">
              <a:avLst/>
            </a:prstGeom>
            <a:noFill/>
            <a:ln>
              <a:gradFill>
                <a:gsLst>
                  <a:gs pos="0">
                    <a:schemeClr val="accent1">
                      <a:alpha val="0"/>
                    </a:schemeClr>
                  </a:gs>
                  <a:gs pos="50000">
                    <a:schemeClr val="accent1"/>
                  </a:gs>
                  <a:gs pos="100000">
                    <a:schemeClr val="accent1">
                      <a:alpha val="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8" name="文本框 7">
            <a:extLst>
              <a:ext uri="{FF2B5EF4-FFF2-40B4-BE49-F238E27FC236}">
                <a16:creationId xmlns:a16="http://schemas.microsoft.com/office/drawing/2014/main" id="{E8E1E974-EB6B-426E-91D1-4F3F23E0B6E5}"/>
              </a:ext>
            </a:extLst>
          </p:cNvPr>
          <p:cNvSpPr txBox="1"/>
          <p:nvPr/>
        </p:nvSpPr>
        <p:spPr>
          <a:xfrm>
            <a:off x="5417820" y="3334796"/>
            <a:ext cx="1356360" cy="984885"/>
          </a:xfrm>
          <a:prstGeom prst="rect">
            <a:avLst/>
          </a:prstGeom>
          <a:noFill/>
        </p:spPr>
        <p:txBody>
          <a:bodyPr wrap="square" lIns="0" tIns="0" rIns="0" bIns="0" rtlCol="0" anchor="t">
            <a:spAutoFit/>
          </a:bodyPr>
          <a:lstStyle/>
          <a:p>
            <a:pPr algn="ctr"/>
            <a:r>
              <a:rPr lang="zh-CN" altLang="en-US" sz="3200" dirty="0">
                <a:solidFill>
                  <a:schemeClr val="accent1"/>
                </a:solidFill>
                <a:latin typeface="+mj-ea"/>
                <a:ea typeface="+mj-ea"/>
              </a:rPr>
              <a:t>关键词</a:t>
            </a:r>
            <a:endParaRPr lang="en-US" altLang="zh-CN" sz="3200" dirty="0">
              <a:solidFill>
                <a:schemeClr val="accent1"/>
              </a:solidFill>
              <a:latin typeface="+mj-ea"/>
              <a:ea typeface="+mj-ea"/>
            </a:endParaRPr>
          </a:p>
          <a:p>
            <a:pPr algn="ctr"/>
            <a:r>
              <a:rPr lang="zh-CN" altLang="en-US" sz="3200" dirty="0">
                <a:solidFill>
                  <a:schemeClr val="accent1"/>
                </a:solidFill>
                <a:latin typeface="+mj-ea"/>
                <a:ea typeface="+mj-ea"/>
              </a:rPr>
              <a:t>标题</a:t>
            </a:r>
          </a:p>
        </p:txBody>
      </p:sp>
      <p:sp>
        <p:nvSpPr>
          <p:cNvPr id="10" name="椭圆 9">
            <a:extLst>
              <a:ext uri="{FF2B5EF4-FFF2-40B4-BE49-F238E27FC236}">
                <a16:creationId xmlns:a16="http://schemas.microsoft.com/office/drawing/2014/main" id="{6A9635FB-AA7A-4B7F-9770-0483D2F20F37}"/>
              </a:ext>
            </a:extLst>
          </p:cNvPr>
          <p:cNvSpPr/>
          <p:nvPr/>
        </p:nvSpPr>
        <p:spPr>
          <a:xfrm>
            <a:off x="3961374" y="2970227"/>
            <a:ext cx="622140" cy="62214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11" name="椭圆 10">
            <a:extLst>
              <a:ext uri="{FF2B5EF4-FFF2-40B4-BE49-F238E27FC236}">
                <a16:creationId xmlns:a16="http://schemas.microsoft.com/office/drawing/2014/main" id="{863BD61F-0EE1-45BC-AEB6-51A462974A72}"/>
              </a:ext>
            </a:extLst>
          </p:cNvPr>
          <p:cNvSpPr/>
          <p:nvPr/>
        </p:nvSpPr>
        <p:spPr>
          <a:xfrm>
            <a:off x="5750374" y="1602290"/>
            <a:ext cx="622140" cy="62214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12" name="椭圆 11">
            <a:extLst>
              <a:ext uri="{FF2B5EF4-FFF2-40B4-BE49-F238E27FC236}">
                <a16:creationId xmlns:a16="http://schemas.microsoft.com/office/drawing/2014/main" id="{6A923805-A1D6-446A-ADCF-1A2AF1A209C1}"/>
              </a:ext>
            </a:extLst>
          </p:cNvPr>
          <p:cNvSpPr/>
          <p:nvPr/>
        </p:nvSpPr>
        <p:spPr>
          <a:xfrm>
            <a:off x="7567786" y="2970227"/>
            <a:ext cx="622140" cy="62214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13" name="椭圆 12">
            <a:extLst>
              <a:ext uri="{FF2B5EF4-FFF2-40B4-BE49-F238E27FC236}">
                <a16:creationId xmlns:a16="http://schemas.microsoft.com/office/drawing/2014/main" id="{991D4ABB-1A61-4ABA-BA6D-E4FEEC374031}"/>
              </a:ext>
            </a:extLst>
          </p:cNvPr>
          <p:cNvSpPr/>
          <p:nvPr/>
        </p:nvSpPr>
        <p:spPr>
          <a:xfrm>
            <a:off x="6920447" y="5099790"/>
            <a:ext cx="622140" cy="62214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14" name="椭圆 13">
            <a:extLst>
              <a:ext uri="{FF2B5EF4-FFF2-40B4-BE49-F238E27FC236}">
                <a16:creationId xmlns:a16="http://schemas.microsoft.com/office/drawing/2014/main" id="{CCC96F19-5201-4470-82FC-8C5F643CE23A}"/>
              </a:ext>
            </a:extLst>
          </p:cNvPr>
          <p:cNvSpPr/>
          <p:nvPr/>
        </p:nvSpPr>
        <p:spPr>
          <a:xfrm>
            <a:off x="4702029" y="5076246"/>
            <a:ext cx="622140" cy="62214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15" name="弧形 14">
            <a:extLst>
              <a:ext uri="{FF2B5EF4-FFF2-40B4-BE49-F238E27FC236}">
                <a16:creationId xmlns:a16="http://schemas.microsoft.com/office/drawing/2014/main" id="{38C315AA-7DD0-4822-BD1E-50E6AE94B45A}"/>
              </a:ext>
            </a:extLst>
          </p:cNvPr>
          <p:cNvSpPr/>
          <p:nvPr/>
        </p:nvSpPr>
        <p:spPr>
          <a:xfrm>
            <a:off x="4236720" y="1967958"/>
            <a:ext cx="3718560" cy="3718560"/>
          </a:xfrm>
          <a:prstGeom prst="arc">
            <a:avLst>
              <a:gd name="adj1" fmla="val 16891256"/>
              <a:gd name="adj2" fmla="val 19843767"/>
            </a:avLst>
          </a:prstGeom>
          <a:ln w="25400" cap="rnd">
            <a:gradFill>
              <a:gsLst>
                <a:gs pos="0">
                  <a:schemeClr val="accent1">
                    <a:alpha val="0"/>
                  </a:schemeClr>
                </a:gs>
                <a:gs pos="100000">
                  <a:schemeClr val="accent1"/>
                </a:gs>
              </a:gsLst>
              <a:lin ang="5400000" scaled="1"/>
            </a:gra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sp>
        <p:nvSpPr>
          <p:cNvPr id="16" name="弧形 15">
            <a:extLst>
              <a:ext uri="{FF2B5EF4-FFF2-40B4-BE49-F238E27FC236}">
                <a16:creationId xmlns:a16="http://schemas.microsoft.com/office/drawing/2014/main" id="{050A4190-5B01-4218-BB48-7019611322FF}"/>
              </a:ext>
            </a:extLst>
          </p:cNvPr>
          <p:cNvSpPr/>
          <p:nvPr/>
        </p:nvSpPr>
        <p:spPr>
          <a:xfrm>
            <a:off x="4202164" y="1955575"/>
            <a:ext cx="3718560" cy="3718560"/>
          </a:xfrm>
          <a:prstGeom prst="arc">
            <a:avLst>
              <a:gd name="adj1" fmla="val 21565462"/>
              <a:gd name="adj2" fmla="val 2522691"/>
            </a:avLst>
          </a:prstGeom>
          <a:ln w="25400" cap="rnd">
            <a:gradFill>
              <a:gsLst>
                <a:gs pos="0">
                  <a:schemeClr val="accent1">
                    <a:alpha val="0"/>
                  </a:schemeClr>
                </a:gs>
                <a:gs pos="100000">
                  <a:schemeClr val="accent1"/>
                </a:gs>
              </a:gsLst>
              <a:lin ang="5400000" scaled="1"/>
            </a:gra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sp>
        <p:nvSpPr>
          <p:cNvPr id="17" name="弧形 16">
            <a:extLst>
              <a:ext uri="{FF2B5EF4-FFF2-40B4-BE49-F238E27FC236}">
                <a16:creationId xmlns:a16="http://schemas.microsoft.com/office/drawing/2014/main" id="{0D702AF9-C598-47A4-BFD1-3D0133EEE2C4}"/>
              </a:ext>
            </a:extLst>
          </p:cNvPr>
          <p:cNvSpPr/>
          <p:nvPr/>
        </p:nvSpPr>
        <p:spPr>
          <a:xfrm>
            <a:off x="4236720" y="1967958"/>
            <a:ext cx="3718560" cy="3718560"/>
          </a:xfrm>
          <a:prstGeom prst="arc">
            <a:avLst>
              <a:gd name="adj1" fmla="val 4040494"/>
              <a:gd name="adj2" fmla="val 6637757"/>
            </a:avLst>
          </a:prstGeom>
          <a:ln w="25400" cap="rnd">
            <a:gradFill>
              <a:gsLst>
                <a:gs pos="0">
                  <a:schemeClr val="accent1">
                    <a:alpha val="0"/>
                  </a:schemeClr>
                </a:gs>
                <a:gs pos="100000">
                  <a:schemeClr val="accent1"/>
                </a:gs>
              </a:gsLst>
              <a:lin ang="10800000" scaled="0"/>
            </a:gra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sp>
        <p:nvSpPr>
          <p:cNvPr id="18" name="弧形 17">
            <a:extLst>
              <a:ext uri="{FF2B5EF4-FFF2-40B4-BE49-F238E27FC236}">
                <a16:creationId xmlns:a16="http://schemas.microsoft.com/office/drawing/2014/main" id="{CFEA72C4-FF18-4821-B31F-93E4FE14CE6D}"/>
              </a:ext>
            </a:extLst>
          </p:cNvPr>
          <p:cNvSpPr/>
          <p:nvPr/>
        </p:nvSpPr>
        <p:spPr>
          <a:xfrm>
            <a:off x="4249566" y="1975399"/>
            <a:ext cx="3718560" cy="3718560"/>
          </a:xfrm>
          <a:prstGeom prst="arc">
            <a:avLst>
              <a:gd name="adj1" fmla="val 8298621"/>
              <a:gd name="adj2" fmla="val 10998365"/>
            </a:avLst>
          </a:prstGeom>
          <a:ln w="25400" cap="rnd">
            <a:gradFill>
              <a:gsLst>
                <a:gs pos="0">
                  <a:schemeClr val="accent1">
                    <a:alpha val="0"/>
                  </a:schemeClr>
                </a:gs>
                <a:gs pos="100000">
                  <a:schemeClr val="accent1"/>
                </a:gs>
              </a:gsLst>
              <a:lin ang="16200000" scaled="0"/>
            </a:gra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sp>
        <p:nvSpPr>
          <p:cNvPr id="19" name="弧形 18">
            <a:extLst>
              <a:ext uri="{FF2B5EF4-FFF2-40B4-BE49-F238E27FC236}">
                <a16:creationId xmlns:a16="http://schemas.microsoft.com/office/drawing/2014/main" id="{F83DA46E-0AE4-42BF-9586-E006B8FF62D6}"/>
              </a:ext>
            </a:extLst>
          </p:cNvPr>
          <p:cNvSpPr/>
          <p:nvPr/>
        </p:nvSpPr>
        <p:spPr>
          <a:xfrm>
            <a:off x="4236720" y="1967958"/>
            <a:ext cx="3718560" cy="3718560"/>
          </a:xfrm>
          <a:prstGeom prst="arc">
            <a:avLst>
              <a:gd name="adj1" fmla="val 12552947"/>
              <a:gd name="adj2" fmla="val 15323848"/>
            </a:avLst>
          </a:prstGeom>
          <a:ln w="25400" cap="rnd">
            <a:gradFill>
              <a:gsLst>
                <a:gs pos="0">
                  <a:schemeClr val="accent1">
                    <a:alpha val="0"/>
                  </a:schemeClr>
                </a:gs>
                <a:gs pos="100000">
                  <a:schemeClr val="accent1"/>
                </a:gs>
              </a:gsLst>
              <a:lin ang="0" scaled="0"/>
            </a:gra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sp>
        <p:nvSpPr>
          <p:cNvPr id="20" name="user_209046">
            <a:extLst>
              <a:ext uri="{FF2B5EF4-FFF2-40B4-BE49-F238E27FC236}">
                <a16:creationId xmlns:a16="http://schemas.microsoft.com/office/drawing/2014/main" id="{8410924B-A031-42F9-B63E-9CCCD65E42E6}"/>
              </a:ext>
            </a:extLst>
          </p:cNvPr>
          <p:cNvSpPr/>
          <p:nvPr/>
        </p:nvSpPr>
        <p:spPr>
          <a:xfrm>
            <a:off x="4827608" y="5213713"/>
            <a:ext cx="370981" cy="313556"/>
          </a:xfrm>
          <a:custGeom>
            <a:avLst/>
            <a:gdLst>
              <a:gd name="T0" fmla="*/ 4484 w 10375"/>
              <a:gd name="T1" fmla="*/ 6967 h 8769"/>
              <a:gd name="T2" fmla="*/ 4484 w 10375"/>
              <a:gd name="T3" fmla="*/ 8374 h 8769"/>
              <a:gd name="T4" fmla="*/ 5891 w 10375"/>
              <a:gd name="T5" fmla="*/ 8374 h 8769"/>
              <a:gd name="T6" fmla="*/ 5891 w 10375"/>
              <a:gd name="T7" fmla="*/ 6967 h 8769"/>
              <a:gd name="T8" fmla="*/ 4484 w 10375"/>
              <a:gd name="T9" fmla="*/ 6967 h 8769"/>
              <a:gd name="T10" fmla="*/ 1754 w 10375"/>
              <a:gd name="T11" fmla="*/ 5262 h 8769"/>
              <a:gd name="T12" fmla="*/ 2766 w 10375"/>
              <a:gd name="T13" fmla="*/ 6423 h 8769"/>
              <a:gd name="T14" fmla="*/ 7633 w 10375"/>
              <a:gd name="T15" fmla="*/ 6423 h 8769"/>
              <a:gd name="T16" fmla="*/ 8645 w 10375"/>
              <a:gd name="T17" fmla="*/ 5262 h 8769"/>
              <a:gd name="T18" fmla="*/ 1754 w 10375"/>
              <a:gd name="T19" fmla="*/ 5262 h 8769"/>
              <a:gd name="T20" fmla="*/ 0 w 10375"/>
              <a:gd name="T21" fmla="*/ 3261 h 8769"/>
              <a:gd name="T22" fmla="*/ 1038 w 10375"/>
              <a:gd name="T23" fmla="*/ 4447 h 8769"/>
              <a:gd name="T24" fmla="*/ 9338 w 10375"/>
              <a:gd name="T25" fmla="*/ 4447 h 8769"/>
              <a:gd name="T26" fmla="*/ 10375 w 10375"/>
              <a:gd name="T27" fmla="*/ 3261 h 8769"/>
              <a:gd name="T28" fmla="*/ 0 w 10375"/>
              <a:gd name="T29" fmla="*/ 3261 h 8769"/>
              <a:gd name="T30" fmla="*/ 0 w 10375"/>
              <a:gd name="T31" fmla="*/ 3261 h 87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375" h="8769">
                <a:moveTo>
                  <a:pt x="4484" y="6967"/>
                </a:moveTo>
                <a:cubicBezTo>
                  <a:pt x="4089" y="7362"/>
                  <a:pt x="4089" y="7979"/>
                  <a:pt x="4484" y="8374"/>
                </a:cubicBezTo>
                <a:cubicBezTo>
                  <a:pt x="4879" y="8769"/>
                  <a:pt x="5496" y="8769"/>
                  <a:pt x="5891" y="8374"/>
                </a:cubicBezTo>
                <a:cubicBezTo>
                  <a:pt x="6286" y="7979"/>
                  <a:pt x="6286" y="7362"/>
                  <a:pt x="5891" y="6967"/>
                </a:cubicBezTo>
                <a:cubicBezTo>
                  <a:pt x="5471" y="6571"/>
                  <a:pt x="4854" y="6571"/>
                  <a:pt x="4484" y="6967"/>
                </a:cubicBezTo>
                <a:close/>
                <a:moveTo>
                  <a:pt x="1754" y="5262"/>
                </a:moveTo>
                <a:lnTo>
                  <a:pt x="2766" y="6423"/>
                </a:lnTo>
                <a:cubicBezTo>
                  <a:pt x="4100" y="4892"/>
                  <a:pt x="6299" y="4892"/>
                  <a:pt x="7633" y="6423"/>
                </a:cubicBezTo>
                <a:lnTo>
                  <a:pt x="8645" y="5262"/>
                </a:lnTo>
                <a:cubicBezTo>
                  <a:pt x="6719" y="3088"/>
                  <a:pt x="3656" y="3088"/>
                  <a:pt x="1754" y="5262"/>
                </a:cubicBezTo>
                <a:close/>
                <a:moveTo>
                  <a:pt x="0" y="3261"/>
                </a:moveTo>
                <a:lnTo>
                  <a:pt x="1038" y="4447"/>
                </a:lnTo>
                <a:cubicBezTo>
                  <a:pt x="3335" y="1803"/>
                  <a:pt x="7040" y="1803"/>
                  <a:pt x="9338" y="4447"/>
                </a:cubicBezTo>
                <a:lnTo>
                  <a:pt x="10375" y="3261"/>
                </a:lnTo>
                <a:cubicBezTo>
                  <a:pt x="7534" y="0"/>
                  <a:pt x="2865" y="0"/>
                  <a:pt x="0" y="3261"/>
                </a:cubicBezTo>
                <a:close/>
                <a:moveTo>
                  <a:pt x="0" y="3261"/>
                </a:move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sp>
        <p:nvSpPr>
          <p:cNvPr id="21" name="dna-scheme_72281">
            <a:extLst>
              <a:ext uri="{FF2B5EF4-FFF2-40B4-BE49-F238E27FC236}">
                <a16:creationId xmlns:a16="http://schemas.microsoft.com/office/drawing/2014/main" id="{8946C032-C442-436B-9425-1FA25992B569}"/>
              </a:ext>
            </a:extLst>
          </p:cNvPr>
          <p:cNvSpPr/>
          <p:nvPr/>
        </p:nvSpPr>
        <p:spPr>
          <a:xfrm>
            <a:off x="7057412" y="5235705"/>
            <a:ext cx="327732" cy="325626"/>
          </a:xfrm>
          <a:custGeom>
            <a:avLst/>
            <a:gdLst>
              <a:gd name="T0" fmla="*/ 8079 w 8242"/>
              <a:gd name="T1" fmla="*/ 2177 h 8201"/>
              <a:gd name="T2" fmla="*/ 7493 w 8242"/>
              <a:gd name="T3" fmla="*/ 2177 h 8201"/>
              <a:gd name="T4" fmla="*/ 7402 w 8242"/>
              <a:gd name="T5" fmla="*/ 2260 h 8201"/>
              <a:gd name="T6" fmla="*/ 5982 w 8242"/>
              <a:gd name="T7" fmla="*/ 840 h 8201"/>
              <a:gd name="T8" fmla="*/ 6065 w 8242"/>
              <a:gd name="T9" fmla="*/ 749 h 8201"/>
              <a:gd name="T10" fmla="*/ 6065 w 8242"/>
              <a:gd name="T11" fmla="*/ 163 h 8201"/>
              <a:gd name="T12" fmla="*/ 5478 w 8242"/>
              <a:gd name="T13" fmla="*/ 163 h 8201"/>
              <a:gd name="T14" fmla="*/ 4914 w 8242"/>
              <a:gd name="T15" fmla="*/ 2319 h 8201"/>
              <a:gd name="T16" fmla="*/ 2903 w 8242"/>
              <a:gd name="T17" fmla="*/ 2903 h 8201"/>
              <a:gd name="T18" fmla="*/ 2319 w 8242"/>
              <a:gd name="T19" fmla="*/ 4914 h 8201"/>
              <a:gd name="T20" fmla="*/ 163 w 8242"/>
              <a:gd name="T21" fmla="*/ 5478 h 8201"/>
              <a:gd name="T22" fmla="*/ 163 w 8242"/>
              <a:gd name="T23" fmla="*/ 6065 h 8201"/>
              <a:gd name="T24" fmla="*/ 456 w 8242"/>
              <a:gd name="T25" fmla="*/ 6187 h 8201"/>
              <a:gd name="T26" fmla="*/ 749 w 8242"/>
              <a:gd name="T27" fmla="*/ 6065 h 8201"/>
              <a:gd name="T28" fmla="*/ 840 w 8242"/>
              <a:gd name="T29" fmla="*/ 5982 h 8201"/>
              <a:gd name="T30" fmla="*/ 2260 w 8242"/>
              <a:gd name="T31" fmla="*/ 7402 h 8201"/>
              <a:gd name="T32" fmla="*/ 2177 w 8242"/>
              <a:gd name="T33" fmla="*/ 7493 h 8201"/>
              <a:gd name="T34" fmla="*/ 2177 w 8242"/>
              <a:gd name="T35" fmla="*/ 8079 h 8201"/>
              <a:gd name="T36" fmla="*/ 2470 w 8242"/>
              <a:gd name="T37" fmla="*/ 8201 h 8201"/>
              <a:gd name="T38" fmla="*/ 2764 w 8242"/>
              <a:gd name="T39" fmla="*/ 8079 h 8201"/>
              <a:gd name="T40" fmla="*/ 3328 w 8242"/>
              <a:gd name="T41" fmla="*/ 5923 h 8201"/>
              <a:gd name="T42" fmla="*/ 5339 w 8242"/>
              <a:gd name="T43" fmla="*/ 5339 h 8201"/>
              <a:gd name="T44" fmla="*/ 5923 w 8242"/>
              <a:gd name="T45" fmla="*/ 3328 h 8201"/>
              <a:gd name="T46" fmla="*/ 8079 w 8242"/>
              <a:gd name="T47" fmla="*/ 2764 h 8201"/>
              <a:gd name="T48" fmla="*/ 8079 w 8242"/>
              <a:gd name="T49" fmla="*/ 2177 h 8201"/>
              <a:gd name="T50" fmla="*/ 5062 w 8242"/>
              <a:gd name="T51" fmla="*/ 3179 h 8201"/>
              <a:gd name="T52" fmla="*/ 4951 w 8242"/>
              <a:gd name="T53" fmla="*/ 4499 h 8201"/>
              <a:gd name="T54" fmla="*/ 3743 w 8242"/>
              <a:gd name="T55" fmla="*/ 3291 h 8201"/>
              <a:gd name="T56" fmla="*/ 5062 w 8242"/>
              <a:gd name="T57" fmla="*/ 3179 h 8201"/>
              <a:gd name="T58" fmla="*/ 1470 w 8242"/>
              <a:gd name="T59" fmla="*/ 5708 h 8201"/>
              <a:gd name="T60" fmla="*/ 2464 w 8242"/>
              <a:gd name="T61" fmla="*/ 5778 h 8201"/>
              <a:gd name="T62" fmla="*/ 2534 w 8242"/>
              <a:gd name="T63" fmla="*/ 6772 h 8201"/>
              <a:gd name="T64" fmla="*/ 1470 w 8242"/>
              <a:gd name="T65" fmla="*/ 5708 h 8201"/>
              <a:gd name="T66" fmla="*/ 3179 w 8242"/>
              <a:gd name="T67" fmla="*/ 5063 h 8201"/>
              <a:gd name="T68" fmla="*/ 3291 w 8242"/>
              <a:gd name="T69" fmla="*/ 3743 h 8201"/>
              <a:gd name="T70" fmla="*/ 4499 w 8242"/>
              <a:gd name="T71" fmla="*/ 4951 h 8201"/>
              <a:gd name="T72" fmla="*/ 3179 w 8242"/>
              <a:gd name="T73" fmla="*/ 5063 h 8201"/>
              <a:gd name="T74" fmla="*/ 5778 w 8242"/>
              <a:gd name="T75" fmla="*/ 2464 h 8201"/>
              <a:gd name="T76" fmla="*/ 5708 w 8242"/>
              <a:gd name="T77" fmla="*/ 1470 h 8201"/>
              <a:gd name="T78" fmla="*/ 6772 w 8242"/>
              <a:gd name="T79" fmla="*/ 2534 h 8201"/>
              <a:gd name="T80" fmla="*/ 5778 w 8242"/>
              <a:gd name="T81" fmla="*/ 2464 h 8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242" h="8201">
                <a:moveTo>
                  <a:pt x="8079" y="2177"/>
                </a:moveTo>
                <a:cubicBezTo>
                  <a:pt x="7917" y="2015"/>
                  <a:pt x="7655" y="2015"/>
                  <a:pt x="7493" y="2177"/>
                </a:cubicBezTo>
                <a:cubicBezTo>
                  <a:pt x="7463" y="2207"/>
                  <a:pt x="7433" y="2234"/>
                  <a:pt x="7402" y="2260"/>
                </a:cubicBezTo>
                <a:lnTo>
                  <a:pt x="5982" y="840"/>
                </a:lnTo>
                <a:cubicBezTo>
                  <a:pt x="6008" y="809"/>
                  <a:pt x="6035" y="779"/>
                  <a:pt x="6065" y="749"/>
                </a:cubicBezTo>
                <a:cubicBezTo>
                  <a:pt x="6227" y="587"/>
                  <a:pt x="6227" y="325"/>
                  <a:pt x="6065" y="163"/>
                </a:cubicBezTo>
                <a:cubicBezTo>
                  <a:pt x="5903" y="0"/>
                  <a:pt x="5640" y="0"/>
                  <a:pt x="5478" y="163"/>
                </a:cubicBezTo>
                <a:cubicBezTo>
                  <a:pt x="4816" y="825"/>
                  <a:pt x="4808" y="1592"/>
                  <a:pt x="4914" y="2319"/>
                </a:cubicBezTo>
                <a:cubicBezTo>
                  <a:pt x="4231" y="2237"/>
                  <a:pt x="3521" y="2285"/>
                  <a:pt x="2903" y="2903"/>
                </a:cubicBezTo>
                <a:cubicBezTo>
                  <a:pt x="2285" y="3521"/>
                  <a:pt x="2237" y="4231"/>
                  <a:pt x="2319" y="4914"/>
                </a:cubicBezTo>
                <a:cubicBezTo>
                  <a:pt x="1592" y="4808"/>
                  <a:pt x="825" y="4816"/>
                  <a:pt x="163" y="5478"/>
                </a:cubicBezTo>
                <a:cubicBezTo>
                  <a:pt x="0" y="5640"/>
                  <a:pt x="0" y="5903"/>
                  <a:pt x="163" y="6065"/>
                </a:cubicBezTo>
                <a:cubicBezTo>
                  <a:pt x="244" y="6146"/>
                  <a:pt x="350" y="6187"/>
                  <a:pt x="456" y="6187"/>
                </a:cubicBezTo>
                <a:cubicBezTo>
                  <a:pt x="562" y="6187"/>
                  <a:pt x="668" y="6146"/>
                  <a:pt x="749" y="6065"/>
                </a:cubicBezTo>
                <a:cubicBezTo>
                  <a:pt x="779" y="6035"/>
                  <a:pt x="809" y="6008"/>
                  <a:pt x="840" y="5982"/>
                </a:cubicBezTo>
                <a:lnTo>
                  <a:pt x="2260" y="7402"/>
                </a:lnTo>
                <a:cubicBezTo>
                  <a:pt x="2234" y="7433"/>
                  <a:pt x="2207" y="7463"/>
                  <a:pt x="2177" y="7493"/>
                </a:cubicBezTo>
                <a:cubicBezTo>
                  <a:pt x="2015" y="7655"/>
                  <a:pt x="2015" y="7917"/>
                  <a:pt x="2177" y="8079"/>
                </a:cubicBezTo>
                <a:cubicBezTo>
                  <a:pt x="2258" y="8160"/>
                  <a:pt x="2364" y="8201"/>
                  <a:pt x="2470" y="8201"/>
                </a:cubicBezTo>
                <a:cubicBezTo>
                  <a:pt x="2576" y="8201"/>
                  <a:pt x="2683" y="8160"/>
                  <a:pt x="2764" y="8079"/>
                </a:cubicBezTo>
                <a:cubicBezTo>
                  <a:pt x="3426" y="7417"/>
                  <a:pt x="3434" y="6650"/>
                  <a:pt x="3328" y="5923"/>
                </a:cubicBezTo>
                <a:cubicBezTo>
                  <a:pt x="4011" y="6005"/>
                  <a:pt x="4721" y="5957"/>
                  <a:pt x="5339" y="5339"/>
                </a:cubicBezTo>
                <a:cubicBezTo>
                  <a:pt x="5957" y="4721"/>
                  <a:pt x="6005" y="4011"/>
                  <a:pt x="5923" y="3328"/>
                </a:cubicBezTo>
                <a:cubicBezTo>
                  <a:pt x="6650" y="3434"/>
                  <a:pt x="7417" y="3426"/>
                  <a:pt x="8079" y="2764"/>
                </a:cubicBezTo>
                <a:cubicBezTo>
                  <a:pt x="8242" y="2602"/>
                  <a:pt x="8242" y="2339"/>
                  <a:pt x="8079" y="2177"/>
                </a:cubicBezTo>
                <a:close/>
                <a:moveTo>
                  <a:pt x="5062" y="3179"/>
                </a:moveTo>
                <a:cubicBezTo>
                  <a:pt x="5151" y="3727"/>
                  <a:pt x="5166" y="4141"/>
                  <a:pt x="4951" y="4499"/>
                </a:cubicBezTo>
                <a:lnTo>
                  <a:pt x="3743" y="3291"/>
                </a:lnTo>
                <a:cubicBezTo>
                  <a:pt x="4101" y="3076"/>
                  <a:pt x="4515" y="3091"/>
                  <a:pt x="5062" y="3179"/>
                </a:cubicBezTo>
                <a:close/>
                <a:moveTo>
                  <a:pt x="1470" y="5708"/>
                </a:moveTo>
                <a:cubicBezTo>
                  <a:pt x="1753" y="5671"/>
                  <a:pt x="2076" y="5711"/>
                  <a:pt x="2464" y="5778"/>
                </a:cubicBezTo>
                <a:cubicBezTo>
                  <a:pt x="2531" y="6166"/>
                  <a:pt x="2571" y="6489"/>
                  <a:pt x="2534" y="6772"/>
                </a:cubicBezTo>
                <a:lnTo>
                  <a:pt x="1470" y="5708"/>
                </a:lnTo>
                <a:close/>
                <a:moveTo>
                  <a:pt x="3179" y="5063"/>
                </a:moveTo>
                <a:cubicBezTo>
                  <a:pt x="3091" y="4515"/>
                  <a:pt x="3076" y="4101"/>
                  <a:pt x="3291" y="3743"/>
                </a:cubicBezTo>
                <a:lnTo>
                  <a:pt x="4499" y="4951"/>
                </a:lnTo>
                <a:cubicBezTo>
                  <a:pt x="4141" y="5166"/>
                  <a:pt x="3727" y="5151"/>
                  <a:pt x="3179" y="5063"/>
                </a:cubicBezTo>
                <a:close/>
                <a:moveTo>
                  <a:pt x="5778" y="2464"/>
                </a:moveTo>
                <a:cubicBezTo>
                  <a:pt x="5711" y="2076"/>
                  <a:pt x="5671" y="1753"/>
                  <a:pt x="5708" y="1470"/>
                </a:cubicBezTo>
                <a:lnTo>
                  <a:pt x="6772" y="2534"/>
                </a:lnTo>
                <a:cubicBezTo>
                  <a:pt x="6489" y="2571"/>
                  <a:pt x="6166" y="2531"/>
                  <a:pt x="5778" y="2464"/>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user_209046">
            <a:extLst>
              <a:ext uri="{FF2B5EF4-FFF2-40B4-BE49-F238E27FC236}">
                <a16:creationId xmlns:a16="http://schemas.microsoft.com/office/drawing/2014/main" id="{C5C0108E-F87E-42FA-BB3A-6BB37838391B}"/>
              </a:ext>
            </a:extLst>
          </p:cNvPr>
          <p:cNvSpPr/>
          <p:nvPr/>
        </p:nvSpPr>
        <p:spPr>
          <a:xfrm>
            <a:off x="5909806" y="1723163"/>
            <a:ext cx="291060" cy="332678"/>
          </a:xfrm>
          <a:custGeom>
            <a:avLst/>
            <a:gdLst>
              <a:gd name="T0" fmla="*/ 8582 w 9077"/>
              <a:gd name="T1" fmla="*/ 4538 h 10373"/>
              <a:gd name="T2" fmla="*/ 9077 w 9077"/>
              <a:gd name="T3" fmla="*/ 4538 h 10373"/>
              <a:gd name="T4" fmla="*/ 9077 w 9077"/>
              <a:gd name="T5" fmla="*/ 9151 h 10373"/>
              <a:gd name="T6" fmla="*/ 7855 w 9077"/>
              <a:gd name="T7" fmla="*/ 10373 h 10373"/>
              <a:gd name="T8" fmla="*/ 4789 w 9077"/>
              <a:gd name="T9" fmla="*/ 10373 h 10373"/>
              <a:gd name="T10" fmla="*/ 4539 w 9077"/>
              <a:gd name="T11" fmla="*/ 10123 h 10373"/>
              <a:gd name="T12" fmla="*/ 4539 w 9077"/>
              <a:gd name="T13" fmla="*/ 9562 h 10373"/>
              <a:gd name="T14" fmla="*/ 4789 w 9077"/>
              <a:gd name="T15" fmla="*/ 9312 h 10373"/>
              <a:gd name="T16" fmla="*/ 7532 w 9077"/>
              <a:gd name="T17" fmla="*/ 9312 h 10373"/>
              <a:gd name="T18" fmla="*/ 8106 w 9077"/>
              <a:gd name="T19" fmla="*/ 8738 h 10373"/>
              <a:gd name="T20" fmla="*/ 8106 w 9077"/>
              <a:gd name="T21" fmla="*/ 7780 h 10373"/>
              <a:gd name="T22" fmla="*/ 6734 w 9077"/>
              <a:gd name="T23" fmla="*/ 7780 h 10373"/>
              <a:gd name="T24" fmla="*/ 6484 w 9077"/>
              <a:gd name="T25" fmla="*/ 7530 h 10373"/>
              <a:gd name="T26" fmla="*/ 6484 w 9077"/>
              <a:gd name="T27" fmla="*/ 4788 h 10373"/>
              <a:gd name="T28" fmla="*/ 6734 w 9077"/>
              <a:gd name="T29" fmla="*/ 4538 h 10373"/>
              <a:gd name="T30" fmla="*/ 8582 w 9077"/>
              <a:gd name="T31" fmla="*/ 4538 h 10373"/>
              <a:gd name="T32" fmla="*/ 8087 w 9077"/>
              <a:gd name="T33" fmla="*/ 4538 h 10373"/>
              <a:gd name="T34" fmla="*/ 8087 w 9077"/>
              <a:gd name="T35" fmla="*/ 4520 h 10373"/>
              <a:gd name="T36" fmla="*/ 4521 w 9077"/>
              <a:gd name="T37" fmla="*/ 972 h 10373"/>
              <a:gd name="T38" fmla="*/ 955 w 9077"/>
              <a:gd name="T39" fmla="*/ 4520 h 10373"/>
              <a:gd name="T40" fmla="*/ 955 w 9077"/>
              <a:gd name="T41" fmla="*/ 4538 h 10373"/>
              <a:gd name="T42" fmla="*/ 0 w 9077"/>
              <a:gd name="T43" fmla="*/ 4538 h 10373"/>
              <a:gd name="T44" fmla="*/ 0 w 9077"/>
              <a:gd name="T45" fmla="*/ 6558 h 10373"/>
              <a:gd name="T46" fmla="*/ 1222 w 9077"/>
              <a:gd name="T47" fmla="*/ 7781 h 10373"/>
              <a:gd name="T48" fmla="*/ 2343 w 9077"/>
              <a:gd name="T49" fmla="*/ 7781 h 10373"/>
              <a:gd name="T50" fmla="*/ 2593 w 9077"/>
              <a:gd name="T51" fmla="*/ 7531 h 10373"/>
              <a:gd name="T52" fmla="*/ 2593 w 9077"/>
              <a:gd name="T53" fmla="*/ 4788 h 10373"/>
              <a:gd name="T54" fmla="*/ 2343 w 9077"/>
              <a:gd name="T55" fmla="*/ 4538 h 10373"/>
              <a:gd name="T56" fmla="*/ 0 w 9077"/>
              <a:gd name="T57" fmla="*/ 4538 h 10373"/>
              <a:gd name="T58" fmla="*/ 0 w 9077"/>
              <a:gd name="T59" fmla="*/ 4516 h 10373"/>
              <a:gd name="T60" fmla="*/ 4539 w 9077"/>
              <a:gd name="T61" fmla="*/ 0 h 10373"/>
              <a:gd name="T62" fmla="*/ 9077 w 9077"/>
              <a:gd name="T63" fmla="*/ 4516 h 10373"/>
              <a:gd name="T64" fmla="*/ 9077 w 9077"/>
              <a:gd name="T65" fmla="*/ 4538 h 10373"/>
              <a:gd name="T66" fmla="*/ 8582 w 9077"/>
              <a:gd name="T67" fmla="*/ 4538 h 10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077" h="10373">
                <a:moveTo>
                  <a:pt x="8582" y="4538"/>
                </a:moveTo>
                <a:lnTo>
                  <a:pt x="9077" y="4538"/>
                </a:lnTo>
                <a:lnTo>
                  <a:pt x="9077" y="9151"/>
                </a:lnTo>
                <a:cubicBezTo>
                  <a:pt x="9077" y="9826"/>
                  <a:pt x="8530" y="10373"/>
                  <a:pt x="7855" y="10373"/>
                </a:cubicBezTo>
                <a:lnTo>
                  <a:pt x="4789" y="10373"/>
                </a:lnTo>
                <a:cubicBezTo>
                  <a:pt x="4651" y="10373"/>
                  <a:pt x="4539" y="10261"/>
                  <a:pt x="4539" y="10123"/>
                </a:cubicBezTo>
                <a:lnTo>
                  <a:pt x="4539" y="9562"/>
                </a:lnTo>
                <a:cubicBezTo>
                  <a:pt x="4539" y="9425"/>
                  <a:pt x="4651" y="9312"/>
                  <a:pt x="4789" y="9312"/>
                </a:cubicBezTo>
                <a:lnTo>
                  <a:pt x="7532" y="9312"/>
                </a:lnTo>
                <a:cubicBezTo>
                  <a:pt x="7850" y="9312"/>
                  <a:pt x="8106" y="9055"/>
                  <a:pt x="8106" y="8738"/>
                </a:cubicBezTo>
                <a:lnTo>
                  <a:pt x="8106" y="7780"/>
                </a:lnTo>
                <a:lnTo>
                  <a:pt x="6734" y="7780"/>
                </a:lnTo>
                <a:cubicBezTo>
                  <a:pt x="6596" y="7780"/>
                  <a:pt x="6484" y="7667"/>
                  <a:pt x="6484" y="7530"/>
                </a:cubicBezTo>
                <a:lnTo>
                  <a:pt x="6484" y="4788"/>
                </a:lnTo>
                <a:cubicBezTo>
                  <a:pt x="6484" y="4651"/>
                  <a:pt x="6596" y="4538"/>
                  <a:pt x="6734" y="4538"/>
                </a:cubicBezTo>
                <a:lnTo>
                  <a:pt x="8582" y="4538"/>
                </a:lnTo>
                <a:lnTo>
                  <a:pt x="8087" y="4538"/>
                </a:lnTo>
                <a:lnTo>
                  <a:pt x="8087" y="4520"/>
                </a:lnTo>
                <a:cubicBezTo>
                  <a:pt x="8087" y="2560"/>
                  <a:pt x="6491" y="972"/>
                  <a:pt x="4521" y="972"/>
                </a:cubicBezTo>
                <a:cubicBezTo>
                  <a:pt x="2552" y="972"/>
                  <a:pt x="955" y="2561"/>
                  <a:pt x="955" y="4520"/>
                </a:cubicBezTo>
                <a:lnTo>
                  <a:pt x="955" y="4538"/>
                </a:lnTo>
                <a:lnTo>
                  <a:pt x="0" y="4538"/>
                </a:lnTo>
                <a:lnTo>
                  <a:pt x="0" y="6558"/>
                </a:lnTo>
                <a:cubicBezTo>
                  <a:pt x="0" y="7233"/>
                  <a:pt x="547" y="7781"/>
                  <a:pt x="1222" y="7781"/>
                </a:cubicBezTo>
                <a:lnTo>
                  <a:pt x="2343" y="7781"/>
                </a:lnTo>
                <a:cubicBezTo>
                  <a:pt x="2481" y="7781"/>
                  <a:pt x="2593" y="7668"/>
                  <a:pt x="2593" y="7531"/>
                </a:cubicBezTo>
                <a:lnTo>
                  <a:pt x="2593" y="4788"/>
                </a:lnTo>
                <a:cubicBezTo>
                  <a:pt x="2593" y="4651"/>
                  <a:pt x="2481" y="4538"/>
                  <a:pt x="2343" y="4538"/>
                </a:cubicBezTo>
                <a:lnTo>
                  <a:pt x="0" y="4538"/>
                </a:lnTo>
                <a:lnTo>
                  <a:pt x="0" y="4516"/>
                </a:lnTo>
                <a:cubicBezTo>
                  <a:pt x="0" y="2022"/>
                  <a:pt x="2032" y="0"/>
                  <a:pt x="4539" y="0"/>
                </a:cubicBezTo>
                <a:cubicBezTo>
                  <a:pt x="7045" y="0"/>
                  <a:pt x="9077" y="2021"/>
                  <a:pt x="9077" y="4516"/>
                </a:cubicBezTo>
                <a:lnTo>
                  <a:pt x="9077" y="4538"/>
                </a:lnTo>
                <a:lnTo>
                  <a:pt x="8582" y="4538"/>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sp>
        <p:nvSpPr>
          <p:cNvPr id="23" name="user_209046">
            <a:extLst>
              <a:ext uri="{FF2B5EF4-FFF2-40B4-BE49-F238E27FC236}">
                <a16:creationId xmlns:a16="http://schemas.microsoft.com/office/drawing/2014/main" id="{C413C13A-0D42-4D49-994C-FE0D8523C7DF}"/>
              </a:ext>
            </a:extLst>
          </p:cNvPr>
          <p:cNvSpPr/>
          <p:nvPr/>
        </p:nvSpPr>
        <p:spPr>
          <a:xfrm>
            <a:off x="4161041" y="3121277"/>
            <a:ext cx="235710" cy="290282"/>
          </a:xfrm>
          <a:custGeom>
            <a:avLst/>
            <a:gdLst>
              <a:gd name="T0" fmla="*/ 7781 w 8430"/>
              <a:gd name="T1" fmla="*/ 7127 h 10381"/>
              <a:gd name="T2" fmla="*/ 7559 w 8430"/>
              <a:gd name="T3" fmla="*/ 7127 h 10381"/>
              <a:gd name="T4" fmla="*/ 7559 w 8430"/>
              <a:gd name="T5" fmla="*/ 6663 h 10381"/>
              <a:gd name="T6" fmla="*/ 6498 w 8430"/>
              <a:gd name="T7" fmla="*/ 5838 h 10381"/>
              <a:gd name="T8" fmla="*/ 6485 w 8430"/>
              <a:gd name="T9" fmla="*/ 5838 h 10381"/>
              <a:gd name="T10" fmla="*/ 6485 w 8430"/>
              <a:gd name="T11" fmla="*/ 5189 h 10381"/>
              <a:gd name="T12" fmla="*/ 1298 w 8430"/>
              <a:gd name="T13" fmla="*/ 5189 h 10381"/>
              <a:gd name="T14" fmla="*/ 1298 w 8430"/>
              <a:gd name="T15" fmla="*/ 6486 h 10381"/>
              <a:gd name="T16" fmla="*/ 5409 w 8430"/>
              <a:gd name="T17" fmla="*/ 6486 h 10381"/>
              <a:gd name="T18" fmla="*/ 5409 w 8430"/>
              <a:gd name="T19" fmla="*/ 7134 h 10381"/>
              <a:gd name="T20" fmla="*/ 1296 w 8430"/>
              <a:gd name="T21" fmla="*/ 7134 h 10381"/>
              <a:gd name="T22" fmla="*/ 1296 w 8430"/>
              <a:gd name="T23" fmla="*/ 8432 h 10381"/>
              <a:gd name="T24" fmla="*/ 3890 w 8430"/>
              <a:gd name="T25" fmla="*/ 8432 h 10381"/>
              <a:gd name="T26" fmla="*/ 3890 w 8430"/>
              <a:gd name="T27" fmla="*/ 8442 h 10381"/>
              <a:gd name="T28" fmla="*/ 4533 w 8430"/>
              <a:gd name="T29" fmla="*/ 9280 h 10381"/>
              <a:gd name="T30" fmla="*/ 5408 w 8430"/>
              <a:gd name="T31" fmla="*/ 9280 h 10381"/>
              <a:gd name="T32" fmla="*/ 5408 w 8430"/>
              <a:gd name="T33" fmla="*/ 10377 h 10381"/>
              <a:gd name="T34" fmla="*/ 649 w 8430"/>
              <a:gd name="T35" fmla="*/ 10377 h 10381"/>
              <a:gd name="T36" fmla="*/ 0 w 8430"/>
              <a:gd name="T37" fmla="*/ 9728 h 10381"/>
              <a:gd name="T38" fmla="*/ 0 w 8430"/>
              <a:gd name="T39" fmla="*/ 3251 h 10381"/>
              <a:gd name="T40" fmla="*/ 3241 w 8430"/>
              <a:gd name="T41" fmla="*/ 3251 h 10381"/>
              <a:gd name="T42" fmla="*/ 3241 w 8430"/>
              <a:gd name="T43" fmla="*/ 3243 h 10381"/>
              <a:gd name="T44" fmla="*/ 3243 w 8430"/>
              <a:gd name="T45" fmla="*/ 3243 h 10381"/>
              <a:gd name="T46" fmla="*/ 3243 w 8430"/>
              <a:gd name="T47" fmla="*/ 1 h 10381"/>
              <a:gd name="T48" fmla="*/ 7134 w 8430"/>
              <a:gd name="T49" fmla="*/ 1 h 10381"/>
              <a:gd name="T50" fmla="*/ 7783 w 8430"/>
              <a:gd name="T51" fmla="*/ 649 h 10381"/>
              <a:gd name="T52" fmla="*/ 7783 w 8430"/>
              <a:gd name="T53" fmla="*/ 7127 h 10381"/>
              <a:gd name="T54" fmla="*/ 7781 w 8430"/>
              <a:gd name="T55" fmla="*/ 7127 h 10381"/>
              <a:gd name="T56" fmla="*/ 2594 w 8430"/>
              <a:gd name="T57" fmla="*/ 0 h 10381"/>
              <a:gd name="T58" fmla="*/ 2594 w 8430"/>
              <a:gd name="T59" fmla="*/ 2594 h 10381"/>
              <a:gd name="T60" fmla="*/ 0 w 8430"/>
              <a:gd name="T61" fmla="*/ 2594 h 10381"/>
              <a:gd name="T62" fmla="*/ 2594 w 8430"/>
              <a:gd name="T63" fmla="*/ 0 h 10381"/>
              <a:gd name="T64" fmla="*/ 7954 w 8430"/>
              <a:gd name="T65" fmla="*/ 7947 h 10381"/>
              <a:gd name="T66" fmla="*/ 8430 w 8430"/>
              <a:gd name="T67" fmla="*/ 8424 h 10381"/>
              <a:gd name="T68" fmla="*/ 8430 w 8430"/>
              <a:gd name="T69" fmla="*/ 8444 h 10381"/>
              <a:gd name="T70" fmla="*/ 7954 w 8430"/>
              <a:gd name="T71" fmla="*/ 8922 h 10381"/>
              <a:gd name="T72" fmla="*/ 6971 w 8430"/>
              <a:gd name="T73" fmla="*/ 8922 h 10381"/>
              <a:gd name="T74" fmla="*/ 6971 w 8430"/>
              <a:gd name="T75" fmla="*/ 9901 h 10381"/>
              <a:gd name="T76" fmla="*/ 6495 w 8430"/>
              <a:gd name="T77" fmla="*/ 10378 h 10381"/>
              <a:gd name="T78" fmla="*/ 6480 w 8430"/>
              <a:gd name="T79" fmla="*/ 10378 h 10381"/>
              <a:gd name="T80" fmla="*/ 5999 w 8430"/>
              <a:gd name="T81" fmla="*/ 9907 h 10381"/>
              <a:gd name="T82" fmla="*/ 5999 w 8430"/>
              <a:gd name="T83" fmla="*/ 8922 h 10381"/>
              <a:gd name="T84" fmla="*/ 5021 w 8430"/>
              <a:gd name="T85" fmla="*/ 8922 h 10381"/>
              <a:gd name="T86" fmla="*/ 4540 w 8430"/>
              <a:gd name="T87" fmla="*/ 8443 h 10381"/>
              <a:gd name="T88" fmla="*/ 4540 w 8430"/>
              <a:gd name="T89" fmla="*/ 8427 h 10381"/>
              <a:gd name="T90" fmla="*/ 5021 w 8430"/>
              <a:gd name="T91" fmla="*/ 7949 h 10381"/>
              <a:gd name="T92" fmla="*/ 5999 w 8430"/>
              <a:gd name="T93" fmla="*/ 7949 h 10381"/>
              <a:gd name="T94" fmla="*/ 5999 w 8430"/>
              <a:gd name="T95" fmla="*/ 6966 h 10381"/>
              <a:gd name="T96" fmla="*/ 6480 w 8430"/>
              <a:gd name="T97" fmla="*/ 6488 h 10381"/>
              <a:gd name="T98" fmla="*/ 6495 w 8430"/>
              <a:gd name="T99" fmla="*/ 6488 h 10381"/>
              <a:gd name="T100" fmla="*/ 6971 w 8430"/>
              <a:gd name="T101" fmla="*/ 6966 h 10381"/>
              <a:gd name="T102" fmla="*/ 6971 w 8430"/>
              <a:gd name="T103" fmla="*/ 7948 h 10381"/>
              <a:gd name="T104" fmla="*/ 7954 w 8430"/>
              <a:gd name="T105" fmla="*/ 7947 h 103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430" h="10381">
                <a:moveTo>
                  <a:pt x="7781" y="7127"/>
                </a:moveTo>
                <a:lnTo>
                  <a:pt x="7559" y="7127"/>
                </a:lnTo>
                <a:lnTo>
                  <a:pt x="7559" y="6663"/>
                </a:lnTo>
                <a:cubicBezTo>
                  <a:pt x="7559" y="6132"/>
                  <a:pt x="7019" y="5838"/>
                  <a:pt x="6498" y="5838"/>
                </a:cubicBezTo>
                <a:lnTo>
                  <a:pt x="6485" y="5838"/>
                </a:lnTo>
                <a:lnTo>
                  <a:pt x="6485" y="5189"/>
                </a:lnTo>
                <a:lnTo>
                  <a:pt x="1298" y="5189"/>
                </a:lnTo>
                <a:lnTo>
                  <a:pt x="1298" y="6486"/>
                </a:lnTo>
                <a:lnTo>
                  <a:pt x="5409" y="6486"/>
                </a:lnTo>
                <a:lnTo>
                  <a:pt x="5409" y="7134"/>
                </a:lnTo>
                <a:lnTo>
                  <a:pt x="1296" y="7134"/>
                </a:lnTo>
                <a:lnTo>
                  <a:pt x="1296" y="8432"/>
                </a:lnTo>
                <a:lnTo>
                  <a:pt x="3890" y="8432"/>
                </a:lnTo>
                <a:lnTo>
                  <a:pt x="3890" y="8442"/>
                </a:lnTo>
                <a:cubicBezTo>
                  <a:pt x="3890" y="8798"/>
                  <a:pt x="4175" y="9280"/>
                  <a:pt x="4533" y="9280"/>
                </a:cubicBezTo>
                <a:lnTo>
                  <a:pt x="5408" y="9280"/>
                </a:lnTo>
                <a:lnTo>
                  <a:pt x="5408" y="10377"/>
                </a:lnTo>
                <a:lnTo>
                  <a:pt x="649" y="10377"/>
                </a:lnTo>
                <a:cubicBezTo>
                  <a:pt x="290" y="10377"/>
                  <a:pt x="0" y="10087"/>
                  <a:pt x="0" y="9728"/>
                </a:cubicBezTo>
                <a:lnTo>
                  <a:pt x="0" y="3251"/>
                </a:lnTo>
                <a:lnTo>
                  <a:pt x="3241" y="3251"/>
                </a:lnTo>
                <a:lnTo>
                  <a:pt x="3241" y="3243"/>
                </a:lnTo>
                <a:lnTo>
                  <a:pt x="3243" y="3243"/>
                </a:lnTo>
                <a:lnTo>
                  <a:pt x="3243" y="1"/>
                </a:lnTo>
                <a:lnTo>
                  <a:pt x="7134" y="1"/>
                </a:lnTo>
                <a:cubicBezTo>
                  <a:pt x="7493" y="1"/>
                  <a:pt x="7783" y="291"/>
                  <a:pt x="7783" y="649"/>
                </a:cubicBezTo>
                <a:lnTo>
                  <a:pt x="7783" y="7127"/>
                </a:lnTo>
                <a:lnTo>
                  <a:pt x="7781" y="7127"/>
                </a:lnTo>
                <a:close/>
                <a:moveTo>
                  <a:pt x="2594" y="0"/>
                </a:moveTo>
                <a:lnTo>
                  <a:pt x="2594" y="2594"/>
                </a:lnTo>
                <a:lnTo>
                  <a:pt x="0" y="2594"/>
                </a:lnTo>
                <a:lnTo>
                  <a:pt x="2594" y="0"/>
                </a:lnTo>
                <a:close/>
                <a:moveTo>
                  <a:pt x="7954" y="7947"/>
                </a:moveTo>
                <a:cubicBezTo>
                  <a:pt x="8216" y="7947"/>
                  <a:pt x="8430" y="8161"/>
                  <a:pt x="8430" y="8424"/>
                </a:cubicBezTo>
                <a:lnTo>
                  <a:pt x="8430" y="8444"/>
                </a:lnTo>
                <a:cubicBezTo>
                  <a:pt x="8430" y="8707"/>
                  <a:pt x="8216" y="8922"/>
                  <a:pt x="7954" y="8922"/>
                </a:cubicBezTo>
                <a:lnTo>
                  <a:pt x="6971" y="8922"/>
                </a:lnTo>
                <a:lnTo>
                  <a:pt x="6971" y="9901"/>
                </a:lnTo>
                <a:cubicBezTo>
                  <a:pt x="6971" y="10163"/>
                  <a:pt x="6757" y="10378"/>
                  <a:pt x="6495" y="10378"/>
                </a:cubicBezTo>
                <a:lnTo>
                  <a:pt x="6480" y="10378"/>
                </a:lnTo>
                <a:cubicBezTo>
                  <a:pt x="6217" y="10381"/>
                  <a:pt x="6001" y="10171"/>
                  <a:pt x="5999" y="9907"/>
                </a:cubicBezTo>
                <a:lnTo>
                  <a:pt x="5999" y="8922"/>
                </a:lnTo>
                <a:lnTo>
                  <a:pt x="5021" y="8922"/>
                </a:lnTo>
                <a:cubicBezTo>
                  <a:pt x="4756" y="8923"/>
                  <a:pt x="4541" y="8708"/>
                  <a:pt x="4540" y="8443"/>
                </a:cubicBezTo>
                <a:lnTo>
                  <a:pt x="4540" y="8427"/>
                </a:lnTo>
                <a:cubicBezTo>
                  <a:pt x="4544" y="8163"/>
                  <a:pt x="4757" y="7952"/>
                  <a:pt x="5021" y="7949"/>
                </a:cubicBezTo>
                <a:lnTo>
                  <a:pt x="5999" y="7949"/>
                </a:lnTo>
                <a:lnTo>
                  <a:pt x="5999" y="6966"/>
                </a:lnTo>
                <a:cubicBezTo>
                  <a:pt x="5999" y="6702"/>
                  <a:pt x="6212" y="6488"/>
                  <a:pt x="6480" y="6488"/>
                </a:cubicBezTo>
                <a:lnTo>
                  <a:pt x="6495" y="6488"/>
                </a:lnTo>
                <a:cubicBezTo>
                  <a:pt x="6757" y="6488"/>
                  <a:pt x="6971" y="6702"/>
                  <a:pt x="6971" y="6966"/>
                </a:cubicBezTo>
                <a:lnTo>
                  <a:pt x="6971" y="7948"/>
                </a:lnTo>
                <a:lnTo>
                  <a:pt x="7954" y="7947"/>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sp>
        <p:nvSpPr>
          <p:cNvPr id="24" name="user_209046">
            <a:extLst>
              <a:ext uri="{FF2B5EF4-FFF2-40B4-BE49-F238E27FC236}">
                <a16:creationId xmlns:a16="http://schemas.microsoft.com/office/drawing/2014/main" id="{22A300C1-927B-46FB-B92B-7616D7D67510}"/>
              </a:ext>
            </a:extLst>
          </p:cNvPr>
          <p:cNvSpPr/>
          <p:nvPr/>
        </p:nvSpPr>
        <p:spPr>
          <a:xfrm>
            <a:off x="7776008" y="3136585"/>
            <a:ext cx="287956" cy="259666"/>
          </a:xfrm>
          <a:custGeom>
            <a:avLst/>
            <a:gdLst>
              <a:gd name="connsiteX0" fmla="*/ 521432 w 608344"/>
              <a:gd name="connsiteY0" fmla="*/ 370453 h 548582"/>
              <a:gd name="connsiteX1" fmla="*/ 465737 w 608344"/>
              <a:gd name="connsiteY1" fmla="*/ 425787 h 548582"/>
              <a:gd name="connsiteX2" fmla="*/ 442491 w 608344"/>
              <a:gd name="connsiteY2" fmla="*/ 402479 h 548582"/>
              <a:gd name="connsiteX3" fmla="*/ 418201 w 608344"/>
              <a:gd name="connsiteY3" fmla="*/ 426545 h 548582"/>
              <a:gd name="connsiteX4" fmla="*/ 441447 w 608344"/>
              <a:gd name="connsiteY4" fmla="*/ 449948 h 548582"/>
              <a:gd name="connsiteX5" fmla="*/ 465642 w 608344"/>
              <a:gd name="connsiteY5" fmla="*/ 474204 h 548582"/>
              <a:gd name="connsiteX6" fmla="*/ 489932 w 608344"/>
              <a:gd name="connsiteY6" fmla="*/ 450043 h 548582"/>
              <a:gd name="connsiteX7" fmla="*/ 545532 w 608344"/>
              <a:gd name="connsiteY7" fmla="*/ 394709 h 548582"/>
              <a:gd name="connsiteX8" fmla="*/ 481962 w 608344"/>
              <a:gd name="connsiteY8" fmla="*/ 296170 h 548582"/>
              <a:gd name="connsiteX9" fmla="*/ 608344 w 608344"/>
              <a:gd name="connsiteY9" fmla="*/ 422376 h 548582"/>
              <a:gd name="connsiteX10" fmla="*/ 481962 w 608344"/>
              <a:gd name="connsiteY10" fmla="*/ 548582 h 548582"/>
              <a:gd name="connsiteX11" fmla="*/ 355579 w 608344"/>
              <a:gd name="connsiteY11" fmla="*/ 422376 h 548582"/>
              <a:gd name="connsiteX12" fmla="*/ 481962 w 608344"/>
              <a:gd name="connsiteY12" fmla="*/ 296170 h 548582"/>
              <a:gd name="connsiteX13" fmla="*/ 255835 w 608344"/>
              <a:gd name="connsiteY13" fmla="*/ 446 h 548582"/>
              <a:gd name="connsiteX14" fmla="*/ 317801 w 608344"/>
              <a:gd name="connsiteY14" fmla="*/ 13616 h 548582"/>
              <a:gd name="connsiteX15" fmla="*/ 348072 w 608344"/>
              <a:gd name="connsiteY15" fmla="*/ 41661 h 548582"/>
              <a:gd name="connsiteX16" fmla="*/ 381190 w 608344"/>
              <a:gd name="connsiteY16" fmla="*/ 146831 h 548582"/>
              <a:gd name="connsiteX17" fmla="*/ 378913 w 608344"/>
              <a:gd name="connsiteY17" fmla="*/ 156211 h 548582"/>
              <a:gd name="connsiteX18" fmla="*/ 387833 w 608344"/>
              <a:gd name="connsiteY18" fmla="*/ 200458 h 548582"/>
              <a:gd name="connsiteX19" fmla="*/ 366387 w 608344"/>
              <a:gd name="connsiteY19" fmla="*/ 237694 h 548582"/>
              <a:gd name="connsiteX20" fmla="*/ 351393 w 608344"/>
              <a:gd name="connsiteY20" fmla="*/ 278720 h 548582"/>
              <a:gd name="connsiteX21" fmla="*/ 351393 w 608344"/>
              <a:gd name="connsiteY21" fmla="*/ 322873 h 548582"/>
              <a:gd name="connsiteX22" fmla="*/ 317611 w 608344"/>
              <a:gd name="connsiteY22" fmla="*/ 422358 h 548582"/>
              <a:gd name="connsiteX23" fmla="*/ 376635 w 608344"/>
              <a:gd name="connsiteY23" fmla="*/ 548088 h 548582"/>
              <a:gd name="connsiteX24" fmla="*/ 26855 w 608344"/>
              <a:gd name="connsiteY24" fmla="*/ 548088 h 548582"/>
              <a:gd name="connsiteX25" fmla="*/ 0 w 608344"/>
              <a:gd name="connsiteY25" fmla="*/ 521274 h 548582"/>
              <a:gd name="connsiteX26" fmla="*/ 0 w 608344"/>
              <a:gd name="connsiteY26" fmla="*/ 473806 h 548582"/>
              <a:gd name="connsiteX27" fmla="*/ 19453 w 608344"/>
              <a:gd name="connsiteY27" fmla="*/ 432969 h 548582"/>
              <a:gd name="connsiteX28" fmla="*/ 173751 w 608344"/>
              <a:gd name="connsiteY28" fmla="*/ 334242 h 548582"/>
              <a:gd name="connsiteX29" fmla="*/ 176408 w 608344"/>
              <a:gd name="connsiteY29" fmla="*/ 329884 h 548582"/>
              <a:gd name="connsiteX30" fmla="*/ 176408 w 608344"/>
              <a:gd name="connsiteY30" fmla="*/ 278720 h 548582"/>
              <a:gd name="connsiteX31" fmla="*/ 161320 w 608344"/>
              <a:gd name="connsiteY31" fmla="*/ 237694 h 548582"/>
              <a:gd name="connsiteX32" fmla="*/ 139969 w 608344"/>
              <a:gd name="connsiteY32" fmla="*/ 200458 h 548582"/>
              <a:gd name="connsiteX33" fmla="*/ 148320 w 608344"/>
              <a:gd name="connsiteY33" fmla="*/ 156211 h 548582"/>
              <a:gd name="connsiteX34" fmla="*/ 146042 w 608344"/>
              <a:gd name="connsiteY34" fmla="*/ 146736 h 548582"/>
              <a:gd name="connsiteX35" fmla="*/ 145758 w 608344"/>
              <a:gd name="connsiteY35" fmla="*/ 95099 h 548582"/>
              <a:gd name="connsiteX36" fmla="*/ 176029 w 608344"/>
              <a:gd name="connsiteY36" fmla="*/ 42135 h 548582"/>
              <a:gd name="connsiteX37" fmla="*/ 203928 w 608344"/>
              <a:gd name="connsiteY37" fmla="*/ 19017 h 548582"/>
              <a:gd name="connsiteX38" fmla="*/ 231162 w 608344"/>
              <a:gd name="connsiteY38" fmla="*/ 5089 h 548582"/>
              <a:gd name="connsiteX39" fmla="*/ 255835 w 608344"/>
              <a:gd name="connsiteY39" fmla="*/ 446 h 548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608344" h="548582">
                <a:moveTo>
                  <a:pt x="521432" y="370453"/>
                </a:moveTo>
                <a:lnTo>
                  <a:pt x="465737" y="425787"/>
                </a:lnTo>
                <a:lnTo>
                  <a:pt x="442491" y="402479"/>
                </a:lnTo>
                <a:lnTo>
                  <a:pt x="418201" y="426545"/>
                </a:lnTo>
                <a:lnTo>
                  <a:pt x="441447" y="449948"/>
                </a:lnTo>
                <a:lnTo>
                  <a:pt x="465642" y="474204"/>
                </a:lnTo>
                <a:lnTo>
                  <a:pt x="489932" y="450043"/>
                </a:lnTo>
                <a:lnTo>
                  <a:pt x="545532" y="394709"/>
                </a:lnTo>
                <a:close/>
                <a:moveTo>
                  <a:pt x="481962" y="296170"/>
                </a:moveTo>
                <a:cubicBezTo>
                  <a:pt x="551795" y="296170"/>
                  <a:pt x="608344" y="352641"/>
                  <a:pt x="608344" y="422376"/>
                </a:cubicBezTo>
                <a:cubicBezTo>
                  <a:pt x="608344" y="492111"/>
                  <a:pt x="551795" y="548582"/>
                  <a:pt x="481962" y="548582"/>
                </a:cubicBezTo>
                <a:cubicBezTo>
                  <a:pt x="412129" y="548582"/>
                  <a:pt x="355579" y="492111"/>
                  <a:pt x="355579" y="422376"/>
                </a:cubicBezTo>
                <a:cubicBezTo>
                  <a:pt x="355579" y="352641"/>
                  <a:pt x="412129" y="296170"/>
                  <a:pt x="481962" y="296170"/>
                </a:cubicBezTo>
                <a:close/>
                <a:moveTo>
                  <a:pt x="255835" y="446"/>
                </a:moveTo>
                <a:cubicBezTo>
                  <a:pt x="282785" y="-1828"/>
                  <a:pt x="303187" y="4899"/>
                  <a:pt x="317801" y="13616"/>
                </a:cubicBezTo>
                <a:cubicBezTo>
                  <a:pt x="339721" y="25744"/>
                  <a:pt x="348072" y="41661"/>
                  <a:pt x="348072" y="41661"/>
                </a:cubicBezTo>
                <a:cubicBezTo>
                  <a:pt x="348072" y="41661"/>
                  <a:pt x="398176" y="45167"/>
                  <a:pt x="381190" y="146831"/>
                </a:cubicBezTo>
                <a:cubicBezTo>
                  <a:pt x="380621" y="149863"/>
                  <a:pt x="379862" y="153085"/>
                  <a:pt x="378913" y="156211"/>
                </a:cubicBezTo>
                <a:cubicBezTo>
                  <a:pt x="388592" y="156211"/>
                  <a:pt x="398271" y="163507"/>
                  <a:pt x="387833" y="200458"/>
                </a:cubicBezTo>
                <a:cubicBezTo>
                  <a:pt x="379672" y="229262"/>
                  <a:pt x="372080" y="237221"/>
                  <a:pt x="366387" y="237694"/>
                </a:cubicBezTo>
                <a:cubicBezTo>
                  <a:pt x="364394" y="250675"/>
                  <a:pt x="359175" y="265076"/>
                  <a:pt x="351393" y="278720"/>
                </a:cubicBezTo>
                <a:lnTo>
                  <a:pt x="351393" y="322873"/>
                </a:lnTo>
                <a:cubicBezTo>
                  <a:pt x="330232" y="350539"/>
                  <a:pt x="317611" y="385027"/>
                  <a:pt x="317611" y="422358"/>
                </a:cubicBezTo>
                <a:cubicBezTo>
                  <a:pt x="317611" y="472764"/>
                  <a:pt x="340480" y="518053"/>
                  <a:pt x="376635" y="548088"/>
                </a:cubicBezTo>
                <a:lnTo>
                  <a:pt x="26855" y="548088"/>
                </a:lnTo>
                <a:cubicBezTo>
                  <a:pt x="12052" y="548088"/>
                  <a:pt x="0" y="536055"/>
                  <a:pt x="0" y="521274"/>
                </a:cubicBezTo>
                <a:lnTo>
                  <a:pt x="0" y="473806"/>
                </a:lnTo>
                <a:cubicBezTo>
                  <a:pt x="0" y="457983"/>
                  <a:pt x="7212" y="443013"/>
                  <a:pt x="19453" y="432969"/>
                </a:cubicBezTo>
                <a:cubicBezTo>
                  <a:pt x="86638" y="377921"/>
                  <a:pt x="159043" y="341443"/>
                  <a:pt x="173751" y="334242"/>
                </a:cubicBezTo>
                <a:cubicBezTo>
                  <a:pt x="175365" y="333484"/>
                  <a:pt x="176408" y="331779"/>
                  <a:pt x="176408" y="329884"/>
                </a:cubicBezTo>
                <a:lnTo>
                  <a:pt x="176408" y="278720"/>
                </a:lnTo>
                <a:cubicBezTo>
                  <a:pt x="168437" y="265076"/>
                  <a:pt x="163313" y="250675"/>
                  <a:pt x="161320" y="237694"/>
                </a:cubicBezTo>
                <a:cubicBezTo>
                  <a:pt x="155627" y="237221"/>
                  <a:pt x="148035" y="229072"/>
                  <a:pt x="139969" y="200458"/>
                </a:cubicBezTo>
                <a:cubicBezTo>
                  <a:pt x="129531" y="164170"/>
                  <a:pt x="138925" y="156496"/>
                  <a:pt x="148320" y="156211"/>
                </a:cubicBezTo>
                <a:cubicBezTo>
                  <a:pt x="147371" y="153085"/>
                  <a:pt x="146612" y="149863"/>
                  <a:pt x="146042" y="146736"/>
                </a:cubicBezTo>
                <a:cubicBezTo>
                  <a:pt x="142436" y="128450"/>
                  <a:pt x="141487" y="111396"/>
                  <a:pt x="145758" y="95099"/>
                </a:cubicBezTo>
                <a:cubicBezTo>
                  <a:pt x="150787" y="73212"/>
                  <a:pt x="162744" y="55684"/>
                  <a:pt x="176029" y="42135"/>
                </a:cubicBezTo>
                <a:cubicBezTo>
                  <a:pt x="184379" y="33134"/>
                  <a:pt x="193869" y="25459"/>
                  <a:pt x="203928" y="19017"/>
                </a:cubicBezTo>
                <a:cubicBezTo>
                  <a:pt x="212183" y="13332"/>
                  <a:pt x="221293" y="8405"/>
                  <a:pt x="231162" y="5089"/>
                </a:cubicBezTo>
                <a:cubicBezTo>
                  <a:pt x="238849" y="2625"/>
                  <a:pt x="247105" y="825"/>
                  <a:pt x="255835" y="446"/>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文本框 24">
            <a:extLst>
              <a:ext uri="{FF2B5EF4-FFF2-40B4-BE49-F238E27FC236}">
                <a16:creationId xmlns:a16="http://schemas.microsoft.com/office/drawing/2014/main" id="{2FAFAD6F-D67C-4557-BDD2-D1091E46AF8A}"/>
              </a:ext>
            </a:extLst>
          </p:cNvPr>
          <p:cNvSpPr txBox="1"/>
          <p:nvPr/>
        </p:nvSpPr>
        <p:spPr>
          <a:xfrm>
            <a:off x="5137887" y="647670"/>
            <a:ext cx="1834898" cy="464807"/>
          </a:xfrm>
          <a:prstGeom prst="rect">
            <a:avLst/>
          </a:prstGeom>
          <a:noFill/>
        </p:spPr>
        <p:txBody>
          <a:bodyPr wrap="square" lIns="0" tIns="0" rIns="0" bIns="0" rtlCol="0" anchor="t">
            <a:spAutoFit/>
          </a:bodyPr>
          <a:lstStyle/>
          <a:p>
            <a:pPr algn="ctr">
              <a:lnSpc>
                <a:spcPct val="130000"/>
              </a:lnSpc>
            </a:pPr>
            <a:r>
              <a:rPr lang="en-US" altLang="zh-CN" sz="1200" b="0" dirty="0">
                <a:solidFill>
                  <a:schemeClr val="tx1">
                    <a:lumMod val="75000"/>
                    <a:lumOff val="25000"/>
                  </a:schemeClr>
                </a:solidFill>
                <a:effectLst/>
                <a:latin typeface="+mn-ea"/>
              </a:rPr>
              <a:t>Lorem ipsum dolor sit amet, consectetur</a:t>
            </a:r>
            <a:endParaRPr lang="zh-CN" altLang="en-US" sz="1200" b="0" dirty="0">
              <a:solidFill>
                <a:schemeClr val="tx1">
                  <a:lumMod val="75000"/>
                  <a:lumOff val="25000"/>
                </a:schemeClr>
              </a:solidFill>
              <a:effectLst/>
              <a:latin typeface="+mn-ea"/>
            </a:endParaRPr>
          </a:p>
        </p:txBody>
      </p:sp>
      <p:sp>
        <p:nvSpPr>
          <p:cNvPr id="26" name="文本框 25">
            <a:extLst>
              <a:ext uri="{FF2B5EF4-FFF2-40B4-BE49-F238E27FC236}">
                <a16:creationId xmlns:a16="http://schemas.microsoft.com/office/drawing/2014/main" id="{31F4D187-D6EC-473A-BF7D-D7062837F670}"/>
              </a:ext>
            </a:extLst>
          </p:cNvPr>
          <p:cNvSpPr txBox="1"/>
          <p:nvPr/>
        </p:nvSpPr>
        <p:spPr>
          <a:xfrm>
            <a:off x="5281666" y="1194573"/>
            <a:ext cx="1547340" cy="276999"/>
          </a:xfrm>
          <a:prstGeom prst="rect">
            <a:avLst/>
          </a:prstGeom>
          <a:noFill/>
        </p:spPr>
        <p:txBody>
          <a:bodyPr wrap="square" lIns="0" tIns="0" rIns="0" bIns="0" rtlCol="0" anchor="t">
            <a:spAutoFit/>
          </a:bodyPr>
          <a:lstStyle/>
          <a:p>
            <a:pPr algn="ctr"/>
            <a:r>
              <a:rPr lang="zh-CN" altLang="en-US" dirty="0">
                <a:solidFill>
                  <a:schemeClr val="accent1"/>
                </a:solidFill>
                <a:latin typeface="+mj-ea"/>
                <a:ea typeface="+mj-ea"/>
              </a:rPr>
              <a:t>关键词标题</a:t>
            </a:r>
          </a:p>
        </p:txBody>
      </p:sp>
      <p:sp>
        <p:nvSpPr>
          <p:cNvPr id="27" name="文本框 26">
            <a:extLst>
              <a:ext uri="{FF2B5EF4-FFF2-40B4-BE49-F238E27FC236}">
                <a16:creationId xmlns:a16="http://schemas.microsoft.com/office/drawing/2014/main" id="{E0FE2CE0-E68F-4529-B00C-40E06CDECDB8}"/>
              </a:ext>
            </a:extLst>
          </p:cNvPr>
          <p:cNvSpPr txBox="1"/>
          <p:nvPr/>
        </p:nvSpPr>
        <p:spPr>
          <a:xfrm>
            <a:off x="8398148" y="3254940"/>
            <a:ext cx="1834898" cy="464807"/>
          </a:xfrm>
          <a:prstGeom prst="rect">
            <a:avLst/>
          </a:prstGeom>
          <a:noFill/>
        </p:spPr>
        <p:txBody>
          <a:bodyPr wrap="square" lIns="0" tIns="0" rIns="0" bIns="0" rtlCol="0" anchor="t">
            <a:spAutoFit/>
          </a:bodyPr>
          <a:lstStyle/>
          <a:p>
            <a:pPr>
              <a:lnSpc>
                <a:spcPct val="130000"/>
              </a:lnSpc>
            </a:pPr>
            <a:r>
              <a:rPr lang="en-US" altLang="zh-CN" sz="1200" b="0" dirty="0">
                <a:solidFill>
                  <a:schemeClr val="tx1">
                    <a:lumMod val="75000"/>
                    <a:lumOff val="25000"/>
                  </a:schemeClr>
                </a:solidFill>
                <a:effectLst/>
                <a:latin typeface="+mn-ea"/>
              </a:rPr>
              <a:t>Lorem ipsum dolor sit amet, consectetur</a:t>
            </a:r>
            <a:endParaRPr lang="zh-CN" altLang="en-US" sz="1200" b="0" dirty="0">
              <a:solidFill>
                <a:schemeClr val="tx1">
                  <a:lumMod val="75000"/>
                  <a:lumOff val="25000"/>
                </a:schemeClr>
              </a:solidFill>
              <a:effectLst/>
              <a:latin typeface="+mn-ea"/>
            </a:endParaRPr>
          </a:p>
        </p:txBody>
      </p:sp>
      <p:sp>
        <p:nvSpPr>
          <p:cNvPr id="28" name="文本框 27">
            <a:extLst>
              <a:ext uri="{FF2B5EF4-FFF2-40B4-BE49-F238E27FC236}">
                <a16:creationId xmlns:a16="http://schemas.microsoft.com/office/drawing/2014/main" id="{FA94811F-40EE-4E39-B1DA-CEBD6DE2FD22}"/>
              </a:ext>
            </a:extLst>
          </p:cNvPr>
          <p:cNvSpPr txBox="1"/>
          <p:nvPr/>
        </p:nvSpPr>
        <p:spPr>
          <a:xfrm>
            <a:off x="8370341" y="2977941"/>
            <a:ext cx="1547340" cy="276999"/>
          </a:xfrm>
          <a:prstGeom prst="rect">
            <a:avLst/>
          </a:prstGeom>
          <a:noFill/>
        </p:spPr>
        <p:txBody>
          <a:bodyPr wrap="square" lIns="0" tIns="0" rIns="0" bIns="0" rtlCol="0" anchor="t">
            <a:spAutoFit/>
          </a:bodyPr>
          <a:lstStyle/>
          <a:p>
            <a:r>
              <a:rPr lang="zh-CN" altLang="en-US" dirty="0">
                <a:solidFill>
                  <a:schemeClr val="accent1"/>
                </a:solidFill>
                <a:latin typeface="+mj-ea"/>
                <a:ea typeface="+mj-ea"/>
              </a:rPr>
              <a:t>关键词标题</a:t>
            </a:r>
          </a:p>
        </p:txBody>
      </p:sp>
      <p:sp>
        <p:nvSpPr>
          <p:cNvPr id="31" name="文本框 30">
            <a:extLst>
              <a:ext uri="{FF2B5EF4-FFF2-40B4-BE49-F238E27FC236}">
                <a16:creationId xmlns:a16="http://schemas.microsoft.com/office/drawing/2014/main" id="{7CB4C9AD-64AC-41CA-8289-290788348F54}"/>
              </a:ext>
            </a:extLst>
          </p:cNvPr>
          <p:cNvSpPr txBox="1"/>
          <p:nvPr/>
        </p:nvSpPr>
        <p:spPr>
          <a:xfrm>
            <a:off x="7652285" y="5866470"/>
            <a:ext cx="1834898" cy="464807"/>
          </a:xfrm>
          <a:prstGeom prst="rect">
            <a:avLst/>
          </a:prstGeom>
          <a:noFill/>
        </p:spPr>
        <p:txBody>
          <a:bodyPr wrap="square" lIns="0" tIns="0" rIns="0" bIns="0" rtlCol="0" anchor="t">
            <a:spAutoFit/>
          </a:bodyPr>
          <a:lstStyle/>
          <a:p>
            <a:pPr>
              <a:lnSpc>
                <a:spcPct val="130000"/>
              </a:lnSpc>
            </a:pPr>
            <a:r>
              <a:rPr lang="en-US" altLang="zh-CN" sz="1200" b="0" dirty="0">
                <a:solidFill>
                  <a:schemeClr val="tx1">
                    <a:lumMod val="75000"/>
                    <a:lumOff val="25000"/>
                  </a:schemeClr>
                </a:solidFill>
                <a:effectLst/>
                <a:latin typeface="+mn-ea"/>
              </a:rPr>
              <a:t>Lorem ipsum dolor sit amet, consectetur</a:t>
            </a:r>
            <a:endParaRPr lang="zh-CN" altLang="en-US" sz="1200" b="0" dirty="0">
              <a:solidFill>
                <a:schemeClr val="tx1">
                  <a:lumMod val="75000"/>
                  <a:lumOff val="25000"/>
                </a:schemeClr>
              </a:solidFill>
              <a:effectLst/>
              <a:latin typeface="+mn-ea"/>
            </a:endParaRPr>
          </a:p>
        </p:txBody>
      </p:sp>
      <p:sp>
        <p:nvSpPr>
          <p:cNvPr id="32" name="文本框 31">
            <a:extLst>
              <a:ext uri="{FF2B5EF4-FFF2-40B4-BE49-F238E27FC236}">
                <a16:creationId xmlns:a16="http://schemas.microsoft.com/office/drawing/2014/main" id="{85495F95-C8F8-46CA-BAFA-E5E9BE8A70C4}"/>
              </a:ext>
            </a:extLst>
          </p:cNvPr>
          <p:cNvSpPr txBox="1"/>
          <p:nvPr/>
        </p:nvSpPr>
        <p:spPr>
          <a:xfrm>
            <a:off x="7624478" y="5589471"/>
            <a:ext cx="1547340" cy="276999"/>
          </a:xfrm>
          <a:prstGeom prst="rect">
            <a:avLst/>
          </a:prstGeom>
          <a:noFill/>
        </p:spPr>
        <p:txBody>
          <a:bodyPr wrap="square" lIns="0" tIns="0" rIns="0" bIns="0" rtlCol="0" anchor="t">
            <a:spAutoFit/>
          </a:bodyPr>
          <a:lstStyle/>
          <a:p>
            <a:r>
              <a:rPr lang="zh-CN" altLang="en-US" dirty="0">
                <a:solidFill>
                  <a:schemeClr val="accent1"/>
                </a:solidFill>
                <a:latin typeface="+mj-ea"/>
                <a:ea typeface="+mj-ea"/>
              </a:rPr>
              <a:t>关键词标题</a:t>
            </a:r>
          </a:p>
        </p:txBody>
      </p:sp>
      <p:sp>
        <p:nvSpPr>
          <p:cNvPr id="33" name="文本框 32">
            <a:extLst>
              <a:ext uri="{FF2B5EF4-FFF2-40B4-BE49-F238E27FC236}">
                <a16:creationId xmlns:a16="http://schemas.microsoft.com/office/drawing/2014/main" id="{57E65B08-6FBD-4B16-B62E-30493A1C6202}"/>
              </a:ext>
            </a:extLst>
          </p:cNvPr>
          <p:cNvSpPr txBox="1"/>
          <p:nvPr/>
        </p:nvSpPr>
        <p:spPr>
          <a:xfrm>
            <a:off x="2771293" y="5866470"/>
            <a:ext cx="1834898" cy="464807"/>
          </a:xfrm>
          <a:prstGeom prst="rect">
            <a:avLst/>
          </a:prstGeom>
          <a:noFill/>
        </p:spPr>
        <p:txBody>
          <a:bodyPr wrap="square" lIns="0" tIns="0" rIns="0" bIns="0" rtlCol="0" anchor="t">
            <a:spAutoFit/>
          </a:bodyPr>
          <a:lstStyle/>
          <a:p>
            <a:pPr algn="r">
              <a:lnSpc>
                <a:spcPct val="130000"/>
              </a:lnSpc>
            </a:pPr>
            <a:r>
              <a:rPr lang="en-US" altLang="zh-CN" sz="1200" b="0" dirty="0">
                <a:solidFill>
                  <a:schemeClr val="tx1">
                    <a:lumMod val="75000"/>
                    <a:lumOff val="25000"/>
                  </a:schemeClr>
                </a:solidFill>
                <a:effectLst/>
                <a:latin typeface="+mn-ea"/>
              </a:rPr>
              <a:t>Lorem ipsum dolor sit amet, consectetur</a:t>
            </a:r>
            <a:endParaRPr lang="zh-CN" altLang="en-US" sz="1200" b="0" dirty="0">
              <a:solidFill>
                <a:schemeClr val="tx1">
                  <a:lumMod val="75000"/>
                  <a:lumOff val="25000"/>
                </a:schemeClr>
              </a:solidFill>
              <a:effectLst/>
              <a:latin typeface="+mn-ea"/>
            </a:endParaRPr>
          </a:p>
        </p:txBody>
      </p:sp>
      <p:sp>
        <p:nvSpPr>
          <p:cNvPr id="34" name="文本框 33">
            <a:extLst>
              <a:ext uri="{FF2B5EF4-FFF2-40B4-BE49-F238E27FC236}">
                <a16:creationId xmlns:a16="http://schemas.microsoft.com/office/drawing/2014/main" id="{E3BCC2A4-8FDA-4340-A8B9-52BB82CE4B52}"/>
              </a:ext>
            </a:extLst>
          </p:cNvPr>
          <p:cNvSpPr txBox="1"/>
          <p:nvPr/>
        </p:nvSpPr>
        <p:spPr>
          <a:xfrm>
            <a:off x="3058851" y="5589471"/>
            <a:ext cx="1547340" cy="276999"/>
          </a:xfrm>
          <a:prstGeom prst="rect">
            <a:avLst/>
          </a:prstGeom>
          <a:noFill/>
        </p:spPr>
        <p:txBody>
          <a:bodyPr wrap="square" lIns="0" tIns="0" rIns="0" bIns="0" rtlCol="0" anchor="t">
            <a:spAutoFit/>
          </a:bodyPr>
          <a:lstStyle/>
          <a:p>
            <a:pPr algn="r"/>
            <a:r>
              <a:rPr lang="zh-CN" altLang="en-US" dirty="0">
                <a:solidFill>
                  <a:schemeClr val="accent1"/>
                </a:solidFill>
                <a:latin typeface="+mj-ea"/>
                <a:ea typeface="+mj-ea"/>
              </a:rPr>
              <a:t>关键词标题</a:t>
            </a:r>
          </a:p>
        </p:txBody>
      </p:sp>
      <p:sp>
        <p:nvSpPr>
          <p:cNvPr id="35" name="文本框 34">
            <a:extLst>
              <a:ext uri="{FF2B5EF4-FFF2-40B4-BE49-F238E27FC236}">
                <a16:creationId xmlns:a16="http://schemas.microsoft.com/office/drawing/2014/main" id="{A013311B-8341-434F-8821-0320EE91031B}"/>
              </a:ext>
            </a:extLst>
          </p:cNvPr>
          <p:cNvSpPr txBox="1"/>
          <p:nvPr/>
        </p:nvSpPr>
        <p:spPr>
          <a:xfrm>
            <a:off x="1892490" y="3254940"/>
            <a:ext cx="1834898" cy="464807"/>
          </a:xfrm>
          <a:prstGeom prst="rect">
            <a:avLst/>
          </a:prstGeom>
          <a:noFill/>
        </p:spPr>
        <p:txBody>
          <a:bodyPr wrap="square" lIns="0" tIns="0" rIns="0" bIns="0" rtlCol="0" anchor="t">
            <a:spAutoFit/>
          </a:bodyPr>
          <a:lstStyle/>
          <a:p>
            <a:pPr algn="r">
              <a:lnSpc>
                <a:spcPct val="130000"/>
              </a:lnSpc>
            </a:pPr>
            <a:r>
              <a:rPr lang="en-US" altLang="zh-CN" sz="1200" b="0" dirty="0">
                <a:solidFill>
                  <a:schemeClr val="tx1">
                    <a:lumMod val="75000"/>
                    <a:lumOff val="25000"/>
                  </a:schemeClr>
                </a:solidFill>
                <a:effectLst/>
                <a:latin typeface="+mn-ea"/>
              </a:rPr>
              <a:t>Lorem ipsum dolor sit amet, consectetur</a:t>
            </a:r>
            <a:endParaRPr lang="zh-CN" altLang="en-US" sz="1200" b="0" dirty="0">
              <a:solidFill>
                <a:schemeClr val="tx1">
                  <a:lumMod val="75000"/>
                  <a:lumOff val="25000"/>
                </a:schemeClr>
              </a:solidFill>
              <a:effectLst/>
              <a:latin typeface="+mn-ea"/>
            </a:endParaRPr>
          </a:p>
        </p:txBody>
      </p:sp>
      <p:sp>
        <p:nvSpPr>
          <p:cNvPr id="36" name="文本框 35">
            <a:extLst>
              <a:ext uri="{FF2B5EF4-FFF2-40B4-BE49-F238E27FC236}">
                <a16:creationId xmlns:a16="http://schemas.microsoft.com/office/drawing/2014/main" id="{FCFE4ADC-F230-4F7B-9C96-9E726C32E000}"/>
              </a:ext>
            </a:extLst>
          </p:cNvPr>
          <p:cNvSpPr txBox="1"/>
          <p:nvPr/>
        </p:nvSpPr>
        <p:spPr>
          <a:xfrm>
            <a:off x="2180048" y="2977941"/>
            <a:ext cx="1547340" cy="276999"/>
          </a:xfrm>
          <a:prstGeom prst="rect">
            <a:avLst/>
          </a:prstGeom>
          <a:noFill/>
        </p:spPr>
        <p:txBody>
          <a:bodyPr wrap="square" lIns="0" tIns="0" rIns="0" bIns="0" rtlCol="0" anchor="t">
            <a:spAutoFit/>
          </a:bodyPr>
          <a:lstStyle/>
          <a:p>
            <a:pPr algn="r"/>
            <a:r>
              <a:rPr lang="zh-CN" altLang="en-US" dirty="0">
                <a:solidFill>
                  <a:schemeClr val="accent1"/>
                </a:solidFill>
                <a:latin typeface="+mj-ea"/>
                <a:ea typeface="+mj-ea"/>
              </a:rPr>
              <a:t>关键词标题</a:t>
            </a:r>
          </a:p>
        </p:txBody>
      </p:sp>
    </p:spTree>
    <p:extLst>
      <p:ext uri="{BB962C8B-B14F-4D97-AF65-F5344CB8AC3E}">
        <p14:creationId xmlns:p14="http://schemas.microsoft.com/office/powerpoint/2010/main" val="4118116174"/>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3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椭圆 21">
            <a:extLst>
              <a:ext uri="{FF2B5EF4-FFF2-40B4-BE49-F238E27FC236}">
                <a16:creationId xmlns:a16="http://schemas.microsoft.com/office/drawing/2014/main" id="{FA62E792-3B94-4CD8-B7A4-53C95EBF8450}"/>
              </a:ext>
            </a:extLst>
          </p:cNvPr>
          <p:cNvSpPr/>
          <p:nvPr/>
        </p:nvSpPr>
        <p:spPr>
          <a:xfrm>
            <a:off x="4895850" y="2228850"/>
            <a:ext cx="2400300" cy="2400300"/>
          </a:xfrm>
          <a:prstGeom prst="ellipse">
            <a:avLst/>
          </a:prstGeom>
          <a:solidFill>
            <a:schemeClr val="bg1"/>
          </a:solidFill>
          <a:ln w="28575">
            <a:solidFill>
              <a:schemeClr val="accent1"/>
            </a:solidFill>
          </a:ln>
          <a:effectLst>
            <a:outerShdw blurRad="571500" sx="102000" sy="102000" algn="ctr" rotWithShape="0">
              <a:schemeClr val="accent1">
                <a:lumMod val="90000"/>
                <a:lumOff val="10000"/>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24" name="圆: 空心 23">
            <a:extLst>
              <a:ext uri="{FF2B5EF4-FFF2-40B4-BE49-F238E27FC236}">
                <a16:creationId xmlns:a16="http://schemas.microsoft.com/office/drawing/2014/main" id="{2CA77F30-B7B8-49D9-860B-77E443C2FEE0}"/>
              </a:ext>
            </a:extLst>
          </p:cNvPr>
          <p:cNvSpPr/>
          <p:nvPr/>
        </p:nvSpPr>
        <p:spPr>
          <a:xfrm>
            <a:off x="551543" y="-2115457"/>
            <a:ext cx="11088914" cy="11088914"/>
          </a:xfrm>
          <a:prstGeom prst="donut">
            <a:avLst>
              <a:gd name="adj" fmla="val 1392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25" name="user_209046">
            <a:extLst>
              <a:ext uri="{FF2B5EF4-FFF2-40B4-BE49-F238E27FC236}">
                <a16:creationId xmlns:a16="http://schemas.microsoft.com/office/drawing/2014/main" id="{53F0F6E9-4641-4D91-B1F7-552ABED67861}"/>
              </a:ext>
            </a:extLst>
          </p:cNvPr>
          <p:cNvSpPr/>
          <p:nvPr/>
        </p:nvSpPr>
        <p:spPr>
          <a:xfrm>
            <a:off x="5694886" y="2577706"/>
            <a:ext cx="944040" cy="851294"/>
          </a:xfrm>
          <a:custGeom>
            <a:avLst/>
            <a:gdLst>
              <a:gd name="connsiteX0" fmla="*/ 521432 w 608344"/>
              <a:gd name="connsiteY0" fmla="*/ 370453 h 548582"/>
              <a:gd name="connsiteX1" fmla="*/ 465737 w 608344"/>
              <a:gd name="connsiteY1" fmla="*/ 425787 h 548582"/>
              <a:gd name="connsiteX2" fmla="*/ 442491 w 608344"/>
              <a:gd name="connsiteY2" fmla="*/ 402479 h 548582"/>
              <a:gd name="connsiteX3" fmla="*/ 418201 w 608344"/>
              <a:gd name="connsiteY3" fmla="*/ 426545 h 548582"/>
              <a:gd name="connsiteX4" fmla="*/ 441447 w 608344"/>
              <a:gd name="connsiteY4" fmla="*/ 449948 h 548582"/>
              <a:gd name="connsiteX5" fmla="*/ 465642 w 608344"/>
              <a:gd name="connsiteY5" fmla="*/ 474204 h 548582"/>
              <a:gd name="connsiteX6" fmla="*/ 489932 w 608344"/>
              <a:gd name="connsiteY6" fmla="*/ 450043 h 548582"/>
              <a:gd name="connsiteX7" fmla="*/ 545532 w 608344"/>
              <a:gd name="connsiteY7" fmla="*/ 394709 h 548582"/>
              <a:gd name="connsiteX8" fmla="*/ 481962 w 608344"/>
              <a:gd name="connsiteY8" fmla="*/ 296170 h 548582"/>
              <a:gd name="connsiteX9" fmla="*/ 608344 w 608344"/>
              <a:gd name="connsiteY9" fmla="*/ 422376 h 548582"/>
              <a:gd name="connsiteX10" fmla="*/ 481962 w 608344"/>
              <a:gd name="connsiteY10" fmla="*/ 548582 h 548582"/>
              <a:gd name="connsiteX11" fmla="*/ 355579 w 608344"/>
              <a:gd name="connsiteY11" fmla="*/ 422376 h 548582"/>
              <a:gd name="connsiteX12" fmla="*/ 481962 w 608344"/>
              <a:gd name="connsiteY12" fmla="*/ 296170 h 548582"/>
              <a:gd name="connsiteX13" fmla="*/ 255835 w 608344"/>
              <a:gd name="connsiteY13" fmla="*/ 446 h 548582"/>
              <a:gd name="connsiteX14" fmla="*/ 317801 w 608344"/>
              <a:gd name="connsiteY14" fmla="*/ 13616 h 548582"/>
              <a:gd name="connsiteX15" fmla="*/ 348072 w 608344"/>
              <a:gd name="connsiteY15" fmla="*/ 41661 h 548582"/>
              <a:gd name="connsiteX16" fmla="*/ 381190 w 608344"/>
              <a:gd name="connsiteY16" fmla="*/ 146831 h 548582"/>
              <a:gd name="connsiteX17" fmla="*/ 378913 w 608344"/>
              <a:gd name="connsiteY17" fmla="*/ 156211 h 548582"/>
              <a:gd name="connsiteX18" fmla="*/ 387833 w 608344"/>
              <a:gd name="connsiteY18" fmla="*/ 200458 h 548582"/>
              <a:gd name="connsiteX19" fmla="*/ 366387 w 608344"/>
              <a:gd name="connsiteY19" fmla="*/ 237694 h 548582"/>
              <a:gd name="connsiteX20" fmla="*/ 351393 w 608344"/>
              <a:gd name="connsiteY20" fmla="*/ 278720 h 548582"/>
              <a:gd name="connsiteX21" fmla="*/ 351393 w 608344"/>
              <a:gd name="connsiteY21" fmla="*/ 322873 h 548582"/>
              <a:gd name="connsiteX22" fmla="*/ 317611 w 608344"/>
              <a:gd name="connsiteY22" fmla="*/ 422358 h 548582"/>
              <a:gd name="connsiteX23" fmla="*/ 376635 w 608344"/>
              <a:gd name="connsiteY23" fmla="*/ 548088 h 548582"/>
              <a:gd name="connsiteX24" fmla="*/ 26855 w 608344"/>
              <a:gd name="connsiteY24" fmla="*/ 548088 h 548582"/>
              <a:gd name="connsiteX25" fmla="*/ 0 w 608344"/>
              <a:gd name="connsiteY25" fmla="*/ 521274 h 548582"/>
              <a:gd name="connsiteX26" fmla="*/ 0 w 608344"/>
              <a:gd name="connsiteY26" fmla="*/ 473806 h 548582"/>
              <a:gd name="connsiteX27" fmla="*/ 19453 w 608344"/>
              <a:gd name="connsiteY27" fmla="*/ 432969 h 548582"/>
              <a:gd name="connsiteX28" fmla="*/ 173751 w 608344"/>
              <a:gd name="connsiteY28" fmla="*/ 334242 h 548582"/>
              <a:gd name="connsiteX29" fmla="*/ 176408 w 608344"/>
              <a:gd name="connsiteY29" fmla="*/ 329884 h 548582"/>
              <a:gd name="connsiteX30" fmla="*/ 176408 w 608344"/>
              <a:gd name="connsiteY30" fmla="*/ 278720 h 548582"/>
              <a:gd name="connsiteX31" fmla="*/ 161320 w 608344"/>
              <a:gd name="connsiteY31" fmla="*/ 237694 h 548582"/>
              <a:gd name="connsiteX32" fmla="*/ 139969 w 608344"/>
              <a:gd name="connsiteY32" fmla="*/ 200458 h 548582"/>
              <a:gd name="connsiteX33" fmla="*/ 148320 w 608344"/>
              <a:gd name="connsiteY33" fmla="*/ 156211 h 548582"/>
              <a:gd name="connsiteX34" fmla="*/ 146042 w 608344"/>
              <a:gd name="connsiteY34" fmla="*/ 146736 h 548582"/>
              <a:gd name="connsiteX35" fmla="*/ 145758 w 608344"/>
              <a:gd name="connsiteY35" fmla="*/ 95099 h 548582"/>
              <a:gd name="connsiteX36" fmla="*/ 176029 w 608344"/>
              <a:gd name="connsiteY36" fmla="*/ 42135 h 548582"/>
              <a:gd name="connsiteX37" fmla="*/ 203928 w 608344"/>
              <a:gd name="connsiteY37" fmla="*/ 19017 h 548582"/>
              <a:gd name="connsiteX38" fmla="*/ 231162 w 608344"/>
              <a:gd name="connsiteY38" fmla="*/ 5089 h 548582"/>
              <a:gd name="connsiteX39" fmla="*/ 255835 w 608344"/>
              <a:gd name="connsiteY39" fmla="*/ 446 h 548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608344" h="548582">
                <a:moveTo>
                  <a:pt x="521432" y="370453"/>
                </a:moveTo>
                <a:lnTo>
                  <a:pt x="465737" y="425787"/>
                </a:lnTo>
                <a:lnTo>
                  <a:pt x="442491" y="402479"/>
                </a:lnTo>
                <a:lnTo>
                  <a:pt x="418201" y="426545"/>
                </a:lnTo>
                <a:lnTo>
                  <a:pt x="441447" y="449948"/>
                </a:lnTo>
                <a:lnTo>
                  <a:pt x="465642" y="474204"/>
                </a:lnTo>
                <a:lnTo>
                  <a:pt x="489932" y="450043"/>
                </a:lnTo>
                <a:lnTo>
                  <a:pt x="545532" y="394709"/>
                </a:lnTo>
                <a:close/>
                <a:moveTo>
                  <a:pt x="481962" y="296170"/>
                </a:moveTo>
                <a:cubicBezTo>
                  <a:pt x="551795" y="296170"/>
                  <a:pt x="608344" y="352641"/>
                  <a:pt x="608344" y="422376"/>
                </a:cubicBezTo>
                <a:cubicBezTo>
                  <a:pt x="608344" y="492111"/>
                  <a:pt x="551795" y="548582"/>
                  <a:pt x="481962" y="548582"/>
                </a:cubicBezTo>
                <a:cubicBezTo>
                  <a:pt x="412129" y="548582"/>
                  <a:pt x="355579" y="492111"/>
                  <a:pt x="355579" y="422376"/>
                </a:cubicBezTo>
                <a:cubicBezTo>
                  <a:pt x="355579" y="352641"/>
                  <a:pt x="412129" y="296170"/>
                  <a:pt x="481962" y="296170"/>
                </a:cubicBezTo>
                <a:close/>
                <a:moveTo>
                  <a:pt x="255835" y="446"/>
                </a:moveTo>
                <a:cubicBezTo>
                  <a:pt x="282785" y="-1828"/>
                  <a:pt x="303187" y="4899"/>
                  <a:pt x="317801" y="13616"/>
                </a:cubicBezTo>
                <a:cubicBezTo>
                  <a:pt x="339721" y="25744"/>
                  <a:pt x="348072" y="41661"/>
                  <a:pt x="348072" y="41661"/>
                </a:cubicBezTo>
                <a:cubicBezTo>
                  <a:pt x="348072" y="41661"/>
                  <a:pt x="398176" y="45167"/>
                  <a:pt x="381190" y="146831"/>
                </a:cubicBezTo>
                <a:cubicBezTo>
                  <a:pt x="380621" y="149863"/>
                  <a:pt x="379862" y="153085"/>
                  <a:pt x="378913" y="156211"/>
                </a:cubicBezTo>
                <a:cubicBezTo>
                  <a:pt x="388592" y="156211"/>
                  <a:pt x="398271" y="163507"/>
                  <a:pt x="387833" y="200458"/>
                </a:cubicBezTo>
                <a:cubicBezTo>
                  <a:pt x="379672" y="229262"/>
                  <a:pt x="372080" y="237221"/>
                  <a:pt x="366387" y="237694"/>
                </a:cubicBezTo>
                <a:cubicBezTo>
                  <a:pt x="364394" y="250675"/>
                  <a:pt x="359175" y="265076"/>
                  <a:pt x="351393" y="278720"/>
                </a:cubicBezTo>
                <a:lnTo>
                  <a:pt x="351393" y="322873"/>
                </a:lnTo>
                <a:cubicBezTo>
                  <a:pt x="330232" y="350539"/>
                  <a:pt x="317611" y="385027"/>
                  <a:pt x="317611" y="422358"/>
                </a:cubicBezTo>
                <a:cubicBezTo>
                  <a:pt x="317611" y="472764"/>
                  <a:pt x="340480" y="518053"/>
                  <a:pt x="376635" y="548088"/>
                </a:cubicBezTo>
                <a:lnTo>
                  <a:pt x="26855" y="548088"/>
                </a:lnTo>
                <a:cubicBezTo>
                  <a:pt x="12052" y="548088"/>
                  <a:pt x="0" y="536055"/>
                  <a:pt x="0" y="521274"/>
                </a:cubicBezTo>
                <a:lnTo>
                  <a:pt x="0" y="473806"/>
                </a:lnTo>
                <a:cubicBezTo>
                  <a:pt x="0" y="457983"/>
                  <a:pt x="7212" y="443013"/>
                  <a:pt x="19453" y="432969"/>
                </a:cubicBezTo>
                <a:cubicBezTo>
                  <a:pt x="86638" y="377921"/>
                  <a:pt x="159043" y="341443"/>
                  <a:pt x="173751" y="334242"/>
                </a:cubicBezTo>
                <a:cubicBezTo>
                  <a:pt x="175365" y="333484"/>
                  <a:pt x="176408" y="331779"/>
                  <a:pt x="176408" y="329884"/>
                </a:cubicBezTo>
                <a:lnTo>
                  <a:pt x="176408" y="278720"/>
                </a:lnTo>
                <a:cubicBezTo>
                  <a:pt x="168437" y="265076"/>
                  <a:pt x="163313" y="250675"/>
                  <a:pt x="161320" y="237694"/>
                </a:cubicBezTo>
                <a:cubicBezTo>
                  <a:pt x="155627" y="237221"/>
                  <a:pt x="148035" y="229072"/>
                  <a:pt x="139969" y="200458"/>
                </a:cubicBezTo>
                <a:cubicBezTo>
                  <a:pt x="129531" y="164170"/>
                  <a:pt x="138925" y="156496"/>
                  <a:pt x="148320" y="156211"/>
                </a:cubicBezTo>
                <a:cubicBezTo>
                  <a:pt x="147371" y="153085"/>
                  <a:pt x="146612" y="149863"/>
                  <a:pt x="146042" y="146736"/>
                </a:cubicBezTo>
                <a:cubicBezTo>
                  <a:pt x="142436" y="128450"/>
                  <a:pt x="141487" y="111396"/>
                  <a:pt x="145758" y="95099"/>
                </a:cubicBezTo>
                <a:cubicBezTo>
                  <a:pt x="150787" y="73212"/>
                  <a:pt x="162744" y="55684"/>
                  <a:pt x="176029" y="42135"/>
                </a:cubicBezTo>
                <a:cubicBezTo>
                  <a:pt x="184379" y="33134"/>
                  <a:pt x="193869" y="25459"/>
                  <a:pt x="203928" y="19017"/>
                </a:cubicBezTo>
                <a:cubicBezTo>
                  <a:pt x="212183" y="13332"/>
                  <a:pt x="221293" y="8405"/>
                  <a:pt x="231162" y="5089"/>
                </a:cubicBezTo>
                <a:cubicBezTo>
                  <a:pt x="238849" y="2625"/>
                  <a:pt x="247105" y="825"/>
                  <a:pt x="255835" y="446"/>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 name="文本框 25">
            <a:extLst>
              <a:ext uri="{FF2B5EF4-FFF2-40B4-BE49-F238E27FC236}">
                <a16:creationId xmlns:a16="http://schemas.microsoft.com/office/drawing/2014/main" id="{D3408C4F-6F3A-431E-A6B8-7E3D669A4423}"/>
              </a:ext>
            </a:extLst>
          </p:cNvPr>
          <p:cNvSpPr txBox="1"/>
          <p:nvPr/>
        </p:nvSpPr>
        <p:spPr>
          <a:xfrm>
            <a:off x="5292471" y="3615964"/>
            <a:ext cx="1641730" cy="553998"/>
          </a:xfrm>
          <a:prstGeom prst="rect">
            <a:avLst/>
          </a:prstGeom>
          <a:noFill/>
        </p:spPr>
        <p:txBody>
          <a:bodyPr wrap="square" lIns="0" tIns="0" rIns="0" bIns="0" rtlCol="0" anchor="t">
            <a:spAutoFit/>
          </a:bodyPr>
          <a:lstStyle/>
          <a:p>
            <a:pPr algn="ctr"/>
            <a:r>
              <a:rPr lang="zh-CN" altLang="en-US" sz="3600" dirty="0">
                <a:solidFill>
                  <a:schemeClr val="accent1"/>
                </a:solidFill>
                <a:latin typeface="+mj-ea"/>
                <a:ea typeface="+mj-ea"/>
              </a:rPr>
              <a:t>关键词</a:t>
            </a:r>
          </a:p>
        </p:txBody>
      </p:sp>
      <p:cxnSp>
        <p:nvCxnSpPr>
          <p:cNvPr id="29" name="直接连接符 28">
            <a:extLst>
              <a:ext uri="{FF2B5EF4-FFF2-40B4-BE49-F238E27FC236}">
                <a16:creationId xmlns:a16="http://schemas.microsoft.com/office/drawing/2014/main" id="{42CB474C-8E62-46A0-B300-48F0F0B2FBC2}"/>
              </a:ext>
            </a:extLst>
          </p:cNvPr>
          <p:cNvCxnSpPr>
            <a:cxnSpLocks/>
          </p:cNvCxnSpPr>
          <p:nvPr/>
        </p:nvCxnSpPr>
        <p:spPr>
          <a:xfrm>
            <a:off x="6096000" y="3252788"/>
            <a:ext cx="0" cy="21600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31" name="直接连接符 30">
            <a:extLst>
              <a:ext uri="{FF2B5EF4-FFF2-40B4-BE49-F238E27FC236}">
                <a16:creationId xmlns:a16="http://schemas.microsoft.com/office/drawing/2014/main" id="{54794827-D170-430A-AC2C-483718E5D0F1}"/>
              </a:ext>
            </a:extLst>
          </p:cNvPr>
          <p:cNvCxnSpPr>
            <a:cxnSpLocks/>
          </p:cNvCxnSpPr>
          <p:nvPr/>
        </p:nvCxnSpPr>
        <p:spPr>
          <a:xfrm rot="-5400000">
            <a:off x="4119907" y="3321000"/>
            <a:ext cx="0" cy="21600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53" name="直接连接符 52">
            <a:extLst>
              <a:ext uri="{FF2B5EF4-FFF2-40B4-BE49-F238E27FC236}">
                <a16:creationId xmlns:a16="http://schemas.microsoft.com/office/drawing/2014/main" id="{DD7CD58E-E3C3-4AAD-A5E1-F2DF003BF19E}"/>
              </a:ext>
            </a:extLst>
          </p:cNvPr>
          <p:cNvCxnSpPr>
            <a:cxnSpLocks/>
          </p:cNvCxnSpPr>
          <p:nvPr/>
        </p:nvCxnSpPr>
        <p:spPr>
          <a:xfrm rot="5400000">
            <a:off x="8072093" y="3321000"/>
            <a:ext cx="0" cy="21600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54" name="直接连接符 53">
            <a:extLst>
              <a:ext uri="{FF2B5EF4-FFF2-40B4-BE49-F238E27FC236}">
                <a16:creationId xmlns:a16="http://schemas.microsoft.com/office/drawing/2014/main" id="{24E5C5C8-8E02-4129-AF78-AFD942A605CD}"/>
              </a:ext>
            </a:extLst>
          </p:cNvPr>
          <p:cNvCxnSpPr>
            <a:cxnSpLocks/>
          </p:cNvCxnSpPr>
          <p:nvPr/>
        </p:nvCxnSpPr>
        <p:spPr>
          <a:xfrm rot="5890909">
            <a:off x="8051979" y="3602229"/>
            <a:ext cx="0" cy="21600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55" name="直接连接符 54">
            <a:extLst>
              <a:ext uri="{FF2B5EF4-FFF2-40B4-BE49-F238E27FC236}">
                <a16:creationId xmlns:a16="http://schemas.microsoft.com/office/drawing/2014/main" id="{AD962616-F013-4F31-A6A5-F64B3AA8A444}"/>
              </a:ext>
            </a:extLst>
          </p:cNvPr>
          <p:cNvCxnSpPr>
            <a:cxnSpLocks/>
          </p:cNvCxnSpPr>
          <p:nvPr/>
        </p:nvCxnSpPr>
        <p:spPr>
          <a:xfrm rot="6381818">
            <a:off x="7992047" y="3877729"/>
            <a:ext cx="0" cy="21600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56" name="直接连接符 55">
            <a:extLst>
              <a:ext uri="{FF2B5EF4-FFF2-40B4-BE49-F238E27FC236}">
                <a16:creationId xmlns:a16="http://schemas.microsoft.com/office/drawing/2014/main" id="{2BDC820B-0387-4A35-BE1A-E8DCD563567E}"/>
              </a:ext>
            </a:extLst>
          </p:cNvPr>
          <p:cNvCxnSpPr>
            <a:cxnSpLocks/>
          </p:cNvCxnSpPr>
          <p:nvPr/>
        </p:nvCxnSpPr>
        <p:spPr>
          <a:xfrm rot="6872727">
            <a:off x="7893517" y="4141897"/>
            <a:ext cx="0" cy="21600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57" name="直接连接符 56">
            <a:extLst>
              <a:ext uri="{FF2B5EF4-FFF2-40B4-BE49-F238E27FC236}">
                <a16:creationId xmlns:a16="http://schemas.microsoft.com/office/drawing/2014/main" id="{E8E7B687-4970-467D-87BF-8A27ED3B9E4E}"/>
              </a:ext>
            </a:extLst>
          </p:cNvPr>
          <p:cNvCxnSpPr>
            <a:cxnSpLocks/>
          </p:cNvCxnSpPr>
          <p:nvPr/>
        </p:nvCxnSpPr>
        <p:spPr>
          <a:xfrm rot="7363636">
            <a:off x="7758397" y="4389358"/>
            <a:ext cx="0" cy="21600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58" name="直接连接符 57">
            <a:extLst>
              <a:ext uri="{FF2B5EF4-FFF2-40B4-BE49-F238E27FC236}">
                <a16:creationId xmlns:a16="http://schemas.microsoft.com/office/drawing/2014/main" id="{F2FDDABD-7688-42A2-A21F-F27A63A0F819}"/>
              </a:ext>
            </a:extLst>
          </p:cNvPr>
          <p:cNvCxnSpPr>
            <a:cxnSpLocks/>
          </p:cNvCxnSpPr>
          <p:nvPr/>
        </p:nvCxnSpPr>
        <p:spPr>
          <a:xfrm rot="7854545">
            <a:off x="7589430" y="4615064"/>
            <a:ext cx="0" cy="21600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59" name="直接连接符 58">
            <a:extLst>
              <a:ext uri="{FF2B5EF4-FFF2-40B4-BE49-F238E27FC236}">
                <a16:creationId xmlns:a16="http://schemas.microsoft.com/office/drawing/2014/main" id="{917BA28B-D5DE-405E-A126-9164BD81A334}"/>
              </a:ext>
            </a:extLst>
          </p:cNvPr>
          <p:cNvCxnSpPr>
            <a:cxnSpLocks/>
          </p:cNvCxnSpPr>
          <p:nvPr/>
        </p:nvCxnSpPr>
        <p:spPr>
          <a:xfrm rot="8345455">
            <a:off x="7390065" y="4814430"/>
            <a:ext cx="0" cy="21600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60" name="直接连接符 59">
            <a:extLst>
              <a:ext uri="{FF2B5EF4-FFF2-40B4-BE49-F238E27FC236}">
                <a16:creationId xmlns:a16="http://schemas.microsoft.com/office/drawing/2014/main" id="{F51802D6-4607-43B7-851D-835293028B28}"/>
              </a:ext>
            </a:extLst>
          </p:cNvPr>
          <p:cNvCxnSpPr>
            <a:cxnSpLocks/>
          </p:cNvCxnSpPr>
          <p:nvPr/>
        </p:nvCxnSpPr>
        <p:spPr>
          <a:xfrm rot="8836363">
            <a:off x="7164359" y="4983397"/>
            <a:ext cx="0" cy="21600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61" name="直接连接符 60">
            <a:extLst>
              <a:ext uri="{FF2B5EF4-FFF2-40B4-BE49-F238E27FC236}">
                <a16:creationId xmlns:a16="http://schemas.microsoft.com/office/drawing/2014/main" id="{AD305502-188B-491C-9435-39916A2D6A5B}"/>
              </a:ext>
            </a:extLst>
          </p:cNvPr>
          <p:cNvCxnSpPr>
            <a:cxnSpLocks/>
          </p:cNvCxnSpPr>
          <p:nvPr/>
        </p:nvCxnSpPr>
        <p:spPr>
          <a:xfrm rot="9327273">
            <a:off x="6916897" y="5118517"/>
            <a:ext cx="0" cy="21600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62" name="直接连接符 61">
            <a:extLst>
              <a:ext uri="{FF2B5EF4-FFF2-40B4-BE49-F238E27FC236}">
                <a16:creationId xmlns:a16="http://schemas.microsoft.com/office/drawing/2014/main" id="{A7F055E7-0833-41CD-A31C-93CB885F4A55}"/>
              </a:ext>
            </a:extLst>
          </p:cNvPr>
          <p:cNvCxnSpPr>
            <a:cxnSpLocks/>
          </p:cNvCxnSpPr>
          <p:nvPr/>
        </p:nvCxnSpPr>
        <p:spPr>
          <a:xfrm rot="9818182">
            <a:off x="6652729" y="5217048"/>
            <a:ext cx="0" cy="21600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63" name="直接连接符 62">
            <a:extLst>
              <a:ext uri="{FF2B5EF4-FFF2-40B4-BE49-F238E27FC236}">
                <a16:creationId xmlns:a16="http://schemas.microsoft.com/office/drawing/2014/main" id="{6FF95D11-8D28-44B7-AAA0-699BD6EDFB7B}"/>
              </a:ext>
            </a:extLst>
          </p:cNvPr>
          <p:cNvCxnSpPr>
            <a:cxnSpLocks/>
          </p:cNvCxnSpPr>
          <p:nvPr/>
        </p:nvCxnSpPr>
        <p:spPr>
          <a:xfrm rot="10309091">
            <a:off x="6377229" y="5276980"/>
            <a:ext cx="0" cy="21600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64" name="直接连接符 63">
            <a:extLst>
              <a:ext uri="{FF2B5EF4-FFF2-40B4-BE49-F238E27FC236}">
                <a16:creationId xmlns:a16="http://schemas.microsoft.com/office/drawing/2014/main" id="{443B4F93-39A6-4915-9A5D-BB172C0342BD}"/>
              </a:ext>
            </a:extLst>
          </p:cNvPr>
          <p:cNvCxnSpPr>
            <a:cxnSpLocks/>
          </p:cNvCxnSpPr>
          <p:nvPr/>
        </p:nvCxnSpPr>
        <p:spPr>
          <a:xfrm rot="10800000">
            <a:off x="6096000" y="5297093"/>
            <a:ext cx="0" cy="21600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65" name="直接连接符 64">
            <a:extLst>
              <a:ext uri="{FF2B5EF4-FFF2-40B4-BE49-F238E27FC236}">
                <a16:creationId xmlns:a16="http://schemas.microsoft.com/office/drawing/2014/main" id="{E8A4D068-418A-48F0-821C-DA35F8AA769F}"/>
              </a:ext>
            </a:extLst>
          </p:cNvPr>
          <p:cNvCxnSpPr>
            <a:cxnSpLocks/>
          </p:cNvCxnSpPr>
          <p:nvPr/>
        </p:nvCxnSpPr>
        <p:spPr>
          <a:xfrm rot="11290909">
            <a:off x="5814771" y="5276980"/>
            <a:ext cx="0" cy="21600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66" name="直接连接符 65">
            <a:extLst>
              <a:ext uri="{FF2B5EF4-FFF2-40B4-BE49-F238E27FC236}">
                <a16:creationId xmlns:a16="http://schemas.microsoft.com/office/drawing/2014/main" id="{1BC2C5BB-18FC-40EF-9305-6DAEF2ABAB7F}"/>
              </a:ext>
            </a:extLst>
          </p:cNvPr>
          <p:cNvCxnSpPr>
            <a:cxnSpLocks/>
          </p:cNvCxnSpPr>
          <p:nvPr/>
        </p:nvCxnSpPr>
        <p:spPr>
          <a:xfrm rot="11781818">
            <a:off x="5539271" y="5217048"/>
            <a:ext cx="0" cy="21600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67" name="直接连接符 66">
            <a:extLst>
              <a:ext uri="{FF2B5EF4-FFF2-40B4-BE49-F238E27FC236}">
                <a16:creationId xmlns:a16="http://schemas.microsoft.com/office/drawing/2014/main" id="{5D1DDDDB-541B-49A9-88B8-F9E866780D9D}"/>
              </a:ext>
            </a:extLst>
          </p:cNvPr>
          <p:cNvCxnSpPr>
            <a:cxnSpLocks/>
          </p:cNvCxnSpPr>
          <p:nvPr/>
        </p:nvCxnSpPr>
        <p:spPr>
          <a:xfrm rot="12272727">
            <a:off x="5275103" y="5118517"/>
            <a:ext cx="0" cy="21600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68" name="直接连接符 67">
            <a:extLst>
              <a:ext uri="{FF2B5EF4-FFF2-40B4-BE49-F238E27FC236}">
                <a16:creationId xmlns:a16="http://schemas.microsoft.com/office/drawing/2014/main" id="{263D73B3-189C-4383-ACF8-FBA7BEDFCA48}"/>
              </a:ext>
            </a:extLst>
          </p:cNvPr>
          <p:cNvCxnSpPr>
            <a:cxnSpLocks/>
          </p:cNvCxnSpPr>
          <p:nvPr/>
        </p:nvCxnSpPr>
        <p:spPr>
          <a:xfrm rot="12763637">
            <a:off x="5027641" y="4983397"/>
            <a:ext cx="0" cy="21600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69" name="直接连接符 68">
            <a:extLst>
              <a:ext uri="{FF2B5EF4-FFF2-40B4-BE49-F238E27FC236}">
                <a16:creationId xmlns:a16="http://schemas.microsoft.com/office/drawing/2014/main" id="{4FE23D64-E35E-4468-AB6E-C67F7C4D70B8}"/>
              </a:ext>
            </a:extLst>
          </p:cNvPr>
          <p:cNvCxnSpPr>
            <a:cxnSpLocks/>
          </p:cNvCxnSpPr>
          <p:nvPr/>
        </p:nvCxnSpPr>
        <p:spPr>
          <a:xfrm rot="13254545">
            <a:off x="4801935" y="4814430"/>
            <a:ext cx="0" cy="21600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70" name="直接连接符 69">
            <a:extLst>
              <a:ext uri="{FF2B5EF4-FFF2-40B4-BE49-F238E27FC236}">
                <a16:creationId xmlns:a16="http://schemas.microsoft.com/office/drawing/2014/main" id="{2F82D041-6DDD-4768-9FB9-9C9A827BB453}"/>
              </a:ext>
            </a:extLst>
          </p:cNvPr>
          <p:cNvCxnSpPr>
            <a:cxnSpLocks/>
          </p:cNvCxnSpPr>
          <p:nvPr/>
        </p:nvCxnSpPr>
        <p:spPr>
          <a:xfrm rot="13745455">
            <a:off x="4602569" y="4615064"/>
            <a:ext cx="0" cy="21600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71" name="直接连接符 70">
            <a:extLst>
              <a:ext uri="{FF2B5EF4-FFF2-40B4-BE49-F238E27FC236}">
                <a16:creationId xmlns:a16="http://schemas.microsoft.com/office/drawing/2014/main" id="{4043945C-4AF3-4C4F-9F20-4A9E73FDC59E}"/>
              </a:ext>
            </a:extLst>
          </p:cNvPr>
          <p:cNvCxnSpPr>
            <a:cxnSpLocks/>
          </p:cNvCxnSpPr>
          <p:nvPr/>
        </p:nvCxnSpPr>
        <p:spPr>
          <a:xfrm rot="14236363">
            <a:off x="4433603" y="4389358"/>
            <a:ext cx="0" cy="21600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72" name="直接连接符 71">
            <a:extLst>
              <a:ext uri="{FF2B5EF4-FFF2-40B4-BE49-F238E27FC236}">
                <a16:creationId xmlns:a16="http://schemas.microsoft.com/office/drawing/2014/main" id="{F49B5FE0-79CA-477F-8AC0-B3A95E28F2DB}"/>
              </a:ext>
            </a:extLst>
          </p:cNvPr>
          <p:cNvCxnSpPr>
            <a:cxnSpLocks/>
          </p:cNvCxnSpPr>
          <p:nvPr/>
        </p:nvCxnSpPr>
        <p:spPr>
          <a:xfrm rot="14727273">
            <a:off x="4298483" y="4141897"/>
            <a:ext cx="0" cy="21600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73" name="直接连接符 72">
            <a:extLst>
              <a:ext uri="{FF2B5EF4-FFF2-40B4-BE49-F238E27FC236}">
                <a16:creationId xmlns:a16="http://schemas.microsoft.com/office/drawing/2014/main" id="{4CC6FFF6-7954-4E13-AA8C-306FCC959940}"/>
              </a:ext>
            </a:extLst>
          </p:cNvPr>
          <p:cNvCxnSpPr>
            <a:cxnSpLocks/>
          </p:cNvCxnSpPr>
          <p:nvPr/>
        </p:nvCxnSpPr>
        <p:spPr>
          <a:xfrm rot="15218182">
            <a:off x="4199952" y="3877729"/>
            <a:ext cx="0" cy="21600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74" name="直接连接符 73">
            <a:extLst>
              <a:ext uri="{FF2B5EF4-FFF2-40B4-BE49-F238E27FC236}">
                <a16:creationId xmlns:a16="http://schemas.microsoft.com/office/drawing/2014/main" id="{345C827C-37AD-413C-B249-16431181567F}"/>
              </a:ext>
            </a:extLst>
          </p:cNvPr>
          <p:cNvCxnSpPr>
            <a:cxnSpLocks/>
          </p:cNvCxnSpPr>
          <p:nvPr/>
        </p:nvCxnSpPr>
        <p:spPr>
          <a:xfrm rot="15709091">
            <a:off x="4140020" y="3602229"/>
            <a:ext cx="0" cy="216000"/>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76" name="椭圆 75">
            <a:extLst>
              <a:ext uri="{FF2B5EF4-FFF2-40B4-BE49-F238E27FC236}">
                <a16:creationId xmlns:a16="http://schemas.microsoft.com/office/drawing/2014/main" id="{CE00AD4F-6C97-4F72-AD02-CC7075648F95}"/>
              </a:ext>
            </a:extLst>
          </p:cNvPr>
          <p:cNvSpPr/>
          <p:nvPr/>
        </p:nvSpPr>
        <p:spPr>
          <a:xfrm>
            <a:off x="4083106" y="3370535"/>
            <a:ext cx="111069" cy="111069"/>
          </a:xfrm>
          <a:prstGeom prst="ellipse">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77" name="椭圆 76">
            <a:extLst>
              <a:ext uri="{FF2B5EF4-FFF2-40B4-BE49-F238E27FC236}">
                <a16:creationId xmlns:a16="http://schemas.microsoft.com/office/drawing/2014/main" id="{62B73A46-1E93-4CA2-AE04-3DC77B402A43}"/>
              </a:ext>
            </a:extLst>
          </p:cNvPr>
          <p:cNvSpPr/>
          <p:nvPr/>
        </p:nvSpPr>
        <p:spPr>
          <a:xfrm>
            <a:off x="8026456" y="3370535"/>
            <a:ext cx="111069" cy="111069"/>
          </a:xfrm>
          <a:prstGeom prst="ellipse">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78" name="椭圆 77">
            <a:extLst>
              <a:ext uri="{FF2B5EF4-FFF2-40B4-BE49-F238E27FC236}">
                <a16:creationId xmlns:a16="http://schemas.microsoft.com/office/drawing/2014/main" id="{D9AD896D-3CBF-43D9-B3F4-5229C411DECD}"/>
              </a:ext>
            </a:extLst>
          </p:cNvPr>
          <p:cNvSpPr/>
          <p:nvPr/>
        </p:nvSpPr>
        <p:spPr>
          <a:xfrm>
            <a:off x="4549831" y="4675460"/>
            <a:ext cx="111069" cy="111069"/>
          </a:xfrm>
          <a:prstGeom prst="ellipse">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80" name="椭圆 79">
            <a:extLst>
              <a:ext uri="{FF2B5EF4-FFF2-40B4-BE49-F238E27FC236}">
                <a16:creationId xmlns:a16="http://schemas.microsoft.com/office/drawing/2014/main" id="{9EB72B4F-E77D-4390-AF23-C5FCA83C0BFC}"/>
              </a:ext>
            </a:extLst>
          </p:cNvPr>
          <p:cNvSpPr/>
          <p:nvPr/>
        </p:nvSpPr>
        <p:spPr>
          <a:xfrm>
            <a:off x="6038905" y="5349558"/>
            <a:ext cx="111069" cy="111069"/>
          </a:xfrm>
          <a:prstGeom prst="ellipse">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81" name="椭圆 80">
            <a:extLst>
              <a:ext uri="{FF2B5EF4-FFF2-40B4-BE49-F238E27FC236}">
                <a16:creationId xmlns:a16="http://schemas.microsoft.com/office/drawing/2014/main" id="{ECC0C4D9-2B0B-4E4C-BBBD-170D802C7AF8}"/>
              </a:ext>
            </a:extLst>
          </p:cNvPr>
          <p:cNvSpPr/>
          <p:nvPr/>
        </p:nvSpPr>
        <p:spPr>
          <a:xfrm>
            <a:off x="7528775" y="4675460"/>
            <a:ext cx="111069" cy="111069"/>
          </a:xfrm>
          <a:prstGeom prst="ellipse">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82" name="文本框 81">
            <a:extLst>
              <a:ext uri="{FF2B5EF4-FFF2-40B4-BE49-F238E27FC236}">
                <a16:creationId xmlns:a16="http://schemas.microsoft.com/office/drawing/2014/main" id="{C4066F8B-D819-4C5F-B1AB-25664E8A8287}"/>
              </a:ext>
            </a:extLst>
          </p:cNvPr>
          <p:cNvSpPr txBox="1"/>
          <p:nvPr/>
        </p:nvSpPr>
        <p:spPr>
          <a:xfrm>
            <a:off x="3169276" y="3313006"/>
            <a:ext cx="714939" cy="307777"/>
          </a:xfrm>
          <a:prstGeom prst="rect">
            <a:avLst/>
          </a:prstGeom>
          <a:noFill/>
        </p:spPr>
        <p:txBody>
          <a:bodyPr wrap="none" lIns="0" tIns="0" rIns="0" bIns="0" rtlCol="0" anchor="t">
            <a:spAutoFit/>
          </a:bodyPr>
          <a:lstStyle/>
          <a:p>
            <a:r>
              <a:rPr lang="en-US" altLang="zh-CN" sz="2000" dirty="0">
                <a:solidFill>
                  <a:schemeClr val="accent1"/>
                </a:solidFill>
                <a:latin typeface="+mj-ea"/>
                <a:ea typeface="+mj-ea"/>
              </a:rPr>
              <a:t>20XX</a:t>
            </a:r>
            <a:endParaRPr lang="zh-CN" altLang="en-US" sz="2000" dirty="0">
              <a:solidFill>
                <a:schemeClr val="accent1"/>
              </a:solidFill>
              <a:latin typeface="+mj-ea"/>
              <a:ea typeface="+mj-ea"/>
            </a:endParaRPr>
          </a:p>
        </p:txBody>
      </p:sp>
      <p:sp>
        <p:nvSpPr>
          <p:cNvPr id="83" name="文本框 82">
            <a:extLst>
              <a:ext uri="{FF2B5EF4-FFF2-40B4-BE49-F238E27FC236}">
                <a16:creationId xmlns:a16="http://schemas.microsoft.com/office/drawing/2014/main" id="{7040CC89-609D-4234-843D-8E2823379A15}"/>
              </a:ext>
            </a:extLst>
          </p:cNvPr>
          <p:cNvSpPr txBox="1"/>
          <p:nvPr/>
        </p:nvSpPr>
        <p:spPr>
          <a:xfrm>
            <a:off x="2287139" y="3602332"/>
            <a:ext cx="1692961" cy="430887"/>
          </a:xfrm>
          <a:prstGeom prst="rect">
            <a:avLst/>
          </a:prstGeom>
          <a:noFill/>
        </p:spPr>
        <p:txBody>
          <a:bodyPr wrap="square" rtlCol="0">
            <a:spAutoFit/>
          </a:bodyPr>
          <a:lstStyle/>
          <a:p>
            <a:pPr algn="r"/>
            <a:r>
              <a:rPr lang="en-US" altLang="zh-CN" sz="1100" dirty="0">
                <a:solidFill>
                  <a:schemeClr val="accent1"/>
                </a:solidFill>
              </a:rPr>
              <a:t>Lorem ipsum dolor sit amet consectetur</a:t>
            </a:r>
            <a:endParaRPr lang="zh-CN" altLang="en-US" sz="1100" dirty="0">
              <a:solidFill>
                <a:schemeClr val="accent1"/>
              </a:solidFill>
            </a:endParaRPr>
          </a:p>
        </p:txBody>
      </p:sp>
      <p:sp>
        <p:nvSpPr>
          <p:cNvPr id="84" name="文本框 83">
            <a:extLst>
              <a:ext uri="{FF2B5EF4-FFF2-40B4-BE49-F238E27FC236}">
                <a16:creationId xmlns:a16="http://schemas.microsoft.com/office/drawing/2014/main" id="{BDC77E36-4978-48F9-A7EC-0463238E662B}"/>
              </a:ext>
            </a:extLst>
          </p:cNvPr>
          <p:cNvSpPr txBox="1"/>
          <p:nvPr/>
        </p:nvSpPr>
        <p:spPr>
          <a:xfrm>
            <a:off x="3758548" y="4816910"/>
            <a:ext cx="714939" cy="307777"/>
          </a:xfrm>
          <a:prstGeom prst="rect">
            <a:avLst/>
          </a:prstGeom>
          <a:noFill/>
        </p:spPr>
        <p:txBody>
          <a:bodyPr wrap="none" lIns="0" tIns="0" rIns="0" bIns="0" rtlCol="0" anchor="t">
            <a:spAutoFit/>
          </a:bodyPr>
          <a:lstStyle/>
          <a:p>
            <a:r>
              <a:rPr lang="en-US" altLang="zh-CN" sz="2000" dirty="0">
                <a:solidFill>
                  <a:schemeClr val="accent1"/>
                </a:solidFill>
                <a:latin typeface="+mj-ea"/>
                <a:ea typeface="+mj-ea"/>
              </a:rPr>
              <a:t>20XX</a:t>
            </a:r>
            <a:endParaRPr lang="zh-CN" altLang="en-US" sz="2000" dirty="0">
              <a:solidFill>
                <a:schemeClr val="accent1"/>
              </a:solidFill>
              <a:latin typeface="+mj-ea"/>
              <a:ea typeface="+mj-ea"/>
            </a:endParaRPr>
          </a:p>
        </p:txBody>
      </p:sp>
      <p:sp>
        <p:nvSpPr>
          <p:cNvPr id="85" name="文本框 84">
            <a:extLst>
              <a:ext uri="{FF2B5EF4-FFF2-40B4-BE49-F238E27FC236}">
                <a16:creationId xmlns:a16="http://schemas.microsoft.com/office/drawing/2014/main" id="{D3FC6F30-08BC-4976-8A6B-08570CF4D6B4}"/>
              </a:ext>
            </a:extLst>
          </p:cNvPr>
          <p:cNvSpPr txBox="1"/>
          <p:nvPr/>
        </p:nvSpPr>
        <p:spPr>
          <a:xfrm>
            <a:off x="2876411" y="5106236"/>
            <a:ext cx="1692961" cy="430887"/>
          </a:xfrm>
          <a:prstGeom prst="rect">
            <a:avLst/>
          </a:prstGeom>
          <a:noFill/>
        </p:spPr>
        <p:txBody>
          <a:bodyPr wrap="square" rtlCol="0">
            <a:spAutoFit/>
          </a:bodyPr>
          <a:lstStyle/>
          <a:p>
            <a:pPr algn="r"/>
            <a:r>
              <a:rPr lang="en-US" altLang="zh-CN" sz="1100" dirty="0">
                <a:solidFill>
                  <a:schemeClr val="accent1"/>
                </a:solidFill>
              </a:rPr>
              <a:t>Lorem ipsum dolor sit amet consectetur</a:t>
            </a:r>
            <a:endParaRPr lang="zh-CN" altLang="en-US" sz="1100" dirty="0">
              <a:solidFill>
                <a:schemeClr val="accent1"/>
              </a:solidFill>
            </a:endParaRPr>
          </a:p>
        </p:txBody>
      </p:sp>
      <p:sp>
        <p:nvSpPr>
          <p:cNvPr id="86" name="文本框 85">
            <a:extLst>
              <a:ext uri="{FF2B5EF4-FFF2-40B4-BE49-F238E27FC236}">
                <a16:creationId xmlns:a16="http://schemas.microsoft.com/office/drawing/2014/main" id="{7456903C-69BE-4489-91D9-BAA2352FAF70}"/>
              </a:ext>
            </a:extLst>
          </p:cNvPr>
          <p:cNvSpPr txBox="1"/>
          <p:nvPr/>
        </p:nvSpPr>
        <p:spPr>
          <a:xfrm>
            <a:off x="5685165" y="5591847"/>
            <a:ext cx="714939" cy="307777"/>
          </a:xfrm>
          <a:prstGeom prst="rect">
            <a:avLst/>
          </a:prstGeom>
          <a:noFill/>
        </p:spPr>
        <p:txBody>
          <a:bodyPr wrap="none" lIns="0" tIns="0" rIns="0" bIns="0" rtlCol="0" anchor="t">
            <a:spAutoFit/>
          </a:bodyPr>
          <a:lstStyle/>
          <a:p>
            <a:pPr algn="ctr"/>
            <a:r>
              <a:rPr lang="en-US" altLang="zh-CN" sz="2000" dirty="0">
                <a:solidFill>
                  <a:schemeClr val="accent1"/>
                </a:solidFill>
                <a:latin typeface="+mj-ea"/>
                <a:ea typeface="+mj-ea"/>
              </a:rPr>
              <a:t>20XX</a:t>
            </a:r>
            <a:endParaRPr lang="zh-CN" altLang="en-US" sz="2000" dirty="0">
              <a:solidFill>
                <a:schemeClr val="accent1"/>
              </a:solidFill>
              <a:latin typeface="+mj-ea"/>
              <a:ea typeface="+mj-ea"/>
            </a:endParaRPr>
          </a:p>
        </p:txBody>
      </p:sp>
      <p:sp>
        <p:nvSpPr>
          <p:cNvPr id="87" name="文本框 86">
            <a:extLst>
              <a:ext uri="{FF2B5EF4-FFF2-40B4-BE49-F238E27FC236}">
                <a16:creationId xmlns:a16="http://schemas.microsoft.com/office/drawing/2014/main" id="{1C80E979-4C9D-4CA9-A807-DC68B084F9A3}"/>
              </a:ext>
            </a:extLst>
          </p:cNvPr>
          <p:cNvSpPr txBox="1"/>
          <p:nvPr/>
        </p:nvSpPr>
        <p:spPr>
          <a:xfrm>
            <a:off x="5196154" y="5881173"/>
            <a:ext cx="1692961" cy="430887"/>
          </a:xfrm>
          <a:prstGeom prst="rect">
            <a:avLst/>
          </a:prstGeom>
          <a:noFill/>
        </p:spPr>
        <p:txBody>
          <a:bodyPr wrap="square" rtlCol="0">
            <a:spAutoFit/>
          </a:bodyPr>
          <a:lstStyle/>
          <a:p>
            <a:pPr algn="ctr"/>
            <a:r>
              <a:rPr lang="en-US" altLang="zh-CN" sz="1100" dirty="0">
                <a:solidFill>
                  <a:schemeClr val="accent1"/>
                </a:solidFill>
              </a:rPr>
              <a:t>Lorem ipsum dolor sit amet consectetur</a:t>
            </a:r>
            <a:endParaRPr lang="zh-CN" altLang="en-US" sz="1100" dirty="0">
              <a:solidFill>
                <a:schemeClr val="accent1"/>
              </a:solidFill>
            </a:endParaRPr>
          </a:p>
        </p:txBody>
      </p:sp>
      <p:sp>
        <p:nvSpPr>
          <p:cNvPr id="88" name="文本框 87">
            <a:extLst>
              <a:ext uri="{FF2B5EF4-FFF2-40B4-BE49-F238E27FC236}">
                <a16:creationId xmlns:a16="http://schemas.microsoft.com/office/drawing/2014/main" id="{F42B4A41-D126-42DD-8706-A7C919A9899E}"/>
              </a:ext>
            </a:extLst>
          </p:cNvPr>
          <p:cNvSpPr txBox="1"/>
          <p:nvPr/>
        </p:nvSpPr>
        <p:spPr>
          <a:xfrm>
            <a:off x="7715481" y="4816910"/>
            <a:ext cx="714939" cy="307777"/>
          </a:xfrm>
          <a:prstGeom prst="rect">
            <a:avLst/>
          </a:prstGeom>
          <a:noFill/>
        </p:spPr>
        <p:txBody>
          <a:bodyPr wrap="none" lIns="0" tIns="0" rIns="0" bIns="0" rtlCol="0" anchor="t">
            <a:spAutoFit/>
          </a:bodyPr>
          <a:lstStyle/>
          <a:p>
            <a:r>
              <a:rPr lang="en-US" altLang="zh-CN" sz="2000" dirty="0">
                <a:solidFill>
                  <a:schemeClr val="accent1"/>
                </a:solidFill>
                <a:latin typeface="+mj-ea"/>
                <a:ea typeface="+mj-ea"/>
              </a:rPr>
              <a:t>20XX</a:t>
            </a:r>
            <a:endParaRPr lang="zh-CN" altLang="en-US" sz="2000" dirty="0">
              <a:solidFill>
                <a:schemeClr val="accent1"/>
              </a:solidFill>
              <a:latin typeface="+mj-ea"/>
              <a:ea typeface="+mj-ea"/>
            </a:endParaRPr>
          </a:p>
        </p:txBody>
      </p:sp>
      <p:sp>
        <p:nvSpPr>
          <p:cNvPr id="89" name="文本框 88">
            <a:extLst>
              <a:ext uri="{FF2B5EF4-FFF2-40B4-BE49-F238E27FC236}">
                <a16:creationId xmlns:a16="http://schemas.microsoft.com/office/drawing/2014/main" id="{6338D88A-07DC-4491-837B-559E447B0694}"/>
              </a:ext>
            </a:extLst>
          </p:cNvPr>
          <p:cNvSpPr txBox="1"/>
          <p:nvPr/>
        </p:nvSpPr>
        <p:spPr>
          <a:xfrm>
            <a:off x="7715481" y="5106236"/>
            <a:ext cx="1692961" cy="430887"/>
          </a:xfrm>
          <a:prstGeom prst="rect">
            <a:avLst/>
          </a:prstGeom>
          <a:noFill/>
        </p:spPr>
        <p:txBody>
          <a:bodyPr wrap="square" rtlCol="0">
            <a:spAutoFit/>
          </a:bodyPr>
          <a:lstStyle/>
          <a:p>
            <a:r>
              <a:rPr lang="en-US" altLang="zh-CN" sz="1100" dirty="0">
                <a:solidFill>
                  <a:schemeClr val="accent1"/>
                </a:solidFill>
              </a:rPr>
              <a:t>Lorem ipsum dolor sit amet consectetur</a:t>
            </a:r>
            <a:endParaRPr lang="zh-CN" altLang="en-US" sz="1100" dirty="0">
              <a:solidFill>
                <a:schemeClr val="accent1"/>
              </a:solidFill>
            </a:endParaRPr>
          </a:p>
        </p:txBody>
      </p:sp>
      <p:sp>
        <p:nvSpPr>
          <p:cNvPr id="90" name="文本框 89">
            <a:extLst>
              <a:ext uri="{FF2B5EF4-FFF2-40B4-BE49-F238E27FC236}">
                <a16:creationId xmlns:a16="http://schemas.microsoft.com/office/drawing/2014/main" id="{E613B319-D173-4D7F-B3E5-6001F82A51DF}"/>
              </a:ext>
            </a:extLst>
          </p:cNvPr>
          <p:cNvSpPr txBox="1"/>
          <p:nvPr/>
        </p:nvSpPr>
        <p:spPr>
          <a:xfrm>
            <a:off x="8256300" y="3313006"/>
            <a:ext cx="714939" cy="307777"/>
          </a:xfrm>
          <a:prstGeom prst="rect">
            <a:avLst/>
          </a:prstGeom>
          <a:noFill/>
        </p:spPr>
        <p:txBody>
          <a:bodyPr wrap="none" lIns="0" tIns="0" rIns="0" bIns="0" rtlCol="0" anchor="t">
            <a:spAutoFit/>
          </a:bodyPr>
          <a:lstStyle/>
          <a:p>
            <a:r>
              <a:rPr lang="en-US" altLang="zh-CN" sz="2000" dirty="0">
                <a:solidFill>
                  <a:schemeClr val="accent1"/>
                </a:solidFill>
                <a:latin typeface="+mj-ea"/>
                <a:ea typeface="+mj-ea"/>
              </a:rPr>
              <a:t>20XX</a:t>
            </a:r>
            <a:endParaRPr lang="zh-CN" altLang="en-US" sz="2000" dirty="0">
              <a:solidFill>
                <a:schemeClr val="accent1"/>
              </a:solidFill>
              <a:latin typeface="+mj-ea"/>
              <a:ea typeface="+mj-ea"/>
            </a:endParaRPr>
          </a:p>
        </p:txBody>
      </p:sp>
      <p:sp>
        <p:nvSpPr>
          <p:cNvPr id="91" name="文本框 90">
            <a:extLst>
              <a:ext uri="{FF2B5EF4-FFF2-40B4-BE49-F238E27FC236}">
                <a16:creationId xmlns:a16="http://schemas.microsoft.com/office/drawing/2014/main" id="{946B5FD4-6363-46C7-B2B9-AD1777E712BB}"/>
              </a:ext>
            </a:extLst>
          </p:cNvPr>
          <p:cNvSpPr txBox="1"/>
          <p:nvPr/>
        </p:nvSpPr>
        <p:spPr>
          <a:xfrm>
            <a:off x="8256300" y="3602332"/>
            <a:ext cx="1692961" cy="430887"/>
          </a:xfrm>
          <a:prstGeom prst="rect">
            <a:avLst/>
          </a:prstGeom>
          <a:noFill/>
        </p:spPr>
        <p:txBody>
          <a:bodyPr wrap="square" rtlCol="0">
            <a:spAutoFit/>
          </a:bodyPr>
          <a:lstStyle/>
          <a:p>
            <a:r>
              <a:rPr lang="en-US" altLang="zh-CN" sz="1100" dirty="0">
                <a:solidFill>
                  <a:schemeClr val="accent1"/>
                </a:solidFill>
              </a:rPr>
              <a:t>Lorem ipsum dolor sit amet consectetur</a:t>
            </a:r>
            <a:endParaRPr lang="zh-CN" altLang="en-US" sz="1100" dirty="0">
              <a:solidFill>
                <a:schemeClr val="accent1"/>
              </a:solidFill>
            </a:endParaRPr>
          </a:p>
        </p:txBody>
      </p:sp>
      <p:sp>
        <p:nvSpPr>
          <p:cNvPr id="95" name="文本框 94">
            <a:extLst>
              <a:ext uri="{FF2B5EF4-FFF2-40B4-BE49-F238E27FC236}">
                <a16:creationId xmlns:a16="http://schemas.microsoft.com/office/drawing/2014/main" id="{8016E014-171D-4D8B-88F0-8DFFF34B7D9F}"/>
              </a:ext>
            </a:extLst>
          </p:cNvPr>
          <p:cNvSpPr txBox="1"/>
          <p:nvPr/>
        </p:nvSpPr>
        <p:spPr>
          <a:xfrm>
            <a:off x="4557119" y="1173574"/>
            <a:ext cx="3077767" cy="738664"/>
          </a:xfrm>
          <a:prstGeom prst="rect">
            <a:avLst/>
          </a:prstGeom>
          <a:noFill/>
        </p:spPr>
        <p:txBody>
          <a:bodyPr wrap="none" lIns="0" tIns="0" rIns="0" bIns="0" rtlCol="0" anchor="t">
            <a:spAutoFit/>
          </a:bodyPr>
          <a:lstStyle/>
          <a:p>
            <a:pPr algn="ctr"/>
            <a:r>
              <a:rPr lang="zh-CN" altLang="en-US" sz="4800" dirty="0">
                <a:solidFill>
                  <a:schemeClr val="accent1"/>
                </a:solidFill>
                <a:latin typeface="+mj-ea"/>
                <a:ea typeface="+mj-ea"/>
              </a:rPr>
              <a:t>关键词标题</a:t>
            </a:r>
          </a:p>
        </p:txBody>
      </p:sp>
      <p:grpSp>
        <p:nvGrpSpPr>
          <p:cNvPr id="98" name="组合 97">
            <a:extLst>
              <a:ext uri="{FF2B5EF4-FFF2-40B4-BE49-F238E27FC236}">
                <a16:creationId xmlns:a16="http://schemas.microsoft.com/office/drawing/2014/main" id="{FE6A7FB3-4E61-4D3F-850F-C1D68F955DD0}"/>
              </a:ext>
            </a:extLst>
          </p:cNvPr>
          <p:cNvGrpSpPr/>
          <p:nvPr/>
        </p:nvGrpSpPr>
        <p:grpSpPr>
          <a:xfrm>
            <a:off x="990101" y="1277426"/>
            <a:ext cx="1326794" cy="486972"/>
            <a:chOff x="885326" y="1612497"/>
            <a:chExt cx="1326794" cy="486972"/>
          </a:xfrm>
        </p:grpSpPr>
        <p:sp>
          <p:nvSpPr>
            <p:cNvPr id="96" name="文本框 95">
              <a:extLst>
                <a:ext uri="{FF2B5EF4-FFF2-40B4-BE49-F238E27FC236}">
                  <a16:creationId xmlns:a16="http://schemas.microsoft.com/office/drawing/2014/main" id="{66AAD28E-D20E-4860-9B2E-10CDD050CFED}"/>
                </a:ext>
              </a:extLst>
            </p:cNvPr>
            <p:cNvSpPr txBox="1"/>
            <p:nvPr/>
          </p:nvSpPr>
          <p:spPr>
            <a:xfrm>
              <a:off x="885326" y="1912238"/>
              <a:ext cx="1326794" cy="187231"/>
            </a:xfrm>
            <a:prstGeom prst="rect">
              <a:avLst/>
            </a:prstGeom>
            <a:noFill/>
          </p:spPr>
          <p:txBody>
            <a:bodyPr wrap="square" lIns="0" tIns="0" rIns="0" bIns="0" rtlCol="0" anchor="t">
              <a:spAutoFit/>
            </a:bodyPr>
            <a:lstStyle/>
            <a:p>
              <a:pPr algn="ctr">
                <a:lnSpc>
                  <a:spcPct val="130000"/>
                </a:lnSpc>
              </a:pPr>
              <a:r>
                <a:rPr lang="en-US" altLang="zh-CN" sz="1000" b="0" dirty="0">
                  <a:solidFill>
                    <a:schemeClr val="bg1"/>
                  </a:solidFill>
                  <a:effectLst/>
                  <a:latin typeface="+mn-ea"/>
                </a:rPr>
                <a:t>Lorem ipsum dolor sit</a:t>
              </a:r>
              <a:endParaRPr lang="zh-CN" altLang="en-US" sz="1000" b="0" dirty="0">
                <a:solidFill>
                  <a:schemeClr val="bg1"/>
                </a:solidFill>
                <a:effectLst/>
                <a:latin typeface="+mn-ea"/>
              </a:endParaRPr>
            </a:p>
          </p:txBody>
        </p:sp>
        <p:sp>
          <p:nvSpPr>
            <p:cNvPr id="97" name="文本框 96">
              <a:extLst>
                <a:ext uri="{FF2B5EF4-FFF2-40B4-BE49-F238E27FC236}">
                  <a16:creationId xmlns:a16="http://schemas.microsoft.com/office/drawing/2014/main" id="{593E289F-5C9A-4CED-B73E-24C2AD2649B9}"/>
                </a:ext>
              </a:extLst>
            </p:cNvPr>
            <p:cNvSpPr txBox="1"/>
            <p:nvPr/>
          </p:nvSpPr>
          <p:spPr>
            <a:xfrm>
              <a:off x="1164003" y="1612497"/>
              <a:ext cx="769441" cy="307777"/>
            </a:xfrm>
            <a:prstGeom prst="rect">
              <a:avLst/>
            </a:prstGeom>
            <a:noFill/>
          </p:spPr>
          <p:txBody>
            <a:bodyPr wrap="none" lIns="0" tIns="0" rIns="0" bIns="0" rtlCol="0" anchor="t">
              <a:spAutoFit/>
            </a:bodyPr>
            <a:lstStyle/>
            <a:p>
              <a:pPr algn="ctr"/>
              <a:r>
                <a:rPr lang="zh-CN" altLang="en-US" sz="2000" dirty="0">
                  <a:solidFill>
                    <a:schemeClr val="bg1"/>
                  </a:solidFill>
                  <a:latin typeface="+mj-ea"/>
                  <a:ea typeface="+mj-ea"/>
                </a:rPr>
                <a:t>关键词</a:t>
              </a:r>
            </a:p>
          </p:txBody>
        </p:sp>
      </p:grpSp>
      <p:grpSp>
        <p:nvGrpSpPr>
          <p:cNvPr id="99" name="组合 98">
            <a:extLst>
              <a:ext uri="{FF2B5EF4-FFF2-40B4-BE49-F238E27FC236}">
                <a16:creationId xmlns:a16="http://schemas.microsoft.com/office/drawing/2014/main" id="{2953DB0F-DCDB-4A6B-9C7A-5BF3EF32C097}"/>
              </a:ext>
            </a:extLst>
          </p:cNvPr>
          <p:cNvGrpSpPr/>
          <p:nvPr/>
        </p:nvGrpSpPr>
        <p:grpSpPr>
          <a:xfrm>
            <a:off x="707992" y="3185515"/>
            <a:ext cx="1326794" cy="486972"/>
            <a:chOff x="885326" y="1612497"/>
            <a:chExt cx="1326794" cy="486972"/>
          </a:xfrm>
        </p:grpSpPr>
        <p:sp>
          <p:nvSpPr>
            <p:cNvPr id="100" name="文本框 99">
              <a:extLst>
                <a:ext uri="{FF2B5EF4-FFF2-40B4-BE49-F238E27FC236}">
                  <a16:creationId xmlns:a16="http://schemas.microsoft.com/office/drawing/2014/main" id="{EB96CA54-B5AF-4D50-AC0B-529080937C9E}"/>
                </a:ext>
              </a:extLst>
            </p:cNvPr>
            <p:cNvSpPr txBox="1"/>
            <p:nvPr/>
          </p:nvSpPr>
          <p:spPr>
            <a:xfrm>
              <a:off x="885326" y="1912238"/>
              <a:ext cx="1326794" cy="187231"/>
            </a:xfrm>
            <a:prstGeom prst="rect">
              <a:avLst/>
            </a:prstGeom>
            <a:noFill/>
          </p:spPr>
          <p:txBody>
            <a:bodyPr wrap="square" lIns="0" tIns="0" rIns="0" bIns="0" rtlCol="0" anchor="t">
              <a:spAutoFit/>
            </a:bodyPr>
            <a:lstStyle/>
            <a:p>
              <a:pPr algn="ctr">
                <a:lnSpc>
                  <a:spcPct val="130000"/>
                </a:lnSpc>
              </a:pPr>
              <a:r>
                <a:rPr lang="en-US" altLang="zh-CN" sz="1000" b="0" dirty="0">
                  <a:solidFill>
                    <a:schemeClr val="bg1"/>
                  </a:solidFill>
                  <a:effectLst/>
                  <a:latin typeface="+mn-ea"/>
                </a:rPr>
                <a:t>Lorem ipsum dolor sit</a:t>
              </a:r>
              <a:endParaRPr lang="zh-CN" altLang="en-US" sz="1000" b="0" dirty="0">
                <a:solidFill>
                  <a:schemeClr val="bg1"/>
                </a:solidFill>
                <a:effectLst/>
                <a:latin typeface="+mn-ea"/>
              </a:endParaRPr>
            </a:p>
          </p:txBody>
        </p:sp>
        <p:sp>
          <p:nvSpPr>
            <p:cNvPr id="101" name="文本框 100">
              <a:extLst>
                <a:ext uri="{FF2B5EF4-FFF2-40B4-BE49-F238E27FC236}">
                  <a16:creationId xmlns:a16="http://schemas.microsoft.com/office/drawing/2014/main" id="{15956927-F6CA-4A47-B123-1185966A6167}"/>
                </a:ext>
              </a:extLst>
            </p:cNvPr>
            <p:cNvSpPr txBox="1"/>
            <p:nvPr/>
          </p:nvSpPr>
          <p:spPr>
            <a:xfrm>
              <a:off x="1164003" y="1612497"/>
              <a:ext cx="769441" cy="307777"/>
            </a:xfrm>
            <a:prstGeom prst="rect">
              <a:avLst/>
            </a:prstGeom>
            <a:noFill/>
          </p:spPr>
          <p:txBody>
            <a:bodyPr wrap="none" lIns="0" tIns="0" rIns="0" bIns="0" rtlCol="0" anchor="t">
              <a:spAutoFit/>
            </a:bodyPr>
            <a:lstStyle/>
            <a:p>
              <a:pPr algn="ctr"/>
              <a:r>
                <a:rPr lang="zh-CN" altLang="en-US" sz="2000" dirty="0">
                  <a:solidFill>
                    <a:schemeClr val="bg1"/>
                  </a:solidFill>
                  <a:latin typeface="+mj-ea"/>
                  <a:ea typeface="+mj-ea"/>
                </a:rPr>
                <a:t>关键词</a:t>
              </a:r>
            </a:p>
          </p:txBody>
        </p:sp>
      </p:grpSp>
      <p:grpSp>
        <p:nvGrpSpPr>
          <p:cNvPr id="102" name="组合 101">
            <a:extLst>
              <a:ext uri="{FF2B5EF4-FFF2-40B4-BE49-F238E27FC236}">
                <a16:creationId xmlns:a16="http://schemas.microsoft.com/office/drawing/2014/main" id="{18158341-10EF-4DCE-826D-033134D2EBD8}"/>
              </a:ext>
            </a:extLst>
          </p:cNvPr>
          <p:cNvGrpSpPr/>
          <p:nvPr/>
        </p:nvGrpSpPr>
        <p:grpSpPr>
          <a:xfrm>
            <a:off x="1134245" y="5093603"/>
            <a:ext cx="1326794" cy="486972"/>
            <a:chOff x="885326" y="1612497"/>
            <a:chExt cx="1326794" cy="486972"/>
          </a:xfrm>
        </p:grpSpPr>
        <p:sp>
          <p:nvSpPr>
            <p:cNvPr id="103" name="文本框 102">
              <a:extLst>
                <a:ext uri="{FF2B5EF4-FFF2-40B4-BE49-F238E27FC236}">
                  <a16:creationId xmlns:a16="http://schemas.microsoft.com/office/drawing/2014/main" id="{D1CC5A91-FF67-4040-9843-7B1B184C4D28}"/>
                </a:ext>
              </a:extLst>
            </p:cNvPr>
            <p:cNvSpPr txBox="1"/>
            <p:nvPr/>
          </p:nvSpPr>
          <p:spPr>
            <a:xfrm>
              <a:off x="885326" y="1912238"/>
              <a:ext cx="1326794" cy="187231"/>
            </a:xfrm>
            <a:prstGeom prst="rect">
              <a:avLst/>
            </a:prstGeom>
            <a:noFill/>
          </p:spPr>
          <p:txBody>
            <a:bodyPr wrap="square" lIns="0" tIns="0" rIns="0" bIns="0" rtlCol="0" anchor="t">
              <a:spAutoFit/>
            </a:bodyPr>
            <a:lstStyle/>
            <a:p>
              <a:pPr algn="ctr">
                <a:lnSpc>
                  <a:spcPct val="130000"/>
                </a:lnSpc>
              </a:pPr>
              <a:r>
                <a:rPr lang="en-US" altLang="zh-CN" sz="1000" b="0" dirty="0">
                  <a:solidFill>
                    <a:schemeClr val="bg1"/>
                  </a:solidFill>
                  <a:effectLst/>
                  <a:latin typeface="+mn-ea"/>
                </a:rPr>
                <a:t>Lorem ipsum dolor sit</a:t>
              </a:r>
              <a:endParaRPr lang="zh-CN" altLang="en-US" sz="1000" b="0" dirty="0">
                <a:solidFill>
                  <a:schemeClr val="bg1"/>
                </a:solidFill>
                <a:effectLst/>
                <a:latin typeface="+mn-ea"/>
              </a:endParaRPr>
            </a:p>
          </p:txBody>
        </p:sp>
        <p:sp>
          <p:nvSpPr>
            <p:cNvPr id="104" name="文本框 103">
              <a:extLst>
                <a:ext uri="{FF2B5EF4-FFF2-40B4-BE49-F238E27FC236}">
                  <a16:creationId xmlns:a16="http://schemas.microsoft.com/office/drawing/2014/main" id="{267EC972-7C38-498B-8744-FAD2617CBB3D}"/>
                </a:ext>
              </a:extLst>
            </p:cNvPr>
            <p:cNvSpPr txBox="1"/>
            <p:nvPr/>
          </p:nvSpPr>
          <p:spPr>
            <a:xfrm>
              <a:off x="1164003" y="1612497"/>
              <a:ext cx="769441" cy="307777"/>
            </a:xfrm>
            <a:prstGeom prst="rect">
              <a:avLst/>
            </a:prstGeom>
            <a:noFill/>
          </p:spPr>
          <p:txBody>
            <a:bodyPr wrap="none" lIns="0" tIns="0" rIns="0" bIns="0" rtlCol="0" anchor="t">
              <a:spAutoFit/>
            </a:bodyPr>
            <a:lstStyle/>
            <a:p>
              <a:pPr algn="ctr"/>
              <a:r>
                <a:rPr lang="zh-CN" altLang="en-US" sz="2000" dirty="0">
                  <a:solidFill>
                    <a:schemeClr val="bg1"/>
                  </a:solidFill>
                  <a:latin typeface="+mj-ea"/>
                  <a:ea typeface="+mj-ea"/>
                </a:rPr>
                <a:t>关键词</a:t>
              </a:r>
            </a:p>
          </p:txBody>
        </p:sp>
      </p:grpSp>
      <p:grpSp>
        <p:nvGrpSpPr>
          <p:cNvPr id="106" name="组合 105">
            <a:extLst>
              <a:ext uri="{FF2B5EF4-FFF2-40B4-BE49-F238E27FC236}">
                <a16:creationId xmlns:a16="http://schemas.microsoft.com/office/drawing/2014/main" id="{410E9934-B8FA-4A60-8AEB-A52F8041158D}"/>
              </a:ext>
            </a:extLst>
          </p:cNvPr>
          <p:cNvGrpSpPr/>
          <p:nvPr/>
        </p:nvGrpSpPr>
        <p:grpSpPr>
          <a:xfrm>
            <a:off x="9832791" y="1277426"/>
            <a:ext cx="1326794" cy="486972"/>
            <a:chOff x="885326" y="1612497"/>
            <a:chExt cx="1326794" cy="486972"/>
          </a:xfrm>
        </p:grpSpPr>
        <p:sp>
          <p:nvSpPr>
            <p:cNvPr id="107" name="文本框 106">
              <a:extLst>
                <a:ext uri="{FF2B5EF4-FFF2-40B4-BE49-F238E27FC236}">
                  <a16:creationId xmlns:a16="http://schemas.microsoft.com/office/drawing/2014/main" id="{DF7AB0BE-E601-4386-A6F8-32A163F4FE14}"/>
                </a:ext>
              </a:extLst>
            </p:cNvPr>
            <p:cNvSpPr txBox="1"/>
            <p:nvPr/>
          </p:nvSpPr>
          <p:spPr>
            <a:xfrm>
              <a:off x="885326" y="1912238"/>
              <a:ext cx="1326794" cy="187231"/>
            </a:xfrm>
            <a:prstGeom prst="rect">
              <a:avLst/>
            </a:prstGeom>
            <a:noFill/>
          </p:spPr>
          <p:txBody>
            <a:bodyPr wrap="square" lIns="0" tIns="0" rIns="0" bIns="0" rtlCol="0" anchor="t">
              <a:spAutoFit/>
            </a:bodyPr>
            <a:lstStyle/>
            <a:p>
              <a:pPr algn="ctr">
                <a:lnSpc>
                  <a:spcPct val="130000"/>
                </a:lnSpc>
              </a:pPr>
              <a:r>
                <a:rPr lang="en-US" altLang="zh-CN" sz="1000" b="0" dirty="0">
                  <a:solidFill>
                    <a:schemeClr val="bg1"/>
                  </a:solidFill>
                  <a:effectLst/>
                  <a:latin typeface="+mn-ea"/>
                </a:rPr>
                <a:t>Lorem ipsum dolor sit</a:t>
              </a:r>
              <a:endParaRPr lang="zh-CN" altLang="en-US" sz="1000" b="0" dirty="0">
                <a:solidFill>
                  <a:schemeClr val="bg1"/>
                </a:solidFill>
                <a:effectLst/>
                <a:latin typeface="+mn-ea"/>
              </a:endParaRPr>
            </a:p>
          </p:txBody>
        </p:sp>
        <p:sp>
          <p:nvSpPr>
            <p:cNvPr id="108" name="文本框 107">
              <a:extLst>
                <a:ext uri="{FF2B5EF4-FFF2-40B4-BE49-F238E27FC236}">
                  <a16:creationId xmlns:a16="http://schemas.microsoft.com/office/drawing/2014/main" id="{880A63C4-47D9-4405-A5C8-A32FF067C286}"/>
                </a:ext>
              </a:extLst>
            </p:cNvPr>
            <p:cNvSpPr txBox="1"/>
            <p:nvPr/>
          </p:nvSpPr>
          <p:spPr>
            <a:xfrm>
              <a:off x="1164003" y="1612497"/>
              <a:ext cx="769441" cy="307777"/>
            </a:xfrm>
            <a:prstGeom prst="rect">
              <a:avLst/>
            </a:prstGeom>
            <a:noFill/>
          </p:spPr>
          <p:txBody>
            <a:bodyPr wrap="none" lIns="0" tIns="0" rIns="0" bIns="0" rtlCol="0" anchor="t">
              <a:spAutoFit/>
            </a:bodyPr>
            <a:lstStyle/>
            <a:p>
              <a:pPr algn="ctr"/>
              <a:r>
                <a:rPr lang="zh-CN" altLang="en-US" sz="2000" dirty="0">
                  <a:solidFill>
                    <a:schemeClr val="bg1"/>
                  </a:solidFill>
                  <a:latin typeface="+mj-ea"/>
                  <a:ea typeface="+mj-ea"/>
                </a:rPr>
                <a:t>关键词</a:t>
              </a:r>
            </a:p>
          </p:txBody>
        </p:sp>
      </p:grpSp>
      <p:grpSp>
        <p:nvGrpSpPr>
          <p:cNvPr id="109" name="组合 108">
            <a:extLst>
              <a:ext uri="{FF2B5EF4-FFF2-40B4-BE49-F238E27FC236}">
                <a16:creationId xmlns:a16="http://schemas.microsoft.com/office/drawing/2014/main" id="{919571ED-6EC4-4ECB-9CB1-E4E97276F2D2}"/>
              </a:ext>
            </a:extLst>
          </p:cNvPr>
          <p:cNvGrpSpPr/>
          <p:nvPr/>
        </p:nvGrpSpPr>
        <p:grpSpPr>
          <a:xfrm>
            <a:off x="10217511" y="3185515"/>
            <a:ext cx="1326794" cy="486972"/>
            <a:chOff x="885326" y="1612497"/>
            <a:chExt cx="1326794" cy="486972"/>
          </a:xfrm>
        </p:grpSpPr>
        <p:sp>
          <p:nvSpPr>
            <p:cNvPr id="110" name="文本框 109">
              <a:extLst>
                <a:ext uri="{FF2B5EF4-FFF2-40B4-BE49-F238E27FC236}">
                  <a16:creationId xmlns:a16="http://schemas.microsoft.com/office/drawing/2014/main" id="{48D03214-EA60-4AD4-9B2B-82CD13899528}"/>
                </a:ext>
              </a:extLst>
            </p:cNvPr>
            <p:cNvSpPr txBox="1"/>
            <p:nvPr/>
          </p:nvSpPr>
          <p:spPr>
            <a:xfrm>
              <a:off x="885326" y="1912238"/>
              <a:ext cx="1326794" cy="187231"/>
            </a:xfrm>
            <a:prstGeom prst="rect">
              <a:avLst/>
            </a:prstGeom>
            <a:noFill/>
          </p:spPr>
          <p:txBody>
            <a:bodyPr wrap="square" lIns="0" tIns="0" rIns="0" bIns="0" rtlCol="0" anchor="t">
              <a:spAutoFit/>
            </a:bodyPr>
            <a:lstStyle/>
            <a:p>
              <a:pPr algn="ctr">
                <a:lnSpc>
                  <a:spcPct val="130000"/>
                </a:lnSpc>
              </a:pPr>
              <a:r>
                <a:rPr lang="en-US" altLang="zh-CN" sz="1000" b="0" dirty="0">
                  <a:solidFill>
                    <a:schemeClr val="bg1"/>
                  </a:solidFill>
                  <a:effectLst/>
                  <a:latin typeface="+mn-ea"/>
                </a:rPr>
                <a:t>Lorem ipsum dolor sit</a:t>
              </a:r>
              <a:endParaRPr lang="zh-CN" altLang="en-US" sz="1000" b="0" dirty="0">
                <a:solidFill>
                  <a:schemeClr val="bg1"/>
                </a:solidFill>
                <a:effectLst/>
                <a:latin typeface="+mn-ea"/>
              </a:endParaRPr>
            </a:p>
          </p:txBody>
        </p:sp>
        <p:sp>
          <p:nvSpPr>
            <p:cNvPr id="111" name="文本框 110">
              <a:extLst>
                <a:ext uri="{FF2B5EF4-FFF2-40B4-BE49-F238E27FC236}">
                  <a16:creationId xmlns:a16="http://schemas.microsoft.com/office/drawing/2014/main" id="{CFFF0726-652E-47A9-81CE-FF9BDFB9AF4A}"/>
                </a:ext>
              </a:extLst>
            </p:cNvPr>
            <p:cNvSpPr txBox="1"/>
            <p:nvPr/>
          </p:nvSpPr>
          <p:spPr>
            <a:xfrm>
              <a:off x="1164003" y="1612497"/>
              <a:ext cx="769441" cy="307777"/>
            </a:xfrm>
            <a:prstGeom prst="rect">
              <a:avLst/>
            </a:prstGeom>
            <a:noFill/>
          </p:spPr>
          <p:txBody>
            <a:bodyPr wrap="none" lIns="0" tIns="0" rIns="0" bIns="0" rtlCol="0" anchor="t">
              <a:spAutoFit/>
            </a:bodyPr>
            <a:lstStyle/>
            <a:p>
              <a:pPr algn="ctr"/>
              <a:r>
                <a:rPr lang="zh-CN" altLang="en-US" sz="2000" dirty="0">
                  <a:solidFill>
                    <a:schemeClr val="bg1"/>
                  </a:solidFill>
                  <a:latin typeface="+mj-ea"/>
                  <a:ea typeface="+mj-ea"/>
                </a:rPr>
                <a:t>关键词</a:t>
              </a:r>
            </a:p>
          </p:txBody>
        </p:sp>
      </p:grpSp>
      <p:grpSp>
        <p:nvGrpSpPr>
          <p:cNvPr id="112" name="组合 111">
            <a:extLst>
              <a:ext uri="{FF2B5EF4-FFF2-40B4-BE49-F238E27FC236}">
                <a16:creationId xmlns:a16="http://schemas.microsoft.com/office/drawing/2014/main" id="{6D42491D-4B91-4B4A-A630-754881B06EE9}"/>
              </a:ext>
            </a:extLst>
          </p:cNvPr>
          <p:cNvGrpSpPr/>
          <p:nvPr/>
        </p:nvGrpSpPr>
        <p:grpSpPr>
          <a:xfrm>
            <a:off x="9804583" y="5093603"/>
            <a:ext cx="1326794" cy="486972"/>
            <a:chOff x="885326" y="1612497"/>
            <a:chExt cx="1326794" cy="486972"/>
          </a:xfrm>
        </p:grpSpPr>
        <p:sp>
          <p:nvSpPr>
            <p:cNvPr id="113" name="文本框 112">
              <a:extLst>
                <a:ext uri="{FF2B5EF4-FFF2-40B4-BE49-F238E27FC236}">
                  <a16:creationId xmlns:a16="http://schemas.microsoft.com/office/drawing/2014/main" id="{4F7B4D80-19FD-4820-9421-CEE5A0AC515D}"/>
                </a:ext>
              </a:extLst>
            </p:cNvPr>
            <p:cNvSpPr txBox="1"/>
            <p:nvPr/>
          </p:nvSpPr>
          <p:spPr>
            <a:xfrm>
              <a:off x="885326" y="1912238"/>
              <a:ext cx="1326794" cy="187231"/>
            </a:xfrm>
            <a:prstGeom prst="rect">
              <a:avLst/>
            </a:prstGeom>
            <a:noFill/>
          </p:spPr>
          <p:txBody>
            <a:bodyPr wrap="square" lIns="0" tIns="0" rIns="0" bIns="0" rtlCol="0" anchor="t">
              <a:spAutoFit/>
            </a:bodyPr>
            <a:lstStyle/>
            <a:p>
              <a:pPr algn="ctr">
                <a:lnSpc>
                  <a:spcPct val="130000"/>
                </a:lnSpc>
              </a:pPr>
              <a:r>
                <a:rPr lang="en-US" altLang="zh-CN" sz="1000" b="0" dirty="0">
                  <a:solidFill>
                    <a:schemeClr val="bg1"/>
                  </a:solidFill>
                  <a:effectLst/>
                  <a:latin typeface="+mn-ea"/>
                </a:rPr>
                <a:t>Lorem ipsum dolor sit</a:t>
              </a:r>
              <a:endParaRPr lang="zh-CN" altLang="en-US" sz="1000" b="0" dirty="0">
                <a:solidFill>
                  <a:schemeClr val="bg1"/>
                </a:solidFill>
                <a:effectLst/>
                <a:latin typeface="+mn-ea"/>
              </a:endParaRPr>
            </a:p>
          </p:txBody>
        </p:sp>
        <p:sp>
          <p:nvSpPr>
            <p:cNvPr id="114" name="文本框 113">
              <a:extLst>
                <a:ext uri="{FF2B5EF4-FFF2-40B4-BE49-F238E27FC236}">
                  <a16:creationId xmlns:a16="http://schemas.microsoft.com/office/drawing/2014/main" id="{FA4120DE-21B7-42B9-93CA-83E0EBD8C980}"/>
                </a:ext>
              </a:extLst>
            </p:cNvPr>
            <p:cNvSpPr txBox="1"/>
            <p:nvPr/>
          </p:nvSpPr>
          <p:spPr>
            <a:xfrm>
              <a:off x="1164003" y="1612497"/>
              <a:ext cx="769441" cy="307777"/>
            </a:xfrm>
            <a:prstGeom prst="rect">
              <a:avLst/>
            </a:prstGeom>
            <a:noFill/>
          </p:spPr>
          <p:txBody>
            <a:bodyPr wrap="none" lIns="0" tIns="0" rIns="0" bIns="0" rtlCol="0" anchor="t">
              <a:spAutoFit/>
            </a:bodyPr>
            <a:lstStyle/>
            <a:p>
              <a:pPr algn="ctr"/>
              <a:r>
                <a:rPr lang="zh-CN" altLang="en-US" sz="2000" dirty="0">
                  <a:solidFill>
                    <a:schemeClr val="bg1"/>
                  </a:solidFill>
                  <a:latin typeface="+mj-ea"/>
                  <a:ea typeface="+mj-ea"/>
                </a:rPr>
                <a:t>关键词</a:t>
              </a:r>
            </a:p>
          </p:txBody>
        </p:sp>
      </p:grpSp>
    </p:spTree>
    <p:extLst>
      <p:ext uri="{BB962C8B-B14F-4D97-AF65-F5344CB8AC3E}">
        <p14:creationId xmlns:p14="http://schemas.microsoft.com/office/powerpoint/2010/main" val="1836291859"/>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3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 name="任意形状 9">
            <a:extLst>
              <a:ext uri="{FF2B5EF4-FFF2-40B4-BE49-F238E27FC236}">
                <a16:creationId xmlns:a16="http://schemas.microsoft.com/office/drawing/2014/main" id="{AA202101-1D6B-4874-9BE5-D6BF99331DE8}"/>
              </a:ext>
            </a:extLst>
          </p:cNvPr>
          <p:cNvSpPr/>
          <p:nvPr/>
        </p:nvSpPr>
        <p:spPr>
          <a:xfrm>
            <a:off x="0" y="6457950"/>
            <a:ext cx="12192000" cy="400050"/>
          </a:xfrm>
          <a:custGeom>
            <a:avLst/>
            <a:gdLst>
              <a:gd name="connsiteX0" fmla="*/ 12192000 w 12192000"/>
              <a:gd name="connsiteY0" fmla="*/ 0 h 329410"/>
              <a:gd name="connsiteX1" fmla="*/ 12192000 w 12192000"/>
              <a:gd name="connsiteY1" fmla="*/ 329410 h 329410"/>
              <a:gd name="connsiteX2" fmla="*/ 0 w 12192000"/>
              <a:gd name="connsiteY2" fmla="*/ 329410 h 329410"/>
              <a:gd name="connsiteX3" fmla="*/ 0 w 12192000"/>
              <a:gd name="connsiteY3" fmla="*/ 29375 h 329410"/>
              <a:gd name="connsiteX4" fmla="*/ 577089 w 12192000"/>
              <a:gd name="connsiteY4" fmla="*/ 49593 h 329410"/>
              <a:gd name="connsiteX5" fmla="*/ 5704114 w 12192000"/>
              <a:gd name="connsiteY5" fmla="*/ 124873 h 329410"/>
              <a:gd name="connsiteX6" fmla="*/ 11982536 w 12192000"/>
              <a:gd name="connsiteY6" fmla="*/ 9255 h 329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329410">
                <a:moveTo>
                  <a:pt x="12192000" y="0"/>
                </a:moveTo>
                <a:lnTo>
                  <a:pt x="12192000" y="329410"/>
                </a:lnTo>
                <a:lnTo>
                  <a:pt x="0" y="329410"/>
                </a:lnTo>
                <a:lnTo>
                  <a:pt x="0" y="29375"/>
                </a:lnTo>
                <a:lnTo>
                  <a:pt x="577089" y="49593"/>
                </a:lnTo>
                <a:cubicBezTo>
                  <a:pt x="2152931" y="98068"/>
                  <a:pt x="3885480" y="124873"/>
                  <a:pt x="5704114" y="124873"/>
                </a:cubicBezTo>
                <a:cubicBezTo>
                  <a:pt x="7977407" y="124873"/>
                  <a:pt x="10116192" y="82990"/>
                  <a:pt x="11982536" y="9255"/>
                </a:cubicBezTo>
                <a:close/>
              </a:path>
            </a:pathLst>
          </a:custGeom>
          <a:solidFill>
            <a:schemeClr val="accent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zh-CN" altLang="en-US"/>
          </a:p>
        </p:txBody>
      </p:sp>
      <p:grpSp>
        <p:nvGrpSpPr>
          <p:cNvPr id="2" name="组合 1">
            <a:extLst>
              <a:ext uri="{FF2B5EF4-FFF2-40B4-BE49-F238E27FC236}">
                <a16:creationId xmlns:a16="http://schemas.microsoft.com/office/drawing/2014/main" id="{48D2DB7F-F0D8-4157-A147-13858C948461}"/>
              </a:ext>
            </a:extLst>
          </p:cNvPr>
          <p:cNvGrpSpPr/>
          <p:nvPr/>
        </p:nvGrpSpPr>
        <p:grpSpPr>
          <a:xfrm>
            <a:off x="4793673" y="1893560"/>
            <a:ext cx="2401454" cy="3537422"/>
            <a:chOff x="4793673" y="1893560"/>
            <a:chExt cx="2401454" cy="3537422"/>
          </a:xfrm>
        </p:grpSpPr>
        <p:sp>
          <p:nvSpPr>
            <p:cNvPr id="14" name="矩形 13">
              <a:extLst>
                <a:ext uri="{FF2B5EF4-FFF2-40B4-BE49-F238E27FC236}">
                  <a16:creationId xmlns:a16="http://schemas.microsoft.com/office/drawing/2014/main" id="{62583184-2D1A-4B31-8819-9FDA57B5F004}"/>
                </a:ext>
              </a:extLst>
            </p:cNvPr>
            <p:cNvSpPr/>
            <p:nvPr/>
          </p:nvSpPr>
          <p:spPr>
            <a:xfrm>
              <a:off x="4793673" y="2741285"/>
              <a:ext cx="1200727" cy="2689697"/>
            </a:xfrm>
            <a:prstGeom prst="rect">
              <a:avLst/>
            </a:prstGeom>
            <a:gradFill>
              <a:gsLst>
                <a:gs pos="17000">
                  <a:schemeClr val="accent1">
                    <a:alpha val="37000"/>
                  </a:schemeClr>
                </a:gs>
                <a:gs pos="80000">
                  <a:schemeClr val="accent1">
                    <a:alpha val="0"/>
                  </a:schemeClr>
                </a:gs>
              </a:gsLst>
              <a:lin ang="6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13" name="矩形 12">
              <a:extLst>
                <a:ext uri="{FF2B5EF4-FFF2-40B4-BE49-F238E27FC236}">
                  <a16:creationId xmlns:a16="http://schemas.microsoft.com/office/drawing/2014/main" id="{C30D5FCF-25CB-434C-9D64-FAE0BFA5BAF9}"/>
                </a:ext>
              </a:extLst>
            </p:cNvPr>
            <p:cNvSpPr/>
            <p:nvPr/>
          </p:nvSpPr>
          <p:spPr>
            <a:xfrm>
              <a:off x="5153025" y="1893560"/>
              <a:ext cx="1695450" cy="1695450"/>
            </a:xfrm>
            <a:prstGeom prst="rect">
              <a:avLst/>
            </a:prstGeom>
            <a:solidFill>
              <a:schemeClr val="accent1"/>
            </a:solidFill>
            <a:ln>
              <a:noFill/>
            </a:ln>
            <a:scene3d>
              <a:camera prst="isometricTopUp"/>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42" name="矩形 41">
              <a:extLst>
                <a:ext uri="{FF2B5EF4-FFF2-40B4-BE49-F238E27FC236}">
                  <a16:creationId xmlns:a16="http://schemas.microsoft.com/office/drawing/2014/main" id="{5B4224BD-18E5-4880-B4F1-054FA3115BA0}"/>
                </a:ext>
              </a:extLst>
            </p:cNvPr>
            <p:cNvSpPr/>
            <p:nvPr/>
          </p:nvSpPr>
          <p:spPr>
            <a:xfrm flipH="1">
              <a:off x="5994400" y="2741285"/>
              <a:ext cx="1200727" cy="2689697"/>
            </a:xfrm>
            <a:prstGeom prst="rect">
              <a:avLst/>
            </a:prstGeom>
            <a:gradFill>
              <a:gsLst>
                <a:gs pos="0">
                  <a:schemeClr val="accent1">
                    <a:alpha val="24000"/>
                  </a:schemeClr>
                </a:gs>
                <a:gs pos="80000">
                  <a:schemeClr val="accent1">
                    <a:alpha val="0"/>
                  </a:schemeClr>
                </a:gs>
              </a:gsLst>
              <a:lin ang="6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grpSp>
      <p:sp>
        <p:nvSpPr>
          <p:cNvPr id="15" name="椭圆 14">
            <a:extLst>
              <a:ext uri="{FF2B5EF4-FFF2-40B4-BE49-F238E27FC236}">
                <a16:creationId xmlns:a16="http://schemas.microsoft.com/office/drawing/2014/main" id="{62CAA0D9-0E18-41DA-B256-C979B53D32C6}"/>
              </a:ext>
            </a:extLst>
          </p:cNvPr>
          <p:cNvSpPr/>
          <p:nvPr/>
        </p:nvSpPr>
        <p:spPr>
          <a:xfrm>
            <a:off x="5237018" y="1470419"/>
            <a:ext cx="1514764" cy="1514764"/>
          </a:xfrm>
          <a:prstGeom prst="ellips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43" name="user_209046">
            <a:extLst>
              <a:ext uri="{FF2B5EF4-FFF2-40B4-BE49-F238E27FC236}">
                <a16:creationId xmlns:a16="http://schemas.microsoft.com/office/drawing/2014/main" id="{072B1451-554F-434F-A3B0-6DFC61CC4AFA}"/>
              </a:ext>
            </a:extLst>
          </p:cNvPr>
          <p:cNvSpPr/>
          <p:nvPr/>
        </p:nvSpPr>
        <p:spPr>
          <a:xfrm>
            <a:off x="5790098" y="1800862"/>
            <a:ext cx="508525" cy="458566"/>
          </a:xfrm>
          <a:custGeom>
            <a:avLst/>
            <a:gdLst>
              <a:gd name="connsiteX0" fmla="*/ 521432 w 608344"/>
              <a:gd name="connsiteY0" fmla="*/ 370453 h 548582"/>
              <a:gd name="connsiteX1" fmla="*/ 465737 w 608344"/>
              <a:gd name="connsiteY1" fmla="*/ 425787 h 548582"/>
              <a:gd name="connsiteX2" fmla="*/ 442491 w 608344"/>
              <a:gd name="connsiteY2" fmla="*/ 402479 h 548582"/>
              <a:gd name="connsiteX3" fmla="*/ 418201 w 608344"/>
              <a:gd name="connsiteY3" fmla="*/ 426545 h 548582"/>
              <a:gd name="connsiteX4" fmla="*/ 441447 w 608344"/>
              <a:gd name="connsiteY4" fmla="*/ 449948 h 548582"/>
              <a:gd name="connsiteX5" fmla="*/ 465642 w 608344"/>
              <a:gd name="connsiteY5" fmla="*/ 474204 h 548582"/>
              <a:gd name="connsiteX6" fmla="*/ 489932 w 608344"/>
              <a:gd name="connsiteY6" fmla="*/ 450043 h 548582"/>
              <a:gd name="connsiteX7" fmla="*/ 545532 w 608344"/>
              <a:gd name="connsiteY7" fmla="*/ 394709 h 548582"/>
              <a:gd name="connsiteX8" fmla="*/ 481962 w 608344"/>
              <a:gd name="connsiteY8" fmla="*/ 296170 h 548582"/>
              <a:gd name="connsiteX9" fmla="*/ 608344 w 608344"/>
              <a:gd name="connsiteY9" fmla="*/ 422376 h 548582"/>
              <a:gd name="connsiteX10" fmla="*/ 481962 w 608344"/>
              <a:gd name="connsiteY10" fmla="*/ 548582 h 548582"/>
              <a:gd name="connsiteX11" fmla="*/ 355579 w 608344"/>
              <a:gd name="connsiteY11" fmla="*/ 422376 h 548582"/>
              <a:gd name="connsiteX12" fmla="*/ 481962 w 608344"/>
              <a:gd name="connsiteY12" fmla="*/ 296170 h 548582"/>
              <a:gd name="connsiteX13" fmla="*/ 255835 w 608344"/>
              <a:gd name="connsiteY13" fmla="*/ 446 h 548582"/>
              <a:gd name="connsiteX14" fmla="*/ 317801 w 608344"/>
              <a:gd name="connsiteY14" fmla="*/ 13616 h 548582"/>
              <a:gd name="connsiteX15" fmla="*/ 348072 w 608344"/>
              <a:gd name="connsiteY15" fmla="*/ 41661 h 548582"/>
              <a:gd name="connsiteX16" fmla="*/ 381190 w 608344"/>
              <a:gd name="connsiteY16" fmla="*/ 146831 h 548582"/>
              <a:gd name="connsiteX17" fmla="*/ 378913 w 608344"/>
              <a:gd name="connsiteY17" fmla="*/ 156211 h 548582"/>
              <a:gd name="connsiteX18" fmla="*/ 387833 w 608344"/>
              <a:gd name="connsiteY18" fmla="*/ 200458 h 548582"/>
              <a:gd name="connsiteX19" fmla="*/ 366387 w 608344"/>
              <a:gd name="connsiteY19" fmla="*/ 237694 h 548582"/>
              <a:gd name="connsiteX20" fmla="*/ 351393 w 608344"/>
              <a:gd name="connsiteY20" fmla="*/ 278720 h 548582"/>
              <a:gd name="connsiteX21" fmla="*/ 351393 w 608344"/>
              <a:gd name="connsiteY21" fmla="*/ 322873 h 548582"/>
              <a:gd name="connsiteX22" fmla="*/ 317611 w 608344"/>
              <a:gd name="connsiteY22" fmla="*/ 422358 h 548582"/>
              <a:gd name="connsiteX23" fmla="*/ 376635 w 608344"/>
              <a:gd name="connsiteY23" fmla="*/ 548088 h 548582"/>
              <a:gd name="connsiteX24" fmla="*/ 26855 w 608344"/>
              <a:gd name="connsiteY24" fmla="*/ 548088 h 548582"/>
              <a:gd name="connsiteX25" fmla="*/ 0 w 608344"/>
              <a:gd name="connsiteY25" fmla="*/ 521274 h 548582"/>
              <a:gd name="connsiteX26" fmla="*/ 0 w 608344"/>
              <a:gd name="connsiteY26" fmla="*/ 473806 h 548582"/>
              <a:gd name="connsiteX27" fmla="*/ 19453 w 608344"/>
              <a:gd name="connsiteY27" fmla="*/ 432969 h 548582"/>
              <a:gd name="connsiteX28" fmla="*/ 173751 w 608344"/>
              <a:gd name="connsiteY28" fmla="*/ 334242 h 548582"/>
              <a:gd name="connsiteX29" fmla="*/ 176408 w 608344"/>
              <a:gd name="connsiteY29" fmla="*/ 329884 h 548582"/>
              <a:gd name="connsiteX30" fmla="*/ 176408 w 608344"/>
              <a:gd name="connsiteY30" fmla="*/ 278720 h 548582"/>
              <a:gd name="connsiteX31" fmla="*/ 161320 w 608344"/>
              <a:gd name="connsiteY31" fmla="*/ 237694 h 548582"/>
              <a:gd name="connsiteX32" fmla="*/ 139969 w 608344"/>
              <a:gd name="connsiteY32" fmla="*/ 200458 h 548582"/>
              <a:gd name="connsiteX33" fmla="*/ 148320 w 608344"/>
              <a:gd name="connsiteY33" fmla="*/ 156211 h 548582"/>
              <a:gd name="connsiteX34" fmla="*/ 146042 w 608344"/>
              <a:gd name="connsiteY34" fmla="*/ 146736 h 548582"/>
              <a:gd name="connsiteX35" fmla="*/ 145758 w 608344"/>
              <a:gd name="connsiteY35" fmla="*/ 95099 h 548582"/>
              <a:gd name="connsiteX36" fmla="*/ 176029 w 608344"/>
              <a:gd name="connsiteY36" fmla="*/ 42135 h 548582"/>
              <a:gd name="connsiteX37" fmla="*/ 203928 w 608344"/>
              <a:gd name="connsiteY37" fmla="*/ 19017 h 548582"/>
              <a:gd name="connsiteX38" fmla="*/ 231162 w 608344"/>
              <a:gd name="connsiteY38" fmla="*/ 5089 h 548582"/>
              <a:gd name="connsiteX39" fmla="*/ 255835 w 608344"/>
              <a:gd name="connsiteY39" fmla="*/ 446 h 548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608344" h="548582">
                <a:moveTo>
                  <a:pt x="521432" y="370453"/>
                </a:moveTo>
                <a:lnTo>
                  <a:pt x="465737" y="425787"/>
                </a:lnTo>
                <a:lnTo>
                  <a:pt x="442491" y="402479"/>
                </a:lnTo>
                <a:lnTo>
                  <a:pt x="418201" y="426545"/>
                </a:lnTo>
                <a:lnTo>
                  <a:pt x="441447" y="449948"/>
                </a:lnTo>
                <a:lnTo>
                  <a:pt x="465642" y="474204"/>
                </a:lnTo>
                <a:lnTo>
                  <a:pt x="489932" y="450043"/>
                </a:lnTo>
                <a:lnTo>
                  <a:pt x="545532" y="394709"/>
                </a:lnTo>
                <a:close/>
                <a:moveTo>
                  <a:pt x="481962" y="296170"/>
                </a:moveTo>
                <a:cubicBezTo>
                  <a:pt x="551795" y="296170"/>
                  <a:pt x="608344" y="352641"/>
                  <a:pt x="608344" y="422376"/>
                </a:cubicBezTo>
                <a:cubicBezTo>
                  <a:pt x="608344" y="492111"/>
                  <a:pt x="551795" y="548582"/>
                  <a:pt x="481962" y="548582"/>
                </a:cubicBezTo>
                <a:cubicBezTo>
                  <a:pt x="412129" y="548582"/>
                  <a:pt x="355579" y="492111"/>
                  <a:pt x="355579" y="422376"/>
                </a:cubicBezTo>
                <a:cubicBezTo>
                  <a:pt x="355579" y="352641"/>
                  <a:pt x="412129" y="296170"/>
                  <a:pt x="481962" y="296170"/>
                </a:cubicBezTo>
                <a:close/>
                <a:moveTo>
                  <a:pt x="255835" y="446"/>
                </a:moveTo>
                <a:cubicBezTo>
                  <a:pt x="282785" y="-1828"/>
                  <a:pt x="303187" y="4899"/>
                  <a:pt x="317801" y="13616"/>
                </a:cubicBezTo>
                <a:cubicBezTo>
                  <a:pt x="339721" y="25744"/>
                  <a:pt x="348072" y="41661"/>
                  <a:pt x="348072" y="41661"/>
                </a:cubicBezTo>
                <a:cubicBezTo>
                  <a:pt x="348072" y="41661"/>
                  <a:pt x="398176" y="45167"/>
                  <a:pt x="381190" y="146831"/>
                </a:cubicBezTo>
                <a:cubicBezTo>
                  <a:pt x="380621" y="149863"/>
                  <a:pt x="379862" y="153085"/>
                  <a:pt x="378913" y="156211"/>
                </a:cubicBezTo>
                <a:cubicBezTo>
                  <a:pt x="388592" y="156211"/>
                  <a:pt x="398271" y="163507"/>
                  <a:pt x="387833" y="200458"/>
                </a:cubicBezTo>
                <a:cubicBezTo>
                  <a:pt x="379672" y="229262"/>
                  <a:pt x="372080" y="237221"/>
                  <a:pt x="366387" y="237694"/>
                </a:cubicBezTo>
                <a:cubicBezTo>
                  <a:pt x="364394" y="250675"/>
                  <a:pt x="359175" y="265076"/>
                  <a:pt x="351393" y="278720"/>
                </a:cubicBezTo>
                <a:lnTo>
                  <a:pt x="351393" y="322873"/>
                </a:lnTo>
                <a:cubicBezTo>
                  <a:pt x="330232" y="350539"/>
                  <a:pt x="317611" y="385027"/>
                  <a:pt x="317611" y="422358"/>
                </a:cubicBezTo>
                <a:cubicBezTo>
                  <a:pt x="317611" y="472764"/>
                  <a:pt x="340480" y="518053"/>
                  <a:pt x="376635" y="548088"/>
                </a:cubicBezTo>
                <a:lnTo>
                  <a:pt x="26855" y="548088"/>
                </a:lnTo>
                <a:cubicBezTo>
                  <a:pt x="12052" y="548088"/>
                  <a:pt x="0" y="536055"/>
                  <a:pt x="0" y="521274"/>
                </a:cubicBezTo>
                <a:lnTo>
                  <a:pt x="0" y="473806"/>
                </a:lnTo>
                <a:cubicBezTo>
                  <a:pt x="0" y="457983"/>
                  <a:pt x="7212" y="443013"/>
                  <a:pt x="19453" y="432969"/>
                </a:cubicBezTo>
                <a:cubicBezTo>
                  <a:pt x="86638" y="377921"/>
                  <a:pt x="159043" y="341443"/>
                  <a:pt x="173751" y="334242"/>
                </a:cubicBezTo>
                <a:cubicBezTo>
                  <a:pt x="175365" y="333484"/>
                  <a:pt x="176408" y="331779"/>
                  <a:pt x="176408" y="329884"/>
                </a:cubicBezTo>
                <a:lnTo>
                  <a:pt x="176408" y="278720"/>
                </a:lnTo>
                <a:cubicBezTo>
                  <a:pt x="168437" y="265076"/>
                  <a:pt x="163313" y="250675"/>
                  <a:pt x="161320" y="237694"/>
                </a:cubicBezTo>
                <a:cubicBezTo>
                  <a:pt x="155627" y="237221"/>
                  <a:pt x="148035" y="229072"/>
                  <a:pt x="139969" y="200458"/>
                </a:cubicBezTo>
                <a:cubicBezTo>
                  <a:pt x="129531" y="164170"/>
                  <a:pt x="138925" y="156496"/>
                  <a:pt x="148320" y="156211"/>
                </a:cubicBezTo>
                <a:cubicBezTo>
                  <a:pt x="147371" y="153085"/>
                  <a:pt x="146612" y="149863"/>
                  <a:pt x="146042" y="146736"/>
                </a:cubicBezTo>
                <a:cubicBezTo>
                  <a:pt x="142436" y="128450"/>
                  <a:pt x="141487" y="111396"/>
                  <a:pt x="145758" y="95099"/>
                </a:cubicBezTo>
                <a:cubicBezTo>
                  <a:pt x="150787" y="73212"/>
                  <a:pt x="162744" y="55684"/>
                  <a:pt x="176029" y="42135"/>
                </a:cubicBezTo>
                <a:cubicBezTo>
                  <a:pt x="184379" y="33134"/>
                  <a:pt x="193869" y="25459"/>
                  <a:pt x="203928" y="19017"/>
                </a:cubicBezTo>
                <a:cubicBezTo>
                  <a:pt x="212183" y="13332"/>
                  <a:pt x="221293" y="8405"/>
                  <a:pt x="231162" y="5089"/>
                </a:cubicBezTo>
                <a:cubicBezTo>
                  <a:pt x="238849" y="2625"/>
                  <a:pt x="247105" y="825"/>
                  <a:pt x="255835" y="446"/>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4" name="文本框 43">
            <a:extLst>
              <a:ext uri="{FF2B5EF4-FFF2-40B4-BE49-F238E27FC236}">
                <a16:creationId xmlns:a16="http://schemas.microsoft.com/office/drawing/2014/main" id="{69CF841A-087E-4928-AB97-F5E9102A6436}"/>
              </a:ext>
            </a:extLst>
          </p:cNvPr>
          <p:cNvSpPr txBox="1"/>
          <p:nvPr/>
        </p:nvSpPr>
        <p:spPr>
          <a:xfrm>
            <a:off x="5475285" y="2347010"/>
            <a:ext cx="1031011" cy="307730"/>
          </a:xfrm>
          <a:prstGeom prst="rect">
            <a:avLst/>
          </a:prstGeom>
          <a:noFill/>
        </p:spPr>
        <p:txBody>
          <a:bodyPr wrap="square" lIns="0" tIns="0" rIns="0" bIns="0" rtlCol="0" anchor="t">
            <a:spAutoFit/>
          </a:bodyPr>
          <a:lstStyle/>
          <a:p>
            <a:pPr algn="ctr"/>
            <a:r>
              <a:rPr lang="zh-CN" altLang="en-US" sz="2000" dirty="0">
                <a:solidFill>
                  <a:schemeClr val="bg1"/>
                </a:solidFill>
                <a:latin typeface="+mj-ea"/>
                <a:ea typeface="+mj-ea"/>
              </a:rPr>
              <a:t>关键词</a:t>
            </a:r>
          </a:p>
        </p:txBody>
      </p:sp>
      <p:sp>
        <p:nvSpPr>
          <p:cNvPr id="16" name="椭圆 15">
            <a:extLst>
              <a:ext uri="{FF2B5EF4-FFF2-40B4-BE49-F238E27FC236}">
                <a16:creationId xmlns:a16="http://schemas.microsoft.com/office/drawing/2014/main" id="{BC9235FF-A57B-4330-937F-EE7D71E2D19C}"/>
              </a:ext>
            </a:extLst>
          </p:cNvPr>
          <p:cNvSpPr/>
          <p:nvPr/>
        </p:nvSpPr>
        <p:spPr>
          <a:xfrm rot="21302020">
            <a:off x="3332261" y="1761476"/>
            <a:ext cx="5527478" cy="2483496"/>
          </a:xfrm>
          <a:prstGeom prst="ellipse">
            <a:avLst/>
          </a:prstGeom>
          <a:noFill/>
          <a:ln w="19050">
            <a:gradFill>
              <a:gsLst>
                <a:gs pos="17000">
                  <a:schemeClr val="accent1">
                    <a:alpha val="0"/>
                  </a:schemeClr>
                </a:gs>
                <a:gs pos="100000">
                  <a:schemeClr val="accent1"/>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zh-CN" altLang="en-US" sz="1600">
              <a:solidFill>
                <a:schemeClr val="bg1"/>
              </a:solidFill>
              <a:latin typeface="+mj-ea"/>
              <a:ea typeface="+mj-ea"/>
            </a:endParaRPr>
          </a:p>
        </p:txBody>
      </p:sp>
      <p:sp>
        <p:nvSpPr>
          <p:cNvPr id="17" name="椭圆 16">
            <a:extLst>
              <a:ext uri="{FF2B5EF4-FFF2-40B4-BE49-F238E27FC236}">
                <a16:creationId xmlns:a16="http://schemas.microsoft.com/office/drawing/2014/main" id="{13B68B17-5342-48E4-B214-75273467733D}"/>
              </a:ext>
            </a:extLst>
          </p:cNvPr>
          <p:cNvSpPr/>
          <p:nvPr/>
        </p:nvSpPr>
        <p:spPr>
          <a:xfrm>
            <a:off x="3492556" y="2656160"/>
            <a:ext cx="111069" cy="111069"/>
          </a:xfrm>
          <a:prstGeom prst="ellipse">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47" name="椭圆 46">
            <a:extLst>
              <a:ext uri="{FF2B5EF4-FFF2-40B4-BE49-F238E27FC236}">
                <a16:creationId xmlns:a16="http://schemas.microsoft.com/office/drawing/2014/main" id="{EF0198F5-59F9-4827-8127-042645C61827}"/>
              </a:ext>
            </a:extLst>
          </p:cNvPr>
          <p:cNvSpPr/>
          <p:nvPr/>
        </p:nvSpPr>
        <p:spPr>
          <a:xfrm>
            <a:off x="3782116" y="3829640"/>
            <a:ext cx="111069" cy="111069"/>
          </a:xfrm>
          <a:prstGeom prst="ellipse">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48" name="椭圆 47">
            <a:extLst>
              <a:ext uri="{FF2B5EF4-FFF2-40B4-BE49-F238E27FC236}">
                <a16:creationId xmlns:a16="http://schemas.microsoft.com/office/drawing/2014/main" id="{4804B2C0-FE25-4949-818E-3995D281E6B3}"/>
              </a:ext>
            </a:extLst>
          </p:cNvPr>
          <p:cNvSpPr/>
          <p:nvPr/>
        </p:nvSpPr>
        <p:spPr>
          <a:xfrm>
            <a:off x="5946196" y="4195400"/>
            <a:ext cx="111069" cy="111069"/>
          </a:xfrm>
          <a:prstGeom prst="ellipse">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50" name="椭圆 49">
            <a:extLst>
              <a:ext uri="{FF2B5EF4-FFF2-40B4-BE49-F238E27FC236}">
                <a16:creationId xmlns:a16="http://schemas.microsoft.com/office/drawing/2014/main" id="{F0B9F54E-8FC4-4A82-963F-19FE58D433E3}"/>
              </a:ext>
            </a:extLst>
          </p:cNvPr>
          <p:cNvSpPr/>
          <p:nvPr/>
        </p:nvSpPr>
        <p:spPr>
          <a:xfrm>
            <a:off x="7973116" y="3700100"/>
            <a:ext cx="111069" cy="111069"/>
          </a:xfrm>
          <a:prstGeom prst="ellipse">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51" name="椭圆 50">
            <a:extLst>
              <a:ext uri="{FF2B5EF4-FFF2-40B4-BE49-F238E27FC236}">
                <a16:creationId xmlns:a16="http://schemas.microsoft.com/office/drawing/2014/main" id="{55D89F4C-FB8E-4B37-86B7-6AC5B75C3C75}"/>
              </a:ext>
            </a:extLst>
          </p:cNvPr>
          <p:cNvSpPr/>
          <p:nvPr/>
        </p:nvSpPr>
        <p:spPr>
          <a:xfrm>
            <a:off x="8689396" y="2419940"/>
            <a:ext cx="111069" cy="111069"/>
          </a:xfrm>
          <a:prstGeom prst="ellipse">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52" name="文本框 51">
            <a:extLst>
              <a:ext uri="{FF2B5EF4-FFF2-40B4-BE49-F238E27FC236}">
                <a16:creationId xmlns:a16="http://schemas.microsoft.com/office/drawing/2014/main" id="{CCB28381-5CC4-4133-AFF7-A3E527649D10}"/>
              </a:ext>
            </a:extLst>
          </p:cNvPr>
          <p:cNvSpPr txBox="1"/>
          <p:nvPr/>
        </p:nvSpPr>
        <p:spPr>
          <a:xfrm>
            <a:off x="569119" y="2927493"/>
            <a:ext cx="2583525" cy="387286"/>
          </a:xfrm>
          <a:prstGeom prst="rect">
            <a:avLst/>
          </a:prstGeom>
          <a:noFill/>
        </p:spPr>
        <p:txBody>
          <a:bodyPr wrap="square" lIns="0" tIns="0" rIns="0" bIns="0" rtlCol="0" anchor="t">
            <a:spAutoFit/>
          </a:bodyPr>
          <a:lstStyle/>
          <a:p>
            <a:pPr algn="r">
              <a:lnSpc>
                <a:spcPct val="130000"/>
              </a:lnSpc>
            </a:pPr>
            <a:r>
              <a:rPr lang="en-US" altLang="zh-CN" sz="1000" b="0" dirty="0">
                <a:solidFill>
                  <a:schemeClr val="tx1">
                    <a:lumMod val="75000"/>
                    <a:lumOff val="25000"/>
                  </a:schemeClr>
                </a:solidFill>
                <a:effectLst/>
                <a:latin typeface="+mn-ea"/>
              </a:rPr>
              <a:t>Lorem ipsum dolor sit amet, consectetur adipisicing elit, sed do eiusmod tempor</a:t>
            </a:r>
            <a:endParaRPr lang="zh-CN" altLang="en-US" sz="1000" b="0" dirty="0">
              <a:solidFill>
                <a:schemeClr val="tx1">
                  <a:lumMod val="75000"/>
                  <a:lumOff val="25000"/>
                </a:schemeClr>
              </a:solidFill>
              <a:effectLst/>
              <a:latin typeface="+mn-ea"/>
            </a:endParaRPr>
          </a:p>
        </p:txBody>
      </p:sp>
      <p:sp>
        <p:nvSpPr>
          <p:cNvPr id="54" name="文本框 53">
            <a:extLst>
              <a:ext uri="{FF2B5EF4-FFF2-40B4-BE49-F238E27FC236}">
                <a16:creationId xmlns:a16="http://schemas.microsoft.com/office/drawing/2014/main" id="{8D1E4EDB-A2DB-4D1F-9B56-D712D5FFC8AD}"/>
              </a:ext>
            </a:extLst>
          </p:cNvPr>
          <p:cNvSpPr txBox="1"/>
          <p:nvPr/>
        </p:nvSpPr>
        <p:spPr>
          <a:xfrm>
            <a:off x="1870242" y="2550450"/>
            <a:ext cx="1282402" cy="307777"/>
          </a:xfrm>
          <a:prstGeom prst="rect">
            <a:avLst/>
          </a:prstGeom>
          <a:noFill/>
        </p:spPr>
        <p:txBody>
          <a:bodyPr wrap="none" lIns="0" tIns="0" rIns="0" bIns="0" rtlCol="0" anchor="t">
            <a:spAutoFit/>
          </a:bodyPr>
          <a:lstStyle/>
          <a:p>
            <a:pPr algn="r"/>
            <a:r>
              <a:rPr lang="zh-CN" altLang="en-US" sz="2000" dirty="0">
                <a:solidFill>
                  <a:schemeClr val="accent1"/>
                </a:solidFill>
                <a:latin typeface="+mj-ea"/>
                <a:ea typeface="+mj-ea"/>
              </a:rPr>
              <a:t>关键词标题</a:t>
            </a:r>
          </a:p>
        </p:txBody>
      </p:sp>
      <p:sp>
        <p:nvSpPr>
          <p:cNvPr id="57" name="文本框 56">
            <a:extLst>
              <a:ext uri="{FF2B5EF4-FFF2-40B4-BE49-F238E27FC236}">
                <a16:creationId xmlns:a16="http://schemas.microsoft.com/office/drawing/2014/main" id="{343DD7F8-4E8F-43BC-A9F3-E3BA75AC4113}"/>
              </a:ext>
            </a:extLst>
          </p:cNvPr>
          <p:cNvSpPr txBox="1"/>
          <p:nvPr/>
        </p:nvSpPr>
        <p:spPr>
          <a:xfrm>
            <a:off x="1176999" y="4399228"/>
            <a:ext cx="2583525" cy="387286"/>
          </a:xfrm>
          <a:prstGeom prst="rect">
            <a:avLst/>
          </a:prstGeom>
          <a:noFill/>
        </p:spPr>
        <p:txBody>
          <a:bodyPr wrap="square" lIns="0" tIns="0" rIns="0" bIns="0" rtlCol="0" anchor="t">
            <a:spAutoFit/>
          </a:bodyPr>
          <a:lstStyle/>
          <a:p>
            <a:pPr algn="r">
              <a:lnSpc>
                <a:spcPct val="130000"/>
              </a:lnSpc>
            </a:pPr>
            <a:r>
              <a:rPr lang="en-US" altLang="zh-CN" sz="1000" b="0" dirty="0">
                <a:solidFill>
                  <a:schemeClr val="tx1">
                    <a:lumMod val="75000"/>
                    <a:lumOff val="25000"/>
                  </a:schemeClr>
                </a:solidFill>
                <a:effectLst/>
                <a:latin typeface="+mn-ea"/>
              </a:rPr>
              <a:t>Lorem ipsum dolor sit amet, consectetur adipisicing elit, sed do eiusmod tempor</a:t>
            </a:r>
            <a:endParaRPr lang="zh-CN" altLang="en-US" sz="1000" b="0" dirty="0">
              <a:solidFill>
                <a:schemeClr val="tx1">
                  <a:lumMod val="75000"/>
                  <a:lumOff val="25000"/>
                </a:schemeClr>
              </a:solidFill>
              <a:effectLst/>
              <a:latin typeface="+mn-ea"/>
            </a:endParaRPr>
          </a:p>
        </p:txBody>
      </p:sp>
      <p:sp>
        <p:nvSpPr>
          <p:cNvPr id="58" name="文本框 57">
            <a:extLst>
              <a:ext uri="{FF2B5EF4-FFF2-40B4-BE49-F238E27FC236}">
                <a16:creationId xmlns:a16="http://schemas.microsoft.com/office/drawing/2014/main" id="{7737A7E8-2F27-449C-AC86-ED6BD237ABF0}"/>
              </a:ext>
            </a:extLst>
          </p:cNvPr>
          <p:cNvSpPr txBox="1"/>
          <p:nvPr/>
        </p:nvSpPr>
        <p:spPr>
          <a:xfrm>
            <a:off x="2478122" y="4022185"/>
            <a:ext cx="1282402" cy="307777"/>
          </a:xfrm>
          <a:prstGeom prst="rect">
            <a:avLst/>
          </a:prstGeom>
          <a:noFill/>
        </p:spPr>
        <p:txBody>
          <a:bodyPr wrap="none" lIns="0" tIns="0" rIns="0" bIns="0" rtlCol="0" anchor="t">
            <a:spAutoFit/>
          </a:bodyPr>
          <a:lstStyle/>
          <a:p>
            <a:pPr algn="r"/>
            <a:r>
              <a:rPr lang="zh-CN" altLang="en-US" sz="2000" dirty="0">
                <a:solidFill>
                  <a:schemeClr val="accent1"/>
                </a:solidFill>
                <a:latin typeface="+mj-ea"/>
                <a:ea typeface="+mj-ea"/>
              </a:rPr>
              <a:t>关键词标题</a:t>
            </a:r>
          </a:p>
        </p:txBody>
      </p:sp>
      <p:sp>
        <p:nvSpPr>
          <p:cNvPr id="66" name="文本框 65">
            <a:extLst>
              <a:ext uri="{FF2B5EF4-FFF2-40B4-BE49-F238E27FC236}">
                <a16:creationId xmlns:a16="http://schemas.microsoft.com/office/drawing/2014/main" id="{969E0598-FEB6-46DB-ADF5-F7B2D527C0BA}"/>
              </a:ext>
            </a:extLst>
          </p:cNvPr>
          <p:cNvSpPr txBox="1"/>
          <p:nvPr/>
        </p:nvSpPr>
        <p:spPr>
          <a:xfrm>
            <a:off x="4601899" y="4812196"/>
            <a:ext cx="2583525" cy="387286"/>
          </a:xfrm>
          <a:prstGeom prst="rect">
            <a:avLst/>
          </a:prstGeom>
          <a:noFill/>
        </p:spPr>
        <p:txBody>
          <a:bodyPr wrap="square" lIns="0" tIns="0" rIns="0" bIns="0" rtlCol="0" anchor="t">
            <a:spAutoFit/>
          </a:bodyPr>
          <a:lstStyle/>
          <a:p>
            <a:pPr algn="ctr">
              <a:lnSpc>
                <a:spcPct val="130000"/>
              </a:lnSpc>
            </a:pPr>
            <a:r>
              <a:rPr lang="en-US" altLang="zh-CN" sz="1000" b="0" dirty="0">
                <a:solidFill>
                  <a:schemeClr val="tx1">
                    <a:lumMod val="75000"/>
                    <a:lumOff val="25000"/>
                  </a:schemeClr>
                </a:solidFill>
                <a:effectLst/>
                <a:latin typeface="+mn-ea"/>
              </a:rPr>
              <a:t>Lorem ipsum dolor sit amet, consectetur adipisicing elit, sed do eiusmod tempor</a:t>
            </a:r>
            <a:endParaRPr lang="zh-CN" altLang="en-US" sz="1000" b="0" dirty="0">
              <a:solidFill>
                <a:schemeClr val="tx1">
                  <a:lumMod val="75000"/>
                  <a:lumOff val="25000"/>
                </a:schemeClr>
              </a:solidFill>
              <a:effectLst/>
              <a:latin typeface="+mn-ea"/>
            </a:endParaRPr>
          </a:p>
        </p:txBody>
      </p:sp>
      <p:sp>
        <p:nvSpPr>
          <p:cNvPr id="67" name="文本框 66">
            <a:extLst>
              <a:ext uri="{FF2B5EF4-FFF2-40B4-BE49-F238E27FC236}">
                <a16:creationId xmlns:a16="http://schemas.microsoft.com/office/drawing/2014/main" id="{CE3434D7-2B35-4AC2-ACEB-1D392669A7FD}"/>
              </a:ext>
            </a:extLst>
          </p:cNvPr>
          <p:cNvSpPr txBox="1"/>
          <p:nvPr/>
        </p:nvSpPr>
        <p:spPr>
          <a:xfrm>
            <a:off x="5252460" y="4435153"/>
            <a:ext cx="1282402" cy="307777"/>
          </a:xfrm>
          <a:prstGeom prst="rect">
            <a:avLst/>
          </a:prstGeom>
          <a:noFill/>
        </p:spPr>
        <p:txBody>
          <a:bodyPr wrap="none" lIns="0" tIns="0" rIns="0" bIns="0" rtlCol="0" anchor="t">
            <a:spAutoFit/>
          </a:bodyPr>
          <a:lstStyle/>
          <a:p>
            <a:pPr algn="ctr"/>
            <a:r>
              <a:rPr lang="zh-CN" altLang="en-US" sz="2000" dirty="0">
                <a:solidFill>
                  <a:schemeClr val="accent1"/>
                </a:solidFill>
                <a:latin typeface="+mj-ea"/>
                <a:ea typeface="+mj-ea"/>
              </a:rPr>
              <a:t>关键词标题</a:t>
            </a:r>
          </a:p>
        </p:txBody>
      </p:sp>
      <p:sp>
        <p:nvSpPr>
          <p:cNvPr id="68" name="文本框 67">
            <a:extLst>
              <a:ext uri="{FF2B5EF4-FFF2-40B4-BE49-F238E27FC236}">
                <a16:creationId xmlns:a16="http://schemas.microsoft.com/office/drawing/2014/main" id="{7DEB2701-15EE-49AB-BCED-2FBFA119F2D8}"/>
              </a:ext>
            </a:extLst>
          </p:cNvPr>
          <p:cNvSpPr txBox="1"/>
          <p:nvPr/>
        </p:nvSpPr>
        <p:spPr>
          <a:xfrm>
            <a:off x="8136039" y="4196028"/>
            <a:ext cx="2583525" cy="387286"/>
          </a:xfrm>
          <a:prstGeom prst="rect">
            <a:avLst/>
          </a:prstGeom>
          <a:noFill/>
        </p:spPr>
        <p:txBody>
          <a:bodyPr wrap="square" lIns="0" tIns="0" rIns="0" bIns="0" rtlCol="0" anchor="t">
            <a:spAutoFit/>
          </a:bodyPr>
          <a:lstStyle/>
          <a:p>
            <a:pPr>
              <a:lnSpc>
                <a:spcPct val="130000"/>
              </a:lnSpc>
            </a:pPr>
            <a:r>
              <a:rPr lang="en-US" altLang="zh-CN" sz="1000" b="0" dirty="0">
                <a:solidFill>
                  <a:schemeClr val="tx1">
                    <a:lumMod val="75000"/>
                    <a:lumOff val="25000"/>
                  </a:schemeClr>
                </a:solidFill>
                <a:effectLst/>
                <a:latin typeface="+mn-ea"/>
              </a:rPr>
              <a:t>Lorem ipsum dolor sit amet, consectetur adipisicing elit, sed do eiusmod tempor</a:t>
            </a:r>
            <a:endParaRPr lang="zh-CN" altLang="en-US" sz="1000" b="0" dirty="0">
              <a:solidFill>
                <a:schemeClr val="tx1">
                  <a:lumMod val="75000"/>
                  <a:lumOff val="25000"/>
                </a:schemeClr>
              </a:solidFill>
              <a:effectLst/>
              <a:latin typeface="+mn-ea"/>
            </a:endParaRPr>
          </a:p>
        </p:txBody>
      </p:sp>
      <p:sp>
        <p:nvSpPr>
          <p:cNvPr id="72" name="文本框 71">
            <a:extLst>
              <a:ext uri="{FF2B5EF4-FFF2-40B4-BE49-F238E27FC236}">
                <a16:creationId xmlns:a16="http://schemas.microsoft.com/office/drawing/2014/main" id="{4117FBAE-D4B5-4599-9416-91975DFBED40}"/>
              </a:ext>
            </a:extLst>
          </p:cNvPr>
          <p:cNvSpPr txBox="1"/>
          <p:nvPr/>
        </p:nvSpPr>
        <p:spPr>
          <a:xfrm>
            <a:off x="8136039" y="3818985"/>
            <a:ext cx="1282402" cy="307777"/>
          </a:xfrm>
          <a:prstGeom prst="rect">
            <a:avLst/>
          </a:prstGeom>
          <a:noFill/>
        </p:spPr>
        <p:txBody>
          <a:bodyPr wrap="none" lIns="0" tIns="0" rIns="0" bIns="0" rtlCol="0" anchor="t">
            <a:spAutoFit/>
          </a:bodyPr>
          <a:lstStyle/>
          <a:p>
            <a:r>
              <a:rPr lang="zh-CN" altLang="en-US" sz="2000" dirty="0">
                <a:solidFill>
                  <a:schemeClr val="accent1"/>
                </a:solidFill>
                <a:latin typeface="+mj-ea"/>
                <a:ea typeface="+mj-ea"/>
              </a:rPr>
              <a:t>关键词标题</a:t>
            </a:r>
          </a:p>
        </p:txBody>
      </p:sp>
      <p:sp>
        <p:nvSpPr>
          <p:cNvPr id="73" name="文本框 72">
            <a:extLst>
              <a:ext uri="{FF2B5EF4-FFF2-40B4-BE49-F238E27FC236}">
                <a16:creationId xmlns:a16="http://schemas.microsoft.com/office/drawing/2014/main" id="{6BCE909B-733D-48C2-BA57-0E6050ECB3C1}"/>
              </a:ext>
            </a:extLst>
          </p:cNvPr>
          <p:cNvSpPr txBox="1"/>
          <p:nvPr/>
        </p:nvSpPr>
        <p:spPr>
          <a:xfrm>
            <a:off x="9072677" y="2720608"/>
            <a:ext cx="2583525" cy="387286"/>
          </a:xfrm>
          <a:prstGeom prst="rect">
            <a:avLst/>
          </a:prstGeom>
          <a:noFill/>
        </p:spPr>
        <p:txBody>
          <a:bodyPr wrap="square" lIns="0" tIns="0" rIns="0" bIns="0" rtlCol="0" anchor="t">
            <a:spAutoFit/>
          </a:bodyPr>
          <a:lstStyle/>
          <a:p>
            <a:pPr>
              <a:lnSpc>
                <a:spcPct val="130000"/>
              </a:lnSpc>
            </a:pPr>
            <a:r>
              <a:rPr lang="en-US" altLang="zh-CN" sz="1000" b="0" dirty="0">
                <a:solidFill>
                  <a:schemeClr val="tx1">
                    <a:lumMod val="75000"/>
                    <a:lumOff val="25000"/>
                  </a:schemeClr>
                </a:solidFill>
                <a:effectLst/>
                <a:latin typeface="+mn-ea"/>
              </a:rPr>
              <a:t>Lorem ipsum dolor sit amet, consectetur adipisicing elit, sed do eiusmod tempor</a:t>
            </a:r>
            <a:endParaRPr lang="zh-CN" altLang="en-US" sz="1000" b="0" dirty="0">
              <a:solidFill>
                <a:schemeClr val="tx1">
                  <a:lumMod val="75000"/>
                  <a:lumOff val="25000"/>
                </a:schemeClr>
              </a:solidFill>
              <a:effectLst/>
              <a:latin typeface="+mn-ea"/>
            </a:endParaRPr>
          </a:p>
        </p:txBody>
      </p:sp>
      <p:sp>
        <p:nvSpPr>
          <p:cNvPr id="74" name="文本框 73">
            <a:extLst>
              <a:ext uri="{FF2B5EF4-FFF2-40B4-BE49-F238E27FC236}">
                <a16:creationId xmlns:a16="http://schemas.microsoft.com/office/drawing/2014/main" id="{44B9E20D-EE2A-4D63-B506-91992C5C19B7}"/>
              </a:ext>
            </a:extLst>
          </p:cNvPr>
          <p:cNvSpPr txBox="1"/>
          <p:nvPr/>
        </p:nvSpPr>
        <p:spPr>
          <a:xfrm>
            <a:off x="9072677" y="2343565"/>
            <a:ext cx="1282402" cy="307777"/>
          </a:xfrm>
          <a:prstGeom prst="rect">
            <a:avLst/>
          </a:prstGeom>
          <a:noFill/>
        </p:spPr>
        <p:txBody>
          <a:bodyPr wrap="none" lIns="0" tIns="0" rIns="0" bIns="0" rtlCol="0" anchor="t">
            <a:spAutoFit/>
          </a:bodyPr>
          <a:lstStyle/>
          <a:p>
            <a:r>
              <a:rPr lang="zh-CN" altLang="en-US" sz="2000" dirty="0">
                <a:solidFill>
                  <a:schemeClr val="accent1"/>
                </a:solidFill>
                <a:latin typeface="+mj-ea"/>
                <a:ea typeface="+mj-ea"/>
              </a:rPr>
              <a:t>关键词标题</a:t>
            </a:r>
          </a:p>
        </p:txBody>
      </p:sp>
    </p:spTree>
    <p:custDataLst>
      <p:tags r:id="rId2"/>
    </p:custDataLst>
    <p:extLst>
      <p:ext uri="{BB962C8B-B14F-4D97-AF65-F5344CB8AC3E}">
        <p14:creationId xmlns:p14="http://schemas.microsoft.com/office/powerpoint/2010/main" val="4029343372"/>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3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椭圆 5">
            <a:extLst>
              <a:ext uri="{FF2B5EF4-FFF2-40B4-BE49-F238E27FC236}">
                <a16:creationId xmlns:a16="http://schemas.microsoft.com/office/drawing/2014/main" id="{5EF32C2E-0536-4380-BA59-82077B7B809C}"/>
              </a:ext>
            </a:extLst>
          </p:cNvPr>
          <p:cNvSpPr/>
          <p:nvPr/>
        </p:nvSpPr>
        <p:spPr>
          <a:xfrm>
            <a:off x="5792784" y="2926801"/>
            <a:ext cx="2914650" cy="2914648"/>
          </a:xfrm>
          <a:prstGeom prst="ellipse">
            <a:avLst/>
          </a:prstGeom>
          <a:solidFill>
            <a:schemeClr val="bg1"/>
          </a:solidFill>
          <a:ln>
            <a:solidFill>
              <a:schemeClr val="accent1"/>
            </a:solidFill>
          </a:ln>
          <a:effectLst>
            <a:outerShdw blurRad="203200" dist="88900" dir="2700000" algn="tl" rotWithShape="0">
              <a:schemeClr val="accent1">
                <a:lumMod val="90000"/>
                <a:lumOff val="10000"/>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zh-CN" altLang="en-US" sz="1600">
              <a:solidFill>
                <a:schemeClr val="bg1"/>
              </a:solidFill>
              <a:latin typeface="+mj-ea"/>
              <a:ea typeface="+mj-ea"/>
            </a:endParaRPr>
          </a:p>
        </p:txBody>
      </p:sp>
      <p:sp>
        <p:nvSpPr>
          <p:cNvPr id="5" name="椭圆 4">
            <a:extLst>
              <a:ext uri="{FF2B5EF4-FFF2-40B4-BE49-F238E27FC236}">
                <a16:creationId xmlns:a16="http://schemas.microsoft.com/office/drawing/2014/main" id="{F6DE20B5-DD68-4D26-9F7D-3CAD98BF75CC}"/>
              </a:ext>
            </a:extLst>
          </p:cNvPr>
          <p:cNvSpPr/>
          <p:nvPr/>
        </p:nvSpPr>
        <p:spPr>
          <a:xfrm>
            <a:off x="3510704" y="2926800"/>
            <a:ext cx="2914650" cy="2914648"/>
          </a:xfrm>
          <a:prstGeom prst="ellipse">
            <a:avLst/>
          </a:prstGeom>
          <a:solidFill>
            <a:schemeClr val="bg1"/>
          </a:solidFill>
          <a:ln>
            <a:solidFill>
              <a:schemeClr val="accent1"/>
            </a:solidFill>
          </a:ln>
          <a:effectLst>
            <a:outerShdw blurRad="203200" dist="88900" dir="2700000" algn="tl" rotWithShape="0">
              <a:schemeClr val="accent1">
                <a:lumMod val="90000"/>
                <a:lumOff val="10000"/>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zh-CN" altLang="en-US" sz="1600">
              <a:solidFill>
                <a:schemeClr val="bg1"/>
              </a:solidFill>
              <a:latin typeface="+mj-ea"/>
              <a:ea typeface="+mj-ea"/>
            </a:endParaRPr>
          </a:p>
        </p:txBody>
      </p:sp>
      <p:sp>
        <p:nvSpPr>
          <p:cNvPr id="4" name="椭圆 3">
            <a:extLst>
              <a:ext uri="{FF2B5EF4-FFF2-40B4-BE49-F238E27FC236}">
                <a16:creationId xmlns:a16="http://schemas.microsoft.com/office/drawing/2014/main" id="{A1011878-4C05-4DD9-A093-F05D18781E14}"/>
              </a:ext>
            </a:extLst>
          </p:cNvPr>
          <p:cNvSpPr/>
          <p:nvPr/>
        </p:nvSpPr>
        <p:spPr>
          <a:xfrm>
            <a:off x="4638676" y="1016552"/>
            <a:ext cx="2914650" cy="2914648"/>
          </a:xfrm>
          <a:prstGeom prst="ellipse">
            <a:avLst/>
          </a:prstGeom>
          <a:solidFill>
            <a:schemeClr val="bg1"/>
          </a:solidFill>
          <a:ln>
            <a:solidFill>
              <a:schemeClr val="accent1"/>
            </a:solidFill>
          </a:ln>
          <a:effectLst>
            <a:outerShdw blurRad="203200" dist="88900" dir="2700000" algn="tl" rotWithShape="0">
              <a:schemeClr val="accent1">
                <a:lumMod val="90000"/>
                <a:lumOff val="10000"/>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3" name="椭圆 2">
            <a:extLst>
              <a:ext uri="{FF2B5EF4-FFF2-40B4-BE49-F238E27FC236}">
                <a16:creationId xmlns:a16="http://schemas.microsoft.com/office/drawing/2014/main" id="{CC47298A-BDCE-4120-86C0-4CB37283E591}"/>
              </a:ext>
            </a:extLst>
          </p:cNvPr>
          <p:cNvSpPr/>
          <p:nvPr/>
        </p:nvSpPr>
        <p:spPr>
          <a:xfrm>
            <a:off x="5217286" y="3021216"/>
            <a:ext cx="1757429" cy="1757429"/>
          </a:xfrm>
          <a:prstGeom prst="ellipse">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2" name="椭圆 1">
            <a:extLst>
              <a:ext uri="{FF2B5EF4-FFF2-40B4-BE49-F238E27FC236}">
                <a16:creationId xmlns:a16="http://schemas.microsoft.com/office/drawing/2014/main" id="{1B6CDB68-2D71-4C21-9CB0-44D32EEE2140}"/>
              </a:ext>
            </a:extLst>
          </p:cNvPr>
          <p:cNvSpPr/>
          <p:nvPr/>
        </p:nvSpPr>
        <p:spPr>
          <a:xfrm>
            <a:off x="5442190" y="3246121"/>
            <a:ext cx="1307620" cy="1307618"/>
          </a:xfrm>
          <a:prstGeom prst="ellipse">
            <a:avLst/>
          </a:prstGeom>
          <a:solidFill>
            <a:schemeClr val="accent1"/>
          </a:solidFill>
          <a:ln>
            <a:noFill/>
          </a:ln>
          <a:effectLst>
            <a:outerShdw blurRad="127000" sx="102000" sy="102000" algn="ctr" rotWithShape="0">
              <a:schemeClr val="accent1">
                <a:lumMod val="90000"/>
                <a:lumOff val="10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8" name="文本框 7">
            <a:extLst>
              <a:ext uri="{FF2B5EF4-FFF2-40B4-BE49-F238E27FC236}">
                <a16:creationId xmlns:a16="http://schemas.microsoft.com/office/drawing/2014/main" id="{2EF934F6-2F1B-4EFC-8532-B754EC254C1C}"/>
              </a:ext>
            </a:extLst>
          </p:cNvPr>
          <p:cNvSpPr txBox="1"/>
          <p:nvPr/>
        </p:nvSpPr>
        <p:spPr>
          <a:xfrm>
            <a:off x="5585794" y="3746065"/>
            <a:ext cx="1031011" cy="307730"/>
          </a:xfrm>
          <a:prstGeom prst="rect">
            <a:avLst/>
          </a:prstGeom>
          <a:noFill/>
        </p:spPr>
        <p:txBody>
          <a:bodyPr wrap="square" lIns="0" tIns="0" rIns="0" bIns="0" rtlCol="0" anchor="t">
            <a:spAutoFit/>
          </a:bodyPr>
          <a:lstStyle/>
          <a:p>
            <a:pPr algn="ctr"/>
            <a:r>
              <a:rPr lang="zh-CN" altLang="en-US" sz="2000" dirty="0">
                <a:solidFill>
                  <a:schemeClr val="bg1"/>
                </a:solidFill>
                <a:latin typeface="+mj-ea"/>
                <a:ea typeface="+mj-ea"/>
              </a:rPr>
              <a:t>关键词</a:t>
            </a:r>
          </a:p>
        </p:txBody>
      </p:sp>
      <p:grpSp>
        <p:nvGrpSpPr>
          <p:cNvPr id="12" name="组合 11">
            <a:extLst>
              <a:ext uri="{FF2B5EF4-FFF2-40B4-BE49-F238E27FC236}">
                <a16:creationId xmlns:a16="http://schemas.microsoft.com/office/drawing/2014/main" id="{D2B2DAF0-A542-472F-89FE-A1C964C4A2D3}"/>
              </a:ext>
            </a:extLst>
          </p:cNvPr>
          <p:cNvGrpSpPr/>
          <p:nvPr/>
        </p:nvGrpSpPr>
        <p:grpSpPr>
          <a:xfrm>
            <a:off x="3852611" y="3946096"/>
            <a:ext cx="1417992" cy="1232242"/>
            <a:chOff x="5387004" y="1735358"/>
            <a:chExt cx="1417992" cy="1232242"/>
          </a:xfrm>
        </p:grpSpPr>
        <p:sp>
          <p:nvSpPr>
            <p:cNvPr id="9" name="文本框 8">
              <a:extLst>
                <a:ext uri="{FF2B5EF4-FFF2-40B4-BE49-F238E27FC236}">
                  <a16:creationId xmlns:a16="http://schemas.microsoft.com/office/drawing/2014/main" id="{642B50E3-7687-4ABA-97CD-1C18A3FA7919}"/>
                </a:ext>
              </a:extLst>
            </p:cNvPr>
            <p:cNvSpPr txBox="1"/>
            <p:nvPr/>
          </p:nvSpPr>
          <p:spPr>
            <a:xfrm>
              <a:off x="5387004" y="2180205"/>
              <a:ext cx="1417992" cy="787395"/>
            </a:xfrm>
            <a:prstGeom prst="rect">
              <a:avLst/>
            </a:prstGeom>
            <a:noFill/>
          </p:spPr>
          <p:txBody>
            <a:bodyPr wrap="square" lIns="0" tIns="0" rIns="0" bIns="0" rtlCol="0" anchor="t">
              <a:spAutoFit/>
            </a:bodyPr>
            <a:lstStyle/>
            <a:p>
              <a:pPr algn="ctr">
                <a:lnSpc>
                  <a:spcPct val="130000"/>
                </a:lnSpc>
              </a:pPr>
              <a:r>
                <a:rPr lang="en-US" altLang="zh-CN" sz="1000" b="0" dirty="0">
                  <a:solidFill>
                    <a:schemeClr val="tx1">
                      <a:lumMod val="75000"/>
                      <a:lumOff val="25000"/>
                    </a:schemeClr>
                  </a:solidFill>
                  <a:effectLst/>
                  <a:latin typeface="+mn-ea"/>
                </a:rPr>
                <a:t>Lorem ipsum dolor sit amet, consectetur adipisicing elit, sed do eiusmod tempor</a:t>
              </a:r>
              <a:endParaRPr lang="zh-CN" altLang="en-US" sz="1000" b="0" dirty="0">
                <a:solidFill>
                  <a:schemeClr val="tx1">
                    <a:lumMod val="75000"/>
                    <a:lumOff val="25000"/>
                  </a:schemeClr>
                </a:solidFill>
                <a:effectLst/>
                <a:latin typeface="+mn-ea"/>
              </a:endParaRPr>
            </a:p>
          </p:txBody>
        </p:sp>
        <p:sp>
          <p:nvSpPr>
            <p:cNvPr id="10" name="文本框 9">
              <a:extLst>
                <a:ext uri="{FF2B5EF4-FFF2-40B4-BE49-F238E27FC236}">
                  <a16:creationId xmlns:a16="http://schemas.microsoft.com/office/drawing/2014/main" id="{2F83C807-0491-44CA-A1D2-B0FDF2B7CD0D}"/>
                </a:ext>
              </a:extLst>
            </p:cNvPr>
            <p:cNvSpPr txBox="1"/>
            <p:nvPr/>
          </p:nvSpPr>
          <p:spPr>
            <a:xfrm>
              <a:off x="5711279" y="1735358"/>
              <a:ext cx="769441" cy="307777"/>
            </a:xfrm>
            <a:prstGeom prst="rect">
              <a:avLst/>
            </a:prstGeom>
            <a:noFill/>
          </p:spPr>
          <p:txBody>
            <a:bodyPr wrap="none" lIns="0" tIns="0" rIns="0" bIns="0" rtlCol="0" anchor="t">
              <a:spAutoFit/>
            </a:bodyPr>
            <a:lstStyle/>
            <a:p>
              <a:pPr algn="ctr"/>
              <a:r>
                <a:rPr lang="zh-CN" altLang="en-US" sz="2000" dirty="0">
                  <a:solidFill>
                    <a:schemeClr val="accent1"/>
                  </a:solidFill>
                  <a:latin typeface="+mj-ea"/>
                  <a:ea typeface="+mj-ea"/>
                </a:rPr>
                <a:t>关键词</a:t>
              </a:r>
            </a:p>
          </p:txBody>
        </p:sp>
        <p:sp>
          <p:nvSpPr>
            <p:cNvPr id="11" name="矩形 10">
              <a:extLst>
                <a:ext uri="{FF2B5EF4-FFF2-40B4-BE49-F238E27FC236}">
                  <a16:creationId xmlns:a16="http://schemas.microsoft.com/office/drawing/2014/main" id="{2CA2A3AE-23B4-4E1E-98C6-A7BCFB713072}"/>
                </a:ext>
              </a:extLst>
            </p:cNvPr>
            <p:cNvSpPr/>
            <p:nvPr/>
          </p:nvSpPr>
          <p:spPr>
            <a:xfrm>
              <a:off x="5938838" y="2072844"/>
              <a:ext cx="314325" cy="4571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grpSp>
      <p:grpSp>
        <p:nvGrpSpPr>
          <p:cNvPr id="17" name="组合 16">
            <a:extLst>
              <a:ext uri="{FF2B5EF4-FFF2-40B4-BE49-F238E27FC236}">
                <a16:creationId xmlns:a16="http://schemas.microsoft.com/office/drawing/2014/main" id="{2C8FF669-FCE1-4B18-B008-6C6BC6594D4A}"/>
              </a:ext>
            </a:extLst>
          </p:cNvPr>
          <p:cNvGrpSpPr/>
          <p:nvPr/>
        </p:nvGrpSpPr>
        <p:grpSpPr>
          <a:xfrm>
            <a:off x="6970715" y="3946096"/>
            <a:ext cx="1417992" cy="1232242"/>
            <a:chOff x="5387004" y="1735358"/>
            <a:chExt cx="1417992" cy="1232242"/>
          </a:xfrm>
        </p:grpSpPr>
        <p:sp>
          <p:nvSpPr>
            <p:cNvPr id="18" name="文本框 17">
              <a:extLst>
                <a:ext uri="{FF2B5EF4-FFF2-40B4-BE49-F238E27FC236}">
                  <a16:creationId xmlns:a16="http://schemas.microsoft.com/office/drawing/2014/main" id="{EBAFA4AA-CB99-45EE-B484-784782AA6C62}"/>
                </a:ext>
              </a:extLst>
            </p:cNvPr>
            <p:cNvSpPr txBox="1"/>
            <p:nvPr/>
          </p:nvSpPr>
          <p:spPr>
            <a:xfrm>
              <a:off x="5387004" y="2180205"/>
              <a:ext cx="1417992" cy="787395"/>
            </a:xfrm>
            <a:prstGeom prst="rect">
              <a:avLst/>
            </a:prstGeom>
            <a:noFill/>
          </p:spPr>
          <p:txBody>
            <a:bodyPr wrap="square" lIns="0" tIns="0" rIns="0" bIns="0" rtlCol="0" anchor="t">
              <a:spAutoFit/>
            </a:bodyPr>
            <a:lstStyle/>
            <a:p>
              <a:pPr algn="ctr">
                <a:lnSpc>
                  <a:spcPct val="130000"/>
                </a:lnSpc>
              </a:pPr>
              <a:r>
                <a:rPr lang="en-US" altLang="zh-CN" sz="1000" b="0" dirty="0">
                  <a:solidFill>
                    <a:schemeClr val="tx1">
                      <a:lumMod val="75000"/>
                      <a:lumOff val="25000"/>
                    </a:schemeClr>
                  </a:solidFill>
                  <a:effectLst/>
                  <a:latin typeface="+mn-ea"/>
                </a:rPr>
                <a:t>Lorem ipsum dolor sit amet, consectetur adipisicing elit, sed do eiusmod tempor</a:t>
              </a:r>
              <a:endParaRPr lang="zh-CN" altLang="en-US" sz="1000" b="0" dirty="0">
                <a:solidFill>
                  <a:schemeClr val="tx1">
                    <a:lumMod val="75000"/>
                    <a:lumOff val="25000"/>
                  </a:schemeClr>
                </a:solidFill>
                <a:effectLst/>
                <a:latin typeface="+mn-ea"/>
              </a:endParaRPr>
            </a:p>
          </p:txBody>
        </p:sp>
        <p:sp>
          <p:nvSpPr>
            <p:cNvPr id="19" name="文本框 18">
              <a:extLst>
                <a:ext uri="{FF2B5EF4-FFF2-40B4-BE49-F238E27FC236}">
                  <a16:creationId xmlns:a16="http://schemas.microsoft.com/office/drawing/2014/main" id="{E9DAE180-5805-42E6-9EBD-065F24FAAE6C}"/>
                </a:ext>
              </a:extLst>
            </p:cNvPr>
            <p:cNvSpPr txBox="1"/>
            <p:nvPr/>
          </p:nvSpPr>
          <p:spPr>
            <a:xfrm>
              <a:off x="5711279" y="1735358"/>
              <a:ext cx="769441" cy="307777"/>
            </a:xfrm>
            <a:prstGeom prst="rect">
              <a:avLst/>
            </a:prstGeom>
            <a:noFill/>
          </p:spPr>
          <p:txBody>
            <a:bodyPr wrap="none" lIns="0" tIns="0" rIns="0" bIns="0" rtlCol="0" anchor="t">
              <a:spAutoFit/>
            </a:bodyPr>
            <a:lstStyle/>
            <a:p>
              <a:pPr algn="ctr"/>
              <a:r>
                <a:rPr lang="zh-CN" altLang="en-US" sz="2000" dirty="0">
                  <a:solidFill>
                    <a:schemeClr val="accent1"/>
                  </a:solidFill>
                  <a:latin typeface="+mj-ea"/>
                  <a:ea typeface="+mj-ea"/>
                </a:rPr>
                <a:t>关键词</a:t>
              </a:r>
            </a:p>
          </p:txBody>
        </p:sp>
        <p:sp>
          <p:nvSpPr>
            <p:cNvPr id="20" name="矩形 19">
              <a:extLst>
                <a:ext uri="{FF2B5EF4-FFF2-40B4-BE49-F238E27FC236}">
                  <a16:creationId xmlns:a16="http://schemas.microsoft.com/office/drawing/2014/main" id="{2BF7378B-2027-4583-93FA-501BEA339BD1}"/>
                </a:ext>
              </a:extLst>
            </p:cNvPr>
            <p:cNvSpPr/>
            <p:nvPr/>
          </p:nvSpPr>
          <p:spPr>
            <a:xfrm>
              <a:off x="5938838" y="2072844"/>
              <a:ext cx="314325" cy="4571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grpSp>
      <p:grpSp>
        <p:nvGrpSpPr>
          <p:cNvPr id="21" name="组合 20">
            <a:extLst>
              <a:ext uri="{FF2B5EF4-FFF2-40B4-BE49-F238E27FC236}">
                <a16:creationId xmlns:a16="http://schemas.microsoft.com/office/drawing/2014/main" id="{70FEC500-63F2-41C1-9023-82DA6A342F2D}"/>
              </a:ext>
            </a:extLst>
          </p:cNvPr>
          <p:cNvGrpSpPr/>
          <p:nvPr/>
        </p:nvGrpSpPr>
        <p:grpSpPr>
          <a:xfrm>
            <a:off x="5387004" y="1559676"/>
            <a:ext cx="1417992" cy="1232242"/>
            <a:chOff x="5387004" y="1735358"/>
            <a:chExt cx="1417992" cy="1232242"/>
          </a:xfrm>
        </p:grpSpPr>
        <p:sp>
          <p:nvSpPr>
            <p:cNvPr id="22" name="文本框 21">
              <a:extLst>
                <a:ext uri="{FF2B5EF4-FFF2-40B4-BE49-F238E27FC236}">
                  <a16:creationId xmlns:a16="http://schemas.microsoft.com/office/drawing/2014/main" id="{3108F422-1430-49DB-BBF8-94ED4578A486}"/>
                </a:ext>
              </a:extLst>
            </p:cNvPr>
            <p:cNvSpPr txBox="1"/>
            <p:nvPr/>
          </p:nvSpPr>
          <p:spPr>
            <a:xfrm>
              <a:off x="5387004" y="2180205"/>
              <a:ext cx="1417992" cy="787395"/>
            </a:xfrm>
            <a:prstGeom prst="rect">
              <a:avLst/>
            </a:prstGeom>
            <a:noFill/>
          </p:spPr>
          <p:txBody>
            <a:bodyPr wrap="square" lIns="0" tIns="0" rIns="0" bIns="0" rtlCol="0" anchor="t">
              <a:spAutoFit/>
            </a:bodyPr>
            <a:lstStyle/>
            <a:p>
              <a:pPr algn="ctr">
                <a:lnSpc>
                  <a:spcPct val="130000"/>
                </a:lnSpc>
              </a:pPr>
              <a:r>
                <a:rPr lang="en-US" altLang="zh-CN" sz="1000" b="0" dirty="0">
                  <a:solidFill>
                    <a:schemeClr val="tx1">
                      <a:lumMod val="75000"/>
                      <a:lumOff val="25000"/>
                    </a:schemeClr>
                  </a:solidFill>
                  <a:effectLst/>
                  <a:latin typeface="+mn-ea"/>
                </a:rPr>
                <a:t>Lorem ipsum dolor sit amet, consectetur adipisicing elit, sed do eiusmod tempor</a:t>
              </a:r>
              <a:endParaRPr lang="zh-CN" altLang="en-US" sz="1000" b="0" dirty="0">
                <a:solidFill>
                  <a:schemeClr val="tx1">
                    <a:lumMod val="75000"/>
                    <a:lumOff val="25000"/>
                  </a:schemeClr>
                </a:solidFill>
                <a:effectLst/>
                <a:latin typeface="+mn-ea"/>
              </a:endParaRPr>
            </a:p>
          </p:txBody>
        </p:sp>
        <p:sp>
          <p:nvSpPr>
            <p:cNvPr id="23" name="文本框 22">
              <a:extLst>
                <a:ext uri="{FF2B5EF4-FFF2-40B4-BE49-F238E27FC236}">
                  <a16:creationId xmlns:a16="http://schemas.microsoft.com/office/drawing/2014/main" id="{B7E5B9E1-4377-4ED8-A501-5DA3E8FC1427}"/>
                </a:ext>
              </a:extLst>
            </p:cNvPr>
            <p:cNvSpPr txBox="1"/>
            <p:nvPr/>
          </p:nvSpPr>
          <p:spPr>
            <a:xfrm>
              <a:off x="5711279" y="1735358"/>
              <a:ext cx="769441" cy="307777"/>
            </a:xfrm>
            <a:prstGeom prst="rect">
              <a:avLst/>
            </a:prstGeom>
            <a:noFill/>
          </p:spPr>
          <p:txBody>
            <a:bodyPr wrap="none" lIns="0" tIns="0" rIns="0" bIns="0" rtlCol="0" anchor="t">
              <a:spAutoFit/>
            </a:bodyPr>
            <a:lstStyle/>
            <a:p>
              <a:pPr algn="ctr"/>
              <a:r>
                <a:rPr lang="zh-CN" altLang="en-US" sz="2000" dirty="0">
                  <a:solidFill>
                    <a:schemeClr val="accent1"/>
                  </a:solidFill>
                  <a:latin typeface="+mj-ea"/>
                  <a:ea typeface="+mj-ea"/>
                </a:rPr>
                <a:t>关键词</a:t>
              </a:r>
            </a:p>
          </p:txBody>
        </p:sp>
        <p:sp>
          <p:nvSpPr>
            <p:cNvPr id="24" name="矩形 23">
              <a:extLst>
                <a:ext uri="{FF2B5EF4-FFF2-40B4-BE49-F238E27FC236}">
                  <a16:creationId xmlns:a16="http://schemas.microsoft.com/office/drawing/2014/main" id="{7F7C29DB-6AAA-477C-8C90-20449BA1B598}"/>
                </a:ext>
              </a:extLst>
            </p:cNvPr>
            <p:cNvSpPr/>
            <p:nvPr/>
          </p:nvSpPr>
          <p:spPr>
            <a:xfrm>
              <a:off x="5938838" y="2072844"/>
              <a:ext cx="314325" cy="4571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grpSp>
    </p:spTree>
    <p:extLst>
      <p:ext uri="{BB962C8B-B14F-4D97-AF65-F5344CB8AC3E}">
        <p14:creationId xmlns:p14="http://schemas.microsoft.com/office/powerpoint/2010/main" val="1430263983"/>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3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椭圆 34">
            <a:extLst>
              <a:ext uri="{FF2B5EF4-FFF2-40B4-BE49-F238E27FC236}">
                <a16:creationId xmlns:a16="http://schemas.microsoft.com/office/drawing/2014/main" id="{B80EFD9A-177E-455A-AAE2-84EA395DB263}"/>
              </a:ext>
            </a:extLst>
          </p:cNvPr>
          <p:cNvSpPr/>
          <p:nvPr/>
        </p:nvSpPr>
        <p:spPr>
          <a:xfrm rot="516705">
            <a:off x="4211618" y="3378477"/>
            <a:ext cx="3587869" cy="1575510"/>
          </a:xfrm>
          <a:prstGeom prst="ellipse">
            <a:avLst/>
          </a:prstGeom>
          <a:noFill/>
          <a:ln>
            <a:gradFill>
              <a:gsLst>
                <a:gs pos="30000">
                  <a:schemeClr val="accent1">
                    <a:alpha val="0"/>
                  </a:schemeClr>
                </a:gs>
                <a:gs pos="100000">
                  <a:schemeClr val="accent1">
                    <a:alpha val="6700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2" name="椭圆 1">
            <a:extLst>
              <a:ext uri="{FF2B5EF4-FFF2-40B4-BE49-F238E27FC236}">
                <a16:creationId xmlns:a16="http://schemas.microsoft.com/office/drawing/2014/main" id="{F5C74020-04F6-4065-A816-DB382E4D18FF}"/>
              </a:ext>
            </a:extLst>
          </p:cNvPr>
          <p:cNvSpPr/>
          <p:nvPr/>
        </p:nvSpPr>
        <p:spPr>
          <a:xfrm>
            <a:off x="4395787" y="1871662"/>
            <a:ext cx="3400425" cy="3400425"/>
          </a:xfrm>
          <a:prstGeom prst="ellipse">
            <a:avLst/>
          </a:prstGeom>
          <a:gradFill flip="none" rotWithShape="1">
            <a:gsLst>
              <a:gs pos="99000">
                <a:schemeClr val="accent1">
                  <a:alpha val="10000"/>
                </a:schemeClr>
              </a:gs>
              <a:gs pos="78000">
                <a:schemeClr val="accent1">
                  <a:alpha val="0"/>
                </a:schemeClr>
              </a:gs>
            </a:gsLst>
            <a:path path="shape">
              <a:fillToRect l="50000" t="50000" r="50000" b="50000"/>
            </a:path>
            <a:tileRect/>
          </a:gradFill>
          <a:ln>
            <a:gradFill>
              <a:gsLst>
                <a:gs pos="0">
                  <a:schemeClr val="accent1">
                    <a:alpha val="0"/>
                  </a:schemeClr>
                </a:gs>
                <a:gs pos="100000">
                  <a:schemeClr val="accent1"/>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zh-CN" altLang="en-US" sz="1600" dirty="0">
              <a:solidFill>
                <a:schemeClr val="bg1"/>
              </a:solidFill>
              <a:latin typeface="+mj-ea"/>
              <a:ea typeface="+mj-ea"/>
            </a:endParaRPr>
          </a:p>
        </p:txBody>
      </p:sp>
      <p:sp>
        <p:nvSpPr>
          <p:cNvPr id="3" name="平行四边形 2">
            <a:extLst>
              <a:ext uri="{FF2B5EF4-FFF2-40B4-BE49-F238E27FC236}">
                <a16:creationId xmlns:a16="http://schemas.microsoft.com/office/drawing/2014/main" id="{5469A9E2-5DFC-45B2-BBE8-1981CC636447}"/>
              </a:ext>
            </a:extLst>
          </p:cNvPr>
          <p:cNvSpPr/>
          <p:nvPr/>
        </p:nvSpPr>
        <p:spPr>
          <a:xfrm>
            <a:off x="7433119" y="1519808"/>
            <a:ext cx="3434906" cy="1043940"/>
          </a:xfrm>
          <a:prstGeom prst="parallelogram">
            <a:avLst>
              <a:gd name="adj" fmla="val 27269"/>
            </a:avLst>
          </a:prstGeom>
          <a:noFill/>
          <a:ln w="22225">
            <a:gradFill>
              <a:gsLst>
                <a:gs pos="18000">
                  <a:schemeClr val="accent1">
                    <a:alpha val="0"/>
                  </a:schemeClr>
                </a:gs>
                <a:gs pos="100000">
                  <a:schemeClr val="accent1"/>
                </a:gs>
              </a:gsLst>
              <a:lin ang="0" scaled="0"/>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4" name="文本框 3">
            <a:extLst>
              <a:ext uri="{FF2B5EF4-FFF2-40B4-BE49-F238E27FC236}">
                <a16:creationId xmlns:a16="http://schemas.microsoft.com/office/drawing/2014/main" id="{6B77DCEB-67FD-44C7-BB6C-D5BFB35DEA8F}"/>
              </a:ext>
            </a:extLst>
          </p:cNvPr>
          <p:cNvSpPr txBox="1"/>
          <p:nvPr/>
        </p:nvSpPr>
        <p:spPr>
          <a:xfrm>
            <a:off x="7763434" y="2074798"/>
            <a:ext cx="2583525" cy="387286"/>
          </a:xfrm>
          <a:prstGeom prst="rect">
            <a:avLst/>
          </a:prstGeom>
          <a:noFill/>
        </p:spPr>
        <p:txBody>
          <a:bodyPr wrap="square" lIns="0" tIns="0" rIns="0" bIns="0" rtlCol="0" anchor="t">
            <a:spAutoFit/>
          </a:bodyPr>
          <a:lstStyle/>
          <a:p>
            <a:pPr algn="r">
              <a:lnSpc>
                <a:spcPct val="130000"/>
              </a:lnSpc>
            </a:pPr>
            <a:r>
              <a:rPr lang="en-US" altLang="zh-CN" sz="1000" b="0" dirty="0">
                <a:solidFill>
                  <a:schemeClr val="tx1">
                    <a:lumMod val="75000"/>
                    <a:lumOff val="25000"/>
                  </a:schemeClr>
                </a:solidFill>
                <a:effectLst/>
                <a:latin typeface="+mn-ea"/>
              </a:rPr>
              <a:t>Lorem ipsum dolor sit amet, consectetur adipisicing elit, sed do eiusmod tempor</a:t>
            </a:r>
            <a:endParaRPr lang="zh-CN" altLang="en-US" sz="1000" b="0" dirty="0">
              <a:solidFill>
                <a:schemeClr val="tx1">
                  <a:lumMod val="75000"/>
                  <a:lumOff val="25000"/>
                </a:schemeClr>
              </a:solidFill>
              <a:effectLst/>
              <a:latin typeface="+mn-ea"/>
            </a:endParaRPr>
          </a:p>
        </p:txBody>
      </p:sp>
      <p:sp>
        <p:nvSpPr>
          <p:cNvPr id="5" name="文本框 4">
            <a:extLst>
              <a:ext uri="{FF2B5EF4-FFF2-40B4-BE49-F238E27FC236}">
                <a16:creationId xmlns:a16="http://schemas.microsoft.com/office/drawing/2014/main" id="{59FC5A8D-4905-46EC-8356-12CD4571BC98}"/>
              </a:ext>
            </a:extLst>
          </p:cNvPr>
          <p:cNvSpPr txBox="1"/>
          <p:nvPr/>
        </p:nvSpPr>
        <p:spPr>
          <a:xfrm>
            <a:off x="9064557" y="1658972"/>
            <a:ext cx="1282402" cy="307777"/>
          </a:xfrm>
          <a:prstGeom prst="rect">
            <a:avLst/>
          </a:prstGeom>
          <a:noFill/>
        </p:spPr>
        <p:txBody>
          <a:bodyPr wrap="none" lIns="0" tIns="0" rIns="0" bIns="0" rtlCol="0" anchor="t">
            <a:spAutoFit/>
          </a:bodyPr>
          <a:lstStyle/>
          <a:p>
            <a:pPr algn="r"/>
            <a:r>
              <a:rPr lang="zh-CN" altLang="en-US" sz="2000" dirty="0">
                <a:solidFill>
                  <a:schemeClr val="accent1"/>
                </a:solidFill>
                <a:latin typeface="+mj-ea"/>
                <a:ea typeface="+mj-ea"/>
              </a:rPr>
              <a:t>关键词标题</a:t>
            </a:r>
          </a:p>
        </p:txBody>
      </p:sp>
      <p:sp>
        <p:nvSpPr>
          <p:cNvPr id="6" name="矩形 5">
            <a:extLst>
              <a:ext uri="{FF2B5EF4-FFF2-40B4-BE49-F238E27FC236}">
                <a16:creationId xmlns:a16="http://schemas.microsoft.com/office/drawing/2014/main" id="{9286035A-6EB1-4BF0-A3C6-16DABCE98229}"/>
              </a:ext>
            </a:extLst>
          </p:cNvPr>
          <p:cNvSpPr/>
          <p:nvPr/>
        </p:nvSpPr>
        <p:spPr>
          <a:xfrm>
            <a:off x="9979025" y="2004948"/>
            <a:ext cx="352425" cy="4571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7" name="平行四边形 6">
            <a:extLst>
              <a:ext uri="{FF2B5EF4-FFF2-40B4-BE49-F238E27FC236}">
                <a16:creationId xmlns:a16="http://schemas.microsoft.com/office/drawing/2014/main" id="{1DE13EB3-7D3E-432C-9AE4-A7F7398F8DB9}"/>
              </a:ext>
            </a:extLst>
          </p:cNvPr>
          <p:cNvSpPr/>
          <p:nvPr/>
        </p:nvSpPr>
        <p:spPr>
          <a:xfrm>
            <a:off x="8261572" y="3017074"/>
            <a:ext cx="3434906" cy="1043940"/>
          </a:xfrm>
          <a:prstGeom prst="parallelogram">
            <a:avLst>
              <a:gd name="adj" fmla="val 27269"/>
            </a:avLst>
          </a:prstGeom>
          <a:noFill/>
          <a:ln w="22225">
            <a:gradFill>
              <a:gsLst>
                <a:gs pos="18000">
                  <a:schemeClr val="accent1">
                    <a:alpha val="0"/>
                  </a:schemeClr>
                </a:gs>
                <a:gs pos="100000">
                  <a:schemeClr val="accent1"/>
                </a:gs>
              </a:gsLst>
              <a:lin ang="0" scaled="0"/>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8" name="文本框 7">
            <a:extLst>
              <a:ext uri="{FF2B5EF4-FFF2-40B4-BE49-F238E27FC236}">
                <a16:creationId xmlns:a16="http://schemas.microsoft.com/office/drawing/2014/main" id="{5B6EB2CA-B6E0-4B50-AB1F-775DFB3D3892}"/>
              </a:ext>
            </a:extLst>
          </p:cNvPr>
          <p:cNvSpPr txBox="1"/>
          <p:nvPr/>
        </p:nvSpPr>
        <p:spPr>
          <a:xfrm>
            <a:off x="8591887" y="3572064"/>
            <a:ext cx="2583525" cy="387286"/>
          </a:xfrm>
          <a:prstGeom prst="rect">
            <a:avLst/>
          </a:prstGeom>
          <a:noFill/>
        </p:spPr>
        <p:txBody>
          <a:bodyPr wrap="square" lIns="0" tIns="0" rIns="0" bIns="0" rtlCol="0" anchor="t">
            <a:spAutoFit/>
          </a:bodyPr>
          <a:lstStyle/>
          <a:p>
            <a:pPr algn="r">
              <a:lnSpc>
                <a:spcPct val="130000"/>
              </a:lnSpc>
            </a:pPr>
            <a:r>
              <a:rPr lang="en-US" altLang="zh-CN" sz="1000" b="0" dirty="0">
                <a:solidFill>
                  <a:schemeClr val="tx1">
                    <a:lumMod val="75000"/>
                    <a:lumOff val="25000"/>
                  </a:schemeClr>
                </a:solidFill>
                <a:effectLst/>
                <a:latin typeface="+mn-ea"/>
              </a:rPr>
              <a:t>Lorem ipsum dolor sit amet, consectetur adipisicing elit, sed do eiusmod tempor</a:t>
            </a:r>
            <a:endParaRPr lang="zh-CN" altLang="en-US" sz="1000" b="0" dirty="0">
              <a:solidFill>
                <a:schemeClr val="tx1">
                  <a:lumMod val="75000"/>
                  <a:lumOff val="25000"/>
                </a:schemeClr>
              </a:solidFill>
              <a:effectLst/>
              <a:latin typeface="+mn-ea"/>
            </a:endParaRPr>
          </a:p>
        </p:txBody>
      </p:sp>
      <p:sp>
        <p:nvSpPr>
          <p:cNvPr id="9" name="文本框 8">
            <a:extLst>
              <a:ext uri="{FF2B5EF4-FFF2-40B4-BE49-F238E27FC236}">
                <a16:creationId xmlns:a16="http://schemas.microsoft.com/office/drawing/2014/main" id="{E90EE496-36C9-4BB9-B008-A46A8B7B57DE}"/>
              </a:ext>
            </a:extLst>
          </p:cNvPr>
          <p:cNvSpPr txBox="1"/>
          <p:nvPr/>
        </p:nvSpPr>
        <p:spPr>
          <a:xfrm>
            <a:off x="9893010" y="3156238"/>
            <a:ext cx="1282402" cy="307777"/>
          </a:xfrm>
          <a:prstGeom prst="rect">
            <a:avLst/>
          </a:prstGeom>
          <a:noFill/>
        </p:spPr>
        <p:txBody>
          <a:bodyPr wrap="none" lIns="0" tIns="0" rIns="0" bIns="0" rtlCol="0" anchor="t">
            <a:spAutoFit/>
          </a:bodyPr>
          <a:lstStyle/>
          <a:p>
            <a:pPr algn="r"/>
            <a:r>
              <a:rPr lang="zh-CN" altLang="en-US" sz="2000" dirty="0">
                <a:solidFill>
                  <a:schemeClr val="accent1"/>
                </a:solidFill>
                <a:latin typeface="+mj-ea"/>
                <a:ea typeface="+mj-ea"/>
              </a:rPr>
              <a:t>关键词标题</a:t>
            </a:r>
          </a:p>
        </p:txBody>
      </p:sp>
      <p:sp>
        <p:nvSpPr>
          <p:cNvPr id="10" name="矩形 9">
            <a:extLst>
              <a:ext uri="{FF2B5EF4-FFF2-40B4-BE49-F238E27FC236}">
                <a16:creationId xmlns:a16="http://schemas.microsoft.com/office/drawing/2014/main" id="{4025DAC8-ABD4-4DE7-A35B-299505B7CD79}"/>
              </a:ext>
            </a:extLst>
          </p:cNvPr>
          <p:cNvSpPr/>
          <p:nvPr/>
        </p:nvSpPr>
        <p:spPr>
          <a:xfrm>
            <a:off x="10807478" y="3502214"/>
            <a:ext cx="352425" cy="4571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15" name="平行四边形 14">
            <a:extLst>
              <a:ext uri="{FF2B5EF4-FFF2-40B4-BE49-F238E27FC236}">
                <a16:creationId xmlns:a16="http://schemas.microsoft.com/office/drawing/2014/main" id="{D5A08910-BDF7-4B6E-B849-27DE36F6A281}"/>
              </a:ext>
            </a:extLst>
          </p:cNvPr>
          <p:cNvSpPr/>
          <p:nvPr/>
        </p:nvSpPr>
        <p:spPr>
          <a:xfrm>
            <a:off x="7433119" y="4514340"/>
            <a:ext cx="3434906" cy="1043940"/>
          </a:xfrm>
          <a:prstGeom prst="parallelogram">
            <a:avLst>
              <a:gd name="adj" fmla="val 27269"/>
            </a:avLst>
          </a:prstGeom>
          <a:noFill/>
          <a:ln w="22225">
            <a:gradFill>
              <a:gsLst>
                <a:gs pos="18000">
                  <a:schemeClr val="accent1">
                    <a:alpha val="0"/>
                  </a:schemeClr>
                </a:gs>
                <a:gs pos="100000">
                  <a:schemeClr val="accent1"/>
                </a:gs>
              </a:gsLst>
              <a:lin ang="0" scaled="0"/>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16" name="文本框 15">
            <a:extLst>
              <a:ext uri="{FF2B5EF4-FFF2-40B4-BE49-F238E27FC236}">
                <a16:creationId xmlns:a16="http://schemas.microsoft.com/office/drawing/2014/main" id="{EB105CE9-02CA-41B6-9BE4-87A8DCC941CF}"/>
              </a:ext>
            </a:extLst>
          </p:cNvPr>
          <p:cNvSpPr txBox="1"/>
          <p:nvPr/>
        </p:nvSpPr>
        <p:spPr>
          <a:xfrm>
            <a:off x="7763434" y="5069330"/>
            <a:ext cx="2583525" cy="387286"/>
          </a:xfrm>
          <a:prstGeom prst="rect">
            <a:avLst/>
          </a:prstGeom>
          <a:noFill/>
        </p:spPr>
        <p:txBody>
          <a:bodyPr wrap="square" lIns="0" tIns="0" rIns="0" bIns="0" rtlCol="0" anchor="t">
            <a:spAutoFit/>
          </a:bodyPr>
          <a:lstStyle/>
          <a:p>
            <a:pPr algn="r">
              <a:lnSpc>
                <a:spcPct val="130000"/>
              </a:lnSpc>
            </a:pPr>
            <a:r>
              <a:rPr lang="en-US" altLang="zh-CN" sz="1000" b="0" dirty="0">
                <a:solidFill>
                  <a:schemeClr val="tx1">
                    <a:lumMod val="75000"/>
                    <a:lumOff val="25000"/>
                  </a:schemeClr>
                </a:solidFill>
                <a:effectLst/>
                <a:latin typeface="+mn-ea"/>
              </a:rPr>
              <a:t>Lorem ipsum dolor sit amet, consectetur adipisicing elit, sed do eiusmod tempor</a:t>
            </a:r>
            <a:endParaRPr lang="zh-CN" altLang="en-US" sz="1000" b="0" dirty="0">
              <a:solidFill>
                <a:schemeClr val="tx1">
                  <a:lumMod val="75000"/>
                  <a:lumOff val="25000"/>
                </a:schemeClr>
              </a:solidFill>
              <a:effectLst/>
              <a:latin typeface="+mn-ea"/>
            </a:endParaRPr>
          </a:p>
        </p:txBody>
      </p:sp>
      <p:sp>
        <p:nvSpPr>
          <p:cNvPr id="17" name="文本框 16">
            <a:extLst>
              <a:ext uri="{FF2B5EF4-FFF2-40B4-BE49-F238E27FC236}">
                <a16:creationId xmlns:a16="http://schemas.microsoft.com/office/drawing/2014/main" id="{C14B56CF-4040-4F23-A14C-6862AE8EC347}"/>
              </a:ext>
            </a:extLst>
          </p:cNvPr>
          <p:cNvSpPr txBox="1"/>
          <p:nvPr/>
        </p:nvSpPr>
        <p:spPr>
          <a:xfrm>
            <a:off x="9064557" y="4653504"/>
            <a:ext cx="1282402" cy="307777"/>
          </a:xfrm>
          <a:prstGeom prst="rect">
            <a:avLst/>
          </a:prstGeom>
          <a:noFill/>
        </p:spPr>
        <p:txBody>
          <a:bodyPr wrap="none" lIns="0" tIns="0" rIns="0" bIns="0" rtlCol="0" anchor="t">
            <a:spAutoFit/>
          </a:bodyPr>
          <a:lstStyle/>
          <a:p>
            <a:pPr algn="r"/>
            <a:r>
              <a:rPr lang="zh-CN" altLang="en-US" sz="2000" dirty="0">
                <a:solidFill>
                  <a:schemeClr val="accent1"/>
                </a:solidFill>
                <a:latin typeface="+mj-ea"/>
                <a:ea typeface="+mj-ea"/>
              </a:rPr>
              <a:t>关键词标题</a:t>
            </a:r>
          </a:p>
        </p:txBody>
      </p:sp>
      <p:sp>
        <p:nvSpPr>
          <p:cNvPr id="18" name="矩形 17">
            <a:extLst>
              <a:ext uri="{FF2B5EF4-FFF2-40B4-BE49-F238E27FC236}">
                <a16:creationId xmlns:a16="http://schemas.microsoft.com/office/drawing/2014/main" id="{1F12A473-D9AE-4C32-9415-7FF61050042B}"/>
              </a:ext>
            </a:extLst>
          </p:cNvPr>
          <p:cNvSpPr/>
          <p:nvPr/>
        </p:nvSpPr>
        <p:spPr>
          <a:xfrm>
            <a:off x="9979025" y="4999480"/>
            <a:ext cx="352425" cy="4571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21" name="平行四边形 20">
            <a:extLst>
              <a:ext uri="{FF2B5EF4-FFF2-40B4-BE49-F238E27FC236}">
                <a16:creationId xmlns:a16="http://schemas.microsoft.com/office/drawing/2014/main" id="{5EF6EC46-68B0-4279-A0D1-964814F425F3}"/>
              </a:ext>
            </a:extLst>
          </p:cNvPr>
          <p:cNvSpPr/>
          <p:nvPr/>
        </p:nvSpPr>
        <p:spPr>
          <a:xfrm flipH="1">
            <a:off x="1362063" y="1519808"/>
            <a:ext cx="3434906" cy="1043940"/>
          </a:xfrm>
          <a:prstGeom prst="parallelogram">
            <a:avLst>
              <a:gd name="adj" fmla="val 27269"/>
            </a:avLst>
          </a:prstGeom>
          <a:noFill/>
          <a:ln w="22225">
            <a:gradFill>
              <a:gsLst>
                <a:gs pos="18000">
                  <a:schemeClr val="accent1">
                    <a:alpha val="0"/>
                  </a:schemeClr>
                </a:gs>
                <a:gs pos="100000">
                  <a:schemeClr val="accent1"/>
                </a:gs>
              </a:gsLst>
              <a:lin ang="0" scaled="0"/>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zh-CN" altLang="en-US" sz="1600">
              <a:solidFill>
                <a:schemeClr val="bg1"/>
              </a:solidFill>
              <a:latin typeface="+mj-ea"/>
              <a:ea typeface="+mj-ea"/>
            </a:endParaRPr>
          </a:p>
        </p:txBody>
      </p:sp>
      <p:sp>
        <p:nvSpPr>
          <p:cNvPr id="22" name="文本框 21">
            <a:extLst>
              <a:ext uri="{FF2B5EF4-FFF2-40B4-BE49-F238E27FC236}">
                <a16:creationId xmlns:a16="http://schemas.microsoft.com/office/drawing/2014/main" id="{0B6ECE17-E778-4C73-81AC-DF8AEB63221C}"/>
              </a:ext>
            </a:extLst>
          </p:cNvPr>
          <p:cNvSpPr txBox="1"/>
          <p:nvPr/>
        </p:nvSpPr>
        <p:spPr>
          <a:xfrm flipH="1">
            <a:off x="1883129" y="2074798"/>
            <a:ext cx="2583525" cy="387286"/>
          </a:xfrm>
          <a:prstGeom prst="rect">
            <a:avLst/>
          </a:prstGeom>
          <a:noFill/>
        </p:spPr>
        <p:txBody>
          <a:bodyPr wrap="square" lIns="0" tIns="0" rIns="0" bIns="0" rtlCol="0" anchor="t">
            <a:spAutoFit/>
          </a:bodyPr>
          <a:lstStyle/>
          <a:p>
            <a:pPr>
              <a:lnSpc>
                <a:spcPct val="130000"/>
              </a:lnSpc>
            </a:pPr>
            <a:r>
              <a:rPr lang="en-US" altLang="zh-CN" sz="1000" b="0" dirty="0">
                <a:solidFill>
                  <a:schemeClr val="tx1">
                    <a:lumMod val="75000"/>
                    <a:lumOff val="25000"/>
                  </a:schemeClr>
                </a:solidFill>
                <a:effectLst/>
                <a:latin typeface="+mn-ea"/>
              </a:rPr>
              <a:t>Lorem ipsum dolor sit amet, consectetur adipisicing elit, sed do eiusmod tempor</a:t>
            </a:r>
            <a:endParaRPr lang="zh-CN" altLang="en-US" sz="1000" b="0" dirty="0">
              <a:solidFill>
                <a:schemeClr val="tx1">
                  <a:lumMod val="75000"/>
                  <a:lumOff val="25000"/>
                </a:schemeClr>
              </a:solidFill>
              <a:effectLst/>
              <a:latin typeface="+mn-ea"/>
            </a:endParaRPr>
          </a:p>
        </p:txBody>
      </p:sp>
      <p:sp>
        <p:nvSpPr>
          <p:cNvPr id="23" name="文本框 22">
            <a:extLst>
              <a:ext uri="{FF2B5EF4-FFF2-40B4-BE49-F238E27FC236}">
                <a16:creationId xmlns:a16="http://schemas.microsoft.com/office/drawing/2014/main" id="{6C32838D-B449-45A5-B1D0-ACD7C444F0EB}"/>
              </a:ext>
            </a:extLst>
          </p:cNvPr>
          <p:cNvSpPr txBox="1"/>
          <p:nvPr/>
        </p:nvSpPr>
        <p:spPr>
          <a:xfrm flipH="1">
            <a:off x="1883129" y="1658972"/>
            <a:ext cx="1282402" cy="307777"/>
          </a:xfrm>
          <a:prstGeom prst="rect">
            <a:avLst/>
          </a:prstGeom>
          <a:noFill/>
        </p:spPr>
        <p:txBody>
          <a:bodyPr wrap="none" lIns="0" tIns="0" rIns="0" bIns="0" rtlCol="0" anchor="t">
            <a:spAutoFit/>
          </a:bodyPr>
          <a:lstStyle/>
          <a:p>
            <a:r>
              <a:rPr lang="zh-CN" altLang="en-US" sz="2000" dirty="0">
                <a:solidFill>
                  <a:schemeClr val="accent1"/>
                </a:solidFill>
                <a:latin typeface="+mj-ea"/>
                <a:ea typeface="+mj-ea"/>
              </a:rPr>
              <a:t>关键词标题</a:t>
            </a:r>
          </a:p>
        </p:txBody>
      </p:sp>
      <p:sp>
        <p:nvSpPr>
          <p:cNvPr id="24" name="矩形 23">
            <a:extLst>
              <a:ext uri="{FF2B5EF4-FFF2-40B4-BE49-F238E27FC236}">
                <a16:creationId xmlns:a16="http://schemas.microsoft.com/office/drawing/2014/main" id="{524929B0-23AE-4A5C-ADC3-32ABC7410355}"/>
              </a:ext>
            </a:extLst>
          </p:cNvPr>
          <p:cNvSpPr/>
          <p:nvPr/>
        </p:nvSpPr>
        <p:spPr>
          <a:xfrm flipH="1">
            <a:off x="1898638" y="2004948"/>
            <a:ext cx="352425" cy="4571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zh-CN" altLang="en-US" sz="1600">
              <a:solidFill>
                <a:schemeClr val="bg1"/>
              </a:solidFill>
              <a:latin typeface="+mj-ea"/>
              <a:ea typeface="+mj-ea"/>
            </a:endParaRPr>
          </a:p>
        </p:txBody>
      </p:sp>
      <p:sp>
        <p:nvSpPr>
          <p:cNvPr id="25" name="平行四边形 24">
            <a:extLst>
              <a:ext uri="{FF2B5EF4-FFF2-40B4-BE49-F238E27FC236}">
                <a16:creationId xmlns:a16="http://schemas.microsoft.com/office/drawing/2014/main" id="{242B97B2-1F3A-48E9-B6E9-BE00AF89CA29}"/>
              </a:ext>
            </a:extLst>
          </p:cNvPr>
          <p:cNvSpPr/>
          <p:nvPr/>
        </p:nvSpPr>
        <p:spPr>
          <a:xfrm flipH="1">
            <a:off x="533610" y="3017074"/>
            <a:ext cx="3434906" cy="1043940"/>
          </a:xfrm>
          <a:prstGeom prst="parallelogram">
            <a:avLst>
              <a:gd name="adj" fmla="val 27269"/>
            </a:avLst>
          </a:prstGeom>
          <a:noFill/>
          <a:ln w="22225">
            <a:gradFill>
              <a:gsLst>
                <a:gs pos="18000">
                  <a:schemeClr val="accent1">
                    <a:alpha val="0"/>
                  </a:schemeClr>
                </a:gs>
                <a:gs pos="100000">
                  <a:schemeClr val="accent1"/>
                </a:gs>
              </a:gsLst>
              <a:lin ang="0" scaled="0"/>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zh-CN" altLang="en-US" sz="1600">
              <a:solidFill>
                <a:schemeClr val="bg1"/>
              </a:solidFill>
              <a:latin typeface="+mj-ea"/>
              <a:ea typeface="+mj-ea"/>
            </a:endParaRPr>
          </a:p>
        </p:txBody>
      </p:sp>
      <p:sp>
        <p:nvSpPr>
          <p:cNvPr id="26" name="文本框 25">
            <a:extLst>
              <a:ext uri="{FF2B5EF4-FFF2-40B4-BE49-F238E27FC236}">
                <a16:creationId xmlns:a16="http://schemas.microsoft.com/office/drawing/2014/main" id="{2716B4DF-8E62-4ECB-8A0C-C1E2F9C7A60E}"/>
              </a:ext>
            </a:extLst>
          </p:cNvPr>
          <p:cNvSpPr txBox="1"/>
          <p:nvPr/>
        </p:nvSpPr>
        <p:spPr>
          <a:xfrm flipH="1">
            <a:off x="1054676" y="3572064"/>
            <a:ext cx="2583525" cy="387286"/>
          </a:xfrm>
          <a:prstGeom prst="rect">
            <a:avLst/>
          </a:prstGeom>
          <a:noFill/>
        </p:spPr>
        <p:txBody>
          <a:bodyPr wrap="square" lIns="0" tIns="0" rIns="0" bIns="0" rtlCol="0" anchor="t">
            <a:spAutoFit/>
          </a:bodyPr>
          <a:lstStyle/>
          <a:p>
            <a:pPr>
              <a:lnSpc>
                <a:spcPct val="130000"/>
              </a:lnSpc>
            </a:pPr>
            <a:r>
              <a:rPr lang="en-US" altLang="zh-CN" sz="1000" b="0" dirty="0">
                <a:solidFill>
                  <a:schemeClr val="tx1">
                    <a:lumMod val="75000"/>
                    <a:lumOff val="25000"/>
                  </a:schemeClr>
                </a:solidFill>
                <a:effectLst/>
                <a:latin typeface="+mn-ea"/>
              </a:rPr>
              <a:t>Lorem ipsum dolor sit amet, consectetur adipisicing elit, sed do eiusmod tempor</a:t>
            </a:r>
            <a:endParaRPr lang="zh-CN" altLang="en-US" sz="1000" b="0" dirty="0">
              <a:solidFill>
                <a:schemeClr val="tx1">
                  <a:lumMod val="75000"/>
                  <a:lumOff val="25000"/>
                </a:schemeClr>
              </a:solidFill>
              <a:effectLst/>
              <a:latin typeface="+mn-ea"/>
            </a:endParaRPr>
          </a:p>
        </p:txBody>
      </p:sp>
      <p:sp>
        <p:nvSpPr>
          <p:cNvPr id="27" name="文本框 26">
            <a:extLst>
              <a:ext uri="{FF2B5EF4-FFF2-40B4-BE49-F238E27FC236}">
                <a16:creationId xmlns:a16="http://schemas.microsoft.com/office/drawing/2014/main" id="{65F6360B-413F-4CC2-86EB-3562502DA0BE}"/>
              </a:ext>
            </a:extLst>
          </p:cNvPr>
          <p:cNvSpPr txBox="1"/>
          <p:nvPr/>
        </p:nvSpPr>
        <p:spPr>
          <a:xfrm flipH="1">
            <a:off x="1054676" y="3156238"/>
            <a:ext cx="1282402" cy="307777"/>
          </a:xfrm>
          <a:prstGeom prst="rect">
            <a:avLst/>
          </a:prstGeom>
          <a:noFill/>
        </p:spPr>
        <p:txBody>
          <a:bodyPr wrap="none" lIns="0" tIns="0" rIns="0" bIns="0" rtlCol="0" anchor="t">
            <a:spAutoFit/>
          </a:bodyPr>
          <a:lstStyle/>
          <a:p>
            <a:r>
              <a:rPr lang="zh-CN" altLang="en-US" sz="2000" dirty="0">
                <a:solidFill>
                  <a:schemeClr val="accent1"/>
                </a:solidFill>
                <a:latin typeface="+mj-ea"/>
                <a:ea typeface="+mj-ea"/>
              </a:rPr>
              <a:t>关键词标题</a:t>
            </a:r>
          </a:p>
        </p:txBody>
      </p:sp>
      <p:sp>
        <p:nvSpPr>
          <p:cNvPr id="28" name="矩形 27">
            <a:extLst>
              <a:ext uri="{FF2B5EF4-FFF2-40B4-BE49-F238E27FC236}">
                <a16:creationId xmlns:a16="http://schemas.microsoft.com/office/drawing/2014/main" id="{54F18516-42ED-43A7-8B6B-F9F285D7291A}"/>
              </a:ext>
            </a:extLst>
          </p:cNvPr>
          <p:cNvSpPr/>
          <p:nvPr/>
        </p:nvSpPr>
        <p:spPr>
          <a:xfrm flipH="1">
            <a:off x="1070185" y="3502214"/>
            <a:ext cx="352425" cy="4571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zh-CN" altLang="en-US" sz="1600">
              <a:solidFill>
                <a:schemeClr val="bg1"/>
              </a:solidFill>
              <a:latin typeface="+mj-ea"/>
              <a:ea typeface="+mj-ea"/>
            </a:endParaRPr>
          </a:p>
        </p:txBody>
      </p:sp>
      <p:sp>
        <p:nvSpPr>
          <p:cNvPr id="29" name="平行四边形 28">
            <a:extLst>
              <a:ext uri="{FF2B5EF4-FFF2-40B4-BE49-F238E27FC236}">
                <a16:creationId xmlns:a16="http://schemas.microsoft.com/office/drawing/2014/main" id="{53C0A1D0-A152-4259-B320-6C6B006DEC18}"/>
              </a:ext>
            </a:extLst>
          </p:cNvPr>
          <p:cNvSpPr/>
          <p:nvPr/>
        </p:nvSpPr>
        <p:spPr>
          <a:xfrm flipH="1">
            <a:off x="1362063" y="4514340"/>
            <a:ext cx="3434906" cy="1043940"/>
          </a:xfrm>
          <a:prstGeom prst="parallelogram">
            <a:avLst>
              <a:gd name="adj" fmla="val 27269"/>
            </a:avLst>
          </a:prstGeom>
          <a:noFill/>
          <a:ln w="22225">
            <a:gradFill>
              <a:gsLst>
                <a:gs pos="18000">
                  <a:schemeClr val="accent1">
                    <a:alpha val="0"/>
                  </a:schemeClr>
                </a:gs>
                <a:gs pos="100000">
                  <a:schemeClr val="accent1"/>
                </a:gs>
              </a:gsLst>
              <a:lin ang="0" scaled="0"/>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zh-CN" altLang="en-US" sz="1600">
              <a:solidFill>
                <a:schemeClr val="bg1"/>
              </a:solidFill>
              <a:latin typeface="+mj-ea"/>
              <a:ea typeface="+mj-ea"/>
            </a:endParaRPr>
          </a:p>
        </p:txBody>
      </p:sp>
      <p:sp>
        <p:nvSpPr>
          <p:cNvPr id="30" name="文本框 29">
            <a:extLst>
              <a:ext uri="{FF2B5EF4-FFF2-40B4-BE49-F238E27FC236}">
                <a16:creationId xmlns:a16="http://schemas.microsoft.com/office/drawing/2014/main" id="{0656C6A2-795F-415D-833A-D4C7EAFB65D9}"/>
              </a:ext>
            </a:extLst>
          </p:cNvPr>
          <p:cNvSpPr txBox="1"/>
          <p:nvPr/>
        </p:nvSpPr>
        <p:spPr>
          <a:xfrm flipH="1">
            <a:off x="1883129" y="5069330"/>
            <a:ext cx="2583525" cy="387286"/>
          </a:xfrm>
          <a:prstGeom prst="rect">
            <a:avLst/>
          </a:prstGeom>
          <a:noFill/>
        </p:spPr>
        <p:txBody>
          <a:bodyPr wrap="square" lIns="0" tIns="0" rIns="0" bIns="0" rtlCol="0" anchor="t">
            <a:spAutoFit/>
          </a:bodyPr>
          <a:lstStyle/>
          <a:p>
            <a:pPr>
              <a:lnSpc>
                <a:spcPct val="130000"/>
              </a:lnSpc>
            </a:pPr>
            <a:r>
              <a:rPr lang="en-US" altLang="zh-CN" sz="1000" b="0" dirty="0">
                <a:solidFill>
                  <a:schemeClr val="tx1">
                    <a:lumMod val="75000"/>
                    <a:lumOff val="25000"/>
                  </a:schemeClr>
                </a:solidFill>
                <a:effectLst/>
                <a:latin typeface="+mn-ea"/>
              </a:rPr>
              <a:t>Lorem ipsum dolor sit amet, consectetur adipisicing elit, sed do eiusmod tempor</a:t>
            </a:r>
            <a:endParaRPr lang="zh-CN" altLang="en-US" sz="1000" b="0" dirty="0">
              <a:solidFill>
                <a:schemeClr val="tx1">
                  <a:lumMod val="75000"/>
                  <a:lumOff val="25000"/>
                </a:schemeClr>
              </a:solidFill>
              <a:effectLst/>
              <a:latin typeface="+mn-ea"/>
            </a:endParaRPr>
          </a:p>
        </p:txBody>
      </p:sp>
      <p:sp>
        <p:nvSpPr>
          <p:cNvPr id="31" name="文本框 30">
            <a:extLst>
              <a:ext uri="{FF2B5EF4-FFF2-40B4-BE49-F238E27FC236}">
                <a16:creationId xmlns:a16="http://schemas.microsoft.com/office/drawing/2014/main" id="{46A7EBC9-2CC1-40E0-BD9C-4B47D1D3BD81}"/>
              </a:ext>
            </a:extLst>
          </p:cNvPr>
          <p:cNvSpPr txBox="1"/>
          <p:nvPr/>
        </p:nvSpPr>
        <p:spPr>
          <a:xfrm flipH="1">
            <a:off x="1883129" y="4653504"/>
            <a:ext cx="1282402" cy="307777"/>
          </a:xfrm>
          <a:prstGeom prst="rect">
            <a:avLst/>
          </a:prstGeom>
          <a:noFill/>
        </p:spPr>
        <p:txBody>
          <a:bodyPr wrap="none" lIns="0" tIns="0" rIns="0" bIns="0" rtlCol="0" anchor="t">
            <a:spAutoFit/>
          </a:bodyPr>
          <a:lstStyle/>
          <a:p>
            <a:r>
              <a:rPr lang="zh-CN" altLang="en-US" sz="2000" dirty="0">
                <a:solidFill>
                  <a:schemeClr val="accent1"/>
                </a:solidFill>
                <a:latin typeface="+mj-ea"/>
                <a:ea typeface="+mj-ea"/>
              </a:rPr>
              <a:t>关键词标题</a:t>
            </a:r>
          </a:p>
        </p:txBody>
      </p:sp>
      <p:sp>
        <p:nvSpPr>
          <p:cNvPr id="32" name="矩形 31">
            <a:extLst>
              <a:ext uri="{FF2B5EF4-FFF2-40B4-BE49-F238E27FC236}">
                <a16:creationId xmlns:a16="http://schemas.microsoft.com/office/drawing/2014/main" id="{1DA72090-F64C-4BFB-AE46-08C46059C3B7}"/>
              </a:ext>
            </a:extLst>
          </p:cNvPr>
          <p:cNvSpPr/>
          <p:nvPr/>
        </p:nvSpPr>
        <p:spPr>
          <a:xfrm flipH="1">
            <a:off x="1898638" y="4999480"/>
            <a:ext cx="352425" cy="4571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zh-CN" altLang="en-US" sz="1600">
              <a:solidFill>
                <a:schemeClr val="bg1"/>
              </a:solidFill>
              <a:latin typeface="+mj-ea"/>
              <a:ea typeface="+mj-ea"/>
            </a:endParaRPr>
          </a:p>
        </p:txBody>
      </p:sp>
      <p:sp>
        <p:nvSpPr>
          <p:cNvPr id="33" name="文本框 32">
            <a:extLst>
              <a:ext uri="{FF2B5EF4-FFF2-40B4-BE49-F238E27FC236}">
                <a16:creationId xmlns:a16="http://schemas.microsoft.com/office/drawing/2014/main" id="{847A6441-52AE-4715-98E4-162EE1AA5EC5}"/>
              </a:ext>
            </a:extLst>
          </p:cNvPr>
          <p:cNvSpPr txBox="1"/>
          <p:nvPr/>
        </p:nvSpPr>
        <p:spPr>
          <a:xfrm flipH="1">
            <a:off x="5070077" y="3655036"/>
            <a:ext cx="2051844" cy="492443"/>
          </a:xfrm>
          <a:prstGeom prst="rect">
            <a:avLst/>
          </a:prstGeom>
          <a:noFill/>
        </p:spPr>
        <p:txBody>
          <a:bodyPr wrap="none" lIns="0" tIns="0" rIns="0" bIns="0" rtlCol="0" anchor="t">
            <a:spAutoFit/>
          </a:bodyPr>
          <a:lstStyle/>
          <a:p>
            <a:pPr algn="ctr"/>
            <a:r>
              <a:rPr lang="zh-CN" altLang="en-US" sz="3200" dirty="0">
                <a:solidFill>
                  <a:schemeClr val="accent1"/>
                </a:solidFill>
                <a:latin typeface="+mj-ea"/>
                <a:ea typeface="+mj-ea"/>
              </a:rPr>
              <a:t>关键词标题</a:t>
            </a:r>
          </a:p>
        </p:txBody>
      </p:sp>
      <p:sp>
        <p:nvSpPr>
          <p:cNvPr id="34" name="user_209046">
            <a:extLst>
              <a:ext uri="{FF2B5EF4-FFF2-40B4-BE49-F238E27FC236}">
                <a16:creationId xmlns:a16="http://schemas.microsoft.com/office/drawing/2014/main" id="{3C09067E-E4B4-430D-9409-3CB48C2983FE}"/>
              </a:ext>
            </a:extLst>
          </p:cNvPr>
          <p:cNvSpPr/>
          <p:nvPr/>
        </p:nvSpPr>
        <p:spPr>
          <a:xfrm>
            <a:off x="5745071" y="2687586"/>
            <a:ext cx="903380" cy="814628"/>
          </a:xfrm>
          <a:custGeom>
            <a:avLst/>
            <a:gdLst>
              <a:gd name="connsiteX0" fmla="*/ 521432 w 608344"/>
              <a:gd name="connsiteY0" fmla="*/ 370453 h 548582"/>
              <a:gd name="connsiteX1" fmla="*/ 465737 w 608344"/>
              <a:gd name="connsiteY1" fmla="*/ 425787 h 548582"/>
              <a:gd name="connsiteX2" fmla="*/ 442491 w 608344"/>
              <a:gd name="connsiteY2" fmla="*/ 402479 h 548582"/>
              <a:gd name="connsiteX3" fmla="*/ 418201 w 608344"/>
              <a:gd name="connsiteY3" fmla="*/ 426545 h 548582"/>
              <a:gd name="connsiteX4" fmla="*/ 441447 w 608344"/>
              <a:gd name="connsiteY4" fmla="*/ 449948 h 548582"/>
              <a:gd name="connsiteX5" fmla="*/ 465642 w 608344"/>
              <a:gd name="connsiteY5" fmla="*/ 474204 h 548582"/>
              <a:gd name="connsiteX6" fmla="*/ 489932 w 608344"/>
              <a:gd name="connsiteY6" fmla="*/ 450043 h 548582"/>
              <a:gd name="connsiteX7" fmla="*/ 545532 w 608344"/>
              <a:gd name="connsiteY7" fmla="*/ 394709 h 548582"/>
              <a:gd name="connsiteX8" fmla="*/ 481962 w 608344"/>
              <a:gd name="connsiteY8" fmla="*/ 296170 h 548582"/>
              <a:gd name="connsiteX9" fmla="*/ 608344 w 608344"/>
              <a:gd name="connsiteY9" fmla="*/ 422376 h 548582"/>
              <a:gd name="connsiteX10" fmla="*/ 481962 w 608344"/>
              <a:gd name="connsiteY10" fmla="*/ 548582 h 548582"/>
              <a:gd name="connsiteX11" fmla="*/ 355579 w 608344"/>
              <a:gd name="connsiteY11" fmla="*/ 422376 h 548582"/>
              <a:gd name="connsiteX12" fmla="*/ 481962 w 608344"/>
              <a:gd name="connsiteY12" fmla="*/ 296170 h 548582"/>
              <a:gd name="connsiteX13" fmla="*/ 255835 w 608344"/>
              <a:gd name="connsiteY13" fmla="*/ 446 h 548582"/>
              <a:gd name="connsiteX14" fmla="*/ 317801 w 608344"/>
              <a:gd name="connsiteY14" fmla="*/ 13616 h 548582"/>
              <a:gd name="connsiteX15" fmla="*/ 348072 w 608344"/>
              <a:gd name="connsiteY15" fmla="*/ 41661 h 548582"/>
              <a:gd name="connsiteX16" fmla="*/ 381190 w 608344"/>
              <a:gd name="connsiteY16" fmla="*/ 146831 h 548582"/>
              <a:gd name="connsiteX17" fmla="*/ 378913 w 608344"/>
              <a:gd name="connsiteY17" fmla="*/ 156211 h 548582"/>
              <a:gd name="connsiteX18" fmla="*/ 387833 w 608344"/>
              <a:gd name="connsiteY18" fmla="*/ 200458 h 548582"/>
              <a:gd name="connsiteX19" fmla="*/ 366387 w 608344"/>
              <a:gd name="connsiteY19" fmla="*/ 237694 h 548582"/>
              <a:gd name="connsiteX20" fmla="*/ 351393 w 608344"/>
              <a:gd name="connsiteY20" fmla="*/ 278720 h 548582"/>
              <a:gd name="connsiteX21" fmla="*/ 351393 w 608344"/>
              <a:gd name="connsiteY21" fmla="*/ 322873 h 548582"/>
              <a:gd name="connsiteX22" fmla="*/ 317611 w 608344"/>
              <a:gd name="connsiteY22" fmla="*/ 422358 h 548582"/>
              <a:gd name="connsiteX23" fmla="*/ 376635 w 608344"/>
              <a:gd name="connsiteY23" fmla="*/ 548088 h 548582"/>
              <a:gd name="connsiteX24" fmla="*/ 26855 w 608344"/>
              <a:gd name="connsiteY24" fmla="*/ 548088 h 548582"/>
              <a:gd name="connsiteX25" fmla="*/ 0 w 608344"/>
              <a:gd name="connsiteY25" fmla="*/ 521274 h 548582"/>
              <a:gd name="connsiteX26" fmla="*/ 0 w 608344"/>
              <a:gd name="connsiteY26" fmla="*/ 473806 h 548582"/>
              <a:gd name="connsiteX27" fmla="*/ 19453 w 608344"/>
              <a:gd name="connsiteY27" fmla="*/ 432969 h 548582"/>
              <a:gd name="connsiteX28" fmla="*/ 173751 w 608344"/>
              <a:gd name="connsiteY28" fmla="*/ 334242 h 548582"/>
              <a:gd name="connsiteX29" fmla="*/ 176408 w 608344"/>
              <a:gd name="connsiteY29" fmla="*/ 329884 h 548582"/>
              <a:gd name="connsiteX30" fmla="*/ 176408 w 608344"/>
              <a:gd name="connsiteY30" fmla="*/ 278720 h 548582"/>
              <a:gd name="connsiteX31" fmla="*/ 161320 w 608344"/>
              <a:gd name="connsiteY31" fmla="*/ 237694 h 548582"/>
              <a:gd name="connsiteX32" fmla="*/ 139969 w 608344"/>
              <a:gd name="connsiteY32" fmla="*/ 200458 h 548582"/>
              <a:gd name="connsiteX33" fmla="*/ 148320 w 608344"/>
              <a:gd name="connsiteY33" fmla="*/ 156211 h 548582"/>
              <a:gd name="connsiteX34" fmla="*/ 146042 w 608344"/>
              <a:gd name="connsiteY34" fmla="*/ 146736 h 548582"/>
              <a:gd name="connsiteX35" fmla="*/ 145758 w 608344"/>
              <a:gd name="connsiteY35" fmla="*/ 95099 h 548582"/>
              <a:gd name="connsiteX36" fmla="*/ 176029 w 608344"/>
              <a:gd name="connsiteY36" fmla="*/ 42135 h 548582"/>
              <a:gd name="connsiteX37" fmla="*/ 203928 w 608344"/>
              <a:gd name="connsiteY37" fmla="*/ 19017 h 548582"/>
              <a:gd name="connsiteX38" fmla="*/ 231162 w 608344"/>
              <a:gd name="connsiteY38" fmla="*/ 5089 h 548582"/>
              <a:gd name="connsiteX39" fmla="*/ 255835 w 608344"/>
              <a:gd name="connsiteY39" fmla="*/ 446 h 548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608344" h="548582">
                <a:moveTo>
                  <a:pt x="521432" y="370453"/>
                </a:moveTo>
                <a:lnTo>
                  <a:pt x="465737" y="425787"/>
                </a:lnTo>
                <a:lnTo>
                  <a:pt x="442491" y="402479"/>
                </a:lnTo>
                <a:lnTo>
                  <a:pt x="418201" y="426545"/>
                </a:lnTo>
                <a:lnTo>
                  <a:pt x="441447" y="449948"/>
                </a:lnTo>
                <a:lnTo>
                  <a:pt x="465642" y="474204"/>
                </a:lnTo>
                <a:lnTo>
                  <a:pt x="489932" y="450043"/>
                </a:lnTo>
                <a:lnTo>
                  <a:pt x="545532" y="394709"/>
                </a:lnTo>
                <a:close/>
                <a:moveTo>
                  <a:pt x="481962" y="296170"/>
                </a:moveTo>
                <a:cubicBezTo>
                  <a:pt x="551795" y="296170"/>
                  <a:pt x="608344" y="352641"/>
                  <a:pt x="608344" y="422376"/>
                </a:cubicBezTo>
                <a:cubicBezTo>
                  <a:pt x="608344" y="492111"/>
                  <a:pt x="551795" y="548582"/>
                  <a:pt x="481962" y="548582"/>
                </a:cubicBezTo>
                <a:cubicBezTo>
                  <a:pt x="412129" y="548582"/>
                  <a:pt x="355579" y="492111"/>
                  <a:pt x="355579" y="422376"/>
                </a:cubicBezTo>
                <a:cubicBezTo>
                  <a:pt x="355579" y="352641"/>
                  <a:pt x="412129" y="296170"/>
                  <a:pt x="481962" y="296170"/>
                </a:cubicBezTo>
                <a:close/>
                <a:moveTo>
                  <a:pt x="255835" y="446"/>
                </a:moveTo>
                <a:cubicBezTo>
                  <a:pt x="282785" y="-1828"/>
                  <a:pt x="303187" y="4899"/>
                  <a:pt x="317801" y="13616"/>
                </a:cubicBezTo>
                <a:cubicBezTo>
                  <a:pt x="339721" y="25744"/>
                  <a:pt x="348072" y="41661"/>
                  <a:pt x="348072" y="41661"/>
                </a:cubicBezTo>
                <a:cubicBezTo>
                  <a:pt x="348072" y="41661"/>
                  <a:pt x="398176" y="45167"/>
                  <a:pt x="381190" y="146831"/>
                </a:cubicBezTo>
                <a:cubicBezTo>
                  <a:pt x="380621" y="149863"/>
                  <a:pt x="379862" y="153085"/>
                  <a:pt x="378913" y="156211"/>
                </a:cubicBezTo>
                <a:cubicBezTo>
                  <a:pt x="388592" y="156211"/>
                  <a:pt x="398271" y="163507"/>
                  <a:pt x="387833" y="200458"/>
                </a:cubicBezTo>
                <a:cubicBezTo>
                  <a:pt x="379672" y="229262"/>
                  <a:pt x="372080" y="237221"/>
                  <a:pt x="366387" y="237694"/>
                </a:cubicBezTo>
                <a:cubicBezTo>
                  <a:pt x="364394" y="250675"/>
                  <a:pt x="359175" y="265076"/>
                  <a:pt x="351393" y="278720"/>
                </a:cubicBezTo>
                <a:lnTo>
                  <a:pt x="351393" y="322873"/>
                </a:lnTo>
                <a:cubicBezTo>
                  <a:pt x="330232" y="350539"/>
                  <a:pt x="317611" y="385027"/>
                  <a:pt x="317611" y="422358"/>
                </a:cubicBezTo>
                <a:cubicBezTo>
                  <a:pt x="317611" y="472764"/>
                  <a:pt x="340480" y="518053"/>
                  <a:pt x="376635" y="548088"/>
                </a:cubicBezTo>
                <a:lnTo>
                  <a:pt x="26855" y="548088"/>
                </a:lnTo>
                <a:cubicBezTo>
                  <a:pt x="12052" y="548088"/>
                  <a:pt x="0" y="536055"/>
                  <a:pt x="0" y="521274"/>
                </a:cubicBezTo>
                <a:lnTo>
                  <a:pt x="0" y="473806"/>
                </a:lnTo>
                <a:cubicBezTo>
                  <a:pt x="0" y="457983"/>
                  <a:pt x="7212" y="443013"/>
                  <a:pt x="19453" y="432969"/>
                </a:cubicBezTo>
                <a:cubicBezTo>
                  <a:pt x="86638" y="377921"/>
                  <a:pt x="159043" y="341443"/>
                  <a:pt x="173751" y="334242"/>
                </a:cubicBezTo>
                <a:cubicBezTo>
                  <a:pt x="175365" y="333484"/>
                  <a:pt x="176408" y="331779"/>
                  <a:pt x="176408" y="329884"/>
                </a:cubicBezTo>
                <a:lnTo>
                  <a:pt x="176408" y="278720"/>
                </a:lnTo>
                <a:cubicBezTo>
                  <a:pt x="168437" y="265076"/>
                  <a:pt x="163313" y="250675"/>
                  <a:pt x="161320" y="237694"/>
                </a:cubicBezTo>
                <a:cubicBezTo>
                  <a:pt x="155627" y="237221"/>
                  <a:pt x="148035" y="229072"/>
                  <a:pt x="139969" y="200458"/>
                </a:cubicBezTo>
                <a:cubicBezTo>
                  <a:pt x="129531" y="164170"/>
                  <a:pt x="138925" y="156496"/>
                  <a:pt x="148320" y="156211"/>
                </a:cubicBezTo>
                <a:cubicBezTo>
                  <a:pt x="147371" y="153085"/>
                  <a:pt x="146612" y="149863"/>
                  <a:pt x="146042" y="146736"/>
                </a:cubicBezTo>
                <a:cubicBezTo>
                  <a:pt x="142436" y="128450"/>
                  <a:pt x="141487" y="111396"/>
                  <a:pt x="145758" y="95099"/>
                </a:cubicBezTo>
                <a:cubicBezTo>
                  <a:pt x="150787" y="73212"/>
                  <a:pt x="162744" y="55684"/>
                  <a:pt x="176029" y="42135"/>
                </a:cubicBezTo>
                <a:cubicBezTo>
                  <a:pt x="184379" y="33134"/>
                  <a:pt x="193869" y="25459"/>
                  <a:pt x="203928" y="19017"/>
                </a:cubicBezTo>
                <a:cubicBezTo>
                  <a:pt x="212183" y="13332"/>
                  <a:pt x="221293" y="8405"/>
                  <a:pt x="231162" y="5089"/>
                </a:cubicBezTo>
                <a:cubicBezTo>
                  <a:pt x="238849" y="2625"/>
                  <a:pt x="247105" y="825"/>
                  <a:pt x="255835" y="446"/>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6" name="椭圆 35">
            <a:extLst>
              <a:ext uri="{FF2B5EF4-FFF2-40B4-BE49-F238E27FC236}">
                <a16:creationId xmlns:a16="http://schemas.microsoft.com/office/drawing/2014/main" id="{9B22B3AF-3B4C-401B-87BC-344D4559E8A1}"/>
              </a:ext>
            </a:extLst>
          </p:cNvPr>
          <p:cNvSpPr/>
          <p:nvPr/>
        </p:nvSpPr>
        <p:spPr>
          <a:xfrm>
            <a:off x="4160291" y="3988329"/>
            <a:ext cx="145370" cy="145370"/>
          </a:xfrm>
          <a:prstGeom prst="ellipse">
            <a:avLst/>
          </a:prstGeom>
          <a:solidFill>
            <a:schemeClr val="accent1">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37" name="椭圆 36">
            <a:extLst>
              <a:ext uri="{FF2B5EF4-FFF2-40B4-BE49-F238E27FC236}">
                <a16:creationId xmlns:a16="http://schemas.microsoft.com/office/drawing/2014/main" id="{27A9D5DD-DF48-4161-9194-28DF36DABB9C}"/>
              </a:ext>
            </a:extLst>
          </p:cNvPr>
          <p:cNvSpPr/>
          <p:nvPr/>
        </p:nvSpPr>
        <p:spPr>
          <a:xfrm>
            <a:off x="7133084" y="5022339"/>
            <a:ext cx="254972" cy="254972"/>
          </a:xfrm>
          <a:prstGeom prst="ellipse">
            <a:avLst/>
          </a:prstGeom>
          <a:solidFill>
            <a:schemeClr val="accent1">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38" name="椭圆 37">
            <a:extLst>
              <a:ext uri="{FF2B5EF4-FFF2-40B4-BE49-F238E27FC236}">
                <a16:creationId xmlns:a16="http://schemas.microsoft.com/office/drawing/2014/main" id="{E4953BE5-12C6-486E-8113-612DBCC1E10B}"/>
              </a:ext>
            </a:extLst>
          </p:cNvPr>
          <p:cNvSpPr/>
          <p:nvPr/>
        </p:nvSpPr>
        <p:spPr>
          <a:xfrm rot="21194436">
            <a:off x="3926965" y="3071728"/>
            <a:ext cx="4314670" cy="1894664"/>
          </a:xfrm>
          <a:prstGeom prst="ellipse">
            <a:avLst/>
          </a:prstGeom>
          <a:noFill/>
          <a:ln>
            <a:gradFill>
              <a:gsLst>
                <a:gs pos="30000">
                  <a:schemeClr val="accent1">
                    <a:alpha val="0"/>
                  </a:schemeClr>
                </a:gs>
                <a:gs pos="100000">
                  <a:schemeClr val="accent1">
                    <a:alpha val="6700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Tree>
    <p:extLst>
      <p:ext uri="{BB962C8B-B14F-4D97-AF65-F5344CB8AC3E}">
        <p14:creationId xmlns:p14="http://schemas.microsoft.com/office/powerpoint/2010/main" val="3848410903"/>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3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0" name="组合 19">
            <a:extLst>
              <a:ext uri="{FF2B5EF4-FFF2-40B4-BE49-F238E27FC236}">
                <a16:creationId xmlns:a16="http://schemas.microsoft.com/office/drawing/2014/main" id="{D6CFAA3F-1975-494F-84A0-F164B12F4BB8}"/>
              </a:ext>
            </a:extLst>
          </p:cNvPr>
          <p:cNvGrpSpPr/>
          <p:nvPr/>
        </p:nvGrpSpPr>
        <p:grpSpPr>
          <a:xfrm>
            <a:off x="2130313" y="1619249"/>
            <a:ext cx="3219006" cy="1375411"/>
            <a:chOff x="1325562" y="1619249"/>
            <a:chExt cx="3219006" cy="1375411"/>
          </a:xfrm>
        </p:grpSpPr>
        <p:sp>
          <p:nvSpPr>
            <p:cNvPr id="11" name="矩形: 对角圆角 10">
              <a:extLst>
                <a:ext uri="{FF2B5EF4-FFF2-40B4-BE49-F238E27FC236}">
                  <a16:creationId xmlns:a16="http://schemas.microsoft.com/office/drawing/2014/main" id="{AD4E318D-A588-4344-A242-ACBE1E27874B}"/>
                </a:ext>
              </a:extLst>
            </p:cNvPr>
            <p:cNvSpPr/>
            <p:nvPr/>
          </p:nvSpPr>
          <p:spPr>
            <a:xfrm>
              <a:off x="1403350" y="1619249"/>
              <a:ext cx="3141218" cy="1375411"/>
            </a:xfrm>
            <a:custGeom>
              <a:avLst/>
              <a:gdLst>
                <a:gd name="connsiteX0" fmla="*/ 752475 w 2965450"/>
                <a:gd name="connsiteY0" fmla="*/ 0 h 1504950"/>
                <a:gd name="connsiteX1" fmla="*/ 2965450 w 2965450"/>
                <a:gd name="connsiteY1" fmla="*/ 0 h 1504950"/>
                <a:gd name="connsiteX2" fmla="*/ 2965450 w 2965450"/>
                <a:gd name="connsiteY2" fmla="*/ 0 h 1504950"/>
                <a:gd name="connsiteX3" fmla="*/ 2965450 w 2965450"/>
                <a:gd name="connsiteY3" fmla="*/ 752475 h 1504950"/>
                <a:gd name="connsiteX4" fmla="*/ 2212975 w 2965450"/>
                <a:gd name="connsiteY4" fmla="*/ 1504950 h 1504950"/>
                <a:gd name="connsiteX5" fmla="*/ 0 w 2965450"/>
                <a:gd name="connsiteY5" fmla="*/ 1504950 h 1504950"/>
                <a:gd name="connsiteX6" fmla="*/ 0 w 2965450"/>
                <a:gd name="connsiteY6" fmla="*/ 1504950 h 1504950"/>
                <a:gd name="connsiteX7" fmla="*/ 0 w 2965450"/>
                <a:gd name="connsiteY7" fmla="*/ 752475 h 1504950"/>
                <a:gd name="connsiteX8" fmla="*/ 752475 w 2965450"/>
                <a:gd name="connsiteY8" fmla="*/ 0 h 1504950"/>
                <a:gd name="connsiteX0" fmla="*/ 752475 w 2965450"/>
                <a:gd name="connsiteY0" fmla="*/ 0 h 1504950"/>
                <a:gd name="connsiteX1" fmla="*/ 2965450 w 2965450"/>
                <a:gd name="connsiteY1" fmla="*/ 0 h 1504950"/>
                <a:gd name="connsiteX2" fmla="*/ 2965450 w 2965450"/>
                <a:gd name="connsiteY2" fmla="*/ 0 h 1504950"/>
                <a:gd name="connsiteX3" fmla="*/ 2965450 w 2965450"/>
                <a:gd name="connsiteY3" fmla="*/ 752475 h 1504950"/>
                <a:gd name="connsiteX4" fmla="*/ 2212975 w 2965450"/>
                <a:gd name="connsiteY4" fmla="*/ 1504950 h 1504950"/>
                <a:gd name="connsiteX5" fmla="*/ 279400 w 2965450"/>
                <a:gd name="connsiteY5" fmla="*/ 1504950 h 1504950"/>
                <a:gd name="connsiteX6" fmla="*/ 0 w 2965450"/>
                <a:gd name="connsiteY6" fmla="*/ 1504950 h 1504950"/>
                <a:gd name="connsiteX7" fmla="*/ 0 w 2965450"/>
                <a:gd name="connsiteY7" fmla="*/ 1504950 h 1504950"/>
                <a:gd name="connsiteX8" fmla="*/ 0 w 2965450"/>
                <a:gd name="connsiteY8" fmla="*/ 752475 h 1504950"/>
                <a:gd name="connsiteX9" fmla="*/ 752475 w 2965450"/>
                <a:gd name="connsiteY9" fmla="*/ 0 h 1504950"/>
                <a:gd name="connsiteX0" fmla="*/ 758825 w 2971800"/>
                <a:gd name="connsiteY0" fmla="*/ 0 h 1504950"/>
                <a:gd name="connsiteX1" fmla="*/ 2971800 w 2971800"/>
                <a:gd name="connsiteY1" fmla="*/ 0 h 1504950"/>
                <a:gd name="connsiteX2" fmla="*/ 2971800 w 2971800"/>
                <a:gd name="connsiteY2" fmla="*/ 0 h 1504950"/>
                <a:gd name="connsiteX3" fmla="*/ 2971800 w 2971800"/>
                <a:gd name="connsiteY3" fmla="*/ 752475 h 1504950"/>
                <a:gd name="connsiteX4" fmla="*/ 2219325 w 2971800"/>
                <a:gd name="connsiteY4" fmla="*/ 1504950 h 1504950"/>
                <a:gd name="connsiteX5" fmla="*/ 285750 w 2971800"/>
                <a:gd name="connsiteY5" fmla="*/ 1504950 h 1504950"/>
                <a:gd name="connsiteX6" fmla="*/ 6350 w 2971800"/>
                <a:gd name="connsiteY6" fmla="*/ 1504950 h 1504950"/>
                <a:gd name="connsiteX7" fmla="*/ 6350 w 2971800"/>
                <a:gd name="connsiteY7" fmla="*/ 1504950 h 1504950"/>
                <a:gd name="connsiteX8" fmla="*/ 0 w 2971800"/>
                <a:gd name="connsiteY8" fmla="*/ 1250950 h 1504950"/>
                <a:gd name="connsiteX9" fmla="*/ 6350 w 2971800"/>
                <a:gd name="connsiteY9" fmla="*/ 752475 h 1504950"/>
                <a:gd name="connsiteX10" fmla="*/ 758825 w 2971800"/>
                <a:gd name="connsiteY10" fmla="*/ 0 h 1504950"/>
                <a:gd name="connsiteX0" fmla="*/ 6350 w 2971800"/>
                <a:gd name="connsiteY0" fmla="*/ 1504950 h 1596390"/>
                <a:gd name="connsiteX1" fmla="*/ 0 w 2971800"/>
                <a:gd name="connsiteY1" fmla="*/ 1250950 h 1596390"/>
                <a:gd name="connsiteX2" fmla="*/ 6350 w 2971800"/>
                <a:gd name="connsiteY2" fmla="*/ 752475 h 1596390"/>
                <a:gd name="connsiteX3" fmla="*/ 758825 w 2971800"/>
                <a:gd name="connsiteY3" fmla="*/ 0 h 1596390"/>
                <a:gd name="connsiteX4" fmla="*/ 2971800 w 2971800"/>
                <a:gd name="connsiteY4" fmla="*/ 0 h 1596390"/>
                <a:gd name="connsiteX5" fmla="*/ 2971800 w 2971800"/>
                <a:gd name="connsiteY5" fmla="*/ 0 h 1596390"/>
                <a:gd name="connsiteX6" fmla="*/ 2971800 w 2971800"/>
                <a:gd name="connsiteY6" fmla="*/ 752475 h 1596390"/>
                <a:gd name="connsiteX7" fmla="*/ 2219325 w 2971800"/>
                <a:gd name="connsiteY7" fmla="*/ 1504950 h 1596390"/>
                <a:gd name="connsiteX8" fmla="*/ 285750 w 2971800"/>
                <a:gd name="connsiteY8" fmla="*/ 1504950 h 1596390"/>
                <a:gd name="connsiteX9" fmla="*/ 6350 w 2971800"/>
                <a:gd name="connsiteY9" fmla="*/ 1504950 h 1596390"/>
                <a:gd name="connsiteX10" fmla="*/ 97790 w 2971800"/>
                <a:gd name="connsiteY10" fmla="*/ 1596390 h 1596390"/>
                <a:gd name="connsiteX0" fmla="*/ 6350 w 2971800"/>
                <a:gd name="connsiteY0" fmla="*/ 1504950 h 1504950"/>
                <a:gd name="connsiteX1" fmla="*/ 0 w 2971800"/>
                <a:gd name="connsiteY1" fmla="*/ 1250950 h 1504950"/>
                <a:gd name="connsiteX2" fmla="*/ 6350 w 2971800"/>
                <a:gd name="connsiteY2" fmla="*/ 752475 h 1504950"/>
                <a:gd name="connsiteX3" fmla="*/ 758825 w 2971800"/>
                <a:gd name="connsiteY3" fmla="*/ 0 h 1504950"/>
                <a:gd name="connsiteX4" fmla="*/ 2971800 w 2971800"/>
                <a:gd name="connsiteY4" fmla="*/ 0 h 1504950"/>
                <a:gd name="connsiteX5" fmla="*/ 2971800 w 2971800"/>
                <a:gd name="connsiteY5" fmla="*/ 0 h 1504950"/>
                <a:gd name="connsiteX6" fmla="*/ 2971800 w 2971800"/>
                <a:gd name="connsiteY6" fmla="*/ 752475 h 1504950"/>
                <a:gd name="connsiteX7" fmla="*/ 2219325 w 2971800"/>
                <a:gd name="connsiteY7" fmla="*/ 1504950 h 1504950"/>
                <a:gd name="connsiteX8" fmla="*/ 285750 w 2971800"/>
                <a:gd name="connsiteY8" fmla="*/ 1504950 h 1504950"/>
                <a:gd name="connsiteX9" fmla="*/ 6350 w 2971800"/>
                <a:gd name="connsiteY9" fmla="*/ 1504950 h 1504950"/>
                <a:gd name="connsiteX0" fmla="*/ 6350 w 2971800"/>
                <a:gd name="connsiteY0" fmla="*/ 1504950 h 1746250"/>
                <a:gd name="connsiteX1" fmla="*/ 0 w 2971800"/>
                <a:gd name="connsiteY1" fmla="*/ 1250950 h 1746250"/>
                <a:gd name="connsiteX2" fmla="*/ 6350 w 2971800"/>
                <a:gd name="connsiteY2" fmla="*/ 752475 h 1746250"/>
                <a:gd name="connsiteX3" fmla="*/ 758825 w 2971800"/>
                <a:gd name="connsiteY3" fmla="*/ 0 h 1746250"/>
                <a:gd name="connsiteX4" fmla="*/ 2971800 w 2971800"/>
                <a:gd name="connsiteY4" fmla="*/ 0 h 1746250"/>
                <a:gd name="connsiteX5" fmla="*/ 2971800 w 2971800"/>
                <a:gd name="connsiteY5" fmla="*/ 0 h 1746250"/>
                <a:gd name="connsiteX6" fmla="*/ 2971800 w 2971800"/>
                <a:gd name="connsiteY6" fmla="*/ 752475 h 1746250"/>
                <a:gd name="connsiteX7" fmla="*/ 2219325 w 2971800"/>
                <a:gd name="connsiteY7" fmla="*/ 1504950 h 1746250"/>
                <a:gd name="connsiteX8" fmla="*/ 285750 w 2971800"/>
                <a:gd name="connsiteY8" fmla="*/ 1504950 h 1746250"/>
                <a:gd name="connsiteX9" fmla="*/ 44450 w 2971800"/>
                <a:gd name="connsiteY9" fmla="*/ 1746250 h 1746250"/>
                <a:gd name="connsiteX0" fmla="*/ 6350 w 2971800"/>
                <a:gd name="connsiteY0" fmla="*/ 1504950 h 1504950"/>
                <a:gd name="connsiteX1" fmla="*/ 0 w 2971800"/>
                <a:gd name="connsiteY1" fmla="*/ 1250950 h 1504950"/>
                <a:gd name="connsiteX2" fmla="*/ 6350 w 2971800"/>
                <a:gd name="connsiteY2" fmla="*/ 752475 h 1504950"/>
                <a:gd name="connsiteX3" fmla="*/ 758825 w 2971800"/>
                <a:gd name="connsiteY3" fmla="*/ 0 h 1504950"/>
                <a:gd name="connsiteX4" fmla="*/ 2971800 w 2971800"/>
                <a:gd name="connsiteY4" fmla="*/ 0 h 1504950"/>
                <a:gd name="connsiteX5" fmla="*/ 2971800 w 2971800"/>
                <a:gd name="connsiteY5" fmla="*/ 0 h 1504950"/>
                <a:gd name="connsiteX6" fmla="*/ 2971800 w 2971800"/>
                <a:gd name="connsiteY6" fmla="*/ 752475 h 1504950"/>
                <a:gd name="connsiteX7" fmla="*/ 2219325 w 2971800"/>
                <a:gd name="connsiteY7" fmla="*/ 1504950 h 1504950"/>
                <a:gd name="connsiteX8" fmla="*/ 285750 w 2971800"/>
                <a:gd name="connsiteY8" fmla="*/ 1504950 h 1504950"/>
                <a:gd name="connsiteX0" fmla="*/ 0 w 2971800"/>
                <a:gd name="connsiteY0" fmla="*/ 1250950 h 1504950"/>
                <a:gd name="connsiteX1" fmla="*/ 6350 w 2971800"/>
                <a:gd name="connsiteY1" fmla="*/ 752475 h 1504950"/>
                <a:gd name="connsiteX2" fmla="*/ 758825 w 2971800"/>
                <a:gd name="connsiteY2" fmla="*/ 0 h 1504950"/>
                <a:gd name="connsiteX3" fmla="*/ 2971800 w 2971800"/>
                <a:gd name="connsiteY3" fmla="*/ 0 h 1504950"/>
                <a:gd name="connsiteX4" fmla="*/ 2971800 w 2971800"/>
                <a:gd name="connsiteY4" fmla="*/ 0 h 1504950"/>
                <a:gd name="connsiteX5" fmla="*/ 2971800 w 2971800"/>
                <a:gd name="connsiteY5" fmla="*/ 752475 h 1504950"/>
                <a:gd name="connsiteX6" fmla="*/ 2219325 w 2971800"/>
                <a:gd name="connsiteY6" fmla="*/ 1504950 h 1504950"/>
                <a:gd name="connsiteX7" fmla="*/ 285750 w 2971800"/>
                <a:gd name="connsiteY7" fmla="*/ 1504950 h 1504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71800" h="1504950">
                  <a:moveTo>
                    <a:pt x="0" y="1250950"/>
                  </a:moveTo>
                  <a:cubicBezTo>
                    <a:pt x="2117" y="1084792"/>
                    <a:pt x="4233" y="918633"/>
                    <a:pt x="6350" y="752475"/>
                  </a:cubicBezTo>
                  <a:cubicBezTo>
                    <a:pt x="6350" y="336895"/>
                    <a:pt x="343245" y="0"/>
                    <a:pt x="758825" y="0"/>
                  </a:cubicBezTo>
                  <a:lnTo>
                    <a:pt x="2971800" y="0"/>
                  </a:lnTo>
                  <a:lnTo>
                    <a:pt x="2971800" y="0"/>
                  </a:lnTo>
                  <a:lnTo>
                    <a:pt x="2971800" y="752475"/>
                  </a:lnTo>
                  <a:cubicBezTo>
                    <a:pt x="2971800" y="1168055"/>
                    <a:pt x="2634905" y="1504950"/>
                    <a:pt x="2219325" y="1504950"/>
                  </a:cubicBezTo>
                  <a:lnTo>
                    <a:pt x="285750" y="1504950"/>
                  </a:lnTo>
                </a:path>
              </a:pathLst>
            </a:custGeom>
            <a:noFill/>
            <a:ln w="22225">
              <a:gradFill>
                <a:gsLst>
                  <a:gs pos="0">
                    <a:schemeClr val="accent1"/>
                  </a:gs>
                  <a:gs pos="100000">
                    <a:schemeClr val="accent1"/>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12" name="椭圆 11">
              <a:extLst>
                <a:ext uri="{FF2B5EF4-FFF2-40B4-BE49-F238E27FC236}">
                  <a16:creationId xmlns:a16="http://schemas.microsoft.com/office/drawing/2014/main" id="{4A079B84-63AE-4A5A-AABD-FEBC65554575}"/>
                </a:ext>
              </a:extLst>
            </p:cNvPr>
            <p:cNvSpPr/>
            <p:nvPr/>
          </p:nvSpPr>
          <p:spPr>
            <a:xfrm>
              <a:off x="1325562" y="2773680"/>
              <a:ext cx="155576" cy="155576"/>
            </a:xfrm>
            <a:prstGeom prst="ellipse">
              <a:avLst/>
            </a:prstGeom>
            <a:noFill/>
            <a:ln w="22225">
              <a:gradFill>
                <a:gsLst>
                  <a:gs pos="0">
                    <a:schemeClr val="accent1"/>
                  </a:gs>
                  <a:gs pos="100000">
                    <a:schemeClr val="accent1"/>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zh-CN" altLang="en-US" sz="1600" dirty="0">
                <a:solidFill>
                  <a:schemeClr val="bg1"/>
                </a:solidFill>
                <a:latin typeface="+mj-ea"/>
                <a:ea typeface="+mj-ea"/>
              </a:endParaRPr>
            </a:p>
          </p:txBody>
        </p:sp>
        <p:sp>
          <p:nvSpPr>
            <p:cNvPr id="38" name="文本框 37">
              <a:extLst>
                <a:ext uri="{FF2B5EF4-FFF2-40B4-BE49-F238E27FC236}">
                  <a16:creationId xmlns:a16="http://schemas.microsoft.com/office/drawing/2014/main" id="{E8C11660-BC8C-4F4E-BC2A-F2050C81FBB3}"/>
                </a:ext>
              </a:extLst>
            </p:cNvPr>
            <p:cNvSpPr txBox="1"/>
            <p:nvPr/>
          </p:nvSpPr>
          <p:spPr>
            <a:xfrm flipH="1">
              <a:off x="1791625" y="2372408"/>
              <a:ext cx="2583525" cy="387286"/>
            </a:xfrm>
            <a:prstGeom prst="rect">
              <a:avLst/>
            </a:prstGeom>
            <a:noFill/>
          </p:spPr>
          <p:txBody>
            <a:bodyPr wrap="square" lIns="0" tIns="0" rIns="0" bIns="0" rtlCol="0" anchor="t">
              <a:spAutoFit/>
            </a:bodyPr>
            <a:lstStyle/>
            <a:p>
              <a:pPr>
                <a:lnSpc>
                  <a:spcPct val="130000"/>
                </a:lnSpc>
              </a:pPr>
              <a:r>
                <a:rPr lang="en-US" altLang="zh-CN" sz="1000" b="0" dirty="0">
                  <a:solidFill>
                    <a:schemeClr val="tx1">
                      <a:lumMod val="75000"/>
                      <a:lumOff val="25000"/>
                    </a:schemeClr>
                  </a:solidFill>
                  <a:effectLst/>
                  <a:latin typeface="+mn-ea"/>
                </a:rPr>
                <a:t>Lorem ipsum dolor sit amet, consectetur adipisicing elit, sed do eiusmod tempor</a:t>
              </a:r>
              <a:endParaRPr lang="zh-CN" altLang="en-US" sz="1000" b="0" dirty="0">
                <a:solidFill>
                  <a:schemeClr val="tx1">
                    <a:lumMod val="75000"/>
                    <a:lumOff val="25000"/>
                  </a:schemeClr>
                </a:solidFill>
                <a:effectLst/>
                <a:latin typeface="+mn-ea"/>
              </a:endParaRPr>
            </a:p>
          </p:txBody>
        </p:sp>
        <p:sp>
          <p:nvSpPr>
            <p:cNvPr id="39" name="文本框 38">
              <a:extLst>
                <a:ext uri="{FF2B5EF4-FFF2-40B4-BE49-F238E27FC236}">
                  <a16:creationId xmlns:a16="http://schemas.microsoft.com/office/drawing/2014/main" id="{9008AFFE-067A-44CE-9E90-71EA37776AF8}"/>
                </a:ext>
              </a:extLst>
            </p:cNvPr>
            <p:cNvSpPr txBox="1"/>
            <p:nvPr/>
          </p:nvSpPr>
          <p:spPr>
            <a:xfrm flipH="1">
              <a:off x="1791625" y="1924148"/>
              <a:ext cx="1282402" cy="307777"/>
            </a:xfrm>
            <a:prstGeom prst="rect">
              <a:avLst/>
            </a:prstGeom>
            <a:noFill/>
          </p:spPr>
          <p:txBody>
            <a:bodyPr wrap="none" lIns="0" tIns="0" rIns="0" bIns="0" rtlCol="0" anchor="t">
              <a:spAutoFit/>
            </a:bodyPr>
            <a:lstStyle/>
            <a:p>
              <a:r>
                <a:rPr lang="zh-CN" altLang="en-US" sz="2000" dirty="0">
                  <a:solidFill>
                    <a:schemeClr val="accent1"/>
                  </a:solidFill>
                  <a:latin typeface="+mj-ea"/>
                  <a:ea typeface="+mj-ea"/>
                </a:rPr>
                <a:t>关键词标题</a:t>
              </a:r>
            </a:p>
          </p:txBody>
        </p:sp>
        <p:cxnSp>
          <p:nvCxnSpPr>
            <p:cNvPr id="19" name="直接连接符 18">
              <a:extLst>
                <a:ext uri="{FF2B5EF4-FFF2-40B4-BE49-F238E27FC236}">
                  <a16:creationId xmlns:a16="http://schemas.microsoft.com/office/drawing/2014/main" id="{C5F5DC1F-A794-4659-B17B-D47C7DE5AA7B}"/>
                </a:ext>
              </a:extLst>
            </p:cNvPr>
            <p:cNvCxnSpPr/>
            <p:nvPr/>
          </p:nvCxnSpPr>
          <p:spPr>
            <a:xfrm>
              <a:off x="1791625" y="2309813"/>
              <a:ext cx="2466050" cy="0"/>
            </a:xfrm>
            <a:prstGeom prst="line">
              <a:avLst/>
            </a:prstGeom>
            <a:ln w="22225">
              <a:gradFill>
                <a:gsLst>
                  <a:gs pos="0">
                    <a:schemeClr val="accent1"/>
                  </a:gs>
                  <a:gs pos="100000">
                    <a:schemeClr val="accent1">
                      <a:alpha val="0"/>
                    </a:schemeClr>
                  </a:gs>
                </a:gsLst>
                <a:lin ang="0" scaled="0"/>
              </a:gradFill>
            </a:ln>
          </p:spPr>
          <p:style>
            <a:lnRef idx="1">
              <a:schemeClr val="accent1"/>
            </a:lnRef>
            <a:fillRef idx="0">
              <a:schemeClr val="accent1"/>
            </a:fillRef>
            <a:effectRef idx="0">
              <a:schemeClr val="accent1"/>
            </a:effectRef>
            <a:fontRef idx="minor">
              <a:schemeClr val="tx1"/>
            </a:fontRef>
          </p:style>
        </p:cxnSp>
      </p:grpSp>
      <p:grpSp>
        <p:nvGrpSpPr>
          <p:cNvPr id="40" name="组合 39">
            <a:extLst>
              <a:ext uri="{FF2B5EF4-FFF2-40B4-BE49-F238E27FC236}">
                <a16:creationId xmlns:a16="http://schemas.microsoft.com/office/drawing/2014/main" id="{37C7C620-FFAA-49AC-B843-17497154BC07}"/>
              </a:ext>
            </a:extLst>
          </p:cNvPr>
          <p:cNvGrpSpPr/>
          <p:nvPr/>
        </p:nvGrpSpPr>
        <p:grpSpPr>
          <a:xfrm>
            <a:off x="6842682" y="1619249"/>
            <a:ext cx="3219006" cy="1375411"/>
            <a:chOff x="1325562" y="1619249"/>
            <a:chExt cx="3219006" cy="1375411"/>
          </a:xfrm>
        </p:grpSpPr>
        <p:sp>
          <p:nvSpPr>
            <p:cNvPr id="41" name="矩形: 对角圆角 10">
              <a:extLst>
                <a:ext uri="{FF2B5EF4-FFF2-40B4-BE49-F238E27FC236}">
                  <a16:creationId xmlns:a16="http://schemas.microsoft.com/office/drawing/2014/main" id="{4E80C9FD-8C5B-4093-A577-481EEC4A2C9A}"/>
                </a:ext>
              </a:extLst>
            </p:cNvPr>
            <p:cNvSpPr/>
            <p:nvPr/>
          </p:nvSpPr>
          <p:spPr>
            <a:xfrm>
              <a:off x="1403350" y="1619249"/>
              <a:ext cx="3141218" cy="1375411"/>
            </a:xfrm>
            <a:custGeom>
              <a:avLst/>
              <a:gdLst>
                <a:gd name="connsiteX0" fmla="*/ 752475 w 2965450"/>
                <a:gd name="connsiteY0" fmla="*/ 0 h 1504950"/>
                <a:gd name="connsiteX1" fmla="*/ 2965450 w 2965450"/>
                <a:gd name="connsiteY1" fmla="*/ 0 h 1504950"/>
                <a:gd name="connsiteX2" fmla="*/ 2965450 w 2965450"/>
                <a:gd name="connsiteY2" fmla="*/ 0 h 1504950"/>
                <a:gd name="connsiteX3" fmla="*/ 2965450 w 2965450"/>
                <a:gd name="connsiteY3" fmla="*/ 752475 h 1504950"/>
                <a:gd name="connsiteX4" fmla="*/ 2212975 w 2965450"/>
                <a:gd name="connsiteY4" fmla="*/ 1504950 h 1504950"/>
                <a:gd name="connsiteX5" fmla="*/ 0 w 2965450"/>
                <a:gd name="connsiteY5" fmla="*/ 1504950 h 1504950"/>
                <a:gd name="connsiteX6" fmla="*/ 0 w 2965450"/>
                <a:gd name="connsiteY6" fmla="*/ 1504950 h 1504950"/>
                <a:gd name="connsiteX7" fmla="*/ 0 w 2965450"/>
                <a:gd name="connsiteY7" fmla="*/ 752475 h 1504950"/>
                <a:gd name="connsiteX8" fmla="*/ 752475 w 2965450"/>
                <a:gd name="connsiteY8" fmla="*/ 0 h 1504950"/>
                <a:gd name="connsiteX0" fmla="*/ 752475 w 2965450"/>
                <a:gd name="connsiteY0" fmla="*/ 0 h 1504950"/>
                <a:gd name="connsiteX1" fmla="*/ 2965450 w 2965450"/>
                <a:gd name="connsiteY1" fmla="*/ 0 h 1504950"/>
                <a:gd name="connsiteX2" fmla="*/ 2965450 w 2965450"/>
                <a:gd name="connsiteY2" fmla="*/ 0 h 1504950"/>
                <a:gd name="connsiteX3" fmla="*/ 2965450 w 2965450"/>
                <a:gd name="connsiteY3" fmla="*/ 752475 h 1504950"/>
                <a:gd name="connsiteX4" fmla="*/ 2212975 w 2965450"/>
                <a:gd name="connsiteY4" fmla="*/ 1504950 h 1504950"/>
                <a:gd name="connsiteX5" fmla="*/ 279400 w 2965450"/>
                <a:gd name="connsiteY5" fmla="*/ 1504950 h 1504950"/>
                <a:gd name="connsiteX6" fmla="*/ 0 w 2965450"/>
                <a:gd name="connsiteY6" fmla="*/ 1504950 h 1504950"/>
                <a:gd name="connsiteX7" fmla="*/ 0 w 2965450"/>
                <a:gd name="connsiteY7" fmla="*/ 1504950 h 1504950"/>
                <a:gd name="connsiteX8" fmla="*/ 0 w 2965450"/>
                <a:gd name="connsiteY8" fmla="*/ 752475 h 1504950"/>
                <a:gd name="connsiteX9" fmla="*/ 752475 w 2965450"/>
                <a:gd name="connsiteY9" fmla="*/ 0 h 1504950"/>
                <a:gd name="connsiteX0" fmla="*/ 758825 w 2971800"/>
                <a:gd name="connsiteY0" fmla="*/ 0 h 1504950"/>
                <a:gd name="connsiteX1" fmla="*/ 2971800 w 2971800"/>
                <a:gd name="connsiteY1" fmla="*/ 0 h 1504950"/>
                <a:gd name="connsiteX2" fmla="*/ 2971800 w 2971800"/>
                <a:gd name="connsiteY2" fmla="*/ 0 h 1504950"/>
                <a:gd name="connsiteX3" fmla="*/ 2971800 w 2971800"/>
                <a:gd name="connsiteY3" fmla="*/ 752475 h 1504950"/>
                <a:gd name="connsiteX4" fmla="*/ 2219325 w 2971800"/>
                <a:gd name="connsiteY4" fmla="*/ 1504950 h 1504950"/>
                <a:gd name="connsiteX5" fmla="*/ 285750 w 2971800"/>
                <a:gd name="connsiteY5" fmla="*/ 1504950 h 1504950"/>
                <a:gd name="connsiteX6" fmla="*/ 6350 w 2971800"/>
                <a:gd name="connsiteY6" fmla="*/ 1504950 h 1504950"/>
                <a:gd name="connsiteX7" fmla="*/ 6350 w 2971800"/>
                <a:gd name="connsiteY7" fmla="*/ 1504950 h 1504950"/>
                <a:gd name="connsiteX8" fmla="*/ 0 w 2971800"/>
                <a:gd name="connsiteY8" fmla="*/ 1250950 h 1504950"/>
                <a:gd name="connsiteX9" fmla="*/ 6350 w 2971800"/>
                <a:gd name="connsiteY9" fmla="*/ 752475 h 1504950"/>
                <a:gd name="connsiteX10" fmla="*/ 758825 w 2971800"/>
                <a:gd name="connsiteY10" fmla="*/ 0 h 1504950"/>
                <a:gd name="connsiteX0" fmla="*/ 6350 w 2971800"/>
                <a:gd name="connsiteY0" fmla="*/ 1504950 h 1596390"/>
                <a:gd name="connsiteX1" fmla="*/ 0 w 2971800"/>
                <a:gd name="connsiteY1" fmla="*/ 1250950 h 1596390"/>
                <a:gd name="connsiteX2" fmla="*/ 6350 w 2971800"/>
                <a:gd name="connsiteY2" fmla="*/ 752475 h 1596390"/>
                <a:gd name="connsiteX3" fmla="*/ 758825 w 2971800"/>
                <a:gd name="connsiteY3" fmla="*/ 0 h 1596390"/>
                <a:gd name="connsiteX4" fmla="*/ 2971800 w 2971800"/>
                <a:gd name="connsiteY4" fmla="*/ 0 h 1596390"/>
                <a:gd name="connsiteX5" fmla="*/ 2971800 w 2971800"/>
                <a:gd name="connsiteY5" fmla="*/ 0 h 1596390"/>
                <a:gd name="connsiteX6" fmla="*/ 2971800 w 2971800"/>
                <a:gd name="connsiteY6" fmla="*/ 752475 h 1596390"/>
                <a:gd name="connsiteX7" fmla="*/ 2219325 w 2971800"/>
                <a:gd name="connsiteY7" fmla="*/ 1504950 h 1596390"/>
                <a:gd name="connsiteX8" fmla="*/ 285750 w 2971800"/>
                <a:gd name="connsiteY8" fmla="*/ 1504950 h 1596390"/>
                <a:gd name="connsiteX9" fmla="*/ 6350 w 2971800"/>
                <a:gd name="connsiteY9" fmla="*/ 1504950 h 1596390"/>
                <a:gd name="connsiteX10" fmla="*/ 97790 w 2971800"/>
                <a:gd name="connsiteY10" fmla="*/ 1596390 h 1596390"/>
                <a:gd name="connsiteX0" fmla="*/ 6350 w 2971800"/>
                <a:gd name="connsiteY0" fmla="*/ 1504950 h 1504950"/>
                <a:gd name="connsiteX1" fmla="*/ 0 w 2971800"/>
                <a:gd name="connsiteY1" fmla="*/ 1250950 h 1504950"/>
                <a:gd name="connsiteX2" fmla="*/ 6350 w 2971800"/>
                <a:gd name="connsiteY2" fmla="*/ 752475 h 1504950"/>
                <a:gd name="connsiteX3" fmla="*/ 758825 w 2971800"/>
                <a:gd name="connsiteY3" fmla="*/ 0 h 1504950"/>
                <a:gd name="connsiteX4" fmla="*/ 2971800 w 2971800"/>
                <a:gd name="connsiteY4" fmla="*/ 0 h 1504950"/>
                <a:gd name="connsiteX5" fmla="*/ 2971800 w 2971800"/>
                <a:gd name="connsiteY5" fmla="*/ 0 h 1504950"/>
                <a:gd name="connsiteX6" fmla="*/ 2971800 w 2971800"/>
                <a:gd name="connsiteY6" fmla="*/ 752475 h 1504950"/>
                <a:gd name="connsiteX7" fmla="*/ 2219325 w 2971800"/>
                <a:gd name="connsiteY7" fmla="*/ 1504950 h 1504950"/>
                <a:gd name="connsiteX8" fmla="*/ 285750 w 2971800"/>
                <a:gd name="connsiteY8" fmla="*/ 1504950 h 1504950"/>
                <a:gd name="connsiteX9" fmla="*/ 6350 w 2971800"/>
                <a:gd name="connsiteY9" fmla="*/ 1504950 h 1504950"/>
                <a:gd name="connsiteX0" fmla="*/ 6350 w 2971800"/>
                <a:gd name="connsiteY0" fmla="*/ 1504950 h 1746250"/>
                <a:gd name="connsiteX1" fmla="*/ 0 w 2971800"/>
                <a:gd name="connsiteY1" fmla="*/ 1250950 h 1746250"/>
                <a:gd name="connsiteX2" fmla="*/ 6350 w 2971800"/>
                <a:gd name="connsiteY2" fmla="*/ 752475 h 1746250"/>
                <a:gd name="connsiteX3" fmla="*/ 758825 w 2971800"/>
                <a:gd name="connsiteY3" fmla="*/ 0 h 1746250"/>
                <a:gd name="connsiteX4" fmla="*/ 2971800 w 2971800"/>
                <a:gd name="connsiteY4" fmla="*/ 0 h 1746250"/>
                <a:gd name="connsiteX5" fmla="*/ 2971800 w 2971800"/>
                <a:gd name="connsiteY5" fmla="*/ 0 h 1746250"/>
                <a:gd name="connsiteX6" fmla="*/ 2971800 w 2971800"/>
                <a:gd name="connsiteY6" fmla="*/ 752475 h 1746250"/>
                <a:gd name="connsiteX7" fmla="*/ 2219325 w 2971800"/>
                <a:gd name="connsiteY7" fmla="*/ 1504950 h 1746250"/>
                <a:gd name="connsiteX8" fmla="*/ 285750 w 2971800"/>
                <a:gd name="connsiteY8" fmla="*/ 1504950 h 1746250"/>
                <a:gd name="connsiteX9" fmla="*/ 44450 w 2971800"/>
                <a:gd name="connsiteY9" fmla="*/ 1746250 h 1746250"/>
                <a:gd name="connsiteX0" fmla="*/ 6350 w 2971800"/>
                <a:gd name="connsiteY0" fmla="*/ 1504950 h 1504950"/>
                <a:gd name="connsiteX1" fmla="*/ 0 w 2971800"/>
                <a:gd name="connsiteY1" fmla="*/ 1250950 h 1504950"/>
                <a:gd name="connsiteX2" fmla="*/ 6350 w 2971800"/>
                <a:gd name="connsiteY2" fmla="*/ 752475 h 1504950"/>
                <a:gd name="connsiteX3" fmla="*/ 758825 w 2971800"/>
                <a:gd name="connsiteY3" fmla="*/ 0 h 1504950"/>
                <a:gd name="connsiteX4" fmla="*/ 2971800 w 2971800"/>
                <a:gd name="connsiteY4" fmla="*/ 0 h 1504950"/>
                <a:gd name="connsiteX5" fmla="*/ 2971800 w 2971800"/>
                <a:gd name="connsiteY5" fmla="*/ 0 h 1504950"/>
                <a:gd name="connsiteX6" fmla="*/ 2971800 w 2971800"/>
                <a:gd name="connsiteY6" fmla="*/ 752475 h 1504950"/>
                <a:gd name="connsiteX7" fmla="*/ 2219325 w 2971800"/>
                <a:gd name="connsiteY7" fmla="*/ 1504950 h 1504950"/>
                <a:gd name="connsiteX8" fmla="*/ 285750 w 2971800"/>
                <a:gd name="connsiteY8" fmla="*/ 1504950 h 1504950"/>
                <a:gd name="connsiteX0" fmla="*/ 0 w 2971800"/>
                <a:gd name="connsiteY0" fmla="*/ 1250950 h 1504950"/>
                <a:gd name="connsiteX1" fmla="*/ 6350 w 2971800"/>
                <a:gd name="connsiteY1" fmla="*/ 752475 h 1504950"/>
                <a:gd name="connsiteX2" fmla="*/ 758825 w 2971800"/>
                <a:gd name="connsiteY2" fmla="*/ 0 h 1504950"/>
                <a:gd name="connsiteX3" fmla="*/ 2971800 w 2971800"/>
                <a:gd name="connsiteY3" fmla="*/ 0 h 1504950"/>
                <a:gd name="connsiteX4" fmla="*/ 2971800 w 2971800"/>
                <a:gd name="connsiteY4" fmla="*/ 0 h 1504950"/>
                <a:gd name="connsiteX5" fmla="*/ 2971800 w 2971800"/>
                <a:gd name="connsiteY5" fmla="*/ 752475 h 1504950"/>
                <a:gd name="connsiteX6" fmla="*/ 2219325 w 2971800"/>
                <a:gd name="connsiteY6" fmla="*/ 1504950 h 1504950"/>
                <a:gd name="connsiteX7" fmla="*/ 285750 w 2971800"/>
                <a:gd name="connsiteY7" fmla="*/ 1504950 h 1504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71800" h="1504950">
                  <a:moveTo>
                    <a:pt x="0" y="1250950"/>
                  </a:moveTo>
                  <a:cubicBezTo>
                    <a:pt x="2117" y="1084792"/>
                    <a:pt x="4233" y="918633"/>
                    <a:pt x="6350" y="752475"/>
                  </a:cubicBezTo>
                  <a:cubicBezTo>
                    <a:pt x="6350" y="336895"/>
                    <a:pt x="343245" y="0"/>
                    <a:pt x="758825" y="0"/>
                  </a:cubicBezTo>
                  <a:lnTo>
                    <a:pt x="2971800" y="0"/>
                  </a:lnTo>
                  <a:lnTo>
                    <a:pt x="2971800" y="0"/>
                  </a:lnTo>
                  <a:lnTo>
                    <a:pt x="2971800" y="752475"/>
                  </a:lnTo>
                  <a:cubicBezTo>
                    <a:pt x="2971800" y="1168055"/>
                    <a:pt x="2634905" y="1504950"/>
                    <a:pt x="2219325" y="1504950"/>
                  </a:cubicBezTo>
                  <a:lnTo>
                    <a:pt x="285750" y="1504950"/>
                  </a:lnTo>
                </a:path>
              </a:pathLst>
            </a:custGeom>
            <a:noFill/>
            <a:ln w="22225">
              <a:gradFill>
                <a:gsLst>
                  <a:gs pos="0">
                    <a:schemeClr val="accent1"/>
                  </a:gs>
                  <a:gs pos="100000">
                    <a:schemeClr val="accent1"/>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42" name="椭圆 41">
              <a:extLst>
                <a:ext uri="{FF2B5EF4-FFF2-40B4-BE49-F238E27FC236}">
                  <a16:creationId xmlns:a16="http://schemas.microsoft.com/office/drawing/2014/main" id="{5D931CE2-5283-413E-93DA-2C5BF341FC85}"/>
                </a:ext>
              </a:extLst>
            </p:cNvPr>
            <p:cNvSpPr/>
            <p:nvPr/>
          </p:nvSpPr>
          <p:spPr>
            <a:xfrm>
              <a:off x="1325562" y="2773680"/>
              <a:ext cx="155576" cy="155576"/>
            </a:xfrm>
            <a:prstGeom prst="ellipse">
              <a:avLst/>
            </a:prstGeom>
            <a:noFill/>
            <a:ln w="22225">
              <a:gradFill>
                <a:gsLst>
                  <a:gs pos="0">
                    <a:schemeClr val="accent1"/>
                  </a:gs>
                  <a:gs pos="100000">
                    <a:schemeClr val="accent1"/>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zh-CN" altLang="en-US" sz="1600" dirty="0">
                <a:solidFill>
                  <a:schemeClr val="bg1"/>
                </a:solidFill>
                <a:latin typeface="+mj-ea"/>
                <a:ea typeface="+mj-ea"/>
              </a:endParaRPr>
            </a:p>
          </p:txBody>
        </p:sp>
        <p:sp>
          <p:nvSpPr>
            <p:cNvPr id="43" name="文本框 42">
              <a:extLst>
                <a:ext uri="{FF2B5EF4-FFF2-40B4-BE49-F238E27FC236}">
                  <a16:creationId xmlns:a16="http://schemas.microsoft.com/office/drawing/2014/main" id="{353A82A1-7995-48C9-9C51-492CDA1D3E1A}"/>
                </a:ext>
              </a:extLst>
            </p:cNvPr>
            <p:cNvSpPr txBox="1"/>
            <p:nvPr/>
          </p:nvSpPr>
          <p:spPr>
            <a:xfrm flipH="1">
              <a:off x="1791625" y="2372408"/>
              <a:ext cx="2583525" cy="387286"/>
            </a:xfrm>
            <a:prstGeom prst="rect">
              <a:avLst/>
            </a:prstGeom>
            <a:noFill/>
          </p:spPr>
          <p:txBody>
            <a:bodyPr wrap="square" lIns="0" tIns="0" rIns="0" bIns="0" rtlCol="0" anchor="t">
              <a:spAutoFit/>
            </a:bodyPr>
            <a:lstStyle/>
            <a:p>
              <a:pPr>
                <a:lnSpc>
                  <a:spcPct val="130000"/>
                </a:lnSpc>
              </a:pPr>
              <a:r>
                <a:rPr lang="en-US" altLang="zh-CN" sz="1000" b="0" dirty="0">
                  <a:solidFill>
                    <a:schemeClr val="tx1">
                      <a:lumMod val="75000"/>
                      <a:lumOff val="25000"/>
                    </a:schemeClr>
                  </a:solidFill>
                  <a:effectLst/>
                  <a:latin typeface="+mn-ea"/>
                </a:rPr>
                <a:t>Lorem ipsum dolor sit amet, consectetur adipisicing elit, sed do eiusmod tempor</a:t>
              </a:r>
              <a:endParaRPr lang="zh-CN" altLang="en-US" sz="1000" b="0" dirty="0">
                <a:solidFill>
                  <a:schemeClr val="tx1">
                    <a:lumMod val="75000"/>
                    <a:lumOff val="25000"/>
                  </a:schemeClr>
                </a:solidFill>
                <a:effectLst/>
                <a:latin typeface="+mn-ea"/>
              </a:endParaRPr>
            </a:p>
          </p:txBody>
        </p:sp>
        <p:sp>
          <p:nvSpPr>
            <p:cNvPr id="44" name="文本框 43">
              <a:extLst>
                <a:ext uri="{FF2B5EF4-FFF2-40B4-BE49-F238E27FC236}">
                  <a16:creationId xmlns:a16="http://schemas.microsoft.com/office/drawing/2014/main" id="{DA8A0495-ACEE-459B-8BCA-5E6181838E9A}"/>
                </a:ext>
              </a:extLst>
            </p:cNvPr>
            <p:cNvSpPr txBox="1"/>
            <p:nvPr/>
          </p:nvSpPr>
          <p:spPr>
            <a:xfrm flipH="1">
              <a:off x="1791625" y="1924148"/>
              <a:ext cx="1282402" cy="307777"/>
            </a:xfrm>
            <a:prstGeom prst="rect">
              <a:avLst/>
            </a:prstGeom>
            <a:noFill/>
          </p:spPr>
          <p:txBody>
            <a:bodyPr wrap="none" lIns="0" tIns="0" rIns="0" bIns="0" rtlCol="0" anchor="t">
              <a:spAutoFit/>
            </a:bodyPr>
            <a:lstStyle/>
            <a:p>
              <a:r>
                <a:rPr lang="zh-CN" altLang="en-US" sz="2000" dirty="0">
                  <a:solidFill>
                    <a:schemeClr val="accent1"/>
                  </a:solidFill>
                  <a:latin typeface="+mj-ea"/>
                  <a:ea typeface="+mj-ea"/>
                </a:rPr>
                <a:t>关键词标题</a:t>
              </a:r>
            </a:p>
          </p:txBody>
        </p:sp>
        <p:cxnSp>
          <p:nvCxnSpPr>
            <p:cNvPr id="45" name="直接连接符 44">
              <a:extLst>
                <a:ext uri="{FF2B5EF4-FFF2-40B4-BE49-F238E27FC236}">
                  <a16:creationId xmlns:a16="http://schemas.microsoft.com/office/drawing/2014/main" id="{726DC689-21D1-4247-993F-F99B01433C82}"/>
                </a:ext>
              </a:extLst>
            </p:cNvPr>
            <p:cNvCxnSpPr/>
            <p:nvPr/>
          </p:nvCxnSpPr>
          <p:spPr>
            <a:xfrm>
              <a:off x="1791625" y="2309813"/>
              <a:ext cx="2466050" cy="0"/>
            </a:xfrm>
            <a:prstGeom prst="line">
              <a:avLst/>
            </a:prstGeom>
            <a:ln w="22225">
              <a:gradFill>
                <a:gsLst>
                  <a:gs pos="0">
                    <a:schemeClr val="accent1"/>
                  </a:gs>
                  <a:gs pos="100000">
                    <a:schemeClr val="accent1">
                      <a:alpha val="0"/>
                    </a:schemeClr>
                  </a:gs>
                </a:gsLst>
                <a:lin ang="0" scaled="0"/>
              </a:gradFill>
            </a:ln>
          </p:spPr>
          <p:style>
            <a:lnRef idx="1">
              <a:schemeClr val="accent1"/>
            </a:lnRef>
            <a:fillRef idx="0">
              <a:schemeClr val="accent1"/>
            </a:fillRef>
            <a:effectRef idx="0">
              <a:schemeClr val="accent1"/>
            </a:effectRef>
            <a:fontRef idx="minor">
              <a:schemeClr val="tx1"/>
            </a:fontRef>
          </p:style>
        </p:cxnSp>
      </p:grpSp>
      <p:grpSp>
        <p:nvGrpSpPr>
          <p:cNvPr id="47" name="组合 46">
            <a:extLst>
              <a:ext uri="{FF2B5EF4-FFF2-40B4-BE49-F238E27FC236}">
                <a16:creationId xmlns:a16="http://schemas.microsoft.com/office/drawing/2014/main" id="{9861E38D-9E9A-444C-898B-09F786F8F1E6}"/>
              </a:ext>
            </a:extLst>
          </p:cNvPr>
          <p:cNvGrpSpPr/>
          <p:nvPr/>
        </p:nvGrpSpPr>
        <p:grpSpPr>
          <a:xfrm>
            <a:off x="2130313" y="4069841"/>
            <a:ext cx="3219006" cy="1375411"/>
            <a:chOff x="1325562" y="1619249"/>
            <a:chExt cx="3219006" cy="1375411"/>
          </a:xfrm>
        </p:grpSpPr>
        <p:sp>
          <p:nvSpPr>
            <p:cNvPr id="48" name="矩形: 对角圆角 10">
              <a:extLst>
                <a:ext uri="{FF2B5EF4-FFF2-40B4-BE49-F238E27FC236}">
                  <a16:creationId xmlns:a16="http://schemas.microsoft.com/office/drawing/2014/main" id="{C629BBF6-7CF3-43A4-B1D4-66CCF22E2741}"/>
                </a:ext>
              </a:extLst>
            </p:cNvPr>
            <p:cNvSpPr/>
            <p:nvPr/>
          </p:nvSpPr>
          <p:spPr>
            <a:xfrm>
              <a:off x="1403350" y="1619249"/>
              <a:ext cx="3141218" cy="1375411"/>
            </a:xfrm>
            <a:custGeom>
              <a:avLst/>
              <a:gdLst>
                <a:gd name="connsiteX0" fmla="*/ 752475 w 2965450"/>
                <a:gd name="connsiteY0" fmla="*/ 0 h 1504950"/>
                <a:gd name="connsiteX1" fmla="*/ 2965450 w 2965450"/>
                <a:gd name="connsiteY1" fmla="*/ 0 h 1504950"/>
                <a:gd name="connsiteX2" fmla="*/ 2965450 w 2965450"/>
                <a:gd name="connsiteY2" fmla="*/ 0 h 1504950"/>
                <a:gd name="connsiteX3" fmla="*/ 2965450 w 2965450"/>
                <a:gd name="connsiteY3" fmla="*/ 752475 h 1504950"/>
                <a:gd name="connsiteX4" fmla="*/ 2212975 w 2965450"/>
                <a:gd name="connsiteY4" fmla="*/ 1504950 h 1504950"/>
                <a:gd name="connsiteX5" fmla="*/ 0 w 2965450"/>
                <a:gd name="connsiteY5" fmla="*/ 1504950 h 1504950"/>
                <a:gd name="connsiteX6" fmla="*/ 0 w 2965450"/>
                <a:gd name="connsiteY6" fmla="*/ 1504950 h 1504950"/>
                <a:gd name="connsiteX7" fmla="*/ 0 w 2965450"/>
                <a:gd name="connsiteY7" fmla="*/ 752475 h 1504950"/>
                <a:gd name="connsiteX8" fmla="*/ 752475 w 2965450"/>
                <a:gd name="connsiteY8" fmla="*/ 0 h 1504950"/>
                <a:gd name="connsiteX0" fmla="*/ 752475 w 2965450"/>
                <a:gd name="connsiteY0" fmla="*/ 0 h 1504950"/>
                <a:gd name="connsiteX1" fmla="*/ 2965450 w 2965450"/>
                <a:gd name="connsiteY1" fmla="*/ 0 h 1504950"/>
                <a:gd name="connsiteX2" fmla="*/ 2965450 w 2965450"/>
                <a:gd name="connsiteY2" fmla="*/ 0 h 1504950"/>
                <a:gd name="connsiteX3" fmla="*/ 2965450 w 2965450"/>
                <a:gd name="connsiteY3" fmla="*/ 752475 h 1504950"/>
                <a:gd name="connsiteX4" fmla="*/ 2212975 w 2965450"/>
                <a:gd name="connsiteY4" fmla="*/ 1504950 h 1504950"/>
                <a:gd name="connsiteX5" fmla="*/ 279400 w 2965450"/>
                <a:gd name="connsiteY5" fmla="*/ 1504950 h 1504950"/>
                <a:gd name="connsiteX6" fmla="*/ 0 w 2965450"/>
                <a:gd name="connsiteY6" fmla="*/ 1504950 h 1504950"/>
                <a:gd name="connsiteX7" fmla="*/ 0 w 2965450"/>
                <a:gd name="connsiteY7" fmla="*/ 1504950 h 1504950"/>
                <a:gd name="connsiteX8" fmla="*/ 0 w 2965450"/>
                <a:gd name="connsiteY8" fmla="*/ 752475 h 1504950"/>
                <a:gd name="connsiteX9" fmla="*/ 752475 w 2965450"/>
                <a:gd name="connsiteY9" fmla="*/ 0 h 1504950"/>
                <a:gd name="connsiteX0" fmla="*/ 758825 w 2971800"/>
                <a:gd name="connsiteY0" fmla="*/ 0 h 1504950"/>
                <a:gd name="connsiteX1" fmla="*/ 2971800 w 2971800"/>
                <a:gd name="connsiteY1" fmla="*/ 0 h 1504950"/>
                <a:gd name="connsiteX2" fmla="*/ 2971800 w 2971800"/>
                <a:gd name="connsiteY2" fmla="*/ 0 h 1504950"/>
                <a:gd name="connsiteX3" fmla="*/ 2971800 w 2971800"/>
                <a:gd name="connsiteY3" fmla="*/ 752475 h 1504950"/>
                <a:gd name="connsiteX4" fmla="*/ 2219325 w 2971800"/>
                <a:gd name="connsiteY4" fmla="*/ 1504950 h 1504950"/>
                <a:gd name="connsiteX5" fmla="*/ 285750 w 2971800"/>
                <a:gd name="connsiteY5" fmla="*/ 1504950 h 1504950"/>
                <a:gd name="connsiteX6" fmla="*/ 6350 w 2971800"/>
                <a:gd name="connsiteY6" fmla="*/ 1504950 h 1504950"/>
                <a:gd name="connsiteX7" fmla="*/ 6350 w 2971800"/>
                <a:gd name="connsiteY7" fmla="*/ 1504950 h 1504950"/>
                <a:gd name="connsiteX8" fmla="*/ 0 w 2971800"/>
                <a:gd name="connsiteY8" fmla="*/ 1250950 h 1504950"/>
                <a:gd name="connsiteX9" fmla="*/ 6350 w 2971800"/>
                <a:gd name="connsiteY9" fmla="*/ 752475 h 1504950"/>
                <a:gd name="connsiteX10" fmla="*/ 758825 w 2971800"/>
                <a:gd name="connsiteY10" fmla="*/ 0 h 1504950"/>
                <a:gd name="connsiteX0" fmla="*/ 6350 w 2971800"/>
                <a:gd name="connsiteY0" fmla="*/ 1504950 h 1596390"/>
                <a:gd name="connsiteX1" fmla="*/ 0 w 2971800"/>
                <a:gd name="connsiteY1" fmla="*/ 1250950 h 1596390"/>
                <a:gd name="connsiteX2" fmla="*/ 6350 w 2971800"/>
                <a:gd name="connsiteY2" fmla="*/ 752475 h 1596390"/>
                <a:gd name="connsiteX3" fmla="*/ 758825 w 2971800"/>
                <a:gd name="connsiteY3" fmla="*/ 0 h 1596390"/>
                <a:gd name="connsiteX4" fmla="*/ 2971800 w 2971800"/>
                <a:gd name="connsiteY4" fmla="*/ 0 h 1596390"/>
                <a:gd name="connsiteX5" fmla="*/ 2971800 w 2971800"/>
                <a:gd name="connsiteY5" fmla="*/ 0 h 1596390"/>
                <a:gd name="connsiteX6" fmla="*/ 2971800 w 2971800"/>
                <a:gd name="connsiteY6" fmla="*/ 752475 h 1596390"/>
                <a:gd name="connsiteX7" fmla="*/ 2219325 w 2971800"/>
                <a:gd name="connsiteY7" fmla="*/ 1504950 h 1596390"/>
                <a:gd name="connsiteX8" fmla="*/ 285750 w 2971800"/>
                <a:gd name="connsiteY8" fmla="*/ 1504950 h 1596390"/>
                <a:gd name="connsiteX9" fmla="*/ 6350 w 2971800"/>
                <a:gd name="connsiteY9" fmla="*/ 1504950 h 1596390"/>
                <a:gd name="connsiteX10" fmla="*/ 97790 w 2971800"/>
                <a:gd name="connsiteY10" fmla="*/ 1596390 h 1596390"/>
                <a:gd name="connsiteX0" fmla="*/ 6350 w 2971800"/>
                <a:gd name="connsiteY0" fmla="*/ 1504950 h 1504950"/>
                <a:gd name="connsiteX1" fmla="*/ 0 w 2971800"/>
                <a:gd name="connsiteY1" fmla="*/ 1250950 h 1504950"/>
                <a:gd name="connsiteX2" fmla="*/ 6350 w 2971800"/>
                <a:gd name="connsiteY2" fmla="*/ 752475 h 1504950"/>
                <a:gd name="connsiteX3" fmla="*/ 758825 w 2971800"/>
                <a:gd name="connsiteY3" fmla="*/ 0 h 1504950"/>
                <a:gd name="connsiteX4" fmla="*/ 2971800 w 2971800"/>
                <a:gd name="connsiteY4" fmla="*/ 0 h 1504950"/>
                <a:gd name="connsiteX5" fmla="*/ 2971800 w 2971800"/>
                <a:gd name="connsiteY5" fmla="*/ 0 h 1504950"/>
                <a:gd name="connsiteX6" fmla="*/ 2971800 w 2971800"/>
                <a:gd name="connsiteY6" fmla="*/ 752475 h 1504950"/>
                <a:gd name="connsiteX7" fmla="*/ 2219325 w 2971800"/>
                <a:gd name="connsiteY7" fmla="*/ 1504950 h 1504950"/>
                <a:gd name="connsiteX8" fmla="*/ 285750 w 2971800"/>
                <a:gd name="connsiteY8" fmla="*/ 1504950 h 1504950"/>
                <a:gd name="connsiteX9" fmla="*/ 6350 w 2971800"/>
                <a:gd name="connsiteY9" fmla="*/ 1504950 h 1504950"/>
                <a:gd name="connsiteX0" fmla="*/ 6350 w 2971800"/>
                <a:gd name="connsiteY0" fmla="*/ 1504950 h 1746250"/>
                <a:gd name="connsiteX1" fmla="*/ 0 w 2971800"/>
                <a:gd name="connsiteY1" fmla="*/ 1250950 h 1746250"/>
                <a:gd name="connsiteX2" fmla="*/ 6350 w 2971800"/>
                <a:gd name="connsiteY2" fmla="*/ 752475 h 1746250"/>
                <a:gd name="connsiteX3" fmla="*/ 758825 w 2971800"/>
                <a:gd name="connsiteY3" fmla="*/ 0 h 1746250"/>
                <a:gd name="connsiteX4" fmla="*/ 2971800 w 2971800"/>
                <a:gd name="connsiteY4" fmla="*/ 0 h 1746250"/>
                <a:gd name="connsiteX5" fmla="*/ 2971800 w 2971800"/>
                <a:gd name="connsiteY5" fmla="*/ 0 h 1746250"/>
                <a:gd name="connsiteX6" fmla="*/ 2971800 w 2971800"/>
                <a:gd name="connsiteY6" fmla="*/ 752475 h 1746250"/>
                <a:gd name="connsiteX7" fmla="*/ 2219325 w 2971800"/>
                <a:gd name="connsiteY7" fmla="*/ 1504950 h 1746250"/>
                <a:gd name="connsiteX8" fmla="*/ 285750 w 2971800"/>
                <a:gd name="connsiteY8" fmla="*/ 1504950 h 1746250"/>
                <a:gd name="connsiteX9" fmla="*/ 44450 w 2971800"/>
                <a:gd name="connsiteY9" fmla="*/ 1746250 h 1746250"/>
                <a:gd name="connsiteX0" fmla="*/ 6350 w 2971800"/>
                <a:gd name="connsiteY0" fmla="*/ 1504950 h 1504950"/>
                <a:gd name="connsiteX1" fmla="*/ 0 w 2971800"/>
                <a:gd name="connsiteY1" fmla="*/ 1250950 h 1504950"/>
                <a:gd name="connsiteX2" fmla="*/ 6350 w 2971800"/>
                <a:gd name="connsiteY2" fmla="*/ 752475 h 1504950"/>
                <a:gd name="connsiteX3" fmla="*/ 758825 w 2971800"/>
                <a:gd name="connsiteY3" fmla="*/ 0 h 1504950"/>
                <a:gd name="connsiteX4" fmla="*/ 2971800 w 2971800"/>
                <a:gd name="connsiteY4" fmla="*/ 0 h 1504950"/>
                <a:gd name="connsiteX5" fmla="*/ 2971800 w 2971800"/>
                <a:gd name="connsiteY5" fmla="*/ 0 h 1504950"/>
                <a:gd name="connsiteX6" fmla="*/ 2971800 w 2971800"/>
                <a:gd name="connsiteY6" fmla="*/ 752475 h 1504950"/>
                <a:gd name="connsiteX7" fmla="*/ 2219325 w 2971800"/>
                <a:gd name="connsiteY7" fmla="*/ 1504950 h 1504950"/>
                <a:gd name="connsiteX8" fmla="*/ 285750 w 2971800"/>
                <a:gd name="connsiteY8" fmla="*/ 1504950 h 1504950"/>
                <a:gd name="connsiteX0" fmla="*/ 0 w 2971800"/>
                <a:gd name="connsiteY0" fmla="*/ 1250950 h 1504950"/>
                <a:gd name="connsiteX1" fmla="*/ 6350 w 2971800"/>
                <a:gd name="connsiteY1" fmla="*/ 752475 h 1504950"/>
                <a:gd name="connsiteX2" fmla="*/ 758825 w 2971800"/>
                <a:gd name="connsiteY2" fmla="*/ 0 h 1504950"/>
                <a:gd name="connsiteX3" fmla="*/ 2971800 w 2971800"/>
                <a:gd name="connsiteY3" fmla="*/ 0 h 1504950"/>
                <a:gd name="connsiteX4" fmla="*/ 2971800 w 2971800"/>
                <a:gd name="connsiteY4" fmla="*/ 0 h 1504950"/>
                <a:gd name="connsiteX5" fmla="*/ 2971800 w 2971800"/>
                <a:gd name="connsiteY5" fmla="*/ 752475 h 1504950"/>
                <a:gd name="connsiteX6" fmla="*/ 2219325 w 2971800"/>
                <a:gd name="connsiteY6" fmla="*/ 1504950 h 1504950"/>
                <a:gd name="connsiteX7" fmla="*/ 285750 w 2971800"/>
                <a:gd name="connsiteY7" fmla="*/ 1504950 h 1504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71800" h="1504950">
                  <a:moveTo>
                    <a:pt x="0" y="1250950"/>
                  </a:moveTo>
                  <a:cubicBezTo>
                    <a:pt x="2117" y="1084792"/>
                    <a:pt x="4233" y="918633"/>
                    <a:pt x="6350" y="752475"/>
                  </a:cubicBezTo>
                  <a:cubicBezTo>
                    <a:pt x="6350" y="336895"/>
                    <a:pt x="343245" y="0"/>
                    <a:pt x="758825" y="0"/>
                  </a:cubicBezTo>
                  <a:lnTo>
                    <a:pt x="2971800" y="0"/>
                  </a:lnTo>
                  <a:lnTo>
                    <a:pt x="2971800" y="0"/>
                  </a:lnTo>
                  <a:lnTo>
                    <a:pt x="2971800" y="752475"/>
                  </a:lnTo>
                  <a:cubicBezTo>
                    <a:pt x="2971800" y="1168055"/>
                    <a:pt x="2634905" y="1504950"/>
                    <a:pt x="2219325" y="1504950"/>
                  </a:cubicBezTo>
                  <a:lnTo>
                    <a:pt x="285750" y="1504950"/>
                  </a:lnTo>
                </a:path>
              </a:pathLst>
            </a:custGeom>
            <a:noFill/>
            <a:ln w="22225">
              <a:gradFill>
                <a:gsLst>
                  <a:gs pos="0">
                    <a:schemeClr val="accent1"/>
                  </a:gs>
                  <a:gs pos="100000">
                    <a:schemeClr val="accent1"/>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49" name="椭圆 48">
              <a:extLst>
                <a:ext uri="{FF2B5EF4-FFF2-40B4-BE49-F238E27FC236}">
                  <a16:creationId xmlns:a16="http://schemas.microsoft.com/office/drawing/2014/main" id="{7A0B5386-94AC-42FC-B358-F425265450D8}"/>
                </a:ext>
              </a:extLst>
            </p:cNvPr>
            <p:cNvSpPr/>
            <p:nvPr/>
          </p:nvSpPr>
          <p:spPr>
            <a:xfrm>
              <a:off x="1325562" y="2773680"/>
              <a:ext cx="155576" cy="155576"/>
            </a:xfrm>
            <a:prstGeom prst="ellipse">
              <a:avLst/>
            </a:prstGeom>
            <a:noFill/>
            <a:ln w="22225">
              <a:gradFill>
                <a:gsLst>
                  <a:gs pos="0">
                    <a:schemeClr val="accent1"/>
                  </a:gs>
                  <a:gs pos="100000">
                    <a:schemeClr val="accent1"/>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zh-CN" altLang="en-US" sz="1600" dirty="0">
                <a:solidFill>
                  <a:schemeClr val="bg1"/>
                </a:solidFill>
                <a:latin typeface="+mj-ea"/>
                <a:ea typeface="+mj-ea"/>
              </a:endParaRPr>
            </a:p>
          </p:txBody>
        </p:sp>
        <p:sp>
          <p:nvSpPr>
            <p:cNvPr id="50" name="文本框 49">
              <a:extLst>
                <a:ext uri="{FF2B5EF4-FFF2-40B4-BE49-F238E27FC236}">
                  <a16:creationId xmlns:a16="http://schemas.microsoft.com/office/drawing/2014/main" id="{D5A2FE6F-0F49-4169-8B72-EB588E5A5C92}"/>
                </a:ext>
              </a:extLst>
            </p:cNvPr>
            <p:cNvSpPr txBox="1"/>
            <p:nvPr/>
          </p:nvSpPr>
          <p:spPr>
            <a:xfrm flipH="1">
              <a:off x="1791625" y="2372408"/>
              <a:ext cx="2583525" cy="387286"/>
            </a:xfrm>
            <a:prstGeom prst="rect">
              <a:avLst/>
            </a:prstGeom>
            <a:noFill/>
          </p:spPr>
          <p:txBody>
            <a:bodyPr wrap="square" lIns="0" tIns="0" rIns="0" bIns="0" rtlCol="0" anchor="t">
              <a:spAutoFit/>
            </a:bodyPr>
            <a:lstStyle/>
            <a:p>
              <a:pPr>
                <a:lnSpc>
                  <a:spcPct val="130000"/>
                </a:lnSpc>
              </a:pPr>
              <a:r>
                <a:rPr lang="en-US" altLang="zh-CN" sz="1000" b="0" dirty="0">
                  <a:solidFill>
                    <a:schemeClr val="tx1">
                      <a:lumMod val="75000"/>
                      <a:lumOff val="25000"/>
                    </a:schemeClr>
                  </a:solidFill>
                  <a:effectLst/>
                  <a:latin typeface="+mn-ea"/>
                </a:rPr>
                <a:t>Lorem ipsum dolor sit amet, consectetur adipisicing elit, sed do eiusmod tempor</a:t>
              </a:r>
              <a:endParaRPr lang="zh-CN" altLang="en-US" sz="1000" b="0" dirty="0">
                <a:solidFill>
                  <a:schemeClr val="tx1">
                    <a:lumMod val="75000"/>
                    <a:lumOff val="25000"/>
                  </a:schemeClr>
                </a:solidFill>
                <a:effectLst/>
                <a:latin typeface="+mn-ea"/>
              </a:endParaRPr>
            </a:p>
          </p:txBody>
        </p:sp>
        <p:sp>
          <p:nvSpPr>
            <p:cNvPr id="51" name="文本框 50">
              <a:extLst>
                <a:ext uri="{FF2B5EF4-FFF2-40B4-BE49-F238E27FC236}">
                  <a16:creationId xmlns:a16="http://schemas.microsoft.com/office/drawing/2014/main" id="{A8845BE0-EB9C-4DE7-944B-080AFECE68DC}"/>
                </a:ext>
              </a:extLst>
            </p:cNvPr>
            <p:cNvSpPr txBox="1"/>
            <p:nvPr/>
          </p:nvSpPr>
          <p:spPr>
            <a:xfrm flipH="1">
              <a:off x="1791625" y="1924148"/>
              <a:ext cx="1282402" cy="307777"/>
            </a:xfrm>
            <a:prstGeom prst="rect">
              <a:avLst/>
            </a:prstGeom>
            <a:noFill/>
          </p:spPr>
          <p:txBody>
            <a:bodyPr wrap="none" lIns="0" tIns="0" rIns="0" bIns="0" rtlCol="0" anchor="t">
              <a:spAutoFit/>
            </a:bodyPr>
            <a:lstStyle/>
            <a:p>
              <a:r>
                <a:rPr lang="zh-CN" altLang="en-US" sz="2000" dirty="0">
                  <a:solidFill>
                    <a:schemeClr val="accent1"/>
                  </a:solidFill>
                  <a:latin typeface="+mj-ea"/>
                  <a:ea typeface="+mj-ea"/>
                </a:rPr>
                <a:t>关键词标题</a:t>
              </a:r>
            </a:p>
          </p:txBody>
        </p:sp>
        <p:cxnSp>
          <p:nvCxnSpPr>
            <p:cNvPr id="52" name="直接连接符 51">
              <a:extLst>
                <a:ext uri="{FF2B5EF4-FFF2-40B4-BE49-F238E27FC236}">
                  <a16:creationId xmlns:a16="http://schemas.microsoft.com/office/drawing/2014/main" id="{DDF413F2-FCCF-482C-9706-5741C3854B65}"/>
                </a:ext>
              </a:extLst>
            </p:cNvPr>
            <p:cNvCxnSpPr/>
            <p:nvPr/>
          </p:nvCxnSpPr>
          <p:spPr>
            <a:xfrm>
              <a:off x="1791625" y="2309813"/>
              <a:ext cx="2466050" cy="0"/>
            </a:xfrm>
            <a:prstGeom prst="line">
              <a:avLst/>
            </a:prstGeom>
            <a:ln w="22225">
              <a:gradFill>
                <a:gsLst>
                  <a:gs pos="0">
                    <a:schemeClr val="accent1"/>
                  </a:gs>
                  <a:gs pos="100000">
                    <a:schemeClr val="accent1">
                      <a:alpha val="0"/>
                    </a:schemeClr>
                  </a:gs>
                </a:gsLst>
                <a:lin ang="0" scaled="0"/>
              </a:gradFill>
            </a:ln>
          </p:spPr>
          <p:style>
            <a:lnRef idx="1">
              <a:schemeClr val="accent1"/>
            </a:lnRef>
            <a:fillRef idx="0">
              <a:schemeClr val="accent1"/>
            </a:fillRef>
            <a:effectRef idx="0">
              <a:schemeClr val="accent1"/>
            </a:effectRef>
            <a:fontRef idx="minor">
              <a:schemeClr val="tx1"/>
            </a:fontRef>
          </p:style>
        </p:cxnSp>
      </p:grpSp>
      <p:grpSp>
        <p:nvGrpSpPr>
          <p:cNvPr id="53" name="组合 52">
            <a:extLst>
              <a:ext uri="{FF2B5EF4-FFF2-40B4-BE49-F238E27FC236}">
                <a16:creationId xmlns:a16="http://schemas.microsoft.com/office/drawing/2014/main" id="{4336FA44-09E8-40F5-8801-6B2E365B1A04}"/>
              </a:ext>
            </a:extLst>
          </p:cNvPr>
          <p:cNvGrpSpPr/>
          <p:nvPr/>
        </p:nvGrpSpPr>
        <p:grpSpPr>
          <a:xfrm>
            <a:off x="6842682" y="4069841"/>
            <a:ext cx="3219006" cy="1375411"/>
            <a:chOff x="1325562" y="1619249"/>
            <a:chExt cx="3219006" cy="1375411"/>
          </a:xfrm>
        </p:grpSpPr>
        <p:sp>
          <p:nvSpPr>
            <p:cNvPr id="54" name="矩形: 对角圆角 10">
              <a:extLst>
                <a:ext uri="{FF2B5EF4-FFF2-40B4-BE49-F238E27FC236}">
                  <a16:creationId xmlns:a16="http://schemas.microsoft.com/office/drawing/2014/main" id="{BFFB2203-E77C-42DD-8D66-75ACA281978B}"/>
                </a:ext>
              </a:extLst>
            </p:cNvPr>
            <p:cNvSpPr/>
            <p:nvPr/>
          </p:nvSpPr>
          <p:spPr>
            <a:xfrm>
              <a:off x="1403350" y="1619249"/>
              <a:ext cx="3141218" cy="1375411"/>
            </a:xfrm>
            <a:custGeom>
              <a:avLst/>
              <a:gdLst>
                <a:gd name="connsiteX0" fmla="*/ 752475 w 2965450"/>
                <a:gd name="connsiteY0" fmla="*/ 0 h 1504950"/>
                <a:gd name="connsiteX1" fmla="*/ 2965450 w 2965450"/>
                <a:gd name="connsiteY1" fmla="*/ 0 h 1504950"/>
                <a:gd name="connsiteX2" fmla="*/ 2965450 w 2965450"/>
                <a:gd name="connsiteY2" fmla="*/ 0 h 1504950"/>
                <a:gd name="connsiteX3" fmla="*/ 2965450 w 2965450"/>
                <a:gd name="connsiteY3" fmla="*/ 752475 h 1504950"/>
                <a:gd name="connsiteX4" fmla="*/ 2212975 w 2965450"/>
                <a:gd name="connsiteY4" fmla="*/ 1504950 h 1504950"/>
                <a:gd name="connsiteX5" fmla="*/ 0 w 2965450"/>
                <a:gd name="connsiteY5" fmla="*/ 1504950 h 1504950"/>
                <a:gd name="connsiteX6" fmla="*/ 0 w 2965450"/>
                <a:gd name="connsiteY6" fmla="*/ 1504950 h 1504950"/>
                <a:gd name="connsiteX7" fmla="*/ 0 w 2965450"/>
                <a:gd name="connsiteY7" fmla="*/ 752475 h 1504950"/>
                <a:gd name="connsiteX8" fmla="*/ 752475 w 2965450"/>
                <a:gd name="connsiteY8" fmla="*/ 0 h 1504950"/>
                <a:gd name="connsiteX0" fmla="*/ 752475 w 2965450"/>
                <a:gd name="connsiteY0" fmla="*/ 0 h 1504950"/>
                <a:gd name="connsiteX1" fmla="*/ 2965450 w 2965450"/>
                <a:gd name="connsiteY1" fmla="*/ 0 h 1504950"/>
                <a:gd name="connsiteX2" fmla="*/ 2965450 w 2965450"/>
                <a:gd name="connsiteY2" fmla="*/ 0 h 1504950"/>
                <a:gd name="connsiteX3" fmla="*/ 2965450 w 2965450"/>
                <a:gd name="connsiteY3" fmla="*/ 752475 h 1504950"/>
                <a:gd name="connsiteX4" fmla="*/ 2212975 w 2965450"/>
                <a:gd name="connsiteY4" fmla="*/ 1504950 h 1504950"/>
                <a:gd name="connsiteX5" fmla="*/ 279400 w 2965450"/>
                <a:gd name="connsiteY5" fmla="*/ 1504950 h 1504950"/>
                <a:gd name="connsiteX6" fmla="*/ 0 w 2965450"/>
                <a:gd name="connsiteY6" fmla="*/ 1504950 h 1504950"/>
                <a:gd name="connsiteX7" fmla="*/ 0 w 2965450"/>
                <a:gd name="connsiteY7" fmla="*/ 1504950 h 1504950"/>
                <a:gd name="connsiteX8" fmla="*/ 0 w 2965450"/>
                <a:gd name="connsiteY8" fmla="*/ 752475 h 1504950"/>
                <a:gd name="connsiteX9" fmla="*/ 752475 w 2965450"/>
                <a:gd name="connsiteY9" fmla="*/ 0 h 1504950"/>
                <a:gd name="connsiteX0" fmla="*/ 758825 w 2971800"/>
                <a:gd name="connsiteY0" fmla="*/ 0 h 1504950"/>
                <a:gd name="connsiteX1" fmla="*/ 2971800 w 2971800"/>
                <a:gd name="connsiteY1" fmla="*/ 0 h 1504950"/>
                <a:gd name="connsiteX2" fmla="*/ 2971800 w 2971800"/>
                <a:gd name="connsiteY2" fmla="*/ 0 h 1504950"/>
                <a:gd name="connsiteX3" fmla="*/ 2971800 w 2971800"/>
                <a:gd name="connsiteY3" fmla="*/ 752475 h 1504950"/>
                <a:gd name="connsiteX4" fmla="*/ 2219325 w 2971800"/>
                <a:gd name="connsiteY4" fmla="*/ 1504950 h 1504950"/>
                <a:gd name="connsiteX5" fmla="*/ 285750 w 2971800"/>
                <a:gd name="connsiteY5" fmla="*/ 1504950 h 1504950"/>
                <a:gd name="connsiteX6" fmla="*/ 6350 w 2971800"/>
                <a:gd name="connsiteY6" fmla="*/ 1504950 h 1504950"/>
                <a:gd name="connsiteX7" fmla="*/ 6350 w 2971800"/>
                <a:gd name="connsiteY7" fmla="*/ 1504950 h 1504950"/>
                <a:gd name="connsiteX8" fmla="*/ 0 w 2971800"/>
                <a:gd name="connsiteY8" fmla="*/ 1250950 h 1504950"/>
                <a:gd name="connsiteX9" fmla="*/ 6350 w 2971800"/>
                <a:gd name="connsiteY9" fmla="*/ 752475 h 1504950"/>
                <a:gd name="connsiteX10" fmla="*/ 758825 w 2971800"/>
                <a:gd name="connsiteY10" fmla="*/ 0 h 1504950"/>
                <a:gd name="connsiteX0" fmla="*/ 6350 w 2971800"/>
                <a:gd name="connsiteY0" fmla="*/ 1504950 h 1596390"/>
                <a:gd name="connsiteX1" fmla="*/ 0 w 2971800"/>
                <a:gd name="connsiteY1" fmla="*/ 1250950 h 1596390"/>
                <a:gd name="connsiteX2" fmla="*/ 6350 w 2971800"/>
                <a:gd name="connsiteY2" fmla="*/ 752475 h 1596390"/>
                <a:gd name="connsiteX3" fmla="*/ 758825 w 2971800"/>
                <a:gd name="connsiteY3" fmla="*/ 0 h 1596390"/>
                <a:gd name="connsiteX4" fmla="*/ 2971800 w 2971800"/>
                <a:gd name="connsiteY4" fmla="*/ 0 h 1596390"/>
                <a:gd name="connsiteX5" fmla="*/ 2971800 w 2971800"/>
                <a:gd name="connsiteY5" fmla="*/ 0 h 1596390"/>
                <a:gd name="connsiteX6" fmla="*/ 2971800 w 2971800"/>
                <a:gd name="connsiteY6" fmla="*/ 752475 h 1596390"/>
                <a:gd name="connsiteX7" fmla="*/ 2219325 w 2971800"/>
                <a:gd name="connsiteY7" fmla="*/ 1504950 h 1596390"/>
                <a:gd name="connsiteX8" fmla="*/ 285750 w 2971800"/>
                <a:gd name="connsiteY8" fmla="*/ 1504950 h 1596390"/>
                <a:gd name="connsiteX9" fmla="*/ 6350 w 2971800"/>
                <a:gd name="connsiteY9" fmla="*/ 1504950 h 1596390"/>
                <a:gd name="connsiteX10" fmla="*/ 97790 w 2971800"/>
                <a:gd name="connsiteY10" fmla="*/ 1596390 h 1596390"/>
                <a:gd name="connsiteX0" fmla="*/ 6350 w 2971800"/>
                <a:gd name="connsiteY0" fmla="*/ 1504950 h 1504950"/>
                <a:gd name="connsiteX1" fmla="*/ 0 w 2971800"/>
                <a:gd name="connsiteY1" fmla="*/ 1250950 h 1504950"/>
                <a:gd name="connsiteX2" fmla="*/ 6350 w 2971800"/>
                <a:gd name="connsiteY2" fmla="*/ 752475 h 1504950"/>
                <a:gd name="connsiteX3" fmla="*/ 758825 w 2971800"/>
                <a:gd name="connsiteY3" fmla="*/ 0 h 1504950"/>
                <a:gd name="connsiteX4" fmla="*/ 2971800 w 2971800"/>
                <a:gd name="connsiteY4" fmla="*/ 0 h 1504950"/>
                <a:gd name="connsiteX5" fmla="*/ 2971800 w 2971800"/>
                <a:gd name="connsiteY5" fmla="*/ 0 h 1504950"/>
                <a:gd name="connsiteX6" fmla="*/ 2971800 w 2971800"/>
                <a:gd name="connsiteY6" fmla="*/ 752475 h 1504950"/>
                <a:gd name="connsiteX7" fmla="*/ 2219325 w 2971800"/>
                <a:gd name="connsiteY7" fmla="*/ 1504950 h 1504950"/>
                <a:gd name="connsiteX8" fmla="*/ 285750 w 2971800"/>
                <a:gd name="connsiteY8" fmla="*/ 1504950 h 1504950"/>
                <a:gd name="connsiteX9" fmla="*/ 6350 w 2971800"/>
                <a:gd name="connsiteY9" fmla="*/ 1504950 h 1504950"/>
                <a:gd name="connsiteX0" fmla="*/ 6350 w 2971800"/>
                <a:gd name="connsiteY0" fmla="*/ 1504950 h 1746250"/>
                <a:gd name="connsiteX1" fmla="*/ 0 w 2971800"/>
                <a:gd name="connsiteY1" fmla="*/ 1250950 h 1746250"/>
                <a:gd name="connsiteX2" fmla="*/ 6350 w 2971800"/>
                <a:gd name="connsiteY2" fmla="*/ 752475 h 1746250"/>
                <a:gd name="connsiteX3" fmla="*/ 758825 w 2971800"/>
                <a:gd name="connsiteY3" fmla="*/ 0 h 1746250"/>
                <a:gd name="connsiteX4" fmla="*/ 2971800 w 2971800"/>
                <a:gd name="connsiteY4" fmla="*/ 0 h 1746250"/>
                <a:gd name="connsiteX5" fmla="*/ 2971800 w 2971800"/>
                <a:gd name="connsiteY5" fmla="*/ 0 h 1746250"/>
                <a:gd name="connsiteX6" fmla="*/ 2971800 w 2971800"/>
                <a:gd name="connsiteY6" fmla="*/ 752475 h 1746250"/>
                <a:gd name="connsiteX7" fmla="*/ 2219325 w 2971800"/>
                <a:gd name="connsiteY7" fmla="*/ 1504950 h 1746250"/>
                <a:gd name="connsiteX8" fmla="*/ 285750 w 2971800"/>
                <a:gd name="connsiteY8" fmla="*/ 1504950 h 1746250"/>
                <a:gd name="connsiteX9" fmla="*/ 44450 w 2971800"/>
                <a:gd name="connsiteY9" fmla="*/ 1746250 h 1746250"/>
                <a:gd name="connsiteX0" fmla="*/ 6350 w 2971800"/>
                <a:gd name="connsiteY0" fmla="*/ 1504950 h 1504950"/>
                <a:gd name="connsiteX1" fmla="*/ 0 w 2971800"/>
                <a:gd name="connsiteY1" fmla="*/ 1250950 h 1504950"/>
                <a:gd name="connsiteX2" fmla="*/ 6350 w 2971800"/>
                <a:gd name="connsiteY2" fmla="*/ 752475 h 1504950"/>
                <a:gd name="connsiteX3" fmla="*/ 758825 w 2971800"/>
                <a:gd name="connsiteY3" fmla="*/ 0 h 1504950"/>
                <a:gd name="connsiteX4" fmla="*/ 2971800 w 2971800"/>
                <a:gd name="connsiteY4" fmla="*/ 0 h 1504950"/>
                <a:gd name="connsiteX5" fmla="*/ 2971800 w 2971800"/>
                <a:gd name="connsiteY5" fmla="*/ 0 h 1504950"/>
                <a:gd name="connsiteX6" fmla="*/ 2971800 w 2971800"/>
                <a:gd name="connsiteY6" fmla="*/ 752475 h 1504950"/>
                <a:gd name="connsiteX7" fmla="*/ 2219325 w 2971800"/>
                <a:gd name="connsiteY7" fmla="*/ 1504950 h 1504950"/>
                <a:gd name="connsiteX8" fmla="*/ 285750 w 2971800"/>
                <a:gd name="connsiteY8" fmla="*/ 1504950 h 1504950"/>
                <a:gd name="connsiteX0" fmla="*/ 0 w 2971800"/>
                <a:gd name="connsiteY0" fmla="*/ 1250950 h 1504950"/>
                <a:gd name="connsiteX1" fmla="*/ 6350 w 2971800"/>
                <a:gd name="connsiteY1" fmla="*/ 752475 h 1504950"/>
                <a:gd name="connsiteX2" fmla="*/ 758825 w 2971800"/>
                <a:gd name="connsiteY2" fmla="*/ 0 h 1504950"/>
                <a:gd name="connsiteX3" fmla="*/ 2971800 w 2971800"/>
                <a:gd name="connsiteY3" fmla="*/ 0 h 1504950"/>
                <a:gd name="connsiteX4" fmla="*/ 2971800 w 2971800"/>
                <a:gd name="connsiteY4" fmla="*/ 0 h 1504950"/>
                <a:gd name="connsiteX5" fmla="*/ 2971800 w 2971800"/>
                <a:gd name="connsiteY5" fmla="*/ 752475 h 1504950"/>
                <a:gd name="connsiteX6" fmla="*/ 2219325 w 2971800"/>
                <a:gd name="connsiteY6" fmla="*/ 1504950 h 1504950"/>
                <a:gd name="connsiteX7" fmla="*/ 285750 w 2971800"/>
                <a:gd name="connsiteY7" fmla="*/ 1504950 h 1504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71800" h="1504950">
                  <a:moveTo>
                    <a:pt x="0" y="1250950"/>
                  </a:moveTo>
                  <a:cubicBezTo>
                    <a:pt x="2117" y="1084792"/>
                    <a:pt x="4233" y="918633"/>
                    <a:pt x="6350" y="752475"/>
                  </a:cubicBezTo>
                  <a:cubicBezTo>
                    <a:pt x="6350" y="336895"/>
                    <a:pt x="343245" y="0"/>
                    <a:pt x="758825" y="0"/>
                  </a:cubicBezTo>
                  <a:lnTo>
                    <a:pt x="2971800" y="0"/>
                  </a:lnTo>
                  <a:lnTo>
                    <a:pt x="2971800" y="0"/>
                  </a:lnTo>
                  <a:lnTo>
                    <a:pt x="2971800" y="752475"/>
                  </a:lnTo>
                  <a:cubicBezTo>
                    <a:pt x="2971800" y="1168055"/>
                    <a:pt x="2634905" y="1504950"/>
                    <a:pt x="2219325" y="1504950"/>
                  </a:cubicBezTo>
                  <a:lnTo>
                    <a:pt x="285750" y="1504950"/>
                  </a:lnTo>
                </a:path>
              </a:pathLst>
            </a:custGeom>
            <a:noFill/>
            <a:ln w="22225">
              <a:gradFill>
                <a:gsLst>
                  <a:gs pos="0">
                    <a:schemeClr val="accent1"/>
                  </a:gs>
                  <a:gs pos="100000">
                    <a:schemeClr val="accent1"/>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55" name="椭圆 54">
              <a:extLst>
                <a:ext uri="{FF2B5EF4-FFF2-40B4-BE49-F238E27FC236}">
                  <a16:creationId xmlns:a16="http://schemas.microsoft.com/office/drawing/2014/main" id="{13515C63-4DAE-4B49-9165-07FB35920670}"/>
                </a:ext>
              </a:extLst>
            </p:cNvPr>
            <p:cNvSpPr/>
            <p:nvPr/>
          </p:nvSpPr>
          <p:spPr>
            <a:xfrm>
              <a:off x="1325562" y="2773680"/>
              <a:ext cx="155576" cy="155576"/>
            </a:xfrm>
            <a:prstGeom prst="ellipse">
              <a:avLst/>
            </a:prstGeom>
            <a:noFill/>
            <a:ln w="22225">
              <a:gradFill>
                <a:gsLst>
                  <a:gs pos="0">
                    <a:schemeClr val="accent1"/>
                  </a:gs>
                  <a:gs pos="100000">
                    <a:schemeClr val="accent1"/>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zh-CN" altLang="en-US" sz="1600" dirty="0">
                <a:solidFill>
                  <a:schemeClr val="bg1"/>
                </a:solidFill>
                <a:latin typeface="+mj-ea"/>
                <a:ea typeface="+mj-ea"/>
              </a:endParaRPr>
            </a:p>
          </p:txBody>
        </p:sp>
        <p:sp>
          <p:nvSpPr>
            <p:cNvPr id="56" name="文本框 55">
              <a:extLst>
                <a:ext uri="{FF2B5EF4-FFF2-40B4-BE49-F238E27FC236}">
                  <a16:creationId xmlns:a16="http://schemas.microsoft.com/office/drawing/2014/main" id="{5C32D187-5925-4D8E-B15C-3EAF944BEB56}"/>
                </a:ext>
              </a:extLst>
            </p:cNvPr>
            <p:cNvSpPr txBox="1"/>
            <p:nvPr/>
          </p:nvSpPr>
          <p:spPr>
            <a:xfrm flipH="1">
              <a:off x="1791625" y="2372408"/>
              <a:ext cx="2583525" cy="387286"/>
            </a:xfrm>
            <a:prstGeom prst="rect">
              <a:avLst/>
            </a:prstGeom>
            <a:noFill/>
          </p:spPr>
          <p:txBody>
            <a:bodyPr wrap="square" lIns="0" tIns="0" rIns="0" bIns="0" rtlCol="0" anchor="t">
              <a:spAutoFit/>
            </a:bodyPr>
            <a:lstStyle/>
            <a:p>
              <a:pPr>
                <a:lnSpc>
                  <a:spcPct val="130000"/>
                </a:lnSpc>
              </a:pPr>
              <a:r>
                <a:rPr lang="en-US" altLang="zh-CN" sz="1000" b="0" dirty="0">
                  <a:solidFill>
                    <a:schemeClr val="tx1">
                      <a:lumMod val="75000"/>
                      <a:lumOff val="25000"/>
                    </a:schemeClr>
                  </a:solidFill>
                  <a:effectLst/>
                  <a:latin typeface="+mn-ea"/>
                </a:rPr>
                <a:t>Lorem ipsum dolor sit amet, consectetur adipisicing elit, sed do eiusmod tempor</a:t>
              </a:r>
              <a:endParaRPr lang="zh-CN" altLang="en-US" sz="1000" b="0" dirty="0">
                <a:solidFill>
                  <a:schemeClr val="tx1">
                    <a:lumMod val="75000"/>
                    <a:lumOff val="25000"/>
                  </a:schemeClr>
                </a:solidFill>
                <a:effectLst/>
                <a:latin typeface="+mn-ea"/>
              </a:endParaRPr>
            </a:p>
          </p:txBody>
        </p:sp>
        <p:sp>
          <p:nvSpPr>
            <p:cNvPr id="57" name="文本框 56">
              <a:extLst>
                <a:ext uri="{FF2B5EF4-FFF2-40B4-BE49-F238E27FC236}">
                  <a16:creationId xmlns:a16="http://schemas.microsoft.com/office/drawing/2014/main" id="{6CA6D27C-4522-43FA-B987-00A8D0262330}"/>
                </a:ext>
              </a:extLst>
            </p:cNvPr>
            <p:cNvSpPr txBox="1"/>
            <p:nvPr/>
          </p:nvSpPr>
          <p:spPr>
            <a:xfrm flipH="1">
              <a:off x="1791625" y="1924148"/>
              <a:ext cx="1282402" cy="307777"/>
            </a:xfrm>
            <a:prstGeom prst="rect">
              <a:avLst/>
            </a:prstGeom>
            <a:noFill/>
          </p:spPr>
          <p:txBody>
            <a:bodyPr wrap="none" lIns="0" tIns="0" rIns="0" bIns="0" rtlCol="0" anchor="t">
              <a:spAutoFit/>
            </a:bodyPr>
            <a:lstStyle/>
            <a:p>
              <a:r>
                <a:rPr lang="zh-CN" altLang="en-US" sz="2000" dirty="0">
                  <a:solidFill>
                    <a:schemeClr val="accent1"/>
                  </a:solidFill>
                  <a:latin typeface="+mj-ea"/>
                  <a:ea typeface="+mj-ea"/>
                </a:rPr>
                <a:t>关键词标题</a:t>
              </a:r>
            </a:p>
          </p:txBody>
        </p:sp>
        <p:cxnSp>
          <p:nvCxnSpPr>
            <p:cNvPr id="58" name="直接连接符 57">
              <a:extLst>
                <a:ext uri="{FF2B5EF4-FFF2-40B4-BE49-F238E27FC236}">
                  <a16:creationId xmlns:a16="http://schemas.microsoft.com/office/drawing/2014/main" id="{F42D1490-73E8-439C-B9C7-20AAF1A8DF80}"/>
                </a:ext>
              </a:extLst>
            </p:cNvPr>
            <p:cNvCxnSpPr/>
            <p:nvPr/>
          </p:nvCxnSpPr>
          <p:spPr>
            <a:xfrm>
              <a:off x="1791625" y="2309813"/>
              <a:ext cx="2466050" cy="0"/>
            </a:xfrm>
            <a:prstGeom prst="line">
              <a:avLst/>
            </a:prstGeom>
            <a:ln w="22225">
              <a:gradFill>
                <a:gsLst>
                  <a:gs pos="0">
                    <a:schemeClr val="accent1"/>
                  </a:gs>
                  <a:gs pos="100000">
                    <a:schemeClr val="accent1">
                      <a:alpha val="0"/>
                    </a:schemeClr>
                  </a:gs>
                </a:gsLst>
                <a:lin ang="0" scaled="0"/>
              </a:gra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89573334"/>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流程图: 文档 2">
            <a:extLst>
              <a:ext uri="{FF2B5EF4-FFF2-40B4-BE49-F238E27FC236}">
                <a16:creationId xmlns:a16="http://schemas.microsoft.com/office/drawing/2014/main" id="{4BD050A8-B329-4F85-9DAD-A62520319D4F}"/>
              </a:ext>
            </a:extLst>
          </p:cNvPr>
          <p:cNvSpPr/>
          <p:nvPr/>
        </p:nvSpPr>
        <p:spPr>
          <a:xfrm>
            <a:off x="844550" y="0"/>
            <a:ext cx="10502900" cy="5867400"/>
          </a:xfrm>
          <a:prstGeom prst="flowChartDocumen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p>
        </p:txBody>
      </p:sp>
      <p:sp>
        <p:nvSpPr>
          <p:cNvPr id="11" name="文本框 10">
            <a:extLst>
              <a:ext uri="{FF2B5EF4-FFF2-40B4-BE49-F238E27FC236}">
                <a16:creationId xmlns:a16="http://schemas.microsoft.com/office/drawing/2014/main" id="{E4393356-E9A7-46D9-B5F5-0D21EC991A29}"/>
              </a:ext>
            </a:extLst>
          </p:cNvPr>
          <p:cNvSpPr txBox="1"/>
          <p:nvPr/>
        </p:nvSpPr>
        <p:spPr>
          <a:xfrm>
            <a:off x="1941017" y="2140347"/>
            <a:ext cx="8309967" cy="1107996"/>
          </a:xfrm>
          <a:prstGeom prst="rect">
            <a:avLst/>
          </a:prstGeom>
          <a:noFill/>
        </p:spPr>
        <p:txBody>
          <a:bodyPr wrap="none" lIns="0" tIns="0" rIns="0" bIns="0" rtlCol="0" anchor="t">
            <a:spAutoFit/>
          </a:bodyPr>
          <a:lstStyle/>
          <a:p>
            <a:pPr algn="ctr"/>
            <a:r>
              <a:rPr lang="zh-CN" altLang="en-US" sz="7200" dirty="0">
                <a:solidFill>
                  <a:schemeClr val="bg1"/>
                </a:solidFill>
                <a:latin typeface="+mj-ea"/>
                <a:ea typeface="+mj-ea"/>
              </a:rPr>
              <a:t>输入你的封面大标题</a:t>
            </a:r>
          </a:p>
        </p:txBody>
      </p:sp>
      <p:sp>
        <p:nvSpPr>
          <p:cNvPr id="12" name="文本框 11">
            <a:extLst>
              <a:ext uri="{FF2B5EF4-FFF2-40B4-BE49-F238E27FC236}">
                <a16:creationId xmlns:a16="http://schemas.microsoft.com/office/drawing/2014/main" id="{08D1ED60-C0E7-408E-A5AA-59B489440FCB}"/>
              </a:ext>
            </a:extLst>
          </p:cNvPr>
          <p:cNvSpPr txBox="1"/>
          <p:nvPr/>
        </p:nvSpPr>
        <p:spPr>
          <a:xfrm>
            <a:off x="4095451" y="1602423"/>
            <a:ext cx="4001095" cy="369332"/>
          </a:xfrm>
          <a:prstGeom prst="rect">
            <a:avLst/>
          </a:prstGeom>
          <a:noFill/>
        </p:spPr>
        <p:txBody>
          <a:bodyPr wrap="none" lIns="0" tIns="0" rIns="0" bIns="0" rtlCol="0" anchor="t">
            <a:spAutoFit/>
          </a:bodyPr>
          <a:lstStyle/>
          <a:p>
            <a:pPr algn="ctr"/>
            <a:r>
              <a:rPr lang="zh-CN" altLang="en-US" sz="2400" dirty="0">
                <a:solidFill>
                  <a:schemeClr val="bg1"/>
                </a:solidFill>
                <a:latin typeface="+mn-ea"/>
              </a:rPr>
              <a:t>输入你的副标题或大标题英文</a:t>
            </a:r>
          </a:p>
        </p:txBody>
      </p:sp>
      <p:cxnSp>
        <p:nvCxnSpPr>
          <p:cNvPr id="14" name="直接连接符 13">
            <a:extLst>
              <a:ext uri="{FF2B5EF4-FFF2-40B4-BE49-F238E27FC236}">
                <a16:creationId xmlns:a16="http://schemas.microsoft.com/office/drawing/2014/main" id="{99FDF5DC-EAFA-4C3B-B052-660243EB047F}"/>
              </a:ext>
            </a:extLst>
          </p:cNvPr>
          <p:cNvCxnSpPr/>
          <p:nvPr/>
        </p:nvCxnSpPr>
        <p:spPr>
          <a:xfrm flipH="1">
            <a:off x="2029968" y="1792875"/>
            <a:ext cx="1901952"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 name="直接连接符 14">
            <a:extLst>
              <a:ext uri="{FF2B5EF4-FFF2-40B4-BE49-F238E27FC236}">
                <a16:creationId xmlns:a16="http://schemas.microsoft.com/office/drawing/2014/main" id="{C6CC629A-E754-4728-BB95-563C56597B63}"/>
              </a:ext>
            </a:extLst>
          </p:cNvPr>
          <p:cNvCxnSpPr/>
          <p:nvPr/>
        </p:nvCxnSpPr>
        <p:spPr>
          <a:xfrm flipH="1">
            <a:off x="8284464" y="1792875"/>
            <a:ext cx="1901952"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grpSp>
        <p:nvGrpSpPr>
          <p:cNvPr id="18" name="组合 17">
            <a:extLst>
              <a:ext uri="{FF2B5EF4-FFF2-40B4-BE49-F238E27FC236}">
                <a16:creationId xmlns:a16="http://schemas.microsoft.com/office/drawing/2014/main" id="{FC799265-AC15-410F-82A2-679AB60B288F}"/>
              </a:ext>
            </a:extLst>
          </p:cNvPr>
          <p:cNvGrpSpPr/>
          <p:nvPr/>
        </p:nvGrpSpPr>
        <p:grpSpPr>
          <a:xfrm>
            <a:off x="4331702" y="3595814"/>
            <a:ext cx="1475214" cy="246221"/>
            <a:chOff x="4095451" y="4640913"/>
            <a:chExt cx="1475214" cy="246221"/>
          </a:xfrm>
        </p:grpSpPr>
        <p:sp>
          <p:nvSpPr>
            <p:cNvPr id="16" name="矩形 15">
              <a:extLst>
                <a:ext uri="{FF2B5EF4-FFF2-40B4-BE49-F238E27FC236}">
                  <a16:creationId xmlns:a16="http://schemas.microsoft.com/office/drawing/2014/main" id="{74C493E7-1B47-4349-BC5B-BF3163490795}"/>
                </a:ext>
              </a:extLst>
            </p:cNvPr>
            <p:cNvSpPr/>
            <p:nvPr/>
          </p:nvSpPr>
          <p:spPr>
            <a:xfrm>
              <a:off x="4095451" y="4672584"/>
              <a:ext cx="164592" cy="1645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solidFill>
                  <a:schemeClr val="bg1"/>
                </a:solidFill>
              </a:endParaRPr>
            </a:p>
          </p:txBody>
        </p:sp>
        <p:sp>
          <p:nvSpPr>
            <p:cNvPr id="17" name="文本框 16">
              <a:extLst>
                <a:ext uri="{FF2B5EF4-FFF2-40B4-BE49-F238E27FC236}">
                  <a16:creationId xmlns:a16="http://schemas.microsoft.com/office/drawing/2014/main" id="{B804F6AA-7656-4EF8-84F0-3B3FB5CF0922}"/>
                </a:ext>
              </a:extLst>
            </p:cNvPr>
            <p:cNvSpPr txBox="1"/>
            <p:nvPr/>
          </p:nvSpPr>
          <p:spPr>
            <a:xfrm>
              <a:off x="4408487" y="4640913"/>
              <a:ext cx="1162178" cy="246221"/>
            </a:xfrm>
            <a:prstGeom prst="rect">
              <a:avLst/>
            </a:prstGeom>
            <a:noFill/>
          </p:spPr>
          <p:txBody>
            <a:bodyPr wrap="none" lIns="0" tIns="0" rIns="0" bIns="0" rtlCol="0" anchor="t">
              <a:spAutoFit/>
            </a:bodyPr>
            <a:lstStyle/>
            <a:p>
              <a:r>
                <a:rPr lang="zh-CN" altLang="en-US" sz="1600" dirty="0">
                  <a:solidFill>
                    <a:schemeClr val="bg1"/>
                  </a:solidFill>
                  <a:latin typeface="+mn-ea"/>
                </a:rPr>
                <a:t>汇报人：</a:t>
              </a:r>
              <a:r>
                <a:rPr lang="en-US" altLang="zh-CN" sz="1600" dirty="0">
                  <a:solidFill>
                    <a:schemeClr val="bg1"/>
                  </a:solidFill>
                  <a:latin typeface="+mn-ea"/>
                </a:rPr>
                <a:t>xxx</a:t>
              </a:r>
              <a:endParaRPr lang="zh-CN" altLang="en-US" sz="1600" dirty="0">
                <a:solidFill>
                  <a:schemeClr val="bg1"/>
                </a:solidFill>
                <a:latin typeface="+mn-ea"/>
              </a:endParaRPr>
            </a:p>
          </p:txBody>
        </p:sp>
      </p:grpSp>
      <p:grpSp>
        <p:nvGrpSpPr>
          <p:cNvPr id="19" name="组合 18">
            <a:extLst>
              <a:ext uri="{FF2B5EF4-FFF2-40B4-BE49-F238E27FC236}">
                <a16:creationId xmlns:a16="http://schemas.microsoft.com/office/drawing/2014/main" id="{482B1619-178E-45D1-BC39-C5F4314075B6}"/>
              </a:ext>
            </a:extLst>
          </p:cNvPr>
          <p:cNvGrpSpPr/>
          <p:nvPr/>
        </p:nvGrpSpPr>
        <p:grpSpPr>
          <a:xfrm>
            <a:off x="6590270" y="3595814"/>
            <a:ext cx="1270029" cy="246221"/>
            <a:chOff x="4095451" y="4640913"/>
            <a:chExt cx="1270029" cy="246221"/>
          </a:xfrm>
        </p:grpSpPr>
        <p:sp>
          <p:nvSpPr>
            <p:cNvPr id="20" name="矩形 19">
              <a:extLst>
                <a:ext uri="{FF2B5EF4-FFF2-40B4-BE49-F238E27FC236}">
                  <a16:creationId xmlns:a16="http://schemas.microsoft.com/office/drawing/2014/main" id="{3A1AE345-38CE-49BE-9E58-2C20078777A3}"/>
                </a:ext>
              </a:extLst>
            </p:cNvPr>
            <p:cNvSpPr/>
            <p:nvPr/>
          </p:nvSpPr>
          <p:spPr>
            <a:xfrm>
              <a:off x="4095451" y="4672584"/>
              <a:ext cx="164592" cy="1645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solidFill>
                  <a:schemeClr val="bg1"/>
                </a:solidFill>
              </a:endParaRPr>
            </a:p>
          </p:txBody>
        </p:sp>
        <p:sp>
          <p:nvSpPr>
            <p:cNvPr id="21" name="文本框 20">
              <a:extLst>
                <a:ext uri="{FF2B5EF4-FFF2-40B4-BE49-F238E27FC236}">
                  <a16:creationId xmlns:a16="http://schemas.microsoft.com/office/drawing/2014/main" id="{FCC3031D-C171-43E7-B549-82FC96054817}"/>
                </a:ext>
              </a:extLst>
            </p:cNvPr>
            <p:cNvSpPr txBox="1"/>
            <p:nvPr/>
          </p:nvSpPr>
          <p:spPr>
            <a:xfrm>
              <a:off x="4408487" y="4640913"/>
              <a:ext cx="956993" cy="246221"/>
            </a:xfrm>
            <a:prstGeom prst="rect">
              <a:avLst/>
            </a:prstGeom>
            <a:noFill/>
          </p:spPr>
          <p:txBody>
            <a:bodyPr wrap="none" lIns="0" tIns="0" rIns="0" bIns="0" rtlCol="0" anchor="t">
              <a:spAutoFit/>
            </a:bodyPr>
            <a:lstStyle/>
            <a:p>
              <a:r>
                <a:rPr lang="zh-CN" altLang="en-US" sz="1600" dirty="0">
                  <a:solidFill>
                    <a:schemeClr val="bg1"/>
                  </a:solidFill>
                  <a:latin typeface="+mn-ea"/>
                </a:rPr>
                <a:t>单位：</a:t>
              </a:r>
              <a:r>
                <a:rPr lang="en-US" altLang="zh-CN" sz="1600" dirty="0">
                  <a:solidFill>
                    <a:schemeClr val="bg1"/>
                  </a:solidFill>
                  <a:latin typeface="+mn-ea"/>
                </a:rPr>
                <a:t>xxx</a:t>
              </a:r>
              <a:endParaRPr lang="zh-CN" altLang="en-US" sz="1600" dirty="0">
                <a:solidFill>
                  <a:schemeClr val="bg1"/>
                </a:solidFill>
                <a:latin typeface="+mn-ea"/>
              </a:endParaRPr>
            </a:p>
          </p:txBody>
        </p:sp>
      </p:grpSp>
      <p:cxnSp>
        <p:nvCxnSpPr>
          <p:cNvPr id="23" name="直接连接符 22">
            <a:extLst>
              <a:ext uri="{FF2B5EF4-FFF2-40B4-BE49-F238E27FC236}">
                <a16:creationId xmlns:a16="http://schemas.microsoft.com/office/drawing/2014/main" id="{CE4614EF-B88F-4347-B526-58ECE7F96194}"/>
              </a:ext>
            </a:extLst>
          </p:cNvPr>
          <p:cNvCxnSpPr>
            <a:cxnSpLocks/>
          </p:cNvCxnSpPr>
          <p:nvPr/>
        </p:nvCxnSpPr>
        <p:spPr>
          <a:xfrm flipH="1">
            <a:off x="2029968" y="3316875"/>
            <a:ext cx="8156448"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26" name="流程图: 文档 25">
            <a:extLst>
              <a:ext uri="{FF2B5EF4-FFF2-40B4-BE49-F238E27FC236}">
                <a16:creationId xmlns:a16="http://schemas.microsoft.com/office/drawing/2014/main" id="{68CECFA0-09C6-417A-9BBC-F8F17B114E29}"/>
              </a:ext>
            </a:extLst>
          </p:cNvPr>
          <p:cNvSpPr/>
          <p:nvPr/>
        </p:nvSpPr>
        <p:spPr>
          <a:xfrm>
            <a:off x="844550" y="4514829"/>
            <a:ext cx="10502900" cy="1087099"/>
          </a:xfrm>
          <a:custGeom>
            <a:avLst/>
            <a:gdLst>
              <a:gd name="connsiteX0" fmla="*/ 0 w 21600"/>
              <a:gd name="connsiteY0" fmla="*/ 0 h 21600"/>
              <a:gd name="connsiteX1" fmla="*/ 21600 w 21600"/>
              <a:gd name="connsiteY1" fmla="*/ 0 h 21600"/>
              <a:gd name="connsiteX2" fmla="*/ 21600 w 21600"/>
              <a:gd name="connsiteY2" fmla="*/ 17322 h 21600"/>
              <a:gd name="connsiteX3" fmla="*/ 0 w 21600"/>
              <a:gd name="connsiteY3" fmla="*/ 20172 h 21600"/>
              <a:gd name="connsiteX4" fmla="*/ 0 w 21600"/>
              <a:gd name="connsiteY4" fmla="*/ 0 h 21600"/>
              <a:gd name="connsiteX0" fmla="*/ 0 w 21600"/>
              <a:gd name="connsiteY0" fmla="*/ 0 h 21324"/>
              <a:gd name="connsiteX1" fmla="*/ 21600 w 21600"/>
              <a:gd name="connsiteY1" fmla="*/ 0 h 21324"/>
              <a:gd name="connsiteX2" fmla="*/ 21600 w 21600"/>
              <a:gd name="connsiteY2" fmla="*/ 17322 h 21324"/>
              <a:gd name="connsiteX3" fmla="*/ 0 w 21600"/>
              <a:gd name="connsiteY3" fmla="*/ 20172 h 21324"/>
              <a:gd name="connsiteX4" fmla="*/ 188 w 21600"/>
              <a:gd name="connsiteY4" fmla="*/ 337 h 21324"/>
              <a:gd name="connsiteX0" fmla="*/ 0 w 21600"/>
              <a:gd name="connsiteY0" fmla="*/ 0 h 21324"/>
              <a:gd name="connsiteX1" fmla="*/ 21600 w 21600"/>
              <a:gd name="connsiteY1" fmla="*/ 0 h 21324"/>
              <a:gd name="connsiteX2" fmla="*/ 21600 w 21600"/>
              <a:gd name="connsiteY2" fmla="*/ 17322 h 21324"/>
              <a:gd name="connsiteX3" fmla="*/ 0 w 21600"/>
              <a:gd name="connsiteY3" fmla="*/ 20172 h 21324"/>
              <a:gd name="connsiteX0" fmla="*/ 21600 w 21600"/>
              <a:gd name="connsiteY0" fmla="*/ 0 h 21324"/>
              <a:gd name="connsiteX1" fmla="*/ 21600 w 21600"/>
              <a:gd name="connsiteY1" fmla="*/ 17322 h 21324"/>
              <a:gd name="connsiteX2" fmla="*/ 0 w 21600"/>
              <a:gd name="connsiteY2" fmla="*/ 20172 h 21324"/>
              <a:gd name="connsiteX0" fmla="*/ 21600 w 21600"/>
              <a:gd name="connsiteY0" fmla="*/ 0 h 4002"/>
              <a:gd name="connsiteX1" fmla="*/ 0 w 21600"/>
              <a:gd name="connsiteY1" fmla="*/ 2850 h 4002"/>
            </a:gdLst>
            <a:ahLst/>
            <a:cxnLst>
              <a:cxn ang="0">
                <a:pos x="connsiteX0" y="connsiteY0"/>
              </a:cxn>
              <a:cxn ang="0">
                <a:pos x="connsiteX1" y="connsiteY1"/>
              </a:cxn>
            </a:cxnLst>
            <a:rect l="l" t="t" r="r" b="b"/>
            <a:pathLst>
              <a:path w="21600" h="4002">
                <a:moveTo>
                  <a:pt x="21600" y="0"/>
                </a:moveTo>
                <a:cubicBezTo>
                  <a:pt x="10800" y="0"/>
                  <a:pt x="10800" y="6600"/>
                  <a:pt x="0" y="2850"/>
                </a:cubicBezTo>
              </a:path>
            </a:pathLst>
          </a:cu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p>
        </p:txBody>
      </p:sp>
    </p:spTree>
    <p:extLst>
      <p:ext uri="{BB962C8B-B14F-4D97-AF65-F5344CB8AC3E}">
        <p14:creationId xmlns:p14="http://schemas.microsoft.com/office/powerpoint/2010/main" val="3638813636"/>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3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等腰三角形 17">
            <a:extLst>
              <a:ext uri="{FF2B5EF4-FFF2-40B4-BE49-F238E27FC236}">
                <a16:creationId xmlns:a16="http://schemas.microsoft.com/office/drawing/2014/main" id="{F4E7E109-CF08-4BEE-B0D0-48B36A0DE20C}"/>
              </a:ext>
            </a:extLst>
          </p:cNvPr>
          <p:cNvSpPr/>
          <p:nvPr/>
        </p:nvSpPr>
        <p:spPr>
          <a:xfrm rot="10800000">
            <a:off x="2403856" y="-2772174"/>
            <a:ext cx="7316020" cy="7828806"/>
          </a:xfrm>
          <a:prstGeom prst="triangle">
            <a:avLst/>
          </a:prstGeom>
          <a:noFill/>
          <a:ln w="381000">
            <a:solidFill>
              <a:schemeClr val="accent1">
                <a:alpha val="2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2" name="等腰三角形 1">
            <a:extLst>
              <a:ext uri="{FF2B5EF4-FFF2-40B4-BE49-F238E27FC236}">
                <a16:creationId xmlns:a16="http://schemas.microsoft.com/office/drawing/2014/main" id="{B2937A99-35CB-4C52-8209-575E07C51064}"/>
              </a:ext>
            </a:extLst>
          </p:cNvPr>
          <p:cNvSpPr/>
          <p:nvPr/>
        </p:nvSpPr>
        <p:spPr>
          <a:xfrm rot="10800000">
            <a:off x="2403856" y="-2936766"/>
            <a:ext cx="7316020" cy="7828806"/>
          </a:xfrm>
          <a:prstGeom prst="triangle">
            <a:avLst/>
          </a:prstGeom>
          <a:noFill/>
          <a:ln w="3810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3" name="文本框 2">
            <a:extLst>
              <a:ext uri="{FF2B5EF4-FFF2-40B4-BE49-F238E27FC236}">
                <a16:creationId xmlns:a16="http://schemas.microsoft.com/office/drawing/2014/main" id="{F4B325C7-C09B-4ED4-8A57-CBD25C7F84BA}"/>
              </a:ext>
            </a:extLst>
          </p:cNvPr>
          <p:cNvSpPr txBox="1"/>
          <p:nvPr/>
        </p:nvSpPr>
        <p:spPr>
          <a:xfrm flipH="1">
            <a:off x="4364759" y="1395320"/>
            <a:ext cx="3462487" cy="830997"/>
          </a:xfrm>
          <a:prstGeom prst="rect">
            <a:avLst/>
          </a:prstGeom>
          <a:noFill/>
        </p:spPr>
        <p:txBody>
          <a:bodyPr wrap="none" lIns="0" tIns="0" rIns="0" bIns="0" rtlCol="0" anchor="t">
            <a:spAutoFit/>
          </a:bodyPr>
          <a:lstStyle/>
          <a:p>
            <a:pPr algn="ctr"/>
            <a:r>
              <a:rPr lang="zh-CN" altLang="en-US" sz="5400" dirty="0">
                <a:solidFill>
                  <a:schemeClr val="accent1"/>
                </a:solidFill>
                <a:latin typeface="+mj-ea"/>
                <a:ea typeface="+mj-ea"/>
              </a:rPr>
              <a:t>关键词标题</a:t>
            </a:r>
          </a:p>
        </p:txBody>
      </p:sp>
      <p:grpSp>
        <p:nvGrpSpPr>
          <p:cNvPr id="10" name="组合 9">
            <a:extLst>
              <a:ext uri="{FF2B5EF4-FFF2-40B4-BE49-F238E27FC236}">
                <a16:creationId xmlns:a16="http://schemas.microsoft.com/office/drawing/2014/main" id="{3C24FF78-2929-43BD-88CA-D6B0B64C0346}"/>
              </a:ext>
            </a:extLst>
          </p:cNvPr>
          <p:cNvGrpSpPr/>
          <p:nvPr/>
        </p:nvGrpSpPr>
        <p:grpSpPr>
          <a:xfrm>
            <a:off x="976897" y="2684455"/>
            <a:ext cx="4077957" cy="2550089"/>
            <a:chOff x="976897" y="2684455"/>
            <a:chExt cx="4077957" cy="2550089"/>
          </a:xfrm>
        </p:grpSpPr>
        <p:sp>
          <p:nvSpPr>
            <p:cNvPr id="4" name="文本框 3">
              <a:extLst>
                <a:ext uri="{FF2B5EF4-FFF2-40B4-BE49-F238E27FC236}">
                  <a16:creationId xmlns:a16="http://schemas.microsoft.com/office/drawing/2014/main" id="{B0213FB0-68EC-4054-8398-BED8894E66FD}"/>
                </a:ext>
              </a:extLst>
            </p:cNvPr>
            <p:cNvSpPr txBox="1"/>
            <p:nvPr/>
          </p:nvSpPr>
          <p:spPr>
            <a:xfrm flipH="1">
              <a:off x="976897" y="3213849"/>
              <a:ext cx="3077766" cy="464807"/>
            </a:xfrm>
            <a:prstGeom prst="rect">
              <a:avLst/>
            </a:prstGeom>
            <a:noFill/>
          </p:spPr>
          <p:txBody>
            <a:bodyPr wrap="square" lIns="0" tIns="0" rIns="0" bIns="0" rtlCol="0" anchor="t">
              <a:spAutoFit/>
            </a:bodyPr>
            <a:lstStyle/>
            <a:p>
              <a:pPr algn="r">
                <a:lnSpc>
                  <a:spcPct val="130000"/>
                </a:lnSpc>
              </a:pPr>
              <a:r>
                <a:rPr lang="en-US" altLang="zh-CN" sz="1200" b="0" dirty="0">
                  <a:solidFill>
                    <a:schemeClr val="tx1">
                      <a:lumMod val="75000"/>
                      <a:lumOff val="25000"/>
                    </a:schemeClr>
                  </a:solidFill>
                  <a:effectLst/>
                  <a:latin typeface="+mn-ea"/>
                </a:rPr>
                <a:t>Lorem ipsum dolor sit amet, consectetur adipisicing elit, sed do eiusmod tempor</a:t>
              </a:r>
              <a:endParaRPr lang="zh-CN" altLang="en-US" sz="1200" b="0" dirty="0">
                <a:solidFill>
                  <a:schemeClr val="tx1">
                    <a:lumMod val="75000"/>
                    <a:lumOff val="25000"/>
                  </a:schemeClr>
                </a:solidFill>
                <a:effectLst/>
                <a:latin typeface="+mn-ea"/>
              </a:endParaRPr>
            </a:p>
          </p:txBody>
        </p:sp>
        <p:sp>
          <p:nvSpPr>
            <p:cNvPr id="5" name="文本框 4">
              <a:extLst>
                <a:ext uri="{FF2B5EF4-FFF2-40B4-BE49-F238E27FC236}">
                  <a16:creationId xmlns:a16="http://schemas.microsoft.com/office/drawing/2014/main" id="{B0BB2358-3017-4693-99DB-FE7E59D39261}"/>
                </a:ext>
              </a:extLst>
            </p:cNvPr>
            <p:cNvSpPr txBox="1"/>
            <p:nvPr/>
          </p:nvSpPr>
          <p:spPr>
            <a:xfrm flipH="1">
              <a:off x="2472124" y="2736110"/>
              <a:ext cx="1538883" cy="369332"/>
            </a:xfrm>
            <a:prstGeom prst="rect">
              <a:avLst/>
            </a:prstGeom>
            <a:noFill/>
          </p:spPr>
          <p:txBody>
            <a:bodyPr wrap="none" lIns="0" tIns="0" rIns="0" bIns="0" rtlCol="0" anchor="t">
              <a:spAutoFit/>
            </a:bodyPr>
            <a:lstStyle/>
            <a:p>
              <a:pPr algn="r"/>
              <a:r>
                <a:rPr lang="zh-CN" altLang="en-US" sz="2400" dirty="0">
                  <a:solidFill>
                    <a:schemeClr val="accent1"/>
                  </a:solidFill>
                  <a:latin typeface="+mj-ea"/>
                  <a:ea typeface="+mj-ea"/>
                </a:rPr>
                <a:t>关键词标题</a:t>
              </a:r>
            </a:p>
          </p:txBody>
        </p:sp>
        <p:sp>
          <p:nvSpPr>
            <p:cNvPr id="6" name="平行四边形 5">
              <a:extLst>
                <a:ext uri="{FF2B5EF4-FFF2-40B4-BE49-F238E27FC236}">
                  <a16:creationId xmlns:a16="http://schemas.microsoft.com/office/drawing/2014/main" id="{7D3E188F-08B1-4189-BB57-B1ED8B916C07}"/>
                </a:ext>
              </a:extLst>
            </p:cNvPr>
            <p:cNvSpPr/>
            <p:nvPr/>
          </p:nvSpPr>
          <p:spPr>
            <a:xfrm>
              <a:off x="1279767" y="2684455"/>
              <a:ext cx="2911487" cy="464807"/>
            </a:xfrm>
            <a:prstGeom prst="parallelogram">
              <a:avLst>
                <a:gd name="adj" fmla="val 27269"/>
              </a:avLst>
            </a:prstGeom>
            <a:noFill/>
            <a:ln w="22225">
              <a:gradFill>
                <a:gsLst>
                  <a:gs pos="18000">
                    <a:schemeClr val="accent1">
                      <a:alpha val="0"/>
                    </a:schemeClr>
                  </a:gs>
                  <a:gs pos="100000">
                    <a:schemeClr val="accent1"/>
                  </a:gs>
                </a:gsLst>
                <a:lin ang="0" scaled="0"/>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zh-CN" altLang="en-US" sz="1600">
                <a:solidFill>
                  <a:schemeClr val="bg1"/>
                </a:solidFill>
                <a:latin typeface="+mj-ea"/>
                <a:ea typeface="+mj-ea"/>
              </a:endParaRPr>
            </a:p>
          </p:txBody>
        </p:sp>
        <p:sp>
          <p:nvSpPr>
            <p:cNvPr id="7" name="文本框 6">
              <a:extLst>
                <a:ext uri="{FF2B5EF4-FFF2-40B4-BE49-F238E27FC236}">
                  <a16:creationId xmlns:a16="http://schemas.microsoft.com/office/drawing/2014/main" id="{9D4FBA84-03AB-493A-894A-36EF0A9364C3}"/>
                </a:ext>
              </a:extLst>
            </p:cNvPr>
            <p:cNvSpPr txBox="1"/>
            <p:nvPr/>
          </p:nvSpPr>
          <p:spPr>
            <a:xfrm flipH="1">
              <a:off x="1840497" y="4769737"/>
              <a:ext cx="3077766" cy="464807"/>
            </a:xfrm>
            <a:prstGeom prst="rect">
              <a:avLst/>
            </a:prstGeom>
            <a:noFill/>
          </p:spPr>
          <p:txBody>
            <a:bodyPr wrap="square" lIns="0" tIns="0" rIns="0" bIns="0" rtlCol="0" anchor="t">
              <a:spAutoFit/>
            </a:bodyPr>
            <a:lstStyle/>
            <a:p>
              <a:pPr algn="r">
                <a:lnSpc>
                  <a:spcPct val="130000"/>
                </a:lnSpc>
              </a:pPr>
              <a:r>
                <a:rPr lang="en-US" altLang="zh-CN" sz="1200" b="0" dirty="0">
                  <a:solidFill>
                    <a:schemeClr val="tx1">
                      <a:lumMod val="75000"/>
                      <a:lumOff val="25000"/>
                    </a:schemeClr>
                  </a:solidFill>
                  <a:effectLst/>
                  <a:latin typeface="+mn-ea"/>
                </a:rPr>
                <a:t>Lorem ipsum dolor sit amet, consectetur adipisicing elit, sed do eiusmod tempor</a:t>
              </a:r>
              <a:endParaRPr lang="zh-CN" altLang="en-US" sz="1200" b="0" dirty="0">
                <a:solidFill>
                  <a:schemeClr val="tx1">
                    <a:lumMod val="75000"/>
                    <a:lumOff val="25000"/>
                  </a:schemeClr>
                </a:solidFill>
                <a:effectLst/>
                <a:latin typeface="+mn-ea"/>
              </a:endParaRPr>
            </a:p>
          </p:txBody>
        </p:sp>
        <p:sp>
          <p:nvSpPr>
            <p:cNvPr id="8" name="文本框 7">
              <a:extLst>
                <a:ext uri="{FF2B5EF4-FFF2-40B4-BE49-F238E27FC236}">
                  <a16:creationId xmlns:a16="http://schemas.microsoft.com/office/drawing/2014/main" id="{64CDC2CD-1A03-4204-B30A-CE6A9EE0D82E}"/>
                </a:ext>
              </a:extLst>
            </p:cNvPr>
            <p:cNvSpPr txBox="1"/>
            <p:nvPr/>
          </p:nvSpPr>
          <p:spPr>
            <a:xfrm flipH="1">
              <a:off x="3335724" y="4291998"/>
              <a:ext cx="1538883" cy="369332"/>
            </a:xfrm>
            <a:prstGeom prst="rect">
              <a:avLst/>
            </a:prstGeom>
            <a:noFill/>
          </p:spPr>
          <p:txBody>
            <a:bodyPr wrap="none" lIns="0" tIns="0" rIns="0" bIns="0" rtlCol="0" anchor="t">
              <a:spAutoFit/>
            </a:bodyPr>
            <a:lstStyle/>
            <a:p>
              <a:pPr algn="r"/>
              <a:r>
                <a:rPr lang="zh-CN" altLang="en-US" sz="2400" dirty="0">
                  <a:solidFill>
                    <a:schemeClr val="accent1"/>
                  </a:solidFill>
                  <a:latin typeface="+mj-ea"/>
                  <a:ea typeface="+mj-ea"/>
                </a:rPr>
                <a:t>关键词标题</a:t>
              </a:r>
            </a:p>
          </p:txBody>
        </p:sp>
        <p:sp>
          <p:nvSpPr>
            <p:cNvPr id="9" name="平行四边形 8">
              <a:extLst>
                <a:ext uri="{FF2B5EF4-FFF2-40B4-BE49-F238E27FC236}">
                  <a16:creationId xmlns:a16="http://schemas.microsoft.com/office/drawing/2014/main" id="{F4B0B013-86B9-47F1-B39D-F91609CC4C83}"/>
                </a:ext>
              </a:extLst>
            </p:cNvPr>
            <p:cNvSpPr/>
            <p:nvPr/>
          </p:nvSpPr>
          <p:spPr>
            <a:xfrm>
              <a:off x="2143367" y="4240343"/>
              <a:ext cx="2911487" cy="464807"/>
            </a:xfrm>
            <a:prstGeom prst="parallelogram">
              <a:avLst>
                <a:gd name="adj" fmla="val 27269"/>
              </a:avLst>
            </a:prstGeom>
            <a:noFill/>
            <a:ln w="22225">
              <a:gradFill>
                <a:gsLst>
                  <a:gs pos="18000">
                    <a:schemeClr val="accent1">
                      <a:alpha val="0"/>
                    </a:schemeClr>
                  </a:gs>
                  <a:gs pos="100000">
                    <a:schemeClr val="accent1"/>
                  </a:gs>
                </a:gsLst>
                <a:lin ang="0" scaled="0"/>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zh-CN" altLang="en-US" sz="1600">
                <a:solidFill>
                  <a:schemeClr val="bg1"/>
                </a:solidFill>
                <a:latin typeface="+mj-ea"/>
                <a:ea typeface="+mj-ea"/>
              </a:endParaRPr>
            </a:p>
          </p:txBody>
        </p:sp>
      </p:grpSp>
      <p:sp>
        <p:nvSpPr>
          <p:cNvPr id="12" name="文本框 11">
            <a:extLst>
              <a:ext uri="{FF2B5EF4-FFF2-40B4-BE49-F238E27FC236}">
                <a16:creationId xmlns:a16="http://schemas.microsoft.com/office/drawing/2014/main" id="{A9A532AC-C71B-46AF-9850-8B1872525BAE}"/>
              </a:ext>
            </a:extLst>
          </p:cNvPr>
          <p:cNvSpPr txBox="1"/>
          <p:nvPr/>
        </p:nvSpPr>
        <p:spPr>
          <a:xfrm>
            <a:off x="7963837" y="3213849"/>
            <a:ext cx="3077766" cy="464807"/>
          </a:xfrm>
          <a:prstGeom prst="rect">
            <a:avLst/>
          </a:prstGeom>
          <a:noFill/>
        </p:spPr>
        <p:txBody>
          <a:bodyPr wrap="square" lIns="0" tIns="0" rIns="0" bIns="0" rtlCol="0" anchor="t">
            <a:spAutoFit/>
          </a:bodyPr>
          <a:lstStyle/>
          <a:p>
            <a:pPr>
              <a:lnSpc>
                <a:spcPct val="130000"/>
              </a:lnSpc>
            </a:pPr>
            <a:r>
              <a:rPr lang="en-US" altLang="zh-CN" sz="1200" b="0" dirty="0">
                <a:solidFill>
                  <a:schemeClr val="tx1">
                    <a:lumMod val="75000"/>
                    <a:lumOff val="25000"/>
                  </a:schemeClr>
                </a:solidFill>
                <a:effectLst/>
                <a:latin typeface="+mn-ea"/>
              </a:rPr>
              <a:t>Lorem ipsum dolor sit amet, consectetur adipisicing elit, sed do eiusmod tempor</a:t>
            </a:r>
            <a:endParaRPr lang="zh-CN" altLang="en-US" sz="1200" b="0" dirty="0">
              <a:solidFill>
                <a:schemeClr val="tx1">
                  <a:lumMod val="75000"/>
                  <a:lumOff val="25000"/>
                </a:schemeClr>
              </a:solidFill>
              <a:effectLst/>
              <a:latin typeface="+mn-ea"/>
            </a:endParaRPr>
          </a:p>
        </p:txBody>
      </p:sp>
      <p:sp>
        <p:nvSpPr>
          <p:cNvPr id="13" name="文本框 12">
            <a:extLst>
              <a:ext uri="{FF2B5EF4-FFF2-40B4-BE49-F238E27FC236}">
                <a16:creationId xmlns:a16="http://schemas.microsoft.com/office/drawing/2014/main" id="{CB08EC08-A471-4428-A8CE-635D6A735750}"/>
              </a:ext>
            </a:extLst>
          </p:cNvPr>
          <p:cNvSpPr txBox="1"/>
          <p:nvPr/>
        </p:nvSpPr>
        <p:spPr>
          <a:xfrm>
            <a:off x="8007493" y="2736110"/>
            <a:ext cx="1538883" cy="369332"/>
          </a:xfrm>
          <a:prstGeom prst="rect">
            <a:avLst/>
          </a:prstGeom>
          <a:noFill/>
        </p:spPr>
        <p:txBody>
          <a:bodyPr wrap="none" lIns="0" tIns="0" rIns="0" bIns="0" rtlCol="0" anchor="t">
            <a:spAutoFit/>
          </a:bodyPr>
          <a:lstStyle/>
          <a:p>
            <a:r>
              <a:rPr lang="zh-CN" altLang="en-US" sz="2400" dirty="0">
                <a:solidFill>
                  <a:schemeClr val="accent1"/>
                </a:solidFill>
                <a:latin typeface="+mj-ea"/>
                <a:ea typeface="+mj-ea"/>
              </a:rPr>
              <a:t>关键词标题</a:t>
            </a:r>
          </a:p>
        </p:txBody>
      </p:sp>
      <p:sp>
        <p:nvSpPr>
          <p:cNvPr id="14" name="平行四边形 13">
            <a:extLst>
              <a:ext uri="{FF2B5EF4-FFF2-40B4-BE49-F238E27FC236}">
                <a16:creationId xmlns:a16="http://schemas.microsoft.com/office/drawing/2014/main" id="{307268DE-C1C4-456B-BA43-578D9FE495BC}"/>
              </a:ext>
            </a:extLst>
          </p:cNvPr>
          <p:cNvSpPr/>
          <p:nvPr/>
        </p:nvSpPr>
        <p:spPr>
          <a:xfrm flipH="1">
            <a:off x="7827246" y="2684455"/>
            <a:ext cx="2911487" cy="464807"/>
          </a:xfrm>
          <a:prstGeom prst="parallelogram">
            <a:avLst>
              <a:gd name="adj" fmla="val 27269"/>
            </a:avLst>
          </a:prstGeom>
          <a:noFill/>
          <a:ln w="22225">
            <a:gradFill>
              <a:gsLst>
                <a:gs pos="18000">
                  <a:schemeClr val="accent1">
                    <a:alpha val="0"/>
                  </a:schemeClr>
                </a:gs>
                <a:gs pos="100000">
                  <a:schemeClr val="accent1"/>
                </a:gs>
              </a:gsLst>
              <a:lin ang="0" scaled="0"/>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zh-CN" altLang="en-US" sz="1600">
              <a:solidFill>
                <a:schemeClr val="bg1"/>
              </a:solidFill>
              <a:latin typeface="+mj-ea"/>
              <a:ea typeface="+mj-ea"/>
            </a:endParaRPr>
          </a:p>
        </p:txBody>
      </p:sp>
      <p:sp>
        <p:nvSpPr>
          <p:cNvPr id="15" name="文本框 14">
            <a:extLst>
              <a:ext uri="{FF2B5EF4-FFF2-40B4-BE49-F238E27FC236}">
                <a16:creationId xmlns:a16="http://schemas.microsoft.com/office/drawing/2014/main" id="{2D935C67-C577-4EC9-926C-1F22FFC18B74}"/>
              </a:ext>
            </a:extLst>
          </p:cNvPr>
          <p:cNvSpPr txBox="1"/>
          <p:nvPr/>
        </p:nvSpPr>
        <p:spPr>
          <a:xfrm>
            <a:off x="7100237" y="4769737"/>
            <a:ext cx="3077766" cy="464807"/>
          </a:xfrm>
          <a:prstGeom prst="rect">
            <a:avLst/>
          </a:prstGeom>
          <a:noFill/>
        </p:spPr>
        <p:txBody>
          <a:bodyPr wrap="square" lIns="0" tIns="0" rIns="0" bIns="0" rtlCol="0" anchor="t">
            <a:spAutoFit/>
          </a:bodyPr>
          <a:lstStyle/>
          <a:p>
            <a:pPr>
              <a:lnSpc>
                <a:spcPct val="130000"/>
              </a:lnSpc>
            </a:pPr>
            <a:r>
              <a:rPr lang="en-US" altLang="zh-CN" sz="1200" b="0" dirty="0">
                <a:solidFill>
                  <a:schemeClr val="tx1">
                    <a:lumMod val="75000"/>
                    <a:lumOff val="25000"/>
                  </a:schemeClr>
                </a:solidFill>
                <a:effectLst/>
                <a:latin typeface="+mn-ea"/>
              </a:rPr>
              <a:t>Lorem ipsum dolor sit amet, consectetur adipisicing elit, sed do eiusmod tempor</a:t>
            </a:r>
            <a:endParaRPr lang="zh-CN" altLang="en-US" sz="1200" b="0" dirty="0">
              <a:solidFill>
                <a:schemeClr val="tx1">
                  <a:lumMod val="75000"/>
                  <a:lumOff val="25000"/>
                </a:schemeClr>
              </a:solidFill>
              <a:effectLst/>
              <a:latin typeface="+mn-ea"/>
            </a:endParaRPr>
          </a:p>
        </p:txBody>
      </p:sp>
      <p:sp>
        <p:nvSpPr>
          <p:cNvPr id="16" name="文本框 15">
            <a:extLst>
              <a:ext uri="{FF2B5EF4-FFF2-40B4-BE49-F238E27FC236}">
                <a16:creationId xmlns:a16="http://schemas.microsoft.com/office/drawing/2014/main" id="{E258A5C3-536D-4074-8938-5BC12A50EDA8}"/>
              </a:ext>
            </a:extLst>
          </p:cNvPr>
          <p:cNvSpPr txBox="1"/>
          <p:nvPr/>
        </p:nvSpPr>
        <p:spPr>
          <a:xfrm>
            <a:off x="7143893" y="4291998"/>
            <a:ext cx="1538883" cy="369332"/>
          </a:xfrm>
          <a:prstGeom prst="rect">
            <a:avLst/>
          </a:prstGeom>
          <a:noFill/>
        </p:spPr>
        <p:txBody>
          <a:bodyPr wrap="none" lIns="0" tIns="0" rIns="0" bIns="0" rtlCol="0" anchor="t">
            <a:spAutoFit/>
          </a:bodyPr>
          <a:lstStyle/>
          <a:p>
            <a:r>
              <a:rPr lang="zh-CN" altLang="en-US" sz="2400" dirty="0">
                <a:solidFill>
                  <a:schemeClr val="accent1"/>
                </a:solidFill>
                <a:latin typeface="+mj-ea"/>
                <a:ea typeface="+mj-ea"/>
              </a:rPr>
              <a:t>关键词标题</a:t>
            </a:r>
          </a:p>
        </p:txBody>
      </p:sp>
      <p:sp>
        <p:nvSpPr>
          <p:cNvPr id="17" name="平行四边形 16">
            <a:extLst>
              <a:ext uri="{FF2B5EF4-FFF2-40B4-BE49-F238E27FC236}">
                <a16:creationId xmlns:a16="http://schemas.microsoft.com/office/drawing/2014/main" id="{6A910929-AB1D-4A30-9479-D5E4D8BB3544}"/>
              </a:ext>
            </a:extLst>
          </p:cNvPr>
          <p:cNvSpPr/>
          <p:nvPr/>
        </p:nvSpPr>
        <p:spPr>
          <a:xfrm flipH="1">
            <a:off x="6963646" y="4240343"/>
            <a:ext cx="2911487" cy="464807"/>
          </a:xfrm>
          <a:prstGeom prst="parallelogram">
            <a:avLst>
              <a:gd name="adj" fmla="val 27269"/>
            </a:avLst>
          </a:prstGeom>
          <a:noFill/>
          <a:ln w="22225">
            <a:gradFill>
              <a:gsLst>
                <a:gs pos="18000">
                  <a:schemeClr val="accent1">
                    <a:alpha val="0"/>
                  </a:schemeClr>
                </a:gs>
                <a:gs pos="100000">
                  <a:schemeClr val="accent1"/>
                </a:gs>
              </a:gsLst>
              <a:lin ang="0" scaled="0"/>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zh-CN" altLang="en-US" sz="1600">
              <a:solidFill>
                <a:schemeClr val="bg1"/>
              </a:solidFill>
              <a:latin typeface="+mj-ea"/>
              <a:ea typeface="+mj-ea"/>
            </a:endParaRPr>
          </a:p>
        </p:txBody>
      </p:sp>
      <p:sp>
        <p:nvSpPr>
          <p:cNvPr id="19" name="等腰三角形 18">
            <a:extLst>
              <a:ext uri="{FF2B5EF4-FFF2-40B4-BE49-F238E27FC236}">
                <a16:creationId xmlns:a16="http://schemas.microsoft.com/office/drawing/2014/main" id="{587F1AF8-7328-4658-B53C-69484CECE577}"/>
              </a:ext>
            </a:extLst>
          </p:cNvPr>
          <p:cNvSpPr/>
          <p:nvPr/>
        </p:nvSpPr>
        <p:spPr>
          <a:xfrm rot="10800000">
            <a:off x="5229446" y="-736088"/>
            <a:ext cx="1664840" cy="1781530"/>
          </a:xfrm>
          <a:prstGeom prst="triangle">
            <a:avLst/>
          </a:prstGeom>
          <a:solidFill>
            <a:schemeClr val="accent1"/>
          </a:solidFill>
          <a:ln w="3810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Tree>
    <p:extLst>
      <p:ext uri="{BB962C8B-B14F-4D97-AF65-F5344CB8AC3E}">
        <p14:creationId xmlns:p14="http://schemas.microsoft.com/office/powerpoint/2010/main" val="62619341"/>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3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椭圆 13">
            <a:extLst>
              <a:ext uri="{FF2B5EF4-FFF2-40B4-BE49-F238E27FC236}">
                <a16:creationId xmlns:a16="http://schemas.microsoft.com/office/drawing/2014/main" id="{D3E8EE68-36DE-B547-B506-83FD6571B850}"/>
              </a:ext>
            </a:extLst>
          </p:cNvPr>
          <p:cNvSpPr/>
          <p:nvPr/>
        </p:nvSpPr>
        <p:spPr>
          <a:xfrm>
            <a:off x="4759026" y="2092026"/>
            <a:ext cx="2673948" cy="2673948"/>
          </a:xfrm>
          <a:prstGeom prst="ellipse">
            <a:avLst/>
          </a:prstGeom>
          <a:solidFill>
            <a:schemeClr val="accent1">
              <a:alpha val="10000"/>
            </a:schemeClr>
          </a:solidFill>
          <a:ln>
            <a:noFill/>
            <a:prstDash val="lgDash"/>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dirty="0">
              <a:solidFill>
                <a:schemeClr val="bg1"/>
              </a:solidFill>
              <a:latin typeface="+mj-ea"/>
              <a:ea typeface="+mj-ea"/>
            </a:endParaRPr>
          </a:p>
        </p:txBody>
      </p:sp>
      <p:sp>
        <p:nvSpPr>
          <p:cNvPr id="12" name="椭圆 11">
            <a:extLst>
              <a:ext uri="{FF2B5EF4-FFF2-40B4-BE49-F238E27FC236}">
                <a16:creationId xmlns:a16="http://schemas.microsoft.com/office/drawing/2014/main" id="{9D905ADA-9431-E04B-90E9-4E8F533E02B2}"/>
              </a:ext>
            </a:extLst>
          </p:cNvPr>
          <p:cNvSpPr/>
          <p:nvPr/>
        </p:nvSpPr>
        <p:spPr>
          <a:xfrm>
            <a:off x="5106196" y="2414064"/>
            <a:ext cx="1979607" cy="1979607"/>
          </a:xfrm>
          <a:prstGeom prst="ellipse">
            <a:avLst/>
          </a:prstGeom>
          <a:solidFill>
            <a:schemeClr val="accent1">
              <a:alpha val="30000"/>
            </a:schemeClr>
          </a:solidFill>
          <a:ln>
            <a:noFill/>
            <a:prstDash val="lgDash"/>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dirty="0">
              <a:solidFill>
                <a:schemeClr val="bg1"/>
              </a:solidFill>
              <a:latin typeface="+mj-ea"/>
              <a:ea typeface="+mj-ea"/>
            </a:endParaRPr>
          </a:p>
        </p:txBody>
      </p:sp>
      <p:sp>
        <p:nvSpPr>
          <p:cNvPr id="3" name="椭圆 2">
            <a:extLst>
              <a:ext uri="{FF2B5EF4-FFF2-40B4-BE49-F238E27FC236}">
                <a16:creationId xmlns:a16="http://schemas.microsoft.com/office/drawing/2014/main" id="{444C2F0F-06A5-A64D-9B83-067B6E8FEEFD}"/>
              </a:ext>
            </a:extLst>
          </p:cNvPr>
          <p:cNvSpPr/>
          <p:nvPr/>
        </p:nvSpPr>
        <p:spPr>
          <a:xfrm>
            <a:off x="5341644" y="2634252"/>
            <a:ext cx="1508712" cy="1508712"/>
          </a:xfrm>
          <a:prstGeom prst="ellipse">
            <a:avLst/>
          </a:prstGeom>
          <a:solidFill>
            <a:schemeClr val="accent1"/>
          </a:solidFill>
          <a:ln>
            <a:noFill/>
            <a:prstDash val="lgDash"/>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10" name="user_209046">
            <a:extLst>
              <a:ext uri="{FF2B5EF4-FFF2-40B4-BE49-F238E27FC236}">
                <a16:creationId xmlns:a16="http://schemas.microsoft.com/office/drawing/2014/main" id="{6A0DE7B2-79CB-4340-B5FA-5496F685E55B}"/>
              </a:ext>
            </a:extLst>
          </p:cNvPr>
          <p:cNvSpPr/>
          <p:nvPr/>
        </p:nvSpPr>
        <p:spPr>
          <a:xfrm>
            <a:off x="5921627" y="2905969"/>
            <a:ext cx="467162" cy="421266"/>
          </a:xfrm>
          <a:custGeom>
            <a:avLst/>
            <a:gdLst>
              <a:gd name="connsiteX0" fmla="*/ 521432 w 608344"/>
              <a:gd name="connsiteY0" fmla="*/ 370453 h 548582"/>
              <a:gd name="connsiteX1" fmla="*/ 465737 w 608344"/>
              <a:gd name="connsiteY1" fmla="*/ 425787 h 548582"/>
              <a:gd name="connsiteX2" fmla="*/ 442491 w 608344"/>
              <a:gd name="connsiteY2" fmla="*/ 402479 h 548582"/>
              <a:gd name="connsiteX3" fmla="*/ 418201 w 608344"/>
              <a:gd name="connsiteY3" fmla="*/ 426545 h 548582"/>
              <a:gd name="connsiteX4" fmla="*/ 441447 w 608344"/>
              <a:gd name="connsiteY4" fmla="*/ 449948 h 548582"/>
              <a:gd name="connsiteX5" fmla="*/ 465642 w 608344"/>
              <a:gd name="connsiteY5" fmla="*/ 474204 h 548582"/>
              <a:gd name="connsiteX6" fmla="*/ 489932 w 608344"/>
              <a:gd name="connsiteY6" fmla="*/ 450043 h 548582"/>
              <a:gd name="connsiteX7" fmla="*/ 545532 w 608344"/>
              <a:gd name="connsiteY7" fmla="*/ 394709 h 548582"/>
              <a:gd name="connsiteX8" fmla="*/ 481962 w 608344"/>
              <a:gd name="connsiteY8" fmla="*/ 296170 h 548582"/>
              <a:gd name="connsiteX9" fmla="*/ 608344 w 608344"/>
              <a:gd name="connsiteY9" fmla="*/ 422376 h 548582"/>
              <a:gd name="connsiteX10" fmla="*/ 481962 w 608344"/>
              <a:gd name="connsiteY10" fmla="*/ 548582 h 548582"/>
              <a:gd name="connsiteX11" fmla="*/ 355579 w 608344"/>
              <a:gd name="connsiteY11" fmla="*/ 422376 h 548582"/>
              <a:gd name="connsiteX12" fmla="*/ 481962 w 608344"/>
              <a:gd name="connsiteY12" fmla="*/ 296170 h 548582"/>
              <a:gd name="connsiteX13" fmla="*/ 255835 w 608344"/>
              <a:gd name="connsiteY13" fmla="*/ 446 h 548582"/>
              <a:gd name="connsiteX14" fmla="*/ 317801 w 608344"/>
              <a:gd name="connsiteY14" fmla="*/ 13616 h 548582"/>
              <a:gd name="connsiteX15" fmla="*/ 348072 w 608344"/>
              <a:gd name="connsiteY15" fmla="*/ 41661 h 548582"/>
              <a:gd name="connsiteX16" fmla="*/ 381190 w 608344"/>
              <a:gd name="connsiteY16" fmla="*/ 146831 h 548582"/>
              <a:gd name="connsiteX17" fmla="*/ 378913 w 608344"/>
              <a:gd name="connsiteY17" fmla="*/ 156211 h 548582"/>
              <a:gd name="connsiteX18" fmla="*/ 387833 w 608344"/>
              <a:gd name="connsiteY18" fmla="*/ 200458 h 548582"/>
              <a:gd name="connsiteX19" fmla="*/ 366387 w 608344"/>
              <a:gd name="connsiteY19" fmla="*/ 237694 h 548582"/>
              <a:gd name="connsiteX20" fmla="*/ 351393 w 608344"/>
              <a:gd name="connsiteY20" fmla="*/ 278720 h 548582"/>
              <a:gd name="connsiteX21" fmla="*/ 351393 w 608344"/>
              <a:gd name="connsiteY21" fmla="*/ 322873 h 548582"/>
              <a:gd name="connsiteX22" fmla="*/ 317611 w 608344"/>
              <a:gd name="connsiteY22" fmla="*/ 422358 h 548582"/>
              <a:gd name="connsiteX23" fmla="*/ 376635 w 608344"/>
              <a:gd name="connsiteY23" fmla="*/ 548088 h 548582"/>
              <a:gd name="connsiteX24" fmla="*/ 26855 w 608344"/>
              <a:gd name="connsiteY24" fmla="*/ 548088 h 548582"/>
              <a:gd name="connsiteX25" fmla="*/ 0 w 608344"/>
              <a:gd name="connsiteY25" fmla="*/ 521274 h 548582"/>
              <a:gd name="connsiteX26" fmla="*/ 0 w 608344"/>
              <a:gd name="connsiteY26" fmla="*/ 473806 h 548582"/>
              <a:gd name="connsiteX27" fmla="*/ 19453 w 608344"/>
              <a:gd name="connsiteY27" fmla="*/ 432969 h 548582"/>
              <a:gd name="connsiteX28" fmla="*/ 173751 w 608344"/>
              <a:gd name="connsiteY28" fmla="*/ 334242 h 548582"/>
              <a:gd name="connsiteX29" fmla="*/ 176408 w 608344"/>
              <a:gd name="connsiteY29" fmla="*/ 329884 h 548582"/>
              <a:gd name="connsiteX30" fmla="*/ 176408 w 608344"/>
              <a:gd name="connsiteY30" fmla="*/ 278720 h 548582"/>
              <a:gd name="connsiteX31" fmla="*/ 161320 w 608344"/>
              <a:gd name="connsiteY31" fmla="*/ 237694 h 548582"/>
              <a:gd name="connsiteX32" fmla="*/ 139969 w 608344"/>
              <a:gd name="connsiteY32" fmla="*/ 200458 h 548582"/>
              <a:gd name="connsiteX33" fmla="*/ 148320 w 608344"/>
              <a:gd name="connsiteY33" fmla="*/ 156211 h 548582"/>
              <a:gd name="connsiteX34" fmla="*/ 146042 w 608344"/>
              <a:gd name="connsiteY34" fmla="*/ 146736 h 548582"/>
              <a:gd name="connsiteX35" fmla="*/ 145758 w 608344"/>
              <a:gd name="connsiteY35" fmla="*/ 95099 h 548582"/>
              <a:gd name="connsiteX36" fmla="*/ 176029 w 608344"/>
              <a:gd name="connsiteY36" fmla="*/ 42135 h 548582"/>
              <a:gd name="connsiteX37" fmla="*/ 203928 w 608344"/>
              <a:gd name="connsiteY37" fmla="*/ 19017 h 548582"/>
              <a:gd name="connsiteX38" fmla="*/ 231162 w 608344"/>
              <a:gd name="connsiteY38" fmla="*/ 5089 h 548582"/>
              <a:gd name="connsiteX39" fmla="*/ 255835 w 608344"/>
              <a:gd name="connsiteY39" fmla="*/ 446 h 548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608344" h="548582">
                <a:moveTo>
                  <a:pt x="521432" y="370453"/>
                </a:moveTo>
                <a:lnTo>
                  <a:pt x="465737" y="425787"/>
                </a:lnTo>
                <a:lnTo>
                  <a:pt x="442491" y="402479"/>
                </a:lnTo>
                <a:lnTo>
                  <a:pt x="418201" y="426545"/>
                </a:lnTo>
                <a:lnTo>
                  <a:pt x="441447" y="449948"/>
                </a:lnTo>
                <a:lnTo>
                  <a:pt x="465642" y="474204"/>
                </a:lnTo>
                <a:lnTo>
                  <a:pt x="489932" y="450043"/>
                </a:lnTo>
                <a:lnTo>
                  <a:pt x="545532" y="394709"/>
                </a:lnTo>
                <a:close/>
                <a:moveTo>
                  <a:pt x="481962" y="296170"/>
                </a:moveTo>
                <a:cubicBezTo>
                  <a:pt x="551795" y="296170"/>
                  <a:pt x="608344" y="352641"/>
                  <a:pt x="608344" y="422376"/>
                </a:cubicBezTo>
                <a:cubicBezTo>
                  <a:pt x="608344" y="492111"/>
                  <a:pt x="551795" y="548582"/>
                  <a:pt x="481962" y="548582"/>
                </a:cubicBezTo>
                <a:cubicBezTo>
                  <a:pt x="412129" y="548582"/>
                  <a:pt x="355579" y="492111"/>
                  <a:pt x="355579" y="422376"/>
                </a:cubicBezTo>
                <a:cubicBezTo>
                  <a:pt x="355579" y="352641"/>
                  <a:pt x="412129" y="296170"/>
                  <a:pt x="481962" y="296170"/>
                </a:cubicBezTo>
                <a:close/>
                <a:moveTo>
                  <a:pt x="255835" y="446"/>
                </a:moveTo>
                <a:cubicBezTo>
                  <a:pt x="282785" y="-1828"/>
                  <a:pt x="303187" y="4899"/>
                  <a:pt x="317801" y="13616"/>
                </a:cubicBezTo>
                <a:cubicBezTo>
                  <a:pt x="339721" y="25744"/>
                  <a:pt x="348072" y="41661"/>
                  <a:pt x="348072" y="41661"/>
                </a:cubicBezTo>
                <a:cubicBezTo>
                  <a:pt x="348072" y="41661"/>
                  <a:pt x="398176" y="45167"/>
                  <a:pt x="381190" y="146831"/>
                </a:cubicBezTo>
                <a:cubicBezTo>
                  <a:pt x="380621" y="149863"/>
                  <a:pt x="379862" y="153085"/>
                  <a:pt x="378913" y="156211"/>
                </a:cubicBezTo>
                <a:cubicBezTo>
                  <a:pt x="388592" y="156211"/>
                  <a:pt x="398271" y="163507"/>
                  <a:pt x="387833" y="200458"/>
                </a:cubicBezTo>
                <a:cubicBezTo>
                  <a:pt x="379672" y="229262"/>
                  <a:pt x="372080" y="237221"/>
                  <a:pt x="366387" y="237694"/>
                </a:cubicBezTo>
                <a:cubicBezTo>
                  <a:pt x="364394" y="250675"/>
                  <a:pt x="359175" y="265076"/>
                  <a:pt x="351393" y="278720"/>
                </a:cubicBezTo>
                <a:lnTo>
                  <a:pt x="351393" y="322873"/>
                </a:lnTo>
                <a:cubicBezTo>
                  <a:pt x="330232" y="350539"/>
                  <a:pt x="317611" y="385027"/>
                  <a:pt x="317611" y="422358"/>
                </a:cubicBezTo>
                <a:cubicBezTo>
                  <a:pt x="317611" y="472764"/>
                  <a:pt x="340480" y="518053"/>
                  <a:pt x="376635" y="548088"/>
                </a:cubicBezTo>
                <a:lnTo>
                  <a:pt x="26855" y="548088"/>
                </a:lnTo>
                <a:cubicBezTo>
                  <a:pt x="12052" y="548088"/>
                  <a:pt x="0" y="536055"/>
                  <a:pt x="0" y="521274"/>
                </a:cubicBezTo>
                <a:lnTo>
                  <a:pt x="0" y="473806"/>
                </a:lnTo>
                <a:cubicBezTo>
                  <a:pt x="0" y="457983"/>
                  <a:pt x="7212" y="443013"/>
                  <a:pt x="19453" y="432969"/>
                </a:cubicBezTo>
                <a:cubicBezTo>
                  <a:pt x="86638" y="377921"/>
                  <a:pt x="159043" y="341443"/>
                  <a:pt x="173751" y="334242"/>
                </a:cubicBezTo>
                <a:cubicBezTo>
                  <a:pt x="175365" y="333484"/>
                  <a:pt x="176408" y="331779"/>
                  <a:pt x="176408" y="329884"/>
                </a:cubicBezTo>
                <a:lnTo>
                  <a:pt x="176408" y="278720"/>
                </a:lnTo>
                <a:cubicBezTo>
                  <a:pt x="168437" y="265076"/>
                  <a:pt x="163313" y="250675"/>
                  <a:pt x="161320" y="237694"/>
                </a:cubicBezTo>
                <a:cubicBezTo>
                  <a:pt x="155627" y="237221"/>
                  <a:pt x="148035" y="229072"/>
                  <a:pt x="139969" y="200458"/>
                </a:cubicBezTo>
                <a:cubicBezTo>
                  <a:pt x="129531" y="164170"/>
                  <a:pt x="138925" y="156496"/>
                  <a:pt x="148320" y="156211"/>
                </a:cubicBezTo>
                <a:cubicBezTo>
                  <a:pt x="147371" y="153085"/>
                  <a:pt x="146612" y="149863"/>
                  <a:pt x="146042" y="146736"/>
                </a:cubicBezTo>
                <a:cubicBezTo>
                  <a:pt x="142436" y="128450"/>
                  <a:pt x="141487" y="111396"/>
                  <a:pt x="145758" y="95099"/>
                </a:cubicBezTo>
                <a:cubicBezTo>
                  <a:pt x="150787" y="73212"/>
                  <a:pt x="162744" y="55684"/>
                  <a:pt x="176029" y="42135"/>
                </a:cubicBezTo>
                <a:cubicBezTo>
                  <a:pt x="184379" y="33134"/>
                  <a:pt x="193869" y="25459"/>
                  <a:pt x="203928" y="19017"/>
                </a:cubicBezTo>
                <a:cubicBezTo>
                  <a:pt x="212183" y="13332"/>
                  <a:pt x="221293" y="8405"/>
                  <a:pt x="231162" y="5089"/>
                </a:cubicBezTo>
                <a:cubicBezTo>
                  <a:pt x="238849" y="2625"/>
                  <a:pt x="247105" y="825"/>
                  <a:pt x="255835" y="446"/>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文本框 10">
            <a:extLst>
              <a:ext uri="{FF2B5EF4-FFF2-40B4-BE49-F238E27FC236}">
                <a16:creationId xmlns:a16="http://schemas.microsoft.com/office/drawing/2014/main" id="{90E89B13-8FCF-874C-9F74-8CF32517E139}"/>
              </a:ext>
            </a:extLst>
          </p:cNvPr>
          <p:cNvSpPr txBox="1"/>
          <p:nvPr/>
        </p:nvSpPr>
        <p:spPr>
          <a:xfrm>
            <a:off x="5705246" y="3403868"/>
            <a:ext cx="781508" cy="283432"/>
          </a:xfrm>
          <a:prstGeom prst="rect">
            <a:avLst/>
          </a:prstGeom>
          <a:noFill/>
        </p:spPr>
        <p:txBody>
          <a:bodyPr wrap="square" lIns="0" tIns="0" rIns="0" bIns="0" rtlCol="0" anchor="t">
            <a:spAutoFit/>
          </a:bodyPr>
          <a:lstStyle/>
          <a:p>
            <a:pPr algn="ctr"/>
            <a:r>
              <a:rPr lang="zh-CN" altLang="en-US" sz="2000" dirty="0">
                <a:solidFill>
                  <a:schemeClr val="bg1"/>
                </a:solidFill>
                <a:latin typeface="+mj-ea"/>
                <a:ea typeface="+mj-ea"/>
              </a:rPr>
              <a:t>关键词</a:t>
            </a:r>
          </a:p>
        </p:txBody>
      </p:sp>
      <p:grpSp>
        <p:nvGrpSpPr>
          <p:cNvPr id="22" name="组合 21">
            <a:extLst>
              <a:ext uri="{FF2B5EF4-FFF2-40B4-BE49-F238E27FC236}">
                <a16:creationId xmlns:a16="http://schemas.microsoft.com/office/drawing/2014/main" id="{E03472C3-06EF-AD4B-A17C-9AC91EA932DA}"/>
              </a:ext>
            </a:extLst>
          </p:cNvPr>
          <p:cNvGrpSpPr/>
          <p:nvPr/>
        </p:nvGrpSpPr>
        <p:grpSpPr>
          <a:xfrm>
            <a:off x="713232" y="1688592"/>
            <a:ext cx="4240751" cy="1217377"/>
            <a:chOff x="713232" y="1688592"/>
            <a:chExt cx="4240751" cy="1217377"/>
          </a:xfrm>
        </p:grpSpPr>
        <p:sp>
          <p:nvSpPr>
            <p:cNvPr id="20" name="一个圆顶角并剪去另一个顶角的矩形 19">
              <a:extLst>
                <a:ext uri="{FF2B5EF4-FFF2-40B4-BE49-F238E27FC236}">
                  <a16:creationId xmlns:a16="http://schemas.microsoft.com/office/drawing/2014/main" id="{41E99B86-2077-2243-B83B-71F7368B8A2D}"/>
                </a:ext>
              </a:extLst>
            </p:cNvPr>
            <p:cNvSpPr/>
            <p:nvPr/>
          </p:nvSpPr>
          <p:spPr>
            <a:xfrm>
              <a:off x="713232" y="1688592"/>
              <a:ext cx="3029712" cy="1217377"/>
            </a:xfrm>
            <a:prstGeom prst="snipRound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kumimoji="1" lang="zh-CN" altLang="en-US" sz="1600">
                <a:solidFill>
                  <a:schemeClr val="bg1"/>
                </a:solidFill>
                <a:latin typeface="+mj-ea"/>
                <a:ea typeface="+mj-ea"/>
              </a:endParaRPr>
            </a:p>
          </p:txBody>
        </p:sp>
        <p:sp>
          <p:nvSpPr>
            <p:cNvPr id="16" name="任意形状 15">
              <a:extLst>
                <a:ext uri="{FF2B5EF4-FFF2-40B4-BE49-F238E27FC236}">
                  <a16:creationId xmlns:a16="http://schemas.microsoft.com/office/drawing/2014/main" id="{A4604B57-050E-A148-A79E-2B93E32AB34A}"/>
                </a:ext>
              </a:extLst>
            </p:cNvPr>
            <p:cNvSpPr/>
            <p:nvPr/>
          </p:nvSpPr>
          <p:spPr>
            <a:xfrm>
              <a:off x="2453640" y="2074557"/>
              <a:ext cx="2400300" cy="371475"/>
            </a:xfrm>
            <a:custGeom>
              <a:avLst/>
              <a:gdLst>
                <a:gd name="connsiteX0" fmla="*/ 2400300 w 2400300"/>
                <a:gd name="connsiteY0" fmla="*/ 371475 h 371475"/>
                <a:gd name="connsiteX1" fmla="*/ 2028825 w 2400300"/>
                <a:gd name="connsiteY1" fmla="*/ 0 h 371475"/>
                <a:gd name="connsiteX2" fmla="*/ 0 w 2400300"/>
                <a:gd name="connsiteY2" fmla="*/ 0 h 371475"/>
              </a:gdLst>
              <a:ahLst/>
              <a:cxnLst>
                <a:cxn ang="0">
                  <a:pos x="connsiteX0" y="connsiteY0"/>
                </a:cxn>
                <a:cxn ang="0">
                  <a:pos x="connsiteX1" y="connsiteY1"/>
                </a:cxn>
                <a:cxn ang="0">
                  <a:pos x="connsiteX2" y="connsiteY2"/>
                </a:cxn>
              </a:cxnLst>
              <a:rect l="l" t="t" r="r" b="b"/>
              <a:pathLst>
                <a:path w="2400300" h="371475">
                  <a:moveTo>
                    <a:pt x="2400300" y="371475"/>
                  </a:moveTo>
                  <a:lnTo>
                    <a:pt x="2028825" y="0"/>
                  </a:lnTo>
                  <a:lnTo>
                    <a:pt x="0" y="0"/>
                  </a:lnTo>
                </a:path>
              </a:pathLst>
            </a:cu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17" name="椭圆 16">
              <a:extLst>
                <a:ext uri="{FF2B5EF4-FFF2-40B4-BE49-F238E27FC236}">
                  <a16:creationId xmlns:a16="http://schemas.microsoft.com/office/drawing/2014/main" id="{8AEE2825-2968-C547-BE12-4324FAFA9C09}"/>
                </a:ext>
              </a:extLst>
            </p:cNvPr>
            <p:cNvSpPr/>
            <p:nvPr/>
          </p:nvSpPr>
          <p:spPr>
            <a:xfrm>
              <a:off x="4806899" y="2414064"/>
              <a:ext cx="147084" cy="147084"/>
            </a:xfrm>
            <a:prstGeom prst="ellipse">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kumimoji="1" lang="zh-CN" altLang="en-US" sz="1600">
                <a:solidFill>
                  <a:schemeClr val="bg1"/>
                </a:solidFill>
                <a:latin typeface="+mj-ea"/>
                <a:ea typeface="+mj-ea"/>
              </a:endParaRPr>
            </a:p>
          </p:txBody>
        </p:sp>
        <p:sp>
          <p:nvSpPr>
            <p:cNvPr id="18" name="文本框 17">
              <a:extLst>
                <a:ext uri="{FF2B5EF4-FFF2-40B4-BE49-F238E27FC236}">
                  <a16:creationId xmlns:a16="http://schemas.microsoft.com/office/drawing/2014/main" id="{F08D7FC6-7B1F-5E49-9A5E-55E0B974297A}"/>
                </a:ext>
              </a:extLst>
            </p:cNvPr>
            <p:cNvSpPr txBox="1"/>
            <p:nvPr/>
          </p:nvSpPr>
          <p:spPr>
            <a:xfrm>
              <a:off x="999432" y="1941106"/>
              <a:ext cx="1282402" cy="307777"/>
            </a:xfrm>
            <a:prstGeom prst="rect">
              <a:avLst/>
            </a:prstGeom>
            <a:noFill/>
          </p:spPr>
          <p:txBody>
            <a:bodyPr wrap="none" lIns="0" tIns="0" rIns="0" bIns="0" rtlCol="0" anchor="t">
              <a:spAutoFit/>
            </a:bodyPr>
            <a:lstStyle/>
            <a:p>
              <a:pPr algn="r"/>
              <a:r>
                <a:rPr lang="zh-CN" altLang="en-US" sz="2000" dirty="0">
                  <a:solidFill>
                    <a:schemeClr val="accent1"/>
                  </a:solidFill>
                  <a:latin typeface="+mj-ea"/>
                  <a:ea typeface="+mj-ea"/>
                </a:rPr>
                <a:t>关键词标题</a:t>
              </a:r>
            </a:p>
          </p:txBody>
        </p:sp>
        <p:sp>
          <p:nvSpPr>
            <p:cNvPr id="19" name="文本框 18">
              <a:extLst>
                <a:ext uri="{FF2B5EF4-FFF2-40B4-BE49-F238E27FC236}">
                  <a16:creationId xmlns:a16="http://schemas.microsoft.com/office/drawing/2014/main" id="{016A5F4C-E8A6-7349-8562-639E066D5723}"/>
                </a:ext>
              </a:extLst>
            </p:cNvPr>
            <p:cNvSpPr txBox="1"/>
            <p:nvPr/>
          </p:nvSpPr>
          <p:spPr>
            <a:xfrm>
              <a:off x="1026231" y="2301143"/>
              <a:ext cx="2465443" cy="387286"/>
            </a:xfrm>
            <a:prstGeom prst="rect">
              <a:avLst/>
            </a:prstGeom>
            <a:noFill/>
          </p:spPr>
          <p:txBody>
            <a:bodyPr wrap="square" lIns="0" tIns="0" rIns="0" bIns="0" rtlCol="0" anchor="t">
              <a:spAutoFit/>
            </a:bodyPr>
            <a:lstStyle/>
            <a:p>
              <a:pPr>
                <a:lnSpc>
                  <a:spcPct val="130000"/>
                </a:lnSpc>
              </a:pPr>
              <a:r>
                <a:rPr lang="en-US" altLang="zh-CN" sz="1000" b="0" dirty="0">
                  <a:solidFill>
                    <a:schemeClr val="tx1">
                      <a:lumMod val="75000"/>
                      <a:lumOff val="25000"/>
                    </a:schemeClr>
                  </a:solidFill>
                  <a:effectLst/>
                  <a:latin typeface="+mn-ea"/>
                </a:rPr>
                <a:t>Lorem ipsum dolor sit amet, consectetur adipisicing elit, sed do eiusmod tempor</a:t>
              </a:r>
              <a:endParaRPr lang="zh-CN" altLang="en-US" sz="1000" b="0" dirty="0">
                <a:solidFill>
                  <a:schemeClr val="tx1">
                    <a:lumMod val="75000"/>
                    <a:lumOff val="25000"/>
                  </a:schemeClr>
                </a:solidFill>
                <a:effectLst/>
                <a:latin typeface="+mn-ea"/>
              </a:endParaRPr>
            </a:p>
          </p:txBody>
        </p:sp>
        <p:sp>
          <p:nvSpPr>
            <p:cNvPr id="21" name="椭圆 20">
              <a:extLst>
                <a:ext uri="{FF2B5EF4-FFF2-40B4-BE49-F238E27FC236}">
                  <a16:creationId xmlns:a16="http://schemas.microsoft.com/office/drawing/2014/main" id="{ABC17A93-33A6-0A41-B234-BC19877D1ACC}"/>
                </a:ext>
              </a:extLst>
            </p:cNvPr>
            <p:cNvSpPr/>
            <p:nvPr/>
          </p:nvSpPr>
          <p:spPr>
            <a:xfrm>
              <a:off x="856332" y="2044704"/>
              <a:ext cx="94644" cy="9464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kumimoji="1" lang="zh-CN" altLang="en-US" sz="1600">
                <a:solidFill>
                  <a:schemeClr val="bg1"/>
                </a:solidFill>
                <a:latin typeface="+mj-ea"/>
                <a:ea typeface="+mj-ea"/>
              </a:endParaRPr>
            </a:p>
          </p:txBody>
        </p:sp>
      </p:grpSp>
      <p:grpSp>
        <p:nvGrpSpPr>
          <p:cNvPr id="23" name="组合 22">
            <a:extLst>
              <a:ext uri="{FF2B5EF4-FFF2-40B4-BE49-F238E27FC236}">
                <a16:creationId xmlns:a16="http://schemas.microsoft.com/office/drawing/2014/main" id="{9F7BA6C9-60B8-4C4B-AD6A-4EAEF937F10F}"/>
              </a:ext>
            </a:extLst>
          </p:cNvPr>
          <p:cNvGrpSpPr/>
          <p:nvPr/>
        </p:nvGrpSpPr>
        <p:grpSpPr>
          <a:xfrm flipH="1">
            <a:off x="7238017" y="1688592"/>
            <a:ext cx="4240751" cy="1217377"/>
            <a:chOff x="713232" y="1688592"/>
            <a:chExt cx="4240751" cy="1217377"/>
          </a:xfrm>
        </p:grpSpPr>
        <p:sp>
          <p:nvSpPr>
            <p:cNvPr id="24" name="一个圆顶角并剪去另一个顶角的矩形 23">
              <a:extLst>
                <a:ext uri="{FF2B5EF4-FFF2-40B4-BE49-F238E27FC236}">
                  <a16:creationId xmlns:a16="http://schemas.microsoft.com/office/drawing/2014/main" id="{ADBEBFFA-0541-1446-879E-C7ACEECA2F31}"/>
                </a:ext>
              </a:extLst>
            </p:cNvPr>
            <p:cNvSpPr/>
            <p:nvPr/>
          </p:nvSpPr>
          <p:spPr>
            <a:xfrm>
              <a:off x="713232" y="1688592"/>
              <a:ext cx="3029712" cy="1217377"/>
            </a:xfrm>
            <a:prstGeom prst="snipRound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kumimoji="1" lang="zh-CN" altLang="en-US" sz="1600">
                <a:solidFill>
                  <a:schemeClr val="bg1"/>
                </a:solidFill>
                <a:latin typeface="+mj-ea"/>
                <a:ea typeface="+mj-ea"/>
              </a:endParaRPr>
            </a:p>
          </p:txBody>
        </p:sp>
        <p:sp>
          <p:nvSpPr>
            <p:cNvPr id="25" name="任意形状 24">
              <a:extLst>
                <a:ext uri="{FF2B5EF4-FFF2-40B4-BE49-F238E27FC236}">
                  <a16:creationId xmlns:a16="http://schemas.microsoft.com/office/drawing/2014/main" id="{727E63BA-7680-204A-B04A-BF8D9C490914}"/>
                </a:ext>
              </a:extLst>
            </p:cNvPr>
            <p:cNvSpPr/>
            <p:nvPr/>
          </p:nvSpPr>
          <p:spPr>
            <a:xfrm>
              <a:off x="2453640" y="2074557"/>
              <a:ext cx="2400300" cy="371475"/>
            </a:xfrm>
            <a:custGeom>
              <a:avLst/>
              <a:gdLst>
                <a:gd name="connsiteX0" fmla="*/ 2400300 w 2400300"/>
                <a:gd name="connsiteY0" fmla="*/ 371475 h 371475"/>
                <a:gd name="connsiteX1" fmla="*/ 2028825 w 2400300"/>
                <a:gd name="connsiteY1" fmla="*/ 0 h 371475"/>
                <a:gd name="connsiteX2" fmla="*/ 0 w 2400300"/>
                <a:gd name="connsiteY2" fmla="*/ 0 h 371475"/>
              </a:gdLst>
              <a:ahLst/>
              <a:cxnLst>
                <a:cxn ang="0">
                  <a:pos x="connsiteX0" y="connsiteY0"/>
                </a:cxn>
                <a:cxn ang="0">
                  <a:pos x="connsiteX1" y="connsiteY1"/>
                </a:cxn>
                <a:cxn ang="0">
                  <a:pos x="connsiteX2" y="connsiteY2"/>
                </a:cxn>
              </a:cxnLst>
              <a:rect l="l" t="t" r="r" b="b"/>
              <a:pathLst>
                <a:path w="2400300" h="371475">
                  <a:moveTo>
                    <a:pt x="2400300" y="371475"/>
                  </a:moveTo>
                  <a:lnTo>
                    <a:pt x="2028825" y="0"/>
                  </a:lnTo>
                  <a:lnTo>
                    <a:pt x="0" y="0"/>
                  </a:lnTo>
                </a:path>
              </a:pathLst>
            </a:cu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26" name="椭圆 25">
              <a:extLst>
                <a:ext uri="{FF2B5EF4-FFF2-40B4-BE49-F238E27FC236}">
                  <a16:creationId xmlns:a16="http://schemas.microsoft.com/office/drawing/2014/main" id="{04DF90C1-AA5A-B543-AB97-1AE030950C3E}"/>
                </a:ext>
              </a:extLst>
            </p:cNvPr>
            <p:cNvSpPr/>
            <p:nvPr/>
          </p:nvSpPr>
          <p:spPr>
            <a:xfrm>
              <a:off x="4806899" y="2414064"/>
              <a:ext cx="147084" cy="147084"/>
            </a:xfrm>
            <a:prstGeom prst="ellipse">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kumimoji="1" lang="zh-CN" altLang="en-US" sz="1600">
                <a:solidFill>
                  <a:schemeClr val="bg1"/>
                </a:solidFill>
                <a:latin typeface="+mj-ea"/>
                <a:ea typeface="+mj-ea"/>
              </a:endParaRPr>
            </a:p>
          </p:txBody>
        </p:sp>
        <p:sp>
          <p:nvSpPr>
            <p:cNvPr id="27" name="文本框 26">
              <a:extLst>
                <a:ext uri="{FF2B5EF4-FFF2-40B4-BE49-F238E27FC236}">
                  <a16:creationId xmlns:a16="http://schemas.microsoft.com/office/drawing/2014/main" id="{DB08CD8E-E88B-6245-9666-A3A21E6B0C49}"/>
                </a:ext>
              </a:extLst>
            </p:cNvPr>
            <p:cNvSpPr txBox="1"/>
            <p:nvPr/>
          </p:nvSpPr>
          <p:spPr>
            <a:xfrm>
              <a:off x="999432" y="1941106"/>
              <a:ext cx="1282402" cy="307777"/>
            </a:xfrm>
            <a:prstGeom prst="rect">
              <a:avLst/>
            </a:prstGeom>
            <a:noFill/>
          </p:spPr>
          <p:txBody>
            <a:bodyPr wrap="none" lIns="0" tIns="0" rIns="0" bIns="0" rtlCol="0" anchor="t">
              <a:spAutoFit/>
            </a:bodyPr>
            <a:lstStyle/>
            <a:p>
              <a:pPr algn="r"/>
              <a:r>
                <a:rPr lang="zh-CN" altLang="en-US" sz="2000" dirty="0">
                  <a:solidFill>
                    <a:schemeClr val="accent1"/>
                  </a:solidFill>
                  <a:latin typeface="+mj-ea"/>
                  <a:ea typeface="+mj-ea"/>
                </a:rPr>
                <a:t>关键词标题</a:t>
              </a:r>
            </a:p>
          </p:txBody>
        </p:sp>
        <p:sp>
          <p:nvSpPr>
            <p:cNvPr id="28" name="文本框 27">
              <a:extLst>
                <a:ext uri="{FF2B5EF4-FFF2-40B4-BE49-F238E27FC236}">
                  <a16:creationId xmlns:a16="http://schemas.microsoft.com/office/drawing/2014/main" id="{C1E446EB-C90C-6046-85FB-6B8A102DD304}"/>
                </a:ext>
              </a:extLst>
            </p:cNvPr>
            <p:cNvSpPr txBox="1"/>
            <p:nvPr/>
          </p:nvSpPr>
          <p:spPr>
            <a:xfrm>
              <a:off x="999432" y="2301143"/>
              <a:ext cx="2465443" cy="387286"/>
            </a:xfrm>
            <a:prstGeom prst="rect">
              <a:avLst/>
            </a:prstGeom>
            <a:noFill/>
          </p:spPr>
          <p:txBody>
            <a:bodyPr wrap="square" lIns="0" tIns="0" rIns="0" bIns="0" rtlCol="0" anchor="t">
              <a:spAutoFit/>
            </a:bodyPr>
            <a:lstStyle/>
            <a:p>
              <a:pPr algn="r">
                <a:lnSpc>
                  <a:spcPct val="130000"/>
                </a:lnSpc>
              </a:pPr>
              <a:r>
                <a:rPr lang="en-US" altLang="zh-CN" sz="1000" b="0" dirty="0">
                  <a:solidFill>
                    <a:schemeClr val="tx1">
                      <a:lumMod val="75000"/>
                      <a:lumOff val="25000"/>
                    </a:schemeClr>
                  </a:solidFill>
                  <a:effectLst/>
                  <a:latin typeface="+mn-ea"/>
                </a:rPr>
                <a:t>Lorem ipsum dolor sit amet, consectetur adipisicing elit, sed do eiusmod tempor</a:t>
              </a:r>
              <a:endParaRPr lang="zh-CN" altLang="en-US" sz="1000" b="0" dirty="0">
                <a:solidFill>
                  <a:schemeClr val="tx1">
                    <a:lumMod val="75000"/>
                    <a:lumOff val="25000"/>
                  </a:schemeClr>
                </a:solidFill>
                <a:effectLst/>
                <a:latin typeface="+mn-ea"/>
              </a:endParaRPr>
            </a:p>
          </p:txBody>
        </p:sp>
        <p:sp>
          <p:nvSpPr>
            <p:cNvPr id="29" name="椭圆 28">
              <a:extLst>
                <a:ext uri="{FF2B5EF4-FFF2-40B4-BE49-F238E27FC236}">
                  <a16:creationId xmlns:a16="http://schemas.microsoft.com/office/drawing/2014/main" id="{A14FAECD-852D-8E45-8C21-B00E12833B6B}"/>
                </a:ext>
              </a:extLst>
            </p:cNvPr>
            <p:cNvSpPr/>
            <p:nvPr/>
          </p:nvSpPr>
          <p:spPr>
            <a:xfrm>
              <a:off x="856332" y="2044704"/>
              <a:ext cx="94644" cy="9464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kumimoji="1" lang="zh-CN" altLang="en-US" sz="1600">
                <a:solidFill>
                  <a:schemeClr val="bg1"/>
                </a:solidFill>
                <a:latin typeface="+mj-ea"/>
                <a:ea typeface="+mj-ea"/>
              </a:endParaRPr>
            </a:p>
          </p:txBody>
        </p:sp>
      </p:grpSp>
      <p:sp>
        <p:nvSpPr>
          <p:cNvPr id="31" name="一个圆顶角并剪去另一个顶角的矩形 30">
            <a:extLst>
              <a:ext uri="{FF2B5EF4-FFF2-40B4-BE49-F238E27FC236}">
                <a16:creationId xmlns:a16="http://schemas.microsoft.com/office/drawing/2014/main" id="{7DA6CA8D-2EB8-D342-85A5-9472466BF459}"/>
              </a:ext>
            </a:extLst>
          </p:cNvPr>
          <p:cNvSpPr/>
          <p:nvPr/>
        </p:nvSpPr>
        <p:spPr>
          <a:xfrm>
            <a:off x="713232" y="4318213"/>
            <a:ext cx="3029712" cy="1217377"/>
          </a:xfrm>
          <a:prstGeom prst="snipRound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kumimoji="1" lang="zh-CN" altLang="en-US" sz="1600">
              <a:solidFill>
                <a:schemeClr val="bg1"/>
              </a:solidFill>
              <a:latin typeface="+mj-ea"/>
              <a:ea typeface="+mj-ea"/>
            </a:endParaRPr>
          </a:p>
        </p:txBody>
      </p:sp>
      <p:grpSp>
        <p:nvGrpSpPr>
          <p:cNvPr id="44" name="组合 43">
            <a:extLst>
              <a:ext uri="{FF2B5EF4-FFF2-40B4-BE49-F238E27FC236}">
                <a16:creationId xmlns:a16="http://schemas.microsoft.com/office/drawing/2014/main" id="{C744DA8F-C560-B44B-8EA8-A424742CB24D}"/>
              </a:ext>
            </a:extLst>
          </p:cNvPr>
          <p:cNvGrpSpPr/>
          <p:nvPr/>
        </p:nvGrpSpPr>
        <p:grpSpPr>
          <a:xfrm flipV="1">
            <a:off x="2453640" y="4262568"/>
            <a:ext cx="2500343" cy="486591"/>
            <a:chOff x="2453640" y="4528929"/>
            <a:chExt cx="2500343" cy="486591"/>
          </a:xfrm>
        </p:grpSpPr>
        <p:sp>
          <p:nvSpPr>
            <p:cNvPr id="32" name="任意形状 31">
              <a:extLst>
                <a:ext uri="{FF2B5EF4-FFF2-40B4-BE49-F238E27FC236}">
                  <a16:creationId xmlns:a16="http://schemas.microsoft.com/office/drawing/2014/main" id="{40BE4462-9694-1842-880D-9166E7029DC9}"/>
                </a:ext>
              </a:extLst>
            </p:cNvPr>
            <p:cNvSpPr/>
            <p:nvPr/>
          </p:nvSpPr>
          <p:spPr>
            <a:xfrm>
              <a:off x="2453640" y="4528929"/>
              <a:ext cx="2400300" cy="371475"/>
            </a:xfrm>
            <a:custGeom>
              <a:avLst/>
              <a:gdLst>
                <a:gd name="connsiteX0" fmla="*/ 2400300 w 2400300"/>
                <a:gd name="connsiteY0" fmla="*/ 371475 h 371475"/>
                <a:gd name="connsiteX1" fmla="*/ 2028825 w 2400300"/>
                <a:gd name="connsiteY1" fmla="*/ 0 h 371475"/>
                <a:gd name="connsiteX2" fmla="*/ 0 w 2400300"/>
                <a:gd name="connsiteY2" fmla="*/ 0 h 371475"/>
              </a:gdLst>
              <a:ahLst/>
              <a:cxnLst>
                <a:cxn ang="0">
                  <a:pos x="connsiteX0" y="connsiteY0"/>
                </a:cxn>
                <a:cxn ang="0">
                  <a:pos x="connsiteX1" y="connsiteY1"/>
                </a:cxn>
                <a:cxn ang="0">
                  <a:pos x="connsiteX2" y="connsiteY2"/>
                </a:cxn>
              </a:cxnLst>
              <a:rect l="l" t="t" r="r" b="b"/>
              <a:pathLst>
                <a:path w="2400300" h="371475">
                  <a:moveTo>
                    <a:pt x="2400300" y="371475"/>
                  </a:moveTo>
                  <a:lnTo>
                    <a:pt x="2028825" y="0"/>
                  </a:lnTo>
                  <a:lnTo>
                    <a:pt x="0" y="0"/>
                  </a:lnTo>
                </a:path>
              </a:pathLst>
            </a:cu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33" name="椭圆 32">
              <a:extLst>
                <a:ext uri="{FF2B5EF4-FFF2-40B4-BE49-F238E27FC236}">
                  <a16:creationId xmlns:a16="http://schemas.microsoft.com/office/drawing/2014/main" id="{B7A8FEC5-7A71-104F-94D4-12C21D7B65A3}"/>
                </a:ext>
              </a:extLst>
            </p:cNvPr>
            <p:cNvSpPr/>
            <p:nvPr/>
          </p:nvSpPr>
          <p:spPr>
            <a:xfrm>
              <a:off x="4806899" y="4868436"/>
              <a:ext cx="147084" cy="147084"/>
            </a:xfrm>
            <a:prstGeom prst="ellipse">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kumimoji="1" lang="zh-CN" altLang="en-US" sz="1600">
                <a:solidFill>
                  <a:schemeClr val="bg1"/>
                </a:solidFill>
                <a:latin typeface="+mj-ea"/>
                <a:ea typeface="+mj-ea"/>
              </a:endParaRPr>
            </a:p>
          </p:txBody>
        </p:sp>
      </p:grpSp>
      <p:sp>
        <p:nvSpPr>
          <p:cNvPr id="34" name="文本框 33">
            <a:extLst>
              <a:ext uri="{FF2B5EF4-FFF2-40B4-BE49-F238E27FC236}">
                <a16:creationId xmlns:a16="http://schemas.microsoft.com/office/drawing/2014/main" id="{A5D0016E-30D8-E84C-8D27-D37839AC9BA3}"/>
              </a:ext>
            </a:extLst>
          </p:cNvPr>
          <p:cNvSpPr txBox="1"/>
          <p:nvPr/>
        </p:nvSpPr>
        <p:spPr>
          <a:xfrm>
            <a:off x="999432" y="4570727"/>
            <a:ext cx="1282402" cy="307777"/>
          </a:xfrm>
          <a:prstGeom prst="rect">
            <a:avLst/>
          </a:prstGeom>
          <a:noFill/>
        </p:spPr>
        <p:txBody>
          <a:bodyPr wrap="none" lIns="0" tIns="0" rIns="0" bIns="0" rtlCol="0" anchor="t">
            <a:spAutoFit/>
          </a:bodyPr>
          <a:lstStyle/>
          <a:p>
            <a:pPr algn="r"/>
            <a:r>
              <a:rPr lang="zh-CN" altLang="en-US" sz="2000" dirty="0">
                <a:solidFill>
                  <a:schemeClr val="accent1"/>
                </a:solidFill>
                <a:latin typeface="+mj-ea"/>
                <a:ea typeface="+mj-ea"/>
              </a:rPr>
              <a:t>关键词标题</a:t>
            </a:r>
          </a:p>
        </p:txBody>
      </p:sp>
      <p:sp>
        <p:nvSpPr>
          <p:cNvPr id="35" name="文本框 34">
            <a:extLst>
              <a:ext uri="{FF2B5EF4-FFF2-40B4-BE49-F238E27FC236}">
                <a16:creationId xmlns:a16="http://schemas.microsoft.com/office/drawing/2014/main" id="{C771B7B6-B19C-4842-9E87-E97EADD08F92}"/>
              </a:ext>
            </a:extLst>
          </p:cNvPr>
          <p:cNvSpPr txBox="1"/>
          <p:nvPr/>
        </p:nvSpPr>
        <p:spPr>
          <a:xfrm>
            <a:off x="1026231" y="4930764"/>
            <a:ext cx="2465443" cy="387286"/>
          </a:xfrm>
          <a:prstGeom prst="rect">
            <a:avLst/>
          </a:prstGeom>
          <a:noFill/>
        </p:spPr>
        <p:txBody>
          <a:bodyPr wrap="square" lIns="0" tIns="0" rIns="0" bIns="0" rtlCol="0" anchor="t">
            <a:spAutoFit/>
          </a:bodyPr>
          <a:lstStyle/>
          <a:p>
            <a:pPr>
              <a:lnSpc>
                <a:spcPct val="130000"/>
              </a:lnSpc>
            </a:pPr>
            <a:r>
              <a:rPr lang="en-US" altLang="zh-CN" sz="1000" b="0" dirty="0">
                <a:solidFill>
                  <a:schemeClr val="tx1">
                    <a:lumMod val="75000"/>
                    <a:lumOff val="25000"/>
                  </a:schemeClr>
                </a:solidFill>
                <a:effectLst/>
                <a:latin typeface="+mn-ea"/>
              </a:rPr>
              <a:t>Lorem ipsum dolor sit amet, consectetur adipisicing elit, sed do eiusmod tempor</a:t>
            </a:r>
            <a:endParaRPr lang="zh-CN" altLang="en-US" sz="1000" b="0" dirty="0">
              <a:solidFill>
                <a:schemeClr val="tx1">
                  <a:lumMod val="75000"/>
                  <a:lumOff val="25000"/>
                </a:schemeClr>
              </a:solidFill>
              <a:effectLst/>
              <a:latin typeface="+mn-ea"/>
            </a:endParaRPr>
          </a:p>
        </p:txBody>
      </p:sp>
      <p:sp>
        <p:nvSpPr>
          <p:cNvPr id="36" name="椭圆 35">
            <a:extLst>
              <a:ext uri="{FF2B5EF4-FFF2-40B4-BE49-F238E27FC236}">
                <a16:creationId xmlns:a16="http://schemas.microsoft.com/office/drawing/2014/main" id="{C6D7207D-0B82-4743-91F0-AAE2A6240D51}"/>
              </a:ext>
            </a:extLst>
          </p:cNvPr>
          <p:cNvSpPr/>
          <p:nvPr/>
        </p:nvSpPr>
        <p:spPr>
          <a:xfrm>
            <a:off x="856332" y="4674325"/>
            <a:ext cx="94644" cy="9464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kumimoji="1" lang="zh-CN" altLang="en-US" sz="1600">
              <a:solidFill>
                <a:schemeClr val="bg1"/>
              </a:solidFill>
              <a:latin typeface="+mj-ea"/>
              <a:ea typeface="+mj-ea"/>
            </a:endParaRPr>
          </a:p>
        </p:txBody>
      </p:sp>
      <p:sp>
        <p:nvSpPr>
          <p:cNvPr id="38" name="一个圆顶角并剪去另一个顶角的矩形 37">
            <a:extLst>
              <a:ext uri="{FF2B5EF4-FFF2-40B4-BE49-F238E27FC236}">
                <a16:creationId xmlns:a16="http://schemas.microsoft.com/office/drawing/2014/main" id="{96205CB4-EE17-9149-B68B-BB1169DEE233}"/>
              </a:ext>
            </a:extLst>
          </p:cNvPr>
          <p:cNvSpPr/>
          <p:nvPr/>
        </p:nvSpPr>
        <p:spPr>
          <a:xfrm flipH="1">
            <a:off x="8449056" y="4318213"/>
            <a:ext cx="3029712" cy="1217377"/>
          </a:xfrm>
          <a:prstGeom prst="snipRound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kumimoji="1" lang="zh-CN" altLang="en-US" sz="1600">
              <a:solidFill>
                <a:schemeClr val="bg1"/>
              </a:solidFill>
              <a:latin typeface="+mj-ea"/>
              <a:ea typeface="+mj-ea"/>
            </a:endParaRPr>
          </a:p>
        </p:txBody>
      </p:sp>
      <p:grpSp>
        <p:nvGrpSpPr>
          <p:cNvPr id="45" name="组合 44">
            <a:extLst>
              <a:ext uri="{FF2B5EF4-FFF2-40B4-BE49-F238E27FC236}">
                <a16:creationId xmlns:a16="http://schemas.microsoft.com/office/drawing/2014/main" id="{3924E962-99B5-E149-A44C-D49FEAD7A89B}"/>
              </a:ext>
            </a:extLst>
          </p:cNvPr>
          <p:cNvGrpSpPr/>
          <p:nvPr/>
        </p:nvGrpSpPr>
        <p:grpSpPr>
          <a:xfrm flipV="1">
            <a:off x="7238017" y="4265893"/>
            <a:ext cx="2500343" cy="486591"/>
            <a:chOff x="7238017" y="4528929"/>
            <a:chExt cx="2500343" cy="486591"/>
          </a:xfrm>
        </p:grpSpPr>
        <p:sp>
          <p:nvSpPr>
            <p:cNvPr id="39" name="任意形状 38">
              <a:extLst>
                <a:ext uri="{FF2B5EF4-FFF2-40B4-BE49-F238E27FC236}">
                  <a16:creationId xmlns:a16="http://schemas.microsoft.com/office/drawing/2014/main" id="{0636F790-E0C3-E447-B6E6-55D166D332E7}"/>
                </a:ext>
              </a:extLst>
            </p:cNvPr>
            <p:cNvSpPr/>
            <p:nvPr/>
          </p:nvSpPr>
          <p:spPr>
            <a:xfrm flipH="1">
              <a:off x="7338060" y="4528929"/>
              <a:ext cx="2400300" cy="371475"/>
            </a:xfrm>
            <a:custGeom>
              <a:avLst/>
              <a:gdLst>
                <a:gd name="connsiteX0" fmla="*/ 2400300 w 2400300"/>
                <a:gd name="connsiteY0" fmla="*/ 371475 h 371475"/>
                <a:gd name="connsiteX1" fmla="*/ 2028825 w 2400300"/>
                <a:gd name="connsiteY1" fmla="*/ 0 h 371475"/>
                <a:gd name="connsiteX2" fmla="*/ 0 w 2400300"/>
                <a:gd name="connsiteY2" fmla="*/ 0 h 371475"/>
              </a:gdLst>
              <a:ahLst/>
              <a:cxnLst>
                <a:cxn ang="0">
                  <a:pos x="connsiteX0" y="connsiteY0"/>
                </a:cxn>
                <a:cxn ang="0">
                  <a:pos x="connsiteX1" y="connsiteY1"/>
                </a:cxn>
                <a:cxn ang="0">
                  <a:pos x="connsiteX2" y="connsiteY2"/>
                </a:cxn>
              </a:cxnLst>
              <a:rect l="l" t="t" r="r" b="b"/>
              <a:pathLst>
                <a:path w="2400300" h="371475">
                  <a:moveTo>
                    <a:pt x="2400300" y="371475"/>
                  </a:moveTo>
                  <a:lnTo>
                    <a:pt x="2028825" y="0"/>
                  </a:lnTo>
                  <a:lnTo>
                    <a:pt x="0" y="0"/>
                  </a:lnTo>
                </a:path>
              </a:pathLst>
            </a:cu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40" name="椭圆 39">
              <a:extLst>
                <a:ext uri="{FF2B5EF4-FFF2-40B4-BE49-F238E27FC236}">
                  <a16:creationId xmlns:a16="http://schemas.microsoft.com/office/drawing/2014/main" id="{C2D44A99-B8B1-3B4F-8FA7-17856749D962}"/>
                </a:ext>
              </a:extLst>
            </p:cNvPr>
            <p:cNvSpPr/>
            <p:nvPr/>
          </p:nvSpPr>
          <p:spPr>
            <a:xfrm flipH="1">
              <a:off x="7238017" y="4868436"/>
              <a:ext cx="147084" cy="147084"/>
            </a:xfrm>
            <a:prstGeom prst="ellipse">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kumimoji="1" lang="zh-CN" altLang="en-US" sz="1600">
                <a:solidFill>
                  <a:schemeClr val="bg1"/>
                </a:solidFill>
                <a:latin typeface="+mj-ea"/>
                <a:ea typeface="+mj-ea"/>
              </a:endParaRPr>
            </a:p>
          </p:txBody>
        </p:sp>
      </p:grpSp>
      <p:sp>
        <p:nvSpPr>
          <p:cNvPr id="41" name="文本框 40">
            <a:extLst>
              <a:ext uri="{FF2B5EF4-FFF2-40B4-BE49-F238E27FC236}">
                <a16:creationId xmlns:a16="http://schemas.microsoft.com/office/drawing/2014/main" id="{9A69A71E-03F7-5549-A0DF-638ED5442D4A}"/>
              </a:ext>
            </a:extLst>
          </p:cNvPr>
          <p:cNvSpPr txBox="1"/>
          <p:nvPr/>
        </p:nvSpPr>
        <p:spPr>
          <a:xfrm flipH="1">
            <a:off x="9910166" y="4570727"/>
            <a:ext cx="1282402" cy="307777"/>
          </a:xfrm>
          <a:prstGeom prst="rect">
            <a:avLst/>
          </a:prstGeom>
          <a:noFill/>
        </p:spPr>
        <p:txBody>
          <a:bodyPr wrap="none" lIns="0" tIns="0" rIns="0" bIns="0" rtlCol="0" anchor="t">
            <a:spAutoFit/>
          </a:bodyPr>
          <a:lstStyle/>
          <a:p>
            <a:pPr algn="r"/>
            <a:r>
              <a:rPr lang="zh-CN" altLang="en-US" sz="2000" dirty="0">
                <a:solidFill>
                  <a:schemeClr val="accent1"/>
                </a:solidFill>
                <a:latin typeface="+mj-ea"/>
                <a:ea typeface="+mj-ea"/>
              </a:rPr>
              <a:t>关键词标题</a:t>
            </a:r>
          </a:p>
        </p:txBody>
      </p:sp>
      <p:sp>
        <p:nvSpPr>
          <p:cNvPr id="42" name="文本框 41">
            <a:extLst>
              <a:ext uri="{FF2B5EF4-FFF2-40B4-BE49-F238E27FC236}">
                <a16:creationId xmlns:a16="http://schemas.microsoft.com/office/drawing/2014/main" id="{4D255186-906A-FC4D-8525-E55B0CF6D315}"/>
              </a:ext>
            </a:extLst>
          </p:cNvPr>
          <p:cNvSpPr txBox="1"/>
          <p:nvPr/>
        </p:nvSpPr>
        <p:spPr>
          <a:xfrm flipH="1">
            <a:off x="8727125" y="4930764"/>
            <a:ext cx="2465443" cy="387286"/>
          </a:xfrm>
          <a:prstGeom prst="rect">
            <a:avLst/>
          </a:prstGeom>
          <a:noFill/>
        </p:spPr>
        <p:txBody>
          <a:bodyPr wrap="square" lIns="0" tIns="0" rIns="0" bIns="0" rtlCol="0" anchor="t">
            <a:spAutoFit/>
          </a:bodyPr>
          <a:lstStyle/>
          <a:p>
            <a:pPr algn="r">
              <a:lnSpc>
                <a:spcPct val="130000"/>
              </a:lnSpc>
            </a:pPr>
            <a:r>
              <a:rPr lang="en-US" altLang="zh-CN" sz="1000" b="0" dirty="0">
                <a:solidFill>
                  <a:schemeClr val="tx1">
                    <a:lumMod val="75000"/>
                    <a:lumOff val="25000"/>
                  </a:schemeClr>
                </a:solidFill>
                <a:effectLst/>
                <a:latin typeface="+mn-ea"/>
              </a:rPr>
              <a:t>Lorem ipsum dolor sit amet, consectetur adipisicing elit, sed do eiusmod tempor</a:t>
            </a:r>
            <a:endParaRPr lang="zh-CN" altLang="en-US" sz="1000" b="0" dirty="0">
              <a:solidFill>
                <a:schemeClr val="tx1">
                  <a:lumMod val="75000"/>
                  <a:lumOff val="25000"/>
                </a:schemeClr>
              </a:solidFill>
              <a:effectLst/>
              <a:latin typeface="+mn-ea"/>
            </a:endParaRPr>
          </a:p>
        </p:txBody>
      </p:sp>
      <p:sp>
        <p:nvSpPr>
          <p:cNvPr id="43" name="椭圆 42">
            <a:extLst>
              <a:ext uri="{FF2B5EF4-FFF2-40B4-BE49-F238E27FC236}">
                <a16:creationId xmlns:a16="http://schemas.microsoft.com/office/drawing/2014/main" id="{81827087-9044-4E47-82FC-FA8C98B05F33}"/>
              </a:ext>
            </a:extLst>
          </p:cNvPr>
          <p:cNvSpPr/>
          <p:nvPr/>
        </p:nvSpPr>
        <p:spPr>
          <a:xfrm flipH="1">
            <a:off x="11241024" y="4674325"/>
            <a:ext cx="94644" cy="9464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kumimoji="1" lang="zh-CN" altLang="en-US" sz="1600">
              <a:solidFill>
                <a:schemeClr val="bg1"/>
              </a:solidFill>
              <a:latin typeface="+mj-ea"/>
              <a:ea typeface="+mj-ea"/>
            </a:endParaRPr>
          </a:p>
        </p:txBody>
      </p:sp>
    </p:spTree>
    <p:extLst>
      <p:ext uri="{BB962C8B-B14F-4D97-AF65-F5344CB8AC3E}">
        <p14:creationId xmlns:p14="http://schemas.microsoft.com/office/powerpoint/2010/main" val="106198486"/>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3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剪去单角的矩形 20">
            <a:extLst>
              <a:ext uri="{FF2B5EF4-FFF2-40B4-BE49-F238E27FC236}">
                <a16:creationId xmlns:a16="http://schemas.microsoft.com/office/drawing/2014/main" id="{816C180F-9539-F14E-9353-EC10923D7996}"/>
              </a:ext>
            </a:extLst>
          </p:cNvPr>
          <p:cNvSpPr/>
          <p:nvPr/>
        </p:nvSpPr>
        <p:spPr>
          <a:xfrm rot="10800000" flipH="1">
            <a:off x="8109103" y="1611137"/>
            <a:ext cx="2796042" cy="634591"/>
          </a:xfrm>
          <a:prstGeom prst="snip1Rect">
            <a:avLst/>
          </a:prstGeom>
          <a:solidFill>
            <a:schemeClr val="bg1"/>
          </a:solidFill>
          <a:ln>
            <a:noFill/>
          </a:ln>
          <a:effectLst>
            <a:outerShdw blurRad="280193" sx="102000" sy="102000" algn="ctr" rotWithShape="0">
              <a:schemeClr val="accent1">
                <a:lumMod val="90000"/>
                <a:lumOff val="10000"/>
                <a:alpha val="14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kumimoji="1" lang="zh-CN" altLang="en-US" sz="1600" dirty="0">
              <a:solidFill>
                <a:schemeClr val="bg1"/>
              </a:solidFill>
              <a:latin typeface="+mj-ea"/>
              <a:ea typeface="+mj-ea"/>
            </a:endParaRPr>
          </a:p>
        </p:txBody>
      </p:sp>
      <p:sp>
        <p:nvSpPr>
          <p:cNvPr id="5" name="椭圆 4">
            <a:extLst>
              <a:ext uri="{FF2B5EF4-FFF2-40B4-BE49-F238E27FC236}">
                <a16:creationId xmlns:a16="http://schemas.microsoft.com/office/drawing/2014/main" id="{12B17DA5-13CF-2643-A999-1DDEB6487270}"/>
              </a:ext>
            </a:extLst>
          </p:cNvPr>
          <p:cNvSpPr/>
          <p:nvPr/>
        </p:nvSpPr>
        <p:spPr>
          <a:xfrm>
            <a:off x="4477789" y="1308984"/>
            <a:ext cx="3236422" cy="3236422"/>
          </a:xfrm>
          <a:prstGeom prst="ellipse">
            <a:avLst/>
          </a:prstGeom>
          <a:solidFill>
            <a:schemeClr val="accent1">
              <a:alpha val="10000"/>
            </a:schemeClr>
          </a:solidFill>
          <a:ln>
            <a:noFill/>
            <a:prstDash val="lgDash"/>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dirty="0">
              <a:solidFill>
                <a:schemeClr val="bg1"/>
              </a:solidFill>
              <a:latin typeface="+mj-ea"/>
              <a:ea typeface="+mj-ea"/>
            </a:endParaRPr>
          </a:p>
        </p:txBody>
      </p:sp>
      <p:sp>
        <p:nvSpPr>
          <p:cNvPr id="6" name="椭圆 5">
            <a:extLst>
              <a:ext uri="{FF2B5EF4-FFF2-40B4-BE49-F238E27FC236}">
                <a16:creationId xmlns:a16="http://schemas.microsoft.com/office/drawing/2014/main" id="{07DC7B4E-CADD-374D-A238-63029356F11A}"/>
              </a:ext>
            </a:extLst>
          </p:cNvPr>
          <p:cNvSpPr/>
          <p:nvPr/>
        </p:nvSpPr>
        <p:spPr>
          <a:xfrm>
            <a:off x="5106197" y="1912259"/>
            <a:ext cx="1979607" cy="1979607"/>
          </a:xfrm>
          <a:prstGeom prst="ellipse">
            <a:avLst/>
          </a:prstGeom>
          <a:solidFill>
            <a:schemeClr val="accent1">
              <a:alpha val="30000"/>
            </a:schemeClr>
          </a:solidFill>
          <a:ln>
            <a:noFill/>
            <a:prstDash val="lgDash"/>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dirty="0">
              <a:solidFill>
                <a:schemeClr val="bg1"/>
              </a:solidFill>
              <a:latin typeface="+mj-ea"/>
              <a:ea typeface="+mj-ea"/>
            </a:endParaRPr>
          </a:p>
        </p:txBody>
      </p:sp>
      <p:sp>
        <p:nvSpPr>
          <p:cNvPr id="7" name="椭圆 6">
            <a:extLst>
              <a:ext uri="{FF2B5EF4-FFF2-40B4-BE49-F238E27FC236}">
                <a16:creationId xmlns:a16="http://schemas.microsoft.com/office/drawing/2014/main" id="{105287B5-3B9F-6A41-9CB1-38CAB229EECE}"/>
              </a:ext>
            </a:extLst>
          </p:cNvPr>
          <p:cNvSpPr/>
          <p:nvPr/>
        </p:nvSpPr>
        <p:spPr>
          <a:xfrm>
            <a:off x="5341644" y="2132447"/>
            <a:ext cx="1508712" cy="1508712"/>
          </a:xfrm>
          <a:prstGeom prst="ellipse">
            <a:avLst/>
          </a:prstGeom>
          <a:solidFill>
            <a:schemeClr val="accent1"/>
          </a:solidFill>
          <a:ln>
            <a:noFill/>
            <a:prstDash val="lgDash"/>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8" name="user_209046">
            <a:extLst>
              <a:ext uri="{FF2B5EF4-FFF2-40B4-BE49-F238E27FC236}">
                <a16:creationId xmlns:a16="http://schemas.microsoft.com/office/drawing/2014/main" id="{0C0B6CAC-5D76-EF45-BAD2-03911348E0B9}"/>
              </a:ext>
            </a:extLst>
          </p:cNvPr>
          <p:cNvSpPr/>
          <p:nvPr/>
        </p:nvSpPr>
        <p:spPr>
          <a:xfrm>
            <a:off x="5921627" y="2404164"/>
            <a:ext cx="467162" cy="421266"/>
          </a:xfrm>
          <a:custGeom>
            <a:avLst/>
            <a:gdLst>
              <a:gd name="connsiteX0" fmla="*/ 521432 w 608344"/>
              <a:gd name="connsiteY0" fmla="*/ 370453 h 548582"/>
              <a:gd name="connsiteX1" fmla="*/ 465737 w 608344"/>
              <a:gd name="connsiteY1" fmla="*/ 425787 h 548582"/>
              <a:gd name="connsiteX2" fmla="*/ 442491 w 608344"/>
              <a:gd name="connsiteY2" fmla="*/ 402479 h 548582"/>
              <a:gd name="connsiteX3" fmla="*/ 418201 w 608344"/>
              <a:gd name="connsiteY3" fmla="*/ 426545 h 548582"/>
              <a:gd name="connsiteX4" fmla="*/ 441447 w 608344"/>
              <a:gd name="connsiteY4" fmla="*/ 449948 h 548582"/>
              <a:gd name="connsiteX5" fmla="*/ 465642 w 608344"/>
              <a:gd name="connsiteY5" fmla="*/ 474204 h 548582"/>
              <a:gd name="connsiteX6" fmla="*/ 489932 w 608344"/>
              <a:gd name="connsiteY6" fmla="*/ 450043 h 548582"/>
              <a:gd name="connsiteX7" fmla="*/ 545532 w 608344"/>
              <a:gd name="connsiteY7" fmla="*/ 394709 h 548582"/>
              <a:gd name="connsiteX8" fmla="*/ 481962 w 608344"/>
              <a:gd name="connsiteY8" fmla="*/ 296170 h 548582"/>
              <a:gd name="connsiteX9" fmla="*/ 608344 w 608344"/>
              <a:gd name="connsiteY9" fmla="*/ 422376 h 548582"/>
              <a:gd name="connsiteX10" fmla="*/ 481962 w 608344"/>
              <a:gd name="connsiteY10" fmla="*/ 548582 h 548582"/>
              <a:gd name="connsiteX11" fmla="*/ 355579 w 608344"/>
              <a:gd name="connsiteY11" fmla="*/ 422376 h 548582"/>
              <a:gd name="connsiteX12" fmla="*/ 481962 w 608344"/>
              <a:gd name="connsiteY12" fmla="*/ 296170 h 548582"/>
              <a:gd name="connsiteX13" fmla="*/ 255835 w 608344"/>
              <a:gd name="connsiteY13" fmla="*/ 446 h 548582"/>
              <a:gd name="connsiteX14" fmla="*/ 317801 w 608344"/>
              <a:gd name="connsiteY14" fmla="*/ 13616 h 548582"/>
              <a:gd name="connsiteX15" fmla="*/ 348072 w 608344"/>
              <a:gd name="connsiteY15" fmla="*/ 41661 h 548582"/>
              <a:gd name="connsiteX16" fmla="*/ 381190 w 608344"/>
              <a:gd name="connsiteY16" fmla="*/ 146831 h 548582"/>
              <a:gd name="connsiteX17" fmla="*/ 378913 w 608344"/>
              <a:gd name="connsiteY17" fmla="*/ 156211 h 548582"/>
              <a:gd name="connsiteX18" fmla="*/ 387833 w 608344"/>
              <a:gd name="connsiteY18" fmla="*/ 200458 h 548582"/>
              <a:gd name="connsiteX19" fmla="*/ 366387 w 608344"/>
              <a:gd name="connsiteY19" fmla="*/ 237694 h 548582"/>
              <a:gd name="connsiteX20" fmla="*/ 351393 w 608344"/>
              <a:gd name="connsiteY20" fmla="*/ 278720 h 548582"/>
              <a:gd name="connsiteX21" fmla="*/ 351393 w 608344"/>
              <a:gd name="connsiteY21" fmla="*/ 322873 h 548582"/>
              <a:gd name="connsiteX22" fmla="*/ 317611 w 608344"/>
              <a:gd name="connsiteY22" fmla="*/ 422358 h 548582"/>
              <a:gd name="connsiteX23" fmla="*/ 376635 w 608344"/>
              <a:gd name="connsiteY23" fmla="*/ 548088 h 548582"/>
              <a:gd name="connsiteX24" fmla="*/ 26855 w 608344"/>
              <a:gd name="connsiteY24" fmla="*/ 548088 h 548582"/>
              <a:gd name="connsiteX25" fmla="*/ 0 w 608344"/>
              <a:gd name="connsiteY25" fmla="*/ 521274 h 548582"/>
              <a:gd name="connsiteX26" fmla="*/ 0 w 608344"/>
              <a:gd name="connsiteY26" fmla="*/ 473806 h 548582"/>
              <a:gd name="connsiteX27" fmla="*/ 19453 w 608344"/>
              <a:gd name="connsiteY27" fmla="*/ 432969 h 548582"/>
              <a:gd name="connsiteX28" fmla="*/ 173751 w 608344"/>
              <a:gd name="connsiteY28" fmla="*/ 334242 h 548582"/>
              <a:gd name="connsiteX29" fmla="*/ 176408 w 608344"/>
              <a:gd name="connsiteY29" fmla="*/ 329884 h 548582"/>
              <a:gd name="connsiteX30" fmla="*/ 176408 w 608344"/>
              <a:gd name="connsiteY30" fmla="*/ 278720 h 548582"/>
              <a:gd name="connsiteX31" fmla="*/ 161320 w 608344"/>
              <a:gd name="connsiteY31" fmla="*/ 237694 h 548582"/>
              <a:gd name="connsiteX32" fmla="*/ 139969 w 608344"/>
              <a:gd name="connsiteY32" fmla="*/ 200458 h 548582"/>
              <a:gd name="connsiteX33" fmla="*/ 148320 w 608344"/>
              <a:gd name="connsiteY33" fmla="*/ 156211 h 548582"/>
              <a:gd name="connsiteX34" fmla="*/ 146042 w 608344"/>
              <a:gd name="connsiteY34" fmla="*/ 146736 h 548582"/>
              <a:gd name="connsiteX35" fmla="*/ 145758 w 608344"/>
              <a:gd name="connsiteY35" fmla="*/ 95099 h 548582"/>
              <a:gd name="connsiteX36" fmla="*/ 176029 w 608344"/>
              <a:gd name="connsiteY36" fmla="*/ 42135 h 548582"/>
              <a:gd name="connsiteX37" fmla="*/ 203928 w 608344"/>
              <a:gd name="connsiteY37" fmla="*/ 19017 h 548582"/>
              <a:gd name="connsiteX38" fmla="*/ 231162 w 608344"/>
              <a:gd name="connsiteY38" fmla="*/ 5089 h 548582"/>
              <a:gd name="connsiteX39" fmla="*/ 255835 w 608344"/>
              <a:gd name="connsiteY39" fmla="*/ 446 h 548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608344" h="548582">
                <a:moveTo>
                  <a:pt x="521432" y="370453"/>
                </a:moveTo>
                <a:lnTo>
                  <a:pt x="465737" y="425787"/>
                </a:lnTo>
                <a:lnTo>
                  <a:pt x="442491" y="402479"/>
                </a:lnTo>
                <a:lnTo>
                  <a:pt x="418201" y="426545"/>
                </a:lnTo>
                <a:lnTo>
                  <a:pt x="441447" y="449948"/>
                </a:lnTo>
                <a:lnTo>
                  <a:pt x="465642" y="474204"/>
                </a:lnTo>
                <a:lnTo>
                  <a:pt x="489932" y="450043"/>
                </a:lnTo>
                <a:lnTo>
                  <a:pt x="545532" y="394709"/>
                </a:lnTo>
                <a:close/>
                <a:moveTo>
                  <a:pt x="481962" y="296170"/>
                </a:moveTo>
                <a:cubicBezTo>
                  <a:pt x="551795" y="296170"/>
                  <a:pt x="608344" y="352641"/>
                  <a:pt x="608344" y="422376"/>
                </a:cubicBezTo>
                <a:cubicBezTo>
                  <a:pt x="608344" y="492111"/>
                  <a:pt x="551795" y="548582"/>
                  <a:pt x="481962" y="548582"/>
                </a:cubicBezTo>
                <a:cubicBezTo>
                  <a:pt x="412129" y="548582"/>
                  <a:pt x="355579" y="492111"/>
                  <a:pt x="355579" y="422376"/>
                </a:cubicBezTo>
                <a:cubicBezTo>
                  <a:pt x="355579" y="352641"/>
                  <a:pt x="412129" y="296170"/>
                  <a:pt x="481962" y="296170"/>
                </a:cubicBezTo>
                <a:close/>
                <a:moveTo>
                  <a:pt x="255835" y="446"/>
                </a:moveTo>
                <a:cubicBezTo>
                  <a:pt x="282785" y="-1828"/>
                  <a:pt x="303187" y="4899"/>
                  <a:pt x="317801" y="13616"/>
                </a:cubicBezTo>
                <a:cubicBezTo>
                  <a:pt x="339721" y="25744"/>
                  <a:pt x="348072" y="41661"/>
                  <a:pt x="348072" y="41661"/>
                </a:cubicBezTo>
                <a:cubicBezTo>
                  <a:pt x="348072" y="41661"/>
                  <a:pt x="398176" y="45167"/>
                  <a:pt x="381190" y="146831"/>
                </a:cubicBezTo>
                <a:cubicBezTo>
                  <a:pt x="380621" y="149863"/>
                  <a:pt x="379862" y="153085"/>
                  <a:pt x="378913" y="156211"/>
                </a:cubicBezTo>
                <a:cubicBezTo>
                  <a:pt x="388592" y="156211"/>
                  <a:pt x="398271" y="163507"/>
                  <a:pt x="387833" y="200458"/>
                </a:cubicBezTo>
                <a:cubicBezTo>
                  <a:pt x="379672" y="229262"/>
                  <a:pt x="372080" y="237221"/>
                  <a:pt x="366387" y="237694"/>
                </a:cubicBezTo>
                <a:cubicBezTo>
                  <a:pt x="364394" y="250675"/>
                  <a:pt x="359175" y="265076"/>
                  <a:pt x="351393" y="278720"/>
                </a:cubicBezTo>
                <a:lnTo>
                  <a:pt x="351393" y="322873"/>
                </a:lnTo>
                <a:cubicBezTo>
                  <a:pt x="330232" y="350539"/>
                  <a:pt x="317611" y="385027"/>
                  <a:pt x="317611" y="422358"/>
                </a:cubicBezTo>
                <a:cubicBezTo>
                  <a:pt x="317611" y="472764"/>
                  <a:pt x="340480" y="518053"/>
                  <a:pt x="376635" y="548088"/>
                </a:cubicBezTo>
                <a:lnTo>
                  <a:pt x="26855" y="548088"/>
                </a:lnTo>
                <a:cubicBezTo>
                  <a:pt x="12052" y="548088"/>
                  <a:pt x="0" y="536055"/>
                  <a:pt x="0" y="521274"/>
                </a:cubicBezTo>
                <a:lnTo>
                  <a:pt x="0" y="473806"/>
                </a:lnTo>
                <a:cubicBezTo>
                  <a:pt x="0" y="457983"/>
                  <a:pt x="7212" y="443013"/>
                  <a:pt x="19453" y="432969"/>
                </a:cubicBezTo>
                <a:cubicBezTo>
                  <a:pt x="86638" y="377921"/>
                  <a:pt x="159043" y="341443"/>
                  <a:pt x="173751" y="334242"/>
                </a:cubicBezTo>
                <a:cubicBezTo>
                  <a:pt x="175365" y="333484"/>
                  <a:pt x="176408" y="331779"/>
                  <a:pt x="176408" y="329884"/>
                </a:cubicBezTo>
                <a:lnTo>
                  <a:pt x="176408" y="278720"/>
                </a:lnTo>
                <a:cubicBezTo>
                  <a:pt x="168437" y="265076"/>
                  <a:pt x="163313" y="250675"/>
                  <a:pt x="161320" y="237694"/>
                </a:cubicBezTo>
                <a:cubicBezTo>
                  <a:pt x="155627" y="237221"/>
                  <a:pt x="148035" y="229072"/>
                  <a:pt x="139969" y="200458"/>
                </a:cubicBezTo>
                <a:cubicBezTo>
                  <a:pt x="129531" y="164170"/>
                  <a:pt x="138925" y="156496"/>
                  <a:pt x="148320" y="156211"/>
                </a:cubicBezTo>
                <a:cubicBezTo>
                  <a:pt x="147371" y="153085"/>
                  <a:pt x="146612" y="149863"/>
                  <a:pt x="146042" y="146736"/>
                </a:cubicBezTo>
                <a:cubicBezTo>
                  <a:pt x="142436" y="128450"/>
                  <a:pt x="141487" y="111396"/>
                  <a:pt x="145758" y="95099"/>
                </a:cubicBezTo>
                <a:cubicBezTo>
                  <a:pt x="150787" y="73212"/>
                  <a:pt x="162744" y="55684"/>
                  <a:pt x="176029" y="42135"/>
                </a:cubicBezTo>
                <a:cubicBezTo>
                  <a:pt x="184379" y="33134"/>
                  <a:pt x="193869" y="25459"/>
                  <a:pt x="203928" y="19017"/>
                </a:cubicBezTo>
                <a:cubicBezTo>
                  <a:pt x="212183" y="13332"/>
                  <a:pt x="221293" y="8405"/>
                  <a:pt x="231162" y="5089"/>
                </a:cubicBezTo>
                <a:cubicBezTo>
                  <a:pt x="238849" y="2625"/>
                  <a:pt x="247105" y="825"/>
                  <a:pt x="255835" y="446"/>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文本框 8">
            <a:extLst>
              <a:ext uri="{FF2B5EF4-FFF2-40B4-BE49-F238E27FC236}">
                <a16:creationId xmlns:a16="http://schemas.microsoft.com/office/drawing/2014/main" id="{C3F94FEB-A42A-3F44-8D49-FD61D1A5237B}"/>
              </a:ext>
            </a:extLst>
          </p:cNvPr>
          <p:cNvSpPr txBox="1"/>
          <p:nvPr/>
        </p:nvSpPr>
        <p:spPr>
          <a:xfrm>
            <a:off x="5705246" y="2902063"/>
            <a:ext cx="781508" cy="283432"/>
          </a:xfrm>
          <a:prstGeom prst="rect">
            <a:avLst/>
          </a:prstGeom>
          <a:noFill/>
        </p:spPr>
        <p:txBody>
          <a:bodyPr wrap="square" lIns="0" tIns="0" rIns="0" bIns="0" rtlCol="0" anchor="t">
            <a:spAutoFit/>
          </a:bodyPr>
          <a:lstStyle/>
          <a:p>
            <a:pPr algn="ctr"/>
            <a:r>
              <a:rPr lang="zh-CN" altLang="en-US" sz="2000" dirty="0">
                <a:solidFill>
                  <a:schemeClr val="bg1"/>
                </a:solidFill>
                <a:latin typeface="+mj-ea"/>
                <a:ea typeface="+mj-ea"/>
              </a:rPr>
              <a:t>关键词</a:t>
            </a:r>
          </a:p>
        </p:txBody>
      </p:sp>
      <p:sp>
        <p:nvSpPr>
          <p:cNvPr id="10" name="弧 9">
            <a:extLst>
              <a:ext uri="{FF2B5EF4-FFF2-40B4-BE49-F238E27FC236}">
                <a16:creationId xmlns:a16="http://schemas.microsoft.com/office/drawing/2014/main" id="{48A222AD-A591-3B4E-B85E-07E3AC4EE11F}"/>
              </a:ext>
            </a:extLst>
          </p:cNvPr>
          <p:cNvSpPr/>
          <p:nvPr/>
        </p:nvSpPr>
        <p:spPr>
          <a:xfrm>
            <a:off x="4944687" y="1775882"/>
            <a:ext cx="2302626" cy="2302626"/>
          </a:xfrm>
          <a:prstGeom prst="arc">
            <a:avLst>
              <a:gd name="adj1" fmla="val 18983830"/>
              <a:gd name="adj2" fmla="val 1359804"/>
            </a:avLst>
          </a:prstGeom>
          <a:ln w="53975">
            <a:tailEnd type="stealth"/>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zh-CN" altLang="en-US"/>
          </a:p>
        </p:txBody>
      </p:sp>
      <p:sp>
        <p:nvSpPr>
          <p:cNvPr id="11" name="弧 10">
            <a:extLst>
              <a:ext uri="{FF2B5EF4-FFF2-40B4-BE49-F238E27FC236}">
                <a16:creationId xmlns:a16="http://schemas.microsoft.com/office/drawing/2014/main" id="{6C0B83A2-AA96-2241-843E-F9D4939B123E}"/>
              </a:ext>
            </a:extLst>
          </p:cNvPr>
          <p:cNvSpPr/>
          <p:nvPr/>
        </p:nvSpPr>
        <p:spPr>
          <a:xfrm rot="7200000">
            <a:off x="4944687" y="1775882"/>
            <a:ext cx="2302626" cy="2302626"/>
          </a:xfrm>
          <a:prstGeom prst="arc">
            <a:avLst>
              <a:gd name="adj1" fmla="val 18983830"/>
              <a:gd name="adj2" fmla="val 1359804"/>
            </a:avLst>
          </a:prstGeom>
          <a:ln w="53975">
            <a:tailEnd type="stealth"/>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zh-CN" altLang="en-US"/>
          </a:p>
        </p:txBody>
      </p:sp>
      <p:sp>
        <p:nvSpPr>
          <p:cNvPr id="13" name="弧 12">
            <a:extLst>
              <a:ext uri="{FF2B5EF4-FFF2-40B4-BE49-F238E27FC236}">
                <a16:creationId xmlns:a16="http://schemas.microsoft.com/office/drawing/2014/main" id="{69057916-38E9-474B-81FE-06521ADCBF49}"/>
              </a:ext>
            </a:extLst>
          </p:cNvPr>
          <p:cNvSpPr/>
          <p:nvPr/>
        </p:nvSpPr>
        <p:spPr>
          <a:xfrm rot="14400000">
            <a:off x="4944687" y="1775882"/>
            <a:ext cx="2302626" cy="2302626"/>
          </a:xfrm>
          <a:prstGeom prst="arc">
            <a:avLst>
              <a:gd name="adj1" fmla="val 18983830"/>
              <a:gd name="adj2" fmla="val 1359804"/>
            </a:avLst>
          </a:prstGeom>
          <a:ln w="53975">
            <a:tailEnd type="stealth"/>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zh-CN" altLang="en-US"/>
          </a:p>
        </p:txBody>
      </p:sp>
      <p:cxnSp>
        <p:nvCxnSpPr>
          <p:cNvPr id="15" name="直线连接符 14">
            <a:extLst>
              <a:ext uri="{FF2B5EF4-FFF2-40B4-BE49-F238E27FC236}">
                <a16:creationId xmlns:a16="http://schemas.microsoft.com/office/drawing/2014/main" id="{90472205-B7BC-CB49-9FA3-C29C840E6F49}"/>
              </a:ext>
            </a:extLst>
          </p:cNvPr>
          <p:cNvCxnSpPr>
            <a:cxnSpLocks/>
          </p:cNvCxnSpPr>
          <p:nvPr/>
        </p:nvCxnSpPr>
        <p:spPr>
          <a:xfrm flipV="1">
            <a:off x="6910481" y="1418197"/>
            <a:ext cx="662161" cy="726872"/>
          </a:xfrm>
          <a:prstGeom prst="line">
            <a:avLst/>
          </a:prstGeom>
          <a:ln w="25400">
            <a:tailEnd type="none"/>
          </a:ln>
        </p:spPr>
        <p:style>
          <a:lnRef idx="1">
            <a:schemeClr val="accent1"/>
          </a:lnRef>
          <a:fillRef idx="0">
            <a:schemeClr val="accent1"/>
          </a:fillRef>
          <a:effectRef idx="0">
            <a:schemeClr val="accent1"/>
          </a:effectRef>
          <a:fontRef idx="minor">
            <a:schemeClr val="tx1"/>
          </a:fontRef>
        </p:style>
      </p:cxnSp>
      <p:sp>
        <p:nvSpPr>
          <p:cNvPr id="18" name="平行四边形 17">
            <a:extLst>
              <a:ext uri="{FF2B5EF4-FFF2-40B4-BE49-F238E27FC236}">
                <a16:creationId xmlns:a16="http://schemas.microsoft.com/office/drawing/2014/main" id="{93E9E740-99E0-1D46-82FA-5B0CED058B0B}"/>
              </a:ext>
            </a:extLst>
          </p:cNvPr>
          <p:cNvSpPr/>
          <p:nvPr/>
        </p:nvSpPr>
        <p:spPr>
          <a:xfrm>
            <a:off x="8067557" y="1156888"/>
            <a:ext cx="1566960" cy="395167"/>
          </a:xfrm>
          <a:prstGeom prst="parallelogram">
            <a:avLst/>
          </a:prstGeom>
          <a:solidFill>
            <a:schemeClr val="accent1">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kumimoji="1" lang="zh-CN" altLang="en-US" sz="1600" dirty="0">
              <a:solidFill>
                <a:schemeClr val="bg1"/>
              </a:solidFill>
              <a:latin typeface="+mj-ea"/>
              <a:ea typeface="+mj-ea"/>
            </a:endParaRPr>
          </a:p>
        </p:txBody>
      </p:sp>
      <p:sp>
        <p:nvSpPr>
          <p:cNvPr id="17" name="椭圆 16">
            <a:extLst>
              <a:ext uri="{FF2B5EF4-FFF2-40B4-BE49-F238E27FC236}">
                <a16:creationId xmlns:a16="http://schemas.microsoft.com/office/drawing/2014/main" id="{0AB862A7-AB38-544E-BBE0-EE59CFC3F5C8}"/>
              </a:ext>
            </a:extLst>
          </p:cNvPr>
          <p:cNvSpPr/>
          <p:nvPr/>
        </p:nvSpPr>
        <p:spPr>
          <a:xfrm>
            <a:off x="7714211" y="1027072"/>
            <a:ext cx="654800" cy="6548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kumimoji="1" lang="en-US" altLang="zh-CN" sz="1600" dirty="0">
                <a:solidFill>
                  <a:schemeClr val="bg1"/>
                </a:solidFill>
                <a:latin typeface="+mj-ea"/>
                <a:ea typeface="+mj-ea"/>
              </a:rPr>
              <a:t>01</a:t>
            </a:r>
            <a:endParaRPr kumimoji="1" lang="zh-CN" altLang="en-US" sz="1600" dirty="0">
              <a:solidFill>
                <a:schemeClr val="bg1"/>
              </a:solidFill>
              <a:latin typeface="+mj-ea"/>
              <a:ea typeface="+mj-ea"/>
            </a:endParaRPr>
          </a:p>
        </p:txBody>
      </p:sp>
      <p:sp>
        <p:nvSpPr>
          <p:cNvPr id="20" name="文本框 19">
            <a:extLst>
              <a:ext uri="{FF2B5EF4-FFF2-40B4-BE49-F238E27FC236}">
                <a16:creationId xmlns:a16="http://schemas.microsoft.com/office/drawing/2014/main" id="{6A33E97B-41B3-0F49-87C5-F066BE63F31F}"/>
              </a:ext>
            </a:extLst>
          </p:cNvPr>
          <p:cNvSpPr txBox="1"/>
          <p:nvPr/>
        </p:nvSpPr>
        <p:spPr>
          <a:xfrm>
            <a:off x="8503066" y="1215971"/>
            <a:ext cx="692497" cy="276999"/>
          </a:xfrm>
          <a:prstGeom prst="rect">
            <a:avLst/>
          </a:prstGeom>
          <a:noFill/>
        </p:spPr>
        <p:txBody>
          <a:bodyPr wrap="none" lIns="0" tIns="0" rIns="0" bIns="0" rtlCol="0" anchor="t">
            <a:spAutoFit/>
          </a:bodyPr>
          <a:lstStyle/>
          <a:p>
            <a:pPr algn="l"/>
            <a:r>
              <a:rPr kumimoji="1" lang="zh-CN" altLang="en-US" dirty="0">
                <a:solidFill>
                  <a:schemeClr val="bg1"/>
                </a:solidFill>
              </a:rPr>
              <a:t>关键词</a:t>
            </a:r>
          </a:p>
        </p:txBody>
      </p:sp>
      <p:sp>
        <p:nvSpPr>
          <p:cNvPr id="22" name="文本框 21">
            <a:extLst>
              <a:ext uri="{FF2B5EF4-FFF2-40B4-BE49-F238E27FC236}">
                <a16:creationId xmlns:a16="http://schemas.microsoft.com/office/drawing/2014/main" id="{447DF139-50C4-E742-B17F-ACEEEFA8316D}"/>
              </a:ext>
            </a:extLst>
          </p:cNvPr>
          <p:cNvSpPr txBox="1"/>
          <p:nvPr/>
        </p:nvSpPr>
        <p:spPr>
          <a:xfrm>
            <a:off x="8285773" y="1718616"/>
            <a:ext cx="2465443" cy="387286"/>
          </a:xfrm>
          <a:prstGeom prst="rect">
            <a:avLst/>
          </a:prstGeom>
          <a:noFill/>
        </p:spPr>
        <p:txBody>
          <a:bodyPr wrap="square" lIns="0" tIns="0" rIns="0" bIns="0" rtlCol="0" anchor="t">
            <a:spAutoFit/>
          </a:bodyPr>
          <a:lstStyle/>
          <a:p>
            <a:pPr>
              <a:lnSpc>
                <a:spcPct val="130000"/>
              </a:lnSpc>
            </a:pPr>
            <a:r>
              <a:rPr lang="en-US" altLang="zh-CN" sz="1000" b="0" dirty="0">
                <a:solidFill>
                  <a:schemeClr val="tx1">
                    <a:lumMod val="75000"/>
                    <a:lumOff val="25000"/>
                  </a:schemeClr>
                </a:solidFill>
                <a:effectLst/>
                <a:latin typeface="+mn-ea"/>
              </a:rPr>
              <a:t>Lorem ipsum dolor sit amet, consectetur adipisicing elit, sed do eiusmod tempor</a:t>
            </a:r>
            <a:endParaRPr lang="zh-CN" altLang="en-US" sz="1000" b="0" dirty="0">
              <a:solidFill>
                <a:schemeClr val="tx1">
                  <a:lumMod val="75000"/>
                  <a:lumOff val="25000"/>
                </a:schemeClr>
              </a:solidFill>
              <a:effectLst/>
              <a:latin typeface="+mn-ea"/>
            </a:endParaRPr>
          </a:p>
        </p:txBody>
      </p:sp>
      <p:sp>
        <p:nvSpPr>
          <p:cNvPr id="23" name="剪去单角的矩形 22">
            <a:extLst>
              <a:ext uri="{FF2B5EF4-FFF2-40B4-BE49-F238E27FC236}">
                <a16:creationId xmlns:a16="http://schemas.microsoft.com/office/drawing/2014/main" id="{01B49659-D857-EA42-B004-1243D2787FE7}"/>
              </a:ext>
            </a:extLst>
          </p:cNvPr>
          <p:cNvSpPr/>
          <p:nvPr/>
        </p:nvSpPr>
        <p:spPr>
          <a:xfrm rot="10800000" flipH="1">
            <a:off x="7305373" y="5174959"/>
            <a:ext cx="2796042" cy="634591"/>
          </a:xfrm>
          <a:prstGeom prst="snip1Rect">
            <a:avLst/>
          </a:prstGeom>
          <a:solidFill>
            <a:schemeClr val="bg1"/>
          </a:solidFill>
          <a:ln>
            <a:noFill/>
          </a:ln>
          <a:effectLst>
            <a:outerShdw blurRad="280193" sx="102000" sy="102000" algn="ctr" rotWithShape="0">
              <a:schemeClr val="accent1">
                <a:lumMod val="90000"/>
                <a:lumOff val="10000"/>
                <a:alpha val="14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kumimoji="1" lang="zh-CN" altLang="en-US" sz="1600" dirty="0">
              <a:solidFill>
                <a:schemeClr val="bg1"/>
              </a:solidFill>
              <a:latin typeface="+mj-ea"/>
              <a:ea typeface="+mj-ea"/>
            </a:endParaRPr>
          </a:p>
        </p:txBody>
      </p:sp>
      <p:sp>
        <p:nvSpPr>
          <p:cNvPr id="24" name="平行四边形 23">
            <a:extLst>
              <a:ext uri="{FF2B5EF4-FFF2-40B4-BE49-F238E27FC236}">
                <a16:creationId xmlns:a16="http://schemas.microsoft.com/office/drawing/2014/main" id="{85999773-DD42-6C48-9DFE-609BDC1C237F}"/>
              </a:ext>
            </a:extLst>
          </p:cNvPr>
          <p:cNvSpPr/>
          <p:nvPr/>
        </p:nvSpPr>
        <p:spPr>
          <a:xfrm>
            <a:off x="7263827" y="4720710"/>
            <a:ext cx="1566960" cy="395167"/>
          </a:xfrm>
          <a:prstGeom prst="parallelogram">
            <a:avLst/>
          </a:prstGeom>
          <a:solidFill>
            <a:schemeClr val="accent1">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kumimoji="1" lang="zh-CN" altLang="en-US" sz="1600" dirty="0">
              <a:solidFill>
                <a:schemeClr val="bg1"/>
              </a:solidFill>
              <a:latin typeface="+mj-ea"/>
              <a:ea typeface="+mj-ea"/>
            </a:endParaRPr>
          </a:p>
        </p:txBody>
      </p:sp>
      <p:sp>
        <p:nvSpPr>
          <p:cNvPr id="25" name="椭圆 24">
            <a:extLst>
              <a:ext uri="{FF2B5EF4-FFF2-40B4-BE49-F238E27FC236}">
                <a16:creationId xmlns:a16="http://schemas.microsoft.com/office/drawing/2014/main" id="{6249964E-C6DF-F447-9D5E-8E506283FC6C}"/>
              </a:ext>
            </a:extLst>
          </p:cNvPr>
          <p:cNvSpPr/>
          <p:nvPr/>
        </p:nvSpPr>
        <p:spPr>
          <a:xfrm>
            <a:off x="6910481" y="4590894"/>
            <a:ext cx="654800" cy="6548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kumimoji="1" lang="en-US" altLang="zh-CN" sz="1600" dirty="0">
                <a:solidFill>
                  <a:schemeClr val="bg1"/>
                </a:solidFill>
                <a:latin typeface="+mj-ea"/>
                <a:ea typeface="+mj-ea"/>
              </a:rPr>
              <a:t>01</a:t>
            </a:r>
            <a:endParaRPr kumimoji="1" lang="zh-CN" altLang="en-US" sz="1600" dirty="0">
              <a:solidFill>
                <a:schemeClr val="bg1"/>
              </a:solidFill>
              <a:latin typeface="+mj-ea"/>
              <a:ea typeface="+mj-ea"/>
            </a:endParaRPr>
          </a:p>
        </p:txBody>
      </p:sp>
      <p:sp>
        <p:nvSpPr>
          <p:cNvPr id="26" name="文本框 25">
            <a:extLst>
              <a:ext uri="{FF2B5EF4-FFF2-40B4-BE49-F238E27FC236}">
                <a16:creationId xmlns:a16="http://schemas.microsoft.com/office/drawing/2014/main" id="{4ACF2D93-DE08-B14D-96A6-1623760AB8D0}"/>
              </a:ext>
            </a:extLst>
          </p:cNvPr>
          <p:cNvSpPr txBox="1"/>
          <p:nvPr/>
        </p:nvSpPr>
        <p:spPr>
          <a:xfrm>
            <a:off x="7699336" y="4779793"/>
            <a:ext cx="692497" cy="276999"/>
          </a:xfrm>
          <a:prstGeom prst="rect">
            <a:avLst/>
          </a:prstGeom>
          <a:noFill/>
        </p:spPr>
        <p:txBody>
          <a:bodyPr wrap="none" lIns="0" tIns="0" rIns="0" bIns="0" rtlCol="0" anchor="t">
            <a:spAutoFit/>
          </a:bodyPr>
          <a:lstStyle/>
          <a:p>
            <a:pPr algn="l"/>
            <a:r>
              <a:rPr kumimoji="1" lang="zh-CN" altLang="en-US" dirty="0">
                <a:solidFill>
                  <a:schemeClr val="bg1"/>
                </a:solidFill>
              </a:rPr>
              <a:t>关键词</a:t>
            </a:r>
          </a:p>
        </p:txBody>
      </p:sp>
      <p:sp>
        <p:nvSpPr>
          <p:cNvPr id="27" name="文本框 26">
            <a:extLst>
              <a:ext uri="{FF2B5EF4-FFF2-40B4-BE49-F238E27FC236}">
                <a16:creationId xmlns:a16="http://schemas.microsoft.com/office/drawing/2014/main" id="{65333662-BE02-5840-890F-3364390E7090}"/>
              </a:ext>
            </a:extLst>
          </p:cNvPr>
          <p:cNvSpPr txBox="1"/>
          <p:nvPr/>
        </p:nvSpPr>
        <p:spPr>
          <a:xfrm>
            <a:off x="7482043" y="5282438"/>
            <a:ext cx="2465443" cy="387286"/>
          </a:xfrm>
          <a:prstGeom prst="rect">
            <a:avLst/>
          </a:prstGeom>
          <a:noFill/>
        </p:spPr>
        <p:txBody>
          <a:bodyPr wrap="square" lIns="0" tIns="0" rIns="0" bIns="0" rtlCol="0" anchor="t">
            <a:spAutoFit/>
          </a:bodyPr>
          <a:lstStyle/>
          <a:p>
            <a:pPr>
              <a:lnSpc>
                <a:spcPct val="130000"/>
              </a:lnSpc>
            </a:pPr>
            <a:r>
              <a:rPr lang="en-US" altLang="zh-CN" sz="1000" b="0" dirty="0">
                <a:solidFill>
                  <a:schemeClr val="tx1">
                    <a:lumMod val="75000"/>
                    <a:lumOff val="25000"/>
                  </a:schemeClr>
                </a:solidFill>
                <a:effectLst/>
                <a:latin typeface="+mn-ea"/>
              </a:rPr>
              <a:t>Lorem ipsum dolor sit amet, consectetur adipisicing elit, sed do eiusmod tempor</a:t>
            </a:r>
            <a:endParaRPr lang="zh-CN" altLang="en-US" sz="1000" b="0" dirty="0">
              <a:solidFill>
                <a:schemeClr val="tx1">
                  <a:lumMod val="75000"/>
                  <a:lumOff val="25000"/>
                </a:schemeClr>
              </a:solidFill>
              <a:effectLst/>
              <a:latin typeface="+mn-ea"/>
            </a:endParaRPr>
          </a:p>
        </p:txBody>
      </p:sp>
      <p:cxnSp>
        <p:nvCxnSpPr>
          <p:cNvPr id="28" name="直线连接符 27">
            <a:extLst>
              <a:ext uri="{FF2B5EF4-FFF2-40B4-BE49-F238E27FC236}">
                <a16:creationId xmlns:a16="http://schemas.microsoft.com/office/drawing/2014/main" id="{1093ACB5-5C5B-DA4A-9707-EF36FB2E8630}"/>
              </a:ext>
            </a:extLst>
          </p:cNvPr>
          <p:cNvCxnSpPr>
            <a:cxnSpLocks/>
          </p:cNvCxnSpPr>
          <p:nvPr/>
        </p:nvCxnSpPr>
        <p:spPr>
          <a:xfrm flipH="1" flipV="1">
            <a:off x="6343411" y="4023567"/>
            <a:ext cx="617490" cy="598474"/>
          </a:xfrm>
          <a:prstGeom prst="line">
            <a:avLst/>
          </a:prstGeom>
          <a:ln w="25400">
            <a:tailEnd type="none"/>
          </a:ln>
        </p:spPr>
        <p:style>
          <a:lnRef idx="1">
            <a:schemeClr val="accent1"/>
          </a:lnRef>
          <a:fillRef idx="0">
            <a:schemeClr val="accent1"/>
          </a:fillRef>
          <a:effectRef idx="0">
            <a:schemeClr val="accent1"/>
          </a:effectRef>
          <a:fontRef idx="minor">
            <a:schemeClr val="tx1"/>
          </a:fontRef>
        </p:style>
      </p:cxnSp>
      <p:sp>
        <p:nvSpPr>
          <p:cNvPr id="34" name="剪去单角的矩形 33">
            <a:extLst>
              <a:ext uri="{FF2B5EF4-FFF2-40B4-BE49-F238E27FC236}">
                <a16:creationId xmlns:a16="http://schemas.microsoft.com/office/drawing/2014/main" id="{5FEE2F92-F3A2-A649-AE6A-807779AE0699}"/>
              </a:ext>
            </a:extLst>
          </p:cNvPr>
          <p:cNvSpPr/>
          <p:nvPr/>
        </p:nvSpPr>
        <p:spPr>
          <a:xfrm rot="10800000" flipH="1">
            <a:off x="957632" y="3244577"/>
            <a:ext cx="2796042" cy="634591"/>
          </a:xfrm>
          <a:prstGeom prst="snip1Rect">
            <a:avLst/>
          </a:prstGeom>
          <a:solidFill>
            <a:schemeClr val="bg1"/>
          </a:solidFill>
          <a:ln>
            <a:noFill/>
          </a:ln>
          <a:effectLst>
            <a:outerShdw blurRad="280193" sx="102000" sy="102000" algn="ctr" rotWithShape="0">
              <a:schemeClr val="accent1">
                <a:lumMod val="90000"/>
                <a:lumOff val="10000"/>
                <a:alpha val="14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kumimoji="1" lang="zh-CN" altLang="en-US" sz="1600" dirty="0">
              <a:solidFill>
                <a:schemeClr val="bg1"/>
              </a:solidFill>
              <a:latin typeface="+mj-ea"/>
              <a:ea typeface="+mj-ea"/>
            </a:endParaRPr>
          </a:p>
        </p:txBody>
      </p:sp>
      <p:sp>
        <p:nvSpPr>
          <p:cNvPr id="35" name="平行四边形 34">
            <a:extLst>
              <a:ext uri="{FF2B5EF4-FFF2-40B4-BE49-F238E27FC236}">
                <a16:creationId xmlns:a16="http://schemas.microsoft.com/office/drawing/2014/main" id="{87DDBF62-6C99-DA42-8811-C6DC98238259}"/>
              </a:ext>
            </a:extLst>
          </p:cNvPr>
          <p:cNvSpPr/>
          <p:nvPr/>
        </p:nvSpPr>
        <p:spPr>
          <a:xfrm>
            <a:off x="2237371" y="2790328"/>
            <a:ext cx="1566960" cy="395167"/>
          </a:xfrm>
          <a:prstGeom prst="parallelogram">
            <a:avLst/>
          </a:prstGeom>
          <a:solidFill>
            <a:schemeClr val="accent1">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kumimoji="1" lang="zh-CN" altLang="en-US" sz="1600" dirty="0">
              <a:solidFill>
                <a:schemeClr val="bg1"/>
              </a:solidFill>
              <a:latin typeface="+mj-ea"/>
              <a:ea typeface="+mj-ea"/>
            </a:endParaRPr>
          </a:p>
        </p:txBody>
      </p:sp>
      <p:sp>
        <p:nvSpPr>
          <p:cNvPr id="36" name="椭圆 35">
            <a:extLst>
              <a:ext uri="{FF2B5EF4-FFF2-40B4-BE49-F238E27FC236}">
                <a16:creationId xmlns:a16="http://schemas.microsoft.com/office/drawing/2014/main" id="{EFF10482-CF47-C44F-A336-9307C7A53821}"/>
              </a:ext>
            </a:extLst>
          </p:cNvPr>
          <p:cNvSpPr/>
          <p:nvPr/>
        </p:nvSpPr>
        <p:spPr>
          <a:xfrm>
            <a:off x="3459387" y="2660512"/>
            <a:ext cx="654800" cy="6548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kumimoji="1" lang="en-US" altLang="zh-CN" sz="1600" dirty="0">
                <a:solidFill>
                  <a:schemeClr val="bg1"/>
                </a:solidFill>
                <a:latin typeface="+mj-ea"/>
                <a:ea typeface="+mj-ea"/>
              </a:rPr>
              <a:t>01</a:t>
            </a:r>
            <a:endParaRPr kumimoji="1" lang="zh-CN" altLang="en-US" sz="1600" dirty="0">
              <a:solidFill>
                <a:schemeClr val="bg1"/>
              </a:solidFill>
              <a:latin typeface="+mj-ea"/>
              <a:ea typeface="+mj-ea"/>
            </a:endParaRPr>
          </a:p>
        </p:txBody>
      </p:sp>
      <p:sp>
        <p:nvSpPr>
          <p:cNvPr id="37" name="文本框 36">
            <a:extLst>
              <a:ext uri="{FF2B5EF4-FFF2-40B4-BE49-F238E27FC236}">
                <a16:creationId xmlns:a16="http://schemas.microsoft.com/office/drawing/2014/main" id="{71F38C58-D550-C548-A615-FF91C1669589}"/>
              </a:ext>
            </a:extLst>
          </p:cNvPr>
          <p:cNvSpPr txBox="1"/>
          <p:nvPr/>
        </p:nvSpPr>
        <p:spPr>
          <a:xfrm>
            <a:off x="2672880" y="2849411"/>
            <a:ext cx="692497" cy="276999"/>
          </a:xfrm>
          <a:prstGeom prst="rect">
            <a:avLst/>
          </a:prstGeom>
          <a:noFill/>
        </p:spPr>
        <p:txBody>
          <a:bodyPr wrap="none" lIns="0" tIns="0" rIns="0" bIns="0" rtlCol="0" anchor="t">
            <a:spAutoFit/>
          </a:bodyPr>
          <a:lstStyle/>
          <a:p>
            <a:pPr algn="l"/>
            <a:r>
              <a:rPr kumimoji="1" lang="zh-CN" altLang="en-US" dirty="0">
                <a:solidFill>
                  <a:schemeClr val="bg1"/>
                </a:solidFill>
              </a:rPr>
              <a:t>关键词</a:t>
            </a:r>
          </a:p>
        </p:txBody>
      </p:sp>
      <p:sp>
        <p:nvSpPr>
          <p:cNvPr id="38" name="文本框 37">
            <a:extLst>
              <a:ext uri="{FF2B5EF4-FFF2-40B4-BE49-F238E27FC236}">
                <a16:creationId xmlns:a16="http://schemas.microsoft.com/office/drawing/2014/main" id="{B176C3AD-536D-FD44-9FBE-46914690C227}"/>
              </a:ext>
            </a:extLst>
          </p:cNvPr>
          <p:cNvSpPr txBox="1"/>
          <p:nvPr/>
        </p:nvSpPr>
        <p:spPr>
          <a:xfrm>
            <a:off x="1134302" y="3352056"/>
            <a:ext cx="2465443" cy="387286"/>
          </a:xfrm>
          <a:prstGeom prst="rect">
            <a:avLst/>
          </a:prstGeom>
          <a:noFill/>
        </p:spPr>
        <p:txBody>
          <a:bodyPr wrap="square" lIns="0" tIns="0" rIns="0" bIns="0" rtlCol="0" anchor="t">
            <a:spAutoFit/>
          </a:bodyPr>
          <a:lstStyle/>
          <a:p>
            <a:pPr>
              <a:lnSpc>
                <a:spcPct val="130000"/>
              </a:lnSpc>
            </a:pPr>
            <a:r>
              <a:rPr lang="en-US" altLang="zh-CN" sz="1000" b="0" dirty="0">
                <a:solidFill>
                  <a:schemeClr val="tx1">
                    <a:lumMod val="75000"/>
                    <a:lumOff val="25000"/>
                  </a:schemeClr>
                </a:solidFill>
                <a:effectLst/>
                <a:latin typeface="+mn-ea"/>
              </a:rPr>
              <a:t>Lorem ipsum dolor sit amet, consectetur adipisicing elit, sed do eiusmod tempor</a:t>
            </a:r>
            <a:endParaRPr lang="zh-CN" altLang="en-US" sz="1000" b="0" dirty="0">
              <a:solidFill>
                <a:schemeClr val="tx1">
                  <a:lumMod val="75000"/>
                  <a:lumOff val="25000"/>
                </a:schemeClr>
              </a:solidFill>
              <a:effectLst/>
              <a:latin typeface="+mn-ea"/>
            </a:endParaRPr>
          </a:p>
        </p:txBody>
      </p:sp>
      <p:cxnSp>
        <p:nvCxnSpPr>
          <p:cNvPr id="39" name="直线连接符 38">
            <a:extLst>
              <a:ext uri="{FF2B5EF4-FFF2-40B4-BE49-F238E27FC236}">
                <a16:creationId xmlns:a16="http://schemas.microsoft.com/office/drawing/2014/main" id="{9DF5C922-8FA9-4349-93B0-22A2ECB2B2A4}"/>
              </a:ext>
            </a:extLst>
          </p:cNvPr>
          <p:cNvCxnSpPr>
            <a:cxnSpLocks/>
          </p:cNvCxnSpPr>
          <p:nvPr/>
        </p:nvCxnSpPr>
        <p:spPr>
          <a:xfrm flipH="1">
            <a:off x="4193478" y="2581475"/>
            <a:ext cx="828858" cy="273992"/>
          </a:xfrm>
          <a:prstGeom prst="line">
            <a:avLst/>
          </a:prstGeom>
          <a:ln w="254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19536113"/>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3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椭圆 4">
            <a:extLst>
              <a:ext uri="{FF2B5EF4-FFF2-40B4-BE49-F238E27FC236}">
                <a16:creationId xmlns:a16="http://schemas.microsoft.com/office/drawing/2014/main" id="{3EC666EE-8455-8B45-BBE7-CCAE9EDD2AA6}"/>
              </a:ext>
            </a:extLst>
          </p:cNvPr>
          <p:cNvSpPr/>
          <p:nvPr/>
        </p:nvSpPr>
        <p:spPr>
          <a:xfrm>
            <a:off x="4725660" y="2347982"/>
            <a:ext cx="2740680" cy="274068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kumimoji="1" lang="zh-CN" altLang="en-US" sz="1600">
              <a:solidFill>
                <a:schemeClr val="bg1"/>
              </a:solidFill>
              <a:latin typeface="+mj-ea"/>
              <a:ea typeface="+mj-ea"/>
            </a:endParaRPr>
          </a:p>
        </p:txBody>
      </p:sp>
      <p:sp>
        <p:nvSpPr>
          <p:cNvPr id="6" name="饼形 5">
            <a:extLst>
              <a:ext uri="{FF2B5EF4-FFF2-40B4-BE49-F238E27FC236}">
                <a16:creationId xmlns:a16="http://schemas.microsoft.com/office/drawing/2014/main" id="{502F5C3B-DB63-BF44-BF7E-3EA0CE027188}"/>
              </a:ext>
            </a:extLst>
          </p:cNvPr>
          <p:cNvSpPr/>
          <p:nvPr/>
        </p:nvSpPr>
        <p:spPr>
          <a:xfrm>
            <a:off x="4166442" y="1788769"/>
            <a:ext cx="3859118" cy="3859108"/>
          </a:xfrm>
          <a:prstGeom prst="pie">
            <a:avLst>
              <a:gd name="adj1" fmla="val 19485712"/>
              <a:gd name="adj2" fmla="val 2174475"/>
            </a:avLst>
          </a:prstGeom>
          <a:solidFill>
            <a:schemeClr val="accent1">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kumimoji="1" lang="zh-CN" altLang="en-US" sz="1600">
              <a:solidFill>
                <a:schemeClr val="bg1"/>
              </a:solidFill>
              <a:latin typeface="+mj-ea"/>
              <a:ea typeface="+mj-ea"/>
            </a:endParaRPr>
          </a:p>
        </p:txBody>
      </p:sp>
      <p:sp>
        <p:nvSpPr>
          <p:cNvPr id="7" name="椭圆 6">
            <a:extLst>
              <a:ext uri="{FF2B5EF4-FFF2-40B4-BE49-F238E27FC236}">
                <a16:creationId xmlns:a16="http://schemas.microsoft.com/office/drawing/2014/main" id="{0A8F77A7-2DD4-4240-951A-06F549A3BFD6}"/>
              </a:ext>
            </a:extLst>
          </p:cNvPr>
          <p:cNvSpPr/>
          <p:nvPr/>
        </p:nvSpPr>
        <p:spPr>
          <a:xfrm>
            <a:off x="7326346" y="2207988"/>
            <a:ext cx="960120" cy="960120"/>
          </a:xfrm>
          <a:prstGeom prst="ellipse">
            <a:avLst/>
          </a:prstGeom>
          <a:solidFill>
            <a:schemeClr val="accent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kumimoji="1" lang="zh-CN" altLang="en-US" sz="1600">
              <a:solidFill>
                <a:schemeClr val="bg1"/>
              </a:solidFill>
              <a:latin typeface="+mj-ea"/>
              <a:ea typeface="+mj-ea"/>
            </a:endParaRPr>
          </a:p>
        </p:txBody>
      </p:sp>
      <p:sp>
        <p:nvSpPr>
          <p:cNvPr id="8" name="椭圆 7">
            <a:extLst>
              <a:ext uri="{FF2B5EF4-FFF2-40B4-BE49-F238E27FC236}">
                <a16:creationId xmlns:a16="http://schemas.microsoft.com/office/drawing/2014/main" id="{706C21F1-E001-FB40-9FBB-4DE9CA0F3A80}"/>
              </a:ext>
            </a:extLst>
          </p:cNvPr>
          <p:cNvSpPr/>
          <p:nvPr/>
        </p:nvSpPr>
        <p:spPr>
          <a:xfrm>
            <a:off x="7326346" y="4408150"/>
            <a:ext cx="960120" cy="960120"/>
          </a:xfrm>
          <a:prstGeom prst="ellipse">
            <a:avLst/>
          </a:prstGeom>
          <a:solidFill>
            <a:schemeClr val="accent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kumimoji="1" lang="zh-CN" altLang="en-US" sz="1600" dirty="0">
                <a:solidFill>
                  <a:schemeClr val="bg1"/>
                </a:solidFill>
                <a:latin typeface="+mj-ea"/>
                <a:ea typeface="+mj-ea"/>
              </a:rPr>
              <a:t>关键词</a:t>
            </a:r>
          </a:p>
        </p:txBody>
      </p:sp>
      <p:sp>
        <p:nvSpPr>
          <p:cNvPr id="15" name="饼形 14">
            <a:extLst>
              <a:ext uri="{FF2B5EF4-FFF2-40B4-BE49-F238E27FC236}">
                <a16:creationId xmlns:a16="http://schemas.microsoft.com/office/drawing/2014/main" id="{5EDA4651-CF0E-7148-ACA7-0929817220CB}"/>
              </a:ext>
            </a:extLst>
          </p:cNvPr>
          <p:cNvSpPr/>
          <p:nvPr/>
        </p:nvSpPr>
        <p:spPr>
          <a:xfrm rot="7200000">
            <a:off x="4166441" y="1788768"/>
            <a:ext cx="3859118" cy="3859108"/>
          </a:xfrm>
          <a:prstGeom prst="pie">
            <a:avLst>
              <a:gd name="adj1" fmla="val 19485712"/>
              <a:gd name="adj2" fmla="val 2174475"/>
            </a:avLst>
          </a:prstGeom>
          <a:solidFill>
            <a:schemeClr val="accent1">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kumimoji="1" lang="zh-CN" altLang="en-US" sz="1600">
              <a:solidFill>
                <a:schemeClr val="bg1"/>
              </a:solidFill>
              <a:latin typeface="+mj-ea"/>
              <a:ea typeface="+mj-ea"/>
            </a:endParaRPr>
          </a:p>
        </p:txBody>
      </p:sp>
      <p:sp>
        <p:nvSpPr>
          <p:cNvPr id="16" name="椭圆 15">
            <a:extLst>
              <a:ext uri="{FF2B5EF4-FFF2-40B4-BE49-F238E27FC236}">
                <a16:creationId xmlns:a16="http://schemas.microsoft.com/office/drawing/2014/main" id="{30A910B8-2275-5D4A-8DE5-6986BD1188AC}"/>
              </a:ext>
            </a:extLst>
          </p:cNvPr>
          <p:cNvSpPr/>
          <p:nvPr/>
        </p:nvSpPr>
        <p:spPr>
          <a:xfrm>
            <a:off x="7345050" y="2207988"/>
            <a:ext cx="960120" cy="960120"/>
          </a:xfrm>
          <a:prstGeom prst="ellipse">
            <a:avLst/>
          </a:prstGeom>
          <a:solidFill>
            <a:schemeClr val="accent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kumimoji="1" lang="zh-CN" altLang="en-US" sz="1600" dirty="0">
                <a:solidFill>
                  <a:schemeClr val="bg1"/>
                </a:solidFill>
                <a:latin typeface="+mj-ea"/>
                <a:ea typeface="+mj-ea"/>
              </a:rPr>
              <a:t>关键词</a:t>
            </a:r>
          </a:p>
        </p:txBody>
      </p:sp>
      <p:sp>
        <p:nvSpPr>
          <p:cNvPr id="17" name="椭圆 16">
            <a:extLst>
              <a:ext uri="{FF2B5EF4-FFF2-40B4-BE49-F238E27FC236}">
                <a16:creationId xmlns:a16="http://schemas.microsoft.com/office/drawing/2014/main" id="{EA2C29E4-3CED-0C48-8FBC-EFABC5299986}"/>
              </a:ext>
            </a:extLst>
          </p:cNvPr>
          <p:cNvSpPr/>
          <p:nvPr/>
        </p:nvSpPr>
        <p:spPr>
          <a:xfrm>
            <a:off x="3795536" y="4164364"/>
            <a:ext cx="960120" cy="960120"/>
          </a:xfrm>
          <a:prstGeom prst="ellipse">
            <a:avLst/>
          </a:prstGeom>
          <a:solidFill>
            <a:schemeClr val="accent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kumimoji="1" lang="zh-CN" altLang="en-US" sz="1600" dirty="0">
                <a:solidFill>
                  <a:schemeClr val="bg1"/>
                </a:solidFill>
                <a:latin typeface="+mj-ea"/>
                <a:ea typeface="+mj-ea"/>
              </a:rPr>
              <a:t>关键词</a:t>
            </a:r>
          </a:p>
        </p:txBody>
      </p:sp>
      <p:sp>
        <p:nvSpPr>
          <p:cNvPr id="18" name="椭圆 17">
            <a:extLst>
              <a:ext uri="{FF2B5EF4-FFF2-40B4-BE49-F238E27FC236}">
                <a16:creationId xmlns:a16="http://schemas.microsoft.com/office/drawing/2014/main" id="{C1996975-9085-5D4E-9C31-7F1BBCF4663B}"/>
              </a:ext>
            </a:extLst>
          </p:cNvPr>
          <p:cNvSpPr/>
          <p:nvPr/>
        </p:nvSpPr>
        <p:spPr>
          <a:xfrm>
            <a:off x="5732497" y="5282792"/>
            <a:ext cx="960120" cy="960120"/>
          </a:xfrm>
          <a:prstGeom prst="ellipse">
            <a:avLst/>
          </a:prstGeom>
          <a:solidFill>
            <a:schemeClr val="accent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kumimoji="1" lang="zh-CN" altLang="en-US" sz="1600" dirty="0">
                <a:solidFill>
                  <a:schemeClr val="bg1"/>
                </a:solidFill>
                <a:latin typeface="+mj-ea"/>
                <a:ea typeface="+mj-ea"/>
              </a:rPr>
              <a:t>关键词</a:t>
            </a:r>
          </a:p>
        </p:txBody>
      </p:sp>
      <p:sp>
        <p:nvSpPr>
          <p:cNvPr id="19" name="饼形 18">
            <a:extLst>
              <a:ext uri="{FF2B5EF4-FFF2-40B4-BE49-F238E27FC236}">
                <a16:creationId xmlns:a16="http://schemas.microsoft.com/office/drawing/2014/main" id="{2173BA98-B893-684D-9AB5-7051A97EE4A1}"/>
              </a:ext>
            </a:extLst>
          </p:cNvPr>
          <p:cNvSpPr/>
          <p:nvPr/>
        </p:nvSpPr>
        <p:spPr>
          <a:xfrm rot="14400000">
            <a:off x="4166441" y="1788768"/>
            <a:ext cx="3859118" cy="3859108"/>
          </a:xfrm>
          <a:prstGeom prst="pie">
            <a:avLst>
              <a:gd name="adj1" fmla="val 19485712"/>
              <a:gd name="adj2" fmla="val 2174475"/>
            </a:avLst>
          </a:prstGeom>
          <a:solidFill>
            <a:schemeClr val="accent1">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kumimoji="1" lang="zh-CN" altLang="en-US" sz="1600">
              <a:solidFill>
                <a:schemeClr val="bg1"/>
              </a:solidFill>
              <a:latin typeface="+mj-ea"/>
              <a:ea typeface="+mj-ea"/>
            </a:endParaRPr>
          </a:p>
        </p:txBody>
      </p:sp>
      <p:sp>
        <p:nvSpPr>
          <p:cNvPr id="2" name="椭圆 1">
            <a:extLst>
              <a:ext uri="{FF2B5EF4-FFF2-40B4-BE49-F238E27FC236}">
                <a16:creationId xmlns:a16="http://schemas.microsoft.com/office/drawing/2014/main" id="{B1322FED-2074-344D-9565-97F272CDF226}"/>
              </a:ext>
            </a:extLst>
          </p:cNvPr>
          <p:cNvSpPr/>
          <p:nvPr/>
        </p:nvSpPr>
        <p:spPr>
          <a:xfrm>
            <a:off x="5065726" y="2688048"/>
            <a:ext cx="2060548" cy="2060548"/>
          </a:xfrm>
          <a:prstGeom prst="ellipse">
            <a:avLst/>
          </a:prstGeom>
          <a:solidFill>
            <a:schemeClr val="accent1">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kumimoji="1" lang="zh-CN" altLang="en-US" sz="1600">
              <a:solidFill>
                <a:schemeClr val="bg1"/>
              </a:solidFill>
              <a:latin typeface="+mj-ea"/>
              <a:ea typeface="+mj-ea"/>
            </a:endParaRPr>
          </a:p>
        </p:txBody>
      </p:sp>
      <p:sp>
        <p:nvSpPr>
          <p:cNvPr id="3" name="同心圆 2">
            <a:extLst>
              <a:ext uri="{FF2B5EF4-FFF2-40B4-BE49-F238E27FC236}">
                <a16:creationId xmlns:a16="http://schemas.microsoft.com/office/drawing/2014/main" id="{AF4563E5-ADB7-0F43-87FD-DD6A3E84855B}"/>
              </a:ext>
            </a:extLst>
          </p:cNvPr>
          <p:cNvSpPr/>
          <p:nvPr/>
        </p:nvSpPr>
        <p:spPr>
          <a:xfrm>
            <a:off x="5326856" y="2949178"/>
            <a:ext cx="1538288" cy="1538288"/>
          </a:xfrm>
          <a:prstGeom prst="donut">
            <a:avLst>
              <a:gd name="adj" fmla="val 12450"/>
            </a:avLst>
          </a:prstGeom>
          <a:solidFill>
            <a:schemeClr val="accent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kumimoji="1" lang="zh-CN" altLang="en-US" sz="1600">
              <a:solidFill>
                <a:schemeClr val="bg1"/>
              </a:solidFill>
              <a:latin typeface="+mj-ea"/>
              <a:ea typeface="+mj-ea"/>
            </a:endParaRPr>
          </a:p>
        </p:txBody>
      </p:sp>
      <p:sp>
        <p:nvSpPr>
          <p:cNvPr id="20" name="椭圆 19">
            <a:extLst>
              <a:ext uri="{FF2B5EF4-FFF2-40B4-BE49-F238E27FC236}">
                <a16:creationId xmlns:a16="http://schemas.microsoft.com/office/drawing/2014/main" id="{B70953C5-EEDF-0B4D-962E-2079D4AAE22F}"/>
              </a:ext>
            </a:extLst>
          </p:cNvPr>
          <p:cNvSpPr/>
          <p:nvPr/>
        </p:nvSpPr>
        <p:spPr>
          <a:xfrm>
            <a:off x="5879352" y="1197474"/>
            <a:ext cx="960120" cy="960120"/>
          </a:xfrm>
          <a:prstGeom prst="ellipse">
            <a:avLst/>
          </a:prstGeom>
          <a:solidFill>
            <a:schemeClr val="accent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l"/>
            <a:r>
              <a:rPr kumimoji="1" lang="zh-CN" altLang="en-US" sz="1600" dirty="0">
                <a:solidFill>
                  <a:schemeClr val="bg1"/>
                </a:solidFill>
                <a:latin typeface="+mj-ea"/>
                <a:ea typeface="+mj-ea"/>
              </a:rPr>
              <a:t>关键词</a:t>
            </a:r>
          </a:p>
        </p:txBody>
      </p:sp>
      <p:sp>
        <p:nvSpPr>
          <p:cNvPr id="21" name="椭圆 20">
            <a:extLst>
              <a:ext uri="{FF2B5EF4-FFF2-40B4-BE49-F238E27FC236}">
                <a16:creationId xmlns:a16="http://schemas.microsoft.com/office/drawing/2014/main" id="{72852088-53D6-AC4B-83D1-4368627B1B6D}"/>
              </a:ext>
            </a:extLst>
          </p:cNvPr>
          <p:cNvSpPr/>
          <p:nvPr/>
        </p:nvSpPr>
        <p:spPr>
          <a:xfrm>
            <a:off x="3816041" y="2402757"/>
            <a:ext cx="960120" cy="960120"/>
          </a:xfrm>
          <a:prstGeom prst="ellipse">
            <a:avLst/>
          </a:prstGeom>
          <a:solidFill>
            <a:schemeClr val="accent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kumimoji="1" lang="zh-CN" altLang="en-US" sz="1600" dirty="0">
                <a:solidFill>
                  <a:schemeClr val="bg1"/>
                </a:solidFill>
                <a:latin typeface="+mj-ea"/>
                <a:ea typeface="+mj-ea"/>
              </a:rPr>
              <a:t>关键词</a:t>
            </a:r>
          </a:p>
        </p:txBody>
      </p:sp>
      <p:sp>
        <p:nvSpPr>
          <p:cNvPr id="22" name="文本框 21">
            <a:extLst>
              <a:ext uri="{FF2B5EF4-FFF2-40B4-BE49-F238E27FC236}">
                <a16:creationId xmlns:a16="http://schemas.microsoft.com/office/drawing/2014/main" id="{AA00ADEB-C541-FE46-A1A3-DFA92E08C36B}"/>
              </a:ext>
            </a:extLst>
          </p:cNvPr>
          <p:cNvSpPr txBox="1"/>
          <p:nvPr/>
        </p:nvSpPr>
        <p:spPr>
          <a:xfrm>
            <a:off x="5749751" y="3579822"/>
            <a:ext cx="692497" cy="276999"/>
          </a:xfrm>
          <a:prstGeom prst="rect">
            <a:avLst/>
          </a:prstGeom>
          <a:noFill/>
        </p:spPr>
        <p:txBody>
          <a:bodyPr wrap="none" lIns="0" tIns="0" rIns="0" bIns="0" rtlCol="0" anchor="t">
            <a:spAutoFit/>
          </a:bodyPr>
          <a:lstStyle/>
          <a:p>
            <a:pPr algn="l"/>
            <a:r>
              <a:rPr kumimoji="1" lang="zh-CN" altLang="en-US" dirty="0">
                <a:solidFill>
                  <a:schemeClr val="bg1"/>
                </a:solidFill>
              </a:rPr>
              <a:t>关键词</a:t>
            </a:r>
          </a:p>
        </p:txBody>
      </p:sp>
      <p:sp>
        <p:nvSpPr>
          <p:cNvPr id="23" name="文本框 22">
            <a:extLst>
              <a:ext uri="{FF2B5EF4-FFF2-40B4-BE49-F238E27FC236}">
                <a16:creationId xmlns:a16="http://schemas.microsoft.com/office/drawing/2014/main" id="{9616A83D-C2D4-5C4F-BEF4-9FCCCF82D288}"/>
              </a:ext>
            </a:extLst>
          </p:cNvPr>
          <p:cNvSpPr txBox="1"/>
          <p:nvPr/>
        </p:nvSpPr>
        <p:spPr>
          <a:xfrm rot="2391404">
            <a:off x="4966577" y="4771203"/>
            <a:ext cx="692497" cy="276999"/>
          </a:xfrm>
          <a:prstGeom prst="rect">
            <a:avLst/>
          </a:prstGeom>
          <a:noFill/>
        </p:spPr>
        <p:txBody>
          <a:bodyPr wrap="none" lIns="0" tIns="0" rIns="0" bIns="0" rtlCol="0" anchor="t">
            <a:spAutoFit/>
          </a:bodyPr>
          <a:lstStyle/>
          <a:p>
            <a:pPr algn="l"/>
            <a:r>
              <a:rPr kumimoji="1" lang="zh-CN" altLang="en-US" dirty="0">
                <a:solidFill>
                  <a:schemeClr val="bg1"/>
                </a:solidFill>
              </a:rPr>
              <a:t>关键词</a:t>
            </a:r>
          </a:p>
        </p:txBody>
      </p:sp>
      <p:sp>
        <p:nvSpPr>
          <p:cNvPr id="24" name="文本框 23">
            <a:extLst>
              <a:ext uri="{FF2B5EF4-FFF2-40B4-BE49-F238E27FC236}">
                <a16:creationId xmlns:a16="http://schemas.microsoft.com/office/drawing/2014/main" id="{1943D8BA-AF61-2F4B-8640-A28554999637}"/>
              </a:ext>
            </a:extLst>
          </p:cNvPr>
          <p:cNvSpPr txBox="1"/>
          <p:nvPr/>
        </p:nvSpPr>
        <p:spPr>
          <a:xfrm rot="16044486">
            <a:off x="7179053" y="3551392"/>
            <a:ext cx="692497" cy="276999"/>
          </a:xfrm>
          <a:prstGeom prst="rect">
            <a:avLst/>
          </a:prstGeom>
          <a:noFill/>
        </p:spPr>
        <p:txBody>
          <a:bodyPr wrap="none" lIns="0" tIns="0" rIns="0" bIns="0" rtlCol="0" anchor="t">
            <a:spAutoFit/>
          </a:bodyPr>
          <a:lstStyle/>
          <a:p>
            <a:pPr algn="l"/>
            <a:r>
              <a:rPr kumimoji="1" lang="zh-CN" altLang="en-US" dirty="0">
                <a:solidFill>
                  <a:schemeClr val="bg1"/>
                </a:solidFill>
              </a:rPr>
              <a:t>关键词</a:t>
            </a:r>
          </a:p>
        </p:txBody>
      </p:sp>
      <p:sp>
        <p:nvSpPr>
          <p:cNvPr id="25" name="文本框 24">
            <a:extLst>
              <a:ext uri="{FF2B5EF4-FFF2-40B4-BE49-F238E27FC236}">
                <a16:creationId xmlns:a16="http://schemas.microsoft.com/office/drawing/2014/main" id="{A4A9C446-F596-AC44-AC6F-DEEB892511BF}"/>
              </a:ext>
            </a:extLst>
          </p:cNvPr>
          <p:cNvSpPr txBox="1"/>
          <p:nvPr/>
        </p:nvSpPr>
        <p:spPr>
          <a:xfrm rot="19679940">
            <a:off x="5057025" y="2367420"/>
            <a:ext cx="692497" cy="276999"/>
          </a:xfrm>
          <a:prstGeom prst="rect">
            <a:avLst/>
          </a:prstGeom>
          <a:noFill/>
        </p:spPr>
        <p:txBody>
          <a:bodyPr wrap="none" lIns="0" tIns="0" rIns="0" bIns="0" rtlCol="0" anchor="t">
            <a:spAutoFit/>
          </a:bodyPr>
          <a:lstStyle/>
          <a:p>
            <a:pPr algn="l"/>
            <a:r>
              <a:rPr kumimoji="1" lang="zh-CN" altLang="en-US" dirty="0">
                <a:solidFill>
                  <a:schemeClr val="bg1"/>
                </a:solidFill>
              </a:rPr>
              <a:t>关键词</a:t>
            </a:r>
          </a:p>
        </p:txBody>
      </p:sp>
    </p:spTree>
    <p:extLst>
      <p:ext uri="{BB962C8B-B14F-4D97-AF65-F5344CB8AC3E}">
        <p14:creationId xmlns:p14="http://schemas.microsoft.com/office/powerpoint/2010/main" val="1720679866"/>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3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圆角矩形 2">
            <a:extLst>
              <a:ext uri="{FF2B5EF4-FFF2-40B4-BE49-F238E27FC236}">
                <a16:creationId xmlns:a16="http://schemas.microsoft.com/office/drawing/2014/main" id="{0F7B0FD2-2B33-4545-A3F3-961E9E8E3A7D}"/>
              </a:ext>
            </a:extLst>
          </p:cNvPr>
          <p:cNvSpPr/>
          <p:nvPr/>
        </p:nvSpPr>
        <p:spPr>
          <a:xfrm>
            <a:off x="2800576" y="2468019"/>
            <a:ext cx="1710447" cy="2196975"/>
          </a:xfrm>
          <a:prstGeom prst="roundRect">
            <a:avLst>
              <a:gd name="adj" fmla="val 6445"/>
            </a:avLst>
          </a:prstGeom>
          <a:solidFill>
            <a:schemeClr val="accent1"/>
          </a:solidFill>
          <a:ln>
            <a:noFill/>
          </a:ln>
          <a:effectLst>
            <a:outerShdw blurRad="401637" dist="38100" dir="5400000" algn="t" rotWithShape="0">
              <a:schemeClr val="accent1">
                <a:lumMod val="90000"/>
                <a:lumOff val="10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kumimoji="1" lang="zh-CN" altLang="en-US" sz="1600">
              <a:solidFill>
                <a:schemeClr val="bg1"/>
              </a:solidFill>
              <a:latin typeface="+mj-ea"/>
              <a:ea typeface="+mj-ea"/>
            </a:endParaRPr>
          </a:p>
        </p:txBody>
      </p:sp>
      <p:sp>
        <p:nvSpPr>
          <p:cNvPr id="30" name="同侧圆角矩形 29">
            <a:extLst>
              <a:ext uri="{FF2B5EF4-FFF2-40B4-BE49-F238E27FC236}">
                <a16:creationId xmlns:a16="http://schemas.microsoft.com/office/drawing/2014/main" id="{DDB8E64E-FA57-C441-A02D-1811D3161182}"/>
              </a:ext>
            </a:extLst>
          </p:cNvPr>
          <p:cNvSpPr/>
          <p:nvPr/>
        </p:nvSpPr>
        <p:spPr>
          <a:xfrm rot="10800000">
            <a:off x="2800576" y="4177168"/>
            <a:ext cx="1710447" cy="487825"/>
          </a:xfrm>
          <a:prstGeom prst="round2Same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kumimoji="1" lang="zh-CN" altLang="en-US" sz="1600">
              <a:solidFill>
                <a:schemeClr val="bg1"/>
              </a:solidFill>
              <a:latin typeface="+mj-ea"/>
              <a:ea typeface="+mj-ea"/>
            </a:endParaRPr>
          </a:p>
        </p:txBody>
      </p:sp>
      <p:sp>
        <p:nvSpPr>
          <p:cNvPr id="31" name="文本框 30">
            <a:extLst>
              <a:ext uri="{FF2B5EF4-FFF2-40B4-BE49-F238E27FC236}">
                <a16:creationId xmlns:a16="http://schemas.microsoft.com/office/drawing/2014/main" id="{7856687F-A982-224F-8603-6B6E2445ED34}"/>
              </a:ext>
            </a:extLst>
          </p:cNvPr>
          <p:cNvSpPr txBox="1"/>
          <p:nvPr/>
        </p:nvSpPr>
        <p:spPr>
          <a:xfrm>
            <a:off x="2990680" y="3143489"/>
            <a:ext cx="1330237" cy="687342"/>
          </a:xfrm>
          <a:prstGeom prst="rect">
            <a:avLst/>
          </a:prstGeom>
          <a:noFill/>
        </p:spPr>
        <p:txBody>
          <a:bodyPr wrap="square" lIns="0" tIns="0" rIns="0" bIns="0" rtlCol="0" anchor="t">
            <a:spAutoFit/>
          </a:bodyPr>
          <a:lstStyle/>
          <a:p>
            <a:pPr algn="ctr">
              <a:lnSpc>
                <a:spcPct val="130000"/>
              </a:lnSpc>
            </a:pPr>
            <a:r>
              <a:rPr lang="en-US" altLang="zh-CN" sz="1000" b="0" dirty="0">
                <a:solidFill>
                  <a:schemeClr val="bg1"/>
                </a:solidFill>
                <a:effectLst/>
                <a:latin typeface="+mn-ea"/>
              </a:rPr>
              <a:t>Lorem ipsum dolor sit amet, consectetur adipisicing elit, sed do eiusmod tempor</a:t>
            </a:r>
            <a:endParaRPr lang="zh-CN" altLang="en-US" sz="1000" b="0" dirty="0">
              <a:solidFill>
                <a:schemeClr val="bg1"/>
              </a:solidFill>
              <a:effectLst/>
              <a:latin typeface="+mn-ea"/>
            </a:endParaRPr>
          </a:p>
        </p:txBody>
      </p:sp>
      <p:sp>
        <p:nvSpPr>
          <p:cNvPr id="32" name="文本框 31">
            <a:extLst>
              <a:ext uri="{FF2B5EF4-FFF2-40B4-BE49-F238E27FC236}">
                <a16:creationId xmlns:a16="http://schemas.microsoft.com/office/drawing/2014/main" id="{2B428DAF-801E-7449-BA97-B6995AF5F5EE}"/>
              </a:ext>
            </a:extLst>
          </p:cNvPr>
          <p:cNvSpPr txBox="1"/>
          <p:nvPr/>
        </p:nvSpPr>
        <p:spPr>
          <a:xfrm>
            <a:off x="3096075" y="2671398"/>
            <a:ext cx="1119449" cy="268668"/>
          </a:xfrm>
          <a:prstGeom prst="rect">
            <a:avLst/>
          </a:prstGeom>
          <a:noFill/>
        </p:spPr>
        <p:txBody>
          <a:bodyPr wrap="none" lIns="0" tIns="0" rIns="0" bIns="0" rtlCol="0" anchor="t">
            <a:spAutoFit/>
          </a:bodyPr>
          <a:lstStyle/>
          <a:p>
            <a:pPr algn="ctr"/>
            <a:r>
              <a:rPr lang="zh-CN" altLang="en-US" sz="2000" dirty="0">
                <a:solidFill>
                  <a:schemeClr val="bg1"/>
                </a:solidFill>
                <a:latin typeface="+mj-ea"/>
                <a:ea typeface="+mj-ea"/>
              </a:rPr>
              <a:t>关键词标题</a:t>
            </a:r>
          </a:p>
        </p:txBody>
      </p:sp>
      <p:sp>
        <p:nvSpPr>
          <p:cNvPr id="33" name="文本框 32">
            <a:extLst>
              <a:ext uri="{FF2B5EF4-FFF2-40B4-BE49-F238E27FC236}">
                <a16:creationId xmlns:a16="http://schemas.microsoft.com/office/drawing/2014/main" id="{2DE90353-CAE4-F94C-8E3B-0D774AEA1636}"/>
              </a:ext>
            </a:extLst>
          </p:cNvPr>
          <p:cNvSpPr txBox="1"/>
          <p:nvPr/>
        </p:nvSpPr>
        <p:spPr>
          <a:xfrm>
            <a:off x="3319964" y="4261992"/>
            <a:ext cx="671669" cy="268668"/>
          </a:xfrm>
          <a:prstGeom prst="rect">
            <a:avLst/>
          </a:prstGeom>
          <a:noFill/>
        </p:spPr>
        <p:txBody>
          <a:bodyPr wrap="none" lIns="0" tIns="0" rIns="0" bIns="0" rtlCol="0" anchor="t">
            <a:spAutoFit/>
          </a:bodyPr>
          <a:lstStyle/>
          <a:p>
            <a:pPr algn="ctr"/>
            <a:r>
              <a:rPr lang="zh-CN" altLang="en-US" sz="2000" dirty="0">
                <a:solidFill>
                  <a:schemeClr val="accent1"/>
                </a:solidFill>
                <a:latin typeface="+mj-ea"/>
                <a:ea typeface="+mj-ea"/>
              </a:rPr>
              <a:t>关键词</a:t>
            </a:r>
          </a:p>
        </p:txBody>
      </p:sp>
      <p:sp>
        <p:nvSpPr>
          <p:cNvPr id="34" name="圆角矩形 33">
            <a:extLst>
              <a:ext uri="{FF2B5EF4-FFF2-40B4-BE49-F238E27FC236}">
                <a16:creationId xmlns:a16="http://schemas.microsoft.com/office/drawing/2014/main" id="{01DB8EB9-A91C-3C4B-813F-E8CBB992B751}"/>
              </a:ext>
            </a:extLst>
          </p:cNvPr>
          <p:cNvSpPr/>
          <p:nvPr/>
        </p:nvSpPr>
        <p:spPr>
          <a:xfrm>
            <a:off x="2800576" y="4990663"/>
            <a:ext cx="1710447" cy="487825"/>
          </a:xfrm>
          <a:prstGeom prst="roundRect">
            <a:avLst>
              <a:gd name="adj" fmla="val 17479"/>
            </a:avLst>
          </a:prstGeom>
          <a:solidFill>
            <a:schemeClr val="accent1"/>
          </a:solidFill>
          <a:ln>
            <a:noFill/>
          </a:ln>
          <a:effectLst>
            <a:outerShdw blurRad="401637" dist="38100" dir="5400000" algn="t" rotWithShape="0">
              <a:schemeClr val="accent1">
                <a:lumMod val="90000"/>
                <a:lumOff val="10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600" dirty="0">
                <a:solidFill>
                  <a:schemeClr val="bg1"/>
                </a:solidFill>
                <a:latin typeface="+mj-ea"/>
                <a:ea typeface="+mj-ea"/>
              </a:rPr>
              <a:t>关键词</a:t>
            </a:r>
          </a:p>
        </p:txBody>
      </p:sp>
      <p:sp>
        <p:nvSpPr>
          <p:cNvPr id="35" name="圆角矩形 34">
            <a:extLst>
              <a:ext uri="{FF2B5EF4-FFF2-40B4-BE49-F238E27FC236}">
                <a16:creationId xmlns:a16="http://schemas.microsoft.com/office/drawing/2014/main" id="{7BFD489E-6F90-C94C-B3F9-A01850873C10}"/>
              </a:ext>
            </a:extLst>
          </p:cNvPr>
          <p:cNvSpPr/>
          <p:nvPr/>
        </p:nvSpPr>
        <p:spPr>
          <a:xfrm>
            <a:off x="5240776" y="2112940"/>
            <a:ext cx="1710447" cy="2552053"/>
          </a:xfrm>
          <a:prstGeom prst="roundRect">
            <a:avLst>
              <a:gd name="adj" fmla="val 6445"/>
            </a:avLst>
          </a:prstGeom>
          <a:solidFill>
            <a:schemeClr val="accent1"/>
          </a:solidFill>
          <a:ln>
            <a:noFill/>
          </a:ln>
          <a:effectLst>
            <a:outerShdw blurRad="401637" dist="38100" dir="5400000" algn="t" rotWithShape="0">
              <a:schemeClr val="accent1">
                <a:lumMod val="90000"/>
                <a:lumOff val="10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kumimoji="1" lang="zh-CN" altLang="en-US" sz="1600">
              <a:solidFill>
                <a:schemeClr val="bg1"/>
              </a:solidFill>
              <a:latin typeface="+mj-ea"/>
              <a:ea typeface="+mj-ea"/>
            </a:endParaRPr>
          </a:p>
        </p:txBody>
      </p:sp>
      <p:sp>
        <p:nvSpPr>
          <p:cNvPr id="36" name="同侧圆角矩形 35">
            <a:extLst>
              <a:ext uri="{FF2B5EF4-FFF2-40B4-BE49-F238E27FC236}">
                <a16:creationId xmlns:a16="http://schemas.microsoft.com/office/drawing/2014/main" id="{5F975270-2EBB-5B45-9E52-5DB4953D94F1}"/>
              </a:ext>
            </a:extLst>
          </p:cNvPr>
          <p:cNvSpPr/>
          <p:nvPr/>
        </p:nvSpPr>
        <p:spPr>
          <a:xfrm rot="10800000">
            <a:off x="5240776" y="4177168"/>
            <a:ext cx="1710447" cy="487825"/>
          </a:xfrm>
          <a:prstGeom prst="round2Same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kumimoji="1" lang="zh-CN" altLang="en-US" sz="1600">
              <a:solidFill>
                <a:schemeClr val="bg1"/>
              </a:solidFill>
              <a:latin typeface="+mj-ea"/>
              <a:ea typeface="+mj-ea"/>
            </a:endParaRPr>
          </a:p>
        </p:txBody>
      </p:sp>
      <p:sp>
        <p:nvSpPr>
          <p:cNvPr id="37" name="文本框 36">
            <a:extLst>
              <a:ext uri="{FF2B5EF4-FFF2-40B4-BE49-F238E27FC236}">
                <a16:creationId xmlns:a16="http://schemas.microsoft.com/office/drawing/2014/main" id="{23545E5C-0085-8340-AABE-B4B47B076E3B}"/>
              </a:ext>
            </a:extLst>
          </p:cNvPr>
          <p:cNvSpPr txBox="1"/>
          <p:nvPr/>
        </p:nvSpPr>
        <p:spPr>
          <a:xfrm>
            <a:off x="5430881" y="2893310"/>
            <a:ext cx="1330237" cy="687342"/>
          </a:xfrm>
          <a:prstGeom prst="rect">
            <a:avLst/>
          </a:prstGeom>
          <a:noFill/>
        </p:spPr>
        <p:txBody>
          <a:bodyPr wrap="square" lIns="0" tIns="0" rIns="0" bIns="0" rtlCol="0" anchor="t">
            <a:spAutoFit/>
          </a:bodyPr>
          <a:lstStyle/>
          <a:p>
            <a:pPr algn="ctr">
              <a:lnSpc>
                <a:spcPct val="130000"/>
              </a:lnSpc>
            </a:pPr>
            <a:r>
              <a:rPr lang="en-US" altLang="zh-CN" sz="1000" b="0" dirty="0">
                <a:solidFill>
                  <a:schemeClr val="bg1"/>
                </a:solidFill>
                <a:effectLst/>
                <a:latin typeface="+mn-ea"/>
              </a:rPr>
              <a:t>Lorem ipsum dolor sit amet, consectetur adipisicing elit, sed do eiusmod tempor</a:t>
            </a:r>
            <a:endParaRPr lang="zh-CN" altLang="en-US" sz="1000" b="0" dirty="0">
              <a:solidFill>
                <a:schemeClr val="bg1"/>
              </a:solidFill>
              <a:effectLst/>
              <a:latin typeface="+mn-ea"/>
            </a:endParaRPr>
          </a:p>
        </p:txBody>
      </p:sp>
      <p:sp>
        <p:nvSpPr>
          <p:cNvPr id="38" name="文本框 37">
            <a:extLst>
              <a:ext uri="{FF2B5EF4-FFF2-40B4-BE49-F238E27FC236}">
                <a16:creationId xmlns:a16="http://schemas.microsoft.com/office/drawing/2014/main" id="{FC2C8F19-B182-244B-ACA1-BD1B88CD4691}"/>
              </a:ext>
            </a:extLst>
          </p:cNvPr>
          <p:cNvSpPr txBox="1"/>
          <p:nvPr/>
        </p:nvSpPr>
        <p:spPr>
          <a:xfrm>
            <a:off x="5536275" y="2421219"/>
            <a:ext cx="1119449" cy="268668"/>
          </a:xfrm>
          <a:prstGeom prst="rect">
            <a:avLst/>
          </a:prstGeom>
          <a:noFill/>
        </p:spPr>
        <p:txBody>
          <a:bodyPr wrap="none" lIns="0" tIns="0" rIns="0" bIns="0" rtlCol="0" anchor="t">
            <a:spAutoFit/>
          </a:bodyPr>
          <a:lstStyle/>
          <a:p>
            <a:pPr algn="ctr"/>
            <a:r>
              <a:rPr lang="zh-CN" altLang="en-US" sz="2000" dirty="0">
                <a:solidFill>
                  <a:schemeClr val="bg1"/>
                </a:solidFill>
                <a:latin typeface="+mj-ea"/>
                <a:ea typeface="+mj-ea"/>
              </a:rPr>
              <a:t>关键词标题</a:t>
            </a:r>
          </a:p>
        </p:txBody>
      </p:sp>
      <p:sp>
        <p:nvSpPr>
          <p:cNvPr id="39" name="文本框 38">
            <a:extLst>
              <a:ext uri="{FF2B5EF4-FFF2-40B4-BE49-F238E27FC236}">
                <a16:creationId xmlns:a16="http://schemas.microsoft.com/office/drawing/2014/main" id="{120D50B6-D3E4-DA4B-AF68-D2D7F4C9D679}"/>
              </a:ext>
            </a:extLst>
          </p:cNvPr>
          <p:cNvSpPr txBox="1"/>
          <p:nvPr/>
        </p:nvSpPr>
        <p:spPr>
          <a:xfrm>
            <a:off x="5760164" y="4261992"/>
            <a:ext cx="671669" cy="268668"/>
          </a:xfrm>
          <a:prstGeom prst="rect">
            <a:avLst/>
          </a:prstGeom>
          <a:noFill/>
        </p:spPr>
        <p:txBody>
          <a:bodyPr wrap="none" lIns="0" tIns="0" rIns="0" bIns="0" rtlCol="0" anchor="t">
            <a:spAutoFit/>
          </a:bodyPr>
          <a:lstStyle/>
          <a:p>
            <a:pPr algn="ctr"/>
            <a:r>
              <a:rPr lang="zh-CN" altLang="en-US" sz="2000" dirty="0">
                <a:solidFill>
                  <a:schemeClr val="accent1"/>
                </a:solidFill>
                <a:latin typeface="+mj-ea"/>
                <a:ea typeface="+mj-ea"/>
              </a:rPr>
              <a:t>关键词</a:t>
            </a:r>
          </a:p>
        </p:txBody>
      </p:sp>
      <p:sp>
        <p:nvSpPr>
          <p:cNvPr id="40" name="圆角矩形 39">
            <a:extLst>
              <a:ext uri="{FF2B5EF4-FFF2-40B4-BE49-F238E27FC236}">
                <a16:creationId xmlns:a16="http://schemas.microsoft.com/office/drawing/2014/main" id="{9BE7C1F9-C231-AC46-A939-4569C9B9FF43}"/>
              </a:ext>
            </a:extLst>
          </p:cNvPr>
          <p:cNvSpPr/>
          <p:nvPr/>
        </p:nvSpPr>
        <p:spPr>
          <a:xfrm>
            <a:off x="5240776" y="4990663"/>
            <a:ext cx="1710447" cy="487825"/>
          </a:xfrm>
          <a:prstGeom prst="roundRect">
            <a:avLst>
              <a:gd name="adj" fmla="val 17479"/>
            </a:avLst>
          </a:prstGeom>
          <a:solidFill>
            <a:schemeClr val="accent1"/>
          </a:solidFill>
          <a:ln>
            <a:noFill/>
          </a:ln>
          <a:effectLst>
            <a:outerShdw blurRad="401637" dist="38100" dir="5400000" algn="t" rotWithShape="0">
              <a:schemeClr val="accent1">
                <a:lumMod val="90000"/>
                <a:lumOff val="10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600" dirty="0">
                <a:solidFill>
                  <a:schemeClr val="bg1"/>
                </a:solidFill>
                <a:latin typeface="+mj-ea"/>
                <a:ea typeface="+mj-ea"/>
              </a:rPr>
              <a:t>关键词</a:t>
            </a:r>
          </a:p>
        </p:txBody>
      </p:sp>
      <p:sp>
        <p:nvSpPr>
          <p:cNvPr id="41" name="圆角矩形 40">
            <a:extLst>
              <a:ext uri="{FF2B5EF4-FFF2-40B4-BE49-F238E27FC236}">
                <a16:creationId xmlns:a16="http://schemas.microsoft.com/office/drawing/2014/main" id="{4CE37965-6209-FC4F-96EB-0441DD9F7DA7}"/>
              </a:ext>
            </a:extLst>
          </p:cNvPr>
          <p:cNvSpPr/>
          <p:nvPr/>
        </p:nvSpPr>
        <p:spPr>
          <a:xfrm>
            <a:off x="7680979" y="1694462"/>
            <a:ext cx="1710447" cy="2970531"/>
          </a:xfrm>
          <a:prstGeom prst="roundRect">
            <a:avLst>
              <a:gd name="adj" fmla="val 6445"/>
            </a:avLst>
          </a:prstGeom>
          <a:solidFill>
            <a:schemeClr val="accent1"/>
          </a:solidFill>
          <a:ln>
            <a:noFill/>
          </a:ln>
          <a:effectLst>
            <a:outerShdw blurRad="401637" dist="38100" dir="5400000" algn="t" rotWithShape="0">
              <a:schemeClr val="accent1">
                <a:lumMod val="90000"/>
                <a:lumOff val="10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kumimoji="1" lang="zh-CN" altLang="en-US" sz="1600">
              <a:solidFill>
                <a:schemeClr val="bg1"/>
              </a:solidFill>
              <a:latin typeface="+mj-ea"/>
              <a:ea typeface="+mj-ea"/>
            </a:endParaRPr>
          </a:p>
        </p:txBody>
      </p:sp>
      <p:sp>
        <p:nvSpPr>
          <p:cNvPr id="42" name="同侧圆角矩形 41">
            <a:extLst>
              <a:ext uri="{FF2B5EF4-FFF2-40B4-BE49-F238E27FC236}">
                <a16:creationId xmlns:a16="http://schemas.microsoft.com/office/drawing/2014/main" id="{465743F1-B8C0-E546-8393-E5C141A52B46}"/>
              </a:ext>
            </a:extLst>
          </p:cNvPr>
          <p:cNvSpPr/>
          <p:nvPr/>
        </p:nvSpPr>
        <p:spPr>
          <a:xfrm rot="10800000">
            <a:off x="7680979" y="4177168"/>
            <a:ext cx="1710447" cy="487825"/>
          </a:xfrm>
          <a:prstGeom prst="round2Same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kumimoji="1" lang="zh-CN" altLang="en-US" sz="1600">
              <a:solidFill>
                <a:schemeClr val="bg1"/>
              </a:solidFill>
              <a:latin typeface="+mj-ea"/>
              <a:ea typeface="+mj-ea"/>
            </a:endParaRPr>
          </a:p>
        </p:txBody>
      </p:sp>
      <p:sp>
        <p:nvSpPr>
          <p:cNvPr id="43" name="文本框 42">
            <a:extLst>
              <a:ext uri="{FF2B5EF4-FFF2-40B4-BE49-F238E27FC236}">
                <a16:creationId xmlns:a16="http://schemas.microsoft.com/office/drawing/2014/main" id="{B5BD8A8F-E2EF-3E44-8791-BE74F9AE9261}"/>
              </a:ext>
            </a:extLst>
          </p:cNvPr>
          <p:cNvSpPr txBox="1"/>
          <p:nvPr/>
        </p:nvSpPr>
        <p:spPr>
          <a:xfrm>
            <a:off x="7871083" y="2622376"/>
            <a:ext cx="1330237" cy="687342"/>
          </a:xfrm>
          <a:prstGeom prst="rect">
            <a:avLst/>
          </a:prstGeom>
          <a:noFill/>
        </p:spPr>
        <p:txBody>
          <a:bodyPr wrap="square" lIns="0" tIns="0" rIns="0" bIns="0" rtlCol="0" anchor="t">
            <a:spAutoFit/>
          </a:bodyPr>
          <a:lstStyle/>
          <a:p>
            <a:pPr algn="ctr">
              <a:lnSpc>
                <a:spcPct val="130000"/>
              </a:lnSpc>
            </a:pPr>
            <a:r>
              <a:rPr lang="en-US" altLang="zh-CN" sz="1000" b="0" dirty="0">
                <a:solidFill>
                  <a:schemeClr val="bg1"/>
                </a:solidFill>
                <a:effectLst/>
                <a:latin typeface="+mn-ea"/>
              </a:rPr>
              <a:t>Lorem ipsum dolor sit amet, consectetur adipisicing elit, sed do eiusmod tempor</a:t>
            </a:r>
            <a:endParaRPr lang="zh-CN" altLang="en-US" sz="1000" b="0" dirty="0">
              <a:solidFill>
                <a:schemeClr val="bg1"/>
              </a:solidFill>
              <a:effectLst/>
              <a:latin typeface="+mn-ea"/>
            </a:endParaRPr>
          </a:p>
        </p:txBody>
      </p:sp>
      <p:sp>
        <p:nvSpPr>
          <p:cNvPr id="44" name="文本框 43">
            <a:extLst>
              <a:ext uri="{FF2B5EF4-FFF2-40B4-BE49-F238E27FC236}">
                <a16:creationId xmlns:a16="http://schemas.microsoft.com/office/drawing/2014/main" id="{010E737C-7A13-FC49-8EC6-E493B3DCE19E}"/>
              </a:ext>
            </a:extLst>
          </p:cNvPr>
          <p:cNvSpPr txBox="1"/>
          <p:nvPr/>
        </p:nvSpPr>
        <p:spPr>
          <a:xfrm>
            <a:off x="7976478" y="2150285"/>
            <a:ext cx="1119449" cy="268668"/>
          </a:xfrm>
          <a:prstGeom prst="rect">
            <a:avLst/>
          </a:prstGeom>
          <a:noFill/>
        </p:spPr>
        <p:txBody>
          <a:bodyPr wrap="none" lIns="0" tIns="0" rIns="0" bIns="0" rtlCol="0" anchor="t">
            <a:spAutoFit/>
          </a:bodyPr>
          <a:lstStyle/>
          <a:p>
            <a:pPr algn="ctr"/>
            <a:r>
              <a:rPr lang="zh-CN" altLang="en-US" sz="2000" dirty="0">
                <a:solidFill>
                  <a:schemeClr val="bg1"/>
                </a:solidFill>
                <a:latin typeface="+mj-ea"/>
                <a:ea typeface="+mj-ea"/>
              </a:rPr>
              <a:t>关键词标题</a:t>
            </a:r>
          </a:p>
        </p:txBody>
      </p:sp>
      <p:sp>
        <p:nvSpPr>
          <p:cNvPr id="45" name="文本框 44">
            <a:extLst>
              <a:ext uri="{FF2B5EF4-FFF2-40B4-BE49-F238E27FC236}">
                <a16:creationId xmlns:a16="http://schemas.microsoft.com/office/drawing/2014/main" id="{6CE4AC86-EF6B-6540-B3CD-CA22625CF5B6}"/>
              </a:ext>
            </a:extLst>
          </p:cNvPr>
          <p:cNvSpPr txBox="1"/>
          <p:nvPr/>
        </p:nvSpPr>
        <p:spPr>
          <a:xfrm>
            <a:off x="8200367" y="4261992"/>
            <a:ext cx="671669" cy="268668"/>
          </a:xfrm>
          <a:prstGeom prst="rect">
            <a:avLst/>
          </a:prstGeom>
          <a:noFill/>
        </p:spPr>
        <p:txBody>
          <a:bodyPr wrap="none" lIns="0" tIns="0" rIns="0" bIns="0" rtlCol="0" anchor="t">
            <a:spAutoFit/>
          </a:bodyPr>
          <a:lstStyle/>
          <a:p>
            <a:pPr algn="ctr"/>
            <a:r>
              <a:rPr lang="zh-CN" altLang="en-US" sz="2000" dirty="0">
                <a:solidFill>
                  <a:schemeClr val="accent1"/>
                </a:solidFill>
                <a:latin typeface="+mj-ea"/>
                <a:ea typeface="+mj-ea"/>
              </a:rPr>
              <a:t>关键词</a:t>
            </a:r>
          </a:p>
        </p:txBody>
      </p:sp>
      <p:sp>
        <p:nvSpPr>
          <p:cNvPr id="46" name="圆角矩形 45">
            <a:extLst>
              <a:ext uri="{FF2B5EF4-FFF2-40B4-BE49-F238E27FC236}">
                <a16:creationId xmlns:a16="http://schemas.microsoft.com/office/drawing/2014/main" id="{BF033C6D-F303-BF48-BA7A-2E158D50B6E9}"/>
              </a:ext>
            </a:extLst>
          </p:cNvPr>
          <p:cNvSpPr/>
          <p:nvPr/>
        </p:nvSpPr>
        <p:spPr>
          <a:xfrm>
            <a:off x="7680979" y="4990663"/>
            <a:ext cx="1710447" cy="487825"/>
          </a:xfrm>
          <a:prstGeom prst="roundRect">
            <a:avLst>
              <a:gd name="adj" fmla="val 17479"/>
            </a:avLst>
          </a:prstGeom>
          <a:solidFill>
            <a:schemeClr val="accent1"/>
          </a:solidFill>
          <a:ln>
            <a:noFill/>
          </a:ln>
          <a:effectLst>
            <a:outerShdw blurRad="401637" dist="38100" dir="5400000" algn="t" rotWithShape="0">
              <a:schemeClr val="accent1">
                <a:lumMod val="90000"/>
                <a:lumOff val="10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zh-CN" altLang="en-US" sz="1600" dirty="0">
                <a:solidFill>
                  <a:schemeClr val="bg1"/>
                </a:solidFill>
                <a:latin typeface="+mj-ea"/>
                <a:ea typeface="+mj-ea"/>
              </a:rPr>
              <a:t>关键词</a:t>
            </a:r>
          </a:p>
        </p:txBody>
      </p:sp>
      <p:sp>
        <p:nvSpPr>
          <p:cNvPr id="4" name="矩形 3">
            <a:extLst>
              <a:ext uri="{FF2B5EF4-FFF2-40B4-BE49-F238E27FC236}">
                <a16:creationId xmlns:a16="http://schemas.microsoft.com/office/drawing/2014/main" id="{D1712713-FBE6-6C40-8F4C-B846CF5FAECE}"/>
              </a:ext>
            </a:extLst>
          </p:cNvPr>
          <p:cNvSpPr/>
          <p:nvPr/>
        </p:nvSpPr>
        <p:spPr>
          <a:xfrm>
            <a:off x="3484604" y="3058775"/>
            <a:ext cx="299080" cy="314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kumimoji="1" lang="zh-CN" altLang="en-US" sz="1600">
              <a:solidFill>
                <a:schemeClr val="bg1"/>
              </a:solidFill>
              <a:latin typeface="+mj-ea"/>
              <a:ea typeface="+mj-ea"/>
            </a:endParaRPr>
          </a:p>
        </p:txBody>
      </p:sp>
      <p:sp>
        <p:nvSpPr>
          <p:cNvPr id="47" name="矩形 46">
            <a:extLst>
              <a:ext uri="{FF2B5EF4-FFF2-40B4-BE49-F238E27FC236}">
                <a16:creationId xmlns:a16="http://schemas.microsoft.com/office/drawing/2014/main" id="{CC41D8BA-CDC3-8C49-AAFA-43E114C66A61}"/>
              </a:ext>
            </a:extLst>
          </p:cNvPr>
          <p:cNvSpPr/>
          <p:nvPr/>
        </p:nvSpPr>
        <p:spPr>
          <a:xfrm>
            <a:off x="5946458" y="2817079"/>
            <a:ext cx="299080" cy="314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kumimoji="1" lang="zh-CN" altLang="en-US" sz="1600">
              <a:solidFill>
                <a:schemeClr val="bg1"/>
              </a:solidFill>
              <a:latin typeface="+mj-ea"/>
              <a:ea typeface="+mj-ea"/>
            </a:endParaRPr>
          </a:p>
        </p:txBody>
      </p:sp>
      <p:sp>
        <p:nvSpPr>
          <p:cNvPr id="48" name="矩形 47">
            <a:extLst>
              <a:ext uri="{FF2B5EF4-FFF2-40B4-BE49-F238E27FC236}">
                <a16:creationId xmlns:a16="http://schemas.microsoft.com/office/drawing/2014/main" id="{93C60A12-DC79-5444-9372-45076DA7FD93}"/>
              </a:ext>
            </a:extLst>
          </p:cNvPr>
          <p:cNvSpPr/>
          <p:nvPr/>
        </p:nvSpPr>
        <p:spPr>
          <a:xfrm>
            <a:off x="8386661" y="2541849"/>
            <a:ext cx="299080" cy="314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kumimoji="1" lang="zh-CN" altLang="en-US" sz="1600">
              <a:solidFill>
                <a:schemeClr val="bg1"/>
              </a:solidFill>
              <a:latin typeface="+mj-ea"/>
              <a:ea typeface="+mj-ea"/>
            </a:endParaRPr>
          </a:p>
        </p:txBody>
      </p:sp>
      <p:sp>
        <p:nvSpPr>
          <p:cNvPr id="49" name="任意形状 48">
            <a:extLst>
              <a:ext uri="{FF2B5EF4-FFF2-40B4-BE49-F238E27FC236}">
                <a16:creationId xmlns:a16="http://schemas.microsoft.com/office/drawing/2014/main" id="{60E41C4E-FEAA-7844-BABF-6FAD63DD2ADB}"/>
              </a:ext>
            </a:extLst>
          </p:cNvPr>
          <p:cNvSpPr/>
          <p:nvPr/>
        </p:nvSpPr>
        <p:spPr>
          <a:xfrm>
            <a:off x="2818062" y="821722"/>
            <a:ext cx="6555873" cy="1402356"/>
          </a:xfrm>
          <a:custGeom>
            <a:avLst/>
            <a:gdLst>
              <a:gd name="connsiteX0" fmla="*/ 0 w 7510182"/>
              <a:gd name="connsiteY0" fmla="*/ 1674159 h 1674159"/>
              <a:gd name="connsiteX1" fmla="*/ 1936376 w 7510182"/>
              <a:gd name="connsiteY1" fmla="*/ 1674159 h 1674159"/>
              <a:gd name="connsiteX2" fmla="*/ 1936376 w 7510182"/>
              <a:gd name="connsiteY2" fmla="*/ 1196789 h 1674159"/>
              <a:gd name="connsiteX3" fmla="*/ 4726641 w 7510182"/>
              <a:gd name="connsiteY3" fmla="*/ 1196789 h 1674159"/>
              <a:gd name="connsiteX4" fmla="*/ 4726641 w 7510182"/>
              <a:gd name="connsiteY4" fmla="*/ 685800 h 1674159"/>
              <a:gd name="connsiteX5" fmla="*/ 7510182 w 7510182"/>
              <a:gd name="connsiteY5" fmla="*/ 0 h 1674159"/>
              <a:gd name="connsiteX0" fmla="*/ 0 w 7510182"/>
              <a:gd name="connsiteY0" fmla="*/ 1674159 h 1674159"/>
              <a:gd name="connsiteX1" fmla="*/ 1936376 w 7510182"/>
              <a:gd name="connsiteY1" fmla="*/ 1674159 h 1674159"/>
              <a:gd name="connsiteX2" fmla="*/ 1936376 w 7510182"/>
              <a:gd name="connsiteY2" fmla="*/ 1196789 h 1674159"/>
              <a:gd name="connsiteX3" fmla="*/ 4726641 w 7510182"/>
              <a:gd name="connsiteY3" fmla="*/ 1196789 h 1674159"/>
              <a:gd name="connsiteX4" fmla="*/ 4726641 w 7510182"/>
              <a:gd name="connsiteY4" fmla="*/ 685800 h 1674159"/>
              <a:gd name="connsiteX5" fmla="*/ 7510182 w 7510182"/>
              <a:gd name="connsiteY5" fmla="*/ 0 h 1674159"/>
              <a:gd name="connsiteX0" fmla="*/ 0 w 7510182"/>
              <a:gd name="connsiteY0" fmla="*/ 1674159 h 1674159"/>
              <a:gd name="connsiteX1" fmla="*/ 1936376 w 7510182"/>
              <a:gd name="connsiteY1" fmla="*/ 1674159 h 1674159"/>
              <a:gd name="connsiteX2" fmla="*/ 1936376 w 7510182"/>
              <a:gd name="connsiteY2" fmla="*/ 1196789 h 1674159"/>
              <a:gd name="connsiteX3" fmla="*/ 4726641 w 7510182"/>
              <a:gd name="connsiteY3" fmla="*/ 1196789 h 1674159"/>
              <a:gd name="connsiteX4" fmla="*/ 4726641 w 7510182"/>
              <a:gd name="connsiteY4" fmla="*/ 685800 h 1674159"/>
              <a:gd name="connsiteX5" fmla="*/ 7510182 w 7510182"/>
              <a:gd name="connsiteY5" fmla="*/ 0 h 1674159"/>
              <a:gd name="connsiteX0" fmla="*/ 0 w 7510182"/>
              <a:gd name="connsiteY0" fmla="*/ 1674159 h 1674159"/>
              <a:gd name="connsiteX1" fmla="*/ 1936376 w 7510182"/>
              <a:gd name="connsiteY1" fmla="*/ 1674159 h 1674159"/>
              <a:gd name="connsiteX2" fmla="*/ 1936376 w 7510182"/>
              <a:gd name="connsiteY2" fmla="*/ 1196789 h 1674159"/>
              <a:gd name="connsiteX3" fmla="*/ 4726641 w 7510182"/>
              <a:gd name="connsiteY3" fmla="*/ 1196789 h 1674159"/>
              <a:gd name="connsiteX4" fmla="*/ 4726641 w 7510182"/>
              <a:gd name="connsiteY4" fmla="*/ 685800 h 1674159"/>
              <a:gd name="connsiteX5" fmla="*/ 7510182 w 7510182"/>
              <a:gd name="connsiteY5" fmla="*/ 0 h 1674159"/>
              <a:gd name="connsiteX0" fmla="*/ 0 w 7510182"/>
              <a:gd name="connsiteY0" fmla="*/ 1674159 h 1674159"/>
              <a:gd name="connsiteX1" fmla="*/ 1936376 w 7510182"/>
              <a:gd name="connsiteY1" fmla="*/ 1674159 h 1674159"/>
              <a:gd name="connsiteX2" fmla="*/ 1936376 w 7510182"/>
              <a:gd name="connsiteY2" fmla="*/ 1196789 h 1674159"/>
              <a:gd name="connsiteX3" fmla="*/ 4726641 w 7510182"/>
              <a:gd name="connsiteY3" fmla="*/ 1196789 h 1674159"/>
              <a:gd name="connsiteX4" fmla="*/ 4726641 w 7510182"/>
              <a:gd name="connsiteY4" fmla="*/ 685800 h 1674159"/>
              <a:gd name="connsiteX5" fmla="*/ 7510182 w 7510182"/>
              <a:gd name="connsiteY5" fmla="*/ 0 h 1674159"/>
              <a:gd name="connsiteX0" fmla="*/ 0 w 7510182"/>
              <a:gd name="connsiteY0" fmla="*/ 1674159 h 1674159"/>
              <a:gd name="connsiteX1" fmla="*/ 1936376 w 7510182"/>
              <a:gd name="connsiteY1" fmla="*/ 1674159 h 1674159"/>
              <a:gd name="connsiteX2" fmla="*/ 1936376 w 7510182"/>
              <a:gd name="connsiteY2" fmla="*/ 1196789 h 1674159"/>
              <a:gd name="connsiteX3" fmla="*/ 4726641 w 7510182"/>
              <a:gd name="connsiteY3" fmla="*/ 1196789 h 1674159"/>
              <a:gd name="connsiteX4" fmla="*/ 4726641 w 7510182"/>
              <a:gd name="connsiteY4" fmla="*/ 685800 h 1674159"/>
              <a:gd name="connsiteX5" fmla="*/ 7510182 w 7510182"/>
              <a:gd name="connsiteY5" fmla="*/ 0 h 1674159"/>
              <a:gd name="connsiteX0" fmla="*/ 0 w 7510182"/>
              <a:gd name="connsiteY0" fmla="*/ 1674159 h 1674159"/>
              <a:gd name="connsiteX1" fmla="*/ 1936376 w 7510182"/>
              <a:gd name="connsiteY1" fmla="*/ 1674159 h 1674159"/>
              <a:gd name="connsiteX2" fmla="*/ 1936376 w 7510182"/>
              <a:gd name="connsiteY2" fmla="*/ 1196789 h 1674159"/>
              <a:gd name="connsiteX3" fmla="*/ 4726641 w 7510182"/>
              <a:gd name="connsiteY3" fmla="*/ 1196789 h 1674159"/>
              <a:gd name="connsiteX4" fmla="*/ 4726641 w 7510182"/>
              <a:gd name="connsiteY4" fmla="*/ 685800 h 1674159"/>
              <a:gd name="connsiteX5" fmla="*/ 7510182 w 7510182"/>
              <a:gd name="connsiteY5" fmla="*/ 0 h 1674159"/>
              <a:gd name="connsiteX0" fmla="*/ 0 w 7510182"/>
              <a:gd name="connsiteY0" fmla="*/ 1674159 h 1674159"/>
              <a:gd name="connsiteX1" fmla="*/ 1936376 w 7510182"/>
              <a:gd name="connsiteY1" fmla="*/ 1674159 h 1674159"/>
              <a:gd name="connsiteX2" fmla="*/ 1936376 w 7510182"/>
              <a:gd name="connsiteY2" fmla="*/ 1196789 h 1674159"/>
              <a:gd name="connsiteX3" fmla="*/ 4726641 w 7510182"/>
              <a:gd name="connsiteY3" fmla="*/ 1196789 h 1674159"/>
              <a:gd name="connsiteX4" fmla="*/ 4726641 w 7510182"/>
              <a:gd name="connsiteY4" fmla="*/ 685800 h 1674159"/>
              <a:gd name="connsiteX5" fmla="*/ 7510182 w 7510182"/>
              <a:gd name="connsiteY5" fmla="*/ 0 h 1674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10182" h="1674159">
                <a:moveTo>
                  <a:pt x="0" y="1674159"/>
                </a:moveTo>
                <a:lnTo>
                  <a:pt x="1936376" y="1674159"/>
                </a:lnTo>
                <a:lnTo>
                  <a:pt x="1936376" y="1196789"/>
                </a:lnTo>
                <a:lnTo>
                  <a:pt x="4726641" y="1196789"/>
                </a:lnTo>
                <a:lnTo>
                  <a:pt x="4726641" y="685800"/>
                </a:lnTo>
                <a:cubicBezTo>
                  <a:pt x="5936877" y="652184"/>
                  <a:pt x="6649570" y="564777"/>
                  <a:pt x="7510182" y="0"/>
                </a:cubicBezTo>
              </a:path>
            </a:pathLst>
          </a:custGeom>
          <a:noFill/>
          <a:ln>
            <a:solidFill>
              <a:schemeClr val="accent1"/>
            </a:solidFill>
            <a:tailEnd type="stealt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Tree>
    <p:extLst>
      <p:ext uri="{BB962C8B-B14F-4D97-AF65-F5344CB8AC3E}">
        <p14:creationId xmlns:p14="http://schemas.microsoft.com/office/powerpoint/2010/main" val="1003481129"/>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3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圆角 1">
            <a:extLst>
              <a:ext uri="{FF2B5EF4-FFF2-40B4-BE49-F238E27FC236}">
                <a16:creationId xmlns:a16="http://schemas.microsoft.com/office/drawing/2014/main" id="{0D05459D-B3CE-4933-A6AB-7EC6CE1F09E1}"/>
              </a:ext>
            </a:extLst>
          </p:cNvPr>
          <p:cNvSpPr/>
          <p:nvPr/>
        </p:nvSpPr>
        <p:spPr>
          <a:xfrm>
            <a:off x="1401918" y="2036964"/>
            <a:ext cx="2459828" cy="2765919"/>
          </a:xfrm>
          <a:prstGeom prst="roundRect">
            <a:avLst>
              <a:gd name="adj" fmla="val 7883"/>
            </a:avLst>
          </a:prstGeom>
          <a:gradFill flip="none" rotWithShape="1">
            <a:gsLst>
              <a:gs pos="0">
                <a:schemeClr val="accent1">
                  <a:lumMod val="91000"/>
                  <a:lumOff val="9000"/>
                </a:schemeClr>
              </a:gs>
              <a:gs pos="85000">
                <a:schemeClr val="accent1">
                  <a:lumMod val="10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 name="任意多边形: 形状 2">
            <a:extLst>
              <a:ext uri="{FF2B5EF4-FFF2-40B4-BE49-F238E27FC236}">
                <a16:creationId xmlns:a16="http://schemas.microsoft.com/office/drawing/2014/main" id="{67E88D4C-F868-4E01-B918-549604FD3181}"/>
              </a:ext>
            </a:extLst>
          </p:cNvPr>
          <p:cNvSpPr/>
          <p:nvPr/>
        </p:nvSpPr>
        <p:spPr>
          <a:xfrm>
            <a:off x="1401917" y="2036964"/>
            <a:ext cx="2459829" cy="3548106"/>
          </a:xfrm>
          <a:custGeom>
            <a:avLst/>
            <a:gdLst>
              <a:gd name="connsiteX0" fmla="*/ 2302137 w 2765506"/>
              <a:gd name="connsiteY0" fmla="*/ 0 h 5045815"/>
              <a:gd name="connsiteX1" fmla="*/ 2597905 w 2765506"/>
              <a:gd name="connsiteY1" fmla="*/ 0 h 5045815"/>
              <a:gd name="connsiteX2" fmla="*/ 2765506 w 2765506"/>
              <a:gd name="connsiteY2" fmla="*/ 167601 h 5045815"/>
              <a:gd name="connsiteX3" fmla="*/ 2765506 w 2765506"/>
              <a:gd name="connsiteY3" fmla="*/ 4878213 h 5045815"/>
              <a:gd name="connsiteX4" fmla="*/ 2597905 w 2765506"/>
              <a:gd name="connsiteY4" fmla="*/ 5045815 h 5045815"/>
              <a:gd name="connsiteX5" fmla="*/ 167602 w 2765506"/>
              <a:gd name="connsiteY5" fmla="*/ 5045815 h 5045815"/>
              <a:gd name="connsiteX6" fmla="*/ 0 w 2765506"/>
              <a:gd name="connsiteY6" fmla="*/ 4878213 h 5045815"/>
              <a:gd name="connsiteX7" fmla="*/ 0 w 2765506"/>
              <a:gd name="connsiteY7" fmla="*/ 953549 h 5045815"/>
              <a:gd name="connsiteX8" fmla="*/ 167602 w 2765506"/>
              <a:gd name="connsiteY8" fmla="*/ 785947 h 5045815"/>
              <a:gd name="connsiteX9" fmla="*/ 1613798 w 2765506"/>
              <a:gd name="connsiteY9" fmla="*/ 785947 h 5045815"/>
              <a:gd name="connsiteX10" fmla="*/ 1756005 w 2765506"/>
              <a:gd name="connsiteY10" fmla="*/ 707226 h 5045815"/>
              <a:gd name="connsiteX11" fmla="*/ 2140726 w 2765506"/>
              <a:gd name="connsiteY11" fmla="*/ 93958 h 5045815"/>
              <a:gd name="connsiteX12" fmla="*/ 2261071 w 2765506"/>
              <a:gd name="connsiteY12" fmla="*/ 5216 h 50458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765506" h="5045815">
                <a:moveTo>
                  <a:pt x="2302137" y="0"/>
                </a:moveTo>
                <a:lnTo>
                  <a:pt x="2597905" y="0"/>
                </a:lnTo>
                <a:cubicBezTo>
                  <a:pt x="2690594" y="0"/>
                  <a:pt x="2765506" y="74912"/>
                  <a:pt x="2765506" y="167601"/>
                </a:cubicBezTo>
                <a:lnTo>
                  <a:pt x="2765506" y="4878213"/>
                </a:lnTo>
                <a:cubicBezTo>
                  <a:pt x="2765506" y="4970901"/>
                  <a:pt x="2690594" y="5045815"/>
                  <a:pt x="2597905" y="5045815"/>
                </a:cubicBezTo>
                <a:lnTo>
                  <a:pt x="167602" y="5045815"/>
                </a:lnTo>
                <a:cubicBezTo>
                  <a:pt x="74914" y="5045815"/>
                  <a:pt x="0" y="4970901"/>
                  <a:pt x="0" y="4878213"/>
                </a:cubicBezTo>
                <a:lnTo>
                  <a:pt x="0" y="953549"/>
                </a:lnTo>
                <a:cubicBezTo>
                  <a:pt x="0" y="860861"/>
                  <a:pt x="74914" y="785947"/>
                  <a:pt x="167602" y="785947"/>
                </a:cubicBezTo>
                <a:lnTo>
                  <a:pt x="1613798" y="785947"/>
                </a:lnTo>
                <a:cubicBezTo>
                  <a:pt x="1670934" y="785947"/>
                  <a:pt x="1725532" y="756745"/>
                  <a:pt x="1756005" y="707226"/>
                </a:cubicBezTo>
                <a:lnTo>
                  <a:pt x="2140726" y="93958"/>
                </a:lnTo>
                <a:cubicBezTo>
                  <a:pt x="2168343" y="49200"/>
                  <a:pt x="2211671" y="18013"/>
                  <a:pt x="2261071" y="5216"/>
                </a:cubicBezTo>
                <a:close/>
              </a:path>
            </a:pathLst>
          </a:custGeom>
          <a:solidFill>
            <a:schemeClr val="bg1"/>
          </a:solidFill>
          <a:ln w="22225" cap="flat">
            <a:solidFill>
              <a:schemeClr val="accent1"/>
            </a:solidFill>
            <a:prstDash val="solid"/>
            <a:miter/>
          </a:ln>
          <a:effectLst>
            <a:outerShdw blurRad="228600" dist="114300" dir="7200000" sx="97000" sy="97000" algn="t" rotWithShape="0">
              <a:schemeClr val="accent1">
                <a:lumMod val="50000"/>
                <a:alpha val="17000"/>
              </a:scheme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zh-CN" altLang="en-US"/>
          </a:p>
        </p:txBody>
      </p:sp>
      <p:sp>
        <p:nvSpPr>
          <p:cNvPr id="5" name="文本框 4">
            <a:extLst>
              <a:ext uri="{FF2B5EF4-FFF2-40B4-BE49-F238E27FC236}">
                <a16:creationId xmlns:a16="http://schemas.microsoft.com/office/drawing/2014/main" id="{4B18EED2-C4FE-4B30-884E-FCF9E499D796}"/>
              </a:ext>
            </a:extLst>
          </p:cNvPr>
          <p:cNvSpPr txBox="1"/>
          <p:nvPr/>
        </p:nvSpPr>
        <p:spPr>
          <a:xfrm>
            <a:off x="1679519" y="2207522"/>
            <a:ext cx="1154162" cy="276999"/>
          </a:xfrm>
          <a:prstGeom prst="rect">
            <a:avLst/>
          </a:prstGeom>
          <a:noFill/>
        </p:spPr>
        <p:txBody>
          <a:bodyPr wrap="none" lIns="0" tIns="0" rIns="0" bIns="0" rtlCol="0" anchor="t">
            <a:spAutoFit/>
          </a:bodyPr>
          <a:lstStyle/>
          <a:p>
            <a:pPr algn="l"/>
            <a:r>
              <a:rPr lang="zh-CN" altLang="en-US" dirty="0">
                <a:solidFill>
                  <a:schemeClr val="bg1"/>
                </a:solidFill>
                <a:latin typeface="+mj-ea"/>
                <a:ea typeface="+mj-ea"/>
              </a:rPr>
              <a:t>关键词标题</a:t>
            </a:r>
          </a:p>
        </p:txBody>
      </p:sp>
      <p:sp>
        <p:nvSpPr>
          <p:cNvPr id="6" name="椭圆 5">
            <a:extLst>
              <a:ext uri="{FF2B5EF4-FFF2-40B4-BE49-F238E27FC236}">
                <a16:creationId xmlns:a16="http://schemas.microsoft.com/office/drawing/2014/main" id="{A6DBA6E2-7124-439F-862F-99BDB868C2CF}"/>
              </a:ext>
            </a:extLst>
          </p:cNvPr>
          <p:cNvSpPr/>
          <p:nvPr/>
        </p:nvSpPr>
        <p:spPr>
          <a:xfrm>
            <a:off x="2174631" y="3079497"/>
            <a:ext cx="914400" cy="9144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7" name="文本框 6">
            <a:extLst>
              <a:ext uri="{FF2B5EF4-FFF2-40B4-BE49-F238E27FC236}">
                <a16:creationId xmlns:a16="http://schemas.microsoft.com/office/drawing/2014/main" id="{3D9BF5BF-2768-4426-A227-23F5ADA3F368}"/>
              </a:ext>
            </a:extLst>
          </p:cNvPr>
          <p:cNvSpPr txBox="1"/>
          <p:nvPr/>
        </p:nvSpPr>
        <p:spPr>
          <a:xfrm>
            <a:off x="1607399" y="4484708"/>
            <a:ext cx="1981200" cy="587340"/>
          </a:xfrm>
          <a:prstGeom prst="rect">
            <a:avLst/>
          </a:prstGeom>
          <a:noFill/>
        </p:spPr>
        <p:txBody>
          <a:bodyPr wrap="square" lIns="0" tIns="0" rIns="0" bIns="0" rtlCol="0" anchor="t">
            <a:spAutoFit/>
          </a:bodyPr>
          <a:lstStyle/>
          <a:p>
            <a:pPr algn="ctr">
              <a:lnSpc>
                <a:spcPct val="130000"/>
              </a:lnSpc>
            </a:pPr>
            <a:r>
              <a:rPr lang="en-US" altLang="zh-CN" sz="1000" b="0" dirty="0">
                <a:solidFill>
                  <a:schemeClr val="tx1">
                    <a:lumMod val="75000"/>
                    <a:lumOff val="25000"/>
                  </a:schemeClr>
                </a:solidFill>
                <a:effectLst/>
                <a:latin typeface="+mn-ea"/>
              </a:rPr>
              <a:t>Lorem ipsum dolor sit amet, consectetur adipisicing elit, sed do eiusmod tempor</a:t>
            </a:r>
            <a:endParaRPr lang="zh-CN" altLang="en-US" sz="1000" b="0" dirty="0">
              <a:solidFill>
                <a:schemeClr val="tx1">
                  <a:lumMod val="75000"/>
                  <a:lumOff val="25000"/>
                </a:schemeClr>
              </a:solidFill>
              <a:effectLst/>
              <a:latin typeface="+mn-ea"/>
            </a:endParaRPr>
          </a:p>
        </p:txBody>
      </p:sp>
      <p:sp>
        <p:nvSpPr>
          <p:cNvPr id="8" name="文本框 7">
            <a:extLst>
              <a:ext uri="{FF2B5EF4-FFF2-40B4-BE49-F238E27FC236}">
                <a16:creationId xmlns:a16="http://schemas.microsoft.com/office/drawing/2014/main" id="{92BC57CF-3709-4D83-8F45-87B49C9C33F4}"/>
              </a:ext>
            </a:extLst>
          </p:cNvPr>
          <p:cNvSpPr txBox="1"/>
          <p:nvPr/>
        </p:nvSpPr>
        <p:spPr>
          <a:xfrm>
            <a:off x="1956798" y="4107665"/>
            <a:ext cx="1282402" cy="307777"/>
          </a:xfrm>
          <a:prstGeom prst="rect">
            <a:avLst/>
          </a:prstGeom>
          <a:noFill/>
        </p:spPr>
        <p:txBody>
          <a:bodyPr wrap="none" lIns="0" tIns="0" rIns="0" bIns="0" rtlCol="0" anchor="t">
            <a:spAutoFit/>
          </a:bodyPr>
          <a:lstStyle/>
          <a:p>
            <a:pPr algn="ctr"/>
            <a:r>
              <a:rPr lang="zh-CN" altLang="en-US" sz="2000" dirty="0">
                <a:solidFill>
                  <a:schemeClr val="accent1"/>
                </a:solidFill>
                <a:latin typeface="+mj-ea"/>
                <a:ea typeface="+mj-ea"/>
              </a:rPr>
              <a:t>关键词标题</a:t>
            </a:r>
          </a:p>
        </p:txBody>
      </p:sp>
      <p:sp>
        <p:nvSpPr>
          <p:cNvPr id="11" name="矩形: 圆角 10">
            <a:extLst>
              <a:ext uri="{FF2B5EF4-FFF2-40B4-BE49-F238E27FC236}">
                <a16:creationId xmlns:a16="http://schemas.microsoft.com/office/drawing/2014/main" id="{B0C6B53A-E123-418C-9319-60F1D2A14EE0}"/>
              </a:ext>
            </a:extLst>
          </p:cNvPr>
          <p:cNvSpPr/>
          <p:nvPr/>
        </p:nvSpPr>
        <p:spPr>
          <a:xfrm>
            <a:off x="4866087" y="2036964"/>
            <a:ext cx="2459828" cy="2765919"/>
          </a:xfrm>
          <a:prstGeom prst="roundRect">
            <a:avLst>
              <a:gd name="adj" fmla="val 7883"/>
            </a:avLst>
          </a:prstGeom>
          <a:gradFill flip="none" rotWithShape="1">
            <a:gsLst>
              <a:gs pos="0">
                <a:schemeClr val="accent1">
                  <a:lumMod val="91000"/>
                  <a:lumOff val="9000"/>
                </a:schemeClr>
              </a:gs>
              <a:gs pos="85000">
                <a:schemeClr val="accent1">
                  <a:lumMod val="10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 name="任意多边形: 形状 11">
            <a:extLst>
              <a:ext uri="{FF2B5EF4-FFF2-40B4-BE49-F238E27FC236}">
                <a16:creationId xmlns:a16="http://schemas.microsoft.com/office/drawing/2014/main" id="{1990E148-3621-41DC-A521-2E618080320D}"/>
              </a:ext>
            </a:extLst>
          </p:cNvPr>
          <p:cNvSpPr/>
          <p:nvPr/>
        </p:nvSpPr>
        <p:spPr>
          <a:xfrm>
            <a:off x="4866086" y="2036964"/>
            <a:ext cx="2459829" cy="3548106"/>
          </a:xfrm>
          <a:custGeom>
            <a:avLst/>
            <a:gdLst>
              <a:gd name="connsiteX0" fmla="*/ 2302137 w 2765506"/>
              <a:gd name="connsiteY0" fmla="*/ 0 h 5045815"/>
              <a:gd name="connsiteX1" fmla="*/ 2597905 w 2765506"/>
              <a:gd name="connsiteY1" fmla="*/ 0 h 5045815"/>
              <a:gd name="connsiteX2" fmla="*/ 2765506 w 2765506"/>
              <a:gd name="connsiteY2" fmla="*/ 167601 h 5045815"/>
              <a:gd name="connsiteX3" fmla="*/ 2765506 w 2765506"/>
              <a:gd name="connsiteY3" fmla="*/ 4878213 h 5045815"/>
              <a:gd name="connsiteX4" fmla="*/ 2597905 w 2765506"/>
              <a:gd name="connsiteY4" fmla="*/ 5045815 h 5045815"/>
              <a:gd name="connsiteX5" fmla="*/ 167602 w 2765506"/>
              <a:gd name="connsiteY5" fmla="*/ 5045815 h 5045815"/>
              <a:gd name="connsiteX6" fmla="*/ 0 w 2765506"/>
              <a:gd name="connsiteY6" fmla="*/ 4878213 h 5045815"/>
              <a:gd name="connsiteX7" fmla="*/ 0 w 2765506"/>
              <a:gd name="connsiteY7" fmla="*/ 953549 h 5045815"/>
              <a:gd name="connsiteX8" fmla="*/ 167602 w 2765506"/>
              <a:gd name="connsiteY8" fmla="*/ 785947 h 5045815"/>
              <a:gd name="connsiteX9" fmla="*/ 1613798 w 2765506"/>
              <a:gd name="connsiteY9" fmla="*/ 785947 h 5045815"/>
              <a:gd name="connsiteX10" fmla="*/ 1756005 w 2765506"/>
              <a:gd name="connsiteY10" fmla="*/ 707226 h 5045815"/>
              <a:gd name="connsiteX11" fmla="*/ 2140726 w 2765506"/>
              <a:gd name="connsiteY11" fmla="*/ 93958 h 5045815"/>
              <a:gd name="connsiteX12" fmla="*/ 2261071 w 2765506"/>
              <a:gd name="connsiteY12" fmla="*/ 5216 h 50458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765506" h="5045815">
                <a:moveTo>
                  <a:pt x="2302137" y="0"/>
                </a:moveTo>
                <a:lnTo>
                  <a:pt x="2597905" y="0"/>
                </a:lnTo>
                <a:cubicBezTo>
                  <a:pt x="2690594" y="0"/>
                  <a:pt x="2765506" y="74912"/>
                  <a:pt x="2765506" y="167601"/>
                </a:cubicBezTo>
                <a:lnTo>
                  <a:pt x="2765506" y="4878213"/>
                </a:lnTo>
                <a:cubicBezTo>
                  <a:pt x="2765506" y="4970901"/>
                  <a:pt x="2690594" y="5045815"/>
                  <a:pt x="2597905" y="5045815"/>
                </a:cubicBezTo>
                <a:lnTo>
                  <a:pt x="167602" y="5045815"/>
                </a:lnTo>
                <a:cubicBezTo>
                  <a:pt x="74914" y="5045815"/>
                  <a:pt x="0" y="4970901"/>
                  <a:pt x="0" y="4878213"/>
                </a:cubicBezTo>
                <a:lnTo>
                  <a:pt x="0" y="953549"/>
                </a:lnTo>
                <a:cubicBezTo>
                  <a:pt x="0" y="860861"/>
                  <a:pt x="74914" y="785947"/>
                  <a:pt x="167602" y="785947"/>
                </a:cubicBezTo>
                <a:lnTo>
                  <a:pt x="1613798" y="785947"/>
                </a:lnTo>
                <a:cubicBezTo>
                  <a:pt x="1670934" y="785947"/>
                  <a:pt x="1725532" y="756745"/>
                  <a:pt x="1756005" y="707226"/>
                </a:cubicBezTo>
                <a:lnTo>
                  <a:pt x="2140726" y="93958"/>
                </a:lnTo>
                <a:cubicBezTo>
                  <a:pt x="2168343" y="49200"/>
                  <a:pt x="2211671" y="18013"/>
                  <a:pt x="2261071" y="5216"/>
                </a:cubicBezTo>
                <a:close/>
              </a:path>
            </a:pathLst>
          </a:custGeom>
          <a:solidFill>
            <a:schemeClr val="bg1"/>
          </a:solidFill>
          <a:ln w="22225" cap="flat">
            <a:solidFill>
              <a:schemeClr val="accent1"/>
            </a:solidFill>
            <a:prstDash val="solid"/>
            <a:miter/>
          </a:ln>
          <a:effectLst>
            <a:outerShdw blurRad="228600" dist="114300" dir="7200000" sx="97000" sy="97000" algn="t" rotWithShape="0">
              <a:schemeClr val="accent1">
                <a:lumMod val="50000"/>
                <a:alpha val="17000"/>
              </a:scheme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zh-CN" altLang="en-US"/>
          </a:p>
        </p:txBody>
      </p:sp>
      <p:sp>
        <p:nvSpPr>
          <p:cNvPr id="13" name="文本框 12">
            <a:extLst>
              <a:ext uri="{FF2B5EF4-FFF2-40B4-BE49-F238E27FC236}">
                <a16:creationId xmlns:a16="http://schemas.microsoft.com/office/drawing/2014/main" id="{426D4C91-69CC-46E2-B541-0F34F574BA03}"/>
              </a:ext>
            </a:extLst>
          </p:cNvPr>
          <p:cNvSpPr txBox="1"/>
          <p:nvPr/>
        </p:nvSpPr>
        <p:spPr>
          <a:xfrm>
            <a:off x="5143688" y="2207522"/>
            <a:ext cx="1154162" cy="276999"/>
          </a:xfrm>
          <a:prstGeom prst="rect">
            <a:avLst/>
          </a:prstGeom>
          <a:noFill/>
        </p:spPr>
        <p:txBody>
          <a:bodyPr wrap="none" lIns="0" tIns="0" rIns="0" bIns="0" rtlCol="0" anchor="t">
            <a:spAutoFit/>
          </a:bodyPr>
          <a:lstStyle/>
          <a:p>
            <a:pPr algn="l"/>
            <a:r>
              <a:rPr lang="zh-CN" altLang="en-US" dirty="0">
                <a:solidFill>
                  <a:schemeClr val="bg1"/>
                </a:solidFill>
                <a:latin typeface="+mj-ea"/>
                <a:ea typeface="+mj-ea"/>
              </a:rPr>
              <a:t>关键词标题</a:t>
            </a:r>
          </a:p>
        </p:txBody>
      </p:sp>
      <p:sp>
        <p:nvSpPr>
          <p:cNvPr id="14" name="椭圆 13">
            <a:extLst>
              <a:ext uri="{FF2B5EF4-FFF2-40B4-BE49-F238E27FC236}">
                <a16:creationId xmlns:a16="http://schemas.microsoft.com/office/drawing/2014/main" id="{159EFB20-67D9-4DE5-8E6D-EE301C4877B1}"/>
              </a:ext>
            </a:extLst>
          </p:cNvPr>
          <p:cNvSpPr/>
          <p:nvPr/>
        </p:nvSpPr>
        <p:spPr>
          <a:xfrm>
            <a:off x="5638800" y="3079497"/>
            <a:ext cx="914400" cy="9144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15" name="文本框 14">
            <a:extLst>
              <a:ext uri="{FF2B5EF4-FFF2-40B4-BE49-F238E27FC236}">
                <a16:creationId xmlns:a16="http://schemas.microsoft.com/office/drawing/2014/main" id="{EB9AB7F1-C79B-44D8-9522-C5793C3C45AB}"/>
              </a:ext>
            </a:extLst>
          </p:cNvPr>
          <p:cNvSpPr txBox="1"/>
          <p:nvPr/>
        </p:nvSpPr>
        <p:spPr>
          <a:xfrm>
            <a:off x="5071568" y="4484708"/>
            <a:ext cx="1981200" cy="587340"/>
          </a:xfrm>
          <a:prstGeom prst="rect">
            <a:avLst/>
          </a:prstGeom>
          <a:noFill/>
        </p:spPr>
        <p:txBody>
          <a:bodyPr wrap="square" lIns="0" tIns="0" rIns="0" bIns="0" rtlCol="0" anchor="t">
            <a:spAutoFit/>
          </a:bodyPr>
          <a:lstStyle/>
          <a:p>
            <a:pPr algn="ctr">
              <a:lnSpc>
                <a:spcPct val="130000"/>
              </a:lnSpc>
            </a:pPr>
            <a:r>
              <a:rPr lang="en-US" altLang="zh-CN" sz="1000" b="0" dirty="0">
                <a:solidFill>
                  <a:schemeClr val="tx1">
                    <a:lumMod val="75000"/>
                    <a:lumOff val="25000"/>
                  </a:schemeClr>
                </a:solidFill>
                <a:effectLst/>
                <a:latin typeface="+mn-ea"/>
              </a:rPr>
              <a:t>Lorem ipsum dolor sit amet, consectetur adipisicing elit, sed do eiusmod tempor</a:t>
            </a:r>
            <a:endParaRPr lang="zh-CN" altLang="en-US" sz="1000" b="0" dirty="0">
              <a:solidFill>
                <a:schemeClr val="tx1">
                  <a:lumMod val="75000"/>
                  <a:lumOff val="25000"/>
                </a:schemeClr>
              </a:solidFill>
              <a:effectLst/>
              <a:latin typeface="+mn-ea"/>
            </a:endParaRPr>
          </a:p>
        </p:txBody>
      </p:sp>
      <p:sp>
        <p:nvSpPr>
          <p:cNvPr id="16" name="文本框 15">
            <a:extLst>
              <a:ext uri="{FF2B5EF4-FFF2-40B4-BE49-F238E27FC236}">
                <a16:creationId xmlns:a16="http://schemas.microsoft.com/office/drawing/2014/main" id="{82A2A9CD-C350-49B8-9911-3B1BBF65067E}"/>
              </a:ext>
            </a:extLst>
          </p:cNvPr>
          <p:cNvSpPr txBox="1"/>
          <p:nvPr/>
        </p:nvSpPr>
        <p:spPr>
          <a:xfrm>
            <a:off x="5420967" y="4107665"/>
            <a:ext cx="1282402" cy="307777"/>
          </a:xfrm>
          <a:prstGeom prst="rect">
            <a:avLst/>
          </a:prstGeom>
          <a:noFill/>
        </p:spPr>
        <p:txBody>
          <a:bodyPr wrap="none" lIns="0" tIns="0" rIns="0" bIns="0" rtlCol="0" anchor="t">
            <a:spAutoFit/>
          </a:bodyPr>
          <a:lstStyle/>
          <a:p>
            <a:pPr algn="ctr"/>
            <a:r>
              <a:rPr lang="zh-CN" altLang="en-US" sz="2000" dirty="0">
                <a:solidFill>
                  <a:schemeClr val="accent1"/>
                </a:solidFill>
                <a:latin typeface="+mj-ea"/>
                <a:ea typeface="+mj-ea"/>
              </a:rPr>
              <a:t>关键词标题</a:t>
            </a:r>
          </a:p>
        </p:txBody>
      </p:sp>
      <p:sp>
        <p:nvSpPr>
          <p:cNvPr id="18" name="矩形: 圆角 17">
            <a:extLst>
              <a:ext uri="{FF2B5EF4-FFF2-40B4-BE49-F238E27FC236}">
                <a16:creationId xmlns:a16="http://schemas.microsoft.com/office/drawing/2014/main" id="{C9D2DB2D-7177-4043-A459-19A4E96CFF88}"/>
              </a:ext>
            </a:extLst>
          </p:cNvPr>
          <p:cNvSpPr/>
          <p:nvPr/>
        </p:nvSpPr>
        <p:spPr>
          <a:xfrm>
            <a:off x="8330256" y="2036964"/>
            <a:ext cx="2459828" cy="2765919"/>
          </a:xfrm>
          <a:prstGeom prst="roundRect">
            <a:avLst>
              <a:gd name="adj" fmla="val 7883"/>
            </a:avLst>
          </a:prstGeom>
          <a:gradFill flip="none" rotWithShape="1">
            <a:gsLst>
              <a:gs pos="0">
                <a:schemeClr val="accent1">
                  <a:lumMod val="91000"/>
                  <a:lumOff val="9000"/>
                </a:schemeClr>
              </a:gs>
              <a:gs pos="85000">
                <a:schemeClr val="accent1">
                  <a:lumMod val="10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9" name="任意多边形: 形状 18">
            <a:extLst>
              <a:ext uri="{FF2B5EF4-FFF2-40B4-BE49-F238E27FC236}">
                <a16:creationId xmlns:a16="http://schemas.microsoft.com/office/drawing/2014/main" id="{CBCAC668-C188-4D7A-97B8-5FF4167AAB17}"/>
              </a:ext>
            </a:extLst>
          </p:cNvPr>
          <p:cNvSpPr/>
          <p:nvPr/>
        </p:nvSpPr>
        <p:spPr>
          <a:xfrm>
            <a:off x="8330255" y="2036964"/>
            <a:ext cx="2459829" cy="3548106"/>
          </a:xfrm>
          <a:custGeom>
            <a:avLst/>
            <a:gdLst>
              <a:gd name="connsiteX0" fmla="*/ 2302137 w 2765506"/>
              <a:gd name="connsiteY0" fmla="*/ 0 h 5045815"/>
              <a:gd name="connsiteX1" fmla="*/ 2597905 w 2765506"/>
              <a:gd name="connsiteY1" fmla="*/ 0 h 5045815"/>
              <a:gd name="connsiteX2" fmla="*/ 2765506 w 2765506"/>
              <a:gd name="connsiteY2" fmla="*/ 167601 h 5045815"/>
              <a:gd name="connsiteX3" fmla="*/ 2765506 w 2765506"/>
              <a:gd name="connsiteY3" fmla="*/ 4878213 h 5045815"/>
              <a:gd name="connsiteX4" fmla="*/ 2597905 w 2765506"/>
              <a:gd name="connsiteY4" fmla="*/ 5045815 h 5045815"/>
              <a:gd name="connsiteX5" fmla="*/ 167602 w 2765506"/>
              <a:gd name="connsiteY5" fmla="*/ 5045815 h 5045815"/>
              <a:gd name="connsiteX6" fmla="*/ 0 w 2765506"/>
              <a:gd name="connsiteY6" fmla="*/ 4878213 h 5045815"/>
              <a:gd name="connsiteX7" fmla="*/ 0 w 2765506"/>
              <a:gd name="connsiteY7" fmla="*/ 953549 h 5045815"/>
              <a:gd name="connsiteX8" fmla="*/ 167602 w 2765506"/>
              <a:gd name="connsiteY8" fmla="*/ 785947 h 5045815"/>
              <a:gd name="connsiteX9" fmla="*/ 1613798 w 2765506"/>
              <a:gd name="connsiteY9" fmla="*/ 785947 h 5045815"/>
              <a:gd name="connsiteX10" fmla="*/ 1756005 w 2765506"/>
              <a:gd name="connsiteY10" fmla="*/ 707226 h 5045815"/>
              <a:gd name="connsiteX11" fmla="*/ 2140726 w 2765506"/>
              <a:gd name="connsiteY11" fmla="*/ 93958 h 5045815"/>
              <a:gd name="connsiteX12" fmla="*/ 2261071 w 2765506"/>
              <a:gd name="connsiteY12" fmla="*/ 5216 h 50458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765506" h="5045815">
                <a:moveTo>
                  <a:pt x="2302137" y="0"/>
                </a:moveTo>
                <a:lnTo>
                  <a:pt x="2597905" y="0"/>
                </a:lnTo>
                <a:cubicBezTo>
                  <a:pt x="2690594" y="0"/>
                  <a:pt x="2765506" y="74912"/>
                  <a:pt x="2765506" y="167601"/>
                </a:cubicBezTo>
                <a:lnTo>
                  <a:pt x="2765506" y="4878213"/>
                </a:lnTo>
                <a:cubicBezTo>
                  <a:pt x="2765506" y="4970901"/>
                  <a:pt x="2690594" y="5045815"/>
                  <a:pt x="2597905" y="5045815"/>
                </a:cubicBezTo>
                <a:lnTo>
                  <a:pt x="167602" y="5045815"/>
                </a:lnTo>
                <a:cubicBezTo>
                  <a:pt x="74914" y="5045815"/>
                  <a:pt x="0" y="4970901"/>
                  <a:pt x="0" y="4878213"/>
                </a:cubicBezTo>
                <a:lnTo>
                  <a:pt x="0" y="953549"/>
                </a:lnTo>
                <a:cubicBezTo>
                  <a:pt x="0" y="860861"/>
                  <a:pt x="74914" y="785947"/>
                  <a:pt x="167602" y="785947"/>
                </a:cubicBezTo>
                <a:lnTo>
                  <a:pt x="1613798" y="785947"/>
                </a:lnTo>
                <a:cubicBezTo>
                  <a:pt x="1670934" y="785947"/>
                  <a:pt x="1725532" y="756745"/>
                  <a:pt x="1756005" y="707226"/>
                </a:cubicBezTo>
                <a:lnTo>
                  <a:pt x="2140726" y="93958"/>
                </a:lnTo>
                <a:cubicBezTo>
                  <a:pt x="2168343" y="49200"/>
                  <a:pt x="2211671" y="18013"/>
                  <a:pt x="2261071" y="5216"/>
                </a:cubicBezTo>
                <a:close/>
              </a:path>
            </a:pathLst>
          </a:custGeom>
          <a:solidFill>
            <a:schemeClr val="bg1"/>
          </a:solidFill>
          <a:ln w="22225" cap="flat">
            <a:solidFill>
              <a:schemeClr val="accent1"/>
            </a:solidFill>
            <a:prstDash val="solid"/>
            <a:miter/>
          </a:ln>
          <a:effectLst>
            <a:outerShdw blurRad="228600" dist="114300" dir="7200000" sx="97000" sy="97000" algn="t" rotWithShape="0">
              <a:schemeClr val="accent1">
                <a:lumMod val="50000"/>
                <a:alpha val="17000"/>
              </a:scheme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zh-CN" altLang="en-US"/>
          </a:p>
        </p:txBody>
      </p:sp>
      <p:sp>
        <p:nvSpPr>
          <p:cNvPr id="20" name="文本框 19">
            <a:extLst>
              <a:ext uri="{FF2B5EF4-FFF2-40B4-BE49-F238E27FC236}">
                <a16:creationId xmlns:a16="http://schemas.microsoft.com/office/drawing/2014/main" id="{95EF0528-0677-4345-B95E-3E693CA8BFA7}"/>
              </a:ext>
            </a:extLst>
          </p:cNvPr>
          <p:cNvSpPr txBox="1"/>
          <p:nvPr/>
        </p:nvSpPr>
        <p:spPr>
          <a:xfrm>
            <a:off x="8607857" y="2207522"/>
            <a:ext cx="1154162" cy="276999"/>
          </a:xfrm>
          <a:prstGeom prst="rect">
            <a:avLst/>
          </a:prstGeom>
          <a:noFill/>
        </p:spPr>
        <p:txBody>
          <a:bodyPr wrap="none" lIns="0" tIns="0" rIns="0" bIns="0" rtlCol="0" anchor="t">
            <a:spAutoFit/>
          </a:bodyPr>
          <a:lstStyle/>
          <a:p>
            <a:pPr algn="l"/>
            <a:r>
              <a:rPr lang="zh-CN" altLang="en-US" dirty="0">
                <a:solidFill>
                  <a:schemeClr val="bg1"/>
                </a:solidFill>
                <a:latin typeface="+mj-ea"/>
                <a:ea typeface="+mj-ea"/>
              </a:rPr>
              <a:t>关键词标题</a:t>
            </a:r>
          </a:p>
        </p:txBody>
      </p:sp>
      <p:sp>
        <p:nvSpPr>
          <p:cNvPr id="21" name="椭圆 20">
            <a:extLst>
              <a:ext uri="{FF2B5EF4-FFF2-40B4-BE49-F238E27FC236}">
                <a16:creationId xmlns:a16="http://schemas.microsoft.com/office/drawing/2014/main" id="{16A64E81-DDA5-493F-A242-0ABA98C2736C}"/>
              </a:ext>
            </a:extLst>
          </p:cNvPr>
          <p:cNvSpPr/>
          <p:nvPr/>
        </p:nvSpPr>
        <p:spPr>
          <a:xfrm>
            <a:off x="9102969" y="3079497"/>
            <a:ext cx="914400" cy="9144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22" name="文本框 21">
            <a:extLst>
              <a:ext uri="{FF2B5EF4-FFF2-40B4-BE49-F238E27FC236}">
                <a16:creationId xmlns:a16="http://schemas.microsoft.com/office/drawing/2014/main" id="{E6564343-EDA0-4F78-A28F-DB1A4B5E8D29}"/>
              </a:ext>
            </a:extLst>
          </p:cNvPr>
          <p:cNvSpPr txBox="1"/>
          <p:nvPr/>
        </p:nvSpPr>
        <p:spPr>
          <a:xfrm>
            <a:off x="8535737" y="4484708"/>
            <a:ext cx="1981200" cy="587340"/>
          </a:xfrm>
          <a:prstGeom prst="rect">
            <a:avLst/>
          </a:prstGeom>
          <a:noFill/>
        </p:spPr>
        <p:txBody>
          <a:bodyPr wrap="square" lIns="0" tIns="0" rIns="0" bIns="0" rtlCol="0" anchor="t">
            <a:spAutoFit/>
          </a:bodyPr>
          <a:lstStyle/>
          <a:p>
            <a:pPr algn="ctr">
              <a:lnSpc>
                <a:spcPct val="130000"/>
              </a:lnSpc>
            </a:pPr>
            <a:r>
              <a:rPr lang="en-US" altLang="zh-CN" sz="1000" b="0" dirty="0">
                <a:solidFill>
                  <a:schemeClr val="tx1">
                    <a:lumMod val="75000"/>
                    <a:lumOff val="25000"/>
                  </a:schemeClr>
                </a:solidFill>
                <a:effectLst/>
                <a:latin typeface="+mn-ea"/>
              </a:rPr>
              <a:t>Lorem ipsum dolor sit amet, consectetur adipisicing elit, sed do eiusmod tempor</a:t>
            </a:r>
            <a:endParaRPr lang="zh-CN" altLang="en-US" sz="1000" b="0" dirty="0">
              <a:solidFill>
                <a:schemeClr val="tx1">
                  <a:lumMod val="75000"/>
                  <a:lumOff val="25000"/>
                </a:schemeClr>
              </a:solidFill>
              <a:effectLst/>
              <a:latin typeface="+mn-ea"/>
            </a:endParaRPr>
          </a:p>
        </p:txBody>
      </p:sp>
      <p:sp>
        <p:nvSpPr>
          <p:cNvPr id="23" name="文本框 22">
            <a:extLst>
              <a:ext uri="{FF2B5EF4-FFF2-40B4-BE49-F238E27FC236}">
                <a16:creationId xmlns:a16="http://schemas.microsoft.com/office/drawing/2014/main" id="{3D46397C-E6DC-43C1-8B80-38FB8C5C8259}"/>
              </a:ext>
            </a:extLst>
          </p:cNvPr>
          <p:cNvSpPr txBox="1"/>
          <p:nvPr/>
        </p:nvSpPr>
        <p:spPr>
          <a:xfrm>
            <a:off x="8885136" y="4107665"/>
            <a:ext cx="1282402" cy="307777"/>
          </a:xfrm>
          <a:prstGeom prst="rect">
            <a:avLst/>
          </a:prstGeom>
          <a:noFill/>
        </p:spPr>
        <p:txBody>
          <a:bodyPr wrap="none" lIns="0" tIns="0" rIns="0" bIns="0" rtlCol="0" anchor="t">
            <a:spAutoFit/>
          </a:bodyPr>
          <a:lstStyle/>
          <a:p>
            <a:pPr algn="ctr"/>
            <a:r>
              <a:rPr lang="zh-CN" altLang="en-US" sz="2000" dirty="0">
                <a:solidFill>
                  <a:schemeClr val="accent1"/>
                </a:solidFill>
                <a:latin typeface="+mj-ea"/>
                <a:ea typeface="+mj-ea"/>
              </a:rPr>
              <a:t>关键词标题</a:t>
            </a:r>
          </a:p>
        </p:txBody>
      </p:sp>
      <p:sp>
        <p:nvSpPr>
          <p:cNvPr id="25" name="iconfont-1179-866479">
            <a:extLst>
              <a:ext uri="{FF2B5EF4-FFF2-40B4-BE49-F238E27FC236}">
                <a16:creationId xmlns:a16="http://schemas.microsoft.com/office/drawing/2014/main" id="{63A9FA1B-BA16-47F0-ACA8-9DC3A472FEE8}"/>
              </a:ext>
            </a:extLst>
          </p:cNvPr>
          <p:cNvSpPr/>
          <p:nvPr/>
        </p:nvSpPr>
        <p:spPr>
          <a:xfrm>
            <a:off x="2421170" y="3282769"/>
            <a:ext cx="412511" cy="488569"/>
          </a:xfrm>
          <a:custGeom>
            <a:avLst/>
            <a:gdLst>
              <a:gd name="T0" fmla="*/ 6573 w 9390"/>
              <a:gd name="T1" fmla="*/ 3437 h 11120"/>
              <a:gd name="T2" fmla="*/ 7967 w 9390"/>
              <a:gd name="T3" fmla="*/ 1730 h 11120"/>
              <a:gd name="T4" fmla="*/ 5311 w 9390"/>
              <a:gd name="T5" fmla="*/ 1140 h 11120"/>
              <a:gd name="T6" fmla="*/ 3129 w 9390"/>
              <a:gd name="T7" fmla="*/ 876 h 11120"/>
              <a:gd name="T8" fmla="*/ 2455 w 9390"/>
              <a:gd name="T9" fmla="*/ 3147 h 11120"/>
              <a:gd name="T10" fmla="*/ 7438 w 9390"/>
              <a:gd name="T11" fmla="*/ 4336 h 11120"/>
              <a:gd name="T12" fmla="*/ 2969 w 9390"/>
              <a:gd name="T13" fmla="*/ 4006 h 11120"/>
              <a:gd name="T14" fmla="*/ 0 w 9390"/>
              <a:gd name="T15" fmla="*/ 8570 h 11120"/>
              <a:gd name="T16" fmla="*/ 6860 w 9390"/>
              <a:gd name="T17" fmla="*/ 11120 h 11120"/>
              <a:gd name="T18" fmla="*/ 7438 w 9390"/>
              <a:gd name="T19" fmla="*/ 4336 h 11120"/>
              <a:gd name="T20" fmla="*/ 5549 w 9390"/>
              <a:gd name="T21" fmla="*/ 7248 h 11120"/>
              <a:gd name="T22" fmla="*/ 5919 w 9390"/>
              <a:gd name="T23" fmla="*/ 7515 h 11120"/>
              <a:gd name="T24" fmla="*/ 6098 w 9390"/>
              <a:gd name="T25" fmla="*/ 7695 h 11120"/>
              <a:gd name="T26" fmla="*/ 5384 w 9390"/>
              <a:gd name="T27" fmla="*/ 7874 h 11120"/>
              <a:gd name="T28" fmla="*/ 5195 w 9390"/>
              <a:gd name="T29" fmla="*/ 8151 h 11120"/>
              <a:gd name="T30" fmla="*/ 5919 w 9390"/>
              <a:gd name="T31" fmla="*/ 8331 h 11120"/>
              <a:gd name="T32" fmla="*/ 5919 w 9390"/>
              <a:gd name="T33" fmla="*/ 8690 h 11120"/>
              <a:gd name="T34" fmla="*/ 5195 w 9390"/>
              <a:gd name="T35" fmla="*/ 8870 h 11120"/>
              <a:gd name="T36" fmla="*/ 5015 w 9390"/>
              <a:gd name="T37" fmla="*/ 9507 h 11120"/>
              <a:gd name="T38" fmla="*/ 4510 w 9390"/>
              <a:gd name="T39" fmla="*/ 9327 h 11120"/>
              <a:gd name="T40" fmla="*/ 4330 w 9390"/>
              <a:gd name="T41" fmla="*/ 8690 h 11120"/>
              <a:gd name="T42" fmla="*/ 3612 w 9390"/>
              <a:gd name="T43" fmla="*/ 8510 h 11120"/>
              <a:gd name="T44" fmla="*/ 4329 w 9390"/>
              <a:gd name="T45" fmla="*/ 8331 h 11120"/>
              <a:gd name="T46" fmla="*/ 4511 w 9390"/>
              <a:gd name="T47" fmla="*/ 8063 h 11120"/>
              <a:gd name="T48" fmla="*/ 3792 w 9390"/>
              <a:gd name="T49" fmla="*/ 7873 h 11120"/>
              <a:gd name="T50" fmla="*/ 3612 w 9390"/>
              <a:gd name="T51" fmla="*/ 7694 h 11120"/>
              <a:gd name="T52" fmla="*/ 3999 w 9390"/>
              <a:gd name="T53" fmla="*/ 7514 h 11120"/>
              <a:gd name="T54" fmla="*/ 3406 w 9390"/>
              <a:gd name="T55" fmla="*/ 5887 h 11120"/>
              <a:gd name="T56" fmla="*/ 3920 w 9390"/>
              <a:gd name="T57" fmla="*/ 5620 h 11120"/>
              <a:gd name="T58" fmla="*/ 4691 w 9390"/>
              <a:gd name="T59" fmla="*/ 6937 h 11120"/>
              <a:gd name="T60" fmla="*/ 5623 w 9390"/>
              <a:gd name="T61" fmla="*/ 5719 h 11120"/>
              <a:gd name="T62" fmla="*/ 6140 w 9390"/>
              <a:gd name="T63" fmla="*/ 5620 h 1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390" h="11120">
                <a:moveTo>
                  <a:pt x="3078" y="3437"/>
                </a:moveTo>
                <a:lnTo>
                  <a:pt x="6573" y="3437"/>
                </a:lnTo>
                <a:cubicBezTo>
                  <a:pt x="6809" y="3437"/>
                  <a:pt x="7036" y="3338"/>
                  <a:pt x="7187" y="3157"/>
                </a:cubicBezTo>
                <a:cubicBezTo>
                  <a:pt x="7548" y="2728"/>
                  <a:pt x="7890" y="2202"/>
                  <a:pt x="7967" y="1730"/>
                </a:cubicBezTo>
                <a:cubicBezTo>
                  <a:pt x="8121" y="786"/>
                  <a:pt x="7717" y="307"/>
                  <a:pt x="6544" y="307"/>
                </a:cubicBezTo>
                <a:cubicBezTo>
                  <a:pt x="5370" y="307"/>
                  <a:pt x="5767" y="1077"/>
                  <a:pt x="5311" y="1140"/>
                </a:cubicBezTo>
                <a:cubicBezTo>
                  <a:pt x="4971" y="1187"/>
                  <a:pt x="4983" y="739"/>
                  <a:pt x="4449" y="308"/>
                </a:cubicBezTo>
                <a:cubicBezTo>
                  <a:pt x="4066" y="0"/>
                  <a:pt x="3636" y="871"/>
                  <a:pt x="3129" y="876"/>
                </a:cubicBezTo>
                <a:cubicBezTo>
                  <a:pt x="2538" y="884"/>
                  <a:pt x="1707" y="720"/>
                  <a:pt x="1707" y="1730"/>
                </a:cubicBezTo>
                <a:cubicBezTo>
                  <a:pt x="1707" y="2138"/>
                  <a:pt x="2065" y="2690"/>
                  <a:pt x="2455" y="3147"/>
                </a:cubicBezTo>
                <a:cubicBezTo>
                  <a:pt x="2612" y="3330"/>
                  <a:pt x="2838" y="3437"/>
                  <a:pt x="3078" y="3437"/>
                </a:cubicBezTo>
                <a:close/>
                <a:moveTo>
                  <a:pt x="7438" y="4336"/>
                </a:moveTo>
                <a:cubicBezTo>
                  <a:pt x="7252" y="4125"/>
                  <a:pt x="6981" y="4006"/>
                  <a:pt x="6699" y="4006"/>
                </a:cubicBezTo>
                <a:lnTo>
                  <a:pt x="2969" y="4006"/>
                </a:lnTo>
                <a:cubicBezTo>
                  <a:pt x="2700" y="4006"/>
                  <a:pt x="2440" y="4115"/>
                  <a:pt x="2253" y="4310"/>
                </a:cubicBezTo>
                <a:cubicBezTo>
                  <a:pt x="1081" y="5538"/>
                  <a:pt x="0" y="7291"/>
                  <a:pt x="0" y="8570"/>
                </a:cubicBezTo>
                <a:cubicBezTo>
                  <a:pt x="0" y="9697"/>
                  <a:pt x="1133" y="11120"/>
                  <a:pt x="2530" y="11120"/>
                </a:cubicBezTo>
                <a:lnTo>
                  <a:pt x="6860" y="11120"/>
                </a:lnTo>
                <a:cubicBezTo>
                  <a:pt x="8257" y="11120"/>
                  <a:pt x="9390" y="9709"/>
                  <a:pt x="9390" y="8570"/>
                </a:cubicBezTo>
                <a:cubicBezTo>
                  <a:pt x="9390" y="7268"/>
                  <a:pt x="8520" y="5564"/>
                  <a:pt x="7438" y="4336"/>
                </a:cubicBezTo>
                <a:close/>
                <a:moveTo>
                  <a:pt x="6299" y="5888"/>
                </a:moveTo>
                <a:lnTo>
                  <a:pt x="5549" y="7248"/>
                </a:lnTo>
                <a:cubicBezTo>
                  <a:pt x="5483" y="7368"/>
                  <a:pt x="5570" y="7515"/>
                  <a:pt x="5706" y="7515"/>
                </a:cubicBezTo>
                <a:lnTo>
                  <a:pt x="5919" y="7515"/>
                </a:lnTo>
                <a:cubicBezTo>
                  <a:pt x="6017" y="7515"/>
                  <a:pt x="6098" y="7595"/>
                  <a:pt x="6098" y="7695"/>
                </a:cubicBezTo>
                <a:lnTo>
                  <a:pt x="6098" y="7695"/>
                </a:lnTo>
                <a:cubicBezTo>
                  <a:pt x="6098" y="7793"/>
                  <a:pt x="6018" y="7874"/>
                  <a:pt x="5919" y="7874"/>
                </a:cubicBezTo>
                <a:lnTo>
                  <a:pt x="5384" y="7874"/>
                </a:lnTo>
                <a:cubicBezTo>
                  <a:pt x="5279" y="7874"/>
                  <a:pt x="5196" y="7958"/>
                  <a:pt x="5195" y="8062"/>
                </a:cubicBezTo>
                <a:lnTo>
                  <a:pt x="5195" y="8151"/>
                </a:lnTo>
                <a:cubicBezTo>
                  <a:pt x="5195" y="8249"/>
                  <a:pt x="5275" y="8331"/>
                  <a:pt x="5375" y="8331"/>
                </a:cubicBezTo>
                <a:lnTo>
                  <a:pt x="5919" y="8331"/>
                </a:lnTo>
                <a:cubicBezTo>
                  <a:pt x="6017" y="8331"/>
                  <a:pt x="6098" y="8411"/>
                  <a:pt x="6098" y="8510"/>
                </a:cubicBezTo>
                <a:cubicBezTo>
                  <a:pt x="6098" y="8610"/>
                  <a:pt x="6018" y="8690"/>
                  <a:pt x="5919" y="8690"/>
                </a:cubicBezTo>
                <a:lnTo>
                  <a:pt x="5375" y="8690"/>
                </a:lnTo>
                <a:cubicBezTo>
                  <a:pt x="5276" y="8690"/>
                  <a:pt x="5195" y="8770"/>
                  <a:pt x="5195" y="8870"/>
                </a:cubicBezTo>
                <a:lnTo>
                  <a:pt x="5195" y="9327"/>
                </a:lnTo>
                <a:cubicBezTo>
                  <a:pt x="5195" y="9426"/>
                  <a:pt x="5115" y="9507"/>
                  <a:pt x="5015" y="9507"/>
                </a:cubicBezTo>
                <a:lnTo>
                  <a:pt x="4690" y="9507"/>
                </a:lnTo>
                <a:cubicBezTo>
                  <a:pt x="4591" y="9507"/>
                  <a:pt x="4510" y="9427"/>
                  <a:pt x="4510" y="9327"/>
                </a:cubicBezTo>
                <a:lnTo>
                  <a:pt x="4510" y="8870"/>
                </a:lnTo>
                <a:cubicBezTo>
                  <a:pt x="4510" y="8771"/>
                  <a:pt x="4430" y="8690"/>
                  <a:pt x="4330" y="8690"/>
                </a:cubicBezTo>
                <a:lnTo>
                  <a:pt x="3792" y="8690"/>
                </a:lnTo>
                <a:cubicBezTo>
                  <a:pt x="3693" y="8690"/>
                  <a:pt x="3612" y="8610"/>
                  <a:pt x="3612" y="8510"/>
                </a:cubicBezTo>
                <a:cubicBezTo>
                  <a:pt x="3612" y="8411"/>
                  <a:pt x="3692" y="8331"/>
                  <a:pt x="3792" y="8331"/>
                </a:cubicBezTo>
                <a:lnTo>
                  <a:pt x="4329" y="8331"/>
                </a:lnTo>
                <a:cubicBezTo>
                  <a:pt x="4429" y="8331"/>
                  <a:pt x="4509" y="8251"/>
                  <a:pt x="4510" y="8151"/>
                </a:cubicBezTo>
                <a:lnTo>
                  <a:pt x="4511" y="8063"/>
                </a:lnTo>
                <a:cubicBezTo>
                  <a:pt x="4512" y="7959"/>
                  <a:pt x="4427" y="7873"/>
                  <a:pt x="4322" y="7873"/>
                </a:cubicBezTo>
                <a:lnTo>
                  <a:pt x="3792" y="7873"/>
                </a:lnTo>
                <a:cubicBezTo>
                  <a:pt x="3693" y="7873"/>
                  <a:pt x="3612" y="7793"/>
                  <a:pt x="3612" y="7694"/>
                </a:cubicBezTo>
                <a:lnTo>
                  <a:pt x="3612" y="7694"/>
                </a:lnTo>
                <a:cubicBezTo>
                  <a:pt x="3612" y="7595"/>
                  <a:pt x="3692" y="7514"/>
                  <a:pt x="3792" y="7514"/>
                </a:cubicBezTo>
                <a:lnTo>
                  <a:pt x="3999" y="7514"/>
                </a:lnTo>
                <a:cubicBezTo>
                  <a:pt x="4136" y="7514"/>
                  <a:pt x="4221" y="7367"/>
                  <a:pt x="4156" y="7247"/>
                </a:cubicBezTo>
                <a:lnTo>
                  <a:pt x="3406" y="5887"/>
                </a:lnTo>
                <a:cubicBezTo>
                  <a:pt x="3340" y="5767"/>
                  <a:pt x="3426" y="5620"/>
                  <a:pt x="3562" y="5620"/>
                </a:cubicBezTo>
                <a:lnTo>
                  <a:pt x="3920" y="5620"/>
                </a:lnTo>
                <a:cubicBezTo>
                  <a:pt x="3988" y="5620"/>
                  <a:pt x="4050" y="5659"/>
                  <a:pt x="4080" y="5719"/>
                </a:cubicBezTo>
                <a:lnTo>
                  <a:pt x="4691" y="6937"/>
                </a:lnTo>
                <a:cubicBezTo>
                  <a:pt x="4756" y="7069"/>
                  <a:pt x="4945" y="7069"/>
                  <a:pt x="5012" y="6937"/>
                </a:cubicBezTo>
                <a:lnTo>
                  <a:pt x="5623" y="5719"/>
                </a:lnTo>
                <a:cubicBezTo>
                  <a:pt x="5653" y="5659"/>
                  <a:pt x="5715" y="5620"/>
                  <a:pt x="5783" y="5620"/>
                </a:cubicBezTo>
                <a:lnTo>
                  <a:pt x="6140" y="5620"/>
                </a:lnTo>
                <a:cubicBezTo>
                  <a:pt x="6278" y="5622"/>
                  <a:pt x="6365" y="5768"/>
                  <a:pt x="6299" y="588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 name="iconfont-1187-868110">
            <a:extLst>
              <a:ext uri="{FF2B5EF4-FFF2-40B4-BE49-F238E27FC236}">
                <a16:creationId xmlns:a16="http://schemas.microsoft.com/office/drawing/2014/main" id="{A92AE0DA-CBF6-43E1-9B82-5E2181AA4675}"/>
              </a:ext>
            </a:extLst>
          </p:cNvPr>
          <p:cNvSpPr/>
          <p:nvPr/>
        </p:nvSpPr>
        <p:spPr>
          <a:xfrm>
            <a:off x="5852160" y="3340715"/>
            <a:ext cx="487680" cy="470302"/>
          </a:xfrm>
          <a:custGeom>
            <a:avLst/>
            <a:gdLst>
              <a:gd name="T0" fmla="*/ 11888 w 12803"/>
              <a:gd name="T1" fmla="*/ 0 h 12345"/>
              <a:gd name="T2" fmla="*/ 914 w 12803"/>
              <a:gd name="T3" fmla="*/ 0 h 12345"/>
              <a:gd name="T4" fmla="*/ 0 w 12803"/>
              <a:gd name="T5" fmla="*/ 914 h 12345"/>
              <a:gd name="T6" fmla="*/ 0 w 12803"/>
              <a:gd name="T7" fmla="*/ 8687 h 12345"/>
              <a:gd name="T8" fmla="*/ 914 w 12803"/>
              <a:gd name="T9" fmla="*/ 9602 h 12345"/>
              <a:gd name="T10" fmla="*/ 3201 w 12803"/>
              <a:gd name="T11" fmla="*/ 9602 h 12345"/>
              <a:gd name="T12" fmla="*/ 3201 w 12803"/>
              <a:gd name="T13" fmla="*/ 12345 h 12345"/>
              <a:gd name="T14" fmla="*/ 8230 w 12803"/>
              <a:gd name="T15" fmla="*/ 9602 h 12345"/>
              <a:gd name="T16" fmla="*/ 11888 w 12803"/>
              <a:gd name="T17" fmla="*/ 9602 h 12345"/>
              <a:gd name="T18" fmla="*/ 12803 w 12803"/>
              <a:gd name="T19" fmla="*/ 8687 h 12345"/>
              <a:gd name="T20" fmla="*/ 12803 w 12803"/>
              <a:gd name="T21" fmla="*/ 914 h 12345"/>
              <a:gd name="T22" fmla="*/ 11888 w 12803"/>
              <a:gd name="T23" fmla="*/ 0 h 12345"/>
              <a:gd name="T24" fmla="*/ 3201 w 12803"/>
              <a:gd name="T25" fmla="*/ 5487 h 12345"/>
              <a:gd name="T26" fmla="*/ 2286 w 12803"/>
              <a:gd name="T27" fmla="*/ 4572 h 12345"/>
              <a:gd name="T28" fmla="*/ 3201 w 12803"/>
              <a:gd name="T29" fmla="*/ 3658 h 12345"/>
              <a:gd name="T30" fmla="*/ 4115 w 12803"/>
              <a:gd name="T31" fmla="*/ 4572 h 12345"/>
              <a:gd name="T32" fmla="*/ 3201 w 12803"/>
              <a:gd name="T33" fmla="*/ 5487 h 12345"/>
              <a:gd name="T34" fmla="*/ 6401 w 12803"/>
              <a:gd name="T35" fmla="*/ 5487 h 12345"/>
              <a:gd name="T36" fmla="*/ 5487 w 12803"/>
              <a:gd name="T37" fmla="*/ 4572 h 12345"/>
              <a:gd name="T38" fmla="*/ 6401 w 12803"/>
              <a:gd name="T39" fmla="*/ 3658 h 12345"/>
              <a:gd name="T40" fmla="*/ 7316 w 12803"/>
              <a:gd name="T41" fmla="*/ 4572 h 12345"/>
              <a:gd name="T42" fmla="*/ 6401 w 12803"/>
              <a:gd name="T43" fmla="*/ 5487 h 12345"/>
              <a:gd name="T44" fmla="*/ 9602 w 12803"/>
              <a:gd name="T45" fmla="*/ 5487 h 12345"/>
              <a:gd name="T46" fmla="*/ 8687 w 12803"/>
              <a:gd name="T47" fmla="*/ 4572 h 12345"/>
              <a:gd name="T48" fmla="*/ 9602 w 12803"/>
              <a:gd name="T49" fmla="*/ 3658 h 12345"/>
              <a:gd name="T50" fmla="*/ 10516 w 12803"/>
              <a:gd name="T51" fmla="*/ 4572 h 12345"/>
              <a:gd name="T52" fmla="*/ 9602 w 12803"/>
              <a:gd name="T53" fmla="*/ 5487 h 12345"/>
              <a:gd name="T54" fmla="*/ 9602 w 12803"/>
              <a:gd name="T55" fmla="*/ 5487 h 123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2803" h="12345">
                <a:moveTo>
                  <a:pt x="11888" y="0"/>
                </a:moveTo>
                <a:lnTo>
                  <a:pt x="914" y="0"/>
                </a:lnTo>
                <a:cubicBezTo>
                  <a:pt x="409" y="0"/>
                  <a:pt x="0" y="409"/>
                  <a:pt x="0" y="914"/>
                </a:cubicBezTo>
                <a:lnTo>
                  <a:pt x="0" y="8687"/>
                </a:lnTo>
                <a:cubicBezTo>
                  <a:pt x="0" y="9193"/>
                  <a:pt x="409" y="9602"/>
                  <a:pt x="914" y="9602"/>
                </a:cubicBezTo>
                <a:lnTo>
                  <a:pt x="3201" y="9602"/>
                </a:lnTo>
                <a:lnTo>
                  <a:pt x="3201" y="12345"/>
                </a:lnTo>
                <a:lnTo>
                  <a:pt x="8230" y="9602"/>
                </a:lnTo>
                <a:lnTo>
                  <a:pt x="11888" y="9602"/>
                </a:lnTo>
                <a:cubicBezTo>
                  <a:pt x="12393" y="9602"/>
                  <a:pt x="12803" y="9193"/>
                  <a:pt x="12803" y="8687"/>
                </a:cubicBezTo>
                <a:lnTo>
                  <a:pt x="12803" y="914"/>
                </a:lnTo>
                <a:cubicBezTo>
                  <a:pt x="12803" y="409"/>
                  <a:pt x="12393" y="0"/>
                  <a:pt x="11888" y="0"/>
                </a:cubicBezTo>
                <a:close/>
                <a:moveTo>
                  <a:pt x="3201" y="5487"/>
                </a:moveTo>
                <a:cubicBezTo>
                  <a:pt x="2695" y="5487"/>
                  <a:pt x="2286" y="5077"/>
                  <a:pt x="2286" y="4572"/>
                </a:cubicBezTo>
                <a:cubicBezTo>
                  <a:pt x="2286" y="4067"/>
                  <a:pt x="2695" y="3658"/>
                  <a:pt x="3201" y="3658"/>
                </a:cubicBezTo>
                <a:cubicBezTo>
                  <a:pt x="3706" y="3658"/>
                  <a:pt x="4115" y="4067"/>
                  <a:pt x="4115" y="4572"/>
                </a:cubicBezTo>
                <a:cubicBezTo>
                  <a:pt x="4115" y="5077"/>
                  <a:pt x="3706" y="5487"/>
                  <a:pt x="3201" y="5487"/>
                </a:cubicBezTo>
                <a:close/>
                <a:moveTo>
                  <a:pt x="6401" y="5487"/>
                </a:moveTo>
                <a:cubicBezTo>
                  <a:pt x="5896" y="5487"/>
                  <a:pt x="5487" y="5077"/>
                  <a:pt x="5487" y="4572"/>
                </a:cubicBezTo>
                <a:cubicBezTo>
                  <a:pt x="5487" y="4067"/>
                  <a:pt x="5896" y="3658"/>
                  <a:pt x="6401" y="3658"/>
                </a:cubicBezTo>
                <a:cubicBezTo>
                  <a:pt x="6907" y="3658"/>
                  <a:pt x="7316" y="4067"/>
                  <a:pt x="7316" y="4572"/>
                </a:cubicBezTo>
                <a:cubicBezTo>
                  <a:pt x="7316" y="5077"/>
                  <a:pt x="6907" y="5487"/>
                  <a:pt x="6401" y="5487"/>
                </a:cubicBezTo>
                <a:close/>
                <a:moveTo>
                  <a:pt x="9602" y="5487"/>
                </a:moveTo>
                <a:cubicBezTo>
                  <a:pt x="9097" y="5487"/>
                  <a:pt x="8687" y="5077"/>
                  <a:pt x="8687" y="4572"/>
                </a:cubicBezTo>
                <a:cubicBezTo>
                  <a:pt x="8687" y="4067"/>
                  <a:pt x="9097" y="3658"/>
                  <a:pt x="9602" y="3658"/>
                </a:cubicBezTo>
                <a:cubicBezTo>
                  <a:pt x="10107" y="3658"/>
                  <a:pt x="10516" y="4067"/>
                  <a:pt x="10516" y="4572"/>
                </a:cubicBezTo>
                <a:cubicBezTo>
                  <a:pt x="10516" y="5077"/>
                  <a:pt x="10107" y="5487"/>
                  <a:pt x="9602" y="5487"/>
                </a:cubicBezTo>
                <a:close/>
                <a:moveTo>
                  <a:pt x="9602" y="5487"/>
                </a:move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 name="iconfont-1186-646597">
            <a:extLst>
              <a:ext uri="{FF2B5EF4-FFF2-40B4-BE49-F238E27FC236}">
                <a16:creationId xmlns:a16="http://schemas.microsoft.com/office/drawing/2014/main" id="{F38EE57C-CF14-4F46-94E5-7A4BF08FD97C}"/>
              </a:ext>
            </a:extLst>
          </p:cNvPr>
          <p:cNvSpPr/>
          <p:nvPr/>
        </p:nvSpPr>
        <p:spPr>
          <a:xfrm>
            <a:off x="9360081" y="3298299"/>
            <a:ext cx="391552" cy="457508"/>
          </a:xfrm>
          <a:custGeom>
            <a:avLst/>
            <a:gdLst>
              <a:gd name="T0" fmla="*/ 8209 w 10908"/>
              <a:gd name="T1" fmla="*/ 2143 h 12744"/>
              <a:gd name="T2" fmla="*/ 8209 w 10908"/>
              <a:gd name="T3" fmla="*/ 1057 h 12744"/>
              <a:gd name="T4" fmla="*/ 7124 w 10908"/>
              <a:gd name="T5" fmla="*/ 0 h 12744"/>
              <a:gd name="T6" fmla="*/ 3840 w 10908"/>
              <a:gd name="T7" fmla="*/ 0 h 12744"/>
              <a:gd name="T8" fmla="*/ 2755 w 10908"/>
              <a:gd name="T9" fmla="*/ 1057 h 12744"/>
              <a:gd name="T10" fmla="*/ 2755 w 10908"/>
              <a:gd name="T11" fmla="*/ 2115 h 12744"/>
              <a:gd name="T12" fmla="*/ 0 w 10908"/>
              <a:gd name="T13" fmla="*/ 2115 h 12744"/>
              <a:gd name="T14" fmla="*/ 0 w 10908"/>
              <a:gd name="T15" fmla="*/ 3172 h 12744"/>
              <a:gd name="T16" fmla="*/ 1085 w 10908"/>
              <a:gd name="T17" fmla="*/ 3172 h 12744"/>
              <a:gd name="T18" fmla="*/ 1085 w 10908"/>
              <a:gd name="T19" fmla="*/ 11687 h 12744"/>
              <a:gd name="T20" fmla="*/ 2171 w 10908"/>
              <a:gd name="T21" fmla="*/ 12744 h 12744"/>
              <a:gd name="T22" fmla="*/ 8738 w 10908"/>
              <a:gd name="T23" fmla="*/ 12744 h 12744"/>
              <a:gd name="T24" fmla="*/ 9823 w 10908"/>
              <a:gd name="T25" fmla="*/ 11687 h 12744"/>
              <a:gd name="T26" fmla="*/ 9823 w 10908"/>
              <a:gd name="T27" fmla="*/ 3200 h 12744"/>
              <a:gd name="T28" fmla="*/ 10908 w 10908"/>
              <a:gd name="T29" fmla="*/ 3200 h 12744"/>
              <a:gd name="T30" fmla="*/ 10908 w 10908"/>
              <a:gd name="T31" fmla="*/ 2143 h 12744"/>
              <a:gd name="T32" fmla="*/ 8209 w 10908"/>
              <a:gd name="T33" fmla="*/ 2143 h 12744"/>
              <a:gd name="T34" fmla="*/ 4870 w 10908"/>
              <a:gd name="T35" fmla="*/ 10963 h 12744"/>
              <a:gd name="T36" fmla="*/ 3645 w 10908"/>
              <a:gd name="T37" fmla="*/ 10963 h 12744"/>
              <a:gd name="T38" fmla="*/ 3645 w 10908"/>
              <a:gd name="T39" fmla="*/ 4257 h 12744"/>
              <a:gd name="T40" fmla="*/ 4870 w 10908"/>
              <a:gd name="T41" fmla="*/ 4257 h 12744"/>
              <a:gd name="T42" fmla="*/ 4870 w 10908"/>
              <a:gd name="T43" fmla="*/ 10963 h 12744"/>
              <a:gd name="T44" fmla="*/ 7319 w 10908"/>
              <a:gd name="T45" fmla="*/ 10963 h 12744"/>
              <a:gd name="T46" fmla="*/ 6094 w 10908"/>
              <a:gd name="T47" fmla="*/ 10963 h 12744"/>
              <a:gd name="T48" fmla="*/ 6094 w 10908"/>
              <a:gd name="T49" fmla="*/ 4257 h 12744"/>
              <a:gd name="T50" fmla="*/ 7319 w 10908"/>
              <a:gd name="T51" fmla="*/ 4257 h 12744"/>
              <a:gd name="T52" fmla="*/ 7319 w 10908"/>
              <a:gd name="T53" fmla="*/ 10963 h 127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0908" h="12744">
                <a:moveTo>
                  <a:pt x="8209" y="2143"/>
                </a:moveTo>
                <a:lnTo>
                  <a:pt x="8209" y="1057"/>
                </a:lnTo>
                <a:cubicBezTo>
                  <a:pt x="8209" y="473"/>
                  <a:pt x="7708" y="0"/>
                  <a:pt x="7124" y="0"/>
                </a:cubicBezTo>
                <a:lnTo>
                  <a:pt x="3840" y="0"/>
                </a:lnTo>
                <a:cubicBezTo>
                  <a:pt x="3228" y="0"/>
                  <a:pt x="2755" y="473"/>
                  <a:pt x="2755" y="1057"/>
                </a:cubicBezTo>
                <a:lnTo>
                  <a:pt x="2755" y="2115"/>
                </a:lnTo>
                <a:lnTo>
                  <a:pt x="0" y="2115"/>
                </a:lnTo>
                <a:lnTo>
                  <a:pt x="0" y="3172"/>
                </a:lnTo>
                <a:lnTo>
                  <a:pt x="1085" y="3172"/>
                </a:lnTo>
                <a:lnTo>
                  <a:pt x="1085" y="11687"/>
                </a:lnTo>
                <a:cubicBezTo>
                  <a:pt x="1085" y="12271"/>
                  <a:pt x="1586" y="12744"/>
                  <a:pt x="2171" y="12744"/>
                </a:cubicBezTo>
                <a:lnTo>
                  <a:pt x="8738" y="12744"/>
                </a:lnTo>
                <a:cubicBezTo>
                  <a:pt x="9350" y="12744"/>
                  <a:pt x="9823" y="12271"/>
                  <a:pt x="9823" y="11687"/>
                </a:cubicBezTo>
                <a:lnTo>
                  <a:pt x="9823" y="3200"/>
                </a:lnTo>
                <a:lnTo>
                  <a:pt x="10908" y="3200"/>
                </a:lnTo>
                <a:lnTo>
                  <a:pt x="10908" y="2143"/>
                </a:lnTo>
                <a:lnTo>
                  <a:pt x="8209" y="2143"/>
                </a:lnTo>
                <a:close/>
                <a:moveTo>
                  <a:pt x="4870" y="10963"/>
                </a:moveTo>
                <a:lnTo>
                  <a:pt x="3645" y="10963"/>
                </a:lnTo>
                <a:lnTo>
                  <a:pt x="3645" y="4257"/>
                </a:lnTo>
                <a:lnTo>
                  <a:pt x="4870" y="4257"/>
                </a:lnTo>
                <a:lnTo>
                  <a:pt x="4870" y="10963"/>
                </a:lnTo>
                <a:close/>
                <a:moveTo>
                  <a:pt x="7319" y="10963"/>
                </a:moveTo>
                <a:lnTo>
                  <a:pt x="6094" y="10963"/>
                </a:lnTo>
                <a:lnTo>
                  <a:pt x="6094" y="4257"/>
                </a:lnTo>
                <a:lnTo>
                  <a:pt x="7319" y="4257"/>
                </a:lnTo>
                <a:lnTo>
                  <a:pt x="7319" y="1096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811292174"/>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3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组合 5">
            <a:extLst>
              <a:ext uri="{FF2B5EF4-FFF2-40B4-BE49-F238E27FC236}">
                <a16:creationId xmlns:a16="http://schemas.microsoft.com/office/drawing/2014/main" id="{3BA040D8-5810-D947-AD33-58C09B177893}"/>
              </a:ext>
            </a:extLst>
          </p:cNvPr>
          <p:cNvGrpSpPr/>
          <p:nvPr/>
        </p:nvGrpSpPr>
        <p:grpSpPr>
          <a:xfrm>
            <a:off x="1782184" y="1828800"/>
            <a:ext cx="2291379" cy="2775472"/>
            <a:chOff x="2237591" y="1828800"/>
            <a:chExt cx="2291379" cy="2775472"/>
          </a:xfrm>
        </p:grpSpPr>
        <p:sp>
          <p:nvSpPr>
            <p:cNvPr id="2" name="椭圆 1">
              <a:extLst>
                <a:ext uri="{FF2B5EF4-FFF2-40B4-BE49-F238E27FC236}">
                  <a16:creationId xmlns:a16="http://schemas.microsoft.com/office/drawing/2014/main" id="{B1828602-723C-E742-8907-47688C8A8589}"/>
                </a:ext>
              </a:extLst>
            </p:cNvPr>
            <p:cNvSpPr/>
            <p:nvPr/>
          </p:nvSpPr>
          <p:spPr>
            <a:xfrm>
              <a:off x="2237591" y="1828800"/>
              <a:ext cx="2291379" cy="2291379"/>
            </a:xfrm>
            <a:prstGeom prst="ellipse">
              <a:avLst/>
            </a:prstGeom>
            <a:solidFill>
              <a:schemeClr val="bg1"/>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kumimoji="1" lang="zh-CN" altLang="en-US" sz="1600">
                <a:solidFill>
                  <a:schemeClr val="bg1"/>
                </a:solidFill>
                <a:latin typeface="+mj-ea"/>
                <a:ea typeface="+mj-ea"/>
              </a:endParaRPr>
            </a:p>
          </p:txBody>
        </p:sp>
        <p:sp>
          <p:nvSpPr>
            <p:cNvPr id="25" name="椭圆 24">
              <a:extLst>
                <a:ext uri="{FF2B5EF4-FFF2-40B4-BE49-F238E27FC236}">
                  <a16:creationId xmlns:a16="http://schemas.microsoft.com/office/drawing/2014/main" id="{F9E903C3-25A0-8547-A0EC-68466B95619A}"/>
                </a:ext>
              </a:extLst>
            </p:cNvPr>
            <p:cNvSpPr/>
            <p:nvPr/>
          </p:nvSpPr>
          <p:spPr>
            <a:xfrm>
              <a:off x="2710928" y="3259568"/>
              <a:ext cx="1344706" cy="1344704"/>
            </a:xfrm>
            <a:prstGeom prst="ellipse">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kumimoji="1" lang="zh-CN" altLang="en-US" sz="1600">
                <a:solidFill>
                  <a:schemeClr val="bg1"/>
                </a:solidFill>
                <a:latin typeface="+mj-ea"/>
                <a:ea typeface="+mj-ea"/>
              </a:endParaRPr>
            </a:p>
          </p:txBody>
        </p:sp>
        <p:sp>
          <p:nvSpPr>
            <p:cNvPr id="5" name="文本框 4">
              <a:extLst>
                <a:ext uri="{FF2B5EF4-FFF2-40B4-BE49-F238E27FC236}">
                  <a16:creationId xmlns:a16="http://schemas.microsoft.com/office/drawing/2014/main" id="{86F08411-33F6-E54E-9E96-D4A01054B7E9}"/>
                </a:ext>
              </a:extLst>
            </p:cNvPr>
            <p:cNvSpPr txBox="1"/>
            <p:nvPr/>
          </p:nvSpPr>
          <p:spPr>
            <a:xfrm>
              <a:off x="2767729" y="2529253"/>
              <a:ext cx="1231106" cy="492443"/>
            </a:xfrm>
            <a:prstGeom prst="rect">
              <a:avLst/>
            </a:prstGeom>
            <a:noFill/>
          </p:spPr>
          <p:txBody>
            <a:bodyPr wrap="none" lIns="0" tIns="0" rIns="0" bIns="0" rtlCol="0" anchor="t">
              <a:spAutoFit/>
            </a:bodyPr>
            <a:lstStyle/>
            <a:p>
              <a:pPr algn="ctr"/>
              <a:r>
                <a:rPr kumimoji="1" lang="zh-CN" altLang="en-US" sz="3200" dirty="0">
                  <a:solidFill>
                    <a:schemeClr val="accent1"/>
                  </a:solidFill>
                </a:rPr>
                <a:t>关键词</a:t>
              </a:r>
            </a:p>
          </p:txBody>
        </p:sp>
        <p:sp>
          <p:nvSpPr>
            <p:cNvPr id="27" name="文本框 26">
              <a:extLst>
                <a:ext uri="{FF2B5EF4-FFF2-40B4-BE49-F238E27FC236}">
                  <a16:creationId xmlns:a16="http://schemas.microsoft.com/office/drawing/2014/main" id="{0936637D-007F-084C-A72D-EA7D1343AD56}"/>
                </a:ext>
              </a:extLst>
            </p:cNvPr>
            <p:cNvSpPr txBox="1"/>
            <p:nvPr/>
          </p:nvSpPr>
          <p:spPr>
            <a:xfrm>
              <a:off x="2998561" y="3778031"/>
              <a:ext cx="769441" cy="307777"/>
            </a:xfrm>
            <a:prstGeom prst="rect">
              <a:avLst/>
            </a:prstGeom>
            <a:noFill/>
          </p:spPr>
          <p:txBody>
            <a:bodyPr wrap="none" lIns="0" tIns="0" rIns="0" bIns="0" rtlCol="0" anchor="t">
              <a:spAutoFit/>
            </a:bodyPr>
            <a:lstStyle/>
            <a:p>
              <a:pPr algn="ctr"/>
              <a:r>
                <a:rPr kumimoji="1" lang="zh-CN" altLang="en-US" sz="2000" dirty="0">
                  <a:solidFill>
                    <a:schemeClr val="bg1"/>
                  </a:solidFill>
                </a:rPr>
                <a:t>关键词</a:t>
              </a:r>
            </a:p>
          </p:txBody>
        </p:sp>
      </p:grpSp>
      <p:grpSp>
        <p:nvGrpSpPr>
          <p:cNvPr id="29" name="组合 28">
            <a:extLst>
              <a:ext uri="{FF2B5EF4-FFF2-40B4-BE49-F238E27FC236}">
                <a16:creationId xmlns:a16="http://schemas.microsoft.com/office/drawing/2014/main" id="{6D3C755A-E9D8-D84E-BC01-064AAF9D8BE6}"/>
              </a:ext>
            </a:extLst>
          </p:cNvPr>
          <p:cNvGrpSpPr/>
          <p:nvPr/>
        </p:nvGrpSpPr>
        <p:grpSpPr>
          <a:xfrm>
            <a:off x="4950311" y="1828800"/>
            <a:ext cx="2291379" cy="2775472"/>
            <a:chOff x="2237591" y="1828800"/>
            <a:chExt cx="2291379" cy="2775472"/>
          </a:xfrm>
        </p:grpSpPr>
        <p:sp>
          <p:nvSpPr>
            <p:cNvPr id="50" name="椭圆 49">
              <a:extLst>
                <a:ext uri="{FF2B5EF4-FFF2-40B4-BE49-F238E27FC236}">
                  <a16:creationId xmlns:a16="http://schemas.microsoft.com/office/drawing/2014/main" id="{D0DB3324-2B59-6A4C-BFCE-F6C5E1759D91}"/>
                </a:ext>
              </a:extLst>
            </p:cNvPr>
            <p:cNvSpPr/>
            <p:nvPr/>
          </p:nvSpPr>
          <p:spPr>
            <a:xfrm>
              <a:off x="2237591" y="1828800"/>
              <a:ext cx="2291379" cy="2291379"/>
            </a:xfrm>
            <a:prstGeom prst="ellipse">
              <a:avLst/>
            </a:prstGeom>
            <a:solidFill>
              <a:schemeClr val="bg1"/>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kumimoji="1" lang="zh-CN" altLang="en-US" sz="1600">
                <a:solidFill>
                  <a:schemeClr val="bg1"/>
                </a:solidFill>
                <a:latin typeface="+mj-ea"/>
                <a:ea typeface="+mj-ea"/>
              </a:endParaRPr>
            </a:p>
          </p:txBody>
        </p:sp>
        <p:sp>
          <p:nvSpPr>
            <p:cNvPr id="51" name="椭圆 50">
              <a:extLst>
                <a:ext uri="{FF2B5EF4-FFF2-40B4-BE49-F238E27FC236}">
                  <a16:creationId xmlns:a16="http://schemas.microsoft.com/office/drawing/2014/main" id="{F282D121-DC8C-494D-8337-8A9870F47915}"/>
                </a:ext>
              </a:extLst>
            </p:cNvPr>
            <p:cNvSpPr/>
            <p:nvPr/>
          </p:nvSpPr>
          <p:spPr>
            <a:xfrm>
              <a:off x="2710928" y="3259568"/>
              <a:ext cx="1344706" cy="1344704"/>
            </a:xfrm>
            <a:prstGeom prst="ellipse">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kumimoji="1" lang="zh-CN" altLang="en-US" sz="1600">
                <a:solidFill>
                  <a:schemeClr val="bg1"/>
                </a:solidFill>
                <a:latin typeface="+mj-ea"/>
                <a:ea typeface="+mj-ea"/>
              </a:endParaRPr>
            </a:p>
          </p:txBody>
        </p:sp>
        <p:sp>
          <p:nvSpPr>
            <p:cNvPr id="52" name="文本框 51">
              <a:extLst>
                <a:ext uri="{FF2B5EF4-FFF2-40B4-BE49-F238E27FC236}">
                  <a16:creationId xmlns:a16="http://schemas.microsoft.com/office/drawing/2014/main" id="{9ACBC6F2-8FCA-B84D-9823-E3DD4B7A72CE}"/>
                </a:ext>
              </a:extLst>
            </p:cNvPr>
            <p:cNvSpPr txBox="1"/>
            <p:nvPr/>
          </p:nvSpPr>
          <p:spPr>
            <a:xfrm>
              <a:off x="2767729" y="2529253"/>
              <a:ext cx="1231106" cy="492443"/>
            </a:xfrm>
            <a:prstGeom prst="rect">
              <a:avLst/>
            </a:prstGeom>
            <a:noFill/>
          </p:spPr>
          <p:txBody>
            <a:bodyPr wrap="none" lIns="0" tIns="0" rIns="0" bIns="0" rtlCol="0" anchor="t">
              <a:spAutoFit/>
            </a:bodyPr>
            <a:lstStyle/>
            <a:p>
              <a:pPr algn="ctr"/>
              <a:r>
                <a:rPr kumimoji="1" lang="zh-CN" altLang="en-US" sz="3200" dirty="0">
                  <a:solidFill>
                    <a:schemeClr val="accent1"/>
                  </a:solidFill>
                </a:rPr>
                <a:t>关键词</a:t>
              </a:r>
            </a:p>
          </p:txBody>
        </p:sp>
        <p:sp>
          <p:nvSpPr>
            <p:cNvPr id="53" name="文本框 52">
              <a:extLst>
                <a:ext uri="{FF2B5EF4-FFF2-40B4-BE49-F238E27FC236}">
                  <a16:creationId xmlns:a16="http://schemas.microsoft.com/office/drawing/2014/main" id="{532385A6-D694-2D40-B266-805757AD6CC0}"/>
                </a:ext>
              </a:extLst>
            </p:cNvPr>
            <p:cNvSpPr txBox="1"/>
            <p:nvPr/>
          </p:nvSpPr>
          <p:spPr>
            <a:xfrm>
              <a:off x="2998561" y="3778031"/>
              <a:ext cx="769441" cy="307777"/>
            </a:xfrm>
            <a:prstGeom prst="rect">
              <a:avLst/>
            </a:prstGeom>
            <a:noFill/>
          </p:spPr>
          <p:txBody>
            <a:bodyPr wrap="none" lIns="0" tIns="0" rIns="0" bIns="0" rtlCol="0" anchor="t">
              <a:spAutoFit/>
            </a:bodyPr>
            <a:lstStyle/>
            <a:p>
              <a:pPr algn="ctr"/>
              <a:r>
                <a:rPr kumimoji="1" lang="zh-CN" altLang="en-US" sz="2000" dirty="0">
                  <a:solidFill>
                    <a:schemeClr val="bg1"/>
                  </a:solidFill>
                </a:rPr>
                <a:t>关键词</a:t>
              </a:r>
            </a:p>
          </p:txBody>
        </p:sp>
      </p:grpSp>
      <p:grpSp>
        <p:nvGrpSpPr>
          <p:cNvPr id="54" name="组合 53">
            <a:extLst>
              <a:ext uri="{FF2B5EF4-FFF2-40B4-BE49-F238E27FC236}">
                <a16:creationId xmlns:a16="http://schemas.microsoft.com/office/drawing/2014/main" id="{6C8CCA76-2AAD-5F43-9A25-18D84B45D6D8}"/>
              </a:ext>
            </a:extLst>
          </p:cNvPr>
          <p:cNvGrpSpPr/>
          <p:nvPr/>
        </p:nvGrpSpPr>
        <p:grpSpPr>
          <a:xfrm>
            <a:off x="8118438" y="1828800"/>
            <a:ext cx="2291379" cy="2775472"/>
            <a:chOff x="2237591" y="1828800"/>
            <a:chExt cx="2291379" cy="2775472"/>
          </a:xfrm>
        </p:grpSpPr>
        <p:sp>
          <p:nvSpPr>
            <p:cNvPr id="55" name="椭圆 54">
              <a:extLst>
                <a:ext uri="{FF2B5EF4-FFF2-40B4-BE49-F238E27FC236}">
                  <a16:creationId xmlns:a16="http://schemas.microsoft.com/office/drawing/2014/main" id="{1CBBA94B-0198-6441-9EA9-A9375C924D30}"/>
                </a:ext>
              </a:extLst>
            </p:cNvPr>
            <p:cNvSpPr/>
            <p:nvPr/>
          </p:nvSpPr>
          <p:spPr>
            <a:xfrm>
              <a:off x="2237591" y="1828800"/>
              <a:ext cx="2291379" cy="2291379"/>
            </a:xfrm>
            <a:prstGeom prst="ellipse">
              <a:avLst/>
            </a:prstGeom>
            <a:solidFill>
              <a:schemeClr val="bg1"/>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kumimoji="1" lang="zh-CN" altLang="en-US" sz="1600">
                <a:solidFill>
                  <a:schemeClr val="bg1"/>
                </a:solidFill>
                <a:latin typeface="+mj-ea"/>
                <a:ea typeface="+mj-ea"/>
              </a:endParaRPr>
            </a:p>
          </p:txBody>
        </p:sp>
        <p:sp>
          <p:nvSpPr>
            <p:cNvPr id="56" name="椭圆 55">
              <a:extLst>
                <a:ext uri="{FF2B5EF4-FFF2-40B4-BE49-F238E27FC236}">
                  <a16:creationId xmlns:a16="http://schemas.microsoft.com/office/drawing/2014/main" id="{E6B857EA-F2BB-ED45-8BED-D40B623297E3}"/>
                </a:ext>
              </a:extLst>
            </p:cNvPr>
            <p:cNvSpPr/>
            <p:nvPr/>
          </p:nvSpPr>
          <p:spPr>
            <a:xfrm>
              <a:off x="2710928" y="3259568"/>
              <a:ext cx="1344706" cy="1344704"/>
            </a:xfrm>
            <a:prstGeom prst="ellipse">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kumimoji="1" lang="zh-CN" altLang="en-US" sz="1600">
                <a:solidFill>
                  <a:schemeClr val="bg1"/>
                </a:solidFill>
                <a:latin typeface="+mj-ea"/>
                <a:ea typeface="+mj-ea"/>
              </a:endParaRPr>
            </a:p>
          </p:txBody>
        </p:sp>
        <p:sp>
          <p:nvSpPr>
            <p:cNvPr id="57" name="文本框 56">
              <a:extLst>
                <a:ext uri="{FF2B5EF4-FFF2-40B4-BE49-F238E27FC236}">
                  <a16:creationId xmlns:a16="http://schemas.microsoft.com/office/drawing/2014/main" id="{E070298E-7A5B-5748-8395-3A5CE86A6E05}"/>
                </a:ext>
              </a:extLst>
            </p:cNvPr>
            <p:cNvSpPr txBox="1"/>
            <p:nvPr/>
          </p:nvSpPr>
          <p:spPr>
            <a:xfrm>
              <a:off x="2767729" y="2529253"/>
              <a:ext cx="1231106" cy="492443"/>
            </a:xfrm>
            <a:prstGeom prst="rect">
              <a:avLst/>
            </a:prstGeom>
            <a:noFill/>
          </p:spPr>
          <p:txBody>
            <a:bodyPr wrap="none" lIns="0" tIns="0" rIns="0" bIns="0" rtlCol="0" anchor="t">
              <a:spAutoFit/>
            </a:bodyPr>
            <a:lstStyle/>
            <a:p>
              <a:pPr algn="ctr"/>
              <a:r>
                <a:rPr kumimoji="1" lang="zh-CN" altLang="en-US" sz="3200" dirty="0">
                  <a:solidFill>
                    <a:schemeClr val="accent1"/>
                  </a:solidFill>
                </a:rPr>
                <a:t>关键词</a:t>
              </a:r>
            </a:p>
          </p:txBody>
        </p:sp>
        <p:sp>
          <p:nvSpPr>
            <p:cNvPr id="58" name="文本框 57">
              <a:extLst>
                <a:ext uri="{FF2B5EF4-FFF2-40B4-BE49-F238E27FC236}">
                  <a16:creationId xmlns:a16="http://schemas.microsoft.com/office/drawing/2014/main" id="{D9D31110-42D5-0A45-87E3-929DB32849C9}"/>
                </a:ext>
              </a:extLst>
            </p:cNvPr>
            <p:cNvSpPr txBox="1"/>
            <p:nvPr/>
          </p:nvSpPr>
          <p:spPr>
            <a:xfrm>
              <a:off x="2998561" y="3778031"/>
              <a:ext cx="769441" cy="307777"/>
            </a:xfrm>
            <a:prstGeom prst="rect">
              <a:avLst/>
            </a:prstGeom>
            <a:noFill/>
          </p:spPr>
          <p:txBody>
            <a:bodyPr wrap="none" lIns="0" tIns="0" rIns="0" bIns="0" rtlCol="0" anchor="t">
              <a:spAutoFit/>
            </a:bodyPr>
            <a:lstStyle/>
            <a:p>
              <a:pPr algn="ctr"/>
              <a:r>
                <a:rPr kumimoji="1" lang="zh-CN" altLang="en-US" sz="2000" dirty="0">
                  <a:solidFill>
                    <a:schemeClr val="bg1"/>
                  </a:solidFill>
                </a:rPr>
                <a:t>关键词</a:t>
              </a:r>
            </a:p>
          </p:txBody>
        </p:sp>
      </p:grpSp>
      <p:sp>
        <p:nvSpPr>
          <p:cNvPr id="8" name="右箭头 7">
            <a:extLst>
              <a:ext uri="{FF2B5EF4-FFF2-40B4-BE49-F238E27FC236}">
                <a16:creationId xmlns:a16="http://schemas.microsoft.com/office/drawing/2014/main" id="{392AE9D6-4DB5-F84E-8A8D-54609A500F60}"/>
              </a:ext>
            </a:extLst>
          </p:cNvPr>
          <p:cNvSpPr/>
          <p:nvPr/>
        </p:nvSpPr>
        <p:spPr>
          <a:xfrm>
            <a:off x="4210723" y="2851378"/>
            <a:ext cx="602428" cy="246222"/>
          </a:xfrm>
          <a:prstGeom prst="rightArrow">
            <a:avLst/>
          </a:prstGeom>
          <a:gradFill>
            <a:gsLst>
              <a:gs pos="0">
                <a:schemeClr val="accent1">
                  <a:alpha val="0"/>
                </a:schemeClr>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kumimoji="1" lang="zh-CN" altLang="en-US" sz="1600">
              <a:solidFill>
                <a:schemeClr val="bg1"/>
              </a:solidFill>
              <a:latin typeface="+mj-ea"/>
              <a:ea typeface="+mj-ea"/>
            </a:endParaRPr>
          </a:p>
        </p:txBody>
      </p:sp>
      <p:sp>
        <p:nvSpPr>
          <p:cNvPr id="59" name="右箭头 58">
            <a:extLst>
              <a:ext uri="{FF2B5EF4-FFF2-40B4-BE49-F238E27FC236}">
                <a16:creationId xmlns:a16="http://schemas.microsoft.com/office/drawing/2014/main" id="{E68A3B2D-8FB8-F948-A97E-F5FC41E29A83}"/>
              </a:ext>
            </a:extLst>
          </p:cNvPr>
          <p:cNvSpPr/>
          <p:nvPr/>
        </p:nvSpPr>
        <p:spPr>
          <a:xfrm>
            <a:off x="7373471" y="2851378"/>
            <a:ext cx="602428" cy="246222"/>
          </a:xfrm>
          <a:prstGeom prst="rightArrow">
            <a:avLst/>
          </a:prstGeom>
          <a:gradFill>
            <a:gsLst>
              <a:gs pos="0">
                <a:schemeClr val="accent1">
                  <a:alpha val="0"/>
                </a:schemeClr>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kumimoji="1" lang="zh-CN" altLang="en-US" sz="1600">
              <a:solidFill>
                <a:schemeClr val="bg1"/>
              </a:solidFill>
              <a:latin typeface="+mj-ea"/>
              <a:ea typeface="+mj-ea"/>
            </a:endParaRPr>
          </a:p>
        </p:txBody>
      </p:sp>
    </p:spTree>
    <p:extLst>
      <p:ext uri="{BB962C8B-B14F-4D97-AF65-F5344CB8AC3E}">
        <p14:creationId xmlns:p14="http://schemas.microsoft.com/office/powerpoint/2010/main" val="2548671152"/>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3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椭圆 2">
            <a:extLst>
              <a:ext uri="{FF2B5EF4-FFF2-40B4-BE49-F238E27FC236}">
                <a16:creationId xmlns:a16="http://schemas.microsoft.com/office/drawing/2014/main" id="{8652DCA6-EFB5-6240-ACD5-490250C4E8AD}"/>
              </a:ext>
            </a:extLst>
          </p:cNvPr>
          <p:cNvSpPr/>
          <p:nvPr/>
        </p:nvSpPr>
        <p:spPr>
          <a:xfrm>
            <a:off x="5022574" y="1570383"/>
            <a:ext cx="2146852" cy="214685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kumimoji="1" lang="zh-CN" altLang="en-US" sz="1600">
              <a:solidFill>
                <a:schemeClr val="bg1"/>
              </a:solidFill>
              <a:latin typeface="+mj-ea"/>
              <a:ea typeface="+mj-ea"/>
            </a:endParaRPr>
          </a:p>
        </p:txBody>
      </p:sp>
      <p:sp>
        <p:nvSpPr>
          <p:cNvPr id="4" name="文本框 3">
            <a:extLst>
              <a:ext uri="{FF2B5EF4-FFF2-40B4-BE49-F238E27FC236}">
                <a16:creationId xmlns:a16="http://schemas.microsoft.com/office/drawing/2014/main" id="{B7F09E60-7A5C-6A49-813B-04E2BCD60A70}"/>
              </a:ext>
            </a:extLst>
          </p:cNvPr>
          <p:cNvSpPr txBox="1"/>
          <p:nvPr/>
        </p:nvSpPr>
        <p:spPr>
          <a:xfrm>
            <a:off x="5557390" y="2212920"/>
            <a:ext cx="1077219" cy="861774"/>
          </a:xfrm>
          <a:prstGeom prst="rect">
            <a:avLst/>
          </a:prstGeom>
          <a:noFill/>
        </p:spPr>
        <p:txBody>
          <a:bodyPr wrap="none" lIns="0" tIns="0" rIns="0" bIns="0" rtlCol="0" anchor="t">
            <a:spAutoFit/>
          </a:bodyPr>
          <a:lstStyle/>
          <a:p>
            <a:pPr algn="ctr"/>
            <a:r>
              <a:rPr lang="zh-CN" altLang="en-US" sz="2800" dirty="0">
                <a:solidFill>
                  <a:schemeClr val="bg1"/>
                </a:solidFill>
                <a:latin typeface="+mj-ea"/>
                <a:ea typeface="+mj-ea"/>
              </a:rPr>
              <a:t>关键词</a:t>
            </a:r>
            <a:endParaRPr lang="en-US" altLang="zh-CN" sz="2800" dirty="0">
              <a:solidFill>
                <a:schemeClr val="bg1"/>
              </a:solidFill>
              <a:latin typeface="+mj-ea"/>
              <a:ea typeface="+mj-ea"/>
            </a:endParaRPr>
          </a:p>
          <a:p>
            <a:pPr algn="ctr"/>
            <a:r>
              <a:rPr lang="zh-CN" altLang="en-US" sz="2800" dirty="0">
                <a:solidFill>
                  <a:schemeClr val="bg1"/>
                </a:solidFill>
                <a:latin typeface="+mj-ea"/>
                <a:ea typeface="+mj-ea"/>
              </a:rPr>
              <a:t>标题</a:t>
            </a:r>
          </a:p>
        </p:txBody>
      </p:sp>
      <p:sp>
        <p:nvSpPr>
          <p:cNvPr id="5" name="椭圆 4">
            <a:extLst>
              <a:ext uri="{FF2B5EF4-FFF2-40B4-BE49-F238E27FC236}">
                <a16:creationId xmlns:a16="http://schemas.microsoft.com/office/drawing/2014/main" id="{BAEE26E4-2A38-594D-B576-9C9D65C12059}"/>
              </a:ext>
            </a:extLst>
          </p:cNvPr>
          <p:cNvSpPr/>
          <p:nvPr/>
        </p:nvSpPr>
        <p:spPr>
          <a:xfrm>
            <a:off x="2468216" y="1878495"/>
            <a:ext cx="1530628" cy="1530626"/>
          </a:xfrm>
          <a:prstGeom prst="ellipse">
            <a:avLst/>
          </a:prstGeom>
          <a:solidFill>
            <a:schemeClr val="accent1">
              <a:lumMod val="10000"/>
              <a:lumOff val="9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kumimoji="1" lang="zh-CN" altLang="en-US" sz="1600">
              <a:solidFill>
                <a:schemeClr val="bg1"/>
              </a:solidFill>
              <a:latin typeface="+mj-ea"/>
              <a:ea typeface="+mj-ea"/>
            </a:endParaRPr>
          </a:p>
        </p:txBody>
      </p:sp>
      <p:sp>
        <p:nvSpPr>
          <p:cNvPr id="7" name="文本框 6">
            <a:extLst>
              <a:ext uri="{FF2B5EF4-FFF2-40B4-BE49-F238E27FC236}">
                <a16:creationId xmlns:a16="http://schemas.microsoft.com/office/drawing/2014/main" id="{54C6F95E-CD6D-A949-B284-0E59FEAD95D7}"/>
              </a:ext>
            </a:extLst>
          </p:cNvPr>
          <p:cNvSpPr txBox="1"/>
          <p:nvPr/>
        </p:nvSpPr>
        <p:spPr>
          <a:xfrm>
            <a:off x="2887280" y="2366808"/>
            <a:ext cx="692497" cy="553998"/>
          </a:xfrm>
          <a:prstGeom prst="rect">
            <a:avLst/>
          </a:prstGeom>
          <a:noFill/>
        </p:spPr>
        <p:txBody>
          <a:bodyPr wrap="none" lIns="0" tIns="0" rIns="0" bIns="0" rtlCol="0" anchor="t">
            <a:spAutoFit/>
          </a:bodyPr>
          <a:lstStyle/>
          <a:p>
            <a:pPr algn="ctr"/>
            <a:r>
              <a:rPr lang="zh-CN" altLang="en-US" dirty="0">
                <a:solidFill>
                  <a:schemeClr val="accent1"/>
                </a:solidFill>
                <a:latin typeface="+mj-ea"/>
                <a:ea typeface="+mj-ea"/>
              </a:rPr>
              <a:t>关键词</a:t>
            </a:r>
            <a:endParaRPr lang="en-US" altLang="zh-CN" dirty="0">
              <a:solidFill>
                <a:schemeClr val="accent1"/>
              </a:solidFill>
              <a:latin typeface="+mj-ea"/>
              <a:ea typeface="+mj-ea"/>
            </a:endParaRPr>
          </a:p>
          <a:p>
            <a:pPr algn="ctr"/>
            <a:r>
              <a:rPr lang="zh-CN" altLang="en-US" dirty="0">
                <a:solidFill>
                  <a:schemeClr val="accent1"/>
                </a:solidFill>
                <a:latin typeface="+mj-ea"/>
                <a:ea typeface="+mj-ea"/>
              </a:rPr>
              <a:t>标题</a:t>
            </a:r>
          </a:p>
        </p:txBody>
      </p:sp>
      <p:sp>
        <p:nvSpPr>
          <p:cNvPr id="8" name="椭圆 7">
            <a:extLst>
              <a:ext uri="{FF2B5EF4-FFF2-40B4-BE49-F238E27FC236}">
                <a16:creationId xmlns:a16="http://schemas.microsoft.com/office/drawing/2014/main" id="{F9E932C5-FCB1-354C-AE5C-405BA446F6B6}"/>
              </a:ext>
            </a:extLst>
          </p:cNvPr>
          <p:cNvSpPr/>
          <p:nvPr/>
        </p:nvSpPr>
        <p:spPr>
          <a:xfrm>
            <a:off x="8193156" y="1878495"/>
            <a:ext cx="1530628" cy="1530626"/>
          </a:xfrm>
          <a:prstGeom prst="ellipse">
            <a:avLst/>
          </a:prstGeom>
          <a:solidFill>
            <a:schemeClr val="accent1">
              <a:lumMod val="10000"/>
              <a:lumOff val="9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kumimoji="1" lang="zh-CN" altLang="en-US" sz="1600">
              <a:solidFill>
                <a:schemeClr val="bg1"/>
              </a:solidFill>
              <a:latin typeface="+mj-ea"/>
              <a:ea typeface="+mj-ea"/>
            </a:endParaRPr>
          </a:p>
        </p:txBody>
      </p:sp>
      <p:sp>
        <p:nvSpPr>
          <p:cNvPr id="9" name="文本框 8">
            <a:extLst>
              <a:ext uri="{FF2B5EF4-FFF2-40B4-BE49-F238E27FC236}">
                <a16:creationId xmlns:a16="http://schemas.microsoft.com/office/drawing/2014/main" id="{C5241470-466F-A049-AA16-C70582D74E7E}"/>
              </a:ext>
            </a:extLst>
          </p:cNvPr>
          <p:cNvSpPr txBox="1"/>
          <p:nvPr/>
        </p:nvSpPr>
        <p:spPr>
          <a:xfrm>
            <a:off x="8612220" y="2366808"/>
            <a:ext cx="692497" cy="553998"/>
          </a:xfrm>
          <a:prstGeom prst="rect">
            <a:avLst/>
          </a:prstGeom>
          <a:noFill/>
        </p:spPr>
        <p:txBody>
          <a:bodyPr wrap="none" lIns="0" tIns="0" rIns="0" bIns="0" rtlCol="0" anchor="t">
            <a:spAutoFit/>
          </a:bodyPr>
          <a:lstStyle/>
          <a:p>
            <a:pPr algn="ctr"/>
            <a:r>
              <a:rPr lang="zh-CN" altLang="en-US" dirty="0">
                <a:solidFill>
                  <a:schemeClr val="accent1"/>
                </a:solidFill>
                <a:latin typeface="+mj-ea"/>
                <a:ea typeface="+mj-ea"/>
              </a:rPr>
              <a:t>关键词</a:t>
            </a:r>
            <a:endParaRPr lang="en-US" altLang="zh-CN" dirty="0">
              <a:solidFill>
                <a:schemeClr val="accent1"/>
              </a:solidFill>
              <a:latin typeface="+mj-ea"/>
              <a:ea typeface="+mj-ea"/>
            </a:endParaRPr>
          </a:p>
          <a:p>
            <a:pPr algn="ctr"/>
            <a:r>
              <a:rPr lang="zh-CN" altLang="en-US" dirty="0">
                <a:solidFill>
                  <a:schemeClr val="accent1"/>
                </a:solidFill>
                <a:latin typeface="+mj-ea"/>
                <a:ea typeface="+mj-ea"/>
              </a:rPr>
              <a:t>标题</a:t>
            </a:r>
          </a:p>
        </p:txBody>
      </p:sp>
      <p:sp>
        <p:nvSpPr>
          <p:cNvPr id="10" name="右箭头 9">
            <a:extLst>
              <a:ext uri="{FF2B5EF4-FFF2-40B4-BE49-F238E27FC236}">
                <a16:creationId xmlns:a16="http://schemas.microsoft.com/office/drawing/2014/main" id="{47FF2496-BEFE-2E49-84F3-1A8A2159E724}"/>
              </a:ext>
            </a:extLst>
          </p:cNvPr>
          <p:cNvSpPr/>
          <p:nvPr/>
        </p:nvSpPr>
        <p:spPr>
          <a:xfrm>
            <a:off x="4210723" y="2520696"/>
            <a:ext cx="602428" cy="246222"/>
          </a:xfrm>
          <a:prstGeom prst="rightArrow">
            <a:avLst/>
          </a:prstGeom>
          <a:gradFill>
            <a:gsLst>
              <a:gs pos="0">
                <a:schemeClr val="accent1">
                  <a:alpha val="0"/>
                </a:schemeClr>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kumimoji="1" lang="zh-CN" altLang="en-US" sz="1600">
              <a:solidFill>
                <a:schemeClr val="bg1"/>
              </a:solidFill>
              <a:latin typeface="+mj-ea"/>
              <a:ea typeface="+mj-ea"/>
            </a:endParaRPr>
          </a:p>
        </p:txBody>
      </p:sp>
      <p:sp>
        <p:nvSpPr>
          <p:cNvPr id="11" name="右箭头 10">
            <a:extLst>
              <a:ext uri="{FF2B5EF4-FFF2-40B4-BE49-F238E27FC236}">
                <a16:creationId xmlns:a16="http://schemas.microsoft.com/office/drawing/2014/main" id="{1B5596B3-CA72-7442-90B6-5BF654AB59B4}"/>
              </a:ext>
            </a:extLst>
          </p:cNvPr>
          <p:cNvSpPr/>
          <p:nvPr/>
        </p:nvSpPr>
        <p:spPr>
          <a:xfrm flipH="1">
            <a:off x="7381196" y="2520696"/>
            <a:ext cx="602428" cy="246222"/>
          </a:xfrm>
          <a:prstGeom prst="rightArrow">
            <a:avLst/>
          </a:prstGeom>
          <a:gradFill>
            <a:gsLst>
              <a:gs pos="0">
                <a:schemeClr val="accent1">
                  <a:alpha val="0"/>
                </a:schemeClr>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kumimoji="1" lang="zh-CN" altLang="en-US" sz="1600">
              <a:solidFill>
                <a:schemeClr val="bg1"/>
              </a:solidFill>
              <a:latin typeface="+mj-ea"/>
              <a:ea typeface="+mj-ea"/>
            </a:endParaRPr>
          </a:p>
        </p:txBody>
      </p:sp>
      <p:grpSp>
        <p:nvGrpSpPr>
          <p:cNvPr id="14" name="组合 13">
            <a:extLst>
              <a:ext uri="{FF2B5EF4-FFF2-40B4-BE49-F238E27FC236}">
                <a16:creationId xmlns:a16="http://schemas.microsoft.com/office/drawing/2014/main" id="{C4CC5080-EAEA-4241-830B-93391F310DE3}"/>
              </a:ext>
            </a:extLst>
          </p:cNvPr>
          <p:cNvGrpSpPr/>
          <p:nvPr/>
        </p:nvGrpSpPr>
        <p:grpSpPr>
          <a:xfrm>
            <a:off x="3180232" y="1156342"/>
            <a:ext cx="5808320" cy="1277153"/>
            <a:chOff x="3180232" y="1941534"/>
            <a:chExt cx="5808320" cy="1277153"/>
          </a:xfrm>
        </p:grpSpPr>
        <p:sp>
          <p:nvSpPr>
            <p:cNvPr id="12" name="弧 11">
              <a:extLst>
                <a:ext uri="{FF2B5EF4-FFF2-40B4-BE49-F238E27FC236}">
                  <a16:creationId xmlns:a16="http://schemas.microsoft.com/office/drawing/2014/main" id="{F0061AFF-FB5F-8642-AFBA-D319CF23B0FB}"/>
                </a:ext>
              </a:extLst>
            </p:cNvPr>
            <p:cNvSpPr/>
            <p:nvPr/>
          </p:nvSpPr>
          <p:spPr>
            <a:xfrm>
              <a:off x="3180232" y="1946214"/>
              <a:ext cx="5808320" cy="1272473"/>
            </a:xfrm>
            <a:prstGeom prst="arc">
              <a:avLst>
                <a:gd name="adj1" fmla="val 16166746"/>
                <a:gd name="adj2" fmla="val 21378500"/>
              </a:avLst>
            </a:prstGeom>
            <a:ln w="22225">
              <a:gradFill>
                <a:gsLst>
                  <a:gs pos="0">
                    <a:schemeClr val="accent1"/>
                  </a:gs>
                  <a:gs pos="70000">
                    <a:schemeClr val="accent1">
                      <a:alpha val="0"/>
                    </a:schemeClr>
                  </a:gs>
                </a:gsLst>
                <a:lin ang="5400000" scaled="1"/>
              </a:gra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zh-CN" altLang="en-US"/>
            </a:p>
          </p:txBody>
        </p:sp>
        <p:sp>
          <p:nvSpPr>
            <p:cNvPr id="13" name="任意形状 12">
              <a:extLst>
                <a:ext uri="{FF2B5EF4-FFF2-40B4-BE49-F238E27FC236}">
                  <a16:creationId xmlns:a16="http://schemas.microsoft.com/office/drawing/2014/main" id="{E05E18F9-65B6-EE4F-B6EE-CB03BF425BE4}"/>
                </a:ext>
              </a:extLst>
            </p:cNvPr>
            <p:cNvSpPr/>
            <p:nvPr/>
          </p:nvSpPr>
          <p:spPr>
            <a:xfrm>
              <a:off x="6056334" y="1941534"/>
              <a:ext cx="162839" cy="125619"/>
            </a:xfrm>
            <a:custGeom>
              <a:avLst/>
              <a:gdLst>
                <a:gd name="connsiteX0" fmla="*/ 25052 w 219206"/>
                <a:gd name="connsiteY0" fmla="*/ 0 h 169102"/>
                <a:gd name="connsiteX1" fmla="*/ 0 w 219206"/>
                <a:gd name="connsiteY1" fmla="*/ 169102 h 169102"/>
                <a:gd name="connsiteX2" fmla="*/ 219206 w 219206"/>
                <a:gd name="connsiteY2" fmla="*/ 18789 h 169102"/>
                <a:gd name="connsiteX3" fmla="*/ 25052 w 219206"/>
                <a:gd name="connsiteY3" fmla="*/ 0 h 169102"/>
              </a:gdLst>
              <a:ahLst/>
              <a:cxnLst>
                <a:cxn ang="0">
                  <a:pos x="connsiteX0" y="connsiteY0"/>
                </a:cxn>
                <a:cxn ang="0">
                  <a:pos x="connsiteX1" y="connsiteY1"/>
                </a:cxn>
                <a:cxn ang="0">
                  <a:pos x="connsiteX2" y="connsiteY2"/>
                </a:cxn>
                <a:cxn ang="0">
                  <a:pos x="connsiteX3" y="connsiteY3"/>
                </a:cxn>
              </a:cxnLst>
              <a:rect l="l" t="t" r="r" b="b"/>
              <a:pathLst>
                <a:path w="219206" h="169102">
                  <a:moveTo>
                    <a:pt x="25052" y="0"/>
                  </a:moveTo>
                  <a:lnTo>
                    <a:pt x="0" y="169102"/>
                  </a:lnTo>
                  <a:lnTo>
                    <a:pt x="219206" y="18789"/>
                  </a:lnTo>
                  <a:lnTo>
                    <a:pt x="25052"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kumimoji="1" lang="zh-CN" altLang="en-US" sz="1600">
                <a:solidFill>
                  <a:schemeClr val="bg1"/>
                </a:solidFill>
                <a:latin typeface="+mj-ea"/>
                <a:ea typeface="+mj-ea"/>
              </a:endParaRPr>
            </a:p>
          </p:txBody>
        </p:sp>
      </p:grpSp>
      <p:grpSp>
        <p:nvGrpSpPr>
          <p:cNvPr id="15" name="组合 14">
            <a:extLst>
              <a:ext uri="{FF2B5EF4-FFF2-40B4-BE49-F238E27FC236}">
                <a16:creationId xmlns:a16="http://schemas.microsoft.com/office/drawing/2014/main" id="{EC0ED4C9-58BA-4B45-B796-A9A7903E4C4B}"/>
              </a:ext>
            </a:extLst>
          </p:cNvPr>
          <p:cNvGrpSpPr/>
          <p:nvPr/>
        </p:nvGrpSpPr>
        <p:grpSpPr>
          <a:xfrm flipH="1" flipV="1">
            <a:off x="3180232" y="2757387"/>
            <a:ext cx="5808320" cy="1277153"/>
            <a:chOff x="3180232" y="1941534"/>
            <a:chExt cx="5808320" cy="1277153"/>
          </a:xfrm>
        </p:grpSpPr>
        <p:sp>
          <p:nvSpPr>
            <p:cNvPr id="16" name="弧 15">
              <a:extLst>
                <a:ext uri="{FF2B5EF4-FFF2-40B4-BE49-F238E27FC236}">
                  <a16:creationId xmlns:a16="http://schemas.microsoft.com/office/drawing/2014/main" id="{1ED0C546-B42E-1040-AC07-008C266B9272}"/>
                </a:ext>
              </a:extLst>
            </p:cNvPr>
            <p:cNvSpPr/>
            <p:nvPr/>
          </p:nvSpPr>
          <p:spPr>
            <a:xfrm>
              <a:off x="3180232" y="1946214"/>
              <a:ext cx="5808320" cy="1272473"/>
            </a:xfrm>
            <a:prstGeom prst="arc">
              <a:avLst>
                <a:gd name="adj1" fmla="val 16166746"/>
                <a:gd name="adj2" fmla="val 21378500"/>
              </a:avLst>
            </a:prstGeom>
            <a:ln w="22225">
              <a:gradFill>
                <a:gsLst>
                  <a:gs pos="0">
                    <a:schemeClr val="accent1"/>
                  </a:gs>
                  <a:gs pos="70000">
                    <a:schemeClr val="accent1">
                      <a:alpha val="0"/>
                    </a:schemeClr>
                  </a:gs>
                </a:gsLst>
                <a:lin ang="5400000" scaled="1"/>
              </a:gra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zh-CN" altLang="en-US"/>
            </a:p>
          </p:txBody>
        </p:sp>
        <p:sp>
          <p:nvSpPr>
            <p:cNvPr id="17" name="任意形状 16">
              <a:extLst>
                <a:ext uri="{FF2B5EF4-FFF2-40B4-BE49-F238E27FC236}">
                  <a16:creationId xmlns:a16="http://schemas.microsoft.com/office/drawing/2014/main" id="{45AC424C-D93F-A447-B6E7-4BF90D609F1D}"/>
                </a:ext>
              </a:extLst>
            </p:cNvPr>
            <p:cNvSpPr/>
            <p:nvPr/>
          </p:nvSpPr>
          <p:spPr>
            <a:xfrm>
              <a:off x="6056334" y="1941534"/>
              <a:ext cx="162839" cy="125619"/>
            </a:xfrm>
            <a:custGeom>
              <a:avLst/>
              <a:gdLst>
                <a:gd name="connsiteX0" fmla="*/ 25052 w 219206"/>
                <a:gd name="connsiteY0" fmla="*/ 0 h 169102"/>
                <a:gd name="connsiteX1" fmla="*/ 0 w 219206"/>
                <a:gd name="connsiteY1" fmla="*/ 169102 h 169102"/>
                <a:gd name="connsiteX2" fmla="*/ 219206 w 219206"/>
                <a:gd name="connsiteY2" fmla="*/ 18789 h 169102"/>
                <a:gd name="connsiteX3" fmla="*/ 25052 w 219206"/>
                <a:gd name="connsiteY3" fmla="*/ 0 h 169102"/>
              </a:gdLst>
              <a:ahLst/>
              <a:cxnLst>
                <a:cxn ang="0">
                  <a:pos x="connsiteX0" y="connsiteY0"/>
                </a:cxn>
                <a:cxn ang="0">
                  <a:pos x="connsiteX1" y="connsiteY1"/>
                </a:cxn>
                <a:cxn ang="0">
                  <a:pos x="connsiteX2" y="connsiteY2"/>
                </a:cxn>
                <a:cxn ang="0">
                  <a:pos x="connsiteX3" y="connsiteY3"/>
                </a:cxn>
              </a:cxnLst>
              <a:rect l="l" t="t" r="r" b="b"/>
              <a:pathLst>
                <a:path w="219206" h="169102">
                  <a:moveTo>
                    <a:pt x="25052" y="0"/>
                  </a:moveTo>
                  <a:lnTo>
                    <a:pt x="0" y="169102"/>
                  </a:lnTo>
                  <a:lnTo>
                    <a:pt x="219206" y="18789"/>
                  </a:lnTo>
                  <a:lnTo>
                    <a:pt x="25052"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kumimoji="1" lang="zh-CN" altLang="en-US" sz="1600">
                <a:solidFill>
                  <a:schemeClr val="bg1"/>
                </a:solidFill>
                <a:latin typeface="+mj-ea"/>
                <a:ea typeface="+mj-ea"/>
              </a:endParaRPr>
            </a:p>
          </p:txBody>
        </p:sp>
      </p:grpSp>
      <p:sp>
        <p:nvSpPr>
          <p:cNvPr id="18" name="文本框 17">
            <a:extLst>
              <a:ext uri="{FF2B5EF4-FFF2-40B4-BE49-F238E27FC236}">
                <a16:creationId xmlns:a16="http://schemas.microsoft.com/office/drawing/2014/main" id="{A6A8D945-5CC1-CF42-9856-4CCBA1126024}"/>
              </a:ext>
            </a:extLst>
          </p:cNvPr>
          <p:cNvSpPr txBox="1"/>
          <p:nvPr/>
        </p:nvSpPr>
        <p:spPr>
          <a:xfrm>
            <a:off x="279804" y="2377070"/>
            <a:ext cx="1921004" cy="587340"/>
          </a:xfrm>
          <a:prstGeom prst="rect">
            <a:avLst/>
          </a:prstGeom>
          <a:noFill/>
        </p:spPr>
        <p:txBody>
          <a:bodyPr wrap="square" lIns="0" tIns="0" rIns="0" bIns="0" rtlCol="0" anchor="t">
            <a:spAutoFit/>
          </a:bodyPr>
          <a:lstStyle/>
          <a:p>
            <a:pPr algn="r">
              <a:lnSpc>
                <a:spcPct val="130000"/>
              </a:lnSpc>
            </a:pPr>
            <a:r>
              <a:rPr lang="en-US" altLang="zh-CN" sz="1000" b="0" dirty="0">
                <a:solidFill>
                  <a:schemeClr val="tx1">
                    <a:lumMod val="75000"/>
                    <a:lumOff val="25000"/>
                  </a:schemeClr>
                </a:solidFill>
                <a:effectLst/>
                <a:latin typeface="+mn-ea"/>
              </a:rPr>
              <a:t>Lorem ipsum dolor sit amet, consectetur adipisicing elit, sed do eiusmod tempor</a:t>
            </a:r>
            <a:endParaRPr lang="zh-CN" altLang="en-US" sz="1000" b="0" dirty="0">
              <a:solidFill>
                <a:schemeClr val="tx1">
                  <a:lumMod val="75000"/>
                  <a:lumOff val="25000"/>
                </a:schemeClr>
              </a:solidFill>
              <a:effectLst/>
              <a:latin typeface="+mn-ea"/>
            </a:endParaRPr>
          </a:p>
        </p:txBody>
      </p:sp>
      <p:sp>
        <p:nvSpPr>
          <p:cNvPr id="19" name="文本框 18">
            <a:extLst>
              <a:ext uri="{FF2B5EF4-FFF2-40B4-BE49-F238E27FC236}">
                <a16:creationId xmlns:a16="http://schemas.microsoft.com/office/drawing/2014/main" id="{3ECFE0B8-7FEA-1D42-9FA1-E63295775CF3}"/>
              </a:ext>
            </a:extLst>
          </p:cNvPr>
          <p:cNvSpPr txBox="1"/>
          <p:nvPr/>
        </p:nvSpPr>
        <p:spPr>
          <a:xfrm>
            <a:off x="9933316" y="2377070"/>
            <a:ext cx="1921004" cy="587340"/>
          </a:xfrm>
          <a:prstGeom prst="rect">
            <a:avLst/>
          </a:prstGeom>
          <a:noFill/>
        </p:spPr>
        <p:txBody>
          <a:bodyPr wrap="square" lIns="0" tIns="0" rIns="0" bIns="0" rtlCol="0" anchor="t">
            <a:spAutoFit/>
          </a:bodyPr>
          <a:lstStyle/>
          <a:p>
            <a:pPr>
              <a:lnSpc>
                <a:spcPct val="130000"/>
              </a:lnSpc>
            </a:pPr>
            <a:r>
              <a:rPr lang="en-US" altLang="zh-CN" sz="1000" b="0" dirty="0">
                <a:solidFill>
                  <a:schemeClr val="tx1">
                    <a:lumMod val="75000"/>
                    <a:lumOff val="25000"/>
                  </a:schemeClr>
                </a:solidFill>
                <a:effectLst/>
                <a:latin typeface="+mn-ea"/>
              </a:rPr>
              <a:t>Lorem ipsum dolor sit amet, consectetur adipisicing elit, sed do eiusmod tempor</a:t>
            </a:r>
            <a:endParaRPr lang="zh-CN" altLang="en-US" sz="1000" b="0" dirty="0">
              <a:solidFill>
                <a:schemeClr val="tx1">
                  <a:lumMod val="75000"/>
                  <a:lumOff val="25000"/>
                </a:schemeClr>
              </a:solidFill>
              <a:effectLst/>
              <a:latin typeface="+mn-ea"/>
            </a:endParaRPr>
          </a:p>
        </p:txBody>
      </p:sp>
      <p:sp>
        <p:nvSpPr>
          <p:cNvPr id="20" name="三角形 19">
            <a:extLst>
              <a:ext uri="{FF2B5EF4-FFF2-40B4-BE49-F238E27FC236}">
                <a16:creationId xmlns:a16="http://schemas.microsoft.com/office/drawing/2014/main" id="{00E2D148-5BE7-8943-8E1D-5D216F05B45E}"/>
              </a:ext>
            </a:extLst>
          </p:cNvPr>
          <p:cNvSpPr/>
          <p:nvPr/>
        </p:nvSpPr>
        <p:spPr>
          <a:xfrm rot="10800000">
            <a:off x="5995617" y="4272074"/>
            <a:ext cx="284270" cy="245062"/>
          </a:xfrm>
          <a:prstGeom prst="triangle">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kumimoji="1" lang="zh-CN" altLang="en-US" sz="1600">
              <a:solidFill>
                <a:schemeClr val="bg1"/>
              </a:solidFill>
              <a:latin typeface="+mj-ea"/>
              <a:ea typeface="+mj-ea"/>
            </a:endParaRPr>
          </a:p>
        </p:txBody>
      </p:sp>
      <p:sp>
        <p:nvSpPr>
          <p:cNvPr id="21" name="三角形 20">
            <a:extLst>
              <a:ext uri="{FF2B5EF4-FFF2-40B4-BE49-F238E27FC236}">
                <a16:creationId xmlns:a16="http://schemas.microsoft.com/office/drawing/2014/main" id="{86C4C0D3-A5FD-6C4B-BB1D-9CBB1F190CAD}"/>
              </a:ext>
            </a:extLst>
          </p:cNvPr>
          <p:cNvSpPr/>
          <p:nvPr/>
        </p:nvSpPr>
        <p:spPr>
          <a:xfrm rot="10800000">
            <a:off x="5937006" y="4378881"/>
            <a:ext cx="401493" cy="346115"/>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kumimoji="1" lang="zh-CN" altLang="en-US" sz="1600">
              <a:solidFill>
                <a:schemeClr val="bg1"/>
              </a:solidFill>
              <a:latin typeface="+mj-ea"/>
              <a:ea typeface="+mj-ea"/>
            </a:endParaRPr>
          </a:p>
        </p:txBody>
      </p:sp>
      <p:sp>
        <p:nvSpPr>
          <p:cNvPr id="22" name="文本框 21">
            <a:extLst>
              <a:ext uri="{FF2B5EF4-FFF2-40B4-BE49-F238E27FC236}">
                <a16:creationId xmlns:a16="http://schemas.microsoft.com/office/drawing/2014/main" id="{75F91CE5-0DE6-8F4C-9B44-8158745DF67F}"/>
              </a:ext>
            </a:extLst>
          </p:cNvPr>
          <p:cNvSpPr txBox="1"/>
          <p:nvPr/>
        </p:nvSpPr>
        <p:spPr>
          <a:xfrm>
            <a:off x="5177249" y="5217414"/>
            <a:ext cx="1921004" cy="587340"/>
          </a:xfrm>
          <a:prstGeom prst="rect">
            <a:avLst/>
          </a:prstGeom>
          <a:noFill/>
        </p:spPr>
        <p:txBody>
          <a:bodyPr wrap="square" lIns="0" tIns="0" rIns="0" bIns="0" rtlCol="0" anchor="t">
            <a:spAutoFit/>
          </a:bodyPr>
          <a:lstStyle/>
          <a:p>
            <a:pPr algn="ctr">
              <a:lnSpc>
                <a:spcPct val="130000"/>
              </a:lnSpc>
            </a:pPr>
            <a:r>
              <a:rPr lang="en-US" altLang="zh-CN" sz="1000" b="0" dirty="0">
                <a:solidFill>
                  <a:schemeClr val="tx1">
                    <a:lumMod val="75000"/>
                    <a:lumOff val="25000"/>
                  </a:schemeClr>
                </a:solidFill>
                <a:effectLst/>
                <a:latin typeface="+mn-ea"/>
              </a:rPr>
              <a:t>Lorem ipsum dolor sit amet, consectetur adipisicing elit, sed do eiusmod tempor</a:t>
            </a:r>
            <a:endParaRPr lang="zh-CN" altLang="en-US" sz="1000" b="0" dirty="0">
              <a:solidFill>
                <a:schemeClr val="tx1">
                  <a:lumMod val="75000"/>
                  <a:lumOff val="25000"/>
                </a:schemeClr>
              </a:solidFill>
              <a:effectLst/>
              <a:latin typeface="+mn-ea"/>
            </a:endParaRPr>
          </a:p>
        </p:txBody>
      </p:sp>
      <p:sp>
        <p:nvSpPr>
          <p:cNvPr id="23" name="文本框 22">
            <a:extLst>
              <a:ext uri="{FF2B5EF4-FFF2-40B4-BE49-F238E27FC236}">
                <a16:creationId xmlns:a16="http://schemas.microsoft.com/office/drawing/2014/main" id="{5F166D3C-A9FB-9B4D-B97C-D55425E516FB}"/>
              </a:ext>
            </a:extLst>
          </p:cNvPr>
          <p:cNvSpPr txBox="1"/>
          <p:nvPr/>
        </p:nvSpPr>
        <p:spPr>
          <a:xfrm>
            <a:off x="5457258" y="4920537"/>
            <a:ext cx="1360986" cy="276999"/>
          </a:xfrm>
          <a:prstGeom prst="rect">
            <a:avLst/>
          </a:prstGeom>
          <a:noFill/>
        </p:spPr>
        <p:txBody>
          <a:bodyPr wrap="square" lIns="0" tIns="0" rIns="0" bIns="0" rtlCol="0" anchor="t">
            <a:spAutoFit/>
          </a:bodyPr>
          <a:lstStyle/>
          <a:p>
            <a:pPr algn="ctr"/>
            <a:r>
              <a:rPr lang="zh-CN" altLang="en-US" dirty="0">
                <a:solidFill>
                  <a:schemeClr val="accent1"/>
                </a:solidFill>
                <a:latin typeface="+mj-ea"/>
                <a:ea typeface="+mj-ea"/>
              </a:rPr>
              <a:t>关键词标题</a:t>
            </a:r>
          </a:p>
        </p:txBody>
      </p:sp>
    </p:spTree>
    <p:extLst>
      <p:ext uri="{BB962C8B-B14F-4D97-AF65-F5344CB8AC3E}">
        <p14:creationId xmlns:p14="http://schemas.microsoft.com/office/powerpoint/2010/main" val="2394379983"/>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3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a:extLst>
              <a:ext uri="{FF2B5EF4-FFF2-40B4-BE49-F238E27FC236}">
                <a16:creationId xmlns:a16="http://schemas.microsoft.com/office/drawing/2014/main" id="{9998AF95-7AB8-4990-9467-154D211D636F}"/>
              </a:ext>
            </a:extLst>
          </p:cNvPr>
          <p:cNvSpPr/>
          <p:nvPr/>
        </p:nvSpPr>
        <p:spPr>
          <a:xfrm>
            <a:off x="4586289" y="2082800"/>
            <a:ext cx="3019425" cy="323532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4" name="矩形 3">
            <a:extLst>
              <a:ext uri="{FF2B5EF4-FFF2-40B4-BE49-F238E27FC236}">
                <a16:creationId xmlns:a16="http://schemas.microsoft.com/office/drawing/2014/main" id="{850DD10B-CA5D-4B2F-87D3-3AFF701B21A7}"/>
              </a:ext>
            </a:extLst>
          </p:cNvPr>
          <p:cNvSpPr/>
          <p:nvPr/>
        </p:nvSpPr>
        <p:spPr>
          <a:xfrm>
            <a:off x="1409700" y="2303045"/>
            <a:ext cx="3509963" cy="2794836"/>
          </a:xfrm>
          <a:prstGeom prst="rect">
            <a:avLst/>
          </a:prstGeom>
          <a:gradFill>
            <a:gsLst>
              <a:gs pos="100000">
                <a:schemeClr val="accent1">
                  <a:alpha val="0"/>
                </a:schemeClr>
              </a:gs>
              <a:gs pos="0">
                <a:schemeClr val="accent1">
                  <a:alpha val="25000"/>
                </a:schemeClr>
              </a:gs>
            </a:gsLst>
            <a:lin ang="0" scaled="0"/>
          </a:gradFill>
          <a:ln>
            <a:noFill/>
          </a:ln>
          <a:scene3d>
            <a:camera prst="perspectiveFront" fov="6000000">
              <a:rot lat="0" lon="20400000" rev="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5" name="矩形 4">
            <a:extLst>
              <a:ext uri="{FF2B5EF4-FFF2-40B4-BE49-F238E27FC236}">
                <a16:creationId xmlns:a16="http://schemas.microsoft.com/office/drawing/2014/main" id="{AD817D05-D92C-433D-A585-E85E6E457231}"/>
              </a:ext>
            </a:extLst>
          </p:cNvPr>
          <p:cNvSpPr/>
          <p:nvPr/>
        </p:nvSpPr>
        <p:spPr>
          <a:xfrm>
            <a:off x="7272339" y="2303045"/>
            <a:ext cx="3509963" cy="2794836"/>
          </a:xfrm>
          <a:prstGeom prst="rect">
            <a:avLst/>
          </a:prstGeom>
          <a:gradFill>
            <a:gsLst>
              <a:gs pos="100000">
                <a:schemeClr val="accent1">
                  <a:alpha val="0"/>
                </a:schemeClr>
              </a:gs>
              <a:gs pos="0">
                <a:schemeClr val="accent1">
                  <a:alpha val="25000"/>
                </a:schemeClr>
              </a:gs>
            </a:gsLst>
            <a:lin ang="10800000" scaled="0"/>
          </a:gradFill>
          <a:ln>
            <a:noFill/>
          </a:ln>
          <a:scene3d>
            <a:camera prst="perspectiveFront" fov="6000000">
              <a:rot lat="0" lon="1200000" rev="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6" name="文本框 5">
            <a:extLst>
              <a:ext uri="{FF2B5EF4-FFF2-40B4-BE49-F238E27FC236}">
                <a16:creationId xmlns:a16="http://schemas.microsoft.com/office/drawing/2014/main" id="{231CFC22-51A2-4853-B4EF-26017CA105B8}"/>
              </a:ext>
            </a:extLst>
          </p:cNvPr>
          <p:cNvSpPr txBox="1"/>
          <p:nvPr/>
        </p:nvSpPr>
        <p:spPr>
          <a:xfrm flipH="1">
            <a:off x="4919662" y="3371982"/>
            <a:ext cx="2321740" cy="1102353"/>
          </a:xfrm>
          <a:prstGeom prst="rect">
            <a:avLst/>
          </a:prstGeom>
          <a:noFill/>
        </p:spPr>
        <p:txBody>
          <a:bodyPr wrap="square" lIns="0" tIns="0" rIns="0" bIns="0" rtlCol="0" anchor="t">
            <a:spAutoFit/>
          </a:bodyPr>
          <a:lstStyle/>
          <a:p>
            <a:pPr algn="ctr">
              <a:lnSpc>
                <a:spcPct val="130000"/>
              </a:lnSpc>
            </a:pPr>
            <a:r>
              <a:rPr lang="en-US" altLang="zh-CN" sz="1400" b="0" dirty="0">
                <a:solidFill>
                  <a:schemeClr val="bg1"/>
                </a:solidFill>
                <a:effectLst/>
                <a:latin typeface="+mn-ea"/>
              </a:rPr>
              <a:t>Lorem ipsum dolor sit amet, consectetur adipisicing elit, sed do eiusmod tempor</a:t>
            </a:r>
            <a:endParaRPr lang="zh-CN" altLang="en-US" sz="1400" b="0" dirty="0">
              <a:solidFill>
                <a:schemeClr val="bg1"/>
              </a:solidFill>
              <a:effectLst/>
              <a:latin typeface="+mn-ea"/>
            </a:endParaRPr>
          </a:p>
        </p:txBody>
      </p:sp>
      <p:sp>
        <p:nvSpPr>
          <p:cNvPr id="7" name="文本框 6">
            <a:extLst>
              <a:ext uri="{FF2B5EF4-FFF2-40B4-BE49-F238E27FC236}">
                <a16:creationId xmlns:a16="http://schemas.microsoft.com/office/drawing/2014/main" id="{D84311E7-49B7-405E-ABA5-B580FC6099CD}"/>
              </a:ext>
            </a:extLst>
          </p:cNvPr>
          <p:cNvSpPr txBox="1"/>
          <p:nvPr/>
        </p:nvSpPr>
        <p:spPr>
          <a:xfrm flipH="1">
            <a:off x="5182850" y="2793260"/>
            <a:ext cx="1795364" cy="430887"/>
          </a:xfrm>
          <a:prstGeom prst="rect">
            <a:avLst/>
          </a:prstGeom>
          <a:noFill/>
        </p:spPr>
        <p:txBody>
          <a:bodyPr wrap="none" lIns="0" tIns="0" rIns="0" bIns="0" rtlCol="0" anchor="t">
            <a:spAutoFit/>
          </a:bodyPr>
          <a:lstStyle/>
          <a:p>
            <a:pPr algn="ctr"/>
            <a:r>
              <a:rPr lang="zh-CN" altLang="en-US" sz="2800" dirty="0">
                <a:solidFill>
                  <a:schemeClr val="bg1"/>
                </a:solidFill>
                <a:latin typeface="+mj-ea"/>
                <a:ea typeface="+mj-ea"/>
              </a:rPr>
              <a:t>关键词标题</a:t>
            </a:r>
          </a:p>
        </p:txBody>
      </p:sp>
      <p:sp>
        <p:nvSpPr>
          <p:cNvPr id="8" name="矩形 7">
            <a:extLst>
              <a:ext uri="{FF2B5EF4-FFF2-40B4-BE49-F238E27FC236}">
                <a16:creationId xmlns:a16="http://schemas.microsoft.com/office/drawing/2014/main" id="{FE4913CB-116A-4BF2-93B5-D7896B881350}"/>
              </a:ext>
            </a:extLst>
          </p:cNvPr>
          <p:cNvSpPr/>
          <p:nvPr/>
        </p:nvSpPr>
        <p:spPr>
          <a:xfrm>
            <a:off x="7506783" y="2044700"/>
            <a:ext cx="3745926" cy="3311526"/>
          </a:xfrm>
          <a:prstGeom prst="rect">
            <a:avLst/>
          </a:prstGeom>
          <a:gradFill>
            <a:gsLst>
              <a:gs pos="100000">
                <a:schemeClr val="accent1">
                  <a:alpha val="0"/>
                </a:schemeClr>
              </a:gs>
              <a:gs pos="0">
                <a:schemeClr val="accent1">
                  <a:alpha val="10000"/>
                </a:schemeClr>
              </a:gs>
            </a:gsLst>
            <a:lin ang="10800000" scaled="0"/>
          </a:gradFill>
          <a:ln>
            <a:noFill/>
          </a:ln>
          <a:scene3d>
            <a:camera prst="perspectiveFront" fov="6000000">
              <a:rot lat="0" lon="1200000" rev="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10" name="矩形 9">
            <a:extLst>
              <a:ext uri="{FF2B5EF4-FFF2-40B4-BE49-F238E27FC236}">
                <a16:creationId xmlns:a16="http://schemas.microsoft.com/office/drawing/2014/main" id="{4994E077-4EAB-46E1-877F-86CF24AAA11B}"/>
              </a:ext>
            </a:extLst>
          </p:cNvPr>
          <p:cNvSpPr/>
          <p:nvPr/>
        </p:nvSpPr>
        <p:spPr>
          <a:xfrm>
            <a:off x="1056514" y="2044700"/>
            <a:ext cx="3745926" cy="3311526"/>
          </a:xfrm>
          <a:prstGeom prst="rect">
            <a:avLst/>
          </a:prstGeom>
          <a:gradFill>
            <a:gsLst>
              <a:gs pos="100000">
                <a:schemeClr val="accent1">
                  <a:alpha val="0"/>
                </a:schemeClr>
              </a:gs>
              <a:gs pos="0">
                <a:schemeClr val="accent1">
                  <a:alpha val="10000"/>
                </a:schemeClr>
              </a:gs>
            </a:gsLst>
            <a:lin ang="0" scaled="0"/>
          </a:gradFill>
          <a:ln>
            <a:noFill/>
          </a:ln>
          <a:scene3d>
            <a:camera prst="perspectiveFront" fov="6000000">
              <a:rot lat="0" lon="20400000" rev="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11" name="文本框 10">
            <a:extLst>
              <a:ext uri="{FF2B5EF4-FFF2-40B4-BE49-F238E27FC236}">
                <a16:creationId xmlns:a16="http://schemas.microsoft.com/office/drawing/2014/main" id="{5663C3CA-8977-44EB-8F20-3E3826A04F25}"/>
              </a:ext>
            </a:extLst>
          </p:cNvPr>
          <p:cNvSpPr txBox="1"/>
          <p:nvPr/>
        </p:nvSpPr>
        <p:spPr>
          <a:xfrm flipH="1">
            <a:off x="1637714" y="3701868"/>
            <a:ext cx="2583525" cy="387286"/>
          </a:xfrm>
          <a:prstGeom prst="rect">
            <a:avLst/>
          </a:prstGeom>
          <a:noFill/>
          <a:scene3d>
            <a:camera prst="orthographicFront">
              <a:rot lat="0" lon="180000" rev="0"/>
            </a:camera>
            <a:lightRig rig="threePt" dir="t"/>
          </a:scene3d>
        </p:spPr>
        <p:txBody>
          <a:bodyPr wrap="square" lIns="0" tIns="0" rIns="0" bIns="0" rtlCol="0" anchor="t">
            <a:spAutoFit/>
          </a:bodyPr>
          <a:lstStyle/>
          <a:p>
            <a:pPr algn="ctr">
              <a:lnSpc>
                <a:spcPct val="130000"/>
              </a:lnSpc>
            </a:pPr>
            <a:r>
              <a:rPr lang="en-US" altLang="zh-CN" sz="1000" b="0" dirty="0">
                <a:solidFill>
                  <a:schemeClr val="tx1">
                    <a:lumMod val="75000"/>
                    <a:lumOff val="25000"/>
                  </a:schemeClr>
                </a:solidFill>
                <a:effectLst/>
                <a:latin typeface="+mn-ea"/>
              </a:rPr>
              <a:t>Lorem ipsum dolor sit amet, consectetur adipisicing elit, sed do eiusmod tempor</a:t>
            </a:r>
            <a:endParaRPr lang="zh-CN" altLang="en-US" sz="1000" b="0" dirty="0">
              <a:solidFill>
                <a:schemeClr val="tx1">
                  <a:lumMod val="75000"/>
                  <a:lumOff val="25000"/>
                </a:schemeClr>
              </a:solidFill>
              <a:effectLst/>
              <a:latin typeface="+mn-ea"/>
            </a:endParaRPr>
          </a:p>
        </p:txBody>
      </p:sp>
      <p:sp>
        <p:nvSpPr>
          <p:cNvPr id="12" name="文本框 11">
            <a:extLst>
              <a:ext uri="{FF2B5EF4-FFF2-40B4-BE49-F238E27FC236}">
                <a16:creationId xmlns:a16="http://schemas.microsoft.com/office/drawing/2014/main" id="{B20F5E0F-D220-4A74-9DA6-D09368903E75}"/>
              </a:ext>
            </a:extLst>
          </p:cNvPr>
          <p:cNvSpPr txBox="1"/>
          <p:nvPr/>
        </p:nvSpPr>
        <p:spPr>
          <a:xfrm flipH="1">
            <a:off x="2288275" y="3224147"/>
            <a:ext cx="1282402" cy="307777"/>
          </a:xfrm>
          <a:prstGeom prst="rect">
            <a:avLst/>
          </a:prstGeom>
          <a:noFill/>
          <a:scene3d>
            <a:camera prst="orthographicFront">
              <a:rot lat="0" lon="180000" rev="0"/>
            </a:camera>
            <a:lightRig rig="threePt" dir="t"/>
          </a:scene3d>
        </p:spPr>
        <p:txBody>
          <a:bodyPr wrap="none" lIns="0" tIns="0" rIns="0" bIns="0" rtlCol="0" anchor="t">
            <a:spAutoFit/>
          </a:bodyPr>
          <a:lstStyle/>
          <a:p>
            <a:pPr algn="ctr"/>
            <a:r>
              <a:rPr lang="zh-CN" altLang="en-US" sz="2000" dirty="0">
                <a:solidFill>
                  <a:schemeClr val="accent1"/>
                </a:solidFill>
                <a:latin typeface="+mj-ea"/>
                <a:ea typeface="+mj-ea"/>
              </a:rPr>
              <a:t>关键词标题</a:t>
            </a:r>
          </a:p>
        </p:txBody>
      </p:sp>
      <p:sp>
        <p:nvSpPr>
          <p:cNvPr id="13" name="矩形 12">
            <a:extLst>
              <a:ext uri="{FF2B5EF4-FFF2-40B4-BE49-F238E27FC236}">
                <a16:creationId xmlns:a16="http://schemas.microsoft.com/office/drawing/2014/main" id="{583DF792-F274-45DA-8BD0-E103F9A38BCC}"/>
              </a:ext>
            </a:extLst>
          </p:cNvPr>
          <p:cNvSpPr/>
          <p:nvPr/>
        </p:nvSpPr>
        <p:spPr>
          <a:xfrm>
            <a:off x="5845684" y="3291840"/>
            <a:ext cx="500632"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14" name="矩形 13">
            <a:extLst>
              <a:ext uri="{FF2B5EF4-FFF2-40B4-BE49-F238E27FC236}">
                <a16:creationId xmlns:a16="http://schemas.microsoft.com/office/drawing/2014/main" id="{F4E819CA-258A-457C-BA68-AAC3E5E37357}"/>
              </a:ext>
            </a:extLst>
          </p:cNvPr>
          <p:cNvSpPr/>
          <p:nvPr/>
        </p:nvSpPr>
        <p:spPr>
          <a:xfrm>
            <a:off x="2710416" y="3594037"/>
            <a:ext cx="500632" cy="4571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15" name="文本框 14">
            <a:extLst>
              <a:ext uri="{FF2B5EF4-FFF2-40B4-BE49-F238E27FC236}">
                <a16:creationId xmlns:a16="http://schemas.microsoft.com/office/drawing/2014/main" id="{76CBAD8D-40E7-4E14-B12B-FE4C9B95BACD}"/>
              </a:ext>
            </a:extLst>
          </p:cNvPr>
          <p:cNvSpPr txBox="1"/>
          <p:nvPr/>
        </p:nvSpPr>
        <p:spPr>
          <a:xfrm flipH="1">
            <a:off x="7956218" y="3701868"/>
            <a:ext cx="2583525" cy="387286"/>
          </a:xfrm>
          <a:prstGeom prst="rect">
            <a:avLst/>
          </a:prstGeom>
          <a:noFill/>
          <a:scene3d>
            <a:camera prst="orthographicFront">
              <a:rot lat="0" lon="180000" rev="0"/>
            </a:camera>
            <a:lightRig rig="threePt" dir="t"/>
          </a:scene3d>
        </p:spPr>
        <p:txBody>
          <a:bodyPr wrap="square" lIns="0" tIns="0" rIns="0" bIns="0" rtlCol="0" anchor="t">
            <a:spAutoFit/>
          </a:bodyPr>
          <a:lstStyle/>
          <a:p>
            <a:pPr algn="ctr">
              <a:lnSpc>
                <a:spcPct val="130000"/>
              </a:lnSpc>
            </a:pPr>
            <a:r>
              <a:rPr lang="en-US" altLang="zh-CN" sz="1000" b="0" dirty="0">
                <a:solidFill>
                  <a:schemeClr val="tx1">
                    <a:lumMod val="75000"/>
                    <a:lumOff val="25000"/>
                  </a:schemeClr>
                </a:solidFill>
                <a:effectLst/>
                <a:latin typeface="+mn-ea"/>
              </a:rPr>
              <a:t>Lorem ipsum dolor sit amet, consectetur adipisicing elit, sed do eiusmod tempor</a:t>
            </a:r>
            <a:endParaRPr lang="zh-CN" altLang="en-US" sz="1000" b="0" dirty="0">
              <a:solidFill>
                <a:schemeClr val="tx1">
                  <a:lumMod val="75000"/>
                  <a:lumOff val="25000"/>
                </a:schemeClr>
              </a:solidFill>
              <a:effectLst/>
              <a:latin typeface="+mn-ea"/>
            </a:endParaRPr>
          </a:p>
        </p:txBody>
      </p:sp>
      <p:sp>
        <p:nvSpPr>
          <p:cNvPr id="16" name="文本框 15">
            <a:extLst>
              <a:ext uri="{FF2B5EF4-FFF2-40B4-BE49-F238E27FC236}">
                <a16:creationId xmlns:a16="http://schemas.microsoft.com/office/drawing/2014/main" id="{9016B8DC-80B7-4984-953F-C3792F755E0F}"/>
              </a:ext>
            </a:extLst>
          </p:cNvPr>
          <p:cNvSpPr txBox="1"/>
          <p:nvPr/>
        </p:nvSpPr>
        <p:spPr>
          <a:xfrm flipH="1">
            <a:off x="8606779" y="3224147"/>
            <a:ext cx="1282402" cy="307777"/>
          </a:xfrm>
          <a:prstGeom prst="rect">
            <a:avLst/>
          </a:prstGeom>
          <a:noFill/>
          <a:scene3d>
            <a:camera prst="orthographicFront">
              <a:rot lat="0" lon="180000" rev="0"/>
            </a:camera>
            <a:lightRig rig="threePt" dir="t"/>
          </a:scene3d>
        </p:spPr>
        <p:txBody>
          <a:bodyPr wrap="none" lIns="0" tIns="0" rIns="0" bIns="0" rtlCol="0" anchor="t">
            <a:spAutoFit/>
          </a:bodyPr>
          <a:lstStyle/>
          <a:p>
            <a:pPr algn="ctr"/>
            <a:r>
              <a:rPr lang="zh-CN" altLang="en-US" sz="2000" dirty="0">
                <a:solidFill>
                  <a:schemeClr val="accent1"/>
                </a:solidFill>
                <a:latin typeface="+mj-ea"/>
                <a:ea typeface="+mj-ea"/>
              </a:rPr>
              <a:t>关键词标题</a:t>
            </a:r>
          </a:p>
        </p:txBody>
      </p:sp>
      <p:sp>
        <p:nvSpPr>
          <p:cNvPr id="17" name="矩形 16">
            <a:extLst>
              <a:ext uri="{FF2B5EF4-FFF2-40B4-BE49-F238E27FC236}">
                <a16:creationId xmlns:a16="http://schemas.microsoft.com/office/drawing/2014/main" id="{539B886C-D407-418D-BED2-25E4A6046DD3}"/>
              </a:ext>
            </a:extLst>
          </p:cNvPr>
          <p:cNvSpPr/>
          <p:nvPr/>
        </p:nvSpPr>
        <p:spPr>
          <a:xfrm>
            <a:off x="9028920" y="3594037"/>
            <a:ext cx="500632" cy="4571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Tree>
    <p:extLst>
      <p:ext uri="{BB962C8B-B14F-4D97-AF65-F5344CB8AC3E}">
        <p14:creationId xmlns:p14="http://schemas.microsoft.com/office/powerpoint/2010/main" val="359414236"/>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3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矩形 3">
            <a:extLst>
              <a:ext uri="{FF2B5EF4-FFF2-40B4-BE49-F238E27FC236}">
                <a16:creationId xmlns:a16="http://schemas.microsoft.com/office/drawing/2014/main" id="{4FD8F3A2-AB91-4A3D-A898-B7CBE3EEF210}"/>
              </a:ext>
            </a:extLst>
          </p:cNvPr>
          <p:cNvSpPr/>
          <p:nvPr/>
        </p:nvSpPr>
        <p:spPr>
          <a:xfrm>
            <a:off x="347384" y="347384"/>
            <a:ext cx="221735" cy="221735"/>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82" name="任意形状 9">
            <a:extLst>
              <a:ext uri="{FF2B5EF4-FFF2-40B4-BE49-F238E27FC236}">
                <a16:creationId xmlns:a16="http://schemas.microsoft.com/office/drawing/2014/main" id="{AA202101-1D6B-4874-9BE5-D6BF99331DE8}"/>
              </a:ext>
            </a:extLst>
          </p:cNvPr>
          <p:cNvSpPr/>
          <p:nvPr/>
        </p:nvSpPr>
        <p:spPr>
          <a:xfrm>
            <a:off x="0" y="6457950"/>
            <a:ext cx="12192000" cy="400050"/>
          </a:xfrm>
          <a:custGeom>
            <a:avLst/>
            <a:gdLst>
              <a:gd name="connsiteX0" fmla="*/ 12192000 w 12192000"/>
              <a:gd name="connsiteY0" fmla="*/ 0 h 329410"/>
              <a:gd name="connsiteX1" fmla="*/ 12192000 w 12192000"/>
              <a:gd name="connsiteY1" fmla="*/ 329410 h 329410"/>
              <a:gd name="connsiteX2" fmla="*/ 0 w 12192000"/>
              <a:gd name="connsiteY2" fmla="*/ 329410 h 329410"/>
              <a:gd name="connsiteX3" fmla="*/ 0 w 12192000"/>
              <a:gd name="connsiteY3" fmla="*/ 29375 h 329410"/>
              <a:gd name="connsiteX4" fmla="*/ 577089 w 12192000"/>
              <a:gd name="connsiteY4" fmla="*/ 49593 h 329410"/>
              <a:gd name="connsiteX5" fmla="*/ 5704114 w 12192000"/>
              <a:gd name="connsiteY5" fmla="*/ 124873 h 329410"/>
              <a:gd name="connsiteX6" fmla="*/ 11982536 w 12192000"/>
              <a:gd name="connsiteY6" fmla="*/ 9255 h 329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329410">
                <a:moveTo>
                  <a:pt x="12192000" y="0"/>
                </a:moveTo>
                <a:lnTo>
                  <a:pt x="12192000" y="329410"/>
                </a:lnTo>
                <a:lnTo>
                  <a:pt x="0" y="329410"/>
                </a:lnTo>
                <a:lnTo>
                  <a:pt x="0" y="29375"/>
                </a:lnTo>
                <a:lnTo>
                  <a:pt x="577089" y="49593"/>
                </a:lnTo>
                <a:cubicBezTo>
                  <a:pt x="2152931" y="98068"/>
                  <a:pt x="3885480" y="124873"/>
                  <a:pt x="5704114" y="124873"/>
                </a:cubicBezTo>
                <a:cubicBezTo>
                  <a:pt x="7977407" y="124873"/>
                  <a:pt x="10116192" y="82990"/>
                  <a:pt x="11982536" y="9255"/>
                </a:cubicBezTo>
                <a:close/>
              </a:path>
            </a:pathLst>
          </a:custGeom>
          <a:solidFill>
            <a:schemeClr val="accent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zh-CN" altLang="en-US"/>
          </a:p>
        </p:txBody>
      </p:sp>
      <p:sp>
        <p:nvSpPr>
          <p:cNvPr id="31" name="矩形 30">
            <a:extLst>
              <a:ext uri="{FF2B5EF4-FFF2-40B4-BE49-F238E27FC236}">
                <a16:creationId xmlns:a16="http://schemas.microsoft.com/office/drawing/2014/main" id="{0C90F245-20B3-40EC-8E84-522263AE6563}"/>
              </a:ext>
            </a:extLst>
          </p:cNvPr>
          <p:cNvSpPr/>
          <p:nvPr/>
        </p:nvSpPr>
        <p:spPr>
          <a:xfrm>
            <a:off x="4067945" y="3688071"/>
            <a:ext cx="723252" cy="1620127"/>
          </a:xfrm>
          <a:prstGeom prst="rect">
            <a:avLst/>
          </a:prstGeom>
          <a:gradFill>
            <a:gsLst>
              <a:gs pos="17000">
                <a:schemeClr val="accent1">
                  <a:alpha val="37000"/>
                </a:schemeClr>
              </a:gs>
              <a:gs pos="80000">
                <a:schemeClr val="accent1">
                  <a:alpha val="0"/>
                </a:schemeClr>
              </a:gs>
            </a:gsLst>
            <a:lin ang="6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32" name="矩形 31">
            <a:extLst>
              <a:ext uri="{FF2B5EF4-FFF2-40B4-BE49-F238E27FC236}">
                <a16:creationId xmlns:a16="http://schemas.microsoft.com/office/drawing/2014/main" id="{DD6154EF-5941-470A-BCA3-CB153A377EC9}"/>
              </a:ext>
            </a:extLst>
          </p:cNvPr>
          <p:cNvSpPr/>
          <p:nvPr/>
        </p:nvSpPr>
        <p:spPr>
          <a:xfrm>
            <a:off x="4284399" y="3177448"/>
            <a:ext cx="1021246" cy="1021247"/>
          </a:xfrm>
          <a:prstGeom prst="rect">
            <a:avLst/>
          </a:prstGeom>
          <a:solidFill>
            <a:schemeClr val="accent1"/>
          </a:solidFill>
          <a:ln>
            <a:noFill/>
          </a:ln>
          <a:scene3d>
            <a:camera prst="isometricTopUp"/>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33" name="矩形 32">
            <a:extLst>
              <a:ext uri="{FF2B5EF4-FFF2-40B4-BE49-F238E27FC236}">
                <a16:creationId xmlns:a16="http://schemas.microsoft.com/office/drawing/2014/main" id="{B8E0E2C7-D41C-430A-953A-BAB8C6E04E42}"/>
              </a:ext>
            </a:extLst>
          </p:cNvPr>
          <p:cNvSpPr/>
          <p:nvPr/>
        </p:nvSpPr>
        <p:spPr>
          <a:xfrm flipH="1">
            <a:off x="4791197" y="3688071"/>
            <a:ext cx="723252" cy="1620127"/>
          </a:xfrm>
          <a:prstGeom prst="rect">
            <a:avLst/>
          </a:prstGeom>
          <a:gradFill>
            <a:gsLst>
              <a:gs pos="0">
                <a:schemeClr val="accent1">
                  <a:alpha val="24000"/>
                </a:schemeClr>
              </a:gs>
              <a:gs pos="80000">
                <a:schemeClr val="accent1">
                  <a:alpha val="0"/>
                </a:schemeClr>
              </a:gs>
            </a:gsLst>
            <a:lin ang="6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35" name="矩形 34">
            <a:extLst>
              <a:ext uri="{FF2B5EF4-FFF2-40B4-BE49-F238E27FC236}">
                <a16:creationId xmlns:a16="http://schemas.microsoft.com/office/drawing/2014/main" id="{3A2DF97B-0BCD-49B2-86C2-1825F50B4A86}"/>
              </a:ext>
            </a:extLst>
          </p:cNvPr>
          <p:cNvSpPr/>
          <p:nvPr/>
        </p:nvSpPr>
        <p:spPr>
          <a:xfrm>
            <a:off x="2816272" y="2970069"/>
            <a:ext cx="723252" cy="1620127"/>
          </a:xfrm>
          <a:prstGeom prst="rect">
            <a:avLst/>
          </a:prstGeom>
          <a:gradFill>
            <a:gsLst>
              <a:gs pos="17000">
                <a:schemeClr val="accent1">
                  <a:alpha val="37000"/>
                </a:schemeClr>
              </a:gs>
              <a:gs pos="80000">
                <a:schemeClr val="accent1">
                  <a:alpha val="0"/>
                </a:schemeClr>
              </a:gs>
            </a:gsLst>
            <a:lin ang="6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36" name="矩形 35">
            <a:extLst>
              <a:ext uri="{FF2B5EF4-FFF2-40B4-BE49-F238E27FC236}">
                <a16:creationId xmlns:a16="http://schemas.microsoft.com/office/drawing/2014/main" id="{7FB81448-1FBE-4106-AB80-61B6C00BFAC7}"/>
              </a:ext>
            </a:extLst>
          </p:cNvPr>
          <p:cNvSpPr/>
          <p:nvPr/>
        </p:nvSpPr>
        <p:spPr>
          <a:xfrm>
            <a:off x="3032726" y="2459446"/>
            <a:ext cx="1021246" cy="1021247"/>
          </a:xfrm>
          <a:prstGeom prst="rect">
            <a:avLst/>
          </a:prstGeom>
          <a:solidFill>
            <a:schemeClr val="accent1"/>
          </a:solidFill>
          <a:ln>
            <a:noFill/>
          </a:ln>
          <a:scene3d>
            <a:camera prst="isometricTopUp"/>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37" name="矩形 36">
            <a:extLst>
              <a:ext uri="{FF2B5EF4-FFF2-40B4-BE49-F238E27FC236}">
                <a16:creationId xmlns:a16="http://schemas.microsoft.com/office/drawing/2014/main" id="{3E70AF8B-5D4B-43CC-A83F-FCDDFDDB1087}"/>
              </a:ext>
            </a:extLst>
          </p:cNvPr>
          <p:cNvSpPr/>
          <p:nvPr/>
        </p:nvSpPr>
        <p:spPr>
          <a:xfrm flipH="1">
            <a:off x="3539524" y="2970069"/>
            <a:ext cx="723252" cy="1620127"/>
          </a:xfrm>
          <a:prstGeom prst="rect">
            <a:avLst/>
          </a:prstGeom>
          <a:gradFill>
            <a:gsLst>
              <a:gs pos="0">
                <a:schemeClr val="accent1">
                  <a:alpha val="24000"/>
                </a:schemeClr>
              </a:gs>
              <a:gs pos="80000">
                <a:schemeClr val="accent1">
                  <a:alpha val="0"/>
                </a:schemeClr>
              </a:gs>
            </a:gsLst>
            <a:lin ang="6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39" name="矩形 38">
            <a:extLst>
              <a:ext uri="{FF2B5EF4-FFF2-40B4-BE49-F238E27FC236}">
                <a16:creationId xmlns:a16="http://schemas.microsoft.com/office/drawing/2014/main" id="{2B588B32-40DA-4CF7-8825-1D7B21DBD28C}"/>
              </a:ext>
            </a:extLst>
          </p:cNvPr>
          <p:cNvSpPr/>
          <p:nvPr/>
        </p:nvSpPr>
        <p:spPr>
          <a:xfrm>
            <a:off x="1564599" y="2254640"/>
            <a:ext cx="723252" cy="1620127"/>
          </a:xfrm>
          <a:prstGeom prst="rect">
            <a:avLst/>
          </a:prstGeom>
          <a:gradFill>
            <a:gsLst>
              <a:gs pos="17000">
                <a:schemeClr val="accent1">
                  <a:alpha val="37000"/>
                </a:schemeClr>
              </a:gs>
              <a:gs pos="80000">
                <a:schemeClr val="accent1">
                  <a:alpha val="0"/>
                </a:schemeClr>
              </a:gs>
            </a:gsLst>
            <a:lin ang="6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40" name="矩形 39">
            <a:extLst>
              <a:ext uri="{FF2B5EF4-FFF2-40B4-BE49-F238E27FC236}">
                <a16:creationId xmlns:a16="http://schemas.microsoft.com/office/drawing/2014/main" id="{AEA39AA3-6DF7-4389-8A59-CA1D55301265}"/>
              </a:ext>
            </a:extLst>
          </p:cNvPr>
          <p:cNvSpPr/>
          <p:nvPr/>
        </p:nvSpPr>
        <p:spPr>
          <a:xfrm>
            <a:off x="1781053" y="1744017"/>
            <a:ext cx="1021246" cy="1021247"/>
          </a:xfrm>
          <a:prstGeom prst="rect">
            <a:avLst/>
          </a:prstGeom>
          <a:solidFill>
            <a:schemeClr val="accent1"/>
          </a:solidFill>
          <a:ln>
            <a:noFill/>
          </a:ln>
          <a:scene3d>
            <a:camera prst="isometricTopUp"/>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41" name="矩形 40">
            <a:extLst>
              <a:ext uri="{FF2B5EF4-FFF2-40B4-BE49-F238E27FC236}">
                <a16:creationId xmlns:a16="http://schemas.microsoft.com/office/drawing/2014/main" id="{BFB13DC5-4A2B-45F8-A23D-A28704F01219}"/>
              </a:ext>
            </a:extLst>
          </p:cNvPr>
          <p:cNvSpPr/>
          <p:nvPr/>
        </p:nvSpPr>
        <p:spPr>
          <a:xfrm flipH="1">
            <a:off x="2287851" y="2254640"/>
            <a:ext cx="723252" cy="1620127"/>
          </a:xfrm>
          <a:prstGeom prst="rect">
            <a:avLst/>
          </a:prstGeom>
          <a:gradFill>
            <a:gsLst>
              <a:gs pos="0">
                <a:schemeClr val="accent1">
                  <a:alpha val="24000"/>
                </a:schemeClr>
              </a:gs>
              <a:gs pos="80000">
                <a:schemeClr val="accent1">
                  <a:alpha val="0"/>
                </a:schemeClr>
              </a:gs>
            </a:gsLst>
            <a:lin ang="6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grpSp>
        <p:nvGrpSpPr>
          <p:cNvPr id="9" name="组合 8">
            <a:extLst>
              <a:ext uri="{FF2B5EF4-FFF2-40B4-BE49-F238E27FC236}">
                <a16:creationId xmlns:a16="http://schemas.microsoft.com/office/drawing/2014/main" id="{BDB5E0B0-794D-47BF-A3C4-A448AA0697C1}"/>
              </a:ext>
            </a:extLst>
          </p:cNvPr>
          <p:cNvGrpSpPr/>
          <p:nvPr/>
        </p:nvGrpSpPr>
        <p:grpSpPr>
          <a:xfrm>
            <a:off x="6677550" y="3104944"/>
            <a:ext cx="1446504" cy="2130750"/>
            <a:chOff x="6302414" y="3152303"/>
            <a:chExt cx="1446504" cy="2130750"/>
          </a:xfrm>
        </p:grpSpPr>
        <p:sp>
          <p:nvSpPr>
            <p:cNvPr id="46" name="矩形 45">
              <a:extLst>
                <a:ext uri="{FF2B5EF4-FFF2-40B4-BE49-F238E27FC236}">
                  <a16:creationId xmlns:a16="http://schemas.microsoft.com/office/drawing/2014/main" id="{8BCF8C13-F479-45AF-8D51-2F20EC7A206B}"/>
                </a:ext>
              </a:extLst>
            </p:cNvPr>
            <p:cNvSpPr/>
            <p:nvPr/>
          </p:nvSpPr>
          <p:spPr>
            <a:xfrm flipH="1">
              <a:off x="7025666" y="3662926"/>
              <a:ext cx="723252" cy="1620127"/>
            </a:xfrm>
            <a:prstGeom prst="rect">
              <a:avLst/>
            </a:prstGeom>
            <a:gradFill>
              <a:gsLst>
                <a:gs pos="17000">
                  <a:schemeClr val="accent1">
                    <a:alpha val="37000"/>
                  </a:schemeClr>
                </a:gs>
                <a:gs pos="80000">
                  <a:schemeClr val="accent1">
                    <a:alpha val="0"/>
                  </a:schemeClr>
                </a:gs>
              </a:gsLst>
              <a:lin ang="6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49" name="矩形 48">
              <a:extLst>
                <a:ext uri="{FF2B5EF4-FFF2-40B4-BE49-F238E27FC236}">
                  <a16:creationId xmlns:a16="http://schemas.microsoft.com/office/drawing/2014/main" id="{91D10601-0681-4262-8149-70161CA0C943}"/>
                </a:ext>
              </a:extLst>
            </p:cNvPr>
            <p:cNvSpPr/>
            <p:nvPr/>
          </p:nvSpPr>
          <p:spPr>
            <a:xfrm flipH="1">
              <a:off x="6511218" y="3152303"/>
              <a:ext cx="1021246" cy="1021247"/>
            </a:xfrm>
            <a:prstGeom prst="rect">
              <a:avLst/>
            </a:prstGeom>
            <a:solidFill>
              <a:schemeClr val="accent1"/>
            </a:solidFill>
            <a:ln>
              <a:noFill/>
            </a:ln>
            <a:scene3d>
              <a:camera prst="isometricTopUp"/>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53" name="矩形 52">
              <a:extLst>
                <a:ext uri="{FF2B5EF4-FFF2-40B4-BE49-F238E27FC236}">
                  <a16:creationId xmlns:a16="http://schemas.microsoft.com/office/drawing/2014/main" id="{C38C427B-36C9-4182-99D3-95E1DF6F5706}"/>
                </a:ext>
              </a:extLst>
            </p:cNvPr>
            <p:cNvSpPr/>
            <p:nvPr/>
          </p:nvSpPr>
          <p:spPr>
            <a:xfrm>
              <a:off x="6302414" y="3662926"/>
              <a:ext cx="723252" cy="1620127"/>
            </a:xfrm>
            <a:prstGeom prst="rect">
              <a:avLst/>
            </a:prstGeom>
            <a:gradFill>
              <a:gsLst>
                <a:gs pos="0">
                  <a:schemeClr val="accent1">
                    <a:alpha val="24000"/>
                  </a:schemeClr>
                </a:gs>
                <a:gs pos="80000">
                  <a:schemeClr val="accent1">
                    <a:alpha val="0"/>
                  </a:schemeClr>
                </a:gs>
              </a:gsLst>
              <a:lin ang="6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grpSp>
      <p:sp>
        <p:nvSpPr>
          <p:cNvPr id="56" name="矩形 55">
            <a:extLst>
              <a:ext uri="{FF2B5EF4-FFF2-40B4-BE49-F238E27FC236}">
                <a16:creationId xmlns:a16="http://schemas.microsoft.com/office/drawing/2014/main" id="{208C13F2-EF52-4429-AC4C-902961CD8558}"/>
              </a:ext>
            </a:extLst>
          </p:cNvPr>
          <p:cNvSpPr/>
          <p:nvPr/>
        </p:nvSpPr>
        <p:spPr>
          <a:xfrm flipH="1">
            <a:off x="8652476" y="2901188"/>
            <a:ext cx="723252" cy="1620127"/>
          </a:xfrm>
          <a:prstGeom prst="rect">
            <a:avLst/>
          </a:prstGeom>
          <a:gradFill>
            <a:gsLst>
              <a:gs pos="17000">
                <a:schemeClr val="accent1">
                  <a:alpha val="37000"/>
                </a:schemeClr>
              </a:gs>
              <a:gs pos="80000">
                <a:schemeClr val="accent1">
                  <a:alpha val="0"/>
                </a:schemeClr>
              </a:gs>
            </a:gsLst>
            <a:lin ang="6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59" name="矩形 58">
            <a:extLst>
              <a:ext uri="{FF2B5EF4-FFF2-40B4-BE49-F238E27FC236}">
                <a16:creationId xmlns:a16="http://schemas.microsoft.com/office/drawing/2014/main" id="{4AF536A0-4D1A-410E-845E-B0B399452BBB}"/>
              </a:ext>
            </a:extLst>
          </p:cNvPr>
          <p:cNvSpPr/>
          <p:nvPr/>
        </p:nvSpPr>
        <p:spPr>
          <a:xfrm flipH="1">
            <a:off x="8138028" y="2390565"/>
            <a:ext cx="1021246" cy="1021247"/>
          </a:xfrm>
          <a:prstGeom prst="rect">
            <a:avLst/>
          </a:prstGeom>
          <a:solidFill>
            <a:schemeClr val="accent1"/>
          </a:solidFill>
          <a:ln>
            <a:noFill/>
          </a:ln>
          <a:scene3d>
            <a:camera prst="isometricTopUp"/>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60" name="矩形 59">
            <a:extLst>
              <a:ext uri="{FF2B5EF4-FFF2-40B4-BE49-F238E27FC236}">
                <a16:creationId xmlns:a16="http://schemas.microsoft.com/office/drawing/2014/main" id="{EE02D564-CD0D-4FB6-969C-F6CEE6534E7E}"/>
              </a:ext>
            </a:extLst>
          </p:cNvPr>
          <p:cNvSpPr/>
          <p:nvPr/>
        </p:nvSpPr>
        <p:spPr>
          <a:xfrm>
            <a:off x="7929224" y="2901188"/>
            <a:ext cx="723252" cy="1620127"/>
          </a:xfrm>
          <a:prstGeom prst="rect">
            <a:avLst/>
          </a:prstGeom>
          <a:gradFill>
            <a:gsLst>
              <a:gs pos="0">
                <a:schemeClr val="accent1">
                  <a:alpha val="24000"/>
                </a:schemeClr>
              </a:gs>
              <a:gs pos="80000">
                <a:schemeClr val="accent1">
                  <a:alpha val="0"/>
                </a:schemeClr>
              </a:gs>
            </a:gsLst>
            <a:lin ang="6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62" name="矩形 61">
            <a:extLst>
              <a:ext uri="{FF2B5EF4-FFF2-40B4-BE49-F238E27FC236}">
                <a16:creationId xmlns:a16="http://schemas.microsoft.com/office/drawing/2014/main" id="{0608D541-88E4-46CD-B800-4245123FB9F9}"/>
              </a:ext>
            </a:extLst>
          </p:cNvPr>
          <p:cNvSpPr/>
          <p:nvPr/>
        </p:nvSpPr>
        <p:spPr>
          <a:xfrm flipH="1">
            <a:off x="9904149" y="2172778"/>
            <a:ext cx="723252" cy="1620127"/>
          </a:xfrm>
          <a:prstGeom prst="rect">
            <a:avLst/>
          </a:prstGeom>
          <a:gradFill>
            <a:gsLst>
              <a:gs pos="17000">
                <a:schemeClr val="accent1">
                  <a:alpha val="37000"/>
                </a:schemeClr>
              </a:gs>
              <a:gs pos="80000">
                <a:schemeClr val="accent1">
                  <a:alpha val="0"/>
                </a:schemeClr>
              </a:gs>
            </a:gsLst>
            <a:lin ang="6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63" name="矩形 62">
            <a:extLst>
              <a:ext uri="{FF2B5EF4-FFF2-40B4-BE49-F238E27FC236}">
                <a16:creationId xmlns:a16="http://schemas.microsoft.com/office/drawing/2014/main" id="{2EFDD8F6-C760-47B6-8771-10E79D5BF741}"/>
              </a:ext>
            </a:extLst>
          </p:cNvPr>
          <p:cNvSpPr/>
          <p:nvPr/>
        </p:nvSpPr>
        <p:spPr>
          <a:xfrm flipH="1">
            <a:off x="9389701" y="1662155"/>
            <a:ext cx="1021246" cy="1021247"/>
          </a:xfrm>
          <a:prstGeom prst="rect">
            <a:avLst/>
          </a:prstGeom>
          <a:solidFill>
            <a:schemeClr val="accent1"/>
          </a:solidFill>
          <a:ln>
            <a:noFill/>
          </a:ln>
          <a:scene3d>
            <a:camera prst="isometricTopUp"/>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64" name="矩形 63">
            <a:extLst>
              <a:ext uri="{FF2B5EF4-FFF2-40B4-BE49-F238E27FC236}">
                <a16:creationId xmlns:a16="http://schemas.microsoft.com/office/drawing/2014/main" id="{F5FF18D7-5D5F-47B8-99FE-3366FC7BFC37}"/>
              </a:ext>
            </a:extLst>
          </p:cNvPr>
          <p:cNvSpPr/>
          <p:nvPr/>
        </p:nvSpPr>
        <p:spPr>
          <a:xfrm>
            <a:off x="9180897" y="2172778"/>
            <a:ext cx="723252" cy="1620127"/>
          </a:xfrm>
          <a:prstGeom prst="rect">
            <a:avLst/>
          </a:prstGeom>
          <a:gradFill>
            <a:gsLst>
              <a:gs pos="0">
                <a:schemeClr val="accent1">
                  <a:alpha val="24000"/>
                </a:schemeClr>
              </a:gs>
              <a:gs pos="80000">
                <a:schemeClr val="accent1">
                  <a:alpha val="0"/>
                </a:schemeClr>
              </a:gs>
            </a:gsLst>
            <a:lin ang="6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8" name="文本框 7">
            <a:extLst>
              <a:ext uri="{FF2B5EF4-FFF2-40B4-BE49-F238E27FC236}">
                <a16:creationId xmlns:a16="http://schemas.microsoft.com/office/drawing/2014/main" id="{81AD76E9-A5DB-4D8F-B597-FB4BC0B42DE2}"/>
              </a:ext>
            </a:extLst>
          </p:cNvPr>
          <p:cNvSpPr txBox="1"/>
          <p:nvPr/>
        </p:nvSpPr>
        <p:spPr>
          <a:xfrm>
            <a:off x="1886254" y="2085197"/>
            <a:ext cx="692497" cy="276999"/>
          </a:xfrm>
          <a:prstGeom prst="rect">
            <a:avLst/>
          </a:prstGeom>
          <a:noFill/>
          <a:scene3d>
            <a:camera prst="isometricBottomDown"/>
            <a:lightRig rig="threePt" dir="t"/>
          </a:scene3d>
        </p:spPr>
        <p:txBody>
          <a:bodyPr wrap="none" lIns="0" tIns="0" rIns="0" bIns="0" rtlCol="0" anchor="t">
            <a:spAutoFit/>
          </a:bodyPr>
          <a:lstStyle/>
          <a:p>
            <a:pPr algn="l"/>
            <a:r>
              <a:rPr lang="zh-CN" altLang="en-US" dirty="0">
                <a:solidFill>
                  <a:schemeClr val="bg1"/>
                </a:solidFill>
                <a:latin typeface="+mj-ea"/>
                <a:ea typeface="+mj-ea"/>
              </a:rPr>
              <a:t>关键词</a:t>
            </a:r>
          </a:p>
        </p:txBody>
      </p:sp>
      <p:sp>
        <p:nvSpPr>
          <p:cNvPr id="79" name="文本框 78">
            <a:extLst>
              <a:ext uri="{FF2B5EF4-FFF2-40B4-BE49-F238E27FC236}">
                <a16:creationId xmlns:a16="http://schemas.microsoft.com/office/drawing/2014/main" id="{E79689B0-C715-436B-828B-544ACCA5EBED}"/>
              </a:ext>
            </a:extLst>
          </p:cNvPr>
          <p:cNvSpPr txBox="1"/>
          <p:nvPr/>
        </p:nvSpPr>
        <p:spPr>
          <a:xfrm>
            <a:off x="3187067" y="2831569"/>
            <a:ext cx="692497" cy="276999"/>
          </a:xfrm>
          <a:prstGeom prst="rect">
            <a:avLst/>
          </a:prstGeom>
          <a:noFill/>
          <a:scene3d>
            <a:camera prst="isometricBottomDown"/>
            <a:lightRig rig="threePt" dir="t"/>
          </a:scene3d>
        </p:spPr>
        <p:txBody>
          <a:bodyPr wrap="none" lIns="0" tIns="0" rIns="0" bIns="0" rtlCol="0" anchor="t">
            <a:spAutoFit/>
          </a:bodyPr>
          <a:lstStyle/>
          <a:p>
            <a:pPr algn="l"/>
            <a:r>
              <a:rPr lang="zh-CN" altLang="en-US" dirty="0">
                <a:solidFill>
                  <a:schemeClr val="bg1"/>
                </a:solidFill>
                <a:latin typeface="+mj-ea"/>
                <a:ea typeface="+mj-ea"/>
              </a:rPr>
              <a:t>关键词</a:t>
            </a:r>
          </a:p>
        </p:txBody>
      </p:sp>
      <p:sp>
        <p:nvSpPr>
          <p:cNvPr id="80" name="文本框 79">
            <a:extLst>
              <a:ext uri="{FF2B5EF4-FFF2-40B4-BE49-F238E27FC236}">
                <a16:creationId xmlns:a16="http://schemas.microsoft.com/office/drawing/2014/main" id="{4CE8B538-486A-4EAA-A944-F155AD68FA77}"/>
              </a:ext>
            </a:extLst>
          </p:cNvPr>
          <p:cNvSpPr txBox="1"/>
          <p:nvPr/>
        </p:nvSpPr>
        <p:spPr>
          <a:xfrm>
            <a:off x="4440253" y="3531183"/>
            <a:ext cx="692497" cy="276999"/>
          </a:xfrm>
          <a:prstGeom prst="rect">
            <a:avLst/>
          </a:prstGeom>
          <a:noFill/>
          <a:scene3d>
            <a:camera prst="isometricBottomDown"/>
            <a:lightRig rig="threePt" dir="t"/>
          </a:scene3d>
        </p:spPr>
        <p:txBody>
          <a:bodyPr wrap="none" lIns="0" tIns="0" rIns="0" bIns="0" rtlCol="0" anchor="t">
            <a:spAutoFit/>
          </a:bodyPr>
          <a:lstStyle/>
          <a:p>
            <a:pPr algn="l"/>
            <a:r>
              <a:rPr lang="zh-CN" altLang="en-US" dirty="0">
                <a:solidFill>
                  <a:schemeClr val="bg1"/>
                </a:solidFill>
                <a:latin typeface="+mj-ea"/>
                <a:ea typeface="+mj-ea"/>
              </a:rPr>
              <a:t>关键词</a:t>
            </a:r>
          </a:p>
        </p:txBody>
      </p:sp>
      <p:sp>
        <p:nvSpPr>
          <p:cNvPr id="81" name="文本框 80">
            <a:extLst>
              <a:ext uri="{FF2B5EF4-FFF2-40B4-BE49-F238E27FC236}">
                <a16:creationId xmlns:a16="http://schemas.microsoft.com/office/drawing/2014/main" id="{5CBB6F05-60AE-4306-B1D6-64BE7DDDACB0}"/>
              </a:ext>
            </a:extLst>
          </p:cNvPr>
          <p:cNvSpPr txBox="1"/>
          <p:nvPr/>
        </p:nvSpPr>
        <p:spPr>
          <a:xfrm>
            <a:off x="7032930" y="3458679"/>
            <a:ext cx="692497" cy="276999"/>
          </a:xfrm>
          <a:prstGeom prst="rect">
            <a:avLst/>
          </a:prstGeom>
          <a:noFill/>
          <a:scene3d>
            <a:camera prst="isometricTopUp"/>
            <a:lightRig rig="threePt" dir="t"/>
          </a:scene3d>
        </p:spPr>
        <p:txBody>
          <a:bodyPr wrap="none" lIns="0" tIns="0" rIns="0" bIns="0" rtlCol="0" anchor="t">
            <a:spAutoFit/>
          </a:bodyPr>
          <a:lstStyle/>
          <a:p>
            <a:pPr algn="l"/>
            <a:r>
              <a:rPr lang="zh-CN" altLang="en-US" dirty="0">
                <a:solidFill>
                  <a:schemeClr val="bg1"/>
                </a:solidFill>
                <a:latin typeface="+mj-ea"/>
                <a:ea typeface="+mj-ea"/>
              </a:rPr>
              <a:t>关键词</a:t>
            </a:r>
          </a:p>
        </p:txBody>
      </p:sp>
      <p:sp>
        <p:nvSpPr>
          <p:cNvPr id="83" name="文本框 82">
            <a:extLst>
              <a:ext uri="{FF2B5EF4-FFF2-40B4-BE49-F238E27FC236}">
                <a16:creationId xmlns:a16="http://schemas.microsoft.com/office/drawing/2014/main" id="{2800C8BB-3D97-429F-9FC3-80CABE9026AB}"/>
              </a:ext>
            </a:extLst>
          </p:cNvPr>
          <p:cNvSpPr txBox="1"/>
          <p:nvPr/>
        </p:nvSpPr>
        <p:spPr>
          <a:xfrm>
            <a:off x="8302402" y="2762687"/>
            <a:ext cx="692497" cy="276999"/>
          </a:xfrm>
          <a:prstGeom prst="rect">
            <a:avLst/>
          </a:prstGeom>
          <a:noFill/>
          <a:scene3d>
            <a:camera prst="isometricTopUp"/>
            <a:lightRig rig="threePt" dir="t"/>
          </a:scene3d>
        </p:spPr>
        <p:txBody>
          <a:bodyPr wrap="none" lIns="0" tIns="0" rIns="0" bIns="0" rtlCol="0" anchor="t">
            <a:spAutoFit/>
          </a:bodyPr>
          <a:lstStyle/>
          <a:p>
            <a:pPr algn="l"/>
            <a:r>
              <a:rPr lang="zh-CN" altLang="en-US" dirty="0">
                <a:solidFill>
                  <a:schemeClr val="bg1"/>
                </a:solidFill>
                <a:latin typeface="+mj-ea"/>
                <a:ea typeface="+mj-ea"/>
              </a:rPr>
              <a:t>关键词</a:t>
            </a:r>
          </a:p>
        </p:txBody>
      </p:sp>
      <p:sp>
        <p:nvSpPr>
          <p:cNvPr id="84" name="文本框 83">
            <a:extLst>
              <a:ext uri="{FF2B5EF4-FFF2-40B4-BE49-F238E27FC236}">
                <a16:creationId xmlns:a16="http://schemas.microsoft.com/office/drawing/2014/main" id="{9BAC6F24-1C6D-4FDD-87FF-B467C2635C65}"/>
              </a:ext>
            </a:extLst>
          </p:cNvPr>
          <p:cNvSpPr txBox="1"/>
          <p:nvPr/>
        </p:nvSpPr>
        <p:spPr>
          <a:xfrm>
            <a:off x="9557429" y="2003334"/>
            <a:ext cx="692497" cy="276999"/>
          </a:xfrm>
          <a:prstGeom prst="rect">
            <a:avLst/>
          </a:prstGeom>
          <a:noFill/>
          <a:scene3d>
            <a:camera prst="isometricTopUp"/>
            <a:lightRig rig="threePt" dir="t"/>
          </a:scene3d>
        </p:spPr>
        <p:txBody>
          <a:bodyPr wrap="none" lIns="0" tIns="0" rIns="0" bIns="0" rtlCol="0" anchor="t">
            <a:spAutoFit/>
          </a:bodyPr>
          <a:lstStyle/>
          <a:p>
            <a:pPr algn="l"/>
            <a:r>
              <a:rPr lang="zh-CN" altLang="en-US" dirty="0">
                <a:solidFill>
                  <a:schemeClr val="bg1"/>
                </a:solidFill>
                <a:latin typeface="+mj-ea"/>
                <a:ea typeface="+mj-ea"/>
              </a:rPr>
              <a:t>关键词</a:t>
            </a:r>
          </a:p>
        </p:txBody>
      </p:sp>
      <p:grpSp>
        <p:nvGrpSpPr>
          <p:cNvPr id="85" name="组合 84">
            <a:extLst>
              <a:ext uri="{FF2B5EF4-FFF2-40B4-BE49-F238E27FC236}">
                <a16:creationId xmlns:a16="http://schemas.microsoft.com/office/drawing/2014/main" id="{6B17E16E-258A-4D1E-866F-F85520781C29}"/>
              </a:ext>
            </a:extLst>
          </p:cNvPr>
          <p:cNvGrpSpPr/>
          <p:nvPr/>
        </p:nvGrpSpPr>
        <p:grpSpPr>
          <a:xfrm>
            <a:off x="5300950" y="3872193"/>
            <a:ext cx="1446504" cy="2130750"/>
            <a:chOff x="6302414" y="3152303"/>
            <a:chExt cx="1446504" cy="2130750"/>
          </a:xfrm>
        </p:grpSpPr>
        <p:sp>
          <p:nvSpPr>
            <p:cNvPr id="86" name="矩形 85">
              <a:extLst>
                <a:ext uri="{FF2B5EF4-FFF2-40B4-BE49-F238E27FC236}">
                  <a16:creationId xmlns:a16="http://schemas.microsoft.com/office/drawing/2014/main" id="{C417473A-0F63-4587-A764-7E955FCCB346}"/>
                </a:ext>
              </a:extLst>
            </p:cNvPr>
            <p:cNvSpPr/>
            <p:nvPr/>
          </p:nvSpPr>
          <p:spPr>
            <a:xfrm flipH="1">
              <a:off x="7025666" y="3662926"/>
              <a:ext cx="723252" cy="1620127"/>
            </a:xfrm>
            <a:prstGeom prst="rect">
              <a:avLst/>
            </a:prstGeom>
            <a:gradFill>
              <a:gsLst>
                <a:gs pos="17000">
                  <a:schemeClr val="accent1">
                    <a:alpha val="37000"/>
                  </a:schemeClr>
                </a:gs>
                <a:gs pos="80000">
                  <a:schemeClr val="accent1">
                    <a:alpha val="0"/>
                  </a:schemeClr>
                </a:gs>
              </a:gsLst>
              <a:lin ang="6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87" name="矩形 86">
              <a:extLst>
                <a:ext uri="{FF2B5EF4-FFF2-40B4-BE49-F238E27FC236}">
                  <a16:creationId xmlns:a16="http://schemas.microsoft.com/office/drawing/2014/main" id="{785B5036-BA67-48EE-B080-D8AFDD3AAB53}"/>
                </a:ext>
              </a:extLst>
            </p:cNvPr>
            <p:cNvSpPr/>
            <p:nvPr/>
          </p:nvSpPr>
          <p:spPr>
            <a:xfrm flipH="1">
              <a:off x="6511218" y="3152303"/>
              <a:ext cx="1021246" cy="1021247"/>
            </a:xfrm>
            <a:prstGeom prst="rect">
              <a:avLst/>
            </a:prstGeom>
            <a:solidFill>
              <a:schemeClr val="accent1"/>
            </a:solidFill>
            <a:ln>
              <a:noFill/>
            </a:ln>
            <a:scene3d>
              <a:camera prst="isometricTopUp"/>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88" name="矩形 87">
              <a:extLst>
                <a:ext uri="{FF2B5EF4-FFF2-40B4-BE49-F238E27FC236}">
                  <a16:creationId xmlns:a16="http://schemas.microsoft.com/office/drawing/2014/main" id="{1723B9CC-0466-4444-9D0D-D3F43BC2BC2B}"/>
                </a:ext>
              </a:extLst>
            </p:cNvPr>
            <p:cNvSpPr/>
            <p:nvPr/>
          </p:nvSpPr>
          <p:spPr>
            <a:xfrm>
              <a:off x="6302414" y="3662926"/>
              <a:ext cx="723252" cy="1620127"/>
            </a:xfrm>
            <a:prstGeom prst="rect">
              <a:avLst/>
            </a:prstGeom>
            <a:gradFill>
              <a:gsLst>
                <a:gs pos="0">
                  <a:schemeClr val="accent1">
                    <a:alpha val="24000"/>
                  </a:schemeClr>
                </a:gs>
                <a:gs pos="80000">
                  <a:schemeClr val="accent1">
                    <a:alpha val="0"/>
                  </a:schemeClr>
                </a:gs>
              </a:gsLst>
              <a:lin ang="6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grpSp>
      <p:sp>
        <p:nvSpPr>
          <p:cNvPr id="93" name="文本框 92">
            <a:extLst>
              <a:ext uri="{FF2B5EF4-FFF2-40B4-BE49-F238E27FC236}">
                <a16:creationId xmlns:a16="http://schemas.microsoft.com/office/drawing/2014/main" id="{E2320E4E-F103-469A-9457-CCAC61315A61}"/>
              </a:ext>
            </a:extLst>
          </p:cNvPr>
          <p:cNvSpPr txBox="1"/>
          <p:nvPr/>
        </p:nvSpPr>
        <p:spPr>
          <a:xfrm>
            <a:off x="5720842" y="4244316"/>
            <a:ext cx="692497" cy="276999"/>
          </a:xfrm>
          <a:prstGeom prst="rect">
            <a:avLst/>
          </a:prstGeom>
          <a:noFill/>
          <a:scene3d>
            <a:camera prst="perspectiveRelaxedModerately" fov="7200000">
              <a:rot lat="19200000" lon="0" rev="0"/>
            </a:camera>
            <a:lightRig rig="threePt" dir="t"/>
          </a:scene3d>
        </p:spPr>
        <p:txBody>
          <a:bodyPr wrap="none" lIns="0" tIns="0" rIns="0" bIns="0" rtlCol="0" anchor="t">
            <a:spAutoFit/>
          </a:bodyPr>
          <a:lstStyle/>
          <a:p>
            <a:pPr algn="l"/>
            <a:r>
              <a:rPr lang="zh-CN" altLang="en-US" dirty="0">
                <a:solidFill>
                  <a:schemeClr val="bg1"/>
                </a:solidFill>
                <a:latin typeface="+mj-ea"/>
                <a:ea typeface="+mj-ea"/>
              </a:rPr>
              <a:t>关键词</a:t>
            </a:r>
          </a:p>
        </p:txBody>
      </p:sp>
      <p:sp>
        <p:nvSpPr>
          <p:cNvPr id="94" name="文本框 93">
            <a:extLst>
              <a:ext uri="{FF2B5EF4-FFF2-40B4-BE49-F238E27FC236}">
                <a16:creationId xmlns:a16="http://schemas.microsoft.com/office/drawing/2014/main" id="{FFED2417-AF0B-407C-AAC5-352514C7E5B0}"/>
              </a:ext>
            </a:extLst>
          </p:cNvPr>
          <p:cNvSpPr txBox="1"/>
          <p:nvPr/>
        </p:nvSpPr>
        <p:spPr>
          <a:xfrm>
            <a:off x="4676775" y="1968497"/>
            <a:ext cx="2838450" cy="387286"/>
          </a:xfrm>
          <a:prstGeom prst="rect">
            <a:avLst/>
          </a:prstGeom>
          <a:noFill/>
        </p:spPr>
        <p:txBody>
          <a:bodyPr wrap="square" lIns="0" tIns="0" rIns="0" bIns="0" rtlCol="0" anchor="t">
            <a:spAutoFit/>
          </a:bodyPr>
          <a:lstStyle/>
          <a:p>
            <a:pPr algn="ctr">
              <a:lnSpc>
                <a:spcPct val="130000"/>
              </a:lnSpc>
            </a:pPr>
            <a:r>
              <a:rPr lang="en-US" altLang="zh-CN" sz="1000" b="0" dirty="0">
                <a:solidFill>
                  <a:schemeClr val="tx1">
                    <a:lumMod val="75000"/>
                    <a:lumOff val="25000"/>
                  </a:schemeClr>
                </a:solidFill>
                <a:effectLst/>
                <a:latin typeface="+mn-ea"/>
              </a:rPr>
              <a:t>Lorem ipsum dolor sit amet, consectetur adipisicing elit, sed do eiusmod tempor</a:t>
            </a:r>
            <a:endParaRPr lang="zh-CN" altLang="en-US" sz="1000" b="0" dirty="0">
              <a:solidFill>
                <a:schemeClr val="tx1">
                  <a:lumMod val="75000"/>
                  <a:lumOff val="25000"/>
                </a:schemeClr>
              </a:solidFill>
              <a:effectLst/>
              <a:latin typeface="+mn-ea"/>
            </a:endParaRPr>
          </a:p>
        </p:txBody>
      </p:sp>
      <p:sp>
        <p:nvSpPr>
          <p:cNvPr id="95" name="文本框 94">
            <a:extLst>
              <a:ext uri="{FF2B5EF4-FFF2-40B4-BE49-F238E27FC236}">
                <a16:creationId xmlns:a16="http://schemas.microsoft.com/office/drawing/2014/main" id="{124E7CA8-5F46-4CFC-81BD-0C20F00CDD18}"/>
              </a:ext>
            </a:extLst>
          </p:cNvPr>
          <p:cNvSpPr txBox="1"/>
          <p:nvPr/>
        </p:nvSpPr>
        <p:spPr>
          <a:xfrm>
            <a:off x="5454799" y="1591454"/>
            <a:ext cx="1282402" cy="307777"/>
          </a:xfrm>
          <a:prstGeom prst="rect">
            <a:avLst/>
          </a:prstGeom>
          <a:noFill/>
        </p:spPr>
        <p:txBody>
          <a:bodyPr wrap="none" lIns="0" tIns="0" rIns="0" bIns="0" rtlCol="0" anchor="t">
            <a:spAutoFit/>
          </a:bodyPr>
          <a:lstStyle/>
          <a:p>
            <a:pPr algn="ctr"/>
            <a:r>
              <a:rPr lang="zh-CN" altLang="en-US" sz="2000" dirty="0">
                <a:solidFill>
                  <a:schemeClr val="accent1"/>
                </a:solidFill>
                <a:latin typeface="+mj-ea"/>
                <a:ea typeface="+mj-ea"/>
              </a:rPr>
              <a:t>关键词标题</a:t>
            </a:r>
          </a:p>
        </p:txBody>
      </p:sp>
    </p:spTree>
    <p:custDataLst>
      <p:tags r:id="rId2"/>
    </p:custDataLst>
    <p:extLst>
      <p:ext uri="{BB962C8B-B14F-4D97-AF65-F5344CB8AC3E}">
        <p14:creationId xmlns:p14="http://schemas.microsoft.com/office/powerpoint/2010/main" val="3222139468"/>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流程图: 手动输入 21">
            <a:extLst>
              <a:ext uri="{FF2B5EF4-FFF2-40B4-BE49-F238E27FC236}">
                <a16:creationId xmlns:a16="http://schemas.microsoft.com/office/drawing/2014/main" id="{5921EF71-65F2-4813-A97C-2730575406B0}"/>
              </a:ext>
            </a:extLst>
          </p:cNvPr>
          <p:cNvSpPr/>
          <p:nvPr/>
        </p:nvSpPr>
        <p:spPr>
          <a:xfrm rot="10800000" flipH="1">
            <a:off x="152400" y="0"/>
            <a:ext cx="12039600" cy="4572000"/>
          </a:xfrm>
          <a:prstGeom prst="flowChartManualInput">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p>
        </p:txBody>
      </p:sp>
      <p:sp>
        <p:nvSpPr>
          <p:cNvPr id="2" name="流程图: 手动输入 1">
            <a:extLst>
              <a:ext uri="{FF2B5EF4-FFF2-40B4-BE49-F238E27FC236}">
                <a16:creationId xmlns:a16="http://schemas.microsoft.com/office/drawing/2014/main" id="{4AE86C8E-12AF-410D-BE10-350B5FCFC72B}"/>
              </a:ext>
            </a:extLst>
          </p:cNvPr>
          <p:cNvSpPr/>
          <p:nvPr/>
        </p:nvSpPr>
        <p:spPr>
          <a:xfrm rot="10800000">
            <a:off x="0" y="-1"/>
            <a:ext cx="12192000" cy="4889737"/>
          </a:xfrm>
          <a:prstGeom prst="flowChartManualInpu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p>
        </p:txBody>
      </p:sp>
      <p:sp>
        <p:nvSpPr>
          <p:cNvPr id="11" name="文本框 10">
            <a:extLst>
              <a:ext uri="{FF2B5EF4-FFF2-40B4-BE49-F238E27FC236}">
                <a16:creationId xmlns:a16="http://schemas.microsoft.com/office/drawing/2014/main" id="{E4393356-E9A7-46D9-B5F5-0D21EC991A29}"/>
              </a:ext>
            </a:extLst>
          </p:cNvPr>
          <p:cNvSpPr txBox="1"/>
          <p:nvPr/>
        </p:nvSpPr>
        <p:spPr>
          <a:xfrm>
            <a:off x="1941017" y="1812068"/>
            <a:ext cx="8309967" cy="1107996"/>
          </a:xfrm>
          <a:prstGeom prst="rect">
            <a:avLst/>
          </a:prstGeom>
          <a:noFill/>
        </p:spPr>
        <p:txBody>
          <a:bodyPr wrap="none" lIns="0" tIns="0" rIns="0" bIns="0" rtlCol="0" anchor="t">
            <a:spAutoFit/>
          </a:bodyPr>
          <a:lstStyle/>
          <a:p>
            <a:pPr algn="ctr"/>
            <a:r>
              <a:rPr lang="zh-CN" altLang="en-US" sz="7200" dirty="0">
                <a:solidFill>
                  <a:schemeClr val="bg1"/>
                </a:solidFill>
                <a:latin typeface="+mj-ea"/>
                <a:ea typeface="+mj-ea"/>
              </a:rPr>
              <a:t>输入你的封面大标题</a:t>
            </a:r>
          </a:p>
        </p:txBody>
      </p:sp>
      <p:sp>
        <p:nvSpPr>
          <p:cNvPr id="12" name="文本框 11">
            <a:extLst>
              <a:ext uri="{FF2B5EF4-FFF2-40B4-BE49-F238E27FC236}">
                <a16:creationId xmlns:a16="http://schemas.microsoft.com/office/drawing/2014/main" id="{08D1ED60-C0E7-408E-A5AA-59B489440FCB}"/>
              </a:ext>
            </a:extLst>
          </p:cNvPr>
          <p:cNvSpPr txBox="1"/>
          <p:nvPr/>
        </p:nvSpPr>
        <p:spPr>
          <a:xfrm>
            <a:off x="4095451" y="1274144"/>
            <a:ext cx="4001095" cy="369332"/>
          </a:xfrm>
          <a:prstGeom prst="rect">
            <a:avLst/>
          </a:prstGeom>
          <a:noFill/>
        </p:spPr>
        <p:txBody>
          <a:bodyPr wrap="none" lIns="0" tIns="0" rIns="0" bIns="0" rtlCol="0" anchor="t">
            <a:spAutoFit/>
          </a:bodyPr>
          <a:lstStyle/>
          <a:p>
            <a:pPr algn="ctr"/>
            <a:r>
              <a:rPr lang="zh-CN" altLang="en-US" sz="2400" dirty="0">
                <a:solidFill>
                  <a:schemeClr val="bg1"/>
                </a:solidFill>
                <a:latin typeface="+mn-ea"/>
              </a:rPr>
              <a:t>输入你的副标题或大标题英文</a:t>
            </a:r>
          </a:p>
        </p:txBody>
      </p:sp>
      <p:cxnSp>
        <p:nvCxnSpPr>
          <p:cNvPr id="14" name="直接连接符 13">
            <a:extLst>
              <a:ext uri="{FF2B5EF4-FFF2-40B4-BE49-F238E27FC236}">
                <a16:creationId xmlns:a16="http://schemas.microsoft.com/office/drawing/2014/main" id="{99FDF5DC-EAFA-4C3B-B052-660243EB047F}"/>
              </a:ext>
            </a:extLst>
          </p:cNvPr>
          <p:cNvCxnSpPr/>
          <p:nvPr/>
        </p:nvCxnSpPr>
        <p:spPr>
          <a:xfrm flipH="1">
            <a:off x="2029968" y="1464596"/>
            <a:ext cx="1901952"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 name="直接连接符 14">
            <a:extLst>
              <a:ext uri="{FF2B5EF4-FFF2-40B4-BE49-F238E27FC236}">
                <a16:creationId xmlns:a16="http://schemas.microsoft.com/office/drawing/2014/main" id="{C6CC629A-E754-4728-BB95-563C56597B63}"/>
              </a:ext>
            </a:extLst>
          </p:cNvPr>
          <p:cNvCxnSpPr/>
          <p:nvPr/>
        </p:nvCxnSpPr>
        <p:spPr>
          <a:xfrm flipH="1">
            <a:off x="8284464" y="1464596"/>
            <a:ext cx="1901952"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grpSp>
        <p:nvGrpSpPr>
          <p:cNvPr id="18" name="组合 17">
            <a:extLst>
              <a:ext uri="{FF2B5EF4-FFF2-40B4-BE49-F238E27FC236}">
                <a16:creationId xmlns:a16="http://schemas.microsoft.com/office/drawing/2014/main" id="{FC799265-AC15-410F-82A2-679AB60B288F}"/>
              </a:ext>
            </a:extLst>
          </p:cNvPr>
          <p:cNvGrpSpPr/>
          <p:nvPr/>
        </p:nvGrpSpPr>
        <p:grpSpPr>
          <a:xfrm>
            <a:off x="4331702" y="3267535"/>
            <a:ext cx="1475214" cy="246221"/>
            <a:chOff x="4095451" y="4640913"/>
            <a:chExt cx="1475214" cy="246221"/>
          </a:xfrm>
        </p:grpSpPr>
        <p:sp>
          <p:nvSpPr>
            <p:cNvPr id="16" name="矩形 15">
              <a:extLst>
                <a:ext uri="{FF2B5EF4-FFF2-40B4-BE49-F238E27FC236}">
                  <a16:creationId xmlns:a16="http://schemas.microsoft.com/office/drawing/2014/main" id="{74C493E7-1B47-4349-BC5B-BF3163490795}"/>
                </a:ext>
              </a:extLst>
            </p:cNvPr>
            <p:cNvSpPr/>
            <p:nvPr/>
          </p:nvSpPr>
          <p:spPr>
            <a:xfrm>
              <a:off x="4095451" y="4672584"/>
              <a:ext cx="164592" cy="1645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solidFill>
                  <a:schemeClr val="bg1"/>
                </a:solidFill>
              </a:endParaRPr>
            </a:p>
          </p:txBody>
        </p:sp>
        <p:sp>
          <p:nvSpPr>
            <p:cNvPr id="17" name="文本框 16">
              <a:extLst>
                <a:ext uri="{FF2B5EF4-FFF2-40B4-BE49-F238E27FC236}">
                  <a16:creationId xmlns:a16="http://schemas.microsoft.com/office/drawing/2014/main" id="{B804F6AA-7656-4EF8-84F0-3B3FB5CF0922}"/>
                </a:ext>
              </a:extLst>
            </p:cNvPr>
            <p:cNvSpPr txBox="1"/>
            <p:nvPr/>
          </p:nvSpPr>
          <p:spPr>
            <a:xfrm>
              <a:off x="4408487" y="4640913"/>
              <a:ext cx="1162178" cy="246221"/>
            </a:xfrm>
            <a:prstGeom prst="rect">
              <a:avLst/>
            </a:prstGeom>
            <a:noFill/>
          </p:spPr>
          <p:txBody>
            <a:bodyPr wrap="none" lIns="0" tIns="0" rIns="0" bIns="0" rtlCol="0" anchor="t">
              <a:spAutoFit/>
            </a:bodyPr>
            <a:lstStyle/>
            <a:p>
              <a:r>
                <a:rPr lang="zh-CN" altLang="en-US" sz="1600" dirty="0">
                  <a:solidFill>
                    <a:schemeClr val="bg1"/>
                  </a:solidFill>
                  <a:latin typeface="+mn-ea"/>
                </a:rPr>
                <a:t>汇报人：</a:t>
              </a:r>
              <a:r>
                <a:rPr lang="en-US" altLang="zh-CN" sz="1600" dirty="0">
                  <a:solidFill>
                    <a:schemeClr val="bg1"/>
                  </a:solidFill>
                  <a:latin typeface="+mn-ea"/>
                </a:rPr>
                <a:t>xxx</a:t>
              </a:r>
              <a:endParaRPr lang="zh-CN" altLang="en-US" sz="1600" dirty="0">
                <a:solidFill>
                  <a:schemeClr val="bg1"/>
                </a:solidFill>
                <a:latin typeface="+mn-ea"/>
              </a:endParaRPr>
            </a:p>
          </p:txBody>
        </p:sp>
      </p:grpSp>
      <p:grpSp>
        <p:nvGrpSpPr>
          <p:cNvPr id="19" name="组合 18">
            <a:extLst>
              <a:ext uri="{FF2B5EF4-FFF2-40B4-BE49-F238E27FC236}">
                <a16:creationId xmlns:a16="http://schemas.microsoft.com/office/drawing/2014/main" id="{482B1619-178E-45D1-BC39-C5F4314075B6}"/>
              </a:ext>
            </a:extLst>
          </p:cNvPr>
          <p:cNvGrpSpPr/>
          <p:nvPr/>
        </p:nvGrpSpPr>
        <p:grpSpPr>
          <a:xfrm>
            <a:off x="6590270" y="3267535"/>
            <a:ext cx="1270029" cy="246221"/>
            <a:chOff x="4095451" y="4640913"/>
            <a:chExt cx="1270029" cy="246221"/>
          </a:xfrm>
        </p:grpSpPr>
        <p:sp>
          <p:nvSpPr>
            <p:cNvPr id="20" name="矩形 19">
              <a:extLst>
                <a:ext uri="{FF2B5EF4-FFF2-40B4-BE49-F238E27FC236}">
                  <a16:creationId xmlns:a16="http://schemas.microsoft.com/office/drawing/2014/main" id="{3A1AE345-38CE-49BE-9E58-2C20078777A3}"/>
                </a:ext>
              </a:extLst>
            </p:cNvPr>
            <p:cNvSpPr/>
            <p:nvPr/>
          </p:nvSpPr>
          <p:spPr>
            <a:xfrm>
              <a:off x="4095451" y="4672584"/>
              <a:ext cx="164592" cy="1645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solidFill>
                  <a:schemeClr val="bg1"/>
                </a:solidFill>
              </a:endParaRPr>
            </a:p>
          </p:txBody>
        </p:sp>
        <p:sp>
          <p:nvSpPr>
            <p:cNvPr id="21" name="文本框 20">
              <a:extLst>
                <a:ext uri="{FF2B5EF4-FFF2-40B4-BE49-F238E27FC236}">
                  <a16:creationId xmlns:a16="http://schemas.microsoft.com/office/drawing/2014/main" id="{FCC3031D-C171-43E7-B549-82FC96054817}"/>
                </a:ext>
              </a:extLst>
            </p:cNvPr>
            <p:cNvSpPr txBox="1"/>
            <p:nvPr/>
          </p:nvSpPr>
          <p:spPr>
            <a:xfrm>
              <a:off x="4408487" y="4640913"/>
              <a:ext cx="956993" cy="246221"/>
            </a:xfrm>
            <a:prstGeom prst="rect">
              <a:avLst/>
            </a:prstGeom>
            <a:noFill/>
          </p:spPr>
          <p:txBody>
            <a:bodyPr wrap="none" lIns="0" tIns="0" rIns="0" bIns="0" rtlCol="0" anchor="t">
              <a:spAutoFit/>
            </a:bodyPr>
            <a:lstStyle/>
            <a:p>
              <a:r>
                <a:rPr lang="zh-CN" altLang="en-US" sz="1600" dirty="0">
                  <a:solidFill>
                    <a:schemeClr val="bg1"/>
                  </a:solidFill>
                  <a:latin typeface="+mn-ea"/>
                </a:rPr>
                <a:t>单位：</a:t>
              </a:r>
              <a:r>
                <a:rPr lang="en-US" altLang="zh-CN" sz="1600" dirty="0">
                  <a:solidFill>
                    <a:schemeClr val="bg1"/>
                  </a:solidFill>
                  <a:latin typeface="+mn-ea"/>
                </a:rPr>
                <a:t>xxx</a:t>
              </a:r>
              <a:endParaRPr lang="zh-CN" altLang="en-US" sz="1600" dirty="0">
                <a:solidFill>
                  <a:schemeClr val="bg1"/>
                </a:solidFill>
                <a:latin typeface="+mn-ea"/>
              </a:endParaRPr>
            </a:p>
          </p:txBody>
        </p:sp>
      </p:grpSp>
      <p:cxnSp>
        <p:nvCxnSpPr>
          <p:cNvPr id="23" name="直接连接符 22">
            <a:extLst>
              <a:ext uri="{FF2B5EF4-FFF2-40B4-BE49-F238E27FC236}">
                <a16:creationId xmlns:a16="http://schemas.microsoft.com/office/drawing/2014/main" id="{CE4614EF-B88F-4347-B526-58ECE7F96194}"/>
              </a:ext>
            </a:extLst>
          </p:cNvPr>
          <p:cNvCxnSpPr>
            <a:cxnSpLocks/>
          </p:cNvCxnSpPr>
          <p:nvPr/>
        </p:nvCxnSpPr>
        <p:spPr>
          <a:xfrm flipH="1">
            <a:off x="2029968" y="2988596"/>
            <a:ext cx="8156448"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30294969"/>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3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任意多边形: 形状 1">
            <a:extLst>
              <a:ext uri="{FF2B5EF4-FFF2-40B4-BE49-F238E27FC236}">
                <a16:creationId xmlns:a16="http://schemas.microsoft.com/office/drawing/2014/main" id="{F771BD1F-D1F8-4317-9293-B9A6AFDE667F}"/>
              </a:ext>
            </a:extLst>
          </p:cNvPr>
          <p:cNvSpPr/>
          <p:nvPr/>
        </p:nvSpPr>
        <p:spPr>
          <a:xfrm>
            <a:off x="2441389" y="1638300"/>
            <a:ext cx="7614021" cy="4419600"/>
          </a:xfrm>
          <a:custGeom>
            <a:avLst/>
            <a:gdLst>
              <a:gd name="connsiteX0" fmla="*/ 7614021 w 7614021"/>
              <a:gd name="connsiteY0" fmla="*/ 0 h 2662602"/>
              <a:gd name="connsiteX1" fmla="*/ 7614021 w 7614021"/>
              <a:gd name="connsiteY1" fmla="*/ 2662602 h 2662602"/>
              <a:gd name="connsiteX2" fmla="*/ 7296225 w 7614021"/>
              <a:gd name="connsiteY2" fmla="*/ 2576069 h 2662602"/>
              <a:gd name="connsiteX3" fmla="*/ 3807010 w 7614021"/>
              <a:gd name="connsiteY3" fmla="*/ 2154141 h 2662602"/>
              <a:gd name="connsiteX4" fmla="*/ 317795 w 7614021"/>
              <a:gd name="connsiteY4" fmla="*/ 2576069 h 2662602"/>
              <a:gd name="connsiteX5" fmla="*/ 0 w 7614021"/>
              <a:gd name="connsiteY5" fmla="*/ 2662601 h 2662602"/>
              <a:gd name="connsiteX6" fmla="*/ 0 w 7614021"/>
              <a:gd name="connsiteY6" fmla="*/ 0 h 2662602"/>
              <a:gd name="connsiteX7" fmla="*/ 317795 w 7614021"/>
              <a:gd name="connsiteY7" fmla="*/ 86532 h 2662602"/>
              <a:gd name="connsiteX8" fmla="*/ 3807010 w 7614021"/>
              <a:gd name="connsiteY8" fmla="*/ 508460 h 2662602"/>
              <a:gd name="connsiteX9" fmla="*/ 7296225 w 7614021"/>
              <a:gd name="connsiteY9" fmla="*/ 86532 h 26626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14021" h="2662602">
                <a:moveTo>
                  <a:pt x="7614021" y="0"/>
                </a:moveTo>
                <a:lnTo>
                  <a:pt x="7614021" y="2662602"/>
                </a:lnTo>
                <a:lnTo>
                  <a:pt x="7296225" y="2576069"/>
                </a:lnTo>
                <a:cubicBezTo>
                  <a:pt x="6240685" y="2305672"/>
                  <a:pt x="5057134" y="2154141"/>
                  <a:pt x="3807010" y="2154141"/>
                </a:cubicBezTo>
                <a:cubicBezTo>
                  <a:pt x="2556887" y="2154141"/>
                  <a:pt x="1373335" y="2305672"/>
                  <a:pt x="317795" y="2576069"/>
                </a:cubicBezTo>
                <a:lnTo>
                  <a:pt x="0" y="2662601"/>
                </a:lnTo>
                <a:lnTo>
                  <a:pt x="0" y="0"/>
                </a:lnTo>
                <a:lnTo>
                  <a:pt x="317795" y="86532"/>
                </a:lnTo>
                <a:cubicBezTo>
                  <a:pt x="1373335" y="356930"/>
                  <a:pt x="2556887" y="508460"/>
                  <a:pt x="3807010" y="508460"/>
                </a:cubicBezTo>
                <a:cubicBezTo>
                  <a:pt x="5057134" y="508460"/>
                  <a:pt x="6240685" y="356930"/>
                  <a:pt x="7296225" y="86532"/>
                </a:cubicBezTo>
                <a:close/>
              </a:path>
            </a:pathLst>
          </a:custGeom>
          <a:gradFill>
            <a:gsLst>
              <a:gs pos="0">
                <a:schemeClr val="accent1">
                  <a:alpha val="0"/>
                </a:schemeClr>
              </a:gs>
              <a:gs pos="50000">
                <a:schemeClr val="accent1">
                  <a:alpha val="6000"/>
                </a:schemeClr>
              </a:gs>
              <a:gs pos="100000">
                <a:schemeClr val="accent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p>
        </p:txBody>
      </p:sp>
      <p:sp>
        <p:nvSpPr>
          <p:cNvPr id="3" name="矩形: 圆角 2">
            <a:extLst>
              <a:ext uri="{FF2B5EF4-FFF2-40B4-BE49-F238E27FC236}">
                <a16:creationId xmlns:a16="http://schemas.microsoft.com/office/drawing/2014/main" id="{3F6954F3-D49D-44AD-A327-163A512E976D}"/>
              </a:ext>
            </a:extLst>
          </p:cNvPr>
          <p:cNvSpPr/>
          <p:nvPr/>
        </p:nvSpPr>
        <p:spPr>
          <a:xfrm rot="2700000">
            <a:off x="3170572" y="2877452"/>
            <a:ext cx="1750796" cy="1750796"/>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 name="矩形: 圆角 3">
            <a:extLst>
              <a:ext uri="{FF2B5EF4-FFF2-40B4-BE49-F238E27FC236}">
                <a16:creationId xmlns:a16="http://schemas.microsoft.com/office/drawing/2014/main" id="{1697310D-FA8E-4CBA-97D0-C95D70B640A7}"/>
              </a:ext>
            </a:extLst>
          </p:cNvPr>
          <p:cNvSpPr>
            <a:spLocks noChangeAspect="1"/>
          </p:cNvSpPr>
          <p:nvPr/>
        </p:nvSpPr>
        <p:spPr>
          <a:xfrm rot="2700000">
            <a:off x="7271232" y="2908703"/>
            <a:ext cx="1749600" cy="1749600"/>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 name="文本框 4">
            <a:extLst>
              <a:ext uri="{FF2B5EF4-FFF2-40B4-BE49-F238E27FC236}">
                <a16:creationId xmlns:a16="http://schemas.microsoft.com/office/drawing/2014/main" id="{A2896CC6-1878-43F3-81AD-26A88944C944}"/>
              </a:ext>
            </a:extLst>
          </p:cNvPr>
          <p:cNvSpPr txBox="1"/>
          <p:nvPr/>
        </p:nvSpPr>
        <p:spPr>
          <a:xfrm>
            <a:off x="3248315" y="3171021"/>
            <a:ext cx="1595309" cy="954107"/>
          </a:xfrm>
          <a:prstGeom prst="rect">
            <a:avLst/>
          </a:prstGeom>
          <a:noFill/>
        </p:spPr>
        <p:txBody>
          <a:bodyPr wrap="none" rtlCol="0">
            <a:spAutoFit/>
          </a:bodyPr>
          <a:lstStyle/>
          <a:p>
            <a:pPr algn="ctr"/>
            <a:r>
              <a:rPr lang="zh-CN" altLang="en-US" sz="2800" dirty="0">
                <a:solidFill>
                  <a:schemeClr val="bg1"/>
                </a:solidFill>
                <a:latin typeface="+mj-ea"/>
                <a:ea typeface="+mj-ea"/>
              </a:rPr>
              <a:t>调研</a:t>
            </a:r>
            <a:endParaRPr lang="en-US" altLang="zh-CN" sz="2800" dirty="0">
              <a:solidFill>
                <a:schemeClr val="bg1"/>
              </a:solidFill>
              <a:latin typeface="+mj-ea"/>
              <a:ea typeface="+mj-ea"/>
            </a:endParaRPr>
          </a:p>
          <a:p>
            <a:pPr algn="ctr"/>
            <a:r>
              <a:rPr lang="zh-CN" altLang="en-US" sz="2800" dirty="0">
                <a:solidFill>
                  <a:schemeClr val="bg1"/>
                </a:solidFill>
                <a:latin typeface="+mj-ea"/>
                <a:ea typeface="+mj-ea"/>
              </a:rPr>
              <a:t>准备阶段</a:t>
            </a:r>
          </a:p>
        </p:txBody>
      </p:sp>
      <p:sp>
        <p:nvSpPr>
          <p:cNvPr id="6" name="文本框 5">
            <a:extLst>
              <a:ext uri="{FF2B5EF4-FFF2-40B4-BE49-F238E27FC236}">
                <a16:creationId xmlns:a16="http://schemas.microsoft.com/office/drawing/2014/main" id="{9F91E92F-1B4A-4466-8E11-6C103011942F}"/>
              </a:ext>
            </a:extLst>
          </p:cNvPr>
          <p:cNvSpPr txBox="1"/>
          <p:nvPr/>
        </p:nvSpPr>
        <p:spPr>
          <a:xfrm>
            <a:off x="7348377" y="3171021"/>
            <a:ext cx="1595309" cy="954107"/>
          </a:xfrm>
          <a:prstGeom prst="rect">
            <a:avLst/>
          </a:prstGeom>
          <a:noFill/>
        </p:spPr>
        <p:txBody>
          <a:bodyPr wrap="none" rtlCol="0">
            <a:spAutoFit/>
          </a:bodyPr>
          <a:lstStyle/>
          <a:p>
            <a:pPr algn="ctr"/>
            <a:r>
              <a:rPr lang="zh-CN" altLang="en-US" sz="2800" dirty="0">
                <a:solidFill>
                  <a:schemeClr val="bg1"/>
                </a:solidFill>
                <a:latin typeface="+mj-ea"/>
                <a:ea typeface="+mj-ea"/>
              </a:rPr>
              <a:t>正式</a:t>
            </a:r>
            <a:endParaRPr lang="en-US" altLang="zh-CN" sz="2800" dirty="0">
              <a:solidFill>
                <a:schemeClr val="bg1"/>
              </a:solidFill>
              <a:latin typeface="+mj-ea"/>
              <a:ea typeface="+mj-ea"/>
            </a:endParaRPr>
          </a:p>
          <a:p>
            <a:pPr algn="ctr"/>
            <a:r>
              <a:rPr lang="zh-CN" altLang="en-US" sz="2800" dirty="0">
                <a:solidFill>
                  <a:schemeClr val="bg1"/>
                </a:solidFill>
                <a:latin typeface="+mj-ea"/>
                <a:ea typeface="+mj-ea"/>
              </a:rPr>
              <a:t>调研阶段</a:t>
            </a:r>
          </a:p>
        </p:txBody>
      </p:sp>
      <p:sp>
        <p:nvSpPr>
          <p:cNvPr id="7" name="椭圆 6">
            <a:extLst>
              <a:ext uri="{FF2B5EF4-FFF2-40B4-BE49-F238E27FC236}">
                <a16:creationId xmlns:a16="http://schemas.microsoft.com/office/drawing/2014/main" id="{72A00B1D-AEF4-4567-A814-EB6ADE4D763E}"/>
              </a:ext>
            </a:extLst>
          </p:cNvPr>
          <p:cNvSpPr/>
          <p:nvPr/>
        </p:nvSpPr>
        <p:spPr>
          <a:xfrm>
            <a:off x="2435281" y="1863780"/>
            <a:ext cx="3968640" cy="3968640"/>
          </a:xfrm>
          <a:prstGeom prst="ellipse">
            <a:avLst/>
          </a:prstGeom>
          <a:noFill/>
          <a:ln w="28575">
            <a:gradFill>
              <a:gsLst>
                <a:gs pos="0">
                  <a:schemeClr val="accent1"/>
                </a:gs>
                <a:gs pos="17000">
                  <a:schemeClr val="accent1">
                    <a:alpha val="0"/>
                  </a:schemeClr>
                </a:gs>
              </a:gsLst>
              <a:lin ang="0" scaled="0"/>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dirty="0"/>
          </a:p>
        </p:txBody>
      </p:sp>
      <p:sp>
        <p:nvSpPr>
          <p:cNvPr id="8" name="椭圆 7">
            <a:extLst>
              <a:ext uri="{FF2B5EF4-FFF2-40B4-BE49-F238E27FC236}">
                <a16:creationId xmlns:a16="http://schemas.microsoft.com/office/drawing/2014/main" id="{10985DFF-5FF9-49AC-B3AE-DC0ABAD44F06}"/>
              </a:ext>
            </a:extLst>
          </p:cNvPr>
          <p:cNvSpPr/>
          <p:nvPr/>
        </p:nvSpPr>
        <p:spPr>
          <a:xfrm>
            <a:off x="2671956" y="2625037"/>
            <a:ext cx="225130" cy="225130"/>
          </a:xfrm>
          <a:prstGeom prst="ellipse">
            <a:avLst/>
          </a:prstGeom>
          <a:solidFill>
            <a:schemeClr val="bg1"/>
          </a:solidFill>
          <a:ln w="22225">
            <a:solidFill>
              <a:schemeClr val="accent1"/>
            </a:solidFill>
          </a:ln>
          <a:effectLst>
            <a:outerShdw blurRad="152400" sx="102000" sy="102000" algn="ctr" rotWithShape="0">
              <a:schemeClr val="accent1">
                <a:lumMod val="50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p>
        </p:txBody>
      </p:sp>
      <p:sp>
        <p:nvSpPr>
          <p:cNvPr id="9" name="椭圆 8">
            <a:extLst>
              <a:ext uri="{FF2B5EF4-FFF2-40B4-BE49-F238E27FC236}">
                <a16:creationId xmlns:a16="http://schemas.microsoft.com/office/drawing/2014/main" id="{6EDB2CC4-C55A-4586-9414-02BE4611A8F6}"/>
              </a:ext>
            </a:extLst>
          </p:cNvPr>
          <p:cNvSpPr/>
          <p:nvPr/>
        </p:nvSpPr>
        <p:spPr>
          <a:xfrm>
            <a:off x="2671956" y="4849640"/>
            <a:ext cx="225130" cy="225130"/>
          </a:xfrm>
          <a:prstGeom prst="ellipse">
            <a:avLst/>
          </a:prstGeom>
          <a:solidFill>
            <a:schemeClr val="bg1"/>
          </a:solidFill>
          <a:ln w="22225">
            <a:solidFill>
              <a:schemeClr val="accent1"/>
            </a:solidFill>
          </a:ln>
          <a:effectLst>
            <a:outerShdw blurRad="152400" sx="102000" sy="102000" algn="ctr" rotWithShape="0">
              <a:schemeClr val="accent1">
                <a:lumMod val="50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p>
        </p:txBody>
      </p:sp>
      <p:sp>
        <p:nvSpPr>
          <p:cNvPr id="10" name="椭圆 9">
            <a:extLst>
              <a:ext uri="{FF2B5EF4-FFF2-40B4-BE49-F238E27FC236}">
                <a16:creationId xmlns:a16="http://schemas.microsoft.com/office/drawing/2014/main" id="{03732164-5C0A-4D19-B45F-AC1D68A5F913}"/>
              </a:ext>
            </a:extLst>
          </p:cNvPr>
          <p:cNvSpPr/>
          <p:nvPr/>
        </p:nvSpPr>
        <p:spPr>
          <a:xfrm>
            <a:off x="2322715" y="3735535"/>
            <a:ext cx="225130" cy="225130"/>
          </a:xfrm>
          <a:prstGeom prst="ellipse">
            <a:avLst/>
          </a:prstGeom>
          <a:solidFill>
            <a:schemeClr val="bg1"/>
          </a:solidFill>
          <a:ln w="22225">
            <a:solidFill>
              <a:schemeClr val="accent1"/>
            </a:solidFill>
          </a:ln>
          <a:effectLst>
            <a:outerShdw blurRad="152400" sx="102000" sy="102000" algn="ctr" rotWithShape="0">
              <a:schemeClr val="accent1">
                <a:lumMod val="50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p>
        </p:txBody>
      </p:sp>
      <p:sp>
        <p:nvSpPr>
          <p:cNvPr id="11" name="文本框 10">
            <a:extLst>
              <a:ext uri="{FF2B5EF4-FFF2-40B4-BE49-F238E27FC236}">
                <a16:creationId xmlns:a16="http://schemas.microsoft.com/office/drawing/2014/main" id="{0434C0D1-C337-4C5C-BFFA-C5756C981F9D}"/>
              </a:ext>
            </a:extLst>
          </p:cNvPr>
          <p:cNvSpPr txBox="1"/>
          <p:nvPr/>
        </p:nvSpPr>
        <p:spPr>
          <a:xfrm>
            <a:off x="1009650" y="2546350"/>
            <a:ext cx="1569660" cy="369332"/>
          </a:xfrm>
          <a:prstGeom prst="rect">
            <a:avLst/>
          </a:prstGeom>
          <a:noFill/>
        </p:spPr>
        <p:txBody>
          <a:bodyPr wrap="none" rtlCol="0">
            <a:spAutoFit/>
          </a:bodyPr>
          <a:lstStyle/>
          <a:p>
            <a:r>
              <a:rPr lang="zh-CN" altLang="en-US" dirty="0">
                <a:solidFill>
                  <a:schemeClr val="accent1"/>
                </a:solidFill>
              </a:rPr>
              <a:t>初步情况分析</a:t>
            </a:r>
          </a:p>
        </p:txBody>
      </p:sp>
      <p:sp>
        <p:nvSpPr>
          <p:cNvPr id="12" name="文本框 11">
            <a:extLst>
              <a:ext uri="{FF2B5EF4-FFF2-40B4-BE49-F238E27FC236}">
                <a16:creationId xmlns:a16="http://schemas.microsoft.com/office/drawing/2014/main" id="{1F8E73F6-5E63-46A4-9557-64106710EEEC}"/>
              </a:ext>
            </a:extLst>
          </p:cNvPr>
          <p:cNvSpPr txBox="1"/>
          <p:nvPr/>
        </p:nvSpPr>
        <p:spPr>
          <a:xfrm>
            <a:off x="843076" y="3663434"/>
            <a:ext cx="1338828" cy="369332"/>
          </a:xfrm>
          <a:prstGeom prst="rect">
            <a:avLst/>
          </a:prstGeom>
          <a:noFill/>
        </p:spPr>
        <p:txBody>
          <a:bodyPr wrap="none" rtlCol="0">
            <a:spAutoFit/>
          </a:bodyPr>
          <a:lstStyle/>
          <a:p>
            <a:r>
              <a:rPr lang="zh-CN" altLang="en-US" dirty="0">
                <a:solidFill>
                  <a:schemeClr val="accent1"/>
                </a:solidFill>
              </a:rPr>
              <a:t>非正式调研</a:t>
            </a:r>
          </a:p>
        </p:txBody>
      </p:sp>
      <p:sp>
        <p:nvSpPr>
          <p:cNvPr id="13" name="文本框 12">
            <a:extLst>
              <a:ext uri="{FF2B5EF4-FFF2-40B4-BE49-F238E27FC236}">
                <a16:creationId xmlns:a16="http://schemas.microsoft.com/office/drawing/2014/main" id="{FD4475D4-E0AC-4D43-A16A-506C922051CC}"/>
              </a:ext>
            </a:extLst>
          </p:cNvPr>
          <p:cNvSpPr txBox="1"/>
          <p:nvPr/>
        </p:nvSpPr>
        <p:spPr>
          <a:xfrm>
            <a:off x="1009650" y="4789759"/>
            <a:ext cx="1569660" cy="369332"/>
          </a:xfrm>
          <a:prstGeom prst="rect">
            <a:avLst/>
          </a:prstGeom>
          <a:noFill/>
        </p:spPr>
        <p:txBody>
          <a:bodyPr wrap="none" rtlCol="0">
            <a:spAutoFit/>
          </a:bodyPr>
          <a:lstStyle/>
          <a:p>
            <a:r>
              <a:rPr lang="zh-CN" altLang="en-US" dirty="0">
                <a:solidFill>
                  <a:schemeClr val="accent1"/>
                </a:solidFill>
              </a:rPr>
              <a:t>锁定调研目标</a:t>
            </a:r>
          </a:p>
        </p:txBody>
      </p:sp>
      <p:sp>
        <p:nvSpPr>
          <p:cNvPr id="14" name="椭圆 13">
            <a:extLst>
              <a:ext uri="{FF2B5EF4-FFF2-40B4-BE49-F238E27FC236}">
                <a16:creationId xmlns:a16="http://schemas.microsoft.com/office/drawing/2014/main" id="{48F27F54-4525-4475-8503-C89B33335E55}"/>
              </a:ext>
            </a:extLst>
          </p:cNvPr>
          <p:cNvSpPr/>
          <p:nvPr/>
        </p:nvSpPr>
        <p:spPr>
          <a:xfrm flipH="1">
            <a:off x="5787359" y="1863780"/>
            <a:ext cx="3968640" cy="3968640"/>
          </a:xfrm>
          <a:prstGeom prst="ellipse">
            <a:avLst/>
          </a:prstGeom>
          <a:noFill/>
          <a:ln w="28575">
            <a:gradFill>
              <a:gsLst>
                <a:gs pos="0">
                  <a:schemeClr val="accent1"/>
                </a:gs>
                <a:gs pos="17000">
                  <a:schemeClr val="accent1">
                    <a:alpha val="0"/>
                  </a:schemeClr>
                </a:gs>
              </a:gsLst>
              <a:lin ang="0" scaled="0"/>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dirty="0"/>
          </a:p>
        </p:txBody>
      </p:sp>
      <p:sp>
        <p:nvSpPr>
          <p:cNvPr id="15" name="椭圆 14">
            <a:extLst>
              <a:ext uri="{FF2B5EF4-FFF2-40B4-BE49-F238E27FC236}">
                <a16:creationId xmlns:a16="http://schemas.microsoft.com/office/drawing/2014/main" id="{033153DF-48A8-48FB-B667-570E0EF2B168}"/>
              </a:ext>
            </a:extLst>
          </p:cNvPr>
          <p:cNvSpPr/>
          <p:nvPr/>
        </p:nvSpPr>
        <p:spPr>
          <a:xfrm>
            <a:off x="9282794" y="2625037"/>
            <a:ext cx="225130" cy="225130"/>
          </a:xfrm>
          <a:prstGeom prst="ellipse">
            <a:avLst/>
          </a:prstGeom>
          <a:solidFill>
            <a:schemeClr val="bg1"/>
          </a:solidFill>
          <a:ln w="22225">
            <a:solidFill>
              <a:schemeClr val="accent1"/>
            </a:solidFill>
          </a:ln>
          <a:effectLst>
            <a:outerShdw blurRad="152400" sx="102000" sy="102000" algn="ctr" rotWithShape="0">
              <a:schemeClr val="accent1">
                <a:lumMod val="50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p>
        </p:txBody>
      </p:sp>
      <p:sp>
        <p:nvSpPr>
          <p:cNvPr id="16" name="椭圆 15">
            <a:extLst>
              <a:ext uri="{FF2B5EF4-FFF2-40B4-BE49-F238E27FC236}">
                <a16:creationId xmlns:a16="http://schemas.microsoft.com/office/drawing/2014/main" id="{C11B31AB-B163-4BB3-B528-93F722A7E68C}"/>
              </a:ext>
            </a:extLst>
          </p:cNvPr>
          <p:cNvSpPr/>
          <p:nvPr/>
        </p:nvSpPr>
        <p:spPr>
          <a:xfrm>
            <a:off x="9638352" y="3737339"/>
            <a:ext cx="225130" cy="225130"/>
          </a:xfrm>
          <a:prstGeom prst="ellipse">
            <a:avLst/>
          </a:prstGeom>
          <a:solidFill>
            <a:schemeClr val="bg1"/>
          </a:solidFill>
          <a:ln w="22225">
            <a:solidFill>
              <a:schemeClr val="accent1"/>
            </a:solidFill>
          </a:ln>
          <a:effectLst>
            <a:outerShdw blurRad="152400" sx="102000" sy="102000" algn="ctr" rotWithShape="0">
              <a:schemeClr val="accent1">
                <a:lumMod val="50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p>
        </p:txBody>
      </p:sp>
      <p:sp>
        <p:nvSpPr>
          <p:cNvPr id="17" name="椭圆 16">
            <a:extLst>
              <a:ext uri="{FF2B5EF4-FFF2-40B4-BE49-F238E27FC236}">
                <a16:creationId xmlns:a16="http://schemas.microsoft.com/office/drawing/2014/main" id="{446C5622-E101-4DA3-8F17-A67F316AF2AE}"/>
              </a:ext>
            </a:extLst>
          </p:cNvPr>
          <p:cNvSpPr/>
          <p:nvPr/>
        </p:nvSpPr>
        <p:spPr>
          <a:xfrm>
            <a:off x="9305180" y="4849640"/>
            <a:ext cx="225130" cy="225130"/>
          </a:xfrm>
          <a:prstGeom prst="ellipse">
            <a:avLst/>
          </a:prstGeom>
          <a:solidFill>
            <a:schemeClr val="bg1"/>
          </a:solidFill>
          <a:ln w="22225">
            <a:solidFill>
              <a:schemeClr val="accent1"/>
            </a:solidFill>
          </a:ln>
          <a:effectLst>
            <a:outerShdw blurRad="152400" sx="102000" sy="102000" algn="ctr" rotWithShape="0">
              <a:schemeClr val="accent1">
                <a:lumMod val="50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p>
        </p:txBody>
      </p:sp>
      <p:sp>
        <p:nvSpPr>
          <p:cNvPr id="18" name="文本框 17">
            <a:extLst>
              <a:ext uri="{FF2B5EF4-FFF2-40B4-BE49-F238E27FC236}">
                <a16:creationId xmlns:a16="http://schemas.microsoft.com/office/drawing/2014/main" id="{267E0CEB-8EE1-48BF-B441-153A3E0D38AE}"/>
              </a:ext>
            </a:extLst>
          </p:cNvPr>
          <p:cNvSpPr txBox="1"/>
          <p:nvPr/>
        </p:nvSpPr>
        <p:spPr>
          <a:xfrm>
            <a:off x="9655079" y="2546350"/>
            <a:ext cx="1778051" cy="369332"/>
          </a:xfrm>
          <a:prstGeom prst="rect">
            <a:avLst/>
          </a:prstGeom>
          <a:noFill/>
        </p:spPr>
        <p:txBody>
          <a:bodyPr wrap="none" rtlCol="0">
            <a:spAutoFit/>
          </a:bodyPr>
          <a:lstStyle/>
          <a:p>
            <a:r>
              <a:rPr lang="zh-CN" altLang="en-US" dirty="0">
                <a:solidFill>
                  <a:schemeClr val="accent1"/>
                </a:solidFill>
              </a:rPr>
              <a:t>相关信息的来源</a:t>
            </a:r>
          </a:p>
        </p:txBody>
      </p:sp>
      <p:sp>
        <p:nvSpPr>
          <p:cNvPr id="19" name="文本框 18">
            <a:extLst>
              <a:ext uri="{FF2B5EF4-FFF2-40B4-BE49-F238E27FC236}">
                <a16:creationId xmlns:a16="http://schemas.microsoft.com/office/drawing/2014/main" id="{ACBDCA6F-45B8-4655-8262-781C87A6CCCF}"/>
              </a:ext>
            </a:extLst>
          </p:cNvPr>
          <p:cNvSpPr txBox="1"/>
          <p:nvPr/>
        </p:nvSpPr>
        <p:spPr>
          <a:xfrm>
            <a:off x="9888143" y="3663434"/>
            <a:ext cx="1550424" cy="646331"/>
          </a:xfrm>
          <a:prstGeom prst="rect">
            <a:avLst/>
          </a:prstGeom>
          <a:noFill/>
        </p:spPr>
        <p:txBody>
          <a:bodyPr wrap="none" rtlCol="0">
            <a:spAutoFit/>
          </a:bodyPr>
          <a:lstStyle/>
          <a:p>
            <a:r>
              <a:rPr lang="zh-CN" altLang="en-US" dirty="0">
                <a:solidFill>
                  <a:schemeClr val="accent1"/>
                </a:solidFill>
              </a:rPr>
              <a:t>选择抽样方法</a:t>
            </a:r>
            <a:endParaRPr lang="en-US" altLang="zh-CN" dirty="0">
              <a:solidFill>
                <a:schemeClr val="accent1"/>
              </a:solidFill>
            </a:endParaRPr>
          </a:p>
          <a:p>
            <a:r>
              <a:rPr lang="zh-CN" altLang="en-US" dirty="0">
                <a:solidFill>
                  <a:schemeClr val="accent1"/>
                </a:solidFill>
              </a:rPr>
              <a:t>设计调查问</a:t>
            </a:r>
          </a:p>
        </p:txBody>
      </p:sp>
      <p:sp>
        <p:nvSpPr>
          <p:cNvPr id="20" name="文本框 19">
            <a:extLst>
              <a:ext uri="{FF2B5EF4-FFF2-40B4-BE49-F238E27FC236}">
                <a16:creationId xmlns:a16="http://schemas.microsoft.com/office/drawing/2014/main" id="{EE7294EB-8A20-4D81-BBF7-CD819C3D4104}"/>
              </a:ext>
            </a:extLst>
          </p:cNvPr>
          <p:cNvSpPr txBox="1"/>
          <p:nvPr/>
        </p:nvSpPr>
        <p:spPr>
          <a:xfrm>
            <a:off x="9655079" y="4787437"/>
            <a:ext cx="1095172" cy="369332"/>
          </a:xfrm>
          <a:prstGeom prst="rect">
            <a:avLst/>
          </a:prstGeom>
          <a:noFill/>
        </p:spPr>
        <p:txBody>
          <a:bodyPr wrap="none" rtlCol="0">
            <a:spAutoFit/>
          </a:bodyPr>
          <a:lstStyle/>
          <a:p>
            <a:r>
              <a:rPr lang="zh-CN" altLang="en-US" dirty="0">
                <a:solidFill>
                  <a:schemeClr val="accent1"/>
                </a:solidFill>
              </a:rPr>
              <a:t>实地调查</a:t>
            </a:r>
          </a:p>
        </p:txBody>
      </p:sp>
      <p:sp>
        <p:nvSpPr>
          <p:cNvPr id="21" name="任意多边形: 形状 20">
            <a:extLst>
              <a:ext uri="{FF2B5EF4-FFF2-40B4-BE49-F238E27FC236}">
                <a16:creationId xmlns:a16="http://schemas.microsoft.com/office/drawing/2014/main" id="{FA87AB6C-4460-4247-BCC0-9EFEF4ADC6FC}"/>
              </a:ext>
            </a:extLst>
          </p:cNvPr>
          <p:cNvSpPr/>
          <p:nvPr/>
        </p:nvSpPr>
        <p:spPr>
          <a:xfrm flipV="1">
            <a:off x="5423881" y="3314700"/>
            <a:ext cx="1344238" cy="841670"/>
          </a:xfrm>
          <a:custGeom>
            <a:avLst/>
            <a:gdLst>
              <a:gd name="connsiteX0" fmla="*/ 0 w 1953895"/>
              <a:gd name="connsiteY0" fmla="*/ 1223397 h 1223397"/>
              <a:gd name="connsiteX1" fmla="*/ 1459671 w 1953895"/>
              <a:gd name="connsiteY1" fmla="*/ 855097 h 1223397"/>
              <a:gd name="connsiteX2" fmla="*/ 1337945 w 1953895"/>
              <a:gd name="connsiteY2" fmla="*/ 1182122 h 1223397"/>
              <a:gd name="connsiteX3" fmla="*/ 1951575 w 1953895"/>
              <a:gd name="connsiteY3" fmla="*/ 612775 h 1223397"/>
              <a:gd name="connsiteX4" fmla="*/ 1953895 w 1953895"/>
              <a:gd name="connsiteY4" fmla="*/ 612775 h 1223397"/>
              <a:gd name="connsiteX5" fmla="*/ 1952735 w 1953895"/>
              <a:gd name="connsiteY5" fmla="*/ 611699 h 1223397"/>
              <a:gd name="connsiteX6" fmla="*/ 1953895 w 1953895"/>
              <a:gd name="connsiteY6" fmla="*/ 610622 h 1223397"/>
              <a:gd name="connsiteX7" fmla="*/ 1951575 w 1953895"/>
              <a:gd name="connsiteY7" fmla="*/ 610622 h 1223397"/>
              <a:gd name="connsiteX8" fmla="*/ 1337945 w 1953895"/>
              <a:gd name="connsiteY8" fmla="*/ 41275 h 1223397"/>
              <a:gd name="connsiteX9" fmla="*/ 1459671 w 1953895"/>
              <a:gd name="connsiteY9" fmla="*/ 368300 h 1223397"/>
              <a:gd name="connsiteX10" fmla="*/ 0 w 1953895"/>
              <a:gd name="connsiteY10" fmla="*/ 0 h 1223397"/>
              <a:gd name="connsiteX11" fmla="*/ 0 w 1953895"/>
              <a:gd name="connsiteY11" fmla="*/ 610622 h 1223397"/>
              <a:gd name="connsiteX12" fmla="*/ 0 w 1953895"/>
              <a:gd name="connsiteY12" fmla="*/ 612775 h 1223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953895" h="1223397">
                <a:moveTo>
                  <a:pt x="0" y="1223397"/>
                </a:moveTo>
                <a:cubicBezTo>
                  <a:pt x="413532" y="929180"/>
                  <a:pt x="992164" y="857214"/>
                  <a:pt x="1459671" y="855097"/>
                </a:cubicBezTo>
                <a:lnTo>
                  <a:pt x="1337945" y="1182122"/>
                </a:lnTo>
                <a:lnTo>
                  <a:pt x="1951575" y="612775"/>
                </a:lnTo>
                <a:lnTo>
                  <a:pt x="1953895" y="612775"/>
                </a:lnTo>
                <a:lnTo>
                  <a:pt x="1952735" y="611699"/>
                </a:lnTo>
                <a:lnTo>
                  <a:pt x="1953895" y="610622"/>
                </a:lnTo>
                <a:lnTo>
                  <a:pt x="1951575" y="610622"/>
                </a:lnTo>
                <a:lnTo>
                  <a:pt x="1337945" y="41275"/>
                </a:lnTo>
                <a:lnTo>
                  <a:pt x="1459671" y="368300"/>
                </a:lnTo>
                <a:cubicBezTo>
                  <a:pt x="992164" y="366183"/>
                  <a:pt x="413532" y="294217"/>
                  <a:pt x="0" y="0"/>
                </a:cubicBezTo>
                <a:lnTo>
                  <a:pt x="0" y="610622"/>
                </a:lnTo>
                <a:lnTo>
                  <a:pt x="0" y="612775"/>
                </a:lnTo>
                <a:close/>
              </a:path>
            </a:pathLst>
          </a:custGeom>
          <a:gradFill>
            <a:gsLst>
              <a:gs pos="10000">
                <a:schemeClr val="accent1">
                  <a:alpha val="0"/>
                </a:schemeClr>
              </a:gs>
              <a:gs pos="100000">
                <a:schemeClr val="accent1">
                  <a:alpha val="58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p>
        </p:txBody>
      </p:sp>
    </p:spTree>
    <p:extLst>
      <p:ext uri="{BB962C8B-B14F-4D97-AF65-F5344CB8AC3E}">
        <p14:creationId xmlns:p14="http://schemas.microsoft.com/office/powerpoint/2010/main" val="1776487683"/>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3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组合 5">
            <a:extLst>
              <a:ext uri="{FF2B5EF4-FFF2-40B4-BE49-F238E27FC236}">
                <a16:creationId xmlns:a16="http://schemas.microsoft.com/office/drawing/2014/main" id="{21D3EC4A-BEF4-4608-B304-7F7636787834}"/>
              </a:ext>
            </a:extLst>
          </p:cNvPr>
          <p:cNvGrpSpPr/>
          <p:nvPr/>
        </p:nvGrpSpPr>
        <p:grpSpPr>
          <a:xfrm>
            <a:off x="1428017" y="2090555"/>
            <a:ext cx="1811216" cy="1867998"/>
            <a:chOff x="2013438" y="2362932"/>
            <a:chExt cx="1811216" cy="1867998"/>
          </a:xfrm>
        </p:grpSpPr>
        <p:sp>
          <p:nvSpPr>
            <p:cNvPr id="4" name="椭圆 3">
              <a:extLst>
                <a:ext uri="{FF2B5EF4-FFF2-40B4-BE49-F238E27FC236}">
                  <a16:creationId xmlns:a16="http://schemas.microsoft.com/office/drawing/2014/main" id="{EE3EDB8D-1604-4985-9DBD-76FDBD28BA14}"/>
                </a:ext>
              </a:extLst>
            </p:cNvPr>
            <p:cNvSpPr/>
            <p:nvPr/>
          </p:nvSpPr>
          <p:spPr>
            <a:xfrm>
              <a:off x="2013438" y="3685807"/>
              <a:ext cx="1811216" cy="545123"/>
            </a:xfrm>
            <a:prstGeom prst="ellips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3" name="椭圆 2">
              <a:extLst>
                <a:ext uri="{FF2B5EF4-FFF2-40B4-BE49-F238E27FC236}">
                  <a16:creationId xmlns:a16="http://schemas.microsoft.com/office/drawing/2014/main" id="{1EFBA3C5-EC6C-4273-84A7-5969C241964D}"/>
                </a:ext>
              </a:extLst>
            </p:cNvPr>
            <p:cNvSpPr/>
            <p:nvPr/>
          </p:nvSpPr>
          <p:spPr>
            <a:xfrm>
              <a:off x="2013438" y="3642945"/>
              <a:ext cx="1811216" cy="545123"/>
            </a:xfrm>
            <a:prstGeom prst="ellipse">
              <a:avLst/>
            </a:prstGeom>
            <a:gradFill>
              <a:gsLst>
                <a:gs pos="1000">
                  <a:schemeClr val="accent1">
                    <a:lumMod val="20000"/>
                    <a:lumOff val="80000"/>
                  </a:schemeClr>
                </a:gs>
                <a:gs pos="100000">
                  <a:schemeClr val="accent1">
                    <a:lumMod val="60000"/>
                    <a:lumOff val="40000"/>
                  </a:schemeClr>
                </a:gs>
              </a:gsLst>
              <a:path path="circle">
                <a:fillToRect r="100000" b="10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5" name="椭圆 4">
              <a:extLst>
                <a:ext uri="{FF2B5EF4-FFF2-40B4-BE49-F238E27FC236}">
                  <a16:creationId xmlns:a16="http://schemas.microsoft.com/office/drawing/2014/main" id="{E5A4801E-08CF-4053-B11C-95A4D843F802}"/>
                </a:ext>
              </a:extLst>
            </p:cNvPr>
            <p:cNvSpPr/>
            <p:nvPr/>
          </p:nvSpPr>
          <p:spPr>
            <a:xfrm>
              <a:off x="2569848" y="3642944"/>
              <a:ext cx="1225382" cy="545123"/>
            </a:xfrm>
            <a:prstGeom prst="ellipse">
              <a:avLst/>
            </a:prstGeom>
            <a:solidFill>
              <a:schemeClr val="accent1">
                <a:lumMod val="50000"/>
                <a:alpha val="57000"/>
              </a:schemeClr>
            </a:solidFill>
            <a:ln>
              <a:noFill/>
            </a:ln>
            <a:effectLst>
              <a:softEdge rad="127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2" name="椭圆 1">
              <a:extLst>
                <a:ext uri="{FF2B5EF4-FFF2-40B4-BE49-F238E27FC236}">
                  <a16:creationId xmlns:a16="http://schemas.microsoft.com/office/drawing/2014/main" id="{BC695269-7EBE-4F03-9D58-7BF8AB0E69D0}"/>
                </a:ext>
              </a:extLst>
            </p:cNvPr>
            <p:cNvSpPr/>
            <p:nvPr/>
          </p:nvSpPr>
          <p:spPr>
            <a:xfrm>
              <a:off x="2109421" y="2362932"/>
              <a:ext cx="1619250" cy="1619250"/>
            </a:xfrm>
            <a:prstGeom prst="ellipse">
              <a:avLst/>
            </a:prstGeom>
            <a:gradFill>
              <a:gsLst>
                <a:gs pos="1000">
                  <a:schemeClr val="accent1">
                    <a:lumMod val="20000"/>
                    <a:lumOff val="80000"/>
                  </a:schemeClr>
                </a:gs>
                <a:gs pos="38000">
                  <a:schemeClr val="accent1">
                    <a:lumMod val="60000"/>
                    <a:lumOff val="40000"/>
                  </a:schemeClr>
                </a:gs>
                <a:gs pos="78000">
                  <a:schemeClr val="accent1">
                    <a:lumMod val="75000"/>
                  </a:schemeClr>
                </a:gs>
                <a:gs pos="63000">
                  <a:schemeClr val="accent1"/>
                </a:gs>
              </a:gsLst>
              <a:path path="circle">
                <a:fillToRect r="100000" b="10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grpSp>
      <p:sp>
        <p:nvSpPr>
          <p:cNvPr id="17" name="文本框 16">
            <a:extLst>
              <a:ext uri="{FF2B5EF4-FFF2-40B4-BE49-F238E27FC236}">
                <a16:creationId xmlns:a16="http://schemas.microsoft.com/office/drawing/2014/main" id="{E138E1E9-DA28-45A6-A298-48CEDE5609EE}"/>
              </a:ext>
            </a:extLst>
          </p:cNvPr>
          <p:cNvSpPr txBox="1"/>
          <p:nvPr/>
        </p:nvSpPr>
        <p:spPr>
          <a:xfrm>
            <a:off x="1692424" y="4266060"/>
            <a:ext cx="1282402" cy="307777"/>
          </a:xfrm>
          <a:prstGeom prst="rect">
            <a:avLst/>
          </a:prstGeom>
          <a:noFill/>
          <a:effectLst/>
        </p:spPr>
        <p:txBody>
          <a:bodyPr wrap="none" lIns="0" tIns="0" rIns="0" bIns="0" rtlCol="0" anchor="t">
            <a:spAutoFit/>
          </a:bodyPr>
          <a:lstStyle/>
          <a:p>
            <a:pPr algn="ctr"/>
            <a:r>
              <a:rPr lang="zh-CN" altLang="en-US" sz="2000" dirty="0">
                <a:solidFill>
                  <a:schemeClr val="accent1"/>
                </a:solidFill>
                <a:latin typeface="+mj-ea"/>
                <a:ea typeface="+mj-ea"/>
              </a:rPr>
              <a:t>关键词标题</a:t>
            </a:r>
          </a:p>
        </p:txBody>
      </p:sp>
      <p:sp>
        <p:nvSpPr>
          <p:cNvPr id="18" name="文本框 17">
            <a:extLst>
              <a:ext uri="{FF2B5EF4-FFF2-40B4-BE49-F238E27FC236}">
                <a16:creationId xmlns:a16="http://schemas.microsoft.com/office/drawing/2014/main" id="{A1EADF87-E2D6-49EA-8EE9-530138037EF8}"/>
              </a:ext>
            </a:extLst>
          </p:cNvPr>
          <p:cNvSpPr txBox="1"/>
          <p:nvPr/>
        </p:nvSpPr>
        <p:spPr>
          <a:xfrm>
            <a:off x="1564184" y="4727038"/>
            <a:ext cx="1538882" cy="944939"/>
          </a:xfrm>
          <a:prstGeom prst="rect">
            <a:avLst/>
          </a:prstGeom>
          <a:noFill/>
          <a:effectLst/>
        </p:spPr>
        <p:txBody>
          <a:bodyPr wrap="square" lIns="0" tIns="0" rIns="0" bIns="0" rtlCol="0" anchor="t">
            <a:spAutoFit/>
          </a:bodyPr>
          <a:lstStyle/>
          <a:p>
            <a:pPr algn="ctr">
              <a:lnSpc>
                <a:spcPct val="130000"/>
              </a:lnSpc>
            </a:pPr>
            <a:r>
              <a:rPr lang="en-US" altLang="zh-CN" sz="1200" b="0" dirty="0">
                <a:solidFill>
                  <a:schemeClr val="tx1">
                    <a:lumMod val="75000"/>
                    <a:lumOff val="25000"/>
                  </a:schemeClr>
                </a:solidFill>
                <a:effectLst/>
                <a:latin typeface="+mn-ea"/>
              </a:rPr>
              <a:t>Lorem ipsum dolor sit ametconsectetur adipisicing elit</a:t>
            </a:r>
            <a:r>
              <a:rPr lang="en-US" altLang="zh-CN" sz="1200" dirty="0">
                <a:solidFill>
                  <a:schemeClr val="tx1">
                    <a:lumMod val="75000"/>
                    <a:lumOff val="25000"/>
                  </a:schemeClr>
                </a:solidFill>
                <a:latin typeface="+mn-ea"/>
              </a:rPr>
              <a:t> </a:t>
            </a:r>
            <a:r>
              <a:rPr lang="en-US" altLang="zh-CN" sz="1200" b="0" dirty="0">
                <a:solidFill>
                  <a:schemeClr val="tx1">
                    <a:lumMod val="75000"/>
                    <a:lumOff val="25000"/>
                  </a:schemeClr>
                </a:solidFill>
                <a:effectLst/>
                <a:latin typeface="+mn-ea"/>
              </a:rPr>
              <a:t>sed do eiusmod tempor</a:t>
            </a:r>
            <a:endParaRPr lang="zh-CN" altLang="en-US" sz="1200" b="0" dirty="0">
              <a:solidFill>
                <a:schemeClr val="tx1">
                  <a:lumMod val="75000"/>
                  <a:lumOff val="25000"/>
                </a:schemeClr>
              </a:solidFill>
              <a:effectLst/>
              <a:latin typeface="+mn-ea"/>
            </a:endParaRPr>
          </a:p>
        </p:txBody>
      </p:sp>
      <p:cxnSp>
        <p:nvCxnSpPr>
          <p:cNvPr id="19" name="直接连接符 18">
            <a:extLst>
              <a:ext uri="{FF2B5EF4-FFF2-40B4-BE49-F238E27FC236}">
                <a16:creationId xmlns:a16="http://schemas.microsoft.com/office/drawing/2014/main" id="{0E5071DD-87D0-42F8-A399-3706D4F26046}"/>
              </a:ext>
            </a:extLst>
          </p:cNvPr>
          <p:cNvCxnSpPr>
            <a:cxnSpLocks/>
          </p:cNvCxnSpPr>
          <p:nvPr/>
        </p:nvCxnSpPr>
        <p:spPr>
          <a:xfrm>
            <a:off x="2173605" y="4644488"/>
            <a:ext cx="320040" cy="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20" name="iconfont-1179-866479">
            <a:extLst>
              <a:ext uri="{FF2B5EF4-FFF2-40B4-BE49-F238E27FC236}">
                <a16:creationId xmlns:a16="http://schemas.microsoft.com/office/drawing/2014/main" id="{721FE65C-2F5D-42B5-8874-38751BF4C5B9}"/>
              </a:ext>
            </a:extLst>
          </p:cNvPr>
          <p:cNvSpPr/>
          <p:nvPr/>
        </p:nvSpPr>
        <p:spPr>
          <a:xfrm>
            <a:off x="2041567" y="2602523"/>
            <a:ext cx="517936" cy="613430"/>
          </a:xfrm>
          <a:custGeom>
            <a:avLst/>
            <a:gdLst>
              <a:gd name="T0" fmla="*/ 6573 w 9390"/>
              <a:gd name="T1" fmla="*/ 3437 h 11120"/>
              <a:gd name="T2" fmla="*/ 7967 w 9390"/>
              <a:gd name="T3" fmla="*/ 1730 h 11120"/>
              <a:gd name="T4" fmla="*/ 5311 w 9390"/>
              <a:gd name="T5" fmla="*/ 1140 h 11120"/>
              <a:gd name="T6" fmla="*/ 3129 w 9390"/>
              <a:gd name="T7" fmla="*/ 876 h 11120"/>
              <a:gd name="T8" fmla="*/ 2455 w 9390"/>
              <a:gd name="T9" fmla="*/ 3147 h 11120"/>
              <a:gd name="T10" fmla="*/ 7438 w 9390"/>
              <a:gd name="T11" fmla="*/ 4336 h 11120"/>
              <a:gd name="T12" fmla="*/ 2969 w 9390"/>
              <a:gd name="T13" fmla="*/ 4006 h 11120"/>
              <a:gd name="T14" fmla="*/ 0 w 9390"/>
              <a:gd name="T15" fmla="*/ 8570 h 11120"/>
              <a:gd name="T16" fmla="*/ 6860 w 9390"/>
              <a:gd name="T17" fmla="*/ 11120 h 11120"/>
              <a:gd name="T18" fmla="*/ 7438 w 9390"/>
              <a:gd name="T19" fmla="*/ 4336 h 11120"/>
              <a:gd name="T20" fmla="*/ 5549 w 9390"/>
              <a:gd name="T21" fmla="*/ 7248 h 11120"/>
              <a:gd name="T22" fmla="*/ 5919 w 9390"/>
              <a:gd name="T23" fmla="*/ 7515 h 11120"/>
              <a:gd name="T24" fmla="*/ 6098 w 9390"/>
              <a:gd name="T25" fmla="*/ 7695 h 11120"/>
              <a:gd name="T26" fmla="*/ 5384 w 9390"/>
              <a:gd name="T27" fmla="*/ 7874 h 11120"/>
              <a:gd name="T28" fmla="*/ 5195 w 9390"/>
              <a:gd name="T29" fmla="*/ 8151 h 11120"/>
              <a:gd name="T30" fmla="*/ 5919 w 9390"/>
              <a:gd name="T31" fmla="*/ 8331 h 11120"/>
              <a:gd name="T32" fmla="*/ 5919 w 9390"/>
              <a:gd name="T33" fmla="*/ 8690 h 11120"/>
              <a:gd name="T34" fmla="*/ 5195 w 9390"/>
              <a:gd name="T35" fmla="*/ 8870 h 11120"/>
              <a:gd name="T36" fmla="*/ 5015 w 9390"/>
              <a:gd name="T37" fmla="*/ 9507 h 11120"/>
              <a:gd name="T38" fmla="*/ 4510 w 9390"/>
              <a:gd name="T39" fmla="*/ 9327 h 11120"/>
              <a:gd name="T40" fmla="*/ 4330 w 9390"/>
              <a:gd name="T41" fmla="*/ 8690 h 11120"/>
              <a:gd name="T42" fmla="*/ 3612 w 9390"/>
              <a:gd name="T43" fmla="*/ 8510 h 11120"/>
              <a:gd name="T44" fmla="*/ 4329 w 9390"/>
              <a:gd name="T45" fmla="*/ 8331 h 11120"/>
              <a:gd name="T46" fmla="*/ 4511 w 9390"/>
              <a:gd name="T47" fmla="*/ 8063 h 11120"/>
              <a:gd name="T48" fmla="*/ 3792 w 9390"/>
              <a:gd name="T49" fmla="*/ 7873 h 11120"/>
              <a:gd name="T50" fmla="*/ 3612 w 9390"/>
              <a:gd name="T51" fmla="*/ 7694 h 11120"/>
              <a:gd name="T52" fmla="*/ 3999 w 9390"/>
              <a:gd name="T53" fmla="*/ 7514 h 11120"/>
              <a:gd name="T54" fmla="*/ 3406 w 9390"/>
              <a:gd name="T55" fmla="*/ 5887 h 11120"/>
              <a:gd name="T56" fmla="*/ 3920 w 9390"/>
              <a:gd name="T57" fmla="*/ 5620 h 11120"/>
              <a:gd name="T58" fmla="*/ 4691 w 9390"/>
              <a:gd name="T59" fmla="*/ 6937 h 11120"/>
              <a:gd name="T60" fmla="*/ 5623 w 9390"/>
              <a:gd name="T61" fmla="*/ 5719 h 11120"/>
              <a:gd name="T62" fmla="*/ 6140 w 9390"/>
              <a:gd name="T63" fmla="*/ 5620 h 1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390" h="11120">
                <a:moveTo>
                  <a:pt x="3078" y="3437"/>
                </a:moveTo>
                <a:lnTo>
                  <a:pt x="6573" y="3437"/>
                </a:lnTo>
                <a:cubicBezTo>
                  <a:pt x="6809" y="3437"/>
                  <a:pt x="7036" y="3338"/>
                  <a:pt x="7187" y="3157"/>
                </a:cubicBezTo>
                <a:cubicBezTo>
                  <a:pt x="7548" y="2728"/>
                  <a:pt x="7890" y="2202"/>
                  <a:pt x="7967" y="1730"/>
                </a:cubicBezTo>
                <a:cubicBezTo>
                  <a:pt x="8121" y="786"/>
                  <a:pt x="7717" y="307"/>
                  <a:pt x="6544" y="307"/>
                </a:cubicBezTo>
                <a:cubicBezTo>
                  <a:pt x="5370" y="307"/>
                  <a:pt x="5767" y="1077"/>
                  <a:pt x="5311" y="1140"/>
                </a:cubicBezTo>
                <a:cubicBezTo>
                  <a:pt x="4971" y="1187"/>
                  <a:pt x="4983" y="739"/>
                  <a:pt x="4449" y="308"/>
                </a:cubicBezTo>
                <a:cubicBezTo>
                  <a:pt x="4066" y="0"/>
                  <a:pt x="3636" y="871"/>
                  <a:pt x="3129" y="876"/>
                </a:cubicBezTo>
                <a:cubicBezTo>
                  <a:pt x="2538" y="884"/>
                  <a:pt x="1707" y="720"/>
                  <a:pt x="1707" y="1730"/>
                </a:cubicBezTo>
                <a:cubicBezTo>
                  <a:pt x="1707" y="2138"/>
                  <a:pt x="2065" y="2690"/>
                  <a:pt x="2455" y="3147"/>
                </a:cubicBezTo>
                <a:cubicBezTo>
                  <a:pt x="2612" y="3330"/>
                  <a:pt x="2838" y="3437"/>
                  <a:pt x="3078" y="3437"/>
                </a:cubicBezTo>
                <a:close/>
                <a:moveTo>
                  <a:pt x="7438" y="4336"/>
                </a:moveTo>
                <a:cubicBezTo>
                  <a:pt x="7252" y="4125"/>
                  <a:pt x="6981" y="4006"/>
                  <a:pt x="6699" y="4006"/>
                </a:cubicBezTo>
                <a:lnTo>
                  <a:pt x="2969" y="4006"/>
                </a:lnTo>
                <a:cubicBezTo>
                  <a:pt x="2700" y="4006"/>
                  <a:pt x="2440" y="4115"/>
                  <a:pt x="2253" y="4310"/>
                </a:cubicBezTo>
                <a:cubicBezTo>
                  <a:pt x="1081" y="5538"/>
                  <a:pt x="0" y="7291"/>
                  <a:pt x="0" y="8570"/>
                </a:cubicBezTo>
                <a:cubicBezTo>
                  <a:pt x="0" y="9697"/>
                  <a:pt x="1133" y="11120"/>
                  <a:pt x="2530" y="11120"/>
                </a:cubicBezTo>
                <a:lnTo>
                  <a:pt x="6860" y="11120"/>
                </a:lnTo>
                <a:cubicBezTo>
                  <a:pt x="8257" y="11120"/>
                  <a:pt x="9390" y="9709"/>
                  <a:pt x="9390" y="8570"/>
                </a:cubicBezTo>
                <a:cubicBezTo>
                  <a:pt x="9390" y="7268"/>
                  <a:pt x="8520" y="5564"/>
                  <a:pt x="7438" y="4336"/>
                </a:cubicBezTo>
                <a:close/>
                <a:moveTo>
                  <a:pt x="6299" y="5888"/>
                </a:moveTo>
                <a:lnTo>
                  <a:pt x="5549" y="7248"/>
                </a:lnTo>
                <a:cubicBezTo>
                  <a:pt x="5483" y="7368"/>
                  <a:pt x="5570" y="7515"/>
                  <a:pt x="5706" y="7515"/>
                </a:cubicBezTo>
                <a:lnTo>
                  <a:pt x="5919" y="7515"/>
                </a:lnTo>
                <a:cubicBezTo>
                  <a:pt x="6017" y="7515"/>
                  <a:pt x="6098" y="7595"/>
                  <a:pt x="6098" y="7695"/>
                </a:cubicBezTo>
                <a:lnTo>
                  <a:pt x="6098" y="7695"/>
                </a:lnTo>
                <a:cubicBezTo>
                  <a:pt x="6098" y="7793"/>
                  <a:pt x="6018" y="7874"/>
                  <a:pt x="5919" y="7874"/>
                </a:cubicBezTo>
                <a:lnTo>
                  <a:pt x="5384" y="7874"/>
                </a:lnTo>
                <a:cubicBezTo>
                  <a:pt x="5279" y="7874"/>
                  <a:pt x="5196" y="7958"/>
                  <a:pt x="5195" y="8062"/>
                </a:cubicBezTo>
                <a:lnTo>
                  <a:pt x="5195" y="8151"/>
                </a:lnTo>
                <a:cubicBezTo>
                  <a:pt x="5195" y="8249"/>
                  <a:pt x="5275" y="8331"/>
                  <a:pt x="5375" y="8331"/>
                </a:cubicBezTo>
                <a:lnTo>
                  <a:pt x="5919" y="8331"/>
                </a:lnTo>
                <a:cubicBezTo>
                  <a:pt x="6017" y="8331"/>
                  <a:pt x="6098" y="8411"/>
                  <a:pt x="6098" y="8510"/>
                </a:cubicBezTo>
                <a:cubicBezTo>
                  <a:pt x="6098" y="8610"/>
                  <a:pt x="6018" y="8690"/>
                  <a:pt x="5919" y="8690"/>
                </a:cubicBezTo>
                <a:lnTo>
                  <a:pt x="5375" y="8690"/>
                </a:lnTo>
                <a:cubicBezTo>
                  <a:pt x="5276" y="8690"/>
                  <a:pt x="5195" y="8770"/>
                  <a:pt x="5195" y="8870"/>
                </a:cubicBezTo>
                <a:lnTo>
                  <a:pt x="5195" y="9327"/>
                </a:lnTo>
                <a:cubicBezTo>
                  <a:pt x="5195" y="9426"/>
                  <a:pt x="5115" y="9507"/>
                  <a:pt x="5015" y="9507"/>
                </a:cubicBezTo>
                <a:lnTo>
                  <a:pt x="4690" y="9507"/>
                </a:lnTo>
                <a:cubicBezTo>
                  <a:pt x="4591" y="9507"/>
                  <a:pt x="4510" y="9427"/>
                  <a:pt x="4510" y="9327"/>
                </a:cubicBezTo>
                <a:lnTo>
                  <a:pt x="4510" y="8870"/>
                </a:lnTo>
                <a:cubicBezTo>
                  <a:pt x="4510" y="8771"/>
                  <a:pt x="4430" y="8690"/>
                  <a:pt x="4330" y="8690"/>
                </a:cubicBezTo>
                <a:lnTo>
                  <a:pt x="3792" y="8690"/>
                </a:lnTo>
                <a:cubicBezTo>
                  <a:pt x="3693" y="8690"/>
                  <a:pt x="3612" y="8610"/>
                  <a:pt x="3612" y="8510"/>
                </a:cubicBezTo>
                <a:cubicBezTo>
                  <a:pt x="3612" y="8411"/>
                  <a:pt x="3692" y="8331"/>
                  <a:pt x="3792" y="8331"/>
                </a:cubicBezTo>
                <a:lnTo>
                  <a:pt x="4329" y="8331"/>
                </a:lnTo>
                <a:cubicBezTo>
                  <a:pt x="4429" y="8331"/>
                  <a:pt x="4509" y="8251"/>
                  <a:pt x="4510" y="8151"/>
                </a:cubicBezTo>
                <a:lnTo>
                  <a:pt x="4511" y="8063"/>
                </a:lnTo>
                <a:cubicBezTo>
                  <a:pt x="4512" y="7959"/>
                  <a:pt x="4427" y="7873"/>
                  <a:pt x="4322" y="7873"/>
                </a:cubicBezTo>
                <a:lnTo>
                  <a:pt x="3792" y="7873"/>
                </a:lnTo>
                <a:cubicBezTo>
                  <a:pt x="3693" y="7873"/>
                  <a:pt x="3612" y="7793"/>
                  <a:pt x="3612" y="7694"/>
                </a:cubicBezTo>
                <a:lnTo>
                  <a:pt x="3612" y="7694"/>
                </a:lnTo>
                <a:cubicBezTo>
                  <a:pt x="3612" y="7595"/>
                  <a:pt x="3692" y="7514"/>
                  <a:pt x="3792" y="7514"/>
                </a:cubicBezTo>
                <a:lnTo>
                  <a:pt x="3999" y="7514"/>
                </a:lnTo>
                <a:cubicBezTo>
                  <a:pt x="4136" y="7514"/>
                  <a:pt x="4221" y="7367"/>
                  <a:pt x="4156" y="7247"/>
                </a:cubicBezTo>
                <a:lnTo>
                  <a:pt x="3406" y="5887"/>
                </a:lnTo>
                <a:cubicBezTo>
                  <a:pt x="3340" y="5767"/>
                  <a:pt x="3426" y="5620"/>
                  <a:pt x="3562" y="5620"/>
                </a:cubicBezTo>
                <a:lnTo>
                  <a:pt x="3920" y="5620"/>
                </a:lnTo>
                <a:cubicBezTo>
                  <a:pt x="3988" y="5620"/>
                  <a:pt x="4050" y="5659"/>
                  <a:pt x="4080" y="5719"/>
                </a:cubicBezTo>
                <a:lnTo>
                  <a:pt x="4691" y="6937"/>
                </a:lnTo>
                <a:cubicBezTo>
                  <a:pt x="4756" y="7069"/>
                  <a:pt x="4945" y="7069"/>
                  <a:pt x="5012" y="6937"/>
                </a:cubicBezTo>
                <a:lnTo>
                  <a:pt x="5623" y="5719"/>
                </a:lnTo>
                <a:cubicBezTo>
                  <a:pt x="5653" y="5659"/>
                  <a:pt x="5715" y="5620"/>
                  <a:pt x="5783" y="5620"/>
                </a:cubicBezTo>
                <a:lnTo>
                  <a:pt x="6140" y="5620"/>
                </a:lnTo>
                <a:cubicBezTo>
                  <a:pt x="6278" y="5622"/>
                  <a:pt x="6365" y="5768"/>
                  <a:pt x="6299" y="588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23" name="组合 22">
            <a:extLst>
              <a:ext uri="{FF2B5EF4-FFF2-40B4-BE49-F238E27FC236}">
                <a16:creationId xmlns:a16="http://schemas.microsoft.com/office/drawing/2014/main" id="{B9C13B4B-2924-47ED-AFCE-704693197325}"/>
              </a:ext>
            </a:extLst>
          </p:cNvPr>
          <p:cNvGrpSpPr/>
          <p:nvPr/>
        </p:nvGrpSpPr>
        <p:grpSpPr>
          <a:xfrm>
            <a:off x="3722810" y="2090555"/>
            <a:ext cx="1811216" cy="1867998"/>
            <a:chOff x="2013438" y="2362932"/>
            <a:chExt cx="1811216" cy="1867998"/>
          </a:xfrm>
        </p:grpSpPr>
        <p:sp>
          <p:nvSpPr>
            <p:cNvPr id="28" name="椭圆 27">
              <a:extLst>
                <a:ext uri="{FF2B5EF4-FFF2-40B4-BE49-F238E27FC236}">
                  <a16:creationId xmlns:a16="http://schemas.microsoft.com/office/drawing/2014/main" id="{7C69C007-D3EC-4DFB-9BB9-24A74A3FA236}"/>
                </a:ext>
              </a:extLst>
            </p:cNvPr>
            <p:cNvSpPr/>
            <p:nvPr/>
          </p:nvSpPr>
          <p:spPr>
            <a:xfrm>
              <a:off x="2013438" y="3685807"/>
              <a:ext cx="1811216" cy="545123"/>
            </a:xfrm>
            <a:prstGeom prst="ellips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29" name="椭圆 28">
              <a:extLst>
                <a:ext uri="{FF2B5EF4-FFF2-40B4-BE49-F238E27FC236}">
                  <a16:creationId xmlns:a16="http://schemas.microsoft.com/office/drawing/2014/main" id="{B5EDB8B7-03B7-4A81-8324-56E0B568979B}"/>
                </a:ext>
              </a:extLst>
            </p:cNvPr>
            <p:cNvSpPr/>
            <p:nvPr/>
          </p:nvSpPr>
          <p:spPr>
            <a:xfrm>
              <a:off x="2013438" y="3642945"/>
              <a:ext cx="1811216" cy="545123"/>
            </a:xfrm>
            <a:prstGeom prst="ellipse">
              <a:avLst/>
            </a:prstGeom>
            <a:gradFill>
              <a:gsLst>
                <a:gs pos="1000">
                  <a:schemeClr val="accent1">
                    <a:lumMod val="20000"/>
                    <a:lumOff val="80000"/>
                  </a:schemeClr>
                </a:gs>
                <a:gs pos="100000">
                  <a:schemeClr val="accent1">
                    <a:lumMod val="60000"/>
                    <a:lumOff val="40000"/>
                  </a:schemeClr>
                </a:gs>
              </a:gsLst>
              <a:path path="circle">
                <a:fillToRect r="100000" b="10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30" name="椭圆 29">
              <a:extLst>
                <a:ext uri="{FF2B5EF4-FFF2-40B4-BE49-F238E27FC236}">
                  <a16:creationId xmlns:a16="http://schemas.microsoft.com/office/drawing/2014/main" id="{AB13BC9D-1411-460C-B3AA-BDE1EB71F289}"/>
                </a:ext>
              </a:extLst>
            </p:cNvPr>
            <p:cNvSpPr/>
            <p:nvPr/>
          </p:nvSpPr>
          <p:spPr>
            <a:xfrm>
              <a:off x="2569848" y="3642944"/>
              <a:ext cx="1225382" cy="545123"/>
            </a:xfrm>
            <a:prstGeom prst="ellipse">
              <a:avLst/>
            </a:prstGeom>
            <a:solidFill>
              <a:schemeClr val="accent1">
                <a:lumMod val="50000"/>
                <a:alpha val="57000"/>
              </a:schemeClr>
            </a:solidFill>
            <a:ln>
              <a:noFill/>
            </a:ln>
            <a:effectLst>
              <a:softEdge rad="127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31" name="椭圆 30">
              <a:extLst>
                <a:ext uri="{FF2B5EF4-FFF2-40B4-BE49-F238E27FC236}">
                  <a16:creationId xmlns:a16="http://schemas.microsoft.com/office/drawing/2014/main" id="{BF4453D6-071B-4C4D-8C9A-E112E17F9D1C}"/>
                </a:ext>
              </a:extLst>
            </p:cNvPr>
            <p:cNvSpPr/>
            <p:nvPr/>
          </p:nvSpPr>
          <p:spPr>
            <a:xfrm>
              <a:off x="2109421" y="2362932"/>
              <a:ext cx="1619250" cy="1619250"/>
            </a:xfrm>
            <a:prstGeom prst="ellipse">
              <a:avLst/>
            </a:prstGeom>
            <a:gradFill>
              <a:gsLst>
                <a:gs pos="1000">
                  <a:schemeClr val="accent1">
                    <a:lumMod val="20000"/>
                    <a:lumOff val="80000"/>
                  </a:schemeClr>
                </a:gs>
                <a:gs pos="38000">
                  <a:schemeClr val="accent1">
                    <a:lumMod val="60000"/>
                    <a:lumOff val="40000"/>
                  </a:schemeClr>
                </a:gs>
                <a:gs pos="78000">
                  <a:schemeClr val="accent1">
                    <a:lumMod val="75000"/>
                  </a:schemeClr>
                </a:gs>
                <a:gs pos="63000">
                  <a:schemeClr val="accent1"/>
                </a:gs>
              </a:gsLst>
              <a:path path="circle">
                <a:fillToRect r="100000" b="10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grpSp>
      <p:sp>
        <p:nvSpPr>
          <p:cNvPr id="24" name="文本框 23">
            <a:extLst>
              <a:ext uri="{FF2B5EF4-FFF2-40B4-BE49-F238E27FC236}">
                <a16:creationId xmlns:a16="http://schemas.microsoft.com/office/drawing/2014/main" id="{69328B64-17A5-4BDF-924F-F10B20AB2B7A}"/>
              </a:ext>
            </a:extLst>
          </p:cNvPr>
          <p:cNvSpPr txBox="1"/>
          <p:nvPr/>
        </p:nvSpPr>
        <p:spPr>
          <a:xfrm>
            <a:off x="3987217" y="4266060"/>
            <a:ext cx="1282402" cy="307777"/>
          </a:xfrm>
          <a:prstGeom prst="rect">
            <a:avLst/>
          </a:prstGeom>
          <a:noFill/>
          <a:effectLst/>
        </p:spPr>
        <p:txBody>
          <a:bodyPr wrap="none" lIns="0" tIns="0" rIns="0" bIns="0" rtlCol="0" anchor="t">
            <a:spAutoFit/>
          </a:bodyPr>
          <a:lstStyle/>
          <a:p>
            <a:pPr algn="ctr"/>
            <a:r>
              <a:rPr lang="zh-CN" altLang="en-US" sz="2000" dirty="0">
                <a:solidFill>
                  <a:schemeClr val="accent1"/>
                </a:solidFill>
                <a:latin typeface="+mj-ea"/>
                <a:ea typeface="+mj-ea"/>
              </a:rPr>
              <a:t>关键词标题</a:t>
            </a:r>
          </a:p>
        </p:txBody>
      </p:sp>
      <p:sp>
        <p:nvSpPr>
          <p:cNvPr id="25" name="文本框 24">
            <a:extLst>
              <a:ext uri="{FF2B5EF4-FFF2-40B4-BE49-F238E27FC236}">
                <a16:creationId xmlns:a16="http://schemas.microsoft.com/office/drawing/2014/main" id="{8168B30D-4938-45C3-BCCC-40B1C25C6E1F}"/>
              </a:ext>
            </a:extLst>
          </p:cNvPr>
          <p:cNvSpPr txBox="1"/>
          <p:nvPr/>
        </p:nvSpPr>
        <p:spPr>
          <a:xfrm>
            <a:off x="3858977" y="4727038"/>
            <a:ext cx="1538882" cy="944939"/>
          </a:xfrm>
          <a:prstGeom prst="rect">
            <a:avLst/>
          </a:prstGeom>
          <a:noFill/>
          <a:effectLst/>
        </p:spPr>
        <p:txBody>
          <a:bodyPr wrap="square" lIns="0" tIns="0" rIns="0" bIns="0" rtlCol="0" anchor="t">
            <a:spAutoFit/>
          </a:bodyPr>
          <a:lstStyle/>
          <a:p>
            <a:pPr algn="ctr">
              <a:lnSpc>
                <a:spcPct val="130000"/>
              </a:lnSpc>
            </a:pPr>
            <a:r>
              <a:rPr lang="en-US" altLang="zh-CN" sz="1200" b="0" dirty="0">
                <a:solidFill>
                  <a:schemeClr val="tx1">
                    <a:lumMod val="75000"/>
                    <a:lumOff val="25000"/>
                  </a:schemeClr>
                </a:solidFill>
                <a:effectLst/>
                <a:latin typeface="+mn-ea"/>
              </a:rPr>
              <a:t>Lorem ipsum dolor sit ametconsectetur adipisicing elit</a:t>
            </a:r>
            <a:r>
              <a:rPr lang="en-US" altLang="zh-CN" sz="1200" dirty="0">
                <a:solidFill>
                  <a:schemeClr val="tx1">
                    <a:lumMod val="75000"/>
                    <a:lumOff val="25000"/>
                  </a:schemeClr>
                </a:solidFill>
                <a:latin typeface="+mn-ea"/>
              </a:rPr>
              <a:t> </a:t>
            </a:r>
            <a:r>
              <a:rPr lang="en-US" altLang="zh-CN" sz="1200" b="0" dirty="0">
                <a:solidFill>
                  <a:schemeClr val="tx1">
                    <a:lumMod val="75000"/>
                    <a:lumOff val="25000"/>
                  </a:schemeClr>
                </a:solidFill>
                <a:effectLst/>
                <a:latin typeface="+mn-ea"/>
              </a:rPr>
              <a:t>sed do eiusmod tempor</a:t>
            </a:r>
            <a:endParaRPr lang="zh-CN" altLang="en-US" sz="1200" b="0" dirty="0">
              <a:solidFill>
                <a:schemeClr val="tx1">
                  <a:lumMod val="75000"/>
                  <a:lumOff val="25000"/>
                </a:schemeClr>
              </a:solidFill>
              <a:effectLst/>
              <a:latin typeface="+mn-ea"/>
            </a:endParaRPr>
          </a:p>
        </p:txBody>
      </p:sp>
      <p:cxnSp>
        <p:nvCxnSpPr>
          <p:cNvPr id="26" name="直接连接符 25">
            <a:extLst>
              <a:ext uri="{FF2B5EF4-FFF2-40B4-BE49-F238E27FC236}">
                <a16:creationId xmlns:a16="http://schemas.microsoft.com/office/drawing/2014/main" id="{5E87736B-1D86-4429-9B49-9E929CC35727}"/>
              </a:ext>
            </a:extLst>
          </p:cNvPr>
          <p:cNvCxnSpPr>
            <a:cxnSpLocks/>
          </p:cNvCxnSpPr>
          <p:nvPr/>
        </p:nvCxnSpPr>
        <p:spPr>
          <a:xfrm>
            <a:off x="4468398" y="4644488"/>
            <a:ext cx="320040" cy="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52" name="iconfont-1179-866479">
            <a:extLst>
              <a:ext uri="{FF2B5EF4-FFF2-40B4-BE49-F238E27FC236}">
                <a16:creationId xmlns:a16="http://schemas.microsoft.com/office/drawing/2014/main" id="{C70AC233-722C-41A7-AEDD-A5FCECA5C3E2}"/>
              </a:ext>
            </a:extLst>
          </p:cNvPr>
          <p:cNvSpPr/>
          <p:nvPr/>
        </p:nvSpPr>
        <p:spPr>
          <a:xfrm>
            <a:off x="4365920" y="2602523"/>
            <a:ext cx="524996" cy="613430"/>
          </a:xfrm>
          <a:custGeom>
            <a:avLst/>
            <a:gdLst>
              <a:gd name="T0" fmla="*/ 8209 w 10908"/>
              <a:gd name="T1" fmla="*/ 2143 h 12744"/>
              <a:gd name="T2" fmla="*/ 8209 w 10908"/>
              <a:gd name="T3" fmla="*/ 1057 h 12744"/>
              <a:gd name="T4" fmla="*/ 7124 w 10908"/>
              <a:gd name="T5" fmla="*/ 0 h 12744"/>
              <a:gd name="T6" fmla="*/ 3840 w 10908"/>
              <a:gd name="T7" fmla="*/ 0 h 12744"/>
              <a:gd name="T8" fmla="*/ 2755 w 10908"/>
              <a:gd name="T9" fmla="*/ 1057 h 12744"/>
              <a:gd name="T10" fmla="*/ 2755 w 10908"/>
              <a:gd name="T11" fmla="*/ 2115 h 12744"/>
              <a:gd name="T12" fmla="*/ 0 w 10908"/>
              <a:gd name="T13" fmla="*/ 2115 h 12744"/>
              <a:gd name="T14" fmla="*/ 0 w 10908"/>
              <a:gd name="T15" fmla="*/ 3172 h 12744"/>
              <a:gd name="T16" fmla="*/ 1085 w 10908"/>
              <a:gd name="T17" fmla="*/ 3172 h 12744"/>
              <a:gd name="T18" fmla="*/ 1085 w 10908"/>
              <a:gd name="T19" fmla="*/ 11687 h 12744"/>
              <a:gd name="T20" fmla="*/ 2171 w 10908"/>
              <a:gd name="T21" fmla="*/ 12744 h 12744"/>
              <a:gd name="T22" fmla="*/ 8738 w 10908"/>
              <a:gd name="T23" fmla="*/ 12744 h 12744"/>
              <a:gd name="T24" fmla="*/ 9823 w 10908"/>
              <a:gd name="T25" fmla="*/ 11687 h 12744"/>
              <a:gd name="T26" fmla="*/ 9823 w 10908"/>
              <a:gd name="T27" fmla="*/ 3200 h 12744"/>
              <a:gd name="T28" fmla="*/ 10908 w 10908"/>
              <a:gd name="T29" fmla="*/ 3200 h 12744"/>
              <a:gd name="T30" fmla="*/ 10908 w 10908"/>
              <a:gd name="T31" fmla="*/ 2143 h 12744"/>
              <a:gd name="T32" fmla="*/ 8209 w 10908"/>
              <a:gd name="T33" fmla="*/ 2143 h 12744"/>
              <a:gd name="T34" fmla="*/ 4870 w 10908"/>
              <a:gd name="T35" fmla="*/ 10963 h 12744"/>
              <a:gd name="T36" fmla="*/ 3645 w 10908"/>
              <a:gd name="T37" fmla="*/ 10963 h 12744"/>
              <a:gd name="T38" fmla="*/ 3645 w 10908"/>
              <a:gd name="T39" fmla="*/ 4257 h 12744"/>
              <a:gd name="T40" fmla="*/ 4870 w 10908"/>
              <a:gd name="T41" fmla="*/ 4257 h 12744"/>
              <a:gd name="T42" fmla="*/ 4870 w 10908"/>
              <a:gd name="T43" fmla="*/ 10963 h 12744"/>
              <a:gd name="T44" fmla="*/ 7319 w 10908"/>
              <a:gd name="T45" fmla="*/ 10963 h 12744"/>
              <a:gd name="T46" fmla="*/ 6094 w 10908"/>
              <a:gd name="T47" fmla="*/ 10963 h 12744"/>
              <a:gd name="T48" fmla="*/ 6094 w 10908"/>
              <a:gd name="T49" fmla="*/ 4257 h 12744"/>
              <a:gd name="T50" fmla="*/ 7319 w 10908"/>
              <a:gd name="T51" fmla="*/ 4257 h 12744"/>
              <a:gd name="T52" fmla="*/ 7319 w 10908"/>
              <a:gd name="T53" fmla="*/ 10963 h 127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0908" h="12744">
                <a:moveTo>
                  <a:pt x="8209" y="2143"/>
                </a:moveTo>
                <a:lnTo>
                  <a:pt x="8209" y="1057"/>
                </a:lnTo>
                <a:cubicBezTo>
                  <a:pt x="8209" y="473"/>
                  <a:pt x="7708" y="0"/>
                  <a:pt x="7124" y="0"/>
                </a:cubicBezTo>
                <a:lnTo>
                  <a:pt x="3840" y="0"/>
                </a:lnTo>
                <a:cubicBezTo>
                  <a:pt x="3228" y="0"/>
                  <a:pt x="2755" y="473"/>
                  <a:pt x="2755" y="1057"/>
                </a:cubicBezTo>
                <a:lnTo>
                  <a:pt x="2755" y="2115"/>
                </a:lnTo>
                <a:lnTo>
                  <a:pt x="0" y="2115"/>
                </a:lnTo>
                <a:lnTo>
                  <a:pt x="0" y="3172"/>
                </a:lnTo>
                <a:lnTo>
                  <a:pt x="1085" y="3172"/>
                </a:lnTo>
                <a:lnTo>
                  <a:pt x="1085" y="11687"/>
                </a:lnTo>
                <a:cubicBezTo>
                  <a:pt x="1085" y="12271"/>
                  <a:pt x="1586" y="12744"/>
                  <a:pt x="2171" y="12744"/>
                </a:cubicBezTo>
                <a:lnTo>
                  <a:pt x="8738" y="12744"/>
                </a:lnTo>
                <a:cubicBezTo>
                  <a:pt x="9350" y="12744"/>
                  <a:pt x="9823" y="12271"/>
                  <a:pt x="9823" y="11687"/>
                </a:cubicBezTo>
                <a:lnTo>
                  <a:pt x="9823" y="3200"/>
                </a:lnTo>
                <a:lnTo>
                  <a:pt x="10908" y="3200"/>
                </a:lnTo>
                <a:lnTo>
                  <a:pt x="10908" y="2143"/>
                </a:lnTo>
                <a:lnTo>
                  <a:pt x="8209" y="2143"/>
                </a:lnTo>
                <a:close/>
                <a:moveTo>
                  <a:pt x="4870" y="10963"/>
                </a:moveTo>
                <a:lnTo>
                  <a:pt x="3645" y="10963"/>
                </a:lnTo>
                <a:lnTo>
                  <a:pt x="3645" y="4257"/>
                </a:lnTo>
                <a:lnTo>
                  <a:pt x="4870" y="4257"/>
                </a:lnTo>
                <a:lnTo>
                  <a:pt x="4870" y="10963"/>
                </a:lnTo>
                <a:close/>
                <a:moveTo>
                  <a:pt x="7319" y="10963"/>
                </a:moveTo>
                <a:lnTo>
                  <a:pt x="6094" y="10963"/>
                </a:lnTo>
                <a:lnTo>
                  <a:pt x="6094" y="4257"/>
                </a:lnTo>
                <a:lnTo>
                  <a:pt x="7319" y="4257"/>
                </a:lnTo>
                <a:lnTo>
                  <a:pt x="7319" y="1096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grpSp>
        <p:nvGrpSpPr>
          <p:cNvPr id="33" name="组合 32">
            <a:extLst>
              <a:ext uri="{FF2B5EF4-FFF2-40B4-BE49-F238E27FC236}">
                <a16:creationId xmlns:a16="http://schemas.microsoft.com/office/drawing/2014/main" id="{1AE787DA-6E03-4AF4-98BD-1598104C8578}"/>
              </a:ext>
            </a:extLst>
          </p:cNvPr>
          <p:cNvGrpSpPr/>
          <p:nvPr/>
        </p:nvGrpSpPr>
        <p:grpSpPr>
          <a:xfrm>
            <a:off x="6017603" y="2090555"/>
            <a:ext cx="1811216" cy="1867998"/>
            <a:chOff x="2013438" y="2362932"/>
            <a:chExt cx="1811216" cy="1867998"/>
          </a:xfrm>
        </p:grpSpPr>
        <p:sp>
          <p:nvSpPr>
            <p:cNvPr id="38" name="椭圆 37">
              <a:extLst>
                <a:ext uri="{FF2B5EF4-FFF2-40B4-BE49-F238E27FC236}">
                  <a16:creationId xmlns:a16="http://schemas.microsoft.com/office/drawing/2014/main" id="{C47ED382-32A3-44E1-A59B-AB28631A32FF}"/>
                </a:ext>
              </a:extLst>
            </p:cNvPr>
            <p:cNvSpPr/>
            <p:nvPr/>
          </p:nvSpPr>
          <p:spPr>
            <a:xfrm>
              <a:off x="2013438" y="3685807"/>
              <a:ext cx="1811216" cy="545123"/>
            </a:xfrm>
            <a:prstGeom prst="ellips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39" name="椭圆 38">
              <a:extLst>
                <a:ext uri="{FF2B5EF4-FFF2-40B4-BE49-F238E27FC236}">
                  <a16:creationId xmlns:a16="http://schemas.microsoft.com/office/drawing/2014/main" id="{7865A366-5350-45C3-B870-0242F1287B26}"/>
                </a:ext>
              </a:extLst>
            </p:cNvPr>
            <p:cNvSpPr/>
            <p:nvPr/>
          </p:nvSpPr>
          <p:spPr>
            <a:xfrm>
              <a:off x="2013438" y="3642945"/>
              <a:ext cx="1811216" cy="545123"/>
            </a:xfrm>
            <a:prstGeom prst="ellipse">
              <a:avLst/>
            </a:prstGeom>
            <a:gradFill>
              <a:gsLst>
                <a:gs pos="1000">
                  <a:schemeClr val="accent1">
                    <a:lumMod val="20000"/>
                    <a:lumOff val="80000"/>
                  </a:schemeClr>
                </a:gs>
                <a:gs pos="100000">
                  <a:schemeClr val="accent1">
                    <a:lumMod val="60000"/>
                    <a:lumOff val="40000"/>
                  </a:schemeClr>
                </a:gs>
              </a:gsLst>
              <a:path path="circle">
                <a:fillToRect r="100000" b="10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40" name="椭圆 39">
              <a:extLst>
                <a:ext uri="{FF2B5EF4-FFF2-40B4-BE49-F238E27FC236}">
                  <a16:creationId xmlns:a16="http://schemas.microsoft.com/office/drawing/2014/main" id="{9C76A073-0B42-4637-92AE-AB118A641774}"/>
                </a:ext>
              </a:extLst>
            </p:cNvPr>
            <p:cNvSpPr/>
            <p:nvPr/>
          </p:nvSpPr>
          <p:spPr>
            <a:xfrm>
              <a:off x="2569848" y="3642944"/>
              <a:ext cx="1225382" cy="545123"/>
            </a:xfrm>
            <a:prstGeom prst="ellipse">
              <a:avLst/>
            </a:prstGeom>
            <a:solidFill>
              <a:schemeClr val="accent1">
                <a:lumMod val="50000"/>
                <a:alpha val="57000"/>
              </a:schemeClr>
            </a:solidFill>
            <a:ln>
              <a:noFill/>
            </a:ln>
            <a:effectLst>
              <a:softEdge rad="127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41" name="椭圆 40">
              <a:extLst>
                <a:ext uri="{FF2B5EF4-FFF2-40B4-BE49-F238E27FC236}">
                  <a16:creationId xmlns:a16="http://schemas.microsoft.com/office/drawing/2014/main" id="{1C86B403-8E86-413B-B0D6-5FDBDD1C3ED6}"/>
                </a:ext>
              </a:extLst>
            </p:cNvPr>
            <p:cNvSpPr/>
            <p:nvPr/>
          </p:nvSpPr>
          <p:spPr>
            <a:xfrm>
              <a:off x="2109421" y="2362932"/>
              <a:ext cx="1619250" cy="1619250"/>
            </a:xfrm>
            <a:prstGeom prst="ellipse">
              <a:avLst/>
            </a:prstGeom>
            <a:gradFill>
              <a:gsLst>
                <a:gs pos="1000">
                  <a:schemeClr val="accent1">
                    <a:lumMod val="20000"/>
                    <a:lumOff val="80000"/>
                  </a:schemeClr>
                </a:gs>
                <a:gs pos="38000">
                  <a:schemeClr val="accent1">
                    <a:lumMod val="60000"/>
                    <a:lumOff val="40000"/>
                  </a:schemeClr>
                </a:gs>
                <a:gs pos="78000">
                  <a:schemeClr val="accent1">
                    <a:lumMod val="75000"/>
                  </a:schemeClr>
                </a:gs>
                <a:gs pos="63000">
                  <a:schemeClr val="accent1"/>
                </a:gs>
              </a:gsLst>
              <a:path path="circle">
                <a:fillToRect r="100000" b="10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grpSp>
      <p:sp>
        <p:nvSpPr>
          <p:cNvPr id="34" name="文本框 33">
            <a:extLst>
              <a:ext uri="{FF2B5EF4-FFF2-40B4-BE49-F238E27FC236}">
                <a16:creationId xmlns:a16="http://schemas.microsoft.com/office/drawing/2014/main" id="{47C48C89-0EBB-479B-B6C2-0DBF8BD6FDCC}"/>
              </a:ext>
            </a:extLst>
          </p:cNvPr>
          <p:cNvSpPr txBox="1"/>
          <p:nvPr/>
        </p:nvSpPr>
        <p:spPr>
          <a:xfrm>
            <a:off x="6282010" y="4266060"/>
            <a:ext cx="1282402" cy="307777"/>
          </a:xfrm>
          <a:prstGeom prst="rect">
            <a:avLst/>
          </a:prstGeom>
          <a:noFill/>
          <a:effectLst/>
        </p:spPr>
        <p:txBody>
          <a:bodyPr wrap="none" lIns="0" tIns="0" rIns="0" bIns="0" rtlCol="0" anchor="t">
            <a:spAutoFit/>
          </a:bodyPr>
          <a:lstStyle/>
          <a:p>
            <a:pPr algn="ctr"/>
            <a:r>
              <a:rPr lang="zh-CN" altLang="en-US" sz="2000" dirty="0">
                <a:solidFill>
                  <a:schemeClr val="accent1"/>
                </a:solidFill>
                <a:latin typeface="+mj-ea"/>
                <a:ea typeface="+mj-ea"/>
              </a:rPr>
              <a:t>关键词标题</a:t>
            </a:r>
          </a:p>
        </p:txBody>
      </p:sp>
      <p:sp>
        <p:nvSpPr>
          <p:cNvPr id="35" name="文本框 34">
            <a:extLst>
              <a:ext uri="{FF2B5EF4-FFF2-40B4-BE49-F238E27FC236}">
                <a16:creationId xmlns:a16="http://schemas.microsoft.com/office/drawing/2014/main" id="{2BC73D60-A16F-49E0-A3E1-40FCF4976524}"/>
              </a:ext>
            </a:extLst>
          </p:cNvPr>
          <p:cNvSpPr txBox="1"/>
          <p:nvPr/>
        </p:nvSpPr>
        <p:spPr>
          <a:xfrm>
            <a:off x="6153770" y="4727038"/>
            <a:ext cx="1538882" cy="944939"/>
          </a:xfrm>
          <a:prstGeom prst="rect">
            <a:avLst/>
          </a:prstGeom>
          <a:noFill/>
          <a:effectLst/>
        </p:spPr>
        <p:txBody>
          <a:bodyPr wrap="square" lIns="0" tIns="0" rIns="0" bIns="0" rtlCol="0" anchor="t">
            <a:spAutoFit/>
          </a:bodyPr>
          <a:lstStyle/>
          <a:p>
            <a:pPr algn="ctr">
              <a:lnSpc>
                <a:spcPct val="130000"/>
              </a:lnSpc>
            </a:pPr>
            <a:r>
              <a:rPr lang="en-US" altLang="zh-CN" sz="1200" b="0" dirty="0">
                <a:solidFill>
                  <a:schemeClr val="tx1">
                    <a:lumMod val="75000"/>
                    <a:lumOff val="25000"/>
                  </a:schemeClr>
                </a:solidFill>
                <a:effectLst/>
                <a:latin typeface="+mn-ea"/>
              </a:rPr>
              <a:t>Lorem ipsum dolor sit ametconsectetur adipisicing elit</a:t>
            </a:r>
            <a:r>
              <a:rPr lang="en-US" altLang="zh-CN" sz="1200" dirty="0">
                <a:solidFill>
                  <a:schemeClr val="tx1">
                    <a:lumMod val="75000"/>
                    <a:lumOff val="25000"/>
                  </a:schemeClr>
                </a:solidFill>
                <a:latin typeface="+mn-ea"/>
              </a:rPr>
              <a:t> </a:t>
            </a:r>
            <a:r>
              <a:rPr lang="en-US" altLang="zh-CN" sz="1200" b="0" dirty="0">
                <a:solidFill>
                  <a:schemeClr val="tx1">
                    <a:lumMod val="75000"/>
                    <a:lumOff val="25000"/>
                  </a:schemeClr>
                </a:solidFill>
                <a:effectLst/>
                <a:latin typeface="+mn-ea"/>
              </a:rPr>
              <a:t>sed do eiusmod tempor</a:t>
            </a:r>
            <a:endParaRPr lang="zh-CN" altLang="en-US" sz="1200" b="0" dirty="0">
              <a:solidFill>
                <a:schemeClr val="tx1">
                  <a:lumMod val="75000"/>
                  <a:lumOff val="25000"/>
                </a:schemeClr>
              </a:solidFill>
              <a:effectLst/>
              <a:latin typeface="+mn-ea"/>
            </a:endParaRPr>
          </a:p>
        </p:txBody>
      </p:sp>
      <p:cxnSp>
        <p:nvCxnSpPr>
          <p:cNvPr id="36" name="直接连接符 35">
            <a:extLst>
              <a:ext uri="{FF2B5EF4-FFF2-40B4-BE49-F238E27FC236}">
                <a16:creationId xmlns:a16="http://schemas.microsoft.com/office/drawing/2014/main" id="{0DA08A63-3F3B-4594-BB68-3DD96092206D}"/>
              </a:ext>
            </a:extLst>
          </p:cNvPr>
          <p:cNvCxnSpPr>
            <a:cxnSpLocks/>
          </p:cNvCxnSpPr>
          <p:nvPr/>
        </p:nvCxnSpPr>
        <p:spPr>
          <a:xfrm>
            <a:off x="6763191" y="4644488"/>
            <a:ext cx="320040" cy="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53" name="iconfont-1179-866479">
            <a:extLst>
              <a:ext uri="{FF2B5EF4-FFF2-40B4-BE49-F238E27FC236}">
                <a16:creationId xmlns:a16="http://schemas.microsoft.com/office/drawing/2014/main" id="{815A64A5-D039-45C6-851C-DAEAEE34D900}"/>
              </a:ext>
            </a:extLst>
          </p:cNvPr>
          <p:cNvSpPr/>
          <p:nvPr/>
        </p:nvSpPr>
        <p:spPr>
          <a:xfrm>
            <a:off x="6769814" y="2602523"/>
            <a:ext cx="306793" cy="613430"/>
          </a:xfrm>
          <a:custGeom>
            <a:avLst/>
            <a:gdLst>
              <a:gd name="T0" fmla="*/ 541 w 4094"/>
              <a:gd name="T1" fmla="*/ 4469 h 8186"/>
              <a:gd name="T2" fmla="*/ 541 w 4094"/>
              <a:gd name="T3" fmla="*/ 4465 h 8186"/>
              <a:gd name="T4" fmla="*/ 3524 w 4094"/>
              <a:gd name="T5" fmla="*/ 4467 h 8186"/>
              <a:gd name="T6" fmla="*/ 3535 w 4094"/>
              <a:gd name="T7" fmla="*/ 4465 h 8186"/>
              <a:gd name="T8" fmla="*/ 4094 w 4094"/>
              <a:gd name="T9" fmla="*/ 5023 h 8186"/>
              <a:gd name="T10" fmla="*/ 3986 w 4094"/>
              <a:gd name="T11" fmla="*/ 5332 h 8186"/>
              <a:gd name="T12" fmla="*/ 3997 w 4094"/>
              <a:gd name="T13" fmla="*/ 5339 h 8186"/>
              <a:gd name="T14" fmla="*/ 3987 w 4094"/>
              <a:gd name="T15" fmla="*/ 5357 h 8186"/>
              <a:gd name="T16" fmla="*/ 3991 w 4094"/>
              <a:gd name="T17" fmla="*/ 5359 h 8186"/>
              <a:gd name="T18" fmla="*/ 2565 w 4094"/>
              <a:gd name="T19" fmla="*/ 7829 h 8186"/>
              <a:gd name="T20" fmla="*/ 2519 w 4094"/>
              <a:gd name="T21" fmla="*/ 7908 h 8186"/>
              <a:gd name="T22" fmla="*/ 2503 w 4094"/>
              <a:gd name="T23" fmla="*/ 7935 h 8186"/>
              <a:gd name="T24" fmla="*/ 2502 w 4094"/>
              <a:gd name="T25" fmla="*/ 7934 h 8186"/>
              <a:gd name="T26" fmla="*/ 2047 w 4094"/>
              <a:gd name="T27" fmla="*/ 8186 h 8186"/>
              <a:gd name="T28" fmla="*/ 1562 w 4094"/>
              <a:gd name="T29" fmla="*/ 7876 h 8186"/>
              <a:gd name="T30" fmla="*/ 97 w 4094"/>
              <a:gd name="T31" fmla="*/ 5339 h 8186"/>
              <a:gd name="T32" fmla="*/ 109 w 4094"/>
              <a:gd name="T33" fmla="*/ 5331 h 8186"/>
              <a:gd name="T34" fmla="*/ 1 w 4094"/>
              <a:gd name="T35" fmla="*/ 5023 h 8186"/>
              <a:gd name="T36" fmla="*/ 541 w 4094"/>
              <a:gd name="T37" fmla="*/ 4469 h 8186"/>
              <a:gd name="T38" fmla="*/ 541 w 4094"/>
              <a:gd name="T39" fmla="*/ 4469 h 8186"/>
              <a:gd name="T40" fmla="*/ 541 w 4094"/>
              <a:gd name="T41" fmla="*/ 4469 h 8186"/>
              <a:gd name="T42" fmla="*/ 2047 w 4094"/>
              <a:gd name="T43" fmla="*/ 7228 h 8186"/>
              <a:gd name="T44" fmla="*/ 3213 w 4094"/>
              <a:gd name="T45" fmla="*/ 5209 h 8186"/>
              <a:gd name="T46" fmla="*/ 882 w 4094"/>
              <a:gd name="T47" fmla="*/ 5209 h 8186"/>
              <a:gd name="T48" fmla="*/ 2047 w 4094"/>
              <a:gd name="T49" fmla="*/ 7228 h 8186"/>
              <a:gd name="T50" fmla="*/ 3554 w 4094"/>
              <a:gd name="T51" fmla="*/ 3717 h 8186"/>
              <a:gd name="T52" fmla="*/ 3554 w 4094"/>
              <a:gd name="T53" fmla="*/ 3721 h 8186"/>
              <a:gd name="T54" fmla="*/ 579 w 4094"/>
              <a:gd name="T55" fmla="*/ 3721 h 8186"/>
              <a:gd name="T56" fmla="*/ 579 w 4094"/>
              <a:gd name="T57" fmla="*/ 3717 h 8186"/>
              <a:gd name="T58" fmla="*/ 559 w 4094"/>
              <a:gd name="T59" fmla="*/ 3721 h 8186"/>
              <a:gd name="T60" fmla="*/ 0 w 4094"/>
              <a:gd name="T61" fmla="*/ 3163 h 8186"/>
              <a:gd name="T62" fmla="*/ 118 w 4094"/>
              <a:gd name="T63" fmla="*/ 2835 h 8186"/>
              <a:gd name="T64" fmla="*/ 104 w 4094"/>
              <a:gd name="T65" fmla="*/ 2827 h 8186"/>
              <a:gd name="T66" fmla="*/ 1529 w 4094"/>
              <a:gd name="T67" fmla="*/ 357 h 8186"/>
              <a:gd name="T68" fmla="*/ 1576 w 4094"/>
              <a:gd name="T69" fmla="*/ 277 h 8186"/>
              <a:gd name="T70" fmla="*/ 1591 w 4094"/>
              <a:gd name="T71" fmla="*/ 251 h 8186"/>
              <a:gd name="T72" fmla="*/ 1593 w 4094"/>
              <a:gd name="T73" fmla="*/ 252 h 8186"/>
              <a:gd name="T74" fmla="*/ 2047 w 4094"/>
              <a:gd name="T75" fmla="*/ 0 h 8186"/>
              <a:gd name="T76" fmla="*/ 2570 w 4094"/>
              <a:gd name="T77" fmla="*/ 384 h 8186"/>
              <a:gd name="T78" fmla="*/ 3967 w 4094"/>
              <a:gd name="T79" fmla="*/ 2803 h 8186"/>
              <a:gd name="T80" fmla="*/ 3958 w 4094"/>
              <a:gd name="T81" fmla="*/ 2809 h 8186"/>
              <a:gd name="T82" fmla="*/ 4093 w 4094"/>
              <a:gd name="T83" fmla="*/ 3163 h 8186"/>
              <a:gd name="T84" fmla="*/ 3554 w 4094"/>
              <a:gd name="T85" fmla="*/ 3717 h 8186"/>
              <a:gd name="T86" fmla="*/ 3554 w 4094"/>
              <a:gd name="T87" fmla="*/ 3717 h 8186"/>
              <a:gd name="T88" fmla="*/ 3554 w 4094"/>
              <a:gd name="T89" fmla="*/ 3717 h 8186"/>
              <a:gd name="T90" fmla="*/ 3554 w 4094"/>
              <a:gd name="T91" fmla="*/ 3717 h 8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094" h="8186">
                <a:moveTo>
                  <a:pt x="541" y="4469"/>
                </a:moveTo>
                <a:lnTo>
                  <a:pt x="541" y="4465"/>
                </a:lnTo>
                <a:lnTo>
                  <a:pt x="3524" y="4467"/>
                </a:lnTo>
                <a:cubicBezTo>
                  <a:pt x="3528" y="4466"/>
                  <a:pt x="3531" y="4465"/>
                  <a:pt x="3535" y="4465"/>
                </a:cubicBezTo>
                <a:cubicBezTo>
                  <a:pt x="3844" y="4465"/>
                  <a:pt x="4094" y="4715"/>
                  <a:pt x="4094" y="5023"/>
                </a:cubicBezTo>
                <a:cubicBezTo>
                  <a:pt x="4094" y="5141"/>
                  <a:pt x="4049" y="5243"/>
                  <a:pt x="3986" y="5332"/>
                </a:cubicBezTo>
                <a:lnTo>
                  <a:pt x="3997" y="5339"/>
                </a:lnTo>
                <a:lnTo>
                  <a:pt x="3987" y="5357"/>
                </a:lnTo>
                <a:lnTo>
                  <a:pt x="3991" y="5359"/>
                </a:lnTo>
                <a:lnTo>
                  <a:pt x="2565" y="7829"/>
                </a:lnTo>
                <a:cubicBezTo>
                  <a:pt x="2553" y="7858"/>
                  <a:pt x="2535" y="7882"/>
                  <a:pt x="2519" y="7908"/>
                </a:cubicBezTo>
                <a:lnTo>
                  <a:pt x="2503" y="7935"/>
                </a:lnTo>
                <a:lnTo>
                  <a:pt x="2502" y="7934"/>
                </a:lnTo>
                <a:cubicBezTo>
                  <a:pt x="2401" y="8082"/>
                  <a:pt x="2240" y="8186"/>
                  <a:pt x="2047" y="8186"/>
                </a:cubicBezTo>
                <a:cubicBezTo>
                  <a:pt x="1831" y="8186"/>
                  <a:pt x="1653" y="8057"/>
                  <a:pt x="1562" y="7876"/>
                </a:cubicBezTo>
                <a:lnTo>
                  <a:pt x="97" y="5339"/>
                </a:lnTo>
                <a:lnTo>
                  <a:pt x="109" y="5331"/>
                </a:lnTo>
                <a:cubicBezTo>
                  <a:pt x="46" y="5243"/>
                  <a:pt x="1" y="5141"/>
                  <a:pt x="1" y="5023"/>
                </a:cubicBezTo>
                <a:cubicBezTo>
                  <a:pt x="0" y="4721"/>
                  <a:pt x="241" y="4479"/>
                  <a:pt x="541" y="4469"/>
                </a:cubicBezTo>
                <a:lnTo>
                  <a:pt x="541" y="4469"/>
                </a:lnTo>
                <a:lnTo>
                  <a:pt x="541" y="4469"/>
                </a:lnTo>
                <a:close/>
                <a:moveTo>
                  <a:pt x="2047" y="7228"/>
                </a:moveTo>
                <a:lnTo>
                  <a:pt x="3213" y="5209"/>
                </a:lnTo>
                <a:lnTo>
                  <a:pt x="882" y="5209"/>
                </a:lnTo>
                <a:lnTo>
                  <a:pt x="2047" y="7228"/>
                </a:lnTo>
                <a:close/>
                <a:moveTo>
                  <a:pt x="3554" y="3717"/>
                </a:moveTo>
                <a:lnTo>
                  <a:pt x="3554" y="3721"/>
                </a:lnTo>
                <a:lnTo>
                  <a:pt x="579" y="3721"/>
                </a:lnTo>
                <a:lnTo>
                  <a:pt x="579" y="3717"/>
                </a:lnTo>
                <a:cubicBezTo>
                  <a:pt x="572" y="3717"/>
                  <a:pt x="566" y="3721"/>
                  <a:pt x="559" y="3721"/>
                </a:cubicBezTo>
                <a:cubicBezTo>
                  <a:pt x="250" y="3721"/>
                  <a:pt x="0" y="3471"/>
                  <a:pt x="0" y="3163"/>
                </a:cubicBezTo>
                <a:cubicBezTo>
                  <a:pt x="0" y="3038"/>
                  <a:pt x="49" y="2928"/>
                  <a:pt x="118" y="2835"/>
                </a:cubicBezTo>
                <a:lnTo>
                  <a:pt x="104" y="2827"/>
                </a:lnTo>
                <a:lnTo>
                  <a:pt x="1529" y="357"/>
                </a:lnTo>
                <a:cubicBezTo>
                  <a:pt x="1541" y="328"/>
                  <a:pt x="1560" y="304"/>
                  <a:pt x="1576" y="277"/>
                </a:cubicBezTo>
                <a:lnTo>
                  <a:pt x="1591" y="251"/>
                </a:lnTo>
                <a:lnTo>
                  <a:pt x="1593" y="252"/>
                </a:lnTo>
                <a:cubicBezTo>
                  <a:pt x="1693" y="103"/>
                  <a:pt x="1854" y="0"/>
                  <a:pt x="2047" y="0"/>
                </a:cubicBezTo>
                <a:cubicBezTo>
                  <a:pt x="2293" y="0"/>
                  <a:pt x="2496" y="162"/>
                  <a:pt x="2570" y="384"/>
                </a:cubicBezTo>
                <a:lnTo>
                  <a:pt x="3967" y="2803"/>
                </a:lnTo>
                <a:lnTo>
                  <a:pt x="3958" y="2809"/>
                </a:lnTo>
                <a:cubicBezTo>
                  <a:pt x="4039" y="2906"/>
                  <a:pt x="4093" y="3026"/>
                  <a:pt x="4093" y="3163"/>
                </a:cubicBezTo>
                <a:cubicBezTo>
                  <a:pt x="4094" y="3465"/>
                  <a:pt x="3853" y="3707"/>
                  <a:pt x="3554" y="3717"/>
                </a:cubicBezTo>
                <a:lnTo>
                  <a:pt x="3554" y="3717"/>
                </a:lnTo>
                <a:lnTo>
                  <a:pt x="3554" y="3717"/>
                </a:lnTo>
                <a:close/>
                <a:moveTo>
                  <a:pt x="3554" y="3717"/>
                </a:move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grpSp>
        <p:nvGrpSpPr>
          <p:cNvPr id="43" name="组合 42">
            <a:extLst>
              <a:ext uri="{FF2B5EF4-FFF2-40B4-BE49-F238E27FC236}">
                <a16:creationId xmlns:a16="http://schemas.microsoft.com/office/drawing/2014/main" id="{CC1E0162-78FC-4530-834C-EFBB56C963B0}"/>
              </a:ext>
            </a:extLst>
          </p:cNvPr>
          <p:cNvGrpSpPr/>
          <p:nvPr/>
        </p:nvGrpSpPr>
        <p:grpSpPr>
          <a:xfrm>
            <a:off x="8312396" y="2090555"/>
            <a:ext cx="1811216" cy="1867998"/>
            <a:chOff x="2013438" y="2362932"/>
            <a:chExt cx="1811216" cy="1867998"/>
          </a:xfrm>
        </p:grpSpPr>
        <p:sp>
          <p:nvSpPr>
            <p:cNvPr id="48" name="椭圆 47">
              <a:extLst>
                <a:ext uri="{FF2B5EF4-FFF2-40B4-BE49-F238E27FC236}">
                  <a16:creationId xmlns:a16="http://schemas.microsoft.com/office/drawing/2014/main" id="{C9D38A93-0973-4075-9F93-241696CA2BC9}"/>
                </a:ext>
              </a:extLst>
            </p:cNvPr>
            <p:cNvSpPr/>
            <p:nvPr/>
          </p:nvSpPr>
          <p:spPr>
            <a:xfrm>
              <a:off x="2013438" y="3685807"/>
              <a:ext cx="1811216" cy="545123"/>
            </a:xfrm>
            <a:prstGeom prst="ellips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49" name="椭圆 48">
              <a:extLst>
                <a:ext uri="{FF2B5EF4-FFF2-40B4-BE49-F238E27FC236}">
                  <a16:creationId xmlns:a16="http://schemas.microsoft.com/office/drawing/2014/main" id="{4AFF1C2D-D111-4477-AD2E-CFC83FC76BC8}"/>
                </a:ext>
              </a:extLst>
            </p:cNvPr>
            <p:cNvSpPr/>
            <p:nvPr/>
          </p:nvSpPr>
          <p:spPr>
            <a:xfrm>
              <a:off x="2013438" y="3642945"/>
              <a:ext cx="1811216" cy="545123"/>
            </a:xfrm>
            <a:prstGeom prst="ellipse">
              <a:avLst/>
            </a:prstGeom>
            <a:gradFill>
              <a:gsLst>
                <a:gs pos="1000">
                  <a:schemeClr val="accent1">
                    <a:lumMod val="20000"/>
                    <a:lumOff val="80000"/>
                  </a:schemeClr>
                </a:gs>
                <a:gs pos="100000">
                  <a:schemeClr val="accent1">
                    <a:lumMod val="60000"/>
                    <a:lumOff val="40000"/>
                  </a:schemeClr>
                </a:gs>
              </a:gsLst>
              <a:path path="circle">
                <a:fillToRect r="100000" b="10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50" name="椭圆 49">
              <a:extLst>
                <a:ext uri="{FF2B5EF4-FFF2-40B4-BE49-F238E27FC236}">
                  <a16:creationId xmlns:a16="http://schemas.microsoft.com/office/drawing/2014/main" id="{24F58500-8B27-4E1D-8A1A-CB2DC2C4055A}"/>
                </a:ext>
              </a:extLst>
            </p:cNvPr>
            <p:cNvSpPr/>
            <p:nvPr/>
          </p:nvSpPr>
          <p:spPr>
            <a:xfrm>
              <a:off x="2569848" y="3642944"/>
              <a:ext cx="1225382" cy="545123"/>
            </a:xfrm>
            <a:prstGeom prst="ellipse">
              <a:avLst/>
            </a:prstGeom>
            <a:solidFill>
              <a:schemeClr val="accent1">
                <a:lumMod val="50000"/>
                <a:alpha val="57000"/>
              </a:schemeClr>
            </a:solidFill>
            <a:ln>
              <a:noFill/>
            </a:ln>
            <a:effectLst>
              <a:softEdge rad="127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51" name="椭圆 50">
              <a:extLst>
                <a:ext uri="{FF2B5EF4-FFF2-40B4-BE49-F238E27FC236}">
                  <a16:creationId xmlns:a16="http://schemas.microsoft.com/office/drawing/2014/main" id="{DF981C45-4A7F-4D59-97FA-F20CABF24911}"/>
                </a:ext>
              </a:extLst>
            </p:cNvPr>
            <p:cNvSpPr/>
            <p:nvPr/>
          </p:nvSpPr>
          <p:spPr>
            <a:xfrm>
              <a:off x="2109421" y="2362932"/>
              <a:ext cx="1619250" cy="1619250"/>
            </a:xfrm>
            <a:prstGeom prst="ellipse">
              <a:avLst/>
            </a:prstGeom>
            <a:gradFill>
              <a:gsLst>
                <a:gs pos="1000">
                  <a:schemeClr val="accent1">
                    <a:lumMod val="20000"/>
                    <a:lumOff val="80000"/>
                  </a:schemeClr>
                </a:gs>
                <a:gs pos="38000">
                  <a:schemeClr val="accent1">
                    <a:lumMod val="60000"/>
                    <a:lumOff val="40000"/>
                  </a:schemeClr>
                </a:gs>
                <a:gs pos="78000">
                  <a:schemeClr val="accent1">
                    <a:lumMod val="75000"/>
                  </a:schemeClr>
                </a:gs>
                <a:gs pos="63000">
                  <a:schemeClr val="accent1"/>
                </a:gs>
              </a:gsLst>
              <a:path path="circle">
                <a:fillToRect r="100000" b="10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grpSp>
      <p:sp>
        <p:nvSpPr>
          <p:cNvPr id="44" name="文本框 43">
            <a:extLst>
              <a:ext uri="{FF2B5EF4-FFF2-40B4-BE49-F238E27FC236}">
                <a16:creationId xmlns:a16="http://schemas.microsoft.com/office/drawing/2014/main" id="{73B8F508-855B-438D-ADBB-DB205D015D6A}"/>
              </a:ext>
            </a:extLst>
          </p:cNvPr>
          <p:cNvSpPr txBox="1"/>
          <p:nvPr/>
        </p:nvSpPr>
        <p:spPr>
          <a:xfrm>
            <a:off x="8576803" y="4266060"/>
            <a:ext cx="1282402" cy="307777"/>
          </a:xfrm>
          <a:prstGeom prst="rect">
            <a:avLst/>
          </a:prstGeom>
          <a:noFill/>
          <a:effectLst/>
        </p:spPr>
        <p:txBody>
          <a:bodyPr wrap="none" lIns="0" tIns="0" rIns="0" bIns="0" rtlCol="0" anchor="t">
            <a:spAutoFit/>
          </a:bodyPr>
          <a:lstStyle/>
          <a:p>
            <a:pPr algn="ctr"/>
            <a:r>
              <a:rPr lang="zh-CN" altLang="en-US" sz="2000" dirty="0">
                <a:solidFill>
                  <a:schemeClr val="accent1"/>
                </a:solidFill>
                <a:latin typeface="+mj-ea"/>
                <a:ea typeface="+mj-ea"/>
              </a:rPr>
              <a:t>关键词标题</a:t>
            </a:r>
          </a:p>
        </p:txBody>
      </p:sp>
      <p:sp>
        <p:nvSpPr>
          <p:cNvPr id="45" name="文本框 44">
            <a:extLst>
              <a:ext uri="{FF2B5EF4-FFF2-40B4-BE49-F238E27FC236}">
                <a16:creationId xmlns:a16="http://schemas.microsoft.com/office/drawing/2014/main" id="{6CB882BC-E443-46E7-B56B-324AB214179F}"/>
              </a:ext>
            </a:extLst>
          </p:cNvPr>
          <p:cNvSpPr txBox="1"/>
          <p:nvPr/>
        </p:nvSpPr>
        <p:spPr>
          <a:xfrm>
            <a:off x="8448563" y="4727038"/>
            <a:ext cx="1538882" cy="944939"/>
          </a:xfrm>
          <a:prstGeom prst="rect">
            <a:avLst/>
          </a:prstGeom>
          <a:noFill/>
          <a:effectLst/>
        </p:spPr>
        <p:txBody>
          <a:bodyPr wrap="square" lIns="0" tIns="0" rIns="0" bIns="0" rtlCol="0" anchor="t">
            <a:spAutoFit/>
          </a:bodyPr>
          <a:lstStyle/>
          <a:p>
            <a:pPr algn="ctr">
              <a:lnSpc>
                <a:spcPct val="130000"/>
              </a:lnSpc>
            </a:pPr>
            <a:r>
              <a:rPr lang="en-US" altLang="zh-CN" sz="1200" b="0" dirty="0">
                <a:solidFill>
                  <a:schemeClr val="tx1">
                    <a:lumMod val="75000"/>
                    <a:lumOff val="25000"/>
                  </a:schemeClr>
                </a:solidFill>
                <a:effectLst/>
                <a:latin typeface="+mn-ea"/>
              </a:rPr>
              <a:t>Lorem ipsum dolor sit ametconsectetur adipisicing elit</a:t>
            </a:r>
            <a:r>
              <a:rPr lang="en-US" altLang="zh-CN" sz="1200" dirty="0">
                <a:solidFill>
                  <a:schemeClr val="tx1">
                    <a:lumMod val="75000"/>
                    <a:lumOff val="25000"/>
                  </a:schemeClr>
                </a:solidFill>
                <a:latin typeface="+mn-ea"/>
              </a:rPr>
              <a:t> </a:t>
            </a:r>
            <a:r>
              <a:rPr lang="en-US" altLang="zh-CN" sz="1200" b="0" dirty="0">
                <a:solidFill>
                  <a:schemeClr val="tx1">
                    <a:lumMod val="75000"/>
                    <a:lumOff val="25000"/>
                  </a:schemeClr>
                </a:solidFill>
                <a:effectLst/>
                <a:latin typeface="+mn-ea"/>
              </a:rPr>
              <a:t>sed do eiusmod tempor</a:t>
            </a:r>
            <a:endParaRPr lang="zh-CN" altLang="en-US" sz="1200" b="0" dirty="0">
              <a:solidFill>
                <a:schemeClr val="tx1">
                  <a:lumMod val="75000"/>
                  <a:lumOff val="25000"/>
                </a:schemeClr>
              </a:solidFill>
              <a:effectLst/>
              <a:latin typeface="+mn-ea"/>
            </a:endParaRPr>
          </a:p>
        </p:txBody>
      </p:sp>
      <p:cxnSp>
        <p:nvCxnSpPr>
          <p:cNvPr id="46" name="直接连接符 45">
            <a:extLst>
              <a:ext uri="{FF2B5EF4-FFF2-40B4-BE49-F238E27FC236}">
                <a16:creationId xmlns:a16="http://schemas.microsoft.com/office/drawing/2014/main" id="{9551007D-5CCC-495B-84D5-5B5200D6ED27}"/>
              </a:ext>
            </a:extLst>
          </p:cNvPr>
          <p:cNvCxnSpPr>
            <a:cxnSpLocks/>
          </p:cNvCxnSpPr>
          <p:nvPr/>
        </p:nvCxnSpPr>
        <p:spPr>
          <a:xfrm>
            <a:off x="9057984" y="4644488"/>
            <a:ext cx="320040" cy="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54" name="iconfont-1179-866479">
            <a:extLst>
              <a:ext uri="{FF2B5EF4-FFF2-40B4-BE49-F238E27FC236}">
                <a16:creationId xmlns:a16="http://schemas.microsoft.com/office/drawing/2014/main" id="{159F8465-973A-4C21-B887-70238A1A3901}"/>
              </a:ext>
            </a:extLst>
          </p:cNvPr>
          <p:cNvSpPr/>
          <p:nvPr/>
        </p:nvSpPr>
        <p:spPr>
          <a:xfrm>
            <a:off x="8911369" y="2602523"/>
            <a:ext cx="613269" cy="613430"/>
          </a:xfrm>
          <a:custGeom>
            <a:avLst/>
            <a:gdLst>
              <a:gd name="T0" fmla="*/ 7682 w 7948"/>
              <a:gd name="T1" fmla="*/ 6783 h 7949"/>
              <a:gd name="T2" fmla="*/ 5299 w 7948"/>
              <a:gd name="T3" fmla="*/ 5962 h 7949"/>
              <a:gd name="T4" fmla="*/ 5331 w 7948"/>
              <a:gd name="T5" fmla="*/ 4819 h 7949"/>
              <a:gd name="T6" fmla="*/ 5842 w 7948"/>
              <a:gd name="T7" fmla="*/ 3675 h 7949"/>
              <a:gd name="T8" fmla="*/ 6062 w 7948"/>
              <a:gd name="T9" fmla="*/ 2499 h 7949"/>
              <a:gd name="T10" fmla="*/ 5782 w 7948"/>
              <a:gd name="T11" fmla="*/ 2087 h 7949"/>
              <a:gd name="T12" fmla="*/ 5560 w 7948"/>
              <a:gd name="T13" fmla="*/ 808 h 7949"/>
              <a:gd name="T14" fmla="*/ 4267 w 7948"/>
              <a:gd name="T15" fmla="*/ 3 h 7949"/>
              <a:gd name="T16" fmla="*/ 3532 w 7948"/>
              <a:gd name="T17" fmla="*/ 224 h 7949"/>
              <a:gd name="T18" fmla="*/ 2166 w 7948"/>
              <a:gd name="T19" fmla="*/ 2087 h 7949"/>
              <a:gd name="T20" fmla="*/ 1886 w 7948"/>
              <a:gd name="T21" fmla="*/ 2499 h 7949"/>
              <a:gd name="T22" fmla="*/ 2106 w 7948"/>
              <a:gd name="T23" fmla="*/ 3675 h 7949"/>
              <a:gd name="T24" fmla="*/ 2617 w 7948"/>
              <a:gd name="T25" fmla="*/ 4819 h 7949"/>
              <a:gd name="T26" fmla="*/ 2649 w 7948"/>
              <a:gd name="T27" fmla="*/ 5963 h 7949"/>
              <a:gd name="T28" fmla="*/ 266 w 7948"/>
              <a:gd name="T29" fmla="*/ 6783 h 7949"/>
              <a:gd name="T30" fmla="*/ 0 w 7948"/>
              <a:gd name="T31" fmla="*/ 7949 h 7949"/>
              <a:gd name="T32" fmla="*/ 7948 w 7948"/>
              <a:gd name="T33" fmla="*/ 7949 h 7949"/>
              <a:gd name="T34" fmla="*/ 7682 w 7948"/>
              <a:gd name="T35" fmla="*/ 6783 h 79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948" h="7949">
                <a:moveTo>
                  <a:pt x="7682" y="6783"/>
                </a:moveTo>
                <a:cubicBezTo>
                  <a:pt x="7334" y="6308"/>
                  <a:pt x="5568" y="6505"/>
                  <a:pt x="5299" y="5962"/>
                </a:cubicBezTo>
                <a:cubicBezTo>
                  <a:pt x="4764" y="4886"/>
                  <a:pt x="4982" y="5086"/>
                  <a:pt x="5331" y="4819"/>
                </a:cubicBezTo>
                <a:cubicBezTo>
                  <a:pt x="5658" y="4569"/>
                  <a:pt x="5642" y="3909"/>
                  <a:pt x="5842" y="3675"/>
                </a:cubicBezTo>
                <a:cubicBezTo>
                  <a:pt x="6045" y="3437"/>
                  <a:pt x="6139" y="2756"/>
                  <a:pt x="6062" y="2499"/>
                </a:cubicBezTo>
                <a:cubicBezTo>
                  <a:pt x="5961" y="2159"/>
                  <a:pt x="5806" y="2344"/>
                  <a:pt x="5782" y="2087"/>
                </a:cubicBezTo>
                <a:cubicBezTo>
                  <a:pt x="5732" y="1533"/>
                  <a:pt x="5872" y="1078"/>
                  <a:pt x="5560" y="808"/>
                </a:cubicBezTo>
                <a:cubicBezTo>
                  <a:pt x="5258" y="548"/>
                  <a:pt x="4881" y="10"/>
                  <a:pt x="4267" y="3"/>
                </a:cubicBezTo>
                <a:cubicBezTo>
                  <a:pt x="4053" y="0"/>
                  <a:pt x="3811" y="64"/>
                  <a:pt x="3532" y="224"/>
                </a:cubicBezTo>
                <a:cubicBezTo>
                  <a:pt x="2208" y="82"/>
                  <a:pt x="2216" y="1533"/>
                  <a:pt x="2166" y="2087"/>
                </a:cubicBezTo>
                <a:cubicBezTo>
                  <a:pt x="2142" y="2344"/>
                  <a:pt x="1987" y="2159"/>
                  <a:pt x="1886" y="2499"/>
                </a:cubicBezTo>
                <a:cubicBezTo>
                  <a:pt x="1809" y="2756"/>
                  <a:pt x="1903" y="3437"/>
                  <a:pt x="2106" y="3675"/>
                </a:cubicBezTo>
                <a:cubicBezTo>
                  <a:pt x="2306" y="3909"/>
                  <a:pt x="2290" y="4569"/>
                  <a:pt x="2617" y="4819"/>
                </a:cubicBezTo>
                <a:cubicBezTo>
                  <a:pt x="2966" y="5086"/>
                  <a:pt x="3184" y="4886"/>
                  <a:pt x="2649" y="5963"/>
                </a:cubicBezTo>
                <a:cubicBezTo>
                  <a:pt x="2380" y="6505"/>
                  <a:pt x="614" y="6308"/>
                  <a:pt x="266" y="6783"/>
                </a:cubicBezTo>
                <a:cubicBezTo>
                  <a:pt x="0" y="7146"/>
                  <a:pt x="0" y="7949"/>
                  <a:pt x="0" y="7949"/>
                </a:cubicBezTo>
                <a:lnTo>
                  <a:pt x="7948" y="7949"/>
                </a:lnTo>
                <a:cubicBezTo>
                  <a:pt x="7948" y="7949"/>
                  <a:pt x="7948" y="7146"/>
                  <a:pt x="7682" y="6783"/>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spTree>
    <p:custDataLst>
      <p:tags r:id="rId2"/>
    </p:custDataLst>
    <p:extLst>
      <p:ext uri="{BB962C8B-B14F-4D97-AF65-F5344CB8AC3E}">
        <p14:creationId xmlns:p14="http://schemas.microsoft.com/office/powerpoint/2010/main" val="2198899263"/>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3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椭圆 3">
            <a:extLst>
              <a:ext uri="{FF2B5EF4-FFF2-40B4-BE49-F238E27FC236}">
                <a16:creationId xmlns:a16="http://schemas.microsoft.com/office/drawing/2014/main" id="{D0CDCAF0-DAEC-4FD4-9FC6-01DB835C0AED}"/>
              </a:ext>
            </a:extLst>
          </p:cNvPr>
          <p:cNvSpPr/>
          <p:nvPr/>
        </p:nvSpPr>
        <p:spPr>
          <a:xfrm>
            <a:off x="4953457" y="2581732"/>
            <a:ext cx="2018386" cy="201838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5" name="弧形 4">
            <a:extLst>
              <a:ext uri="{FF2B5EF4-FFF2-40B4-BE49-F238E27FC236}">
                <a16:creationId xmlns:a16="http://schemas.microsoft.com/office/drawing/2014/main" id="{0B3E0049-BF03-435A-AF3E-48BC94F9EF2B}"/>
              </a:ext>
            </a:extLst>
          </p:cNvPr>
          <p:cNvSpPr/>
          <p:nvPr/>
        </p:nvSpPr>
        <p:spPr>
          <a:xfrm>
            <a:off x="4888915" y="2517190"/>
            <a:ext cx="2147470" cy="2147470"/>
          </a:xfrm>
          <a:prstGeom prst="arc">
            <a:avLst>
              <a:gd name="adj1" fmla="val 6015801"/>
              <a:gd name="adj2" fmla="val 13260062"/>
            </a:avLst>
          </a:prstGeom>
          <a:noFill/>
          <a:ln w="539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6" name="弧形 5">
            <a:extLst>
              <a:ext uri="{FF2B5EF4-FFF2-40B4-BE49-F238E27FC236}">
                <a16:creationId xmlns:a16="http://schemas.microsoft.com/office/drawing/2014/main" id="{C41A3A91-8FCE-4AC9-BEF5-BE3CF4248A20}"/>
              </a:ext>
            </a:extLst>
          </p:cNvPr>
          <p:cNvSpPr/>
          <p:nvPr/>
        </p:nvSpPr>
        <p:spPr>
          <a:xfrm>
            <a:off x="4888915" y="2517190"/>
            <a:ext cx="2147470" cy="2147470"/>
          </a:xfrm>
          <a:prstGeom prst="arc">
            <a:avLst>
              <a:gd name="adj1" fmla="val 11786762"/>
              <a:gd name="adj2" fmla="val 6265140"/>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7" name="椭圆 6">
            <a:extLst>
              <a:ext uri="{FF2B5EF4-FFF2-40B4-BE49-F238E27FC236}">
                <a16:creationId xmlns:a16="http://schemas.microsoft.com/office/drawing/2014/main" id="{5CA3973A-7574-4DB6-9967-3D9D482F13B3}"/>
              </a:ext>
            </a:extLst>
          </p:cNvPr>
          <p:cNvSpPr/>
          <p:nvPr/>
        </p:nvSpPr>
        <p:spPr>
          <a:xfrm>
            <a:off x="4495800" y="2124075"/>
            <a:ext cx="2933700" cy="2933700"/>
          </a:xfrm>
          <a:prstGeom prst="ellipse">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8" name="椭圆 7">
            <a:extLst>
              <a:ext uri="{FF2B5EF4-FFF2-40B4-BE49-F238E27FC236}">
                <a16:creationId xmlns:a16="http://schemas.microsoft.com/office/drawing/2014/main" id="{9FBF7CA5-0B62-41D5-B96B-280A3A584B5C}"/>
              </a:ext>
            </a:extLst>
          </p:cNvPr>
          <p:cNvSpPr/>
          <p:nvPr/>
        </p:nvSpPr>
        <p:spPr>
          <a:xfrm>
            <a:off x="4560342" y="2314178"/>
            <a:ext cx="539801" cy="53980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altLang="zh-CN" sz="1600" dirty="0">
                <a:solidFill>
                  <a:schemeClr val="bg1"/>
                </a:solidFill>
                <a:latin typeface="+mj-ea"/>
                <a:ea typeface="+mj-ea"/>
              </a:rPr>
              <a:t>01</a:t>
            </a:r>
            <a:endParaRPr lang="zh-CN" altLang="en-US" sz="1600" dirty="0">
              <a:solidFill>
                <a:schemeClr val="bg1"/>
              </a:solidFill>
              <a:latin typeface="+mj-ea"/>
              <a:ea typeface="+mj-ea"/>
            </a:endParaRPr>
          </a:p>
        </p:txBody>
      </p:sp>
      <p:sp>
        <p:nvSpPr>
          <p:cNvPr id="12" name="椭圆 11">
            <a:extLst>
              <a:ext uri="{FF2B5EF4-FFF2-40B4-BE49-F238E27FC236}">
                <a16:creationId xmlns:a16="http://schemas.microsoft.com/office/drawing/2014/main" id="{8556A606-0347-429F-8B6C-2A70A8AF6441}"/>
              </a:ext>
            </a:extLst>
          </p:cNvPr>
          <p:cNvSpPr/>
          <p:nvPr/>
        </p:nvSpPr>
        <p:spPr>
          <a:xfrm>
            <a:off x="6734213" y="2314178"/>
            <a:ext cx="539801" cy="53980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altLang="zh-CN" sz="1600" dirty="0">
                <a:solidFill>
                  <a:schemeClr val="bg1"/>
                </a:solidFill>
                <a:latin typeface="+mj-ea"/>
                <a:ea typeface="+mj-ea"/>
              </a:rPr>
              <a:t>03</a:t>
            </a:r>
            <a:endParaRPr lang="zh-CN" altLang="en-US" sz="1600" dirty="0">
              <a:solidFill>
                <a:schemeClr val="bg1"/>
              </a:solidFill>
              <a:latin typeface="+mj-ea"/>
              <a:ea typeface="+mj-ea"/>
            </a:endParaRPr>
          </a:p>
        </p:txBody>
      </p:sp>
      <p:sp>
        <p:nvSpPr>
          <p:cNvPr id="13" name="椭圆 12">
            <a:extLst>
              <a:ext uri="{FF2B5EF4-FFF2-40B4-BE49-F238E27FC236}">
                <a16:creationId xmlns:a16="http://schemas.microsoft.com/office/drawing/2014/main" id="{090239CC-AB97-4E47-AECC-96767514A141}"/>
              </a:ext>
            </a:extLst>
          </p:cNvPr>
          <p:cNvSpPr/>
          <p:nvPr/>
        </p:nvSpPr>
        <p:spPr>
          <a:xfrm>
            <a:off x="4560342" y="4323175"/>
            <a:ext cx="539801" cy="53980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altLang="zh-CN" sz="1600" dirty="0">
                <a:solidFill>
                  <a:schemeClr val="bg1"/>
                </a:solidFill>
                <a:latin typeface="+mj-ea"/>
                <a:ea typeface="+mj-ea"/>
              </a:rPr>
              <a:t>02</a:t>
            </a:r>
            <a:endParaRPr lang="zh-CN" altLang="en-US" sz="1600" dirty="0">
              <a:solidFill>
                <a:schemeClr val="bg1"/>
              </a:solidFill>
              <a:latin typeface="+mj-ea"/>
              <a:ea typeface="+mj-ea"/>
            </a:endParaRPr>
          </a:p>
        </p:txBody>
      </p:sp>
      <p:sp>
        <p:nvSpPr>
          <p:cNvPr id="14" name="椭圆 13">
            <a:extLst>
              <a:ext uri="{FF2B5EF4-FFF2-40B4-BE49-F238E27FC236}">
                <a16:creationId xmlns:a16="http://schemas.microsoft.com/office/drawing/2014/main" id="{18820A83-D06E-42A8-89B6-9901A8086EAA}"/>
              </a:ext>
            </a:extLst>
          </p:cNvPr>
          <p:cNvSpPr/>
          <p:nvPr/>
        </p:nvSpPr>
        <p:spPr>
          <a:xfrm>
            <a:off x="6734213" y="4323175"/>
            <a:ext cx="539801" cy="53980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altLang="zh-CN" sz="1600" dirty="0">
                <a:solidFill>
                  <a:schemeClr val="bg1"/>
                </a:solidFill>
                <a:latin typeface="+mj-ea"/>
                <a:ea typeface="+mj-ea"/>
              </a:rPr>
              <a:t>04</a:t>
            </a:r>
            <a:endParaRPr lang="zh-CN" altLang="en-US" sz="1600" dirty="0">
              <a:solidFill>
                <a:schemeClr val="bg1"/>
              </a:solidFill>
              <a:latin typeface="+mj-ea"/>
              <a:ea typeface="+mj-ea"/>
            </a:endParaRPr>
          </a:p>
        </p:txBody>
      </p:sp>
      <p:sp>
        <p:nvSpPr>
          <p:cNvPr id="18" name="Freeform 15">
            <a:extLst>
              <a:ext uri="{FF2B5EF4-FFF2-40B4-BE49-F238E27FC236}">
                <a16:creationId xmlns:a16="http://schemas.microsoft.com/office/drawing/2014/main" id="{9C97F6C6-9297-4808-9489-38FFA70856DD}"/>
              </a:ext>
            </a:extLst>
          </p:cNvPr>
          <p:cNvSpPr/>
          <p:nvPr/>
        </p:nvSpPr>
        <p:spPr>
          <a:xfrm>
            <a:off x="3276807" y="1871214"/>
            <a:ext cx="1243379" cy="519112"/>
          </a:xfrm>
          <a:custGeom>
            <a:avLst/>
            <a:gdLst>
              <a:gd name="connsiteX0" fmla="*/ 2699239 w 2699239"/>
              <a:gd name="connsiteY0" fmla="*/ 519112 h 519112"/>
              <a:gd name="connsiteX1" fmla="*/ 2264846 w 2699239"/>
              <a:gd name="connsiteY1" fmla="*/ 84719 h 519112"/>
              <a:gd name="connsiteX2" fmla="*/ 2061199 w 2699239"/>
              <a:gd name="connsiteY2" fmla="*/ 366 h 519112"/>
              <a:gd name="connsiteX3" fmla="*/ 1455860 w 2699239"/>
              <a:gd name="connsiteY3" fmla="*/ 0 h 519112"/>
              <a:gd name="connsiteX4" fmla="*/ 0 w 2699239"/>
              <a:gd name="connsiteY4" fmla="*/ 366 h 519112"/>
              <a:gd name="connsiteX0" fmla="*/ 1243379 w 1243379"/>
              <a:gd name="connsiteY0" fmla="*/ 519112 h 519112"/>
              <a:gd name="connsiteX1" fmla="*/ 808986 w 1243379"/>
              <a:gd name="connsiteY1" fmla="*/ 84719 h 519112"/>
              <a:gd name="connsiteX2" fmla="*/ 605339 w 1243379"/>
              <a:gd name="connsiteY2" fmla="*/ 366 h 519112"/>
              <a:gd name="connsiteX3" fmla="*/ 0 w 1243379"/>
              <a:gd name="connsiteY3" fmla="*/ 0 h 519112"/>
            </a:gdLst>
            <a:ahLst/>
            <a:cxnLst>
              <a:cxn ang="0">
                <a:pos x="connsiteX0" y="connsiteY0"/>
              </a:cxn>
              <a:cxn ang="0">
                <a:pos x="connsiteX1" y="connsiteY1"/>
              </a:cxn>
              <a:cxn ang="0">
                <a:pos x="connsiteX2" y="connsiteY2"/>
              </a:cxn>
              <a:cxn ang="0">
                <a:pos x="connsiteX3" y="connsiteY3"/>
              </a:cxn>
            </a:cxnLst>
            <a:rect l="l" t="t" r="r" b="b"/>
            <a:pathLst>
              <a:path w="1243379" h="519112">
                <a:moveTo>
                  <a:pt x="1243379" y="519112"/>
                </a:moveTo>
                <a:lnTo>
                  <a:pt x="808986" y="84719"/>
                </a:lnTo>
                <a:cubicBezTo>
                  <a:pt x="755000" y="30733"/>
                  <a:pt x="681687" y="366"/>
                  <a:pt x="605339" y="366"/>
                </a:cubicBezTo>
                <a:lnTo>
                  <a:pt x="0" y="0"/>
                </a:lnTo>
              </a:path>
            </a:pathLst>
          </a:cu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bg1"/>
              </a:solidFill>
            </a:endParaRPr>
          </a:p>
        </p:txBody>
      </p:sp>
      <p:sp>
        <p:nvSpPr>
          <p:cNvPr id="22" name="任意多边形: 形状 21">
            <a:extLst>
              <a:ext uri="{FF2B5EF4-FFF2-40B4-BE49-F238E27FC236}">
                <a16:creationId xmlns:a16="http://schemas.microsoft.com/office/drawing/2014/main" id="{92DA2880-FD97-4642-90E5-F9C952DAAA72}"/>
              </a:ext>
            </a:extLst>
          </p:cNvPr>
          <p:cNvSpPr/>
          <p:nvPr/>
        </p:nvSpPr>
        <p:spPr>
          <a:xfrm>
            <a:off x="1517063" y="1552127"/>
            <a:ext cx="1714500" cy="557213"/>
          </a:xfrm>
          <a:custGeom>
            <a:avLst/>
            <a:gdLst>
              <a:gd name="connsiteX0" fmla="*/ 0 w 1714500"/>
              <a:gd name="connsiteY0" fmla="*/ 0 h 557213"/>
              <a:gd name="connsiteX1" fmla="*/ 1628775 w 1714500"/>
              <a:gd name="connsiteY1" fmla="*/ 0 h 557213"/>
              <a:gd name="connsiteX2" fmla="*/ 1714500 w 1714500"/>
              <a:gd name="connsiteY2" fmla="*/ 85725 h 557213"/>
              <a:gd name="connsiteX3" fmla="*/ 1714500 w 1714500"/>
              <a:gd name="connsiteY3" fmla="*/ 557213 h 557213"/>
              <a:gd name="connsiteX4" fmla="*/ 0 w 1714500"/>
              <a:gd name="connsiteY4" fmla="*/ 557213 h 5572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4500" h="557213">
                <a:moveTo>
                  <a:pt x="0" y="0"/>
                </a:moveTo>
                <a:lnTo>
                  <a:pt x="1628775" y="0"/>
                </a:lnTo>
                <a:lnTo>
                  <a:pt x="1714500" y="85725"/>
                </a:lnTo>
                <a:lnTo>
                  <a:pt x="1714500" y="557213"/>
                </a:lnTo>
                <a:lnTo>
                  <a:pt x="0" y="557213"/>
                </a:lnTo>
                <a:close/>
              </a:path>
            </a:pathLst>
          </a:cu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l"/>
            <a:endParaRPr lang="zh-CN" altLang="en-US" sz="1600">
              <a:solidFill>
                <a:schemeClr val="bg1"/>
              </a:solidFill>
              <a:latin typeface="+mj-ea"/>
              <a:ea typeface="+mj-ea"/>
            </a:endParaRPr>
          </a:p>
        </p:txBody>
      </p:sp>
      <p:sp>
        <p:nvSpPr>
          <p:cNvPr id="23" name="椭圆 22">
            <a:extLst>
              <a:ext uri="{FF2B5EF4-FFF2-40B4-BE49-F238E27FC236}">
                <a16:creationId xmlns:a16="http://schemas.microsoft.com/office/drawing/2014/main" id="{5700FCC9-7ADD-4877-BA50-8CA9553B3AF9}"/>
              </a:ext>
            </a:extLst>
          </p:cNvPr>
          <p:cNvSpPr/>
          <p:nvPr/>
        </p:nvSpPr>
        <p:spPr>
          <a:xfrm>
            <a:off x="3186320" y="1825971"/>
            <a:ext cx="90487" cy="90487"/>
          </a:xfrm>
          <a:prstGeom prst="ellipse">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24" name="任意多边形: 形状 23">
            <a:extLst>
              <a:ext uri="{FF2B5EF4-FFF2-40B4-BE49-F238E27FC236}">
                <a16:creationId xmlns:a16="http://schemas.microsoft.com/office/drawing/2014/main" id="{4D2D7CE4-76C5-4B69-9294-0FEBBE046A1B}"/>
              </a:ext>
            </a:extLst>
          </p:cNvPr>
          <p:cNvSpPr/>
          <p:nvPr/>
        </p:nvSpPr>
        <p:spPr>
          <a:xfrm>
            <a:off x="1517063" y="2018853"/>
            <a:ext cx="204788" cy="90487"/>
          </a:xfrm>
          <a:custGeom>
            <a:avLst/>
            <a:gdLst>
              <a:gd name="connsiteX0" fmla="*/ 0 w 140494"/>
              <a:gd name="connsiteY0" fmla="*/ 0 h 133350"/>
              <a:gd name="connsiteX1" fmla="*/ 0 w 140494"/>
              <a:gd name="connsiteY1" fmla="*/ 133350 h 133350"/>
              <a:gd name="connsiteX2" fmla="*/ 140494 w 140494"/>
              <a:gd name="connsiteY2" fmla="*/ 133350 h 133350"/>
            </a:gdLst>
            <a:ahLst/>
            <a:cxnLst>
              <a:cxn ang="0">
                <a:pos x="connsiteX0" y="connsiteY0"/>
              </a:cxn>
              <a:cxn ang="0">
                <a:pos x="connsiteX1" y="connsiteY1"/>
              </a:cxn>
              <a:cxn ang="0">
                <a:pos x="connsiteX2" y="connsiteY2"/>
              </a:cxn>
            </a:cxnLst>
            <a:rect l="l" t="t" r="r" b="b"/>
            <a:pathLst>
              <a:path w="140494" h="133350">
                <a:moveTo>
                  <a:pt x="0" y="0"/>
                </a:moveTo>
                <a:lnTo>
                  <a:pt x="0" y="133350"/>
                </a:lnTo>
                <a:lnTo>
                  <a:pt x="140494" y="133350"/>
                </a:lnTo>
              </a:path>
            </a:pathLst>
          </a:custGeom>
          <a:no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5" name="任意多边形: 形状 24">
            <a:extLst>
              <a:ext uri="{FF2B5EF4-FFF2-40B4-BE49-F238E27FC236}">
                <a16:creationId xmlns:a16="http://schemas.microsoft.com/office/drawing/2014/main" id="{BDF056B8-2416-4D6A-B736-5C3B43D5A53C}"/>
              </a:ext>
            </a:extLst>
          </p:cNvPr>
          <p:cNvSpPr/>
          <p:nvPr/>
        </p:nvSpPr>
        <p:spPr>
          <a:xfrm flipV="1">
            <a:off x="1517063" y="1552127"/>
            <a:ext cx="204788" cy="150019"/>
          </a:xfrm>
          <a:custGeom>
            <a:avLst/>
            <a:gdLst>
              <a:gd name="connsiteX0" fmla="*/ 0 w 140494"/>
              <a:gd name="connsiteY0" fmla="*/ 0 h 133350"/>
              <a:gd name="connsiteX1" fmla="*/ 0 w 140494"/>
              <a:gd name="connsiteY1" fmla="*/ 133350 h 133350"/>
              <a:gd name="connsiteX2" fmla="*/ 140494 w 140494"/>
              <a:gd name="connsiteY2" fmla="*/ 133350 h 133350"/>
            </a:gdLst>
            <a:ahLst/>
            <a:cxnLst>
              <a:cxn ang="0">
                <a:pos x="connsiteX0" y="connsiteY0"/>
              </a:cxn>
              <a:cxn ang="0">
                <a:pos x="connsiteX1" y="connsiteY1"/>
              </a:cxn>
              <a:cxn ang="0">
                <a:pos x="connsiteX2" y="connsiteY2"/>
              </a:cxn>
            </a:cxnLst>
            <a:rect l="l" t="t" r="r" b="b"/>
            <a:pathLst>
              <a:path w="140494" h="133350">
                <a:moveTo>
                  <a:pt x="0" y="0"/>
                </a:moveTo>
                <a:lnTo>
                  <a:pt x="0" y="133350"/>
                </a:lnTo>
                <a:lnTo>
                  <a:pt x="140494" y="133350"/>
                </a:lnTo>
              </a:path>
            </a:pathLst>
          </a:custGeom>
          <a:no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6" name="任意多边形: 形状 25">
            <a:extLst>
              <a:ext uri="{FF2B5EF4-FFF2-40B4-BE49-F238E27FC236}">
                <a16:creationId xmlns:a16="http://schemas.microsoft.com/office/drawing/2014/main" id="{41AA33A6-7E2A-4C0F-920D-95C4986BDF53}"/>
              </a:ext>
            </a:extLst>
          </p:cNvPr>
          <p:cNvSpPr/>
          <p:nvPr/>
        </p:nvSpPr>
        <p:spPr>
          <a:xfrm flipH="1">
            <a:off x="3026775" y="2018853"/>
            <a:ext cx="204788" cy="90487"/>
          </a:xfrm>
          <a:custGeom>
            <a:avLst/>
            <a:gdLst>
              <a:gd name="connsiteX0" fmla="*/ 0 w 140494"/>
              <a:gd name="connsiteY0" fmla="*/ 0 h 133350"/>
              <a:gd name="connsiteX1" fmla="*/ 0 w 140494"/>
              <a:gd name="connsiteY1" fmla="*/ 133350 h 133350"/>
              <a:gd name="connsiteX2" fmla="*/ 140494 w 140494"/>
              <a:gd name="connsiteY2" fmla="*/ 133350 h 133350"/>
            </a:gdLst>
            <a:ahLst/>
            <a:cxnLst>
              <a:cxn ang="0">
                <a:pos x="connsiteX0" y="connsiteY0"/>
              </a:cxn>
              <a:cxn ang="0">
                <a:pos x="connsiteX1" y="connsiteY1"/>
              </a:cxn>
              <a:cxn ang="0">
                <a:pos x="connsiteX2" y="connsiteY2"/>
              </a:cxn>
            </a:cxnLst>
            <a:rect l="l" t="t" r="r" b="b"/>
            <a:pathLst>
              <a:path w="140494" h="133350">
                <a:moveTo>
                  <a:pt x="0" y="0"/>
                </a:moveTo>
                <a:lnTo>
                  <a:pt x="0" y="133350"/>
                </a:lnTo>
                <a:lnTo>
                  <a:pt x="140494" y="133350"/>
                </a:lnTo>
              </a:path>
            </a:pathLst>
          </a:custGeom>
          <a:no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7" name="文本框 26">
            <a:extLst>
              <a:ext uri="{FF2B5EF4-FFF2-40B4-BE49-F238E27FC236}">
                <a16:creationId xmlns:a16="http://schemas.microsoft.com/office/drawing/2014/main" id="{C281307B-B1D0-4F9A-9C61-958B29BE9F79}"/>
              </a:ext>
            </a:extLst>
          </p:cNvPr>
          <p:cNvSpPr txBox="1"/>
          <p:nvPr/>
        </p:nvSpPr>
        <p:spPr>
          <a:xfrm>
            <a:off x="1702340" y="1672082"/>
            <a:ext cx="1282402" cy="307777"/>
          </a:xfrm>
          <a:prstGeom prst="rect">
            <a:avLst/>
          </a:prstGeom>
          <a:noFill/>
          <a:effectLst/>
        </p:spPr>
        <p:txBody>
          <a:bodyPr wrap="none" lIns="0" tIns="0" rIns="0" bIns="0" rtlCol="0" anchor="t">
            <a:spAutoFit/>
          </a:bodyPr>
          <a:lstStyle/>
          <a:p>
            <a:pPr algn="ctr"/>
            <a:r>
              <a:rPr lang="zh-CN" altLang="en-US" sz="2000" dirty="0">
                <a:solidFill>
                  <a:schemeClr val="accent1"/>
                </a:solidFill>
                <a:latin typeface="+mj-ea"/>
                <a:ea typeface="+mj-ea"/>
              </a:rPr>
              <a:t>关键词标题</a:t>
            </a:r>
          </a:p>
        </p:txBody>
      </p:sp>
      <p:sp>
        <p:nvSpPr>
          <p:cNvPr id="28" name="文本框 27">
            <a:extLst>
              <a:ext uri="{FF2B5EF4-FFF2-40B4-BE49-F238E27FC236}">
                <a16:creationId xmlns:a16="http://schemas.microsoft.com/office/drawing/2014/main" id="{552E3552-F44E-477D-8B4A-4909F6E12B12}"/>
              </a:ext>
            </a:extLst>
          </p:cNvPr>
          <p:cNvSpPr txBox="1"/>
          <p:nvPr/>
        </p:nvSpPr>
        <p:spPr>
          <a:xfrm>
            <a:off x="954797" y="2229295"/>
            <a:ext cx="2276589" cy="704873"/>
          </a:xfrm>
          <a:prstGeom prst="rect">
            <a:avLst/>
          </a:prstGeom>
          <a:noFill/>
          <a:effectLst/>
        </p:spPr>
        <p:txBody>
          <a:bodyPr wrap="square" lIns="0" tIns="0" rIns="0" bIns="0" rtlCol="0" anchor="t">
            <a:spAutoFit/>
          </a:bodyPr>
          <a:lstStyle/>
          <a:p>
            <a:pPr algn="r">
              <a:lnSpc>
                <a:spcPct val="130000"/>
              </a:lnSpc>
            </a:pPr>
            <a:r>
              <a:rPr lang="en-US" altLang="zh-CN" sz="1200" b="0" dirty="0">
                <a:solidFill>
                  <a:schemeClr val="tx1">
                    <a:lumMod val="75000"/>
                    <a:lumOff val="25000"/>
                  </a:schemeClr>
                </a:solidFill>
                <a:effectLst/>
                <a:latin typeface="+mn-ea"/>
              </a:rPr>
              <a:t>Lorem ipsum dolor sit ametconsectetur adipisicing elit</a:t>
            </a:r>
            <a:r>
              <a:rPr lang="en-US" altLang="zh-CN" sz="1200" dirty="0">
                <a:solidFill>
                  <a:schemeClr val="tx1">
                    <a:lumMod val="75000"/>
                    <a:lumOff val="25000"/>
                  </a:schemeClr>
                </a:solidFill>
                <a:latin typeface="+mn-ea"/>
              </a:rPr>
              <a:t> </a:t>
            </a:r>
            <a:r>
              <a:rPr lang="en-US" altLang="zh-CN" sz="1200" b="0" dirty="0">
                <a:solidFill>
                  <a:schemeClr val="tx1">
                    <a:lumMod val="75000"/>
                    <a:lumOff val="25000"/>
                  </a:schemeClr>
                </a:solidFill>
                <a:effectLst/>
                <a:latin typeface="+mn-ea"/>
              </a:rPr>
              <a:t>sed do eiusmod tempor</a:t>
            </a:r>
            <a:endParaRPr lang="zh-CN" altLang="en-US" sz="1200" b="0" dirty="0">
              <a:solidFill>
                <a:schemeClr val="tx1">
                  <a:lumMod val="75000"/>
                  <a:lumOff val="25000"/>
                </a:schemeClr>
              </a:solidFill>
              <a:effectLst/>
              <a:latin typeface="+mn-ea"/>
            </a:endParaRPr>
          </a:p>
        </p:txBody>
      </p:sp>
      <p:sp>
        <p:nvSpPr>
          <p:cNvPr id="29" name="椭圆 28">
            <a:extLst>
              <a:ext uri="{FF2B5EF4-FFF2-40B4-BE49-F238E27FC236}">
                <a16:creationId xmlns:a16="http://schemas.microsoft.com/office/drawing/2014/main" id="{DE4DE9A3-ED02-4572-878A-5326ADF4EC02}"/>
              </a:ext>
            </a:extLst>
          </p:cNvPr>
          <p:cNvSpPr/>
          <p:nvPr/>
        </p:nvSpPr>
        <p:spPr>
          <a:xfrm>
            <a:off x="4494241" y="2351995"/>
            <a:ext cx="90487" cy="90487"/>
          </a:xfrm>
          <a:prstGeom prst="ellipse">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30" name="Freeform 15">
            <a:extLst>
              <a:ext uri="{FF2B5EF4-FFF2-40B4-BE49-F238E27FC236}">
                <a16:creationId xmlns:a16="http://schemas.microsoft.com/office/drawing/2014/main" id="{45C40409-0BDE-40B4-92EE-BE72B679FE9F}"/>
              </a:ext>
            </a:extLst>
          </p:cNvPr>
          <p:cNvSpPr/>
          <p:nvPr/>
        </p:nvSpPr>
        <p:spPr>
          <a:xfrm flipV="1">
            <a:off x="3276807" y="4798219"/>
            <a:ext cx="1243379" cy="519112"/>
          </a:xfrm>
          <a:custGeom>
            <a:avLst/>
            <a:gdLst>
              <a:gd name="connsiteX0" fmla="*/ 2699239 w 2699239"/>
              <a:gd name="connsiteY0" fmla="*/ 519112 h 519112"/>
              <a:gd name="connsiteX1" fmla="*/ 2264846 w 2699239"/>
              <a:gd name="connsiteY1" fmla="*/ 84719 h 519112"/>
              <a:gd name="connsiteX2" fmla="*/ 2061199 w 2699239"/>
              <a:gd name="connsiteY2" fmla="*/ 366 h 519112"/>
              <a:gd name="connsiteX3" fmla="*/ 1455860 w 2699239"/>
              <a:gd name="connsiteY3" fmla="*/ 0 h 519112"/>
              <a:gd name="connsiteX4" fmla="*/ 0 w 2699239"/>
              <a:gd name="connsiteY4" fmla="*/ 366 h 519112"/>
              <a:gd name="connsiteX0" fmla="*/ 1243379 w 1243379"/>
              <a:gd name="connsiteY0" fmla="*/ 519112 h 519112"/>
              <a:gd name="connsiteX1" fmla="*/ 808986 w 1243379"/>
              <a:gd name="connsiteY1" fmla="*/ 84719 h 519112"/>
              <a:gd name="connsiteX2" fmla="*/ 605339 w 1243379"/>
              <a:gd name="connsiteY2" fmla="*/ 366 h 519112"/>
              <a:gd name="connsiteX3" fmla="*/ 0 w 1243379"/>
              <a:gd name="connsiteY3" fmla="*/ 0 h 519112"/>
            </a:gdLst>
            <a:ahLst/>
            <a:cxnLst>
              <a:cxn ang="0">
                <a:pos x="connsiteX0" y="connsiteY0"/>
              </a:cxn>
              <a:cxn ang="0">
                <a:pos x="connsiteX1" y="connsiteY1"/>
              </a:cxn>
              <a:cxn ang="0">
                <a:pos x="connsiteX2" y="connsiteY2"/>
              </a:cxn>
              <a:cxn ang="0">
                <a:pos x="connsiteX3" y="connsiteY3"/>
              </a:cxn>
            </a:cxnLst>
            <a:rect l="l" t="t" r="r" b="b"/>
            <a:pathLst>
              <a:path w="1243379" h="519112">
                <a:moveTo>
                  <a:pt x="1243379" y="519112"/>
                </a:moveTo>
                <a:lnTo>
                  <a:pt x="808986" y="84719"/>
                </a:lnTo>
                <a:cubicBezTo>
                  <a:pt x="755000" y="30733"/>
                  <a:pt x="681687" y="366"/>
                  <a:pt x="605339" y="366"/>
                </a:cubicBezTo>
                <a:lnTo>
                  <a:pt x="0" y="0"/>
                </a:lnTo>
              </a:path>
            </a:pathLst>
          </a:cu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bg1"/>
              </a:solidFill>
            </a:endParaRPr>
          </a:p>
        </p:txBody>
      </p:sp>
      <p:sp>
        <p:nvSpPr>
          <p:cNvPr id="31" name="任意多边形: 形状 30">
            <a:extLst>
              <a:ext uri="{FF2B5EF4-FFF2-40B4-BE49-F238E27FC236}">
                <a16:creationId xmlns:a16="http://schemas.microsoft.com/office/drawing/2014/main" id="{19CD5F10-4576-4B56-AD39-6486FF18D34E}"/>
              </a:ext>
            </a:extLst>
          </p:cNvPr>
          <p:cNvSpPr/>
          <p:nvPr/>
        </p:nvSpPr>
        <p:spPr>
          <a:xfrm>
            <a:off x="1517063" y="4991287"/>
            <a:ext cx="1714500" cy="557213"/>
          </a:xfrm>
          <a:custGeom>
            <a:avLst/>
            <a:gdLst>
              <a:gd name="connsiteX0" fmla="*/ 0 w 1714500"/>
              <a:gd name="connsiteY0" fmla="*/ 0 h 557213"/>
              <a:gd name="connsiteX1" fmla="*/ 1628775 w 1714500"/>
              <a:gd name="connsiteY1" fmla="*/ 0 h 557213"/>
              <a:gd name="connsiteX2" fmla="*/ 1714500 w 1714500"/>
              <a:gd name="connsiteY2" fmla="*/ 85725 h 557213"/>
              <a:gd name="connsiteX3" fmla="*/ 1714500 w 1714500"/>
              <a:gd name="connsiteY3" fmla="*/ 557213 h 557213"/>
              <a:gd name="connsiteX4" fmla="*/ 0 w 1714500"/>
              <a:gd name="connsiteY4" fmla="*/ 557213 h 5572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4500" h="557213">
                <a:moveTo>
                  <a:pt x="0" y="0"/>
                </a:moveTo>
                <a:lnTo>
                  <a:pt x="1628775" y="0"/>
                </a:lnTo>
                <a:lnTo>
                  <a:pt x="1714500" y="85725"/>
                </a:lnTo>
                <a:lnTo>
                  <a:pt x="1714500" y="557213"/>
                </a:lnTo>
                <a:lnTo>
                  <a:pt x="0" y="557213"/>
                </a:lnTo>
                <a:close/>
              </a:path>
            </a:pathLst>
          </a:cu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l"/>
            <a:endParaRPr lang="zh-CN" altLang="en-US" sz="1600">
              <a:solidFill>
                <a:schemeClr val="bg1"/>
              </a:solidFill>
              <a:latin typeface="+mj-ea"/>
              <a:ea typeface="+mj-ea"/>
            </a:endParaRPr>
          </a:p>
        </p:txBody>
      </p:sp>
      <p:sp>
        <p:nvSpPr>
          <p:cNvPr id="32" name="椭圆 31">
            <a:extLst>
              <a:ext uri="{FF2B5EF4-FFF2-40B4-BE49-F238E27FC236}">
                <a16:creationId xmlns:a16="http://schemas.microsoft.com/office/drawing/2014/main" id="{8E3BADA9-E327-4084-AE38-DC7083543819}"/>
              </a:ext>
            </a:extLst>
          </p:cNvPr>
          <p:cNvSpPr/>
          <p:nvPr/>
        </p:nvSpPr>
        <p:spPr>
          <a:xfrm>
            <a:off x="3186320" y="5265131"/>
            <a:ext cx="90487" cy="90487"/>
          </a:xfrm>
          <a:prstGeom prst="ellipse">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33" name="任意多边形: 形状 32">
            <a:extLst>
              <a:ext uri="{FF2B5EF4-FFF2-40B4-BE49-F238E27FC236}">
                <a16:creationId xmlns:a16="http://schemas.microsoft.com/office/drawing/2014/main" id="{F5BC292C-D08D-45A7-946E-FBC0BD104A8C}"/>
              </a:ext>
            </a:extLst>
          </p:cNvPr>
          <p:cNvSpPr/>
          <p:nvPr/>
        </p:nvSpPr>
        <p:spPr>
          <a:xfrm>
            <a:off x="1517063" y="5458013"/>
            <a:ext cx="204788" cy="90487"/>
          </a:xfrm>
          <a:custGeom>
            <a:avLst/>
            <a:gdLst>
              <a:gd name="connsiteX0" fmla="*/ 0 w 140494"/>
              <a:gd name="connsiteY0" fmla="*/ 0 h 133350"/>
              <a:gd name="connsiteX1" fmla="*/ 0 w 140494"/>
              <a:gd name="connsiteY1" fmla="*/ 133350 h 133350"/>
              <a:gd name="connsiteX2" fmla="*/ 140494 w 140494"/>
              <a:gd name="connsiteY2" fmla="*/ 133350 h 133350"/>
            </a:gdLst>
            <a:ahLst/>
            <a:cxnLst>
              <a:cxn ang="0">
                <a:pos x="connsiteX0" y="connsiteY0"/>
              </a:cxn>
              <a:cxn ang="0">
                <a:pos x="connsiteX1" y="connsiteY1"/>
              </a:cxn>
              <a:cxn ang="0">
                <a:pos x="connsiteX2" y="connsiteY2"/>
              </a:cxn>
            </a:cxnLst>
            <a:rect l="l" t="t" r="r" b="b"/>
            <a:pathLst>
              <a:path w="140494" h="133350">
                <a:moveTo>
                  <a:pt x="0" y="0"/>
                </a:moveTo>
                <a:lnTo>
                  <a:pt x="0" y="133350"/>
                </a:lnTo>
                <a:lnTo>
                  <a:pt x="140494" y="133350"/>
                </a:lnTo>
              </a:path>
            </a:pathLst>
          </a:custGeom>
          <a:no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4" name="任意多边形: 形状 33">
            <a:extLst>
              <a:ext uri="{FF2B5EF4-FFF2-40B4-BE49-F238E27FC236}">
                <a16:creationId xmlns:a16="http://schemas.microsoft.com/office/drawing/2014/main" id="{E2A852A6-02ED-4F04-A79E-5DBFCDB77B46}"/>
              </a:ext>
            </a:extLst>
          </p:cNvPr>
          <p:cNvSpPr/>
          <p:nvPr/>
        </p:nvSpPr>
        <p:spPr>
          <a:xfrm flipV="1">
            <a:off x="1517063" y="4991287"/>
            <a:ext cx="204788" cy="150019"/>
          </a:xfrm>
          <a:custGeom>
            <a:avLst/>
            <a:gdLst>
              <a:gd name="connsiteX0" fmla="*/ 0 w 140494"/>
              <a:gd name="connsiteY0" fmla="*/ 0 h 133350"/>
              <a:gd name="connsiteX1" fmla="*/ 0 w 140494"/>
              <a:gd name="connsiteY1" fmla="*/ 133350 h 133350"/>
              <a:gd name="connsiteX2" fmla="*/ 140494 w 140494"/>
              <a:gd name="connsiteY2" fmla="*/ 133350 h 133350"/>
            </a:gdLst>
            <a:ahLst/>
            <a:cxnLst>
              <a:cxn ang="0">
                <a:pos x="connsiteX0" y="connsiteY0"/>
              </a:cxn>
              <a:cxn ang="0">
                <a:pos x="connsiteX1" y="connsiteY1"/>
              </a:cxn>
              <a:cxn ang="0">
                <a:pos x="connsiteX2" y="connsiteY2"/>
              </a:cxn>
            </a:cxnLst>
            <a:rect l="l" t="t" r="r" b="b"/>
            <a:pathLst>
              <a:path w="140494" h="133350">
                <a:moveTo>
                  <a:pt x="0" y="0"/>
                </a:moveTo>
                <a:lnTo>
                  <a:pt x="0" y="133350"/>
                </a:lnTo>
                <a:lnTo>
                  <a:pt x="140494" y="133350"/>
                </a:lnTo>
              </a:path>
            </a:pathLst>
          </a:custGeom>
          <a:no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5" name="任意多边形: 形状 34">
            <a:extLst>
              <a:ext uri="{FF2B5EF4-FFF2-40B4-BE49-F238E27FC236}">
                <a16:creationId xmlns:a16="http://schemas.microsoft.com/office/drawing/2014/main" id="{D0873152-BFAF-44D0-A159-8EF36002E8A9}"/>
              </a:ext>
            </a:extLst>
          </p:cNvPr>
          <p:cNvSpPr/>
          <p:nvPr/>
        </p:nvSpPr>
        <p:spPr>
          <a:xfrm flipH="1">
            <a:off x="3026775" y="5458013"/>
            <a:ext cx="204788" cy="90487"/>
          </a:xfrm>
          <a:custGeom>
            <a:avLst/>
            <a:gdLst>
              <a:gd name="connsiteX0" fmla="*/ 0 w 140494"/>
              <a:gd name="connsiteY0" fmla="*/ 0 h 133350"/>
              <a:gd name="connsiteX1" fmla="*/ 0 w 140494"/>
              <a:gd name="connsiteY1" fmla="*/ 133350 h 133350"/>
              <a:gd name="connsiteX2" fmla="*/ 140494 w 140494"/>
              <a:gd name="connsiteY2" fmla="*/ 133350 h 133350"/>
            </a:gdLst>
            <a:ahLst/>
            <a:cxnLst>
              <a:cxn ang="0">
                <a:pos x="connsiteX0" y="connsiteY0"/>
              </a:cxn>
              <a:cxn ang="0">
                <a:pos x="connsiteX1" y="connsiteY1"/>
              </a:cxn>
              <a:cxn ang="0">
                <a:pos x="connsiteX2" y="connsiteY2"/>
              </a:cxn>
            </a:cxnLst>
            <a:rect l="l" t="t" r="r" b="b"/>
            <a:pathLst>
              <a:path w="140494" h="133350">
                <a:moveTo>
                  <a:pt x="0" y="0"/>
                </a:moveTo>
                <a:lnTo>
                  <a:pt x="0" y="133350"/>
                </a:lnTo>
                <a:lnTo>
                  <a:pt x="140494" y="133350"/>
                </a:lnTo>
              </a:path>
            </a:pathLst>
          </a:custGeom>
          <a:no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6" name="文本框 35">
            <a:extLst>
              <a:ext uri="{FF2B5EF4-FFF2-40B4-BE49-F238E27FC236}">
                <a16:creationId xmlns:a16="http://schemas.microsoft.com/office/drawing/2014/main" id="{34A26570-C397-4528-A8E6-1AD5828D9242}"/>
              </a:ext>
            </a:extLst>
          </p:cNvPr>
          <p:cNvSpPr txBox="1"/>
          <p:nvPr/>
        </p:nvSpPr>
        <p:spPr>
          <a:xfrm>
            <a:off x="1702340" y="5111242"/>
            <a:ext cx="1282402" cy="307777"/>
          </a:xfrm>
          <a:prstGeom prst="rect">
            <a:avLst/>
          </a:prstGeom>
          <a:noFill/>
          <a:effectLst/>
        </p:spPr>
        <p:txBody>
          <a:bodyPr wrap="none" lIns="0" tIns="0" rIns="0" bIns="0" rtlCol="0" anchor="t">
            <a:spAutoFit/>
          </a:bodyPr>
          <a:lstStyle/>
          <a:p>
            <a:pPr algn="ctr"/>
            <a:r>
              <a:rPr lang="zh-CN" altLang="en-US" sz="2000" dirty="0">
                <a:solidFill>
                  <a:schemeClr val="accent1"/>
                </a:solidFill>
                <a:latin typeface="+mj-ea"/>
                <a:ea typeface="+mj-ea"/>
              </a:rPr>
              <a:t>关键词标题</a:t>
            </a:r>
          </a:p>
        </p:txBody>
      </p:sp>
      <p:sp>
        <p:nvSpPr>
          <p:cNvPr id="37" name="文本框 36">
            <a:extLst>
              <a:ext uri="{FF2B5EF4-FFF2-40B4-BE49-F238E27FC236}">
                <a16:creationId xmlns:a16="http://schemas.microsoft.com/office/drawing/2014/main" id="{9BB44CED-F413-4C4B-9E6A-7F414A471037}"/>
              </a:ext>
            </a:extLst>
          </p:cNvPr>
          <p:cNvSpPr txBox="1"/>
          <p:nvPr/>
        </p:nvSpPr>
        <p:spPr>
          <a:xfrm>
            <a:off x="954797" y="5668455"/>
            <a:ext cx="2276589" cy="704873"/>
          </a:xfrm>
          <a:prstGeom prst="rect">
            <a:avLst/>
          </a:prstGeom>
          <a:noFill/>
          <a:effectLst/>
        </p:spPr>
        <p:txBody>
          <a:bodyPr wrap="square" lIns="0" tIns="0" rIns="0" bIns="0" rtlCol="0" anchor="t">
            <a:spAutoFit/>
          </a:bodyPr>
          <a:lstStyle/>
          <a:p>
            <a:pPr algn="r">
              <a:lnSpc>
                <a:spcPct val="130000"/>
              </a:lnSpc>
            </a:pPr>
            <a:r>
              <a:rPr lang="en-US" altLang="zh-CN" sz="1200" b="0" dirty="0">
                <a:solidFill>
                  <a:schemeClr val="tx1">
                    <a:lumMod val="75000"/>
                    <a:lumOff val="25000"/>
                  </a:schemeClr>
                </a:solidFill>
                <a:effectLst/>
                <a:latin typeface="+mn-ea"/>
              </a:rPr>
              <a:t>Lorem ipsum dolor sit ametconsectetur adipisicing elit</a:t>
            </a:r>
            <a:r>
              <a:rPr lang="en-US" altLang="zh-CN" sz="1200" dirty="0">
                <a:solidFill>
                  <a:schemeClr val="tx1">
                    <a:lumMod val="75000"/>
                    <a:lumOff val="25000"/>
                  </a:schemeClr>
                </a:solidFill>
                <a:latin typeface="+mn-ea"/>
              </a:rPr>
              <a:t> </a:t>
            </a:r>
            <a:r>
              <a:rPr lang="en-US" altLang="zh-CN" sz="1200" b="0" dirty="0">
                <a:solidFill>
                  <a:schemeClr val="tx1">
                    <a:lumMod val="75000"/>
                    <a:lumOff val="25000"/>
                  </a:schemeClr>
                </a:solidFill>
                <a:effectLst/>
                <a:latin typeface="+mn-ea"/>
              </a:rPr>
              <a:t>sed do eiusmod tempor</a:t>
            </a:r>
            <a:endParaRPr lang="zh-CN" altLang="en-US" sz="1200" b="0" dirty="0">
              <a:solidFill>
                <a:schemeClr val="tx1">
                  <a:lumMod val="75000"/>
                  <a:lumOff val="25000"/>
                </a:schemeClr>
              </a:solidFill>
              <a:effectLst/>
              <a:latin typeface="+mn-ea"/>
            </a:endParaRPr>
          </a:p>
        </p:txBody>
      </p:sp>
      <p:sp>
        <p:nvSpPr>
          <p:cNvPr id="38" name="椭圆 37">
            <a:extLst>
              <a:ext uri="{FF2B5EF4-FFF2-40B4-BE49-F238E27FC236}">
                <a16:creationId xmlns:a16="http://schemas.microsoft.com/office/drawing/2014/main" id="{10F2135E-FA24-4568-81E1-8D9BF9776D96}"/>
              </a:ext>
            </a:extLst>
          </p:cNvPr>
          <p:cNvSpPr/>
          <p:nvPr/>
        </p:nvSpPr>
        <p:spPr>
          <a:xfrm>
            <a:off x="4494241" y="4752702"/>
            <a:ext cx="90487" cy="90487"/>
          </a:xfrm>
          <a:prstGeom prst="ellipse">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39" name="Freeform 15">
            <a:extLst>
              <a:ext uri="{FF2B5EF4-FFF2-40B4-BE49-F238E27FC236}">
                <a16:creationId xmlns:a16="http://schemas.microsoft.com/office/drawing/2014/main" id="{183BF414-6EF3-4152-AE60-4733C439F1F9}"/>
              </a:ext>
            </a:extLst>
          </p:cNvPr>
          <p:cNvSpPr/>
          <p:nvPr/>
        </p:nvSpPr>
        <p:spPr>
          <a:xfrm flipH="1">
            <a:off x="7313146" y="1871214"/>
            <a:ext cx="1243379" cy="519112"/>
          </a:xfrm>
          <a:custGeom>
            <a:avLst/>
            <a:gdLst>
              <a:gd name="connsiteX0" fmla="*/ 2699239 w 2699239"/>
              <a:gd name="connsiteY0" fmla="*/ 519112 h 519112"/>
              <a:gd name="connsiteX1" fmla="*/ 2264846 w 2699239"/>
              <a:gd name="connsiteY1" fmla="*/ 84719 h 519112"/>
              <a:gd name="connsiteX2" fmla="*/ 2061199 w 2699239"/>
              <a:gd name="connsiteY2" fmla="*/ 366 h 519112"/>
              <a:gd name="connsiteX3" fmla="*/ 1455860 w 2699239"/>
              <a:gd name="connsiteY3" fmla="*/ 0 h 519112"/>
              <a:gd name="connsiteX4" fmla="*/ 0 w 2699239"/>
              <a:gd name="connsiteY4" fmla="*/ 366 h 519112"/>
              <a:gd name="connsiteX0" fmla="*/ 1243379 w 1243379"/>
              <a:gd name="connsiteY0" fmla="*/ 519112 h 519112"/>
              <a:gd name="connsiteX1" fmla="*/ 808986 w 1243379"/>
              <a:gd name="connsiteY1" fmla="*/ 84719 h 519112"/>
              <a:gd name="connsiteX2" fmla="*/ 605339 w 1243379"/>
              <a:gd name="connsiteY2" fmla="*/ 366 h 519112"/>
              <a:gd name="connsiteX3" fmla="*/ 0 w 1243379"/>
              <a:gd name="connsiteY3" fmla="*/ 0 h 519112"/>
            </a:gdLst>
            <a:ahLst/>
            <a:cxnLst>
              <a:cxn ang="0">
                <a:pos x="connsiteX0" y="connsiteY0"/>
              </a:cxn>
              <a:cxn ang="0">
                <a:pos x="connsiteX1" y="connsiteY1"/>
              </a:cxn>
              <a:cxn ang="0">
                <a:pos x="connsiteX2" y="connsiteY2"/>
              </a:cxn>
              <a:cxn ang="0">
                <a:pos x="connsiteX3" y="connsiteY3"/>
              </a:cxn>
            </a:cxnLst>
            <a:rect l="l" t="t" r="r" b="b"/>
            <a:pathLst>
              <a:path w="1243379" h="519112">
                <a:moveTo>
                  <a:pt x="1243379" y="519112"/>
                </a:moveTo>
                <a:lnTo>
                  <a:pt x="808986" y="84719"/>
                </a:lnTo>
                <a:cubicBezTo>
                  <a:pt x="755000" y="30733"/>
                  <a:pt x="681687" y="366"/>
                  <a:pt x="605339" y="366"/>
                </a:cubicBezTo>
                <a:lnTo>
                  <a:pt x="0" y="0"/>
                </a:lnTo>
              </a:path>
            </a:pathLst>
          </a:cu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bg1"/>
              </a:solidFill>
            </a:endParaRPr>
          </a:p>
        </p:txBody>
      </p:sp>
      <p:sp>
        <p:nvSpPr>
          <p:cNvPr id="40" name="任意多边形: 形状 39">
            <a:extLst>
              <a:ext uri="{FF2B5EF4-FFF2-40B4-BE49-F238E27FC236}">
                <a16:creationId xmlns:a16="http://schemas.microsoft.com/office/drawing/2014/main" id="{E62F2386-8889-4CD2-B1A3-409D2938631F}"/>
              </a:ext>
            </a:extLst>
          </p:cNvPr>
          <p:cNvSpPr/>
          <p:nvPr/>
        </p:nvSpPr>
        <p:spPr>
          <a:xfrm flipH="1">
            <a:off x="8601769" y="1552127"/>
            <a:ext cx="1714500" cy="557213"/>
          </a:xfrm>
          <a:custGeom>
            <a:avLst/>
            <a:gdLst>
              <a:gd name="connsiteX0" fmla="*/ 0 w 1714500"/>
              <a:gd name="connsiteY0" fmla="*/ 0 h 557213"/>
              <a:gd name="connsiteX1" fmla="*/ 1628775 w 1714500"/>
              <a:gd name="connsiteY1" fmla="*/ 0 h 557213"/>
              <a:gd name="connsiteX2" fmla="*/ 1714500 w 1714500"/>
              <a:gd name="connsiteY2" fmla="*/ 85725 h 557213"/>
              <a:gd name="connsiteX3" fmla="*/ 1714500 w 1714500"/>
              <a:gd name="connsiteY3" fmla="*/ 557213 h 557213"/>
              <a:gd name="connsiteX4" fmla="*/ 0 w 1714500"/>
              <a:gd name="connsiteY4" fmla="*/ 557213 h 5572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4500" h="557213">
                <a:moveTo>
                  <a:pt x="0" y="0"/>
                </a:moveTo>
                <a:lnTo>
                  <a:pt x="1628775" y="0"/>
                </a:lnTo>
                <a:lnTo>
                  <a:pt x="1714500" y="85725"/>
                </a:lnTo>
                <a:lnTo>
                  <a:pt x="1714500" y="557213"/>
                </a:lnTo>
                <a:lnTo>
                  <a:pt x="0" y="557213"/>
                </a:lnTo>
                <a:close/>
              </a:path>
            </a:pathLst>
          </a:cu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l"/>
            <a:endParaRPr lang="zh-CN" altLang="en-US" sz="1600">
              <a:solidFill>
                <a:schemeClr val="bg1"/>
              </a:solidFill>
              <a:latin typeface="+mj-ea"/>
              <a:ea typeface="+mj-ea"/>
            </a:endParaRPr>
          </a:p>
        </p:txBody>
      </p:sp>
      <p:sp>
        <p:nvSpPr>
          <p:cNvPr id="41" name="椭圆 40">
            <a:extLst>
              <a:ext uri="{FF2B5EF4-FFF2-40B4-BE49-F238E27FC236}">
                <a16:creationId xmlns:a16="http://schemas.microsoft.com/office/drawing/2014/main" id="{01BCC948-6B86-42D5-8B8B-4F729676755B}"/>
              </a:ext>
            </a:extLst>
          </p:cNvPr>
          <p:cNvSpPr/>
          <p:nvPr/>
        </p:nvSpPr>
        <p:spPr>
          <a:xfrm flipH="1">
            <a:off x="8556525" y="1825971"/>
            <a:ext cx="90487" cy="90487"/>
          </a:xfrm>
          <a:prstGeom prst="ellipse">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42" name="任意多边形: 形状 41">
            <a:extLst>
              <a:ext uri="{FF2B5EF4-FFF2-40B4-BE49-F238E27FC236}">
                <a16:creationId xmlns:a16="http://schemas.microsoft.com/office/drawing/2014/main" id="{F4287C30-5FC2-471A-B2A1-8ECCFD6E394C}"/>
              </a:ext>
            </a:extLst>
          </p:cNvPr>
          <p:cNvSpPr/>
          <p:nvPr/>
        </p:nvSpPr>
        <p:spPr>
          <a:xfrm flipH="1">
            <a:off x="10111481" y="2018853"/>
            <a:ext cx="204788" cy="90487"/>
          </a:xfrm>
          <a:custGeom>
            <a:avLst/>
            <a:gdLst>
              <a:gd name="connsiteX0" fmla="*/ 0 w 140494"/>
              <a:gd name="connsiteY0" fmla="*/ 0 h 133350"/>
              <a:gd name="connsiteX1" fmla="*/ 0 w 140494"/>
              <a:gd name="connsiteY1" fmla="*/ 133350 h 133350"/>
              <a:gd name="connsiteX2" fmla="*/ 140494 w 140494"/>
              <a:gd name="connsiteY2" fmla="*/ 133350 h 133350"/>
            </a:gdLst>
            <a:ahLst/>
            <a:cxnLst>
              <a:cxn ang="0">
                <a:pos x="connsiteX0" y="connsiteY0"/>
              </a:cxn>
              <a:cxn ang="0">
                <a:pos x="connsiteX1" y="connsiteY1"/>
              </a:cxn>
              <a:cxn ang="0">
                <a:pos x="connsiteX2" y="connsiteY2"/>
              </a:cxn>
            </a:cxnLst>
            <a:rect l="l" t="t" r="r" b="b"/>
            <a:pathLst>
              <a:path w="140494" h="133350">
                <a:moveTo>
                  <a:pt x="0" y="0"/>
                </a:moveTo>
                <a:lnTo>
                  <a:pt x="0" y="133350"/>
                </a:lnTo>
                <a:lnTo>
                  <a:pt x="140494" y="133350"/>
                </a:lnTo>
              </a:path>
            </a:pathLst>
          </a:custGeom>
          <a:no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3" name="任意多边形: 形状 42">
            <a:extLst>
              <a:ext uri="{FF2B5EF4-FFF2-40B4-BE49-F238E27FC236}">
                <a16:creationId xmlns:a16="http://schemas.microsoft.com/office/drawing/2014/main" id="{D691BCCC-F9FA-4F37-88A0-35391A2EF794}"/>
              </a:ext>
            </a:extLst>
          </p:cNvPr>
          <p:cNvSpPr/>
          <p:nvPr/>
        </p:nvSpPr>
        <p:spPr>
          <a:xfrm flipH="1" flipV="1">
            <a:off x="10111481" y="1552127"/>
            <a:ext cx="204788" cy="150019"/>
          </a:xfrm>
          <a:custGeom>
            <a:avLst/>
            <a:gdLst>
              <a:gd name="connsiteX0" fmla="*/ 0 w 140494"/>
              <a:gd name="connsiteY0" fmla="*/ 0 h 133350"/>
              <a:gd name="connsiteX1" fmla="*/ 0 w 140494"/>
              <a:gd name="connsiteY1" fmla="*/ 133350 h 133350"/>
              <a:gd name="connsiteX2" fmla="*/ 140494 w 140494"/>
              <a:gd name="connsiteY2" fmla="*/ 133350 h 133350"/>
            </a:gdLst>
            <a:ahLst/>
            <a:cxnLst>
              <a:cxn ang="0">
                <a:pos x="connsiteX0" y="connsiteY0"/>
              </a:cxn>
              <a:cxn ang="0">
                <a:pos x="connsiteX1" y="connsiteY1"/>
              </a:cxn>
              <a:cxn ang="0">
                <a:pos x="connsiteX2" y="connsiteY2"/>
              </a:cxn>
            </a:cxnLst>
            <a:rect l="l" t="t" r="r" b="b"/>
            <a:pathLst>
              <a:path w="140494" h="133350">
                <a:moveTo>
                  <a:pt x="0" y="0"/>
                </a:moveTo>
                <a:lnTo>
                  <a:pt x="0" y="133350"/>
                </a:lnTo>
                <a:lnTo>
                  <a:pt x="140494" y="133350"/>
                </a:lnTo>
              </a:path>
            </a:pathLst>
          </a:custGeom>
          <a:no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4" name="任意多边形: 形状 43">
            <a:extLst>
              <a:ext uri="{FF2B5EF4-FFF2-40B4-BE49-F238E27FC236}">
                <a16:creationId xmlns:a16="http://schemas.microsoft.com/office/drawing/2014/main" id="{2BF80F68-2E3C-4BD3-9FBC-672DBADF8B11}"/>
              </a:ext>
            </a:extLst>
          </p:cNvPr>
          <p:cNvSpPr/>
          <p:nvPr/>
        </p:nvSpPr>
        <p:spPr>
          <a:xfrm>
            <a:off x="8601769" y="2018853"/>
            <a:ext cx="204788" cy="90487"/>
          </a:xfrm>
          <a:custGeom>
            <a:avLst/>
            <a:gdLst>
              <a:gd name="connsiteX0" fmla="*/ 0 w 140494"/>
              <a:gd name="connsiteY0" fmla="*/ 0 h 133350"/>
              <a:gd name="connsiteX1" fmla="*/ 0 w 140494"/>
              <a:gd name="connsiteY1" fmla="*/ 133350 h 133350"/>
              <a:gd name="connsiteX2" fmla="*/ 140494 w 140494"/>
              <a:gd name="connsiteY2" fmla="*/ 133350 h 133350"/>
            </a:gdLst>
            <a:ahLst/>
            <a:cxnLst>
              <a:cxn ang="0">
                <a:pos x="connsiteX0" y="connsiteY0"/>
              </a:cxn>
              <a:cxn ang="0">
                <a:pos x="connsiteX1" y="connsiteY1"/>
              </a:cxn>
              <a:cxn ang="0">
                <a:pos x="connsiteX2" y="connsiteY2"/>
              </a:cxn>
            </a:cxnLst>
            <a:rect l="l" t="t" r="r" b="b"/>
            <a:pathLst>
              <a:path w="140494" h="133350">
                <a:moveTo>
                  <a:pt x="0" y="0"/>
                </a:moveTo>
                <a:lnTo>
                  <a:pt x="0" y="133350"/>
                </a:lnTo>
                <a:lnTo>
                  <a:pt x="140494" y="133350"/>
                </a:lnTo>
              </a:path>
            </a:pathLst>
          </a:custGeom>
          <a:no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5" name="文本框 44">
            <a:extLst>
              <a:ext uri="{FF2B5EF4-FFF2-40B4-BE49-F238E27FC236}">
                <a16:creationId xmlns:a16="http://schemas.microsoft.com/office/drawing/2014/main" id="{8DB2D742-8B64-4A2A-9AEF-4960DDB40E87}"/>
              </a:ext>
            </a:extLst>
          </p:cNvPr>
          <p:cNvSpPr txBox="1"/>
          <p:nvPr/>
        </p:nvSpPr>
        <p:spPr>
          <a:xfrm flipH="1">
            <a:off x="8848590" y="1672082"/>
            <a:ext cx="1282402" cy="307777"/>
          </a:xfrm>
          <a:prstGeom prst="rect">
            <a:avLst/>
          </a:prstGeom>
          <a:noFill/>
          <a:effectLst/>
        </p:spPr>
        <p:txBody>
          <a:bodyPr wrap="none" lIns="0" tIns="0" rIns="0" bIns="0" rtlCol="0" anchor="t">
            <a:spAutoFit/>
          </a:bodyPr>
          <a:lstStyle/>
          <a:p>
            <a:pPr algn="ctr"/>
            <a:r>
              <a:rPr lang="zh-CN" altLang="en-US" sz="2000" dirty="0">
                <a:solidFill>
                  <a:schemeClr val="accent1"/>
                </a:solidFill>
                <a:latin typeface="+mj-ea"/>
                <a:ea typeface="+mj-ea"/>
              </a:rPr>
              <a:t>关键词标题</a:t>
            </a:r>
          </a:p>
        </p:txBody>
      </p:sp>
      <p:sp>
        <p:nvSpPr>
          <p:cNvPr id="46" name="文本框 45">
            <a:extLst>
              <a:ext uri="{FF2B5EF4-FFF2-40B4-BE49-F238E27FC236}">
                <a16:creationId xmlns:a16="http://schemas.microsoft.com/office/drawing/2014/main" id="{7FD90277-91DD-433F-B3F0-87B5DF3351B7}"/>
              </a:ext>
            </a:extLst>
          </p:cNvPr>
          <p:cNvSpPr txBox="1"/>
          <p:nvPr/>
        </p:nvSpPr>
        <p:spPr>
          <a:xfrm flipH="1">
            <a:off x="8601946" y="2229295"/>
            <a:ext cx="2276589" cy="704873"/>
          </a:xfrm>
          <a:prstGeom prst="rect">
            <a:avLst/>
          </a:prstGeom>
          <a:noFill/>
          <a:effectLst/>
        </p:spPr>
        <p:txBody>
          <a:bodyPr wrap="square" lIns="0" tIns="0" rIns="0" bIns="0" rtlCol="0" anchor="t">
            <a:spAutoFit/>
          </a:bodyPr>
          <a:lstStyle/>
          <a:p>
            <a:pPr>
              <a:lnSpc>
                <a:spcPct val="130000"/>
              </a:lnSpc>
            </a:pPr>
            <a:r>
              <a:rPr lang="en-US" altLang="zh-CN" sz="1200" b="0" dirty="0">
                <a:solidFill>
                  <a:schemeClr val="tx1">
                    <a:lumMod val="75000"/>
                    <a:lumOff val="25000"/>
                  </a:schemeClr>
                </a:solidFill>
                <a:effectLst/>
                <a:latin typeface="+mn-ea"/>
              </a:rPr>
              <a:t>Lorem ipsum dolor sit ametconsectetur adipisicing elit</a:t>
            </a:r>
            <a:r>
              <a:rPr lang="en-US" altLang="zh-CN" sz="1200" dirty="0">
                <a:solidFill>
                  <a:schemeClr val="tx1">
                    <a:lumMod val="75000"/>
                    <a:lumOff val="25000"/>
                  </a:schemeClr>
                </a:solidFill>
                <a:latin typeface="+mn-ea"/>
              </a:rPr>
              <a:t> </a:t>
            </a:r>
            <a:r>
              <a:rPr lang="en-US" altLang="zh-CN" sz="1200" b="0" dirty="0">
                <a:solidFill>
                  <a:schemeClr val="tx1">
                    <a:lumMod val="75000"/>
                    <a:lumOff val="25000"/>
                  </a:schemeClr>
                </a:solidFill>
                <a:effectLst/>
                <a:latin typeface="+mn-ea"/>
              </a:rPr>
              <a:t>sed do eiusmod tempor</a:t>
            </a:r>
            <a:endParaRPr lang="zh-CN" altLang="en-US" sz="1200" b="0" dirty="0">
              <a:solidFill>
                <a:schemeClr val="tx1">
                  <a:lumMod val="75000"/>
                  <a:lumOff val="25000"/>
                </a:schemeClr>
              </a:solidFill>
              <a:effectLst/>
              <a:latin typeface="+mn-ea"/>
            </a:endParaRPr>
          </a:p>
        </p:txBody>
      </p:sp>
      <p:sp>
        <p:nvSpPr>
          <p:cNvPr id="47" name="椭圆 46">
            <a:extLst>
              <a:ext uri="{FF2B5EF4-FFF2-40B4-BE49-F238E27FC236}">
                <a16:creationId xmlns:a16="http://schemas.microsoft.com/office/drawing/2014/main" id="{A51A6DCE-5C7C-4365-A5C0-3C3F0AAA2CBD}"/>
              </a:ext>
            </a:extLst>
          </p:cNvPr>
          <p:cNvSpPr/>
          <p:nvPr/>
        </p:nvSpPr>
        <p:spPr>
          <a:xfrm flipH="1">
            <a:off x="7248604" y="2351995"/>
            <a:ext cx="90487" cy="90487"/>
          </a:xfrm>
          <a:prstGeom prst="ellipse">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48" name="Freeform 15">
            <a:extLst>
              <a:ext uri="{FF2B5EF4-FFF2-40B4-BE49-F238E27FC236}">
                <a16:creationId xmlns:a16="http://schemas.microsoft.com/office/drawing/2014/main" id="{3B2AAA4A-C965-4D78-B876-62B09E98B5D9}"/>
              </a:ext>
            </a:extLst>
          </p:cNvPr>
          <p:cNvSpPr/>
          <p:nvPr/>
        </p:nvSpPr>
        <p:spPr>
          <a:xfrm flipH="1" flipV="1">
            <a:off x="7313146" y="4798219"/>
            <a:ext cx="1243379" cy="519112"/>
          </a:xfrm>
          <a:custGeom>
            <a:avLst/>
            <a:gdLst>
              <a:gd name="connsiteX0" fmla="*/ 2699239 w 2699239"/>
              <a:gd name="connsiteY0" fmla="*/ 519112 h 519112"/>
              <a:gd name="connsiteX1" fmla="*/ 2264846 w 2699239"/>
              <a:gd name="connsiteY1" fmla="*/ 84719 h 519112"/>
              <a:gd name="connsiteX2" fmla="*/ 2061199 w 2699239"/>
              <a:gd name="connsiteY2" fmla="*/ 366 h 519112"/>
              <a:gd name="connsiteX3" fmla="*/ 1455860 w 2699239"/>
              <a:gd name="connsiteY3" fmla="*/ 0 h 519112"/>
              <a:gd name="connsiteX4" fmla="*/ 0 w 2699239"/>
              <a:gd name="connsiteY4" fmla="*/ 366 h 519112"/>
              <a:gd name="connsiteX0" fmla="*/ 1243379 w 1243379"/>
              <a:gd name="connsiteY0" fmla="*/ 519112 h 519112"/>
              <a:gd name="connsiteX1" fmla="*/ 808986 w 1243379"/>
              <a:gd name="connsiteY1" fmla="*/ 84719 h 519112"/>
              <a:gd name="connsiteX2" fmla="*/ 605339 w 1243379"/>
              <a:gd name="connsiteY2" fmla="*/ 366 h 519112"/>
              <a:gd name="connsiteX3" fmla="*/ 0 w 1243379"/>
              <a:gd name="connsiteY3" fmla="*/ 0 h 519112"/>
            </a:gdLst>
            <a:ahLst/>
            <a:cxnLst>
              <a:cxn ang="0">
                <a:pos x="connsiteX0" y="connsiteY0"/>
              </a:cxn>
              <a:cxn ang="0">
                <a:pos x="connsiteX1" y="connsiteY1"/>
              </a:cxn>
              <a:cxn ang="0">
                <a:pos x="connsiteX2" y="connsiteY2"/>
              </a:cxn>
              <a:cxn ang="0">
                <a:pos x="connsiteX3" y="connsiteY3"/>
              </a:cxn>
            </a:cxnLst>
            <a:rect l="l" t="t" r="r" b="b"/>
            <a:pathLst>
              <a:path w="1243379" h="519112">
                <a:moveTo>
                  <a:pt x="1243379" y="519112"/>
                </a:moveTo>
                <a:lnTo>
                  <a:pt x="808986" y="84719"/>
                </a:lnTo>
                <a:cubicBezTo>
                  <a:pt x="755000" y="30733"/>
                  <a:pt x="681687" y="366"/>
                  <a:pt x="605339" y="366"/>
                </a:cubicBezTo>
                <a:lnTo>
                  <a:pt x="0" y="0"/>
                </a:lnTo>
              </a:path>
            </a:pathLst>
          </a:cu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bg1"/>
              </a:solidFill>
            </a:endParaRPr>
          </a:p>
        </p:txBody>
      </p:sp>
      <p:sp>
        <p:nvSpPr>
          <p:cNvPr id="49" name="任意多边形: 形状 48">
            <a:extLst>
              <a:ext uri="{FF2B5EF4-FFF2-40B4-BE49-F238E27FC236}">
                <a16:creationId xmlns:a16="http://schemas.microsoft.com/office/drawing/2014/main" id="{661EEC58-CD29-488C-8C6E-F37FBD6B50A9}"/>
              </a:ext>
            </a:extLst>
          </p:cNvPr>
          <p:cNvSpPr/>
          <p:nvPr/>
        </p:nvSpPr>
        <p:spPr>
          <a:xfrm flipH="1">
            <a:off x="8601769" y="4991287"/>
            <a:ext cx="1714500" cy="557213"/>
          </a:xfrm>
          <a:custGeom>
            <a:avLst/>
            <a:gdLst>
              <a:gd name="connsiteX0" fmla="*/ 0 w 1714500"/>
              <a:gd name="connsiteY0" fmla="*/ 0 h 557213"/>
              <a:gd name="connsiteX1" fmla="*/ 1628775 w 1714500"/>
              <a:gd name="connsiteY1" fmla="*/ 0 h 557213"/>
              <a:gd name="connsiteX2" fmla="*/ 1714500 w 1714500"/>
              <a:gd name="connsiteY2" fmla="*/ 85725 h 557213"/>
              <a:gd name="connsiteX3" fmla="*/ 1714500 w 1714500"/>
              <a:gd name="connsiteY3" fmla="*/ 557213 h 557213"/>
              <a:gd name="connsiteX4" fmla="*/ 0 w 1714500"/>
              <a:gd name="connsiteY4" fmla="*/ 557213 h 5572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4500" h="557213">
                <a:moveTo>
                  <a:pt x="0" y="0"/>
                </a:moveTo>
                <a:lnTo>
                  <a:pt x="1628775" y="0"/>
                </a:lnTo>
                <a:lnTo>
                  <a:pt x="1714500" y="85725"/>
                </a:lnTo>
                <a:lnTo>
                  <a:pt x="1714500" y="557213"/>
                </a:lnTo>
                <a:lnTo>
                  <a:pt x="0" y="557213"/>
                </a:lnTo>
                <a:close/>
              </a:path>
            </a:pathLst>
          </a:cu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l"/>
            <a:endParaRPr lang="zh-CN" altLang="en-US" sz="1600">
              <a:solidFill>
                <a:schemeClr val="bg1"/>
              </a:solidFill>
              <a:latin typeface="+mj-ea"/>
              <a:ea typeface="+mj-ea"/>
            </a:endParaRPr>
          </a:p>
        </p:txBody>
      </p:sp>
      <p:sp>
        <p:nvSpPr>
          <p:cNvPr id="50" name="椭圆 49">
            <a:extLst>
              <a:ext uri="{FF2B5EF4-FFF2-40B4-BE49-F238E27FC236}">
                <a16:creationId xmlns:a16="http://schemas.microsoft.com/office/drawing/2014/main" id="{16BC8512-DC5F-43AD-9397-7910A064D0B0}"/>
              </a:ext>
            </a:extLst>
          </p:cNvPr>
          <p:cNvSpPr/>
          <p:nvPr/>
        </p:nvSpPr>
        <p:spPr>
          <a:xfrm flipH="1">
            <a:off x="8556525" y="5265131"/>
            <a:ext cx="90487" cy="90487"/>
          </a:xfrm>
          <a:prstGeom prst="ellipse">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51" name="任意多边形: 形状 50">
            <a:extLst>
              <a:ext uri="{FF2B5EF4-FFF2-40B4-BE49-F238E27FC236}">
                <a16:creationId xmlns:a16="http://schemas.microsoft.com/office/drawing/2014/main" id="{494CBA47-F7BA-4989-93FC-791DCD75D361}"/>
              </a:ext>
            </a:extLst>
          </p:cNvPr>
          <p:cNvSpPr/>
          <p:nvPr/>
        </p:nvSpPr>
        <p:spPr>
          <a:xfrm flipH="1">
            <a:off x="10111481" y="5458013"/>
            <a:ext cx="204788" cy="90487"/>
          </a:xfrm>
          <a:custGeom>
            <a:avLst/>
            <a:gdLst>
              <a:gd name="connsiteX0" fmla="*/ 0 w 140494"/>
              <a:gd name="connsiteY0" fmla="*/ 0 h 133350"/>
              <a:gd name="connsiteX1" fmla="*/ 0 w 140494"/>
              <a:gd name="connsiteY1" fmla="*/ 133350 h 133350"/>
              <a:gd name="connsiteX2" fmla="*/ 140494 w 140494"/>
              <a:gd name="connsiteY2" fmla="*/ 133350 h 133350"/>
            </a:gdLst>
            <a:ahLst/>
            <a:cxnLst>
              <a:cxn ang="0">
                <a:pos x="connsiteX0" y="connsiteY0"/>
              </a:cxn>
              <a:cxn ang="0">
                <a:pos x="connsiteX1" y="connsiteY1"/>
              </a:cxn>
              <a:cxn ang="0">
                <a:pos x="connsiteX2" y="connsiteY2"/>
              </a:cxn>
            </a:cxnLst>
            <a:rect l="l" t="t" r="r" b="b"/>
            <a:pathLst>
              <a:path w="140494" h="133350">
                <a:moveTo>
                  <a:pt x="0" y="0"/>
                </a:moveTo>
                <a:lnTo>
                  <a:pt x="0" y="133350"/>
                </a:lnTo>
                <a:lnTo>
                  <a:pt x="140494" y="133350"/>
                </a:lnTo>
              </a:path>
            </a:pathLst>
          </a:custGeom>
          <a:no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2" name="任意多边形: 形状 51">
            <a:extLst>
              <a:ext uri="{FF2B5EF4-FFF2-40B4-BE49-F238E27FC236}">
                <a16:creationId xmlns:a16="http://schemas.microsoft.com/office/drawing/2014/main" id="{C83E36CE-9E48-4951-BB44-3B385610C817}"/>
              </a:ext>
            </a:extLst>
          </p:cNvPr>
          <p:cNvSpPr/>
          <p:nvPr/>
        </p:nvSpPr>
        <p:spPr>
          <a:xfrm flipH="1" flipV="1">
            <a:off x="10111481" y="4991287"/>
            <a:ext cx="204788" cy="150019"/>
          </a:xfrm>
          <a:custGeom>
            <a:avLst/>
            <a:gdLst>
              <a:gd name="connsiteX0" fmla="*/ 0 w 140494"/>
              <a:gd name="connsiteY0" fmla="*/ 0 h 133350"/>
              <a:gd name="connsiteX1" fmla="*/ 0 w 140494"/>
              <a:gd name="connsiteY1" fmla="*/ 133350 h 133350"/>
              <a:gd name="connsiteX2" fmla="*/ 140494 w 140494"/>
              <a:gd name="connsiteY2" fmla="*/ 133350 h 133350"/>
            </a:gdLst>
            <a:ahLst/>
            <a:cxnLst>
              <a:cxn ang="0">
                <a:pos x="connsiteX0" y="connsiteY0"/>
              </a:cxn>
              <a:cxn ang="0">
                <a:pos x="connsiteX1" y="connsiteY1"/>
              </a:cxn>
              <a:cxn ang="0">
                <a:pos x="connsiteX2" y="connsiteY2"/>
              </a:cxn>
            </a:cxnLst>
            <a:rect l="l" t="t" r="r" b="b"/>
            <a:pathLst>
              <a:path w="140494" h="133350">
                <a:moveTo>
                  <a:pt x="0" y="0"/>
                </a:moveTo>
                <a:lnTo>
                  <a:pt x="0" y="133350"/>
                </a:lnTo>
                <a:lnTo>
                  <a:pt x="140494" y="133350"/>
                </a:lnTo>
              </a:path>
            </a:pathLst>
          </a:custGeom>
          <a:no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3" name="任意多边形: 形状 52">
            <a:extLst>
              <a:ext uri="{FF2B5EF4-FFF2-40B4-BE49-F238E27FC236}">
                <a16:creationId xmlns:a16="http://schemas.microsoft.com/office/drawing/2014/main" id="{D4C5BDF5-A7D9-4DAA-9EF0-1B876A7FE9D1}"/>
              </a:ext>
            </a:extLst>
          </p:cNvPr>
          <p:cNvSpPr/>
          <p:nvPr/>
        </p:nvSpPr>
        <p:spPr>
          <a:xfrm>
            <a:off x="8601769" y="5458013"/>
            <a:ext cx="204788" cy="90487"/>
          </a:xfrm>
          <a:custGeom>
            <a:avLst/>
            <a:gdLst>
              <a:gd name="connsiteX0" fmla="*/ 0 w 140494"/>
              <a:gd name="connsiteY0" fmla="*/ 0 h 133350"/>
              <a:gd name="connsiteX1" fmla="*/ 0 w 140494"/>
              <a:gd name="connsiteY1" fmla="*/ 133350 h 133350"/>
              <a:gd name="connsiteX2" fmla="*/ 140494 w 140494"/>
              <a:gd name="connsiteY2" fmla="*/ 133350 h 133350"/>
            </a:gdLst>
            <a:ahLst/>
            <a:cxnLst>
              <a:cxn ang="0">
                <a:pos x="connsiteX0" y="connsiteY0"/>
              </a:cxn>
              <a:cxn ang="0">
                <a:pos x="connsiteX1" y="connsiteY1"/>
              </a:cxn>
              <a:cxn ang="0">
                <a:pos x="connsiteX2" y="connsiteY2"/>
              </a:cxn>
            </a:cxnLst>
            <a:rect l="l" t="t" r="r" b="b"/>
            <a:pathLst>
              <a:path w="140494" h="133350">
                <a:moveTo>
                  <a:pt x="0" y="0"/>
                </a:moveTo>
                <a:lnTo>
                  <a:pt x="0" y="133350"/>
                </a:lnTo>
                <a:lnTo>
                  <a:pt x="140494" y="133350"/>
                </a:lnTo>
              </a:path>
            </a:pathLst>
          </a:custGeom>
          <a:no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4" name="文本框 53">
            <a:extLst>
              <a:ext uri="{FF2B5EF4-FFF2-40B4-BE49-F238E27FC236}">
                <a16:creationId xmlns:a16="http://schemas.microsoft.com/office/drawing/2014/main" id="{C82EBFDF-4BB4-429D-8DC6-ACB7759D86EA}"/>
              </a:ext>
            </a:extLst>
          </p:cNvPr>
          <p:cNvSpPr txBox="1"/>
          <p:nvPr/>
        </p:nvSpPr>
        <p:spPr>
          <a:xfrm flipH="1">
            <a:off x="8848590" y="5111242"/>
            <a:ext cx="1282402" cy="307777"/>
          </a:xfrm>
          <a:prstGeom prst="rect">
            <a:avLst/>
          </a:prstGeom>
          <a:noFill/>
          <a:effectLst/>
        </p:spPr>
        <p:txBody>
          <a:bodyPr wrap="none" lIns="0" tIns="0" rIns="0" bIns="0" rtlCol="0" anchor="t">
            <a:spAutoFit/>
          </a:bodyPr>
          <a:lstStyle/>
          <a:p>
            <a:pPr algn="ctr"/>
            <a:r>
              <a:rPr lang="zh-CN" altLang="en-US" sz="2000" dirty="0">
                <a:solidFill>
                  <a:schemeClr val="accent1"/>
                </a:solidFill>
                <a:latin typeface="+mj-ea"/>
                <a:ea typeface="+mj-ea"/>
              </a:rPr>
              <a:t>关键词标题</a:t>
            </a:r>
          </a:p>
        </p:txBody>
      </p:sp>
      <p:sp>
        <p:nvSpPr>
          <p:cNvPr id="55" name="文本框 54">
            <a:extLst>
              <a:ext uri="{FF2B5EF4-FFF2-40B4-BE49-F238E27FC236}">
                <a16:creationId xmlns:a16="http://schemas.microsoft.com/office/drawing/2014/main" id="{2D2324F7-3176-491C-B6A1-3C5750E7F461}"/>
              </a:ext>
            </a:extLst>
          </p:cNvPr>
          <p:cNvSpPr txBox="1"/>
          <p:nvPr/>
        </p:nvSpPr>
        <p:spPr>
          <a:xfrm flipH="1">
            <a:off x="8601946" y="5668455"/>
            <a:ext cx="2276589" cy="704873"/>
          </a:xfrm>
          <a:prstGeom prst="rect">
            <a:avLst/>
          </a:prstGeom>
          <a:noFill/>
          <a:effectLst/>
        </p:spPr>
        <p:txBody>
          <a:bodyPr wrap="square" lIns="0" tIns="0" rIns="0" bIns="0" rtlCol="0" anchor="t">
            <a:spAutoFit/>
          </a:bodyPr>
          <a:lstStyle/>
          <a:p>
            <a:pPr>
              <a:lnSpc>
                <a:spcPct val="130000"/>
              </a:lnSpc>
            </a:pPr>
            <a:r>
              <a:rPr lang="en-US" altLang="zh-CN" sz="1200" b="0" dirty="0">
                <a:solidFill>
                  <a:schemeClr val="tx1">
                    <a:lumMod val="75000"/>
                    <a:lumOff val="25000"/>
                  </a:schemeClr>
                </a:solidFill>
                <a:effectLst/>
                <a:latin typeface="+mn-ea"/>
              </a:rPr>
              <a:t>Lorem ipsum dolor sit ametconsectetur adipisicing elit</a:t>
            </a:r>
            <a:r>
              <a:rPr lang="en-US" altLang="zh-CN" sz="1200" dirty="0">
                <a:solidFill>
                  <a:schemeClr val="tx1">
                    <a:lumMod val="75000"/>
                    <a:lumOff val="25000"/>
                  </a:schemeClr>
                </a:solidFill>
                <a:latin typeface="+mn-ea"/>
              </a:rPr>
              <a:t> </a:t>
            </a:r>
            <a:r>
              <a:rPr lang="en-US" altLang="zh-CN" sz="1200" b="0" dirty="0">
                <a:solidFill>
                  <a:schemeClr val="tx1">
                    <a:lumMod val="75000"/>
                    <a:lumOff val="25000"/>
                  </a:schemeClr>
                </a:solidFill>
                <a:effectLst/>
                <a:latin typeface="+mn-ea"/>
              </a:rPr>
              <a:t>sed do eiusmod tempor</a:t>
            </a:r>
            <a:endParaRPr lang="zh-CN" altLang="en-US" sz="1200" b="0" dirty="0">
              <a:solidFill>
                <a:schemeClr val="tx1">
                  <a:lumMod val="75000"/>
                  <a:lumOff val="25000"/>
                </a:schemeClr>
              </a:solidFill>
              <a:effectLst/>
              <a:latin typeface="+mn-ea"/>
            </a:endParaRPr>
          </a:p>
        </p:txBody>
      </p:sp>
      <p:sp>
        <p:nvSpPr>
          <p:cNvPr id="56" name="椭圆 55">
            <a:extLst>
              <a:ext uri="{FF2B5EF4-FFF2-40B4-BE49-F238E27FC236}">
                <a16:creationId xmlns:a16="http://schemas.microsoft.com/office/drawing/2014/main" id="{2447A599-D7F2-4D84-8EA9-9E4321CAE135}"/>
              </a:ext>
            </a:extLst>
          </p:cNvPr>
          <p:cNvSpPr/>
          <p:nvPr/>
        </p:nvSpPr>
        <p:spPr>
          <a:xfrm flipH="1">
            <a:off x="7248604" y="4752702"/>
            <a:ext cx="90487" cy="90487"/>
          </a:xfrm>
          <a:prstGeom prst="ellipse">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58" name="文本框 57">
            <a:extLst>
              <a:ext uri="{FF2B5EF4-FFF2-40B4-BE49-F238E27FC236}">
                <a16:creationId xmlns:a16="http://schemas.microsoft.com/office/drawing/2014/main" id="{865713C5-A55D-4676-A3EB-8E316166C4F8}"/>
              </a:ext>
            </a:extLst>
          </p:cNvPr>
          <p:cNvSpPr txBox="1"/>
          <p:nvPr/>
        </p:nvSpPr>
        <p:spPr>
          <a:xfrm>
            <a:off x="5415728" y="3505769"/>
            <a:ext cx="1154162" cy="276999"/>
          </a:xfrm>
          <a:prstGeom prst="rect">
            <a:avLst/>
          </a:prstGeom>
          <a:noFill/>
          <a:effectLst/>
        </p:spPr>
        <p:txBody>
          <a:bodyPr wrap="none" lIns="0" tIns="0" rIns="0" bIns="0" rtlCol="0" anchor="t">
            <a:spAutoFit/>
          </a:bodyPr>
          <a:lstStyle/>
          <a:p>
            <a:pPr algn="ctr"/>
            <a:r>
              <a:rPr lang="zh-CN" altLang="en-US" dirty="0">
                <a:solidFill>
                  <a:schemeClr val="bg1"/>
                </a:solidFill>
                <a:latin typeface="+mj-ea"/>
                <a:ea typeface="+mj-ea"/>
              </a:rPr>
              <a:t>关键词标题</a:t>
            </a:r>
          </a:p>
        </p:txBody>
      </p:sp>
      <p:sp>
        <p:nvSpPr>
          <p:cNvPr id="59" name="文本框 58">
            <a:extLst>
              <a:ext uri="{FF2B5EF4-FFF2-40B4-BE49-F238E27FC236}">
                <a16:creationId xmlns:a16="http://schemas.microsoft.com/office/drawing/2014/main" id="{0B3CB1C7-5286-43DE-9F29-9A7DCD530743}"/>
              </a:ext>
            </a:extLst>
          </p:cNvPr>
          <p:cNvSpPr txBox="1"/>
          <p:nvPr/>
        </p:nvSpPr>
        <p:spPr>
          <a:xfrm>
            <a:off x="5184671" y="3802989"/>
            <a:ext cx="1616276" cy="406714"/>
          </a:xfrm>
          <a:prstGeom prst="rect">
            <a:avLst/>
          </a:prstGeom>
          <a:noFill/>
          <a:effectLst/>
        </p:spPr>
        <p:txBody>
          <a:bodyPr wrap="square" lIns="0" tIns="0" rIns="0" bIns="0" rtlCol="0" anchor="t">
            <a:spAutoFit/>
          </a:bodyPr>
          <a:lstStyle/>
          <a:p>
            <a:pPr algn="ctr">
              <a:lnSpc>
                <a:spcPct val="130000"/>
              </a:lnSpc>
            </a:pPr>
            <a:r>
              <a:rPr lang="en-US" altLang="zh-CN" sz="1050" b="0" dirty="0">
                <a:solidFill>
                  <a:schemeClr val="bg1"/>
                </a:solidFill>
                <a:effectLst/>
                <a:latin typeface="+mn-ea"/>
              </a:rPr>
              <a:t>Lorem ipsum dolor sit ametconsectetur</a:t>
            </a:r>
            <a:endParaRPr lang="zh-CN" altLang="en-US" sz="1050" b="0" dirty="0">
              <a:solidFill>
                <a:schemeClr val="bg1"/>
              </a:solidFill>
              <a:effectLst/>
              <a:latin typeface="+mn-ea"/>
            </a:endParaRPr>
          </a:p>
        </p:txBody>
      </p:sp>
      <p:sp>
        <p:nvSpPr>
          <p:cNvPr id="60" name="iconfont-1187-868110">
            <a:extLst>
              <a:ext uri="{FF2B5EF4-FFF2-40B4-BE49-F238E27FC236}">
                <a16:creationId xmlns:a16="http://schemas.microsoft.com/office/drawing/2014/main" id="{CFE14AFA-872E-49F9-88D2-F04F47E77958}"/>
              </a:ext>
            </a:extLst>
          </p:cNvPr>
          <p:cNvSpPr/>
          <p:nvPr/>
        </p:nvSpPr>
        <p:spPr>
          <a:xfrm>
            <a:off x="5776512" y="2913193"/>
            <a:ext cx="432594" cy="417180"/>
          </a:xfrm>
          <a:custGeom>
            <a:avLst/>
            <a:gdLst>
              <a:gd name="T0" fmla="*/ 11888 w 12803"/>
              <a:gd name="T1" fmla="*/ 0 h 12345"/>
              <a:gd name="T2" fmla="*/ 914 w 12803"/>
              <a:gd name="T3" fmla="*/ 0 h 12345"/>
              <a:gd name="T4" fmla="*/ 0 w 12803"/>
              <a:gd name="T5" fmla="*/ 914 h 12345"/>
              <a:gd name="T6" fmla="*/ 0 w 12803"/>
              <a:gd name="T7" fmla="*/ 8687 h 12345"/>
              <a:gd name="T8" fmla="*/ 914 w 12803"/>
              <a:gd name="T9" fmla="*/ 9602 h 12345"/>
              <a:gd name="T10" fmla="*/ 3201 w 12803"/>
              <a:gd name="T11" fmla="*/ 9602 h 12345"/>
              <a:gd name="T12" fmla="*/ 3201 w 12803"/>
              <a:gd name="T13" fmla="*/ 12345 h 12345"/>
              <a:gd name="T14" fmla="*/ 8230 w 12803"/>
              <a:gd name="T15" fmla="*/ 9602 h 12345"/>
              <a:gd name="T16" fmla="*/ 11888 w 12803"/>
              <a:gd name="T17" fmla="*/ 9602 h 12345"/>
              <a:gd name="T18" fmla="*/ 12803 w 12803"/>
              <a:gd name="T19" fmla="*/ 8687 h 12345"/>
              <a:gd name="T20" fmla="*/ 12803 w 12803"/>
              <a:gd name="T21" fmla="*/ 914 h 12345"/>
              <a:gd name="T22" fmla="*/ 11888 w 12803"/>
              <a:gd name="T23" fmla="*/ 0 h 12345"/>
              <a:gd name="T24" fmla="*/ 3201 w 12803"/>
              <a:gd name="T25" fmla="*/ 5487 h 12345"/>
              <a:gd name="T26" fmla="*/ 2286 w 12803"/>
              <a:gd name="T27" fmla="*/ 4572 h 12345"/>
              <a:gd name="T28" fmla="*/ 3201 w 12803"/>
              <a:gd name="T29" fmla="*/ 3658 h 12345"/>
              <a:gd name="T30" fmla="*/ 4115 w 12803"/>
              <a:gd name="T31" fmla="*/ 4572 h 12345"/>
              <a:gd name="T32" fmla="*/ 3201 w 12803"/>
              <a:gd name="T33" fmla="*/ 5487 h 12345"/>
              <a:gd name="T34" fmla="*/ 6401 w 12803"/>
              <a:gd name="T35" fmla="*/ 5487 h 12345"/>
              <a:gd name="T36" fmla="*/ 5487 w 12803"/>
              <a:gd name="T37" fmla="*/ 4572 h 12345"/>
              <a:gd name="T38" fmla="*/ 6401 w 12803"/>
              <a:gd name="T39" fmla="*/ 3658 h 12345"/>
              <a:gd name="T40" fmla="*/ 7316 w 12803"/>
              <a:gd name="T41" fmla="*/ 4572 h 12345"/>
              <a:gd name="T42" fmla="*/ 6401 w 12803"/>
              <a:gd name="T43" fmla="*/ 5487 h 12345"/>
              <a:gd name="T44" fmla="*/ 9602 w 12803"/>
              <a:gd name="T45" fmla="*/ 5487 h 12345"/>
              <a:gd name="T46" fmla="*/ 8687 w 12803"/>
              <a:gd name="T47" fmla="*/ 4572 h 12345"/>
              <a:gd name="T48" fmla="*/ 9602 w 12803"/>
              <a:gd name="T49" fmla="*/ 3658 h 12345"/>
              <a:gd name="T50" fmla="*/ 10516 w 12803"/>
              <a:gd name="T51" fmla="*/ 4572 h 12345"/>
              <a:gd name="T52" fmla="*/ 9602 w 12803"/>
              <a:gd name="T53" fmla="*/ 5487 h 12345"/>
              <a:gd name="T54" fmla="*/ 9602 w 12803"/>
              <a:gd name="T55" fmla="*/ 5487 h 123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2803" h="12345">
                <a:moveTo>
                  <a:pt x="11888" y="0"/>
                </a:moveTo>
                <a:lnTo>
                  <a:pt x="914" y="0"/>
                </a:lnTo>
                <a:cubicBezTo>
                  <a:pt x="409" y="0"/>
                  <a:pt x="0" y="409"/>
                  <a:pt x="0" y="914"/>
                </a:cubicBezTo>
                <a:lnTo>
                  <a:pt x="0" y="8687"/>
                </a:lnTo>
                <a:cubicBezTo>
                  <a:pt x="0" y="9193"/>
                  <a:pt x="409" y="9602"/>
                  <a:pt x="914" y="9602"/>
                </a:cubicBezTo>
                <a:lnTo>
                  <a:pt x="3201" y="9602"/>
                </a:lnTo>
                <a:lnTo>
                  <a:pt x="3201" y="12345"/>
                </a:lnTo>
                <a:lnTo>
                  <a:pt x="8230" y="9602"/>
                </a:lnTo>
                <a:lnTo>
                  <a:pt x="11888" y="9602"/>
                </a:lnTo>
                <a:cubicBezTo>
                  <a:pt x="12393" y="9602"/>
                  <a:pt x="12803" y="9193"/>
                  <a:pt x="12803" y="8687"/>
                </a:cubicBezTo>
                <a:lnTo>
                  <a:pt x="12803" y="914"/>
                </a:lnTo>
                <a:cubicBezTo>
                  <a:pt x="12803" y="409"/>
                  <a:pt x="12393" y="0"/>
                  <a:pt x="11888" y="0"/>
                </a:cubicBezTo>
                <a:close/>
                <a:moveTo>
                  <a:pt x="3201" y="5487"/>
                </a:moveTo>
                <a:cubicBezTo>
                  <a:pt x="2695" y="5487"/>
                  <a:pt x="2286" y="5077"/>
                  <a:pt x="2286" y="4572"/>
                </a:cubicBezTo>
                <a:cubicBezTo>
                  <a:pt x="2286" y="4067"/>
                  <a:pt x="2695" y="3658"/>
                  <a:pt x="3201" y="3658"/>
                </a:cubicBezTo>
                <a:cubicBezTo>
                  <a:pt x="3706" y="3658"/>
                  <a:pt x="4115" y="4067"/>
                  <a:pt x="4115" y="4572"/>
                </a:cubicBezTo>
                <a:cubicBezTo>
                  <a:pt x="4115" y="5077"/>
                  <a:pt x="3706" y="5487"/>
                  <a:pt x="3201" y="5487"/>
                </a:cubicBezTo>
                <a:close/>
                <a:moveTo>
                  <a:pt x="6401" y="5487"/>
                </a:moveTo>
                <a:cubicBezTo>
                  <a:pt x="5896" y="5487"/>
                  <a:pt x="5487" y="5077"/>
                  <a:pt x="5487" y="4572"/>
                </a:cubicBezTo>
                <a:cubicBezTo>
                  <a:pt x="5487" y="4067"/>
                  <a:pt x="5896" y="3658"/>
                  <a:pt x="6401" y="3658"/>
                </a:cubicBezTo>
                <a:cubicBezTo>
                  <a:pt x="6907" y="3658"/>
                  <a:pt x="7316" y="4067"/>
                  <a:pt x="7316" y="4572"/>
                </a:cubicBezTo>
                <a:cubicBezTo>
                  <a:pt x="7316" y="5077"/>
                  <a:pt x="6907" y="5487"/>
                  <a:pt x="6401" y="5487"/>
                </a:cubicBezTo>
                <a:close/>
                <a:moveTo>
                  <a:pt x="9602" y="5487"/>
                </a:moveTo>
                <a:cubicBezTo>
                  <a:pt x="9097" y="5487"/>
                  <a:pt x="8687" y="5077"/>
                  <a:pt x="8687" y="4572"/>
                </a:cubicBezTo>
                <a:cubicBezTo>
                  <a:pt x="8687" y="4067"/>
                  <a:pt x="9097" y="3658"/>
                  <a:pt x="9602" y="3658"/>
                </a:cubicBezTo>
                <a:cubicBezTo>
                  <a:pt x="10107" y="3658"/>
                  <a:pt x="10516" y="4067"/>
                  <a:pt x="10516" y="4572"/>
                </a:cubicBezTo>
                <a:cubicBezTo>
                  <a:pt x="10516" y="5077"/>
                  <a:pt x="10107" y="5487"/>
                  <a:pt x="9602" y="5487"/>
                </a:cubicBezTo>
                <a:close/>
                <a:moveTo>
                  <a:pt x="9602" y="5487"/>
                </a:move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40309879"/>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3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椭圆 1">
            <a:extLst>
              <a:ext uri="{FF2B5EF4-FFF2-40B4-BE49-F238E27FC236}">
                <a16:creationId xmlns:a16="http://schemas.microsoft.com/office/drawing/2014/main" id="{085EC7D7-5624-4304-8BBA-0A0242B8EFB9}"/>
              </a:ext>
            </a:extLst>
          </p:cNvPr>
          <p:cNvSpPr/>
          <p:nvPr/>
        </p:nvSpPr>
        <p:spPr>
          <a:xfrm>
            <a:off x="5024505" y="2657371"/>
            <a:ext cx="1877099" cy="1877099"/>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85039" tIns="42520" rIns="85039" bIns="42520" rtlCol="0" anchor="ctr"/>
          <a:lstStyle/>
          <a:p>
            <a:pPr algn="l"/>
            <a:endParaRPr lang="zh-CN" altLang="en-US" sz="1488">
              <a:solidFill>
                <a:schemeClr val="bg1"/>
              </a:solidFill>
              <a:latin typeface="+mj-ea"/>
              <a:ea typeface="+mj-ea"/>
            </a:endParaRPr>
          </a:p>
        </p:txBody>
      </p:sp>
      <p:sp>
        <p:nvSpPr>
          <p:cNvPr id="3" name="椭圆 2">
            <a:extLst>
              <a:ext uri="{FF2B5EF4-FFF2-40B4-BE49-F238E27FC236}">
                <a16:creationId xmlns:a16="http://schemas.microsoft.com/office/drawing/2014/main" id="{0C019DD0-DDAA-490C-BF8C-8C70AD557E50}"/>
              </a:ext>
            </a:extLst>
          </p:cNvPr>
          <p:cNvSpPr/>
          <p:nvPr/>
        </p:nvSpPr>
        <p:spPr>
          <a:xfrm>
            <a:off x="4917781" y="2550647"/>
            <a:ext cx="2090547" cy="2090547"/>
          </a:xfrm>
          <a:prstGeom prst="ellipse">
            <a:avLst/>
          </a:prstGeom>
          <a:noFill/>
          <a:ln w="17716">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85039" tIns="42520" rIns="85039" bIns="42520" rtlCol="0" anchor="ctr"/>
          <a:lstStyle/>
          <a:p>
            <a:pPr algn="l"/>
            <a:endParaRPr lang="zh-CN" altLang="en-US" sz="1488">
              <a:solidFill>
                <a:schemeClr val="bg1"/>
              </a:solidFill>
              <a:latin typeface="+mj-ea"/>
              <a:ea typeface="+mj-ea"/>
            </a:endParaRPr>
          </a:p>
        </p:txBody>
      </p:sp>
      <p:sp>
        <p:nvSpPr>
          <p:cNvPr id="22" name="任意多边形: 形状 21">
            <a:extLst>
              <a:ext uri="{FF2B5EF4-FFF2-40B4-BE49-F238E27FC236}">
                <a16:creationId xmlns:a16="http://schemas.microsoft.com/office/drawing/2014/main" id="{FD0FD1AF-BDF4-454A-AB41-9C0B05BCDBB2}"/>
              </a:ext>
            </a:extLst>
          </p:cNvPr>
          <p:cNvSpPr/>
          <p:nvPr/>
        </p:nvSpPr>
        <p:spPr>
          <a:xfrm rot="1800000">
            <a:off x="5935760" y="2407509"/>
            <a:ext cx="1284837" cy="285090"/>
          </a:xfrm>
          <a:custGeom>
            <a:avLst/>
            <a:gdLst>
              <a:gd name="connsiteX0" fmla="*/ 690773 w 1381546"/>
              <a:gd name="connsiteY0" fmla="*/ 0 h 306548"/>
              <a:gd name="connsiteX1" fmla="*/ 1380881 w 1381546"/>
              <a:gd name="connsiteY1" fmla="*/ 174742 h 306548"/>
              <a:gd name="connsiteX2" fmla="*/ 1381546 w 1381546"/>
              <a:gd name="connsiteY2" fmla="*/ 175146 h 306548"/>
              <a:gd name="connsiteX3" fmla="*/ 1305681 w 1381546"/>
              <a:gd name="connsiteY3" fmla="*/ 306548 h 306548"/>
              <a:gd name="connsiteX4" fmla="*/ 1195341 w 1381546"/>
              <a:gd name="connsiteY4" fmla="*/ 253395 h 306548"/>
              <a:gd name="connsiteX5" fmla="*/ 690773 w 1381546"/>
              <a:gd name="connsiteY5" fmla="*/ 151527 h 306548"/>
              <a:gd name="connsiteX6" fmla="*/ 186205 w 1381546"/>
              <a:gd name="connsiteY6" fmla="*/ 253395 h 306548"/>
              <a:gd name="connsiteX7" fmla="*/ 75865 w 1381546"/>
              <a:gd name="connsiteY7" fmla="*/ 306548 h 306548"/>
              <a:gd name="connsiteX8" fmla="*/ 0 w 1381546"/>
              <a:gd name="connsiteY8" fmla="*/ 175146 h 306548"/>
              <a:gd name="connsiteX9" fmla="*/ 665 w 1381546"/>
              <a:gd name="connsiteY9" fmla="*/ 174742 h 306548"/>
              <a:gd name="connsiteX10" fmla="*/ 690773 w 1381546"/>
              <a:gd name="connsiteY10" fmla="*/ 0 h 306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81546" h="306548">
                <a:moveTo>
                  <a:pt x="690773" y="0"/>
                </a:moveTo>
                <a:cubicBezTo>
                  <a:pt x="940648" y="0"/>
                  <a:pt x="1175737" y="63301"/>
                  <a:pt x="1380881" y="174742"/>
                </a:cubicBezTo>
                <a:lnTo>
                  <a:pt x="1381546" y="175146"/>
                </a:lnTo>
                <a:lnTo>
                  <a:pt x="1305681" y="306548"/>
                </a:lnTo>
                <a:lnTo>
                  <a:pt x="1195341" y="253395"/>
                </a:lnTo>
                <a:cubicBezTo>
                  <a:pt x="1040257" y="187800"/>
                  <a:pt x="869751" y="151527"/>
                  <a:pt x="690773" y="151527"/>
                </a:cubicBezTo>
                <a:cubicBezTo>
                  <a:pt x="511795" y="151527"/>
                  <a:pt x="341289" y="187800"/>
                  <a:pt x="186205" y="253395"/>
                </a:cubicBezTo>
                <a:lnTo>
                  <a:pt x="75865" y="306548"/>
                </a:lnTo>
                <a:lnTo>
                  <a:pt x="0" y="175146"/>
                </a:lnTo>
                <a:lnTo>
                  <a:pt x="665" y="174742"/>
                </a:lnTo>
                <a:cubicBezTo>
                  <a:pt x="205809" y="63301"/>
                  <a:pt x="440899" y="0"/>
                  <a:pt x="690773" y="0"/>
                </a:cubicBezTo>
                <a:close/>
              </a:path>
            </a:pathLst>
          </a:custGeom>
          <a:solidFill>
            <a:schemeClr val="accent1"/>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85039" tIns="42520" rIns="85039" bIns="42520" rtlCol="0" anchor="ctr">
            <a:noAutofit/>
          </a:bodyPr>
          <a:lstStyle/>
          <a:p>
            <a:pPr algn="l"/>
            <a:endParaRPr lang="zh-CN" altLang="en-US" sz="1488">
              <a:solidFill>
                <a:schemeClr val="bg1"/>
              </a:solidFill>
              <a:latin typeface="+mj-ea"/>
              <a:ea typeface="+mj-ea"/>
            </a:endParaRPr>
          </a:p>
        </p:txBody>
      </p:sp>
      <p:sp>
        <p:nvSpPr>
          <p:cNvPr id="21" name="任意多边形: 形状 20">
            <a:extLst>
              <a:ext uri="{FF2B5EF4-FFF2-40B4-BE49-F238E27FC236}">
                <a16:creationId xmlns:a16="http://schemas.microsoft.com/office/drawing/2014/main" id="{4AFE765B-8DE4-435A-9D7D-81133C187412}"/>
              </a:ext>
            </a:extLst>
          </p:cNvPr>
          <p:cNvSpPr/>
          <p:nvPr/>
        </p:nvSpPr>
        <p:spPr>
          <a:xfrm rot="1800000">
            <a:off x="5061370" y="2032919"/>
            <a:ext cx="712071" cy="1111331"/>
          </a:xfrm>
          <a:custGeom>
            <a:avLst/>
            <a:gdLst>
              <a:gd name="connsiteX0" fmla="*/ 689963 w 765668"/>
              <a:gd name="connsiteY0" fmla="*/ 0 h 1194980"/>
              <a:gd name="connsiteX1" fmla="*/ 765668 w 765668"/>
              <a:gd name="connsiteY1" fmla="*/ 131125 h 1194980"/>
              <a:gd name="connsiteX2" fmla="*/ 721117 w 765668"/>
              <a:gd name="connsiteY2" fmla="*/ 158190 h 1194980"/>
              <a:gd name="connsiteX3" fmla="*/ 156296 w 765668"/>
              <a:gd name="connsiteY3" fmla="*/ 1100544 h 1194980"/>
              <a:gd name="connsiteX4" fmla="*/ 151527 w 765668"/>
              <a:gd name="connsiteY4" fmla="*/ 1194980 h 1194980"/>
              <a:gd name="connsiteX5" fmla="*/ 0 w 765668"/>
              <a:gd name="connsiteY5" fmla="*/ 1194980 h 1194980"/>
              <a:gd name="connsiteX6" fmla="*/ 5551 w 765668"/>
              <a:gd name="connsiteY6" fmla="*/ 1085051 h 1194980"/>
              <a:gd name="connsiteX7" fmla="*/ 636397 w 765668"/>
              <a:gd name="connsiteY7" fmla="*/ 32541 h 1194980"/>
              <a:gd name="connsiteX8" fmla="*/ 689963 w 765668"/>
              <a:gd name="connsiteY8" fmla="*/ 0 h 1194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5668" h="1194980">
                <a:moveTo>
                  <a:pt x="689963" y="0"/>
                </a:moveTo>
                <a:lnTo>
                  <a:pt x="765668" y="131125"/>
                </a:lnTo>
                <a:lnTo>
                  <a:pt x="721117" y="158190"/>
                </a:lnTo>
                <a:cubicBezTo>
                  <a:pt x="410788" y="367845"/>
                  <a:pt x="196125" y="708352"/>
                  <a:pt x="156296" y="1100544"/>
                </a:cubicBezTo>
                <a:lnTo>
                  <a:pt x="151527" y="1194980"/>
                </a:lnTo>
                <a:lnTo>
                  <a:pt x="0" y="1194980"/>
                </a:lnTo>
                <a:lnTo>
                  <a:pt x="5551" y="1085051"/>
                </a:lnTo>
                <a:cubicBezTo>
                  <a:pt x="50036" y="647014"/>
                  <a:pt x="289792" y="266704"/>
                  <a:pt x="636397" y="32541"/>
                </a:cubicBezTo>
                <a:lnTo>
                  <a:pt x="689963" y="0"/>
                </a:lnTo>
                <a:close/>
              </a:path>
            </a:pathLst>
          </a:custGeom>
          <a:solidFill>
            <a:schemeClr val="accent1"/>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85039" tIns="42520" rIns="85039" bIns="42520" rtlCol="0" anchor="ctr">
            <a:noAutofit/>
          </a:bodyPr>
          <a:lstStyle/>
          <a:p>
            <a:pPr algn="l"/>
            <a:endParaRPr lang="zh-CN" altLang="en-US" sz="1488">
              <a:solidFill>
                <a:schemeClr val="bg1"/>
              </a:solidFill>
              <a:latin typeface="+mj-ea"/>
              <a:ea typeface="+mj-ea"/>
            </a:endParaRPr>
          </a:p>
        </p:txBody>
      </p:sp>
      <p:sp>
        <p:nvSpPr>
          <p:cNvPr id="20" name="任意多边形: 形状 19">
            <a:extLst>
              <a:ext uri="{FF2B5EF4-FFF2-40B4-BE49-F238E27FC236}">
                <a16:creationId xmlns:a16="http://schemas.microsoft.com/office/drawing/2014/main" id="{A4DFEE3F-7BE4-4EE4-827C-34FEE460A5F4}"/>
              </a:ext>
            </a:extLst>
          </p:cNvPr>
          <p:cNvSpPr/>
          <p:nvPr/>
        </p:nvSpPr>
        <p:spPr>
          <a:xfrm rot="1800000">
            <a:off x="6773726" y="3021548"/>
            <a:ext cx="712070" cy="1111331"/>
          </a:xfrm>
          <a:custGeom>
            <a:avLst/>
            <a:gdLst>
              <a:gd name="connsiteX0" fmla="*/ 75705 w 765667"/>
              <a:gd name="connsiteY0" fmla="*/ 0 h 1194980"/>
              <a:gd name="connsiteX1" fmla="*/ 129270 w 765667"/>
              <a:gd name="connsiteY1" fmla="*/ 32541 h 1194980"/>
              <a:gd name="connsiteX2" fmla="*/ 760116 w 765667"/>
              <a:gd name="connsiteY2" fmla="*/ 1085051 h 1194980"/>
              <a:gd name="connsiteX3" fmla="*/ 765667 w 765667"/>
              <a:gd name="connsiteY3" fmla="*/ 1194980 h 1194980"/>
              <a:gd name="connsiteX4" fmla="*/ 614140 w 765667"/>
              <a:gd name="connsiteY4" fmla="*/ 1194980 h 1194980"/>
              <a:gd name="connsiteX5" fmla="*/ 609371 w 765667"/>
              <a:gd name="connsiteY5" fmla="*/ 1100544 h 1194980"/>
              <a:gd name="connsiteX6" fmla="*/ 44550 w 765667"/>
              <a:gd name="connsiteY6" fmla="*/ 158190 h 1194980"/>
              <a:gd name="connsiteX7" fmla="*/ 0 w 765667"/>
              <a:gd name="connsiteY7" fmla="*/ 131125 h 1194980"/>
              <a:gd name="connsiteX8" fmla="*/ 75705 w 765667"/>
              <a:gd name="connsiteY8" fmla="*/ 0 h 1194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5667" h="1194980">
                <a:moveTo>
                  <a:pt x="75705" y="0"/>
                </a:moveTo>
                <a:lnTo>
                  <a:pt x="129270" y="32541"/>
                </a:lnTo>
                <a:cubicBezTo>
                  <a:pt x="475876" y="266704"/>
                  <a:pt x="715631" y="647014"/>
                  <a:pt x="760116" y="1085051"/>
                </a:cubicBezTo>
                <a:lnTo>
                  <a:pt x="765667" y="1194980"/>
                </a:lnTo>
                <a:lnTo>
                  <a:pt x="614140" y="1194980"/>
                </a:lnTo>
                <a:lnTo>
                  <a:pt x="609371" y="1100544"/>
                </a:lnTo>
                <a:cubicBezTo>
                  <a:pt x="569542" y="708352"/>
                  <a:pt x="354880" y="367845"/>
                  <a:pt x="44550" y="158190"/>
                </a:cubicBezTo>
                <a:lnTo>
                  <a:pt x="0" y="131125"/>
                </a:lnTo>
                <a:lnTo>
                  <a:pt x="75705" y="0"/>
                </a:lnTo>
                <a:close/>
              </a:path>
            </a:pathLst>
          </a:custGeom>
          <a:solidFill>
            <a:schemeClr val="accent1"/>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85039" tIns="42520" rIns="85039" bIns="42520" rtlCol="0" anchor="ctr">
            <a:noAutofit/>
          </a:bodyPr>
          <a:lstStyle/>
          <a:p>
            <a:pPr algn="l"/>
            <a:endParaRPr lang="zh-CN" altLang="en-US" sz="1488">
              <a:solidFill>
                <a:schemeClr val="bg1"/>
              </a:solidFill>
              <a:latin typeface="+mj-ea"/>
              <a:ea typeface="+mj-ea"/>
            </a:endParaRPr>
          </a:p>
        </p:txBody>
      </p:sp>
      <p:sp>
        <p:nvSpPr>
          <p:cNvPr id="16" name="任意多边形: 形状 15">
            <a:extLst>
              <a:ext uri="{FF2B5EF4-FFF2-40B4-BE49-F238E27FC236}">
                <a16:creationId xmlns:a16="http://schemas.microsoft.com/office/drawing/2014/main" id="{CDCB7881-A03E-4712-9765-C8B388E22DC2}"/>
              </a:ext>
            </a:extLst>
          </p:cNvPr>
          <p:cNvSpPr/>
          <p:nvPr/>
        </p:nvSpPr>
        <p:spPr>
          <a:xfrm rot="1800000">
            <a:off x="4470271" y="3056733"/>
            <a:ext cx="712071" cy="1111332"/>
          </a:xfrm>
          <a:custGeom>
            <a:avLst/>
            <a:gdLst>
              <a:gd name="connsiteX0" fmla="*/ 0 w 765668"/>
              <a:gd name="connsiteY0" fmla="*/ 0 h 1194981"/>
              <a:gd name="connsiteX1" fmla="*/ 151527 w 765668"/>
              <a:gd name="connsiteY1" fmla="*/ 0 h 1194981"/>
              <a:gd name="connsiteX2" fmla="*/ 156296 w 765668"/>
              <a:gd name="connsiteY2" fmla="*/ 94436 h 1194981"/>
              <a:gd name="connsiteX3" fmla="*/ 721117 w 765668"/>
              <a:gd name="connsiteY3" fmla="*/ 1036790 h 1194981"/>
              <a:gd name="connsiteX4" fmla="*/ 765668 w 765668"/>
              <a:gd name="connsiteY4" fmla="*/ 1063855 h 1194981"/>
              <a:gd name="connsiteX5" fmla="*/ 689963 w 765668"/>
              <a:gd name="connsiteY5" fmla="*/ 1194981 h 1194981"/>
              <a:gd name="connsiteX6" fmla="*/ 636397 w 765668"/>
              <a:gd name="connsiteY6" fmla="*/ 1162439 h 1194981"/>
              <a:gd name="connsiteX7" fmla="*/ 5551 w 765668"/>
              <a:gd name="connsiteY7" fmla="*/ 109929 h 1194981"/>
              <a:gd name="connsiteX8" fmla="*/ 0 w 765668"/>
              <a:gd name="connsiteY8" fmla="*/ 0 h 11949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5668" h="1194981">
                <a:moveTo>
                  <a:pt x="0" y="0"/>
                </a:moveTo>
                <a:lnTo>
                  <a:pt x="151527" y="0"/>
                </a:lnTo>
                <a:lnTo>
                  <a:pt x="156296" y="94436"/>
                </a:lnTo>
                <a:cubicBezTo>
                  <a:pt x="196125" y="486629"/>
                  <a:pt x="410788" y="827136"/>
                  <a:pt x="721117" y="1036790"/>
                </a:cubicBezTo>
                <a:lnTo>
                  <a:pt x="765668" y="1063855"/>
                </a:lnTo>
                <a:lnTo>
                  <a:pt x="689963" y="1194981"/>
                </a:lnTo>
                <a:lnTo>
                  <a:pt x="636397" y="1162439"/>
                </a:lnTo>
                <a:cubicBezTo>
                  <a:pt x="289792" y="928277"/>
                  <a:pt x="50036" y="547967"/>
                  <a:pt x="5551" y="109929"/>
                </a:cubicBezTo>
                <a:lnTo>
                  <a:pt x="0" y="0"/>
                </a:lnTo>
                <a:close/>
              </a:path>
            </a:pathLst>
          </a:custGeom>
          <a:solidFill>
            <a:schemeClr val="accent1"/>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85039" tIns="42520" rIns="85039" bIns="42520" rtlCol="0" anchor="ctr">
            <a:noAutofit/>
          </a:bodyPr>
          <a:lstStyle/>
          <a:p>
            <a:pPr algn="l"/>
            <a:endParaRPr lang="zh-CN" altLang="en-US" sz="1488">
              <a:solidFill>
                <a:schemeClr val="bg1"/>
              </a:solidFill>
              <a:latin typeface="+mj-ea"/>
              <a:ea typeface="+mj-ea"/>
            </a:endParaRPr>
          </a:p>
        </p:txBody>
      </p:sp>
      <p:sp>
        <p:nvSpPr>
          <p:cNvPr id="15" name="任意多边形: 形状 14">
            <a:extLst>
              <a:ext uri="{FF2B5EF4-FFF2-40B4-BE49-F238E27FC236}">
                <a16:creationId xmlns:a16="http://schemas.microsoft.com/office/drawing/2014/main" id="{BDF8A84A-7F82-491C-81F5-2CAABACDAA65}"/>
              </a:ext>
            </a:extLst>
          </p:cNvPr>
          <p:cNvSpPr/>
          <p:nvPr/>
        </p:nvSpPr>
        <p:spPr>
          <a:xfrm rot="1800000">
            <a:off x="6182627" y="4045362"/>
            <a:ext cx="712071" cy="1111332"/>
          </a:xfrm>
          <a:custGeom>
            <a:avLst/>
            <a:gdLst>
              <a:gd name="connsiteX0" fmla="*/ 614141 w 765668"/>
              <a:gd name="connsiteY0" fmla="*/ 0 h 1194981"/>
              <a:gd name="connsiteX1" fmla="*/ 765668 w 765668"/>
              <a:gd name="connsiteY1" fmla="*/ 0 h 1194981"/>
              <a:gd name="connsiteX2" fmla="*/ 760117 w 765668"/>
              <a:gd name="connsiteY2" fmla="*/ 109929 h 1194981"/>
              <a:gd name="connsiteX3" fmla="*/ 129271 w 765668"/>
              <a:gd name="connsiteY3" fmla="*/ 1162439 h 1194981"/>
              <a:gd name="connsiteX4" fmla="*/ 75705 w 765668"/>
              <a:gd name="connsiteY4" fmla="*/ 1194981 h 1194981"/>
              <a:gd name="connsiteX5" fmla="*/ 0 w 765668"/>
              <a:gd name="connsiteY5" fmla="*/ 1063856 h 1194981"/>
              <a:gd name="connsiteX6" fmla="*/ 44551 w 765668"/>
              <a:gd name="connsiteY6" fmla="*/ 1036790 h 1194981"/>
              <a:gd name="connsiteX7" fmla="*/ 609372 w 765668"/>
              <a:gd name="connsiteY7" fmla="*/ 94436 h 1194981"/>
              <a:gd name="connsiteX8" fmla="*/ 614141 w 765668"/>
              <a:gd name="connsiteY8" fmla="*/ 0 h 11949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5668" h="1194981">
                <a:moveTo>
                  <a:pt x="614141" y="0"/>
                </a:moveTo>
                <a:lnTo>
                  <a:pt x="765668" y="0"/>
                </a:lnTo>
                <a:lnTo>
                  <a:pt x="760117" y="109929"/>
                </a:lnTo>
                <a:cubicBezTo>
                  <a:pt x="715632" y="547967"/>
                  <a:pt x="475877" y="928277"/>
                  <a:pt x="129271" y="1162439"/>
                </a:cubicBezTo>
                <a:lnTo>
                  <a:pt x="75705" y="1194981"/>
                </a:lnTo>
                <a:lnTo>
                  <a:pt x="0" y="1063856"/>
                </a:lnTo>
                <a:lnTo>
                  <a:pt x="44551" y="1036790"/>
                </a:lnTo>
                <a:cubicBezTo>
                  <a:pt x="354881" y="827136"/>
                  <a:pt x="569543" y="486629"/>
                  <a:pt x="609372" y="94436"/>
                </a:cubicBezTo>
                <a:lnTo>
                  <a:pt x="614141" y="0"/>
                </a:lnTo>
                <a:close/>
              </a:path>
            </a:pathLst>
          </a:custGeom>
          <a:solidFill>
            <a:schemeClr val="accent1"/>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85039" tIns="42520" rIns="85039" bIns="42520" rtlCol="0" anchor="ctr">
            <a:noAutofit/>
          </a:bodyPr>
          <a:lstStyle/>
          <a:p>
            <a:pPr algn="l"/>
            <a:endParaRPr lang="zh-CN" altLang="en-US" sz="1488">
              <a:solidFill>
                <a:schemeClr val="bg1"/>
              </a:solidFill>
              <a:latin typeface="+mj-ea"/>
              <a:ea typeface="+mj-ea"/>
            </a:endParaRPr>
          </a:p>
        </p:txBody>
      </p:sp>
      <p:sp>
        <p:nvSpPr>
          <p:cNvPr id="14" name="任意多边形: 形状 13">
            <a:extLst>
              <a:ext uri="{FF2B5EF4-FFF2-40B4-BE49-F238E27FC236}">
                <a16:creationId xmlns:a16="http://schemas.microsoft.com/office/drawing/2014/main" id="{8A26E006-58AC-4429-9078-88EFCAD57EEB}"/>
              </a:ext>
            </a:extLst>
          </p:cNvPr>
          <p:cNvSpPr/>
          <p:nvPr/>
        </p:nvSpPr>
        <p:spPr>
          <a:xfrm rot="1800000">
            <a:off x="4731853" y="4492742"/>
            <a:ext cx="1284837" cy="285090"/>
          </a:xfrm>
          <a:custGeom>
            <a:avLst/>
            <a:gdLst>
              <a:gd name="connsiteX0" fmla="*/ 1305680 w 1381545"/>
              <a:gd name="connsiteY0" fmla="*/ 0 h 306548"/>
              <a:gd name="connsiteX1" fmla="*/ 1381545 w 1381545"/>
              <a:gd name="connsiteY1" fmla="*/ 131402 h 306548"/>
              <a:gd name="connsiteX2" fmla="*/ 1380880 w 1381545"/>
              <a:gd name="connsiteY2" fmla="*/ 131806 h 306548"/>
              <a:gd name="connsiteX3" fmla="*/ 690772 w 1381545"/>
              <a:gd name="connsiteY3" fmla="*/ 306548 h 306548"/>
              <a:gd name="connsiteX4" fmla="*/ 664 w 1381545"/>
              <a:gd name="connsiteY4" fmla="*/ 131806 h 306548"/>
              <a:gd name="connsiteX5" fmla="*/ 0 w 1381545"/>
              <a:gd name="connsiteY5" fmla="*/ 131402 h 306548"/>
              <a:gd name="connsiteX6" fmla="*/ 75865 w 1381545"/>
              <a:gd name="connsiteY6" fmla="*/ 1 h 306548"/>
              <a:gd name="connsiteX7" fmla="*/ 186204 w 1381545"/>
              <a:gd name="connsiteY7" fmla="*/ 53153 h 306548"/>
              <a:gd name="connsiteX8" fmla="*/ 690772 w 1381545"/>
              <a:gd name="connsiteY8" fmla="*/ 155021 h 306548"/>
              <a:gd name="connsiteX9" fmla="*/ 1195340 w 1381545"/>
              <a:gd name="connsiteY9" fmla="*/ 53153 h 306548"/>
              <a:gd name="connsiteX10" fmla="*/ 1305680 w 1381545"/>
              <a:gd name="connsiteY10" fmla="*/ 0 h 306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81545" h="306548">
                <a:moveTo>
                  <a:pt x="1305680" y="0"/>
                </a:moveTo>
                <a:lnTo>
                  <a:pt x="1381545" y="131402"/>
                </a:lnTo>
                <a:lnTo>
                  <a:pt x="1380880" y="131806"/>
                </a:lnTo>
                <a:cubicBezTo>
                  <a:pt x="1175736" y="243247"/>
                  <a:pt x="940647" y="306548"/>
                  <a:pt x="690772" y="306548"/>
                </a:cubicBezTo>
                <a:cubicBezTo>
                  <a:pt x="440898" y="306548"/>
                  <a:pt x="205808" y="243247"/>
                  <a:pt x="664" y="131806"/>
                </a:cubicBezTo>
                <a:lnTo>
                  <a:pt x="0" y="131402"/>
                </a:lnTo>
                <a:lnTo>
                  <a:pt x="75865" y="1"/>
                </a:lnTo>
                <a:lnTo>
                  <a:pt x="186204" y="53153"/>
                </a:lnTo>
                <a:cubicBezTo>
                  <a:pt x="341288" y="118749"/>
                  <a:pt x="511794" y="155021"/>
                  <a:pt x="690772" y="155021"/>
                </a:cubicBezTo>
                <a:cubicBezTo>
                  <a:pt x="869750" y="155021"/>
                  <a:pt x="1040256" y="118749"/>
                  <a:pt x="1195340" y="53153"/>
                </a:cubicBezTo>
                <a:lnTo>
                  <a:pt x="1305680" y="0"/>
                </a:lnTo>
                <a:close/>
              </a:path>
            </a:pathLst>
          </a:custGeom>
          <a:solidFill>
            <a:schemeClr val="accent1"/>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85039" tIns="42520" rIns="85039" bIns="42520" rtlCol="0" anchor="ctr">
            <a:noAutofit/>
          </a:bodyPr>
          <a:lstStyle/>
          <a:p>
            <a:pPr algn="l"/>
            <a:endParaRPr lang="zh-CN" altLang="en-US" sz="1488">
              <a:solidFill>
                <a:schemeClr val="bg1"/>
              </a:solidFill>
              <a:latin typeface="+mj-ea"/>
              <a:ea typeface="+mj-ea"/>
            </a:endParaRPr>
          </a:p>
        </p:txBody>
      </p:sp>
      <p:sp>
        <p:nvSpPr>
          <p:cNvPr id="38" name="椭圆 37">
            <a:extLst>
              <a:ext uri="{FF2B5EF4-FFF2-40B4-BE49-F238E27FC236}">
                <a16:creationId xmlns:a16="http://schemas.microsoft.com/office/drawing/2014/main" id="{C81DC5DC-4206-4E53-BFFE-023758EBC50A}"/>
              </a:ext>
            </a:extLst>
          </p:cNvPr>
          <p:cNvSpPr/>
          <p:nvPr>
            <p:custDataLst>
              <p:tags r:id="rId3"/>
            </p:custDataLst>
          </p:nvPr>
        </p:nvSpPr>
        <p:spPr>
          <a:xfrm>
            <a:off x="6662040" y="2518903"/>
            <a:ext cx="65210" cy="65210"/>
          </a:xfrm>
          <a:prstGeom prst="ellipse">
            <a:avLst/>
          </a:prstGeom>
          <a:solidFill>
            <a:schemeClr val="bg1"/>
          </a:solidFill>
          <a:ln>
            <a:noFill/>
          </a:ln>
          <a:effectLst>
            <a:outerShdw blurRad="23622" sx="102000" sy="102000" algn="ctr" rotWithShape="0">
              <a:schemeClr val="accent1">
                <a:lumMod val="20000"/>
                <a:lumOff val="80000"/>
                <a:alpha val="89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85039" tIns="42520" rIns="85039" bIns="42520" rtlCol="0" anchor="ctr"/>
          <a:lstStyle/>
          <a:p>
            <a:pPr algn="l"/>
            <a:endParaRPr lang="zh-CN" altLang="en-US" sz="1488">
              <a:solidFill>
                <a:schemeClr val="bg1"/>
              </a:solidFill>
              <a:latin typeface="+mj-ea"/>
              <a:ea typeface="+mj-ea"/>
            </a:endParaRPr>
          </a:p>
        </p:txBody>
      </p:sp>
      <p:sp>
        <p:nvSpPr>
          <p:cNvPr id="39" name="任意多边形: 形状 38">
            <a:extLst>
              <a:ext uri="{FF2B5EF4-FFF2-40B4-BE49-F238E27FC236}">
                <a16:creationId xmlns:a16="http://schemas.microsoft.com/office/drawing/2014/main" id="{85E5C52A-6BAB-43FD-8419-3B963F928F87}"/>
              </a:ext>
            </a:extLst>
          </p:cNvPr>
          <p:cNvSpPr/>
          <p:nvPr/>
        </p:nvSpPr>
        <p:spPr>
          <a:xfrm>
            <a:off x="6715119" y="2028895"/>
            <a:ext cx="1162202" cy="496062"/>
          </a:xfrm>
          <a:custGeom>
            <a:avLst/>
            <a:gdLst>
              <a:gd name="connsiteX0" fmla="*/ 0 w 1249680"/>
              <a:gd name="connsiteY0" fmla="*/ 533400 h 533400"/>
              <a:gd name="connsiteX1" fmla="*/ 533400 w 1249680"/>
              <a:gd name="connsiteY1" fmla="*/ 0 h 533400"/>
              <a:gd name="connsiteX2" fmla="*/ 1249680 w 1249680"/>
              <a:gd name="connsiteY2" fmla="*/ 0 h 533400"/>
            </a:gdLst>
            <a:ahLst/>
            <a:cxnLst>
              <a:cxn ang="0">
                <a:pos x="connsiteX0" y="connsiteY0"/>
              </a:cxn>
              <a:cxn ang="0">
                <a:pos x="connsiteX1" y="connsiteY1"/>
              </a:cxn>
              <a:cxn ang="0">
                <a:pos x="connsiteX2" y="connsiteY2"/>
              </a:cxn>
            </a:cxnLst>
            <a:rect l="l" t="t" r="r" b="b"/>
            <a:pathLst>
              <a:path w="1249680" h="533400">
                <a:moveTo>
                  <a:pt x="0" y="533400"/>
                </a:moveTo>
                <a:lnTo>
                  <a:pt x="533400" y="0"/>
                </a:lnTo>
                <a:lnTo>
                  <a:pt x="1249680" y="0"/>
                </a:lnTo>
              </a:path>
            </a:pathLst>
          </a:custGeom>
          <a:noFill/>
          <a:ln w="11811">
            <a:solidFill>
              <a:schemeClr val="accent1"/>
            </a:solidFill>
            <a:prstDash val="lgDash"/>
          </a:ln>
          <a:effectLst/>
        </p:spPr>
        <p:style>
          <a:lnRef idx="2">
            <a:schemeClr val="accent1">
              <a:shade val="50000"/>
            </a:schemeClr>
          </a:lnRef>
          <a:fillRef idx="1">
            <a:schemeClr val="accent1"/>
          </a:fillRef>
          <a:effectRef idx="0">
            <a:schemeClr val="accent1"/>
          </a:effectRef>
          <a:fontRef idx="minor">
            <a:schemeClr val="lt1"/>
          </a:fontRef>
        </p:style>
        <p:txBody>
          <a:bodyPr lIns="85039" tIns="42520" rIns="85039" bIns="42520" rtlCol="0" anchor="ctr"/>
          <a:lstStyle/>
          <a:p>
            <a:pPr algn="ctr"/>
            <a:endParaRPr lang="zh-CN" altLang="en-US" sz="1674"/>
          </a:p>
        </p:txBody>
      </p:sp>
      <p:sp>
        <p:nvSpPr>
          <p:cNvPr id="41" name="任意多边形: 形状 40">
            <a:extLst>
              <a:ext uri="{FF2B5EF4-FFF2-40B4-BE49-F238E27FC236}">
                <a16:creationId xmlns:a16="http://schemas.microsoft.com/office/drawing/2014/main" id="{8C0C644E-1745-4A2D-98C3-DAD941F88E6F}"/>
              </a:ext>
            </a:extLst>
          </p:cNvPr>
          <p:cNvSpPr/>
          <p:nvPr/>
        </p:nvSpPr>
        <p:spPr>
          <a:xfrm>
            <a:off x="7949895" y="1584238"/>
            <a:ext cx="1026892" cy="889314"/>
          </a:xfrm>
          <a:custGeom>
            <a:avLst/>
            <a:gdLst>
              <a:gd name="connsiteX0" fmla="*/ 2540000 w 2540000"/>
              <a:gd name="connsiteY0" fmla="*/ 1099852 h 2199704"/>
              <a:gd name="connsiteX1" fmla="*/ 1905000 w 2540000"/>
              <a:gd name="connsiteY1" fmla="*/ 2199704 h 2199704"/>
              <a:gd name="connsiteX2" fmla="*/ 635000 w 2540000"/>
              <a:gd name="connsiteY2" fmla="*/ 2199704 h 2199704"/>
              <a:gd name="connsiteX3" fmla="*/ 0 w 2540000"/>
              <a:gd name="connsiteY3" fmla="*/ 1099852 h 2199704"/>
              <a:gd name="connsiteX4" fmla="*/ 635000 w 2540000"/>
              <a:gd name="connsiteY4" fmla="*/ 0 h 2199704"/>
              <a:gd name="connsiteX5" fmla="*/ 1905000 w 2540000"/>
              <a:gd name="connsiteY5" fmla="*/ 0 h 2199704"/>
              <a:gd name="connsiteX6" fmla="*/ 2540000 w 2540000"/>
              <a:gd name="connsiteY6" fmla="*/ 1099852 h 21997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40000" h="2199704">
                <a:moveTo>
                  <a:pt x="2540000" y="1099852"/>
                </a:moveTo>
                <a:lnTo>
                  <a:pt x="1905000" y="2199704"/>
                </a:lnTo>
                <a:lnTo>
                  <a:pt x="635000" y="2199704"/>
                </a:lnTo>
                <a:lnTo>
                  <a:pt x="0" y="1099852"/>
                </a:lnTo>
                <a:lnTo>
                  <a:pt x="635000" y="0"/>
                </a:lnTo>
                <a:lnTo>
                  <a:pt x="1905000" y="0"/>
                </a:lnTo>
                <a:lnTo>
                  <a:pt x="2540000" y="1099852"/>
                </a:lnTo>
                <a:close/>
              </a:path>
            </a:pathLst>
          </a:custGeom>
          <a:solidFill>
            <a:schemeClr val="accent1">
              <a:alpha val="1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85039" tIns="42520" rIns="85039" bIns="42520" rtlCol="0" anchor="ctr"/>
          <a:lstStyle/>
          <a:p>
            <a:pPr algn="l"/>
            <a:endParaRPr lang="zh-CN" altLang="en-US" sz="1488">
              <a:solidFill>
                <a:schemeClr val="bg1"/>
              </a:solidFill>
              <a:latin typeface="+mj-ea"/>
              <a:ea typeface="+mj-ea"/>
            </a:endParaRPr>
          </a:p>
        </p:txBody>
      </p:sp>
      <p:sp>
        <p:nvSpPr>
          <p:cNvPr id="42" name="任意多边形: 形状 41">
            <a:extLst>
              <a:ext uri="{FF2B5EF4-FFF2-40B4-BE49-F238E27FC236}">
                <a16:creationId xmlns:a16="http://schemas.microsoft.com/office/drawing/2014/main" id="{BAFC5BD7-FB80-4A20-AA62-491C8A7A1143}"/>
              </a:ext>
            </a:extLst>
          </p:cNvPr>
          <p:cNvSpPr/>
          <p:nvPr/>
        </p:nvSpPr>
        <p:spPr>
          <a:xfrm>
            <a:off x="7986688" y="1616101"/>
            <a:ext cx="953310" cy="825589"/>
          </a:xfrm>
          <a:custGeom>
            <a:avLst/>
            <a:gdLst>
              <a:gd name="connsiteX0" fmla="*/ 2540000 w 2540000"/>
              <a:gd name="connsiteY0" fmla="*/ 1099852 h 2199704"/>
              <a:gd name="connsiteX1" fmla="*/ 1905000 w 2540000"/>
              <a:gd name="connsiteY1" fmla="*/ 2199704 h 2199704"/>
              <a:gd name="connsiteX2" fmla="*/ 635000 w 2540000"/>
              <a:gd name="connsiteY2" fmla="*/ 2199704 h 2199704"/>
              <a:gd name="connsiteX3" fmla="*/ 0 w 2540000"/>
              <a:gd name="connsiteY3" fmla="*/ 1099852 h 2199704"/>
              <a:gd name="connsiteX4" fmla="*/ 635000 w 2540000"/>
              <a:gd name="connsiteY4" fmla="*/ 0 h 2199704"/>
              <a:gd name="connsiteX5" fmla="*/ 1905000 w 2540000"/>
              <a:gd name="connsiteY5" fmla="*/ 0 h 2199704"/>
              <a:gd name="connsiteX6" fmla="*/ 2540000 w 2540000"/>
              <a:gd name="connsiteY6" fmla="*/ 1099852 h 21997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40000" h="2199704">
                <a:moveTo>
                  <a:pt x="2540000" y="1099852"/>
                </a:moveTo>
                <a:lnTo>
                  <a:pt x="1905000" y="2199704"/>
                </a:lnTo>
                <a:lnTo>
                  <a:pt x="635000" y="2199704"/>
                </a:lnTo>
                <a:lnTo>
                  <a:pt x="0" y="1099852"/>
                </a:lnTo>
                <a:lnTo>
                  <a:pt x="635000" y="0"/>
                </a:lnTo>
                <a:lnTo>
                  <a:pt x="1905000" y="0"/>
                </a:lnTo>
                <a:lnTo>
                  <a:pt x="2540000" y="1099852"/>
                </a:lnTo>
                <a:close/>
              </a:path>
            </a:pathLst>
          </a:custGeom>
          <a:noFill/>
          <a:ln w="11811">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85039" tIns="42520" rIns="85039" bIns="42520" rtlCol="0" anchor="ctr"/>
          <a:lstStyle/>
          <a:p>
            <a:pPr algn="l"/>
            <a:endParaRPr lang="zh-CN" altLang="en-US" sz="1488">
              <a:solidFill>
                <a:schemeClr val="bg1"/>
              </a:solidFill>
              <a:latin typeface="+mj-ea"/>
              <a:ea typeface="+mj-ea"/>
            </a:endParaRPr>
          </a:p>
        </p:txBody>
      </p:sp>
      <p:sp>
        <p:nvSpPr>
          <p:cNvPr id="44" name="任意多边形: 形状 43">
            <a:extLst>
              <a:ext uri="{FF2B5EF4-FFF2-40B4-BE49-F238E27FC236}">
                <a16:creationId xmlns:a16="http://schemas.microsoft.com/office/drawing/2014/main" id="{5B30F0BA-E2C3-4C2C-BF74-D9035B170A2E}"/>
              </a:ext>
            </a:extLst>
          </p:cNvPr>
          <p:cNvSpPr/>
          <p:nvPr/>
        </p:nvSpPr>
        <p:spPr>
          <a:xfrm>
            <a:off x="8675141" y="1579811"/>
            <a:ext cx="80475" cy="46463"/>
          </a:xfrm>
          <a:custGeom>
            <a:avLst/>
            <a:gdLst>
              <a:gd name="connsiteX0" fmla="*/ 2540000 w 2540000"/>
              <a:gd name="connsiteY0" fmla="*/ 1099852 h 2199704"/>
              <a:gd name="connsiteX1" fmla="*/ 1905000 w 2540000"/>
              <a:gd name="connsiteY1" fmla="*/ 2199704 h 2199704"/>
              <a:gd name="connsiteX2" fmla="*/ 635000 w 2540000"/>
              <a:gd name="connsiteY2" fmla="*/ 2199704 h 2199704"/>
              <a:gd name="connsiteX3" fmla="*/ 0 w 2540000"/>
              <a:gd name="connsiteY3" fmla="*/ 1099852 h 2199704"/>
              <a:gd name="connsiteX4" fmla="*/ 635000 w 2540000"/>
              <a:gd name="connsiteY4" fmla="*/ 0 h 2199704"/>
              <a:gd name="connsiteX5" fmla="*/ 1905000 w 2540000"/>
              <a:gd name="connsiteY5" fmla="*/ 0 h 2199704"/>
              <a:gd name="connsiteX6" fmla="*/ 2540000 w 2540000"/>
              <a:gd name="connsiteY6" fmla="*/ 1099852 h 2199704"/>
              <a:gd name="connsiteX0" fmla="*/ 0 w 2540000"/>
              <a:gd name="connsiteY0" fmla="*/ 1099852 h 2199704"/>
              <a:gd name="connsiteX1" fmla="*/ 635000 w 2540000"/>
              <a:gd name="connsiteY1" fmla="*/ 0 h 2199704"/>
              <a:gd name="connsiteX2" fmla="*/ 1905000 w 2540000"/>
              <a:gd name="connsiteY2" fmla="*/ 0 h 2199704"/>
              <a:gd name="connsiteX3" fmla="*/ 2540000 w 2540000"/>
              <a:gd name="connsiteY3" fmla="*/ 1099852 h 2199704"/>
              <a:gd name="connsiteX4" fmla="*/ 1905000 w 2540000"/>
              <a:gd name="connsiteY4" fmla="*/ 2199704 h 2199704"/>
              <a:gd name="connsiteX5" fmla="*/ 635000 w 2540000"/>
              <a:gd name="connsiteY5" fmla="*/ 2199704 h 2199704"/>
              <a:gd name="connsiteX6" fmla="*/ 226579 w 2540000"/>
              <a:gd name="connsiteY6" fmla="*/ 1326431 h 2199704"/>
              <a:gd name="connsiteX0" fmla="*/ 408421 w 2313421"/>
              <a:gd name="connsiteY0" fmla="*/ 0 h 2199704"/>
              <a:gd name="connsiteX1" fmla="*/ 1678421 w 2313421"/>
              <a:gd name="connsiteY1" fmla="*/ 0 h 2199704"/>
              <a:gd name="connsiteX2" fmla="*/ 2313421 w 2313421"/>
              <a:gd name="connsiteY2" fmla="*/ 1099852 h 2199704"/>
              <a:gd name="connsiteX3" fmla="*/ 1678421 w 2313421"/>
              <a:gd name="connsiteY3" fmla="*/ 2199704 h 2199704"/>
              <a:gd name="connsiteX4" fmla="*/ 408421 w 2313421"/>
              <a:gd name="connsiteY4" fmla="*/ 2199704 h 2199704"/>
              <a:gd name="connsiteX5" fmla="*/ 0 w 2313421"/>
              <a:gd name="connsiteY5" fmla="*/ 1326431 h 2199704"/>
              <a:gd name="connsiteX0" fmla="*/ 0 w 1905000"/>
              <a:gd name="connsiteY0" fmla="*/ 0 h 2199704"/>
              <a:gd name="connsiteX1" fmla="*/ 1270000 w 1905000"/>
              <a:gd name="connsiteY1" fmla="*/ 0 h 2199704"/>
              <a:gd name="connsiteX2" fmla="*/ 1905000 w 1905000"/>
              <a:gd name="connsiteY2" fmla="*/ 1099852 h 2199704"/>
              <a:gd name="connsiteX3" fmla="*/ 1270000 w 1905000"/>
              <a:gd name="connsiteY3" fmla="*/ 2199704 h 2199704"/>
              <a:gd name="connsiteX4" fmla="*/ 0 w 1905000"/>
              <a:gd name="connsiteY4" fmla="*/ 2199704 h 2199704"/>
              <a:gd name="connsiteX0" fmla="*/ 0 w 1905000"/>
              <a:gd name="connsiteY0" fmla="*/ 0 h 2199704"/>
              <a:gd name="connsiteX1" fmla="*/ 1270000 w 1905000"/>
              <a:gd name="connsiteY1" fmla="*/ 0 h 2199704"/>
              <a:gd name="connsiteX2" fmla="*/ 1905000 w 1905000"/>
              <a:gd name="connsiteY2" fmla="*/ 1099852 h 2199704"/>
              <a:gd name="connsiteX3" fmla="*/ 1270000 w 1905000"/>
              <a:gd name="connsiteY3" fmla="*/ 2199704 h 2199704"/>
              <a:gd name="connsiteX0" fmla="*/ 0 w 1905000"/>
              <a:gd name="connsiteY0" fmla="*/ 0 h 1099852"/>
              <a:gd name="connsiteX1" fmla="*/ 1270000 w 1905000"/>
              <a:gd name="connsiteY1" fmla="*/ 0 h 1099852"/>
              <a:gd name="connsiteX2" fmla="*/ 1905000 w 1905000"/>
              <a:gd name="connsiteY2" fmla="*/ 1099852 h 1099852"/>
            </a:gdLst>
            <a:ahLst/>
            <a:cxnLst>
              <a:cxn ang="0">
                <a:pos x="connsiteX0" y="connsiteY0"/>
              </a:cxn>
              <a:cxn ang="0">
                <a:pos x="connsiteX1" y="connsiteY1"/>
              </a:cxn>
              <a:cxn ang="0">
                <a:pos x="connsiteX2" y="connsiteY2"/>
              </a:cxn>
            </a:cxnLst>
            <a:rect l="l" t="t" r="r" b="b"/>
            <a:pathLst>
              <a:path w="1905000" h="1099852">
                <a:moveTo>
                  <a:pt x="0" y="0"/>
                </a:moveTo>
                <a:lnTo>
                  <a:pt x="1270000" y="0"/>
                </a:lnTo>
                <a:lnTo>
                  <a:pt x="1905000" y="1099852"/>
                </a:lnTo>
              </a:path>
            </a:pathLst>
          </a:custGeom>
          <a:noFill/>
          <a:ln w="17716" cap="rnd">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85039" tIns="42520" rIns="85039" bIns="42520" rtlCol="0" anchor="ctr"/>
          <a:lstStyle/>
          <a:p>
            <a:pPr algn="l"/>
            <a:endParaRPr lang="zh-CN" altLang="en-US" sz="1488">
              <a:solidFill>
                <a:schemeClr val="bg1"/>
              </a:solidFill>
              <a:latin typeface="+mj-ea"/>
              <a:ea typeface="+mj-ea"/>
            </a:endParaRPr>
          </a:p>
        </p:txBody>
      </p:sp>
      <p:sp>
        <p:nvSpPr>
          <p:cNvPr id="45" name="任意多边形: 形状 44">
            <a:extLst>
              <a:ext uri="{FF2B5EF4-FFF2-40B4-BE49-F238E27FC236}">
                <a16:creationId xmlns:a16="http://schemas.microsoft.com/office/drawing/2014/main" id="{F4B50E95-F8D5-493F-BFD0-A512805C2821}"/>
              </a:ext>
            </a:extLst>
          </p:cNvPr>
          <p:cNvSpPr/>
          <p:nvPr/>
        </p:nvSpPr>
        <p:spPr>
          <a:xfrm flipH="1">
            <a:off x="8177413" y="1579811"/>
            <a:ext cx="80475" cy="46463"/>
          </a:xfrm>
          <a:custGeom>
            <a:avLst/>
            <a:gdLst>
              <a:gd name="connsiteX0" fmla="*/ 2540000 w 2540000"/>
              <a:gd name="connsiteY0" fmla="*/ 1099852 h 2199704"/>
              <a:gd name="connsiteX1" fmla="*/ 1905000 w 2540000"/>
              <a:gd name="connsiteY1" fmla="*/ 2199704 h 2199704"/>
              <a:gd name="connsiteX2" fmla="*/ 635000 w 2540000"/>
              <a:gd name="connsiteY2" fmla="*/ 2199704 h 2199704"/>
              <a:gd name="connsiteX3" fmla="*/ 0 w 2540000"/>
              <a:gd name="connsiteY3" fmla="*/ 1099852 h 2199704"/>
              <a:gd name="connsiteX4" fmla="*/ 635000 w 2540000"/>
              <a:gd name="connsiteY4" fmla="*/ 0 h 2199704"/>
              <a:gd name="connsiteX5" fmla="*/ 1905000 w 2540000"/>
              <a:gd name="connsiteY5" fmla="*/ 0 h 2199704"/>
              <a:gd name="connsiteX6" fmla="*/ 2540000 w 2540000"/>
              <a:gd name="connsiteY6" fmla="*/ 1099852 h 2199704"/>
              <a:gd name="connsiteX0" fmla="*/ 0 w 2540000"/>
              <a:gd name="connsiteY0" fmla="*/ 1099852 h 2199704"/>
              <a:gd name="connsiteX1" fmla="*/ 635000 w 2540000"/>
              <a:gd name="connsiteY1" fmla="*/ 0 h 2199704"/>
              <a:gd name="connsiteX2" fmla="*/ 1905000 w 2540000"/>
              <a:gd name="connsiteY2" fmla="*/ 0 h 2199704"/>
              <a:gd name="connsiteX3" fmla="*/ 2540000 w 2540000"/>
              <a:gd name="connsiteY3" fmla="*/ 1099852 h 2199704"/>
              <a:gd name="connsiteX4" fmla="*/ 1905000 w 2540000"/>
              <a:gd name="connsiteY4" fmla="*/ 2199704 h 2199704"/>
              <a:gd name="connsiteX5" fmla="*/ 635000 w 2540000"/>
              <a:gd name="connsiteY5" fmla="*/ 2199704 h 2199704"/>
              <a:gd name="connsiteX6" fmla="*/ 226579 w 2540000"/>
              <a:gd name="connsiteY6" fmla="*/ 1326431 h 2199704"/>
              <a:gd name="connsiteX0" fmla="*/ 408421 w 2313421"/>
              <a:gd name="connsiteY0" fmla="*/ 0 h 2199704"/>
              <a:gd name="connsiteX1" fmla="*/ 1678421 w 2313421"/>
              <a:gd name="connsiteY1" fmla="*/ 0 h 2199704"/>
              <a:gd name="connsiteX2" fmla="*/ 2313421 w 2313421"/>
              <a:gd name="connsiteY2" fmla="*/ 1099852 h 2199704"/>
              <a:gd name="connsiteX3" fmla="*/ 1678421 w 2313421"/>
              <a:gd name="connsiteY3" fmla="*/ 2199704 h 2199704"/>
              <a:gd name="connsiteX4" fmla="*/ 408421 w 2313421"/>
              <a:gd name="connsiteY4" fmla="*/ 2199704 h 2199704"/>
              <a:gd name="connsiteX5" fmla="*/ 0 w 2313421"/>
              <a:gd name="connsiteY5" fmla="*/ 1326431 h 2199704"/>
              <a:gd name="connsiteX0" fmla="*/ 0 w 1905000"/>
              <a:gd name="connsiteY0" fmla="*/ 0 h 2199704"/>
              <a:gd name="connsiteX1" fmla="*/ 1270000 w 1905000"/>
              <a:gd name="connsiteY1" fmla="*/ 0 h 2199704"/>
              <a:gd name="connsiteX2" fmla="*/ 1905000 w 1905000"/>
              <a:gd name="connsiteY2" fmla="*/ 1099852 h 2199704"/>
              <a:gd name="connsiteX3" fmla="*/ 1270000 w 1905000"/>
              <a:gd name="connsiteY3" fmla="*/ 2199704 h 2199704"/>
              <a:gd name="connsiteX4" fmla="*/ 0 w 1905000"/>
              <a:gd name="connsiteY4" fmla="*/ 2199704 h 2199704"/>
              <a:gd name="connsiteX0" fmla="*/ 0 w 1905000"/>
              <a:gd name="connsiteY0" fmla="*/ 0 h 2199704"/>
              <a:gd name="connsiteX1" fmla="*/ 1270000 w 1905000"/>
              <a:gd name="connsiteY1" fmla="*/ 0 h 2199704"/>
              <a:gd name="connsiteX2" fmla="*/ 1905000 w 1905000"/>
              <a:gd name="connsiteY2" fmla="*/ 1099852 h 2199704"/>
              <a:gd name="connsiteX3" fmla="*/ 1270000 w 1905000"/>
              <a:gd name="connsiteY3" fmla="*/ 2199704 h 2199704"/>
              <a:gd name="connsiteX0" fmla="*/ 0 w 1905000"/>
              <a:gd name="connsiteY0" fmla="*/ 0 h 1099852"/>
              <a:gd name="connsiteX1" fmla="*/ 1270000 w 1905000"/>
              <a:gd name="connsiteY1" fmla="*/ 0 h 1099852"/>
              <a:gd name="connsiteX2" fmla="*/ 1905000 w 1905000"/>
              <a:gd name="connsiteY2" fmla="*/ 1099852 h 1099852"/>
            </a:gdLst>
            <a:ahLst/>
            <a:cxnLst>
              <a:cxn ang="0">
                <a:pos x="connsiteX0" y="connsiteY0"/>
              </a:cxn>
              <a:cxn ang="0">
                <a:pos x="connsiteX1" y="connsiteY1"/>
              </a:cxn>
              <a:cxn ang="0">
                <a:pos x="connsiteX2" y="connsiteY2"/>
              </a:cxn>
            </a:cxnLst>
            <a:rect l="l" t="t" r="r" b="b"/>
            <a:pathLst>
              <a:path w="1905000" h="1099852">
                <a:moveTo>
                  <a:pt x="0" y="0"/>
                </a:moveTo>
                <a:lnTo>
                  <a:pt x="1270000" y="0"/>
                </a:lnTo>
                <a:lnTo>
                  <a:pt x="1905000" y="1099852"/>
                </a:lnTo>
              </a:path>
            </a:pathLst>
          </a:custGeom>
          <a:noFill/>
          <a:ln w="17716" cap="rnd">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85039" tIns="42520" rIns="85039" bIns="42520" rtlCol="0" anchor="ctr"/>
          <a:lstStyle/>
          <a:p>
            <a:pPr algn="l"/>
            <a:endParaRPr lang="zh-CN" altLang="en-US" sz="1488">
              <a:solidFill>
                <a:schemeClr val="bg1"/>
              </a:solidFill>
              <a:latin typeface="+mj-ea"/>
              <a:ea typeface="+mj-ea"/>
            </a:endParaRPr>
          </a:p>
        </p:txBody>
      </p:sp>
      <p:sp>
        <p:nvSpPr>
          <p:cNvPr id="46" name="任意多边形: 形状 45">
            <a:extLst>
              <a:ext uri="{FF2B5EF4-FFF2-40B4-BE49-F238E27FC236}">
                <a16:creationId xmlns:a16="http://schemas.microsoft.com/office/drawing/2014/main" id="{50DBDC96-480A-48B3-B561-EB584E08DCBF}"/>
              </a:ext>
            </a:extLst>
          </p:cNvPr>
          <p:cNvSpPr/>
          <p:nvPr/>
        </p:nvSpPr>
        <p:spPr>
          <a:xfrm rot="18000000" flipH="1">
            <a:off x="7933109" y="2006163"/>
            <a:ext cx="80475" cy="46463"/>
          </a:xfrm>
          <a:custGeom>
            <a:avLst/>
            <a:gdLst>
              <a:gd name="connsiteX0" fmla="*/ 2540000 w 2540000"/>
              <a:gd name="connsiteY0" fmla="*/ 1099852 h 2199704"/>
              <a:gd name="connsiteX1" fmla="*/ 1905000 w 2540000"/>
              <a:gd name="connsiteY1" fmla="*/ 2199704 h 2199704"/>
              <a:gd name="connsiteX2" fmla="*/ 635000 w 2540000"/>
              <a:gd name="connsiteY2" fmla="*/ 2199704 h 2199704"/>
              <a:gd name="connsiteX3" fmla="*/ 0 w 2540000"/>
              <a:gd name="connsiteY3" fmla="*/ 1099852 h 2199704"/>
              <a:gd name="connsiteX4" fmla="*/ 635000 w 2540000"/>
              <a:gd name="connsiteY4" fmla="*/ 0 h 2199704"/>
              <a:gd name="connsiteX5" fmla="*/ 1905000 w 2540000"/>
              <a:gd name="connsiteY5" fmla="*/ 0 h 2199704"/>
              <a:gd name="connsiteX6" fmla="*/ 2540000 w 2540000"/>
              <a:gd name="connsiteY6" fmla="*/ 1099852 h 2199704"/>
              <a:gd name="connsiteX0" fmla="*/ 0 w 2540000"/>
              <a:gd name="connsiteY0" fmla="*/ 1099852 h 2199704"/>
              <a:gd name="connsiteX1" fmla="*/ 635000 w 2540000"/>
              <a:gd name="connsiteY1" fmla="*/ 0 h 2199704"/>
              <a:gd name="connsiteX2" fmla="*/ 1905000 w 2540000"/>
              <a:gd name="connsiteY2" fmla="*/ 0 h 2199704"/>
              <a:gd name="connsiteX3" fmla="*/ 2540000 w 2540000"/>
              <a:gd name="connsiteY3" fmla="*/ 1099852 h 2199704"/>
              <a:gd name="connsiteX4" fmla="*/ 1905000 w 2540000"/>
              <a:gd name="connsiteY4" fmla="*/ 2199704 h 2199704"/>
              <a:gd name="connsiteX5" fmla="*/ 635000 w 2540000"/>
              <a:gd name="connsiteY5" fmla="*/ 2199704 h 2199704"/>
              <a:gd name="connsiteX6" fmla="*/ 226579 w 2540000"/>
              <a:gd name="connsiteY6" fmla="*/ 1326431 h 2199704"/>
              <a:gd name="connsiteX0" fmla="*/ 408421 w 2313421"/>
              <a:gd name="connsiteY0" fmla="*/ 0 h 2199704"/>
              <a:gd name="connsiteX1" fmla="*/ 1678421 w 2313421"/>
              <a:gd name="connsiteY1" fmla="*/ 0 h 2199704"/>
              <a:gd name="connsiteX2" fmla="*/ 2313421 w 2313421"/>
              <a:gd name="connsiteY2" fmla="*/ 1099852 h 2199704"/>
              <a:gd name="connsiteX3" fmla="*/ 1678421 w 2313421"/>
              <a:gd name="connsiteY3" fmla="*/ 2199704 h 2199704"/>
              <a:gd name="connsiteX4" fmla="*/ 408421 w 2313421"/>
              <a:gd name="connsiteY4" fmla="*/ 2199704 h 2199704"/>
              <a:gd name="connsiteX5" fmla="*/ 0 w 2313421"/>
              <a:gd name="connsiteY5" fmla="*/ 1326431 h 2199704"/>
              <a:gd name="connsiteX0" fmla="*/ 0 w 1905000"/>
              <a:gd name="connsiteY0" fmla="*/ 0 h 2199704"/>
              <a:gd name="connsiteX1" fmla="*/ 1270000 w 1905000"/>
              <a:gd name="connsiteY1" fmla="*/ 0 h 2199704"/>
              <a:gd name="connsiteX2" fmla="*/ 1905000 w 1905000"/>
              <a:gd name="connsiteY2" fmla="*/ 1099852 h 2199704"/>
              <a:gd name="connsiteX3" fmla="*/ 1270000 w 1905000"/>
              <a:gd name="connsiteY3" fmla="*/ 2199704 h 2199704"/>
              <a:gd name="connsiteX4" fmla="*/ 0 w 1905000"/>
              <a:gd name="connsiteY4" fmla="*/ 2199704 h 2199704"/>
              <a:gd name="connsiteX0" fmla="*/ 0 w 1905000"/>
              <a:gd name="connsiteY0" fmla="*/ 0 h 2199704"/>
              <a:gd name="connsiteX1" fmla="*/ 1270000 w 1905000"/>
              <a:gd name="connsiteY1" fmla="*/ 0 h 2199704"/>
              <a:gd name="connsiteX2" fmla="*/ 1905000 w 1905000"/>
              <a:gd name="connsiteY2" fmla="*/ 1099852 h 2199704"/>
              <a:gd name="connsiteX3" fmla="*/ 1270000 w 1905000"/>
              <a:gd name="connsiteY3" fmla="*/ 2199704 h 2199704"/>
              <a:gd name="connsiteX0" fmla="*/ 0 w 1905000"/>
              <a:gd name="connsiteY0" fmla="*/ 0 h 1099852"/>
              <a:gd name="connsiteX1" fmla="*/ 1270000 w 1905000"/>
              <a:gd name="connsiteY1" fmla="*/ 0 h 1099852"/>
              <a:gd name="connsiteX2" fmla="*/ 1905000 w 1905000"/>
              <a:gd name="connsiteY2" fmla="*/ 1099852 h 1099852"/>
            </a:gdLst>
            <a:ahLst/>
            <a:cxnLst>
              <a:cxn ang="0">
                <a:pos x="connsiteX0" y="connsiteY0"/>
              </a:cxn>
              <a:cxn ang="0">
                <a:pos x="connsiteX1" y="connsiteY1"/>
              </a:cxn>
              <a:cxn ang="0">
                <a:pos x="connsiteX2" y="connsiteY2"/>
              </a:cxn>
            </a:cxnLst>
            <a:rect l="l" t="t" r="r" b="b"/>
            <a:pathLst>
              <a:path w="1905000" h="1099852">
                <a:moveTo>
                  <a:pt x="0" y="0"/>
                </a:moveTo>
                <a:lnTo>
                  <a:pt x="1270000" y="0"/>
                </a:lnTo>
                <a:lnTo>
                  <a:pt x="1905000" y="1099852"/>
                </a:lnTo>
              </a:path>
            </a:pathLst>
          </a:custGeom>
          <a:noFill/>
          <a:ln w="17716" cap="rnd">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85039" tIns="42520" rIns="85039" bIns="42520" rtlCol="0" anchor="ctr"/>
          <a:lstStyle/>
          <a:p>
            <a:pPr algn="l"/>
            <a:endParaRPr lang="zh-CN" altLang="en-US" sz="1488">
              <a:solidFill>
                <a:schemeClr val="bg1"/>
              </a:solidFill>
              <a:latin typeface="+mj-ea"/>
              <a:ea typeface="+mj-ea"/>
            </a:endParaRPr>
          </a:p>
        </p:txBody>
      </p:sp>
      <p:sp>
        <p:nvSpPr>
          <p:cNvPr id="47" name="任意多边形: 形状 46">
            <a:extLst>
              <a:ext uri="{FF2B5EF4-FFF2-40B4-BE49-F238E27FC236}">
                <a16:creationId xmlns:a16="http://schemas.microsoft.com/office/drawing/2014/main" id="{53DDC841-E9FE-4EE2-AB21-12F80FFFAAE6}"/>
              </a:ext>
            </a:extLst>
          </p:cNvPr>
          <p:cNvSpPr/>
          <p:nvPr/>
        </p:nvSpPr>
        <p:spPr>
          <a:xfrm flipH="1" flipV="1">
            <a:off x="8177413" y="2432418"/>
            <a:ext cx="80475" cy="46463"/>
          </a:xfrm>
          <a:custGeom>
            <a:avLst/>
            <a:gdLst>
              <a:gd name="connsiteX0" fmla="*/ 2540000 w 2540000"/>
              <a:gd name="connsiteY0" fmla="*/ 1099852 h 2199704"/>
              <a:gd name="connsiteX1" fmla="*/ 1905000 w 2540000"/>
              <a:gd name="connsiteY1" fmla="*/ 2199704 h 2199704"/>
              <a:gd name="connsiteX2" fmla="*/ 635000 w 2540000"/>
              <a:gd name="connsiteY2" fmla="*/ 2199704 h 2199704"/>
              <a:gd name="connsiteX3" fmla="*/ 0 w 2540000"/>
              <a:gd name="connsiteY3" fmla="*/ 1099852 h 2199704"/>
              <a:gd name="connsiteX4" fmla="*/ 635000 w 2540000"/>
              <a:gd name="connsiteY4" fmla="*/ 0 h 2199704"/>
              <a:gd name="connsiteX5" fmla="*/ 1905000 w 2540000"/>
              <a:gd name="connsiteY5" fmla="*/ 0 h 2199704"/>
              <a:gd name="connsiteX6" fmla="*/ 2540000 w 2540000"/>
              <a:gd name="connsiteY6" fmla="*/ 1099852 h 2199704"/>
              <a:gd name="connsiteX0" fmla="*/ 0 w 2540000"/>
              <a:gd name="connsiteY0" fmla="*/ 1099852 h 2199704"/>
              <a:gd name="connsiteX1" fmla="*/ 635000 w 2540000"/>
              <a:gd name="connsiteY1" fmla="*/ 0 h 2199704"/>
              <a:gd name="connsiteX2" fmla="*/ 1905000 w 2540000"/>
              <a:gd name="connsiteY2" fmla="*/ 0 h 2199704"/>
              <a:gd name="connsiteX3" fmla="*/ 2540000 w 2540000"/>
              <a:gd name="connsiteY3" fmla="*/ 1099852 h 2199704"/>
              <a:gd name="connsiteX4" fmla="*/ 1905000 w 2540000"/>
              <a:gd name="connsiteY4" fmla="*/ 2199704 h 2199704"/>
              <a:gd name="connsiteX5" fmla="*/ 635000 w 2540000"/>
              <a:gd name="connsiteY5" fmla="*/ 2199704 h 2199704"/>
              <a:gd name="connsiteX6" fmla="*/ 226579 w 2540000"/>
              <a:gd name="connsiteY6" fmla="*/ 1326431 h 2199704"/>
              <a:gd name="connsiteX0" fmla="*/ 408421 w 2313421"/>
              <a:gd name="connsiteY0" fmla="*/ 0 h 2199704"/>
              <a:gd name="connsiteX1" fmla="*/ 1678421 w 2313421"/>
              <a:gd name="connsiteY1" fmla="*/ 0 h 2199704"/>
              <a:gd name="connsiteX2" fmla="*/ 2313421 w 2313421"/>
              <a:gd name="connsiteY2" fmla="*/ 1099852 h 2199704"/>
              <a:gd name="connsiteX3" fmla="*/ 1678421 w 2313421"/>
              <a:gd name="connsiteY3" fmla="*/ 2199704 h 2199704"/>
              <a:gd name="connsiteX4" fmla="*/ 408421 w 2313421"/>
              <a:gd name="connsiteY4" fmla="*/ 2199704 h 2199704"/>
              <a:gd name="connsiteX5" fmla="*/ 0 w 2313421"/>
              <a:gd name="connsiteY5" fmla="*/ 1326431 h 2199704"/>
              <a:gd name="connsiteX0" fmla="*/ 0 w 1905000"/>
              <a:gd name="connsiteY0" fmla="*/ 0 h 2199704"/>
              <a:gd name="connsiteX1" fmla="*/ 1270000 w 1905000"/>
              <a:gd name="connsiteY1" fmla="*/ 0 h 2199704"/>
              <a:gd name="connsiteX2" fmla="*/ 1905000 w 1905000"/>
              <a:gd name="connsiteY2" fmla="*/ 1099852 h 2199704"/>
              <a:gd name="connsiteX3" fmla="*/ 1270000 w 1905000"/>
              <a:gd name="connsiteY3" fmla="*/ 2199704 h 2199704"/>
              <a:gd name="connsiteX4" fmla="*/ 0 w 1905000"/>
              <a:gd name="connsiteY4" fmla="*/ 2199704 h 2199704"/>
              <a:gd name="connsiteX0" fmla="*/ 0 w 1905000"/>
              <a:gd name="connsiteY0" fmla="*/ 0 h 2199704"/>
              <a:gd name="connsiteX1" fmla="*/ 1270000 w 1905000"/>
              <a:gd name="connsiteY1" fmla="*/ 0 h 2199704"/>
              <a:gd name="connsiteX2" fmla="*/ 1905000 w 1905000"/>
              <a:gd name="connsiteY2" fmla="*/ 1099852 h 2199704"/>
              <a:gd name="connsiteX3" fmla="*/ 1270000 w 1905000"/>
              <a:gd name="connsiteY3" fmla="*/ 2199704 h 2199704"/>
              <a:gd name="connsiteX0" fmla="*/ 0 w 1905000"/>
              <a:gd name="connsiteY0" fmla="*/ 0 h 1099852"/>
              <a:gd name="connsiteX1" fmla="*/ 1270000 w 1905000"/>
              <a:gd name="connsiteY1" fmla="*/ 0 h 1099852"/>
              <a:gd name="connsiteX2" fmla="*/ 1905000 w 1905000"/>
              <a:gd name="connsiteY2" fmla="*/ 1099852 h 1099852"/>
            </a:gdLst>
            <a:ahLst/>
            <a:cxnLst>
              <a:cxn ang="0">
                <a:pos x="connsiteX0" y="connsiteY0"/>
              </a:cxn>
              <a:cxn ang="0">
                <a:pos x="connsiteX1" y="connsiteY1"/>
              </a:cxn>
              <a:cxn ang="0">
                <a:pos x="connsiteX2" y="connsiteY2"/>
              </a:cxn>
            </a:cxnLst>
            <a:rect l="l" t="t" r="r" b="b"/>
            <a:pathLst>
              <a:path w="1905000" h="1099852">
                <a:moveTo>
                  <a:pt x="0" y="0"/>
                </a:moveTo>
                <a:lnTo>
                  <a:pt x="1270000" y="0"/>
                </a:lnTo>
                <a:lnTo>
                  <a:pt x="1905000" y="1099852"/>
                </a:lnTo>
              </a:path>
            </a:pathLst>
          </a:custGeom>
          <a:noFill/>
          <a:ln w="17716" cap="rnd">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85039" tIns="42520" rIns="85039" bIns="42520" rtlCol="0" anchor="ctr"/>
          <a:lstStyle/>
          <a:p>
            <a:pPr algn="l"/>
            <a:endParaRPr lang="zh-CN" altLang="en-US" sz="1488">
              <a:solidFill>
                <a:schemeClr val="bg1"/>
              </a:solidFill>
              <a:latin typeface="+mj-ea"/>
              <a:ea typeface="+mj-ea"/>
            </a:endParaRPr>
          </a:p>
        </p:txBody>
      </p:sp>
      <p:sp>
        <p:nvSpPr>
          <p:cNvPr id="48" name="任意多边形: 形状 47">
            <a:extLst>
              <a:ext uri="{FF2B5EF4-FFF2-40B4-BE49-F238E27FC236}">
                <a16:creationId xmlns:a16="http://schemas.microsoft.com/office/drawing/2014/main" id="{37DA10CE-EA61-4DD5-AB5A-CE1DEBA05F49}"/>
              </a:ext>
            </a:extLst>
          </p:cNvPr>
          <p:cNvSpPr/>
          <p:nvPr/>
        </p:nvSpPr>
        <p:spPr>
          <a:xfrm flipV="1">
            <a:off x="8673475" y="2432418"/>
            <a:ext cx="80475" cy="46463"/>
          </a:xfrm>
          <a:custGeom>
            <a:avLst/>
            <a:gdLst>
              <a:gd name="connsiteX0" fmla="*/ 2540000 w 2540000"/>
              <a:gd name="connsiteY0" fmla="*/ 1099852 h 2199704"/>
              <a:gd name="connsiteX1" fmla="*/ 1905000 w 2540000"/>
              <a:gd name="connsiteY1" fmla="*/ 2199704 h 2199704"/>
              <a:gd name="connsiteX2" fmla="*/ 635000 w 2540000"/>
              <a:gd name="connsiteY2" fmla="*/ 2199704 h 2199704"/>
              <a:gd name="connsiteX3" fmla="*/ 0 w 2540000"/>
              <a:gd name="connsiteY3" fmla="*/ 1099852 h 2199704"/>
              <a:gd name="connsiteX4" fmla="*/ 635000 w 2540000"/>
              <a:gd name="connsiteY4" fmla="*/ 0 h 2199704"/>
              <a:gd name="connsiteX5" fmla="*/ 1905000 w 2540000"/>
              <a:gd name="connsiteY5" fmla="*/ 0 h 2199704"/>
              <a:gd name="connsiteX6" fmla="*/ 2540000 w 2540000"/>
              <a:gd name="connsiteY6" fmla="*/ 1099852 h 2199704"/>
              <a:gd name="connsiteX0" fmla="*/ 0 w 2540000"/>
              <a:gd name="connsiteY0" fmla="*/ 1099852 h 2199704"/>
              <a:gd name="connsiteX1" fmla="*/ 635000 w 2540000"/>
              <a:gd name="connsiteY1" fmla="*/ 0 h 2199704"/>
              <a:gd name="connsiteX2" fmla="*/ 1905000 w 2540000"/>
              <a:gd name="connsiteY2" fmla="*/ 0 h 2199704"/>
              <a:gd name="connsiteX3" fmla="*/ 2540000 w 2540000"/>
              <a:gd name="connsiteY3" fmla="*/ 1099852 h 2199704"/>
              <a:gd name="connsiteX4" fmla="*/ 1905000 w 2540000"/>
              <a:gd name="connsiteY4" fmla="*/ 2199704 h 2199704"/>
              <a:gd name="connsiteX5" fmla="*/ 635000 w 2540000"/>
              <a:gd name="connsiteY5" fmla="*/ 2199704 h 2199704"/>
              <a:gd name="connsiteX6" fmla="*/ 226579 w 2540000"/>
              <a:gd name="connsiteY6" fmla="*/ 1326431 h 2199704"/>
              <a:gd name="connsiteX0" fmla="*/ 408421 w 2313421"/>
              <a:gd name="connsiteY0" fmla="*/ 0 h 2199704"/>
              <a:gd name="connsiteX1" fmla="*/ 1678421 w 2313421"/>
              <a:gd name="connsiteY1" fmla="*/ 0 h 2199704"/>
              <a:gd name="connsiteX2" fmla="*/ 2313421 w 2313421"/>
              <a:gd name="connsiteY2" fmla="*/ 1099852 h 2199704"/>
              <a:gd name="connsiteX3" fmla="*/ 1678421 w 2313421"/>
              <a:gd name="connsiteY3" fmla="*/ 2199704 h 2199704"/>
              <a:gd name="connsiteX4" fmla="*/ 408421 w 2313421"/>
              <a:gd name="connsiteY4" fmla="*/ 2199704 h 2199704"/>
              <a:gd name="connsiteX5" fmla="*/ 0 w 2313421"/>
              <a:gd name="connsiteY5" fmla="*/ 1326431 h 2199704"/>
              <a:gd name="connsiteX0" fmla="*/ 0 w 1905000"/>
              <a:gd name="connsiteY0" fmla="*/ 0 h 2199704"/>
              <a:gd name="connsiteX1" fmla="*/ 1270000 w 1905000"/>
              <a:gd name="connsiteY1" fmla="*/ 0 h 2199704"/>
              <a:gd name="connsiteX2" fmla="*/ 1905000 w 1905000"/>
              <a:gd name="connsiteY2" fmla="*/ 1099852 h 2199704"/>
              <a:gd name="connsiteX3" fmla="*/ 1270000 w 1905000"/>
              <a:gd name="connsiteY3" fmla="*/ 2199704 h 2199704"/>
              <a:gd name="connsiteX4" fmla="*/ 0 w 1905000"/>
              <a:gd name="connsiteY4" fmla="*/ 2199704 h 2199704"/>
              <a:gd name="connsiteX0" fmla="*/ 0 w 1905000"/>
              <a:gd name="connsiteY0" fmla="*/ 0 h 2199704"/>
              <a:gd name="connsiteX1" fmla="*/ 1270000 w 1905000"/>
              <a:gd name="connsiteY1" fmla="*/ 0 h 2199704"/>
              <a:gd name="connsiteX2" fmla="*/ 1905000 w 1905000"/>
              <a:gd name="connsiteY2" fmla="*/ 1099852 h 2199704"/>
              <a:gd name="connsiteX3" fmla="*/ 1270000 w 1905000"/>
              <a:gd name="connsiteY3" fmla="*/ 2199704 h 2199704"/>
              <a:gd name="connsiteX0" fmla="*/ 0 w 1905000"/>
              <a:gd name="connsiteY0" fmla="*/ 0 h 1099852"/>
              <a:gd name="connsiteX1" fmla="*/ 1270000 w 1905000"/>
              <a:gd name="connsiteY1" fmla="*/ 0 h 1099852"/>
              <a:gd name="connsiteX2" fmla="*/ 1905000 w 1905000"/>
              <a:gd name="connsiteY2" fmla="*/ 1099852 h 1099852"/>
            </a:gdLst>
            <a:ahLst/>
            <a:cxnLst>
              <a:cxn ang="0">
                <a:pos x="connsiteX0" y="connsiteY0"/>
              </a:cxn>
              <a:cxn ang="0">
                <a:pos x="connsiteX1" y="connsiteY1"/>
              </a:cxn>
              <a:cxn ang="0">
                <a:pos x="connsiteX2" y="connsiteY2"/>
              </a:cxn>
            </a:cxnLst>
            <a:rect l="l" t="t" r="r" b="b"/>
            <a:pathLst>
              <a:path w="1905000" h="1099852">
                <a:moveTo>
                  <a:pt x="0" y="0"/>
                </a:moveTo>
                <a:lnTo>
                  <a:pt x="1270000" y="0"/>
                </a:lnTo>
                <a:lnTo>
                  <a:pt x="1905000" y="1099852"/>
                </a:lnTo>
              </a:path>
            </a:pathLst>
          </a:custGeom>
          <a:noFill/>
          <a:ln w="17716" cap="rnd">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85039" tIns="42520" rIns="85039" bIns="42520" rtlCol="0" anchor="ctr"/>
          <a:lstStyle/>
          <a:p>
            <a:pPr algn="l"/>
            <a:endParaRPr lang="zh-CN" altLang="en-US" sz="1488">
              <a:solidFill>
                <a:schemeClr val="bg1"/>
              </a:solidFill>
              <a:latin typeface="+mj-ea"/>
              <a:ea typeface="+mj-ea"/>
            </a:endParaRPr>
          </a:p>
        </p:txBody>
      </p:sp>
      <p:sp>
        <p:nvSpPr>
          <p:cNvPr id="49" name="任意多边形: 形状 48">
            <a:extLst>
              <a:ext uri="{FF2B5EF4-FFF2-40B4-BE49-F238E27FC236}">
                <a16:creationId xmlns:a16="http://schemas.microsoft.com/office/drawing/2014/main" id="{00B27AFC-D4A4-4556-8E6B-6CF557CAA725}"/>
              </a:ext>
            </a:extLst>
          </p:cNvPr>
          <p:cNvSpPr/>
          <p:nvPr/>
        </p:nvSpPr>
        <p:spPr>
          <a:xfrm rot="3600000">
            <a:off x="8921237" y="2005416"/>
            <a:ext cx="80475" cy="46463"/>
          </a:xfrm>
          <a:custGeom>
            <a:avLst/>
            <a:gdLst>
              <a:gd name="connsiteX0" fmla="*/ 2540000 w 2540000"/>
              <a:gd name="connsiteY0" fmla="*/ 1099852 h 2199704"/>
              <a:gd name="connsiteX1" fmla="*/ 1905000 w 2540000"/>
              <a:gd name="connsiteY1" fmla="*/ 2199704 h 2199704"/>
              <a:gd name="connsiteX2" fmla="*/ 635000 w 2540000"/>
              <a:gd name="connsiteY2" fmla="*/ 2199704 h 2199704"/>
              <a:gd name="connsiteX3" fmla="*/ 0 w 2540000"/>
              <a:gd name="connsiteY3" fmla="*/ 1099852 h 2199704"/>
              <a:gd name="connsiteX4" fmla="*/ 635000 w 2540000"/>
              <a:gd name="connsiteY4" fmla="*/ 0 h 2199704"/>
              <a:gd name="connsiteX5" fmla="*/ 1905000 w 2540000"/>
              <a:gd name="connsiteY5" fmla="*/ 0 h 2199704"/>
              <a:gd name="connsiteX6" fmla="*/ 2540000 w 2540000"/>
              <a:gd name="connsiteY6" fmla="*/ 1099852 h 2199704"/>
              <a:gd name="connsiteX0" fmla="*/ 0 w 2540000"/>
              <a:gd name="connsiteY0" fmla="*/ 1099852 h 2199704"/>
              <a:gd name="connsiteX1" fmla="*/ 635000 w 2540000"/>
              <a:gd name="connsiteY1" fmla="*/ 0 h 2199704"/>
              <a:gd name="connsiteX2" fmla="*/ 1905000 w 2540000"/>
              <a:gd name="connsiteY2" fmla="*/ 0 h 2199704"/>
              <a:gd name="connsiteX3" fmla="*/ 2540000 w 2540000"/>
              <a:gd name="connsiteY3" fmla="*/ 1099852 h 2199704"/>
              <a:gd name="connsiteX4" fmla="*/ 1905000 w 2540000"/>
              <a:gd name="connsiteY4" fmla="*/ 2199704 h 2199704"/>
              <a:gd name="connsiteX5" fmla="*/ 635000 w 2540000"/>
              <a:gd name="connsiteY5" fmla="*/ 2199704 h 2199704"/>
              <a:gd name="connsiteX6" fmla="*/ 226579 w 2540000"/>
              <a:gd name="connsiteY6" fmla="*/ 1326431 h 2199704"/>
              <a:gd name="connsiteX0" fmla="*/ 408421 w 2313421"/>
              <a:gd name="connsiteY0" fmla="*/ 0 h 2199704"/>
              <a:gd name="connsiteX1" fmla="*/ 1678421 w 2313421"/>
              <a:gd name="connsiteY1" fmla="*/ 0 h 2199704"/>
              <a:gd name="connsiteX2" fmla="*/ 2313421 w 2313421"/>
              <a:gd name="connsiteY2" fmla="*/ 1099852 h 2199704"/>
              <a:gd name="connsiteX3" fmla="*/ 1678421 w 2313421"/>
              <a:gd name="connsiteY3" fmla="*/ 2199704 h 2199704"/>
              <a:gd name="connsiteX4" fmla="*/ 408421 w 2313421"/>
              <a:gd name="connsiteY4" fmla="*/ 2199704 h 2199704"/>
              <a:gd name="connsiteX5" fmla="*/ 0 w 2313421"/>
              <a:gd name="connsiteY5" fmla="*/ 1326431 h 2199704"/>
              <a:gd name="connsiteX0" fmla="*/ 0 w 1905000"/>
              <a:gd name="connsiteY0" fmla="*/ 0 h 2199704"/>
              <a:gd name="connsiteX1" fmla="*/ 1270000 w 1905000"/>
              <a:gd name="connsiteY1" fmla="*/ 0 h 2199704"/>
              <a:gd name="connsiteX2" fmla="*/ 1905000 w 1905000"/>
              <a:gd name="connsiteY2" fmla="*/ 1099852 h 2199704"/>
              <a:gd name="connsiteX3" fmla="*/ 1270000 w 1905000"/>
              <a:gd name="connsiteY3" fmla="*/ 2199704 h 2199704"/>
              <a:gd name="connsiteX4" fmla="*/ 0 w 1905000"/>
              <a:gd name="connsiteY4" fmla="*/ 2199704 h 2199704"/>
              <a:gd name="connsiteX0" fmla="*/ 0 w 1905000"/>
              <a:gd name="connsiteY0" fmla="*/ 0 h 2199704"/>
              <a:gd name="connsiteX1" fmla="*/ 1270000 w 1905000"/>
              <a:gd name="connsiteY1" fmla="*/ 0 h 2199704"/>
              <a:gd name="connsiteX2" fmla="*/ 1905000 w 1905000"/>
              <a:gd name="connsiteY2" fmla="*/ 1099852 h 2199704"/>
              <a:gd name="connsiteX3" fmla="*/ 1270000 w 1905000"/>
              <a:gd name="connsiteY3" fmla="*/ 2199704 h 2199704"/>
              <a:gd name="connsiteX0" fmla="*/ 0 w 1905000"/>
              <a:gd name="connsiteY0" fmla="*/ 0 h 1099852"/>
              <a:gd name="connsiteX1" fmla="*/ 1270000 w 1905000"/>
              <a:gd name="connsiteY1" fmla="*/ 0 h 1099852"/>
              <a:gd name="connsiteX2" fmla="*/ 1905000 w 1905000"/>
              <a:gd name="connsiteY2" fmla="*/ 1099852 h 1099852"/>
            </a:gdLst>
            <a:ahLst/>
            <a:cxnLst>
              <a:cxn ang="0">
                <a:pos x="connsiteX0" y="connsiteY0"/>
              </a:cxn>
              <a:cxn ang="0">
                <a:pos x="connsiteX1" y="connsiteY1"/>
              </a:cxn>
              <a:cxn ang="0">
                <a:pos x="connsiteX2" y="connsiteY2"/>
              </a:cxn>
            </a:cxnLst>
            <a:rect l="l" t="t" r="r" b="b"/>
            <a:pathLst>
              <a:path w="1905000" h="1099852">
                <a:moveTo>
                  <a:pt x="0" y="0"/>
                </a:moveTo>
                <a:lnTo>
                  <a:pt x="1270000" y="0"/>
                </a:lnTo>
                <a:lnTo>
                  <a:pt x="1905000" y="1099852"/>
                </a:lnTo>
              </a:path>
            </a:pathLst>
          </a:custGeom>
          <a:noFill/>
          <a:ln w="17716" cap="rnd">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85039" tIns="42520" rIns="85039" bIns="42520" rtlCol="0" anchor="ctr"/>
          <a:lstStyle/>
          <a:p>
            <a:pPr algn="l"/>
            <a:endParaRPr lang="zh-CN" altLang="en-US" sz="1488">
              <a:solidFill>
                <a:schemeClr val="bg1"/>
              </a:solidFill>
              <a:latin typeface="+mj-ea"/>
              <a:ea typeface="+mj-ea"/>
            </a:endParaRPr>
          </a:p>
        </p:txBody>
      </p:sp>
      <p:sp>
        <p:nvSpPr>
          <p:cNvPr id="50" name="文本框 49">
            <a:extLst>
              <a:ext uri="{FF2B5EF4-FFF2-40B4-BE49-F238E27FC236}">
                <a16:creationId xmlns:a16="http://schemas.microsoft.com/office/drawing/2014/main" id="{6242AFB2-4C11-4AED-AD12-FB9B5E1BD708}"/>
              </a:ext>
            </a:extLst>
          </p:cNvPr>
          <p:cNvSpPr txBox="1"/>
          <p:nvPr/>
        </p:nvSpPr>
        <p:spPr>
          <a:xfrm>
            <a:off x="9168426" y="1673595"/>
            <a:ext cx="1192633" cy="286233"/>
          </a:xfrm>
          <a:prstGeom prst="rect">
            <a:avLst/>
          </a:prstGeom>
          <a:noFill/>
          <a:effectLst/>
        </p:spPr>
        <p:txBody>
          <a:bodyPr wrap="none" lIns="0" tIns="0" rIns="0" bIns="0" rtlCol="0" anchor="t">
            <a:spAutoFit/>
          </a:bodyPr>
          <a:lstStyle/>
          <a:p>
            <a:r>
              <a:rPr lang="zh-CN" altLang="en-US" sz="1860" dirty="0">
                <a:solidFill>
                  <a:schemeClr val="accent1"/>
                </a:solidFill>
                <a:latin typeface="+mj-ea"/>
                <a:ea typeface="+mj-ea"/>
              </a:rPr>
              <a:t>关键词标题</a:t>
            </a:r>
          </a:p>
        </p:txBody>
      </p:sp>
      <p:sp>
        <p:nvSpPr>
          <p:cNvPr id="51" name="文本框 50">
            <a:extLst>
              <a:ext uri="{FF2B5EF4-FFF2-40B4-BE49-F238E27FC236}">
                <a16:creationId xmlns:a16="http://schemas.microsoft.com/office/drawing/2014/main" id="{E4E21470-7427-4933-B6D8-514E55F17EC6}"/>
              </a:ext>
            </a:extLst>
          </p:cNvPr>
          <p:cNvSpPr txBox="1"/>
          <p:nvPr/>
        </p:nvSpPr>
        <p:spPr>
          <a:xfrm>
            <a:off x="9153934" y="1959826"/>
            <a:ext cx="2406784" cy="432271"/>
          </a:xfrm>
          <a:prstGeom prst="rect">
            <a:avLst/>
          </a:prstGeom>
          <a:noFill/>
          <a:effectLst/>
        </p:spPr>
        <p:txBody>
          <a:bodyPr wrap="square" lIns="0" tIns="0" rIns="0" bIns="0" rtlCol="0" anchor="t">
            <a:spAutoFit/>
          </a:bodyPr>
          <a:lstStyle/>
          <a:p>
            <a:pPr>
              <a:lnSpc>
                <a:spcPct val="130000"/>
              </a:lnSpc>
            </a:pPr>
            <a:r>
              <a:rPr lang="en-US" altLang="zh-CN" sz="1116" b="0" dirty="0">
                <a:solidFill>
                  <a:schemeClr val="tx1">
                    <a:lumMod val="75000"/>
                    <a:lumOff val="25000"/>
                  </a:schemeClr>
                </a:solidFill>
                <a:effectLst/>
                <a:latin typeface="+mn-ea"/>
              </a:rPr>
              <a:t>Lorem ipsum dolor onsectetur adipisicing elit</a:t>
            </a:r>
            <a:r>
              <a:rPr lang="en-US" altLang="zh-CN" sz="1116" dirty="0">
                <a:solidFill>
                  <a:schemeClr val="tx1">
                    <a:lumMod val="75000"/>
                    <a:lumOff val="25000"/>
                  </a:schemeClr>
                </a:solidFill>
                <a:latin typeface="+mn-ea"/>
              </a:rPr>
              <a:t> </a:t>
            </a:r>
            <a:r>
              <a:rPr lang="en-US" altLang="zh-CN" sz="1116" b="0" dirty="0">
                <a:solidFill>
                  <a:schemeClr val="tx1">
                    <a:lumMod val="75000"/>
                    <a:lumOff val="25000"/>
                  </a:schemeClr>
                </a:solidFill>
                <a:effectLst/>
                <a:latin typeface="+mn-ea"/>
              </a:rPr>
              <a:t>sed do eiusmod</a:t>
            </a:r>
            <a:endParaRPr lang="zh-CN" altLang="en-US" sz="1116" b="0" dirty="0">
              <a:solidFill>
                <a:schemeClr val="tx1">
                  <a:lumMod val="75000"/>
                  <a:lumOff val="25000"/>
                </a:schemeClr>
              </a:solidFill>
              <a:effectLst/>
              <a:latin typeface="+mn-ea"/>
            </a:endParaRPr>
          </a:p>
        </p:txBody>
      </p:sp>
      <p:sp>
        <p:nvSpPr>
          <p:cNvPr id="52" name="椭圆 51">
            <a:extLst>
              <a:ext uri="{FF2B5EF4-FFF2-40B4-BE49-F238E27FC236}">
                <a16:creationId xmlns:a16="http://schemas.microsoft.com/office/drawing/2014/main" id="{C96ED77E-2E68-49AF-B2CF-8796990A183E}"/>
              </a:ext>
            </a:extLst>
          </p:cNvPr>
          <p:cNvSpPr/>
          <p:nvPr>
            <p:custDataLst>
              <p:tags r:id="rId4"/>
            </p:custDataLst>
          </p:nvPr>
        </p:nvSpPr>
        <p:spPr>
          <a:xfrm>
            <a:off x="7216894" y="3580907"/>
            <a:ext cx="65210" cy="65210"/>
          </a:xfrm>
          <a:prstGeom prst="ellipse">
            <a:avLst/>
          </a:prstGeom>
          <a:solidFill>
            <a:schemeClr val="bg1"/>
          </a:solidFill>
          <a:ln>
            <a:noFill/>
          </a:ln>
          <a:effectLst>
            <a:outerShdw blurRad="23622" sx="102000" sy="102000" algn="ctr" rotWithShape="0">
              <a:schemeClr val="accent1">
                <a:lumMod val="20000"/>
                <a:lumOff val="80000"/>
                <a:alpha val="89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85039" tIns="42520" rIns="85039" bIns="42520" rtlCol="0" anchor="ctr"/>
          <a:lstStyle/>
          <a:p>
            <a:pPr algn="l"/>
            <a:endParaRPr lang="zh-CN" altLang="en-US" sz="1488">
              <a:solidFill>
                <a:schemeClr val="bg1"/>
              </a:solidFill>
              <a:latin typeface="+mj-ea"/>
              <a:ea typeface="+mj-ea"/>
            </a:endParaRPr>
          </a:p>
        </p:txBody>
      </p:sp>
      <p:sp>
        <p:nvSpPr>
          <p:cNvPr id="55" name="任意多边形: 形状 54">
            <a:extLst>
              <a:ext uri="{FF2B5EF4-FFF2-40B4-BE49-F238E27FC236}">
                <a16:creationId xmlns:a16="http://schemas.microsoft.com/office/drawing/2014/main" id="{1AD30B11-EC9F-44A5-8D24-B270B5D10C57}"/>
              </a:ext>
            </a:extLst>
          </p:cNvPr>
          <p:cNvSpPr/>
          <p:nvPr/>
        </p:nvSpPr>
        <p:spPr>
          <a:xfrm>
            <a:off x="8325367" y="3168406"/>
            <a:ext cx="1026892" cy="889314"/>
          </a:xfrm>
          <a:custGeom>
            <a:avLst/>
            <a:gdLst>
              <a:gd name="connsiteX0" fmla="*/ 2540000 w 2540000"/>
              <a:gd name="connsiteY0" fmla="*/ 1099852 h 2199704"/>
              <a:gd name="connsiteX1" fmla="*/ 1905000 w 2540000"/>
              <a:gd name="connsiteY1" fmla="*/ 2199704 h 2199704"/>
              <a:gd name="connsiteX2" fmla="*/ 635000 w 2540000"/>
              <a:gd name="connsiteY2" fmla="*/ 2199704 h 2199704"/>
              <a:gd name="connsiteX3" fmla="*/ 0 w 2540000"/>
              <a:gd name="connsiteY3" fmla="*/ 1099852 h 2199704"/>
              <a:gd name="connsiteX4" fmla="*/ 635000 w 2540000"/>
              <a:gd name="connsiteY4" fmla="*/ 0 h 2199704"/>
              <a:gd name="connsiteX5" fmla="*/ 1905000 w 2540000"/>
              <a:gd name="connsiteY5" fmla="*/ 0 h 2199704"/>
              <a:gd name="connsiteX6" fmla="*/ 2540000 w 2540000"/>
              <a:gd name="connsiteY6" fmla="*/ 1099852 h 21997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40000" h="2199704">
                <a:moveTo>
                  <a:pt x="2540000" y="1099852"/>
                </a:moveTo>
                <a:lnTo>
                  <a:pt x="1905000" y="2199704"/>
                </a:lnTo>
                <a:lnTo>
                  <a:pt x="635000" y="2199704"/>
                </a:lnTo>
                <a:lnTo>
                  <a:pt x="0" y="1099852"/>
                </a:lnTo>
                <a:lnTo>
                  <a:pt x="635000" y="0"/>
                </a:lnTo>
                <a:lnTo>
                  <a:pt x="1905000" y="0"/>
                </a:lnTo>
                <a:lnTo>
                  <a:pt x="2540000" y="1099852"/>
                </a:lnTo>
                <a:close/>
              </a:path>
            </a:pathLst>
          </a:custGeom>
          <a:solidFill>
            <a:schemeClr val="accent1">
              <a:alpha val="1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85039" tIns="42520" rIns="85039" bIns="42520" rtlCol="0" anchor="ctr"/>
          <a:lstStyle/>
          <a:p>
            <a:pPr algn="l"/>
            <a:endParaRPr lang="zh-CN" altLang="en-US" sz="1488">
              <a:solidFill>
                <a:schemeClr val="bg1"/>
              </a:solidFill>
              <a:latin typeface="+mj-ea"/>
              <a:ea typeface="+mj-ea"/>
            </a:endParaRPr>
          </a:p>
        </p:txBody>
      </p:sp>
      <p:sp>
        <p:nvSpPr>
          <p:cNvPr id="56" name="任意多边形: 形状 55">
            <a:extLst>
              <a:ext uri="{FF2B5EF4-FFF2-40B4-BE49-F238E27FC236}">
                <a16:creationId xmlns:a16="http://schemas.microsoft.com/office/drawing/2014/main" id="{6B9D0EF8-7212-49A8-9A4C-9D48F45195A5}"/>
              </a:ext>
            </a:extLst>
          </p:cNvPr>
          <p:cNvSpPr/>
          <p:nvPr/>
        </p:nvSpPr>
        <p:spPr>
          <a:xfrm>
            <a:off x="8362158" y="3200270"/>
            <a:ext cx="953310" cy="825589"/>
          </a:xfrm>
          <a:custGeom>
            <a:avLst/>
            <a:gdLst>
              <a:gd name="connsiteX0" fmla="*/ 2540000 w 2540000"/>
              <a:gd name="connsiteY0" fmla="*/ 1099852 h 2199704"/>
              <a:gd name="connsiteX1" fmla="*/ 1905000 w 2540000"/>
              <a:gd name="connsiteY1" fmla="*/ 2199704 h 2199704"/>
              <a:gd name="connsiteX2" fmla="*/ 635000 w 2540000"/>
              <a:gd name="connsiteY2" fmla="*/ 2199704 h 2199704"/>
              <a:gd name="connsiteX3" fmla="*/ 0 w 2540000"/>
              <a:gd name="connsiteY3" fmla="*/ 1099852 h 2199704"/>
              <a:gd name="connsiteX4" fmla="*/ 635000 w 2540000"/>
              <a:gd name="connsiteY4" fmla="*/ 0 h 2199704"/>
              <a:gd name="connsiteX5" fmla="*/ 1905000 w 2540000"/>
              <a:gd name="connsiteY5" fmla="*/ 0 h 2199704"/>
              <a:gd name="connsiteX6" fmla="*/ 2540000 w 2540000"/>
              <a:gd name="connsiteY6" fmla="*/ 1099852 h 21997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40000" h="2199704">
                <a:moveTo>
                  <a:pt x="2540000" y="1099852"/>
                </a:moveTo>
                <a:lnTo>
                  <a:pt x="1905000" y="2199704"/>
                </a:lnTo>
                <a:lnTo>
                  <a:pt x="635000" y="2199704"/>
                </a:lnTo>
                <a:lnTo>
                  <a:pt x="0" y="1099852"/>
                </a:lnTo>
                <a:lnTo>
                  <a:pt x="635000" y="0"/>
                </a:lnTo>
                <a:lnTo>
                  <a:pt x="1905000" y="0"/>
                </a:lnTo>
                <a:lnTo>
                  <a:pt x="2540000" y="1099852"/>
                </a:lnTo>
                <a:close/>
              </a:path>
            </a:pathLst>
          </a:custGeom>
          <a:noFill/>
          <a:ln w="11811">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85039" tIns="42520" rIns="85039" bIns="42520" rtlCol="0" anchor="ctr"/>
          <a:lstStyle/>
          <a:p>
            <a:pPr algn="l"/>
            <a:endParaRPr lang="zh-CN" altLang="en-US" sz="1488">
              <a:solidFill>
                <a:schemeClr val="bg1"/>
              </a:solidFill>
              <a:latin typeface="+mj-ea"/>
              <a:ea typeface="+mj-ea"/>
            </a:endParaRPr>
          </a:p>
        </p:txBody>
      </p:sp>
      <p:sp>
        <p:nvSpPr>
          <p:cNvPr id="57" name="任意多边形: 形状 56">
            <a:extLst>
              <a:ext uri="{FF2B5EF4-FFF2-40B4-BE49-F238E27FC236}">
                <a16:creationId xmlns:a16="http://schemas.microsoft.com/office/drawing/2014/main" id="{A8924AB3-1765-4452-B6FF-1AB965EE6B3D}"/>
              </a:ext>
            </a:extLst>
          </p:cNvPr>
          <p:cNvSpPr/>
          <p:nvPr/>
        </p:nvSpPr>
        <p:spPr>
          <a:xfrm>
            <a:off x="9050614" y="3163978"/>
            <a:ext cx="80475" cy="46463"/>
          </a:xfrm>
          <a:custGeom>
            <a:avLst/>
            <a:gdLst>
              <a:gd name="connsiteX0" fmla="*/ 2540000 w 2540000"/>
              <a:gd name="connsiteY0" fmla="*/ 1099852 h 2199704"/>
              <a:gd name="connsiteX1" fmla="*/ 1905000 w 2540000"/>
              <a:gd name="connsiteY1" fmla="*/ 2199704 h 2199704"/>
              <a:gd name="connsiteX2" fmla="*/ 635000 w 2540000"/>
              <a:gd name="connsiteY2" fmla="*/ 2199704 h 2199704"/>
              <a:gd name="connsiteX3" fmla="*/ 0 w 2540000"/>
              <a:gd name="connsiteY3" fmla="*/ 1099852 h 2199704"/>
              <a:gd name="connsiteX4" fmla="*/ 635000 w 2540000"/>
              <a:gd name="connsiteY4" fmla="*/ 0 h 2199704"/>
              <a:gd name="connsiteX5" fmla="*/ 1905000 w 2540000"/>
              <a:gd name="connsiteY5" fmla="*/ 0 h 2199704"/>
              <a:gd name="connsiteX6" fmla="*/ 2540000 w 2540000"/>
              <a:gd name="connsiteY6" fmla="*/ 1099852 h 2199704"/>
              <a:gd name="connsiteX0" fmla="*/ 0 w 2540000"/>
              <a:gd name="connsiteY0" fmla="*/ 1099852 h 2199704"/>
              <a:gd name="connsiteX1" fmla="*/ 635000 w 2540000"/>
              <a:gd name="connsiteY1" fmla="*/ 0 h 2199704"/>
              <a:gd name="connsiteX2" fmla="*/ 1905000 w 2540000"/>
              <a:gd name="connsiteY2" fmla="*/ 0 h 2199704"/>
              <a:gd name="connsiteX3" fmla="*/ 2540000 w 2540000"/>
              <a:gd name="connsiteY3" fmla="*/ 1099852 h 2199704"/>
              <a:gd name="connsiteX4" fmla="*/ 1905000 w 2540000"/>
              <a:gd name="connsiteY4" fmla="*/ 2199704 h 2199704"/>
              <a:gd name="connsiteX5" fmla="*/ 635000 w 2540000"/>
              <a:gd name="connsiteY5" fmla="*/ 2199704 h 2199704"/>
              <a:gd name="connsiteX6" fmla="*/ 226579 w 2540000"/>
              <a:gd name="connsiteY6" fmla="*/ 1326431 h 2199704"/>
              <a:gd name="connsiteX0" fmla="*/ 408421 w 2313421"/>
              <a:gd name="connsiteY0" fmla="*/ 0 h 2199704"/>
              <a:gd name="connsiteX1" fmla="*/ 1678421 w 2313421"/>
              <a:gd name="connsiteY1" fmla="*/ 0 h 2199704"/>
              <a:gd name="connsiteX2" fmla="*/ 2313421 w 2313421"/>
              <a:gd name="connsiteY2" fmla="*/ 1099852 h 2199704"/>
              <a:gd name="connsiteX3" fmla="*/ 1678421 w 2313421"/>
              <a:gd name="connsiteY3" fmla="*/ 2199704 h 2199704"/>
              <a:gd name="connsiteX4" fmla="*/ 408421 w 2313421"/>
              <a:gd name="connsiteY4" fmla="*/ 2199704 h 2199704"/>
              <a:gd name="connsiteX5" fmla="*/ 0 w 2313421"/>
              <a:gd name="connsiteY5" fmla="*/ 1326431 h 2199704"/>
              <a:gd name="connsiteX0" fmla="*/ 0 w 1905000"/>
              <a:gd name="connsiteY0" fmla="*/ 0 h 2199704"/>
              <a:gd name="connsiteX1" fmla="*/ 1270000 w 1905000"/>
              <a:gd name="connsiteY1" fmla="*/ 0 h 2199704"/>
              <a:gd name="connsiteX2" fmla="*/ 1905000 w 1905000"/>
              <a:gd name="connsiteY2" fmla="*/ 1099852 h 2199704"/>
              <a:gd name="connsiteX3" fmla="*/ 1270000 w 1905000"/>
              <a:gd name="connsiteY3" fmla="*/ 2199704 h 2199704"/>
              <a:gd name="connsiteX4" fmla="*/ 0 w 1905000"/>
              <a:gd name="connsiteY4" fmla="*/ 2199704 h 2199704"/>
              <a:gd name="connsiteX0" fmla="*/ 0 w 1905000"/>
              <a:gd name="connsiteY0" fmla="*/ 0 h 2199704"/>
              <a:gd name="connsiteX1" fmla="*/ 1270000 w 1905000"/>
              <a:gd name="connsiteY1" fmla="*/ 0 h 2199704"/>
              <a:gd name="connsiteX2" fmla="*/ 1905000 w 1905000"/>
              <a:gd name="connsiteY2" fmla="*/ 1099852 h 2199704"/>
              <a:gd name="connsiteX3" fmla="*/ 1270000 w 1905000"/>
              <a:gd name="connsiteY3" fmla="*/ 2199704 h 2199704"/>
              <a:gd name="connsiteX0" fmla="*/ 0 w 1905000"/>
              <a:gd name="connsiteY0" fmla="*/ 0 h 1099852"/>
              <a:gd name="connsiteX1" fmla="*/ 1270000 w 1905000"/>
              <a:gd name="connsiteY1" fmla="*/ 0 h 1099852"/>
              <a:gd name="connsiteX2" fmla="*/ 1905000 w 1905000"/>
              <a:gd name="connsiteY2" fmla="*/ 1099852 h 1099852"/>
            </a:gdLst>
            <a:ahLst/>
            <a:cxnLst>
              <a:cxn ang="0">
                <a:pos x="connsiteX0" y="connsiteY0"/>
              </a:cxn>
              <a:cxn ang="0">
                <a:pos x="connsiteX1" y="connsiteY1"/>
              </a:cxn>
              <a:cxn ang="0">
                <a:pos x="connsiteX2" y="connsiteY2"/>
              </a:cxn>
            </a:cxnLst>
            <a:rect l="l" t="t" r="r" b="b"/>
            <a:pathLst>
              <a:path w="1905000" h="1099852">
                <a:moveTo>
                  <a:pt x="0" y="0"/>
                </a:moveTo>
                <a:lnTo>
                  <a:pt x="1270000" y="0"/>
                </a:lnTo>
                <a:lnTo>
                  <a:pt x="1905000" y="1099852"/>
                </a:lnTo>
              </a:path>
            </a:pathLst>
          </a:custGeom>
          <a:noFill/>
          <a:ln w="17716" cap="rnd">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85039" tIns="42520" rIns="85039" bIns="42520" rtlCol="0" anchor="ctr"/>
          <a:lstStyle/>
          <a:p>
            <a:pPr algn="l"/>
            <a:endParaRPr lang="zh-CN" altLang="en-US" sz="1488">
              <a:solidFill>
                <a:schemeClr val="bg1"/>
              </a:solidFill>
              <a:latin typeface="+mj-ea"/>
              <a:ea typeface="+mj-ea"/>
            </a:endParaRPr>
          </a:p>
        </p:txBody>
      </p:sp>
      <p:sp>
        <p:nvSpPr>
          <p:cNvPr id="58" name="任意多边形: 形状 57">
            <a:extLst>
              <a:ext uri="{FF2B5EF4-FFF2-40B4-BE49-F238E27FC236}">
                <a16:creationId xmlns:a16="http://schemas.microsoft.com/office/drawing/2014/main" id="{F9426BC2-B11C-4A2A-A032-B26A7C6307A0}"/>
              </a:ext>
            </a:extLst>
          </p:cNvPr>
          <p:cNvSpPr/>
          <p:nvPr/>
        </p:nvSpPr>
        <p:spPr>
          <a:xfrm flipH="1">
            <a:off x="8552885" y="3163978"/>
            <a:ext cx="80475" cy="46463"/>
          </a:xfrm>
          <a:custGeom>
            <a:avLst/>
            <a:gdLst>
              <a:gd name="connsiteX0" fmla="*/ 2540000 w 2540000"/>
              <a:gd name="connsiteY0" fmla="*/ 1099852 h 2199704"/>
              <a:gd name="connsiteX1" fmla="*/ 1905000 w 2540000"/>
              <a:gd name="connsiteY1" fmla="*/ 2199704 h 2199704"/>
              <a:gd name="connsiteX2" fmla="*/ 635000 w 2540000"/>
              <a:gd name="connsiteY2" fmla="*/ 2199704 h 2199704"/>
              <a:gd name="connsiteX3" fmla="*/ 0 w 2540000"/>
              <a:gd name="connsiteY3" fmla="*/ 1099852 h 2199704"/>
              <a:gd name="connsiteX4" fmla="*/ 635000 w 2540000"/>
              <a:gd name="connsiteY4" fmla="*/ 0 h 2199704"/>
              <a:gd name="connsiteX5" fmla="*/ 1905000 w 2540000"/>
              <a:gd name="connsiteY5" fmla="*/ 0 h 2199704"/>
              <a:gd name="connsiteX6" fmla="*/ 2540000 w 2540000"/>
              <a:gd name="connsiteY6" fmla="*/ 1099852 h 2199704"/>
              <a:gd name="connsiteX0" fmla="*/ 0 w 2540000"/>
              <a:gd name="connsiteY0" fmla="*/ 1099852 h 2199704"/>
              <a:gd name="connsiteX1" fmla="*/ 635000 w 2540000"/>
              <a:gd name="connsiteY1" fmla="*/ 0 h 2199704"/>
              <a:gd name="connsiteX2" fmla="*/ 1905000 w 2540000"/>
              <a:gd name="connsiteY2" fmla="*/ 0 h 2199704"/>
              <a:gd name="connsiteX3" fmla="*/ 2540000 w 2540000"/>
              <a:gd name="connsiteY3" fmla="*/ 1099852 h 2199704"/>
              <a:gd name="connsiteX4" fmla="*/ 1905000 w 2540000"/>
              <a:gd name="connsiteY4" fmla="*/ 2199704 h 2199704"/>
              <a:gd name="connsiteX5" fmla="*/ 635000 w 2540000"/>
              <a:gd name="connsiteY5" fmla="*/ 2199704 h 2199704"/>
              <a:gd name="connsiteX6" fmla="*/ 226579 w 2540000"/>
              <a:gd name="connsiteY6" fmla="*/ 1326431 h 2199704"/>
              <a:gd name="connsiteX0" fmla="*/ 408421 w 2313421"/>
              <a:gd name="connsiteY0" fmla="*/ 0 h 2199704"/>
              <a:gd name="connsiteX1" fmla="*/ 1678421 w 2313421"/>
              <a:gd name="connsiteY1" fmla="*/ 0 h 2199704"/>
              <a:gd name="connsiteX2" fmla="*/ 2313421 w 2313421"/>
              <a:gd name="connsiteY2" fmla="*/ 1099852 h 2199704"/>
              <a:gd name="connsiteX3" fmla="*/ 1678421 w 2313421"/>
              <a:gd name="connsiteY3" fmla="*/ 2199704 h 2199704"/>
              <a:gd name="connsiteX4" fmla="*/ 408421 w 2313421"/>
              <a:gd name="connsiteY4" fmla="*/ 2199704 h 2199704"/>
              <a:gd name="connsiteX5" fmla="*/ 0 w 2313421"/>
              <a:gd name="connsiteY5" fmla="*/ 1326431 h 2199704"/>
              <a:gd name="connsiteX0" fmla="*/ 0 w 1905000"/>
              <a:gd name="connsiteY0" fmla="*/ 0 h 2199704"/>
              <a:gd name="connsiteX1" fmla="*/ 1270000 w 1905000"/>
              <a:gd name="connsiteY1" fmla="*/ 0 h 2199704"/>
              <a:gd name="connsiteX2" fmla="*/ 1905000 w 1905000"/>
              <a:gd name="connsiteY2" fmla="*/ 1099852 h 2199704"/>
              <a:gd name="connsiteX3" fmla="*/ 1270000 w 1905000"/>
              <a:gd name="connsiteY3" fmla="*/ 2199704 h 2199704"/>
              <a:gd name="connsiteX4" fmla="*/ 0 w 1905000"/>
              <a:gd name="connsiteY4" fmla="*/ 2199704 h 2199704"/>
              <a:gd name="connsiteX0" fmla="*/ 0 w 1905000"/>
              <a:gd name="connsiteY0" fmla="*/ 0 h 2199704"/>
              <a:gd name="connsiteX1" fmla="*/ 1270000 w 1905000"/>
              <a:gd name="connsiteY1" fmla="*/ 0 h 2199704"/>
              <a:gd name="connsiteX2" fmla="*/ 1905000 w 1905000"/>
              <a:gd name="connsiteY2" fmla="*/ 1099852 h 2199704"/>
              <a:gd name="connsiteX3" fmla="*/ 1270000 w 1905000"/>
              <a:gd name="connsiteY3" fmla="*/ 2199704 h 2199704"/>
              <a:gd name="connsiteX0" fmla="*/ 0 w 1905000"/>
              <a:gd name="connsiteY0" fmla="*/ 0 h 1099852"/>
              <a:gd name="connsiteX1" fmla="*/ 1270000 w 1905000"/>
              <a:gd name="connsiteY1" fmla="*/ 0 h 1099852"/>
              <a:gd name="connsiteX2" fmla="*/ 1905000 w 1905000"/>
              <a:gd name="connsiteY2" fmla="*/ 1099852 h 1099852"/>
            </a:gdLst>
            <a:ahLst/>
            <a:cxnLst>
              <a:cxn ang="0">
                <a:pos x="connsiteX0" y="connsiteY0"/>
              </a:cxn>
              <a:cxn ang="0">
                <a:pos x="connsiteX1" y="connsiteY1"/>
              </a:cxn>
              <a:cxn ang="0">
                <a:pos x="connsiteX2" y="connsiteY2"/>
              </a:cxn>
            </a:cxnLst>
            <a:rect l="l" t="t" r="r" b="b"/>
            <a:pathLst>
              <a:path w="1905000" h="1099852">
                <a:moveTo>
                  <a:pt x="0" y="0"/>
                </a:moveTo>
                <a:lnTo>
                  <a:pt x="1270000" y="0"/>
                </a:lnTo>
                <a:lnTo>
                  <a:pt x="1905000" y="1099852"/>
                </a:lnTo>
              </a:path>
            </a:pathLst>
          </a:custGeom>
          <a:noFill/>
          <a:ln w="17716" cap="rnd">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85039" tIns="42520" rIns="85039" bIns="42520" rtlCol="0" anchor="ctr"/>
          <a:lstStyle/>
          <a:p>
            <a:pPr algn="l"/>
            <a:endParaRPr lang="zh-CN" altLang="en-US" sz="1488">
              <a:solidFill>
                <a:schemeClr val="bg1"/>
              </a:solidFill>
              <a:latin typeface="+mj-ea"/>
              <a:ea typeface="+mj-ea"/>
            </a:endParaRPr>
          </a:p>
        </p:txBody>
      </p:sp>
      <p:sp>
        <p:nvSpPr>
          <p:cNvPr id="59" name="任意多边形: 形状 58">
            <a:extLst>
              <a:ext uri="{FF2B5EF4-FFF2-40B4-BE49-F238E27FC236}">
                <a16:creationId xmlns:a16="http://schemas.microsoft.com/office/drawing/2014/main" id="{2A0920CB-F118-4198-AA20-0A959EFFDBF5}"/>
              </a:ext>
            </a:extLst>
          </p:cNvPr>
          <p:cNvSpPr/>
          <p:nvPr/>
        </p:nvSpPr>
        <p:spPr>
          <a:xfrm rot="18000000" flipH="1">
            <a:off x="8308581" y="3590331"/>
            <a:ext cx="80475" cy="46463"/>
          </a:xfrm>
          <a:custGeom>
            <a:avLst/>
            <a:gdLst>
              <a:gd name="connsiteX0" fmla="*/ 2540000 w 2540000"/>
              <a:gd name="connsiteY0" fmla="*/ 1099852 h 2199704"/>
              <a:gd name="connsiteX1" fmla="*/ 1905000 w 2540000"/>
              <a:gd name="connsiteY1" fmla="*/ 2199704 h 2199704"/>
              <a:gd name="connsiteX2" fmla="*/ 635000 w 2540000"/>
              <a:gd name="connsiteY2" fmla="*/ 2199704 h 2199704"/>
              <a:gd name="connsiteX3" fmla="*/ 0 w 2540000"/>
              <a:gd name="connsiteY3" fmla="*/ 1099852 h 2199704"/>
              <a:gd name="connsiteX4" fmla="*/ 635000 w 2540000"/>
              <a:gd name="connsiteY4" fmla="*/ 0 h 2199704"/>
              <a:gd name="connsiteX5" fmla="*/ 1905000 w 2540000"/>
              <a:gd name="connsiteY5" fmla="*/ 0 h 2199704"/>
              <a:gd name="connsiteX6" fmla="*/ 2540000 w 2540000"/>
              <a:gd name="connsiteY6" fmla="*/ 1099852 h 2199704"/>
              <a:gd name="connsiteX0" fmla="*/ 0 w 2540000"/>
              <a:gd name="connsiteY0" fmla="*/ 1099852 h 2199704"/>
              <a:gd name="connsiteX1" fmla="*/ 635000 w 2540000"/>
              <a:gd name="connsiteY1" fmla="*/ 0 h 2199704"/>
              <a:gd name="connsiteX2" fmla="*/ 1905000 w 2540000"/>
              <a:gd name="connsiteY2" fmla="*/ 0 h 2199704"/>
              <a:gd name="connsiteX3" fmla="*/ 2540000 w 2540000"/>
              <a:gd name="connsiteY3" fmla="*/ 1099852 h 2199704"/>
              <a:gd name="connsiteX4" fmla="*/ 1905000 w 2540000"/>
              <a:gd name="connsiteY4" fmla="*/ 2199704 h 2199704"/>
              <a:gd name="connsiteX5" fmla="*/ 635000 w 2540000"/>
              <a:gd name="connsiteY5" fmla="*/ 2199704 h 2199704"/>
              <a:gd name="connsiteX6" fmla="*/ 226579 w 2540000"/>
              <a:gd name="connsiteY6" fmla="*/ 1326431 h 2199704"/>
              <a:gd name="connsiteX0" fmla="*/ 408421 w 2313421"/>
              <a:gd name="connsiteY0" fmla="*/ 0 h 2199704"/>
              <a:gd name="connsiteX1" fmla="*/ 1678421 w 2313421"/>
              <a:gd name="connsiteY1" fmla="*/ 0 h 2199704"/>
              <a:gd name="connsiteX2" fmla="*/ 2313421 w 2313421"/>
              <a:gd name="connsiteY2" fmla="*/ 1099852 h 2199704"/>
              <a:gd name="connsiteX3" fmla="*/ 1678421 w 2313421"/>
              <a:gd name="connsiteY3" fmla="*/ 2199704 h 2199704"/>
              <a:gd name="connsiteX4" fmla="*/ 408421 w 2313421"/>
              <a:gd name="connsiteY4" fmla="*/ 2199704 h 2199704"/>
              <a:gd name="connsiteX5" fmla="*/ 0 w 2313421"/>
              <a:gd name="connsiteY5" fmla="*/ 1326431 h 2199704"/>
              <a:gd name="connsiteX0" fmla="*/ 0 w 1905000"/>
              <a:gd name="connsiteY0" fmla="*/ 0 h 2199704"/>
              <a:gd name="connsiteX1" fmla="*/ 1270000 w 1905000"/>
              <a:gd name="connsiteY1" fmla="*/ 0 h 2199704"/>
              <a:gd name="connsiteX2" fmla="*/ 1905000 w 1905000"/>
              <a:gd name="connsiteY2" fmla="*/ 1099852 h 2199704"/>
              <a:gd name="connsiteX3" fmla="*/ 1270000 w 1905000"/>
              <a:gd name="connsiteY3" fmla="*/ 2199704 h 2199704"/>
              <a:gd name="connsiteX4" fmla="*/ 0 w 1905000"/>
              <a:gd name="connsiteY4" fmla="*/ 2199704 h 2199704"/>
              <a:gd name="connsiteX0" fmla="*/ 0 w 1905000"/>
              <a:gd name="connsiteY0" fmla="*/ 0 h 2199704"/>
              <a:gd name="connsiteX1" fmla="*/ 1270000 w 1905000"/>
              <a:gd name="connsiteY1" fmla="*/ 0 h 2199704"/>
              <a:gd name="connsiteX2" fmla="*/ 1905000 w 1905000"/>
              <a:gd name="connsiteY2" fmla="*/ 1099852 h 2199704"/>
              <a:gd name="connsiteX3" fmla="*/ 1270000 w 1905000"/>
              <a:gd name="connsiteY3" fmla="*/ 2199704 h 2199704"/>
              <a:gd name="connsiteX0" fmla="*/ 0 w 1905000"/>
              <a:gd name="connsiteY0" fmla="*/ 0 h 1099852"/>
              <a:gd name="connsiteX1" fmla="*/ 1270000 w 1905000"/>
              <a:gd name="connsiteY1" fmla="*/ 0 h 1099852"/>
              <a:gd name="connsiteX2" fmla="*/ 1905000 w 1905000"/>
              <a:gd name="connsiteY2" fmla="*/ 1099852 h 1099852"/>
            </a:gdLst>
            <a:ahLst/>
            <a:cxnLst>
              <a:cxn ang="0">
                <a:pos x="connsiteX0" y="connsiteY0"/>
              </a:cxn>
              <a:cxn ang="0">
                <a:pos x="connsiteX1" y="connsiteY1"/>
              </a:cxn>
              <a:cxn ang="0">
                <a:pos x="connsiteX2" y="connsiteY2"/>
              </a:cxn>
            </a:cxnLst>
            <a:rect l="l" t="t" r="r" b="b"/>
            <a:pathLst>
              <a:path w="1905000" h="1099852">
                <a:moveTo>
                  <a:pt x="0" y="0"/>
                </a:moveTo>
                <a:lnTo>
                  <a:pt x="1270000" y="0"/>
                </a:lnTo>
                <a:lnTo>
                  <a:pt x="1905000" y="1099852"/>
                </a:lnTo>
              </a:path>
            </a:pathLst>
          </a:custGeom>
          <a:noFill/>
          <a:ln w="17716" cap="rnd">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85039" tIns="42520" rIns="85039" bIns="42520" rtlCol="0" anchor="ctr"/>
          <a:lstStyle/>
          <a:p>
            <a:pPr algn="l"/>
            <a:endParaRPr lang="zh-CN" altLang="en-US" sz="1488">
              <a:solidFill>
                <a:schemeClr val="bg1"/>
              </a:solidFill>
              <a:latin typeface="+mj-ea"/>
              <a:ea typeface="+mj-ea"/>
            </a:endParaRPr>
          </a:p>
        </p:txBody>
      </p:sp>
      <p:sp>
        <p:nvSpPr>
          <p:cNvPr id="60" name="任意多边形: 形状 59">
            <a:extLst>
              <a:ext uri="{FF2B5EF4-FFF2-40B4-BE49-F238E27FC236}">
                <a16:creationId xmlns:a16="http://schemas.microsoft.com/office/drawing/2014/main" id="{F652D204-E169-4275-BC56-0064DD390F12}"/>
              </a:ext>
            </a:extLst>
          </p:cNvPr>
          <p:cNvSpPr/>
          <p:nvPr/>
        </p:nvSpPr>
        <p:spPr>
          <a:xfrm flipH="1" flipV="1">
            <a:off x="8552885" y="4016586"/>
            <a:ext cx="80475" cy="46463"/>
          </a:xfrm>
          <a:custGeom>
            <a:avLst/>
            <a:gdLst>
              <a:gd name="connsiteX0" fmla="*/ 2540000 w 2540000"/>
              <a:gd name="connsiteY0" fmla="*/ 1099852 h 2199704"/>
              <a:gd name="connsiteX1" fmla="*/ 1905000 w 2540000"/>
              <a:gd name="connsiteY1" fmla="*/ 2199704 h 2199704"/>
              <a:gd name="connsiteX2" fmla="*/ 635000 w 2540000"/>
              <a:gd name="connsiteY2" fmla="*/ 2199704 h 2199704"/>
              <a:gd name="connsiteX3" fmla="*/ 0 w 2540000"/>
              <a:gd name="connsiteY3" fmla="*/ 1099852 h 2199704"/>
              <a:gd name="connsiteX4" fmla="*/ 635000 w 2540000"/>
              <a:gd name="connsiteY4" fmla="*/ 0 h 2199704"/>
              <a:gd name="connsiteX5" fmla="*/ 1905000 w 2540000"/>
              <a:gd name="connsiteY5" fmla="*/ 0 h 2199704"/>
              <a:gd name="connsiteX6" fmla="*/ 2540000 w 2540000"/>
              <a:gd name="connsiteY6" fmla="*/ 1099852 h 2199704"/>
              <a:gd name="connsiteX0" fmla="*/ 0 w 2540000"/>
              <a:gd name="connsiteY0" fmla="*/ 1099852 h 2199704"/>
              <a:gd name="connsiteX1" fmla="*/ 635000 w 2540000"/>
              <a:gd name="connsiteY1" fmla="*/ 0 h 2199704"/>
              <a:gd name="connsiteX2" fmla="*/ 1905000 w 2540000"/>
              <a:gd name="connsiteY2" fmla="*/ 0 h 2199704"/>
              <a:gd name="connsiteX3" fmla="*/ 2540000 w 2540000"/>
              <a:gd name="connsiteY3" fmla="*/ 1099852 h 2199704"/>
              <a:gd name="connsiteX4" fmla="*/ 1905000 w 2540000"/>
              <a:gd name="connsiteY4" fmla="*/ 2199704 h 2199704"/>
              <a:gd name="connsiteX5" fmla="*/ 635000 w 2540000"/>
              <a:gd name="connsiteY5" fmla="*/ 2199704 h 2199704"/>
              <a:gd name="connsiteX6" fmla="*/ 226579 w 2540000"/>
              <a:gd name="connsiteY6" fmla="*/ 1326431 h 2199704"/>
              <a:gd name="connsiteX0" fmla="*/ 408421 w 2313421"/>
              <a:gd name="connsiteY0" fmla="*/ 0 h 2199704"/>
              <a:gd name="connsiteX1" fmla="*/ 1678421 w 2313421"/>
              <a:gd name="connsiteY1" fmla="*/ 0 h 2199704"/>
              <a:gd name="connsiteX2" fmla="*/ 2313421 w 2313421"/>
              <a:gd name="connsiteY2" fmla="*/ 1099852 h 2199704"/>
              <a:gd name="connsiteX3" fmla="*/ 1678421 w 2313421"/>
              <a:gd name="connsiteY3" fmla="*/ 2199704 h 2199704"/>
              <a:gd name="connsiteX4" fmla="*/ 408421 w 2313421"/>
              <a:gd name="connsiteY4" fmla="*/ 2199704 h 2199704"/>
              <a:gd name="connsiteX5" fmla="*/ 0 w 2313421"/>
              <a:gd name="connsiteY5" fmla="*/ 1326431 h 2199704"/>
              <a:gd name="connsiteX0" fmla="*/ 0 w 1905000"/>
              <a:gd name="connsiteY0" fmla="*/ 0 h 2199704"/>
              <a:gd name="connsiteX1" fmla="*/ 1270000 w 1905000"/>
              <a:gd name="connsiteY1" fmla="*/ 0 h 2199704"/>
              <a:gd name="connsiteX2" fmla="*/ 1905000 w 1905000"/>
              <a:gd name="connsiteY2" fmla="*/ 1099852 h 2199704"/>
              <a:gd name="connsiteX3" fmla="*/ 1270000 w 1905000"/>
              <a:gd name="connsiteY3" fmla="*/ 2199704 h 2199704"/>
              <a:gd name="connsiteX4" fmla="*/ 0 w 1905000"/>
              <a:gd name="connsiteY4" fmla="*/ 2199704 h 2199704"/>
              <a:gd name="connsiteX0" fmla="*/ 0 w 1905000"/>
              <a:gd name="connsiteY0" fmla="*/ 0 h 2199704"/>
              <a:gd name="connsiteX1" fmla="*/ 1270000 w 1905000"/>
              <a:gd name="connsiteY1" fmla="*/ 0 h 2199704"/>
              <a:gd name="connsiteX2" fmla="*/ 1905000 w 1905000"/>
              <a:gd name="connsiteY2" fmla="*/ 1099852 h 2199704"/>
              <a:gd name="connsiteX3" fmla="*/ 1270000 w 1905000"/>
              <a:gd name="connsiteY3" fmla="*/ 2199704 h 2199704"/>
              <a:gd name="connsiteX0" fmla="*/ 0 w 1905000"/>
              <a:gd name="connsiteY0" fmla="*/ 0 h 1099852"/>
              <a:gd name="connsiteX1" fmla="*/ 1270000 w 1905000"/>
              <a:gd name="connsiteY1" fmla="*/ 0 h 1099852"/>
              <a:gd name="connsiteX2" fmla="*/ 1905000 w 1905000"/>
              <a:gd name="connsiteY2" fmla="*/ 1099852 h 1099852"/>
            </a:gdLst>
            <a:ahLst/>
            <a:cxnLst>
              <a:cxn ang="0">
                <a:pos x="connsiteX0" y="connsiteY0"/>
              </a:cxn>
              <a:cxn ang="0">
                <a:pos x="connsiteX1" y="connsiteY1"/>
              </a:cxn>
              <a:cxn ang="0">
                <a:pos x="connsiteX2" y="connsiteY2"/>
              </a:cxn>
            </a:cxnLst>
            <a:rect l="l" t="t" r="r" b="b"/>
            <a:pathLst>
              <a:path w="1905000" h="1099852">
                <a:moveTo>
                  <a:pt x="0" y="0"/>
                </a:moveTo>
                <a:lnTo>
                  <a:pt x="1270000" y="0"/>
                </a:lnTo>
                <a:lnTo>
                  <a:pt x="1905000" y="1099852"/>
                </a:lnTo>
              </a:path>
            </a:pathLst>
          </a:custGeom>
          <a:noFill/>
          <a:ln w="17716" cap="rnd">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85039" tIns="42520" rIns="85039" bIns="42520" rtlCol="0" anchor="ctr"/>
          <a:lstStyle/>
          <a:p>
            <a:pPr algn="l"/>
            <a:endParaRPr lang="zh-CN" altLang="en-US" sz="1488">
              <a:solidFill>
                <a:schemeClr val="bg1"/>
              </a:solidFill>
              <a:latin typeface="+mj-ea"/>
              <a:ea typeface="+mj-ea"/>
            </a:endParaRPr>
          </a:p>
        </p:txBody>
      </p:sp>
      <p:sp>
        <p:nvSpPr>
          <p:cNvPr id="61" name="任意多边形: 形状 60">
            <a:extLst>
              <a:ext uri="{FF2B5EF4-FFF2-40B4-BE49-F238E27FC236}">
                <a16:creationId xmlns:a16="http://schemas.microsoft.com/office/drawing/2014/main" id="{63ADD777-3AF6-4E74-BD2A-A074CA38CED2}"/>
              </a:ext>
            </a:extLst>
          </p:cNvPr>
          <p:cNvSpPr/>
          <p:nvPr/>
        </p:nvSpPr>
        <p:spPr>
          <a:xfrm flipV="1">
            <a:off x="9048947" y="4016586"/>
            <a:ext cx="80475" cy="46463"/>
          </a:xfrm>
          <a:custGeom>
            <a:avLst/>
            <a:gdLst>
              <a:gd name="connsiteX0" fmla="*/ 2540000 w 2540000"/>
              <a:gd name="connsiteY0" fmla="*/ 1099852 h 2199704"/>
              <a:gd name="connsiteX1" fmla="*/ 1905000 w 2540000"/>
              <a:gd name="connsiteY1" fmla="*/ 2199704 h 2199704"/>
              <a:gd name="connsiteX2" fmla="*/ 635000 w 2540000"/>
              <a:gd name="connsiteY2" fmla="*/ 2199704 h 2199704"/>
              <a:gd name="connsiteX3" fmla="*/ 0 w 2540000"/>
              <a:gd name="connsiteY3" fmla="*/ 1099852 h 2199704"/>
              <a:gd name="connsiteX4" fmla="*/ 635000 w 2540000"/>
              <a:gd name="connsiteY4" fmla="*/ 0 h 2199704"/>
              <a:gd name="connsiteX5" fmla="*/ 1905000 w 2540000"/>
              <a:gd name="connsiteY5" fmla="*/ 0 h 2199704"/>
              <a:gd name="connsiteX6" fmla="*/ 2540000 w 2540000"/>
              <a:gd name="connsiteY6" fmla="*/ 1099852 h 2199704"/>
              <a:gd name="connsiteX0" fmla="*/ 0 w 2540000"/>
              <a:gd name="connsiteY0" fmla="*/ 1099852 h 2199704"/>
              <a:gd name="connsiteX1" fmla="*/ 635000 w 2540000"/>
              <a:gd name="connsiteY1" fmla="*/ 0 h 2199704"/>
              <a:gd name="connsiteX2" fmla="*/ 1905000 w 2540000"/>
              <a:gd name="connsiteY2" fmla="*/ 0 h 2199704"/>
              <a:gd name="connsiteX3" fmla="*/ 2540000 w 2540000"/>
              <a:gd name="connsiteY3" fmla="*/ 1099852 h 2199704"/>
              <a:gd name="connsiteX4" fmla="*/ 1905000 w 2540000"/>
              <a:gd name="connsiteY4" fmla="*/ 2199704 h 2199704"/>
              <a:gd name="connsiteX5" fmla="*/ 635000 w 2540000"/>
              <a:gd name="connsiteY5" fmla="*/ 2199704 h 2199704"/>
              <a:gd name="connsiteX6" fmla="*/ 226579 w 2540000"/>
              <a:gd name="connsiteY6" fmla="*/ 1326431 h 2199704"/>
              <a:gd name="connsiteX0" fmla="*/ 408421 w 2313421"/>
              <a:gd name="connsiteY0" fmla="*/ 0 h 2199704"/>
              <a:gd name="connsiteX1" fmla="*/ 1678421 w 2313421"/>
              <a:gd name="connsiteY1" fmla="*/ 0 h 2199704"/>
              <a:gd name="connsiteX2" fmla="*/ 2313421 w 2313421"/>
              <a:gd name="connsiteY2" fmla="*/ 1099852 h 2199704"/>
              <a:gd name="connsiteX3" fmla="*/ 1678421 w 2313421"/>
              <a:gd name="connsiteY3" fmla="*/ 2199704 h 2199704"/>
              <a:gd name="connsiteX4" fmla="*/ 408421 w 2313421"/>
              <a:gd name="connsiteY4" fmla="*/ 2199704 h 2199704"/>
              <a:gd name="connsiteX5" fmla="*/ 0 w 2313421"/>
              <a:gd name="connsiteY5" fmla="*/ 1326431 h 2199704"/>
              <a:gd name="connsiteX0" fmla="*/ 0 w 1905000"/>
              <a:gd name="connsiteY0" fmla="*/ 0 h 2199704"/>
              <a:gd name="connsiteX1" fmla="*/ 1270000 w 1905000"/>
              <a:gd name="connsiteY1" fmla="*/ 0 h 2199704"/>
              <a:gd name="connsiteX2" fmla="*/ 1905000 w 1905000"/>
              <a:gd name="connsiteY2" fmla="*/ 1099852 h 2199704"/>
              <a:gd name="connsiteX3" fmla="*/ 1270000 w 1905000"/>
              <a:gd name="connsiteY3" fmla="*/ 2199704 h 2199704"/>
              <a:gd name="connsiteX4" fmla="*/ 0 w 1905000"/>
              <a:gd name="connsiteY4" fmla="*/ 2199704 h 2199704"/>
              <a:gd name="connsiteX0" fmla="*/ 0 w 1905000"/>
              <a:gd name="connsiteY0" fmla="*/ 0 h 2199704"/>
              <a:gd name="connsiteX1" fmla="*/ 1270000 w 1905000"/>
              <a:gd name="connsiteY1" fmla="*/ 0 h 2199704"/>
              <a:gd name="connsiteX2" fmla="*/ 1905000 w 1905000"/>
              <a:gd name="connsiteY2" fmla="*/ 1099852 h 2199704"/>
              <a:gd name="connsiteX3" fmla="*/ 1270000 w 1905000"/>
              <a:gd name="connsiteY3" fmla="*/ 2199704 h 2199704"/>
              <a:gd name="connsiteX0" fmla="*/ 0 w 1905000"/>
              <a:gd name="connsiteY0" fmla="*/ 0 h 1099852"/>
              <a:gd name="connsiteX1" fmla="*/ 1270000 w 1905000"/>
              <a:gd name="connsiteY1" fmla="*/ 0 h 1099852"/>
              <a:gd name="connsiteX2" fmla="*/ 1905000 w 1905000"/>
              <a:gd name="connsiteY2" fmla="*/ 1099852 h 1099852"/>
            </a:gdLst>
            <a:ahLst/>
            <a:cxnLst>
              <a:cxn ang="0">
                <a:pos x="connsiteX0" y="connsiteY0"/>
              </a:cxn>
              <a:cxn ang="0">
                <a:pos x="connsiteX1" y="connsiteY1"/>
              </a:cxn>
              <a:cxn ang="0">
                <a:pos x="connsiteX2" y="connsiteY2"/>
              </a:cxn>
            </a:cxnLst>
            <a:rect l="l" t="t" r="r" b="b"/>
            <a:pathLst>
              <a:path w="1905000" h="1099852">
                <a:moveTo>
                  <a:pt x="0" y="0"/>
                </a:moveTo>
                <a:lnTo>
                  <a:pt x="1270000" y="0"/>
                </a:lnTo>
                <a:lnTo>
                  <a:pt x="1905000" y="1099852"/>
                </a:lnTo>
              </a:path>
            </a:pathLst>
          </a:custGeom>
          <a:noFill/>
          <a:ln w="17716" cap="rnd">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85039" tIns="42520" rIns="85039" bIns="42520" rtlCol="0" anchor="ctr"/>
          <a:lstStyle/>
          <a:p>
            <a:pPr algn="l"/>
            <a:endParaRPr lang="zh-CN" altLang="en-US" sz="1488">
              <a:solidFill>
                <a:schemeClr val="bg1"/>
              </a:solidFill>
              <a:latin typeface="+mj-ea"/>
              <a:ea typeface="+mj-ea"/>
            </a:endParaRPr>
          </a:p>
        </p:txBody>
      </p:sp>
      <p:sp>
        <p:nvSpPr>
          <p:cNvPr id="62" name="任意多边形: 形状 61">
            <a:extLst>
              <a:ext uri="{FF2B5EF4-FFF2-40B4-BE49-F238E27FC236}">
                <a16:creationId xmlns:a16="http://schemas.microsoft.com/office/drawing/2014/main" id="{D42D9EC0-0B0F-4AF9-A25A-087B2D82D54D}"/>
              </a:ext>
            </a:extLst>
          </p:cNvPr>
          <p:cNvSpPr/>
          <p:nvPr/>
        </p:nvSpPr>
        <p:spPr>
          <a:xfrm rot="3600000">
            <a:off x="9296709" y="3589583"/>
            <a:ext cx="80475" cy="46463"/>
          </a:xfrm>
          <a:custGeom>
            <a:avLst/>
            <a:gdLst>
              <a:gd name="connsiteX0" fmla="*/ 2540000 w 2540000"/>
              <a:gd name="connsiteY0" fmla="*/ 1099852 h 2199704"/>
              <a:gd name="connsiteX1" fmla="*/ 1905000 w 2540000"/>
              <a:gd name="connsiteY1" fmla="*/ 2199704 h 2199704"/>
              <a:gd name="connsiteX2" fmla="*/ 635000 w 2540000"/>
              <a:gd name="connsiteY2" fmla="*/ 2199704 h 2199704"/>
              <a:gd name="connsiteX3" fmla="*/ 0 w 2540000"/>
              <a:gd name="connsiteY3" fmla="*/ 1099852 h 2199704"/>
              <a:gd name="connsiteX4" fmla="*/ 635000 w 2540000"/>
              <a:gd name="connsiteY4" fmla="*/ 0 h 2199704"/>
              <a:gd name="connsiteX5" fmla="*/ 1905000 w 2540000"/>
              <a:gd name="connsiteY5" fmla="*/ 0 h 2199704"/>
              <a:gd name="connsiteX6" fmla="*/ 2540000 w 2540000"/>
              <a:gd name="connsiteY6" fmla="*/ 1099852 h 2199704"/>
              <a:gd name="connsiteX0" fmla="*/ 0 w 2540000"/>
              <a:gd name="connsiteY0" fmla="*/ 1099852 h 2199704"/>
              <a:gd name="connsiteX1" fmla="*/ 635000 w 2540000"/>
              <a:gd name="connsiteY1" fmla="*/ 0 h 2199704"/>
              <a:gd name="connsiteX2" fmla="*/ 1905000 w 2540000"/>
              <a:gd name="connsiteY2" fmla="*/ 0 h 2199704"/>
              <a:gd name="connsiteX3" fmla="*/ 2540000 w 2540000"/>
              <a:gd name="connsiteY3" fmla="*/ 1099852 h 2199704"/>
              <a:gd name="connsiteX4" fmla="*/ 1905000 w 2540000"/>
              <a:gd name="connsiteY4" fmla="*/ 2199704 h 2199704"/>
              <a:gd name="connsiteX5" fmla="*/ 635000 w 2540000"/>
              <a:gd name="connsiteY5" fmla="*/ 2199704 h 2199704"/>
              <a:gd name="connsiteX6" fmla="*/ 226579 w 2540000"/>
              <a:gd name="connsiteY6" fmla="*/ 1326431 h 2199704"/>
              <a:gd name="connsiteX0" fmla="*/ 408421 w 2313421"/>
              <a:gd name="connsiteY0" fmla="*/ 0 h 2199704"/>
              <a:gd name="connsiteX1" fmla="*/ 1678421 w 2313421"/>
              <a:gd name="connsiteY1" fmla="*/ 0 h 2199704"/>
              <a:gd name="connsiteX2" fmla="*/ 2313421 w 2313421"/>
              <a:gd name="connsiteY2" fmla="*/ 1099852 h 2199704"/>
              <a:gd name="connsiteX3" fmla="*/ 1678421 w 2313421"/>
              <a:gd name="connsiteY3" fmla="*/ 2199704 h 2199704"/>
              <a:gd name="connsiteX4" fmla="*/ 408421 w 2313421"/>
              <a:gd name="connsiteY4" fmla="*/ 2199704 h 2199704"/>
              <a:gd name="connsiteX5" fmla="*/ 0 w 2313421"/>
              <a:gd name="connsiteY5" fmla="*/ 1326431 h 2199704"/>
              <a:gd name="connsiteX0" fmla="*/ 0 w 1905000"/>
              <a:gd name="connsiteY0" fmla="*/ 0 h 2199704"/>
              <a:gd name="connsiteX1" fmla="*/ 1270000 w 1905000"/>
              <a:gd name="connsiteY1" fmla="*/ 0 h 2199704"/>
              <a:gd name="connsiteX2" fmla="*/ 1905000 w 1905000"/>
              <a:gd name="connsiteY2" fmla="*/ 1099852 h 2199704"/>
              <a:gd name="connsiteX3" fmla="*/ 1270000 w 1905000"/>
              <a:gd name="connsiteY3" fmla="*/ 2199704 h 2199704"/>
              <a:gd name="connsiteX4" fmla="*/ 0 w 1905000"/>
              <a:gd name="connsiteY4" fmla="*/ 2199704 h 2199704"/>
              <a:gd name="connsiteX0" fmla="*/ 0 w 1905000"/>
              <a:gd name="connsiteY0" fmla="*/ 0 h 2199704"/>
              <a:gd name="connsiteX1" fmla="*/ 1270000 w 1905000"/>
              <a:gd name="connsiteY1" fmla="*/ 0 h 2199704"/>
              <a:gd name="connsiteX2" fmla="*/ 1905000 w 1905000"/>
              <a:gd name="connsiteY2" fmla="*/ 1099852 h 2199704"/>
              <a:gd name="connsiteX3" fmla="*/ 1270000 w 1905000"/>
              <a:gd name="connsiteY3" fmla="*/ 2199704 h 2199704"/>
              <a:gd name="connsiteX0" fmla="*/ 0 w 1905000"/>
              <a:gd name="connsiteY0" fmla="*/ 0 h 1099852"/>
              <a:gd name="connsiteX1" fmla="*/ 1270000 w 1905000"/>
              <a:gd name="connsiteY1" fmla="*/ 0 h 1099852"/>
              <a:gd name="connsiteX2" fmla="*/ 1905000 w 1905000"/>
              <a:gd name="connsiteY2" fmla="*/ 1099852 h 1099852"/>
            </a:gdLst>
            <a:ahLst/>
            <a:cxnLst>
              <a:cxn ang="0">
                <a:pos x="connsiteX0" y="connsiteY0"/>
              </a:cxn>
              <a:cxn ang="0">
                <a:pos x="connsiteX1" y="connsiteY1"/>
              </a:cxn>
              <a:cxn ang="0">
                <a:pos x="connsiteX2" y="connsiteY2"/>
              </a:cxn>
            </a:cxnLst>
            <a:rect l="l" t="t" r="r" b="b"/>
            <a:pathLst>
              <a:path w="1905000" h="1099852">
                <a:moveTo>
                  <a:pt x="0" y="0"/>
                </a:moveTo>
                <a:lnTo>
                  <a:pt x="1270000" y="0"/>
                </a:lnTo>
                <a:lnTo>
                  <a:pt x="1905000" y="1099852"/>
                </a:lnTo>
              </a:path>
            </a:pathLst>
          </a:custGeom>
          <a:noFill/>
          <a:ln w="17716" cap="rnd">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85039" tIns="42520" rIns="85039" bIns="42520" rtlCol="0" anchor="ctr"/>
          <a:lstStyle/>
          <a:p>
            <a:pPr algn="l"/>
            <a:endParaRPr lang="zh-CN" altLang="en-US" sz="1488">
              <a:solidFill>
                <a:schemeClr val="bg1"/>
              </a:solidFill>
              <a:latin typeface="+mj-ea"/>
              <a:ea typeface="+mj-ea"/>
            </a:endParaRPr>
          </a:p>
        </p:txBody>
      </p:sp>
      <p:sp>
        <p:nvSpPr>
          <p:cNvPr id="63" name="文本框 62">
            <a:extLst>
              <a:ext uri="{FF2B5EF4-FFF2-40B4-BE49-F238E27FC236}">
                <a16:creationId xmlns:a16="http://schemas.microsoft.com/office/drawing/2014/main" id="{92E57B2F-2B4C-4DFC-90FF-C43C9115AB00}"/>
              </a:ext>
            </a:extLst>
          </p:cNvPr>
          <p:cNvSpPr txBox="1"/>
          <p:nvPr/>
        </p:nvSpPr>
        <p:spPr>
          <a:xfrm>
            <a:off x="9543898" y="3257762"/>
            <a:ext cx="1192633" cy="286233"/>
          </a:xfrm>
          <a:prstGeom prst="rect">
            <a:avLst/>
          </a:prstGeom>
          <a:noFill/>
          <a:effectLst/>
        </p:spPr>
        <p:txBody>
          <a:bodyPr wrap="none" lIns="0" tIns="0" rIns="0" bIns="0" rtlCol="0" anchor="t">
            <a:spAutoFit/>
          </a:bodyPr>
          <a:lstStyle/>
          <a:p>
            <a:r>
              <a:rPr lang="zh-CN" altLang="en-US" sz="1860" dirty="0">
                <a:solidFill>
                  <a:schemeClr val="accent1"/>
                </a:solidFill>
                <a:latin typeface="+mj-ea"/>
                <a:ea typeface="+mj-ea"/>
              </a:rPr>
              <a:t>关键词标题</a:t>
            </a:r>
          </a:p>
        </p:txBody>
      </p:sp>
      <p:sp>
        <p:nvSpPr>
          <p:cNvPr id="64" name="文本框 63">
            <a:extLst>
              <a:ext uri="{FF2B5EF4-FFF2-40B4-BE49-F238E27FC236}">
                <a16:creationId xmlns:a16="http://schemas.microsoft.com/office/drawing/2014/main" id="{92FF52BF-14C7-42BF-9C5F-4C4F56F98E6E}"/>
              </a:ext>
            </a:extLst>
          </p:cNvPr>
          <p:cNvSpPr txBox="1"/>
          <p:nvPr/>
        </p:nvSpPr>
        <p:spPr>
          <a:xfrm>
            <a:off x="9529405" y="3543993"/>
            <a:ext cx="2406784" cy="432271"/>
          </a:xfrm>
          <a:prstGeom prst="rect">
            <a:avLst/>
          </a:prstGeom>
          <a:noFill/>
          <a:effectLst/>
        </p:spPr>
        <p:txBody>
          <a:bodyPr wrap="square" lIns="0" tIns="0" rIns="0" bIns="0" rtlCol="0" anchor="t">
            <a:spAutoFit/>
          </a:bodyPr>
          <a:lstStyle/>
          <a:p>
            <a:pPr>
              <a:lnSpc>
                <a:spcPct val="130000"/>
              </a:lnSpc>
            </a:pPr>
            <a:r>
              <a:rPr lang="en-US" altLang="zh-CN" sz="1116" b="0" dirty="0">
                <a:solidFill>
                  <a:schemeClr val="tx1">
                    <a:lumMod val="75000"/>
                    <a:lumOff val="25000"/>
                  </a:schemeClr>
                </a:solidFill>
                <a:effectLst/>
                <a:latin typeface="+mn-ea"/>
              </a:rPr>
              <a:t>Lorem ipsum dolor onsectetur adipisicing elit</a:t>
            </a:r>
            <a:r>
              <a:rPr lang="en-US" altLang="zh-CN" sz="1116" dirty="0">
                <a:solidFill>
                  <a:schemeClr val="tx1">
                    <a:lumMod val="75000"/>
                    <a:lumOff val="25000"/>
                  </a:schemeClr>
                </a:solidFill>
                <a:latin typeface="+mn-ea"/>
              </a:rPr>
              <a:t> </a:t>
            </a:r>
            <a:r>
              <a:rPr lang="en-US" altLang="zh-CN" sz="1116" b="0" dirty="0">
                <a:solidFill>
                  <a:schemeClr val="tx1">
                    <a:lumMod val="75000"/>
                    <a:lumOff val="25000"/>
                  </a:schemeClr>
                </a:solidFill>
                <a:effectLst/>
                <a:latin typeface="+mn-ea"/>
              </a:rPr>
              <a:t>sed do eiusmod</a:t>
            </a:r>
            <a:endParaRPr lang="zh-CN" altLang="en-US" sz="1116" b="0" dirty="0">
              <a:solidFill>
                <a:schemeClr val="tx1">
                  <a:lumMod val="75000"/>
                  <a:lumOff val="25000"/>
                </a:schemeClr>
              </a:solidFill>
              <a:effectLst/>
              <a:latin typeface="+mn-ea"/>
            </a:endParaRPr>
          </a:p>
        </p:txBody>
      </p:sp>
      <p:cxnSp>
        <p:nvCxnSpPr>
          <p:cNvPr id="66" name="直接连接符 65">
            <a:extLst>
              <a:ext uri="{FF2B5EF4-FFF2-40B4-BE49-F238E27FC236}">
                <a16:creationId xmlns:a16="http://schemas.microsoft.com/office/drawing/2014/main" id="{49A5D5EE-E58F-44BE-902E-6183E51B93AF}"/>
              </a:ext>
            </a:extLst>
          </p:cNvPr>
          <p:cNvCxnSpPr/>
          <p:nvPr/>
        </p:nvCxnSpPr>
        <p:spPr>
          <a:xfrm>
            <a:off x="7296221" y="3613512"/>
            <a:ext cx="975785" cy="0"/>
          </a:xfrm>
          <a:prstGeom prst="line">
            <a:avLst/>
          </a:prstGeom>
          <a:noFill/>
          <a:ln w="11811">
            <a:solidFill>
              <a:schemeClr val="accent1"/>
            </a:solidFill>
            <a:prstDash val="lgDash"/>
          </a:ln>
          <a:effectLst/>
        </p:spPr>
        <p:style>
          <a:lnRef idx="2">
            <a:schemeClr val="accent1">
              <a:shade val="50000"/>
            </a:schemeClr>
          </a:lnRef>
          <a:fillRef idx="1">
            <a:schemeClr val="accent1"/>
          </a:fillRef>
          <a:effectRef idx="0">
            <a:schemeClr val="accent1"/>
          </a:effectRef>
          <a:fontRef idx="minor">
            <a:schemeClr val="lt1"/>
          </a:fontRef>
        </p:style>
      </p:cxnSp>
      <p:sp>
        <p:nvSpPr>
          <p:cNvPr id="67" name="椭圆 66">
            <a:extLst>
              <a:ext uri="{FF2B5EF4-FFF2-40B4-BE49-F238E27FC236}">
                <a16:creationId xmlns:a16="http://schemas.microsoft.com/office/drawing/2014/main" id="{77AFA7D1-2E7C-4C87-99AA-5421569BF1E4}"/>
              </a:ext>
            </a:extLst>
          </p:cNvPr>
          <p:cNvSpPr/>
          <p:nvPr>
            <p:custDataLst>
              <p:tags r:id="rId5"/>
            </p:custDataLst>
          </p:nvPr>
        </p:nvSpPr>
        <p:spPr>
          <a:xfrm>
            <a:off x="6662040" y="5679526"/>
            <a:ext cx="65210" cy="65210"/>
          </a:xfrm>
          <a:prstGeom prst="ellipse">
            <a:avLst/>
          </a:prstGeom>
          <a:solidFill>
            <a:schemeClr val="bg1"/>
          </a:solidFill>
          <a:ln>
            <a:noFill/>
          </a:ln>
          <a:effectLst>
            <a:outerShdw blurRad="23622" sx="102000" sy="102000" algn="ctr" rotWithShape="0">
              <a:schemeClr val="accent1">
                <a:lumMod val="20000"/>
                <a:lumOff val="80000"/>
                <a:alpha val="89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85039" tIns="42520" rIns="85039" bIns="42520" rtlCol="0" anchor="ctr"/>
          <a:lstStyle/>
          <a:p>
            <a:pPr algn="l"/>
            <a:endParaRPr lang="zh-CN" altLang="en-US" sz="1488">
              <a:solidFill>
                <a:schemeClr val="bg1"/>
              </a:solidFill>
              <a:latin typeface="+mj-ea"/>
              <a:ea typeface="+mj-ea"/>
            </a:endParaRPr>
          </a:p>
        </p:txBody>
      </p:sp>
      <p:sp>
        <p:nvSpPr>
          <p:cNvPr id="68" name="任意多边形: 形状 67">
            <a:extLst>
              <a:ext uri="{FF2B5EF4-FFF2-40B4-BE49-F238E27FC236}">
                <a16:creationId xmlns:a16="http://schemas.microsoft.com/office/drawing/2014/main" id="{CA30BA23-D5E0-4628-9905-7370CBADF248}"/>
              </a:ext>
            </a:extLst>
          </p:cNvPr>
          <p:cNvSpPr/>
          <p:nvPr/>
        </p:nvSpPr>
        <p:spPr>
          <a:xfrm flipV="1">
            <a:off x="6715119" y="4693457"/>
            <a:ext cx="1162202" cy="496062"/>
          </a:xfrm>
          <a:custGeom>
            <a:avLst/>
            <a:gdLst>
              <a:gd name="connsiteX0" fmla="*/ 0 w 1249680"/>
              <a:gd name="connsiteY0" fmla="*/ 533400 h 533400"/>
              <a:gd name="connsiteX1" fmla="*/ 533400 w 1249680"/>
              <a:gd name="connsiteY1" fmla="*/ 0 h 533400"/>
              <a:gd name="connsiteX2" fmla="*/ 1249680 w 1249680"/>
              <a:gd name="connsiteY2" fmla="*/ 0 h 533400"/>
            </a:gdLst>
            <a:ahLst/>
            <a:cxnLst>
              <a:cxn ang="0">
                <a:pos x="connsiteX0" y="connsiteY0"/>
              </a:cxn>
              <a:cxn ang="0">
                <a:pos x="connsiteX1" y="connsiteY1"/>
              </a:cxn>
              <a:cxn ang="0">
                <a:pos x="connsiteX2" y="connsiteY2"/>
              </a:cxn>
            </a:cxnLst>
            <a:rect l="l" t="t" r="r" b="b"/>
            <a:pathLst>
              <a:path w="1249680" h="533400">
                <a:moveTo>
                  <a:pt x="0" y="533400"/>
                </a:moveTo>
                <a:lnTo>
                  <a:pt x="533400" y="0"/>
                </a:lnTo>
                <a:lnTo>
                  <a:pt x="1249680" y="0"/>
                </a:lnTo>
              </a:path>
            </a:pathLst>
          </a:custGeom>
          <a:noFill/>
          <a:ln w="11811">
            <a:solidFill>
              <a:schemeClr val="accent1"/>
            </a:solidFill>
            <a:prstDash val="lgDash"/>
          </a:ln>
          <a:effectLst/>
        </p:spPr>
        <p:style>
          <a:lnRef idx="2">
            <a:schemeClr val="accent1">
              <a:shade val="50000"/>
            </a:schemeClr>
          </a:lnRef>
          <a:fillRef idx="1">
            <a:schemeClr val="accent1"/>
          </a:fillRef>
          <a:effectRef idx="0">
            <a:schemeClr val="accent1"/>
          </a:effectRef>
          <a:fontRef idx="minor">
            <a:schemeClr val="lt1"/>
          </a:fontRef>
        </p:style>
        <p:txBody>
          <a:bodyPr lIns="85039" tIns="42520" rIns="85039" bIns="42520" rtlCol="0" anchor="ctr"/>
          <a:lstStyle/>
          <a:p>
            <a:pPr algn="ctr"/>
            <a:endParaRPr lang="zh-CN" altLang="en-US" sz="1674"/>
          </a:p>
        </p:txBody>
      </p:sp>
      <p:sp>
        <p:nvSpPr>
          <p:cNvPr id="70" name="任意多边形: 形状 69">
            <a:extLst>
              <a:ext uri="{FF2B5EF4-FFF2-40B4-BE49-F238E27FC236}">
                <a16:creationId xmlns:a16="http://schemas.microsoft.com/office/drawing/2014/main" id="{A34DA4A1-B3DE-4178-8CC2-0731770B71A3}"/>
              </a:ext>
            </a:extLst>
          </p:cNvPr>
          <p:cNvSpPr/>
          <p:nvPr/>
        </p:nvSpPr>
        <p:spPr>
          <a:xfrm>
            <a:off x="7949895" y="4744862"/>
            <a:ext cx="1026892" cy="889314"/>
          </a:xfrm>
          <a:custGeom>
            <a:avLst/>
            <a:gdLst>
              <a:gd name="connsiteX0" fmla="*/ 2540000 w 2540000"/>
              <a:gd name="connsiteY0" fmla="*/ 1099852 h 2199704"/>
              <a:gd name="connsiteX1" fmla="*/ 1905000 w 2540000"/>
              <a:gd name="connsiteY1" fmla="*/ 2199704 h 2199704"/>
              <a:gd name="connsiteX2" fmla="*/ 635000 w 2540000"/>
              <a:gd name="connsiteY2" fmla="*/ 2199704 h 2199704"/>
              <a:gd name="connsiteX3" fmla="*/ 0 w 2540000"/>
              <a:gd name="connsiteY3" fmla="*/ 1099852 h 2199704"/>
              <a:gd name="connsiteX4" fmla="*/ 635000 w 2540000"/>
              <a:gd name="connsiteY4" fmla="*/ 0 h 2199704"/>
              <a:gd name="connsiteX5" fmla="*/ 1905000 w 2540000"/>
              <a:gd name="connsiteY5" fmla="*/ 0 h 2199704"/>
              <a:gd name="connsiteX6" fmla="*/ 2540000 w 2540000"/>
              <a:gd name="connsiteY6" fmla="*/ 1099852 h 21997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40000" h="2199704">
                <a:moveTo>
                  <a:pt x="2540000" y="1099852"/>
                </a:moveTo>
                <a:lnTo>
                  <a:pt x="1905000" y="2199704"/>
                </a:lnTo>
                <a:lnTo>
                  <a:pt x="635000" y="2199704"/>
                </a:lnTo>
                <a:lnTo>
                  <a:pt x="0" y="1099852"/>
                </a:lnTo>
                <a:lnTo>
                  <a:pt x="635000" y="0"/>
                </a:lnTo>
                <a:lnTo>
                  <a:pt x="1905000" y="0"/>
                </a:lnTo>
                <a:lnTo>
                  <a:pt x="2540000" y="1099852"/>
                </a:lnTo>
                <a:close/>
              </a:path>
            </a:pathLst>
          </a:custGeom>
          <a:solidFill>
            <a:schemeClr val="accent1">
              <a:alpha val="1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85039" tIns="42520" rIns="85039" bIns="42520" rtlCol="0" anchor="ctr"/>
          <a:lstStyle/>
          <a:p>
            <a:pPr algn="l"/>
            <a:endParaRPr lang="zh-CN" altLang="en-US" sz="1488">
              <a:solidFill>
                <a:schemeClr val="bg1"/>
              </a:solidFill>
              <a:latin typeface="+mj-ea"/>
              <a:ea typeface="+mj-ea"/>
            </a:endParaRPr>
          </a:p>
        </p:txBody>
      </p:sp>
      <p:sp>
        <p:nvSpPr>
          <p:cNvPr id="71" name="任意多边形: 形状 70">
            <a:extLst>
              <a:ext uri="{FF2B5EF4-FFF2-40B4-BE49-F238E27FC236}">
                <a16:creationId xmlns:a16="http://schemas.microsoft.com/office/drawing/2014/main" id="{7C7C1A1E-CF73-4522-9401-F4CF02AA11D1}"/>
              </a:ext>
            </a:extLst>
          </p:cNvPr>
          <p:cNvSpPr/>
          <p:nvPr/>
        </p:nvSpPr>
        <p:spPr>
          <a:xfrm>
            <a:off x="7986688" y="4776725"/>
            <a:ext cx="953310" cy="825589"/>
          </a:xfrm>
          <a:custGeom>
            <a:avLst/>
            <a:gdLst>
              <a:gd name="connsiteX0" fmla="*/ 2540000 w 2540000"/>
              <a:gd name="connsiteY0" fmla="*/ 1099852 h 2199704"/>
              <a:gd name="connsiteX1" fmla="*/ 1905000 w 2540000"/>
              <a:gd name="connsiteY1" fmla="*/ 2199704 h 2199704"/>
              <a:gd name="connsiteX2" fmla="*/ 635000 w 2540000"/>
              <a:gd name="connsiteY2" fmla="*/ 2199704 h 2199704"/>
              <a:gd name="connsiteX3" fmla="*/ 0 w 2540000"/>
              <a:gd name="connsiteY3" fmla="*/ 1099852 h 2199704"/>
              <a:gd name="connsiteX4" fmla="*/ 635000 w 2540000"/>
              <a:gd name="connsiteY4" fmla="*/ 0 h 2199704"/>
              <a:gd name="connsiteX5" fmla="*/ 1905000 w 2540000"/>
              <a:gd name="connsiteY5" fmla="*/ 0 h 2199704"/>
              <a:gd name="connsiteX6" fmla="*/ 2540000 w 2540000"/>
              <a:gd name="connsiteY6" fmla="*/ 1099852 h 21997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40000" h="2199704">
                <a:moveTo>
                  <a:pt x="2540000" y="1099852"/>
                </a:moveTo>
                <a:lnTo>
                  <a:pt x="1905000" y="2199704"/>
                </a:lnTo>
                <a:lnTo>
                  <a:pt x="635000" y="2199704"/>
                </a:lnTo>
                <a:lnTo>
                  <a:pt x="0" y="1099852"/>
                </a:lnTo>
                <a:lnTo>
                  <a:pt x="635000" y="0"/>
                </a:lnTo>
                <a:lnTo>
                  <a:pt x="1905000" y="0"/>
                </a:lnTo>
                <a:lnTo>
                  <a:pt x="2540000" y="1099852"/>
                </a:lnTo>
                <a:close/>
              </a:path>
            </a:pathLst>
          </a:custGeom>
          <a:noFill/>
          <a:ln w="11811">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85039" tIns="42520" rIns="85039" bIns="42520" rtlCol="0" anchor="ctr"/>
          <a:lstStyle/>
          <a:p>
            <a:pPr algn="l"/>
            <a:endParaRPr lang="zh-CN" altLang="en-US" sz="1488">
              <a:solidFill>
                <a:schemeClr val="bg1"/>
              </a:solidFill>
              <a:latin typeface="+mj-ea"/>
              <a:ea typeface="+mj-ea"/>
            </a:endParaRPr>
          </a:p>
        </p:txBody>
      </p:sp>
      <p:sp>
        <p:nvSpPr>
          <p:cNvPr id="72" name="任意多边形: 形状 71">
            <a:extLst>
              <a:ext uri="{FF2B5EF4-FFF2-40B4-BE49-F238E27FC236}">
                <a16:creationId xmlns:a16="http://schemas.microsoft.com/office/drawing/2014/main" id="{B299032B-5F86-4584-BD73-E38637551162}"/>
              </a:ext>
            </a:extLst>
          </p:cNvPr>
          <p:cNvSpPr/>
          <p:nvPr/>
        </p:nvSpPr>
        <p:spPr>
          <a:xfrm>
            <a:off x="8675141" y="4740435"/>
            <a:ext cx="80475" cy="46463"/>
          </a:xfrm>
          <a:custGeom>
            <a:avLst/>
            <a:gdLst>
              <a:gd name="connsiteX0" fmla="*/ 2540000 w 2540000"/>
              <a:gd name="connsiteY0" fmla="*/ 1099852 h 2199704"/>
              <a:gd name="connsiteX1" fmla="*/ 1905000 w 2540000"/>
              <a:gd name="connsiteY1" fmla="*/ 2199704 h 2199704"/>
              <a:gd name="connsiteX2" fmla="*/ 635000 w 2540000"/>
              <a:gd name="connsiteY2" fmla="*/ 2199704 h 2199704"/>
              <a:gd name="connsiteX3" fmla="*/ 0 w 2540000"/>
              <a:gd name="connsiteY3" fmla="*/ 1099852 h 2199704"/>
              <a:gd name="connsiteX4" fmla="*/ 635000 w 2540000"/>
              <a:gd name="connsiteY4" fmla="*/ 0 h 2199704"/>
              <a:gd name="connsiteX5" fmla="*/ 1905000 w 2540000"/>
              <a:gd name="connsiteY5" fmla="*/ 0 h 2199704"/>
              <a:gd name="connsiteX6" fmla="*/ 2540000 w 2540000"/>
              <a:gd name="connsiteY6" fmla="*/ 1099852 h 2199704"/>
              <a:gd name="connsiteX0" fmla="*/ 0 w 2540000"/>
              <a:gd name="connsiteY0" fmla="*/ 1099852 h 2199704"/>
              <a:gd name="connsiteX1" fmla="*/ 635000 w 2540000"/>
              <a:gd name="connsiteY1" fmla="*/ 0 h 2199704"/>
              <a:gd name="connsiteX2" fmla="*/ 1905000 w 2540000"/>
              <a:gd name="connsiteY2" fmla="*/ 0 h 2199704"/>
              <a:gd name="connsiteX3" fmla="*/ 2540000 w 2540000"/>
              <a:gd name="connsiteY3" fmla="*/ 1099852 h 2199704"/>
              <a:gd name="connsiteX4" fmla="*/ 1905000 w 2540000"/>
              <a:gd name="connsiteY4" fmla="*/ 2199704 h 2199704"/>
              <a:gd name="connsiteX5" fmla="*/ 635000 w 2540000"/>
              <a:gd name="connsiteY5" fmla="*/ 2199704 h 2199704"/>
              <a:gd name="connsiteX6" fmla="*/ 226579 w 2540000"/>
              <a:gd name="connsiteY6" fmla="*/ 1326431 h 2199704"/>
              <a:gd name="connsiteX0" fmla="*/ 408421 w 2313421"/>
              <a:gd name="connsiteY0" fmla="*/ 0 h 2199704"/>
              <a:gd name="connsiteX1" fmla="*/ 1678421 w 2313421"/>
              <a:gd name="connsiteY1" fmla="*/ 0 h 2199704"/>
              <a:gd name="connsiteX2" fmla="*/ 2313421 w 2313421"/>
              <a:gd name="connsiteY2" fmla="*/ 1099852 h 2199704"/>
              <a:gd name="connsiteX3" fmla="*/ 1678421 w 2313421"/>
              <a:gd name="connsiteY3" fmla="*/ 2199704 h 2199704"/>
              <a:gd name="connsiteX4" fmla="*/ 408421 w 2313421"/>
              <a:gd name="connsiteY4" fmla="*/ 2199704 h 2199704"/>
              <a:gd name="connsiteX5" fmla="*/ 0 w 2313421"/>
              <a:gd name="connsiteY5" fmla="*/ 1326431 h 2199704"/>
              <a:gd name="connsiteX0" fmla="*/ 0 w 1905000"/>
              <a:gd name="connsiteY0" fmla="*/ 0 h 2199704"/>
              <a:gd name="connsiteX1" fmla="*/ 1270000 w 1905000"/>
              <a:gd name="connsiteY1" fmla="*/ 0 h 2199704"/>
              <a:gd name="connsiteX2" fmla="*/ 1905000 w 1905000"/>
              <a:gd name="connsiteY2" fmla="*/ 1099852 h 2199704"/>
              <a:gd name="connsiteX3" fmla="*/ 1270000 w 1905000"/>
              <a:gd name="connsiteY3" fmla="*/ 2199704 h 2199704"/>
              <a:gd name="connsiteX4" fmla="*/ 0 w 1905000"/>
              <a:gd name="connsiteY4" fmla="*/ 2199704 h 2199704"/>
              <a:gd name="connsiteX0" fmla="*/ 0 w 1905000"/>
              <a:gd name="connsiteY0" fmla="*/ 0 h 2199704"/>
              <a:gd name="connsiteX1" fmla="*/ 1270000 w 1905000"/>
              <a:gd name="connsiteY1" fmla="*/ 0 h 2199704"/>
              <a:gd name="connsiteX2" fmla="*/ 1905000 w 1905000"/>
              <a:gd name="connsiteY2" fmla="*/ 1099852 h 2199704"/>
              <a:gd name="connsiteX3" fmla="*/ 1270000 w 1905000"/>
              <a:gd name="connsiteY3" fmla="*/ 2199704 h 2199704"/>
              <a:gd name="connsiteX0" fmla="*/ 0 w 1905000"/>
              <a:gd name="connsiteY0" fmla="*/ 0 h 1099852"/>
              <a:gd name="connsiteX1" fmla="*/ 1270000 w 1905000"/>
              <a:gd name="connsiteY1" fmla="*/ 0 h 1099852"/>
              <a:gd name="connsiteX2" fmla="*/ 1905000 w 1905000"/>
              <a:gd name="connsiteY2" fmla="*/ 1099852 h 1099852"/>
            </a:gdLst>
            <a:ahLst/>
            <a:cxnLst>
              <a:cxn ang="0">
                <a:pos x="connsiteX0" y="connsiteY0"/>
              </a:cxn>
              <a:cxn ang="0">
                <a:pos x="connsiteX1" y="connsiteY1"/>
              </a:cxn>
              <a:cxn ang="0">
                <a:pos x="connsiteX2" y="connsiteY2"/>
              </a:cxn>
            </a:cxnLst>
            <a:rect l="l" t="t" r="r" b="b"/>
            <a:pathLst>
              <a:path w="1905000" h="1099852">
                <a:moveTo>
                  <a:pt x="0" y="0"/>
                </a:moveTo>
                <a:lnTo>
                  <a:pt x="1270000" y="0"/>
                </a:lnTo>
                <a:lnTo>
                  <a:pt x="1905000" y="1099852"/>
                </a:lnTo>
              </a:path>
            </a:pathLst>
          </a:custGeom>
          <a:noFill/>
          <a:ln w="17716" cap="rnd">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85039" tIns="42520" rIns="85039" bIns="42520" rtlCol="0" anchor="ctr"/>
          <a:lstStyle/>
          <a:p>
            <a:pPr algn="l"/>
            <a:endParaRPr lang="zh-CN" altLang="en-US" sz="1488">
              <a:solidFill>
                <a:schemeClr val="bg1"/>
              </a:solidFill>
              <a:latin typeface="+mj-ea"/>
              <a:ea typeface="+mj-ea"/>
            </a:endParaRPr>
          </a:p>
        </p:txBody>
      </p:sp>
      <p:sp>
        <p:nvSpPr>
          <p:cNvPr id="73" name="任意多边形: 形状 72">
            <a:extLst>
              <a:ext uri="{FF2B5EF4-FFF2-40B4-BE49-F238E27FC236}">
                <a16:creationId xmlns:a16="http://schemas.microsoft.com/office/drawing/2014/main" id="{ECC5EC5E-A789-48F6-BC53-F5150916354D}"/>
              </a:ext>
            </a:extLst>
          </p:cNvPr>
          <p:cNvSpPr/>
          <p:nvPr/>
        </p:nvSpPr>
        <p:spPr>
          <a:xfrm flipH="1">
            <a:off x="8177413" y="4740435"/>
            <a:ext cx="80475" cy="46463"/>
          </a:xfrm>
          <a:custGeom>
            <a:avLst/>
            <a:gdLst>
              <a:gd name="connsiteX0" fmla="*/ 2540000 w 2540000"/>
              <a:gd name="connsiteY0" fmla="*/ 1099852 h 2199704"/>
              <a:gd name="connsiteX1" fmla="*/ 1905000 w 2540000"/>
              <a:gd name="connsiteY1" fmla="*/ 2199704 h 2199704"/>
              <a:gd name="connsiteX2" fmla="*/ 635000 w 2540000"/>
              <a:gd name="connsiteY2" fmla="*/ 2199704 h 2199704"/>
              <a:gd name="connsiteX3" fmla="*/ 0 w 2540000"/>
              <a:gd name="connsiteY3" fmla="*/ 1099852 h 2199704"/>
              <a:gd name="connsiteX4" fmla="*/ 635000 w 2540000"/>
              <a:gd name="connsiteY4" fmla="*/ 0 h 2199704"/>
              <a:gd name="connsiteX5" fmla="*/ 1905000 w 2540000"/>
              <a:gd name="connsiteY5" fmla="*/ 0 h 2199704"/>
              <a:gd name="connsiteX6" fmla="*/ 2540000 w 2540000"/>
              <a:gd name="connsiteY6" fmla="*/ 1099852 h 2199704"/>
              <a:gd name="connsiteX0" fmla="*/ 0 w 2540000"/>
              <a:gd name="connsiteY0" fmla="*/ 1099852 h 2199704"/>
              <a:gd name="connsiteX1" fmla="*/ 635000 w 2540000"/>
              <a:gd name="connsiteY1" fmla="*/ 0 h 2199704"/>
              <a:gd name="connsiteX2" fmla="*/ 1905000 w 2540000"/>
              <a:gd name="connsiteY2" fmla="*/ 0 h 2199704"/>
              <a:gd name="connsiteX3" fmla="*/ 2540000 w 2540000"/>
              <a:gd name="connsiteY3" fmla="*/ 1099852 h 2199704"/>
              <a:gd name="connsiteX4" fmla="*/ 1905000 w 2540000"/>
              <a:gd name="connsiteY4" fmla="*/ 2199704 h 2199704"/>
              <a:gd name="connsiteX5" fmla="*/ 635000 w 2540000"/>
              <a:gd name="connsiteY5" fmla="*/ 2199704 h 2199704"/>
              <a:gd name="connsiteX6" fmla="*/ 226579 w 2540000"/>
              <a:gd name="connsiteY6" fmla="*/ 1326431 h 2199704"/>
              <a:gd name="connsiteX0" fmla="*/ 408421 w 2313421"/>
              <a:gd name="connsiteY0" fmla="*/ 0 h 2199704"/>
              <a:gd name="connsiteX1" fmla="*/ 1678421 w 2313421"/>
              <a:gd name="connsiteY1" fmla="*/ 0 h 2199704"/>
              <a:gd name="connsiteX2" fmla="*/ 2313421 w 2313421"/>
              <a:gd name="connsiteY2" fmla="*/ 1099852 h 2199704"/>
              <a:gd name="connsiteX3" fmla="*/ 1678421 w 2313421"/>
              <a:gd name="connsiteY3" fmla="*/ 2199704 h 2199704"/>
              <a:gd name="connsiteX4" fmla="*/ 408421 w 2313421"/>
              <a:gd name="connsiteY4" fmla="*/ 2199704 h 2199704"/>
              <a:gd name="connsiteX5" fmla="*/ 0 w 2313421"/>
              <a:gd name="connsiteY5" fmla="*/ 1326431 h 2199704"/>
              <a:gd name="connsiteX0" fmla="*/ 0 w 1905000"/>
              <a:gd name="connsiteY0" fmla="*/ 0 h 2199704"/>
              <a:gd name="connsiteX1" fmla="*/ 1270000 w 1905000"/>
              <a:gd name="connsiteY1" fmla="*/ 0 h 2199704"/>
              <a:gd name="connsiteX2" fmla="*/ 1905000 w 1905000"/>
              <a:gd name="connsiteY2" fmla="*/ 1099852 h 2199704"/>
              <a:gd name="connsiteX3" fmla="*/ 1270000 w 1905000"/>
              <a:gd name="connsiteY3" fmla="*/ 2199704 h 2199704"/>
              <a:gd name="connsiteX4" fmla="*/ 0 w 1905000"/>
              <a:gd name="connsiteY4" fmla="*/ 2199704 h 2199704"/>
              <a:gd name="connsiteX0" fmla="*/ 0 w 1905000"/>
              <a:gd name="connsiteY0" fmla="*/ 0 h 2199704"/>
              <a:gd name="connsiteX1" fmla="*/ 1270000 w 1905000"/>
              <a:gd name="connsiteY1" fmla="*/ 0 h 2199704"/>
              <a:gd name="connsiteX2" fmla="*/ 1905000 w 1905000"/>
              <a:gd name="connsiteY2" fmla="*/ 1099852 h 2199704"/>
              <a:gd name="connsiteX3" fmla="*/ 1270000 w 1905000"/>
              <a:gd name="connsiteY3" fmla="*/ 2199704 h 2199704"/>
              <a:gd name="connsiteX0" fmla="*/ 0 w 1905000"/>
              <a:gd name="connsiteY0" fmla="*/ 0 h 1099852"/>
              <a:gd name="connsiteX1" fmla="*/ 1270000 w 1905000"/>
              <a:gd name="connsiteY1" fmla="*/ 0 h 1099852"/>
              <a:gd name="connsiteX2" fmla="*/ 1905000 w 1905000"/>
              <a:gd name="connsiteY2" fmla="*/ 1099852 h 1099852"/>
            </a:gdLst>
            <a:ahLst/>
            <a:cxnLst>
              <a:cxn ang="0">
                <a:pos x="connsiteX0" y="connsiteY0"/>
              </a:cxn>
              <a:cxn ang="0">
                <a:pos x="connsiteX1" y="connsiteY1"/>
              </a:cxn>
              <a:cxn ang="0">
                <a:pos x="connsiteX2" y="connsiteY2"/>
              </a:cxn>
            </a:cxnLst>
            <a:rect l="l" t="t" r="r" b="b"/>
            <a:pathLst>
              <a:path w="1905000" h="1099852">
                <a:moveTo>
                  <a:pt x="0" y="0"/>
                </a:moveTo>
                <a:lnTo>
                  <a:pt x="1270000" y="0"/>
                </a:lnTo>
                <a:lnTo>
                  <a:pt x="1905000" y="1099852"/>
                </a:lnTo>
              </a:path>
            </a:pathLst>
          </a:custGeom>
          <a:noFill/>
          <a:ln w="17716" cap="rnd">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85039" tIns="42520" rIns="85039" bIns="42520" rtlCol="0" anchor="ctr"/>
          <a:lstStyle/>
          <a:p>
            <a:pPr algn="l"/>
            <a:endParaRPr lang="zh-CN" altLang="en-US" sz="1488">
              <a:solidFill>
                <a:schemeClr val="bg1"/>
              </a:solidFill>
              <a:latin typeface="+mj-ea"/>
              <a:ea typeface="+mj-ea"/>
            </a:endParaRPr>
          </a:p>
        </p:txBody>
      </p:sp>
      <p:sp>
        <p:nvSpPr>
          <p:cNvPr id="74" name="任意多边形: 形状 73">
            <a:extLst>
              <a:ext uri="{FF2B5EF4-FFF2-40B4-BE49-F238E27FC236}">
                <a16:creationId xmlns:a16="http://schemas.microsoft.com/office/drawing/2014/main" id="{883A5D32-5647-4262-9CB5-E001BB2679BB}"/>
              </a:ext>
            </a:extLst>
          </p:cNvPr>
          <p:cNvSpPr/>
          <p:nvPr/>
        </p:nvSpPr>
        <p:spPr>
          <a:xfrm rot="18000000" flipH="1">
            <a:off x="7933109" y="5166786"/>
            <a:ext cx="80475" cy="46463"/>
          </a:xfrm>
          <a:custGeom>
            <a:avLst/>
            <a:gdLst>
              <a:gd name="connsiteX0" fmla="*/ 2540000 w 2540000"/>
              <a:gd name="connsiteY0" fmla="*/ 1099852 h 2199704"/>
              <a:gd name="connsiteX1" fmla="*/ 1905000 w 2540000"/>
              <a:gd name="connsiteY1" fmla="*/ 2199704 h 2199704"/>
              <a:gd name="connsiteX2" fmla="*/ 635000 w 2540000"/>
              <a:gd name="connsiteY2" fmla="*/ 2199704 h 2199704"/>
              <a:gd name="connsiteX3" fmla="*/ 0 w 2540000"/>
              <a:gd name="connsiteY3" fmla="*/ 1099852 h 2199704"/>
              <a:gd name="connsiteX4" fmla="*/ 635000 w 2540000"/>
              <a:gd name="connsiteY4" fmla="*/ 0 h 2199704"/>
              <a:gd name="connsiteX5" fmla="*/ 1905000 w 2540000"/>
              <a:gd name="connsiteY5" fmla="*/ 0 h 2199704"/>
              <a:gd name="connsiteX6" fmla="*/ 2540000 w 2540000"/>
              <a:gd name="connsiteY6" fmla="*/ 1099852 h 2199704"/>
              <a:gd name="connsiteX0" fmla="*/ 0 w 2540000"/>
              <a:gd name="connsiteY0" fmla="*/ 1099852 h 2199704"/>
              <a:gd name="connsiteX1" fmla="*/ 635000 w 2540000"/>
              <a:gd name="connsiteY1" fmla="*/ 0 h 2199704"/>
              <a:gd name="connsiteX2" fmla="*/ 1905000 w 2540000"/>
              <a:gd name="connsiteY2" fmla="*/ 0 h 2199704"/>
              <a:gd name="connsiteX3" fmla="*/ 2540000 w 2540000"/>
              <a:gd name="connsiteY3" fmla="*/ 1099852 h 2199704"/>
              <a:gd name="connsiteX4" fmla="*/ 1905000 w 2540000"/>
              <a:gd name="connsiteY4" fmla="*/ 2199704 h 2199704"/>
              <a:gd name="connsiteX5" fmla="*/ 635000 w 2540000"/>
              <a:gd name="connsiteY5" fmla="*/ 2199704 h 2199704"/>
              <a:gd name="connsiteX6" fmla="*/ 226579 w 2540000"/>
              <a:gd name="connsiteY6" fmla="*/ 1326431 h 2199704"/>
              <a:gd name="connsiteX0" fmla="*/ 408421 w 2313421"/>
              <a:gd name="connsiteY0" fmla="*/ 0 h 2199704"/>
              <a:gd name="connsiteX1" fmla="*/ 1678421 w 2313421"/>
              <a:gd name="connsiteY1" fmla="*/ 0 h 2199704"/>
              <a:gd name="connsiteX2" fmla="*/ 2313421 w 2313421"/>
              <a:gd name="connsiteY2" fmla="*/ 1099852 h 2199704"/>
              <a:gd name="connsiteX3" fmla="*/ 1678421 w 2313421"/>
              <a:gd name="connsiteY3" fmla="*/ 2199704 h 2199704"/>
              <a:gd name="connsiteX4" fmla="*/ 408421 w 2313421"/>
              <a:gd name="connsiteY4" fmla="*/ 2199704 h 2199704"/>
              <a:gd name="connsiteX5" fmla="*/ 0 w 2313421"/>
              <a:gd name="connsiteY5" fmla="*/ 1326431 h 2199704"/>
              <a:gd name="connsiteX0" fmla="*/ 0 w 1905000"/>
              <a:gd name="connsiteY0" fmla="*/ 0 h 2199704"/>
              <a:gd name="connsiteX1" fmla="*/ 1270000 w 1905000"/>
              <a:gd name="connsiteY1" fmla="*/ 0 h 2199704"/>
              <a:gd name="connsiteX2" fmla="*/ 1905000 w 1905000"/>
              <a:gd name="connsiteY2" fmla="*/ 1099852 h 2199704"/>
              <a:gd name="connsiteX3" fmla="*/ 1270000 w 1905000"/>
              <a:gd name="connsiteY3" fmla="*/ 2199704 h 2199704"/>
              <a:gd name="connsiteX4" fmla="*/ 0 w 1905000"/>
              <a:gd name="connsiteY4" fmla="*/ 2199704 h 2199704"/>
              <a:gd name="connsiteX0" fmla="*/ 0 w 1905000"/>
              <a:gd name="connsiteY0" fmla="*/ 0 h 2199704"/>
              <a:gd name="connsiteX1" fmla="*/ 1270000 w 1905000"/>
              <a:gd name="connsiteY1" fmla="*/ 0 h 2199704"/>
              <a:gd name="connsiteX2" fmla="*/ 1905000 w 1905000"/>
              <a:gd name="connsiteY2" fmla="*/ 1099852 h 2199704"/>
              <a:gd name="connsiteX3" fmla="*/ 1270000 w 1905000"/>
              <a:gd name="connsiteY3" fmla="*/ 2199704 h 2199704"/>
              <a:gd name="connsiteX0" fmla="*/ 0 w 1905000"/>
              <a:gd name="connsiteY0" fmla="*/ 0 h 1099852"/>
              <a:gd name="connsiteX1" fmla="*/ 1270000 w 1905000"/>
              <a:gd name="connsiteY1" fmla="*/ 0 h 1099852"/>
              <a:gd name="connsiteX2" fmla="*/ 1905000 w 1905000"/>
              <a:gd name="connsiteY2" fmla="*/ 1099852 h 1099852"/>
            </a:gdLst>
            <a:ahLst/>
            <a:cxnLst>
              <a:cxn ang="0">
                <a:pos x="connsiteX0" y="connsiteY0"/>
              </a:cxn>
              <a:cxn ang="0">
                <a:pos x="connsiteX1" y="connsiteY1"/>
              </a:cxn>
              <a:cxn ang="0">
                <a:pos x="connsiteX2" y="connsiteY2"/>
              </a:cxn>
            </a:cxnLst>
            <a:rect l="l" t="t" r="r" b="b"/>
            <a:pathLst>
              <a:path w="1905000" h="1099852">
                <a:moveTo>
                  <a:pt x="0" y="0"/>
                </a:moveTo>
                <a:lnTo>
                  <a:pt x="1270000" y="0"/>
                </a:lnTo>
                <a:lnTo>
                  <a:pt x="1905000" y="1099852"/>
                </a:lnTo>
              </a:path>
            </a:pathLst>
          </a:custGeom>
          <a:noFill/>
          <a:ln w="17716" cap="rnd">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85039" tIns="42520" rIns="85039" bIns="42520" rtlCol="0" anchor="ctr"/>
          <a:lstStyle/>
          <a:p>
            <a:pPr algn="l"/>
            <a:endParaRPr lang="zh-CN" altLang="en-US" sz="1488">
              <a:solidFill>
                <a:schemeClr val="bg1"/>
              </a:solidFill>
              <a:latin typeface="+mj-ea"/>
              <a:ea typeface="+mj-ea"/>
            </a:endParaRPr>
          </a:p>
        </p:txBody>
      </p:sp>
      <p:sp>
        <p:nvSpPr>
          <p:cNvPr id="75" name="任意多边形: 形状 74">
            <a:extLst>
              <a:ext uri="{FF2B5EF4-FFF2-40B4-BE49-F238E27FC236}">
                <a16:creationId xmlns:a16="http://schemas.microsoft.com/office/drawing/2014/main" id="{B15A3C1A-E309-4D52-A88A-A37B30613F82}"/>
              </a:ext>
            </a:extLst>
          </p:cNvPr>
          <p:cNvSpPr/>
          <p:nvPr/>
        </p:nvSpPr>
        <p:spPr>
          <a:xfrm flipH="1" flipV="1">
            <a:off x="8177413" y="5593041"/>
            <a:ext cx="80475" cy="46463"/>
          </a:xfrm>
          <a:custGeom>
            <a:avLst/>
            <a:gdLst>
              <a:gd name="connsiteX0" fmla="*/ 2540000 w 2540000"/>
              <a:gd name="connsiteY0" fmla="*/ 1099852 h 2199704"/>
              <a:gd name="connsiteX1" fmla="*/ 1905000 w 2540000"/>
              <a:gd name="connsiteY1" fmla="*/ 2199704 h 2199704"/>
              <a:gd name="connsiteX2" fmla="*/ 635000 w 2540000"/>
              <a:gd name="connsiteY2" fmla="*/ 2199704 h 2199704"/>
              <a:gd name="connsiteX3" fmla="*/ 0 w 2540000"/>
              <a:gd name="connsiteY3" fmla="*/ 1099852 h 2199704"/>
              <a:gd name="connsiteX4" fmla="*/ 635000 w 2540000"/>
              <a:gd name="connsiteY4" fmla="*/ 0 h 2199704"/>
              <a:gd name="connsiteX5" fmla="*/ 1905000 w 2540000"/>
              <a:gd name="connsiteY5" fmla="*/ 0 h 2199704"/>
              <a:gd name="connsiteX6" fmla="*/ 2540000 w 2540000"/>
              <a:gd name="connsiteY6" fmla="*/ 1099852 h 2199704"/>
              <a:gd name="connsiteX0" fmla="*/ 0 w 2540000"/>
              <a:gd name="connsiteY0" fmla="*/ 1099852 h 2199704"/>
              <a:gd name="connsiteX1" fmla="*/ 635000 w 2540000"/>
              <a:gd name="connsiteY1" fmla="*/ 0 h 2199704"/>
              <a:gd name="connsiteX2" fmla="*/ 1905000 w 2540000"/>
              <a:gd name="connsiteY2" fmla="*/ 0 h 2199704"/>
              <a:gd name="connsiteX3" fmla="*/ 2540000 w 2540000"/>
              <a:gd name="connsiteY3" fmla="*/ 1099852 h 2199704"/>
              <a:gd name="connsiteX4" fmla="*/ 1905000 w 2540000"/>
              <a:gd name="connsiteY4" fmla="*/ 2199704 h 2199704"/>
              <a:gd name="connsiteX5" fmla="*/ 635000 w 2540000"/>
              <a:gd name="connsiteY5" fmla="*/ 2199704 h 2199704"/>
              <a:gd name="connsiteX6" fmla="*/ 226579 w 2540000"/>
              <a:gd name="connsiteY6" fmla="*/ 1326431 h 2199704"/>
              <a:gd name="connsiteX0" fmla="*/ 408421 w 2313421"/>
              <a:gd name="connsiteY0" fmla="*/ 0 h 2199704"/>
              <a:gd name="connsiteX1" fmla="*/ 1678421 w 2313421"/>
              <a:gd name="connsiteY1" fmla="*/ 0 h 2199704"/>
              <a:gd name="connsiteX2" fmla="*/ 2313421 w 2313421"/>
              <a:gd name="connsiteY2" fmla="*/ 1099852 h 2199704"/>
              <a:gd name="connsiteX3" fmla="*/ 1678421 w 2313421"/>
              <a:gd name="connsiteY3" fmla="*/ 2199704 h 2199704"/>
              <a:gd name="connsiteX4" fmla="*/ 408421 w 2313421"/>
              <a:gd name="connsiteY4" fmla="*/ 2199704 h 2199704"/>
              <a:gd name="connsiteX5" fmla="*/ 0 w 2313421"/>
              <a:gd name="connsiteY5" fmla="*/ 1326431 h 2199704"/>
              <a:gd name="connsiteX0" fmla="*/ 0 w 1905000"/>
              <a:gd name="connsiteY0" fmla="*/ 0 h 2199704"/>
              <a:gd name="connsiteX1" fmla="*/ 1270000 w 1905000"/>
              <a:gd name="connsiteY1" fmla="*/ 0 h 2199704"/>
              <a:gd name="connsiteX2" fmla="*/ 1905000 w 1905000"/>
              <a:gd name="connsiteY2" fmla="*/ 1099852 h 2199704"/>
              <a:gd name="connsiteX3" fmla="*/ 1270000 w 1905000"/>
              <a:gd name="connsiteY3" fmla="*/ 2199704 h 2199704"/>
              <a:gd name="connsiteX4" fmla="*/ 0 w 1905000"/>
              <a:gd name="connsiteY4" fmla="*/ 2199704 h 2199704"/>
              <a:gd name="connsiteX0" fmla="*/ 0 w 1905000"/>
              <a:gd name="connsiteY0" fmla="*/ 0 h 2199704"/>
              <a:gd name="connsiteX1" fmla="*/ 1270000 w 1905000"/>
              <a:gd name="connsiteY1" fmla="*/ 0 h 2199704"/>
              <a:gd name="connsiteX2" fmla="*/ 1905000 w 1905000"/>
              <a:gd name="connsiteY2" fmla="*/ 1099852 h 2199704"/>
              <a:gd name="connsiteX3" fmla="*/ 1270000 w 1905000"/>
              <a:gd name="connsiteY3" fmla="*/ 2199704 h 2199704"/>
              <a:gd name="connsiteX0" fmla="*/ 0 w 1905000"/>
              <a:gd name="connsiteY0" fmla="*/ 0 h 1099852"/>
              <a:gd name="connsiteX1" fmla="*/ 1270000 w 1905000"/>
              <a:gd name="connsiteY1" fmla="*/ 0 h 1099852"/>
              <a:gd name="connsiteX2" fmla="*/ 1905000 w 1905000"/>
              <a:gd name="connsiteY2" fmla="*/ 1099852 h 1099852"/>
            </a:gdLst>
            <a:ahLst/>
            <a:cxnLst>
              <a:cxn ang="0">
                <a:pos x="connsiteX0" y="connsiteY0"/>
              </a:cxn>
              <a:cxn ang="0">
                <a:pos x="connsiteX1" y="connsiteY1"/>
              </a:cxn>
              <a:cxn ang="0">
                <a:pos x="connsiteX2" y="connsiteY2"/>
              </a:cxn>
            </a:cxnLst>
            <a:rect l="l" t="t" r="r" b="b"/>
            <a:pathLst>
              <a:path w="1905000" h="1099852">
                <a:moveTo>
                  <a:pt x="0" y="0"/>
                </a:moveTo>
                <a:lnTo>
                  <a:pt x="1270000" y="0"/>
                </a:lnTo>
                <a:lnTo>
                  <a:pt x="1905000" y="1099852"/>
                </a:lnTo>
              </a:path>
            </a:pathLst>
          </a:custGeom>
          <a:noFill/>
          <a:ln w="17716" cap="rnd">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85039" tIns="42520" rIns="85039" bIns="42520" rtlCol="0" anchor="ctr"/>
          <a:lstStyle/>
          <a:p>
            <a:pPr algn="l"/>
            <a:endParaRPr lang="zh-CN" altLang="en-US" sz="1488">
              <a:solidFill>
                <a:schemeClr val="bg1"/>
              </a:solidFill>
              <a:latin typeface="+mj-ea"/>
              <a:ea typeface="+mj-ea"/>
            </a:endParaRPr>
          </a:p>
        </p:txBody>
      </p:sp>
      <p:sp>
        <p:nvSpPr>
          <p:cNvPr id="76" name="任意多边形: 形状 75">
            <a:extLst>
              <a:ext uri="{FF2B5EF4-FFF2-40B4-BE49-F238E27FC236}">
                <a16:creationId xmlns:a16="http://schemas.microsoft.com/office/drawing/2014/main" id="{55A7D3B5-93DD-48BB-AA0A-EC8C64B321B7}"/>
              </a:ext>
            </a:extLst>
          </p:cNvPr>
          <p:cNvSpPr/>
          <p:nvPr/>
        </p:nvSpPr>
        <p:spPr>
          <a:xfrm flipV="1">
            <a:off x="8673475" y="5593041"/>
            <a:ext cx="80475" cy="46463"/>
          </a:xfrm>
          <a:custGeom>
            <a:avLst/>
            <a:gdLst>
              <a:gd name="connsiteX0" fmla="*/ 2540000 w 2540000"/>
              <a:gd name="connsiteY0" fmla="*/ 1099852 h 2199704"/>
              <a:gd name="connsiteX1" fmla="*/ 1905000 w 2540000"/>
              <a:gd name="connsiteY1" fmla="*/ 2199704 h 2199704"/>
              <a:gd name="connsiteX2" fmla="*/ 635000 w 2540000"/>
              <a:gd name="connsiteY2" fmla="*/ 2199704 h 2199704"/>
              <a:gd name="connsiteX3" fmla="*/ 0 w 2540000"/>
              <a:gd name="connsiteY3" fmla="*/ 1099852 h 2199704"/>
              <a:gd name="connsiteX4" fmla="*/ 635000 w 2540000"/>
              <a:gd name="connsiteY4" fmla="*/ 0 h 2199704"/>
              <a:gd name="connsiteX5" fmla="*/ 1905000 w 2540000"/>
              <a:gd name="connsiteY5" fmla="*/ 0 h 2199704"/>
              <a:gd name="connsiteX6" fmla="*/ 2540000 w 2540000"/>
              <a:gd name="connsiteY6" fmla="*/ 1099852 h 2199704"/>
              <a:gd name="connsiteX0" fmla="*/ 0 w 2540000"/>
              <a:gd name="connsiteY0" fmla="*/ 1099852 h 2199704"/>
              <a:gd name="connsiteX1" fmla="*/ 635000 w 2540000"/>
              <a:gd name="connsiteY1" fmla="*/ 0 h 2199704"/>
              <a:gd name="connsiteX2" fmla="*/ 1905000 w 2540000"/>
              <a:gd name="connsiteY2" fmla="*/ 0 h 2199704"/>
              <a:gd name="connsiteX3" fmla="*/ 2540000 w 2540000"/>
              <a:gd name="connsiteY3" fmla="*/ 1099852 h 2199704"/>
              <a:gd name="connsiteX4" fmla="*/ 1905000 w 2540000"/>
              <a:gd name="connsiteY4" fmla="*/ 2199704 h 2199704"/>
              <a:gd name="connsiteX5" fmla="*/ 635000 w 2540000"/>
              <a:gd name="connsiteY5" fmla="*/ 2199704 h 2199704"/>
              <a:gd name="connsiteX6" fmla="*/ 226579 w 2540000"/>
              <a:gd name="connsiteY6" fmla="*/ 1326431 h 2199704"/>
              <a:gd name="connsiteX0" fmla="*/ 408421 w 2313421"/>
              <a:gd name="connsiteY0" fmla="*/ 0 h 2199704"/>
              <a:gd name="connsiteX1" fmla="*/ 1678421 w 2313421"/>
              <a:gd name="connsiteY1" fmla="*/ 0 h 2199704"/>
              <a:gd name="connsiteX2" fmla="*/ 2313421 w 2313421"/>
              <a:gd name="connsiteY2" fmla="*/ 1099852 h 2199704"/>
              <a:gd name="connsiteX3" fmla="*/ 1678421 w 2313421"/>
              <a:gd name="connsiteY3" fmla="*/ 2199704 h 2199704"/>
              <a:gd name="connsiteX4" fmla="*/ 408421 w 2313421"/>
              <a:gd name="connsiteY4" fmla="*/ 2199704 h 2199704"/>
              <a:gd name="connsiteX5" fmla="*/ 0 w 2313421"/>
              <a:gd name="connsiteY5" fmla="*/ 1326431 h 2199704"/>
              <a:gd name="connsiteX0" fmla="*/ 0 w 1905000"/>
              <a:gd name="connsiteY0" fmla="*/ 0 h 2199704"/>
              <a:gd name="connsiteX1" fmla="*/ 1270000 w 1905000"/>
              <a:gd name="connsiteY1" fmla="*/ 0 h 2199704"/>
              <a:gd name="connsiteX2" fmla="*/ 1905000 w 1905000"/>
              <a:gd name="connsiteY2" fmla="*/ 1099852 h 2199704"/>
              <a:gd name="connsiteX3" fmla="*/ 1270000 w 1905000"/>
              <a:gd name="connsiteY3" fmla="*/ 2199704 h 2199704"/>
              <a:gd name="connsiteX4" fmla="*/ 0 w 1905000"/>
              <a:gd name="connsiteY4" fmla="*/ 2199704 h 2199704"/>
              <a:gd name="connsiteX0" fmla="*/ 0 w 1905000"/>
              <a:gd name="connsiteY0" fmla="*/ 0 h 2199704"/>
              <a:gd name="connsiteX1" fmla="*/ 1270000 w 1905000"/>
              <a:gd name="connsiteY1" fmla="*/ 0 h 2199704"/>
              <a:gd name="connsiteX2" fmla="*/ 1905000 w 1905000"/>
              <a:gd name="connsiteY2" fmla="*/ 1099852 h 2199704"/>
              <a:gd name="connsiteX3" fmla="*/ 1270000 w 1905000"/>
              <a:gd name="connsiteY3" fmla="*/ 2199704 h 2199704"/>
              <a:gd name="connsiteX0" fmla="*/ 0 w 1905000"/>
              <a:gd name="connsiteY0" fmla="*/ 0 h 1099852"/>
              <a:gd name="connsiteX1" fmla="*/ 1270000 w 1905000"/>
              <a:gd name="connsiteY1" fmla="*/ 0 h 1099852"/>
              <a:gd name="connsiteX2" fmla="*/ 1905000 w 1905000"/>
              <a:gd name="connsiteY2" fmla="*/ 1099852 h 1099852"/>
            </a:gdLst>
            <a:ahLst/>
            <a:cxnLst>
              <a:cxn ang="0">
                <a:pos x="connsiteX0" y="connsiteY0"/>
              </a:cxn>
              <a:cxn ang="0">
                <a:pos x="connsiteX1" y="connsiteY1"/>
              </a:cxn>
              <a:cxn ang="0">
                <a:pos x="connsiteX2" y="connsiteY2"/>
              </a:cxn>
            </a:cxnLst>
            <a:rect l="l" t="t" r="r" b="b"/>
            <a:pathLst>
              <a:path w="1905000" h="1099852">
                <a:moveTo>
                  <a:pt x="0" y="0"/>
                </a:moveTo>
                <a:lnTo>
                  <a:pt x="1270000" y="0"/>
                </a:lnTo>
                <a:lnTo>
                  <a:pt x="1905000" y="1099852"/>
                </a:lnTo>
              </a:path>
            </a:pathLst>
          </a:custGeom>
          <a:noFill/>
          <a:ln w="17716" cap="rnd">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85039" tIns="42520" rIns="85039" bIns="42520" rtlCol="0" anchor="ctr"/>
          <a:lstStyle/>
          <a:p>
            <a:pPr algn="l"/>
            <a:endParaRPr lang="zh-CN" altLang="en-US" sz="1488">
              <a:solidFill>
                <a:schemeClr val="bg1"/>
              </a:solidFill>
              <a:latin typeface="+mj-ea"/>
              <a:ea typeface="+mj-ea"/>
            </a:endParaRPr>
          </a:p>
        </p:txBody>
      </p:sp>
      <p:sp>
        <p:nvSpPr>
          <p:cNvPr id="77" name="任意多边形: 形状 76">
            <a:extLst>
              <a:ext uri="{FF2B5EF4-FFF2-40B4-BE49-F238E27FC236}">
                <a16:creationId xmlns:a16="http://schemas.microsoft.com/office/drawing/2014/main" id="{4EA67B6A-D2DE-4FF1-A36F-85E2F4B33EAE}"/>
              </a:ext>
            </a:extLst>
          </p:cNvPr>
          <p:cNvSpPr/>
          <p:nvPr/>
        </p:nvSpPr>
        <p:spPr>
          <a:xfrm rot="3600000">
            <a:off x="8921237" y="5166040"/>
            <a:ext cx="80475" cy="46463"/>
          </a:xfrm>
          <a:custGeom>
            <a:avLst/>
            <a:gdLst>
              <a:gd name="connsiteX0" fmla="*/ 2540000 w 2540000"/>
              <a:gd name="connsiteY0" fmla="*/ 1099852 h 2199704"/>
              <a:gd name="connsiteX1" fmla="*/ 1905000 w 2540000"/>
              <a:gd name="connsiteY1" fmla="*/ 2199704 h 2199704"/>
              <a:gd name="connsiteX2" fmla="*/ 635000 w 2540000"/>
              <a:gd name="connsiteY2" fmla="*/ 2199704 h 2199704"/>
              <a:gd name="connsiteX3" fmla="*/ 0 w 2540000"/>
              <a:gd name="connsiteY3" fmla="*/ 1099852 h 2199704"/>
              <a:gd name="connsiteX4" fmla="*/ 635000 w 2540000"/>
              <a:gd name="connsiteY4" fmla="*/ 0 h 2199704"/>
              <a:gd name="connsiteX5" fmla="*/ 1905000 w 2540000"/>
              <a:gd name="connsiteY5" fmla="*/ 0 h 2199704"/>
              <a:gd name="connsiteX6" fmla="*/ 2540000 w 2540000"/>
              <a:gd name="connsiteY6" fmla="*/ 1099852 h 2199704"/>
              <a:gd name="connsiteX0" fmla="*/ 0 w 2540000"/>
              <a:gd name="connsiteY0" fmla="*/ 1099852 h 2199704"/>
              <a:gd name="connsiteX1" fmla="*/ 635000 w 2540000"/>
              <a:gd name="connsiteY1" fmla="*/ 0 h 2199704"/>
              <a:gd name="connsiteX2" fmla="*/ 1905000 w 2540000"/>
              <a:gd name="connsiteY2" fmla="*/ 0 h 2199704"/>
              <a:gd name="connsiteX3" fmla="*/ 2540000 w 2540000"/>
              <a:gd name="connsiteY3" fmla="*/ 1099852 h 2199704"/>
              <a:gd name="connsiteX4" fmla="*/ 1905000 w 2540000"/>
              <a:gd name="connsiteY4" fmla="*/ 2199704 h 2199704"/>
              <a:gd name="connsiteX5" fmla="*/ 635000 w 2540000"/>
              <a:gd name="connsiteY5" fmla="*/ 2199704 h 2199704"/>
              <a:gd name="connsiteX6" fmla="*/ 226579 w 2540000"/>
              <a:gd name="connsiteY6" fmla="*/ 1326431 h 2199704"/>
              <a:gd name="connsiteX0" fmla="*/ 408421 w 2313421"/>
              <a:gd name="connsiteY0" fmla="*/ 0 h 2199704"/>
              <a:gd name="connsiteX1" fmla="*/ 1678421 w 2313421"/>
              <a:gd name="connsiteY1" fmla="*/ 0 h 2199704"/>
              <a:gd name="connsiteX2" fmla="*/ 2313421 w 2313421"/>
              <a:gd name="connsiteY2" fmla="*/ 1099852 h 2199704"/>
              <a:gd name="connsiteX3" fmla="*/ 1678421 w 2313421"/>
              <a:gd name="connsiteY3" fmla="*/ 2199704 h 2199704"/>
              <a:gd name="connsiteX4" fmla="*/ 408421 w 2313421"/>
              <a:gd name="connsiteY4" fmla="*/ 2199704 h 2199704"/>
              <a:gd name="connsiteX5" fmla="*/ 0 w 2313421"/>
              <a:gd name="connsiteY5" fmla="*/ 1326431 h 2199704"/>
              <a:gd name="connsiteX0" fmla="*/ 0 w 1905000"/>
              <a:gd name="connsiteY0" fmla="*/ 0 h 2199704"/>
              <a:gd name="connsiteX1" fmla="*/ 1270000 w 1905000"/>
              <a:gd name="connsiteY1" fmla="*/ 0 h 2199704"/>
              <a:gd name="connsiteX2" fmla="*/ 1905000 w 1905000"/>
              <a:gd name="connsiteY2" fmla="*/ 1099852 h 2199704"/>
              <a:gd name="connsiteX3" fmla="*/ 1270000 w 1905000"/>
              <a:gd name="connsiteY3" fmla="*/ 2199704 h 2199704"/>
              <a:gd name="connsiteX4" fmla="*/ 0 w 1905000"/>
              <a:gd name="connsiteY4" fmla="*/ 2199704 h 2199704"/>
              <a:gd name="connsiteX0" fmla="*/ 0 w 1905000"/>
              <a:gd name="connsiteY0" fmla="*/ 0 h 2199704"/>
              <a:gd name="connsiteX1" fmla="*/ 1270000 w 1905000"/>
              <a:gd name="connsiteY1" fmla="*/ 0 h 2199704"/>
              <a:gd name="connsiteX2" fmla="*/ 1905000 w 1905000"/>
              <a:gd name="connsiteY2" fmla="*/ 1099852 h 2199704"/>
              <a:gd name="connsiteX3" fmla="*/ 1270000 w 1905000"/>
              <a:gd name="connsiteY3" fmla="*/ 2199704 h 2199704"/>
              <a:gd name="connsiteX0" fmla="*/ 0 w 1905000"/>
              <a:gd name="connsiteY0" fmla="*/ 0 h 1099852"/>
              <a:gd name="connsiteX1" fmla="*/ 1270000 w 1905000"/>
              <a:gd name="connsiteY1" fmla="*/ 0 h 1099852"/>
              <a:gd name="connsiteX2" fmla="*/ 1905000 w 1905000"/>
              <a:gd name="connsiteY2" fmla="*/ 1099852 h 1099852"/>
            </a:gdLst>
            <a:ahLst/>
            <a:cxnLst>
              <a:cxn ang="0">
                <a:pos x="connsiteX0" y="connsiteY0"/>
              </a:cxn>
              <a:cxn ang="0">
                <a:pos x="connsiteX1" y="connsiteY1"/>
              </a:cxn>
              <a:cxn ang="0">
                <a:pos x="connsiteX2" y="connsiteY2"/>
              </a:cxn>
            </a:cxnLst>
            <a:rect l="l" t="t" r="r" b="b"/>
            <a:pathLst>
              <a:path w="1905000" h="1099852">
                <a:moveTo>
                  <a:pt x="0" y="0"/>
                </a:moveTo>
                <a:lnTo>
                  <a:pt x="1270000" y="0"/>
                </a:lnTo>
                <a:lnTo>
                  <a:pt x="1905000" y="1099852"/>
                </a:lnTo>
              </a:path>
            </a:pathLst>
          </a:custGeom>
          <a:noFill/>
          <a:ln w="17716" cap="rnd">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85039" tIns="42520" rIns="85039" bIns="42520" rtlCol="0" anchor="ctr"/>
          <a:lstStyle/>
          <a:p>
            <a:pPr algn="l"/>
            <a:endParaRPr lang="zh-CN" altLang="en-US" sz="1488">
              <a:solidFill>
                <a:schemeClr val="bg1"/>
              </a:solidFill>
              <a:latin typeface="+mj-ea"/>
              <a:ea typeface="+mj-ea"/>
            </a:endParaRPr>
          </a:p>
        </p:txBody>
      </p:sp>
      <p:sp>
        <p:nvSpPr>
          <p:cNvPr id="78" name="文本框 77">
            <a:extLst>
              <a:ext uri="{FF2B5EF4-FFF2-40B4-BE49-F238E27FC236}">
                <a16:creationId xmlns:a16="http://schemas.microsoft.com/office/drawing/2014/main" id="{6B3550C3-7181-425F-9D14-9D9C9144CE6C}"/>
              </a:ext>
            </a:extLst>
          </p:cNvPr>
          <p:cNvSpPr txBox="1"/>
          <p:nvPr/>
        </p:nvSpPr>
        <p:spPr>
          <a:xfrm>
            <a:off x="9168426" y="4834218"/>
            <a:ext cx="1192633" cy="286233"/>
          </a:xfrm>
          <a:prstGeom prst="rect">
            <a:avLst/>
          </a:prstGeom>
          <a:noFill/>
          <a:effectLst/>
        </p:spPr>
        <p:txBody>
          <a:bodyPr wrap="none" lIns="0" tIns="0" rIns="0" bIns="0" rtlCol="0" anchor="t">
            <a:spAutoFit/>
          </a:bodyPr>
          <a:lstStyle/>
          <a:p>
            <a:r>
              <a:rPr lang="zh-CN" altLang="en-US" sz="1860" dirty="0">
                <a:solidFill>
                  <a:schemeClr val="accent1"/>
                </a:solidFill>
                <a:latin typeface="+mj-ea"/>
                <a:ea typeface="+mj-ea"/>
              </a:rPr>
              <a:t>关键词标题</a:t>
            </a:r>
          </a:p>
        </p:txBody>
      </p:sp>
      <p:sp>
        <p:nvSpPr>
          <p:cNvPr id="79" name="文本框 78">
            <a:extLst>
              <a:ext uri="{FF2B5EF4-FFF2-40B4-BE49-F238E27FC236}">
                <a16:creationId xmlns:a16="http://schemas.microsoft.com/office/drawing/2014/main" id="{CA718B74-EA4B-4D80-8B2F-2D073927D9F9}"/>
              </a:ext>
            </a:extLst>
          </p:cNvPr>
          <p:cNvSpPr txBox="1"/>
          <p:nvPr/>
        </p:nvSpPr>
        <p:spPr>
          <a:xfrm>
            <a:off x="9153934" y="5120450"/>
            <a:ext cx="2406784" cy="432271"/>
          </a:xfrm>
          <a:prstGeom prst="rect">
            <a:avLst/>
          </a:prstGeom>
          <a:noFill/>
          <a:effectLst/>
        </p:spPr>
        <p:txBody>
          <a:bodyPr wrap="square" lIns="0" tIns="0" rIns="0" bIns="0" rtlCol="0" anchor="t">
            <a:spAutoFit/>
          </a:bodyPr>
          <a:lstStyle/>
          <a:p>
            <a:pPr>
              <a:lnSpc>
                <a:spcPct val="130000"/>
              </a:lnSpc>
            </a:pPr>
            <a:r>
              <a:rPr lang="en-US" altLang="zh-CN" sz="1116" b="0" dirty="0">
                <a:solidFill>
                  <a:schemeClr val="tx1">
                    <a:lumMod val="75000"/>
                    <a:lumOff val="25000"/>
                  </a:schemeClr>
                </a:solidFill>
                <a:effectLst/>
                <a:latin typeface="+mn-ea"/>
              </a:rPr>
              <a:t>Lorem ipsum dolor onsectetur adipisicing elit</a:t>
            </a:r>
            <a:r>
              <a:rPr lang="en-US" altLang="zh-CN" sz="1116" dirty="0">
                <a:solidFill>
                  <a:schemeClr val="tx1">
                    <a:lumMod val="75000"/>
                    <a:lumOff val="25000"/>
                  </a:schemeClr>
                </a:solidFill>
                <a:latin typeface="+mn-ea"/>
              </a:rPr>
              <a:t> </a:t>
            </a:r>
            <a:r>
              <a:rPr lang="en-US" altLang="zh-CN" sz="1116" b="0" dirty="0">
                <a:solidFill>
                  <a:schemeClr val="tx1">
                    <a:lumMod val="75000"/>
                    <a:lumOff val="25000"/>
                  </a:schemeClr>
                </a:solidFill>
                <a:effectLst/>
                <a:latin typeface="+mn-ea"/>
              </a:rPr>
              <a:t>sed do eiusmod</a:t>
            </a:r>
            <a:endParaRPr lang="zh-CN" altLang="en-US" sz="1116" b="0" dirty="0">
              <a:solidFill>
                <a:schemeClr val="tx1">
                  <a:lumMod val="75000"/>
                  <a:lumOff val="25000"/>
                </a:schemeClr>
              </a:solidFill>
              <a:effectLst/>
              <a:latin typeface="+mn-ea"/>
            </a:endParaRPr>
          </a:p>
        </p:txBody>
      </p:sp>
      <p:sp>
        <p:nvSpPr>
          <p:cNvPr id="80" name="椭圆 79">
            <a:extLst>
              <a:ext uri="{FF2B5EF4-FFF2-40B4-BE49-F238E27FC236}">
                <a16:creationId xmlns:a16="http://schemas.microsoft.com/office/drawing/2014/main" id="{5852A74F-C8C0-4442-9D43-4A32E395F6AD}"/>
              </a:ext>
            </a:extLst>
          </p:cNvPr>
          <p:cNvSpPr/>
          <p:nvPr>
            <p:custDataLst>
              <p:tags r:id="rId6"/>
            </p:custDataLst>
          </p:nvPr>
        </p:nvSpPr>
        <p:spPr>
          <a:xfrm>
            <a:off x="6662040" y="4621261"/>
            <a:ext cx="65210" cy="65210"/>
          </a:xfrm>
          <a:prstGeom prst="ellipse">
            <a:avLst/>
          </a:prstGeom>
          <a:solidFill>
            <a:schemeClr val="bg1"/>
          </a:solidFill>
          <a:ln>
            <a:noFill/>
          </a:ln>
          <a:effectLst>
            <a:outerShdw blurRad="23622" sx="102000" sy="102000" algn="ctr" rotWithShape="0">
              <a:schemeClr val="accent1">
                <a:lumMod val="20000"/>
                <a:lumOff val="80000"/>
                <a:alpha val="89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85039" tIns="42520" rIns="85039" bIns="42520" rtlCol="0" anchor="ctr"/>
          <a:lstStyle/>
          <a:p>
            <a:pPr algn="l"/>
            <a:endParaRPr lang="zh-CN" altLang="en-US" sz="1488">
              <a:solidFill>
                <a:schemeClr val="bg1"/>
              </a:solidFill>
              <a:latin typeface="+mj-ea"/>
              <a:ea typeface="+mj-ea"/>
            </a:endParaRPr>
          </a:p>
        </p:txBody>
      </p:sp>
      <p:sp>
        <p:nvSpPr>
          <p:cNvPr id="83" name="椭圆 82">
            <a:extLst>
              <a:ext uri="{FF2B5EF4-FFF2-40B4-BE49-F238E27FC236}">
                <a16:creationId xmlns:a16="http://schemas.microsoft.com/office/drawing/2014/main" id="{817AE283-0002-4759-BA81-DC8BB3220D69}"/>
              </a:ext>
            </a:extLst>
          </p:cNvPr>
          <p:cNvSpPr/>
          <p:nvPr>
            <p:custDataLst>
              <p:tags r:id="rId7"/>
            </p:custDataLst>
          </p:nvPr>
        </p:nvSpPr>
        <p:spPr>
          <a:xfrm flipH="1">
            <a:off x="5209575" y="2518903"/>
            <a:ext cx="65210" cy="65210"/>
          </a:xfrm>
          <a:prstGeom prst="ellipse">
            <a:avLst/>
          </a:prstGeom>
          <a:solidFill>
            <a:schemeClr val="bg1"/>
          </a:solidFill>
          <a:ln>
            <a:noFill/>
          </a:ln>
          <a:effectLst>
            <a:outerShdw blurRad="23622" sx="102000" sy="102000" algn="ctr" rotWithShape="0">
              <a:schemeClr val="accent1">
                <a:lumMod val="20000"/>
                <a:lumOff val="80000"/>
                <a:alpha val="89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85039" tIns="42520" rIns="85039" bIns="42520" rtlCol="0" anchor="ctr"/>
          <a:lstStyle/>
          <a:p>
            <a:pPr algn="l"/>
            <a:endParaRPr lang="zh-CN" altLang="en-US" sz="1488">
              <a:solidFill>
                <a:schemeClr val="bg1"/>
              </a:solidFill>
              <a:latin typeface="+mj-ea"/>
              <a:ea typeface="+mj-ea"/>
            </a:endParaRPr>
          </a:p>
        </p:txBody>
      </p:sp>
      <p:sp>
        <p:nvSpPr>
          <p:cNvPr id="84" name="任意多边形: 形状 83">
            <a:extLst>
              <a:ext uri="{FF2B5EF4-FFF2-40B4-BE49-F238E27FC236}">
                <a16:creationId xmlns:a16="http://schemas.microsoft.com/office/drawing/2014/main" id="{E3AF94B4-D2C6-4F7A-AFC6-0B2BB47CEC79}"/>
              </a:ext>
            </a:extLst>
          </p:cNvPr>
          <p:cNvSpPr/>
          <p:nvPr/>
        </p:nvSpPr>
        <p:spPr>
          <a:xfrm flipH="1">
            <a:off x="4059503" y="2028895"/>
            <a:ext cx="1162202" cy="496062"/>
          </a:xfrm>
          <a:custGeom>
            <a:avLst/>
            <a:gdLst>
              <a:gd name="connsiteX0" fmla="*/ 0 w 1249680"/>
              <a:gd name="connsiteY0" fmla="*/ 533400 h 533400"/>
              <a:gd name="connsiteX1" fmla="*/ 533400 w 1249680"/>
              <a:gd name="connsiteY1" fmla="*/ 0 h 533400"/>
              <a:gd name="connsiteX2" fmla="*/ 1249680 w 1249680"/>
              <a:gd name="connsiteY2" fmla="*/ 0 h 533400"/>
            </a:gdLst>
            <a:ahLst/>
            <a:cxnLst>
              <a:cxn ang="0">
                <a:pos x="connsiteX0" y="connsiteY0"/>
              </a:cxn>
              <a:cxn ang="0">
                <a:pos x="connsiteX1" y="connsiteY1"/>
              </a:cxn>
              <a:cxn ang="0">
                <a:pos x="connsiteX2" y="connsiteY2"/>
              </a:cxn>
            </a:cxnLst>
            <a:rect l="l" t="t" r="r" b="b"/>
            <a:pathLst>
              <a:path w="1249680" h="533400">
                <a:moveTo>
                  <a:pt x="0" y="533400"/>
                </a:moveTo>
                <a:lnTo>
                  <a:pt x="533400" y="0"/>
                </a:lnTo>
                <a:lnTo>
                  <a:pt x="1249680" y="0"/>
                </a:lnTo>
              </a:path>
            </a:pathLst>
          </a:custGeom>
          <a:noFill/>
          <a:ln w="11811">
            <a:solidFill>
              <a:schemeClr val="accent1"/>
            </a:solidFill>
            <a:prstDash val="lgDash"/>
          </a:ln>
          <a:effectLst/>
        </p:spPr>
        <p:style>
          <a:lnRef idx="2">
            <a:schemeClr val="accent1">
              <a:shade val="50000"/>
            </a:schemeClr>
          </a:lnRef>
          <a:fillRef idx="1">
            <a:schemeClr val="accent1"/>
          </a:fillRef>
          <a:effectRef idx="0">
            <a:schemeClr val="accent1"/>
          </a:effectRef>
          <a:fontRef idx="minor">
            <a:schemeClr val="lt1"/>
          </a:fontRef>
        </p:style>
        <p:txBody>
          <a:bodyPr lIns="85039" tIns="42520" rIns="85039" bIns="42520" rtlCol="0" anchor="ctr"/>
          <a:lstStyle/>
          <a:p>
            <a:pPr algn="ctr"/>
            <a:endParaRPr lang="zh-CN" altLang="en-US" sz="1674"/>
          </a:p>
        </p:txBody>
      </p:sp>
      <p:sp>
        <p:nvSpPr>
          <p:cNvPr id="113" name="任意多边形: 形状 112">
            <a:extLst>
              <a:ext uri="{FF2B5EF4-FFF2-40B4-BE49-F238E27FC236}">
                <a16:creationId xmlns:a16="http://schemas.microsoft.com/office/drawing/2014/main" id="{968F1C27-DD45-4CDE-9DA6-A5DCADCE4CE9}"/>
              </a:ext>
            </a:extLst>
          </p:cNvPr>
          <p:cNvSpPr/>
          <p:nvPr/>
        </p:nvSpPr>
        <p:spPr>
          <a:xfrm flipH="1">
            <a:off x="2960038" y="1584238"/>
            <a:ext cx="1026892" cy="889314"/>
          </a:xfrm>
          <a:custGeom>
            <a:avLst/>
            <a:gdLst>
              <a:gd name="connsiteX0" fmla="*/ 2540000 w 2540000"/>
              <a:gd name="connsiteY0" fmla="*/ 1099852 h 2199704"/>
              <a:gd name="connsiteX1" fmla="*/ 1905000 w 2540000"/>
              <a:gd name="connsiteY1" fmla="*/ 2199704 h 2199704"/>
              <a:gd name="connsiteX2" fmla="*/ 635000 w 2540000"/>
              <a:gd name="connsiteY2" fmla="*/ 2199704 h 2199704"/>
              <a:gd name="connsiteX3" fmla="*/ 0 w 2540000"/>
              <a:gd name="connsiteY3" fmla="*/ 1099852 h 2199704"/>
              <a:gd name="connsiteX4" fmla="*/ 635000 w 2540000"/>
              <a:gd name="connsiteY4" fmla="*/ 0 h 2199704"/>
              <a:gd name="connsiteX5" fmla="*/ 1905000 w 2540000"/>
              <a:gd name="connsiteY5" fmla="*/ 0 h 2199704"/>
              <a:gd name="connsiteX6" fmla="*/ 2540000 w 2540000"/>
              <a:gd name="connsiteY6" fmla="*/ 1099852 h 21997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40000" h="2199704">
                <a:moveTo>
                  <a:pt x="2540000" y="1099852"/>
                </a:moveTo>
                <a:lnTo>
                  <a:pt x="1905000" y="2199704"/>
                </a:lnTo>
                <a:lnTo>
                  <a:pt x="635000" y="2199704"/>
                </a:lnTo>
                <a:lnTo>
                  <a:pt x="0" y="1099852"/>
                </a:lnTo>
                <a:lnTo>
                  <a:pt x="635000" y="0"/>
                </a:lnTo>
                <a:lnTo>
                  <a:pt x="1905000" y="0"/>
                </a:lnTo>
                <a:lnTo>
                  <a:pt x="2540000" y="1099852"/>
                </a:lnTo>
                <a:close/>
              </a:path>
            </a:pathLst>
          </a:custGeom>
          <a:solidFill>
            <a:schemeClr val="accent1">
              <a:alpha val="1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85039" tIns="42520" rIns="85039" bIns="42520" rtlCol="0" anchor="ctr"/>
          <a:lstStyle/>
          <a:p>
            <a:pPr algn="l"/>
            <a:endParaRPr lang="zh-CN" altLang="en-US" sz="1488">
              <a:solidFill>
                <a:schemeClr val="bg1"/>
              </a:solidFill>
              <a:latin typeface="+mj-ea"/>
              <a:ea typeface="+mj-ea"/>
            </a:endParaRPr>
          </a:p>
        </p:txBody>
      </p:sp>
      <p:sp>
        <p:nvSpPr>
          <p:cNvPr id="114" name="任意多边形: 形状 113">
            <a:extLst>
              <a:ext uri="{FF2B5EF4-FFF2-40B4-BE49-F238E27FC236}">
                <a16:creationId xmlns:a16="http://schemas.microsoft.com/office/drawing/2014/main" id="{B3738EAB-DA61-497C-BFBB-DC26BBA0CE40}"/>
              </a:ext>
            </a:extLst>
          </p:cNvPr>
          <p:cNvSpPr/>
          <p:nvPr/>
        </p:nvSpPr>
        <p:spPr>
          <a:xfrm flipH="1">
            <a:off x="2996828" y="1616101"/>
            <a:ext cx="953310" cy="825589"/>
          </a:xfrm>
          <a:custGeom>
            <a:avLst/>
            <a:gdLst>
              <a:gd name="connsiteX0" fmla="*/ 2540000 w 2540000"/>
              <a:gd name="connsiteY0" fmla="*/ 1099852 h 2199704"/>
              <a:gd name="connsiteX1" fmla="*/ 1905000 w 2540000"/>
              <a:gd name="connsiteY1" fmla="*/ 2199704 h 2199704"/>
              <a:gd name="connsiteX2" fmla="*/ 635000 w 2540000"/>
              <a:gd name="connsiteY2" fmla="*/ 2199704 h 2199704"/>
              <a:gd name="connsiteX3" fmla="*/ 0 w 2540000"/>
              <a:gd name="connsiteY3" fmla="*/ 1099852 h 2199704"/>
              <a:gd name="connsiteX4" fmla="*/ 635000 w 2540000"/>
              <a:gd name="connsiteY4" fmla="*/ 0 h 2199704"/>
              <a:gd name="connsiteX5" fmla="*/ 1905000 w 2540000"/>
              <a:gd name="connsiteY5" fmla="*/ 0 h 2199704"/>
              <a:gd name="connsiteX6" fmla="*/ 2540000 w 2540000"/>
              <a:gd name="connsiteY6" fmla="*/ 1099852 h 21997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40000" h="2199704">
                <a:moveTo>
                  <a:pt x="2540000" y="1099852"/>
                </a:moveTo>
                <a:lnTo>
                  <a:pt x="1905000" y="2199704"/>
                </a:lnTo>
                <a:lnTo>
                  <a:pt x="635000" y="2199704"/>
                </a:lnTo>
                <a:lnTo>
                  <a:pt x="0" y="1099852"/>
                </a:lnTo>
                <a:lnTo>
                  <a:pt x="635000" y="0"/>
                </a:lnTo>
                <a:lnTo>
                  <a:pt x="1905000" y="0"/>
                </a:lnTo>
                <a:lnTo>
                  <a:pt x="2540000" y="1099852"/>
                </a:lnTo>
                <a:close/>
              </a:path>
            </a:pathLst>
          </a:custGeom>
          <a:noFill/>
          <a:ln w="11811">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85039" tIns="42520" rIns="85039" bIns="42520" rtlCol="0" anchor="ctr"/>
          <a:lstStyle/>
          <a:p>
            <a:pPr algn="l"/>
            <a:endParaRPr lang="zh-CN" altLang="en-US" sz="1488">
              <a:solidFill>
                <a:schemeClr val="bg1"/>
              </a:solidFill>
              <a:latin typeface="+mj-ea"/>
              <a:ea typeface="+mj-ea"/>
            </a:endParaRPr>
          </a:p>
        </p:txBody>
      </p:sp>
      <p:sp>
        <p:nvSpPr>
          <p:cNvPr id="115" name="任意多边形: 形状 114">
            <a:extLst>
              <a:ext uri="{FF2B5EF4-FFF2-40B4-BE49-F238E27FC236}">
                <a16:creationId xmlns:a16="http://schemas.microsoft.com/office/drawing/2014/main" id="{EC1F35B0-607F-43F7-9D7F-3CFDD489D930}"/>
              </a:ext>
            </a:extLst>
          </p:cNvPr>
          <p:cNvSpPr/>
          <p:nvPr/>
        </p:nvSpPr>
        <p:spPr>
          <a:xfrm flipH="1">
            <a:off x="3181211" y="1579811"/>
            <a:ext cx="80475" cy="46463"/>
          </a:xfrm>
          <a:custGeom>
            <a:avLst/>
            <a:gdLst>
              <a:gd name="connsiteX0" fmla="*/ 2540000 w 2540000"/>
              <a:gd name="connsiteY0" fmla="*/ 1099852 h 2199704"/>
              <a:gd name="connsiteX1" fmla="*/ 1905000 w 2540000"/>
              <a:gd name="connsiteY1" fmla="*/ 2199704 h 2199704"/>
              <a:gd name="connsiteX2" fmla="*/ 635000 w 2540000"/>
              <a:gd name="connsiteY2" fmla="*/ 2199704 h 2199704"/>
              <a:gd name="connsiteX3" fmla="*/ 0 w 2540000"/>
              <a:gd name="connsiteY3" fmla="*/ 1099852 h 2199704"/>
              <a:gd name="connsiteX4" fmla="*/ 635000 w 2540000"/>
              <a:gd name="connsiteY4" fmla="*/ 0 h 2199704"/>
              <a:gd name="connsiteX5" fmla="*/ 1905000 w 2540000"/>
              <a:gd name="connsiteY5" fmla="*/ 0 h 2199704"/>
              <a:gd name="connsiteX6" fmla="*/ 2540000 w 2540000"/>
              <a:gd name="connsiteY6" fmla="*/ 1099852 h 2199704"/>
              <a:gd name="connsiteX0" fmla="*/ 0 w 2540000"/>
              <a:gd name="connsiteY0" fmla="*/ 1099852 h 2199704"/>
              <a:gd name="connsiteX1" fmla="*/ 635000 w 2540000"/>
              <a:gd name="connsiteY1" fmla="*/ 0 h 2199704"/>
              <a:gd name="connsiteX2" fmla="*/ 1905000 w 2540000"/>
              <a:gd name="connsiteY2" fmla="*/ 0 h 2199704"/>
              <a:gd name="connsiteX3" fmla="*/ 2540000 w 2540000"/>
              <a:gd name="connsiteY3" fmla="*/ 1099852 h 2199704"/>
              <a:gd name="connsiteX4" fmla="*/ 1905000 w 2540000"/>
              <a:gd name="connsiteY4" fmla="*/ 2199704 h 2199704"/>
              <a:gd name="connsiteX5" fmla="*/ 635000 w 2540000"/>
              <a:gd name="connsiteY5" fmla="*/ 2199704 h 2199704"/>
              <a:gd name="connsiteX6" fmla="*/ 226579 w 2540000"/>
              <a:gd name="connsiteY6" fmla="*/ 1326431 h 2199704"/>
              <a:gd name="connsiteX0" fmla="*/ 408421 w 2313421"/>
              <a:gd name="connsiteY0" fmla="*/ 0 h 2199704"/>
              <a:gd name="connsiteX1" fmla="*/ 1678421 w 2313421"/>
              <a:gd name="connsiteY1" fmla="*/ 0 h 2199704"/>
              <a:gd name="connsiteX2" fmla="*/ 2313421 w 2313421"/>
              <a:gd name="connsiteY2" fmla="*/ 1099852 h 2199704"/>
              <a:gd name="connsiteX3" fmla="*/ 1678421 w 2313421"/>
              <a:gd name="connsiteY3" fmla="*/ 2199704 h 2199704"/>
              <a:gd name="connsiteX4" fmla="*/ 408421 w 2313421"/>
              <a:gd name="connsiteY4" fmla="*/ 2199704 h 2199704"/>
              <a:gd name="connsiteX5" fmla="*/ 0 w 2313421"/>
              <a:gd name="connsiteY5" fmla="*/ 1326431 h 2199704"/>
              <a:gd name="connsiteX0" fmla="*/ 0 w 1905000"/>
              <a:gd name="connsiteY0" fmla="*/ 0 h 2199704"/>
              <a:gd name="connsiteX1" fmla="*/ 1270000 w 1905000"/>
              <a:gd name="connsiteY1" fmla="*/ 0 h 2199704"/>
              <a:gd name="connsiteX2" fmla="*/ 1905000 w 1905000"/>
              <a:gd name="connsiteY2" fmla="*/ 1099852 h 2199704"/>
              <a:gd name="connsiteX3" fmla="*/ 1270000 w 1905000"/>
              <a:gd name="connsiteY3" fmla="*/ 2199704 h 2199704"/>
              <a:gd name="connsiteX4" fmla="*/ 0 w 1905000"/>
              <a:gd name="connsiteY4" fmla="*/ 2199704 h 2199704"/>
              <a:gd name="connsiteX0" fmla="*/ 0 w 1905000"/>
              <a:gd name="connsiteY0" fmla="*/ 0 h 2199704"/>
              <a:gd name="connsiteX1" fmla="*/ 1270000 w 1905000"/>
              <a:gd name="connsiteY1" fmla="*/ 0 h 2199704"/>
              <a:gd name="connsiteX2" fmla="*/ 1905000 w 1905000"/>
              <a:gd name="connsiteY2" fmla="*/ 1099852 h 2199704"/>
              <a:gd name="connsiteX3" fmla="*/ 1270000 w 1905000"/>
              <a:gd name="connsiteY3" fmla="*/ 2199704 h 2199704"/>
              <a:gd name="connsiteX0" fmla="*/ 0 w 1905000"/>
              <a:gd name="connsiteY0" fmla="*/ 0 h 1099852"/>
              <a:gd name="connsiteX1" fmla="*/ 1270000 w 1905000"/>
              <a:gd name="connsiteY1" fmla="*/ 0 h 1099852"/>
              <a:gd name="connsiteX2" fmla="*/ 1905000 w 1905000"/>
              <a:gd name="connsiteY2" fmla="*/ 1099852 h 1099852"/>
            </a:gdLst>
            <a:ahLst/>
            <a:cxnLst>
              <a:cxn ang="0">
                <a:pos x="connsiteX0" y="connsiteY0"/>
              </a:cxn>
              <a:cxn ang="0">
                <a:pos x="connsiteX1" y="connsiteY1"/>
              </a:cxn>
              <a:cxn ang="0">
                <a:pos x="connsiteX2" y="connsiteY2"/>
              </a:cxn>
            </a:cxnLst>
            <a:rect l="l" t="t" r="r" b="b"/>
            <a:pathLst>
              <a:path w="1905000" h="1099852">
                <a:moveTo>
                  <a:pt x="0" y="0"/>
                </a:moveTo>
                <a:lnTo>
                  <a:pt x="1270000" y="0"/>
                </a:lnTo>
                <a:lnTo>
                  <a:pt x="1905000" y="1099852"/>
                </a:lnTo>
              </a:path>
            </a:pathLst>
          </a:custGeom>
          <a:noFill/>
          <a:ln w="17716" cap="rnd">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85039" tIns="42520" rIns="85039" bIns="42520" rtlCol="0" anchor="ctr"/>
          <a:lstStyle/>
          <a:p>
            <a:pPr algn="l"/>
            <a:endParaRPr lang="zh-CN" altLang="en-US" sz="1488">
              <a:solidFill>
                <a:schemeClr val="bg1"/>
              </a:solidFill>
              <a:latin typeface="+mj-ea"/>
              <a:ea typeface="+mj-ea"/>
            </a:endParaRPr>
          </a:p>
        </p:txBody>
      </p:sp>
      <p:sp>
        <p:nvSpPr>
          <p:cNvPr id="116" name="任意多边形: 形状 115">
            <a:extLst>
              <a:ext uri="{FF2B5EF4-FFF2-40B4-BE49-F238E27FC236}">
                <a16:creationId xmlns:a16="http://schemas.microsoft.com/office/drawing/2014/main" id="{28EDD6CF-4CFD-464C-8426-A4B2C7A8334B}"/>
              </a:ext>
            </a:extLst>
          </p:cNvPr>
          <p:cNvSpPr/>
          <p:nvPr/>
        </p:nvSpPr>
        <p:spPr>
          <a:xfrm>
            <a:off x="3678938" y="1579811"/>
            <a:ext cx="80475" cy="46463"/>
          </a:xfrm>
          <a:custGeom>
            <a:avLst/>
            <a:gdLst>
              <a:gd name="connsiteX0" fmla="*/ 2540000 w 2540000"/>
              <a:gd name="connsiteY0" fmla="*/ 1099852 h 2199704"/>
              <a:gd name="connsiteX1" fmla="*/ 1905000 w 2540000"/>
              <a:gd name="connsiteY1" fmla="*/ 2199704 h 2199704"/>
              <a:gd name="connsiteX2" fmla="*/ 635000 w 2540000"/>
              <a:gd name="connsiteY2" fmla="*/ 2199704 h 2199704"/>
              <a:gd name="connsiteX3" fmla="*/ 0 w 2540000"/>
              <a:gd name="connsiteY3" fmla="*/ 1099852 h 2199704"/>
              <a:gd name="connsiteX4" fmla="*/ 635000 w 2540000"/>
              <a:gd name="connsiteY4" fmla="*/ 0 h 2199704"/>
              <a:gd name="connsiteX5" fmla="*/ 1905000 w 2540000"/>
              <a:gd name="connsiteY5" fmla="*/ 0 h 2199704"/>
              <a:gd name="connsiteX6" fmla="*/ 2540000 w 2540000"/>
              <a:gd name="connsiteY6" fmla="*/ 1099852 h 2199704"/>
              <a:gd name="connsiteX0" fmla="*/ 0 w 2540000"/>
              <a:gd name="connsiteY0" fmla="*/ 1099852 h 2199704"/>
              <a:gd name="connsiteX1" fmla="*/ 635000 w 2540000"/>
              <a:gd name="connsiteY1" fmla="*/ 0 h 2199704"/>
              <a:gd name="connsiteX2" fmla="*/ 1905000 w 2540000"/>
              <a:gd name="connsiteY2" fmla="*/ 0 h 2199704"/>
              <a:gd name="connsiteX3" fmla="*/ 2540000 w 2540000"/>
              <a:gd name="connsiteY3" fmla="*/ 1099852 h 2199704"/>
              <a:gd name="connsiteX4" fmla="*/ 1905000 w 2540000"/>
              <a:gd name="connsiteY4" fmla="*/ 2199704 h 2199704"/>
              <a:gd name="connsiteX5" fmla="*/ 635000 w 2540000"/>
              <a:gd name="connsiteY5" fmla="*/ 2199704 h 2199704"/>
              <a:gd name="connsiteX6" fmla="*/ 226579 w 2540000"/>
              <a:gd name="connsiteY6" fmla="*/ 1326431 h 2199704"/>
              <a:gd name="connsiteX0" fmla="*/ 408421 w 2313421"/>
              <a:gd name="connsiteY0" fmla="*/ 0 h 2199704"/>
              <a:gd name="connsiteX1" fmla="*/ 1678421 w 2313421"/>
              <a:gd name="connsiteY1" fmla="*/ 0 h 2199704"/>
              <a:gd name="connsiteX2" fmla="*/ 2313421 w 2313421"/>
              <a:gd name="connsiteY2" fmla="*/ 1099852 h 2199704"/>
              <a:gd name="connsiteX3" fmla="*/ 1678421 w 2313421"/>
              <a:gd name="connsiteY3" fmla="*/ 2199704 h 2199704"/>
              <a:gd name="connsiteX4" fmla="*/ 408421 w 2313421"/>
              <a:gd name="connsiteY4" fmla="*/ 2199704 h 2199704"/>
              <a:gd name="connsiteX5" fmla="*/ 0 w 2313421"/>
              <a:gd name="connsiteY5" fmla="*/ 1326431 h 2199704"/>
              <a:gd name="connsiteX0" fmla="*/ 0 w 1905000"/>
              <a:gd name="connsiteY0" fmla="*/ 0 h 2199704"/>
              <a:gd name="connsiteX1" fmla="*/ 1270000 w 1905000"/>
              <a:gd name="connsiteY1" fmla="*/ 0 h 2199704"/>
              <a:gd name="connsiteX2" fmla="*/ 1905000 w 1905000"/>
              <a:gd name="connsiteY2" fmla="*/ 1099852 h 2199704"/>
              <a:gd name="connsiteX3" fmla="*/ 1270000 w 1905000"/>
              <a:gd name="connsiteY3" fmla="*/ 2199704 h 2199704"/>
              <a:gd name="connsiteX4" fmla="*/ 0 w 1905000"/>
              <a:gd name="connsiteY4" fmla="*/ 2199704 h 2199704"/>
              <a:gd name="connsiteX0" fmla="*/ 0 w 1905000"/>
              <a:gd name="connsiteY0" fmla="*/ 0 h 2199704"/>
              <a:gd name="connsiteX1" fmla="*/ 1270000 w 1905000"/>
              <a:gd name="connsiteY1" fmla="*/ 0 h 2199704"/>
              <a:gd name="connsiteX2" fmla="*/ 1905000 w 1905000"/>
              <a:gd name="connsiteY2" fmla="*/ 1099852 h 2199704"/>
              <a:gd name="connsiteX3" fmla="*/ 1270000 w 1905000"/>
              <a:gd name="connsiteY3" fmla="*/ 2199704 h 2199704"/>
              <a:gd name="connsiteX0" fmla="*/ 0 w 1905000"/>
              <a:gd name="connsiteY0" fmla="*/ 0 h 1099852"/>
              <a:gd name="connsiteX1" fmla="*/ 1270000 w 1905000"/>
              <a:gd name="connsiteY1" fmla="*/ 0 h 1099852"/>
              <a:gd name="connsiteX2" fmla="*/ 1905000 w 1905000"/>
              <a:gd name="connsiteY2" fmla="*/ 1099852 h 1099852"/>
            </a:gdLst>
            <a:ahLst/>
            <a:cxnLst>
              <a:cxn ang="0">
                <a:pos x="connsiteX0" y="connsiteY0"/>
              </a:cxn>
              <a:cxn ang="0">
                <a:pos x="connsiteX1" y="connsiteY1"/>
              </a:cxn>
              <a:cxn ang="0">
                <a:pos x="connsiteX2" y="connsiteY2"/>
              </a:cxn>
            </a:cxnLst>
            <a:rect l="l" t="t" r="r" b="b"/>
            <a:pathLst>
              <a:path w="1905000" h="1099852">
                <a:moveTo>
                  <a:pt x="0" y="0"/>
                </a:moveTo>
                <a:lnTo>
                  <a:pt x="1270000" y="0"/>
                </a:lnTo>
                <a:lnTo>
                  <a:pt x="1905000" y="1099852"/>
                </a:lnTo>
              </a:path>
            </a:pathLst>
          </a:custGeom>
          <a:noFill/>
          <a:ln w="17716" cap="rnd">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85039" tIns="42520" rIns="85039" bIns="42520" rtlCol="0" anchor="ctr"/>
          <a:lstStyle/>
          <a:p>
            <a:pPr algn="l"/>
            <a:endParaRPr lang="zh-CN" altLang="en-US" sz="1488">
              <a:solidFill>
                <a:schemeClr val="bg1"/>
              </a:solidFill>
              <a:latin typeface="+mj-ea"/>
              <a:ea typeface="+mj-ea"/>
            </a:endParaRPr>
          </a:p>
        </p:txBody>
      </p:sp>
      <p:sp>
        <p:nvSpPr>
          <p:cNvPr id="117" name="任意多边形: 形状 116">
            <a:extLst>
              <a:ext uri="{FF2B5EF4-FFF2-40B4-BE49-F238E27FC236}">
                <a16:creationId xmlns:a16="http://schemas.microsoft.com/office/drawing/2014/main" id="{0C1E5E9B-0CAB-48A7-9EF7-2C12D912A174}"/>
              </a:ext>
            </a:extLst>
          </p:cNvPr>
          <p:cNvSpPr/>
          <p:nvPr/>
        </p:nvSpPr>
        <p:spPr>
          <a:xfrm rot="3600000">
            <a:off x="3923676" y="2005415"/>
            <a:ext cx="80475" cy="46463"/>
          </a:xfrm>
          <a:custGeom>
            <a:avLst/>
            <a:gdLst>
              <a:gd name="connsiteX0" fmla="*/ 2540000 w 2540000"/>
              <a:gd name="connsiteY0" fmla="*/ 1099852 h 2199704"/>
              <a:gd name="connsiteX1" fmla="*/ 1905000 w 2540000"/>
              <a:gd name="connsiteY1" fmla="*/ 2199704 h 2199704"/>
              <a:gd name="connsiteX2" fmla="*/ 635000 w 2540000"/>
              <a:gd name="connsiteY2" fmla="*/ 2199704 h 2199704"/>
              <a:gd name="connsiteX3" fmla="*/ 0 w 2540000"/>
              <a:gd name="connsiteY3" fmla="*/ 1099852 h 2199704"/>
              <a:gd name="connsiteX4" fmla="*/ 635000 w 2540000"/>
              <a:gd name="connsiteY4" fmla="*/ 0 h 2199704"/>
              <a:gd name="connsiteX5" fmla="*/ 1905000 w 2540000"/>
              <a:gd name="connsiteY5" fmla="*/ 0 h 2199704"/>
              <a:gd name="connsiteX6" fmla="*/ 2540000 w 2540000"/>
              <a:gd name="connsiteY6" fmla="*/ 1099852 h 2199704"/>
              <a:gd name="connsiteX0" fmla="*/ 0 w 2540000"/>
              <a:gd name="connsiteY0" fmla="*/ 1099852 h 2199704"/>
              <a:gd name="connsiteX1" fmla="*/ 635000 w 2540000"/>
              <a:gd name="connsiteY1" fmla="*/ 0 h 2199704"/>
              <a:gd name="connsiteX2" fmla="*/ 1905000 w 2540000"/>
              <a:gd name="connsiteY2" fmla="*/ 0 h 2199704"/>
              <a:gd name="connsiteX3" fmla="*/ 2540000 w 2540000"/>
              <a:gd name="connsiteY3" fmla="*/ 1099852 h 2199704"/>
              <a:gd name="connsiteX4" fmla="*/ 1905000 w 2540000"/>
              <a:gd name="connsiteY4" fmla="*/ 2199704 h 2199704"/>
              <a:gd name="connsiteX5" fmla="*/ 635000 w 2540000"/>
              <a:gd name="connsiteY5" fmla="*/ 2199704 h 2199704"/>
              <a:gd name="connsiteX6" fmla="*/ 226579 w 2540000"/>
              <a:gd name="connsiteY6" fmla="*/ 1326431 h 2199704"/>
              <a:gd name="connsiteX0" fmla="*/ 408421 w 2313421"/>
              <a:gd name="connsiteY0" fmla="*/ 0 h 2199704"/>
              <a:gd name="connsiteX1" fmla="*/ 1678421 w 2313421"/>
              <a:gd name="connsiteY1" fmla="*/ 0 h 2199704"/>
              <a:gd name="connsiteX2" fmla="*/ 2313421 w 2313421"/>
              <a:gd name="connsiteY2" fmla="*/ 1099852 h 2199704"/>
              <a:gd name="connsiteX3" fmla="*/ 1678421 w 2313421"/>
              <a:gd name="connsiteY3" fmla="*/ 2199704 h 2199704"/>
              <a:gd name="connsiteX4" fmla="*/ 408421 w 2313421"/>
              <a:gd name="connsiteY4" fmla="*/ 2199704 h 2199704"/>
              <a:gd name="connsiteX5" fmla="*/ 0 w 2313421"/>
              <a:gd name="connsiteY5" fmla="*/ 1326431 h 2199704"/>
              <a:gd name="connsiteX0" fmla="*/ 0 w 1905000"/>
              <a:gd name="connsiteY0" fmla="*/ 0 h 2199704"/>
              <a:gd name="connsiteX1" fmla="*/ 1270000 w 1905000"/>
              <a:gd name="connsiteY1" fmla="*/ 0 h 2199704"/>
              <a:gd name="connsiteX2" fmla="*/ 1905000 w 1905000"/>
              <a:gd name="connsiteY2" fmla="*/ 1099852 h 2199704"/>
              <a:gd name="connsiteX3" fmla="*/ 1270000 w 1905000"/>
              <a:gd name="connsiteY3" fmla="*/ 2199704 h 2199704"/>
              <a:gd name="connsiteX4" fmla="*/ 0 w 1905000"/>
              <a:gd name="connsiteY4" fmla="*/ 2199704 h 2199704"/>
              <a:gd name="connsiteX0" fmla="*/ 0 w 1905000"/>
              <a:gd name="connsiteY0" fmla="*/ 0 h 2199704"/>
              <a:gd name="connsiteX1" fmla="*/ 1270000 w 1905000"/>
              <a:gd name="connsiteY1" fmla="*/ 0 h 2199704"/>
              <a:gd name="connsiteX2" fmla="*/ 1905000 w 1905000"/>
              <a:gd name="connsiteY2" fmla="*/ 1099852 h 2199704"/>
              <a:gd name="connsiteX3" fmla="*/ 1270000 w 1905000"/>
              <a:gd name="connsiteY3" fmla="*/ 2199704 h 2199704"/>
              <a:gd name="connsiteX0" fmla="*/ 0 w 1905000"/>
              <a:gd name="connsiteY0" fmla="*/ 0 h 1099852"/>
              <a:gd name="connsiteX1" fmla="*/ 1270000 w 1905000"/>
              <a:gd name="connsiteY1" fmla="*/ 0 h 1099852"/>
              <a:gd name="connsiteX2" fmla="*/ 1905000 w 1905000"/>
              <a:gd name="connsiteY2" fmla="*/ 1099852 h 1099852"/>
            </a:gdLst>
            <a:ahLst/>
            <a:cxnLst>
              <a:cxn ang="0">
                <a:pos x="connsiteX0" y="connsiteY0"/>
              </a:cxn>
              <a:cxn ang="0">
                <a:pos x="connsiteX1" y="connsiteY1"/>
              </a:cxn>
              <a:cxn ang="0">
                <a:pos x="connsiteX2" y="connsiteY2"/>
              </a:cxn>
            </a:cxnLst>
            <a:rect l="l" t="t" r="r" b="b"/>
            <a:pathLst>
              <a:path w="1905000" h="1099852">
                <a:moveTo>
                  <a:pt x="0" y="0"/>
                </a:moveTo>
                <a:lnTo>
                  <a:pt x="1270000" y="0"/>
                </a:lnTo>
                <a:lnTo>
                  <a:pt x="1905000" y="1099852"/>
                </a:lnTo>
              </a:path>
            </a:pathLst>
          </a:custGeom>
          <a:noFill/>
          <a:ln w="17716" cap="rnd">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85039" tIns="42520" rIns="85039" bIns="42520" rtlCol="0" anchor="ctr"/>
          <a:lstStyle/>
          <a:p>
            <a:pPr algn="l"/>
            <a:endParaRPr lang="zh-CN" altLang="en-US" sz="1488">
              <a:solidFill>
                <a:schemeClr val="bg1"/>
              </a:solidFill>
              <a:latin typeface="+mj-ea"/>
              <a:ea typeface="+mj-ea"/>
            </a:endParaRPr>
          </a:p>
        </p:txBody>
      </p:sp>
      <p:sp>
        <p:nvSpPr>
          <p:cNvPr id="118" name="任意多边形: 形状 117">
            <a:extLst>
              <a:ext uri="{FF2B5EF4-FFF2-40B4-BE49-F238E27FC236}">
                <a16:creationId xmlns:a16="http://schemas.microsoft.com/office/drawing/2014/main" id="{7339FE74-6585-474B-872F-FC2612E07CC8}"/>
              </a:ext>
            </a:extLst>
          </p:cNvPr>
          <p:cNvSpPr/>
          <p:nvPr/>
        </p:nvSpPr>
        <p:spPr>
          <a:xfrm flipV="1">
            <a:off x="3678938" y="2432418"/>
            <a:ext cx="80475" cy="46463"/>
          </a:xfrm>
          <a:custGeom>
            <a:avLst/>
            <a:gdLst>
              <a:gd name="connsiteX0" fmla="*/ 2540000 w 2540000"/>
              <a:gd name="connsiteY0" fmla="*/ 1099852 h 2199704"/>
              <a:gd name="connsiteX1" fmla="*/ 1905000 w 2540000"/>
              <a:gd name="connsiteY1" fmla="*/ 2199704 h 2199704"/>
              <a:gd name="connsiteX2" fmla="*/ 635000 w 2540000"/>
              <a:gd name="connsiteY2" fmla="*/ 2199704 h 2199704"/>
              <a:gd name="connsiteX3" fmla="*/ 0 w 2540000"/>
              <a:gd name="connsiteY3" fmla="*/ 1099852 h 2199704"/>
              <a:gd name="connsiteX4" fmla="*/ 635000 w 2540000"/>
              <a:gd name="connsiteY4" fmla="*/ 0 h 2199704"/>
              <a:gd name="connsiteX5" fmla="*/ 1905000 w 2540000"/>
              <a:gd name="connsiteY5" fmla="*/ 0 h 2199704"/>
              <a:gd name="connsiteX6" fmla="*/ 2540000 w 2540000"/>
              <a:gd name="connsiteY6" fmla="*/ 1099852 h 2199704"/>
              <a:gd name="connsiteX0" fmla="*/ 0 w 2540000"/>
              <a:gd name="connsiteY0" fmla="*/ 1099852 h 2199704"/>
              <a:gd name="connsiteX1" fmla="*/ 635000 w 2540000"/>
              <a:gd name="connsiteY1" fmla="*/ 0 h 2199704"/>
              <a:gd name="connsiteX2" fmla="*/ 1905000 w 2540000"/>
              <a:gd name="connsiteY2" fmla="*/ 0 h 2199704"/>
              <a:gd name="connsiteX3" fmla="*/ 2540000 w 2540000"/>
              <a:gd name="connsiteY3" fmla="*/ 1099852 h 2199704"/>
              <a:gd name="connsiteX4" fmla="*/ 1905000 w 2540000"/>
              <a:gd name="connsiteY4" fmla="*/ 2199704 h 2199704"/>
              <a:gd name="connsiteX5" fmla="*/ 635000 w 2540000"/>
              <a:gd name="connsiteY5" fmla="*/ 2199704 h 2199704"/>
              <a:gd name="connsiteX6" fmla="*/ 226579 w 2540000"/>
              <a:gd name="connsiteY6" fmla="*/ 1326431 h 2199704"/>
              <a:gd name="connsiteX0" fmla="*/ 408421 w 2313421"/>
              <a:gd name="connsiteY0" fmla="*/ 0 h 2199704"/>
              <a:gd name="connsiteX1" fmla="*/ 1678421 w 2313421"/>
              <a:gd name="connsiteY1" fmla="*/ 0 h 2199704"/>
              <a:gd name="connsiteX2" fmla="*/ 2313421 w 2313421"/>
              <a:gd name="connsiteY2" fmla="*/ 1099852 h 2199704"/>
              <a:gd name="connsiteX3" fmla="*/ 1678421 w 2313421"/>
              <a:gd name="connsiteY3" fmla="*/ 2199704 h 2199704"/>
              <a:gd name="connsiteX4" fmla="*/ 408421 w 2313421"/>
              <a:gd name="connsiteY4" fmla="*/ 2199704 h 2199704"/>
              <a:gd name="connsiteX5" fmla="*/ 0 w 2313421"/>
              <a:gd name="connsiteY5" fmla="*/ 1326431 h 2199704"/>
              <a:gd name="connsiteX0" fmla="*/ 0 w 1905000"/>
              <a:gd name="connsiteY0" fmla="*/ 0 h 2199704"/>
              <a:gd name="connsiteX1" fmla="*/ 1270000 w 1905000"/>
              <a:gd name="connsiteY1" fmla="*/ 0 h 2199704"/>
              <a:gd name="connsiteX2" fmla="*/ 1905000 w 1905000"/>
              <a:gd name="connsiteY2" fmla="*/ 1099852 h 2199704"/>
              <a:gd name="connsiteX3" fmla="*/ 1270000 w 1905000"/>
              <a:gd name="connsiteY3" fmla="*/ 2199704 h 2199704"/>
              <a:gd name="connsiteX4" fmla="*/ 0 w 1905000"/>
              <a:gd name="connsiteY4" fmla="*/ 2199704 h 2199704"/>
              <a:gd name="connsiteX0" fmla="*/ 0 w 1905000"/>
              <a:gd name="connsiteY0" fmla="*/ 0 h 2199704"/>
              <a:gd name="connsiteX1" fmla="*/ 1270000 w 1905000"/>
              <a:gd name="connsiteY1" fmla="*/ 0 h 2199704"/>
              <a:gd name="connsiteX2" fmla="*/ 1905000 w 1905000"/>
              <a:gd name="connsiteY2" fmla="*/ 1099852 h 2199704"/>
              <a:gd name="connsiteX3" fmla="*/ 1270000 w 1905000"/>
              <a:gd name="connsiteY3" fmla="*/ 2199704 h 2199704"/>
              <a:gd name="connsiteX0" fmla="*/ 0 w 1905000"/>
              <a:gd name="connsiteY0" fmla="*/ 0 h 1099852"/>
              <a:gd name="connsiteX1" fmla="*/ 1270000 w 1905000"/>
              <a:gd name="connsiteY1" fmla="*/ 0 h 1099852"/>
              <a:gd name="connsiteX2" fmla="*/ 1905000 w 1905000"/>
              <a:gd name="connsiteY2" fmla="*/ 1099852 h 1099852"/>
            </a:gdLst>
            <a:ahLst/>
            <a:cxnLst>
              <a:cxn ang="0">
                <a:pos x="connsiteX0" y="connsiteY0"/>
              </a:cxn>
              <a:cxn ang="0">
                <a:pos x="connsiteX1" y="connsiteY1"/>
              </a:cxn>
              <a:cxn ang="0">
                <a:pos x="connsiteX2" y="connsiteY2"/>
              </a:cxn>
            </a:cxnLst>
            <a:rect l="l" t="t" r="r" b="b"/>
            <a:pathLst>
              <a:path w="1905000" h="1099852">
                <a:moveTo>
                  <a:pt x="0" y="0"/>
                </a:moveTo>
                <a:lnTo>
                  <a:pt x="1270000" y="0"/>
                </a:lnTo>
                <a:lnTo>
                  <a:pt x="1905000" y="1099852"/>
                </a:lnTo>
              </a:path>
            </a:pathLst>
          </a:custGeom>
          <a:noFill/>
          <a:ln w="17716" cap="rnd">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85039" tIns="42520" rIns="85039" bIns="42520" rtlCol="0" anchor="ctr"/>
          <a:lstStyle/>
          <a:p>
            <a:pPr algn="l"/>
            <a:endParaRPr lang="zh-CN" altLang="en-US" sz="1488">
              <a:solidFill>
                <a:schemeClr val="bg1"/>
              </a:solidFill>
              <a:latin typeface="+mj-ea"/>
              <a:ea typeface="+mj-ea"/>
            </a:endParaRPr>
          </a:p>
        </p:txBody>
      </p:sp>
      <p:sp>
        <p:nvSpPr>
          <p:cNvPr id="119" name="任意多边形: 形状 118">
            <a:extLst>
              <a:ext uri="{FF2B5EF4-FFF2-40B4-BE49-F238E27FC236}">
                <a16:creationId xmlns:a16="http://schemas.microsoft.com/office/drawing/2014/main" id="{63E2ACFD-1B5A-41DB-BA51-4B423C34D68F}"/>
              </a:ext>
            </a:extLst>
          </p:cNvPr>
          <p:cNvSpPr/>
          <p:nvPr/>
        </p:nvSpPr>
        <p:spPr>
          <a:xfrm flipH="1" flipV="1">
            <a:off x="3182877" y="2432418"/>
            <a:ext cx="80475" cy="46463"/>
          </a:xfrm>
          <a:custGeom>
            <a:avLst/>
            <a:gdLst>
              <a:gd name="connsiteX0" fmla="*/ 2540000 w 2540000"/>
              <a:gd name="connsiteY0" fmla="*/ 1099852 h 2199704"/>
              <a:gd name="connsiteX1" fmla="*/ 1905000 w 2540000"/>
              <a:gd name="connsiteY1" fmla="*/ 2199704 h 2199704"/>
              <a:gd name="connsiteX2" fmla="*/ 635000 w 2540000"/>
              <a:gd name="connsiteY2" fmla="*/ 2199704 h 2199704"/>
              <a:gd name="connsiteX3" fmla="*/ 0 w 2540000"/>
              <a:gd name="connsiteY3" fmla="*/ 1099852 h 2199704"/>
              <a:gd name="connsiteX4" fmla="*/ 635000 w 2540000"/>
              <a:gd name="connsiteY4" fmla="*/ 0 h 2199704"/>
              <a:gd name="connsiteX5" fmla="*/ 1905000 w 2540000"/>
              <a:gd name="connsiteY5" fmla="*/ 0 h 2199704"/>
              <a:gd name="connsiteX6" fmla="*/ 2540000 w 2540000"/>
              <a:gd name="connsiteY6" fmla="*/ 1099852 h 2199704"/>
              <a:gd name="connsiteX0" fmla="*/ 0 w 2540000"/>
              <a:gd name="connsiteY0" fmla="*/ 1099852 h 2199704"/>
              <a:gd name="connsiteX1" fmla="*/ 635000 w 2540000"/>
              <a:gd name="connsiteY1" fmla="*/ 0 h 2199704"/>
              <a:gd name="connsiteX2" fmla="*/ 1905000 w 2540000"/>
              <a:gd name="connsiteY2" fmla="*/ 0 h 2199704"/>
              <a:gd name="connsiteX3" fmla="*/ 2540000 w 2540000"/>
              <a:gd name="connsiteY3" fmla="*/ 1099852 h 2199704"/>
              <a:gd name="connsiteX4" fmla="*/ 1905000 w 2540000"/>
              <a:gd name="connsiteY4" fmla="*/ 2199704 h 2199704"/>
              <a:gd name="connsiteX5" fmla="*/ 635000 w 2540000"/>
              <a:gd name="connsiteY5" fmla="*/ 2199704 h 2199704"/>
              <a:gd name="connsiteX6" fmla="*/ 226579 w 2540000"/>
              <a:gd name="connsiteY6" fmla="*/ 1326431 h 2199704"/>
              <a:gd name="connsiteX0" fmla="*/ 408421 w 2313421"/>
              <a:gd name="connsiteY0" fmla="*/ 0 h 2199704"/>
              <a:gd name="connsiteX1" fmla="*/ 1678421 w 2313421"/>
              <a:gd name="connsiteY1" fmla="*/ 0 h 2199704"/>
              <a:gd name="connsiteX2" fmla="*/ 2313421 w 2313421"/>
              <a:gd name="connsiteY2" fmla="*/ 1099852 h 2199704"/>
              <a:gd name="connsiteX3" fmla="*/ 1678421 w 2313421"/>
              <a:gd name="connsiteY3" fmla="*/ 2199704 h 2199704"/>
              <a:gd name="connsiteX4" fmla="*/ 408421 w 2313421"/>
              <a:gd name="connsiteY4" fmla="*/ 2199704 h 2199704"/>
              <a:gd name="connsiteX5" fmla="*/ 0 w 2313421"/>
              <a:gd name="connsiteY5" fmla="*/ 1326431 h 2199704"/>
              <a:gd name="connsiteX0" fmla="*/ 0 w 1905000"/>
              <a:gd name="connsiteY0" fmla="*/ 0 h 2199704"/>
              <a:gd name="connsiteX1" fmla="*/ 1270000 w 1905000"/>
              <a:gd name="connsiteY1" fmla="*/ 0 h 2199704"/>
              <a:gd name="connsiteX2" fmla="*/ 1905000 w 1905000"/>
              <a:gd name="connsiteY2" fmla="*/ 1099852 h 2199704"/>
              <a:gd name="connsiteX3" fmla="*/ 1270000 w 1905000"/>
              <a:gd name="connsiteY3" fmla="*/ 2199704 h 2199704"/>
              <a:gd name="connsiteX4" fmla="*/ 0 w 1905000"/>
              <a:gd name="connsiteY4" fmla="*/ 2199704 h 2199704"/>
              <a:gd name="connsiteX0" fmla="*/ 0 w 1905000"/>
              <a:gd name="connsiteY0" fmla="*/ 0 h 2199704"/>
              <a:gd name="connsiteX1" fmla="*/ 1270000 w 1905000"/>
              <a:gd name="connsiteY1" fmla="*/ 0 h 2199704"/>
              <a:gd name="connsiteX2" fmla="*/ 1905000 w 1905000"/>
              <a:gd name="connsiteY2" fmla="*/ 1099852 h 2199704"/>
              <a:gd name="connsiteX3" fmla="*/ 1270000 w 1905000"/>
              <a:gd name="connsiteY3" fmla="*/ 2199704 h 2199704"/>
              <a:gd name="connsiteX0" fmla="*/ 0 w 1905000"/>
              <a:gd name="connsiteY0" fmla="*/ 0 h 1099852"/>
              <a:gd name="connsiteX1" fmla="*/ 1270000 w 1905000"/>
              <a:gd name="connsiteY1" fmla="*/ 0 h 1099852"/>
              <a:gd name="connsiteX2" fmla="*/ 1905000 w 1905000"/>
              <a:gd name="connsiteY2" fmla="*/ 1099852 h 1099852"/>
            </a:gdLst>
            <a:ahLst/>
            <a:cxnLst>
              <a:cxn ang="0">
                <a:pos x="connsiteX0" y="connsiteY0"/>
              </a:cxn>
              <a:cxn ang="0">
                <a:pos x="connsiteX1" y="connsiteY1"/>
              </a:cxn>
              <a:cxn ang="0">
                <a:pos x="connsiteX2" y="connsiteY2"/>
              </a:cxn>
            </a:cxnLst>
            <a:rect l="l" t="t" r="r" b="b"/>
            <a:pathLst>
              <a:path w="1905000" h="1099852">
                <a:moveTo>
                  <a:pt x="0" y="0"/>
                </a:moveTo>
                <a:lnTo>
                  <a:pt x="1270000" y="0"/>
                </a:lnTo>
                <a:lnTo>
                  <a:pt x="1905000" y="1099852"/>
                </a:lnTo>
              </a:path>
            </a:pathLst>
          </a:custGeom>
          <a:noFill/>
          <a:ln w="17716" cap="rnd">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85039" tIns="42520" rIns="85039" bIns="42520" rtlCol="0" anchor="ctr"/>
          <a:lstStyle/>
          <a:p>
            <a:pPr algn="l"/>
            <a:endParaRPr lang="zh-CN" altLang="en-US" sz="1488">
              <a:solidFill>
                <a:schemeClr val="bg1"/>
              </a:solidFill>
              <a:latin typeface="+mj-ea"/>
              <a:ea typeface="+mj-ea"/>
            </a:endParaRPr>
          </a:p>
        </p:txBody>
      </p:sp>
      <p:sp>
        <p:nvSpPr>
          <p:cNvPr id="120" name="任意多边形: 形状 119">
            <a:extLst>
              <a:ext uri="{FF2B5EF4-FFF2-40B4-BE49-F238E27FC236}">
                <a16:creationId xmlns:a16="http://schemas.microsoft.com/office/drawing/2014/main" id="{F32E696C-80E4-4DD8-A531-230817EBF564}"/>
              </a:ext>
            </a:extLst>
          </p:cNvPr>
          <p:cNvSpPr/>
          <p:nvPr/>
        </p:nvSpPr>
        <p:spPr>
          <a:xfrm rot="18000000" flipH="1">
            <a:off x="2935547" y="2006164"/>
            <a:ext cx="80475" cy="46463"/>
          </a:xfrm>
          <a:custGeom>
            <a:avLst/>
            <a:gdLst>
              <a:gd name="connsiteX0" fmla="*/ 2540000 w 2540000"/>
              <a:gd name="connsiteY0" fmla="*/ 1099852 h 2199704"/>
              <a:gd name="connsiteX1" fmla="*/ 1905000 w 2540000"/>
              <a:gd name="connsiteY1" fmla="*/ 2199704 h 2199704"/>
              <a:gd name="connsiteX2" fmla="*/ 635000 w 2540000"/>
              <a:gd name="connsiteY2" fmla="*/ 2199704 h 2199704"/>
              <a:gd name="connsiteX3" fmla="*/ 0 w 2540000"/>
              <a:gd name="connsiteY3" fmla="*/ 1099852 h 2199704"/>
              <a:gd name="connsiteX4" fmla="*/ 635000 w 2540000"/>
              <a:gd name="connsiteY4" fmla="*/ 0 h 2199704"/>
              <a:gd name="connsiteX5" fmla="*/ 1905000 w 2540000"/>
              <a:gd name="connsiteY5" fmla="*/ 0 h 2199704"/>
              <a:gd name="connsiteX6" fmla="*/ 2540000 w 2540000"/>
              <a:gd name="connsiteY6" fmla="*/ 1099852 h 2199704"/>
              <a:gd name="connsiteX0" fmla="*/ 0 w 2540000"/>
              <a:gd name="connsiteY0" fmla="*/ 1099852 h 2199704"/>
              <a:gd name="connsiteX1" fmla="*/ 635000 w 2540000"/>
              <a:gd name="connsiteY1" fmla="*/ 0 h 2199704"/>
              <a:gd name="connsiteX2" fmla="*/ 1905000 w 2540000"/>
              <a:gd name="connsiteY2" fmla="*/ 0 h 2199704"/>
              <a:gd name="connsiteX3" fmla="*/ 2540000 w 2540000"/>
              <a:gd name="connsiteY3" fmla="*/ 1099852 h 2199704"/>
              <a:gd name="connsiteX4" fmla="*/ 1905000 w 2540000"/>
              <a:gd name="connsiteY4" fmla="*/ 2199704 h 2199704"/>
              <a:gd name="connsiteX5" fmla="*/ 635000 w 2540000"/>
              <a:gd name="connsiteY5" fmla="*/ 2199704 h 2199704"/>
              <a:gd name="connsiteX6" fmla="*/ 226579 w 2540000"/>
              <a:gd name="connsiteY6" fmla="*/ 1326431 h 2199704"/>
              <a:gd name="connsiteX0" fmla="*/ 408421 w 2313421"/>
              <a:gd name="connsiteY0" fmla="*/ 0 h 2199704"/>
              <a:gd name="connsiteX1" fmla="*/ 1678421 w 2313421"/>
              <a:gd name="connsiteY1" fmla="*/ 0 h 2199704"/>
              <a:gd name="connsiteX2" fmla="*/ 2313421 w 2313421"/>
              <a:gd name="connsiteY2" fmla="*/ 1099852 h 2199704"/>
              <a:gd name="connsiteX3" fmla="*/ 1678421 w 2313421"/>
              <a:gd name="connsiteY3" fmla="*/ 2199704 h 2199704"/>
              <a:gd name="connsiteX4" fmla="*/ 408421 w 2313421"/>
              <a:gd name="connsiteY4" fmla="*/ 2199704 h 2199704"/>
              <a:gd name="connsiteX5" fmla="*/ 0 w 2313421"/>
              <a:gd name="connsiteY5" fmla="*/ 1326431 h 2199704"/>
              <a:gd name="connsiteX0" fmla="*/ 0 w 1905000"/>
              <a:gd name="connsiteY0" fmla="*/ 0 h 2199704"/>
              <a:gd name="connsiteX1" fmla="*/ 1270000 w 1905000"/>
              <a:gd name="connsiteY1" fmla="*/ 0 h 2199704"/>
              <a:gd name="connsiteX2" fmla="*/ 1905000 w 1905000"/>
              <a:gd name="connsiteY2" fmla="*/ 1099852 h 2199704"/>
              <a:gd name="connsiteX3" fmla="*/ 1270000 w 1905000"/>
              <a:gd name="connsiteY3" fmla="*/ 2199704 h 2199704"/>
              <a:gd name="connsiteX4" fmla="*/ 0 w 1905000"/>
              <a:gd name="connsiteY4" fmla="*/ 2199704 h 2199704"/>
              <a:gd name="connsiteX0" fmla="*/ 0 w 1905000"/>
              <a:gd name="connsiteY0" fmla="*/ 0 h 2199704"/>
              <a:gd name="connsiteX1" fmla="*/ 1270000 w 1905000"/>
              <a:gd name="connsiteY1" fmla="*/ 0 h 2199704"/>
              <a:gd name="connsiteX2" fmla="*/ 1905000 w 1905000"/>
              <a:gd name="connsiteY2" fmla="*/ 1099852 h 2199704"/>
              <a:gd name="connsiteX3" fmla="*/ 1270000 w 1905000"/>
              <a:gd name="connsiteY3" fmla="*/ 2199704 h 2199704"/>
              <a:gd name="connsiteX0" fmla="*/ 0 w 1905000"/>
              <a:gd name="connsiteY0" fmla="*/ 0 h 1099852"/>
              <a:gd name="connsiteX1" fmla="*/ 1270000 w 1905000"/>
              <a:gd name="connsiteY1" fmla="*/ 0 h 1099852"/>
              <a:gd name="connsiteX2" fmla="*/ 1905000 w 1905000"/>
              <a:gd name="connsiteY2" fmla="*/ 1099852 h 1099852"/>
            </a:gdLst>
            <a:ahLst/>
            <a:cxnLst>
              <a:cxn ang="0">
                <a:pos x="connsiteX0" y="connsiteY0"/>
              </a:cxn>
              <a:cxn ang="0">
                <a:pos x="connsiteX1" y="connsiteY1"/>
              </a:cxn>
              <a:cxn ang="0">
                <a:pos x="connsiteX2" y="connsiteY2"/>
              </a:cxn>
            </a:cxnLst>
            <a:rect l="l" t="t" r="r" b="b"/>
            <a:pathLst>
              <a:path w="1905000" h="1099852">
                <a:moveTo>
                  <a:pt x="0" y="0"/>
                </a:moveTo>
                <a:lnTo>
                  <a:pt x="1270000" y="0"/>
                </a:lnTo>
                <a:lnTo>
                  <a:pt x="1905000" y="1099852"/>
                </a:lnTo>
              </a:path>
            </a:pathLst>
          </a:custGeom>
          <a:noFill/>
          <a:ln w="17716" cap="rnd">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85039" tIns="42520" rIns="85039" bIns="42520" rtlCol="0" anchor="ctr"/>
          <a:lstStyle/>
          <a:p>
            <a:pPr algn="l"/>
            <a:endParaRPr lang="zh-CN" altLang="en-US" sz="1488">
              <a:solidFill>
                <a:schemeClr val="bg1"/>
              </a:solidFill>
              <a:latin typeface="+mj-ea"/>
              <a:ea typeface="+mj-ea"/>
            </a:endParaRPr>
          </a:p>
        </p:txBody>
      </p:sp>
      <p:sp>
        <p:nvSpPr>
          <p:cNvPr id="121" name="文本框 120">
            <a:extLst>
              <a:ext uri="{FF2B5EF4-FFF2-40B4-BE49-F238E27FC236}">
                <a16:creationId xmlns:a16="http://schemas.microsoft.com/office/drawing/2014/main" id="{97B3142F-948E-42BD-9D8D-F30EA984C626}"/>
              </a:ext>
            </a:extLst>
          </p:cNvPr>
          <p:cNvSpPr txBox="1"/>
          <p:nvPr/>
        </p:nvSpPr>
        <p:spPr>
          <a:xfrm flipH="1">
            <a:off x="1575764" y="1673595"/>
            <a:ext cx="1192633" cy="286233"/>
          </a:xfrm>
          <a:prstGeom prst="rect">
            <a:avLst/>
          </a:prstGeom>
          <a:noFill/>
          <a:effectLst/>
        </p:spPr>
        <p:txBody>
          <a:bodyPr wrap="none" lIns="0" tIns="0" rIns="0" bIns="0" rtlCol="0" anchor="t">
            <a:spAutoFit/>
          </a:bodyPr>
          <a:lstStyle/>
          <a:p>
            <a:pPr algn="r"/>
            <a:r>
              <a:rPr lang="zh-CN" altLang="en-US" sz="1860" dirty="0">
                <a:solidFill>
                  <a:schemeClr val="accent1"/>
                </a:solidFill>
                <a:latin typeface="+mj-ea"/>
                <a:ea typeface="+mj-ea"/>
              </a:rPr>
              <a:t>关键词标题</a:t>
            </a:r>
          </a:p>
        </p:txBody>
      </p:sp>
      <p:sp>
        <p:nvSpPr>
          <p:cNvPr id="122" name="文本框 121">
            <a:extLst>
              <a:ext uri="{FF2B5EF4-FFF2-40B4-BE49-F238E27FC236}">
                <a16:creationId xmlns:a16="http://schemas.microsoft.com/office/drawing/2014/main" id="{A4C34764-CC59-426D-B3F8-0E2849973B0D}"/>
              </a:ext>
            </a:extLst>
          </p:cNvPr>
          <p:cNvSpPr txBox="1"/>
          <p:nvPr/>
        </p:nvSpPr>
        <p:spPr>
          <a:xfrm flipH="1">
            <a:off x="376108" y="1959826"/>
            <a:ext cx="2406784" cy="432271"/>
          </a:xfrm>
          <a:prstGeom prst="rect">
            <a:avLst/>
          </a:prstGeom>
          <a:noFill/>
          <a:effectLst/>
        </p:spPr>
        <p:txBody>
          <a:bodyPr wrap="square" lIns="0" tIns="0" rIns="0" bIns="0" rtlCol="0" anchor="t">
            <a:spAutoFit/>
          </a:bodyPr>
          <a:lstStyle/>
          <a:p>
            <a:pPr algn="r">
              <a:lnSpc>
                <a:spcPct val="130000"/>
              </a:lnSpc>
            </a:pPr>
            <a:r>
              <a:rPr lang="en-US" altLang="zh-CN" sz="1116" b="0" dirty="0">
                <a:solidFill>
                  <a:schemeClr val="tx1">
                    <a:lumMod val="75000"/>
                    <a:lumOff val="25000"/>
                  </a:schemeClr>
                </a:solidFill>
                <a:effectLst/>
                <a:latin typeface="+mn-ea"/>
              </a:rPr>
              <a:t>Lorem ipsum dolor onsectetur adipisicing elit</a:t>
            </a:r>
            <a:r>
              <a:rPr lang="en-US" altLang="zh-CN" sz="1116" dirty="0">
                <a:solidFill>
                  <a:schemeClr val="tx1">
                    <a:lumMod val="75000"/>
                    <a:lumOff val="25000"/>
                  </a:schemeClr>
                </a:solidFill>
                <a:latin typeface="+mn-ea"/>
              </a:rPr>
              <a:t> </a:t>
            </a:r>
            <a:r>
              <a:rPr lang="en-US" altLang="zh-CN" sz="1116" b="0" dirty="0">
                <a:solidFill>
                  <a:schemeClr val="tx1">
                    <a:lumMod val="75000"/>
                    <a:lumOff val="25000"/>
                  </a:schemeClr>
                </a:solidFill>
                <a:effectLst/>
                <a:latin typeface="+mn-ea"/>
              </a:rPr>
              <a:t>sed do eiusmod</a:t>
            </a:r>
            <a:endParaRPr lang="zh-CN" altLang="en-US" sz="1116" b="0" dirty="0">
              <a:solidFill>
                <a:schemeClr val="tx1">
                  <a:lumMod val="75000"/>
                  <a:lumOff val="25000"/>
                </a:schemeClr>
              </a:solidFill>
              <a:effectLst/>
              <a:latin typeface="+mn-ea"/>
            </a:endParaRPr>
          </a:p>
        </p:txBody>
      </p:sp>
      <p:sp>
        <p:nvSpPr>
          <p:cNvPr id="86" name="椭圆 85">
            <a:extLst>
              <a:ext uri="{FF2B5EF4-FFF2-40B4-BE49-F238E27FC236}">
                <a16:creationId xmlns:a16="http://schemas.microsoft.com/office/drawing/2014/main" id="{E7CBF474-864C-4224-9214-D2E1120ED77C}"/>
              </a:ext>
            </a:extLst>
          </p:cNvPr>
          <p:cNvSpPr/>
          <p:nvPr>
            <p:custDataLst>
              <p:tags r:id="rId8"/>
            </p:custDataLst>
          </p:nvPr>
        </p:nvSpPr>
        <p:spPr>
          <a:xfrm flipH="1">
            <a:off x="4654722" y="3580907"/>
            <a:ext cx="65210" cy="65210"/>
          </a:xfrm>
          <a:prstGeom prst="ellipse">
            <a:avLst/>
          </a:prstGeom>
          <a:solidFill>
            <a:schemeClr val="bg1"/>
          </a:solidFill>
          <a:ln>
            <a:noFill/>
          </a:ln>
          <a:effectLst>
            <a:outerShdw blurRad="23622" sx="102000" sy="102000" algn="ctr" rotWithShape="0">
              <a:schemeClr val="accent1">
                <a:lumMod val="20000"/>
                <a:lumOff val="80000"/>
                <a:alpha val="89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85039" tIns="42520" rIns="85039" bIns="42520" rtlCol="0" anchor="ctr"/>
          <a:lstStyle/>
          <a:p>
            <a:pPr algn="l"/>
            <a:endParaRPr lang="zh-CN" altLang="en-US" sz="1488">
              <a:solidFill>
                <a:schemeClr val="bg1"/>
              </a:solidFill>
              <a:latin typeface="+mj-ea"/>
              <a:ea typeface="+mj-ea"/>
            </a:endParaRPr>
          </a:p>
        </p:txBody>
      </p:sp>
      <p:sp>
        <p:nvSpPr>
          <p:cNvPr id="103" name="任意多边形: 形状 102">
            <a:extLst>
              <a:ext uri="{FF2B5EF4-FFF2-40B4-BE49-F238E27FC236}">
                <a16:creationId xmlns:a16="http://schemas.microsoft.com/office/drawing/2014/main" id="{9A74CDAA-0B47-423B-BCDE-9BED644C99FF}"/>
              </a:ext>
            </a:extLst>
          </p:cNvPr>
          <p:cNvSpPr/>
          <p:nvPr/>
        </p:nvSpPr>
        <p:spPr>
          <a:xfrm flipH="1">
            <a:off x="2584566" y="3168406"/>
            <a:ext cx="1026892" cy="889314"/>
          </a:xfrm>
          <a:custGeom>
            <a:avLst/>
            <a:gdLst>
              <a:gd name="connsiteX0" fmla="*/ 2540000 w 2540000"/>
              <a:gd name="connsiteY0" fmla="*/ 1099852 h 2199704"/>
              <a:gd name="connsiteX1" fmla="*/ 1905000 w 2540000"/>
              <a:gd name="connsiteY1" fmla="*/ 2199704 h 2199704"/>
              <a:gd name="connsiteX2" fmla="*/ 635000 w 2540000"/>
              <a:gd name="connsiteY2" fmla="*/ 2199704 h 2199704"/>
              <a:gd name="connsiteX3" fmla="*/ 0 w 2540000"/>
              <a:gd name="connsiteY3" fmla="*/ 1099852 h 2199704"/>
              <a:gd name="connsiteX4" fmla="*/ 635000 w 2540000"/>
              <a:gd name="connsiteY4" fmla="*/ 0 h 2199704"/>
              <a:gd name="connsiteX5" fmla="*/ 1905000 w 2540000"/>
              <a:gd name="connsiteY5" fmla="*/ 0 h 2199704"/>
              <a:gd name="connsiteX6" fmla="*/ 2540000 w 2540000"/>
              <a:gd name="connsiteY6" fmla="*/ 1099852 h 21997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40000" h="2199704">
                <a:moveTo>
                  <a:pt x="2540000" y="1099852"/>
                </a:moveTo>
                <a:lnTo>
                  <a:pt x="1905000" y="2199704"/>
                </a:lnTo>
                <a:lnTo>
                  <a:pt x="635000" y="2199704"/>
                </a:lnTo>
                <a:lnTo>
                  <a:pt x="0" y="1099852"/>
                </a:lnTo>
                <a:lnTo>
                  <a:pt x="635000" y="0"/>
                </a:lnTo>
                <a:lnTo>
                  <a:pt x="1905000" y="0"/>
                </a:lnTo>
                <a:lnTo>
                  <a:pt x="2540000" y="1099852"/>
                </a:lnTo>
                <a:close/>
              </a:path>
            </a:pathLst>
          </a:custGeom>
          <a:solidFill>
            <a:schemeClr val="accent1">
              <a:alpha val="1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85039" tIns="42520" rIns="85039" bIns="42520" rtlCol="0" anchor="ctr"/>
          <a:lstStyle/>
          <a:p>
            <a:pPr algn="l"/>
            <a:endParaRPr lang="zh-CN" altLang="en-US" sz="1488">
              <a:solidFill>
                <a:schemeClr val="bg1"/>
              </a:solidFill>
              <a:latin typeface="+mj-ea"/>
              <a:ea typeface="+mj-ea"/>
            </a:endParaRPr>
          </a:p>
        </p:txBody>
      </p:sp>
      <p:sp>
        <p:nvSpPr>
          <p:cNvPr id="104" name="任意多边形: 形状 103">
            <a:extLst>
              <a:ext uri="{FF2B5EF4-FFF2-40B4-BE49-F238E27FC236}">
                <a16:creationId xmlns:a16="http://schemas.microsoft.com/office/drawing/2014/main" id="{729BE730-6FB2-4CC0-9C70-E254645B3237}"/>
              </a:ext>
            </a:extLst>
          </p:cNvPr>
          <p:cNvSpPr/>
          <p:nvPr/>
        </p:nvSpPr>
        <p:spPr>
          <a:xfrm flipH="1">
            <a:off x="2621356" y="3200270"/>
            <a:ext cx="953310" cy="825589"/>
          </a:xfrm>
          <a:custGeom>
            <a:avLst/>
            <a:gdLst>
              <a:gd name="connsiteX0" fmla="*/ 2540000 w 2540000"/>
              <a:gd name="connsiteY0" fmla="*/ 1099852 h 2199704"/>
              <a:gd name="connsiteX1" fmla="*/ 1905000 w 2540000"/>
              <a:gd name="connsiteY1" fmla="*/ 2199704 h 2199704"/>
              <a:gd name="connsiteX2" fmla="*/ 635000 w 2540000"/>
              <a:gd name="connsiteY2" fmla="*/ 2199704 h 2199704"/>
              <a:gd name="connsiteX3" fmla="*/ 0 w 2540000"/>
              <a:gd name="connsiteY3" fmla="*/ 1099852 h 2199704"/>
              <a:gd name="connsiteX4" fmla="*/ 635000 w 2540000"/>
              <a:gd name="connsiteY4" fmla="*/ 0 h 2199704"/>
              <a:gd name="connsiteX5" fmla="*/ 1905000 w 2540000"/>
              <a:gd name="connsiteY5" fmla="*/ 0 h 2199704"/>
              <a:gd name="connsiteX6" fmla="*/ 2540000 w 2540000"/>
              <a:gd name="connsiteY6" fmla="*/ 1099852 h 21997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40000" h="2199704">
                <a:moveTo>
                  <a:pt x="2540000" y="1099852"/>
                </a:moveTo>
                <a:lnTo>
                  <a:pt x="1905000" y="2199704"/>
                </a:lnTo>
                <a:lnTo>
                  <a:pt x="635000" y="2199704"/>
                </a:lnTo>
                <a:lnTo>
                  <a:pt x="0" y="1099852"/>
                </a:lnTo>
                <a:lnTo>
                  <a:pt x="635000" y="0"/>
                </a:lnTo>
                <a:lnTo>
                  <a:pt x="1905000" y="0"/>
                </a:lnTo>
                <a:lnTo>
                  <a:pt x="2540000" y="1099852"/>
                </a:lnTo>
                <a:close/>
              </a:path>
            </a:pathLst>
          </a:custGeom>
          <a:noFill/>
          <a:ln w="11811">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85039" tIns="42520" rIns="85039" bIns="42520" rtlCol="0" anchor="ctr"/>
          <a:lstStyle/>
          <a:p>
            <a:pPr algn="l"/>
            <a:endParaRPr lang="zh-CN" altLang="en-US" sz="1488">
              <a:solidFill>
                <a:schemeClr val="bg1"/>
              </a:solidFill>
              <a:latin typeface="+mj-ea"/>
              <a:ea typeface="+mj-ea"/>
            </a:endParaRPr>
          </a:p>
        </p:txBody>
      </p:sp>
      <p:sp>
        <p:nvSpPr>
          <p:cNvPr id="105" name="任意多边形: 形状 104">
            <a:extLst>
              <a:ext uri="{FF2B5EF4-FFF2-40B4-BE49-F238E27FC236}">
                <a16:creationId xmlns:a16="http://schemas.microsoft.com/office/drawing/2014/main" id="{0C897BEF-FCE8-4267-ACFA-154D46DCC4C9}"/>
              </a:ext>
            </a:extLst>
          </p:cNvPr>
          <p:cNvSpPr/>
          <p:nvPr/>
        </p:nvSpPr>
        <p:spPr>
          <a:xfrm flipH="1">
            <a:off x="2805739" y="3163978"/>
            <a:ext cx="80475" cy="46463"/>
          </a:xfrm>
          <a:custGeom>
            <a:avLst/>
            <a:gdLst>
              <a:gd name="connsiteX0" fmla="*/ 2540000 w 2540000"/>
              <a:gd name="connsiteY0" fmla="*/ 1099852 h 2199704"/>
              <a:gd name="connsiteX1" fmla="*/ 1905000 w 2540000"/>
              <a:gd name="connsiteY1" fmla="*/ 2199704 h 2199704"/>
              <a:gd name="connsiteX2" fmla="*/ 635000 w 2540000"/>
              <a:gd name="connsiteY2" fmla="*/ 2199704 h 2199704"/>
              <a:gd name="connsiteX3" fmla="*/ 0 w 2540000"/>
              <a:gd name="connsiteY3" fmla="*/ 1099852 h 2199704"/>
              <a:gd name="connsiteX4" fmla="*/ 635000 w 2540000"/>
              <a:gd name="connsiteY4" fmla="*/ 0 h 2199704"/>
              <a:gd name="connsiteX5" fmla="*/ 1905000 w 2540000"/>
              <a:gd name="connsiteY5" fmla="*/ 0 h 2199704"/>
              <a:gd name="connsiteX6" fmla="*/ 2540000 w 2540000"/>
              <a:gd name="connsiteY6" fmla="*/ 1099852 h 2199704"/>
              <a:gd name="connsiteX0" fmla="*/ 0 w 2540000"/>
              <a:gd name="connsiteY0" fmla="*/ 1099852 h 2199704"/>
              <a:gd name="connsiteX1" fmla="*/ 635000 w 2540000"/>
              <a:gd name="connsiteY1" fmla="*/ 0 h 2199704"/>
              <a:gd name="connsiteX2" fmla="*/ 1905000 w 2540000"/>
              <a:gd name="connsiteY2" fmla="*/ 0 h 2199704"/>
              <a:gd name="connsiteX3" fmla="*/ 2540000 w 2540000"/>
              <a:gd name="connsiteY3" fmla="*/ 1099852 h 2199704"/>
              <a:gd name="connsiteX4" fmla="*/ 1905000 w 2540000"/>
              <a:gd name="connsiteY4" fmla="*/ 2199704 h 2199704"/>
              <a:gd name="connsiteX5" fmla="*/ 635000 w 2540000"/>
              <a:gd name="connsiteY5" fmla="*/ 2199704 h 2199704"/>
              <a:gd name="connsiteX6" fmla="*/ 226579 w 2540000"/>
              <a:gd name="connsiteY6" fmla="*/ 1326431 h 2199704"/>
              <a:gd name="connsiteX0" fmla="*/ 408421 w 2313421"/>
              <a:gd name="connsiteY0" fmla="*/ 0 h 2199704"/>
              <a:gd name="connsiteX1" fmla="*/ 1678421 w 2313421"/>
              <a:gd name="connsiteY1" fmla="*/ 0 h 2199704"/>
              <a:gd name="connsiteX2" fmla="*/ 2313421 w 2313421"/>
              <a:gd name="connsiteY2" fmla="*/ 1099852 h 2199704"/>
              <a:gd name="connsiteX3" fmla="*/ 1678421 w 2313421"/>
              <a:gd name="connsiteY3" fmla="*/ 2199704 h 2199704"/>
              <a:gd name="connsiteX4" fmla="*/ 408421 w 2313421"/>
              <a:gd name="connsiteY4" fmla="*/ 2199704 h 2199704"/>
              <a:gd name="connsiteX5" fmla="*/ 0 w 2313421"/>
              <a:gd name="connsiteY5" fmla="*/ 1326431 h 2199704"/>
              <a:gd name="connsiteX0" fmla="*/ 0 w 1905000"/>
              <a:gd name="connsiteY0" fmla="*/ 0 h 2199704"/>
              <a:gd name="connsiteX1" fmla="*/ 1270000 w 1905000"/>
              <a:gd name="connsiteY1" fmla="*/ 0 h 2199704"/>
              <a:gd name="connsiteX2" fmla="*/ 1905000 w 1905000"/>
              <a:gd name="connsiteY2" fmla="*/ 1099852 h 2199704"/>
              <a:gd name="connsiteX3" fmla="*/ 1270000 w 1905000"/>
              <a:gd name="connsiteY3" fmla="*/ 2199704 h 2199704"/>
              <a:gd name="connsiteX4" fmla="*/ 0 w 1905000"/>
              <a:gd name="connsiteY4" fmla="*/ 2199704 h 2199704"/>
              <a:gd name="connsiteX0" fmla="*/ 0 w 1905000"/>
              <a:gd name="connsiteY0" fmla="*/ 0 h 2199704"/>
              <a:gd name="connsiteX1" fmla="*/ 1270000 w 1905000"/>
              <a:gd name="connsiteY1" fmla="*/ 0 h 2199704"/>
              <a:gd name="connsiteX2" fmla="*/ 1905000 w 1905000"/>
              <a:gd name="connsiteY2" fmla="*/ 1099852 h 2199704"/>
              <a:gd name="connsiteX3" fmla="*/ 1270000 w 1905000"/>
              <a:gd name="connsiteY3" fmla="*/ 2199704 h 2199704"/>
              <a:gd name="connsiteX0" fmla="*/ 0 w 1905000"/>
              <a:gd name="connsiteY0" fmla="*/ 0 h 1099852"/>
              <a:gd name="connsiteX1" fmla="*/ 1270000 w 1905000"/>
              <a:gd name="connsiteY1" fmla="*/ 0 h 1099852"/>
              <a:gd name="connsiteX2" fmla="*/ 1905000 w 1905000"/>
              <a:gd name="connsiteY2" fmla="*/ 1099852 h 1099852"/>
            </a:gdLst>
            <a:ahLst/>
            <a:cxnLst>
              <a:cxn ang="0">
                <a:pos x="connsiteX0" y="connsiteY0"/>
              </a:cxn>
              <a:cxn ang="0">
                <a:pos x="connsiteX1" y="connsiteY1"/>
              </a:cxn>
              <a:cxn ang="0">
                <a:pos x="connsiteX2" y="connsiteY2"/>
              </a:cxn>
            </a:cxnLst>
            <a:rect l="l" t="t" r="r" b="b"/>
            <a:pathLst>
              <a:path w="1905000" h="1099852">
                <a:moveTo>
                  <a:pt x="0" y="0"/>
                </a:moveTo>
                <a:lnTo>
                  <a:pt x="1270000" y="0"/>
                </a:lnTo>
                <a:lnTo>
                  <a:pt x="1905000" y="1099852"/>
                </a:lnTo>
              </a:path>
            </a:pathLst>
          </a:custGeom>
          <a:noFill/>
          <a:ln w="17716" cap="rnd">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85039" tIns="42520" rIns="85039" bIns="42520" rtlCol="0" anchor="ctr"/>
          <a:lstStyle/>
          <a:p>
            <a:pPr algn="l"/>
            <a:endParaRPr lang="zh-CN" altLang="en-US" sz="1488">
              <a:solidFill>
                <a:schemeClr val="bg1"/>
              </a:solidFill>
              <a:latin typeface="+mj-ea"/>
              <a:ea typeface="+mj-ea"/>
            </a:endParaRPr>
          </a:p>
        </p:txBody>
      </p:sp>
      <p:sp>
        <p:nvSpPr>
          <p:cNvPr id="106" name="任意多边形: 形状 105">
            <a:extLst>
              <a:ext uri="{FF2B5EF4-FFF2-40B4-BE49-F238E27FC236}">
                <a16:creationId xmlns:a16="http://schemas.microsoft.com/office/drawing/2014/main" id="{E06B7BD7-5150-4156-B618-332461DB6592}"/>
              </a:ext>
            </a:extLst>
          </p:cNvPr>
          <p:cNvSpPr/>
          <p:nvPr/>
        </p:nvSpPr>
        <p:spPr>
          <a:xfrm>
            <a:off x="3303466" y="3163978"/>
            <a:ext cx="80475" cy="46463"/>
          </a:xfrm>
          <a:custGeom>
            <a:avLst/>
            <a:gdLst>
              <a:gd name="connsiteX0" fmla="*/ 2540000 w 2540000"/>
              <a:gd name="connsiteY0" fmla="*/ 1099852 h 2199704"/>
              <a:gd name="connsiteX1" fmla="*/ 1905000 w 2540000"/>
              <a:gd name="connsiteY1" fmla="*/ 2199704 h 2199704"/>
              <a:gd name="connsiteX2" fmla="*/ 635000 w 2540000"/>
              <a:gd name="connsiteY2" fmla="*/ 2199704 h 2199704"/>
              <a:gd name="connsiteX3" fmla="*/ 0 w 2540000"/>
              <a:gd name="connsiteY3" fmla="*/ 1099852 h 2199704"/>
              <a:gd name="connsiteX4" fmla="*/ 635000 w 2540000"/>
              <a:gd name="connsiteY4" fmla="*/ 0 h 2199704"/>
              <a:gd name="connsiteX5" fmla="*/ 1905000 w 2540000"/>
              <a:gd name="connsiteY5" fmla="*/ 0 h 2199704"/>
              <a:gd name="connsiteX6" fmla="*/ 2540000 w 2540000"/>
              <a:gd name="connsiteY6" fmla="*/ 1099852 h 2199704"/>
              <a:gd name="connsiteX0" fmla="*/ 0 w 2540000"/>
              <a:gd name="connsiteY0" fmla="*/ 1099852 h 2199704"/>
              <a:gd name="connsiteX1" fmla="*/ 635000 w 2540000"/>
              <a:gd name="connsiteY1" fmla="*/ 0 h 2199704"/>
              <a:gd name="connsiteX2" fmla="*/ 1905000 w 2540000"/>
              <a:gd name="connsiteY2" fmla="*/ 0 h 2199704"/>
              <a:gd name="connsiteX3" fmla="*/ 2540000 w 2540000"/>
              <a:gd name="connsiteY3" fmla="*/ 1099852 h 2199704"/>
              <a:gd name="connsiteX4" fmla="*/ 1905000 w 2540000"/>
              <a:gd name="connsiteY4" fmla="*/ 2199704 h 2199704"/>
              <a:gd name="connsiteX5" fmla="*/ 635000 w 2540000"/>
              <a:gd name="connsiteY5" fmla="*/ 2199704 h 2199704"/>
              <a:gd name="connsiteX6" fmla="*/ 226579 w 2540000"/>
              <a:gd name="connsiteY6" fmla="*/ 1326431 h 2199704"/>
              <a:gd name="connsiteX0" fmla="*/ 408421 w 2313421"/>
              <a:gd name="connsiteY0" fmla="*/ 0 h 2199704"/>
              <a:gd name="connsiteX1" fmla="*/ 1678421 w 2313421"/>
              <a:gd name="connsiteY1" fmla="*/ 0 h 2199704"/>
              <a:gd name="connsiteX2" fmla="*/ 2313421 w 2313421"/>
              <a:gd name="connsiteY2" fmla="*/ 1099852 h 2199704"/>
              <a:gd name="connsiteX3" fmla="*/ 1678421 w 2313421"/>
              <a:gd name="connsiteY3" fmla="*/ 2199704 h 2199704"/>
              <a:gd name="connsiteX4" fmla="*/ 408421 w 2313421"/>
              <a:gd name="connsiteY4" fmla="*/ 2199704 h 2199704"/>
              <a:gd name="connsiteX5" fmla="*/ 0 w 2313421"/>
              <a:gd name="connsiteY5" fmla="*/ 1326431 h 2199704"/>
              <a:gd name="connsiteX0" fmla="*/ 0 w 1905000"/>
              <a:gd name="connsiteY0" fmla="*/ 0 h 2199704"/>
              <a:gd name="connsiteX1" fmla="*/ 1270000 w 1905000"/>
              <a:gd name="connsiteY1" fmla="*/ 0 h 2199704"/>
              <a:gd name="connsiteX2" fmla="*/ 1905000 w 1905000"/>
              <a:gd name="connsiteY2" fmla="*/ 1099852 h 2199704"/>
              <a:gd name="connsiteX3" fmla="*/ 1270000 w 1905000"/>
              <a:gd name="connsiteY3" fmla="*/ 2199704 h 2199704"/>
              <a:gd name="connsiteX4" fmla="*/ 0 w 1905000"/>
              <a:gd name="connsiteY4" fmla="*/ 2199704 h 2199704"/>
              <a:gd name="connsiteX0" fmla="*/ 0 w 1905000"/>
              <a:gd name="connsiteY0" fmla="*/ 0 h 2199704"/>
              <a:gd name="connsiteX1" fmla="*/ 1270000 w 1905000"/>
              <a:gd name="connsiteY1" fmla="*/ 0 h 2199704"/>
              <a:gd name="connsiteX2" fmla="*/ 1905000 w 1905000"/>
              <a:gd name="connsiteY2" fmla="*/ 1099852 h 2199704"/>
              <a:gd name="connsiteX3" fmla="*/ 1270000 w 1905000"/>
              <a:gd name="connsiteY3" fmla="*/ 2199704 h 2199704"/>
              <a:gd name="connsiteX0" fmla="*/ 0 w 1905000"/>
              <a:gd name="connsiteY0" fmla="*/ 0 h 1099852"/>
              <a:gd name="connsiteX1" fmla="*/ 1270000 w 1905000"/>
              <a:gd name="connsiteY1" fmla="*/ 0 h 1099852"/>
              <a:gd name="connsiteX2" fmla="*/ 1905000 w 1905000"/>
              <a:gd name="connsiteY2" fmla="*/ 1099852 h 1099852"/>
            </a:gdLst>
            <a:ahLst/>
            <a:cxnLst>
              <a:cxn ang="0">
                <a:pos x="connsiteX0" y="connsiteY0"/>
              </a:cxn>
              <a:cxn ang="0">
                <a:pos x="connsiteX1" y="connsiteY1"/>
              </a:cxn>
              <a:cxn ang="0">
                <a:pos x="connsiteX2" y="connsiteY2"/>
              </a:cxn>
            </a:cxnLst>
            <a:rect l="l" t="t" r="r" b="b"/>
            <a:pathLst>
              <a:path w="1905000" h="1099852">
                <a:moveTo>
                  <a:pt x="0" y="0"/>
                </a:moveTo>
                <a:lnTo>
                  <a:pt x="1270000" y="0"/>
                </a:lnTo>
                <a:lnTo>
                  <a:pt x="1905000" y="1099852"/>
                </a:lnTo>
              </a:path>
            </a:pathLst>
          </a:custGeom>
          <a:noFill/>
          <a:ln w="17716" cap="rnd">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85039" tIns="42520" rIns="85039" bIns="42520" rtlCol="0" anchor="ctr"/>
          <a:lstStyle/>
          <a:p>
            <a:pPr algn="l"/>
            <a:endParaRPr lang="zh-CN" altLang="en-US" sz="1488">
              <a:solidFill>
                <a:schemeClr val="bg1"/>
              </a:solidFill>
              <a:latin typeface="+mj-ea"/>
              <a:ea typeface="+mj-ea"/>
            </a:endParaRPr>
          </a:p>
        </p:txBody>
      </p:sp>
      <p:sp>
        <p:nvSpPr>
          <p:cNvPr id="107" name="任意多边形: 形状 106">
            <a:extLst>
              <a:ext uri="{FF2B5EF4-FFF2-40B4-BE49-F238E27FC236}">
                <a16:creationId xmlns:a16="http://schemas.microsoft.com/office/drawing/2014/main" id="{560A68A5-BC01-4280-B57F-34DE674F09FB}"/>
              </a:ext>
            </a:extLst>
          </p:cNvPr>
          <p:cNvSpPr/>
          <p:nvPr/>
        </p:nvSpPr>
        <p:spPr>
          <a:xfrm rot="3600000">
            <a:off x="3548204" y="3589583"/>
            <a:ext cx="80475" cy="46463"/>
          </a:xfrm>
          <a:custGeom>
            <a:avLst/>
            <a:gdLst>
              <a:gd name="connsiteX0" fmla="*/ 2540000 w 2540000"/>
              <a:gd name="connsiteY0" fmla="*/ 1099852 h 2199704"/>
              <a:gd name="connsiteX1" fmla="*/ 1905000 w 2540000"/>
              <a:gd name="connsiteY1" fmla="*/ 2199704 h 2199704"/>
              <a:gd name="connsiteX2" fmla="*/ 635000 w 2540000"/>
              <a:gd name="connsiteY2" fmla="*/ 2199704 h 2199704"/>
              <a:gd name="connsiteX3" fmla="*/ 0 w 2540000"/>
              <a:gd name="connsiteY3" fmla="*/ 1099852 h 2199704"/>
              <a:gd name="connsiteX4" fmla="*/ 635000 w 2540000"/>
              <a:gd name="connsiteY4" fmla="*/ 0 h 2199704"/>
              <a:gd name="connsiteX5" fmla="*/ 1905000 w 2540000"/>
              <a:gd name="connsiteY5" fmla="*/ 0 h 2199704"/>
              <a:gd name="connsiteX6" fmla="*/ 2540000 w 2540000"/>
              <a:gd name="connsiteY6" fmla="*/ 1099852 h 2199704"/>
              <a:gd name="connsiteX0" fmla="*/ 0 w 2540000"/>
              <a:gd name="connsiteY0" fmla="*/ 1099852 h 2199704"/>
              <a:gd name="connsiteX1" fmla="*/ 635000 w 2540000"/>
              <a:gd name="connsiteY1" fmla="*/ 0 h 2199704"/>
              <a:gd name="connsiteX2" fmla="*/ 1905000 w 2540000"/>
              <a:gd name="connsiteY2" fmla="*/ 0 h 2199704"/>
              <a:gd name="connsiteX3" fmla="*/ 2540000 w 2540000"/>
              <a:gd name="connsiteY3" fmla="*/ 1099852 h 2199704"/>
              <a:gd name="connsiteX4" fmla="*/ 1905000 w 2540000"/>
              <a:gd name="connsiteY4" fmla="*/ 2199704 h 2199704"/>
              <a:gd name="connsiteX5" fmla="*/ 635000 w 2540000"/>
              <a:gd name="connsiteY5" fmla="*/ 2199704 h 2199704"/>
              <a:gd name="connsiteX6" fmla="*/ 226579 w 2540000"/>
              <a:gd name="connsiteY6" fmla="*/ 1326431 h 2199704"/>
              <a:gd name="connsiteX0" fmla="*/ 408421 w 2313421"/>
              <a:gd name="connsiteY0" fmla="*/ 0 h 2199704"/>
              <a:gd name="connsiteX1" fmla="*/ 1678421 w 2313421"/>
              <a:gd name="connsiteY1" fmla="*/ 0 h 2199704"/>
              <a:gd name="connsiteX2" fmla="*/ 2313421 w 2313421"/>
              <a:gd name="connsiteY2" fmla="*/ 1099852 h 2199704"/>
              <a:gd name="connsiteX3" fmla="*/ 1678421 w 2313421"/>
              <a:gd name="connsiteY3" fmla="*/ 2199704 h 2199704"/>
              <a:gd name="connsiteX4" fmla="*/ 408421 w 2313421"/>
              <a:gd name="connsiteY4" fmla="*/ 2199704 h 2199704"/>
              <a:gd name="connsiteX5" fmla="*/ 0 w 2313421"/>
              <a:gd name="connsiteY5" fmla="*/ 1326431 h 2199704"/>
              <a:gd name="connsiteX0" fmla="*/ 0 w 1905000"/>
              <a:gd name="connsiteY0" fmla="*/ 0 h 2199704"/>
              <a:gd name="connsiteX1" fmla="*/ 1270000 w 1905000"/>
              <a:gd name="connsiteY1" fmla="*/ 0 h 2199704"/>
              <a:gd name="connsiteX2" fmla="*/ 1905000 w 1905000"/>
              <a:gd name="connsiteY2" fmla="*/ 1099852 h 2199704"/>
              <a:gd name="connsiteX3" fmla="*/ 1270000 w 1905000"/>
              <a:gd name="connsiteY3" fmla="*/ 2199704 h 2199704"/>
              <a:gd name="connsiteX4" fmla="*/ 0 w 1905000"/>
              <a:gd name="connsiteY4" fmla="*/ 2199704 h 2199704"/>
              <a:gd name="connsiteX0" fmla="*/ 0 w 1905000"/>
              <a:gd name="connsiteY0" fmla="*/ 0 h 2199704"/>
              <a:gd name="connsiteX1" fmla="*/ 1270000 w 1905000"/>
              <a:gd name="connsiteY1" fmla="*/ 0 h 2199704"/>
              <a:gd name="connsiteX2" fmla="*/ 1905000 w 1905000"/>
              <a:gd name="connsiteY2" fmla="*/ 1099852 h 2199704"/>
              <a:gd name="connsiteX3" fmla="*/ 1270000 w 1905000"/>
              <a:gd name="connsiteY3" fmla="*/ 2199704 h 2199704"/>
              <a:gd name="connsiteX0" fmla="*/ 0 w 1905000"/>
              <a:gd name="connsiteY0" fmla="*/ 0 h 1099852"/>
              <a:gd name="connsiteX1" fmla="*/ 1270000 w 1905000"/>
              <a:gd name="connsiteY1" fmla="*/ 0 h 1099852"/>
              <a:gd name="connsiteX2" fmla="*/ 1905000 w 1905000"/>
              <a:gd name="connsiteY2" fmla="*/ 1099852 h 1099852"/>
            </a:gdLst>
            <a:ahLst/>
            <a:cxnLst>
              <a:cxn ang="0">
                <a:pos x="connsiteX0" y="connsiteY0"/>
              </a:cxn>
              <a:cxn ang="0">
                <a:pos x="connsiteX1" y="connsiteY1"/>
              </a:cxn>
              <a:cxn ang="0">
                <a:pos x="connsiteX2" y="connsiteY2"/>
              </a:cxn>
            </a:cxnLst>
            <a:rect l="l" t="t" r="r" b="b"/>
            <a:pathLst>
              <a:path w="1905000" h="1099852">
                <a:moveTo>
                  <a:pt x="0" y="0"/>
                </a:moveTo>
                <a:lnTo>
                  <a:pt x="1270000" y="0"/>
                </a:lnTo>
                <a:lnTo>
                  <a:pt x="1905000" y="1099852"/>
                </a:lnTo>
              </a:path>
            </a:pathLst>
          </a:custGeom>
          <a:noFill/>
          <a:ln w="17716" cap="rnd">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85039" tIns="42520" rIns="85039" bIns="42520" rtlCol="0" anchor="ctr"/>
          <a:lstStyle/>
          <a:p>
            <a:pPr algn="l"/>
            <a:endParaRPr lang="zh-CN" altLang="en-US" sz="1488">
              <a:solidFill>
                <a:schemeClr val="bg1"/>
              </a:solidFill>
              <a:latin typeface="+mj-ea"/>
              <a:ea typeface="+mj-ea"/>
            </a:endParaRPr>
          </a:p>
        </p:txBody>
      </p:sp>
      <p:sp>
        <p:nvSpPr>
          <p:cNvPr id="108" name="任意多边形: 形状 107">
            <a:extLst>
              <a:ext uri="{FF2B5EF4-FFF2-40B4-BE49-F238E27FC236}">
                <a16:creationId xmlns:a16="http://schemas.microsoft.com/office/drawing/2014/main" id="{BA2CDE18-23AD-4F72-9C27-015424FA1167}"/>
              </a:ext>
            </a:extLst>
          </p:cNvPr>
          <p:cNvSpPr/>
          <p:nvPr/>
        </p:nvSpPr>
        <p:spPr>
          <a:xfrm flipV="1">
            <a:off x="3303466" y="4016586"/>
            <a:ext cx="80475" cy="46463"/>
          </a:xfrm>
          <a:custGeom>
            <a:avLst/>
            <a:gdLst>
              <a:gd name="connsiteX0" fmla="*/ 2540000 w 2540000"/>
              <a:gd name="connsiteY0" fmla="*/ 1099852 h 2199704"/>
              <a:gd name="connsiteX1" fmla="*/ 1905000 w 2540000"/>
              <a:gd name="connsiteY1" fmla="*/ 2199704 h 2199704"/>
              <a:gd name="connsiteX2" fmla="*/ 635000 w 2540000"/>
              <a:gd name="connsiteY2" fmla="*/ 2199704 h 2199704"/>
              <a:gd name="connsiteX3" fmla="*/ 0 w 2540000"/>
              <a:gd name="connsiteY3" fmla="*/ 1099852 h 2199704"/>
              <a:gd name="connsiteX4" fmla="*/ 635000 w 2540000"/>
              <a:gd name="connsiteY4" fmla="*/ 0 h 2199704"/>
              <a:gd name="connsiteX5" fmla="*/ 1905000 w 2540000"/>
              <a:gd name="connsiteY5" fmla="*/ 0 h 2199704"/>
              <a:gd name="connsiteX6" fmla="*/ 2540000 w 2540000"/>
              <a:gd name="connsiteY6" fmla="*/ 1099852 h 2199704"/>
              <a:gd name="connsiteX0" fmla="*/ 0 w 2540000"/>
              <a:gd name="connsiteY0" fmla="*/ 1099852 h 2199704"/>
              <a:gd name="connsiteX1" fmla="*/ 635000 w 2540000"/>
              <a:gd name="connsiteY1" fmla="*/ 0 h 2199704"/>
              <a:gd name="connsiteX2" fmla="*/ 1905000 w 2540000"/>
              <a:gd name="connsiteY2" fmla="*/ 0 h 2199704"/>
              <a:gd name="connsiteX3" fmla="*/ 2540000 w 2540000"/>
              <a:gd name="connsiteY3" fmla="*/ 1099852 h 2199704"/>
              <a:gd name="connsiteX4" fmla="*/ 1905000 w 2540000"/>
              <a:gd name="connsiteY4" fmla="*/ 2199704 h 2199704"/>
              <a:gd name="connsiteX5" fmla="*/ 635000 w 2540000"/>
              <a:gd name="connsiteY5" fmla="*/ 2199704 h 2199704"/>
              <a:gd name="connsiteX6" fmla="*/ 226579 w 2540000"/>
              <a:gd name="connsiteY6" fmla="*/ 1326431 h 2199704"/>
              <a:gd name="connsiteX0" fmla="*/ 408421 w 2313421"/>
              <a:gd name="connsiteY0" fmla="*/ 0 h 2199704"/>
              <a:gd name="connsiteX1" fmla="*/ 1678421 w 2313421"/>
              <a:gd name="connsiteY1" fmla="*/ 0 h 2199704"/>
              <a:gd name="connsiteX2" fmla="*/ 2313421 w 2313421"/>
              <a:gd name="connsiteY2" fmla="*/ 1099852 h 2199704"/>
              <a:gd name="connsiteX3" fmla="*/ 1678421 w 2313421"/>
              <a:gd name="connsiteY3" fmla="*/ 2199704 h 2199704"/>
              <a:gd name="connsiteX4" fmla="*/ 408421 w 2313421"/>
              <a:gd name="connsiteY4" fmla="*/ 2199704 h 2199704"/>
              <a:gd name="connsiteX5" fmla="*/ 0 w 2313421"/>
              <a:gd name="connsiteY5" fmla="*/ 1326431 h 2199704"/>
              <a:gd name="connsiteX0" fmla="*/ 0 w 1905000"/>
              <a:gd name="connsiteY0" fmla="*/ 0 h 2199704"/>
              <a:gd name="connsiteX1" fmla="*/ 1270000 w 1905000"/>
              <a:gd name="connsiteY1" fmla="*/ 0 h 2199704"/>
              <a:gd name="connsiteX2" fmla="*/ 1905000 w 1905000"/>
              <a:gd name="connsiteY2" fmla="*/ 1099852 h 2199704"/>
              <a:gd name="connsiteX3" fmla="*/ 1270000 w 1905000"/>
              <a:gd name="connsiteY3" fmla="*/ 2199704 h 2199704"/>
              <a:gd name="connsiteX4" fmla="*/ 0 w 1905000"/>
              <a:gd name="connsiteY4" fmla="*/ 2199704 h 2199704"/>
              <a:gd name="connsiteX0" fmla="*/ 0 w 1905000"/>
              <a:gd name="connsiteY0" fmla="*/ 0 h 2199704"/>
              <a:gd name="connsiteX1" fmla="*/ 1270000 w 1905000"/>
              <a:gd name="connsiteY1" fmla="*/ 0 h 2199704"/>
              <a:gd name="connsiteX2" fmla="*/ 1905000 w 1905000"/>
              <a:gd name="connsiteY2" fmla="*/ 1099852 h 2199704"/>
              <a:gd name="connsiteX3" fmla="*/ 1270000 w 1905000"/>
              <a:gd name="connsiteY3" fmla="*/ 2199704 h 2199704"/>
              <a:gd name="connsiteX0" fmla="*/ 0 w 1905000"/>
              <a:gd name="connsiteY0" fmla="*/ 0 h 1099852"/>
              <a:gd name="connsiteX1" fmla="*/ 1270000 w 1905000"/>
              <a:gd name="connsiteY1" fmla="*/ 0 h 1099852"/>
              <a:gd name="connsiteX2" fmla="*/ 1905000 w 1905000"/>
              <a:gd name="connsiteY2" fmla="*/ 1099852 h 1099852"/>
            </a:gdLst>
            <a:ahLst/>
            <a:cxnLst>
              <a:cxn ang="0">
                <a:pos x="connsiteX0" y="connsiteY0"/>
              </a:cxn>
              <a:cxn ang="0">
                <a:pos x="connsiteX1" y="connsiteY1"/>
              </a:cxn>
              <a:cxn ang="0">
                <a:pos x="connsiteX2" y="connsiteY2"/>
              </a:cxn>
            </a:cxnLst>
            <a:rect l="l" t="t" r="r" b="b"/>
            <a:pathLst>
              <a:path w="1905000" h="1099852">
                <a:moveTo>
                  <a:pt x="0" y="0"/>
                </a:moveTo>
                <a:lnTo>
                  <a:pt x="1270000" y="0"/>
                </a:lnTo>
                <a:lnTo>
                  <a:pt x="1905000" y="1099852"/>
                </a:lnTo>
              </a:path>
            </a:pathLst>
          </a:custGeom>
          <a:noFill/>
          <a:ln w="17716" cap="rnd">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85039" tIns="42520" rIns="85039" bIns="42520" rtlCol="0" anchor="ctr"/>
          <a:lstStyle/>
          <a:p>
            <a:pPr algn="l"/>
            <a:endParaRPr lang="zh-CN" altLang="en-US" sz="1488">
              <a:solidFill>
                <a:schemeClr val="bg1"/>
              </a:solidFill>
              <a:latin typeface="+mj-ea"/>
              <a:ea typeface="+mj-ea"/>
            </a:endParaRPr>
          </a:p>
        </p:txBody>
      </p:sp>
      <p:sp>
        <p:nvSpPr>
          <p:cNvPr id="109" name="任意多边形: 形状 108">
            <a:extLst>
              <a:ext uri="{FF2B5EF4-FFF2-40B4-BE49-F238E27FC236}">
                <a16:creationId xmlns:a16="http://schemas.microsoft.com/office/drawing/2014/main" id="{BC063100-B8FC-4E39-95D7-9D30C666CD73}"/>
              </a:ext>
            </a:extLst>
          </p:cNvPr>
          <p:cNvSpPr/>
          <p:nvPr/>
        </p:nvSpPr>
        <p:spPr>
          <a:xfrm flipH="1" flipV="1">
            <a:off x="2807406" y="4016586"/>
            <a:ext cx="80475" cy="46463"/>
          </a:xfrm>
          <a:custGeom>
            <a:avLst/>
            <a:gdLst>
              <a:gd name="connsiteX0" fmla="*/ 2540000 w 2540000"/>
              <a:gd name="connsiteY0" fmla="*/ 1099852 h 2199704"/>
              <a:gd name="connsiteX1" fmla="*/ 1905000 w 2540000"/>
              <a:gd name="connsiteY1" fmla="*/ 2199704 h 2199704"/>
              <a:gd name="connsiteX2" fmla="*/ 635000 w 2540000"/>
              <a:gd name="connsiteY2" fmla="*/ 2199704 h 2199704"/>
              <a:gd name="connsiteX3" fmla="*/ 0 w 2540000"/>
              <a:gd name="connsiteY3" fmla="*/ 1099852 h 2199704"/>
              <a:gd name="connsiteX4" fmla="*/ 635000 w 2540000"/>
              <a:gd name="connsiteY4" fmla="*/ 0 h 2199704"/>
              <a:gd name="connsiteX5" fmla="*/ 1905000 w 2540000"/>
              <a:gd name="connsiteY5" fmla="*/ 0 h 2199704"/>
              <a:gd name="connsiteX6" fmla="*/ 2540000 w 2540000"/>
              <a:gd name="connsiteY6" fmla="*/ 1099852 h 2199704"/>
              <a:gd name="connsiteX0" fmla="*/ 0 w 2540000"/>
              <a:gd name="connsiteY0" fmla="*/ 1099852 h 2199704"/>
              <a:gd name="connsiteX1" fmla="*/ 635000 w 2540000"/>
              <a:gd name="connsiteY1" fmla="*/ 0 h 2199704"/>
              <a:gd name="connsiteX2" fmla="*/ 1905000 w 2540000"/>
              <a:gd name="connsiteY2" fmla="*/ 0 h 2199704"/>
              <a:gd name="connsiteX3" fmla="*/ 2540000 w 2540000"/>
              <a:gd name="connsiteY3" fmla="*/ 1099852 h 2199704"/>
              <a:gd name="connsiteX4" fmla="*/ 1905000 w 2540000"/>
              <a:gd name="connsiteY4" fmla="*/ 2199704 h 2199704"/>
              <a:gd name="connsiteX5" fmla="*/ 635000 w 2540000"/>
              <a:gd name="connsiteY5" fmla="*/ 2199704 h 2199704"/>
              <a:gd name="connsiteX6" fmla="*/ 226579 w 2540000"/>
              <a:gd name="connsiteY6" fmla="*/ 1326431 h 2199704"/>
              <a:gd name="connsiteX0" fmla="*/ 408421 w 2313421"/>
              <a:gd name="connsiteY0" fmla="*/ 0 h 2199704"/>
              <a:gd name="connsiteX1" fmla="*/ 1678421 w 2313421"/>
              <a:gd name="connsiteY1" fmla="*/ 0 h 2199704"/>
              <a:gd name="connsiteX2" fmla="*/ 2313421 w 2313421"/>
              <a:gd name="connsiteY2" fmla="*/ 1099852 h 2199704"/>
              <a:gd name="connsiteX3" fmla="*/ 1678421 w 2313421"/>
              <a:gd name="connsiteY3" fmla="*/ 2199704 h 2199704"/>
              <a:gd name="connsiteX4" fmla="*/ 408421 w 2313421"/>
              <a:gd name="connsiteY4" fmla="*/ 2199704 h 2199704"/>
              <a:gd name="connsiteX5" fmla="*/ 0 w 2313421"/>
              <a:gd name="connsiteY5" fmla="*/ 1326431 h 2199704"/>
              <a:gd name="connsiteX0" fmla="*/ 0 w 1905000"/>
              <a:gd name="connsiteY0" fmla="*/ 0 h 2199704"/>
              <a:gd name="connsiteX1" fmla="*/ 1270000 w 1905000"/>
              <a:gd name="connsiteY1" fmla="*/ 0 h 2199704"/>
              <a:gd name="connsiteX2" fmla="*/ 1905000 w 1905000"/>
              <a:gd name="connsiteY2" fmla="*/ 1099852 h 2199704"/>
              <a:gd name="connsiteX3" fmla="*/ 1270000 w 1905000"/>
              <a:gd name="connsiteY3" fmla="*/ 2199704 h 2199704"/>
              <a:gd name="connsiteX4" fmla="*/ 0 w 1905000"/>
              <a:gd name="connsiteY4" fmla="*/ 2199704 h 2199704"/>
              <a:gd name="connsiteX0" fmla="*/ 0 w 1905000"/>
              <a:gd name="connsiteY0" fmla="*/ 0 h 2199704"/>
              <a:gd name="connsiteX1" fmla="*/ 1270000 w 1905000"/>
              <a:gd name="connsiteY1" fmla="*/ 0 h 2199704"/>
              <a:gd name="connsiteX2" fmla="*/ 1905000 w 1905000"/>
              <a:gd name="connsiteY2" fmla="*/ 1099852 h 2199704"/>
              <a:gd name="connsiteX3" fmla="*/ 1270000 w 1905000"/>
              <a:gd name="connsiteY3" fmla="*/ 2199704 h 2199704"/>
              <a:gd name="connsiteX0" fmla="*/ 0 w 1905000"/>
              <a:gd name="connsiteY0" fmla="*/ 0 h 1099852"/>
              <a:gd name="connsiteX1" fmla="*/ 1270000 w 1905000"/>
              <a:gd name="connsiteY1" fmla="*/ 0 h 1099852"/>
              <a:gd name="connsiteX2" fmla="*/ 1905000 w 1905000"/>
              <a:gd name="connsiteY2" fmla="*/ 1099852 h 1099852"/>
            </a:gdLst>
            <a:ahLst/>
            <a:cxnLst>
              <a:cxn ang="0">
                <a:pos x="connsiteX0" y="connsiteY0"/>
              </a:cxn>
              <a:cxn ang="0">
                <a:pos x="connsiteX1" y="connsiteY1"/>
              </a:cxn>
              <a:cxn ang="0">
                <a:pos x="connsiteX2" y="connsiteY2"/>
              </a:cxn>
            </a:cxnLst>
            <a:rect l="l" t="t" r="r" b="b"/>
            <a:pathLst>
              <a:path w="1905000" h="1099852">
                <a:moveTo>
                  <a:pt x="0" y="0"/>
                </a:moveTo>
                <a:lnTo>
                  <a:pt x="1270000" y="0"/>
                </a:lnTo>
                <a:lnTo>
                  <a:pt x="1905000" y="1099852"/>
                </a:lnTo>
              </a:path>
            </a:pathLst>
          </a:custGeom>
          <a:noFill/>
          <a:ln w="17716" cap="rnd">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85039" tIns="42520" rIns="85039" bIns="42520" rtlCol="0" anchor="ctr"/>
          <a:lstStyle/>
          <a:p>
            <a:pPr algn="l"/>
            <a:endParaRPr lang="zh-CN" altLang="en-US" sz="1488">
              <a:solidFill>
                <a:schemeClr val="bg1"/>
              </a:solidFill>
              <a:latin typeface="+mj-ea"/>
              <a:ea typeface="+mj-ea"/>
            </a:endParaRPr>
          </a:p>
        </p:txBody>
      </p:sp>
      <p:sp>
        <p:nvSpPr>
          <p:cNvPr id="110" name="任意多边形: 形状 109">
            <a:extLst>
              <a:ext uri="{FF2B5EF4-FFF2-40B4-BE49-F238E27FC236}">
                <a16:creationId xmlns:a16="http://schemas.microsoft.com/office/drawing/2014/main" id="{6BE677EB-7C89-4604-B6DF-11D11B51D227}"/>
              </a:ext>
            </a:extLst>
          </p:cNvPr>
          <p:cNvSpPr/>
          <p:nvPr/>
        </p:nvSpPr>
        <p:spPr>
          <a:xfrm rot="18000000" flipH="1">
            <a:off x="2560076" y="3590331"/>
            <a:ext cx="80475" cy="46463"/>
          </a:xfrm>
          <a:custGeom>
            <a:avLst/>
            <a:gdLst>
              <a:gd name="connsiteX0" fmla="*/ 2540000 w 2540000"/>
              <a:gd name="connsiteY0" fmla="*/ 1099852 h 2199704"/>
              <a:gd name="connsiteX1" fmla="*/ 1905000 w 2540000"/>
              <a:gd name="connsiteY1" fmla="*/ 2199704 h 2199704"/>
              <a:gd name="connsiteX2" fmla="*/ 635000 w 2540000"/>
              <a:gd name="connsiteY2" fmla="*/ 2199704 h 2199704"/>
              <a:gd name="connsiteX3" fmla="*/ 0 w 2540000"/>
              <a:gd name="connsiteY3" fmla="*/ 1099852 h 2199704"/>
              <a:gd name="connsiteX4" fmla="*/ 635000 w 2540000"/>
              <a:gd name="connsiteY4" fmla="*/ 0 h 2199704"/>
              <a:gd name="connsiteX5" fmla="*/ 1905000 w 2540000"/>
              <a:gd name="connsiteY5" fmla="*/ 0 h 2199704"/>
              <a:gd name="connsiteX6" fmla="*/ 2540000 w 2540000"/>
              <a:gd name="connsiteY6" fmla="*/ 1099852 h 2199704"/>
              <a:gd name="connsiteX0" fmla="*/ 0 w 2540000"/>
              <a:gd name="connsiteY0" fmla="*/ 1099852 h 2199704"/>
              <a:gd name="connsiteX1" fmla="*/ 635000 w 2540000"/>
              <a:gd name="connsiteY1" fmla="*/ 0 h 2199704"/>
              <a:gd name="connsiteX2" fmla="*/ 1905000 w 2540000"/>
              <a:gd name="connsiteY2" fmla="*/ 0 h 2199704"/>
              <a:gd name="connsiteX3" fmla="*/ 2540000 w 2540000"/>
              <a:gd name="connsiteY3" fmla="*/ 1099852 h 2199704"/>
              <a:gd name="connsiteX4" fmla="*/ 1905000 w 2540000"/>
              <a:gd name="connsiteY4" fmla="*/ 2199704 h 2199704"/>
              <a:gd name="connsiteX5" fmla="*/ 635000 w 2540000"/>
              <a:gd name="connsiteY5" fmla="*/ 2199704 h 2199704"/>
              <a:gd name="connsiteX6" fmla="*/ 226579 w 2540000"/>
              <a:gd name="connsiteY6" fmla="*/ 1326431 h 2199704"/>
              <a:gd name="connsiteX0" fmla="*/ 408421 w 2313421"/>
              <a:gd name="connsiteY0" fmla="*/ 0 h 2199704"/>
              <a:gd name="connsiteX1" fmla="*/ 1678421 w 2313421"/>
              <a:gd name="connsiteY1" fmla="*/ 0 h 2199704"/>
              <a:gd name="connsiteX2" fmla="*/ 2313421 w 2313421"/>
              <a:gd name="connsiteY2" fmla="*/ 1099852 h 2199704"/>
              <a:gd name="connsiteX3" fmla="*/ 1678421 w 2313421"/>
              <a:gd name="connsiteY3" fmla="*/ 2199704 h 2199704"/>
              <a:gd name="connsiteX4" fmla="*/ 408421 w 2313421"/>
              <a:gd name="connsiteY4" fmla="*/ 2199704 h 2199704"/>
              <a:gd name="connsiteX5" fmla="*/ 0 w 2313421"/>
              <a:gd name="connsiteY5" fmla="*/ 1326431 h 2199704"/>
              <a:gd name="connsiteX0" fmla="*/ 0 w 1905000"/>
              <a:gd name="connsiteY0" fmla="*/ 0 h 2199704"/>
              <a:gd name="connsiteX1" fmla="*/ 1270000 w 1905000"/>
              <a:gd name="connsiteY1" fmla="*/ 0 h 2199704"/>
              <a:gd name="connsiteX2" fmla="*/ 1905000 w 1905000"/>
              <a:gd name="connsiteY2" fmla="*/ 1099852 h 2199704"/>
              <a:gd name="connsiteX3" fmla="*/ 1270000 w 1905000"/>
              <a:gd name="connsiteY3" fmla="*/ 2199704 h 2199704"/>
              <a:gd name="connsiteX4" fmla="*/ 0 w 1905000"/>
              <a:gd name="connsiteY4" fmla="*/ 2199704 h 2199704"/>
              <a:gd name="connsiteX0" fmla="*/ 0 w 1905000"/>
              <a:gd name="connsiteY0" fmla="*/ 0 h 2199704"/>
              <a:gd name="connsiteX1" fmla="*/ 1270000 w 1905000"/>
              <a:gd name="connsiteY1" fmla="*/ 0 h 2199704"/>
              <a:gd name="connsiteX2" fmla="*/ 1905000 w 1905000"/>
              <a:gd name="connsiteY2" fmla="*/ 1099852 h 2199704"/>
              <a:gd name="connsiteX3" fmla="*/ 1270000 w 1905000"/>
              <a:gd name="connsiteY3" fmla="*/ 2199704 h 2199704"/>
              <a:gd name="connsiteX0" fmla="*/ 0 w 1905000"/>
              <a:gd name="connsiteY0" fmla="*/ 0 h 1099852"/>
              <a:gd name="connsiteX1" fmla="*/ 1270000 w 1905000"/>
              <a:gd name="connsiteY1" fmla="*/ 0 h 1099852"/>
              <a:gd name="connsiteX2" fmla="*/ 1905000 w 1905000"/>
              <a:gd name="connsiteY2" fmla="*/ 1099852 h 1099852"/>
            </a:gdLst>
            <a:ahLst/>
            <a:cxnLst>
              <a:cxn ang="0">
                <a:pos x="connsiteX0" y="connsiteY0"/>
              </a:cxn>
              <a:cxn ang="0">
                <a:pos x="connsiteX1" y="connsiteY1"/>
              </a:cxn>
              <a:cxn ang="0">
                <a:pos x="connsiteX2" y="connsiteY2"/>
              </a:cxn>
            </a:cxnLst>
            <a:rect l="l" t="t" r="r" b="b"/>
            <a:pathLst>
              <a:path w="1905000" h="1099852">
                <a:moveTo>
                  <a:pt x="0" y="0"/>
                </a:moveTo>
                <a:lnTo>
                  <a:pt x="1270000" y="0"/>
                </a:lnTo>
                <a:lnTo>
                  <a:pt x="1905000" y="1099852"/>
                </a:lnTo>
              </a:path>
            </a:pathLst>
          </a:custGeom>
          <a:noFill/>
          <a:ln w="17716" cap="rnd">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85039" tIns="42520" rIns="85039" bIns="42520" rtlCol="0" anchor="ctr"/>
          <a:lstStyle/>
          <a:p>
            <a:pPr algn="l"/>
            <a:endParaRPr lang="zh-CN" altLang="en-US" sz="1488">
              <a:solidFill>
                <a:schemeClr val="bg1"/>
              </a:solidFill>
              <a:latin typeface="+mj-ea"/>
              <a:ea typeface="+mj-ea"/>
            </a:endParaRPr>
          </a:p>
        </p:txBody>
      </p:sp>
      <p:sp>
        <p:nvSpPr>
          <p:cNvPr id="111" name="文本框 110">
            <a:extLst>
              <a:ext uri="{FF2B5EF4-FFF2-40B4-BE49-F238E27FC236}">
                <a16:creationId xmlns:a16="http://schemas.microsoft.com/office/drawing/2014/main" id="{BF6A0B4F-508F-4E40-B559-5EDEF87EF586}"/>
              </a:ext>
            </a:extLst>
          </p:cNvPr>
          <p:cNvSpPr txBox="1"/>
          <p:nvPr/>
        </p:nvSpPr>
        <p:spPr>
          <a:xfrm flipH="1">
            <a:off x="1200293" y="3257762"/>
            <a:ext cx="1192633" cy="286233"/>
          </a:xfrm>
          <a:prstGeom prst="rect">
            <a:avLst/>
          </a:prstGeom>
          <a:noFill/>
          <a:effectLst/>
        </p:spPr>
        <p:txBody>
          <a:bodyPr wrap="none" lIns="0" tIns="0" rIns="0" bIns="0" rtlCol="0" anchor="t">
            <a:spAutoFit/>
          </a:bodyPr>
          <a:lstStyle/>
          <a:p>
            <a:pPr algn="r"/>
            <a:r>
              <a:rPr lang="zh-CN" altLang="en-US" sz="1860" dirty="0">
                <a:solidFill>
                  <a:schemeClr val="accent1"/>
                </a:solidFill>
                <a:latin typeface="+mj-ea"/>
                <a:ea typeface="+mj-ea"/>
              </a:rPr>
              <a:t>关键词标题</a:t>
            </a:r>
          </a:p>
        </p:txBody>
      </p:sp>
      <p:sp>
        <p:nvSpPr>
          <p:cNvPr id="112" name="文本框 111">
            <a:extLst>
              <a:ext uri="{FF2B5EF4-FFF2-40B4-BE49-F238E27FC236}">
                <a16:creationId xmlns:a16="http://schemas.microsoft.com/office/drawing/2014/main" id="{D01E1717-C788-40FC-ACCF-EC03E263F709}"/>
              </a:ext>
            </a:extLst>
          </p:cNvPr>
          <p:cNvSpPr txBox="1"/>
          <p:nvPr/>
        </p:nvSpPr>
        <p:spPr>
          <a:xfrm flipH="1">
            <a:off x="636" y="3543993"/>
            <a:ext cx="2406784" cy="432271"/>
          </a:xfrm>
          <a:prstGeom prst="rect">
            <a:avLst/>
          </a:prstGeom>
          <a:noFill/>
          <a:effectLst/>
        </p:spPr>
        <p:txBody>
          <a:bodyPr wrap="square" lIns="0" tIns="0" rIns="0" bIns="0" rtlCol="0" anchor="t">
            <a:spAutoFit/>
          </a:bodyPr>
          <a:lstStyle/>
          <a:p>
            <a:pPr algn="r">
              <a:lnSpc>
                <a:spcPct val="130000"/>
              </a:lnSpc>
            </a:pPr>
            <a:r>
              <a:rPr lang="en-US" altLang="zh-CN" sz="1116" b="0" dirty="0">
                <a:solidFill>
                  <a:schemeClr val="tx1">
                    <a:lumMod val="75000"/>
                    <a:lumOff val="25000"/>
                  </a:schemeClr>
                </a:solidFill>
                <a:effectLst/>
                <a:latin typeface="+mn-ea"/>
              </a:rPr>
              <a:t>Lorem ipsum dolor onsectetur adipisicing elit</a:t>
            </a:r>
            <a:r>
              <a:rPr lang="en-US" altLang="zh-CN" sz="1116" dirty="0">
                <a:solidFill>
                  <a:schemeClr val="tx1">
                    <a:lumMod val="75000"/>
                    <a:lumOff val="25000"/>
                  </a:schemeClr>
                </a:solidFill>
                <a:latin typeface="+mn-ea"/>
              </a:rPr>
              <a:t> </a:t>
            </a:r>
            <a:r>
              <a:rPr lang="en-US" altLang="zh-CN" sz="1116" b="0" dirty="0">
                <a:solidFill>
                  <a:schemeClr val="tx1">
                    <a:lumMod val="75000"/>
                    <a:lumOff val="25000"/>
                  </a:schemeClr>
                </a:solidFill>
                <a:effectLst/>
                <a:latin typeface="+mn-ea"/>
              </a:rPr>
              <a:t>sed do eiusmod</a:t>
            </a:r>
            <a:endParaRPr lang="zh-CN" altLang="en-US" sz="1116" b="0" dirty="0">
              <a:solidFill>
                <a:schemeClr val="tx1">
                  <a:lumMod val="75000"/>
                  <a:lumOff val="25000"/>
                </a:schemeClr>
              </a:solidFill>
              <a:effectLst/>
              <a:latin typeface="+mn-ea"/>
            </a:endParaRPr>
          </a:p>
        </p:txBody>
      </p:sp>
      <p:cxnSp>
        <p:nvCxnSpPr>
          <p:cNvPr id="88" name="直接连接符 87">
            <a:extLst>
              <a:ext uri="{FF2B5EF4-FFF2-40B4-BE49-F238E27FC236}">
                <a16:creationId xmlns:a16="http://schemas.microsoft.com/office/drawing/2014/main" id="{2F017112-8D9B-4B21-84B7-BE52F26B52CE}"/>
              </a:ext>
            </a:extLst>
          </p:cNvPr>
          <p:cNvCxnSpPr/>
          <p:nvPr/>
        </p:nvCxnSpPr>
        <p:spPr>
          <a:xfrm flipH="1">
            <a:off x="3664819" y="3613512"/>
            <a:ext cx="975785" cy="0"/>
          </a:xfrm>
          <a:prstGeom prst="line">
            <a:avLst/>
          </a:prstGeom>
          <a:noFill/>
          <a:ln w="11811">
            <a:solidFill>
              <a:schemeClr val="accent1"/>
            </a:solidFill>
            <a:prstDash val="lgDash"/>
          </a:ln>
          <a:effectLst/>
        </p:spPr>
        <p:style>
          <a:lnRef idx="2">
            <a:schemeClr val="accent1">
              <a:shade val="50000"/>
            </a:schemeClr>
          </a:lnRef>
          <a:fillRef idx="1">
            <a:schemeClr val="accent1"/>
          </a:fillRef>
          <a:effectRef idx="0">
            <a:schemeClr val="accent1"/>
          </a:effectRef>
          <a:fontRef idx="minor">
            <a:schemeClr val="lt1"/>
          </a:fontRef>
        </p:style>
      </p:cxnSp>
      <p:sp>
        <p:nvSpPr>
          <p:cNvPr id="89" name="椭圆 88">
            <a:extLst>
              <a:ext uri="{FF2B5EF4-FFF2-40B4-BE49-F238E27FC236}">
                <a16:creationId xmlns:a16="http://schemas.microsoft.com/office/drawing/2014/main" id="{406E3DA2-8D93-49B2-B5A9-9DA6DD851771}"/>
              </a:ext>
            </a:extLst>
          </p:cNvPr>
          <p:cNvSpPr/>
          <p:nvPr>
            <p:custDataLst>
              <p:tags r:id="rId9"/>
            </p:custDataLst>
          </p:nvPr>
        </p:nvSpPr>
        <p:spPr>
          <a:xfrm flipH="1">
            <a:off x="5209575" y="5679526"/>
            <a:ext cx="65210" cy="65210"/>
          </a:xfrm>
          <a:prstGeom prst="ellipse">
            <a:avLst/>
          </a:prstGeom>
          <a:solidFill>
            <a:schemeClr val="bg1"/>
          </a:solidFill>
          <a:ln>
            <a:noFill/>
          </a:ln>
          <a:effectLst>
            <a:outerShdw blurRad="23622" sx="102000" sy="102000" algn="ctr" rotWithShape="0">
              <a:schemeClr val="accent1">
                <a:lumMod val="20000"/>
                <a:lumOff val="80000"/>
                <a:alpha val="89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85039" tIns="42520" rIns="85039" bIns="42520" rtlCol="0" anchor="ctr"/>
          <a:lstStyle/>
          <a:p>
            <a:pPr algn="l"/>
            <a:endParaRPr lang="zh-CN" altLang="en-US" sz="1488">
              <a:solidFill>
                <a:schemeClr val="bg1"/>
              </a:solidFill>
              <a:latin typeface="+mj-ea"/>
              <a:ea typeface="+mj-ea"/>
            </a:endParaRPr>
          </a:p>
        </p:txBody>
      </p:sp>
      <p:sp>
        <p:nvSpPr>
          <p:cNvPr id="90" name="任意多边形: 形状 89">
            <a:extLst>
              <a:ext uri="{FF2B5EF4-FFF2-40B4-BE49-F238E27FC236}">
                <a16:creationId xmlns:a16="http://schemas.microsoft.com/office/drawing/2014/main" id="{20691B30-612F-434B-8CE7-99C8D63E7E5D}"/>
              </a:ext>
            </a:extLst>
          </p:cNvPr>
          <p:cNvSpPr/>
          <p:nvPr/>
        </p:nvSpPr>
        <p:spPr>
          <a:xfrm flipH="1" flipV="1">
            <a:off x="4059503" y="4693457"/>
            <a:ext cx="1162202" cy="496062"/>
          </a:xfrm>
          <a:custGeom>
            <a:avLst/>
            <a:gdLst>
              <a:gd name="connsiteX0" fmla="*/ 0 w 1249680"/>
              <a:gd name="connsiteY0" fmla="*/ 533400 h 533400"/>
              <a:gd name="connsiteX1" fmla="*/ 533400 w 1249680"/>
              <a:gd name="connsiteY1" fmla="*/ 0 h 533400"/>
              <a:gd name="connsiteX2" fmla="*/ 1249680 w 1249680"/>
              <a:gd name="connsiteY2" fmla="*/ 0 h 533400"/>
            </a:gdLst>
            <a:ahLst/>
            <a:cxnLst>
              <a:cxn ang="0">
                <a:pos x="connsiteX0" y="connsiteY0"/>
              </a:cxn>
              <a:cxn ang="0">
                <a:pos x="connsiteX1" y="connsiteY1"/>
              </a:cxn>
              <a:cxn ang="0">
                <a:pos x="connsiteX2" y="connsiteY2"/>
              </a:cxn>
            </a:cxnLst>
            <a:rect l="l" t="t" r="r" b="b"/>
            <a:pathLst>
              <a:path w="1249680" h="533400">
                <a:moveTo>
                  <a:pt x="0" y="533400"/>
                </a:moveTo>
                <a:lnTo>
                  <a:pt x="533400" y="0"/>
                </a:lnTo>
                <a:lnTo>
                  <a:pt x="1249680" y="0"/>
                </a:lnTo>
              </a:path>
            </a:pathLst>
          </a:custGeom>
          <a:noFill/>
          <a:ln w="11811">
            <a:solidFill>
              <a:schemeClr val="accent1"/>
            </a:solidFill>
            <a:prstDash val="lgDash"/>
          </a:ln>
          <a:effectLst/>
        </p:spPr>
        <p:style>
          <a:lnRef idx="2">
            <a:schemeClr val="accent1">
              <a:shade val="50000"/>
            </a:schemeClr>
          </a:lnRef>
          <a:fillRef idx="1">
            <a:schemeClr val="accent1"/>
          </a:fillRef>
          <a:effectRef idx="0">
            <a:schemeClr val="accent1"/>
          </a:effectRef>
          <a:fontRef idx="minor">
            <a:schemeClr val="lt1"/>
          </a:fontRef>
        </p:style>
        <p:txBody>
          <a:bodyPr lIns="85039" tIns="42520" rIns="85039" bIns="42520" rtlCol="0" anchor="ctr"/>
          <a:lstStyle/>
          <a:p>
            <a:pPr algn="ctr"/>
            <a:endParaRPr lang="zh-CN" altLang="en-US" sz="1674"/>
          </a:p>
        </p:txBody>
      </p:sp>
      <p:sp>
        <p:nvSpPr>
          <p:cNvPr id="93" name="任意多边形: 形状 92">
            <a:extLst>
              <a:ext uri="{FF2B5EF4-FFF2-40B4-BE49-F238E27FC236}">
                <a16:creationId xmlns:a16="http://schemas.microsoft.com/office/drawing/2014/main" id="{436900DB-3BD0-4016-AA8F-289434B36943}"/>
              </a:ext>
            </a:extLst>
          </p:cNvPr>
          <p:cNvSpPr/>
          <p:nvPr/>
        </p:nvSpPr>
        <p:spPr>
          <a:xfrm flipH="1">
            <a:off x="2960038" y="4744862"/>
            <a:ext cx="1026892" cy="889314"/>
          </a:xfrm>
          <a:custGeom>
            <a:avLst/>
            <a:gdLst>
              <a:gd name="connsiteX0" fmla="*/ 2540000 w 2540000"/>
              <a:gd name="connsiteY0" fmla="*/ 1099852 h 2199704"/>
              <a:gd name="connsiteX1" fmla="*/ 1905000 w 2540000"/>
              <a:gd name="connsiteY1" fmla="*/ 2199704 h 2199704"/>
              <a:gd name="connsiteX2" fmla="*/ 635000 w 2540000"/>
              <a:gd name="connsiteY2" fmla="*/ 2199704 h 2199704"/>
              <a:gd name="connsiteX3" fmla="*/ 0 w 2540000"/>
              <a:gd name="connsiteY3" fmla="*/ 1099852 h 2199704"/>
              <a:gd name="connsiteX4" fmla="*/ 635000 w 2540000"/>
              <a:gd name="connsiteY4" fmla="*/ 0 h 2199704"/>
              <a:gd name="connsiteX5" fmla="*/ 1905000 w 2540000"/>
              <a:gd name="connsiteY5" fmla="*/ 0 h 2199704"/>
              <a:gd name="connsiteX6" fmla="*/ 2540000 w 2540000"/>
              <a:gd name="connsiteY6" fmla="*/ 1099852 h 21997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40000" h="2199704">
                <a:moveTo>
                  <a:pt x="2540000" y="1099852"/>
                </a:moveTo>
                <a:lnTo>
                  <a:pt x="1905000" y="2199704"/>
                </a:lnTo>
                <a:lnTo>
                  <a:pt x="635000" y="2199704"/>
                </a:lnTo>
                <a:lnTo>
                  <a:pt x="0" y="1099852"/>
                </a:lnTo>
                <a:lnTo>
                  <a:pt x="635000" y="0"/>
                </a:lnTo>
                <a:lnTo>
                  <a:pt x="1905000" y="0"/>
                </a:lnTo>
                <a:lnTo>
                  <a:pt x="2540000" y="1099852"/>
                </a:lnTo>
                <a:close/>
              </a:path>
            </a:pathLst>
          </a:custGeom>
          <a:solidFill>
            <a:schemeClr val="accent1">
              <a:alpha val="1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85039" tIns="42520" rIns="85039" bIns="42520" rtlCol="0" anchor="ctr"/>
          <a:lstStyle/>
          <a:p>
            <a:pPr algn="l"/>
            <a:endParaRPr lang="zh-CN" altLang="en-US" sz="1488">
              <a:solidFill>
                <a:schemeClr val="bg1"/>
              </a:solidFill>
              <a:latin typeface="+mj-ea"/>
              <a:ea typeface="+mj-ea"/>
            </a:endParaRPr>
          </a:p>
        </p:txBody>
      </p:sp>
      <p:sp>
        <p:nvSpPr>
          <p:cNvPr id="94" name="任意多边形: 形状 93">
            <a:extLst>
              <a:ext uri="{FF2B5EF4-FFF2-40B4-BE49-F238E27FC236}">
                <a16:creationId xmlns:a16="http://schemas.microsoft.com/office/drawing/2014/main" id="{165D4C3A-30DF-474B-9F01-879DAD27D184}"/>
              </a:ext>
            </a:extLst>
          </p:cNvPr>
          <p:cNvSpPr/>
          <p:nvPr/>
        </p:nvSpPr>
        <p:spPr>
          <a:xfrm flipH="1">
            <a:off x="2996828" y="4776725"/>
            <a:ext cx="953310" cy="825589"/>
          </a:xfrm>
          <a:custGeom>
            <a:avLst/>
            <a:gdLst>
              <a:gd name="connsiteX0" fmla="*/ 2540000 w 2540000"/>
              <a:gd name="connsiteY0" fmla="*/ 1099852 h 2199704"/>
              <a:gd name="connsiteX1" fmla="*/ 1905000 w 2540000"/>
              <a:gd name="connsiteY1" fmla="*/ 2199704 h 2199704"/>
              <a:gd name="connsiteX2" fmla="*/ 635000 w 2540000"/>
              <a:gd name="connsiteY2" fmla="*/ 2199704 h 2199704"/>
              <a:gd name="connsiteX3" fmla="*/ 0 w 2540000"/>
              <a:gd name="connsiteY3" fmla="*/ 1099852 h 2199704"/>
              <a:gd name="connsiteX4" fmla="*/ 635000 w 2540000"/>
              <a:gd name="connsiteY4" fmla="*/ 0 h 2199704"/>
              <a:gd name="connsiteX5" fmla="*/ 1905000 w 2540000"/>
              <a:gd name="connsiteY5" fmla="*/ 0 h 2199704"/>
              <a:gd name="connsiteX6" fmla="*/ 2540000 w 2540000"/>
              <a:gd name="connsiteY6" fmla="*/ 1099852 h 21997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40000" h="2199704">
                <a:moveTo>
                  <a:pt x="2540000" y="1099852"/>
                </a:moveTo>
                <a:lnTo>
                  <a:pt x="1905000" y="2199704"/>
                </a:lnTo>
                <a:lnTo>
                  <a:pt x="635000" y="2199704"/>
                </a:lnTo>
                <a:lnTo>
                  <a:pt x="0" y="1099852"/>
                </a:lnTo>
                <a:lnTo>
                  <a:pt x="635000" y="0"/>
                </a:lnTo>
                <a:lnTo>
                  <a:pt x="1905000" y="0"/>
                </a:lnTo>
                <a:lnTo>
                  <a:pt x="2540000" y="1099852"/>
                </a:lnTo>
                <a:close/>
              </a:path>
            </a:pathLst>
          </a:custGeom>
          <a:noFill/>
          <a:ln w="11811">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85039" tIns="42520" rIns="85039" bIns="42520" rtlCol="0" anchor="ctr"/>
          <a:lstStyle/>
          <a:p>
            <a:pPr algn="l"/>
            <a:endParaRPr lang="zh-CN" altLang="en-US" sz="1488">
              <a:solidFill>
                <a:schemeClr val="bg1"/>
              </a:solidFill>
              <a:latin typeface="+mj-ea"/>
              <a:ea typeface="+mj-ea"/>
            </a:endParaRPr>
          </a:p>
        </p:txBody>
      </p:sp>
      <p:sp>
        <p:nvSpPr>
          <p:cNvPr id="95" name="任意多边形: 形状 94">
            <a:extLst>
              <a:ext uri="{FF2B5EF4-FFF2-40B4-BE49-F238E27FC236}">
                <a16:creationId xmlns:a16="http://schemas.microsoft.com/office/drawing/2014/main" id="{F4E6BA0D-3723-431E-9988-24946690EBA1}"/>
              </a:ext>
            </a:extLst>
          </p:cNvPr>
          <p:cNvSpPr/>
          <p:nvPr/>
        </p:nvSpPr>
        <p:spPr>
          <a:xfrm flipH="1">
            <a:off x="3181211" y="4740435"/>
            <a:ext cx="80475" cy="46463"/>
          </a:xfrm>
          <a:custGeom>
            <a:avLst/>
            <a:gdLst>
              <a:gd name="connsiteX0" fmla="*/ 2540000 w 2540000"/>
              <a:gd name="connsiteY0" fmla="*/ 1099852 h 2199704"/>
              <a:gd name="connsiteX1" fmla="*/ 1905000 w 2540000"/>
              <a:gd name="connsiteY1" fmla="*/ 2199704 h 2199704"/>
              <a:gd name="connsiteX2" fmla="*/ 635000 w 2540000"/>
              <a:gd name="connsiteY2" fmla="*/ 2199704 h 2199704"/>
              <a:gd name="connsiteX3" fmla="*/ 0 w 2540000"/>
              <a:gd name="connsiteY3" fmla="*/ 1099852 h 2199704"/>
              <a:gd name="connsiteX4" fmla="*/ 635000 w 2540000"/>
              <a:gd name="connsiteY4" fmla="*/ 0 h 2199704"/>
              <a:gd name="connsiteX5" fmla="*/ 1905000 w 2540000"/>
              <a:gd name="connsiteY5" fmla="*/ 0 h 2199704"/>
              <a:gd name="connsiteX6" fmla="*/ 2540000 w 2540000"/>
              <a:gd name="connsiteY6" fmla="*/ 1099852 h 2199704"/>
              <a:gd name="connsiteX0" fmla="*/ 0 w 2540000"/>
              <a:gd name="connsiteY0" fmla="*/ 1099852 h 2199704"/>
              <a:gd name="connsiteX1" fmla="*/ 635000 w 2540000"/>
              <a:gd name="connsiteY1" fmla="*/ 0 h 2199704"/>
              <a:gd name="connsiteX2" fmla="*/ 1905000 w 2540000"/>
              <a:gd name="connsiteY2" fmla="*/ 0 h 2199704"/>
              <a:gd name="connsiteX3" fmla="*/ 2540000 w 2540000"/>
              <a:gd name="connsiteY3" fmla="*/ 1099852 h 2199704"/>
              <a:gd name="connsiteX4" fmla="*/ 1905000 w 2540000"/>
              <a:gd name="connsiteY4" fmla="*/ 2199704 h 2199704"/>
              <a:gd name="connsiteX5" fmla="*/ 635000 w 2540000"/>
              <a:gd name="connsiteY5" fmla="*/ 2199704 h 2199704"/>
              <a:gd name="connsiteX6" fmla="*/ 226579 w 2540000"/>
              <a:gd name="connsiteY6" fmla="*/ 1326431 h 2199704"/>
              <a:gd name="connsiteX0" fmla="*/ 408421 w 2313421"/>
              <a:gd name="connsiteY0" fmla="*/ 0 h 2199704"/>
              <a:gd name="connsiteX1" fmla="*/ 1678421 w 2313421"/>
              <a:gd name="connsiteY1" fmla="*/ 0 h 2199704"/>
              <a:gd name="connsiteX2" fmla="*/ 2313421 w 2313421"/>
              <a:gd name="connsiteY2" fmla="*/ 1099852 h 2199704"/>
              <a:gd name="connsiteX3" fmla="*/ 1678421 w 2313421"/>
              <a:gd name="connsiteY3" fmla="*/ 2199704 h 2199704"/>
              <a:gd name="connsiteX4" fmla="*/ 408421 w 2313421"/>
              <a:gd name="connsiteY4" fmla="*/ 2199704 h 2199704"/>
              <a:gd name="connsiteX5" fmla="*/ 0 w 2313421"/>
              <a:gd name="connsiteY5" fmla="*/ 1326431 h 2199704"/>
              <a:gd name="connsiteX0" fmla="*/ 0 w 1905000"/>
              <a:gd name="connsiteY0" fmla="*/ 0 h 2199704"/>
              <a:gd name="connsiteX1" fmla="*/ 1270000 w 1905000"/>
              <a:gd name="connsiteY1" fmla="*/ 0 h 2199704"/>
              <a:gd name="connsiteX2" fmla="*/ 1905000 w 1905000"/>
              <a:gd name="connsiteY2" fmla="*/ 1099852 h 2199704"/>
              <a:gd name="connsiteX3" fmla="*/ 1270000 w 1905000"/>
              <a:gd name="connsiteY3" fmla="*/ 2199704 h 2199704"/>
              <a:gd name="connsiteX4" fmla="*/ 0 w 1905000"/>
              <a:gd name="connsiteY4" fmla="*/ 2199704 h 2199704"/>
              <a:gd name="connsiteX0" fmla="*/ 0 w 1905000"/>
              <a:gd name="connsiteY0" fmla="*/ 0 h 2199704"/>
              <a:gd name="connsiteX1" fmla="*/ 1270000 w 1905000"/>
              <a:gd name="connsiteY1" fmla="*/ 0 h 2199704"/>
              <a:gd name="connsiteX2" fmla="*/ 1905000 w 1905000"/>
              <a:gd name="connsiteY2" fmla="*/ 1099852 h 2199704"/>
              <a:gd name="connsiteX3" fmla="*/ 1270000 w 1905000"/>
              <a:gd name="connsiteY3" fmla="*/ 2199704 h 2199704"/>
              <a:gd name="connsiteX0" fmla="*/ 0 w 1905000"/>
              <a:gd name="connsiteY0" fmla="*/ 0 h 1099852"/>
              <a:gd name="connsiteX1" fmla="*/ 1270000 w 1905000"/>
              <a:gd name="connsiteY1" fmla="*/ 0 h 1099852"/>
              <a:gd name="connsiteX2" fmla="*/ 1905000 w 1905000"/>
              <a:gd name="connsiteY2" fmla="*/ 1099852 h 1099852"/>
            </a:gdLst>
            <a:ahLst/>
            <a:cxnLst>
              <a:cxn ang="0">
                <a:pos x="connsiteX0" y="connsiteY0"/>
              </a:cxn>
              <a:cxn ang="0">
                <a:pos x="connsiteX1" y="connsiteY1"/>
              </a:cxn>
              <a:cxn ang="0">
                <a:pos x="connsiteX2" y="connsiteY2"/>
              </a:cxn>
            </a:cxnLst>
            <a:rect l="l" t="t" r="r" b="b"/>
            <a:pathLst>
              <a:path w="1905000" h="1099852">
                <a:moveTo>
                  <a:pt x="0" y="0"/>
                </a:moveTo>
                <a:lnTo>
                  <a:pt x="1270000" y="0"/>
                </a:lnTo>
                <a:lnTo>
                  <a:pt x="1905000" y="1099852"/>
                </a:lnTo>
              </a:path>
            </a:pathLst>
          </a:custGeom>
          <a:noFill/>
          <a:ln w="17716" cap="rnd">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85039" tIns="42520" rIns="85039" bIns="42520" rtlCol="0" anchor="ctr"/>
          <a:lstStyle/>
          <a:p>
            <a:pPr algn="l"/>
            <a:endParaRPr lang="zh-CN" altLang="en-US" sz="1488">
              <a:solidFill>
                <a:schemeClr val="bg1"/>
              </a:solidFill>
              <a:latin typeface="+mj-ea"/>
              <a:ea typeface="+mj-ea"/>
            </a:endParaRPr>
          </a:p>
        </p:txBody>
      </p:sp>
      <p:sp>
        <p:nvSpPr>
          <p:cNvPr id="96" name="任意多边形: 形状 95">
            <a:extLst>
              <a:ext uri="{FF2B5EF4-FFF2-40B4-BE49-F238E27FC236}">
                <a16:creationId xmlns:a16="http://schemas.microsoft.com/office/drawing/2014/main" id="{033802D6-FCAC-4F3E-ACB5-D24A756FEE8F}"/>
              </a:ext>
            </a:extLst>
          </p:cNvPr>
          <p:cNvSpPr/>
          <p:nvPr/>
        </p:nvSpPr>
        <p:spPr>
          <a:xfrm>
            <a:off x="3678938" y="4740435"/>
            <a:ext cx="80475" cy="46463"/>
          </a:xfrm>
          <a:custGeom>
            <a:avLst/>
            <a:gdLst>
              <a:gd name="connsiteX0" fmla="*/ 2540000 w 2540000"/>
              <a:gd name="connsiteY0" fmla="*/ 1099852 h 2199704"/>
              <a:gd name="connsiteX1" fmla="*/ 1905000 w 2540000"/>
              <a:gd name="connsiteY1" fmla="*/ 2199704 h 2199704"/>
              <a:gd name="connsiteX2" fmla="*/ 635000 w 2540000"/>
              <a:gd name="connsiteY2" fmla="*/ 2199704 h 2199704"/>
              <a:gd name="connsiteX3" fmla="*/ 0 w 2540000"/>
              <a:gd name="connsiteY3" fmla="*/ 1099852 h 2199704"/>
              <a:gd name="connsiteX4" fmla="*/ 635000 w 2540000"/>
              <a:gd name="connsiteY4" fmla="*/ 0 h 2199704"/>
              <a:gd name="connsiteX5" fmla="*/ 1905000 w 2540000"/>
              <a:gd name="connsiteY5" fmla="*/ 0 h 2199704"/>
              <a:gd name="connsiteX6" fmla="*/ 2540000 w 2540000"/>
              <a:gd name="connsiteY6" fmla="*/ 1099852 h 2199704"/>
              <a:gd name="connsiteX0" fmla="*/ 0 w 2540000"/>
              <a:gd name="connsiteY0" fmla="*/ 1099852 h 2199704"/>
              <a:gd name="connsiteX1" fmla="*/ 635000 w 2540000"/>
              <a:gd name="connsiteY1" fmla="*/ 0 h 2199704"/>
              <a:gd name="connsiteX2" fmla="*/ 1905000 w 2540000"/>
              <a:gd name="connsiteY2" fmla="*/ 0 h 2199704"/>
              <a:gd name="connsiteX3" fmla="*/ 2540000 w 2540000"/>
              <a:gd name="connsiteY3" fmla="*/ 1099852 h 2199704"/>
              <a:gd name="connsiteX4" fmla="*/ 1905000 w 2540000"/>
              <a:gd name="connsiteY4" fmla="*/ 2199704 h 2199704"/>
              <a:gd name="connsiteX5" fmla="*/ 635000 w 2540000"/>
              <a:gd name="connsiteY5" fmla="*/ 2199704 h 2199704"/>
              <a:gd name="connsiteX6" fmla="*/ 226579 w 2540000"/>
              <a:gd name="connsiteY6" fmla="*/ 1326431 h 2199704"/>
              <a:gd name="connsiteX0" fmla="*/ 408421 w 2313421"/>
              <a:gd name="connsiteY0" fmla="*/ 0 h 2199704"/>
              <a:gd name="connsiteX1" fmla="*/ 1678421 w 2313421"/>
              <a:gd name="connsiteY1" fmla="*/ 0 h 2199704"/>
              <a:gd name="connsiteX2" fmla="*/ 2313421 w 2313421"/>
              <a:gd name="connsiteY2" fmla="*/ 1099852 h 2199704"/>
              <a:gd name="connsiteX3" fmla="*/ 1678421 w 2313421"/>
              <a:gd name="connsiteY3" fmla="*/ 2199704 h 2199704"/>
              <a:gd name="connsiteX4" fmla="*/ 408421 w 2313421"/>
              <a:gd name="connsiteY4" fmla="*/ 2199704 h 2199704"/>
              <a:gd name="connsiteX5" fmla="*/ 0 w 2313421"/>
              <a:gd name="connsiteY5" fmla="*/ 1326431 h 2199704"/>
              <a:gd name="connsiteX0" fmla="*/ 0 w 1905000"/>
              <a:gd name="connsiteY0" fmla="*/ 0 h 2199704"/>
              <a:gd name="connsiteX1" fmla="*/ 1270000 w 1905000"/>
              <a:gd name="connsiteY1" fmla="*/ 0 h 2199704"/>
              <a:gd name="connsiteX2" fmla="*/ 1905000 w 1905000"/>
              <a:gd name="connsiteY2" fmla="*/ 1099852 h 2199704"/>
              <a:gd name="connsiteX3" fmla="*/ 1270000 w 1905000"/>
              <a:gd name="connsiteY3" fmla="*/ 2199704 h 2199704"/>
              <a:gd name="connsiteX4" fmla="*/ 0 w 1905000"/>
              <a:gd name="connsiteY4" fmla="*/ 2199704 h 2199704"/>
              <a:gd name="connsiteX0" fmla="*/ 0 w 1905000"/>
              <a:gd name="connsiteY0" fmla="*/ 0 h 2199704"/>
              <a:gd name="connsiteX1" fmla="*/ 1270000 w 1905000"/>
              <a:gd name="connsiteY1" fmla="*/ 0 h 2199704"/>
              <a:gd name="connsiteX2" fmla="*/ 1905000 w 1905000"/>
              <a:gd name="connsiteY2" fmla="*/ 1099852 h 2199704"/>
              <a:gd name="connsiteX3" fmla="*/ 1270000 w 1905000"/>
              <a:gd name="connsiteY3" fmla="*/ 2199704 h 2199704"/>
              <a:gd name="connsiteX0" fmla="*/ 0 w 1905000"/>
              <a:gd name="connsiteY0" fmla="*/ 0 h 1099852"/>
              <a:gd name="connsiteX1" fmla="*/ 1270000 w 1905000"/>
              <a:gd name="connsiteY1" fmla="*/ 0 h 1099852"/>
              <a:gd name="connsiteX2" fmla="*/ 1905000 w 1905000"/>
              <a:gd name="connsiteY2" fmla="*/ 1099852 h 1099852"/>
            </a:gdLst>
            <a:ahLst/>
            <a:cxnLst>
              <a:cxn ang="0">
                <a:pos x="connsiteX0" y="connsiteY0"/>
              </a:cxn>
              <a:cxn ang="0">
                <a:pos x="connsiteX1" y="connsiteY1"/>
              </a:cxn>
              <a:cxn ang="0">
                <a:pos x="connsiteX2" y="connsiteY2"/>
              </a:cxn>
            </a:cxnLst>
            <a:rect l="l" t="t" r="r" b="b"/>
            <a:pathLst>
              <a:path w="1905000" h="1099852">
                <a:moveTo>
                  <a:pt x="0" y="0"/>
                </a:moveTo>
                <a:lnTo>
                  <a:pt x="1270000" y="0"/>
                </a:lnTo>
                <a:lnTo>
                  <a:pt x="1905000" y="1099852"/>
                </a:lnTo>
              </a:path>
            </a:pathLst>
          </a:custGeom>
          <a:noFill/>
          <a:ln w="17716" cap="rnd">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85039" tIns="42520" rIns="85039" bIns="42520" rtlCol="0" anchor="ctr"/>
          <a:lstStyle/>
          <a:p>
            <a:pPr algn="l"/>
            <a:endParaRPr lang="zh-CN" altLang="en-US" sz="1488">
              <a:solidFill>
                <a:schemeClr val="bg1"/>
              </a:solidFill>
              <a:latin typeface="+mj-ea"/>
              <a:ea typeface="+mj-ea"/>
            </a:endParaRPr>
          </a:p>
        </p:txBody>
      </p:sp>
      <p:sp>
        <p:nvSpPr>
          <p:cNvPr id="97" name="任意多边形: 形状 96">
            <a:extLst>
              <a:ext uri="{FF2B5EF4-FFF2-40B4-BE49-F238E27FC236}">
                <a16:creationId xmlns:a16="http://schemas.microsoft.com/office/drawing/2014/main" id="{4F87AA90-51C9-45A5-A3F9-C23FF1083108}"/>
              </a:ext>
            </a:extLst>
          </p:cNvPr>
          <p:cNvSpPr/>
          <p:nvPr/>
        </p:nvSpPr>
        <p:spPr>
          <a:xfrm rot="3600000">
            <a:off x="3923676" y="5166038"/>
            <a:ext cx="80475" cy="46463"/>
          </a:xfrm>
          <a:custGeom>
            <a:avLst/>
            <a:gdLst>
              <a:gd name="connsiteX0" fmla="*/ 2540000 w 2540000"/>
              <a:gd name="connsiteY0" fmla="*/ 1099852 h 2199704"/>
              <a:gd name="connsiteX1" fmla="*/ 1905000 w 2540000"/>
              <a:gd name="connsiteY1" fmla="*/ 2199704 h 2199704"/>
              <a:gd name="connsiteX2" fmla="*/ 635000 w 2540000"/>
              <a:gd name="connsiteY2" fmla="*/ 2199704 h 2199704"/>
              <a:gd name="connsiteX3" fmla="*/ 0 w 2540000"/>
              <a:gd name="connsiteY3" fmla="*/ 1099852 h 2199704"/>
              <a:gd name="connsiteX4" fmla="*/ 635000 w 2540000"/>
              <a:gd name="connsiteY4" fmla="*/ 0 h 2199704"/>
              <a:gd name="connsiteX5" fmla="*/ 1905000 w 2540000"/>
              <a:gd name="connsiteY5" fmla="*/ 0 h 2199704"/>
              <a:gd name="connsiteX6" fmla="*/ 2540000 w 2540000"/>
              <a:gd name="connsiteY6" fmla="*/ 1099852 h 2199704"/>
              <a:gd name="connsiteX0" fmla="*/ 0 w 2540000"/>
              <a:gd name="connsiteY0" fmla="*/ 1099852 h 2199704"/>
              <a:gd name="connsiteX1" fmla="*/ 635000 w 2540000"/>
              <a:gd name="connsiteY1" fmla="*/ 0 h 2199704"/>
              <a:gd name="connsiteX2" fmla="*/ 1905000 w 2540000"/>
              <a:gd name="connsiteY2" fmla="*/ 0 h 2199704"/>
              <a:gd name="connsiteX3" fmla="*/ 2540000 w 2540000"/>
              <a:gd name="connsiteY3" fmla="*/ 1099852 h 2199704"/>
              <a:gd name="connsiteX4" fmla="*/ 1905000 w 2540000"/>
              <a:gd name="connsiteY4" fmla="*/ 2199704 h 2199704"/>
              <a:gd name="connsiteX5" fmla="*/ 635000 w 2540000"/>
              <a:gd name="connsiteY5" fmla="*/ 2199704 h 2199704"/>
              <a:gd name="connsiteX6" fmla="*/ 226579 w 2540000"/>
              <a:gd name="connsiteY6" fmla="*/ 1326431 h 2199704"/>
              <a:gd name="connsiteX0" fmla="*/ 408421 w 2313421"/>
              <a:gd name="connsiteY0" fmla="*/ 0 h 2199704"/>
              <a:gd name="connsiteX1" fmla="*/ 1678421 w 2313421"/>
              <a:gd name="connsiteY1" fmla="*/ 0 h 2199704"/>
              <a:gd name="connsiteX2" fmla="*/ 2313421 w 2313421"/>
              <a:gd name="connsiteY2" fmla="*/ 1099852 h 2199704"/>
              <a:gd name="connsiteX3" fmla="*/ 1678421 w 2313421"/>
              <a:gd name="connsiteY3" fmla="*/ 2199704 h 2199704"/>
              <a:gd name="connsiteX4" fmla="*/ 408421 w 2313421"/>
              <a:gd name="connsiteY4" fmla="*/ 2199704 h 2199704"/>
              <a:gd name="connsiteX5" fmla="*/ 0 w 2313421"/>
              <a:gd name="connsiteY5" fmla="*/ 1326431 h 2199704"/>
              <a:gd name="connsiteX0" fmla="*/ 0 w 1905000"/>
              <a:gd name="connsiteY0" fmla="*/ 0 h 2199704"/>
              <a:gd name="connsiteX1" fmla="*/ 1270000 w 1905000"/>
              <a:gd name="connsiteY1" fmla="*/ 0 h 2199704"/>
              <a:gd name="connsiteX2" fmla="*/ 1905000 w 1905000"/>
              <a:gd name="connsiteY2" fmla="*/ 1099852 h 2199704"/>
              <a:gd name="connsiteX3" fmla="*/ 1270000 w 1905000"/>
              <a:gd name="connsiteY3" fmla="*/ 2199704 h 2199704"/>
              <a:gd name="connsiteX4" fmla="*/ 0 w 1905000"/>
              <a:gd name="connsiteY4" fmla="*/ 2199704 h 2199704"/>
              <a:gd name="connsiteX0" fmla="*/ 0 w 1905000"/>
              <a:gd name="connsiteY0" fmla="*/ 0 h 2199704"/>
              <a:gd name="connsiteX1" fmla="*/ 1270000 w 1905000"/>
              <a:gd name="connsiteY1" fmla="*/ 0 h 2199704"/>
              <a:gd name="connsiteX2" fmla="*/ 1905000 w 1905000"/>
              <a:gd name="connsiteY2" fmla="*/ 1099852 h 2199704"/>
              <a:gd name="connsiteX3" fmla="*/ 1270000 w 1905000"/>
              <a:gd name="connsiteY3" fmla="*/ 2199704 h 2199704"/>
              <a:gd name="connsiteX0" fmla="*/ 0 w 1905000"/>
              <a:gd name="connsiteY0" fmla="*/ 0 h 1099852"/>
              <a:gd name="connsiteX1" fmla="*/ 1270000 w 1905000"/>
              <a:gd name="connsiteY1" fmla="*/ 0 h 1099852"/>
              <a:gd name="connsiteX2" fmla="*/ 1905000 w 1905000"/>
              <a:gd name="connsiteY2" fmla="*/ 1099852 h 1099852"/>
            </a:gdLst>
            <a:ahLst/>
            <a:cxnLst>
              <a:cxn ang="0">
                <a:pos x="connsiteX0" y="connsiteY0"/>
              </a:cxn>
              <a:cxn ang="0">
                <a:pos x="connsiteX1" y="connsiteY1"/>
              </a:cxn>
              <a:cxn ang="0">
                <a:pos x="connsiteX2" y="connsiteY2"/>
              </a:cxn>
            </a:cxnLst>
            <a:rect l="l" t="t" r="r" b="b"/>
            <a:pathLst>
              <a:path w="1905000" h="1099852">
                <a:moveTo>
                  <a:pt x="0" y="0"/>
                </a:moveTo>
                <a:lnTo>
                  <a:pt x="1270000" y="0"/>
                </a:lnTo>
                <a:lnTo>
                  <a:pt x="1905000" y="1099852"/>
                </a:lnTo>
              </a:path>
            </a:pathLst>
          </a:custGeom>
          <a:noFill/>
          <a:ln w="17716" cap="rnd">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85039" tIns="42520" rIns="85039" bIns="42520" rtlCol="0" anchor="ctr"/>
          <a:lstStyle/>
          <a:p>
            <a:pPr algn="l"/>
            <a:endParaRPr lang="zh-CN" altLang="en-US" sz="1488">
              <a:solidFill>
                <a:schemeClr val="bg1"/>
              </a:solidFill>
              <a:latin typeface="+mj-ea"/>
              <a:ea typeface="+mj-ea"/>
            </a:endParaRPr>
          </a:p>
        </p:txBody>
      </p:sp>
      <p:sp>
        <p:nvSpPr>
          <p:cNvPr id="98" name="任意多边形: 形状 97">
            <a:extLst>
              <a:ext uri="{FF2B5EF4-FFF2-40B4-BE49-F238E27FC236}">
                <a16:creationId xmlns:a16="http://schemas.microsoft.com/office/drawing/2014/main" id="{86AABE0B-2030-4DFB-9114-0D66000ADC34}"/>
              </a:ext>
            </a:extLst>
          </p:cNvPr>
          <p:cNvSpPr/>
          <p:nvPr/>
        </p:nvSpPr>
        <p:spPr>
          <a:xfrm flipV="1">
            <a:off x="3678938" y="5593041"/>
            <a:ext cx="80475" cy="46463"/>
          </a:xfrm>
          <a:custGeom>
            <a:avLst/>
            <a:gdLst>
              <a:gd name="connsiteX0" fmla="*/ 2540000 w 2540000"/>
              <a:gd name="connsiteY0" fmla="*/ 1099852 h 2199704"/>
              <a:gd name="connsiteX1" fmla="*/ 1905000 w 2540000"/>
              <a:gd name="connsiteY1" fmla="*/ 2199704 h 2199704"/>
              <a:gd name="connsiteX2" fmla="*/ 635000 w 2540000"/>
              <a:gd name="connsiteY2" fmla="*/ 2199704 h 2199704"/>
              <a:gd name="connsiteX3" fmla="*/ 0 w 2540000"/>
              <a:gd name="connsiteY3" fmla="*/ 1099852 h 2199704"/>
              <a:gd name="connsiteX4" fmla="*/ 635000 w 2540000"/>
              <a:gd name="connsiteY4" fmla="*/ 0 h 2199704"/>
              <a:gd name="connsiteX5" fmla="*/ 1905000 w 2540000"/>
              <a:gd name="connsiteY5" fmla="*/ 0 h 2199704"/>
              <a:gd name="connsiteX6" fmla="*/ 2540000 w 2540000"/>
              <a:gd name="connsiteY6" fmla="*/ 1099852 h 2199704"/>
              <a:gd name="connsiteX0" fmla="*/ 0 w 2540000"/>
              <a:gd name="connsiteY0" fmla="*/ 1099852 h 2199704"/>
              <a:gd name="connsiteX1" fmla="*/ 635000 w 2540000"/>
              <a:gd name="connsiteY1" fmla="*/ 0 h 2199704"/>
              <a:gd name="connsiteX2" fmla="*/ 1905000 w 2540000"/>
              <a:gd name="connsiteY2" fmla="*/ 0 h 2199704"/>
              <a:gd name="connsiteX3" fmla="*/ 2540000 w 2540000"/>
              <a:gd name="connsiteY3" fmla="*/ 1099852 h 2199704"/>
              <a:gd name="connsiteX4" fmla="*/ 1905000 w 2540000"/>
              <a:gd name="connsiteY4" fmla="*/ 2199704 h 2199704"/>
              <a:gd name="connsiteX5" fmla="*/ 635000 w 2540000"/>
              <a:gd name="connsiteY5" fmla="*/ 2199704 h 2199704"/>
              <a:gd name="connsiteX6" fmla="*/ 226579 w 2540000"/>
              <a:gd name="connsiteY6" fmla="*/ 1326431 h 2199704"/>
              <a:gd name="connsiteX0" fmla="*/ 408421 w 2313421"/>
              <a:gd name="connsiteY0" fmla="*/ 0 h 2199704"/>
              <a:gd name="connsiteX1" fmla="*/ 1678421 w 2313421"/>
              <a:gd name="connsiteY1" fmla="*/ 0 h 2199704"/>
              <a:gd name="connsiteX2" fmla="*/ 2313421 w 2313421"/>
              <a:gd name="connsiteY2" fmla="*/ 1099852 h 2199704"/>
              <a:gd name="connsiteX3" fmla="*/ 1678421 w 2313421"/>
              <a:gd name="connsiteY3" fmla="*/ 2199704 h 2199704"/>
              <a:gd name="connsiteX4" fmla="*/ 408421 w 2313421"/>
              <a:gd name="connsiteY4" fmla="*/ 2199704 h 2199704"/>
              <a:gd name="connsiteX5" fmla="*/ 0 w 2313421"/>
              <a:gd name="connsiteY5" fmla="*/ 1326431 h 2199704"/>
              <a:gd name="connsiteX0" fmla="*/ 0 w 1905000"/>
              <a:gd name="connsiteY0" fmla="*/ 0 h 2199704"/>
              <a:gd name="connsiteX1" fmla="*/ 1270000 w 1905000"/>
              <a:gd name="connsiteY1" fmla="*/ 0 h 2199704"/>
              <a:gd name="connsiteX2" fmla="*/ 1905000 w 1905000"/>
              <a:gd name="connsiteY2" fmla="*/ 1099852 h 2199704"/>
              <a:gd name="connsiteX3" fmla="*/ 1270000 w 1905000"/>
              <a:gd name="connsiteY3" fmla="*/ 2199704 h 2199704"/>
              <a:gd name="connsiteX4" fmla="*/ 0 w 1905000"/>
              <a:gd name="connsiteY4" fmla="*/ 2199704 h 2199704"/>
              <a:gd name="connsiteX0" fmla="*/ 0 w 1905000"/>
              <a:gd name="connsiteY0" fmla="*/ 0 h 2199704"/>
              <a:gd name="connsiteX1" fmla="*/ 1270000 w 1905000"/>
              <a:gd name="connsiteY1" fmla="*/ 0 h 2199704"/>
              <a:gd name="connsiteX2" fmla="*/ 1905000 w 1905000"/>
              <a:gd name="connsiteY2" fmla="*/ 1099852 h 2199704"/>
              <a:gd name="connsiteX3" fmla="*/ 1270000 w 1905000"/>
              <a:gd name="connsiteY3" fmla="*/ 2199704 h 2199704"/>
              <a:gd name="connsiteX0" fmla="*/ 0 w 1905000"/>
              <a:gd name="connsiteY0" fmla="*/ 0 h 1099852"/>
              <a:gd name="connsiteX1" fmla="*/ 1270000 w 1905000"/>
              <a:gd name="connsiteY1" fmla="*/ 0 h 1099852"/>
              <a:gd name="connsiteX2" fmla="*/ 1905000 w 1905000"/>
              <a:gd name="connsiteY2" fmla="*/ 1099852 h 1099852"/>
            </a:gdLst>
            <a:ahLst/>
            <a:cxnLst>
              <a:cxn ang="0">
                <a:pos x="connsiteX0" y="connsiteY0"/>
              </a:cxn>
              <a:cxn ang="0">
                <a:pos x="connsiteX1" y="connsiteY1"/>
              </a:cxn>
              <a:cxn ang="0">
                <a:pos x="connsiteX2" y="connsiteY2"/>
              </a:cxn>
            </a:cxnLst>
            <a:rect l="l" t="t" r="r" b="b"/>
            <a:pathLst>
              <a:path w="1905000" h="1099852">
                <a:moveTo>
                  <a:pt x="0" y="0"/>
                </a:moveTo>
                <a:lnTo>
                  <a:pt x="1270000" y="0"/>
                </a:lnTo>
                <a:lnTo>
                  <a:pt x="1905000" y="1099852"/>
                </a:lnTo>
              </a:path>
            </a:pathLst>
          </a:custGeom>
          <a:noFill/>
          <a:ln w="17716" cap="rnd">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85039" tIns="42520" rIns="85039" bIns="42520" rtlCol="0" anchor="ctr"/>
          <a:lstStyle/>
          <a:p>
            <a:pPr algn="l"/>
            <a:endParaRPr lang="zh-CN" altLang="en-US" sz="1488">
              <a:solidFill>
                <a:schemeClr val="bg1"/>
              </a:solidFill>
              <a:latin typeface="+mj-ea"/>
              <a:ea typeface="+mj-ea"/>
            </a:endParaRPr>
          </a:p>
        </p:txBody>
      </p:sp>
      <p:sp>
        <p:nvSpPr>
          <p:cNvPr id="99" name="任意多边形: 形状 98">
            <a:extLst>
              <a:ext uri="{FF2B5EF4-FFF2-40B4-BE49-F238E27FC236}">
                <a16:creationId xmlns:a16="http://schemas.microsoft.com/office/drawing/2014/main" id="{292AE123-0914-48E7-B019-8D6E2462B591}"/>
              </a:ext>
            </a:extLst>
          </p:cNvPr>
          <p:cNvSpPr/>
          <p:nvPr/>
        </p:nvSpPr>
        <p:spPr>
          <a:xfrm flipH="1" flipV="1">
            <a:off x="3182877" y="5593041"/>
            <a:ext cx="80475" cy="46463"/>
          </a:xfrm>
          <a:custGeom>
            <a:avLst/>
            <a:gdLst>
              <a:gd name="connsiteX0" fmla="*/ 2540000 w 2540000"/>
              <a:gd name="connsiteY0" fmla="*/ 1099852 h 2199704"/>
              <a:gd name="connsiteX1" fmla="*/ 1905000 w 2540000"/>
              <a:gd name="connsiteY1" fmla="*/ 2199704 h 2199704"/>
              <a:gd name="connsiteX2" fmla="*/ 635000 w 2540000"/>
              <a:gd name="connsiteY2" fmla="*/ 2199704 h 2199704"/>
              <a:gd name="connsiteX3" fmla="*/ 0 w 2540000"/>
              <a:gd name="connsiteY3" fmla="*/ 1099852 h 2199704"/>
              <a:gd name="connsiteX4" fmla="*/ 635000 w 2540000"/>
              <a:gd name="connsiteY4" fmla="*/ 0 h 2199704"/>
              <a:gd name="connsiteX5" fmla="*/ 1905000 w 2540000"/>
              <a:gd name="connsiteY5" fmla="*/ 0 h 2199704"/>
              <a:gd name="connsiteX6" fmla="*/ 2540000 w 2540000"/>
              <a:gd name="connsiteY6" fmla="*/ 1099852 h 2199704"/>
              <a:gd name="connsiteX0" fmla="*/ 0 w 2540000"/>
              <a:gd name="connsiteY0" fmla="*/ 1099852 h 2199704"/>
              <a:gd name="connsiteX1" fmla="*/ 635000 w 2540000"/>
              <a:gd name="connsiteY1" fmla="*/ 0 h 2199704"/>
              <a:gd name="connsiteX2" fmla="*/ 1905000 w 2540000"/>
              <a:gd name="connsiteY2" fmla="*/ 0 h 2199704"/>
              <a:gd name="connsiteX3" fmla="*/ 2540000 w 2540000"/>
              <a:gd name="connsiteY3" fmla="*/ 1099852 h 2199704"/>
              <a:gd name="connsiteX4" fmla="*/ 1905000 w 2540000"/>
              <a:gd name="connsiteY4" fmla="*/ 2199704 h 2199704"/>
              <a:gd name="connsiteX5" fmla="*/ 635000 w 2540000"/>
              <a:gd name="connsiteY5" fmla="*/ 2199704 h 2199704"/>
              <a:gd name="connsiteX6" fmla="*/ 226579 w 2540000"/>
              <a:gd name="connsiteY6" fmla="*/ 1326431 h 2199704"/>
              <a:gd name="connsiteX0" fmla="*/ 408421 w 2313421"/>
              <a:gd name="connsiteY0" fmla="*/ 0 h 2199704"/>
              <a:gd name="connsiteX1" fmla="*/ 1678421 w 2313421"/>
              <a:gd name="connsiteY1" fmla="*/ 0 h 2199704"/>
              <a:gd name="connsiteX2" fmla="*/ 2313421 w 2313421"/>
              <a:gd name="connsiteY2" fmla="*/ 1099852 h 2199704"/>
              <a:gd name="connsiteX3" fmla="*/ 1678421 w 2313421"/>
              <a:gd name="connsiteY3" fmla="*/ 2199704 h 2199704"/>
              <a:gd name="connsiteX4" fmla="*/ 408421 w 2313421"/>
              <a:gd name="connsiteY4" fmla="*/ 2199704 h 2199704"/>
              <a:gd name="connsiteX5" fmla="*/ 0 w 2313421"/>
              <a:gd name="connsiteY5" fmla="*/ 1326431 h 2199704"/>
              <a:gd name="connsiteX0" fmla="*/ 0 w 1905000"/>
              <a:gd name="connsiteY0" fmla="*/ 0 h 2199704"/>
              <a:gd name="connsiteX1" fmla="*/ 1270000 w 1905000"/>
              <a:gd name="connsiteY1" fmla="*/ 0 h 2199704"/>
              <a:gd name="connsiteX2" fmla="*/ 1905000 w 1905000"/>
              <a:gd name="connsiteY2" fmla="*/ 1099852 h 2199704"/>
              <a:gd name="connsiteX3" fmla="*/ 1270000 w 1905000"/>
              <a:gd name="connsiteY3" fmla="*/ 2199704 h 2199704"/>
              <a:gd name="connsiteX4" fmla="*/ 0 w 1905000"/>
              <a:gd name="connsiteY4" fmla="*/ 2199704 h 2199704"/>
              <a:gd name="connsiteX0" fmla="*/ 0 w 1905000"/>
              <a:gd name="connsiteY0" fmla="*/ 0 h 2199704"/>
              <a:gd name="connsiteX1" fmla="*/ 1270000 w 1905000"/>
              <a:gd name="connsiteY1" fmla="*/ 0 h 2199704"/>
              <a:gd name="connsiteX2" fmla="*/ 1905000 w 1905000"/>
              <a:gd name="connsiteY2" fmla="*/ 1099852 h 2199704"/>
              <a:gd name="connsiteX3" fmla="*/ 1270000 w 1905000"/>
              <a:gd name="connsiteY3" fmla="*/ 2199704 h 2199704"/>
              <a:gd name="connsiteX0" fmla="*/ 0 w 1905000"/>
              <a:gd name="connsiteY0" fmla="*/ 0 h 1099852"/>
              <a:gd name="connsiteX1" fmla="*/ 1270000 w 1905000"/>
              <a:gd name="connsiteY1" fmla="*/ 0 h 1099852"/>
              <a:gd name="connsiteX2" fmla="*/ 1905000 w 1905000"/>
              <a:gd name="connsiteY2" fmla="*/ 1099852 h 1099852"/>
            </a:gdLst>
            <a:ahLst/>
            <a:cxnLst>
              <a:cxn ang="0">
                <a:pos x="connsiteX0" y="connsiteY0"/>
              </a:cxn>
              <a:cxn ang="0">
                <a:pos x="connsiteX1" y="connsiteY1"/>
              </a:cxn>
              <a:cxn ang="0">
                <a:pos x="connsiteX2" y="connsiteY2"/>
              </a:cxn>
            </a:cxnLst>
            <a:rect l="l" t="t" r="r" b="b"/>
            <a:pathLst>
              <a:path w="1905000" h="1099852">
                <a:moveTo>
                  <a:pt x="0" y="0"/>
                </a:moveTo>
                <a:lnTo>
                  <a:pt x="1270000" y="0"/>
                </a:lnTo>
                <a:lnTo>
                  <a:pt x="1905000" y="1099852"/>
                </a:lnTo>
              </a:path>
            </a:pathLst>
          </a:custGeom>
          <a:noFill/>
          <a:ln w="17716" cap="rnd">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85039" tIns="42520" rIns="85039" bIns="42520" rtlCol="0" anchor="ctr"/>
          <a:lstStyle/>
          <a:p>
            <a:pPr algn="l"/>
            <a:endParaRPr lang="zh-CN" altLang="en-US" sz="1488">
              <a:solidFill>
                <a:schemeClr val="bg1"/>
              </a:solidFill>
              <a:latin typeface="+mj-ea"/>
              <a:ea typeface="+mj-ea"/>
            </a:endParaRPr>
          </a:p>
        </p:txBody>
      </p:sp>
      <p:sp>
        <p:nvSpPr>
          <p:cNvPr id="100" name="任意多边形: 形状 99">
            <a:extLst>
              <a:ext uri="{FF2B5EF4-FFF2-40B4-BE49-F238E27FC236}">
                <a16:creationId xmlns:a16="http://schemas.microsoft.com/office/drawing/2014/main" id="{B7B9C4AA-CA65-410D-8415-283095FF8F25}"/>
              </a:ext>
            </a:extLst>
          </p:cNvPr>
          <p:cNvSpPr/>
          <p:nvPr/>
        </p:nvSpPr>
        <p:spPr>
          <a:xfrm rot="18000000" flipH="1">
            <a:off x="2935547" y="5166788"/>
            <a:ext cx="80475" cy="46463"/>
          </a:xfrm>
          <a:custGeom>
            <a:avLst/>
            <a:gdLst>
              <a:gd name="connsiteX0" fmla="*/ 2540000 w 2540000"/>
              <a:gd name="connsiteY0" fmla="*/ 1099852 h 2199704"/>
              <a:gd name="connsiteX1" fmla="*/ 1905000 w 2540000"/>
              <a:gd name="connsiteY1" fmla="*/ 2199704 h 2199704"/>
              <a:gd name="connsiteX2" fmla="*/ 635000 w 2540000"/>
              <a:gd name="connsiteY2" fmla="*/ 2199704 h 2199704"/>
              <a:gd name="connsiteX3" fmla="*/ 0 w 2540000"/>
              <a:gd name="connsiteY3" fmla="*/ 1099852 h 2199704"/>
              <a:gd name="connsiteX4" fmla="*/ 635000 w 2540000"/>
              <a:gd name="connsiteY4" fmla="*/ 0 h 2199704"/>
              <a:gd name="connsiteX5" fmla="*/ 1905000 w 2540000"/>
              <a:gd name="connsiteY5" fmla="*/ 0 h 2199704"/>
              <a:gd name="connsiteX6" fmla="*/ 2540000 w 2540000"/>
              <a:gd name="connsiteY6" fmla="*/ 1099852 h 2199704"/>
              <a:gd name="connsiteX0" fmla="*/ 0 w 2540000"/>
              <a:gd name="connsiteY0" fmla="*/ 1099852 h 2199704"/>
              <a:gd name="connsiteX1" fmla="*/ 635000 w 2540000"/>
              <a:gd name="connsiteY1" fmla="*/ 0 h 2199704"/>
              <a:gd name="connsiteX2" fmla="*/ 1905000 w 2540000"/>
              <a:gd name="connsiteY2" fmla="*/ 0 h 2199704"/>
              <a:gd name="connsiteX3" fmla="*/ 2540000 w 2540000"/>
              <a:gd name="connsiteY3" fmla="*/ 1099852 h 2199704"/>
              <a:gd name="connsiteX4" fmla="*/ 1905000 w 2540000"/>
              <a:gd name="connsiteY4" fmla="*/ 2199704 h 2199704"/>
              <a:gd name="connsiteX5" fmla="*/ 635000 w 2540000"/>
              <a:gd name="connsiteY5" fmla="*/ 2199704 h 2199704"/>
              <a:gd name="connsiteX6" fmla="*/ 226579 w 2540000"/>
              <a:gd name="connsiteY6" fmla="*/ 1326431 h 2199704"/>
              <a:gd name="connsiteX0" fmla="*/ 408421 w 2313421"/>
              <a:gd name="connsiteY0" fmla="*/ 0 h 2199704"/>
              <a:gd name="connsiteX1" fmla="*/ 1678421 w 2313421"/>
              <a:gd name="connsiteY1" fmla="*/ 0 h 2199704"/>
              <a:gd name="connsiteX2" fmla="*/ 2313421 w 2313421"/>
              <a:gd name="connsiteY2" fmla="*/ 1099852 h 2199704"/>
              <a:gd name="connsiteX3" fmla="*/ 1678421 w 2313421"/>
              <a:gd name="connsiteY3" fmla="*/ 2199704 h 2199704"/>
              <a:gd name="connsiteX4" fmla="*/ 408421 w 2313421"/>
              <a:gd name="connsiteY4" fmla="*/ 2199704 h 2199704"/>
              <a:gd name="connsiteX5" fmla="*/ 0 w 2313421"/>
              <a:gd name="connsiteY5" fmla="*/ 1326431 h 2199704"/>
              <a:gd name="connsiteX0" fmla="*/ 0 w 1905000"/>
              <a:gd name="connsiteY0" fmla="*/ 0 h 2199704"/>
              <a:gd name="connsiteX1" fmla="*/ 1270000 w 1905000"/>
              <a:gd name="connsiteY1" fmla="*/ 0 h 2199704"/>
              <a:gd name="connsiteX2" fmla="*/ 1905000 w 1905000"/>
              <a:gd name="connsiteY2" fmla="*/ 1099852 h 2199704"/>
              <a:gd name="connsiteX3" fmla="*/ 1270000 w 1905000"/>
              <a:gd name="connsiteY3" fmla="*/ 2199704 h 2199704"/>
              <a:gd name="connsiteX4" fmla="*/ 0 w 1905000"/>
              <a:gd name="connsiteY4" fmla="*/ 2199704 h 2199704"/>
              <a:gd name="connsiteX0" fmla="*/ 0 w 1905000"/>
              <a:gd name="connsiteY0" fmla="*/ 0 h 2199704"/>
              <a:gd name="connsiteX1" fmla="*/ 1270000 w 1905000"/>
              <a:gd name="connsiteY1" fmla="*/ 0 h 2199704"/>
              <a:gd name="connsiteX2" fmla="*/ 1905000 w 1905000"/>
              <a:gd name="connsiteY2" fmla="*/ 1099852 h 2199704"/>
              <a:gd name="connsiteX3" fmla="*/ 1270000 w 1905000"/>
              <a:gd name="connsiteY3" fmla="*/ 2199704 h 2199704"/>
              <a:gd name="connsiteX0" fmla="*/ 0 w 1905000"/>
              <a:gd name="connsiteY0" fmla="*/ 0 h 1099852"/>
              <a:gd name="connsiteX1" fmla="*/ 1270000 w 1905000"/>
              <a:gd name="connsiteY1" fmla="*/ 0 h 1099852"/>
              <a:gd name="connsiteX2" fmla="*/ 1905000 w 1905000"/>
              <a:gd name="connsiteY2" fmla="*/ 1099852 h 1099852"/>
            </a:gdLst>
            <a:ahLst/>
            <a:cxnLst>
              <a:cxn ang="0">
                <a:pos x="connsiteX0" y="connsiteY0"/>
              </a:cxn>
              <a:cxn ang="0">
                <a:pos x="connsiteX1" y="connsiteY1"/>
              </a:cxn>
              <a:cxn ang="0">
                <a:pos x="connsiteX2" y="connsiteY2"/>
              </a:cxn>
            </a:cxnLst>
            <a:rect l="l" t="t" r="r" b="b"/>
            <a:pathLst>
              <a:path w="1905000" h="1099852">
                <a:moveTo>
                  <a:pt x="0" y="0"/>
                </a:moveTo>
                <a:lnTo>
                  <a:pt x="1270000" y="0"/>
                </a:lnTo>
                <a:lnTo>
                  <a:pt x="1905000" y="1099852"/>
                </a:lnTo>
              </a:path>
            </a:pathLst>
          </a:custGeom>
          <a:noFill/>
          <a:ln w="17716" cap="rnd">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85039" tIns="42520" rIns="85039" bIns="42520" rtlCol="0" anchor="ctr"/>
          <a:lstStyle/>
          <a:p>
            <a:pPr algn="l"/>
            <a:endParaRPr lang="zh-CN" altLang="en-US" sz="1488">
              <a:solidFill>
                <a:schemeClr val="bg1"/>
              </a:solidFill>
              <a:latin typeface="+mj-ea"/>
              <a:ea typeface="+mj-ea"/>
            </a:endParaRPr>
          </a:p>
        </p:txBody>
      </p:sp>
      <p:sp>
        <p:nvSpPr>
          <p:cNvPr id="101" name="文本框 100">
            <a:extLst>
              <a:ext uri="{FF2B5EF4-FFF2-40B4-BE49-F238E27FC236}">
                <a16:creationId xmlns:a16="http://schemas.microsoft.com/office/drawing/2014/main" id="{2BF331CF-56DE-4695-A89A-D01D42E18980}"/>
              </a:ext>
            </a:extLst>
          </p:cNvPr>
          <p:cNvSpPr txBox="1"/>
          <p:nvPr/>
        </p:nvSpPr>
        <p:spPr>
          <a:xfrm flipH="1">
            <a:off x="1575764" y="4834218"/>
            <a:ext cx="1192633" cy="286233"/>
          </a:xfrm>
          <a:prstGeom prst="rect">
            <a:avLst/>
          </a:prstGeom>
          <a:noFill/>
          <a:effectLst/>
        </p:spPr>
        <p:txBody>
          <a:bodyPr wrap="none" lIns="0" tIns="0" rIns="0" bIns="0" rtlCol="0" anchor="t">
            <a:spAutoFit/>
          </a:bodyPr>
          <a:lstStyle/>
          <a:p>
            <a:pPr algn="r"/>
            <a:r>
              <a:rPr lang="zh-CN" altLang="en-US" sz="1860" dirty="0">
                <a:solidFill>
                  <a:schemeClr val="accent1"/>
                </a:solidFill>
                <a:latin typeface="+mj-ea"/>
                <a:ea typeface="+mj-ea"/>
              </a:rPr>
              <a:t>关键词标题</a:t>
            </a:r>
          </a:p>
        </p:txBody>
      </p:sp>
      <p:sp>
        <p:nvSpPr>
          <p:cNvPr id="102" name="文本框 101">
            <a:extLst>
              <a:ext uri="{FF2B5EF4-FFF2-40B4-BE49-F238E27FC236}">
                <a16:creationId xmlns:a16="http://schemas.microsoft.com/office/drawing/2014/main" id="{B29122E1-018F-49B0-BFD0-F6F57C32A242}"/>
              </a:ext>
            </a:extLst>
          </p:cNvPr>
          <p:cNvSpPr txBox="1"/>
          <p:nvPr/>
        </p:nvSpPr>
        <p:spPr>
          <a:xfrm flipH="1">
            <a:off x="376108" y="5120450"/>
            <a:ext cx="2406784" cy="432271"/>
          </a:xfrm>
          <a:prstGeom prst="rect">
            <a:avLst/>
          </a:prstGeom>
          <a:noFill/>
          <a:effectLst/>
        </p:spPr>
        <p:txBody>
          <a:bodyPr wrap="square" lIns="0" tIns="0" rIns="0" bIns="0" rtlCol="0" anchor="t">
            <a:spAutoFit/>
          </a:bodyPr>
          <a:lstStyle/>
          <a:p>
            <a:pPr algn="r">
              <a:lnSpc>
                <a:spcPct val="130000"/>
              </a:lnSpc>
            </a:pPr>
            <a:r>
              <a:rPr lang="en-US" altLang="zh-CN" sz="1116" b="0" dirty="0">
                <a:solidFill>
                  <a:schemeClr val="tx1">
                    <a:lumMod val="75000"/>
                    <a:lumOff val="25000"/>
                  </a:schemeClr>
                </a:solidFill>
                <a:effectLst/>
                <a:latin typeface="+mn-ea"/>
              </a:rPr>
              <a:t>Lorem ipsum dolor onsectetur adipisicing elit</a:t>
            </a:r>
            <a:r>
              <a:rPr lang="en-US" altLang="zh-CN" sz="1116" dirty="0">
                <a:solidFill>
                  <a:schemeClr val="tx1">
                    <a:lumMod val="75000"/>
                    <a:lumOff val="25000"/>
                  </a:schemeClr>
                </a:solidFill>
                <a:latin typeface="+mn-ea"/>
              </a:rPr>
              <a:t> </a:t>
            </a:r>
            <a:r>
              <a:rPr lang="en-US" altLang="zh-CN" sz="1116" b="0" dirty="0">
                <a:solidFill>
                  <a:schemeClr val="tx1">
                    <a:lumMod val="75000"/>
                    <a:lumOff val="25000"/>
                  </a:schemeClr>
                </a:solidFill>
                <a:effectLst/>
                <a:latin typeface="+mn-ea"/>
              </a:rPr>
              <a:t>sed do eiusmod</a:t>
            </a:r>
            <a:endParaRPr lang="zh-CN" altLang="en-US" sz="1116" b="0" dirty="0">
              <a:solidFill>
                <a:schemeClr val="tx1">
                  <a:lumMod val="75000"/>
                  <a:lumOff val="25000"/>
                </a:schemeClr>
              </a:solidFill>
              <a:effectLst/>
              <a:latin typeface="+mn-ea"/>
            </a:endParaRPr>
          </a:p>
        </p:txBody>
      </p:sp>
      <p:sp>
        <p:nvSpPr>
          <p:cNvPr id="92" name="椭圆 91">
            <a:extLst>
              <a:ext uri="{FF2B5EF4-FFF2-40B4-BE49-F238E27FC236}">
                <a16:creationId xmlns:a16="http://schemas.microsoft.com/office/drawing/2014/main" id="{400CFAC5-F42E-4B90-BD51-441683122163}"/>
              </a:ext>
            </a:extLst>
          </p:cNvPr>
          <p:cNvSpPr/>
          <p:nvPr>
            <p:custDataLst>
              <p:tags r:id="rId10"/>
            </p:custDataLst>
          </p:nvPr>
        </p:nvSpPr>
        <p:spPr>
          <a:xfrm flipH="1">
            <a:off x="5209575" y="4621261"/>
            <a:ext cx="65210" cy="65210"/>
          </a:xfrm>
          <a:prstGeom prst="ellipse">
            <a:avLst/>
          </a:prstGeom>
          <a:solidFill>
            <a:schemeClr val="bg1"/>
          </a:solidFill>
          <a:ln>
            <a:noFill/>
          </a:ln>
          <a:effectLst>
            <a:outerShdw blurRad="23622" sx="102000" sy="102000" algn="ctr" rotWithShape="0">
              <a:schemeClr val="accent1">
                <a:lumMod val="20000"/>
                <a:lumOff val="80000"/>
                <a:alpha val="89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85039" tIns="42520" rIns="85039" bIns="42520" rtlCol="0" anchor="ctr"/>
          <a:lstStyle/>
          <a:p>
            <a:pPr algn="l"/>
            <a:endParaRPr lang="zh-CN" altLang="en-US" sz="1488">
              <a:solidFill>
                <a:schemeClr val="bg1"/>
              </a:solidFill>
              <a:latin typeface="+mj-ea"/>
              <a:ea typeface="+mj-ea"/>
            </a:endParaRPr>
          </a:p>
        </p:txBody>
      </p:sp>
      <p:sp>
        <p:nvSpPr>
          <p:cNvPr id="124" name="文本框 123">
            <a:extLst>
              <a:ext uri="{FF2B5EF4-FFF2-40B4-BE49-F238E27FC236}">
                <a16:creationId xmlns:a16="http://schemas.microsoft.com/office/drawing/2014/main" id="{8B2808B4-8D85-471D-AAEB-E3A37E8CC3E9}"/>
              </a:ext>
            </a:extLst>
          </p:cNvPr>
          <p:cNvSpPr txBox="1"/>
          <p:nvPr/>
        </p:nvSpPr>
        <p:spPr>
          <a:xfrm>
            <a:off x="5415728" y="3505769"/>
            <a:ext cx="1154162" cy="276999"/>
          </a:xfrm>
          <a:prstGeom prst="rect">
            <a:avLst/>
          </a:prstGeom>
          <a:noFill/>
          <a:effectLst/>
        </p:spPr>
        <p:txBody>
          <a:bodyPr wrap="none" lIns="0" tIns="0" rIns="0" bIns="0" rtlCol="0" anchor="t">
            <a:spAutoFit/>
          </a:bodyPr>
          <a:lstStyle/>
          <a:p>
            <a:pPr algn="ctr"/>
            <a:r>
              <a:rPr lang="zh-CN" altLang="en-US" dirty="0">
                <a:solidFill>
                  <a:schemeClr val="bg1"/>
                </a:solidFill>
                <a:latin typeface="+mj-ea"/>
                <a:ea typeface="+mj-ea"/>
              </a:rPr>
              <a:t>关键词标题</a:t>
            </a:r>
          </a:p>
        </p:txBody>
      </p:sp>
      <p:sp>
        <p:nvSpPr>
          <p:cNvPr id="125" name="文本框 124">
            <a:extLst>
              <a:ext uri="{FF2B5EF4-FFF2-40B4-BE49-F238E27FC236}">
                <a16:creationId xmlns:a16="http://schemas.microsoft.com/office/drawing/2014/main" id="{47891286-CF2A-4A39-9FFD-46461F479400}"/>
              </a:ext>
            </a:extLst>
          </p:cNvPr>
          <p:cNvSpPr txBox="1"/>
          <p:nvPr/>
        </p:nvSpPr>
        <p:spPr>
          <a:xfrm>
            <a:off x="5184671" y="3802989"/>
            <a:ext cx="1616276" cy="406714"/>
          </a:xfrm>
          <a:prstGeom prst="rect">
            <a:avLst/>
          </a:prstGeom>
          <a:noFill/>
          <a:effectLst/>
        </p:spPr>
        <p:txBody>
          <a:bodyPr wrap="square" lIns="0" tIns="0" rIns="0" bIns="0" rtlCol="0" anchor="t">
            <a:spAutoFit/>
          </a:bodyPr>
          <a:lstStyle/>
          <a:p>
            <a:pPr algn="ctr">
              <a:lnSpc>
                <a:spcPct val="130000"/>
              </a:lnSpc>
            </a:pPr>
            <a:r>
              <a:rPr lang="en-US" altLang="zh-CN" sz="1050" b="0" dirty="0">
                <a:solidFill>
                  <a:schemeClr val="bg1"/>
                </a:solidFill>
                <a:effectLst/>
                <a:latin typeface="+mn-ea"/>
              </a:rPr>
              <a:t>Lorem ipsum dolor sit ametconsectetur</a:t>
            </a:r>
            <a:endParaRPr lang="zh-CN" altLang="en-US" sz="1050" b="0" dirty="0">
              <a:solidFill>
                <a:schemeClr val="bg1"/>
              </a:solidFill>
              <a:effectLst/>
              <a:latin typeface="+mn-ea"/>
            </a:endParaRPr>
          </a:p>
        </p:txBody>
      </p:sp>
      <p:sp>
        <p:nvSpPr>
          <p:cNvPr id="126" name="iconfont-1187-868110">
            <a:extLst>
              <a:ext uri="{FF2B5EF4-FFF2-40B4-BE49-F238E27FC236}">
                <a16:creationId xmlns:a16="http://schemas.microsoft.com/office/drawing/2014/main" id="{73222287-A720-446B-A50A-9A9B5E6DD803}"/>
              </a:ext>
            </a:extLst>
          </p:cNvPr>
          <p:cNvSpPr/>
          <p:nvPr/>
        </p:nvSpPr>
        <p:spPr>
          <a:xfrm>
            <a:off x="5776512" y="2913193"/>
            <a:ext cx="432594" cy="417180"/>
          </a:xfrm>
          <a:custGeom>
            <a:avLst/>
            <a:gdLst>
              <a:gd name="T0" fmla="*/ 11888 w 12803"/>
              <a:gd name="T1" fmla="*/ 0 h 12345"/>
              <a:gd name="T2" fmla="*/ 914 w 12803"/>
              <a:gd name="T3" fmla="*/ 0 h 12345"/>
              <a:gd name="T4" fmla="*/ 0 w 12803"/>
              <a:gd name="T5" fmla="*/ 914 h 12345"/>
              <a:gd name="T6" fmla="*/ 0 w 12803"/>
              <a:gd name="T7" fmla="*/ 8687 h 12345"/>
              <a:gd name="T8" fmla="*/ 914 w 12803"/>
              <a:gd name="T9" fmla="*/ 9602 h 12345"/>
              <a:gd name="T10" fmla="*/ 3201 w 12803"/>
              <a:gd name="T11" fmla="*/ 9602 h 12345"/>
              <a:gd name="T12" fmla="*/ 3201 w 12803"/>
              <a:gd name="T13" fmla="*/ 12345 h 12345"/>
              <a:gd name="T14" fmla="*/ 8230 w 12803"/>
              <a:gd name="T15" fmla="*/ 9602 h 12345"/>
              <a:gd name="T16" fmla="*/ 11888 w 12803"/>
              <a:gd name="T17" fmla="*/ 9602 h 12345"/>
              <a:gd name="T18" fmla="*/ 12803 w 12803"/>
              <a:gd name="T19" fmla="*/ 8687 h 12345"/>
              <a:gd name="T20" fmla="*/ 12803 w 12803"/>
              <a:gd name="T21" fmla="*/ 914 h 12345"/>
              <a:gd name="T22" fmla="*/ 11888 w 12803"/>
              <a:gd name="T23" fmla="*/ 0 h 12345"/>
              <a:gd name="T24" fmla="*/ 3201 w 12803"/>
              <a:gd name="T25" fmla="*/ 5487 h 12345"/>
              <a:gd name="T26" fmla="*/ 2286 w 12803"/>
              <a:gd name="T27" fmla="*/ 4572 h 12345"/>
              <a:gd name="T28" fmla="*/ 3201 w 12803"/>
              <a:gd name="T29" fmla="*/ 3658 h 12345"/>
              <a:gd name="T30" fmla="*/ 4115 w 12803"/>
              <a:gd name="T31" fmla="*/ 4572 h 12345"/>
              <a:gd name="T32" fmla="*/ 3201 w 12803"/>
              <a:gd name="T33" fmla="*/ 5487 h 12345"/>
              <a:gd name="T34" fmla="*/ 6401 w 12803"/>
              <a:gd name="T35" fmla="*/ 5487 h 12345"/>
              <a:gd name="T36" fmla="*/ 5487 w 12803"/>
              <a:gd name="T37" fmla="*/ 4572 h 12345"/>
              <a:gd name="T38" fmla="*/ 6401 w 12803"/>
              <a:gd name="T39" fmla="*/ 3658 h 12345"/>
              <a:gd name="T40" fmla="*/ 7316 w 12803"/>
              <a:gd name="T41" fmla="*/ 4572 h 12345"/>
              <a:gd name="T42" fmla="*/ 6401 w 12803"/>
              <a:gd name="T43" fmla="*/ 5487 h 12345"/>
              <a:gd name="T44" fmla="*/ 9602 w 12803"/>
              <a:gd name="T45" fmla="*/ 5487 h 12345"/>
              <a:gd name="T46" fmla="*/ 8687 w 12803"/>
              <a:gd name="T47" fmla="*/ 4572 h 12345"/>
              <a:gd name="T48" fmla="*/ 9602 w 12803"/>
              <a:gd name="T49" fmla="*/ 3658 h 12345"/>
              <a:gd name="T50" fmla="*/ 10516 w 12803"/>
              <a:gd name="T51" fmla="*/ 4572 h 12345"/>
              <a:gd name="T52" fmla="*/ 9602 w 12803"/>
              <a:gd name="T53" fmla="*/ 5487 h 12345"/>
              <a:gd name="T54" fmla="*/ 9602 w 12803"/>
              <a:gd name="T55" fmla="*/ 5487 h 123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2803" h="12345">
                <a:moveTo>
                  <a:pt x="11888" y="0"/>
                </a:moveTo>
                <a:lnTo>
                  <a:pt x="914" y="0"/>
                </a:lnTo>
                <a:cubicBezTo>
                  <a:pt x="409" y="0"/>
                  <a:pt x="0" y="409"/>
                  <a:pt x="0" y="914"/>
                </a:cubicBezTo>
                <a:lnTo>
                  <a:pt x="0" y="8687"/>
                </a:lnTo>
                <a:cubicBezTo>
                  <a:pt x="0" y="9193"/>
                  <a:pt x="409" y="9602"/>
                  <a:pt x="914" y="9602"/>
                </a:cubicBezTo>
                <a:lnTo>
                  <a:pt x="3201" y="9602"/>
                </a:lnTo>
                <a:lnTo>
                  <a:pt x="3201" y="12345"/>
                </a:lnTo>
                <a:lnTo>
                  <a:pt x="8230" y="9602"/>
                </a:lnTo>
                <a:lnTo>
                  <a:pt x="11888" y="9602"/>
                </a:lnTo>
                <a:cubicBezTo>
                  <a:pt x="12393" y="9602"/>
                  <a:pt x="12803" y="9193"/>
                  <a:pt x="12803" y="8687"/>
                </a:cubicBezTo>
                <a:lnTo>
                  <a:pt x="12803" y="914"/>
                </a:lnTo>
                <a:cubicBezTo>
                  <a:pt x="12803" y="409"/>
                  <a:pt x="12393" y="0"/>
                  <a:pt x="11888" y="0"/>
                </a:cubicBezTo>
                <a:close/>
                <a:moveTo>
                  <a:pt x="3201" y="5487"/>
                </a:moveTo>
                <a:cubicBezTo>
                  <a:pt x="2695" y="5487"/>
                  <a:pt x="2286" y="5077"/>
                  <a:pt x="2286" y="4572"/>
                </a:cubicBezTo>
                <a:cubicBezTo>
                  <a:pt x="2286" y="4067"/>
                  <a:pt x="2695" y="3658"/>
                  <a:pt x="3201" y="3658"/>
                </a:cubicBezTo>
                <a:cubicBezTo>
                  <a:pt x="3706" y="3658"/>
                  <a:pt x="4115" y="4067"/>
                  <a:pt x="4115" y="4572"/>
                </a:cubicBezTo>
                <a:cubicBezTo>
                  <a:pt x="4115" y="5077"/>
                  <a:pt x="3706" y="5487"/>
                  <a:pt x="3201" y="5487"/>
                </a:cubicBezTo>
                <a:close/>
                <a:moveTo>
                  <a:pt x="6401" y="5487"/>
                </a:moveTo>
                <a:cubicBezTo>
                  <a:pt x="5896" y="5487"/>
                  <a:pt x="5487" y="5077"/>
                  <a:pt x="5487" y="4572"/>
                </a:cubicBezTo>
                <a:cubicBezTo>
                  <a:pt x="5487" y="4067"/>
                  <a:pt x="5896" y="3658"/>
                  <a:pt x="6401" y="3658"/>
                </a:cubicBezTo>
                <a:cubicBezTo>
                  <a:pt x="6907" y="3658"/>
                  <a:pt x="7316" y="4067"/>
                  <a:pt x="7316" y="4572"/>
                </a:cubicBezTo>
                <a:cubicBezTo>
                  <a:pt x="7316" y="5077"/>
                  <a:pt x="6907" y="5487"/>
                  <a:pt x="6401" y="5487"/>
                </a:cubicBezTo>
                <a:close/>
                <a:moveTo>
                  <a:pt x="9602" y="5487"/>
                </a:moveTo>
                <a:cubicBezTo>
                  <a:pt x="9097" y="5487"/>
                  <a:pt x="8687" y="5077"/>
                  <a:pt x="8687" y="4572"/>
                </a:cubicBezTo>
                <a:cubicBezTo>
                  <a:pt x="8687" y="4067"/>
                  <a:pt x="9097" y="3658"/>
                  <a:pt x="9602" y="3658"/>
                </a:cubicBezTo>
                <a:cubicBezTo>
                  <a:pt x="10107" y="3658"/>
                  <a:pt x="10516" y="4067"/>
                  <a:pt x="10516" y="4572"/>
                </a:cubicBezTo>
                <a:cubicBezTo>
                  <a:pt x="10516" y="5077"/>
                  <a:pt x="10107" y="5487"/>
                  <a:pt x="9602" y="5487"/>
                </a:cubicBezTo>
                <a:close/>
                <a:moveTo>
                  <a:pt x="9602" y="5487"/>
                </a:move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8" name="iconfont-1187-868110">
            <a:extLst>
              <a:ext uri="{FF2B5EF4-FFF2-40B4-BE49-F238E27FC236}">
                <a16:creationId xmlns:a16="http://schemas.microsoft.com/office/drawing/2014/main" id="{08CD4614-64F2-4A3D-905D-6ECA0901FB5C}"/>
              </a:ext>
            </a:extLst>
          </p:cNvPr>
          <p:cNvSpPr/>
          <p:nvPr/>
        </p:nvSpPr>
        <p:spPr>
          <a:xfrm>
            <a:off x="3261686" y="1855449"/>
            <a:ext cx="432594" cy="377629"/>
          </a:xfrm>
          <a:custGeom>
            <a:avLst/>
            <a:gdLst>
              <a:gd name="connsiteX0" fmla="*/ 424975 w 608697"/>
              <a:gd name="connsiteY0" fmla="*/ 168488 h 531358"/>
              <a:gd name="connsiteX1" fmla="*/ 387604 w 608697"/>
              <a:gd name="connsiteY1" fmla="*/ 205806 h 531358"/>
              <a:gd name="connsiteX2" fmla="*/ 424975 w 608697"/>
              <a:gd name="connsiteY2" fmla="*/ 243124 h 531358"/>
              <a:gd name="connsiteX3" fmla="*/ 462346 w 608697"/>
              <a:gd name="connsiteY3" fmla="*/ 205806 h 531358"/>
              <a:gd name="connsiteX4" fmla="*/ 424975 w 608697"/>
              <a:gd name="connsiteY4" fmla="*/ 168488 h 531358"/>
              <a:gd name="connsiteX5" fmla="*/ 287947 w 608697"/>
              <a:gd name="connsiteY5" fmla="*/ 168488 h 531358"/>
              <a:gd name="connsiteX6" fmla="*/ 250576 w 608697"/>
              <a:gd name="connsiteY6" fmla="*/ 205806 h 531358"/>
              <a:gd name="connsiteX7" fmla="*/ 287947 w 608697"/>
              <a:gd name="connsiteY7" fmla="*/ 243124 h 531358"/>
              <a:gd name="connsiteX8" fmla="*/ 325318 w 608697"/>
              <a:gd name="connsiteY8" fmla="*/ 205806 h 531358"/>
              <a:gd name="connsiteX9" fmla="*/ 287947 w 608697"/>
              <a:gd name="connsiteY9" fmla="*/ 168488 h 531358"/>
              <a:gd name="connsiteX10" fmla="*/ 102356 w 608697"/>
              <a:gd name="connsiteY10" fmla="*/ 121231 h 531358"/>
              <a:gd name="connsiteX11" fmla="*/ 98850 w 608697"/>
              <a:gd name="connsiteY11" fmla="*/ 127711 h 531358"/>
              <a:gd name="connsiteX12" fmla="*/ 76842 w 608697"/>
              <a:gd name="connsiteY12" fmla="*/ 217990 h 531358"/>
              <a:gd name="connsiteX13" fmla="*/ 98850 w 608697"/>
              <a:gd name="connsiteY13" fmla="*/ 308194 h 531358"/>
              <a:gd name="connsiteX14" fmla="*/ 157488 w 608697"/>
              <a:gd name="connsiteY14" fmla="*/ 380223 h 531358"/>
              <a:gd name="connsiteX15" fmla="*/ 344668 w 608697"/>
              <a:gd name="connsiteY15" fmla="*/ 444729 h 531358"/>
              <a:gd name="connsiteX16" fmla="*/ 370257 w 608697"/>
              <a:gd name="connsiteY16" fmla="*/ 443687 h 531358"/>
              <a:gd name="connsiteX17" fmla="*/ 236717 w 608697"/>
              <a:gd name="connsiteY17" fmla="*/ 477876 h 531358"/>
              <a:gd name="connsiteX18" fmla="*/ 198072 w 608697"/>
              <a:gd name="connsiteY18" fmla="*/ 475344 h 531358"/>
              <a:gd name="connsiteX19" fmla="*/ 82437 w 608697"/>
              <a:gd name="connsiteY19" fmla="*/ 531284 h 531358"/>
              <a:gd name="connsiteX20" fmla="*/ 81542 w 608697"/>
              <a:gd name="connsiteY20" fmla="*/ 531358 h 531358"/>
              <a:gd name="connsiteX21" fmla="*/ 75051 w 608697"/>
              <a:gd name="connsiteY21" fmla="*/ 527857 h 531358"/>
              <a:gd name="connsiteX22" fmla="*/ 74753 w 608697"/>
              <a:gd name="connsiteY22" fmla="*/ 519738 h 531358"/>
              <a:gd name="connsiteX23" fmla="*/ 88778 w 608697"/>
              <a:gd name="connsiteY23" fmla="*/ 435046 h 531358"/>
              <a:gd name="connsiteX24" fmla="*/ 0 w 608697"/>
              <a:gd name="connsiteY24" fmla="*/ 282198 h 531358"/>
              <a:gd name="connsiteX25" fmla="*/ 102356 w 608697"/>
              <a:gd name="connsiteY25" fmla="*/ 121231 h 531358"/>
              <a:gd name="connsiteX26" fmla="*/ 356424 w 608697"/>
              <a:gd name="connsiteY26" fmla="*/ 0 h 531358"/>
              <a:gd name="connsiteX27" fmla="*/ 608697 w 608697"/>
              <a:gd name="connsiteY27" fmla="*/ 211244 h 531358"/>
              <a:gd name="connsiteX28" fmla="*/ 518290 w 608697"/>
              <a:gd name="connsiteY28" fmla="*/ 373401 h 531358"/>
              <a:gd name="connsiteX29" fmla="*/ 531941 w 608697"/>
              <a:gd name="connsiteY29" fmla="*/ 441109 h 531358"/>
              <a:gd name="connsiteX30" fmla="*/ 531120 w 608697"/>
              <a:gd name="connsiteY30" fmla="*/ 465391 h 531358"/>
              <a:gd name="connsiteX31" fmla="*/ 511577 w 608697"/>
              <a:gd name="connsiteY31" fmla="*/ 475894 h 531358"/>
              <a:gd name="connsiteX32" fmla="*/ 509041 w 608697"/>
              <a:gd name="connsiteY32" fmla="*/ 475745 h 531358"/>
              <a:gd name="connsiteX33" fmla="*/ 391408 w 608697"/>
              <a:gd name="connsiteY33" fmla="*/ 420476 h 531358"/>
              <a:gd name="connsiteX34" fmla="*/ 356424 w 608697"/>
              <a:gd name="connsiteY34" fmla="*/ 422487 h 531358"/>
              <a:gd name="connsiteX35" fmla="*/ 104225 w 608697"/>
              <a:gd name="connsiteY35" fmla="*/ 211244 h 531358"/>
              <a:gd name="connsiteX36" fmla="*/ 356424 w 608697"/>
              <a:gd name="connsiteY36" fmla="*/ 0 h 5313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608697" h="531358">
                <a:moveTo>
                  <a:pt x="424975" y="168488"/>
                </a:moveTo>
                <a:cubicBezTo>
                  <a:pt x="404312" y="168488"/>
                  <a:pt x="387604" y="185248"/>
                  <a:pt x="387604" y="205806"/>
                </a:cubicBezTo>
                <a:cubicBezTo>
                  <a:pt x="387604" y="226439"/>
                  <a:pt x="404312" y="243124"/>
                  <a:pt x="424975" y="243124"/>
                </a:cubicBezTo>
                <a:cubicBezTo>
                  <a:pt x="445562" y="243124"/>
                  <a:pt x="462346" y="226439"/>
                  <a:pt x="462346" y="205806"/>
                </a:cubicBezTo>
                <a:cubicBezTo>
                  <a:pt x="462346" y="185248"/>
                  <a:pt x="445637" y="168488"/>
                  <a:pt x="424975" y="168488"/>
                </a:cubicBezTo>
                <a:close/>
                <a:moveTo>
                  <a:pt x="287947" y="168488"/>
                </a:moveTo>
                <a:cubicBezTo>
                  <a:pt x="267285" y="168488"/>
                  <a:pt x="250576" y="185248"/>
                  <a:pt x="250576" y="205806"/>
                </a:cubicBezTo>
                <a:cubicBezTo>
                  <a:pt x="250576" y="226439"/>
                  <a:pt x="267285" y="243124"/>
                  <a:pt x="287947" y="243124"/>
                </a:cubicBezTo>
                <a:cubicBezTo>
                  <a:pt x="308610" y="243124"/>
                  <a:pt x="325318" y="226439"/>
                  <a:pt x="325318" y="205806"/>
                </a:cubicBezTo>
                <a:cubicBezTo>
                  <a:pt x="325318" y="185248"/>
                  <a:pt x="308610" y="168488"/>
                  <a:pt x="287947" y="168488"/>
                </a:cubicBezTo>
                <a:close/>
                <a:moveTo>
                  <a:pt x="102356" y="121231"/>
                </a:moveTo>
                <a:cubicBezTo>
                  <a:pt x="101162" y="123317"/>
                  <a:pt x="99969" y="125477"/>
                  <a:pt x="98850" y="127711"/>
                </a:cubicBezTo>
                <a:cubicBezTo>
                  <a:pt x="84227" y="156240"/>
                  <a:pt x="76842" y="186631"/>
                  <a:pt x="76842" y="217990"/>
                </a:cubicBezTo>
                <a:cubicBezTo>
                  <a:pt x="76842" y="249275"/>
                  <a:pt x="84227" y="279666"/>
                  <a:pt x="98850" y="308194"/>
                </a:cubicBezTo>
                <a:cubicBezTo>
                  <a:pt x="112726" y="335308"/>
                  <a:pt x="132496" y="359516"/>
                  <a:pt x="157488" y="380223"/>
                </a:cubicBezTo>
                <a:cubicBezTo>
                  <a:pt x="207845" y="421787"/>
                  <a:pt x="274317" y="444729"/>
                  <a:pt x="344668" y="444729"/>
                </a:cubicBezTo>
                <a:cubicBezTo>
                  <a:pt x="353173" y="444729"/>
                  <a:pt x="361752" y="444357"/>
                  <a:pt x="370257" y="443687"/>
                </a:cubicBezTo>
                <a:cubicBezTo>
                  <a:pt x="332209" y="465288"/>
                  <a:pt x="286254" y="477876"/>
                  <a:pt x="236717" y="477876"/>
                </a:cubicBezTo>
                <a:cubicBezTo>
                  <a:pt x="223736" y="477876"/>
                  <a:pt x="210755" y="477057"/>
                  <a:pt x="198072" y="475344"/>
                </a:cubicBezTo>
                <a:cubicBezTo>
                  <a:pt x="160397" y="499478"/>
                  <a:pt x="110637" y="528155"/>
                  <a:pt x="82437" y="531284"/>
                </a:cubicBezTo>
                <a:cubicBezTo>
                  <a:pt x="82138" y="531358"/>
                  <a:pt x="81840" y="531358"/>
                  <a:pt x="81542" y="531358"/>
                </a:cubicBezTo>
                <a:cubicBezTo>
                  <a:pt x="78930" y="531358"/>
                  <a:pt x="76469" y="530017"/>
                  <a:pt x="75051" y="527857"/>
                </a:cubicBezTo>
                <a:cubicBezTo>
                  <a:pt x="73410" y="525399"/>
                  <a:pt x="73335" y="522271"/>
                  <a:pt x="74753" y="519738"/>
                </a:cubicBezTo>
                <a:cubicBezTo>
                  <a:pt x="75051" y="519291"/>
                  <a:pt x="99223" y="476014"/>
                  <a:pt x="88778" y="435046"/>
                </a:cubicBezTo>
                <a:cubicBezTo>
                  <a:pt x="32303" y="397653"/>
                  <a:pt x="0" y="342160"/>
                  <a:pt x="0" y="282198"/>
                </a:cubicBezTo>
                <a:cubicBezTo>
                  <a:pt x="0" y="215532"/>
                  <a:pt x="40584" y="156538"/>
                  <a:pt x="102356" y="121231"/>
                </a:cubicBezTo>
                <a:close/>
                <a:moveTo>
                  <a:pt x="356424" y="0"/>
                </a:moveTo>
                <a:cubicBezTo>
                  <a:pt x="495540" y="0"/>
                  <a:pt x="608697" y="94747"/>
                  <a:pt x="608697" y="211244"/>
                </a:cubicBezTo>
                <a:cubicBezTo>
                  <a:pt x="608697" y="274408"/>
                  <a:pt x="575802" y="333178"/>
                  <a:pt x="518290" y="373401"/>
                </a:cubicBezTo>
                <a:cubicBezTo>
                  <a:pt x="512845" y="406324"/>
                  <a:pt x="531717" y="440811"/>
                  <a:pt x="531941" y="441109"/>
                </a:cubicBezTo>
                <a:cubicBezTo>
                  <a:pt x="536267" y="448781"/>
                  <a:pt x="535969" y="458092"/>
                  <a:pt x="531120" y="465391"/>
                </a:cubicBezTo>
                <a:cubicBezTo>
                  <a:pt x="526794" y="472021"/>
                  <a:pt x="519484" y="475894"/>
                  <a:pt x="511577" y="475894"/>
                </a:cubicBezTo>
                <a:cubicBezTo>
                  <a:pt x="510756" y="475894"/>
                  <a:pt x="509936" y="475894"/>
                  <a:pt x="509041" y="475745"/>
                </a:cubicBezTo>
                <a:cubicBezTo>
                  <a:pt x="484574" y="473064"/>
                  <a:pt x="444966" y="454442"/>
                  <a:pt x="391408" y="420476"/>
                </a:cubicBezTo>
                <a:cubicBezTo>
                  <a:pt x="379920" y="421817"/>
                  <a:pt x="368135" y="422487"/>
                  <a:pt x="356424" y="422487"/>
                </a:cubicBezTo>
                <a:cubicBezTo>
                  <a:pt x="217382" y="422487"/>
                  <a:pt x="104225" y="327741"/>
                  <a:pt x="104225" y="211244"/>
                </a:cubicBezTo>
                <a:cubicBezTo>
                  <a:pt x="104225" y="94747"/>
                  <a:pt x="217382" y="0"/>
                  <a:pt x="356424"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sp>
        <p:nvSpPr>
          <p:cNvPr id="130" name="iconfont-1187-868110">
            <a:extLst>
              <a:ext uri="{FF2B5EF4-FFF2-40B4-BE49-F238E27FC236}">
                <a16:creationId xmlns:a16="http://schemas.microsoft.com/office/drawing/2014/main" id="{E2CBA7CB-5B74-4472-8DAF-2EE6CA67F6D7}"/>
              </a:ext>
            </a:extLst>
          </p:cNvPr>
          <p:cNvSpPr/>
          <p:nvPr/>
        </p:nvSpPr>
        <p:spPr>
          <a:xfrm>
            <a:off x="2943676" y="3432846"/>
            <a:ext cx="333496" cy="344110"/>
          </a:xfrm>
          <a:custGeom>
            <a:avLst/>
            <a:gdLst>
              <a:gd name="T0" fmla="*/ 40 w 7790"/>
              <a:gd name="T1" fmla="*/ 0 h 8036"/>
              <a:gd name="T2" fmla="*/ 3458 w 7790"/>
              <a:gd name="T3" fmla="*/ 0 h 8036"/>
              <a:gd name="T4" fmla="*/ 3458 w 7790"/>
              <a:gd name="T5" fmla="*/ 3418 h 8036"/>
              <a:gd name="T6" fmla="*/ 40 w 7790"/>
              <a:gd name="T7" fmla="*/ 3418 h 8036"/>
              <a:gd name="T8" fmla="*/ 40 w 7790"/>
              <a:gd name="T9" fmla="*/ 0 h 8036"/>
              <a:gd name="T10" fmla="*/ 7790 w 7790"/>
              <a:gd name="T11" fmla="*/ 1695 h 8036"/>
              <a:gd name="T12" fmla="*/ 6170 w 7790"/>
              <a:gd name="T13" fmla="*/ 103 h 8036"/>
              <a:gd name="T14" fmla="*/ 4577 w 7790"/>
              <a:gd name="T15" fmla="*/ 1723 h 8036"/>
              <a:gd name="T16" fmla="*/ 6198 w 7790"/>
              <a:gd name="T17" fmla="*/ 3316 h 8036"/>
              <a:gd name="T18" fmla="*/ 7790 w 7790"/>
              <a:gd name="T19" fmla="*/ 1695 h 8036"/>
              <a:gd name="T20" fmla="*/ 0 w 7790"/>
              <a:gd name="T21" fmla="*/ 4618 h 8036"/>
              <a:gd name="T22" fmla="*/ 3417 w 7790"/>
              <a:gd name="T23" fmla="*/ 4618 h 8036"/>
              <a:gd name="T24" fmla="*/ 3417 w 7790"/>
              <a:gd name="T25" fmla="*/ 8036 h 8036"/>
              <a:gd name="T26" fmla="*/ 0 w 7790"/>
              <a:gd name="T27" fmla="*/ 8036 h 8036"/>
              <a:gd name="T28" fmla="*/ 0 w 7790"/>
              <a:gd name="T29" fmla="*/ 4618 h 8036"/>
              <a:gd name="T30" fmla="*/ 4353 w 7790"/>
              <a:gd name="T31" fmla="*/ 4618 h 8036"/>
              <a:gd name="T32" fmla="*/ 7770 w 7790"/>
              <a:gd name="T33" fmla="*/ 4618 h 8036"/>
              <a:gd name="T34" fmla="*/ 7770 w 7790"/>
              <a:gd name="T35" fmla="*/ 8036 h 8036"/>
              <a:gd name="T36" fmla="*/ 4353 w 7790"/>
              <a:gd name="T37" fmla="*/ 8036 h 8036"/>
              <a:gd name="T38" fmla="*/ 4353 w 7790"/>
              <a:gd name="T39" fmla="*/ 4618 h 8036"/>
              <a:gd name="T40" fmla="*/ 4353 w 7790"/>
              <a:gd name="T41" fmla="*/ 4618 h 80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790" h="8036">
                <a:moveTo>
                  <a:pt x="40" y="0"/>
                </a:moveTo>
                <a:lnTo>
                  <a:pt x="3458" y="0"/>
                </a:lnTo>
                <a:lnTo>
                  <a:pt x="3458" y="3418"/>
                </a:lnTo>
                <a:lnTo>
                  <a:pt x="40" y="3418"/>
                </a:lnTo>
                <a:lnTo>
                  <a:pt x="40" y="0"/>
                </a:lnTo>
                <a:close/>
                <a:moveTo>
                  <a:pt x="7790" y="1695"/>
                </a:moveTo>
                <a:lnTo>
                  <a:pt x="6170" y="103"/>
                </a:lnTo>
                <a:lnTo>
                  <a:pt x="4577" y="1723"/>
                </a:lnTo>
                <a:lnTo>
                  <a:pt x="6198" y="3316"/>
                </a:lnTo>
                <a:lnTo>
                  <a:pt x="7790" y="1695"/>
                </a:lnTo>
                <a:close/>
                <a:moveTo>
                  <a:pt x="0" y="4618"/>
                </a:moveTo>
                <a:lnTo>
                  <a:pt x="3417" y="4618"/>
                </a:lnTo>
                <a:lnTo>
                  <a:pt x="3417" y="8036"/>
                </a:lnTo>
                <a:lnTo>
                  <a:pt x="0" y="8036"/>
                </a:lnTo>
                <a:lnTo>
                  <a:pt x="0" y="4618"/>
                </a:lnTo>
                <a:close/>
                <a:moveTo>
                  <a:pt x="4353" y="4618"/>
                </a:moveTo>
                <a:lnTo>
                  <a:pt x="7770" y="4618"/>
                </a:lnTo>
                <a:lnTo>
                  <a:pt x="7770" y="8036"/>
                </a:lnTo>
                <a:lnTo>
                  <a:pt x="4353" y="8036"/>
                </a:lnTo>
                <a:lnTo>
                  <a:pt x="4353" y="4618"/>
                </a:lnTo>
                <a:close/>
                <a:moveTo>
                  <a:pt x="4353" y="4618"/>
                </a:move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sp>
        <p:nvSpPr>
          <p:cNvPr id="132" name="iconfont-1187-868110">
            <a:extLst>
              <a:ext uri="{FF2B5EF4-FFF2-40B4-BE49-F238E27FC236}">
                <a16:creationId xmlns:a16="http://schemas.microsoft.com/office/drawing/2014/main" id="{6E40B667-375C-4B34-8967-B406EB281961}"/>
              </a:ext>
            </a:extLst>
          </p:cNvPr>
          <p:cNvSpPr/>
          <p:nvPr/>
        </p:nvSpPr>
        <p:spPr>
          <a:xfrm>
            <a:off x="3338857" y="5017014"/>
            <a:ext cx="278252" cy="344110"/>
          </a:xfrm>
          <a:custGeom>
            <a:avLst/>
            <a:gdLst>
              <a:gd name="connsiteX0" fmla="*/ 376707 w 465255"/>
              <a:gd name="connsiteY0" fmla="*/ 359911 h 575372"/>
              <a:gd name="connsiteX1" fmla="*/ 465255 w 465255"/>
              <a:gd name="connsiteY1" fmla="*/ 521967 h 575372"/>
              <a:gd name="connsiteX2" fmla="*/ 396999 w 465255"/>
              <a:gd name="connsiteY2" fmla="*/ 512759 h 575372"/>
              <a:gd name="connsiteX3" fmla="*/ 373018 w 465255"/>
              <a:gd name="connsiteY3" fmla="*/ 575372 h 575372"/>
              <a:gd name="connsiteX4" fmla="*/ 275246 w 465255"/>
              <a:gd name="connsiteY4" fmla="*/ 407791 h 575372"/>
              <a:gd name="connsiteX5" fmla="*/ 312141 w 465255"/>
              <a:gd name="connsiteY5" fmla="*/ 393059 h 575372"/>
              <a:gd name="connsiteX6" fmla="*/ 376707 w 465255"/>
              <a:gd name="connsiteY6" fmla="*/ 359911 h 575372"/>
              <a:gd name="connsiteX7" fmla="*/ 86735 w 465255"/>
              <a:gd name="connsiteY7" fmla="*/ 352512 h 575372"/>
              <a:gd name="connsiteX8" fmla="*/ 112571 w 465255"/>
              <a:gd name="connsiteY8" fmla="*/ 363570 h 575372"/>
              <a:gd name="connsiteX9" fmla="*/ 188233 w 465255"/>
              <a:gd name="connsiteY9" fmla="*/ 405957 h 575372"/>
              <a:gd name="connsiteX10" fmla="*/ 107034 w 465255"/>
              <a:gd name="connsiteY10" fmla="*/ 571821 h 575372"/>
              <a:gd name="connsiteX11" fmla="*/ 70126 w 465255"/>
              <a:gd name="connsiteY11" fmla="*/ 514690 h 575372"/>
              <a:gd name="connsiteX12" fmla="*/ 0 w 465255"/>
              <a:gd name="connsiteY12" fmla="*/ 522062 h 575372"/>
              <a:gd name="connsiteX13" fmla="*/ 232628 w 465255"/>
              <a:gd name="connsiteY13" fmla="*/ 121956 h 575372"/>
              <a:gd name="connsiteX14" fmla="*/ 256629 w 465255"/>
              <a:gd name="connsiteY14" fmla="*/ 169858 h 575372"/>
              <a:gd name="connsiteX15" fmla="*/ 310170 w 465255"/>
              <a:gd name="connsiteY15" fmla="*/ 177227 h 575372"/>
              <a:gd name="connsiteX16" fmla="*/ 271399 w 465255"/>
              <a:gd name="connsiteY16" fmla="*/ 215917 h 575372"/>
              <a:gd name="connsiteX17" fmla="*/ 280630 w 465255"/>
              <a:gd name="connsiteY17" fmla="*/ 269346 h 575372"/>
              <a:gd name="connsiteX18" fmla="*/ 232628 w 465255"/>
              <a:gd name="connsiteY18" fmla="*/ 243553 h 575372"/>
              <a:gd name="connsiteX19" fmla="*/ 184625 w 465255"/>
              <a:gd name="connsiteY19" fmla="*/ 269346 h 575372"/>
              <a:gd name="connsiteX20" fmla="*/ 193856 w 465255"/>
              <a:gd name="connsiteY20" fmla="*/ 215917 h 575372"/>
              <a:gd name="connsiteX21" fmla="*/ 155085 w 465255"/>
              <a:gd name="connsiteY21" fmla="*/ 177227 h 575372"/>
              <a:gd name="connsiteX22" fmla="*/ 208626 w 465255"/>
              <a:gd name="connsiteY22" fmla="*/ 169858 h 575372"/>
              <a:gd name="connsiteX23" fmla="*/ 232663 w 465255"/>
              <a:gd name="connsiteY23" fmla="*/ 81359 h 575372"/>
              <a:gd name="connsiteX24" fmla="*/ 118167 w 465255"/>
              <a:gd name="connsiteY24" fmla="*/ 195685 h 575372"/>
              <a:gd name="connsiteX25" fmla="*/ 232663 w 465255"/>
              <a:gd name="connsiteY25" fmla="*/ 310011 h 575372"/>
              <a:gd name="connsiteX26" fmla="*/ 347159 w 465255"/>
              <a:gd name="connsiteY26" fmla="*/ 195685 h 575372"/>
              <a:gd name="connsiteX27" fmla="*/ 232663 w 465255"/>
              <a:gd name="connsiteY27" fmla="*/ 81359 h 575372"/>
              <a:gd name="connsiteX28" fmla="*/ 180032 w 465255"/>
              <a:gd name="connsiteY28" fmla="*/ 916 h 575372"/>
              <a:gd name="connsiteX29" fmla="*/ 204962 w 465255"/>
              <a:gd name="connsiteY29" fmla="*/ 5756 h 575372"/>
              <a:gd name="connsiteX30" fmla="*/ 260364 w 465255"/>
              <a:gd name="connsiteY30" fmla="*/ 5756 h 575372"/>
              <a:gd name="connsiteX31" fmla="*/ 302838 w 465255"/>
              <a:gd name="connsiteY31" fmla="*/ 16820 h 575372"/>
              <a:gd name="connsiteX32" fmla="*/ 350852 w 465255"/>
              <a:gd name="connsiteY32" fmla="*/ 44479 h 575372"/>
              <a:gd name="connsiteX33" fmla="*/ 384093 w 465255"/>
              <a:gd name="connsiteY33" fmla="*/ 77671 h 575372"/>
              <a:gd name="connsiteX34" fmla="*/ 409947 w 465255"/>
              <a:gd name="connsiteY34" fmla="*/ 123770 h 575372"/>
              <a:gd name="connsiteX35" fmla="*/ 422874 w 465255"/>
              <a:gd name="connsiteY35" fmla="*/ 168025 h 575372"/>
              <a:gd name="connsiteX36" fmla="*/ 422874 w 465255"/>
              <a:gd name="connsiteY36" fmla="*/ 223345 h 575372"/>
              <a:gd name="connsiteX37" fmla="*/ 409947 w 465255"/>
              <a:gd name="connsiteY37" fmla="*/ 265756 h 575372"/>
              <a:gd name="connsiteX38" fmla="*/ 384093 w 465255"/>
              <a:gd name="connsiteY38" fmla="*/ 313699 h 575372"/>
              <a:gd name="connsiteX39" fmla="*/ 350852 w 465255"/>
              <a:gd name="connsiteY39" fmla="*/ 346891 h 575372"/>
              <a:gd name="connsiteX40" fmla="*/ 302838 w 465255"/>
              <a:gd name="connsiteY40" fmla="*/ 372706 h 575372"/>
              <a:gd name="connsiteX41" fmla="*/ 260364 w 465255"/>
              <a:gd name="connsiteY41" fmla="*/ 385614 h 575372"/>
              <a:gd name="connsiteX42" fmla="*/ 204962 w 465255"/>
              <a:gd name="connsiteY42" fmla="*/ 385614 h 575372"/>
              <a:gd name="connsiteX43" fmla="*/ 160641 w 465255"/>
              <a:gd name="connsiteY43" fmla="*/ 372706 h 575372"/>
              <a:gd name="connsiteX44" fmla="*/ 114474 w 465255"/>
              <a:gd name="connsiteY44" fmla="*/ 346891 h 575372"/>
              <a:gd name="connsiteX45" fmla="*/ 81233 w 465255"/>
              <a:gd name="connsiteY45" fmla="*/ 313699 h 575372"/>
              <a:gd name="connsiteX46" fmla="*/ 53532 w 465255"/>
              <a:gd name="connsiteY46" fmla="*/ 265756 h 575372"/>
              <a:gd name="connsiteX47" fmla="*/ 42452 w 465255"/>
              <a:gd name="connsiteY47" fmla="*/ 223345 h 575372"/>
              <a:gd name="connsiteX48" fmla="*/ 42452 w 465255"/>
              <a:gd name="connsiteY48" fmla="*/ 168025 h 575372"/>
              <a:gd name="connsiteX49" fmla="*/ 53532 w 465255"/>
              <a:gd name="connsiteY49" fmla="*/ 123770 h 575372"/>
              <a:gd name="connsiteX50" fmla="*/ 81233 w 465255"/>
              <a:gd name="connsiteY50" fmla="*/ 77671 h 575372"/>
              <a:gd name="connsiteX51" fmla="*/ 114474 w 465255"/>
              <a:gd name="connsiteY51" fmla="*/ 44479 h 575372"/>
              <a:gd name="connsiteX52" fmla="*/ 160641 w 465255"/>
              <a:gd name="connsiteY52" fmla="*/ 16820 h 575372"/>
              <a:gd name="connsiteX53" fmla="*/ 180032 w 465255"/>
              <a:gd name="connsiteY53" fmla="*/ 916 h 575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465255" h="575372">
                <a:moveTo>
                  <a:pt x="376707" y="359911"/>
                </a:moveTo>
                <a:lnTo>
                  <a:pt x="465255" y="521967"/>
                </a:lnTo>
                <a:lnTo>
                  <a:pt x="396999" y="512759"/>
                </a:lnTo>
                <a:lnTo>
                  <a:pt x="373018" y="575372"/>
                </a:lnTo>
                <a:lnTo>
                  <a:pt x="275246" y="407791"/>
                </a:lnTo>
                <a:cubicBezTo>
                  <a:pt x="275246" y="407791"/>
                  <a:pt x="295538" y="411474"/>
                  <a:pt x="312141" y="393059"/>
                </a:cubicBezTo>
                <a:cubicBezTo>
                  <a:pt x="326899" y="382010"/>
                  <a:pt x="313986" y="365436"/>
                  <a:pt x="376707" y="359911"/>
                </a:cubicBezTo>
                <a:close/>
                <a:moveTo>
                  <a:pt x="86735" y="352512"/>
                </a:moveTo>
                <a:cubicBezTo>
                  <a:pt x="86735" y="352512"/>
                  <a:pt x="90426" y="363570"/>
                  <a:pt x="112571" y="363570"/>
                </a:cubicBezTo>
                <a:cubicBezTo>
                  <a:pt x="162397" y="363570"/>
                  <a:pt x="145788" y="405957"/>
                  <a:pt x="188233" y="405957"/>
                </a:cubicBezTo>
                <a:cubicBezTo>
                  <a:pt x="188233" y="405957"/>
                  <a:pt x="107034" y="571821"/>
                  <a:pt x="107034" y="571821"/>
                </a:cubicBezTo>
                <a:lnTo>
                  <a:pt x="70126" y="514690"/>
                </a:lnTo>
                <a:lnTo>
                  <a:pt x="0" y="522062"/>
                </a:lnTo>
                <a:close/>
                <a:moveTo>
                  <a:pt x="232628" y="121956"/>
                </a:moveTo>
                <a:lnTo>
                  <a:pt x="256629" y="169858"/>
                </a:lnTo>
                <a:lnTo>
                  <a:pt x="310170" y="177227"/>
                </a:lnTo>
                <a:lnTo>
                  <a:pt x="271399" y="215917"/>
                </a:lnTo>
                <a:lnTo>
                  <a:pt x="280630" y="269346"/>
                </a:lnTo>
                <a:lnTo>
                  <a:pt x="232628" y="243553"/>
                </a:lnTo>
                <a:lnTo>
                  <a:pt x="184625" y="269346"/>
                </a:lnTo>
                <a:lnTo>
                  <a:pt x="193856" y="215917"/>
                </a:lnTo>
                <a:lnTo>
                  <a:pt x="155085" y="177227"/>
                </a:lnTo>
                <a:lnTo>
                  <a:pt x="208626" y="169858"/>
                </a:lnTo>
                <a:close/>
                <a:moveTo>
                  <a:pt x="232663" y="81359"/>
                </a:moveTo>
                <a:cubicBezTo>
                  <a:pt x="168028" y="81359"/>
                  <a:pt x="118167" y="131146"/>
                  <a:pt x="118167" y="195685"/>
                </a:cubicBezTo>
                <a:cubicBezTo>
                  <a:pt x="118167" y="258380"/>
                  <a:pt x="168028" y="310011"/>
                  <a:pt x="232663" y="310011"/>
                </a:cubicBezTo>
                <a:cubicBezTo>
                  <a:pt x="295451" y="310011"/>
                  <a:pt x="347159" y="258380"/>
                  <a:pt x="347159" y="195685"/>
                </a:cubicBezTo>
                <a:cubicBezTo>
                  <a:pt x="347159" y="131146"/>
                  <a:pt x="295451" y="81359"/>
                  <a:pt x="232663" y="81359"/>
                </a:cubicBezTo>
                <a:close/>
                <a:moveTo>
                  <a:pt x="180032" y="916"/>
                </a:moveTo>
                <a:cubicBezTo>
                  <a:pt x="187419" y="-1159"/>
                  <a:pt x="195729" y="224"/>
                  <a:pt x="204962" y="5756"/>
                </a:cubicBezTo>
                <a:cubicBezTo>
                  <a:pt x="223429" y="16820"/>
                  <a:pt x="241897" y="16820"/>
                  <a:pt x="260364" y="5756"/>
                </a:cubicBezTo>
                <a:cubicBezTo>
                  <a:pt x="278831" y="-5308"/>
                  <a:pt x="293604" y="224"/>
                  <a:pt x="302838" y="16820"/>
                </a:cubicBezTo>
                <a:cubicBezTo>
                  <a:pt x="313918" y="35259"/>
                  <a:pt x="330538" y="44479"/>
                  <a:pt x="350852" y="44479"/>
                </a:cubicBezTo>
                <a:cubicBezTo>
                  <a:pt x="373013" y="44479"/>
                  <a:pt x="382246" y="55543"/>
                  <a:pt x="384093" y="77671"/>
                </a:cubicBezTo>
                <a:cubicBezTo>
                  <a:pt x="384093" y="97954"/>
                  <a:pt x="393326" y="114550"/>
                  <a:pt x="409947" y="123770"/>
                </a:cubicBezTo>
                <a:cubicBezTo>
                  <a:pt x="428414" y="134834"/>
                  <a:pt x="432107" y="149586"/>
                  <a:pt x="422874" y="168025"/>
                </a:cubicBezTo>
                <a:cubicBezTo>
                  <a:pt x="411793" y="186465"/>
                  <a:pt x="411793" y="204905"/>
                  <a:pt x="422874" y="223345"/>
                </a:cubicBezTo>
                <a:cubicBezTo>
                  <a:pt x="432107" y="241784"/>
                  <a:pt x="428414" y="256536"/>
                  <a:pt x="409947" y="265756"/>
                </a:cubicBezTo>
                <a:cubicBezTo>
                  <a:pt x="393326" y="276820"/>
                  <a:pt x="384093" y="293416"/>
                  <a:pt x="384093" y="313699"/>
                </a:cubicBezTo>
                <a:cubicBezTo>
                  <a:pt x="382246" y="335827"/>
                  <a:pt x="373013" y="345047"/>
                  <a:pt x="350852" y="346891"/>
                </a:cubicBezTo>
                <a:cubicBezTo>
                  <a:pt x="330538" y="346891"/>
                  <a:pt x="313918" y="356111"/>
                  <a:pt x="302838" y="372706"/>
                </a:cubicBezTo>
                <a:cubicBezTo>
                  <a:pt x="293604" y="391146"/>
                  <a:pt x="278831" y="394834"/>
                  <a:pt x="260364" y="385614"/>
                </a:cubicBezTo>
                <a:cubicBezTo>
                  <a:pt x="241897" y="374550"/>
                  <a:pt x="223429" y="374550"/>
                  <a:pt x="204962" y="385614"/>
                </a:cubicBezTo>
                <a:cubicBezTo>
                  <a:pt x="186495" y="394834"/>
                  <a:pt x="171722" y="391146"/>
                  <a:pt x="160641" y="372706"/>
                </a:cubicBezTo>
                <a:cubicBezTo>
                  <a:pt x="151408" y="356111"/>
                  <a:pt x="134787" y="346891"/>
                  <a:pt x="114474" y="346891"/>
                </a:cubicBezTo>
                <a:cubicBezTo>
                  <a:pt x="92313" y="345047"/>
                  <a:pt x="81233" y="335827"/>
                  <a:pt x="81233" y="313699"/>
                </a:cubicBezTo>
                <a:cubicBezTo>
                  <a:pt x="81233" y="293416"/>
                  <a:pt x="71999" y="276820"/>
                  <a:pt x="53532" y="265756"/>
                </a:cubicBezTo>
                <a:cubicBezTo>
                  <a:pt x="36912" y="256536"/>
                  <a:pt x="31372" y="241784"/>
                  <a:pt x="42452" y="223345"/>
                </a:cubicBezTo>
                <a:cubicBezTo>
                  <a:pt x="53532" y="204905"/>
                  <a:pt x="53532" y="186465"/>
                  <a:pt x="42452" y="168025"/>
                </a:cubicBezTo>
                <a:cubicBezTo>
                  <a:pt x="31372" y="149586"/>
                  <a:pt x="36912" y="134834"/>
                  <a:pt x="53532" y="123770"/>
                </a:cubicBezTo>
                <a:cubicBezTo>
                  <a:pt x="71999" y="114550"/>
                  <a:pt x="81233" y="97954"/>
                  <a:pt x="81233" y="77671"/>
                </a:cubicBezTo>
                <a:cubicBezTo>
                  <a:pt x="81233" y="55543"/>
                  <a:pt x="92313" y="44479"/>
                  <a:pt x="114474" y="44479"/>
                </a:cubicBezTo>
                <a:cubicBezTo>
                  <a:pt x="134787" y="44479"/>
                  <a:pt x="151408" y="35259"/>
                  <a:pt x="160641" y="16820"/>
                </a:cubicBezTo>
                <a:cubicBezTo>
                  <a:pt x="166182" y="8522"/>
                  <a:pt x="172645" y="2990"/>
                  <a:pt x="180032" y="916"/>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sp>
        <p:nvSpPr>
          <p:cNvPr id="134" name="iconfont-1187-868110">
            <a:extLst>
              <a:ext uri="{FF2B5EF4-FFF2-40B4-BE49-F238E27FC236}">
                <a16:creationId xmlns:a16="http://schemas.microsoft.com/office/drawing/2014/main" id="{29D5D566-230A-4E76-B9D3-48A0CCCA84C8}"/>
              </a:ext>
            </a:extLst>
          </p:cNvPr>
          <p:cNvSpPr/>
          <p:nvPr/>
        </p:nvSpPr>
        <p:spPr>
          <a:xfrm>
            <a:off x="8346951" y="5017014"/>
            <a:ext cx="267711" cy="344110"/>
          </a:xfrm>
          <a:custGeom>
            <a:avLst/>
            <a:gdLst>
              <a:gd name="T0" fmla="*/ 5989 w 6182"/>
              <a:gd name="T1" fmla="*/ 3179 h 7948"/>
              <a:gd name="T2" fmla="*/ 5023 w 6182"/>
              <a:gd name="T3" fmla="*/ 3179 h 7948"/>
              <a:gd name="T4" fmla="*/ 5023 w 6182"/>
              <a:gd name="T5" fmla="*/ 1987 h 7948"/>
              <a:gd name="T6" fmla="*/ 3091 w 6182"/>
              <a:gd name="T7" fmla="*/ 0 h 7948"/>
              <a:gd name="T8" fmla="*/ 1159 w 6182"/>
              <a:gd name="T9" fmla="*/ 1987 h 7948"/>
              <a:gd name="T10" fmla="*/ 1159 w 6182"/>
              <a:gd name="T11" fmla="*/ 3179 h 7948"/>
              <a:gd name="T12" fmla="*/ 193 w 6182"/>
              <a:gd name="T13" fmla="*/ 3179 h 7948"/>
              <a:gd name="T14" fmla="*/ 0 w 6182"/>
              <a:gd name="T15" fmla="*/ 3378 h 7948"/>
              <a:gd name="T16" fmla="*/ 0 w 6182"/>
              <a:gd name="T17" fmla="*/ 4769 h 7948"/>
              <a:gd name="T18" fmla="*/ 3091 w 6182"/>
              <a:gd name="T19" fmla="*/ 7948 h 7948"/>
              <a:gd name="T20" fmla="*/ 6182 w 6182"/>
              <a:gd name="T21" fmla="*/ 4769 h 7948"/>
              <a:gd name="T22" fmla="*/ 6182 w 6182"/>
              <a:gd name="T23" fmla="*/ 3378 h 7948"/>
              <a:gd name="T24" fmla="*/ 5989 w 6182"/>
              <a:gd name="T25" fmla="*/ 3179 h 7948"/>
              <a:gd name="T26" fmla="*/ 3091 w 6182"/>
              <a:gd name="T27" fmla="*/ 5762 h 7948"/>
              <a:gd name="T28" fmla="*/ 2511 w 6182"/>
              <a:gd name="T29" fmla="*/ 5166 h 7948"/>
              <a:gd name="T30" fmla="*/ 3091 w 6182"/>
              <a:gd name="T31" fmla="*/ 4570 h 7948"/>
              <a:gd name="T32" fmla="*/ 3671 w 6182"/>
              <a:gd name="T33" fmla="*/ 5166 h 7948"/>
              <a:gd name="T34" fmla="*/ 3091 w 6182"/>
              <a:gd name="T35" fmla="*/ 5762 h 7948"/>
              <a:gd name="T36" fmla="*/ 1932 w 6182"/>
              <a:gd name="T37" fmla="*/ 3179 h 7948"/>
              <a:gd name="T38" fmla="*/ 1932 w 6182"/>
              <a:gd name="T39" fmla="*/ 1987 h 7948"/>
              <a:gd name="T40" fmla="*/ 3091 w 6182"/>
              <a:gd name="T41" fmla="*/ 794 h 7948"/>
              <a:gd name="T42" fmla="*/ 4250 w 6182"/>
              <a:gd name="T43" fmla="*/ 1987 h 7948"/>
              <a:gd name="T44" fmla="*/ 4250 w 6182"/>
              <a:gd name="T45" fmla="*/ 3179 h 7948"/>
              <a:gd name="T46" fmla="*/ 1932 w 6182"/>
              <a:gd name="T47" fmla="*/ 3179 h 79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182" h="7948">
                <a:moveTo>
                  <a:pt x="5989" y="3179"/>
                </a:moveTo>
                <a:lnTo>
                  <a:pt x="5023" y="3179"/>
                </a:lnTo>
                <a:lnTo>
                  <a:pt x="5023" y="1987"/>
                </a:lnTo>
                <a:cubicBezTo>
                  <a:pt x="5023" y="891"/>
                  <a:pt x="4156" y="0"/>
                  <a:pt x="3091" y="0"/>
                </a:cubicBezTo>
                <a:cubicBezTo>
                  <a:pt x="2026" y="0"/>
                  <a:pt x="1159" y="891"/>
                  <a:pt x="1159" y="1987"/>
                </a:cubicBezTo>
                <a:lnTo>
                  <a:pt x="1159" y="3179"/>
                </a:lnTo>
                <a:lnTo>
                  <a:pt x="193" y="3179"/>
                </a:lnTo>
                <a:cubicBezTo>
                  <a:pt x="87" y="3179"/>
                  <a:pt x="0" y="3269"/>
                  <a:pt x="0" y="3378"/>
                </a:cubicBezTo>
                <a:lnTo>
                  <a:pt x="0" y="4769"/>
                </a:lnTo>
                <a:cubicBezTo>
                  <a:pt x="0" y="6525"/>
                  <a:pt x="1384" y="7948"/>
                  <a:pt x="3091" y="7948"/>
                </a:cubicBezTo>
                <a:cubicBezTo>
                  <a:pt x="4798" y="7948"/>
                  <a:pt x="6182" y="6525"/>
                  <a:pt x="6182" y="4769"/>
                </a:cubicBezTo>
                <a:lnTo>
                  <a:pt x="6182" y="3378"/>
                </a:lnTo>
                <a:cubicBezTo>
                  <a:pt x="6182" y="3269"/>
                  <a:pt x="6095" y="3179"/>
                  <a:pt x="5989" y="3179"/>
                </a:cubicBezTo>
                <a:close/>
                <a:moveTo>
                  <a:pt x="3091" y="5762"/>
                </a:moveTo>
                <a:cubicBezTo>
                  <a:pt x="2771" y="5762"/>
                  <a:pt x="2511" y="5496"/>
                  <a:pt x="2511" y="5166"/>
                </a:cubicBezTo>
                <a:cubicBezTo>
                  <a:pt x="2511" y="4837"/>
                  <a:pt x="2771" y="4570"/>
                  <a:pt x="3091" y="4570"/>
                </a:cubicBezTo>
                <a:cubicBezTo>
                  <a:pt x="3411" y="4570"/>
                  <a:pt x="3671" y="4837"/>
                  <a:pt x="3671" y="5166"/>
                </a:cubicBezTo>
                <a:cubicBezTo>
                  <a:pt x="3671" y="5496"/>
                  <a:pt x="3411" y="5762"/>
                  <a:pt x="3091" y="5762"/>
                </a:cubicBezTo>
                <a:close/>
                <a:moveTo>
                  <a:pt x="1932" y="3179"/>
                </a:moveTo>
                <a:lnTo>
                  <a:pt x="1932" y="1987"/>
                </a:lnTo>
                <a:cubicBezTo>
                  <a:pt x="1932" y="1329"/>
                  <a:pt x="2452" y="794"/>
                  <a:pt x="3091" y="794"/>
                </a:cubicBezTo>
                <a:cubicBezTo>
                  <a:pt x="3730" y="794"/>
                  <a:pt x="4250" y="1329"/>
                  <a:pt x="4250" y="1987"/>
                </a:cubicBezTo>
                <a:lnTo>
                  <a:pt x="4250" y="3179"/>
                </a:lnTo>
                <a:lnTo>
                  <a:pt x="1932" y="3179"/>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sp>
        <p:nvSpPr>
          <p:cNvPr id="136" name="iconfont-1187-868110">
            <a:extLst>
              <a:ext uri="{FF2B5EF4-FFF2-40B4-BE49-F238E27FC236}">
                <a16:creationId xmlns:a16="http://schemas.microsoft.com/office/drawing/2014/main" id="{E809CFAF-F685-44AC-A0BC-1FE8281CC8C6}"/>
              </a:ext>
            </a:extLst>
          </p:cNvPr>
          <p:cNvSpPr/>
          <p:nvPr/>
        </p:nvSpPr>
        <p:spPr>
          <a:xfrm>
            <a:off x="8707779" y="3416018"/>
            <a:ext cx="294502" cy="344110"/>
          </a:xfrm>
          <a:custGeom>
            <a:avLst/>
            <a:gdLst>
              <a:gd name="T0" fmla="*/ 8209 w 10908"/>
              <a:gd name="T1" fmla="*/ 2143 h 12744"/>
              <a:gd name="T2" fmla="*/ 8209 w 10908"/>
              <a:gd name="T3" fmla="*/ 1057 h 12744"/>
              <a:gd name="T4" fmla="*/ 7124 w 10908"/>
              <a:gd name="T5" fmla="*/ 0 h 12744"/>
              <a:gd name="T6" fmla="*/ 3840 w 10908"/>
              <a:gd name="T7" fmla="*/ 0 h 12744"/>
              <a:gd name="T8" fmla="*/ 2755 w 10908"/>
              <a:gd name="T9" fmla="*/ 1057 h 12744"/>
              <a:gd name="T10" fmla="*/ 2755 w 10908"/>
              <a:gd name="T11" fmla="*/ 2115 h 12744"/>
              <a:gd name="T12" fmla="*/ 0 w 10908"/>
              <a:gd name="T13" fmla="*/ 2115 h 12744"/>
              <a:gd name="T14" fmla="*/ 0 w 10908"/>
              <a:gd name="T15" fmla="*/ 3172 h 12744"/>
              <a:gd name="T16" fmla="*/ 1085 w 10908"/>
              <a:gd name="T17" fmla="*/ 3172 h 12744"/>
              <a:gd name="T18" fmla="*/ 1085 w 10908"/>
              <a:gd name="T19" fmla="*/ 11687 h 12744"/>
              <a:gd name="T20" fmla="*/ 2171 w 10908"/>
              <a:gd name="T21" fmla="*/ 12744 h 12744"/>
              <a:gd name="T22" fmla="*/ 8738 w 10908"/>
              <a:gd name="T23" fmla="*/ 12744 h 12744"/>
              <a:gd name="T24" fmla="*/ 9823 w 10908"/>
              <a:gd name="T25" fmla="*/ 11687 h 12744"/>
              <a:gd name="T26" fmla="*/ 9823 w 10908"/>
              <a:gd name="T27" fmla="*/ 3200 h 12744"/>
              <a:gd name="T28" fmla="*/ 10908 w 10908"/>
              <a:gd name="T29" fmla="*/ 3200 h 12744"/>
              <a:gd name="T30" fmla="*/ 10908 w 10908"/>
              <a:gd name="T31" fmla="*/ 2143 h 12744"/>
              <a:gd name="T32" fmla="*/ 8209 w 10908"/>
              <a:gd name="T33" fmla="*/ 2143 h 12744"/>
              <a:gd name="T34" fmla="*/ 4870 w 10908"/>
              <a:gd name="T35" fmla="*/ 10963 h 12744"/>
              <a:gd name="T36" fmla="*/ 3645 w 10908"/>
              <a:gd name="T37" fmla="*/ 10963 h 12744"/>
              <a:gd name="T38" fmla="*/ 3645 w 10908"/>
              <a:gd name="T39" fmla="*/ 4257 h 12744"/>
              <a:gd name="T40" fmla="*/ 4870 w 10908"/>
              <a:gd name="T41" fmla="*/ 4257 h 12744"/>
              <a:gd name="T42" fmla="*/ 4870 w 10908"/>
              <a:gd name="T43" fmla="*/ 10963 h 12744"/>
              <a:gd name="T44" fmla="*/ 7319 w 10908"/>
              <a:gd name="T45" fmla="*/ 10963 h 12744"/>
              <a:gd name="T46" fmla="*/ 6094 w 10908"/>
              <a:gd name="T47" fmla="*/ 10963 h 12744"/>
              <a:gd name="T48" fmla="*/ 6094 w 10908"/>
              <a:gd name="T49" fmla="*/ 4257 h 12744"/>
              <a:gd name="T50" fmla="*/ 7319 w 10908"/>
              <a:gd name="T51" fmla="*/ 4257 h 12744"/>
              <a:gd name="T52" fmla="*/ 7319 w 10908"/>
              <a:gd name="T53" fmla="*/ 10963 h 127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0908" h="12744">
                <a:moveTo>
                  <a:pt x="8209" y="2143"/>
                </a:moveTo>
                <a:lnTo>
                  <a:pt x="8209" y="1057"/>
                </a:lnTo>
                <a:cubicBezTo>
                  <a:pt x="8209" y="473"/>
                  <a:pt x="7708" y="0"/>
                  <a:pt x="7124" y="0"/>
                </a:cubicBezTo>
                <a:lnTo>
                  <a:pt x="3840" y="0"/>
                </a:lnTo>
                <a:cubicBezTo>
                  <a:pt x="3228" y="0"/>
                  <a:pt x="2755" y="473"/>
                  <a:pt x="2755" y="1057"/>
                </a:cubicBezTo>
                <a:lnTo>
                  <a:pt x="2755" y="2115"/>
                </a:lnTo>
                <a:lnTo>
                  <a:pt x="0" y="2115"/>
                </a:lnTo>
                <a:lnTo>
                  <a:pt x="0" y="3172"/>
                </a:lnTo>
                <a:lnTo>
                  <a:pt x="1085" y="3172"/>
                </a:lnTo>
                <a:lnTo>
                  <a:pt x="1085" y="11687"/>
                </a:lnTo>
                <a:cubicBezTo>
                  <a:pt x="1085" y="12271"/>
                  <a:pt x="1586" y="12744"/>
                  <a:pt x="2171" y="12744"/>
                </a:cubicBezTo>
                <a:lnTo>
                  <a:pt x="8738" y="12744"/>
                </a:lnTo>
                <a:cubicBezTo>
                  <a:pt x="9350" y="12744"/>
                  <a:pt x="9823" y="12271"/>
                  <a:pt x="9823" y="11687"/>
                </a:cubicBezTo>
                <a:lnTo>
                  <a:pt x="9823" y="3200"/>
                </a:lnTo>
                <a:lnTo>
                  <a:pt x="10908" y="3200"/>
                </a:lnTo>
                <a:lnTo>
                  <a:pt x="10908" y="2143"/>
                </a:lnTo>
                <a:lnTo>
                  <a:pt x="8209" y="2143"/>
                </a:lnTo>
                <a:close/>
                <a:moveTo>
                  <a:pt x="4870" y="10963"/>
                </a:moveTo>
                <a:lnTo>
                  <a:pt x="3645" y="10963"/>
                </a:lnTo>
                <a:lnTo>
                  <a:pt x="3645" y="4257"/>
                </a:lnTo>
                <a:lnTo>
                  <a:pt x="4870" y="4257"/>
                </a:lnTo>
                <a:lnTo>
                  <a:pt x="4870" y="10963"/>
                </a:lnTo>
                <a:close/>
                <a:moveTo>
                  <a:pt x="7319" y="10963"/>
                </a:moveTo>
                <a:lnTo>
                  <a:pt x="6094" y="10963"/>
                </a:lnTo>
                <a:lnTo>
                  <a:pt x="6094" y="4257"/>
                </a:lnTo>
                <a:lnTo>
                  <a:pt x="7319" y="4257"/>
                </a:lnTo>
                <a:lnTo>
                  <a:pt x="7319" y="1096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sp>
        <p:nvSpPr>
          <p:cNvPr id="138" name="iconfont-1187-868110">
            <a:extLst>
              <a:ext uri="{FF2B5EF4-FFF2-40B4-BE49-F238E27FC236}">
                <a16:creationId xmlns:a16="http://schemas.microsoft.com/office/drawing/2014/main" id="{6CDFE589-BE58-44B3-B520-E828E5E997F8}"/>
              </a:ext>
            </a:extLst>
          </p:cNvPr>
          <p:cNvSpPr/>
          <p:nvPr/>
        </p:nvSpPr>
        <p:spPr>
          <a:xfrm>
            <a:off x="8304781" y="1831851"/>
            <a:ext cx="344019" cy="344110"/>
          </a:xfrm>
          <a:custGeom>
            <a:avLst/>
            <a:gdLst>
              <a:gd name="T0" fmla="*/ 7682 w 7948"/>
              <a:gd name="T1" fmla="*/ 6783 h 7949"/>
              <a:gd name="T2" fmla="*/ 5299 w 7948"/>
              <a:gd name="T3" fmla="*/ 5962 h 7949"/>
              <a:gd name="T4" fmla="*/ 5331 w 7948"/>
              <a:gd name="T5" fmla="*/ 4819 h 7949"/>
              <a:gd name="T6" fmla="*/ 5842 w 7948"/>
              <a:gd name="T7" fmla="*/ 3675 h 7949"/>
              <a:gd name="T8" fmla="*/ 6062 w 7948"/>
              <a:gd name="T9" fmla="*/ 2499 h 7949"/>
              <a:gd name="T10" fmla="*/ 5782 w 7948"/>
              <a:gd name="T11" fmla="*/ 2087 h 7949"/>
              <a:gd name="T12" fmla="*/ 5560 w 7948"/>
              <a:gd name="T13" fmla="*/ 808 h 7949"/>
              <a:gd name="T14" fmla="*/ 4267 w 7948"/>
              <a:gd name="T15" fmla="*/ 3 h 7949"/>
              <a:gd name="T16" fmla="*/ 3532 w 7948"/>
              <a:gd name="T17" fmla="*/ 224 h 7949"/>
              <a:gd name="T18" fmla="*/ 2166 w 7948"/>
              <a:gd name="T19" fmla="*/ 2087 h 7949"/>
              <a:gd name="T20" fmla="*/ 1886 w 7948"/>
              <a:gd name="T21" fmla="*/ 2499 h 7949"/>
              <a:gd name="T22" fmla="*/ 2106 w 7948"/>
              <a:gd name="T23" fmla="*/ 3675 h 7949"/>
              <a:gd name="T24" fmla="*/ 2617 w 7948"/>
              <a:gd name="T25" fmla="*/ 4819 h 7949"/>
              <a:gd name="T26" fmla="*/ 2649 w 7948"/>
              <a:gd name="T27" fmla="*/ 5963 h 7949"/>
              <a:gd name="T28" fmla="*/ 266 w 7948"/>
              <a:gd name="T29" fmla="*/ 6783 h 7949"/>
              <a:gd name="T30" fmla="*/ 0 w 7948"/>
              <a:gd name="T31" fmla="*/ 7949 h 7949"/>
              <a:gd name="T32" fmla="*/ 7948 w 7948"/>
              <a:gd name="T33" fmla="*/ 7949 h 7949"/>
              <a:gd name="T34" fmla="*/ 7682 w 7948"/>
              <a:gd name="T35" fmla="*/ 6783 h 79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948" h="7949">
                <a:moveTo>
                  <a:pt x="7682" y="6783"/>
                </a:moveTo>
                <a:cubicBezTo>
                  <a:pt x="7334" y="6308"/>
                  <a:pt x="5568" y="6505"/>
                  <a:pt x="5299" y="5962"/>
                </a:cubicBezTo>
                <a:cubicBezTo>
                  <a:pt x="4764" y="4886"/>
                  <a:pt x="4982" y="5086"/>
                  <a:pt x="5331" y="4819"/>
                </a:cubicBezTo>
                <a:cubicBezTo>
                  <a:pt x="5658" y="4569"/>
                  <a:pt x="5642" y="3909"/>
                  <a:pt x="5842" y="3675"/>
                </a:cubicBezTo>
                <a:cubicBezTo>
                  <a:pt x="6045" y="3437"/>
                  <a:pt x="6139" y="2756"/>
                  <a:pt x="6062" y="2499"/>
                </a:cubicBezTo>
                <a:cubicBezTo>
                  <a:pt x="5961" y="2159"/>
                  <a:pt x="5806" y="2344"/>
                  <a:pt x="5782" y="2087"/>
                </a:cubicBezTo>
                <a:cubicBezTo>
                  <a:pt x="5732" y="1533"/>
                  <a:pt x="5872" y="1078"/>
                  <a:pt x="5560" y="808"/>
                </a:cubicBezTo>
                <a:cubicBezTo>
                  <a:pt x="5258" y="548"/>
                  <a:pt x="4881" y="10"/>
                  <a:pt x="4267" y="3"/>
                </a:cubicBezTo>
                <a:cubicBezTo>
                  <a:pt x="4053" y="0"/>
                  <a:pt x="3811" y="64"/>
                  <a:pt x="3532" y="224"/>
                </a:cubicBezTo>
                <a:cubicBezTo>
                  <a:pt x="2208" y="82"/>
                  <a:pt x="2216" y="1533"/>
                  <a:pt x="2166" y="2087"/>
                </a:cubicBezTo>
                <a:cubicBezTo>
                  <a:pt x="2142" y="2344"/>
                  <a:pt x="1987" y="2159"/>
                  <a:pt x="1886" y="2499"/>
                </a:cubicBezTo>
                <a:cubicBezTo>
                  <a:pt x="1809" y="2756"/>
                  <a:pt x="1903" y="3437"/>
                  <a:pt x="2106" y="3675"/>
                </a:cubicBezTo>
                <a:cubicBezTo>
                  <a:pt x="2306" y="3909"/>
                  <a:pt x="2290" y="4569"/>
                  <a:pt x="2617" y="4819"/>
                </a:cubicBezTo>
                <a:cubicBezTo>
                  <a:pt x="2966" y="5086"/>
                  <a:pt x="3184" y="4886"/>
                  <a:pt x="2649" y="5963"/>
                </a:cubicBezTo>
                <a:cubicBezTo>
                  <a:pt x="2380" y="6505"/>
                  <a:pt x="614" y="6308"/>
                  <a:pt x="266" y="6783"/>
                </a:cubicBezTo>
                <a:cubicBezTo>
                  <a:pt x="0" y="7146"/>
                  <a:pt x="0" y="7949"/>
                  <a:pt x="0" y="7949"/>
                </a:cubicBezTo>
                <a:lnTo>
                  <a:pt x="7948" y="7949"/>
                </a:lnTo>
                <a:cubicBezTo>
                  <a:pt x="7948" y="7949"/>
                  <a:pt x="7948" y="7146"/>
                  <a:pt x="7682" y="6783"/>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spTree>
    <p:custDataLst>
      <p:tags r:id="rId2"/>
    </p:custDataLst>
    <p:extLst>
      <p:ext uri="{BB962C8B-B14F-4D97-AF65-F5344CB8AC3E}">
        <p14:creationId xmlns:p14="http://schemas.microsoft.com/office/powerpoint/2010/main" val="1544811310"/>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3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椭圆 2">
            <a:extLst>
              <a:ext uri="{FF2B5EF4-FFF2-40B4-BE49-F238E27FC236}">
                <a16:creationId xmlns:a16="http://schemas.microsoft.com/office/drawing/2014/main" id="{BC79DF13-A471-4F56-8D52-47F9C17757CB}"/>
              </a:ext>
            </a:extLst>
          </p:cNvPr>
          <p:cNvSpPr/>
          <p:nvPr/>
        </p:nvSpPr>
        <p:spPr>
          <a:xfrm>
            <a:off x="4646215" y="2094508"/>
            <a:ext cx="2880000" cy="2880000"/>
          </a:xfrm>
          <a:prstGeom prst="ellipse">
            <a:avLst/>
          </a:prstGeom>
          <a:solidFill>
            <a:schemeClr val="accent1">
              <a:alpha val="5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zh-CN" altLang="en-US" sz="1600">
              <a:solidFill>
                <a:schemeClr val="bg1"/>
              </a:solidFill>
              <a:latin typeface="+mj-ea"/>
              <a:ea typeface="+mj-ea"/>
            </a:endParaRPr>
          </a:p>
        </p:txBody>
      </p:sp>
      <p:sp>
        <p:nvSpPr>
          <p:cNvPr id="2" name="任意多边形: 形状 1">
            <a:extLst>
              <a:ext uri="{FF2B5EF4-FFF2-40B4-BE49-F238E27FC236}">
                <a16:creationId xmlns:a16="http://schemas.microsoft.com/office/drawing/2014/main" id="{40DDF2BD-3740-42E3-8715-C812B12BACE0}"/>
              </a:ext>
            </a:extLst>
          </p:cNvPr>
          <p:cNvSpPr/>
          <p:nvPr/>
        </p:nvSpPr>
        <p:spPr>
          <a:xfrm rot="5400000">
            <a:off x="5471282" y="2993488"/>
            <a:ext cx="1249436" cy="1082040"/>
          </a:xfrm>
          <a:custGeom>
            <a:avLst/>
            <a:gdLst>
              <a:gd name="connsiteX0" fmla="*/ 2540000 w 2540000"/>
              <a:gd name="connsiteY0" fmla="*/ 1099852 h 2199704"/>
              <a:gd name="connsiteX1" fmla="*/ 1905000 w 2540000"/>
              <a:gd name="connsiteY1" fmla="*/ 2199704 h 2199704"/>
              <a:gd name="connsiteX2" fmla="*/ 635000 w 2540000"/>
              <a:gd name="connsiteY2" fmla="*/ 2199704 h 2199704"/>
              <a:gd name="connsiteX3" fmla="*/ 0 w 2540000"/>
              <a:gd name="connsiteY3" fmla="*/ 1099852 h 2199704"/>
              <a:gd name="connsiteX4" fmla="*/ 635000 w 2540000"/>
              <a:gd name="connsiteY4" fmla="*/ 0 h 2199704"/>
              <a:gd name="connsiteX5" fmla="*/ 1905000 w 2540000"/>
              <a:gd name="connsiteY5" fmla="*/ 0 h 2199704"/>
              <a:gd name="connsiteX6" fmla="*/ 2540000 w 2540000"/>
              <a:gd name="connsiteY6" fmla="*/ 1099852 h 21997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40000" h="2199704">
                <a:moveTo>
                  <a:pt x="2540000" y="1099852"/>
                </a:moveTo>
                <a:lnTo>
                  <a:pt x="1905000" y="2199704"/>
                </a:lnTo>
                <a:lnTo>
                  <a:pt x="635000" y="2199704"/>
                </a:lnTo>
                <a:lnTo>
                  <a:pt x="0" y="1099852"/>
                </a:lnTo>
                <a:lnTo>
                  <a:pt x="635000" y="0"/>
                </a:lnTo>
                <a:lnTo>
                  <a:pt x="1905000" y="0"/>
                </a:lnTo>
                <a:lnTo>
                  <a:pt x="2540000" y="1099852"/>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zh-CN" altLang="en-US" sz="1600">
              <a:solidFill>
                <a:schemeClr val="bg1"/>
              </a:solidFill>
              <a:latin typeface="+mj-ea"/>
              <a:ea typeface="+mj-ea"/>
            </a:endParaRPr>
          </a:p>
        </p:txBody>
      </p:sp>
      <p:sp>
        <p:nvSpPr>
          <p:cNvPr id="4" name="椭圆 3">
            <a:extLst>
              <a:ext uri="{FF2B5EF4-FFF2-40B4-BE49-F238E27FC236}">
                <a16:creationId xmlns:a16="http://schemas.microsoft.com/office/drawing/2014/main" id="{A9190687-FF9D-443E-A063-7360D4E91103}"/>
              </a:ext>
            </a:extLst>
          </p:cNvPr>
          <p:cNvSpPr/>
          <p:nvPr/>
        </p:nvSpPr>
        <p:spPr>
          <a:xfrm>
            <a:off x="4461576" y="1909869"/>
            <a:ext cx="3249278" cy="3249278"/>
          </a:xfrm>
          <a:prstGeom prst="ellipse">
            <a:avLst/>
          </a:prstGeom>
          <a:noFill/>
          <a:ln>
            <a:solidFill>
              <a:schemeClr val="accent1"/>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zh-CN" altLang="en-US" sz="1600">
              <a:solidFill>
                <a:schemeClr val="bg1"/>
              </a:solidFill>
              <a:latin typeface="+mj-ea"/>
              <a:ea typeface="+mj-ea"/>
            </a:endParaRPr>
          </a:p>
        </p:txBody>
      </p:sp>
      <p:sp>
        <p:nvSpPr>
          <p:cNvPr id="5" name="椭圆 4">
            <a:extLst>
              <a:ext uri="{FF2B5EF4-FFF2-40B4-BE49-F238E27FC236}">
                <a16:creationId xmlns:a16="http://schemas.microsoft.com/office/drawing/2014/main" id="{DF250C32-06E3-4320-A135-1147B00638D9}"/>
              </a:ext>
            </a:extLst>
          </p:cNvPr>
          <p:cNvSpPr/>
          <p:nvPr/>
        </p:nvSpPr>
        <p:spPr>
          <a:xfrm>
            <a:off x="4595367" y="2200238"/>
            <a:ext cx="851028" cy="851028"/>
          </a:xfrm>
          <a:prstGeom prst="ellipse">
            <a:avLst/>
          </a:prstGeom>
          <a:gradFill>
            <a:gsLst>
              <a:gs pos="100000">
                <a:schemeClr val="accent1">
                  <a:lumMod val="75000"/>
                </a:schemeClr>
              </a:gs>
              <a:gs pos="0">
                <a:schemeClr val="accent1"/>
              </a:gs>
            </a:gsLst>
            <a:path path="circle">
              <a:fillToRect r="100000" b="100000"/>
            </a:path>
          </a:gradFill>
          <a:ln>
            <a:noFill/>
          </a:ln>
          <a:effectLst>
            <a:outerShdw blurRad="190500" dist="76200" dir="5400000" algn="t" rotWithShape="0">
              <a:schemeClr val="accent1">
                <a:lumMod val="50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zh-CN" altLang="en-US" sz="1600">
              <a:solidFill>
                <a:schemeClr val="bg1"/>
              </a:solidFill>
              <a:latin typeface="+mj-ea"/>
              <a:ea typeface="+mj-ea"/>
            </a:endParaRPr>
          </a:p>
        </p:txBody>
      </p:sp>
      <p:sp>
        <p:nvSpPr>
          <p:cNvPr id="6" name="椭圆 5">
            <a:extLst>
              <a:ext uri="{FF2B5EF4-FFF2-40B4-BE49-F238E27FC236}">
                <a16:creationId xmlns:a16="http://schemas.microsoft.com/office/drawing/2014/main" id="{50E9D2B1-EFDC-48A9-B607-1CB10B13B0A3}"/>
              </a:ext>
            </a:extLst>
          </p:cNvPr>
          <p:cNvSpPr/>
          <p:nvPr/>
        </p:nvSpPr>
        <p:spPr>
          <a:xfrm>
            <a:off x="6662292" y="2200238"/>
            <a:ext cx="851028" cy="851028"/>
          </a:xfrm>
          <a:prstGeom prst="ellipse">
            <a:avLst/>
          </a:prstGeom>
          <a:gradFill>
            <a:gsLst>
              <a:gs pos="100000">
                <a:schemeClr val="accent1">
                  <a:lumMod val="75000"/>
                </a:schemeClr>
              </a:gs>
              <a:gs pos="0">
                <a:schemeClr val="accent1"/>
              </a:gs>
            </a:gsLst>
            <a:path path="circle">
              <a:fillToRect r="100000" b="100000"/>
            </a:path>
          </a:gradFill>
          <a:ln>
            <a:noFill/>
          </a:ln>
          <a:effectLst>
            <a:outerShdw blurRad="190500" dist="76200" dir="5400000" algn="t" rotWithShape="0">
              <a:schemeClr val="accent1">
                <a:lumMod val="50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zh-CN" altLang="en-US" sz="1600">
              <a:solidFill>
                <a:schemeClr val="bg1"/>
              </a:solidFill>
              <a:latin typeface="+mj-ea"/>
              <a:ea typeface="+mj-ea"/>
            </a:endParaRPr>
          </a:p>
        </p:txBody>
      </p:sp>
      <p:sp>
        <p:nvSpPr>
          <p:cNvPr id="7" name="椭圆 6">
            <a:extLst>
              <a:ext uri="{FF2B5EF4-FFF2-40B4-BE49-F238E27FC236}">
                <a16:creationId xmlns:a16="http://schemas.microsoft.com/office/drawing/2014/main" id="{BBE63EE5-8C40-4641-B82D-2610F56B4B7C}"/>
              </a:ext>
            </a:extLst>
          </p:cNvPr>
          <p:cNvSpPr/>
          <p:nvPr/>
        </p:nvSpPr>
        <p:spPr>
          <a:xfrm>
            <a:off x="4595367" y="4112858"/>
            <a:ext cx="851028" cy="851028"/>
          </a:xfrm>
          <a:prstGeom prst="ellipse">
            <a:avLst/>
          </a:prstGeom>
          <a:gradFill>
            <a:gsLst>
              <a:gs pos="100000">
                <a:schemeClr val="accent1">
                  <a:lumMod val="75000"/>
                </a:schemeClr>
              </a:gs>
              <a:gs pos="0">
                <a:schemeClr val="accent1"/>
              </a:gs>
            </a:gsLst>
            <a:path path="circle">
              <a:fillToRect r="100000" b="100000"/>
            </a:path>
          </a:gradFill>
          <a:ln>
            <a:noFill/>
          </a:ln>
          <a:effectLst>
            <a:outerShdw blurRad="190500" dist="76200" dir="5400000" algn="t" rotWithShape="0">
              <a:schemeClr val="accent1">
                <a:lumMod val="50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zh-CN" altLang="en-US" sz="1600">
              <a:solidFill>
                <a:schemeClr val="bg1"/>
              </a:solidFill>
              <a:latin typeface="+mj-ea"/>
              <a:ea typeface="+mj-ea"/>
            </a:endParaRPr>
          </a:p>
        </p:txBody>
      </p:sp>
      <p:sp>
        <p:nvSpPr>
          <p:cNvPr id="8" name="椭圆 7">
            <a:extLst>
              <a:ext uri="{FF2B5EF4-FFF2-40B4-BE49-F238E27FC236}">
                <a16:creationId xmlns:a16="http://schemas.microsoft.com/office/drawing/2014/main" id="{8C39C6E3-39CA-4FC4-889C-FA6E2676E8D8}"/>
              </a:ext>
            </a:extLst>
          </p:cNvPr>
          <p:cNvSpPr/>
          <p:nvPr/>
        </p:nvSpPr>
        <p:spPr>
          <a:xfrm>
            <a:off x="6662292" y="4112858"/>
            <a:ext cx="851028" cy="851028"/>
          </a:xfrm>
          <a:prstGeom prst="ellipse">
            <a:avLst/>
          </a:prstGeom>
          <a:gradFill>
            <a:gsLst>
              <a:gs pos="100000">
                <a:schemeClr val="accent1">
                  <a:lumMod val="75000"/>
                </a:schemeClr>
              </a:gs>
              <a:gs pos="0">
                <a:schemeClr val="accent1"/>
              </a:gs>
            </a:gsLst>
            <a:path path="circle">
              <a:fillToRect r="100000" b="100000"/>
            </a:path>
          </a:gradFill>
          <a:ln>
            <a:noFill/>
          </a:ln>
          <a:effectLst>
            <a:outerShdw blurRad="190500" dist="76200" dir="5400000" algn="t" rotWithShape="0">
              <a:schemeClr val="accent1">
                <a:lumMod val="50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zh-CN" altLang="en-US" sz="1600">
              <a:solidFill>
                <a:schemeClr val="bg1"/>
              </a:solidFill>
              <a:latin typeface="+mj-ea"/>
              <a:ea typeface="+mj-ea"/>
            </a:endParaRPr>
          </a:p>
        </p:txBody>
      </p:sp>
      <p:grpSp>
        <p:nvGrpSpPr>
          <p:cNvPr id="11" name="组合 10">
            <a:extLst>
              <a:ext uri="{FF2B5EF4-FFF2-40B4-BE49-F238E27FC236}">
                <a16:creationId xmlns:a16="http://schemas.microsoft.com/office/drawing/2014/main" id="{986CCF52-9979-4744-BDDA-290C9C64A2B8}"/>
              </a:ext>
            </a:extLst>
          </p:cNvPr>
          <p:cNvGrpSpPr/>
          <p:nvPr/>
        </p:nvGrpSpPr>
        <p:grpSpPr>
          <a:xfrm>
            <a:off x="7709837" y="2491487"/>
            <a:ext cx="362517" cy="268531"/>
            <a:chOff x="7709837" y="2526554"/>
            <a:chExt cx="362517" cy="268531"/>
          </a:xfrm>
        </p:grpSpPr>
        <p:sp>
          <p:nvSpPr>
            <p:cNvPr id="9" name="图形 2169">
              <a:extLst>
                <a:ext uri="{FF2B5EF4-FFF2-40B4-BE49-F238E27FC236}">
                  <a16:creationId xmlns:a16="http://schemas.microsoft.com/office/drawing/2014/main" id="{B80E6D97-2959-4316-9A11-DD1123E98E11}"/>
                </a:ext>
              </a:extLst>
            </p:cNvPr>
            <p:cNvSpPr/>
            <p:nvPr/>
          </p:nvSpPr>
          <p:spPr>
            <a:xfrm>
              <a:off x="7859173" y="2526554"/>
              <a:ext cx="213181" cy="268531"/>
            </a:xfrm>
            <a:custGeom>
              <a:avLst/>
              <a:gdLst>
                <a:gd name="connsiteX0" fmla="*/ 90069 w 244034"/>
                <a:gd name="connsiteY0" fmla="*/ 0 h 307394"/>
                <a:gd name="connsiteX1" fmla="*/ 0 w 244034"/>
                <a:gd name="connsiteY1" fmla="*/ 0 h 307394"/>
                <a:gd name="connsiteX2" fmla="*/ 153965 w 244034"/>
                <a:gd name="connsiteY2" fmla="*/ 153679 h 307394"/>
                <a:gd name="connsiteX3" fmla="*/ 0 w 244034"/>
                <a:gd name="connsiteY3" fmla="*/ 307394 h 307394"/>
                <a:gd name="connsiteX4" fmla="*/ 90069 w 244034"/>
                <a:gd name="connsiteY4" fmla="*/ 307394 h 307394"/>
                <a:gd name="connsiteX5" fmla="*/ 244035 w 244034"/>
                <a:gd name="connsiteY5" fmla="*/ 153679 h 3073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4034" h="307394">
                  <a:moveTo>
                    <a:pt x="90069" y="0"/>
                  </a:moveTo>
                  <a:lnTo>
                    <a:pt x="0" y="0"/>
                  </a:lnTo>
                  <a:lnTo>
                    <a:pt x="153965" y="153679"/>
                  </a:lnTo>
                  <a:lnTo>
                    <a:pt x="0" y="307394"/>
                  </a:lnTo>
                  <a:lnTo>
                    <a:pt x="90069" y="307394"/>
                  </a:lnTo>
                  <a:lnTo>
                    <a:pt x="244035" y="153679"/>
                  </a:lnTo>
                  <a:close/>
                </a:path>
              </a:pathLst>
            </a:custGeom>
            <a:solidFill>
              <a:schemeClr val="accent1"/>
            </a:solidFill>
            <a:ln w="35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black"/>
                </a:solidFill>
                <a:effectLst/>
                <a:uLnTx/>
                <a:uFillTx/>
                <a:latin typeface="等线" panose="020F0502020204030204"/>
                <a:ea typeface="等线" panose="02010600030101010101" pitchFamily="2" charset="-122"/>
                <a:cs typeface="+mn-cs"/>
              </a:endParaRPr>
            </a:p>
          </p:txBody>
        </p:sp>
        <p:sp>
          <p:nvSpPr>
            <p:cNvPr id="10" name="图形 2169">
              <a:extLst>
                <a:ext uri="{FF2B5EF4-FFF2-40B4-BE49-F238E27FC236}">
                  <a16:creationId xmlns:a16="http://schemas.microsoft.com/office/drawing/2014/main" id="{60891618-675F-4C7A-9AD0-5761770E7CD4}"/>
                </a:ext>
              </a:extLst>
            </p:cNvPr>
            <p:cNvSpPr/>
            <p:nvPr/>
          </p:nvSpPr>
          <p:spPr>
            <a:xfrm>
              <a:off x="7709837" y="2526554"/>
              <a:ext cx="213181" cy="268531"/>
            </a:xfrm>
            <a:custGeom>
              <a:avLst/>
              <a:gdLst>
                <a:gd name="connsiteX0" fmla="*/ 90070 w 244034"/>
                <a:gd name="connsiteY0" fmla="*/ 0 h 307394"/>
                <a:gd name="connsiteX1" fmla="*/ 0 w 244034"/>
                <a:gd name="connsiteY1" fmla="*/ 0 h 307394"/>
                <a:gd name="connsiteX2" fmla="*/ 153966 w 244034"/>
                <a:gd name="connsiteY2" fmla="*/ 153679 h 307394"/>
                <a:gd name="connsiteX3" fmla="*/ 0 w 244034"/>
                <a:gd name="connsiteY3" fmla="*/ 307394 h 307394"/>
                <a:gd name="connsiteX4" fmla="*/ 90070 w 244034"/>
                <a:gd name="connsiteY4" fmla="*/ 307394 h 307394"/>
                <a:gd name="connsiteX5" fmla="*/ 244035 w 244034"/>
                <a:gd name="connsiteY5" fmla="*/ 153679 h 3073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4034" h="307394">
                  <a:moveTo>
                    <a:pt x="90070" y="0"/>
                  </a:moveTo>
                  <a:lnTo>
                    <a:pt x="0" y="0"/>
                  </a:lnTo>
                  <a:lnTo>
                    <a:pt x="153966" y="153679"/>
                  </a:lnTo>
                  <a:lnTo>
                    <a:pt x="0" y="307394"/>
                  </a:lnTo>
                  <a:lnTo>
                    <a:pt x="90070" y="307394"/>
                  </a:lnTo>
                  <a:lnTo>
                    <a:pt x="244035" y="153679"/>
                  </a:lnTo>
                  <a:close/>
                </a:path>
              </a:pathLst>
            </a:custGeom>
            <a:solidFill>
              <a:schemeClr val="accent1"/>
            </a:solidFill>
            <a:ln w="35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black"/>
                </a:solidFill>
                <a:effectLst/>
                <a:uLnTx/>
                <a:uFillTx/>
                <a:latin typeface="等线" panose="020F0502020204030204"/>
                <a:ea typeface="等线" panose="02010600030101010101" pitchFamily="2" charset="-122"/>
                <a:cs typeface="+mn-cs"/>
              </a:endParaRPr>
            </a:p>
          </p:txBody>
        </p:sp>
      </p:grpSp>
      <p:sp>
        <p:nvSpPr>
          <p:cNvPr id="12" name="矩形: 圆角 11">
            <a:extLst>
              <a:ext uri="{FF2B5EF4-FFF2-40B4-BE49-F238E27FC236}">
                <a16:creationId xmlns:a16="http://schemas.microsoft.com/office/drawing/2014/main" id="{DCCFB16D-7C1E-47C7-A98D-115F28BD1EE2}"/>
              </a:ext>
            </a:extLst>
          </p:cNvPr>
          <p:cNvSpPr/>
          <p:nvPr/>
        </p:nvSpPr>
        <p:spPr>
          <a:xfrm>
            <a:off x="8220673" y="2110431"/>
            <a:ext cx="2576867" cy="1030642"/>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13" name="文本框 12">
            <a:extLst>
              <a:ext uri="{FF2B5EF4-FFF2-40B4-BE49-F238E27FC236}">
                <a16:creationId xmlns:a16="http://schemas.microsoft.com/office/drawing/2014/main" id="{C3857772-617A-4E87-890A-D02AEF221A4C}"/>
              </a:ext>
            </a:extLst>
          </p:cNvPr>
          <p:cNvSpPr txBox="1"/>
          <p:nvPr/>
        </p:nvSpPr>
        <p:spPr>
          <a:xfrm>
            <a:off x="8474745" y="2253813"/>
            <a:ext cx="1192633" cy="286233"/>
          </a:xfrm>
          <a:prstGeom prst="rect">
            <a:avLst/>
          </a:prstGeom>
          <a:noFill/>
          <a:effectLst/>
        </p:spPr>
        <p:txBody>
          <a:bodyPr wrap="none" lIns="0" tIns="0" rIns="0" bIns="0" rtlCol="0" anchor="t">
            <a:spAutoFit/>
          </a:bodyPr>
          <a:lstStyle/>
          <a:p>
            <a:r>
              <a:rPr lang="zh-CN" altLang="en-US" sz="1860" dirty="0">
                <a:solidFill>
                  <a:schemeClr val="bg1"/>
                </a:solidFill>
                <a:latin typeface="+mj-ea"/>
                <a:ea typeface="+mj-ea"/>
              </a:rPr>
              <a:t>关键词标题</a:t>
            </a:r>
          </a:p>
        </p:txBody>
      </p:sp>
      <p:sp>
        <p:nvSpPr>
          <p:cNvPr id="14" name="文本框 13">
            <a:extLst>
              <a:ext uri="{FF2B5EF4-FFF2-40B4-BE49-F238E27FC236}">
                <a16:creationId xmlns:a16="http://schemas.microsoft.com/office/drawing/2014/main" id="{15B4A621-8001-4EC1-91E7-907A0A32BB4A}"/>
              </a:ext>
            </a:extLst>
          </p:cNvPr>
          <p:cNvSpPr txBox="1"/>
          <p:nvPr/>
        </p:nvSpPr>
        <p:spPr>
          <a:xfrm>
            <a:off x="8460253" y="2540044"/>
            <a:ext cx="2283947" cy="432271"/>
          </a:xfrm>
          <a:prstGeom prst="rect">
            <a:avLst/>
          </a:prstGeom>
          <a:noFill/>
          <a:effectLst/>
        </p:spPr>
        <p:txBody>
          <a:bodyPr wrap="square" lIns="0" tIns="0" rIns="0" bIns="0" rtlCol="0" anchor="t">
            <a:spAutoFit/>
          </a:bodyPr>
          <a:lstStyle/>
          <a:p>
            <a:pPr>
              <a:lnSpc>
                <a:spcPct val="130000"/>
              </a:lnSpc>
            </a:pPr>
            <a:r>
              <a:rPr lang="en-US" altLang="zh-CN" sz="1116" b="0" dirty="0">
                <a:solidFill>
                  <a:schemeClr val="bg1"/>
                </a:solidFill>
                <a:effectLst/>
                <a:latin typeface="+mn-ea"/>
              </a:rPr>
              <a:t>Lorem ipsum dolor onsectetur adipisicing elit</a:t>
            </a:r>
            <a:r>
              <a:rPr lang="en-US" altLang="zh-CN" sz="1116" dirty="0">
                <a:solidFill>
                  <a:schemeClr val="bg1"/>
                </a:solidFill>
                <a:latin typeface="+mn-ea"/>
              </a:rPr>
              <a:t> </a:t>
            </a:r>
            <a:r>
              <a:rPr lang="en-US" altLang="zh-CN" sz="1116" b="0" dirty="0">
                <a:solidFill>
                  <a:schemeClr val="bg1"/>
                </a:solidFill>
                <a:effectLst/>
                <a:latin typeface="+mn-ea"/>
              </a:rPr>
              <a:t>sed do eiusmod</a:t>
            </a:r>
            <a:endParaRPr lang="zh-CN" altLang="en-US" sz="1116" b="0" dirty="0">
              <a:solidFill>
                <a:schemeClr val="bg1"/>
              </a:solidFill>
              <a:effectLst/>
              <a:latin typeface="+mn-ea"/>
            </a:endParaRPr>
          </a:p>
        </p:txBody>
      </p:sp>
      <p:grpSp>
        <p:nvGrpSpPr>
          <p:cNvPr id="15" name="组合 14">
            <a:extLst>
              <a:ext uri="{FF2B5EF4-FFF2-40B4-BE49-F238E27FC236}">
                <a16:creationId xmlns:a16="http://schemas.microsoft.com/office/drawing/2014/main" id="{F401DD1D-9377-4308-A4CE-50A40BBFF11A}"/>
              </a:ext>
            </a:extLst>
          </p:cNvPr>
          <p:cNvGrpSpPr/>
          <p:nvPr/>
        </p:nvGrpSpPr>
        <p:grpSpPr>
          <a:xfrm>
            <a:off x="7709837" y="4404107"/>
            <a:ext cx="362517" cy="268531"/>
            <a:chOff x="7709837" y="2526554"/>
            <a:chExt cx="362517" cy="268531"/>
          </a:xfrm>
        </p:grpSpPr>
        <p:sp>
          <p:nvSpPr>
            <p:cNvPr id="16" name="图形 2169">
              <a:extLst>
                <a:ext uri="{FF2B5EF4-FFF2-40B4-BE49-F238E27FC236}">
                  <a16:creationId xmlns:a16="http://schemas.microsoft.com/office/drawing/2014/main" id="{5ED65295-11B0-43C0-9A2A-9DAD9A744B52}"/>
                </a:ext>
              </a:extLst>
            </p:cNvPr>
            <p:cNvSpPr/>
            <p:nvPr/>
          </p:nvSpPr>
          <p:spPr>
            <a:xfrm>
              <a:off x="7859173" y="2526554"/>
              <a:ext cx="213181" cy="268531"/>
            </a:xfrm>
            <a:custGeom>
              <a:avLst/>
              <a:gdLst>
                <a:gd name="connsiteX0" fmla="*/ 90069 w 244034"/>
                <a:gd name="connsiteY0" fmla="*/ 0 h 307394"/>
                <a:gd name="connsiteX1" fmla="*/ 0 w 244034"/>
                <a:gd name="connsiteY1" fmla="*/ 0 h 307394"/>
                <a:gd name="connsiteX2" fmla="*/ 153965 w 244034"/>
                <a:gd name="connsiteY2" fmla="*/ 153679 h 307394"/>
                <a:gd name="connsiteX3" fmla="*/ 0 w 244034"/>
                <a:gd name="connsiteY3" fmla="*/ 307394 h 307394"/>
                <a:gd name="connsiteX4" fmla="*/ 90069 w 244034"/>
                <a:gd name="connsiteY4" fmla="*/ 307394 h 307394"/>
                <a:gd name="connsiteX5" fmla="*/ 244035 w 244034"/>
                <a:gd name="connsiteY5" fmla="*/ 153679 h 3073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4034" h="307394">
                  <a:moveTo>
                    <a:pt x="90069" y="0"/>
                  </a:moveTo>
                  <a:lnTo>
                    <a:pt x="0" y="0"/>
                  </a:lnTo>
                  <a:lnTo>
                    <a:pt x="153965" y="153679"/>
                  </a:lnTo>
                  <a:lnTo>
                    <a:pt x="0" y="307394"/>
                  </a:lnTo>
                  <a:lnTo>
                    <a:pt x="90069" y="307394"/>
                  </a:lnTo>
                  <a:lnTo>
                    <a:pt x="244035" y="153679"/>
                  </a:lnTo>
                  <a:close/>
                </a:path>
              </a:pathLst>
            </a:custGeom>
            <a:solidFill>
              <a:schemeClr val="accent1"/>
            </a:solidFill>
            <a:ln w="35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black"/>
                </a:solidFill>
                <a:effectLst/>
                <a:uLnTx/>
                <a:uFillTx/>
                <a:latin typeface="等线" panose="020F0502020204030204"/>
                <a:ea typeface="等线" panose="02010600030101010101" pitchFamily="2" charset="-122"/>
                <a:cs typeface="+mn-cs"/>
              </a:endParaRPr>
            </a:p>
          </p:txBody>
        </p:sp>
        <p:sp>
          <p:nvSpPr>
            <p:cNvPr id="17" name="图形 2169">
              <a:extLst>
                <a:ext uri="{FF2B5EF4-FFF2-40B4-BE49-F238E27FC236}">
                  <a16:creationId xmlns:a16="http://schemas.microsoft.com/office/drawing/2014/main" id="{D9270CC6-D6F3-48A1-99CA-2054104DBCE6}"/>
                </a:ext>
              </a:extLst>
            </p:cNvPr>
            <p:cNvSpPr/>
            <p:nvPr/>
          </p:nvSpPr>
          <p:spPr>
            <a:xfrm>
              <a:off x="7709837" y="2526554"/>
              <a:ext cx="213181" cy="268531"/>
            </a:xfrm>
            <a:custGeom>
              <a:avLst/>
              <a:gdLst>
                <a:gd name="connsiteX0" fmla="*/ 90070 w 244034"/>
                <a:gd name="connsiteY0" fmla="*/ 0 h 307394"/>
                <a:gd name="connsiteX1" fmla="*/ 0 w 244034"/>
                <a:gd name="connsiteY1" fmla="*/ 0 h 307394"/>
                <a:gd name="connsiteX2" fmla="*/ 153966 w 244034"/>
                <a:gd name="connsiteY2" fmla="*/ 153679 h 307394"/>
                <a:gd name="connsiteX3" fmla="*/ 0 w 244034"/>
                <a:gd name="connsiteY3" fmla="*/ 307394 h 307394"/>
                <a:gd name="connsiteX4" fmla="*/ 90070 w 244034"/>
                <a:gd name="connsiteY4" fmla="*/ 307394 h 307394"/>
                <a:gd name="connsiteX5" fmla="*/ 244035 w 244034"/>
                <a:gd name="connsiteY5" fmla="*/ 153679 h 3073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4034" h="307394">
                  <a:moveTo>
                    <a:pt x="90070" y="0"/>
                  </a:moveTo>
                  <a:lnTo>
                    <a:pt x="0" y="0"/>
                  </a:lnTo>
                  <a:lnTo>
                    <a:pt x="153966" y="153679"/>
                  </a:lnTo>
                  <a:lnTo>
                    <a:pt x="0" y="307394"/>
                  </a:lnTo>
                  <a:lnTo>
                    <a:pt x="90070" y="307394"/>
                  </a:lnTo>
                  <a:lnTo>
                    <a:pt x="244035" y="153679"/>
                  </a:lnTo>
                  <a:close/>
                </a:path>
              </a:pathLst>
            </a:custGeom>
            <a:solidFill>
              <a:schemeClr val="accent1"/>
            </a:solidFill>
            <a:ln w="35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black"/>
                </a:solidFill>
                <a:effectLst/>
                <a:uLnTx/>
                <a:uFillTx/>
                <a:latin typeface="等线" panose="020F0502020204030204"/>
                <a:ea typeface="等线" panose="02010600030101010101" pitchFamily="2" charset="-122"/>
                <a:cs typeface="+mn-cs"/>
              </a:endParaRPr>
            </a:p>
          </p:txBody>
        </p:sp>
      </p:grpSp>
      <p:sp>
        <p:nvSpPr>
          <p:cNvPr id="18" name="矩形: 圆角 17">
            <a:extLst>
              <a:ext uri="{FF2B5EF4-FFF2-40B4-BE49-F238E27FC236}">
                <a16:creationId xmlns:a16="http://schemas.microsoft.com/office/drawing/2014/main" id="{8C4D5358-44D5-4409-A556-A295343302E5}"/>
              </a:ext>
            </a:extLst>
          </p:cNvPr>
          <p:cNvSpPr/>
          <p:nvPr/>
        </p:nvSpPr>
        <p:spPr>
          <a:xfrm>
            <a:off x="8220673" y="4023051"/>
            <a:ext cx="2576867" cy="1030642"/>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19" name="文本框 18">
            <a:extLst>
              <a:ext uri="{FF2B5EF4-FFF2-40B4-BE49-F238E27FC236}">
                <a16:creationId xmlns:a16="http://schemas.microsoft.com/office/drawing/2014/main" id="{88DA280E-CE4B-49FD-96B4-A4965C6E9544}"/>
              </a:ext>
            </a:extLst>
          </p:cNvPr>
          <p:cNvSpPr txBox="1"/>
          <p:nvPr/>
        </p:nvSpPr>
        <p:spPr>
          <a:xfrm>
            <a:off x="8474745" y="4158813"/>
            <a:ext cx="1192633" cy="286233"/>
          </a:xfrm>
          <a:prstGeom prst="rect">
            <a:avLst/>
          </a:prstGeom>
          <a:noFill/>
          <a:effectLst/>
        </p:spPr>
        <p:txBody>
          <a:bodyPr wrap="none" lIns="0" tIns="0" rIns="0" bIns="0" rtlCol="0" anchor="t">
            <a:spAutoFit/>
          </a:bodyPr>
          <a:lstStyle/>
          <a:p>
            <a:r>
              <a:rPr lang="zh-CN" altLang="en-US" sz="1860" dirty="0">
                <a:solidFill>
                  <a:schemeClr val="bg1"/>
                </a:solidFill>
                <a:latin typeface="+mj-ea"/>
                <a:ea typeface="+mj-ea"/>
              </a:rPr>
              <a:t>关键词标题</a:t>
            </a:r>
          </a:p>
        </p:txBody>
      </p:sp>
      <p:sp>
        <p:nvSpPr>
          <p:cNvPr id="20" name="文本框 19">
            <a:extLst>
              <a:ext uri="{FF2B5EF4-FFF2-40B4-BE49-F238E27FC236}">
                <a16:creationId xmlns:a16="http://schemas.microsoft.com/office/drawing/2014/main" id="{2F12D69C-AC5E-474A-A8A6-3E1290A022AF}"/>
              </a:ext>
            </a:extLst>
          </p:cNvPr>
          <p:cNvSpPr txBox="1"/>
          <p:nvPr/>
        </p:nvSpPr>
        <p:spPr>
          <a:xfrm>
            <a:off x="8460253" y="4445044"/>
            <a:ext cx="2283947" cy="432271"/>
          </a:xfrm>
          <a:prstGeom prst="rect">
            <a:avLst/>
          </a:prstGeom>
          <a:noFill/>
          <a:effectLst/>
        </p:spPr>
        <p:txBody>
          <a:bodyPr wrap="square" lIns="0" tIns="0" rIns="0" bIns="0" rtlCol="0" anchor="t">
            <a:spAutoFit/>
          </a:bodyPr>
          <a:lstStyle/>
          <a:p>
            <a:pPr>
              <a:lnSpc>
                <a:spcPct val="130000"/>
              </a:lnSpc>
            </a:pPr>
            <a:r>
              <a:rPr lang="en-US" altLang="zh-CN" sz="1116" b="0" dirty="0">
                <a:solidFill>
                  <a:schemeClr val="bg1"/>
                </a:solidFill>
                <a:effectLst/>
                <a:latin typeface="+mn-ea"/>
              </a:rPr>
              <a:t>Lorem ipsum dolor onsectetur adipisicing elit</a:t>
            </a:r>
            <a:r>
              <a:rPr lang="en-US" altLang="zh-CN" sz="1116" dirty="0">
                <a:solidFill>
                  <a:schemeClr val="bg1"/>
                </a:solidFill>
                <a:latin typeface="+mn-ea"/>
              </a:rPr>
              <a:t> </a:t>
            </a:r>
            <a:r>
              <a:rPr lang="en-US" altLang="zh-CN" sz="1116" b="0" dirty="0">
                <a:solidFill>
                  <a:schemeClr val="bg1"/>
                </a:solidFill>
                <a:effectLst/>
                <a:latin typeface="+mn-ea"/>
              </a:rPr>
              <a:t>sed do eiusmod</a:t>
            </a:r>
            <a:endParaRPr lang="zh-CN" altLang="en-US" sz="1116" b="0" dirty="0">
              <a:solidFill>
                <a:schemeClr val="bg1"/>
              </a:solidFill>
              <a:effectLst/>
              <a:latin typeface="+mn-ea"/>
            </a:endParaRPr>
          </a:p>
        </p:txBody>
      </p:sp>
      <p:sp>
        <p:nvSpPr>
          <p:cNvPr id="27" name="图形 2169">
            <a:extLst>
              <a:ext uri="{FF2B5EF4-FFF2-40B4-BE49-F238E27FC236}">
                <a16:creationId xmlns:a16="http://schemas.microsoft.com/office/drawing/2014/main" id="{DC272B40-D39D-49BD-96ED-B7F7A7C9CFAB}"/>
              </a:ext>
            </a:extLst>
          </p:cNvPr>
          <p:cNvSpPr/>
          <p:nvPr/>
        </p:nvSpPr>
        <p:spPr>
          <a:xfrm flipH="1">
            <a:off x="4081351" y="4404107"/>
            <a:ext cx="213181" cy="268531"/>
          </a:xfrm>
          <a:custGeom>
            <a:avLst/>
            <a:gdLst>
              <a:gd name="connsiteX0" fmla="*/ 90069 w 244034"/>
              <a:gd name="connsiteY0" fmla="*/ 0 h 307394"/>
              <a:gd name="connsiteX1" fmla="*/ 0 w 244034"/>
              <a:gd name="connsiteY1" fmla="*/ 0 h 307394"/>
              <a:gd name="connsiteX2" fmla="*/ 153965 w 244034"/>
              <a:gd name="connsiteY2" fmla="*/ 153679 h 307394"/>
              <a:gd name="connsiteX3" fmla="*/ 0 w 244034"/>
              <a:gd name="connsiteY3" fmla="*/ 307394 h 307394"/>
              <a:gd name="connsiteX4" fmla="*/ 90069 w 244034"/>
              <a:gd name="connsiteY4" fmla="*/ 307394 h 307394"/>
              <a:gd name="connsiteX5" fmla="*/ 244035 w 244034"/>
              <a:gd name="connsiteY5" fmla="*/ 153679 h 3073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4034" h="307394">
                <a:moveTo>
                  <a:pt x="90069" y="0"/>
                </a:moveTo>
                <a:lnTo>
                  <a:pt x="0" y="0"/>
                </a:lnTo>
                <a:lnTo>
                  <a:pt x="153965" y="153679"/>
                </a:lnTo>
                <a:lnTo>
                  <a:pt x="0" y="307394"/>
                </a:lnTo>
                <a:lnTo>
                  <a:pt x="90069" y="307394"/>
                </a:lnTo>
                <a:lnTo>
                  <a:pt x="244035" y="153679"/>
                </a:lnTo>
                <a:close/>
              </a:path>
            </a:pathLst>
          </a:custGeom>
          <a:solidFill>
            <a:schemeClr val="accent1"/>
          </a:solidFill>
          <a:ln w="35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black"/>
              </a:solidFill>
              <a:effectLst/>
              <a:uLnTx/>
              <a:uFillTx/>
              <a:latin typeface="等线" panose="020F0502020204030204"/>
              <a:ea typeface="等线" panose="02010600030101010101" pitchFamily="2" charset="-122"/>
              <a:cs typeface="+mn-cs"/>
            </a:endParaRPr>
          </a:p>
        </p:txBody>
      </p:sp>
      <p:sp>
        <p:nvSpPr>
          <p:cNvPr id="28" name="图形 2169">
            <a:extLst>
              <a:ext uri="{FF2B5EF4-FFF2-40B4-BE49-F238E27FC236}">
                <a16:creationId xmlns:a16="http://schemas.microsoft.com/office/drawing/2014/main" id="{F9A3C7AF-C330-459F-BFA1-652ACE20203D}"/>
              </a:ext>
            </a:extLst>
          </p:cNvPr>
          <p:cNvSpPr/>
          <p:nvPr/>
        </p:nvSpPr>
        <p:spPr>
          <a:xfrm flipH="1">
            <a:off x="4230687" y="4404107"/>
            <a:ext cx="213181" cy="268531"/>
          </a:xfrm>
          <a:custGeom>
            <a:avLst/>
            <a:gdLst>
              <a:gd name="connsiteX0" fmla="*/ 90070 w 244034"/>
              <a:gd name="connsiteY0" fmla="*/ 0 h 307394"/>
              <a:gd name="connsiteX1" fmla="*/ 0 w 244034"/>
              <a:gd name="connsiteY1" fmla="*/ 0 h 307394"/>
              <a:gd name="connsiteX2" fmla="*/ 153966 w 244034"/>
              <a:gd name="connsiteY2" fmla="*/ 153679 h 307394"/>
              <a:gd name="connsiteX3" fmla="*/ 0 w 244034"/>
              <a:gd name="connsiteY3" fmla="*/ 307394 h 307394"/>
              <a:gd name="connsiteX4" fmla="*/ 90070 w 244034"/>
              <a:gd name="connsiteY4" fmla="*/ 307394 h 307394"/>
              <a:gd name="connsiteX5" fmla="*/ 244035 w 244034"/>
              <a:gd name="connsiteY5" fmla="*/ 153679 h 3073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4034" h="307394">
                <a:moveTo>
                  <a:pt x="90070" y="0"/>
                </a:moveTo>
                <a:lnTo>
                  <a:pt x="0" y="0"/>
                </a:lnTo>
                <a:lnTo>
                  <a:pt x="153966" y="153679"/>
                </a:lnTo>
                <a:lnTo>
                  <a:pt x="0" y="307394"/>
                </a:lnTo>
                <a:lnTo>
                  <a:pt x="90070" y="307394"/>
                </a:lnTo>
                <a:lnTo>
                  <a:pt x="244035" y="153679"/>
                </a:lnTo>
                <a:close/>
              </a:path>
            </a:pathLst>
          </a:custGeom>
          <a:solidFill>
            <a:schemeClr val="accent1"/>
          </a:solidFill>
          <a:ln w="35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black"/>
              </a:solidFill>
              <a:effectLst/>
              <a:uLnTx/>
              <a:uFillTx/>
              <a:latin typeface="等线" panose="020F0502020204030204"/>
              <a:ea typeface="等线" panose="02010600030101010101" pitchFamily="2" charset="-122"/>
              <a:cs typeface="+mn-cs"/>
            </a:endParaRPr>
          </a:p>
        </p:txBody>
      </p:sp>
      <p:sp>
        <p:nvSpPr>
          <p:cNvPr id="24" name="矩形: 圆角 23">
            <a:extLst>
              <a:ext uri="{FF2B5EF4-FFF2-40B4-BE49-F238E27FC236}">
                <a16:creationId xmlns:a16="http://schemas.microsoft.com/office/drawing/2014/main" id="{578D1DD3-B5FC-4F1D-8216-68AE4588C498}"/>
              </a:ext>
            </a:extLst>
          </p:cNvPr>
          <p:cNvSpPr/>
          <p:nvPr/>
        </p:nvSpPr>
        <p:spPr>
          <a:xfrm flipH="1">
            <a:off x="1356165" y="4023051"/>
            <a:ext cx="2576867" cy="1030642"/>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25" name="文本框 24">
            <a:extLst>
              <a:ext uri="{FF2B5EF4-FFF2-40B4-BE49-F238E27FC236}">
                <a16:creationId xmlns:a16="http://schemas.microsoft.com/office/drawing/2014/main" id="{766D3408-9AB6-4DA6-8960-A81B7BF717D9}"/>
              </a:ext>
            </a:extLst>
          </p:cNvPr>
          <p:cNvSpPr txBox="1"/>
          <p:nvPr/>
        </p:nvSpPr>
        <p:spPr>
          <a:xfrm flipH="1">
            <a:off x="2500819" y="4158813"/>
            <a:ext cx="1192633" cy="286233"/>
          </a:xfrm>
          <a:prstGeom prst="rect">
            <a:avLst/>
          </a:prstGeom>
          <a:noFill/>
          <a:effectLst/>
        </p:spPr>
        <p:txBody>
          <a:bodyPr wrap="none" lIns="0" tIns="0" rIns="0" bIns="0" rtlCol="0" anchor="t">
            <a:spAutoFit/>
          </a:bodyPr>
          <a:lstStyle/>
          <a:p>
            <a:pPr algn="r"/>
            <a:r>
              <a:rPr lang="zh-CN" altLang="en-US" sz="1860" dirty="0">
                <a:solidFill>
                  <a:schemeClr val="bg1"/>
                </a:solidFill>
                <a:latin typeface="+mj-ea"/>
                <a:ea typeface="+mj-ea"/>
              </a:rPr>
              <a:t>关键词标题</a:t>
            </a:r>
          </a:p>
        </p:txBody>
      </p:sp>
      <p:sp>
        <p:nvSpPr>
          <p:cNvPr id="26" name="文本框 25">
            <a:extLst>
              <a:ext uri="{FF2B5EF4-FFF2-40B4-BE49-F238E27FC236}">
                <a16:creationId xmlns:a16="http://schemas.microsoft.com/office/drawing/2014/main" id="{62A30F6E-0155-47B8-B2CA-4231D21B8A14}"/>
              </a:ext>
            </a:extLst>
          </p:cNvPr>
          <p:cNvSpPr txBox="1"/>
          <p:nvPr/>
        </p:nvSpPr>
        <p:spPr>
          <a:xfrm flipH="1">
            <a:off x="1409505" y="4445044"/>
            <a:ext cx="2283947" cy="432271"/>
          </a:xfrm>
          <a:prstGeom prst="rect">
            <a:avLst/>
          </a:prstGeom>
          <a:noFill/>
          <a:effectLst/>
        </p:spPr>
        <p:txBody>
          <a:bodyPr wrap="square" lIns="0" tIns="0" rIns="0" bIns="0" rtlCol="0" anchor="t">
            <a:spAutoFit/>
          </a:bodyPr>
          <a:lstStyle/>
          <a:p>
            <a:pPr algn="r">
              <a:lnSpc>
                <a:spcPct val="130000"/>
              </a:lnSpc>
            </a:pPr>
            <a:r>
              <a:rPr lang="en-US" altLang="zh-CN" sz="1116" b="0" dirty="0">
                <a:solidFill>
                  <a:schemeClr val="bg1"/>
                </a:solidFill>
                <a:effectLst/>
                <a:latin typeface="+mn-ea"/>
              </a:rPr>
              <a:t>Lorem ipsum dolor onsectetur adipisicing elit</a:t>
            </a:r>
            <a:r>
              <a:rPr lang="en-US" altLang="zh-CN" sz="1116" dirty="0">
                <a:solidFill>
                  <a:schemeClr val="bg1"/>
                </a:solidFill>
                <a:latin typeface="+mn-ea"/>
              </a:rPr>
              <a:t> </a:t>
            </a:r>
            <a:r>
              <a:rPr lang="en-US" altLang="zh-CN" sz="1116" b="0" dirty="0">
                <a:solidFill>
                  <a:schemeClr val="bg1"/>
                </a:solidFill>
                <a:effectLst/>
                <a:latin typeface="+mn-ea"/>
              </a:rPr>
              <a:t>sed do eiusmod</a:t>
            </a:r>
            <a:endParaRPr lang="zh-CN" altLang="en-US" sz="1116" b="0" dirty="0">
              <a:solidFill>
                <a:schemeClr val="bg1"/>
              </a:solidFill>
              <a:effectLst/>
              <a:latin typeface="+mn-ea"/>
            </a:endParaRPr>
          </a:p>
        </p:txBody>
      </p:sp>
      <p:grpSp>
        <p:nvGrpSpPr>
          <p:cNvPr id="29" name="组合 28">
            <a:extLst>
              <a:ext uri="{FF2B5EF4-FFF2-40B4-BE49-F238E27FC236}">
                <a16:creationId xmlns:a16="http://schemas.microsoft.com/office/drawing/2014/main" id="{75BCF503-4104-4094-AEB9-656BA2E3094A}"/>
              </a:ext>
            </a:extLst>
          </p:cNvPr>
          <p:cNvGrpSpPr/>
          <p:nvPr/>
        </p:nvGrpSpPr>
        <p:grpSpPr>
          <a:xfrm flipH="1">
            <a:off x="4081351" y="2491487"/>
            <a:ext cx="362517" cy="268531"/>
            <a:chOff x="7709837" y="2526554"/>
            <a:chExt cx="362517" cy="268531"/>
          </a:xfrm>
        </p:grpSpPr>
        <p:sp>
          <p:nvSpPr>
            <p:cNvPr id="30" name="图形 2169">
              <a:extLst>
                <a:ext uri="{FF2B5EF4-FFF2-40B4-BE49-F238E27FC236}">
                  <a16:creationId xmlns:a16="http://schemas.microsoft.com/office/drawing/2014/main" id="{29EE1E9C-1E10-486D-9D53-E33FBAD132A9}"/>
                </a:ext>
              </a:extLst>
            </p:cNvPr>
            <p:cNvSpPr/>
            <p:nvPr/>
          </p:nvSpPr>
          <p:spPr>
            <a:xfrm>
              <a:off x="7859173" y="2526554"/>
              <a:ext cx="213181" cy="268531"/>
            </a:xfrm>
            <a:custGeom>
              <a:avLst/>
              <a:gdLst>
                <a:gd name="connsiteX0" fmla="*/ 90069 w 244034"/>
                <a:gd name="connsiteY0" fmla="*/ 0 h 307394"/>
                <a:gd name="connsiteX1" fmla="*/ 0 w 244034"/>
                <a:gd name="connsiteY1" fmla="*/ 0 h 307394"/>
                <a:gd name="connsiteX2" fmla="*/ 153965 w 244034"/>
                <a:gd name="connsiteY2" fmla="*/ 153679 h 307394"/>
                <a:gd name="connsiteX3" fmla="*/ 0 w 244034"/>
                <a:gd name="connsiteY3" fmla="*/ 307394 h 307394"/>
                <a:gd name="connsiteX4" fmla="*/ 90069 w 244034"/>
                <a:gd name="connsiteY4" fmla="*/ 307394 h 307394"/>
                <a:gd name="connsiteX5" fmla="*/ 244035 w 244034"/>
                <a:gd name="connsiteY5" fmla="*/ 153679 h 3073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4034" h="307394">
                  <a:moveTo>
                    <a:pt x="90069" y="0"/>
                  </a:moveTo>
                  <a:lnTo>
                    <a:pt x="0" y="0"/>
                  </a:lnTo>
                  <a:lnTo>
                    <a:pt x="153965" y="153679"/>
                  </a:lnTo>
                  <a:lnTo>
                    <a:pt x="0" y="307394"/>
                  </a:lnTo>
                  <a:lnTo>
                    <a:pt x="90069" y="307394"/>
                  </a:lnTo>
                  <a:lnTo>
                    <a:pt x="244035" y="153679"/>
                  </a:lnTo>
                  <a:close/>
                </a:path>
              </a:pathLst>
            </a:custGeom>
            <a:solidFill>
              <a:schemeClr val="accent1"/>
            </a:solidFill>
            <a:ln w="35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black"/>
                </a:solidFill>
                <a:effectLst/>
                <a:uLnTx/>
                <a:uFillTx/>
                <a:latin typeface="等线" panose="020F0502020204030204"/>
                <a:ea typeface="等线" panose="02010600030101010101" pitchFamily="2" charset="-122"/>
                <a:cs typeface="+mn-cs"/>
              </a:endParaRPr>
            </a:p>
          </p:txBody>
        </p:sp>
        <p:sp>
          <p:nvSpPr>
            <p:cNvPr id="31" name="图形 2169">
              <a:extLst>
                <a:ext uri="{FF2B5EF4-FFF2-40B4-BE49-F238E27FC236}">
                  <a16:creationId xmlns:a16="http://schemas.microsoft.com/office/drawing/2014/main" id="{3446B0F7-8332-40C0-9F57-9639ABD83C1C}"/>
                </a:ext>
              </a:extLst>
            </p:cNvPr>
            <p:cNvSpPr/>
            <p:nvPr/>
          </p:nvSpPr>
          <p:spPr>
            <a:xfrm>
              <a:off x="7709837" y="2526554"/>
              <a:ext cx="213181" cy="268531"/>
            </a:xfrm>
            <a:custGeom>
              <a:avLst/>
              <a:gdLst>
                <a:gd name="connsiteX0" fmla="*/ 90070 w 244034"/>
                <a:gd name="connsiteY0" fmla="*/ 0 h 307394"/>
                <a:gd name="connsiteX1" fmla="*/ 0 w 244034"/>
                <a:gd name="connsiteY1" fmla="*/ 0 h 307394"/>
                <a:gd name="connsiteX2" fmla="*/ 153966 w 244034"/>
                <a:gd name="connsiteY2" fmla="*/ 153679 h 307394"/>
                <a:gd name="connsiteX3" fmla="*/ 0 w 244034"/>
                <a:gd name="connsiteY3" fmla="*/ 307394 h 307394"/>
                <a:gd name="connsiteX4" fmla="*/ 90070 w 244034"/>
                <a:gd name="connsiteY4" fmla="*/ 307394 h 307394"/>
                <a:gd name="connsiteX5" fmla="*/ 244035 w 244034"/>
                <a:gd name="connsiteY5" fmla="*/ 153679 h 3073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4034" h="307394">
                  <a:moveTo>
                    <a:pt x="90070" y="0"/>
                  </a:moveTo>
                  <a:lnTo>
                    <a:pt x="0" y="0"/>
                  </a:lnTo>
                  <a:lnTo>
                    <a:pt x="153966" y="153679"/>
                  </a:lnTo>
                  <a:lnTo>
                    <a:pt x="0" y="307394"/>
                  </a:lnTo>
                  <a:lnTo>
                    <a:pt x="90070" y="307394"/>
                  </a:lnTo>
                  <a:lnTo>
                    <a:pt x="244035" y="153679"/>
                  </a:lnTo>
                  <a:close/>
                </a:path>
              </a:pathLst>
            </a:custGeom>
            <a:solidFill>
              <a:schemeClr val="accent1"/>
            </a:solidFill>
            <a:ln w="35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black"/>
                </a:solidFill>
                <a:effectLst/>
                <a:uLnTx/>
                <a:uFillTx/>
                <a:latin typeface="等线" panose="020F0502020204030204"/>
                <a:ea typeface="等线" panose="02010600030101010101" pitchFamily="2" charset="-122"/>
                <a:cs typeface="+mn-cs"/>
              </a:endParaRPr>
            </a:p>
          </p:txBody>
        </p:sp>
      </p:grpSp>
      <p:sp>
        <p:nvSpPr>
          <p:cNvPr id="32" name="矩形: 圆角 31">
            <a:extLst>
              <a:ext uri="{FF2B5EF4-FFF2-40B4-BE49-F238E27FC236}">
                <a16:creationId xmlns:a16="http://schemas.microsoft.com/office/drawing/2014/main" id="{4F8A1597-363A-4989-837E-F44FF0537FE1}"/>
              </a:ext>
            </a:extLst>
          </p:cNvPr>
          <p:cNvSpPr/>
          <p:nvPr/>
        </p:nvSpPr>
        <p:spPr>
          <a:xfrm flipH="1">
            <a:off x="1356165" y="2110431"/>
            <a:ext cx="2576867" cy="1030642"/>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33" name="文本框 32">
            <a:extLst>
              <a:ext uri="{FF2B5EF4-FFF2-40B4-BE49-F238E27FC236}">
                <a16:creationId xmlns:a16="http://schemas.microsoft.com/office/drawing/2014/main" id="{D228057B-675C-49A4-8B6E-E3FD408B2055}"/>
              </a:ext>
            </a:extLst>
          </p:cNvPr>
          <p:cNvSpPr txBox="1"/>
          <p:nvPr/>
        </p:nvSpPr>
        <p:spPr>
          <a:xfrm flipH="1">
            <a:off x="2500819" y="2238573"/>
            <a:ext cx="1192633" cy="286233"/>
          </a:xfrm>
          <a:prstGeom prst="rect">
            <a:avLst/>
          </a:prstGeom>
          <a:noFill/>
          <a:effectLst/>
        </p:spPr>
        <p:txBody>
          <a:bodyPr wrap="none" lIns="0" tIns="0" rIns="0" bIns="0" rtlCol="0" anchor="t">
            <a:spAutoFit/>
          </a:bodyPr>
          <a:lstStyle/>
          <a:p>
            <a:pPr algn="r"/>
            <a:r>
              <a:rPr lang="zh-CN" altLang="en-US" sz="1860" dirty="0">
                <a:solidFill>
                  <a:schemeClr val="bg1"/>
                </a:solidFill>
                <a:latin typeface="+mj-ea"/>
                <a:ea typeface="+mj-ea"/>
              </a:rPr>
              <a:t>关键词标题</a:t>
            </a:r>
          </a:p>
        </p:txBody>
      </p:sp>
      <p:sp>
        <p:nvSpPr>
          <p:cNvPr id="34" name="文本框 33">
            <a:extLst>
              <a:ext uri="{FF2B5EF4-FFF2-40B4-BE49-F238E27FC236}">
                <a16:creationId xmlns:a16="http://schemas.microsoft.com/office/drawing/2014/main" id="{FF6AF0B7-38CF-45EA-85EF-1AF91EDF41F0}"/>
              </a:ext>
            </a:extLst>
          </p:cNvPr>
          <p:cNvSpPr txBox="1"/>
          <p:nvPr/>
        </p:nvSpPr>
        <p:spPr>
          <a:xfrm flipH="1">
            <a:off x="1409505" y="2524804"/>
            <a:ext cx="2283947" cy="432271"/>
          </a:xfrm>
          <a:prstGeom prst="rect">
            <a:avLst/>
          </a:prstGeom>
          <a:noFill/>
          <a:effectLst/>
        </p:spPr>
        <p:txBody>
          <a:bodyPr wrap="square" lIns="0" tIns="0" rIns="0" bIns="0" rtlCol="0" anchor="t">
            <a:spAutoFit/>
          </a:bodyPr>
          <a:lstStyle/>
          <a:p>
            <a:pPr algn="r">
              <a:lnSpc>
                <a:spcPct val="130000"/>
              </a:lnSpc>
            </a:pPr>
            <a:r>
              <a:rPr lang="en-US" altLang="zh-CN" sz="1116" b="0" dirty="0">
                <a:solidFill>
                  <a:schemeClr val="bg1"/>
                </a:solidFill>
                <a:effectLst/>
                <a:latin typeface="+mn-ea"/>
              </a:rPr>
              <a:t>Lorem ipsum dolor onsectetur adipisicing elit</a:t>
            </a:r>
            <a:r>
              <a:rPr lang="en-US" altLang="zh-CN" sz="1116" dirty="0">
                <a:solidFill>
                  <a:schemeClr val="bg1"/>
                </a:solidFill>
                <a:latin typeface="+mn-ea"/>
              </a:rPr>
              <a:t> </a:t>
            </a:r>
            <a:r>
              <a:rPr lang="en-US" altLang="zh-CN" sz="1116" b="0" dirty="0">
                <a:solidFill>
                  <a:schemeClr val="bg1"/>
                </a:solidFill>
                <a:effectLst/>
                <a:latin typeface="+mn-ea"/>
              </a:rPr>
              <a:t>sed do eiusmod</a:t>
            </a:r>
            <a:endParaRPr lang="zh-CN" altLang="en-US" sz="1116" b="0" dirty="0">
              <a:solidFill>
                <a:schemeClr val="bg1"/>
              </a:solidFill>
              <a:effectLst/>
              <a:latin typeface="+mn-ea"/>
            </a:endParaRPr>
          </a:p>
        </p:txBody>
      </p:sp>
      <p:sp>
        <p:nvSpPr>
          <p:cNvPr id="35" name="iconfont-1187-868110">
            <a:extLst>
              <a:ext uri="{FF2B5EF4-FFF2-40B4-BE49-F238E27FC236}">
                <a16:creationId xmlns:a16="http://schemas.microsoft.com/office/drawing/2014/main" id="{1B7A633E-116B-4414-9AE4-5988F0A28455}"/>
              </a:ext>
            </a:extLst>
          </p:cNvPr>
          <p:cNvSpPr/>
          <p:nvPr/>
        </p:nvSpPr>
        <p:spPr>
          <a:xfrm>
            <a:off x="4804584" y="2436937"/>
            <a:ext cx="432594" cy="377629"/>
          </a:xfrm>
          <a:custGeom>
            <a:avLst/>
            <a:gdLst>
              <a:gd name="connsiteX0" fmla="*/ 424975 w 608697"/>
              <a:gd name="connsiteY0" fmla="*/ 168488 h 531358"/>
              <a:gd name="connsiteX1" fmla="*/ 387604 w 608697"/>
              <a:gd name="connsiteY1" fmla="*/ 205806 h 531358"/>
              <a:gd name="connsiteX2" fmla="*/ 424975 w 608697"/>
              <a:gd name="connsiteY2" fmla="*/ 243124 h 531358"/>
              <a:gd name="connsiteX3" fmla="*/ 462346 w 608697"/>
              <a:gd name="connsiteY3" fmla="*/ 205806 h 531358"/>
              <a:gd name="connsiteX4" fmla="*/ 424975 w 608697"/>
              <a:gd name="connsiteY4" fmla="*/ 168488 h 531358"/>
              <a:gd name="connsiteX5" fmla="*/ 287947 w 608697"/>
              <a:gd name="connsiteY5" fmla="*/ 168488 h 531358"/>
              <a:gd name="connsiteX6" fmla="*/ 250576 w 608697"/>
              <a:gd name="connsiteY6" fmla="*/ 205806 h 531358"/>
              <a:gd name="connsiteX7" fmla="*/ 287947 w 608697"/>
              <a:gd name="connsiteY7" fmla="*/ 243124 h 531358"/>
              <a:gd name="connsiteX8" fmla="*/ 325318 w 608697"/>
              <a:gd name="connsiteY8" fmla="*/ 205806 h 531358"/>
              <a:gd name="connsiteX9" fmla="*/ 287947 w 608697"/>
              <a:gd name="connsiteY9" fmla="*/ 168488 h 531358"/>
              <a:gd name="connsiteX10" fmla="*/ 102356 w 608697"/>
              <a:gd name="connsiteY10" fmla="*/ 121231 h 531358"/>
              <a:gd name="connsiteX11" fmla="*/ 98850 w 608697"/>
              <a:gd name="connsiteY11" fmla="*/ 127711 h 531358"/>
              <a:gd name="connsiteX12" fmla="*/ 76842 w 608697"/>
              <a:gd name="connsiteY12" fmla="*/ 217990 h 531358"/>
              <a:gd name="connsiteX13" fmla="*/ 98850 w 608697"/>
              <a:gd name="connsiteY13" fmla="*/ 308194 h 531358"/>
              <a:gd name="connsiteX14" fmla="*/ 157488 w 608697"/>
              <a:gd name="connsiteY14" fmla="*/ 380223 h 531358"/>
              <a:gd name="connsiteX15" fmla="*/ 344668 w 608697"/>
              <a:gd name="connsiteY15" fmla="*/ 444729 h 531358"/>
              <a:gd name="connsiteX16" fmla="*/ 370257 w 608697"/>
              <a:gd name="connsiteY16" fmla="*/ 443687 h 531358"/>
              <a:gd name="connsiteX17" fmla="*/ 236717 w 608697"/>
              <a:gd name="connsiteY17" fmla="*/ 477876 h 531358"/>
              <a:gd name="connsiteX18" fmla="*/ 198072 w 608697"/>
              <a:gd name="connsiteY18" fmla="*/ 475344 h 531358"/>
              <a:gd name="connsiteX19" fmla="*/ 82437 w 608697"/>
              <a:gd name="connsiteY19" fmla="*/ 531284 h 531358"/>
              <a:gd name="connsiteX20" fmla="*/ 81542 w 608697"/>
              <a:gd name="connsiteY20" fmla="*/ 531358 h 531358"/>
              <a:gd name="connsiteX21" fmla="*/ 75051 w 608697"/>
              <a:gd name="connsiteY21" fmla="*/ 527857 h 531358"/>
              <a:gd name="connsiteX22" fmla="*/ 74753 w 608697"/>
              <a:gd name="connsiteY22" fmla="*/ 519738 h 531358"/>
              <a:gd name="connsiteX23" fmla="*/ 88778 w 608697"/>
              <a:gd name="connsiteY23" fmla="*/ 435046 h 531358"/>
              <a:gd name="connsiteX24" fmla="*/ 0 w 608697"/>
              <a:gd name="connsiteY24" fmla="*/ 282198 h 531358"/>
              <a:gd name="connsiteX25" fmla="*/ 102356 w 608697"/>
              <a:gd name="connsiteY25" fmla="*/ 121231 h 531358"/>
              <a:gd name="connsiteX26" fmla="*/ 356424 w 608697"/>
              <a:gd name="connsiteY26" fmla="*/ 0 h 531358"/>
              <a:gd name="connsiteX27" fmla="*/ 608697 w 608697"/>
              <a:gd name="connsiteY27" fmla="*/ 211244 h 531358"/>
              <a:gd name="connsiteX28" fmla="*/ 518290 w 608697"/>
              <a:gd name="connsiteY28" fmla="*/ 373401 h 531358"/>
              <a:gd name="connsiteX29" fmla="*/ 531941 w 608697"/>
              <a:gd name="connsiteY29" fmla="*/ 441109 h 531358"/>
              <a:gd name="connsiteX30" fmla="*/ 531120 w 608697"/>
              <a:gd name="connsiteY30" fmla="*/ 465391 h 531358"/>
              <a:gd name="connsiteX31" fmla="*/ 511577 w 608697"/>
              <a:gd name="connsiteY31" fmla="*/ 475894 h 531358"/>
              <a:gd name="connsiteX32" fmla="*/ 509041 w 608697"/>
              <a:gd name="connsiteY32" fmla="*/ 475745 h 531358"/>
              <a:gd name="connsiteX33" fmla="*/ 391408 w 608697"/>
              <a:gd name="connsiteY33" fmla="*/ 420476 h 531358"/>
              <a:gd name="connsiteX34" fmla="*/ 356424 w 608697"/>
              <a:gd name="connsiteY34" fmla="*/ 422487 h 531358"/>
              <a:gd name="connsiteX35" fmla="*/ 104225 w 608697"/>
              <a:gd name="connsiteY35" fmla="*/ 211244 h 531358"/>
              <a:gd name="connsiteX36" fmla="*/ 356424 w 608697"/>
              <a:gd name="connsiteY36" fmla="*/ 0 h 5313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608697" h="531358">
                <a:moveTo>
                  <a:pt x="424975" y="168488"/>
                </a:moveTo>
                <a:cubicBezTo>
                  <a:pt x="404312" y="168488"/>
                  <a:pt x="387604" y="185248"/>
                  <a:pt x="387604" y="205806"/>
                </a:cubicBezTo>
                <a:cubicBezTo>
                  <a:pt x="387604" y="226439"/>
                  <a:pt x="404312" y="243124"/>
                  <a:pt x="424975" y="243124"/>
                </a:cubicBezTo>
                <a:cubicBezTo>
                  <a:pt x="445562" y="243124"/>
                  <a:pt x="462346" y="226439"/>
                  <a:pt x="462346" y="205806"/>
                </a:cubicBezTo>
                <a:cubicBezTo>
                  <a:pt x="462346" y="185248"/>
                  <a:pt x="445637" y="168488"/>
                  <a:pt x="424975" y="168488"/>
                </a:cubicBezTo>
                <a:close/>
                <a:moveTo>
                  <a:pt x="287947" y="168488"/>
                </a:moveTo>
                <a:cubicBezTo>
                  <a:pt x="267285" y="168488"/>
                  <a:pt x="250576" y="185248"/>
                  <a:pt x="250576" y="205806"/>
                </a:cubicBezTo>
                <a:cubicBezTo>
                  <a:pt x="250576" y="226439"/>
                  <a:pt x="267285" y="243124"/>
                  <a:pt x="287947" y="243124"/>
                </a:cubicBezTo>
                <a:cubicBezTo>
                  <a:pt x="308610" y="243124"/>
                  <a:pt x="325318" y="226439"/>
                  <a:pt x="325318" y="205806"/>
                </a:cubicBezTo>
                <a:cubicBezTo>
                  <a:pt x="325318" y="185248"/>
                  <a:pt x="308610" y="168488"/>
                  <a:pt x="287947" y="168488"/>
                </a:cubicBezTo>
                <a:close/>
                <a:moveTo>
                  <a:pt x="102356" y="121231"/>
                </a:moveTo>
                <a:cubicBezTo>
                  <a:pt x="101162" y="123317"/>
                  <a:pt x="99969" y="125477"/>
                  <a:pt x="98850" y="127711"/>
                </a:cubicBezTo>
                <a:cubicBezTo>
                  <a:pt x="84227" y="156240"/>
                  <a:pt x="76842" y="186631"/>
                  <a:pt x="76842" y="217990"/>
                </a:cubicBezTo>
                <a:cubicBezTo>
                  <a:pt x="76842" y="249275"/>
                  <a:pt x="84227" y="279666"/>
                  <a:pt x="98850" y="308194"/>
                </a:cubicBezTo>
                <a:cubicBezTo>
                  <a:pt x="112726" y="335308"/>
                  <a:pt x="132496" y="359516"/>
                  <a:pt x="157488" y="380223"/>
                </a:cubicBezTo>
                <a:cubicBezTo>
                  <a:pt x="207845" y="421787"/>
                  <a:pt x="274317" y="444729"/>
                  <a:pt x="344668" y="444729"/>
                </a:cubicBezTo>
                <a:cubicBezTo>
                  <a:pt x="353173" y="444729"/>
                  <a:pt x="361752" y="444357"/>
                  <a:pt x="370257" y="443687"/>
                </a:cubicBezTo>
                <a:cubicBezTo>
                  <a:pt x="332209" y="465288"/>
                  <a:pt x="286254" y="477876"/>
                  <a:pt x="236717" y="477876"/>
                </a:cubicBezTo>
                <a:cubicBezTo>
                  <a:pt x="223736" y="477876"/>
                  <a:pt x="210755" y="477057"/>
                  <a:pt x="198072" y="475344"/>
                </a:cubicBezTo>
                <a:cubicBezTo>
                  <a:pt x="160397" y="499478"/>
                  <a:pt x="110637" y="528155"/>
                  <a:pt x="82437" y="531284"/>
                </a:cubicBezTo>
                <a:cubicBezTo>
                  <a:pt x="82138" y="531358"/>
                  <a:pt x="81840" y="531358"/>
                  <a:pt x="81542" y="531358"/>
                </a:cubicBezTo>
                <a:cubicBezTo>
                  <a:pt x="78930" y="531358"/>
                  <a:pt x="76469" y="530017"/>
                  <a:pt x="75051" y="527857"/>
                </a:cubicBezTo>
                <a:cubicBezTo>
                  <a:pt x="73410" y="525399"/>
                  <a:pt x="73335" y="522271"/>
                  <a:pt x="74753" y="519738"/>
                </a:cubicBezTo>
                <a:cubicBezTo>
                  <a:pt x="75051" y="519291"/>
                  <a:pt x="99223" y="476014"/>
                  <a:pt x="88778" y="435046"/>
                </a:cubicBezTo>
                <a:cubicBezTo>
                  <a:pt x="32303" y="397653"/>
                  <a:pt x="0" y="342160"/>
                  <a:pt x="0" y="282198"/>
                </a:cubicBezTo>
                <a:cubicBezTo>
                  <a:pt x="0" y="215532"/>
                  <a:pt x="40584" y="156538"/>
                  <a:pt x="102356" y="121231"/>
                </a:cubicBezTo>
                <a:close/>
                <a:moveTo>
                  <a:pt x="356424" y="0"/>
                </a:moveTo>
                <a:cubicBezTo>
                  <a:pt x="495540" y="0"/>
                  <a:pt x="608697" y="94747"/>
                  <a:pt x="608697" y="211244"/>
                </a:cubicBezTo>
                <a:cubicBezTo>
                  <a:pt x="608697" y="274408"/>
                  <a:pt x="575802" y="333178"/>
                  <a:pt x="518290" y="373401"/>
                </a:cubicBezTo>
                <a:cubicBezTo>
                  <a:pt x="512845" y="406324"/>
                  <a:pt x="531717" y="440811"/>
                  <a:pt x="531941" y="441109"/>
                </a:cubicBezTo>
                <a:cubicBezTo>
                  <a:pt x="536267" y="448781"/>
                  <a:pt x="535969" y="458092"/>
                  <a:pt x="531120" y="465391"/>
                </a:cubicBezTo>
                <a:cubicBezTo>
                  <a:pt x="526794" y="472021"/>
                  <a:pt x="519484" y="475894"/>
                  <a:pt x="511577" y="475894"/>
                </a:cubicBezTo>
                <a:cubicBezTo>
                  <a:pt x="510756" y="475894"/>
                  <a:pt x="509936" y="475894"/>
                  <a:pt x="509041" y="475745"/>
                </a:cubicBezTo>
                <a:cubicBezTo>
                  <a:pt x="484574" y="473064"/>
                  <a:pt x="444966" y="454442"/>
                  <a:pt x="391408" y="420476"/>
                </a:cubicBezTo>
                <a:cubicBezTo>
                  <a:pt x="379920" y="421817"/>
                  <a:pt x="368135" y="422487"/>
                  <a:pt x="356424" y="422487"/>
                </a:cubicBezTo>
                <a:cubicBezTo>
                  <a:pt x="217382" y="422487"/>
                  <a:pt x="104225" y="327741"/>
                  <a:pt x="104225" y="211244"/>
                </a:cubicBezTo>
                <a:cubicBezTo>
                  <a:pt x="104225" y="94747"/>
                  <a:pt x="217382" y="0"/>
                  <a:pt x="356424"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sp>
        <p:nvSpPr>
          <p:cNvPr id="36" name="iconfont-1187-868110">
            <a:extLst>
              <a:ext uri="{FF2B5EF4-FFF2-40B4-BE49-F238E27FC236}">
                <a16:creationId xmlns:a16="http://schemas.microsoft.com/office/drawing/2014/main" id="{05094FF6-4F9E-40A0-9499-5204D8E73963}"/>
              </a:ext>
            </a:extLst>
          </p:cNvPr>
          <p:cNvSpPr/>
          <p:nvPr/>
        </p:nvSpPr>
        <p:spPr>
          <a:xfrm>
            <a:off x="4838106" y="4366317"/>
            <a:ext cx="333496" cy="344110"/>
          </a:xfrm>
          <a:custGeom>
            <a:avLst/>
            <a:gdLst>
              <a:gd name="T0" fmla="*/ 40 w 7790"/>
              <a:gd name="T1" fmla="*/ 0 h 8036"/>
              <a:gd name="T2" fmla="*/ 3458 w 7790"/>
              <a:gd name="T3" fmla="*/ 0 h 8036"/>
              <a:gd name="T4" fmla="*/ 3458 w 7790"/>
              <a:gd name="T5" fmla="*/ 3418 h 8036"/>
              <a:gd name="T6" fmla="*/ 40 w 7790"/>
              <a:gd name="T7" fmla="*/ 3418 h 8036"/>
              <a:gd name="T8" fmla="*/ 40 w 7790"/>
              <a:gd name="T9" fmla="*/ 0 h 8036"/>
              <a:gd name="T10" fmla="*/ 7790 w 7790"/>
              <a:gd name="T11" fmla="*/ 1695 h 8036"/>
              <a:gd name="T12" fmla="*/ 6170 w 7790"/>
              <a:gd name="T13" fmla="*/ 103 h 8036"/>
              <a:gd name="T14" fmla="*/ 4577 w 7790"/>
              <a:gd name="T15" fmla="*/ 1723 h 8036"/>
              <a:gd name="T16" fmla="*/ 6198 w 7790"/>
              <a:gd name="T17" fmla="*/ 3316 h 8036"/>
              <a:gd name="T18" fmla="*/ 7790 w 7790"/>
              <a:gd name="T19" fmla="*/ 1695 h 8036"/>
              <a:gd name="T20" fmla="*/ 0 w 7790"/>
              <a:gd name="T21" fmla="*/ 4618 h 8036"/>
              <a:gd name="T22" fmla="*/ 3417 w 7790"/>
              <a:gd name="T23" fmla="*/ 4618 h 8036"/>
              <a:gd name="T24" fmla="*/ 3417 w 7790"/>
              <a:gd name="T25" fmla="*/ 8036 h 8036"/>
              <a:gd name="T26" fmla="*/ 0 w 7790"/>
              <a:gd name="T27" fmla="*/ 8036 h 8036"/>
              <a:gd name="T28" fmla="*/ 0 w 7790"/>
              <a:gd name="T29" fmla="*/ 4618 h 8036"/>
              <a:gd name="T30" fmla="*/ 4353 w 7790"/>
              <a:gd name="T31" fmla="*/ 4618 h 8036"/>
              <a:gd name="T32" fmla="*/ 7770 w 7790"/>
              <a:gd name="T33" fmla="*/ 4618 h 8036"/>
              <a:gd name="T34" fmla="*/ 7770 w 7790"/>
              <a:gd name="T35" fmla="*/ 8036 h 8036"/>
              <a:gd name="T36" fmla="*/ 4353 w 7790"/>
              <a:gd name="T37" fmla="*/ 8036 h 8036"/>
              <a:gd name="T38" fmla="*/ 4353 w 7790"/>
              <a:gd name="T39" fmla="*/ 4618 h 8036"/>
              <a:gd name="T40" fmla="*/ 4353 w 7790"/>
              <a:gd name="T41" fmla="*/ 4618 h 80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790" h="8036">
                <a:moveTo>
                  <a:pt x="40" y="0"/>
                </a:moveTo>
                <a:lnTo>
                  <a:pt x="3458" y="0"/>
                </a:lnTo>
                <a:lnTo>
                  <a:pt x="3458" y="3418"/>
                </a:lnTo>
                <a:lnTo>
                  <a:pt x="40" y="3418"/>
                </a:lnTo>
                <a:lnTo>
                  <a:pt x="40" y="0"/>
                </a:lnTo>
                <a:close/>
                <a:moveTo>
                  <a:pt x="7790" y="1695"/>
                </a:moveTo>
                <a:lnTo>
                  <a:pt x="6170" y="103"/>
                </a:lnTo>
                <a:lnTo>
                  <a:pt x="4577" y="1723"/>
                </a:lnTo>
                <a:lnTo>
                  <a:pt x="6198" y="3316"/>
                </a:lnTo>
                <a:lnTo>
                  <a:pt x="7790" y="1695"/>
                </a:lnTo>
                <a:close/>
                <a:moveTo>
                  <a:pt x="0" y="4618"/>
                </a:moveTo>
                <a:lnTo>
                  <a:pt x="3417" y="4618"/>
                </a:lnTo>
                <a:lnTo>
                  <a:pt x="3417" y="8036"/>
                </a:lnTo>
                <a:lnTo>
                  <a:pt x="0" y="8036"/>
                </a:lnTo>
                <a:lnTo>
                  <a:pt x="0" y="4618"/>
                </a:lnTo>
                <a:close/>
                <a:moveTo>
                  <a:pt x="4353" y="4618"/>
                </a:moveTo>
                <a:lnTo>
                  <a:pt x="7770" y="4618"/>
                </a:lnTo>
                <a:lnTo>
                  <a:pt x="7770" y="8036"/>
                </a:lnTo>
                <a:lnTo>
                  <a:pt x="4353" y="8036"/>
                </a:lnTo>
                <a:lnTo>
                  <a:pt x="4353" y="4618"/>
                </a:lnTo>
                <a:close/>
                <a:moveTo>
                  <a:pt x="4353" y="4618"/>
                </a:move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sp>
        <p:nvSpPr>
          <p:cNvPr id="37" name="iconfont-1187-868110">
            <a:extLst>
              <a:ext uri="{FF2B5EF4-FFF2-40B4-BE49-F238E27FC236}">
                <a16:creationId xmlns:a16="http://schemas.microsoft.com/office/drawing/2014/main" id="{3FAB1206-3095-4D9D-A903-65AB0DF1DDAC}"/>
              </a:ext>
            </a:extLst>
          </p:cNvPr>
          <p:cNvSpPr/>
          <p:nvPr/>
        </p:nvSpPr>
        <p:spPr>
          <a:xfrm>
            <a:off x="6940555" y="4331959"/>
            <a:ext cx="294502" cy="344110"/>
          </a:xfrm>
          <a:custGeom>
            <a:avLst/>
            <a:gdLst>
              <a:gd name="T0" fmla="*/ 8209 w 10908"/>
              <a:gd name="T1" fmla="*/ 2143 h 12744"/>
              <a:gd name="T2" fmla="*/ 8209 w 10908"/>
              <a:gd name="T3" fmla="*/ 1057 h 12744"/>
              <a:gd name="T4" fmla="*/ 7124 w 10908"/>
              <a:gd name="T5" fmla="*/ 0 h 12744"/>
              <a:gd name="T6" fmla="*/ 3840 w 10908"/>
              <a:gd name="T7" fmla="*/ 0 h 12744"/>
              <a:gd name="T8" fmla="*/ 2755 w 10908"/>
              <a:gd name="T9" fmla="*/ 1057 h 12744"/>
              <a:gd name="T10" fmla="*/ 2755 w 10908"/>
              <a:gd name="T11" fmla="*/ 2115 h 12744"/>
              <a:gd name="T12" fmla="*/ 0 w 10908"/>
              <a:gd name="T13" fmla="*/ 2115 h 12744"/>
              <a:gd name="T14" fmla="*/ 0 w 10908"/>
              <a:gd name="T15" fmla="*/ 3172 h 12744"/>
              <a:gd name="T16" fmla="*/ 1085 w 10908"/>
              <a:gd name="T17" fmla="*/ 3172 h 12744"/>
              <a:gd name="T18" fmla="*/ 1085 w 10908"/>
              <a:gd name="T19" fmla="*/ 11687 h 12744"/>
              <a:gd name="T20" fmla="*/ 2171 w 10908"/>
              <a:gd name="T21" fmla="*/ 12744 h 12744"/>
              <a:gd name="T22" fmla="*/ 8738 w 10908"/>
              <a:gd name="T23" fmla="*/ 12744 h 12744"/>
              <a:gd name="T24" fmla="*/ 9823 w 10908"/>
              <a:gd name="T25" fmla="*/ 11687 h 12744"/>
              <a:gd name="T26" fmla="*/ 9823 w 10908"/>
              <a:gd name="T27" fmla="*/ 3200 h 12744"/>
              <a:gd name="T28" fmla="*/ 10908 w 10908"/>
              <a:gd name="T29" fmla="*/ 3200 h 12744"/>
              <a:gd name="T30" fmla="*/ 10908 w 10908"/>
              <a:gd name="T31" fmla="*/ 2143 h 12744"/>
              <a:gd name="T32" fmla="*/ 8209 w 10908"/>
              <a:gd name="T33" fmla="*/ 2143 h 12744"/>
              <a:gd name="T34" fmla="*/ 4870 w 10908"/>
              <a:gd name="T35" fmla="*/ 10963 h 12744"/>
              <a:gd name="T36" fmla="*/ 3645 w 10908"/>
              <a:gd name="T37" fmla="*/ 10963 h 12744"/>
              <a:gd name="T38" fmla="*/ 3645 w 10908"/>
              <a:gd name="T39" fmla="*/ 4257 h 12744"/>
              <a:gd name="T40" fmla="*/ 4870 w 10908"/>
              <a:gd name="T41" fmla="*/ 4257 h 12744"/>
              <a:gd name="T42" fmla="*/ 4870 w 10908"/>
              <a:gd name="T43" fmla="*/ 10963 h 12744"/>
              <a:gd name="T44" fmla="*/ 7319 w 10908"/>
              <a:gd name="T45" fmla="*/ 10963 h 12744"/>
              <a:gd name="T46" fmla="*/ 6094 w 10908"/>
              <a:gd name="T47" fmla="*/ 10963 h 12744"/>
              <a:gd name="T48" fmla="*/ 6094 w 10908"/>
              <a:gd name="T49" fmla="*/ 4257 h 12744"/>
              <a:gd name="T50" fmla="*/ 7319 w 10908"/>
              <a:gd name="T51" fmla="*/ 4257 h 12744"/>
              <a:gd name="T52" fmla="*/ 7319 w 10908"/>
              <a:gd name="T53" fmla="*/ 10963 h 127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0908" h="12744">
                <a:moveTo>
                  <a:pt x="8209" y="2143"/>
                </a:moveTo>
                <a:lnTo>
                  <a:pt x="8209" y="1057"/>
                </a:lnTo>
                <a:cubicBezTo>
                  <a:pt x="8209" y="473"/>
                  <a:pt x="7708" y="0"/>
                  <a:pt x="7124" y="0"/>
                </a:cubicBezTo>
                <a:lnTo>
                  <a:pt x="3840" y="0"/>
                </a:lnTo>
                <a:cubicBezTo>
                  <a:pt x="3228" y="0"/>
                  <a:pt x="2755" y="473"/>
                  <a:pt x="2755" y="1057"/>
                </a:cubicBezTo>
                <a:lnTo>
                  <a:pt x="2755" y="2115"/>
                </a:lnTo>
                <a:lnTo>
                  <a:pt x="0" y="2115"/>
                </a:lnTo>
                <a:lnTo>
                  <a:pt x="0" y="3172"/>
                </a:lnTo>
                <a:lnTo>
                  <a:pt x="1085" y="3172"/>
                </a:lnTo>
                <a:lnTo>
                  <a:pt x="1085" y="11687"/>
                </a:lnTo>
                <a:cubicBezTo>
                  <a:pt x="1085" y="12271"/>
                  <a:pt x="1586" y="12744"/>
                  <a:pt x="2171" y="12744"/>
                </a:cubicBezTo>
                <a:lnTo>
                  <a:pt x="8738" y="12744"/>
                </a:lnTo>
                <a:cubicBezTo>
                  <a:pt x="9350" y="12744"/>
                  <a:pt x="9823" y="12271"/>
                  <a:pt x="9823" y="11687"/>
                </a:cubicBezTo>
                <a:lnTo>
                  <a:pt x="9823" y="3200"/>
                </a:lnTo>
                <a:lnTo>
                  <a:pt x="10908" y="3200"/>
                </a:lnTo>
                <a:lnTo>
                  <a:pt x="10908" y="2143"/>
                </a:lnTo>
                <a:lnTo>
                  <a:pt x="8209" y="2143"/>
                </a:lnTo>
                <a:close/>
                <a:moveTo>
                  <a:pt x="4870" y="10963"/>
                </a:moveTo>
                <a:lnTo>
                  <a:pt x="3645" y="10963"/>
                </a:lnTo>
                <a:lnTo>
                  <a:pt x="3645" y="4257"/>
                </a:lnTo>
                <a:lnTo>
                  <a:pt x="4870" y="4257"/>
                </a:lnTo>
                <a:lnTo>
                  <a:pt x="4870" y="10963"/>
                </a:lnTo>
                <a:close/>
                <a:moveTo>
                  <a:pt x="7319" y="10963"/>
                </a:moveTo>
                <a:lnTo>
                  <a:pt x="6094" y="10963"/>
                </a:lnTo>
                <a:lnTo>
                  <a:pt x="6094" y="4257"/>
                </a:lnTo>
                <a:lnTo>
                  <a:pt x="7319" y="4257"/>
                </a:lnTo>
                <a:lnTo>
                  <a:pt x="7319" y="1096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sp>
        <p:nvSpPr>
          <p:cNvPr id="38" name="iconfont-1187-868110">
            <a:extLst>
              <a:ext uri="{FF2B5EF4-FFF2-40B4-BE49-F238E27FC236}">
                <a16:creationId xmlns:a16="http://schemas.microsoft.com/office/drawing/2014/main" id="{14551BA9-5A27-437E-B979-A28335FB8A6C}"/>
              </a:ext>
            </a:extLst>
          </p:cNvPr>
          <p:cNvSpPr/>
          <p:nvPr/>
        </p:nvSpPr>
        <p:spPr>
          <a:xfrm>
            <a:off x="6955032" y="2417194"/>
            <a:ext cx="344019" cy="344110"/>
          </a:xfrm>
          <a:custGeom>
            <a:avLst/>
            <a:gdLst>
              <a:gd name="T0" fmla="*/ 7682 w 7948"/>
              <a:gd name="T1" fmla="*/ 6783 h 7949"/>
              <a:gd name="T2" fmla="*/ 5299 w 7948"/>
              <a:gd name="T3" fmla="*/ 5962 h 7949"/>
              <a:gd name="T4" fmla="*/ 5331 w 7948"/>
              <a:gd name="T5" fmla="*/ 4819 h 7949"/>
              <a:gd name="T6" fmla="*/ 5842 w 7948"/>
              <a:gd name="T7" fmla="*/ 3675 h 7949"/>
              <a:gd name="T8" fmla="*/ 6062 w 7948"/>
              <a:gd name="T9" fmla="*/ 2499 h 7949"/>
              <a:gd name="T10" fmla="*/ 5782 w 7948"/>
              <a:gd name="T11" fmla="*/ 2087 h 7949"/>
              <a:gd name="T12" fmla="*/ 5560 w 7948"/>
              <a:gd name="T13" fmla="*/ 808 h 7949"/>
              <a:gd name="T14" fmla="*/ 4267 w 7948"/>
              <a:gd name="T15" fmla="*/ 3 h 7949"/>
              <a:gd name="T16" fmla="*/ 3532 w 7948"/>
              <a:gd name="T17" fmla="*/ 224 h 7949"/>
              <a:gd name="T18" fmla="*/ 2166 w 7948"/>
              <a:gd name="T19" fmla="*/ 2087 h 7949"/>
              <a:gd name="T20" fmla="*/ 1886 w 7948"/>
              <a:gd name="T21" fmla="*/ 2499 h 7949"/>
              <a:gd name="T22" fmla="*/ 2106 w 7948"/>
              <a:gd name="T23" fmla="*/ 3675 h 7949"/>
              <a:gd name="T24" fmla="*/ 2617 w 7948"/>
              <a:gd name="T25" fmla="*/ 4819 h 7949"/>
              <a:gd name="T26" fmla="*/ 2649 w 7948"/>
              <a:gd name="T27" fmla="*/ 5963 h 7949"/>
              <a:gd name="T28" fmla="*/ 266 w 7948"/>
              <a:gd name="T29" fmla="*/ 6783 h 7949"/>
              <a:gd name="T30" fmla="*/ 0 w 7948"/>
              <a:gd name="T31" fmla="*/ 7949 h 7949"/>
              <a:gd name="T32" fmla="*/ 7948 w 7948"/>
              <a:gd name="T33" fmla="*/ 7949 h 7949"/>
              <a:gd name="T34" fmla="*/ 7682 w 7948"/>
              <a:gd name="T35" fmla="*/ 6783 h 79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948" h="7949">
                <a:moveTo>
                  <a:pt x="7682" y="6783"/>
                </a:moveTo>
                <a:cubicBezTo>
                  <a:pt x="7334" y="6308"/>
                  <a:pt x="5568" y="6505"/>
                  <a:pt x="5299" y="5962"/>
                </a:cubicBezTo>
                <a:cubicBezTo>
                  <a:pt x="4764" y="4886"/>
                  <a:pt x="4982" y="5086"/>
                  <a:pt x="5331" y="4819"/>
                </a:cubicBezTo>
                <a:cubicBezTo>
                  <a:pt x="5658" y="4569"/>
                  <a:pt x="5642" y="3909"/>
                  <a:pt x="5842" y="3675"/>
                </a:cubicBezTo>
                <a:cubicBezTo>
                  <a:pt x="6045" y="3437"/>
                  <a:pt x="6139" y="2756"/>
                  <a:pt x="6062" y="2499"/>
                </a:cubicBezTo>
                <a:cubicBezTo>
                  <a:pt x="5961" y="2159"/>
                  <a:pt x="5806" y="2344"/>
                  <a:pt x="5782" y="2087"/>
                </a:cubicBezTo>
                <a:cubicBezTo>
                  <a:pt x="5732" y="1533"/>
                  <a:pt x="5872" y="1078"/>
                  <a:pt x="5560" y="808"/>
                </a:cubicBezTo>
                <a:cubicBezTo>
                  <a:pt x="5258" y="548"/>
                  <a:pt x="4881" y="10"/>
                  <a:pt x="4267" y="3"/>
                </a:cubicBezTo>
                <a:cubicBezTo>
                  <a:pt x="4053" y="0"/>
                  <a:pt x="3811" y="64"/>
                  <a:pt x="3532" y="224"/>
                </a:cubicBezTo>
                <a:cubicBezTo>
                  <a:pt x="2208" y="82"/>
                  <a:pt x="2216" y="1533"/>
                  <a:pt x="2166" y="2087"/>
                </a:cubicBezTo>
                <a:cubicBezTo>
                  <a:pt x="2142" y="2344"/>
                  <a:pt x="1987" y="2159"/>
                  <a:pt x="1886" y="2499"/>
                </a:cubicBezTo>
                <a:cubicBezTo>
                  <a:pt x="1809" y="2756"/>
                  <a:pt x="1903" y="3437"/>
                  <a:pt x="2106" y="3675"/>
                </a:cubicBezTo>
                <a:cubicBezTo>
                  <a:pt x="2306" y="3909"/>
                  <a:pt x="2290" y="4569"/>
                  <a:pt x="2617" y="4819"/>
                </a:cubicBezTo>
                <a:cubicBezTo>
                  <a:pt x="2966" y="5086"/>
                  <a:pt x="3184" y="4886"/>
                  <a:pt x="2649" y="5963"/>
                </a:cubicBezTo>
                <a:cubicBezTo>
                  <a:pt x="2380" y="6505"/>
                  <a:pt x="614" y="6308"/>
                  <a:pt x="266" y="6783"/>
                </a:cubicBezTo>
                <a:cubicBezTo>
                  <a:pt x="0" y="7146"/>
                  <a:pt x="0" y="7949"/>
                  <a:pt x="0" y="7949"/>
                </a:cubicBezTo>
                <a:lnTo>
                  <a:pt x="7948" y="7949"/>
                </a:lnTo>
                <a:cubicBezTo>
                  <a:pt x="7948" y="7949"/>
                  <a:pt x="7948" y="7146"/>
                  <a:pt x="7682" y="6783"/>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sp>
        <p:nvSpPr>
          <p:cNvPr id="39" name="图形 2169">
            <a:extLst>
              <a:ext uri="{FF2B5EF4-FFF2-40B4-BE49-F238E27FC236}">
                <a16:creationId xmlns:a16="http://schemas.microsoft.com/office/drawing/2014/main" id="{55E4C87C-0BFE-4987-901B-4BCAD87CCD60}"/>
              </a:ext>
            </a:extLst>
          </p:cNvPr>
          <p:cNvSpPr/>
          <p:nvPr/>
        </p:nvSpPr>
        <p:spPr>
          <a:xfrm>
            <a:off x="6804064" y="3378003"/>
            <a:ext cx="469827" cy="313010"/>
          </a:xfrm>
          <a:custGeom>
            <a:avLst/>
            <a:gdLst>
              <a:gd name="connsiteX0" fmla="*/ 534981 w 537823"/>
              <a:gd name="connsiteY0" fmla="*/ 186021 h 358310"/>
              <a:gd name="connsiteX1" fmla="*/ 534981 w 537823"/>
              <a:gd name="connsiteY1" fmla="*/ 172255 h 358310"/>
              <a:gd name="connsiteX2" fmla="*/ 365641 w 537823"/>
              <a:gd name="connsiteY2" fmla="*/ 2843 h 358310"/>
              <a:gd name="connsiteX3" fmla="*/ 351839 w 537823"/>
              <a:gd name="connsiteY3" fmla="*/ 2843 h 358310"/>
              <a:gd name="connsiteX4" fmla="*/ 295023 w 537823"/>
              <a:gd name="connsiteY4" fmla="*/ 59695 h 358310"/>
              <a:gd name="connsiteX5" fmla="*/ 295023 w 537823"/>
              <a:gd name="connsiteY5" fmla="*/ 73461 h 358310"/>
              <a:gd name="connsiteX6" fmla="*/ 330564 w 537823"/>
              <a:gd name="connsiteY6" fmla="*/ 108966 h 358310"/>
              <a:gd name="connsiteX7" fmla="*/ 327704 w 537823"/>
              <a:gd name="connsiteY7" fmla="*/ 115832 h 358310"/>
              <a:gd name="connsiteX8" fmla="*/ 9726 w 537823"/>
              <a:gd name="connsiteY8" fmla="*/ 115832 h 358310"/>
              <a:gd name="connsiteX9" fmla="*/ 0 w 537823"/>
              <a:gd name="connsiteY9" fmla="*/ 125593 h 358310"/>
              <a:gd name="connsiteX10" fmla="*/ 0 w 537823"/>
              <a:gd name="connsiteY10" fmla="*/ 232968 h 358310"/>
              <a:gd name="connsiteX11" fmla="*/ 9726 w 537823"/>
              <a:gd name="connsiteY11" fmla="*/ 242694 h 358310"/>
              <a:gd name="connsiteX12" fmla="*/ 327489 w 537823"/>
              <a:gd name="connsiteY12" fmla="*/ 242694 h 358310"/>
              <a:gd name="connsiteX13" fmla="*/ 330350 w 537823"/>
              <a:gd name="connsiteY13" fmla="*/ 249595 h 358310"/>
              <a:gd name="connsiteX14" fmla="*/ 295059 w 537823"/>
              <a:gd name="connsiteY14" fmla="*/ 284886 h 358310"/>
              <a:gd name="connsiteX15" fmla="*/ 295059 w 537823"/>
              <a:gd name="connsiteY15" fmla="*/ 298652 h 358310"/>
              <a:gd name="connsiteX16" fmla="*/ 351875 w 537823"/>
              <a:gd name="connsiteY16" fmla="*/ 355468 h 358310"/>
              <a:gd name="connsiteX17" fmla="*/ 365677 w 537823"/>
              <a:gd name="connsiteY17" fmla="*/ 355468 h 358310"/>
              <a:gd name="connsiteX18" fmla="*/ 467259 w 537823"/>
              <a:gd name="connsiteY18" fmla="*/ 253850 h 358310"/>
              <a:gd name="connsiteX19" fmla="*/ 474125 w 537823"/>
              <a:gd name="connsiteY19" fmla="*/ 246949 h 358310"/>
              <a:gd name="connsiteX20" fmla="*/ 480954 w 537823"/>
              <a:gd name="connsiteY20" fmla="*/ 240012 h 358310"/>
              <a:gd name="connsiteX21" fmla="*/ 534981 w 537823"/>
              <a:gd name="connsiteY21" fmla="*/ 186021 h 358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37823" h="358310">
                <a:moveTo>
                  <a:pt x="534981" y="186021"/>
                </a:moveTo>
                <a:cubicBezTo>
                  <a:pt x="538771" y="182230"/>
                  <a:pt x="538771" y="176045"/>
                  <a:pt x="534981" y="172255"/>
                </a:cubicBezTo>
                <a:lnTo>
                  <a:pt x="365641" y="2843"/>
                </a:lnTo>
                <a:cubicBezTo>
                  <a:pt x="361851" y="-948"/>
                  <a:pt x="355629" y="-948"/>
                  <a:pt x="351839" y="2843"/>
                </a:cubicBezTo>
                <a:lnTo>
                  <a:pt x="295023" y="59695"/>
                </a:lnTo>
                <a:cubicBezTo>
                  <a:pt x="291233" y="63485"/>
                  <a:pt x="291233" y="69671"/>
                  <a:pt x="295023" y="73461"/>
                </a:cubicBezTo>
                <a:lnTo>
                  <a:pt x="330564" y="108966"/>
                </a:lnTo>
                <a:cubicBezTo>
                  <a:pt x="334354" y="112757"/>
                  <a:pt x="333031" y="115832"/>
                  <a:pt x="327704" y="115832"/>
                </a:cubicBezTo>
                <a:lnTo>
                  <a:pt x="9726" y="115832"/>
                </a:lnTo>
                <a:cubicBezTo>
                  <a:pt x="4362" y="115832"/>
                  <a:pt x="0" y="120230"/>
                  <a:pt x="0" y="125593"/>
                </a:cubicBezTo>
                <a:lnTo>
                  <a:pt x="0" y="232968"/>
                </a:lnTo>
                <a:cubicBezTo>
                  <a:pt x="0" y="238332"/>
                  <a:pt x="4362" y="242694"/>
                  <a:pt x="9726" y="242694"/>
                </a:cubicBezTo>
                <a:lnTo>
                  <a:pt x="327489" y="242694"/>
                </a:lnTo>
                <a:cubicBezTo>
                  <a:pt x="332853" y="242694"/>
                  <a:pt x="334140" y="245805"/>
                  <a:pt x="330350" y="249595"/>
                </a:cubicBezTo>
                <a:lnTo>
                  <a:pt x="295059" y="284886"/>
                </a:lnTo>
                <a:cubicBezTo>
                  <a:pt x="291268" y="288676"/>
                  <a:pt x="291268" y="294898"/>
                  <a:pt x="295059" y="298652"/>
                </a:cubicBezTo>
                <a:lnTo>
                  <a:pt x="351875" y="355468"/>
                </a:lnTo>
                <a:cubicBezTo>
                  <a:pt x="355665" y="359258"/>
                  <a:pt x="361886" y="359258"/>
                  <a:pt x="365677" y="355468"/>
                </a:cubicBezTo>
                <a:lnTo>
                  <a:pt x="467259" y="253850"/>
                </a:lnTo>
                <a:cubicBezTo>
                  <a:pt x="471050" y="250060"/>
                  <a:pt x="474125" y="246949"/>
                  <a:pt x="474125" y="246949"/>
                </a:cubicBezTo>
                <a:cubicBezTo>
                  <a:pt x="474089" y="246913"/>
                  <a:pt x="477164" y="243802"/>
                  <a:pt x="480954" y="240012"/>
                </a:cubicBezTo>
                <a:lnTo>
                  <a:pt x="534981" y="186021"/>
                </a:lnTo>
                <a:close/>
              </a:path>
            </a:pathLst>
          </a:custGeom>
          <a:solidFill>
            <a:schemeClr val="accent1">
              <a:alpha val="50000"/>
            </a:schemeClr>
          </a:solidFill>
          <a:ln w="35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black"/>
              </a:solidFill>
              <a:effectLst/>
              <a:uLnTx/>
              <a:uFillTx/>
              <a:latin typeface="等线" panose="020F0502020204030204"/>
              <a:ea typeface="等线" panose="02010600030101010101" pitchFamily="2" charset="-122"/>
              <a:cs typeface="+mn-cs"/>
            </a:endParaRPr>
          </a:p>
        </p:txBody>
      </p:sp>
      <p:sp>
        <p:nvSpPr>
          <p:cNvPr id="40" name="图形 2169">
            <a:extLst>
              <a:ext uri="{FF2B5EF4-FFF2-40B4-BE49-F238E27FC236}">
                <a16:creationId xmlns:a16="http://schemas.microsoft.com/office/drawing/2014/main" id="{E104F4C6-C128-4306-804B-ABEF4854C32C}"/>
              </a:ext>
            </a:extLst>
          </p:cNvPr>
          <p:cNvSpPr/>
          <p:nvPr/>
        </p:nvSpPr>
        <p:spPr>
          <a:xfrm rot="5400000">
            <a:off x="5850096" y="4380338"/>
            <a:ext cx="469827" cy="313010"/>
          </a:xfrm>
          <a:custGeom>
            <a:avLst/>
            <a:gdLst>
              <a:gd name="connsiteX0" fmla="*/ 534981 w 537823"/>
              <a:gd name="connsiteY0" fmla="*/ 186021 h 358310"/>
              <a:gd name="connsiteX1" fmla="*/ 534981 w 537823"/>
              <a:gd name="connsiteY1" fmla="*/ 172255 h 358310"/>
              <a:gd name="connsiteX2" fmla="*/ 365641 w 537823"/>
              <a:gd name="connsiteY2" fmla="*/ 2843 h 358310"/>
              <a:gd name="connsiteX3" fmla="*/ 351839 w 537823"/>
              <a:gd name="connsiteY3" fmla="*/ 2843 h 358310"/>
              <a:gd name="connsiteX4" fmla="*/ 295023 w 537823"/>
              <a:gd name="connsiteY4" fmla="*/ 59695 h 358310"/>
              <a:gd name="connsiteX5" fmla="*/ 295023 w 537823"/>
              <a:gd name="connsiteY5" fmla="*/ 73461 h 358310"/>
              <a:gd name="connsiteX6" fmla="*/ 330564 w 537823"/>
              <a:gd name="connsiteY6" fmla="*/ 108966 h 358310"/>
              <a:gd name="connsiteX7" fmla="*/ 327704 w 537823"/>
              <a:gd name="connsiteY7" fmla="*/ 115832 h 358310"/>
              <a:gd name="connsiteX8" fmla="*/ 9726 w 537823"/>
              <a:gd name="connsiteY8" fmla="*/ 115832 h 358310"/>
              <a:gd name="connsiteX9" fmla="*/ 0 w 537823"/>
              <a:gd name="connsiteY9" fmla="*/ 125593 h 358310"/>
              <a:gd name="connsiteX10" fmla="*/ 0 w 537823"/>
              <a:gd name="connsiteY10" fmla="*/ 232968 h 358310"/>
              <a:gd name="connsiteX11" fmla="*/ 9726 w 537823"/>
              <a:gd name="connsiteY11" fmla="*/ 242694 h 358310"/>
              <a:gd name="connsiteX12" fmla="*/ 327489 w 537823"/>
              <a:gd name="connsiteY12" fmla="*/ 242694 h 358310"/>
              <a:gd name="connsiteX13" fmla="*/ 330350 w 537823"/>
              <a:gd name="connsiteY13" fmla="*/ 249595 h 358310"/>
              <a:gd name="connsiteX14" fmla="*/ 295059 w 537823"/>
              <a:gd name="connsiteY14" fmla="*/ 284886 h 358310"/>
              <a:gd name="connsiteX15" fmla="*/ 295059 w 537823"/>
              <a:gd name="connsiteY15" fmla="*/ 298652 h 358310"/>
              <a:gd name="connsiteX16" fmla="*/ 351875 w 537823"/>
              <a:gd name="connsiteY16" fmla="*/ 355468 h 358310"/>
              <a:gd name="connsiteX17" fmla="*/ 365677 w 537823"/>
              <a:gd name="connsiteY17" fmla="*/ 355468 h 358310"/>
              <a:gd name="connsiteX18" fmla="*/ 467259 w 537823"/>
              <a:gd name="connsiteY18" fmla="*/ 253850 h 358310"/>
              <a:gd name="connsiteX19" fmla="*/ 474125 w 537823"/>
              <a:gd name="connsiteY19" fmla="*/ 246949 h 358310"/>
              <a:gd name="connsiteX20" fmla="*/ 480954 w 537823"/>
              <a:gd name="connsiteY20" fmla="*/ 240012 h 358310"/>
              <a:gd name="connsiteX21" fmla="*/ 534981 w 537823"/>
              <a:gd name="connsiteY21" fmla="*/ 186021 h 358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37823" h="358310">
                <a:moveTo>
                  <a:pt x="534981" y="186021"/>
                </a:moveTo>
                <a:cubicBezTo>
                  <a:pt x="538771" y="182230"/>
                  <a:pt x="538771" y="176045"/>
                  <a:pt x="534981" y="172255"/>
                </a:cubicBezTo>
                <a:lnTo>
                  <a:pt x="365641" y="2843"/>
                </a:lnTo>
                <a:cubicBezTo>
                  <a:pt x="361851" y="-948"/>
                  <a:pt x="355629" y="-948"/>
                  <a:pt x="351839" y="2843"/>
                </a:cubicBezTo>
                <a:lnTo>
                  <a:pt x="295023" y="59695"/>
                </a:lnTo>
                <a:cubicBezTo>
                  <a:pt x="291233" y="63485"/>
                  <a:pt x="291233" y="69671"/>
                  <a:pt x="295023" y="73461"/>
                </a:cubicBezTo>
                <a:lnTo>
                  <a:pt x="330564" y="108966"/>
                </a:lnTo>
                <a:cubicBezTo>
                  <a:pt x="334354" y="112757"/>
                  <a:pt x="333031" y="115832"/>
                  <a:pt x="327704" y="115832"/>
                </a:cubicBezTo>
                <a:lnTo>
                  <a:pt x="9726" y="115832"/>
                </a:lnTo>
                <a:cubicBezTo>
                  <a:pt x="4362" y="115832"/>
                  <a:pt x="0" y="120230"/>
                  <a:pt x="0" y="125593"/>
                </a:cubicBezTo>
                <a:lnTo>
                  <a:pt x="0" y="232968"/>
                </a:lnTo>
                <a:cubicBezTo>
                  <a:pt x="0" y="238332"/>
                  <a:pt x="4362" y="242694"/>
                  <a:pt x="9726" y="242694"/>
                </a:cubicBezTo>
                <a:lnTo>
                  <a:pt x="327489" y="242694"/>
                </a:lnTo>
                <a:cubicBezTo>
                  <a:pt x="332853" y="242694"/>
                  <a:pt x="334140" y="245805"/>
                  <a:pt x="330350" y="249595"/>
                </a:cubicBezTo>
                <a:lnTo>
                  <a:pt x="295059" y="284886"/>
                </a:lnTo>
                <a:cubicBezTo>
                  <a:pt x="291268" y="288676"/>
                  <a:pt x="291268" y="294898"/>
                  <a:pt x="295059" y="298652"/>
                </a:cubicBezTo>
                <a:lnTo>
                  <a:pt x="351875" y="355468"/>
                </a:lnTo>
                <a:cubicBezTo>
                  <a:pt x="355665" y="359258"/>
                  <a:pt x="361886" y="359258"/>
                  <a:pt x="365677" y="355468"/>
                </a:cubicBezTo>
                <a:lnTo>
                  <a:pt x="467259" y="253850"/>
                </a:lnTo>
                <a:cubicBezTo>
                  <a:pt x="471050" y="250060"/>
                  <a:pt x="474125" y="246949"/>
                  <a:pt x="474125" y="246949"/>
                </a:cubicBezTo>
                <a:cubicBezTo>
                  <a:pt x="474089" y="246913"/>
                  <a:pt x="477164" y="243802"/>
                  <a:pt x="480954" y="240012"/>
                </a:cubicBezTo>
                <a:lnTo>
                  <a:pt x="534981" y="186021"/>
                </a:lnTo>
                <a:close/>
              </a:path>
            </a:pathLst>
          </a:custGeom>
          <a:solidFill>
            <a:schemeClr val="accent1">
              <a:alpha val="50000"/>
            </a:schemeClr>
          </a:solidFill>
          <a:ln w="35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black"/>
              </a:solidFill>
              <a:effectLst/>
              <a:uLnTx/>
              <a:uFillTx/>
              <a:latin typeface="等线" panose="020F0502020204030204"/>
              <a:ea typeface="等线" panose="02010600030101010101" pitchFamily="2" charset="-122"/>
              <a:cs typeface="+mn-cs"/>
            </a:endParaRPr>
          </a:p>
        </p:txBody>
      </p:sp>
      <p:sp>
        <p:nvSpPr>
          <p:cNvPr id="41" name="图形 2169">
            <a:extLst>
              <a:ext uri="{FF2B5EF4-FFF2-40B4-BE49-F238E27FC236}">
                <a16:creationId xmlns:a16="http://schemas.microsoft.com/office/drawing/2014/main" id="{D1AA9AE1-93EB-4F7F-92B9-6B799B79B493}"/>
              </a:ext>
            </a:extLst>
          </p:cNvPr>
          <p:cNvSpPr/>
          <p:nvPr/>
        </p:nvSpPr>
        <p:spPr>
          <a:xfrm rot="10800000">
            <a:off x="4872989" y="3378003"/>
            <a:ext cx="469827" cy="313010"/>
          </a:xfrm>
          <a:custGeom>
            <a:avLst/>
            <a:gdLst>
              <a:gd name="connsiteX0" fmla="*/ 534981 w 537823"/>
              <a:gd name="connsiteY0" fmla="*/ 186021 h 358310"/>
              <a:gd name="connsiteX1" fmla="*/ 534981 w 537823"/>
              <a:gd name="connsiteY1" fmla="*/ 172255 h 358310"/>
              <a:gd name="connsiteX2" fmla="*/ 365641 w 537823"/>
              <a:gd name="connsiteY2" fmla="*/ 2843 h 358310"/>
              <a:gd name="connsiteX3" fmla="*/ 351839 w 537823"/>
              <a:gd name="connsiteY3" fmla="*/ 2843 h 358310"/>
              <a:gd name="connsiteX4" fmla="*/ 295023 w 537823"/>
              <a:gd name="connsiteY4" fmla="*/ 59695 h 358310"/>
              <a:gd name="connsiteX5" fmla="*/ 295023 w 537823"/>
              <a:gd name="connsiteY5" fmla="*/ 73461 h 358310"/>
              <a:gd name="connsiteX6" fmla="*/ 330564 w 537823"/>
              <a:gd name="connsiteY6" fmla="*/ 108966 h 358310"/>
              <a:gd name="connsiteX7" fmla="*/ 327704 w 537823"/>
              <a:gd name="connsiteY7" fmla="*/ 115832 h 358310"/>
              <a:gd name="connsiteX8" fmla="*/ 9726 w 537823"/>
              <a:gd name="connsiteY8" fmla="*/ 115832 h 358310"/>
              <a:gd name="connsiteX9" fmla="*/ 0 w 537823"/>
              <a:gd name="connsiteY9" fmla="*/ 125593 h 358310"/>
              <a:gd name="connsiteX10" fmla="*/ 0 w 537823"/>
              <a:gd name="connsiteY10" fmla="*/ 232968 h 358310"/>
              <a:gd name="connsiteX11" fmla="*/ 9726 w 537823"/>
              <a:gd name="connsiteY11" fmla="*/ 242694 h 358310"/>
              <a:gd name="connsiteX12" fmla="*/ 327489 w 537823"/>
              <a:gd name="connsiteY12" fmla="*/ 242694 h 358310"/>
              <a:gd name="connsiteX13" fmla="*/ 330350 w 537823"/>
              <a:gd name="connsiteY13" fmla="*/ 249595 h 358310"/>
              <a:gd name="connsiteX14" fmla="*/ 295059 w 537823"/>
              <a:gd name="connsiteY14" fmla="*/ 284886 h 358310"/>
              <a:gd name="connsiteX15" fmla="*/ 295059 w 537823"/>
              <a:gd name="connsiteY15" fmla="*/ 298652 h 358310"/>
              <a:gd name="connsiteX16" fmla="*/ 351875 w 537823"/>
              <a:gd name="connsiteY16" fmla="*/ 355468 h 358310"/>
              <a:gd name="connsiteX17" fmla="*/ 365677 w 537823"/>
              <a:gd name="connsiteY17" fmla="*/ 355468 h 358310"/>
              <a:gd name="connsiteX18" fmla="*/ 467259 w 537823"/>
              <a:gd name="connsiteY18" fmla="*/ 253850 h 358310"/>
              <a:gd name="connsiteX19" fmla="*/ 474125 w 537823"/>
              <a:gd name="connsiteY19" fmla="*/ 246949 h 358310"/>
              <a:gd name="connsiteX20" fmla="*/ 480954 w 537823"/>
              <a:gd name="connsiteY20" fmla="*/ 240012 h 358310"/>
              <a:gd name="connsiteX21" fmla="*/ 534981 w 537823"/>
              <a:gd name="connsiteY21" fmla="*/ 186021 h 358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37823" h="358310">
                <a:moveTo>
                  <a:pt x="534981" y="186021"/>
                </a:moveTo>
                <a:cubicBezTo>
                  <a:pt x="538771" y="182230"/>
                  <a:pt x="538771" y="176045"/>
                  <a:pt x="534981" y="172255"/>
                </a:cubicBezTo>
                <a:lnTo>
                  <a:pt x="365641" y="2843"/>
                </a:lnTo>
                <a:cubicBezTo>
                  <a:pt x="361851" y="-948"/>
                  <a:pt x="355629" y="-948"/>
                  <a:pt x="351839" y="2843"/>
                </a:cubicBezTo>
                <a:lnTo>
                  <a:pt x="295023" y="59695"/>
                </a:lnTo>
                <a:cubicBezTo>
                  <a:pt x="291233" y="63485"/>
                  <a:pt x="291233" y="69671"/>
                  <a:pt x="295023" y="73461"/>
                </a:cubicBezTo>
                <a:lnTo>
                  <a:pt x="330564" y="108966"/>
                </a:lnTo>
                <a:cubicBezTo>
                  <a:pt x="334354" y="112757"/>
                  <a:pt x="333031" y="115832"/>
                  <a:pt x="327704" y="115832"/>
                </a:cubicBezTo>
                <a:lnTo>
                  <a:pt x="9726" y="115832"/>
                </a:lnTo>
                <a:cubicBezTo>
                  <a:pt x="4362" y="115832"/>
                  <a:pt x="0" y="120230"/>
                  <a:pt x="0" y="125593"/>
                </a:cubicBezTo>
                <a:lnTo>
                  <a:pt x="0" y="232968"/>
                </a:lnTo>
                <a:cubicBezTo>
                  <a:pt x="0" y="238332"/>
                  <a:pt x="4362" y="242694"/>
                  <a:pt x="9726" y="242694"/>
                </a:cubicBezTo>
                <a:lnTo>
                  <a:pt x="327489" y="242694"/>
                </a:lnTo>
                <a:cubicBezTo>
                  <a:pt x="332853" y="242694"/>
                  <a:pt x="334140" y="245805"/>
                  <a:pt x="330350" y="249595"/>
                </a:cubicBezTo>
                <a:lnTo>
                  <a:pt x="295059" y="284886"/>
                </a:lnTo>
                <a:cubicBezTo>
                  <a:pt x="291268" y="288676"/>
                  <a:pt x="291268" y="294898"/>
                  <a:pt x="295059" y="298652"/>
                </a:cubicBezTo>
                <a:lnTo>
                  <a:pt x="351875" y="355468"/>
                </a:lnTo>
                <a:cubicBezTo>
                  <a:pt x="355665" y="359258"/>
                  <a:pt x="361886" y="359258"/>
                  <a:pt x="365677" y="355468"/>
                </a:cubicBezTo>
                <a:lnTo>
                  <a:pt x="467259" y="253850"/>
                </a:lnTo>
                <a:cubicBezTo>
                  <a:pt x="471050" y="250060"/>
                  <a:pt x="474125" y="246949"/>
                  <a:pt x="474125" y="246949"/>
                </a:cubicBezTo>
                <a:cubicBezTo>
                  <a:pt x="474089" y="246913"/>
                  <a:pt x="477164" y="243802"/>
                  <a:pt x="480954" y="240012"/>
                </a:cubicBezTo>
                <a:lnTo>
                  <a:pt x="534981" y="186021"/>
                </a:lnTo>
                <a:close/>
              </a:path>
            </a:pathLst>
          </a:custGeom>
          <a:solidFill>
            <a:schemeClr val="accent1">
              <a:alpha val="50000"/>
            </a:schemeClr>
          </a:solidFill>
          <a:ln w="35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black"/>
              </a:solidFill>
              <a:effectLst/>
              <a:uLnTx/>
              <a:uFillTx/>
              <a:latin typeface="等线" panose="020F0502020204030204"/>
              <a:ea typeface="等线" panose="02010600030101010101" pitchFamily="2" charset="-122"/>
              <a:cs typeface="+mn-cs"/>
            </a:endParaRPr>
          </a:p>
        </p:txBody>
      </p:sp>
      <p:sp>
        <p:nvSpPr>
          <p:cNvPr id="42" name="图形 2169">
            <a:extLst>
              <a:ext uri="{FF2B5EF4-FFF2-40B4-BE49-F238E27FC236}">
                <a16:creationId xmlns:a16="http://schemas.microsoft.com/office/drawing/2014/main" id="{6A1AD47A-945B-4287-89E9-F76AB43FE1AD}"/>
              </a:ext>
            </a:extLst>
          </p:cNvPr>
          <p:cNvSpPr/>
          <p:nvPr/>
        </p:nvSpPr>
        <p:spPr>
          <a:xfrm rot="16200000">
            <a:off x="5864146" y="2334981"/>
            <a:ext cx="469827" cy="313010"/>
          </a:xfrm>
          <a:custGeom>
            <a:avLst/>
            <a:gdLst>
              <a:gd name="connsiteX0" fmla="*/ 534981 w 537823"/>
              <a:gd name="connsiteY0" fmla="*/ 186021 h 358310"/>
              <a:gd name="connsiteX1" fmla="*/ 534981 w 537823"/>
              <a:gd name="connsiteY1" fmla="*/ 172255 h 358310"/>
              <a:gd name="connsiteX2" fmla="*/ 365641 w 537823"/>
              <a:gd name="connsiteY2" fmla="*/ 2843 h 358310"/>
              <a:gd name="connsiteX3" fmla="*/ 351839 w 537823"/>
              <a:gd name="connsiteY3" fmla="*/ 2843 h 358310"/>
              <a:gd name="connsiteX4" fmla="*/ 295023 w 537823"/>
              <a:gd name="connsiteY4" fmla="*/ 59695 h 358310"/>
              <a:gd name="connsiteX5" fmla="*/ 295023 w 537823"/>
              <a:gd name="connsiteY5" fmla="*/ 73461 h 358310"/>
              <a:gd name="connsiteX6" fmla="*/ 330564 w 537823"/>
              <a:gd name="connsiteY6" fmla="*/ 108966 h 358310"/>
              <a:gd name="connsiteX7" fmla="*/ 327704 w 537823"/>
              <a:gd name="connsiteY7" fmla="*/ 115832 h 358310"/>
              <a:gd name="connsiteX8" fmla="*/ 9726 w 537823"/>
              <a:gd name="connsiteY8" fmla="*/ 115832 h 358310"/>
              <a:gd name="connsiteX9" fmla="*/ 0 w 537823"/>
              <a:gd name="connsiteY9" fmla="*/ 125593 h 358310"/>
              <a:gd name="connsiteX10" fmla="*/ 0 w 537823"/>
              <a:gd name="connsiteY10" fmla="*/ 232968 h 358310"/>
              <a:gd name="connsiteX11" fmla="*/ 9726 w 537823"/>
              <a:gd name="connsiteY11" fmla="*/ 242694 h 358310"/>
              <a:gd name="connsiteX12" fmla="*/ 327489 w 537823"/>
              <a:gd name="connsiteY12" fmla="*/ 242694 h 358310"/>
              <a:gd name="connsiteX13" fmla="*/ 330350 w 537823"/>
              <a:gd name="connsiteY13" fmla="*/ 249595 h 358310"/>
              <a:gd name="connsiteX14" fmla="*/ 295059 w 537823"/>
              <a:gd name="connsiteY14" fmla="*/ 284886 h 358310"/>
              <a:gd name="connsiteX15" fmla="*/ 295059 w 537823"/>
              <a:gd name="connsiteY15" fmla="*/ 298652 h 358310"/>
              <a:gd name="connsiteX16" fmla="*/ 351875 w 537823"/>
              <a:gd name="connsiteY16" fmla="*/ 355468 h 358310"/>
              <a:gd name="connsiteX17" fmla="*/ 365677 w 537823"/>
              <a:gd name="connsiteY17" fmla="*/ 355468 h 358310"/>
              <a:gd name="connsiteX18" fmla="*/ 467259 w 537823"/>
              <a:gd name="connsiteY18" fmla="*/ 253850 h 358310"/>
              <a:gd name="connsiteX19" fmla="*/ 474125 w 537823"/>
              <a:gd name="connsiteY19" fmla="*/ 246949 h 358310"/>
              <a:gd name="connsiteX20" fmla="*/ 480954 w 537823"/>
              <a:gd name="connsiteY20" fmla="*/ 240012 h 358310"/>
              <a:gd name="connsiteX21" fmla="*/ 534981 w 537823"/>
              <a:gd name="connsiteY21" fmla="*/ 186021 h 358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37823" h="358310">
                <a:moveTo>
                  <a:pt x="534981" y="186021"/>
                </a:moveTo>
                <a:cubicBezTo>
                  <a:pt x="538771" y="182230"/>
                  <a:pt x="538771" y="176045"/>
                  <a:pt x="534981" y="172255"/>
                </a:cubicBezTo>
                <a:lnTo>
                  <a:pt x="365641" y="2843"/>
                </a:lnTo>
                <a:cubicBezTo>
                  <a:pt x="361851" y="-948"/>
                  <a:pt x="355629" y="-948"/>
                  <a:pt x="351839" y="2843"/>
                </a:cubicBezTo>
                <a:lnTo>
                  <a:pt x="295023" y="59695"/>
                </a:lnTo>
                <a:cubicBezTo>
                  <a:pt x="291233" y="63485"/>
                  <a:pt x="291233" y="69671"/>
                  <a:pt x="295023" y="73461"/>
                </a:cubicBezTo>
                <a:lnTo>
                  <a:pt x="330564" y="108966"/>
                </a:lnTo>
                <a:cubicBezTo>
                  <a:pt x="334354" y="112757"/>
                  <a:pt x="333031" y="115832"/>
                  <a:pt x="327704" y="115832"/>
                </a:cubicBezTo>
                <a:lnTo>
                  <a:pt x="9726" y="115832"/>
                </a:lnTo>
                <a:cubicBezTo>
                  <a:pt x="4362" y="115832"/>
                  <a:pt x="0" y="120230"/>
                  <a:pt x="0" y="125593"/>
                </a:cubicBezTo>
                <a:lnTo>
                  <a:pt x="0" y="232968"/>
                </a:lnTo>
                <a:cubicBezTo>
                  <a:pt x="0" y="238332"/>
                  <a:pt x="4362" y="242694"/>
                  <a:pt x="9726" y="242694"/>
                </a:cubicBezTo>
                <a:lnTo>
                  <a:pt x="327489" y="242694"/>
                </a:lnTo>
                <a:cubicBezTo>
                  <a:pt x="332853" y="242694"/>
                  <a:pt x="334140" y="245805"/>
                  <a:pt x="330350" y="249595"/>
                </a:cubicBezTo>
                <a:lnTo>
                  <a:pt x="295059" y="284886"/>
                </a:lnTo>
                <a:cubicBezTo>
                  <a:pt x="291268" y="288676"/>
                  <a:pt x="291268" y="294898"/>
                  <a:pt x="295059" y="298652"/>
                </a:cubicBezTo>
                <a:lnTo>
                  <a:pt x="351875" y="355468"/>
                </a:lnTo>
                <a:cubicBezTo>
                  <a:pt x="355665" y="359258"/>
                  <a:pt x="361886" y="359258"/>
                  <a:pt x="365677" y="355468"/>
                </a:cubicBezTo>
                <a:lnTo>
                  <a:pt x="467259" y="253850"/>
                </a:lnTo>
                <a:cubicBezTo>
                  <a:pt x="471050" y="250060"/>
                  <a:pt x="474125" y="246949"/>
                  <a:pt x="474125" y="246949"/>
                </a:cubicBezTo>
                <a:cubicBezTo>
                  <a:pt x="474089" y="246913"/>
                  <a:pt x="477164" y="243802"/>
                  <a:pt x="480954" y="240012"/>
                </a:cubicBezTo>
                <a:lnTo>
                  <a:pt x="534981" y="186021"/>
                </a:lnTo>
                <a:close/>
              </a:path>
            </a:pathLst>
          </a:custGeom>
          <a:solidFill>
            <a:schemeClr val="accent1">
              <a:alpha val="50000"/>
            </a:schemeClr>
          </a:solidFill>
          <a:ln w="35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black"/>
              </a:solidFill>
              <a:effectLst/>
              <a:uLnTx/>
              <a:uFillTx/>
              <a:latin typeface="等线" panose="020F0502020204030204"/>
              <a:ea typeface="等线" panose="02010600030101010101" pitchFamily="2" charset="-122"/>
              <a:cs typeface="+mn-cs"/>
            </a:endParaRPr>
          </a:p>
        </p:txBody>
      </p:sp>
      <p:sp>
        <p:nvSpPr>
          <p:cNvPr id="44" name="文本框 43">
            <a:extLst>
              <a:ext uri="{FF2B5EF4-FFF2-40B4-BE49-F238E27FC236}">
                <a16:creationId xmlns:a16="http://schemas.microsoft.com/office/drawing/2014/main" id="{B20591A9-3B2A-4CBD-824A-4C7EE2892961}"/>
              </a:ext>
            </a:extLst>
          </p:cNvPr>
          <p:cNvSpPr txBox="1"/>
          <p:nvPr/>
        </p:nvSpPr>
        <p:spPr>
          <a:xfrm>
            <a:off x="5737729" y="3391392"/>
            <a:ext cx="716543" cy="286232"/>
          </a:xfrm>
          <a:prstGeom prst="rect">
            <a:avLst/>
          </a:prstGeom>
          <a:noFill/>
          <a:effectLst/>
        </p:spPr>
        <p:txBody>
          <a:bodyPr wrap="none" lIns="0" tIns="0" rIns="0" bIns="0" rtlCol="0" anchor="t">
            <a:spAutoFit/>
          </a:bodyPr>
          <a:lstStyle/>
          <a:p>
            <a:r>
              <a:rPr lang="zh-CN" altLang="en-US" sz="1860" dirty="0">
                <a:solidFill>
                  <a:schemeClr val="bg1"/>
                </a:solidFill>
                <a:latin typeface="+mj-ea"/>
                <a:ea typeface="+mj-ea"/>
              </a:rPr>
              <a:t>关键词</a:t>
            </a:r>
          </a:p>
        </p:txBody>
      </p:sp>
    </p:spTree>
    <p:extLst>
      <p:ext uri="{BB962C8B-B14F-4D97-AF65-F5344CB8AC3E}">
        <p14:creationId xmlns:p14="http://schemas.microsoft.com/office/powerpoint/2010/main" val="3870272672"/>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3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椭圆 4">
            <a:extLst>
              <a:ext uri="{FF2B5EF4-FFF2-40B4-BE49-F238E27FC236}">
                <a16:creationId xmlns:a16="http://schemas.microsoft.com/office/drawing/2014/main" id="{DEEF7651-453F-46C1-AE3B-17B673849FD2}"/>
              </a:ext>
            </a:extLst>
          </p:cNvPr>
          <p:cNvSpPr/>
          <p:nvPr/>
        </p:nvSpPr>
        <p:spPr>
          <a:xfrm>
            <a:off x="4191000" y="1524000"/>
            <a:ext cx="3810000" cy="3810000"/>
          </a:xfrm>
          <a:prstGeom prst="ellipse">
            <a:avLst/>
          </a:prstGeom>
          <a:solidFill>
            <a:schemeClr val="accent1">
              <a:alpha val="5000"/>
            </a:schemeClr>
          </a:solidFill>
          <a:ln>
            <a:solidFill>
              <a:schemeClr val="accent1"/>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4" name="椭圆 3">
            <a:extLst>
              <a:ext uri="{FF2B5EF4-FFF2-40B4-BE49-F238E27FC236}">
                <a16:creationId xmlns:a16="http://schemas.microsoft.com/office/drawing/2014/main" id="{25448CD0-A045-445C-95E0-309D675E1259}"/>
              </a:ext>
            </a:extLst>
          </p:cNvPr>
          <p:cNvSpPr/>
          <p:nvPr/>
        </p:nvSpPr>
        <p:spPr>
          <a:xfrm>
            <a:off x="4629150" y="1962150"/>
            <a:ext cx="2933700" cy="2933700"/>
          </a:xfrm>
          <a:prstGeom prst="ellipse">
            <a:avLst/>
          </a:prstGeom>
          <a:gradFill>
            <a:gsLst>
              <a:gs pos="1000">
                <a:schemeClr val="accent1">
                  <a:lumMod val="20000"/>
                  <a:lumOff val="80000"/>
                </a:schemeClr>
              </a:gs>
              <a:gs pos="38000">
                <a:schemeClr val="accent1">
                  <a:lumMod val="60000"/>
                  <a:lumOff val="40000"/>
                </a:schemeClr>
              </a:gs>
              <a:gs pos="78000">
                <a:schemeClr val="accent1">
                  <a:lumMod val="75000"/>
                </a:schemeClr>
              </a:gs>
              <a:gs pos="63000">
                <a:schemeClr val="accent1"/>
              </a:gs>
            </a:gsLst>
            <a:path path="circle">
              <a:fillToRect r="100000" b="10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zh-CN" altLang="en-US" sz="1600">
              <a:solidFill>
                <a:schemeClr val="bg1"/>
              </a:solidFill>
              <a:latin typeface="+mj-ea"/>
              <a:ea typeface="+mj-ea"/>
            </a:endParaRPr>
          </a:p>
        </p:txBody>
      </p:sp>
      <p:sp>
        <p:nvSpPr>
          <p:cNvPr id="3" name="椭圆 2">
            <a:extLst>
              <a:ext uri="{FF2B5EF4-FFF2-40B4-BE49-F238E27FC236}">
                <a16:creationId xmlns:a16="http://schemas.microsoft.com/office/drawing/2014/main" id="{9071EECB-1CB1-470C-A790-835C7E81E571}"/>
              </a:ext>
            </a:extLst>
          </p:cNvPr>
          <p:cNvSpPr/>
          <p:nvPr/>
        </p:nvSpPr>
        <p:spPr>
          <a:xfrm>
            <a:off x="5067300" y="2400300"/>
            <a:ext cx="2057400" cy="20574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grpSp>
        <p:nvGrpSpPr>
          <p:cNvPr id="9" name="组合 8">
            <a:extLst>
              <a:ext uri="{FF2B5EF4-FFF2-40B4-BE49-F238E27FC236}">
                <a16:creationId xmlns:a16="http://schemas.microsoft.com/office/drawing/2014/main" id="{B5F9BB04-40B5-4724-B9D8-29A942EFC938}"/>
              </a:ext>
            </a:extLst>
          </p:cNvPr>
          <p:cNvGrpSpPr/>
          <p:nvPr/>
        </p:nvGrpSpPr>
        <p:grpSpPr>
          <a:xfrm>
            <a:off x="7483743" y="1072303"/>
            <a:ext cx="2419350" cy="1341545"/>
            <a:chOff x="7829549" y="781050"/>
            <a:chExt cx="3036113" cy="1683544"/>
          </a:xfrm>
          <a:effectLst>
            <a:outerShdw blurRad="139700" dist="38100" dir="5400000" algn="t" rotWithShape="0">
              <a:schemeClr val="accent1">
                <a:lumMod val="50000"/>
                <a:alpha val="40000"/>
              </a:schemeClr>
            </a:outerShdw>
          </a:effectLst>
        </p:grpSpPr>
        <p:sp>
          <p:nvSpPr>
            <p:cNvPr id="6" name="矩形: 圆角 5">
              <a:extLst>
                <a:ext uri="{FF2B5EF4-FFF2-40B4-BE49-F238E27FC236}">
                  <a16:creationId xmlns:a16="http://schemas.microsoft.com/office/drawing/2014/main" id="{F4FF635F-F5A0-415E-BE8E-A85DB9159B0F}"/>
                </a:ext>
              </a:extLst>
            </p:cNvPr>
            <p:cNvSpPr/>
            <p:nvPr/>
          </p:nvSpPr>
          <p:spPr>
            <a:xfrm>
              <a:off x="7829549" y="781050"/>
              <a:ext cx="3036113" cy="1485900"/>
            </a:xfrm>
            <a:prstGeom prst="roundRect">
              <a:avLst>
                <a:gd name="adj" fmla="val 9296"/>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8" name="直角三角形 7">
              <a:extLst>
                <a:ext uri="{FF2B5EF4-FFF2-40B4-BE49-F238E27FC236}">
                  <a16:creationId xmlns:a16="http://schemas.microsoft.com/office/drawing/2014/main" id="{25E896ED-9A95-44AB-A857-CA54210335CE}"/>
                </a:ext>
              </a:extLst>
            </p:cNvPr>
            <p:cNvSpPr/>
            <p:nvPr/>
          </p:nvSpPr>
          <p:spPr>
            <a:xfrm rot="5400000">
              <a:off x="7829549" y="2145506"/>
              <a:ext cx="319088" cy="319088"/>
            </a:xfrm>
            <a:prstGeom prst="r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grpSp>
      <p:sp>
        <p:nvSpPr>
          <p:cNvPr id="10" name="文本框 9">
            <a:extLst>
              <a:ext uri="{FF2B5EF4-FFF2-40B4-BE49-F238E27FC236}">
                <a16:creationId xmlns:a16="http://schemas.microsoft.com/office/drawing/2014/main" id="{7EAE162C-4570-41EB-BA03-59F89C6845F3}"/>
              </a:ext>
            </a:extLst>
          </p:cNvPr>
          <p:cNvSpPr txBox="1"/>
          <p:nvPr/>
        </p:nvSpPr>
        <p:spPr>
          <a:xfrm>
            <a:off x="7687970" y="1284377"/>
            <a:ext cx="1192633" cy="286233"/>
          </a:xfrm>
          <a:prstGeom prst="rect">
            <a:avLst/>
          </a:prstGeom>
          <a:noFill/>
          <a:effectLst/>
        </p:spPr>
        <p:txBody>
          <a:bodyPr wrap="none" lIns="0" tIns="0" rIns="0" bIns="0" rtlCol="0" anchor="t">
            <a:spAutoFit/>
          </a:bodyPr>
          <a:lstStyle/>
          <a:p>
            <a:r>
              <a:rPr lang="zh-CN" altLang="en-US" sz="1860" dirty="0">
                <a:solidFill>
                  <a:schemeClr val="bg1"/>
                </a:solidFill>
                <a:latin typeface="+mj-ea"/>
                <a:ea typeface="+mj-ea"/>
              </a:rPr>
              <a:t>关键词标题</a:t>
            </a:r>
          </a:p>
        </p:txBody>
      </p:sp>
      <p:sp>
        <p:nvSpPr>
          <p:cNvPr id="11" name="文本框 10">
            <a:extLst>
              <a:ext uri="{FF2B5EF4-FFF2-40B4-BE49-F238E27FC236}">
                <a16:creationId xmlns:a16="http://schemas.microsoft.com/office/drawing/2014/main" id="{356FC486-A207-4537-A228-604682966AC3}"/>
              </a:ext>
            </a:extLst>
          </p:cNvPr>
          <p:cNvSpPr txBox="1"/>
          <p:nvPr/>
        </p:nvSpPr>
        <p:spPr>
          <a:xfrm>
            <a:off x="7687970" y="1570608"/>
            <a:ext cx="2123683" cy="432271"/>
          </a:xfrm>
          <a:prstGeom prst="rect">
            <a:avLst/>
          </a:prstGeom>
          <a:noFill/>
          <a:effectLst/>
        </p:spPr>
        <p:txBody>
          <a:bodyPr wrap="square" lIns="0" tIns="0" rIns="0" bIns="0" rtlCol="0" anchor="t">
            <a:spAutoFit/>
          </a:bodyPr>
          <a:lstStyle/>
          <a:p>
            <a:pPr>
              <a:lnSpc>
                <a:spcPct val="130000"/>
              </a:lnSpc>
            </a:pPr>
            <a:r>
              <a:rPr lang="en-US" altLang="zh-CN" sz="1116" b="0" dirty="0">
                <a:solidFill>
                  <a:schemeClr val="bg1"/>
                </a:solidFill>
                <a:effectLst/>
                <a:latin typeface="+mn-ea"/>
              </a:rPr>
              <a:t>Lorem ipsum dolor onsectetur adipisicing elit</a:t>
            </a:r>
            <a:r>
              <a:rPr lang="en-US" altLang="zh-CN" sz="1116" dirty="0">
                <a:solidFill>
                  <a:schemeClr val="bg1"/>
                </a:solidFill>
                <a:latin typeface="+mn-ea"/>
              </a:rPr>
              <a:t> </a:t>
            </a:r>
            <a:r>
              <a:rPr lang="en-US" altLang="zh-CN" sz="1116" b="0" dirty="0">
                <a:solidFill>
                  <a:schemeClr val="bg1"/>
                </a:solidFill>
                <a:effectLst/>
                <a:latin typeface="+mn-ea"/>
              </a:rPr>
              <a:t>sed do eiusmod</a:t>
            </a:r>
            <a:endParaRPr lang="zh-CN" altLang="en-US" sz="1116" b="0" dirty="0">
              <a:solidFill>
                <a:schemeClr val="bg1"/>
              </a:solidFill>
              <a:effectLst/>
              <a:latin typeface="+mn-ea"/>
            </a:endParaRPr>
          </a:p>
        </p:txBody>
      </p:sp>
      <p:grpSp>
        <p:nvGrpSpPr>
          <p:cNvPr id="12" name="组合 11">
            <a:extLst>
              <a:ext uri="{FF2B5EF4-FFF2-40B4-BE49-F238E27FC236}">
                <a16:creationId xmlns:a16="http://schemas.microsoft.com/office/drawing/2014/main" id="{D53AB05B-3D3E-4891-BEF2-F1E70A968080}"/>
              </a:ext>
            </a:extLst>
          </p:cNvPr>
          <p:cNvGrpSpPr/>
          <p:nvPr/>
        </p:nvGrpSpPr>
        <p:grpSpPr>
          <a:xfrm>
            <a:off x="7229475" y="4173417"/>
            <a:ext cx="2419350" cy="1341545"/>
            <a:chOff x="7829549" y="583406"/>
            <a:chExt cx="3036113" cy="1683544"/>
          </a:xfrm>
          <a:effectLst>
            <a:outerShdw blurRad="139700" dist="38100" dir="5400000" algn="t" rotWithShape="0">
              <a:schemeClr val="accent1">
                <a:lumMod val="50000"/>
                <a:alpha val="40000"/>
              </a:schemeClr>
            </a:outerShdw>
          </a:effectLst>
        </p:grpSpPr>
        <p:sp>
          <p:nvSpPr>
            <p:cNvPr id="13" name="矩形: 圆角 12">
              <a:extLst>
                <a:ext uri="{FF2B5EF4-FFF2-40B4-BE49-F238E27FC236}">
                  <a16:creationId xmlns:a16="http://schemas.microsoft.com/office/drawing/2014/main" id="{9EF2B01A-ACD1-45B1-BA18-78E0E3C752B5}"/>
                </a:ext>
              </a:extLst>
            </p:cNvPr>
            <p:cNvSpPr/>
            <p:nvPr/>
          </p:nvSpPr>
          <p:spPr>
            <a:xfrm>
              <a:off x="7829549" y="781050"/>
              <a:ext cx="3036113" cy="1485900"/>
            </a:xfrm>
            <a:prstGeom prst="roundRect">
              <a:avLst>
                <a:gd name="adj" fmla="val 9296"/>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14" name="直角三角形 13">
              <a:extLst>
                <a:ext uri="{FF2B5EF4-FFF2-40B4-BE49-F238E27FC236}">
                  <a16:creationId xmlns:a16="http://schemas.microsoft.com/office/drawing/2014/main" id="{47F33923-1D6F-4A80-8960-FE98676896C6}"/>
                </a:ext>
              </a:extLst>
            </p:cNvPr>
            <p:cNvSpPr/>
            <p:nvPr/>
          </p:nvSpPr>
          <p:spPr>
            <a:xfrm rot="16200000" flipV="1">
              <a:off x="7829549" y="583406"/>
              <a:ext cx="319088" cy="319088"/>
            </a:xfrm>
            <a:prstGeom prst="r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grpSp>
      <p:sp>
        <p:nvSpPr>
          <p:cNvPr id="15" name="文本框 14">
            <a:extLst>
              <a:ext uri="{FF2B5EF4-FFF2-40B4-BE49-F238E27FC236}">
                <a16:creationId xmlns:a16="http://schemas.microsoft.com/office/drawing/2014/main" id="{D76034F5-4882-40AF-B66A-51FE27030B1D}"/>
              </a:ext>
            </a:extLst>
          </p:cNvPr>
          <p:cNvSpPr txBox="1"/>
          <p:nvPr/>
        </p:nvSpPr>
        <p:spPr>
          <a:xfrm>
            <a:off x="7433702" y="4551219"/>
            <a:ext cx="1192633" cy="286233"/>
          </a:xfrm>
          <a:prstGeom prst="rect">
            <a:avLst/>
          </a:prstGeom>
          <a:noFill/>
          <a:effectLst/>
        </p:spPr>
        <p:txBody>
          <a:bodyPr wrap="none" lIns="0" tIns="0" rIns="0" bIns="0" rtlCol="0" anchor="t">
            <a:spAutoFit/>
          </a:bodyPr>
          <a:lstStyle/>
          <a:p>
            <a:r>
              <a:rPr lang="zh-CN" altLang="en-US" sz="1860" dirty="0">
                <a:solidFill>
                  <a:schemeClr val="bg1"/>
                </a:solidFill>
                <a:latin typeface="+mj-ea"/>
                <a:ea typeface="+mj-ea"/>
              </a:rPr>
              <a:t>关键词标题</a:t>
            </a:r>
          </a:p>
        </p:txBody>
      </p:sp>
      <p:sp>
        <p:nvSpPr>
          <p:cNvPr id="16" name="文本框 15">
            <a:extLst>
              <a:ext uri="{FF2B5EF4-FFF2-40B4-BE49-F238E27FC236}">
                <a16:creationId xmlns:a16="http://schemas.microsoft.com/office/drawing/2014/main" id="{CF6278A7-B1AC-454A-AED7-91D8BB99F08B}"/>
              </a:ext>
            </a:extLst>
          </p:cNvPr>
          <p:cNvSpPr txBox="1"/>
          <p:nvPr/>
        </p:nvSpPr>
        <p:spPr>
          <a:xfrm>
            <a:off x="7433702" y="4837450"/>
            <a:ext cx="2125197" cy="432271"/>
          </a:xfrm>
          <a:prstGeom prst="rect">
            <a:avLst/>
          </a:prstGeom>
          <a:noFill/>
          <a:effectLst/>
        </p:spPr>
        <p:txBody>
          <a:bodyPr wrap="square" lIns="0" tIns="0" rIns="0" bIns="0" rtlCol="0" anchor="t">
            <a:spAutoFit/>
          </a:bodyPr>
          <a:lstStyle/>
          <a:p>
            <a:pPr>
              <a:lnSpc>
                <a:spcPct val="130000"/>
              </a:lnSpc>
            </a:pPr>
            <a:r>
              <a:rPr lang="en-US" altLang="zh-CN" sz="1116" b="0" dirty="0">
                <a:solidFill>
                  <a:schemeClr val="bg1"/>
                </a:solidFill>
                <a:effectLst/>
                <a:latin typeface="+mn-ea"/>
              </a:rPr>
              <a:t>Lorem ipsum dolor onsectetur adipisicing elit</a:t>
            </a:r>
            <a:r>
              <a:rPr lang="en-US" altLang="zh-CN" sz="1116" dirty="0">
                <a:solidFill>
                  <a:schemeClr val="bg1"/>
                </a:solidFill>
                <a:latin typeface="+mn-ea"/>
              </a:rPr>
              <a:t> </a:t>
            </a:r>
            <a:r>
              <a:rPr lang="en-US" altLang="zh-CN" sz="1116" b="0" dirty="0">
                <a:solidFill>
                  <a:schemeClr val="bg1"/>
                </a:solidFill>
                <a:effectLst/>
                <a:latin typeface="+mn-ea"/>
              </a:rPr>
              <a:t>sed do eiusmod</a:t>
            </a:r>
            <a:endParaRPr lang="zh-CN" altLang="en-US" sz="1116" b="0" dirty="0">
              <a:solidFill>
                <a:schemeClr val="bg1"/>
              </a:solidFill>
              <a:effectLst/>
              <a:latin typeface="+mn-ea"/>
            </a:endParaRPr>
          </a:p>
        </p:txBody>
      </p:sp>
      <p:grpSp>
        <p:nvGrpSpPr>
          <p:cNvPr id="29" name="组合 28">
            <a:extLst>
              <a:ext uri="{FF2B5EF4-FFF2-40B4-BE49-F238E27FC236}">
                <a16:creationId xmlns:a16="http://schemas.microsoft.com/office/drawing/2014/main" id="{4BE5E61B-D4B0-4148-AAAF-3D15A7881448}"/>
              </a:ext>
            </a:extLst>
          </p:cNvPr>
          <p:cNvGrpSpPr/>
          <p:nvPr/>
        </p:nvGrpSpPr>
        <p:grpSpPr>
          <a:xfrm flipH="1">
            <a:off x="2306187" y="4490760"/>
            <a:ext cx="2419350" cy="1341545"/>
            <a:chOff x="7829549" y="583406"/>
            <a:chExt cx="3036113" cy="1683544"/>
          </a:xfrm>
          <a:effectLst>
            <a:outerShdw blurRad="139700" dist="38100" dir="5400000" algn="t" rotWithShape="0">
              <a:schemeClr val="accent1">
                <a:lumMod val="50000"/>
                <a:alpha val="40000"/>
              </a:schemeClr>
            </a:outerShdw>
          </a:effectLst>
        </p:grpSpPr>
        <p:sp>
          <p:nvSpPr>
            <p:cNvPr id="30" name="矩形: 圆角 29">
              <a:extLst>
                <a:ext uri="{FF2B5EF4-FFF2-40B4-BE49-F238E27FC236}">
                  <a16:creationId xmlns:a16="http://schemas.microsoft.com/office/drawing/2014/main" id="{175AA636-E11A-4E8D-BE83-D800CFDBE79C}"/>
                </a:ext>
              </a:extLst>
            </p:cNvPr>
            <p:cNvSpPr/>
            <p:nvPr/>
          </p:nvSpPr>
          <p:spPr>
            <a:xfrm>
              <a:off x="7829549" y="781050"/>
              <a:ext cx="3036113" cy="1485900"/>
            </a:xfrm>
            <a:prstGeom prst="roundRect">
              <a:avLst>
                <a:gd name="adj" fmla="val 9296"/>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31" name="直角三角形 30">
              <a:extLst>
                <a:ext uri="{FF2B5EF4-FFF2-40B4-BE49-F238E27FC236}">
                  <a16:creationId xmlns:a16="http://schemas.microsoft.com/office/drawing/2014/main" id="{3D573AE1-5A88-476F-A216-16DB2031905D}"/>
                </a:ext>
              </a:extLst>
            </p:cNvPr>
            <p:cNvSpPr/>
            <p:nvPr/>
          </p:nvSpPr>
          <p:spPr>
            <a:xfrm rot="16200000" flipV="1">
              <a:off x="7829549" y="583406"/>
              <a:ext cx="319088" cy="319088"/>
            </a:xfrm>
            <a:prstGeom prst="r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grpSp>
      <p:sp>
        <p:nvSpPr>
          <p:cNvPr id="32" name="文本框 31">
            <a:extLst>
              <a:ext uri="{FF2B5EF4-FFF2-40B4-BE49-F238E27FC236}">
                <a16:creationId xmlns:a16="http://schemas.microsoft.com/office/drawing/2014/main" id="{40F45A53-907A-4F90-9BCF-59EEE9C98287}"/>
              </a:ext>
            </a:extLst>
          </p:cNvPr>
          <p:cNvSpPr txBox="1"/>
          <p:nvPr/>
        </p:nvSpPr>
        <p:spPr>
          <a:xfrm>
            <a:off x="3325116" y="4870886"/>
            <a:ext cx="1192633" cy="286233"/>
          </a:xfrm>
          <a:prstGeom prst="rect">
            <a:avLst/>
          </a:prstGeom>
          <a:noFill/>
          <a:effectLst/>
        </p:spPr>
        <p:txBody>
          <a:bodyPr wrap="none" lIns="0" tIns="0" rIns="0" bIns="0" rtlCol="0" anchor="t">
            <a:spAutoFit/>
          </a:bodyPr>
          <a:lstStyle/>
          <a:p>
            <a:pPr algn="r"/>
            <a:r>
              <a:rPr lang="zh-CN" altLang="en-US" sz="1860" dirty="0">
                <a:solidFill>
                  <a:schemeClr val="bg1"/>
                </a:solidFill>
                <a:latin typeface="+mj-ea"/>
                <a:ea typeface="+mj-ea"/>
              </a:rPr>
              <a:t>关键词标题</a:t>
            </a:r>
          </a:p>
        </p:txBody>
      </p:sp>
      <p:sp>
        <p:nvSpPr>
          <p:cNvPr id="33" name="文本框 32">
            <a:extLst>
              <a:ext uri="{FF2B5EF4-FFF2-40B4-BE49-F238E27FC236}">
                <a16:creationId xmlns:a16="http://schemas.microsoft.com/office/drawing/2014/main" id="{602C5CBE-CAAD-4F3C-82EF-73A0AEDF4672}"/>
              </a:ext>
            </a:extLst>
          </p:cNvPr>
          <p:cNvSpPr txBox="1"/>
          <p:nvPr/>
        </p:nvSpPr>
        <p:spPr>
          <a:xfrm>
            <a:off x="2394066" y="5157117"/>
            <a:ext cx="2123683" cy="432271"/>
          </a:xfrm>
          <a:prstGeom prst="rect">
            <a:avLst/>
          </a:prstGeom>
          <a:noFill/>
          <a:effectLst/>
        </p:spPr>
        <p:txBody>
          <a:bodyPr wrap="square" lIns="0" tIns="0" rIns="0" bIns="0" rtlCol="0" anchor="t">
            <a:spAutoFit/>
          </a:bodyPr>
          <a:lstStyle/>
          <a:p>
            <a:pPr algn="r">
              <a:lnSpc>
                <a:spcPct val="130000"/>
              </a:lnSpc>
            </a:pPr>
            <a:r>
              <a:rPr lang="en-US" altLang="zh-CN" sz="1116" b="0" dirty="0">
                <a:solidFill>
                  <a:schemeClr val="bg1"/>
                </a:solidFill>
                <a:effectLst/>
                <a:latin typeface="+mn-ea"/>
              </a:rPr>
              <a:t>Lorem ipsum dolor onsectetur adipisicing elit</a:t>
            </a:r>
            <a:r>
              <a:rPr lang="en-US" altLang="zh-CN" sz="1116" dirty="0">
                <a:solidFill>
                  <a:schemeClr val="bg1"/>
                </a:solidFill>
                <a:latin typeface="+mn-ea"/>
              </a:rPr>
              <a:t> </a:t>
            </a:r>
            <a:r>
              <a:rPr lang="en-US" altLang="zh-CN" sz="1116" b="0" dirty="0">
                <a:solidFill>
                  <a:schemeClr val="bg1"/>
                </a:solidFill>
                <a:effectLst/>
                <a:latin typeface="+mn-ea"/>
              </a:rPr>
              <a:t>sed do eiusmod</a:t>
            </a:r>
            <a:endParaRPr lang="zh-CN" altLang="en-US" sz="1116" b="0" dirty="0">
              <a:solidFill>
                <a:schemeClr val="bg1"/>
              </a:solidFill>
              <a:effectLst/>
              <a:latin typeface="+mn-ea"/>
            </a:endParaRPr>
          </a:p>
        </p:txBody>
      </p:sp>
      <p:sp>
        <p:nvSpPr>
          <p:cNvPr id="34" name="iconfont-1187-868110">
            <a:extLst>
              <a:ext uri="{FF2B5EF4-FFF2-40B4-BE49-F238E27FC236}">
                <a16:creationId xmlns:a16="http://schemas.microsoft.com/office/drawing/2014/main" id="{49FE9AC6-CF28-4DC8-9F67-8BA65F3FDDA8}"/>
              </a:ext>
            </a:extLst>
          </p:cNvPr>
          <p:cNvSpPr/>
          <p:nvPr/>
        </p:nvSpPr>
        <p:spPr>
          <a:xfrm>
            <a:off x="5731300" y="2748871"/>
            <a:ext cx="729400" cy="729590"/>
          </a:xfrm>
          <a:custGeom>
            <a:avLst/>
            <a:gdLst>
              <a:gd name="T0" fmla="*/ 7682 w 7948"/>
              <a:gd name="T1" fmla="*/ 6783 h 7949"/>
              <a:gd name="T2" fmla="*/ 5299 w 7948"/>
              <a:gd name="T3" fmla="*/ 5962 h 7949"/>
              <a:gd name="T4" fmla="*/ 5331 w 7948"/>
              <a:gd name="T5" fmla="*/ 4819 h 7949"/>
              <a:gd name="T6" fmla="*/ 5842 w 7948"/>
              <a:gd name="T7" fmla="*/ 3675 h 7949"/>
              <a:gd name="T8" fmla="*/ 6062 w 7948"/>
              <a:gd name="T9" fmla="*/ 2499 h 7949"/>
              <a:gd name="T10" fmla="*/ 5782 w 7948"/>
              <a:gd name="T11" fmla="*/ 2087 h 7949"/>
              <a:gd name="T12" fmla="*/ 5560 w 7948"/>
              <a:gd name="T13" fmla="*/ 808 h 7949"/>
              <a:gd name="T14" fmla="*/ 4267 w 7948"/>
              <a:gd name="T15" fmla="*/ 3 h 7949"/>
              <a:gd name="T16" fmla="*/ 3532 w 7948"/>
              <a:gd name="T17" fmla="*/ 224 h 7949"/>
              <a:gd name="T18" fmla="*/ 2166 w 7948"/>
              <a:gd name="T19" fmla="*/ 2087 h 7949"/>
              <a:gd name="T20" fmla="*/ 1886 w 7948"/>
              <a:gd name="T21" fmla="*/ 2499 h 7949"/>
              <a:gd name="T22" fmla="*/ 2106 w 7948"/>
              <a:gd name="T23" fmla="*/ 3675 h 7949"/>
              <a:gd name="T24" fmla="*/ 2617 w 7948"/>
              <a:gd name="T25" fmla="*/ 4819 h 7949"/>
              <a:gd name="T26" fmla="*/ 2649 w 7948"/>
              <a:gd name="T27" fmla="*/ 5963 h 7949"/>
              <a:gd name="T28" fmla="*/ 266 w 7948"/>
              <a:gd name="T29" fmla="*/ 6783 h 7949"/>
              <a:gd name="T30" fmla="*/ 0 w 7948"/>
              <a:gd name="T31" fmla="*/ 7949 h 7949"/>
              <a:gd name="T32" fmla="*/ 7948 w 7948"/>
              <a:gd name="T33" fmla="*/ 7949 h 7949"/>
              <a:gd name="T34" fmla="*/ 7682 w 7948"/>
              <a:gd name="T35" fmla="*/ 6783 h 79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948" h="7949">
                <a:moveTo>
                  <a:pt x="7682" y="6783"/>
                </a:moveTo>
                <a:cubicBezTo>
                  <a:pt x="7334" y="6308"/>
                  <a:pt x="5568" y="6505"/>
                  <a:pt x="5299" y="5962"/>
                </a:cubicBezTo>
                <a:cubicBezTo>
                  <a:pt x="4764" y="4886"/>
                  <a:pt x="4982" y="5086"/>
                  <a:pt x="5331" y="4819"/>
                </a:cubicBezTo>
                <a:cubicBezTo>
                  <a:pt x="5658" y="4569"/>
                  <a:pt x="5642" y="3909"/>
                  <a:pt x="5842" y="3675"/>
                </a:cubicBezTo>
                <a:cubicBezTo>
                  <a:pt x="6045" y="3437"/>
                  <a:pt x="6139" y="2756"/>
                  <a:pt x="6062" y="2499"/>
                </a:cubicBezTo>
                <a:cubicBezTo>
                  <a:pt x="5961" y="2159"/>
                  <a:pt x="5806" y="2344"/>
                  <a:pt x="5782" y="2087"/>
                </a:cubicBezTo>
                <a:cubicBezTo>
                  <a:pt x="5732" y="1533"/>
                  <a:pt x="5872" y="1078"/>
                  <a:pt x="5560" y="808"/>
                </a:cubicBezTo>
                <a:cubicBezTo>
                  <a:pt x="5258" y="548"/>
                  <a:pt x="4881" y="10"/>
                  <a:pt x="4267" y="3"/>
                </a:cubicBezTo>
                <a:cubicBezTo>
                  <a:pt x="4053" y="0"/>
                  <a:pt x="3811" y="64"/>
                  <a:pt x="3532" y="224"/>
                </a:cubicBezTo>
                <a:cubicBezTo>
                  <a:pt x="2208" y="82"/>
                  <a:pt x="2216" y="1533"/>
                  <a:pt x="2166" y="2087"/>
                </a:cubicBezTo>
                <a:cubicBezTo>
                  <a:pt x="2142" y="2344"/>
                  <a:pt x="1987" y="2159"/>
                  <a:pt x="1886" y="2499"/>
                </a:cubicBezTo>
                <a:cubicBezTo>
                  <a:pt x="1809" y="2756"/>
                  <a:pt x="1903" y="3437"/>
                  <a:pt x="2106" y="3675"/>
                </a:cubicBezTo>
                <a:cubicBezTo>
                  <a:pt x="2306" y="3909"/>
                  <a:pt x="2290" y="4569"/>
                  <a:pt x="2617" y="4819"/>
                </a:cubicBezTo>
                <a:cubicBezTo>
                  <a:pt x="2966" y="5086"/>
                  <a:pt x="3184" y="4886"/>
                  <a:pt x="2649" y="5963"/>
                </a:cubicBezTo>
                <a:cubicBezTo>
                  <a:pt x="2380" y="6505"/>
                  <a:pt x="614" y="6308"/>
                  <a:pt x="266" y="6783"/>
                </a:cubicBezTo>
                <a:cubicBezTo>
                  <a:pt x="0" y="7146"/>
                  <a:pt x="0" y="7949"/>
                  <a:pt x="0" y="7949"/>
                </a:cubicBezTo>
                <a:lnTo>
                  <a:pt x="7948" y="7949"/>
                </a:lnTo>
                <a:cubicBezTo>
                  <a:pt x="7948" y="7949"/>
                  <a:pt x="7948" y="7146"/>
                  <a:pt x="7682" y="6783"/>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sp>
        <p:nvSpPr>
          <p:cNvPr id="35" name="文本框 34">
            <a:extLst>
              <a:ext uri="{FF2B5EF4-FFF2-40B4-BE49-F238E27FC236}">
                <a16:creationId xmlns:a16="http://schemas.microsoft.com/office/drawing/2014/main" id="{D49E9752-0363-440F-9743-A16D1C373EA5}"/>
              </a:ext>
            </a:extLst>
          </p:cNvPr>
          <p:cNvSpPr txBox="1"/>
          <p:nvPr/>
        </p:nvSpPr>
        <p:spPr>
          <a:xfrm>
            <a:off x="5454799" y="3598272"/>
            <a:ext cx="1282402" cy="307777"/>
          </a:xfrm>
          <a:prstGeom prst="rect">
            <a:avLst/>
          </a:prstGeom>
          <a:noFill/>
          <a:effectLst/>
        </p:spPr>
        <p:txBody>
          <a:bodyPr wrap="none" lIns="0" tIns="0" rIns="0" bIns="0" rtlCol="0" anchor="t">
            <a:spAutoFit/>
          </a:bodyPr>
          <a:lstStyle/>
          <a:p>
            <a:pPr algn="ctr"/>
            <a:r>
              <a:rPr lang="zh-CN" altLang="en-US" sz="2000" dirty="0">
                <a:solidFill>
                  <a:schemeClr val="accent1"/>
                </a:solidFill>
                <a:latin typeface="+mj-ea"/>
                <a:ea typeface="+mj-ea"/>
              </a:rPr>
              <a:t>关键词标题</a:t>
            </a:r>
          </a:p>
        </p:txBody>
      </p:sp>
      <p:sp>
        <p:nvSpPr>
          <p:cNvPr id="36" name="圆: 空心 35">
            <a:extLst>
              <a:ext uri="{FF2B5EF4-FFF2-40B4-BE49-F238E27FC236}">
                <a16:creationId xmlns:a16="http://schemas.microsoft.com/office/drawing/2014/main" id="{B8F1EDAC-7C59-42A2-8F96-6253EA829296}"/>
              </a:ext>
            </a:extLst>
          </p:cNvPr>
          <p:cNvSpPr/>
          <p:nvPr/>
        </p:nvSpPr>
        <p:spPr>
          <a:xfrm>
            <a:off x="3338146" y="671146"/>
            <a:ext cx="5515708" cy="5515708"/>
          </a:xfrm>
          <a:prstGeom prst="donut">
            <a:avLst>
              <a:gd name="adj" fmla="val 7385"/>
            </a:avLst>
          </a:prstGeom>
          <a:solidFill>
            <a:schemeClr val="accent1">
              <a:alpha val="5000"/>
            </a:schemeClr>
          </a:solidFill>
          <a:ln>
            <a:no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37" name="椭圆 36">
            <a:extLst>
              <a:ext uri="{FF2B5EF4-FFF2-40B4-BE49-F238E27FC236}">
                <a16:creationId xmlns:a16="http://schemas.microsoft.com/office/drawing/2014/main" id="{F67CF5CC-DB82-46BC-AA95-47E86E9252A7}"/>
              </a:ext>
            </a:extLst>
          </p:cNvPr>
          <p:cNvSpPr/>
          <p:nvPr/>
        </p:nvSpPr>
        <p:spPr>
          <a:xfrm>
            <a:off x="3511062" y="844062"/>
            <a:ext cx="5169876" cy="5169876"/>
          </a:xfrm>
          <a:prstGeom prst="ellipse">
            <a:avLst/>
          </a:prstGeom>
          <a:noFill/>
          <a:ln>
            <a:solidFill>
              <a:schemeClr val="accent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grpSp>
        <p:nvGrpSpPr>
          <p:cNvPr id="22" name="组合 21">
            <a:extLst>
              <a:ext uri="{FF2B5EF4-FFF2-40B4-BE49-F238E27FC236}">
                <a16:creationId xmlns:a16="http://schemas.microsoft.com/office/drawing/2014/main" id="{5AACB808-4090-475E-B9A1-DD9403F41DB3}"/>
              </a:ext>
            </a:extLst>
          </p:cNvPr>
          <p:cNvGrpSpPr/>
          <p:nvPr/>
        </p:nvGrpSpPr>
        <p:grpSpPr>
          <a:xfrm>
            <a:off x="2508560" y="1488807"/>
            <a:ext cx="2419350" cy="1341545"/>
            <a:chOff x="1861576" y="1524000"/>
            <a:chExt cx="2419350" cy="1341545"/>
          </a:xfrm>
        </p:grpSpPr>
        <p:grpSp>
          <p:nvGrpSpPr>
            <p:cNvPr id="17" name="组合 16">
              <a:extLst>
                <a:ext uri="{FF2B5EF4-FFF2-40B4-BE49-F238E27FC236}">
                  <a16:creationId xmlns:a16="http://schemas.microsoft.com/office/drawing/2014/main" id="{7D5C4487-4DAD-4915-9599-850A430A875F}"/>
                </a:ext>
              </a:extLst>
            </p:cNvPr>
            <p:cNvGrpSpPr/>
            <p:nvPr/>
          </p:nvGrpSpPr>
          <p:grpSpPr>
            <a:xfrm flipH="1">
              <a:off x="1861576" y="1524000"/>
              <a:ext cx="2419350" cy="1341545"/>
              <a:chOff x="7829549" y="781050"/>
              <a:chExt cx="3036113" cy="1683544"/>
            </a:xfrm>
            <a:effectLst>
              <a:outerShdw blurRad="139700" dist="38100" dir="5400000" algn="t" rotWithShape="0">
                <a:schemeClr val="accent1">
                  <a:lumMod val="50000"/>
                  <a:alpha val="40000"/>
                </a:schemeClr>
              </a:outerShdw>
            </a:effectLst>
          </p:grpSpPr>
          <p:sp>
            <p:nvSpPr>
              <p:cNvPr id="18" name="矩形: 圆角 17">
                <a:extLst>
                  <a:ext uri="{FF2B5EF4-FFF2-40B4-BE49-F238E27FC236}">
                    <a16:creationId xmlns:a16="http://schemas.microsoft.com/office/drawing/2014/main" id="{FCFD02F6-DD98-4403-9206-A95C385A00D7}"/>
                  </a:ext>
                </a:extLst>
              </p:cNvPr>
              <p:cNvSpPr/>
              <p:nvPr/>
            </p:nvSpPr>
            <p:spPr>
              <a:xfrm>
                <a:off x="7829549" y="781050"/>
                <a:ext cx="3036113" cy="1485900"/>
              </a:xfrm>
              <a:prstGeom prst="roundRect">
                <a:avLst>
                  <a:gd name="adj" fmla="val 9296"/>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19" name="直角三角形 18">
                <a:extLst>
                  <a:ext uri="{FF2B5EF4-FFF2-40B4-BE49-F238E27FC236}">
                    <a16:creationId xmlns:a16="http://schemas.microsoft.com/office/drawing/2014/main" id="{9A297836-EF71-47A5-9CCA-A499BD8BF264}"/>
                  </a:ext>
                </a:extLst>
              </p:cNvPr>
              <p:cNvSpPr/>
              <p:nvPr/>
            </p:nvSpPr>
            <p:spPr>
              <a:xfrm rot="5400000">
                <a:off x="7829549" y="2145506"/>
                <a:ext cx="319088" cy="319088"/>
              </a:xfrm>
              <a:prstGeom prst="r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grpSp>
        <p:sp>
          <p:nvSpPr>
            <p:cNvPr id="20" name="文本框 19">
              <a:extLst>
                <a:ext uri="{FF2B5EF4-FFF2-40B4-BE49-F238E27FC236}">
                  <a16:creationId xmlns:a16="http://schemas.microsoft.com/office/drawing/2014/main" id="{A5EB9673-BE1F-4EEC-91C3-36FE84D8F93D}"/>
                </a:ext>
              </a:extLst>
            </p:cNvPr>
            <p:cNvSpPr txBox="1"/>
            <p:nvPr/>
          </p:nvSpPr>
          <p:spPr>
            <a:xfrm>
              <a:off x="2868878" y="1736074"/>
              <a:ext cx="1192633" cy="286233"/>
            </a:xfrm>
            <a:prstGeom prst="rect">
              <a:avLst/>
            </a:prstGeom>
            <a:noFill/>
            <a:effectLst/>
          </p:spPr>
          <p:txBody>
            <a:bodyPr wrap="none" lIns="0" tIns="0" rIns="0" bIns="0" rtlCol="0" anchor="t">
              <a:spAutoFit/>
            </a:bodyPr>
            <a:lstStyle/>
            <a:p>
              <a:pPr algn="r"/>
              <a:r>
                <a:rPr lang="zh-CN" altLang="en-US" sz="1860" dirty="0">
                  <a:solidFill>
                    <a:schemeClr val="bg1"/>
                  </a:solidFill>
                  <a:latin typeface="+mj-ea"/>
                  <a:ea typeface="+mj-ea"/>
                </a:rPr>
                <a:t>关键词标题</a:t>
              </a:r>
            </a:p>
          </p:txBody>
        </p:sp>
        <p:sp>
          <p:nvSpPr>
            <p:cNvPr id="21" name="文本框 20">
              <a:extLst>
                <a:ext uri="{FF2B5EF4-FFF2-40B4-BE49-F238E27FC236}">
                  <a16:creationId xmlns:a16="http://schemas.microsoft.com/office/drawing/2014/main" id="{31413CF2-449C-417E-8004-E75162841EFF}"/>
                </a:ext>
              </a:extLst>
            </p:cNvPr>
            <p:cNvSpPr txBox="1"/>
            <p:nvPr/>
          </p:nvSpPr>
          <p:spPr>
            <a:xfrm>
              <a:off x="1937828" y="2022305"/>
              <a:ext cx="2123683" cy="432271"/>
            </a:xfrm>
            <a:prstGeom prst="rect">
              <a:avLst/>
            </a:prstGeom>
            <a:noFill/>
            <a:effectLst/>
          </p:spPr>
          <p:txBody>
            <a:bodyPr wrap="square" lIns="0" tIns="0" rIns="0" bIns="0" rtlCol="0" anchor="t">
              <a:spAutoFit/>
            </a:bodyPr>
            <a:lstStyle/>
            <a:p>
              <a:pPr algn="r">
                <a:lnSpc>
                  <a:spcPct val="130000"/>
                </a:lnSpc>
              </a:pPr>
              <a:r>
                <a:rPr lang="en-US" altLang="zh-CN" sz="1116" b="0" dirty="0">
                  <a:solidFill>
                    <a:schemeClr val="bg1"/>
                  </a:solidFill>
                  <a:effectLst/>
                  <a:latin typeface="+mn-ea"/>
                </a:rPr>
                <a:t>Lorem ipsum dolor onsectetur adipisicing elit</a:t>
              </a:r>
              <a:r>
                <a:rPr lang="en-US" altLang="zh-CN" sz="1116" dirty="0">
                  <a:solidFill>
                    <a:schemeClr val="bg1"/>
                  </a:solidFill>
                  <a:latin typeface="+mn-ea"/>
                </a:rPr>
                <a:t> </a:t>
              </a:r>
              <a:r>
                <a:rPr lang="en-US" altLang="zh-CN" sz="1116" b="0" dirty="0">
                  <a:solidFill>
                    <a:schemeClr val="bg1"/>
                  </a:solidFill>
                  <a:effectLst/>
                  <a:latin typeface="+mn-ea"/>
                </a:rPr>
                <a:t>sed do eiusmod</a:t>
              </a:r>
              <a:endParaRPr lang="zh-CN" altLang="en-US" sz="1116" b="0" dirty="0">
                <a:solidFill>
                  <a:schemeClr val="bg1"/>
                </a:solidFill>
                <a:effectLst/>
                <a:latin typeface="+mn-ea"/>
              </a:endParaRPr>
            </a:p>
          </p:txBody>
        </p:sp>
      </p:grpSp>
    </p:spTree>
    <p:extLst>
      <p:ext uri="{BB962C8B-B14F-4D97-AF65-F5344CB8AC3E}">
        <p14:creationId xmlns:p14="http://schemas.microsoft.com/office/powerpoint/2010/main" val="1096907309"/>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3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椭圆 1">
            <a:extLst>
              <a:ext uri="{FF2B5EF4-FFF2-40B4-BE49-F238E27FC236}">
                <a16:creationId xmlns:a16="http://schemas.microsoft.com/office/drawing/2014/main" id="{9125C244-E070-461F-A372-6F61709125E4}"/>
              </a:ext>
            </a:extLst>
          </p:cNvPr>
          <p:cNvSpPr/>
          <p:nvPr/>
        </p:nvSpPr>
        <p:spPr>
          <a:xfrm>
            <a:off x="5090160" y="2423160"/>
            <a:ext cx="2011680" cy="2011680"/>
          </a:xfrm>
          <a:prstGeom prst="ellipse">
            <a:avLst/>
          </a:prstGeom>
          <a:gradFill>
            <a:gsLst>
              <a:gs pos="1000">
                <a:schemeClr val="accent1">
                  <a:lumMod val="20000"/>
                  <a:lumOff val="80000"/>
                </a:schemeClr>
              </a:gs>
              <a:gs pos="38000">
                <a:schemeClr val="accent1">
                  <a:lumMod val="60000"/>
                  <a:lumOff val="40000"/>
                </a:schemeClr>
              </a:gs>
              <a:gs pos="78000">
                <a:schemeClr val="accent1">
                  <a:lumMod val="75000"/>
                </a:schemeClr>
              </a:gs>
              <a:gs pos="63000">
                <a:schemeClr val="accent1"/>
              </a:gs>
            </a:gsLst>
            <a:path path="circle">
              <a:fillToRect r="100000" b="10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zh-CN" altLang="en-US" sz="1600">
              <a:solidFill>
                <a:schemeClr val="bg1"/>
              </a:solidFill>
              <a:latin typeface="+mj-ea"/>
              <a:ea typeface="+mj-ea"/>
            </a:endParaRPr>
          </a:p>
        </p:txBody>
      </p:sp>
      <p:sp>
        <p:nvSpPr>
          <p:cNvPr id="3" name="矩形 2">
            <a:extLst>
              <a:ext uri="{FF2B5EF4-FFF2-40B4-BE49-F238E27FC236}">
                <a16:creationId xmlns:a16="http://schemas.microsoft.com/office/drawing/2014/main" id="{9DD05C2C-C5B3-4F01-9E7C-E39679C670AE}"/>
              </a:ext>
            </a:extLst>
          </p:cNvPr>
          <p:cNvSpPr/>
          <p:nvPr/>
        </p:nvSpPr>
        <p:spPr>
          <a:xfrm>
            <a:off x="1903476" y="2359152"/>
            <a:ext cx="2502408" cy="2139696"/>
          </a:xfrm>
          <a:prstGeom prst="rect">
            <a:avLst/>
          </a:prstGeom>
          <a:gradFill>
            <a:gsLst>
              <a:gs pos="0">
                <a:schemeClr val="accent1">
                  <a:alpha val="0"/>
                </a:schemeClr>
              </a:gs>
              <a:gs pos="100000">
                <a:schemeClr val="accent1">
                  <a:alpha val="20000"/>
                </a:schemeClr>
              </a:gs>
            </a:gsLst>
            <a:lin ang="0" scaled="0"/>
          </a:gradFill>
          <a:ln w="25400">
            <a:gradFill>
              <a:gsLst>
                <a:gs pos="0">
                  <a:schemeClr val="accent1">
                    <a:alpha val="0"/>
                  </a:schemeClr>
                </a:gs>
                <a:gs pos="100000">
                  <a:schemeClr val="accent1"/>
                </a:gs>
              </a:gsLst>
              <a:lin ang="0" scaled="0"/>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4" name="梯形 3">
            <a:extLst>
              <a:ext uri="{FF2B5EF4-FFF2-40B4-BE49-F238E27FC236}">
                <a16:creationId xmlns:a16="http://schemas.microsoft.com/office/drawing/2014/main" id="{93E282CB-FDAB-428D-BF03-82298F798B63}"/>
              </a:ext>
            </a:extLst>
          </p:cNvPr>
          <p:cNvSpPr/>
          <p:nvPr/>
        </p:nvSpPr>
        <p:spPr>
          <a:xfrm rot="16200000" flipV="1">
            <a:off x="3861943" y="2903093"/>
            <a:ext cx="2136648" cy="1048766"/>
          </a:xfrm>
          <a:prstGeom prst="trapezoid">
            <a:avLst/>
          </a:prstGeom>
          <a:gradFill flip="none" rotWithShape="0">
            <a:gsLst>
              <a:gs pos="0">
                <a:schemeClr val="accent1">
                  <a:alpha val="0"/>
                </a:schemeClr>
              </a:gs>
              <a:gs pos="100000">
                <a:schemeClr val="accent1">
                  <a:alpha val="10000"/>
                </a:schemeClr>
              </a:gs>
            </a:gsLst>
            <a:lin ang="10800000" scaled="0"/>
            <a:tileRect/>
          </a:gradFill>
          <a:ln w="25400">
            <a:gradFill>
              <a:gsLst>
                <a:gs pos="0">
                  <a:schemeClr val="accent1">
                    <a:alpha val="0"/>
                  </a:schemeClr>
                </a:gs>
                <a:gs pos="100000">
                  <a:schemeClr val="accent1"/>
                </a:gs>
              </a:gsLst>
              <a:lin ang="5400000" scaled="0"/>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5" name="文本框 4">
            <a:extLst>
              <a:ext uri="{FF2B5EF4-FFF2-40B4-BE49-F238E27FC236}">
                <a16:creationId xmlns:a16="http://schemas.microsoft.com/office/drawing/2014/main" id="{95372B73-A670-40F4-ADFF-0C0F4BC98F3D}"/>
              </a:ext>
            </a:extLst>
          </p:cNvPr>
          <p:cNvSpPr txBox="1"/>
          <p:nvPr/>
        </p:nvSpPr>
        <p:spPr>
          <a:xfrm>
            <a:off x="2951996" y="2988661"/>
            <a:ext cx="1192633" cy="286233"/>
          </a:xfrm>
          <a:prstGeom prst="rect">
            <a:avLst/>
          </a:prstGeom>
          <a:noFill/>
          <a:effectLst/>
        </p:spPr>
        <p:txBody>
          <a:bodyPr wrap="none" lIns="0" tIns="0" rIns="0" bIns="0" rtlCol="0" anchor="t">
            <a:spAutoFit/>
          </a:bodyPr>
          <a:lstStyle/>
          <a:p>
            <a:pPr algn="r"/>
            <a:r>
              <a:rPr lang="zh-CN" altLang="en-US" sz="1860" dirty="0">
                <a:solidFill>
                  <a:schemeClr val="accent1"/>
                </a:solidFill>
                <a:latin typeface="+mj-ea"/>
                <a:ea typeface="+mj-ea"/>
              </a:rPr>
              <a:t>关键词标题</a:t>
            </a:r>
          </a:p>
        </p:txBody>
      </p:sp>
      <p:sp>
        <p:nvSpPr>
          <p:cNvPr id="6" name="文本框 5">
            <a:extLst>
              <a:ext uri="{FF2B5EF4-FFF2-40B4-BE49-F238E27FC236}">
                <a16:creationId xmlns:a16="http://schemas.microsoft.com/office/drawing/2014/main" id="{3BB4BC63-7AAA-4913-BC13-EF2FB69F13B3}"/>
              </a:ext>
            </a:extLst>
          </p:cNvPr>
          <p:cNvSpPr txBox="1"/>
          <p:nvPr/>
        </p:nvSpPr>
        <p:spPr>
          <a:xfrm>
            <a:off x="2020946" y="3274892"/>
            <a:ext cx="2123683" cy="432271"/>
          </a:xfrm>
          <a:prstGeom prst="rect">
            <a:avLst/>
          </a:prstGeom>
          <a:noFill/>
          <a:effectLst/>
        </p:spPr>
        <p:txBody>
          <a:bodyPr wrap="square" lIns="0" tIns="0" rIns="0" bIns="0" rtlCol="0" anchor="t">
            <a:spAutoFit/>
          </a:bodyPr>
          <a:lstStyle/>
          <a:p>
            <a:pPr algn="r">
              <a:lnSpc>
                <a:spcPct val="130000"/>
              </a:lnSpc>
            </a:pPr>
            <a:r>
              <a:rPr lang="en-US" altLang="zh-CN" sz="1116" b="0" dirty="0">
                <a:solidFill>
                  <a:schemeClr val="tx1">
                    <a:lumMod val="75000"/>
                    <a:lumOff val="25000"/>
                  </a:schemeClr>
                </a:solidFill>
                <a:effectLst/>
                <a:latin typeface="+mn-ea"/>
              </a:rPr>
              <a:t>Lorem ipsum dolor onsectetur adipisicing elit</a:t>
            </a:r>
            <a:r>
              <a:rPr lang="en-US" altLang="zh-CN" sz="1116" dirty="0">
                <a:solidFill>
                  <a:schemeClr val="tx1">
                    <a:lumMod val="75000"/>
                    <a:lumOff val="25000"/>
                  </a:schemeClr>
                </a:solidFill>
                <a:latin typeface="+mn-ea"/>
              </a:rPr>
              <a:t> </a:t>
            </a:r>
            <a:r>
              <a:rPr lang="en-US" altLang="zh-CN" sz="1116" b="0" dirty="0">
                <a:solidFill>
                  <a:schemeClr val="tx1">
                    <a:lumMod val="75000"/>
                    <a:lumOff val="25000"/>
                  </a:schemeClr>
                </a:solidFill>
                <a:effectLst/>
                <a:latin typeface="+mn-ea"/>
              </a:rPr>
              <a:t>sed do eiusmod</a:t>
            </a:r>
            <a:endParaRPr lang="zh-CN" altLang="en-US" sz="1116" b="0" dirty="0">
              <a:solidFill>
                <a:schemeClr val="tx1">
                  <a:lumMod val="75000"/>
                  <a:lumOff val="25000"/>
                </a:schemeClr>
              </a:solidFill>
              <a:effectLst/>
              <a:latin typeface="+mn-ea"/>
            </a:endParaRPr>
          </a:p>
        </p:txBody>
      </p:sp>
      <p:sp>
        <p:nvSpPr>
          <p:cNvPr id="9" name="矩形 8">
            <a:extLst>
              <a:ext uri="{FF2B5EF4-FFF2-40B4-BE49-F238E27FC236}">
                <a16:creationId xmlns:a16="http://schemas.microsoft.com/office/drawing/2014/main" id="{5C49C2E0-B505-4FE5-9C53-1B2814674D7F}"/>
              </a:ext>
            </a:extLst>
          </p:cNvPr>
          <p:cNvSpPr/>
          <p:nvPr/>
        </p:nvSpPr>
        <p:spPr>
          <a:xfrm flipH="1">
            <a:off x="7786116" y="2359152"/>
            <a:ext cx="2502408" cy="2139696"/>
          </a:xfrm>
          <a:prstGeom prst="rect">
            <a:avLst/>
          </a:prstGeom>
          <a:gradFill>
            <a:gsLst>
              <a:gs pos="0">
                <a:schemeClr val="accent1">
                  <a:alpha val="0"/>
                </a:schemeClr>
              </a:gs>
              <a:gs pos="100000">
                <a:schemeClr val="accent1">
                  <a:alpha val="20000"/>
                </a:schemeClr>
              </a:gs>
            </a:gsLst>
            <a:lin ang="0" scaled="0"/>
          </a:gradFill>
          <a:ln w="25400">
            <a:gradFill>
              <a:gsLst>
                <a:gs pos="0">
                  <a:schemeClr val="accent1">
                    <a:alpha val="0"/>
                  </a:schemeClr>
                </a:gs>
                <a:gs pos="100000">
                  <a:schemeClr val="accent1"/>
                </a:gs>
              </a:gsLst>
              <a:lin ang="0" scaled="0"/>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10" name="梯形 9">
            <a:extLst>
              <a:ext uri="{FF2B5EF4-FFF2-40B4-BE49-F238E27FC236}">
                <a16:creationId xmlns:a16="http://schemas.microsoft.com/office/drawing/2014/main" id="{DDC9BFBC-8FA1-4481-AE98-0F6BD0453139}"/>
              </a:ext>
            </a:extLst>
          </p:cNvPr>
          <p:cNvSpPr/>
          <p:nvPr/>
        </p:nvSpPr>
        <p:spPr>
          <a:xfrm rot="5400000" flipH="1" flipV="1">
            <a:off x="6193409" y="2903093"/>
            <a:ext cx="2136648" cy="1048766"/>
          </a:xfrm>
          <a:prstGeom prst="trapezoid">
            <a:avLst/>
          </a:prstGeom>
          <a:gradFill flip="none" rotWithShape="0">
            <a:gsLst>
              <a:gs pos="100000">
                <a:schemeClr val="accent1">
                  <a:alpha val="0"/>
                </a:schemeClr>
              </a:gs>
              <a:gs pos="0">
                <a:schemeClr val="accent1">
                  <a:alpha val="10000"/>
                </a:schemeClr>
              </a:gs>
            </a:gsLst>
            <a:lin ang="10800000" scaled="0"/>
            <a:tileRect/>
          </a:gradFill>
          <a:ln w="25400">
            <a:gradFill>
              <a:gsLst>
                <a:gs pos="0">
                  <a:schemeClr val="accent1">
                    <a:alpha val="0"/>
                  </a:schemeClr>
                </a:gs>
                <a:gs pos="100000">
                  <a:schemeClr val="accent1"/>
                </a:gs>
              </a:gsLst>
              <a:lin ang="5400000" scaled="0"/>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11" name="文本框 10">
            <a:extLst>
              <a:ext uri="{FF2B5EF4-FFF2-40B4-BE49-F238E27FC236}">
                <a16:creationId xmlns:a16="http://schemas.microsoft.com/office/drawing/2014/main" id="{435E1A22-08BB-4D36-B39D-8AFF3B7DD031}"/>
              </a:ext>
            </a:extLst>
          </p:cNvPr>
          <p:cNvSpPr txBox="1"/>
          <p:nvPr/>
        </p:nvSpPr>
        <p:spPr>
          <a:xfrm flipH="1">
            <a:off x="8046715" y="2988661"/>
            <a:ext cx="1192633" cy="286233"/>
          </a:xfrm>
          <a:prstGeom prst="rect">
            <a:avLst/>
          </a:prstGeom>
          <a:noFill/>
          <a:effectLst/>
        </p:spPr>
        <p:txBody>
          <a:bodyPr wrap="none" lIns="0" tIns="0" rIns="0" bIns="0" rtlCol="0" anchor="t">
            <a:spAutoFit/>
          </a:bodyPr>
          <a:lstStyle/>
          <a:p>
            <a:r>
              <a:rPr lang="zh-CN" altLang="en-US" sz="1860" dirty="0">
                <a:solidFill>
                  <a:schemeClr val="accent1"/>
                </a:solidFill>
                <a:latin typeface="+mj-ea"/>
                <a:ea typeface="+mj-ea"/>
              </a:rPr>
              <a:t>关键词标题</a:t>
            </a:r>
          </a:p>
        </p:txBody>
      </p:sp>
      <p:sp>
        <p:nvSpPr>
          <p:cNvPr id="12" name="文本框 11">
            <a:extLst>
              <a:ext uri="{FF2B5EF4-FFF2-40B4-BE49-F238E27FC236}">
                <a16:creationId xmlns:a16="http://schemas.microsoft.com/office/drawing/2014/main" id="{4517FEF7-FD4D-444E-8BAD-D4BA7ECE0496}"/>
              </a:ext>
            </a:extLst>
          </p:cNvPr>
          <p:cNvSpPr txBox="1"/>
          <p:nvPr/>
        </p:nvSpPr>
        <p:spPr>
          <a:xfrm flipH="1">
            <a:off x="8046715" y="3274892"/>
            <a:ext cx="2123683" cy="432271"/>
          </a:xfrm>
          <a:prstGeom prst="rect">
            <a:avLst/>
          </a:prstGeom>
          <a:noFill/>
          <a:effectLst/>
        </p:spPr>
        <p:txBody>
          <a:bodyPr wrap="square" lIns="0" tIns="0" rIns="0" bIns="0" rtlCol="0" anchor="t">
            <a:spAutoFit/>
          </a:bodyPr>
          <a:lstStyle/>
          <a:p>
            <a:pPr>
              <a:lnSpc>
                <a:spcPct val="130000"/>
              </a:lnSpc>
            </a:pPr>
            <a:r>
              <a:rPr lang="en-US" altLang="zh-CN" sz="1116" b="0" dirty="0">
                <a:solidFill>
                  <a:schemeClr val="tx1">
                    <a:lumMod val="75000"/>
                    <a:lumOff val="25000"/>
                  </a:schemeClr>
                </a:solidFill>
                <a:effectLst/>
                <a:latin typeface="+mn-ea"/>
              </a:rPr>
              <a:t>Lorem ipsum dolor onsectetur adipisicing elit</a:t>
            </a:r>
            <a:r>
              <a:rPr lang="en-US" altLang="zh-CN" sz="1116" dirty="0">
                <a:solidFill>
                  <a:schemeClr val="tx1">
                    <a:lumMod val="75000"/>
                    <a:lumOff val="25000"/>
                  </a:schemeClr>
                </a:solidFill>
                <a:latin typeface="+mn-ea"/>
              </a:rPr>
              <a:t> </a:t>
            </a:r>
            <a:r>
              <a:rPr lang="en-US" altLang="zh-CN" sz="1116" b="0" dirty="0">
                <a:solidFill>
                  <a:schemeClr val="tx1">
                    <a:lumMod val="75000"/>
                    <a:lumOff val="25000"/>
                  </a:schemeClr>
                </a:solidFill>
                <a:effectLst/>
                <a:latin typeface="+mn-ea"/>
              </a:rPr>
              <a:t>sed do eiusmod</a:t>
            </a:r>
            <a:endParaRPr lang="zh-CN" altLang="en-US" sz="1116" b="0" dirty="0">
              <a:solidFill>
                <a:schemeClr val="tx1">
                  <a:lumMod val="75000"/>
                  <a:lumOff val="25000"/>
                </a:schemeClr>
              </a:solidFill>
              <a:effectLst/>
              <a:latin typeface="+mn-ea"/>
            </a:endParaRPr>
          </a:p>
        </p:txBody>
      </p:sp>
      <p:sp>
        <p:nvSpPr>
          <p:cNvPr id="13" name="iconfont-1187-868110">
            <a:extLst>
              <a:ext uri="{FF2B5EF4-FFF2-40B4-BE49-F238E27FC236}">
                <a16:creationId xmlns:a16="http://schemas.microsoft.com/office/drawing/2014/main" id="{BFF3DA43-DE31-4181-B717-1EF9B2D0FB4A}"/>
              </a:ext>
            </a:extLst>
          </p:cNvPr>
          <p:cNvSpPr/>
          <p:nvPr/>
        </p:nvSpPr>
        <p:spPr>
          <a:xfrm>
            <a:off x="5731300" y="2748871"/>
            <a:ext cx="729400" cy="729590"/>
          </a:xfrm>
          <a:custGeom>
            <a:avLst/>
            <a:gdLst>
              <a:gd name="T0" fmla="*/ 7682 w 7948"/>
              <a:gd name="T1" fmla="*/ 6783 h 7949"/>
              <a:gd name="T2" fmla="*/ 5299 w 7948"/>
              <a:gd name="T3" fmla="*/ 5962 h 7949"/>
              <a:gd name="T4" fmla="*/ 5331 w 7948"/>
              <a:gd name="T5" fmla="*/ 4819 h 7949"/>
              <a:gd name="T6" fmla="*/ 5842 w 7948"/>
              <a:gd name="T7" fmla="*/ 3675 h 7949"/>
              <a:gd name="T8" fmla="*/ 6062 w 7948"/>
              <a:gd name="T9" fmla="*/ 2499 h 7949"/>
              <a:gd name="T10" fmla="*/ 5782 w 7948"/>
              <a:gd name="T11" fmla="*/ 2087 h 7949"/>
              <a:gd name="T12" fmla="*/ 5560 w 7948"/>
              <a:gd name="T13" fmla="*/ 808 h 7949"/>
              <a:gd name="T14" fmla="*/ 4267 w 7948"/>
              <a:gd name="T15" fmla="*/ 3 h 7949"/>
              <a:gd name="T16" fmla="*/ 3532 w 7948"/>
              <a:gd name="T17" fmla="*/ 224 h 7949"/>
              <a:gd name="T18" fmla="*/ 2166 w 7948"/>
              <a:gd name="T19" fmla="*/ 2087 h 7949"/>
              <a:gd name="T20" fmla="*/ 1886 w 7948"/>
              <a:gd name="T21" fmla="*/ 2499 h 7949"/>
              <a:gd name="T22" fmla="*/ 2106 w 7948"/>
              <a:gd name="T23" fmla="*/ 3675 h 7949"/>
              <a:gd name="T24" fmla="*/ 2617 w 7948"/>
              <a:gd name="T25" fmla="*/ 4819 h 7949"/>
              <a:gd name="T26" fmla="*/ 2649 w 7948"/>
              <a:gd name="T27" fmla="*/ 5963 h 7949"/>
              <a:gd name="T28" fmla="*/ 266 w 7948"/>
              <a:gd name="T29" fmla="*/ 6783 h 7949"/>
              <a:gd name="T30" fmla="*/ 0 w 7948"/>
              <a:gd name="T31" fmla="*/ 7949 h 7949"/>
              <a:gd name="T32" fmla="*/ 7948 w 7948"/>
              <a:gd name="T33" fmla="*/ 7949 h 7949"/>
              <a:gd name="T34" fmla="*/ 7682 w 7948"/>
              <a:gd name="T35" fmla="*/ 6783 h 79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948" h="7949">
                <a:moveTo>
                  <a:pt x="7682" y="6783"/>
                </a:moveTo>
                <a:cubicBezTo>
                  <a:pt x="7334" y="6308"/>
                  <a:pt x="5568" y="6505"/>
                  <a:pt x="5299" y="5962"/>
                </a:cubicBezTo>
                <a:cubicBezTo>
                  <a:pt x="4764" y="4886"/>
                  <a:pt x="4982" y="5086"/>
                  <a:pt x="5331" y="4819"/>
                </a:cubicBezTo>
                <a:cubicBezTo>
                  <a:pt x="5658" y="4569"/>
                  <a:pt x="5642" y="3909"/>
                  <a:pt x="5842" y="3675"/>
                </a:cubicBezTo>
                <a:cubicBezTo>
                  <a:pt x="6045" y="3437"/>
                  <a:pt x="6139" y="2756"/>
                  <a:pt x="6062" y="2499"/>
                </a:cubicBezTo>
                <a:cubicBezTo>
                  <a:pt x="5961" y="2159"/>
                  <a:pt x="5806" y="2344"/>
                  <a:pt x="5782" y="2087"/>
                </a:cubicBezTo>
                <a:cubicBezTo>
                  <a:pt x="5732" y="1533"/>
                  <a:pt x="5872" y="1078"/>
                  <a:pt x="5560" y="808"/>
                </a:cubicBezTo>
                <a:cubicBezTo>
                  <a:pt x="5258" y="548"/>
                  <a:pt x="4881" y="10"/>
                  <a:pt x="4267" y="3"/>
                </a:cubicBezTo>
                <a:cubicBezTo>
                  <a:pt x="4053" y="0"/>
                  <a:pt x="3811" y="64"/>
                  <a:pt x="3532" y="224"/>
                </a:cubicBezTo>
                <a:cubicBezTo>
                  <a:pt x="2208" y="82"/>
                  <a:pt x="2216" y="1533"/>
                  <a:pt x="2166" y="2087"/>
                </a:cubicBezTo>
                <a:cubicBezTo>
                  <a:pt x="2142" y="2344"/>
                  <a:pt x="1987" y="2159"/>
                  <a:pt x="1886" y="2499"/>
                </a:cubicBezTo>
                <a:cubicBezTo>
                  <a:pt x="1809" y="2756"/>
                  <a:pt x="1903" y="3437"/>
                  <a:pt x="2106" y="3675"/>
                </a:cubicBezTo>
                <a:cubicBezTo>
                  <a:pt x="2306" y="3909"/>
                  <a:pt x="2290" y="4569"/>
                  <a:pt x="2617" y="4819"/>
                </a:cubicBezTo>
                <a:cubicBezTo>
                  <a:pt x="2966" y="5086"/>
                  <a:pt x="3184" y="4886"/>
                  <a:pt x="2649" y="5963"/>
                </a:cubicBezTo>
                <a:cubicBezTo>
                  <a:pt x="2380" y="6505"/>
                  <a:pt x="614" y="6308"/>
                  <a:pt x="266" y="6783"/>
                </a:cubicBezTo>
                <a:cubicBezTo>
                  <a:pt x="0" y="7146"/>
                  <a:pt x="0" y="7949"/>
                  <a:pt x="0" y="7949"/>
                </a:cubicBezTo>
                <a:lnTo>
                  <a:pt x="7948" y="7949"/>
                </a:lnTo>
                <a:cubicBezTo>
                  <a:pt x="7948" y="7949"/>
                  <a:pt x="7948" y="7146"/>
                  <a:pt x="7682" y="6783"/>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solidFill>
                <a:schemeClr val="bg1"/>
              </a:solidFill>
            </a:endParaRPr>
          </a:p>
        </p:txBody>
      </p:sp>
      <p:sp>
        <p:nvSpPr>
          <p:cNvPr id="14" name="文本框 13">
            <a:extLst>
              <a:ext uri="{FF2B5EF4-FFF2-40B4-BE49-F238E27FC236}">
                <a16:creationId xmlns:a16="http://schemas.microsoft.com/office/drawing/2014/main" id="{9D0970A3-909C-44AD-AE86-A5A94CB6337E}"/>
              </a:ext>
            </a:extLst>
          </p:cNvPr>
          <p:cNvSpPr txBox="1"/>
          <p:nvPr/>
        </p:nvSpPr>
        <p:spPr>
          <a:xfrm>
            <a:off x="5454799" y="3598272"/>
            <a:ext cx="1282402" cy="307777"/>
          </a:xfrm>
          <a:prstGeom prst="rect">
            <a:avLst/>
          </a:prstGeom>
          <a:noFill/>
          <a:effectLst/>
        </p:spPr>
        <p:txBody>
          <a:bodyPr wrap="none" lIns="0" tIns="0" rIns="0" bIns="0" rtlCol="0" anchor="t">
            <a:spAutoFit/>
          </a:bodyPr>
          <a:lstStyle/>
          <a:p>
            <a:pPr algn="ctr"/>
            <a:r>
              <a:rPr lang="zh-CN" altLang="en-US" sz="2000" dirty="0">
                <a:solidFill>
                  <a:schemeClr val="bg1"/>
                </a:solidFill>
                <a:latin typeface="+mj-ea"/>
                <a:ea typeface="+mj-ea"/>
              </a:rPr>
              <a:t>关键词标题</a:t>
            </a:r>
          </a:p>
        </p:txBody>
      </p:sp>
    </p:spTree>
    <p:extLst>
      <p:ext uri="{BB962C8B-B14F-4D97-AF65-F5344CB8AC3E}">
        <p14:creationId xmlns:p14="http://schemas.microsoft.com/office/powerpoint/2010/main" val="929234978"/>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3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圆角 1">
            <a:extLst>
              <a:ext uri="{FF2B5EF4-FFF2-40B4-BE49-F238E27FC236}">
                <a16:creationId xmlns:a16="http://schemas.microsoft.com/office/drawing/2014/main" id="{40970E4D-14F5-4328-9597-E37A218B4774}"/>
              </a:ext>
            </a:extLst>
          </p:cNvPr>
          <p:cNvSpPr/>
          <p:nvPr/>
        </p:nvSpPr>
        <p:spPr>
          <a:xfrm>
            <a:off x="1989074" y="2533650"/>
            <a:ext cx="3733800" cy="1981200"/>
          </a:xfrm>
          <a:prstGeom prst="roundRect">
            <a:avLst>
              <a:gd name="adj" fmla="val 8211"/>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3" name="文本框 2">
            <a:extLst>
              <a:ext uri="{FF2B5EF4-FFF2-40B4-BE49-F238E27FC236}">
                <a16:creationId xmlns:a16="http://schemas.microsoft.com/office/drawing/2014/main" id="{46CB64B2-ADAC-4B51-8B45-1BD69D12DE4A}"/>
              </a:ext>
            </a:extLst>
          </p:cNvPr>
          <p:cNvSpPr txBox="1"/>
          <p:nvPr/>
        </p:nvSpPr>
        <p:spPr>
          <a:xfrm flipH="1">
            <a:off x="3086533" y="2961792"/>
            <a:ext cx="1538883" cy="369332"/>
          </a:xfrm>
          <a:prstGeom prst="rect">
            <a:avLst/>
          </a:prstGeom>
          <a:noFill/>
          <a:effectLst/>
        </p:spPr>
        <p:txBody>
          <a:bodyPr wrap="none" lIns="0" tIns="0" rIns="0" bIns="0" rtlCol="0" anchor="t">
            <a:spAutoFit/>
          </a:bodyPr>
          <a:lstStyle/>
          <a:p>
            <a:pPr algn="ctr"/>
            <a:r>
              <a:rPr lang="zh-CN" altLang="en-US" sz="2400" dirty="0">
                <a:solidFill>
                  <a:schemeClr val="bg1"/>
                </a:solidFill>
                <a:latin typeface="+mj-ea"/>
                <a:ea typeface="+mj-ea"/>
              </a:rPr>
              <a:t>关键词标题</a:t>
            </a:r>
          </a:p>
        </p:txBody>
      </p:sp>
      <p:sp>
        <p:nvSpPr>
          <p:cNvPr id="4" name="文本框 3">
            <a:extLst>
              <a:ext uri="{FF2B5EF4-FFF2-40B4-BE49-F238E27FC236}">
                <a16:creationId xmlns:a16="http://schemas.microsoft.com/office/drawing/2014/main" id="{1B883612-CB38-4E94-A3FC-B5D447F000FB}"/>
              </a:ext>
            </a:extLst>
          </p:cNvPr>
          <p:cNvSpPr txBox="1"/>
          <p:nvPr/>
        </p:nvSpPr>
        <p:spPr>
          <a:xfrm flipH="1">
            <a:off x="2377949" y="3428999"/>
            <a:ext cx="2956050" cy="542200"/>
          </a:xfrm>
          <a:prstGeom prst="rect">
            <a:avLst/>
          </a:prstGeom>
          <a:noFill/>
          <a:effectLst/>
        </p:spPr>
        <p:txBody>
          <a:bodyPr wrap="square" lIns="0" tIns="0" rIns="0" bIns="0" rtlCol="0" anchor="t">
            <a:spAutoFit/>
          </a:bodyPr>
          <a:lstStyle/>
          <a:p>
            <a:pPr algn="ctr">
              <a:lnSpc>
                <a:spcPct val="130000"/>
              </a:lnSpc>
            </a:pPr>
            <a:r>
              <a:rPr lang="en-US" altLang="zh-CN" sz="1400" b="0" dirty="0">
                <a:solidFill>
                  <a:schemeClr val="bg1"/>
                </a:solidFill>
                <a:effectLst/>
                <a:latin typeface="+mn-ea"/>
              </a:rPr>
              <a:t>Lorem ipsum dolor onsectetur adipisicing elit</a:t>
            </a:r>
            <a:r>
              <a:rPr lang="en-US" altLang="zh-CN" sz="1400" dirty="0">
                <a:solidFill>
                  <a:schemeClr val="bg1"/>
                </a:solidFill>
                <a:latin typeface="+mn-ea"/>
              </a:rPr>
              <a:t> </a:t>
            </a:r>
            <a:r>
              <a:rPr lang="en-US" altLang="zh-CN" sz="1400" b="0" dirty="0">
                <a:solidFill>
                  <a:schemeClr val="bg1"/>
                </a:solidFill>
                <a:effectLst/>
                <a:latin typeface="+mn-ea"/>
              </a:rPr>
              <a:t>sed do eiusmod</a:t>
            </a:r>
            <a:endParaRPr lang="zh-CN" altLang="en-US" sz="1400" b="0" dirty="0">
              <a:solidFill>
                <a:schemeClr val="bg1"/>
              </a:solidFill>
              <a:effectLst/>
              <a:latin typeface="+mn-ea"/>
            </a:endParaRPr>
          </a:p>
        </p:txBody>
      </p:sp>
      <p:sp>
        <p:nvSpPr>
          <p:cNvPr id="5" name="梯形 4">
            <a:extLst>
              <a:ext uri="{FF2B5EF4-FFF2-40B4-BE49-F238E27FC236}">
                <a16:creationId xmlns:a16="http://schemas.microsoft.com/office/drawing/2014/main" id="{2987CCA1-1271-4E1A-B6BE-42EFED7EA531}"/>
              </a:ext>
            </a:extLst>
          </p:cNvPr>
          <p:cNvSpPr/>
          <p:nvPr/>
        </p:nvSpPr>
        <p:spPr>
          <a:xfrm flipV="1">
            <a:off x="1615948" y="1893574"/>
            <a:ext cx="4480052" cy="542201"/>
          </a:xfrm>
          <a:prstGeom prst="trapezoid">
            <a:avLst>
              <a:gd name="adj" fmla="val 90060"/>
            </a:avLst>
          </a:prstGeom>
          <a:gradFill flip="none" rotWithShape="1">
            <a:gsLst>
              <a:gs pos="1000">
                <a:schemeClr val="accent1">
                  <a:alpha val="0"/>
                </a:schemeClr>
              </a:gs>
              <a:gs pos="100000">
                <a:schemeClr val="accent1">
                  <a:alpha val="40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7" name="梯形 6">
            <a:extLst>
              <a:ext uri="{FF2B5EF4-FFF2-40B4-BE49-F238E27FC236}">
                <a16:creationId xmlns:a16="http://schemas.microsoft.com/office/drawing/2014/main" id="{9069766E-EF2F-4ECA-AE54-FCFE53AD72D6}"/>
              </a:ext>
            </a:extLst>
          </p:cNvPr>
          <p:cNvSpPr/>
          <p:nvPr/>
        </p:nvSpPr>
        <p:spPr>
          <a:xfrm flipV="1">
            <a:off x="1971548" y="1593848"/>
            <a:ext cx="3768852" cy="356753"/>
          </a:xfrm>
          <a:prstGeom prst="trapezoid">
            <a:avLst>
              <a:gd name="adj" fmla="val 90060"/>
            </a:avLst>
          </a:prstGeom>
          <a:gradFill flip="none" rotWithShape="1">
            <a:gsLst>
              <a:gs pos="1000">
                <a:schemeClr val="accent1">
                  <a:alpha val="0"/>
                </a:schemeClr>
              </a:gs>
              <a:gs pos="100000">
                <a:schemeClr val="accent1">
                  <a:alpha val="40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11" name="梯形 10">
            <a:extLst>
              <a:ext uri="{FF2B5EF4-FFF2-40B4-BE49-F238E27FC236}">
                <a16:creationId xmlns:a16="http://schemas.microsoft.com/office/drawing/2014/main" id="{CDD6B1C0-4538-4780-8B76-D5EE8B7EB03E}"/>
              </a:ext>
            </a:extLst>
          </p:cNvPr>
          <p:cNvSpPr/>
          <p:nvPr/>
        </p:nvSpPr>
        <p:spPr>
          <a:xfrm flipH="1">
            <a:off x="1615948" y="4627101"/>
            <a:ext cx="4480052" cy="542201"/>
          </a:xfrm>
          <a:prstGeom prst="trapezoid">
            <a:avLst>
              <a:gd name="adj" fmla="val 90060"/>
            </a:avLst>
          </a:prstGeom>
          <a:gradFill flip="none" rotWithShape="1">
            <a:gsLst>
              <a:gs pos="1000">
                <a:schemeClr val="accent1">
                  <a:alpha val="0"/>
                </a:schemeClr>
              </a:gs>
              <a:gs pos="100000">
                <a:schemeClr val="accent1">
                  <a:alpha val="40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12" name="梯形 11">
            <a:extLst>
              <a:ext uri="{FF2B5EF4-FFF2-40B4-BE49-F238E27FC236}">
                <a16:creationId xmlns:a16="http://schemas.microsoft.com/office/drawing/2014/main" id="{76F5EB10-35C0-4EAE-8F9B-4143020525F5}"/>
              </a:ext>
            </a:extLst>
          </p:cNvPr>
          <p:cNvSpPr/>
          <p:nvPr/>
        </p:nvSpPr>
        <p:spPr>
          <a:xfrm flipH="1">
            <a:off x="1971548" y="5112275"/>
            <a:ext cx="3768852" cy="356753"/>
          </a:xfrm>
          <a:prstGeom prst="trapezoid">
            <a:avLst>
              <a:gd name="adj" fmla="val 90060"/>
            </a:avLst>
          </a:prstGeom>
          <a:gradFill flip="none" rotWithShape="1">
            <a:gsLst>
              <a:gs pos="1000">
                <a:schemeClr val="accent1">
                  <a:alpha val="0"/>
                </a:schemeClr>
              </a:gs>
              <a:gs pos="100000">
                <a:schemeClr val="accent1">
                  <a:alpha val="40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14" name="椭圆 13">
            <a:extLst>
              <a:ext uri="{FF2B5EF4-FFF2-40B4-BE49-F238E27FC236}">
                <a16:creationId xmlns:a16="http://schemas.microsoft.com/office/drawing/2014/main" id="{B75CF56D-AE2D-476B-9382-8F5E57D06027}"/>
              </a:ext>
            </a:extLst>
          </p:cNvPr>
          <p:cNvSpPr/>
          <p:nvPr/>
        </p:nvSpPr>
        <p:spPr>
          <a:xfrm>
            <a:off x="6748272" y="2719578"/>
            <a:ext cx="1609344" cy="160934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15" name="椭圆 14">
            <a:extLst>
              <a:ext uri="{FF2B5EF4-FFF2-40B4-BE49-F238E27FC236}">
                <a16:creationId xmlns:a16="http://schemas.microsoft.com/office/drawing/2014/main" id="{111B3626-ACF8-4CC3-AF88-8BC26039301A}"/>
              </a:ext>
            </a:extLst>
          </p:cNvPr>
          <p:cNvSpPr/>
          <p:nvPr/>
        </p:nvSpPr>
        <p:spPr>
          <a:xfrm>
            <a:off x="9079992" y="2719578"/>
            <a:ext cx="1609344" cy="160934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16" name="加号 15">
            <a:extLst>
              <a:ext uri="{FF2B5EF4-FFF2-40B4-BE49-F238E27FC236}">
                <a16:creationId xmlns:a16="http://schemas.microsoft.com/office/drawing/2014/main" id="{1850C5D0-9797-4626-8146-FA4CE51ACFFF}"/>
              </a:ext>
            </a:extLst>
          </p:cNvPr>
          <p:cNvSpPr/>
          <p:nvPr/>
        </p:nvSpPr>
        <p:spPr>
          <a:xfrm>
            <a:off x="8481060" y="3286506"/>
            <a:ext cx="475488" cy="475488"/>
          </a:xfrm>
          <a:prstGeom prst="mathPlus">
            <a:avLst>
              <a:gd name="adj1" fmla="val 16509"/>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17" name="文本框 16">
            <a:extLst>
              <a:ext uri="{FF2B5EF4-FFF2-40B4-BE49-F238E27FC236}">
                <a16:creationId xmlns:a16="http://schemas.microsoft.com/office/drawing/2014/main" id="{62EA2E79-DB38-4C02-A5C4-A1DECAC61A63}"/>
              </a:ext>
            </a:extLst>
          </p:cNvPr>
          <p:cNvSpPr txBox="1"/>
          <p:nvPr/>
        </p:nvSpPr>
        <p:spPr>
          <a:xfrm flipH="1">
            <a:off x="6968622" y="3574739"/>
            <a:ext cx="1192633" cy="286233"/>
          </a:xfrm>
          <a:prstGeom prst="rect">
            <a:avLst/>
          </a:prstGeom>
          <a:noFill/>
          <a:effectLst/>
        </p:spPr>
        <p:txBody>
          <a:bodyPr wrap="none" lIns="0" tIns="0" rIns="0" bIns="0" rtlCol="0" anchor="t">
            <a:spAutoFit/>
          </a:bodyPr>
          <a:lstStyle/>
          <a:p>
            <a:pPr algn="r"/>
            <a:r>
              <a:rPr lang="zh-CN" altLang="en-US" sz="1860" dirty="0">
                <a:solidFill>
                  <a:schemeClr val="bg1"/>
                </a:solidFill>
                <a:latin typeface="+mj-ea"/>
                <a:ea typeface="+mj-ea"/>
              </a:rPr>
              <a:t>关键词标题</a:t>
            </a:r>
          </a:p>
        </p:txBody>
      </p:sp>
      <p:sp>
        <p:nvSpPr>
          <p:cNvPr id="19" name="iconfont-1187-868110">
            <a:extLst>
              <a:ext uri="{FF2B5EF4-FFF2-40B4-BE49-F238E27FC236}">
                <a16:creationId xmlns:a16="http://schemas.microsoft.com/office/drawing/2014/main" id="{1FB03EF6-A929-4DFB-AB1D-FDC6A6FCD12D}"/>
              </a:ext>
            </a:extLst>
          </p:cNvPr>
          <p:cNvSpPr/>
          <p:nvPr/>
        </p:nvSpPr>
        <p:spPr>
          <a:xfrm>
            <a:off x="7348642" y="3097691"/>
            <a:ext cx="432594" cy="377629"/>
          </a:xfrm>
          <a:custGeom>
            <a:avLst/>
            <a:gdLst>
              <a:gd name="connsiteX0" fmla="*/ 424975 w 608697"/>
              <a:gd name="connsiteY0" fmla="*/ 168488 h 531358"/>
              <a:gd name="connsiteX1" fmla="*/ 387604 w 608697"/>
              <a:gd name="connsiteY1" fmla="*/ 205806 h 531358"/>
              <a:gd name="connsiteX2" fmla="*/ 424975 w 608697"/>
              <a:gd name="connsiteY2" fmla="*/ 243124 h 531358"/>
              <a:gd name="connsiteX3" fmla="*/ 462346 w 608697"/>
              <a:gd name="connsiteY3" fmla="*/ 205806 h 531358"/>
              <a:gd name="connsiteX4" fmla="*/ 424975 w 608697"/>
              <a:gd name="connsiteY4" fmla="*/ 168488 h 531358"/>
              <a:gd name="connsiteX5" fmla="*/ 287947 w 608697"/>
              <a:gd name="connsiteY5" fmla="*/ 168488 h 531358"/>
              <a:gd name="connsiteX6" fmla="*/ 250576 w 608697"/>
              <a:gd name="connsiteY6" fmla="*/ 205806 h 531358"/>
              <a:gd name="connsiteX7" fmla="*/ 287947 w 608697"/>
              <a:gd name="connsiteY7" fmla="*/ 243124 h 531358"/>
              <a:gd name="connsiteX8" fmla="*/ 325318 w 608697"/>
              <a:gd name="connsiteY8" fmla="*/ 205806 h 531358"/>
              <a:gd name="connsiteX9" fmla="*/ 287947 w 608697"/>
              <a:gd name="connsiteY9" fmla="*/ 168488 h 531358"/>
              <a:gd name="connsiteX10" fmla="*/ 102356 w 608697"/>
              <a:gd name="connsiteY10" fmla="*/ 121231 h 531358"/>
              <a:gd name="connsiteX11" fmla="*/ 98850 w 608697"/>
              <a:gd name="connsiteY11" fmla="*/ 127711 h 531358"/>
              <a:gd name="connsiteX12" fmla="*/ 76842 w 608697"/>
              <a:gd name="connsiteY12" fmla="*/ 217990 h 531358"/>
              <a:gd name="connsiteX13" fmla="*/ 98850 w 608697"/>
              <a:gd name="connsiteY13" fmla="*/ 308194 h 531358"/>
              <a:gd name="connsiteX14" fmla="*/ 157488 w 608697"/>
              <a:gd name="connsiteY14" fmla="*/ 380223 h 531358"/>
              <a:gd name="connsiteX15" fmla="*/ 344668 w 608697"/>
              <a:gd name="connsiteY15" fmla="*/ 444729 h 531358"/>
              <a:gd name="connsiteX16" fmla="*/ 370257 w 608697"/>
              <a:gd name="connsiteY16" fmla="*/ 443687 h 531358"/>
              <a:gd name="connsiteX17" fmla="*/ 236717 w 608697"/>
              <a:gd name="connsiteY17" fmla="*/ 477876 h 531358"/>
              <a:gd name="connsiteX18" fmla="*/ 198072 w 608697"/>
              <a:gd name="connsiteY18" fmla="*/ 475344 h 531358"/>
              <a:gd name="connsiteX19" fmla="*/ 82437 w 608697"/>
              <a:gd name="connsiteY19" fmla="*/ 531284 h 531358"/>
              <a:gd name="connsiteX20" fmla="*/ 81542 w 608697"/>
              <a:gd name="connsiteY20" fmla="*/ 531358 h 531358"/>
              <a:gd name="connsiteX21" fmla="*/ 75051 w 608697"/>
              <a:gd name="connsiteY21" fmla="*/ 527857 h 531358"/>
              <a:gd name="connsiteX22" fmla="*/ 74753 w 608697"/>
              <a:gd name="connsiteY22" fmla="*/ 519738 h 531358"/>
              <a:gd name="connsiteX23" fmla="*/ 88778 w 608697"/>
              <a:gd name="connsiteY23" fmla="*/ 435046 h 531358"/>
              <a:gd name="connsiteX24" fmla="*/ 0 w 608697"/>
              <a:gd name="connsiteY24" fmla="*/ 282198 h 531358"/>
              <a:gd name="connsiteX25" fmla="*/ 102356 w 608697"/>
              <a:gd name="connsiteY25" fmla="*/ 121231 h 531358"/>
              <a:gd name="connsiteX26" fmla="*/ 356424 w 608697"/>
              <a:gd name="connsiteY26" fmla="*/ 0 h 531358"/>
              <a:gd name="connsiteX27" fmla="*/ 608697 w 608697"/>
              <a:gd name="connsiteY27" fmla="*/ 211244 h 531358"/>
              <a:gd name="connsiteX28" fmla="*/ 518290 w 608697"/>
              <a:gd name="connsiteY28" fmla="*/ 373401 h 531358"/>
              <a:gd name="connsiteX29" fmla="*/ 531941 w 608697"/>
              <a:gd name="connsiteY29" fmla="*/ 441109 h 531358"/>
              <a:gd name="connsiteX30" fmla="*/ 531120 w 608697"/>
              <a:gd name="connsiteY30" fmla="*/ 465391 h 531358"/>
              <a:gd name="connsiteX31" fmla="*/ 511577 w 608697"/>
              <a:gd name="connsiteY31" fmla="*/ 475894 h 531358"/>
              <a:gd name="connsiteX32" fmla="*/ 509041 w 608697"/>
              <a:gd name="connsiteY32" fmla="*/ 475745 h 531358"/>
              <a:gd name="connsiteX33" fmla="*/ 391408 w 608697"/>
              <a:gd name="connsiteY33" fmla="*/ 420476 h 531358"/>
              <a:gd name="connsiteX34" fmla="*/ 356424 w 608697"/>
              <a:gd name="connsiteY34" fmla="*/ 422487 h 531358"/>
              <a:gd name="connsiteX35" fmla="*/ 104225 w 608697"/>
              <a:gd name="connsiteY35" fmla="*/ 211244 h 531358"/>
              <a:gd name="connsiteX36" fmla="*/ 356424 w 608697"/>
              <a:gd name="connsiteY36" fmla="*/ 0 h 5313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608697" h="531358">
                <a:moveTo>
                  <a:pt x="424975" y="168488"/>
                </a:moveTo>
                <a:cubicBezTo>
                  <a:pt x="404312" y="168488"/>
                  <a:pt x="387604" y="185248"/>
                  <a:pt x="387604" y="205806"/>
                </a:cubicBezTo>
                <a:cubicBezTo>
                  <a:pt x="387604" y="226439"/>
                  <a:pt x="404312" y="243124"/>
                  <a:pt x="424975" y="243124"/>
                </a:cubicBezTo>
                <a:cubicBezTo>
                  <a:pt x="445562" y="243124"/>
                  <a:pt x="462346" y="226439"/>
                  <a:pt x="462346" y="205806"/>
                </a:cubicBezTo>
                <a:cubicBezTo>
                  <a:pt x="462346" y="185248"/>
                  <a:pt x="445637" y="168488"/>
                  <a:pt x="424975" y="168488"/>
                </a:cubicBezTo>
                <a:close/>
                <a:moveTo>
                  <a:pt x="287947" y="168488"/>
                </a:moveTo>
                <a:cubicBezTo>
                  <a:pt x="267285" y="168488"/>
                  <a:pt x="250576" y="185248"/>
                  <a:pt x="250576" y="205806"/>
                </a:cubicBezTo>
                <a:cubicBezTo>
                  <a:pt x="250576" y="226439"/>
                  <a:pt x="267285" y="243124"/>
                  <a:pt x="287947" y="243124"/>
                </a:cubicBezTo>
                <a:cubicBezTo>
                  <a:pt x="308610" y="243124"/>
                  <a:pt x="325318" y="226439"/>
                  <a:pt x="325318" y="205806"/>
                </a:cubicBezTo>
                <a:cubicBezTo>
                  <a:pt x="325318" y="185248"/>
                  <a:pt x="308610" y="168488"/>
                  <a:pt x="287947" y="168488"/>
                </a:cubicBezTo>
                <a:close/>
                <a:moveTo>
                  <a:pt x="102356" y="121231"/>
                </a:moveTo>
                <a:cubicBezTo>
                  <a:pt x="101162" y="123317"/>
                  <a:pt x="99969" y="125477"/>
                  <a:pt x="98850" y="127711"/>
                </a:cubicBezTo>
                <a:cubicBezTo>
                  <a:pt x="84227" y="156240"/>
                  <a:pt x="76842" y="186631"/>
                  <a:pt x="76842" y="217990"/>
                </a:cubicBezTo>
                <a:cubicBezTo>
                  <a:pt x="76842" y="249275"/>
                  <a:pt x="84227" y="279666"/>
                  <a:pt x="98850" y="308194"/>
                </a:cubicBezTo>
                <a:cubicBezTo>
                  <a:pt x="112726" y="335308"/>
                  <a:pt x="132496" y="359516"/>
                  <a:pt x="157488" y="380223"/>
                </a:cubicBezTo>
                <a:cubicBezTo>
                  <a:pt x="207845" y="421787"/>
                  <a:pt x="274317" y="444729"/>
                  <a:pt x="344668" y="444729"/>
                </a:cubicBezTo>
                <a:cubicBezTo>
                  <a:pt x="353173" y="444729"/>
                  <a:pt x="361752" y="444357"/>
                  <a:pt x="370257" y="443687"/>
                </a:cubicBezTo>
                <a:cubicBezTo>
                  <a:pt x="332209" y="465288"/>
                  <a:pt x="286254" y="477876"/>
                  <a:pt x="236717" y="477876"/>
                </a:cubicBezTo>
                <a:cubicBezTo>
                  <a:pt x="223736" y="477876"/>
                  <a:pt x="210755" y="477057"/>
                  <a:pt x="198072" y="475344"/>
                </a:cubicBezTo>
                <a:cubicBezTo>
                  <a:pt x="160397" y="499478"/>
                  <a:pt x="110637" y="528155"/>
                  <a:pt x="82437" y="531284"/>
                </a:cubicBezTo>
                <a:cubicBezTo>
                  <a:pt x="82138" y="531358"/>
                  <a:pt x="81840" y="531358"/>
                  <a:pt x="81542" y="531358"/>
                </a:cubicBezTo>
                <a:cubicBezTo>
                  <a:pt x="78930" y="531358"/>
                  <a:pt x="76469" y="530017"/>
                  <a:pt x="75051" y="527857"/>
                </a:cubicBezTo>
                <a:cubicBezTo>
                  <a:pt x="73410" y="525399"/>
                  <a:pt x="73335" y="522271"/>
                  <a:pt x="74753" y="519738"/>
                </a:cubicBezTo>
                <a:cubicBezTo>
                  <a:pt x="75051" y="519291"/>
                  <a:pt x="99223" y="476014"/>
                  <a:pt x="88778" y="435046"/>
                </a:cubicBezTo>
                <a:cubicBezTo>
                  <a:pt x="32303" y="397653"/>
                  <a:pt x="0" y="342160"/>
                  <a:pt x="0" y="282198"/>
                </a:cubicBezTo>
                <a:cubicBezTo>
                  <a:pt x="0" y="215532"/>
                  <a:pt x="40584" y="156538"/>
                  <a:pt x="102356" y="121231"/>
                </a:cubicBezTo>
                <a:close/>
                <a:moveTo>
                  <a:pt x="356424" y="0"/>
                </a:moveTo>
                <a:cubicBezTo>
                  <a:pt x="495540" y="0"/>
                  <a:pt x="608697" y="94747"/>
                  <a:pt x="608697" y="211244"/>
                </a:cubicBezTo>
                <a:cubicBezTo>
                  <a:pt x="608697" y="274408"/>
                  <a:pt x="575802" y="333178"/>
                  <a:pt x="518290" y="373401"/>
                </a:cubicBezTo>
                <a:cubicBezTo>
                  <a:pt x="512845" y="406324"/>
                  <a:pt x="531717" y="440811"/>
                  <a:pt x="531941" y="441109"/>
                </a:cubicBezTo>
                <a:cubicBezTo>
                  <a:pt x="536267" y="448781"/>
                  <a:pt x="535969" y="458092"/>
                  <a:pt x="531120" y="465391"/>
                </a:cubicBezTo>
                <a:cubicBezTo>
                  <a:pt x="526794" y="472021"/>
                  <a:pt x="519484" y="475894"/>
                  <a:pt x="511577" y="475894"/>
                </a:cubicBezTo>
                <a:cubicBezTo>
                  <a:pt x="510756" y="475894"/>
                  <a:pt x="509936" y="475894"/>
                  <a:pt x="509041" y="475745"/>
                </a:cubicBezTo>
                <a:cubicBezTo>
                  <a:pt x="484574" y="473064"/>
                  <a:pt x="444966" y="454442"/>
                  <a:pt x="391408" y="420476"/>
                </a:cubicBezTo>
                <a:cubicBezTo>
                  <a:pt x="379920" y="421817"/>
                  <a:pt x="368135" y="422487"/>
                  <a:pt x="356424" y="422487"/>
                </a:cubicBezTo>
                <a:cubicBezTo>
                  <a:pt x="217382" y="422487"/>
                  <a:pt x="104225" y="327741"/>
                  <a:pt x="104225" y="211244"/>
                </a:cubicBezTo>
                <a:cubicBezTo>
                  <a:pt x="104225" y="94747"/>
                  <a:pt x="217382" y="0"/>
                  <a:pt x="356424"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sp>
        <p:nvSpPr>
          <p:cNvPr id="20" name="文本框 19">
            <a:extLst>
              <a:ext uri="{FF2B5EF4-FFF2-40B4-BE49-F238E27FC236}">
                <a16:creationId xmlns:a16="http://schemas.microsoft.com/office/drawing/2014/main" id="{2891EC16-7ED8-4AC4-A9EC-D5C5A778BC30}"/>
              </a:ext>
            </a:extLst>
          </p:cNvPr>
          <p:cNvSpPr txBox="1"/>
          <p:nvPr/>
        </p:nvSpPr>
        <p:spPr>
          <a:xfrm flipH="1">
            <a:off x="9254622" y="3574739"/>
            <a:ext cx="1192633" cy="286233"/>
          </a:xfrm>
          <a:prstGeom prst="rect">
            <a:avLst/>
          </a:prstGeom>
          <a:noFill/>
          <a:effectLst/>
        </p:spPr>
        <p:txBody>
          <a:bodyPr wrap="none" lIns="0" tIns="0" rIns="0" bIns="0" rtlCol="0" anchor="t">
            <a:spAutoFit/>
          </a:bodyPr>
          <a:lstStyle/>
          <a:p>
            <a:pPr algn="r"/>
            <a:r>
              <a:rPr lang="zh-CN" altLang="en-US" sz="1860" dirty="0">
                <a:solidFill>
                  <a:schemeClr val="bg1"/>
                </a:solidFill>
                <a:latin typeface="+mj-ea"/>
                <a:ea typeface="+mj-ea"/>
              </a:rPr>
              <a:t>关键词标题</a:t>
            </a:r>
          </a:p>
        </p:txBody>
      </p:sp>
      <p:sp>
        <p:nvSpPr>
          <p:cNvPr id="21" name="iconfont-1187-868110">
            <a:extLst>
              <a:ext uri="{FF2B5EF4-FFF2-40B4-BE49-F238E27FC236}">
                <a16:creationId xmlns:a16="http://schemas.microsoft.com/office/drawing/2014/main" id="{6F1D1D6A-04D2-47C6-B67A-D1F376A4389D}"/>
              </a:ext>
            </a:extLst>
          </p:cNvPr>
          <p:cNvSpPr/>
          <p:nvPr/>
        </p:nvSpPr>
        <p:spPr>
          <a:xfrm>
            <a:off x="9717916" y="3112558"/>
            <a:ext cx="333496" cy="344110"/>
          </a:xfrm>
          <a:custGeom>
            <a:avLst/>
            <a:gdLst>
              <a:gd name="T0" fmla="*/ 40 w 7790"/>
              <a:gd name="T1" fmla="*/ 0 h 8036"/>
              <a:gd name="T2" fmla="*/ 3458 w 7790"/>
              <a:gd name="T3" fmla="*/ 0 h 8036"/>
              <a:gd name="T4" fmla="*/ 3458 w 7790"/>
              <a:gd name="T5" fmla="*/ 3418 h 8036"/>
              <a:gd name="T6" fmla="*/ 40 w 7790"/>
              <a:gd name="T7" fmla="*/ 3418 h 8036"/>
              <a:gd name="T8" fmla="*/ 40 w 7790"/>
              <a:gd name="T9" fmla="*/ 0 h 8036"/>
              <a:gd name="T10" fmla="*/ 7790 w 7790"/>
              <a:gd name="T11" fmla="*/ 1695 h 8036"/>
              <a:gd name="T12" fmla="*/ 6170 w 7790"/>
              <a:gd name="T13" fmla="*/ 103 h 8036"/>
              <a:gd name="T14" fmla="*/ 4577 w 7790"/>
              <a:gd name="T15" fmla="*/ 1723 h 8036"/>
              <a:gd name="T16" fmla="*/ 6198 w 7790"/>
              <a:gd name="T17" fmla="*/ 3316 h 8036"/>
              <a:gd name="T18" fmla="*/ 7790 w 7790"/>
              <a:gd name="T19" fmla="*/ 1695 h 8036"/>
              <a:gd name="T20" fmla="*/ 0 w 7790"/>
              <a:gd name="T21" fmla="*/ 4618 h 8036"/>
              <a:gd name="T22" fmla="*/ 3417 w 7790"/>
              <a:gd name="T23" fmla="*/ 4618 h 8036"/>
              <a:gd name="T24" fmla="*/ 3417 w 7790"/>
              <a:gd name="T25" fmla="*/ 8036 h 8036"/>
              <a:gd name="T26" fmla="*/ 0 w 7790"/>
              <a:gd name="T27" fmla="*/ 8036 h 8036"/>
              <a:gd name="T28" fmla="*/ 0 w 7790"/>
              <a:gd name="T29" fmla="*/ 4618 h 8036"/>
              <a:gd name="T30" fmla="*/ 4353 w 7790"/>
              <a:gd name="T31" fmla="*/ 4618 h 8036"/>
              <a:gd name="T32" fmla="*/ 7770 w 7790"/>
              <a:gd name="T33" fmla="*/ 4618 h 8036"/>
              <a:gd name="T34" fmla="*/ 7770 w 7790"/>
              <a:gd name="T35" fmla="*/ 8036 h 8036"/>
              <a:gd name="T36" fmla="*/ 4353 w 7790"/>
              <a:gd name="T37" fmla="*/ 8036 h 8036"/>
              <a:gd name="T38" fmla="*/ 4353 w 7790"/>
              <a:gd name="T39" fmla="*/ 4618 h 8036"/>
              <a:gd name="T40" fmla="*/ 4353 w 7790"/>
              <a:gd name="T41" fmla="*/ 4618 h 80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790" h="8036">
                <a:moveTo>
                  <a:pt x="40" y="0"/>
                </a:moveTo>
                <a:lnTo>
                  <a:pt x="3458" y="0"/>
                </a:lnTo>
                <a:lnTo>
                  <a:pt x="3458" y="3418"/>
                </a:lnTo>
                <a:lnTo>
                  <a:pt x="40" y="3418"/>
                </a:lnTo>
                <a:lnTo>
                  <a:pt x="40" y="0"/>
                </a:lnTo>
                <a:close/>
                <a:moveTo>
                  <a:pt x="7790" y="1695"/>
                </a:moveTo>
                <a:lnTo>
                  <a:pt x="6170" y="103"/>
                </a:lnTo>
                <a:lnTo>
                  <a:pt x="4577" y="1723"/>
                </a:lnTo>
                <a:lnTo>
                  <a:pt x="6198" y="3316"/>
                </a:lnTo>
                <a:lnTo>
                  <a:pt x="7790" y="1695"/>
                </a:lnTo>
                <a:close/>
                <a:moveTo>
                  <a:pt x="0" y="4618"/>
                </a:moveTo>
                <a:lnTo>
                  <a:pt x="3417" y="4618"/>
                </a:lnTo>
                <a:lnTo>
                  <a:pt x="3417" y="8036"/>
                </a:lnTo>
                <a:lnTo>
                  <a:pt x="0" y="8036"/>
                </a:lnTo>
                <a:lnTo>
                  <a:pt x="0" y="4618"/>
                </a:lnTo>
                <a:close/>
                <a:moveTo>
                  <a:pt x="4353" y="4618"/>
                </a:moveTo>
                <a:lnTo>
                  <a:pt x="7770" y="4618"/>
                </a:lnTo>
                <a:lnTo>
                  <a:pt x="7770" y="8036"/>
                </a:lnTo>
                <a:lnTo>
                  <a:pt x="4353" y="8036"/>
                </a:lnTo>
                <a:lnTo>
                  <a:pt x="4353" y="4618"/>
                </a:lnTo>
                <a:close/>
                <a:moveTo>
                  <a:pt x="4353" y="4618"/>
                </a:move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sp>
        <p:nvSpPr>
          <p:cNvPr id="22" name="箭头: 右 21">
            <a:extLst>
              <a:ext uri="{FF2B5EF4-FFF2-40B4-BE49-F238E27FC236}">
                <a16:creationId xmlns:a16="http://schemas.microsoft.com/office/drawing/2014/main" id="{DB354618-45EA-43C6-8550-E31572EF9E50}"/>
              </a:ext>
            </a:extLst>
          </p:cNvPr>
          <p:cNvSpPr/>
          <p:nvPr/>
        </p:nvSpPr>
        <p:spPr>
          <a:xfrm>
            <a:off x="5898774" y="3422076"/>
            <a:ext cx="672084" cy="305326"/>
          </a:xfrm>
          <a:prstGeom prst="rightArrow">
            <a:avLst/>
          </a:prstGeom>
          <a:gradFill>
            <a:gsLst>
              <a:gs pos="0">
                <a:schemeClr val="accent1">
                  <a:alpha val="0"/>
                </a:schemeClr>
              </a:gs>
              <a:gs pos="100000">
                <a:schemeClr val="accent1">
                  <a:alpha val="40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Tree>
    <p:extLst>
      <p:ext uri="{BB962C8B-B14F-4D97-AF65-F5344CB8AC3E}">
        <p14:creationId xmlns:p14="http://schemas.microsoft.com/office/powerpoint/2010/main" val="1463063996"/>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3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等腰三角形 22">
            <a:extLst>
              <a:ext uri="{FF2B5EF4-FFF2-40B4-BE49-F238E27FC236}">
                <a16:creationId xmlns:a16="http://schemas.microsoft.com/office/drawing/2014/main" id="{23CC5CAD-AA32-4F56-ACDD-8431DB4B03DE}"/>
              </a:ext>
            </a:extLst>
          </p:cNvPr>
          <p:cNvSpPr/>
          <p:nvPr/>
        </p:nvSpPr>
        <p:spPr>
          <a:xfrm rot="10800000">
            <a:off x="5256351" y="2822721"/>
            <a:ext cx="1717404" cy="599163"/>
          </a:xfrm>
          <a:prstGeom prst="triangle">
            <a:avLst/>
          </a:prstGeom>
          <a:gradFill>
            <a:gsLst>
              <a:gs pos="100000">
                <a:schemeClr val="accent1">
                  <a:alpha val="0"/>
                </a:schemeClr>
              </a:gs>
              <a:gs pos="0">
                <a:schemeClr val="accent1">
                  <a:alpha val="43000"/>
                </a:schemeClr>
              </a:gs>
            </a:gsLst>
            <a:lin ang="5400000" scaled="1"/>
          </a:gradFill>
          <a:ln w="12700" cap="flat" cmpd="sng" algn="ctr">
            <a:noFill/>
            <a:prstDash val="solid"/>
            <a:miter lim="800000"/>
          </a:ln>
          <a:effectLst/>
        </p:spPr>
        <p:txBody>
          <a:bodyPr wrap="none" rtlCol="0" anchor="ctr"/>
          <a:lstStyle/>
          <a:p>
            <a:pPr algn="ctr"/>
            <a:endParaRPr lang="zh-CN" altLang="en-US" b="1" kern="0">
              <a:solidFill>
                <a:prstClr val="white"/>
              </a:solidFill>
            </a:endParaRPr>
          </a:p>
        </p:txBody>
      </p:sp>
      <p:sp>
        <p:nvSpPr>
          <p:cNvPr id="24" name="等腰三角形 23">
            <a:extLst>
              <a:ext uri="{FF2B5EF4-FFF2-40B4-BE49-F238E27FC236}">
                <a16:creationId xmlns:a16="http://schemas.microsoft.com/office/drawing/2014/main" id="{B24A2137-F1A6-4461-A632-2A7EB49A6972}"/>
              </a:ext>
            </a:extLst>
          </p:cNvPr>
          <p:cNvSpPr/>
          <p:nvPr/>
        </p:nvSpPr>
        <p:spPr>
          <a:xfrm rot="10800000">
            <a:off x="5256351" y="2646506"/>
            <a:ext cx="1717404" cy="599163"/>
          </a:xfrm>
          <a:prstGeom prst="triangle">
            <a:avLst/>
          </a:prstGeom>
          <a:gradFill>
            <a:gsLst>
              <a:gs pos="100000">
                <a:schemeClr val="accent1">
                  <a:alpha val="0"/>
                </a:schemeClr>
              </a:gs>
              <a:gs pos="0">
                <a:schemeClr val="accent1">
                  <a:alpha val="43000"/>
                </a:schemeClr>
              </a:gs>
            </a:gsLst>
            <a:lin ang="5400000" scaled="1"/>
          </a:gradFill>
          <a:ln w="12700" cap="flat" cmpd="sng" algn="ctr">
            <a:noFill/>
            <a:prstDash val="solid"/>
            <a:miter lim="800000"/>
          </a:ln>
          <a:effectLst/>
        </p:spPr>
        <p:txBody>
          <a:bodyPr wrap="none"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1" i="0" u="none" strike="noStrike" kern="0" cap="none" spc="0" normalizeH="0" baseline="0" noProof="0">
              <a:ln>
                <a:noFill/>
              </a:ln>
              <a:solidFill>
                <a:prstClr val="white"/>
              </a:solidFill>
              <a:effectLst/>
              <a:uLnTx/>
              <a:uFillTx/>
            </a:endParaRPr>
          </a:p>
        </p:txBody>
      </p:sp>
      <p:sp>
        <p:nvSpPr>
          <p:cNvPr id="26" name="圆角矩形 50">
            <a:extLst>
              <a:ext uri="{FF2B5EF4-FFF2-40B4-BE49-F238E27FC236}">
                <a16:creationId xmlns:a16="http://schemas.microsoft.com/office/drawing/2014/main" id="{E15EE404-6558-4F3D-98AD-ABF22B19DFD6}"/>
              </a:ext>
            </a:extLst>
          </p:cNvPr>
          <p:cNvSpPr/>
          <p:nvPr/>
        </p:nvSpPr>
        <p:spPr>
          <a:xfrm>
            <a:off x="3904237" y="1983065"/>
            <a:ext cx="4383526" cy="626148"/>
          </a:xfrm>
          <a:prstGeom prst="round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zh-CN" altLang="en-US" b="1"/>
          </a:p>
        </p:txBody>
      </p:sp>
      <p:sp>
        <p:nvSpPr>
          <p:cNvPr id="27" name="文本框 26">
            <a:extLst>
              <a:ext uri="{FF2B5EF4-FFF2-40B4-BE49-F238E27FC236}">
                <a16:creationId xmlns:a16="http://schemas.microsoft.com/office/drawing/2014/main" id="{E5521880-36DC-4E70-9617-CD30710CAC41}"/>
              </a:ext>
            </a:extLst>
          </p:cNvPr>
          <p:cNvSpPr txBox="1"/>
          <p:nvPr/>
        </p:nvSpPr>
        <p:spPr>
          <a:xfrm>
            <a:off x="5234223" y="2065307"/>
            <a:ext cx="1723550" cy="461665"/>
          </a:xfrm>
          <a:prstGeom prst="rect">
            <a:avLst/>
          </a:prstGeom>
          <a:noFill/>
        </p:spPr>
        <p:txBody>
          <a:bodyPr wrap="non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zh-CN" altLang="en-US" sz="2400" b="1" kern="0" dirty="0">
                <a:solidFill>
                  <a:prstClr val="white"/>
                </a:solidFill>
                <a:latin typeface="+mj-ea"/>
                <a:ea typeface="+mj-ea"/>
              </a:rPr>
              <a:t>关键词标题</a:t>
            </a:r>
            <a:endParaRPr kumimoji="0" lang="zh-CN" altLang="en-US" sz="2400" b="1" i="0" u="none" strike="noStrike" kern="0" cap="none" spc="0" normalizeH="0" baseline="0" noProof="0" dirty="0">
              <a:ln>
                <a:noFill/>
              </a:ln>
              <a:solidFill>
                <a:prstClr val="white"/>
              </a:solidFill>
              <a:effectLst/>
              <a:uLnTx/>
              <a:uFillTx/>
              <a:latin typeface="+mj-ea"/>
              <a:ea typeface="+mj-ea"/>
            </a:endParaRPr>
          </a:p>
        </p:txBody>
      </p:sp>
      <p:sp>
        <p:nvSpPr>
          <p:cNvPr id="29" name="圆角矩形 56">
            <a:extLst>
              <a:ext uri="{FF2B5EF4-FFF2-40B4-BE49-F238E27FC236}">
                <a16:creationId xmlns:a16="http://schemas.microsoft.com/office/drawing/2014/main" id="{93AF709B-FBA7-4C54-B2E2-DC9D90B54AD0}"/>
              </a:ext>
            </a:extLst>
          </p:cNvPr>
          <p:cNvSpPr/>
          <p:nvPr/>
        </p:nvSpPr>
        <p:spPr>
          <a:xfrm>
            <a:off x="3904237" y="3478490"/>
            <a:ext cx="4383526" cy="626148"/>
          </a:xfrm>
          <a:prstGeom prst="round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zh-CN" altLang="en-US" b="1"/>
          </a:p>
        </p:txBody>
      </p:sp>
      <p:sp>
        <p:nvSpPr>
          <p:cNvPr id="30" name="文本框 29">
            <a:extLst>
              <a:ext uri="{FF2B5EF4-FFF2-40B4-BE49-F238E27FC236}">
                <a16:creationId xmlns:a16="http://schemas.microsoft.com/office/drawing/2014/main" id="{FBFF7FB7-B76E-43D3-8AA6-957D684BBF60}"/>
              </a:ext>
            </a:extLst>
          </p:cNvPr>
          <p:cNvSpPr txBox="1"/>
          <p:nvPr/>
        </p:nvSpPr>
        <p:spPr>
          <a:xfrm>
            <a:off x="5234223" y="3560732"/>
            <a:ext cx="1723550" cy="461665"/>
          </a:xfrm>
          <a:prstGeom prst="rect">
            <a:avLst/>
          </a:prstGeom>
          <a:noFill/>
        </p:spPr>
        <p:txBody>
          <a:bodyPr wrap="non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zh-CN" altLang="en-US" sz="2400" b="1" kern="0" dirty="0">
                <a:solidFill>
                  <a:prstClr val="white"/>
                </a:solidFill>
                <a:latin typeface="+mj-ea"/>
                <a:ea typeface="+mj-ea"/>
              </a:rPr>
              <a:t>关键词标题</a:t>
            </a:r>
            <a:endParaRPr kumimoji="0" lang="zh-CN" altLang="en-US" sz="2400" b="1" i="0" u="none" strike="noStrike" kern="0" cap="none" spc="0" normalizeH="0" baseline="0" noProof="0" dirty="0">
              <a:ln>
                <a:noFill/>
              </a:ln>
              <a:solidFill>
                <a:prstClr val="white"/>
              </a:solidFill>
              <a:effectLst/>
              <a:uLnTx/>
              <a:uFillTx/>
              <a:latin typeface="+mj-ea"/>
              <a:ea typeface="+mj-ea"/>
            </a:endParaRPr>
          </a:p>
        </p:txBody>
      </p:sp>
      <p:sp>
        <p:nvSpPr>
          <p:cNvPr id="32" name="圆角矩形 63">
            <a:extLst>
              <a:ext uri="{FF2B5EF4-FFF2-40B4-BE49-F238E27FC236}">
                <a16:creationId xmlns:a16="http://schemas.microsoft.com/office/drawing/2014/main" id="{E8AC213B-85A9-4362-949D-B5155D778282}"/>
              </a:ext>
            </a:extLst>
          </p:cNvPr>
          <p:cNvSpPr/>
          <p:nvPr/>
        </p:nvSpPr>
        <p:spPr>
          <a:xfrm>
            <a:off x="3904237" y="4291161"/>
            <a:ext cx="1295400" cy="1295400"/>
          </a:xfrm>
          <a:prstGeom prst="ellipse">
            <a:avLst/>
          </a:prstGeom>
          <a:solidFill>
            <a:schemeClr val="accent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zh-CN" altLang="en-US" b="1" dirty="0"/>
              <a:t>关键词</a:t>
            </a:r>
          </a:p>
        </p:txBody>
      </p:sp>
      <p:sp>
        <p:nvSpPr>
          <p:cNvPr id="39" name="文本框 38">
            <a:extLst>
              <a:ext uri="{FF2B5EF4-FFF2-40B4-BE49-F238E27FC236}">
                <a16:creationId xmlns:a16="http://schemas.microsoft.com/office/drawing/2014/main" id="{68387822-AD05-4CE5-9B92-025168278FAA}"/>
              </a:ext>
            </a:extLst>
          </p:cNvPr>
          <p:cNvSpPr txBox="1"/>
          <p:nvPr/>
        </p:nvSpPr>
        <p:spPr>
          <a:xfrm>
            <a:off x="7166175" y="4422178"/>
            <a:ext cx="800219" cy="338554"/>
          </a:xfrm>
          <a:prstGeom prst="rect">
            <a:avLst/>
          </a:prstGeom>
          <a:noFill/>
        </p:spPr>
        <p:txBody>
          <a:bodyPr wrap="non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600" b="1" i="0" u="none" strike="noStrike" kern="0" cap="none" spc="0" normalizeH="0" baseline="0" noProof="0">
                <a:ln>
                  <a:noFill/>
                </a:ln>
                <a:solidFill>
                  <a:prstClr val="white"/>
                </a:solidFill>
                <a:effectLst/>
                <a:uLnTx/>
                <a:uFillTx/>
                <a:latin typeface="+mj-ea"/>
                <a:ea typeface="+mj-ea"/>
              </a:rPr>
              <a:t>关键词</a:t>
            </a:r>
          </a:p>
        </p:txBody>
      </p:sp>
      <p:sp>
        <p:nvSpPr>
          <p:cNvPr id="6" name="矩形: 圆角 5">
            <a:extLst>
              <a:ext uri="{FF2B5EF4-FFF2-40B4-BE49-F238E27FC236}">
                <a16:creationId xmlns:a16="http://schemas.microsoft.com/office/drawing/2014/main" id="{9DA173D7-9C00-4507-AF5D-9F436B7DBF34}"/>
              </a:ext>
            </a:extLst>
          </p:cNvPr>
          <p:cNvSpPr/>
          <p:nvPr/>
        </p:nvSpPr>
        <p:spPr>
          <a:xfrm>
            <a:off x="1171575" y="1440684"/>
            <a:ext cx="2219325" cy="4286250"/>
          </a:xfrm>
          <a:prstGeom prst="roundRect">
            <a:avLst>
              <a:gd name="adj" fmla="val 11517"/>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40" name="矩形: 圆角 39">
            <a:extLst>
              <a:ext uri="{FF2B5EF4-FFF2-40B4-BE49-F238E27FC236}">
                <a16:creationId xmlns:a16="http://schemas.microsoft.com/office/drawing/2014/main" id="{CEF572A6-4569-4632-ADCC-E6093C8B13F0}"/>
              </a:ext>
            </a:extLst>
          </p:cNvPr>
          <p:cNvSpPr/>
          <p:nvPr/>
        </p:nvSpPr>
        <p:spPr>
          <a:xfrm>
            <a:off x="9043551" y="1440684"/>
            <a:ext cx="2219325" cy="4286250"/>
          </a:xfrm>
          <a:prstGeom prst="roundRect">
            <a:avLst>
              <a:gd name="adj" fmla="val 11517"/>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41" name="文本框 40">
            <a:extLst>
              <a:ext uri="{FF2B5EF4-FFF2-40B4-BE49-F238E27FC236}">
                <a16:creationId xmlns:a16="http://schemas.microsoft.com/office/drawing/2014/main" id="{11948BF0-EAAC-4B30-B297-77D47F0EF353}"/>
              </a:ext>
            </a:extLst>
          </p:cNvPr>
          <p:cNvSpPr txBox="1"/>
          <p:nvPr/>
        </p:nvSpPr>
        <p:spPr>
          <a:xfrm>
            <a:off x="1419462" y="1759373"/>
            <a:ext cx="1723550" cy="461665"/>
          </a:xfrm>
          <a:prstGeom prst="rect">
            <a:avLst/>
          </a:prstGeom>
          <a:noFill/>
        </p:spPr>
        <p:txBody>
          <a:bodyPr wrap="non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zh-CN" altLang="en-US" sz="2400" b="1" kern="0" dirty="0">
                <a:solidFill>
                  <a:prstClr val="white"/>
                </a:solidFill>
                <a:latin typeface="+mj-ea"/>
                <a:ea typeface="+mj-ea"/>
              </a:rPr>
              <a:t>关键词标题</a:t>
            </a:r>
            <a:endParaRPr kumimoji="0" lang="zh-CN" altLang="en-US" sz="2400" b="1" i="0" u="none" strike="noStrike" kern="0" cap="none" spc="0" normalizeH="0" baseline="0" noProof="0" dirty="0">
              <a:ln>
                <a:noFill/>
              </a:ln>
              <a:solidFill>
                <a:prstClr val="white"/>
              </a:solidFill>
              <a:effectLst/>
              <a:uLnTx/>
              <a:uFillTx/>
              <a:latin typeface="+mj-ea"/>
              <a:ea typeface="+mj-ea"/>
            </a:endParaRPr>
          </a:p>
        </p:txBody>
      </p:sp>
      <p:sp>
        <p:nvSpPr>
          <p:cNvPr id="8" name="矩形: 圆角 7">
            <a:extLst>
              <a:ext uri="{FF2B5EF4-FFF2-40B4-BE49-F238E27FC236}">
                <a16:creationId xmlns:a16="http://schemas.microsoft.com/office/drawing/2014/main" id="{97E9FC68-5FF5-4040-8968-0B19E3EAFDCC}"/>
              </a:ext>
            </a:extLst>
          </p:cNvPr>
          <p:cNvSpPr/>
          <p:nvPr/>
        </p:nvSpPr>
        <p:spPr>
          <a:xfrm>
            <a:off x="1618297" y="2642551"/>
            <a:ext cx="1325880" cy="461665"/>
          </a:xfrm>
          <a:prstGeom prst="roundRect">
            <a:avLst>
              <a:gd name="adj" fmla="val 50000"/>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dirty="0">
                <a:solidFill>
                  <a:schemeClr val="bg1"/>
                </a:solidFill>
                <a:latin typeface="+mj-ea"/>
                <a:ea typeface="+mj-ea"/>
              </a:rPr>
              <a:t>关键词</a:t>
            </a:r>
          </a:p>
        </p:txBody>
      </p:sp>
      <p:sp>
        <p:nvSpPr>
          <p:cNvPr id="42" name="圆角矩形 63">
            <a:extLst>
              <a:ext uri="{FF2B5EF4-FFF2-40B4-BE49-F238E27FC236}">
                <a16:creationId xmlns:a16="http://schemas.microsoft.com/office/drawing/2014/main" id="{A35627A1-6737-489C-8E35-970A69910EF2}"/>
              </a:ext>
            </a:extLst>
          </p:cNvPr>
          <p:cNvSpPr/>
          <p:nvPr/>
        </p:nvSpPr>
        <p:spPr>
          <a:xfrm>
            <a:off x="5448300" y="4291161"/>
            <a:ext cx="1295400" cy="1295400"/>
          </a:xfrm>
          <a:prstGeom prst="ellipse">
            <a:avLst/>
          </a:prstGeom>
          <a:solidFill>
            <a:schemeClr val="accent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zh-CN" altLang="en-US" b="1" dirty="0"/>
              <a:t>关键词</a:t>
            </a:r>
          </a:p>
        </p:txBody>
      </p:sp>
      <p:sp>
        <p:nvSpPr>
          <p:cNvPr id="43" name="圆角矩形 63">
            <a:extLst>
              <a:ext uri="{FF2B5EF4-FFF2-40B4-BE49-F238E27FC236}">
                <a16:creationId xmlns:a16="http://schemas.microsoft.com/office/drawing/2014/main" id="{704461E6-79D7-47C3-9DDB-BD940DD8553E}"/>
              </a:ext>
            </a:extLst>
          </p:cNvPr>
          <p:cNvSpPr/>
          <p:nvPr/>
        </p:nvSpPr>
        <p:spPr>
          <a:xfrm>
            <a:off x="6992363" y="4291161"/>
            <a:ext cx="1295400" cy="1295400"/>
          </a:xfrm>
          <a:prstGeom prst="ellipse">
            <a:avLst/>
          </a:prstGeom>
          <a:solidFill>
            <a:schemeClr val="accent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zh-CN" altLang="en-US" b="1" dirty="0"/>
              <a:t>关键词</a:t>
            </a:r>
          </a:p>
        </p:txBody>
      </p:sp>
      <p:sp>
        <p:nvSpPr>
          <p:cNvPr id="44" name="矩形: 圆角 43">
            <a:extLst>
              <a:ext uri="{FF2B5EF4-FFF2-40B4-BE49-F238E27FC236}">
                <a16:creationId xmlns:a16="http://schemas.microsoft.com/office/drawing/2014/main" id="{67F0997B-2034-4489-A6C7-B132F7CCC236}"/>
              </a:ext>
            </a:extLst>
          </p:cNvPr>
          <p:cNvSpPr/>
          <p:nvPr/>
        </p:nvSpPr>
        <p:spPr>
          <a:xfrm>
            <a:off x="1618297" y="3366916"/>
            <a:ext cx="1325880" cy="461665"/>
          </a:xfrm>
          <a:prstGeom prst="roundRect">
            <a:avLst>
              <a:gd name="adj" fmla="val 50000"/>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dirty="0">
                <a:solidFill>
                  <a:schemeClr val="bg1"/>
                </a:solidFill>
                <a:latin typeface="+mj-ea"/>
                <a:ea typeface="+mj-ea"/>
              </a:rPr>
              <a:t>关键词</a:t>
            </a:r>
          </a:p>
        </p:txBody>
      </p:sp>
      <p:sp>
        <p:nvSpPr>
          <p:cNvPr id="45" name="矩形: 圆角 44">
            <a:extLst>
              <a:ext uri="{FF2B5EF4-FFF2-40B4-BE49-F238E27FC236}">
                <a16:creationId xmlns:a16="http://schemas.microsoft.com/office/drawing/2014/main" id="{7DEA2283-F816-4C0F-B52F-0B0E22ADE997}"/>
              </a:ext>
            </a:extLst>
          </p:cNvPr>
          <p:cNvSpPr/>
          <p:nvPr/>
        </p:nvSpPr>
        <p:spPr>
          <a:xfrm>
            <a:off x="1618297" y="4091281"/>
            <a:ext cx="1325880" cy="461665"/>
          </a:xfrm>
          <a:prstGeom prst="roundRect">
            <a:avLst>
              <a:gd name="adj" fmla="val 50000"/>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dirty="0">
                <a:solidFill>
                  <a:schemeClr val="bg1"/>
                </a:solidFill>
                <a:latin typeface="+mj-ea"/>
                <a:ea typeface="+mj-ea"/>
              </a:rPr>
              <a:t>关键词</a:t>
            </a:r>
          </a:p>
        </p:txBody>
      </p:sp>
      <p:sp>
        <p:nvSpPr>
          <p:cNvPr id="46" name="矩形: 圆角 45">
            <a:extLst>
              <a:ext uri="{FF2B5EF4-FFF2-40B4-BE49-F238E27FC236}">
                <a16:creationId xmlns:a16="http://schemas.microsoft.com/office/drawing/2014/main" id="{9BF74185-1EFE-4FCE-B62B-6D7CA3658DB6}"/>
              </a:ext>
            </a:extLst>
          </p:cNvPr>
          <p:cNvSpPr/>
          <p:nvPr/>
        </p:nvSpPr>
        <p:spPr>
          <a:xfrm>
            <a:off x="1618297" y="4815645"/>
            <a:ext cx="1325880" cy="461665"/>
          </a:xfrm>
          <a:prstGeom prst="roundRect">
            <a:avLst>
              <a:gd name="adj" fmla="val 50000"/>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dirty="0">
                <a:solidFill>
                  <a:schemeClr val="bg1"/>
                </a:solidFill>
                <a:latin typeface="+mj-ea"/>
                <a:ea typeface="+mj-ea"/>
              </a:rPr>
              <a:t>关键词</a:t>
            </a:r>
          </a:p>
        </p:txBody>
      </p:sp>
      <p:sp>
        <p:nvSpPr>
          <p:cNvPr id="51" name="文本框 50">
            <a:extLst>
              <a:ext uri="{FF2B5EF4-FFF2-40B4-BE49-F238E27FC236}">
                <a16:creationId xmlns:a16="http://schemas.microsoft.com/office/drawing/2014/main" id="{F804F59C-6C77-42F5-8066-7A7F3C6A70F2}"/>
              </a:ext>
            </a:extLst>
          </p:cNvPr>
          <p:cNvSpPr txBox="1"/>
          <p:nvPr/>
        </p:nvSpPr>
        <p:spPr>
          <a:xfrm>
            <a:off x="9283302" y="1759373"/>
            <a:ext cx="1723550" cy="461665"/>
          </a:xfrm>
          <a:prstGeom prst="rect">
            <a:avLst/>
          </a:prstGeom>
          <a:noFill/>
        </p:spPr>
        <p:txBody>
          <a:bodyPr wrap="non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zh-CN" altLang="en-US" sz="2400" b="1" kern="0" dirty="0">
                <a:solidFill>
                  <a:prstClr val="white"/>
                </a:solidFill>
                <a:latin typeface="+mj-ea"/>
                <a:ea typeface="+mj-ea"/>
              </a:rPr>
              <a:t>关键词标题</a:t>
            </a:r>
            <a:endParaRPr kumimoji="0" lang="zh-CN" altLang="en-US" sz="2400" b="1" i="0" u="none" strike="noStrike" kern="0" cap="none" spc="0" normalizeH="0" baseline="0" noProof="0" dirty="0">
              <a:ln>
                <a:noFill/>
              </a:ln>
              <a:solidFill>
                <a:prstClr val="white"/>
              </a:solidFill>
              <a:effectLst/>
              <a:uLnTx/>
              <a:uFillTx/>
              <a:latin typeface="+mj-ea"/>
              <a:ea typeface="+mj-ea"/>
            </a:endParaRPr>
          </a:p>
        </p:txBody>
      </p:sp>
      <p:sp>
        <p:nvSpPr>
          <p:cNvPr id="52" name="矩形: 圆角 51">
            <a:extLst>
              <a:ext uri="{FF2B5EF4-FFF2-40B4-BE49-F238E27FC236}">
                <a16:creationId xmlns:a16="http://schemas.microsoft.com/office/drawing/2014/main" id="{C0501662-DE6F-4C9B-80D5-0CF76F700127}"/>
              </a:ext>
            </a:extLst>
          </p:cNvPr>
          <p:cNvSpPr/>
          <p:nvPr/>
        </p:nvSpPr>
        <p:spPr>
          <a:xfrm>
            <a:off x="9482137" y="2642551"/>
            <a:ext cx="1325880" cy="461665"/>
          </a:xfrm>
          <a:prstGeom prst="roundRect">
            <a:avLst>
              <a:gd name="adj" fmla="val 50000"/>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dirty="0">
                <a:solidFill>
                  <a:schemeClr val="bg1"/>
                </a:solidFill>
                <a:latin typeface="+mj-ea"/>
                <a:ea typeface="+mj-ea"/>
              </a:rPr>
              <a:t>关键词</a:t>
            </a:r>
          </a:p>
        </p:txBody>
      </p:sp>
      <p:sp>
        <p:nvSpPr>
          <p:cNvPr id="53" name="矩形: 圆角 52">
            <a:extLst>
              <a:ext uri="{FF2B5EF4-FFF2-40B4-BE49-F238E27FC236}">
                <a16:creationId xmlns:a16="http://schemas.microsoft.com/office/drawing/2014/main" id="{17BD830A-5653-4368-8992-7EB0AF7F79B4}"/>
              </a:ext>
            </a:extLst>
          </p:cNvPr>
          <p:cNvSpPr/>
          <p:nvPr/>
        </p:nvSpPr>
        <p:spPr>
          <a:xfrm>
            <a:off x="9482137" y="3366916"/>
            <a:ext cx="1325880" cy="461665"/>
          </a:xfrm>
          <a:prstGeom prst="roundRect">
            <a:avLst>
              <a:gd name="adj" fmla="val 50000"/>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dirty="0">
                <a:solidFill>
                  <a:schemeClr val="bg1"/>
                </a:solidFill>
                <a:latin typeface="+mj-ea"/>
                <a:ea typeface="+mj-ea"/>
              </a:rPr>
              <a:t>关键词</a:t>
            </a:r>
          </a:p>
        </p:txBody>
      </p:sp>
      <p:sp>
        <p:nvSpPr>
          <p:cNvPr id="54" name="矩形: 圆角 53">
            <a:extLst>
              <a:ext uri="{FF2B5EF4-FFF2-40B4-BE49-F238E27FC236}">
                <a16:creationId xmlns:a16="http://schemas.microsoft.com/office/drawing/2014/main" id="{542E45E4-2D7C-456D-A26A-1242F6BBC7EB}"/>
              </a:ext>
            </a:extLst>
          </p:cNvPr>
          <p:cNvSpPr/>
          <p:nvPr/>
        </p:nvSpPr>
        <p:spPr>
          <a:xfrm>
            <a:off x="9482137" y="4091281"/>
            <a:ext cx="1325880" cy="461665"/>
          </a:xfrm>
          <a:prstGeom prst="roundRect">
            <a:avLst>
              <a:gd name="adj" fmla="val 50000"/>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dirty="0">
                <a:solidFill>
                  <a:schemeClr val="bg1"/>
                </a:solidFill>
                <a:latin typeface="+mj-ea"/>
                <a:ea typeface="+mj-ea"/>
              </a:rPr>
              <a:t>关键词</a:t>
            </a:r>
          </a:p>
        </p:txBody>
      </p:sp>
      <p:sp>
        <p:nvSpPr>
          <p:cNvPr id="55" name="矩形: 圆角 54">
            <a:extLst>
              <a:ext uri="{FF2B5EF4-FFF2-40B4-BE49-F238E27FC236}">
                <a16:creationId xmlns:a16="http://schemas.microsoft.com/office/drawing/2014/main" id="{52C4C7C2-48B8-4DC8-A15F-5390AE5BABFD}"/>
              </a:ext>
            </a:extLst>
          </p:cNvPr>
          <p:cNvSpPr/>
          <p:nvPr/>
        </p:nvSpPr>
        <p:spPr>
          <a:xfrm>
            <a:off x="9482137" y="4815645"/>
            <a:ext cx="1325880" cy="461665"/>
          </a:xfrm>
          <a:prstGeom prst="roundRect">
            <a:avLst>
              <a:gd name="adj" fmla="val 50000"/>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dirty="0">
                <a:solidFill>
                  <a:schemeClr val="bg1"/>
                </a:solidFill>
                <a:latin typeface="+mj-ea"/>
                <a:ea typeface="+mj-ea"/>
              </a:rPr>
              <a:t>关键词</a:t>
            </a:r>
          </a:p>
        </p:txBody>
      </p:sp>
    </p:spTree>
    <p:extLst>
      <p:ext uri="{BB962C8B-B14F-4D97-AF65-F5344CB8AC3E}">
        <p14:creationId xmlns:p14="http://schemas.microsoft.com/office/powerpoint/2010/main" val="695665161"/>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3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矩形: 圆顶角 9">
            <a:extLst>
              <a:ext uri="{FF2B5EF4-FFF2-40B4-BE49-F238E27FC236}">
                <a16:creationId xmlns:a16="http://schemas.microsoft.com/office/drawing/2014/main" id="{93BE633B-B18A-43F5-9739-539FF81BE6DE}"/>
              </a:ext>
            </a:extLst>
          </p:cNvPr>
          <p:cNvSpPr/>
          <p:nvPr/>
        </p:nvSpPr>
        <p:spPr>
          <a:xfrm>
            <a:off x="1314855" y="2092265"/>
            <a:ext cx="2085570" cy="621792"/>
          </a:xfrm>
          <a:prstGeom prst="round2SameRect">
            <a:avLst/>
          </a:prstGeom>
          <a:gradFill>
            <a:gsLst>
              <a:gs pos="0">
                <a:schemeClr val="accent1"/>
              </a:gs>
              <a:gs pos="100000">
                <a:schemeClr val="accent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a:solidFill>
                  <a:schemeClr val="bg1"/>
                </a:solidFill>
                <a:latin typeface="+mj-ea"/>
                <a:ea typeface="+mj-ea"/>
              </a:rPr>
              <a:t>关键词标题</a:t>
            </a:r>
          </a:p>
        </p:txBody>
      </p:sp>
      <p:sp>
        <p:nvSpPr>
          <p:cNvPr id="2" name="椭圆 1">
            <a:extLst>
              <a:ext uri="{FF2B5EF4-FFF2-40B4-BE49-F238E27FC236}">
                <a16:creationId xmlns:a16="http://schemas.microsoft.com/office/drawing/2014/main" id="{1D5D4059-CC0A-468C-BF0E-DD3F50BF81B8}"/>
              </a:ext>
            </a:extLst>
          </p:cNvPr>
          <p:cNvSpPr/>
          <p:nvPr/>
        </p:nvSpPr>
        <p:spPr>
          <a:xfrm>
            <a:off x="4386072" y="1719072"/>
            <a:ext cx="3419856" cy="3419856"/>
          </a:xfrm>
          <a:prstGeom prst="ellipse">
            <a:avLst/>
          </a:prstGeom>
          <a:solidFill>
            <a:schemeClr val="accent1">
              <a:alpha val="5000"/>
            </a:schemeClr>
          </a:solidFill>
          <a:ln>
            <a:solidFill>
              <a:schemeClr val="accent1"/>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3" name="椭圆 2">
            <a:extLst>
              <a:ext uri="{FF2B5EF4-FFF2-40B4-BE49-F238E27FC236}">
                <a16:creationId xmlns:a16="http://schemas.microsoft.com/office/drawing/2014/main" id="{DAF016C5-6A0F-4AF4-B224-809E0C0D7289}"/>
              </a:ext>
            </a:extLst>
          </p:cNvPr>
          <p:cNvSpPr/>
          <p:nvPr/>
        </p:nvSpPr>
        <p:spPr>
          <a:xfrm>
            <a:off x="4779355" y="2112355"/>
            <a:ext cx="2633290" cy="2633290"/>
          </a:xfrm>
          <a:prstGeom prst="ellipse">
            <a:avLst/>
          </a:prstGeom>
          <a:gradFill>
            <a:gsLst>
              <a:gs pos="1000">
                <a:schemeClr val="accent1">
                  <a:lumMod val="20000"/>
                  <a:lumOff val="80000"/>
                </a:schemeClr>
              </a:gs>
              <a:gs pos="38000">
                <a:schemeClr val="accent1">
                  <a:lumMod val="60000"/>
                  <a:lumOff val="40000"/>
                </a:schemeClr>
              </a:gs>
              <a:gs pos="78000">
                <a:schemeClr val="accent1">
                  <a:lumMod val="75000"/>
                </a:schemeClr>
              </a:gs>
              <a:gs pos="63000">
                <a:schemeClr val="accent1"/>
              </a:gs>
            </a:gsLst>
            <a:path path="circle">
              <a:fillToRect r="100000" b="10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zh-CN" altLang="en-US" sz="1600">
              <a:solidFill>
                <a:schemeClr val="bg1"/>
              </a:solidFill>
              <a:latin typeface="+mj-ea"/>
              <a:ea typeface="+mj-ea"/>
            </a:endParaRPr>
          </a:p>
        </p:txBody>
      </p:sp>
      <p:sp>
        <p:nvSpPr>
          <p:cNvPr id="4" name="椭圆 3">
            <a:extLst>
              <a:ext uri="{FF2B5EF4-FFF2-40B4-BE49-F238E27FC236}">
                <a16:creationId xmlns:a16="http://schemas.microsoft.com/office/drawing/2014/main" id="{5C3390FB-D941-482D-A674-3009CEF21790}"/>
              </a:ext>
            </a:extLst>
          </p:cNvPr>
          <p:cNvSpPr/>
          <p:nvPr/>
        </p:nvSpPr>
        <p:spPr>
          <a:xfrm>
            <a:off x="5172639" y="2505639"/>
            <a:ext cx="1846722" cy="184672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5" name="iconfont-1187-868110">
            <a:extLst>
              <a:ext uri="{FF2B5EF4-FFF2-40B4-BE49-F238E27FC236}">
                <a16:creationId xmlns:a16="http://schemas.microsoft.com/office/drawing/2014/main" id="{1C19FF4B-1D7F-4DB3-A01D-BD1EBD4F672E}"/>
              </a:ext>
            </a:extLst>
          </p:cNvPr>
          <p:cNvSpPr/>
          <p:nvPr/>
        </p:nvSpPr>
        <p:spPr>
          <a:xfrm>
            <a:off x="5731300" y="2748871"/>
            <a:ext cx="729400" cy="729590"/>
          </a:xfrm>
          <a:custGeom>
            <a:avLst/>
            <a:gdLst>
              <a:gd name="T0" fmla="*/ 7682 w 7948"/>
              <a:gd name="T1" fmla="*/ 6783 h 7949"/>
              <a:gd name="T2" fmla="*/ 5299 w 7948"/>
              <a:gd name="T3" fmla="*/ 5962 h 7949"/>
              <a:gd name="T4" fmla="*/ 5331 w 7948"/>
              <a:gd name="T5" fmla="*/ 4819 h 7949"/>
              <a:gd name="T6" fmla="*/ 5842 w 7948"/>
              <a:gd name="T7" fmla="*/ 3675 h 7949"/>
              <a:gd name="T8" fmla="*/ 6062 w 7948"/>
              <a:gd name="T9" fmla="*/ 2499 h 7949"/>
              <a:gd name="T10" fmla="*/ 5782 w 7948"/>
              <a:gd name="T11" fmla="*/ 2087 h 7949"/>
              <a:gd name="T12" fmla="*/ 5560 w 7948"/>
              <a:gd name="T13" fmla="*/ 808 h 7949"/>
              <a:gd name="T14" fmla="*/ 4267 w 7948"/>
              <a:gd name="T15" fmla="*/ 3 h 7949"/>
              <a:gd name="T16" fmla="*/ 3532 w 7948"/>
              <a:gd name="T17" fmla="*/ 224 h 7949"/>
              <a:gd name="T18" fmla="*/ 2166 w 7948"/>
              <a:gd name="T19" fmla="*/ 2087 h 7949"/>
              <a:gd name="T20" fmla="*/ 1886 w 7948"/>
              <a:gd name="T21" fmla="*/ 2499 h 7949"/>
              <a:gd name="T22" fmla="*/ 2106 w 7948"/>
              <a:gd name="T23" fmla="*/ 3675 h 7949"/>
              <a:gd name="T24" fmla="*/ 2617 w 7948"/>
              <a:gd name="T25" fmla="*/ 4819 h 7949"/>
              <a:gd name="T26" fmla="*/ 2649 w 7948"/>
              <a:gd name="T27" fmla="*/ 5963 h 7949"/>
              <a:gd name="T28" fmla="*/ 266 w 7948"/>
              <a:gd name="T29" fmla="*/ 6783 h 7949"/>
              <a:gd name="T30" fmla="*/ 0 w 7948"/>
              <a:gd name="T31" fmla="*/ 7949 h 7949"/>
              <a:gd name="T32" fmla="*/ 7948 w 7948"/>
              <a:gd name="T33" fmla="*/ 7949 h 7949"/>
              <a:gd name="T34" fmla="*/ 7682 w 7948"/>
              <a:gd name="T35" fmla="*/ 6783 h 79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948" h="7949">
                <a:moveTo>
                  <a:pt x="7682" y="6783"/>
                </a:moveTo>
                <a:cubicBezTo>
                  <a:pt x="7334" y="6308"/>
                  <a:pt x="5568" y="6505"/>
                  <a:pt x="5299" y="5962"/>
                </a:cubicBezTo>
                <a:cubicBezTo>
                  <a:pt x="4764" y="4886"/>
                  <a:pt x="4982" y="5086"/>
                  <a:pt x="5331" y="4819"/>
                </a:cubicBezTo>
                <a:cubicBezTo>
                  <a:pt x="5658" y="4569"/>
                  <a:pt x="5642" y="3909"/>
                  <a:pt x="5842" y="3675"/>
                </a:cubicBezTo>
                <a:cubicBezTo>
                  <a:pt x="6045" y="3437"/>
                  <a:pt x="6139" y="2756"/>
                  <a:pt x="6062" y="2499"/>
                </a:cubicBezTo>
                <a:cubicBezTo>
                  <a:pt x="5961" y="2159"/>
                  <a:pt x="5806" y="2344"/>
                  <a:pt x="5782" y="2087"/>
                </a:cubicBezTo>
                <a:cubicBezTo>
                  <a:pt x="5732" y="1533"/>
                  <a:pt x="5872" y="1078"/>
                  <a:pt x="5560" y="808"/>
                </a:cubicBezTo>
                <a:cubicBezTo>
                  <a:pt x="5258" y="548"/>
                  <a:pt x="4881" y="10"/>
                  <a:pt x="4267" y="3"/>
                </a:cubicBezTo>
                <a:cubicBezTo>
                  <a:pt x="4053" y="0"/>
                  <a:pt x="3811" y="64"/>
                  <a:pt x="3532" y="224"/>
                </a:cubicBezTo>
                <a:cubicBezTo>
                  <a:pt x="2208" y="82"/>
                  <a:pt x="2216" y="1533"/>
                  <a:pt x="2166" y="2087"/>
                </a:cubicBezTo>
                <a:cubicBezTo>
                  <a:pt x="2142" y="2344"/>
                  <a:pt x="1987" y="2159"/>
                  <a:pt x="1886" y="2499"/>
                </a:cubicBezTo>
                <a:cubicBezTo>
                  <a:pt x="1809" y="2756"/>
                  <a:pt x="1903" y="3437"/>
                  <a:pt x="2106" y="3675"/>
                </a:cubicBezTo>
                <a:cubicBezTo>
                  <a:pt x="2306" y="3909"/>
                  <a:pt x="2290" y="4569"/>
                  <a:pt x="2617" y="4819"/>
                </a:cubicBezTo>
                <a:cubicBezTo>
                  <a:pt x="2966" y="5086"/>
                  <a:pt x="3184" y="4886"/>
                  <a:pt x="2649" y="5963"/>
                </a:cubicBezTo>
                <a:cubicBezTo>
                  <a:pt x="2380" y="6505"/>
                  <a:pt x="614" y="6308"/>
                  <a:pt x="266" y="6783"/>
                </a:cubicBezTo>
                <a:cubicBezTo>
                  <a:pt x="0" y="7146"/>
                  <a:pt x="0" y="7949"/>
                  <a:pt x="0" y="7949"/>
                </a:cubicBezTo>
                <a:lnTo>
                  <a:pt x="7948" y="7949"/>
                </a:lnTo>
                <a:cubicBezTo>
                  <a:pt x="7948" y="7949"/>
                  <a:pt x="7948" y="7146"/>
                  <a:pt x="7682" y="6783"/>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sp>
        <p:nvSpPr>
          <p:cNvPr id="6" name="文本框 5">
            <a:extLst>
              <a:ext uri="{FF2B5EF4-FFF2-40B4-BE49-F238E27FC236}">
                <a16:creationId xmlns:a16="http://schemas.microsoft.com/office/drawing/2014/main" id="{D01D436F-666D-4A49-980D-C2E61BEB6D61}"/>
              </a:ext>
            </a:extLst>
          </p:cNvPr>
          <p:cNvSpPr txBox="1"/>
          <p:nvPr/>
        </p:nvSpPr>
        <p:spPr>
          <a:xfrm>
            <a:off x="5454799" y="3598272"/>
            <a:ext cx="1282402" cy="307777"/>
          </a:xfrm>
          <a:prstGeom prst="rect">
            <a:avLst/>
          </a:prstGeom>
          <a:noFill/>
          <a:effectLst/>
        </p:spPr>
        <p:txBody>
          <a:bodyPr wrap="none" lIns="0" tIns="0" rIns="0" bIns="0" rtlCol="0" anchor="t">
            <a:spAutoFit/>
          </a:bodyPr>
          <a:lstStyle/>
          <a:p>
            <a:pPr algn="ctr"/>
            <a:r>
              <a:rPr lang="zh-CN" altLang="en-US" sz="2000" dirty="0">
                <a:solidFill>
                  <a:schemeClr val="accent1"/>
                </a:solidFill>
                <a:latin typeface="+mj-ea"/>
                <a:ea typeface="+mj-ea"/>
              </a:rPr>
              <a:t>关键词标题</a:t>
            </a:r>
          </a:p>
        </p:txBody>
      </p:sp>
      <p:sp>
        <p:nvSpPr>
          <p:cNvPr id="9" name="矩形 8">
            <a:extLst>
              <a:ext uri="{FF2B5EF4-FFF2-40B4-BE49-F238E27FC236}">
                <a16:creationId xmlns:a16="http://schemas.microsoft.com/office/drawing/2014/main" id="{8A4FBB1A-B53A-46E5-B728-F0C26DFF13F8}"/>
              </a:ext>
            </a:extLst>
          </p:cNvPr>
          <p:cNvSpPr/>
          <p:nvPr/>
        </p:nvSpPr>
        <p:spPr>
          <a:xfrm>
            <a:off x="530352" y="2697389"/>
            <a:ext cx="3690342" cy="2048256"/>
          </a:xfrm>
          <a:prstGeom prst="rect">
            <a:avLst/>
          </a:prstGeom>
          <a:noFill/>
          <a:ln w="28575">
            <a:gradFill>
              <a:gsLst>
                <a:gs pos="0">
                  <a:schemeClr val="accent1">
                    <a:alpha val="0"/>
                  </a:schemeClr>
                </a:gs>
                <a:gs pos="50000">
                  <a:schemeClr val="accent1"/>
                </a:gs>
                <a:gs pos="100000">
                  <a:schemeClr val="accent1">
                    <a:alpha val="0"/>
                  </a:schemeClr>
                </a:gs>
              </a:gsLst>
              <a:lin ang="0" scaled="0"/>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11" name="文本框 10">
            <a:extLst>
              <a:ext uri="{FF2B5EF4-FFF2-40B4-BE49-F238E27FC236}">
                <a16:creationId xmlns:a16="http://schemas.microsoft.com/office/drawing/2014/main" id="{BBD18981-83A6-417A-93EA-1011A654B99B}"/>
              </a:ext>
            </a:extLst>
          </p:cNvPr>
          <p:cNvSpPr txBox="1"/>
          <p:nvPr/>
        </p:nvSpPr>
        <p:spPr>
          <a:xfrm>
            <a:off x="1150596" y="2994450"/>
            <a:ext cx="2449854" cy="524824"/>
          </a:xfrm>
          <a:prstGeom prst="rect">
            <a:avLst/>
          </a:prstGeom>
          <a:noFill/>
        </p:spPr>
        <p:txBody>
          <a:bodyPr wrap="square" rtlCol="0">
            <a:spAutoFit/>
          </a:bodyPr>
          <a:lstStyle/>
          <a:p>
            <a:pPr algn="ctr">
              <a:lnSpc>
                <a:spcPct val="120000"/>
              </a:lnSpc>
            </a:pPr>
            <a:r>
              <a:rPr lang="en-US" altLang="zh-CN" sz="1200" kern="0" dirty="0">
                <a:ln w="6350">
                  <a:noFill/>
                </a:ln>
                <a:solidFill>
                  <a:schemeClr val="tx1">
                    <a:lumMod val="75000"/>
                    <a:lumOff val="25000"/>
                  </a:schemeClr>
                </a:solidFill>
              </a:rPr>
              <a:t>Lorem ipsum dolor onsectetur adipisicing elit sed do eiusmod</a:t>
            </a:r>
          </a:p>
        </p:txBody>
      </p:sp>
      <p:sp>
        <p:nvSpPr>
          <p:cNvPr id="12" name="文本框 11">
            <a:extLst>
              <a:ext uri="{FF2B5EF4-FFF2-40B4-BE49-F238E27FC236}">
                <a16:creationId xmlns:a16="http://schemas.microsoft.com/office/drawing/2014/main" id="{E916152E-65DA-4D04-8101-EB7842D4B99F}"/>
              </a:ext>
            </a:extLst>
          </p:cNvPr>
          <p:cNvSpPr txBox="1"/>
          <p:nvPr/>
        </p:nvSpPr>
        <p:spPr>
          <a:xfrm>
            <a:off x="1150596" y="3718350"/>
            <a:ext cx="2449854" cy="524824"/>
          </a:xfrm>
          <a:prstGeom prst="rect">
            <a:avLst/>
          </a:prstGeom>
          <a:noFill/>
        </p:spPr>
        <p:txBody>
          <a:bodyPr wrap="square" rtlCol="0">
            <a:spAutoFit/>
          </a:bodyPr>
          <a:lstStyle/>
          <a:p>
            <a:pPr algn="ctr">
              <a:lnSpc>
                <a:spcPct val="120000"/>
              </a:lnSpc>
            </a:pPr>
            <a:r>
              <a:rPr lang="en-US" altLang="zh-CN" sz="1200" kern="0" dirty="0">
                <a:ln w="6350">
                  <a:noFill/>
                </a:ln>
                <a:solidFill>
                  <a:schemeClr val="tx1">
                    <a:lumMod val="75000"/>
                    <a:lumOff val="25000"/>
                  </a:schemeClr>
                </a:solidFill>
              </a:rPr>
              <a:t>Lorem ipsum dolor onsectetur adipisicing elit sed do eiusmod</a:t>
            </a:r>
          </a:p>
        </p:txBody>
      </p:sp>
      <p:sp>
        <p:nvSpPr>
          <p:cNvPr id="13" name="矩形: 圆顶角 12">
            <a:extLst>
              <a:ext uri="{FF2B5EF4-FFF2-40B4-BE49-F238E27FC236}">
                <a16:creationId xmlns:a16="http://schemas.microsoft.com/office/drawing/2014/main" id="{38EBE827-C9B0-40AA-83C1-43D3AC1B1590}"/>
              </a:ext>
            </a:extLst>
          </p:cNvPr>
          <p:cNvSpPr/>
          <p:nvPr/>
        </p:nvSpPr>
        <p:spPr>
          <a:xfrm>
            <a:off x="8715780" y="2092265"/>
            <a:ext cx="2085570" cy="621792"/>
          </a:xfrm>
          <a:prstGeom prst="round2SameRect">
            <a:avLst/>
          </a:prstGeom>
          <a:gradFill>
            <a:gsLst>
              <a:gs pos="0">
                <a:schemeClr val="accent1"/>
              </a:gs>
              <a:gs pos="100000">
                <a:schemeClr val="accent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a:solidFill>
                  <a:schemeClr val="bg1"/>
                </a:solidFill>
                <a:latin typeface="+mj-ea"/>
                <a:ea typeface="+mj-ea"/>
              </a:rPr>
              <a:t>关键词标题</a:t>
            </a:r>
          </a:p>
        </p:txBody>
      </p:sp>
      <p:sp>
        <p:nvSpPr>
          <p:cNvPr id="14" name="矩形 13">
            <a:extLst>
              <a:ext uri="{FF2B5EF4-FFF2-40B4-BE49-F238E27FC236}">
                <a16:creationId xmlns:a16="http://schemas.microsoft.com/office/drawing/2014/main" id="{0EE21675-48D0-4D53-9F8F-6CFA37EA0A0F}"/>
              </a:ext>
            </a:extLst>
          </p:cNvPr>
          <p:cNvSpPr/>
          <p:nvPr/>
        </p:nvSpPr>
        <p:spPr>
          <a:xfrm>
            <a:off x="7931277" y="2697389"/>
            <a:ext cx="3690342" cy="2048256"/>
          </a:xfrm>
          <a:prstGeom prst="rect">
            <a:avLst/>
          </a:prstGeom>
          <a:noFill/>
          <a:ln w="28575">
            <a:gradFill>
              <a:gsLst>
                <a:gs pos="0">
                  <a:schemeClr val="accent1">
                    <a:alpha val="0"/>
                  </a:schemeClr>
                </a:gs>
                <a:gs pos="50000">
                  <a:schemeClr val="accent1"/>
                </a:gs>
                <a:gs pos="100000">
                  <a:schemeClr val="accent1">
                    <a:alpha val="0"/>
                  </a:schemeClr>
                </a:gs>
              </a:gsLst>
              <a:lin ang="0" scaled="0"/>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15" name="文本框 14">
            <a:extLst>
              <a:ext uri="{FF2B5EF4-FFF2-40B4-BE49-F238E27FC236}">
                <a16:creationId xmlns:a16="http://schemas.microsoft.com/office/drawing/2014/main" id="{21B6F662-3E92-4AF9-8CDF-FCEC439A8B5F}"/>
              </a:ext>
            </a:extLst>
          </p:cNvPr>
          <p:cNvSpPr txBox="1"/>
          <p:nvPr/>
        </p:nvSpPr>
        <p:spPr>
          <a:xfrm>
            <a:off x="8551521" y="2994450"/>
            <a:ext cx="2449854" cy="524824"/>
          </a:xfrm>
          <a:prstGeom prst="rect">
            <a:avLst/>
          </a:prstGeom>
          <a:noFill/>
        </p:spPr>
        <p:txBody>
          <a:bodyPr wrap="square" rtlCol="0">
            <a:spAutoFit/>
          </a:bodyPr>
          <a:lstStyle/>
          <a:p>
            <a:pPr algn="ctr">
              <a:lnSpc>
                <a:spcPct val="120000"/>
              </a:lnSpc>
            </a:pPr>
            <a:r>
              <a:rPr lang="en-US" altLang="zh-CN" sz="1200" kern="0" dirty="0">
                <a:ln w="6350">
                  <a:noFill/>
                </a:ln>
                <a:solidFill>
                  <a:schemeClr val="tx1">
                    <a:lumMod val="75000"/>
                    <a:lumOff val="25000"/>
                  </a:schemeClr>
                </a:solidFill>
              </a:rPr>
              <a:t>Lorem ipsum dolor onsectetur adipisicing elit sed do eiusmod</a:t>
            </a:r>
          </a:p>
        </p:txBody>
      </p:sp>
      <p:sp>
        <p:nvSpPr>
          <p:cNvPr id="16" name="文本框 15">
            <a:extLst>
              <a:ext uri="{FF2B5EF4-FFF2-40B4-BE49-F238E27FC236}">
                <a16:creationId xmlns:a16="http://schemas.microsoft.com/office/drawing/2014/main" id="{04D09329-8892-47D5-9C2F-CB5197771852}"/>
              </a:ext>
            </a:extLst>
          </p:cNvPr>
          <p:cNvSpPr txBox="1"/>
          <p:nvPr/>
        </p:nvSpPr>
        <p:spPr>
          <a:xfrm>
            <a:off x="8551521" y="3718350"/>
            <a:ext cx="2449854" cy="524824"/>
          </a:xfrm>
          <a:prstGeom prst="rect">
            <a:avLst/>
          </a:prstGeom>
          <a:noFill/>
        </p:spPr>
        <p:txBody>
          <a:bodyPr wrap="square" rtlCol="0">
            <a:spAutoFit/>
          </a:bodyPr>
          <a:lstStyle/>
          <a:p>
            <a:pPr algn="ctr">
              <a:lnSpc>
                <a:spcPct val="120000"/>
              </a:lnSpc>
            </a:pPr>
            <a:r>
              <a:rPr lang="en-US" altLang="zh-CN" sz="1200" kern="0" dirty="0">
                <a:ln w="6350">
                  <a:noFill/>
                </a:ln>
                <a:solidFill>
                  <a:schemeClr val="tx1">
                    <a:lumMod val="75000"/>
                    <a:lumOff val="25000"/>
                  </a:schemeClr>
                </a:solidFill>
              </a:rPr>
              <a:t>Lorem ipsum dolor onsectetur adipisicing elit sed do eiusmod</a:t>
            </a:r>
          </a:p>
        </p:txBody>
      </p:sp>
    </p:spTree>
    <p:extLst>
      <p:ext uri="{BB962C8B-B14F-4D97-AF65-F5344CB8AC3E}">
        <p14:creationId xmlns:p14="http://schemas.microsoft.com/office/powerpoint/2010/main" val="2844139380"/>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任意多边形: 形状 1">
            <a:extLst>
              <a:ext uri="{FF2B5EF4-FFF2-40B4-BE49-F238E27FC236}">
                <a16:creationId xmlns:a16="http://schemas.microsoft.com/office/drawing/2014/main" id="{11EC4455-504A-4306-87DD-8C799C501683}"/>
              </a:ext>
            </a:extLst>
          </p:cNvPr>
          <p:cNvSpPr/>
          <p:nvPr/>
        </p:nvSpPr>
        <p:spPr>
          <a:xfrm>
            <a:off x="0" y="1"/>
            <a:ext cx="2099197" cy="3890664"/>
          </a:xfrm>
          <a:custGeom>
            <a:avLst/>
            <a:gdLst>
              <a:gd name="connsiteX0" fmla="*/ 0 w 2610599"/>
              <a:gd name="connsiteY0" fmla="*/ 0 h 4838499"/>
              <a:gd name="connsiteX1" fmla="*/ 2610599 w 2610599"/>
              <a:gd name="connsiteY1" fmla="*/ 0 h 4838499"/>
              <a:gd name="connsiteX2" fmla="*/ 9277 w 2610599"/>
              <a:gd name="connsiteY2" fmla="*/ 4838499 h 4838499"/>
              <a:gd name="connsiteX3" fmla="*/ 0 w 2610599"/>
              <a:gd name="connsiteY3" fmla="*/ 4838499 h 4838499"/>
            </a:gdLst>
            <a:ahLst/>
            <a:cxnLst>
              <a:cxn ang="0">
                <a:pos x="connsiteX0" y="connsiteY0"/>
              </a:cxn>
              <a:cxn ang="0">
                <a:pos x="connsiteX1" y="connsiteY1"/>
              </a:cxn>
              <a:cxn ang="0">
                <a:pos x="connsiteX2" y="connsiteY2"/>
              </a:cxn>
              <a:cxn ang="0">
                <a:pos x="connsiteX3" y="connsiteY3"/>
              </a:cxn>
            </a:cxnLst>
            <a:rect l="l" t="t" r="r" b="b"/>
            <a:pathLst>
              <a:path w="2610599" h="4838499">
                <a:moveTo>
                  <a:pt x="0" y="0"/>
                </a:moveTo>
                <a:lnTo>
                  <a:pt x="2610599" y="0"/>
                </a:lnTo>
                <a:lnTo>
                  <a:pt x="9277" y="4838499"/>
                </a:lnTo>
                <a:lnTo>
                  <a:pt x="0" y="4838499"/>
                </a:lnTo>
                <a:close/>
              </a:path>
            </a:pathLst>
          </a:custGeom>
          <a:solidFill>
            <a:schemeClr val="accent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p>
        </p:txBody>
      </p:sp>
      <p:sp>
        <p:nvSpPr>
          <p:cNvPr id="3" name="任意多边形: 形状 2">
            <a:extLst>
              <a:ext uri="{FF2B5EF4-FFF2-40B4-BE49-F238E27FC236}">
                <a16:creationId xmlns:a16="http://schemas.microsoft.com/office/drawing/2014/main" id="{EE27A990-DA4D-4611-B0D1-66748486F43E}"/>
              </a:ext>
            </a:extLst>
          </p:cNvPr>
          <p:cNvSpPr/>
          <p:nvPr/>
        </p:nvSpPr>
        <p:spPr>
          <a:xfrm>
            <a:off x="0" y="1"/>
            <a:ext cx="1781259" cy="2379365"/>
          </a:xfrm>
          <a:custGeom>
            <a:avLst/>
            <a:gdLst>
              <a:gd name="connsiteX0" fmla="*/ 0 w 2215206"/>
              <a:gd name="connsiteY0" fmla="*/ 0 h 2959021"/>
              <a:gd name="connsiteX1" fmla="*/ 2215206 w 2215206"/>
              <a:gd name="connsiteY1" fmla="*/ 0 h 2959021"/>
              <a:gd name="connsiteX2" fmla="*/ 624347 w 2215206"/>
              <a:gd name="connsiteY2" fmla="*/ 2959021 h 2959021"/>
              <a:gd name="connsiteX3" fmla="*/ 0 w 2215206"/>
              <a:gd name="connsiteY3" fmla="*/ 2959021 h 2959021"/>
            </a:gdLst>
            <a:ahLst/>
            <a:cxnLst>
              <a:cxn ang="0">
                <a:pos x="connsiteX0" y="connsiteY0"/>
              </a:cxn>
              <a:cxn ang="0">
                <a:pos x="connsiteX1" y="connsiteY1"/>
              </a:cxn>
              <a:cxn ang="0">
                <a:pos x="connsiteX2" y="connsiteY2"/>
              </a:cxn>
              <a:cxn ang="0">
                <a:pos x="connsiteX3" y="connsiteY3"/>
              </a:cxn>
            </a:cxnLst>
            <a:rect l="l" t="t" r="r" b="b"/>
            <a:pathLst>
              <a:path w="2215206" h="2959021">
                <a:moveTo>
                  <a:pt x="0" y="0"/>
                </a:moveTo>
                <a:lnTo>
                  <a:pt x="2215206" y="0"/>
                </a:lnTo>
                <a:lnTo>
                  <a:pt x="624347" y="2959021"/>
                </a:lnTo>
                <a:lnTo>
                  <a:pt x="0" y="2959021"/>
                </a:lnTo>
                <a:close/>
              </a:path>
            </a:pathLst>
          </a:custGeom>
          <a:solidFill>
            <a:schemeClr val="accent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p>
        </p:txBody>
      </p:sp>
      <p:sp>
        <p:nvSpPr>
          <p:cNvPr id="4" name="任意多边形: 形状 3">
            <a:extLst>
              <a:ext uri="{FF2B5EF4-FFF2-40B4-BE49-F238E27FC236}">
                <a16:creationId xmlns:a16="http://schemas.microsoft.com/office/drawing/2014/main" id="{6149A3DC-9FE2-498A-AE41-890C69AB6E08}"/>
              </a:ext>
            </a:extLst>
          </p:cNvPr>
          <p:cNvSpPr/>
          <p:nvPr/>
        </p:nvSpPr>
        <p:spPr>
          <a:xfrm>
            <a:off x="0" y="0"/>
            <a:ext cx="1520988" cy="2802929"/>
          </a:xfrm>
          <a:custGeom>
            <a:avLst/>
            <a:gdLst>
              <a:gd name="connsiteX0" fmla="*/ 0 w 1891528"/>
              <a:gd name="connsiteY0" fmla="*/ 0 h 3485772"/>
              <a:gd name="connsiteX1" fmla="*/ 1891528 w 1891528"/>
              <a:gd name="connsiteY1" fmla="*/ 0 h 3485772"/>
              <a:gd name="connsiteX2" fmla="*/ 17472 w 1891528"/>
              <a:gd name="connsiteY2" fmla="*/ 3485772 h 3485772"/>
              <a:gd name="connsiteX3" fmla="*/ 0 w 1891528"/>
              <a:gd name="connsiteY3" fmla="*/ 3485772 h 3485772"/>
            </a:gdLst>
            <a:ahLst/>
            <a:cxnLst>
              <a:cxn ang="0">
                <a:pos x="connsiteX0" y="connsiteY0"/>
              </a:cxn>
              <a:cxn ang="0">
                <a:pos x="connsiteX1" y="connsiteY1"/>
              </a:cxn>
              <a:cxn ang="0">
                <a:pos x="connsiteX2" y="connsiteY2"/>
              </a:cxn>
              <a:cxn ang="0">
                <a:pos x="connsiteX3" y="connsiteY3"/>
              </a:cxn>
            </a:cxnLst>
            <a:rect l="l" t="t" r="r" b="b"/>
            <a:pathLst>
              <a:path w="1891528" h="3485772">
                <a:moveTo>
                  <a:pt x="0" y="0"/>
                </a:moveTo>
                <a:lnTo>
                  <a:pt x="1891528" y="0"/>
                </a:lnTo>
                <a:lnTo>
                  <a:pt x="17472" y="3485772"/>
                </a:lnTo>
                <a:lnTo>
                  <a:pt x="0" y="3485772"/>
                </a:lnTo>
                <a:close/>
              </a:path>
            </a:pathLst>
          </a:custGeom>
          <a:solidFill>
            <a:schemeClr val="accent1">
              <a:lumMod val="75000"/>
            </a:schemeClr>
          </a:solidFill>
          <a:ln w="12700" cap="flat" cmpd="sng" algn="ctr">
            <a:noFill/>
            <a:prstDash val="solid"/>
            <a:miter lim="800000"/>
          </a:ln>
          <a:effectLst>
            <a:outerShdw blurRad="355600" dist="1905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p>
        </p:txBody>
      </p:sp>
      <p:sp>
        <p:nvSpPr>
          <p:cNvPr id="5" name="任意多边形: 形状 4">
            <a:extLst>
              <a:ext uri="{FF2B5EF4-FFF2-40B4-BE49-F238E27FC236}">
                <a16:creationId xmlns:a16="http://schemas.microsoft.com/office/drawing/2014/main" id="{0A872A4C-FAB1-4194-8A35-A27D26B225E8}"/>
              </a:ext>
            </a:extLst>
          </p:cNvPr>
          <p:cNvSpPr/>
          <p:nvPr/>
        </p:nvSpPr>
        <p:spPr>
          <a:xfrm>
            <a:off x="1" y="0"/>
            <a:ext cx="522592" cy="972030"/>
          </a:xfrm>
          <a:custGeom>
            <a:avLst/>
            <a:gdLst>
              <a:gd name="connsiteX0" fmla="*/ 0 w 649905"/>
              <a:gd name="connsiteY0" fmla="*/ 0 h 1208834"/>
              <a:gd name="connsiteX1" fmla="*/ 649905 w 649905"/>
              <a:gd name="connsiteY1" fmla="*/ 0 h 1208834"/>
              <a:gd name="connsiteX2" fmla="*/ 0 w 649905"/>
              <a:gd name="connsiteY2" fmla="*/ 1208834 h 1208834"/>
            </a:gdLst>
            <a:ahLst/>
            <a:cxnLst>
              <a:cxn ang="0">
                <a:pos x="connsiteX0" y="connsiteY0"/>
              </a:cxn>
              <a:cxn ang="0">
                <a:pos x="connsiteX1" y="connsiteY1"/>
              </a:cxn>
              <a:cxn ang="0">
                <a:pos x="connsiteX2" y="connsiteY2"/>
              </a:cxn>
            </a:cxnLst>
            <a:rect l="l" t="t" r="r" b="b"/>
            <a:pathLst>
              <a:path w="649905" h="1208834">
                <a:moveTo>
                  <a:pt x="0" y="0"/>
                </a:moveTo>
                <a:lnTo>
                  <a:pt x="649905" y="0"/>
                </a:lnTo>
                <a:lnTo>
                  <a:pt x="0" y="1208834"/>
                </a:lnTo>
                <a:close/>
              </a:path>
            </a:pathLst>
          </a:custGeom>
          <a:solidFill>
            <a:schemeClr val="accent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p>
        </p:txBody>
      </p:sp>
      <p:grpSp>
        <p:nvGrpSpPr>
          <p:cNvPr id="6" name="组合 5">
            <a:extLst>
              <a:ext uri="{FF2B5EF4-FFF2-40B4-BE49-F238E27FC236}">
                <a16:creationId xmlns:a16="http://schemas.microsoft.com/office/drawing/2014/main" id="{A74E08A3-92DD-413D-B3C5-BB9B9FC05078}"/>
              </a:ext>
            </a:extLst>
          </p:cNvPr>
          <p:cNvGrpSpPr/>
          <p:nvPr/>
        </p:nvGrpSpPr>
        <p:grpSpPr>
          <a:xfrm>
            <a:off x="10589456" y="3309257"/>
            <a:ext cx="1602545" cy="3548744"/>
            <a:chOff x="9791472" y="1542167"/>
            <a:chExt cx="2400529" cy="5315834"/>
          </a:xfrm>
        </p:grpSpPr>
        <p:sp>
          <p:nvSpPr>
            <p:cNvPr id="7" name="任意多边形: 形状 6">
              <a:extLst>
                <a:ext uri="{FF2B5EF4-FFF2-40B4-BE49-F238E27FC236}">
                  <a16:creationId xmlns:a16="http://schemas.microsoft.com/office/drawing/2014/main" id="{EC4EC526-4A3A-4687-9CD1-026555A4E68D}"/>
                </a:ext>
              </a:extLst>
            </p:cNvPr>
            <p:cNvSpPr/>
            <p:nvPr/>
          </p:nvSpPr>
          <p:spPr>
            <a:xfrm>
              <a:off x="10343014" y="1542167"/>
              <a:ext cx="1848987" cy="3439144"/>
            </a:xfrm>
            <a:custGeom>
              <a:avLst/>
              <a:gdLst>
                <a:gd name="connsiteX0" fmla="*/ 1848987 w 1848987"/>
                <a:gd name="connsiteY0" fmla="*/ 0 h 3439144"/>
                <a:gd name="connsiteX1" fmla="*/ 1848987 w 1848987"/>
                <a:gd name="connsiteY1" fmla="*/ 3439144 h 3439144"/>
                <a:gd name="connsiteX2" fmla="*/ 0 w 1848987"/>
                <a:gd name="connsiteY2" fmla="*/ 3439144 h 3439144"/>
              </a:gdLst>
              <a:ahLst/>
              <a:cxnLst>
                <a:cxn ang="0">
                  <a:pos x="connsiteX0" y="connsiteY0"/>
                </a:cxn>
                <a:cxn ang="0">
                  <a:pos x="connsiteX1" y="connsiteY1"/>
                </a:cxn>
                <a:cxn ang="0">
                  <a:pos x="connsiteX2" y="connsiteY2"/>
                </a:cxn>
              </a:cxnLst>
              <a:rect l="l" t="t" r="r" b="b"/>
              <a:pathLst>
                <a:path w="1848987" h="3439144">
                  <a:moveTo>
                    <a:pt x="1848987" y="0"/>
                  </a:moveTo>
                  <a:lnTo>
                    <a:pt x="1848987" y="3439144"/>
                  </a:lnTo>
                  <a:lnTo>
                    <a:pt x="0" y="3439144"/>
                  </a:lnTo>
                  <a:close/>
                </a:path>
              </a:pathLst>
            </a:custGeom>
            <a:solidFill>
              <a:schemeClr val="accent1">
                <a:lumMod val="60000"/>
                <a:lumOff val="40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p>
          </p:txBody>
        </p:sp>
        <p:sp>
          <p:nvSpPr>
            <p:cNvPr id="8" name="任意多边形: 形状 7">
              <a:extLst>
                <a:ext uri="{FF2B5EF4-FFF2-40B4-BE49-F238E27FC236}">
                  <a16:creationId xmlns:a16="http://schemas.microsoft.com/office/drawing/2014/main" id="{95D535BA-68F8-430A-B72E-705CCE51219D}"/>
                </a:ext>
              </a:extLst>
            </p:cNvPr>
            <p:cNvSpPr/>
            <p:nvPr/>
          </p:nvSpPr>
          <p:spPr>
            <a:xfrm>
              <a:off x="9791472" y="2392980"/>
              <a:ext cx="2400529" cy="4465021"/>
            </a:xfrm>
            <a:custGeom>
              <a:avLst/>
              <a:gdLst>
                <a:gd name="connsiteX0" fmla="*/ 2400529 w 2400529"/>
                <a:gd name="connsiteY0" fmla="*/ 0 h 4465021"/>
                <a:gd name="connsiteX1" fmla="*/ 2400529 w 2400529"/>
                <a:gd name="connsiteY1" fmla="*/ 4465021 h 4465021"/>
                <a:gd name="connsiteX2" fmla="*/ 0 w 2400529"/>
                <a:gd name="connsiteY2" fmla="*/ 4465021 h 4465021"/>
              </a:gdLst>
              <a:ahLst/>
              <a:cxnLst>
                <a:cxn ang="0">
                  <a:pos x="connsiteX0" y="connsiteY0"/>
                </a:cxn>
                <a:cxn ang="0">
                  <a:pos x="connsiteX1" y="connsiteY1"/>
                </a:cxn>
                <a:cxn ang="0">
                  <a:pos x="connsiteX2" y="connsiteY2"/>
                </a:cxn>
              </a:cxnLst>
              <a:rect l="l" t="t" r="r" b="b"/>
              <a:pathLst>
                <a:path w="2400529" h="4465021">
                  <a:moveTo>
                    <a:pt x="2400529" y="0"/>
                  </a:moveTo>
                  <a:lnTo>
                    <a:pt x="2400529" y="4465021"/>
                  </a:lnTo>
                  <a:lnTo>
                    <a:pt x="0" y="4465021"/>
                  </a:lnTo>
                  <a:close/>
                </a:path>
              </a:pathLst>
            </a:custGeom>
            <a:solidFill>
              <a:schemeClr val="accent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p>
          </p:txBody>
        </p:sp>
        <p:sp>
          <p:nvSpPr>
            <p:cNvPr id="9" name="任意多边形: 形状 8">
              <a:extLst>
                <a:ext uri="{FF2B5EF4-FFF2-40B4-BE49-F238E27FC236}">
                  <a16:creationId xmlns:a16="http://schemas.microsoft.com/office/drawing/2014/main" id="{F1675DD1-EF48-456A-B55F-28A8FD8F72BF}"/>
                </a:ext>
              </a:extLst>
            </p:cNvPr>
            <p:cNvSpPr/>
            <p:nvPr/>
          </p:nvSpPr>
          <p:spPr>
            <a:xfrm>
              <a:off x="10343014" y="3418858"/>
              <a:ext cx="1848986" cy="3439142"/>
            </a:xfrm>
            <a:custGeom>
              <a:avLst/>
              <a:gdLst>
                <a:gd name="connsiteX0" fmla="*/ 1848986 w 1848986"/>
                <a:gd name="connsiteY0" fmla="*/ 0 h 3439142"/>
                <a:gd name="connsiteX1" fmla="*/ 1848986 w 1848986"/>
                <a:gd name="connsiteY1" fmla="*/ 3439142 h 3439142"/>
                <a:gd name="connsiteX2" fmla="*/ 0 w 1848986"/>
                <a:gd name="connsiteY2" fmla="*/ 3439142 h 3439142"/>
              </a:gdLst>
              <a:ahLst/>
              <a:cxnLst>
                <a:cxn ang="0">
                  <a:pos x="connsiteX0" y="connsiteY0"/>
                </a:cxn>
                <a:cxn ang="0">
                  <a:pos x="connsiteX1" y="connsiteY1"/>
                </a:cxn>
                <a:cxn ang="0">
                  <a:pos x="connsiteX2" y="connsiteY2"/>
                </a:cxn>
              </a:cxnLst>
              <a:rect l="l" t="t" r="r" b="b"/>
              <a:pathLst>
                <a:path w="1848986" h="3439142">
                  <a:moveTo>
                    <a:pt x="1848986" y="0"/>
                  </a:moveTo>
                  <a:lnTo>
                    <a:pt x="1848986" y="3439142"/>
                  </a:lnTo>
                  <a:lnTo>
                    <a:pt x="0" y="3439142"/>
                  </a:lnTo>
                  <a:close/>
                </a:path>
              </a:pathLst>
            </a:custGeom>
            <a:solidFill>
              <a:schemeClr val="accent1">
                <a:lumMod val="75000"/>
              </a:schemeClr>
            </a:solidFill>
            <a:ln w="12700" cap="flat" cmpd="sng" algn="ctr">
              <a:noFill/>
              <a:prstDash val="solid"/>
              <a:miter lim="800000"/>
            </a:ln>
            <a:effectLst>
              <a:outerShdw blurRad="355600" dist="190500" dir="96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p>
          </p:txBody>
        </p:sp>
        <p:sp>
          <p:nvSpPr>
            <p:cNvPr id="10" name="任意多边形: 形状 9">
              <a:extLst>
                <a:ext uri="{FF2B5EF4-FFF2-40B4-BE49-F238E27FC236}">
                  <a16:creationId xmlns:a16="http://schemas.microsoft.com/office/drawing/2014/main" id="{0006D770-E0D7-496E-ACE2-729259D1A8C5}"/>
                </a:ext>
              </a:extLst>
            </p:cNvPr>
            <p:cNvSpPr/>
            <p:nvPr/>
          </p:nvSpPr>
          <p:spPr>
            <a:xfrm>
              <a:off x="11312278" y="5221702"/>
              <a:ext cx="879723" cy="1636299"/>
            </a:xfrm>
            <a:custGeom>
              <a:avLst/>
              <a:gdLst>
                <a:gd name="connsiteX0" fmla="*/ 879723 w 879723"/>
                <a:gd name="connsiteY0" fmla="*/ 0 h 1636299"/>
                <a:gd name="connsiteX1" fmla="*/ 879723 w 879723"/>
                <a:gd name="connsiteY1" fmla="*/ 1636299 h 1636299"/>
                <a:gd name="connsiteX2" fmla="*/ 0 w 879723"/>
                <a:gd name="connsiteY2" fmla="*/ 1636299 h 1636299"/>
              </a:gdLst>
              <a:ahLst/>
              <a:cxnLst>
                <a:cxn ang="0">
                  <a:pos x="connsiteX0" y="connsiteY0"/>
                </a:cxn>
                <a:cxn ang="0">
                  <a:pos x="connsiteX1" y="connsiteY1"/>
                </a:cxn>
                <a:cxn ang="0">
                  <a:pos x="connsiteX2" y="connsiteY2"/>
                </a:cxn>
              </a:cxnLst>
              <a:rect l="l" t="t" r="r" b="b"/>
              <a:pathLst>
                <a:path w="879723" h="1636299">
                  <a:moveTo>
                    <a:pt x="879723" y="0"/>
                  </a:moveTo>
                  <a:lnTo>
                    <a:pt x="879723" y="1636299"/>
                  </a:lnTo>
                  <a:lnTo>
                    <a:pt x="0" y="1636299"/>
                  </a:lnTo>
                  <a:close/>
                </a:path>
              </a:pathLst>
            </a:custGeom>
            <a:solidFill>
              <a:schemeClr val="accent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p>
          </p:txBody>
        </p:sp>
      </p:grpSp>
      <p:cxnSp>
        <p:nvCxnSpPr>
          <p:cNvPr id="11" name="直接连接符 10">
            <a:extLst>
              <a:ext uri="{FF2B5EF4-FFF2-40B4-BE49-F238E27FC236}">
                <a16:creationId xmlns:a16="http://schemas.microsoft.com/office/drawing/2014/main" id="{28CD70B7-9BEE-4FA3-B7E6-6F8C4AAFA040}"/>
              </a:ext>
            </a:extLst>
          </p:cNvPr>
          <p:cNvCxnSpPr>
            <a:cxnSpLocks/>
          </p:cNvCxnSpPr>
          <p:nvPr/>
        </p:nvCxnSpPr>
        <p:spPr>
          <a:xfrm flipH="1">
            <a:off x="1200150" y="-4738"/>
            <a:ext cx="1127210" cy="2125638"/>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2" name="直接连接符 11">
            <a:extLst>
              <a:ext uri="{FF2B5EF4-FFF2-40B4-BE49-F238E27FC236}">
                <a16:creationId xmlns:a16="http://schemas.microsoft.com/office/drawing/2014/main" id="{C1B68950-9616-434F-B824-61A6AFD33912}"/>
              </a:ext>
            </a:extLst>
          </p:cNvPr>
          <p:cNvCxnSpPr>
            <a:cxnSpLocks/>
          </p:cNvCxnSpPr>
          <p:nvPr/>
        </p:nvCxnSpPr>
        <p:spPr>
          <a:xfrm flipH="1">
            <a:off x="11064791" y="2827846"/>
            <a:ext cx="1127210" cy="2125638"/>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13" name="文本框 12">
            <a:extLst>
              <a:ext uri="{FF2B5EF4-FFF2-40B4-BE49-F238E27FC236}">
                <a16:creationId xmlns:a16="http://schemas.microsoft.com/office/drawing/2014/main" id="{5DC35545-BB0E-4501-8274-460CC8459BBF}"/>
              </a:ext>
            </a:extLst>
          </p:cNvPr>
          <p:cNvSpPr txBox="1"/>
          <p:nvPr/>
        </p:nvSpPr>
        <p:spPr>
          <a:xfrm>
            <a:off x="1941016" y="2535752"/>
            <a:ext cx="8309968" cy="1107996"/>
          </a:xfrm>
          <a:prstGeom prst="rect">
            <a:avLst/>
          </a:prstGeom>
          <a:noFill/>
        </p:spPr>
        <p:txBody>
          <a:bodyPr wrap="none" lIns="0" tIns="0" rIns="0" bIns="0" rtlCol="0" anchor="t">
            <a:spAutoFit/>
          </a:bodyPr>
          <a:lstStyle/>
          <a:p>
            <a:pPr algn="ctr"/>
            <a:r>
              <a:rPr lang="zh-CN" altLang="en-US" sz="7200" dirty="0">
                <a:solidFill>
                  <a:schemeClr val="accent1">
                    <a:lumMod val="100000"/>
                  </a:schemeClr>
                </a:solidFill>
                <a:latin typeface="+mj-ea"/>
                <a:ea typeface="+mj-ea"/>
              </a:rPr>
              <a:t>输入你的封面大标题</a:t>
            </a:r>
          </a:p>
        </p:txBody>
      </p:sp>
      <p:sp>
        <p:nvSpPr>
          <p:cNvPr id="14" name="文本框 13">
            <a:extLst>
              <a:ext uri="{FF2B5EF4-FFF2-40B4-BE49-F238E27FC236}">
                <a16:creationId xmlns:a16="http://schemas.microsoft.com/office/drawing/2014/main" id="{F1A08A0D-A463-49EB-86D9-7AB855F9AB4B}"/>
              </a:ext>
            </a:extLst>
          </p:cNvPr>
          <p:cNvSpPr txBox="1"/>
          <p:nvPr/>
        </p:nvSpPr>
        <p:spPr>
          <a:xfrm>
            <a:off x="4095451" y="3675141"/>
            <a:ext cx="4001095" cy="369332"/>
          </a:xfrm>
          <a:prstGeom prst="rect">
            <a:avLst/>
          </a:prstGeom>
          <a:noFill/>
        </p:spPr>
        <p:txBody>
          <a:bodyPr wrap="none" lIns="0" tIns="0" rIns="0" bIns="0" rtlCol="0" anchor="t">
            <a:spAutoFit/>
          </a:bodyPr>
          <a:lstStyle/>
          <a:p>
            <a:pPr algn="ctr"/>
            <a:r>
              <a:rPr lang="zh-CN" altLang="en-US" sz="2400" dirty="0">
                <a:solidFill>
                  <a:schemeClr val="accent1">
                    <a:lumMod val="100000"/>
                  </a:schemeClr>
                </a:solidFill>
                <a:latin typeface="+mn-ea"/>
              </a:rPr>
              <a:t>输入你的副标题或大标题英文</a:t>
            </a:r>
          </a:p>
        </p:txBody>
      </p:sp>
      <p:cxnSp>
        <p:nvCxnSpPr>
          <p:cNvPr id="15" name="直接连接符 14">
            <a:extLst>
              <a:ext uri="{FF2B5EF4-FFF2-40B4-BE49-F238E27FC236}">
                <a16:creationId xmlns:a16="http://schemas.microsoft.com/office/drawing/2014/main" id="{41EC8601-C7ED-484B-AB6D-A32ECE8DBFA6}"/>
              </a:ext>
            </a:extLst>
          </p:cNvPr>
          <p:cNvCxnSpPr>
            <a:cxnSpLocks/>
          </p:cNvCxnSpPr>
          <p:nvPr/>
        </p:nvCxnSpPr>
        <p:spPr>
          <a:xfrm flipH="1">
            <a:off x="2633513" y="3865593"/>
            <a:ext cx="1298407" cy="0"/>
          </a:xfrm>
          <a:prstGeom prst="line">
            <a:avLst/>
          </a:prstGeom>
          <a:ln w="19050">
            <a:solidFill>
              <a:schemeClr val="accent1">
                <a:lumMod val="100000"/>
              </a:schemeClr>
            </a:solidFill>
          </a:ln>
        </p:spPr>
        <p:style>
          <a:lnRef idx="1">
            <a:schemeClr val="accent1"/>
          </a:lnRef>
          <a:fillRef idx="0">
            <a:schemeClr val="accent1"/>
          </a:fillRef>
          <a:effectRef idx="0">
            <a:schemeClr val="accent1"/>
          </a:effectRef>
          <a:fontRef idx="minor">
            <a:schemeClr val="tx1"/>
          </a:fontRef>
        </p:style>
      </p:cxnSp>
      <p:cxnSp>
        <p:nvCxnSpPr>
          <p:cNvPr id="16" name="直接连接符 15">
            <a:extLst>
              <a:ext uri="{FF2B5EF4-FFF2-40B4-BE49-F238E27FC236}">
                <a16:creationId xmlns:a16="http://schemas.microsoft.com/office/drawing/2014/main" id="{DC6C6028-05B1-444A-8EB4-7F0240DAA269}"/>
              </a:ext>
            </a:extLst>
          </p:cNvPr>
          <p:cNvCxnSpPr>
            <a:cxnSpLocks/>
          </p:cNvCxnSpPr>
          <p:nvPr/>
        </p:nvCxnSpPr>
        <p:spPr>
          <a:xfrm flipH="1">
            <a:off x="8284464" y="3865593"/>
            <a:ext cx="1202436" cy="0"/>
          </a:xfrm>
          <a:prstGeom prst="line">
            <a:avLst/>
          </a:prstGeom>
          <a:ln w="19050">
            <a:solidFill>
              <a:schemeClr val="accent1">
                <a:lumMod val="100000"/>
              </a:schemeClr>
            </a:solidFill>
          </a:ln>
        </p:spPr>
        <p:style>
          <a:lnRef idx="1">
            <a:schemeClr val="accent1"/>
          </a:lnRef>
          <a:fillRef idx="0">
            <a:schemeClr val="accent1"/>
          </a:fillRef>
          <a:effectRef idx="0">
            <a:schemeClr val="accent1"/>
          </a:effectRef>
          <a:fontRef idx="minor">
            <a:schemeClr val="tx1"/>
          </a:fontRef>
        </p:style>
      </p:cxnSp>
      <p:grpSp>
        <p:nvGrpSpPr>
          <p:cNvPr id="17" name="组合 16">
            <a:extLst>
              <a:ext uri="{FF2B5EF4-FFF2-40B4-BE49-F238E27FC236}">
                <a16:creationId xmlns:a16="http://schemas.microsoft.com/office/drawing/2014/main" id="{1297E2A4-961C-477C-9E4C-03E3F1F85667}"/>
              </a:ext>
            </a:extLst>
          </p:cNvPr>
          <p:cNvGrpSpPr/>
          <p:nvPr/>
        </p:nvGrpSpPr>
        <p:grpSpPr>
          <a:xfrm>
            <a:off x="4331702" y="4407693"/>
            <a:ext cx="1475214" cy="246221"/>
            <a:chOff x="4095451" y="4640913"/>
            <a:chExt cx="1475214" cy="246221"/>
          </a:xfrm>
        </p:grpSpPr>
        <p:sp>
          <p:nvSpPr>
            <p:cNvPr id="18" name="矩形 17">
              <a:extLst>
                <a:ext uri="{FF2B5EF4-FFF2-40B4-BE49-F238E27FC236}">
                  <a16:creationId xmlns:a16="http://schemas.microsoft.com/office/drawing/2014/main" id="{662C08BD-3899-4B09-B8B5-96B3E2D5EE59}"/>
                </a:ext>
              </a:extLst>
            </p:cNvPr>
            <p:cNvSpPr/>
            <p:nvPr/>
          </p:nvSpPr>
          <p:spPr>
            <a:xfrm>
              <a:off x="4095451" y="4672584"/>
              <a:ext cx="164592" cy="164592"/>
            </a:xfrm>
            <a:prstGeom prst="rect">
              <a:avLst/>
            </a:prstGeom>
            <a:solidFill>
              <a:schemeClr val="accent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p>
          </p:txBody>
        </p:sp>
        <p:sp>
          <p:nvSpPr>
            <p:cNvPr id="19" name="文本框 18">
              <a:extLst>
                <a:ext uri="{FF2B5EF4-FFF2-40B4-BE49-F238E27FC236}">
                  <a16:creationId xmlns:a16="http://schemas.microsoft.com/office/drawing/2014/main" id="{33DC93F1-E61B-4856-BEA8-47B3D2335D1B}"/>
                </a:ext>
              </a:extLst>
            </p:cNvPr>
            <p:cNvSpPr txBox="1"/>
            <p:nvPr/>
          </p:nvSpPr>
          <p:spPr>
            <a:xfrm>
              <a:off x="4408487" y="4640913"/>
              <a:ext cx="1162178" cy="246221"/>
            </a:xfrm>
            <a:prstGeom prst="rect">
              <a:avLst/>
            </a:prstGeom>
            <a:noFill/>
          </p:spPr>
          <p:txBody>
            <a:bodyPr wrap="none" lIns="0" tIns="0" rIns="0" bIns="0" rtlCol="0" anchor="t">
              <a:spAutoFit/>
            </a:bodyPr>
            <a:lstStyle/>
            <a:p>
              <a:r>
                <a:rPr lang="zh-CN" altLang="en-US" sz="1600" dirty="0">
                  <a:solidFill>
                    <a:schemeClr val="accent1">
                      <a:lumMod val="100000"/>
                    </a:schemeClr>
                  </a:solidFill>
                  <a:latin typeface="+mn-ea"/>
                </a:rPr>
                <a:t>汇报人：</a:t>
              </a:r>
              <a:r>
                <a:rPr lang="en-US" altLang="zh-CN" sz="1600" dirty="0">
                  <a:solidFill>
                    <a:schemeClr val="accent1">
                      <a:lumMod val="100000"/>
                    </a:schemeClr>
                  </a:solidFill>
                  <a:latin typeface="+mn-ea"/>
                </a:rPr>
                <a:t>xxx</a:t>
              </a:r>
              <a:endParaRPr lang="zh-CN" altLang="en-US" sz="1600" dirty="0">
                <a:solidFill>
                  <a:schemeClr val="accent1">
                    <a:lumMod val="100000"/>
                  </a:schemeClr>
                </a:solidFill>
                <a:latin typeface="+mn-ea"/>
              </a:endParaRPr>
            </a:p>
          </p:txBody>
        </p:sp>
      </p:grpSp>
      <p:grpSp>
        <p:nvGrpSpPr>
          <p:cNvPr id="20" name="组合 19">
            <a:extLst>
              <a:ext uri="{FF2B5EF4-FFF2-40B4-BE49-F238E27FC236}">
                <a16:creationId xmlns:a16="http://schemas.microsoft.com/office/drawing/2014/main" id="{4BC28121-F4E7-450D-8296-F2EACA57C755}"/>
              </a:ext>
            </a:extLst>
          </p:cNvPr>
          <p:cNvGrpSpPr/>
          <p:nvPr/>
        </p:nvGrpSpPr>
        <p:grpSpPr>
          <a:xfrm>
            <a:off x="6590270" y="4407693"/>
            <a:ext cx="1270029" cy="246221"/>
            <a:chOff x="4095451" y="4640913"/>
            <a:chExt cx="1270029" cy="246221"/>
          </a:xfrm>
        </p:grpSpPr>
        <p:sp>
          <p:nvSpPr>
            <p:cNvPr id="21" name="矩形 20">
              <a:extLst>
                <a:ext uri="{FF2B5EF4-FFF2-40B4-BE49-F238E27FC236}">
                  <a16:creationId xmlns:a16="http://schemas.microsoft.com/office/drawing/2014/main" id="{49B8D6DE-4F6F-4D1A-82DE-8C342180D6A9}"/>
                </a:ext>
              </a:extLst>
            </p:cNvPr>
            <p:cNvSpPr/>
            <p:nvPr/>
          </p:nvSpPr>
          <p:spPr>
            <a:xfrm>
              <a:off x="4095451" y="4672584"/>
              <a:ext cx="164592" cy="164592"/>
            </a:xfrm>
            <a:prstGeom prst="rect">
              <a:avLst/>
            </a:prstGeom>
            <a:solidFill>
              <a:schemeClr val="accent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p>
          </p:txBody>
        </p:sp>
        <p:sp>
          <p:nvSpPr>
            <p:cNvPr id="22" name="文本框 21">
              <a:extLst>
                <a:ext uri="{FF2B5EF4-FFF2-40B4-BE49-F238E27FC236}">
                  <a16:creationId xmlns:a16="http://schemas.microsoft.com/office/drawing/2014/main" id="{8A010920-7F96-4706-AD75-2D52B7D6E736}"/>
                </a:ext>
              </a:extLst>
            </p:cNvPr>
            <p:cNvSpPr txBox="1"/>
            <p:nvPr/>
          </p:nvSpPr>
          <p:spPr>
            <a:xfrm>
              <a:off x="4408487" y="4640913"/>
              <a:ext cx="956993" cy="246221"/>
            </a:xfrm>
            <a:prstGeom prst="rect">
              <a:avLst/>
            </a:prstGeom>
            <a:noFill/>
          </p:spPr>
          <p:txBody>
            <a:bodyPr wrap="none" lIns="0" tIns="0" rIns="0" bIns="0" rtlCol="0" anchor="t">
              <a:spAutoFit/>
            </a:bodyPr>
            <a:lstStyle/>
            <a:p>
              <a:r>
                <a:rPr lang="zh-CN" altLang="en-US" sz="1600" dirty="0">
                  <a:solidFill>
                    <a:schemeClr val="accent1">
                      <a:lumMod val="100000"/>
                    </a:schemeClr>
                  </a:solidFill>
                  <a:latin typeface="+mn-ea"/>
                </a:rPr>
                <a:t>单位：</a:t>
              </a:r>
              <a:r>
                <a:rPr lang="en-US" altLang="zh-CN" sz="1600" dirty="0">
                  <a:solidFill>
                    <a:schemeClr val="accent1">
                      <a:lumMod val="100000"/>
                    </a:schemeClr>
                  </a:solidFill>
                  <a:latin typeface="+mn-ea"/>
                </a:rPr>
                <a:t>xxx</a:t>
              </a:r>
              <a:endParaRPr lang="zh-CN" altLang="en-US" sz="1600" dirty="0">
                <a:solidFill>
                  <a:schemeClr val="accent1">
                    <a:lumMod val="100000"/>
                  </a:schemeClr>
                </a:solidFill>
                <a:latin typeface="+mn-ea"/>
              </a:endParaRPr>
            </a:p>
          </p:txBody>
        </p:sp>
      </p:grpSp>
    </p:spTree>
    <p:extLst>
      <p:ext uri="{BB962C8B-B14F-4D97-AF65-F5344CB8AC3E}">
        <p14:creationId xmlns:p14="http://schemas.microsoft.com/office/powerpoint/2010/main" val="2346623500"/>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3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组合 4">
            <a:extLst>
              <a:ext uri="{FF2B5EF4-FFF2-40B4-BE49-F238E27FC236}">
                <a16:creationId xmlns:a16="http://schemas.microsoft.com/office/drawing/2014/main" id="{2FCABAFD-AE68-4CC0-A090-29527CEC8012}"/>
              </a:ext>
            </a:extLst>
          </p:cNvPr>
          <p:cNvGrpSpPr/>
          <p:nvPr/>
        </p:nvGrpSpPr>
        <p:grpSpPr>
          <a:xfrm>
            <a:off x="782193" y="2697389"/>
            <a:ext cx="2727198" cy="2197689"/>
            <a:chOff x="1425702" y="2697389"/>
            <a:chExt cx="2727198" cy="2197689"/>
          </a:xfrm>
        </p:grpSpPr>
        <p:sp>
          <p:nvSpPr>
            <p:cNvPr id="2" name="矩形 1">
              <a:extLst>
                <a:ext uri="{FF2B5EF4-FFF2-40B4-BE49-F238E27FC236}">
                  <a16:creationId xmlns:a16="http://schemas.microsoft.com/office/drawing/2014/main" id="{E3136D6B-BD80-4795-8DCE-E3CFB90A76A7}"/>
                </a:ext>
              </a:extLst>
            </p:cNvPr>
            <p:cNvSpPr/>
            <p:nvPr/>
          </p:nvSpPr>
          <p:spPr>
            <a:xfrm>
              <a:off x="1425702" y="2697389"/>
              <a:ext cx="2727198" cy="731611"/>
            </a:xfrm>
            <a:prstGeom prst="rect">
              <a:avLst/>
            </a:prstGeom>
            <a:noFill/>
            <a:ln w="28575">
              <a:gradFill>
                <a:gsLst>
                  <a:gs pos="0">
                    <a:schemeClr val="accent1">
                      <a:alpha val="0"/>
                    </a:schemeClr>
                  </a:gs>
                  <a:gs pos="50000">
                    <a:schemeClr val="accent1"/>
                  </a:gs>
                  <a:gs pos="100000">
                    <a:schemeClr val="accent1">
                      <a:alpha val="0"/>
                    </a:schemeClr>
                  </a:gs>
                </a:gsLst>
                <a:lin ang="0" scaled="0"/>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400" dirty="0">
                  <a:solidFill>
                    <a:schemeClr val="accent1"/>
                  </a:solidFill>
                  <a:latin typeface="+mj-ea"/>
                  <a:ea typeface="+mj-ea"/>
                </a:rPr>
                <a:t>关键词标题</a:t>
              </a:r>
            </a:p>
          </p:txBody>
        </p:sp>
        <p:sp>
          <p:nvSpPr>
            <p:cNvPr id="3" name="圆角矩形 73">
              <a:extLst>
                <a:ext uri="{FF2B5EF4-FFF2-40B4-BE49-F238E27FC236}">
                  <a16:creationId xmlns:a16="http://schemas.microsoft.com/office/drawing/2014/main" id="{36B0CEF1-C8BA-467B-BD08-642C63F47BA6}"/>
                </a:ext>
              </a:extLst>
            </p:cNvPr>
            <p:cNvSpPr/>
            <p:nvPr/>
          </p:nvSpPr>
          <p:spPr>
            <a:xfrm rot="16200000">
              <a:off x="2073724" y="3309816"/>
              <a:ext cx="1431153" cy="1739371"/>
            </a:xfrm>
            <a:prstGeom prst="roundRect">
              <a:avLst>
                <a:gd name="adj" fmla="val 5109"/>
              </a:avLst>
            </a:prstGeom>
            <a:gradFill>
              <a:gsLst>
                <a:gs pos="100000">
                  <a:schemeClr val="accent1">
                    <a:alpha val="31000"/>
                  </a:schemeClr>
                </a:gs>
                <a:gs pos="5000">
                  <a:schemeClr val="accent1">
                    <a:alpha val="0"/>
                  </a:schemeClr>
                </a:gs>
              </a:gsLst>
              <a:lin ang="10800000" scaled="0"/>
            </a:gradFill>
            <a:ln w="12700" cap="rnd">
              <a:noFill/>
            </a:ln>
            <a:effectLst/>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lang="zh-CN" altLang="en-US" sz="2400" dirty="0">
                <a:solidFill>
                  <a:srgbClr val="000000"/>
                </a:solidFill>
              </a:endParaRPr>
            </a:p>
          </p:txBody>
        </p:sp>
        <p:sp>
          <p:nvSpPr>
            <p:cNvPr id="4" name="文本框 3">
              <a:extLst>
                <a:ext uri="{FF2B5EF4-FFF2-40B4-BE49-F238E27FC236}">
                  <a16:creationId xmlns:a16="http://schemas.microsoft.com/office/drawing/2014/main" id="{16F3662E-2F77-4575-95E4-EA0918AE747B}"/>
                </a:ext>
              </a:extLst>
            </p:cNvPr>
            <p:cNvSpPr txBox="1"/>
            <p:nvPr/>
          </p:nvSpPr>
          <p:spPr>
            <a:xfrm>
              <a:off x="1956687" y="3695490"/>
              <a:ext cx="1665228" cy="968022"/>
            </a:xfrm>
            <a:prstGeom prst="rect">
              <a:avLst/>
            </a:prstGeom>
            <a:noFill/>
          </p:spPr>
          <p:txBody>
            <a:bodyPr wrap="square" rtlCol="0">
              <a:spAutoFit/>
            </a:bodyPr>
            <a:lstStyle/>
            <a:p>
              <a:pPr algn="ctr">
                <a:lnSpc>
                  <a:spcPct val="120000"/>
                </a:lnSpc>
              </a:pPr>
              <a:r>
                <a:rPr lang="en-US" altLang="zh-CN" sz="1200" kern="0" dirty="0">
                  <a:ln w="6350">
                    <a:noFill/>
                  </a:ln>
                  <a:solidFill>
                    <a:schemeClr val="tx1">
                      <a:lumMod val="75000"/>
                      <a:lumOff val="25000"/>
                    </a:schemeClr>
                  </a:solidFill>
                </a:rPr>
                <a:t>Lorem ipsum dolor onsectetur adipisicing elit sed do eiusmod</a:t>
              </a:r>
            </a:p>
          </p:txBody>
        </p:sp>
      </p:grpSp>
      <p:grpSp>
        <p:nvGrpSpPr>
          <p:cNvPr id="6" name="组合 5">
            <a:extLst>
              <a:ext uri="{FF2B5EF4-FFF2-40B4-BE49-F238E27FC236}">
                <a16:creationId xmlns:a16="http://schemas.microsoft.com/office/drawing/2014/main" id="{049D105C-1402-4AC6-8B39-0084F00733B9}"/>
              </a:ext>
            </a:extLst>
          </p:cNvPr>
          <p:cNvGrpSpPr/>
          <p:nvPr/>
        </p:nvGrpSpPr>
        <p:grpSpPr>
          <a:xfrm>
            <a:off x="4732401" y="2697389"/>
            <a:ext cx="2727198" cy="2197689"/>
            <a:chOff x="1425702" y="2697389"/>
            <a:chExt cx="2727198" cy="2197689"/>
          </a:xfrm>
        </p:grpSpPr>
        <p:sp>
          <p:nvSpPr>
            <p:cNvPr id="7" name="矩形 6">
              <a:extLst>
                <a:ext uri="{FF2B5EF4-FFF2-40B4-BE49-F238E27FC236}">
                  <a16:creationId xmlns:a16="http://schemas.microsoft.com/office/drawing/2014/main" id="{2BDC471D-3F72-41B1-8665-35A545E24B34}"/>
                </a:ext>
              </a:extLst>
            </p:cNvPr>
            <p:cNvSpPr/>
            <p:nvPr/>
          </p:nvSpPr>
          <p:spPr>
            <a:xfrm>
              <a:off x="1425702" y="2697389"/>
              <a:ext cx="2727198" cy="731611"/>
            </a:xfrm>
            <a:prstGeom prst="rect">
              <a:avLst/>
            </a:prstGeom>
            <a:noFill/>
            <a:ln w="28575">
              <a:gradFill>
                <a:gsLst>
                  <a:gs pos="0">
                    <a:schemeClr val="accent1">
                      <a:alpha val="0"/>
                    </a:schemeClr>
                  </a:gs>
                  <a:gs pos="50000">
                    <a:schemeClr val="accent1"/>
                  </a:gs>
                  <a:gs pos="100000">
                    <a:schemeClr val="accent1">
                      <a:alpha val="0"/>
                    </a:schemeClr>
                  </a:gs>
                </a:gsLst>
                <a:lin ang="0" scaled="0"/>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400" dirty="0">
                  <a:solidFill>
                    <a:schemeClr val="accent1"/>
                  </a:solidFill>
                  <a:latin typeface="+mj-ea"/>
                  <a:ea typeface="+mj-ea"/>
                </a:rPr>
                <a:t>关键词标题</a:t>
              </a:r>
            </a:p>
          </p:txBody>
        </p:sp>
        <p:sp>
          <p:nvSpPr>
            <p:cNvPr id="8" name="圆角矩形 73">
              <a:extLst>
                <a:ext uri="{FF2B5EF4-FFF2-40B4-BE49-F238E27FC236}">
                  <a16:creationId xmlns:a16="http://schemas.microsoft.com/office/drawing/2014/main" id="{E9589E33-7FE8-4F66-8CC2-0FE21AC9C93A}"/>
                </a:ext>
              </a:extLst>
            </p:cNvPr>
            <p:cNvSpPr/>
            <p:nvPr/>
          </p:nvSpPr>
          <p:spPr>
            <a:xfrm rot="16200000">
              <a:off x="2073724" y="3309816"/>
              <a:ext cx="1431153" cy="1739371"/>
            </a:xfrm>
            <a:prstGeom prst="roundRect">
              <a:avLst>
                <a:gd name="adj" fmla="val 5109"/>
              </a:avLst>
            </a:prstGeom>
            <a:gradFill>
              <a:gsLst>
                <a:gs pos="100000">
                  <a:schemeClr val="accent1">
                    <a:alpha val="31000"/>
                  </a:schemeClr>
                </a:gs>
                <a:gs pos="5000">
                  <a:schemeClr val="accent1">
                    <a:alpha val="0"/>
                  </a:schemeClr>
                </a:gs>
              </a:gsLst>
              <a:lin ang="10800000" scaled="0"/>
            </a:gradFill>
            <a:ln w="12700" cap="rnd">
              <a:noFill/>
            </a:ln>
            <a:effectLst/>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lang="zh-CN" altLang="en-US" sz="2400" dirty="0">
                <a:solidFill>
                  <a:srgbClr val="000000"/>
                </a:solidFill>
              </a:endParaRPr>
            </a:p>
          </p:txBody>
        </p:sp>
        <p:sp>
          <p:nvSpPr>
            <p:cNvPr id="9" name="文本框 8">
              <a:extLst>
                <a:ext uri="{FF2B5EF4-FFF2-40B4-BE49-F238E27FC236}">
                  <a16:creationId xmlns:a16="http://schemas.microsoft.com/office/drawing/2014/main" id="{1F237A52-DC81-4846-840C-C7B6D979A429}"/>
                </a:ext>
              </a:extLst>
            </p:cNvPr>
            <p:cNvSpPr txBox="1"/>
            <p:nvPr/>
          </p:nvSpPr>
          <p:spPr>
            <a:xfrm>
              <a:off x="1956687" y="3695490"/>
              <a:ext cx="1665228" cy="968022"/>
            </a:xfrm>
            <a:prstGeom prst="rect">
              <a:avLst/>
            </a:prstGeom>
            <a:noFill/>
          </p:spPr>
          <p:txBody>
            <a:bodyPr wrap="square" rtlCol="0">
              <a:spAutoFit/>
            </a:bodyPr>
            <a:lstStyle/>
            <a:p>
              <a:pPr algn="ctr">
                <a:lnSpc>
                  <a:spcPct val="120000"/>
                </a:lnSpc>
              </a:pPr>
              <a:r>
                <a:rPr lang="en-US" altLang="zh-CN" sz="1200" kern="0" dirty="0">
                  <a:ln w="6350">
                    <a:noFill/>
                  </a:ln>
                  <a:solidFill>
                    <a:schemeClr val="tx1">
                      <a:lumMod val="75000"/>
                      <a:lumOff val="25000"/>
                    </a:schemeClr>
                  </a:solidFill>
                </a:rPr>
                <a:t>Lorem ipsum dolor onsectetur adipisicing elit sed do eiusmod</a:t>
              </a:r>
            </a:p>
          </p:txBody>
        </p:sp>
      </p:grpSp>
      <p:grpSp>
        <p:nvGrpSpPr>
          <p:cNvPr id="10" name="组合 9">
            <a:extLst>
              <a:ext uri="{FF2B5EF4-FFF2-40B4-BE49-F238E27FC236}">
                <a16:creationId xmlns:a16="http://schemas.microsoft.com/office/drawing/2014/main" id="{F1FFA6B5-C416-46B8-94FB-4F9498045883}"/>
              </a:ext>
            </a:extLst>
          </p:cNvPr>
          <p:cNvGrpSpPr/>
          <p:nvPr/>
        </p:nvGrpSpPr>
        <p:grpSpPr>
          <a:xfrm>
            <a:off x="8682609" y="2697389"/>
            <a:ext cx="2727198" cy="2197689"/>
            <a:chOff x="1425702" y="2697389"/>
            <a:chExt cx="2727198" cy="2197689"/>
          </a:xfrm>
        </p:grpSpPr>
        <p:sp>
          <p:nvSpPr>
            <p:cNvPr id="11" name="矩形 10">
              <a:extLst>
                <a:ext uri="{FF2B5EF4-FFF2-40B4-BE49-F238E27FC236}">
                  <a16:creationId xmlns:a16="http://schemas.microsoft.com/office/drawing/2014/main" id="{35B78351-1319-4124-AFA6-DE46888B53C6}"/>
                </a:ext>
              </a:extLst>
            </p:cNvPr>
            <p:cNvSpPr/>
            <p:nvPr/>
          </p:nvSpPr>
          <p:spPr>
            <a:xfrm>
              <a:off x="1425702" y="2697389"/>
              <a:ext cx="2727198" cy="731611"/>
            </a:xfrm>
            <a:prstGeom prst="rect">
              <a:avLst/>
            </a:prstGeom>
            <a:noFill/>
            <a:ln w="28575">
              <a:gradFill>
                <a:gsLst>
                  <a:gs pos="0">
                    <a:schemeClr val="accent1">
                      <a:alpha val="0"/>
                    </a:schemeClr>
                  </a:gs>
                  <a:gs pos="50000">
                    <a:schemeClr val="accent1"/>
                  </a:gs>
                  <a:gs pos="100000">
                    <a:schemeClr val="accent1">
                      <a:alpha val="0"/>
                    </a:schemeClr>
                  </a:gs>
                </a:gsLst>
                <a:lin ang="0" scaled="0"/>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400" dirty="0">
                  <a:solidFill>
                    <a:schemeClr val="accent1"/>
                  </a:solidFill>
                  <a:latin typeface="+mj-ea"/>
                  <a:ea typeface="+mj-ea"/>
                </a:rPr>
                <a:t>关键词标题</a:t>
              </a:r>
            </a:p>
          </p:txBody>
        </p:sp>
        <p:sp>
          <p:nvSpPr>
            <p:cNvPr id="12" name="圆角矩形 73">
              <a:extLst>
                <a:ext uri="{FF2B5EF4-FFF2-40B4-BE49-F238E27FC236}">
                  <a16:creationId xmlns:a16="http://schemas.microsoft.com/office/drawing/2014/main" id="{8FDA1F93-7540-4FE2-AB72-BAEC155C7C03}"/>
                </a:ext>
              </a:extLst>
            </p:cNvPr>
            <p:cNvSpPr/>
            <p:nvPr/>
          </p:nvSpPr>
          <p:spPr>
            <a:xfrm rot="16200000">
              <a:off x="2073724" y="3309816"/>
              <a:ext cx="1431153" cy="1739371"/>
            </a:xfrm>
            <a:prstGeom prst="roundRect">
              <a:avLst>
                <a:gd name="adj" fmla="val 5109"/>
              </a:avLst>
            </a:prstGeom>
            <a:gradFill>
              <a:gsLst>
                <a:gs pos="100000">
                  <a:schemeClr val="accent1">
                    <a:alpha val="31000"/>
                  </a:schemeClr>
                </a:gs>
                <a:gs pos="5000">
                  <a:schemeClr val="accent1">
                    <a:alpha val="0"/>
                  </a:schemeClr>
                </a:gs>
              </a:gsLst>
              <a:lin ang="10800000" scaled="0"/>
            </a:gradFill>
            <a:ln w="12700" cap="rnd">
              <a:noFill/>
            </a:ln>
            <a:effectLst/>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lang="zh-CN" altLang="en-US" sz="2400" dirty="0">
                <a:solidFill>
                  <a:srgbClr val="000000"/>
                </a:solidFill>
              </a:endParaRPr>
            </a:p>
          </p:txBody>
        </p:sp>
        <p:sp>
          <p:nvSpPr>
            <p:cNvPr id="13" name="文本框 12">
              <a:extLst>
                <a:ext uri="{FF2B5EF4-FFF2-40B4-BE49-F238E27FC236}">
                  <a16:creationId xmlns:a16="http://schemas.microsoft.com/office/drawing/2014/main" id="{DB0D9D9E-1018-4A54-90DC-B8B3A4C21669}"/>
                </a:ext>
              </a:extLst>
            </p:cNvPr>
            <p:cNvSpPr txBox="1"/>
            <p:nvPr/>
          </p:nvSpPr>
          <p:spPr>
            <a:xfrm>
              <a:off x="1956687" y="3695490"/>
              <a:ext cx="1665228" cy="968022"/>
            </a:xfrm>
            <a:prstGeom prst="rect">
              <a:avLst/>
            </a:prstGeom>
            <a:noFill/>
          </p:spPr>
          <p:txBody>
            <a:bodyPr wrap="square" rtlCol="0">
              <a:spAutoFit/>
            </a:bodyPr>
            <a:lstStyle/>
            <a:p>
              <a:pPr algn="ctr">
                <a:lnSpc>
                  <a:spcPct val="120000"/>
                </a:lnSpc>
              </a:pPr>
              <a:r>
                <a:rPr lang="en-US" altLang="zh-CN" sz="1200" kern="0" dirty="0">
                  <a:ln w="6350">
                    <a:noFill/>
                  </a:ln>
                  <a:solidFill>
                    <a:schemeClr val="tx1">
                      <a:lumMod val="75000"/>
                      <a:lumOff val="25000"/>
                    </a:schemeClr>
                  </a:solidFill>
                </a:rPr>
                <a:t>Lorem ipsum dolor onsectetur adipisicing elit sed do eiusmod</a:t>
              </a:r>
            </a:p>
          </p:txBody>
        </p:sp>
      </p:grpSp>
      <p:sp>
        <p:nvSpPr>
          <p:cNvPr id="15" name="等腰三角形 14">
            <a:extLst>
              <a:ext uri="{FF2B5EF4-FFF2-40B4-BE49-F238E27FC236}">
                <a16:creationId xmlns:a16="http://schemas.microsoft.com/office/drawing/2014/main" id="{440AC685-1BAD-47C4-8574-B3408B23F8F9}"/>
              </a:ext>
            </a:extLst>
          </p:cNvPr>
          <p:cNvSpPr/>
          <p:nvPr/>
        </p:nvSpPr>
        <p:spPr>
          <a:xfrm rot="5400000">
            <a:off x="3430822" y="3306244"/>
            <a:ext cx="1717404" cy="599163"/>
          </a:xfrm>
          <a:prstGeom prst="triangle">
            <a:avLst/>
          </a:prstGeom>
          <a:gradFill>
            <a:gsLst>
              <a:gs pos="100000">
                <a:schemeClr val="accent1">
                  <a:alpha val="0"/>
                </a:schemeClr>
              </a:gs>
              <a:gs pos="0">
                <a:schemeClr val="accent1">
                  <a:alpha val="43000"/>
                </a:schemeClr>
              </a:gs>
            </a:gsLst>
            <a:lin ang="5400000" scaled="1"/>
          </a:gradFill>
          <a:ln w="12700" cap="flat" cmpd="sng" algn="ctr">
            <a:noFill/>
            <a:prstDash val="solid"/>
            <a:miter lim="800000"/>
          </a:ln>
          <a:effectLst/>
        </p:spPr>
        <p:txBody>
          <a:bodyPr wrap="none" rtlCol="0" anchor="ctr"/>
          <a:lstStyle/>
          <a:p>
            <a:pPr algn="ctr"/>
            <a:endParaRPr lang="zh-CN" altLang="en-US" b="1" kern="0">
              <a:solidFill>
                <a:prstClr val="white"/>
              </a:solidFill>
            </a:endParaRPr>
          </a:p>
        </p:txBody>
      </p:sp>
      <p:sp>
        <p:nvSpPr>
          <p:cNvPr id="16" name="等腰三角形 15">
            <a:extLst>
              <a:ext uri="{FF2B5EF4-FFF2-40B4-BE49-F238E27FC236}">
                <a16:creationId xmlns:a16="http://schemas.microsoft.com/office/drawing/2014/main" id="{21F83E0F-63FE-44F9-8290-7B5E347AF641}"/>
              </a:ext>
            </a:extLst>
          </p:cNvPr>
          <p:cNvSpPr/>
          <p:nvPr/>
        </p:nvSpPr>
        <p:spPr>
          <a:xfrm rot="5400000">
            <a:off x="3254607" y="3306244"/>
            <a:ext cx="1717404" cy="599163"/>
          </a:xfrm>
          <a:prstGeom prst="triangle">
            <a:avLst/>
          </a:prstGeom>
          <a:gradFill>
            <a:gsLst>
              <a:gs pos="100000">
                <a:schemeClr val="accent1">
                  <a:alpha val="0"/>
                </a:schemeClr>
              </a:gs>
              <a:gs pos="0">
                <a:schemeClr val="accent1">
                  <a:alpha val="43000"/>
                </a:schemeClr>
              </a:gs>
            </a:gsLst>
            <a:lin ang="5400000" scaled="1"/>
          </a:gradFill>
          <a:ln w="12700" cap="flat" cmpd="sng" algn="ctr">
            <a:noFill/>
            <a:prstDash val="solid"/>
            <a:miter lim="800000"/>
          </a:ln>
          <a:effectLst/>
        </p:spPr>
        <p:txBody>
          <a:bodyPr wrap="none" rtlCol="0" anchor="ctr"/>
          <a:lstStyle/>
          <a:p>
            <a:pPr algn="ctr"/>
            <a:endParaRPr lang="zh-CN" altLang="en-US" b="1" kern="0">
              <a:solidFill>
                <a:prstClr val="white"/>
              </a:solidFill>
            </a:endParaRPr>
          </a:p>
        </p:txBody>
      </p:sp>
      <p:sp>
        <p:nvSpPr>
          <p:cNvPr id="19" name="等腰三角形 18">
            <a:extLst>
              <a:ext uri="{FF2B5EF4-FFF2-40B4-BE49-F238E27FC236}">
                <a16:creationId xmlns:a16="http://schemas.microsoft.com/office/drawing/2014/main" id="{F52D1926-F881-4524-A2EC-8569121C53CA}"/>
              </a:ext>
            </a:extLst>
          </p:cNvPr>
          <p:cNvSpPr/>
          <p:nvPr/>
        </p:nvSpPr>
        <p:spPr>
          <a:xfrm rot="5400000">
            <a:off x="7463326" y="3306244"/>
            <a:ext cx="1717404" cy="599163"/>
          </a:xfrm>
          <a:prstGeom prst="triangle">
            <a:avLst/>
          </a:prstGeom>
          <a:gradFill>
            <a:gsLst>
              <a:gs pos="100000">
                <a:schemeClr val="accent1">
                  <a:alpha val="0"/>
                </a:schemeClr>
              </a:gs>
              <a:gs pos="0">
                <a:schemeClr val="accent1">
                  <a:alpha val="43000"/>
                </a:schemeClr>
              </a:gs>
            </a:gsLst>
            <a:lin ang="5400000" scaled="1"/>
          </a:gradFill>
          <a:ln w="12700" cap="flat" cmpd="sng" algn="ctr">
            <a:noFill/>
            <a:prstDash val="solid"/>
            <a:miter lim="800000"/>
          </a:ln>
          <a:effectLst/>
        </p:spPr>
        <p:txBody>
          <a:bodyPr wrap="none" rtlCol="0" anchor="ctr"/>
          <a:lstStyle/>
          <a:p>
            <a:pPr algn="ctr"/>
            <a:endParaRPr lang="zh-CN" altLang="en-US" b="1" kern="0">
              <a:solidFill>
                <a:prstClr val="white"/>
              </a:solidFill>
            </a:endParaRPr>
          </a:p>
        </p:txBody>
      </p:sp>
      <p:sp>
        <p:nvSpPr>
          <p:cNvPr id="20" name="等腰三角形 19">
            <a:extLst>
              <a:ext uri="{FF2B5EF4-FFF2-40B4-BE49-F238E27FC236}">
                <a16:creationId xmlns:a16="http://schemas.microsoft.com/office/drawing/2014/main" id="{F287349F-E96E-4D27-9BFD-41E6013BF88D}"/>
              </a:ext>
            </a:extLst>
          </p:cNvPr>
          <p:cNvSpPr/>
          <p:nvPr/>
        </p:nvSpPr>
        <p:spPr>
          <a:xfrm rot="5400000">
            <a:off x="7287111" y="3306244"/>
            <a:ext cx="1717404" cy="599163"/>
          </a:xfrm>
          <a:prstGeom prst="triangle">
            <a:avLst/>
          </a:prstGeom>
          <a:gradFill>
            <a:gsLst>
              <a:gs pos="100000">
                <a:schemeClr val="accent1">
                  <a:alpha val="0"/>
                </a:schemeClr>
              </a:gs>
              <a:gs pos="0">
                <a:schemeClr val="accent1">
                  <a:alpha val="43000"/>
                </a:schemeClr>
              </a:gs>
            </a:gsLst>
            <a:lin ang="5400000" scaled="1"/>
          </a:gradFill>
          <a:ln w="12700" cap="flat" cmpd="sng" algn="ctr">
            <a:noFill/>
            <a:prstDash val="solid"/>
            <a:miter lim="800000"/>
          </a:ln>
          <a:effectLst/>
        </p:spPr>
        <p:txBody>
          <a:bodyPr wrap="none" rtlCol="0" anchor="ctr"/>
          <a:lstStyle/>
          <a:p>
            <a:pPr algn="ctr"/>
            <a:endParaRPr lang="zh-CN" altLang="en-US" b="1" kern="0">
              <a:solidFill>
                <a:prstClr val="white"/>
              </a:solidFill>
            </a:endParaRPr>
          </a:p>
        </p:txBody>
      </p:sp>
    </p:spTree>
    <p:extLst>
      <p:ext uri="{BB962C8B-B14F-4D97-AF65-F5344CB8AC3E}">
        <p14:creationId xmlns:p14="http://schemas.microsoft.com/office/powerpoint/2010/main" val="1538823783"/>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3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任意多边形: 形状 9">
            <a:extLst>
              <a:ext uri="{FF2B5EF4-FFF2-40B4-BE49-F238E27FC236}">
                <a16:creationId xmlns:a16="http://schemas.microsoft.com/office/drawing/2014/main" id="{5B51468C-6A23-4EF4-989C-B5CE32B6B373}"/>
              </a:ext>
            </a:extLst>
          </p:cNvPr>
          <p:cNvSpPr/>
          <p:nvPr/>
        </p:nvSpPr>
        <p:spPr>
          <a:xfrm>
            <a:off x="2378529" y="1628569"/>
            <a:ext cx="3221332" cy="539240"/>
          </a:xfrm>
          <a:custGeom>
            <a:avLst/>
            <a:gdLst>
              <a:gd name="connsiteX0" fmla="*/ 36059 w 3221332"/>
              <a:gd name="connsiteY0" fmla="*/ 176419 h 539240"/>
              <a:gd name="connsiteX1" fmla="*/ 650421 w 3221332"/>
              <a:gd name="connsiteY1" fmla="*/ 206 h 539240"/>
              <a:gd name="connsiteX2" fmla="*/ 1288596 w 3221332"/>
              <a:gd name="connsiteY2" fmla="*/ 138319 h 539240"/>
              <a:gd name="connsiteX3" fmla="*/ 1936296 w 3221332"/>
              <a:gd name="connsiteY3" fmla="*/ 14494 h 539240"/>
              <a:gd name="connsiteX4" fmla="*/ 2512559 w 3221332"/>
              <a:gd name="connsiteY4" fmla="*/ 166894 h 539240"/>
              <a:gd name="connsiteX5" fmla="*/ 3117396 w 3221332"/>
              <a:gd name="connsiteY5" fmla="*/ 90694 h 539240"/>
              <a:gd name="connsiteX6" fmla="*/ 3074534 w 3221332"/>
              <a:gd name="connsiteY6" fmla="*/ 333581 h 539240"/>
              <a:gd name="connsiteX7" fmla="*/ 1688646 w 3221332"/>
              <a:gd name="connsiteY7" fmla="*/ 538369 h 539240"/>
              <a:gd name="connsiteX8" fmla="*/ 464684 w 3221332"/>
              <a:gd name="connsiteY8" fmla="*/ 405019 h 539240"/>
              <a:gd name="connsiteX9" fmla="*/ 112259 w 3221332"/>
              <a:gd name="connsiteY9" fmla="*/ 347869 h 539240"/>
              <a:gd name="connsiteX10" fmla="*/ 36059 w 3221332"/>
              <a:gd name="connsiteY10" fmla="*/ 176419 h 539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221332" h="539240">
                <a:moveTo>
                  <a:pt x="36059" y="176419"/>
                </a:moveTo>
                <a:cubicBezTo>
                  <a:pt x="125753" y="118475"/>
                  <a:pt x="441665" y="6556"/>
                  <a:pt x="650421" y="206"/>
                </a:cubicBezTo>
                <a:cubicBezTo>
                  <a:pt x="859177" y="-6144"/>
                  <a:pt x="1074284" y="135938"/>
                  <a:pt x="1288596" y="138319"/>
                </a:cubicBezTo>
                <a:cubicBezTo>
                  <a:pt x="1502908" y="140700"/>
                  <a:pt x="1732302" y="9732"/>
                  <a:pt x="1936296" y="14494"/>
                </a:cubicBezTo>
                <a:cubicBezTo>
                  <a:pt x="2140290" y="19256"/>
                  <a:pt x="2315709" y="154194"/>
                  <a:pt x="2512559" y="166894"/>
                </a:cubicBezTo>
                <a:cubicBezTo>
                  <a:pt x="2709409" y="179594"/>
                  <a:pt x="3023734" y="62913"/>
                  <a:pt x="3117396" y="90694"/>
                </a:cubicBezTo>
                <a:cubicBezTo>
                  <a:pt x="3211059" y="118475"/>
                  <a:pt x="3312659" y="258968"/>
                  <a:pt x="3074534" y="333581"/>
                </a:cubicBezTo>
                <a:cubicBezTo>
                  <a:pt x="2836409" y="408194"/>
                  <a:pt x="2123621" y="526463"/>
                  <a:pt x="1688646" y="538369"/>
                </a:cubicBezTo>
                <a:cubicBezTo>
                  <a:pt x="1253671" y="550275"/>
                  <a:pt x="727415" y="436769"/>
                  <a:pt x="464684" y="405019"/>
                </a:cubicBezTo>
                <a:cubicBezTo>
                  <a:pt x="201953" y="373269"/>
                  <a:pt x="180521" y="380413"/>
                  <a:pt x="112259" y="347869"/>
                </a:cubicBezTo>
                <a:cubicBezTo>
                  <a:pt x="43997" y="315325"/>
                  <a:pt x="-53635" y="234363"/>
                  <a:pt x="36059" y="176419"/>
                </a:cubicBezTo>
                <a:close/>
              </a:path>
            </a:pathLst>
          </a:custGeom>
          <a:solidFill>
            <a:schemeClr val="accent1">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42" name="梯形 41">
            <a:extLst>
              <a:ext uri="{FF2B5EF4-FFF2-40B4-BE49-F238E27FC236}">
                <a16:creationId xmlns:a16="http://schemas.microsoft.com/office/drawing/2014/main" id="{EE87DF29-9C68-423E-A791-67191481CDFC}"/>
              </a:ext>
            </a:extLst>
          </p:cNvPr>
          <p:cNvSpPr/>
          <p:nvPr/>
        </p:nvSpPr>
        <p:spPr>
          <a:xfrm rot="10800000">
            <a:off x="2422398" y="1847850"/>
            <a:ext cx="3121152" cy="729486"/>
          </a:xfrm>
          <a:prstGeom prst="trapezoid">
            <a:avLst>
              <a:gd name="adj" fmla="val 28883"/>
            </a:avLst>
          </a:prstGeom>
          <a:solidFill>
            <a:schemeClr val="accent1">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41" name="梯形 40">
            <a:extLst>
              <a:ext uri="{FF2B5EF4-FFF2-40B4-BE49-F238E27FC236}">
                <a16:creationId xmlns:a16="http://schemas.microsoft.com/office/drawing/2014/main" id="{6612215D-88AA-44A4-BD55-D24DB9E9439A}"/>
              </a:ext>
            </a:extLst>
          </p:cNvPr>
          <p:cNvSpPr/>
          <p:nvPr/>
        </p:nvSpPr>
        <p:spPr>
          <a:xfrm rot="10800000">
            <a:off x="2765298" y="2578100"/>
            <a:ext cx="2435352" cy="945386"/>
          </a:xfrm>
          <a:prstGeom prst="trapezoid">
            <a:avLst>
              <a:gd name="adj" fmla="val 28883"/>
            </a:avLst>
          </a:prstGeom>
          <a:solidFill>
            <a:schemeClr val="accent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40" name="梯形 39">
            <a:extLst>
              <a:ext uri="{FF2B5EF4-FFF2-40B4-BE49-F238E27FC236}">
                <a16:creationId xmlns:a16="http://schemas.microsoft.com/office/drawing/2014/main" id="{3CF12B5C-D86B-488A-8C06-75CE514BFE8A}"/>
              </a:ext>
            </a:extLst>
          </p:cNvPr>
          <p:cNvSpPr/>
          <p:nvPr/>
        </p:nvSpPr>
        <p:spPr>
          <a:xfrm rot="10800000">
            <a:off x="3025648" y="3511550"/>
            <a:ext cx="1914652" cy="945386"/>
          </a:xfrm>
          <a:prstGeom prst="trapezoid">
            <a:avLst>
              <a:gd name="adj" fmla="val 28883"/>
            </a:avLst>
          </a:prstGeom>
          <a:solidFill>
            <a:schemeClr val="accent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8" name="梯形 7">
            <a:extLst>
              <a:ext uri="{FF2B5EF4-FFF2-40B4-BE49-F238E27FC236}">
                <a16:creationId xmlns:a16="http://schemas.microsoft.com/office/drawing/2014/main" id="{928314A9-22B9-4245-B7D1-77BD00BA9BCA}"/>
              </a:ext>
            </a:extLst>
          </p:cNvPr>
          <p:cNvSpPr/>
          <p:nvPr/>
        </p:nvSpPr>
        <p:spPr>
          <a:xfrm rot="10800000">
            <a:off x="3363849" y="4456936"/>
            <a:ext cx="1238250" cy="990600"/>
          </a:xfrm>
          <a:prstGeom prst="trapezoid">
            <a:avLst>
              <a:gd name="adj" fmla="val 35722"/>
            </a:avLst>
          </a:prstGeom>
          <a:solidFill>
            <a:schemeClr val="accent1">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35" name="平行四边形 34">
            <a:extLst>
              <a:ext uri="{FF2B5EF4-FFF2-40B4-BE49-F238E27FC236}">
                <a16:creationId xmlns:a16="http://schemas.microsoft.com/office/drawing/2014/main" id="{9CC3264E-AE50-40D0-B048-2A362279C793}"/>
              </a:ext>
            </a:extLst>
          </p:cNvPr>
          <p:cNvSpPr/>
          <p:nvPr/>
        </p:nvSpPr>
        <p:spPr>
          <a:xfrm flipH="1">
            <a:off x="2269998" y="1631950"/>
            <a:ext cx="1463040" cy="3815588"/>
          </a:xfrm>
          <a:prstGeom prst="parallelogram">
            <a:avLst>
              <a:gd name="adj" fmla="val 87325"/>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37" name="平行四边形 36">
            <a:extLst>
              <a:ext uri="{FF2B5EF4-FFF2-40B4-BE49-F238E27FC236}">
                <a16:creationId xmlns:a16="http://schemas.microsoft.com/office/drawing/2014/main" id="{39A8882C-C1D5-449D-948B-3C59C06FDD28}"/>
              </a:ext>
            </a:extLst>
          </p:cNvPr>
          <p:cNvSpPr/>
          <p:nvPr/>
        </p:nvSpPr>
        <p:spPr>
          <a:xfrm>
            <a:off x="4232910" y="1631950"/>
            <a:ext cx="1463040" cy="3815588"/>
          </a:xfrm>
          <a:prstGeom prst="parallelogram">
            <a:avLst>
              <a:gd name="adj" fmla="val 87325"/>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5" name="梯形 4">
            <a:extLst>
              <a:ext uri="{FF2B5EF4-FFF2-40B4-BE49-F238E27FC236}">
                <a16:creationId xmlns:a16="http://schemas.microsoft.com/office/drawing/2014/main" id="{A1AAFBBC-F3F5-44F3-856C-8578F3AF5A3B}"/>
              </a:ext>
            </a:extLst>
          </p:cNvPr>
          <p:cNvSpPr/>
          <p:nvPr/>
        </p:nvSpPr>
        <p:spPr>
          <a:xfrm rot="10800000">
            <a:off x="3517249" y="5274468"/>
            <a:ext cx="931450" cy="173069"/>
          </a:xfrm>
          <a:prstGeom prst="trapezoid">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12" name="文本框 11">
            <a:extLst>
              <a:ext uri="{FF2B5EF4-FFF2-40B4-BE49-F238E27FC236}">
                <a16:creationId xmlns:a16="http://schemas.microsoft.com/office/drawing/2014/main" id="{8DAB50BD-6CE2-4004-938E-9F04F5FA785A}"/>
              </a:ext>
            </a:extLst>
          </p:cNvPr>
          <p:cNvSpPr txBox="1"/>
          <p:nvPr/>
        </p:nvSpPr>
        <p:spPr>
          <a:xfrm>
            <a:off x="3675196" y="4727202"/>
            <a:ext cx="615553" cy="246221"/>
          </a:xfrm>
          <a:prstGeom prst="rect">
            <a:avLst/>
          </a:prstGeom>
          <a:noFill/>
        </p:spPr>
        <p:txBody>
          <a:bodyPr wrap="none" lIns="0" tIns="0" rIns="0" bIns="0" rtlCol="0" anchor="t">
            <a:spAutoFit/>
          </a:bodyPr>
          <a:lstStyle/>
          <a:p>
            <a:pPr algn="ctr"/>
            <a:r>
              <a:rPr lang="zh-CN" altLang="en-US" sz="1600" dirty="0">
                <a:solidFill>
                  <a:schemeClr val="bg1"/>
                </a:solidFill>
              </a:rPr>
              <a:t>关键词</a:t>
            </a:r>
          </a:p>
        </p:txBody>
      </p:sp>
      <p:sp>
        <p:nvSpPr>
          <p:cNvPr id="46" name="文本框 45">
            <a:extLst>
              <a:ext uri="{FF2B5EF4-FFF2-40B4-BE49-F238E27FC236}">
                <a16:creationId xmlns:a16="http://schemas.microsoft.com/office/drawing/2014/main" id="{50FF367B-A6AD-47C9-873E-31D7D6C8665A}"/>
              </a:ext>
            </a:extLst>
          </p:cNvPr>
          <p:cNvSpPr txBox="1"/>
          <p:nvPr/>
        </p:nvSpPr>
        <p:spPr>
          <a:xfrm>
            <a:off x="3675196" y="3897476"/>
            <a:ext cx="615553" cy="246221"/>
          </a:xfrm>
          <a:prstGeom prst="rect">
            <a:avLst/>
          </a:prstGeom>
          <a:noFill/>
        </p:spPr>
        <p:txBody>
          <a:bodyPr wrap="none" lIns="0" tIns="0" rIns="0" bIns="0" rtlCol="0" anchor="t">
            <a:spAutoFit/>
          </a:bodyPr>
          <a:lstStyle/>
          <a:p>
            <a:pPr algn="ctr"/>
            <a:r>
              <a:rPr lang="zh-CN" altLang="en-US" sz="1600" dirty="0">
                <a:solidFill>
                  <a:schemeClr val="bg1"/>
                </a:solidFill>
              </a:rPr>
              <a:t>关键词</a:t>
            </a:r>
          </a:p>
        </p:txBody>
      </p:sp>
      <p:sp>
        <p:nvSpPr>
          <p:cNvPr id="47" name="文本框 46">
            <a:extLst>
              <a:ext uri="{FF2B5EF4-FFF2-40B4-BE49-F238E27FC236}">
                <a16:creationId xmlns:a16="http://schemas.microsoft.com/office/drawing/2014/main" id="{3A0247CA-F1E6-4D47-876C-3D7B7815B29F}"/>
              </a:ext>
            </a:extLst>
          </p:cNvPr>
          <p:cNvSpPr txBox="1"/>
          <p:nvPr/>
        </p:nvSpPr>
        <p:spPr>
          <a:xfrm>
            <a:off x="3675196" y="2967836"/>
            <a:ext cx="615553" cy="246221"/>
          </a:xfrm>
          <a:prstGeom prst="rect">
            <a:avLst/>
          </a:prstGeom>
          <a:noFill/>
        </p:spPr>
        <p:txBody>
          <a:bodyPr wrap="none" lIns="0" tIns="0" rIns="0" bIns="0" rtlCol="0" anchor="t">
            <a:spAutoFit/>
          </a:bodyPr>
          <a:lstStyle/>
          <a:p>
            <a:pPr algn="ctr"/>
            <a:r>
              <a:rPr lang="zh-CN" altLang="en-US" sz="1600" dirty="0">
                <a:solidFill>
                  <a:schemeClr val="bg1"/>
                </a:solidFill>
              </a:rPr>
              <a:t>关键词</a:t>
            </a:r>
          </a:p>
        </p:txBody>
      </p:sp>
      <p:sp>
        <p:nvSpPr>
          <p:cNvPr id="48" name="文本框 47">
            <a:extLst>
              <a:ext uri="{FF2B5EF4-FFF2-40B4-BE49-F238E27FC236}">
                <a16:creationId xmlns:a16="http://schemas.microsoft.com/office/drawing/2014/main" id="{814398C8-1939-43C7-885D-9BDB8F775151}"/>
              </a:ext>
            </a:extLst>
          </p:cNvPr>
          <p:cNvSpPr txBox="1"/>
          <p:nvPr/>
        </p:nvSpPr>
        <p:spPr>
          <a:xfrm>
            <a:off x="3675196" y="2045816"/>
            <a:ext cx="615553" cy="246221"/>
          </a:xfrm>
          <a:prstGeom prst="rect">
            <a:avLst/>
          </a:prstGeom>
          <a:noFill/>
        </p:spPr>
        <p:txBody>
          <a:bodyPr wrap="none" lIns="0" tIns="0" rIns="0" bIns="0" rtlCol="0" anchor="t">
            <a:spAutoFit/>
          </a:bodyPr>
          <a:lstStyle/>
          <a:p>
            <a:pPr algn="ctr"/>
            <a:r>
              <a:rPr lang="zh-CN" altLang="en-US" sz="1600" dirty="0">
                <a:solidFill>
                  <a:schemeClr val="bg1"/>
                </a:solidFill>
              </a:rPr>
              <a:t>关键词</a:t>
            </a:r>
          </a:p>
        </p:txBody>
      </p:sp>
      <p:cxnSp>
        <p:nvCxnSpPr>
          <p:cNvPr id="14" name="直接连接符 13">
            <a:extLst>
              <a:ext uri="{FF2B5EF4-FFF2-40B4-BE49-F238E27FC236}">
                <a16:creationId xmlns:a16="http://schemas.microsoft.com/office/drawing/2014/main" id="{262DD0BE-AABA-4536-9314-1561B8CF1280}"/>
              </a:ext>
            </a:extLst>
          </p:cNvPr>
          <p:cNvCxnSpPr>
            <a:cxnSpLocks/>
          </p:cNvCxnSpPr>
          <p:nvPr/>
        </p:nvCxnSpPr>
        <p:spPr>
          <a:xfrm>
            <a:off x="5696673" y="2171276"/>
            <a:ext cx="1370153" cy="0"/>
          </a:xfrm>
          <a:prstGeom prst="line">
            <a:avLst/>
          </a:prstGeom>
          <a:ln w="12700">
            <a:gradFill>
              <a:gsLst>
                <a:gs pos="0">
                  <a:schemeClr val="accent1">
                    <a:alpha val="0"/>
                  </a:schemeClr>
                </a:gs>
                <a:gs pos="100000">
                  <a:schemeClr val="accent1"/>
                </a:gs>
              </a:gsLst>
              <a:lin ang="0" scaled="0"/>
            </a:gradFill>
          </a:ln>
        </p:spPr>
        <p:style>
          <a:lnRef idx="1">
            <a:schemeClr val="accent1"/>
          </a:lnRef>
          <a:fillRef idx="0">
            <a:schemeClr val="accent1"/>
          </a:fillRef>
          <a:effectRef idx="0">
            <a:schemeClr val="accent1"/>
          </a:effectRef>
          <a:fontRef idx="minor">
            <a:schemeClr val="tx1"/>
          </a:fontRef>
        </p:style>
      </p:cxnSp>
      <p:cxnSp>
        <p:nvCxnSpPr>
          <p:cNvPr id="55" name="直接连接符 54">
            <a:extLst>
              <a:ext uri="{FF2B5EF4-FFF2-40B4-BE49-F238E27FC236}">
                <a16:creationId xmlns:a16="http://schemas.microsoft.com/office/drawing/2014/main" id="{09FC477B-BAB0-48E5-99CB-C64CFBFB97C0}"/>
              </a:ext>
            </a:extLst>
          </p:cNvPr>
          <p:cNvCxnSpPr>
            <a:cxnSpLocks/>
          </p:cNvCxnSpPr>
          <p:nvPr/>
        </p:nvCxnSpPr>
        <p:spPr>
          <a:xfrm>
            <a:off x="5369814" y="3085176"/>
            <a:ext cx="1697012" cy="0"/>
          </a:xfrm>
          <a:prstGeom prst="line">
            <a:avLst/>
          </a:prstGeom>
          <a:ln w="12700">
            <a:gradFill>
              <a:gsLst>
                <a:gs pos="0">
                  <a:schemeClr val="accent1">
                    <a:alpha val="0"/>
                  </a:schemeClr>
                </a:gs>
                <a:gs pos="100000">
                  <a:schemeClr val="accent1"/>
                </a:gs>
              </a:gsLst>
              <a:lin ang="0" scaled="0"/>
            </a:gradFill>
          </a:ln>
        </p:spPr>
        <p:style>
          <a:lnRef idx="1">
            <a:schemeClr val="accent1"/>
          </a:lnRef>
          <a:fillRef idx="0">
            <a:schemeClr val="accent1"/>
          </a:fillRef>
          <a:effectRef idx="0">
            <a:schemeClr val="accent1"/>
          </a:effectRef>
          <a:fontRef idx="minor">
            <a:schemeClr val="tx1"/>
          </a:fontRef>
        </p:style>
      </p:cxnSp>
      <p:cxnSp>
        <p:nvCxnSpPr>
          <p:cNvPr id="56" name="直接连接符 55">
            <a:extLst>
              <a:ext uri="{FF2B5EF4-FFF2-40B4-BE49-F238E27FC236}">
                <a16:creationId xmlns:a16="http://schemas.microsoft.com/office/drawing/2014/main" id="{7527733D-0751-4A42-8AD4-04DC5D5879DE}"/>
              </a:ext>
            </a:extLst>
          </p:cNvPr>
          <p:cNvCxnSpPr>
            <a:cxnSpLocks/>
          </p:cNvCxnSpPr>
          <p:nvPr/>
        </p:nvCxnSpPr>
        <p:spPr>
          <a:xfrm>
            <a:off x="5049774" y="4027008"/>
            <a:ext cx="2017052" cy="0"/>
          </a:xfrm>
          <a:prstGeom prst="line">
            <a:avLst/>
          </a:prstGeom>
          <a:ln w="12700">
            <a:gradFill>
              <a:gsLst>
                <a:gs pos="0">
                  <a:schemeClr val="accent1">
                    <a:alpha val="0"/>
                  </a:schemeClr>
                </a:gs>
                <a:gs pos="100000">
                  <a:schemeClr val="accent1"/>
                </a:gs>
              </a:gsLst>
              <a:lin ang="0" scaled="0"/>
            </a:gradFill>
          </a:ln>
        </p:spPr>
        <p:style>
          <a:lnRef idx="1">
            <a:schemeClr val="accent1"/>
          </a:lnRef>
          <a:fillRef idx="0">
            <a:schemeClr val="accent1"/>
          </a:fillRef>
          <a:effectRef idx="0">
            <a:schemeClr val="accent1"/>
          </a:effectRef>
          <a:fontRef idx="minor">
            <a:schemeClr val="tx1"/>
          </a:fontRef>
        </p:style>
      </p:cxnSp>
      <p:cxnSp>
        <p:nvCxnSpPr>
          <p:cNvPr id="57" name="直接连接符 56">
            <a:extLst>
              <a:ext uri="{FF2B5EF4-FFF2-40B4-BE49-F238E27FC236}">
                <a16:creationId xmlns:a16="http://schemas.microsoft.com/office/drawing/2014/main" id="{E3BE7B11-9C70-4681-B651-9BB0D00705FF}"/>
              </a:ext>
            </a:extLst>
          </p:cNvPr>
          <p:cNvCxnSpPr>
            <a:cxnSpLocks/>
          </p:cNvCxnSpPr>
          <p:nvPr/>
        </p:nvCxnSpPr>
        <p:spPr>
          <a:xfrm>
            <a:off x="4775454" y="4877400"/>
            <a:ext cx="2291372" cy="0"/>
          </a:xfrm>
          <a:prstGeom prst="line">
            <a:avLst/>
          </a:prstGeom>
          <a:ln w="12700">
            <a:gradFill>
              <a:gsLst>
                <a:gs pos="0">
                  <a:schemeClr val="accent1">
                    <a:alpha val="0"/>
                  </a:schemeClr>
                </a:gs>
                <a:gs pos="100000">
                  <a:schemeClr val="accent1"/>
                </a:gs>
              </a:gsLst>
              <a:lin ang="0" scaled="0"/>
            </a:gradFill>
          </a:ln>
        </p:spPr>
        <p:style>
          <a:lnRef idx="1">
            <a:schemeClr val="accent1"/>
          </a:lnRef>
          <a:fillRef idx="0">
            <a:schemeClr val="accent1"/>
          </a:fillRef>
          <a:effectRef idx="0">
            <a:schemeClr val="accent1"/>
          </a:effectRef>
          <a:fontRef idx="minor">
            <a:schemeClr val="tx1"/>
          </a:fontRef>
        </p:style>
      </p:cxnSp>
      <p:sp>
        <p:nvSpPr>
          <p:cNvPr id="18" name="椭圆 17">
            <a:extLst>
              <a:ext uri="{FF2B5EF4-FFF2-40B4-BE49-F238E27FC236}">
                <a16:creationId xmlns:a16="http://schemas.microsoft.com/office/drawing/2014/main" id="{95011773-4CA9-416B-BD52-A891C5170A19}"/>
              </a:ext>
            </a:extLst>
          </p:cNvPr>
          <p:cNvSpPr/>
          <p:nvPr/>
        </p:nvSpPr>
        <p:spPr>
          <a:xfrm>
            <a:off x="6992282" y="2127689"/>
            <a:ext cx="87174" cy="87174"/>
          </a:xfrm>
          <a:prstGeom prst="ellipse">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61" name="椭圆 60">
            <a:extLst>
              <a:ext uri="{FF2B5EF4-FFF2-40B4-BE49-F238E27FC236}">
                <a16:creationId xmlns:a16="http://schemas.microsoft.com/office/drawing/2014/main" id="{14D6FDD1-1BCA-4F5B-AA78-8A7575038BEF}"/>
              </a:ext>
            </a:extLst>
          </p:cNvPr>
          <p:cNvSpPr/>
          <p:nvPr/>
        </p:nvSpPr>
        <p:spPr>
          <a:xfrm>
            <a:off x="6992282" y="3042089"/>
            <a:ext cx="87174" cy="87174"/>
          </a:xfrm>
          <a:prstGeom prst="ellipse">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64" name="椭圆 63">
            <a:extLst>
              <a:ext uri="{FF2B5EF4-FFF2-40B4-BE49-F238E27FC236}">
                <a16:creationId xmlns:a16="http://schemas.microsoft.com/office/drawing/2014/main" id="{5A522A0F-1B68-4F44-96E0-C0C549F0B139}"/>
              </a:ext>
            </a:extLst>
          </p:cNvPr>
          <p:cNvSpPr/>
          <p:nvPr/>
        </p:nvSpPr>
        <p:spPr>
          <a:xfrm>
            <a:off x="6992282" y="3981889"/>
            <a:ext cx="87174" cy="87174"/>
          </a:xfrm>
          <a:prstGeom prst="ellipse">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79" name="椭圆 78">
            <a:extLst>
              <a:ext uri="{FF2B5EF4-FFF2-40B4-BE49-F238E27FC236}">
                <a16:creationId xmlns:a16="http://schemas.microsoft.com/office/drawing/2014/main" id="{5B081A1B-0539-45D1-A86F-E43DE075CE45}"/>
              </a:ext>
            </a:extLst>
          </p:cNvPr>
          <p:cNvSpPr/>
          <p:nvPr/>
        </p:nvSpPr>
        <p:spPr>
          <a:xfrm>
            <a:off x="6992282" y="4839139"/>
            <a:ext cx="87174" cy="87174"/>
          </a:xfrm>
          <a:prstGeom prst="ellipse">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80" name="文本框 79">
            <a:extLst>
              <a:ext uri="{FF2B5EF4-FFF2-40B4-BE49-F238E27FC236}">
                <a16:creationId xmlns:a16="http://schemas.microsoft.com/office/drawing/2014/main" id="{AE2A1C1B-C270-4CDF-9C9E-7EDE4EE544A1}"/>
              </a:ext>
            </a:extLst>
          </p:cNvPr>
          <p:cNvSpPr txBox="1"/>
          <p:nvPr/>
        </p:nvSpPr>
        <p:spPr>
          <a:xfrm>
            <a:off x="7272614" y="2036483"/>
            <a:ext cx="1154162" cy="276999"/>
          </a:xfrm>
          <a:prstGeom prst="rect">
            <a:avLst/>
          </a:prstGeom>
          <a:noFill/>
        </p:spPr>
        <p:txBody>
          <a:bodyPr wrap="none" lIns="0" tIns="0" rIns="0" bIns="0" rtlCol="0" anchor="t">
            <a:spAutoFit/>
          </a:bodyPr>
          <a:lstStyle/>
          <a:p>
            <a:r>
              <a:rPr lang="zh-CN" altLang="en-US" dirty="0">
                <a:solidFill>
                  <a:schemeClr val="accent1"/>
                </a:solidFill>
                <a:latin typeface="+mj-ea"/>
                <a:ea typeface="+mj-ea"/>
              </a:rPr>
              <a:t>关键词标题</a:t>
            </a:r>
          </a:p>
        </p:txBody>
      </p:sp>
      <p:sp>
        <p:nvSpPr>
          <p:cNvPr id="81" name="文本框 80">
            <a:extLst>
              <a:ext uri="{FF2B5EF4-FFF2-40B4-BE49-F238E27FC236}">
                <a16:creationId xmlns:a16="http://schemas.microsoft.com/office/drawing/2014/main" id="{4D48FC28-7223-411C-A2DC-6E8F494B681C}"/>
              </a:ext>
            </a:extLst>
          </p:cNvPr>
          <p:cNvSpPr txBox="1"/>
          <p:nvPr/>
        </p:nvSpPr>
        <p:spPr>
          <a:xfrm>
            <a:off x="7272614" y="2301517"/>
            <a:ext cx="2465443" cy="387286"/>
          </a:xfrm>
          <a:prstGeom prst="rect">
            <a:avLst/>
          </a:prstGeom>
          <a:noFill/>
        </p:spPr>
        <p:txBody>
          <a:bodyPr wrap="square" lIns="0" tIns="0" rIns="0" bIns="0" rtlCol="0" anchor="t">
            <a:spAutoFit/>
          </a:bodyPr>
          <a:lstStyle/>
          <a:p>
            <a:pPr>
              <a:lnSpc>
                <a:spcPct val="130000"/>
              </a:lnSpc>
            </a:pPr>
            <a:r>
              <a:rPr lang="en-US" altLang="zh-CN" sz="1000" b="0" dirty="0">
                <a:solidFill>
                  <a:schemeClr val="tx1">
                    <a:lumMod val="75000"/>
                    <a:lumOff val="25000"/>
                  </a:schemeClr>
                </a:solidFill>
                <a:effectLst/>
                <a:latin typeface="+mn-ea"/>
              </a:rPr>
              <a:t>Lorem ipsum dolor sit amet, consectetur adipisicing elit, sed do eiusmod tempor</a:t>
            </a:r>
            <a:endParaRPr lang="zh-CN" altLang="en-US" sz="1000" b="0" dirty="0">
              <a:solidFill>
                <a:schemeClr val="tx1">
                  <a:lumMod val="75000"/>
                  <a:lumOff val="25000"/>
                </a:schemeClr>
              </a:solidFill>
              <a:effectLst/>
              <a:latin typeface="+mn-ea"/>
            </a:endParaRPr>
          </a:p>
        </p:txBody>
      </p:sp>
      <p:sp>
        <p:nvSpPr>
          <p:cNvPr id="82" name="文本框 81">
            <a:extLst>
              <a:ext uri="{FF2B5EF4-FFF2-40B4-BE49-F238E27FC236}">
                <a16:creationId xmlns:a16="http://schemas.microsoft.com/office/drawing/2014/main" id="{0BB4F9F2-F682-4F0C-8CD4-B74FBD970EE5}"/>
              </a:ext>
            </a:extLst>
          </p:cNvPr>
          <p:cNvSpPr txBox="1"/>
          <p:nvPr/>
        </p:nvSpPr>
        <p:spPr>
          <a:xfrm>
            <a:off x="7272614" y="2937058"/>
            <a:ext cx="1154162" cy="276999"/>
          </a:xfrm>
          <a:prstGeom prst="rect">
            <a:avLst/>
          </a:prstGeom>
          <a:noFill/>
        </p:spPr>
        <p:txBody>
          <a:bodyPr wrap="none" lIns="0" tIns="0" rIns="0" bIns="0" rtlCol="0" anchor="t">
            <a:spAutoFit/>
          </a:bodyPr>
          <a:lstStyle/>
          <a:p>
            <a:r>
              <a:rPr lang="zh-CN" altLang="en-US" dirty="0">
                <a:solidFill>
                  <a:schemeClr val="accent1"/>
                </a:solidFill>
                <a:latin typeface="+mj-ea"/>
                <a:ea typeface="+mj-ea"/>
              </a:rPr>
              <a:t>关键词标题</a:t>
            </a:r>
          </a:p>
        </p:txBody>
      </p:sp>
      <p:sp>
        <p:nvSpPr>
          <p:cNvPr id="83" name="文本框 82">
            <a:extLst>
              <a:ext uri="{FF2B5EF4-FFF2-40B4-BE49-F238E27FC236}">
                <a16:creationId xmlns:a16="http://schemas.microsoft.com/office/drawing/2014/main" id="{369AFDE8-2671-40B0-A1F2-0DEAB2CB6E83}"/>
              </a:ext>
            </a:extLst>
          </p:cNvPr>
          <p:cNvSpPr txBox="1"/>
          <p:nvPr/>
        </p:nvSpPr>
        <p:spPr>
          <a:xfrm>
            <a:off x="7272614" y="3202092"/>
            <a:ext cx="2465443" cy="387286"/>
          </a:xfrm>
          <a:prstGeom prst="rect">
            <a:avLst/>
          </a:prstGeom>
          <a:noFill/>
        </p:spPr>
        <p:txBody>
          <a:bodyPr wrap="square" lIns="0" tIns="0" rIns="0" bIns="0" rtlCol="0" anchor="t">
            <a:spAutoFit/>
          </a:bodyPr>
          <a:lstStyle/>
          <a:p>
            <a:pPr>
              <a:lnSpc>
                <a:spcPct val="130000"/>
              </a:lnSpc>
            </a:pPr>
            <a:r>
              <a:rPr lang="en-US" altLang="zh-CN" sz="1000" b="0" dirty="0">
                <a:solidFill>
                  <a:schemeClr val="tx1">
                    <a:lumMod val="75000"/>
                    <a:lumOff val="25000"/>
                  </a:schemeClr>
                </a:solidFill>
                <a:effectLst/>
                <a:latin typeface="+mn-ea"/>
              </a:rPr>
              <a:t>Lorem ipsum dolor sit amet, consectetur adipisicing elit, sed do eiusmod tempor</a:t>
            </a:r>
            <a:endParaRPr lang="zh-CN" altLang="en-US" sz="1000" b="0" dirty="0">
              <a:solidFill>
                <a:schemeClr val="tx1">
                  <a:lumMod val="75000"/>
                  <a:lumOff val="25000"/>
                </a:schemeClr>
              </a:solidFill>
              <a:effectLst/>
              <a:latin typeface="+mn-ea"/>
            </a:endParaRPr>
          </a:p>
        </p:txBody>
      </p:sp>
      <p:sp>
        <p:nvSpPr>
          <p:cNvPr id="84" name="文本框 83">
            <a:extLst>
              <a:ext uri="{FF2B5EF4-FFF2-40B4-BE49-F238E27FC236}">
                <a16:creationId xmlns:a16="http://schemas.microsoft.com/office/drawing/2014/main" id="{EE8BC963-A032-483A-82F6-28CC25BF00CE}"/>
              </a:ext>
            </a:extLst>
          </p:cNvPr>
          <p:cNvSpPr txBox="1"/>
          <p:nvPr/>
        </p:nvSpPr>
        <p:spPr>
          <a:xfrm>
            <a:off x="7272614" y="3889558"/>
            <a:ext cx="1154162" cy="276999"/>
          </a:xfrm>
          <a:prstGeom prst="rect">
            <a:avLst/>
          </a:prstGeom>
          <a:noFill/>
        </p:spPr>
        <p:txBody>
          <a:bodyPr wrap="none" lIns="0" tIns="0" rIns="0" bIns="0" rtlCol="0" anchor="t">
            <a:spAutoFit/>
          </a:bodyPr>
          <a:lstStyle/>
          <a:p>
            <a:r>
              <a:rPr lang="zh-CN" altLang="en-US" dirty="0">
                <a:solidFill>
                  <a:schemeClr val="accent1"/>
                </a:solidFill>
                <a:latin typeface="+mj-ea"/>
                <a:ea typeface="+mj-ea"/>
              </a:rPr>
              <a:t>关键词标题</a:t>
            </a:r>
          </a:p>
        </p:txBody>
      </p:sp>
      <p:sp>
        <p:nvSpPr>
          <p:cNvPr id="85" name="文本框 84">
            <a:extLst>
              <a:ext uri="{FF2B5EF4-FFF2-40B4-BE49-F238E27FC236}">
                <a16:creationId xmlns:a16="http://schemas.microsoft.com/office/drawing/2014/main" id="{D0F9C54E-1F34-493B-AC89-D5619FDB1409}"/>
              </a:ext>
            </a:extLst>
          </p:cNvPr>
          <p:cNvSpPr txBox="1"/>
          <p:nvPr/>
        </p:nvSpPr>
        <p:spPr>
          <a:xfrm>
            <a:off x="7272614" y="4154592"/>
            <a:ext cx="2465443" cy="387286"/>
          </a:xfrm>
          <a:prstGeom prst="rect">
            <a:avLst/>
          </a:prstGeom>
          <a:noFill/>
        </p:spPr>
        <p:txBody>
          <a:bodyPr wrap="square" lIns="0" tIns="0" rIns="0" bIns="0" rtlCol="0" anchor="t">
            <a:spAutoFit/>
          </a:bodyPr>
          <a:lstStyle/>
          <a:p>
            <a:pPr>
              <a:lnSpc>
                <a:spcPct val="130000"/>
              </a:lnSpc>
            </a:pPr>
            <a:r>
              <a:rPr lang="en-US" altLang="zh-CN" sz="1000" b="0" dirty="0">
                <a:solidFill>
                  <a:schemeClr val="tx1">
                    <a:lumMod val="75000"/>
                    <a:lumOff val="25000"/>
                  </a:schemeClr>
                </a:solidFill>
                <a:effectLst/>
                <a:latin typeface="+mn-ea"/>
              </a:rPr>
              <a:t>Lorem ipsum dolor sit amet, consectetur adipisicing elit, sed do eiusmod tempor</a:t>
            </a:r>
            <a:endParaRPr lang="zh-CN" altLang="en-US" sz="1000" b="0" dirty="0">
              <a:solidFill>
                <a:schemeClr val="tx1">
                  <a:lumMod val="75000"/>
                  <a:lumOff val="25000"/>
                </a:schemeClr>
              </a:solidFill>
              <a:effectLst/>
              <a:latin typeface="+mn-ea"/>
            </a:endParaRPr>
          </a:p>
        </p:txBody>
      </p:sp>
      <p:sp>
        <p:nvSpPr>
          <p:cNvPr id="86" name="文本框 85">
            <a:extLst>
              <a:ext uri="{FF2B5EF4-FFF2-40B4-BE49-F238E27FC236}">
                <a16:creationId xmlns:a16="http://schemas.microsoft.com/office/drawing/2014/main" id="{B5DF1FED-831D-447A-8DA3-0DEA9A57FE83}"/>
              </a:ext>
            </a:extLst>
          </p:cNvPr>
          <p:cNvSpPr txBox="1"/>
          <p:nvPr/>
        </p:nvSpPr>
        <p:spPr>
          <a:xfrm>
            <a:off x="7272614" y="4758238"/>
            <a:ext cx="1154162" cy="276999"/>
          </a:xfrm>
          <a:prstGeom prst="rect">
            <a:avLst/>
          </a:prstGeom>
          <a:noFill/>
        </p:spPr>
        <p:txBody>
          <a:bodyPr wrap="none" lIns="0" tIns="0" rIns="0" bIns="0" rtlCol="0" anchor="t">
            <a:spAutoFit/>
          </a:bodyPr>
          <a:lstStyle/>
          <a:p>
            <a:r>
              <a:rPr lang="zh-CN" altLang="en-US" dirty="0">
                <a:solidFill>
                  <a:schemeClr val="accent1"/>
                </a:solidFill>
                <a:latin typeface="+mj-ea"/>
                <a:ea typeface="+mj-ea"/>
              </a:rPr>
              <a:t>关键词标题</a:t>
            </a:r>
          </a:p>
        </p:txBody>
      </p:sp>
      <p:sp>
        <p:nvSpPr>
          <p:cNvPr id="87" name="文本框 86">
            <a:extLst>
              <a:ext uri="{FF2B5EF4-FFF2-40B4-BE49-F238E27FC236}">
                <a16:creationId xmlns:a16="http://schemas.microsoft.com/office/drawing/2014/main" id="{FA9D51B4-42DA-4185-AEE1-6EA79AA428D2}"/>
              </a:ext>
            </a:extLst>
          </p:cNvPr>
          <p:cNvSpPr txBox="1"/>
          <p:nvPr/>
        </p:nvSpPr>
        <p:spPr>
          <a:xfrm>
            <a:off x="7272614" y="5023272"/>
            <a:ext cx="2465443" cy="387286"/>
          </a:xfrm>
          <a:prstGeom prst="rect">
            <a:avLst/>
          </a:prstGeom>
          <a:noFill/>
        </p:spPr>
        <p:txBody>
          <a:bodyPr wrap="square" lIns="0" tIns="0" rIns="0" bIns="0" rtlCol="0" anchor="t">
            <a:spAutoFit/>
          </a:bodyPr>
          <a:lstStyle/>
          <a:p>
            <a:pPr>
              <a:lnSpc>
                <a:spcPct val="130000"/>
              </a:lnSpc>
            </a:pPr>
            <a:r>
              <a:rPr lang="en-US" altLang="zh-CN" sz="1000" b="0" dirty="0">
                <a:solidFill>
                  <a:schemeClr val="tx1">
                    <a:lumMod val="75000"/>
                    <a:lumOff val="25000"/>
                  </a:schemeClr>
                </a:solidFill>
                <a:effectLst/>
                <a:latin typeface="+mn-ea"/>
              </a:rPr>
              <a:t>Lorem ipsum dolor sit amet, consectetur adipisicing elit, sed do eiusmod tempor</a:t>
            </a:r>
            <a:endParaRPr lang="zh-CN" altLang="en-US" sz="1000" b="0" dirty="0">
              <a:solidFill>
                <a:schemeClr val="tx1">
                  <a:lumMod val="75000"/>
                  <a:lumOff val="25000"/>
                </a:schemeClr>
              </a:solidFill>
              <a:effectLst/>
              <a:latin typeface="+mn-ea"/>
            </a:endParaRPr>
          </a:p>
        </p:txBody>
      </p:sp>
    </p:spTree>
    <p:extLst>
      <p:ext uri="{BB962C8B-B14F-4D97-AF65-F5344CB8AC3E}">
        <p14:creationId xmlns:p14="http://schemas.microsoft.com/office/powerpoint/2010/main" val="3949172263"/>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3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椭圆 16">
            <a:extLst>
              <a:ext uri="{FF2B5EF4-FFF2-40B4-BE49-F238E27FC236}">
                <a16:creationId xmlns:a16="http://schemas.microsoft.com/office/drawing/2014/main" id="{73978718-9919-4491-95F6-4FE2A5B758A1}"/>
              </a:ext>
            </a:extLst>
          </p:cNvPr>
          <p:cNvSpPr/>
          <p:nvPr/>
        </p:nvSpPr>
        <p:spPr>
          <a:xfrm>
            <a:off x="5033479" y="1415795"/>
            <a:ext cx="694127" cy="694127"/>
          </a:xfrm>
          <a:prstGeom prst="ellipse">
            <a:avLst/>
          </a:prstGeom>
          <a:solidFill>
            <a:schemeClr val="accent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800" dirty="0">
                <a:solidFill>
                  <a:schemeClr val="bg1"/>
                </a:solidFill>
                <a:latin typeface="+mj-ea"/>
                <a:ea typeface="+mj-ea"/>
              </a:rPr>
              <a:t>关键词</a:t>
            </a:r>
          </a:p>
        </p:txBody>
      </p:sp>
      <p:sp>
        <p:nvSpPr>
          <p:cNvPr id="67" name="任意多边形: 形状 66">
            <a:extLst>
              <a:ext uri="{FF2B5EF4-FFF2-40B4-BE49-F238E27FC236}">
                <a16:creationId xmlns:a16="http://schemas.microsoft.com/office/drawing/2014/main" id="{A31ED73F-3C58-421D-91BF-18602ECC17CD}"/>
              </a:ext>
            </a:extLst>
          </p:cNvPr>
          <p:cNvSpPr/>
          <p:nvPr/>
        </p:nvSpPr>
        <p:spPr>
          <a:xfrm>
            <a:off x="4691581" y="1981580"/>
            <a:ext cx="2819728" cy="830484"/>
          </a:xfrm>
          <a:custGeom>
            <a:avLst/>
            <a:gdLst>
              <a:gd name="connsiteX0" fmla="*/ 569333 w 2819728"/>
              <a:gd name="connsiteY0" fmla="*/ 180 h 830484"/>
              <a:gd name="connsiteX1" fmla="*/ 1127947 w 2819728"/>
              <a:gd name="connsiteY1" fmla="*/ 121075 h 830484"/>
              <a:gd name="connsiteX2" fmla="*/ 1694898 w 2819728"/>
              <a:gd name="connsiteY2" fmla="*/ 12687 h 830484"/>
              <a:gd name="connsiteX3" fmla="*/ 2199318 w 2819728"/>
              <a:gd name="connsiteY3" fmla="*/ 146087 h 830484"/>
              <a:gd name="connsiteX4" fmla="*/ 2728750 w 2819728"/>
              <a:gd name="connsiteY4" fmla="*/ 79387 h 830484"/>
              <a:gd name="connsiteX5" fmla="*/ 2756051 w 2819728"/>
              <a:gd name="connsiteY5" fmla="*/ 265104 h 830484"/>
              <a:gd name="connsiteX6" fmla="*/ 2748388 w 2819728"/>
              <a:gd name="connsiteY6" fmla="*/ 268283 h 830484"/>
              <a:gd name="connsiteX7" fmla="*/ 2586007 w 2819728"/>
              <a:gd name="connsiteY7" fmla="*/ 830484 h 830484"/>
              <a:gd name="connsiteX8" fmla="*/ 222830 w 2819728"/>
              <a:gd name="connsiteY8" fmla="*/ 830484 h 830484"/>
              <a:gd name="connsiteX9" fmla="*/ 65094 w 2819728"/>
              <a:gd name="connsiteY9" fmla="*/ 284362 h 830484"/>
              <a:gd name="connsiteX10" fmla="*/ 51594 w 2819728"/>
              <a:gd name="connsiteY10" fmla="*/ 276166 h 830484"/>
              <a:gd name="connsiteX11" fmla="*/ 31564 w 2819728"/>
              <a:gd name="connsiteY11" fmla="*/ 154425 h 830484"/>
              <a:gd name="connsiteX12" fmla="*/ 569333 w 2819728"/>
              <a:gd name="connsiteY12" fmla="*/ 180 h 830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819728" h="830484">
                <a:moveTo>
                  <a:pt x="569333" y="180"/>
                </a:moveTo>
                <a:cubicBezTo>
                  <a:pt x="752063" y="-5378"/>
                  <a:pt x="940353" y="118991"/>
                  <a:pt x="1127947" y="121075"/>
                </a:cubicBezTo>
                <a:cubicBezTo>
                  <a:pt x="1315540" y="123159"/>
                  <a:pt x="1516336" y="8519"/>
                  <a:pt x="1694898" y="12687"/>
                </a:cubicBezTo>
                <a:cubicBezTo>
                  <a:pt x="1873460" y="16855"/>
                  <a:pt x="2027009" y="134971"/>
                  <a:pt x="2199318" y="146087"/>
                </a:cubicBezTo>
                <a:cubicBezTo>
                  <a:pt x="2371627" y="157204"/>
                  <a:pt x="2646765" y="55070"/>
                  <a:pt x="2728750" y="79387"/>
                </a:cubicBezTo>
                <a:cubicBezTo>
                  <a:pt x="2800488" y="100665"/>
                  <a:pt x="2877545" y="197480"/>
                  <a:pt x="2756051" y="265104"/>
                </a:cubicBezTo>
                <a:lnTo>
                  <a:pt x="2748388" y="268283"/>
                </a:lnTo>
                <a:lnTo>
                  <a:pt x="2586007" y="830484"/>
                </a:lnTo>
                <a:lnTo>
                  <a:pt x="222830" y="830484"/>
                </a:lnTo>
                <a:lnTo>
                  <a:pt x="65094" y="284362"/>
                </a:lnTo>
                <a:lnTo>
                  <a:pt x="51594" y="276166"/>
                </a:lnTo>
                <a:cubicBezTo>
                  <a:pt x="6030" y="241839"/>
                  <a:pt x="-27321" y="192465"/>
                  <a:pt x="31564" y="154425"/>
                </a:cubicBezTo>
                <a:cubicBezTo>
                  <a:pt x="110076" y="103705"/>
                  <a:pt x="386603" y="5739"/>
                  <a:pt x="569333" y="180"/>
                </a:cubicBezTo>
                <a:close/>
              </a:path>
            </a:pathLst>
          </a:custGeom>
          <a:solidFill>
            <a:schemeClr val="accent1">
              <a:lumMod val="25000"/>
              <a:lumOff val="75000"/>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l"/>
            <a:endParaRPr lang="zh-CN" altLang="en-US" sz="1600">
              <a:solidFill>
                <a:schemeClr val="bg1"/>
              </a:solidFill>
              <a:latin typeface="+mj-ea"/>
              <a:ea typeface="+mj-ea"/>
            </a:endParaRPr>
          </a:p>
        </p:txBody>
      </p:sp>
      <p:sp>
        <p:nvSpPr>
          <p:cNvPr id="6" name="椭圆 5">
            <a:extLst>
              <a:ext uri="{FF2B5EF4-FFF2-40B4-BE49-F238E27FC236}">
                <a16:creationId xmlns:a16="http://schemas.microsoft.com/office/drawing/2014/main" id="{8FABA5A9-B6CA-471F-B2D7-537CDA18A7D7}"/>
              </a:ext>
            </a:extLst>
          </p:cNvPr>
          <p:cNvSpPr/>
          <p:nvPr/>
        </p:nvSpPr>
        <p:spPr>
          <a:xfrm>
            <a:off x="3313176" y="5041305"/>
            <a:ext cx="5565648" cy="1096889"/>
          </a:xfrm>
          <a:prstGeom prst="ellipse">
            <a:avLst/>
          </a:prstGeom>
          <a:noFill/>
          <a:ln>
            <a:solidFill>
              <a:schemeClr val="bg1">
                <a:lumMod val="65000"/>
              </a:schemeClr>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41" name="梯形 40">
            <a:extLst>
              <a:ext uri="{FF2B5EF4-FFF2-40B4-BE49-F238E27FC236}">
                <a16:creationId xmlns:a16="http://schemas.microsoft.com/office/drawing/2014/main" id="{6612215D-88AA-44A4-BD55-D24DB9E9439A}"/>
              </a:ext>
            </a:extLst>
          </p:cNvPr>
          <p:cNvSpPr/>
          <p:nvPr/>
        </p:nvSpPr>
        <p:spPr>
          <a:xfrm rot="10800000">
            <a:off x="5030132" y="2812734"/>
            <a:ext cx="2131736" cy="827524"/>
          </a:xfrm>
          <a:prstGeom prst="trapezoid">
            <a:avLst>
              <a:gd name="adj" fmla="val 28883"/>
            </a:avLst>
          </a:prstGeom>
          <a:solidFill>
            <a:schemeClr val="accent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40" name="梯形 39">
            <a:extLst>
              <a:ext uri="{FF2B5EF4-FFF2-40B4-BE49-F238E27FC236}">
                <a16:creationId xmlns:a16="http://schemas.microsoft.com/office/drawing/2014/main" id="{3CF12B5C-D86B-488A-8C06-75CE514BFE8A}"/>
              </a:ext>
            </a:extLst>
          </p:cNvPr>
          <p:cNvSpPr/>
          <p:nvPr/>
        </p:nvSpPr>
        <p:spPr>
          <a:xfrm rot="10800000">
            <a:off x="5258024" y="3629810"/>
            <a:ext cx="1675952" cy="827524"/>
          </a:xfrm>
          <a:prstGeom prst="trapezoid">
            <a:avLst>
              <a:gd name="adj" fmla="val 28883"/>
            </a:avLst>
          </a:prstGeom>
          <a:solidFill>
            <a:schemeClr val="accent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35" name="平行四边形 34">
            <a:extLst>
              <a:ext uri="{FF2B5EF4-FFF2-40B4-BE49-F238E27FC236}">
                <a16:creationId xmlns:a16="http://schemas.microsoft.com/office/drawing/2014/main" id="{9CC3264E-AE50-40D0-B048-2A362279C793}"/>
              </a:ext>
            </a:extLst>
          </p:cNvPr>
          <p:cNvSpPr/>
          <p:nvPr/>
        </p:nvSpPr>
        <p:spPr>
          <a:xfrm flipH="1">
            <a:off x="4596581" y="1984540"/>
            <a:ext cx="1280643" cy="3339897"/>
          </a:xfrm>
          <a:prstGeom prst="parallelogram">
            <a:avLst>
              <a:gd name="adj" fmla="val 87325"/>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37" name="平行四边形 36">
            <a:extLst>
              <a:ext uri="{FF2B5EF4-FFF2-40B4-BE49-F238E27FC236}">
                <a16:creationId xmlns:a16="http://schemas.microsoft.com/office/drawing/2014/main" id="{39A8882C-C1D5-449D-948B-3C59C06FDD28}"/>
              </a:ext>
            </a:extLst>
          </p:cNvPr>
          <p:cNvSpPr/>
          <p:nvPr/>
        </p:nvSpPr>
        <p:spPr>
          <a:xfrm>
            <a:off x="6314776" y="1984540"/>
            <a:ext cx="1280643" cy="3339897"/>
          </a:xfrm>
          <a:prstGeom prst="parallelogram">
            <a:avLst>
              <a:gd name="adj" fmla="val 87325"/>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5" name="梯形 4">
            <a:extLst>
              <a:ext uri="{FF2B5EF4-FFF2-40B4-BE49-F238E27FC236}">
                <a16:creationId xmlns:a16="http://schemas.microsoft.com/office/drawing/2014/main" id="{A1AAFBBC-F3F5-44F3-856C-8578F3AF5A3B}"/>
              </a:ext>
            </a:extLst>
          </p:cNvPr>
          <p:cNvSpPr/>
          <p:nvPr/>
        </p:nvSpPr>
        <p:spPr>
          <a:xfrm rot="10800000">
            <a:off x="5688337" y="5172944"/>
            <a:ext cx="815326" cy="151492"/>
          </a:xfrm>
          <a:prstGeom prst="trapezoid">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46" name="文本框 45">
            <a:extLst>
              <a:ext uri="{FF2B5EF4-FFF2-40B4-BE49-F238E27FC236}">
                <a16:creationId xmlns:a16="http://schemas.microsoft.com/office/drawing/2014/main" id="{50FF367B-A6AD-47C9-873E-31D7D6C8665A}"/>
              </a:ext>
            </a:extLst>
          </p:cNvPr>
          <p:cNvSpPr txBox="1"/>
          <p:nvPr/>
        </p:nvSpPr>
        <p:spPr>
          <a:xfrm>
            <a:off x="5826593" y="3869491"/>
            <a:ext cx="538812" cy="215525"/>
          </a:xfrm>
          <a:prstGeom prst="rect">
            <a:avLst/>
          </a:prstGeom>
          <a:noFill/>
        </p:spPr>
        <p:txBody>
          <a:bodyPr wrap="none" lIns="0" tIns="0" rIns="0" bIns="0" rtlCol="0" anchor="t">
            <a:spAutoFit/>
          </a:bodyPr>
          <a:lstStyle/>
          <a:p>
            <a:pPr algn="ctr"/>
            <a:r>
              <a:rPr lang="zh-CN" altLang="en-US" sz="1600" dirty="0">
                <a:solidFill>
                  <a:schemeClr val="bg1"/>
                </a:solidFill>
              </a:rPr>
              <a:t>关键词</a:t>
            </a:r>
          </a:p>
        </p:txBody>
      </p:sp>
      <p:sp>
        <p:nvSpPr>
          <p:cNvPr id="47" name="文本框 46">
            <a:extLst>
              <a:ext uri="{FF2B5EF4-FFF2-40B4-BE49-F238E27FC236}">
                <a16:creationId xmlns:a16="http://schemas.microsoft.com/office/drawing/2014/main" id="{3A0247CA-F1E6-4D47-876C-3D7B7815B29F}"/>
              </a:ext>
            </a:extLst>
          </p:cNvPr>
          <p:cNvSpPr txBox="1"/>
          <p:nvPr/>
        </p:nvSpPr>
        <p:spPr>
          <a:xfrm>
            <a:off x="5826593" y="3153881"/>
            <a:ext cx="538812" cy="215525"/>
          </a:xfrm>
          <a:prstGeom prst="rect">
            <a:avLst/>
          </a:prstGeom>
          <a:noFill/>
        </p:spPr>
        <p:txBody>
          <a:bodyPr wrap="none" lIns="0" tIns="0" rIns="0" bIns="0" rtlCol="0" anchor="t">
            <a:spAutoFit/>
          </a:bodyPr>
          <a:lstStyle/>
          <a:p>
            <a:pPr algn="ctr"/>
            <a:r>
              <a:rPr lang="zh-CN" altLang="en-US" sz="1600" dirty="0">
                <a:solidFill>
                  <a:schemeClr val="bg1"/>
                </a:solidFill>
              </a:rPr>
              <a:t>关键词</a:t>
            </a:r>
          </a:p>
        </p:txBody>
      </p:sp>
      <p:sp>
        <p:nvSpPr>
          <p:cNvPr id="48" name="文本框 47">
            <a:extLst>
              <a:ext uri="{FF2B5EF4-FFF2-40B4-BE49-F238E27FC236}">
                <a16:creationId xmlns:a16="http://schemas.microsoft.com/office/drawing/2014/main" id="{814398C8-1939-43C7-885D-9BDB8F775151}"/>
              </a:ext>
            </a:extLst>
          </p:cNvPr>
          <p:cNvSpPr txBox="1"/>
          <p:nvPr/>
        </p:nvSpPr>
        <p:spPr>
          <a:xfrm>
            <a:off x="5826593" y="2346810"/>
            <a:ext cx="538812" cy="215525"/>
          </a:xfrm>
          <a:prstGeom prst="rect">
            <a:avLst/>
          </a:prstGeom>
          <a:noFill/>
        </p:spPr>
        <p:txBody>
          <a:bodyPr wrap="none" lIns="0" tIns="0" rIns="0" bIns="0" rtlCol="0" anchor="t">
            <a:spAutoFit/>
          </a:bodyPr>
          <a:lstStyle/>
          <a:p>
            <a:pPr algn="ctr"/>
            <a:r>
              <a:rPr lang="zh-CN" altLang="en-US" sz="1600" dirty="0">
                <a:solidFill>
                  <a:schemeClr val="bg1"/>
                </a:solidFill>
              </a:rPr>
              <a:t>关键词</a:t>
            </a:r>
          </a:p>
        </p:txBody>
      </p:sp>
      <p:sp>
        <p:nvSpPr>
          <p:cNvPr id="3" name="椭圆 2">
            <a:extLst>
              <a:ext uri="{FF2B5EF4-FFF2-40B4-BE49-F238E27FC236}">
                <a16:creationId xmlns:a16="http://schemas.microsoft.com/office/drawing/2014/main" id="{F7B53965-C097-406E-AC24-DF0D97B0FAF5}"/>
              </a:ext>
            </a:extLst>
          </p:cNvPr>
          <p:cNvSpPr/>
          <p:nvPr/>
        </p:nvSpPr>
        <p:spPr>
          <a:xfrm>
            <a:off x="5430553" y="4205102"/>
            <a:ext cx="1349123" cy="1349121"/>
          </a:xfrm>
          <a:prstGeom prst="ellipse">
            <a:avLst/>
          </a:prstGeom>
          <a:gradFill>
            <a:gsLst>
              <a:gs pos="100000">
                <a:schemeClr val="accent1"/>
              </a:gs>
              <a:gs pos="0">
                <a:schemeClr val="accent1">
                  <a:lumMod val="50000"/>
                  <a:lumOff val="5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12" name="文本框 11">
            <a:extLst>
              <a:ext uri="{FF2B5EF4-FFF2-40B4-BE49-F238E27FC236}">
                <a16:creationId xmlns:a16="http://schemas.microsoft.com/office/drawing/2014/main" id="{8DAB50BD-6CE2-4004-938E-9F04F5FA785A}"/>
              </a:ext>
            </a:extLst>
          </p:cNvPr>
          <p:cNvSpPr txBox="1"/>
          <p:nvPr/>
        </p:nvSpPr>
        <p:spPr>
          <a:xfrm>
            <a:off x="5759241" y="4771899"/>
            <a:ext cx="673515" cy="269406"/>
          </a:xfrm>
          <a:prstGeom prst="rect">
            <a:avLst/>
          </a:prstGeom>
          <a:noFill/>
        </p:spPr>
        <p:txBody>
          <a:bodyPr wrap="none" lIns="0" tIns="0" rIns="0" bIns="0" rtlCol="0" anchor="t">
            <a:spAutoFit/>
          </a:bodyPr>
          <a:lstStyle/>
          <a:p>
            <a:pPr algn="ctr"/>
            <a:r>
              <a:rPr lang="zh-CN" altLang="en-US" sz="2000" dirty="0">
                <a:solidFill>
                  <a:schemeClr val="bg1"/>
                </a:solidFill>
              </a:rPr>
              <a:t>关键词</a:t>
            </a:r>
          </a:p>
        </p:txBody>
      </p:sp>
      <p:sp>
        <p:nvSpPr>
          <p:cNvPr id="7" name="椭圆 6">
            <a:extLst>
              <a:ext uri="{FF2B5EF4-FFF2-40B4-BE49-F238E27FC236}">
                <a16:creationId xmlns:a16="http://schemas.microsoft.com/office/drawing/2014/main" id="{D75F507B-2962-405F-8108-ABA12CCDEEFF}"/>
              </a:ext>
            </a:extLst>
          </p:cNvPr>
          <p:cNvSpPr/>
          <p:nvPr/>
        </p:nvSpPr>
        <p:spPr>
          <a:xfrm>
            <a:off x="3061681" y="5252499"/>
            <a:ext cx="674500" cy="674500"/>
          </a:xfrm>
          <a:prstGeom prst="ellipse">
            <a:avLst/>
          </a:prstGeom>
          <a:solidFill>
            <a:schemeClr val="bg1"/>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36" name="椭圆 35">
            <a:extLst>
              <a:ext uri="{FF2B5EF4-FFF2-40B4-BE49-F238E27FC236}">
                <a16:creationId xmlns:a16="http://schemas.microsoft.com/office/drawing/2014/main" id="{E2A208F4-ADF3-4DAB-9C1C-9942F0B7FBFA}"/>
              </a:ext>
            </a:extLst>
          </p:cNvPr>
          <p:cNvSpPr/>
          <p:nvPr/>
        </p:nvSpPr>
        <p:spPr>
          <a:xfrm>
            <a:off x="4746811" y="5585295"/>
            <a:ext cx="897908" cy="897908"/>
          </a:xfrm>
          <a:prstGeom prst="ellipse">
            <a:avLst/>
          </a:prstGeom>
          <a:solidFill>
            <a:schemeClr val="bg1"/>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38" name="椭圆 37">
            <a:extLst>
              <a:ext uri="{FF2B5EF4-FFF2-40B4-BE49-F238E27FC236}">
                <a16:creationId xmlns:a16="http://schemas.microsoft.com/office/drawing/2014/main" id="{6E585B2A-B10D-498C-9A81-F43D5A89E3A0}"/>
              </a:ext>
            </a:extLst>
          </p:cNvPr>
          <p:cNvSpPr/>
          <p:nvPr/>
        </p:nvSpPr>
        <p:spPr>
          <a:xfrm>
            <a:off x="6639542" y="5585295"/>
            <a:ext cx="897908" cy="897908"/>
          </a:xfrm>
          <a:prstGeom prst="ellipse">
            <a:avLst/>
          </a:prstGeom>
          <a:solidFill>
            <a:schemeClr val="bg1"/>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43" name="文本框 42">
            <a:extLst>
              <a:ext uri="{FF2B5EF4-FFF2-40B4-BE49-F238E27FC236}">
                <a16:creationId xmlns:a16="http://schemas.microsoft.com/office/drawing/2014/main" id="{767F08B0-2913-45B8-BD9B-4C459DD082AB}"/>
              </a:ext>
            </a:extLst>
          </p:cNvPr>
          <p:cNvSpPr txBox="1"/>
          <p:nvPr/>
        </p:nvSpPr>
        <p:spPr>
          <a:xfrm>
            <a:off x="3129626" y="5482027"/>
            <a:ext cx="538609" cy="215444"/>
          </a:xfrm>
          <a:prstGeom prst="rect">
            <a:avLst/>
          </a:prstGeom>
          <a:noFill/>
        </p:spPr>
        <p:txBody>
          <a:bodyPr wrap="none" lIns="0" tIns="0" rIns="0" bIns="0" rtlCol="0" anchor="t">
            <a:spAutoFit/>
          </a:bodyPr>
          <a:lstStyle/>
          <a:p>
            <a:pPr algn="ctr"/>
            <a:r>
              <a:rPr lang="zh-CN" altLang="en-US" sz="1400" dirty="0">
                <a:solidFill>
                  <a:schemeClr val="tx1">
                    <a:lumMod val="75000"/>
                    <a:lumOff val="25000"/>
                  </a:schemeClr>
                </a:solidFill>
              </a:rPr>
              <a:t>关键词</a:t>
            </a:r>
          </a:p>
        </p:txBody>
      </p:sp>
      <p:sp>
        <p:nvSpPr>
          <p:cNvPr id="44" name="椭圆 43">
            <a:extLst>
              <a:ext uri="{FF2B5EF4-FFF2-40B4-BE49-F238E27FC236}">
                <a16:creationId xmlns:a16="http://schemas.microsoft.com/office/drawing/2014/main" id="{87006C23-1CE1-46B7-AB29-F13D8E6F78E8}"/>
              </a:ext>
            </a:extLst>
          </p:cNvPr>
          <p:cNvSpPr/>
          <p:nvPr/>
        </p:nvSpPr>
        <p:spPr>
          <a:xfrm>
            <a:off x="8567131" y="5252499"/>
            <a:ext cx="674500" cy="674500"/>
          </a:xfrm>
          <a:prstGeom prst="ellipse">
            <a:avLst/>
          </a:prstGeom>
          <a:solidFill>
            <a:schemeClr val="bg1"/>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45" name="文本框 44">
            <a:extLst>
              <a:ext uri="{FF2B5EF4-FFF2-40B4-BE49-F238E27FC236}">
                <a16:creationId xmlns:a16="http://schemas.microsoft.com/office/drawing/2014/main" id="{DF24ABEE-89AD-49B8-97EF-04584A41B583}"/>
              </a:ext>
            </a:extLst>
          </p:cNvPr>
          <p:cNvSpPr txBox="1"/>
          <p:nvPr/>
        </p:nvSpPr>
        <p:spPr>
          <a:xfrm>
            <a:off x="8635076" y="5482027"/>
            <a:ext cx="538609" cy="215444"/>
          </a:xfrm>
          <a:prstGeom prst="rect">
            <a:avLst/>
          </a:prstGeom>
          <a:noFill/>
        </p:spPr>
        <p:txBody>
          <a:bodyPr wrap="none" lIns="0" tIns="0" rIns="0" bIns="0" rtlCol="0" anchor="t">
            <a:spAutoFit/>
          </a:bodyPr>
          <a:lstStyle/>
          <a:p>
            <a:pPr algn="ctr"/>
            <a:r>
              <a:rPr lang="zh-CN" altLang="en-US" sz="1400" dirty="0">
                <a:solidFill>
                  <a:schemeClr val="tx1">
                    <a:lumMod val="75000"/>
                    <a:lumOff val="25000"/>
                  </a:schemeClr>
                </a:solidFill>
              </a:rPr>
              <a:t>关键词</a:t>
            </a:r>
          </a:p>
        </p:txBody>
      </p:sp>
      <p:sp>
        <p:nvSpPr>
          <p:cNvPr id="49" name="文本框 48">
            <a:extLst>
              <a:ext uri="{FF2B5EF4-FFF2-40B4-BE49-F238E27FC236}">
                <a16:creationId xmlns:a16="http://schemas.microsoft.com/office/drawing/2014/main" id="{66704555-AADF-46AC-B39B-5BEFCDE7B48C}"/>
              </a:ext>
            </a:extLst>
          </p:cNvPr>
          <p:cNvSpPr txBox="1"/>
          <p:nvPr/>
        </p:nvSpPr>
        <p:spPr>
          <a:xfrm>
            <a:off x="4926460" y="5926527"/>
            <a:ext cx="538609" cy="215444"/>
          </a:xfrm>
          <a:prstGeom prst="rect">
            <a:avLst/>
          </a:prstGeom>
          <a:noFill/>
        </p:spPr>
        <p:txBody>
          <a:bodyPr wrap="none" lIns="0" tIns="0" rIns="0" bIns="0" rtlCol="0" anchor="t">
            <a:spAutoFit/>
          </a:bodyPr>
          <a:lstStyle/>
          <a:p>
            <a:pPr algn="ctr"/>
            <a:r>
              <a:rPr lang="zh-CN" altLang="en-US" sz="1400" dirty="0">
                <a:solidFill>
                  <a:schemeClr val="tx1">
                    <a:lumMod val="75000"/>
                    <a:lumOff val="25000"/>
                  </a:schemeClr>
                </a:solidFill>
              </a:rPr>
              <a:t>关键词</a:t>
            </a:r>
          </a:p>
        </p:txBody>
      </p:sp>
      <p:sp>
        <p:nvSpPr>
          <p:cNvPr id="50" name="文本框 49">
            <a:extLst>
              <a:ext uri="{FF2B5EF4-FFF2-40B4-BE49-F238E27FC236}">
                <a16:creationId xmlns:a16="http://schemas.microsoft.com/office/drawing/2014/main" id="{7C25BC2B-8627-46A0-8FF5-075E742B6C8C}"/>
              </a:ext>
            </a:extLst>
          </p:cNvPr>
          <p:cNvSpPr txBox="1"/>
          <p:nvPr/>
        </p:nvSpPr>
        <p:spPr>
          <a:xfrm>
            <a:off x="6819191" y="5926527"/>
            <a:ext cx="538609" cy="215444"/>
          </a:xfrm>
          <a:prstGeom prst="rect">
            <a:avLst/>
          </a:prstGeom>
          <a:noFill/>
        </p:spPr>
        <p:txBody>
          <a:bodyPr wrap="none" lIns="0" tIns="0" rIns="0" bIns="0" rtlCol="0" anchor="t">
            <a:spAutoFit/>
          </a:bodyPr>
          <a:lstStyle/>
          <a:p>
            <a:pPr algn="ctr"/>
            <a:r>
              <a:rPr lang="zh-CN" altLang="en-US" sz="1400" dirty="0">
                <a:solidFill>
                  <a:schemeClr val="tx1">
                    <a:lumMod val="75000"/>
                    <a:lumOff val="25000"/>
                  </a:schemeClr>
                </a:solidFill>
              </a:rPr>
              <a:t>关键词</a:t>
            </a:r>
          </a:p>
        </p:txBody>
      </p:sp>
      <p:sp>
        <p:nvSpPr>
          <p:cNvPr id="9" name="菱形 8">
            <a:extLst>
              <a:ext uri="{FF2B5EF4-FFF2-40B4-BE49-F238E27FC236}">
                <a16:creationId xmlns:a16="http://schemas.microsoft.com/office/drawing/2014/main" id="{51EFFDEA-3DA5-4808-B407-E9155C506ED8}"/>
              </a:ext>
            </a:extLst>
          </p:cNvPr>
          <p:cNvSpPr/>
          <p:nvPr/>
        </p:nvSpPr>
        <p:spPr>
          <a:xfrm rot="1044891" flipH="1">
            <a:off x="4110880" y="5888072"/>
            <a:ext cx="136290" cy="212186"/>
          </a:xfrm>
          <a:custGeom>
            <a:avLst/>
            <a:gdLst>
              <a:gd name="connsiteX0" fmla="*/ 0 w 621962"/>
              <a:gd name="connsiteY0" fmla="*/ 310981 h 621962"/>
              <a:gd name="connsiteX1" fmla="*/ 310981 w 621962"/>
              <a:gd name="connsiteY1" fmla="*/ 0 h 621962"/>
              <a:gd name="connsiteX2" fmla="*/ 621962 w 621962"/>
              <a:gd name="connsiteY2" fmla="*/ 310981 h 621962"/>
              <a:gd name="connsiteX3" fmla="*/ 310981 w 621962"/>
              <a:gd name="connsiteY3" fmla="*/ 621962 h 621962"/>
              <a:gd name="connsiteX4" fmla="*/ 0 w 621962"/>
              <a:gd name="connsiteY4" fmla="*/ 310981 h 621962"/>
              <a:gd name="connsiteX0" fmla="*/ 0 w 621962"/>
              <a:gd name="connsiteY0" fmla="*/ 310981 h 621962"/>
              <a:gd name="connsiteX1" fmla="*/ 310981 w 621962"/>
              <a:gd name="connsiteY1" fmla="*/ 0 h 621962"/>
              <a:gd name="connsiteX2" fmla="*/ 621962 w 621962"/>
              <a:gd name="connsiteY2" fmla="*/ 310981 h 621962"/>
              <a:gd name="connsiteX3" fmla="*/ 310981 w 621962"/>
              <a:gd name="connsiteY3" fmla="*/ 621962 h 621962"/>
              <a:gd name="connsiteX4" fmla="*/ 91440 w 621962"/>
              <a:gd name="connsiteY4" fmla="*/ 402421 h 621962"/>
              <a:gd name="connsiteX0" fmla="*/ 0 w 621962"/>
              <a:gd name="connsiteY0" fmla="*/ 310981 h 621962"/>
              <a:gd name="connsiteX1" fmla="*/ 310981 w 621962"/>
              <a:gd name="connsiteY1" fmla="*/ 0 h 621962"/>
              <a:gd name="connsiteX2" fmla="*/ 621962 w 621962"/>
              <a:gd name="connsiteY2" fmla="*/ 310981 h 621962"/>
              <a:gd name="connsiteX3" fmla="*/ 310981 w 621962"/>
              <a:gd name="connsiteY3" fmla="*/ 621962 h 621962"/>
              <a:gd name="connsiteX0" fmla="*/ 0 w 310981"/>
              <a:gd name="connsiteY0" fmla="*/ 0 h 621962"/>
              <a:gd name="connsiteX1" fmla="*/ 310981 w 310981"/>
              <a:gd name="connsiteY1" fmla="*/ 310981 h 621962"/>
              <a:gd name="connsiteX2" fmla="*/ 0 w 310981"/>
              <a:gd name="connsiteY2" fmla="*/ 621962 h 621962"/>
            </a:gdLst>
            <a:ahLst/>
            <a:cxnLst>
              <a:cxn ang="0">
                <a:pos x="connsiteX0" y="connsiteY0"/>
              </a:cxn>
              <a:cxn ang="0">
                <a:pos x="connsiteX1" y="connsiteY1"/>
              </a:cxn>
              <a:cxn ang="0">
                <a:pos x="connsiteX2" y="connsiteY2"/>
              </a:cxn>
            </a:cxnLst>
            <a:rect l="l" t="t" r="r" b="b"/>
            <a:pathLst>
              <a:path w="310981" h="621962">
                <a:moveTo>
                  <a:pt x="0" y="0"/>
                </a:moveTo>
                <a:lnTo>
                  <a:pt x="310981" y="310981"/>
                </a:lnTo>
                <a:lnTo>
                  <a:pt x="0" y="621962"/>
                </a:lnTo>
              </a:path>
            </a:pathLst>
          </a:custGeom>
          <a:noFill/>
          <a:ln w="285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51" name="菱形 8">
            <a:extLst>
              <a:ext uri="{FF2B5EF4-FFF2-40B4-BE49-F238E27FC236}">
                <a16:creationId xmlns:a16="http://schemas.microsoft.com/office/drawing/2014/main" id="{16BB3AA5-2C8F-44BC-A529-6B41313D3A88}"/>
              </a:ext>
            </a:extLst>
          </p:cNvPr>
          <p:cNvSpPr/>
          <p:nvPr/>
        </p:nvSpPr>
        <p:spPr>
          <a:xfrm flipH="1">
            <a:off x="6115731" y="6033990"/>
            <a:ext cx="136290" cy="212186"/>
          </a:xfrm>
          <a:custGeom>
            <a:avLst/>
            <a:gdLst>
              <a:gd name="connsiteX0" fmla="*/ 0 w 621962"/>
              <a:gd name="connsiteY0" fmla="*/ 310981 h 621962"/>
              <a:gd name="connsiteX1" fmla="*/ 310981 w 621962"/>
              <a:gd name="connsiteY1" fmla="*/ 0 h 621962"/>
              <a:gd name="connsiteX2" fmla="*/ 621962 w 621962"/>
              <a:gd name="connsiteY2" fmla="*/ 310981 h 621962"/>
              <a:gd name="connsiteX3" fmla="*/ 310981 w 621962"/>
              <a:gd name="connsiteY3" fmla="*/ 621962 h 621962"/>
              <a:gd name="connsiteX4" fmla="*/ 0 w 621962"/>
              <a:gd name="connsiteY4" fmla="*/ 310981 h 621962"/>
              <a:gd name="connsiteX0" fmla="*/ 0 w 621962"/>
              <a:gd name="connsiteY0" fmla="*/ 310981 h 621962"/>
              <a:gd name="connsiteX1" fmla="*/ 310981 w 621962"/>
              <a:gd name="connsiteY1" fmla="*/ 0 h 621962"/>
              <a:gd name="connsiteX2" fmla="*/ 621962 w 621962"/>
              <a:gd name="connsiteY2" fmla="*/ 310981 h 621962"/>
              <a:gd name="connsiteX3" fmla="*/ 310981 w 621962"/>
              <a:gd name="connsiteY3" fmla="*/ 621962 h 621962"/>
              <a:gd name="connsiteX4" fmla="*/ 91440 w 621962"/>
              <a:gd name="connsiteY4" fmla="*/ 402421 h 621962"/>
              <a:gd name="connsiteX0" fmla="*/ 0 w 621962"/>
              <a:gd name="connsiteY0" fmla="*/ 310981 h 621962"/>
              <a:gd name="connsiteX1" fmla="*/ 310981 w 621962"/>
              <a:gd name="connsiteY1" fmla="*/ 0 h 621962"/>
              <a:gd name="connsiteX2" fmla="*/ 621962 w 621962"/>
              <a:gd name="connsiteY2" fmla="*/ 310981 h 621962"/>
              <a:gd name="connsiteX3" fmla="*/ 310981 w 621962"/>
              <a:gd name="connsiteY3" fmla="*/ 621962 h 621962"/>
              <a:gd name="connsiteX0" fmla="*/ 0 w 310981"/>
              <a:gd name="connsiteY0" fmla="*/ 0 h 621962"/>
              <a:gd name="connsiteX1" fmla="*/ 310981 w 310981"/>
              <a:gd name="connsiteY1" fmla="*/ 310981 h 621962"/>
              <a:gd name="connsiteX2" fmla="*/ 0 w 310981"/>
              <a:gd name="connsiteY2" fmla="*/ 621962 h 621962"/>
            </a:gdLst>
            <a:ahLst/>
            <a:cxnLst>
              <a:cxn ang="0">
                <a:pos x="connsiteX0" y="connsiteY0"/>
              </a:cxn>
              <a:cxn ang="0">
                <a:pos x="connsiteX1" y="connsiteY1"/>
              </a:cxn>
              <a:cxn ang="0">
                <a:pos x="connsiteX2" y="connsiteY2"/>
              </a:cxn>
            </a:cxnLst>
            <a:rect l="l" t="t" r="r" b="b"/>
            <a:pathLst>
              <a:path w="310981" h="621962">
                <a:moveTo>
                  <a:pt x="0" y="0"/>
                </a:moveTo>
                <a:lnTo>
                  <a:pt x="310981" y="310981"/>
                </a:lnTo>
                <a:lnTo>
                  <a:pt x="0" y="621962"/>
                </a:lnTo>
              </a:path>
            </a:pathLst>
          </a:custGeom>
          <a:noFill/>
          <a:ln w="285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52" name="菱形 8">
            <a:extLst>
              <a:ext uri="{FF2B5EF4-FFF2-40B4-BE49-F238E27FC236}">
                <a16:creationId xmlns:a16="http://schemas.microsoft.com/office/drawing/2014/main" id="{B6DF97CF-2509-44C5-8F3D-D233455DE4F5}"/>
              </a:ext>
            </a:extLst>
          </p:cNvPr>
          <p:cNvSpPr/>
          <p:nvPr/>
        </p:nvSpPr>
        <p:spPr>
          <a:xfrm rot="20752444" flipH="1">
            <a:off x="8116143" y="5845210"/>
            <a:ext cx="136290" cy="212186"/>
          </a:xfrm>
          <a:custGeom>
            <a:avLst/>
            <a:gdLst>
              <a:gd name="connsiteX0" fmla="*/ 0 w 621962"/>
              <a:gd name="connsiteY0" fmla="*/ 310981 h 621962"/>
              <a:gd name="connsiteX1" fmla="*/ 310981 w 621962"/>
              <a:gd name="connsiteY1" fmla="*/ 0 h 621962"/>
              <a:gd name="connsiteX2" fmla="*/ 621962 w 621962"/>
              <a:gd name="connsiteY2" fmla="*/ 310981 h 621962"/>
              <a:gd name="connsiteX3" fmla="*/ 310981 w 621962"/>
              <a:gd name="connsiteY3" fmla="*/ 621962 h 621962"/>
              <a:gd name="connsiteX4" fmla="*/ 0 w 621962"/>
              <a:gd name="connsiteY4" fmla="*/ 310981 h 621962"/>
              <a:gd name="connsiteX0" fmla="*/ 0 w 621962"/>
              <a:gd name="connsiteY0" fmla="*/ 310981 h 621962"/>
              <a:gd name="connsiteX1" fmla="*/ 310981 w 621962"/>
              <a:gd name="connsiteY1" fmla="*/ 0 h 621962"/>
              <a:gd name="connsiteX2" fmla="*/ 621962 w 621962"/>
              <a:gd name="connsiteY2" fmla="*/ 310981 h 621962"/>
              <a:gd name="connsiteX3" fmla="*/ 310981 w 621962"/>
              <a:gd name="connsiteY3" fmla="*/ 621962 h 621962"/>
              <a:gd name="connsiteX4" fmla="*/ 91440 w 621962"/>
              <a:gd name="connsiteY4" fmla="*/ 402421 h 621962"/>
              <a:gd name="connsiteX0" fmla="*/ 0 w 621962"/>
              <a:gd name="connsiteY0" fmla="*/ 310981 h 621962"/>
              <a:gd name="connsiteX1" fmla="*/ 310981 w 621962"/>
              <a:gd name="connsiteY1" fmla="*/ 0 h 621962"/>
              <a:gd name="connsiteX2" fmla="*/ 621962 w 621962"/>
              <a:gd name="connsiteY2" fmla="*/ 310981 h 621962"/>
              <a:gd name="connsiteX3" fmla="*/ 310981 w 621962"/>
              <a:gd name="connsiteY3" fmla="*/ 621962 h 621962"/>
              <a:gd name="connsiteX0" fmla="*/ 0 w 310981"/>
              <a:gd name="connsiteY0" fmla="*/ 0 h 621962"/>
              <a:gd name="connsiteX1" fmla="*/ 310981 w 310981"/>
              <a:gd name="connsiteY1" fmla="*/ 310981 h 621962"/>
              <a:gd name="connsiteX2" fmla="*/ 0 w 310981"/>
              <a:gd name="connsiteY2" fmla="*/ 621962 h 621962"/>
            </a:gdLst>
            <a:ahLst/>
            <a:cxnLst>
              <a:cxn ang="0">
                <a:pos x="connsiteX0" y="connsiteY0"/>
              </a:cxn>
              <a:cxn ang="0">
                <a:pos x="connsiteX1" y="connsiteY1"/>
              </a:cxn>
              <a:cxn ang="0">
                <a:pos x="connsiteX2" y="connsiteY2"/>
              </a:cxn>
            </a:cxnLst>
            <a:rect l="l" t="t" r="r" b="b"/>
            <a:pathLst>
              <a:path w="310981" h="621962">
                <a:moveTo>
                  <a:pt x="0" y="0"/>
                </a:moveTo>
                <a:lnTo>
                  <a:pt x="310981" y="310981"/>
                </a:lnTo>
                <a:lnTo>
                  <a:pt x="0" y="621962"/>
                </a:lnTo>
              </a:path>
            </a:pathLst>
          </a:custGeom>
          <a:noFill/>
          <a:ln w="285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53" name="菱形 8">
            <a:extLst>
              <a:ext uri="{FF2B5EF4-FFF2-40B4-BE49-F238E27FC236}">
                <a16:creationId xmlns:a16="http://schemas.microsoft.com/office/drawing/2014/main" id="{21EB4A65-2CBF-4001-BE42-9ECD5C3D2853}"/>
              </a:ext>
            </a:extLst>
          </p:cNvPr>
          <p:cNvSpPr/>
          <p:nvPr/>
        </p:nvSpPr>
        <p:spPr>
          <a:xfrm rot="10466489" flipH="1">
            <a:off x="4558554" y="5021296"/>
            <a:ext cx="136290" cy="212186"/>
          </a:xfrm>
          <a:custGeom>
            <a:avLst/>
            <a:gdLst>
              <a:gd name="connsiteX0" fmla="*/ 0 w 621962"/>
              <a:gd name="connsiteY0" fmla="*/ 310981 h 621962"/>
              <a:gd name="connsiteX1" fmla="*/ 310981 w 621962"/>
              <a:gd name="connsiteY1" fmla="*/ 0 h 621962"/>
              <a:gd name="connsiteX2" fmla="*/ 621962 w 621962"/>
              <a:gd name="connsiteY2" fmla="*/ 310981 h 621962"/>
              <a:gd name="connsiteX3" fmla="*/ 310981 w 621962"/>
              <a:gd name="connsiteY3" fmla="*/ 621962 h 621962"/>
              <a:gd name="connsiteX4" fmla="*/ 0 w 621962"/>
              <a:gd name="connsiteY4" fmla="*/ 310981 h 621962"/>
              <a:gd name="connsiteX0" fmla="*/ 0 w 621962"/>
              <a:gd name="connsiteY0" fmla="*/ 310981 h 621962"/>
              <a:gd name="connsiteX1" fmla="*/ 310981 w 621962"/>
              <a:gd name="connsiteY1" fmla="*/ 0 h 621962"/>
              <a:gd name="connsiteX2" fmla="*/ 621962 w 621962"/>
              <a:gd name="connsiteY2" fmla="*/ 310981 h 621962"/>
              <a:gd name="connsiteX3" fmla="*/ 310981 w 621962"/>
              <a:gd name="connsiteY3" fmla="*/ 621962 h 621962"/>
              <a:gd name="connsiteX4" fmla="*/ 91440 w 621962"/>
              <a:gd name="connsiteY4" fmla="*/ 402421 h 621962"/>
              <a:gd name="connsiteX0" fmla="*/ 0 w 621962"/>
              <a:gd name="connsiteY0" fmla="*/ 310981 h 621962"/>
              <a:gd name="connsiteX1" fmla="*/ 310981 w 621962"/>
              <a:gd name="connsiteY1" fmla="*/ 0 h 621962"/>
              <a:gd name="connsiteX2" fmla="*/ 621962 w 621962"/>
              <a:gd name="connsiteY2" fmla="*/ 310981 h 621962"/>
              <a:gd name="connsiteX3" fmla="*/ 310981 w 621962"/>
              <a:gd name="connsiteY3" fmla="*/ 621962 h 621962"/>
              <a:gd name="connsiteX0" fmla="*/ 0 w 310981"/>
              <a:gd name="connsiteY0" fmla="*/ 0 h 621962"/>
              <a:gd name="connsiteX1" fmla="*/ 310981 w 310981"/>
              <a:gd name="connsiteY1" fmla="*/ 310981 h 621962"/>
              <a:gd name="connsiteX2" fmla="*/ 0 w 310981"/>
              <a:gd name="connsiteY2" fmla="*/ 621962 h 621962"/>
            </a:gdLst>
            <a:ahLst/>
            <a:cxnLst>
              <a:cxn ang="0">
                <a:pos x="connsiteX0" y="connsiteY0"/>
              </a:cxn>
              <a:cxn ang="0">
                <a:pos x="connsiteX1" y="connsiteY1"/>
              </a:cxn>
              <a:cxn ang="0">
                <a:pos x="connsiteX2" y="connsiteY2"/>
              </a:cxn>
            </a:cxnLst>
            <a:rect l="l" t="t" r="r" b="b"/>
            <a:pathLst>
              <a:path w="310981" h="621962">
                <a:moveTo>
                  <a:pt x="0" y="0"/>
                </a:moveTo>
                <a:lnTo>
                  <a:pt x="310981" y="310981"/>
                </a:lnTo>
                <a:lnTo>
                  <a:pt x="0" y="621962"/>
                </a:lnTo>
              </a:path>
            </a:pathLst>
          </a:custGeom>
          <a:noFill/>
          <a:ln w="285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54" name="菱形 8">
            <a:extLst>
              <a:ext uri="{FF2B5EF4-FFF2-40B4-BE49-F238E27FC236}">
                <a16:creationId xmlns:a16="http://schemas.microsoft.com/office/drawing/2014/main" id="{20548EF4-4089-46E0-AD58-3BE7D73A740C}"/>
              </a:ext>
            </a:extLst>
          </p:cNvPr>
          <p:cNvSpPr/>
          <p:nvPr/>
        </p:nvSpPr>
        <p:spPr>
          <a:xfrm rot="11168432" flipH="1">
            <a:off x="7443136" y="5016823"/>
            <a:ext cx="136290" cy="212186"/>
          </a:xfrm>
          <a:custGeom>
            <a:avLst/>
            <a:gdLst>
              <a:gd name="connsiteX0" fmla="*/ 0 w 621962"/>
              <a:gd name="connsiteY0" fmla="*/ 310981 h 621962"/>
              <a:gd name="connsiteX1" fmla="*/ 310981 w 621962"/>
              <a:gd name="connsiteY1" fmla="*/ 0 h 621962"/>
              <a:gd name="connsiteX2" fmla="*/ 621962 w 621962"/>
              <a:gd name="connsiteY2" fmla="*/ 310981 h 621962"/>
              <a:gd name="connsiteX3" fmla="*/ 310981 w 621962"/>
              <a:gd name="connsiteY3" fmla="*/ 621962 h 621962"/>
              <a:gd name="connsiteX4" fmla="*/ 0 w 621962"/>
              <a:gd name="connsiteY4" fmla="*/ 310981 h 621962"/>
              <a:gd name="connsiteX0" fmla="*/ 0 w 621962"/>
              <a:gd name="connsiteY0" fmla="*/ 310981 h 621962"/>
              <a:gd name="connsiteX1" fmla="*/ 310981 w 621962"/>
              <a:gd name="connsiteY1" fmla="*/ 0 h 621962"/>
              <a:gd name="connsiteX2" fmla="*/ 621962 w 621962"/>
              <a:gd name="connsiteY2" fmla="*/ 310981 h 621962"/>
              <a:gd name="connsiteX3" fmla="*/ 310981 w 621962"/>
              <a:gd name="connsiteY3" fmla="*/ 621962 h 621962"/>
              <a:gd name="connsiteX4" fmla="*/ 91440 w 621962"/>
              <a:gd name="connsiteY4" fmla="*/ 402421 h 621962"/>
              <a:gd name="connsiteX0" fmla="*/ 0 w 621962"/>
              <a:gd name="connsiteY0" fmla="*/ 310981 h 621962"/>
              <a:gd name="connsiteX1" fmla="*/ 310981 w 621962"/>
              <a:gd name="connsiteY1" fmla="*/ 0 h 621962"/>
              <a:gd name="connsiteX2" fmla="*/ 621962 w 621962"/>
              <a:gd name="connsiteY2" fmla="*/ 310981 h 621962"/>
              <a:gd name="connsiteX3" fmla="*/ 310981 w 621962"/>
              <a:gd name="connsiteY3" fmla="*/ 621962 h 621962"/>
              <a:gd name="connsiteX0" fmla="*/ 0 w 310981"/>
              <a:gd name="connsiteY0" fmla="*/ 0 h 621962"/>
              <a:gd name="connsiteX1" fmla="*/ 310981 w 310981"/>
              <a:gd name="connsiteY1" fmla="*/ 310981 h 621962"/>
              <a:gd name="connsiteX2" fmla="*/ 0 w 310981"/>
              <a:gd name="connsiteY2" fmla="*/ 621962 h 621962"/>
            </a:gdLst>
            <a:ahLst/>
            <a:cxnLst>
              <a:cxn ang="0">
                <a:pos x="connsiteX0" y="connsiteY0"/>
              </a:cxn>
              <a:cxn ang="0">
                <a:pos x="connsiteX1" y="connsiteY1"/>
              </a:cxn>
              <a:cxn ang="0">
                <a:pos x="connsiteX2" y="connsiteY2"/>
              </a:cxn>
            </a:cxnLst>
            <a:rect l="l" t="t" r="r" b="b"/>
            <a:pathLst>
              <a:path w="310981" h="621962">
                <a:moveTo>
                  <a:pt x="0" y="0"/>
                </a:moveTo>
                <a:lnTo>
                  <a:pt x="310981" y="310981"/>
                </a:lnTo>
                <a:lnTo>
                  <a:pt x="0" y="621962"/>
                </a:lnTo>
              </a:path>
            </a:pathLst>
          </a:custGeom>
          <a:noFill/>
          <a:ln w="285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cxnSp>
        <p:nvCxnSpPr>
          <p:cNvPr id="13" name="直接连接符 12">
            <a:extLst>
              <a:ext uri="{FF2B5EF4-FFF2-40B4-BE49-F238E27FC236}">
                <a16:creationId xmlns:a16="http://schemas.microsoft.com/office/drawing/2014/main" id="{8CDCA939-8153-470B-BDD2-C12B662F2F17}"/>
              </a:ext>
            </a:extLst>
          </p:cNvPr>
          <p:cNvCxnSpPr/>
          <p:nvPr/>
        </p:nvCxnSpPr>
        <p:spPr>
          <a:xfrm flipH="1">
            <a:off x="4074361" y="4048125"/>
            <a:ext cx="1029632" cy="0"/>
          </a:xfrm>
          <a:prstGeom prst="line">
            <a:avLst/>
          </a:prstGeom>
          <a:ln w="12700">
            <a:solidFill>
              <a:schemeClr val="accent1">
                <a:lumMod val="75000"/>
                <a:lumOff val="25000"/>
              </a:schemeClr>
            </a:solidFill>
            <a:prstDash val="lgDash"/>
          </a:ln>
        </p:spPr>
        <p:style>
          <a:lnRef idx="1">
            <a:schemeClr val="accent1"/>
          </a:lnRef>
          <a:fillRef idx="0">
            <a:schemeClr val="accent1"/>
          </a:fillRef>
          <a:effectRef idx="0">
            <a:schemeClr val="accent1"/>
          </a:effectRef>
          <a:fontRef idx="minor">
            <a:schemeClr val="tx1"/>
          </a:fontRef>
        </p:style>
      </p:cxnSp>
      <p:sp>
        <p:nvSpPr>
          <p:cNvPr id="15" name="矩形: 圆角 14">
            <a:extLst>
              <a:ext uri="{FF2B5EF4-FFF2-40B4-BE49-F238E27FC236}">
                <a16:creationId xmlns:a16="http://schemas.microsoft.com/office/drawing/2014/main" id="{2748C183-25F1-45C0-AEFC-A488626999D5}"/>
              </a:ext>
            </a:extLst>
          </p:cNvPr>
          <p:cNvSpPr/>
          <p:nvPr/>
        </p:nvSpPr>
        <p:spPr>
          <a:xfrm>
            <a:off x="2201231" y="3781326"/>
            <a:ext cx="1720220" cy="529153"/>
          </a:xfrm>
          <a:prstGeom prst="roundRect">
            <a:avLst/>
          </a:prstGeom>
          <a:solidFill>
            <a:schemeClr val="accent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58" name="文本框 57">
            <a:extLst>
              <a:ext uri="{FF2B5EF4-FFF2-40B4-BE49-F238E27FC236}">
                <a16:creationId xmlns:a16="http://schemas.microsoft.com/office/drawing/2014/main" id="{5DC449E2-3869-4100-91C4-8F425A37C61D}"/>
              </a:ext>
            </a:extLst>
          </p:cNvPr>
          <p:cNvSpPr txBox="1"/>
          <p:nvPr/>
        </p:nvSpPr>
        <p:spPr>
          <a:xfrm>
            <a:off x="2800245" y="3935808"/>
            <a:ext cx="538812" cy="215525"/>
          </a:xfrm>
          <a:prstGeom prst="rect">
            <a:avLst/>
          </a:prstGeom>
          <a:noFill/>
        </p:spPr>
        <p:txBody>
          <a:bodyPr wrap="none" lIns="0" tIns="0" rIns="0" bIns="0" rtlCol="0" anchor="t">
            <a:spAutoFit/>
          </a:bodyPr>
          <a:lstStyle/>
          <a:p>
            <a:pPr algn="ctr"/>
            <a:r>
              <a:rPr lang="zh-CN" altLang="en-US" sz="1600" dirty="0">
                <a:solidFill>
                  <a:schemeClr val="bg1"/>
                </a:solidFill>
              </a:rPr>
              <a:t>关键词</a:t>
            </a:r>
          </a:p>
        </p:txBody>
      </p:sp>
      <p:cxnSp>
        <p:nvCxnSpPr>
          <p:cNvPr id="59" name="直接连接符 58">
            <a:extLst>
              <a:ext uri="{FF2B5EF4-FFF2-40B4-BE49-F238E27FC236}">
                <a16:creationId xmlns:a16="http://schemas.microsoft.com/office/drawing/2014/main" id="{ACDD70F4-EEC3-4D60-8E77-7B7611AD68C5}"/>
              </a:ext>
            </a:extLst>
          </p:cNvPr>
          <p:cNvCxnSpPr/>
          <p:nvPr/>
        </p:nvCxnSpPr>
        <p:spPr>
          <a:xfrm>
            <a:off x="7318271" y="3309174"/>
            <a:ext cx="1029632" cy="0"/>
          </a:xfrm>
          <a:prstGeom prst="line">
            <a:avLst/>
          </a:prstGeom>
          <a:ln w="12700">
            <a:solidFill>
              <a:schemeClr val="accent1">
                <a:lumMod val="50000"/>
                <a:lumOff val="50000"/>
              </a:schemeClr>
            </a:solidFill>
            <a:prstDash val="lgDash"/>
          </a:ln>
        </p:spPr>
        <p:style>
          <a:lnRef idx="1">
            <a:schemeClr val="accent1"/>
          </a:lnRef>
          <a:fillRef idx="0">
            <a:schemeClr val="accent1"/>
          </a:fillRef>
          <a:effectRef idx="0">
            <a:schemeClr val="accent1"/>
          </a:effectRef>
          <a:fontRef idx="minor">
            <a:schemeClr val="tx1"/>
          </a:fontRef>
        </p:style>
      </p:cxnSp>
      <p:sp>
        <p:nvSpPr>
          <p:cNvPr id="60" name="矩形: 圆角 59">
            <a:extLst>
              <a:ext uri="{FF2B5EF4-FFF2-40B4-BE49-F238E27FC236}">
                <a16:creationId xmlns:a16="http://schemas.microsoft.com/office/drawing/2014/main" id="{22477086-1745-45B6-8853-0D01D27834A1}"/>
              </a:ext>
            </a:extLst>
          </p:cNvPr>
          <p:cNvSpPr/>
          <p:nvPr/>
        </p:nvSpPr>
        <p:spPr>
          <a:xfrm flipH="1">
            <a:off x="8500813" y="3042375"/>
            <a:ext cx="1720220" cy="529153"/>
          </a:xfrm>
          <a:prstGeom prst="roundRect">
            <a:avLst/>
          </a:prstGeom>
          <a:solidFill>
            <a:schemeClr val="accent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62" name="文本框 61">
            <a:extLst>
              <a:ext uri="{FF2B5EF4-FFF2-40B4-BE49-F238E27FC236}">
                <a16:creationId xmlns:a16="http://schemas.microsoft.com/office/drawing/2014/main" id="{62ABF098-D8E5-418E-97B4-A50F04A25A6A}"/>
              </a:ext>
            </a:extLst>
          </p:cNvPr>
          <p:cNvSpPr txBox="1"/>
          <p:nvPr/>
        </p:nvSpPr>
        <p:spPr>
          <a:xfrm>
            <a:off x="9091517" y="3199188"/>
            <a:ext cx="538812" cy="215525"/>
          </a:xfrm>
          <a:prstGeom prst="rect">
            <a:avLst/>
          </a:prstGeom>
          <a:noFill/>
        </p:spPr>
        <p:txBody>
          <a:bodyPr wrap="none" lIns="0" tIns="0" rIns="0" bIns="0" rtlCol="0" anchor="t">
            <a:spAutoFit/>
          </a:bodyPr>
          <a:lstStyle/>
          <a:p>
            <a:pPr algn="ctr"/>
            <a:r>
              <a:rPr lang="zh-CN" altLang="en-US" sz="1600" dirty="0">
                <a:solidFill>
                  <a:schemeClr val="bg1"/>
                </a:solidFill>
              </a:rPr>
              <a:t>关键词</a:t>
            </a:r>
          </a:p>
        </p:txBody>
      </p:sp>
      <p:cxnSp>
        <p:nvCxnSpPr>
          <p:cNvPr id="63" name="直接连接符 62">
            <a:extLst>
              <a:ext uri="{FF2B5EF4-FFF2-40B4-BE49-F238E27FC236}">
                <a16:creationId xmlns:a16="http://schemas.microsoft.com/office/drawing/2014/main" id="{8F053AFA-1214-409A-B468-20897DC80356}"/>
              </a:ext>
            </a:extLst>
          </p:cNvPr>
          <p:cNvCxnSpPr/>
          <p:nvPr/>
        </p:nvCxnSpPr>
        <p:spPr>
          <a:xfrm flipH="1">
            <a:off x="3566948" y="2453594"/>
            <a:ext cx="1029632" cy="0"/>
          </a:xfrm>
          <a:prstGeom prst="line">
            <a:avLst/>
          </a:prstGeom>
          <a:ln w="12700">
            <a:solidFill>
              <a:schemeClr val="accent1">
                <a:lumMod val="75000"/>
                <a:lumOff val="25000"/>
              </a:schemeClr>
            </a:solidFill>
            <a:prstDash val="lgDash"/>
          </a:ln>
        </p:spPr>
        <p:style>
          <a:lnRef idx="1">
            <a:schemeClr val="accent1"/>
          </a:lnRef>
          <a:fillRef idx="0">
            <a:schemeClr val="accent1"/>
          </a:fillRef>
          <a:effectRef idx="0">
            <a:schemeClr val="accent1"/>
          </a:effectRef>
          <a:fontRef idx="minor">
            <a:schemeClr val="tx1"/>
          </a:fontRef>
        </p:style>
      </p:cxnSp>
      <p:sp>
        <p:nvSpPr>
          <p:cNvPr id="65" name="矩形: 圆角 64">
            <a:extLst>
              <a:ext uri="{FF2B5EF4-FFF2-40B4-BE49-F238E27FC236}">
                <a16:creationId xmlns:a16="http://schemas.microsoft.com/office/drawing/2014/main" id="{F01F5D8A-083B-4748-97F3-1F52BD7E7FB0}"/>
              </a:ext>
            </a:extLst>
          </p:cNvPr>
          <p:cNvSpPr/>
          <p:nvPr/>
        </p:nvSpPr>
        <p:spPr>
          <a:xfrm>
            <a:off x="1693818" y="2186795"/>
            <a:ext cx="1720220" cy="529153"/>
          </a:xfrm>
          <a:prstGeom prst="roundRect">
            <a:avLst/>
          </a:prstGeom>
          <a:solidFill>
            <a:schemeClr val="accent1">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66" name="文本框 65">
            <a:extLst>
              <a:ext uri="{FF2B5EF4-FFF2-40B4-BE49-F238E27FC236}">
                <a16:creationId xmlns:a16="http://schemas.microsoft.com/office/drawing/2014/main" id="{6580D5F4-39EB-4F77-B934-1529C99A1718}"/>
              </a:ext>
            </a:extLst>
          </p:cNvPr>
          <p:cNvSpPr txBox="1"/>
          <p:nvPr/>
        </p:nvSpPr>
        <p:spPr>
          <a:xfrm>
            <a:off x="2292832" y="2341277"/>
            <a:ext cx="538812" cy="215525"/>
          </a:xfrm>
          <a:prstGeom prst="rect">
            <a:avLst/>
          </a:prstGeom>
          <a:noFill/>
        </p:spPr>
        <p:txBody>
          <a:bodyPr wrap="none" lIns="0" tIns="0" rIns="0" bIns="0" rtlCol="0" anchor="t">
            <a:spAutoFit/>
          </a:bodyPr>
          <a:lstStyle/>
          <a:p>
            <a:pPr algn="ctr"/>
            <a:r>
              <a:rPr lang="zh-CN" altLang="en-US" sz="1600" dirty="0">
                <a:solidFill>
                  <a:schemeClr val="bg1"/>
                </a:solidFill>
              </a:rPr>
              <a:t>关键词</a:t>
            </a:r>
          </a:p>
        </p:txBody>
      </p:sp>
      <p:sp>
        <p:nvSpPr>
          <p:cNvPr id="68" name="椭圆 67">
            <a:extLst>
              <a:ext uri="{FF2B5EF4-FFF2-40B4-BE49-F238E27FC236}">
                <a16:creationId xmlns:a16="http://schemas.microsoft.com/office/drawing/2014/main" id="{1C53D64B-24B2-4707-ADC8-3CCE6D69C6BC}"/>
              </a:ext>
            </a:extLst>
          </p:cNvPr>
          <p:cNvSpPr/>
          <p:nvPr/>
        </p:nvSpPr>
        <p:spPr>
          <a:xfrm>
            <a:off x="5809536" y="1072632"/>
            <a:ext cx="694127" cy="694127"/>
          </a:xfrm>
          <a:prstGeom prst="ellipse">
            <a:avLst/>
          </a:prstGeom>
          <a:solidFill>
            <a:schemeClr val="accent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800" dirty="0">
                <a:solidFill>
                  <a:schemeClr val="bg1"/>
                </a:solidFill>
                <a:latin typeface="+mj-ea"/>
                <a:ea typeface="+mj-ea"/>
              </a:rPr>
              <a:t>关键词</a:t>
            </a:r>
          </a:p>
        </p:txBody>
      </p:sp>
      <p:sp>
        <p:nvSpPr>
          <p:cNvPr id="69" name="椭圆 68">
            <a:extLst>
              <a:ext uri="{FF2B5EF4-FFF2-40B4-BE49-F238E27FC236}">
                <a16:creationId xmlns:a16="http://schemas.microsoft.com/office/drawing/2014/main" id="{681F1B13-F457-42E0-9417-0CE5E2210CEB}"/>
              </a:ext>
            </a:extLst>
          </p:cNvPr>
          <p:cNvSpPr/>
          <p:nvPr/>
        </p:nvSpPr>
        <p:spPr>
          <a:xfrm>
            <a:off x="6712704" y="1397609"/>
            <a:ext cx="589802" cy="589802"/>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800" dirty="0">
                <a:solidFill>
                  <a:schemeClr val="bg1"/>
                </a:solidFill>
                <a:latin typeface="+mj-ea"/>
                <a:ea typeface="+mj-ea"/>
              </a:rPr>
              <a:t>关键词</a:t>
            </a:r>
          </a:p>
        </p:txBody>
      </p:sp>
      <p:sp>
        <p:nvSpPr>
          <p:cNvPr id="70" name="椭圆 69">
            <a:extLst>
              <a:ext uri="{FF2B5EF4-FFF2-40B4-BE49-F238E27FC236}">
                <a16:creationId xmlns:a16="http://schemas.microsoft.com/office/drawing/2014/main" id="{E8D41784-115A-427A-BBAF-F983906E4343}"/>
              </a:ext>
            </a:extLst>
          </p:cNvPr>
          <p:cNvSpPr/>
          <p:nvPr/>
        </p:nvSpPr>
        <p:spPr>
          <a:xfrm>
            <a:off x="5103993" y="713653"/>
            <a:ext cx="579273" cy="579273"/>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800" dirty="0">
                <a:solidFill>
                  <a:schemeClr val="bg1"/>
                </a:solidFill>
                <a:latin typeface="+mj-ea"/>
                <a:ea typeface="+mj-ea"/>
              </a:rPr>
              <a:t>关键词</a:t>
            </a:r>
          </a:p>
        </p:txBody>
      </p:sp>
    </p:spTree>
    <p:extLst>
      <p:ext uri="{BB962C8B-B14F-4D97-AF65-F5344CB8AC3E}">
        <p14:creationId xmlns:p14="http://schemas.microsoft.com/office/powerpoint/2010/main" val="3755289390"/>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3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8" name="组合 67">
            <a:extLst>
              <a:ext uri="{FF2B5EF4-FFF2-40B4-BE49-F238E27FC236}">
                <a16:creationId xmlns:a16="http://schemas.microsoft.com/office/drawing/2014/main" id="{DC39C1A7-FC8E-4719-AD99-72C44BA69E31}"/>
              </a:ext>
            </a:extLst>
          </p:cNvPr>
          <p:cNvGrpSpPr/>
          <p:nvPr/>
        </p:nvGrpSpPr>
        <p:grpSpPr>
          <a:xfrm>
            <a:off x="4210050" y="1868031"/>
            <a:ext cx="3771900" cy="3867428"/>
            <a:chOff x="2457450" y="1868031"/>
            <a:chExt cx="3771900" cy="3867428"/>
          </a:xfrm>
        </p:grpSpPr>
        <p:sp>
          <p:nvSpPr>
            <p:cNvPr id="2" name="菱形 1">
              <a:extLst>
                <a:ext uri="{FF2B5EF4-FFF2-40B4-BE49-F238E27FC236}">
                  <a16:creationId xmlns:a16="http://schemas.microsoft.com/office/drawing/2014/main" id="{2CF57ADC-325A-48EA-88F9-BC7F5D83DA73}"/>
                </a:ext>
              </a:extLst>
            </p:cNvPr>
            <p:cNvSpPr/>
            <p:nvPr/>
          </p:nvSpPr>
          <p:spPr>
            <a:xfrm>
              <a:off x="2457450" y="3828589"/>
              <a:ext cx="3771900" cy="1906870"/>
            </a:xfrm>
            <a:prstGeom prst="diamond">
              <a:avLst/>
            </a:prstGeom>
            <a:gradFill>
              <a:gsLst>
                <a:gs pos="100000">
                  <a:schemeClr val="accent1"/>
                </a:gs>
                <a:gs pos="0">
                  <a:schemeClr val="accent1">
                    <a:lumMod val="50000"/>
                    <a:lumOff val="50000"/>
                  </a:schemeClr>
                </a:gs>
              </a:gsLst>
              <a:lin ang="16200000" scaled="0"/>
            </a:gradFill>
            <a:ln w="19050">
              <a:solidFill>
                <a:schemeClr val="accent1">
                  <a:lumMod val="25000"/>
                  <a:lumOff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39" name="菱形 38">
              <a:extLst>
                <a:ext uri="{FF2B5EF4-FFF2-40B4-BE49-F238E27FC236}">
                  <a16:creationId xmlns:a16="http://schemas.microsoft.com/office/drawing/2014/main" id="{9FA5EFAD-785E-4192-8B19-2D5336546BB4}"/>
                </a:ext>
              </a:extLst>
            </p:cNvPr>
            <p:cNvSpPr/>
            <p:nvPr/>
          </p:nvSpPr>
          <p:spPr>
            <a:xfrm>
              <a:off x="2820681" y="3448952"/>
              <a:ext cx="3045438" cy="1539610"/>
            </a:xfrm>
            <a:prstGeom prst="diamond">
              <a:avLst/>
            </a:prstGeom>
            <a:gradFill>
              <a:gsLst>
                <a:gs pos="100000">
                  <a:schemeClr val="accent1"/>
                </a:gs>
                <a:gs pos="0">
                  <a:schemeClr val="accent1">
                    <a:lumMod val="50000"/>
                    <a:lumOff val="50000"/>
                  </a:schemeClr>
                </a:gs>
              </a:gsLst>
              <a:lin ang="16200000" scaled="0"/>
            </a:gradFill>
            <a:ln w="19050">
              <a:solidFill>
                <a:schemeClr val="accent1">
                  <a:lumMod val="25000"/>
                  <a:lumOff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40" name="菱形 39">
              <a:extLst>
                <a:ext uri="{FF2B5EF4-FFF2-40B4-BE49-F238E27FC236}">
                  <a16:creationId xmlns:a16="http://schemas.microsoft.com/office/drawing/2014/main" id="{9151B39A-8562-421A-8630-38879B7ED1DC}"/>
                </a:ext>
              </a:extLst>
            </p:cNvPr>
            <p:cNvSpPr/>
            <p:nvPr/>
          </p:nvSpPr>
          <p:spPr>
            <a:xfrm>
              <a:off x="3177062" y="3082220"/>
              <a:ext cx="2332676" cy="1179275"/>
            </a:xfrm>
            <a:prstGeom prst="diamond">
              <a:avLst/>
            </a:prstGeom>
            <a:gradFill>
              <a:gsLst>
                <a:gs pos="100000">
                  <a:schemeClr val="accent1"/>
                </a:gs>
                <a:gs pos="0">
                  <a:schemeClr val="accent1">
                    <a:lumMod val="50000"/>
                    <a:lumOff val="50000"/>
                  </a:schemeClr>
                </a:gs>
              </a:gsLst>
              <a:lin ang="16200000" scaled="0"/>
            </a:gradFill>
            <a:ln w="19050">
              <a:solidFill>
                <a:schemeClr val="accent1">
                  <a:lumMod val="25000"/>
                  <a:lumOff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41" name="菱形 40">
              <a:extLst>
                <a:ext uri="{FF2B5EF4-FFF2-40B4-BE49-F238E27FC236}">
                  <a16:creationId xmlns:a16="http://schemas.microsoft.com/office/drawing/2014/main" id="{0FEFF48F-42EA-4140-8C09-8DD48B581910}"/>
                </a:ext>
              </a:extLst>
            </p:cNvPr>
            <p:cNvSpPr/>
            <p:nvPr/>
          </p:nvSpPr>
          <p:spPr>
            <a:xfrm>
              <a:off x="3538071" y="2707262"/>
              <a:ext cx="1610657" cy="814262"/>
            </a:xfrm>
            <a:prstGeom prst="diamond">
              <a:avLst/>
            </a:prstGeom>
            <a:gradFill>
              <a:gsLst>
                <a:gs pos="100000">
                  <a:schemeClr val="accent1"/>
                </a:gs>
                <a:gs pos="0">
                  <a:schemeClr val="accent1">
                    <a:lumMod val="50000"/>
                    <a:lumOff val="50000"/>
                  </a:schemeClr>
                </a:gs>
              </a:gsLst>
              <a:lin ang="16200000" scaled="0"/>
            </a:gradFill>
            <a:ln w="19050">
              <a:solidFill>
                <a:schemeClr val="accent1">
                  <a:lumMod val="25000"/>
                  <a:lumOff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42" name="菱形 41">
              <a:extLst>
                <a:ext uri="{FF2B5EF4-FFF2-40B4-BE49-F238E27FC236}">
                  <a16:creationId xmlns:a16="http://schemas.microsoft.com/office/drawing/2014/main" id="{815B2DCE-D785-490B-97F2-16365979B15D}"/>
                </a:ext>
              </a:extLst>
            </p:cNvPr>
            <p:cNvSpPr/>
            <p:nvPr/>
          </p:nvSpPr>
          <p:spPr>
            <a:xfrm>
              <a:off x="3836598" y="2397912"/>
              <a:ext cx="1013603" cy="512422"/>
            </a:xfrm>
            <a:prstGeom prst="diamond">
              <a:avLst/>
            </a:prstGeom>
            <a:gradFill>
              <a:gsLst>
                <a:gs pos="100000">
                  <a:schemeClr val="accent1"/>
                </a:gs>
                <a:gs pos="0">
                  <a:schemeClr val="accent1">
                    <a:lumMod val="50000"/>
                    <a:lumOff val="50000"/>
                  </a:schemeClr>
                </a:gs>
              </a:gsLst>
              <a:lin ang="16200000" scaled="0"/>
            </a:gradFill>
            <a:ln w="19050">
              <a:solidFill>
                <a:schemeClr val="accent1">
                  <a:lumMod val="25000"/>
                  <a:lumOff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46" name="等腰三角形 45">
              <a:extLst>
                <a:ext uri="{FF2B5EF4-FFF2-40B4-BE49-F238E27FC236}">
                  <a16:creationId xmlns:a16="http://schemas.microsoft.com/office/drawing/2014/main" id="{E2F7E035-9FA2-43F6-A5F2-59D28F26B9AA}"/>
                </a:ext>
              </a:extLst>
            </p:cNvPr>
            <p:cNvSpPr/>
            <p:nvPr/>
          </p:nvSpPr>
          <p:spPr>
            <a:xfrm rot="19980548">
              <a:off x="4099403" y="1911226"/>
              <a:ext cx="578216" cy="921209"/>
            </a:xfrm>
            <a:prstGeom prst="triangle">
              <a:avLst>
                <a:gd name="adj" fmla="val 82198"/>
              </a:avLst>
            </a:prstGeom>
            <a:gradFill>
              <a:gsLst>
                <a:gs pos="100000">
                  <a:schemeClr val="accent1">
                    <a:lumMod val="25000"/>
                    <a:lumOff val="75000"/>
                  </a:schemeClr>
                </a:gs>
                <a:gs pos="0">
                  <a:schemeClr val="accent1">
                    <a:lumMod val="50000"/>
                    <a:lumOff val="50000"/>
                  </a:schemeClr>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47" name="等腰三角形 46">
              <a:extLst>
                <a:ext uri="{FF2B5EF4-FFF2-40B4-BE49-F238E27FC236}">
                  <a16:creationId xmlns:a16="http://schemas.microsoft.com/office/drawing/2014/main" id="{57A7A9B6-8F31-4290-9CA7-B1C03E9107B1}"/>
                </a:ext>
              </a:extLst>
            </p:cNvPr>
            <p:cNvSpPr/>
            <p:nvPr/>
          </p:nvSpPr>
          <p:spPr>
            <a:xfrm rot="1619452" flipH="1">
              <a:off x="4009182" y="1911226"/>
              <a:ext cx="578216" cy="921209"/>
            </a:xfrm>
            <a:prstGeom prst="triangle">
              <a:avLst>
                <a:gd name="adj" fmla="val 82198"/>
              </a:avLst>
            </a:prstGeom>
            <a:gradFill>
              <a:gsLst>
                <a:gs pos="100000">
                  <a:schemeClr val="accent1">
                    <a:lumMod val="50000"/>
                    <a:lumOff val="50000"/>
                  </a:schemeClr>
                </a:gs>
                <a:gs pos="0">
                  <a:schemeClr val="accent1">
                    <a:lumMod val="75000"/>
                    <a:lumOff val="25000"/>
                  </a:schemeClr>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cxnSp>
          <p:nvCxnSpPr>
            <p:cNvPr id="19" name="直接连接符 18">
              <a:extLst>
                <a:ext uri="{FF2B5EF4-FFF2-40B4-BE49-F238E27FC236}">
                  <a16:creationId xmlns:a16="http://schemas.microsoft.com/office/drawing/2014/main" id="{A5BED7E5-7A26-42B8-94BD-5C0D6F0AA4E7}"/>
                </a:ext>
              </a:extLst>
            </p:cNvPr>
            <p:cNvCxnSpPr>
              <a:cxnSpLocks/>
              <a:endCxn id="2" idx="1"/>
            </p:cNvCxnSpPr>
            <p:nvPr/>
          </p:nvCxnSpPr>
          <p:spPr>
            <a:xfrm flipH="1">
              <a:off x="2457450" y="1868031"/>
              <a:ext cx="1885950" cy="2913993"/>
            </a:xfrm>
            <a:prstGeom prst="line">
              <a:avLst/>
            </a:prstGeom>
            <a:ln w="19050">
              <a:solidFill>
                <a:schemeClr val="accent1">
                  <a:lumMod val="25000"/>
                  <a:lumOff val="75000"/>
                </a:schemeClr>
              </a:solidFill>
            </a:ln>
          </p:spPr>
          <p:style>
            <a:lnRef idx="1">
              <a:schemeClr val="accent1"/>
            </a:lnRef>
            <a:fillRef idx="0">
              <a:schemeClr val="accent1"/>
            </a:fillRef>
            <a:effectRef idx="0">
              <a:schemeClr val="accent1"/>
            </a:effectRef>
            <a:fontRef idx="minor">
              <a:schemeClr val="tx1"/>
            </a:fontRef>
          </p:style>
        </p:cxnSp>
        <p:cxnSp>
          <p:nvCxnSpPr>
            <p:cNvPr id="38" name="直接连接符 37">
              <a:extLst>
                <a:ext uri="{FF2B5EF4-FFF2-40B4-BE49-F238E27FC236}">
                  <a16:creationId xmlns:a16="http://schemas.microsoft.com/office/drawing/2014/main" id="{EE4F471F-C169-4ACB-AB40-6516E0EE14EF}"/>
                </a:ext>
              </a:extLst>
            </p:cNvPr>
            <p:cNvCxnSpPr>
              <a:cxnSpLocks/>
            </p:cNvCxnSpPr>
            <p:nvPr/>
          </p:nvCxnSpPr>
          <p:spPr>
            <a:xfrm>
              <a:off x="4343400" y="1868031"/>
              <a:ext cx="1885950" cy="2913993"/>
            </a:xfrm>
            <a:prstGeom prst="line">
              <a:avLst/>
            </a:prstGeom>
            <a:ln w="19050">
              <a:solidFill>
                <a:schemeClr val="accent1">
                  <a:lumMod val="25000"/>
                  <a:lumOff val="75000"/>
                </a:schemeClr>
              </a:solidFill>
            </a:ln>
          </p:spPr>
          <p:style>
            <a:lnRef idx="1">
              <a:schemeClr val="accent1"/>
            </a:lnRef>
            <a:fillRef idx="0">
              <a:schemeClr val="accent1"/>
            </a:fillRef>
            <a:effectRef idx="0">
              <a:schemeClr val="accent1"/>
            </a:effectRef>
            <a:fontRef idx="minor">
              <a:schemeClr val="tx1"/>
            </a:fontRef>
          </p:style>
        </p:cxnSp>
      </p:grpSp>
      <p:grpSp>
        <p:nvGrpSpPr>
          <p:cNvPr id="70" name="组合 69">
            <a:extLst>
              <a:ext uri="{FF2B5EF4-FFF2-40B4-BE49-F238E27FC236}">
                <a16:creationId xmlns:a16="http://schemas.microsoft.com/office/drawing/2014/main" id="{608DB9E2-EC54-436C-9FE7-A579B149507E}"/>
              </a:ext>
            </a:extLst>
          </p:cNvPr>
          <p:cNvGrpSpPr/>
          <p:nvPr/>
        </p:nvGrpSpPr>
        <p:grpSpPr>
          <a:xfrm>
            <a:off x="6793992" y="2496575"/>
            <a:ext cx="4570369" cy="664285"/>
            <a:chOff x="6793992" y="2496575"/>
            <a:chExt cx="4570369" cy="664285"/>
          </a:xfrm>
        </p:grpSpPr>
        <p:cxnSp>
          <p:nvCxnSpPr>
            <p:cNvPr id="51" name="直接连接符 50">
              <a:extLst>
                <a:ext uri="{FF2B5EF4-FFF2-40B4-BE49-F238E27FC236}">
                  <a16:creationId xmlns:a16="http://schemas.microsoft.com/office/drawing/2014/main" id="{5C08FEB2-EBB2-475D-9C03-A398786B8544}"/>
                </a:ext>
              </a:extLst>
            </p:cNvPr>
            <p:cNvCxnSpPr>
              <a:cxnSpLocks/>
            </p:cNvCxnSpPr>
            <p:nvPr/>
          </p:nvCxnSpPr>
          <p:spPr>
            <a:xfrm>
              <a:off x="6793992" y="2631368"/>
              <a:ext cx="1899138" cy="0"/>
            </a:xfrm>
            <a:prstGeom prst="line">
              <a:avLst/>
            </a:prstGeom>
            <a:ln w="12700">
              <a:gradFill>
                <a:gsLst>
                  <a:gs pos="0">
                    <a:schemeClr val="accent1">
                      <a:alpha val="0"/>
                    </a:schemeClr>
                  </a:gs>
                  <a:gs pos="100000">
                    <a:schemeClr val="accent1"/>
                  </a:gs>
                </a:gsLst>
                <a:lin ang="0" scaled="0"/>
              </a:gradFill>
            </a:ln>
          </p:spPr>
          <p:style>
            <a:lnRef idx="1">
              <a:schemeClr val="accent1"/>
            </a:lnRef>
            <a:fillRef idx="0">
              <a:schemeClr val="accent1"/>
            </a:fillRef>
            <a:effectRef idx="0">
              <a:schemeClr val="accent1"/>
            </a:effectRef>
            <a:fontRef idx="minor">
              <a:schemeClr val="tx1"/>
            </a:fontRef>
          </p:style>
        </p:cxnSp>
        <p:sp>
          <p:nvSpPr>
            <p:cNvPr id="55" name="椭圆 54">
              <a:extLst>
                <a:ext uri="{FF2B5EF4-FFF2-40B4-BE49-F238E27FC236}">
                  <a16:creationId xmlns:a16="http://schemas.microsoft.com/office/drawing/2014/main" id="{3FD0F4CF-1EA2-4615-BE09-27CAA8A22489}"/>
                </a:ext>
              </a:extLst>
            </p:cNvPr>
            <p:cNvSpPr/>
            <p:nvPr/>
          </p:nvSpPr>
          <p:spPr>
            <a:xfrm>
              <a:off x="8618586" y="2587781"/>
              <a:ext cx="87174" cy="87174"/>
            </a:xfrm>
            <a:prstGeom prst="ellipse">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59" name="文本框 58">
              <a:extLst>
                <a:ext uri="{FF2B5EF4-FFF2-40B4-BE49-F238E27FC236}">
                  <a16:creationId xmlns:a16="http://schemas.microsoft.com/office/drawing/2014/main" id="{5F8096AB-CE8B-4473-AA86-5AF75EBFF264}"/>
                </a:ext>
              </a:extLst>
            </p:cNvPr>
            <p:cNvSpPr txBox="1"/>
            <p:nvPr/>
          </p:nvSpPr>
          <p:spPr>
            <a:xfrm>
              <a:off x="8898918" y="2496575"/>
              <a:ext cx="1154162" cy="276999"/>
            </a:xfrm>
            <a:prstGeom prst="rect">
              <a:avLst/>
            </a:prstGeom>
            <a:noFill/>
          </p:spPr>
          <p:txBody>
            <a:bodyPr wrap="none" lIns="0" tIns="0" rIns="0" bIns="0" rtlCol="0" anchor="t">
              <a:spAutoFit/>
            </a:bodyPr>
            <a:lstStyle/>
            <a:p>
              <a:r>
                <a:rPr lang="zh-CN" altLang="en-US" dirty="0">
                  <a:solidFill>
                    <a:schemeClr val="accent1"/>
                  </a:solidFill>
                  <a:latin typeface="+mj-ea"/>
                  <a:ea typeface="+mj-ea"/>
                </a:rPr>
                <a:t>关键词标题</a:t>
              </a:r>
            </a:p>
          </p:txBody>
        </p:sp>
        <p:sp>
          <p:nvSpPr>
            <p:cNvPr id="60" name="文本框 59">
              <a:extLst>
                <a:ext uri="{FF2B5EF4-FFF2-40B4-BE49-F238E27FC236}">
                  <a16:creationId xmlns:a16="http://schemas.microsoft.com/office/drawing/2014/main" id="{DC01D63A-E8C7-4625-B50B-6ABBCEBC1712}"/>
                </a:ext>
              </a:extLst>
            </p:cNvPr>
            <p:cNvSpPr txBox="1"/>
            <p:nvPr/>
          </p:nvSpPr>
          <p:spPr>
            <a:xfrm>
              <a:off x="8898918" y="2773574"/>
              <a:ext cx="2465443" cy="387286"/>
            </a:xfrm>
            <a:prstGeom prst="rect">
              <a:avLst/>
            </a:prstGeom>
            <a:noFill/>
          </p:spPr>
          <p:txBody>
            <a:bodyPr wrap="square" lIns="0" tIns="0" rIns="0" bIns="0" rtlCol="0" anchor="t">
              <a:spAutoFit/>
            </a:bodyPr>
            <a:lstStyle/>
            <a:p>
              <a:pPr>
                <a:lnSpc>
                  <a:spcPct val="130000"/>
                </a:lnSpc>
              </a:pPr>
              <a:r>
                <a:rPr lang="en-US" altLang="zh-CN" sz="1000" b="0" dirty="0">
                  <a:solidFill>
                    <a:schemeClr val="tx1">
                      <a:lumMod val="75000"/>
                      <a:lumOff val="25000"/>
                    </a:schemeClr>
                  </a:solidFill>
                  <a:effectLst/>
                  <a:latin typeface="+mn-ea"/>
                </a:rPr>
                <a:t>Lorem ipsum dolor sit amet, consectetur adipisicing elit, sed do eiusmod tempor</a:t>
              </a:r>
              <a:endParaRPr lang="zh-CN" altLang="en-US" sz="1000" b="0" dirty="0">
                <a:solidFill>
                  <a:schemeClr val="tx1">
                    <a:lumMod val="75000"/>
                    <a:lumOff val="25000"/>
                  </a:schemeClr>
                </a:solidFill>
                <a:effectLst/>
                <a:latin typeface="+mn-ea"/>
              </a:endParaRPr>
            </a:p>
          </p:txBody>
        </p:sp>
      </p:grpSp>
      <p:grpSp>
        <p:nvGrpSpPr>
          <p:cNvPr id="71" name="组合 70">
            <a:extLst>
              <a:ext uri="{FF2B5EF4-FFF2-40B4-BE49-F238E27FC236}">
                <a16:creationId xmlns:a16="http://schemas.microsoft.com/office/drawing/2014/main" id="{38F85934-C551-4626-A8EF-734DF7E669B9}"/>
              </a:ext>
            </a:extLst>
          </p:cNvPr>
          <p:cNvGrpSpPr/>
          <p:nvPr/>
        </p:nvGrpSpPr>
        <p:grpSpPr>
          <a:xfrm flipH="1">
            <a:off x="893672" y="2981207"/>
            <a:ext cx="4215384" cy="664285"/>
            <a:chOff x="7148977" y="2496575"/>
            <a:chExt cx="4215384" cy="664285"/>
          </a:xfrm>
        </p:grpSpPr>
        <p:cxnSp>
          <p:nvCxnSpPr>
            <p:cNvPr id="72" name="直接连接符 71">
              <a:extLst>
                <a:ext uri="{FF2B5EF4-FFF2-40B4-BE49-F238E27FC236}">
                  <a16:creationId xmlns:a16="http://schemas.microsoft.com/office/drawing/2014/main" id="{D2FD7857-B795-4CA1-85BB-53B42CE08D68}"/>
                </a:ext>
              </a:extLst>
            </p:cNvPr>
            <p:cNvCxnSpPr>
              <a:cxnSpLocks/>
            </p:cNvCxnSpPr>
            <p:nvPr/>
          </p:nvCxnSpPr>
          <p:spPr>
            <a:xfrm>
              <a:off x="7148977" y="2631368"/>
              <a:ext cx="1544153" cy="0"/>
            </a:xfrm>
            <a:prstGeom prst="line">
              <a:avLst/>
            </a:prstGeom>
            <a:ln w="12700">
              <a:gradFill>
                <a:gsLst>
                  <a:gs pos="0">
                    <a:schemeClr val="accent1">
                      <a:alpha val="0"/>
                    </a:schemeClr>
                  </a:gs>
                  <a:gs pos="100000">
                    <a:schemeClr val="accent1"/>
                  </a:gs>
                </a:gsLst>
                <a:lin ang="0" scaled="0"/>
              </a:gradFill>
            </a:ln>
          </p:spPr>
          <p:style>
            <a:lnRef idx="1">
              <a:schemeClr val="accent1"/>
            </a:lnRef>
            <a:fillRef idx="0">
              <a:schemeClr val="accent1"/>
            </a:fillRef>
            <a:effectRef idx="0">
              <a:schemeClr val="accent1"/>
            </a:effectRef>
            <a:fontRef idx="minor">
              <a:schemeClr val="tx1"/>
            </a:fontRef>
          </p:style>
        </p:cxnSp>
        <p:sp>
          <p:nvSpPr>
            <p:cNvPr id="73" name="椭圆 72">
              <a:extLst>
                <a:ext uri="{FF2B5EF4-FFF2-40B4-BE49-F238E27FC236}">
                  <a16:creationId xmlns:a16="http://schemas.microsoft.com/office/drawing/2014/main" id="{D3F45BB6-581E-4156-83B8-638F8F1C074F}"/>
                </a:ext>
              </a:extLst>
            </p:cNvPr>
            <p:cNvSpPr/>
            <p:nvPr/>
          </p:nvSpPr>
          <p:spPr>
            <a:xfrm>
              <a:off x="8618586" y="2587781"/>
              <a:ext cx="87174" cy="87174"/>
            </a:xfrm>
            <a:prstGeom prst="ellipse">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74" name="文本框 73">
              <a:extLst>
                <a:ext uri="{FF2B5EF4-FFF2-40B4-BE49-F238E27FC236}">
                  <a16:creationId xmlns:a16="http://schemas.microsoft.com/office/drawing/2014/main" id="{49C08B5A-ABA6-46CA-9CFD-63AF0F99D9E5}"/>
                </a:ext>
              </a:extLst>
            </p:cNvPr>
            <p:cNvSpPr txBox="1"/>
            <p:nvPr/>
          </p:nvSpPr>
          <p:spPr>
            <a:xfrm>
              <a:off x="8898918" y="2496575"/>
              <a:ext cx="1154162" cy="276999"/>
            </a:xfrm>
            <a:prstGeom prst="rect">
              <a:avLst/>
            </a:prstGeom>
            <a:noFill/>
          </p:spPr>
          <p:txBody>
            <a:bodyPr wrap="none" lIns="0" tIns="0" rIns="0" bIns="0" rtlCol="0" anchor="t">
              <a:spAutoFit/>
            </a:bodyPr>
            <a:lstStyle/>
            <a:p>
              <a:r>
                <a:rPr lang="zh-CN" altLang="en-US" dirty="0">
                  <a:solidFill>
                    <a:schemeClr val="accent1"/>
                  </a:solidFill>
                  <a:latin typeface="+mj-ea"/>
                  <a:ea typeface="+mj-ea"/>
                </a:rPr>
                <a:t>关键词标题</a:t>
              </a:r>
            </a:p>
          </p:txBody>
        </p:sp>
        <p:sp>
          <p:nvSpPr>
            <p:cNvPr id="75" name="文本框 74">
              <a:extLst>
                <a:ext uri="{FF2B5EF4-FFF2-40B4-BE49-F238E27FC236}">
                  <a16:creationId xmlns:a16="http://schemas.microsoft.com/office/drawing/2014/main" id="{825F5EBE-D6AF-4863-A7A2-790863A8A703}"/>
                </a:ext>
              </a:extLst>
            </p:cNvPr>
            <p:cNvSpPr txBox="1"/>
            <p:nvPr/>
          </p:nvSpPr>
          <p:spPr>
            <a:xfrm>
              <a:off x="8898918" y="2773574"/>
              <a:ext cx="2465443" cy="387286"/>
            </a:xfrm>
            <a:prstGeom prst="rect">
              <a:avLst/>
            </a:prstGeom>
            <a:noFill/>
          </p:spPr>
          <p:txBody>
            <a:bodyPr wrap="square" lIns="0" tIns="0" rIns="0" bIns="0" rtlCol="0" anchor="t">
              <a:spAutoFit/>
            </a:bodyPr>
            <a:lstStyle/>
            <a:p>
              <a:pPr>
                <a:lnSpc>
                  <a:spcPct val="130000"/>
                </a:lnSpc>
              </a:pPr>
              <a:r>
                <a:rPr lang="en-US" altLang="zh-CN" sz="1000" b="0" dirty="0">
                  <a:solidFill>
                    <a:schemeClr val="tx1">
                      <a:lumMod val="75000"/>
                      <a:lumOff val="25000"/>
                    </a:schemeClr>
                  </a:solidFill>
                  <a:effectLst/>
                  <a:latin typeface="+mn-ea"/>
                </a:rPr>
                <a:t>Lorem ipsum dolor sit amet, consectetur adipisicing elit, sed do eiusmod tempor</a:t>
              </a:r>
              <a:endParaRPr lang="zh-CN" altLang="en-US" sz="1000" b="0" dirty="0">
                <a:solidFill>
                  <a:schemeClr val="tx1">
                    <a:lumMod val="75000"/>
                    <a:lumOff val="25000"/>
                  </a:schemeClr>
                </a:solidFill>
                <a:effectLst/>
                <a:latin typeface="+mn-ea"/>
              </a:endParaRPr>
            </a:p>
          </p:txBody>
        </p:sp>
      </p:grpSp>
      <p:grpSp>
        <p:nvGrpSpPr>
          <p:cNvPr id="77" name="组合 76">
            <a:extLst>
              <a:ext uri="{FF2B5EF4-FFF2-40B4-BE49-F238E27FC236}">
                <a16:creationId xmlns:a16="http://schemas.microsoft.com/office/drawing/2014/main" id="{145500F1-C0AA-480D-8053-E65CBD08CBEB}"/>
              </a:ext>
            </a:extLst>
          </p:cNvPr>
          <p:cNvGrpSpPr/>
          <p:nvPr/>
        </p:nvGrpSpPr>
        <p:grpSpPr>
          <a:xfrm>
            <a:off x="7534656" y="3520703"/>
            <a:ext cx="3829705" cy="664285"/>
            <a:chOff x="7534656" y="2496575"/>
            <a:chExt cx="3829705" cy="664285"/>
          </a:xfrm>
        </p:grpSpPr>
        <p:cxnSp>
          <p:nvCxnSpPr>
            <p:cNvPr id="78" name="直接连接符 77">
              <a:extLst>
                <a:ext uri="{FF2B5EF4-FFF2-40B4-BE49-F238E27FC236}">
                  <a16:creationId xmlns:a16="http://schemas.microsoft.com/office/drawing/2014/main" id="{CA24B00B-CFAE-4834-9954-8A3F73BFDDF4}"/>
                </a:ext>
              </a:extLst>
            </p:cNvPr>
            <p:cNvCxnSpPr>
              <a:cxnSpLocks/>
            </p:cNvCxnSpPr>
            <p:nvPr/>
          </p:nvCxnSpPr>
          <p:spPr>
            <a:xfrm>
              <a:off x="7534656" y="2631368"/>
              <a:ext cx="1158474" cy="0"/>
            </a:xfrm>
            <a:prstGeom prst="line">
              <a:avLst/>
            </a:prstGeom>
            <a:ln w="12700">
              <a:gradFill>
                <a:gsLst>
                  <a:gs pos="0">
                    <a:schemeClr val="accent1">
                      <a:alpha val="0"/>
                    </a:schemeClr>
                  </a:gs>
                  <a:gs pos="100000">
                    <a:schemeClr val="accent1"/>
                  </a:gs>
                </a:gsLst>
                <a:lin ang="0" scaled="0"/>
              </a:gradFill>
            </a:ln>
          </p:spPr>
          <p:style>
            <a:lnRef idx="1">
              <a:schemeClr val="accent1"/>
            </a:lnRef>
            <a:fillRef idx="0">
              <a:schemeClr val="accent1"/>
            </a:fillRef>
            <a:effectRef idx="0">
              <a:schemeClr val="accent1"/>
            </a:effectRef>
            <a:fontRef idx="minor">
              <a:schemeClr val="tx1"/>
            </a:fontRef>
          </p:style>
        </p:cxnSp>
        <p:sp>
          <p:nvSpPr>
            <p:cNvPr id="79" name="椭圆 78">
              <a:extLst>
                <a:ext uri="{FF2B5EF4-FFF2-40B4-BE49-F238E27FC236}">
                  <a16:creationId xmlns:a16="http://schemas.microsoft.com/office/drawing/2014/main" id="{54641909-17BA-436C-A48C-8C8A310B5EF3}"/>
                </a:ext>
              </a:extLst>
            </p:cNvPr>
            <p:cNvSpPr/>
            <p:nvPr/>
          </p:nvSpPr>
          <p:spPr>
            <a:xfrm>
              <a:off x="8618586" y="2587781"/>
              <a:ext cx="87174" cy="87174"/>
            </a:xfrm>
            <a:prstGeom prst="ellipse">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80" name="文本框 79">
              <a:extLst>
                <a:ext uri="{FF2B5EF4-FFF2-40B4-BE49-F238E27FC236}">
                  <a16:creationId xmlns:a16="http://schemas.microsoft.com/office/drawing/2014/main" id="{43505E06-841B-4258-913A-A1FE50C6F6BE}"/>
                </a:ext>
              </a:extLst>
            </p:cNvPr>
            <p:cNvSpPr txBox="1"/>
            <p:nvPr/>
          </p:nvSpPr>
          <p:spPr>
            <a:xfrm>
              <a:off x="8898918" y="2496575"/>
              <a:ext cx="1154162" cy="276999"/>
            </a:xfrm>
            <a:prstGeom prst="rect">
              <a:avLst/>
            </a:prstGeom>
            <a:noFill/>
          </p:spPr>
          <p:txBody>
            <a:bodyPr wrap="none" lIns="0" tIns="0" rIns="0" bIns="0" rtlCol="0" anchor="t">
              <a:spAutoFit/>
            </a:bodyPr>
            <a:lstStyle/>
            <a:p>
              <a:r>
                <a:rPr lang="zh-CN" altLang="en-US" dirty="0">
                  <a:solidFill>
                    <a:schemeClr val="accent1"/>
                  </a:solidFill>
                  <a:latin typeface="+mj-ea"/>
                  <a:ea typeface="+mj-ea"/>
                </a:rPr>
                <a:t>关键词标题</a:t>
              </a:r>
            </a:p>
          </p:txBody>
        </p:sp>
        <p:sp>
          <p:nvSpPr>
            <p:cNvPr id="81" name="文本框 80">
              <a:extLst>
                <a:ext uri="{FF2B5EF4-FFF2-40B4-BE49-F238E27FC236}">
                  <a16:creationId xmlns:a16="http://schemas.microsoft.com/office/drawing/2014/main" id="{6CF05F3F-ECDA-4077-8DC9-B3C2AE011EB3}"/>
                </a:ext>
              </a:extLst>
            </p:cNvPr>
            <p:cNvSpPr txBox="1"/>
            <p:nvPr/>
          </p:nvSpPr>
          <p:spPr>
            <a:xfrm>
              <a:off x="8898918" y="2773574"/>
              <a:ext cx="2465443" cy="387286"/>
            </a:xfrm>
            <a:prstGeom prst="rect">
              <a:avLst/>
            </a:prstGeom>
            <a:noFill/>
          </p:spPr>
          <p:txBody>
            <a:bodyPr wrap="square" lIns="0" tIns="0" rIns="0" bIns="0" rtlCol="0" anchor="t">
              <a:spAutoFit/>
            </a:bodyPr>
            <a:lstStyle/>
            <a:p>
              <a:pPr>
                <a:lnSpc>
                  <a:spcPct val="130000"/>
                </a:lnSpc>
              </a:pPr>
              <a:r>
                <a:rPr lang="en-US" altLang="zh-CN" sz="1000" b="0" dirty="0">
                  <a:solidFill>
                    <a:schemeClr val="tx1">
                      <a:lumMod val="75000"/>
                      <a:lumOff val="25000"/>
                    </a:schemeClr>
                  </a:solidFill>
                  <a:effectLst/>
                  <a:latin typeface="+mn-ea"/>
                </a:rPr>
                <a:t>Lorem ipsum dolor sit amet, consectetur adipisicing elit, sed do eiusmod tempor</a:t>
              </a:r>
              <a:endParaRPr lang="zh-CN" altLang="en-US" sz="1000" b="0" dirty="0">
                <a:solidFill>
                  <a:schemeClr val="tx1">
                    <a:lumMod val="75000"/>
                    <a:lumOff val="25000"/>
                  </a:schemeClr>
                </a:solidFill>
                <a:effectLst/>
                <a:latin typeface="+mn-ea"/>
              </a:endParaRPr>
            </a:p>
          </p:txBody>
        </p:sp>
      </p:grpSp>
      <p:grpSp>
        <p:nvGrpSpPr>
          <p:cNvPr id="83" name="组合 82">
            <a:extLst>
              <a:ext uri="{FF2B5EF4-FFF2-40B4-BE49-F238E27FC236}">
                <a16:creationId xmlns:a16="http://schemas.microsoft.com/office/drawing/2014/main" id="{81E066B0-5FF0-4A7E-BC12-EED657B3BEB3}"/>
              </a:ext>
            </a:extLst>
          </p:cNvPr>
          <p:cNvGrpSpPr/>
          <p:nvPr/>
        </p:nvGrpSpPr>
        <p:grpSpPr>
          <a:xfrm flipH="1">
            <a:off x="893672" y="4069343"/>
            <a:ext cx="3522880" cy="664285"/>
            <a:chOff x="7841481" y="2496575"/>
            <a:chExt cx="3522880" cy="664285"/>
          </a:xfrm>
        </p:grpSpPr>
        <p:cxnSp>
          <p:nvCxnSpPr>
            <p:cNvPr id="84" name="直接连接符 83">
              <a:extLst>
                <a:ext uri="{FF2B5EF4-FFF2-40B4-BE49-F238E27FC236}">
                  <a16:creationId xmlns:a16="http://schemas.microsoft.com/office/drawing/2014/main" id="{65250869-5ED8-4096-AB24-EE7C72647583}"/>
                </a:ext>
              </a:extLst>
            </p:cNvPr>
            <p:cNvCxnSpPr>
              <a:cxnSpLocks/>
            </p:cNvCxnSpPr>
            <p:nvPr/>
          </p:nvCxnSpPr>
          <p:spPr>
            <a:xfrm>
              <a:off x="7841481" y="2631368"/>
              <a:ext cx="851648" cy="0"/>
            </a:xfrm>
            <a:prstGeom prst="line">
              <a:avLst/>
            </a:prstGeom>
            <a:ln w="12700">
              <a:gradFill>
                <a:gsLst>
                  <a:gs pos="0">
                    <a:schemeClr val="accent1">
                      <a:alpha val="0"/>
                    </a:schemeClr>
                  </a:gs>
                  <a:gs pos="100000">
                    <a:schemeClr val="accent1"/>
                  </a:gs>
                </a:gsLst>
                <a:lin ang="0" scaled="0"/>
              </a:gradFill>
            </a:ln>
          </p:spPr>
          <p:style>
            <a:lnRef idx="1">
              <a:schemeClr val="accent1"/>
            </a:lnRef>
            <a:fillRef idx="0">
              <a:schemeClr val="accent1"/>
            </a:fillRef>
            <a:effectRef idx="0">
              <a:schemeClr val="accent1"/>
            </a:effectRef>
            <a:fontRef idx="minor">
              <a:schemeClr val="tx1"/>
            </a:fontRef>
          </p:style>
        </p:cxnSp>
        <p:sp>
          <p:nvSpPr>
            <p:cNvPr id="85" name="椭圆 84">
              <a:extLst>
                <a:ext uri="{FF2B5EF4-FFF2-40B4-BE49-F238E27FC236}">
                  <a16:creationId xmlns:a16="http://schemas.microsoft.com/office/drawing/2014/main" id="{36722A6D-1E5C-4175-B3F7-C110A29C9D70}"/>
                </a:ext>
              </a:extLst>
            </p:cNvPr>
            <p:cNvSpPr/>
            <p:nvPr/>
          </p:nvSpPr>
          <p:spPr>
            <a:xfrm>
              <a:off x="8618586" y="2587781"/>
              <a:ext cx="87174" cy="87174"/>
            </a:xfrm>
            <a:prstGeom prst="ellipse">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86" name="文本框 85">
              <a:extLst>
                <a:ext uri="{FF2B5EF4-FFF2-40B4-BE49-F238E27FC236}">
                  <a16:creationId xmlns:a16="http://schemas.microsoft.com/office/drawing/2014/main" id="{590E63F5-0240-4145-B2CB-D92073354216}"/>
                </a:ext>
              </a:extLst>
            </p:cNvPr>
            <p:cNvSpPr txBox="1"/>
            <p:nvPr/>
          </p:nvSpPr>
          <p:spPr>
            <a:xfrm>
              <a:off x="8898918" y="2496575"/>
              <a:ext cx="1154162" cy="276999"/>
            </a:xfrm>
            <a:prstGeom prst="rect">
              <a:avLst/>
            </a:prstGeom>
            <a:noFill/>
          </p:spPr>
          <p:txBody>
            <a:bodyPr wrap="none" lIns="0" tIns="0" rIns="0" bIns="0" rtlCol="0" anchor="t">
              <a:spAutoFit/>
            </a:bodyPr>
            <a:lstStyle/>
            <a:p>
              <a:r>
                <a:rPr lang="zh-CN" altLang="en-US" dirty="0">
                  <a:solidFill>
                    <a:schemeClr val="accent1"/>
                  </a:solidFill>
                  <a:latin typeface="+mj-ea"/>
                  <a:ea typeface="+mj-ea"/>
                </a:rPr>
                <a:t>关键词标题</a:t>
              </a:r>
            </a:p>
          </p:txBody>
        </p:sp>
        <p:sp>
          <p:nvSpPr>
            <p:cNvPr id="87" name="文本框 86">
              <a:extLst>
                <a:ext uri="{FF2B5EF4-FFF2-40B4-BE49-F238E27FC236}">
                  <a16:creationId xmlns:a16="http://schemas.microsoft.com/office/drawing/2014/main" id="{7B93C668-6435-4D83-BF9F-2F913F2E83EA}"/>
                </a:ext>
              </a:extLst>
            </p:cNvPr>
            <p:cNvSpPr txBox="1"/>
            <p:nvPr/>
          </p:nvSpPr>
          <p:spPr>
            <a:xfrm>
              <a:off x="8898918" y="2773574"/>
              <a:ext cx="2465443" cy="387286"/>
            </a:xfrm>
            <a:prstGeom prst="rect">
              <a:avLst/>
            </a:prstGeom>
            <a:noFill/>
          </p:spPr>
          <p:txBody>
            <a:bodyPr wrap="square" lIns="0" tIns="0" rIns="0" bIns="0" rtlCol="0" anchor="t">
              <a:spAutoFit/>
            </a:bodyPr>
            <a:lstStyle/>
            <a:p>
              <a:pPr>
                <a:lnSpc>
                  <a:spcPct val="130000"/>
                </a:lnSpc>
              </a:pPr>
              <a:r>
                <a:rPr lang="en-US" altLang="zh-CN" sz="1000" b="0" dirty="0">
                  <a:solidFill>
                    <a:schemeClr val="tx1">
                      <a:lumMod val="75000"/>
                      <a:lumOff val="25000"/>
                    </a:schemeClr>
                  </a:solidFill>
                  <a:effectLst/>
                  <a:latin typeface="+mn-ea"/>
                </a:rPr>
                <a:t>Lorem ipsum dolor sit amet, consectetur adipisicing elit, sed do eiusmod tempor</a:t>
              </a:r>
              <a:endParaRPr lang="zh-CN" altLang="en-US" sz="1000" b="0" dirty="0">
                <a:solidFill>
                  <a:schemeClr val="tx1">
                    <a:lumMod val="75000"/>
                    <a:lumOff val="25000"/>
                  </a:schemeClr>
                </a:solidFill>
                <a:effectLst/>
                <a:latin typeface="+mn-ea"/>
              </a:endParaRPr>
            </a:p>
          </p:txBody>
        </p:sp>
      </p:grpSp>
      <p:grpSp>
        <p:nvGrpSpPr>
          <p:cNvPr id="89" name="组合 88">
            <a:extLst>
              <a:ext uri="{FF2B5EF4-FFF2-40B4-BE49-F238E27FC236}">
                <a16:creationId xmlns:a16="http://schemas.microsoft.com/office/drawing/2014/main" id="{A5B6631E-883F-4CA6-BEE0-E8980072A681}"/>
              </a:ext>
            </a:extLst>
          </p:cNvPr>
          <p:cNvGrpSpPr/>
          <p:nvPr/>
        </p:nvGrpSpPr>
        <p:grpSpPr>
          <a:xfrm>
            <a:off x="8113893" y="4636037"/>
            <a:ext cx="3250468" cy="664285"/>
            <a:chOff x="8113893" y="2496575"/>
            <a:chExt cx="3250468" cy="664285"/>
          </a:xfrm>
        </p:grpSpPr>
        <p:cxnSp>
          <p:nvCxnSpPr>
            <p:cNvPr id="90" name="直接连接符 89">
              <a:extLst>
                <a:ext uri="{FF2B5EF4-FFF2-40B4-BE49-F238E27FC236}">
                  <a16:creationId xmlns:a16="http://schemas.microsoft.com/office/drawing/2014/main" id="{7B926D90-C505-471D-AB98-6A86220913CB}"/>
                </a:ext>
              </a:extLst>
            </p:cNvPr>
            <p:cNvCxnSpPr>
              <a:cxnSpLocks/>
            </p:cNvCxnSpPr>
            <p:nvPr/>
          </p:nvCxnSpPr>
          <p:spPr>
            <a:xfrm>
              <a:off x="8113893" y="2631368"/>
              <a:ext cx="579237" cy="0"/>
            </a:xfrm>
            <a:prstGeom prst="line">
              <a:avLst/>
            </a:prstGeom>
            <a:ln w="12700">
              <a:gradFill>
                <a:gsLst>
                  <a:gs pos="0">
                    <a:schemeClr val="accent1">
                      <a:alpha val="0"/>
                    </a:schemeClr>
                  </a:gs>
                  <a:gs pos="100000">
                    <a:schemeClr val="accent1"/>
                  </a:gs>
                </a:gsLst>
                <a:lin ang="0" scaled="0"/>
              </a:gradFill>
            </a:ln>
          </p:spPr>
          <p:style>
            <a:lnRef idx="1">
              <a:schemeClr val="accent1"/>
            </a:lnRef>
            <a:fillRef idx="0">
              <a:schemeClr val="accent1"/>
            </a:fillRef>
            <a:effectRef idx="0">
              <a:schemeClr val="accent1"/>
            </a:effectRef>
            <a:fontRef idx="minor">
              <a:schemeClr val="tx1"/>
            </a:fontRef>
          </p:style>
        </p:cxnSp>
        <p:sp>
          <p:nvSpPr>
            <p:cNvPr id="91" name="椭圆 90">
              <a:extLst>
                <a:ext uri="{FF2B5EF4-FFF2-40B4-BE49-F238E27FC236}">
                  <a16:creationId xmlns:a16="http://schemas.microsoft.com/office/drawing/2014/main" id="{8D074A2D-3546-4A1B-BA03-5ECC7B41B2FB}"/>
                </a:ext>
              </a:extLst>
            </p:cNvPr>
            <p:cNvSpPr/>
            <p:nvPr/>
          </p:nvSpPr>
          <p:spPr>
            <a:xfrm>
              <a:off x="8618586" y="2587781"/>
              <a:ext cx="87174" cy="87174"/>
            </a:xfrm>
            <a:prstGeom prst="ellipse">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92" name="文本框 91">
              <a:extLst>
                <a:ext uri="{FF2B5EF4-FFF2-40B4-BE49-F238E27FC236}">
                  <a16:creationId xmlns:a16="http://schemas.microsoft.com/office/drawing/2014/main" id="{0DC8BA5A-7423-40A4-B030-31FA8BEA272D}"/>
                </a:ext>
              </a:extLst>
            </p:cNvPr>
            <p:cNvSpPr txBox="1"/>
            <p:nvPr/>
          </p:nvSpPr>
          <p:spPr>
            <a:xfrm>
              <a:off x="8898918" y="2496575"/>
              <a:ext cx="1154162" cy="276999"/>
            </a:xfrm>
            <a:prstGeom prst="rect">
              <a:avLst/>
            </a:prstGeom>
            <a:noFill/>
          </p:spPr>
          <p:txBody>
            <a:bodyPr wrap="none" lIns="0" tIns="0" rIns="0" bIns="0" rtlCol="0" anchor="t">
              <a:spAutoFit/>
            </a:bodyPr>
            <a:lstStyle/>
            <a:p>
              <a:r>
                <a:rPr lang="zh-CN" altLang="en-US" dirty="0">
                  <a:solidFill>
                    <a:schemeClr val="accent1"/>
                  </a:solidFill>
                  <a:latin typeface="+mj-ea"/>
                  <a:ea typeface="+mj-ea"/>
                </a:rPr>
                <a:t>关键词标题</a:t>
              </a:r>
            </a:p>
          </p:txBody>
        </p:sp>
        <p:sp>
          <p:nvSpPr>
            <p:cNvPr id="93" name="文本框 92">
              <a:extLst>
                <a:ext uri="{FF2B5EF4-FFF2-40B4-BE49-F238E27FC236}">
                  <a16:creationId xmlns:a16="http://schemas.microsoft.com/office/drawing/2014/main" id="{3653C46C-453D-4427-B3AC-E5E627AD7C92}"/>
                </a:ext>
              </a:extLst>
            </p:cNvPr>
            <p:cNvSpPr txBox="1"/>
            <p:nvPr/>
          </p:nvSpPr>
          <p:spPr>
            <a:xfrm>
              <a:off x="8898918" y="2773574"/>
              <a:ext cx="2465443" cy="387286"/>
            </a:xfrm>
            <a:prstGeom prst="rect">
              <a:avLst/>
            </a:prstGeom>
            <a:noFill/>
          </p:spPr>
          <p:txBody>
            <a:bodyPr wrap="square" lIns="0" tIns="0" rIns="0" bIns="0" rtlCol="0" anchor="t">
              <a:spAutoFit/>
            </a:bodyPr>
            <a:lstStyle/>
            <a:p>
              <a:pPr>
                <a:lnSpc>
                  <a:spcPct val="130000"/>
                </a:lnSpc>
              </a:pPr>
              <a:r>
                <a:rPr lang="en-US" altLang="zh-CN" sz="1000" b="0" dirty="0">
                  <a:solidFill>
                    <a:schemeClr val="tx1">
                      <a:lumMod val="75000"/>
                      <a:lumOff val="25000"/>
                    </a:schemeClr>
                  </a:solidFill>
                  <a:effectLst/>
                  <a:latin typeface="+mn-ea"/>
                </a:rPr>
                <a:t>Lorem ipsum dolor sit amet, consectetur adipisicing elit, sed do eiusmod tempor</a:t>
              </a:r>
              <a:endParaRPr lang="zh-CN" altLang="en-US" sz="1000" b="0" dirty="0">
                <a:solidFill>
                  <a:schemeClr val="tx1">
                    <a:lumMod val="75000"/>
                    <a:lumOff val="25000"/>
                  </a:schemeClr>
                </a:solidFill>
                <a:effectLst/>
                <a:latin typeface="+mn-ea"/>
              </a:endParaRPr>
            </a:p>
          </p:txBody>
        </p:sp>
      </p:grpSp>
      <p:sp>
        <p:nvSpPr>
          <p:cNvPr id="95" name="文本框 94">
            <a:extLst>
              <a:ext uri="{FF2B5EF4-FFF2-40B4-BE49-F238E27FC236}">
                <a16:creationId xmlns:a16="http://schemas.microsoft.com/office/drawing/2014/main" id="{8B14CDB5-A8AA-4B3B-ACAD-FF5111AAE494}"/>
              </a:ext>
            </a:extLst>
          </p:cNvPr>
          <p:cNvSpPr txBox="1"/>
          <p:nvPr/>
        </p:nvSpPr>
        <p:spPr>
          <a:xfrm>
            <a:off x="5749750" y="5123309"/>
            <a:ext cx="692497" cy="276999"/>
          </a:xfrm>
          <a:prstGeom prst="rect">
            <a:avLst/>
          </a:prstGeom>
          <a:noFill/>
        </p:spPr>
        <p:txBody>
          <a:bodyPr wrap="none" lIns="0" tIns="0" rIns="0" bIns="0" rtlCol="0" anchor="t">
            <a:spAutoFit/>
          </a:bodyPr>
          <a:lstStyle/>
          <a:p>
            <a:pPr algn="l"/>
            <a:r>
              <a:rPr lang="zh-CN" altLang="en-US" dirty="0">
                <a:solidFill>
                  <a:schemeClr val="bg1"/>
                </a:solidFill>
              </a:rPr>
              <a:t>关键词</a:t>
            </a:r>
          </a:p>
        </p:txBody>
      </p:sp>
      <p:sp>
        <p:nvSpPr>
          <p:cNvPr id="96" name="文本框 95">
            <a:extLst>
              <a:ext uri="{FF2B5EF4-FFF2-40B4-BE49-F238E27FC236}">
                <a16:creationId xmlns:a16="http://schemas.microsoft.com/office/drawing/2014/main" id="{E94E3BAF-4A9D-4662-B957-1DB7378BCD59}"/>
              </a:ext>
            </a:extLst>
          </p:cNvPr>
          <p:cNvSpPr txBox="1"/>
          <p:nvPr/>
        </p:nvSpPr>
        <p:spPr>
          <a:xfrm>
            <a:off x="5749750" y="4380359"/>
            <a:ext cx="692497" cy="276999"/>
          </a:xfrm>
          <a:prstGeom prst="rect">
            <a:avLst/>
          </a:prstGeom>
          <a:noFill/>
        </p:spPr>
        <p:txBody>
          <a:bodyPr wrap="none" lIns="0" tIns="0" rIns="0" bIns="0" rtlCol="0" anchor="t">
            <a:spAutoFit/>
          </a:bodyPr>
          <a:lstStyle/>
          <a:p>
            <a:pPr algn="l"/>
            <a:r>
              <a:rPr lang="zh-CN" altLang="en-US" dirty="0">
                <a:solidFill>
                  <a:schemeClr val="bg1"/>
                </a:solidFill>
              </a:rPr>
              <a:t>关键词</a:t>
            </a:r>
          </a:p>
        </p:txBody>
      </p:sp>
      <p:sp>
        <p:nvSpPr>
          <p:cNvPr id="97" name="文本框 96">
            <a:extLst>
              <a:ext uri="{FF2B5EF4-FFF2-40B4-BE49-F238E27FC236}">
                <a16:creationId xmlns:a16="http://schemas.microsoft.com/office/drawing/2014/main" id="{E8637BF1-E77D-4B92-9589-80BD687D7FE2}"/>
              </a:ext>
            </a:extLst>
          </p:cNvPr>
          <p:cNvSpPr txBox="1"/>
          <p:nvPr/>
        </p:nvSpPr>
        <p:spPr>
          <a:xfrm>
            <a:off x="5749750" y="3662809"/>
            <a:ext cx="692497" cy="276999"/>
          </a:xfrm>
          <a:prstGeom prst="rect">
            <a:avLst/>
          </a:prstGeom>
          <a:noFill/>
        </p:spPr>
        <p:txBody>
          <a:bodyPr wrap="none" lIns="0" tIns="0" rIns="0" bIns="0" rtlCol="0" anchor="t">
            <a:spAutoFit/>
          </a:bodyPr>
          <a:lstStyle/>
          <a:p>
            <a:pPr algn="l"/>
            <a:r>
              <a:rPr lang="zh-CN" altLang="en-US" dirty="0">
                <a:solidFill>
                  <a:schemeClr val="bg1"/>
                </a:solidFill>
              </a:rPr>
              <a:t>关键词</a:t>
            </a:r>
          </a:p>
        </p:txBody>
      </p:sp>
      <p:sp>
        <p:nvSpPr>
          <p:cNvPr id="98" name="文本框 97">
            <a:extLst>
              <a:ext uri="{FF2B5EF4-FFF2-40B4-BE49-F238E27FC236}">
                <a16:creationId xmlns:a16="http://schemas.microsoft.com/office/drawing/2014/main" id="{B6DA56C7-5EDE-4176-9D90-F5D3886EEAEB}"/>
              </a:ext>
            </a:extLst>
          </p:cNvPr>
          <p:cNvSpPr txBox="1"/>
          <p:nvPr/>
        </p:nvSpPr>
        <p:spPr>
          <a:xfrm>
            <a:off x="5749750" y="3008759"/>
            <a:ext cx="692497" cy="276999"/>
          </a:xfrm>
          <a:prstGeom prst="rect">
            <a:avLst/>
          </a:prstGeom>
          <a:noFill/>
        </p:spPr>
        <p:txBody>
          <a:bodyPr wrap="none" lIns="0" tIns="0" rIns="0" bIns="0" rtlCol="0" anchor="t">
            <a:spAutoFit/>
          </a:bodyPr>
          <a:lstStyle/>
          <a:p>
            <a:pPr algn="l"/>
            <a:r>
              <a:rPr lang="zh-CN" altLang="en-US" dirty="0">
                <a:solidFill>
                  <a:schemeClr val="bg1"/>
                </a:solidFill>
              </a:rPr>
              <a:t>关键词</a:t>
            </a:r>
          </a:p>
        </p:txBody>
      </p:sp>
    </p:spTree>
    <p:extLst>
      <p:ext uri="{BB962C8B-B14F-4D97-AF65-F5344CB8AC3E}">
        <p14:creationId xmlns:p14="http://schemas.microsoft.com/office/powerpoint/2010/main" val="4083679772"/>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3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 name="矩形 87">
            <a:extLst>
              <a:ext uri="{FF2B5EF4-FFF2-40B4-BE49-F238E27FC236}">
                <a16:creationId xmlns:a16="http://schemas.microsoft.com/office/drawing/2014/main" id="{0B9704E2-4ECC-4789-B2A3-A6616E54E54E}"/>
              </a:ext>
            </a:extLst>
          </p:cNvPr>
          <p:cNvSpPr/>
          <p:nvPr/>
        </p:nvSpPr>
        <p:spPr>
          <a:xfrm>
            <a:off x="7065754" y="2590800"/>
            <a:ext cx="2756902" cy="93821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5" name="梯形 4">
            <a:extLst>
              <a:ext uri="{FF2B5EF4-FFF2-40B4-BE49-F238E27FC236}">
                <a16:creationId xmlns:a16="http://schemas.microsoft.com/office/drawing/2014/main" id="{24A02556-38C5-4CAD-955D-4E4C914332B7}"/>
              </a:ext>
            </a:extLst>
          </p:cNvPr>
          <p:cNvSpPr/>
          <p:nvPr/>
        </p:nvSpPr>
        <p:spPr>
          <a:xfrm rot="10800000">
            <a:off x="3417478" y="2452688"/>
            <a:ext cx="1137463" cy="95250"/>
          </a:xfrm>
          <a:prstGeom prst="trapezoid">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62" name="任意多边形: 形状 61">
            <a:extLst>
              <a:ext uri="{FF2B5EF4-FFF2-40B4-BE49-F238E27FC236}">
                <a16:creationId xmlns:a16="http://schemas.microsoft.com/office/drawing/2014/main" id="{1939CA6F-8617-4874-BA72-00BD623CEAC7}"/>
              </a:ext>
            </a:extLst>
          </p:cNvPr>
          <p:cNvSpPr/>
          <p:nvPr/>
        </p:nvSpPr>
        <p:spPr>
          <a:xfrm>
            <a:off x="3417482" y="1343025"/>
            <a:ext cx="1137462" cy="1109663"/>
          </a:xfrm>
          <a:custGeom>
            <a:avLst/>
            <a:gdLst>
              <a:gd name="connsiteX0" fmla="*/ 568731 w 1137462"/>
              <a:gd name="connsiteY0" fmla="*/ 0 h 1109663"/>
              <a:gd name="connsiteX1" fmla="*/ 1137462 w 1137462"/>
              <a:gd name="connsiteY1" fmla="*/ 1109663 h 1109663"/>
              <a:gd name="connsiteX2" fmla="*/ 0 w 1137462"/>
              <a:gd name="connsiteY2" fmla="*/ 1109663 h 1109663"/>
              <a:gd name="connsiteX3" fmla="*/ 568731 w 1137462"/>
              <a:gd name="connsiteY3" fmla="*/ 0 h 1109663"/>
            </a:gdLst>
            <a:ahLst/>
            <a:cxnLst>
              <a:cxn ang="0">
                <a:pos x="connsiteX0" y="connsiteY0"/>
              </a:cxn>
              <a:cxn ang="0">
                <a:pos x="connsiteX1" y="connsiteY1"/>
              </a:cxn>
              <a:cxn ang="0">
                <a:pos x="connsiteX2" y="connsiteY2"/>
              </a:cxn>
              <a:cxn ang="0">
                <a:pos x="connsiteX3" y="connsiteY3"/>
              </a:cxn>
            </a:cxnLst>
            <a:rect l="l" t="t" r="r" b="b"/>
            <a:pathLst>
              <a:path w="1137462" h="1109663">
                <a:moveTo>
                  <a:pt x="568731" y="0"/>
                </a:moveTo>
                <a:lnTo>
                  <a:pt x="1137462" y="1109663"/>
                </a:lnTo>
                <a:lnTo>
                  <a:pt x="0" y="1109663"/>
                </a:lnTo>
                <a:lnTo>
                  <a:pt x="568731" y="0"/>
                </a:lnTo>
                <a:close/>
              </a:path>
            </a:pathLst>
          </a:custGeom>
          <a:solidFill>
            <a:schemeClr val="accent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l"/>
            <a:endParaRPr lang="zh-CN" altLang="en-US" sz="1600">
              <a:solidFill>
                <a:schemeClr val="bg1"/>
              </a:solidFill>
              <a:latin typeface="+mj-ea"/>
              <a:ea typeface="+mj-ea"/>
            </a:endParaRPr>
          </a:p>
        </p:txBody>
      </p:sp>
      <p:sp>
        <p:nvSpPr>
          <p:cNvPr id="57" name="任意多边形: 形状 56">
            <a:extLst>
              <a:ext uri="{FF2B5EF4-FFF2-40B4-BE49-F238E27FC236}">
                <a16:creationId xmlns:a16="http://schemas.microsoft.com/office/drawing/2014/main" id="{066F63F6-23A2-48C8-9517-7D3F50A64FC0}"/>
              </a:ext>
            </a:extLst>
          </p:cNvPr>
          <p:cNvSpPr/>
          <p:nvPr/>
        </p:nvSpPr>
        <p:spPr>
          <a:xfrm>
            <a:off x="2838987" y="2547938"/>
            <a:ext cx="2294452" cy="1033463"/>
          </a:xfrm>
          <a:custGeom>
            <a:avLst/>
            <a:gdLst>
              <a:gd name="connsiteX0" fmla="*/ 529677 w 2294452"/>
              <a:gd name="connsiteY0" fmla="*/ 0 h 1033463"/>
              <a:gd name="connsiteX1" fmla="*/ 1764775 w 2294452"/>
              <a:gd name="connsiteY1" fmla="*/ 0 h 1033463"/>
              <a:gd name="connsiteX2" fmla="*/ 2294452 w 2294452"/>
              <a:gd name="connsiteY2" fmla="*/ 1033463 h 1033463"/>
              <a:gd name="connsiteX3" fmla="*/ 0 w 2294452"/>
              <a:gd name="connsiteY3" fmla="*/ 1033463 h 1033463"/>
              <a:gd name="connsiteX4" fmla="*/ 529677 w 2294452"/>
              <a:gd name="connsiteY4" fmla="*/ 0 h 10334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94452" h="1033463">
                <a:moveTo>
                  <a:pt x="529677" y="0"/>
                </a:moveTo>
                <a:lnTo>
                  <a:pt x="1764775" y="0"/>
                </a:lnTo>
                <a:lnTo>
                  <a:pt x="2294452" y="1033463"/>
                </a:lnTo>
                <a:lnTo>
                  <a:pt x="0" y="1033463"/>
                </a:lnTo>
                <a:lnTo>
                  <a:pt x="529677" y="0"/>
                </a:lnTo>
                <a:close/>
              </a:path>
            </a:pathLst>
          </a:custGeom>
          <a:solidFill>
            <a:schemeClr val="accent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l"/>
            <a:endParaRPr lang="zh-CN" altLang="en-US" sz="1600">
              <a:solidFill>
                <a:schemeClr val="bg1"/>
              </a:solidFill>
              <a:latin typeface="+mj-ea"/>
              <a:ea typeface="+mj-ea"/>
            </a:endParaRPr>
          </a:p>
        </p:txBody>
      </p:sp>
      <p:sp>
        <p:nvSpPr>
          <p:cNvPr id="53" name="任意多边形: 形状 52">
            <a:extLst>
              <a:ext uri="{FF2B5EF4-FFF2-40B4-BE49-F238E27FC236}">
                <a16:creationId xmlns:a16="http://schemas.microsoft.com/office/drawing/2014/main" id="{F22E1121-E7B4-4BB9-811B-783546097C67}"/>
              </a:ext>
            </a:extLst>
          </p:cNvPr>
          <p:cNvSpPr/>
          <p:nvPr/>
        </p:nvSpPr>
        <p:spPr>
          <a:xfrm>
            <a:off x="2260493" y="3676651"/>
            <a:ext cx="3451441" cy="1033462"/>
          </a:xfrm>
          <a:custGeom>
            <a:avLst/>
            <a:gdLst>
              <a:gd name="connsiteX0" fmla="*/ 529677 w 3451441"/>
              <a:gd name="connsiteY0" fmla="*/ 0 h 1033462"/>
              <a:gd name="connsiteX1" fmla="*/ 2921765 w 3451441"/>
              <a:gd name="connsiteY1" fmla="*/ 0 h 1033462"/>
              <a:gd name="connsiteX2" fmla="*/ 3451441 w 3451441"/>
              <a:gd name="connsiteY2" fmla="*/ 1033462 h 1033462"/>
              <a:gd name="connsiteX3" fmla="*/ 0 w 3451441"/>
              <a:gd name="connsiteY3" fmla="*/ 1033462 h 1033462"/>
              <a:gd name="connsiteX4" fmla="*/ 529677 w 3451441"/>
              <a:gd name="connsiteY4" fmla="*/ 0 h 10334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51441" h="1033462">
                <a:moveTo>
                  <a:pt x="529677" y="0"/>
                </a:moveTo>
                <a:lnTo>
                  <a:pt x="2921765" y="0"/>
                </a:lnTo>
                <a:lnTo>
                  <a:pt x="3451441" y="1033462"/>
                </a:lnTo>
                <a:lnTo>
                  <a:pt x="0" y="1033462"/>
                </a:lnTo>
                <a:lnTo>
                  <a:pt x="529677" y="0"/>
                </a:lnTo>
                <a:close/>
              </a:path>
            </a:pathLst>
          </a:custGeom>
          <a:solidFill>
            <a:schemeClr val="accent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l"/>
            <a:endParaRPr lang="zh-CN" altLang="en-US" sz="1600">
              <a:solidFill>
                <a:schemeClr val="bg1"/>
              </a:solidFill>
              <a:latin typeface="+mj-ea"/>
              <a:ea typeface="+mj-ea"/>
            </a:endParaRPr>
          </a:p>
        </p:txBody>
      </p:sp>
      <p:sp>
        <p:nvSpPr>
          <p:cNvPr id="49" name="任意多边形: 形状 48">
            <a:extLst>
              <a:ext uri="{FF2B5EF4-FFF2-40B4-BE49-F238E27FC236}">
                <a16:creationId xmlns:a16="http://schemas.microsoft.com/office/drawing/2014/main" id="{AAB0F0E1-AAF0-4975-8E39-F202857BA904}"/>
              </a:ext>
            </a:extLst>
          </p:cNvPr>
          <p:cNvSpPr/>
          <p:nvPr/>
        </p:nvSpPr>
        <p:spPr>
          <a:xfrm>
            <a:off x="1647826" y="4805363"/>
            <a:ext cx="4676775" cy="1100137"/>
          </a:xfrm>
          <a:custGeom>
            <a:avLst/>
            <a:gdLst>
              <a:gd name="connsiteX0" fmla="*/ 563849 w 4676775"/>
              <a:gd name="connsiteY0" fmla="*/ 0 h 1100137"/>
              <a:gd name="connsiteX1" fmla="*/ 4112926 w 4676775"/>
              <a:gd name="connsiteY1" fmla="*/ 0 h 1100137"/>
              <a:gd name="connsiteX2" fmla="*/ 4676775 w 4676775"/>
              <a:gd name="connsiteY2" fmla="*/ 1100137 h 1100137"/>
              <a:gd name="connsiteX3" fmla="*/ 0 w 4676775"/>
              <a:gd name="connsiteY3" fmla="*/ 1100137 h 1100137"/>
              <a:gd name="connsiteX4" fmla="*/ 563849 w 4676775"/>
              <a:gd name="connsiteY4" fmla="*/ 0 h 11001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76775" h="1100137">
                <a:moveTo>
                  <a:pt x="563849" y="0"/>
                </a:moveTo>
                <a:lnTo>
                  <a:pt x="4112926" y="0"/>
                </a:lnTo>
                <a:lnTo>
                  <a:pt x="4676775" y="1100137"/>
                </a:lnTo>
                <a:lnTo>
                  <a:pt x="0" y="1100137"/>
                </a:lnTo>
                <a:lnTo>
                  <a:pt x="563849" y="0"/>
                </a:lnTo>
                <a:close/>
              </a:path>
            </a:pathLst>
          </a:custGeom>
          <a:solidFill>
            <a:schemeClr val="accent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l"/>
            <a:endParaRPr lang="zh-CN" altLang="en-US" sz="1600">
              <a:solidFill>
                <a:schemeClr val="bg1"/>
              </a:solidFill>
              <a:latin typeface="+mj-ea"/>
              <a:ea typeface="+mj-ea"/>
            </a:endParaRPr>
          </a:p>
        </p:txBody>
      </p:sp>
      <p:sp>
        <p:nvSpPr>
          <p:cNvPr id="66" name="梯形 65">
            <a:extLst>
              <a:ext uri="{FF2B5EF4-FFF2-40B4-BE49-F238E27FC236}">
                <a16:creationId xmlns:a16="http://schemas.microsoft.com/office/drawing/2014/main" id="{C0AA08F2-C9C5-4673-B8E0-69FF6B7165F2}"/>
              </a:ext>
            </a:extLst>
          </p:cNvPr>
          <p:cNvSpPr/>
          <p:nvPr/>
        </p:nvSpPr>
        <p:spPr>
          <a:xfrm rot="10800000">
            <a:off x="2840825" y="3581401"/>
            <a:ext cx="2290768" cy="95250"/>
          </a:xfrm>
          <a:prstGeom prst="trapezoid">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67" name="梯形 66">
            <a:extLst>
              <a:ext uri="{FF2B5EF4-FFF2-40B4-BE49-F238E27FC236}">
                <a16:creationId xmlns:a16="http://schemas.microsoft.com/office/drawing/2014/main" id="{A0C4429F-700C-46A6-8B99-F8E483AE145E}"/>
              </a:ext>
            </a:extLst>
          </p:cNvPr>
          <p:cNvSpPr/>
          <p:nvPr/>
        </p:nvSpPr>
        <p:spPr>
          <a:xfrm rot="10800000">
            <a:off x="2259799" y="4710113"/>
            <a:ext cx="3452820" cy="95250"/>
          </a:xfrm>
          <a:prstGeom prst="trapezoid">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69" name="文本框 68">
            <a:extLst>
              <a:ext uri="{FF2B5EF4-FFF2-40B4-BE49-F238E27FC236}">
                <a16:creationId xmlns:a16="http://schemas.microsoft.com/office/drawing/2014/main" id="{CAE60743-EEA3-4474-A282-DF24175D8FB1}"/>
              </a:ext>
            </a:extLst>
          </p:cNvPr>
          <p:cNvSpPr txBox="1"/>
          <p:nvPr/>
        </p:nvSpPr>
        <p:spPr>
          <a:xfrm>
            <a:off x="3639959" y="2926170"/>
            <a:ext cx="692497" cy="276999"/>
          </a:xfrm>
          <a:prstGeom prst="rect">
            <a:avLst/>
          </a:prstGeom>
          <a:noFill/>
        </p:spPr>
        <p:txBody>
          <a:bodyPr wrap="none" lIns="0" tIns="0" rIns="0" bIns="0" rtlCol="0" anchor="t">
            <a:spAutoFit/>
          </a:bodyPr>
          <a:lstStyle/>
          <a:p>
            <a:pPr algn="l"/>
            <a:r>
              <a:rPr lang="zh-CN" altLang="en-US" dirty="0">
                <a:solidFill>
                  <a:schemeClr val="bg1"/>
                </a:solidFill>
              </a:rPr>
              <a:t>关键词</a:t>
            </a:r>
          </a:p>
        </p:txBody>
      </p:sp>
      <p:sp>
        <p:nvSpPr>
          <p:cNvPr id="76" name="文本框 75">
            <a:extLst>
              <a:ext uri="{FF2B5EF4-FFF2-40B4-BE49-F238E27FC236}">
                <a16:creationId xmlns:a16="http://schemas.microsoft.com/office/drawing/2014/main" id="{16529149-EBA9-4159-9ADF-6486FE99C1F0}"/>
              </a:ext>
            </a:extLst>
          </p:cNvPr>
          <p:cNvSpPr txBox="1"/>
          <p:nvPr/>
        </p:nvSpPr>
        <p:spPr>
          <a:xfrm>
            <a:off x="3639959" y="4054883"/>
            <a:ext cx="692497" cy="276999"/>
          </a:xfrm>
          <a:prstGeom prst="rect">
            <a:avLst/>
          </a:prstGeom>
          <a:noFill/>
        </p:spPr>
        <p:txBody>
          <a:bodyPr wrap="none" lIns="0" tIns="0" rIns="0" bIns="0" rtlCol="0" anchor="t">
            <a:spAutoFit/>
          </a:bodyPr>
          <a:lstStyle/>
          <a:p>
            <a:pPr algn="l"/>
            <a:r>
              <a:rPr lang="zh-CN" altLang="en-US" dirty="0">
                <a:solidFill>
                  <a:schemeClr val="bg1"/>
                </a:solidFill>
              </a:rPr>
              <a:t>关键词</a:t>
            </a:r>
          </a:p>
        </p:txBody>
      </p:sp>
      <p:sp>
        <p:nvSpPr>
          <p:cNvPr id="82" name="文本框 81">
            <a:extLst>
              <a:ext uri="{FF2B5EF4-FFF2-40B4-BE49-F238E27FC236}">
                <a16:creationId xmlns:a16="http://schemas.microsoft.com/office/drawing/2014/main" id="{B014C495-A7DA-46A9-9456-09FDD39480F2}"/>
              </a:ext>
            </a:extLst>
          </p:cNvPr>
          <p:cNvSpPr txBox="1"/>
          <p:nvPr/>
        </p:nvSpPr>
        <p:spPr>
          <a:xfrm>
            <a:off x="3639959" y="5224075"/>
            <a:ext cx="692497" cy="276999"/>
          </a:xfrm>
          <a:prstGeom prst="rect">
            <a:avLst/>
          </a:prstGeom>
          <a:noFill/>
        </p:spPr>
        <p:txBody>
          <a:bodyPr wrap="none" lIns="0" tIns="0" rIns="0" bIns="0" rtlCol="0" anchor="t">
            <a:spAutoFit/>
          </a:bodyPr>
          <a:lstStyle/>
          <a:p>
            <a:pPr algn="l"/>
            <a:r>
              <a:rPr lang="zh-CN" altLang="en-US" dirty="0">
                <a:solidFill>
                  <a:schemeClr val="bg1"/>
                </a:solidFill>
              </a:rPr>
              <a:t>关键词</a:t>
            </a:r>
          </a:p>
        </p:txBody>
      </p:sp>
      <p:sp>
        <p:nvSpPr>
          <p:cNvPr id="7" name="椭圆 6">
            <a:extLst>
              <a:ext uri="{FF2B5EF4-FFF2-40B4-BE49-F238E27FC236}">
                <a16:creationId xmlns:a16="http://schemas.microsoft.com/office/drawing/2014/main" id="{58EAFE95-7022-4943-8ED1-86E2BA569A97}"/>
              </a:ext>
            </a:extLst>
          </p:cNvPr>
          <p:cNvSpPr/>
          <p:nvPr/>
        </p:nvSpPr>
        <p:spPr>
          <a:xfrm>
            <a:off x="4804125" y="2999756"/>
            <a:ext cx="129825" cy="129825"/>
          </a:xfrm>
          <a:prstGeom prst="ellipse">
            <a:avLst/>
          </a:prstGeom>
          <a:solidFill>
            <a:schemeClr val="bg1"/>
          </a:solidFill>
          <a:ln w="19050">
            <a:solidFill>
              <a:schemeClr val="accent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cxnSp>
        <p:nvCxnSpPr>
          <p:cNvPr id="9" name="直接连接符 8">
            <a:extLst>
              <a:ext uri="{FF2B5EF4-FFF2-40B4-BE49-F238E27FC236}">
                <a16:creationId xmlns:a16="http://schemas.microsoft.com/office/drawing/2014/main" id="{A4B66DF9-315F-4AE2-8BAB-84B0686F1D7F}"/>
              </a:ext>
            </a:extLst>
          </p:cNvPr>
          <p:cNvCxnSpPr>
            <a:cxnSpLocks/>
            <a:stCxn id="7" idx="6"/>
          </p:cNvCxnSpPr>
          <p:nvPr/>
        </p:nvCxnSpPr>
        <p:spPr>
          <a:xfrm flipV="1">
            <a:off x="4933950" y="3059907"/>
            <a:ext cx="2119313" cy="4762"/>
          </a:xfrm>
          <a:prstGeom prst="line">
            <a:avLst/>
          </a:prstGeom>
          <a:solidFill>
            <a:schemeClr val="bg1"/>
          </a:solidFill>
          <a:ln w="19050">
            <a:solidFill>
              <a:schemeClr val="accent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cxnSp>
      <p:sp>
        <p:nvSpPr>
          <p:cNvPr id="11" name="矩形 10">
            <a:extLst>
              <a:ext uri="{FF2B5EF4-FFF2-40B4-BE49-F238E27FC236}">
                <a16:creationId xmlns:a16="http://schemas.microsoft.com/office/drawing/2014/main" id="{387F8BC1-8FD6-4754-8688-E0B346A20E9F}"/>
              </a:ext>
            </a:extLst>
          </p:cNvPr>
          <p:cNvSpPr/>
          <p:nvPr/>
        </p:nvSpPr>
        <p:spPr>
          <a:xfrm>
            <a:off x="7038239" y="2590800"/>
            <a:ext cx="62284" cy="938214"/>
          </a:xfrm>
          <a:prstGeom prst="rect">
            <a:avLst/>
          </a:prstGeom>
          <a:solidFill>
            <a:schemeClr val="accent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94" name="文本框 93">
            <a:extLst>
              <a:ext uri="{FF2B5EF4-FFF2-40B4-BE49-F238E27FC236}">
                <a16:creationId xmlns:a16="http://schemas.microsoft.com/office/drawing/2014/main" id="{C178AFCB-AF5E-4A6E-95AA-B4E0FF2F2D93}"/>
              </a:ext>
            </a:extLst>
          </p:cNvPr>
          <p:cNvSpPr txBox="1"/>
          <p:nvPr/>
        </p:nvSpPr>
        <p:spPr>
          <a:xfrm>
            <a:off x="7228868" y="2732527"/>
            <a:ext cx="1154162" cy="276999"/>
          </a:xfrm>
          <a:prstGeom prst="rect">
            <a:avLst/>
          </a:prstGeom>
          <a:noFill/>
        </p:spPr>
        <p:txBody>
          <a:bodyPr wrap="none" lIns="0" tIns="0" rIns="0" bIns="0" rtlCol="0" anchor="t">
            <a:spAutoFit/>
          </a:bodyPr>
          <a:lstStyle/>
          <a:p>
            <a:r>
              <a:rPr lang="zh-CN" altLang="en-US" dirty="0">
                <a:solidFill>
                  <a:schemeClr val="accent1"/>
                </a:solidFill>
                <a:latin typeface="+mj-ea"/>
                <a:ea typeface="+mj-ea"/>
              </a:rPr>
              <a:t>关键词标题</a:t>
            </a:r>
          </a:p>
        </p:txBody>
      </p:sp>
      <p:sp>
        <p:nvSpPr>
          <p:cNvPr id="99" name="文本框 98">
            <a:extLst>
              <a:ext uri="{FF2B5EF4-FFF2-40B4-BE49-F238E27FC236}">
                <a16:creationId xmlns:a16="http://schemas.microsoft.com/office/drawing/2014/main" id="{A236FB67-FB07-40C2-8EB1-FD4CCE08BEB0}"/>
              </a:ext>
            </a:extLst>
          </p:cNvPr>
          <p:cNvSpPr txBox="1"/>
          <p:nvPr/>
        </p:nvSpPr>
        <p:spPr>
          <a:xfrm>
            <a:off x="7228868" y="3009526"/>
            <a:ext cx="2465443" cy="387286"/>
          </a:xfrm>
          <a:prstGeom prst="rect">
            <a:avLst/>
          </a:prstGeom>
          <a:noFill/>
        </p:spPr>
        <p:txBody>
          <a:bodyPr wrap="square" lIns="0" tIns="0" rIns="0" bIns="0" rtlCol="0" anchor="t">
            <a:spAutoFit/>
          </a:bodyPr>
          <a:lstStyle/>
          <a:p>
            <a:pPr>
              <a:lnSpc>
                <a:spcPct val="130000"/>
              </a:lnSpc>
            </a:pPr>
            <a:r>
              <a:rPr lang="en-US" altLang="zh-CN" sz="1000" b="0" dirty="0">
                <a:solidFill>
                  <a:schemeClr val="tx1">
                    <a:lumMod val="75000"/>
                    <a:lumOff val="25000"/>
                  </a:schemeClr>
                </a:solidFill>
                <a:effectLst/>
                <a:latin typeface="+mn-ea"/>
              </a:rPr>
              <a:t>Lorem ipsum dolor sit amet, consectetur adipisicing elit, sed do eiusmod tempor</a:t>
            </a:r>
            <a:endParaRPr lang="zh-CN" altLang="en-US" sz="1000" b="0" dirty="0">
              <a:solidFill>
                <a:schemeClr val="tx1">
                  <a:lumMod val="75000"/>
                  <a:lumOff val="25000"/>
                </a:schemeClr>
              </a:solidFill>
              <a:effectLst/>
              <a:latin typeface="+mn-ea"/>
            </a:endParaRPr>
          </a:p>
        </p:txBody>
      </p:sp>
      <p:sp>
        <p:nvSpPr>
          <p:cNvPr id="112" name="矩形 111">
            <a:extLst>
              <a:ext uri="{FF2B5EF4-FFF2-40B4-BE49-F238E27FC236}">
                <a16:creationId xmlns:a16="http://schemas.microsoft.com/office/drawing/2014/main" id="{BC6A1F9A-8E7F-48BD-9E50-F704B4C2FA6C}"/>
              </a:ext>
            </a:extLst>
          </p:cNvPr>
          <p:cNvSpPr/>
          <p:nvPr/>
        </p:nvSpPr>
        <p:spPr>
          <a:xfrm>
            <a:off x="7065754" y="3726180"/>
            <a:ext cx="2756902" cy="93821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113" name="椭圆 112">
            <a:extLst>
              <a:ext uri="{FF2B5EF4-FFF2-40B4-BE49-F238E27FC236}">
                <a16:creationId xmlns:a16="http://schemas.microsoft.com/office/drawing/2014/main" id="{6A2BEDAE-3E81-4426-AD2C-CAFE3E154D60}"/>
              </a:ext>
            </a:extLst>
          </p:cNvPr>
          <p:cNvSpPr/>
          <p:nvPr/>
        </p:nvSpPr>
        <p:spPr>
          <a:xfrm>
            <a:off x="5368005" y="4135136"/>
            <a:ext cx="129825" cy="129825"/>
          </a:xfrm>
          <a:prstGeom prst="ellipse">
            <a:avLst/>
          </a:prstGeom>
          <a:solidFill>
            <a:schemeClr val="bg1"/>
          </a:solidFill>
          <a:ln w="19050">
            <a:solidFill>
              <a:schemeClr val="accent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cxnSp>
        <p:nvCxnSpPr>
          <p:cNvPr id="114" name="直接连接符 113">
            <a:extLst>
              <a:ext uri="{FF2B5EF4-FFF2-40B4-BE49-F238E27FC236}">
                <a16:creationId xmlns:a16="http://schemas.microsoft.com/office/drawing/2014/main" id="{FB4F212A-5F3E-4912-98FC-3721C708B8A6}"/>
              </a:ext>
            </a:extLst>
          </p:cNvPr>
          <p:cNvCxnSpPr>
            <a:cxnSpLocks/>
            <a:stCxn id="113" idx="6"/>
          </p:cNvCxnSpPr>
          <p:nvPr/>
        </p:nvCxnSpPr>
        <p:spPr>
          <a:xfrm flipV="1">
            <a:off x="5497830" y="4195287"/>
            <a:ext cx="1555433" cy="4762"/>
          </a:xfrm>
          <a:prstGeom prst="line">
            <a:avLst/>
          </a:prstGeom>
          <a:solidFill>
            <a:schemeClr val="bg1"/>
          </a:solidFill>
          <a:ln w="19050">
            <a:solidFill>
              <a:schemeClr val="accent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cxnSp>
      <p:sp>
        <p:nvSpPr>
          <p:cNvPr id="115" name="矩形 114">
            <a:extLst>
              <a:ext uri="{FF2B5EF4-FFF2-40B4-BE49-F238E27FC236}">
                <a16:creationId xmlns:a16="http://schemas.microsoft.com/office/drawing/2014/main" id="{039B58D9-9551-44DA-A39C-AE30FFCD476D}"/>
              </a:ext>
            </a:extLst>
          </p:cNvPr>
          <p:cNvSpPr/>
          <p:nvPr/>
        </p:nvSpPr>
        <p:spPr>
          <a:xfrm>
            <a:off x="7038239" y="3726180"/>
            <a:ext cx="62284" cy="938214"/>
          </a:xfrm>
          <a:prstGeom prst="rect">
            <a:avLst/>
          </a:prstGeom>
          <a:solidFill>
            <a:schemeClr val="accent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116" name="文本框 115">
            <a:extLst>
              <a:ext uri="{FF2B5EF4-FFF2-40B4-BE49-F238E27FC236}">
                <a16:creationId xmlns:a16="http://schemas.microsoft.com/office/drawing/2014/main" id="{F6E3CE59-DA3A-42C7-A018-1653CBB4974A}"/>
              </a:ext>
            </a:extLst>
          </p:cNvPr>
          <p:cNvSpPr txBox="1"/>
          <p:nvPr/>
        </p:nvSpPr>
        <p:spPr>
          <a:xfrm>
            <a:off x="7228868" y="3867907"/>
            <a:ext cx="1154162" cy="276999"/>
          </a:xfrm>
          <a:prstGeom prst="rect">
            <a:avLst/>
          </a:prstGeom>
          <a:noFill/>
        </p:spPr>
        <p:txBody>
          <a:bodyPr wrap="none" lIns="0" tIns="0" rIns="0" bIns="0" rtlCol="0" anchor="t">
            <a:spAutoFit/>
          </a:bodyPr>
          <a:lstStyle/>
          <a:p>
            <a:r>
              <a:rPr lang="zh-CN" altLang="en-US" dirty="0">
                <a:solidFill>
                  <a:schemeClr val="accent1"/>
                </a:solidFill>
                <a:latin typeface="+mj-ea"/>
                <a:ea typeface="+mj-ea"/>
              </a:rPr>
              <a:t>关键词标题</a:t>
            </a:r>
          </a:p>
        </p:txBody>
      </p:sp>
      <p:sp>
        <p:nvSpPr>
          <p:cNvPr id="117" name="文本框 116">
            <a:extLst>
              <a:ext uri="{FF2B5EF4-FFF2-40B4-BE49-F238E27FC236}">
                <a16:creationId xmlns:a16="http://schemas.microsoft.com/office/drawing/2014/main" id="{3667CA0E-F7C7-41BA-B7B1-DCD4B2BAC44E}"/>
              </a:ext>
            </a:extLst>
          </p:cNvPr>
          <p:cNvSpPr txBox="1"/>
          <p:nvPr/>
        </p:nvSpPr>
        <p:spPr>
          <a:xfrm>
            <a:off x="7228868" y="4144906"/>
            <a:ext cx="2465443" cy="387286"/>
          </a:xfrm>
          <a:prstGeom prst="rect">
            <a:avLst/>
          </a:prstGeom>
          <a:noFill/>
        </p:spPr>
        <p:txBody>
          <a:bodyPr wrap="square" lIns="0" tIns="0" rIns="0" bIns="0" rtlCol="0" anchor="t">
            <a:spAutoFit/>
          </a:bodyPr>
          <a:lstStyle/>
          <a:p>
            <a:pPr>
              <a:lnSpc>
                <a:spcPct val="130000"/>
              </a:lnSpc>
            </a:pPr>
            <a:r>
              <a:rPr lang="en-US" altLang="zh-CN" sz="1000" b="0" dirty="0">
                <a:solidFill>
                  <a:schemeClr val="tx1">
                    <a:lumMod val="75000"/>
                    <a:lumOff val="25000"/>
                  </a:schemeClr>
                </a:solidFill>
                <a:effectLst/>
                <a:latin typeface="+mn-ea"/>
              </a:rPr>
              <a:t>Lorem ipsum dolor sit amet, consectetur adipisicing elit, sed do eiusmod tempor</a:t>
            </a:r>
            <a:endParaRPr lang="zh-CN" altLang="en-US" sz="1000" b="0" dirty="0">
              <a:solidFill>
                <a:schemeClr val="tx1">
                  <a:lumMod val="75000"/>
                  <a:lumOff val="25000"/>
                </a:schemeClr>
              </a:solidFill>
              <a:effectLst/>
              <a:latin typeface="+mn-ea"/>
            </a:endParaRPr>
          </a:p>
        </p:txBody>
      </p:sp>
      <p:sp>
        <p:nvSpPr>
          <p:cNvPr id="118" name="矩形 117">
            <a:extLst>
              <a:ext uri="{FF2B5EF4-FFF2-40B4-BE49-F238E27FC236}">
                <a16:creationId xmlns:a16="http://schemas.microsoft.com/office/drawing/2014/main" id="{0C4C1F30-07E7-4057-87FE-0DEB68755492}"/>
              </a:ext>
            </a:extLst>
          </p:cNvPr>
          <p:cNvSpPr/>
          <p:nvPr/>
        </p:nvSpPr>
        <p:spPr>
          <a:xfrm>
            <a:off x="7065754" y="4884420"/>
            <a:ext cx="2756902" cy="93821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119" name="椭圆 118">
            <a:extLst>
              <a:ext uri="{FF2B5EF4-FFF2-40B4-BE49-F238E27FC236}">
                <a16:creationId xmlns:a16="http://schemas.microsoft.com/office/drawing/2014/main" id="{4FC65D14-07E8-4605-8A82-ED44FF3B5D64}"/>
              </a:ext>
            </a:extLst>
          </p:cNvPr>
          <p:cNvSpPr/>
          <p:nvPr/>
        </p:nvSpPr>
        <p:spPr>
          <a:xfrm>
            <a:off x="5962365" y="5293376"/>
            <a:ext cx="129825" cy="129825"/>
          </a:xfrm>
          <a:prstGeom prst="ellipse">
            <a:avLst/>
          </a:prstGeom>
          <a:solidFill>
            <a:schemeClr val="bg1"/>
          </a:solidFill>
          <a:ln w="19050">
            <a:solidFill>
              <a:schemeClr val="accent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cxnSp>
        <p:nvCxnSpPr>
          <p:cNvPr id="120" name="直接连接符 119">
            <a:extLst>
              <a:ext uri="{FF2B5EF4-FFF2-40B4-BE49-F238E27FC236}">
                <a16:creationId xmlns:a16="http://schemas.microsoft.com/office/drawing/2014/main" id="{B40B8AE3-C4A9-406F-98D2-1F574D254890}"/>
              </a:ext>
            </a:extLst>
          </p:cNvPr>
          <p:cNvCxnSpPr>
            <a:cxnSpLocks/>
            <a:stCxn id="119" idx="6"/>
          </p:cNvCxnSpPr>
          <p:nvPr/>
        </p:nvCxnSpPr>
        <p:spPr>
          <a:xfrm>
            <a:off x="6092190" y="5358289"/>
            <a:ext cx="946049" cy="0"/>
          </a:xfrm>
          <a:prstGeom prst="line">
            <a:avLst/>
          </a:prstGeom>
          <a:solidFill>
            <a:schemeClr val="bg1"/>
          </a:solidFill>
          <a:ln w="19050">
            <a:solidFill>
              <a:schemeClr val="accent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cxnSp>
      <p:sp>
        <p:nvSpPr>
          <p:cNvPr id="121" name="矩形 120">
            <a:extLst>
              <a:ext uri="{FF2B5EF4-FFF2-40B4-BE49-F238E27FC236}">
                <a16:creationId xmlns:a16="http://schemas.microsoft.com/office/drawing/2014/main" id="{5444AA4B-4F48-4903-B2C6-D34BF420810A}"/>
              </a:ext>
            </a:extLst>
          </p:cNvPr>
          <p:cNvSpPr/>
          <p:nvPr/>
        </p:nvSpPr>
        <p:spPr>
          <a:xfrm>
            <a:off x="7038239" y="4884420"/>
            <a:ext cx="62284" cy="938214"/>
          </a:xfrm>
          <a:prstGeom prst="rect">
            <a:avLst/>
          </a:prstGeom>
          <a:solidFill>
            <a:schemeClr val="accent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122" name="文本框 121">
            <a:extLst>
              <a:ext uri="{FF2B5EF4-FFF2-40B4-BE49-F238E27FC236}">
                <a16:creationId xmlns:a16="http://schemas.microsoft.com/office/drawing/2014/main" id="{0271CFA9-41CC-45E5-B0A3-A8DF5E1C0E26}"/>
              </a:ext>
            </a:extLst>
          </p:cNvPr>
          <p:cNvSpPr txBox="1"/>
          <p:nvPr/>
        </p:nvSpPr>
        <p:spPr>
          <a:xfrm>
            <a:off x="7228868" y="5026147"/>
            <a:ext cx="1154162" cy="276999"/>
          </a:xfrm>
          <a:prstGeom prst="rect">
            <a:avLst/>
          </a:prstGeom>
          <a:noFill/>
        </p:spPr>
        <p:txBody>
          <a:bodyPr wrap="none" lIns="0" tIns="0" rIns="0" bIns="0" rtlCol="0" anchor="t">
            <a:spAutoFit/>
          </a:bodyPr>
          <a:lstStyle/>
          <a:p>
            <a:r>
              <a:rPr lang="zh-CN" altLang="en-US" dirty="0">
                <a:solidFill>
                  <a:schemeClr val="accent1"/>
                </a:solidFill>
                <a:latin typeface="+mj-ea"/>
                <a:ea typeface="+mj-ea"/>
              </a:rPr>
              <a:t>关键词标题</a:t>
            </a:r>
          </a:p>
        </p:txBody>
      </p:sp>
      <p:sp>
        <p:nvSpPr>
          <p:cNvPr id="123" name="文本框 122">
            <a:extLst>
              <a:ext uri="{FF2B5EF4-FFF2-40B4-BE49-F238E27FC236}">
                <a16:creationId xmlns:a16="http://schemas.microsoft.com/office/drawing/2014/main" id="{1A054957-16E7-4A83-B46F-F9AC15FB062D}"/>
              </a:ext>
            </a:extLst>
          </p:cNvPr>
          <p:cNvSpPr txBox="1"/>
          <p:nvPr/>
        </p:nvSpPr>
        <p:spPr>
          <a:xfrm>
            <a:off x="7228868" y="5303146"/>
            <a:ext cx="2465443" cy="387286"/>
          </a:xfrm>
          <a:prstGeom prst="rect">
            <a:avLst/>
          </a:prstGeom>
          <a:noFill/>
        </p:spPr>
        <p:txBody>
          <a:bodyPr wrap="square" lIns="0" tIns="0" rIns="0" bIns="0" rtlCol="0" anchor="t">
            <a:spAutoFit/>
          </a:bodyPr>
          <a:lstStyle/>
          <a:p>
            <a:pPr>
              <a:lnSpc>
                <a:spcPct val="130000"/>
              </a:lnSpc>
            </a:pPr>
            <a:r>
              <a:rPr lang="en-US" altLang="zh-CN" sz="1000" b="0" dirty="0">
                <a:solidFill>
                  <a:schemeClr val="tx1">
                    <a:lumMod val="75000"/>
                    <a:lumOff val="25000"/>
                  </a:schemeClr>
                </a:solidFill>
                <a:effectLst/>
                <a:latin typeface="+mn-ea"/>
              </a:rPr>
              <a:t>Lorem ipsum dolor sit amet, consectetur adipisicing elit, sed do eiusmod tempor</a:t>
            </a:r>
            <a:endParaRPr lang="zh-CN" altLang="en-US" sz="1000" b="0" dirty="0">
              <a:solidFill>
                <a:schemeClr val="tx1">
                  <a:lumMod val="75000"/>
                  <a:lumOff val="25000"/>
                </a:schemeClr>
              </a:solidFill>
              <a:effectLst/>
              <a:latin typeface="+mn-ea"/>
            </a:endParaRPr>
          </a:p>
        </p:txBody>
      </p:sp>
    </p:spTree>
    <p:extLst>
      <p:ext uri="{BB962C8B-B14F-4D97-AF65-F5344CB8AC3E}">
        <p14:creationId xmlns:p14="http://schemas.microsoft.com/office/powerpoint/2010/main" val="202485701"/>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3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任意多边形: 形状 38">
            <a:extLst>
              <a:ext uri="{FF2B5EF4-FFF2-40B4-BE49-F238E27FC236}">
                <a16:creationId xmlns:a16="http://schemas.microsoft.com/office/drawing/2014/main" id="{F58BBBF7-E0BA-4B87-A57E-0EC14E3D2705}"/>
              </a:ext>
            </a:extLst>
          </p:cNvPr>
          <p:cNvSpPr/>
          <p:nvPr/>
        </p:nvSpPr>
        <p:spPr>
          <a:xfrm>
            <a:off x="5331251" y="1422400"/>
            <a:ext cx="1529498" cy="1455089"/>
          </a:xfrm>
          <a:custGeom>
            <a:avLst/>
            <a:gdLst>
              <a:gd name="connsiteX0" fmla="*/ 931123 w 1862246"/>
              <a:gd name="connsiteY0" fmla="*/ 0 h 1771650"/>
              <a:gd name="connsiteX1" fmla="*/ 1862246 w 1862246"/>
              <a:gd name="connsiteY1" fmla="*/ 1771650 h 1771650"/>
              <a:gd name="connsiteX2" fmla="*/ 0 w 1862246"/>
              <a:gd name="connsiteY2" fmla="*/ 1771650 h 1771650"/>
              <a:gd name="connsiteX3" fmla="*/ 931123 w 1862246"/>
              <a:gd name="connsiteY3" fmla="*/ 0 h 1771650"/>
            </a:gdLst>
            <a:ahLst/>
            <a:cxnLst>
              <a:cxn ang="0">
                <a:pos x="connsiteX0" y="connsiteY0"/>
              </a:cxn>
              <a:cxn ang="0">
                <a:pos x="connsiteX1" y="connsiteY1"/>
              </a:cxn>
              <a:cxn ang="0">
                <a:pos x="connsiteX2" y="connsiteY2"/>
              </a:cxn>
              <a:cxn ang="0">
                <a:pos x="connsiteX3" y="connsiteY3"/>
              </a:cxn>
            </a:cxnLst>
            <a:rect l="l" t="t" r="r" b="b"/>
            <a:pathLst>
              <a:path w="1862246" h="1771650">
                <a:moveTo>
                  <a:pt x="931123" y="0"/>
                </a:moveTo>
                <a:lnTo>
                  <a:pt x="1862246" y="1771650"/>
                </a:lnTo>
                <a:lnTo>
                  <a:pt x="0" y="1771650"/>
                </a:lnTo>
                <a:lnTo>
                  <a:pt x="931123" y="0"/>
                </a:lnTo>
                <a:close/>
              </a:path>
            </a:pathLst>
          </a:custGeom>
          <a:solidFill>
            <a:schemeClr val="accent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l"/>
            <a:endParaRPr lang="zh-CN" altLang="en-US" sz="1600">
              <a:solidFill>
                <a:schemeClr val="bg1"/>
              </a:solidFill>
              <a:latin typeface="+mj-ea"/>
              <a:ea typeface="+mj-ea"/>
            </a:endParaRPr>
          </a:p>
        </p:txBody>
      </p:sp>
      <p:sp>
        <p:nvSpPr>
          <p:cNvPr id="36" name="任意多边形: 形状 35">
            <a:extLst>
              <a:ext uri="{FF2B5EF4-FFF2-40B4-BE49-F238E27FC236}">
                <a16:creationId xmlns:a16="http://schemas.microsoft.com/office/drawing/2014/main" id="{10548B8B-B073-4DDE-98B1-9EBB29C4E9EC}"/>
              </a:ext>
            </a:extLst>
          </p:cNvPr>
          <p:cNvSpPr/>
          <p:nvPr/>
        </p:nvSpPr>
        <p:spPr>
          <a:xfrm>
            <a:off x="4628176" y="3135650"/>
            <a:ext cx="2935648" cy="1079582"/>
          </a:xfrm>
          <a:custGeom>
            <a:avLst/>
            <a:gdLst>
              <a:gd name="connsiteX0" fmla="*/ 690833 w 3574310"/>
              <a:gd name="connsiteY0" fmla="*/ 0 h 1314450"/>
              <a:gd name="connsiteX1" fmla="*/ 2883477 w 3574310"/>
              <a:gd name="connsiteY1" fmla="*/ 0 h 1314450"/>
              <a:gd name="connsiteX2" fmla="*/ 3574310 w 3574310"/>
              <a:gd name="connsiteY2" fmla="*/ 1314450 h 1314450"/>
              <a:gd name="connsiteX3" fmla="*/ 0 w 3574310"/>
              <a:gd name="connsiteY3" fmla="*/ 1314450 h 1314450"/>
              <a:gd name="connsiteX4" fmla="*/ 690833 w 3574310"/>
              <a:gd name="connsiteY4" fmla="*/ 0 h 13144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74310" h="1314450">
                <a:moveTo>
                  <a:pt x="690833" y="0"/>
                </a:moveTo>
                <a:lnTo>
                  <a:pt x="2883477" y="0"/>
                </a:lnTo>
                <a:lnTo>
                  <a:pt x="3574310" y="1314450"/>
                </a:lnTo>
                <a:lnTo>
                  <a:pt x="0" y="1314450"/>
                </a:lnTo>
                <a:lnTo>
                  <a:pt x="690833" y="0"/>
                </a:lnTo>
                <a:close/>
              </a:path>
            </a:pathLst>
          </a:custGeom>
          <a:solidFill>
            <a:schemeClr val="accent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l"/>
            <a:endParaRPr lang="zh-CN" altLang="en-US" sz="1600">
              <a:solidFill>
                <a:schemeClr val="bg1"/>
              </a:solidFill>
              <a:latin typeface="+mj-ea"/>
              <a:ea typeface="+mj-ea"/>
            </a:endParaRPr>
          </a:p>
        </p:txBody>
      </p:sp>
      <p:sp>
        <p:nvSpPr>
          <p:cNvPr id="33" name="任意多边形: 形状 32">
            <a:extLst>
              <a:ext uri="{FF2B5EF4-FFF2-40B4-BE49-F238E27FC236}">
                <a16:creationId xmlns:a16="http://schemas.microsoft.com/office/drawing/2014/main" id="{5EC64F60-EE1F-4AB8-A39F-9E447E5E2C2C}"/>
              </a:ext>
            </a:extLst>
          </p:cNvPr>
          <p:cNvSpPr/>
          <p:nvPr/>
        </p:nvSpPr>
        <p:spPr>
          <a:xfrm>
            <a:off x="3925100" y="4473392"/>
            <a:ext cx="4341799" cy="1079582"/>
          </a:xfrm>
          <a:custGeom>
            <a:avLst/>
            <a:gdLst>
              <a:gd name="connsiteX0" fmla="*/ 690833 w 5286375"/>
              <a:gd name="connsiteY0" fmla="*/ 0 h 1314450"/>
              <a:gd name="connsiteX1" fmla="*/ 4595542 w 5286375"/>
              <a:gd name="connsiteY1" fmla="*/ 0 h 1314450"/>
              <a:gd name="connsiteX2" fmla="*/ 5286375 w 5286375"/>
              <a:gd name="connsiteY2" fmla="*/ 1314450 h 1314450"/>
              <a:gd name="connsiteX3" fmla="*/ 0 w 5286375"/>
              <a:gd name="connsiteY3" fmla="*/ 1314450 h 1314450"/>
              <a:gd name="connsiteX4" fmla="*/ 690833 w 5286375"/>
              <a:gd name="connsiteY4" fmla="*/ 0 h 13144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86375" h="1314450">
                <a:moveTo>
                  <a:pt x="690833" y="0"/>
                </a:moveTo>
                <a:lnTo>
                  <a:pt x="4595542" y="0"/>
                </a:lnTo>
                <a:lnTo>
                  <a:pt x="5286375" y="1314450"/>
                </a:lnTo>
                <a:lnTo>
                  <a:pt x="0" y="1314450"/>
                </a:lnTo>
                <a:lnTo>
                  <a:pt x="690833" y="0"/>
                </a:lnTo>
                <a:close/>
              </a:path>
            </a:pathLst>
          </a:custGeom>
          <a:solidFill>
            <a:schemeClr val="accent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l"/>
            <a:endParaRPr lang="zh-CN" altLang="en-US" sz="1600">
              <a:solidFill>
                <a:schemeClr val="bg1"/>
              </a:solidFill>
              <a:latin typeface="+mj-ea"/>
              <a:ea typeface="+mj-ea"/>
            </a:endParaRPr>
          </a:p>
        </p:txBody>
      </p:sp>
      <p:sp>
        <p:nvSpPr>
          <p:cNvPr id="4" name="椭圆 3">
            <a:extLst>
              <a:ext uri="{FF2B5EF4-FFF2-40B4-BE49-F238E27FC236}">
                <a16:creationId xmlns:a16="http://schemas.microsoft.com/office/drawing/2014/main" id="{40BDE2B4-A1F2-4BE7-A7A3-46FECE579CBD}"/>
              </a:ext>
            </a:extLst>
          </p:cNvPr>
          <p:cNvSpPr/>
          <p:nvPr/>
        </p:nvSpPr>
        <p:spPr>
          <a:xfrm>
            <a:off x="5331250" y="2775788"/>
            <a:ext cx="1529498" cy="2034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43" name="椭圆 42">
            <a:extLst>
              <a:ext uri="{FF2B5EF4-FFF2-40B4-BE49-F238E27FC236}">
                <a16:creationId xmlns:a16="http://schemas.microsoft.com/office/drawing/2014/main" id="{6602E402-4179-4F43-A756-F1B3E84C6EB7}"/>
              </a:ext>
            </a:extLst>
          </p:cNvPr>
          <p:cNvSpPr/>
          <p:nvPr/>
        </p:nvSpPr>
        <p:spPr>
          <a:xfrm>
            <a:off x="4636529" y="4120102"/>
            <a:ext cx="2918942" cy="2034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44" name="椭圆 43">
            <a:extLst>
              <a:ext uri="{FF2B5EF4-FFF2-40B4-BE49-F238E27FC236}">
                <a16:creationId xmlns:a16="http://schemas.microsoft.com/office/drawing/2014/main" id="{A0A9AF47-ADAC-4EDE-9B6E-CFFE2240C4A7}"/>
              </a:ext>
            </a:extLst>
          </p:cNvPr>
          <p:cNvSpPr/>
          <p:nvPr/>
        </p:nvSpPr>
        <p:spPr>
          <a:xfrm>
            <a:off x="3925100" y="5451274"/>
            <a:ext cx="4341800" cy="203400"/>
          </a:xfrm>
          <a:prstGeom prst="ellipse">
            <a:avLst/>
          </a:prstGeom>
          <a:solidFill>
            <a:schemeClr val="accent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46" name="文本框 45">
            <a:extLst>
              <a:ext uri="{FF2B5EF4-FFF2-40B4-BE49-F238E27FC236}">
                <a16:creationId xmlns:a16="http://schemas.microsoft.com/office/drawing/2014/main" id="{22CF98D4-209F-4E39-83D6-7DBFC0BB2799}"/>
              </a:ext>
            </a:extLst>
          </p:cNvPr>
          <p:cNvSpPr txBox="1"/>
          <p:nvPr/>
        </p:nvSpPr>
        <p:spPr>
          <a:xfrm>
            <a:off x="5749750" y="2227926"/>
            <a:ext cx="692497" cy="276999"/>
          </a:xfrm>
          <a:prstGeom prst="rect">
            <a:avLst/>
          </a:prstGeom>
          <a:noFill/>
        </p:spPr>
        <p:txBody>
          <a:bodyPr wrap="none" lIns="0" tIns="0" rIns="0" bIns="0" rtlCol="0" anchor="t">
            <a:spAutoFit/>
          </a:bodyPr>
          <a:lstStyle/>
          <a:p>
            <a:pPr algn="l"/>
            <a:r>
              <a:rPr lang="zh-CN" altLang="en-US" dirty="0">
                <a:solidFill>
                  <a:schemeClr val="bg1"/>
                </a:solidFill>
              </a:rPr>
              <a:t>关键词</a:t>
            </a:r>
          </a:p>
        </p:txBody>
      </p:sp>
      <p:sp>
        <p:nvSpPr>
          <p:cNvPr id="47" name="文本框 46">
            <a:extLst>
              <a:ext uri="{FF2B5EF4-FFF2-40B4-BE49-F238E27FC236}">
                <a16:creationId xmlns:a16="http://schemas.microsoft.com/office/drawing/2014/main" id="{58B90186-6E7E-4805-B97B-B24400C46973}"/>
              </a:ext>
            </a:extLst>
          </p:cNvPr>
          <p:cNvSpPr txBox="1"/>
          <p:nvPr/>
        </p:nvSpPr>
        <p:spPr>
          <a:xfrm>
            <a:off x="5749750" y="3485226"/>
            <a:ext cx="692497" cy="276999"/>
          </a:xfrm>
          <a:prstGeom prst="rect">
            <a:avLst/>
          </a:prstGeom>
          <a:noFill/>
        </p:spPr>
        <p:txBody>
          <a:bodyPr wrap="none" lIns="0" tIns="0" rIns="0" bIns="0" rtlCol="0" anchor="t">
            <a:spAutoFit/>
          </a:bodyPr>
          <a:lstStyle/>
          <a:p>
            <a:pPr algn="l"/>
            <a:r>
              <a:rPr lang="zh-CN" altLang="en-US" dirty="0">
                <a:solidFill>
                  <a:schemeClr val="bg1"/>
                </a:solidFill>
              </a:rPr>
              <a:t>关键词</a:t>
            </a:r>
          </a:p>
        </p:txBody>
      </p:sp>
      <p:sp>
        <p:nvSpPr>
          <p:cNvPr id="48" name="文本框 47">
            <a:extLst>
              <a:ext uri="{FF2B5EF4-FFF2-40B4-BE49-F238E27FC236}">
                <a16:creationId xmlns:a16="http://schemas.microsoft.com/office/drawing/2014/main" id="{22F871FF-0D43-48DB-9433-8C96616DDF75}"/>
              </a:ext>
            </a:extLst>
          </p:cNvPr>
          <p:cNvSpPr txBox="1"/>
          <p:nvPr/>
        </p:nvSpPr>
        <p:spPr>
          <a:xfrm>
            <a:off x="5749750" y="4902546"/>
            <a:ext cx="692497" cy="276999"/>
          </a:xfrm>
          <a:prstGeom prst="rect">
            <a:avLst/>
          </a:prstGeom>
          <a:noFill/>
        </p:spPr>
        <p:txBody>
          <a:bodyPr wrap="none" lIns="0" tIns="0" rIns="0" bIns="0" rtlCol="0" anchor="t">
            <a:spAutoFit/>
          </a:bodyPr>
          <a:lstStyle/>
          <a:p>
            <a:pPr algn="l"/>
            <a:r>
              <a:rPr lang="zh-CN" altLang="en-US" dirty="0">
                <a:solidFill>
                  <a:schemeClr val="bg1"/>
                </a:solidFill>
              </a:rPr>
              <a:t>关键词</a:t>
            </a:r>
          </a:p>
        </p:txBody>
      </p:sp>
      <p:cxnSp>
        <p:nvCxnSpPr>
          <p:cNvPr id="10" name="直接箭头连接符 9">
            <a:extLst>
              <a:ext uri="{FF2B5EF4-FFF2-40B4-BE49-F238E27FC236}">
                <a16:creationId xmlns:a16="http://schemas.microsoft.com/office/drawing/2014/main" id="{F78FBB02-B1E9-4E11-B443-4F339D3C2EE6}"/>
              </a:ext>
            </a:extLst>
          </p:cNvPr>
          <p:cNvCxnSpPr>
            <a:stCxn id="4" idx="6"/>
          </p:cNvCxnSpPr>
          <p:nvPr/>
        </p:nvCxnSpPr>
        <p:spPr>
          <a:xfrm>
            <a:off x="6860748" y="2877488"/>
            <a:ext cx="3090972" cy="0"/>
          </a:xfrm>
          <a:prstGeom prst="straightConnector1">
            <a:avLst/>
          </a:prstGeom>
          <a:ln w="12700">
            <a:tailEnd type="triangle"/>
          </a:ln>
        </p:spPr>
        <p:style>
          <a:lnRef idx="1">
            <a:schemeClr val="accent1"/>
          </a:lnRef>
          <a:fillRef idx="0">
            <a:schemeClr val="accent1"/>
          </a:fillRef>
          <a:effectRef idx="0">
            <a:schemeClr val="accent1"/>
          </a:effectRef>
          <a:fontRef idx="minor">
            <a:schemeClr val="tx1"/>
          </a:fontRef>
        </p:style>
      </p:cxnSp>
      <p:sp>
        <p:nvSpPr>
          <p:cNvPr id="51" name="文本框 50">
            <a:extLst>
              <a:ext uri="{FF2B5EF4-FFF2-40B4-BE49-F238E27FC236}">
                <a16:creationId xmlns:a16="http://schemas.microsoft.com/office/drawing/2014/main" id="{17E473B6-5CC7-4FF7-9368-00F46BAD47EB}"/>
              </a:ext>
            </a:extLst>
          </p:cNvPr>
          <p:cNvSpPr txBox="1"/>
          <p:nvPr/>
        </p:nvSpPr>
        <p:spPr>
          <a:xfrm>
            <a:off x="7486277" y="2060992"/>
            <a:ext cx="1154162" cy="276999"/>
          </a:xfrm>
          <a:prstGeom prst="rect">
            <a:avLst/>
          </a:prstGeom>
          <a:noFill/>
        </p:spPr>
        <p:txBody>
          <a:bodyPr wrap="none" lIns="0" tIns="0" rIns="0" bIns="0" rtlCol="0" anchor="t">
            <a:spAutoFit/>
          </a:bodyPr>
          <a:lstStyle/>
          <a:p>
            <a:r>
              <a:rPr lang="zh-CN" altLang="en-US" dirty="0">
                <a:solidFill>
                  <a:schemeClr val="accent1"/>
                </a:solidFill>
                <a:latin typeface="+mj-ea"/>
                <a:ea typeface="+mj-ea"/>
              </a:rPr>
              <a:t>关键词标题</a:t>
            </a:r>
          </a:p>
        </p:txBody>
      </p:sp>
      <p:sp>
        <p:nvSpPr>
          <p:cNvPr id="52" name="文本框 51">
            <a:extLst>
              <a:ext uri="{FF2B5EF4-FFF2-40B4-BE49-F238E27FC236}">
                <a16:creationId xmlns:a16="http://schemas.microsoft.com/office/drawing/2014/main" id="{FCA23566-D613-4A90-B0EF-593BB5B59C49}"/>
              </a:ext>
            </a:extLst>
          </p:cNvPr>
          <p:cNvSpPr txBox="1"/>
          <p:nvPr/>
        </p:nvSpPr>
        <p:spPr>
          <a:xfrm>
            <a:off x="7486277" y="2337991"/>
            <a:ext cx="2465443" cy="387286"/>
          </a:xfrm>
          <a:prstGeom prst="rect">
            <a:avLst/>
          </a:prstGeom>
          <a:noFill/>
        </p:spPr>
        <p:txBody>
          <a:bodyPr wrap="square" lIns="0" tIns="0" rIns="0" bIns="0" rtlCol="0" anchor="t">
            <a:spAutoFit/>
          </a:bodyPr>
          <a:lstStyle/>
          <a:p>
            <a:pPr>
              <a:lnSpc>
                <a:spcPct val="130000"/>
              </a:lnSpc>
            </a:pPr>
            <a:r>
              <a:rPr lang="en-US" altLang="zh-CN" sz="1000" b="0" dirty="0">
                <a:solidFill>
                  <a:schemeClr val="tx1">
                    <a:lumMod val="75000"/>
                    <a:lumOff val="25000"/>
                  </a:schemeClr>
                </a:solidFill>
                <a:effectLst/>
                <a:latin typeface="+mn-ea"/>
              </a:rPr>
              <a:t>Lorem ipsum dolor sit amet, consectetur adipisicing elit, sed do eiusmod tempor</a:t>
            </a:r>
            <a:endParaRPr lang="zh-CN" altLang="en-US" sz="1000" b="0" dirty="0">
              <a:solidFill>
                <a:schemeClr val="tx1">
                  <a:lumMod val="75000"/>
                  <a:lumOff val="25000"/>
                </a:schemeClr>
              </a:solidFill>
              <a:effectLst/>
              <a:latin typeface="+mn-ea"/>
            </a:endParaRPr>
          </a:p>
        </p:txBody>
      </p:sp>
      <p:cxnSp>
        <p:nvCxnSpPr>
          <p:cNvPr id="54" name="直接箭头连接符 53">
            <a:extLst>
              <a:ext uri="{FF2B5EF4-FFF2-40B4-BE49-F238E27FC236}">
                <a16:creationId xmlns:a16="http://schemas.microsoft.com/office/drawing/2014/main" id="{85E96E73-30E4-4E53-9BD8-371C90608616}"/>
              </a:ext>
            </a:extLst>
          </p:cNvPr>
          <p:cNvCxnSpPr>
            <a:cxnSpLocks/>
          </p:cNvCxnSpPr>
          <p:nvPr/>
        </p:nvCxnSpPr>
        <p:spPr>
          <a:xfrm flipH="1">
            <a:off x="1564848" y="4218608"/>
            <a:ext cx="3090972" cy="0"/>
          </a:xfrm>
          <a:prstGeom prst="straightConnector1">
            <a:avLst/>
          </a:prstGeom>
          <a:ln w="12700">
            <a:tailEnd type="triangle"/>
          </a:ln>
        </p:spPr>
        <p:style>
          <a:lnRef idx="1">
            <a:schemeClr val="accent1"/>
          </a:lnRef>
          <a:fillRef idx="0">
            <a:schemeClr val="accent1"/>
          </a:fillRef>
          <a:effectRef idx="0">
            <a:schemeClr val="accent1"/>
          </a:effectRef>
          <a:fontRef idx="minor">
            <a:schemeClr val="tx1"/>
          </a:fontRef>
        </p:style>
      </p:cxnSp>
      <p:sp>
        <p:nvSpPr>
          <p:cNvPr id="55" name="文本框 54">
            <a:extLst>
              <a:ext uri="{FF2B5EF4-FFF2-40B4-BE49-F238E27FC236}">
                <a16:creationId xmlns:a16="http://schemas.microsoft.com/office/drawing/2014/main" id="{6CFADE2C-7AA9-4422-AFF8-A7C16B25B1BB}"/>
              </a:ext>
            </a:extLst>
          </p:cNvPr>
          <p:cNvSpPr txBox="1"/>
          <p:nvPr/>
        </p:nvSpPr>
        <p:spPr>
          <a:xfrm>
            <a:off x="1564848" y="3449430"/>
            <a:ext cx="1154162" cy="276999"/>
          </a:xfrm>
          <a:prstGeom prst="rect">
            <a:avLst/>
          </a:prstGeom>
          <a:noFill/>
        </p:spPr>
        <p:txBody>
          <a:bodyPr wrap="none" lIns="0" tIns="0" rIns="0" bIns="0" rtlCol="0" anchor="t">
            <a:spAutoFit/>
          </a:bodyPr>
          <a:lstStyle/>
          <a:p>
            <a:r>
              <a:rPr lang="zh-CN" altLang="en-US" dirty="0">
                <a:solidFill>
                  <a:schemeClr val="accent1"/>
                </a:solidFill>
                <a:latin typeface="+mj-ea"/>
                <a:ea typeface="+mj-ea"/>
              </a:rPr>
              <a:t>关键词标题</a:t>
            </a:r>
          </a:p>
        </p:txBody>
      </p:sp>
      <p:sp>
        <p:nvSpPr>
          <p:cNvPr id="56" name="文本框 55">
            <a:extLst>
              <a:ext uri="{FF2B5EF4-FFF2-40B4-BE49-F238E27FC236}">
                <a16:creationId xmlns:a16="http://schemas.microsoft.com/office/drawing/2014/main" id="{C7112F21-B554-425E-8D22-F7FB22D0A9B0}"/>
              </a:ext>
            </a:extLst>
          </p:cNvPr>
          <p:cNvSpPr txBox="1"/>
          <p:nvPr/>
        </p:nvSpPr>
        <p:spPr>
          <a:xfrm>
            <a:off x="1564848" y="3726429"/>
            <a:ext cx="2465443" cy="387286"/>
          </a:xfrm>
          <a:prstGeom prst="rect">
            <a:avLst/>
          </a:prstGeom>
          <a:noFill/>
        </p:spPr>
        <p:txBody>
          <a:bodyPr wrap="square" lIns="0" tIns="0" rIns="0" bIns="0" rtlCol="0" anchor="t">
            <a:spAutoFit/>
          </a:bodyPr>
          <a:lstStyle/>
          <a:p>
            <a:pPr>
              <a:lnSpc>
                <a:spcPct val="130000"/>
              </a:lnSpc>
            </a:pPr>
            <a:r>
              <a:rPr lang="en-US" altLang="zh-CN" sz="1000" b="0" dirty="0">
                <a:solidFill>
                  <a:schemeClr val="tx1">
                    <a:lumMod val="75000"/>
                    <a:lumOff val="25000"/>
                  </a:schemeClr>
                </a:solidFill>
                <a:effectLst/>
                <a:latin typeface="+mn-ea"/>
              </a:rPr>
              <a:t>Lorem ipsum dolor sit amet, consectetur adipisicing elit, sed do eiusmod tempor</a:t>
            </a:r>
            <a:endParaRPr lang="zh-CN" altLang="en-US" sz="1000" b="0" dirty="0">
              <a:solidFill>
                <a:schemeClr val="tx1">
                  <a:lumMod val="75000"/>
                  <a:lumOff val="25000"/>
                </a:schemeClr>
              </a:solidFill>
              <a:effectLst/>
              <a:latin typeface="+mn-ea"/>
            </a:endParaRPr>
          </a:p>
        </p:txBody>
      </p:sp>
      <p:cxnSp>
        <p:nvCxnSpPr>
          <p:cNvPr id="58" name="直接箭头连接符 57">
            <a:extLst>
              <a:ext uri="{FF2B5EF4-FFF2-40B4-BE49-F238E27FC236}">
                <a16:creationId xmlns:a16="http://schemas.microsoft.com/office/drawing/2014/main" id="{0480F0E2-5E7B-4001-9278-273FF6AB2252}"/>
              </a:ext>
            </a:extLst>
          </p:cNvPr>
          <p:cNvCxnSpPr/>
          <p:nvPr/>
        </p:nvCxnSpPr>
        <p:spPr>
          <a:xfrm>
            <a:off x="8232348" y="5563538"/>
            <a:ext cx="3090972" cy="0"/>
          </a:xfrm>
          <a:prstGeom prst="straightConnector1">
            <a:avLst/>
          </a:prstGeom>
          <a:ln w="12700">
            <a:tailEnd type="triangle"/>
          </a:ln>
        </p:spPr>
        <p:style>
          <a:lnRef idx="1">
            <a:schemeClr val="accent1"/>
          </a:lnRef>
          <a:fillRef idx="0">
            <a:schemeClr val="accent1"/>
          </a:fillRef>
          <a:effectRef idx="0">
            <a:schemeClr val="accent1"/>
          </a:effectRef>
          <a:fontRef idx="minor">
            <a:schemeClr val="tx1"/>
          </a:fontRef>
        </p:style>
      </p:cxnSp>
      <p:sp>
        <p:nvSpPr>
          <p:cNvPr id="59" name="文本框 58">
            <a:extLst>
              <a:ext uri="{FF2B5EF4-FFF2-40B4-BE49-F238E27FC236}">
                <a16:creationId xmlns:a16="http://schemas.microsoft.com/office/drawing/2014/main" id="{FA1027CA-10FF-4F29-9FD4-14954707DEA2}"/>
              </a:ext>
            </a:extLst>
          </p:cNvPr>
          <p:cNvSpPr txBox="1"/>
          <p:nvPr/>
        </p:nvSpPr>
        <p:spPr>
          <a:xfrm>
            <a:off x="8857877" y="4747042"/>
            <a:ext cx="1154162" cy="276999"/>
          </a:xfrm>
          <a:prstGeom prst="rect">
            <a:avLst/>
          </a:prstGeom>
          <a:noFill/>
        </p:spPr>
        <p:txBody>
          <a:bodyPr wrap="none" lIns="0" tIns="0" rIns="0" bIns="0" rtlCol="0" anchor="t">
            <a:spAutoFit/>
          </a:bodyPr>
          <a:lstStyle/>
          <a:p>
            <a:r>
              <a:rPr lang="zh-CN" altLang="en-US" dirty="0">
                <a:solidFill>
                  <a:schemeClr val="accent1"/>
                </a:solidFill>
                <a:latin typeface="+mj-ea"/>
                <a:ea typeface="+mj-ea"/>
              </a:rPr>
              <a:t>关键词标题</a:t>
            </a:r>
          </a:p>
        </p:txBody>
      </p:sp>
      <p:sp>
        <p:nvSpPr>
          <p:cNvPr id="60" name="文本框 59">
            <a:extLst>
              <a:ext uri="{FF2B5EF4-FFF2-40B4-BE49-F238E27FC236}">
                <a16:creationId xmlns:a16="http://schemas.microsoft.com/office/drawing/2014/main" id="{399C8C37-78C1-4D0D-B22E-F6D03C265D84}"/>
              </a:ext>
            </a:extLst>
          </p:cNvPr>
          <p:cNvSpPr txBox="1"/>
          <p:nvPr/>
        </p:nvSpPr>
        <p:spPr>
          <a:xfrm>
            <a:off x="8857877" y="5024041"/>
            <a:ext cx="2465443" cy="387286"/>
          </a:xfrm>
          <a:prstGeom prst="rect">
            <a:avLst/>
          </a:prstGeom>
          <a:noFill/>
        </p:spPr>
        <p:txBody>
          <a:bodyPr wrap="square" lIns="0" tIns="0" rIns="0" bIns="0" rtlCol="0" anchor="t">
            <a:spAutoFit/>
          </a:bodyPr>
          <a:lstStyle/>
          <a:p>
            <a:pPr>
              <a:lnSpc>
                <a:spcPct val="130000"/>
              </a:lnSpc>
            </a:pPr>
            <a:r>
              <a:rPr lang="en-US" altLang="zh-CN" sz="1000" b="0" dirty="0">
                <a:solidFill>
                  <a:schemeClr val="tx1">
                    <a:lumMod val="75000"/>
                    <a:lumOff val="25000"/>
                  </a:schemeClr>
                </a:solidFill>
                <a:effectLst/>
                <a:latin typeface="+mn-ea"/>
              </a:rPr>
              <a:t>Lorem ipsum dolor sit amet, consectetur adipisicing elit, sed do eiusmod tempor</a:t>
            </a:r>
            <a:endParaRPr lang="zh-CN" altLang="en-US" sz="1000" b="0" dirty="0">
              <a:solidFill>
                <a:schemeClr val="tx1">
                  <a:lumMod val="75000"/>
                  <a:lumOff val="25000"/>
                </a:schemeClr>
              </a:solidFill>
              <a:effectLst/>
              <a:latin typeface="+mn-ea"/>
            </a:endParaRPr>
          </a:p>
        </p:txBody>
      </p:sp>
    </p:spTree>
    <p:extLst>
      <p:ext uri="{BB962C8B-B14F-4D97-AF65-F5344CB8AC3E}">
        <p14:creationId xmlns:p14="http://schemas.microsoft.com/office/powerpoint/2010/main" val="80894793"/>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3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32" name="组合 131">
            <a:extLst>
              <a:ext uri="{FF2B5EF4-FFF2-40B4-BE49-F238E27FC236}">
                <a16:creationId xmlns:a16="http://schemas.microsoft.com/office/drawing/2014/main" id="{9602289A-478E-4843-BE0E-D19F7FB3E0CA}"/>
              </a:ext>
            </a:extLst>
          </p:cNvPr>
          <p:cNvGrpSpPr/>
          <p:nvPr/>
        </p:nvGrpSpPr>
        <p:grpSpPr>
          <a:xfrm>
            <a:off x="1446364" y="1200150"/>
            <a:ext cx="5344962" cy="5117010"/>
            <a:chOff x="1298354" y="1325527"/>
            <a:chExt cx="5640981" cy="4866256"/>
          </a:xfrm>
        </p:grpSpPr>
        <p:sp>
          <p:nvSpPr>
            <p:cNvPr id="18" name="菱形 17">
              <a:extLst>
                <a:ext uri="{FF2B5EF4-FFF2-40B4-BE49-F238E27FC236}">
                  <a16:creationId xmlns:a16="http://schemas.microsoft.com/office/drawing/2014/main" id="{6FA48EDE-2C89-4801-A944-38321C9C9643}"/>
                </a:ext>
              </a:extLst>
            </p:cNvPr>
            <p:cNvSpPr/>
            <p:nvPr/>
          </p:nvSpPr>
          <p:spPr>
            <a:xfrm>
              <a:off x="1316990" y="3473450"/>
              <a:ext cx="5610860" cy="2718333"/>
            </a:xfrm>
            <a:prstGeom prst="diamond">
              <a:avLst/>
            </a:prstGeom>
            <a:solidFill>
              <a:schemeClr val="accent1">
                <a:lumMod val="50000"/>
                <a:lumOff val="50000"/>
                <a:alpha val="1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85" name="任意多边形: 形状 84">
              <a:extLst>
                <a:ext uri="{FF2B5EF4-FFF2-40B4-BE49-F238E27FC236}">
                  <a16:creationId xmlns:a16="http://schemas.microsoft.com/office/drawing/2014/main" id="{7CAF2ABC-332A-499C-8289-ADC0DBF72012}"/>
                </a:ext>
              </a:extLst>
            </p:cNvPr>
            <p:cNvSpPr/>
            <p:nvPr/>
          </p:nvSpPr>
          <p:spPr>
            <a:xfrm>
              <a:off x="3268998" y="1325527"/>
              <a:ext cx="1697445" cy="1460333"/>
            </a:xfrm>
            <a:custGeom>
              <a:avLst/>
              <a:gdLst>
                <a:gd name="connsiteX0" fmla="*/ 852365 w 1697445"/>
                <a:gd name="connsiteY0" fmla="*/ 0 h 1466606"/>
                <a:gd name="connsiteX1" fmla="*/ 852366 w 1697445"/>
                <a:gd name="connsiteY1" fmla="*/ 6273 h 1466606"/>
                <a:gd name="connsiteX2" fmla="*/ 1697445 w 1697445"/>
                <a:gd name="connsiteY2" fmla="*/ 1058318 h 1466606"/>
                <a:gd name="connsiteX3" fmla="*/ 845803 w 1697445"/>
                <a:gd name="connsiteY3" fmla="*/ 1466606 h 1466606"/>
                <a:gd name="connsiteX4" fmla="*/ 0 w 1697445"/>
                <a:gd name="connsiteY4" fmla="*/ 1061117 h 1466606"/>
                <a:gd name="connsiteX5" fmla="*/ 847327 w 1697445"/>
                <a:gd name="connsiteY5" fmla="*/ 6273 h 1466606"/>
                <a:gd name="connsiteX6" fmla="*/ 847327 w 1697445"/>
                <a:gd name="connsiteY6" fmla="*/ 2 h 1466606"/>
                <a:gd name="connsiteX7" fmla="*/ 849846 w 1697445"/>
                <a:gd name="connsiteY7" fmla="*/ 3137 h 1466606"/>
                <a:gd name="connsiteX8" fmla="*/ 852365 w 1697445"/>
                <a:gd name="connsiteY8" fmla="*/ 0 h 1466606"/>
                <a:gd name="connsiteX0" fmla="*/ 849846 w 1697445"/>
                <a:gd name="connsiteY0" fmla="*/ 3135 h 1466604"/>
                <a:gd name="connsiteX1" fmla="*/ 852366 w 1697445"/>
                <a:gd name="connsiteY1" fmla="*/ 6271 h 1466604"/>
                <a:gd name="connsiteX2" fmla="*/ 1697445 w 1697445"/>
                <a:gd name="connsiteY2" fmla="*/ 1058316 h 1466604"/>
                <a:gd name="connsiteX3" fmla="*/ 845803 w 1697445"/>
                <a:gd name="connsiteY3" fmla="*/ 1466604 h 1466604"/>
                <a:gd name="connsiteX4" fmla="*/ 0 w 1697445"/>
                <a:gd name="connsiteY4" fmla="*/ 1061115 h 1466604"/>
                <a:gd name="connsiteX5" fmla="*/ 847327 w 1697445"/>
                <a:gd name="connsiteY5" fmla="*/ 6271 h 1466604"/>
                <a:gd name="connsiteX6" fmla="*/ 847327 w 1697445"/>
                <a:gd name="connsiteY6" fmla="*/ 0 h 1466604"/>
                <a:gd name="connsiteX7" fmla="*/ 849846 w 1697445"/>
                <a:gd name="connsiteY7" fmla="*/ 3135 h 1466604"/>
                <a:gd name="connsiteX0" fmla="*/ 847327 w 1697445"/>
                <a:gd name="connsiteY0" fmla="*/ 0 h 1466604"/>
                <a:gd name="connsiteX1" fmla="*/ 852366 w 1697445"/>
                <a:gd name="connsiteY1" fmla="*/ 6271 h 1466604"/>
                <a:gd name="connsiteX2" fmla="*/ 1697445 w 1697445"/>
                <a:gd name="connsiteY2" fmla="*/ 1058316 h 1466604"/>
                <a:gd name="connsiteX3" fmla="*/ 845803 w 1697445"/>
                <a:gd name="connsiteY3" fmla="*/ 1466604 h 1466604"/>
                <a:gd name="connsiteX4" fmla="*/ 0 w 1697445"/>
                <a:gd name="connsiteY4" fmla="*/ 1061115 h 1466604"/>
                <a:gd name="connsiteX5" fmla="*/ 847327 w 1697445"/>
                <a:gd name="connsiteY5" fmla="*/ 6271 h 1466604"/>
                <a:gd name="connsiteX6" fmla="*/ 847327 w 1697445"/>
                <a:gd name="connsiteY6" fmla="*/ 0 h 1466604"/>
                <a:gd name="connsiteX0" fmla="*/ 847327 w 1697445"/>
                <a:gd name="connsiteY0" fmla="*/ 0 h 1460333"/>
                <a:gd name="connsiteX1" fmla="*/ 852366 w 1697445"/>
                <a:gd name="connsiteY1" fmla="*/ 0 h 1460333"/>
                <a:gd name="connsiteX2" fmla="*/ 1697445 w 1697445"/>
                <a:gd name="connsiteY2" fmla="*/ 1052045 h 1460333"/>
                <a:gd name="connsiteX3" fmla="*/ 845803 w 1697445"/>
                <a:gd name="connsiteY3" fmla="*/ 1460333 h 1460333"/>
                <a:gd name="connsiteX4" fmla="*/ 0 w 1697445"/>
                <a:gd name="connsiteY4" fmla="*/ 1054844 h 1460333"/>
                <a:gd name="connsiteX5" fmla="*/ 847327 w 1697445"/>
                <a:gd name="connsiteY5" fmla="*/ 0 h 1460333"/>
                <a:gd name="connsiteX0" fmla="*/ 0 w 1697445"/>
                <a:gd name="connsiteY0" fmla="*/ 1054844 h 1460333"/>
                <a:gd name="connsiteX1" fmla="*/ 852366 w 1697445"/>
                <a:gd name="connsiteY1" fmla="*/ 0 h 1460333"/>
                <a:gd name="connsiteX2" fmla="*/ 1697445 w 1697445"/>
                <a:gd name="connsiteY2" fmla="*/ 1052045 h 1460333"/>
                <a:gd name="connsiteX3" fmla="*/ 845803 w 1697445"/>
                <a:gd name="connsiteY3" fmla="*/ 1460333 h 1460333"/>
                <a:gd name="connsiteX4" fmla="*/ 0 w 1697445"/>
                <a:gd name="connsiteY4" fmla="*/ 1054844 h 14603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97445" h="1460333">
                  <a:moveTo>
                    <a:pt x="0" y="1054844"/>
                  </a:moveTo>
                  <a:lnTo>
                    <a:pt x="852366" y="0"/>
                  </a:lnTo>
                  <a:lnTo>
                    <a:pt x="1697445" y="1052045"/>
                  </a:lnTo>
                  <a:lnTo>
                    <a:pt x="845803" y="1460333"/>
                  </a:lnTo>
                  <a:lnTo>
                    <a:pt x="0" y="1054844"/>
                  </a:lnTo>
                  <a:close/>
                </a:path>
              </a:pathLst>
            </a:custGeom>
            <a:noFill/>
            <a:ln>
              <a:solidFill>
                <a:schemeClr val="accent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l"/>
              <a:endParaRPr lang="zh-CN" altLang="en-US" sz="1600">
                <a:solidFill>
                  <a:schemeClr val="bg1"/>
                </a:solidFill>
                <a:latin typeface="+mj-ea"/>
                <a:ea typeface="+mj-ea"/>
              </a:endParaRPr>
            </a:p>
          </p:txBody>
        </p:sp>
        <p:sp>
          <p:nvSpPr>
            <p:cNvPr id="82" name="任意多边形: 形状 81">
              <a:extLst>
                <a:ext uri="{FF2B5EF4-FFF2-40B4-BE49-F238E27FC236}">
                  <a16:creationId xmlns:a16="http://schemas.microsoft.com/office/drawing/2014/main" id="{249E2A7D-894B-4ED9-BD27-A2EFC317E831}"/>
                </a:ext>
              </a:extLst>
            </p:cNvPr>
            <p:cNvSpPr/>
            <p:nvPr/>
          </p:nvSpPr>
          <p:spPr>
            <a:xfrm>
              <a:off x="2652103" y="2487600"/>
              <a:ext cx="2931235" cy="1361984"/>
            </a:xfrm>
            <a:custGeom>
              <a:avLst/>
              <a:gdLst>
                <a:gd name="connsiteX0" fmla="*/ 2402723 w 2931235"/>
                <a:gd name="connsiteY0" fmla="*/ 0 h 1361984"/>
                <a:gd name="connsiteX1" fmla="*/ 2931235 w 2931235"/>
                <a:gd name="connsiteY1" fmla="*/ 657948 h 1361984"/>
                <a:gd name="connsiteX2" fmla="*/ 1462698 w 2931235"/>
                <a:gd name="connsiteY2" fmla="*/ 1361984 h 1361984"/>
                <a:gd name="connsiteX3" fmla="*/ 0 w 2931235"/>
                <a:gd name="connsiteY3" fmla="*/ 660747 h 1361984"/>
                <a:gd name="connsiteX4" fmla="*/ 528512 w 2931235"/>
                <a:gd name="connsiteY4" fmla="*/ 2799 h 1361984"/>
                <a:gd name="connsiteX5" fmla="*/ 1462698 w 2931235"/>
                <a:gd name="connsiteY5" fmla="*/ 450660 h 1361984"/>
                <a:gd name="connsiteX6" fmla="*/ 2402723 w 2931235"/>
                <a:gd name="connsiteY6" fmla="*/ 0 h 1361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31235" h="1361984">
                  <a:moveTo>
                    <a:pt x="2402723" y="0"/>
                  </a:moveTo>
                  <a:lnTo>
                    <a:pt x="2931235" y="657948"/>
                  </a:lnTo>
                  <a:lnTo>
                    <a:pt x="1462698" y="1361984"/>
                  </a:lnTo>
                  <a:lnTo>
                    <a:pt x="0" y="660747"/>
                  </a:lnTo>
                  <a:lnTo>
                    <a:pt x="528512" y="2799"/>
                  </a:lnTo>
                  <a:lnTo>
                    <a:pt x="1462698" y="450660"/>
                  </a:lnTo>
                  <a:lnTo>
                    <a:pt x="2402723" y="0"/>
                  </a:lnTo>
                  <a:close/>
                </a:path>
              </a:pathLst>
            </a:custGeom>
            <a:noFill/>
            <a:ln>
              <a:solidFill>
                <a:schemeClr val="accent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l"/>
              <a:endParaRPr lang="zh-CN" altLang="en-US" sz="1600">
                <a:solidFill>
                  <a:schemeClr val="bg1"/>
                </a:solidFill>
                <a:latin typeface="+mj-ea"/>
                <a:ea typeface="+mj-ea"/>
              </a:endParaRPr>
            </a:p>
          </p:txBody>
        </p:sp>
        <p:sp>
          <p:nvSpPr>
            <p:cNvPr id="79" name="任意多边形: 形状 78">
              <a:extLst>
                <a:ext uri="{FF2B5EF4-FFF2-40B4-BE49-F238E27FC236}">
                  <a16:creationId xmlns:a16="http://schemas.microsoft.com/office/drawing/2014/main" id="{ED179518-50D7-436A-8281-0701B4B0A624}"/>
                </a:ext>
              </a:extLst>
            </p:cNvPr>
            <p:cNvSpPr/>
            <p:nvPr/>
          </p:nvSpPr>
          <p:spPr>
            <a:xfrm>
              <a:off x="2035207" y="3255578"/>
              <a:ext cx="4165024" cy="1657731"/>
            </a:xfrm>
            <a:custGeom>
              <a:avLst/>
              <a:gdLst>
                <a:gd name="connsiteX0" fmla="*/ 3636512 w 4165024"/>
                <a:gd name="connsiteY0" fmla="*/ 0 h 1657731"/>
                <a:gd name="connsiteX1" fmla="*/ 4165024 w 4165024"/>
                <a:gd name="connsiteY1" fmla="*/ 657948 h 1657731"/>
                <a:gd name="connsiteX2" fmla="*/ 2079593 w 4165024"/>
                <a:gd name="connsiteY2" fmla="*/ 1657731 h 1657731"/>
                <a:gd name="connsiteX3" fmla="*/ 0 w 4165024"/>
                <a:gd name="connsiteY3" fmla="*/ 660747 h 1657731"/>
                <a:gd name="connsiteX4" fmla="*/ 528513 w 4165024"/>
                <a:gd name="connsiteY4" fmla="*/ 2799 h 1657731"/>
                <a:gd name="connsiteX5" fmla="*/ 2079593 w 4165024"/>
                <a:gd name="connsiteY5" fmla="*/ 746407 h 1657731"/>
                <a:gd name="connsiteX6" fmla="*/ 3636512 w 4165024"/>
                <a:gd name="connsiteY6" fmla="*/ 0 h 16577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65024" h="1657731">
                  <a:moveTo>
                    <a:pt x="3636512" y="0"/>
                  </a:moveTo>
                  <a:lnTo>
                    <a:pt x="4165024" y="657948"/>
                  </a:lnTo>
                  <a:lnTo>
                    <a:pt x="2079593" y="1657731"/>
                  </a:lnTo>
                  <a:lnTo>
                    <a:pt x="0" y="660747"/>
                  </a:lnTo>
                  <a:lnTo>
                    <a:pt x="528513" y="2799"/>
                  </a:lnTo>
                  <a:lnTo>
                    <a:pt x="2079593" y="746407"/>
                  </a:lnTo>
                  <a:lnTo>
                    <a:pt x="3636512" y="0"/>
                  </a:lnTo>
                  <a:close/>
                </a:path>
              </a:pathLst>
            </a:custGeom>
            <a:noFill/>
            <a:ln>
              <a:solidFill>
                <a:schemeClr val="accent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l"/>
              <a:endParaRPr lang="zh-CN" altLang="en-US" sz="1600">
                <a:solidFill>
                  <a:schemeClr val="bg1"/>
                </a:solidFill>
                <a:latin typeface="+mj-ea"/>
                <a:ea typeface="+mj-ea"/>
              </a:endParaRPr>
            </a:p>
          </p:txBody>
        </p:sp>
        <p:sp>
          <p:nvSpPr>
            <p:cNvPr id="78" name="任意多边形: 形状 77">
              <a:extLst>
                <a:ext uri="{FF2B5EF4-FFF2-40B4-BE49-F238E27FC236}">
                  <a16:creationId xmlns:a16="http://schemas.microsoft.com/office/drawing/2014/main" id="{513426D0-9DC9-42A9-BB93-8EAE0D6C76BF}"/>
                </a:ext>
              </a:extLst>
            </p:cNvPr>
            <p:cNvSpPr/>
            <p:nvPr/>
          </p:nvSpPr>
          <p:spPr>
            <a:xfrm>
              <a:off x="1298354" y="4023553"/>
              <a:ext cx="5640981" cy="2168230"/>
            </a:xfrm>
            <a:custGeom>
              <a:avLst/>
              <a:gdLst>
                <a:gd name="connsiteX0" fmla="*/ 4990261 w 5640981"/>
                <a:gd name="connsiteY0" fmla="*/ 0 h 2168231"/>
                <a:gd name="connsiteX1" fmla="*/ 5640981 w 5640981"/>
                <a:gd name="connsiteY1" fmla="*/ 810087 h 2168231"/>
                <a:gd name="connsiteX2" fmla="*/ 2823010 w 5640981"/>
                <a:gd name="connsiteY2" fmla="*/ 2165807 h 2168231"/>
                <a:gd name="connsiteX3" fmla="*/ 2823009 w 5640981"/>
                <a:gd name="connsiteY3" fmla="*/ 2168230 h 2168231"/>
                <a:gd name="connsiteX4" fmla="*/ 2820491 w 5640981"/>
                <a:gd name="connsiteY4" fmla="*/ 2167019 h 2168231"/>
                <a:gd name="connsiteX5" fmla="*/ 2817972 w 5640981"/>
                <a:gd name="connsiteY5" fmla="*/ 2168231 h 2168231"/>
                <a:gd name="connsiteX6" fmla="*/ 2817971 w 5640981"/>
                <a:gd name="connsiteY6" fmla="*/ 2165806 h 2168231"/>
                <a:gd name="connsiteX7" fmla="*/ 0 w 5640981"/>
                <a:gd name="connsiteY7" fmla="*/ 810086 h 2168231"/>
                <a:gd name="connsiteX8" fmla="*/ 648472 w 5640981"/>
                <a:gd name="connsiteY8" fmla="*/ 2799 h 2168231"/>
                <a:gd name="connsiteX9" fmla="*/ 2816447 w 5640981"/>
                <a:gd name="connsiteY9" fmla="*/ 1042155 h 2168231"/>
                <a:gd name="connsiteX10" fmla="*/ 4990261 w 5640981"/>
                <a:gd name="connsiteY10" fmla="*/ 0 h 2168231"/>
                <a:gd name="connsiteX0" fmla="*/ 4990261 w 5640981"/>
                <a:gd name="connsiteY0" fmla="*/ 0 h 2168231"/>
                <a:gd name="connsiteX1" fmla="*/ 5640981 w 5640981"/>
                <a:gd name="connsiteY1" fmla="*/ 810087 h 2168231"/>
                <a:gd name="connsiteX2" fmla="*/ 2823010 w 5640981"/>
                <a:gd name="connsiteY2" fmla="*/ 2165807 h 2168231"/>
                <a:gd name="connsiteX3" fmla="*/ 2823009 w 5640981"/>
                <a:gd name="connsiteY3" fmla="*/ 2168230 h 2168231"/>
                <a:gd name="connsiteX4" fmla="*/ 2820491 w 5640981"/>
                <a:gd name="connsiteY4" fmla="*/ 2167019 h 2168231"/>
                <a:gd name="connsiteX5" fmla="*/ 2817972 w 5640981"/>
                <a:gd name="connsiteY5" fmla="*/ 2168231 h 2168231"/>
                <a:gd name="connsiteX6" fmla="*/ 0 w 5640981"/>
                <a:gd name="connsiteY6" fmla="*/ 810086 h 2168231"/>
                <a:gd name="connsiteX7" fmla="*/ 648472 w 5640981"/>
                <a:gd name="connsiteY7" fmla="*/ 2799 h 2168231"/>
                <a:gd name="connsiteX8" fmla="*/ 2816447 w 5640981"/>
                <a:gd name="connsiteY8" fmla="*/ 1042155 h 2168231"/>
                <a:gd name="connsiteX9" fmla="*/ 4990261 w 5640981"/>
                <a:gd name="connsiteY9" fmla="*/ 0 h 2168231"/>
                <a:gd name="connsiteX0" fmla="*/ 4990261 w 5640981"/>
                <a:gd name="connsiteY0" fmla="*/ 0 h 2168230"/>
                <a:gd name="connsiteX1" fmla="*/ 5640981 w 5640981"/>
                <a:gd name="connsiteY1" fmla="*/ 810087 h 2168230"/>
                <a:gd name="connsiteX2" fmla="*/ 2823010 w 5640981"/>
                <a:gd name="connsiteY2" fmla="*/ 2165807 h 2168230"/>
                <a:gd name="connsiteX3" fmla="*/ 2823009 w 5640981"/>
                <a:gd name="connsiteY3" fmla="*/ 2168230 h 2168230"/>
                <a:gd name="connsiteX4" fmla="*/ 2820491 w 5640981"/>
                <a:gd name="connsiteY4" fmla="*/ 2167019 h 2168230"/>
                <a:gd name="connsiteX5" fmla="*/ 0 w 5640981"/>
                <a:gd name="connsiteY5" fmla="*/ 810086 h 2168230"/>
                <a:gd name="connsiteX6" fmla="*/ 648472 w 5640981"/>
                <a:gd name="connsiteY6" fmla="*/ 2799 h 2168230"/>
                <a:gd name="connsiteX7" fmla="*/ 2816447 w 5640981"/>
                <a:gd name="connsiteY7" fmla="*/ 1042155 h 2168230"/>
                <a:gd name="connsiteX8" fmla="*/ 4990261 w 5640981"/>
                <a:gd name="connsiteY8" fmla="*/ 0 h 2168230"/>
                <a:gd name="connsiteX0" fmla="*/ 4990261 w 5640981"/>
                <a:gd name="connsiteY0" fmla="*/ 0 h 2168230"/>
                <a:gd name="connsiteX1" fmla="*/ 5640981 w 5640981"/>
                <a:gd name="connsiteY1" fmla="*/ 810087 h 2168230"/>
                <a:gd name="connsiteX2" fmla="*/ 2823010 w 5640981"/>
                <a:gd name="connsiteY2" fmla="*/ 2165807 h 2168230"/>
                <a:gd name="connsiteX3" fmla="*/ 2823009 w 5640981"/>
                <a:gd name="connsiteY3" fmla="*/ 2168230 h 2168230"/>
                <a:gd name="connsiteX4" fmla="*/ 0 w 5640981"/>
                <a:gd name="connsiteY4" fmla="*/ 810086 h 2168230"/>
                <a:gd name="connsiteX5" fmla="*/ 648472 w 5640981"/>
                <a:gd name="connsiteY5" fmla="*/ 2799 h 2168230"/>
                <a:gd name="connsiteX6" fmla="*/ 2816447 w 5640981"/>
                <a:gd name="connsiteY6" fmla="*/ 1042155 h 2168230"/>
                <a:gd name="connsiteX7" fmla="*/ 4990261 w 5640981"/>
                <a:gd name="connsiteY7" fmla="*/ 0 h 2168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640981" h="2168230">
                  <a:moveTo>
                    <a:pt x="4990261" y="0"/>
                  </a:moveTo>
                  <a:lnTo>
                    <a:pt x="5640981" y="810087"/>
                  </a:lnTo>
                  <a:lnTo>
                    <a:pt x="2823010" y="2165807"/>
                  </a:lnTo>
                  <a:cubicBezTo>
                    <a:pt x="2823010" y="2166615"/>
                    <a:pt x="2823009" y="2167422"/>
                    <a:pt x="2823009" y="2168230"/>
                  </a:cubicBezTo>
                  <a:lnTo>
                    <a:pt x="0" y="810086"/>
                  </a:lnTo>
                  <a:lnTo>
                    <a:pt x="648472" y="2799"/>
                  </a:lnTo>
                  <a:lnTo>
                    <a:pt x="2816447" y="1042155"/>
                  </a:lnTo>
                  <a:lnTo>
                    <a:pt x="4990261" y="0"/>
                  </a:lnTo>
                  <a:close/>
                </a:path>
              </a:pathLst>
            </a:custGeom>
            <a:noFill/>
            <a:ln>
              <a:solidFill>
                <a:schemeClr val="accent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l"/>
              <a:endParaRPr lang="zh-CN" altLang="en-US" sz="1600">
                <a:solidFill>
                  <a:schemeClr val="bg1"/>
                </a:solidFill>
                <a:latin typeface="+mj-ea"/>
                <a:ea typeface="+mj-ea"/>
              </a:endParaRPr>
            </a:p>
          </p:txBody>
        </p:sp>
        <p:cxnSp>
          <p:nvCxnSpPr>
            <p:cNvPr id="15" name="直接连接符 14">
              <a:extLst>
                <a:ext uri="{FF2B5EF4-FFF2-40B4-BE49-F238E27FC236}">
                  <a16:creationId xmlns:a16="http://schemas.microsoft.com/office/drawing/2014/main" id="{D9EDFBF4-939E-4874-8601-479011A2876C}"/>
                </a:ext>
              </a:extLst>
            </p:cNvPr>
            <p:cNvCxnSpPr>
              <a:cxnSpLocks/>
              <a:stCxn id="85" idx="1"/>
              <a:endCxn id="78" idx="3"/>
            </p:cNvCxnSpPr>
            <p:nvPr/>
          </p:nvCxnSpPr>
          <p:spPr>
            <a:xfrm flipH="1">
              <a:off x="4121363" y="1325527"/>
              <a:ext cx="1" cy="4866256"/>
            </a:xfrm>
            <a:prstGeom prst="line">
              <a:avLst/>
            </a:prstGeom>
            <a:ln w="12700">
              <a:solidFill>
                <a:schemeClr val="accent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91" name="菱形 90">
              <a:extLst>
                <a:ext uri="{FF2B5EF4-FFF2-40B4-BE49-F238E27FC236}">
                  <a16:creationId xmlns:a16="http://schemas.microsoft.com/office/drawing/2014/main" id="{56ECDDEE-C2D3-4DDC-A055-0892B529E335}"/>
                </a:ext>
              </a:extLst>
            </p:cNvPr>
            <p:cNvSpPr/>
            <p:nvPr/>
          </p:nvSpPr>
          <p:spPr>
            <a:xfrm>
              <a:off x="2034540" y="2900344"/>
              <a:ext cx="4175760" cy="2023060"/>
            </a:xfrm>
            <a:prstGeom prst="diamond">
              <a:avLst/>
            </a:prstGeom>
            <a:solidFill>
              <a:schemeClr val="accent1">
                <a:lumMod val="50000"/>
                <a:lumOff val="50000"/>
                <a:alpha val="1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92" name="菱形 91">
              <a:extLst>
                <a:ext uri="{FF2B5EF4-FFF2-40B4-BE49-F238E27FC236}">
                  <a16:creationId xmlns:a16="http://schemas.microsoft.com/office/drawing/2014/main" id="{6F4E3C0B-6322-46C7-97F4-0701EFD89321}"/>
                </a:ext>
              </a:extLst>
            </p:cNvPr>
            <p:cNvSpPr/>
            <p:nvPr/>
          </p:nvSpPr>
          <p:spPr>
            <a:xfrm>
              <a:off x="2663190" y="2428623"/>
              <a:ext cx="2918460" cy="1413926"/>
            </a:xfrm>
            <a:prstGeom prst="diamond">
              <a:avLst/>
            </a:prstGeom>
            <a:solidFill>
              <a:schemeClr val="accent1">
                <a:lumMod val="50000"/>
                <a:lumOff val="50000"/>
                <a:alpha val="1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93" name="菱形 92">
              <a:extLst>
                <a:ext uri="{FF2B5EF4-FFF2-40B4-BE49-F238E27FC236}">
                  <a16:creationId xmlns:a16="http://schemas.microsoft.com/office/drawing/2014/main" id="{51A5BDDE-8C32-4920-B9C5-9CDD876A06E3}"/>
                </a:ext>
              </a:extLst>
            </p:cNvPr>
            <p:cNvSpPr/>
            <p:nvPr/>
          </p:nvSpPr>
          <p:spPr>
            <a:xfrm>
              <a:off x="3277552" y="1970740"/>
              <a:ext cx="1689736" cy="818638"/>
            </a:xfrm>
            <a:prstGeom prst="diamond">
              <a:avLst/>
            </a:prstGeom>
            <a:solidFill>
              <a:schemeClr val="accent1">
                <a:lumMod val="50000"/>
                <a:lumOff val="50000"/>
                <a:alpha val="1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grpSp>
      <p:grpSp>
        <p:nvGrpSpPr>
          <p:cNvPr id="94" name="组合 93">
            <a:extLst>
              <a:ext uri="{FF2B5EF4-FFF2-40B4-BE49-F238E27FC236}">
                <a16:creationId xmlns:a16="http://schemas.microsoft.com/office/drawing/2014/main" id="{C421633D-8090-4ACA-9218-8CC0FAD44C2E}"/>
              </a:ext>
            </a:extLst>
          </p:cNvPr>
          <p:cNvGrpSpPr/>
          <p:nvPr/>
        </p:nvGrpSpPr>
        <p:grpSpPr>
          <a:xfrm>
            <a:off x="4638675" y="1635636"/>
            <a:ext cx="6027694" cy="664285"/>
            <a:chOff x="5336667" y="2496575"/>
            <a:chExt cx="6027694" cy="664285"/>
          </a:xfrm>
        </p:grpSpPr>
        <p:cxnSp>
          <p:nvCxnSpPr>
            <p:cNvPr id="95" name="直接连接符 94">
              <a:extLst>
                <a:ext uri="{FF2B5EF4-FFF2-40B4-BE49-F238E27FC236}">
                  <a16:creationId xmlns:a16="http://schemas.microsoft.com/office/drawing/2014/main" id="{FDD659FA-CA16-44A5-82AF-54BF456D5A7D}"/>
                </a:ext>
              </a:extLst>
            </p:cNvPr>
            <p:cNvCxnSpPr>
              <a:cxnSpLocks/>
            </p:cNvCxnSpPr>
            <p:nvPr/>
          </p:nvCxnSpPr>
          <p:spPr>
            <a:xfrm>
              <a:off x="5336667" y="2631368"/>
              <a:ext cx="3356463" cy="0"/>
            </a:xfrm>
            <a:prstGeom prst="line">
              <a:avLst/>
            </a:prstGeom>
            <a:ln w="12700">
              <a:gradFill>
                <a:gsLst>
                  <a:gs pos="0">
                    <a:schemeClr val="accent1">
                      <a:alpha val="0"/>
                    </a:schemeClr>
                  </a:gs>
                  <a:gs pos="100000">
                    <a:schemeClr val="accent1"/>
                  </a:gs>
                </a:gsLst>
                <a:lin ang="0" scaled="0"/>
              </a:gradFill>
            </a:ln>
          </p:spPr>
          <p:style>
            <a:lnRef idx="1">
              <a:schemeClr val="accent1"/>
            </a:lnRef>
            <a:fillRef idx="0">
              <a:schemeClr val="accent1"/>
            </a:fillRef>
            <a:effectRef idx="0">
              <a:schemeClr val="accent1"/>
            </a:effectRef>
            <a:fontRef idx="minor">
              <a:schemeClr val="tx1"/>
            </a:fontRef>
          </p:style>
        </p:cxnSp>
        <p:sp>
          <p:nvSpPr>
            <p:cNvPr id="96" name="椭圆 95">
              <a:extLst>
                <a:ext uri="{FF2B5EF4-FFF2-40B4-BE49-F238E27FC236}">
                  <a16:creationId xmlns:a16="http://schemas.microsoft.com/office/drawing/2014/main" id="{15C28BBE-5D97-426E-A5A7-666998F79831}"/>
                </a:ext>
              </a:extLst>
            </p:cNvPr>
            <p:cNvSpPr/>
            <p:nvPr/>
          </p:nvSpPr>
          <p:spPr>
            <a:xfrm>
              <a:off x="8618586" y="2587781"/>
              <a:ext cx="87174" cy="87174"/>
            </a:xfrm>
            <a:prstGeom prst="ellipse">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97" name="文本框 96">
              <a:extLst>
                <a:ext uri="{FF2B5EF4-FFF2-40B4-BE49-F238E27FC236}">
                  <a16:creationId xmlns:a16="http://schemas.microsoft.com/office/drawing/2014/main" id="{4AF73268-3490-4F1A-847D-BEC206E191CE}"/>
                </a:ext>
              </a:extLst>
            </p:cNvPr>
            <p:cNvSpPr txBox="1"/>
            <p:nvPr/>
          </p:nvSpPr>
          <p:spPr>
            <a:xfrm>
              <a:off x="8898918" y="2496575"/>
              <a:ext cx="1154162" cy="276999"/>
            </a:xfrm>
            <a:prstGeom prst="rect">
              <a:avLst/>
            </a:prstGeom>
            <a:noFill/>
          </p:spPr>
          <p:txBody>
            <a:bodyPr wrap="none" lIns="0" tIns="0" rIns="0" bIns="0" rtlCol="0" anchor="t">
              <a:spAutoFit/>
            </a:bodyPr>
            <a:lstStyle/>
            <a:p>
              <a:r>
                <a:rPr lang="zh-CN" altLang="en-US" dirty="0">
                  <a:solidFill>
                    <a:schemeClr val="accent1"/>
                  </a:solidFill>
                  <a:latin typeface="+mj-ea"/>
                  <a:ea typeface="+mj-ea"/>
                </a:rPr>
                <a:t>关键词标题</a:t>
              </a:r>
            </a:p>
          </p:txBody>
        </p:sp>
        <p:sp>
          <p:nvSpPr>
            <p:cNvPr id="98" name="文本框 97">
              <a:extLst>
                <a:ext uri="{FF2B5EF4-FFF2-40B4-BE49-F238E27FC236}">
                  <a16:creationId xmlns:a16="http://schemas.microsoft.com/office/drawing/2014/main" id="{893CC0A0-CDAA-4AD4-BAE5-7D6E2BD3806E}"/>
                </a:ext>
              </a:extLst>
            </p:cNvPr>
            <p:cNvSpPr txBox="1"/>
            <p:nvPr/>
          </p:nvSpPr>
          <p:spPr>
            <a:xfrm>
              <a:off x="8898918" y="2773574"/>
              <a:ext cx="2465443" cy="387286"/>
            </a:xfrm>
            <a:prstGeom prst="rect">
              <a:avLst/>
            </a:prstGeom>
            <a:noFill/>
          </p:spPr>
          <p:txBody>
            <a:bodyPr wrap="square" lIns="0" tIns="0" rIns="0" bIns="0" rtlCol="0" anchor="t">
              <a:spAutoFit/>
            </a:bodyPr>
            <a:lstStyle/>
            <a:p>
              <a:pPr>
                <a:lnSpc>
                  <a:spcPct val="130000"/>
                </a:lnSpc>
              </a:pPr>
              <a:r>
                <a:rPr lang="en-US" altLang="zh-CN" sz="1000" b="0" dirty="0">
                  <a:solidFill>
                    <a:schemeClr val="tx1">
                      <a:lumMod val="75000"/>
                      <a:lumOff val="25000"/>
                    </a:schemeClr>
                  </a:solidFill>
                  <a:effectLst/>
                  <a:latin typeface="+mn-ea"/>
                </a:rPr>
                <a:t>Lorem ipsum dolor sit amet, consectetur adipisicing elit, sed do eiusmod tempor</a:t>
              </a:r>
              <a:endParaRPr lang="zh-CN" altLang="en-US" sz="1000" b="0" dirty="0">
                <a:solidFill>
                  <a:schemeClr val="tx1">
                    <a:lumMod val="75000"/>
                    <a:lumOff val="25000"/>
                  </a:schemeClr>
                </a:solidFill>
                <a:effectLst/>
                <a:latin typeface="+mn-ea"/>
              </a:endParaRPr>
            </a:p>
          </p:txBody>
        </p:sp>
      </p:grpSp>
      <p:grpSp>
        <p:nvGrpSpPr>
          <p:cNvPr id="114" name="组合 113">
            <a:extLst>
              <a:ext uri="{FF2B5EF4-FFF2-40B4-BE49-F238E27FC236}">
                <a16:creationId xmlns:a16="http://schemas.microsoft.com/office/drawing/2014/main" id="{9B418F10-B8C1-47CE-9158-0DEA4CF7C78C}"/>
              </a:ext>
            </a:extLst>
          </p:cNvPr>
          <p:cNvGrpSpPr/>
          <p:nvPr/>
        </p:nvGrpSpPr>
        <p:grpSpPr>
          <a:xfrm>
            <a:off x="5467350" y="2536800"/>
            <a:ext cx="5199019" cy="664285"/>
            <a:chOff x="6165342" y="2496575"/>
            <a:chExt cx="5199019" cy="664285"/>
          </a:xfrm>
        </p:grpSpPr>
        <p:cxnSp>
          <p:nvCxnSpPr>
            <p:cNvPr id="115" name="直接连接符 114">
              <a:extLst>
                <a:ext uri="{FF2B5EF4-FFF2-40B4-BE49-F238E27FC236}">
                  <a16:creationId xmlns:a16="http://schemas.microsoft.com/office/drawing/2014/main" id="{6A67A601-F257-42FB-8CEC-3C543F95F9F6}"/>
                </a:ext>
              </a:extLst>
            </p:cNvPr>
            <p:cNvCxnSpPr>
              <a:cxnSpLocks/>
            </p:cNvCxnSpPr>
            <p:nvPr/>
          </p:nvCxnSpPr>
          <p:spPr>
            <a:xfrm>
              <a:off x="6165342" y="2631368"/>
              <a:ext cx="2527788" cy="0"/>
            </a:xfrm>
            <a:prstGeom prst="line">
              <a:avLst/>
            </a:prstGeom>
            <a:ln w="12700">
              <a:gradFill>
                <a:gsLst>
                  <a:gs pos="0">
                    <a:schemeClr val="accent1">
                      <a:alpha val="0"/>
                    </a:schemeClr>
                  </a:gs>
                  <a:gs pos="100000">
                    <a:schemeClr val="accent1"/>
                  </a:gs>
                </a:gsLst>
                <a:lin ang="0" scaled="0"/>
              </a:gradFill>
            </a:ln>
          </p:spPr>
          <p:style>
            <a:lnRef idx="1">
              <a:schemeClr val="accent1"/>
            </a:lnRef>
            <a:fillRef idx="0">
              <a:schemeClr val="accent1"/>
            </a:fillRef>
            <a:effectRef idx="0">
              <a:schemeClr val="accent1"/>
            </a:effectRef>
            <a:fontRef idx="minor">
              <a:schemeClr val="tx1"/>
            </a:fontRef>
          </p:style>
        </p:cxnSp>
        <p:sp>
          <p:nvSpPr>
            <p:cNvPr id="116" name="椭圆 115">
              <a:extLst>
                <a:ext uri="{FF2B5EF4-FFF2-40B4-BE49-F238E27FC236}">
                  <a16:creationId xmlns:a16="http://schemas.microsoft.com/office/drawing/2014/main" id="{8CEEB660-E8EA-47B0-9F2A-D6DD2B9C818D}"/>
                </a:ext>
              </a:extLst>
            </p:cNvPr>
            <p:cNvSpPr/>
            <p:nvPr/>
          </p:nvSpPr>
          <p:spPr>
            <a:xfrm>
              <a:off x="8618586" y="2587781"/>
              <a:ext cx="87174" cy="87174"/>
            </a:xfrm>
            <a:prstGeom prst="ellipse">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117" name="文本框 116">
              <a:extLst>
                <a:ext uri="{FF2B5EF4-FFF2-40B4-BE49-F238E27FC236}">
                  <a16:creationId xmlns:a16="http://schemas.microsoft.com/office/drawing/2014/main" id="{8648B49C-7E98-494E-89C0-F0CA41A9B3A3}"/>
                </a:ext>
              </a:extLst>
            </p:cNvPr>
            <p:cNvSpPr txBox="1"/>
            <p:nvPr/>
          </p:nvSpPr>
          <p:spPr>
            <a:xfrm>
              <a:off x="8898918" y="2496575"/>
              <a:ext cx="1154162" cy="276999"/>
            </a:xfrm>
            <a:prstGeom prst="rect">
              <a:avLst/>
            </a:prstGeom>
            <a:noFill/>
          </p:spPr>
          <p:txBody>
            <a:bodyPr wrap="none" lIns="0" tIns="0" rIns="0" bIns="0" rtlCol="0" anchor="t">
              <a:spAutoFit/>
            </a:bodyPr>
            <a:lstStyle/>
            <a:p>
              <a:r>
                <a:rPr lang="zh-CN" altLang="en-US" dirty="0">
                  <a:solidFill>
                    <a:schemeClr val="accent1"/>
                  </a:solidFill>
                  <a:latin typeface="+mj-ea"/>
                  <a:ea typeface="+mj-ea"/>
                </a:rPr>
                <a:t>关键词标题</a:t>
              </a:r>
            </a:p>
          </p:txBody>
        </p:sp>
        <p:sp>
          <p:nvSpPr>
            <p:cNvPr id="118" name="文本框 117">
              <a:extLst>
                <a:ext uri="{FF2B5EF4-FFF2-40B4-BE49-F238E27FC236}">
                  <a16:creationId xmlns:a16="http://schemas.microsoft.com/office/drawing/2014/main" id="{0B551085-B74E-4C83-ABDB-5E102C4D3F00}"/>
                </a:ext>
              </a:extLst>
            </p:cNvPr>
            <p:cNvSpPr txBox="1"/>
            <p:nvPr/>
          </p:nvSpPr>
          <p:spPr>
            <a:xfrm>
              <a:off x="8898918" y="2773574"/>
              <a:ext cx="2465443" cy="387286"/>
            </a:xfrm>
            <a:prstGeom prst="rect">
              <a:avLst/>
            </a:prstGeom>
            <a:noFill/>
          </p:spPr>
          <p:txBody>
            <a:bodyPr wrap="square" lIns="0" tIns="0" rIns="0" bIns="0" rtlCol="0" anchor="t">
              <a:spAutoFit/>
            </a:bodyPr>
            <a:lstStyle/>
            <a:p>
              <a:pPr>
                <a:lnSpc>
                  <a:spcPct val="130000"/>
                </a:lnSpc>
              </a:pPr>
              <a:r>
                <a:rPr lang="en-US" altLang="zh-CN" sz="1000" b="0" dirty="0">
                  <a:solidFill>
                    <a:schemeClr val="tx1">
                      <a:lumMod val="75000"/>
                      <a:lumOff val="25000"/>
                    </a:schemeClr>
                  </a:solidFill>
                  <a:effectLst/>
                  <a:latin typeface="+mn-ea"/>
                </a:rPr>
                <a:t>Lorem ipsum dolor sit amet, consectetur adipisicing elit, sed do eiusmod tempor</a:t>
              </a:r>
              <a:endParaRPr lang="zh-CN" altLang="en-US" sz="1000" b="0" dirty="0">
                <a:solidFill>
                  <a:schemeClr val="tx1">
                    <a:lumMod val="75000"/>
                    <a:lumOff val="25000"/>
                  </a:schemeClr>
                </a:solidFill>
                <a:effectLst/>
                <a:latin typeface="+mn-ea"/>
              </a:endParaRPr>
            </a:p>
          </p:txBody>
        </p:sp>
      </p:grpSp>
      <p:grpSp>
        <p:nvGrpSpPr>
          <p:cNvPr id="119" name="组合 118">
            <a:extLst>
              <a:ext uri="{FF2B5EF4-FFF2-40B4-BE49-F238E27FC236}">
                <a16:creationId xmlns:a16="http://schemas.microsoft.com/office/drawing/2014/main" id="{530A913F-C753-4F4D-8150-5E5FA6B5A49F}"/>
              </a:ext>
            </a:extLst>
          </p:cNvPr>
          <p:cNvGrpSpPr/>
          <p:nvPr/>
        </p:nvGrpSpPr>
        <p:grpSpPr>
          <a:xfrm>
            <a:off x="6154981" y="3437964"/>
            <a:ext cx="4511388" cy="664285"/>
            <a:chOff x="6852973" y="2496575"/>
            <a:chExt cx="4511388" cy="664285"/>
          </a:xfrm>
        </p:grpSpPr>
        <p:cxnSp>
          <p:nvCxnSpPr>
            <p:cNvPr id="120" name="直接连接符 119">
              <a:extLst>
                <a:ext uri="{FF2B5EF4-FFF2-40B4-BE49-F238E27FC236}">
                  <a16:creationId xmlns:a16="http://schemas.microsoft.com/office/drawing/2014/main" id="{1DF7450F-B89E-413D-98EC-9DD8F54E0ED5}"/>
                </a:ext>
              </a:extLst>
            </p:cNvPr>
            <p:cNvCxnSpPr>
              <a:cxnSpLocks/>
            </p:cNvCxnSpPr>
            <p:nvPr/>
          </p:nvCxnSpPr>
          <p:spPr>
            <a:xfrm>
              <a:off x="6852973" y="2631368"/>
              <a:ext cx="1840157" cy="0"/>
            </a:xfrm>
            <a:prstGeom prst="line">
              <a:avLst/>
            </a:prstGeom>
            <a:ln w="12700">
              <a:gradFill>
                <a:gsLst>
                  <a:gs pos="0">
                    <a:schemeClr val="accent1">
                      <a:alpha val="0"/>
                    </a:schemeClr>
                  </a:gs>
                  <a:gs pos="100000">
                    <a:schemeClr val="accent1"/>
                  </a:gs>
                </a:gsLst>
                <a:lin ang="0" scaled="0"/>
              </a:gradFill>
            </a:ln>
          </p:spPr>
          <p:style>
            <a:lnRef idx="1">
              <a:schemeClr val="accent1"/>
            </a:lnRef>
            <a:fillRef idx="0">
              <a:schemeClr val="accent1"/>
            </a:fillRef>
            <a:effectRef idx="0">
              <a:schemeClr val="accent1"/>
            </a:effectRef>
            <a:fontRef idx="minor">
              <a:schemeClr val="tx1"/>
            </a:fontRef>
          </p:style>
        </p:cxnSp>
        <p:sp>
          <p:nvSpPr>
            <p:cNvPr id="121" name="椭圆 120">
              <a:extLst>
                <a:ext uri="{FF2B5EF4-FFF2-40B4-BE49-F238E27FC236}">
                  <a16:creationId xmlns:a16="http://schemas.microsoft.com/office/drawing/2014/main" id="{61576A4D-CD0F-4644-AB42-54F2E820B131}"/>
                </a:ext>
              </a:extLst>
            </p:cNvPr>
            <p:cNvSpPr/>
            <p:nvPr/>
          </p:nvSpPr>
          <p:spPr>
            <a:xfrm>
              <a:off x="8618586" y="2587781"/>
              <a:ext cx="87174" cy="87174"/>
            </a:xfrm>
            <a:prstGeom prst="ellipse">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122" name="文本框 121">
              <a:extLst>
                <a:ext uri="{FF2B5EF4-FFF2-40B4-BE49-F238E27FC236}">
                  <a16:creationId xmlns:a16="http://schemas.microsoft.com/office/drawing/2014/main" id="{26FB2354-356E-4C92-81B1-3F2B785F313C}"/>
                </a:ext>
              </a:extLst>
            </p:cNvPr>
            <p:cNvSpPr txBox="1"/>
            <p:nvPr/>
          </p:nvSpPr>
          <p:spPr>
            <a:xfrm>
              <a:off x="8898918" y="2496575"/>
              <a:ext cx="1154162" cy="276999"/>
            </a:xfrm>
            <a:prstGeom prst="rect">
              <a:avLst/>
            </a:prstGeom>
            <a:noFill/>
          </p:spPr>
          <p:txBody>
            <a:bodyPr wrap="none" lIns="0" tIns="0" rIns="0" bIns="0" rtlCol="0" anchor="t">
              <a:spAutoFit/>
            </a:bodyPr>
            <a:lstStyle/>
            <a:p>
              <a:r>
                <a:rPr lang="zh-CN" altLang="en-US" dirty="0">
                  <a:solidFill>
                    <a:schemeClr val="accent1"/>
                  </a:solidFill>
                  <a:latin typeface="+mj-ea"/>
                  <a:ea typeface="+mj-ea"/>
                </a:rPr>
                <a:t>关键词标题</a:t>
              </a:r>
            </a:p>
          </p:txBody>
        </p:sp>
        <p:sp>
          <p:nvSpPr>
            <p:cNvPr id="123" name="文本框 122">
              <a:extLst>
                <a:ext uri="{FF2B5EF4-FFF2-40B4-BE49-F238E27FC236}">
                  <a16:creationId xmlns:a16="http://schemas.microsoft.com/office/drawing/2014/main" id="{0DC28367-22D3-4834-BD0C-29E1733ECB32}"/>
                </a:ext>
              </a:extLst>
            </p:cNvPr>
            <p:cNvSpPr txBox="1"/>
            <p:nvPr/>
          </p:nvSpPr>
          <p:spPr>
            <a:xfrm>
              <a:off x="8898918" y="2773574"/>
              <a:ext cx="2465443" cy="387286"/>
            </a:xfrm>
            <a:prstGeom prst="rect">
              <a:avLst/>
            </a:prstGeom>
            <a:noFill/>
          </p:spPr>
          <p:txBody>
            <a:bodyPr wrap="square" lIns="0" tIns="0" rIns="0" bIns="0" rtlCol="0" anchor="t">
              <a:spAutoFit/>
            </a:bodyPr>
            <a:lstStyle/>
            <a:p>
              <a:pPr>
                <a:lnSpc>
                  <a:spcPct val="130000"/>
                </a:lnSpc>
              </a:pPr>
              <a:r>
                <a:rPr lang="en-US" altLang="zh-CN" sz="1000" b="0" dirty="0">
                  <a:solidFill>
                    <a:schemeClr val="tx1">
                      <a:lumMod val="75000"/>
                      <a:lumOff val="25000"/>
                    </a:schemeClr>
                  </a:solidFill>
                  <a:effectLst/>
                  <a:latin typeface="+mn-ea"/>
                </a:rPr>
                <a:t>Lorem ipsum dolor sit amet, consectetur adipisicing elit, sed do eiusmod tempor</a:t>
              </a:r>
              <a:endParaRPr lang="zh-CN" altLang="en-US" sz="1000" b="0" dirty="0">
                <a:solidFill>
                  <a:schemeClr val="tx1">
                    <a:lumMod val="75000"/>
                    <a:lumOff val="25000"/>
                  </a:schemeClr>
                </a:solidFill>
                <a:effectLst/>
                <a:latin typeface="+mn-ea"/>
              </a:endParaRPr>
            </a:p>
          </p:txBody>
        </p:sp>
      </p:grpSp>
      <p:grpSp>
        <p:nvGrpSpPr>
          <p:cNvPr id="124" name="组合 123">
            <a:extLst>
              <a:ext uri="{FF2B5EF4-FFF2-40B4-BE49-F238E27FC236}">
                <a16:creationId xmlns:a16="http://schemas.microsoft.com/office/drawing/2014/main" id="{1A753854-AC27-46C2-B202-EB5A975B387E}"/>
              </a:ext>
            </a:extLst>
          </p:cNvPr>
          <p:cNvGrpSpPr/>
          <p:nvPr/>
        </p:nvGrpSpPr>
        <p:grpSpPr>
          <a:xfrm>
            <a:off x="6731244" y="4339127"/>
            <a:ext cx="3913144" cy="664285"/>
            <a:chOff x="7451217" y="2496575"/>
            <a:chExt cx="3913144" cy="664285"/>
          </a:xfrm>
        </p:grpSpPr>
        <p:cxnSp>
          <p:nvCxnSpPr>
            <p:cNvPr id="125" name="直接连接符 124">
              <a:extLst>
                <a:ext uri="{FF2B5EF4-FFF2-40B4-BE49-F238E27FC236}">
                  <a16:creationId xmlns:a16="http://schemas.microsoft.com/office/drawing/2014/main" id="{2658E96E-B976-46CC-BB10-B1F77D447375}"/>
                </a:ext>
              </a:extLst>
            </p:cNvPr>
            <p:cNvCxnSpPr>
              <a:cxnSpLocks/>
            </p:cNvCxnSpPr>
            <p:nvPr/>
          </p:nvCxnSpPr>
          <p:spPr>
            <a:xfrm>
              <a:off x="7451217" y="2631368"/>
              <a:ext cx="1241913" cy="0"/>
            </a:xfrm>
            <a:prstGeom prst="line">
              <a:avLst/>
            </a:prstGeom>
            <a:ln w="12700">
              <a:gradFill>
                <a:gsLst>
                  <a:gs pos="0">
                    <a:schemeClr val="accent1">
                      <a:alpha val="0"/>
                    </a:schemeClr>
                  </a:gs>
                  <a:gs pos="100000">
                    <a:schemeClr val="accent1"/>
                  </a:gs>
                </a:gsLst>
                <a:lin ang="0" scaled="0"/>
              </a:gradFill>
            </a:ln>
          </p:spPr>
          <p:style>
            <a:lnRef idx="1">
              <a:schemeClr val="accent1"/>
            </a:lnRef>
            <a:fillRef idx="0">
              <a:schemeClr val="accent1"/>
            </a:fillRef>
            <a:effectRef idx="0">
              <a:schemeClr val="accent1"/>
            </a:effectRef>
            <a:fontRef idx="minor">
              <a:schemeClr val="tx1"/>
            </a:fontRef>
          </p:style>
        </p:cxnSp>
        <p:sp>
          <p:nvSpPr>
            <p:cNvPr id="126" name="椭圆 125">
              <a:extLst>
                <a:ext uri="{FF2B5EF4-FFF2-40B4-BE49-F238E27FC236}">
                  <a16:creationId xmlns:a16="http://schemas.microsoft.com/office/drawing/2014/main" id="{1B03B289-EBA6-4A2C-A0DE-698F45D0FCF5}"/>
                </a:ext>
              </a:extLst>
            </p:cNvPr>
            <p:cNvSpPr/>
            <p:nvPr/>
          </p:nvSpPr>
          <p:spPr>
            <a:xfrm>
              <a:off x="8618586" y="2587781"/>
              <a:ext cx="87174" cy="87174"/>
            </a:xfrm>
            <a:prstGeom prst="ellipse">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127" name="文本框 126">
              <a:extLst>
                <a:ext uri="{FF2B5EF4-FFF2-40B4-BE49-F238E27FC236}">
                  <a16:creationId xmlns:a16="http://schemas.microsoft.com/office/drawing/2014/main" id="{6005ED45-4CE3-45DD-8F61-977A54F54363}"/>
                </a:ext>
              </a:extLst>
            </p:cNvPr>
            <p:cNvSpPr txBox="1"/>
            <p:nvPr/>
          </p:nvSpPr>
          <p:spPr>
            <a:xfrm>
              <a:off x="8898918" y="2496575"/>
              <a:ext cx="1154162" cy="276999"/>
            </a:xfrm>
            <a:prstGeom prst="rect">
              <a:avLst/>
            </a:prstGeom>
            <a:noFill/>
          </p:spPr>
          <p:txBody>
            <a:bodyPr wrap="none" lIns="0" tIns="0" rIns="0" bIns="0" rtlCol="0" anchor="t">
              <a:spAutoFit/>
            </a:bodyPr>
            <a:lstStyle/>
            <a:p>
              <a:r>
                <a:rPr lang="zh-CN" altLang="en-US" dirty="0">
                  <a:solidFill>
                    <a:schemeClr val="accent1"/>
                  </a:solidFill>
                  <a:latin typeface="+mj-ea"/>
                  <a:ea typeface="+mj-ea"/>
                </a:rPr>
                <a:t>关键词标题</a:t>
              </a:r>
            </a:p>
          </p:txBody>
        </p:sp>
        <p:sp>
          <p:nvSpPr>
            <p:cNvPr id="128" name="文本框 127">
              <a:extLst>
                <a:ext uri="{FF2B5EF4-FFF2-40B4-BE49-F238E27FC236}">
                  <a16:creationId xmlns:a16="http://schemas.microsoft.com/office/drawing/2014/main" id="{F1C5EFAC-9FF1-421A-B6AE-E4C9AFEF7906}"/>
                </a:ext>
              </a:extLst>
            </p:cNvPr>
            <p:cNvSpPr txBox="1"/>
            <p:nvPr/>
          </p:nvSpPr>
          <p:spPr>
            <a:xfrm>
              <a:off x="8898918" y="2773574"/>
              <a:ext cx="2465443" cy="387286"/>
            </a:xfrm>
            <a:prstGeom prst="rect">
              <a:avLst/>
            </a:prstGeom>
            <a:noFill/>
          </p:spPr>
          <p:txBody>
            <a:bodyPr wrap="square" lIns="0" tIns="0" rIns="0" bIns="0" rtlCol="0" anchor="t">
              <a:spAutoFit/>
            </a:bodyPr>
            <a:lstStyle/>
            <a:p>
              <a:pPr>
                <a:lnSpc>
                  <a:spcPct val="130000"/>
                </a:lnSpc>
              </a:pPr>
              <a:r>
                <a:rPr lang="en-US" altLang="zh-CN" sz="1000" b="0" dirty="0">
                  <a:solidFill>
                    <a:schemeClr val="tx1">
                      <a:lumMod val="75000"/>
                      <a:lumOff val="25000"/>
                    </a:schemeClr>
                  </a:solidFill>
                  <a:effectLst/>
                  <a:latin typeface="+mn-ea"/>
                </a:rPr>
                <a:t>Lorem ipsum dolor sit amet, consectetur adipisicing elit, sed do eiusmod tempor</a:t>
              </a:r>
              <a:endParaRPr lang="zh-CN" altLang="en-US" sz="1000" b="0" dirty="0">
                <a:solidFill>
                  <a:schemeClr val="tx1">
                    <a:lumMod val="75000"/>
                    <a:lumOff val="25000"/>
                  </a:schemeClr>
                </a:solidFill>
                <a:effectLst/>
                <a:latin typeface="+mn-ea"/>
              </a:endParaRPr>
            </a:p>
          </p:txBody>
        </p:sp>
      </p:grpSp>
    </p:spTree>
    <p:extLst>
      <p:ext uri="{BB962C8B-B14F-4D97-AF65-F5344CB8AC3E}">
        <p14:creationId xmlns:p14="http://schemas.microsoft.com/office/powerpoint/2010/main" val="1605746021"/>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3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6" name="组合 55">
            <a:extLst>
              <a:ext uri="{FF2B5EF4-FFF2-40B4-BE49-F238E27FC236}">
                <a16:creationId xmlns:a16="http://schemas.microsoft.com/office/drawing/2014/main" id="{0E5E66C7-1C32-4FD0-9A2E-49BF767E0166}"/>
              </a:ext>
            </a:extLst>
          </p:cNvPr>
          <p:cNvGrpSpPr/>
          <p:nvPr/>
        </p:nvGrpSpPr>
        <p:grpSpPr>
          <a:xfrm>
            <a:off x="3145631" y="4557725"/>
            <a:ext cx="1197769" cy="301335"/>
            <a:chOff x="4129086" y="2939592"/>
            <a:chExt cx="2212183" cy="556542"/>
          </a:xfrm>
        </p:grpSpPr>
        <p:sp>
          <p:nvSpPr>
            <p:cNvPr id="57" name="任意多边形: 形状 56">
              <a:extLst>
                <a:ext uri="{FF2B5EF4-FFF2-40B4-BE49-F238E27FC236}">
                  <a16:creationId xmlns:a16="http://schemas.microsoft.com/office/drawing/2014/main" id="{1491ACA3-9B6F-42FE-BC0C-893A2A41A52E}"/>
                </a:ext>
              </a:extLst>
            </p:cNvPr>
            <p:cNvSpPr/>
            <p:nvPr/>
          </p:nvSpPr>
          <p:spPr>
            <a:xfrm flipV="1">
              <a:off x="5238750" y="3179530"/>
              <a:ext cx="1095375" cy="316604"/>
            </a:xfrm>
            <a:custGeom>
              <a:avLst/>
              <a:gdLst>
                <a:gd name="connsiteX0" fmla="*/ 1962150 w 1962150"/>
                <a:gd name="connsiteY0" fmla="*/ 459184 h 459184"/>
                <a:gd name="connsiteX1" fmla="*/ 0 w 1962150"/>
                <a:gd name="connsiteY1" fmla="*/ 107950 h 459184"/>
                <a:gd name="connsiteX2" fmla="*/ 0 w 1962150"/>
                <a:gd name="connsiteY2" fmla="*/ 0 h 459184"/>
                <a:gd name="connsiteX3" fmla="*/ 1886286 w 1962150"/>
                <a:gd name="connsiteY3" fmla="*/ 337654 h 459184"/>
              </a:gdLst>
              <a:ahLst/>
              <a:cxnLst>
                <a:cxn ang="0">
                  <a:pos x="connsiteX0" y="connsiteY0"/>
                </a:cxn>
                <a:cxn ang="0">
                  <a:pos x="connsiteX1" y="connsiteY1"/>
                </a:cxn>
                <a:cxn ang="0">
                  <a:pos x="connsiteX2" y="connsiteY2"/>
                </a:cxn>
                <a:cxn ang="0">
                  <a:pos x="connsiteX3" y="connsiteY3"/>
                </a:cxn>
              </a:cxnLst>
              <a:rect l="l" t="t" r="r" b="b"/>
              <a:pathLst>
                <a:path w="1962150" h="459184">
                  <a:moveTo>
                    <a:pt x="1962150" y="459184"/>
                  </a:moveTo>
                  <a:lnTo>
                    <a:pt x="0" y="107950"/>
                  </a:lnTo>
                  <a:lnTo>
                    <a:pt x="0" y="0"/>
                  </a:lnTo>
                  <a:lnTo>
                    <a:pt x="1886286" y="337654"/>
                  </a:lnTo>
                  <a:close/>
                </a:path>
              </a:pathLst>
            </a:custGeom>
            <a:solidFill>
              <a:schemeClr val="accent1">
                <a:lumMod val="75000"/>
                <a:lumOff val="25000"/>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l"/>
              <a:endParaRPr lang="zh-CN" altLang="en-US" sz="1600">
                <a:solidFill>
                  <a:schemeClr val="bg1"/>
                </a:solidFill>
                <a:latin typeface="+mj-ea"/>
                <a:ea typeface="+mj-ea"/>
              </a:endParaRPr>
            </a:p>
          </p:txBody>
        </p:sp>
        <p:sp>
          <p:nvSpPr>
            <p:cNvPr id="58" name="任意多边形: 形状 57">
              <a:extLst>
                <a:ext uri="{FF2B5EF4-FFF2-40B4-BE49-F238E27FC236}">
                  <a16:creationId xmlns:a16="http://schemas.microsoft.com/office/drawing/2014/main" id="{2CC79A1F-F5B9-4063-A1D8-33D6668D1EBE}"/>
                </a:ext>
              </a:extLst>
            </p:cNvPr>
            <p:cNvSpPr/>
            <p:nvPr/>
          </p:nvSpPr>
          <p:spPr>
            <a:xfrm flipH="1" flipV="1">
              <a:off x="4129086" y="3179530"/>
              <a:ext cx="1109663" cy="316604"/>
            </a:xfrm>
            <a:custGeom>
              <a:avLst/>
              <a:gdLst>
                <a:gd name="connsiteX0" fmla="*/ 1962150 w 1962150"/>
                <a:gd name="connsiteY0" fmla="*/ 459184 h 459184"/>
                <a:gd name="connsiteX1" fmla="*/ 0 w 1962150"/>
                <a:gd name="connsiteY1" fmla="*/ 107950 h 459184"/>
                <a:gd name="connsiteX2" fmla="*/ 0 w 1962150"/>
                <a:gd name="connsiteY2" fmla="*/ 0 h 459184"/>
                <a:gd name="connsiteX3" fmla="*/ 1886286 w 1962150"/>
                <a:gd name="connsiteY3" fmla="*/ 337654 h 459184"/>
              </a:gdLst>
              <a:ahLst/>
              <a:cxnLst>
                <a:cxn ang="0">
                  <a:pos x="connsiteX0" y="connsiteY0"/>
                </a:cxn>
                <a:cxn ang="0">
                  <a:pos x="connsiteX1" y="connsiteY1"/>
                </a:cxn>
                <a:cxn ang="0">
                  <a:pos x="connsiteX2" y="connsiteY2"/>
                </a:cxn>
                <a:cxn ang="0">
                  <a:pos x="connsiteX3" y="connsiteY3"/>
                </a:cxn>
              </a:cxnLst>
              <a:rect l="l" t="t" r="r" b="b"/>
              <a:pathLst>
                <a:path w="1962150" h="459184">
                  <a:moveTo>
                    <a:pt x="1962150" y="459184"/>
                  </a:moveTo>
                  <a:lnTo>
                    <a:pt x="0" y="107950"/>
                  </a:lnTo>
                  <a:lnTo>
                    <a:pt x="0" y="0"/>
                  </a:lnTo>
                  <a:lnTo>
                    <a:pt x="1886286" y="337654"/>
                  </a:lnTo>
                  <a:close/>
                </a:path>
              </a:pathLst>
            </a:custGeom>
            <a:solidFill>
              <a:schemeClr val="accent1">
                <a:lumMod val="75000"/>
                <a:lumOff val="25000"/>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l"/>
              <a:endParaRPr lang="zh-CN" altLang="en-US" sz="1600">
                <a:solidFill>
                  <a:schemeClr val="bg1"/>
                </a:solidFill>
                <a:latin typeface="+mj-ea"/>
                <a:ea typeface="+mj-ea"/>
              </a:endParaRPr>
            </a:p>
          </p:txBody>
        </p:sp>
        <p:sp>
          <p:nvSpPr>
            <p:cNvPr id="59" name="菱形 58">
              <a:extLst>
                <a:ext uri="{FF2B5EF4-FFF2-40B4-BE49-F238E27FC236}">
                  <a16:creationId xmlns:a16="http://schemas.microsoft.com/office/drawing/2014/main" id="{77111719-210C-42E5-85EF-BEB7B186C669}"/>
                </a:ext>
              </a:extLst>
            </p:cNvPr>
            <p:cNvSpPr/>
            <p:nvPr/>
          </p:nvSpPr>
          <p:spPr>
            <a:xfrm flipV="1">
              <a:off x="4136231" y="2939592"/>
              <a:ext cx="2205038" cy="487506"/>
            </a:xfrm>
            <a:prstGeom prst="diamond">
              <a:avLst/>
            </a:prstGeom>
            <a:solidFill>
              <a:schemeClr val="accent1">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grpSp>
      <p:grpSp>
        <p:nvGrpSpPr>
          <p:cNvPr id="6" name="组合 5">
            <a:extLst>
              <a:ext uri="{FF2B5EF4-FFF2-40B4-BE49-F238E27FC236}">
                <a16:creationId xmlns:a16="http://schemas.microsoft.com/office/drawing/2014/main" id="{1D10FD6D-B000-4301-B54A-887E74C214F8}"/>
              </a:ext>
            </a:extLst>
          </p:cNvPr>
          <p:cNvGrpSpPr/>
          <p:nvPr/>
        </p:nvGrpSpPr>
        <p:grpSpPr>
          <a:xfrm>
            <a:off x="2550900" y="3253714"/>
            <a:ext cx="2380670" cy="600872"/>
            <a:chOff x="4129086" y="2939591"/>
            <a:chExt cx="2205040" cy="556543"/>
          </a:xfrm>
        </p:grpSpPr>
        <p:sp>
          <p:nvSpPr>
            <p:cNvPr id="48" name="任意多边形: 形状 47">
              <a:extLst>
                <a:ext uri="{FF2B5EF4-FFF2-40B4-BE49-F238E27FC236}">
                  <a16:creationId xmlns:a16="http://schemas.microsoft.com/office/drawing/2014/main" id="{82B7F969-D44E-4A82-B30F-5447394C3F0C}"/>
                </a:ext>
              </a:extLst>
            </p:cNvPr>
            <p:cNvSpPr/>
            <p:nvPr/>
          </p:nvSpPr>
          <p:spPr>
            <a:xfrm flipV="1">
              <a:off x="5238750" y="3179530"/>
              <a:ext cx="1095375" cy="316604"/>
            </a:xfrm>
            <a:custGeom>
              <a:avLst/>
              <a:gdLst>
                <a:gd name="connsiteX0" fmla="*/ 1962150 w 1962150"/>
                <a:gd name="connsiteY0" fmla="*/ 459184 h 459184"/>
                <a:gd name="connsiteX1" fmla="*/ 0 w 1962150"/>
                <a:gd name="connsiteY1" fmla="*/ 107950 h 459184"/>
                <a:gd name="connsiteX2" fmla="*/ 0 w 1962150"/>
                <a:gd name="connsiteY2" fmla="*/ 0 h 459184"/>
                <a:gd name="connsiteX3" fmla="*/ 1886286 w 1962150"/>
                <a:gd name="connsiteY3" fmla="*/ 337654 h 459184"/>
              </a:gdLst>
              <a:ahLst/>
              <a:cxnLst>
                <a:cxn ang="0">
                  <a:pos x="connsiteX0" y="connsiteY0"/>
                </a:cxn>
                <a:cxn ang="0">
                  <a:pos x="connsiteX1" y="connsiteY1"/>
                </a:cxn>
                <a:cxn ang="0">
                  <a:pos x="connsiteX2" y="connsiteY2"/>
                </a:cxn>
                <a:cxn ang="0">
                  <a:pos x="connsiteX3" y="connsiteY3"/>
                </a:cxn>
              </a:cxnLst>
              <a:rect l="l" t="t" r="r" b="b"/>
              <a:pathLst>
                <a:path w="1962150" h="459184">
                  <a:moveTo>
                    <a:pt x="1962150" y="459184"/>
                  </a:moveTo>
                  <a:lnTo>
                    <a:pt x="0" y="107950"/>
                  </a:lnTo>
                  <a:lnTo>
                    <a:pt x="0" y="0"/>
                  </a:lnTo>
                  <a:lnTo>
                    <a:pt x="1886286" y="337654"/>
                  </a:lnTo>
                  <a:close/>
                </a:path>
              </a:pathLst>
            </a:custGeom>
            <a:solidFill>
              <a:schemeClr val="accent1">
                <a:lumMod val="75000"/>
                <a:lumOff val="25000"/>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l"/>
              <a:endParaRPr lang="zh-CN" altLang="en-US" sz="1600">
                <a:solidFill>
                  <a:schemeClr val="bg1"/>
                </a:solidFill>
                <a:latin typeface="+mj-ea"/>
                <a:ea typeface="+mj-ea"/>
              </a:endParaRPr>
            </a:p>
          </p:txBody>
        </p:sp>
        <p:sp>
          <p:nvSpPr>
            <p:cNvPr id="49" name="任意多边形: 形状 48">
              <a:extLst>
                <a:ext uri="{FF2B5EF4-FFF2-40B4-BE49-F238E27FC236}">
                  <a16:creationId xmlns:a16="http://schemas.microsoft.com/office/drawing/2014/main" id="{F82AEC65-1391-4BED-8F1D-E5D94E443B51}"/>
                </a:ext>
              </a:extLst>
            </p:cNvPr>
            <p:cNvSpPr/>
            <p:nvPr/>
          </p:nvSpPr>
          <p:spPr>
            <a:xfrm flipH="1" flipV="1">
              <a:off x="4129086" y="3179530"/>
              <a:ext cx="1109663" cy="316604"/>
            </a:xfrm>
            <a:custGeom>
              <a:avLst/>
              <a:gdLst>
                <a:gd name="connsiteX0" fmla="*/ 1962150 w 1962150"/>
                <a:gd name="connsiteY0" fmla="*/ 459184 h 459184"/>
                <a:gd name="connsiteX1" fmla="*/ 0 w 1962150"/>
                <a:gd name="connsiteY1" fmla="*/ 107950 h 459184"/>
                <a:gd name="connsiteX2" fmla="*/ 0 w 1962150"/>
                <a:gd name="connsiteY2" fmla="*/ 0 h 459184"/>
                <a:gd name="connsiteX3" fmla="*/ 1886286 w 1962150"/>
                <a:gd name="connsiteY3" fmla="*/ 337654 h 459184"/>
              </a:gdLst>
              <a:ahLst/>
              <a:cxnLst>
                <a:cxn ang="0">
                  <a:pos x="connsiteX0" y="connsiteY0"/>
                </a:cxn>
                <a:cxn ang="0">
                  <a:pos x="connsiteX1" y="connsiteY1"/>
                </a:cxn>
                <a:cxn ang="0">
                  <a:pos x="connsiteX2" y="connsiteY2"/>
                </a:cxn>
                <a:cxn ang="0">
                  <a:pos x="connsiteX3" y="connsiteY3"/>
                </a:cxn>
              </a:cxnLst>
              <a:rect l="l" t="t" r="r" b="b"/>
              <a:pathLst>
                <a:path w="1962150" h="459184">
                  <a:moveTo>
                    <a:pt x="1962150" y="459184"/>
                  </a:moveTo>
                  <a:lnTo>
                    <a:pt x="0" y="107950"/>
                  </a:lnTo>
                  <a:lnTo>
                    <a:pt x="0" y="0"/>
                  </a:lnTo>
                  <a:lnTo>
                    <a:pt x="1886286" y="337654"/>
                  </a:lnTo>
                  <a:close/>
                </a:path>
              </a:pathLst>
            </a:custGeom>
            <a:solidFill>
              <a:schemeClr val="accent1">
                <a:lumMod val="75000"/>
                <a:lumOff val="25000"/>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l"/>
              <a:endParaRPr lang="zh-CN" altLang="en-US" sz="1600">
                <a:solidFill>
                  <a:schemeClr val="bg1"/>
                </a:solidFill>
                <a:latin typeface="+mj-ea"/>
                <a:ea typeface="+mj-ea"/>
              </a:endParaRPr>
            </a:p>
          </p:txBody>
        </p:sp>
        <p:sp>
          <p:nvSpPr>
            <p:cNvPr id="47" name="菱形 46">
              <a:extLst>
                <a:ext uri="{FF2B5EF4-FFF2-40B4-BE49-F238E27FC236}">
                  <a16:creationId xmlns:a16="http://schemas.microsoft.com/office/drawing/2014/main" id="{4B55B119-813C-43B7-9049-24514D0A78D1}"/>
                </a:ext>
              </a:extLst>
            </p:cNvPr>
            <p:cNvSpPr/>
            <p:nvPr/>
          </p:nvSpPr>
          <p:spPr>
            <a:xfrm flipV="1">
              <a:off x="4129086" y="2939591"/>
              <a:ext cx="2205040" cy="487506"/>
            </a:xfrm>
            <a:prstGeom prst="diamond">
              <a:avLst/>
            </a:prstGeom>
            <a:solidFill>
              <a:schemeClr val="accent1">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grpSp>
      <p:sp>
        <p:nvSpPr>
          <p:cNvPr id="41" name="任意多边形: 形状 40">
            <a:extLst>
              <a:ext uri="{FF2B5EF4-FFF2-40B4-BE49-F238E27FC236}">
                <a16:creationId xmlns:a16="http://schemas.microsoft.com/office/drawing/2014/main" id="{A2BF275C-B9E3-4906-9098-A07F4DCB5C56}"/>
              </a:ext>
            </a:extLst>
          </p:cNvPr>
          <p:cNvSpPr/>
          <p:nvPr/>
        </p:nvSpPr>
        <p:spPr>
          <a:xfrm flipV="1">
            <a:off x="3743325" y="1986382"/>
            <a:ext cx="1962150" cy="3882209"/>
          </a:xfrm>
          <a:custGeom>
            <a:avLst/>
            <a:gdLst>
              <a:gd name="connsiteX0" fmla="*/ 1962150 w 1962150"/>
              <a:gd name="connsiteY0" fmla="*/ 3143250 h 3143250"/>
              <a:gd name="connsiteX1" fmla="*/ 0 w 1962150"/>
              <a:gd name="connsiteY1" fmla="*/ 0 h 3143250"/>
              <a:gd name="connsiteX2" fmla="*/ 0 w 1962150"/>
              <a:gd name="connsiteY2" fmla="*/ 2792016 h 3143250"/>
            </a:gdLst>
            <a:ahLst/>
            <a:cxnLst>
              <a:cxn ang="0">
                <a:pos x="connsiteX0" y="connsiteY0"/>
              </a:cxn>
              <a:cxn ang="0">
                <a:pos x="connsiteX1" y="connsiteY1"/>
              </a:cxn>
              <a:cxn ang="0">
                <a:pos x="connsiteX2" y="connsiteY2"/>
              </a:cxn>
            </a:cxnLst>
            <a:rect l="l" t="t" r="r" b="b"/>
            <a:pathLst>
              <a:path w="1962150" h="3143250">
                <a:moveTo>
                  <a:pt x="1962150" y="3143250"/>
                </a:moveTo>
                <a:lnTo>
                  <a:pt x="0" y="0"/>
                </a:lnTo>
                <a:lnTo>
                  <a:pt x="0" y="2792016"/>
                </a:lnTo>
                <a:close/>
              </a:path>
            </a:pathLst>
          </a:custGeom>
          <a:solidFill>
            <a:schemeClr val="accent1">
              <a:lumMod val="50000"/>
              <a:lumOff val="50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l"/>
            <a:endParaRPr lang="zh-CN" altLang="en-US" sz="1600">
              <a:solidFill>
                <a:schemeClr val="bg1"/>
              </a:solidFill>
              <a:latin typeface="+mj-ea"/>
              <a:ea typeface="+mj-ea"/>
            </a:endParaRPr>
          </a:p>
        </p:txBody>
      </p:sp>
      <p:sp>
        <p:nvSpPr>
          <p:cNvPr id="39" name="任意多边形: 形状 38">
            <a:extLst>
              <a:ext uri="{FF2B5EF4-FFF2-40B4-BE49-F238E27FC236}">
                <a16:creationId xmlns:a16="http://schemas.microsoft.com/office/drawing/2014/main" id="{C82EC246-F538-4C36-A1FD-61A1BD78CBF1}"/>
              </a:ext>
            </a:extLst>
          </p:cNvPr>
          <p:cNvSpPr/>
          <p:nvPr/>
        </p:nvSpPr>
        <p:spPr>
          <a:xfrm flipH="1" flipV="1">
            <a:off x="1781175" y="1986382"/>
            <a:ext cx="1962150" cy="3882209"/>
          </a:xfrm>
          <a:custGeom>
            <a:avLst/>
            <a:gdLst>
              <a:gd name="connsiteX0" fmla="*/ 1962150 w 1962150"/>
              <a:gd name="connsiteY0" fmla="*/ 3143250 h 3143250"/>
              <a:gd name="connsiteX1" fmla="*/ 0 w 1962150"/>
              <a:gd name="connsiteY1" fmla="*/ 2792016 h 3143250"/>
              <a:gd name="connsiteX2" fmla="*/ 0 w 1962150"/>
              <a:gd name="connsiteY2" fmla="*/ 0 h 3143250"/>
            </a:gdLst>
            <a:ahLst/>
            <a:cxnLst>
              <a:cxn ang="0">
                <a:pos x="connsiteX0" y="connsiteY0"/>
              </a:cxn>
              <a:cxn ang="0">
                <a:pos x="connsiteX1" y="connsiteY1"/>
              </a:cxn>
              <a:cxn ang="0">
                <a:pos x="connsiteX2" y="connsiteY2"/>
              </a:cxn>
            </a:cxnLst>
            <a:rect l="l" t="t" r="r" b="b"/>
            <a:pathLst>
              <a:path w="1962150" h="3143250">
                <a:moveTo>
                  <a:pt x="1962150" y="3143250"/>
                </a:moveTo>
                <a:lnTo>
                  <a:pt x="0" y="2792016"/>
                </a:lnTo>
                <a:lnTo>
                  <a:pt x="0" y="0"/>
                </a:lnTo>
                <a:close/>
              </a:path>
            </a:pathLst>
          </a:custGeom>
          <a:solidFill>
            <a:schemeClr val="accent1">
              <a:lumMod val="50000"/>
              <a:lumOff val="50000"/>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l"/>
            <a:endParaRPr lang="zh-CN" altLang="en-US" sz="1600">
              <a:solidFill>
                <a:schemeClr val="bg1"/>
              </a:solidFill>
              <a:latin typeface="+mj-ea"/>
              <a:ea typeface="+mj-ea"/>
            </a:endParaRPr>
          </a:p>
        </p:txBody>
      </p:sp>
      <p:grpSp>
        <p:nvGrpSpPr>
          <p:cNvPr id="7" name="组合 6">
            <a:extLst>
              <a:ext uri="{FF2B5EF4-FFF2-40B4-BE49-F238E27FC236}">
                <a16:creationId xmlns:a16="http://schemas.microsoft.com/office/drawing/2014/main" id="{A7DC157D-CAF9-41F6-B30C-70BCCD7EB1F0}"/>
              </a:ext>
            </a:extLst>
          </p:cNvPr>
          <p:cNvGrpSpPr/>
          <p:nvPr/>
        </p:nvGrpSpPr>
        <p:grpSpPr>
          <a:xfrm>
            <a:off x="1781175" y="1552575"/>
            <a:ext cx="3924300" cy="998001"/>
            <a:chOff x="3276600" y="1581150"/>
            <a:chExt cx="3924300" cy="998001"/>
          </a:xfrm>
        </p:grpSpPr>
        <p:sp>
          <p:nvSpPr>
            <p:cNvPr id="42" name="菱形 41">
              <a:extLst>
                <a:ext uri="{FF2B5EF4-FFF2-40B4-BE49-F238E27FC236}">
                  <a16:creationId xmlns:a16="http://schemas.microsoft.com/office/drawing/2014/main" id="{36AB8C69-94D6-4001-AE10-16352D93659B}"/>
                </a:ext>
              </a:extLst>
            </p:cNvPr>
            <p:cNvSpPr/>
            <p:nvPr/>
          </p:nvSpPr>
          <p:spPr>
            <a:xfrm>
              <a:off x="3276600" y="1581150"/>
              <a:ext cx="3924300" cy="867614"/>
            </a:xfrm>
            <a:prstGeom prst="diamond">
              <a:avLst/>
            </a:prstGeom>
            <a:solidFill>
              <a:schemeClr val="accent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45" name="任意多边形: 形状 44">
              <a:extLst>
                <a:ext uri="{FF2B5EF4-FFF2-40B4-BE49-F238E27FC236}">
                  <a16:creationId xmlns:a16="http://schemas.microsoft.com/office/drawing/2014/main" id="{5750FCAF-B3D6-4F98-AAA7-BB56A737A7BF}"/>
                </a:ext>
              </a:extLst>
            </p:cNvPr>
            <p:cNvSpPr/>
            <p:nvPr/>
          </p:nvSpPr>
          <p:spPr>
            <a:xfrm flipH="1" flipV="1">
              <a:off x="3276600" y="2012016"/>
              <a:ext cx="1962150" cy="567135"/>
            </a:xfrm>
            <a:custGeom>
              <a:avLst/>
              <a:gdLst>
                <a:gd name="connsiteX0" fmla="*/ 1962150 w 1962150"/>
                <a:gd name="connsiteY0" fmla="*/ 459184 h 459184"/>
                <a:gd name="connsiteX1" fmla="*/ 0 w 1962150"/>
                <a:gd name="connsiteY1" fmla="*/ 107950 h 459184"/>
                <a:gd name="connsiteX2" fmla="*/ 0 w 1962150"/>
                <a:gd name="connsiteY2" fmla="*/ 0 h 459184"/>
                <a:gd name="connsiteX3" fmla="*/ 1886286 w 1962150"/>
                <a:gd name="connsiteY3" fmla="*/ 337654 h 459184"/>
              </a:gdLst>
              <a:ahLst/>
              <a:cxnLst>
                <a:cxn ang="0">
                  <a:pos x="connsiteX0" y="connsiteY0"/>
                </a:cxn>
                <a:cxn ang="0">
                  <a:pos x="connsiteX1" y="connsiteY1"/>
                </a:cxn>
                <a:cxn ang="0">
                  <a:pos x="connsiteX2" y="connsiteY2"/>
                </a:cxn>
                <a:cxn ang="0">
                  <a:pos x="connsiteX3" y="connsiteY3"/>
                </a:cxn>
              </a:cxnLst>
              <a:rect l="l" t="t" r="r" b="b"/>
              <a:pathLst>
                <a:path w="1962150" h="459184">
                  <a:moveTo>
                    <a:pt x="1962150" y="459184"/>
                  </a:moveTo>
                  <a:lnTo>
                    <a:pt x="0" y="107950"/>
                  </a:lnTo>
                  <a:lnTo>
                    <a:pt x="0" y="0"/>
                  </a:lnTo>
                  <a:lnTo>
                    <a:pt x="1886286" y="337654"/>
                  </a:lnTo>
                  <a:close/>
                </a:path>
              </a:pathLst>
            </a:custGeom>
            <a:solidFill>
              <a:schemeClr val="accent1">
                <a:lumMod val="75000"/>
                <a:lumOff val="2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l"/>
              <a:endParaRPr lang="zh-CN" altLang="en-US" sz="1600">
                <a:solidFill>
                  <a:schemeClr val="bg1"/>
                </a:solidFill>
                <a:latin typeface="+mj-ea"/>
                <a:ea typeface="+mj-ea"/>
              </a:endParaRPr>
            </a:p>
          </p:txBody>
        </p:sp>
        <p:sp>
          <p:nvSpPr>
            <p:cNvPr id="46" name="任意多边形: 形状 45">
              <a:extLst>
                <a:ext uri="{FF2B5EF4-FFF2-40B4-BE49-F238E27FC236}">
                  <a16:creationId xmlns:a16="http://schemas.microsoft.com/office/drawing/2014/main" id="{212B6E93-4B50-4D71-A843-8B42050B4E68}"/>
                </a:ext>
              </a:extLst>
            </p:cNvPr>
            <p:cNvSpPr/>
            <p:nvPr/>
          </p:nvSpPr>
          <p:spPr>
            <a:xfrm flipV="1">
              <a:off x="5238750" y="2012016"/>
              <a:ext cx="1962150" cy="567135"/>
            </a:xfrm>
            <a:custGeom>
              <a:avLst/>
              <a:gdLst>
                <a:gd name="connsiteX0" fmla="*/ 1962150 w 1962150"/>
                <a:gd name="connsiteY0" fmla="*/ 459184 h 459184"/>
                <a:gd name="connsiteX1" fmla="*/ 0 w 1962150"/>
                <a:gd name="connsiteY1" fmla="*/ 107950 h 459184"/>
                <a:gd name="connsiteX2" fmla="*/ 0 w 1962150"/>
                <a:gd name="connsiteY2" fmla="*/ 0 h 459184"/>
                <a:gd name="connsiteX3" fmla="*/ 1886286 w 1962150"/>
                <a:gd name="connsiteY3" fmla="*/ 337654 h 459184"/>
              </a:gdLst>
              <a:ahLst/>
              <a:cxnLst>
                <a:cxn ang="0">
                  <a:pos x="connsiteX0" y="connsiteY0"/>
                </a:cxn>
                <a:cxn ang="0">
                  <a:pos x="connsiteX1" y="connsiteY1"/>
                </a:cxn>
                <a:cxn ang="0">
                  <a:pos x="connsiteX2" y="connsiteY2"/>
                </a:cxn>
                <a:cxn ang="0">
                  <a:pos x="connsiteX3" y="connsiteY3"/>
                </a:cxn>
              </a:cxnLst>
              <a:rect l="l" t="t" r="r" b="b"/>
              <a:pathLst>
                <a:path w="1962150" h="459184">
                  <a:moveTo>
                    <a:pt x="1962150" y="459184"/>
                  </a:moveTo>
                  <a:lnTo>
                    <a:pt x="0" y="107950"/>
                  </a:lnTo>
                  <a:lnTo>
                    <a:pt x="0" y="0"/>
                  </a:lnTo>
                  <a:lnTo>
                    <a:pt x="1886286" y="337654"/>
                  </a:lnTo>
                  <a:close/>
                </a:path>
              </a:pathLst>
            </a:custGeom>
            <a:solidFill>
              <a:schemeClr val="accent1">
                <a:lumMod val="75000"/>
                <a:lumOff val="25000"/>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l"/>
              <a:endParaRPr lang="zh-CN" altLang="en-US" sz="1600">
                <a:solidFill>
                  <a:schemeClr val="bg1"/>
                </a:solidFill>
                <a:latin typeface="+mj-ea"/>
                <a:ea typeface="+mj-ea"/>
              </a:endParaRPr>
            </a:p>
          </p:txBody>
        </p:sp>
      </p:grpSp>
      <p:sp>
        <p:nvSpPr>
          <p:cNvPr id="61" name="文本框 60">
            <a:extLst>
              <a:ext uri="{FF2B5EF4-FFF2-40B4-BE49-F238E27FC236}">
                <a16:creationId xmlns:a16="http://schemas.microsoft.com/office/drawing/2014/main" id="{A1442BBA-4894-48A2-A761-581F5B63E084}"/>
              </a:ext>
            </a:extLst>
          </p:cNvPr>
          <p:cNvSpPr txBox="1"/>
          <p:nvPr/>
        </p:nvSpPr>
        <p:spPr>
          <a:xfrm>
            <a:off x="3394986" y="1807562"/>
            <a:ext cx="692497" cy="276999"/>
          </a:xfrm>
          <a:prstGeom prst="rect">
            <a:avLst/>
          </a:prstGeom>
          <a:noFill/>
        </p:spPr>
        <p:txBody>
          <a:bodyPr wrap="none" lIns="0" tIns="0" rIns="0" bIns="0" rtlCol="0" anchor="t">
            <a:spAutoFit/>
          </a:bodyPr>
          <a:lstStyle/>
          <a:p>
            <a:pPr algn="l"/>
            <a:r>
              <a:rPr lang="zh-CN" altLang="en-US" dirty="0">
                <a:solidFill>
                  <a:schemeClr val="bg1"/>
                </a:solidFill>
              </a:rPr>
              <a:t>关键词</a:t>
            </a:r>
          </a:p>
        </p:txBody>
      </p:sp>
      <p:sp>
        <p:nvSpPr>
          <p:cNvPr id="62" name="文本框 61">
            <a:extLst>
              <a:ext uri="{FF2B5EF4-FFF2-40B4-BE49-F238E27FC236}">
                <a16:creationId xmlns:a16="http://schemas.microsoft.com/office/drawing/2014/main" id="{672A1414-F4CE-4FC7-80DB-56375BC559A7}"/>
              </a:ext>
            </a:extLst>
          </p:cNvPr>
          <p:cNvSpPr txBox="1"/>
          <p:nvPr/>
        </p:nvSpPr>
        <p:spPr>
          <a:xfrm>
            <a:off x="3350865" y="3206735"/>
            <a:ext cx="692497" cy="276999"/>
          </a:xfrm>
          <a:prstGeom prst="rect">
            <a:avLst/>
          </a:prstGeom>
          <a:noFill/>
        </p:spPr>
        <p:txBody>
          <a:bodyPr wrap="none" lIns="0" tIns="0" rIns="0" bIns="0" rtlCol="0" anchor="t">
            <a:spAutoFit/>
          </a:bodyPr>
          <a:lstStyle/>
          <a:p>
            <a:pPr algn="l"/>
            <a:r>
              <a:rPr lang="zh-CN" altLang="en-US" dirty="0">
                <a:solidFill>
                  <a:schemeClr val="accent1"/>
                </a:solidFill>
              </a:rPr>
              <a:t>关键词</a:t>
            </a:r>
          </a:p>
        </p:txBody>
      </p:sp>
      <p:sp>
        <p:nvSpPr>
          <p:cNvPr id="63" name="文本框 62">
            <a:extLst>
              <a:ext uri="{FF2B5EF4-FFF2-40B4-BE49-F238E27FC236}">
                <a16:creationId xmlns:a16="http://schemas.microsoft.com/office/drawing/2014/main" id="{45958FE2-74B4-48C8-A1BF-9F1AFDA4B08E}"/>
              </a:ext>
            </a:extLst>
          </p:cNvPr>
          <p:cNvSpPr txBox="1"/>
          <p:nvPr/>
        </p:nvSpPr>
        <p:spPr>
          <a:xfrm>
            <a:off x="3350865" y="4296285"/>
            <a:ext cx="692497" cy="276999"/>
          </a:xfrm>
          <a:prstGeom prst="rect">
            <a:avLst/>
          </a:prstGeom>
          <a:noFill/>
        </p:spPr>
        <p:txBody>
          <a:bodyPr wrap="none" lIns="0" tIns="0" rIns="0" bIns="0" rtlCol="0" anchor="t">
            <a:spAutoFit/>
          </a:bodyPr>
          <a:lstStyle/>
          <a:p>
            <a:pPr algn="l"/>
            <a:r>
              <a:rPr lang="zh-CN" altLang="en-US" dirty="0">
                <a:solidFill>
                  <a:schemeClr val="accent1"/>
                </a:solidFill>
              </a:rPr>
              <a:t>关键词</a:t>
            </a:r>
          </a:p>
        </p:txBody>
      </p:sp>
      <p:grpSp>
        <p:nvGrpSpPr>
          <p:cNvPr id="66" name="组合 65">
            <a:extLst>
              <a:ext uri="{FF2B5EF4-FFF2-40B4-BE49-F238E27FC236}">
                <a16:creationId xmlns:a16="http://schemas.microsoft.com/office/drawing/2014/main" id="{5B7995E5-D693-44A2-A31F-53FD9F32F32B}"/>
              </a:ext>
            </a:extLst>
          </p:cNvPr>
          <p:cNvGrpSpPr/>
          <p:nvPr/>
        </p:nvGrpSpPr>
        <p:grpSpPr>
          <a:xfrm>
            <a:off x="5669280" y="1938184"/>
            <a:ext cx="4230908" cy="664285"/>
            <a:chOff x="7133453" y="2496575"/>
            <a:chExt cx="4230908" cy="664285"/>
          </a:xfrm>
        </p:grpSpPr>
        <p:cxnSp>
          <p:nvCxnSpPr>
            <p:cNvPr id="67" name="直接连接符 66">
              <a:extLst>
                <a:ext uri="{FF2B5EF4-FFF2-40B4-BE49-F238E27FC236}">
                  <a16:creationId xmlns:a16="http://schemas.microsoft.com/office/drawing/2014/main" id="{C5EF3D26-71CE-4496-AE0F-1230C0060F46}"/>
                </a:ext>
              </a:extLst>
            </p:cNvPr>
            <p:cNvCxnSpPr>
              <a:cxnSpLocks/>
            </p:cNvCxnSpPr>
            <p:nvPr/>
          </p:nvCxnSpPr>
          <p:spPr>
            <a:xfrm>
              <a:off x="7133453" y="2631368"/>
              <a:ext cx="1559677" cy="0"/>
            </a:xfrm>
            <a:prstGeom prst="line">
              <a:avLst/>
            </a:prstGeom>
            <a:ln w="12700">
              <a:gradFill>
                <a:gsLst>
                  <a:gs pos="0">
                    <a:schemeClr val="accent1">
                      <a:alpha val="0"/>
                    </a:schemeClr>
                  </a:gs>
                  <a:gs pos="100000">
                    <a:schemeClr val="accent1"/>
                  </a:gs>
                </a:gsLst>
                <a:lin ang="0" scaled="0"/>
              </a:gradFill>
            </a:ln>
          </p:spPr>
          <p:style>
            <a:lnRef idx="1">
              <a:schemeClr val="accent1"/>
            </a:lnRef>
            <a:fillRef idx="0">
              <a:schemeClr val="accent1"/>
            </a:fillRef>
            <a:effectRef idx="0">
              <a:schemeClr val="accent1"/>
            </a:effectRef>
            <a:fontRef idx="minor">
              <a:schemeClr val="tx1"/>
            </a:fontRef>
          </p:style>
        </p:cxnSp>
        <p:sp>
          <p:nvSpPr>
            <p:cNvPr id="68" name="椭圆 67">
              <a:extLst>
                <a:ext uri="{FF2B5EF4-FFF2-40B4-BE49-F238E27FC236}">
                  <a16:creationId xmlns:a16="http://schemas.microsoft.com/office/drawing/2014/main" id="{997EFFFC-F430-4A69-96AE-191B5E0FCD55}"/>
                </a:ext>
              </a:extLst>
            </p:cNvPr>
            <p:cNvSpPr/>
            <p:nvPr/>
          </p:nvSpPr>
          <p:spPr>
            <a:xfrm>
              <a:off x="8618586" y="2587781"/>
              <a:ext cx="87174" cy="87174"/>
            </a:xfrm>
            <a:prstGeom prst="ellipse">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69" name="文本框 68">
              <a:extLst>
                <a:ext uri="{FF2B5EF4-FFF2-40B4-BE49-F238E27FC236}">
                  <a16:creationId xmlns:a16="http://schemas.microsoft.com/office/drawing/2014/main" id="{0655960E-C2CC-4729-B742-D6882A843880}"/>
                </a:ext>
              </a:extLst>
            </p:cNvPr>
            <p:cNvSpPr txBox="1"/>
            <p:nvPr/>
          </p:nvSpPr>
          <p:spPr>
            <a:xfrm>
              <a:off x="8898918" y="2496575"/>
              <a:ext cx="1154162" cy="276999"/>
            </a:xfrm>
            <a:prstGeom prst="rect">
              <a:avLst/>
            </a:prstGeom>
            <a:noFill/>
          </p:spPr>
          <p:txBody>
            <a:bodyPr wrap="none" lIns="0" tIns="0" rIns="0" bIns="0" rtlCol="0" anchor="t">
              <a:spAutoFit/>
            </a:bodyPr>
            <a:lstStyle/>
            <a:p>
              <a:r>
                <a:rPr lang="zh-CN" altLang="en-US" dirty="0">
                  <a:solidFill>
                    <a:schemeClr val="accent1"/>
                  </a:solidFill>
                  <a:latin typeface="+mj-ea"/>
                  <a:ea typeface="+mj-ea"/>
                </a:rPr>
                <a:t>关键词标题</a:t>
              </a:r>
            </a:p>
          </p:txBody>
        </p:sp>
        <p:sp>
          <p:nvSpPr>
            <p:cNvPr id="70" name="文本框 69">
              <a:extLst>
                <a:ext uri="{FF2B5EF4-FFF2-40B4-BE49-F238E27FC236}">
                  <a16:creationId xmlns:a16="http://schemas.microsoft.com/office/drawing/2014/main" id="{DA5D788F-FDEE-4089-ABCD-51C981F8F3DA}"/>
                </a:ext>
              </a:extLst>
            </p:cNvPr>
            <p:cNvSpPr txBox="1"/>
            <p:nvPr/>
          </p:nvSpPr>
          <p:spPr>
            <a:xfrm>
              <a:off x="8898918" y="2773574"/>
              <a:ext cx="2465443" cy="387286"/>
            </a:xfrm>
            <a:prstGeom prst="rect">
              <a:avLst/>
            </a:prstGeom>
            <a:noFill/>
          </p:spPr>
          <p:txBody>
            <a:bodyPr wrap="square" lIns="0" tIns="0" rIns="0" bIns="0" rtlCol="0" anchor="t">
              <a:spAutoFit/>
            </a:bodyPr>
            <a:lstStyle/>
            <a:p>
              <a:pPr>
                <a:lnSpc>
                  <a:spcPct val="130000"/>
                </a:lnSpc>
              </a:pPr>
              <a:r>
                <a:rPr lang="en-US" altLang="zh-CN" sz="1000" b="0" dirty="0">
                  <a:solidFill>
                    <a:schemeClr val="tx1">
                      <a:lumMod val="75000"/>
                      <a:lumOff val="25000"/>
                    </a:schemeClr>
                  </a:solidFill>
                  <a:effectLst/>
                  <a:latin typeface="+mn-ea"/>
                </a:rPr>
                <a:t>Lorem ipsum dolor sit amet, consectetur adipisicing elit, sed do eiusmod tempor</a:t>
              </a:r>
              <a:endParaRPr lang="zh-CN" altLang="en-US" sz="1000" b="0" dirty="0">
                <a:solidFill>
                  <a:schemeClr val="tx1">
                    <a:lumMod val="75000"/>
                    <a:lumOff val="25000"/>
                  </a:schemeClr>
                </a:solidFill>
                <a:effectLst/>
                <a:latin typeface="+mn-ea"/>
              </a:endParaRPr>
            </a:p>
          </p:txBody>
        </p:sp>
      </p:grpSp>
      <p:grpSp>
        <p:nvGrpSpPr>
          <p:cNvPr id="72" name="组合 71">
            <a:extLst>
              <a:ext uri="{FF2B5EF4-FFF2-40B4-BE49-F238E27FC236}">
                <a16:creationId xmlns:a16="http://schemas.microsoft.com/office/drawing/2014/main" id="{234D3B5A-E900-475E-BF8A-29967857D7FC}"/>
              </a:ext>
            </a:extLst>
          </p:cNvPr>
          <p:cNvGrpSpPr/>
          <p:nvPr/>
        </p:nvGrpSpPr>
        <p:grpSpPr>
          <a:xfrm>
            <a:off x="4931569" y="3264064"/>
            <a:ext cx="4968619" cy="664285"/>
            <a:chOff x="6395742" y="2496575"/>
            <a:chExt cx="4968619" cy="664285"/>
          </a:xfrm>
        </p:grpSpPr>
        <p:cxnSp>
          <p:nvCxnSpPr>
            <p:cNvPr id="73" name="直接连接符 72">
              <a:extLst>
                <a:ext uri="{FF2B5EF4-FFF2-40B4-BE49-F238E27FC236}">
                  <a16:creationId xmlns:a16="http://schemas.microsoft.com/office/drawing/2014/main" id="{CF708128-3170-4BD2-8962-BFBC43E53423}"/>
                </a:ext>
              </a:extLst>
            </p:cNvPr>
            <p:cNvCxnSpPr>
              <a:cxnSpLocks/>
            </p:cNvCxnSpPr>
            <p:nvPr/>
          </p:nvCxnSpPr>
          <p:spPr>
            <a:xfrm>
              <a:off x="6395742" y="2631368"/>
              <a:ext cx="2297388" cy="0"/>
            </a:xfrm>
            <a:prstGeom prst="line">
              <a:avLst/>
            </a:prstGeom>
            <a:ln w="12700">
              <a:gradFill>
                <a:gsLst>
                  <a:gs pos="0">
                    <a:schemeClr val="accent1">
                      <a:alpha val="0"/>
                    </a:schemeClr>
                  </a:gs>
                  <a:gs pos="100000">
                    <a:schemeClr val="accent1"/>
                  </a:gs>
                </a:gsLst>
                <a:lin ang="0" scaled="0"/>
              </a:gradFill>
            </a:ln>
          </p:spPr>
          <p:style>
            <a:lnRef idx="1">
              <a:schemeClr val="accent1"/>
            </a:lnRef>
            <a:fillRef idx="0">
              <a:schemeClr val="accent1"/>
            </a:fillRef>
            <a:effectRef idx="0">
              <a:schemeClr val="accent1"/>
            </a:effectRef>
            <a:fontRef idx="minor">
              <a:schemeClr val="tx1"/>
            </a:fontRef>
          </p:style>
        </p:cxnSp>
        <p:sp>
          <p:nvSpPr>
            <p:cNvPr id="74" name="椭圆 73">
              <a:extLst>
                <a:ext uri="{FF2B5EF4-FFF2-40B4-BE49-F238E27FC236}">
                  <a16:creationId xmlns:a16="http://schemas.microsoft.com/office/drawing/2014/main" id="{59AC9156-3D37-4C69-91DA-5647D6FE03A4}"/>
                </a:ext>
              </a:extLst>
            </p:cNvPr>
            <p:cNvSpPr/>
            <p:nvPr/>
          </p:nvSpPr>
          <p:spPr>
            <a:xfrm>
              <a:off x="8618586" y="2587781"/>
              <a:ext cx="87174" cy="87174"/>
            </a:xfrm>
            <a:prstGeom prst="ellipse">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75" name="文本框 74">
              <a:extLst>
                <a:ext uri="{FF2B5EF4-FFF2-40B4-BE49-F238E27FC236}">
                  <a16:creationId xmlns:a16="http://schemas.microsoft.com/office/drawing/2014/main" id="{91980536-57CD-40E7-9438-8477AE5E8A60}"/>
                </a:ext>
              </a:extLst>
            </p:cNvPr>
            <p:cNvSpPr txBox="1"/>
            <p:nvPr/>
          </p:nvSpPr>
          <p:spPr>
            <a:xfrm>
              <a:off x="8898918" y="2496575"/>
              <a:ext cx="1154162" cy="276999"/>
            </a:xfrm>
            <a:prstGeom prst="rect">
              <a:avLst/>
            </a:prstGeom>
            <a:noFill/>
          </p:spPr>
          <p:txBody>
            <a:bodyPr wrap="none" lIns="0" tIns="0" rIns="0" bIns="0" rtlCol="0" anchor="t">
              <a:spAutoFit/>
            </a:bodyPr>
            <a:lstStyle/>
            <a:p>
              <a:r>
                <a:rPr lang="zh-CN" altLang="en-US" dirty="0">
                  <a:solidFill>
                    <a:schemeClr val="accent1"/>
                  </a:solidFill>
                  <a:latin typeface="+mj-ea"/>
                  <a:ea typeface="+mj-ea"/>
                </a:rPr>
                <a:t>关键词标题</a:t>
              </a:r>
            </a:p>
          </p:txBody>
        </p:sp>
        <p:sp>
          <p:nvSpPr>
            <p:cNvPr id="76" name="文本框 75">
              <a:extLst>
                <a:ext uri="{FF2B5EF4-FFF2-40B4-BE49-F238E27FC236}">
                  <a16:creationId xmlns:a16="http://schemas.microsoft.com/office/drawing/2014/main" id="{B46AECD2-393F-4654-97AE-63617E894AA0}"/>
                </a:ext>
              </a:extLst>
            </p:cNvPr>
            <p:cNvSpPr txBox="1"/>
            <p:nvPr/>
          </p:nvSpPr>
          <p:spPr>
            <a:xfrm>
              <a:off x="8898918" y="2773574"/>
              <a:ext cx="2465443" cy="387286"/>
            </a:xfrm>
            <a:prstGeom prst="rect">
              <a:avLst/>
            </a:prstGeom>
            <a:noFill/>
          </p:spPr>
          <p:txBody>
            <a:bodyPr wrap="square" lIns="0" tIns="0" rIns="0" bIns="0" rtlCol="0" anchor="t">
              <a:spAutoFit/>
            </a:bodyPr>
            <a:lstStyle/>
            <a:p>
              <a:pPr>
                <a:lnSpc>
                  <a:spcPct val="130000"/>
                </a:lnSpc>
              </a:pPr>
              <a:r>
                <a:rPr lang="en-US" altLang="zh-CN" sz="1000" b="0" dirty="0">
                  <a:solidFill>
                    <a:schemeClr val="tx1">
                      <a:lumMod val="75000"/>
                      <a:lumOff val="25000"/>
                    </a:schemeClr>
                  </a:solidFill>
                  <a:effectLst/>
                  <a:latin typeface="+mn-ea"/>
                </a:rPr>
                <a:t>Lorem ipsum dolor sit amet, consectetur adipisicing elit, sed do eiusmod tempor</a:t>
              </a:r>
              <a:endParaRPr lang="zh-CN" altLang="en-US" sz="1000" b="0" dirty="0">
                <a:solidFill>
                  <a:schemeClr val="tx1">
                    <a:lumMod val="75000"/>
                    <a:lumOff val="25000"/>
                  </a:schemeClr>
                </a:solidFill>
                <a:effectLst/>
                <a:latin typeface="+mn-ea"/>
              </a:endParaRPr>
            </a:p>
          </p:txBody>
        </p:sp>
      </p:grpSp>
      <p:grpSp>
        <p:nvGrpSpPr>
          <p:cNvPr id="80" name="组合 79">
            <a:extLst>
              <a:ext uri="{FF2B5EF4-FFF2-40B4-BE49-F238E27FC236}">
                <a16:creationId xmlns:a16="http://schemas.microsoft.com/office/drawing/2014/main" id="{51CD3257-7253-4897-95F7-6923D83F9DCF}"/>
              </a:ext>
            </a:extLst>
          </p:cNvPr>
          <p:cNvGrpSpPr/>
          <p:nvPr/>
        </p:nvGrpSpPr>
        <p:grpSpPr>
          <a:xfrm>
            <a:off x="4435455" y="4589944"/>
            <a:ext cx="5437916" cy="664285"/>
            <a:chOff x="5926445" y="2496575"/>
            <a:chExt cx="5437916" cy="664285"/>
          </a:xfrm>
        </p:grpSpPr>
        <p:cxnSp>
          <p:nvCxnSpPr>
            <p:cNvPr id="81" name="直接连接符 80">
              <a:extLst>
                <a:ext uri="{FF2B5EF4-FFF2-40B4-BE49-F238E27FC236}">
                  <a16:creationId xmlns:a16="http://schemas.microsoft.com/office/drawing/2014/main" id="{3CF3D435-C615-49F0-8F1F-7B4B2096A9E8}"/>
                </a:ext>
              </a:extLst>
            </p:cNvPr>
            <p:cNvCxnSpPr>
              <a:cxnSpLocks/>
            </p:cNvCxnSpPr>
            <p:nvPr/>
          </p:nvCxnSpPr>
          <p:spPr>
            <a:xfrm>
              <a:off x="5926445" y="2631368"/>
              <a:ext cx="2766685" cy="0"/>
            </a:xfrm>
            <a:prstGeom prst="line">
              <a:avLst/>
            </a:prstGeom>
            <a:ln w="12700">
              <a:gradFill>
                <a:gsLst>
                  <a:gs pos="0">
                    <a:schemeClr val="accent1">
                      <a:alpha val="0"/>
                    </a:schemeClr>
                  </a:gs>
                  <a:gs pos="100000">
                    <a:schemeClr val="accent1"/>
                  </a:gs>
                </a:gsLst>
                <a:lin ang="0" scaled="0"/>
              </a:gradFill>
            </a:ln>
          </p:spPr>
          <p:style>
            <a:lnRef idx="1">
              <a:schemeClr val="accent1"/>
            </a:lnRef>
            <a:fillRef idx="0">
              <a:schemeClr val="accent1"/>
            </a:fillRef>
            <a:effectRef idx="0">
              <a:schemeClr val="accent1"/>
            </a:effectRef>
            <a:fontRef idx="minor">
              <a:schemeClr val="tx1"/>
            </a:fontRef>
          </p:style>
        </p:cxnSp>
        <p:sp>
          <p:nvSpPr>
            <p:cNvPr id="83" name="椭圆 82">
              <a:extLst>
                <a:ext uri="{FF2B5EF4-FFF2-40B4-BE49-F238E27FC236}">
                  <a16:creationId xmlns:a16="http://schemas.microsoft.com/office/drawing/2014/main" id="{4494086C-AF00-401B-8EC2-2A6CB6C9975C}"/>
                </a:ext>
              </a:extLst>
            </p:cNvPr>
            <p:cNvSpPr/>
            <p:nvPr/>
          </p:nvSpPr>
          <p:spPr>
            <a:xfrm>
              <a:off x="8618586" y="2587781"/>
              <a:ext cx="87174" cy="87174"/>
            </a:xfrm>
            <a:prstGeom prst="ellipse">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84" name="文本框 83">
              <a:extLst>
                <a:ext uri="{FF2B5EF4-FFF2-40B4-BE49-F238E27FC236}">
                  <a16:creationId xmlns:a16="http://schemas.microsoft.com/office/drawing/2014/main" id="{EA91EB79-1EA7-4326-BEEB-02BA869911E7}"/>
                </a:ext>
              </a:extLst>
            </p:cNvPr>
            <p:cNvSpPr txBox="1"/>
            <p:nvPr/>
          </p:nvSpPr>
          <p:spPr>
            <a:xfrm>
              <a:off x="8898918" y="2496575"/>
              <a:ext cx="1154162" cy="276999"/>
            </a:xfrm>
            <a:prstGeom prst="rect">
              <a:avLst/>
            </a:prstGeom>
            <a:noFill/>
          </p:spPr>
          <p:txBody>
            <a:bodyPr wrap="none" lIns="0" tIns="0" rIns="0" bIns="0" rtlCol="0" anchor="t">
              <a:spAutoFit/>
            </a:bodyPr>
            <a:lstStyle/>
            <a:p>
              <a:r>
                <a:rPr lang="zh-CN" altLang="en-US" dirty="0">
                  <a:solidFill>
                    <a:schemeClr val="accent1"/>
                  </a:solidFill>
                  <a:latin typeface="+mj-ea"/>
                  <a:ea typeface="+mj-ea"/>
                </a:rPr>
                <a:t>关键词标题</a:t>
              </a:r>
            </a:p>
          </p:txBody>
        </p:sp>
        <p:sp>
          <p:nvSpPr>
            <p:cNvPr id="86" name="文本框 85">
              <a:extLst>
                <a:ext uri="{FF2B5EF4-FFF2-40B4-BE49-F238E27FC236}">
                  <a16:creationId xmlns:a16="http://schemas.microsoft.com/office/drawing/2014/main" id="{AA512593-6A29-4BF6-BFF5-E9016900A993}"/>
                </a:ext>
              </a:extLst>
            </p:cNvPr>
            <p:cNvSpPr txBox="1"/>
            <p:nvPr/>
          </p:nvSpPr>
          <p:spPr>
            <a:xfrm>
              <a:off x="8898918" y="2773574"/>
              <a:ext cx="2465443" cy="387286"/>
            </a:xfrm>
            <a:prstGeom prst="rect">
              <a:avLst/>
            </a:prstGeom>
            <a:noFill/>
          </p:spPr>
          <p:txBody>
            <a:bodyPr wrap="square" lIns="0" tIns="0" rIns="0" bIns="0" rtlCol="0" anchor="t">
              <a:spAutoFit/>
            </a:bodyPr>
            <a:lstStyle/>
            <a:p>
              <a:pPr>
                <a:lnSpc>
                  <a:spcPct val="130000"/>
                </a:lnSpc>
              </a:pPr>
              <a:r>
                <a:rPr lang="en-US" altLang="zh-CN" sz="1000" b="0" dirty="0">
                  <a:solidFill>
                    <a:schemeClr val="tx1">
                      <a:lumMod val="75000"/>
                      <a:lumOff val="25000"/>
                    </a:schemeClr>
                  </a:solidFill>
                  <a:effectLst/>
                  <a:latin typeface="+mn-ea"/>
                </a:rPr>
                <a:t>Lorem ipsum dolor sit amet, consectetur adipisicing elit, sed do eiusmod tempor</a:t>
              </a:r>
              <a:endParaRPr lang="zh-CN" altLang="en-US" sz="1000" b="0" dirty="0">
                <a:solidFill>
                  <a:schemeClr val="tx1">
                    <a:lumMod val="75000"/>
                    <a:lumOff val="25000"/>
                  </a:schemeClr>
                </a:solidFill>
                <a:effectLst/>
                <a:latin typeface="+mn-ea"/>
              </a:endParaRPr>
            </a:p>
          </p:txBody>
        </p:sp>
      </p:grpSp>
    </p:spTree>
    <p:extLst>
      <p:ext uri="{BB962C8B-B14F-4D97-AF65-F5344CB8AC3E}">
        <p14:creationId xmlns:p14="http://schemas.microsoft.com/office/powerpoint/2010/main" val="3730526817"/>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3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组合 7">
            <a:extLst>
              <a:ext uri="{FF2B5EF4-FFF2-40B4-BE49-F238E27FC236}">
                <a16:creationId xmlns:a16="http://schemas.microsoft.com/office/drawing/2014/main" id="{8D98B5D7-05BC-4268-9568-8029A5EEAC3B}"/>
              </a:ext>
            </a:extLst>
          </p:cNvPr>
          <p:cNvGrpSpPr/>
          <p:nvPr/>
        </p:nvGrpSpPr>
        <p:grpSpPr>
          <a:xfrm>
            <a:off x="4000500" y="1313245"/>
            <a:ext cx="4381500" cy="4460872"/>
            <a:chOff x="3572256" y="1307592"/>
            <a:chExt cx="5047488" cy="5138927"/>
          </a:xfrm>
        </p:grpSpPr>
        <p:sp>
          <p:nvSpPr>
            <p:cNvPr id="4" name="任意多边形: 形状 3">
              <a:extLst>
                <a:ext uri="{FF2B5EF4-FFF2-40B4-BE49-F238E27FC236}">
                  <a16:creationId xmlns:a16="http://schemas.microsoft.com/office/drawing/2014/main" id="{FCEFD9F5-D55B-4045-B549-D10809EAE8D7}"/>
                </a:ext>
              </a:extLst>
            </p:cNvPr>
            <p:cNvSpPr/>
            <p:nvPr/>
          </p:nvSpPr>
          <p:spPr>
            <a:xfrm>
              <a:off x="3572256" y="1307592"/>
              <a:ext cx="5047488" cy="5130546"/>
            </a:xfrm>
            <a:custGeom>
              <a:avLst/>
              <a:gdLst>
                <a:gd name="connsiteX0" fmla="*/ 2523744 w 5047488"/>
                <a:gd name="connsiteY0" fmla="*/ 0 h 5130546"/>
                <a:gd name="connsiteX1" fmla="*/ 5047488 w 5047488"/>
                <a:gd name="connsiteY1" fmla="*/ 4718304 h 5130546"/>
                <a:gd name="connsiteX2" fmla="*/ 5041314 w 5047488"/>
                <a:gd name="connsiteY2" fmla="*/ 4718304 h 5130546"/>
                <a:gd name="connsiteX3" fmla="*/ 5047488 w 5047488"/>
                <a:gd name="connsiteY3" fmla="*/ 4737354 h 5130546"/>
                <a:gd name="connsiteX4" fmla="*/ 2523744 w 5047488"/>
                <a:gd name="connsiteY4" fmla="*/ 5130546 h 5130546"/>
                <a:gd name="connsiteX5" fmla="*/ 0 w 5047488"/>
                <a:gd name="connsiteY5" fmla="*/ 4737354 h 5130546"/>
                <a:gd name="connsiteX6" fmla="*/ 6175 w 5047488"/>
                <a:gd name="connsiteY6" fmla="*/ 4718304 h 5130546"/>
                <a:gd name="connsiteX7" fmla="*/ 0 w 5047488"/>
                <a:gd name="connsiteY7" fmla="*/ 4718304 h 51305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47488" h="5130546">
                  <a:moveTo>
                    <a:pt x="2523744" y="0"/>
                  </a:moveTo>
                  <a:lnTo>
                    <a:pt x="5047488" y="4718304"/>
                  </a:lnTo>
                  <a:lnTo>
                    <a:pt x="5041314" y="4718304"/>
                  </a:lnTo>
                  <a:lnTo>
                    <a:pt x="5047488" y="4737354"/>
                  </a:lnTo>
                  <a:cubicBezTo>
                    <a:pt x="5047488" y="4954508"/>
                    <a:pt x="3917569" y="5130546"/>
                    <a:pt x="2523744" y="5130546"/>
                  </a:cubicBezTo>
                  <a:cubicBezTo>
                    <a:pt x="1129919" y="5130546"/>
                    <a:pt x="0" y="4954508"/>
                    <a:pt x="0" y="4737354"/>
                  </a:cubicBezTo>
                  <a:lnTo>
                    <a:pt x="6175" y="4718304"/>
                  </a:lnTo>
                  <a:lnTo>
                    <a:pt x="0" y="4718304"/>
                  </a:lnTo>
                  <a:close/>
                </a:path>
              </a:pathLst>
            </a:custGeom>
            <a:gradFill>
              <a:gsLst>
                <a:gs pos="0">
                  <a:schemeClr val="accent1">
                    <a:lumMod val="50000"/>
                    <a:lumOff val="50000"/>
                  </a:schemeClr>
                </a:gs>
                <a:gs pos="100000">
                  <a:schemeClr val="accent1">
                    <a:lumMod val="50000"/>
                    <a:lumOff val="50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l"/>
              <a:endParaRPr lang="zh-CN" altLang="en-US" sz="1600">
                <a:solidFill>
                  <a:schemeClr val="bg1"/>
                </a:solidFill>
                <a:latin typeface="+mj-ea"/>
                <a:ea typeface="+mj-ea"/>
              </a:endParaRPr>
            </a:p>
          </p:txBody>
        </p:sp>
        <p:sp>
          <p:nvSpPr>
            <p:cNvPr id="5" name="椭圆 4">
              <a:extLst>
                <a:ext uri="{FF2B5EF4-FFF2-40B4-BE49-F238E27FC236}">
                  <a16:creationId xmlns:a16="http://schemas.microsoft.com/office/drawing/2014/main" id="{9E94AE83-A58E-4D44-A36A-580FC978DD2A}"/>
                </a:ext>
              </a:extLst>
            </p:cNvPr>
            <p:cNvSpPr/>
            <p:nvPr/>
          </p:nvSpPr>
          <p:spPr>
            <a:xfrm>
              <a:off x="3572256" y="5641974"/>
              <a:ext cx="5047488" cy="804545"/>
            </a:xfrm>
            <a:prstGeom prst="ellipse">
              <a:avLst/>
            </a:prstGeom>
            <a:solidFill>
              <a:schemeClr val="accent1">
                <a:alpha val="20000"/>
              </a:schemeClr>
            </a:solidFill>
            <a:ln>
              <a:gradFill>
                <a:gsLst>
                  <a:gs pos="8000">
                    <a:schemeClr val="accent1">
                      <a:lumMod val="5000"/>
                      <a:lumOff val="95000"/>
                      <a:alpha val="0"/>
                    </a:schemeClr>
                  </a:gs>
                  <a:gs pos="100000">
                    <a:schemeClr val="bg1"/>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6" name="椭圆 5">
              <a:extLst>
                <a:ext uri="{FF2B5EF4-FFF2-40B4-BE49-F238E27FC236}">
                  <a16:creationId xmlns:a16="http://schemas.microsoft.com/office/drawing/2014/main" id="{BFDA23C4-8EBC-4108-AC7E-4AAC9F96B732}"/>
                </a:ext>
              </a:extLst>
            </p:cNvPr>
            <p:cNvSpPr/>
            <p:nvPr/>
          </p:nvSpPr>
          <p:spPr>
            <a:xfrm>
              <a:off x="4269425" y="4445000"/>
              <a:ext cx="3653150" cy="582294"/>
            </a:xfrm>
            <a:prstGeom prst="ellipse">
              <a:avLst/>
            </a:prstGeom>
            <a:solidFill>
              <a:schemeClr val="accent1">
                <a:alpha val="20000"/>
              </a:schemeClr>
            </a:solidFill>
            <a:ln>
              <a:gradFill>
                <a:gsLst>
                  <a:gs pos="8000">
                    <a:schemeClr val="accent1">
                      <a:lumMod val="5000"/>
                      <a:lumOff val="95000"/>
                      <a:alpha val="0"/>
                    </a:schemeClr>
                  </a:gs>
                  <a:gs pos="100000">
                    <a:schemeClr val="bg1"/>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7" name="椭圆 6">
              <a:extLst>
                <a:ext uri="{FF2B5EF4-FFF2-40B4-BE49-F238E27FC236}">
                  <a16:creationId xmlns:a16="http://schemas.microsoft.com/office/drawing/2014/main" id="{6762E258-E0C2-47B9-8356-C41A1227905C}"/>
                </a:ext>
              </a:extLst>
            </p:cNvPr>
            <p:cNvSpPr/>
            <p:nvPr/>
          </p:nvSpPr>
          <p:spPr>
            <a:xfrm>
              <a:off x="4946673" y="3245803"/>
              <a:ext cx="2298654" cy="366394"/>
            </a:xfrm>
            <a:prstGeom prst="ellipse">
              <a:avLst/>
            </a:prstGeom>
            <a:solidFill>
              <a:schemeClr val="accent1">
                <a:alpha val="20000"/>
              </a:schemeClr>
            </a:solidFill>
            <a:ln>
              <a:gradFill>
                <a:gsLst>
                  <a:gs pos="8000">
                    <a:schemeClr val="accent1">
                      <a:lumMod val="5000"/>
                      <a:lumOff val="95000"/>
                      <a:alpha val="0"/>
                    </a:schemeClr>
                  </a:gs>
                  <a:gs pos="100000">
                    <a:schemeClr val="bg1"/>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grpSp>
      <p:sp>
        <p:nvSpPr>
          <p:cNvPr id="9" name="文本框 8">
            <a:extLst>
              <a:ext uri="{FF2B5EF4-FFF2-40B4-BE49-F238E27FC236}">
                <a16:creationId xmlns:a16="http://schemas.microsoft.com/office/drawing/2014/main" id="{0F58411B-8785-4333-92FC-0BFFE76A81A3}"/>
              </a:ext>
            </a:extLst>
          </p:cNvPr>
          <p:cNvSpPr txBox="1"/>
          <p:nvPr/>
        </p:nvSpPr>
        <p:spPr>
          <a:xfrm>
            <a:off x="5614168" y="2536467"/>
            <a:ext cx="1154162" cy="276999"/>
          </a:xfrm>
          <a:prstGeom prst="rect">
            <a:avLst/>
          </a:prstGeom>
          <a:noFill/>
        </p:spPr>
        <p:txBody>
          <a:bodyPr wrap="none" lIns="0" tIns="0" rIns="0" bIns="0" rtlCol="0" anchor="t">
            <a:spAutoFit/>
          </a:bodyPr>
          <a:lstStyle/>
          <a:p>
            <a:r>
              <a:rPr lang="zh-CN" altLang="en-US" dirty="0">
                <a:solidFill>
                  <a:schemeClr val="bg1"/>
                </a:solidFill>
                <a:latin typeface="+mj-ea"/>
                <a:ea typeface="+mj-ea"/>
              </a:rPr>
              <a:t>关键词标题</a:t>
            </a:r>
          </a:p>
        </p:txBody>
      </p:sp>
      <p:sp>
        <p:nvSpPr>
          <p:cNvPr id="10" name="文本框 9">
            <a:extLst>
              <a:ext uri="{FF2B5EF4-FFF2-40B4-BE49-F238E27FC236}">
                <a16:creationId xmlns:a16="http://schemas.microsoft.com/office/drawing/2014/main" id="{46D52C93-06D4-483D-9951-3F10FBC6BE6F}"/>
              </a:ext>
            </a:extLst>
          </p:cNvPr>
          <p:cNvSpPr txBox="1"/>
          <p:nvPr/>
        </p:nvSpPr>
        <p:spPr>
          <a:xfrm>
            <a:off x="5614168" y="3664227"/>
            <a:ext cx="1154162" cy="276999"/>
          </a:xfrm>
          <a:prstGeom prst="rect">
            <a:avLst/>
          </a:prstGeom>
          <a:noFill/>
        </p:spPr>
        <p:txBody>
          <a:bodyPr wrap="none" lIns="0" tIns="0" rIns="0" bIns="0" rtlCol="0" anchor="t">
            <a:spAutoFit/>
          </a:bodyPr>
          <a:lstStyle/>
          <a:p>
            <a:r>
              <a:rPr lang="zh-CN" altLang="en-US" dirty="0">
                <a:solidFill>
                  <a:schemeClr val="bg1"/>
                </a:solidFill>
                <a:latin typeface="+mj-ea"/>
                <a:ea typeface="+mj-ea"/>
              </a:rPr>
              <a:t>关键词标题</a:t>
            </a:r>
          </a:p>
        </p:txBody>
      </p:sp>
      <p:sp>
        <p:nvSpPr>
          <p:cNvPr id="11" name="文本框 10">
            <a:extLst>
              <a:ext uri="{FF2B5EF4-FFF2-40B4-BE49-F238E27FC236}">
                <a16:creationId xmlns:a16="http://schemas.microsoft.com/office/drawing/2014/main" id="{54790B25-790D-4718-AADD-1B891B164B52}"/>
              </a:ext>
            </a:extLst>
          </p:cNvPr>
          <p:cNvSpPr txBox="1"/>
          <p:nvPr/>
        </p:nvSpPr>
        <p:spPr>
          <a:xfrm>
            <a:off x="5614168" y="4871235"/>
            <a:ext cx="1154162" cy="276999"/>
          </a:xfrm>
          <a:prstGeom prst="rect">
            <a:avLst/>
          </a:prstGeom>
          <a:noFill/>
        </p:spPr>
        <p:txBody>
          <a:bodyPr wrap="none" lIns="0" tIns="0" rIns="0" bIns="0" rtlCol="0" anchor="t">
            <a:spAutoFit/>
          </a:bodyPr>
          <a:lstStyle/>
          <a:p>
            <a:r>
              <a:rPr lang="zh-CN" altLang="en-US" dirty="0">
                <a:solidFill>
                  <a:schemeClr val="bg1"/>
                </a:solidFill>
                <a:latin typeface="+mj-ea"/>
                <a:ea typeface="+mj-ea"/>
              </a:rPr>
              <a:t>关键词标题</a:t>
            </a:r>
          </a:p>
        </p:txBody>
      </p:sp>
    </p:spTree>
    <p:extLst>
      <p:ext uri="{BB962C8B-B14F-4D97-AF65-F5344CB8AC3E}">
        <p14:creationId xmlns:p14="http://schemas.microsoft.com/office/powerpoint/2010/main" val="3557375293"/>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3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立方体 1">
            <a:extLst>
              <a:ext uri="{FF2B5EF4-FFF2-40B4-BE49-F238E27FC236}">
                <a16:creationId xmlns:a16="http://schemas.microsoft.com/office/drawing/2014/main" id="{E5BCD2BD-CD1A-4A2C-ACDC-1F85D0307520}"/>
              </a:ext>
            </a:extLst>
          </p:cNvPr>
          <p:cNvSpPr/>
          <p:nvPr/>
        </p:nvSpPr>
        <p:spPr>
          <a:xfrm>
            <a:off x="4072255" y="1403033"/>
            <a:ext cx="2314575" cy="2314575"/>
          </a:xfrm>
          <a:prstGeom prst="cube">
            <a:avLst/>
          </a:prstGeom>
          <a:solidFill>
            <a:schemeClr val="accent1">
              <a:alpha val="10000"/>
            </a:schemeClr>
          </a:solidFill>
          <a:ln>
            <a:solidFill>
              <a:schemeClr val="accent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3" name="立方体 2">
            <a:extLst>
              <a:ext uri="{FF2B5EF4-FFF2-40B4-BE49-F238E27FC236}">
                <a16:creationId xmlns:a16="http://schemas.microsoft.com/office/drawing/2014/main" id="{C909915B-2A1C-4783-B98D-121E69228970}"/>
              </a:ext>
            </a:extLst>
          </p:cNvPr>
          <p:cNvSpPr/>
          <p:nvPr/>
        </p:nvSpPr>
        <p:spPr>
          <a:xfrm>
            <a:off x="5805170" y="1403033"/>
            <a:ext cx="2314575" cy="2314575"/>
          </a:xfrm>
          <a:prstGeom prst="cube">
            <a:avLst/>
          </a:prstGeom>
          <a:solidFill>
            <a:schemeClr val="accent1">
              <a:alpha val="20000"/>
            </a:schemeClr>
          </a:solidFill>
          <a:ln>
            <a:solidFill>
              <a:schemeClr val="accent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dirty="0">
              <a:solidFill>
                <a:schemeClr val="bg1"/>
              </a:solidFill>
              <a:latin typeface="+mj-ea"/>
              <a:ea typeface="+mj-ea"/>
            </a:endParaRPr>
          </a:p>
        </p:txBody>
      </p:sp>
      <p:sp>
        <p:nvSpPr>
          <p:cNvPr id="4" name="立方体 3">
            <a:extLst>
              <a:ext uri="{FF2B5EF4-FFF2-40B4-BE49-F238E27FC236}">
                <a16:creationId xmlns:a16="http://schemas.microsoft.com/office/drawing/2014/main" id="{16A25749-0DF6-461E-B233-C4DEC61E50B1}"/>
              </a:ext>
            </a:extLst>
          </p:cNvPr>
          <p:cNvSpPr/>
          <p:nvPr/>
        </p:nvSpPr>
        <p:spPr>
          <a:xfrm>
            <a:off x="4072255" y="3140393"/>
            <a:ext cx="2314575" cy="2314575"/>
          </a:xfrm>
          <a:prstGeom prst="cube">
            <a:avLst/>
          </a:prstGeom>
          <a:solidFill>
            <a:schemeClr val="accent1">
              <a:alpha val="20000"/>
            </a:schemeClr>
          </a:solidFill>
          <a:ln>
            <a:solidFill>
              <a:schemeClr val="accent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5" name="立方体 4">
            <a:extLst>
              <a:ext uri="{FF2B5EF4-FFF2-40B4-BE49-F238E27FC236}">
                <a16:creationId xmlns:a16="http://schemas.microsoft.com/office/drawing/2014/main" id="{6AD38937-21AB-4784-8CA5-85AA6BAABCCE}"/>
              </a:ext>
            </a:extLst>
          </p:cNvPr>
          <p:cNvSpPr/>
          <p:nvPr/>
        </p:nvSpPr>
        <p:spPr>
          <a:xfrm>
            <a:off x="5805170" y="3140393"/>
            <a:ext cx="2314575" cy="2314575"/>
          </a:xfrm>
          <a:prstGeom prst="cube">
            <a:avLst/>
          </a:prstGeom>
          <a:solidFill>
            <a:schemeClr val="accent1">
              <a:alpha val="10000"/>
            </a:schemeClr>
          </a:solidFill>
          <a:ln>
            <a:solidFill>
              <a:schemeClr val="accent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dirty="0">
              <a:solidFill>
                <a:schemeClr val="bg1"/>
              </a:solidFill>
              <a:latin typeface="+mj-ea"/>
              <a:ea typeface="+mj-ea"/>
            </a:endParaRPr>
          </a:p>
        </p:txBody>
      </p:sp>
      <p:cxnSp>
        <p:nvCxnSpPr>
          <p:cNvPr id="7" name="直接箭头连接符 6">
            <a:extLst>
              <a:ext uri="{FF2B5EF4-FFF2-40B4-BE49-F238E27FC236}">
                <a16:creationId xmlns:a16="http://schemas.microsoft.com/office/drawing/2014/main" id="{AF173C55-D346-4843-90B3-173F64869C89}"/>
              </a:ext>
            </a:extLst>
          </p:cNvPr>
          <p:cNvCxnSpPr/>
          <p:nvPr/>
        </p:nvCxnSpPr>
        <p:spPr>
          <a:xfrm>
            <a:off x="2804160" y="3429000"/>
            <a:ext cx="6583680" cy="0"/>
          </a:xfrm>
          <a:prstGeom prst="straightConnector1">
            <a:avLst/>
          </a:prstGeom>
          <a:ln w="28575">
            <a:solidFill>
              <a:schemeClr val="tx1">
                <a:lumMod val="65000"/>
                <a:lumOff val="35000"/>
                <a:alpha val="26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8" name="直接箭头连接符 7">
            <a:extLst>
              <a:ext uri="{FF2B5EF4-FFF2-40B4-BE49-F238E27FC236}">
                <a16:creationId xmlns:a16="http://schemas.microsoft.com/office/drawing/2014/main" id="{5F260A85-9630-4710-8B68-730CBAAD25CE}"/>
              </a:ext>
            </a:extLst>
          </p:cNvPr>
          <p:cNvCxnSpPr>
            <a:cxnSpLocks/>
          </p:cNvCxnSpPr>
          <p:nvPr/>
        </p:nvCxnSpPr>
        <p:spPr>
          <a:xfrm flipV="1">
            <a:off x="6096000" y="461772"/>
            <a:ext cx="0" cy="5934456"/>
          </a:xfrm>
          <a:prstGeom prst="straightConnector1">
            <a:avLst/>
          </a:prstGeom>
          <a:ln w="28575">
            <a:solidFill>
              <a:schemeClr val="tx1">
                <a:lumMod val="65000"/>
                <a:lumOff val="35000"/>
                <a:alpha val="26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1" name="直接箭头连接符 10">
            <a:extLst>
              <a:ext uri="{FF2B5EF4-FFF2-40B4-BE49-F238E27FC236}">
                <a16:creationId xmlns:a16="http://schemas.microsoft.com/office/drawing/2014/main" id="{B2E947DD-7A4E-404F-AEEB-525D268ED3A4}"/>
              </a:ext>
            </a:extLst>
          </p:cNvPr>
          <p:cNvCxnSpPr>
            <a:cxnSpLocks/>
          </p:cNvCxnSpPr>
          <p:nvPr/>
        </p:nvCxnSpPr>
        <p:spPr>
          <a:xfrm flipV="1">
            <a:off x="4752975" y="2476500"/>
            <a:ext cx="2281238" cy="2338388"/>
          </a:xfrm>
          <a:prstGeom prst="straightConnector1">
            <a:avLst/>
          </a:prstGeom>
          <a:ln w="28575">
            <a:solidFill>
              <a:schemeClr val="tx1">
                <a:lumMod val="65000"/>
                <a:lumOff val="35000"/>
                <a:alpha val="26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7" name="矩形: 圆角 16">
            <a:extLst>
              <a:ext uri="{FF2B5EF4-FFF2-40B4-BE49-F238E27FC236}">
                <a16:creationId xmlns:a16="http://schemas.microsoft.com/office/drawing/2014/main" id="{25A49234-8093-4653-AFB2-0DD59C5EBA96}"/>
              </a:ext>
            </a:extLst>
          </p:cNvPr>
          <p:cNvSpPr/>
          <p:nvPr/>
        </p:nvSpPr>
        <p:spPr>
          <a:xfrm>
            <a:off x="4481671" y="2383387"/>
            <a:ext cx="1154748" cy="362440"/>
          </a:xfrm>
          <a:prstGeom prst="roundRect">
            <a:avLst>
              <a:gd name="adj" fmla="val 50000"/>
            </a:avLst>
          </a:prstGeom>
          <a:solidFill>
            <a:schemeClr val="accent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dirty="0">
                <a:solidFill>
                  <a:schemeClr val="bg1"/>
                </a:solidFill>
                <a:latin typeface="+mj-ea"/>
                <a:ea typeface="+mj-ea"/>
              </a:rPr>
              <a:t>关键词</a:t>
            </a:r>
          </a:p>
        </p:txBody>
      </p:sp>
      <p:sp>
        <p:nvSpPr>
          <p:cNvPr id="18" name="矩形: 圆角 17">
            <a:extLst>
              <a:ext uri="{FF2B5EF4-FFF2-40B4-BE49-F238E27FC236}">
                <a16:creationId xmlns:a16="http://schemas.microsoft.com/office/drawing/2014/main" id="{FA64D54B-9935-468D-BC1D-29222BA3899D}"/>
              </a:ext>
            </a:extLst>
          </p:cNvPr>
          <p:cNvSpPr/>
          <p:nvPr/>
        </p:nvSpPr>
        <p:spPr>
          <a:xfrm>
            <a:off x="6302851" y="2383387"/>
            <a:ext cx="1154748" cy="362440"/>
          </a:xfrm>
          <a:prstGeom prst="roundRect">
            <a:avLst>
              <a:gd name="adj" fmla="val 50000"/>
            </a:avLst>
          </a:prstGeom>
          <a:solidFill>
            <a:schemeClr val="accent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dirty="0">
                <a:solidFill>
                  <a:schemeClr val="bg1"/>
                </a:solidFill>
                <a:latin typeface="+mj-ea"/>
                <a:ea typeface="+mj-ea"/>
              </a:rPr>
              <a:t>关键词</a:t>
            </a:r>
          </a:p>
        </p:txBody>
      </p:sp>
      <p:sp>
        <p:nvSpPr>
          <p:cNvPr id="19" name="矩形: 圆角 18">
            <a:extLst>
              <a:ext uri="{FF2B5EF4-FFF2-40B4-BE49-F238E27FC236}">
                <a16:creationId xmlns:a16="http://schemas.microsoft.com/office/drawing/2014/main" id="{62304058-E5D1-4FC2-A0EE-D69E484E5EE5}"/>
              </a:ext>
            </a:extLst>
          </p:cNvPr>
          <p:cNvSpPr/>
          <p:nvPr/>
        </p:nvSpPr>
        <p:spPr>
          <a:xfrm>
            <a:off x="4481671" y="4128367"/>
            <a:ext cx="1154748" cy="362440"/>
          </a:xfrm>
          <a:prstGeom prst="roundRect">
            <a:avLst>
              <a:gd name="adj" fmla="val 50000"/>
            </a:avLst>
          </a:prstGeom>
          <a:solidFill>
            <a:schemeClr val="accent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dirty="0">
                <a:solidFill>
                  <a:schemeClr val="bg1"/>
                </a:solidFill>
                <a:latin typeface="+mj-ea"/>
                <a:ea typeface="+mj-ea"/>
              </a:rPr>
              <a:t>关键词</a:t>
            </a:r>
          </a:p>
        </p:txBody>
      </p:sp>
      <p:sp>
        <p:nvSpPr>
          <p:cNvPr id="20" name="矩形: 圆角 19">
            <a:extLst>
              <a:ext uri="{FF2B5EF4-FFF2-40B4-BE49-F238E27FC236}">
                <a16:creationId xmlns:a16="http://schemas.microsoft.com/office/drawing/2014/main" id="{69C2B84A-1A8A-4988-904B-54B33A532B59}"/>
              </a:ext>
            </a:extLst>
          </p:cNvPr>
          <p:cNvSpPr/>
          <p:nvPr/>
        </p:nvSpPr>
        <p:spPr>
          <a:xfrm>
            <a:off x="6302851" y="4128367"/>
            <a:ext cx="1154748" cy="362440"/>
          </a:xfrm>
          <a:prstGeom prst="roundRect">
            <a:avLst>
              <a:gd name="adj" fmla="val 50000"/>
            </a:avLst>
          </a:prstGeom>
          <a:solidFill>
            <a:schemeClr val="accent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dirty="0">
                <a:solidFill>
                  <a:schemeClr val="bg1"/>
                </a:solidFill>
                <a:latin typeface="+mj-ea"/>
                <a:ea typeface="+mj-ea"/>
              </a:rPr>
              <a:t>关键词</a:t>
            </a:r>
          </a:p>
        </p:txBody>
      </p:sp>
    </p:spTree>
    <p:extLst>
      <p:ext uri="{BB962C8B-B14F-4D97-AF65-F5344CB8AC3E}">
        <p14:creationId xmlns:p14="http://schemas.microsoft.com/office/powerpoint/2010/main" val="4245885867"/>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平行四边形 21">
            <a:extLst>
              <a:ext uri="{FF2B5EF4-FFF2-40B4-BE49-F238E27FC236}">
                <a16:creationId xmlns:a16="http://schemas.microsoft.com/office/drawing/2014/main" id="{DF0AE0F8-9A5E-4B93-8491-15A99DDC480C}"/>
              </a:ext>
            </a:extLst>
          </p:cNvPr>
          <p:cNvSpPr/>
          <p:nvPr/>
        </p:nvSpPr>
        <p:spPr>
          <a:xfrm flipH="1">
            <a:off x="1549400" y="0"/>
            <a:ext cx="9093200" cy="6858000"/>
          </a:xfrm>
          <a:prstGeom prst="parallelogram">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p>
        </p:txBody>
      </p:sp>
      <p:sp>
        <p:nvSpPr>
          <p:cNvPr id="3" name="平行四边形 2">
            <a:extLst>
              <a:ext uri="{FF2B5EF4-FFF2-40B4-BE49-F238E27FC236}">
                <a16:creationId xmlns:a16="http://schemas.microsoft.com/office/drawing/2014/main" id="{4BD050A8-B329-4F85-9DAD-A62520319D4F}"/>
              </a:ext>
            </a:extLst>
          </p:cNvPr>
          <p:cNvSpPr/>
          <p:nvPr/>
        </p:nvSpPr>
        <p:spPr>
          <a:xfrm>
            <a:off x="381000" y="0"/>
            <a:ext cx="11430000" cy="6858000"/>
          </a:xfrm>
          <a:prstGeom prst="parallelogram">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p>
        </p:txBody>
      </p:sp>
      <p:sp>
        <p:nvSpPr>
          <p:cNvPr id="11" name="文本框 10">
            <a:extLst>
              <a:ext uri="{FF2B5EF4-FFF2-40B4-BE49-F238E27FC236}">
                <a16:creationId xmlns:a16="http://schemas.microsoft.com/office/drawing/2014/main" id="{E4393356-E9A7-46D9-B5F5-0D21EC991A29}"/>
              </a:ext>
            </a:extLst>
          </p:cNvPr>
          <p:cNvSpPr txBox="1"/>
          <p:nvPr/>
        </p:nvSpPr>
        <p:spPr>
          <a:xfrm>
            <a:off x="1941017" y="2813447"/>
            <a:ext cx="8309967" cy="1107996"/>
          </a:xfrm>
          <a:prstGeom prst="rect">
            <a:avLst/>
          </a:prstGeom>
          <a:noFill/>
        </p:spPr>
        <p:txBody>
          <a:bodyPr wrap="none" lIns="0" tIns="0" rIns="0" bIns="0" rtlCol="0" anchor="t">
            <a:spAutoFit/>
          </a:bodyPr>
          <a:lstStyle/>
          <a:p>
            <a:pPr algn="ctr"/>
            <a:r>
              <a:rPr lang="zh-CN" altLang="en-US" sz="7200" dirty="0">
                <a:solidFill>
                  <a:schemeClr val="bg1"/>
                </a:solidFill>
                <a:latin typeface="+mj-ea"/>
                <a:ea typeface="+mj-ea"/>
              </a:rPr>
              <a:t>输入你的封面大标题</a:t>
            </a:r>
          </a:p>
        </p:txBody>
      </p:sp>
      <p:sp>
        <p:nvSpPr>
          <p:cNvPr id="12" name="文本框 11">
            <a:extLst>
              <a:ext uri="{FF2B5EF4-FFF2-40B4-BE49-F238E27FC236}">
                <a16:creationId xmlns:a16="http://schemas.microsoft.com/office/drawing/2014/main" id="{08D1ED60-C0E7-408E-A5AA-59B489440FCB}"/>
              </a:ext>
            </a:extLst>
          </p:cNvPr>
          <p:cNvSpPr txBox="1"/>
          <p:nvPr/>
        </p:nvSpPr>
        <p:spPr>
          <a:xfrm>
            <a:off x="4095451" y="2275523"/>
            <a:ext cx="4001095" cy="369332"/>
          </a:xfrm>
          <a:prstGeom prst="rect">
            <a:avLst/>
          </a:prstGeom>
          <a:noFill/>
        </p:spPr>
        <p:txBody>
          <a:bodyPr wrap="none" lIns="0" tIns="0" rIns="0" bIns="0" rtlCol="0" anchor="t">
            <a:spAutoFit/>
          </a:bodyPr>
          <a:lstStyle/>
          <a:p>
            <a:pPr algn="ctr"/>
            <a:r>
              <a:rPr lang="zh-CN" altLang="en-US" sz="2400" dirty="0">
                <a:solidFill>
                  <a:schemeClr val="bg1"/>
                </a:solidFill>
                <a:latin typeface="+mn-ea"/>
              </a:rPr>
              <a:t>输入你的副标题或大标题英文</a:t>
            </a:r>
          </a:p>
        </p:txBody>
      </p:sp>
      <p:cxnSp>
        <p:nvCxnSpPr>
          <p:cNvPr id="14" name="直接连接符 13">
            <a:extLst>
              <a:ext uri="{FF2B5EF4-FFF2-40B4-BE49-F238E27FC236}">
                <a16:creationId xmlns:a16="http://schemas.microsoft.com/office/drawing/2014/main" id="{99FDF5DC-EAFA-4C3B-B052-660243EB047F}"/>
              </a:ext>
            </a:extLst>
          </p:cNvPr>
          <p:cNvCxnSpPr/>
          <p:nvPr/>
        </p:nvCxnSpPr>
        <p:spPr>
          <a:xfrm flipH="1">
            <a:off x="2029968" y="2465975"/>
            <a:ext cx="1901952"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 name="直接连接符 14">
            <a:extLst>
              <a:ext uri="{FF2B5EF4-FFF2-40B4-BE49-F238E27FC236}">
                <a16:creationId xmlns:a16="http://schemas.microsoft.com/office/drawing/2014/main" id="{C6CC629A-E754-4728-BB95-563C56597B63}"/>
              </a:ext>
            </a:extLst>
          </p:cNvPr>
          <p:cNvCxnSpPr/>
          <p:nvPr/>
        </p:nvCxnSpPr>
        <p:spPr>
          <a:xfrm flipH="1">
            <a:off x="8284464" y="2465975"/>
            <a:ext cx="1901952"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grpSp>
        <p:nvGrpSpPr>
          <p:cNvPr id="18" name="组合 17">
            <a:extLst>
              <a:ext uri="{FF2B5EF4-FFF2-40B4-BE49-F238E27FC236}">
                <a16:creationId xmlns:a16="http://schemas.microsoft.com/office/drawing/2014/main" id="{FC799265-AC15-410F-82A2-679AB60B288F}"/>
              </a:ext>
            </a:extLst>
          </p:cNvPr>
          <p:cNvGrpSpPr/>
          <p:nvPr/>
        </p:nvGrpSpPr>
        <p:grpSpPr>
          <a:xfrm>
            <a:off x="4331702" y="4268914"/>
            <a:ext cx="1475214" cy="246221"/>
            <a:chOff x="4095451" y="4640913"/>
            <a:chExt cx="1475214" cy="246221"/>
          </a:xfrm>
        </p:grpSpPr>
        <p:sp>
          <p:nvSpPr>
            <p:cNvPr id="16" name="矩形 15">
              <a:extLst>
                <a:ext uri="{FF2B5EF4-FFF2-40B4-BE49-F238E27FC236}">
                  <a16:creationId xmlns:a16="http://schemas.microsoft.com/office/drawing/2014/main" id="{74C493E7-1B47-4349-BC5B-BF3163490795}"/>
                </a:ext>
              </a:extLst>
            </p:cNvPr>
            <p:cNvSpPr/>
            <p:nvPr/>
          </p:nvSpPr>
          <p:spPr>
            <a:xfrm>
              <a:off x="4095451" y="4672584"/>
              <a:ext cx="164592" cy="1645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solidFill>
                  <a:schemeClr val="bg1"/>
                </a:solidFill>
              </a:endParaRPr>
            </a:p>
          </p:txBody>
        </p:sp>
        <p:sp>
          <p:nvSpPr>
            <p:cNvPr id="17" name="文本框 16">
              <a:extLst>
                <a:ext uri="{FF2B5EF4-FFF2-40B4-BE49-F238E27FC236}">
                  <a16:creationId xmlns:a16="http://schemas.microsoft.com/office/drawing/2014/main" id="{B804F6AA-7656-4EF8-84F0-3B3FB5CF0922}"/>
                </a:ext>
              </a:extLst>
            </p:cNvPr>
            <p:cNvSpPr txBox="1"/>
            <p:nvPr/>
          </p:nvSpPr>
          <p:spPr>
            <a:xfrm>
              <a:off x="4408487" y="4640913"/>
              <a:ext cx="1162178" cy="246221"/>
            </a:xfrm>
            <a:prstGeom prst="rect">
              <a:avLst/>
            </a:prstGeom>
            <a:noFill/>
          </p:spPr>
          <p:txBody>
            <a:bodyPr wrap="none" lIns="0" tIns="0" rIns="0" bIns="0" rtlCol="0" anchor="t">
              <a:spAutoFit/>
            </a:bodyPr>
            <a:lstStyle/>
            <a:p>
              <a:r>
                <a:rPr lang="zh-CN" altLang="en-US" sz="1600" dirty="0">
                  <a:solidFill>
                    <a:schemeClr val="bg1"/>
                  </a:solidFill>
                  <a:latin typeface="+mn-ea"/>
                </a:rPr>
                <a:t>汇报人：</a:t>
              </a:r>
              <a:r>
                <a:rPr lang="en-US" altLang="zh-CN" sz="1600" dirty="0">
                  <a:solidFill>
                    <a:schemeClr val="bg1"/>
                  </a:solidFill>
                  <a:latin typeface="+mn-ea"/>
                </a:rPr>
                <a:t>xxx</a:t>
              </a:r>
              <a:endParaRPr lang="zh-CN" altLang="en-US" sz="1600" dirty="0">
                <a:solidFill>
                  <a:schemeClr val="bg1"/>
                </a:solidFill>
                <a:latin typeface="+mn-ea"/>
              </a:endParaRPr>
            </a:p>
          </p:txBody>
        </p:sp>
      </p:grpSp>
      <p:grpSp>
        <p:nvGrpSpPr>
          <p:cNvPr id="19" name="组合 18">
            <a:extLst>
              <a:ext uri="{FF2B5EF4-FFF2-40B4-BE49-F238E27FC236}">
                <a16:creationId xmlns:a16="http://schemas.microsoft.com/office/drawing/2014/main" id="{482B1619-178E-45D1-BC39-C5F4314075B6}"/>
              </a:ext>
            </a:extLst>
          </p:cNvPr>
          <p:cNvGrpSpPr/>
          <p:nvPr/>
        </p:nvGrpSpPr>
        <p:grpSpPr>
          <a:xfrm>
            <a:off x="6590270" y="4268914"/>
            <a:ext cx="1270029" cy="246221"/>
            <a:chOff x="4095451" y="4640913"/>
            <a:chExt cx="1270029" cy="246221"/>
          </a:xfrm>
        </p:grpSpPr>
        <p:sp>
          <p:nvSpPr>
            <p:cNvPr id="20" name="矩形 19">
              <a:extLst>
                <a:ext uri="{FF2B5EF4-FFF2-40B4-BE49-F238E27FC236}">
                  <a16:creationId xmlns:a16="http://schemas.microsoft.com/office/drawing/2014/main" id="{3A1AE345-38CE-49BE-9E58-2C20078777A3}"/>
                </a:ext>
              </a:extLst>
            </p:cNvPr>
            <p:cNvSpPr/>
            <p:nvPr/>
          </p:nvSpPr>
          <p:spPr>
            <a:xfrm>
              <a:off x="4095451" y="4672584"/>
              <a:ext cx="164592" cy="1645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solidFill>
                  <a:schemeClr val="bg1"/>
                </a:solidFill>
              </a:endParaRPr>
            </a:p>
          </p:txBody>
        </p:sp>
        <p:sp>
          <p:nvSpPr>
            <p:cNvPr id="21" name="文本框 20">
              <a:extLst>
                <a:ext uri="{FF2B5EF4-FFF2-40B4-BE49-F238E27FC236}">
                  <a16:creationId xmlns:a16="http://schemas.microsoft.com/office/drawing/2014/main" id="{FCC3031D-C171-43E7-B549-82FC96054817}"/>
                </a:ext>
              </a:extLst>
            </p:cNvPr>
            <p:cNvSpPr txBox="1"/>
            <p:nvPr/>
          </p:nvSpPr>
          <p:spPr>
            <a:xfrm>
              <a:off x="4408487" y="4640913"/>
              <a:ext cx="956993" cy="246221"/>
            </a:xfrm>
            <a:prstGeom prst="rect">
              <a:avLst/>
            </a:prstGeom>
            <a:noFill/>
          </p:spPr>
          <p:txBody>
            <a:bodyPr wrap="none" lIns="0" tIns="0" rIns="0" bIns="0" rtlCol="0" anchor="t">
              <a:spAutoFit/>
            </a:bodyPr>
            <a:lstStyle/>
            <a:p>
              <a:r>
                <a:rPr lang="zh-CN" altLang="en-US" sz="1600" dirty="0">
                  <a:solidFill>
                    <a:schemeClr val="bg1"/>
                  </a:solidFill>
                  <a:latin typeface="+mn-ea"/>
                </a:rPr>
                <a:t>单位：</a:t>
              </a:r>
              <a:r>
                <a:rPr lang="en-US" altLang="zh-CN" sz="1600" dirty="0">
                  <a:solidFill>
                    <a:schemeClr val="bg1"/>
                  </a:solidFill>
                  <a:latin typeface="+mn-ea"/>
                </a:rPr>
                <a:t>xxx</a:t>
              </a:r>
              <a:endParaRPr lang="zh-CN" altLang="en-US" sz="1600" dirty="0">
                <a:solidFill>
                  <a:schemeClr val="bg1"/>
                </a:solidFill>
                <a:latin typeface="+mn-ea"/>
              </a:endParaRPr>
            </a:p>
          </p:txBody>
        </p:sp>
      </p:grpSp>
      <p:cxnSp>
        <p:nvCxnSpPr>
          <p:cNvPr id="23" name="直接连接符 22">
            <a:extLst>
              <a:ext uri="{FF2B5EF4-FFF2-40B4-BE49-F238E27FC236}">
                <a16:creationId xmlns:a16="http://schemas.microsoft.com/office/drawing/2014/main" id="{CE4614EF-B88F-4347-B526-58ECE7F96194}"/>
              </a:ext>
            </a:extLst>
          </p:cNvPr>
          <p:cNvCxnSpPr>
            <a:cxnSpLocks/>
          </p:cNvCxnSpPr>
          <p:nvPr/>
        </p:nvCxnSpPr>
        <p:spPr>
          <a:xfrm flipH="1">
            <a:off x="2029968" y="3989975"/>
            <a:ext cx="8156448"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24" name="平行四边形 23">
            <a:extLst>
              <a:ext uri="{FF2B5EF4-FFF2-40B4-BE49-F238E27FC236}">
                <a16:creationId xmlns:a16="http://schemas.microsoft.com/office/drawing/2014/main" id="{13D37685-5BF4-4A30-B3AA-F30381D02AD5}"/>
              </a:ext>
            </a:extLst>
          </p:cNvPr>
          <p:cNvSpPr/>
          <p:nvPr/>
        </p:nvSpPr>
        <p:spPr>
          <a:xfrm>
            <a:off x="11499342" y="0"/>
            <a:ext cx="1511300" cy="2644855"/>
          </a:xfrm>
          <a:prstGeom prst="parallelogram">
            <a:avLst>
              <a:gd name="adj" fmla="val 43991"/>
            </a:avLst>
          </a:prstGeom>
          <a:gradFill flip="none" rotWithShape="1">
            <a:gsLst>
              <a:gs pos="0">
                <a:schemeClr val="accent1">
                  <a:lumMod val="75000"/>
                  <a:lumOff val="25000"/>
                </a:schemeClr>
              </a:gs>
              <a:gs pos="84000">
                <a:schemeClr val="accent1">
                  <a:lumMod val="75000"/>
                  <a:lumOff val="25000"/>
                </a:schemeClr>
              </a:gs>
            </a:gsLst>
            <a:lin ang="5400000" scaled="1"/>
            <a:tileRect/>
          </a:gra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p>
        </p:txBody>
      </p:sp>
      <p:sp>
        <p:nvSpPr>
          <p:cNvPr id="25" name="平行四边形 24">
            <a:extLst>
              <a:ext uri="{FF2B5EF4-FFF2-40B4-BE49-F238E27FC236}">
                <a16:creationId xmlns:a16="http://schemas.microsoft.com/office/drawing/2014/main" id="{2195214E-860E-442B-8CA3-497D2DA04628}"/>
              </a:ext>
            </a:extLst>
          </p:cNvPr>
          <p:cNvSpPr/>
          <p:nvPr/>
        </p:nvSpPr>
        <p:spPr>
          <a:xfrm flipH="1" flipV="1">
            <a:off x="-791772" y="4213145"/>
            <a:ext cx="1511300" cy="2644855"/>
          </a:xfrm>
          <a:prstGeom prst="parallelogram">
            <a:avLst>
              <a:gd name="adj" fmla="val 43991"/>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p>
        </p:txBody>
      </p:sp>
    </p:spTree>
    <p:extLst>
      <p:ext uri="{BB962C8B-B14F-4D97-AF65-F5344CB8AC3E}">
        <p14:creationId xmlns:p14="http://schemas.microsoft.com/office/powerpoint/2010/main" val="3580301005"/>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3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任意多边形: 形状 1">
            <a:extLst>
              <a:ext uri="{FF2B5EF4-FFF2-40B4-BE49-F238E27FC236}">
                <a16:creationId xmlns:a16="http://schemas.microsoft.com/office/drawing/2014/main" id="{27006D07-23C0-418D-8340-AA27CE053417}"/>
              </a:ext>
            </a:extLst>
          </p:cNvPr>
          <p:cNvSpPr/>
          <p:nvPr/>
        </p:nvSpPr>
        <p:spPr>
          <a:xfrm>
            <a:off x="0" y="2133702"/>
            <a:ext cx="12192000" cy="1505372"/>
          </a:xfrm>
          <a:custGeom>
            <a:avLst/>
            <a:gdLst>
              <a:gd name="connsiteX0" fmla="*/ 0 w 12973050"/>
              <a:gd name="connsiteY0" fmla="*/ 152298 h 1505372"/>
              <a:gd name="connsiteX1" fmla="*/ 2390775 w 12973050"/>
              <a:gd name="connsiteY1" fmla="*/ 1504848 h 1505372"/>
              <a:gd name="connsiteX2" fmla="*/ 8763000 w 12973050"/>
              <a:gd name="connsiteY2" fmla="*/ 18948 h 1505372"/>
              <a:gd name="connsiteX3" fmla="*/ 12973050 w 12973050"/>
              <a:gd name="connsiteY3" fmla="*/ 799998 h 1505372"/>
            </a:gdLst>
            <a:ahLst/>
            <a:cxnLst>
              <a:cxn ang="0">
                <a:pos x="connsiteX0" y="connsiteY0"/>
              </a:cxn>
              <a:cxn ang="0">
                <a:pos x="connsiteX1" y="connsiteY1"/>
              </a:cxn>
              <a:cxn ang="0">
                <a:pos x="connsiteX2" y="connsiteY2"/>
              </a:cxn>
              <a:cxn ang="0">
                <a:pos x="connsiteX3" y="connsiteY3"/>
              </a:cxn>
            </a:cxnLst>
            <a:rect l="l" t="t" r="r" b="b"/>
            <a:pathLst>
              <a:path w="12973050" h="1505372">
                <a:moveTo>
                  <a:pt x="0" y="152298"/>
                </a:moveTo>
                <a:cubicBezTo>
                  <a:pt x="465137" y="839685"/>
                  <a:pt x="930275" y="1527073"/>
                  <a:pt x="2390775" y="1504848"/>
                </a:cubicBezTo>
                <a:cubicBezTo>
                  <a:pt x="3851275" y="1482623"/>
                  <a:pt x="6999287" y="136423"/>
                  <a:pt x="8763000" y="18948"/>
                </a:cubicBezTo>
                <a:cubicBezTo>
                  <a:pt x="10526713" y="-98527"/>
                  <a:pt x="11749881" y="350735"/>
                  <a:pt x="12973050" y="799998"/>
                </a:cubicBezTo>
              </a:path>
            </a:pathLst>
          </a:custGeom>
          <a:noFill/>
          <a:ln w="25400">
            <a:gradFill>
              <a:gsLst>
                <a:gs pos="0">
                  <a:schemeClr val="accent1">
                    <a:alpha val="0"/>
                  </a:schemeClr>
                </a:gs>
                <a:gs pos="50000">
                  <a:schemeClr val="accent1"/>
                </a:gs>
                <a:gs pos="100000">
                  <a:schemeClr val="accent1">
                    <a:alpha val="0"/>
                  </a:schemeClr>
                </a:gs>
              </a:gsLst>
              <a:lin ang="0" scaled="0"/>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14" name="组合 13">
            <a:extLst>
              <a:ext uri="{FF2B5EF4-FFF2-40B4-BE49-F238E27FC236}">
                <a16:creationId xmlns:a16="http://schemas.microsoft.com/office/drawing/2014/main" id="{F6476FF8-2017-486A-A5B7-976EABE46B37}"/>
              </a:ext>
            </a:extLst>
          </p:cNvPr>
          <p:cNvGrpSpPr/>
          <p:nvPr/>
        </p:nvGrpSpPr>
        <p:grpSpPr>
          <a:xfrm>
            <a:off x="1081087" y="3510756"/>
            <a:ext cx="1152525" cy="1339373"/>
            <a:chOff x="1081087" y="3510756"/>
            <a:chExt cx="1152525" cy="1339373"/>
          </a:xfrm>
        </p:grpSpPr>
        <p:sp>
          <p:nvSpPr>
            <p:cNvPr id="3" name="椭圆 2">
              <a:extLst>
                <a:ext uri="{FF2B5EF4-FFF2-40B4-BE49-F238E27FC236}">
                  <a16:creationId xmlns:a16="http://schemas.microsoft.com/office/drawing/2014/main" id="{04CCECF1-67F8-4FB3-AD36-4E768BADFDF8}"/>
                </a:ext>
              </a:extLst>
            </p:cNvPr>
            <p:cNvSpPr/>
            <p:nvPr/>
          </p:nvSpPr>
          <p:spPr>
            <a:xfrm>
              <a:off x="1081087" y="3697604"/>
              <a:ext cx="1152525" cy="1152525"/>
            </a:xfrm>
            <a:prstGeom prst="ellipse">
              <a:avLst/>
            </a:prstGeom>
            <a:noFill/>
            <a:ln w="25400">
              <a:gradFill>
                <a:gsLst>
                  <a:gs pos="6000">
                    <a:schemeClr val="accent1">
                      <a:alpha val="0"/>
                    </a:schemeClr>
                  </a:gs>
                  <a:gs pos="100000">
                    <a:schemeClr val="accent1"/>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4" name="椭圆 3">
              <a:extLst>
                <a:ext uri="{FF2B5EF4-FFF2-40B4-BE49-F238E27FC236}">
                  <a16:creationId xmlns:a16="http://schemas.microsoft.com/office/drawing/2014/main" id="{444B97F5-36EF-48F0-9931-D2D54ED380A1}"/>
                </a:ext>
              </a:extLst>
            </p:cNvPr>
            <p:cNvSpPr/>
            <p:nvPr/>
          </p:nvSpPr>
          <p:spPr>
            <a:xfrm>
              <a:off x="1568187" y="3510756"/>
              <a:ext cx="178324" cy="178324"/>
            </a:xfrm>
            <a:prstGeom prst="ellipse">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12" name="文本框 11">
              <a:extLst>
                <a:ext uri="{FF2B5EF4-FFF2-40B4-BE49-F238E27FC236}">
                  <a16:creationId xmlns:a16="http://schemas.microsoft.com/office/drawing/2014/main" id="{544C7C60-CA92-4903-AB06-39902EDD22D5}"/>
                </a:ext>
              </a:extLst>
            </p:cNvPr>
            <p:cNvSpPr txBox="1"/>
            <p:nvPr/>
          </p:nvSpPr>
          <p:spPr>
            <a:xfrm>
              <a:off x="1311101" y="4030636"/>
              <a:ext cx="692497" cy="553998"/>
            </a:xfrm>
            <a:prstGeom prst="rect">
              <a:avLst/>
            </a:prstGeom>
            <a:noFill/>
          </p:spPr>
          <p:txBody>
            <a:bodyPr wrap="none" lIns="0" tIns="0" rIns="0" bIns="0" rtlCol="0" anchor="t">
              <a:spAutoFit/>
            </a:bodyPr>
            <a:lstStyle/>
            <a:p>
              <a:pPr algn="ctr"/>
              <a:r>
                <a:rPr lang="zh-CN" altLang="en-US" dirty="0">
                  <a:solidFill>
                    <a:schemeClr val="accent1"/>
                  </a:solidFill>
                  <a:latin typeface="+mj-ea"/>
                  <a:ea typeface="+mj-ea"/>
                </a:rPr>
                <a:t>关键词</a:t>
              </a:r>
              <a:endParaRPr lang="en-US" altLang="zh-CN" dirty="0">
                <a:solidFill>
                  <a:schemeClr val="accent1"/>
                </a:solidFill>
                <a:latin typeface="+mj-ea"/>
                <a:ea typeface="+mj-ea"/>
              </a:endParaRPr>
            </a:p>
            <a:p>
              <a:pPr algn="ctr"/>
              <a:r>
                <a:rPr lang="zh-CN" altLang="en-US" dirty="0">
                  <a:solidFill>
                    <a:schemeClr val="accent1"/>
                  </a:solidFill>
                  <a:latin typeface="+mj-ea"/>
                  <a:ea typeface="+mj-ea"/>
                </a:rPr>
                <a:t>标题</a:t>
              </a:r>
            </a:p>
          </p:txBody>
        </p:sp>
      </p:grpSp>
      <p:grpSp>
        <p:nvGrpSpPr>
          <p:cNvPr id="15" name="组合 14">
            <a:extLst>
              <a:ext uri="{FF2B5EF4-FFF2-40B4-BE49-F238E27FC236}">
                <a16:creationId xmlns:a16="http://schemas.microsoft.com/office/drawing/2014/main" id="{380A8D0E-0A55-40A0-B3E0-9D603BCA1090}"/>
              </a:ext>
            </a:extLst>
          </p:cNvPr>
          <p:cNvGrpSpPr/>
          <p:nvPr/>
        </p:nvGrpSpPr>
        <p:grpSpPr>
          <a:xfrm>
            <a:off x="3278060" y="3242786"/>
            <a:ext cx="1152525" cy="1339373"/>
            <a:chOff x="1081087" y="3510756"/>
            <a:chExt cx="1152525" cy="1339373"/>
          </a:xfrm>
        </p:grpSpPr>
        <p:sp>
          <p:nvSpPr>
            <p:cNvPr id="16" name="椭圆 15">
              <a:extLst>
                <a:ext uri="{FF2B5EF4-FFF2-40B4-BE49-F238E27FC236}">
                  <a16:creationId xmlns:a16="http://schemas.microsoft.com/office/drawing/2014/main" id="{D9C40A09-B14A-472D-A1CE-0A6165468685}"/>
                </a:ext>
              </a:extLst>
            </p:cNvPr>
            <p:cNvSpPr/>
            <p:nvPr/>
          </p:nvSpPr>
          <p:spPr>
            <a:xfrm>
              <a:off x="1081087" y="3697604"/>
              <a:ext cx="1152525" cy="1152525"/>
            </a:xfrm>
            <a:prstGeom prst="ellipse">
              <a:avLst/>
            </a:prstGeom>
            <a:noFill/>
            <a:ln w="25400">
              <a:gradFill>
                <a:gsLst>
                  <a:gs pos="6000">
                    <a:schemeClr val="accent1">
                      <a:alpha val="0"/>
                    </a:schemeClr>
                  </a:gs>
                  <a:gs pos="100000">
                    <a:schemeClr val="accent1"/>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17" name="椭圆 16">
              <a:extLst>
                <a:ext uri="{FF2B5EF4-FFF2-40B4-BE49-F238E27FC236}">
                  <a16:creationId xmlns:a16="http://schemas.microsoft.com/office/drawing/2014/main" id="{7C6EF429-3831-457C-9EB6-359DB8A0E61A}"/>
                </a:ext>
              </a:extLst>
            </p:cNvPr>
            <p:cNvSpPr/>
            <p:nvPr/>
          </p:nvSpPr>
          <p:spPr>
            <a:xfrm>
              <a:off x="1568187" y="3510756"/>
              <a:ext cx="178324" cy="178324"/>
            </a:xfrm>
            <a:prstGeom prst="ellipse">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18" name="文本框 17">
              <a:extLst>
                <a:ext uri="{FF2B5EF4-FFF2-40B4-BE49-F238E27FC236}">
                  <a16:creationId xmlns:a16="http://schemas.microsoft.com/office/drawing/2014/main" id="{EF06F852-0822-4539-BB4B-B015031008E9}"/>
                </a:ext>
              </a:extLst>
            </p:cNvPr>
            <p:cNvSpPr txBox="1"/>
            <p:nvPr/>
          </p:nvSpPr>
          <p:spPr>
            <a:xfrm>
              <a:off x="1311101" y="4030636"/>
              <a:ext cx="692497" cy="553998"/>
            </a:xfrm>
            <a:prstGeom prst="rect">
              <a:avLst/>
            </a:prstGeom>
            <a:noFill/>
          </p:spPr>
          <p:txBody>
            <a:bodyPr wrap="none" lIns="0" tIns="0" rIns="0" bIns="0" rtlCol="0" anchor="t">
              <a:spAutoFit/>
            </a:bodyPr>
            <a:lstStyle/>
            <a:p>
              <a:pPr algn="ctr"/>
              <a:r>
                <a:rPr lang="zh-CN" altLang="en-US" dirty="0">
                  <a:solidFill>
                    <a:schemeClr val="accent1"/>
                  </a:solidFill>
                  <a:latin typeface="+mj-ea"/>
                  <a:ea typeface="+mj-ea"/>
                </a:rPr>
                <a:t>关键词</a:t>
              </a:r>
              <a:endParaRPr lang="en-US" altLang="zh-CN" dirty="0">
                <a:solidFill>
                  <a:schemeClr val="accent1"/>
                </a:solidFill>
                <a:latin typeface="+mj-ea"/>
                <a:ea typeface="+mj-ea"/>
              </a:endParaRPr>
            </a:p>
            <a:p>
              <a:pPr algn="ctr"/>
              <a:r>
                <a:rPr lang="zh-CN" altLang="en-US" dirty="0">
                  <a:solidFill>
                    <a:schemeClr val="accent1"/>
                  </a:solidFill>
                  <a:latin typeface="+mj-ea"/>
                  <a:ea typeface="+mj-ea"/>
                </a:rPr>
                <a:t>标题</a:t>
              </a:r>
            </a:p>
          </p:txBody>
        </p:sp>
      </p:grpSp>
      <p:grpSp>
        <p:nvGrpSpPr>
          <p:cNvPr id="19" name="组合 18">
            <a:extLst>
              <a:ext uri="{FF2B5EF4-FFF2-40B4-BE49-F238E27FC236}">
                <a16:creationId xmlns:a16="http://schemas.microsoft.com/office/drawing/2014/main" id="{EF434DAC-A6ED-4385-A28B-1945766C55D6}"/>
              </a:ext>
            </a:extLst>
          </p:cNvPr>
          <p:cNvGrpSpPr/>
          <p:nvPr/>
        </p:nvGrpSpPr>
        <p:grpSpPr>
          <a:xfrm>
            <a:off x="5475033" y="2566130"/>
            <a:ext cx="1152525" cy="1339373"/>
            <a:chOff x="1081087" y="3510756"/>
            <a:chExt cx="1152525" cy="1339373"/>
          </a:xfrm>
        </p:grpSpPr>
        <p:sp>
          <p:nvSpPr>
            <p:cNvPr id="20" name="椭圆 19">
              <a:extLst>
                <a:ext uri="{FF2B5EF4-FFF2-40B4-BE49-F238E27FC236}">
                  <a16:creationId xmlns:a16="http://schemas.microsoft.com/office/drawing/2014/main" id="{3398A877-7FB0-4E3A-B972-CDBAF0CEB4F4}"/>
                </a:ext>
              </a:extLst>
            </p:cNvPr>
            <p:cNvSpPr/>
            <p:nvPr/>
          </p:nvSpPr>
          <p:spPr>
            <a:xfrm>
              <a:off x="1081087" y="3697604"/>
              <a:ext cx="1152525" cy="1152525"/>
            </a:xfrm>
            <a:prstGeom prst="ellipse">
              <a:avLst/>
            </a:prstGeom>
            <a:noFill/>
            <a:ln w="25400">
              <a:gradFill>
                <a:gsLst>
                  <a:gs pos="6000">
                    <a:schemeClr val="accent1">
                      <a:alpha val="0"/>
                    </a:schemeClr>
                  </a:gs>
                  <a:gs pos="100000">
                    <a:schemeClr val="accent1"/>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21" name="椭圆 20">
              <a:extLst>
                <a:ext uri="{FF2B5EF4-FFF2-40B4-BE49-F238E27FC236}">
                  <a16:creationId xmlns:a16="http://schemas.microsoft.com/office/drawing/2014/main" id="{8B688614-F11D-4074-B925-8CA0755B4361}"/>
                </a:ext>
              </a:extLst>
            </p:cNvPr>
            <p:cNvSpPr/>
            <p:nvPr/>
          </p:nvSpPr>
          <p:spPr>
            <a:xfrm>
              <a:off x="1568187" y="3510756"/>
              <a:ext cx="178324" cy="178324"/>
            </a:xfrm>
            <a:prstGeom prst="ellipse">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22" name="文本框 21">
              <a:extLst>
                <a:ext uri="{FF2B5EF4-FFF2-40B4-BE49-F238E27FC236}">
                  <a16:creationId xmlns:a16="http://schemas.microsoft.com/office/drawing/2014/main" id="{234B7BF8-41CB-45B7-A9FF-DB790F212C63}"/>
                </a:ext>
              </a:extLst>
            </p:cNvPr>
            <p:cNvSpPr txBox="1"/>
            <p:nvPr/>
          </p:nvSpPr>
          <p:spPr>
            <a:xfrm>
              <a:off x="1311101" y="4030636"/>
              <a:ext cx="692497" cy="553998"/>
            </a:xfrm>
            <a:prstGeom prst="rect">
              <a:avLst/>
            </a:prstGeom>
            <a:noFill/>
          </p:spPr>
          <p:txBody>
            <a:bodyPr wrap="none" lIns="0" tIns="0" rIns="0" bIns="0" rtlCol="0" anchor="t">
              <a:spAutoFit/>
            </a:bodyPr>
            <a:lstStyle/>
            <a:p>
              <a:pPr algn="ctr"/>
              <a:r>
                <a:rPr lang="zh-CN" altLang="en-US" dirty="0">
                  <a:solidFill>
                    <a:schemeClr val="accent1"/>
                  </a:solidFill>
                  <a:latin typeface="+mj-ea"/>
                  <a:ea typeface="+mj-ea"/>
                </a:rPr>
                <a:t>关键词</a:t>
              </a:r>
              <a:endParaRPr lang="en-US" altLang="zh-CN" dirty="0">
                <a:solidFill>
                  <a:schemeClr val="accent1"/>
                </a:solidFill>
                <a:latin typeface="+mj-ea"/>
                <a:ea typeface="+mj-ea"/>
              </a:endParaRPr>
            </a:p>
            <a:p>
              <a:pPr algn="ctr"/>
              <a:r>
                <a:rPr lang="zh-CN" altLang="en-US" dirty="0">
                  <a:solidFill>
                    <a:schemeClr val="accent1"/>
                  </a:solidFill>
                  <a:latin typeface="+mj-ea"/>
                  <a:ea typeface="+mj-ea"/>
                </a:rPr>
                <a:t>标题</a:t>
              </a:r>
            </a:p>
          </p:txBody>
        </p:sp>
      </p:grpSp>
      <p:grpSp>
        <p:nvGrpSpPr>
          <p:cNvPr id="23" name="组合 22">
            <a:extLst>
              <a:ext uri="{FF2B5EF4-FFF2-40B4-BE49-F238E27FC236}">
                <a16:creationId xmlns:a16="http://schemas.microsoft.com/office/drawing/2014/main" id="{DF8F147E-8A2F-4A5D-8D2A-7945099DF5C9}"/>
              </a:ext>
            </a:extLst>
          </p:cNvPr>
          <p:cNvGrpSpPr/>
          <p:nvPr/>
        </p:nvGrpSpPr>
        <p:grpSpPr>
          <a:xfrm>
            <a:off x="7672006" y="2063210"/>
            <a:ext cx="1152525" cy="1339373"/>
            <a:chOff x="1081087" y="3510756"/>
            <a:chExt cx="1152525" cy="1339373"/>
          </a:xfrm>
        </p:grpSpPr>
        <p:sp>
          <p:nvSpPr>
            <p:cNvPr id="24" name="椭圆 23">
              <a:extLst>
                <a:ext uri="{FF2B5EF4-FFF2-40B4-BE49-F238E27FC236}">
                  <a16:creationId xmlns:a16="http://schemas.microsoft.com/office/drawing/2014/main" id="{45999005-B09F-4A6D-AEE2-1D3196715FF0}"/>
                </a:ext>
              </a:extLst>
            </p:cNvPr>
            <p:cNvSpPr/>
            <p:nvPr/>
          </p:nvSpPr>
          <p:spPr>
            <a:xfrm>
              <a:off x="1081087" y="3697604"/>
              <a:ext cx="1152525" cy="1152525"/>
            </a:xfrm>
            <a:prstGeom prst="ellipse">
              <a:avLst/>
            </a:prstGeom>
            <a:noFill/>
            <a:ln w="25400">
              <a:gradFill>
                <a:gsLst>
                  <a:gs pos="6000">
                    <a:schemeClr val="accent1">
                      <a:alpha val="0"/>
                    </a:schemeClr>
                  </a:gs>
                  <a:gs pos="100000">
                    <a:schemeClr val="accent1"/>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25" name="椭圆 24">
              <a:extLst>
                <a:ext uri="{FF2B5EF4-FFF2-40B4-BE49-F238E27FC236}">
                  <a16:creationId xmlns:a16="http://schemas.microsoft.com/office/drawing/2014/main" id="{71042E34-1A20-4146-8275-AA2FA8432262}"/>
                </a:ext>
              </a:extLst>
            </p:cNvPr>
            <p:cNvSpPr/>
            <p:nvPr/>
          </p:nvSpPr>
          <p:spPr>
            <a:xfrm>
              <a:off x="1568187" y="3510756"/>
              <a:ext cx="178324" cy="178324"/>
            </a:xfrm>
            <a:prstGeom prst="ellipse">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26" name="文本框 25">
              <a:extLst>
                <a:ext uri="{FF2B5EF4-FFF2-40B4-BE49-F238E27FC236}">
                  <a16:creationId xmlns:a16="http://schemas.microsoft.com/office/drawing/2014/main" id="{C67AA9DF-33E3-43BA-BDB8-62520547FE5C}"/>
                </a:ext>
              </a:extLst>
            </p:cNvPr>
            <p:cNvSpPr txBox="1"/>
            <p:nvPr/>
          </p:nvSpPr>
          <p:spPr>
            <a:xfrm>
              <a:off x="1311101" y="4030636"/>
              <a:ext cx="692497" cy="553998"/>
            </a:xfrm>
            <a:prstGeom prst="rect">
              <a:avLst/>
            </a:prstGeom>
            <a:noFill/>
          </p:spPr>
          <p:txBody>
            <a:bodyPr wrap="none" lIns="0" tIns="0" rIns="0" bIns="0" rtlCol="0" anchor="t">
              <a:spAutoFit/>
            </a:bodyPr>
            <a:lstStyle/>
            <a:p>
              <a:pPr algn="ctr"/>
              <a:r>
                <a:rPr lang="zh-CN" altLang="en-US" dirty="0">
                  <a:solidFill>
                    <a:schemeClr val="accent1"/>
                  </a:solidFill>
                  <a:latin typeface="+mj-ea"/>
                  <a:ea typeface="+mj-ea"/>
                </a:rPr>
                <a:t>关键词</a:t>
              </a:r>
              <a:endParaRPr lang="en-US" altLang="zh-CN" dirty="0">
                <a:solidFill>
                  <a:schemeClr val="accent1"/>
                </a:solidFill>
                <a:latin typeface="+mj-ea"/>
                <a:ea typeface="+mj-ea"/>
              </a:endParaRPr>
            </a:p>
            <a:p>
              <a:pPr algn="ctr"/>
              <a:r>
                <a:rPr lang="zh-CN" altLang="en-US" dirty="0">
                  <a:solidFill>
                    <a:schemeClr val="accent1"/>
                  </a:solidFill>
                  <a:latin typeface="+mj-ea"/>
                  <a:ea typeface="+mj-ea"/>
                </a:rPr>
                <a:t>标题</a:t>
              </a:r>
            </a:p>
          </p:txBody>
        </p:sp>
      </p:grpSp>
      <p:grpSp>
        <p:nvGrpSpPr>
          <p:cNvPr id="27" name="组合 26">
            <a:extLst>
              <a:ext uri="{FF2B5EF4-FFF2-40B4-BE49-F238E27FC236}">
                <a16:creationId xmlns:a16="http://schemas.microsoft.com/office/drawing/2014/main" id="{28163952-16F7-4B0B-A76A-4F9D5A011ECC}"/>
              </a:ext>
            </a:extLst>
          </p:cNvPr>
          <p:cNvGrpSpPr/>
          <p:nvPr/>
        </p:nvGrpSpPr>
        <p:grpSpPr>
          <a:xfrm>
            <a:off x="9868979" y="2246090"/>
            <a:ext cx="1152525" cy="1339373"/>
            <a:chOff x="1081087" y="3510756"/>
            <a:chExt cx="1152525" cy="1339373"/>
          </a:xfrm>
        </p:grpSpPr>
        <p:sp>
          <p:nvSpPr>
            <p:cNvPr id="28" name="椭圆 27">
              <a:extLst>
                <a:ext uri="{FF2B5EF4-FFF2-40B4-BE49-F238E27FC236}">
                  <a16:creationId xmlns:a16="http://schemas.microsoft.com/office/drawing/2014/main" id="{B88FF7A1-A7EF-462A-8198-F508D252195E}"/>
                </a:ext>
              </a:extLst>
            </p:cNvPr>
            <p:cNvSpPr/>
            <p:nvPr/>
          </p:nvSpPr>
          <p:spPr>
            <a:xfrm>
              <a:off x="1081087" y="3697604"/>
              <a:ext cx="1152525" cy="1152525"/>
            </a:xfrm>
            <a:prstGeom prst="ellipse">
              <a:avLst/>
            </a:prstGeom>
            <a:noFill/>
            <a:ln w="25400">
              <a:gradFill>
                <a:gsLst>
                  <a:gs pos="6000">
                    <a:schemeClr val="accent1">
                      <a:alpha val="0"/>
                    </a:schemeClr>
                  </a:gs>
                  <a:gs pos="100000">
                    <a:schemeClr val="accent1"/>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29" name="椭圆 28">
              <a:extLst>
                <a:ext uri="{FF2B5EF4-FFF2-40B4-BE49-F238E27FC236}">
                  <a16:creationId xmlns:a16="http://schemas.microsoft.com/office/drawing/2014/main" id="{36F40268-28AE-4757-83BE-7E5A6BD6343D}"/>
                </a:ext>
              </a:extLst>
            </p:cNvPr>
            <p:cNvSpPr/>
            <p:nvPr/>
          </p:nvSpPr>
          <p:spPr>
            <a:xfrm>
              <a:off x="1568187" y="3510756"/>
              <a:ext cx="178324" cy="178324"/>
            </a:xfrm>
            <a:prstGeom prst="ellipse">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30" name="文本框 29">
              <a:extLst>
                <a:ext uri="{FF2B5EF4-FFF2-40B4-BE49-F238E27FC236}">
                  <a16:creationId xmlns:a16="http://schemas.microsoft.com/office/drawing/2014/main" id="{7FB7850F-82AB-4FD6-B377-F2E15898C380}"/>
                </a:ext>
              </a:extLst>
            </p:cNvPr>
            <p:cNvSpPr txBox="1"/>
            <p:nvPr/>
          </p:nvSpPr>
          <p:spPr>
            <a:xfrm>
              <a:off x="1311101" y="4030636"/>
              <a:ext cx="692497" cy="553998"/>
            </a:xfrm>
            <a:prstGeom prst="rect">
              <a:avLst/>
            </a:prstGeom>
            <a:noFill/>
          </p:spPr>
          <p:txBody>
            <a:bodyPr wrap="none" lIns="0" tIns="0" rIns="0" bIns="0" rtlCol="0" anchor="t">
              <a:spAutoFit/>
            </a:bodyPr>
            <a:lstStyle/>
            <a:p>
              <a:pPr algn="ctr"/>
              <a:r>
                <a:rPr lang="zh-CN" altLang="en-US" dirty="0">
                  <a:solidFill>
                    <a:schemeClr val="accent1"/>
                  </a:solidFill>
                  <a:latin typeface="+mj-ea"/>
                  <a:ea typeface="+mj-ea"/>
                </a:rPr>
                <a:t>关键词</a:t>
              </a:r>
              <a:endParaRPr lang="en-US" altLang="zh-CN" dirty="0">
                <a:solidFill>
                  <a:schemeClr val="accent1"/>
                </a:solidFill>
                <a:latin typeface="+mj-ea"/>
                <a:ea typeface="+mj-ea"/>
              </a:endParaRPr>
            </a:p>
            <a:p>
              <a:pPr algn="ctr"/>
              <a:r>
                <a:rPr lang="zh-CN" altLang="en-US" dirty="0">
                  <a:solidFill>
                    <a:schemeClr val="accent1"/>
                  </a:solidFill>
                  <a:latin typeface="+mj-ea"/>
                  <a:ea typeface="+mj-ea"/>
                </a:rPr>
                <a:t>标题</a:t>
              </a:r>
            </a:p>
          </p:txBody>
        </p:sp>
      </p:grpSp>
      <p:sp>
        <p:nvSpPr>
          <p:cNvPr id="31" name="文本框 30">
            <a:extLst>
              <a:ext uri="{FF2B5EF4-FFF2-40B4-BE49-F238E27FC236}">
                <a16:creationId xmlns:a16="http://schemas.microsoft.com/office/drawing/2014/main" id="{F40A2E07-F7C4-4EF7-A066-30166C34B40E}"/>
              </a:ext>
            </a:extLst>
          </p:cNvPr>
          <p:cNvSpPr txBox="1"/>
          <p:nvPr/>
        </p:nvSpPr>
        <p:spPr>
          <a:xfrm>
            <a:off x="702663" y="4999421"/>
            <a:ext cx="1909371" cy="587340"/>
          </a:xfrm>
          <a:prstGeom prst="rect">
            <a:avLst/>
          </a:prstGeom>
          <a:noFill/>
        </p:spPr>
        <p:txBody>
          <a:bodyPr wrap="square" lIns="0" tIns="0" rIns="0" bIns="0" rtlCol="0" anchor="t">
            <a:spAutoFit/>
          </a:bodyPr>
          <a:lstStyle/>
          <a:p>
            <a:pPr algn="ctr">
              <a:lnSpc>
                <a:spcPct val="130000"/>
              </a:lnSpc>
            </a:pPr>
            <a:r>
              <a:rPr lang="en-US" altLang="zh-CN" sz="1000" b="0" dirty="0">
                <a:solidFill>
                  <a:schemeClr val="tx1">
                    <a:lumMod val="75000"/>
                    <a:lumOff val="25000"/>
                  </a:schemeClr>
                </a:solidFill>
                <a:effectLst/>
                <a:latin typeface="+mn-ea"/>
              </a:rPr>
              <a:t>Lorem ipsum dolor sit amet consectetur adipisicing elit</a:t>
            </a:r>
          </a:p>
          <a:p>
            <a:pPr algn="ctr">
              <a:lnSpc>
                <a:spcPct val="130000"/>
              </a:lnSpc>
            </a:pPr>
            <a:r>
              <a:rPr lang="en-US" altLang="zh-CN" sz="1000" b="0" dirty="0">
                <a:solidFill>
                  <a:schemeClr val="tx1">
                    <a:lumMod val="75000"/>
                    <a:lumOff val="25000"/>
                  </a:schemeClr>
                </a:solidFill>
                <a:effectLst/>
                <a:latin typeface="+mn-ea"/>
              </a:rPr>
              <a:t> sed do eiusmod tempor</a:t>
            </a:r>
            <a:endParaRPr lang="zh-CN" altLang="en-US" sz="1000" b="0" dirty="0">
              <a:solidFill>
                <a:schemeClr val="tx1">
                  <a:lumMod val="75000"/>
                  <a:lumOff val="25000"/>
                </a:schemeClr>
              </a:solidFill>
              <a:effectLst/>
              <a:latin typeface="+mn-ea"/>
            </a:endParaRPr>
          </a:p>
        </p:txBody>
      </p:sp>
      <p:sp>
        <p:nvSpPr>
          <p:cNvPr id="32" name="文本框 31">
            <a:extLst>
              <a:ext uri="{FF2B5EF4-FFF2-40B4-BE49-F238E27FC236}">
                <a16:creationId xmlns:a16="http://schemas.microsoft.com/office/drawing/2014/main" id="{956DA3B2-0E77-4C1E-BA16-D56DDB632C6B}"/>
              </a:ext>
            </a:extLst>
          </p:cNvPr>
          <p:cNvSpPr txBox="1"/>
          <p:nvPr/>
        </p:nvSpPr>
        <p:spPr>
          <a:xfrm>
            <a:off x="2899636" y="4705751"/>
            <a:ext cx="1909371" cy="587340"/>
          </a:xfrm>
          <a:prstGeom prst="rect">
            <a:avLst/>
          </a:prstGeom>
          <a:noFill/>
        </p:spPr>
        <p:txBody>
          <a:bodyPr wrap="square" lIns="0" tIns="0" rIns="0" bIns="0" rtlCol="0" anchor="t">
            <a:spAutoFit/>
          </a:bodyPr>
          <a:lstStyle/>
          <a:p>
            <a:pPr algn="ctr">
              <a:lnSpc>
                <a:spcPct val="130000"/>
              </a:lnSpc>
            </a:pPr>
            <a:r>
              <a:rPr lang="en-US" altLang="zh-CN" sz="1000" b="0" dirty="0">
                <a:solidFill>
                  <a:schemeClr val="tx1">
                    <a:lumMod val="75000"/>
                    <a:lumOff val="25000"/>
                  </a:schemeClr>
                </a:solidFill>
                <a:effectLst/>
                <a:latin typeface="+mn-ea"/>
              </a:rPr>
              <a:t>Lorem ipsum dolor sit amet consectetur adipisicing elit</a:t>
            </a:r>
          </a:p>
          <a:p>
            <a:pPr algn="ctr">
              <a:lnSpc>
                <a:spcPct val="130000"/>
              </a:lnSpc>
            </a:pPr>
            <a:r>
              <a:rPr lang="en-US" altLang="zh-CN" sz="1000" b="0" dirty="0">
                <a:solidFill>
                  <a:schemeClr val="tx1">
                    <a:lumMod val="75000"/>
                    <a:lumOff val="25000"/>
                  </a:schemeClr>
                </a:solidFill>
                <a:effectLst/>
                <a:latin typeface="+mn-ea"/>
              </a:rPr>
              <a:t> sed do eiusmod tempor</a:t>
            </a:r>
            <a:endParaRPr lang="zh-CN" altLang="en-US" sz="1000" b="0" dirty="0">
              <a:solidFill>
                <a:schemeClr val="tx1">
                  <a:lumMod val="75000"/>
                  <a:lumOff val="25000"/>
                </a:schemeClr>
              </a:solidFill>
              <a:effectLst/>
              <a:latin typeface="+mn-ea"/>
            </a:endParaRPr>
          </a:p>
        </p:txBody>
      </p:sp>
      <p:sp>
        <p:nvSpPr>
          <p:cNvPr id="33" name="文本框 32">
            <a:extLst>
              <a:ext uri="{FF2B5EF4-FFF2-40B4-BE49-F238E27FC236}">
                <a16:creationId xmlns:a16="http://schemas.microsoft.com/office/drawing/2014/main" id="{5995633B-7F6D-4290-89BE-5BF37D83AC46}"/>
              </a:ext>
            </a:extLst>
          </p:cNvPr>
          <p:cNvSpPr txBox="1"/>
          <p:nvPr/>
        </p:nvSpPr>
        <p:spPr>
          <a:xfrm>
            <a:off x="5096609" y="4022994"/>
            <a:ext cx="1909371" cy="587340"/>
          </a:xfrm>
          <a:prstGeom prst="rect">
            <a:avLst/>
          </a:prstGeom>
          <a:noFill/>
        </p:spPr>
        <p:txBody>
          <a:bodyPr wrap="square" lIns="0" tIns="0" rIns="0" bIns="0" rtlCol="0" anchor="t">
            <a:spAutoFit/>
          </a:bodyPr>
          <a:lstStyle/>
          <a:p>
            <a:pPr algn="ctr">
              <a:lnSpc>
                <a:spcPct val="130000"/>
              </a:lnSpc>
            </a:pPr>
            <a:r>
              <a:rPr lang="en-US" altLang="zh-CN" sz="1000" b="0" dirty="0">
                <a:solidFill>
                  <a:schemeClr val="tx1">
                    <a:lumMod val="75000"/>
                    <a:lumOff val="25000"/>
                  </a:schemeClr>
                </a:solidFill>
                <a:effectLst/>
                <a:latin typeface="+mn-ea"/>
              </a:rPr>
              <a:t>Lorem ipsum dolor sit amet consectetur adipisicing elit</a:t>
            </a:r>
          </a:p>
          <a:p>
            <a:pPr algn="ctr">
              <a:lnSpc>
                <a:spcPct val="130000"/>
              </a:lnSpc>
            </a:pPr>
            <a:r>
              <a:rPr lang="en-US" altLang="zh-CN" sz="1000" b="0" dirty="0">
                <a:solidFill>
                  <a:schemeClr val="tx1">
                    <a:lumMod val="75000"/>
                    <a:lumOff val="25000"/>
                  </a:schemeClr>
                </a:solidFill>
                <a:effectLst/>
                <a:latin typeface="+mn-ea"/>
              </a:rPr>
              <a:t> sed do eiusmod tempor</a:t>
            </a:r>
            <a:endParaRPr lang="zh-CN" altLang="en-US" sz="1000" b="0" dirty="0">
              <a:solidFill>
                <a:schemeClr val="tx1">
                  <a:lumMod val="75000"/>
                  <a:lumOff val="25000"/>
                </a:schemeClr>
              </a:solidFill>
              <a:effectLst/>
              <a:latin typeface="+mn-ea"/>
            </a:endParaRPr>
          </a:p>
        </p:txBody>
      </p:sp>
      <p:sp>
        <p:nvSpPr>
          <p:cNvPr id="34" name="文本框 33">
            <a:extLst>
              <a:ext uri="{FF2B5EF4-FFF2-40B4-BE49-F238E27FC236}">
                <a16:creationId xmlns:a16="http://schemas.microsoft.com/office/drawing/2014/main" id="{78A3C101-8163-4747-A958-419F745EAD08}"/>
              </a:ext>
            </a:extLst>
          </p:cNvPr>
          <p:cNvSpPr txBox="1"/>
          <p:nvPr/>
        </p:nvSpPr>
        <p:spPr>
          <a:xfrm>
            <a:off x="7293582" y="3518939"/>
            <a:ext cx="1909371" cy="587340"/>
          </a:xfrm>
          <a:prstGeom prst="rect">
            <a:avLst/>
          </a:prstGeom>
          <a:noFill/>
        </p:spPr>
        <p:txBody>
          <a:bodyPr wrap="square" lIns="0" tIns="0" rIns="0" bIns="0" rtlCol="0" anchor="t">
            <a:spAutoFit/>
          </a:bodyPr>
          <a:lstStyle/>
          <a:p>
            <a:pPr algn="ctr">
              <a:lnSpc>
                <a:spcPct val="130000"/>
              </a:lnSpc>
            </a:pPr>
            <a:r>
              <a:rPr lang="en-US" altLang="zh-CN" sz="1000" b="0" dirty="0">
                <a:solidFill>
                  <a:schemeClr val="tx1">
                    <a:lumMod val="75000"/>
                    <a:lumOff val="25000"/>
                  </a:schemeClr>
                </a:solidFill>
                <a:effectLst/>
                <a:latin typeface="+mn-ea"/>
              </a:rPr>
              <a:t>Lorem ipsum dolor sit amet consectetur adipisicing elit</a:t>
            </a:r>
          </a:p>
          <a:p>
            <a:pPr algn="ctr">
              <a:lnSpc>
                <a:spcPct val="130000"/>
              </a:lnSpc>
            </a:pPr>
            <a:r>
              <a:rPr lang="en-US" altLang="zh-CN" sz="1000" b="0" dirty="0">
                <a:solidFill>
                  <a:schemeClr val="tx1">
                    <a:lumMod val="75000"/>
                    <a:lumOff val="25000"/>
                  </a:schemeClr>
                </a:solidFill>
                <a:effectLst/>
                <a:latin typeface="+mn-ea"/>
              </a:rPr>
              <a:t> sed do eiusmod tempor</a:t>
            </a:r>
            <a:endParaRPr lang="zh-CN" altLang="en-US" sz="1000" b="0" dirty="0">
              <a:solidFill>
                <a:schemeClr val="tx1">
                  <a:lumMod val="75000"/>
                  <a:lumOff val="25000"/>
                </a:schemeClr>
              </a:solidFill>
              <a:effectLst/>
              <a:latin typeface="+mn-ea"/>
            </a:endParaRPr>
          </a:p>
        </p:txBody>
      </p:sp>
      <p:sp>
        <p:nvSpPr>
          <p:cNvPr id="35" name="文本框 34">
            <a:extLst>
              <a:ext uri="{FF2B5EF4-FFF2-40B4-BE49-F238E27FC236}">
                <a16:creationId xmlns:a16="http://schemas.microsoft.com/office/drawing/2014/main" id="{89999E97-44D9-4AA1-B698-DAF2DA48DBDD}"/>
              </a:ext>
            </a:extLst>
          </p:cNvPr>
          <p:cNvSpPr txBox="1"/>
          <p:nvPr/>
        </p:nvSpPr>
        <p:spPr>
          <a:xfrm>
            <a:off x="9506430" y="3683531"/>
            <a:ext cx="1909371" cy="587340"/>
          </a:xfrm>
          <a:prstGeom prst="rect">
            <a:avLst/>
          </a:prstGeom>
          <a:noFill/>
        </p:spPr>
        <p:txBody>
          <a:bodyPr wrap="square" lIns="0" tIns="0" rIns="0" bIns="0" rtlCol="0" anchor="t">
            <a:spAutoFit/>
          </a:bodyPr>
          <a:lstStyle/>
          <a:p>
            <a:pPr algn="ctr">
              <a:lnSpc>
                <a:spcPct val="130000"/>
              </a:lnSpc>
            </a:pPr>
            <a:r>
              <a:rPr lang="en-US" altLang="zh-CN" sz="1000" b="0" dirty="0">
                <a:solidFill>
                  <a:schemeClr val="tx1">
                    <a:lumMod val="75000"/>
                    <a:lumOff val="25000"/>
                  </a:schemeClr>
                </a:solidFill>
                <a:effectLst/>
                <a:latin typeface="+mn-ea"/>
              </a:rPr>
              <a:t>Lorem ipsum dolor sit amet consectetur adipisicing elit</a:t>
            </a:r>
          </a:p>
          <a:p>
            <a:pPr algn="ctr">
              <a:lnSpc>
                <a:spcPct val="130000"/>
              </a:lnSpc>
            </a:pPr>
            <a:r>
              <a:rPr lang="en-US" altLang="zh-CN" sz="1000" b="0" dirty="0">
                <a:solidFill>
                  <a:schemeClr val="tx1">
                    <a:lumMod val="75000"/>
                    <a:lumOff val="25000"/>
                  </a:schemeClr>
                </a:solidFill>
                <a:effectLst/>
                <a:latin typeface="+mn-ea"/>
              </a:rPr>
              <a:t> sed do eiusmod tempor</a:t>
            </a:r>
            <a:endParaRPr lang="zh-CN" altLang="en-US" sz="1000" b="0" dirty="0">
              <a:solidFill>
                <a:schemeClr val="tx1">
                  <a:lumMod val="75000"/>
                  <a:lumOff val="25000"/>
                </a:schemeClr>
              </a:solidFill>
              <a:effectLst/>
              <a:latin typeface="+mn-ea"/>
            </a:endParaRPr>
          </a:p>
        </p:txBody>
      </p:sp>
    </p:spTree>
    <p:extLst>
      <p:ext uri="{BB962C8B-B14F-4D97-AF65-F5344CB8AC3E}">
        <p14:creationId xmlns:p14="http://schemas.microsoft.com/office/powerpoint/2010/main" val="345393488"/>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3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图片 20" descr="图片包含 风筝, 田地, 大, 飞行&#10;&#10;描述已自动生成">
            <a:extLst>
              <a:ext uri="{FF2B5EF4-FFF2-40B4-BE49-F238E27FC236}">
                <a16:creationId xmlns:a16="http://schemas.microsoft.com/office/drawing/2014/main" id="{0C1AE943-8AA1-40FA-9E5E-A4120DB2FBD4}"/>
              </a:ext>
            </a:extLst>
          </p:cNvPr>
          <p:cNvPicPr>
            <a:picLocks noChangeAspect="1"/>
          </p:cNvPicPr>
          <p:nvPr/>
        </p:nvPicPr>
        <p:blipFill rotWithShape="1">
          <a:blip r:embed="rId3">
            <a:extLst>
              <a:ext uri="{28A0092B-C50C-407E-A947-70E740481C1C}">
                <a14:useLocalDpi xmlns:a14="http://schemas.microsoft.com/office/drawing/2010/main" val="0"/>
              </a:ext>
            </a:extLst>
          </a:blip>
          <a:srcRect t="68430"/>
          <a:stretch/>
        </p:blipFill>
        <p:spPr>
          <a:xfrm>
            <a:off x="1" y="4584699"/>
            <a:ext cx="12208760" cy="2273301"/>
          </a:xfrm>
          <a:prstGeom prst="rect">
            <a:avLst/>
          </a:prstGeom>
        </p:spPr>
      </p:pic>
      <p:cxnSp>
        <p:nvCxnSpPr>
          <p:cNvPr id="45" name="直接连接符 44">
            <a:extLst>
              <a:ext uri="{FF2B5EF4-FFF2-40B4-BE49-F238E27FC236}">
                <a16:creationId xmlns:a16="http://schemas.microsoft.com/office/drawing/2014/main" id="{DAEC34F8-7200-4A23-B098-75866E8764BB}"/>
              </a:ext>
            </a:extLst>
          </p:cNvPr>
          <p:cNvCxnSpPr>
            <a:cxnSpLocks/>
          </p:cNvCxnSpPr>
          <p:nvPr/>
        </p:nvCxnSpPr>
        <p:spPr>
          <a:xfrm>
            <a:off x="1200150" y="3583325"/>
            <a:ext cx="0" cy="2933700"/>
          </a:xfrm>
          <a:prstGeom prst="line">
            <a:avLst/>
          </a:prstGeom>
          <a:ln w="19050">
            <a:gradFill>
              <a:gsLst>
                <a:gs pos="0">
                  <a:schemeClr val="accent1"/>
                </a:gs>
                <a:gs pos="100000">
                  <a:schemeClr val="accent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68" name="文本框 67">
            <a:extLst>
              <a:ext uri="{FF2B5EF4-FFF2-40B4-BE49-F238E27FC236}">
                <a16:creationId xmlns:a16="http://schemas.microsoft.com/office/drawing/2014/main" id="{5C900526-C050-484C-814D-7311804C0BFB}"/>
              </a:ext>
            </a:extLst>
          </p:cNvPr>
          <p:cNvSpPr txBox="1"/>
          <p:nvPr/>
        </p:nvSpPr>
        <p:spPr>
          <a:xfrm>
            <a:off x="1414572" y="3542045"/>
            <a:ext cx="714939" cy="307777"/>
          </a:xfrm>
          <a:prstGeom prst="rect">
            <a:avLst/>
          </a:prstGeom>
          <a:noFill/>
        </p:spPr>
        <p:txBody>
          <a:bodyPr wrap="none" lIns="0" tIns="0" rIns="0" bIns="0" rtlCol="0" anchor="t">
            <a:spAutoFit/>
          </a:bodyPr>
          <a:lstStyle/>
          <a:p>
            <a:r>
              <a:rPr lang="en-US" altLang="zh-CN" sz="2000" dirty="0">
                <a:solidFill>
                  <a:schemeClr val="accent1"/>
                </a:solidFill>
                <a:latin typeface="+mj-ea"/>
                <a:ea typeface="+mj-ea"/>
              </a:rPr>
              <a:t>20XX</a:t>
            </a:r>
            <a:endParaRPr lang="zh-CN" altLang="en-US" sz="2000" dirty="0">
              <a:solidFill>
                <a:schemeClr val="accent1"/>
              </a:solidFill>
              <a:latin typeface="+mj-ea"/>
              <a:ea typeface="+mj-ea"/>
            </a:endParaRPr>
          </a:p>
        </p:txBody>
      </p:sp>
      <p:sp>
        <p:nvSpPr>
          <p:cNvPr id="69" name="文本框 68">
            <a:extLst>
              <a:ext uri="{FF2B5EF4-FFF2-40B4-BE49-F238E27FC236}">
                <a16:creationId xmlns:a16="http://schemas.microsoft.com/office/drawing/2014/main" id="{814387DA-76D4-4467-A8F1-9B6FE3C1FBF3}"/>
              </a:ext>
            </a:extLst>
          </p:cNvPr>
          <p:cNvSpPr txBox="1"/>
          <p:nvPr/>
        </p:nvSpPr>
        <p:spPr>
          <a:xfrm>
            <a:off x="1333609" y="3954638"/>
            <a:ext cx="1692961" cy="769441"/>
          </a:xfrm>
          <a:prstGeom prst="rect">
            <a:avLst/>
          </a:prstGeom>
          <a:noFill/>
        </p:spPr>
        <p:txBody>
          <a:bodyPr wrap="square" rtlCol="0">
            <a:spAutoFit/>
          </a:bodyPr>
          <a:lstStyle/>
          <a:p>
            <a:r>
              <a:rPr lang="en-US" altLang="zh-CN" sz="1100" dirty="0">
                <a:solidFill>
                  <a:schemeClr val="accent1"/>
                </a:solidFill>
              </a:rPr>
              <a:t>Lorem ipsum dolor sit amet consectetur adipisicing elit sed do eiusmod tempor</a:t>
            </a:r>
            <a:endParaRPr lang="zh-CN" altLang="en-US" sz="1100" dirty="0">
              <a:solidFill>
                <a:schemeClr val="accent1"/>
              </a:solidFill>
            </a:endParaRPr>
          </a:p>
        </p:txBody>
      </p:sp>
      <p:sp>
        <p:nvSpPr>
          <p:cNvPr id="24" name="矩形 23">
            <a:extLst>
              <a:ext uri="{FF2B5EF4-FFF2-40B4-BE49-F238E27FC236}">
                <a16:creationId xmlns:a16="http://schemas.microsoft.com/office/drawing/2014/main" id="{37A1B608-9F7C-4F2C-9CAD-F983EBE6ECFF}"/>
              </a:ext>
            </a:extLst>
          </p:cNvPr>
          <p:cNvSpPr/>
          <p:nvPr/>
        </p:nvSpPr>
        <p:spPr>
          <a:xfrm>
            <a:off x="1414572" y="3889869"/>
            <a:ext cx="714939" cy="4571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25" name="椭圆 24">
            <a:extLst>
              <a:ext uri="{FF2B5EF4-FFF2-40B4-BE49-F238E27FC236}">
                <a16:creationId xmlns:a16="http://schemas.microsoft.com/office/drawing/2014/main" id="{E701B4F3-F32D-4078-B7E1-1001CF095FEB}"/>
              </a:ext>
            </a:extLst>
          </p:cNvPr>
          <p:cNvSpPr/>
          <p:nvPr/>
        </p:nvSpPr>
        <p:spPr>
          <a:xfrm>
            <a:off x="1139428" y="3569253"/>
            <a:ext cx="121444" cy="12144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cxnSp>
        <p:nvCxnSpPr>
          <p:cNvPr id="76" name="直接连接符 75">
            <a:extLst>
              <a:ext uri="{FF2B5EF4-FFF2-40B4-BE49-F238E27FC236}">
                <a16:creationId xmlns:a16="http://schemas.microsoft.com/office/drawing/2014/main" id="{0349A6CE-C198-4FC1-9AFA-C8F002822A8A}"/>
              </a:ext>
            </a:extLst>
          </p:cNvPr>
          <p:cNvCxnSpPr>
            <a:cxnSpLocks/>
            <a:stCxn id="81" idx="4"/>
          </p:cNvCxnSpPr>
          <p:nvPr/>
        </p:nvCxnSpPr>
        <p:spPr>
          <a:xfrm>
            <a:off x="3624036" y="2207065"/>
            <a:ext cx="0" cy="4150303"/>
          </a:xfrm>
          <a:prstGeom prst="line">
            <a:avLst/>
          </a:prstGeom>
          <a:ln w="19050">
            <a:gradFill>
              <a:gsLst>
                <a:gs pos="0">
                  <a:schemeClr val="accent1"/>
                </a:gs>
                <a:gs pos="100000">
                  <a:schemeClr val="accent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77" name="文本框 76">
            <a:extLst>
              <a:ext uri="{FF2B5EF4-FFF2-40B4-BE49-F238E27FC236}">
                <a16:creationId xmlns:a16="http://schemas.microsoft.com/office/drawing/2014/main" id="{0AFFF6B0-4306-4272-9F25-3EBD8251F469}"/>
              </a:ext>
            </a:extLst>
          </p:cNvPr>
          <p:cNvSpPr txBox="1"/>
          <p:nvPr/>
        </p:nvSpPr>
        <p:spPr>
          <a:xfrm>
            <a:off x="3838458" y="2001263"/>
            <a:ext cx="714939" cy="307777"/>
          </a:xfrm>
          <a:prstGeom prst="rect">
            <a:avLst/>
          </a:prstGeom>
          <a:noFill/>
        </p:spPr>
        <p:txBody>
          <a:bodyPr wrap="none" lIns="0" tIns="0" rIns="0" bIns="0" rtlCol="0" anchor="t">
            <a:spAutoFit/>
          </a:bodyPr>
          <a:lstStyle/>
          <a:p>
            <a:r>
              <a:rPr lang="en-US" altLang="zh-CN" sz="2000" dirty="0">
                <a:solidFill>
                  <a:schemeClr val="accent1"/>
                </a:solidFill>
                <a:latin typeface="+mj-ea"/>
                <a:ea typeface="+mj-ea"/>
              </a:rPr>
              <a:t>20XX</a:t>
            </a:r>
            <a:endParaRPr lang="zh-CN" altLang="en-US" sz="2000" dirty="0">
              <a:solidFill>
                <a:schemeClr val="accent1"/>
              </a:solidFill>
              <a:latin typeface="+mj-ea"/>
              <a:ea typeface="+mj-ea"/>
            </a:endParaRPr>
          </a:p>
        </p:txBody>
      </p:sp>
      <p:sp>
        <p:nvSpPr>
          <p:cNvPr id="78" name="文本框 77">
            <a:extLst>
              <a:ext uri="{FF2B5EF4-FFF2-40B4-BE49-F238E27FC236}">
                <a16:creationId xmlns:a16="http://schemas.microsoft.com/office/drawing/2014/main" id="{DFEA2779-3543-4A70-879E-A3BA5A39688F}"/>
              </a:ext>
            </a:extLst>
          </p:cNvPr>
          <p:cNvSpPr txBox="1"/>
          <p:nvPr/>
        </p:nvSpPr>
        <p:spPr>
          <a:xfrm>
            <a:off x="3757495" y="2413856"/>
            <a:ext cx="1692961" cy="769441"/>
          </a:xfrm>
          <a:prstGeom prst="rect">
            <a:avLst/>
          </a:prstGeom>
          <a:noFill/>
        </p:spPr>
        <p:txBody>
          <a:bodyPr wrap="square" rtlCol="0">
            <a:spAutoFit/>
          </a:bodyPr>
          <a:lstStyle/>
          <a:p>
            <a:r>
              <a:rPr lang="en-US" altLang="zh-CN" sz="1100" dirty="0">
                <a:solidFill>
                  <a:schemeClr val="accent1"/>
                </a:solidFill>
              </a:rPr>
              <a:t>Lorem ipsum dolor sit amet consectetur adipisicing elit sed do eiusmod tempor</a:t>
            </a:r>
            <a:endParaRPr lang="zh-CN" altLang="en-US" sz="1100" dirty="0">
              <a:solidFill>
                <a:schemeClr val="accent1"/>
              </a:solidFill>
            </a:endParaRPr>
          </a:p>
        </p:txBody>
      </p:sp>
      <p:sp>
        <p:nvSpPr>
          <p:cNvPr id="80" name="矩形 79">
            <a:extLst>
              <a:ext uri="{FF2B5EF4-FFF2-40B4-BE49-F238E27FC236}">
                <a16:creationId xmlns:a16="http://schemas.microsoft.com/office/drawing/2014/main" id="{CF6BCE72-42AA-4145-929C-8953D3836CF7}"/>
              </a:ext>
            </a:extLst>
          </p:cNvPr>
          <p:cNvSpPr/>
          <p:nvPr/>
        </p:nvSpPr>
        <p:spPr>
          <a:xfrm>
            <a:off x="3838458" y="2349087"/>
            <a:ext cx="714939" cy="4571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81" name="椭圆 80">
            <a:extLst>
              <a:ext uri="{FF2B5EF4-FFF2-40B4-BE49-F238E27FC236}">
                <a16:creationId xmlns:a16="http://schemas.microsoft.com/office/drawing/2014/main" id="{F090F0DA-B876-4665-ABBB-AD903F595C68}"/>
              </a:ext>
            </a:extLst>
          </p:cNvPr>
          <p:cNvSpPr/>
          <p:nvPr/>
        </p:nvSpPr>
        <p:spPr>
          <a:xfrm>
            <a:off x="3563314" y="2085621"/>
            <a:ext cx="121444" cy="12144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cxnSp>
        <p:nvCxnSpPr>
          <p:cNvPr id="88" name="直接连接符 87">
            <a:extLst>
              <a:ext uri="{FF2B5EF4-FFF2-40B4-BE49-F238E27FC236}">
                <a16:creationId xmlns:a16="http://schemas.microsoft.com/office/drawing/2014/main" id="{BE1FE212-53F1-476E-9454-9413D749976C}"/>
              </a:ext>
            </a:extLst>
          </p:cNvPr>
          <p:cNvCxnSpPr>
            <a:cxnSpLocks/>
          </p:cNvCxnSpPr>
          <p:nvPr/>
        </p:nvCxnSpPr>
        <p:spPr>
          <a:xfrm>
            <a:off x="6608087" y="2984500"/>
            <a:ext cx="0" cy="1703890"/>
          </a:xfrm>
          <a:prstGeom prst="line">
            <a:avLst/>
          </a:prstGeom>
          <a:ln w="19050">
            <a:gradFill>
              <a:gsLst>
                <a:gs pos="0">
                  <a:schemeClr val="accent1"/>
                </a:gs>
                <a:gs pos="100000">
                  <a:schemeClr val="accent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89" name="文本框 88">
            <a:extLst>
              <a:ext uri="{FF2B5EF4-FFF2-40B4-BE49-F238E27FC236}">
                <a16:creationId xmlns:a16="http://schemas.microsoft.com/office/drawing/2014/main" id="{059A34E2-393C-480F-B244-3DE047EAF488}"/>
              </a:ext>
            </a:extLst>
          </p:cNvPr>
          <p:cNvSpPr txBox="1"/>
          <p:nvPr/>
        </p:nvSpPr>
        <p:spPr>
          <a:xfrm>
            <a:off x="6822509" y="2829175"/>
            <a:ext cx="714939" cy="307777"/>
          </a:xfrm>
          <a:prstGeom prst="rect">
            <a:avLst/>
          </a:prstGeom>
          <a:noFill/>
        </p:spPr>
        <p:txBody>
          <a:bodyPr wrap="none" lIns="0" tIns="0" rIns="0" bIns="0" rtlCol="0" anchor="t">
            <a:spAutoFit/>
          </a:bodyPr>
          <a:lstStyle/>
          <a:p>
            <a:r>
              <a:rPr lang="en-US" altLang="zh-CN" sz="2000" dirty="0">
                <a:solidFill>
                  <a:schemeClr val="accent1"/>
                </a:solidFill>
                <a:latin typeface="+mj-ea"/>
                <a:ea typeface="+mj-ea"/>
              </a:rPr>
              <a:t>20XX</a:t>
            </a:r>
            <a:endParaRPr lang="zh-CN" altLang="en-US" sz="2000" dirty="0">
              <a:solidFill>
                <a:schemeClr val="accent1"/>
              </a:solidFill>
              <a:latin typeface="+mj-ea"/>
              <a:ea typeface="+mj-ea"/>
            </a:endParaRPr>
          </a:p>
        </p:txBody>
      </p:sp>
      <p:sp>
        <p:nvSpPr>
          <p:cNvPr id="90" name="文本框 89">
            <a:extLst>
              <a:ext uri="{FF2B5EF4-FFF2-40B4-BE49-F238E27FC236}">
                <a16:creationId xmlns:a16="http://schemas.microsoft.com/office/drawing/2014/main" id="{7EF50E2B-A985-4809-B8AE-DDC9108877D3}"/>
              </a:ext>
            </a:extLst>
          </p:cNvPr>
          <p:cNvSpPr txBox="1"/>
          <p:nvPr/>
        </p:nvSpPr>
        <p:spPr>
          <a:xfrm>
            <a:off x="6741546" y="3241768"/>
            <a:ext cx="1692961" cy="769441"/>
          </a:xfrm>
          <a:prstGeom prst="rect">
            <a:avLst/>
          </a:prstGeom>
          <a:noFill/>
        </p:spPr>
        <p:txBody>
          <a:bodyPr wrap="square" rtlCol="0">
            <a:spAutoFit/>
          </a:bodyPr>
          <a:lstStyle/>
          <a:p>
            <a:r>
              <a:rPr lang="en-US" altLang="zh-CN" sz="1100" dirty="0">
                <a:solidFill>
                  <a:schemeClr val="accent1"/>
                </a:solidFill>
              </a:rPr>
              <a:t>Lorem ipsum dolor sit amet consectetur adipisicing elit sed do eiusmod tempor</a:t>
            </a:r>
            <a:endParaRPr lang="zh-CN" altLang="en-US" sz="1100" dirty="0">
              <a:solidFill>
                <a:schemeClr val="accent1"/>
              </a:solidFill>
            </a:endParaRPr>
          </a:p>
        </p:txBody>
      </p:sp>
      <p:sp>
        <p:nvSpPr>
          <p:cNvPr id="92" name="矩形 91">
            <a:extLst>
              <a:ext uri="{FF2B5EF4-FFF2-40B4-BE49-F238E27FC236}">
                <a16:creationId xmlns:a16="http://schemas.microsoft.com/office/drawing/2014/main" id="{40DE6826-9DF9-494D-8312-A1A72850BF79}"/>
              </a:ext>
            </a:extLst>
          </p:cNvPr>
          <p:cNvSpPr/>
          <p:nvPr/>
        </p:nvSpPr>
        <p:spPr>
          <a:xfrm>
            <a:off x="6822509" y="3176999"/>
            <a:ext cx="714939" cy="4571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93" name="椭圆 92">
            <a:extLst>
              <a:ext uri="{FF2B5EF4-FFF2-40B4-BE49-F238E27FC236}">
                <a16:creationId xmlns:a16="http://schemas.microsoft.com/office/drawing/2014/main" id="{31991868-63D5-42D1-84F8-FAB3E9C2AC42}"/>
              </a:ext>
            </a:extLst>
          </p:cNvPr>
          <p:cNvSpPr/>
          <p:nvPr/>
        </p:nvSpPr>
        <p:spPr>
          <a:xfrm>
            <a:off x="6547365" y="2929338"/>
            <a:ext cx="121444" cy="12144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cxnSp>
        <p:nvCxnSpPr>
          <p:cNvPr id="94" name="直接连接符 93">
            <a:extLst>
              <a:ext uri="{FF2B5EF4-FFF2-40B4-BE49-F238E27FC236}">
                <a16:creationId xmlns:a16="http://schemas.microsoft.com/office/drawing/2014/main" id="{FCC4BA2D-E32F-44C5-8DA1-A5FDC8D4E25B}"/>
              </a:ext>
            </a:extLst>
          </p:cNvPr>
          <p:cNvCxnSpPr>
            <a:cxnSpLocks/>
          </p:cNvCxnSpPr>
          <p:nvPr/>
        </p:nvCxnSpPr>
        <p:spPr>
          <a:xfrm>
            <a:off x="9451773" y="3942710"/>
            <a:ext cx="0" cy="1703890"/>
          </a:xfrm>
          <a:prstGeom prst="line">
            <a:avLst/>
          </a:prstGeom>
          <a:ln w="19050">
            <a:gradFill>
              <a:gsLst>
                <a:gs pos="0">
                  <a:schemeClr val="accent1"/>
                </a:gs>
                <a:gs pos="100000">
                  <a:schemeClr val="accent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95" name="文本框 94">
            <a:extLst>
              <a:ext uri="{FF2B5EF4-FFF2-40B4-BE49-F238E27FC236}">
                <a16:creationId xmlns:a16="http://schemas.microsoft.com/office/drawing/2014/main" id="{CE4DCF58-8FF4-4364-8DAD-9EC9726CD0CC}"/>
              </a:ext>
            </a:extLst>
          </p:cNvPr>
          <p:cNvSpPr txBox="1"/>
          <p:nvPr/>
        </p:nvSpPr>
        <p:spPr>
          <a:xfrm>
            <a:off x="9666195" y="3787385"/>
            <a:ext cx="714939" cy="307777"/>
          </a:xfrm>
          <a:prstGeom prst="rect">
            <a:avLst/>
          </a:prstGeom>
          <a:noFill/>
        </p:spPr>
        <p:txBody>
          <a:bodyPr wrap="none" lIns="0" tIns="0" rIns="0" bIns="0" rtlCol="0" anchor="t">
            <a:spAutoFit/>
          </a:bodyPr>
          <a:lstStyle/>
          <a:p>
            <a:r>
              <a:rPr lang="en-US" altLang="zh-CN" sz="2000" dirty="0">
                <a:solidFill>
                  <a:schemeClr val="accent1"/>
                </a:solidFill>
                <a:latin typeface="+mj-ea"/>
                <a:ea typeface="+mj-ea"/>
              </a:rPr>
              <a:t>20XX</a:t>
            </a:r>
            <a:endParaRPr lang="zh-CN" altLang="en-US" sz="2000" dirty="0">
              <a:solidFill>
                <a:schemeClr val="accent1"/>
              </a:solidFill>
              <a:latin typeface="+mj-ea"/>
              <a:ea typeface="+mj-ea"/>
            </a:endParaRPr>
          </a:p>
        </p:txBody>
      </p:sp>
      <p:sp>
        <p:nvSpPr>
          <p:cNvPr id="96" name="文本框 95">
            <a:extLst>
              <a:ext uri="{FF2B5EF4-FFF2-40B4-BE49-F238E27FC236}">
                <a16:creationId xmlns:a16="http://schemas.microsoft.com/office/drawing/2014/main" id="{4A6CAE2B-A37E-4A78-8C1D-7771E302C6E2}"/>
              </a:ext>
            </a:extLst>
          </p:cNvPr>
          <p:cNvSpPr txBox="1"/>
          <p:nvPr/>
        </p:nvSpPr>
        <p:spPr>
          <a:xfrm>
            <a:off x="9585232" y="4199978"/>
            <a:ext cx="1692961" cy="769441"/>
          </a:xfrm>
          <a:prstGeom prst="rect">
            <a:avLst/>
          </a:prstGeom>
          <a:noFill/>
        </p:spPr>
        <p:txBody>
          <a:bodyPr wrap="square" rtlCol="0">
            <a:spAutoFit/>
          </a:bodyPr>
          <a:lstStyle/>
          <a:p>
            <a:r>
              <a:rPr lang="en-US" altLang="zh-CN" sz="1100" dirty="0">
                <a:solidFill>
                  <a:schemeClr val="accent1"/>
                </a:solidFill>
              </a:rPr>
              <a:t>Lorem ipsum dolor sit amet consectetur adipisicing elit sed do eiusmod tempor</a:t>
            </a:r>
            <a:endParaRPr lang="zh-CN" altLang="en-US" sz="1100" dirty="0">
              <a:solidFill>
                <a:schemeClr val="accent1"/>
              </a:solidFill>
            </a:endParaRPr>
          </a:p>
        </p:txBody>
      </p:sp>
      <p:sp>
        <p:nvSpPr>
          <p:cNvPr id="98" name="矩形 97">
            <a:extLst>
              <a:ext uri="{FF2B5EF4-FFF2-40B4-BE49-F238E27FC236}">
                <a16:creationId xmlns:a16="http://schemas.microsoft.com/office/drawing/2014/main" id="{BFF02715-C7AF-4589-9C1D-01CAD2A177CA}"/>
              </a:ext>
            </a:extLst>
          </p:cNvPr>
          <p:cNvSpPr/>
          <p:nvPr/>
        </p:nvSpPr>
        <p:spPr>
          <a:xfrm>
            <a:off x="9666195" y="4135209"/>
            <a:ext cx="714939" cy="4571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99" name="椭圆 98">
            <a:extLst>
              <a:ext uri="{FF2B5EF4-FFF2-40B4-BE49-F238E27FC236}">
                <a16:creationId xmlns:a16="http://schemas.microsoft.com/office/drawing/2014/main" id="{80337138-A293-4F03-82DC-A671471E4603}"/>
              </a:ext>
            </a:extLst>
          </p:cNvPr>
          <p:cNvSpPr/>
          <p:nvPr/>
        </p:nvSpPr>
        <p:spPr>
          <a:xfrm>
            <a:off x="9391051" y="3887548"/>
            <a:ext cx="121444" cy="12144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Tree>
    <p:extLst>
      <p:ext uri="{BB962C8B-B14F-4D97-AF65-F5344CB8AC3E}">
        <p14:creationId xmlns:p14="http://schemas.microsoft.com/office/powerpoint/2010/main" val="2575014639"/>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3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8" name="图片 27" descr="图片包含 片, 蛋糕, 黑暗, 水&#10;&#10;描述已自动生成">
            <a:extLst>
              <a:ext uri="{FF2B5EF4-FFF2-40B4-BE49-F238E27FC236}">
                <a16:creationId xmlns:a16="http://schemas.microsoft.com/office/drawing/2014/main" id="{5FC3508D-C8EA-4067-B765-88D824D25400}"/>
              </a:ext>
            </a:extLst>
          </p:cNvPr>
          <p:cNvPicPr>
            <a:picLocks noChangeAspect="1"/>
          </p:cNvPicPr>
          <p:nvPr/>
        </p:nvPicPr>
        <p:blipFill rotWithShape="1">
          <a:blip r:embed="rId3">
            <a:extLst>
              <a:ext uri="{28A0092B-C50C-407E-A947-70E740481C1C}">
                <a14:useLocalDpi xmlns:a14="http://schemas.microsoft.com/office/drawing/2010/main" val="0"/>
              </a:ext>
            </a:extLst>
          </a:blip>
          <a:srcRect t="24345"/>
          <a:stretch/>
        </p:blipFill>
        <p:spPr>
          <a:xfrm>
            <a:off x="0" y="2210876"/>
            <a:ext cx="12192000" cy="4611920"/>
          </a:xfrm>
          <a:prstGeom prst="rect">
            <a:avLst/>
          </a:prstGeom>
        </p:spPr>
      </p:pic>
      <p:cxnSp>
        <p:nvCxnSpPr>
          <p:cNvPr id="29" name="直接连接符 28">
            <a:extLst>
              <a:ext uri="{FF2B5EF4-FFF2-40B4-BE49-F238E27FC236}">
                <a16:creationId xmlns:a16="http://schemas.microsoft.com/office/drawing/2014/main" id="{BB292BE0-9A83-4851-9DCC-45827B52A3B4}"/>
              </a:ext>
            </a:extLst>
          </p:cNvPr>
          <p:cNvCxnSpPr>
            <a:cxnSpLocks/>
          </p:cNvCxnSpPr>
          <p:nvPr/>
        </p:nvCxnSpPr>
        <p:spPr>
          <a:xfrm>
            <a:off x="488950" y="2959211"/>
            <a:ext cx="0" cy="293370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0" name="文本框 29">
            <a:extLst>
              <a:ext uri="{FF2B5EF4-FFF2-40B4-BE49-F238E27FC236}">
                <a16:creationId xmlns:a16="http://schemas.microsoft.com/office/drawing/2014/main" id="{D5EB7B1B-490A-4A11-9062-158024A3786C}"/>
              </a:ext>
            </a:extLst>
          </p:cNvPr>
          <p:cNvSpPr txBox="1"/>
          <p:nvPr/>
        </p:nvSpPr>
        <p:spPr>
          <a:xfrm>
            <a:off x="703372" y="2917931"/>
            <a:ext cx="714939" cy="307777"/>
          </a:xfrm>
          <a:prstGeom prst="rect">
            <a:avLst/>
          </a:prstGeom>
          <a:noFill/>
        </p:spPr>
        <p:txBody>
          <a:bodyPr wrap="none" lIns="0" tIns="0" rIns="0" bIns="0" rtlCol="0" anchor="t">
            <a:spAutoFit/>
          </a:bodyPr>
          <a:lstStyle/>
          <a:p>
            <a:r>
              <a:rPr lang="en-US" altLang="zh-CN" sz="2000" dirty="0">
                <a:solidFill>
                  <a:schemeClr val="accent1"/>
                </a:solidFill>
                <a:latin typeface="+mj-ea"/>
                <a:ea typeface="+mj-ea"/>
              </a:rPr>
              <a:t>20XX</a:t>
            </a:r>
            <a:endParaRPr lang="zh-CN" altLang="en-US" sz="2000" dirty="0">
              <a:solidFill>
                <a:schemeClr val="accent1"/>
              </a:solidFill>
              <a:latin typeface="+mj-ea"/>
              <a:ea typeface="+mj-ea"/>
            </a:endParaRPr>
          </a:p>
        </p:txBody>
      </p:sp>
      <p:sp>
        <p:nvSpPr>
          <p:cNvPr id="31" name="文本框 30">
            <a:extLst>
              <a:ext uri="{FF2B5EF4-FFF2-40B4-BE49-F238E27FC236}">
                <a16:creationId xmlns:a16="http://schemas.microsoft.com/office/drawing/2014/main" id="{F28D309C-8D70-43A7-B662-54A6710ADD36}"/>
              </a:ext>
            </a:extLst>
          </p:cNvPr>
          <p:cNvSpPr txBox="1"/>
          <p:nvPr/>
        </p:nvSpPr>
        <p:spPr>
          <a:xfrm>
            <a:off x="622409" y="3330524"/>
            <a:ext cx="1692961" cy="769441"/>
          </a:xfrm>
          <a:prstGeom prst="rect">
            <a:avLst/>
          </a:prstGeom>
          <a:noFill/>
        </p:spPr>
        <p:txBody>
          <a:bodyPr wrap="square" rtlCol="0">
            <a:spAutoFit/>
          </a:bodyPr>
          <a:lstStyle/>
          <a:p>
            <a:r>
              <a:rPr lang="en-US" altLang="zh-CN" sz="1100" dirty="0">
                <a:solidFill>
                  <a:schemeClr val="accent1"/>
                </a:solidFill>
              </a:rPr>
              <a:t>Lorem ipsum dolor sit amet consectetur adipisicing elit sed do eiusmod tempor</a:t>
            </a:r>
            <a:endParaRPr lang="zh-CN" altLang="en-US" sz="1100" dirty="0">
              <a:solidFill>
                <a:schemeClr val="accent1"/>
              </a:solidFill>
            </a:endParaRPr>
          </a:p>
        </p:txBody>
      </p:sp>
      <p:sp>
        <p:nvSpPr>
          <p:cNvPr id="32" name="椭圆 31">
            <a:extLst>
              <a:ext uri="{FF2B5EF4-FFF2-40B4-BE49-F238E27FC236}">
                <a16:creationId xmlns:a16="http://schemas.microsoft.com/office/drawing/2014/main" id="{8A35B5F8-34D0-4940-AE57-ED886E9921FB}"/>
              </a:ext>
            </a:extLst>
          </p:cNvPr>
          <p:cNvSpPr/>
          <p:nvPr/>
        </p:nvSpPr>
        <p:spPr>
          <a:xfrm>
            <a:off x="421044" y="5825004"/>
            <a:ext cx="135813" cy="135813"/>
          </a:xfrm>
          <a:prstGeom prst="ellipse">
            <a:avLst/>
          </a:prstGeom>
          <a:solidFill>
            <a:schemeClr val="bg1"/>
          </a:solidFill>
          <a:ln w="4127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33" name="矩形 32">
            <a:extLst>
              <a:ext uri="{FF2B5EF4-FFF2-40B4-BE49-F238E27FC236}">
                <a16:creationId xmlns:a16="http://schemas.microsoft.com/office/drawing/2014/main" id="{919D3E55-8CC6-4586-ACE4-C1D5DA0AD128}"/>
              </a:ext>
            </a:extLst>
          </p:cNvPr>
          <p:cNvSpPr/>
          <p:nvPr/>
        </p:nvSpPr>
        <p:spPr>
          <a:xfrm>
            <a:off x="703372" y="3265755"/>
            <a:ext cx="714939" cy="4571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34" name="椭圆 33">
            <a:extLst>
              <a:ext uri="{FF2B5EF4-FFF2-40B4-BE49-F238E27FC236}">
                <a16:creationId xmlns:a16="http://schemas.microsoft.com/office/drawing/2014/main" id="{B2E528A8-6472-47FF-8061-18800F17C8A6}"/>
              </a:ext>
            </a:extLst>
          </p:cNvPr>
          <p:cNvSpPr/>
          <p:nvPr/>
        </p:nvSpPr>
        <p:spPr>
          <a:xfrm>
            <a:off x="428228" y="2945139"/>
            <a:ext cx="121444" cy="12144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cxnSp>
        <p:nvCxnSpPr>
          <p:cNvPr id="35" name="直接连接符 34">
            <a:extLst>
              <a:ext uri="{FF2B5EF4-FFF2-40B4-BE49-F238E27FC236}">
                <a16:creationId xmlns:a16="http://schemas.microsoft.com/office/drawing/2014/main" id="{0EFA0591-C416-4143-9CD7-6A5B18B16A4D}"/>
              </a:ext>
            </a:extLst>
          </p:cNvPr>
          <p:cNvCxnSpPr>
            <a:cxnSpLocks/>
          </p:cNvCxnSpPr>
          <p:nvPr/>
        </p:nvCxnSpPr>
        <p:spPr>
          <a:xfrm>
            <a:off x="2781472" y="1782112"/>
            <a:ext cx="0" cy="4061055"/>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6" name="文本框 35">
            <a:extLst>
              <a:ext uri="{FF2B5EF4-FFF2-40B4-BE49-F238E27FC236}">
                <a16:creationId xmlns:a16="http://schemas.microsoft.com/office/drawing/2014/main" id="{566511B8-7057-41FD-936F-9A0713959567}"/>
              </a:ext>
            </a:extLst>
          </p:cNvPr>
          <p:cNvSpPr txBox="1"/>
          <p:nvPr/>
        </p:nvSpPr>
        <p:spPr>
          <a:xfrm>
            <a:off x="2995894" y="1633460"/>
            <a:ext cx="714939" cy="307777"/>
          </a:xfrm>
          <a:prstGeom prst="rect">
            <a:avLst/>
          </a:prstGeom>
          <a:noFill/>
        </p:spPr>
        <p:txBody>
          <a:bodyPr wrap="none" lIns="0" tIns="0" rIns="0" bIns="0" rtlCol="0" anchor="t">
            <a:spAutoFit/>
          </a:bodyPr>
          <a:lstStyle/>
          <a:p>
            <a:r>
              <a:rPr lang="en-US" altLang="zh-CN" sz="2000" dirty="0">
                <a:solidFill>
                  <a:schemeClr val="accent1"/>
                </a:solidFill>
                <a:latin typeface="+mj-ea"/>
                <a:ea typeface="+mj-ea"/>
              </a:rPr>
              <a:t>20XX</a:t>
            </a:r>
            <a:endParaRPr lang="zh-CN" altLang="en-US" sz="2000" dirty="0">
              <a:solidFill>
                <a:schemeClr val="accent1"/>
              </a:solidFill>
              <a:latin typeface="+mj-ea"/>
              <a:ea typeface="+mj-ea"/>
            </a:endParaRPr>
          </a:p>
        </p:txBody>
      </p:sp>
      <p:sp>
        <p:nvSpPr>
          <p:cNvPr id="37" name="文本框 36">
            <a:extLst>
              <a:ext uri="{FF2B5EF4-FFF2-40B4-BE49-F238E27FC236}">
                <a16:creationId xmlns:a16="http://schemas.microsoft.com/office/drawing/2014/main" id="{FAC33261-40F4-46A9-B30F-4E67ED9E6D39}"/>
              </a:ext>
            </a:extLst>
          </p:cNvPr>
          <p:cNvSpPr txBox="1"/>
          <p:nvPr/>
        </p:nvSpPr>
        <p:spPr>
          <a:xfrm>
            <a:off x="2914931" y="2046053"/>
            <a:ext cx="1692961" cy="769441"/>
          </a:xfrm>
          <a:prstGeom prst="rect">
            <a:avLst/>
          </a:prstGeom>
          <a:noFill/>
        </p:spPr>
        <p:txBody>
          <a:bodyPr wrap="square" rtlCol="0">
            <a:spAutoFit/>
          </a:bodyPr>
          <a:lstStyle/>
          <a:p>
            <a:r>
              <a:rPr lang="en-US" altLang="zh-CN" sz="1100" dirty="0">
                <a:solidFill>
                  <a:schemeClr val="accent1"/>
                </a:solidFill>
              </a:rPr>
              <a:t>Lorem ipsum dolor sit amet consectetur adipisicing elit sed do eiusmod tempor</a:t>
            </a:r>
            <a:endParaRPr lang="zh-CN" altLang="en-US" sz="1100" dirty="0">
              <a:solidFill>
                <a:schemeClr val="accent1"/>
              </a:solidFill>
            </a:endParaRPr>
          </a:p>
        </p:txBody>
      </p:sp>
      <p:sp>
        <p:nvSpPr>
          <p:cNvPr id="38" name="椭圆 37">
            <a:extLst>
              <a:ext uri="{FF2B5EF4-FFF2-40B4-BE49-F238E27FC236}">
                <a16:creationId xmlns:a16="http://schemas.microsoft.com/office/drawing/2014/main" id="{F1794847-213C-4CC6-BB74-DCDF16010FF0}"/>
              </a:ext>
            </a:extLst>
          </p:cNvPr>
          <p:cNvSpPr/>
          <p:nvPr/>
        </p:nvSpPr>
        <p:spPr>
          <a:xfrm>
            <a:off x="2713566" y="5775260"/>
            <a:ext cx="135813" cy="135813"/>
          </a:xfrm>
          <a:prstGeom prst="ellipse">
            <a:avLst/>
          </a:prstGeom>
          <a:solidFill>
            <a:schemeClr val="bg1"/>
          </a:solidFill>
          <a:ln w="4127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39" name="矩形 38">
            <a:extLst>
              <a:ext uri="{FF2B5EF4-FFF2-40B4-BE49-F238E27FC236}">
                <a16:creationId xmlns:a16="http://schemas.microsoft.com/office/drawing/2014/main" id="{F147DD62-7852-456D-A460-297D32ECA30B}"/>
              </a:ext>
            </a:extLst>
          </p:cNvPr>
          <p:cNvSpPr/>
          <p:nvPr/>
        </p:nvSpPr>
        <p:spPr>
          <a:xfrm>
            <a:off x="2995894" y="1981284"/>
            <a:ext cx="714939" cy="4571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40" name="椭圆 39">
            <a:extLst>
              <a:ext uri="{FF2B5EF4-FFF2-40B4-BE49-F238E27FC236}">
                <a16:creationId xmlns:a16="http://schemas.microsoft.com/office/drawing/2014/main" id="{B438D038-92CC-46EC-A0C2-ACBB4D03B83E}"/>
              </a:ext>
            </a:extLst>
          </p:cNvPr>
          <p:cNvSpPr/>
          <p:nvPr/>
        </p:nvSpPr>
        <p:spPr>
          <a:xfrm>
            <a:off x="2720750" y="1660668"/>
            <a:ext cx="121444" cy="12144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cxnSp>
        <p:nvCxnSpPr>
          <p:cNvPr id="41" name="直接连接符 40">
            <a:extLst>
              <a:ext uri="{FF2B5EF4-FFF2-40B4-BE49-F238E27FC236}">
                <a16:creationId xmlns:a16="http://schemas.microsoft.com/office/drawing/2014/main" id="{FF865283-C9F5-4287-B003-AF517981577B}"/>
              </a:ext>
            </a:extLst>
          </p:cNvPr>
          <p:cNvCxnSpPr>
            <a:cxnSpLocks/>
          </p:cNvCxnSpPr>
          <p:nvPr/>
        </p:nvCxnSpPr>
        <p:spPr>
          <a:xfrm>
            <a:off x="5305313" y="2555440"/>
            <a:ext cx="0" cy="293370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2" name="文本框 41">
            <a:extLst>
              <a:ext uri="{FF2B5EF4-FFF2-40B4-BE49-F238E27FC236}">
                <a16:creationId xmlns:a16="http://schemas.microsoft.com/office/drawing/2014/main" id="{4A69D559-0060-4767-9CC5-4AFA2E8CBE02}"/>
              </a:ext>
            </a:extLst>
          </p:cNvPr>
          <p:cNvSpPr txBox="1"/>
          <p:nvPr/>
        </p:nvSpPr>
        <p:spPr>
          <a:xfrm>
            <a:off x="5519735" y="2514160"/>
            <a:ext cx="714939" cy="307777"/>
          </a:xfrm>
          <a:prstGeom prst="rect">
            <a:avLst/>
          </a:prstGeom>
          <a:noFill/>
        </p:spPr>
        <p:txBody>
          <a:bodyPr wrap="none" lIns="0" tIns="0" rIns="0" bIns="0" rtlCol="0" anchor="t">
            <a:spAutoFit/>
          </a:bodyPr>
          <a:lstStyle/>
          <a:p>
            <a:r>
              <a:rPr lang="en-US" altLang="zh-CN" sz="2000" dirty="0">
                <a:solidFill>
                  <a:schemeClr val="accent1"/>
                </a:solidFill>
                <a:latin typeface="+mj-ea"/>
                <a:ea typeface="+mj-ea"/>
              </a:rPr>
              <a:t>20XX</a:t>
            </a:r>
            <a:endParaRPr lang="zh-CN" altLang="en-US" sz="2000" dirty="0">
              <a:solidFill>
                <a:schemeClr val="accent1"/>
              </a:solidFill>
              <a:latin typeface="+mj-ea"/>
              <a:ea typeface="+mj-ea"/>
            </a:endParaRPr>
          </a:p>
        </p:txBody>
      </p:sp>
      <p:sp>
        <p:nvSpPr>
          <p:cNvPr id="43" name="文本框 42">
            <a:extLst>
              <a:ext uri="{FF2B5EF4-FFF2-40B4-BE49-F238E27FC236}">
                <a16:creationId xmlns:a16="http://schemas.microsoft.com/office/drawing/2014/main" id="{2E393C99-AB52-4EBE-90EC-A9E43482B602}"/>
              </a:ext>
            </a:extLst>
          </p:cNvPr>
          <p:cNvSpPr txBox="1"/>
          <p:nvPr/>
        </p:nvSpPr>
        <p:spPr>
          <a:xfrm>
            <a:off x="5438772" y="2926753"/>
            <a:ext cx="1692961" cy="769441"/>
          </a:xfrm>
          <a:prstGeom prst="rect">
            <a:avLst/>
          </a:prstGeom>
          <a:noFill/>
        </p:spPr>
        <p:txBody>
          <a:bodyPr wrap="square" rtlCol="0">
            <a:spAutoFit/>
          </a:bodyPr>
          <a:lstStyle/>
          <a:p>
            <a:r>
              <a:rPr lang="en-US" altLang="zh-CN" sz="1100" dirty="0">
                <a:solidFill>
                  <a:schemeClr val="accent1"/>
                </a:solidFill>
              </a:rPr>
              <a:t>Lorem ipsum dolor sit amet consectetur adipisicing elit sed do eiusmod tempor</a:t>
            </a:r>
            <a:endParaRPr lang="zh-CN" altLang="en-US" sz="1100" dirty="0">
              <a:solidFill>
                <a:schemeClr val="accent1"/>
              </a:solidFill>
            </a:endParaRPr>
          </a:p>
        </p:txBody>
      </p:sp>
      <p:sp>
        <p:nvSpPr>
          <p:cNvPr id="44" name="椭圆 43">
            <a:extLst>
              <a:ext uri="{FF2B5EF4-FFF2-40B4-BE49-F238E27FC236}">
                <a16:creationId xmlns:a16="http://schemas.microsoft.com/office/drawing/2014/main" id="{5B1480A5-7771-4309-8836-91FBCB122666}"/>
              </a:ext>
            </a:extLst>
          </p:cNvPr>
          <p:cNvSpPr/>
          <p:nvPr/>
        </p:nvSpPr>
        <p:spPr>
          <a:xfrm>
            <a:off x="5237407" y="5421233"/>
            <a:ext cx="135813" cy="135813"/>
          </a:xfrm>
          <a:prstGeom prst="ellipse">
            <a:avLst/>
          </a:prstGeom>
          <a:solidFill>
            <a:schemeClr val="bg1"/>
          </a:solidFill>
          <a:ln w="4127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46" name="矩形 45">
            <a:extLst>
              <a:ext uri="{FF2B5EF4-FFF2-40B4-BE49-F238E27FC236}">
                <a16:creationId xmlns:a16="http://schemas.microsoft.com/office/drawing/2014/main" id="{FAAC395A-1981-4543-8172-EDC811A62458}"/>
              </a:ext>
            </a:extLst>
          </p:cNvPr>
          <p:cNvSpPr/>
          <p:nvPr/>
        </p:nvSpPr>
        <p:spPr>
          <a:xfrm>
            <a:off x="5519735" y="2861984"/>
            <a:ext cx="714939" cy="4571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47" name="椭圆 46">
            <a:extLst>
              <a:ext uri="{FF2B5EF4-FFF2-40B4-BE49-F238E27FC236}">
                <a16:creationId xmlns:a16="http://schemas.microsoft.com/office/drawing/2014/main" id="{2BFBF066-A70A-4205-843F-20AFAD582962}"/>
              </a:ext>
            </a:extLst>
          </p:cNvPr>
          <p:cNvSpPr/>
          <p:nvPr/>
        </p:nvSpPr>
        <p:spPr>
          <a:xfrm>
            <a:off x="5244591" y="2541368"/>
            <a:ext cx="121444" cy="12144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cxnSp>
        <p:nvCxnSpPr>
          <p:cNvPr id="48" name="直接连接符 47">
            <a:extLst>
              <a:ext uri="{FF2B5EF4-FFF2-40B4-BE49-F238E27FC236}">
                <a16:creationId xmlns:a16="http://schemas.microsoft.com/office/drawing/2014/main" id="{D5C08A49-5EC1-4C9F-A44B-BA27EC2AB510}"/>
              </a:ext>
            </a:extLst>
          </p:cNvPr>
          <p:cNvCxnSpPr>
            <a:cxnSpLocks/>
          </p:cNvCxnSpPr>
          <p:nvPr/>
        </p:nvCxnSpPr>
        <p:spPr>
          <a:xfrm>
            <a:off x="7668035" y="2013427"/>
            <a:ext cx="0" cy="2759302"/>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9" name="文本框 48">
            <a:extLst>
              <a:ext uri="{FF2B5EF4-FFF2-40B4-BE49-F238E27FC236}">
                <a16:creationId xmlns:a16="http://schemas.microsoft.com/office/drawing/2014/main" id="{5D80F7E2-8D50-41AD-9C00-E7456324E6DF}"/>
              </a:ext>
            </a:extLst>
          </p:cNvPr>
          <p:cNvSpPr txBox="1"/>
          <p:nvPr/>
        </p:nvSpPr>
        <p:spPr>
          <a:xfrm>
            <a:off x="7882457" y="1798282"/>
            <a:ext cx="714939" cy="307777"/>
          </a:xfrm>
          <a:prstGeom prst="rect">
            <a:avLst/>
          </a:prstGeom>
          <a:noFill/>
        </p:spPr>
        <p:txBody>
          <a:bodyPr wrap="none" lIns="0" tIns="0" rIns="0" bIns="0" rtlCol="0" anchor="t">
            <a:spAutoFit/>
          </a:bodyPr>
          <a:lstStyle/>
          <a:p>
            <a:r>
              <a:rPr lang="en-US" altLang="zh-CN" sz="2000" dirty="0">
                <a:solidFill>
                  <a:schemeClr val="accent1"/>
                </a:solidFill>
                <a:latin typeface="+mj-ea"/>
                <a:ea typeface="+mj-ea"/>
              </a:rPr>
              <a:t>20XX</a:t>
            </a:r>
            <a:endParaRPr lang="zh-CN" altLang="en-US" sz="2000" dirty="0">
              <a:solidFill>
                <a:schemeClr val="accent1"/>
              </a:solidFill>
              <a:latin typeface="+mj-ea"/>
              <a:ea typeface="+mj-ea"/>
            </a:endParaRPr>
          </a:p>
        </p:txBody>
      </p:sp>
      <p:sp>
        <p:nvSpPr>
          <p:cNvPr id="50" name="文本框 49">
            <a:extLst>
              <a:ext uri="{FF2B5EF4-FFF2-40B4-BE49-F238E27FC236}">
                <a16:creationId xmlns:a16="http://schemas.microsoft.com/office/drawing/2014/main" id="{5FC3BA91-76FF-4800-BD0D-F74CF6E89C04}"/>
              </a:ext>
            </a:extLst>
          </p:cNvPr>
          <p:cNvSpPr txBox="1"/>
          <p:nvPr/>
        </p:nvSpPr>
        <p:spPr>
          <a:xfrm>
            <a:off x="7801494" y="2210875"/>
            <a:ext cx="1692961" cy="769441"/>
          </a:xfrm>
          <a:prstGeom prst="rect">
            <a:avLst/>
          </a:prstGeom>
          <a:noFill/>
        </p:spPr>
        <p:txBody>
          <a:bodyPr wrap="square" rtlCol="0">
            <a:spAutoFit/>
          </a:bodyPr>
          <a:lstStyle/>
          <a:p>
            <a:r>
              <a:rPr lang="en-US" altLang="zh-CN" sz="1100" dirty="0">
                <a:solidFill>
                  <a:schemeClr val="accent1"/>
                </a:solidFill>
              </a:rPr>
              <a:t>Lorem ipsum dolor sit amet consectetur adipisicing elit sed do eiusmod tempor</a:t>
            </a:r>
            <a:endParaRPr lang="zh-CN" altLang="en-US" sz="1100" dirty="0">
              <a:solidFill>
                <a:schemeClr val="accent1"/>
              </a:solidFill>
            </a:endParaRPr>
          </a:p>
        </p:txBody>
      </p:sp>
      <p:sp>
        <p:nvSpPr>
          <p:cNvPr id="51" name="椭圆 50">
            <a:extLst>
              <a:ext uri="{FF2B5EF4-FFF2-40B4-BE49-F238E27FC236}">
                <a16:creationId xmlns:a16="http://schemas.microsoft.com/office/drawing/2014/main" id="{7D9CD100-2EF4-4EDD-95B9-B90BFF0D9ABE}"/>
              </a:ext>
            </a:extLst>
          </p:cNvPr>
          <p:cNvSpPr/>
          <p:nvPr/>
        </p:nvSpPr>
        <p:spPr>
          <a:xfrm>
            <a:off x="7600129" y="4704822"/>
            <a:ext cx="135813" cy="135813"/>
          </a:xfrm>
          <a:prstGeom prst="ellipse">
            <a:avLst/>
          </a:prstGeom>
          <a:solidFill>
            <a:schemeClr val="bg1"/>
          </a:solidFill>
          <a:ln w="4127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52" name="矩形 51">
            <a:extLst>
              <a:ext uri="{FF2B5EF4-FFF2-40B4-BE49-F238E27FC236}">
                <a16:creationId xmlns:a16="http://schemas.microsoft.com/office/drawing/2014/main" id="{13A9020D-0AD3-499E-9B50-7C8456F91653}"/>
              </a:ext>
            </a:extLst>
          </p:cNvPr>
          <p:cNvSpPr/>
          <p:nvPr/>
        </p:nvSpPr>
        <p:spPr>
          <a:xfrm>
            <a:off x="7882457" y="2146106"/>
            <a:ext cx="714939" cy="4571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53" name="椭圆 52">
            <a:extLst>
              <a:ext uri="{FF2B5EF4-FFF2-40B4-BE49-F238E27FC236}">
                <a16:creationId xmlns:a16="http://schemas.microsoft.com/office/drawing/2014/main" id="{FF37D9E8-CB2E-45B2-A47C-3DCF0325EBA9}"/>
              </a:ext>
            </a:extLst>
          </p:cNvPr>
          <p:cNvSpPr/>
          <p:nvPr/>
        </p:nvSpPr>
        <p:spPr>
          <a:xfrm>
            <a:off x="7607313" y="1891983"/>
            <a:ext cx="121444" cy="12144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cxnSp>
        <p:nvCxnSpPr>
          <p:cNvPr id="67" name="直接连接符 66">
            <a:extLst>
              <a:ext uri="{FF2B5EF4-FFF2-40B4-BE49-F238E27FC236}">
                <a16:creationId xmlns:a16="http://schemas.microsoft.com/office/drawing/2014/main" id="{F01B5F7F-D8AB-4DFA-8DAB-D6012112ECCC}"/>
              </a:ext>
            </a:extLst>
          </p:cNvPr>
          <p:cNvCxnSpPr>
            <a:cxnSpLocks/>
          </p:cNvCxnSpPr>
          <p:nvPr/>
        </p:nvCxnSpPr>
        <p:spPr>
          <a:xfrm>
            <a:off x="10101158" y="566346"/>
            <a:ext cx="0" cy="1939128"/>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72" name="文本框 71">
            <a:extLst>
              <a:ext uri="{FF2B5EF4-FFF2-40B4-BE49-F238E27FC236}">
                <a16:creationId xmlns:a16="http://schemas.microsoft.com/office/drawing/2014/main" id="{69E58699-6CE8-4547-8C3E-3D4B7D94E16D}"/>
              </a:ext>
            </a:extLst>
          </p:cNvPr>
          <p:cNvSpPr txBox="1"/>
          <p:nvPr/>
        </p:nvSpPr>
        <p:spPr>
          <a:xfrm>
            <a:off x="10234617" y="867017"/>
            <a:ext cx="1692961" cy="769441"/>
          </a:xfrm>
          <a:prstGeom prst="rect">
            <a:avLst/>
          </a:prstGeom>
          <a:noFill/>
        </p:spPr>
        <p:txBody>
          <a:bodyPr wrap="square" rtlCol="0">
            <a:spAutoFit/>
          </a:bodyPr>
          <a:lstStyle/>
          <a:p>
            <a:r>
              <a:rPr lang="en-US" altLang="zh-CN" sz="1100" dirty="0">
                <a:solidFill>
                  <a:schemeClr val="accent1"/>
                </a:solidFill>
              </a:rPr>
              <a:t>Lorem ipsum dolor sit amet consectetur adipisicing elit sed do eiusmod tempor</a:t>
            </a:r>
            <a:endParaRPr lang="zh-CN" altLang="en-US" sz="1100" dirty="0">
              <a:solidFill>
                <a:schemeClr val="accent1"/>
              </a:solidFill>
            </a:endParaRPr>
          </a:p>
        </p:txBody>
      </p:sp>
      <p:sp>
        <p:nvSpPr>
          <p:cNvPr id="73" name="椭圆 72">
            <a:extLst>
              <a:ext uri="{FF2B5EF4-FFF2-40B4-BE49-F238E27FC236}">
                <a16:creationId xmlns:a16="http://schemas.microsoft.com/office/drawing/2014/main" id="{115D6AA6-1BAE-4751-9EAE-8044896BAA69}"/>
              </a:ext>
            </a:extLst>
          </p:cNvPr>
          <p:cNvSpPr/>
          <p:nvPr/>
        </p:nvSpPr>
        <p:spPr>
          <a:xfrm>
            <a:off x="10033252" y="2437567"/>
            <a:ext cx="135813" cy="135813"/>
          </a:xfrm>
          <a:prstGeom prst="ellipse">
            <a:avLst/>
          </a:prstGeom>
          <a:solidFill>
            <a:schemeClr val="bg1"/>
          </a:solidFill>
          <a:ln w="4127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74" name="矩形 73">
            <a:extLst>
              <a:ext uri="{FF2B5EF4-FFF2-40B4-BE49-F238E27FC236}">
                <a16:creationId xmlns:a16="http://schemas.microsoft.com/office/drawing/2014/main" id="{B97AAC4A-4184-4EB8-949E-4993923CAA07}"/>
              </a:ext>
            </a:extLst>
          </p:cNvPr>
          <p:cNvSpPr/>
          <p:nvPr/>
        </p:nvSpPr>
        <p:spPr>
          <a:xfrm>
            <a:off x="10315580" y="802248"/>
            <a:ext cx="714939" cy="4571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Tree>
    <p:extLst>
      <p:ext uri="{BB962C8B-B14F-4D97-AF65-F5344CB8AC3E}">
        <p14:creationId xmlns:p14="http://schemas.microsoft.com/office/powerpoint/2010/main" val="2985452983"/>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3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图片 2" descr="图片包含 游戏机&#10;&#10;描述已自动生成">
            <a:extLst>
              <a:ext uri="{FF2B5EF4-FFF2-40B4-BE49-F238E27FC236}">
                <a16:creationId xmlns:a16="http://schemas.microsoft.com/office/drawing/2014/main" id="{B8EB657E-CB0C-4BA1-9EE5-E8FA4C406569}"/>
              </a:ext>
            </a:extLst>
          </p:cNvPr>
          <p:cNvPicPr>
            <a:picLocks noChangeAspect="1"/>
          </p:cNvPicPr>
          <p:nvPr/>
        </p:nvPicPr>
        <p:blipFill rotWithShape="1">
          <a:blip r:embed="rId3">
            <a:extLst>
              <a:ext uri="{28A0092B-C50C-407E-A947-70E740481C1C}">
                <a14:useLocalDpi xmlns:a14="http://schemas.microsoft.com/office/drawing/2010/main" val="0"/>
              </a:ext>
            </a:extLst>
          </a:blip>
          <a:srcRect l="14296"/>
          <a:stretch/>
        </p:blipFill>
        <p:spPr>
          <a:xfrm rot="16200000">
            <a:off x="2667000" y="-2667000"/>
            <a:ext cx="6858000" cy="12192000"/>
          </a:xfrm>
          <a:prstGeom prst="rect">
            <a:avLst/>
          </a:prstGeom>
        </p:spPr>
      </p:pic>
      <p:sp>
        <p:nvSpPr>
          <p:cNvPr id="4" name="矩形 3">
            <a:extLst>
              <a:ext uri="{FF2B5EF4-FFF2-40B4-BE49-F238E27FC236}">
                <a16:creationId xmlns:a16="http://schemas.microsoft.com/office/drawing/2014/main" id="{5B698202-1E6B-4CE1-A987-6B4B37D08D38}"/>
              </a:ext>
            </a:extLst>
          </p:cNvPr>
          <p:cNvSpPr/>
          <p:nvPr/>
        </p:nvSpPr>
        <p:spPr>
          <a:xfrm>
            <a:off x="0" y="0"/>
            <a:ext cx="12192000" cy="6858000"/>
          </a:xfrm>
          <a:prstGeom prst="rect">
            <a:avLst/>
          </a:prstGeom>
          <a:solidFill>
            <a:schemeClr val="accent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grpSp>
        <p:nvGrpSpPr>
          <p:cNvPr id="8" name="组合 7">
            <a:extLst>
              <a:ext uri="{FF2B5EF4-FFF2-40B4-BE49-F238E27FC236}">
                <a16:creationId xmlns:a16="http://schemas.microsoft.com/office/drawing/2014/main" id="{58623B43-D726-4228-BDB2-32B58A8D40FE}"/>
              </a:ext>
            </a:extLst>
          </p:cNvPr>
          <p:cNvGrpSpPr/>
          <p:nvPr/>
        </p:nvGrpSpPr>
        <p:grpSpPr>
          <a:xfrm>
            <a:off x="2175353" y="2526544"/>
            <a:ext cx="2375109" cy="2308547"/>
            <a:chOff x="2564606" y="1820540"/>
            <a:chExt cx="2375109" cy="2308547"/>
          </a:xfrm>
        </p:grpSpPr>
        <p:cxnSp>
          <p:nvCxnSpPr>
            <p:cNvPr id="6" name="直接连接符 5">
              <a:extLst>
                <a:ext uri="{FF2B5EF4-FFF2-40B4-BE49-F238E27FC236}">
                  <a16:creationId xmlns:a16="http://schemas.microsoft.com/office/drawing/2014/main" id="{E5C91A6E-67E5-4F34-9206-C67A197E6DF7}"/>
                </a:ext>
              </a:extLst>
            </p:cNvPr>
            <p:cNvCxnSpPr>
              <a:cxnSpLocks/>
            </p:cNvCxnSpPr>
            <p:nvPr/>
          </p:nvCxnSpPr>
          <p:spPr>
            <a:xfrm>
              <a:off x="2628900" y="1837944"/>
              <a:ext cx="0" cy="2203704"/>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7" name="椭圆 6">
              <a:extLst>
                <a:ext uri="{FF2B5EF4-FFF2-40B4-BE49-F238E27FC236}">
                  <a16:creationId xmlns:a16="http://schemas.microsoft.com/office/drawing/2014/main" id="{0A518774-4EE9-41DE-84C5-D7C0922D634D}"/>
                </a:ext>
              </a:extLst>
            </p:cNvPr>
            <p:cNvSpPr/>
            <p:nvPr/>
          </p:nvSpPr>
          <p:spPr>
            <a:xfrm>
              <a:off x="2564606" y="4000499"/>
              <a:ext cx="128588" cy="128588"/>
            </a:xfrm>
            <a:prstGeom prst="ellipse">
              <a:avLst/>
            </a:prstGeom>
            <a:solidFill>
              <a:schemeClr val="bg1"/>
            </a:solidFill>
            <a:ln>
              <a:noFill/>
            </a:ln>
            <a:effectLst>
              <a:outerShdw sx="154000" sy="154000" algn="ctr" rotWithShape="0">
                <a:schemeClr val="bg1">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44" name="文本框 43">
              <a:extLst>
                <a:ext uri="{FF2B5EF4-FFF2-40B4-BE49-F238E27FC236}">
                  <a16:creationId xmlns:a16="http://schemas.microsoft.com/office/drawing/2014/main" id="{FA545A00-8192-432A-950B-4826FBF026D0}"/>
                </a:ext>
              </a:extLst>
            </p:cNvPr>
            <p:cNvSpPr txBox="1"/>
            <p:nvPr/>
          </p:nvSpPr>
          <p:spPr>
            <a:xfrm>
              <a:off x="2703206" y="2175779"/>
              <a:ext cx="2236509" cy="600164"/>
            </a:xfrm>
            <a:prstGeom prst="rect">
              <a:avLst/>
            </a:prstGeom>
            <a:noFill/>
          </p:spPr>
          <p:txBody>
            <a:bodyPr wrap="square" rtlCol="0">
              <a:spAutoFit/>
            </a:bodyPr>
            <a:lstStyle/>
            <a:p>
              <a:r>
                <a:rPr lang="en-US" altLang="zh-CN" sz="1100" dirty="0">
                  <a:solidFill>
                    <a:schemeClr val="bg1"/>
                  </a:solidFill>
                </a:rPr>
                <a:t>Lorem ipsum dolor sit amet consectetur adipisicing elit sed do eiusmod tempor</a:t>
              </a:r>
              <a:endParaRPr lang="zh-CN" altLang="en-US" sz="1100" dirty="0">
                <a:solidFill>
                  <a:schemeClr val="bg1"/>
                </a:solidFill>
              </a:endParaRPr>
            </a:p>
          </p:txBody>
        </p:sp>
        <p:sp>
          <p:nvSpPr>
            <p:cNvPr id="45" name="文本框 44">
              <a:extLst>
                <a:ext uri="{FF2B5EF4-FFF2-40B4-BE49-F238E27FC236}">
                  <a16:creationId xmlns:a16="http://schemas.microsoft.com/office/drawing/2014/main" id="{F051D968-6E81-4424-BBDC-EA45A8BF707F}"/>
                </a:ext>
              </a:extLst>
            </p:cNvPr>
            <p:cNvSpPr txBox="1"/>
            <p:nvPr/>
          </p:nvSpPr>
          <p:spPr>
            <a:xfrm>
              <a:off x="2703206" y="1820540"/>
              <a:ext cx="1467069" cy="400110"/>
            </a:xfrm>
            <a:prstGeom prst="rect">
              <a:avLst/>
            </a:prstGeom>
            <a:noFill/>
          </p:spPr>
          <p:txBody>
            <a:bodyPr wrap="none" rtlCol="0">
              <a:spAutoFit/>
            </a:bodyPr>
            <a:lstStyle/>
            <a:p>
              <a:r>
                <a:rPr lang="zh-CN" altLang="en-US" sz="2000" dirty="0">
                  <a:solidFill>
                    <a:schemeClr val="bg1"/>
                  </a:solidFill>
                  <a:latin typeface="+mj-ea"/>
                  <a:ea typeface="+mj-ea"/>
                </a:rPr>
                <a:t>关键词标题</a:t>
              </a:r>
            </a:p>
          </p:txBody>
        </p:sp>
      </p:grpSp>
      <p:grpSp>
        <p:nvGrpSpPr>
          <p:cNvPr id="46" name="组合 45">
            <a:extLst>
              <a:ext uri="{FF2B5EF4-FFF2-40B4-BE49-F238E27FC236}">
                <a16:creationId xmlns:a16="http://schemas.microsoft.com/office/drawing/2014/main" id="{7F9E869D-FCFB-41BC-8433-8A178DE00A8B}"/>
              </a:ext>
            </a:extLst>
          </p:cNvPr>
          <p:cNvGrpSpPr/>
          <p:nvPr/>
        </p:nvGrpSpPr>
        <p:grpSpPr>
          <a:xfrm>
            <a:off x="4732031" y="1187921"/>
            <a:ext cx="2375109" cy="3438847"/>
            <a:chOff x="2564606" y="690240"/>
            <a:chExt cx="2375109" cy="3438847"/>
          </a:xfrm>
        </p:grpSpPr>
        <p:cxnSp>
          <p:nvCxnSpPr>
            <p:cNvPr id="47" name="直接连接符 46">
              <a:extLst>
                <a:ext uri="{FF2B5EF4-FFF2-40B4-BE49-F238E27FC236}">
                  <a16:creationId xmlns:a16="http://schemas.microsoft.com/office/drawing/2014/main" id="{ED9B53AB-0D26-446F-86DF-B23086038533}"/>
                </a:ext>
              </a:extLst>
            </p:cNvPr>
            <p:cNvCxnSpPr>
              <a:cxnSpLocks/>
            </p:cNvCxnSpPr>
            <p:nvPr/>
          </p:nvCxnSpPr>
          <p:spPr>
            <a:xfrm>
              <a:off x="2628900" y="759619"/>
              <a:ext cx="0" cy="3282029"/>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48" name="椭圆 47">
              <a:extLst>
                <a:ext uri="{FF2B5EF4-FFF2-40B4-BE49-F238E27FC236}">
                  <a16:creationId xmlns:a16="http://schemas.microsoft.com/office/drawing/2014/main" id="{45EF9F9B-5629-4878-B50E-23BCDED10738}"/>
                </a:ext>
              </a:extLst>
            </p:cNvPr>
            <p:cNvSpPr/>
            <p:nvPr/>
          </p:nvSpPr>
          <p:spPr>
            <a:xfrm>
              <a:off x="2564606" y="4000499"/>
              <a:ext cx="128588" cy="128588"/>
            </a:xfrm>
            <a:prstGeom prst="ellipse">
              <a:avLst/>
            </a:prstGeom>
            <a:solidFill>
              <a:schemeClr val="bg1"/>
            </a:solidFill>
            <a:ln>
              <a:noFill/>
            </a:ln>
            <a:effectLst>
              <a:outerShdw sx="154000" sy="154000" algn="ctr" rotWithShape="0">
                <a:schemeClr val="bg1">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49" name="文本框 48">
              <a:extLst>
                <a:ext uri="{FF2B5EF4-FFF2-40B4-BE49-F238E27FC236}">
                  <a16:creationId xmlns:a16="http://schemas.microsoft.com/office/drawing/2014/main" id="{1A326CA7-3DCB-4C65-90B5-3F1EBF49ED2B}"/>
                </a:ext>
              </a:extLst>
            </p:cNvPr>
            <p:cNvSpPr txBox="1"/>
            <p:nvPr/>
          </p:nvSpPr>
          <p:spPr>
            <a:xfrm>
              <a:off x="2703206" y="1045479"/>
              <a:ext cx="2236509" cy="600164"/>
            </a:xfrm>
            <a:prstGeom prst="rect">
              <a:avLst/>
            </a:prstGeom>
            <a:noFill/>
          </p:spPr>
          <p:txBody>
            <a:bodyPr wrap="square" rtlCol="0">
              <a:spAutoFit/>
            </a:bodyPr>
            <a:lstStyle/>
            <a:p>
              <a:r>
                <a:rPr lang="en-US" altLang="zh-CN" sz="1100" dirty="0">
                  <a:solidFill>
                    <a:schemeClr val="bg1"/>
                  </a:solidFill>
                </a:rPr>
                <a:t>Lorem ipsum dolor sit amet consectetur adipisicing elit sed do eiusmod tempor</a:t>
              </a:r>
              <a:endParaRPr lang="zh-CN" altLang="en-US" sz="1100" dirty="0">
                <a:solidFill>
                  <a:schemeClr val="bg1"/>
                </a:solidFill>
              </a:endParaRPr>
            </a:p>
          </p:txBody>
        </p:sp>
        <p:sp>
          <p:nvSpPr>
            <p:cNvPr id="50" name="文本框 49">
              <a:extLst>
                <a:ext uri="{FF2B5EF4-FFF2-40B4-BE49-F238E27FC236}">
                  <a16:creationId xmlns:a16="http://schemas.microsoft.com/office/drawing/2014/main" id="{72BBCC4D-4EC2-4068-858F-9E4000439626}"/>
                </a:ext>
              </a:extLst>
            </p:cNvPr>
            <p:cNvSpPr txBox="1"/>
            <p:nvPr/>
          </p:nvSpPr>
          <p:spPr>
            <a:xfrm>
              <a:off x="2703206" y="690240"/>
              <a:ext cx="1467069" cy="400110"/>
            </a:xfrm>
            <a:prstGeom prst="rect">
              <a:avLst/>
            </a:prstGeom>
            <a:noFill/>
          </p:spPr>
          <p:txBody>
            <a:bodyPr wrap="none" rtlCol="0">
              <a:spAutoFit/>
            </a:bodyPr>
            <a:lstStyle/>
            <a:p>
              <a:r>
                <a:rPr lang="zh-CN" altLang="en-US" sz="2000" dirty="0">
                  <a:solidFill>
                    <a:schemeClr val="bg1"/>
                  </a:solidFill>
                  <a:latin typeface="+mj-ea"/>
                  <a:ea typeface="+mj-ea"/>
                </a:rPr>
                <a:t>关键词标题</a:t>
              </a:r>
            </a:p>
          </p:txBody>
        </p:sp>
      </p:grpSp>
      <p:grpSp>
        <p:nvGrpSpPr>
          <p:cNvPr id="51" name="组合 50">
            <a:extLst>
              <a:ext uri="{FF2B5EF4-FFF2-40B4-BE49-F238E27FC236}">
                <a16:creationId xmlns:a16="http://schemas.microsoft.com/office/drawing/2014/main" id="{57F3CFCC-6219-4F11-93B8-37E764A6FFD2}"/>
              </a:ext>
            </a:extLst>
          </p:cNvPr>
          <p:cNvGrpSpPr/>
          <p:nvPr/>
        </p:nvGrpSpPr>
        <p:grpSpPr>
          <a:xfrm>
            <a:off x="6571456" y="3957315"/>
            <a:ext cx="2375109" cy="2308547"/>
            <a:chOff x="2564606" y="1820540"/>
            <a:chExt cx="2375109" cy="2308547"/>
          </a:xfrm>
        </p:grpSpPr>
        <p:cxnSp>
          <p:nvCxnSpPr>
            <p:cNvPr id="52" name="直接连接符 51">
              <a:extLst>
                <a:ext uri="{FF2B5EF4-FFF2-40B4-BE49-F238E27FC236}">
                  <a16:creationId xmlns:a16="http://schemas.microsoft.com/office/drawing/2014/main" id="{6085A387-4427-4110-BD84-1CE71C8E15DF}"/>
                </a:ext>
              </a:extLst>
            </p:cNvPr>
            <p:cNvCxnSpPr>
              <a:cxnSpLocks/>
            </p:cNvCxnSpPr>
            <p:nvPr/>
          </p:nvCxnSpPr>
          <p:spPr>
            <a:xfrm>
              <a:off x="2628900" y="1837944"/>
              <a:ext cx="0" cy="2203704"/>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53" name="椭圆 52">
              <a:extLst>
                <a:ext uri="{FF2B5EF4-FFF2-40B4-BE49-F238E27FC236}">
                  <a16:creationId xmlns:a16="http://schemas.microsoft.com/office/drawing/2014/main" id="{ED073EE5-68FD-4F79-943E-673E240221B9}"/>
                </a:ext>
              </a:extLst>
            </p:cNvPr>
            <p:cNvSpPr/>
            <p:nvPr/>
          </p:nvSpPr>
          <p:spPr>
            <a:xfrm>
              <a:off x="2564606" y="4000499"/>
              <a:ext cx="128588" cy="128588"/>
            </a:xfrm>
            <a:prstGeom prst="ellipse">
              <a:avLst/>
            </a:prstGeom>
            <a:solidFill>
              <a:schemeClr val="bg1"/>
            </a:solidFill>
            <a:ln>
              <a:noFill/>
            </a:ln>
            <a:effectLst>
              <a:outerShdw sx="154000" sy="154000" algn="ctr" rotWithShape="0">
                <a:schemeClr val="bg1">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54" name="文本框 53">
              <a:extLst>
                <a:ext uri="{FF2B5EF4-FFF2-40B4-BE49-F238E27FC236}">
                  <a16:creationId xmlns:a16="http://schemas.microsoft.com/office/drawing/2014/main" id="{A437B273-7146-4A39-A951-BD5BED781F07}"/>
                </a:ext>
              </a:extLst>
            </p:cNvPr>
            <p:cNvSpPr txBox="1"/>
            <p:nvPr/>
          </p:nvSpPr>
          <p:spPr>
            <a:xfrm>
              <a:off x="2703206" y="2175779"/>
              <a:ext cx="2236509" cy="600164"/>
            </a:xfrm>
            <a:prstGeom prst="rect">
              <a:avLst/>
            </a:prstGeom>
            <a:noFill/>
          </p:spPr>
          <p:txBody>
            <a:bodyPr wrap="square" rtlCol="0">
              <a:spAutoFit/>
            </a:bodyPr>
            <a:lstStyle/>
            <a:p>
              <a:r>
                <a:rPr lang="en-US" altLang="zh-CN" sz="1100" dirty="0">
                  <a:solidFill>
                    <a:schemeClr val="bg1"/>
                  </a:solidFill>
                </a:rPr>
                <a:t>Lorem ipsum dolor sit amet consectetur adipisicing elit sed do eiusmod tempor</a:t>
              </a:r>
              <a:endParaRPr lang="zh-CN" altLang="en-US" sz="1100" dirty="0">
                <a:solidFill>
                  <a:schemeClr val="bg1"/>
                </a:solidFill>
              </a:endParaRPr>
            </a:p>
          </p:txBody>
        </p:sp>
        <p:sp>
          <p:nvSpPr>
            <p:cNvPr id="55" name="文本框 54">
              <a:extLst>
                <a:ext uri="{FF2B5EF4-FFF2-40B4-BE49-F238E27FC236}">
                  <a16:creationId xmlns:a16="http://schemas.microsoft.com/office/drawing/2014/main" id="{55358523-F63B-480F-8836-5668BF2F8355}"/>
                </a:ext>
              </a:extLst>
            </p:cNvPr>
            <p:cNvSpPr txBox="1"/>
            <p:nvPr/>
          </p:nvSpPr>
          <p:spPr>
            <a:xfrm>
              <a:off x="2703206" y="1820540"/>
              <a:ext cx="1467069" cy="400110"/>
            </a:xfrm>
            <a:prstGeom prst="rect">
              <a:avLst/>
            </a:prstGeom>
            <a:noFill/>
          </p:spPr>
          <p:txBody>
            <a:bodyPr wrap="none" rtlCol="0">
              <a:spAutoFit/>
            </a:bodyPr>
            <a:lstStyle/>
            <a:p>
              <a:r>
                <a:rPr lang="zh-CN" altLang="en-US" sz="2000" dirty="0">
                  <a:solidFill>
                    <a:schemeClr val="bg1"/>
                  </a:solidFill>
                  <a:latin typeface="+mj-ea"/>
                  <a:ea typeface="+mj-ea"/>
                </a:rPr>
                <a:t>关键词标题</a:t>
              </a:r>
            </a:p>
          </p:txBody>
        </p:sp>
      </p:grpSp>
      <p:grpSp>
        <p:nvGrpSpPr>
          <p:cNvPr id="61" name="组合 60">
            <a:extLst>
              <a:ext uri="{FF2B5EF4-FFF2-40B4-BE49-F238E27FC236}">
                <a16:creationId xmlns:a16="http://schemas.microsoft.com/office/drawing/2014/main" id="{F4486F6E-7F68-4D6B-86C7-DC29202C78E7}"/>
              </a:ext>
            </a:extLst>
          </p:cNvPr>
          <p:cNvGrpSpPr/>
          <p:nvPr/>
        </p:nvGrpSpPr>
        <p:grpSpPr>
          <a:xfrm>
            <a:off x="9174956" y="1785615"/>
            <a:ext cx="2375109" cy="2308547"/>
            <a:chOff x="2564606" y="1820540"/>
            <a:chExt cx="2375109" cy="2308547"/>
          </a:xfrm>
        </p:grpSpPr>
        <p:cxnSp>
          <p:nvCxnSpPr>
            <p:cNvPr id="62" name="直接连接符 61">
              <a:extLst>
                <a:ext uri="{FF2B5EF4-FFF2-40B4-BE49-F238E27FC236}">
                  <a16:creationId xmlns:a16="http://schemas.microsoft.com/office/drawing/2014/main" id="{813F1D73-5D7D-44B7-9DBC-9B6AEFD18805}"/>
                </a:ext>
              </a:extLst>
            </p:cNvPr>
            <p:cNvCxnSpPr>
              <a:cxnSpLocks/>
            </p:cNvCxnSpPr>
            <p:nvPr/>
          </p:nvCxnSpPr>
          <p:spPr>
            <a:xfrm>
              <a:off x="2628900" y="1837944"/>
              <a:ext cx="0" cy="2203704"/>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63" name="椭圆 62">
              <a:extLst>
                <a:ext uri="{FF2B5EF4-FFF2-40B4-BE49-F238E27FC236}">
                  <a16:creationId xmlns:a16="http://schemas.microsoft.com/office/drawing/2014/main" id="{98AA68EF-0CF4-4E20-8D51-04BA786CCF59}"/>
                </a:ext>
              </a:extLst>
            </p:cNvPr>
            <p:cNvSpPr/>
            <p:nvPr/>
          </p:nvSpPr>
          <p:spPr>
            <a:xfrm>
              <a:off x="2564606" y="4000499"/>
              <a:ext cx="128588" cy="128588"/>
            </a:xfrm>
            <a:prstGeom prst="ellipse">
              <a:avLst/>
            </a:prstGeom>
            <a:solidFill>
              <a:schemeClr val="bg1"/>
            </a:solidFill>
            <a:ln>
              <a:noFill/>
            </a:ln>
            <a:effectLst>
              <a:outerShdw sx="154000" sy="154000" algn="ctr" rotWithShape="0">
                <a:schemeClr val="bg1">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64" name="文本框 63">
              <a:extLst>
                <a:ext uri="{FF2B5EF4-FFF2-40B4-BE49-F238E27FC236}">
                  <a16:creationId xmlns:a16="http://schemas.microsoft.com/office/drawing/2014/main" id="{E02456E3-10B1-4D83-B0EE-B0325E75DEC9}"/>
                </a:ext>
              </a:extLst>
            </p:cNvPr>
            <p:cNvSpPr txBox="1"/>
            <p:nvPr/>
          </p:nvSpPr>
          <p:spPr>
            <a:xfrm>
              <a:off x="2703206" y="2175779"/>
              <a:ext cx="2236509" cy="600164"/>
            </a:xfrm>
            <a:prstGeom prst="rect">
              <a:avLst/>
            </a:prstGeom>
            <a:noFill/>
          </p:spPr>
          <p:txBody>
            <a:bodyPr wrap="square" rtlCol="0">
              <a:spAutoFit/>
            </a:bodyPr>
            <a:lstStyle/>
            <a:p>
              <a:r>
                <a:rPr lang="en-US" altLang="zh-CN" sz="1100" dirty="0">
                  <a:solidFill>
                    <a:schemeClr val="bg1"/>
                  </a:solidFill>
                </a:rPr>
                <a:t>Lorem ipsum dolor sit amet consectetur adipisicing elit sed do eiusmod tempor</a:t>
              </a:r>
              <a:endParaRPr lang="zh-CN" altLang="en-US" sz="1100" dirty="0">
                <a:solidFill>
                  <a:schemeClr val="bg1"/>
                </a:solidFill>
              </a:endParaRPr>
            </a:p>
          </p:txBody>
        </p:sp>
        <p:sp>
          <p:nvSpPr>
            <p:cNvPr id="65" name="文本框 64">
              <a:extLst>
                <a:ext uri="{FF2B5EF4-FFF2-40B4-BE49-F238E27FC236}">
                  <a16:creationId xmlns:a16="http://schemas.microsoft.com/office/drawing/2014/main" id="{6269986E-AD78-4F1E-A6E2-FC32D0F290C8}"/>
                </a:ext>
              </a:extLst>
            </p:cNvPr>
            <p:cNvSpPr txBox="1"/>
            <p:nvPr/>
          </p:nvSpPr>
          <p:spPr>
            <a:xfrm>
              <a:off x="2703206" y="1820540"/>
              <a:ext cx="1467069" cy="400110"/>
            </a:xfrm>
            <a:prstGeom prst="rect">
              <a:avLst/>
            </a:prstGeom>
            <a:noFill/>
          </p:spPr>
          <p:txBody>
            <a:bodyPr wrap="none" rtlCol="0">
              <a:spAutoFit/>
            </a:bodyPr>
            <a:lstStyle/>
            <a:p>
              <a:r>
                <a:rPr lang="zh-CN" altLang="en-US" sz="2000" dirty="0">
                  <a:solidFill>
                    <a:schemeClr val="bg1"/>
                  </a:solidFill>
                  <a:latin typeface="+mj-ea"/>
                  <a:ea typeface="+mj-ea"/>
                </a:rPr>
                <a:t>关键词标题</a:t>
              </a:r>
            </a:p>
          </p:txBody>
        </p:sp>
      </p:grpSp>
    </p:spTree>
    <p:extLst>
      <p:ext uri="{BB962C8B-B14F-4D97-AF65-F5344CB8AC3E}">
        <p14:creationId xmlns:p14="http://schemas.microsoft.com/office/powerpoint/2010/main" val="52487733"/>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3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图片 4" descr="山上盖着雪&#10;&#10;描述已自动生成">
            <a:extLst>
              <a:ext uri="{FF2B5EF4-FFF2-40B4-BE49-F238E27FC236}">
                <a16:creationId xmlns:a16="http://schemas.microsoft.com/office/drawing/2014/main" id="{6EC805EF-2C74-4C55-A189-C92A685C34E2}"/>
              </a:ext>
            </a:extLst>
          </p:cNvPr>
          <p:cNvPicPr>
            <a:picLocks noChangeAspect="1"/>
          </p:cNvPicPr>
          <p:nvPr/>
        </p:nvPicPr>
        <p:blipFill rotWithShape="1">
          <a:blip r:embed="rId3">
            <a:extLst>
              <a:ext uri="{28A0092B-C50C-407E-A947-70E740481C1C}">
                <a14:useLocalDpi xmlns:a14="http://schemas.microsoft.com/office/drawing/2010/main" val="0"/>
              </a:ext>
            </a:extLst>
          </a:blip>
          <a:srcRect t="7855" b="7855"/>
          <a:stretch/>
        </p:blipFill>
        <p:spPr>
          <a:xfrm>
            <a:off x="0" y="0"/>
            <a:ext cx="12192000" cy="6858000"/>
          </a:xfrm>
          <a:prstGeom prst="rect">
            <a:avLst/>
          </a:prstGeom>
        </p:spPr>
      </p:pic>
      <p:cxnSp>
        <p:nvCxnSpPr>
          <p:cNvPr id="27" name="直接连接符 26">
            <a:extLst>
              <a:ext uri="{FF2B5EF4-FFF2-40B4-BE49-F238E27FC236}">
                <a16:creationId xmlns:a16="http://schemas.microsoft.com/office/drawing/2014/main" id="{9A065E56-5891-4725-9EC3-328AA503D85D}"/>
              </a:ext>
            </a:extLst>
          </p:cNvPr>
          <p:cNvCxnSpPr>
            <a:cxnSpLocks/>
          </p:cNvCxnSpPr>
          <p:nvPr/>
        </p:nvCxnSpPr>
        <p:spPr>
          <a:xfrm>
            <a:off x="5039997" y="591323"/>
            <a:ext cx="0" cy="2203704"/>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8" name="椭圆 27">
            <a:extLst>
              <a:ext uri="{FF2B5EF4-FFF2-40B4-BE49-F238E27FC236}">
                <a16:creationId xmlns:a16="http://schemas.microsoft.com/office/drawing/2014/main" id="{97B074F5-9A03-4E5D-86D2-B1B15E12476F}"/>
              </a:ext>
            </a:extLst>
          </p:cNvPr>
          <p:cNvSpPr/>
          <p:nvPr/>
        </p:nvSpPr>
        <p:spPr>
          <a:xfrm>
            <a:off x="4975703" y="2753878"/>
            <a:ext cx="128588" cy="128588"/>
          </a:xfrm>
          <a:prstGeom prst="ellipse">
            <a:avLst/>
          </a:prstGeom>
          <a:solidFill>
            <a:schemeClr val="bg1"/>
          </a:solidFill>
          <a:ln>
            <a:noFill/>
          </a:ln>
          <a:effectLst>
            <a:outerShdw sx="154000" sy="154000" algn="ctr" rotWithShape="0">
              <a:schemeClr val="bg1">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400">
              <a:solidFill>
                <a:schemeClr val="bg1"/>
              </a:solidFill>
              <a:latin typeface="+mj-ea"/>
              <a:ea typeface="+mj-ea"/>
            </a:endParaRPr>
          </a:p>
        </p:txBody>
      </p:sp>
      <p:sp>
        <p:nvSpPr>
          <p:cNvPr id="29" name="文本框 28">
            <a:extLst>
              <a:ext uri="{FF2B5EF4-FFF2-40B4-BE49-F238E27FC236}">
                <a16:creationId xmlns:a16="http://schemas.microsoft.com/office/drawing/2014/main" id="{9CC39A80-D073-4BC1-B668-DEA9ED97CB02}"/>
              </a:ext>
            </a:extLst>
          </p:cNvPr>
          <p:cNvSpPr txBox="1"/>
          <p:nvPr/>
        </p:nvSpPr>
        <p:spPr>
          <a:xfrm>
            <a:off x="5057153" y="795808"/>
            <a:ext cx="2236509" cy="577081"/>
          </a:xfrm>
          <a:prstGeom prst="rect">
            <a:avLst/>
          </a:prstGeom>
          <a:noFill/>
        </p:spPr>
        <p:txBody>
          <a:bodyPr wrap="square" rtlCol="0">
            <a:spAutoFit/>
          </a:bodyPr>
          <a:lstStyle/>
          <a:p>
            <a:r>
              <a:rPr lang="en-US" altLang="zh-CN" sz="1050" dirty="0">
                <a:solidFill>
                  <a:schemeClr val="bg1"/>
                </a:solidFill>
              </a:rPr>
              <a:t>Lorem ipsum dolor sit amet consectetur adipisicing elit sed do eiusmod tempor</a:t>
            </a:r>
            <a:endParaRPr lang="zh-CN" altLang="en-US" sz="1050" dirty="0">
              <a:solidFill>
                <a:schemeClr val="bg1"/>
              </a:solidFill>
            </a:endParaRPr>
          </a:p>
        </p:txBody>
      </p:sp>
      <p:sp>
        <p:nvSpPr>
          <p:cNvPr id="30" name="文本框 29">
            <a:extLst>
              <a:ext uri="{FF2B5EF4-FFF2-40B4-BE49-F238E27FC236}">
                <a16:creationId xmlns:a16="http://schemas.microsoft.com/office/drawing/2014/main" id="{751A9FD1-2198-4690-9B73-E948DADCF6EE}"/>
              </a:ext>
            </a:extLst>
          </p:cNvPr>
          <p:cNvSpPr txBox="1"/>
          <p:nvPr/>
        </p:nvSpPr>
        <p:spPr>
          <a:xfrm>
            <a:off x="5057153" y="507244"/>
            <a:ext cx="1338828" cy="369332"/>
          </a:xfrm>
          <a:prstGeom prst="rect">
            <a:avLst/>
          </a:prstGeom>
          <a:noFill/>
        </p:spPr>
        <p:txBody>
          <a:bodyPr wrap="none" rtlCol="0">
            <a:spAutoFit/>
          </a:bodyPr>
          <a:lstStyle/>
          <a:p>
            <a:r>
              <a:rPr lang="zh-CN" altLang="en-US" dirty="0">
                <a:solidFill>
                  <a:schemeClr val="bg1"/>
                </a:solidFill>
                <a:latin typeface="+mj-ea"/>
                <a:ea typeface="+mj-ea"/>
              </a:rPr>
              <a:t>关键词标题</a:t>
            </a:r>
          </a:p>
        </p:txBody>
      </p:sp>
      <p:cxnSp>
        <p:nvCxnSpPr>
          <p:cNvPr id="32" name="直接连接符 31">
            <a:extLst>
              <a:ext uri="{FF2B5EF4-FFF2-40B4-BE49-F238E27FC236}">
                <a16:creationId xmlns:a16="http://schemas.microsoft.com/office/drawing/2014/main" id="{AC3E2373-21CA-4638-8374-98FCCA581089}"/>
              </a:ext>
            </a:extLst>
          </p:cNvPr>
          <p:cNvCxnSpPr>
            <a:cxnSpLocks/>
          </p:cNvCxnSpPr>
          <p:nvPr/>
        </p:nvCxnSpPr>
        <p:spPr>
          <a:xfrm>
            <a:off x="5579052" y="2501498"/>
            <a:ext cx="0" cy="2203704"/>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33" name="椭圆 32">
            <a:extLst>
              <a:ext uri="{FF2B5EF4-FFF2-40B4-BE49-F238E27FC236}">
                <a16:creationId xmlns:a16="http://schemas.microsoft.com/office/drawing/2014/main" id="{5F505155-F7B6-4175-977F-24C92C9F6716}"/>
              </a:ext>
            </a:extLst>
          </p:cNvPr>
          <p:cNvSpPr/>
          <p:nvPr/>
        </p:nvSpPr>
        <p:spPr>
          <a:xfrm>
            <a:off x="5514758" y="4664053"/>
            <a:ext cx="128588" cy="128588"/>
          </a:xfrm>
          <a:prstGeom prst="ellipse">
            <a:avLst/>
          </a:prstGeom>
          <a:solidFill>
            <a:schemeClr val="bg1"/>
          </a:solidFill>
          <a:ln>
            <a:noFill/>
          </a:ln>
          <a:effectLst>
            <a:outerShdw sx="154000" sy="154000" algn="ctr" rotWithShape="0">
              <a:schemeClr val="bg1">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400">
              <a:solidFill>
                <a:schemeClr val="bg1"/>
              </a:solidFill>
              <a:latin typeface="+mj-ea"/>
              <a:ea typeface="+mj-ea"/>
            </a:endParaRPr>
          </a:p>
        </p:txBody>
      </p:sp>
      <p:sp>
        <p:nvSpPr>
          <p:cNvPr id="34" name="文本框 33">
            <a:extLst>
              <a:ext uri="{FF2B5EF4-FFF2-40B4-BE49-F238E27FC236}">
                <a16:creationId xmlns:a16="http://schemas.microsoft.com/office/drawing/2014/main" id="{C840DBB9-3047-4D46-8BE6-2021203C5087}"/>
              </a:ext>
            </a:extLst>
          </p:cNvPr>
          <p:cNvSpPr txBox="1"/>
          <p:nvPr/>
        </p:nvSpPr>
        <p:spPr>
          <a:xfrm>
            <a:off x="5596208" y="2705983"/>
            <a:ext cx="2236509" cy="577081"/>
          </a:xfrm>
          <a:prstGeom prst="rect">
            <a:avLst/>
          </a:prstGeom>
          <a:noFill/>
        </p:spPr>
        <p:txBody>
          <a:bodyPr wrap="square" rtlCol="0">
            <a:spAutoFit/>
          </a:bodyPr>
          <a:lstStyle/>
          <a:p>
            <a:r>
              <a:rPr lang="en-US" altLang="zh-CN" sz="1050" dirty="0">
                <a:solidFill>
                  <a:schemeClr val="bg1"/>
                </a:solidFill>
              </a:rPr>
              <a:t>Lorem ipsum dolor sit amet consectetur adipisicing elit sed do eiusmod tempor</a:t>
            </a:r>
            <a:endParaRPr lang="zh-CN" altLang="en-US" sz="1050" dirty="0">
              <a:solidFill>
                <a:schemeClr val="bg1"/>
              </a:solidFill>
            </a:endParaRPr>
          </a:p>
        </p:txBody>
      </p:sp>
      <p:sp>
        <p:nvSpPr>
          <p:cNvPr id="35" name="文本框 34">
            <a:extLst>
              <a:ext uri="{FF2B5EF4-FFF2-40B4-BE49-F238E27FC236}">
                <a16:creationId xmlns:a16="http://schemas.microsoft.com/office/drawing/2014/main" id="{D4968D4E-8B65-4A3F-80E6-E0D849B8C96F}"/>
              </a:ext>
            </a:extLst>
          </p:cNvPr>
          <p:cNvSpPr txBox="1"/>
          <p:nvPr/>
        </p:nvSpPr>
        <p:spPr>
          <a:xfrm>
            <a:off x="5596208" y="2417419"/>
            <a:ext cx="1338828" cy="369332"/>
          </a:xfrm>
          <a:prstGeom prst="rect">
            <a:avLst/>
          </a:prstGeom>
          <a:noFill/>
        </p:spPr>
        <p:txBody>
          <a:bodyPr wrap="none" rtlCol="0">
            <a:spAutoFit/>
          </a:bodyPr>
          <a:lstStyle/>
          <a:p>
            <a:r>
              <a:rPr lang="zh-CN" altLang="en-US" dirty="0">
                <a:solidFill>
                  <a:schemeClr val="bg1"/>
                </a:solidFill>
                <a:latin typeface="+mj-ea"/>
                <a:ea typeface="+mj-ea"/>
              </a:rPr>
              <a:t>关键词标题</a:t>
            </a:r>
          </a:p>
        </p:txBody>
      </p:sp>
      <p:cxnSp>
        <p:nvCxnSpPr>
          <p:cNvPr id="42" name="直接连接符 41">
            <a:extLst>
              <a:ext uri="{FF2B5EF4-FFF2-40B4-BE49-F238E27FC236}">
                <a16:creationId xmlns:a16="http://schemas.microsoft.com/office/drawing/2014/main" id="{15EE06FF-E2D9-4E21-A8AF-ED9B8669DB77}"/>
              </a:ext>
            </a:extLst>
          </p:cNvPr>
          <p:cNvCxnSpPr>
            <a:cxnSpLocks/>
          </p:cNvCxnSpPr>
          <p:nvPr/>
        </p:nvCxnSpPr>
        <p:spPr>
          <a:xfrm>
            <a:off x="7545072" y="3370204"/>
            <a:ext cx="0" cy="2203704"/>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43" name="椭圆 42">
            <a:extLst>
              <a:ext uri="{FF2B5EF4-FFF2-40B4-BE49-F238E27FC236}">
                <a16:creationId xmlns:a16="http://schemas.microsoft.com/office/drawing/2014/main" id="{074CD85B-D923-4DEC-B406-7982E9112F30}"/>
              </a:ext>
            </a:extLst>
          </p:cNvPr>
          <p:cNvSpPr/>
          <p:nvPr/>
        </p:nvSpPr>
        <p:spPr>
          <a:xfrm>
            <a:off x="7480778" y="5532759"/>
            <a:ext cx="128588" cy="128588"/>
          </a:xfrm>
          <a:prstGeom prst="ellipse">
            <a:avLst/>
          </a:prstGeom>
          <a:solidFill>
            <a:schemeClr val="bg1"/>
          </a:solidFill>
          <a:ln>
            <a:noFill/>
          </a:ln>
          <a:effectLst>
            <a:outerShdw sx="154000" sy="154000" algn="ctr" rotWithShape="0">
              <a:schemeClr val="bg1">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400">
              <a:solidFill>
                <a:schemeClr val="bg1"/>
              </a:solidFill>
              <a:latin typeface="+mj-ea"/>
              <a:ea typeface="+mj-ea"/>
            </a:endParaRPr>
          </a:p>
        </p:txBody>
      </p:sp>
      <p:sp>
        <p:nvSpPr>
          <p:cNvPr id="56" name="文本框 55">
            <a:extLst>
              <a:ext uri="{FF2B5EF4-FFF2-40B4-BE49-F238E27FC236}">
                <a16:creationId xmlns:a16="http://schemas.microsoft.com/office/drawing/2014/main" id="{CD2DFF2C-7CDD-4A71-86CF-BA4A4130330B}"/>
              </a:ext>
            </a:extLst>
          </p:cNvPr>
          <p:cNvSpPr txBox="1"/>
          <p:nvPr/>
        </p:nvSpPr>
        <p:spPr>
          <a:xfrm>
            <a:off x="7562228" y="3574689"/>
            <a:ext cx="2236509" cy="577081"/>
          </a:xfrm>
          <a:prstGeom prst="rect">
            <a:avLst/>
          </a:prstGeom>
          <a:noFill/>
        </p:spPr>
        <p:txBody>
          <a:bodyPr wrap="square" rtlCol="0">
            <a:spAutoFit/>
          </a:bodyPr>
          <a:lstStyle/>
          <a:p>
            <a:r>
              <a:rPr lang="en-US" altLang="zh-CN" sz="1050" dirty="0">
                <a:solidFill>
                  <a:schemeClr val="bg1"/>
                </a:solidFill>
              </a:rPr>
              <a:t>Lorem ipsum dolor sit amet consectetur adipisicing elit sed do eiusmod tempor</a:t>
            </a:r>
            <a:endParaRPr lang="zh-CN" altLang="en-US" sz="1050" dirty="0">
              <a:solidFill>
                <a:schemeClr val="bg1"/>
              </a:solidFill>
            </a:endParaRPr>
          </a:p>
        </p:txBody>
      </p:sp>
      <p:sp>
        <p:nvSpPr>
          <p:cNvPr id="57" name="文本框 56">
            <a:extLst>
              <a:ext uri="{FF2B5EF4-FFF2-40B4-BE49-F238E27FC236}">
                <a16:creationId xmlns:a16="http://schemas.microsoft.com/office/drawing/2014/main" id="{1CC1EC89-CB1E-4C59-BBA5-74B82E264F44}"/>
              </a:ext>
            </a:extLst>
          </p:cNvPr>
          <p:cNvSpPr txBox="1"/>
          <p:nvPr/>
        </p:nvSpPr>
        <p:spPr>
          <a:xfrm>
            <a:off x="7562228" y="3286125"/>
            <a:ext cx="1338828" cy="369332"/>
          </a:xfrm>
          <a:prstGeom prst="rect">
            <a:avLst/>
          </a:prstGeom>
          <a:noFill/>
        </p:spPr>
        <p:txBody>
          <a:bodyPr wrap="none" rtlCol="0">
            <a:spAutoFit/>
          </a:bodyPr>
          <a:lstStyle/>
          <a:p>
            <a:r>
              <a:rPr lang="zh-CN" altLang="en-US" dirty="0">
                <a:solidFill>
                  <a:schemeClr val="bg1"/>
                </a:solidFill>
                <a:latin typeface="+mj-ea"/>
                <a:ea typeface="+mj-ea"/>
              </a:rPr>
              <a:t>关键词标题</a:t>
            </a:r>
          </a:p>
        </p:txBody>
      </p:sp>
      <p:cxnSp>
        <p:nvCxnSpPr>
          <p:cNvPr id="69" name="直接连接符 68">
            <a:extLst>
              <a:ext uri="{FF2B5EF4-FFF2-40B4-BE49-F238E27FC236}">
                <a16:creationId xmlns:a16="http://schemas.microsoft.com/office/drawing/2014/main" id="{F7DBC6EC-3C06-4E47-BD31-445D59FEC0B0}"/>
              </a:ext>
            </a:extLst>
          </p:cNvPr>
          <p:cNvCxnSpPr>
            <a:cxnSpLocks/>
          </p:cNvCxnSpPr>
          <p:nvPr/>
        </p:nvCxnSpPr>
        <p:spPr>
          <a:xfrm>
            <a:off x="9913331" y="4065529"/>
            <a:ext cx="0" cy="2203704"/>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70" name="椭圆 69">
            <a:extLst>
              <a:ext uri="{FF2B5EF4-FFF2-40B4-BE49-F238E27FC236}">
                <a16:creationId xmlns:a16="http://schemas.microsoft.com/office/drawing/2014/main" id="{FF139E4D-C781-48CF-96A5-854C230B1FA0}"/>
              </a:ext>
            </a:extLst>
          </p:cNvPr>
          <p:cNvSpPr/>
          <p:nvPr/>
        </p:nvSpPr>
        <p:spPr>
          <a:xfrm>
            <a:off x="9849037" y="6228084"/>
            <a:ext cx="128588" cy="128588"/>
          </a:xfrm>
          <a:prstGeom prst="ellipse">
            <a:avLst/>
          </a:prstGeom>
          <a:solidFill>
            <a:schemeClr val="bg1"/>
          </a:solidFill>
          <a:ln>
            <a:noFill/>
          </a:ln>
          <a:effectLst>
            <a:outerShdw sx="154000" sy="154000" algn="ctr" rotWithShape="0">
              <a:schemeClr val="bg1">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400">
              <a:solidFill>
                <a:schemeClr val="bg1"/>
              </a:solidFill>
              <a:latin typeface="+mj-ea"/>
              <a:ea typeface="+mj-ea"/>
            </a:endParaRPr>
          </a:p>
        </p:txBody>
      </p:sp>
      <p:sp>
        <p:nvSpPr>
          <p:cNvPr id="71" name="文本框 70">
            <a:extLst>
              <a:ext uri="{FF2B5EF4-FFF2-40B4-BE49-F238E27FC236}">
                <a16:creationId xmlns:a16="http://schemas.microsoft.com/office/drawing/2014/main" id="{4CE8E7CD-2C5F-4899-B108-892AD2CCF821}"/>
              </a:ext>
            </a:extLst>
          </p:cNvPr>
          <p:cNvSpPr txBox="1"/>
          <p:nvPr/>
        </p:nvSpPr>
        <p:spPr>
          <a:xfrm>
            <a:off x="9930487" y="4270014"/>
            <a:ext cx="2236509" cy="577081"/>
          </a:xfrm>
          <a:prstGeom prst="rect">
            <a:avLst/>
          </a:prstGeom>
          <a:noFill/>
        </p:spPr>
        <p:txBody>
          <a:bodyPr wrap="square" rtlCol="0">
            <a:spAutoFit/>
          </a:bodyPr>
          <a:lstStyle/>
          <a:p>
            <a:r>
              <a:rPr lang="en-US" altLang="zh-CN" sz="1050" dirty="0">
                <a:solidFill>
                  <a:schemeClr val="bg1"/>
                </a:solidFill>
              </a:rPr>
              <a:t>Lorem ipsum dolor sit amet consectetur adipisicing elit sed do eiusmod tempor</a:t>
            </a:r>
            <a:endParaRPr lang="zh-CN" altLang="en-US" sz="1050" dirty="0">
              <a:solidFill>
                <a:schemeClr val="bg1"/>
              </a:solidFill>
            </a:endParaRPr>
          </a:p>
        </p:txBody>
      </p:sp>
      <p:sp>
        <p:nvSpPr>
          <p:cNvPr id="72" name="文本框 71">
            <a:extLst>
              <a:ext uri="{FF2B5EF4-FFF2-40B4-BE49-F238E27FC236}">
                <a16:creationId xmlns:a16="http://schemas.microsoft.com/office/drawing/2014/main" id="{E02A84A4-2805-4CDC-8810-092453868A54}"/>
              </a:ext>
            </a:extLst>
          </p:cNvPr>
          <p:cNvSpPr txBox="1"/>
          <p:nvPr/>
        </p:nvSpPr>
        <p:spPr>
          <a:xfrm>
            <a:off x="9930487" y="3981450"/>
            <a:ext cx="1338828" cy="369332"/>
          </a:xfrm>
          <a:prstGeom prst="rect">
            <a:avLst/>
          </a:prstGeom>
          <a:noFill/>
        </p:spPr>
        <p:txBody>
          <a:bodyPr wrap="none" rtlCol="0">
            <a:spAutoFit/>
          </a:bodyPr>
          <a:lstStyle/>
          <a:p>
            <a:r>
              <a:rPr lang="zh-CN" altLang="en-US" dirty="0">
                <a:solidFill>
                  <a:schemeClr val="bg1"/>
                </a:solidFill>
                <a:latin typeface="+mj-ea"/>
                <a:ea typeface="+mj-ea"/>
              </a:rPr>
              <a:t>关键词标题</a:t>
            </a:r>
          </a:p>
        </p:txBody>
      </p:sp>
      <p:sp>
        <p:nvSpPr>
          <p:cNvPr id="73" name="文本框 72">
            <a:extLst>
              <a:ext uri="{FF2B5EF4-FFF2-40B4-BE49-F238E27FC236}">
                <a16:creationId xmlns:a16="http://schemas.microsoft.com/office/drawing/2014/main" id="{5C59DAF8-7F60-4E73-8CCC-C8B51DABF86A}"/>
              </a:ext>
            </a:extLst>
          </p:cNvPr>
          <p:cNvSpPr txBox="1"/>
          <p:nvPr/>
        </p:nvSpPr>
        <p:spPr>
          <a:xfrm>
            <a:off x="860867" y="2316485"/>
            <a:ext cx="2646878" cy="1569660"/>
          </a:xfrm>
          <a:prstGeom prst="rect">
            <a:avLst/>
          </a:prstGeom>
          <a:noFill/>
        </p:spPr>
        <p:txBody>
          <a:bodyPr wrap="none" rtlCol="0">
            <a:spAutoFit/>
          </a:bodyPr>
          <a:lstStyle/>
          <a:p>
            <a:r>
              <a:rPr lang="zh-CN" altLang="en-US" sz="4800" dirty="0">
                <a:solidFill>
                  <a:schemeClr val="bg1"/>
                </a:solidFill>
                <a:latin typeface="+mj-ea"/>
                <a:ea typeface="+mj-ea"/>
              </a:rPr>
              <a:t>公司发展</a:t>
            </a:r>
            <a:endParaRPr lang="en-US" altLang="zh-CN" sz="4800" dirty="0">
              <a:solidFill>
                <a:schemeClr val="bg1"/>
              </a:solidFill>
              <a:latin typeface="+mj-ea"/>
              <a:ea typeface="+mj-ea"/>
            </a:endParaRPr>
          </a:p>
          <a:p>
            <a:r>
              <a:rPr lang="zh-CN" altLang="en-US" sz="4800" dirty="0">
                <a:solidFill>
                  <a:schemeClr val="bg1"/>
                </a:solidFill>
                <a:latin typeface="+mj-ea"/>
                <a:ea typeface="+mj-ea"/>
              </a:rPr>
              <a:t>大事记</a:t>
            </a:r>
          </a:p>
        </p:txBody>
      </p:sp>
      <p:sp>
        <p:nvSpPr>
          <p:cNvPr id="9" name="矩形 8">
            <a:extLst>
              <a:ext uri="{FF2B5EF4-FFF2-40B4-BE49-F238E27FC236}">
                <a16:creationId xmlns:a16="http://schemas.microsoft.com/office/drawing/2014/main" id="{D2FF9422-0878-44FE-9658-B7E05994669A}"/>
              </a:ext>
            </a:extLst>
          </p:cNvPr>
          <p:cNvSpPr/>
          <p:nvPr/>
        </p:nvSpPr>
        <p:spPr>
          <a:xfrm>
            <a:off x="983457" y="3962400"/>
            <a:ext cx="826293"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Tree>
    <p:extLst>
      <p:ext uri="{BB962C8B-B14F-4D97-AF65-F5344CB8AC3E}">
        <p14:creationId xmlns:p14="http://schemas.microsoft.com/office/powerpoint/2010/main" val="2068702361"/>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3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图片 2" descr="图片包含 室内, 地毯, 躺, 蛋糕&#10;&#10;描述已自动生成">
            <a:extLst>
              <a:ext uri="{FF2B5EF4-FFF2-40B4-BE49-F238E27FC236}">
                <a16:creationId xmlns:a16="http://schemas.microsoft.com/office/drawing/2014/main" id="{1BF139BF-DA88-4BB2-9406-888E9355F51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3" name="矩形 22">
            <a:extLst>
              <a:ext uri="{FF2B5EF4-FFF2-40B4-BE49-F238E27FC236}">
                <a16:creationId xmlns:a16="http://schemas.microsoft.com/office/drawing/2014/main" id="{CF8169C4-4E2B-4D4E-8968-39344A31A71D}"/>
              </a:ext>
            </a:extLst>
          </p:cNvPr>
          <p:cNvSpPr/>
          <p:nvPr/>
        </p:nvSpPr>
        <p:spPr>
          <a:xfrm>
            <a:off x="0" y="0"/>
            <a:ext cx="12192000" cy="6858000"/>
          </a:xfrm>
          <a:prstGeom prst="rect">
            <a:avLst/>
          </a:prstGeom>
          <a:solidFill>
            <a:schemeClr val="accent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6" name="任意多边形: 形状 5">
            <a:extLst>
              <a:ext uri="{FF2B5EF4-FFF2-40B4-BE49-F238E27FC236}">
                <a16:creationId xmlns:a16="http://schemas.microsoft.com/office/drawing/2014/main" id="{19E79E93-E324-4FAB-90A6-80CF930D6ADA}"/>
              </a:ext>
            </a:extLst>
          </p:cNvPr>
          <p:cNvSpPr/>
          <p:nvPr/>
        </p:nvSpPr>
        <p:spPr>
          <a:xfrm>
            <a:off x="0" y="-85725"/>
            <a:ext cx="11868150" cy="6657975"/>
          </a:xfrm>
          <a:custGeom>
            <a:avLst/>
            <a:gdLst>
              <a:gd name="connsiteX0" fmla="*/ 0 w 11868150"/>
              <a:gd name="connsiteY0" fmla="*/ 6657975 h 6657975"/>
              <a:gd name="connsiteX1" fmla="*/ 4648200 w 11868150"/>
              <a:gd name="connsiteY1" fmla="*/ 5895975 h 6657975"/>
              <a:gd name="connsiteX2" fmla="*/ 8382000 w 11868150"/>
              <a:gd name="connsiteY2" fmla="*/ 5362575 h 6657975"/>
              <a:gd name="connsiteX3" fmla="*/ 9972675 w 11868150"/>
              <a:gd name="connsiteY3" fmla="*/ 4171950 h 6657975"/>
              <a:gd name="connsiteX4" fmla="*/ 8296275 w 11868150"/>
              <a:gd name="connsiteY4" fmla="*/ 3514725 h 6657975"/>
              <a:gd name="connsiteX5" fmla="*/ 4743450 w 11868150"/>
              <a:gd name="connsiteY5" fmla="*/ 4010025 h 6657975"/>
              <a:gd name="connsiteX6" fmla="*/ 2857500 w 11868150"/>
              <a:gd name="connsiteY6" fmla="*/ 3676650 h 6657975"/>
              <a:gd name="connsiteX7" fmla="*/ 2190750 w 11868150"/>
              <a:gd name="connsiteY7" fmla="*/ 2724150 h 6657975"/>
              <a:gd name="connsiteX8" fmla="*/ 3533775 w 11868150"/>
              <a:gd name="connsiteY8" fmla="*/ 1704975 h 6657975"/>
              <a:gd name="connsiteX9" fmla="*/ 6191250 w 11868150"/>
              <a:gd name="connsiteY9" fmla="*/ 1571625 h 6657975"/>
              <a:gd name="connsiteX10" fmla="*/ 8924925 w 11868150"/>
              <a:gd name="connsiteY10" fmla="*/ 1228725 h 6657975"/>
              <a:gd name="connsiteX11" fmla="*/ 11868150 w 11868150"/>
              <a:gd name="connsiteY11" fmla="*/ 0 h 6657975"/>
              <a:gd name="connsiteX0" fmla="*/ 0 w 11868150"/>
              <a:gd name="connsiteY0" fmla="*/ 6657975 h 6657975"/>
              <a:gd name="connsiteX1" fmla="*/ 4648200 w 11868150"/>
              <a:gd name="connsiteY1" fmla="*/ 5895975 h 6657975"/>
              <a:gd name="connsiteX2" fmla="*/ 8382000 w 11868150"/>
              <a:gd name="connsiteY2" fmla="*/ 5362575 h 6657975"/>
              <a:gd name="connsiteX3" fmla="*/ 9972675 w 11868150"/>
              <a:gd name="connsiteY3" fmla="*/ 4171950 h 6657975"/>
              <a:gd name="connsiteX4" fmla="*/ 8296275 w 11868150"/>
              <a:gd name="connsiteY4" fmla="*/ 3514725 h 6657975"/>
              <a:gd name="connsiteX5" fmla="*/ 4743450 w 11868150"/>
              <a:gd name="connsiteY5" fmla="*/ 4010025 h 6657975"/>
              <a:gd name="connsiteX6" fmla="*/ 2857500 w 11868150"/>
              <a:gd name="connsiteY6" fmla="*/ 3676650 h 6657975"/>
              <a:gd name="connsiteX7" fmla="*/ 2190750 w 11868150"/>
              <a:gd name="connsiteY7" fmla="*/ 2724150 h 6657975"/>
              <a:gd name="connsiteX8" fmla="*/ 3533775 w 11868150"/>
              <a:gd name="connsiteY8" fmla="*/ 1704975 h 6657975"/>
              <a:gd name="connsiteX9" fmla="*/ 6191250 w 11868150"/>
              <a:gd name="connsiteY9" fmla="*/ 1571625 h 6657975"/>
              <a:gd name="connsiteX10" fmla="*/ 8924925 w 11868150"/>
              <a:gd name="connsiteY10" fmla="*/ 1228725 h 6657975"/>
              <a:gd name="connsiteX11" fmla="*/ 11868150 w 11868150"/>
              <a:gd name="connsiteY11" fmla="*/ 0 h 6657975"/>
              <a:gd name="connsiteX0" fmla="*/ 0 w 11868150"/>
              <a:gd name="connsiteY0" fmla="*/ 6657975 h 6657975"/>
              <a:gd name="connsiteX1" fmla="*/ 4648200 w 11868150"/>
              <a:gd name="connsiteY1" fmla="*/ 5895975 h 6657975"/>
              <a:gd name="connsiteX2" fmla="*/ 8382000 w 11868150"/>
              <a:gd name="connsiteY2" fmla="*/ 5362575 h 6657975"/>
              <a:gd name="connsiteX3" fmla="*/ 9972675 w 11868150"/>
              <a:gd name="connsiteY3" fmla="*/ 4171950 h 6657975"/>
              <a:gd name="connsiteX4" fmla="*/ 8296275 w 11868150"/>
              <a:gd name="connsiteY4" fmla="*/ 3514725 h 6657975"/>
              <a:gd name="connsiteX5" fmla="*/ 4743450 w 11868150"/>
              <a:gd name="connsiteY5" fmla="*/ 4010025 h 6657975"/>
              <a:gd name="connsiteX6" fmla="*/ 2857500 w 11868150"/>
              <a:gd name="connsiteY6" fmla="*/ 3676650 h 6657975"/>
              <a:gd name="connsiteX7" fmla="*/ 2190750 w 11868150"/>
              <a:gd name="connsiteY7" fmla="*/ 2724150 h 6657975"/>
              <a:gd name="connsiteX8" fmla="*/ 3533775 w 11868150"/>
              <a:gd name="connsiteY8" fmla="*/ 1704975 h 6657975"/>
              <a:gd name="connsiteX9" fmla="*/ 6191250 w 11868150"/>
              <a:gd name="connsiteY9" fmla="*/ 1571625 h 6657975"/>
              <a:gd name="connsiteX10" fmla="*/ 8924925 w 11868150"/>
              <a:gd name="connsiteY10" fmla="*/ 1228725 h 6657975"/>
              <a:gd name="connsiteX11" fmla="*/ 11868150 w 11868150"/>
              <a:gd name="connsiteY11" fmla="*/ 0 h 6657975"/>
              <a:gd name="connsiteX0" fmla="*/ 0 w 11868150"/>
              <a:gd name="connsiteY0" fmla="*/ 6657975 h 6657975"/>
              <a:gd name="connsiteX1" fmla="*/ 4648200 w 11868150"/>
              <a:gd name="connsiteY1" fmla="*/ 5895975 h 6657975"/>
              <a:gd name="connsiteX2" fmla="*/ 8382000 w 11868150"/>
              <a:gd name="connsiteY2" fmla="*/ 5362575 h 6657975"/>
              <a:gd name="connsiteX3" fmla="*/ 9972675 w 11868150"/>
              <a:gd name="connsiteY3" fmla="*/ 4171950 h 6657975"/>
              <a:gd name="connsiteX4" fmla="*/ 7968615 w 11868150"/>
              <a:gd name="connsiteY4" fmla="*/ 3552825 h 6657975"/>
              <a:gd name="connsiteX5" fmla="*/ 4743450 w 11868150"/>
              <a:gd name="connsiteY5" fmla="*/ 4010025 h 6657975"/>
              <a:gd name="connsiteX6" fmla="*/ 2857500 w 11868150"/>
              <a:gd name="connsiteY6" fmla="*/ 3676650 h 6657975"/>
              <a:gd name="connsiteX7" fmla="*/ 2190750 w 11868150"/>
              <a:gd name="connsiteY7" fmla="*/ 2724150 h 6657975"/>
              <a:gd name="connsiteX8" fmla="*/ 3533775 w 11868150"/>
              <a:gd name="connsiteY8" fmla="*/ 1704975 h 6657975"/>
              <a:gd name="connsiteX9" fmla="*/ 6191250 w 11868150"/>
              <a:gd name="connsiteY9" fmla="*/ 1571625 h 6657975"/>
              <a:gd name="connsiteX10" fmla="*/ 8924925 w 11868150"/>
              <a:gd name="connsiteY10" fmla="*/ 1228725 h 6657975"/>
              <a:gd name="connsiteX11" fmla="*/ 11868150 w 11868150"/>
              <a:gd name="connsiteY11" fmla="*/ 0 h 6657975"/>
              <a:gd name="connsiteX0" fmla="*/ 0 w 11868150"/>
              <a:gd name="connsiteY0" fmla="*/ 6657975 h 6657975"/>
              <a:gd name="connsiteX1" fmla="*/ 4648200 w 11868150"/>
              <a:gd name="connsiteY1" fmla="*/ 5895975 h 6657975"/>
              <a:gd name="connsiteX2" fmla="*/ 8382000 w 11868150"/>
              <a:gd name="connsiteY2" fmla="*/ 5362575 h 6657975"/>
              <a:gd name="connsiteX3" fmla="*/ 9972675 w 11868150"/>
              <a:gd name="connsiteY3" fmla="*/ 4171950 h 6657975"/>
              <a:gd name="connsiteX4" fmla="*/ 7968615 w 11868150"/>
              <a:gd name="connsiteY4" fmla="*/ 3552825 h 6657975"/>
              <a:gd name="connsiteX5" fmla="*/ 4743450 w 11868150"/>
              <a:gd name="connsiteY5" fmla="*/ 4010025 h 6657975"/>
              <a:gd name="connsiteX6" fmla="*/ 2857500 w 11868150"/>
              <a:gd name="connsiteY6" fmla="*/ 3676650 h 6657975"/>
              <a:gd name="connsiteX7" fmla="*/ 2190750 w 11868150"/>
              <a:gd name="connsiteY7" fmla="*/ 2724150 h 6657975"/>
              <a:gd name="connsiteX8" fmla="*/ 3533775 w 11868150"/>
              <a:gd name="connsiteY8" fmla="*/ 1704975 h 6657975"/>
              <a:gd name="connsiteX9" fmla="*/ 6191250 w 11868150"/>
              <a:gd name="connsiteY9" fmla="*/ 1571625 h 6657975"/>
              <a:gd name="connsiteX10" fmla="*/ 8924925 w 11868150"/>
              <a:gd name="connsiteY10" fmla="*/ 1228725 h 6657975"/>
              <a:gd name="connsiteX11" fmla="*/ 11868150 w 11868150"/>
              <a:gd name="connsiteY11" fmla="*/ 0 h 6657975"/>
              <a:gd name="connsiteX0" fmla="*/ 0 w 11868150"/>
              <a:gd name="connsiteY0" fmla="*/ 6657975 h 6657975"/>
              <a:gd name="connsiteX1" fmla="*/ 4648200 w 11868150"/>
              <a:gd name="connsiteY1" fmla="*/ 5895975 h 6657975"/>
              <a:gd name="connsiteX2" fmla="*/ 8382000 w 11868150"/>
              <a:gd name="connsiteY2" fmla="*/ 5362575 h 6657975"/>
              <a:gd name="connsiteX3" fmla="*/ 9972675 w 11868150"/>
              <a:gd name="connsiteY3" fmla="*/ 4171950 h 6657975"/>
              <a:gd name="connsiteX4" fmla="*/ 7968615 w 11868150"/>
              <a:gd name="connsiteY4" fmla="*/ 3552825 h 6657975"/>
              <a:gd name="connsiteX5" fmla="*/ 4743450 w 11868150"/>
              <a:gd name="connsiteY5" fmla="*/ 4010025 h 6657975"/>
              <a:gd name="connsiteX6" fmla="*/ 2857500 w 11868150"/>
              <a:gd name="connsiteY6" fmla="*/ 3676650 h 6657975"/>
              <a:gd name="connsiteX7" fmla="*/ 2190750 w 11868150"/>
              <a:gd name="connsiteY7" fmla="*/ 2724150 h 6657975"/>
              <a:gd name="connsiteX8" fmla="*/ 3533775 w 11868150"/>
              <a:gd name="connsiteY8" fmla="*/ 1704975 h 6657975"/>
              <a:gd name="connsiteX9" fmla="*/ 6191250 w 11868150"/>
              <a:gd name="connsiteY9" fmla="*/ 1571625 h 6657975"/>
              <a:gd name="connsiteX10" fmla="*/ 8924925 w 11868150"/>
              <a:gd name="connsiteY10" fmla="*/ 1228725 h 6657975"/>
              <a:gd name="connsiteX11" fmla="*/ 11868150 w 11868150"/>
              <a:gd name="connsiteY11" fmla="*/ 0 h 6657975"/>
              <a:gd name="connsiteX0" fmla="*/ 0 w 11868150"/>
              <a:gd name="connsiteY0" fmla="*/ 6657975 h 6657975"/>
              <a:gd name="connsiteX1" fmla="*/ 4648200 w 11868150"/>
              <a:gd name="connsiteY1" fmla="*/ 5895975 h 6657975"/>
              <a:gd name="connsiteX2" fmla="*/ 8382000 w 11868150"/>
              <a:gd name="connsiteY2" fmla="*/ 5362575 h 6657975"/>
              <a:gd name="connsiteX3" fmla="*/ 9972675 w 11868150"/>
              <a:gd name="connsiteY3" fmla="*/ 4171950 h 6657975"/>
              <a:gd name="connsiteX4" fmla="*/ 7968615 w 11868150"/>
              <a:gd name="connsiteY4" fmla="*/ 3552825 h 6657975"/>
              <a:gd name="connsiteX5" fmla="*/ 4743450 w 11868150"/>
              <a:gd name="connsiteY5" fmla="*/ 4010025 h 6657975"/>
              <a:gd name="connsiteX6" fmla="*/ 2857500 w 11868150"/>
              <a:gd name="connsiteY6" fmla="*/ 3676650 h 6657975"/>
              <a:gd name="connsiteX7" fmla="*/ 2198370 w 11868150"/>
              <a:gd name="connsiteY7" fmla="*/ 2586990 h 6657975"/>
              <a:gd name="connsiteX8" fmla="*/ 3533775 w 11868150"/>
              <a:gd name="connsiteY8" fmla="*/ 1704975 h 6657975"/>
              <a:gd name="connsiteX9" fmla="*/ 6191250 w 11868150"/>
              <a:gd name="connsiteY9" fmla="*/ 1571625 h 6657975"/>
              <a:gd name="connsiteX10" fmla="*/ 8924925 w 11868150"/>
              <a:gd name="connsiteY10" fmla="*/ 1228725 h 6657975"/>
              <a:gd name="connsiteX11" fmla="*/ 11868150 w 11868150"/>
              <a:gd name="connsiteY11" fmla="*/ 0 h 6657975"/>
              <a:gd name="connsiteX0" fmla="*/ 0 w 11868150"/>
              <a:gd name="connsiteY0" fmla="*/ 6657975 h 6657975"/>
              <a:gd name="connsiteX1" fmla="*/ 4648200 w 11868150"/>
              <a:gd name="connsiteY1" fmla="*/ 5895975 h 6657975"/>
              <a:gd name="connsiteX2" fmla="*/ 8382000 w 11868150"/>
              <a:gd name="connsiteY2" fmla="*/ 5362575 h 6657975"/>
              <a:gd name="connsiteX3" fmla="*/ 9972675 w 11868150"/>
              <a:gd name="connsiteY3" fmla="*/ 4171950 h 6657975"/>
              <a:gd name="connsiteX4" fmla="*/ 7968615 w 11868150"/>
              <a:gd name="connsiteY4" fmla="*/ 3552825 h 6657975"/>
              <a:gd name="connsiteX5" fmla="*/ 4743450 w 11868150"/>
              <a:gd name="connsiteY5" fmla="*/ 4010025 h 6657975"/>
              <a:gd name="connsiteX6" fmla="*/ 2857500 w 11868150"/>
              <a:gd name="connsiteY6" fmla="*/ 3676650 h 6657975"/>
              <a:gd name="connsiteX7" fmla="*/ 2198370 w 11868150"/>
              <a:gd name="connsiteY7" fmla="*/ 2586990 h 6657975"/>
              <a:gd name="connsiteX8" fmla="*/ 3533775 w 11868150"/>
              <a:gd name="connsiteY8" fmla="*/ 1704975 h 6657975"/>
              <a:gd name="connsiteX9" fmla="*/ 6191250 w 11868150"/>
              <a:gd name="connsiteY9" fmla="*/ 1571625 h 6657975"/>
              <a:gd name="connsiteX10" fmla="*/ 8924925 w 11868150"/>
              <a:gd name="connsiteY10" fmla="*/ 1228725 h 6657975"/>
              <a:gd name="connsiteX11" fmla="*/ 11868150 w 11868150"/>
              <a:gd name="connsiteY11" fmla="*/ 0 h 6657975"/>
              <a:gd name="connsiteX0" fmla="*/ 0 w 11868150"/>
              <a:gd name="connsiteY0" fmla="*/ 6657975 h 6657975"/>
              <a:gd name="connsiteX1" fmla="*/ 4648200 w 11868150"/>
              <a:gd name="connsiteY1" fmla="*/ 5895975 h 6657975"/>
              <a:gd name="connsiteX2" fmla="*/ 8382000 w 11868150"/>
              <a:gd name="connsiteY2" fmla="*/ 5362575 h 6657975"/>
              <a:gd name="connsiteX3" fmla="*/ 9972675 w 11868150"/>
              <a:gd name="connsiteY3" fmla="*/ 4171950 h 6657975"/>
              <a:gd name="connsiteX4" fmla="*/ 7968615 w 11868150"/>
              <a:gd name="connsiteY4" fmla="*/ 3552825 h 6657975"/>
              <a:gd name="connsiteX5" fmla="*/ 4743450 w 11868150"/>
              <a:gd name="connsiteY5" fmla="*/ 4010025 h 6657975"/>
              <a:gd name="connsiteX6" fmla="*/ 2857500 w 11868150"/>
              <a:gd name="connsiteY6" fmla="*/ 3676650 h 6657975"/>
              <a:gd name="connsiteX7" fmla="*/ 2198370 w 11868150"/>
              <a:gd name="connsiteY7" fmla="*/ 2655570 h 6657975"/>
              <a:gd name="connsiteX8" fmla="*/ 3533775 w 11868150"/>
              <a:gd name="connsiteY8" fmla="*/ 1704975 h 6657975"/>
              <a:gd name="connsiteX9" fmla="*/ 6191250 w 11868150"/>
              <a:gd name="connsiteY9" fmla="*/ 1571625 h 6657975"/>
              <a:gd name="connsiteX10" fmla="*/ 8924925 w 11868150"/>
              <a:gd name="connsiteY10" fmla="*/ 1228725 h 6657975"/>
              <a:gd name="connsiteX11" fmla="*/ 11868150 w 11868150"/>
              <a:gd name="connsiteY11" fmla="*/ 0 h 6657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68150" h="6657975">
                <a:moveTo>
                  <a:pt x="0" y="6657975"/>
                </a:moveTo>
                <a:lnTo>
                  <a:pt x="4648200" y="5895975"/>
                </a:lnTo>
                <a:cubicBezTo>
                  <a:pt x="6045200" y="5680075"/>
                  <a:pt x="7494588" y="5649912"/>
                  <a:pt x="8382000" y="5362575"/>
                </a:cubicBezTo>
                <a:cubicBezTo>
                  <a:pt x="9269412" y="5075238"/>
                  <a:pt x="10041572" y="4770755"/>
                  <a:pt x="9972675" y="4171950"/>
                </a:cubicBezTo>
                <a:cubicBezTo>
                  <a:pt x="9903778" y="3573145"/>
                  <a:pt x="8817293" y="3518852"/>
                  <a:pt x="7968615" y="3552825"/>
                </a:cubicBezTo>
                <a:cubicBezTo>
                  <a:pt x="7119937" y="3586798"/>
                  <a:pt x="5595302" y="3989388"/>
                  <a:pt x="4743450" y="4010025"/>
                </a:cubicBezTo>
                <a:cubicBezTo>
                  <a:pt x="3891598" y="4030662"/>
                  <a:pt x="3281680" y="3902393"/>
                  <a:pt x="2857500" y="3676650"/>
                </a:cubicBezTo>
                <a:cubicBezTo>
                  <a:pt x="2433320" y="3450907"/>
                  <a:pt x="2131377" y="3083243"/>
                  <a:pt x="2198370" y="2655570"/>
                </a:cubicBezTo>
                <a:cubicBezTo>
                  <a:pt x="2265363" y="2227897"/>
                  <a:pt x="2868295" y="1885633"/>
                  <a:pt x="3533775" y="1704975"/>
                </a:cubicBezTo>
                <a:cubicBezTo>
                  <a:pt x="4199255" y="1524318"/>
                  <a:pt x="5292725" y="1651000"/>
                  <a:pt x="6191250" y="1571625"/>
                </a:cubicBezTo>
                <a:cubicBezTo>
                  <a:pt x="7089775" y="1492250"/>
                  <a:pt x="7978775" y="1490662"/>
                  <a:pt x="8924925" y="1228725"/>
                </a:cubicBezTo>
                <a:cubicBezTo>
                  <a:pt x="9871075" y="966788"/>
                  <a:pt x="10869612" y="483394"/>
                  <a:pt x="11868150" y="0"/>
                </a:cubicBez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24" name="组合 23">
            <a:extLst>
              <a:ext uri="{FF2B5EF4-FFF2-40B4-BE49-F238E27FC236}">
                <a16:creationId xmlns:a16="http://schemas.microsoft.com/office/drawing/2014/main" id="{03A39BF8-97D0-445C-90EE-9A77EE9209A7}"/>
              </a:ext>
            </a:extLst>
          </p:cNvPr>
          <p:cNvGrpSpPr/>
          <p:nvPr/>
        </p:nvGrpSpPr>
        <p:grpSpPr>
          <a:xfrm>
            <a:off x="308453" y="4241044"/>
            <a:ext cx="2375109" cy="2308547"/>
            <a:chOff x="2564606" y="1820540"/>
            <a:chExt cx="2375109" cy="2308547"/>
          </a:xfrm>
        </p:grpSpPr>
        <p:cxnSp>
          <p:nvCxnSpPr>
            <p:cNvPr id="25" name="直接连接符 24">
              <a:extLst>
                <a:ext uri="{FF2B5EF4-FFF2-40B4-BE49-F238E27FC236}">
                  <a16:creationId xmlns:a16="http://schemas.microsoft.com/office/drawing/2014/main" id="{01C1C108-299B-4C4A-8C6E-972B2E58A12B}"/>
                </a:ext>
              </a:extLst>
            </p:cNvPr>
            <p:cNvCxnSpPr>
              <a:cxnSpLocks/>
            </p:cNvCxnSpPr>
            <p:nvPr/>
          </p:nvCxnSpPr>
          <p:spPr>
            <a:xfrm>
              <a:off x="2628900" y="1837944"/>
              <a:ext cx="0" cy="2203704"/>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6" name="椭圆 25">
              <a:extLst>
                <a:ext uri="{FF2B5EF4-FFF2-40B4-BE49-F238E27FC236}">
                  <a16:creationId xmlns:a16="http://schemas.microsoft.com/office/drawing/2014/main" id="{5A0E51CA-7ED7-4A48-B627-E0F4448B19F6}"/>
                </a:ext>
              </a:extLst>
            </p:cNvPr>
            <p:cNvSpPr/>
            <p:nvPr/>
          </p:nvSpPr>
          <p:spPr>
            <a:xfrm>
              <a:off x="2564606" y="4000499"/>
              <a:ext cx="128588" cy="128588"/>
            </a:xfrm>
            <a:prstGeom prst="ellipse">
              <a:avLst/>
            </a:prstGeom>
            <a:solidFill>
              <a:schemeClr val="bg1"/>
            </a:solidFill>
            <a:ln>
              <a:noFill/>
            </a:ln>
            <a:effectLst>
              <a:outerShdw sx="154000" sy="154000" algn="ctr" rotWithShape="0">
                <a:schemeClr val="bg1">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31" name="文本框 30">
              <a:extLst>
                <a:ext uri="{FF2B5EF4-FFF2-40B4-BE49-F238E27FC236}">
                  <a16:creationId xmlns:a16="http://schemas.microsoft.com/office/drawing/2014/main" id="{FAC9A24B-7547-4E15-AADC-6A87D252CD63}"/>
                </a:ext>
              </a:extLst>
            </p:cNvPr>
            <p:cNvSpPr txBox="1"/>
            <p:nvPr/>
          </p:nvSpPr>
          <p:spPr>
            <a:xfrm>
              <a:off x="2703206" y="2175779"/>
              <a:ext cx="2236509" cy="600164"/>
            </a:xfrm>
            <a:prstGeom prst="rect">
              <a:avLst/>
            </a:prstGeom>
            <a:noFill/>
          </p:spPr>
          <p:txBody>
            <a:bodyPr wrap="square" rtlCol="0">
              <a:spAutoFit/>
            </a:bodyPr>
            <a:lstStyle/>
            <a:p>
              <a:r>
                <a:rPr lang="en-US" altLang="zh-CN" sz="1100" dirty="0">
                  <a:solidFill>
                    <a:schemeClr val="bg1"/>
                  </a:solidFill>
                </a:rPr>
                <a:t>Lorem ipsum dolor sit amet consectetur adipisicing elit sed do eiusmod tempor</a:t>
              </a:r>
              <a:endParaRPr lang="zh-CN" altLang="en-US" sz="1100" dirty="0">
                <a:solidFill>
                  <a:schemeClr val="bg1"/>
                </a:solidFill>
              </a:endParaRPr>
            </a:p>
          </p:txBody>
        </p:sp>
        <p:sp>
          <p:nvSpPr>
            <p:cNvPr id="36" name="文本框 35">
              <a:extLst>
                <a:ext uri="{FF2B5EF4-FFF2-40B4-BE49-F238E27FC236}">
                  <a16:creationId xmlns:a16="http://schemas.microsoft.com/office/drawing/2014/main" id="{7A4CCC17-BA22-4D4A-8F5E-CC32A5CE81A2}"/>
                </a:ext>
              </a:extLst>
            </p:cNvPr>
            <p:cNvSpPr txBox="1"/>
            <p:nvPr/>
          </p:nvSpPr>
          <p:spPr>
            <a:xfrm>
              <a:off x="2703206" y="1820540"/>
              <a:ext cx="1467069" cy="400110"/>
            </a:xfrm>
            <a:prstGeom prst="rect">
              <a:avLst/>
            </a:prstGeom>
            <a:noFill/>
          </p:spPr>
          <p:txBody>
            <a:bodyPr wrap="none" rtlCol="0">
              <a:spAutoFit/>
            </a:bodyPr>
            <a:lstStyle/>
            <a:p>
              <a:r>
                <a:rPr lang="zh-CN" altLang="en-US" sz="2000" dirty="0">
                  <a:solidFill>
                    <a:schemeClr val="bg1"/>
                  </a:solidFill>
                  <a:latin typeface="+mj-ea"/>
                  <a:ea typeface="+mj-ea"/>
                </a:rPr>
                <a:t>关键词标题</a:t>
              </a:r>
            </a:p>
          </p:txBody>
        </p:sp>
      </p:grpSp>
      <p:grpSp>
        <p:nvGrpSpPr>
          <p:cNvPr id="37" name="组合 36">
            <a:extLst>
              <a:ext uri="{FF2B5EF4-FFF2-40B4-BE49-F238E27FC236}">
                <a16:creationId xmlns:a16="http://schemas.microsoft.com/office/drawing/2014/main" id="{112C52CB-2939-4E26-896B-78C469DE8088}"/>
              </a:ext>
            </a:extLst>
          </p:cNvPr>
          <p:cNvGrpSpPr/>
          <p:nvPr/>
        </p:nvGrpSpPr>
        <p:grpSpPr>
          <a:xfrm>
            <a:off x="4356578" y="2656991"/>
            <a:ext cx="2375109" cy="3263950"/>
            <a:chOff x="2564606" y="865137"/>
            <a:chExt cx="2375109" cy="3263950"/>
          </a:xfrm>
        </p:grpSpPr>
        <p:cxnSp>
          <p:nvCxnSpPr>
            <p:cNvPr id="38" name="直接连接符 37">
              <a:extLst>
                <a:ext uri="{FF2B5EF4-FFF2-40B4-BE49-F238E27FC236}">
                  <a16:creationId xmlns:a16="http://schemas.microsoft.com/office/drawing/2014/main" id="{0D68B815-401A-4D64-BBC2-581FCC770ED8}"/>
                </a:ext>
              </a:extLst>
            </p:cNvPr>
            <p:cNvCxnSpPr>
              <a:cxnSpLocks/>
            </p:cNvCxnSpPr>
            <p:nvPr/>
          </p:nvCxnSpPr>
          <p:spPr>
            <a:xfrm>
              <a:off x="2628900" y="941821"/>
              <a:ext cx="0" cy="3099827"/>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39" name="椭圆 38">
              <a:extLst>
                <a:ext uri="{FF2B5EF4-FFF2-40B4-BE49-F238E27FC236}">
                  <a16:creationId xmlns:a16="http://schemas.microsoft.com/office/drawing/2014/main" id="{F36E027E-3F68-4477-A0E5-846A8BE311A5}"/>
                </a:ext>
              </a:extLst>
            </p:cNvPr>
            <p:cNvSpPr/>
            <p:nvPr/>
          </p:nvSpPr>
          <p:spPr>
            <a:xfrm>
              <a:off x="2564606" y="4000499"/>
              <a:ext cx="128588" cy="128588"/>
            </a:xfrm>
            <a:prstGeom prst="ellipse">
              <a:avLst/>
            </a:prstGeom>
            <a:solidFill>
              <a:schemeClr val="bg1"/>
            </a:solidFill>
            <a:ln>
              <a:noFill/>
            </a:ln>
            <a:effectLst>
              <a:outerShdw sx="154000" sy="154000" algn="ctr" rotWithShape="0">
                <a:schemeClr val="bg1">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40" name="文本框 39">
              <a:extLst>
                <a:ext uri="{FF2B5EF4-FFF2-40B4-BE49-F238E27FC236}">
                  <a16:creationId xmlns:a16="http://schemas.microsoft.com/office/drawing/2014/main" id="{9B037FC6-199A-4190-A848-64E16E1790F9}"/>
                </a:ext>
              </a:extLst>
            </p:cNvPr>
            <p:cNvSpPr txBox="1"/>
            <p:nvPr/>
          </p:nvSpPr>
          <p:spPr>
            <a:xfrm>
              <a:off x="2703206" y="1220376"/>
              <a:ext cx="2236509" cy="600164"/>
            </a:xfrm>
            <a:prstGeom prst="rect">
              <a:avLst/>
            </a:prstGeom>
            <a:noFill/>
          </p:spPr>
          <p:txBody>
            <a:bodyPr wrap="square" rtlCol="0">
              <a:spAutoFit/>
            </a:bodyPr>
            <a:lstStyle/>
            <a:p>
              <a:r>
                <a:rPr lang="en-US" altLang="zh-CN" sz="1100" dirty="0">
                  <a:solidFill>
                    <a:schemeClr val="bg1"/>
                  </a:solidFill>
                </a:rPr>
                <a:t>Lorem ipsum dolor sit amet consectetur adipisicing elit sed do eiusmod tempor</a:t>
              </a:r>
              <a:endParaRPr lang="zh-CN" altLang="en-US" sz="1100" dirty="0">
                <a:solidFill>
                  <a:schemeClr val="bg1"/>
                </a:solidFill>
              </a:endParaRPr>
            </a:p>
          </p:txBody>
        </p:sp>
        <p:sp>
          <p:nvSpPr>
            <p:cNvPr id="41" name="文本框 40">
              <a:extLst>
                <a:ext uri="{FF2B5EF4-FFF2-40B4-BE49-F238E27FC236}">
                  <a16:creationId xmlns:a16="http://schemas.microsoft.com/office/drawing/2014/main" id="{009CDFD7-4EB7-4AE9-947E-2508DCF3D473}"/>
                </a:ext>
              </a:extLst>
            </p:cNvPr>
            <p:cNvSpPr txBox="1"/>
            <p:nvPr/>
          </p:nvSpPr>
          <p:spPr>
            <a:xfrm>
              <a:off x="2703206" y="865137"/>
              <a:ext cx="1467069" cy="400110"/>
            </a:xfrm>
            <a:prstGeom prst="rect">
              <a:avLst/>
            </a:prstGeom>
            <a:noFill/>
          </p:spPr>
          <p:txBody>
            <a:bodyPr wrap="none" rtlCol="0">
              <a:spAutoFit/>
            </a:bodyPr>
            <a:lstStyle/>
            <a:p>
              <a:r>
                <a:rPr lang="zh-CN" altLang="en-US" sz="2000" dirty="0">
                  <a:solidFill>
                    <a:schemeClr val="bg1"/>
                  </a:solidFill>
                  <a:latin typeface="+mj-ea"/>
                  <a:ea typeface="+mj-ea"/>
                </a:rPr>
                <a:t>关键词标题</a:t>
              </a:r>
            </a:p>
          </p:txBody>
        </p:sp>
      </p:grpSp>
      <p:grpSp>
        <p:nvGrpSpPr>
          <p:cNvPr id="44" name="组合 43">
            <a:extLst>
              <a:ext uri="{FF2B5EF4-FFF2-40B4-BE49-F238E27FC236}">
                <a16:creationId xmlns:a16="http://schemas.microsoft.com/office/drawing/2014/main" id="{F29EE823-A192-4511-9F8F-77039BBAC4CB}"/>
              </a:ext>
            </a:extLst>
          </p:cNvPr>
          <p:cNvGrpSpPr/>
          <p:nvPr/>
        </p:nvGrpSpPr>
        <p:grpSpPr>
          <a:xfrm>
            <a:off x="9792195" y="2216142"/>
            <a:ext cx="2375109" cy="2365697"/>
            <a:chOff x="2564606" y="1763390"/>
            <a:chExt cx="2375109" cy="2365697"/>
          </a:xfrm>
        </p:grpSpPr>
        <p:cxnSp>
          <p:nvCxnSpPr>
            <p:cNvPr id="45" name="直接连接符 44">
              <a:extLst>
                <a:ext uri="{FF2B5EF4-FFF2-40B4-BE49-F238E27FC236}">
                  <a16:creationId xmlns:a16="http://schemas.microsoft.com/office/drawing/2014/main" id="{C65A5442-560C-4553-BE3D-AF7D57303AC3}"/>
                </a:ext>
              </a:extLst>
            </p:cNvPr>
            <p:cNvCxnSpPr>
              <a:cxnSpLocks/>
            </p:cNvCxnSpPr>
            <p:nvPr/>
          </p:nvCxnSpPr>
          <p:spPr>
            <a:xfrm>
              <a:off x="2628900" y="1837944"/>
              <a:ext cx="0" cy="2203704"/>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46" name="椭圆 45">
              <a:extLst>
                <a:ext uri="{FF2B5EF4-FFF2-40B4-BE49-F238E27FC236}">
                  <a16:creationId xmlns:a16="http://schemas.microsoft.com/office/drawing/2014/main" id="{9F14031D-13FA-4B65-BFAA-F6685272792D}"/>
                </a:ext>
              </a:extLst>
            </p:cNvPr>
            <p:cNvSpPr/>
            <p:nvPr/>
          </p:nvSpPr>
          <p:spPr>
            <a:xfrm>
              <a:off x="2564606" y="4000499"/>
              <a:ext cx="128588" cy="128588"/>
            </a:xfrm>
            <a:prstGeom prst="ellipse">
              <a:avLst/>
            </a:prstGeom>
            <a:solidFill>
              <a:schemeClr val="bg1"/>
            </a:solidFill>
            <a:ln>
              <a:noFill/>
            </a:ln>
            <a:effectLst>
              <a:outerShdw sx="154000" sy="154000" algn="ctr" rotWithShape="0">
                <a:schemeClr val="bg1">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47" name="文本框 46">
              <a:extLst>
                <a:ext uri="{FF2B5EF4-FFF2-40B4-BE49-F238E27FC236}">
                  <a16:creationId xmlns:a16="http://schemas.microsoft.com/office/drawing/2014/main" id="{FD57D619-06D8-4CB6-A632-7202110D88CB}"/>
                </a:ext>
              </a:extLst>
            </p:cNvPr>
            <p:cNvSpPr txBox="1"/>
            <p:nvPr/>
          </p:nvSpPr>
          <p:spPr>
            <a:xfrm>
              <a:off x="2703206" y="2118629"/>
              <a:ext cx="2236509" cy="600164"/>
            </a:xfrm>
            <a:prstGeom prst="rect">
              <a:avLst/>
            </a:prstGeom>
            <a:noFill/>
          </p:spPr>
          <p:txBody>
            <a:bodyPr wrap="square" rtlCol="0">
              <a:spAutoFit/>
            </a:bodyPr>
            <a:lstStyle/>
            <a:p>
              <a:r>
                <a:rPr lang="en-US" altLang="zh-CN" sz="1100" dirty="0">
                  <a:solidFill>
                    <a:schemeClr val="bg1"/>
                  </a:solidFill>
                </a:rPr>
                <a:t>Lorem ipsum dolor sit amet consectetur adipisicing elit sed do eiusmod tempor</a:t>
              </a:r>
              <a:endParaRPr lang="zh-CN" altLang="en-US" sz="1100" dirty="0">
                <a:solidFill>
                  <a:schemeClr val="bg1"/>
                </a:solidFill>
              </a:endParaRPr>
            </a:p>
          </p:txBody>
        </p:sp>
        <p:sp>
          <p:nvSpPr>
            <p:cNvPr id="48" name="文本框 47">
              <a:extLst>
                <a:ext uri="{FF2B5EF4-FFF2-40B4-BE49-F238E27FC236}">
                  <a16:creationId xmlns:a16="http://schemas.microsoft.com/office/drawing/2014/main" id="{83B33646-524A-4737-AEF7-5211517D2062}"/>
                </a:ext>
              </a:extLst>
            </p:cNvPr>
            <p:cNvSpPr txBox="1"/>
            <p:nvPr/>
          </p:nvSpPr>
          <p:spPr>
            <a:xfrm>
              <a:off x="2703206" y="1763390"/>
              <a:ext cx="1467069" cy="400110"/>
            </a:xfrm>
            <a:prstGeom prst="rect">
              <a:avLst/>
            </a:prstGeom>
            <a:noFill/>
          </p:spPr>
          <p:txBody>
            <a:bodyPr wrap="none" rtlCol="0">
              <a:spAutoFit/>
            </a:bodyPr>
            <a:lstStyle/>
            <a:p>
              <a:r>
                <a:rPr lang="zh-CN" altLang="en-US" sz="2000" dirty="0">
                  <a:solidFill>
                    <a:schemeClr val="bg1"/>
                  </a:solidFill>
                  <a:latin typeface="+mj-ea"/>
                  <a:ea typeface="+mj-ea"/>
                </a:rPr>
                <a:t>关键词标题</a:t>
              </a:r>
            </a:p>
          </p:txBody>
        </p:sp>
      </p:grpSp>
      <p:grpSp>
        <p:nvGrpSpPr>
          <p:cNvPr id="49" name="组合 48">
            <a:extLst>
              <a:ext uri="{FF2B5EF4-FFF2-40B4-BE49-F238E27FC236}">
                <a16:creationId xmlns:a16="http://schemas.microsoft.com/office/drawing/2014/main" id="{A3A9C39F-28B2-4F6B-8AFD-C449D43B7189}"/>
              </a:ext>
            </a:extLst>
          </p:cNvPr>
          <p:cNvGrpSpPr/>
          <p:nvPr/>
        </p:nvGrpSpPr>
        <p:grpSpPr>
          <a:xfrm>
            <a:off x="7413857" y="1646747"/>
            <a:ext cx="2375109" cy="1965647"/>
            <a:chOff x="2564606" y="2163440"/>
            <a:chExt cx="2375109" cy="1965647"/>
          </a:xfrm>
        </p:grpSpPr>
        <p:cxnSp>
          <p:nvCxnSpPr>
            <p:cNvPr id="50" name="直接连接符 49">
              <a:extLst>
                <a:ext uri="{FF2B5EF4-FFF2-40B4-BE49-F238E27FC236}">
                  <a16:creationId xmlns:a16="http://schemas.microsoft.com/office/drawing/2014/main" id="{A12DBA2C-834D-406C-AF4B-BAFBAA955B0E}"/>
                </a:ext>
              </a:extLst>
            </p:cNvPr>
            <p:cNvCxnSpPr>
              <a:cxnSpLocks/>
            </p:cNvCxnSpPr>
            <p:nvPr/>
          </p:nvCxnSpPr>
          <p:spPr>
            <a:xfrm>
              <a:off x="2628900" y="2220650"/>
              <a:ext cx="0" cy="1820998"/>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51" name="椭圆 50">
              <a:extLst>
                <a:ext uri="{FF2B5EF4-FFF2-40B4-BE49-F238E27FC236}">
                  <a16:creationId xmlns:a16="http://schemas.microsoft.com/office/drawing/2014/main" id="{D88C5165-CE20-4F90-B40C-95DFEB51104B}"/>
                </a:ext>
              </a:extLst>
            </p:cNvPr>
            <p:cNvSpPr/>
            <p:nvPr/>
          </p:nvSpPr>
          <p:spPr>
            <a:xfrm>
              <a:off x="2564606" y="4000499"/>
              <a:ext cx="128588" cy="128588"/>
            </a:xfrm>
            <a:prstGeom prst="ellipse">
              <a:avLst/>
            </a:prstGeom>
            <a:solidFill>
              <a:schemeClr val="bg1"/>
            </a:solidFill>
            <a:ln>
              <a:noFill/>
            </a:ln>
            <a:effectLst>
              <a:outerShdw sx="154000" sy="154000" algn="ctr" rotWithShape="0">
                <a:schemeClr val="bg1">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52" name="文本框 51">
              <a:extLst>
                <a:ext uri="{FF2B5EF4-FFF2-40B4-BE49-F238E27FC236}">
                  <a16:creationId xmlns:a16="http://schemas.microsoft.com/office/drawing/2014/main" id="{3A22F85A-B7D6-496D-8FD9-B5DACB7A3058}"/>
                </a:ext>
              </a:extLst>
            </p:cNvPr>
            <p:cNvSpPr txBox="1"/>
            <p:nvPr/>
          </p:nvSpPr>
          <p:spPr>
            <a:xfrm>
              <a:off x="2703206" y="2518679"/>
              <a:ext cx="2236509" cy="600164"/>
            </a:xfrm>
            <a:prstGeom prst="rect">
              <a:avLst/>
            </a:prstGeom>
            <a:noFill/>
          </p:spPr>
          <p:txBody>
            <a:bodyPr wrap="square" rtlCol="0">
              <a:spAutoFit/>
            </a:bodyPr>
            <a:lstStyle/>
            <a:p>
              <a:r>
                <a:rPr lang="en-US" altLang="zh-CN" sz="1100" dirty="0">
                  <a:solidFill>
                    <a:schemeClr val="bg1"/>
                  </a:solidFill>
                </a:rPr>
                <a:t>Lorem ipsum dolor sit amet consectetur adipisicing elit sed do eiusmod tempor</a:t>
              </a:r>
              <a:endParaRPr lang="zh-CN" altLang="en-US" sz="1100" dirty="0">
                <a:solidFill>
                  <a:schemeClr val="bg1"/>
                </a:solidFill>
              </a:endParaRPr>
            </a:p>
          </p:txBody>
        </p:sp>
        <p:sp>
          <p:nvSpPr>
            <p:cNvPr id="53" name="文本框 52">
              <a:extLst>
                <a:ext uri="{FF2B5EF4-FFF2-40B4-BE49-F238E27FC236}">
                  <a16:creationId xmlns:a16="http://schemas.microsoft.com/office/drawing/2014/main" id="{7A66589C-CB50-44D6-94A7-D5A13DE81EE2}"/>
                </a:ext>
              </a:extLst>
            </p:cNvPr>
            <p:cNvSpPr txBox="1"/>
            <p:nvPr/>
          </p:nvSpPr>
          <p:spPr>
            <a:xfrm>
              <a:off x="2703206" y="2163440"/>
              <a:ext cx="1467069" cy="400110"/>
            </a:xfrm>
            <a:prstGeom prst="rect">
              <a:avLst/>
            </a:prstGeom>
            <a:noFill/>
          </p:spPr>
          <p:txBody>
            <a:bodyPr wrap="none" rtlCol="0">
              <a:spAutoFit/>
            </a:bodyPr>
            <a:lstStyle/>
            <a:p>
              <a:r>
                <a:rPr lang="zh-CN" altLang="en-US" sz="2000" dirty="0">
                  <a:solidFill>
                    <a:schemeClr val="bg1"/>
                  </a:solidFill>
                  <a:latin typeface="+mj-ea"/>
                  <a:ea typeface="+mj-ea"/>
                </a:rPr>
                <a:t>关键词标题</a:t>
              </a:r>
            </a:p>
          </p:txBody>
        </p:sp>
      </p:grpSp>
      <p:grpSp>
        <p:nvGrpSpPr>
          <p:cNvPr id="54" name="组合 53">
            <a:extLst>
              <a:ext uri="{FF2B5EF4-FFF2-40B4-BE49-F238E27FC236}">
                <a16:creationId xmlns:a16="http://schemas.microsoft.com/office/drawing/2014/main" id="{44C8CBC6-0EC1-416F-8E0D-28B1B841EA04}"/>
              </a:ext>
            </a:extLst>
          </p:cNvPr>
          <p:cNvGrpSpPr/>
          <p:nvPr/>
        </p:nvGrpSpPr>
        <p:grpSpPr>
          <a:xfrm>
            <a:off x="2575157" y="1206458"/>
            <a:ext cx="2375109" cy="2308547"/>
            <a:chOff x="2564606" y="1820540"/>
            <a:chExt cx="2375109" cy="2308547"/>
          </a:xfrm>
        </p:grpSpPr>
        <p:cxnSp>
          <p:nvCxnSpPr>
            <p:cNvPr id="55" name="直接连接符 54">
              <a:extLst>
                <a:ext uri="{FF2B5EF4-FFF2-40B4-BE49-F238E27FC236}">
                  <a16:creationId xmlns:a16="http://schemas.microsoft.com/office/drawing/2014/main" id="{EE8F68A5-EE88-4167-9AF8-C9D11A75B24A}"/>
                </a:ext>
              </a:extLst>
            </p:cNvPr>
            <p:cNvCxnSpPr>
              <a:cxnSpLocks/>
            </p:cNvCxnSpPr>
            <p:nvPr/>
          </p:nvCxnSpPr>
          <p:spPr>
            <a:xfrm>
              <a:off x="2628900" y="1837944"/>
              <a:ext cx="0" cy="2203704"/>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58" name="椭圆 57">
              <a:extLst>
                <a:ext uri="{FF2B5EF4-FFF2-40B4-BE49-F238E27FC236}">
                  <a16:creationId xmlns:a16="http://schemas.microsoft.com/office/drawing/2014/main" id="{BAA5A036-2E1E-476E-A3FA-C2ECEBB7C8E5}"/>
                </a:ext>
              </a:extLst>
            </p:cNvPr>
            <p:cNvSpPr/>
            <p:nvPr/>
          </p:nvSpPr>
          <p:spPr>
            <a:xfrm>
              <a:off x="2564606" y="4000499"/>
              <a:ext cx="128588" cy="128588"/>
            </a:xfrm>
            <a:prstGeom prst="ellipse">
              <a:avLst/>
            </a:prstGeom>
            <a:solidFill>
              <a:schemeClr val="bg1"/>
            </a:solidFill>
            <a:ln>
              <a:noFill/>
            </a:ln>
            <a:effectLst>
              <a:outerShdw sx="154000" sy="154000" algn="ctr" rotWithShape="0">
                <a:schemeClr val="bg1">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59" name="文本框 58">
              <a:extLst>
                <a:ext uri="{FF2B5EF4-FFF2-40B4-BE49-F238E27FC236}">
                  <a16:creationId xmlns:a16="http://schemas.microsoft.com/office/drawing/2014/main" id="{852C3707-9137-4D25-9257-CEB7EDA1477D}"/>
                </a:ext>
              </a:extLst>
            </p:cNvPr>
            <p:cNvSpPr txBox="1"/>
            <p:nvPr/>
          </p:nvSpPr>
          <p:spPr>
            <a:xfrm>
              <a:off x="2703206" y="2175779"/>
              <a:ext cx="2236509" cy="600164"/>
            </a:xfrm>
            <a:prstGeom prst="rect">
              <a:avLst/>
            </a:prstGeom>
            <a:noFill/>
          </p:spPr>
          <p:txBody>
            <a:bodyPr wrap="square" rtlCol="0">
              <a:spAutoFit/>
            </a:bodyPr>
            <a:lstStyle/>
            <a:p>
              <a:r>
                <a:rPr lang="en-US" altLang="zh-CN" sz="1100" dirty="0">
                  <a:solidFill>
                    <a:schemeClr val="bg1"/>
                  </a:solidFill>
                </a:rPr>
                <a:t>Lorem ipsum dolor sit amet consectetur adipisicing elit sed do eiusmod tempor</a:t>
              </a:r>
              <a:endParaRPr lang="zh-CN" altLang="en-US" sz="1100" dirty="0">
                <a:solidFill>
                  <a:schemeClr val="bg1"/>
                </a:solidFill>
              </a:endParaRPr>
            </a:p>
          </p:txBody>
        </p:sp>
        <p:sp>
          <p:nvSpPr>
            <p:cNvPr id="60" name="文本框 59">
              <a:extLst>
                <a:ext uri="{FF2B5EF4-FFF2-40B4-BE49-F238E27FC236}">
                  <a16:creationId xmlns:a16="http://schemas.microsoft.com/office/drawing/2014/main" id="{741D72E2-DA96-454F-A584-9AEC350960AF}"/>
                </a:ext>
              </a:extLst>
            </p:cNvPr>
            <p:cNvSpPr txBox="1"/>
            <p:nvPr/>
          </p:nvSpPr>
          <p:spPr>
            <a:xfrm>
              <a:off x="2703206" y="1820540"/>
              <a:ext cx="1467069" cy="400110"/>
            </a:xfrm>
            <a:prstGeom prst="rect">
              <a:avLst/>
            </a:prstGeom>
            <a:noFill/>
          </p:spPr>
          <p:txBody>
            <a:bodyPr wrap="none" rtlCol="0">
              <a:spAutoFit/>
            </a:bodyPr>
            <a:lstStyle/>
            <a:p>
              <a:r>
                <a:rPr lang="zh-CN" altLang="en-US" sz="2000" dirty="0">
                  <a:solidFill>
                    <a:schemeClr val="bg1"/>
                  </a:solidFill>
                  <a:latin typeface="+mj-ea"/>
                  <a:ea typeface="+mj-ea"/>
                </a:rPr>
                <a:t>关键词标题</a:t>
              </a:r>
            </a:p>
          </p:txBody>
        </p:sp>
      </p:grpSp>
    </p:spTree>
    <p:extLst>
      <p:ext uri="{BB962C8B-B14F-4D97-AF65-F5344CB8AC3E}">
        <p14:creationId xmlns:p14="http://schemas.microsoft.com/office/powerpoint/2010/main" val="2254772608"/>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3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图片 5" descr="雪山山顶&#10;&#10;描述已自动生成">
            <a:extLst>
              <a:ext uri="{FF2B5EF4-FFF2-40B4-BE49-F238E27FC236}">
                <a16:creationId xmlns:a16="http://schemas.microsoft.com/office/drawing/2014/main" id="{F856475F-DCB2-46CC-81BB-4C75A7E6642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7" name="任意多边形: 形状 6">
            <a:extLst>
              <a:ext uri="{FF2B5EF4-FFF2-40B4-BE49-F238E27FC236}">
                <a16:creationId xmlns:a16="http://schemas.microsoft.com/office/drawing/2014/main" id="{0954EC97-961D-47E4-8CB9-5FBC55A3D300}"/>
              </a:ext>
            </a:extLst>
          </p:cNvPr>
          <p:cNvSpPr/>
          <p:nvPr/>
        </p:nvSpPr>
        <p:spPr>
          <a:xfrm>
            <a:off x="-28575" y="771526"/>
            <a:ext cx="12249150" cy="5467350"/>
          </a:xfrm>
          <a:custGeom>
            <a:avLst/>
            <a:gdLst>
              <a:gd name="connsiteX0" fmla="*/ 0 w 12249150"/>
              <a:gd name="connsiteY0" fmla="*/ 5534025 h 5534025"/>
              <a:gd name="connsiteX1" fmla="*/ 133350 w 12249150"/>
              <a:gd name="connsiteY1" fmla="*/ 5457825 h 5534025"/>
              <a:gd name="connsiteX2" fmla="*/ 447675 w 12249150"/>
              <a:gd name="connsiteY2" fmla="*/ 5000625 h 5534025"/>
              <a:gd name="connsiteX3" fmla="*/ 552450 w 12249150"/>
              <a:gd name="connsiteY3" fmla="*/ 5257800 h 5534025"/>
              <a:gd name="connsiteX4" fmla="*/ 628650 w 12249150"/>
              <a:gd name="connsiteY4" fmla="*/ 5076825 h 5534025"/>
              <a:gd name="connsiteX5" fmla="*/ 714375 w 12249150"/>
              <a:gd name="connsiteY5" fmla="*/ 5114925 h 5534025"/>
              <a:gd name="connsiteX6" fmla="*/ 771525 w 12249150"/>
              <a:gd name="connsiteY6" fmla="*/ 5257800 h 5534025"/>
              <a:gd name="connsiteX7" fmla="*/ 1171575 w 12249150"/>
              <a:gd name="connsiteY7" fmla="*/ 4619625 h 5534025"/>
              <a:gd name="connsiteX8" fmla="*/ 1333500 w 12249150"/>
              <a:gd name="connsiteY8" fmla="*/ 4486275 h 5534025"/>
              <a:gd name="connsiteX9" fmla="*/ 1524000 w 12249150"/>
              <a:gd name="connsiteY9" fmla="*/ 4486275 h 5534025"/>
              <a:gd name="connsiteX10" fmla="*/ 1895475 w 12249150"/>
              <a:gd name="connsiteY10" fmla="*/ 4810125 h 5534025"/>
              <a:gd name="connsiteX11" fmla="*/ 1971675 w 12249150"/>
              <a:gd name="connsiteY11" fmla="*/ 4791075 h 5534025"/>
              <a:gd name="connsiteX12" fmla="*/ 2019300 w 12249150"/>
              <a:gd name="connsiteY12" fmla="*/ 4638675 h 5534025"/>
              <a:gd name="connsiteX13" fmla="*/ 2076450 w 12249150"/>
              <a:gd name="connsiteY13" fmla="*/ 4772025 h 5534025"/>
              <a:gd name="connsiteX14" fmla="*/ 2200275 w 12249150"/>
              <a:gd name="connsiteY14" fmla="*/ 4610100 h 5534025"/>
              <a:gd name="connsiteX15" fmla="*/ 2371725 w 12249150"/>
              <a:gd name="connsiteY15" fmla="*/ 4676775 h 5534025"/>
              <a:gd name="connsiteX16" fmla="*/ 2409825 w 12249150"/>
              <a:gd name="connsiteY16" fmla="*/ 4819650 h 5534025"/>
              <a:gd name="connsiteX17" fmla="*/ 2495550 w 12249150"/>
              <a:gd name="connsiteY17" fmla="*/ 4800600 h 5534025"/>
              <a:gd name="connsiteX18" fmla="*/ 2505075 w 12249150"/>
              <a:gd name="connsiteY18" fmla="*/ 4772025 h 5534025"/>
              <a:gd name="connsiteX19" fmla="*/ 2600325 w 12249150"/>
              <a:gd name="connsiteY19" fmla="*/ 4772025 h 5534025"/>
              <a:gd name="connsiteX20" fmla="*/ 2628900 w 12249150"/>
              <a:gd name="connsiteY20" fmla="*/ 4876800 h 5534025"/>
              <a:gd name="connsiteX21" fmla="*/ 2733675 w 12249150"/>
              <a:gd name="connsiteY21" fmla="*/ 4838700 h 5534025"/>
              <a:gd name="connsiteX22" fmla="*/ 2781300 w 12249150"/>
              <a:gd name="connsiteY22" fmla="*/ 4791075 h 5534025"/>
              <a:gd name="connsiteX23" fmla="*/ 2819400 w 12249150"/>
              <a:gd name="connsiteY23" fmla="*/ 4838700 h 5534025"/>
              <a:gd name="connsiteX24" fmla="*/ 3019425 w 12249150"/>
              <a:gd name="connsiteY24" fmla="*/ 4791075 h 5534025"/>
              <a:gd name="connsiteX25" fmla="*/ 3171825 w 12249150"/>
              <a:gd name="connsiteY25" fmla="*/ 4524375 h 5534025"/>
              <a:gd name="connsiteX26" fmla="*/ 3257550 w 12249150"/>
              <a:gd name="connsiteY26" fmla="*/ 4676775 h 5534025"/>
              <a:gd name="connsiteX27" fmla="*/ 4133850 w 12249150"/>
              <a:gd name="connsiteY27" fmla="*/ 3886200 h 5534025"/>
              <a:gd name="connsiteX28" fmla="*/ 4362450 w 12249150"/>
              <a:gd name="connsiteY28" fmla="*/ 3467100 h 5534025"/>
              <a:gd name="connsiteX29" fmla="*/ 4533900 w 12249150"/>
              <a:gd name="connsiteY29" fmla="*/ 3467100 h 5534025"/>
              <a:gd name="connsiteX30" fmla="*/ 4600575 w 12249150"/>
              <a:gd name="connsiteY30" fmla="*/ 3457575 h 5534025"/>
              <a:gd name="connsiteX31" fmla="*/ 4705350 w 12249150"/>
              <a:gd name="connsiteY31" fmla="*/ 3409950 h 5534025"/>
              <a:gd name="connsiteX32" fmla="*/ 4705350 w 12249150"/>
              <a:gd name="connsiteY32" fmla="*/ 3514725 h 5534025"/>
              <a:gd name="connsiteX33" fmla="*/ 5038725 w 12249150"/>
              <a:gd name="connsiteY33" fmla="*/ 3305175 h 5534025"/>
              <a:gd name="connsiteX34" fmla="*/ 5257800 w 12249150"/>
              <a:gd name="connsiteY34" fmla="*/ 3371850 h 5534025"/>
              <a:gd name="connsiteX35" fmla="*/ 5400675 w 12249150"/>
              <a:gd name="connsiteY35" fmla="*/ 3190875 h 5534025"/>
              <a:gd name="connsiteX36" fmla="*/ 5572125 w 12249150"/>
              <a:gd name="connsiteY36" fmla="*/ 3152775 h 5534025"/>
              <a:gd name="connsiteX37" fmla="*/ 5743575 w 12249150"/>
              <a:gd name="connsiteY37" fmla="*/ 2847975 h 5534025"/>
              <a:gd name="connsiteX38" fmla="*/ 5848350 w 12249150"/>
              <a:gd name="connsiteY38" fmla="*/ 2857500 h 5534025"/>
              <a:gd name="connsiteX39" fmla="*/ 6143625 w 12249150"/>
              <a:gd name="connsiteY39" fmla="*/ 2571750 h 5534025"/>
              <a:gd name="connsiteX40" fmla="*/ 6276975 w 12249150"/>
              <a:gd name="connsiteY40" fmla="*/ 2571750 h 5534025"/>
              <a:gd name="connsiteX41" fmla="*/ 6410325 w 12249150"/>
              <a:gd name="connsiteY41" fmla="*/ 2381250 h 5534025"/>
              <a:gd name="connsiteX42" fmla="*/ 6696075 w 12249150"/>
              <a:gd name="connsiteY42" fmla="*/ 2066925 h 5534025"/>
              <a:gd name="connsiteX43" fmla="*/ 6829425 w 12249150"/>
              <a:gd name="connsiteY43" fmla="*/ 1838325 h 5534025"/>
              <a:gd name="connsiteX44" fmla="*/ 7019925 w 12249150"/>
              <a:gd name="connsiteY44" fmla="*/ 1847850 h 5534025"/>
              <a:gd name="connsiteX45" fmla="*/ 7229475 w 12249150"/>
              <a:gd name="connsiteY45" fmla="*/ 2152650 h 5534025"/>
              <a:gd name="connsiteX46" fmla="*/ 7553325 w 12249150"/>
              <a:gd name="connsiteY46" fmla="*/ 2276475 h 5534025"/>
              <a:gd name="connsiteX47" fmla="*/ 7743825 w 12249150"/>
              <a:gd name="connsiteY47" fmla="*/ 2247900 h 5534025"/>
              <a:gd name="connsiteX48" fmla="*/ 8010525 w 12249150"/>
              <a:gd name="connsiteY48" fmla="*/ 1876425 h 5534025"/>
              <a:gd name="connsiteX49" fmla="*/ 8172450 w 12249150"/>
              <a:gd name="connsiteY49" fmla="*/ 2209800 h 5534025"/>
              <a:gd name="connsiteX50" fmla="*/ 9229725 w 12249150"/>
              <a:gd name="connsiteY50" fmla="*/ 666750 h 5534025"/>
              <a:gd name="connsiteX51" fmla="*/ 9239250 w 12249150"/>
              <a:gd name="connsiteY51" fmla="*/ 600075 h 5534025"/>
              <a:gd name="connsiteX52" fmla="*/ 9677400 w 12249150"/>
              <a:gd name="connsiteY52" fmla="*/ 0 h 5534025"/>
              <a:gd name="connsiteX53" fmla="*/ 9925050 w 12249150"/>
              <a:gd name="connsiteY53" fmla="*/ 238125 h 5534025"/>
              <a:gd name="connsiteX54" fmla="*/ 10191750 w 12249150"/>
              <a:gd name="connsiteY54" fmla="*/ 657225 h 5534025"/>
              <a:gd name="connsiteX55" fmla="*/ 10429875 w 12249150"/>
              <a:gd name="connsiteY55" fmla="*/ 1104900 h 5534025"/>
              <a:gd name="connsiteX56" fmla="*/ 10706100 w 12249150"/>
              <a:gd name="connsiteY56" fmla="*/ 1209675 h 5534025"/>
              <a:gd name="connsiteX57" fmla="*/ 10706100 w 12249150"/>
              <a:gd name="connsiteY57" fmla="*/ 1085850 h 5534025"/>
              <a:gd name="connsiteX58" fmla="*/ 11029950 w 12249150"/>
              <a:gd name="connsiteY58" fmla="*/ 1524000 h 5534025"/>
              <a:gd name="connsiteX59" fmla="*/ 11153775 w 12249150"/>
              <a:gd name="connsiteY59" fmla="*/ 1381125 h 5534025"/>
              <a:gd name="connsiteX60" fmla="*/ 11649075 w 12249150"/>
              <a:gd name="connsiteY60" fmla="*/ 1657350 h 5534025"/>
              <a:gd name="connsiteX61" fmla="*/ 11734800 w 12249150"/>
              <a:gd name="connsiteY61" fmla="*/ 2057400 h 5534025"/>
              <a:gd name="connsiteX62" fmla="*/ 11906250 w 12249150"/>
              <a:gd name="connsiteY62" fmla="*/ 2181225 h 5534025"/>
              <a:gd name="connsiteX63" fmla="*/ 11953875 w 12249150"/>
              <a:gd name="connsiteY63" fmla="*/ 2085975 h 5534025"/>
              <a:gd name="connsiteX64" fmla="*/ 12249150 w 12249150"/>
              <a:gd name="connsiteY64" fmla="*/ 2038350 h 5534025"/>
              <a:gd name="connsiteX0" fmla="*/ 0 w 12249150"/>
              <a:gd name="connsiteY0" fmla="*/ 5534025 h 5534025"/>
              <a:gd name="connsiteX1" fmla="*/ 133350 w 12249150"/>
              <a:gd name="connsiteY1" fmla="*/ 5457825 h 5534025"/>
              <a:gd name="connsiteX2" fmla="*/ 447675 w 12249150"/>
              <a:gd name="connsiteY2" fmla="*/ 5000625 h 5534025"/>
              <a:gd name="connsiteX3" fmla="*/ 552450 w 12249150"/>
              <a:gd name="connsiteY3" fmla="*/ 5257800 h 5534025"/>
              <a:gd name="connsiteX4" fmla="*/ 628650 w 12249150"/>
              <a:gd name="connsiteY4" fmla="*/ 5076825 h 5534025"/>
              <a:gd name="connsiteX5" fmla="*/ 714375 w 12249150"/>
              <a:gd name="connsiteY5" fmla="*/ 5114925 h 5534025"/>
              <a:gd name="connsiteX6" fmla="*/ 771525 w 12249150"/>
              <a:gd name="connsiteY6" fmla="*/ 5257800 h 5534025"/>
              <a:gd name="connsiteX7" fmla="*/ 1171575 w 12249150"/>
              <a:gd name="connsiteY7" fmla="*/ 4619625 h 5534025"/>
              <a:gd name="connsiteX8" fmla="*/ 1333500 w 12249150"/>
              <a:gd name="connsiteY8" fmla="*/ 4486275 h 5534025"/>
              <a:gd name="connsiteX9" fmla="*/ 1524000 w 12249150"/>
              <a:gd name="connsiteY9" fmla="*/ 4486275 h 5534025"/>
              <a:gd name="connsiteX10" fmla="*/ 1895475 w 12249150"/>
              <a:gd name="connsiteY10" fmla="*/ 4810125 h 5534025"/>
              <a:gd name="connsiteX11" fmla="*/ 1971675 w 12249150"/>
              <a:gd name="connsiteY11" fmla="*/ 4791075 h 5534025"/>
              <a:gd name="connsiteX12" fmla="*/ 2019300 w 12249150"/>
              <a:gd name="connsiteY12" fmla="*/ 4638675 h 5534025"/>
              <a:gd name="connsiteX13" fmla="*/ 2076450 w 12249150"/>
              <a:gd name="connsiteY13" fmla="*/ 4772025 h 5534025"/>
              <a:gd name="connsiteX14" fmla="*/ 2200275 w 12249150"/>
              <a:gd name="connsiteY14" fmla="*/ 4610100 h 5534025"/>
              <a:gd name="connsiteX15" fmla="*/ 2371725 w 12249150"/>
              <a:gd name="connsiteY15" fmla="*/ 4676775 h 5534025"/>
              <a:gd name="connsiteX16" fmla="*/ 2409825 w 12249150"/>
              <a:gd name="connsiteY16" fmla="*/ 4819650 h 5534025"/>
              <a:gd name="connsiteX17" fmla="*/ 2495550 w 12249150"/>
              <a:gd name="connsiteY17" fmla="*/ 4800600 h 5534025"/>
              <a:gd name="connsiteX18" fmla="*/ 2505075 w 12249150"/>
              <a:gd name="connsiteY18" fmla="*/ 4772025 h 5534025"/>
              <a:gd name="connsiteX19" fmla="*/ 2600325 w 12249150"/>
              <a:gd name="connsiteY19" fmla="*/ 4772025 h 5534025"/>
              <a:gd name="connsiteX20" fmla="*/ 2628900 w 12249150"/>
              <a:gd name="connsiteY20" fmla="*/ 4876800 h 5534025"/>
              <a:gd name="connsiteX21" fmla="*/ 2733675 w 12249150"/>
              <a:gd name="connsiteY21" fmla="*/ 4838700 h 5534025"/>
              <a:gd name="connsiteX22" fmla="*/ 2781300 w 12249150"/>
              <a:gd name="connsiteY22" fmla="*/ 4791075 h 5534025"/>
              <a:gd name="connsiteX23" fmla="*/ 2819400 w 12249150"/>
              <a:gd name="connsiteY23" fmla="*/ 4838700 h 5534025"/>
              <a:gd name="connsiteX24" fmla="*/ 3019425 w 12249150"/>
              <a:gd name="connsiteY24" fmla="*/ 4791075 h 5534025"/>
              <a:gd name="connsiteX25" fmla="*/ 3171825 w 12249150"/>
              <a:gd name="connsiteY25" fmla="*/ 4524375 h 5534025"/>
              <a:gd name="connsiteX26" fmla="*/ 3257550 w 12249150"/>
              <a:gd name="connsiteY26" fmla="*/ 4676775 h 5534025"/>
              <a:gd name="connsiteX27" fmla="*/ 4133850 w 12249150"/>
              <a:gd name="connsiteY27" fmla="*/ 3886200 h 5534025"/>
              <a:gd name="connsiteX28" fmla="*/ 4362450 w 12249150"/>
              <a:gd name="connsiteY28" fmla="*/ 3467100 h 5534025"/>
              <a:gd name="connsiteX29" fmla="*/ 4533900 w 12249150"/>
              <a:gd name="connsiteY29" fmla="*/ 3467100 h 5534025"/>
              <a:gd name="connsiteX30" fmla="*/ 4600575 w 12249150"/>
              <a:gd name="connsiteY30" fmla="*/ 3457575 h 5534025"/>
              <a:gd name="connsiteX31" fmla="*/ 4705350 w 12249150"/>
              <a:gd name="connsiteY31" fmla="*/ 3409950 h 5534025"/>
              <a:gd name="connsiteX32" fmla="*/ 4705350 w 12249150"/>
              <a:gd name="connsiteY32" fmla="*/ 3514725 h 5534025"/>
              <a:gd name="connsiteX33" fmla="*/ 5038725 w 12249150"/>
              <a:gd name="connsiteY33" fmla="*/ 3305175 h 5534025"/>
              <a:gd name="connsiteX34" fmla="*/ 5257800 w 12249150"/>
              <a:gd name="connsiteY34" fmla="*/ 3371850 h 5534025"/>
              <a:gd name="connsiteX35" fmla="*/ 5400675 w 12249150"/>
              <a:gd name="connsiteY35" fmla="*/ 3190875 h 5534025"/>
              <a:gd name="connsiteX36" fmla="*/ 5572125 w 12249150"/>
              <a:gd name="connsiteY36" fmla="*/ 3152775 h 5534025"/>
              <a:gd name="connsiteX37" fmla="*/ 5743575 w 12249150"/>
              <a:gd name="connsiteY37" fmla="*/ 2847975 h 5534025"/>
              <a:gd name="connsiteX38" fmla="*/ 5848350 w 12249150"/>
              <a:gd name="connsiteY38" fmla="*/ 2857500 h 5534025"/>
              <a:gd name="connsiteX39" fmla="*/ 6143625 w 12249150"/>
              <a:gd name="connsiteY39" fmla="*/ 2571750 h 5534025"/>
              <a:gd name="connsiteX40" fmla="*/ 6276975 w 12249150"/>
              <a:gd name="connsiteY40" fmla="*/ 2571750 h 5534025"/>
              <a:gd name="connsiteX41" fmla="*/ 6410325 w 12249150"/>
              <a:gd name="connsiteY41" fmla="*/ 2381250 h 5534025"/>
              <a:gd name="connsiteX42" fmla="*/ 6696075 w 12249150"/>
              <a:gd name="connsiteY42" fmla="*/ 2066925 h 5534025"/>
              <a:gd name="connsiteX43" fmla="*/ 6829425 w 12249150"/>
              <a:gd name="connsiteY43" fmla="*/ 1838325 h 5534025"/>
              <a:gd name="connsiteX44" fmla="*/ 7019925 w 12249150"/>
              <a:gd name="connsiteY44" fmla="*/ 1847850 h 5534025"/>
              <a:gd name="connsiteX45" fmla="*/ 7229475 w 12249150"/>
              <a:gd name="connsiteY45" fmla="*/ 2152650 h 5534025"/>
              <a:gd name="connsiteX46" fmla="*/ 7553325 w 12249150"/>
              <a:gd name="connsiteY46" fmla="*/ 2276475 h 5534025"/>
              <a:gd name="connsiteX47" fmla="*/ 7743825 w 12249150"/>
              <a:gd name="connsiteY47" fmla="*/ 2247900 h 5534025"/>
              <a:gd name="connsiteX48" fmla="*/ 8010525 w 12249150"/>
              <a:gd name="connsiteY48" fmla="*/ 1876425 h 5534025"/>
              <a:gd name="connsiteX49" fmla="*/ 8172450 w 12249150"/>
              <a:gd name="connsiteY49" fmla="*/ 2209800 h 5534025"/>
              <a:gd name="connsiteX50" fmla="*/ 9229725 w 12249150"/>
              <a:gd name="connsiteY50" fmla="*/ 666750 h 5534025"/>
              <a:gd name="connsiteX51" fmla="*/ 9239250 w 12249150"/>
              <a:gd name="connsiteY51" fmla="*/ 600075 h 5534025"/>
              <a:gd name="connsiteX52" fmla="*/ 9677400 w 12249150"/>
              <a:gd name="connsiteY52" fmla="*/ 0 h 5534025"/>
              <a:gd name="connsiteX53" fmla="*/ 9925050 w 12249150"/>
              <a:gd name="connsiteY53" fmla="*/ 238125 h 5534025"/>
              <a:gd name="connsiteX54" fmla="*/ 10115550 w 12249150"/>
              <a:gd name="connsiteY54" fmla="*/ 685800 h 5534025"/>
              <a:gd name="connsiteX55" fmla="*/ 10429875 w 12249150"/>
              <a:gd name="connsiteY55" fmla="*/ 1104900 h 5534025"/>
              <a:gd name="connsiteX56" fmla="*/ 10706100 w 12249150"/>
              <a:gd name="connsiteY56" fmla="*/ 1209675 h 5534025"/>
              <a:gd name="connsiteX57" fmla="*/ 10706100 w 12249150"/>
              <a:gd name="connsiteY57" fmla="*/ 1085850 h 5534025"/>
              <a:gd name="connsiteX58" fmla="*/ 11029950 w 12249150"/>
              <a:gd name="connsiteY58" fmla="*/ 1524000 h 5534025"/>
              <a:gd name="connsiteX59" fmla="*/ 11153775 w 12249150"/>
              <a:gd name="connsiteY59" fmla="*/ 1381125 h 5534025"/>
              <a:gd name="connsiteX60" fmla="*/ 11649075 w 12249150"/>
              <a:gd name="connsiteY60" fmla="*/ 1657350 h 5534025"/>
              <a:gd name="connsiteX61" fmla="*/ 11734800 w 12249150"/>
              <a:gd name="connsiteY61" fmla="*/ 2057400 h 5534025"/>
              <a:gd name="connsiteX62" fmla="*/ 11906250 w 12249150"/>
              <a:gd name="connsiteY62" fmla="*/ 2181225 h 5534025"/>
              <a:gd name="connsiteX63" fmla="*/ 11953875 w 12249150"/>
              <a:gd name="connsiteY63" fmla="*/ 2085975 h 5534025"/>
              <a:gd name="connsiteX64" fmla="*/ 12249150 w 12249150"/>
              <a:gd name="connsiteY64" fmla="*/ 2038350 h 5534025"/>
              <a:gd name="connsiteX0" fmla="*/ 0 w 12249150"/>
              <a:gd name="connsiteY0" fmla="*/ 5534025 h 5534025"/>
              <a:gd name="connsiteX1" fmla="*/ 133350 w 12249150"/>
              <a:gd name="connsiteY1" fmla="*/ 5457825 h 5534025"/>
              <a:gd name="connsiteX2" fmla="*/ 447675 w 12249150"/>
              <a:gd name="connsiteY2" fmla="*/ 5000625 h 5534025"/>
              <a:gd name="connsiteX3" fmla="*/ 552450 w 12249150"/>
              <a:gd name="connsiteY3" fmla="*/ 5257800 h 5534025"/>
              <a:gd name="connsiteX4" fmla="*/ 628650 w 12249150"/>
              <a:gd name="connsiteY4" fmla="*/ 5076825 h 5534025"/>
              <a:gd name="connsiteX5" fmla="*/ 714375 w 12249150"/>
              <a:gd name="connsiteY5" fmla="*/ 5114925 h 5534025"/>
              <a:gd name="connsiteX6" fmla="*/ 771525 w 12249150"/>
              <a:gd name="connsiteY6" fmla="*/ 5257800 h 5534025"/>
              <a:gd name="connsiteX7" fmla="*/ 1171575 w 12249150"/>
              <a:gd name="connsiteY7" fmla="*/ 4619625 h 5534025"/>
              <a:gd name="connsiteX8" fmla="*/ 1333500 w 12249150"/>
              <a:gd name="connsiteY8" fmla="*/ 4486275 h 5534025"/>
              <a:gd name="connsiteX9" fmla="*/ 1524000 w 12249150"/>
              <a:gd name="connsiteY9" fmla="*/ 4486275 h 5534025"/>
              <a:gd name="connsiteX10" fmla="*/ 1895475 w 12249150"/>
              <a:gd name="connsiteY10" fmla="*/ 4810125 h 5534025"/>
              <a:gd name="connsiteX11" fmla="*/ 1971675 w 12249150"/>
              <a:gd name="connsiteY11" fmla="*/ 4791075 h 5534025"/>
              <a:gd name="connsiteX12" fmla="*/ 2019300 w 12249150"/>
              <a:gd name="connsiteY12" fmla="*/ 4638675 h 5534025"/>
              <a:gd name="connsiteX13" fmla="*/ 2076450 w 12249150"/>
              <a:gd name="connsiteY13" fmla="*/ 4772025 h 5534025"/>
              <a:gd name="connsiteX14" fmla="*/ 2200275 w 12249150"/>
              <a:gd name="connsiteY14" fmla="*/ 4610100 h 5534025"/>
              <a:gd name="connsiteX15" fmla="*/ 2371725 w 12249150"/>
              <a:gd name="connsiteY15" fmla="*/ 4676775 h 5534025"/>
              <a:gd name="connsiteX16" fmla="*/ 2409825 w 12249150"/>
              <a:gd name="connsiteY16" fmla="*/ 4819650 h 5534025"/>
              <a:gd name="connsiteX17" fmla="*/ 2495550 w 12249150"/>
              <a:gd name="connsiteY17" fmla="*/ 4800600 h 5534025"/>
              <a:gd name="connsiteX18" fmla="*/ 2505075 w 12249150"/>
              <a:gd name="connsiteY18" fmla="*/ 4772025 h 5534025"/>
              <a:gd name="connsiteX19" fmla="*/ 2600325 w 12249150"/>
              <a:gd name="connsiteY19" fmla="*/ 4772025 h 5534025"/>
              <a:gd name="connsiteX20" fmla="*/ 2628900 w 12249150"/>
              <a:gd name="connsiteY20" fmla="*/ 4876800 h 5534025"/>
              <a:gd name="connsiteX21" fmla="*/ 2733675 w 12249150"/>
              <a:gd name="connsiteY21" fmla="*/ 4838700 h 5534025"/>
              <a:gd name="connsiteX22" fmla="*/ 2781300 w 12249150"/>
              <a:gd name="connsiteY22" fmla="*/ 4791075 h 5534025"/>
              <a:gd name="connsiteX23" fmla="*/ 2819400 w 12249150"/>
              <a:gd name="connsiteY23" fmla="*/ 4838700 h 5534025"/>
              <a:gd name="connsiteX24" fmla="*/ 3019425 w 12249150"/>
              <a:gd name="connsiteY24" fmla="*/ 4791075 h 5534025"/>
              <a:gd name="connsiteX25" fmla="*/ 3171825 w 12249150"/>
              <a:gd name="connsiteY25" fmla="*/ 4524375 h 5534025"/>
              <a:gd name="connsiteX26" fmla="*/ 3257550 w 12249150"/>
              <a:gd name="connsiteY26" fmla="*/ 4676775 h 5534025"/>
              <a:gd name="connsiteX27" fmla="*/ 4133850 w 12249150"/>
              <a:gd name="connsiteY27" fmla="*/ 3886200 h 5534025"/>
              <a:gd name="connsiteX28" fmla="*/ 4362450 w 12249150"/>
              <a:gd name="connsiteY28" fmla="*/ 3467100 h 5534025"/>
              <a:gd name="connsiteX29" fmla="*/ 4533900 w 12249150"/>
              <a:gd name="connsiteY29" fmla="*/ 3467100 h 5534025"/>
              <a:gd name="connsiteX30" fmla="*/ 4600575 w 12249150"/>
              <a:gd name="connsiteY30" fmla="*/ 3457575 h 5534025"/>
              <a:gd name="connsiteX31" fmla="*/ 4705350 w 12249150"/>
              <a:gd name="connsiteY31" fmla="*/ 3409950 h 5534025"/>
              <a:gd name="connsiteX32" fmla="*/ 4705350 w 12249150"/>
              <a:gd name="connsiteY32" fmla="*/ 3514725 h 5534025"/>
              <a:gd name="connsiteX33" fmla="*/ 5038725 w 12249150"/>
              <a:gd name="connsiteY33" fmla="*/ 3305175 h 5534025"/>
              <a:gd name="connsiteX34" fmla="*/ 5257800 w 12249150"/>
              <a:gd name="connsiteY34" fmla="*/ 3371850 h 5534025"/>
              <a:gd name="connsiteX35" fmla="*/ 5400675 w 12249150"/>
              <a:gd name="connsiteY35" fmla="*/ 3190875 h 5534025"/>
              <a:gd name="connsiteX36" fmla="*/ 5572125 w 12249150"/>
              <a:gd name="connsiteY36" fmla="*/ 3152775 h 5534025"/>
              <a:gd name="connsiteX37" fmla="*/ 5743575 w 12249150"/>
              <a:gd name="connsiteY37" fmla="*/ 2847975 h 5534025"/>
              <a:gd name="connsiteX38" fmla="*/ 5848350 w 12249150"/>
              <a:gd name="connsiteY38" fmla="*/ 2857500 h 5534025"/>
              <a:gd name="connsiteX39" fmla="*/ 6143625 w 12249150"/>
              <a:gd name="connsiteY39" fmla="*/ 2571750 h 5534025"/>
              <a:gd name="connsiteX40" fmla="*/ 6276975 w 12249150"/>
              <a:gd name="connsiteY40" fmla="*/ 2571750 h 5534025"/>
              <a:gd name="connsiteX41" fmla="*/ 6410325 w 12249150"/>
              <a:gd name="connsiteY41" fmla="*/ 2381250 h 5534025"/>
              <a:gd name="connsiteX42" fmla="*/ 6696075 w 12249150"/>
              <a:gd name="connsiteY42" fmla="*/ 2066925 h 5534025"/>
              <a:gd name="connsiteX43" fmla="*/ 6829425 w 12249150"/>
              <a:gd name="connsiteY43" fmla="*/ 1838325 h 5534025"/>
              <a:gd name="connsiteX44" fmla="*/ 7019925 w 12249150"/>
              <a:gd name="connsiteY44" fmla="*/ 1847850 h 5534025"/>
              <a:gd name="connsiteX45" fmla="*/ 7229475 w 12249150"/>
              <a:gd name="connsiteY45" fmla="*/ 2152650 h 5534025"/>
              <a:gd name="connsiteX46" fmla="*/ 7553325 w 12249150"/>
              <a:gd name="connsiteY46" fmla="*/ 2276475 h 5534025"/>
              <a:gd name="connsiteX47" fmla="*/ 7743825 w 12249150"/>
              <a:gd name="connsiteY47" fmla="*/ 2247900 h 5534025"/>
              <a:gd name="connsiteX48" fmla="*/ 8010525 w 12249150"/>
              <a:gd name="connsiteY48" fmla="*/ 1876425 h 5534025"/>
              <a:gd name="connsiteX49" fmla="*/ 8172450 w 12249150"/>
              <a:gd name="connsiteY49" fmla="*/ 2209800 h 5534025"/>
              <a:gd name="connsiteX50" fmla="*/ 9229725 w 12249150"/>
              <a:gd name="connsiteY50" fmla="*/ 666750 h 5534025"/>
              <a:gd name="connsiteX51" fmla="*/ 9239250 w 12249150"/>
              <a:gd name="connsiteY51" fmla="*/ 600075 h 5534025"/>
              <a:gd name="connsiteX52" fmla="*/ 9677400 w 12249150"/>
              <a:gd name="connsiteY52" fmla="*/ 0 h 5534025"/>
              <a:gd name="connsiteX53" fmla="*/ 9886950 w 12249150"/>
              <a:gd name="connsiteY53" fmla="*/ 238125 h 5534025"/>
              <a:gd name="connsiteX54" fmla="*/ 10115550 w 12249150"/>
              <a:gd name="connsiteY54" fmla="*/ 685800 h 5534025"/>
              <a:gd name="connsiteX55" fmla="*/ 10429875 w 12249150"/>
              <a:gd name="connsiteY55" fmla="*/ 1104900 h 5534025"/>
              <a:gd name="connsiteX56" fmla="*/ 10706100 w 12249150"/>
              <a:gd name="connsiteY56" fmla="*/ 1209675 h 5534025"/>
              <a:gd name="connsiteX57" fmla="*/ 10706100 w 12249150"/>
              <a:gd name="connsiteY57" fmla="*/ 1085850 h 5534025"/>
              <a:gd name="connsiteX58" fmla="*/ 11029950 w 12249150"/>
              <a:gd name="connsiteY58" fmla="*/ 1524000 h 5534025"/>
              <a:gd name="connsiteX59" fmla="*/ 11153775 w 12249150"/>
              <a:gd name="connsiteY59" fmla="*/ 1381125 h 5534025"/>
              <a:gd name="connsiteX60" fmla="*/ 11649075 w 12249150"/>
              <a:gd name="connsiteY60" fmla="*/ 1657350 h 5534025"/>
              <a:gd name="connsiteX61" fmla="*/ 11734800 w 12249150"/>
              <a:gd name="connsiteY61" fmla="*/ 2057400 h 5534025"/>
              <a:gd name="connsiteX62" fmla="*/ 11906250 w 12249150"/>
              <a:gd name="connsiteY62" fmla="*/ 2181225 h 5534025"/>
              <a:gd name="connsiteX63" fmla="*/ 11953875 w 12249150"/>
              <a:gd name="connsiteY63" fmla="*/ 2085975 h 5534025"/>
              <a:gd name="connsiteX64" fmla="*/ 12249150 w 12249150"/>
              <a:gd name="connsiteY64" fmla="*/ 2038350 h 5534025"/>
              <a:gd name="connsiteX0" fmla="*/ 0 w 12249150"/>
              <a:gd name="connsiteY0" fmla="*/ 5467350 h 5467350"/>
              <a:gd name="connsiteX1" fmla="*/ 133350 w 12249150"/>
              <a:gd name="connsiteY1" fmla="*/ 5391150 h 5467350"/>
              <a:gd name="connsiteX2" fmla="*/ 447675 w 12249150"/>
              <a:gd name="connsiteY2" fmla="*/ 4933950 h 5467350"/>
              <a:gd name="connsiteX3" fmla="*/ 552450 w 12249150"/>
              <a:gd name="connsiteY3" fmla="*/ 5191125 h 5467350"/>
              <a:gd name="connsiteX4" fmla="*/ 628650 w 12249150"/>
              <a:gd name="connsiteY4" fmla="*/ 5010150 h 5467350"/>
              <a:gd name="connsiteX5" fmla="*/ 714375 w 12249150"/>
              <a:gd name="connsiteY5" fmla="*/ 5048250 h 5467350"/>
              <a:gd name="connsiteX6" fmla="*/ 771525 w 12249150"/>
              <a:gd name="connsiteY6" fmla="*/ 5191125 h 5467350"/>
              <a:gd name="connsiteX7" fmla="*/ 1171575 w 12249150"/>
              <a:gd name="connsiteY7" fmla="*/ 4552950 h 5467350"/>
              <a:gd name="connsiteX8" fmla="*/ 1333500 w 12249150"/>
              <a:gd name="connsiteY8" fmla="*/ 4419600 h 5467350"/>
              <a:gd name="connsiteX9" fmla="*/ 1524000 w 12249150"/>
              <a:gd name="connsiteY9" fmla="*/ 4419600 h 5467350"/>
              <a:gd name="connsiteX10" fmla="*/ 1895475 w 12249150"/>
              <a:gd name="connsiteY10" fmla="*/ 4743450 h 5467350"/>
              <a:gd name="connsiteX11" fmla="*/ 1971675 w 12249150"/>
              <a:gd name="connsiteY11" fmla="*/ 4724400 h 5467350"/>
              <a:gd name="connsiteX12" fmla="*/ 2019300 w 12249150"/>
              <a:gd name="connsiteY12" fmla="*/ 4572000 h 5467350"/>
              <a:gd name="connsiteX13" fmla="*/ 2076450 w 12249150"/>
              <a:gd name="connsiteY13" fmla="*/ 4705350 h 5467350"/>
              <a:gd name="connsiteX14" fmla="*/ 2200275 w 12249150"/>
              <a:gd name="connsiteY14" fmla="*/ 4543425 h 5467350"/>
              <a:gd name="connsiteX15" fmla="*/ 2371725 w 12249150"/>
              <a:gd name="connsiteY15" fmla="*/ 4610100 h 5467350"/>
              <a:gd name="connsiteX16" fmla="*/ 2409825 w 12249150"/>
              <a:gd name="connsiteY16" fmla="*/ 4752975 h 5467350"/>
              <a:gd name="connsiteX17" fmla="*/ 2495550 w 12249150"/>
              <a:gd name="connsiteY17" fmla="*/ 4733925 h 5467350"/>
              <a:gd name="connsiteX18" fmla="*/ 2505075 w 12249150"/>
              <a:gd name="connsiteY18" fmla="*/ 4705350 h 5467350"/>
              <a:gd name="connsiteX19" fmla="*/ 2600325 w 12249150"/>
              <a:gd name="connsiteY19" fmla="*/ 4705350 h 5467350"/>
              <a:gd name="connsiteX20" fmla="*/ 2628900 w 12249150"/>
              <a:gd name="connsiteY20" fmla="*/ 4810125 h 5467350"/>
              <a:gd name="connsiteX21" fmla="*/ 2733675 w 12249150"/>
              <a:gd name="connsiteY21" fmla="*/ 4772025 h 5467350"/>
              <a:gd name="connsiteX22" fmla="*/ 2781300 w 12249150"/>
              <a:gd name="connsiteY22" fmla="*/ 4724400 h 5467350"/>
              <a:gd name="connsiteX23" fmla="*/ 2819400 w 12249150"/>
              <a:gd name="connsiteY23" fmla="*/ 4772025 h 5467350"/>
              <a:gd name="connsiteX24" fmla="*/ 3019425 w 12249150"/>
              <a:gd name="connsiteY24" fmla="*/ 4724400 h 5467350"/>
              <a:gd name="connsiteX25" fmla="*/ 3171825 w 12249150"/>
              <a:gd name="connsiteY25" fmla="*/ 4457700 h 5467350"/>
              <a:gd name="connsiteX26" fmla="*/ 3257550 w 12249150"/>
              <a:gd name="connsiteY26" fmla="*/ 4610100 h 5467350"/>
              <a:gd name="connsiteX27" fmla="*/ 4133850 w 12249150"/>
              <a:gd name="connsiteY27" fmla="*/ 3819525 h 5467350"/>
              <a:gd name="connsiteX28" fmla="*/ 4362450 w 12249150"/>
              <a:gd name="connsiteY28" fmla="*/ 3400425 h 5467350"/>
              <a:gd name="connsiteX29" fmla="*/ 4533900 w 12249150"/>
              <a:gd name="connsiteY29" fmla="*/ 3400425 h 5467350"/>
              <a:gd name="connsiteX30" fmla="*/ 4600575 w 12249150"/>
              <a:gd name="connsiteY30" fmla="*/ 3390900 h 5467350"/>
              <a:gd name="connsiteX31" fmla="*/ 4705350 w 12249150"/>
              <a:gd name="connsiteY31" fmla="*/ 3343275 h 5467350"/>
              <a:gd name="connsiteX32" fmla="*/ 4705350 w 12249150"/>
              <a:gd name="connsiteY32" fmla="*/ 3448050 h 5467350"/>
              <a:gd name="connsiteX33" fmla="*/ 5038725 w 12249150"/>
              <a:gd name="connsiteY33" fmla="*/ 3238500 h 5467350"/>
              <a:gd name="connsiteX34" fmla="*/ 5257800 w 12249150"/>
              <a:gd name="connsiteY34" fmla="*/ 3305175 h 5467350"/>
              <a:gd name="connsiteX35" fmla="*/ 5400675 w 12249150"/>
              <a:gd name="connsiteY35" fmla="*/ 3124200 h 5467350"/>
              <a:gd name="connsiteX36" fmla="*/ 5572125 w 12249150"/>
              <a:gd name="connsiteY36" fmla="*/ 3086100 h 5467350"/>
              <a:gd name="connsiteX37" fmla="*/ 5743575 w 12249150"/>
              <a:gd name="connsiteY37" fmla="*/ 2781300 h 5467350"/>
              <a:gd name="connsiteX38" fmla="*/ 5848350 w 12249150"/>
              <a:gd name="connsiteY38" fmla="*/ 2790825 h 5467350"/>
              <a:gd name="connsiteX39" fmla="*/ 6143625 w 12249150"/>
              <a:gd name="connsiteY39" fmla="*/ 2505075 h 5467350"/>
              <a:gd name="connsiteX40" fmla="*/ 6276975 w 12249150"/>
              <a:gd name="connsiteY40" fmla="*/ 2505075 h 5467350"/>
              <a:gd name="connsiteX41" fmla="*/ 6410325 w 12249150"/>
              <a:gd name="connsiteY41" fmla="*/ 2314575 h 5467350"/>
              <a:gd name="connsiteX42" fmla="*/ 6696075 w 12249150"/>
              <a:gd name="connsiteY42" fmla="*/ 2000250 h 5467350"/>
              <a:gd name="connsiteX43" fmla="*/ 6829425 w 12249150"/>
              <a:gd name="connsiteY43" fmla="*/ 1771650 h 5467350"/>
              <a:gd name="connsiteX44" fmla="*/ 7019925 w 12249150"/>
              <a:gd name="connsiteY44" fmla="*/ 1781175 h 5467350"/>
              <a:gd name="connsiteX45" fmla="*/ 7229475 w 12249150"/>
              <a:gd name="connsiteY45" fmla="*/ 2085975 h 5467350"/>
              <a:gd name="connsiteX46" fmla="*/ 7553325 w 12249150"/>
              <a:gd name="connsiteY46" fmla="*/ 2209800 h 5467350"/>
              <a:gd name="connsiteX47" fmla="*/ 7743825 w 12249150"/>
              <a:gd name="connsiteY47" fmla="*/ 2181225 h 5467350"/>
              <a:gd name="connsiteX48" fmla="*/ 8010525 w 12249150"/>
              <a:gd name="connsiteY48" fmla="*/ 1809750 h 5467350"/>
              <a:gd name="connsiteX49" fmla="*/ 8172450 w 12249150"/>
              <a:gd name="connsiteY49" fmla="*/ 2143125 h 5467350"/>
              <a:gd name="connsiteX50" fmla="*/ 9229725 w 12249150"/>
              <a:gd name="connsiteY50" fmla="*/ 600075 h 5467350"/>
              <a:gd name="connsiteX51" fmla="*/ 9239250 w 12249150"/>
              <a:gd name="connsiteY51" fmla="*/ 533400 h 5467350"/>
              <a:gd name="connsiteX52" fmla="*/ 9677400 w 12249150"/>
              <a:gd name="connsiteY52" fmla="*/ 0 h 5467350"/>
              <a:gd name="connsiteX53" fmla="*/ 9886950 w 12249150"/>
              <a:gd name="connsiteY53" fmla="*/ 171450 h 5467350"/>
              <a:gd name="connsiteX54" fmla="*/ 10115550 w 12249150"/>
              <a:gd name="connsiteY54" fmla="*/ 619125 h 5467350"/>
              <a:gd name="connsiteX55" fmla="*/ 10429875 w 12249150"/>
              <a:gd name="connsiteY55" fmla="*/ 1038225 h 5467350"/>
              <a:gd name="connsiteX56" fmla="*/ 10706100 w 12249150"/>
              <a:gd name="connsiteY56" fmla="*/ 1143000 h 5467350"/>
              <a:gd name="connsiteX57" fmla="*/ 10706100 w 12249150"/>
              <a:gd name="connsiteY57" fmla="*/ 1019175 h 5467350"/>
              <a:gd name="connsiteX58" fmla="*/ 11029950 w 12249150"/>
              <a:gd name="connsiteY58" fmla="*/ 1457325 h 5467350"/>
              <a:gd name="connsiteX59" fmla="*/ 11153775 w 12249150"/>
              <a:gd name="connsiteY59" fmla="*/ 1314450 h 5467350"/>
              <a:gd name="connsiteX60" fmla="*/ 11649075 w 12249150"/>
              <a:gd name="connsiteY60" fmla="*/ 1590675 h 5467350"/>
              <a:gd name="connsiteX61" fmla="*/ 11734800 w 12249150"/>
              <a:gd name="connsiteY61" fmla="*/ 1990725 h 5467350"/>
              <a:gd name="connsiteX62" fmla="*/ 11906250 w 12249150"/>
              <a:gd name="connsiteY62" fmla="*/ 2114550 h 5467350"/>
              <a:gd name="connsiteX63" fmla="*/ 11953875 w 12249150"/>
              <a:gd name="connsiteY63" fmla="*/ 2019300 h 5467350"/>
              <a:gd name="connsiteX64" fmla="*/ 12249150 w 12249150"/>
              <a:gd name="connsiteY64" fmla="*/ 1971675 h 5467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12249150" h="5467350">
                <a:moveTo>
                  <a:pt x="0" y="5467350"/>
                </a:moveTo>
                <a:lnTo>
                  <a:pt x="133350" y="5391150"/>
                </a:lnTo>
                <a:lnTo>
                  <a:pt x="447675" y="4933950"/>
                </a:lnTo>
                <a:lnTo>
                  <a:pt x="552450" y="5191125"/>
                </a:lnTo>
                <a:lnTo>
                  <a:pt x="628650" y="5010150"/>
                </a:lnTo>
                <a:lnTo>
                  <a:pt x="714375" y="5048250"/>
                </a:lnTo>
                <a:lnTo>
                  <a:pt x="771525" y="5191125"/>
                </a:lnTo>
                <a:lnTo>
                  <a:pt x="1171575" y="4552950"/>
                </a:lnTo>
                <a:lnTo>
                  <a:pt x="1333500" y="4419600"/>
                </a:lnTo>
                <a:lnTo>
                  <a:pt x="1524000" y="4419600"/>
                </a:lnTo>
                <a:lnTo>
                  <a:pt x="1895475" y="4743450"/>
                </a:lnTo>
                <a:lnTo>
                  <a:pt x="1971675" y="4724400"/>
                </a:lnTo>
                <a:lnTo>
                  <a:pt x="2019300" y="4572000"/>
                </a:lnTo>
                <a:lnTo>
                  <a:pt x="2076450" y="4705350"/>
                </a:lnTo>
                <a:lnTo>
                  <a:pt x="2200275" y="4543425"/>
                </a:lnTo>
                <a:lnTo>
                  <a:pt x="2371725" y="4610100"/>
                </a:lnTo>
                <a:lnTo>
                  <a:pt x="2409825" y="4752975"/>
                </a:lnTo>
                <a:lnTo>
                  <a:pt x="2495550" y="4733925"/>
                </a:lnTo>
                <a:lnTo>
                  <a:pt x="2505075" y="4705350"/>
                </a:lnTo>
                <a:lnTo>
                  <a:pt x="2600325" y="4705350"/>
                </a:lnTo>
                <a:lnTo>
                  <a:pt x="2628900" y="4810125"/>
                </a:lnTo>
                <a:lnTo>
                  <a:pt x="2733675" y="4772025"/>
                </a:lnTo>
                <a:lnTo>
                  <a:pt x="2781300" y="4724400"/>
                </a:lnTo>
                <a:lnTo>
                  <a:pt x="2819400" y="4772025"/>
                </a:lnTo>
                <a:lnTo>
                  <a:pt x="3019425" y="4724400"/>
                </a:lnTo>
                <a:lnTo>
                  <a:pt x="3171825" y="4457700"/>
                </a:lnTo>
                <a:lnTo>
                  <a:pt x="3257550" y="4610100"/>
                </a:lnTo>
                <a:lnTo>
                  <a:pt x="4133850" y="3819525"/>
                </a:lnTo>
                <a:lnTo>
                  <a:pt x="4362450" y="3400425"/>
                </a:lnTo>
                <a:lnTo>
                  <a:pt x="4533900" y="3400425"/>
                </a:lnTo>
                <a:lnTo>
                  <a:pt x="4600575" y="3390900"/>
                </a:lnTo>
                <a:lnTo>
                  <a:pt x="4705350" y="3343275"/>
                </a:lnTo>
                <a:lnTo>
                  <a:pt x="4705350" y="3448050"/>
                </a:lnTo>
                <a:lnTo>
                  <a:pt x="5038725" y="3238500"/>
                </a:lnTo>
                <a:lnTo>
                  <a:pt x="5257800" y="3305175"/>
                </a:lnTo>
                <a:lnTo>
                  <a:pt x="5400675" y="3124200"/>
                </a:lnTo>
                <a:lnTo>
                  <a:pt x="5572125" y="3086100"/>
                </a:lnTo>
                <a:lnTo>
                  <a:pt x="5743575" y="2781300"/>
                </a:lnTo>
                <a:lnTo>
                  <a:pt x="5848350" y="2790825"/>
                </a:lnTo>
                <a:lnTo>
                  <a:pt x="6143625" y="2505075"/>
                </a:lnTo>
                <a:lnTo>
                  <a:pt x="6276975" y="2505075"/>
                </a:lnTo>
                <a:lnTo>
                  <a:pt x="6410325" y="2314575"/>
                </a:lnTo>
                <a:lnTo>
                  <a:pt x="6696075" y="2000250"/>
                </a:lnTo>
                <a:lnTo>
                  <a:pt x="6829425" y="1771650"/>
                </a:lnTo>
                <a:lnTo>
                  <a:pt x="7019925" y="1781175"/>
                </a:lnTo>
                <a:lnTo>
                  <a:pt x="7229475" y="2085975"/>
                </a:lnTo>
                <a:lnTo>
                  <a:pt x="7553325" y="2209800"/>
                </a:lnTo>
                <a:lnTo>
                  <a:pt x="7743825" y="2181225"/>
                </a:lnTo>
                <a:lnTo>
                  <a:pt x="8010525" y="1809750"/>
                </a:lnTo>
                <a:lnTo>
                  <a:pt x="8172450" y="2143125"/>
                </a:lnTo>
                <a:lnTo>
                  <a:pt x="9229725" y="600075"/>
                </a:lnTo>
                <a:lnTo>
                  <a:pt x="9239250" y="533400"/>
                </a:lnTo>
                <a:lnTo>
                  <a:pt x="9677400" y="0"/>
                </a:lnTo>
                <a:lnTo>
                  <a:pt x="9886950" y="171450"/>
                </a:lnTo>
                <a:lnTo>
                  <a:pt x="10115550" y="619125"/>
                </a:lnTo>
                <a:lnTo>
                  <a:pt x="10429875" y="1038225"/>
                </a:lnTo>
                <a:lnTo>
                  <a:pt x="10706100" y="1143000"/>
                </a:lnTo>
                <a:lnTo>
                  <a:pt x="10706100" y="1019175"/>
                </a:lnTo>
                <a:lnTo>
                  <a:pt x="11029950" y="1457325"/>
                </a:lnTo>
                <a:lnTo>
                  <a:pt x="11153775" y="1314450"/>
                </a:lnTo>
                <a:lnTo>
                  <a:pt x="11649075" y="1590675"/>
                </a:lnTo>
                <a:lnTo>
                  <a:pt x="11734800" y="1990725"/>
                </a:lnTo>
                <a:lnTo>
                  <a:pt x="11906250" y="2114550"/>
                </a:lnTo>
                <a:lnTo>
                  <a:pt x="11953875" y="2019300"/>
                </a:lnTo>
                <a:lnTo>
                  <a:pt x="12249150" y="1971675"/>
                </a:lnTo>
              </a:path>
            </a:pathLst>
          </a:custGeom>
          <a:no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20" name="组合 19">
            <a:extLst>
              <a:ext uri="{FF2B5EF4-FFF2-40B4-BE49-F238E27FC236}">
                <a16:creationId xmlns:a16="http://schemas.microsoft.com/office/drawing/2014/main" id="{9A4759F5-7DD4-4AD1-B635-65873B7C7C50}"/>
              </a:ext>
            </a:extLst>
          </p:cNvPr>
          <p:cNvGrpSpPr/>
          <p:nvPr/>
        </p:nvGrpSpPr>
        <p:grpSpPr>
          <a:xfrm>
            <a:off x="346553" y="3962400"/>
            <a:ext cx="2375109" cy="1775147"/>
            <a:chOff x="2564606" y="2353940"/>
            <a:chExt cx="2375109" cy="1775147"/>
          </a:xfrm>
        </p:grpSpPr>
        <p:cxnSp>
          <p:nvCxnSpPr>
            <p:cNvPr id="21" name="直接连接符 20">
              <a:extLst>
                <a:ext uri="{FF2B5EF4-FFF2-40B4-BE49-F238E27FC236}">
                  <a16:creationId xmlns:a16="http://schemas.microsoft.com/office/drawing/2014/main" id="{FDB75409-89EC-4728-AC45-2302AF4E16F1}"/>
                </a:ext>
              </a:extLst>
            </p:cNvPr>
            <p:cNvCxnSpPr>
              <a:cxnSpLocks/>
            </p:cNvCxnSpPr>
            <p:nvPr/>
          </p:nvCxnSpPr>
          <p:spPr>
            <a:xfrm>
              <a:off x="2628900" y="2420615"/>
              <a:ext cx="0" cy="1621033"/>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2" name="椭圆 21">
              <a:extLst>
                <a:ext uri="{FF2B5EF4-FFF2-40B4-BE49-F238E27FC236}">
                  <a16:creationId xmlns:a16="http://schemas.microsoft.com/office/drawing/2014/main" id="{717E612E-F8AA-447D-88E1-0386DF5872C4}"/>
                </a:ext>
              </a:extLst>
            </p:cNvPr>
            <p:cNvSpPr/>
            <p:nvPr/>
          </p:nvSpPr>
          <p:spPr>
            <a:xfrm>
              <a:off x="2564606" y="4000499"/>
              <a:ext cx="128588" cy="128588"/>
            </a:xfrm>
            <a:prstGeom prst="ellipse">
              <a:avLst/>
            </a:prstGeom>
            <a:solidFill>
              <a:schemeClr val="bg1"/>
            </a:solidFill>
            <a:ln>
              <a:noFill/>
            </a:ln>
            <a:effectLst>
              <a:outerShdw sx="154000" sy="154000" algn="ctr" rotWithShape="0">
                <a:schemeClr val="bg1">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23" name="文本框 22">
              <a:extLst>
                <a:ext uri="{FF2B5EF4-FFF2-40B4-BE49-F238E27FC236}">
                  <a16:creationId xmlns:a16="http://schemas.microsoft.com/office/drawing/2014/main" id="{64114EFC-5E8D-4B14-9B9B-B8D673787210}"/>
                </a:ext>
              </a:extLst>
            </p:cNvPr>
            <p:cNvSpPr txBox="1"/>
            <p:nvPr/>
          </p:nvSpPr>
          <p:spPr>
            <a:xfrm>
              <a:off x="2703206" y="2709179"/>
              <a:ext cx="2236509" cy="600164"/>
            </a:xfrm>
            <a:prstGeom prst="rect">
              <a:avLst/>
            </a:prstGeom>
            <a:noFill/>
          </p:spPr>
          <p:txBody>
            <a:bodyPr wrap="square" rtlCol="0">
              <a:spAutoFit/>
            </a:bodyPr>
            <a:lstStyle/>
            <a:p>
              <a:r>
                <a:rPr lang="en-US" altLang="zh-CN" sz="1100" dirty="0">
                  <a:solidFill>
                    <a:schemeClr val="bg1"/>
                  </a:solidFill>
                </a:rPr>
                <a:t>Lorem ipsum dolor sit amet consectetur adipisicing elit sed do eiusmod tempor</a:t>
              </a:r>
              <a:endParaRPr lang="zh-CN" altLang="en-US" sz="1100" dirty="0">
                <a:solidFill>
                  <a:schemeClr val="bg1"/>
                </a:solidFill>
              </a:endParaRPr>
            </a:p>
          </p:txBody>
        </p:sp>
        <p:sp>
          <p:nvSpPr>
            <p:cNvPr id="24" name="文本框 23">
              <a:extLst>
                <a:ext uri="{FF2B5EF4-FFF2-40B4-BE49-F238E27FC236}">
                  <a16:creationId xmlns:a16="http://schemas.microsoft.com/office/drawing/2014/main" id="{D23CE8FE-4A59-4FAD-9F44-55F650B546ED}"/>
                </a:ext>
              </a:extLst>
            </p:cNvPr>
            <p:cNvSpPr txBox="1"/>
            <p:nvPr/>
          </p:nvSpPr>
          <p:spPr>
            <a:xfrm>
              <a:off x="2703206" y="2353940"/>
              <a:ext cx="1467069" cy="400110"/>
            </a:xfrm>
            <a:prstGeom prst="rect">
              <a:avLst/>
            </a:prstGeom>
            <a:noFill/>
          </p:spPr>
          <p:txBody>
            <a:bodyPr wrap="none" rtlCol="0">
              <a:spAutoFit/>
            </a:bodyPr>
            <a:lstStyle/>
            <a:p>
              <a:r>
                <a:rPr lang="zh-CN" altLang="en-US" sz="2000" dirty="0">
                  <a:solidFill>
                    <a:schemeClr val="bg1"/>
                  </a:solidFill>
                  <a:latin typeface="+mj-ea"/>
                  <a:ea typeface="+mj-ea"/>
                </a:rPr>
                <a:t>关键词标题</a:t>
              </a:r>
            </a:p>
          </p:txBody>
        </p:sp>
      </p:grpSp>
      <p:grpSp>
        <p:nvGrpSpPr>
          <p:cNvPr id="53" name="组合 52">
            <a:extLst>
              <a:ext uri="{FF2B5EF4-FFF2-40B4-BE49-F238E27FC236}">
                <a16:creationId xmlns:a16="http://schemas.microsoft.com/office/drawing/2014/main" id="{ECF17BCF-F73C-4794-BDAF-DDC456ADB182}"/>
              </a:ext>
            </a:extLst>
          </p:cNvPr>
          <p:cNvGrpSpPr/>
          <p:nvPr/>
        </p:nvGrpSpPr>
        <p:grpSpPr>
          <a:xfrm>
            <a:off x="2584928" y="2857500"/>
            <a:ext cx="2375109" cy="2803847"/>
            <a:chOff x="2564606" y="2353940"/>
            <a:chExt cx="2375109" cy="2803847"/>
          </a:xfrm>
        </p:grpSpPr>
        <p:cxnSp>
          <p:nvCxnSpPr>
            <p:cNvPr id="54" name="直接连接符 53">
              <a:extLst>
                <a:ext uri="{FF2B5EF4-FFF2-40B4-BE49-F238E27FC236}">
                  <a16:creationId xmlns:a16="http://schemas.microsoft.com/office/drawing/2014/main" id="{52206166-ACC6-4D5A-9F27-89D76C549C12}"/>
                </a:ext>
              </a:extLst>
            </p:cNvPr>
            <p:cNvCxnSpPr>
              <a:cxnSpLocks/>
              <a:endCxn id="55" idx="0"/>
            </p:cNvCxnSpPr>
            <p:nvPr/>
          </p:nvCxnSpPr>
          <p:spPr>
            <a:xfrm>
              <a:off x="2628900" y="2420615"/>
              <a:ext cx="0" cy="2608584"/>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55" name="椭圆 54">
              <a:extLst>
                <a:ext uri="{FF2B5EF4-FFF2-40B4-BE49-F238E27FC236}">
                  <a16:creationId xmlns:a16="http://schemas.microsoft.com/office/drawing/2014/main" id="{202C5D07-88C0-42AE-884A-BAEDED843B6F}"/>
                </a:ext>
              </a:extLst>
            </p:cNvPr>
            <p:cNvSpPr/>
            <p:nvPr/>
          </p:nvSpPr>
          <p:spPr>
            <a:xfrm>
              <a:off x="2564606" y="5029199"/>
              <a:ext cx="128588" cy="128588"/>
            </a:xfrm>
            <a:prstGeom prst="ellipse">
              <a:avLst/>
            </a:prstGeom>
            <a:solidFill>
              <a:schemeClr val="bg1"/>
            </a:solidFill>
            <a:ln>
              <a:noFill/>
            </a:ln>
            <a:effectLst>
              <a:outerShdw sx="154000" sy="154000" algn="ctr" rotWithShape="0">
                <a:schemeClr val="bg1">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56" name="文本框 55">
              <a:extLst>
                <a:ext uri="{FF2B5EF4-FFF2-40B4-BE49-F238E27FC236}">
                  <a16:creationId xmlns:a16="http://schemas.microsoft.com/office/drawing/2014/main" id="{01018D35-8A3C-4BD5-87FA-F2BF3499CCF9}"/>
                </a:ext>
              </a:extLst>
            </p:cNvPr>
            <p:cNvSpPr txBox="1"/>
            <p:nvPr/>
          </p:nvSpPr>
          <p:spPr>
            <a:xfrm>
              <a:off x="2703206" y="2709179"/>
              <a:ext cx="2236509" cy="600164"/>
            </a:xfrm>
            <a:prstGeom prst="rect">
              <a:avLst/>
            </a:prstGeom>
            <a:noFill/>
          </p:spPr>
          <p:txBody>
            <a:bodyPr wrap="square" rtlCol="0">
              <a:spAutoFit/>
            </a:bodyPr>
            <a:lstStyle/>
            <a:p>
              <a:r>
                <a:rPr lang="en-US" altLang="zh-CN" sz="1100" dirty="0">
                  <a:solidFill>
                    <a:schemeClr val="bg1"/>
                  </a:solidFill>
                </a:rPr>
                <a:t>Lorem ipsum dolor sit amet consectetur adipisicing elit sed do eiusmod tempor</a:t>
              </a:r>
              <a:endParaRPr lang="zh-CN" altLang="en-US" sz="1100" dirty="0">
                <a:solidFill>
                  <a:schemeClr val="bg1"/>
                </a:solidFill>
              </a:endParaRPr>
            </a:p>
          </p:txBody>
        </p:sp>
        <p:sp>
          <p:nvSpPr>
            <p:cNvPr id="57" name="文本框 56">
              <a:extLst>
                <a:ext uri="{FF2B5EF4-FFF2-40B4-BE49-F238E27FC236}">
                  <a16:creationId xmlns:a16="http://schemas.microsoft.com/office/drawing/2014/main" id="{B173429E-60FE-4C57-A019-73817DE567D6}"/>
                </a:ext>
              </a:extLst>
            </p:cNvPr>
            <p:cNvSpPr txBox="1"/>
            <p:nvPr/>
          </p:nvSpPr>
          <p:spPr>
            <a:xfrm>
              <a:off x="2703206" y="2353940"/>
              <a:ext cx="1467069" cy="400110"/>
            </a:xfrm>
            <a:prstGeom prst="rect">
              <a:avLst/>
            </a:prstGeom>
            <a:noFill/>
          </p:spPr>
          <p:txBody>
            <a:bodyPr wrap="none" rtlCol="0">
              <a:spAutoFit/>
            </a:bodyPr>
            <a:lstStyle/>
            <a:p>
              <a:r>
                <a:rPr lang="zh-CN" altLang="en-US" sz="2000" dirty="0">
                  <a:solidFill>
                    <a:schemeClr val="bg1"/>
                  </a:solidFill>
                  <a:latin typeface="+mj-ea"/>
                  <a:ea typeface="+mj-ea"/>
                </a:rPr>
                <a:t>关键词标题</a:t>
              </a:r>
            </a:p>
          </p:txBody>
        </p:sp>
      </p:grpSp>
      <p:grpSp>
        <p:nvGrpSpPr>
          <p:cNvPr id="58" name="组合 57">
            <a:extLst>
              <a:ext uri="{FF2B5EF4-FFF2-40B4-BE49-F238E27FC236}">
                <a16:creationId xmlns:a16="http://schemas.microsoft.com/office/drawing/2014/main" id="{12B61205-0DDA-4D65-9828-1C9AF33D6FE9}"/>
              </a:ext>
            </a:extLst>
          </p:cNvPr>
          <p:cNvGrpSpPr/>
          <p:nvPr/>
        </p:nvGrpSpPr>
        <p:grpSpPr>
          <a:xfrm>
            <a:off x="4804253" y="1352550"/>
            <a:ext cx="2375109" cy="2803847"/>
            <a:chOff x="2564606" y="2353940"/>
            <a:chExt cx="2375109" cy="2803847"/>
          </a:xfrm>
        </p:grpSpPr>
        <p:cxnSp>
          <p:nvCxnSpPr>
            <p:cNvPr id="59" name="直接连接符 58">
              <a:extLst>
                <a:ext uri="{FF2B5EF4-FFF2-40B4-BE49-F238E27FC236}">
                  <a16:creationId xmlns:a16="http://schemas.microsoft.com/office/drawing/2014/main" id="{A6E3E578-DC9A-403D-9B07-2A2EBAFC2DD3}"/>
                </a:ext>
              </a:extLst>
            </p:cNvPr>
            <p:cNvCxnSpPr>
              <a:cxnSpLocks/>
              <a:endCxn id="60" idx="0"/>
            </p:cNvCxnSpPr>
            <p:nvPr/>
          </p:nvCxnSpPr>
          <p:spPr>
            <a:xfrm>
              <a:off x="2628900" y="2420615"/>
              <a:ext cx="0" cy="2608584"/>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60" name="椭圆 59">
              <a:extLst>
                <a:ext uri="{FF2B5EF4-FFF2-40B4-BE49-F238E27FC236}">
                  <a16:creationId xmlns:a16="http://schemas.microsoft.com/office/drawing/2014/main" id="{F58D43E2-2A49-4F84-8BA2-B734BE3C18CB}"/>
                </a:ext>
              </a:extLst>
            </p:cNvPr>
            <p:cNvSpPr/>
            <p:nvPr/>
          </p:nvSpPr>
          <p:spPr>
            <a:xfrm>
              <a:off x="2564606" y="5029199"/>
              <a:ext cx="128588" cy="128588"/>
            </a:xfrm>
            <a:prstGeom prst="ellipse">
              <a:avLst/>
            </a:prstGeom>
            <a:solidFill>
              <a:schemeClr val="bg1"/>
            </a:solidFill>
            <a:ln>
              <a:noFill/>
            </a:ln>
            <a:effectLst>
              <a:outerShdw sx="154000" sy="154000" algn="ctr" rotWithShape="0">
                <a:schemeClr val="bg1">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61" name="文本框 60">
              <a:extLst>
                <a:ext uri="{FF2B5EF4-FFF2-40B4-BE49-F238E27FC236}">
                  <a16:creationId xmlns:a16="http://schemas.microsoft.com/office/drawing/2014/main" id="{964B0FDB-5340-4C3D-AA28-D5766301D829}"/>
                </a:ext>
              </a:extLst>
            </p:cNvPr>
            <p:cNvSpPr txBox="1"/>
            <p:nvPr/>
          </p:nvSpPr>
          <p:spPr>
            <a:xfrm>
              <a:off x="2703206" y="2709179"/>
              <a:ext cx="2236509" cy="600164"/>
            </a:xfrm>
            <a:prstGeom prst="rect">
              <a:avLst/>
            </a:prstGeom>
            <a:noFill/>
          </p:spPr>
          <p:txBody>
            <a:bodyPr wrap="square" rtlCol="0">
              <a:spAutoFit/>
            </a:bodyPr>
            <a:lstStyle/>
            <a:p>
              <a:r>
                <a:rPr lang="en-US" altLang="zh-CN" sz="1100" dirty="0">
                  <a:solidFill>
                    <a:schemeClr val="bg1"/>
                  </a:solidFill>
                </a:rPr>
                <a:t>Lorem ipsum dolor sit amet consectetur adipisicing elit sed do eiusmod tempor</a:t>
              </a:r>
              <a:endParaRPr lang="zh-CN" altLang="en-US" sz="1100" dirty="0">
                <a:solidFill>
                  <a:schemeClr val="bg1"/>
                </a:solidFill>
              </a:endParaRPr>
            </a:p>
          </p:txBody>
        </p:sp>
        <p:sp>
          <p:nvSpPr>
            <p:cNvPr id="62" name="文本框 61">
              <a:extLst>
                <a:ext uri="{FF2B5EF4-FFF2-40B4-BE49-F238E27FC236}">
                  <a16:creationId xmlns:a16="http://schemas.microsoft.com/office/drawing/2014/main" id="{86CCD717-9879-4A21-9E17-3702909CB460}"/>
                </a:ext>
              </a:extLst>
            </p:cNvPr>
            <p:cNvSpPr txBox="1"/>
            <p:nvPr/>
          </p:nvSpPr>
          <p:spPr>
            <a:xfrm>
              <a:off x="2703206" y="2353940"/>
              <a:ext cx="1467069" cy="400110"/>
            </a:xfrm>
            <a:prstGeom prst="rect">
              <a:avLst/>
            </a:prstGeom>
            <a:noFill/>
          </p:spPr>
          <p:txBody>
            <a:bodyPr wrap="none" rtlCol="0">
              <a:spAutoFit/>
            </a:bodyPr>
            <a:lstStyle/>
            <a:p>
              <a:r>
                <a:rPr lang="zh-CN" altLang="en-US" sz="2000" dirty="0">
                  <a:solidFill>
                    <a:schemeClr val="bg1"/>
                  </a:solidFill>
                  <a:latin typeface="+mj-ea"/>
                  <a:ea typeface="+mj-ea"/>
                </a:rPr>
                <a:t>关键词标题</a:t>
              </a:r>
            </a:p>
          </p:txBody>
        </p:sp>
      </p:grpSp>
      <p:grpSp>
        <p:nvGrpSpPr>
          <p:cNvPr id="63" name="组合 62">
            <a:extLst>
              <a:ext uri="{FF2B5EF4-FFF2-40B4-BE49-F238E27FC236}">
                <a16:creationId xmlns:a16="http://schemas.microsoft.com/office/drawing/2014/main" id="{514FAB16-C29A-4F97-86DB-96BFA9F426CE}"/>
              </a:ext>
            </a:extLst>
          </p:cNvPr>
          <p:cNvGrpSpPr/>
          <p:nvPr/>
        </p:nvGrpSpPr>
        <p:grpSpPr>
          <a:xfrm>
            <a:off x="7093363" y="253708"/>
            <a:ext cx="2375109" cy="2570932"/>
            <a:chOff x="2564606" y="2353940"/>
            <a:chExt cx="2375109" cy="2570932"/>
          </a:xfrm>
        </p:grpSpPr>
        <p:cxnSp>
          <p:nvCxnSpPr>
            <p:cNvPr id="64" name="直接连接符 63">
              <a:extLst>
                <a:ext uri="{FF2B5EF4-FFF2-40B4-BE49-F238E27FC236}">
                  <a16:creationId xmlns:a16="http://schemas.microsoft.com/office/drawing/2014/main" id="{5D5774E4-F91D-45F1-BD20-B8FA2A8F7BEA}"/>
                </a:ext>
              </a:extLst>
            </p:cNvPr>
            <p:cNvCxnSpPr>
              <a:cxnSpLocks/>
              <a:endCxn id="65" idx="0"/>
            </p:cNvCxnSpPr>
            <p:nvPr/>
          </p:nvCxnSpPr>
          <p:spPr>
            <a:xfrm>
              <a:off x="2628900" y="2424082"/>
              <a:ext cx="0" cy="2372202"/>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65" name="椭圆 64">
              <a:extLst>
                <a:ext uri="{FF2B5EF4-FFF2-40B4-BE49-F238E27FC236}">
                  <a16:creationId xmlns:a16="http://schemas.microsoft.com/office/drawing/2014/main" id="{70A38D2B-030C-486B-A0FA-DF428884553B}"/>
                </a:ext>
              </a:extLst>
            </p:cNvPr>
            <p:cNvSpPr/>
            <p:nvPr/>
          </p:nvSpPr>
          <p:spPr>
            <a:xfrm>
              <a:off x="2564606" y="4796284"/>
              <a:ext cx="128588" cy="128588"/>
            </a:xfrm>
            <a:prstGeom prst="ellipse">
              <a:avLst/>
            </a:prstGeom>
            <a:solidFill>
              <a:schemeClr val="bg1"/>
            </a:solidFill>
            <a:ln>
              <a:noFill/>
            </a:ln>
            <a:effectLst>
              <a:outerShdw sx="154000" sy="154000" algn="ctr" rotWithShape="0">
                <a:schemeClr val="bg1">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66" name="文本框 65">
              <a:extLst>
                <a:ext uri="{FF2B5EF4-FFF2-40B4-BE49-F238E27FC236}">
                  <a16:creationId xmlns:a16="http://schemas.microsoft.com/office/drawing/2014/main" id="{C6B035B9-65BF-4D2B-ADCB-40C3F058DB9D}"/>
                </a:ext>
              </a:extLst>
            </p:cNvPr>
            <p:cNvSpPr txBox="1"/>
            <p:nvPr/>
          </p:nvSpPr>
          <p:spPr>
            <a:xfrm>
              <a:off x="2703206" y="2709179"/>
              <a:ext cx="2236509" cy="600164"/>
            </a:xfrm>
            <a:prstGeom prst="rect">
              <a:avLst/>
            </a:prstGeom>
            <a:noFill/>
          </p:spPr>
          <p:txBody>
            <a:bodyPr wrap="square" rtlCol="0">
              <a:spAutoFit/>
            </a:bodyPr>
            <a:lstStyle/>
            <a:p>
              <a:r>
                <a:rPr lang="en-US" altLang="zh-CN" sz="1100" dirty="0">
                  <a:solidFill>
                    <a:schemeClr val="bg1"/>
                  </a:solidFill>
                </a:rPr>
                <a:t>Lorem ipsum dolor sit amet consectetur adipisicing elit sed do eiusmod tempor</a:t>
              </a:r>
              <a:endParaRPr lang="zh-CN" altLang="en-US" sz="1100" dirty="0">
                <a:solidFill>
                  <a:schemeClr val="bg1"/>
                </a:solidFill>
              </a:endParaRPr>
            </a:p>
          </p:txBody>
        </p:sp>
        <p:sp>
          <p:nvSpPr>
            <p:cNvPr id="67" name="文本框 66">
              <a:extLst>
                <a:ext uri="{FF2B5EF4-FFF2-40B4-BE49-F238E27FC236}">
                  <a16:creationId xmlns:a16="http://schemas.microsoft.com/office/drawing/2014/main" id="{F16D2425-6886-4866-B791-A3D0B8954490}"/>
                </a:ext>
              </a:extLst>
            </p:cNvPr>
            <p:cNvSpPr txBox="1"/>
            <p:nvPr/>
          </p:nvSpPr>
          <p:spPr>
            <a:xfrm>
              <a:off x="2703206" y="2353940"/>
              <a:ext cx="1467069" cy="400110"/>
            </a:xfrm>
            <a:prstGeom prst="rect">
              <a:avLst/>
            </a:prstGeom>
            <a:noFill/>
          </p:spPr>
          <p:txBody>
            <a:bodyPr wrap="none" rtlCol="0">
              <a:spAutoFit/>
            </a:bodyPr>
            <a:lstStyle/>
            <a:p>
              <a:r>
                <a:rPr lang="zh-CN" altLang="en-US" sz="2000" dirty="0">
                  <a:solidFill>
                    <a:schemeClr val="bg1"/>
                  </a:solidFill>
                  <a:latin typeface="+mj-ea"/>
                  <a:ea typeface="+mj-ea"/>
                </a:rPr>
                <a:t>关键词标题</a:t>
              </a:r>
            </a:p>
          </p:txBody>
        </p:sp>
      </p:grpSp>
    </p:spTree>
    <p:custDataLst>
      <p:tags r:id="rId2"/>
    </p:custDataLst>
    <p:extLst>
      <p:ext uri="{BB962C8B-B14F-4D97-AF65-F5344CB8AC3E}">
        <p14:creationId xmlns:p14="http://schemas.microsoft.com/office/powerpoint/2010/main" val="973562266"/>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3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图片 5" descr="山上有雪&#10;&#10;描述已自动生成">
            <a:extLst>
              <a:ext uri="{FF2B5EF4-FFF2-40B4-BE49-F238E27FC236}">
                <a16:creationId xmlns:a16="http://schemas.microsoft.com/office/drawing/2014/main" id="{BC116BA8-0FC6-42D8-BE07-7999493810B6}"/>
              </a:ext>
            </a:extLst>
          </p:cNvPr>
          <p:cNvPicPr>
            <a:picLocks noChangeAspect="1"/>
          </p:cNvPicPr>
          <p:nvPr/>
        </p:nvPicPr>
        <p:blipFill>
          <a:blip r:embed="rId3">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tretch>
            <a:fillRect/>
          </a:stretch>
        </p:blipFill>
        <p:spPr>
          <a:xfrm>
            <a:off x="0" y="3807186"/>
            <a:ext cx="12192000" cy="3050814"/>
          </a:xfrm>
          <a:prstGeom prst="rect">
            <a:avLst/>
          </a:prstGeom>
        </p:spPr>
      </p:pic>
      <p:cxnSp>
        <p:nvCxnSpPr>
          <p:cNvPr id="7" name="直接连接符 6">
            <a:extLst>
              <a:ext uri="{FF2B5EF4-FFF2-40B4-BE49-F238E27FC236}">
                <a16:creationId xmlns:a16="http://schemas.microsoft.com/office/drawing/2014/main" id="{AEC3C3A8-5167-4E42-B330-D790FE441C2D}"/>
              </a:ext>
            </a:extLst>
          </p:cNvPr>
          <p:cNvCxnSpPr>
            <a:cxnSpLocks/>
            <a:endCxn id="10" idx="0"/>
          </p:cNvCxnSpPr>
          <p:nvPr/>
        </p:nvCxnSpPr>
        <p:spPr>
          <a:xfrm>
            <a:off x="819150" y="1910060"/>
            <a:ext cx="1" cy="2207425"/>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8" name="文本框 7">
            <a:extLst>
              <a:ext uri="{FF2B5EF4-FFF2-40B4-BE49-F238E27FC236}">
                <a16:creationId xmlns:a16="http://schemas.microsoft.com/office/drawing/2014/main" id="{D3C73850-93B0-4AE1-B044-68BD5A672B41}"/>
              </a:ext>
            </a:extLst>
          </p:cNvPr>
          <p:cNvSpPr txBox="1"/>
          <p:nvPr/>
        </p:nvSpPr>
        <p:spPr>
          <a:xfrm>
            <a:off x="1033572" y="1868780"/>
            <a:ext cx="714939" cy="307777"/>
          </a:xfrm>
          <a:prstGeom prst="rect">
            <a:avLst/>
          </a:prstGeom>
          <a:noFill/>
        </p:spPr>
        <p:txBody>
          <a:bodyPr wrap="none" lIns="0" tIns="0" rIns="0" bIns="0" rtlCol="0" anchor="t">
            <a:spAutoFit/>
          </a:bodyPr>
          <a:lstStyle/>
          <a:p>
            <a:r>
              <a:rPr lang="en-US" altLang="zh-CN" sz="2000" dirty="0">
                <a:solidFill>
                  <a:schemeClr val="accent1"/>
                </a:solidFill>
                <a:latin typeface="+mj-ea"/>
                <a:ea typeface="+mj-ea"/>
              </a:rPr>
              <a:t>20XX</a:t>
            </a:r>
            <a:endParaRPr lang="zh-CN" altLang="en-US" sz="2000" dirty="0">
              <a:solidFill>
                <a:schemeClr val="accent1"/>
              </a:solidFill>
              <a:latin typeface="+mj-ea"/>
              <a:ea typeface="+mj-ea"/>
            </a:endParaRPr>
          </a:p>
        </p:txBody>
      </p:sp>
      <p:sp>
        <p:nvSpPr>
          <p:cNvPr id="9" name="文本框 8">
            <a:extLst>
              <a:ext uri="{FF2B5EF4-FFF2-40B4-BE49-F238E27FC236}">
                <a16:creationId xmlns:a16="http://schemas.microsoft.com/office/drawing/2014/main" id="{5B54990E-A4A3-4ED4-A6F8-F2F7E634C020}"/>
              </a:ext>
            </a:extLst>
          </p:cNvPr>
          <p:cNvSpPr txBox="1"/>
          <p:nvPr/>
        </p:nvSpPr>
        <p:spPr>
          <a:xfrm>
            <a:off x="952609" y="2281373"/>
            <a:ext cx="1692961" cy="769441"/>
          </a:xfrm>
          <a:prstGeom prst="rect">
            <a:avLst/>
          </a:prstGeom>
          <a:noFill/>
        </p:spPr>
        <p:txBody>
          <a:bodyPr wrap="square" rtlCol="0">
            <a:spAutoFit/>
          </a:bodyPr>
          <a:lstStyle/>
          <a:p>
            <a:r>
              <a:rPr lang="en-US" altLang="zh-CN" sz="1100" dirty="0">
                <a:solidFill>
                  <a:schemeClr val="accent1"/>
                </a:solidFill>
              </a:rPr>
              <a:t>Lorem ipsum dolor sit amet consectetur adipisicing elit sed do eiusmod tempor</a:t>
            </a:r>
            <a:endParaRPr lang="zh-CN" altLang="en-US" sz="1100" dirty="0">
              <a:solidFill>
                <a:schemeClr val="accent1"/>
              </a:solidFill>
            </a:endParaRPr>
          </a:p>
        </p:txBody>
      </p:sp>
      <p:sp>
        <p:nvSpPr>
          <p:cNvPr id="10" name="椭圆 9">
            <a:extLst>
              <a:ext uri="{FF2B5EF4-FFF2-40B4-BE49-F238E27FC236}">
                <a16:creationId xmlns:a16="http://schemas.microsoft.com/office/drawing/2014/main" id="{F5070C17-1DBC-4E16-8BFC-E1BAF478476F}"/>
              </a:ext>
            </a:extLst>
          </p:cNvPr>
          <p:cNvSpPr/>
          <p:nvPr/>
        </p:nvSpPr>
        <p:spPr>
          <a:xfrm>
            <a:off x="751244" y="4117485"/>
            <a:ext cx="135813" cy="135813"/>
          </a:xfrm>
          <a:prstGeom prst="ellipse">
            <a:avLst/>
          </a:prstGeom>
          <a:solidFill>
            <a:schemeClr val="bg1"/>
          </a:solidFill>
          <a:ln w="4127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11" name="矩形 10">
            <a:extLst>
              <a:ext uri="{FF2B5EF4-FFF2-40B4-BE49-F238E27FC236}">
                <a16:creationId xmlns:a16="http://schemas.microsoft.com/office/drawing/2014/main" id="{EE591BC3-D555-4B75-9CC2-6F90989B69CA}"/>
              </a:ext>
            </a:extLst>
          </p:cNvPr>
          <p:cNvSpPr/>
          <p:nvPr/>
        </p:nvSpPr>
        <p:spPr>
          <a:xfrm>
            <a:off x="1033572" y="2216604"/>
            <a:ext cx="714939" cy="4571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12" name="椭圆 11">
            <a:extLst>
              <a:ext uri="{FF2B5EF4-FFF2-40B4-BE49-F238E27FC236}">
                <a16:creationId xmlns:a16="http://schemas.microsoft.com/office/drawing/2014/main" id="{7389953F-AA21-42F0-AB62-E0F4722A8642}"/>
              </a:ext>
            </a:extLst>
          </p:cNvPr>
          <p:cNvSpPr/>
          <p:nvPr/>
        </p:nvSpPr>
        <p:spPr>
          <a:xfrm>
            <a:off x="758428" y="1895988"/>
            <a:ext cx="121444" cy="12144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cxnSp>
        <p:nvCxnSpPr>
          <p:cNvPr id="15" name="直接连接符 14">
            <a:extLst>
              <a:ext uri="{FF2B5EF4-FFF2-40B4-BE49-F238E27FC236}">
                <a16:creationId xmlns:a16="http://schemas.microsoft.com/office/drawing/2014/main" id="{C471A564-0541-4CFB-8931-FCFE39E781AF}"/>
              </a:ext>
            </a:extLst>
          </p:cNvPr>
          <p:cNvCxnSpPr>
            <a:cxnSpLocks/>
            <a:endCxn id="18" idx="0"/>
          </p:cNvCxnSpPr>
          <p:nvPr/>
        </p:nvCxnSpPr>
        <p:spPr>
          <a:xfrm>
            <a:off x="3996256" y="2506697"/>
            <a:ext cx="1" cy="2207425"/>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6" name="文本框 15">
            <a:extLst>
              <a:ext uri="{FF2B5EF4-FFF2-40B4-BE49-F238E27FC236}">
                <a16:creationId xmlns:a16="http://schemas.microsoft.com/office/drawing/2014/main" id="{1138295C-6555-4241-A1A4-86C06E6724C4}"/>
              </a:ext>
            </a:extLst>
          </p:cNvPr>
          <p:cNvSpPr txBox="1"/>
          <p:nvPr/>
        </p:nvSpPr>
        <p:spPr>
          <a:xfrm>
            <a:off x="4210678" y="2465417"/>
            <a:ext cx="714939" cy="307777"/>
          </a:xfrm>
          <a:prstGeom prst="rect">
            <a:avLst/>
          </a:prstGeom>
          <a:noFill/>
        </p:spPr>
        <p:txBody>
          <a:bodyPr wrap="none" lIns="0" tIns="0" rIns="0" bIns="0" rtlCol="0" anchor="t">
            <a:spAutoFit/>
          </a:bodyPr>
          <a:lstStyle/>
          <a:p>
            <a:r>
              <a:rPr lang="en-US" altLang="zh-CN" sz="2000" dirty="0">
                <a:solidFill>
                  <a:schemeClr val="accent1"/>
                </a:solidFill>
                <a:latin typeface="+mj-ea"/>
                <a:ea typeface="+mj-ea"/>
              </a:rPr>
              <a:t>20XX</a:t>
            </a:r>
            <a:endParaRPr lang="zh-CN" altLang="en-US" sz="2000" dirty="0">
              <a:solidFill>
                <a:schemeClr val="accent1"/>
              </a:solidFill>
              <a:latin typeface="+mj-ea"/>
              <a:ea typeface="+mj-ea"/>
            </a:endParaRPr>
          </a:p>
        </p:txBody>
      </p:sp>
      <p:sp>
        <p:nvSpPr>
          <p:cNvPr id="17" name="文本框 16">
            <a:extLst>
              <a:ext uri="{FF2B5EF4-FFF2-40B4-BE49-F238E27FC236}">
                <a16:creationId xmlns:a16="http://schemas.microsoft.com/office/drawing/2014/main" id="{F5E59B30-7F61-4702-8119-26C96FEBF256}"/>
              </a:ext>
            </a:extLst>
          </p:cNvPr>
          <p:cNvSpPr txBox="1"/>
          <p:nvPr/>
        </p:nvSpPr>
        <p:spPr>
          <a:xfrm>
            <a:off x="4129715" y="2878010"/>
            <a:ext cx="1692961" cy="769441"/>
          </a:xfrm>
          <a:prstGeom prst="rect">
            <a:avLst/>
          </a:prstGeom>
          <a:noFill/>
        </p:spPr>
        <p:txBody>
          <a:bodyPr wrap="square" rtlCol="0">
            <a:spAutoFit/>
          </a:bodyPr>
          <a:lstStyle/>
          <a:p>
            <a:r>
              <a:rPr lang="en-US" altLang="zh-CN" sz="1100" dirty="0">
                <a:solidFill>
                  <a:schemeClr val="accent1"/>
                </a:solidFill>
              </a:rPr>
              <a:t>Lorem ipsum dolor sit amet consectetur adipisicing elit sed do eiusmod tempor</a:t>
            </a:r>
            <a:endParaRPr lang="zh-CN" altLang="en-US" sz="1100" dirty="0">
              <a:solidFill>
                <a:schemeClr val="accent1"/>
              </a:solidFill>
            </a:endParaRPr>
          </a:p>
        </p:txBody>
      </p:sp>
      <p:sp>
        <p:nvSpPr>
          <p:cNvPr id="18" name="椭圆 17">
            <a:extLst>
              <a:ext uri="{FF2B5EF4-FFF2-40B4-BE49-F238E27FC236}">
                <a16:creationId xmlns:a16="http://schemas.microsoft.com/office/drawing/2014/main" id="{A806BE66-46BE-4168-B553-93DEBDB7318C}"/>
              </a:ext>
            </a:extLst>
          </p:cNvPr>
          <p:cNvSpPr/>
          <p:nvPr/>
        </p:nvSpPr>
        <p:spPr>
          <a:xfrm>
            <a:off x="3928350" y="4714122"/>
            <a:ext cx="135813" cy="135813"/>
          </a:xfrm>
          <a:prstGeom prst="ellipse">
            <a:avLst/>
          </a:prstGeom>
          <a:solidFill>
            <a:schemeClr val="bg1"/>
          </a:solidFill>
          <a:ln w="4127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19" name="矩形 18">
            <a:extLst>
              <a:ext uri="{FF2B5EF4-FFF2-40B4-BE49-F238E27FC236}">
                <a16:creationId xmlns:a16="http://schemas.microsoft.com/office/drawing/2014/main" id="{20B2D5CD-6374-45E0-9FEF-25530955230B}"/>
              </a:ext>
            </a:extLst>
          </p:cNvPr>
          <p:cNvSpPr/>
          <p:nvPr/>
        </p:nvSpPr>
        <p:spPr>
          <a:xfrm>
            <a:off x="4210678" y="2813241"/>
            <a:ext cx="714939" cy="4571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20" name="椭圆 19">
            <a:extLst>
              <a:ext uri="{FF2B5EF4-FFF2-40B4-BE49-F238E27FC236}">
                <a16:creationId xmlns:a16="http://schemas.microsoft.com/office/drawing/2014/main" id="{331CC0F2-A875-4568-82D0-BD15E6FF02B9}"/>
              </a:ext>
            </a:extLst>
          </p:cNvPr>
          <p:cNvSpPr/>
          <p:nvPr/>
        </p:nvSpPr>
        <p:spPr>
          <a:xfrm>
            <a:off x="3935534" y="2492625"/>
            <a:ext cx="121444" cy="12144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cxnSp>
        <p:nvCxnSpPr>
          <p:cNvPr id="21" name="直接连接符 20">
            <a:extLst>
              <a:ext uri="{FF2B5EF4-FFF2-40B4-BE49-F238E27FC236}">
                <a16:creationId xmlns:a16="http://schemas.microsoft.com/office/drawing/2014/main" id="{280934A9-FFB5-4B4A-807E-F3948119B6A3}"/>
              </a:ext>
            </a:extLst>
          </p:cNvPr>
          <p:cNvCxnSpPr>
            <a:cxnSpLocks/>
            <a:endCxn id="24" idx="0"/>
          </p:cNvCxnSpPr>
          <p:nvPr/>
        </p:nvCxnSpPr>
        <p:spPr>
          <a:xfrm>
            <a:off x="6856556" y="2509471"/>
            <a:ext cx="1" cy="2207425"/>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2" name="文本框 21">
            <a:extLst>
              <a:ext uri="{FF2B5EF4-FFF2-40B4-BE49-F238E27FC236}">
                <a16:creationId xmlns:a16="http://schemas.microsoft.com/office/drawing/2014/main" id="{2545314F-7355-49A8-B137-72E319B9B256}"/>
              </a:ext>
            </a:extLst>
          </p:cNvPr>
          <p:cNvSpPr txBox="1"/>
          <p:nvPr/>
        </p:nvSpPr>
        <p:spPr>
          <a:xfrm>
            <a:off x="7070978" y="2468191"/>
            <a:ext cx="714939" cy="307777"/>
          </a:xfrm>
          <a:prstGeom prst="rect">
            <a:avLst/>
          </a:prstGeom>
          <a:noFill/>
        </p:spPr>
        <p:txBody>
          <a:bodyPr wrap="none" lIns="0" tIns="0" rIns="0" bIns="0" rtlCol="0" anchor="t">
            <a:spAutoFit/>
          </a:bodyPr>
          <a:lstStyle/>
          <a:p>
            <a:r>
              <a:rPr lang="en-US" altLang="zh-CN" sz="2000" dirty="0">
                <a:solidFill>
                  <a:schemeClr val="accent1"/>
                </a:solidFill>
                <a:latin typeface="+mj-ea"/>
                <a:ea typeface="+mj-ea"/>
              </a:rPr>
              <a:t>20XX</a:t>
            </a:r>
            <a:endParaRPr lang="zh-CN" altLang="en-US" sz="2000" dirty="0">
              <a:solidFill>
                <a:schemeClr val="accent1"/>
              </a:solidFill>
              <a:latin typeface="+mj-ea"/>
              <a:ea typeface="+mj-ea"/>
            </a:endParaRPr>
          </a:p>
        </p:txBody>
      </p:sp>
      <p:sp>
        <p:nvSpPr>
          <p:cNvPr id="23" name="文本框 22">
            <a:extLst>
              <a:ext uri="{FF2B5EF4-FFF2-40B4-BE49-F238E27FC236}">
                <a16:creationId xmlns:a16="http://schemas.microsoft.com/office/drawing/2014/main" id="{AA220D2B-C996-43AE-819E-3549DE74CA36}"/>
              </a:ext>
            </a:extLst>
          </p:cNvPr>
          <p:cNvSpPr txBox="1"/>
          <p:nvPr/>
        </p:nvSpPr>
        <p:spPr>
          <a:xfrm>
            <a:off x="6990015" y="2880784"/>
            <a:ext cx="1692961" cy="769441"/>
          </a:xfrm>
          <a:prstGeom prst="rect">
            <a:avLst/>
          </a:prstGeom>
          <a:noFill/>
        </p:spPr>
        <p:txBody>
          <a:bodyPr wrap="square" rtlCol="0">
            <a:spAutoFit/>
          </a:bodyPr>
          <a:lstStyle/>
          <a:p>
            <a:r>
              <a:rPr lang="en-US" altLang="zh-CN" sz="1100" dirty="0">
                <a:solidFill>
                  <a:schemeClr val="accent1"/>
                </a:solidFill>
              </a:rPr>
              <a:t>Lorem ipsum dolor sit amet consectetur adipisicing elit sed do eiusmod tempor</a:t>
            </a:r>
            <a:endParaRPr lang="zh-CN" altLang="en-US" sz="1100" dirty="0">
              <a:solidFill>
                <a:schemeClr val="accent1"/>
              </a:solidFill>
            </a:endParaRPr>
          </a:p>
        </p:txBody>
      </p:sp>
      <p:sp>
        <p:nvSpPr>
          <p:cNvPr id="24" name="椭圆 23">
            <a:extLst>
              <a:ext uri="{FF2B5EF4-FFF2-40B4-BE49-F238E27FC236}">
                <a16:creationId xmlns:a16="http://schemas.microsoft.com/office/drawing/2014/main" id="{EB91032B-8EE7-457A-8F92-4442A231AB58}"/>
              </a:ext>
            </a:extLst>
          </p:cNvPr>
          <p:cNvSpPr/>
          <p:nvPr/>
        </p:nvSpPr>
        <p:spPr>
          <a:xfrm>
            <a:off x="6788650" y="4716896"/>
            <a:ext cx="135813" cy="135813"/>
          </a:xfrm>
          <a:prstGeom prst="ellipse">
            <a:avLst/>
          </a:prstGeom>
          <a:solidFill>
            <a:schemeClr val="bg1"/>
          </a:solidFill>
          <a:ln w="4127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25" name="矩形 24">
            <a:extLst>
              <a:ext uri="{FF2B5EF4-FFF2-40B4-BE49-F238E27FC236}">
                <a16:creationId xmlns:a16="http://schemas.microsoft.com/office/drawing/2014/main" id="{21BE4D4C-FDDE-4B75-AA4E-43E9C930A0ED}"/>
              </a:ext>
            </a:extLst>
          </p:cNvPr>
          <p:cNvSpPr/>
          <p:nvPr/>
        </p:nvSpPr>
        <p:spPr>
          <a:xfrm>
            <a:off x="7070978" y="2816015"/>
            <a:ext cx="714939" cy="4571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26" name="椭圆 25">
            <a:extLst>
              <a:ext uri="{FF2B5EF4-FFF2-40B4-BE49-F238E27FC236}">
                <a16:creationId xmlns:a16="http://schemas.microsoft.com/office/drawing/2014/main" id="{42100D64-A92B-4651-B856-761F5EFA54E7}"/>
              </a:ext>
            </a:extLst>
          </p:cNvPr>
          <p:cNvSpPr/>
          <p:nvPr/>
        </p:nvSpPr>
        <p:spPr>
          <a:xfrm>
            <a:off x="6795834" y="2495399"/>
            <a:ext cx="121444" cy="12144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cxnSp>
        <p:nvCxnSpPr>
          <p:cNvPr id="27" name="直接连接符 26">
            <a:extLst>
              <a:ext uri="{FF2B5EF4-FFF2-40B4-BE49-F238E27FC236}">
                <a16:creationId xmlns:a16="http://schemas.microsoft.com/office/drawing/2014/main" id="{503D550A-6B2A-4FA1-A5C5-3E3BED898149}"/>
              </a:ext>
            </a:extLst>
          </p:cNvPr>
          <p:cNvCxnSpPr>
            <a:cxnSpLocks/>
            <a:endCxn id="30" idx="0"/>
          </p:cNvCxnSpPr>
          <p:nvPr/>
        </p:nvCxnSpPr>
        <p:spPr>
          <a:xfrm>
            <a:off x="10036302" y="2397811"/>
            <a:ext cx="1" cy="2207425"/>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8" name="文本框 27">
            <a:extLst>
              <a:ext uri="{FF2B5EF4-FFF2-40B4-BE49-F238E27FC236}">
                <a16:creationId xmlns:a16="http://schemas.microsoft.com/office/drawing/2014/main" id="{A07CE6F3-3099-41D2-A694-67DF8A974DDA}"/>
              </a:ext>
            </a:extLst>
          </p:cNvPr>
          <p:cNvSpPr txBox="1"/>
          <p:nvPr/>
        </p:nvSpPr>
        <p:spPr>
          <a:xfrm>
            <a:off x="10250724" y="2356531"/>
            <a:ext cx="714939" cy="307777"/>
          </a:xfrm>
          <a:prstGeom prst="rect">
            <a:avLst/>
          </a:prstGeom>
          <a:noFill/>
        </p:spPr>
        <p:txBody>
          <a:bodyPr wrap="none" lIns="0" tIns="0" rIns="0" bIns="0" rtlCol="0" anchor="t">
            <a:spAutoFit/>
          </a:bodyPr>
          <a:lstStyle/>
          <a:p>
            <a:r>
              <a:rPr lang="en-US" altLang="zh-CN" sz="2000" dirty="0">
                <a:solidFill>
                  <a:schemeClr val="accent1"/>
                </a:solidFill>
                <a:latin typeface="+mj-ea"/>
                <a:ea typeface="+mj-ea"/>
              </a:rPr>
              <a:t>20XX</a:t>
            </a:r>
            <a:endParaRPr lang="zh-CN" altLang="en-US" sz="2000" dirty="0">
              <a:solidFill>
                <a:schemeClr val="accent1"/>
              </a:solidFill>
              <a:latin typeface="+mj-ea"/>
              <a:ea typeface="+mj-ea"/>
            </a:endParaRPr>
          </a:p>
        </p:txBody>
      </p:sp>
      <p:sp>
        <p:nvSpPr>
          <p:cNvPr id="29" name="文本框 28">
            <a:extLst>
              <a:ext uri="{FF2B5EF4-FFF2-40B4-BE49-F238E27FC236}">
                <a16:creationId xmlns:a16="http://schemas.microsoft.com/office/drawing/2014/main" id="{09CC98DA-A271-48D1-AF3B-9AE4F3E60674}"/>
              </a:ext>
            </a:extLst>
          </p:cNvPr>
          <p:cNvSpPr txBox="1"/>
          <p:nvPr/>
        </p:nvSpPr>
        <p:spPr>
          <a:xfrm>
            <a:off x="10169761" y="2769124"/>
            <a:ext cx="1692961" cy="769441"/>
          </a:xfrm>
          <a:prstGeom prst="rect">
            <a:avLst/>
          </a:prstGeom>
          <a:noFill/>
        </p:spPr>
        <p:txBody>
          <a:bodyPr wrap="square" rtlCol="0">
            <a:spAutoFit/>
          </a:bodyPr>
          <a:lstStyle/>
          <a:p>
            <a:r>
              <a:rPr lang="en-US" altLang="zh-CN" sz="1100" dirty="0">
                <a:solidFill>
                  <a:schemeClr val="accent1"/>
                </a:solidFill>
              </a:rPr>
              <a:t>Lorem ipsum dolor sit amet consectetur adipisicing elit sed do eiusmod tempor</a:t>
            </a:r>
            <a:endParaRPr lang="zh-CN" altLang="en-US" sz="1100" dirty="0">
              <a:solidFill>
                <a:schemeClr val="accent1"/>
              </a:solidFill>
            </a:endParaRPr>
          </a:p>
        </p:txBody>
      </p:sp>
      <p:sp>
        <p:nvSpPr>
          <p:cNvPr id="30" name="椭圆 29">
            <a:extLst>
              <a:ext uri="{FF2B5EF4-FFF2-40B4-BE49-F238E27FC236}">
                <a16:creationId xmlns:a16="http://schemas.microsoft.com/office/drawing/2014/main" id="{074D962E-C5EB-48F7-AE7F-A1CF642058B2}"/>
              </a:ext>
            </a:extLst>
          </p:cNvPr>
          <p:cNvSpPr/>
          <p:nvPr/>
        </p:nvSpPr>
        <p:spPr>
          <a:xfrm>
            <a:off x="9968396" y="4605236"/>
            <a:ext cx="135813" cy="135813"/>
          </a:xfrm>
          <a:prstGeom prst="ellipse">
            <a:avLst/>
          </a:prstGeom>
          <a:solidFill>
            <a:schemeClr val="bg1"/>
          </a:solidFill>
          <a:ln w="4127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31" name="矩形 30">
            <a:extLst>
              <a:ext uri="{FF2B5EF4-FFF2-40B4-BE49-F238E27FC236}">
                <a16:creationId xmlns:a16="http://schemas.microsoft.com/office/drawing/2014/main" id="{AD51BB94-2857-49BC-B0E7-F8E67B941382}"/>
              </a:ext>
            </a:extLst>
          </p:cNvPr>
          <p:cNvSpPr/>
          <p:nvPr/>
        </p:nvSpPr>
        <p:spPr>
          <a:xfrm>
            <a:off x="10250724" y="2704355"/>
            <a:ext cx="714939" cy="4571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32" name="椭圆 31">
            <a:extLst>
              <a:ext uri="{FF2B5EF4-FFF2-40B4-BE49-F238E27FC236}">
                <a16:creationId xmlns:a16="http://schemas.microsoft.com/office/drawing/2014/main" id="{2A378EBC-55A5-4A38-B9D3-49C28D7F5C2D}"/>
              </a:ext>
            </a:extLst>
          </p:cNvPr>
          <p:cNvSpPr/>
          <p:nvPr/>
        </p:nvSpPr>
        <p:spPr>
          <a:xfrm>
            <a:off x="9975580" y="2383739"/>
            <a:ext cx="121444" cy="12144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Tree>
    <p:extLst>
      <p:ext uri="{BB962C8B-B14F-4D97-AF65-F5344CB8AC3E}">
        <p14:creationId xmlns:p14="http://schemas.microsoft.com/office/powerpoint/2010/main" val="1484045994"/>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3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任意多边形: 形状 33">
            <a:extLst>
              <a:ext uri="{FF2B5EF4-FFF2-40B4-BE49-F238E27FC236}">
                <a16:creationId xmlns:a16="http://schemas.microsoft.com/office/drawing/2014/main" id="{465D8968-22D1-481E-A75F-7E49FC1E5A1F}"/>
              </a:ext>
            </a:extLst>
          </p:cNvPr>
          <p:cNvSpPr/>
          <p:nvPr/>
        </p:nvSpPr>
        <p:spPr>
          <a:xfrm>
            <a:off x="-209550" y="2590800"/>
            <a:ext cx="12925425" cy="2152650"/>
          </a:xfrm>
          <a:custGeom>
            <a:avLst/>
            <a:gdLst>
              <a:gd name="connsiteX0" fmla="*/ 0 w 12925425"/>
              <a:gd name="connsiteY0" fmla="*/ 733425 h 3667764"/>
              <a:gd name="connsiteX1" fmla="*/ 2257425 w 12925425"/>
              <a:gd name="connsiteY1" fmla="*/ 3629025 h 3667764"/>
              <a:gd name="connsiteX2" fmla="*/ 4781550 w 12925425"/>
              <a:gd name="connsiteY2" fmla="*/ 447675 h 3667764"/>
              <a:gd name="connsiteX3" fmla="*/ 6743700 w 12925425"/>
              <a:gd name="connsiteY3" fmla="*/ 3581400 h 3667764"/>
              <a:gd name="connsiteX4" fmla="*/ 9210675 w 12925425"/>
              <a:gd name="connsiteY4" fmla="*/ 323850 h 3667764"/>
              <a:gd name="connsiteX5" fmla="*/ 10972800 w 12925425"/>
              <a:gd name="connsiteY5" fmla="*/ 3667125 h 3667764"/>
              <a:gd name="connsiteX6" fmla="*/ 12925425 w 12925425"/>
              <a:gd name="connsiteY6" fmla="*/ 0 h 36677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25425" h="3667764">
                <a:moveTo>
                  <a:pt x="0" y="733425"/>
                </a:moveTo>
                <a:cubicBezTo>
                  <a:pt x="730250" y="2205037"/>
                  <a:pt x="1460500" y="3676650"/>
                  <a:pt x="2257425" y="3629025"/>
                </a:cubicBezTo>
                <a:cubicBezTo>
                  <a:pt x="3054350" y="3581400"/>
                  <a:pt x="4033838" y="455612"/>
                  <a:pt x="4781550" y="447675"/>
                </a:cubicBezTo>
                <a:cubicBezTo>
                  <a:pt x="5529263" y="439737"/>
                  <a:pt x="6005513" y="3602038"/>
                  <a:pt x="6743700" y="3581400"/>
                </a:cubicBezTo>
                <a:cubicBezTo>
                  <a:pt x="7481888" y="3560763"/>
                  <a:pt x="8505825" y="309563"/>
                  <a:pt x="9210675" y="323850"/>
                </a:cubicBezTo>
                <a:cubicBezTo>
                  <a:pt x="9915525" y="338137"/>
                  <a:pt x="10353675" y="3721100"/>
                  <a:pt x="10972800" y="3667125"/>
                </a:cubicBezTo>
                <a:cubicBezTo>
                  <a:pt x="11591925" y="3613150"/>
                  <a:pt x="12258675" y="1806575"/>
                  <a:pt x="12925425" y="0"/>
                </a:cubicBezTo>
              </a:path>
            </a:pathLst>
          </a:custGeom>
          <a:noFill/>
          <a:ln w="47625">
            <a:gradFill>
              <a:gsLst>
                <a:gs pos="0">
                  <a:schemeClr val="accent1">
                    <a:lumMod val="75000"/>
                    <a:lumOff val="25000"/>
                  </a:schemeClr>
                </a:gs>
                <a:gs pos="100000">
                  <a:schemeClr val="accent1"/>
                </a:gs>
              </a:gsLst>
              <a:lin ang="0" scaled="0"/>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5" name="椭圆 34">
            <a:extLst>
              <a:ext uri="{FF2B5EF4-FFF2-40B4-BE49-F238E27FC236}">
                <a16:creationId xmlns:a16="http://schemas.microsoft.com/office/drawing/2014/main" id="{0382CC02-FA92-488E-A59F-A4873F4146B5}"/>
              </a:ext>
            </a:extLst>
          </p:cNvPr>
          <p:cNvSpPr/>
          <p:nvPr/>
        </p:nvSpPr>
        <p:spPr>
          <a:xfrm>
            <a:off x="623153" y="3970659"/>
            <a:ext cx="171450" cy="171450"/>
          </a:xfrm>
          <a:prstGeom prst="ellipse">
            <a:avLst/>
          </a:prstGeom>
          <a:solidFill>
            <a:schemeClr val="accent1">
              <a:lumMod val="75000"/>
              <a:lumOff val="25000"/>
            </a:schemeClr>
          </a:solidFill>
          <a:ln w="41275">
            <a:solidFill>
              <a:schemeClr val="bg1"/>
            </a:solidFill>
          </a:ln>
          <a:effectLst>
            <a:outerShdw blurRad="177800" sx="102000" sy="102000" algn="ctr" rotWithShape="0">
              <a:schemeClr val="accent1">
                <a:lumMod val="90000"/>
                <a:lumOff val="10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36" name="椭圆 35">
            <a:extLst>
              <a:ext uri="{FF2B5EF4-FFF2-40B4-BE49-F238E27FC236}">
                <a16:creationId xmlns:a16="http://schemas.microsoft.com/office/drawing/2014/main" id="{B637C2BD-B3C6-4088-80EA-0737F66EE168}"/>
              </a:ext>
            </a:extLst>
          </p:cNvPr>
          <p:cNvSpPr/>
          <p:nvPr/>
        </p:nvSpPr>
        <p:spPr>
          <a:xfrm>
            <a:off x="3289300" y="3667125"/>
            <a:ext cx="171450" cy="171450"/>
          </a:xfrm>
          <a:prstGeom prst="ellipse">
            <a:avLst/>
          </a:prstGeom>
          <a:solidFill>
            <a:schemeClr val="accent1">
              <a:lumMod val="75000"/>
              <a:lumOff val="25000"/>
            </a:schemeClr>
          </a:solidFill>
          <a:ln w="41275">
            <a:solidFill>
              <a:schemeClr val="bg1"/>
            </a:solidFill>
          </a:ln>
          <a:effectLst>
            <a:outerShdw blurRad="177800" sx="102000" sy="102000" algn="ctr" rotWithShape="0">
              <a:schemeClr val="accent1">
                <a:lumMod val="90000"/>
                <a:lumOff val="10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grpSp>
        <p:nvGrpSpPr>
          <p:cNvPr id="39" name="组合 38">
            <a:extLst>
              <a:ext uri="{FF2B5EF4-FFF2-40B4-BE49-F238E27FC236}">
                <a16:creationId xmlns:a16="http://schemas.microsoft.com/office/drawing/2014/main" id="{271A710B-93B5-4D9E-AEC0-DDA3F57C22A9}"/>
              </a:ext>
            </a:extLst>
          </p:cNvPr>
          <p:cNvGrpSpPr/>
          <p:nvPr/>
        </p:nvGrpSpPr>
        <p:grpSpPr>
          <a:xfrm>
            <a:off x="623153" y="2789856"/>
            <a:ext cx="2236509" cy="978342"/>
            <a:chOff x="623153" y="2789856"/>
            <a:chExt cx="2236509" cy="978342"/>
          </a:xfrm>
        </p:grpSpPr>
        <p:sp>
          <p:nvSpPr>
            <p:cNvPr id="37" name="文本框 36">
              <a:extLst>
                <a:ext uri="{FF2B5EF4-FFF2-40B4-BE49-F238E27FC236}">
                  <a16:creationId xmlns:a16="http://schemas.microsoft.com/office/drawing/2014/main" id="{6476CEC4-3F95-4091-9C37-63744F951CA6}"/>
                </a:ext>
              </a:extLst>
            </p:cNvPr>
            <p:cNvSpPr txBox="1"/>
            <p:nvPr/>
          </p:nvSpPr>
          <p:spPr>
            <a:xfrm>
              <a:off x="623153" y="2789856"/>
              <a:ext cx="1043876" cy="461665"/>
            </a:xfrm>
            <a:prstGeom prst="rect">
              <a:avLst/>
            </a:prstGeom>
            <a:noFill/>
          </p:spPr>
          <p:txBody>
            <a:bodyPr wrap="none" rtlCol="0">
              <a:spAutoFit/>
            </a:bodyPr>
            <a:lstStyle/>
            <a:p>
              <a:r>
                <a:rPr lang="en-US" altLang="zh-CN" sz="2400" dirty="0">
                  <a:solidFill>
                    <a:schemeClr val="accent1"/>
                  </a:solidFill>
                  <a:latin typeface="+mj-ea"/>
                  <a:ea typeface="+mj-ea"/>
                </a:rPr>
                <a:t>20XX</a:t>
              </a:r>
              <a:endParaRPr lang="zh-CN" altLang="en-US" sz="2400" dirty="0">
                <a:solidFill>
                  <a:schemeClr val="accent1"/>
                </a:solidFill>
                <a:latin typeface="+mj-ea"/>
                <a:ea typeface="+mj-ea"/>
              </a:endParaRPr>
            </a:p>
          </p:txBody>
        </p:sp>
        <p:sp>
          <p:nvSpPr>
            <p:cNvPr id="38" name="文本框 37">
              <a:extLst>
                <a:ext uri="{FF2B5EF4-FFF2-40B4-BE49-F238E27FC236}">
                  <a16:creationId xmlns:a16="http://schemas.microsoft.com/office/drawing/2014/main" id="{6A63533E-7FEC-44A1-B21B-C562D9BC02D1}"/>
                </a:ext>
              </a:extLst>
            </p:cNvPr>
            <p:cNvSpPr txBox="1"/>
            <p:nvPr/>
          </p:nvSpPr>
          <p:spPr>
            <a:xfrm>
              <a:off x="623153" y="3168034"/>
              <a:ext cx="2236509" cy="600164"/>
            </a:xfrm>
            <a:prstGeom prst="rect">
              <a:avLst/>
            </a:prstGeom>
            <a:noFill/>
          </p:spPr>
          <p:txBody>
            <a:bodyPr wrap="square" rtlCol="0">
              <a:spAutoFit/>
            </a:bodyPr>
            <a:lstStyle/>
            <a:p>
              <a:r>
                <a:rPr lang="en-US" altLang="zh-CN" sz="1100" dirty="0"/>
                <a:t>Lorem ipsum dolor sit amet, consectetur adipisicing elit, sed do eiusmod tempor</a:t>
              </a:r>
              <a:endParaRPr lang="zh-CN" altLang="en-US" sz="1100" dirty="0"/>
            </a:p>
          </p:txBody>
        </p:sp>
      </p:grpSp>
      <p:grpSp>
        <p:nvGrpSpPr>
          <p:cNvPr id="40" name="组合 39">
            <a:extLst>
              <a:ext uri="{FF2B5EF4-FFF2-40B4-BE49-F238E27FC236}">
                <a16:creationId xmlns:a16="http://schemas.microsoft.com/office/drawing/2014/main" id="{77DA65CF-33E9-4A3C-B310-DAD95D212488}"/>
              </a:ext>
            </a:extLst>
          </p:cNvPr>
          <p:cNvGrpSpPr/>
          <p:nvPr/>
        </p:nvGrpSpPr>
        <p:grpSpPr>
          <a:xfrm>
            <a:off x="3166328" y="3970659"/>
            <a:ext cx="2236509" cy="978342"/>
            <a:chOff x="623153" y="2789856"/>
            <a:chExt cx="2236509" cy="978342"/>
          </a:xfrm>
        </p:grpSpPr>
        <p:sp>
          <p:nvSpPr>
            <p:cNvPr id="41" name="文本框 40">
              <a:extLst>
                <a:ext uri="{FF2B5EF4-FFF2-40B4-BE49-F238E27FC236}">
                  <a16:creationId xmlns:a16="http://schemas.microsoft.com/office/drawing/2014/main" id="{3C75A626-3B27-4D2E-85F0-46642D337429}"/>
                </a:ext>
              </a:extLst>
            </p:cNvPr>
            <p:cNvSpPr txBox="1"/>
            <p:nvPr/>
          </p:nvSpPr>
          <p:spPr>
            <a:xfrm>
              <a:off x="623153" y="2789856"/>
              <a:ext cx="1043876" cy="461665"/>
            </a:xfrm>
            <a:prstGeom prst="rect">
              <a:avLst/>
            </a:prstGeom>
            <a:noFill/>
          </p:spPr>
          <p:txBody>
            <a:bodyPr wrap="none" rtlCol="0">
              <a:spAutoFit/>
            </a:bodyPr>
            <a:lstStyle/>
            <a:p>
              <a:r>
                <a:rPr lang="en-US" altLang="zh-CN" sz="2400" dirty="0">
                  <a:solidFill>
                    <a:schemeClr val="accent1"/>
                  </a:solidFill>
                  <a:latin typeface="+mj-ea"/>
                  <a:ea typeface="+mj-ea"/>
                </a:rPr>
                <a:t>20XX</a:t>
              </a:r>
              <a:endParaRPr lang="zh-CN" altLang="en-US" sz="2400" dirty="0">
                <a:solidFill>
                  <a:schemeClr val="accent1"/>
                </a:solidFill>
                <a:latin typeface="+mj-ea"/>
                <a:ea typeface="+mj-ea"/>
              </a:endParaRPr>
            </a:p>
          </p:txBody>
        </p:sp>
        <p:sp>
          <p:nvSpPr>
            <p:cNvPr id="42" name="文本框 41">
              <a:extLst>
                <a:ext uri="{FF2B5EF4-FFF2-40B4-BE49-F238E27FC236}">
                  <a16:creationId xmlns:a16="http://schemas.microsoft.com/office/drawing/2014/main" id="{41866FFB-9CB8-484E-8C29-09C3447D0A9D}"/>
                </a:ext>
              </a:extLst>
            </p:cNvPr>
            <p:cNvSpPr txBox="1"/>
            <p:nvPr/>
          </p:nvSpPr>
          <p:spPr>
            <a:xfrm>
              <a:off x="623153" y="3168034"/>
              <a:ext cx="2236509" cy="600164"/>
            </a:xfrm>
            <a:prstGeom prst="rect">
              <a:avLst/>
            </a:prstGeom>
            <a:noFill/>
          </p:spPr>
          <p:txBody>
            <a:bodyPr wrap="square" rtlCol="0">
              <a:spAutoFit/>
            </a:bodyPr>
            <a:lstStyle/>
            <a:p>
              <a:r>
                <a:rPr lang="en-US" altLang="zh-CN" sz="1100" dirty="0"/>
                <a:t>Lorem ipsum dolor sit amet, consectetur adipisicing elit, sed do eiusmod tempor</a:t>
              </a:r>
              <a:endParaRPr lang="zh-CN" altLang="en-US" sz="1100" dirty="0"/>
            </a:p>
          </p:txBody>
        </p:sp>
      </p:grpSp>
      <p:sp>
        <p:nvSpPr>
          <p:cNvPr id="43" name="椭圆 42">
            <a:extLst>
              <a:ext uri="{FF2B5EF4-FFF2-40B4-BE49-F238E27FC236}">
                <a16:creationId xmlns:a16="http://schemas.microsoft.com/office/drawing/2014/main" id="{6BE37AB2-17DD-434A-BC54-F91E8CE2A739}"/>
              </a:ext>
            </a:extLst>
          </p:cNvPr>
          <p:cNvSpPr/>
          <p:nvPr/>
        </p:nvSpPr>
        <p:spPr>
          <a:xfrm>
            <a:off x="5146675" y="3228975"/>
            <a:ext cx="171450" cy="171450"/>
          </a:xfrm>
          <a:prstGeom prst="ellipse">
            <a:avLst/>
          </a:prstGeom>
          <a:solidFill>
            <a:schemeClr val="accent1">
              <a:lumMod val="90000"/>
              <a:lumOff val="10000"/>
            </a:schemeClr>
          </a:solidFill>
          <a:ln w="41275">
            <a:solidFill>
              <a:schemeClr val="bg1"/>
            </a:solidFill>
          </a:ln>
          <a:effectLst>
            <a:outerShdw blurRad="177800" sx="102000" sy="102000" algn="ctr" rotWithShape="0">
              <a:schemeClr val="accent1">
                <a:lumMod val="90000"/>
                <a:lumOff val="10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grpSp>
        <p:nvGrpSpPr>
          <p:cNvPr id="44" name="组合 43">
            <a:extLst>
              <a:ext uri="{FF2B5EF4-FFF2-40B4-BE49-F238E27FC236}">
                <a16:creationId xmlns:a16="http://schemas.microsoft.com/office/drawing/2014/main" id="{07C0BB46-6C87-4C08-938E-EA716BB8ABB8}"/>
              </a:ext>
            </a:extLst>
          </p:cNvPr>
          <p:cNvGrpSpPr/>
          <p:nvPr/>
        </p:nvGrpSpPr>
        <p:grpSpPr>
          <a:xfrm>
            <a:off x="5290403" y="2341884"/>
            <a:ext cx="2236509" cy="978342"/>
            <a:chOff x="623153" y="2789856"/>
            <a:chExt cx="2236509" cy="978342"/>
          </a:xfrm>
        </p:grpSpPr>
        <p:sp>
          <p:nvSpPr>
            <p:cNvPr id="45" name="文本框 44">
              <a:extLst>
                <a:ext uri="{FF2B5EF4-FFF2-40B4-BE49-F238E27FC236}">
                  <a16:creationId xmlns:a16="http://schemas.microsoft.com/office/drawing/2014/main" id="{54F97438-4416-4977-B563-34ECAA5946BD}"/>
                </a:ext>
              </a:extLst>
            </p:cNvPr>
            <p:cNvSpPr txBox="1"/>
            <p:nvPr/>
          </p:nvSpPr>
          <p:spPr>
            <a:xfrm>
              <a:off x="623153" y="2789856"/>
              <a:ext cx="1043876" cy="461665"/>
            </a:xfrm>
            <a:prstGeom prst="rect">
              <a:avLst/>
            </a:prstGeom>
            <a:noFill/>
          </p:spPr>
          <p:txBody>
            <a:bodyPr wrap="none" rtlCol="0">
              <a:spAutoFit/>
            </a:bodyPr>
            <a:lstStyle/>
            <a:p>
              <a:r>
                <a:rPr lang="en-US" altLang="zh-CN" sz="2400" dirty="0">
                  <a:solidFill>
                    <a:schemeClr val="accent1"/>
                  </a:solidFill>
                  <a:latin typeface="+mj-ea"/>
                  <a:ea typeface="+mj-ea"/>
                </a:rPr>
                <a:t>20XX</a:t>
              </a:r>
              <a:endParaRPr lang="zh-CN" altLang="en-US" sz="2400" dirty="0">
                <a:solidFill>
                  <a:schemeClr val="accent1"/>
                </a:solidFill>
                <a:latin typeface="+mj-ea"/>
                <a:ea typeface="+mj-ea"/>
              </a:endParaRPr>
            </a:p>
          </p:txBody>
        </p:sp>
        <p:sp>
          <p:nvSpPr>
            <p:cNvPr id="46" name="文本框 45">
              <a:extLst>
                <a:ext uri="{FF2B5EF4-FFF2-40B4-BE49-F238E27FC236}">
                  <a16:creationId xmlns:a16="http://schemas.microsoft.com/office/drawing/2014/main" id="{3A50F909-FF03-4FA7-AF59-26ACB40EA28A}"/>
                </a:ext>
              </a:extLst>
            </p:cNvPr>
            <p:cNvSpPr txBox="1"/>
            <p:nvPr/>
          </p:nvSpPr>
          <p:spPr>
            <a:xfrm>
              <a:off x="623153" y="3168034"/>
              <a:ext cx="2236509" cy="600164"/>
            </a:xfrm>
            <a:prstGeom prst="rect">
              <a:avLst/>
            </a:prstGeom>
            <a:noFill/>
          </p:spPr>
          <p:txBody>
            <a:bodyPr wrap="square" rtlCol="0">
              <a:spAutoFit/>
            </a:bodyPr>
            <a:lstStyle/>
            <a:p>
              <a:r>
                <a:rPr lang="en-US" altLang="zh-CN" sz="1100" dirty="0"/>
                <a:t>Lorem ipsum dolor sit amet, consectetur adipisicing elit, sed do eiusmod tempor</a:t>
              </a:r>
              <a:endParaRPr lang="zh-CN" altLang="en-US" sz="1100" dirty="0"/>
            </a:p>
          </p:txBody>
        </p:sp>
      </p:grpSp>
      <p:sp>
        <p:nvSpPr>
          <p:cNvPr id="47" name="椭圆 46">
            <a:extLst>
              <a:ext uri="{FF2B5EF4-FFF2-40B4-BE49-F238E27FC236}">
                <a16:creationId xmlns:a16="http://schemas.microsoft.com/office/drawing/2014/main" id="{7D08B0F0-A995-47D6-A60E-AD31B3FAFE92}"/>
              </a:ext>
            </a:extLst>
          </p:cNvPr>
          <p:cNvSpPr/>
          <p:nvPr/>
        </p:nvSpPr>
        <p:spPr>
          <a:xfrm>
            <a:off x="7870825" y="3476625"/>
            <a:ext cx="171450" cy="171450"/>
          </a:xfrm>
          <a:prstGeom prst="ellipse">
            <a:avLst/>
          </a:prstGeom>
          <a:solidFill>
            <a:schemeClr val="accent1">
              <a:lumMod val="90000"/>
              <a:lumOff val="10000"/>
            </a:schemeClr>
          </a:solidFill>
          <a:ln w="41275">
            <a:solidFill>
              <a:schemeClr val="bg1"/>
            </a:solidFill>
          </a:ln>
          <a:effectLst>
            <a:outerShdw blurRad="177800" sx="102000" sy="102000" algn="ctr" rotWithShape="0">
              <a:schemeClr val="accent1">
                <a:lumMod val="90000"/>
                <a:lumOff val="10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grpSp>
        <p:nvGrpSpPr>
          <p:cNvPr id="48" name="组合 47">
            <a:extLst>
              <a:ext uri="{FF2B5EF4-FFF2-40B4-BE49-F238E27FC236}">
                <a16:creationId xmlns:a16="http://schemas.microsoft.com/office/drawing/2014/main" id="{BD4C78CD-837B-4D7E-A770-AE3FFE44217E}"/>
              </a:ext>
            </a:extLst>
          </p:cNvPr>
          <p:cNvGrpSpPr/>
          <p:nvPr/>
        </p:nvGrpSpPr>
        <p:grpSpPr>
          <a:xfrm>
            <a:off x="7783432" y="3752850"/>
            <a:ext cx="2236509" cy="978342"/>
            <a:chOff x="623153" y="2789856"/>
            <a:chExt cx="2236509" cy="978342"/>
          </a:xfrm>
        </p:grpSpPr>
        <p:sp>
          <p:nvSpPr>
            <p:cNvPr id="49" name="文本框 48">
              <a:extLst>
                <a:ext uri="{FF2B5EF4-FFF2-40B4-BE49-F238E27FC236}">
                  <a16:creationId xmlns:a16="http://schemas.microsoft.com/office/drawing/2014/main" id="{0474CDD1-208E-4D30-B0AE-A2069B199C49}"/>
                </a:ext>
              </a:extLst>
            </p:cNvPr>
            <p:cNvSpPr txBox="1"/>
            <p:nvPr/>
          </p:nvSpPr>
          <p:spPr>
            <a:xfrm>
              <a:off x="623153" y="2789856"/>
              <a:ext cx="1043876" cy="461665"/>
            </a:xfrm>
            <a:prstGeom prst="rect">
              <a:avLst/>
            </a:prstGeom>
            <a:noFill/>
          </p:spPr>
          <p:txBody>
            <a:bodyPr wrap="none" rtlCol="0">
              <a:spAutoFit/>
            </a:bodyPr>
            <a:lstStyle/>
            <a:p>
              <a:r>
                <a:rPr lang="en-US" altLang="zh-CN" sz="2400" dirty="0">
                  <a:solidFill>
                    <a:schemeClr val="accent1"/>
                  </a:solidFill>
                  <a:latin typeface="+mj-ea"/>
                  <a:ea typeface="+mj-ea"/>
                </a:rPr>
                <a:t>20XX</a:t>
              </a:r>
              <a:endParaRPr lang="zh-CN" altLang="en-US" sz="2400" dirty="0">
                <a:solidFill>
                  <a:schemeClr val="accent1"/>
                </a:solidFill>
                <a:latin typeface="+mj-ea"/>
                <a:ea typeface="+mj-ea"/>
              </a:endParaRPr>
            </a:p>
          </p:txBody>
        </p:sp>
        <p:sp>
          <p:nvSpPr>
            <p:cNvPr id="50" name="文本框 49">
              <a:extLst>
                <a:ext uri="{FF2B5EF4-FFF2-40B4-BE49-F238E27FC236}">
                  <a16:creationId xmlns:a16="http://schemas.microsoft.com/office/drawing/2014/main" id="{52B9D81B-113D-4E6C-9EEA-5C9B01282E28}"/>
                </a:ext>
              </a:extLst>
            </p:cNvPr>
            <p:cNvSpPr txBox="1"/>
            <p:nvPr/>
          </p:nvSpPr>
          <p:spPr>
            <a:xfrm>
              <a:off x="623153" y="3168034"/>
              <a:ext cx="2236509" cy="600164"/>
            </a:xfrm>
            <a:prstGeom prst="rect">
              <a:avLst/>
            </a:prstGeom>
            <a:noFill/>
          </p:spPr>
          <p:txBody>
            <a:bodyPr wrap="square" rtlCol="0">
              <a:spAutoFit/>
            </a:bodyPr>
            <a:lstStyle/>
            <a:p>
              <a:r>
                <a:rPr lang="en-US" altLang="zh-CN" sz="1100" dirty="0"/>
                <a:t>Lorem ipsum dolor sit amet, consectetur adipisicing elit, sed do eiusmod tempor</a:t>
              </a:r>
              <a:endParaRPr lang="zh-CN" altLang="en-US" sz="1100" dirty="0"/>
            </a:p>
          </p:txBody>
        </p:sp>
      </p:grpSp>
      <p:sp>
        <p:nvSpPr>
          <p:cNvPr id="51" name="椭圆 50">
            <a:extLst>
              <a:ext uri="{FF2B5EF4-FFF2-40B4-BE49-F238E27FC236}">
                <a16:creationId xmlns:a16="http://schemas.microsoft.com/office/drawing/2014/main" id="{F05D699D-5992-4564-9B22-4D2A55E0176A}"/>
              </a:ext>
            </a:extLst>
          </p:cNvPr>
          <p:cNvSpPr/>
          <p:nvPr/>
        </p:nvSpPr>
        <p:spPr>
          <a:xfrm>
            <a:off x="9547225" y="3191054"/>
            <a:ext cx="171450" cy="171450"/>
          </a:xfrm>
          <a:prstGeom prst="ellipse">
            <a:avLst/>
          </a:prstGeom>
          <a:solidFill>
            <a:schemeClr val="accent1"/>
          </a:solidFill>
          <a:ln w="41275">
            <a:solidFill>
              <a:schemeClr val="bg1"/>
            </a:solidFill>
          </a:ln>
          <a:effectLst>
            <a:outerShdw blurRad="177800" sx="102000" sy="102000" algn="ctr" rotWithShape="0">
              <a:schemeClr val="accent1">
                <a:lumMod val="90000"/>
                <a:lumOff val="10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grpSp>
        <p:nvGrpSpPr>
          <p:cNvPr id="52" name="组合 51">
            <a:extLst>
              <a:ext uri="{FF2B5EF4-FFF2-40B4-BE49-F238E27FC236}">
                <a16:creationId xmlns:a16="http://schemas.microsoft.com/office/drawing/2014/main" id="{853BDE23-E1EA-49F3-9370-EA890FC19351}"/>
              </a:ext>
            </a:extLst>
          </p:cNvPr>
          <p:cNvGrpSpPr/>
          <p:nvPr/>
        </p:nvGrpSpPr>
        <p:grpSpPr>
          <a:xfrm>
            <a:off x="9678907" y="2276475"/>
            <a:ext cx="2236509" cy="978342"/>
            <a:chOff x="623153" y="2789856"/>
            <a:chExt cx="2236509" cy="978342"/>
          </a:xfrm>
        </p:grpSpPr>
        <p:sp>
          <p:nvSpPr>
            <p:cNvPr id="53" name="文本框 52">
              <a:extLst>
                <a:ext uri="{FF2B5EF4-FFF2-40B4-BE49-F238E27FC236}">
                  <a16:creationId xmlns:a16="http://schemas.microsoft.com/office/drawing/2014/main" id="{30C326C0-064A-4911-89E7-3F0829A96C4F}"/>
                </a:ext>
              </a:extLst>
            </p:cNvPr>
            <p:cNvSpPr txBox="1"/>
            <p:nvPr/>
          </p:nvSpPr>
          <p:spPr>
            <a:xfrm>
              <a:off x="623153" y="2789856"/>
              <a:ext cx="1043876" cy="461665"/>
            </a:xfrm>
            <a:prstGeom prst="rect">
              <a:avLst/>
            </a:prstGeom>
            <a:noFill/>
          </p:spPr>
          <p:txBody>
            <a:bodyPr wrap="none" rtlCol="0">
              <a:spAutoFit/>
            </a:bodyPr>
            <a:lstStyle/>
            <a:p>
              <a:r>
                <a:rPr lang="en-US" altLang="zh-CN" sz="2400" dirty="0">
                  <a:solidFill>
                    <a:schemeClr val="accent1"/>
                  </a:solidFill>
                  <a:latin typeface="+mj-ea"/>
                  <a:ea typeface="+mj-ea"/>
                </a:rPr>
                <a:t>20XX</a:t>
              </a:r>
              <a:endParaRPr lang="zh-CN" altLang="en-US" sz="2400" dirty="0">
                <a:solidFill>
                  <a:schemeClr val="accent1"/>
                </a:solidFill>
                <a:latin typeface="+mj-ea"/>
                <a:ea typeface="+mj-ea"/>
              </a:endParaRPr>
            </a:p>
          </p:txBody>
        </p:sp>
        <p:sp>
          <p:nvSpPr>
            <p:cNvPr id="54" name="文本框 53">
              <a:extLst>
                <a:ext uri="{FF2B5EF4-FFF2-40B4-BE49-F238E27FC236}">
                  <a16:creationId xmlns:a16="http://schemas.microsoft.com/office/drawing/2014/main" id="{A1AFEAEC-7C73-49FA-82E2-9E843C532AEE}"/>
                </a:ext>
              </a:extLst>
            </p:cNvPr>
            <p:cNvSpPr txBox="1"/>
            <p:nvPr/>
          </p:nvSpPr>
          <p:spPr>
            <a:xfrm>
              <a:off x="623153" y="3168034"/>
              <a:ext cx="2236509" cy="600164"/>
            </a:xfrm>
            <a:prstGeom prst="rect">
              <a:avLst/>
            </a:prstGeom>
            <a:noFill/>
          </p:spPr>
          <p:txBody>
            <a:bodyPr wrap="square" rtlCol="0">
              <a:spAutoFit/>
            </a:bodyPr>
            <a:lstStyle/>
            <a:p>
              <a:r>
                <a:rPr lang="en-US" altLang="zh-CN" sz="1100" dirty="0"/>
                <a:t>Lorem ipsum dolor sit amet, consectetur adipisicing elit, sed do eiusmod tempor</a:t>
              </a:r>
              <a:endParaRPr lang="zh-CN" altLang="en-US" sz="1100" dirty="0"/>
            </a:p>
          </p:txBody>
        </p:sp>
      </p:grpSp>
    </p:spTree>
    <p:extLst>
      <p:ext uri="{BB962C8B-B14F-4D97-AF65-F5344CB8AC3E}">
        <p14:creationId xmlns:p14="http://schemas.microsoft.com/office/powerpoint/2010/main" val="1612285317"/>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369.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cxnSp>
        <p:nvCxnSpPr>
          <p:cNvPr id="3" name="直接连接符 2">
            <a:extLst>
              <a:ext uri="{FF2B5EF4-FFF2-40B4-BE49-F238E27FC236}">
                <a16:creationId xmlns:a16="http://schemas.microsoft.com/office/drawing/2014/main" id="{796FF212-2C8B-4112-825B-C30D9F2260D2}"/>
              </a:ext>
            </a:extLst>
          </p:cNvPr>
          <p:cNvCxnSpPr/>
          <p:nvPr/>
        </p:nvCxnSpPr>
        <p:spPr>
          <a:xfrm>
            <a:off x="0" y="4743450"/>
            <a:ext cx="12192000" cy="0"/>
          </a:xfrm>
          <a:prstGeom prst="line">
            <a:avLst/>
          </a:prstGeom>
          <a:ln w="47625">
            <a:solidFill>
              <a:schemeClr val="bg1"/>
            </a:solidFill>
          </a:ln>
        </p:spPr>
        <p:style>
          <a:lnRef idx="1">
            <a:schemeClr val="accent1"/>
          </a:lnRef>
          <a:fillRef idx="0">
            <a:schemeClr val="accent1"/>
          </a:fillRef>
          <a:effectRef idx="0">
            <a:schemeClr val="accent1"/>
          </a:effectRef>
          <a:fontRef idx="minor">
            <a:schemeClr val="tx1"/>
          </a:fontRef>
        </p:style>
      </p:cxnSp>
      <p:sp>
        <p:nvSpPr>
          <p:cNvPr id="4" name="文本框 3">
            <a:extLst>
              <a:ext uri="{FF2B5EF4-FFF2-40B4-BE49-F238E27FC236}">
                <a16:creationId xmlns:a16="http://schemas.microsoft.com/office/drawing/2014/main" id="{A9E18915-3D05-48A9-9F4E-968FF113EC93}"/>
              </a:ext>
            </a:extLst>
          </p:cNvPr>
          <p:cNvSpPr txBox="1"/>
          <p:nvPr/>
        </p:nvSpPr>
        <p:spPr>
          <a:xfrm>
            <a:off x="600075" y="1895475"/>
            <a:ext cx="2513509" cy="1084464"/>
          </a:xfrm>
          <a:prstGeom prst="rect">
            <a:avLst/>
          </a:prstGeom>
          <a:noFill/>
        </p:spPr>
        <p:txBody>
          <a:bodyPr wrap="none" lIns="0" tIns="0" rIns="0" bIns="0" rtlCol="0" anchor="t">
            <a:spAutoFit/>
          </a:bodyPr>
          <a:lstStyle/>
          <a:p>
            <a:pPr algn="l">
              <a:lnSpc>
                <a:spcPct val="130000"/>
              </a:lnSpc>
            </a:pPr>
            <a:r>
              <a:rPr lang="zh-CN" altLang="en-US" sz="2800" dirty="0">
                <a:solidFill>
                  <a:schemeClr val="bg1"/>
                </a:solidFill>
                <a:latin typeface="+mj-ea"/>
                <a:ea typeface="+mj-ea"/>
              </a:rPr>
              <a:t>在这里输入你的</a:t>
            </a:r>
            <a:endParaRPr lang="en-US" altLang="zh-CN" sz="2800" dirty="0">
              <a:solidFill>
                <a:schemeClr val="bg1"/>
              </a:solidFill>
              <a:latin typeface="+mj-ea"/>
              <a:ea typeface="+mj-ea"/>
            </a:endParaRPr>
          </a:p>
          <a:p>
            <a:pPr algn="l">
              <a:lnSpc>
                <a:spcPct val="130000"/>
              </a:lnSpc>
            </a:pPr>
            <a:r>
              <a:rPr lang="zh-CN" altLang="en-US" sz="2800" dirty="0">
                <a:solidFill>
                  <a:schemeClr val="bg1"/>
                </a:solidFill>
                <a:latin typeface="+mj-ea"/>
                <a:ea typeface="+mj-ea"/>
              </a:rPr>
              <a:t>关键词标题</a:t>
            </a:r>
          </a:p>
        </p:txBody>
      </p:sp>
      <p:cxnSp>
        <p:nvCxnSpPr>
          <p:cNvPr id="6" name="直接连接符 5">
            <a:extLst>
              <a:ext uri="{FF2B5EF4-FFF2-40B4-BE49-F238E27FC236}">
                <a16:creationId xmlns:a16="http://schemas.microsoft.com/office/drawing/2014/main" id="{E78E7753-6570-4E89-B299-6C6DABAA2EC7}"/>
              </a:ext>
            </a:extLst>
          </p:cNvPr>
          <p:cNvCxnSpPr/>
          <p:nvPr/>
        </p:nvCxnSpPr>
        <p:spPr>
          <a:xfrm>
            <a:off x="600075" y="3209925"/>
            <a:ext cx="542925"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7" name="文本框 6">
            <a:extLst>
              <a:ext uri="{FF2B5EF4-FFF2-40B4-BE49-F238E27FC236}">
                <a16:creationId xmlns:a16="http://schemas.microsoft.com/office/drawing/2014/main" id="{3483BDAA-FBB7-46B0-A080-F55B5406C89F}"/>
              </a:ext>
            </a:extLst>
          </p:cNvPr>
          <p:cNvSpPr txBox="1"/>
          <p:nvPr/>
        </p:nvSpPr>
        <p:spPr>
          <a:xfrm>
            <a:off x="600075" y="3353493"/>
            <a:ext cx="1896353" cy="697179"/>
          </a:xfrm>
          <a:prstGeom prst="rect">
            <a:avLst/>
          </a:prstGeom>
          <a:noFill/>
        </p:spPr>
        <p:txBody>
          <a:bodyPr wrap="none" lIns="0" tIns="0" rIns="0" bIns="0" rtlCol="0" anchor="t">
            <a:spAutoFit/>
          </a:bodyPr>
          <a:lstStyle/>
          <a:p>
            <a:pPr algn="l">
              <a:lnSpc>
                <a:spcPct val="130000"/>
              </a:lnSpc>
            </a:pPr>
            <a:r>
              <a:rPr lang="en-US" altLang="zh-CN" dirty="0">
                <a:solidFill>
                  <a:schemeClr val="bg1"/>
                </a:solidFill>
                <a:latin typeface="+mn-ea"/>
              </a:rPr>
              <a:t>Enter you’re here</a:t>
            </a:r>
          </a:p>
          <a:p>
            <a:pPr algn="l">
              <a:lnSpc>
                <a:spcPct val="130000"/>
              </a:lnSpc>
            </a:pPr>
            <a:r>
              <a:rPr lang="en-US" altLang="zh-CN" dirty="0">
                <a:solidFill>
                  <a:schemeClr val="bg1"/>
                </a:solidFill>
                <a:latin typeface="+mn-ea"/>
              </a:rPr>
              <a:t>Keyword title</a:t>
            </a:r>
            <a:endParaRPr lang="zh-CN" altLang="en-US" dirty="0">
              <a:solidFill>
                <a:schemeClr val="bg1"/>
              </a:solidFill>
              <a:latin typeface="+mn-ea"/>
            </a:endParaRPr>
          </a:p>
        </p:txBody>
      </p:sp>
      <p:cxnSp>
        <p:nvCxnSpPr>
          <p:cNvPr id="9" name="直接连接符 8">
            <a:extLst>
              <a:ext uri="{FF2B5EF4-FFF2-40B4-BE49-F238E27FC236}">
                <a16:creationId xmlns:a16="http://schemas.microsoft.com/office/drawing/2014/main" id="{3108BFC7-BFB3-41B0-BED4-53BA21405D3A}"/>
              </a:ext>
            </a:extLst>
          </p:cNvPr>
          <p:cNvCxnSpPr>
            <a:cxnSpLocks/>
          </p:cNvCxnSpPr>
          <p:nvPr/>
        </p:nvCxnSpPr>
        <p:spPr>
          <a:xfrm>
            <a:off x="3800475" y="4279272"/>
            <a:ext cx="0" cy="464178"/>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nvGrpSpPr>
          <p:cNvPr id="11" name="组合 10">
            <a:extLst>
              <a:ext uri="{FF2B5EF4-FFF2-40B4-BE49-F238E27FC236}">
                <a16:creationId xmlns:a16="http://schemas.microsoft.com/office/drawing/2014/main" id="{0F40E226-6272-448C-8364-CABC6EDD2FAE}"/>
              </a:ext>
            </a:extLst>
          </p:cNvPr>
          <p:cNvGrpSpPr/>
          <p:nvPr/>
        </p:nvGrpSpPr>
        <p:grpSpPr>
          <a:xfrm>
            <a:off x="3671153" y="3209925"/>
            <a:ext cx="2236509" cy="978342"/>
            <a:chOff x="623153" y="2789856"/>
            <a:chExt cx="2236509" cy="978342"/>
          </a:xfrm>
        </p:grpSpPr>
        <p:sp>
          <p:nvSpPr>
            <p:cNvPr id="12" name="文本框 11">
              <a:extLst>
                <a:ext uri="{FF2B5EF4-FFF2-40B4-BE49-F238E27FC236}">
                  <a16:creationId xmlns:a16="http://schemas.microsoft.com/office/drawing/2014/main" id="{201204B4-5D97-415E-8189-0A43F5D0D9A9}"/>
                </a:ext>
              </a:extLst>
            </p:cNvPr>
            <p:cNvSpPr txBox="1"/>
            <p:nvPr/>
          </p:nvSpPr>
          <p:spPr>
            <a:xfrm>
              <a:off x="623153" y="2789856"/>
              <a:ext cx="1043876" cy="461665"/>
            </a:xfrm>
            <a:prstGeom prst="rect">
              <a:avLst/>
            </a:prstGeom>
            <a:noFill/>
          </p:spPr>
          <p:txBody>
            <a:bodyPr wrap="none" rtlCol="0">
              <a:spAutoFit/>
            </a:bodyPr>
            <a:lstStyle/>
            <a:p>
              <a:r>
                <a:rPr lang="en-US" altLang="zh-CN" sz="2400" dirty="0">
                  <a:solidFill>
                    <a:schemeClr val="bg1"/>
                  </a:solidFill>
                  <a:latin typeface="+mj-ea"/>
                  <a:ea typeface="+mj-ea"/>
                </a:rPr>
                <a:t>20XX</a:t>
              </a:r>
              <a:endParaRPr lang="zh-CN" altLang="en-US" sz="2400" dirty="0">
                <a:solidFill>
                  <a:schemeClr val="bg1"/>
                </a:solidFill>
                <a:latin typeface="+mj-ea"/>
                <a:ea typeface="+mj-ea"/>
              </a:endParaRPr>
            </a:p>
          </p:txBody>
        </p:sp>
        <p:sp>
          <p:nvSpPr>
            <p:cNvPr id="13" name="文本框 12">
              <a:extLst>
                <a:ext uri="{FF2B5EF4-FFF2-40B4-BE49-F238E27FC236}">
                  <a16:creationId xmlns:a16="http://schemas.microsoft.com/office/drawing/2014/main" id="{B0A315E5-9BAF-4DBB-BE07-FCD935113C15}"/>
                </a:ext>
              </a:extLst>
            </p:cNvPr>
            <p:cNvSpPr txBox="1"/>
            <p:nvPr/>
          </p:nvSpPr>
          <p:spPr>
            <a:xfrm>
              <a:off x="623153" y="3168034"/>
              <a:ext cx="2236509" cy="600164"/>
            </a:xfrm>
            <a:prstGeom prst="rect">
              <a:avLst/>
            </a:prstGeom>
            <a:noFill/>
          </p:spPr>
          <p:txBody>
            <a:bodyPr wrap="square" rtlCol="0">
              <a:spAutoFit/>
            </a:bodyPr>
            <a:lstStyle/>
            <a:p>
              <a:r>
                <a:rPr lang="en-US" altLang="zh-CN" sz="1100" dirty="0">
                  <a:solidFill>
                    <a:schemeClr val="bg1"/>
                  </a:solidFill>
                </a:rPr>
                <a:t>Lorem ipsum dolor sit amet, consectetur adipisicing elit, sed do eiusmod tempor</a:t>
              </a:r>
              <a:endParaRPr lang="zh-CN" altLang="en-US" sz="1100" dirty="0">
                <a:solidFill>
                  <a:schemeClr val="bg1"/>
                </a:solidFill>
              </a:endParaRPr>
            </a:p>
          </p:txBody>
        </p:sp>
      </p:grpSp>
      <p:cxnSp>
        <p:nvCxnSpPr>
          <p:cNvPr id="14" name="直接连接符 13">
            <a:extLst>
              <a:ext uri="{FF2B5EF4-FFF2-40B4-BE49-F238E27FC236}">
                <a16:creationId xmlns:a16="http://schemas.microsoft.com/office/drawing/2014/main" id="{0A614A65-A8A0-4D8A-B96D-BFB201741E43}"/>
              </a:ext>
            </a:extLst>
          </p:cNvPr>
          <p:cNvCxnSpPr>
            <a:cxnSpLocks/>
          </p:cNvCxnSpPr>
          <p:nvPr/>
        </p:nvCxnSpPr>
        <p:spPr>
          <a:xfrm>
            <a:off x="5985331" y="2752725"/>
            <a:ext cx="0" cy="1990725"/>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nvGrpSpPr>
          <p:cNvPr id="16" name="组合 15">
            <a:extLst>
              <a:ext uri="{FF2B5EF4-FFF2-40B4-BE49-F238E27FC236}">
                <a16:creationId xmlns:a16="http://schemas.microsoft.com/office/drawing/2014/main" id="{D6071589-4E84-4940-B23C-BE5791A1AE9C}"/>
              </a:ext>
            </a:extLst>
          </p:cNvPr>
          <p:cNvGrpSpPr/>
          <p:nvPr/>
        </p:nvGrpSpPr>
        <p:grpSpPr>
          <a:xfrm>
            <a:off x="5875059" y="1676400"/>
            <a:ext cx="2236509" cy="978342"/>
            <a:chOff x="623153" y="2789856"/>
            <a:chExt cx="2236509" cy="978342"/>
          </a:xfrm>
        </p:grpSpPr>
        <p:sp>
          <p:nvSpPr>
            <p:cNvPr id="17" name="文本框 16">
              <a:extLst>
                <a:ext uri="{FF2B5EF4-FFF2-40B4-BE49-F238E27FC236}">
                  <a16:creationId xmlns:a16="http://schemas.microsoft.com/office/drawing/2014/main" id="{75BB05BB-CF65-4C5B-AA1D-A688A9B03C20}"/>
                </a:ext>
              </a:extLst>
            </p:cNvPr>
            <p:cNvSpPr txBox="1"/>
            <p:nvPr/>
          </p:nvSpPr>
          <p:spPr>
            <a:xfrm>
              <a:off x="623153" y="2789856"/>
              <a:ext cx="1043876" cy="461665"/>
            </a:xfrm>
            <a:prstGeom prst="rect">
              <a:avLst/>
            </a:prstGeom>
            <a:noFill/>
          </p:spPr>
          <p:txBody>
            <a:bodyPr wrap="none" rtlCol="0">
              <a:spAutoFit/>
            </a:bodyPr>
            <a:lstStyle/>
            <a:p>
              <a:r>
                <a:rPr lang="en-US" altLang="zh-CN" sz="2400" dirty="0">
                  <a:solidFill>
                    <a:schemeClr val="bg1"/>
                  </a:solidFill>
                  <a:latin typeface="+mj-ea"/>
                  <a:ea typeface="+mj-ea"/>
                </a:rPr>
                <a:t>20XX</a:t>
              </a:r>
              <a:endParaRPr lang="zh-CN" altLang="en-US" sz="2400" dirty="0">
                <a:solidFill>
                  <a:schemeClr val="bg1"/>
                </a:solidFill>
                <a:latin typeface="+mj-ea"/>
                <a:ea typeface="+mj-ea"/>
              </a:endParaRPr>
            </a:p>
          </p:txBody>
        </p:sp>
        <p:sp>
          <p:nvSpPr>
            <p:cNvPr id="18" name="文本框 17">
              <a:extLst>
                <a:ext uri="{FF2B5EF4-FFF2-40B4-BE49-F238E27FC236}">
                  <a16:creationId xmlns:a16="http://schemas.microsoft.com/office/drawing/2014/main" id="{9BFBB568-1009-431C-9E79-A2704642C827}"/>
                </a:ext>
              </a:extLst>
            </p:cNvPr>
            <p:cNvSpPr txBox="1"/>
            <p:nvPr/>
          </p:nvSpPr>
          <p:spPr>
            <a:xfrm>
              <a:off x="623153" y="3168034"/>
              <a:ext cx="2236509" cy="600164"/>
            </a:xfrm>
            <a:prstGeom prst="rect">
              <a:avLst/>
            </a:prstGeom>
            <a:noFill/>
          </p:spPr>
          <p:txBody>
            <a:bodyPr wrap="square" rtlCol="0">
              <a:spAutoFit/>
            </a:bodyPr>
            <a:lstStyle/>
            <a:p>
              <a:r>
                <a:rPr lang="en-US" altLang="zh-CN" sz="1100" dirty="0">
                  <a:solidFill>
                    <a:schemeClr val="bg1"/>
                  </a:solidFill>
                </a:rPr>
                <a:t>Lorem ipsum dolor sit amet, consectetur adipisicing elit, sed do eiusmod tempor</a:t>
              </a:r>
              <a:endParaRPr lang="zh-CN" altLang="en-US" sz="1100" dirty="0">
                <a:solidFill>
                  <a:schemeClr val="bg1"/>
                </a:solidFill>
              </a:endParaRPr>
            </a:p>
          </p:txBody>
        </p:sp>
      </p:grpSp>
      <p:cxnSp>
        <p:nvCxnSpPr>
          <p:cNvPr id="35" name="直接连接符 34">
            <a:extLst>
              <a:ext uri="{FF2B5EF4-FFF2-40B4-BE49-F238E27FC236}">
                <a16:creationId xmlns:a16="http://schemas.microsoft.com/office/drawing/2014/main" id="{E0800451-5067-4BA5-A58F-C0A6D86C8D35}"/>
              </a:ext>
            </a:extLst>
          </p:cNvPr>
          <p:cNvCxnSpPr>
            <a:cxnSpLocks/>
          </p:cNvCxnSpPr>
          <p:nvPr/>
        </p:nvCxnSpPr>
        <p:spPr>
          <a:xfrm>
            <a:off x="7880907" y="4279272"/>
            <a:ext cx="0" cy="464178"/>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nvGrpSpPr>
          <p:cNvPr id="36" name="组合 35">
            <a:extLst>
              <a:ext uri="{FF2B5EF4-FFF2-40B4-BE49-F238E27FC236}">
                <a16:creationId xmlns:a16="http://schemas.microsoft.com/office/drawing/2014/main" id="{688EB018-4B19-4E17-A183-5D20A1D6B1C4}"/>
              </a:ext>
            </a:extLst>
          </p:cNvPr>
          <p:cNvGrpSpPr/>
          <p:nvPr/>
        </p:nvGrpSpPr>
        <p:grpSpPr>
          <a:xfrm>
            <a:off x="7751585" y="3209925"/>
            <a:ext cx="2236509" cy="978342"/>
            <a:chOff x="623153" y="2789856"/>
            <a:chExt cx="2236509" cy="978342"/>
          </a:xfrm>
        </p:grpSpPr>
        <p:sp>
          <p:nvSpPr>
            <p:cNvPr id="37" name="文本框 36">
              <a:extLst>
                <a:ext uri="{FF2B5EF4-FFF2-40B4-BE49-F238E27FC236}">
                  <a16:creationId xmlns:a16="http://schemas.microsoft.com/office/drawing/2014/main" id="{5629F48D-89E4-461F-8BCC-3E8CAC10BE90}"/>
                </a:ext>
              </a:extLst>
            </p:cNvPr>
            <p:cNvSpPr txBox="1"/>
            <p:nvPr/>
          </p:nvSpPr>
          <p:spPr>
            <a:xfrm>
              <a:off x="623153" y="2789856"/>
              <a:ext cx="1043876" cy="461665"/>
            </a:xfrm>
            <a:prstGeom prst="rect">
              <a:avLst/>
            </a:prstGeom>
            <a:noFill/>
          </p:spPr>
          <p:txBody>
            <a:bodyPr wrap="none" rtlCol="0">
              <a:spAutoFit/>
            </a:bodyPr>
            <a:lstStyle/>
            <a:p>
              <a:r>
                <a:rPr lang="en-US" altLang="zh-CN" sz="2400" dirty="0">
                  <a:solidFill>
                    <a:schemeClr val="bg1"/>
                  </a:solidFill>
                  <a:latin typeface="+mj-ea"/>
                  <a:ea typeface="+mj-ea"/>
                </a:rPr>
                <a:t>20XX</a:t>
              </a:r>
              <a:endParaRPr lang="zh-CN" altLang="en-US" sz="2400" dirty="0">
                <a:solidFill>
                  <a:schemeClr val="bg1"/>
                </a:solidFill>
                <a:latin typeface="+mj-ea"/>
                <a:ea typeface="+mj-ea"/>
              </a:endParaRPr>
            </a:p>
          </p:txBody>
        </p:sp>
        <p:sp>
          <p:nvSpPr>
            <p:cNvPr id="38" name="文本框 37">
              <a:extLst>
                <a:ext uri="{FF2B5EF4-FFF2-40B4-BE49-F238E27FC236}">
                  <a16:creationId xmlns:a16="http://schemas.microsoft.com/office/drawing/2014/main" id="{BC780FEB-DFB4-4AD0-A533-1DCC4DAEC2A7}"/>
                </a:ext>
              </a:extLst>
            </p:cNvPr>
            <p:cNvSpPr txBox="1"/>
            <p:nvPr/>
          </p:nvSpPr>
          <p:spPr>
            <a:xfrm>
              <a:off x="623153" y="3168034"/>
              <a:ext cx="2236509" cy="600164"/>
            </a:xfrm>
            <a:prstGeom prst="rect">
              <a:avLst/>
            </a:prstGeom>
            <a:noFill/>
          </p:spPr>
          <p:txBody>
            <a:bodyPr wrap="square" rtlCol="0">
              <a:spAutoFit/>
            </a:bodyPr>
            <a:lstStyle/>
            <a:p>
              <a:r>
                <a:rPr lang="en-US" altLang="zh-CN" sz="1100" dirty="0">
                  <a:solidFill>
                    <a:schemeClr val="bg1"/>
                  </a:solidFill>
                </a:rPr>
                <a:t>Lorem ipsum dolor sit amet, consectetur adipisicing elit, sed do eiusmod tempor</a:t>
              </a:r>
              <a:endParaRPr lang="zh-CN" altLang="en-US" sz="1100" dirty="0">
                <a:solidFill>
                  <a:schemeClr val="bg1"/>
                </a:solidFill>
              </a:endParaRPr>
            </a:p>
          </p:txBody>
        </p:sp>
      </p:grpSp>
      <p:cxnSp>
        <p:nvCxnSpPr>
          <p:cNvPr id="39" name="直接连接符 38">
            <a:extLst>
              <a:ext uri="{FF2B5EF4-FFF2-40B4-BE49-F238E27FC236}">
                <a16:creationId xmlns:a16="http://schemas.microsoft.com/office/drawing/2014/main" id="{2707A2DF-8AD9-475A-B307-DDE7E2454DE5}"/>
              </a:ext>
            </a:extLst>
          </p:cNvPr>
          <p:cNvCxnSpPr>
            <a:cxnSpLocks/>
          </p:cNvCxnSpPr>
          <p:nvPr/>
        </p:nvCxnSpPr>
        <p:spPr>
          <a:xfrm>
            <a:off x="10065763" y="3228975"/>
            <a:ext cx="0" cy="1514475"/>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nvGrpSpPr>
          <p:cNvPr id="40" name="组合 39">
            <a:extLst>
              <a:ext uri="{FF2B5EF4-FFF2-40B4-BE49-F238E27FC236}">
                <a16:creationId xmlns:a16="http://schemas.microsoft.com/office/drawing/2014/main" id="{F77E2EC2-E1DE-4FEE-9027-D577099DBE81}"/>
              </a:ext>
            </a:extLst>
          </p:cNvPr>
          <p:cNvGrpSpPr/>
          <p:nvPr/>
        </p:nvGrpSpPr>
        <p:grpSpPr>
          <a:xfrm>
            <a:off x="9955491" y="2203874"/>
            <a:ext cx="2236509" cy="978342"/>
            <a:chOff x="623153" y="2789856"/>
            <a:chExt cx="2236509" cy="978342"/>
          </a:xfrm>
        </p:grpSpPr>
        <p:sp>
          <p:nvSpPr>
            <p:cNvPr id="41" name="文本框 40">
              <a:extLst>
                <a:ext uri="{FF2B5EF4-FFF2-40B4-BE49-F238E27FC236}">
                  <a16:creationId xmlns:a16="http://schemas.microsoft.com/office/drawing/2014/main" id="{A890A9DC-DF78-482F-AC30-F77A62284D18}"/>
                </a:ext>
              </a:extLst>
            </p:cNvPr>
            <p:cNvSpPr txBox="1"/>
            <p:nvPr/>
          </p:nvSpPr>
          <p:spPr>
            <a:xfrm>
              <a:off x="623153" y="2789856"/>
              <a:ext cx="1043876" cy="461665"/>
            </a:xfrm>
            <a:prstGeom prst="rect">
              <a:avLst/>
            </a:prstGeom>
            <a:noFill/>
          </p:spPr>
          <p:txBody>
            <a:bodyPr wrap="none" rtlCol="0">
              <a:spAutoFit/>
            </a:bodyPr>
            <a:lstStyle/>
            <a:p>
              <a:r>
                <a:rPr lang="en-US" altLang="zh-CN" sz="2400" dirty="0">
                  <a:solidFill>
                    <a:schemeClr val="bg1"/>
                  </a:solidFill>
                  <a:latin typeface="+mj-ea"/>
                  <a:ea typeface="+mj-ea"/>
                </a:rPr>
                <a:t>20XX</a:t>
              </a:r>
              <a:endParaRPr lang="zh-CN" altLang="en-US" sz="2400" dirty="0">
                <a:solidFill>
                  <a:schemeClr val="bg1"/>
                </a:solidFill>
                <a:latin typeface="+mj-ea"/>
                <a:ea typeface="+mj-ea"/>
              </a:endParaRPr>
            </a:p>
          </p:txBody>
        </p:sp>
        <p:sp>
          <p:nvSpPr>
            <p:cNvPr id="42" name="文本框 41">
              <a:extLst>
                <a:ext uri="{FF2B5EF4-FFF2-40B4-BE49-F238E27FC236}">
                  <a16:creationId xmlns:a16="http://schemas.microsoft.com/office/drawing/2014/main" id="{A1F05C03-E2E0-4BC3-948C-ACE72A1B29E2}"/>
                </a:ext>
              </a:extLst>
            </p:cNvPr>
            <p:cNvSpPr txBox="1"/>
            <p:nvPr/>
          </p:nvSpPr>
          <p:spPr>
            <a:xfrm>
              <a:off x="623153" y="3168034"/>
              <a:ext cx="2236509" cy="600164"/>
            </a:xfrm>
            <a:prstGeom prst="rect">
              <a:avLst/>
            </a:prstGeom>
            <a:noFill/>
          </p:spPr>
          <p:txBody>
            <a:bodyPr wrap="square" rtlCol="0">
              <a:spAutoFit/>
            </a:bodyPr>
            <a:lstStyle/>
            <a:p>
              <a:r>
                <a:rPr lang="en-US" altLang="zh-CN" sz="1100" dirty="0">
                  <a:solidFill>
                    <a:schemeClr val="bg1"/>
                  </a:solidFill>
                </a:rPr>
                <a:t>Lorem ipsum dolor sit amet, consectetur adipisicing elit, sed do eiusmod tempor</a:t>
              </a:r>
              <a:endParaRPr lang="zh-CN" altLang="en-US" sz="1100" dirty="0">
                <a:solidFill>
                  <a:schemeClr val="bg1"/>
                </a:solidFill>
              </a:endParaRPr>
            </a:p>
          </p:txBody>
        </p:sp>
      </p:grpSp>
    </p:spTree>
    <p:extLst>
      <p:ext uri="{BB962C8B-B14F-4D97-AF65-F5344CB8AC3E}">
        <p14:creationId xmlns:p14="http://schemas.microsoft.com/office/powerpoint/2010/main" val="724584200"/>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梯形 21">
            <a:extLst>
              <a:ext uri="{FF2B5EF4-FFF2-40B4-BE49-F238E27FC236}">
                <a16:creationId xmlns:a16="http://schemas.microsoft.com/office/drawing/2014/main" id="{A4F547A1-0D5B-4F40-AD4E-442DE1DD2649}"/>
              </a:ext>
            </a:extLst>
          </p:cNvPr>
          <p:cNvSpPr/>
          <p:nvPr/>
        </p:nvSpPr>
        <p:spPr>
          <a:xfrm flipH="1">
            <a:off x="0" y="0"/>
            <a:ext cx="12192000" cy="6857998"/>
          </a:xfrm>
          <a:prstGeom prst="trapezoid">
            <a:avLst>
              <a:gd name="adj" fmla="val 18847"/>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p>
        </p:txBody>
      </p:sp>
      <p:sp>
        <p:nvSpPr>
          <p:cNvPr id="3" name="梯形 2">
            <a:extLst>
              <a:ext uri="{FF2B5EF4-FFF2-40B4-BE49-F238E27FC236}">
                <a16:creationId xmlns:a16="http://schemas.microsoft.com/office/drawing/2014/main" id="{A183626E-510B-4E71-B152-F548A8CECBEB}"/>
              </a:ext>
            </a:extLst>
          </p:cNvPr>
          <p:cNvSpPr/>
          <p:nvPr/>
        </p:nvSpPr>
        <p:spPr>
          <a:xfrm flipV="1">
            <a:off x="0" y="0"/>
            <a:ext cx="12192000" cy="6857998"/>
          </a:xfrm>
          <a:prstGeom prst="trapezoid">
            <a:avLst>
              <a:gd name="adj" fmla="val 18847"/>
            </a:avLst>
          </a:prstGeom>
          <a:solidFill>
            <a:schemeClr val="accent1">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p>
        </p:txBody>
      </p:sp>
      <p:sp>
        <p:nvSpPr>
          <p:cNvPr id="11" name="文本框 10">
            <a:extLst>
              <a:ext uri="{FF2B5EF4-FFF2-40B4-BE49-F238E27FC236}">
                <a16:creationId xmlns:a16="http://schemas.microsoft.com/office/drawing/2014/main" id="{E4393356-E9A7-46D9-B5F5-0D21EC991A29}"/>
              </a:ext>
            </a:extLst>
          </p:cNvPr>
          <p:cNvSpPr txBox="1"/>
          <p:nvPr/>
        </p:nvSpPr>
        <p:spPr>
          <a:xfrm>
            <a:off x="1941017" y="2828068"/>
            <a:ext cx="8309967" cy="1107996"/>
          </a:xfrm>
          <a:prstGeom prst="rect">
            <a:avLst/>
          </a:prstGeom>
          <a:noFill/>
        </p:spPr>
        <p:txBody>
          <a:bodyPr wrap="none" lIns="0" tIns="0" rIns="0" bIns="0" rtlCol="0" anchor="t">
            <a:spAutoFit/>
          </a:bodyPr>
          <a:lstStyle/>
          <a:p>
            <a:pPr algn="ctr"/>
            <a:r>
              <a:rPr lang="zh-CN" altLang="en-US" sz="7200" dirty="0">
                <a:solidFill>
                  <a:schemeClr val="bg1"/>
                </a:solidFill>
                <a:latin typeface="+mj-ea"/>
                <a:ea typeface="+mj-ea"/>
              </a:rPr>
              <a:t>输入你的封面大标题</a:t>
            </a:r>
          </a:p>
        </p:txBody>
      </p:sp>
      <p:sp>
        <p:nvSpPr>
          <p:cNvPr id="12" name="文本框 11">
            <a:extLst>
              <a:ext uri="{FF2B5EF4-FFF2-40B4-BE49-F238E27FC236}">
                <a16:creationId xmlns:a16="http://schemas.microsoft.com/office/drawing/2014/main" id="{08D1ED60-C0E7-408E-A5AA-59B489440FCB}"/>
              </a:ext>
            </a:extLst>
          </p:cNvPr>
          <p:cNvSpPr txBox="1"/>
          <p:nvPr/>
        </p:nvSpPr>
        <p:spPr>
          <a:xfrm>
            <a:off x="4095451" y="2290144"/>
            <a:ext cx="4001095" cy="369332"/>
          </a:xfrm>
          <a:prstGeom prst="rect">
            <a:avLst/>
          </a:prstGeom>
          <a:noFill/>
        </p:spPr>
        <p:txBody>
          <a:bodyPr wrap="none" lIns="0" tIns="0" rIns="0" bIns="0" rtlCol="0" anchor="t">
            <a:spAutoFit/>
          </a:bodyPr>
          <a:lstStyle/>
          <a:p>
            <a:pPr algn="ctr"/>
            <a:r>
              <a:rPr lang="zh-CN" altLang="en-US" sz="2400" dirty="0">
                <a:solidFill>
                  <a:schemeClr val="bg1"/>
                </a:solidFill>
                <a:latin typeface="+mn-ea"/>
              </a:rPr>
              <a:t>输入你的副标题或大标题英文</a:t>
            </a:r>
          </a:p>
        </p:txBody>
      </p:sp>
      <p:cxnSp>
        <p:nvCxnSpPr>
          <p:cNvPr id="14" name="直接连接符 13">
            <a:extLst>
              <a:ext uri="{FF2B5EF4-FFF2-40B4-BE49-F238E27FC236}">
                <a16:creationId xmlns:a16="http://schemas.microsoft.com/office/drawing/2014/main" id="{99FDF5DC-EAFA-4C3B-B052-660243EB047F}"/>
              </a:ext>
            </a:extLst>
          </p:cNvPr>
          <p:cNvCxnSpPr/>
          <p:nvPr/>
        </p:nvCxnSpPr>
        <p:spPr>
          <a:xfrm flipH="1">
            <a:off x="2029968" y="2480596"/>
            <a:ext cx="1901952"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 name="直接连接符 14">
            <a:extLst>
              <a:ext uri="{FF2B5EF4-FFF2-40B4-BE49-F238E27FC236}">
                <a16:creationId xmlns:a16="http://schemas.microsoft.com/office/drawing/2014/main" id="{C6CC629A-E754-4728-BB95-563C56597B63}"/>
              </a:ext>
            </a:extLst>
          </p:cNvPr>
          <p:cNvCxnSpPr/>
          <p:nvPr/>
        </p:nvCxnSpPr>
        <p:spPr>
          <a:xfrm flipH="1">
            <a:off x="8284464" y="2480596"/>
            <a:ext cx="1901952"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grpSp>
        <p:nvGrpSpPr>
          <p:cNvPr id="18" name="组合 17">
            <a:extLst>
              <a:ext uri="{FF2B5EF4-FFF2-40B4-BE49-F238E27FC236}">
                <a16:creationId xmlns:a16="http://schemas.microsoft.com/office/drawing/2014/main" id="{FC799265-AC15-410F-82A2-679AB60B288F}"/>
              </a:ext>
            </a:extLst>
          </p:cNvPr>
          <p:cNvGrpSpPr/>
          <p:nvPr/>
        </p:nvGrpSpPr>
        <p:grpSpPr>
          <a:xfrm>
            <a:off x="4331702" y="4283535"/>
            <a:ext cx="1475214" cy="246221"/>
            <a:chOff x="4095451" y="4640913"/>
            <a:chExt cx="1475214" cy="246221"/>
          </a:xfrm>
        </p:grpSpPr>
        <p:sp>
          <p:nvSpPr>
            <p:cNvPr id="16" name="矩形 15">
              <a:extLst>
                <a:ext uri="{FF2B5EF4-FFF2-40B4-BE49-F238E27FC236}">
                  <a16:creationId xmlns:a16="http://schemas.microsoft.com/office/drawing/2014/main" id="{74C493E7-1B47-4349-BC5B-BF3163490795}"/>
                </a:ext>
              </a:extLst>
            </p:cNvPr>
            <p:cNvSpPr/>
            <p:nvPr/>
          </p:nvSpPr>
          <p:spPr>
            <a:xfrm>
              <a:off x="4095451" y="4672584"/>
              <a:ext cx="164592" cy="1645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solidFill>
                  <a:schemeClr val="bg1"/>
                </a:solidFill>
              </a:endParaRPr>
            </a:p>
          </p:txBody>
        </p:sp>
        <p:sp>
          <p:nvSpPr>
            <p:cNvPr id="17" name="文本框 16">
              <a:extLst>
                <a:ext uri="{FF2B5EF4-FFF2-40B4-BE49-F238E27FC236}">
                  <a16:creationId xmlns:a16="http://schemas.microsoft.com/office/drawing/2014/main" id="{B804F6AA-7656-4EF8-84F0-3B3FB5CF0922}"/>
                </a:ext>
              </a:extLst>
            </p:cNvPr>
            <p:cNvSpPr txBox="1"/>
            <p:nvPr/>
          </p:nvSpPr>
          <p:spPr>
            <a:xfrm>
              <a:off x="4408487" y="4640913"/>
              <a:ext cx="1162178" cy="246221"/>
            </a:xfrm>
            <a:prstGeom prst="rect">
              <a:avLst/>
            </a:prstGeom>
            <a:noFill/>
          </p:spPr>
          <p:txBody>
            <a:bodyPr wrap="none" lIns="0" tIns="0" rIns="0" bIns="0" rtlCol="0" anchor="t">
              <a:spAutoFit/>
            </a:bodyPr>
            <a:lstStyle/>
            <a:p>
              <a:r>
                <a:rPr lang="zh-CN" altLang="en-US" sz="1600" dirty="0">
                  <a:solidFill>
                    <a:schemeClr val="bg1"/>
                  </a:solidFill>
                  <a:latin typeface="+mn-ea"/>
                </a:rPr>
                <a:t>汇报人：</a:t>
              </a:r>
              <a:r>
                <a:rPr lang="en-US" altLang="zh-CN" sz="1600" dirty="0">
                  <a:solidFill>
                    <a:schemeClr val="bg1"/>
                  </a:solidFill>
                  <a:latin typeface="+mn-ea"/>
                </a:rPr>
                <a:t>xxx</a:t>
              </a:r>
              <a:endParaRPr lang="zh-CN" altLang="en-US" sz="1600" dirty="0">
                <a:solidFill>
                  <a:schemeClr val="bg1"/>
                </a:solidFill>
                <a:latin typeface="+mn-ea"/>
              </a:endParaRPr>
            </a:p>
          </p:txBody>
        </p:sp>
      </p:grpSp>
      <p:grpSp>
        <p:nvGrpSpPr>
          <p:cNvPr id="19" name="组合 18">
            <a:extLst>
              <a:ext uri="{FF2B5EF4-FFF2-40B4-BE49-F238E27FC236}">
                <a16:creationId xmlns:a16="http://schemas.microsoft.com/office/drawing/2014/main" id="{482B1619-178E-45D1-BC39-C5F4314075B6}"/>
              </a:ext>
            </a:extLst>
          </p:cNvPr>
          <p:cNvGrpSpPr/>
          <p:nvPr/>
        </p:nvGrpSpPr>
        <p:grpSpPr>
          <a:xfrm>
            <a:off x="6590270" y="4283535"/>
            <a:ext cx="1270029" cy="246221"/>
            <a:chOff x="4095451" y="4640913"/>
            <a:chExt cx="1270029" cy="246221"/>
          </a:xfrm>
        </p:grpSpPr>
        <p:sp>
          <p:nvSpPr>
            <p:cNvPr id="20" name="矩形 19">
              <a:extLst>
                <a:ext uri="{FF2B5EF4-FFF2-40B4-BE49-F238E27FC236}">
                  <a16:creationId xmlns:a16="http://schemas.microsoft.com/office/drawing/2014/main" id="{3A1AE345-38CE-49BE-9E58-2C20078777A3}"/>
                </a:ext>
              </a:extLst>
            </p:cNvPr>
            <p:cNvSpPr/>
            <p:nvPr/>
          </p:nvSpPr>
          <p:spPr>
            <a:xfrm>
              <a:off x="4095451" y="4672584"/>
              <a:ext cx="164592" cy="1645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solidFill>
                  <a:schemeClr val="bg1"/>
                </a:solidFill>
              </a:endParaRPr>
            </a:p>
          </p:txBody>
        </p:sp>
        <p:sp>
          <p:nvSpPr>
            <p:cNvPr id="21" name="文本框 20">
              <a:extLst>
                <a:ext uri="{FF2B5EF4-FFF2-40B4-BE49-F238E27FC236}">
                  <a16:creationId xmlns:a16="http://schemas.microsoft.com/office/drawing/2014/main" id="{FCC3031D-C171-43E7-B549-82FC96054817}"/>
                </a:ext>
              </a:extLst>
            </p:cNvPr>
            <p:cNvSpPr txBox="1"/>
            <p:nvPr/>
          </p:nvSpPr>
          <p:spPr>
            <a:xfrm>
              <a:off x="4408487" y="4640913"/>
              <a:ext cx="956993" cy="246221"/>
            </a:xfrm>
            <a:prstGeom prst="rect">
              <a:avLst/>
            </a:prstGeom>
            <a:noFill/>
          </p:spPr>
          <p:txBody>
            <a:bodyPr wrap="none" lIns="0" tIns="0" rIns="0" bIns="0" rtlCol="0" anchor="t">
              <a:spAutoFit/>
            </a:bodyPr>
            <a:lstStyle/>
            <a:p>
              <a:r>
                <a:rPr lang="zh-CN" altLang="en-US" sz="1600" dirty="0">
                  <a:solidFill>
                    <a:schemeClr val="bg1"/>
                  </a:solidFill>
                  <a:latin typeface="+mn-ea"/>
                </a:rPr>
                <a:t>单位：</a:t>
              </a:r>
              <a:r>
                <a:rPr lang="en-US" altLang="zh-CN" sz="1600" dirty="0">
                  <a:solidFill>
                    <a:schemeClr val="bg1"/>
                  </a:solidFill>
                  <a:latin typeface="+mn-ea"/>
                </a:rPr>
                <a:t>xxx</a:t>
              </a:r>
              <a:endParaRPr lang="zh-CN" altLang="en-US" sz="1600" dirty="0">
                <a:solidFill>
                  <a:schemeClr val="bg1"/>
                </a:solidFill>
                <a:latin typeface="+mn-ea"/>
              </a:endParaRPr>
            </a:p>
          </p:txBody>
        </p:sp>
      </p:grpSp>
      <p:cxnSp>
        <p:nvCxnSpPr>
          <p:cNvPr id="23" name="直接连接符 22">
            <a:extLst>
              <a:ext uri="{FF2B5EF4-FFF2-40B4-BE49-F238E27FC236}">
                <a16:creationId xmlns:a16="http://schemas.microsoft.com/office/drawing/2014/main" id="{CE4614EF-B88F-4347-B526-58ECE7F96194}"/>
              </a:ext>
            </a:extLst>
          </p:cNvPr>
          <p:cNvCxnSpPr>
            <a:cxnSpLocks/>
          </p:cNvCxnSpPr>
          <p:nvPr/>
        </p:nvCxnSpPr>
        <p:spPr>
          <a:xfrm flipH="1">
            <a:off x="2029968" y="4004596"/>
            <a:ext cx="8156448"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47081338"/>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3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任意多边形: 形状 1">
            <a:extLst>
              <a:ext uri="{FF2B5EF4-FFF2-40B4-BE49-F238E27FC236}">
                <a16:creationId xmlns:a16="http://schemas.microsoft.com/office/drawing/2014/main" id="{8231F6A5-2E7A-4153-B832-7121787D52C6}"/>
              </a:ext>
            </a:extLst>
          </p:cNvPr>
          <p:cNvSpPr/>
          <p:nvPr/>
        </p:nvSpPr>
        <p:spPr>
          <a:xfrm>
            <a:off x="647700" y="3429000"/>
            <a:ext cx="11201400" cy="3000375"/>
          </a:xfrm>
          <a:custGeom>
            <a:avLst/>
            <a:gdLst>
              <a:gd name="connsiteX0" fmla="*/ 0 w 12344400"/>
              <a:gd name="connsiteY0" fmla="*/ 533400 h 3678075"/>
              <a:gd name="connsiteX1" fmla="*/ 581025 w 12344400"/>
              <a:gd name="connsiteY1" fmla="*/ 247650 h 3678075"/>
              <a:gd name="connsiteX2" fmla="*/ 876300 w 12344400"/>
              <a:gd name="connsiteY2" fmla="*/ 771525 h 3678075"/>
              <a:gd name="connsiteX3" fmla="*/ 1619250 w 12344400"/>
              <a:gd name="connsiteY3" fmla="*/ 657225 h 3678075"/>
              <a:gd name="connsiteX4" fmla="*/ 1914525 w 12344400"/>
              <a:gd name="connsiteY4" fmla="*/ 1133475 h 3678075"/>
              <a:gd name="connsiteX5" fmla="*/ 1162050 w 12344400"/>
              <a:gd name="connsiteY5" fmla="*/ 1809750 h 3678075"/>
              <a:gd name="connsiteX6" fmla="*/ 933450 w 12344400"/>
              <a:gd name="connsiteY6" fmla="*/ 2466975 h 3678075"/>
              <a:gd name="connsiteX7" fmla="*/ 1228725 w 12344400"/>
              <a:gd name="connsiteY7" fmla="*/ 2809875 h 3678075"/>
              <a:gd name="connsiteX8" fmla="*/ 1543050 w 12344400"/>
              <a:gd name="connsiteY8" fmla="*/ 2409825 h 3678075"/>
              <a:gd name="connsiteX9" fmla="*/ 2009775 w 12344400"/>
              <a:gd name="connsiteY9" fmla="*/ 2524125 h 3678075"/>
              <a:gd name="connsiteX10" fmla="*/ 2381250 w 12344400"/>
              <a:gd name="connsiteY10" fmla="*/ 3295650 h 3678075"/>
              <a:gd name="connsiteX11" fmla="*/ 2705100 w 12344400"/>
              <a:gd name="connsiteY11" fmla="*/ 3676650 h 3678075"/>
              <a:gd name="connsiteX12" fmla="*/ 3400425 w 12344400"/>
              <a:gd name="connsiteY12" fmla="*/ 3409950 h 3678075"/>
              <a:gd name="connsiteX13" fmla="*/ 3371850 w 12344400"/>
              <a:gd name="connsiteY13" fmla="*/ 3019425 h 3678075"/>
              <a:gd name="connsiteX14" fmla="*/ 3209925 w 12344400"/>
              <a:gd name="connsiteY14" fmla="*/ 2419350 h 3678075"/>
              <a:gd name="connsiteX15" fmla="*/ 3438525 w 12344400"/>
              <a:gd name="connsiteY15" fmla="*/ 2143125 h 3678075"/>
              <a:gd name="connsiteX16" fmla="*/ 4362450 w 12344400"/>
              <a:gd name="connsiteY16" fmla="*/ 2428875 h 3678075"/>
              <a:gd name="connsiteX17" fmla="*/ 4676775 w 12344400"/>
              <a:gd name="connsiteY17" fmla="*/ 2962275 h 3678075"/>
              <a:gd name="connsiteX18" fmla="*/ 5457825 w 12344400"/>
              <a:gd name="connsiteY18" fmla="*/ 3000375 h 3678075"/>
              <a:gd name="connsiteX19" fmla="*/ 5667375 w 12344400"/>
              <a:gd name="connsiteY19" fmla="*/ 2419350 h 3678075"/>
              <a:gd name="connsiteX20" fmla="*/ 5838825 w 12344400"/>
              <a:gd name="connsiteY20" fmla="*/ 2057400 h 3678075"/>
              <a:gd name="connsiteX21" fmla="*/ 6505575 w 12344400"/>
              <a:gd name="connsiteY21" fmla="*/ 2085975 h 3678075"/>
              <a:gd name="connsiteX22" fmla="*/ 6800850 w 12344400"/>
              <a:gd name="connsiteY22" fmla="*/ 1657350 h 3678075"/>
              <a:gd name="connsiteX23" fmla="*/ 6896100 w 12344400"/>
              <a:gd name="connsiteY23" fmla="*/ 1228725 h 3678075"/>
              <a:gd name="connsiteX24" fmla="*/ 7839075 w 12344400"/>
              <a:gd name="connsiteY24" fmla="*/ 1257300 h 3678075"/>
              <a:gd name="connsiteX25" fmla="*/ 8410575 w 12344400"/>
              <a:gd name="connsiteY25" fmla="*/ 1733550 h 3678075"/>
              <a:gd name="connsiteX26" fmla="*/ 8991600 w 12344400"/>
              <a:gd name="connsiteY26" fmla="*/ 1514475 h 3678075"/>
              <a:gd name="connsiteX27" fmla="*/ 9477375 w 12344400"/>
              <a:gd name="connsiteY27" fmla="*/ 1057275 h 3678075"/>
              <a:gd name="connsiteX28" fmla="*/ 9582150 w 12344400"/>
              <a:gd name="connsiteY28" fmla="*/ 504825 h 3678075"/>
              <a:gd name="connsiteX29" fmla="*/ 10267950 w 12344400"/>
              <a:gd name="connsiteY29" fmla="*/ 200025 h 3678075"/>
              <a:gd name="connsiteX30" fmla="*/ 11220450 w 12344400"/>
              <a:gd name="connsiteY30" fmla="*/ 342900 h 3678075"/>
              <a:gd name="connsiteX31" fmla="*/ 12344400 w 12344400"/>
              <a:gd name="connsiteY31" fmla="*/ 0 h 3678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2344400" h="3678075">
                <a:moveTo>
                  <a:pt x="0" y="533400"/>
                </a:moveTo>
                <a:cubicBezTo>
                  <a:pt x="217487" y="370681"/>
                  <a:pt x="434975" y="207962"/>
                  <a:pt x="581025" y="247650"/>
                </a:cubicBezTo>
                <a:cubicBezTo>
                  <a:pt x="727075" y="287337"/>
                  <a:pt x="703263" y="703263"/>
                  <a:pt x="876300" y="771525"/>
                </a:cubicBezTo>
                <a:cubicBezTo>
                  <a:pt x="1049337" y="839787"/>
                  <a:pt x="1446212" y="596900"/>
                  <a:pt x="1619250" y="657225"/>
                </a:cubicBezTo>
                <a:cubicBezTo>
                  <a:pt x="1792288" y="717550"/>
                  <a:pt x="1990725" y="941388"/>
                  <a:pt x="1914525" y="1133475"/>
                </a:cubicBezTo>
                <a:cubicBezTo>
                  <a:pt x="1838325" y="1325562"/>
                  <a:pt x="1325562" y="1587500"/>
                  <a:pt x="1162050" y="1809750"/>
                </a:cubicBezTo>
                <a:cubicBezTo>
                  <a:pt x="998538" y="2032000"/>
                  <a:pt x="922338" y="2300288"/>
                  <a:pt x="933450" y="2466975"/>
                </a:cubicBezTo>
                <a:cubicBezTo>
                  <a:pt x="944562" y="2633662"/>
                  <a:pt x="1127125" y="2819400"/>
                  <a:pt x="1228725" y="2809875"/>
                </a:cubicBezTo>
                <a:cubicBezTo>
                  <a:pt x="1330325" y="2800350"/>
                  <a:pt x="1412875" y="2457450"/>
                  <a:pt x="1543050" y="2409825"/>
                </a:cubicBezTo>
                <a:cubicBezTo>
                  <a:pt x="1673225" y="2362200"/>
                  <a:pt x="1870075" y="2376488"/>
                  <a:pt x="2009775" y="2524125"/>
                </a:cubicBezTo>
                <a:cubicBezTo>
                  <a:pt x="2149475" y="2671762"/>
                  <a:pt x="2265363" y="3103563"/>
                  <a:pt x="2381250" y="3295650"/>
                </a:cubicBezTo>
                <a:cubicBezTo>
                  <a:pt x="2497137" y="3487737"/>
                  <a:pt x="2535238" y="3657600"/>
                  <a:pt x="2705100" y="3676650"/>
                </a:cubicBezTo>
                <a:cubicBezTo>
                  <a:pt x="2874962" y="3695700"/>
                  <a:pt x="3289300" y="3519488"/>
                  <a:pt x="3400425" y="3409950"/>
                </a:cubicBezTo>
                <a:cubicBezTo>
                  <a:pt x="3511550" y="3300413"/>
                  <a:pt x="3403600" y="3184525"/>
                  <a:pt x="3371850" y="3019425"/>
                </a:cubicBezTo>
                <a:cubicBezTo>
                  <a:pt x="3340100" y="2854325"/>
                  <a:pt x="3198813" y="2565400"/>
                  <a:pt x="3209925" y="2419350"/>
                </a:cubicBezTo>
                <a:cubicBezTo>
                  <a:pt x="3221037" y="2273300"/>
                  <a:pt x="3246438" y="2141538"/>
                  <a:pt x="3438525" y="2143125"/>
                </a:cubicBezTo>
                <a:cubicBezTo>
                  <a:pt x="3630612" y="2144712"/>
                  <a:pt x="4156075" y="2292350"/>
                  <a:pt x="4362450" y="2428875"/>
                </a:cubicBezTo>
                <a:cubicBezTo>
                  <a:pt x="4568825" y="2565400"/>
                  <a:pt x="4494213" y="2867025"/>
                  <a:pt x="4676775" y="2962275"/>
                </a:cubicBezTo>
                <a:cubicBezTo>
                  <a:pt x="4859337" y="3057525"/>
                  <a:pt x="5292725" y="3090863"/>
                  <a:pt x="5457825" y="3000375"/>
                </a:cubicBezTo>
                <a:cubicBezTo>
                  <a:pt x="5622925" y="2909888"/>
                  <a:pt x="5603875" y="2576512"/>
                  <a:pt x="5667375" y="2419350"/>
                </a:cubicBezTo>
                <a:cubicBezTo>
                  <a:pt x="5730875" y="2262188"/>
                  <a:pt x="5699125" y="2112962"/>
                  <a:pt x="5838825" y="2057400"/>
                </a:cubicBezTo>
                <a:cubicBezTo>
                  <a:pt x="5978525" y="2001838"/>
                  <a:pt x="6345238" y="2152650"/>
                  <a:pt x="6505575" y="2085975"/>
                </a:cubicBezTo>
                <a:cubicBezTo>
                  <a:pt x="6665912" y="2019300"/>
                  <a:pt x="6735763" y="1800225"/>
                  <a:pt x="6800850" y="1657350"/>
                </a:cubicBezTo>
                <a:cubicBezTo>
                  <a:pt x="6865937" y="1514475"/>
                  <a:pt x="6723063" y="1295400"/>
                  <a:pt x="6896100" y="1228725"/>
                </a:cubicBezTo>
                <a:cubicBezTo>
                  <a:pt x="7069138" y="1162050"/>
                  <a:pt x="7586663" y="1173163"/>
                  <a:pt x="7839075" y="1257300"/>
                </a:cubicBezTo>
                <a:cubicBezTo>
                  <a:pt x="8091487" y="1341437"/>
                  <a:pt x="8218488" y="1690688"/>
                  <a:pt x="8410575" y="1733550"/>
                </a:cubicBezTo>
                <a:cubicBezTo>
                  <a:pt x="8602662" y="1776412"/>
                  <a:pt x="8813800" y="1627187"/>
                  <a:pt x="8991600" y="1514475"/>
                </a:cubicBezTo>
                <a:cubicBezTo>
                  <a:pt x="9169400" y="1401763"/>
                  <a:pt x="9378950" y="1225550"/>
                  <a:pt x="9477375" y="1057275"/>
                </a:cubicBezTo>
                <a:cubicBezTo>
                  <a:pt x="9575800" y="889000"/>
                  <a:pt x="9450388" y="647700"/>
                  <a:pt x="9582150" y="504825"/>
                </a:cubicBezTo>
                <a:cubicBezTo>
                  <a:pt x="9713912" y="361950"/>
                  <a:pt x="9994900" y="227012"/>
                  <a:pt x="10267950" y="200025"/>
                </a:cubicBezTo>
                <a:cubicBezTo>
                  <a:pt x="10541000" y="173038"/>
                  <a:pt x="10874375" y="376237"/>
                  <a:pt x="11220450" y="342900"/>
                </a:cubicBezTo>
                <a:cubicBezTo>
                  <a:pt x="11566525" y="309563"/>
                  <a:pt x="11955462" y="154781"/>
                  <a:pt x="12344400" y="0"/>
                </a:cubicBezTo>
              </a:path>
            </a:pathLst>
          </a:cu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 name="椭圆 3">
            <a:extLst>
              <a:ext uri="{FF2B5EF4-FFF2-40B4-BE49-F238E27FC236}">
                <a16:creationId xmlns:a16="http://schemas.microsoft.com/office/drawing/2014/main" id="{7862D243-21C1-4DB3-8486-7ADBAB96839A}"/>
              </a:ext>
            </a:extLst>
          </p:cNvPr>
          <p:cNvSpPr/>
          <p:nvPr/>
        </p:nvSpPr>
        <p:spPr>
          <a:xfrm>
            <a:off x="614362" y="3805238"/>
            <a:ext cx="76200" cy="76200"/>
          </a:xfrm>
          <a:prstGeom prst="ellipse">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5" name="椭圆 4">
            <a:extLst>
              <a:ext uri="{FF2B5EF4-FFF2-40B4-BE49-F238E27FC236}">
                <a16:creationId xmlns:a16="http://schemas.microsoft.com/office/drawing/2014/main" id="{35122CF5-00FD-4C00-9ED0-B276004290B6}"/>
              </a:ext>
            </a:extLst>
          </p:cNvPr>
          <p:cNvSpPr/>
          <p:nvPr/>
        </p:nvSpPr>
        <p:spPr>
          <a:xfrm>
            <a:off x="11779186" y="3393758"/>
            <a:ext cx="76200" cy="76200"/>
          </a:xfrm>
          <a:prstGeom prst="ellipse">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cxnSp>
        <p:nvCxnSpPr>
          <p:cNvPr id="7" name="直接连接符 6">
            <a:extLst>
              <a:ext uri="{FF2B5EF4-FFF2-40B4-BE49-F238E27FC236}">
                <a16:creationId xmlns:a16="http://schemas.microsoft.com/office/drawing/2014/main" id="{691C5FED-5FC9-4314-B7E9-B543CF3593FB}"/>
              </a:ext>
            </a:extLst>
          </p:cNvPr>
          <p:cNvCxnSpPr>
            <a:cxnSpLocks/>
          </p:cNvCxnSpPr>
          <p:nvPr/>
        </p:nvCxnSpPr>
        <p:spPr>
          <a:xfrm>
            <a:off x="1158240" y="2174558"/>
            <a:ext cx="0" cy="1442275"/>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8" name="椭圆 7">
            <a:extLst>
              <a:ext uri="{FF2B5EF4-FFF2-40B4-BE49-F238E27FC236}">
                <a16:creationId xmlns:a16="http://schemas.microsoft.com/office/drawing/2014/main" id="{E57906B7-AE06-49B3-89EA-C000D61FE662}"/>
              </a:ext>
            </a:extLst>
          </p:cNvPr>
          <p:cNvSpPr/>
          <p:nvPr/>
        </p:nvSpPr>
        <p:spPr>
          <a:xfrm>
            <a:off x="1119187" y="3586163"/>
            <a:ext cx="76200" cy="76200"/>
          </a:xfrm>
          <a:prstGeom prst="ellipse">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10" name="椭圆 9">
            <a:extLst>
              <a:ext uri="{FF2B5EF4-FFF2-40B4-BE49-F238E27FC236}">
                <a16:creationId xmlns:a16="http://schemas.microsoft.com/office/drawing/2014/main" id="{F09E48B9-FFC5-4E7E-AA92-DB63536D11A5}"/>
              </a:ext>
            </a:extLst>
          </p:cNvPr>
          <p:cNvSpPr/>
          <p:nvPr/>
        </p:nvSpPr>
        <p:spPr>
          <a:xfrm>
            <a:off x="1119187" y="2098358"/>
            <a:ext cx="76200" cy="76200"/>
          </a:xfrm>
          <a:prstGeom prst="ellipse">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grpSp>
        <p:nvGrpSpPr>
          <p:cNvPr id="11" name="组合 10">
            <a:extLst>
              <a:ext uri="{FF2B5EF4-FFF2-40B4-BE49-F238E27FC236}">
                <a16:creationId xmlns:a16="http://schemas.microsoft.com/office/drawing/2014/main" id="{D3DC6985-A730-4EDA-8351-29B9B5803798}"/>
              </a:ext>
            </a:extLst>
          </p:cNvPr>
          <p:cNvGrpSpPr/>
          <p:nvPr/>
        </p:nvGrpSpPr>
        <p:grpSpPr>
          <a:xfrm>
            <a:off x="1040729" y="1081916"/>
            <a:ext cx="2236509" cy="978342"/>
            <a:chOff x="623153" y="2789856"/>
            <a:chExt cx="2236509" cy="978342"/>
          </a:xfrm>
        </p:grpSpPr>
        <p:sp>
          <p:nvSpPr>
            <p:cNvPr id="12" name="文本框 11">
              <a:extLst>
                <a:ext uri="{FF2B5EF4-FFF2-40B4-BE49-F238E27FC236}">
                  <a16:creationId xmlns:a16="http://schemas.microsoft.com/office/drawing/2014/main" id="{93F24657-5FA5-437B-BF79-2062A290F9F5}"/>
                </a:ext>
              </a:extLst>
            </p:cNvPr>
            <p:cNvSpPr txBox="1"/>
            <p:nvPr/>
          </p:nvSpPr>
          <p:spPr>
            <a:xfrm>
              <a:off x="623153" y="2789856"/>
              <a:ext cx="1043876" cy="461665"/>
            </a:xfrm>
            <a:prstGeom prst="rect">
              <a:avLst/>
            </a:prstGeom>
            <a:noFill/>
          </p:spPr>
          <p:txBody>
            <a:bodyPr wrap="none" rtlCol="0">
              <a:spAutoFit/>
            </a:bodyPr>
            <a:lstStyle/>
            <a:p>
              <a:r>
                <a:rPr lang="en-US" altLang="zh-CN" sz="2400" dirty="0">
                  <a:solidFill>
                    <a:schemeClr val="accent1"/>
                  </a:solidFill>
                  <a:latin typeface="+mj-ea"/>
                  <a:ea typeface="+mj-ea"/>
                </a:rPr>
                <a:t>20XX</a:t>
              </a:r>
              <a:endParaRPr lang="zh-CN" altLang="en-US" sz="2400" dirty="0">
                <a:solidFill>
                  <a:schemeClr val="accent1"/>
                </a:solidFill>
                <a:latin typeface="+mj-ea"/>
                <a:ea typeface="+mj-ea"/>
              </a:endParaRPr>
            </a:p>
          </p:txBody>
        </p:sp>
        <p:sp>
          <p:nvSpPr>
            <p:cNvPr id="13" name="文本框 12">
              <a:extLst>
                <a:ext uri="{FF2B5EF4-FFF2-40B4-BE49-F238E27FC236}">
                  <a16:creationId xmlns:a16="http://schemas.microsoft.com/office/drawing/2014/main" id="{E739B792-7638-4525-8FF3-481DCE1C1C27}"/>
                </a:ext>
              </a:extLst>
            </p:cNvPr>
            <p:cNvSpPr txBox="1"/>
            <p:nvPr/>
          </p:nvSpPr>
          <p:spPr>
            <a:xfrm>
              <a:off x="623153" y="3168034"/>
              <a:ext cx="2236509" cy="600164"/>
            </a:xfrm>
            <a:prstGeom prst="rect">
              <a:avLst/>
            </a:prstGeom>
            <a:noFill/>
          </p:spPr>
          <p:txBody>
            <a:bodyPr wrap="square" rtlCol="0">
              <a:spAutoFit/>
            </a:bodyPr>
            <a:lstStyle/>
            <a:p>
              <a:r>
                <a:rPr lang="en-US" altLang="zh-CN" sz="1100" dirty="0"/>
                <a:t>Lorem ipsum dolor sit amet, consectetur adipisicing elit, sed do eiusmod tempor</a:t>
              </a:r>
              <a:endParaRPr lang="zh-CN" altLang="en-US" sz="1100" dirty="0"/>
            </a:p>
          </p:txBody>
        </p:sp>
      </p:grpSp>
      <p:cxnSp>
        <p:nvCxnSpPr>
          <p:cNvPr id="15" name="直接连接符 14">
            <a:extLst>
              <a:ext uri="{FF2B5EF4-FFF2-40B4-BE49-F238E27FC236}">
                <a16:creationId xmlns:a16="http://schemas.microsoft.com/office/drawing/2014/main" id="{82B33F5D-9DB8-4F6E-B411-C241806FF626}"/>
              </a:ext>
            </a:extLst>
          </p:cNvPr>
          <p:cNvCxnSpPr>
            <a:cxnSpLocks/>
          </p:cNvCxnSpPr>
          <p:nvPr/>
        </p:nvCxnSpPr>
        <p:spPr>
          <a:xfrm>
            <a:off x="2392680" y="3469958"/>
            <a:ext cx="0" cy="759523"/>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16" name="椭圆 15">
            <a:extLst>
              <a:ext uri="{FF2B5EF4-FFF2-40B4-BE49-F238E27FC236}">
                <a16:creationId xmlns:a16="http://schemas.microsoft.com/office/drawing/2014/main" id="{E03C0699-93E1-4067-A39A-E003088C4266}"/>
              </a:ext>
            </a:extLst>
          </p:cNvPr>
          <p:cNvSpPr/>
          <p:nvPr/>
        </p:nvSpPr>
        <p:spPr>
          <a:xfrm>
            <a:off x="2353627" y="4198811"/>
            <a:ext cx="76200" cy="76200"/>
          </a:xfrm>
          <a:prstGeom prst="ellipse">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17" name="椭圆 16">
            <a:extLst>
              <a:ext uri="{FF2B5EF4-FFF2-40B4-BE49-F238E27FC236}">
                <a16:creationId xmlns:a16="http://schemas.microsoft.com/office/drawing/2014/main" id="{6AA29196-938C-4B4F-9DB6-1CFBB3C7BA25}"/>
              </a:ext>
            </a:extLst>
          </p:cNvPr>
          <p:cNvSpPr/>
          <p:nvPr/>
        </p:nvSpPr>
        <p:spPr>
          <a:xfrm>
            <a:off x="2353627" y="3431858"/>
            <a:ext cx="76200" cy="76200"/>
          </a:xfrm>
          <a:prstGeom prst="ellipse">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grpSp>
        <p:nvGrpSpPr>
          <p:cNvPr id="18" name="组合 17">
            <a:extLst>
              <a:ext uri="{FF2B5EF4-FFF2-40B4-BE49-F238E27FC236}">
                <a16:creationId xmlns:a16="http://schemas.microsoft.com/office/drawing/2014/main" id="{7E8CE337-5703-4095-9A31-3E63634F1B7B}"/>
              </a:ext>
            </a:extLst>
          </p:cNvPr>
          <p:cNvGrpSpPr/>
          <p:nvPr/>
        </p:nvGrpSpPr>
        <p:grpSpPr>
          <a:xfrm>
            <a:off x="2275169" y="2446086"/>
            <a:ext cx="2236509" cy="978342"/>
            <a:chOff x="623153" y="2789856"/>
            <a:chExt cx="2236509" cy="978342"/>
          </a:xfrm>
        </p:grpSpPr>
        <p:sp>
          <p:nvSpPr>
            <p:cNvPr id="19" name="文本框 18">
              <a:extLst>
                <a:ext uri="{FF2B5EF4-FFF2-40B4-BE49-F238E27FC236}">
                  <a16:creationId xmlns:a16="http://schemas.microsoft.com/office/drawing/2014/main" id="{4BCB5D9D-F8BE-4CA2-8145-E6C17129F48F}"/>
                </a:ext>
              </a:extLst>
            </p:cNvPr>
            <p:cNvSpPr txBox="1"/>
            <p:nvPr/>
          </p:nvSpPr>
          <p:spPr>
            <a:xfrm>
              <a:off x="623153" y="2789856"/>
              <a:ext cx="1043876" cy="461665"/>
            </a:xfrm>
            <a:prstGeom prst="rect">
              <a:avLst/>
            </a:prstGeom>
            <a:noFill/>
          </p:spPr>
          <p:txBody>
            <a:bodyPr wrap="none" rtlCol="0">
              <a:spAutoFit/>
            </a:bodyPr>
            <a:lstStyle/>
            <a:p>
              <a:r>
                <a:rPr lang="en-US" altLang="zh-CN" sz="2400" dirty="0">
                  <a:solidFill>
                    <a:schemeClr val="accent1"/>
                  </a:solidFill>
                  <a:latin typeface="+mj-ea"/>
                  <a:ea typeface="+mj-ea"/>
                </a:rPr>
                <a:t>20XX</a:t>
              </a:r>
              <a:endParaRPr lang="zh-CN" altLang="en-US" sz="2400" dirty="0">
                <a:solidFill>
                  <a:schemeClr val="accent1"/>
                </a:solidFill>
                <a:latin typeface="+mj-ea"/>
                <a:ea typeface="+mj-ea"/>
              </a:endParaRPr>
            </a:p>
          </p:txBody>
        </p:sp>
        <p:sp>
          <p:nvSpPr>
            <p:cNvPr id="20" name="文本框 19">
              <a:extLst>
                <a:ext uri="{FF2B5EF4-FFF2-40B4-BE49-F238E27FC236}">
                  <a16:creationId xmlns:a16="http://schemas.microsoft.com/office/drawing/2014/main" id="{46874406-E733-4928-9B21-1582777E52F7}"/>
                </a:ext>
              </a:extLst>
            </p:cNvPr>
            <p:cNvSpPr txBox="1"/>
            <p:nvPr/>
          </p:nvSpPr>
          <p:spPr>
            <a:xfrm>
              <a:off x="623153" y="3168034"/>
              <a:ext cx="2236509" cy="600164"/>
            </a:xfrm>
            <a:prstGeom prst="rect">
              <a:avLst/>
            </a:prstGeom>
            <a:noFill/>
          </p:spPr>
          <p:txBody>
            <a:bodyPr wrap="square" rtlCol="0">
              <a:spAutoFit/>
            </a:bodyPr>
            <a:lstStyle/>
            <a:p>
              <a:r>
                <a:rPr lang="en-US" altLang="zh-CN" sz="1100" dirty="0"/>
                <a:t>Lorem ipsum dolor sit amet, consectetur adipisicing elit, sed do eiusmod tempor</a:t>
              </a:r>
              <a:endParaRPr lang="zh-CN" altLang="en-US" sz="1100" dirty="0"/>
            </a:p>
          </p:txBody>
        </p:sp>
      </p:grpSp>
      <p:cxnSp>
        <p:nvCxnSpPr>
          <p:cNvPr id="22" name="直接连接符 21">
            <a:extLst>
              <a:ext uri="{FF2B5EF4-FFF2-40B4-BE49-F238E27FC236}">
                <a16:creationId xmlns:a16="http://schemas.microsoft.com/office/drawing/2014/main" id="{E7F251B2-9165-47FA-90CD-E638176E0207}"/>
              </a:ext>
            </a:extLst>
          </p:cNvPr>
          <p:cNvCxnSpPr>
            <a:cxnSpLocks/>
          </p:cNvCxnSpPr>
          <p:nvPr/>
        </p:nvCxnSpPr>
        <p:spPr>
          <a:xfrm>
            <a:off x="3005328" y="4984528"/>
            <a:ext cx="0" cy="1380109"/>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23" name="椭圆 22">
            <a:extLst>
              <a:ext uri="{FF2B5EF4-FFF2-40B4-BE49-F238E27FC236}">
                <a16:creationId xmlns:a16="http://schemas.microsoft.com/office/drawing/2014/main" id="{26452967-9070-4604-99AA-558A1DD98907}"/>
              </a:ext>
            </a:extLst>
          </p:cNvPr>
          <p:cNvSpPr/>
          <p:nvPr/>
        </p:nvSpPr>
        <p:spPr>
          <a:xfrm>
            <a:off x="2966275" y="6364637"/>
            <a:ext cx="76200" cy="76200"/>
          </a:xfrm>
          <a:prstGeom prst="ellipse">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24" name="椭圆 23">
            <a:extLst>
              <a:ext uri="{FF2B5EF4-FFF2-40B4-BE49-F238E27FC236}">
                <a16:creationId xmlns:a16="http://schemas.microsoft.com/office/drawing/2014/main" id="{A025AF1D-F202-4BC7-A6C7-637A2B30270A}"/>
              </a:ext>
            </a:extLst>
          </p:cNvPr>
          <p:cNvSpPr/>
          <p:nvPr/>
        </p:nvSpPr>
        <p:spPr>
          <a:xfrm>
            <a:off x="2966275" y="4908328"/>
            <a:ext cx="76200" cy="76200"/>
          </a:xfrm>
          <a:prstGeom prst="ellipse">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grpSp>
        <p:nvGrpSpPr>
          <p:cNvPr id="25" name="组合 24">
            <a:extLst>
              <a:ext uri="{FF2B5EF4-FFF2-40B4-BE49-F238E27FC236}">
                <a16:creationId xmlns:a16="http://schemas.microsoft.com/office/drawing/2014/main" id="{C7A4AF82-8079-4320-920C-7D88F8321D6C}"/>
              </a:ext>
            </a:extLst>
          </p:cNvPr>
          <p:cNvGrpSpPr/>
          <p:nvPr/>
        </p:nvGrpSpPr>
        <p:grpSpPr>
          <a:xfrm>
            <a:off x="2887817" y="3940819"/>
            <a:ext cx="2236509" cy="978342"/>
            <a:chOff x="623153" y="2789856"/>
            <a:chExt cx="2236509" cy="978342"/>
          </a:xfrm>
        </p:grpSpPr>
        <p:sp>
          <p:nvSpPr>
            <p:cNvPr id="26" name="文本框 25">
              <a:extLst>
                <a:ext uri="{FF2B5EF4-FFF2-40B4-BE49-F238E27FC236}">
                  <a16:creationId xmlns:a16="http://schemas.microsoft.com/office/drawing/2014/main" id="{62F8131C-2111-43EB-A044-974C74BB83AD}"/>
                </a:ext>
              </a:extLst>
            </p:cNvPr>
            <p:cNvSpPr txBox="1"/>
            <p:nvPr/>
          </p:nvSpPr>
          <p:spPr>
            <a:xfrm>
              <a:off x="623153" y="2789856"/>
              <a:ext cx="1043876" cy="461665"/>
            </a:xfrm>
            <a:prstGeom prst="rect">
              <a:avLst/>
            </a:prstGeom>
            <a:noFill/>
          </p:spPr>
          <p:txBody>
            <a:bodyPr wrap="none" rtlCol="0">
              <a:spAutoFit/>
            </a:bodyPr>
            <a:lstStyle/>
            <a:p>
              <a:r>
                <a:rPr lang="en-US" altLang="zh-CN" sz="2400" dirty="0">
                  <a:solidFill>
                    <a:schemeClr val="accent1"/>
                  </a:solidFill>
                  <a:latin typeface="+mj-ea"/>
                  <a:ea typeface="+mj-ea"/>
                </a:rPr>
                <a:t>20XX</a:t>
              </a:r>
              <a:endParaRPr lang="zh-CN" altLang="en-US" sz="2400" dirty="0">
                <a:solidFill>
                  <a:schemeClr val="accent1"/>
                </a:solidFill>
                <a:latin typeface="+mj-ea"/>
                <a:ea typeface="+mj-ea"/>
              </a:endParaRPr>
            </a:p>
          </p:txBody>
        </p:sp>
        <p:sp>
          <p:nvSpPr>
            <p:cNvPr id="27" name="文本框 26">
              <a:extLst>
                <a:ext uri="{FF2B5EF4-FFF2-40B4-BE49-F238E27FC236}">
                  <a16:creationId xmlns:a16="http://schemas.microsoft.com/office/drawing/2014/main" id="{7D61AF38-DB35-41D0-B811-0A3909C2B591}"/>
                </a:ext>
              </a:extLst>
            </p:cNvPr>
            <p:cNvSpPr txBox="1"/>
            <p:nvPr/>
          </p:nvSpPr>
          <p:spPr>
            <a:xfrm>
              <a:off x="623153" y="3168034"/>
              <a:ext cx="2236509" cy="600164"/>
            </a:xfrm>
            <a:prstGeom prst="rect">
              <a:avLst/>
            </a:prstGeom>
            <a:noFill/>
          </p:spPr>
          <p:txBody>
            <a:bodyPr wrap="square" rtlCol="0">
              <a:spAutoFit/>
            </a:bodyPr>
            <a:lstStyle/>
            <a:p>
              <a:r>
                <a:rPr lang="en-US" altLang="zh-CN" sz="1100" dirty="0"/>
                <a:t>Lorem ipsum dolor sit amet, consectetur adipisicing elit, sed do eiusmod tempor</a:t>
              </a:r>
              <a:endParaRPr lang="zh-CN" altLang="en-US" sz="1100" dirty="0"/>
            </a:p>
          </p:txBody>
        </p:sp>
      </p:grpSp>
      <p:cxnSp>
        <p:nvCxnSpPr>
          <p:cNvPr id="30" name="直接连接符 29">
            <a:extLst>
              <a:ext uri="{FF2B5EF4-FFF2-40B4-BE49-F238E27FC236}">
                <a16:creationId xmlns:a16="http://schemas.microsoft.com/office/drawing/2014/main" id="{3F53EC5A-483B-49A5-980A-AFDF097FA7C1}"/>
              </a:ext>
            </a:extLst>
          </p:cNvPr>
          <p:cNvCxnSpPr>
            <a:cxnSpLocks/>
          </p:cNvCxnSpPr>
          <p:nvPr/>
        </p:nvCxnSpPr>
        <p:spPr>
          <a:xfrm>
            <a:off x="5253478" y="3267738"/>
            <a:ext cx="0" cy="2598955"/>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31" name="椭圆 30">
            <a:extLst>
              <a:ext uri="{FF2B5EF4-FFF2-40B4-BE49-F238E27FC236}">
                <a16:creationId xmlns:a16="http://schemas.microsoft.com/office/drawing/2014/main" id="{F8B97F90-7693-437C-BE38-ECFB9FC95C84}"/>
              </a:ext>
            </a:extLst>
          </p:cNvPr>
          <p:cNvSpPr/>
          <p:nvPr/>
        </p:nvSpPr>
        <p:spPr>
          <a:xfrm>
            <a:off x="5214425" y="5866693"/>
            <a:ext cx="76200" cy="76200"/>
          </a:xfrm>
          <a:prstGeom prst="ellipse">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32" name="椭圆 31">
            <a:extLst>
              <a:ext uri="{FF2B5EF4-FFF2-40B4-BE49-F238E27FC236}">
                <a16:creationId xmlns:a16="http://schemas.microsoft.com/office/drawing/2014/main" id="{8BF0CBB5-2599-4484-9D49-A5407FB0FF8B}"/>
              </a:ext>
            </a:extLst>
          </p:cNvPr>
          <p:cNvSpPr/>
          <p:nvPr/>
        </p:nvSpPr>
        <p:spPr>
          <a:xfrm>
            <a:off x="5214425" y="3191538"/>
            <a:ext cx="76200" cy="76200"/>
          </a:xfrm>
          <a:prstGeom prst="ellipse">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grpSp>
        <p:nvGrpSpPr>
          <p:cNvPr id="33" name="组合 32">
            <a:extLst>
              <a:ext uri="{FF2B5EF4-FFF2-40B4-BE49-F238E27FC236}">
                <a16:creationId xmlns:a16="http://schemas.microsoft.com/office/drawing/2014/main" id="{7747E606-024E-48B4-AC9D-845F1AEBB12A}"/>
              </a:ext>
            </a:extLst>
          </p:cNvPr>
          <p:cNvGrpSpPr/>
          <p:nvPr/>
        </p:nvGrpSpPr>
        <p:grpSpPr>
          <a:xfrm>
            <a:off x="5135967" y="2187747"/>
            <a:ext cx="2236509" cy="978342"/>
            <a:chOff x="623153" y="2789856"/>
            <a:chExt cx="2236509" cy="978342"/>
          </a:xfrm>
        </p:grpSpPr>
        <p:sp>
          <p:nvSpPr>
            <p:cNvPr id="34" name="文本框 33">
              <a:extLst>
                <a:ext uri="{FF2B5EF4-FFF2-40B4-BE49-F238E27FC236}">
                  <a16:creationId xmlns:a16="http://schemas.microsoft.com/office/drawing/2014/main" id="{874A6883-FBD8-42CD-A4F0-30722C8CED3A}"/>
                </a:ext>
              </a:extLst>
            </p:cNvPr>
            <p:cNvSpPr txBox="1"/>
            <p:nvPr/>
          </p:nvSpPr>
          <p:spPr>
            <a:xfrm>
              <a:off x="623153" y="2789856"/>
              <a:ext cx="1043876" cy="461665"/>
            </a:xfrm>
            <a:prstGeom prst="rect">
              <a:avLst/>
            </a:prstGeom>
            <a:noFill/>
          </p:spPr>
          <p:txBody>
            <a:bodyPr wrap="none" rtlCol="0">
              <a:spAutoFit/>
            </a:bodyPr>
            <a:lstStyle/>
            <a:p>
              <a:r>
                <a:rPr lang="en-US" altLang="zh-CN" sz="2400" dirty="0">
                  <a:solidFill>
                    <a:schemeClr val="accent1"/>
                  </a:solidFill>
                  <a:latin typeface="+mj-ea"/>
                  <a:ea typeface="+mj-ea"/>
                </a:rPr>
                <a:t>20XX</a:t>
              </a:r>
              <a:endParaRPr lang="zh-CN" altLang="en-US" sz="2400" dirty="0">
                <a:solidFill>
                  <a:schemeClr val="accent1"/>
                </a:solidFill>
                <a:latin typeface="+mj-ea"/>
                <a:ea typeface="+mj-ea"/>
              </a:endParaRPr>
            </a:p>
          </p:txBody>
        </p:sp>
        <p:sp>
          <p:nvSpPr>
            <p:cNvPr id="35" name="文本框 34">
              <a:extLst>
                <a:ext uri="{FF2B5EF4-FFF2-40B4-BE49-F238E27FC236}">
                  <a16:creationId xmlns:a16="http://schemas.microsoft.com/office/drawing/2014/main" id="{EE94B648-B77D-4C95-8C7D-B2D87C4015EB}"/>
                </a:ext>
              </a:extLst>
            </p:cNvPr>
            <p:cNvSpPr txBox="1"/>
            <p:nvPr/>
          </p:nvSpPr>
          <p:spPr>
            <a:xfrm>
              <a:off x="623153" y="3168034"/>
              <a:ext cx="2236509" cy="600164"/>
            </a:xfrm>
            <a:prstGeom prst="rect">
              <a:avLst/>
            </a:prstGeom>
            <a:noFill/>
          </p:spPr>
          <p:txBody>
            <a:bodyPr wrap="square" rtlCol="0">
              <a:spAutoFit/>
            </a:bodyPr>
            <a:lstStyle/>
            <a:p>
              <a:r>
                <a:rPr lang="en-US" altLang="zh-CN" sz="1100" dirty="0"/>
                <a:t>Lorem ipsum dolor sit amet, consectetur adipisicing elit, sed do eiusmod tempor</a:t>
              </a:r>
              <a:endParaRPr lang="zh-CN" altLang="en-US" sz="1100" dirty="0"/>
            </a:p>
          </p:txBody>
        </p:sp>
      </p:grpSp>
      <p:cxnSp>
        <p:nvCxnSpPr>
          <p:cNvPr id="37" name="直接连接符 36">
            <a:extLst>
              <a:ext uri="{FF2B5EF4-FFF2-40B4-BE49-F238E27FC236}">
                <a16:creationId xmlns:a16="http://schemas.microsoft.com/office/drawing/2014/main" id="{BB25F0D7-7995-452D-A5E3-00A02B1E2BCE}"/>
              </a:ext>
            </a:extLst>
          </p:cNvPr>
          <p:cNvCxnSpPr>
            <a:cxnSpLocks/>
          </p:cNvCxnSpPr>
          <p:nvPr/>
        </p:nvCxnSpPr>
        <p:spPr>
          <a:xfrm>
            <a:off x="7386436" y="1996717"/>
            <a:ext cx="0" cy="2405767"/>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38" name="椭圆 37">
            <a:extLst>
              <a:ext uri="{FF2B5EF4-FFF2-40B4-BE49-F238E27FC236}">
                <a16:creationId xmlns:a16="http://schemas.microsoft.com/office/drawing/2014/main" id="{C48C64F8-EF0A-46AA-92B7-4ACE0279AA6F}"/>
              </a:ext>
            </a:extLst>
          </p:cNvPr>
          <p:cNvSpPr/>
          <p:nvPr/>
        </p:nvSpPr>
        <p:spPr>
          <a:xfrm>
            <a:off x="7347383" y="4358379"/>
            <a:ext cx="76200" cy="76200"/>
          </a:xfrm>
          <a:prstGeom prst="ellipse">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39" name="椭圆 38">
            <a:extLst>
              <a:ext uri="{FF2B5EF4-FFF2-40B4-BE49-F238E27FC236}">
                <a16:creationId xmlns:a16="http://schemas.microsoft.com/office/drawing/2014/main" id="{5D7E8CB4-6272-4F82-92D6-8C6996B3C92A}"/>
              </a:ext>
            </a:extLst>
          </p:cNvPr>
          <p:cNvSpPr/>
          <p:nvPr/>
        </p:nvSpPr>
        <p:spPr>
          <a:xfrm>
            <a:off x="7347383" y="1920517"/>
            <a:ext cx="76200" cy="76200"/>
          </a:xfrm>
          <a:prstGeom prst="ellipse">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grpSp>
        <p:nvGrpSpPr>
          <p:cNvPr id="40" name="组合 39">
            <a:extLst>
              <a:ext uri="{FF2B5EF4-FFF2-40B4-BE49-F238E27FC236}">
                <a16:creationId xmlns:a16="http://schemas.microsoft.com/office/drawing/2014/main" id="{37553BF9-917F-4B43-8818-AA9A50C0A7DA}"/>
              </a:ext>
            </a:extLst>
          </p:cNvPr>
          <p:cNvGrpSpPr/>
          <p:nvPr/>
        </p:nvGrpSpPr>
        <p:grpSpPr>
          <a:xfrm>
            <a:off x="7268925" y="945033"/>
            <a:ext cx="2236509" cy="978342"/>
            <a:chOff x="623153" y="2789856"/>
            <a:chExt cx="2236509" cy="978342"/>
          </a:xfrm>
        </p:grpSpPr>
        <p:sp>
          <p:nvSpPr>
            <p:cNvPr id="41" name="文本框 40">
              <a:extLst>
                <a:ext uri="{FF2B5EF4-FFF2-40B4-BE49-F238E27FC236}">
                  <a16:creationId xmlns:a16="http://schemas.microsoft.com/office/drawing/2014/main" id="{33F4659F-769E-4AAA-8F71-1F57E1177B6B}"/>
                </a:ext>
              </a:extLst>
            </p:cNvPr>
            <p:cNvSpPr txBox="1"/>
            <p:nvPr/>
          </p:nvSpPr>
          <p:spPr>
            <a:xfrm>
              <a:off x="623153" y="2789856"/>
              <a:ext cx="1043876" cy="461665"/>
            </a:xfrm>
            <a:prstGeom prst="rect">
              <a:avLst/>
            </a:prstGeom>
            <a:noFill/>
          </p:spPr>
          <p:txBody>
            <a:bodyPr wrap="none" rtlCol="0">
              <a:spAutoFit/>
            </a:bodyPr>
            <a:lstStyle/>
            <a:p>
              <a:r>
                <a:rPr lang="en-US" altLang="zh-CN" sz="2400" dirty="0">
                  <a:solidFill>
                    <a:schemeClr val="accent1"/>
                  </a:solidFill>
                  <a:latin typeface="+mj-ea"/>
                  <a:ea typeface="+mj-ea"/>
                </a:rPr>
                <a:t>20XX</a:t>
              </a:r>
              <a:endParaRPr lang="zh-CN" altLang="en-US" sz="2400" dirty="0">
                <a:solidFill>
                  <a:schemeClr val="accent1"/>
                </a:solidFill>
                <a:latin typeface="+mj-ea"/>
                <a:ea typeface="+mj-ea"/>
              </a:endParaRPr>
            </a:p>
          </p:txBody>
        </p:sp>
        <p:sp>
          <p:nvSpPr>
            <p:cNvPr id="42" name="文本框 41">
              <a:extLst>
                <a:ext uri="{FF2B5EF4-FFF2-40B4-BE49-F238E27FC236}">
                  <a16:creationId xmlns:a16="http://schemas.microsoft.com/office/drawing/2014/main" id="{12F7FB75-4A3A-4522-8DA0-CFED58CD1AA0}"/>
                </a:ext>
              </a:extLst>
            </p:cNvPr>
            <p:cNvSpPr txBox="1"/>
            <p:nvPr/>
          </p:nvSpPr>
          <p:spPr>
            <a:xfrm>
              <a:off x="623153" y="3168034"/>
              <a:ext cx="2236509" cy="600164"/>
            </a:xfrm>
            <a:prstGeom prst="rect">
              <a:avLst/>
            </a:prstGeom>
            <a:noFill/>
          </p:spPr>
          <p:txBody>
            <a:bodyPr wrap="square" rtlCol="0">
              <a:spAutoFit/>
            </a:bodyPr>
            <a:lstStyle/>
            <a:p>
              <a:r>
                <a:rPr lang="en-US" altLang="zh-CN" sz="1100" dirty="0"/>
                <a:t>Lorem ipsum dolor sit amet, consectetur adipisicing elit, sed do eiusmod tempor</a:t>
              </a:r>
              <a:endParaRPr lang="zh-CN" altLang="en-US" sz="1100" dirty="0"/>
            </a:p>
          </p:txBody>
        </p:sp>
      </p:grpSp>
      <p:cxnSp>
        <p:nvCxnSpPr>
          <p:cNvPr id="44" name="直接连接符 43">
            <a:extLst>
              <a:ext uri="{FF2B5EF4-FFF2-40B4-BE49-F238E27FC236}">
                <a16:creationId xmlns:a16="http://schemas.microsoft.com/office/drawing/2014/main" id="{08DF368A-6248-4F61-8780-7ACAF59E10F3}"/>
              </a:ext>
            </a:extLst>
          </p:cNvPr>
          <p:cNvCxnSpPr>
            <a:cxnSpLocks/>
          </p:cNvCxnSpPr>
          <p:nvPr/>
        </p:nvCxnSpPr>
        <p:spPr>
          <a:xfrm>
            <a:off x="9809596" y="2743200"/>
            <a:ext cx="0" cy="882044"/>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45" name="椭圆 44">
            <a:extLst>
              <a:ext uri="{FF2B5EF4-FFF2-40B4-BE49-F238E27FC236}">
                <a16:creationId xmlns:a16="http://schemas.microsoft.com/office/drawing/2014/main" id="{5166F0B7-465D-413D-B1D6-A3FEA1069254}"/>
              </a:ext>
            </a:extLst>
          </p:cNvPr>
          <p:cNvSpPr/>
          <p:nvPr/>
        </p:nvSpPr>
        <p:spPr>
          <a:xfrm>
            <a:off x="9770543" y="3581139"/>
            <a:ext cx="76200" cy="76200"/>
          </a:xfrm>
          <a:prstGeom prst="ellipse">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46" name="椭圆 45">
            <a:extLst>
              <a:ext uri="{FF2B5EF4-FFF2-40B4-BE49-F238E27FC236}">
                <a16:creationId xmlns:a16="http://schemas.microsoft.com/office/drawing/2014/main" id="{B7AF6EDC-B25C-4B9A-99D3-2A0D8C4A2D1D}"/>
              </a:ext>
            </a:extLst>
          </p:cNvPr>
          <p:cNvSpPr/>
          <p:nvPr/>
        </p:nvSpPr>
        <p:spPr>
          <a:xfrm>
            <a:off x="9770543" y="2676918"/>
            <a:ext cx="76200" cy="76200"/>
          </a:xfrm>
          <a:prstGeom prst="ellipse">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grpSp>
        <p:nvGrpSpPr>
          <p:cNvPr id="47" name="组合 46">
            <a:extLst>
              <a:ext uri="{FF2B5EF4-FFF2-40B4-BE49-F238E27FC236}">
                <a16:creationId xmlns:a16="http://schemas.microsoft.com/office/drawing/2014/main" id="{54831780-EBC0-49D4-9A88-8A581A55B9E2}"/>
              </a:ext>
            </a:extLst>
          </p:cNvPr>
          <p:cNvGrpSpPr/>
          <p:nvPr/>
        </p:nvGrpSpPr>
        <p:grpSpPr>
          <a:xfrm>
            <a:off x="9692085" y="1719502"/>
            <a:ext cx="2236509" cy="978342"/>
            <a:chOff x="623153" y="2789856"/>
            <a:chExt cx="2236509" cy="978342"/>
          </a:xfrm>
        </p:grpSpPr>
        <p:sp>
          <p:nvSpPr>
            <p:cNvPr id="48" name="文本框 47">
              <a:extLst>
                <a:ext uri="{FF2B5EF4-FFF2-40B4-BE49-F238E27FC236}">
                  <a16:creationId xmlns:a16="http://schemas.microsoft.com/office/drawing/2014/main" id="{CDD14811-7E48-4C9E-B302-D37E845DC808}"/>
                </a:ext>
              </a:extLst>
            </p:cNvPr>
            <p:cNvSpPr txBox="1"/>
            <p:nvPr/>
          </p:nvSpPr>
          <p:spPr>
            <a:xfrm>
              <a:off x="623153" y="2789856"/>
              <a:ext cx="1043876" cy="461665"/>
            </a:xfrm>
            <a:prstGeom prst="rect">
              <a:avLst/>
            </a:prstGeom>
            <a:noFill/>
          </p:spPr>
          <p:txBody>
            <a:bodyPr wrap="none" rtlCol="0">
              <a:spAutoFit/>
            </a:bodyPr>
            <a:lstStyle/>
            <a:p>
              <a:r>
                <a:rPr lang="en-US" altLang="zh-CN" sz="2400" dirty="0">
                  <a:solidFill>
                    <a:schemeClr val="accent1"/>
                  </a:solidFill>
                  <a:latin typeface="+mj-ea"/>
                  <a:ea typeface="+mj-ea"/>
                </a:rPr>
                <a:t>20XX</a:t>
              </a:r>
              <a:endParaRPr lang="zh-CN" altLang="en-US" sz="2400" dirty="0">
                <a:solidFill>
                  <a:schemeClr val="accent1"/>
                </a:solidFill>
                <a:latin typeface="+mj-ea"/>
                <a:ea typeface="+mj-ea"/>
              </a:endParaRPr>
            </a:p>
          </p:txBody>
        </p:sp>
        <p:sp>
          <p:nvSpPr>
            <p:cNvPr id="49" name="文本框 48">
              <a:extLst>
                <a:ext uri="{FF2B5EF4-FFF2-40B4-BE49-F238E27FC236}">
                  <a16:creationId xmlns:a16="http://schemas.microsoft.com/office/drawing/2014/main" id="{B82014E5-7F26-4384-B4A3-35211E3571DB}"/>
                </a:ext>
              </a:extLst>
            </p:cNvPr>
            <p:cNvSpPr txBox="1"/>
            <p:nvPr/>
          </p:nvSpPr>
          <p:spPr>
            <a:xfrm>
              <a:off x="623153" y="3168034"/>
              <a:ext cx="2236509" cy="600164"/>
            </a:xfrm>
            <a:prstGeom prst="rect">
              <a:avLst/>
            </a:prstGeom>
            <a:noFill/>
          </p:spPr>
          <p:txBody>
            <a:bodyPr wrap="square" rtlCol="0">
              <a:spAutoFit/>
            </a:bodyPr>
            <a:lstStyle/>
            <a:p>
              <a:r>
                <a:rPr lang="en-US" altLang="zh-CN" sz="1100" dirty="0"/>
                <a:t>Lorem ipsum dolor sit amet, consectetur adipisicing elit, sed do eiusmod tempor</a:t>
              </a:r>
              <a:endParaRPr lang="zh-CN" altLang="en-US" sz="1100" dirty="0"/>
            </a:p>
          </p:txBody>
        </p:sp>
      </p:grpSp>
    </p:spTree>
    <p:extLst>
      <p:ext uri="{BB962C8B-B14F-4D97-AF65-F5344CB8AC3E}">
        <p14:creationId xmlns:p14="http://schemas.microsoft.com/office/powerpoint/2010/main" val="1164297926"/>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3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任意多边形: 形状 28">
            <a:extLst>
              <a:ext uri="{FF2B5EF4-FFF2-40B4-BE49-F238E27FC236}">
                <a16:creationId xmlns:a16="http://schemas.microsoft.com/office/drawing/2014/main" id="{82768E19-8E26-4A27-9A70-DB1DF9B227B4}"/>
              </a:ext>
            </a:extLst>
          </p:cNvPr>
          <p:cNvSpPr/>
          <p:nvPr/>
        </p:nvSpPr>
        <p:spPr>
          <a:xfrm>
            <a:off x="-9144" y="3435795"/>
            <a:ext cx="12201144" cy="796187"/>
          </a:xfrm>
          <a:custGeom>
            <a:avLst/>
            <a:gdLst>
              <a:gd name="connsiteX0" fmla="*/ 0 w 12865608"/>
              <a:gd name="connsiteY0" fmla="*/ 514413 h 796187"/>
              <a:gd name="connsiteX1" fmla="*/ 1755648 w 12865608"/>
              <a:gd name="connsiteY1" fmla="*/ 2349 h 796187"/>
              <a:gd name="connsiteX2" fmla="*/ 4626864 w 12865608"/>
              <a:gd name="connsiteY2" fmla="*/ 697293 h 796187"/>
              <a:gd name="connsiteX3" fmla="*/ 8220456 w 12865608"/>
              <a:gd name="connsiteY3" fmla="*/ 75501 h 796187"/>
              <a:gd name="connsiteX4" fmla="*/ 11567160 w 12865608"/>
              <a:gd name="connsiteY4" fmla="*/ 779589 h 796187"/>
              <a:gd name="connsiteX5" fmla="*/ 12865608 w 12865608"/>
              <a:gd name="connsiteY5" fmla="*/ 505269 h 796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865608" h="796187">
                <a:moveTo>
                  <a:pt x="0" y="514413"/>
                </a:moveTo>
                <a:cubicBezTo>
                  <a:pt x="492252" y="243141"/>
                  <a:pt x="984504" y="-28131"/>
                  <a:pt x="1755648" y="2349"/>
                </a:cubicBezTo>
                <a:cubicBezTo>
                  <a:pt x="2526792" y="32829"/>
                  <a:pt x="3549396" y="685101"/>
                  <a:pt x="4626864" y="697293"/>
                </a:cubicBezTo>
                <a:cubicBezTo>
                  <a:pt x="5704332" y="709485"/>
                  <a:pt x="7063740" y="61785"/>
                  <a:pt x="8220456" y="75501"/>
                </a:cubicBezTo>
                <a:cubicBezTo>
                  <a:pt x="9377172" y="89217"/>
                  <a:pt x="10792968" y="707961"/>
                  <a:pt x="11567160" y="779589"/>
                </a:cubicBezTo>
                <a:cubicBezTo>
                  <a:pt x="12341352" y="851217"/>
                  <a:pt x="12603480" y="678243"/>
                  <a:pt x="12865608" y="505269"/>
                </a:cubicBezTo>
              </a:path>
            </a:pathLst>
          </a:custGeom>
          <a:no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6" name="任意多边形: 形状 35">
            <a:extLst>
              <a:ext uri="{FF2B5EF4-FFF2-40B4-BE49-F238E27FC236}">
                <a16:creationId xmlns:a16="http://schemas.microsoft.com/office/drawing/2014/main" id="{B2EE7313-59FB-493D-80F6-63301746B752}"/>
              </a:ext>
            </a:extLst>
          </p:cNvPr>
          <p:cNvSpPr/>
          <p:nvPr/>
        </p:nvSpPr>
        <p:spPr>
          <a:xfrm>
            <a:off x="-9144" y="3638582"/>
            <a:ext cx="12201144" cy="476218"/>
          </a:xfrm>
          <a:custGeom>
            <a:avLst/>
            <a:gdLst>
              <a:gd name="connsiteX0" fmla="*/ 0 w 13459968"/>
              <a:gd name="connsiteY0" fmla="*/ 83026 h 476218"/>
              <a:gd name="connsiteX1" fmla="*/ 1261872 w 13459968"/>
              <a:gd name="connsiteY1" fmla="*/ 275050 h 476218"/>
              <a:gd name="connsiteX2" fmla="*/ 3493008 w 13459968"/>
              <a:gd name="connsiteY2" fmla="*/ 730 h 476218"/>
              <a:gd name="connsiteX3" fmla="*/ 7781544 w 13459968"/>
              <a:gd name="connsiteY3" fmla="*/ 375634 h 476218"/>
              <a:gd name="connsiteX4" fmla="*/ 10945368 w 13459968"/>
              <a:gd name="connsiteY4" fmla="*/ 110458 h 476218"/>
              <a:gd name="connsiteX5" fmla="*/ 13459968 w 13459968"/>
              <a:gd name="connsiteY5" fmla="*/ 476218 h 476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459968" h="476218">
                <a:moveTo>
                  <a:pt x="0" y="83026"/>
                </a:moveTo>
                <a:cubicBezTo>
                  <a:pt x="339852" y="185896"/>
                  <a:pt x="679704" y="288766"/>
                  <a:pt x="1261872" y="275050"/>
                </a:cubicBezTo>
                <a:cubicBezTo>
                  <a:pt x="1844040" y="261334"/>
                  <a:pt x="2406396" y="-16034"/>
                  <a:pt x="3493008" y="730"/>
                </a:cubicBezTo>
                <a:cubicBezTo>
                  <a:pt x="4579620" y="17494"/>
                  <a:pt x="6539484" y="357346"/>
                  <a:pt x="7781544" y="375634"/>
                </a:cubicBezTo>
                <a:cubicBezTo>
                  <a:pt x="9023604" y="393922"/>
                  <a:pt x="9998964" y="93694"/>
                  <a:pt x="10945368" y="110458"/>
                </a:cubicBezTo>
                <a:cubicBezTo>
                  <a:pt x="11891772" y="127222"/>
                  <a:pt x="12675870" y="301720"/>
                  <a:pt x="13459968" y="476218"/>
                </a:cubicBezTo>
              </a:path>
            </a:pathLst>
          </a:cu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3" name="任意多边形: 形状 42">
            <a:extLst>
              <a:ext uri="{FF2B5EF4-FFF2-40B4-BE49-F238E27FC236}">
                <a16:creationId xmlns:a16="http://schemas.microsoft.com/office/drawing/2014/main" id="{C2C2C040-48DB-482B-B70B-ACD7AFEFD233}"/>
              </a:ext>
            </a:extLst>
          </p:cNvPr>
          <p:cNvSpPr/>
          <p:nvPr/>
        </p:nvSpPr>
        <p:spPr>
          <a:xfrm>
            <a:off x="0" y="3547429"/>
            <a:ext cx="12192000" cy="476935"/>
          </a:xfrm>
          <a:custGeom>
            <a:avLst/>
            <a:gdLst>
              <a:gd name="connsiteX0" fmla="*/ 0 w 12243816"/>
              <a:gd name="connsiteY0" fmla="*/ 274763 h 476935"/>
              <a:gd name="connsiteX1" fmla="*/ 1216152 w 12243816"/>
              <a:gd name="connsiteY1" fmla="*/ 101027 h 476935"/>
              <a:gd name="connsiteX2" fmla="*/ 4434840 w 12243816"/>
              <a:gd name="connsiteY2" fmla="*/ 384491 h 476935"/>
              <a:gd name="connsiteX3" fmla="*/ 6437376 w 12243816"/>
              <a:gd name="connsiteY3" fmla="*/ 443 h 476935"/>
              <a:gd name="connsiteX4" fmla="*/ 9189720 w 12243816"/>
              <a:gd name="connsiteY4" fmla="*/ 475931 h 476935"/>
              <a:gd name="connsiteX5" fmla="*/ 12243816 w 12243816"/>
              <a:gd name="connsiteY5" fmla="*/ 101027 h 4769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243816" h="476935">
                <a:moveTo>
                  <a:pt x="0" y="274763"/>
                </a:moveTo>
                <a:cubicBezTo>
                  <a:pt x="238506" y="178751"/>
                  <a:pt x="477012" y="82739"/>
                  <a:pt x="1216152" y="101027"/>
                </a:cubicBezTo>
                <a:cubicBezTo>
                  <a:pt x="1955292" y="119315"/>
                  <a:pt x="3564636" y="401255"/>
                  <a:pt x="4434840" y="384491"/>
                </a:cubicBezTo>
                <a:cubicBezTo>
                  <a:pt x="5305044" y="367727"/>
                  <a:pt x="5644896" y="-14797"/>
                  <a:pt x="6437376" y="443"/>
                </a:cubicBezTo>
                <a:cubicBezTo>
                  <a:pt x="7229856" y="15683"/>
                  <a:pt x="8221980" y="459167"/>
                  <a:pt x="9189720" y="475931"/>
                </a:cubicBezTo>
                <a:cubicBezTo>
                  <a:pt x="10157460" y="492695"/>
                  <a:pt x="11200638" y="296861"/>
                  <a:pt x="12243816" y="101027"/>
                </a:cubicBezTo>
              </a:path>
            </a:pathLst>
          </a:cu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51" name="直接连接符 50">
            <a:extLst>
              <a:ext uri="{FF2B5EF4-FFF2-40B4-BE49-F238E27FC236}">
                <a16:creationId xmlns:a16="http://schemas.microsoft.com/office/drawing/2014/main" id="{F3D04034-0F00-4F61-88EC-D62A205600DA}"/>
              </a:ext>
            </a:extLst>
          </p:cNvPr>
          <p:cNvCxnSpPr>
            <a:cxnSpLocks/>
          </p:cNvCxnSpPr>
          <p:nvPr/>
        </p:nvCxnSpPr>
        <p:spPr>
          <a:xfrm>
            <a:off x="1746504" y="2184742"/>
            <a:ext cx="0" cy="1244258"/>
          </a:xfrm>
          <a:prstGeom prst="line">
            <a:avLst/>
          </a:prstGeom>
          <a:ln w="38100" cap="rnd">
            <a:gradFill>
              <a:gsLst>
                <a:gs pos="0">
                  <a:schemeClr val="accent1"/>
                </a:gs>
                <a:gs pos="100000">
                  <a:schemeClr val="accent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52" name="椭圆 51">
            <a:extLst>
              <a:ext uri="{FF2B5EF4-FFF2-40B4-BE49-F238E27FC236}">
                <a16:creationId xmlns:a16="http://schemas.microsoft.com/office/drawing/2014/main" id="{FC68536E-AC94-454F-ACFE-F9BF94FD45E4}"/>
              </a:ext>
            </a:extLst>
          </p:cNvPr>
          <p:cNvSpPr/>
          <p:nvPr/>
        </p:nvSpPr>
        <p:spPr>
          <a:xfrm>
            <a:off x="1678597" y="2048929"/>
            <a:ext cx="135813" cy="135813"/>
          </a:xfrm>
          <a:prstGeom prst="ellipse">
            <a:avLst/>
          </a:prstGeom>
          <a:solidFill>
            <a:schemeClr val="bg1"/>
          </a:solidFill>
          <a:ln w="41275">
            <a:solidFill>
              <a:schemeClr val="accent1"/>
            </a:solidFill>
          </a:ln>
          <a:effectLst>
            <a:outerShdw blurRad="127000" sx="102000" sy="102000" algn="ctr" rotWithShape="0">
              <a:schemeClr val="accent1">
                <a:lumMod val="90000"/>
                <a:lumOff val="10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grpSp>
        <p:nvGrpSpPr>
          <p:cNvPr id="53" name="组合 52">
            <a:extLst>
              <a:ext uri="{FF2B5EF4-FFF2-40B4-BE49-F238E27FC236}">
                <a16:creationId xmlns:a16="http://schemas.microsoft.com/office/drawing/2014/main" id="{22564C63-FBF5-4EAF-B3ED-01058E208B38}"/>
              </a:ext>
            </a:extLst>
          </p:cNvPr>
          <p:cNvGrpSpPr/>
          <p:nvPr/>
        </p:nvGrpSpPr>
        <p:grpSpPr>
          <a:xfrm>
            <a:off x="1882317" y="1922706"/>
            <a:ext cx="2236509" cy="978342"/>
            <a:chOff x="623153" y="2789856"/>
            <a:chExt cx="2236509" cy="978342"/>
          </a:xfrm>
        </p:grpSpPr>
        <p:sp>
          <p:nvSpPr>
            <p:cNvPr id="54" name="文本框 53">
              <a:extLst>
                <a:ext uri="{FF2B5EF4-FFF2-40B4-BE49-F238E27FC236}">
                  <a16:creationId xmlns:a16="http://schemas.microsoft.com/office/drawing/2014/main" id="{43CF38AC-E6DA-4B70-8A19-B707C1051994}"/>
                </a:ext>
              </a:extLst>
            </p:cNvPr>
            <p:cNvSpPr txBox="1"/>
            <p:nvPr/>
          </p:nvSpPr>
          <p:spPr>
            <a:xfrm>
              <a:off x="623153" y="2789856"/>
              <a:ext cx="1043876" cy="461665"/>
            </a:xfrm>
            <a:prstGeom prst="rect">
              <a:avLst/>
            </a:prstGeom>
            <a:noFill/>
          </p:spPr>
          <p:txBody>
            <a:bodyPr wrap="none" rtlCol="0">
              <a:spAutoFit/>
            </a:bodyPr>
            <a:lstStyle/>
            <a:p>
              <a:r>
                <a:rPr lang="en-US" altLang="zh-CN" sz="2400" dirty="0">
                  <a:solidFill>
                    <a:schemeClr val="accent1"/>
                  </a:solidFill>
                  <a:latin typeface="+mj-ea"/>
                  <a:ea typeface="+mj-ea"/>
                </a:rPr>
                <a:t>20XX</a:t>
              </a:r>
              <a:endParaRPr lang="zh-CN" altLang="en-US" sz="2400" dirty="0">
                <a:solidFill>
                  <a:schemeClr val="accent1"/>
                </a:solidFill>
                <a:latin typeface="+mj-ea"/>
                <a:ea typeface="+mj-ea"/>
              </a:endParaRPr>
            </a:p>
          </p:txBody>
        </p:sp>
        <p:sp>
          <p:nvSpPr>
            <p:cNvPr id="55" name="文本框 54">
              <a:extLst>
                <a:ext uri="{FF2B5EF4-FFF2-40B4-BE49-F238E27FC236}">
                  <a16:creationId xmlns:a16="http://schemas.microsoft.com/office/drawing/2014/main" id="{91E9598E-40AF-4E6A-855B-487F551C734D}"/>
                </a:ext>
              </a:extLst>
            </p:cNvPr>
            <p:cNvSpPr txBox="1"/>
            <p:nvPr/>
          </p:nvSpPr>
          <p:spPr>
            <a:xfrm>
              <a:off x="623153" y="3168034"/>
              <a:ext cx="2236509" cy="600164"/>
            </a:xfrm>
            <a:prstGeom prst="rect">
              <a:avLst/>
            </a:prstGeom>
            <a:noFill/>
          </p:spPr>
          <p:txBody>
            <a:bodyPr wrap="square" rtlCol="0">
              <a:spAutoFit/>
            </a:bodyPr>
            <a:lstStyle/>
            <a:p>
              <a:r>
                <a:rPr lang="en-US" altLang="zh-CN" sz="1100" dirty="0"/>
                <a:t>Lorem ipsum dolor sit amet, consectetur adipisicing elit, sed do eiusmod tempor</a:t>
              </a:r>
              <a:endParaRPr lang="zh-CN" altLang="en-US" sz="1100" dirty="0"/>
            </a:p>
          </p:txBody>
        </p:sp>
      </p:grpSp>
      <p:cxnSp>
        <p:nvCxnSpPr>
          <p:cNvPr id="57" name="直接连接符 56">
            <a:extLst>
              <a:ext uri="{FF2B5EF4-FFF2-40B4-BE49-F238E27FC236}">
                <a16:creationId xmlns:a16="http://schemas.microsoft.com/office/drawing/2014/main" id="{CD10894B-1756-4885-AAC3-2CA7F8C37347}"/>
              </a:ext>
            </a:extLst>
          </p:cNvPr>
          <p:cNvCxnSpPr>
            <a:cxnSpLocks/>
            <a:stCxn id="61" idx="0"/>
          </p:cNvCxnSpPr>
          <p:nvPr/>
        </p:nvCxnSpPr>
        <p:spPr>
          <a:xfrm flipV="1">
            <a:off x="3939731" y="4138616"/>
            <a:ext cx="25" cy="1032792"/>
          </a:xfrm>
          <a:prstGeom prst="line">
            <a:avLst/>
          </a:prstGeom>
          <a:ln w="38100" cap="rnd">
            <a:gradFill>
              <a:gsLst>
                <a:gs pos="0">
                  <a:schemeClr val="accent1"/>
                </a:gs>
                <a:gs pos="100000">
                  <a:schemeClr val="accent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grpSp>
        <p:nvGrpSpPr>
          <p:cNvPr id="58" name="组合 57">
            <a:extLst>
              <a:ext uri="{FF2B5EF4-FFF2-40B4-BE49-F238E27FC236}">
                <a16:creationId xmlns:a16="http://schemas.microsoft.com/office/drawing/2014/main" id="{E290053B-D518-4BE6-88CC-AAB721831B95}"/>
              </a:ext>
            </a:extLst>
          </p:cNvPr>
          <p:cNvGrpSpPr/>
          <p:nvPr/>
        </p:nvGrpSpPr>
        <p:grpSpPr>
          <a:xfrm>
            <a:off x="4046943" y="4434769"/>
            <a:ext cx="2265084" cy="978342"/>
            <a:chOff x="623153" y="2789856"/>
            <a:chExt cx="2265084" cy="978342"/>
          </a:xfrm>
        </p:grpSpPr>
        <p:sp>
          <p:nvSpPr>
            <p:cNvPr id="59" name="文本框 58">
              <a:extLst>
                <a:ext uri="{FF2B5EF4-FFF2-40B4-BE49-F238E27FC236}">
                  <a16:creationId xmlns:a16="http://schemas.microsoft.com/office/drawing/2014/main" id="{BDB89DEB-9755-4F50-99AC-68A99D14968C}"/>
                </a:ext>
              </a:extLst>
            </p:cNvPr>
            <p:cNvSpPr txBox="1"/>
            <p:nvPr/>
          </p:nvSpPr>
          <p:spPr>
            <a:xfrm>
              <a:off x="623153" y="2789856"/>
              <a:ext cx="1043876" cy="461665"/>
            </a:xfrm>
            <a:prstGeom prst="rect">
              <a:avLst/>
            </a:prstGeom>
            <a:noFill/>
          </p:spPr>
          <p:txBody>
            <a:bodyPr wrap="none" rtlCol="0">
              <a:spAutoFit/>
            </a:bodyPr>
            <a:lstStyle/>
            <a:p>
              <a:r>
                <a:rPr lang="en-US" altLang="zh-CN" sz="2400" dirty="0">
                  <a:solidFill>
                    <a:schemeClr val="accent1"/>
                  </a:solidFill>
                  <a:latin typeface="+mj-ea"/>
                  <a:ea typeface="+mj-ea"/>
                </a:rPr>
                <a:t>20XX</a:t>
              </a:r>
              <a:endParaRPr lang="zh-CN" altLang="en-US" sz="2400" dirty="0">
                <a:solidFill>
                  <a:schemeClr val="accent1"/>
                </a:solidFill>
                <a:latin typeface="+mj-ea"/>
                <a:ea typeface="+mj-ea"/>
              </a:endParaRPr>
            </a:p>
          </p:txBody>
        </p:sp>
        <p:sp>
          <p:nvSpPr>
            <p:cNvPr id="60" name="文本框 59">
              <a:extLst>
                <a:ext uri="{FF2B5EF4-FFF2-40B4-BE49-F238E27FC236}">
                  <a16:creationId xmlns:a16="http://schemas.microsoft.com/office/drawing/2014/main" id="{69E83931-AC86-4BC5-AB8F-97EC20355867}"/>
                </a:ext>
              </a:extLst>
            </p:cNvPr>
            <p:cNvSpPr txBox="1"/>
            <p:nvPr/>
          </p:nvSpPr>
          <p:spPr>
            <a:xfrm>
              <a:off x="651728" y="3168034"/>
              <a:ext cx="2236509" cy="600164"/>
            </a:xfrm>
            <a:prstGeom prst="rect">
              <a:avLst/>
            </a:prstGeom>
            <a:noFill/>
          </p:spPr>
          <p:txBody>
            <a:bodyPr wrap="square" rtlCol="0">
              <a:spAutoFit/>
            </a:bodyPr>
            <a:lstStyle/>
            <a:p>
              <a:r>
                <a:rPr lang="en-US" altLang="zh-CN" sz="1100" dirty="0"/>
                <a:t>Lorem ipsum dolor sit amet, consectetur adipisicing elit, sed do eiusmod tempor</a:t>
              </a:r>
              <a:endParaRPr lang="zh-CN" altLang="en-US" sz="1100" dirty="0"/>
            </a:p>
          </p:txBody>
        </p:sp>
      </p:grpSp>
      <p:sp>
        <p:nvSpPr>
          <p:cNvPr id="61" name="椭圆 60">
            <a:extLst>
              <a:ext uri="{FF2B5EF4-FFF2-40B4-BE49-F238E27FC236}">
                <a16:creationId xmlns:a16="http://schemas.microsoft.com/office/drawing/2014/main" id="{613BD8A4-BF01-4059-B93D-B3B138E41DE6}"/>
              </a:ext>
            </a:extLst>
          </p:cNvPr>
          <p:cNvSpPr/>
          <p:nvPr/>
        </p:nvSpPr>
        <p:spPr>
          <a:xfrm>
            <a:off x="3871824" y="5171408"/>
            <a:ext cx="135813" cy="135813"/>
          </a:xfrm>
          <a:prstGeom prst="ellipse">
            <a:avLst/>
          </a:prstGeom>
          <a:solidFill>
            <a:schemeClr val="bg1"/>
          </a:solidFill>
          <a:ln w="41275">
            <a:solidFill>
              <a:schemeClr val="accent1"/>
            </a:solidFill>
          </a:ln>
          <a:effectLst>
            <a:outerShdw blurRad="127000" sx="102000" sy="102000" algn="ctr" rotWithShape="0">
              <a:schemeClr val="accent1">
                <a:lumMod val="90000"/>
                <a:lumOff val="10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cxnSp>
        <p:nvCxnSpPr>
          <p:cNvPr id="63" name="直接连接符 62">
            <a:extLst>
              <a:ext uri="{FF2B5EF4-FFF2-40B4-BE49-F238E27FC236}">
                <a16:creationId xmlns:a16="http://schemas.microsoft.com/office/drawing/2014/main" id="{6600A73D-E4D7-44E5-8CAC-2FE55634D7C0}"/>
              </a:ext>
            </a:extLst>
          </p:cNvPr>
          <p:cNvCxnSpPr>
            <a:cxnSpLocks/>
          </p:cNvCxnSpPr>
          <p:nvPr/>
        </p:nvCxnSpPr>
        <p:spPr>
          <a:xfrm>
            <a:off x="6331928" y="2184742"/>
            <a:ext cx="0" cy="1582586"/>
          </a:xfrm>
          <a:prstGeom prst="line">
            <a:avLst/>
          </a:prstGeom>
          <a:ln w="38100" cap="rnd">
            <a:gradFill>
              <a:gsLst>
                <a:gs pos="0">
                  <a:schemeClr val="accent1"/>
                </a:gs>
                <a:gs pos="100000">
                  <a:schemeClr val="accent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64" name="椭圆 63">
            <a:extLst>
              <a:ext uri="{FF2B5EF4-FFF2-40B4-BE49-F238E27FC236}">
                <a16:creationId xmlns:a16="http://schemas.microsoft.com/office/drawing/2014/main" id="{B9FCBF9C-CC03-40EA-8041-639AA61DDBD1}"/>
              </a:ext>
            </a:extLst>
          </p:cNvPr>
          <p:cNvSpPr/>
          <p:nvPr/>
        </p:nvSpPr>
        <p:spPr>
          <a:xfrm>
            <a:off x="6264021" y="2048929"/>
            <a:ext cx="135813" cy="135813"/>
          </a:xfrm>
          <a:prstGeom prst="ellipse">
            <a:avLst/>
          </a:prstGeom>
          <a:solidFill>
            <a:schemeClr val="bg1"/>
          </a:solidFill>
          <a:ln w="41275">
            <a:solidFill>
              <a:schemeClr val="accent1"/>
            </a:solidFill>
          </a:ln>
          <a:effectLst>
            <a:outerShdw blurRad="127000" sx="102000" sy="102000" algn="ctr" rotWithShape="0">
              <a:schemeClr val="accent1">
                <a:lumMod val="90000"/>
                <a:lumOff val="10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grpSp>
        <p:nvGrpSpPr>
          <p:cNvPr id="65" name="组合 64">
            <a:extLst>
              <a:ext uri="{FF2B5EF4-FFF2-40B4-BE49-F238E27FC236}">
                <a16:creationId xmlns:a16="http://schemas.microsoft.com/office/drawing/2014/main" id="{EEA3505C-DC93-4017-AD62-C43D5F24AE12}"/>
              </a:ext>
            </a:extLst>
          </p:cNvPr>
          <p:cNvGrpSpPr/>
          <p:nvPr/>
        </p:nvGrpSpPr>
        <p:grpSpPr>
          <a:xfrm>
            <a:off x="6467741" y="1922706"/>
            <a:ext cx="2236509" cy="978342"/>
            <a:chOff x="623153" y="2789856"/>
            <a:chExt cx="2236509" cy="978342"/>
          </a:xfrm>
        </p:grpSpPr>
        <p:sp>
          <p:nvSpPr>
            <p:cNvPr id="66" name="文本框 65">
              <a:extLst>
                <a:ext uri="{FF2B5EF4-FFF2-40B4-BE49-F238E27FC236}">
                  <a16:creationId xmlns:a16="http://schemas.microsoft.com/office/drawing/2014/main" id="{BB427B71-7B1B-4CE4-AC07-6DD5AA9A1345}"/>
                </a:ext>
              </a:extLst>
            </p:cNvPr>
            <p:cNvSpPr txBox="1"/>
            <p:nvPr/>
          </p:nvSpPr>
          <p:spPr>
            <a:xfrm>
              <a:off x="623153" y="2789856"/>
              <a:ext cx="1043876" cy="461665"/>
            </a:xfrm>
            <a:prstGeom prst="rect">
              <a:avLst/>
            </a:prstGeom>
            <a:noFill/>
          </p:spPr>
          <p:txBody>
            <a:bodyPr wrap="none" rtlCol="0">
              <a:spAutoFit/>
            </a:bodyPr>
            <a:lstStyle/>
            <a:p>
              <a:r>
                <a:rPr lang="en-US" altLang="zh-CN" sz="2400" dirty="0">
                  <a:solidFill>
                    <a:schemeClr val="accent1"/>
                  </a:solidFill>
                  <a:latin typeface="+mj-ea"/>
                  <a:ea typeface="+mj-ea"/>
                </a:rPr>
                <a:t>20XX</a:t>
              </a:r>
              <a:endParaRPr lang="zh-CN" altLang="en-US" sz="2400" dirty="0">
                <a:solidFill>
                  <a:schemeClr val="accent1"/>
                </a:solidFill>
                <a:latin typeface="+mj-ea"/>
                <a:ea typeface="+mj-ea"/>
              </a:endParaRPr>
            </a:p>
          </p:txBody>
        </p:sp>
        <p:sp>
          <p:nvSpPr>
            <p:cNvPr id="67" name="文本框 66">
              <a:extLst>
                <a:ext uri="{FF2B5EF4-FFF2-40B4-BE49-F238E27FC236}">
                  <a16:creationId xmlns:a16="http://schemas.microsoft.com/office/drawing/2014/main" id="{86CB5DA5-A218-4A7A-A850-309628B9F88D}"/>
                </a:ext>
              </a:extLst>
            </p:cNvPr>
            <p:cNvSpPr txBox="1"/>
            <p:nvPr/>
          </p:nvSpPr>
          <p:spPr>
            <a:xfrm>
              <a:off x="623153" y="3168034"/>
              <a:ext cx="2236509" cy="600164"/>
            </a:xfrm>
            <a:prstGeom prst="rect">
              <a:avLst/>
            </a:prstGeom>
            <a:noFill/>
          </p:spPr>
          <p:txBody>
            <a:bodyPr wrap="square" rtlCol="0">
              <a:spAutoFit/>
            </a:bodyPr>
            <a:lstStyle/>
            <a:p>
              <a:r>
                <a:rPr lang="en-US" altLang="zh-CN" sz="1100" dirty="0"/>
                <a:t>Lorem ipsum dolor sit amet, consectetur adipisicing elit, sed do eiusmod tempor</a:t>
              </a:r>
              <a:endParaRPr lang="zh-CN" altLang="en-US" sz="1100" dirty="0"/>
            </a:p>
          </p:txBody>
        </p:sp>
      </p:grpSp>
      <p:cxnSp>
        <p:nvCxnSpPr>
          <p:cNvPr id="68" name="直接连接符 67">
            <a:extLst>
              <a:ext uri="{FF2B5EF4-FFF2-40B4-BE49-F238E27FC236}">
                <a16:creationId xmlns:a16="http://schemas.microsoft.com/office/drawing/2014/main" id="{7BD49AFF-1204-4AEB-87CE-CCE2C1B1037A}"/>
              </a:ext>
            </a:extLst>
          </p:cNvPr>
          <p:cNvCxnSpPr>
            <a:cxnSpLocks/>
            <a:stCxn id="72" idx="0"/>
          </p:cNvCxnSpPr>
          <p:nvPr/>
        </p:nvCxnSpPr>
        <p:spPr>
          <a:xfrm flipV="1">
            <a:off x="8525155" y="3547429"/>
            <a:ext cx="0" cy="1623979"/>
          </a:xfrm>
          <a:prstGeom prst="line">
            <a:avLst/>
          </a:prstGeom>
          <a:ln w="38100" cap="rnd">
            <a:gradFill>
              <a:gsLst>
                <a:gs pos="0">
                  <a:schemeClr val="accent1"/>
                </a:gs>
                <a:gs pos="100000">
                  <a:schemeClr val="accent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grpSp>
        <p:nvGrpSpPr>
          <p:cNvPr id="69" name="组合 68">
            <a:extLst>
              <a:ext uri="{FF2B5EF4-FFF2-40B4-BE49-F238E27FC236}">
                <a16:creationId xmlns:a16="http://schemas.microsoft.com/office/drawing/2014/main" id="{D161DE47-D15B-402B-A742-F6DB53E01520}"/>
              </a:ext>
            </a:extLst>
          </p:cNvPr>
          <p:cNvGrpSpPr/>
          <p:nvPr/>
        </p:nvGrpSpPr>
        <p:grpSpPr>
          <a:xfrm>
            <a:off x="8632367" y="4434769"/>
            <a:ext cx="2265084" cy="978342"/>
            <a:chOff x="623153" y="2789856"/>
            <a:chExt cx="2265084" cy="978342"/>
          </a:xfrm>
        </p:grpSpPr>
        <p:sp>
          <p:nvSpPr>
            <p:cNvPr id="70" name="文本框 69">
              <a:extLst>
                <a:ext uri="{FF2B5EF4-FFF2-40B4-BE49-F238E27FC236}">
                  <a16:creationId xmlns:a16="http://schemas.microsoft.com/office/drawing/2014/main" id="{DC42CD9F-9662-4257-9EDE-996726581CB4}"/>
                </a:ext>
              </a:extLst>
            </p:cNvPr>
            <p:cNvSpPr txBox="1"/>
            <p:nvPr/>
          </p:nvSpPr>
          <p:spPr>
            <a:xfrm>
              <a:off x="623153" y="2789856"/>
              <a:ext cx="1043876" cy="461665"/>
            </a:xfrm>
            <a:prstGeom prst="rect">
              <a:avLst/>
            </a:prstGeom>
            <a:noFill/>
          </p:spPr>
          <p:txBody>
            <a:bodyPr wrap="none" rtlCol="0">
              <a:spAutoFit/>
            </a:bodyPr>
            <a:lstStyle/>
            <a:p>
              <a:r>
                <a:rPr lang="en-US" altLang="zh-CN" sz="2400" dirty="0">
                  <a:solidFill>
                    <a:schemeClr val="accent1"/>
                  </a:solidFill>
                  <a:latin typeface="+mj-ea"/>
                  <a:ea typeface="+mj-ea"/>
                </a:rPr>
                <a:t>20XX</a:t>
              </a:r>
              <a:endParaRPr lang="zh-CN" altLang="en-US" sz="2400" dirty="0">
                <a:solidFill>
                  <a:schemeClr val="accent1"/>
                </a:solidFill>
                <a:latin typeface="+mj-ea"/>
                <a:ea typeface="+mj-ea"/>
              </a:endParaRPr>
            </a:p>
          </p:txBody>
        </p:sp>
        <p:sp>
          <p:nvSpPr>
            <p:cNvPr id="71" name="文本框 70">
              <a:extLst>
                <a:ext uri="{FF2B5EF4-FFF2-40B4-BE49-F238E27FC236}">
                  <a16:creationId xmlns:a16="http://schemas.microsoft.com/office/drawing/2014/main" id="{F42FD72C-503C-4B3A-8079-A2EA89244D6D}"/>
                </a:ext>
              </a:extLst>
            </p:cNvPr>
            <p:cNvSpPr txBox="1"/>
            <p:nvPr/>
          </p:nvSpPr>
          <p:spPr>
            <a:xfrm>
              <a:off x="651728" y="3168034"/>
              <a:ext cx="2236509" cy="600164"/>
            </a:xfrm>
            <a:prstGeom prst="rect">
              <a:avLst/>
            </a:prstGeom>
            <a:noFill/>
          </p:spPr>
          <p:txBody>
            <a:bodyPr wrap="square" rtlCol="0">
              <a:spAutoFit/>
            </a:bodyPr>
            <a:lstStyle/>
            <a:p>
              <a:r>
                <a:rPr lang="en-US" altLang="zh-CN" sz="1100" dirty="0"/>
                <a:t>Lorem ipsum dolor sit amet, consectetur adipisicing elit, sed do eiusmod tempor</a:t>
              </a:r>
              <a:endParaRPr lang="zh-CN" altLang="en-US" sz="1100" dirty="0"/>
            </a:p>
          </p:txBody>
        </p:sp>
      </p:grpSp>
      <p:sp>
        <p:nvSpPr>
          <p:cNvPr id="72" name="椭圆 71">
            <a:extLst>
              <a:ext uri="{FF2B5EF4-FFF2-40B4-BE49-F238E27FC236}">
                <a16:creationId xmlns:a16="http://schemas.microsoft.com/office/drawing/2014/main" id="{A2A5AFA9-AA14-4157-A829-46356F37C665}"/>
              </a:ext>
            </a:extLst>
          </p:cNvPr>
          <p:cNvSpPr/>
          <p:nvPr/>
        </p:nvSpPr>
        <p:spPr>
          <a:xfrm>
            <a:off x="8457248" y="5171408"/>
            <a:ext cx="135813" cy="135813"/>
          </a:xfrm>
          <a:prstGeom prst="ellipse">
            <a:avLst/>
          </a:prstGeom>
          <a:solidFill>
            <a:schemeClr val="bg1"/>
          </a:solidFill>
          <a:ln w="41275">
            <a:solidFill>
              <a:schemeClr val="accent1"/>
            </a:solidFill>
          </a:ln>
          <a:effectLst>
            <a:outerShdw blurRad="127000" sx="102000" sy="102000" algn="ctr" rotWithShape="0">
              <a:schemeClr val="accent1">
                <a:lumMod val="90000"/>
                <a:lumOff val="10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Tree>
    <p:extLst>
      <p:ext uri="{BB962C8B-B14F-4D97-AF65-F5344CB8AC3E}">
        <p14:creationId xmlns:p14="http://schemas.microsoft.com/office/powerpoint/2010/main" val="2581754794"/>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3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平行四边形 1">
            <a:extLst>
              <a:ext uri="{FF2B5EF4-FFF2-40B4-BE49-F238E27FC236}">
                <a16:creationId xmlns:a16="http://schemas.microsoft.com/office/drawing/2014/main" id="{78D615D1-ADC2-4EEA-8F74-A3A7442200C2}"/>
              </a:ext>
            </a:extLst>
          </p:cNvPr>
          <p:cNvSpPr/>
          <p:nvPr/>
        </p:nvSpPr>
        <p:spPr>
          <a:xfrm>
            <a:off x="-168403" y="3361074"/>
            <a:ext cx="1400175" cy="147638"/>
          </a:xfrm>
          <a:prstGeom prst="parallelogram">
            <a:avLst/>
          </a:prstGeom>
          <a:gradFill>
            <a:gsLst>
              <a:gs pos="100000">
                <a:schemeClr val="accent1"/>
              </a:gs>
              <a:gs pos="9000">
                <a:schemeClr val="accent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3" name="文本框 2">
            <a:extLst>
              <a:ext uri="{FF2B5EF4-FFF2-40B4-BE49-F238E27FC236}">
                <a16:creationId xmlns:a16="http://schemas.microsoft.com/office/drawing/2014/main" id="{AA4DE558-4BF1-4BAF-82DA-C1A6BE6A2EEC}"/>
              </a:ext>
            </a:extLst>
          </p:cNvPr>
          <p:cNvSpPr txBox="1"/>
          <p:nvPr/>
        </p:nvSpPr>
        <p:spPr>
          <a:xfrm>
            <a:off x="1384173" y="3219450"/>
            <a:ext cx="878446" cy="430887"/>
          </a:xfrm>
          <a:prstGeom prst="rect">
            <a:avLst/>
          </a:prstGeom>
          <a:noFill/>
        </p:spPr>
        <p:txBody>
          <a:bodyPr wrap="none" lIns="0" tIns="0" rIns="0" bIns="0" rtlCol="0" anchor="t">
            <a:spAutoFit/>
          </a:bodyPr>
          <a:lstStyle/>
          <a:p>
            <a:pPr algn="l"/>
            <a:r>
              <a:rPr lang="en-US" altLang="zh-CN" sz="2800" dirty="0">
                <a:solidFill>
                  <a:schemeClr val="accent1"/>
                </a:solidFill>
                <a:latin typeface="+mj-ea"/>
                <a:ea typeface="+mj-ea"/>
              </a:rPr>
              <a:t>2018</a:t>
            </a:r>
            <a:endParaRPr lang="zh-CN" altLang="en-US" sz="2800" dirty="0">
              <a:solidFill>
                <a:schemeClr val="accent1"/>
              </a:solidFill>
              <a:latin typeface="+mj-ea"/>
              <a:ea typeface="+mj-ea"/>
            </a:endParaRPr>
          </a:p>
        </p:txBody>
      </p:sp>
      <p:sp>
        <p:nvSpPr>
          <p:cNvPr id="27" name="平行四边形 26">
            <a:extLst>
              <a:ext uri="{FF2B5EF4-FFF2-40B4-BE49-F238E27FC236}">
                <a16:creationId xmlns:a16="http://schemas.microsoft.com/office/drawing/2014/main" id="{1CD58869-96D5-4F6B-8DBE-47505685BDA3}"/>
              </a:ext>
            </a:extLst>
          </p:cNvPr>
          <p:cNvSpPr/>
          <p:nvPr/>
        </p:nvSpPr>
        <p:spPr>
          <a:xfrm>
            <a:off x="2415020" y="3361074"/>
            <a:ext cx="1400175" cy="147638"/>
          </a:xfrm>
          <a:prstGeom prst="parallelogram">
            <a:avLst/>
          </a:prstGeom>
          <a:gradFill>
            <a:gsLst>
              <a:gs pos="100000">
                <a:schemeClr val="accent1"/>
              </a:gs>
              <a:gs pos="9000">
                <a:schemeClr val="accent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28" name="文本框 27">
            <a:extLst>
              <a:ext uri="{FF2B5EF4-FFF2-40B4-BE49-F238E27FC236}">
                <a16:creationId xmlns:a16="http://schemas.microsoft.com/office/drawing/2014/main" id="{A0EDAF24-837E-4AC9-B5A4-F6E79B2F0123}"/>
              </a:ext>
            </a:extLst>
          </p:cNvPr>
          <p:cNvSpPr txBox="1"/>
          <p:nvPr/>
        </p:nvSpPr>
        <p:spPr>
          <a:xfrm>
            <a:off x="3967596" y="3219450"/>
            <a:ext cx="878446" cy="430887"/>
          </a:xfrm>
          <a:prstGeom prst="rect">
            <a:avLst/>
          </a:prstGeom>
          <a:noFill/>
        </p:spPr>
        <p:txBody>
          <a:bodyPr wrap="none" lIns="0" tIns="0" rIns="0" bIns="0" rtlCol="0" anchor="t">
            <a:spAutoFit/>
          </a:bodyPr>
          <a:lstStyle/>
          <a:p>
            <a:pPr algn="l"/>
            <a:r>
              <a:rPr lang="en-US" altLang="zh-CN" sz="2800" dirty="0">
                <a:solidFill>
                  <a:schemeClr val="accent1"/>
                </a:solidFill>
                <a:latin typeface="+mj-ea"/>
                <a:ea typeface="+mj-ea"/>
              </a:rPr>
              <a:t>2019</a:t>
            </a:r>
            <a:endParaRPr lang="zh-CN" altLang="en-US" sz="2800" dirty="0">
              <a:solidFill>
                <a:schemeClr val="accent1"/>
              </a:solidFill>
              <a:latin typeface="+mj-ea"/>
              <a:ea typeface="+mj-ea"/>
            </a:endParaRPr>
          </a:p>
        </p:txBody>
      </p:sp>
      <p:sp>
        <p:nvSpPr>
          <p:cNvPr id="30" name="平行四边形 29">
            <a:extLst>
              <a:ext uri="{FF2B5EF4-FFF2-40B4-BE49-F238E27FC236}">
                <a16:creationId xmlns:a16="http://schemas.microsoft.com/office/drawing/2014/main" id="{371F296C-D1FE-4741-A69E-527B1E8D629A}"/>
              </a:ext>
            </a:extLst>
          </p:cNvPr>
          <p:cNvSpPr/>
          <p:nvPr/>
        </p:nvSpPr>
        <p:spPr>
          <a:xfrm>
            <a:off x="4846042" y="3361074"/>
            <a:ext cx="1400175" cy="147638"/>
          </a:xfrm>
          <a:prstGeom prst="parallelogram">
            <a:avLst/>
          </a:prstGeom>
          <a:gradFill>
            <a:gsLst>
              <a:gs pos="100000">
                <a:schemeClr val="accent1"/>
              </a:gs>
              <a:gs pos="9000">
                <a:schemeClr val="accent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31" name="文本框 30">
            <a:extLst>
              <a:ext uri="{FF2B5EF4-FFF2-40B4-BE49-F238E27FC236}">
                <a16:creationId xmlns:a16="http://schemas.microsoft.com/office/drawing/2014/main" id="{335AD986-B799-4542-B40F-25099449473C}"/>
              </a:ext>
            </a:extLst>
          </p:cNvPr>
          <p:cNvSpPr txBox="1"/>
          <p:nvPr/>
        </p:nvSpPr>
        <p:spPr>
          <a:xfrm>
            <a:off x="6398618" y="3219450"/>
            <a:ext cx="942566" cy="430887"/>
          </a:xfrm>
          <a:prstGeom prst="rect">
            <a:avLst/>
          </a:prstGeom>
          <a:noFill/>
        </p:spPr>
        <p:txBody>
          <a:bodyPr wrap="none" lIns="0" tIns="0" rIns="0" bIns="0" rtlCol="0" anchor="t">
            <a:spAutoFit/>
          </a:bodyPr>
          <a:lstStyle/>
          <a:p>
            <a:pPr algn="l"/>
            <a:r>
              <a:rPr lang="en-US" altLang="zh-CN" sz="2800" dirty="0">
                <a:solidFill>
                  <a:schemeClr val="accent1"/>
                </a:solidFill>
                <a:latin typeface="+mj-ea"/>
                <a:ea typeface="+mj-ea"/>
              </a:rPr>
              <a:t>2020</a:t>
            </a:r>
            <a:endParaRPr lang="zh-CN" altLang="en-US" sz="2800" dirty="0">
              <a:solidFill>
                <a:schemeClr val="accent1"/>
              </a:solidFill>
              <a:latin typeface="+mj-ea"/>
              <a:ea typeface="+mj-ea"/>
            </a:endParaRPr>
          </a:p>
        </p:txBody>
      </p:sp>
      <p:sp>
        <p:nvSpPr>
          <p:cNvPr id="32" name="平行四边形 31">
            <a:extLst>
              <a:ext uri="{FF2B5EF4-FFF2-40B4-BE49-F238E27FC236}">
                <a16:creationId xmlns:a16="http://schemas.microsoft.com/office/drawing/2014/main" id="{BF7FDDC3-CBE9-47F5-A30E-F514A3701294}"/>
              </a:ext>
            </a:extLst>
          </p:cNvPr>
          <p:cNvSpPr/>
          <p:nvPr/>
        </p:nvSpPr>
        <p:spPr>
          <a:xfrm>
            <a:off x="7341184" y="3361074"/>
            <a:ext cx="1400175" cy="147638"/>
          </a:xfrm>
          <a:prstGeom prst="parallelogram">
            <a:avLst/>
          </a:prstGeom>
          <a:gradFill>
            <a:gsLst>
              <a:gs pos="100000">
                <a:schemeClr val="accent1"/>
              </a:gs>
              <a:gs pos="9000">
                <a:schemeClr val="accent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dirty="0">
              <a:solidFill>
                <a:schemeClr val="bg1"/>
              </a:solidFill>
              <a:latin typeface="+mj-ea"/>
              <a:ea typeface="+mj-ea"/>
            </a:endParaRPr>
          </a:p>
        </p:txBody>
      </p:sp>
      <p:sp>
        <p:nvSpPr>
          <p:cNvPr id="33" name="文本框 32">
            <a:extLst>
              <a:ext uri="{FF2B5EF4-FFF2-40B4-BE49-F238E27FC236}">
                <a16:creationId xmlns:a16="http://schemas.microsoft.com/office/drawing/2014/main" id="{85F2FBDC-AD06-4399-AC3F-48909D60E1C3}"/>
              </a:ext>
            </a:extLst>
          </p:cNvPr>
          <p:cNvSpPr txBox="1"/>
          <p:nvPr/>
        </p:nvSpPr>
        <p:spPr>
          <a:xfrm>
            <a:off x="8893760" y="3219450"/>
            <a:ext cx="878446" cy="430887"/>
          </a:xfrm>
          <a:prstGeom prst="rect">
            <a:avLst/>
          </a:prstGeom>
          <a:noFill/>
        </p:spPr>
        <p:txBody>
          <a:bodyPr wrap="none" lIns="0" tIns="0" rIns="0" bIns="0" rtlCol="0" anchor="t">
            <a:spAutoFit/>
          </a:bodyPr>
          <a:lstStyle/>
          <a:p>
            <a:pPr algn="l"/>
            <a:r>
              <a:rPr lang="en-US" altLang="zh-CN" sz="2800" dirty="0">
                <a:solidFill>
                  <a:schemeClr val="accent1"/>
                </a:solidFill>
                <a:latin typeface="+mj-ea"/>
                <a:ea typeface="+mj-ea"/>
              </a:rPr>
              <a:t>2021</a:t>
            </a:r>
            <a:endParaRPr lang="zh-CN" altLang="en-US" sz="2800" dirty="0">
              <a:solidFill>
                <a:schemeClr val="accent1"/>
              </a:solidFill>
              <a:latin typeface="+mj-ea"/>
              <a:ea typeface="+mj-ea"/>
            </a:endParaRPr>
          </a:p>
        </p:txBody>
      </p:sp>
      <p:sp>
        <p:nvSpPr>
          <p:cNvPr id="34" name="平行四边形 33">
            <a:extLst>
              <a:ext uri="{FF2B5EF4-FFF2-40B4-BE49-F238E27FC236}">
                <a16:creationId xmlns:a16="http://schemas.microsoft.com/office/drawing/2014/main" id="{12DAB4BE-5D61-444F-8728-0E1CA681A79B}"/>
              </a:ext>
            </a:extLst>
          </p:cNvPr>
          <p:cNvSpPr/>
          <p:nvPr/>
        </p:nvSpPr>
        <p:spPr>
          <a:xfrm>
            <a:off x="9924607" y="3361074"/>
            <a:ext cx="2191193" cy="147638"/>
          </a:xfrm>
          <a:prstGeom prst="parallelogram">
            <a:avLst/>
          </a:prstGeom>
          <a:gradFill>
            <a:gsLst>
              <a:gs pos="100000">
                <a:schemeClr val="accent1"/>
              </a:gs>
              <a:gs pos="9000">
                <a:schemeClr val="accent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dirty="0">
              <a:solidFill>
                <a:schemeClr val="bg1"/>
              </a:solidFill>
              <a:latin typeface="+mj-ea"/>
              <a:ea typeface="+mj-ea"/>
            </a:endParaRPr>
          </a:p>
        </p:txBody>
      </p:sp>
      <p:sp>
        <p:nvSpPr>
          <p:cNvPr id="35" name="文本框 34">
            <a:extLst>
              <a:ext uri="{FF2B5EF4-FFF2-40B4-BE49-F238E27FC236}">
                <a16:creationId xmlns:a16="http://schemas.microsoft.com/office/drawing/2014/main" id="{3B4616A5-D938-4E39-A2B0-9A997F259744}"/>
              </a:ext>
            </a:extLst>
          </p:cNvPr>
          <p:cNvSpPr txBox="1"/>
          <p:nvPr/>
        </p:nvSpPr>
        <p:spPr>
          <a:xfrm>
            <a:off x="1899596" y="3807251"/>
            <a:ext cx="2236509" cy="1593321"/>
          </a:xfrm>
          <a:prstGeom prst="rect">
            <a:avLst/>
          </a:prstGeom>
          <a:noFill/>
        </p:spPr>
        <p:txBody>
          <a:bodyPr wrap="square" rtlCol="0">
            <a:spAutoFit/>
          </a:bodyPr>
          <a:lstStyle/>
          <a:p>
            <a:pPr marL="92075" indent="-92075">
              <a:lnSpc>
                <a:spcPct val="150000"/>
              </a:lnSpc>
              <a:buFont typeface="Arial" panose="020B0604020202020204" pitchFamily="34" charset="0"/>
              <a:buChar char="•"/>
            </a:pPr>
            <a:r>
              <a:rPr lang="en-US" altLang="zh-CN" sz="1100" dirty="0"/>
              <a:t>Lorem ipsum dolor sit amet consectetur adipisicing</a:t>
            </a:r>
          </a:p>
          <a:p>
            <a:pPr marL="92075" indent="-92075">
              <a:lnSpc>
                <a:spcPct val="150000"/>
              </a:lnSpc>
              <a:buFont typeface="Arial" panose="020B0604020202020204" pitchFamily="34" charset="0"/>
              <a:buChar char="•"/>
            </a:pPr>
            <a:r>
              <a:rPr lang="en-US" altLang="zh-CN" sz="1100" dirty="0"/>
              <a:t>Lorem ipsum dolor sit amet consectetur adipisicing</a:t>
            </a:r>
            <a:endParaRPr lang="zh-CN" altLang="en-US" sz="1100" dirty="0"/>
          </a:p>
          <a:p>
            <a:pPr marL="92075" indent="-92075">
              <a:lnSpc>
                <a:spcPct val="150000"/>
              </a:lnSpc>
              <a:buFont typeface="Arial" panose="020B0604020202020204" pitchFamily="34" charset="0"/>
              <a:buChar char="•"/>
            </a:pPr>
            <a:r>
              <a:rPr lang="en-US" altLang="zh-CN" sz="1100" dirty="0"/>
              <a:t>Lorem ipsum dolor sit amet consectetur adipisicing</a:t>
            </a:r>
            <a:endParaRPr lang="zh-CN" altLang="en-US" sz="1100" dirty="0"/>
          </a:p>
        </p:txBody>
      </p:sp>
      <p:cxnSp>
        <p:nvCxnSpPr>
          <p:cNvPr id="5" name="直接连接符 4">
            <a:extLst>
              <a:ext uri="{FF2B5EF4-FFF2-40B4-BE49-F238E27FC236}">
                <a16:creationId xmlns:a16="http://schemas.microsoft.com/office/drawing/2014/main" id="{E249B1A4-5DDD-44F1-8A96-B473C97EC689}"/>
              </a:ext>
            </a:extLst>
          </p:cNvPr>
          <p:cNvCxnSpPr>
            <a:cxnSpLocks/>
          </p:cNvCxnSpPr>
          <p:nvPr/>
        </p:nvCxnSpPr>
        <p:spPr>
          <a:xfrm>
            <a:off x="1807287" y="3825539"/>
            <a:ext cx="0" cy="1496650"/>
          </a:xfrm>
          <a:prstGeom prst="line">
            <a:avLst/>
          </a:prstGeom>
        </p:spPr>
        <p:style>
          <a:lnRef idx="1">
            <a:schemeClr val="accent1"/>
          </a:lnRef>
          <a:fillRef idx="0">
            <a:schemeClr val="accent1"/>
          </a:fillRef>
          <a:effectRef idx="0">
            <a:schemeClr val="accent1"/>
          </a:effectRef>
          <a:fontRef idx="minor">
            <a:schemeClr val="tx1"/>
          </a:fontRef>
        </p:style>
      </p:cxnSp>
      <p:sp>
        <p:nvSpPr>
          <p:cNvPr id="39" name="文本框 38">
            <a:extLst>
              <a:ext uri="{FF2B5EF4-FFF2-40B4-BE49-F238E27FC236}">
                <a16:creationId xmlns:a16="http://schemas.microsoft.com/office/drawing/2014/main" id="{90F7E566-332A-4740-B094-086E9C3C270D}"/>
              </a:ext>
            </a:extLst>
          </p:cNvPr>
          <p:cNvSpPr txBox="1"/>
          <p:nvPr/>
        </p:nvSpPr>
        <p:spPr>
          <a:xfrm>
            <a:off x="4504076" y="1555317"/>
            <a:ext cx="2236509" cy="1593321"/>
          </a:xfrm>
          <a:prstGeom prst="rect">
            <a:avLst/>
          </a:prstGeom>
          <a:noFill/>
        </p:spPr>
        <p:txBody>
          <a:bodyPr wrap="square" rtlCol="0">
            <a:spAutoFit/>
          </a:bodyPr>
          <a:lstStyle/>
          <a:p>
            <a:pPr marL="92075" indent="-92075">
              <a:lnSpc>
                <a:spcPct val="150000"/>
              </a:lnSpc>
              <a:buFont typeface="Arial" panose="020B0604020202020204" pitchFamily="34" charset="0"/>
              <a:buChar char="•"/>
            </a:pPr>
            <a:r>
              <a:rPr lang="en-US" altLang="zh-CN" sz="1100" dirty="0"/>
              <a:t>Lorem ipsum dolor sit amet consectetur adipisicing</a:t>
            </a:r>
          </a:p>
          <a:p>
            <a:pPr marL="92075" indent="-92075">
              <a:lnSpc>
                <a:spcPct val="150000"/>
              </a:lnSpc>
              <a:buFont typeface="Arial" panose="020B0604020202020204" pitchFamily="34" charset="0"/>
              <a:buChar char="•"/>
            </a:pPr>
            <a:r>
              <a:rPr lang="en-US" altLang="zh-CN" sz="1100" dirty="0"/>
              <a:t>Lorem ipsum dolor sit amet consectetur adipisicing</a:t>
            </a:r>
            <a:endParaRPr lang="zh-CN" altLang="en-US" sz="1100" dirty="0"/>
          </a:p>
          <a:p>
            <a:pPr marL="92075" indent="-92075">
              <a:lnSpc>
                <a:spcPct val="150000"/>
              </a:lnSpc>
              <a:buFont typeface="Arial" panose="020B0604020202020204" pitchFamily="34" charset="0"/>
              <a:buChar char="•"/>
            </a:pPr>
            <a:r>
              <a:rPr lang="en-US" altLang="zh-CN" sz="1100" dirty="0"/>
              <a:t>Lorem ipsum dolor sit amet consectetur adipisicing</a:t>
            </a:r>
            <a:endParaRPr lang="zh-CN" altLang="en-US" sz="1100" dirty="0"/>
          </a:p>
        </p:txBody>
      </p:sp>
      <p:cxnSp>
        <p:nvCxnSpPr>
          <p:cNvPr id="40" name="直接连接符 39">
            <a:extLst>
              <a:ext uri="{FF2B5EF4-FFF2-40B4-BE49-F238E27FC236}">
                <a16:creationId xmlns:a16="http://schemas.microsoft.com/office/drawing/2014/main" id="{970556F6-8B28-40C1-83C5-C0CF5F61CF88}"/>
              </a:ext>
            </a:extLst>
          </p:cNvPr>
          <p:cNvCxnSpPr>
            <a:cxnSpLocks/>
          </p:cNvCxnSpPr>
          <p:nvPr/>
        </p:nvCxnSpPr>
        <p:spPr>
          <a:xfrm>
            <a:off x="4411767" y="1573605"/>
            <a:ext cx="0" cy="1496650"/>
          </a:xfrm>
          <a:prstGeom prst="line">
            <a:avLst/>
          </a:prstGeom>
        </p:spPr>
        <p:style>
          <a:lnRef idx="1">
            <a:schemeClr val="accent1"/>
          </a:lnRef>
          <a:fillRef idx="0">
            <a:schemeClr val="accent1"/>
          </a:fillRef>
          <a:effectRef idx="0">
            <a:schemeClr val="accent1"/>
          </a:effectRef>
          <a:fontRef idx="minor">
            <a:schemeClr val="tx1"/>
          </a:fontRef>
        </p:style>
      </p:cxnSp>
      <p:sp>
        <p:nvSpPr>
          <p:cNvPr id="41" name="文本框 40">
            <a:extLst>
              <a:ext uri="{FF2B5EF4-FFF2-40B4-BE49-F238E27FC236}">
                <a16:creationId xmlns:a16="http://schemas.microsoft.com/office/drawing/2014/main" id="{89A40F4A-DAC7-4131-A688-811C79045830}"/>
              </a:ext>
            </a:extLst>
          </p:cNvPr>
          <p:cNvSpPr txBox="1"/>
          <p:nvPr/>
        </p:nvSpPr>
        <p:spPr>
          <a:xfrm>
            <a:off x="6863067" y="3807251"/>
            <a:ext cx="2236509" cy="1593321"/>
          </a:xfrm>
          <a:prstGeom prst="rect">
            <a:avLst/>
          </a:prstGeom>
          <a:noFill/>
        </p:spPr>
        <p:txBody>
          <a:bodyPr wrap="square" rtlCol="0">
            <a:spAutoFit/>
          </a:bodyPr>
          <a:lstStyle/>
          <a:p>
            <a:pPr marL="92075" indent="-92075">
              <a:lnSpc>
                <a:spcPct val="150000"/>
              </a:lnSpc>
              <a:buFont typeface="Arial" panose="020B0604020202020204" pitchFamily="34" charset="0"/>
              <a:buChar char="•"/>
            </a:pPr>
            <a:r>
              <a:rPr lang="en-US" altLang="zh-CN" sz="1100" dirty="0"/>
              <a:t>Lorem ipsum dolor sit amet consectetur adipisicing</a:t>
            </a:r>
          </a:p>
          <a:p>
            <a:pPr marL="92075" indent="-92075">
              <a:lnSpc>
                <a:spcPct val="150000"/>
              </a:lnSpc>
              <a:buFont typeface="Arial" panose="020B0604020202020204" pitchFamily="34" charset="0"/>
              <a:buChar char="•"/>
            </a:pPr>
            <a:r>
              <a:rPr lang="en-US" altLang="zh-CN" sz="1100" dirty="0"/>
              <a:t>Lorem ipsum dolor sit amet consectetur adipisicing</a:t>
            </a:r>
            <a:endParaRPr lang="zh-CN" altLang="en-US" sz="1100" dirty="0"/>
          </a:p>
          <a:p>
            <a:pPr marL="92075" indent="-92075">
              <a:lnSpc>
                <a:spcPct val="150000"/>
              </a:lnSpc>
              <a:buFont typeface="Arial" panose="020B0604020202020204" pitchFamily="34" charset="0"/>
              <a:buChar char="•"/>
            </a:pPr>
            <a:r>
              <a:rPr lang="en-US" altLang="zh-CN" sz="1100" dirty="0"/>
              <a:t>Lorem ipsum dolor sit amet consectetur adipisicing</a:t>
            </a:r>
            <a:endParaRPr lang="zh-CN" altLang="en-US" sz="1100" dirty="0"/>
          </a:p>
        </p:txBody>
      </p:sp>
      <p:cxnSp>
        <p:nvCxnSpPr>
          <p:cNvPr id="42" name="直接连接符 41">
            <a:extLst>
              <a:ext uri="{FF2B5EF4-FFF2-40B4-BE49-F238E27FC236}">
                <a16:creationId xmlns:a16="http://schemas.microsoft.com/office/drawing/2014/main" id="{74185953-D147-40E6-B4C9-10AA5CF09CE0}"/>
              </a:ext>
            </a:extLst>
          </p:cNvPr>
          <p:cNvCxnSpPr>
            <a:cxnSpLocks/>
          </p:cNvCxnSpPr>
          <p:nvPr/>
        </p:nvCxnSpPr>
        <p:spPr>
          <a:xfrm>
            <a:off x="6770758" y="3825539"/>
            <a:ext cx="0" cy="1496650"/>
          </a:xfrm>
          <a:prstGeom prst="line">
            <a:avLst/>
          </a:prstGeom>
        </p:spPr>
        <p:style>
          <a:lnRef idx="1">
            <a:schemeClr val="accent1"/>
          </a:lnRef>
          <a:fillRef idx="0">
            <a:schemeClr val="accent1"/>
          </a:fillRef>
          <a:effectRef idx="0">
            <a:schemeClr val="accent1"/>
          </a:effectRef>
          <a:fontRef idx="minor">
            <a:schemeClr val="tx1"/>
          </a:fontRef>
        </p:style>
      </p:cxnSp>
      <p:sp>
        <p:nvSpPr>
          <p:cNvPr id="44" name="文本框 43">
            <a:extLst>
              <a:ext uri="{FF2B5EF4-FFF2-40B4-BE49-F238E27FC236}">
                <a16:creationId xmlns:a16="http://schemas.microsoft.com/office/drawing/2014/main" id="{9340C8A2-7423-4614-A732-F654E2806DE0}"/>
              </a:ext>
            </a:extLst>
          </p:cNvPr>
          <p:cNvSpPr txBox="1"/>
          <p:nvPr/>
        </p:nvSpPr>
        <p:spPr>
          <a:xfrm>
            <a:off x="9324291" y="1555317"/>
            <a:ext cx="2236509" cy="1593321"/>
          </a:xfrm>
          <a:prstGeom prst="rect">
            <a:avLst/>
          </a:prstGeom>
          <a:noFill/>
        </p:spPr>
        <p:txBody>
          <a:bodyPr wrap="square" rtlCol="0">
            <a:spAutoFit/>
          </a:bodyPr>
          <a:lstStyle/>
          <a:p>
            <a:pPr marL="92075" indent="-92075">
              <a:lnSpc>
                <a:spcPct val="150000"/>
              </a:lnSpc>
              <a:buFont typeface="Arial" panose="020B0604020202020204" pitchFamily="34" charset="0"/>
              <a:buChar char="•"/>
            </a:pPr>
            <a:r>
              <a:rPr lang="en-US" altLang="zh-CN" sz="1100" dirty="0"/>
              <a:t>Lorem ipsum dolor sit amet consectetur adipisicing</a:t>
            </a:r>
          </a:p>
          <a:p>
            <a:pPr marL="92075" indent="-92075">
              <a:lnSpc>
                <a:spcPct val="150000"/>
              </a:lnSpc>
              <a:buFont typeface="Arial" panose="020B0604020202020204" pitchFamily="34" charset="0"/>
              <a:buChar char="•"/>
            </a:pPr>
            <a:r>
              <a:rPr lang="en-US" altLang="zh-CN" sz="1100" dirty="0"/>
              <a:t>Lorem ipsum dolor sit amet consectetur adipisicing</a:t>
            </a:r>
            <a:endParaRPr lang="zh-CN" altLang="en-US" sz="1100" dirty="0"/>
          </a:p>
          <a:p>
            <a:pPr marL="92075" indent="-92075">
              <a:lnSpc>
                <a:spcPct val="150000"/>
              </a:lnSpc>
              <a:buFont typeface="Arial" panose="020B0604020202020204" pitchFamily="34" charset="0"/>
              <a:buChar char="•"/>
            </a:pPr>
            <a:r>
              <a:rPr lang="en-US" altLang="zh-CN" sz="1100" dirty="0"/>
              <a:t>Lorem ipsum dolor sit amet consectetur adipisicing</a:t>
            </a:r>
            <a:endParaRPr lang="zh-CN" altLang="en-US" sz="1100" dirty="0"/>
          </a:p>
        </p:txBody>
      </p:sp>
      <p:cxnSp>
        <p:nvCxnSpPr>
          <p:cNvPr id="45" name="直接连接符 44">
            <a:extLst>
              <a:ext uri="{FF2B5EF4-FFF2-40B4-BE49-F238E27FC236}">
                <a16:creationId xmlns:a16="http://schemas.microsoft.com/office/drawing/2014/main" id="{0EF8D527-BABD-473F-BECB-29AE471047A4}"/>
              </a:ext>
            </a:extLst>
          </p:cNvPr>
          <p:cNvCxnSpPr>
            <a:cxnSpLocks/>
          </p:cNvCxnSpPr>
          <p:nvPr/>
        </p:nvCxnSpPr>
        <p:spPr>
          <a:xfrm>
            <a:off x="9231982" y="1573605"/>
            <a:ext cx="0" cy="149665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97118497"/>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3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任意多边形: 形状 20">
            <a:extLst>
              <a:ext uri="{FF2B5EF4-FFF2-40B4-BE49-F238E27FC236}">
                <a16:creationId xmlns:a16="http://schemas.microsoft.com/office/drawing/2014/main" id="{6D9A8B35-B7E8-4808-AEBA-2D36C0146563}"/>
              </a:ext>
            </a:extLst>
          </p:cNvPr>
          <p:cNvSpPr/>
          <p:nvPr/>
        </p:nvSpPr>
        <p:spPr>
          <a:xfrm>
            <a:off x="2119735" y="0"/>
            <a:ext cx="1658931" cy="6858000"/>
          </a:xfrm>
          <a:custGeom>
            <a:avLst/>
            <a:gdLst>
              <a:gd name="connsiteX0" fmla="*/ 0 w 5239657"/>
              <a:gd name="connsiteY0" fmla="*/ 0 h 6858000"/>
              <a:gd name="connsiteX1" fmla="*/ 3580726 w 5239657"/>
              <a:gd name="connsiteY1" fmla="*/ 0 h 6858000"/>
              <a:gd name="connsiteX2" fmla="*/ 3647179 w 5239657"/>
              <a:gd name="connsiteY2" fmla="*/ 52222 h 6858000"/>
              <a:gd name="connsiteX3" fmla="*/ 5239657 w 5239657"/>
              <a:gd name="connsiteY3" fmla="*/ 3429000 h 6858000"/>
              <a:gd name="connsiteX4" fmla="*/ 3647179 w 5239657"/>
              <a:gd name="connsiteY4" fmla="*/ 6805779 h 6858000"/>
              <a:gd name="connsiteX5" fmla="*/ 3580726 w 5239657"/>
              <a:gd name="connsiteY5" fmla="*/ 6858000 h 6858000"/>
              <a:gd name="connsiteX6" fmla="*/ 0 w 5239657"/>
              <a:gd name="connsiteY6" fmla="*/ 6858000 h 6858000"/>
              <a:gd name="connsiteX0" fmla="*/ 0 w 5239657"/>
              <a:gd name="connsiteY0" fmla="*/ 0 h 6858000"/>
              <a:gd name="connsiteX1" fmla="*/ 3580726 w 5239657"/>
              <a:gd name="connsiteY1" fmla="*/ 0 h 6858000"/>
              <a:gd name="connsiteX2" fmla="*/ 3647179 w 5239657"/>
              <a:gd name="connsiteY2" fmla="*/ 52222 h 6858000"/>
              <a:gd name="connsiteX3" fmla="*/ 5239657 w 5239657"/>
              <a:gd name="connsiteY3" fmla="*/ 3429000 h 6858000"/>
              <a:gd name="connsiteX4" fmla="*/ 3647179 w 5239657"/>
              <a:gd name="connsiteY4" fmla="*/ 6805779 h 6858000"/>
              <a:gd name="connsiteX5" fmla="*/ 3580726 w 5239657"/>
              <a:gd name="connsiteY5" fmla="*/ 6858000 h 6858000"/>
              <a:gd name="connsiteX6" fmla="*/ 0 w 5239657"/>
              <a:gd name="connsiteY6" fmla="*/ 6858000 h 6858000"/>
              <a:gd name="connsiteX7" fmla="*/ 91440 w 5239657"/>
              <a:gd name="connsiteY7" fmla="*/ 91440 h 6858000"/>
              <a:gd name="connsiteX0" fmla="*/ 0 w 5239657"/>
              <a:gd name="connsiteY0" fmla="*/ 0 h 6858000"/>
              <a:gd name="connsiteX1" fmla="*/ 3580726 w 5239657"/>
              <a:gd name="connsiteY1" fmla="*/ 0 h 6858000"/>
              <a:gd name="connsiteX2" fmla="*/ 3647179 w 5239657"/>
              <a:gd name="connsiteY2" fmla="*/ 52222 h 6858000"/>
              <a:gd name="connsiteX3" fmla="*/ 5239657 w 5239657"/>
              <a:gd name="connsiteY3" fmla="*/ 3429000 h 6858000"/>
              <a:gd name="connsiteX4" fmla="*/ 3647179 w 5239657"/>
              <a:gd name="connsiteY4" fmla="*/ 6805779 h 6858000"/>
              <a:gd name="connsiteX5" fmla="*/ 3580726 w 5239657"/>
              <a:gd name="connsiteY5" fmla="*/ 6858000 h 6858000"/>
              <a:gd name="connsiteX6" fmla="*/ 0 w 5239657"/>
              <a:gd name="connsiteY6" fmla="*/ 6858000 h 6858000"/>
              <a:gd name="connsiteX0" fmla="*/ 3580726 w 5239657"/>
              <a:gd name="connsiteY0" fmla="*/ 0 h 6858000"/>
              <a:gd name="connsiteX1" fmla="*/ 3647179 w 5239657"/>
              <a:gd name="connsiteY1" fmla="*/ 52222 h 6858000"/>
              <a:gd name="connsiteX2" fmla="*/ 5239657 w 5239657"/>
              <a:gd name="connsiteY2" fmla="*/ 3429000 h 6858000"/>
              <a:gd name="connsiteX3" fmla="*/ 3647179 w 5239657"/>
              <a:gd name="connsiteY3" fmla="*/ 6805779 h 6858000"/>
              <a:gd name="connsiteX4" fmla="*/ 3580726 w 5239657"/>
              <a:gd name="connsiteY4" fmla="*/ 6858000 h 6858000"/>
              <a:gd name="connsiteX5" fmla="*/ 0 w 5239657"/>
              <a:gd name="connsiteY5" fmla="*/ 6858000 h 6858000"/>
              <a:gd name="connsiteX0" fmla="*/ 0 w 1658931"/>
              <a:gd name="connsiteY0" fmla="*/ 0 h 6858000"/>
              <a:gd name="connsiteX1" fmla="*/ 66453 w 1658931"/>
              <a:gd name="connsiteY1" fmla="*/ 52222 h 6858000"/>
              <a:gd name="connsiteX2" fmla="*/ 1658931 w 1658931"/>
              <a:gd name="connsiteY2" fmla="*/ 3429000 h 6858000"/>
              <a:gd name="connsiteX3" fmla="*/ 66453 w 1658931"/>
              <a:gd name="connsiteY3" fmla="*/ 6805779 h 6858000"/>
              <a:gd name="connsiteX4" fmla="*/ 0 w 1658931"/>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58931" h="6858000">
                <a:moveTo>
                  <a:pt x="0" y="0"/>
                </a:moveTo>
                <a:lnTo>
                  <a:pt x="66453" y="52222"/>
                </a:lnTo>
                <a:cubicBezTo>
                  <a:pt x="1039020" y="854855"/>
                  <a:pt x="1658931" y="2069533"/>
                  <a:pt x="1658931" y="3429000"/>
                </a:cubicBezTo>
                <a:cubicBezTo>
                  <a:pt x="1658931" y="4788467"/>
                  <a:pt x="1039020" y="6003146"/>
                  <a:pt x="66453" y="6805779"/>
                </a:cubicBezTo>
                <a:lnTo>
                  <a:pt x="0" y="6858000"/>
                </a:lnTo>
              </a:path>
            </a:pathLst>
          </a:custGeom>
          <a:no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l"/>
            <a:endParaRPr lang="zh-CN" altLang="en-US" sz="1600">
              <a:solidFill>
                <a:schemeClr val="bg1"/>
              </a:solidFill>
              <a:latin typeface="+mj-ea"/>
              <a:ea typeface="+mj-ea"/>
            </a:endParaRPr>
          </a:p>
        </p:txBody>
      </p:sp>
      <p:cxnSp>
        <p:nvCxnSpPr>
          <p:cNvPr id="8" name="直接连接符 7">
            <a:extLst>
              <a:ext uri="{FF2B5EF4-FFF2-40B4-BE49-F238E27FC236}">
                <a16:creationId xmlns:a16="http://schemas.microsoft.com/office/drawing/2014/main" id="{AA0D3796-643B-431E-97EA-6114CCA43D8B}"/>
              </a:ext>
            </a:extLst>
          </p:cNvPr>
          <p:cNvCxnSpPr>
            <a:cxnSpLocks/>
          </p:cNvCxnSpPr>
          <p:nvPr/>
        </p:nvCxnSpPr>
        <p:spPr>
          <a:xfrm>
            <a:off x="3778666" y="3429000"/>
            <a:ext cx="8413334" cy="0"/>
          </a:xfrm>
          <a:prstGeom prst="line">
            <a:avLst/>
          </a:prstGeom>
          <a:no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cxnSp>
      <p:sp>
        <p:nvSpPr>
          <p:cNvPr id="11" name="文本框 10">
            <a:extLst>
              <a:ext uri="{FF2B5EF4-FFF2-40B4-BE49-F238E27FC236}">
                <a16:creationId xmlns:a16="http://schemas.microsoft.com/office/drawing/2014/main" id="{F610074B-F781-428D-A0B0-851716B3412F}"/>
              </a:ext>
            </a:extLst>
          </p:cNvPr>
          <p:cNvSpPr txBox="1"/>
          <p:nvPr/>
        </p:nvSpPr>
        <p:spPr>
          <a:xfrm>
            <a:off x="698545" y="2813447"/>
            <a:ext cx="2051844" cy="1231106"/>
          </a:xfrm>
          <a:prstGeom prst="rect">
            <a:avLst/>
          </a:prstGeom>
          <a:noFill/>
        </p:spPr>
        <p:txBody>
          <a:bodyPr wrap="none" lIns="0" tIns="0" rIns="0" bIns="0" rtlCol="0" anchor="t">
            <a:spAutoFit/>
          </a:bodyPr>
          <a:lstStyle/>
          <a:p>
            <a:pPr algn="l"/>
            <a:r>
              <a:rPr lang="zh-CN" altLang="en-US" sz="4000" dirty="0">
                <a:solidFill>
                  <a:schemeClr val="accent1"/>
                </a:solidFill>
                <a:latin typeface="+mj-ea"/>
                <a:ea typeface="+mj-ea"/>
              </a:rPr>
              <a:t>公司发展</a:t>
            </a:r>
            <a:endParaRPr lang="en-US" altLang="zh-CN" sz="4000" dirty="0">
              <a:solidFill>
                <a:schemeClr val="accent1"/>
              </a:solidFill>
              <a:latin typeface="+mj-ea"/>
              <a:ea typeface="+mj-ea"/>
            </a:endParaRPr>
          </a:p>
          <a:p>
            <a:pPr algn="l"/>
            <a:r>
              <a:rPr lang="zh-CN" altLang="en-US" sz="4000" dirty="0">
                <a:solidFill>
                  <a:schemeClr val="accent1"/>
                </a:solidFill>
                <a:latin typeface="+mj-ea"/>
                <a:ea typeface="+mj-ea"/>
              </a:rPr>
              <a:t>大事记</a:t>
            </a:r>
          </a:p>
        </p:txBody>
      </p:sp>
      <p:sp>
        <p:nvSpPr>
          <p:cNvPr id="29" name="椭圆 28">
            <a:extLst>
              <a:ext uri="{FF2B5EF4-FFF2-40B4-BE49-F238E27FC236}">
                <a16:creationId xmlns:a16="http://schemas.microsoft.com/office/drawing/2014/main" id="{1DE3670D-17D2-451B-A724-ACF1B93BF9E5}"/>
              </a:ext>
            </a:extLst>
          </p:cNvPr>
          <p:cNvSpPr/>
          <p:nvPr/>
        </p:nvSpPr>
        <p:spPr>
          <a:xfrm>
            <a:off x="4815655" y="3372904"/>
            <a:ext cx="135813" cy="135813"/>
          </a:xfrm>
          <a:prstGeom prst="ellipse">
            <a:avLst/>
          </a:prstGeom>
          <a:solidFill>
            <a:schemeClr val="bg1"/>
          </a:solidFill>
          <a:ln w="41275">
            <a:solidFill>
              <a:schemeClr val="accent1"/>
            </a:solidFill>
          </a:ln>
          <a:effectLst>
            <a:outerShdw blurRad="127000" sx="102000" sy="102000" algn="ctr" rotWithShape="0">
              <a:schemeClr val="accent1">
                <a:lumMod val="90000"/>
                <a:lumOff val="10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13" name="椭圆 12">
            <a:extLst>
              <a:ext uri="{FF2B5EF4-FFF2-40B4-BE49-F238E27FC236}">
                <a16:creationId xmlns:a16="http://schemas.microsoft.com/office/drawing/2014/main" id="{E211A8D2-5E92-4F58-96BD-E64F184F79D5}"/>
              </a:ext>
            </a:extLst>
          </p:cNvPr>
          <p:cNvSpPr/>
          <p:nvPr/>
        </p:nvSpPr>
        <p:spPr>
          <a:xfrm>
            <a:off x="4477179" y="2407065"/>
            <a:ext cx="812764" cy="812764"/>
          </a:xfrm>
          <a:prstGeom prst="ellipse">
            <a:avLst/>
          </a:prstGeom>
          <a:no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37" name="文本框 36">
            <a:extLst>
              <a:ext uri="{FF2B5EF4-FFF2-40B4-BE49-F238E27FC236}">
                <a16:creationId xmlns:a16="http://schemas.microsoft.com/office/drawing/2014/main" id="{23A36317-EC7B-4130-B831-C797895D7D4A}"/>
              </a:ext>
            </a:extLst>
          </p:cNvPr>
          <p:cNvSpPr txBox="1"/>
          <p:nvPr/>
        </p:nvSpPr>
        <p:spPr>
          <a:xfrm>
            <a:off x="4433758" y="3673410"/>
            <a:ext cx="899606" cy="400110"/>
          </a:xfrm>
          <a:prstGeom prst="rect">
            <a:avLst/>
          </a:prstGeom>
          <a:noFill/>
        </p:spPr>
        <p:txBody>
          <a:bodyPr wrap="none" rtlCol="0">
            <a:spAutoFit/>
          </a:bodyPr>
          <a:lstStyle/>
          <a:p>
            <a:pPr algn="ctr"/>
            <a:r>
              <a:rPr lang="en-US" altLang="zh-CN" sz="2000" dirty="0">
                <a:solidFill>
                  <a:schemeClr val="accent1"/>
                </a:solidFill>
                <a:latin typeface="+mj-ea"/>
                <a:ea typeface="+mj-ea"/>
              </a:rPr>
              <a:t>20XX</a:t>
            </a:r>
            <a:endParaRPr lang="zh-CN" altLang="en-US" sz="2000" dirty="0">
              <a:solidFill>
                <a:schemeClr val="accent1"/>
              </a:solidFill>
              <a:latin typeface="+mj-ea"/>
              <a:ea typeface="+mj-ea"/>
            </a:endParaRPr>
          </a:p>
        </p:txBody>
      </p:sp>
      <p:sp>
        <p:nvSpPr>
          <p:cNvPr id="38" name="文本框 37">
            <a:extLst>
              <a:ext uri="{FF2B5EF4-FFF2-40B4-BE49-F238E27FC236}">
                <a16:creationId xmlns:a16="http://schemas.microsoft.com/office/drawing/2014/main" id="{BAFCDDF5-B3F5-4774-9776-D5542339523B}"/>
              </a:ext>
            </a:extLst>
          </p:cNvPr>
          <p:cNvSpPr txBox="1"/>
          <p:nvPr/>
        </p:nvSpPr>
        <p:spPr>
          <a:xfrm>
            <a:off x="3765307" y="4456191"/>
            <a:ext cx="2236509" cy="600164"/>
          </a:xfrm>
          <a:prstGeom prst="rect">
            <a:avLst/>
          </a:prstGeom>
          <a:noFill/>
        </p:spPr>
        <p:txBody>
          <a:bodyPr wrap="square" rtlCol="0">
            <a:spAutoFit/>
          </a:bodyPr>
          <a:lstStyle/>
          <a:p>
            <a:pPr algn="ctr"/>
            <a:r>
              <a:rPr lang="en-US" altLang="zh-CN" sz="1100" dirty="0"/>
              <a:t>Lorem ipsum dolor sit amet consectetur adipisicing elit sed do eiusmod tempor</a:t>
            </a:r>
            <a:endParaRPr lang="zh-CN" altLang="en-US" sz="1100" dirty="0"/>
          </a:p>
        </p:txBody>
      </p:sp>
      <p:sp>
        <p:nvSpPr>
          <p:cNvPr id="43" name="文本框 42">
            <a:extLst>
              <a:ext uri="{FF2B5EF4-FFF2-40B4-BE49-F238E27FC236}">
                <a16:creationId xmlns:a16="http://schemas.microsoft.com/office/drawing/2014/main" id="{7EB21076-58F6-4DBF-BD82-A5F38347037D}"/>
              </a:ext>
            </a:extLst>
          </p:cNvPr>
          <p:cNvSpPr txBox="1"/>
          <p:nvPr/>
        </p:nvSpPr>
        <p:spPr>
          <a:xfrm>
            <a:off x="4150027" y="4073520"/>
            <a:ext cx="1467069" cy="400110"/>
          </a:xfrm>
          <a:prstGeom prst="rect">
            <a:avLst/>
          </a:prstGeom>
          <a:noFill/>
        </p:spPr>
        <p:txBody>
          <a:bodyPr wrap="none" rtlCol="0">
            <a:spAutoFit/>
          </a:bodyPr>
          <a:lstStyle/>
          <a:p>
            <a:pPr algn="ctr"/>
            <a:r>
              <a:rPr lang="zh-CN" altLang="en-US" sz="2000" dirty="0">
                <a:solidFill>
                  <a:schemeClr val="accent1"/>
                </a:solidFill>
                <a:latin typeface="+mj-ea"/>
                <a:ea typeface="+mj-ea"/>
              </a:rPr>
              <a:t>关键词标题</a:t>
            </a:r>
          </a:p>
        </p:txBody>
      </p:sp>
      <p:sp>
        <p:nvSpPr>
          <p:cNvPr id="72" name="椭圆 71">
            <a:extLst>
              <a:ext uri="{FF2B5EF4-FFF2-40B4-BE49-F238E27FC236}">
                <a16:creationId xmlns:a16="http://schemas.microsoft.com/office/drawing/2014/main" id="{BF7FBB20-2E29-4D2A-BDBF-4FD6E0737751}"/>
              </a:ext>
            </a:extLst>
          </p:cNvPr>
          <p:cNvSpPr/>
          <p:nvPr/>
        </p:nvSpPr>
        <p:spPr>
          <a:xfrm>
            <a:off x="7661269" y="3372904"/>
            <a:ext cx="135813" cy="135813"/>
          </a:xfrm>
          <a:prstGeom prst="ellipse">
            <a:avLst/>
          </a:prstGeom>
          <a:solidFill>
            <a:schemeClr val="bg1"/>
          </a:solidFill>
          <a:ln w="41275">
            <a:solidFill>
              <a:schemeClr val="accent1"/>
            </a:solidFill>
          </a:ln>
          <a:effectLst>
            <a:outerShdw blurRad="127000" sx="102000" sy="102000" algn="ctr" rotWithShape="0">
              <a:schemeClr val="accent1">
                <a:lumMod val="90000"/>
                <a:lumOff val="10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73" name="椭圆 72">
            <a:extLst>
              <a:ext uri="{FF2B5EF4-FFF2-40B4-BE49-F238E27FC236}">
                <a16:creationId xmlns:a16="http://schemas.microsoft.com/office/drawing/2014/main" id="{1F479585-F23E-4281-98E4-403657E404DC}"/>
              </a:ext>
            </a:extLst>
          </p:cNvPr>
          <p:cNvSpPr/>
          <p:nvPr/>
        </p:nvSpPr>
        <p:spPr>
          <a:xfrm>
            <a:off x="7322793" y="2407065"/>
            <a:ext cx="812764" cy="812764"/>
          </a:xfrm>
          <a:prstGeom prst="ellipse">
            <a:avLst/>
          </a:prstGeom>
          <a:no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74" name="文本框 73">
            <a:extLst>
              <a:ext uri="{FF2B5EF4-FFF2-40B4-BE49-F238E27FC236}">
                <a16:creationId xmlns:a16="http://schemas.microsoft.com/office/drawing/2014/main" id="{09DCA5DA-8F4B-4CFB-8F7D-C3A8B5B8BF24}"/>
              </a:ext>
            </a:extLst>
          </p:cNvPr>
          <p:cNvSpPr txBox="1"/>
          <p:nvPr/>
        </p:nvSpPr>
        <p:spPr>
          <a:xfrm>
            <a:off x="7279372" y="3673410"/>
            <a:ext cx="899606" cy="400110"/>
          </a:xfrm>
          <a:prstGeom prst="rect">
            <a:avLst/>
          </a:prstGeom>
          <a:noFill/>
        </p:spPr>
        <p:txBody>
          <a:bodyPr wrap="none" rtlCol="0">
            <a:spAutoFit/>
          </a:bodyPr>
          <a:lstStyle/>
          <a:p>
            <a:pPr algn="ctr"/>
            <a:r>
              <a:rPr lang="en-US" altLang="zh-CN" sz="2000" dirty="0">
                <a:solidFill>
                  <a:schemeClr val="accent1"/>
                </a:solidFill>
                <a:latin typeface="+mj-ea"/>
                <a:ea typeface="+mj-ea"/>
              </a:rPr>
              <a:t>20XX</a:t>
            </a:r>
            <a:endParaRPr lang="zh-CN" altLang="en-US" sz="2000" dirty="0">
              <a:solidFill>
                <a:schemeClr val="accent1"/>
              </a:solidFill>
              <a:latin typeface="+mj-ea"/>
              <a:ea typeface="+mj-ea"/>
            </a:endParaRPr>
          </a:p>
        </p:txBody>
      </p:sp>
      <p:sp>
        <p:nvSpPr>
          <p:cNvPr id="75" name="文本框 74">
            <a:extLst>
              <a:ext uri="{FF2B5EF4-FFF2-40B4-BE49-F238E27FC236}">
                <a16:creationId xmlns:a16="http://schemas.microsoft.com/office/drawing/2014/main" id="{599C9B7D-472C-455E-ABB8-3500B0319044}"/>
              </a:ext>
            </a:extLst>
          </p:cNvPr>
          <p:cNvSpPr txBox="1"/>
          <p:nvPr/>
        </p:nvSpPr>
        <p:spPr>
          <a:xfrm>
            <a:off x="6610921" y="4456191"/>
            <a:ext cx="2236509" cy="600164"/>
          </a:xfrm>
          <a:prstGeom prst="rect">
            <a:avLst/>
          </a:prstGeom>
          <a:noFill/>
        </p:spPr>
        <p:txBody>
          <a:bodyPr wrap="square" rtlCol="0">
            <a:spAutoFit/>
          </a:bodyPr>
          <a:lstStyle/>
          <a:p>
            <a:pPr algn="ctr"/>
            <a:r>
              <a:rPr lang="en-US" altLang="zh-CN" sz="1100" dirty="0"/>
              <a:t>Lorem ipsum dolor sit amet consectetur adipisicing elit sed do eiusmod tempor</a:t>
            </a:r>
            <a:endParaRPr lang="zh-CN" altLang="en-US" sz="1100" dirty="0"/>
          </a:p>
        </p:txBody>
      </p:sp>
      <p:sp>
        <p:nvSpPr>
          <p:cNvPr id="76" name="文本框 75">
            <a:extLst>
              <a:ext uri="{FF2B5EF4-FFF2-40B4-BE49-F238E27FC236}">
                <a16:creationId xmlns:a16="http://schemas.microsoft.com/office/drawing/2014/main" id="{232A62C7-A340-4CF9-9262-BCDC41B6C47E}"/>
              </a:ext>
            </a:extLst>
          </p:cNvPr>
          <p:cNvSpPr txBox="1"/>
          <p:nvPr/>
        </p:nvSpPr>
        <p:spPr>
          <a:xfrm>
            <a:off x="6995641" y="4073520"/>
            <a:ext cx="1467069" cy="400110"/>
          </a:xfrm>
          <a:prstGeom prst="rect">
            <a:avLst/>
          </a:prstGeom>
          <a:noFill/>
        </p:spPr>
        <p:txBody>
          <a:bodyPr wrap="none" rtlCol="0">
            <a:spAutoFit/>
          </a:bodyPr>
          <a:lstStyle/>
          <a:p>
            <a:pPr algn="ctr"/>
            <a:r>
              <a:rPr lang="zh-CN" altLang="en-US" sz="2000" dirty="0">
                <a:solidFill>
                  <a:schemeClr val="accent1"/>
                </a:solidFill>
                <a:latin typeface="+mj-ea"/>
                <a:ea typeface="+mj-ea"/>
              </a:rPr>
              <a:t>关键词标题</a:t>
            </a:r>
          </a:p>
        </p:txBody>
      </p:sp>
      <p:sp>
        <p:nvSpPr>
          <p:cNvPr id="78" name="椭圆 77">
            <a:extLst>
              <a:ext uri="{FF2B5EF4-FFF2-40B4-BE49-F238E27FC236}">
                <a16:creationId xmlns:a16="http://schemas.microsoft.com/office/drawing/2014/main" id="{35AAC63A-18B2-4FD6-9F21-99F0C477831B}"/>
              </a:ext>
            </a:extLst>
          </p:cNvPr>
          <p:cNvSpPr/>
          <p:nvPr/>
        </p:nvSpPr>
        <p:spPr>
          <a:xfrm>
            <a:off x="10506884" y="3372904"/>
            <a:ext cx="135813" cy="135813"/>
          </a:xfrm>
          <a:prstGeom prst="ellipse">
            <a:avLst/>
          </a:prstGeom>
          <a:solidFill>
            <a:schemeClr val="bg1"/>
          </a:solidFill>
          <a:ln w="41275">
            <a:solidFill>
              <a:schemeClr val="accent1"/>
            </a:solidFill>
          </a:ln>
          <a:effectLst>
            <a:outerShdw blurRad="127000" sx="102000" sy="102000" algn="ctr" rotWithShape="0">
              <a:schemeClr val="accent1">
                <a:lumMod val="90000"/>
                <a:lumOff val="10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79" name="椭圆 78">
            <a:extLst>
              <a:ext uri="{FF2B5EF4-FFF2-40B4-BE49-F238E27FC236}">
                <a16:creationId xmlns:a16="http://schemas.microsoft.com/office/drawing/2014/main" id="{5E358443-5BCE-4F3D-952B-A03FA4E9A294}"/>
              </a:ext>
            </a:extLst>
          </p:cNvPr>
          <p:cNvSpPr/>
          <p:nvPr/>
        </p:nvSpPr>
        <p:spPr>
          <a:xfrm>
            <a:off x="10168408" y="2407065"/>
            <a:ext cx="812764" cy="812764"/>
          </a:xfrm>
          <a:prstGeom prst="ellipse">
            <a:avLst/>
          </a:prstGeom>
          <a:no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80" name="文本框 79">
            <a:extLst>
              <a:ext uri="{FF2B5EF4-FFF2-40B4-BE49-F238E27FC236}">
                <a16:creationId xmlns:a16="http://schemas.microsoft.com/office/drawing/2014/main" id="{51104E3D-FAF2-478C-B18B-C8319BA82C75}"/>
              </a:ext>
            </a:extLst>
          </p:cNvPr>
          <p:cNvSpPr txBox="1"/>
          <p:nvPr/>
        </p:nvSpPr>
        <p:spPr>
          <a:xfrm>
            <a:off x="10124987" y="3673410"/>
            <a:ext cx="899606" cy="400110"/>
          </a:xfrm>
          <a:prstGeom prst="rect">
            <a:avLst/>
          </a:prstGeom>
          <a:noFill/>
        </p:spPr>
        <p:txBody>
          <a:bodyPr wrap="none" rtlCol="0">
            <a:spAutoFit/>
          </a:bodyPr>
          <a:lstStyle/>
          <a:p>
            <a:pPr algn="ctr"/>
            <a:r>
              <a:rPr lang="en-US" altLang="zh-CN" sz="2000" dirty="0">
                <a:solidFill>
                  <a:schemeClr val="accent1"/>
                </a:solidFill>
                <a:latin typeface="+mj-ea"/>
                <a:ea typeface="+mj-ea"/>
              </a:rPr>
              <a:t>20XX</a:t>
            </a:r>
            <a:endParaRPr lang="zh-CN" altLang="en-US" sz="2000" dirty="0">
              <a:solidFill>
                <a:schemeClr val="accent1"/>
              </a:solidFill>
              <a:latin typeface="+mj-ea"/>
              <a:ea typeface="+mj-ea"/>
            </a:endParaRPr>
          </a:p>
        </p:txBody>
      </p:sp>
      <p:sp>
        <p:nvSpPr>
          <p:cNvPr id="81" name="文本框 80">
            <a:extLst>
              <a:ext uri="{FF2B5EF4-FFF2-40B4-BE49-F238E27FC236}">
                <a16:creationId xmlns:a16="http://schemas.microsoft.com/office/drawing/2014/main" id="{C6C8345C-FDDF-4B8D-8577-EA1675E3434E}"/>
              </a:ext>
            </a:extLst>
          </p:cNvPr>
          <p:cNvSpPr txBox="1"/>
          <p:nvPr/>
        </p:nvSpPr>
        <p:spPr>
          <a:xfrm>
            <a:off x="9456536" y="4456191"/>
            <a:ext cx="2236509" cy="600164"/>
          </a:xfrm>
          <a:prstGeom prst="rect">
            <a:avLst/>
          </a:prstGeom>
          <a:noFill/>
        </p:spPr>
        <p:txBody>
          <a:bodyPr wrap="square" rtlCol="0">
            <a:spAutoFit/>
          </a:bodyPr>
          <a:lstStyle/>
          <a:p>
            <a:pPr algn="ctr"/>
            <a:r>
              <a:rPr lang="en-US" altLang="zh-CN" sz="1100" dirty="0"/>
              <a:t>Lorem ipsum dolor sit amet consectetur adipisicing elit sed do eiusmod tempor</a:t>
            </a:r>
            <a:endParaRPr lang="zh-CN" altLang="en-US" sz="1100" dirty="0"/>
          </a:p>
        </p:txBody>
      </p:sp>
      <p:sp>
        <p:nvSpPr>
          <p:cNvPr id="82" name="文本框 81">
            <a:extLst>
              <a:ext uri="{FF2B5EF4-FFF2-40B4-BE49-F238E27FC236}">
                <a16:creationId xmlns:a16="http://schemas.microsoft.com/office/drawing/2014/main" id="{98434697-E784-4F47-9FC3-EC47BD8761D2}"/>
              </a:ext>
            </a:extLst>
          </p:cNvPr>
          <p:cNvSpPr txBox="1"/>
          <p:nvPr/>
        </p:nvSpPr>
        <p:spPr>
          <a:xfrm>
            <a:off x="9841256" y="4073520"/>
            <a:ext cx="1467069" cy="400110"/>
          </a:xfrm>
          <a:prstGeom prst="rect">
            <a:avLst/>
          </a:prstGeom>
          <a:noFill/>
        </p:spPr>
        <p:txBody>
          <a:bodyPr wrap="none" rtlCol="0">
            <a:spAutoFit/>
          </a:bodyPr>
          <a:lstStyle/>
          <a:p>
            <a:pPr algn="ctr"/>
            <a:r>
              <a:rPr lang="zh-CN" altLang="en-US" sz="2000" dirty="0">
                <a:solidFill>
                  <a:schemeClr val="accent1"/>
                </a:solidFill>
                <a:latin typeface="+mj-ea"/>
                <a:ea typeface="+mj-ea"/>
              </a:rPr>
              <a:t>关键词标题</a:t>
            </a:r>
          </a:p>
        </p:txBody>
      </p:sp>
      <p:sp>
        <p:nvSpPr>
          <p:cNvPr id="83" name="iconfont-1191-801512">
            <a:extLst>
              <a:ext uri="{FF2B5EF4-FFF2-40B4-BE49-F238E27FC236}">
                <a16:creationId xmlns:a16="http://schemas.microsoft.com/office/drawing/2014/main" id="{779772CC-3BE3-41C3-8969-5064EF5C31F6}"/>
              </a:ext>
            </a:extLst>
          </p:cNvPr>
          <p:cNvSpPr/>
          <p:nvPr/>
        </p:nvSpPr>
        <p:spPr>
          <a:xfrm>
            <a:off x="4703577" y="2638082"/>
            <a:ext cx="339911" cy="350729"/>
          </a:xfrm>
          <a:custGeom>
            <a:avLst/>
            <a:gdLst>
              <a:gd name="T0" fmla="*/ 40 w 7790"/>
              <a:gd name="T1" fmla="*/ 0 h 8036"/>
              <a:gd name="T2" fmla="*/ 3458 w 7790"/>
              <a:gd name="T3" fmla="*/ 0 h 8036"/>
              <a:gd name="T4" fmla="*/ 3458 w 7790"/>
              <a:gd name="T5" fmla="*/ 3418 h 8036"/>
              <a:gd name="T6" fmla="*/ 40 w 7790"/>
              <a:gd name="T7" fmla="*/ 3418 h 8036"/>
              <a:gd name="T8" fmla="*/ 40 w 7790"/>
              <a:gd name="T9" fmla="*/ 0 h 8036"/>
              <a:gd name="T10" fmla="*/ 7790 w 7790"/>
              <a:gd name="T11" fmla="*/ 1695 h 8036"/>
              <a:gd name="T12" fmla="*/ 6170 w 7790"/>
              <a:gd name="T13" fmla="*/ 103 h 8036"/>
              <a:gd name="T14" fmla="*/ 4577 w 7790"/>
              <a:gd name="T15" fmla="*/ 1723 h 8036"/>
              <a:gd name="T16" fmla="*/ 6198 w 7790"/>
              <a:gd name="T17" fmla="*/ 3316 h 8036"/>
              <a:gd name="T18" fmla="*/ 7790 w 7790"/>
              <a:gd name="T19" fmla="*/ 1695 h 8036"/>
              <a:gd name="T20" fmla="*/ 0 w 7790"/>
              <a:gd name="T21" fmla="*/ 4618 h 8036"/>
              <a:gd name="T22" fmla="*/ 3417 w 7790"/>
              <a:gd name="T23" fmla="*/ 4618 h 8036"/>
              <a:gd name="T24" fmla="*/ 3417 w 7790"/>
              <a:gd name="T25" fmla="*/ 8036 h 8036"/>
              <a:gd name="T26" fmla="*/ 0 w 7790"/>
              <a:gd name="T27" fmla="*/ 8036 h 8036"/>
              <a:gd name="T28" fmla="*/ 0 w 7790"/>
              <a:gd name="T29" fmla="*/ 4618 h 8036"/>
              <a:gd name="T30" fmla="*/ 4353 w 7790"/>
              <a:gd name="T31" fmla="*/ 4618 h 8036"/>
              <a:gd name="T32" fmla="*/ 7770 w 7790"/>
              <a:gd name="T33" fmla="*/ 4618 h 8036"/>
              <a:gd name="T34" fmla="*/ 7770 w 7790"/>
              <a:gd name="T35" fmla="*/ 8036 h 8036"/>
              <a:gd name="T36" fmla="*/ 4353 w 7790"/>
              <a:gd name="T37" fmla="*/ 8036 h 8036"/>
              <a:gd name="T38" fmla="*/ 4353 w 7790"/>
              <a:gd name="T39" fmla="*/ 4618 h 8036"/>
              <a:gd name="T40" fmla="*/ 4353 w 7790"/>
              <a:gd name="T41" fmla="*/ 4618 h 80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790" h="8036">
                <a:moveTo>
                  <a:pt x="40" y="0"/>
                </a:moveTo>
                <a:lnTo>
                  <a:pt x="3458" y="0"/>
                </a:lnTo>
                <a:lnTo>
                  <a:pt x="3458" y="3418"/>
                </a:lnTo>
                <a:lnTo>
                  <a:pt x="40" y="3418"/>
                </a:lnTo>
                <a:lnTo>
                  <a:pt x="40" y="0"/>
                </a:lnTo>
                <a:close/>
                <a:moveTo>
                  <a:pt x="7790" y="1695"/>
                </a:moveTo>
                <a:lnTo>
                  <a:pt x="6170" y="103"/>
                </a:lnTo>
                <a:lnTo>
                  <a:pt x="4577" y="1723"/>
                </a:lnTo>
                <a:lnTo>
                  <a:pt x="6198" y="3316"/>
                </a:lnTo>
                <a:lnTo>
                  <a:pt x="7790" y="1695"/>
                </a:lnTo>
                <a:close/>
                <a:moveTo>
                  <a:pt x="0" y="4618"/>
                </a:moveTo>
                <a:lnTo>
                  <a:pt x="3417" y="4618"/>
                </a:lnTo>
                <a:lnTo>
                  <a:pt x="3417" y="8036"/>
                </a:lnTo>
                <a:lnTo>
                  <a:pt x="0" y="8036"/>
                </a:lnTo>
                <a:lnTo>
                  <a:pt x="0" y="4618"/>
                </a:lnTo>
                <a:close/>
                <a:moveTo>
                  <a:pt x="4353" y="4618"/>
                </a:moveTo>
                <a:lnTo>
                  <a:pt x="7770" y="4618"/>
                </a:lnTo>
                <a:lnTo>
                  <a:pt x="7770" y="8036"/>
                </a:lnTo>
                <a:lnTo>
                  <a:pt x="4353" y="8036"/>
                </a:lnTo>
                <a:lnTo>
                  <a:pt x="4353" y="4618"/>
                </a:lnTo>
                <a:close/>
                <a:moveTo>
                  <a:pt x="4353" y="4618"/>
                </a:move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6" name="iconfont-1191-801512">
            <a:extLst>
              <a:ext uri="{FF2B5EF4-FFF2-40B4-BE49-F238E27FC236}">
                <a16:creationId xmlns:a16="http://schemas.microsoft.com/office/drawing/2014/main" id="{545295D2-63AD-41A7-82FD-A0ED72CA1691}"/>
              </a:ext>
            </a:extLst>
          </p:cNvPr>
          <p:cNvSpPr/>
          <p:nvPr/>
        </p:nvSpPr>
        <p:spPr>
          <a:xfrm>
            <a:off x="7590957" y="2638082"/>
            <a:ext cx="276436" cy="350729"/>
          </a:xfrm>
          <a:custGeom>
            <a:avLst/>
            <a:gdLst>
              <a:gd name="T0" fmla="*/ 3166 w 6332"/>
              <a:gd name="T1" fmla="*/ 0 h 8034"/>
              <a:gd name="T2" fmla="*/ 0 w 6332"/>
              <a:gd name="T3" fmla="*/ 3166 h 8034"/>
              <a:gd name="T4" fmla="*/ 2481 w 6332"/>
              <a:gd name="T5" fmla="*/ 7590 h 8034"/>
              <a:gd name="T6" fmla="*/ 3853 w 6332"/>
              <a:gd name="T7" fmla="*/ 7588 h 8034"/>
              <a:gd name="T8" fmla="*/ 6332 w 6332"/>
              <a:gd name="T9" fmla="*/ 3166 h 8034"/>
              <a:gd name="T10" fmla="*/ 3166 w 6332"/>
              <a:gd name="T11" fmla="*/ 0 h 8034"/>
              <a:gd name="T12" fmla="*/ 3166 w 6332"/>
              <a:gd name="T13" fmla="*/ 0 h 8034"/>
              <a:gd name="T14" fmla="*/ 3166 w 6332"/>
              <a:gd name="T15" fmla="*/ 0 h 8034"/>
              <a:gd name="T16" fmla="*/ 3166 w 6332"/>
              <a:gd name="T17" fmla="*/ 0 h 8034"/>
              <a:gd name="T18" fmla="*/ 3166 w 6332"/>
              <a:gd name="T19" fmla="*/ 4529 h 8034"/>
              <a:gd name="T20" fmla="*/ 1702 w 6332"/>
              <a:gd name="T21" fmla="*/ 3065 h 8034"/>
              <a:gd name="T22" fmla="*/ 3166 w 6332"/>
              <a:gd name="T23" fmla="*/ 1600 h 8034"/>
              <a:gd name="T24" fmla="*/ 4630 w 6332"/>
              <a:gd name="T25" fmla="*/ 3065 h 8034"/>
              <a:gd name="T26" fmla="*/ 3166 w 6332"/>
              <a:gd name="T27" fmla="*/ 4529 h 8034"/>
              <a:gd name="T28" fmla="*/ 3166 w 6332"/>
              <a:gd name="T29" fmla="*/ 4529 h 8034"/>
              <a:gd name="T30" fmla="*/ 3166 w 6332"/>
              <a:gd name="T31" fmla="*/ 4529 h 8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332" h="8034">
                <a:moveTo>
                  <a:pt x="3166" y="0"/>
                </a:moveTo>
                <a:cubicBezTo>
                  <a:pt x="1418" y="0"/>
                  <a:pt x="0" y="1418"/>
                  <a:pt x="0" y="3166"/>
                </a:cubicBezTo>
                <a:cubicBezTo>
                  <a:pt x="0" y="4914"/>
                  <a:pt x="2481" y="7590"/>
                  <a:pt x="2481" y="7590"/>
                </a:cubicBezTo>
                <a:cubicBezTo>
                  <a:pt x="2859" y="8031"/>
                  <a:pt x="3478" y="8034"/>
                  <a:pt x="3853" y="7588"/>
                </a:cubicBezTo>
                <a:cubicBezTo>
                  <a:pt x="3853" y="7588"/>
                  <a:pt x="6332" y="4914"/>
                  <a:pt x="6332" y="3166"/>
                </a:cubicBezTo>
                <a:cubicBezTo>
                  <a:pt x="6332" y="1418"/>
                  <a:pt x="4914" y="0"/>
                  <a:pt x="3166" y="0"/>
                </a:cubicBezTo>
                <a:lnTo>
                  <a:pt x="3166" y="0"/>
                </a:lnTo>
                <a:lnTo>
                  <a:pt x="3166" y="0"/>
                </a:lnTo>
                <a:lnTo>
                  <a:pt x="3166" y="0"/>
                </a:lnTo>
                <a:close/>
                <a:moveTo>
                  <a:pt x="3166" y="4529"/>
                </a:moveTo>
                <a:cubicBezTo>
                  <a:pt x="2357" y="4529"/>
                  <a:pt x="1702" y="3874"/>
                  <a:pt x="1702" y="3065"/>
                </a:cubicBezTo>
                <a:cubicBezTo>
                  <a:pt x="1702" y="2256"/>
                  <a:pt x="2357" y="1600"/>
                  <a:pt x="3166" y="1600"/>
                </a:cubicBezTo>
                <a:cubicBezTo>
                  <a:pt x="3975" y="1600"/>
                  <a:pt x="4630" y="2256"/>
                  <a:pt x="4630" y="3065"/>
                </a:cubicBezTo>
                <a:cubicBezTo>
                  <a:pt x="4630" y="3874"/>
                  <a:pt x="3975" y="4529"/>
                  <a:pt x="3166" y="4529"/>
                </a:cubicBezTo>
                <a:lnTo>
                  <a:pt x="3166" y="4529"/>
                </a:lnTo>
                <a:close/>
                <a:moveTo>
                  <a:pt x="3166" y="4529"/>
                </a:move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sp>
        <p:nvSpPr>
          <p:cNvPr id="88" name="iconfont-1191-801512">
            <a:extLst>
              <a:ext uri="{FF2B5EF4-FFF2-40B4-BE49-F238E27FC236}">
                <a16:creationId xmlns:a16="http://schemas.microsoft.com/office/drawing/2014/main" id="{EF5FC7FE-762B-49A4-8829-FDDEE96CFCFA}"/>
              </a:ext>
            </a:extLst>
          </p:cNvPr>
          <p:cNvSpPr/>
          <p:nvPr/>
        </p:nvSpPr>
        <p:spPr>
          <a:xfrm>
            <a:off x="10399426" y="2644331"/>
            <a:ext cx="350729" cy="338231"/>
          </a:xfrm>
          <a:custGeom>
            <a:avLst/>
            <a:gdLst>
              <a:gd name="T0" fmla="*/ 11888 w 12803"/>
              <a:gd name="T1" fmla="*/ 0 h 12345"/>
              <a:gd name="T2" fmla="*/ 914 w 12803"/>
              <a:gd name="T3" fmla="*/ 0 h 12345"/>
              <a:gd name="T4" fmla="*/ 0 w 12803"/>
              <a:gd name="T5" fmla="*/ 914 h 12345"/>
              <a:gd name="T6" fmla="*/ 0 w 12803"/>
              <a:gd name="T7" fmla="*/ 8687 h 12345"/>
              <a:gd name="T8" fmla="*/ 914 w 12803"/>
              <a:gd name="T9" fmla="*/ 9602 h 12345"/>
              <a:gd name="T10" fmla="*/ 3201 w 12803"/>
              <a:gd name="T11" fmla="*/ 9602 h 12345"/>
              <a:gd name="T12" fmla="*/ 3201 w 12803"/>
              <a:gd name="T13" fmla="*/ 12345 h 12345"/>
              <a:gd name="T14" fmla="*/ 8230 w 12803"/>
              <a:gd name="T15" fmla="*/ 9602 h 12345"/>
              <a:gd name="T16" fmla="*/ 11888 w 12803"/>
              <a:gd name="T17" fmla="*/ 9602 h 12345"/>
              <a:gd name="T18" fmla="*/ 12803 w 12803"/>
              <a:gd name="T19" fmla="*/ 8687 h 12345"/>
              <a:gd name="T20" fmla="*/ 12803 w 12803"/>
              <a:gd name="T21" fmla="*/ 914 h 12345"/>
              <a:gd name="T22" fmla="*/ 11888 w 12803"/>
              <a:gd name="T23" fmla="*/ 0 h 12345"/>
              <a:gd name="T24" fmla="*/ 3201 w 12803"/>
              <a:gd name="T25" fmla="*/ 5487 h 12345"/>
              <a:gd name="T26" fmla="*/ 2286 w 12803"/>
              <a:gd name="T27" fmla="*/ 4572 h 12345"/>
              <a:gd name="T28" fmla="*/ 3201 w 12803"/>
              <a:gd name="T29" fmla="*/ 3658 h 12345"/>
              <a:gd name="T30" fmla="*/ 4115 w 12803"/>
              <a:gd name="T31" fmla="*/ 4572 h 12345"/>
              <a:gd name="T32" fmla="*/ 3201 w 12803"/>
              <a:gd name="T33" fmla="*/ 5487 h 12345"/>
              <a:gd name="T34" fmla="*/ 6401 w 12803"/>
              <a:gd name="T35" fmla="*/ 5487 h 12345"/>
              <a:gd name="T36" fmla="*/ 5487 w 12803"/>
              <a:gd name="T37" fmla="*/ 4572 h 12345"/>
              <a:gd name="T38" fmla="*/ 6401 w 12803"/>
              <a:gd name="T39" fmla="*/ 3658 h 12345"/>
              <a:gd name="T40" fmla="*/ 7316 w 12803"/>
              <a:gd name="T41" fmla="*/ 4572 h 12345"/>
              <a:gd name="T42" fmla="*/ 6401 w 12803"/>
              <a:gd name="T43" fmla="*/ 5487 h 12345"/>
              <a:gd name="T44" fmla="*/ 9602 w 12803"/>
              <a:gd name="T45" fmla="*/ 5487 h 12345"/>
              <a:gd name="T46" fmla="*/ 8687 w 12803"/>
              <a:gd name="T47" fmla="*/ 4572 h 12345"/>
              <a:gd name="T48" fmla="*/ 9602 w 12803"/>
              <a:gd name="T49" fmla="*/ 3658 h 12345"/>
              <a:gd name="T50" fmla="*/ 10516 w 12803"/>
              <a:gd name="T51" fmla="*/ 4572 h 12345"/>
              <a:gd name="T52" fmla="*/ 9602 w 12803"/>
              <a:gd name="T53" fmla="*/ 5487 h 12345"/>
              <a:gd name="T54" fmla="*/ 9602 w 12803"/>
              <a:gd name="T55" fmla="*/ 5487 h 123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2803" h="12345">
                <a:moveTo>
                  <a:pt x="11888" y="0"/>
                </a:moveTo>
                <a:lnTo>
                  <a:pt x="914" y="0"/>
                </a:lnTo>
                <a:cubicBezTo>
                  <a:pt x="409" y="0"/>
                  <a:pt x="0" y="409"/>
                  <a:pt x="0" y="914"/>
                </a:cubicBezTo>
                <a:lnTo>
                  <a:pt x="0" y="8687"/>
                </a:lnTo>
                <a:cubicBezTo>
                  <a:pt x="0" y="9193"/>
                  <a:pt x="409" y="9602"/>
                  <a:pt x="914" y="9602"/>
                </a:cubicBezTo>
                <a:lnTo>
                  <a:pt x="3201" y="9602"/>
                </a:lnTo>
                <a:lnTo>
                  <a:pt x="3201" y="12345"/>
                </a:lnTo>
                <a:lnTo>
                  <a:pt x="8230" y="9602"/>
                </a:lnTo>
                <a:lnTo>
                  <a:pt x="11888" y="9602"/>
                </a:lnTo>
                <a:cubicBezTo>
                  <a:pt x="12393" y="9602"/>
                  <a:pt x="12803" y="9193"/>
                  <a:pt x="12803" y="8687"/>
                </a:cubicBezTo>
                <a:lnTo>
                  <a:pt x="12803" y="914"/>
                </a:lnTo>
                <a:cubicBezTo>
                  <a:pt x="12803" y="409"/>
                  <a:pt x="12393" y="0"/>
                  <a:pt x="11888" y="0"/>
                </a:cubicBezTo>
                <a:close/>
                <a:moveTo>
                  <a:pt x="3201" y="5487"/>
                </a:moveTo>
                <a:cubicBezTo>
                  <a:pt x="2695" y="5487"/>
                  <a:pt x="2286" y="5077"/>
                  <a:pt x="2286" y="4572"/>
                </a:cubicBezTo>
                <a:cubicBezTo>
                  <a:pt x="2286" y="4067"/>
                  <a:pt x="2695" y="3658"/>
                  <a:pt x="3201" y="3658"/>
                </a:cubicBezTo>
                <a:cubicBezTo>
                  <a:pt x="3706" y="3658"/>
                  <a:pt x="4115" y="4067"/>
                  <a:pt x="4115" y="4572"/>
                </a:cubicBezTo>
                <a:cubicBezTo>
                  <a:pt x="4115" y="5077"/>
                  <a:pt x="3706" y="5487"/>
                  <a:pt x="3201" y="5487"/>
                </a:cubicBezTo>
                <a:close/>
                <a:moveTo>
                  <a:pt x="6401" y="5487"/>
                </a:moveTo>
                <a:cubicBezTo>
                  <a:pt x="5896" y="5487"/>
                  <a:pt x="5487" y="5077"/>
                  <a:pt x="5487" y="4572"/>
                </a:cubicBezTo>
                <a:cubicBezTo>
                  <a:pt x="5487" y="4067"/>
                  <a:pt x="5896" y="3658"/>
                  <a:pt x="6401" y="3658"/>
                </a:cubicBezTo>
                <a:cubicBezTo>
                  <a:pt x="6907" y="3658"/>
                  <a:pt x="7316" y="4067"/>
                  <a:pt x="7316" y="4572"/>
                </a:cubicBezTo>
                <a:cubicBezTo>
                  <a:pt x="7316" y="5077"/>
                  <a:pt x="6907" y="5487"/>
                  <a:pt x="6401" y="5487"/>
                </a:cubicBezTo>
                <a:close/>
                <a:moveTo>
                  <a:pt x="9602" y="5487"/>
                </a:moveTo>
                <a:cubicBezTo>
                  <a:pt x="9097" y="5487"/>
                  <a:pt x="8687" y="5077"/>
                  <a:pt x="8687" y="4572"/>
                </a:cubicBezTo>
                <a:cubicBezTo>
                  <a:pt x="8687" y="4067"/>
                  <a:pt x="9097" y="3658"/>
                  <a:pt x="9602" y="3658"/>
                </a:cubicBezTo>
                <a:cubicBezTo>
                  <a:pt x="10107" y="3658"/>
                  <a:pt x="10516" y="4067"/>
                  <a:pt x="10516" y="4572"/>
                </a:cubicBezTo>
                <a:cubicBezTo>
                  <a:pt x="10516" y="5077"/>
                  <a:pt x="10107" y="5487"/>
                  <a:pt x="9602" y="5487"/>
                </a:cubicBezTo>
                <a:close/>
                <a:moveTo>
                  <a:pt x="9602" y="5487"/>
                </a:move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spTree>
    <p:custDataLst>
      <p:tags r:id="rId2"/>
    </p:custDataLst>
    <p:extLst>
      <p:ext uri="{BB962C8B-B14F-4D97-AF65-F5344CB8AC3E}">
        <p14:creationId xmlns:p14="http://schemas.microsoft.com/office/powerpoint/2010/main" val="4065049186"/>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3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3" name="直接连接符 22">
            <a:extLst>
              <a:ext uri="{FF2B5EF4-FFF2-40B4-BE49-F238E27FC236}">
                <a16:creationId xmlns:a16="http://schemas.microsoft.com/office/drawing/2014/main" id="{56AFACD1-AE97-4B75-9FDB-C6563E5755BE}"/>
              </a:ext>
            </a:extLst>
          </p:cNvPr>
          <p:cNvCxnSpPr>
            <a:cxnSpLocks/>
          </p:cNvCxnSpPr>
          <p:nvPr/>
        </p:nvCxnSpPr>
        <p:spPr>
          <a:xfrm>
            <a:off x="0" y="6097814"/>
            <a:ext cx="12192000" cy="0"/>
          </a:xfrm>
          <a:prstGeom prst="line">
            <a:avLst/>
          </a:prstGeom>
          <a:no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cxnSp>
      <p:sp>
        <p:nvSpPr>
          <p:cNvPr id="3" name="弧形 2">
            <a:extLst>
              <a:ext uri="{FF2B5EF4-FFF2-40B4-BE49-F238E27FC236}">
                <a16:creationId xmlns:a16="http://schemas.microsoft.com/office/drawing/2014/main" id="{7A56E97A-71D9-4D8E-B5A5-BBB1433CD2FF}"/>
              </a:ext>
            </a:extLst>
          </p:cNvPr>
          <p:cNvSpPr/>
          <p:nvPr/>
        </p:nvSpPr>
        <p:spPr>
          <a:xfrm flipH="1">
            <a:off x="2560448" y="2271397"/>
            <a:ext cx="666750" cy="666750"/>
          </a:xfrm>
          <a:prstGeom prst="arc">
            <a:avLst/>
          </a:prstGeom>
          <a:no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5" name="直接连接符 4">
            <a:extLst>
              <a:ext uri="{FF2B5EF4-FFF2-40B4-BE49-F238E27FC236}">
                <a16:creationId xmlns:a16="http://schemas.microsoft.com/office/drawing/2014/main" id="{3A784C70-1258-4740-B7A6-5B659FC26AEA}"/>
              </a:ext>
            </a:extLst>
          </p:cNvPr>
          <p:cNvCxnSpPr>
            <a:cxnSpLocks/>
            <a:endCxn id="30" idx="0"/>
          </p:cNvCxnSpPr>
          <p:nvPr/>
        </p:nvCxnSpPr>
        <p:spPr>
          <a:xfrm>
            <a:off x="2560448" y="2604772"/>
            <a:ext cx="0" cy="3425135"/>
          </a:xfrm>
          <a:prstGeom prst="line">
            <a:avLst/>
          </a:prstGeom>
          <a:no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cxnSp>
      <p:sp>
        <p:nvSpPr>
          <p:cNvPr id="30" name="椭圆 29">
            <a:extLst>
              <a:ext uri="{FF2B5EF4-FFF2-40B4-BE49-F238E27FC236}">
                <a16:creationId xmlns:a16="http://schemas.microsoft.com/office/drawing/2014/main" id="{1F0B7DA1-3F65-4167-90A5-64B0E42AB3AC}"/>
              </a:ext>
            </a:extLst>
          </p:cNvPr>
          <p:cNvSpPr/>
          <p:nvPr/>
        </p:nvSpPr>
        <p:spPr>
          <a:xfrm>
            <a:off x="2492541" y="6029907"/>
            <a:ext cx="135813" cy="135813"/>
          </a:xfrm>
          <a:prstGeom prst="ellipse">
            <a:avLst/>
          </a:prstGeom>
          <a:solidFill>
            <a:schemeClr val="bg1"/>
          </a:solidFill>
          <a:ln w="3810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32" name="文本框 31">
            <a:extLst>
              <a:ext uri="{FF2B5EF4-FFF2-40B4-BE49-F238E27FC236}">
                <a16:creationId xmlns:a16="http://schemas.microsoft.com/office/drawing/2014/main" id="{1BCB95F0-9AAF-4753-B121-CE6F16F56DCF}"/>
              </a:ext>
            </a:extLst>
          </p:cNvPr>
          <p:cNvSpPr txBox="1"/>
          <p:nvPr/>
        </p:nvSpPr>
        <p:spPr>
          <a:xfrm>
            <a:off x="2986670" y="2450099"/>
            <a:ext cx="2236509" cy="600164"/>
          </a:xfrm>
          <a:prstGeom prst="rect">
            <a:avLst/>
          </a:prstGeom>
          <a:noFill/>
        </p:spPr>
        <p:txBody>
          <a:bodyPr wrap="square" rtlCol="0">
            <a:spAutoFit/>
          </a:bodyPr>
          <a:lstStyle/>
          <a:p>
            <a:r>
              <a:rPr lang="en-US" altLang="zh-CN" sz="1100" dirty="0"/>
              <a:t>Lorem ipsum dolor sit amet consectetur adipisicing elit sed do eiusmod tempor</a:t>
            </a:r>
            <a:endParaRPr lang="zh-CN" altLang="en-US" sz="1100" dirty="0"/>
          </a:p>
        </p:txBody>
      </p:sp>
      <p:sp>
        <p:nvSpPr>
          <p:cNvPr id="33" name="文本框 32">
            <a:extLst>
              <a:ext uri="{FF2B5EF4-FFF2-40B4-BE49-F238E27FC236}">
                <a16:creationId xmlns:a16="http://schemas.microsoft.com/office/drawing/2014/main" id="{B893BA3A-B24C-49E8-8A0A-437FCBB3C4D8}"/>
              </a:ext>
            </a:extLst>
          </p:cNvPr>
          <p:cNvSpPr txBox="1"/>
          <p:nvPr/>
        </p:nvSpPr>
        <p:spPr>
          <a:xfrm>
            <a:off x="2986670" y="2094860"/>
            <a:ext cx="1467069" cy="400110"/>
          </a:xfrm>
          <a:prstGeom prst="rect">
            <a:avLst/>
          </a:prstGeom>
          <a:noFill/>
        </p:spPr>
        <p:txBody>
          <a:bodyPr wrap="none" rtlCol="0">
            <a:spAutoFit/>
          </a:bodyPr>
          <a:lstStyle/>
          <a:p>
            <a:r>
              <a:rPr lang="zh-CN" altLang="en-US" sz="2000" dirty="0">
                <a:solidFill>
                  <a:schemeClr val="accent1"/>
                </a:solidFill>
                <a:latin typeface="+mj-ea"/>
                <a:ea typeface="+mj-ea"/>
              </a:rPr>
              <a:t>关键词标题</a:t>
            </a:r>
          </a:p>
        </p:txBody>
      </p:sp>
      <p:sp>
        <p:nvSpPr>
          <p:cNvPr id="34" name="椭圆 33">
            <a:extLst>
              <a:ext uri="{FF2B5EF4-FFF2-40B4-BE49-F238E27FC236}">
                <a16:creationId xmlns:a16="http://schemas.microsoft.com/office/drawing/2014/main" id="{11CF734F-A980-4D80-B1A7-F504022AE268}"/>
              </a:ext>
            </a:extLst>
          </p:cNvPr>
          <p:cNvSpPr/>
          <p:nvPr/>
        </p:nvSpPr>
        <p:spPr>
          <a:xfrm>
            <a:off x="2872392" y="2224973"/>
            <a:ext cx="92847" cy="92847"/>
          </a:xfrm>
          <a:prstGeom prst="ellipse">
            <a:avLst/>
          </a:prstGeom>
          <a:solidFill>
            <a:schemeClr val="bg1"/>
          </a:solidFill>
          <a:ln w="2540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35" name="弧形 34">
            <a:extLst>
              <a:ext uri="{FF2B5EF4-FFF2-40B4-BE49-F238E27FC236}">
                <a16:creationId xmlns:a16="http://schemas.microsoft.com/office/drawing/2014/main" id="{DE6EBC1F-9456-4171-806B-ABCD67F354CF}"/>
              </a:ext>
            </a:extLst>
          </p:cNvPr>
          <p:cNvSpPr/>
          <p:nvPr/>
        </p:nvSpPr>
        <p:spPr>
          <a:xfrm>
            <a:off x="1894670" y="3550633"/>
            <a:ext cx="666750" cy="666750"/>
          </a:xfrm>
          <a:prstGeom prst="arc">
            <a:avLst/>
          </a:prstGeom>
          <a:no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6" name="文本框 35">
            <a:extLst>
              <a:ext uri="{FF2B5EF4-FFF2-40B4-BE49-F238E27FC236}">
                <a16:creationId xmlns:a16="http://schemas.microsoft.com/office/drawing/2014/main" id="{DC0CD56B-9F14-4D25-B728-8A4790F45F46}"/>
              </a:ext>
            </a:extLst>
          </p:cNvPr>
          <p:cNvSpPr txBox="1"/>
          <p:nvPr/>
        </p:nvSpPr>
        <p:spPr>
          <a:xfrm>
            <a:off x="-88900" y="3742657"/>
            <a:ext cx="2236509" cy="600164"/>
          </a:xfrm>
          <a:prstGeom prst="rect">
            <a:avLst/>
          </a:prstGeom>
          <a:noFill/>
        </p:spPr>
        <p:txBody>
          <a:bodyPr wrap="square" rtlCol="0">
            <a:spAutoFit/>
          </a:bodyPr>
          <a:lstStyle/>
          <a:p>
            <a:pPr algn="r"/>
            <a:r>
              <a:rPr lang="en-US" altLang="zh-CN" sz="1100" dirty="0"/>
              <a:t>Lorem ipsum dolor sit amet consectetur adipisicing elit sed do eiusmod tempor</a:t>
            </a:r>
            <a:endParaRPr lang="zh-CN" altLang="en-US" sz="1100" dirty="0"/>
          </a:p>
        </p:txBody>
      </p:sp>
      <p:sp>
        <p:nvSpPr>
          <p:cNvPr id="39" name="文本框 38">
            <a:extLst>
              <a:ext uri="{FF2B5EF4-FFF2-40B4-BE49-F238E27FC236}">
                <a16:creationId xmlns:a16="http://schemas.microsoft.com/office/drawing/2014/main" id="{C56262EC-8B42-4AC0-AA52-125CE8CB64F6}"/>
              </a:ext>
            </a:extLst>
          </p:cNvPr>
          <p:cNvSpPr txBox="1"/>
          <p:nvPr/>
        </p:nvSpPr>
        <p:spPr>
          <a:xfrm>
            <a:off x="680540" y="3387418"/>
            <a:ext cx="1467069" cy="400110"/>
          </a:xfrm>
          <a:prstGeom prst="rect">
            <a:avLst/>
          </a:prstGeom>
          <a:noFill/>
        </p:spPr>
        <p:txBody>
          <a:bodyPr wrap="none" rtlCol="0">
            <a:spAutoFit/>
          </a:bodyPr>
          <a:lstStyle/>
          <a:p>
            <a:pPr algn="r"/>
            <a:r>
              <a:rPr lang="zh-CN" altLang="en-US" sz="2000" dirty="0">
                <a:solidFill>
                  <a:schemeClr val="accent1"/>
                </a:solidFill>
                <a:latin typeface="+mj-ea"/>
                <a:ea typeface="+mj-ea"/>
              </a:rPr>
              <a:t>关键词标题</a:t>
            </a:r>
          </a:p>
        </p:txBody>
      </p:sp>
      <p:sp>
        <p:nvSpPr>
          <p:cNvPr id="40" name="椭圆 39">
            <a:extLst>
              <a:ext uri="{FF2B5EF4-FFF2-40B4-BE49-F238E27FC236}">
                <a16:creationId xmlns:a16="http://schemas.microsoft.com/office/drawing/2014/main" id="{71D9443B-90DE-46D8-A2B5-29D5A96469B1}"/>
              </a:ext>
            </a:extLst>
          </p:cNvPr>
          <p:cNvSpPr/>
          <p:nvPr/>
        </p:nvSpPr>
        <p:spPr>
          <a:xfrm>
            <a:off x="2161192" y="3507673"/>
            <a:ext cx="92847" cy="92847"/>
          </a:xfrm>
          <a:prstGeom prst="ellipse">
            <a:avLst/>
          </a:prstGeom>
          <a:solidFill>
            <a:schemeClr val="bg1"/>
          </a:solidFill>
          <a:ln w="2540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41" name="弧形 40">
            <a:extLst>
              <a:ext uri="{FF2B5EF4-FFF2-40B4-BE49-F238E27FC236}">
                <a16:creationId xmlns:a16="http://schemas.microsoft.com/office/drawing/2014/main" id="{24A8F95E-F304-43B8-9A1C-E8ADE8D883D1}"/>
              </a:ext>
            </a:extLst>
          </p:cNvPr>
          <p:cNvSpPr/>
          <p:nvPr/>
        </p:nvSpPr>
        <p:spPr>
          <a:xfrm flipH="1">
            <a:off x="5662272" y="1446107"/>
            <a:ext cx="666750" cy="666750"/>
          </a:xfrm>
          <a:prstGeom prst="arc">
            <a:avLst/>
          </a:prstGeom>
          <a:no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42" name="直接连接符 41">
            <a:extLst>
              <a:ext uri="{FF2B5EF4-FFF2-40B4-BE49-F238E27FC236}">
                <a16:creationId xmlns:a16="http://schemas.microsoft.com/office/drawing/2014/main" id="{EB356274-D1EF-42F7-8143-3500202146C4}"/>
              </a:ext>
            </a:extLst>
          </p:cNvPr>
          <p:cNvCxnSpPr>
            <a:cxnSpLocks/>
            <a:endCxn id="44" idx="0"/>
          </p:cNvCxnSpPr>
          <p:nvPr/>
        </p:nvCxnSpPr>
        <p:spPr>
          <a:xfrm>
            <a:off x="5662272" y="1768475"/>
            <a:ext cx="0" cy="4261432"/>
          </a:xfrm>
          <a:prstGeom prst="line">
            <a:avLst/>
          </a:prstGeom>
          <a:no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cxnSp>
      <p:sp>
        <p:nvSpPr>
          <p:cNvPr id="44" name="椭圆 43">
            <a:extLst>
              <a:ext uri="{FF2B5EF4-FFF2-40B4-BE49-F238E27FC236}">
                <a16:creationId xmlns:a16="http://schemas.microsoft.com/office/drawing/2014/main" id="{452A2D45-46EA-4FE2-BA8B-6FE71178DA34}"/>
              </a:ext>
            </a:extLst>
          </p:cNvPr>
          <p:cNvSpPr/>
          <p:nvPr/>
        </p:nvSpPr>
        <p:spPr>
          <a:xfrm>
            <a:off x="5594365" y="6029907"/>
            <a:ext cx="135813" cy="135813"/>
          </a:xfrm>
          <a:prstGeom prst="ellipse">
            <a:avLst/>
          </a:prstGeom>
          <a:solidFill>
            <a:schemeClr val="bg1"/>
          </a:solidFill>
          <a:ln w="3810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45" name="文本框 44">
            <a:extLst>
              <a:ext uri="{FF2B5EF4-FFF2-40B4-BE49-F238E27FC236}">
                <a16:creationId xmlns:a16="http://schemas.microsoft.com/office/drawing/2014/main" id="{FF39D33B-4058-4E39-9B25-BA32DE8D24BD}"/>
              </a:ext>
            </a:extLst>
          </p:cNvPr>
          <p:cNvSpPr txBox="1"/>
          <p:nvPr/>
        </p:nvSpPr>
        <p:spPr>
          <a:xfrm>
            <a:off x="6088494" y="1624809"/>
            <a:ext cx="2236509" cy="600164"/>
          </a:xfrm>
          <a:prstGeom prst="rect">
            <a:avLst/>
          </a:prstGeom>
          <a:noFill/>
        </p:spPr>
        <p:txBody>
          <a:bodyPr wrap="square" rtlCol="0">
            <a:spAutoFit/>
          </a:bodyPr>
          <a:lstStyle/>
          <a:p>
            <a:r>
              <a:rPr lang="en-US" altLang="zh-CN" sz="1100" dirty="0"/>
              <a:t>Lorem ipsum dolor sit amet consectetur adipisicing elit sed do eiusmod tempor</a:t>
            </a:r>
            <a:endParaRPr lang="zh-CN" altLang="en-US" sz="1100" dirty="0"/>
          </a:p>
        </p:txBody>
      </p:sp>
      <p:sp>
        <p:nvSpPr>
          <p:cNvPr id="46" name="文本框 45">
            <a:extLst>
              <a:ext uri="{FF2B5EF4-FFF2-40B4-BE49-F238E27FC236}">
                <a16:creationId xmlns:a16="http://schemas.microsoft.com/office/drawing/2014/main" id="{2575B366-7C09-4DDA-9BE2-1D60F6D89229}"/>
              </a:ext>
            </a:extLst>
          </p:cNvPr>
          <p:cNvSpPr txBox="1"/>
          <p:nvPr/>
        </p:nvSpPr>
        <p:spPr>
          <a:xfrm>
            <a:off x="6088494" y="1269570"/>
            <a:ext cx="1467069" cy="400110"/>
          </a:xfrm>
          <a:prstGeom prst="rect">
            <a:avLst/>
          </a:prstGeom>
          <a:noFill/>
        </p:spPr>
        <p:txBody>
          <a:bodyPr wrap="none" rtlCol="0">
            <a:spAutoFit/>
          </a:bodyPr>
          <a:lstStyle/>
          <a:p>
            <a:r>
              <a:rPr lang="zh-CN" altLang="en-US" sz="2000" dirty="0">
                <a:solidFill>
                  <a:schemeClr val="accent1"/>
                </a:solidFill>
                <a:latin typeface="+mj-ea"/>
                <a:ea typeface="+mj-ea"/>
              </a:rPr>
              <a:t>关键词标题</a:t>
            </a:r>
          </a:p>
        </p:txBody>
      </p:sp>
      <p:sp>
        <p:nvSpPr>
          <p:cNvPr id="47" name="椭圆 46">
            <a:extLst>
              <a:ext uri="{FF2B5EF4-FFF2-40B4-BE49-F238E27FC236}">
                <a16:creationId xmlns:a16="http://schemas.microsoft.com/office/drawing/2014/main" id="{DE92B579-0D9A-4E76-90D4-EE9F34920AA1}"/>
              </a:ext>
            </a:extLst>
          </p:cNvPr>
          <p:cNvSpPr/>
          <p:nvPr/>
        </p:nvSpPr>
        <p:spPr>
          <a:xfrm>
            <a:off x="5974216" y="1399683"/>
            <a:ext cx="92847" cy="92847"/>
          </a:xfrm>
          <a:prstGeom prst="ellipse">
            <a:avLst/>
          </a:prstGeom>
          <a:solidFill>
            <a:schemeClr val="bg1"/>
          </a:solidFill>
          <a:ln w="2540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52" name="弧形 51">
            <a:extLst>
              <a:ext uri="{FF2B5EF4-FFF2-40B4-BE49-F238E27FC236}">
                <a16:creationId xmlns:a16="http://schemas.microsoft.com/office/drawing/2014/main" id="{585EEF88-52A4-4162-88D8-BB56FC881DF7}"/>
              </a:ext>
            </a:extLst>
          </p:cNvPr>
          <p:cNvSpPr/>
          <p:nvPr/>
        </p:nvSpPr>
        <p:spPr>
          <a:xfrm flipH="1">
            <a:off x="5662272" y="3407557"/>
            <a:ext cx="666750" cy="666750"/>
          </a:xfrm>
          <a:prstGeom prst="arc">
            <a:avLst/>
          </a:prstGeom>
          <a:no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3" name="文本框 52">
            <a:extLst>
              <a:ext uri="{FF2B5EF4-FFF2-40B4-BE49-F238E27FC236}">
                <a16:creationId xmlns:a16="http://schemas.microsoft.com/office/drawing/2014/main" id="{B1DA849B-1182-4D3A-9950-5FFAC3DD6AA3}"/>
              </a:ext>
            </a:extLst>
          </p:cNvPr>
          <p:cNvSpPr txBox="1"/>
          <p:nvPr/>
        </p:nvSpPr>
        <p:spPr>
          <a:xfrm>
            <a:off x="6088494" y="3586259"/>
            <a:ext cx="2236509" cy="600164"/>
          </a:xfrm>
          <a:prstGeom prst="rect">
            <a:avLst/>
          </a:prstGeom>
          <a:noFill/>
        </p:spPr>
        <p:txBody>
          <a:bodyPr wrap="square" rtlCol="0">
            <a:spAutoFit/>
          </a:bodyPr>
          <a:lstStyle/>
          <a:p>
            <a:r>
              <a:rPr lang="en-US" altLang="zh-CN" sz="1100" dirty="0"/>
              <a:t>Lorem ipsum dolor sit amet consectetur adipisicing elit sed do eiusmod tempor</a:t>
            </a:r>
            <a:endParaRPr lang="zh-CN" altLang="en-US" sz="1100" dirty="0"/>
          </a:p>
        </p:txBody>
      </p:sp>
      <p:sp>
        <p:nvSpPr>
          <p:cNvPr id="54" name="文本框 53">
            <a:extLst>
              <a:ext uri="{FF2B5EF4-FFF2-40B4-BE49-F238E27FC236}">
                <a16:creationId xmlns:a16="http://schemas.microsoft.com/office/drawing/2014/main" id="{F0B563C5-D697-49F4-8661-BB6CA25C122B}"/>
              </a:ext>
            </a:extLst>
          </p:cNvPr>
          <p:cNvSpPr txBox="1"/>
          <p:nvPr/>
        </p:nvSpPr>
        <p:spPr>
          <a:xfrm>
            <a:off x="6088494" y="3231020"/>
            <a:ext cx="1467069" cy="400110"/>
          </a:xfrm>
          <a:prstGeom prst="rect">
            <a:avLst/>
          </a:prstGeom>
          <a:noFill/>
        </p:spPr>
        <p:txBody>
          <a:bodyPr wrap="none" rtlCol="0">
            <a:spAutoFit/>
          </a:bodyPr>
          <a:lstStyle/>
          <a:p>
            <a:r>
              <a:rPr lang="zh-CN" altLang="en-US" sz="2000" dirty="0">
                <a:solidFill>
                  <a:schemeClr val="accent1"/>
                </a:solidFill>
                <a:latin typeface="+mj-ea"/>
                <a:ea typeface="+mj-ea"/>
              </a:rPr>
              <a:t>关键词标题</a:t>
            </a:r>
          </a:p>
        </p:txBody>
      </p:sp>
      <p:sp>
        <p:nvSpPr>
          <p:cNvPr id="55" name="椭圆 54">
            <a:extLst>
              <a:ext uri="{FF2B5EF4-FFF2-40B4-BE49-F238E27FC236}">
                <a16:creationId xmlns:a16="http://schemas.microsoft.com/office/drawing/2014/main" id="{9E38C25B-9574-4DAF-9C0C-239633477930}"/>
              </a:ext>
            </a:extLst>
          </p:cNvPr>
          <p:cNvSpPr/>
          <p:nvPr/>
        </p:nvSpPr>
        <p:spPr>
          <a:xfrm>
            <a:off x="5974216" y="3361133"/>
            <a:ext cx="92847" cy="92847"/>
          </a:xfrm>
          <a:prstGeom prst="ellipse">
            <a:avLst/>
          </a:prstGeom>
          <a:solidFill>
            <a:schemeClr val="bg1"/>
          </a:solidFill>
          <a:ln w="2540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64" name="弧形 63">
            <a:extLst>
              <a:ext uri="{FF2B5EF4-FFF2-40B4-BE49-F238E27FC236}">
                <a16:creationId xmlns:a16="http://schemas.microsoft.com/office/drawing/2014/main" id="{5EFAB4BE-18F3-455A-A3F6-1D300E179AA9}"/>
              </a:ext>
            </a:extLst>
          </p:cNvPr>
          <p:cNvSpPr/>
          <p:nvPr/>
        </p:nvSpPr>
        <p:spPr>
          <a:xfrm flipH="1">
            <a:off x="9569913" y="2271397"/>
            <a:ext cx="666750" cy="666750"/>
          </a:xfrm>
          <a:prstGeom prst="arc">
            <a:avLst/>
          </a:prstGeom>
          <a:no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65" name="直接连接符 64">
            <a:extLst>
              <a:ext uri="{FF2B5EF4-FFF2-40B4-BE49-F238E27FC236}">
                <a16:creationId xmlns:a16="http://schemas.microsoft.com/office/drawing/2014/main" id="{26CD9E72-E816-4B3F-832B-3395C3500747}"/>
              </a:ext>
            </a:extLst>
          </p:cNvPr>
          <p:cNvCxnSpPr>
            <a:cxnSpLocks/>
            <a:endCxn id="66" idx="0"/>
          </p:cNvCxnSpPr>
          <p:nvPr/>
        </p:nvCxnSpPr>
        <p:spPr>
          <a:xfrm>
            <a:off x="9569913" y="2604772"/>
            <a:ext cx="0" cy="3425135"/>
          </a:xfrm>
          <a:prstGeom prst="line">
            <a:avLst/>
          </a:prstGeom>
          <a:no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cxnSp>
      <p:sp>
        <p:nvSpPr>
          <p:cNvPr id="66" name="椭圆 65">
            <a:extLst>
              <a:ext uri="{FF2B5EF4-FFF2-40B4-BE49-F238E27FC236}">
                <a16:creationId xmlns:a16="http://schemas.microsoft.com/office/drawing/2014/main" id="{26A3EA1A-C1B3-4ADB-BAC0-420BB77E06A2}"/>
              </a:ext>
            </a:extLst>
          </p:cNvPr>
          <p:cNvSpPr/>
          <p:nvPr/>
        </p:nvSpPr>
        <p:spPr>
          <a:xfrm>
            <a:off x="9502006" y="6029907"/>
            <a:ext cx="135813" cy="135813"/>
          </a:xfrm>
          <a:prstGeom prst="ellipse">
            <a:avLst/>
          </a:prstGeom>
          <a:solidFill>
            <a:schemeClr val="bg1"/>
          </a:solidFill>
          <a:ln w="3810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67" name="文本框 66">
            <a:extLst>
              <a:ext uri="{FF2B5EF4-FFF2-40B4-BE49-F238E27FC236}">
                <a16:creationId xmlns:a16="http://schemas.microsoft.com/office/drawing/2014/main" id="{20561A32-AA99-4C8E-A9F6-F8CA0F3A1BFC}"/>
              </a:ext>
            </a:extLst>
          </p:cNvPr>
          <p:cNvSpPr txBox="1"/>
          <p:nvPr/>
        </p:nvSpPr>
        <p:spPr>
          <a:xfrm>
            <a:off x="9996135" y="2450099"/>
            <a:ext cx="2236509" cy="600164"/>
          </a:xfrm>
          <a:prstGeom prst="rect">
            <a:avLst/>
          </a:prstGeom>
          <a:noFill/>
        </p:spPr>
        <p:txBody>
          <a:bodyPr wrap="square" rtlCol="0">
            <a:spAutoFit/>
          </a:bodyPr>
          <a:lstStyle/>
          <a:p>
            <a:r>
              <a:rPr lang="en-US" altLang="zh-CN" sz="1100" dirty="0"/>
              <a:t>Lorem ipsum dolor sit amet consectetur adipisicing elit sed do eiusmod tempor</a:t>
            </a:r>
            <a:endParaRPr lang="zh-CN" altLang="en-US" sz="1100" dirty="0"/>
          </a:p>
        </p:txBody>
      </p:sp>
      <p:sp>
        <p:nvSpPr>
          <p:cNvPr id="68" name="文本框 67">
            <a:extLst>
              <a:ext uri="{FF2B5EF4-FFF2-40B4-BE49-F238E27FC236}">
                <a16:creationId xmlns:a16="http://schemas.microsoft.com/office/drawing/2014/main" id="{5CD028C7-41E5-433B-9F48-B50398D7A68F}"/>
              </a:ext>
            </a:extLst>
          </p:cNvPr>
          <p:cNvSpPr txBox="1"/>
          <p:nvPr/>
        </p:nvSpPr>
        <p:spPr>
          <a:xfrm>
            <a:off x="9996135" y="2094860"/>
            <a:ext cx="1467069" cy="400110"/>
          </a:xfrm>
          <a:prstGeom prst="rect">
            <a:avLst/>
          </a:prstGeom>
          <a:noFill/>
        </p:spPr>
        <p:txBody>
          <a:bodyPr wrap="none" rtlCol="0">
            <a:spAutoFit/>
          </a:bodyPr>
          <a:lstStyle/>
          <a:p>
            <a:r>
              <a:rPr lang="zh-CN" altLang="en-US" sz="2000" dirty="0">
                <a:solidFill>
                  <a:schemeClr val="accent1"/>
                </a:solidFill>
                <a:latin typeface="+mj-ea"/>
                <a:ea typeface="+mj-ea"/>
              </a:rPr>
              <a:t>关键词标题</a:t>
            </a:r>
          </a:p>
        </p:txBody>
      </p:sp>
      <p:sp>
        <p:nvSpPr>
          <p:cNvPr id="69" name="椭圆 68">
            <a:extLst>
              <a:ext uri="{FF2B5EF4-FFF2-40B4-BE49-F238E27FC236}">
                <a16:creationId xmlns:a16="http://schemas.microsoft.com/office/drawing/2014/main" id="{47BA070A-F79B-4C8C-A982-228366FAE0CE}"/>
              </a:ext>
            </a:extLst>
          </p:cNvPr>
          <p:cNvSpPr/>
          <p:nvPr/>
        </p:nvSpPr>
        <p:spPr>
          <a:xfrm>
            <a:off x="9881857" y="2224973"/>
            <a:ext cx="92847" cy="92847"/>
          </a:xfrm>
          <a:prstGeom prst="ellipse">
            <a:avLst/>
          </a:prstGeom>
          <a:solidFill>
            <a:schemeClr val="bg1"/>
          </a:solidFill>
          <a:ln w="2540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70" name="弧形 69">
            <a:extLst>
              <a:ext uri="{FF2B5EF4-FFF2-40B4-BE49-F238E27FC236}">
                <a16:creationId xmlns:a16="http://schemas.microsoft.com/office/drawing/2014/main" id="{A8B33BE9-5E96-4CA3-B8E7-247FE09D1883}"/>
              </a:ext>
            </a:extLst>
          </p:cNvPr>
          <p:cNvSpPr/>
          <p:nvPr/>
        </p:nvSpPr>
        <p:spPr>
          <a:xfrm>
            <a:off x="8904135" y="4739346"/>
            <a:ext cx="666750" cy="666750"/>
          </a:xfrm>
          <a:prstGeom prst="arc">
            <a:avLst/>
          </a:prstGeom>
          <a:no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1" name="文本框 70">
            <a:extLst>
              <a:ext uri="{FF2B5EF4-FFF2-40B4-BE49-F238E27FC236}">
                <a16:creationId xmlns:a16="http://schemas.microsoft.com/office/drawing/2014/main" id="{E091F8CA-6152-4DFC-BA67-91895BA1B7BB}"/>
              </a:ext>
            </a:extLst>
          </p:cNvPr>
          <p:cNvSpPr txBox="1"/>
          <p:nvPr/>
        </p:nvSpPr>
        <p:spPr>
          <a:xfrm>
            <a:off x="6920565" y="4923757"/>
            <a:ext cx="2236509" cy="600164"/>
          </a:xfrm>
          <a:prstGeom prst="rect">
            <a:avLst/>
          </a:prstGeom>
          <a:noFill/>
        </p:spPr>
        <p:txBody>
          <a:bodyPr wrap="square" rtlCol="0">
            <a:spAutoFit/>
          </a:bodyPr>
          <a:lstStyle/>
          <a:p>
            <a:pPr algn="r"/>
            <a:r>
              <a:rPr lang="en-US" altLang="zh-CN" sz="1100" dirty="0"/>
              <a:t>Lorem ipsum dolor sit amet consectetur adipisicing elit sed do eiusmod tempor</a:t>
            </a:r>
            <a:endParaRPr lang="zh-CN" altLang="en-US" sz="1100" dirty="0"/>
          </a:p>
        </p:txBody>
      </p:sp>
      <p:sp>
        <p:nvSpPr>
          <p:cNvPr id="77" name="文本框 76">
            <a:extLst>
              <a:ext uri="{FF2B5EF4-FFF2-40B4-BE49-F238E27FC236}">
                <a16:creationId xmlns:a16="http://schemas.microsoft.com/office/drawing/2014/main" id="{2232E14B-A623-4258-8C81-206350BB6593}"/>
              </a:ext>
            </a:extLst>
          </p:cNvPr>
          <p:cNvSpPr txBox="1"/>
          <p:nvPr/>
        </p:nvSpPr>
        <p:spPr>
          <a:xfrm>
            <a:off x="7690005" y="4568518"/>
            <a:ext cx="1467069" cy="400110"/>
          </a:xfrm>
          <a:prstGeom prst="rect">
            <a:avLst/>
          </a:prstGeom>
          <a:noFill/>
        </p:spPr>
        <p:txBody>
          <a:bodyPr wrap="none" rtlCol="0">
            <a:spAutoFit/>
          </a:bodyPr>
          <a:lstStyle/>
          <a:p>
            <a:pPr algn="r"/>
            <a:r>
              <a:rPr lang="zh-CN" altLang="en-US" sz="2000" dirty="0">
                <a:solidFill>
                  <a:schemeClr val="accent1"/>
                </a:solidFill>
                <a:latin typeface="+mj-ea"/>
                <a:ea typeface="+mj-ea"/>
              </a:rPr>
              <a:t>关键词标题</a:t>
            </a:r>
          </a:p>
        </p:txBody>
      </p:sp>
      <p:sp>
        <p:nvSpPr>
          <p:cNvPr id="84" name="椭圆 83">
            <a:extLst>
              <a:ext uri="{FF2B5EF4-FFF2-40B4-BE49-F238E27FC236}">
                <a16:creationId xmlns:a16="http://schemas.microsoft.com/office/drawing/2014/main" id="{C106E90B-485D-4477-A72B-783DC5A31015}"/>
              </a:ext>
            </a:extLst>
          </p:cNvPr>
          <p:cNvSpPr/>
          <p:nvPr/>
        </p:nvSpPr>
        <p:spPr>
          <a:xfrm>
            <a:off x="9170657" y="4688773"/>
            <a:ext cx="92847" cy="92847"/>
          </a:xfrm>
          <a:prstGeom prst="ellipse">
            <a:avLst/>
          </a:prstGeom>
          <a:solidFill>
            <a:schemeClr val="bg1"/>
          </a:solidFill>
          <a:ln w="2540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Tree>
    <p:custDataLst>
      <p:tags r:id="rId2"/>
    </p:custDataLst>
    <p:extLst>
      <p:ext uri="{BB962C8B-B14F-4D97-AF65-F5344CB8AC3E}">
        <p14:creationId xmlns:p14="http://schemas.microsoft.com/office/powerpoint/2010/main" val="1841003285"/>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375.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8" name="任意多边形: 形状 7">
            <a:extLst>
              <a:ext uri="{FF2B5EF4-FFF2-40B4-BE49-F238E27FC236}">
                <a16:creationId xmlns:a16="http://schemas.microsoft.com/office/drawing/2014/main" id="{4A65C54D-A26C-4E79-9824-9BCB901CDE2A}"/>
              </a:ext>
            </a:extLst>
          </p:cNvPr>
          <p:cNvSpPr/>
          <p:nvPr/>
        </p:nvSpPr>
        <p:spPr>
          <a:xfrm>
            <a:off x="0" y="3066091"/>
            <a:ext cx="12194282" cy="847062"/>
          </a:xfrm>
          <a:custGeom>
            <a:avLst/>
            <a:gdLst>
              <a:gd name="connsiteX0" fmla="*/ 5610832 w 12194282"/>
              <a:gd name="connsiteY0" fmla="*/ 847062 h 847062"/>
              <a:gd name="connsiteX1" fmla="*/ 5533890 w 12194282"/>
              <a:gd name="connsiteY1" fmla="*/ 847062 h 847062"/>
              <a:gd name="connsiteX2" fmla="*/ 2962839 w 12194282"/>
              <a:gd name="connsiteY2" fmla="*/ 477278 h 847062"/>
              <a:gd name="connsiteX3" fmla="*/ 4795 w 12194282"/>
              <a:gd name="connsiteY3" fmla="*/ 163281 h 847062"/>
              <a:gd name="connsiteX4" fmla="*/ 0 w 12194282"/>
              <a:gd name="connsiteY4" fmla="*/ 146507 h 847062"/>
              <a:gd name="connsiteX5" fmla="*/ 2968090 w 12194282"/>
              <a:gd name="connsiteY5" fmla="*/ 460127 h 847062"/>
              <a:gd name="connsiteX6" fmla="*/ 5534803 w 12194282"/>
              <a:gd name="connsiteY6" fmla="*/ 829346 h 847062"/>
              <a:gd name="connsiteX7" fmla="*/ 7935074 w 12194282"/>
              <a:gd name="connsiteY7" fmla="*/ 463142 h 847062"/>
              <a:gd name="connsiteX8" fmla="*/ 12194283 w 12194282"/>
              <a:gd name="connsiteY8" fmla="*/ 112016 h 847062"/>
              <a:gd name="connsiteX9" fmla="*/ 12188803 w 12194282"/>
              <a:gd name="connsiteY9" fmla="*/ 128790 h 847062"/>
              <a:gd name="connsiteX10" fmla="*/ 7940097 w 12194282"/>
              <a:gd name="connsiteY10" fmla="*/ 479916 h 847062"/>
              <a:gd name="connsiteX11" fmla="*/ 5610832 w 12194282"/>
              <a:gd name="connsiteY11" fmla="*/ 847062 h 847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4282" h="847062">
                <a:moveTo>
                  <a:pt x="5610832" y="847062"/>
                </a:moveTo>
                <a:cubicBezTo>
                  <a:pt x="5584804" y="847062"/>
                  <a:pt x="5559233" y="847062"/>
                  <a:pt x="5533890" y="847062"/>
                </a:cubicBezTo>
                <a:cubicBezTo>
                  <a:pt x="4794150" y="830100"/>
                  <a:pt x="3863083" y="650862"/>
                  <a:pt x="2962839" y="477278"/>
                </a:cubicBezTo>
                <a:cubicBezTo>
                  <a:pt x="1792955" y="251486"/>
                  <a:pt x="688140" y="38700"/>
                  <a:pt x="4795" y="163281"/>
                </a:cubicBezTo>
                <a:lnTo>
                  <a:pt x="0" y="146507"/>
                </a:lnTo>
                <a:cubicBezTo>
                  <a:pt x="687912" y="20983"/>
                  <a:pt x="1795010" y="234335"/>
                  <a:pt x="2968090" y="460127"/>
                </a:cubicBezTo>
                <a:cubicBezTo>
                  <a:pt x="3867421" y="633334"/>
                  <a:pt x="4797347" y="812572"/>
                  <a:pt x="5534803" y="829346"/>
                </a:cubicBezTo>
                <a:cubicBezTo>
                  <a:pt x="6194404" y="844424"/>
                  <a:pt x="7039853" y="659720"/>
                  <a:pt x="7935074" y="463142"/>
                </a:cubicBezTo>
                <a:cubicBezTo>
                  <a:pt x="9315236" y="161019"/>
                  <a:pt x="10879191" y="-181625"/>
                  <a:pt x="12194283" y="112016"/>
                </a:cubicBezTo>
                <a:lnTo>
                  <a:pt x="12188803" y="128790"/>
                </a:lnTo>
                <a:cubicBezTo>
                  <a:pt x="10879191" y="-163720"/>
                  <a:pt x="9317747" y="178170"/>
                  <a:pt x="7940097" y="479916"/>
                </a:cubicBezTo>
                <a:cubicBezTo>
                  <a:pt x="7077753" y="668767"/>
                  <a:pt x="6261072" y="847062"/>
                  <a:pt x="5610832" y="847062"/>
                </a:cubicBezTo>
                <a:close/>
              </a:path>
            </a:pathLst>
          </a:custGeom>
          <a:solidFill>
            <a:schemeClr val="bg1">
              <a:alpha val="80000"/>
            </a:schemeClr>
          </a:solidFill>
          <a:ln w="12700" cap="flat">
            <a:noFill/>
            <a:prstDash val="solid"/>
            <a:miter/>
          </a:ln>
        </p:spPr>
        <p:txBody>
          <a:bodyPr rtlCol="0" anchor="ctr"/>
          <a:lstStyle/>
          <a:p>
            <a:endParaRPr lang="zh-CN" altLang="en-US"/>
          </a:p>
        </p:txBody>
      </p:sp>
      <p:sp>
        <p:nvSpPr>
          <p:cNvPr id="9" name="任意多边形: 形状 8">
            <a:extLst>
              <a:ext uri="{FF2B5EF4-FFF2-40B4-BE49-F238E27FC236}">
                <a16:creationId xmlns:a16="http://schemas.microsoft.com/office/drawing/2014/main" id="{138E6586-632B-4BF2-A28A-7EB667B017F4}"/>
              </a:ext>
            </a:extLst>
          </p:cNvPr>
          <p:cNvSpPr/>
          <p:nvPr/>
        </p:nvSpPr>
        <p:spPr>
          <a:xfrm>
            <a:off x="0" y="3223799"/>
            <a:ext cx="12193141" cy="569485"/>
          </a:xfrm>
          <a:custGeom>
            <a:avLst/>
            <a:gdLst>
              <a:gd name="connsiteX0" fmla="*/ 5876133 w 12193141"/>
              <a:gd name="connsiteY0" fmla="*/ 569485 h 569485"/>
              <a:gd name="connsiteX1" fmla="*/ 5654211 w 12193141"/>
              <a:gd name="connsiteY1" fmla="*/ 564774 h 569485"/>
              <a:gd name="connsiteX2" fmla="*/ 3400518 w 12193141"/>
              <a:gd name="connsiteY2" fmla="*/ 359149 h 569485"/>
              <a:gd name="connsiteX3" fmla="*/ 4566 w 12193141"/>
              <a:gd name="connsiteY3" fmla="*/ 182173 h 569485"/>
              <a:gd name="connsiteX4" fmla="*/ 0 w 12193141"/>
              <a:gd name="connsiteY4" fmla="*/ 166718 h 569485"/>
              <a:gd name="connsiteX5" fmla="*/ 3401888 w 12193141"/>
              <a:gd name="connsiteY5" fmla="*/ 343694 h 569485"/>
              <a:gd name="connsiteX6" fmla="*/ 5654211 w 12193141"/>
              <a:gd name="connsiteY6" fmla="*/ 549130 h 569485"/>
              <a:gd name="connsiteX7" fmla="*/ 8177773 w 12193141"/>
              <a:gd name="connsiteY7" fmla="*/ 304115 h 569485"/>
              <a:gd name="connsiteX8" fmla="*/ 12193141 w 12193141"/>
              <a:gd name="connsiteY8" fmla="*/ 67392 h 569485"/>
              <a:gd name="connsiteX9" fmla="*/ 12190173 w 12193141"/>
              <a:gd name="connsiteY9" fmla="*/ 82847 h 569485"/>
              <a:gd name="connsiteX10" fmla="*/ 8182339 w 12193141"/>
              <a:gd name="connsiteY10" fmla="*/ 318816 h 569485"/>
              <a:gd name="connsiteX11" fmla="*/ 5876133 w 12193141"/>
              <a:gd name="connsiteY11" fmla="*/ 569485 h 569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3141" h="569485">
                <a:moveTo>
                  <a:pt x="5876133" y="569485"/>
                </a:moveTo>
                <a:cubicBezTo>
                  <a:pt x="5800561" y="569485"/>
                  <a:pt x="5726816" y="567978"/>
                  <a:pt x="5654211" y="564774"/>
                </a:cubicBezTo>
                <a:cubicBezTo>
                  <a:pt x="5012648" y="536126"/>
                  <a:pt x="4192998" y="446224"/>
                  <a:pt x="3400518" y="359149"/>
                </a:cubicBezTo>
                <a:cubicBezTo>
                  <a:pt x="2060083" y="212140"/>
                  <a:pt x="673985" y="60042"/>
                  <a:pt x="4566" y="182173"/>
                </a:cubicBezTo>
                <a:lnTo>
                  <a:pt x="0" y="166718"/>
                </a:lnTo>
                <a:cubicBezTo>
                  <a:pt x="672843" y="44022"/>
                  <a:pt x="2060539" y="196308"/>
                  <a:pt x="3401888" y="343694"/>
                </a:cubicBezTo>
                <a:cubicBezTo>
                  <a:pt x="4194139" y="430581"/>
                  <a:pt x="5013104" y="520482"/>
                  <a:pt x="5654211" y="549130"/>
                </a:cubicBezTo>
                <a:cubicBezTo>
                  <a:pt x="6370891" y="580982"/>
                  <a:pt x="7248533" y="446224"/>
                  <a:pt x="8177773" y="304115"/>
                </a:cubicBezTo>
                <a:cubicBezTo>
                  <a:pt x="9452225" y="107726"/>
                  <a:pt x="10897684" y="-114296"/>
                  <a:pt x="12193141" y="67392"/>
                </a:cubicBezTo>
                <a:lnTo>
                  <a:pt x="12190173" y="82847"/>
                </a:lnTo>
                <a:cubicBezTo>
                  <a:pt x="10897684" y="-98276"/>
                  <a:pt x="9455193" y="123934"/>
                  <a:pt x="8182339" y="318816"/>
                </a:cubicBezTo>
                <a:cubicBezTo>
                  <a:pt x="7345794" y="447355"/>
                  <a:pt x="6550803" y="569485"/>
                  <a:pt x="5876133" y="569485"/>
                </a:cubicBezTo>
                <a:close/>
              </a:path>
            </a:pathLst>
          </a:custGeom>
          <a:solidFill>
            <a:schemeClr val="bg1">
              <a:alpha val="60000"/>
            </a:schemeClr>
          </a:solidFill>
          <a:ln w="12700" cap="flat">
            <a:noFill/>
            <a:prstDash val="solid"/>
            <a:miter/>
          </a:ln>
        </p:spPr>
        <p:txBody>
          <a:bodyPr rtlCol="0" anchor="ctr"/>
          <a:lstStyle/>
          <a:p>
            <a:endParaRPr lang="zh-CN" altLang="en-US"/>
          </a:p>
        </p:txBody>
      </p:sp>
      <p:sp>
        <p:nvSpPr>
          <p:cNvPr id="10" name="任意多边形: 形状 9">
            <a:extLst>
              <a:ext uri="{FF2B5EF4-FFF2-40B4-BE49-F238E27FC236}">
                <a16:creationId xmlns:a16="http://schemas.microsoft.com/office/drawing/2014/main" id="{F59E90F7-ED93-4061-B8C9-8BDEF96CC478}"/>
              </a:ext>
            </a:extLst>
          </p:cNvPr>
          <p:cNvSpPr/>
          <p:nvPr/>
        </p:nvSpPr>
        <p:spPr>
          <a:xfrm>
            <a:off x="0" y="3378580"/>
            <a:ext cx="12192000" cy="302938"/>
          </a:xfrm>
          <a:custGeom>
            <a:avLst/>
            <a:gdLst>
              <a:gd name="connsiteX0" fmla="*/ 6340982 w 12192000"/>
              <a:gd name="connsiteY0" fmla="*/ 302939 h 302938"/>
              <a:gd name="connsiteX1" fmla="*/ 5774761 w 12192000"/>
              <a:gd name="connsiteY1" fmla="*/ 285788 h 302938"/>
              <a:gd name="connsiteX2" fmla="*/ 4338 w 12192000"/>
              <a:gd name="connsiteY2" fmla="*/ 203802 h 302938"/>
              <a:gd name="connsiteX3" fmla="*/ 0 w 12192000"/>
              <a:gd name="connsiteY3" fmla="*/ 190043 h 302938"/>
              <a:gd name="connsiteX4" fmla="*/ 5776360 w 12192000"/>
              <a:gd name="connsiteY4" fmla="*/ 271652 h 302938"/>
              <a:gd name="connsiteX5" fmla="*/ 8584629 w 12192000"/>
              <a:gd name="connsiteY5" fmla="*/ 155741 h 302938"/>
              <a:gd name="connsiteX6" fmla="*/ 12192000 w 12192000"/>
              <a:gd name="connsiteY6" fmla="*/ 25695 h 302938"/>
              <a:gd name="connsiteX7" fmla="*/ 12192000 w 12192000"/>
              <a:gd name="connsiteY7" fmla="*/ 39830 h 302938"/>
              <a:gd name="connsiteX8" fmla="*/ 8587140 w 12192000"/>
              <a:gd name="connsiteY8" fmla="*/ 169688 h 302938"/>
              <a:gd name="connsiteX9" fmla="*/ 6340982 w 12192000"/>
              <a:gd name="connsiteY9" fmla="*/ 302939 h 302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2000" h="302938">
                <a:moveTo>
                  <a:pt x="6340982" y="302939"/>
                </a:moveTo>
                <a:cubicBezTo>
                  <a:pt x="6146001" y="302939"/>
                  <a:pt x="5956957" y="297662"/>
                  <a:pt x="5774761" y="285788"/>
                </a:cubicBezTo>
                <a:cubicBezTo>
                  <a:pt x="4190715" y="182316"/>
                  <a:pt x="946136" y="31914"/>
                  <a:pt x="4338" y="203802"/>
                </a:cubicBezTo>
                <a:lnTo>
                  <a:pt x="0" y="190043"/>
                </a:lnTo>
                <a:cubicBezTo>
                  <a:pt x="943624" y="17779"/>
                  <a:pt x="4190486" y="168180"/>
                  <a:pt x="5776360" y="271652"/>
                </a:cubicBezTo>
                <a:cubicBezTo>
                  <a:pt x="6598292" y="325556"/>
                  <a:pt x="7563607" y="243004"/>
                  <a:pt x="8584629" y="155741"/>
                </a:cubicBezTo>
                <a:cubicBezTo>
                  <a:pt x="9761819" y="55096"/>
                  <a:pt x="10979421" y="-49695"/>
                  <a:pt x="12192000" y="25695"/>
                </a:cubicBezTo>
                <a:lnTo>
                  <a:pt x="12192000" y="39830"/>
                </a:lnTo>
                <a:cubicBezTo>
                  <a:pt x="10980563" y="-35559"/>
                  <a:pt x="9763874" y="69043"/>
                  <a:pt x="8587140" y="169688"/>
                </a:cubicBezTo>
                <a:cubicBezTo>
                  <a:pt x="7790095" y="237916"/>
                  <a:pt x="7028437" y="302939"/>
                  <a:pt x="6340982" y="302939"/>
                </a:cubicBezTo>
                <a:close/>
              </a:path>
            </a:pathLst>
          </a:custGeom>
          <a:solidFill>
            <a:schemeClr val="bg1">
              <a:alpha val="40000"/>
            </a:schemeClr>
          </a:solidFill>
          <a:ln w="12700" cap="flat">
            <a:noFill/>
            <a:prstDash val="solid"/>
            <a:miter/>
          </a:ln>
        </p:spPr>
        <p:txBody>
          <a:bodyPr rtlCol="0" anchor="ctr"/>
          <a:lstStyle/>
          <a:p>
            <a:endParaRPr lang="zh-CN" altLang="en-US"/>
          </a:p>
        </p:txBody>
      </p:sp>
      <p:sp>
        <p:nvSpPr>
          <p:cNvPr id="11" name="任意多边形: 形状 10">
            <a:extLst>
              <a:ext uri="{FF2B5EF4-FFF2-40B4-BE49-F238E27FC236}">
                <a16:creationId xmlns:a16="http://schemas.microsoft.com/office/drawing/2014/main" id="{6B801E17-B888-4AA2-A35D-A120CDC684B5}"/>
              </a:ext>
            </a:extLst>
          </p:cNvPr>
          <p:cNvSpPr/>
          <p:nvPr/>
        </p:nvSpPr>
        <p:spPr>
          <a:xfrm>
            <a:off x="0" y="3478052"/>
            <a:ext cx="12190630" cy="280741"/>
          </a:xfrm>
          <a:custGeom>
            <a:avLst/>
            <a:gdLst>
              <a:gd name="connsiteX0" fmla="*/ 4110 w 12190630"/>
              <a:gd name="connsiteY0" fmla="*/ 280742 h 280741"/>
              <a:gd name="connsiteX1" fmla="*/ 0 w 12190630"/>
              <a:gd name="connsiteY1" fmla="*/ 268491 h 280741"/>
              <a:gd name="connsiteX2" fmla="*/ 5895996 w 12190630"/>
              <a:gd name="connsiteY2" fmla="*/ 49673 h 280741"/>
              <a:gd name="connsiteX3" fmla="*/ 10275984 w 12190630"/>
              <a:gd name="connsiteY3" fmla="*/ 80395 h 280741"/>
              <a:gd name="connsiteX4" fmla="*/ 12190630 w 12190630"/>
              <a:gd name="connsiteY4" fmla="*/ 39496 h 280741"/>
              <a:gd name="connsiteX5" fmla="*/ 12190630 w 12190630"/>
              <a:gd name="connsiteY5" fmla="*/ 52124 h 280741"/>
              <a:gd name="connsiteX6" fmla="*/ 10276212 w 12190630"/>
              <a:gd name="connsiteY6" fmla="*/ 93022 h 280741"/>
              <a:gd name="connsiteX7" fmla="*/ 5895312 w 12190630"/>
              <a:gd name="connsiteY7" fmla="*/ 62301 h 280741"/>
              <a:gd name="connsiteX8" fmla="*/ 4110 w 12190630"/>
              <a:gd name="connsiteY8" fmla="*/ 280742 h 2807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0630" h="280741">
                <a:moveTo>
                  <a:pt x="4110" y="280742"/>
                </a:moveTo>
                <a:lnTo>
                  <a:pt x="0" y="268491"/>
                </a:lnTo>
                <a:cubicBezTo>
                  <a:pt x="759831" y="129963"/>
                  <a:pt x="4114914" y="-102236"/>
                  <a:pt x="5895996" y="49673"/>
                </a:cubicBezTo>
                <a:cubicBezTo>
                  <a:pt x="7186659" y="159742"/>
                  <a:pt x="8687142" y="121293"/>
                  <a:pt x="10275984" y="80395"/>
                </a:cubicBezTo>
                <a:cubicBezTo>
                  <a:pt x="10895630" y="64563"/>
                  <a:pt x="11536509" y="48166"/>
                  <a:pt x="12190630" y="39496"/>
                </a:cubicBezTo>
                <a:lnTo>
                  <a:pt x="12190630" y="52124"/>
                </a:lnTo>
                <a:cubicBezTo>
                  <a:pt x="11536509" y="60605"/>
                  <a:pt x="10895858" y="77190"/>
                  <a:pt x="10276212" y="93022"/>
                </a:cubicBezTo>
                <a:cubicBezTo>
                  <a:pt x="8688056" y="133544"/>
                  <a:pt x="7186887" y="172370"/>
                  <a:pt x="5895312" y="62301"/>
                </a:cubicBezTo>
                <a:cubicBezTo>
                  <a:pt x="4115599" y="-89608"/>
                  <a:pt x="763256" y="142402"/>
                  <a:pt x="4110" y="280742"/>
                </a:cubicBezTo>
                <a:close/>
              </a:path>
            </a:pathLst>
          </a:custGeom>
          <a:solidFill>
            <a:schemeClr val="bg1">
              <a:alpha val="35000"/>
            </a:schemeClr>
          </a:solidFill>
          <a:ln w="12700" cap="flat">
            <a:noFill/>
            <a:prstDash val="solid"/>
            <a:miter/>
          </a:ln>
        </p:spPr>
        <p:txBody>
          <a:bodyPr rtlCol="0" anchor="ctr"/>
          <a:lstStyle/>
          <a:p>
            <a:endParaRPr lang="zh-CN" altLang="en-US"/>
          </a:p>
        </p:txBody>
      </p:sp>
      <p:sp>
        <p:nvSpPr>
          <p:cNvPr id="12" name="任意多边形: 形状 11">
            <a:extLst>
              <a:ext uri="{FF2B5EF4-FFF2-40B4-BE49-F238E27FC236}">
                <a16:creationId xmlns:a16="http://schemas.microsoft.com/office/drawing/2014/main" id="{9947C0FB-B077-4C77-8BC3-C258613096AD}"/>
              </a:ext>
            </a:extLst>
          </p:cNvPr>
          <p:cNvSpPr/>
          <p:nvPr/>
        </p:nvSpPr>
        <p:spPr>
          <a:xfrm>
            <a:off x="0" y="3367438"/>
            <a:ext cx="12192000" cy="567955"/>
          </a:xfrm>
          <a:custGeom>
            <a:avLst/>
            <a:gdLst>
              <a:gd name="connsiteX0" fmla="*/ 3881 w 12192000"/>
              <a:gd name="connsiteY0" fmla="*/ 567955 h 567955"/>
              <a:gd name="connsiteX1" fmla="*/ 0 w 12192000"/>
              <a:gd name="connsiteY1" fmla="*/ 557212 h 567955"/>
              <a:gd name="connsiteX2" fmla="*/ 6017460 w 12192000"/>
              <a:gd name="connsiteY2" fmla="*/ 37780 h 567955"/>
              <a:gd name="connsiteX3" fmla="*/ 6378882 w 12192000"/>
              <a:gd name="connsiteY3" fmla="*/ 75474 h 567955"/>
              <a:gd name="connsiteX4" fmla="*/ 12192000 w 12192000"/>
              <a:gd name="connsiteY4" fmla="*/ 263005 h 567955"/>
              <a:gd name="connsiteX5" fmla="*/ 12192000 w 12192000"/>
              <a:gd name="connsiteY5" fmla="*/ 273937 h 567955"/>
              <a:gd name="connsiteX6" fmla="*/ 6376827 w 12192000"/>
              <a:gd name="connsiteY6" fmla="*/ 85463 h 567955"/>
              <a:gd name="connsiteX7" fmla="*/ 6015634 w 12192000"/>
              <a:gd name="connsiteY7" fmla="*/ 47769 h 567955"/>
              <a:gd name="connsiteX8" fmla="*/ 3881 w 12192000"/>
              <a:gd name="connsiteY8" fmla="*/ 567955 h 567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2000" h="567955">
                <a:moveTo>
                  <a:pt x="3881" y="567955"/>
                </a:moveTo>
                <a:lnTo>
                  <a:pt x="0" y="557212"/>
                </a:lnTo>
                <a:cubicBezTo>
                  <a:pt x="41097" y="549862"/>
                  <a:pt x="4025415" y="-170483"/>
                  <a:pt x="6017460" y="37780"/>
                </a:cubicBezTo>
                <a:lnTo>
                  <a:pt x="6378882" y="75474"/>
                </a:lnTo>
                <a:cubicBezTo>
                  <a:pt x="8130740" y="260744"/>
                  <a:pt x="9942416" y="451479"/>
                  <a:pt x="12192000" y="263005"/>
                </a:cubicBezTo>
                <a:lnTo>
                  <a:pt x="12192000" y="273937"/>
                </a:lnTo>
                <a:cubicBezTo>
                  <a:pt x="9941960" y="462410"/>
                  <a:pt x="8129599" y="271487"/>
                  <a:pt x="6376827" y="85463"/>
                </a:cubicBezTo>
                <a:cubicBezTo>
                  <a:pt x="6255820" y="72899"/>
                  <a:pt x="6135422" y="60334"/>
                  <a:pt x="6015634" y="47769"/>
                </a:cubicBezTo>
                <a:cubicBezTo>
                  <a:pt x="4025643" y="-159175"/>
                  <a:pt x="43836" y="560605"/>
                  <a:pt x="3881" y="567955"/>
                </a:cubicBezTo>
                <a:close/>
              </a:path>
            </a:pathLst>
          </a:custGeom>
          <a:solidFill>
            <a:schemeClr val="bg1">
              <a:alpha val="30000"/>
            </a:schemeClr>
          </a:solidFill>
          <a:ln w="12700" cap="flat">
            <a:noFill/>
            <a:prstDash val="solid"/>
            <a:miter/>
          </a:ln>
        </p:spPr>
        <p:txBody>
          <a:bodyPr rtlCol="0" anchor="ctr"/>
          <a:lstStyle/>
          <a:p>
            <a:endParaRPr lang="zh-CN" altLang="en-US"/>
          </a:p>
        </p:txBody>
      </p:sp>
      <p:sp>
        <p:nvSpPr>
          <p:cNvPr id="13" name="任意多边形: 形状 12">
            <a:extLst>
              <a:ext uri="{FF2B5EF4-FFF2-40B4-BE49-F238E27FC236}">
                <a16:creationId xmlns:a16="http://schemas.microsoft.com/office/drawing/2014/main" id="{384E7EB1-8112-494F-9E1C-C5B7CD660545}"/>
              </a:ext>
            </a:extLst>
          </p:cNvPr>
          <p:cNvSpPr/>
          <p:nvPr/>
        </p:nvSpPr>
        <p:spPr>
          <a:xfrm>
            <a:off x="1141" y="3247642"/>
            <a:ext cx="12191544" cy="864162"/>
          </a:xfrm>
          <a:custGeom>
            <a:avLst/>
            <a:gdLst>
              <a:gd name="connsiteX0" fmla="*/ 2511 w 12191544"/>
              <a:gd name="connsiteY0" fmla="*/ 864162 h 864162"/>
              <a:gd name="connsiteX1" fmla="*/ 0 w 12191544"/>
              <a:gd name="connsiteY1" fmla="*/ 854927 h 864162"/>
              <a:gd name="connsiteX2" fmla="*/ 402062 w 12191544"/>
              <a:gd name="connsiteY2" fmla="*/ 767664 h 864162"/>
              <a:gd name="connsiteX3" fmla="*/ 6137097 w 12191544"/>
              <a:gd name="connsiteY3" fmla="*/ 35068 h 864162"/>
              <a:gd name="connsiteX4" fmla="*/ 7610411 w 12191544"/>
              <a:gd name="connsiteY4" fmla="*/ 271979 h 864162"/>
              <a:gd name="connsiteX5" fmla="*/ 12189489 w 12191544"/>
              <a:gd name="connsiteY5" fmla="*/ 495885 h 864162"/>
              <a:gd name="connsiteX6" fmla="*/ 12191544 w 12191544"/>
              <a:gd name="connsiteY6" fmla="*/ 505121 h 864162"/>
              <a:gd name="connsiteX7" fmla="*/ 7608128 w 12191544"/>
              <a:gd name="connsiteY7" fmla="*/ 280649 h 864162"/>
              <a:gd name="connsiteX8" fmla="*/ 6135270 w 12191544"/>
              <a:gd name="connsiteY8" fmla="*/ 43738 h 864162"/>
              <a:gd name="connsiteX9" fmla="*/ 404574 w 12191544"/>
              <a:gd name="connsiteY9" fmla="*/ 776145 h 864162"/>
              <a:gd name="connsiteX10" fmla="*/ 2511 w 12191544"/>
              <a:gd name="connsiteY10" fmla="*/ 864162 h 8641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1544" h="864162">
                <a:moveTo>
                  <a:pt x="2511" y="864162"/>
                </a:moveTo>
                <a:lnTo>
                  <a:pt x="0" y="854927"/>
                </a:lnTo>
                <a:cubicBezTo>
                  <a:pt x="68494" y="842677"/>
                  <a:pt x="207766" y="811201"/>
                  <a:pt x="402062" y="767664"/>
                </a:cubicBezTo>
                <a:cubicBezTo>
                  <a:pt x="1534959" y="514733"/>
                  <a:pt x="4544146" y="-160567"/>
                  <a:pt x="6137097" y="35068"/>
                </a:cubicBezTo>
                <a:cubicBezTo>
                  <a:pt x="6632768" y="95945"/>
                  <a:pt x="7107662" y="181323"/>
                  <a:pt x="7610411" y="271979"/>
                </a:cubicBezTo>
                <a:cubicBezTo>
                  <a:pt x="8971622" y="517183"/>
                  <a:pt x="10378726" y="770680"/>
                  <a:pt x="12189489" y="495885"/>
                </a:cubicBezTo>
                <a:lnTo>
                  <a:pt x="12191544" y="505121"/>
                </a:lnTo>
                <a:cubicBezTo>
                  <a:pt x="10378497" y="779726"/>
                  <a:pt x="8970024" y="525853"/>
                  <a:pt x="7608128" y="280649"/>
                </a:cubicBezTo>
                <a:cubicBezTo>
                  <a:pt x="7105836" y="189993"/>
                  <a:pt x="6630713" y="104615"/>
                  <a:pt x="6135270" y="43738"/>
                </a:cubicBezTo>
                <a:cubicBezTo>
                  <a:pt x="4545059" y="-151332"/>
                  <a:pt x="1537242" y="522460"/>
                  <a:pt x="404574" y="776145"/>
                </a:cubicBezTo>
                <a:cubicBezTo>
                  <a:pt x="210506" y="820437"/>
                  <a:pt x="70093" y="851912"/>
                  <a:pt x="2511" y="864162"/>
                </a:cubicBezTo>
                <a:close/>
              </a:path>
            </a:pathLst>
          </a:custGeom>
          <a:solidFill>
            <a:schemeClr val="bg1">
              <a:alpha val="25000"/>
            </a:schemeClr>
          </a:solidFill>
          <a:ln w="12700" cap="flat">
            <a:noFill/>
            <a:prstDash val="solid"/>
            <a:miter/>
          </a:ln>
        </p:spPr>
        <p:txBody>
          <a:bodyPr rtlCol="0" anchor="ctr"/>
          <a:lstStyle/>
          <a:p>
            <a:endParaRPr lang="zh-CN" altLang="en-US"/>
          </a:p>
        </p:txBody>
      </p:sp>
      <p:sp>
        <p:nvSpPr>
          <p:cNvPr id="14" name="任意多边形: 形状 13">
            <a:extLst>
              <a:ext uri="{FF2B5EF4-FFF2-40B4-BE49-F238E27FC236}">
                <a16:creationId xmlns:a16="http://schemas.microsoft.com/office/drawing/2014/main" id="{BD49B7C9-57CE-4213-8D97-36DD62C0CDA7}"/>
              </a:ext>
            </a:extLst>
          </p:cNvPr>
          <p:cNvSpPr/>
          <p:nvPr/>
        </p:nvSpPr>
        <p:spPr>
          <a:xfrm>
            <a:off x="1369" y="3125276"/>
            <a:ext cx="12191542" cy="1162938"/>
          </a:xfrm>
          <a:custGeom>
            <a:avLst/>
            <a:gdLst>
              <a:gd name="connsiteX0" fmla="*/ 2055 w 12191542"/>
              <a:gd name="connsiteY0" fmla="*/ 1162939 h 1162938"/>
              <a:gd name="connsiteX1" fmla="*/ 0 w 12191542"/>
              <a:gd name="connsiteY1" fmla="*/ 1155400 h 1162938"/>
              <a:gd name="connsiteX2" fmla="*/ 436538 w 12191542"/>
              <a:gd name="connsiteY2" fmla="*/ 1034588 h 1162938"/>
              <a:gd name="connsiteX3" fmla="*/ 6258560 w 12191542"/>
              <a:gd name="connsiteY3" fmla="*/ 35679 h 1162938"/>
              <a:gd name="connsiteX4" fmla="*/ 7966810 w 12191542"/>
              <a:gd name="connsiteY4" fmla="*/ 424500 h 1162938"/>
              <a:gd name="connsiteX5" fmla="*/ 12189032 w 12191542"/>
              <a:gd name="connsiteY5" fmla="*/ 731335 h 1162938"/>
              <a:gd name="connsiteX6" fmla="*/ 12191543 w 12191542"/>
              <a:gd name="connsiteY6" fmla="*/ 739062 h 1162938"/>
              <a:gd name="connsiteX7" fmla="*/ 10707498 w 12191542"/>
              <a:gd name="connsiteY7" fmla="*/ 901526 h 1162938"/>
              <a:gd name="connsiteX8" fmla="*/ 7964299 w 12191542"/>
              <a:gd name="connsiteY8" fmla="*/ 430343 h 1162938"/>
              <a:gd name="connsiteX9" fmla="*/ 6255820 w 12191542"/>
              <a:gd name="connsiteY9" fmla="*/ 41145 h 1162938"/>
              <a:gd name="connsiteX10" fmla="*/ 439734 w 12191542"/>
              <a:gd name="connsiteY10" fmla="*/ 1042127 h 1162938"/>
              <a:gd name="connsiteX11" fmla="*/ 2055 w 12191542"/>
              <a:gd name="connsiteY11" fmla="*/ 1162939 h 1162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1542" h="1162938">
                <a:moveTo>
                  <a:pt x="2055" y="1162939"/>
                </a:moveTo>
                <a:lnTo>
                  <a:pt x="0" y="1155400"/>
                </a:lnTo>
                <a:cubicBezTo>
                  <a:pt x="50914" y="1145976"/>
                  <a:pt x="205483" y="1101685"/>
                  <a:pt x="436538" y="1034588"/>
                </a:cubicBezTo>
                <a:cubicBezTo>
                  <a:pt x="1594321" y="700237"/>
                  <a:pt x="4669947" y="-188039"/>
                  <a:pt x="6258560" y="35679"/>
                </a:cubicBezTo>
                <a:cubicBezTo>
                  <a:pt x="6852178" y="118231"/>
                  <a:pt x="7418855" y="273910"/>
                  <a:pt x="7966810" y="424500"/>
                </a:cubicBezTo>
                <a:cubicBezTo>
                  <a:pt x="9188749" y="759794"/>
                  <a:pt x="10452015" y="1106774"/>
                  <a:pt x="12189032" y="731335"/>
                </a:cubicBezTo>
                <a:lnTo>
                  <a:pt x="12191543" y="739062"/>
                </a:lnTo>
                <a:cubicBezTo>
                  <a:pt x="11707371" y="845623"/>
                  <a:pt x="11208580" y="900227"/>
                  <a:pt x="10707498" y="901526"/>
                </a:cubicBezTo>
                <a:cubicBezTo>
                  <a:pt x="9677115" y="901526"/>
                  <a:pt x="8810889" y="663673"/>
                  <a:pt x="7964299" y="430343"/>
                </a:cubicBezTo>
                <a:cubicBezTo>
                  <a:pt x="7416344" y="279564"/>
                  <a:pt x="6849667" y="124450"/>
                  <a:pt x="6255820" y="41145"/>
                </a:cubicBezTo>
                <a:cubicBezTo>
                  <a:pt x="4670632" y="-179934"/>
                  <a:pt x="1596832" y="707776"/>
                  <a:pt x="439734" y="1042127"/>
                </a:cubicBezTo>
                <a:cubicBezTo>
                  <a:pt x="207081" y="1109224"/>
                  <a:pt x="53426" y="1153704"/>
                  <a:pt x="2055" y="1162939"/>
                </a:cubicBezTo>
                <a:close/>
              </a:path>
            </a:pathLst>
          </a:custGeom>
          <a:solidFill>
            <a:schemeClr val="bg1">
              <a:alpha val="20000"/>
            </a:schemeClr>
          </a:solidFill>
          <a:ln w="12700" cap="flat">
            <a:noFill/>
            <a:prstDash val="solid"/>
            <a:miter/>
          </a:ln>
        </p:spPr>
        <p:txBody>
          <a:bodyPr rtlCol="0" anchor="ctr"/>
          <a:lstStyle/>
          <a:p>
            <a:endParaRPr lang="zh-CN" altLang="en-US"/>
          </a:p>
        </p:txBody>
      </p:sp>
      <p:sp>
        <p:nvSpPr>
          <p:cNvPr id="15" name="任意多边形: 形状 14">
            <a:extLst>
              <a:ext uri="{FF2B5EF4-FFF2-40B4-BE49-F238E27FC236}">
                <a16:creationId xmlns:a16="http://schemas.microsoft.com/office/drawing/2014/main" id="{AFDE5FC4-B332-46FF-9587-5E47C80F3219}"/>
              </a:ext>
            </a:extLst>
          </p:cNvPr>
          <p:cNvSpPr/>
          <p:nvPr/>
        </p:nvSpPr>
        <p:spPr>
          <a:xfrm>
            <a:off x="1598" y="3000671"/>
            <a:ext cx="12191314" cy="1464143"/>
          </a:xfrm>
          <a:custGeom>
            <a:avLst/>
            <a:gdLst>
              <a:gd name="connsiteX0" fmla="*/ 1598 w 12191314"/>
              <a:gd name="connsiteY0" fmla="*/ 1464144 h 1464143"/>
              <a:gd name="connsiteX1" fmla="*/ 0 w 12191314"/>
              <a:gd name="connsiteY1" fmla="*/ 1457925 h 1464143"/>
              <a:gd name="connsiteX2" fmla="*/ 292014 w 12191314"/>
              <a:gd name="connsiteY2" fmla="*/ 1357091 h 1464143"/>
              <a:gd name="connsiteX3" fmla="*/ 3091837 w 12191314"/>
              <a:gd name="connsiteY3" fmla="*/ 461466 h 1464143"/>
              <a:gd name="connsiteX4" fmla="*/ 6377741 w 12191314"/>
              <a:gd name="connsiteY4" fmla="*/ 36835 h 1464143"/>
              <a:gd name="connsiteX5" fmla="*/ 8181426 w 12191314"/>
              <a:gd name="connsiteY5" fmla="*/ 577377 h 1464143"/>
              <a:gd name="connsiteX6" fmla="*/ 12188803 w 12191314"/>
              <a:gd name="connsiteY6" fmla="*/ 969967 h 1464143"/>
              <a:gd name="connsiteX7" fmla="*/ 12191315 w 12191314"/>
              <a:gd name="connsiteY7" fmla="*/ 975998 h 1464143"/>
              <a:gd name="connsiteX8" fmla="*/ 9968672 w 12191314"/>
              <a:gd name="connsiteY8" fmla="*/ 1121311 h 1464143"/>
              <a:gd name="connsiteX9" fmla="*/ 8179371 w 12191314"/>
              <a:gd name="connsiteY9" fmla="*/ 583219 h 1464143"/>
              <a:gd name="connsiteX10" fmla="*/ 6375686 w 12191314"/>
              <a:gd name="connsiteY10" fmla="*/ 43055 h 1464143"/>
              <a:gd name="connsiteX11" fmla="*/ 3094120 w 12191314"/>
              <a:gd name="connsiteY11" fmla="*/ 467308 h 1464143"/>
              <a:gd name="connsiteX12" fmla="*/ 295211 w 12191314"/>
              <a:gd name="connsiteY12" fmla="*/ 1362745 h 1464143"/>
              <a:gd name="connsiteX13" fmla="*/ 1598 w 12191314"/>
              <a:gd name="connsiteY13" fmla="*/ 1464144 h 1464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91314" h="1464143">
                <a:moveTo>
                  <a:pt x="1598" y="1464144"/>
                </a:moveTo>
                <a:lnTo>
                  <a:pt x="0" y="1457925"/>
                </a:lnTo>
                <a:cubicBezTo>
                  <a:pt x="21233" y="1454155"/>
                  <a:pt x="128998" y="1415518"/>
                  <a:pt x="292014" y="1357091"/>
                </a:cubicBezTo>
                <a:cubicBezTo>
                  <a:pt x="817138" y="1168618"/>
                  <a:pt x="1906884" y="778478"/>
                  <a:pt x="3091837" y="461466"/>
                </a:cubicBezTo>
                <a:cubicBezTo>
                  <a:pt x="4561955" y="67933"/>
                  <a:pt x="5667454" y="-74930"/>
                  <a:pt x="6377741" y="36835"/>
                </a:cubicBezTo>
                <a:cubicBezTo>
                  <a:pt x="7028666" y="139176"/>
                  <a:pt x="7615434" y="361952"/>
                  <a:pt x="8181426" y="577377"/>
                </a:cubicBezTo>
                <a:cubicBezTo>
                  <a:pt x="9307016" y="1004457"/>
                  <a:pt x="10469595" y="1445862"/>
                  <a:pt x="12188803" y="969967"/>
                </a:cubicBezTo>
                <a:lnTo>
                  <a:pt x="12191315" y="975998"/>
                </a:lnTo>
                <a:cubicBezTo>
                  <a:pt x="11418699" y="1189727"/>
                  <a:pt x="10691744" y="1237411"/>
                  <a:pt x="9968672" y="1121311"/>
                </a:cubicBezTo>
                <a:cubicBezTo>
                  <a:pt x="9324140" y="1017839"/>
                  <a:pt x="8742851" y="796760"/>
                  <a:pt x="8179371" y="583219"/>
                </a:cubicBezTo>
                <a:cubicBezTo>
                  <a:pt x="7612694" y="367794"/>
                  <a:pt x="7026382" y="145207"/>
                  <a:pt x="6375686" y="43055"/>
                </a:cubicBezTo>
                <a:cubicBezTo>
                  <a:pt x="5667225" y="-67579"/>
                  <a:pt x="4563096" y="74341"/>
                  <a:pt x="3094120" y="467308"/>
                </a:cubicBezTo>
                <a:cubicBezTo>
                  <a:pt x="1909395" y="784321"/>
                  <a:pt x="820334" y="1175026"/>
                  <a:pt x="295211" y="1362745"/>
                </a:cubicBezTo>
                <a:cubicBezTo>
                  <a:pt x="125801" y="1423434"/>
                  <a:pt x="23516" y="1459998"/>
                  <a:pt x="1598" y="1464144"/>
                </a:cubicBezTo>
                <a:close/>
              </a:path>
            </a:pathLst>
          </a:custGeom>
          <a:solidFill>
            <a:schemeClr val="bg1">
              <a:alpha val="15000"/>
            </a:schemeClr>
          </a:solidFill>
          <a:ln w="12700" cap="flat">
            <a:noFill/>
            <a:prstDash val="solid"/>
            <a:miter/>
          </a:ln>
        </p:spPr>
        <p:txBody>
          <a:bodyPr rtlCol="0" anchor="ctr"/>
          <a:lstStyle/>
          <a:p>
            <a:endParaRPr lang="zh-CN" altLang="en-US"/>
          </a:p>
        </p:txBody>
      </p:sp>
      <p:sp>
        <p:nvSpPr>
          <p:cNvPr id="16" name="任意多边形: 形状 15">
            <a:extLst>
              <a:ext uri="{FF2B5EF4-FFF2-40B4-BE49-F238E27FC236}">
                <a16:creationId xmlns:a16="http://schemas.microsoft.com/office/drawing/2014/main" id="{668D6AE8-CE2E-42D7-8155-B2AE45F7594C}"/>
              </a:ext>
            </a:extLst>
          </p:cNvPr>
          <p:cNvSpPr/>
          <p:nvPr/>
        </p:nvSpPr>
        <p:spPr>
          <a:xfrm>
            <a:off x="1141" y="2876332"/>
            <a:ext cx="12191315" cy="1764705"/>
          </a:xfrm>
          <a:custGeom>
            <a:avLst/>
            <a:gdLst>
              <a:gd name="connsiteX0" fmla="*/ 2740 w 12191315"/>
              <a:gd name="connsiteY0" fmla="*/ 1764705 h 1764705"/>
              <a:gd name="connsiteX1" fmla="*/ 0 w 12191315"/>
              <a:gd name="connsiteY1" fmla="*/ 1760559 h 1764705"/>
              <a:gd name="connsiteX2" fmla="*/ 2506666 w 12191315"/>
              <a:gd name="connsiteY2" fmla="*/ 770885 h 1764705"/>
              <a:gd name="connsiteX3" fmla="*/ 4647572 w 12191315"/>
              <a:gd name="connsiteY3" fmla="*/ 162681 h 1764705"/>
              <a:gd name="connsiteX4" fmla="*/ 6498747 w 12191315"/>
              <a:gd name="connsiteY4" fmla="*/ 37912 h 1764705"/>
              <a:gd name="connsiteX5" fmla="*/ 8348096 w 12191315"/>
              <a:gd name="connsiteY5" fmla="*/ 731683 h 1764705"/>
              <a:gd name="connsiteX6" fmla="*/ 12189260 w 12191315"/>
              <a:gd name="connsiteY6" fmla="*/ 1206824 h 1764705"/>
              <a:gd name="connsiteX7" fmla="*/ 12191316 w 12191315"/>
              <a:gd name="connsiteY7" fmla="*/ 1211159 h 1764705"/>
              <a:gd name="connsiteX8" fmla="*/ 11014125 w 12191315"/>
              <a:gd name="connsiteY8" fmla="*/ 1455232 h 1764705"/>
              <a:gd name="connsiteX9" fmla="*/ 10023239 w 12191315"/>
              <a:gd name="connsiteY9" fmla="*/ 1389078 h 1764705"/>
              <a:gd name="connsiteX10" fmla="*/ 8345127 w 12191315"/>
              <a:gd name="connsiteY10" fmla="*/ 735829 h 1764705"/>
              <a:gd name="connsiteX11" fmla="*/ 6497606 w 12191315"/>
              <a:gd name="connsiteY11" fmla="*/ 43189 h 1764705"/>
              <a:gd name="connsiteX12" fmla="*/ 4648257 w 12191315"/>
              <a:gd name="connsiteY12" fmla="*/ 167393 h 1764705"/>
              <a:gd name="connsiteX13" fmla="*/ 2508036 w 12191315"/>
              <a:gd name="connsiteY13" fmla="*/ 775220 h 1764705"/>
              <a:gd name="connsiteX14" fmla="*/ 2740 w 12191315"/>
              <a:gd name="connsiteY14" fmla="*/ 1764705 h 1764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1315" h="1764705">
                <a:moveTo>
                  <a:pt x="2740" y="1764705"/>
                </a:moveTo>
                <a:lnTo>
                  <a:pt x="0" y="1760559"/>
                </a:lnTo>
                <a:cubicBezTo>
                  <a:pt x="11187" y="1755282"/>
                  <a:pt x="1145454" y="1238865"/>
                  <a:pt x="2506666" y="770885"/>
                </a:cubicBezTo>
                <a:cubicBezTo>
                  <a:pt x="3305767" y="495902"/>
                  <a:pt x="4026557" y="291409"/>
                  <a:pt x="4647572" y="162681"/>
                </a:cubicBezTo>
                <a:cubicBezTo>
                  <a:pt x="5424070" y="1914"/>
                  <a:pt x="6046912" y="-39739"/>
                  <a:pt x="6498747" y="37912"/>
                </a:cubicBezTo>
                <a:cubicBezTo>
                  <a:pt x="7191682" y="158158"/>
                  <a:pt x="7779592" y="449726"/>
                  <a:pt x="8348096" y="731683"/>
                </a:cubicBezTo>
                <a:cubicBezTo>
                  <a:pt x="9438754" y="1272601"/>
                  <a:pt x="10469138" y="1783553"/>
                  <a:pt x="12189260" y="1206824"/>
                </a:cubicBezTo>
                <a:lnTo>
                  <a:pt x="12191316" y="1211159"/>
                </a:lnTo>
                <a:cubicBezTo>
                  <a:pt x="11777152" y="1350064"/>
                  <a:pt x="11392214" y="1429788"/>
                  <a:pt x="11014125" y="1455232"/>
                </a:cubicBezTo>
                <a:cubicBezTo>
                  <a:pt x="10681669" y="1478066"/>
                  <a:pt x="10346929" y="1455718"/>
                  <a:pt x="10023239" y="1389078"/>
                </a:cubicBezTo>
                <a:cubicBezTo>
                  <a:pt x="9410900" y="1264308"/>
                  <a:pt x="8869109" y="995545"/>
                  <a:pt x="8345127" y="735829"/>
                </a:cubicBezTo>
                <a:cubicBezTo>
                  <a:pt x="7777081" y="454815"/>
                  <a:pt x="7189399" y="163247"/>
                  <a:pt x="6497606" y="43189"/>
                </a:cubicBezTo>
                <a:cubicBezTo>
                  <a:pt x="6046685" y="-35027"/>
                  <a:pt x="5424527" y="6625"/>
                  <a:pt x="4648257" y="167393"/>
                </a:cubicBezTo>
                <a:cubicBezTo>
                  <a:pt x="4027470" y="295932"/>
                  <a:pt x="3307366" y="500426"/>
                  <a:pt x="2508036" y="775220"/>
                </a:cubicBezTo>
                <a:cubicBezTo>
                  <a:pt x="1147738" y="1243011"/>
                  <a:pt x="13927" y="1759428"/>
                  <a:pt x="2740" y="1764705"/>
                </a:cubicBezTo>
                <a:close/>
              </a:path>
            </a:pathLst>
          </a:custGeom>
          <a:solidFill>
            <a:schemeClr val="bg1">
              <a:alpha val="10000"/>
            </a:schemeClr>
          </a:solidFill>
          <a:ln w="12700" cap="flat">
            <a:noFill/>
            <a:prstDash val="solid"/>
            <a:miter/>
          </a:ln>
        </p:spPr>
        <p:txBody>
          <a:bodyPr rtlCol="0" anchor="ctr"/>
          <a:lstStyle/>
          <a:p>
            <a:endParaRPr lang="zh-CN" altLang="en-US"/>
          </a:p>
        </p:txBody>
      </p:sp>
      <p:sp>
        <p:nvSpPr>
          <p:cNvPr id="7" name="任意多边形: 形状 6">
            <a:extLst>
              <a:ext uri="{FF2B5EF4-FFF2-40B4-BE49-F238E27FC236}">
                <a16:creationId xmlns:a16="http://schemas.microsoft.com/office/drawing/2014/main" id="{D0DFD322-A29D-4F86-898D-D68A90B9694B}"/>
              </a:ext>
            </a:extLst>
          </p:cNvPr>
          <p:cNvSpPr/>
          <p:nvPr/>
        </p:nvSpPr>
        <p:spPr>
          <a:xfrm>
            <a:off x="0" y="2907586"/>
            <a:ext cx="12195652" cy="1129205"/>
          </a:xfrm>
          <a:custGeom>
            <a:avLst/>
            <a:gdLst>
              <a:gd name="connsiteX0" fmla="*/ 5413568 w 12195652"/>
              <a:gd name="connsiteY0" fmla="*/ 1129205 h 1129205"/>
              <a:gd name="connsiteX1" fmla="*/ 2840919 w 12195652"/>
              <a:gd name="connsiteY1" fmla="*/ 609396 h 1129205"/>
              <a:gd name="connsiteX2" fmla="*/ 5023 w 12195652"/>
              <a:gd name="connsiteY2" fmla="*/ 145374 h 1129205"/>
              <a:gd name="connsiteX3" fmla="*/ 0 w 12195652"/>
              <a:gd name="connsiteY3" fmla="*/ 126904 h 1129205"/>
              <a:gd name="connsiteX4" fmla="*/ 2848225 w 12195652"/>
              <a:gd name="connsiteY4" fmla="*/ 590925 h 1129205"/>
              <a:gd name="connsiteX5" fmla="*/ 5413568 w 12195652"/>
              <a:gd name="connsiteY5" fmla="*/ 1109604 h 1129205"/>
              <a:gd name="connsiteX6" fmla="*/ 7740322 w 12195652"/>
              <a:gd name="connsiteY6" fmla="*/ 629939 h 1129205"/>
              <a:gd name="connsiteX7" fmla="*/ 12195652 w 12195652"/>
              <a:gd name="connsiteY7" fmla="*/ 157436 h 1129205"/>
              <a:gd name="connsiteX8" fmla="*/ 12187662 w 12195652"/>
              <a:gd name="connsiteY8" fmla="*/ 175153 h 1129205"/>
              <a:gd name="connsiteX9" fmla="*/ 7747628 w 12195652"/>
              <a:gd name="connsiteY9" fmla="*/ 648221 h 1129205"/>
              <a:gd name="connsiteX10" fmla="*/ 5413568 w 12195652"/>
              <a:gd name="connsiteY10" fmla="*/ 1129205 h 11292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5652" h="1129205">
                <a:moveTo>
                  <a:pt x="5413568" y="1129205"/>
                </a:moveTo>
                <a:cubicBezTo>
                  <a:pt x="4657618" y="1129205"/>
                  <a:pt x="3734086" y="865343"/>
                  <a:pt x="2840919" y="609396"/>
                </a:cubicBezTo>
                <a:cubicBezTo>
                  <a:pt x="1763502" y="301242"/>
                  <a:pt x="746132" y="10239"/>
                  <a:pt x="5023" y="145374"/>
                </a:cubicBezTo>
                <a:lnTo>
                  <a:pt x="0" y="126904"/>
                </a:lnTo>
                <a:cubicBezTo>
                  <a:pt x="747502" y="-9363"/>
                  <a:pt x="1768068" y="282583"/>
                  <a:pt x="2848225" y="590925"/>
                </a:cubicBezTo>
                <a:cubicBezTo>
                  <a:pt x="3738652" y="845930"/>
                  <a:pt x="4661271" y="1109604"/>
                  <a:pt x="5413568" y="1109604"/>
                </a:cubicBezTo>
                <a:cubicBezTo>
                  <a:pt x="6031159" y="1109604"/>
                  <a:pt x="6861311" y="876651"/>
                  <a:pt x="7740322" y="629939"/>
                </a:cubicBezTo>
                <a:cubicBezTo>
                  <a:pt x="9212723" y="217371"/>
                  <a:pt x="10881702" y="-250985"/>
                  <a:pt x="12195652" y="157436"/>
                </a:cubicBezTo>
                <a:lnTo>
                  <a:pt x="12187662" y="175153"/>
                </a:lnTo>
                <a:cubicBezTo>
                  <a:pt x="10881474" y="-231384"/>
                  <a:pt x="9216604" y="235841"/>
                  <a:pt x="7747628" y="648221"/>
                </a:cubicBezTo>
                <a:cubicBezTo>
                  <a:pt x="6866791" y="895687"/>
                  <a:pt x="6034812" y="1129205"/>
                  <a:pt x="5413568" y="1129205"/>
                </a:cubicBezTo>
                <a:close/>
              </a:path>
            </a:pathLst>
          </a:custGeom>
          <a:gradFill>
            <a:gsLst>
              <a:gs pos="100000">
                <a:schemeClr val="accent1">
                  <a:lumMod val="50000"/>
                  <a:lumOff val="50000"/>
                </a:schemeClr>
              </a:gs>
              <a:gs pos="0">
                <a:srgbClr val="00B0F0"/>
              </a:gs>
            </a:gsLst>
            <a:lin ang="0" scaled="0"/>
          </a:gradFill>
          <a:ln w="15875" cap="flat">
            <a:gradFill>
              <a:gsLst>
                <a:gs pos="0">
                  <a:srgbClr val="00B0F0"/>
                </a:gs>
                <a:gs pos="100000">
                  <a:schemeClr val="accent1">
                    <a:lumMod val="50000"/>
                    <a:lumOff val="50000"/>
                  </a:schemeClr>
                </a:gs>
              </a:gsLst>
              <a:lin ang="0" scaled="0"/>
            </a:gradFill>
            <a:prstDash val="solid"/>
            <a:miter/>
          </a:ln>
        </p:spPr>
        <p:txBody>
          <a:bodyPr rtlCol="0" anchor="ctr"/>
          <a:lstStyle/>
          <a:p>
            <a:endParaRPr lang="zh-CN" altLang="en-US"/>
          </a:p>
        </p:txBody>
      </p:sp>
      <p:sp>
        <p:nvSpPr>
          <p:cNvPr id="17" name="椭圆 16">
            <a:extLst>
              <a:ext uri="{FF2B5EF4-FFF2-40B4-BE49-F238E27FC236}">
                <a16:creationId xmlns:a16="http://schemas.microsoft.com/office/drawing/2014/main" id="{48C605BF-1C3B-4975-BE20-D81596D207E4}"/>
              </a:ext>
            </a:extLst>
          </p:cNvPr>
          <p:cNvSpPr/>
          <p:nvPr/>
        </p:nvSpPr>
        <p:spPr>
          <a:xfrm>
            <a:off x="1076325" y="3034615"/>
            <a:ext cx="110189" cy="110189"/>
          </a:xfrm>
          <a:prstGeom prst="ellipse">
            <a:avLst/>
          </a:prstGeom>
          <a:solidFill>
            <a:schemeClr val="bg1"/>
          </a:solidFill>
          <a:ln>
            <a:noFill/>
          </a:ln>
          <a:effectLst>
            <a:outerShdw sx="170000" sy="170000" algn="ctr" rotWithShape="0">
              <a:schemeClr val="bg1">
                <a:alpha val="26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48" name="椭圆 47">
            <a:extLst>
              <a:ext uri="{FF2B5EF4-FFF2-40B4-BE49-F238E27FC236}">
                <a16:creationId xmlns:a16="http://schemas.microsoft.com/office/drawing/2014/main" id="{3D50BDDB-A856-48D0-BC7C-E5DBC6BF7F7D}"/>
              </a:ext>
            </a:extLst>
          </p:cNvPr>
          <p:cNvSpPr/>
          <p:nvPr/>
        </p:nvSpPr>
        <p:spPr>
          <a:xfrm>
            <a:off x="4292600" y="3853663"/>
            <a:ext cx="110189" cy="110189"/>
          </a:xfrm>
          <a:prstGeom prst="ellipse">
            <a:avLst/>
          </a:prstGeom>
          <a:solidFill>
            <a:schemeClr val="bg1"/>
          </a:solidFill>
          <a:ln>
            <a:noFill/>
          </a:ln>
          <a:effectLst>
            <a:outerShdw sx="170000" sy="170000" algn="ctr" rotWithShape="0">
              <a:schemeClr val="bg1">
                <a:alpha val="26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49" name="椭圆 48">
            <a:extLst>
              <a:ext uri="{FF2B5EF4-FFF2-40B4-BE49-F238E27FC236}">
                <a16:creationId xmlns:a16="http://schemas.microsoft.com/office/drawing/2014/main" id="{B64F47AF-6805-4C5F-8FE1-602FD580031A}"/>
              </a:ext>
            </a:extLst>
          </p:cNvPr>
          <p:cNvSpPr/>
          <p:nvPr/>
        </p:nvSpPr>
        <p:spPr>
          <a:xfrm>
            <a:off x="7508875" y="3539338"/>
            <a:ext cx="110189" cy="110189"/>
          </a:xfrm>
          <a:prstGeom prst="ellipse">
            <a:avLst/>
          </a:prstGeom>
          <a:solidFill>
            <a:schemeClr val="bg1"/>
          </a:solidFill>
          <a:ln>
            <a:noFill/>
          </a:ln>
          <a:effectLst>
            <a:outerShdw sx="170000" sy="170000" algn="ctr" rotWithShape="0">
              <a:schemeClr val="bg1">
                <a:alpha val="26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50" name="椭圆 49">
            <a:extLst>
              <a:ext uri="{FF2B5EF4-FFF2-40B4-BE49-F238E27FC236}">
                <a16:creationId xmlns:a16="http://schemas.microsoft.com/office/drawing/2014/main" id="{4A75F6E4-29FA-4F7C-A46C-A1C5F45F1F9F}"/>
              </a:ext>
            </a:extLst>
          </p:cNvPr>
          <p:cNvSpPr/>
          <p:nvPr/>
        </p:nvSpPr>
        <p:spPr>
          <a:xfrm>
            <a:off x="9886950" y="2967838"/>
            <a:ext cx="110189" cy="110189"/>
          </a:xfrm>
          <a:prstGeom prst="ellipse">
            <a:avLst/>
          </a:prstGeom>
          <a:solidFill>
            <a:schemeClr val="bg1"/>
          </a:solidFill>
          <a:ln>
            <a:noFill/>
          </a:ln>
          <a:effectLst>
            <a:outerShdw sx="170000" sy="170000" algn="ctr" rotWithShape="0">
              <a:schemeClr val="bg1">
                <a:alpha val="26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grpSp>
        <p:nvGrpSpPr>
          <p:cNvPr id="51" name="组合 50">
            <a:extLst>
              <a:ext uri="{FF2B5EF4-FFF2-40B4-BE49-F238E27FC236}">
                <a16:creationId xmlns:a16="http://schemas.microsoft.com/office/drawing/2014/main" id="{FE0DEE93-1D97-45F4-8511-9EA8A89844A0}"/>
              </a:ext>
            </a:extLst>
          </p:cNvPr>
          <p:cNvGrpSpPr/>
          <p:nvPr/>
        </p:nvGrpSpPr>
        <p:grpSpPr>
          <a:xfrm>
            <a:off x="975578" y="1922610"/>
            <a:ext cx="2236509" cy="978342"/>
            <a:chOff x="623153" y="2789856"/>
            <a:chExt cx="2236509" cy="978342"/>
          </a:xfrm>
        </p:grpSpPr>
        <p:sp>
          <p:nvSpPr>
            <p:cNvPr id="56" name="文本框 55">
              <a:extLst>
                <a:ext uri="{FF2B5EF4-FFF2-40B4-BE49-F238E27FC236}">
                  <a16:creationId xmlns:a16="http://schemas.microsoft.com/office/drawing/2014/main" id="{52117384-6B65-4215-B907-D85E79197776}"/>
                </a:ext>
              </a:extLst>
            </p:cNvPr>
            <p:cNvSpPr txBox="1"/>
            <p:nvPr/>
          </p:nvSpPr>
          <p:spPr>
            <a:xfrm>
              <a:off x="623153" y="2789856"/>
              <a:ext cx="1043876" cy="461665"/>
            </a:xfrm>
            <a:prstGeom prst="rect">
              <a:avLst/>
            </a:prstGeom>
            <a:noFill/>
          </p:spPr>
          <p:txBody>
            <a:bodyPr wrap="none" rtlCol="0">
              <a:spAutoFit/>
            </a:bodyPr>
            <a:lstStyle/>
            <a:p>
              <a:r>
                <a:rPr lang="en-US" altLang="zh-CN" sz="2400" dirty="0">
                  <a:solidFill>
                    <a:schemeClr val="bg1"/>
                  </a:solidFill>
                  <a:latin typeface="+mj-ea"/>
                  <a:ea typeface="+mj-ea"/>
                </a:rPr>
                <a:t>20XX</a:t>
              </a:r>
              <a:endParaRPr lang="zh-CN" altLang="en-US" sz="2400" dirty="0">
                <a:solidFill>
                  <a:schemeClr val="bg1"/>
                </a:solidFill>
                <a:latin typeface="+mj-ea"/>
                <a:ea typeface="+mj-ea"/>
              </a:endParaRPr>
            </a:p>
          </p:txBody>
        </p:sp>
        <p:sp>
          <p:nvSpPr>
            <p:cNvPr id="57" name="文本框 56">
              <a:extLst>
                <a:ext uri="{FF2B5EF4-FFF2-40B4-BE49-F238E27FC236}">
                  <a16:creationId xmlns:a16="http://schemas.microsoft.com/office/drawing/2014/main" id="{080BD10D-8B89-42D6-9AF5-4DBCADD126A7}"/>
                </a:ext>
              </a:extLst>
            </p:cNvPr>
            <p:cNvSpPr txBox="1"/>
            <p:nvPr/>
          </p:nvSpPr>
          <p:spPr>
            <a:xfrm>
              <a:off x="623153" y="3168034"/>
              <a:ext cx="2236509" cy="600164"/>
            </a:xfrm>
            <a:prstGeom prst="rect">
              <a:avLst/>
            </a:prstGeom>
            <a:noFill/>
          </p:spPr>
          <p:txBody>
            <a:bodyPr wrap="square" rtlCol="0">
              <a:spAutoFit/>
            </a:bodyPr>
            <a:lstStyle/>
            <a:p>
              <a:r>
                <a:rPr lang="en-US" altLang="zh-CN" sz="1100" dirty="0">
                  <a:solidFill>
                    <a:schemeClr val="bg1"/>
                  </a:solidFill>
                </a:rPr>
                <a:t>Lorem ipsum dolor sit amet, consectetur adipisicing elit, sed do eiusmod tempor</a:t>
              </a:r>
              <a:endParaRPr lang="zh-CN" altLang="en-US" sz="1100" dirty="0">
                <a:solidFill>
                  <a:schemeClr val="bg1"/>
                </a:solidFill>
              </a:endParaRPr>
            </a:p>
          </p:txBody>
        </p:sp>
      </p:grpSp>
      <p:grpSp>
        <p:nvGrpSpPr>
          <p:cNvPr id="58" name="组合 57">
            <a:extLst>
              <a:ext uri="{FF2B5EF4-FFF2-40B4-BE49-F238E27FC236}">
                <a16:creationId xmlns:a16="http://schemas.microsoft.com/office/drawing/2014/main" id="{A624AB57-4CF1-4068-A621-4E39268C4FDD}"/>
              </a:ext>
            </a:extLst>
          </p:cNvPr>
          <p:cNvGrpSpPr/>
          <p:nvPr/>
        </p:nvGrpSpPr>
        <p:grpSpPr>
          <a:xfrm>
            <a:off x="4204553" y="4122946"/>
            <a:ext cx="2236509" cy="978342"/>
            <a:chOff x="623153" y="2789856"/>
            <a:chExt cx="2236509" cy="978342"/>
          </a:xfrm>
        </p:grpSpPr>
        <p:sp>
          <p:nvSpPr>
            <p:cNvPr id="59" name="文本框 58">
              <a:extLst>
                <a:ext uri="{FF2B5EF4-FFF2-40B4-BE49-F238E27FC236}">
                  <a16:creationId xmlns:a16="http://schemas.microsoft.com/office/drawing/2014/main" id="{6842DF49-B02B-4111-8F01-307D07EC38D8}"/>
                </a:ext>
              </a:extLst>
            </p:cNvPr>
            <p:cNvSpPr txBox="1"/>
            <p:nvPr/>
          </p:nvSpPr>
          <p:spPr>
            <a:xfrm>
              <a:off x="623153" y="2789856"/>
              <a:ext cx="1043876" cy="461665"/>
            </a:xfrm>
            <a:prstGeom prst="rect">
              <a:avLst/>
            </a:prstGeom>
            <a:noFill/>
          </p:spPr>
          <p:txBody>
            <a:bodyPr wrap="none" rtlCol="0">
              <a:spAutoFit/>
            </a:bodyPr>
            <a:lstStyle/>
            <a:p>
              <a:r>
                <a:rPr lang="en-US" altLang="zh-CN" sz="2400" dirty="0">
                  <a:solidFill>
                    <a:schemeClr val="bg1"/>
                  </a:solidFill>
                  <a:latin typeface="+mj-ea"/>
                  <a:ea typeface="+mj-ea"/>
                </a:rPr>
                <a:t>20XX</a:t>
              </a:r>
              <a:endParaRPr lang="zh-CN" altLang="en-US" sz="2400" dirty="0">
                <a:solidFill>
                  <a:schemeClr val="bg1"/>
                </a:solidFill>
                <a:latin typeface="+mj-ea"/>
                <a:ea typeface="+mj-ea"/>
              </a:endParaRPr>
            </a:p>
          </p:txBody>
        </p:sp>
        <p:sp>
          <p:nvSpPr>
            <p:cNvPr id="60" name="文本框 59">
              <a:extLst>
                <a:ext uri="{FF2B5EF4-FFF2-40B4-BE49-F238E27FC236}">
                  <a16:creationId xmlns:a16="http://schemas.microsoft.com/office/drawing/2014/main" id="{5B7D3830-465B-40DE-AECC-DD097C19182B}"/>
                </a:ext>
              </a:extLst>
            </p:cNvPr>
            <p:cNvSpPr txBox="1"/>
            <p:nvPr/>
          </p:nvSpPr>
          <p:spPr>
            <a:xfrm>
              <a:off x="623153" y="3168034"/>
              <a:ext cx="2236509" cy="600164"/>
            </a:xfrm>
            <a:prstGeom prst="rect">
              <a:avLst/>
            </a:prstGeom>
            <a:noFill/>
          </p:spPr>
          <p:txBody>
            <a:bodyPr wrap="square" rtlCol="0">
              <a:spAutoFit/>
            </a:bodyPr>
            <a:lstStyle/>
            <a:p>
              <a:r>
                <a:rPr lang="en-US" altLang="zh-CN" sz="1100" dirty="0">
                  <a:solidFill>
                    <a:schemeClr val="bg1"/>
                  </a:solidFill>
                </a:rPr>
                <a:t>Lorem ipsum dolor sit amet, consectetur adipisicing elit, sed do eiusmod tempor</a:t>
              </a:r>
              <a:endParaRPr lang="zh-CN" altLang="en-US" sz="1100" dirty="0">
                <a:solidFill>
                  <a:schemeClr val="bg1"/>
                </a:solidFill>
              </a:endParaRPr>
            </a:p>
          </p:txBody>
        </p:sp>
      </p:grpSp>
      <p:grpSp>
        <p:nvGrpSpPr>
          <p:cNvPr id="61" name="组合 60">
            <a:extLst>
              <a:ext uri="{FF2B5EF4-FFF2-40B4-BE49-F238E27FC236}">
                <a16:creationId xmlns:a16="http://schemas.microsoft.com/office/drawing/2014/main" id="{E829E753-3A54-459E-9C64-AB55E82A0192}"/>
              </a:ext>
            </a:extLst>
          </p:cNvPr>
          <p:cNvGrpSpPr/>
          <p:nvPr/>
        </p:nvGrpSpPr>
        <p:grpSpPr>
          <a:xfrm>
            <a:off x="7398391" y="3780990"/>
            <a:ext cx="2236509" cy="978342"/>
            <a:chOff x="623153" y="2789856"/>
            <a:chExt cx="2236509" cy="978342"/>
          </a:xfrm>
        </p:grpSpPr>
        <p:sp>
          <p:nvSpPr>
            <p:cNvPr id="62" name="文本框 61">
              <a:extLst>
                <a:ext uri="{FF2B5EF4-FFF2-40B4-BE49-F238E27FC236}">
                  <a16:creationId xmlns:a16="http://schemas.microsoft.com/office/drawing/2014/main" id="{84625A7C-E507-4711-9D46-2F3F9C744C29}"/>
                </a:ext>
              </a:extLst>
            </p:cNvPr>
            <p:cNvSpPr txBox="1"/>
            <p:nvPr/>
          </p:nvSpPr>
          <p:spPr>
            <a:xfrm>
              <a:off x="623153" y="2789856"/>
              <a:ext cx="1043876" cy="461665"/>
            </a:xfrm>
            <a:prstGeom prst="rect">
              <a:avLst/>
            </a:prstGeom>
            <a:noFill/>
          </p:spPr>
          <p:txBody>
            <a:bodyPr wrap="none" rtlCol="0">
              <a:spAutoFit/>
            </a:bodyPr>
            <a:lstStyle/>
            <a:p>
              <a:r>
                <a:rPr lang="en-US" altLang="zh-CN" sz="2400" dirty="0">
                  <a:solidFill>
                    <a:schemeClr val="bg1"/>
                  </a:solidFill>
                  <a:latin typeface="+mj-ea"/>
                  <a:ea typeface="+mj-ea"/>
                </a:rPr>
                <a:t>20XX</a:t>
              </a:r>
              <a:endParaRPr lang="zh-CN" altLang="en-US" sz="2400" dirty="0">
                <a:solidFill>
                  <a:schemeClr val="bg1"/>
                </a:solidFill>
                <a:latin typeface="+mj-ea"/>
                <a:ea typeface="+mj-ea"/>
              </a:endParaRPr>
            </a:p>
          </p:txBody>
        </p:sp>
        <p:sp>
          <p:nvSpPr>
            <p:cNvPr id="63" name="文本框 62">
              <a:extLst>
                <a:ext uri="{FF2B5EF4-FFF2-40B4-BE49-F238E27FC236}">
                  <a16:creationId xmlns:a16="http://schemas.microsoft.com/office/drawing/2014/main" id="{862763D4-4069-401C-A94E-93C7065D8C07}"/>
                </a:ext>
              </a:extLst>
            </p:cNvPr>
            <p:cNvSpPr txBox="1"/>
            <p:nvPr/>
          </p:nvSpPr>
          <p:spPr>
            <a:xfrm>
              <a:off x="623153" y="3168034"/>
              <a:ext cx="2236509" cy="600164"/>
            </a:xfrm>
            <a:prstGeom prst="rect">
              <a:avLst/>
            </a:prstGeom>
            <a:noFill/>
          </p:spPr>
          <p:txBody>
            <a:bodyPr wrap="square" rtlCol="0">
              <a:spAutoFit/>
            </a:bodyPr>
            <a:lstStyle/>
            <a:p>
              <a:r>
                <a:rPr lang="en-US" altLang="zh-CN" sz="1100" dirty="0">
                  <a:solidFill>
                    <a:schemeClr val="bg1"/>
                  </a:solidFill>
                </a:rPr>
                <a:t>Lorem ipsum dolor sit amet, consectetur adipisicing elit, sed do eiusmod tempor</a:t>
              </a:r>
              <a:endParaRPr lang="zh-CN" altLang="en-US" sz="1100" dirty="0">
                <a:solidFill>
                  <a:schemeClr val="bg1"/>
                </a:solidFill>
              </a:endParaRPr>
            </a:p>
          </p:txBody>
        </p:sp>
      </p:grpSp>
      <p:grpSp>
        <p:nvGrpSpPr>
          <p:cNvPr id="72" name="组合 71">
            <a:extLst>
              <a:ext uri="{FF2B5EF4-FFF2-40B4-BE49-F238E27FC236}">
                <a16:creationId xmlns:a16="http://schemas.microsoft.com/office/drawing/2014/main" id="{6D8C0CC9-8E6B-42EB-BC95-6FE1A5279E06}"/>
              </a:ext>
            </a:extLst>
          </p:cNvPr>
          <p:cNvGrpSpPr/>
          <p:nvPr/>
        </p:nvGrpSpPr>
        <p:grpSpPr>
          <a:xfrm>
            <a:off x="9798691" y="1827846"/>
            <a:ext cx="2236509" cy="978342"/>
            <a:chOff x="623153" y="2789856"/>
            <a:chExt cx="2236509" cy="978342"/>
          </a:xfrm>
        </p:grpSpPr>
        <p:sp>
          <p:nvSpPr>
            <p:cNvPr id="73" name="文本框 72">
              <a:extLst>
                <a:ext uri="{FF2B5EF4-FFF2-40B4-BE49-F238E27FC236}">
                  <a16:creationId xmlns:a16="http://schemas.microsoft.com/office/drawing/2014/main" id="{0BE7018B-483F-47E7-9257-78212148C61D}"/>
                </a:ext>
              </a:extLst>
            </p:cNvPr>
            <p:cNvSpPr txBox="1"/>
            <p:nvPr/>
          </p:nvSpPr>
          <p:spPr>
            <a:xfrm>
              <a:off x="623153" y="2789856"/>
              <a:ext cx="1043876" cy="461665"/>
            </a:xfrm>
            <a:prstGeom prst="rect">
              <a:avLst/>
            </a:prstGeom>
            <a:noFill/>
          </p:spPr>
          <p:txBody>
            <a:bodyPr wrap="none" rtlCol="0">
              <a:spAutoFit/>
            </a:bodyPr>
            <a:lstStyle/>
            <a:p>
              <a:r>
                <a:rPr lang="en-US" altLang="zh-CN" sz="2400" dirty="0">
                  <a:solidFill>
                    <a:schemeClr val="bg1"/>
                  </a:solidFill>
                  <a:latin typeface="+mj-ea"/>
                  <a:ea typeface="+mj-ea"/>
                </a:rPr>
                <a:t>20XX</a:t>
              </a:r>
              <a:endParaRPr lang="zh-CN" altLang="en-US" sz="2400" dirty="0">
                <a:solidFill>
                  <a:schemeClr val="bg1"/>
                </a:solidFill>
                <a:latin typeface="+mj-ea"/>
                <a:ea typeface="+mj-ea"/>
              </a:endParaRPr>
            </a:p>
          </p:txBody>
        </p:sp>
        <p:sp>
          <p:nvSpPr>
            <p:cNvPr id="74" name="文本框 73">
              <a:extLst>
                <a:ext uri="{FF2B5EF4-FFF2-40B4-BE49-F238E27FC236}">
                  <a16:creationId xmlns:a16="http://schemas.microsoft.com/office/drawing/2014/main" id="{566F5362-A60E-4C4F-9D14-C2DADB8C0879}"/>
                </a:ext>
              </a:extLst>
            </p:cNvPr>
            <p:cNvSpPr txBox="1"/>
            <p:nvPr/>
          </p:nvSpPr>
          <p:spPr>
            <a:xfrm>
              <a:off x="623153" y="3168034"/>
              <a:ext cx="2236509" cy="600164"/>
            </a:xfrm>
            <a:prstGeom prst="rect">
              <a:avLst/>
            </a:prstGeom>
            <a:noFill/>
          </p:spPr>
          <p:txBody>
            <a:bodyPr wrap="square" rtlCol="0">
              <a:spAutoFit/>
            </a:bodyPr>
            <a:lstStyle/>
            <a:p>
              <a:r>
                <a:rPr lang="en-US" altLang="zh-CN" sz="1100" dirty="0">
                  <a:solidFill>
                    <a:schemeClr val="bg1"/>
                  </a:solidFill>
                </a:rPr>
                <a:t>Lorem ipsum dolor sit amet, consectetur adipisicing elit, sed do eiusmod tempor</a:t>
              </a:r>
              <a:endParaRPr lang="zh-CN" altLang="en-US" sz="1100" dirty="0">
                <a:solidFill>
                  <a:schemeClr val="bg1"/>
                </a:solidFill>
              </a:endParaRPr>
            </a:p>
          </p:txBody>
        </p:sp>
      </p:grpSp>
    </p:spTree>
    <p:custDataLst>
      <p:tags r:id="rId2"/>
    </p:custDataLst>
    <p:extLst>
      <p:ext uri="{BB962C8B-B14F-4D97-AF65-F5344CB8AC3E}">
        <p14:creationId xmlns:p14="http://schemas.microsoft.com/office/powerpoint/2010/main" val="3330872289"/>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3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直接连接符 2">
            <a:extLst>
              <a:ext uri="{FF2B5EF4-FFF2-40B4-BE49-F238E27FC236}">
                <a16:creationId xmlns:a16="http://schemas.microsoft.com/office/drawing/2014/main" id="{6031F5E1-B225-4CE2-B59B-D667BF975128}"/>
              </a:ext>
            </a:extLst>
          </p:cNvPr>
          <p:cNvCxnSpPr/>
          <p:nvPr/>
        </p:nvCxnSpPr>
        <p:spPr>
          <a:xfrm>
            <a:off x="0" y="5534152"/>
            <a:ext cx="12192000" cy="0"/>
          </a:xfrm>
          <a:prstGeom prst="line">
            <a:avLst/>
          </a:prstGeom>
          <a:ln w="57150"/>
        </p:spPr>
        <p:style>
          <a:lnRef idx="1">
            <a:schemeClr val="accent1"/>
          </a:lnRef>
          <a:fillRef idx="0">
            <a:schemeClr val="accent1"/>
          </a:fillRef>
          <a:effectRef idx="0">
            <a:schemeClr val="accent1"/>
          </a:effectRef>
          <a:fontRef idx="minor">
            <a:schemeClr val="tx1"/>
          </a:fontRef>
        </p:style>
      </p:cxnSp>
      <p:grpSp>
        <p:nvGrpSpPr>
          <p:cNvPr id="9" name="组合 8">
            <a:extLst>
              <a:ext uri="{FF2B5EF4-FFF2-40B4-BE49-F238E27FC236}">
                <a16:creationId xmlns:a16="http://schemas.microsoft.com/office/drawing/2014/main" id="{C139A704-7C88-4796-BE85-AF312DC6F6D1}"/>
              </a:ext>
            </a:extLst>
          </p:cNvPr>
          <p:cNvGrpSpPr/>
          <p:nvPr/>
        </p:nvGrpSpPr>
        <p:grpSpPr>
          <a:xfrm>
            <a:off x="766053" y="2287594"/>
            <a:ext cx="1737994" cy="3256083"/>
            <a:chOff x="632461" y="1976317"/>
            <a:chExt cx="1737994" cy="3256083"/>
          </a:xfrm>
        </p:grpSpPr>
        <p:cxnSp>
          <p:nvCxnSpPr>
            <p:cNvPr id="5" name="直接连接符 4">
              <a:extLst>
                <a:ext uri="{FF2B5EF4-FFF2-40B4-BE49-F238E27FC236}">
                  <a16:creationId xmlns:a16="http://schemas.microsoft.com/office/drawing/2014/main" id="{ED4E88A3-D33F-4CCE-9C1A-39A90AF6C75B}"/>
                </a:ext>
              </a:extLst>
            </p:cNvPr>
            <p:cNvCxnSpPr/>
            <p:nvPr/>
          </p:nvCxnSpPr>
          <p:spPr>
            <a:xfrm>
              <a:off x="2364740" y="2298700"/>
              <a:ext cx="0" cy="293370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6" name="直角三角形 5">
              <a:extLst>
                <a:ext uri="{FF2B5EF4-FFF2-40B4-BE49-F238E27FC236}">
                  <a16:creationId xmlns:a16="http://schemas.microsoft.com/office/drawing/2014/main" id="{B18B41D9-6E33-4394-ADA0-5B1D60E05CB3}"/>
                </a:ext>
              </a:extLst>
            </p:cNvPr>
            <p:cNvSpPr/>
            <p:nvPr/>
          </p:nvSpPr>
          <p:spPr>
            <a:xfrm flipH="1">
              <a:off x="2186940" y="5025390"/>
              <a:ext cx="177799" cy="177799"/>
            </a:xfrm>
            <a:prstGeom prst="r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7" name="矩形 6">
              <a:extLst>
                <a:ext uri="{FF2B5EF4-FFF2-40B4-BE49-F238E27FC236}">
                  <a16:creationId xmlns:a16="http://schemas.microsoft.com/office/drawing/2014/main" id="{2349308A-A640-4EC6-BE85-7F5693F14DC3}"/>
                </a:ext>
              </a:extLst>
            </p:cNvPr>
            <p:cNvSpPr/>
            <p:nvPr/>
          </p:nvSpPr>
          <p:spPr>
            <a:xfrm>
              <a:off x="1587503" y="2298700"/>
              <a:ext cx="782952" cy="4919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8" name="文本框 7">
              <a:extLst>
                <a:ext uri="{FF2B5EF4-FFF2-40B4-BE49-F238E27FC236}">
                  <a16:creationId xmlns:a16="http://schemas.microsoft.com/office/drawing/2014/main" id="{4C4ACF32-FDC8-4305-B5F8-65780040AB39}"/>
                </a:ext>
              </a:extLst>
            </p:cNvPr>
            <p:cNvSpPr txBox="1"/>
            <p:nvPr/>
          </p:nvSpPr>
          <p:spPr>
            <a:xfrm>
              <a:off x="1629481" y="1976317"/>
              <a:ext cx="714939" cy="307777"/>
            </a:xfrm>
            <a:prstGeom prst="rect">
              <a:avLst/>
            </a:prstGeom>
            <a:noFill/>
          </p:spPr>
          <p:txBody>
            <a:bodyPr wrap="none" lIns="0" tIns="0" rIns="0" bIns="0" rtlCol="0" anchor="t">
              <a:spAutoFit/>
            </a:bodyPr>
            <a:lstStyle/>
            <a:p>
              <a:pPr algn="l"/>
              <a:r>
                <a:rPr lang="en-US" altLang="zh-CN" sz="2000" dirty="0">
                  <a:solidFill>
                    <a:schemeClr val="accent1"/>
                  </a:solidFill>
                  <a:latin typeface="+mj-ea"/>
                  <a:ea typeface="+mj-ea"/>
                </a:rPr>
                <a:t>20XX</a:t>
              </a:r>
              <a:endParaRPr lang="zh-CN" altLang="en-US" sz="2000" dirty="0">
                <a:solidFill>
                  <a:schemeClr val="accent1"/>
                </a:solidFill>
                <a:latin typeface="+mj-ea"/>
                <a:ea typeface="+mj-ea"/>
              </a:endParaRPr>
            </a:p>
          </p:txBody>
        </p:sp>
        <p:sp>
          <p:nvSpPr>
            <p:cNvPr id="44" name="文本框 43">
              <a:extLst>
                <a:ext uri="{FF2B5EF4-FFF2-40B4-BE49-F238E27FC236}">
                  <a16:creationId xmlns:a16="http://schemas.microsoft.com/office/drawing/2014/main" id="{F47918AC-4A33-48F8-9C0C-9FE036690C8B}"/>
                </a:ext>
              </a:extLst>
            </p:cNvPr>
            <p:cNvSpPr txBox="1"/>
            <p:nvPr/>
          </p:nvSpPr>
          <p:spPr>
            <a:xfrm>
              <a:off x="632461" y="2401723"/>
              <a:ext cx="1692961" cy="769441"/>
            </a:xfrm>
            <a:prstGeom prst="rect">
              <a:avLst/>
            </a:prstGeom>
            <a:noFill/>
          </p:spPr>
          <p:txBody>
            <a:bodyPr wrap="square" rtlCol="0">
              <a:spAutoFit/>
            </a:bodyPr>
            <a:lstStyle/>
            <a:p>
              <a:pPr algn="r"/>
              <a:r>
                <a:rPr lang="en-US" altLang="zh-CN" sz="1100" dirty="0">
                  <a:solidFill>
                    <a:schemeClr val="accent1"/>
                  </a:solidFill>
                </a:rPr>
                <a:t>Lorem ipsum dolor sit amet consectetur adipisicing elit sed do eiusmod tempor</a:t>
              </a:r>
              <a:endParaRPr lang="zh-CN" altLang="en-US" sz="1100" dirty="0">
                <a:solidFill>
                  <a:schemeClr val="accent1"/>
                </a:solidFill>
              </a:endParaRPr>
            </a:p>
          </p:txBody>
        </p:sp>
      </p:grpSp>
      <p:cxnSp>
        <p:nvCxnSpPr>
          <p:cNvPr id="46" name="直接连接符 45">
            <a:extLst>
              <a:ext uri="{FF2B5EF4-FFF2-40B4-BE49-F238E27FC236}">
                <a16:creationId xmlns:a16="http://schemas.microsoft.com/office/drawing/2014/main" id="{E18A7C70-0FD8-4198-8888-6B376F41B5A1}"/>
              </a:ext>
            </a:extLst>
          </p:cNvPr>
          <p:cNvCxnSpPr>
            <a:cxnSpLocks/>
          </p:cNvCxnSpPr>
          <p:nvPr/>
        </p:nvCxnSpPr>
        <p:spPr>
          <a:xfrm>
            <a:off x="4677652" y="3390233"/>
            <a:ext cx="0" cy="2153444"/>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7" name="直角三角形 46">
            <a:extLst>
              <a:ext uri="{FF2B5EF4-FFF2-40B4-BE49-F238E27FC236}">
                <a16:creationId xmlns:a16="http://schemas.microsoft.com/office/drawing/2014/main" id="{C9135BC8-0329-4301-97DE-B4E321227F24}"/>
              </a:ext>
            </a:extLst>
          </p:cNvPr>
          <p:cNvSpPr/>
          <p:nvPr/>
        </p:nvSpPr>
        <p:spPr>
          <a:xfrm flipH="1">
            <a:off x="4499852" y="5336667"/>
            <a:ext cx="177799" cy="177799"/>
          </a:xfrm>
          <a:prstGeom prst="r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48" name="矩形 47">
            <a:extLst>
              <a:ext uri="{FF2B5EF4-FFF2-40B4-BE49-F238E27FC236}">
                <a16:creationId xmlns:a16="http://schemas.microsoft.com/office/drawing/2014/main" id="{F2BF23A5-1246-4E9E-BAC7-3DF24295D6D2}"/>
              </a:ext>
            </a:extLst>
          </p:cNvPr>
          <p:cNvSpPr/>
          <p:nvPr/>
        </p:nvSpPr>
        <p:spPr>
          <a:xfrm>
            <a:off x="3894064" y="3390505"/>
            <a:ext cx="787715" cy="4735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49" name="文本框 48">
            <a:extLst>
              <a:ext uri="{FF2B5EF4-FFF2-40B4-BE49-F238E27FC236}">
                <a16:creationId xmlns:a16="http://schemas.microsoft.com/office/drawing/2014/main" id="{17C5E2E4-09C7-4838-B991-EDC81ECF7BA4}"/>
              </a:ext>
            </a:extLst>
          </p:cNvPr>
          <p:cNvSpPr txBox="1"/>
          <p:nvPr/>
        </p:nvSpPr>
        <p:spPr>
          <a:xfrm>
            <a:off x="3942393" y="3068122"/>
            <a:ext cx="714939" cy="307777"/>
          </a:xfrm>
          <a:prstGeom prst="rect">
            <a:avLst/>
          </a:prstGeom>
          <a:noFill/>
        </p:spPr>
        <p:txBody>
          <a:bodyPr wrap="none" lIns="0" tIns="0" rIns="0" bIns="0" rtlCol="0" anchor="t">
            <a:spAutoFit/>
          </a:bodyPr>
          <a:lstStyle/>
          <a:p>
            <a:pPr algn="l"/>
            <a:r>
              <a:rPr lang="en-US" altLang="zh-CN" sz="2000" dirty="0">
                <a:solidFill>
                  <a:schemeClr val="accent1"/>
                </a:solidFill>
                <a:latin typeface="+mj-ea"/>
                <a:ea typeface="+mj-ea"/>
              </a:rPr>
              <a:t>20XX</a:t>
            </a:r>
            <a:endParaRPr lang="zh-CN" altLang="en-US" sz="2000" dirty="0">
              <a:solidFill>
                <a:schemeClr val="accent1"/>
              </a:solidFill>
              <a:latin typeface="+mj-ea"/>
              <a:ea typeface="+mj-ea"/>
            </a:endParaRPr>
          </a:p>
        </p:txBody>
      </p:sp>
      <p:sp>
        <p:nvSpPr>
          <p:cNvPr id="50" name="文本框 49">
            <a:extLst>
              <a:ext uri="{FF2B5EF4-FFF2-40B4-BE49-F238E27FC236}">
                <a16:creationId xmlns:a16="http://schemas.microsoft.com/office/drawing/2014/main" id="{61E79899-F6C0-4254-A626-7A54279C5A65}"/>
              </a:ext>
            </a:extLst>
          </p:cNvPr>
          <p:cNvSpPr txBox="1"/>
          <p:nvPr/>
        </p:nvSpPr>
        <p:spPr>
          <a:xfrm>
            <a:off x="2945373" y="3493528"/>
            <a:ext cx="1692961" cy="769441"/>
          </a:xfrm>
          <a:prstGeom prst="rect">
            <a:avLst/>
          </a:prstGeom>
          <a:noFill/>
        </p:spPr>
        <p:txBody>
          <a:bodyPr wrap="square" rtlCol="0">
            <a:spAutoFit/>
          </a:bodyPr>
          <a:lstStyle/>
          <a:p>
            <a:pPr algn="r"/>
            <a:r>
              <a:rPr lang="en-US" altLang="zh-CN" sz="1100" dirty="0">
                <a:solidFill>
                  <a:schemeClr val="accent1"/>
                </a:solidFill>
              </a:rPr>
              <a:t>Lorem ipsum dolor sit amet consectetur adipisicing elit sed do eiusmod tempor</a:t>
            </a:r>
            <a:endParaRPr lang="zh-CN" altLang="en-US" sz="1100" dirty="0">
              <a:solidFill>
                <a:schemeClr val="accent1"/>
              </a:solidFill>
            </a:endParaRPr>
          </a:p>
        </p:txBody>
      </p:sp>
      <p:grpSp>
        <p:nvGrpSpPr>
          <p:cNvPr id="13" name="组合 12">
            <a:extLst>
              <a:ext uri="{FF2B5EF4-FFF2-40B4-BE49-F238E27FC236}">
                <a16:creationId xmlns:a16="http://schemas.microsoft.com/office/drawing/2014/main" id="{5B1BBC80-88E8-49ED-979B-94EEC59F8AD1}"/>
              </a:ext>
            </a:extLst>
          </p:cNvPr>
          <p:cNvGrpSpPr/>
          <p:nvPr/>
        </p:nvGrpSpPr>
        <p:grpSpPr>
          <a:xfrm>
            <a:off x="4830891" y="1780739"/>
            <a:ext cx="1713026" cy="3762938"/>
            <a:chOff x="4697299" y="1469462"/>
            <a:chExt cx="1713026" cy="3762938"/>
          </a:xfrm>
        </p:grpSpPr>
        <p:cxnSp>
          <p:nvCxnSpPr>
            <p:cNvPr id="51" name="直接连接符 50">
              <a:extLst>
                <a:ext uri="{FF2B5EF4-FFF2-40B4-BE49-F238E27FC236}">
                  <a16:creationId xmlns:a16="http://schemas.microsoft.com/office/drawing/2014/main" id="{4CCB750F-721F-4F6C-81D7-E4077941D889}"/>
                </a:ext>
              </a:extLst>
            </p:cNvPr>
            <p:cNvCxnSpPr>
              <a:cxnSpLocks/>
            </p:cNvCxnSpPr>
            <p:nvPr/>
          </p:nvCxnSpPr>
          <p:spPr>
            <a:xfrm>
              <a:off x="6400292" y="1801368"/>
              <a:ext cx="0" cy="3431032"/>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52" name="直角三角形 51">
              <a:extLst>
                <a:ext uri="{FF2B5EF4-FFF2-40B4-BE49-F238E27FC236}">
                  <a16:creationId xmlns:a16="http://schemas.microsoft.com/office/drawing/2014/main" id="{D5C0DDBA-8D8A-4BDE-A8EC-E220B53350AC}"/>
                </a:ext>
              </a:extLst>
            </p:cNvPr>
            <p:cNvSpPr/>
            <p:nvPr/>
          </p:nvSpPr>
          <p:spPr>
            <a:xfrm flipH="1">
              <a:off x="6222492" y="5025390"/>
              <a:ext cx="177799" cy="177799"/>
            </a:xfrm>
            <a:prstGeom prst="r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53" name="矩形 52">
              <a:extLst>
                <a:ext uri="{FF2B5EF4-FFF2-40B4-BE49-F238E27FC236}">
                  <a16:creationId xmlns:a16="http://schemas.microsoft.com/office/drawing/2014/main" id="{439D67B7-27A2-42CE-8175-8D901BAADF5E}"/>
                </a:ext>
              </a:extLst>
            </p:cNvPr>
            <p:cNvSpPr/>
            <p:nvPr/>
          </p:nvSpPr>
          <p:spPr>
            <a:xfrm>
              <a:off x="5616705" y="1791845"/>
              <a:ext cx="793620" cy="5124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54" name="文本框 53">
              <a:extLst>
                <a:ext uri="{FF2B5EF4-FFF2-40B4-BE49-F238E27FC236}">
                  <a16:creationId xmlns:a16="http://schemas.microsoft.com/office/drawing/2014/main" id="{E29220C0-6435-4EF5-8E01-8AD8AA3D79A4}"/>
                </a:ext>
              </a:extLst>
            </p:cNvPr>
            <p:cNvSpPr txBox="1"/>
            <p:nvPr/>
          </p:nvSpPr>
          <p:spPr>
            <a:xfrm>
              <a:off x="5665033" y="1469462"/>
              <a:ext cx="714939" cy="307777"/>
            </a:xfrm>
            <a:prstGeom prst="rect">
              <a:avLst/>
            </a:prstGeom>
            <a:noFill/>
          </p:spPr>
          <p:txBody>
            <a:bodyPr wrap="none" lIns="0" tIns="0" rIns="0" bIns="0" rtlCol="0" anchor="t">
              <a:spAutoFit/>
            </a:bodyPr>
            <a:lstStyle/>
            <a:p>
              <a:pPr algn="l"/>
              <a:r>
                <a:rPr lang="en-US" altLang="zh-CN" sz="2000" dirty="0">
                  <a:solidFill>
                    <a:schemeClr val="accent1"/>
                  </a:solidFill>
                  <a:latin typeface="+mj-ea"/>
                  <a:ea typeface="+mj-ea"/>
                </a:rPr>
                <a:t>20XX</a:t>
              </a:r>
              <a:endParaRPr lang="zh-CN" altLang="en-US" sz="2000" dirty="0">
                <a:solidFill>
                  <a:schemeClr val="accent1"/>
                </a:solidFill>
                <a:latin typeface="+mj-ea"/>
                <a:ea typeface="+mj-ea"/>
              </a:endParaRPr>
            </a:p>
          </p:txBody>
        </p:sp>
        <p:sp>
          <p:nvSpPr>
            <p:cNvPr id="55" name="文本框 54">
              <a:extLst>
                <a:ext uri="{FF2B5EF4-FFF2-40B4-BE49-F238E27FC236}">
                  <a16:creationId xmlns:a16="http://schemas.microsoft.com/office/drawing/2014/main" id="{A7BC3267-C550-4FF2-8AFC-53DCA703BEF6}"/>
                </a:ext>
              </a:extLst>
            </p:cNvPr>
            <p:cNvSpPr txBox="1"/>
            <p:nvPr/>
          </p:nvSpPr>
          <p:spPr>
            <a:xfrm>
              <a:off x="4697299" y="1872299"/>
              <a:ext cx="1692961" cy="769441"/>
            </a:xfrm>
            <a:prstGeom prst="rect">
              <a:avLst/>
            </a:prstGeom>
            <a:noFill/>
          </p:spPr>
          <p:txBody>
            <a:bodyPr wrap="square" rtlCol="0">
              <a:spAutoFit/>
            </a:bodyPr>
            <a:lstStyle/>
            <a:p>
              <a:pPr algn="r"/>
              <a:r>
                <a:rPr lang="en-US" altLang="zh-CN" sz="1100" dirty="0">
                  <a:solidFill>
                    <a:schemeClr val="accent1"/>
                  </a:solidFill>
                </a:rPr>
                <a:t>Lorem ipsum dolor sit amet consectetur adipisicing elit sed do eiusmod tempor</a:t>
              </a:r>
              <a:endParaRPr lang="zh-CN" altLang="en-US" sz="1100" dirty="0">
                <a:solidFill>
                  <a:schemeClr val="accent1"/>
                </a:solidFill>
              </a:endParaRPr>
            </a:p>
          </p:txBody>
        </p:sp>
      </p:grpSp>
      <p:grpSp>
        <p:nvGrpSpPr>
          <p:cNvPr id="56" name="组合 55">
            <a:extLst>
              <a:ext uri="{FF2B5EF4-FFF2-40B4-BE49-F238E27FC236}">
                <a16:creationId xmlns:a16="http://schemas.microsoft.com/office/drawing/2014/main" id="{13013886-7FA4-417A-9B7D-68A9BC078919}"/>
              </a:ext>
            </a:extLst>
          </p:cNvPr>
          <p:cNvGrpSpPr/>
          <p:nvPr/>
        </p:nvGrpSpPr>
        <p:grpSpPr>
          <a:xfrm>
            <a:off x="7135179" y="3051755"/>
            <a:ext cx="1713026" cy="2491922"/>
            <a:chOff x="4697299" y="2740478"/>
            <a:chExt cx="1713026" cy="2491922"/>
          </a:xfrm>
        </p:grpSpPr>
        <p:cxnSp>
          <p:nvCxnSpPr>
            <p:cNvPr id="57" name="直接连接符 56">
              <a:extLst>
                <a:ext uri="{FF2B5EF4-FFF2-40B4-BE49-F238E27FC236}">
                  <a16:creationId xmlns:a16="http://schemas.microsoft.com/office/drawing/2014/main" id="{BE739090-8F97-465A-9EB7-E3DC24A161AB}"/>
                </a:ext>
              </a:extLst>
            </p:cNvPr>
            <p:cNvCxnSpPr>
              <a:cxnSpLocks/>
            </p:cNvCxnSpPr>
            <p:nvPr/>
          </p:nvCxnSpPr>
          <p:spPr>
            <a:xfrm>
              <a:off x="6400292" y="3064622"/>
              <a:ext cx="0" cy="2167778"/>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58" name="直角三角形 57">
              <a:extLst>
                <a:ext uri="{FF2B5EF4-FFF2-40B4-BE49-F238E27FC236}">
                  <a16:creationId xmlns:a16="http://schemas.microsoft.com/office/drawing/2014/main" id="{CA0C8D0A-148C-499B-9825-A6CA1CF34BC1}"/>
                </a:ext>
              </a:extLst>
            </p:cNvPr>
            <p:cNvSpPr/>
            <p:nvPr/>
          </p:nvSpPr>
          <p:spPr>
            <a:xfrm flipH="1">
              <a:off x="6222492" y="5025390"/>
              <a:ext cx="177799" cy="177799"/>
            </a:xfrm>
            <a:prstGeom prst="r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59" name="矩形 58">
              <a:extLst>
                <a:ext uri="{FF2B5EF4-FFF2-40B4-BE49-F238E27FC236}">
                  <a16:creationId xmlns:a16="http://schemas.microsoft.com/office/drawing/2014/main" id="{50976C74-F770-40D7-BFAA-C257B4284A4E}"/>
                </a:ext>
              </a:extLst>
            </p:cNvPr>
            <p:cNvSpPr/>
            <p:nvPr/>
          </p:nvSpPr>
          <p:spPr>
            <a:xfrm>
              <a:off x="5616705" y="3062861"/>
              <a:ext cx="793620" cy="5124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60" name="文本框 59">
              <a:extLst>
                <a:ext uri="{FF2B5EF4-FFF2-40B4-BE49-F238E27FC236}">
                  <a16:creationId xmlns:a16="http://schemas.microsoft.com/office/drawing/2014/main" id="{D0FF6FD8-2EC7-4C56-B35B-2341F9435BC1}"/>
                </a:ext>
              </a:extLst>
            </p:cNvPr>
            <p:cNvSpPr txBox="1"/>
            <p:nvPr/>
          </p:nvSpPr>
          <p:spPr>
            <a:xfrm>
              <a:off x="5665033" y="2740478"/>
              <a:ext cx="714939" cy="307777"/>
            </a:xfrm>
            <a:prstGeom prst="rect">
              <a:avLst/>
            </a:prstGeom>
            <a:noFill/>
          </p:spPr>
          <p:txBody>
            <a:bodyPr wrap="none" lIns="0" tIns="0" rIns="0" bIns="0" rtlCol="0" anchor="t">
              <a:spAutoFit/>
            </a:bodyPr>
            <a:lstStyle/>
            <a:p>
              <a:pPr algn="l"/>
              <a:r>
                <a:rPr lang="en-US" altLang="zh-CN" sz="2000" dirty="0">
                  <a:solidFill>
                    <a:schemeClr val="accent1"/>
                  </a:solidFill>
                  <a:latin typeface="+mj-ea"/>
                  <a:ea typeface="+mj-ea"/>
                </a:rPr>
                <a:t>20XX</a:t>
              </a:r>
              <a:endParaRPr lang="zh-CN" altLang="en-US" sz="2000" dirty="0">
                <a:solidFill>
                  <a:schemeClr val="accent1"/>
                </a:solidFill>
                <a:latin typeface="+mj-ea"/>
                <a:ea typeface="+mj-ea"/>
              </a:endParaRPr>
            </a:p>
          </p:txBody>
        </p:sp>
        <p:sp>
          <p:nvSpPr>
            <p:cNvPr id="61" name="文本框 60">
              <a:extLst>
                <a:ext uri="{FF2B5EF4-FFF2-40B4-BE49-F238E27FC236}">
                  <a16:creationId xmlns:a16="http://schemas.microsoft.com/office/drawing/2014/main" id="{F191FBF9-07D4-417F-9DD8-F56653CE8D95}"/>
                </a:ext>
              </a:extLst>
            </p:cNvPr>
            <p:cNvSpPr txBox="1"/>
            <p:nvPr/>
          </p:nvSpPr>
          <p:spPr>
            <a:xfrm>
              <a:off x="4697299" y="3143315"/>
              <a:ext cx="1692961" cy="769441"/>
            </a:xfrm>
            <a:prstGeom prst="rect">
              <a:avLst/>
            </a:prstGeom>
            <a:noFill/>
          </p:spPr>
          <p:txBody>
            <a:bodyPr wrap="square" rtlCol="0">
              <a:spAutoFit/>
            </a:bodyPr>
            <a:lstStyle/>
            <a:p>
              <a:pPr algn="r"/>
              <a:r>
                <a:rPr lang="en-US" altLang="zh-CN" sz="1100" dirty="0">
                  <a:solidFill>
                    <a:schemeClr val="accent1"/>
                  </a:solidFill>
                </a:rPr>
                <a:t>Lorem ipsum dolor sit amet consectetur adipisicing elit sed do eiusmod tempor</a:t>
              </a:r>
              <a:endParaRPr lang="zh-CN" altLang="en-US" sz="1100" dirty="0">
                <a:solidFill>
                  <a:schemeClr val="accent1"/>
                </a:solidFill>
              </a:endParaRPr>
            </a:p>
          </p:txBody>
        </p:sp>
      </p:grpSp>
      <p:grpSp>
        <p:nvGrpSpPr>
          <p:cNvPr id="62" name="组合 61">
            <a:extLst>
              <a:ext uri="{FF2B5EF4-FFF2-40B4-BE49-F238E27FC236}">
                <a16:creationId xmlns:a16="http://schemas.microsoft.com/office/drawing/2014/main" id="{BD9FED9C-8D26-45F8-BEDB-CD1793C55C03}"/>
              </a:ext>
            </a:extLst>
          </p:cNvPr>
          <p:cNvGrpSpPr/>
          <p:nvPr/>
        </p:nvGrpSpPr>
        <p:grpSpPr>
          <a:xfrm>
            <a:off x="9712921" y="2129271"/>
            <a:ext cx="1713026" cy="3414406"/>
            <a:chOff x="4697299" y="1817994"/>
            <a:chExt cx="1713026" cy="3414406"/>
          </a:xfrm>
        </p:grpSpPr>
        <p:cxnSp>
          <p:nvCxnSpPr>
            <p:cNvPr id="63" name="直接连接符 62">
              <a:extLst>
                <a:ext uri="{FF2B5EF4-FFF2-40B4-BE49-F238E27FC236}">
                  <a16:creationId xmlns:a16="http://schemas.microsoft.com/office/drawing/2014/main" id="{52EC891F-4881-44F3-A98F-163523D22ED9}"/>
                </a:ext>
              </a:extLst>
            </p:cNvPr>
            <p:cNvCxnSpPr>
              <a:cxnSpLocks/>
            </p:cNvCxnSpPr>
            <p:nvPr/>
          </p:nvCxnSpPr>
          <p:spPr>
            <a:xfrm>
              <a:off x="6400292" y="2148840"/>
              <a:ext cx="0" cy="308356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64" name="直角三角形 63">
              <a:extLst>
                <a:ext uri="{FF2B5EF4-FFF2-40B4-BE49-F238E27FC236}">
                  <a16:creationId xmlns:a16="http://schemas.microsoft.com/office/drawing/2014/main" id="{13713993-D754-4408-825B-FE5FDC28BB77}"/>
                </a:ext>
              </a:extLst>
            </p:cNvPr>
            <p:cNvSpPr/>
            <p:nvPr/>
          </p:nvSpPr>
          <p:spPr>
            <a:xfrm flipH="1">
              <a:off x="6222492" y="5025390"/>
              <a:ext cx="177799" cy="177799"/>
            </a:xfrm>
            <a:prstGeom prst="r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65" name="矩形 64">
              <a:extLst>
                <a:ext uri="{FF2B5EF4-FFF2-40B4-BE49-F238E27FC236}">
                  <a16:creationId xmlns:a16="http://schemas.microsoft.com/office/drawing/2014/main" id="{A643874A-AFBE-4436-9914-517133039391}"/>
                </a:ext>
              </a:extLst>
            </p:cNvPr>
            <p:cNvSpPr/>
            <p:nvPr/>
          </p:nvSpPr>
          <p:spPr>
            <a:xfrm>
              <a:off x="5616705" y="2140377"/>
              <a:ext cx="793620" cy="5124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66" name="文本框 65">
              <a:extLst>
                <a:ext uri="{FF2B5EF4-FFF2-40B4-BE49-F238E27FC236}">
                  <a16:creationId xmlns:a16="http://schemas.microsoft.com/office/drawing/2014/main" id="{D4F98E5A-A9E7-4019-AA89-885AB81609AE}"/>
                </a:ext>
              </a:extLst>
            </p:cNvPr>
            <p:cNvSpPr txBox="1"/>
            <p:nvPr/>
          </p:nvSpPr>
          <p:spPr>
            <a:xfrm>
              <a:off x="5665033" y="1817994"/>
              <a:ext cx="714939" cy="307777"/>
            </a:xfrm>
            <a:prstGeom prst="rect">
              <a:avLst/>
            </a:prstGeom>
            <a:noFill/>
          </p:spPr>
          <p:txBody>
            <a:bodyPr wrap="none" lIns="0" tIns="0" rIns="0" bIns="0" rtlCol="0" anchor="t">
              <a:spAutoFit/>
            </a:bodyPr>
            <a:lstStyle/>
            <a:p>
              <a:pPr algn="l"/>
              <a:r>
                <a:rPr lang="en-US" altLang="zh-CN" sz="2000" dirty="0">
                  <a:solidFill>
                    <a:schemeClr val="accent1"/>
                  </a:solidFill>
                  <a:latin typeface="+mj-ea"/>
                  <a:ea typeface="+mj-ea"/>
                </a:rPr>
                <a:t>20XX</a:t>
              </a:r>
              <a:endParaRPr lang="zh-CN" altLang="en-US" sz="2000" dirty="0">
                <a:solidFill>
                  <a:schemeClr val="accent1"/>
                </a:solidFill>
                <a:latin typeface="+mj-ea"/>
                <a:ea typeface="+mj-ea"/>
              </a:endParaRPr>
            </a:p>
          </p:txBody>
        </p:sp>
        <p:sp>
          <p:nvSpPr>
            <p:cNvPr id="67" name="文本框 66">
              <a:extLst>
                <a:ext uri="{FF2B5EF4-FFF2-40B4-BE49-F238E27FC236}">
                  <a16:creationId xmlns:a16="http://schemas.microsoft.com/office/drawing/2014/main" id="{87EF1A51-D2C0-4D29-9EE8-B6E0DB6EC0A0}"/>
                </a:ext>
              </a:extLst>
            </p:cNvPr>
            <p:cNvSpPr txBox="1"/>
            <p:nvPr/>
          </p:nvSpPr>
          <p:spPr>
            <a:xfrm>
              <a:off x="4697299" y="2220831"/>
              <a:ext cx="1692961" cy="769441"/>
            </a:xfrm>
            <a:prstGeom prst="rect">
              <a:avLst/>
            </a:prstGeom>
            <a:noFill/>
          </p:spPr>
          <p:txBody>
            <a:bodyPr wrap="square" rtlCol="0">
              <a:spAutoFit/>
            </a:bodyPr>
            <a:lstStyle/>
            <a:p>
              <a:pPr algn="r"/>
              <a:r>
                <a:rPr lang="en-US" altLang="zh-CN" sz="1100" dirty="0">
                  <a:solidFill>
                    <a:schemeClr val="accent1"/>
                  </a:solidFill>
                </a:rPr>
                <a:t>Lorem ipsum dolor sit amet consectetur adipisicing elit sed do eiusmod tempor</a:t>
              </a:r>
              <a:endParaRPr lang="zh-CN" altLang="en-US" sz="1100" dirty="0">
                <a:solidFill>
                  <a:schemeClr val="accent1"/>
                </a:solidFill>
              </a:endParaRPr>
            </a:p>
          </p:txBody>
        </p:sp>
      </p:grpSp>
    </p:spTree>
    <p:extLst>
      <p:ext uri="{BB962C8B-B14F-4D97-AF65-F5344CB8AC3E}">
        <p14:creationId xmlns:p14="http://schemas.microsoft.com/office/powerpoint/2010/main" val="3701338067"/>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3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任意多边形: 形状 16">
            <a:extLst>
              <a:ext uri="{FF2B5EF4-FFF2-40B4-BE49-F238E27FC236}">
                <a16:creationId xmlns:a16="http://schemas.microsoft.com/office/drawing/2014/main" id="{B5E5C28C-80FF-4F38-BB61-16813D596493}"/>
              </a:ext>
            </a:extLst>
          </p:cNvPr>
          <p:cNvSpPr/>
          <p:nvPr/>
        </p:nvSpPr>
        <p:spPr>
          <a:xfrm>
            <a:off x="8" y="3583264"/>
            <a:ext cx="12191992" cy="1496263"/>
          </a:xfrm>
          <a:custGeom>
            <a:avLst/>
            <a:gdLst>
              <a:gd name="connsiteX0" fmla="*/ 9713335 w 12191992"/>
              <a:gd name="connsiteY0" fmla="*/ 1142 h 1496263"/>
              <a:gd name="connsiteX1" fmla="*/ 10123792 w 12191992"/>
              <a:gd name="connsiteY1" fmla="*/ 23376 h 1496263"/>
              <a:gd name="connsiteX2" fmla="*/ 10529677 w 12191992"/>
              <a:gd name="connsiteY2" fmla="*/ 73659 h 1496263"/>
              <a:gd name="connsiteX3" fmla="*/ 10729822 w 12191992"/>
              <a:gd name="connsiteY3" fmla="*/ 109331 h 1496263"/>
              <a:gd name="connsiteX4" fmla="*/ 10779428 w 12191992"/>
              <a:gd name="connsiteY4" fmla="*/ 119471 h 1496263"/>
              <a:gd name="connsiteX5" fmla="*/ 10804232 w 12191992"/>
              <a:gd name="connsiteY5" fmla="*/ 124587 h 1496263"/>
              <a:gd name="connsiteX6" fmla="*/ 10828908 w 12191992"/>
              <a:gd name="connsiteY6" fmla="*/ 130025 h 1496263"/>
              <a:gd name="connsiteX7" fmla="*/ 10878260 w 12191992"/>
              <a:gd name="connsiteY7" fmla="*/ 140856 h 1496263"/>
              <a:gd name="connsiteX8" fmla="*/ 10927294 w 12191992"/>
              <a:gd name="connsiteY8" fmla="*/ 152470 h 1496263"/>
              <a:gd name="connsiteX9" fmla="*/ 11312001 w 12191992"/>
              <a:gd name="connsiteY9" fmla="*/ 261194 h 1496263"/>
              <a:gd name="connsiteX10" fmla="*/ 11358747 w 12191992"/>
              <a:gd name="connsiteY10" fmla="*/ 277095 h 1496263"/>
              <a:gd name="connsiteX11" fmla="*/ 11382151 w 12191992"/>
              <a:gd name="connsiteY11" fmla="*/ 285114 h 1496263"/>
              <a:gd name="connsiteX12" fmla="*/ 11405301 w 12191992"/>
              <a:gd name="connsiteY12" fmla="*/ 293456 h 1496263"/>
              <a:gd name="connsiteX13" fmla="*/ 11451600 w 12191992"/>
              <a:gd name="connsiteY13" fmla="*/ 310186 h 1496263"/>
              <a:gd name="connsiteX14" fmla="*/ 11497391 w 12191992"/>
              <a:gd name="connsiteY14" fmla="*/ 327700 h 1496263"/>
              <a:gd name="connsiteX15" fmla="*/ 11520223 w 12191992"/>
              <a:gd name="connsiteY15" fmla="*/ 336457 h 1496263"/>
              <a:gd name="connsiteX16" fmla="*/ 11542864 w 12191992"/>
              <a:gd name="connsiteY16" fmla="*/ 345675 h 1496263"/>
              <a:gd name="connsiteX17" fmla="*/ 11588019 w 12191992"/>
              <a:gd name="connsiteY17" fmla="*/ 364110 h 1496263"/>
              <a:gd name="connsiteX18" fmla="*/ 11677057 w 12191992"/>
              <a:gd name="connsiteY18" fmla="*/ 402733 h 1496263"/>
              <a:gd name="connsiteX19" fmla="*/ 12012666 w 12191992"/>
              <a:gd name="connsiteY19" fmla="*/ 579483 h 1496263"/>
              <a:gd name="connsiteX20" fmla="*/ 12165302 w 12191992"/>
              <a:gd name="connsiteY20" fmla="*/ 682307 h 1496263"/>
              <a:gd name="connsiteX21" fmla="*/ 12191992 w 12191992"/>
              <a:gd name="connsiteY21" fmla="*/ 703803 h 1496263"/>
              <a:gd name="connsiteX22" fmla="*/ 12191992 w 12191992"/>
              <a:gd name="connsiteY22" fmla="*/ 827284 h 1496263"/>
              <a:gd name="connsiteX23" fmla="*/ 12084870 w 12191992"/>
              <a:gd name="connsiteY23" fmla="*/ 739435 h 1496263"/>
              <a:gd name="connsiteX24" fmla="*/ 11619627 w 12191992"/>
              <a:gd name="connsiteY24" fmla="*/ 468778 h 1496263"/>
              <a:gd name="connsiteX25" fmla="*/ 11534278 w 12191992"/>
              <a:gd name="connsiteY25" fmla="*/ 430939 h 1496263"/>
              <a:gd name="connsiteX26" fmla="*/ 11490840 w 12191992"/>
              <a:gd name="connsiteY26" fmla="*/ 412964 h 1496263"/>
              <a:gd name="connsiteX27" fmla="*/ 11469090 w 12191992"/>
              <a:gd name="connsiteY27" fmla="*/ 403977 h 1496263"/>
              <a:gd name="connsiteX28" fmla="*/ 11447022 w 12191992"/>
              <a:gd name="connsiteY28" fmla="*/ 395358 h 1496263"/>
              <a:gd name="connsiteX29" fmla="*/ 11402947 w 12191992"/>
              <a:gd name="connsiteY29" fmla="*/ 378167 h 1496263"/>
              <a:gd name="connsiteX30" fmla="*/ 11358429 w 12191992"/>
              <a:gd name="connsiteY30" fmla="*/ 361668 h 1496263"/>
              <a:gd name="connsiteX31" fmla="*/ 11336042 w 12191992"/>
              <a:gd name="connsiteY31" fmla="*/ 353464 h 1496263"/>
              <a:gd name="connsiteX32" fmla="*/ 11313465 w 12191992"/>
              <a:gd name="connsiteY32" fmla="*/ 345583 h 1496263"/>
              <a:gd name="connsiteX33" fmla="*/ 11268246 w 12191992"/>
              <a:gd name="connsiteY33" fmla="*/ 329866 h 1496263"/>
              <a:gd name="connsiteX34" fmla="*/ 10895432 w 12191992"/>
              <a:gd name="connsiteY34" fmla="*/ 221880 h 1496263"/>
              <a:gd name="connsiteX35" fmla="*/ 10847733 w 12191992"/>
              <a:gd name="connsiteY35" fmla="*/ 210312 h 1496263"/>
              <a:gd name="connsiteX36" fmla="*/ 10799780 w 12191992"/>
              <a:gd name="connsiteY36" fmla="*/ 199435 h 1496263"/>
              <a:gd name="connsiteX37" fmla="*/ 10775740 w 12191992"/>
              <a:gd name="connsiteY37" fmla="*/ 193996 h 1496263"/>
              <a:gd name="connsiteX38" fmla="*/ 10751636 w 12191992"/>
              <a:gd name="connsiteY38" fmla="*/ 188881 h 1496263"/>
              <a:gd name="connsiteX39" fmla="*/ 10703365 w 12191992"/>
              <a:gd name="connsiteY39" fmla="*/ 178695 h 1496263"/>
              <a:gd name="connsiteX40" fmla="*/ 10508308 w 12191992"/>
              <a:gd name="connsiteY40" fmla="*/ 142700 h 1496263"/>
              <a:gd name="connsiteX41" fmla="*/ 10111963 w 12191992"/>
              <a:gd name="connsiteY41" fmla="*/ 91172 h 1496263"/>
              <a:gd name="connsiteX42" fmla="*/ 9307570 w 12191992"/>
              <a:gd name="connsiteY42" fmla="*/ 70386 h 1496263"/>
              <a:gd name="connsiteX43" fmla="*/ 8907281 w 12191992"/>
              <a:gd name="connsiteY43" fmla="*/ 102648 h 1496263"/>
              <a:gd name="connsiteX44" fmla="*/ 8514433 w 12191992"/>
              <a:gd name="connsiteY44" fmla="*/ 166159 h 1496263"/>
              <a:gd name="connsiteX45" fmla="*/ 8135323 w 12191992"/>
              <a:gd name="connsiteY45" fmla="*/ 263268 h 1496263"/>
              <a:gd name="connsiteX46" fmla="*/ 7953431 w 12191992"/>
              <a:gd name="connsiteY46" fmla="*/ 325165 h 1496263"/>
              <a:gd name="connsiteX47" fmla="*/ 7865029 w 12191992"/>
              <a:gd name="connsiteY47" fmla="*/ 359732 h 1496263"/>
              <a:gd name="connsiteX48" fmla="*/ 7821465 w 12191992"/>
              <a:gd name="connsiteY48" fmla="*/ 377799 h 1496263"/>
              <a:gd name="connsiteX49" fmla="*/ 7778408 w 12191992"/>
              <a:gd name="connsiteY49" fmla="*/ 396557 h 1496263"/>
              <a:gd name="connsiteX50" fmla="*/ 7079779 w 12191992"/>
              <a:gd name="connsiteY50" fmla="*/ 701665 h 1496263"/>
              <a:gd name="connsiteX51" fmla="*/ 6902276 w 12191992"/>
              <a:gd name="connsiteY51" fmla="*/ 774761 h 1496263"/>
              <a:gd name="connsiteX52" fmla="*/ 6813238 w 12191992"/>
              <a:gd name="connsiteY52" fmla="*/ 810757 h 1496263"/>
              <a:gd name="connsiteX53" fmla="*/ 6723501 w 12191992"/>
              <a:gd name="connsiteY53" fmla="*/ 846015 h 1496263"/>
              <a:gd name="connsiteX54" fmla="*/ 6678982 w 12191992"/>
              <a:gd name="connsiteY54" fmla="*/ 863667 h 1496263"/>
              <a:gd name="connsiteX55" fmla="*/ 6633764 w 12191992"/>
              <a:gd name="connsiteY55" fmla="*/ 880904 h 1496263"/>
              <a:gd name="connsiteX56" fmla="*/ 6543327 w 12191992"/>
              <a:gd name="connsiteY56" fmla="*/ 915286 h 1496263"/>
              <a:gd name="connsiteX57" fmla="*/ 6452254 w 12191992"/>
              <a:gd name="connsiteY57" fmla="*/ 948839 h 1496263"/>
              <a:gd name="connsiteX58" fmla="*/ 6406717 w 12191992"/>
              <a:gd name="connsiteY58" fmla="*/ 965523 h 1496263"/>
              <a:gd name="connsiteX59" fmla="*/ 6383885 w 12191992"/>
              <a:gd name="connsiteY59" fmla="*/ 973911 h 1496263"/>
              <a:gd name="connsiteX60" fmla="*/ 6360926 w 12191992"/>
              <a:gd name="connsiteY60" fmla="*/ 981977 h 1496263"/>
              <a:gd name="connsiteX61" fmla="*/ 5612245 w 12191992"/>
              <a:gd name="connsiteY61" fmla="*/ 1219426 h 1496263"/>
              <a:gd name="connsiteX62" fmla="*/ 4831065 w 12191992"/>
              <a:gd name="connsiteY62" fmla="*/ 1394011 h 1496263"/>
              <a:gd name="connsiteX63" fmla="*/ 4023365 w 12191992"/>
              <a:gd name="connsiteY63" fmla="*/ 1486188 h 1496263"/>
              <a:gd name="connsiteX64" fmla="*/ 3206443 w 12191992"/>
              <a:gd name="connsiteY64" fmla="*/ 1480243 h 1496263"/>
              <a:gd name="connsiteX65" fmla="*/ 3104685 w 12191992"/>
              <a:gd name="connsiteY65" fmla="*/ 1471486 h 1496263"/>
              <a:gd name="connsiteX66" fmla="*/ 3053807 w 12191992"/>
              <a:gd name="connsiteY66" fmla="*/ 1466877 h 1496263"/>
              <a:gd name="connsiteX67" fmla="*/ 3028367 w 12191992"/>
              <a:gd name="connsiteY67" fmla="*/ 1464619 h 1496263"/>
              <a:gd name="connsiteX68" fmla="*/ 3002928 w 12191992"/>
              <a:gd name="connsiteY68" fmla="*/ 1462084 h 1496263"/>
              <a:gd name="connsiteX69" fmla="*/ 2902061 w 12191992"/>
              <a:gd name="connsiteY69" fmla="*/ 1450055 h 1496263"/>
              <a:gd name="connsiteX70" fmla="*/ 2851627 w 12191992"/>
              <a:gd name="connsiteY70" fmla="*/ 1444063 h 1496263"/>
              <a:gd name="connsiteX71" fmla="*/ 2826188 w 12191992"/>
              <a:gd name="connsiteY71" fmla="*/ 1441067 h 1496263"/>
              <a:gd name="connsiteX72" fmla="*/ 2801703 w 12191992"/>
              <a:gd name="connsiteY72" fmla="*/ 1437611 h 1496263"/>
              <a:gd name="connsiteX73" fmla="*/ 2701853 w 12191992"/>
              <a:gd name="connsiteY73" fmla="*/ 1422586 h 1496263"/>
              <a:gd name="connsiteX74" fmla="*/ 2602067 w 12191992"/>
              <a:gd name="connsiteY74" fmla="*/ 1407284 h 1496263"/>
              <a:gd name="connsiteX75" fmla="*/ 2502535 w 12191992"/>
              <a:gd name="connsiteY75" fmla="*/ 1391522 h 1496263"/>
              <a:gd name="connsiteX76" fmla="*/ 2452865 w 12191992"/>
              <a:gd name="connsiteY76" fmla="*/ 1383641 h 1496263"/>
              <a:gd name="connsiteX77" fmla="*/ 2402940 w 12191992"/>
              <a:gd name="connsiteY77" fmla="*/ 1376313 h 1496263"/>
              <a:gd name="connsiteX78" fmla="*/ 2303218 w 12191992"/>
              <a:gd name="connsiteY78" fmla="*/ 1361795 h 1496263"/>
              <a:gd name="connsiteX79" fmla="*/ 2278287 w 12191992"/>
              <a:gd name="connsiteY79" fmla="*/ 1358154 h 1496263"/>
              <a:gd name="connsiteX80" fmla="*/ 2253229 w 12191992"/>
              <a:gd name="connsiteY80" fmla="*/ 1354835 h 1496263"/>
              <a:gd name="connsiteX81" fmla="*/ 2203241 w 12191992"/>
              <a:gd name="connsiteY81" fmla="*/ 1348291 h 1496263"/>
              <a:gd name="connsiteX82" fmla="*/ 2103137 w 12191992"/>
              <a:gd name="connsiteY82" fmla="*/ 1335201 h 1496263"/>
              <a:gd name="connsiteX83" fmla="*/ 2002715 w 12191992"/>
              <a:gd name="connsiteY83" fmla="*/ 1323402 h 1496263"/>
              <a:gd name="connsiteX84" fmla="*/ 1952600 w 12191992"/>
              <a:gd name="connsiteY84" fmla="*/ 1317780 h 1496263"/>
              <a:gd name="connsiteX85" fmla="*/ 1902229 w 12191992"/>
              <a:gd name="connsiteY85" fmla="*/ 1312526 h 1496263"/>
              <a:gd name="connsiteX86" fmla="*/ 1801553 w 12191992"/>
              <a:gd name="connsiteY86" fmla="*/ 1302202 h 1496263"/>
              <a:gd name="connsiteX87" fmla="*/ 1700622 w 12191992"/>
              <a:gd name="connsiteY87" fmla="*/ 1293307 h 1496263"/>
              <a:gd name="connsiteX88" fmla="*/ 1650125 w 12191992"/>
              <a:gd name="connsiteY88" fmla="*/ 1288698 h 1496263"/>
              <a:gd name="connsiteX89" fmla="*/ 1599247 w 12191992"/>
              <a:gd name="connsiteY89" fmla="*/ 1285011 h 1496263"/>
              <a:gd name="connsiteX90" fmla="*/ 1193552 w 12191992"/>
              <a:gd name="connsiteY90" fmla="*/ 1264870 h 1496263"/>
              <a:gd name="connsiteX91" fmla="*/ 787094 w 12191992"/>
              <a:gd name="connsiteY91" fmla="*/ 1268741 h 1496263"/>
              <a:gd name="connsiteX92" fmla="*/ 384325 w 12191992"/>
              <a:gd name="connsiteY92" fmla="*/ 1306903 h 1496263"/>
              <a:gd name="connsiteX93" fmla="*/ 188188 w 12191992"/>
              <a:gd name="connsiteY93" fmla="*/ 1344972 h 1496263"/>
              <a:gd name="connsiteX94" fmla="*/ 93362 w 12191992"/>
              <a:gd name="connsiteY94" fmla="*/ 1371105 h 1496263"/>
              <a:gd name="connsiteX95" fmla="*/ 4007 w 12191992"/>
              <a:gd name="connsiteY95" fmla="*/ 1404749 h 1496263"/>
              <a:gd name="connsiteX96" fmla="*/ 0 w 12191992"/>
              <a:gd name="connsiteY96" fmla="*/ 1400740 h 1496263"/>
              <a:gd name="connsiteX97" fmla="*/ 90564 w 12191992"/>
              <a:gd name="connsiteY97" fmla="*/ 1365943 h 1496263"/>
              <a:gd name="connsiteX98" fmla="*/ 185962 w 12191992"/>
              <a:gd name="connsiteY98" fmla="*/ 1339073 h 1496263"/>
              <a:gd name="connsiteX99" fmla="*/ 382672 w 12191992"/>
              <a:gd name="connsiteY99" fmla="*/ 1299621 h 1496263"/>
              <a:gd name="connsiteX100" fmla="*/ 786713 w 12191992"/>
              <a:gd name="connsiteY100" fmla="*/ 1258924 h 1496263"/>
              <a:gd name="connsiteX101" fmla="*/ 1194570 w 12191992"/>
              <a:gd name="connsiteY101" fmla="*/ 1252564 h 1496263"/>
              <a:gd name="connsiteX102" fmla="*/ 1601600 w 12191992"/>
              <a:gd name="connsiteY102" fmla="*/ 1270355 h 1496263"/>
              <a:gd name="connsiteX103" fmla="*/ 1652478 w 12191992"/>
              <a:gd name="connsiteY103" fmla="*/ 1273719 h 1496263"/>
              <a:gd name="connsiteX104" fmla="*/ 1703357 w 12191992"/>
              <a:gd name="connsiteY104" fmla="*/ 1277867 h 1496263"/>
              <a:gd name="connsiteX105" fmla="*/ 1804733 w 12191992"/>
              <a:gd name="connsiteY105" fmla="*/ 1286209 h 1496263"/>
              <a:gd name="connsiteX106" fmla="*/ 1905791 w 12191992"/>
              <a:gd name="connsiteY106" fmla="*/ 1295934 h 1496263"/>
              <a:gd name="connsiteX107" fmla="*/ 1956670 w 12191992"/>
              <a:gd name="connsiteY107" fmla="*/ 1300865 h 1496263"/>
              <a:gd name="connsiteX108" fmla="*/ 2007103 w 12191992"/>
              <a:gd name="connsiteY108" fmla="*/ 1306488 h 1496263"/>
              <a:gd name="connsiteX109" fmla="*/ 2107207 w 12191992"/>
              <a:gd name="connsiteY109" fmla="*/ 1317780 h 1496263"/>
              <a:gd name="connsiteX110" fmla="*/ 2207693 w 12191992"/>
              <a:gd name="connsiteY110" fmla="*/ 1330270 h 1496263"/>
              <a:gd name="connsiteX111" fmla="*/ 2257999 w 12191992"/>
              <a:gd name="connsiteY111" fmla="*/ 1336584 h 1496263"/>
              <a:gd name="connsiteX112" fmla="*/ 2283439 w 12191992"/>
              <a:gd name="connsiteY112" fmla="*/ 1339764 h 1496263"/>
              <a:gd name="connsiteX113" fmla="*/ 2308433 w 12191992"/>
              <a:gd name="connsiteY113" fmla="*/ 1343221 h 1496263"/>
              <a:gd name="connsiteX114" fmla="*/ 2408601 w 12191992"/>
              <a:gd name="connsiteY114" fmla="*/ 1357048 h 1496263"/>
              <a:gd name="connsiteX115" fmla="*/ 2458716 w 12191992"/>
              <a:gd name="connsiteY115" fmla="*/ 1364007 h 1496263"/>
              <a:gd name="connsiteX116" fmla="*/ 2508577 w 12191992"/>
              <a:gd name="connsiteY116" fmla="*/ 1371658 h 1496263"/>
              <a:gd name="connsiteX117" fmla="*/ 2608045 w 12191992"/>
              <a:gd name="connsiteY117" fmla="*/ 1386913 h 1496263"/>
              <a:gd name="connsiteX118" fmla="*/ 2707704 w 12191992"/>
              <a:gd name="connsiteY118" fmla="*/ 1401569 h 1496263"/>
              <a:gd name="connsiteX119" fmla="*/ 2807299 w 12191992"/>
              <a:gd name="connsiteY119" fmla="*/ 1415903 h 1496263"/>
              <a:gd name="connsiteX120" fmla="*/ 2832166 w 12191992"/>
              <a:gd name="connsiteY120" fmla="*/ 1419498 h 1496263"/>
              <a:gd name="connsiteX121" fmla="*/ 2857288 w 12191992"/>
              <a:gd name="connsiteY121" fmla="*/ 1422309 h 1496263"/>
              <a:gd name="connsiteX122" fmla="*/ 2907403 w 12191992"/>
              <a:gd name="connsiteY122" fmla="*/ 1427978 h 1496263"/>
              <a:gd name="connsiteX123" fmla="*/ 3007698 w 12191992"/>
              <a:gd name="connsiteY123" fmla="*/ 1439316 h 1496263"/>
              <a:gd name="connsiteX124" fmla="*/ 3033137 w 12191992"/>
              <a:gd name="connsiteY124" fmla="*/ 1441667 h 1496263"/>
              <a:gd name="connsiteX125" fmla="*/ 3058577 w 12191992"/>
              <a:gd name="connsiteY125" fmla="*/ 1443741 h 1496263"/>
              <a:gd name="connsiteX126" fmla="*/ 3109010 w 12191992"/>
              <a:gd name="connsiteY126" fmla="*/ 1447935 h 1496263"/>
              <a:gd name="connsiteX127" fmla="*/ 3209814 w 12191992"/>
              <a:gd name="connsiteY127" fmla="*/ 1456046 h 1496263"/>
              <a:gd name="connsiteX128" fmla="*/ 4020312 w 12191992"/>
              <a:gd name="connsiteY128" fmla="*/ 1457106 h 1496263"/>
              <a:gd name="connsiteX129" fmla="*/ 4819681 w 12191992"/>
              <a:gd name="connsiteY129" fmla="*/ 1361011 h 1496263"/>
              <a:gd name="connsiteX130" fmla="*/ 5592657 w 12191992"/>
              <a:gd name="connsiteY130" fmla="*/ 1183108 h 1496263"/>
              <a:gd name="connsiteX131" fmla="*/ 6333579 w 12191992"/>
              <a:gd name="connsiteY131" fmla="*/ 942847 h 1496263"/>
              <a:gd name="connsiteX132" fmla="*/ 6356347 w 12191992"/>
              <a:gd name="connsiteY132" fmla="*/ 934690 h 1496263"/>
              <a:gd name="connsiteX133" fmla="*/ 6378924 w 12191992"/>
              <a:gd name="connsiteY133" fmla="*/ 926255 h 1496263"/>
              <a:gd name="connsiteX134" fmla="*/ 6424016 w 12191992"/>
              <a:gd name="connsiteY134" fmla="*/ 909341 h 1496263"/>
              <a:gd name="connsiteX135" fmla="*/ 6514135 w 12191992"/>
              <a:gd name="connsiteY135" fmla="*/ 875466 h 1496263"/>
              <a:gd name="connsiteX136" fmla="*/ 6603682 w 12191992"/>
              <a:gd name="connsiteY136" fmla="*/ 840715 h 1496263"/>
              <a:gd name="connsiteX137" fmla="*/ 6648200 w 12191992"/>
              <a:gd name="connsiteY137" fmla="*/ 823293 h 1496263"/>
              <a:gd name="connsiteX138" fmla="*/ 6692719 w 12191992"/>
              <a:gd name="connsiteY138" fmla="*/ 805503 h 1496263"/>
              <a:gd name="connsiteX139" fmla="*/ 6781757 w 12191992"/>
              <a:gd name="connsiteY139" fmla="*/ 769830 h 1496263"/>
              <a:gd name="connsiteX140" fmla="*/ 6870096 w 12191992"/>
              <a:gd name="connsiteY140" fmla="*/ 733512 h 1496263"/>
              <a:gd name="connsiteX141" fmla="*/ 7046009 w 12191992"/>
              <a:gd name="connsiteY141" fmla="*/ 659770 h 1496263"/>
              <a:gd name="connsiteX142" fmla="*/ 7739232 w 12191992"/>
              <a:gd name="connsiteY142" fmla="*/ 350975 h 1496263"/>
              <a:gd name="connsiteX143" fmla="*/ 7783369 w 12191992"/>
              <a:gd name="connsiteY143" fmla="*/ 331479 h 1496263"/>
              <a:gd name="connsiteX144" fmla="*/ 7827888 w 12191992"/>
              <a:gd name="connsiteY144" fmla="*/ 312675 h 1496263"/>
              <a:gd name="connsiteX145" fmla="*/ 7918325 w 12191992"/>
              <a:gd name="connsiteY145" fmla="*/ 276588 h 1496263"/>
              <a:gd name="connsiteX146" fmla="*/ 8104414 w 12191992"/>
              <a:gd name="connsiteY146" fmla="*/ 212063 h 1496263"/>
              <a:gd name="connsiteX147" fmla="*/ 8491856 w 12191992"/>
              <a:gd name="connsiteY147" fmla="*/ 110253 h 1496263"/>
              <a:gd name="connsiteX148" fmla="*/ 8893098 w 12191992"/>
              <a:gd name="connsiteY148" fmla="*/ 42871 h 1496263"/>
              <a:gd name="connsiteX149" fmla="*/ 9301782 w 12191992"/>
              <a:gd name="connsiteY149" fmla="*/ 7291 h 1496263"/>
              <a:gd name="connsiteX150" fmla="*/ 9713335 w 12191992"/>
              <a:gd name="connsiteY150" fmla="*/ 1142 h 1496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Lst>
            <a:rect l="l" t="t" r="r" b="b"/>
            <a:pathLst>
              <a:path w="12191992" h="1496263">
                <a:moveTo>
                  <a:pt x="9713335" y="1142"/>
                </a:moveTo>
                <a:cubicBezTo>
                  <a:pt x="9850493" y="3826"/>
                  <a:pt x="9987469" y="11241"/>
                  <a:pt x="10123792" y="23376"/>
                </a:cubicBezTo>
                <a:cubicBezTo>
                  <a:pt x="10260020" y="35497"/>
                  <a:pt x="10395548" y="52043"/>
                  <a:pt x="10529677" y="73659"/>
                </a:cubicBezTo>
                <a:cubicBezTo>
                  <a:pt x="10596837" y="84121"/>
                  <a:pt x="10663234" y="96703"/>
                  <a:pt x="10729822" y="109331"/>
                </a:cubicBezTo>
                <a:lnTo>
                  <a:pt x="10779428" y="119471"/>
                </a:lnTo>
                <a:lnTo>
                  <a:pt x="10804232" y="124587"/>
                </a:lnTo>
                <a:lnTo>
                  <a:pt x="10828908" y="130025"/>
                </a:lnTo>
                <a:lnTo>
                  <a:pt x="10878260" y="140856"/>
                </a:lnTo>
                <a:lnTo>
                  <a:pt x="10927294" y="152470"/>
                </a:lnTo>
                <a:cubicBezTo>
                  <a:pt x="11058181" y="183543"/>
                  <a:pt x="11186649" y="219838"/>
                  <a:pt x="11312001" y="261194"/>
                </a:cubicBezTo>
                <a:lnTo>
                  <a:pt x="11358747" y="277095"/>
                </a:lnTo>
                <a:lnTo>
                  <a:pt x="11382151" y="285114"/>
                </a:lnTo>
                <a:lnTo>
                  <a:pt x="11405301" y="293456"/>
                </a:lnTo>
                <a:lnTo>
                  <a:pt x="11451600" y="310186"/>
                </a:lnTo>
                <a:lnTo>
                  <a:pt x="11497391" y="327700"/>
                </a:lnTo>
                <a:lnTo>
                  <a:pt x="11520223" y="336457"/>
                </a:lnTo>
                <a:lnTo>
                  <a:pt x="11542864" y="345675"/>
                </a:lnTo>
                <a:lnTo>
                  <a:pt x="11588019" y="364110"/>
                </a:lnTo>
                <a:cubicBezTo>
                  <a:pt x="11617720" y="376877"/>
                  <a:pt x="11647802" y="389275"/>
                  <a:pt x="11677057" y="402733"/>
                </a:cubicBezTo>
                <a:cubicBezTo>
                  <a:pt x="11794841" y="455504"/>
                  <a:pt x="11907029" y="514586"/>
                  <a:pt x="12012666" y="579483"/>
                </a:cubicBezTo>
                <a:cubicBezTo>
                  <a:pt x="12065516" y="612160"/>
                  <a:pt x="12116268" y="646589"/>
                  <a:pt x="12165302" y="682307"/>
                </a:cubicBezTo>
                <a:lnTo>
                  <a:pt x="12191992" y="703803"/>
                </a:lnTo>
                <a:lnTo>
                  <a:pt x="12191992" y="827284"/>
                </a:lnTo>
                <a:lnTo>
                  <a:pt x="12084870" y="739435"/>
                </a:lnTo>
                <a:cubicBezTo>
                  <a:pt x="11946603" y="636176"/>
                  <a:pt x="11788481" y="546138"/>
                  <a:pt x="11619627" y="468778"/>
                </a:cubicBezTo>
                <a:cubicBezTo>
                  <a:pt x="11591708" y="455597"/>
                  <a:pt x="11562834" y="443475"/>
                  <a:pt x="11534278" y="430939"/>
                </a:cubicBezTo>
                <a:lnTo>
                  <a:pt x="11490840" y="412964"/>
                </a:lnTo>
                <a:lnTo>
                  <a:pt x="11469090" y="403977"/>
                </a:lnTo>
                <a:lnTo>
                  <a:pt x="11447022" y="395358"/>
                </a:lnTo>
                <a:lnTo>
                  <a:pt x="11402947" y="378167"/>
                </a:lnTo>
                <a:lnTo>
                  <a:pt x="11358429" y="361668"/>
                </a:lnTo>
                <a:lnTo>
                  <a:pt x="11336042" y="353464"/>
                </a:lnTo>
                <a:lnTo>
                  <a:pt x="11313465" y="345583"/>
                </a:lnTo>
                <a:lnTo>
                  <a:pt x="11268246" y="329866"/>
                </a:lnTo>
                <a:cubicBezTo>
                  <a:pt x="11146773" y="288940"/>
                  <a:pt x="11022375" y="252889"/>
                  <a:pt x="10895432" y="221880"/>
                </a:cubicBezTo>
                <a:lnTo>
                  <a:pt x="10847733" y="210312"/>
                </a:lnTo>
                <a:lnTo>
                  <a:pt x="10799780" y="199435"/>
                </a:lnTo>
                <a:lnTo>
                  <a:pt x="10775740" y="193996"/>
                </a:lnTo>
                <a:lnTo>
                  <a:pt x="10751636" y="188881"/>
                </a:lnTo>
                <a:lnTo>
                  <a:pt x="10703365" y="178695"/>
                </a:lnTo>
                <a:cubicBezTo>
                  <a:pt x="10638685" y="165790"/>
                  <a:pt x="10573815" y="153346"/>
                  <a:pt x="10508308" y="142700"/>
                </a:cubicBezTo>
                <a:cubicBezTo>
                  <a:pt x="10377550" y="120762"/>
                  <a:pt x="10245137" y="103801"/>
                  <a:pt x="10111963" y="91172"/>
                </a:cubicBezTo>
                <a:cubicBezTo>
                  <a:pt x="9845358" y="65754"/>
                  <a:pt x="9576018" y="58795"/>
                  <a:pt x="9307570" y="70386"/>
                </a:cubicBezTo>
                <a:cubicBezTo>
                  <a:pt x="9173504" y="76244"/>
                  <a:pt x="9039883" y="87015"/>
                  <a:pt x="8907281" y="102648"/>
                </a:cubicBezTo>
                <a:cubicBezTo>
                  <a:pt x="8774805" y="118535"/>
                  <a:pt x="8643665" y="139741"/>
                  <a:pt x="8514433" y="166159"/>
                </a:cubicBezTo>
                <a:cubicBezTo>
                  <a:pt x="8385329" y="192618"/>
                  <a:pt x="8258704" y="225056"/>
                  <a:pt x="8135323" y="263268"/>
                </a:cubicBezTo>
                <a:cubicBezTo>
                  <a:pt x="8073569" y="282118"/>
                  <a:pt x="8013150" y="303227"/>
                  <a:pt x="7953431" y="325165"/>
                </a:cubicBezTo>
                <a:cubicBezTo>
                  <a:pt x="7923858" y="336503"/>
                  <a:pt x="7894031" y="347564"/>
                  <a:pt x="7865029" y="359732"/>
                </a:cubicBezTo>
                <a:cubicBezTo>
                  <a:pt x="7850529" y="365769"/>
                  <a:pt x="7835711" y="371438"/>
                  <a:pt x="7821465" y="377799"/>
                </a:cubicBezTo>
                <a:lnTo>
                  <a:pt x="7778408" y="396557"/>
                </a:lnTo>
                <a:cubicBezTo>
                  <a:pt x="7547610" y="499980"/>
                  <a:pt x="7315539" y="603219"/>
                  <a:pt x="7079779" y="701665"/>
                </a:cubicBezTo>
                <a:cubicBezTo>
                  <a:pt x="7020696" y="726138"/>
                  <a:pt x="6961868" y="750888"/>
                  <a:pt x="6902276" y="774761"/>
                </a:cubicBezTo>
                <a:lnTo>
                  <a:pt x="6813238" y="810757"/>
                </a:lnTo>
                <a:lnTo>
                  <a:pt x="6723501" y="846015"/>
                </a:lnTo>
                <a:lnTo>
                  <a:pt x="6678982" y="863667"/>
                </a:lnTo>
                <a:lnTo>
                  <a:pt x="6633764" y="880904"/>
                </a:lnTo>
                <a:lnTo>
                  <a:pt x="6543327" y="915286"/>
                </a:lnTo>
                <a:cubicBezTo>
                  <a:pt x="6513117" y="926670"/>
                  <a:pt x="6482590" y="937639"/>
                  <a:pt x="6452254" y="948839"/>
                </a:cubicBezTo>
                <a:lnTo>
                  <a:pt x="6406717" y="965523"/>
                </a:lnTo>
                <a:lnTo>
                  <a:pt x="6383885" y="973911"/>
                </a:lnTo>
                <a:lnTo>
                  <a:pt x="6360926" y="981977"/>
                </a:lnTo>
                <a:cubicBezTo>
                  <a:pt x="6116454" y="1069085"/>
                  <a:pt x="5867084" y="1149233"/>
                  <a:pt x="5612245" y="1219426"/>
                </a:cubicBezTo>
                <a:cubicBezTo>
                  <a:pt x="5357133" y="1289371"/>
                  <a:pt x="5096226" y="1347678"/>
                  <a:pt x="4831065" y="1394011"/>
                </a:cubicBezTo>
                <a:cubicBezTo>
                  <a:pt x="4565675" y="1440367"/>
                  <a:pt x="4295573" y="1471196"/>
                  <a:pt x="4023365" y="1486188"/>
                </a:cubicBezTo>
                <a:cubicBezTo>
                  <a:pt x="3751336" y="1501379"/>
                  <a:pt x="3477996" y="1499388"/>
                  <a:pt x="3206443" y="1480243"/>
                </a:cubicBezTo>
                <a:cubicBezTo>
                  <a:pt x="3172545" y="1477662"/>
                  <a:pt x="3138774" y="1474389"/>
                  <a:pt x="3104685" y="1471486"/>
                </a:cubicBezTo>
                <a:lnTo>
                  <a:pt x="3053807" y="1466877"/>
                </a:lnTo>
                <a:lnTo>
                  <a:pt x="3028367" y="1464619"/>
                </a:lnTo>
                <a:cubicBezTo>
                  <a:pt x="3019909" y="1463881"/>
                  <a:pt x="3011450" y="1463190"/>
                  <a:pt x="3002928" y="1462084"/>
                </a:cubicBezTo>
                <a:lnTo>
                  <a:pt x="2902061" y="1450055"/>
                </a:lnTo>
                <a:lnTo>
                  <a:pt x="2851627" y="1444063"/>
                </a:lnTo>
                <a:lnTo>
                  <a:pt x="2826188" y="1441067"/>
                </a:lnTo>
                <a:lnTo>
                  <a:pt x="2801703" y="1437611"/>
                </a:lnTo>
                <a:lnTo>
                  <a:pt x="2701853" y="1422586"/>
                </a:lnTo>
                <a:cubicBezTo>
                  <a:pt x="2668527" y="1417562"/>
                  <a:pt x="2635075" y="1412631"/>
                  <a:pt x="2602067" y="1407284"/>
                </a:cubicBezTo>
                <a:lnTo>
                  <a:pt x="2502535" y="1391522"/>
                </a:lnTo>
                <a:lnTo>
                  <a:pt x="2452865" y="1383641"/>
                </a:lnTo>
                <a:lnTo>
                  <a:pt x="2402940" y="1376313"/>
                </a:lnTo>
                <a:lnTo>
                  <a:pt x="2303218" y="1361795"/>
                </a:lnTo>
                <a:lnTo>
                  <a:pt x="2278287" y="1358154"/>
                </a:lnTo>
                <a:lnTo>
                  <a:pt x="2253229" y="1354835"/>
                </a:lnTo>
                <a:lnTo>
                  <a:pt x="2203241" y="1348291"/>
                </a:lnTo>
                <a:lnTo>
                  <a:pt x="2103137" y="1335201"/>
                </a:lnTo>
                <a:lnTo>
                  <a:pt x="2002715" y="1323402"/>
                </a:lnTo>
                <a:lnTo>
                  <a:pt x="1952600" y="1317780"/>
                </a:lnTo>
                <a:lnTo>
                  <a:pt x="1902229" y="1312526"/>
                </a:lnTo>
                <a:lnTo>
                  <a:pt x="1801553" y="1302202"/>
                </a:lnTo>
                <a:lnTo>
                  <a:pt x="1700622" y="1293307"/>
                </a:lnTo>
                <a:lnTo>
                  <a:pt x="1650125" y="1288698"/>
                </a:lnTo>
                <a:lnTo>
                  <a:pt x="1599247" y="1285011"/>
                </a:lnTo>
                <a:cubicBezTo>
                  <a:pt x="1464418" y="1274595"/>
                  <a:pt x="1329080" y="1268096"/>
                  <a:pt x="1193552" y="1264870"/>
                </a:cubicBezTo>
                <a:cubicBezTo>
                  <a:pt x="1058024" y="1261644"/>
                  <a:pt x="922368" y="1262473"/>
                  <a:pt x="787094" y="1268741"/>
                </a:cubicBezTo>
                <a:cubicBezTo>
                  <a:pt x="651744" y="1274410"/>
                  <a:pt x="517137" y="1287163"/>
                  <a:pt x="384325" y="1306903"/>
                </a:cubicBezTo>
                <a:cubicBezTo>
                  <a:pt x="318001" y="1316881"/>
                  <a:pt x="252516" y="1329592"/>
                  <a:pt x="188188" y="1344972"/>
                </a:cubicBezTo>
                <a:cubicBezTo>
                  <a:pt x="156007" y="1352577"/>
                  <a:pt x="124589" y="1361426"/>
                  <a:pt x="93362" y="1371105"/>
                </a:cubicBezTo>
                <a:cubicBezTo>
                  <a:pt x="62342" y="1380507"/>
                  <a:pt x="32453" y="1391757"/>
                  <a:pt x="4007" y="1404749"/>
                </a:cubicBezTo>
                <a:lnTo>
                  <a:pt x="0" y="1400740"/>
                </a:lnTo>
                <a:cubicBezTo>
                  <a:pt x="28798" y="1387332"/>
                  <a:pt x="59091" y="1375695"/>
                  <a:pt x="90564" y="1365943"/>
                </a:cubicBezTo>
                <a:cubicBezTo>
                  <a:pt x="121727" y="1356033"/>
                  <a:pt x="153463" y="1346954"/>
                  <a:pt x="185962" y="1339073"/>
                </a:cubicBezTo>
                <a:cubicBezTo>
                  <a:pt x="250452" y="1323246"/>
                  <a:pt x="316127" y="1310074"/>
                  <a:pt x="382672" y="1299621"/>
                </a:cubicBezTo>
                <a:cubicBezTo>
                  <a:pt x="515824" y="1279024"/>
                  <a:pt x="650856" y="1265423"/>
                  <a:pt x="786713" y="1258924"/>
                </a:cubicBezTo>
                <a:cubicBezTo>
                  <a:pt x="922368" y="1251781"/>
                  <a:pt x="1058596" y="1250260"/>
                  <a:pt x="1194570" y="1252564"/>
                </a:cubicBezTo>
                <a:cubicBezTo>
                  <a:pt x="1330543" y="1254868"/>
                  <a:pt x="1466389" y="1260722"/>
                  <a:pt x="1601600" y="1270355"/>
                </a:cubicBezTo>
                <a:lnTo>
                  <a:pt x="1652478" y="1273719"/>
                </a:lnTo>
                <a:lnTo>
                  <a:pt x="1703357" y="1277867"/>
                </a:lnTo>
                <a:lnTo>
                  <a:pt x="1804733" y="1286209"/>
                </a:lnTo>
                <a:lnTo>
                  <a:pt x="1905791" y="1295934"/>
                </a:lnTo>
                <a:lnTo>
                  <a:pt x="1956670" y="1300865"/>
                </a:lnTo>
                <a:lnTo>
                  <a:pt x="2007103" y="1306488"/>
                </a:lnTo>
                <a:lnTo>
                  <a:pt x="2107207" y="1317780"/>
                </a:lnTo>
                <a:lnTo>
                  <a:pt x="2207693" y="1330270"/>
                </a:lnTo>
                <a:lnTo>
                  <a:pt x="2257999" y="1336584"/>
                </a:lnTo>
                <a:lnTo>
                  <a:pt x="2283439" y="1339764"/>
                </a:lnTo>
                <a:lnTo>
                  <a:pt x="2308433" y="1343221"/>
                </a:lnTo>
                <a:lnTo>
                  <a:pt x="2408601" y="1357048"/>
                </a:lnTo>
                <a:lnTo>
                  <a:pt x="2458716" y="1364007"/>
                </a:lnTo>
                <a:lnTo>
                  <a:pt x="2508577" y="1371658"/>
                </a:lnTo>
                <a:lnTo>
                  <a:pt x="2608045" y="1386913"/>
                </a:lnTo>
                <a:cubicBezTo>
                  <a:pt x="2641371" y="1392121"/>
                  <a:pt x="2674506" y="1396776"/>
                  <a:pt x="2707704" y="1401569"/>
                </a:cubicBezTo>
                <a:lnTo>
                  <a:pt x="2807299" y="1415903"/>
                </a:lnTo>
                <a:lnTo>
                  <a:pt x="2832166" y="1419498"/>
                </a:lnTo>
                <a:lnTo>
                  <a:pt x="2857288" y="1422309"/>
                </a:lnTo>
                <a:lnTo>
                  <a:pt x="2907403" y="1427978"/>
                </a:lnTo>
                <a:lnTo>
                  <a:pt x="3007698" y="1439316"/>
                </a:lnTo>
                <a:cubicBezTo>
                  <a:pt x="3016029" y="1440330"/>
                  <a:pt x="3024424" y="1441021"/>
                  <a:pt x="3033137" y="1441667"/>
                </a:cubicBezTo>
                <a:lnTo>
                  <a:pt x="3058577" y="1443741"/>
                </a:lnTo>
                <a:lnTo>
                  <a:pt x="3109010" y="1447935"/>
                </a:lnTo>
                <a:cubicBezTo>
                  <a:pt x="3142590" y="1450608"/>
                  <a:pt x="3176170" y="1453696"/>
                  <a:pt x="3209814" y="1456046"/>
                </a:cubicBezTo>
                <a:cubicBezTo>
                  <a:pt x="3479427" y="1473403"/>
                  <a:pt x="3750610" y="1473758"/>
                  <a:pt x="4020312" y="1457106"/>
                </a:cubicBezTo>
                <a:cubicBezTo>
                  <a:pt x="4289881" y="1440607"/>
                  <a:pt x="4557198" y="1408469"/>
                  <a:pt x="4819681" y="1361011"/>
                </a:cubicBezTo>
                <a:cubicBezTo>
                  <a:pt x="5082209" y="1313461"/>
                  <a:pt x="5340376" y="1254044"/>
                  <a:pt x="5592657" y="1183108"/>
                </a:cubicBezTo>
                <a:cubicBezTo>
                  <a:pt x="5844825" y="1111947"/>
                  <a:pt x="6091587" y="1031015"/>
                  <a:pt x="6333579" y="942847"/>
                </a:cubicBezTo>
                <a:lnTo>
                  <a:pt x="6356347" y="934690"/>
                </a:lnTo>
                <a:lnTo>
                  <a:pt x="6378924" y="926255"/>
                </a:lnTo>
                <a:lnTo>
                  <a:pt x="6424016" y="909341"/>
                </a:lnTo>
                <a:cubicBezTo>
                  <a:pt x="6454034" y="898049"/>
                  <a:pt x="6484243" y="886942"/>
                  <a:pt x="6514135" y="875466"/>
                </a:cubicBezTo>
                <a:lnTo>
                  <a:pt x="6603682" y="840715"/>
                </a:lnTo>
                <a:lnTo>
                  <a:pt x="6648200" y="823293"/>
                </a:lnTo>
                <a:lnTo>
                  <a:pt x="6692719" y="805503"/>
                </a:lnTo>
                <a:lnTo>
                  <a:pt x="6781757" y="769830"/>
                </a:lnTo>
                <a:lnTo>
                  <a:pt x="6870096" y="733512"/>
                </a:lnTo>
                <a:cubicBezTo>
                  <a:pt x="6929115" y="709408"/>
                  <a:pt x="6987434" y="684428"/>
                  <a:pt x="7046009" y="659770"/>
                </a:cubicBezTo>
                <a:cubicBezTo>
                  <a:pt x="7279796" y="560264"/>
                  <a:pt x="7509514" y="456150"/>
                  <a:pt x="7739232" y="350975"/>
                </a:cubicBezTo>
                <a:lnTo>
                  <a:pt x="7783369" y="331479"/>
                </a:lnTo>
                <a:cubicBezTo>
                  <a:pt x="7797997" y="324889"/>
                  <a:pt x="7813134" y="318943"/>
                  <a:pt x="7827888" y="312675"/>
                </a:cubicBezTo>
                <a:cubicBezTo>
                  <a:pt x="7857589" y="300001"/>
                  <a:pt x="7888052" y="288432"/>
                  <a:pt x="7918325" y="276588"/>
                </a:cubicBezTo>
                <a:cubicBezTo>
                  <a:pt x="7979443" y="253543"/>
                  <a:pt x="8041261" y="231605"/>
                  <a:pt x="8104414" y="212063"/>
                </a:cubicBezTo>
                <a:cubicBezTo>
                  <a:pt x="8230403" y="172169"/>
                  <a:pt x="8359826" y="138160"/>
                  <a:pt x="8491856" y="110253"/>
                </a:cubicBezTo>
                <a:cubicBezTo>
                  <a:pt x="8623759" y="82429"/>
                  <a:pt x="8757760" y="59933"/>
                  <a:pt x="8893098" y="42871"/>
                </a:cubicBezTo>
                <a:cubicBezTo>
                  <a:pt x="9028436" y="26021"/>
                  <a:pt x="9164791" y="14144"/>
                  <a:pt x="9301782" y="7291"/>
                </a:cubicBezTo>
                <a:cubicBezTo>
                  <a:pt x="9438837" y="504"/>
                  <a:pt x="9576177" y="-1542"/>
                  <a:pt x="9713335" y="1142"/>
                </a:cubicBezTo>
                <a:close/>
              </a:path>
            </a:pathLst>
          </a:custGeom>
          <a:solidFill>
            <a:schemeClr val="bg1">
              <a:lumMod val="85000"/>
            </a:schemeClr>
          </a:solidFill>
          <a:ln w="6360" cap="flat">
            <a:noFill/>
            <a:prstDash val="solid"/>
            <a:miter/>
          </a:ln>
        </p:spPr>
        <p:txBody>
          <a:bodyPr rtlCol="0" anchor="ctr"/>
          <a:lstStyle/>
          <a:p>
            <a:endParaRPr lang="zh-CN" altLang="en-US"/>
          </a:p>
        </p:txBody>
      </p:sp>
      <p:sp>
        <p:nvSpPr>
          <p:cNvPr id="14" name="任意多边形: 形状 13">
            <a:extLst>
              <a:ext uri="{FF2B5EF4-FFF2-40B4-BE49-F238E27FC236}">
                <a16:creationId xmlns:a16="http://schemas.microsoft.com/office/drawing/2014/main" id="{AF7A0E4E-A654-4815-B32A-3BC1DC694490}"/>
              </a:ext>
            </a:extLst>
          </p:cNvPr>
          <p:cNvSpPr/>
          <p:nvPr/>
        </p:nvSpPr>
        <p:spPr>
          <a:xfrm>
            <a:off x="178" y="3583261"/>
            <a:ext cx="12189285" cy="1726368"/>
          </a:xfrm>
          <a:custGeom>
            <a:avLst/>
            <a:gdLst>
              <a:gd name="connsiteX0" fmla="*/ 11982564 w 12189285"/>
              <a:gd name="connsiteY0" fmla="*/ 1302 h 1726368"/>
              <a:gd name="connsiteX1" fmla="*/ 12084833 w 12189285"/>
              <a:gd name="connsiteY1" fmla="*/ 7203 h 1726368"/>
              <a:gd name="connsiteX2" fmla="*/ 12136174 w 12189285"/>
              <a:gd name="connsiteY2" fmla="*/ 12396 h 1726368"/>
              <a:gd name="connsiteX3" fmla="*/ 12162081 w 12189285"/>
              <a:gd name="connsiteY3" fmla="*/ 15701 h 1726368"/>
              <a:gd name="connsiteX4" fmla="*/ 12175241 w 12189285"/>
              <a:gd name="connsiteY4" fmla="*/ 17648 h 1726368"/>
              <a:gd name="connsiteX5" fmla="*/ 12189285 w 12189285"/>
              <a:gd name="connsiteY5" fmla="*/ 20009 h 1726368"/>
              <a:gd name="connsiteX6" fmla="*/ 12169044 w 12189285"/>
              <a:gd name="connsiteY6" fmla="*/ 124284 h 1726368"/>
              <a:gd name="connsiteX7" fmla="*/ 12158480 w 12189285"/>
              <a:gd name="connsiteY7" fmla="*/ 122454 h 1726368"/>
              <a:gd name="connsiteX8" fmla="*/ 12146678 w 12189285"/>
              <a:gd name="connsiteY8" fmla="*/ 120625 h 1726368"/>
              <a:gd name="connsiteX9" fmla="*/ 12123073 w 12189285"/>
              <a:gd name="connsiteY9" fmla="*/ 117438 h 1726368"/>
              <a:gd name="connsiteX10" fmla="*/ 12075214 w 12189285"/>
              <a:gd name="connsiteY10" fmla="*/ 112186 h 1726368"/>
              <a:gd name="connsiteX11" fmla="*/ 11978315 w 12189285"/>
              <a:gd name="connsiteY11" fmla="*/ 105754 h 1726368"/>
              <a:gd name="connsiteX12" fmla="*/ 11782983 w 12189285"/>
              <a:gd name="connsiteY12" fmla="*/ 105754 h 1726368"/>
              <a:gd name="connsiteX13" fmla="*/ 11393500 w 12189285"/>
              <a:gd name="connsiteY13" fmla="*/ 148892 h 1726368"/>
              <a:gd name="connsiteX14" fmla="*/ 10643332 w 12189285"/>
              <a:gd name="connsiteY14" fmla="*/ 380634 h 1726368"/>
              <a:gd name="connsiteX15" fmla="*/ 9959494 w 12189285"/>
              <a:gd name="connsiteY15" fmla="*/ 772006 h 1726368"/>
              <a:gd name="connsiteX16" fmla="*/ 9879709 w 12189285"/>
              <a:gd name="connsiteY16" fmla="*/ 830310 h 1726368"/>
              <a:gd name="connsiteX17" fmla="*/ 9840230 w 12189285"/>
              <a:gd name="connsiteY17" fmla="*/ 859817 h 1726368"/>
              <a:gd name="connsiteX18" fmla="*/ 9801223 w 12189285"/>
              <a:gd name="connsiteY18" fmla="*/ 890149 h 1726368"/>
              <a:gd name="connsiteX19" fmla="*/ 9723916 w 12189285"/>
              <a:gd name="connsiteY19" fmla="*/ 951877 h 1726368"/>
              <a:gd name="connsiteX20" fmla="*/ 9684732 w 12189285"/>
              <a:gd name="connsiteY20" fmla="*/ 983389 h 1726368"/>
              <a:gd name="connsiteX21" fmla="*/ 9645193 w 12189285"/>
              <a:gd name="connsiteY21" fmla="*/ 1014725 h 1726368"/>
              <a:gd name="connsiteX22" fmla="*/ 9605242 w 12189285"/>
              <a:gd name="connsiteY22" fmla="*/ 1045530 h 1726368"/>
              <a:gd name="connsiteX23" fmla="*/ 9564818 w 12189285"/>
              <a:gd name="connsiteY23" fmla="*/ 1075744 h 1726368"/>
              <a:gd name="connsiteX24" fmla="*/ 9482968 w 12189285"/>
              <a:gd name="connsiteY24" fmla="*/ 1134757 h 1726368"/>
              <a:gd name="connsiteX25" fmla="*/ 9314133 w 12189285"/>
              <a:gd name="connsiteY25" fmla="*/ 1245523 h 1726368"/>
              <a:gd name="connsiteX26" fmla="*/ 8581197 w 12189285"/>
              <a:gd name="connsiteY26" fmla="*/ 1580656 h 1726368"/>
              <a:gd name="connsiteX27" fmla="*/ 7788422 w 12189285"/>
              <a:gd name="connsiteY27" fmla="*/ 1720693 h 1726368"/>
              <a:gd name="connsiteX28" fmla="*/ 6985850 w 12189285"/>
              <a:gd name="connsiteY28" fmla="*/ 1684695 h 1726368"/>
              <a:gd name="connsiteX29" fmla="*/ 6200393 w 12189285"/>
              <a:gd name="connsiteY29" fmla="*/ 1525361 h 1726368"/>
              <a:gd name="connsiteX30" fmla="*/ 5816103 w 12189285"/>
              <a:gd name="connsiteY30" fmla="*/ 1414948 h 1726368"/>
              <a:gd name="connsiteX31" fmla="*/ 5625493 w 12189285"/>
              <a:gd name="connsiteY31" fmla="*/ 1354342 h 1726368"/>
              <a:gd name="connsiteX32" fmla="*/ 5435885 w 12189285"/>
              <a:gd name="connsiteY32" fmla="*/ 1291022 h 1726368"/>
              <a:gd name="connsiteX33" fmla="*/ 4666007 w 12189285"/>
              <a:gd name="connsiteY33" fmla="*/ 1093920 h 1726368"/>
              <a:gd name="connsiteX34" fmla="*/ 4272452 w 12189285"/>
              <a:gd name="connsiteY34" fmla="*/ 1037799 h 1726368"/>
              <a:gd name="connsiteX35" fmla="*/ 3875592 w 12189285"/>
              <a:gd name="connsiteY35" fmla="*/ 1013781 h 1726368"/>
              <a:gd name="connsiteX36" fmla="*/ 3477965 w 12189285"/>
              <a:gd name="connsiteY36" fmla="*/ 1022396 h 1726368"/>
              <a:gd name="connsiteX37" fmla="*/ 3081932 w 12189285"/>
              <a:gd name="connsiteY37" fmla="*/ 1061935 h 1726368"/>
              <a:gd name="connsiteX38" fmla="*/ 2299661 w 12189285"/>
              <a:gd name="connsiteY38" fmla="*/ 1213538 h 1726368"/>
              <a:gd name="connsiteX39" fmla="*/ 1912598 w 12189285"/>
              <a:gd name="connsiteY39" fmla="*/ 1310496 h 1726368"/>
              <a:gd name="connsiteX40" fmla="*/ 1517213 w 12189285"/>
              <a:gd name="connsiteY40" fmla="*/ 1371810 h 1726368"/>
              <a:gd name="connsiteX41" fmla="*/ 725677 w 12189285"/>
              <a:gd name="connsiteY41" fmla="*/ 1281521 h 1726368"/>
              <a:gd name="connsiteX42" fmla="*/ 350357 w 12189285"/>
              <a:gd name="connsiteY42" fmla="*/ 1145084 h 1726368"/>
              <a:gd name="connsiteX43" fmla="*/ 171136 w 12189285"/>
              <a:gd name="connsiteY43" fmla="*/ 1056919 h 1726368"/>
              <a:gd name="connsiteX44" fmla="*/ 0 w 12189285"/>
              <a:gd name="connsiteY44" fmla="*/ 954060 h 1726368"/>
              <a:gd name="connsiteX45" fmla="*/ 1180 w 12189285"/>
              <a:gd name="connsiteY45" fmla="*/ 952348 h 1726368"/>
              <a:gd name="connsiteX46" fmla="*/ 172906 w 12189285"/>
              <a:gd name="connsiteY46" fmla="*/ 1053614 h 1726368"/>
              <a:gd name="connsiteX47" fmla="*/ 352482 w 12189285"/>
              <a:gd name="connsiteY47" fmla="*/ 1140127 h 1726368"/>
              <a:gd name="connsiteX48" fmla="*/ 727979 w 12189285"/>
              <a:gd name="connsiteY48" fmla="*/ 1273318 h 1726368"/>
              <a:gd name="connsiteX49" fmla="*/ 1516092 w 12189285"/>
              <a:gd name="connsiteY49" fmla="*/ 1356762 h 1726368"/>
              <a:gd name="connsiteX50" fmla="*/ 1907935 w 12189285"/>
              <a:gd name="connsiteY50" fmla="*/ 1292674 h 1726368"/>
              <a:gd name="connsiteX51" fmla="*/ 2294468 w 12189285"/>
              <a:gd name="connsiteY51" fmla="*/ 1192353 h 1726368"/>
              <a:gd name="connsiteX52" fmla="*/ 3077978 w 12189285"/>
              <a:gd name="connsiteY52" fmla="*/ 1033904 h 1726368"/>
              <a:gd name="connsiteX53" fmla="*/ 3475841 w 12189285"/>
              <a:gd name="connsiteY53" fmla="*/ 990825 h 1726368"/>
              <a:gd name="connsiteX54" fmla="*/ 3876123 w 12189285"/>
              <a:gd name="connsiteY54" fmla="*/ 979022 h 1726368"/>
              <a:gd name="connsiteX55" fmla="*/ 4276170 w 12189285"/>
              <a:gd name="connsiteY55" fmla="*/ 999913 h 1726368"/>
              <a:gd name="connsiteX56" fmla="*/ 4673266 w 12189285"/>
              <a:gd name="connsiteY56" fmla="*/ 1053024 h 1726368"/>
              <a:gd name="connsiteX57" fmla="*/ 5450697 w 12189285"/>
              <a:gd name="connsiteY57" fmla="*/ 1245346 h 1726368"/>
              <a:gd name="connsiteX58" fmla="*/ 5640600 w 12189285"/>
              <a:gd name="connsiteY58" fmla="*/ 1306660 h 1726368"/>
              <a:gd name="connsiteX59" fmla="*/ 5830915 w 12189285"/>
              <a:gd name="connsiteY59" fmla="*/ 1365673 h 1726368"/>
              <a:gd name="connsiteX60" fmla="*/ 6214497 w 12189285"/>
              <a:gd name="connsiteY60" fmla="*/ 1472427 h 1726368"/>
              <a:gd name="connsiteX61" fmla="*/ 6994112 w 12189285"/>
              <a:gd name="connsiteY61" fmla="*/ 1624325 h 1726368"/>
              <a:gd name="connsiteX62" fmla="*/ 7784881 w 12189285"/>
              <a:gd name="connsiteY62" fmla="*/ 1653477 h 1726368"/>
              <a:gd name="connsiteX63" fmla="*/ 8559480 w 12189285"/>
              <a:gd name="connsiteY63" fmla="*/ 1510254 h 1726368"/>
              <a:gd name="connsiteX64" fmla="*/ 9272116 w 12189285"/>
              <a:gd name="connsiteY64" fmla="*/ 1177423 h 1726368"/>
              <a:gd name="connsiteX65" fmla="*/ 9436171 w 12189285"/>
              <a:gd name="connsiteY65" fmla="*/ 1067895 h 1726368"/>
              <a:gd name="connsiteX66" fmla="*/ 9515779 w 12189285"/>
              <a:gd name="connsiteY66" fmla="*/ 1009591 h 1726368"/>
              <a:gd name="connsiteX67" fmla="*/ 9555081 w 12189285"/>
              <a:gd name="connsiteY67" fmla="*/ 979730 h 1726368"/>
              <a:gd name="connsiteX68" fmla="*/ 9593912 w 12189285"/>
              <a:gd name="connsiteY68" fmla="*/ 949280 h 1726368"/>
              <a:gd name="connsiteX69" fmla="*/ 9632329 w 12189285"/>
              <a:gd name="connsiteY69" fmla="*/ 918298 h 1726368"/>
              <a:gd name="connsiteX70" fmla="*/ 9670628 w 12189285"/>
              <a:gd name="connsiteY70" fmla="*/ 886963 h 1726368"/>
              <a:gd name="connsiteX71" fmla="*/ 9748879 w 12189285"/>
              <a:gd name="connsiteY71" fmla="*/ 823524 h 1726368"/>
              <a:gd name="connsiteX72" fmla="*/ 9788358 w 12189285"/>
              <a:gd name="connsiteY72" fmla="*/ 792247 h 1726368"/>
              <a:gd name="connsiteX73" fmla="*/ 9828428 w 12189285"/>
              <a:gd name="connsiteY73" fmla="*/ 761679 h 1726368"/>
              <a:gd name="connsiteX74" fmla="*/ 9909275 w 12189285"/>
              <a:gd name="connsiteY74" fmla="*/ 701545 h 1726368"/>
              <a:gd name="connsiteX75" fmla="*/ 10605623 w 12189285"/>
              <a:gd name="connsiteY75" fmla="*/ 295538 h 1726368"/>
              <a:gd name="connsiteX76" fmla="*/ 11375737 w 12189285"/>
              <a:gd name="connsiteY76" fmla="*/ 50931 h 1726368"/>
              <a:gd name="connsiteX77" fmla="*/ 11778735 w 12189285"/>
              <a:gd name="connsiteY77" fmla="*/ 3013 h 1726368"/>
              <a:gd name="connsiteX78" fmla="*/ 11982564 w 12189285"/>
              <a:gd name="connsiteY78" fmla="*/ 1302 h 1726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12189285" h="1726368">
                <a:moveTo>
                  <a:pt x="11982564" y="1302"/>
                </a:moveTo>
                <a:cubicBezTo>
                  <a:pt x="12016614" y="2482"/>
                  <a:pt x="12050664" y="4370"/>
                  <a:pt x="12084833" y="7203"/>
                </a:cubicBezTo>
                <a:cubicBezTo>
                  <a:pt x="12101887" y="8678"/>
                  <a:pt x="12119001" y="10331"/>
                  <a:pt x="12136174" y="12396"/>
                </a:cubicBezTo>
                <a:cubicBezTo>
                  <a:pt x="12144789" y="13399"/>
                  <a:pt x="12153405" y="14461"/>
                  <a:pt x="12162081" y="15701"/>
                </a:cubicBezTo>
                <a:lnTo>
                  <a:pt x="12175241" y="17648"/>
                </a:lnTo>
                <a:cubicBezTo>
                  <a:pt x="12179785" y="18356"/>
                  <a:pt x="12183797" y="19005"/>
                  <a:pt x="12189285" y="20009"/>
                </a:cubicBezTo>
                <a:lnTo>
                  <a:pt x="12169044" y="124284"/>
                </a:lnTo>
                <a:lnTo>
                  <a:pt x="12158480" y="122454"/>
                </a:lnTo>
                <a:lnTo>
                  <a:pt x="12146678" y="120625"/>
                </a:lnTo>
                <a:cubicBezTo>
                  <a:pt x="12138947" y="119504"/>
                  <a:pt x="12131040" y="118442"/>
                  <a:pt x="12123073" y="117438"/>
                </a:cubicBezTo>
                <a:cubicBezTo>
                  <a:pt x="12107258" y="115432"/>
                  <a:pt x="12091266" y="113721"/>
                  <a:pt x="12075214" y="112186"/>
                </a:cubicBezTo>
                <a:cubicBezTo>
                  <a:pt x="12043051" y="109236"/>
                  <a:pt x="12010713" y="107170"/>
                  <a:pt x="11978315" y="105754"/>
                </a:cubicBezTo>
                <a:cubicBezTo>
                  <a:pt x="11913401" y="103116"/>
                  <a:pt x="11848310" y="103116"/>
                  <a:pt x="11782983" y="105754"/>
                </a:cubicBezTo>
                <a:cubicBezTo>
                  <a:pt x="11652329" y="111230"/>
                  <a:pt x="11522207" y="125647"/>
                  <a:pt x="11393500" y="148892"/>
                </a:cubicBezTo>
                <a:cubicBezTo>
                  <a:pt x="11135143" y="196191"/>
                  <a:pt x="10883337" y="273981"/>
                  <a:pt x="10643332" y="380634"/>
                </a:cubicBezTo>
                <a:cubicBezTo>
                  <a:pt x="10402797" y="487695"/>
                  <a:pt x="10173651" y="618821"/>
                  <a:pt x="9959494" y="772006"/>
                </a:cubicBezTo>
                <a:cubicBezTo>
                  <a:pt x="9932880" y="791421"/>
                  <a:pt x="9905911" y="810305"/>
                  <a:pt x="9879709" y="830310"/>
                </a:cubicBezTo>
                <a:lnTo>
                  <a:pt x="9840230" y="859817"/>
                </a:lnTo>
                <a:lnTo>
                  <a:pt x="9801223" y="890149"/>
                </a:lnTo>
                <a:cubicBezTo>
                  <a:pt x="9775021" y="910213"/>
                  <a:pt x="9749704" y="931458"/>
                  <a:pt x="9723916" y="951877"/>
                </a:cubicBezTo>
                <a:lnTo>
                  <a:pt x="9684732" y="983389"/>
                </a:lnTo>
                <a:cubicBezTo>
                  <a:pt x="9671572" y="993894"/>
                  <a:pt x="9658589" y="1004575"/>
                  <a:pt x="9645193" y="1014725"/>
                </a:cubicBezTo>
                <a:lnTo>
                  <a:pt x="9605242" y="1045530"/>
                </a:lnTo>
                <a:cubicBezTo>
                  <a:pt x="9591964" y="1055857"/>
                  <a:pt x="9578273" y="1065653"/>
                  <a:pt x="9564818" y="1075744"/>
                </a:cubicBezTo>
                <a:cubicBezTo>
                  <a:pt x="9537967" y="1095985"/>
                  <a:pt x="9510350" y="1115224"/>
                  <a:pt x="9482968" y="1134757"/>
                </a:cubicBezTo>
                <a:cubicBezTo>
                  <a:pt x="9427555" y="1172997"/>
                  <a:pt x="9371670" y="1210470"/>
                  <a:pt x="9314133" y="1245523"/>
                </a:cubicBezTo>
                <a:cubicBezTo>
                  <a:pt x="9084928" y="1387685"/>
                  <a:pt x="8838668" y="1500286"/>
                  <a:pt x="8581197" y="1580656"/>
                </a:cubicBezTo>
                <a:cubicBezTo>
                  <a:pt x="8323725" y="1659732"/>
                  <a:pt x="8057460" y="1706766"/>
                  <a:pt x="7788422" y="1720693"/>
                </a:cubicBezTo>
                <a:cubicBezTo>
                  <a:pt x="7520092" y="1735564"/>
                  <a:pt x="7251407" y="1720398"/>
                  <a:pt x="6985850" y="1684695"/>
                </a:cubicBezTo>
                <a:cubicBezTo>
                  <a:pt x="6720294" y="1648992"/>
                  <a:pt x="6458573" y="1593048"/>
                  <a:pt x="6200393" y="1525361"/>
                </a:cubicBezTo>
                <a:cubicBezTo>
                  <a:pt x="6071511" y="1491092"/>
                  <a:pt x="5943394" y="1454292"/>
                  <a:pt x="5816103" y="1414948"/>
                </a:cubicBezTo>
                <a:cubicBezTo>
                  <a:pt x="5752370" y="1395279"/>
                  <a:pt x="5688831" y="1375073"/>
                  <a:pt x="5625493" y="1354342"/>
                </a:cubicBezTo>
                <a:lnTo>
                  <a:pt x="5435885" y="1291022"/>
                </a:lnTo>
                <a:cubicBezTo>
                  <a:pt x="5184008" y="1208003"/>
                  <a:pt x="4926790" y="1142151"/>
                  <a:pt x="4666007" y="1093920"/>
                </a:cubicBezTo>
                <a:cubicBezTo>
                  <a:pt x="4535632" y="1069961"/>
                  <a:pt x="4404445" y="1051254"/>
                  <a:pt x="4272452" y="1037799"/>
                </a:cubicBezTo>
                <a:cubicBezTo>
                  <a:pt x="4140559" y="1024521"/>
                  <a:pt x="4008135" y="1016259"/>
                  <a:pt x="3875592" y="1013781"/>
                </a:cubicBezTo>
                <a:cubicBezTo>
                  <a:pt x="3743050" y="1011302"/>
                  <a:pt x="3610330" y="1014194"/>
                  <a:pt x="3477965" y="1022396"/>
                </a:cubicBezTo>
                <a:cubicBezTo>
                  <a:pt x="3345600" y="1030599"/>
                  <a:pt x="3213471" y="1044054"/>
                  <a:pt x="3081932" y="1061935"/>
                </a:cubicBezTo>
                <a:cubicBezTo>
                  <a:pt x="2818795" y="1097697"/>
                  <a:pt x="2558254" y="1151575"/>
                  <a:pt x="2299661" y="1213538"/>
                </a:cubicBezTo>
                <a:cubicBezTo>
                  <a:pt x="2170365" y="1244402"/>
                  <a:pt x="2041540" y="1277390"/>
                  <a:pt x="1912598" y="1310496"/>
                </a:cubicBezTo>
                <a:cubicBezTo>
                  <a:pt x="1783030" y="1343354"/>
                  <a:pt x="1650647" y="1363885"/>
                  <a:pt x="1517213" y="1371810"/>
                </a:cubicBezTo>
                <a:cubicBezTo>
                  <a:pt x="1250476" y="1388157"/>
                  <a:pt x="982028" y="1354106"/>
                  <a:pt x="725677" y="1281521"/>
                </a:cubicBezTo>
                <a:cubicBezTo>
                  <a:pt x="597431" y="1245199"/>
                  <a:pt x="471992" y="1199600"/>
                  <a:pt x="350357" y="1145084"/>
                </a:cubicBezTo>
                <a:cubicBezTo>
                  <a:pt x="289496" y="1117897"/>
                  <a:pt x="229755" y="1088508"/>
                  <a:pt x="171136" y="1056919"/>
                </a:cubicBezTo>
                <a:cubicBezTo>
                  <a:pt x="112369" y="1025583"/>
                  <a:pt x="55249" y="991250"/>
                  <a:pt x="0" y="954060"/>
                </a:cubicBezTo>
                <a:lnTo>
                  <a:pt x="1180" y="952348"/>
                </a:lnTo>
                <a:cubicBezTo>
                  <a:pt x="56649" y="989025"/>
                  <a:pt x="113967" y="1022821"/>
                  <a:pt x="172906" y="1053614"/>
                </a:cubicBezTo>
                <a:cubicBezTo>
                  <a:pt x="231683" y="1084696"/>
                  <a:pt x="291541" y="1113530"/>
                  <a:pt x="352482" y="1140127"/>
                </a:cubicBezTo>
                <a:cubicBezTo>
                  <a:pt x="474252" y="1193569"/>
                  <a:pt x="599750" y="1238082"/>
                  <a:pt x="727979" y="1273318"/>
                </a:cubicBezTo>
                <a:cubicBezTo>
                  <a:pt x="984034" y="1343484"/>
                  <a:pt x="1251361" y="1375174"/>
                  <a:pt x="1516092" y="1356762"/>
                </a:cubicBezTo>
                <a:cubicBezTo>
                  <a:pt x="1648434" y="1347786"/>
                  <a:pt x="1779630" y="1326329"/>
                  <a:pt x="1907935" y="1292674"/>
                </a:cubicBezTo>
                <a:cubicBezTo>
                  <a:pt x="2036465" y="1258565"/>
                  <a:pt x="2165230" y="1224456"/>
                  <a:pt x="2294468" y="1192353"/>
                </a:cubicBezTo>
                <a:cubicBezTo>
                  <a:pt x="2552943" y="1128206"/>
                  <a:pt x="2813779" y="1071967"/>
                  <a:pt x="3077978" y="1033904"/>
                </a:cubicBezTo>
                <a:cubicBezTo>
                  <a:pt x="3209989" y="1014843"/>
                  <a:pt x="3342709" y="1000149"/>
                  <a:pt x="3475841" y="990825"/>
                </a:cubicBezTo>
                <a:cubicBezTo>
                  <a:pt x="3608973" y="981501"/>
                  <a:pt x="3742578" y="977488"/>
                  <a:pt x="3876123" y="979022"/>
                </a:cubicBezTo>
                <a:cubicBezTo>
                  <a:pt x="4009669" y="980557"/>
                  <a:pt x="4143155" y="987638"/>
                  <a:pt x="4276170" y="999913"/>
                </a:cubicBezTo>
                <a:cubicBezTo>
                  <a:pt x="4409184" y="1012187"/>
                  <a:pt x="4541727" y="1030186"/>
                  <a:pt x="4673266" y="1053024"/>
                </a:cubicBezTo>
                <a:cubicBezTo>
                  <a:pt x="4936456" y="1099491"/>
                  <a:pt x="5196199" y="1163744"/>
                  <a:pt x="5450697" y="1245346"/>
                </a:cubicBezTo>
                <a:lnTo>
                  <a:pt x="5640600" y="1306660"/>
                </a:lnTo>
                <a:cubicBezTo>
                  <a:pt x="5703938" y="1326801"/>
                  <a:pt x="5767376" y="1346476"/>
                  <a:pt x="5830915" y="1365673"/>
                </a:cubicBezTo>
                <a:cubicBezTo>
                  <a:pt x="5958029" y="1403913"/>
                  <a:pt x="6085910" y="1439497"/>
                  <a:pt x="6214497" y="1472427"/>
                </a:cubicBezTo>
                <a:cubicBezTo>
                  <a:pt x="6471556" y="1537872"/>
                  <a:pt x="6731624" y="1591160"/>
                  <a:pt x="6994112" y="1624325"/>
                </a:cubicBezTo>
                <a:cubicBezTo>
                  <a:pt x="7256600" y="1657490"/>
                  <a:pt x="7521508" y="1670178"/>
                  <a:pt x="7784881" y="1653477"/>
                </a:cubicBezTo>
                <a:cubicBezTo>
                  <a:pt x="8048018" y="1637798"/>
                  <a:pt x="8308146" y="1589691"/>
                  <a:pt x="8559480" y="1510254"/>
                </a:cubicBezTo>
                <a:cubicBezTo>
                  <a:pt x="8810106" y="1429825"/>
                  <a:pt x="9049580" y="1317991"/>
                  <a:pt x="9272116" y="1177423"/>
                </a:cubicBezTo>
                <a:cubicBezTo>
                  <a:pt x="9328001" y="1142782"/>
                  <a:pt x="9382351" y="1105663"/>
                  <a:pt x="9436171" y="1067895"/>
                </a:cubicBezTo>
                <a:cubicBezTo>
                  <a:pt x="9462844" y="1048598"/>
                  <a:pt x="9489695" y="1029596"/>
                  <a:pt x="9515779" y="1009591"/>
                </a:cubicBezTo>
                <a:cubicBezTo>
                  <a:pt x="9528880" y="999618"/>
                  <a:pt x="9542158" y="989939"/>
                  <a:pt x="9555081" y="979730"/>
                </a:cubicBezTo>
                <a:lnTo>
                  <a:pt x="9593912" y="949280"/>
                </a:lnTo>
                <a:cubicBezTo>
                  <a:pt x="9606953" y="939248"/>
                  <a:pt x="9619582" y="928684"/>
                  <a:pt x="9632329" y="918298"/>
                </a:cubicBezTo>
                <a:lnTo>
                  <a:pt x="9670628" y="886963"/>
                </a:lnTo>
                <a:cubicBezTo>
                  <a:pt x="9696711" y="865836"/>
                  <a:pt x="9722323" y="844120"/>
                  <a:pt x="9748879" y="823524"/>
                </a:cubicBezTo>
                <a:lnTo>
                  <a:pt x="9788358" y="792247"/>
                </a:lnTo>
                <a:lnTo>
                  <a:pt x="9828428" y="761679"/>
                </a:lnTo>
                <a:cubicBezTo>
                  <a:pt x="9854924" y="741083"/>
                  <a:pt x="9882306" y="721609"/>
                  <a:pt x="9909275" y="701545"/>
                </a:cubicBezTo>
                <a:cubicBezTo>
                  <a:pt x="10127090" y="543073"/>
                  <a:pt x="10360426" y="407043"/>
                  <a:pt x="10605623" y="295538"/>
                </a:cubicBezTo>
                <a:cubicBezTo>
                  <a:pt x="10851764" y="183810"/>
                  <a:pt x="11110240" y="101700"/>
                  <a:pt x="11375737" y="50931"/>
                </a:cubicBezTo>
                <a:cubicBezTo>
                  <a:pt x="11508811" y="25804"/>
                  <a:pt x="11643478" y="9794"/>
                  <a:pt x="11778735" y="3013"/>
                </a:cubicBezTo>
                <a:cubicBezTo>
                  <a:pt x="11846481" y="-233"/>
                  <a:pt x="11914464" y="-941"/>
                  <a:pt x="11982564" y="1302"/>
                </a:cubicBezTo>
                <a:close/>
              </a:path>
            </a:pathLst>
          </a:custGeom>
          <a:solidFill>
            <a:schemeClr val="bg1">
              <a:lumMod val="95000"/>
            </a:schemeClr>
          </a:solidFill>
          <a:ln w="5901" cap="flat">
            <a:noFill/>
            <a:prstDash val="solid"/>
            <a:miter/>
          </a:ln>
        </p:spPr>
        <p:txBody>
          <a:bodyPr rtlCol="0" anchor="ctr"/>
          <a:lstStyle/>
          <a:p>
            <a:endParaRPr lang="zh-CN" altLang="en-US"/>
          </a:p>
        </p:txBody>
      </p:sp>
      <p:sp>
        <p:nvSpPr>
          <p:cNvPr id="6" name="任意多边形: 形状 5">
            <a:extLst>
              <a:ext uri="{FF2B5EF4-FFF2-40B4-BE49-F238E27FC236}">
                <a16:creationId xmlns:a16="http://schemas.microsoft.com/office/drawing/2014/main" id="{13EF3CAF-A3B8-49BD-8FD7-BD702ED1D97C}"/>
              </a:ext>
            </a:extLst>
          </p:cNvPr>
          <p:cNvSpPr/>
          <p:nvPr/>
        </p:nvSpPr>
        <p:spPr>
          <a:xfrm>
            <a:off x="0" y="3251502"/>
            <a:ext cx="12192000" cy="2238164"/>
          </a:xfrm>
          <a:custGeom>
            <a:avLst/>
            <a:gdLst>
              <a:gd name="connsiteX0" fmla="*/ 10988164 w 12192000"/>
              <a:gd name="connsiteY0" fmla="*/ 265 h 2238164"/>
              <a:gd name="connsiteX1" fmla="*/ 11097287 w 12192000"/>
              <a:gd name="connsiteY1" fmla="*/ 6368 h 2238164"/>
              <a:gd name="connsiteX2" fmla="*/ 11313183 w 12192000"/>
              <a:gd name="connsiteY2" fmla="*/ 41873 h 2238164"/>
              <a:gd name="connsiteX3" fmla="*/ 11717859 w 12192000"/>
              <a:gd name="connsiteY3" fmla="*/ 198985 h 2238164"/>
              <a:gd name="connsiteX4" fmla="*/ 12069960 w 12192000"/>
              <a:gd name="connsiteY4" fmla="*/ 445894 h 2238164"/>
              <a:gd name="connsiteX5" fmla="*/ 12192000 w 12192000"/>
              <a:gd name="connsiteY5" fmla="*/ 563912 h 2238164"/>
              <a:gd name="connsiteX6" fmla="*/ 12192000 w 12192000"/>
              <a:gd name="connsiteY6" fmla="*/ 831323 h 2238164"/>
              <a:gd name="connsiteX7" fmla="*/ 12187051 w 12192000"/>
              <a:gd name="connsiteY7" fmla="*/ 824678 h 2238164"/>
              <a:gd name="connsiteX8" fmla="*/ 12157017 w 12192000"/>
              <a:gd name="connsiteY8" fmla="*/ 786731 h 2238164"/>
              <a:gd name="connsiteX9" fmla="*/ 12093518 w 12192000"/>
              <a:gd name="connsiteY9" fmla="*/ 712715 h 2238164"/>
              <a:gd name="connsiteX10" fmla="*/ 11953821 w 12192000"/>
              <a:gd name="connsiteY10" fmla="*/ 574263 h 2238164"/>
              <a:gd name="connsiteX11" fmla="*/ 11636010 w 12192000"/>
              <a:gd name="connsiteY11" fmla="*/ 344888 h 2238164"/>
              <a:gd name="connsiteX12" fmla="*/ 11274830 w 12192000"/>
              <a:gd name="connsiteY12" fmla="*/ 199173 h 2238164"/>
              <a:gd name="connsiteX13" fmla="*/ 11083190 w 12192000"/>
              <a:gd name="connsiteY13" fmla="*/ 165045 h 2238164"/>
              <a:gd name="connsiteX14" fmla="*/ 10888250 w 12192000"/>
              <a:gd name="connsiteY14" fmla="*/ 158783 h 2238164"/>
              <a:gd name="connsiteX15" fmla="*/ 10693625 w 12192000"/>
              <a:gd name="connsiteY15" fmla="*/ 179949 h 2238164"/>
              <a:gd name="connsiteX16" fmla="*/ 10645430 w 12192000"/>
              <a:gd name="connsiteY16" fmla="*/ 189279 h 2238164"/>
              <a:gd name="connsiteX17" fmla="*/ 10621300 w 12192000"/>
              <a:gd name="connsiteY17" fmla="*/ 194790 h 2238164"/>
              <a:gd name="connsiteX18" fmla="*/ 10597171 w 12192000"/>
              <a:gd name="connsiteY18" fmla="*/ 200676 h 2238164"/>
              <a:gd name="connsiteX19" fmla="*/ 10548913 w 12192000"/>
              <a:gd name="connsiteY19" fmla="*/ 212386 h 2238164"/>
              <a:gd name="connsiteX20" fmla="*/ 10501098 w 12192000"/>
              <a:gd name="connsiteY20" fmla="*/ 226224 h 2238164"/>
              <a:gd name="connsiteX21" fmla="*/ 10129884 w 12192000"/>
              <a:gd name="connsiteY21" fmla="*/ 372817 h 2238164"/>
              <a:gd name="connsiteX22" fmla="*/ 9780642 w 12192000"/>
              <a:gd name="connsiteY22" fmla="*/ 574702 h 2238164"/>
              <a:gd name="connsiteX23" fmla="*/ 9446385 w 12192000"/>
              <a:gd name="connsiteY23" fmla="*/ 808773 h 2238164"/>
              <a:gd name="connsiteX24" fmla="*/ 9113906 w 12192000"/>
              <a:gd name="connsiteY24" fmla="*/ 1052989 h 2238164"/>
              <a:gd name="connsiteX25" fmla="*/ 8767520 w 12192000"/>
              <a:gd name="connsiteY25" fmla="*/ 1285056 h 2238164"/>
              <a:gd name="connsiteX26" fmla="*/ 8391735 w 12192000"/>
              <a:gd name="connsiteY26" fmla="*/ 1477048 h 2238164"/>
              <a:gd name="connsiteX27" fmla="*/ 7982231 w 12192000"/>
              <a:gd name="connsiteY27" fmla="*/ 1594271 h 2238164"/>
              <a:gd name="connsiteX28" fmla="*/ 7929973 w 12192000"/>
              <a:gd name="connsiteY28" fmla="*/ 1602224 h 2238164"/>
              <a:gd name="connsiteX29" fmla="*/ 7903874 w 12192000"/>
              <a:gd name="connsiteY29" fmla="*/ 1606169 h 2238164"/>
              <a:gd name="connsiteX30" fmla="*/ 7877586 w 12192000"/>
              <a:gd name="connsiteY30" fmla="*/ 1609300 h 2238164"/>
              <a:gd name="connsiteX31" fmla="*/ 7825009 w 12192000"/>
              <a:gd name="connsiteY31" fmla="*/ 1615562 h 2238164"/>
              <a:gd name="connsiteX32" fmla="*/ 7772179 w 12192000"/>
              <a:gd name="connsiteY32" fmla="*/ 1620133 h 2238164"/>
              <a:gd name="connsiteX33" fmla="*/ 7559775 w 12192000"/>
              <a:gd name="connsiteY33" fmla="*/ 1626958 h 2238164"/>
              <a:gd name="connsiteX34" fmla="*/ 7506500 w 12192000"/>
              <a:gd name="connsiteY34" fmla="*/ 1625205 h 2238164"/>
              <a:gd name="connsiteX35" fmla="*/ 7453352 w 12192000"/>
              <a:gd name="connsiteY35" fmla="*/ 1621698 h 2238164"/>
              <a:gd name="connsiteX36" fmla="*/ 7426745 w 12192000"/>
              <a:gd name="connsiteY36" fmla="*/ 1619820 h 2238164"/>
              <a:gd name="connsiteX37" fmla="*/ 7400266 w 12192000"/>
              <a:gd name="connsiteY37" fmla="*/ 1616939 h 2238164"/>
              <a:gd name="connsiteX38" fmla="*/ 7347308 w 12192000"/>
              <a:gd name="connsiteY38" fmla="*/ 1610677 h 2238164"/>
              <a:gd name="connsiteX39" fmla="*/ 7138460 w 12192000"/>
              <a:gd name="connsiteY39" fmla="*/ 1570538 h 2238164"/>
              <a:gd name="connsiteX40" fmla="*/ 6740388 w 12192000"/>
              <a:gd name="connsiteY40" fmla="*/ 1439037 h 2238164"/>
              <a:gd name="connsiteX41" fmla="*/ 6354760 w 12192000"/>
              <a:gd name="connsiteY41" fmla="*/ 1302527 h 2238164"/>
              <a:gd name="connsiteX42" fmla="*/ 6158232 w 12192000"/>
              <a:gd name="connsiteY42" fmla="*/ 1254936 h 2238164"/>
              <a:gd name="connsiteX43" fmla="*/ 5958084 w 12192000"/>
              <a:gd name="connsiteY43" fmla="*/ 1227133 h 2238164"/>
              <a:gd name="connsiteX44" fmla="*/ 5907666 w 12192000"/>
              <a:gd name="connsiteY44" fmla="*/ 1223063 h 2238164"/>
              <a:gd name="connsiteX45" fmla="*/ 5883028 w 12192000"/>
              <a:gd name="connsiteY45" fmla="*/ 1221936 h 2238164"/>
              <a:gd name="connsiteX46" fmla="*/ 5870328 w 12192000"/>
              <a:gd name="connsiteY46" fmla="*/ 1221372 h 2238164"/>
              <a:gd name="connsiteX47" fmla="*/ 5857946 w 12192000"/>
              <a:gd name="connsiteY47" fmla="*/ 1221372 h 2238164"/>
              <a:gd name="connsiteX48" fmla="*/ 5833182 w 12192000"/>
              <a:gd name="connsiteY48" fmla="*/ 1221372 h 2238164"/>
              <a:gd name="connsiteX49" fmla="*/ 5808291 w 12192000"/>
              <a:gd name="connsiteY49" fmla="*/ 1222061 h 2238164"/>
              <a:gd name="connsiteX50" fmla="*/ 5783462 w 12192000"/>
              <a:gd name="connsiteY50" fmla="*/ 1223188 h 2238164"/>
              <a:gd name="connsiteX51" fmla="*/ 5758635 w 12192000"/>
              <a:gd name="connsiteY51" fmla="*/ 1224754 h 2238164"/>
              <a:gd name="connsiteX52" fmla="*/ 5560518 w 12192000"/>
              <a:gd name="connsiteY52" fmla="*/ 1255500 h 2238164"/>
              <a:gd name="connsiteX53" fmla="*/ 5174827 w 12192000"/>
              <a:gd name="connsiteY53" fmla="*/ 1381615 h 2238164"/>
              <a:gd name="connsiteX54" fmla="*/ 4802598 w 12192000"/>
              <a:gd name="connsiteY54" fmla="*/ 1553318 h 2238164"/>
              <a:gd name="connsiteX55" fmla="*/ 4066013 w 12192000"/>
              <a:gd name="connsiteY55" fmla="*/ 1927031 h 2238164"/>
              <a:gd name="connsiteX56" fmla="*/ 3683751 w 12192000"/>
              <a:gd name="connsiteY56" fmla="*/ 2089841 h 2238164"/>
              <a:gd name="connsiteX57" fmla="*/ 3281232 w 12192000"/>
              <a:gd name="connsiteY57" fmla="*/ 2201492 h 2238164"/>
              <a:gd name="connsiteX58" fmla="*/ 3177539 w 12192000"/>
              <a:gd name="connsiteY58" fmla="*/ 2216270 h 2238164"/>
              <a:gd name="connsiteX59" fmla="*/ 3125661 w 12192000"/>
              <a:gd name="connsiteY59" fmla="*/ 2222532 h 2238164"/>
              <a:gd name="connsiteX60" fmla="*/ 3073719 w 12192000"/>
              <a:gd name="connsiteY60" fmla="*/ 2227103 h 2238164"/>
              <a:gd name="connsiteX61" fmla="*/ 3047748 w 12192000"/>
              <a:gd name="connsiteY61" fmla="*/ 2229420 h 2238164"/>
              <a:gd name="connsiteX62" fmla="*/ 3021714 w 12192000"/>
              <a:gd name="connsiteY62" fmla="*/ 2231048 h 2238164"/>
              <a:gd name="connsiteX63" fmla="*/ 2969645 w 12192000"/>
              <a:gd name="connsiteY63" fmla="*/ 2234179 h 2238164"/>
              <a:gd name="connsiteX64" fmla="*/ 2917639 w 12192000"/>
              <a:gd name="connsiteY64" fmla="*/ 2236183 h 2238164"/>
              <a:gd name="connsiteX65" fmla="*/ 2865570 w 12192000"/>
              <a:gd name="connsiteY65" fmla="*/ 2237685 h 2238164"/>
              <a:gd name="connsiteX66" fmla="*/ 2449908 w 12192000"/>
              <a:gd name="connsiteY66" fmla="*/ 2222907 h 2238164"/>
              <a:gd name="connsiteX67" fmla="*/ 2037864 w 12192000"/>
              <a:gd name="connsiteY67" fmla="*/ 2174753 h 2238164"/>
              <a:gd name="connsiteX68" fmla="*/ 1628932 w 12192000"/>
              <a:gd name="connsiteY68" fmla="*/ 2110317 h 2238164"/>
              <a:gd name="connsiteX69" fmla="*/ 1220318 w 12192000"/>
              <a:gd name="connsiteY69" fmla="*/ 2049076 h 2238164"/>
              <a:gd name="connsiteX70" fmla="*/ 809356 w 12192000"/>
              <a:gd name="connsiteY70" fmla="*/ 2021273 h 2238164"/>
              <a:gd name="connsiteX71" fmla="*/ 706423 w 12192000"/>
              <a:gd name="connsiteY71" fmla="*/ 2025719 h 2238164"/>
              <a:gd name="connsiteX72" fmla="*/ 654863 w 12192000"/>
              <a:gd name="connsiteY72" fmla="*/ 2029037 h 2238164"/>
              <a:gd name="connsiteX73" fmla="*/ 629464 w 12192000"/>
              <a:gd name="connsiteY73" fmla="*/ 2030666 h 2238164"/>
              <a:gd name="connsiteX74" fmla="*/ 603683 w 12192000"/>
              <a:gd name="connsiteY74" fmla="*/ 2032857 h 2238164"/>
              <a:gd name="connsiteX75" fmla="*/ 552249 w 12192000"/>
              <a:gd name="connsiteY75" fmla="*/ 2037241 h 2238164"/>
              <a:gd name="connsiteX76" fmla="*/ 526532 w 12192000"/>
              <a:gd name="connsiteY76" fmla="*/ 2039432 h 2238164"/>
              <a:gd name="connsiteX77" fmla="*/ 501132 w 12192000"/>
              <a:gd name="connsiteY77" fmla="*/ 2042250 h 2238164"/>
              <a:gd name="connsiteX78" fmla="*/ 398645 w 12192000"/>
              <a:gd name="connsiteY78" fmla="*/ 2054398 h 2238164"/>
              <a:gd name="connsiteX79" fmla="*/ 195450 w 12192000"/>
              <a:gd name="connsiteY79" fmla="*/ 2090279 h 2238164"/>
              <a:gd name="connsiteX80" fmla="*/ 96455 w 12192000"/>
              <a:gd name="connsiteY80" fmla="*/ 2118020 h 2238164"/>
              <a:gd name="connsiteX81" fmla="*/ 72390 w 12192000"/>
              <a:gd name="connsiteY81" fmla="*/ 2126849 h 2238164"/>
              <a:gd name="connsiteX82" fmla="*/ 48831 w 12192000"/>
              <a:gd name="connsiteY82" fmla="*/ 2136743 h 2238164"/>
              <a:gd name="connsiteX83" fmla="*/ 37401 w 12192000"/>
              <a:gd name="connsiteY83" fmla="*/ 2142316 h 2238164"/>
              <a:gd name="connsiteX84" fmla="*/ 26225 w 12192000"/>
              <a:gd name="connsiteY84" fmla="*/ 2148202 h 2238164"/>
              <a:gd name="connsiteX85" fmla="*/ 15495 w 12192000"/>
              <a:gd name="connsiteY85" fmla="*/ 2154464 h 2238164"/>
              <a:gd name="connsiteX86" fmla="*/ 5970 w 12192000"/>
              <a:gd name="connsiteY86" fmla="*/ 2161603 h 2238164"/>
              <a:gd name="connsiteX87" fmla="*/ 0 w 12192000"/>
              <a:gd name="connsiteY87" fmla="*/ 2156093 h 2238164"/>
              <a:gd name="connsiteX88" fmla="*/ 10796 w 12192000"/>
              <a:gd name="connsiteY88" fmla="*/ 2147576 h 2238164"/>
              <a:gd name="connsiteX89" fmla="*/ 21971 w 12192000"/>
              <a:gd name="connsiteY89" fmla="*/ 2140563 h 2238164"/>
              <a:gd name="connsiteX90" fmla="*/ 33465 w 12192000"/>
              <a:gd name="connsiteY90" fmla="*/ 2134301 h 2238164"/>
              <a:gd name="connsiteX91" fmla="*/ 45148 w 12192000"/>
              <a:gd name="connsiteY91" fmla="*/ 2128414 h 2238164"/>
              <a:gd name="connsiteX92" fmla="*/ 69024 w 12192000"/>
              <a:gd name="connsiteY92" fmla="*/ 2118020 h 2238164"/>
              <a:gd name="connsiteX93" fmla="*/ 93344 w 12192000"/>
              <a:gd name="connsiteY93" fmla="*/ 2108752 h 2238164"/>
              <a:gd name="connsiteX94" fmla="*/ 192909 w 12192000"/>
              <a:gd name="connsiteY94" fmla="*/ 2079446 h 2238164"/>
              <a:gd name="connsiteX95" fmla="*/ 396741 w 12192000"/>
              <a:gd name="connsiteY95" fmla="*/ 2040622 h 2238164"/>
              <a:gd name="connsiteX96" fmla="*/ 499545 w 12192000"/>
              <a:gd name="connsiteY96" fmla="*/ 2027159 h 2238164"/>
              <a:gd name="connsiteX97" fmla="*/ 524944 w 12192000"/>
              <a:gd name="connsiteY97" fmla="*/ 2024028 h 2238164"/>
              <a:gd name="connsiteX98" fmla="*/ 550725 w 12192000"/>
              <a:gd name="connsiteY98" fmla="*/ 2021461 h 2238164"/>
              <a:gd name="connsiteX99" fmla="*/ 602286 w 12192000"/>
              <a:gd name="connsiteY99" fmla="*/ 2016388 h 2238164"/>
              <a:gd name="connsiteX100" fmla="*/ 628066 w 12192000"/>
              <a:gd name="connsiteY100" fmla="*/ 2013884 h 2238164"/>
              <a:gd name="connsiteX101" fmla="*/ 653910 w 12192000"/>
              <a:gd name="connsiteY101" fmla="*/ 2011880 h 2238164"/>
              <a:gd name="connsiteX102" fmla="*/ 705535 w 12192000"/>
              <a:gd name="connsiteY102" fmla="*/ 2007872 h 2238164"/>
              <a:gd name="connsiteX103" fmla="*/ 809228 w 12192000"/>
              <a:gd name="connsiteY103" fmla="*/ 2002048 h 2238164"/>
              <a:gd name="connsiteX104" fmla="*/ 1223621 w 12192000"/>
              <a:gd name="connsiteY104" fmla="*/ 2024654 h 2238164"/>
              <a:gd name="connsiteX105" fmla="*/ 1633949 w 12192000"/>
              <a:gd name="connsiteY105" fmla="*/ 2081011 h 2238164"/>
              <a:gd name="connsiteX106" fmla="*/ 2043071 w 12192000"/>
              <a:gd name="connsiteY106" fmla="*/ 2140124 h 2238164"/>
              <a:gd name="connsiteX107" fmla="*/ 2453400 w 12192000"/>
              <a:gd name="connsiteY107" fmla="*/ 2182643 h 2238164"/>
              <a:gd name="connsiteX108" fmla="*/ 2864745 w 12192000"/>
              <a:gd name="connsiteY108" fmla="*/ 2191973 h 2238164"/>
              <a:gd name="connsiteX109" fmla="*/ 2916051 w 12192000"/>
              <a:gd name="connsiteY109" fmla="*/ 2189844 h 2238164"/>
              <a:gd name="connsiteX110" fmla="*/ 2967295 w 12192000"/>
              <a:gd name="connsiteY110" fmla="*/ 2187214 h 2238164"/>
              <a:gd name="connsiteX111" fmla="*/ 3018475 w 12192000"/>
              <a:gd name="connsiteY111" fmla="*/ 2183457 h 2238164"/>
              <a:gd name="connsiteX112" fmla="*/ 3043875 w 12192000"/>
              <a:gd name="connsiteY112" fmla="*/ 2181578 h 2238164"/>
              <a:gd name="connsiteX113" fmla="*/ 3069274 w 12192000"/>
              <a:gd name="connsiteY113" fmla="*/ 2178948 h 2238164"/>
              <a:gd name="connsiteX114" fmla="*/ 3120073 w 12192000"/>
              <a:gd name="connsiteY114" fmla="*/ 2173751 h 2238164"/>
              <a:gd name="connsiteX115" fmla="*/ 3170872 w 12192000"/>
              <a:gd name="connsiteY115" fmla="*/ 2167489 h 2238164"/>
              <a:gd name="connsiteX116" fmla="*/ 3271708 w 12192000"/>
              <a:gd name="connsiteY116" fmla="*/ 2151772 h 2238164"/>
              <a:gd name="connsiteX117" fmla="*/ 3663368 w 12192000"/>
              <a:gd name="connsiteY117" fmla="*/ 2037616 h 2238164"/>
              <a:gd name="connsiteX118" fmla="*/ 4038327 w 12192000"/>
              <a:gd name="connsiteY118" fmla="*/ 1871926 h 2238164"/>
              <a:gd name="connsiteX119" fmla="*/ 4768563 w 12192000"/>
              <a:gd name="connsiteY119" fmla="*/ 1489258 h 2238164"/>
              <a:gd name="connsiteX120" fmla="*/ 5143586 w 12192000"/>
              <a:gd name="connsiteY120" fmla="*/ 1310354 h 2238164"/>
              <a:gd name="connsiteX121" fmla="*/ 5540770 w 12192000"/>
              <a:gd name="connsiteY121" fmla="*/ 1174909 h 2238164"/>
              <a:gd name="connsiteX122" fmla="*/ 5750697 w 12192000"/>
              <a:gd name="connsiteY122" fmla="*/ 1139654 h 2238164"/>
              <a:gd name="connsiteX123" fmla="*/ 5777430 w 12192000"/>
              <a:gd name="connsiteY123" fmla="*/ 1137650 h 2238164"/>
              <a:gd name="connsiteX124" fmla="*/ 5804227 w 12192000"/>
              <a:gd name="connsiteY124" fmla="*/ 1136085 h 2238164"/>
              <a:gd name="connsiteX125" fmla="*/ 5831087 w 12192000"/>
              <a:gd name="connsiteY125" fmla="*/ 1134958 h 2238164"/>
              <a:gd name="connsiteX126" fmla="*/ 5858010 w 12192000"/>
              <a:gd name="connsiteY126" fmla="*/ 1134958 h 2238164"/>
              <a:gd name="connsiteX127" fmla="*/ 5871471 w 12192000"/>
              <a:gd name="connsiteY127" fmla="*/ 1134958 h 2238164"/>
              <a:gd name="connsiteX128" fmla="*/ 5884933 w 12192000"/>
              <a:gd name="connsiteY128" fmla="*/ 1135396 h 2238164"/>
              <a:gd name="connsiteX129" fmla="*/ 5911921 w 12192000"/>
              <a:gd name="connsiteY129" fmla="*/ 1136272 h 2238164"/>
              <a:gd name="connsiteX130" fmla="*/ 5964688 w 12192000"/>
              <a:gd name="connsiteY130" fmla="*/ 1139779 h 2238164"/>
              <a:gd name="connsiteX131" fmla="*/ 6174234 w 12192000"/>
              <a:gd name="connsiteY131" fmla="*/ 1166205 h 2238164"/>
              <a:gd name="connsiteX132" fmla="*/ 6380033 w 12192000"/>
              <a:gd name="connsiteY132" fmla="*/ 1213232 h 2238164"/>
              <a:gd name="connsiteX133" fmla="*/ 6774994 w 12192000"/>
              <a:gd name="connsiteY133" fmla="*/ 1347175 h 2238164"/>
              <a:gd name="connsiteX134" fmla="*/ 7162336 w 12192000"/>
              <a:gd name="connsiteY134" fmla="*/ 1470034 h 2238164"/>
              <a:gd name="connsiteX135" fmla="*/ 7359944 w 12192000"/>
              <a:gd name="connsiteY135" fmla="*/ 1505351 h 2238164"/>
              <a:gd name="connsiteX136" fmla="*/ 7409854 w 12192000"/>
              <a:gd name="connsiteY136" fmla="*/ 1510486 h 2238164"/>
              <a:gd name="connsiteX137" fmla="*/ 7434810 w 12192000"/>
              <a:gd name="connsiteY137" fmla="*/ 1512866 h 2238164"/>
              <a:gd name="connsiteX138" fmla="*/ 7459827 w 12192000"/>
              <a:gd name="connsiteY138" fmla="*/ 1514306 h 2238164"/>
              <a:gd name="connsiteX139" fmla="*/ 7509928 w 12192000"/>
              <a:gd name="connsiteY139" fmla="*/ 1516936 h 2238164"/>
              <a:gd name="connsiteX140" fmla="*/ 7560093 w 12192000"/>
              <a:gd name="connsiteY140" fmla="*/ 1517938 h 2238164"/>
              <a:gd name="connsiteX141" fmla="*/ 7761002 w 12192000"/>
              <a:gd name="connsiteY141" fmla="*/ 1508921 h 2238164"/>
              <a:gd name="connsiteX142" fmla="*/ 7811167 w 12192000"/>
              <a:gd name="connsiteY142" fmla="*/ 1503911 h 2238164"/>
              <a:gd name="connsiteX143" fmla="*/ 7861203 w 12192000"/>
              <a:gd name="connsiteY143" fmla="*/ 1497649 h 2238164"/>
              <a:gd name="connsiteX144" fmla="*/ 7886222 w 12192000"/>
              <a:gd name="connsiteY144" fmla="*/ 1494393 h 2238164"/>
              <a:gd name="connsiteX145" fmla="*/ 7911176 w 12192000"/>
              <a:gd name="connsiteY145" fmla="*/ 1490260 h 2238164"/>
              <a:gd name="connsiteX146" fmla="*/ 7961087 w 12192000"/>
              <a:gd name="connsiteY146" fmla="*/ 1481994 h 2238164"/>
              <a:gd name="connsiteX147" fmla="*/ 8343095 w 12192000"/>
              <a:gd name="connsiteY147" fmla="*/ 1367213 h 2238164"/>
              <a:gd name="connsiteX148" fmla="*/ 8698687 w 12192000"/>
              <a:gd name="connsiteY148" fmla="*/ 1179355 h 2238164"/>
              <a:gd name="connsiteX149" fmla="*/ 9033643 w 12192000"/>
              <a:gd name="connsiteY149" fmla="*/ 948539 h 2238164"/>
              <a:gd name="connsiteX150" fmla="*/ 9361867 w 12192000"/>
              <a:gd name="connsiteY150" fmla="*/ 701005 h 2238164"/>
              <a:gd name="connsiteX151" fmla="*/ 9699172 w 12192000"/>
              <a:gd name="connsiteY151" fmla="*/ 458230 h 2238164"/>
              <a:gd name="connsiteX152" fmla="*/ 10060671 w 12192000"/>
              <a:gd name="connsiteY152" fmla="*/ 243006 h 2238164"/>
              <a:gd name="connsiteX153" fmla="*/ 10454362 w 12192000"/>
              <a:gd name="connsiteY153" fmla="*/ 81386 h 2238164"/>
              <a:gd name="connsiteX154" fmla="*/ 10505670 w 12192000"/>
              <a:gd name="connsiteY154" fmla="*/ 65856 h 2238164"/>
              <a:gd name="connsiteX155" fmla="*/ 10557675 w 12192000"/>
              <a:gd name="connsiteY155" fmla="*/ 52456 h 2238164"/>
              <a:gd name="connsiteX156" fmla="*/ 10583647 w 12192000"/>
              <a:gd name="connsiteY156" fmla="*/ 45818 h 2238164"/>
              <a:gd name="connsiteX157" fmla="*/ 10609871 w 12192000"/>
              <a:gd name="connsiteY157" fmla="*/ 39556 h 2238164"/>
              <a:gd name="connsiteX158" fmla="*/ 10662956 w 12192000"/>
              <a:gd name="connsiteY158" fmla="*/ 28535 h 2238164"/>
              <a:gd name="connsiteX159" fmla="*/ 10878851 w 12192000"/>
              <a:gd name="connsiteY159" fmla="*/ 2235 h 2238164"/>
              <a:gd name="connsiteX160" fmla="*/ 10988164 w 12192000"/>
              <a:gd name="connsiteY160" fmla="*/ 265 h 2238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Lst>
            <a:rect l="l" t="t" r="r" b="b"/>
            <a:pathLst>
              <a:path w="12192000" h="2238164">
                <a:moveTo>
                  <a:pt x="10988164" y="265"/>
                </a:moveTo>
                <a:cubicBezTo>
                  <a:pt x="11024597" y="954"/>
                  <a:pt x="11060997" y="2990"/>
                  <a:pt x="11097287" y="6368"/>
                </a:cubicBezTo>
                <a:cubicBezTo>
                  <a:pt x="11170057" y="12943"/>
                  <a:pt x="11242191" y="24815"/>
                  <a:pt x="11313183" y="41873"/>
                </a:cubicBezTo>
                <a:cubicBezTo>
                  <a:pt x="11454595" y="76220"/>
                  <a:pt x="11590672" y="129058"/>
                  <a:pt x="11717859" y="198985"/>
                </a:cubicBezTo>
                <a:cubicBezTo>
                  <a:pt x="11844031" y="268311"/>
                  <a:pt x="11962139" y="351113"/>
                  <a:pt x="12069960" y="445894"/>
                </a:cubicBezTo>
                <a:lnTo>
                  <a:pt x="12192000" y="563912"/>
                </a:lnTo>
                <a:lnTo>
                  <a:pt x="12192000" y="831323"/>
                </a:lnTo>
                <a:lnTo>
                  <a:pt x="12187051" y="824678"/>
                </a:lnTo>
                <a:cubicBezTo>
                  <a:pt x="12177336" y="812154"/>
                  <a:pt x="12167304" y="799255"/>
                  <a:pt x="12157017" y="786731"/>
                </a:cubicBezTo>
                <a:cubicBezTo>
                  <a:pt x="12136506" y="761683"/>
                  <a:pt x="12115298" y="737011"/>
                  <a:pt x="12093518" y="712715"/>
                </a:cubicBezTo>
                <a:cubicBezTo>
                  <a:pt x="12049450" y="664373"/>
                  <a:pt x="12002779" y="618097"/>
                  <a:pt x="11953821" y="574263"/>
                </a:cubicBezTo>
                <a:cubicBezTo>
                  <a:pt x="11856731" y="486533"/>
                  <a:pt x="11750181" y="409612"/>
                  <a:pt x="11636010" y="344888"/>
                </a:cubicBezTo>
                <a:cubicBezTo>
                  <a:pt x="11522792" y="280603"/>
                  <a:pt x="11401319" y="231591"/>
                  <a:pt x="11274830" y="199173"/>
                </a:cubicBezTo>
                <a:cubicBezTo>
                  <a:pt x="11211902" y="183155"/>
                  <a:pt x="11147832" y="171746"/>
                  <a:pt x="11083190" y="165045"/>
                </a:cubicBezTo>
                <a:cubicBezTo>
                  <a:pt x="11018485" y="158138"/>
                  <a:pt x="10953272" y="156041"/>
                  <a:pt x="10888250" y="158783"/>
                </a:cubicBezTo>
                <a:cubicBezTo>
                  <a:pt x="10822973" y="161438"/>
                  <a:pt x="10757949" y="168508"/>
                  <a:pt x="10693625" y="179949"/>
                </a:cubicBezTo>
                <a:cubicBezTo>
                  <a:pt x="10677497" y="182454"/>
                  <a:pt x="10661496" y="186211"/>
                  <a:pt x="10645430" y="189279"/>
                </a:cubicBezTo>
                <a:cubicBezTo>
                  <a:pt x="10637365" y="190782"/>
                  <a:pt x="10629302" y="192848"/>
                  <a:pt x="10621300" y="194790"/>
                </a:cubicBezTo>
                <a:lnTo>
                  <a:pt x="10597171" y="200676"/>
                </a:lnTo>
                <a:lnTo>
                  <a:pt x="10548913" y="212386"/>
                </a:lnTo>
                <a:cubicBezTo>
                  <a:pt x="10532847" y="216581"/>
                  <a:pt x="10517163" y="221653"/>
                  <a:pt x="10501098" y="226224"/>
                </a:cubicBezTo>
                <a:cubicBezTo>
                  <a:pt x="10373212" y="264172"/>
                  <a:pt x="10249008" y="313228"/>
                  <a:pt x="10129884" y="372817"/>
                </a:cubicBezTo>
                <a:cubicBezTo>
                  <a:pt x="10009490" y="433213"/>
                  <a:pt x="9892907" y="500629"/>
                  <a:pt x="9780642" y="574702"/>
                </a:cubicBezTo>
                <a:cubicBezTo>
                  <a:pt x="9667360" y="648780"/>
                  <a:pt x="9556682" y="727994"/>
                  <a:pt x="9446385" y="808773"/>
                </a:cubicBezTo>
                <a:cubicBezTo>
                  <a:pt x="9336087" y="889552"/>
                  <a:pt x="9226170" y="972084"/>
                  <a:pt x="9113906" y="1052989"/>
                </a:cubicBezTo>
                <a:cubicBezTo>
                  <a:pt x="9001639" y="1133893"/>
                  <a:pt x="8887341" y="1212731"/>
                  <a:pt x="8767520" y="1285056"/>
                </a:cubicBezTo>
                <a:cubicBezTo>
                  <a:pt x="8647570" y="1358653"/>
                  <a:pt x="8521906" y="1422844"/>
                  <a:pt x="8391735" y="1477048"/>
                </a:cubicBezTo>
                <a:cubicBezTo>
                  <a:pt x="8260357" y="1531714"/>
                  <a:pt x="8122881" y="1571058"/>
                  <a:pt x="7982231" y="1594271"/>
                </a:cubicBezTo>
                <a:lnTo>
                  <a:pt x="7929973" y="1602224"/>
                </a:lnTo>
                <a:lnTo>
                  <a:pt x="7903874" y="1606169"/>
                </a:lnTo>
                <a:lnTo>
                  <a:pt x="7877586" y="1609300"/>
                </a:lnTo>
                <a:lnTo>
                  <a:pt x="7825009" y="1615562"/>
                </a:lnTo>
                <a:cubicBezTo>
                  <a:pt x="7807421" y="1617565"/>
                  <a:pt x="7789767" y="1618630"/>
                  <a:pt x="7772179" y="1620133"/>
                </a:cubicBezTo>
                <a:cubicBezTo>
                  <a:pt x="7701568" y="1626013"/>
                  <a:pt x="7630640" y="1628286"/>
                  <a:pt x="7559775" y="1626958"/>
                </a:cubicBezTo>
                <a:lnTo>
                  <a:pt x="7506500" y="1625205"/>
                </a:lnTo>
                <a:cubicBezTo>
                  <a:pt x="7488783" y="1624579"/>
                  <a:pt x="7471067" y="1622825"/>
                  <a:pt x="7453352" y="1621698"/>
                </a:cubicBezTo>
                <a:lnTo>
                  <a:pt x="7426745" y="1619820"/>
                </a:lnTo>
                <a:lnTo>
                  <a:pt x="7400266" y="1616939"/>
                </a:lnTo>
                <a:cubicBezTo>
                  <a:pt x="7382614" y="1614873"/>
                  <a:pt x="7364897" y="1613370"/>
                  <a:pt x="7347308" y="1610677"/>
                </a:cubicBezTo>
                <a:cubicBezTo>
                  <a:pt x="7277015" y="1601084"/>
                  <a:pt x="7207294" y="1587683"/>
                  <a:pt x="7138460" y="1570538"/>
                </a:cubicBezTo>
                <a:cubicBezTo>
                  <a:pt x="7000923" y="1536974"/>
                  <a:pt x="6869227" y="1488068"/>
                  <a:pt x="6740388" y="1439037"/>
                </a:cubicBezTo>
                <a:cubicBezTo>
                  <a:pt x="6611549" y="1390006"/>
                  <a:pt x="6484552" y="1340349"/>
                  <a:pt x="6354760" y="1302527"/>
                </a:cubicBezTo>
                <a:cubicBezTo>
                  <a:pt x="6289929" y="1283303"/>
                  <a:pt x="6224334" y="1267836"/>
                  <a:pt x="6158232" y="1254936"/>
                </a:cubicBezTo>
                <a:cubicBezTo>
                  <a:pt x="6092073" y="1242131"/>
                  <a:pt x="6025259" y="1232851"/>
                  <a:pt x="5958084" y="1227133"/>
                </a:cubicBezTo>
                <a:lnTo>
                  <a:pt x="5907666" y="1223063"/>
                </a:lnTo>
                <a:lnTo>
                  <a:pt x="5883028" y="1221936"/>
                </a:lnTo>
                <a:lnTo>
                  <a:pt x="5870328" y="1221372"/>
                </a:lnTo>
                <a:lnTo>
                  <a:pt x="5857946" y="1221372"/>
                </a:lnTo>
                <a:lnTo>
                  <a:pt x="5833182" y="1221372"/>
                </a:lnTo>
                <a:lnTo>
                  <a:pt x="5808291" y="1222061"/>
                </a:lnTo>
                <a:cubicBezTo>
                  <a:pt x="5800036" y="1222061"/>
                  <a:pt x="5791781" y="1222625"/>
                  <a:pt x="5783462" y="1223188"/>
                </a:cubicBezTo>
                <a:lnTo>
                  <a:pt x="5758635" y="1224754"/>
                </a:lnTo>
                <a:cubicBezTo>
                  <a:pt x="5691942" y="1230346"/>
                  <a:pt x="5625732" y="1240621"/>
                  <a:pt x="5560518" y="1255500"/>
                </a:cubicBezTo>
                <a:cubicBezTo>
                  <a:pt x="5429267" y="1285056"/>
                  <a:pt x="5300745" y="1329954"/>
                  <a:pt x="5174827" y="1381615"/>
                </a:cubicBezTo>
                <a:cubicBezTo>
                  <a:pt x="5048910" y="1433276"/>
                  <a:pt x="4925278" y="1492201"/>
                  <a:pt x="4802598" y="1553318"/>
                </a:cubicBezTo>
                <a:cubicBezTo>
                  <a:pt x="4557366" y="1675801"/>
                  <a:pt x="4315944" y="1808367"/>
                  <a:pt x="4066013" y="1927031"/>
                </a:cubicBezTo>
                <a:cubicBezTo>
                  <a:pt x="3941111" y="1986268"/>
                  <a:pt x="3814241" y="2042250"/>
                  <a:pt x="3683751" y="2089841"/>
                </a:cubicBezTo>
                <a:cubicBezTo>
                  <a:pt x="3553261" y="2137432"/>
                  <a:pt x="3419215" y="2177508"/>
                  <a:pt x="3281232" y="2201492"/>
                </a:cubicBezTo>
                <a:cubicBezTo>
                  <a:pt x="3246816" y="2207754"/>
                  <a:pt x="3212019" y="2212325"/>
                  <a:pt x="3177539" y="2216270"/>
                </a:cubicBezTo>
                <a:cubicBezTo>
                  <a:pt x="3160205" y="2218274"/>
                  <a:pt x="3142996" y="2220528"/>
                  <a:pt x="3125661" y="2222532"/>
                </a:cubicBezTo>
                <a:lnTo>
                  <a:pt x="3073719" y="2227103"/>
                </a:lnTo>
                <a:lnTo>
                  <a:pt x="3047748" y="2229420"/>
                </a:lnTo>
                <a:lnTo>
                  <a:pt x="3021714" y="2231048"/>
                </a:lnTo>
                <a:lnTo>
                  <a:pt x="2969645" y="2234179"/>
                </a:lnTo>
                <a:cubicBezTo>
                  <a:pt x="2952310" y="2235243"/>
                  <a:pt x="2934975" y="2235494"/>
                  <a:pt x="2917639" y="2236183"/>
                </a:cubicBezTo>
                <a:cubicBezTo>
                  <a:pt x="2900304" y="2236871"/>
                  <a:pt x="2882906" y="2237560"/>
                  <a:pt x="2865570" y="2237685"/>
                </a:cubicBezTo>
                <a:cubicBezTo>
                  <a:pt x="2726635" y="2239940"/>
                  <a:pt x="2587953" y="2234116"/>
                  <a:pt x="2449908" y="2222907"/>
                </a:cubicBezTo>
                <a:cubicBezTo>
                  <a:pt x="2311861" y="2211698"/>
                  <a:pt x="2174641" y="2194416"/>
                  <a:pt x="2037864" y="2174753"/>
                </a:cubicBezTo>
                <a:cubicBezTo>
                  <a:pt x="1901088" y="2155090"/>
                  <a:pt x="1764820" y="2132548"/>
                  <a:pt x="1628932" y="2110317"/>
                </a:cubicBezTo>
                <a:cubicBezTo>
                  <a:pt x="1493046" y="2088087"/>
                  <a:pt x="1356905" y="2066484"/>
                  <a:pt x="1220318" y="2049076"/>
                </a:cubicBezTo>
                <a:cubicBezTo>
                  <a:pt x="1083733" y="2031667"/>
                  <a:pt x="946640" y="2019707"/>
                  <a:pt x="809356" y="2021273"/>
                </a:cubicBezTo>
                <a:cubicBezTo>
                  <a:pt x="775066" y="2022149"/>
                  <a:pt x="740840" y="2023214"/>
                  <a:pt x="706423" y="2025719"/>
                </a:cubicBezTo>
                <a:lnTo>
                  <a:pt x="654863" y="2029037"/>
                </a:lnTo>
                <a:lnTo>
                  <a:pt x="629464" y="2030666"/>
                </a:lnTo>
                <a:lnTo>
                  <a:pt x="603683" y="2032857"/>
                </a:lnTo>
                <a:lnTo>
                  <a:pt x="552249" y="2037241"/>
                </a:lnTo>
                <a:lnTo>
                  <a:pt x="526532" y="2039432"/>
                </a:lnTo>
                <a:lnTo>
                  <a:pt x="501132" y="2042250"/>
                </a:lnTo>
                <a:cubicBezTo>
                  <a:pt x="466907" y="2045945"/>
                  <a:pt x="432681" y="2049451"/>
                  <a:pt x="398645" y="2054398"/>
                </a:cubicBezTo>
                <a:cubicBezTo>
                  <a:pt x="330339" y="2062952"/>
                  <a:pt x="262520" y="2074925"/>
                  <a:pt x="195450" y="2090279"/>
                </a:cubicBezTo>
                <a:cubicBezTo>
                  <a:pt x="161922" y="2097856"/>
                  <a:pt x="128967" y="2107312"/>
                  <a:pt x="96455" y="2118020"/>
                </a:cubicBezTo>
                <a:lnTo>
                  <a:pt x="72390" y="2126849"/>
                </a:lnTo>
                <a:cubicBezTo>
                  <a:pt x="64452" y="2129917"/>
                  <a:pt x="56705" y="2133424"/>
                  <a:pt x="48831" y="2136743"/>
                </a:cubicBezTo>
                <a:cubicBezTo>
                  <a:pt x="44958" y="2138434"/>
                  <a:pt x="41211" y="2140438"/>
                  <a:pt x="37401" y="2142316"/>
                </a:cubicBezTo>
                <a:cubicBezTo>
                  <a:pt x="33591" y="2144195"/>
                  <a:pt x="29782" y="2146011"/>
                  <a:pt x="26225" y="2148202"/>
                </a:cubicBezTo>
                <a:cubicBezTo>
                  <a:pt x="22670" y="2150394"/>
                  <a:pt x="18796" y="2152335"/>
                  <a:pt x="15495" y="2154464"/>
                </a:cubicBezTo>
                <a:cubicBezTo>
                  <a:pt x="12131" y="2156587"/>
                  <a:pt x="8946" y="2158979"/>
                  <a:pt x="5970" y="2161603"/>
                </a:cubicBezTo>
                <a:lnTo>
                  <a:pt x="0" y="2156093"/>
                </a:lnTo>
                <a:cubicBezTo>
                  <a:pt x="3315" y="2152918"/>
                  <a:pt x="6929" y="2150068"/>
                  <a:pt x="10796" y="2147576"/>
                </a:cubicBezTo>
                <a:cubicBezTo>
                  <a:pt x="14351" y="2144883"/>
                  <a:pt x="18225" y="2142880"/>
                  <a:pt x="21971" y="2140563"/>
                </a:cubicBezTo>
                <a:cubicBezTo>
                  <a:pt x="25717" y="2138246"/>
                  <a:pt x="29591" y="2136242"/>
                  <a:pt x="33465" y="2134301"/>
                </a:cubicBezTo>
                <a:cubicBezTo>
                  <a:pt x="37338" y="2132360"/>
                  <a:pt x="41148" y="2130231"/>
                  <a:pt x="45148" y="2128414"/>
                </a:cubicBezTo>
                <a:cubicBezTo>
                  <a:pt x="53085" y="2124970"/>
                  <a:pt x="60959" y="2121276"/>
                  <a:pt x="69024" y="2118020"/>
                </a:cubicBezTo>
                <a:lnTo>
                  <a:pt x="93344" y="2108752"/>
                </a:lnTo>
                <a:cubicBezTo>
                  <a:pt x="126110" y="2097480"/>
                  <a:pt x="159255" y="2087524"/>
                  <a:pt x="192909" y="2079446"/>
                </a:cubicBezTo>
                <a:cubicBezTo>
                  <a:pt x="260148" y="2063134"/>
                  <a:pt x="328179" y="2050178"/>
                  <a:pt x="396741" y="2040622"/>
                </a:cubicBezTo>
                <a:cubicBezTo>
                  <a:pt x="430903" y="2035237"/>
                  <a:pt x="465256" y="2031354"/>
                  <a:pt x="499545" y="2027159"/>
                </a:cubicBezTo>
                <a:lnTo>
                  <a:pt x="524944" y="2024028"/>
                </a:lnTo>
                <a:lnTo>
                  <a:pt x="550725" y="2021461"/>
                </a:lnTo>
                <a:lnTo>
                  <a:pt x="602286" y="2016388"/>
                </a:lnTo>
                <a:lnTo>
                  <a:pt x="628066" y="2013884"/>
                </a:lnTo>
                <a:lnTo>
                  <a:pt x="653910" y="2011880"/>
                </a:lnTo>
                <a:lnTo>
                  <a:pt x="705535" y="2007872"/>
                </a:lnTo>
                <a:cubicBezTo>
                  <a:pt x="739888" y="2004929"/>
                  <a:pt x="774622" y="2003364"/>
                  <a:pt x="809228" y="2002048"/>
                </a:cubicBezTo>
                <a:cubicBezTo>
                  <a:pt x="947909" y="1998667"/>
                  <a:pt x="1086273" y="2009313"/>
                  <a:pt x="1223621" y="2024654"/>
                </a:cubicBezTo>
                <a:cubicBezTo>
                  <a:pt x="1360968" y="2039996"/>
                  <a:pt x="1497554" y="2060410"/>
                  <a:pt x="1633949" y="2081011"/>
                </a:cubicBezTo>
                <a:cubicBezTo>
                  <a:pt x="1770345" y="2101614"/>
                  <a:pt x="1906613" y="2122090"/>
                  <a:pt x="2043071" y="2140124"/>
                </a:cubicBezTo>
                <a:cubicBezTo>
                  <a:pt x="2179530" y="2158159"/>
                  <a:pt x="2316116" y="2172874"/>
                  <a:pt x="2453400" y="2182643"/>
                </a:cubicBezTo>
                <a:cubicBezTo>
                  <a:pt x="2590684" y="2192412"/>
                  <a:pt x="2727777" y="2195981"/>
                  <a:pt x="2864745" y="2191973"/>
                </a:cubicBezTo>
                <a:cubicBezTo>
                  <a:pt x="2881826" y="2191660"/>
                  <a:pt x="2898907" y="2190533"/>
                  <a:pt x="2916051" y="2189844"/>
                </a:cubicBezTo>
                <a:cubicBezTo>
                  <a:pt x="2933196" y="2189155"/>
                  <a:pt x="2950214" y="2188529"/>
                  <a:pt x="2967295" y="2187214"/>
                </a:cubicBezTo>
                <a:lnTo>
                  <a:pt x="3018475" y="2183457"/>
                </a:lnTo>
                <a:lnTo>
                  <a:pt x="3043875" y="2181578"/>
                </a:lnTo>
                <a:lnTo>
                  <a:pt x="3069274" y="2178948"/>
                </a:lnTo>
                <a:lnTo>
                  <a:pt x="3120073" y="2173751"/>
                </a:lnTo>
                <a:cubicBezTo>
                  <a:pt x="3137091" y="2171872"/>
                  <a:pt x="3153981" y="2169368"/>
                  <a:pt x="3170872" y="2167489"/>
                </a:cubicBezTo>
                <a:cubicBezTo>
                  <a:pt x="3204908" y="2163168"/>
                  <a:pt x="3238371" y="2158221"/>
                  <a:pt x="3271708" y="2151772"/>
                </a:cubicBezTo>
                <a:cubicBezTo>
                  <a:pt x="3405055" y="2126724"/>
                  <a:pt x="3535862" y="2086084"/>
                  <a:pt x="3663368" y="2037616"/>
                </a:cubicBezTo>
                <a:cubicBezTo>
                  <a:pt x="3790874" y="1989149"/>
                  <a:pt x="3915394" y="1932228"/>
                  <a:pt x="4038327" y="1871926"/>
                </a:cubicBezTo>
                <a:cubicBezTo>
                  <a:pt x="4284195" y="1751195"/>
                  <a:pt x="4523331" y="1615812"/>
                  <a:pt x="4768563" y="1489258"/>
                </a:cubicBezTo>
                <a:cubicBezTo>
                  <a:pt x="4891305" y="1426075"/>
                  <a:pt x="5015509" y="1364833"/>
                  <a:pt x="5143586" y="1310354"/>
                </a:cubicBezTo>
                <a:cubicBezTo>
                  <a:pt x="5271662" y="1255876"/>
                  <a:pt x="5403359" y="1207784"/>
                  <a:pt x="5540770" y="1174909"/>
                </a:cubicBezTo>
                <a:cubicBezTo>
                  <a:pt x="5609813" y="1158283"/>
                  <a:pt x="5679966" y="1146505"/>
                  <a:pt x="5750697" y="1139654"/>
                </a:cubicBezTo>
                <a:lnTo>
                  <a:pt x="5777430" y="1137650"/>
                </a:lnTo>
                <a:cubicBezTo>
                  <a:pt x="5786320" y="1136899"/>
                  <a:pt x="5795273" y="1136335"/>
                  <a:pt x="5804227" y="1136085"/>
                </a:cubicBezTo>
                <a:lnTo>
                  <a:pt x="5831087" y="1134958"/>
                </a:lnTo>
                <a:lnTo>
                  <a:pt x="5858010" y="1134958"/>
                </a:lnTo>
                <a:lnTo>
                  <a:pt x="5871471" y="1134958"/>
                </a:lnTo>
                <a:lnTo>
                  <a:pt x="5884933" y="1135396"/>
                </a:lnTo>
                <a:lnTo>
                  <a:pt x="5911921" y="1136272"/>
                </a:lnTo>
                <a:lnTo>
                  <a:pt x="5964688" y="1139779"/>
                </a:lnTo>
                <a:cubicBezTo>
                  <a:pt x="6034968" y="1144870"/>
                  <a:pt x="6104918" y="1153693"/>
                  <a:pt x="6174234" y="1166205"/>
                </a:cubicBezTo>
                <a:cubicBezTo>
                  <a:pt x="6243574" y="1178729"/>
                  <a:pt x="6312470" y="1194133"/>
                  <a:pt x="6380033" y="1213232"/>
                </a:cubicBezTo>
                <a:cubicBezTo>
                  <a:pt x="6515412" y="1250804"/>
                  <a:pt x="6646282" y="1299647"/>
                  <a:pt x="6774994" y="1347175"/>
                </a:cubicBezTo>
                <a:cubicBezTo>
                  <a:pt x="6903707" y="1394703"/>
                  <a:pt x="7031783" y="1439914"/>
                  <a:pt x="7162336" y="1470034"/>
                </a:cubicBezTo>
                <a:cubicBezTo>
                  <a:pt x="7227486" y="1485363"/>
                  <a:pt x="7293462" y="1497155"/>
                  <a:pt x="7359944" y="1505351"/>
                </a:cubicBezTo>
                <a:cubicBezTo>
                  <a:pt x="7376518" y="1507543"/>
                  <a:pt x="7393218" y="1508733"/>
                  <a:pt x="7409854" y="1510486"/>
                </a:cubicBezTo>
                <a:lnTo>
                  <a:pt x="7434810" y="1512866"/>
                </a:lnTo>
                <a:lnTo>
                  <a:pt x="7459827" y="1514306"/>
                </a:lnTo>
                <a:cubicBezTo>
                  <a:pt x="7476528" y="1515183"/>
                  <a:pt x="7493164" y="1516623"/>
                  <a:pt x="7509928" y="1516936"/>
                </a:cubicBezTo>
                <a:lnTo>
                  <a:pt x="7560093" y="1517938"/>
                </a:lnTo>
                <a:cubicBezTo>
                  <a:pt x="7627147" y="1518339"/>
                  <a:pt x="7694265" y="1515333"/>
                  <a:pt x="7761002" y="1508921"/>
                </a:cubicBezTo>
                <a:cubicBezTo>
                  <a:pt x="7777702" y="1507230"/>
                  <a:pt x="7794466" y="1506103"/>
                  <a:pt x="7811167" y="1503911"/>
                </a:cubicBezTo>
                <a:lnTo>
                  <a:pt x="7861203" y="1497649"/>
                </a:lnTo>
                <a:lnTo>
                  <a:pt x="7886222" y="1494393"/>
                </a:lnTo>
                <a:lnTo>
                  <a:pt x="7911176" y="1490260"/>
                </a:lnTo>
                <a:lnTo>
                  <a:pt x="7961087" y="1481994"/>
                </a:lnTo>
                <a:cubicBezTo>
                  <a:pt x="8092529" y="1458581"/>
                  <a:pt x="8220733" y="1420058"/>
                  <a:pt x="8343095" y="1367213"/>
                </a:cubicBezTo>
                <a:cubicBezTo>
                  <a:pt x="8466409" y="1313830"/>
                  <a:pt x="8585279" y="1251016"/>
                  <a:pt x="8698687" y="1179355"/>
                </a:cubicBezTo>
                <a:cubicBezTo>
                  <a:pt x="8812985" y="1108094"/>
                  <a:pt x="8923917" y="1029381"/>
                  <a:pt x="9033643" y="948539"/>
                </a:cubicBezTo>
                <a:cubicBezTo>
                  <a:pt x="9143369" y="867698"/>
                  <a:pt x="9251824" y="783851"/>
                  <a:pt x="9361867" y="701005"/>
                </a:cubicBezTo>
                <a:cubicBezTo>
                  <a:pt x="9471910" y="618159"/>
                  <a:pt x="9583478" y="536003"/>
                  <a:pt x="9699172" y="458230"/>
                </a:cubicBezTo>
                <a:cubicBezTo>
                  <a:pt x="9815248" y="379454"/>
                  <a:pt x="9935959" y="307586"/>
                  <a:pt x="10060671" y="243006"/>
                </a:cubicBezTo>
                <a:cubicBezTo>
                  <a:pt x="10186779" y="177751"/>
                  <a:pt x="10318539" y="123666"/>
                  <a:pt x="10454362" y="81386"/>
                </a:cubicBezTo>
                <a:cubicBezTo>
                  <a:pt x="10471444" y="76251"/>
                  <a:pt x="10488398" y="70553"/>
                  <a:pt x="10505670" y="65856"/>
                </a:cubicBezTo>
                <a:lnTo>
                  <a:pt x="10557675" y="52456"/>
                </a:lnTo>
                <a:lnTo>
                  <a:pt x="10583647" y="45818"/>
                </a:lnTo>
                <a:cubicBezTo>
                  <a:pt x="10592345" y="43564"/>
                  <a:pt x="10600981" y="41309"/>
                  <a:pt x="10609871" y="39556"/>
                </a:cubicBezTo>
                <a:cubicBezTo>
                  <a:pt x="10627587" y="35924"/>
                  <a:pt x="10645113" y="31603"/>
                  <a:pt x="10662956" y="28535"/>
                </a:cubicBezTo>
                <a:cubicBezTo>
                  <a:pt x="10734201" y="14915"/>
                  <a:pt x="10806335" y="6124"/>
                  <a:pt x="10878851" y="2235"/>
                </a:cubicBezTo>
                <a:cubicBezTo>
                  <a:pt x="10915268" y="231"/>
                  <a:pt x="10951732" y="-425"/>
                  <a:pt x="10988164" y="265"/>
                </a:cubicBezTo>
                <a:close/>
              </a:path>
            </a:pathLst>
          </a:custGeom>
          <a:solidFill>
            <a:schemeClr val="accent1"/>
          </a:solidFill>
          <a:ln w="6262" cap="flat">
            <a:noFill/>
            <a:prstDash val="solid"/>
            <a:miter/>
          </a:ln>
          <a:effectLst>
            <a:outerShdw dist="279400" dir="4800000" algn="t" rotWithShape="0">
              <a:prstClr val="black">
                <a:alpha val="10000"/>
              </a:prstClr>
            </a:outerShdw>
          </a:effectLst>
        </p:spPr>
        <p:txBody>
          <a:bodyPr rtlCol="0" anchor="ctr"/>
          <a:lstStyle/>
          <a:p>
            <a:endParaRPr lang="zh-CN" altLang="en-US" dirty="0"/>
          </a:p>
        </p:txBody>
      </p:sp>
      <p:grpSp>
        <p:nvGrpSpPr>
          <p:cNvPr id="24" name="组合 23">
            <a:extLst>
              <a:ext uri="{FF2B5EF4-FFF2-40B4-BE49-F238E27FC236}">
                <a16:creationId xmlns:a16="http://schemas.microsoft.com/office/drawing/2014/main" id="{736737D7-B9FF-4BAC-AD67-FC58DF2F885A}"/>
              </a:ext>
            </a:extLst>
          </p:cNvPr>
          <p:cNvGrpSpPr/>
          <p:nvPr/>
        </p:nvGrpSpPr>
        <p:grpSpPr>
          <a:xfrm>
            <a:off x="971549" y="2789570"/>
            <a:ext cx="1931196" cy="2365380"/>
            <a:chOff x="971549" y="2789570"/>
            <a:chExt cx="1931196" cy="2365380"/>
          </a:xfrm>
        </p:grpSpPr>
        <p:cxnSp>
          <p:nvCxnSpPr>
            <p:cNvPr id="18" name="直接连接符 17">
              <a:extLst>
                <a:ext uri="{FF2B5EF4-FFF2-40B4-BE49-F238E27FC236}">
                  <a16:creationId xmlns:a16="http://schemas.microsoft.com/office/drawing/2014/main" id="{327D5229-C1D2-41C1-94F4-2ADB722A6900}"/>
                </a:ext>
              </a:extLst>
            </p:cNvPr>
            <p:cNvCxnSpPr>
              <a:cxnSpLocks/>
            </p:cNvCxnSpPr>
            <p:nvPr/>
          </p:nvCxnSpPr>
          <p:spPr>
            <a:xfrm>
              <a:off x="971550" y="2819400"/>
              <a:ext cx="0" cy="2335550"/>
            </a:xfrm>
            <a:prstGeom prst="line">
              <a:avLst/>
            </a:prstGeom>
            <a:ln w="28575">
              <a:gradFill>
                <a:gsLst>
                  <a:gs pos="0">
                    <a:schemeClr val="accent1"/>
                  </a:gs>
                  <a:gs pos="100000">
                    <a:schemeClr val="accent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20" name="等腰三角形 19">
              <a:extLst>
                <a:ext uri="{FF2B5EF4-FFF2-40B4-BE49-F238E27FC236}">
                  <a16:creationId xmlns:a16="http://schemas.microsoft.com/office/drawing/2014/main" id="{6FBFDCBC-335B-4A88-8CAE-7E25FA869052}"/>
                </a:ext>
              </a:extLst>
            </p:cNvPr>
            <p:cNvSpPr/>
            <p:nvPr/>
          </p:nvSpPr>
          <p:spPr>
            <a:xfrm rot="5400000">
              <a:off x="955784" y="2835166"/>
              <a:ext cx="228600" cy="197069"/>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21" name="文本框 20">
              <a:extLst>
                <a:ext uri="{FF2B5EF4-FFF2-40B4-BE49-F238E27FC236}">
                  <a16:creationId xmlns:a16="http://schemas.microsoft.com/office/drawing/2014/main" id="{4BC59B18-7D10-434F-B2DA-4083EF275D6A}"/>
                </a:ext>
              </a:extLst>
            </p:cNvPr>
            <p:cNvSpPr txBox="1"/>
            <p:nvPr/>
          </p:nvSpPr>
          <p:spPr>
            <a:xfrm>
              <a:off x="1290747" y="2789570"/>
              <a:ext cx="714939" cy="307777"/>
            </a:xfrm>
            <a:prstGeom prst="rect">
              <a:avLst/>
            </a:prstGeom>
            <a:noFill/>
          </p:spPr>
          <p:txBody>
            <a:bodyPr wrap="none" lIns="0" tIns="0" rIns="0" bIns="0" rtlCol="0" anchor="t">
              <a:spAutoFit/>
            </a:bodyPr>
            <a:lstStyle/>
            <a:p>
              <a:r>
                <a:rPr lang="en-US" altLang="zh-CN" sz="2000" dirty="0">
                  <a:solidFill>
                    <a:schemeClr val="accent1"/>
                  </a:solidFill>
                  <a:latin typeface="+mj-ea"/>
                  <a:ea typeface="+mj-ea"/>
                </a:rPr>
                <a:t>20XX</a:t>
              </a:r>
              <a:endParaRPr lang="zh-CN" altLang="en-US" sz="2000" dirty="0">
                <a:solidFill>
                  <a:schemeClr val="accent1"/>
                </a:solidFill>
                <a:latin typeface="+mj-ea"/>
                <a:ea typeface="+mj-ea"/>
              </a:endParaRPr>
            </a:p>
          </p:txBody>
        </p:sp>
        <p:sp>
          <p:nvSpPr>
            <p:cNvPr id="22" name="文本框 21">
              <a:extLst>
                <a:ext uri="{FF2B5EF4-FFF2-40B4-BE49-F238E27FC236}">
                  <a16:creationId xmlns:a16="http://schemas.microsoft.com/office/drawing/2014/main" id="{2943C243-1570-4D80-A6E1-4D733A5EE05C}"/>
                </a:ext>
              </a:extLst>
            </p:cNvPr>
            <p:cNvSpPr txBox="1"/>
            <p:nvPr/>
          </p:nvSpPr>
          <p:spPr>
            <a:xfrm>
              <a:off x="1209784" y="3202163"/>
              <a:ext cx="1692961" cy="769441"/>
            </a:xfrm>
            <a:prstGeom prst="rect">
              <a:avLst/>
            </a:prstGeom>
            <a:noFill/>
          </p:spPr>
          <p:txBody>
            <a:bodyPr wrap="square" rtlCol="0">
              <a:spAutoFit/>
            </a:bodyPr>
            <a:lstStyle/>
            <a:p>
              <a:r>
                <a:rPr lang="en-US" altLang="zh-CN" sz="1100" dirty="0">
                  <a:solidFill>
                    <a:schemeClr val="accent1"/>
                  </a:solidFill>
                </a:rPr>
                <a:t>Lorem ipsum dolor sit amet consectetur adipisicing elit sed do eiusmod tempor</a:t>
              </a:r>
              <a:endParaRPr lang="zh-CN" altLang="en-US" sz="1100" dirty="0">
                <a:solidFill>
                  <a:schemeClr val="accent1"/>
                </a:solidFill>
              </a:endParaRPr>
            </a:p>
          </p:txBody>
        </p:sp>
        <p:sp>
          <p:nvSpPr>
            <p:cNvPr id="23" name="矩形 22">
              <a:extLst>
                <a:ext uri="{FF2B5EF4-FFF2-40B4-BE49-F238E27FC236}">
                  <a16:creationId xmlns:a16="http://schemas.microsoft.com/office/drawing/2014/main" id="{D3648D69-D985-4492-A179-D86B8F361502}"/>
                </a:ext>
              </a:extLst>
            </p:cNvPr>
            <p:cNvSpPr/>
            <p:nvPr/>
          </p:nvSpPr>
          <p:spPr>
            <a:xfrm>
              <a:off x="1290747" y="3137394"/>
              <a:ext cx="714939" cy="4571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grpSp>
      <p:grpSp>
        <p:nvGrpSpPr>
          <p:cNvPr id="25" name="组合 24">
            <a:extLst>
              <a:ext uri="{FF2B5EF4-FFF2-40B4-BE49-F238E27FC236}">
                <a16:creationId xmlns:a16="http://schemas.microsoft.com/office/drawing/2014/main" id="{3ECEED8C-D4E1-47FB-816C-7646A97A42E5}"/>
              </a:ext>
            </a:extLst>
          </p:cNvPr>
          <p:cNvGrpSpPr/>
          <p:nvPr/>
        </p:nvGrpSpPr>
        <p:grpSpPr>
          <a:xfrm>
            <a:off x="3986572" y="2146142"/>
            <a:ext cx="1931196" cy="2799258"/>
            <a:chOff x="971549" y="2355692"/>
            <a:chExt cx="1931196" cy="2799258"/>
          </a:xfrm>
        </p:grpSpPr>
        <p:cxnSp>
          <p:nvCxnSpPr>
            <p:cNvPr id="26" name="直接连接符 25">
              <a:extLst>
                <a:ext uri="{FF2B5EF4-FFF2-40B4-BE49-F238E27FC236}">
                  <a16:creationId xmlns:a16="http://schemas.microsoft.com/office/drawing/2014/main" id="{D9AA4200-01AF-4420-9A20-AA522493EFD4}"/>
                </a:ext>
              </a:extLst>
            </p:cNvPr>
            <p:cNvCxnSpPr>
              <a:cxnSpLocks/>
            </p:cNvCxnSpPr>
            <p:nvPr/>
          </p:nvCxnSpPr>
          <p:spPr>
            <a:xfrm>
              <a:off x="971550" y="2374749"/>
              <a:ext cx="0" cy="2780201"/>
            </a:xfrm>
            <a:prstGeom prst="line">
              <a:avLst/>
            </a:prstGeom>
            <a:ln w="28575">
              <a:gradFill>
                <a:gsLst>
                  <a:gs pos="0">
                    <a:schemeClr val="accent1"/>
                  </a:gs>
                  <a:gs pos="100000">
                    <a:schemeClr val="accent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27" name="等腰三角形 26">
              <a:extLst>
                <a:ext uri="{FF2B5EF4-FFF2-40B4-BE49-F238E27FC236}">
                  <a16:creationId xmlns:a16="http://schemas.microsoft.com/office/drawing/2014/main" id="{E9DD30AB-91FA-46AB-8F98-BF7834CDCF29}"/>
                </a:ext>
              </a:extLst>
            </p:cNvPr>
            <p:cNvSpPr/>
            <p:nvPr/>
          </p:nvSpPr>
          <p:spPr>
            <a:xfrm rot="5400000">
              <a:off x="955784" y="2390515"/>
              <a:ext cx="228600" cy="197069"/>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28" name="文本框 27">
              <a:extLst>
                <a:ext uri="{FF2B5EF4-FFF2-40B4-BE49-F238E27FC236}">
                  <a16:creationId xmlns:a16="http://schemas.microsoft.com/office/drawing/2014/main" id="{6A11CBAC-A37A-407B-B37A-CB7858722223}"/>
                </a:ext>
              </a:extLst>
            </p:cNvPr>
            <p:cNvSpPr txBox="1"/>
            <p:nvPr/>
          </p:nvSpPr>
          <p:spPr>
            <a:xfrm>
              <a:off x="1290747" y="2355692"/>
              <a:ext cx="714939" cy="307777"/>
            </a:xfrm>
            <a:prstGeom prst="rect">
              <a:avLst/>
            </a:prstGeom>
            <a:noFill/>
          </p:spPr>
          <p:txBody>
            <a:bodyPr wrap="none" lIns="0" tIns="0" rIns="0" bIns="0" rtlCol="0" anchor="t">
              <a:spAutoFit/>
            </a:bodyPr>
            <a:lstStyle/>
            <a:p>
              <a:r>
                <a:rPr lang="en-US" altLang="zh-CN" sz="2000" dirty="0">
                  <a:solidFill>
                    <a:schemeClr val="accent1"/>
                  </a:solidFill>
                  <a:latin typeface="+mj-ea"/>
                  <a:ea typeface="+mj-ea"/>
                </a:rPr>
                <a:t>20XX</a:t>
              </a:r>
              <a:endParaRPr lang="zh-CN" altLang="en-US" sz="2000" dirty="0">
                <a:solidFill>
                  <a:schemeClr val="accent1"/>
                </a:solidFill>
                <a:latin typeface="+mj-ea"/>
                <a:ea typeface="+mj-ea"/>
              </a:endParaRPr>
            </a:p>
          </p:txBody>
        </p:sp>
        <p:sp>
          <p:nvSpPr>
            <p:cNvPr id="29" name="文本框 28">
              <a:extLst>
                <a:ext uri="{FF2B5EF4-FFF2-40B4-BE49-F238E27FC236}">
                  <a16:creationId xmlns:a16="http://schemas.microsoft.com/office/drawing/2014/main" id="{5755E593-7971-41E7-A729-6BA31184E29F}"/>
                </a:ext>
              </a:extLst>
            </p:cNvPr>
            <p:cNvSpPr txBox="1"/>
            <p:nvPr/>
          </p:nvSpPr>
          <p:spPr>
            <a:xfrm>
              <a:off x="1209784" y="2768285"/>
              <a:ext cx="1692961" cy="769441"/>
            </a:xfrm>
            <a:prstGeom prst="rect">
              <a:avLst/>
            </a:prstGeom>
            <a:noFill/>
          </p:spPr>
          <p:txBody>
            <a:bodyPr wrap="square" rtlCol="0">
              <a:spAutoFit/>
            </a:bodyPr>
            <a:lstStyle/>
            <a:p>
              <a:r>
                <a:rPr lang="en-US" altLang="zh-CN" sz="1100" dirty="0">
                  <a:solidFill>
                    <a:schemeClr val="accent1"/>
                  </a:solidFill>
                </a:rPr>
                <a:t>Lorem ipsum dolor sit amet consectetur adipisicing elit sed do eiusmod tempor</a:t>
              </a:r>
              <a:endParaRPr lang="zh-CN" altLang="en-US" sz="1100" dirty="0">
                <a:solidFill>
                  <a:schemeClr val="accent1"/>
                </a:solidFill>
              </a:endParaRPr>
            </a:p>
          </p:txBody>
        </p:sp>
        <p:sp>
          <p:nvSpPr>
            <p:cNvPr id="30" name="矩形 29">
              <a:extLst>
                <a:ext uri="{FF2B5EF4-FFF2-40B4-BE49-F238E27FC236}">
                  <a16:creationId xmlns:a16="http://schemas.microsoft.com/office/drawing/2014/main" id="{21FCC7AE-ECEC-4606-BA52-91B0B9F9DD83}"/>
                </a:ext>
              </a:extLst>
            </p:cNvPr>
            <p:cNvSpPr/>
            <p:nvPr/>
          </p:nvSpPr>
          <p:spPr>
            <a:xfrm>
              <a:off x="1290747" y="2703516"/>
              <a:ext cx="714939" cy="4571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grpSp>
      <p:grpSp>
        <p:nvGrpSpPr>
          <p:cNvPr id="32" name="组合 31">
            <a:extLst>
              <a:ext uri="{FF2B5EF4-FFF2-40B4-BE49-F238E27FC236}">
                <a16:creationId xmlns:a16="http://schemas.microsoft.com/office/drawing/2014/main" id="{DDC072FE-A4B0-4EF4-94E4-9876131FDE7B}"/>
              </a:ext>
            </a:extLst>
          </p:cNvPr>
          <p:cNvGrpSpPr/>
          <p:nvPr/>
        </p:nvGrpSpPr>
        <p:grpSpPr>
          <a:xfrm>
            <a:off x="7001595" y="2138378"/>
            <a:ext cx="1931196" cy="2581244"/>
            <a:chOff x="971549" y="2573706"/>
            <a:chExt cx="1931196" cy="2581244"/>
          </a:xfrm>
        </p:grpSpPr>
        <p:cxnSp>
          <p:nvCxnSpPr>
            <p:cNvPr id="33" name="直接连接符 32">
              <a:extLst>
                <a:ext uri="{FF2B5EF4-FFF2-40B4-BE49-F238E27FC236}">
                  <a16:creationId xmlns:a16="http://schemas.microsoft.com/office/drawing/2014/main" id="{20984764-A63C-4AB7-AF00-0D35E86A0226}"/>
                </a:ext>
              </a:extLst>
            </p:cNvPr>
            <p:cNvCxnSpPr>
              <a:cxnSpLocks/>
              <a:stCxn id="34" idx="2"/>
            </p:cNvCxnSpPr>
            <p:nvPr/>
          </p:nvCxnSpPr>
          <p:spPr>
            <a:xfrm>
              <a:off x="971550" y="2622115"/>
              <a:ext cx="0" cy="2532835"/>
            </a:xfrm>
            <a:prstGeom prst="line">
              <a:avLst/>
            </a:prstGeom>
            <a:ln w="28575">
              <a:gradFill>
                <a:gsLst>
                  <a:gs pos="0">
                    <a:schemeClr val="accent1"/>
                  </a:gs>
                  <a:gs pos="100000">
                    <a:schemeClr val="accent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34" name="等腰三角形 33">
              <a:extLst>
                <a:ext uri="{FF2B5EF4-FFF2-40B4-BE49-F238E27FC236}">
                  <a16:creationId xmlns:a16="http://schemas.microsoft.com/office/drawing/2014/main" id="{B41AA729-75E6-4B30-9968-3CB6A1FA1BC4}"/>
                </a:ext>
              </a:extLst>
            </p:cNvPr>
            <p:cNvSpPr/>
            <p:nvPr/>
          </p:nvSpPr>
          <p:spPr>
            <a:xfrm rot="5400000">
              <a:off x="955784" y="2637880"/>
              <a:ext cx="228600" cy="197069"/>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35" name="文本框 34">
              <a:extLst>
                <a:ext uri="{FF2B5EF4-FFF2-40B4-BE49-F238E27FC236}">
                  <a16:creationId xmlns:a16="http://schemas.microsoft.com/office/drawing/2014/main" id="{A81ABC5E-3D41-489E-B412-139E35672D21}"/>
                </a:ext>
              </a:extLst>
            </p:cNvPr>
            <p:cNvSpPr txBox="1"/>
            <p:nvPr/>
          </p:nvSpPr>
          <p:spPr>
            <a:xfrm>
              <a:off x="1290747" y="2573706"/>
              <a:ext cx="714939" cy="307777"/>
            </a:xfrm>
            <a:prstGeom prst="rect">
              <a:avLst/>
            </a:prstGeom>
            <a:noFill/>
          </p:spPr>
          <p:txBody>
            <a:bodyPr wrap="none" lIns="0" tIns="0" rIns="0" bIns="0" rtlCol="0" anchor="t">
              <a:spAutoFit/>
            </a:bodyPr>
            <a:lstStyle/>
            <a:p>
              <a:r>
                <a:rPr lang="en-US" altLang="zh-CN" sz="2000" dirty="0">
                  <a:solidFill>
                    <a:schemeClr val="accent1"/>
                  </a:solidFill>
                  <a:latin typeface="+mj-ea"/>
                  <a:ea typeface="+mj-ea"/>
                </a:rPr>
                <a:t>20XX</a:t>
              </a:r>
              <a:endParaRPr lang="zh-CN" altLang="en-US" sz="2000" dirty="0">
                <a:solidFill>
                  <a:schemeClr val="accent1"/>
                </a:solidFill>
                <a:latin typeface="+mj-ea"/>
                <a:ea typeface="+mj-ea"/>
              </a:endParaRPr>
            </a:p>
          </p:txBody>
        </p:sp>
        <p:sp>
          <p:nvSpPr>
            <p:cNvPr id="36" name="文本框 35">
              <a:extLst>
                <a:ext uri="{FF2B5EF4-FFF2-40B4-BE49-F238E27FC236}">
                  <a16:creationId xmlns:a16="http://schemas.microsoft.com/office/drawing/2014/main" id="{959912AA-CFC6-4E1B-AF79-C7AE97CEE218}"/>
                </a:ext>
              </a:extLst>
            </p:cNvPr>
            <p:cNvSpPr txBox="1"/>
            <p:nvPr/>
          </p:nvSpPr>
          <p:spPr>
            <a:xfrm>
              <a:off x="1209784" y="2986299"/>
              <a:ext cx="1692961" cy="769441"/>
            </a:xfrm>
            <a:prstGeom prst="rect">
              <a:avLst/>
            </a:prstGeom>
            <a:noFill/>
          </p:spPr>
          <p:txBody>
            <a:bodyPr wrap="square" rtlCol="0">
              <a:spAutoFit/>
            </a:bodyPr>
            <a:lstStyle/>
            <a:p>
              <a:r>
                <a:rPr lang="en-US" altLang="zh-CN" sz="1100" dirty="0">
                  <a:solidFill>
                    <a:schemeClr val="accent1"/>
                  </a:solidFill>
                </a:rPr>
                <a:t>Lorem ipsum dolor sit amet consectetur adipisicing elit sed do eiusmod tempor</a:t>
              </a:r>
              <a:endParaRPr lang="zh-CN" altLang="en-US" sz="1100" dirty="0">
                <a:solidFill>
                  <a:schemeClr val="accent1"/>
                </a:solidFill>
              </a:endParaRPr>
            </a:p>
          </p:txBody>
        </p:sp>
        <p:sp>
          <p:nvSpPr>
            <p:cNvPr id="37" name="矩形 36">
              <a:extLst>
                <a:ext uri="{FF2B5EF4-FFF2-40B4-BE49-F238E27FC236}">
                  <a16:creationId xmlns:a16="http://schemas.microsoft.com/office/drawing/2014/main" id="{FB0CB423-0EBC-4367-808F-C92BA8C1B7DD}"/>
                </a:ext>
              </a:extLst>
            </p:cNvPr>
            <p:cNvSpPr/>
            <p:nvPr/>
          </p:nvSpPr>
          <p:spPr>
            <a:xfrm>
              <a:off x="1290747" y="2921530"/>
              <a:ext cx="714939" cy="4571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grpSp>
      <p:grpSp>
        <p:nvGrpSpPr>
          <p:cNvPr id="40" name="组合 39">
            <a:extLst>
              <a:ext uri="{FF2B5EF4-FFF2-40B4-BE49-F238E27FC236}">
                <a16:creationId xmlns:a16="http://schemas.microsoft.com/office/drawing/2014/main" id="{CE18A36D-F042-45AE-8025-A6A5C0D71879}"/>
              </a:ext>
            </a:extLst>
          </p:cNvPr>
          <p:cNvGrpSpPr/>
          <p:nvPr/>
        </p:nvGrpSpPr>
        <p:grpSpPr>
          <a:xfrm>
            <a:off x="10016618" y="793252"/>
            <a:ext cx="1931196" cy="2581244"/>
            <a:chOff x="971549" y="2573706"/>
            <a:chExt cx="1931196" cy="2581244"/>
          </a:xfrm>
        </p:grpSpPr>
        <p:cxnSp>
          <p:nvCxnSpPr>
            <p:cNvPr id="41" name="直接连接符 40">
              <a:extLst>
                <a:ext uri="{FF2B5EF4-FFF2-40B4-BE49-F238E27FC236}">
                  <a16:creationId xmlns:a16="http://schemas.microsoft.com/office/drawing/2014/main" id="{BCA68E81-9796-488E-835E-02A2DE1C0416}"/>
                </a:ext>
              </a:extLst>
            </p:cNvPr>
            <p:cNvCxnSpPr>
              <a:cxnSpLocks/>
              <a:stCxn id="42" idx="2"/>
            </p:cNvCxnSpPr>
            <p:nvPr/>
          </p:nvCxnSpPr>
          <p:spPr>
            <a:xfrm>
              <a:off x="971550" y="2622115"/>
              <a:ext cx="0" cy="2532835"/>
            </a:xfrm>
            <a:prstGeom prst="line">
              <a:avLst/>
            </a:prstGeom>
            <a:ln w="28575">
              <a:gradFill>
                <a:gsLst>
                  <a:gs pos="0">
                    <a:schemeClr val="accent1"/>
                  </a:gs>
                  <a:gs pos="100000">
                    <a:schemeClr val="accent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42" name="等腰三角形 41">
              <a:extLst>
                <a:ext uri="{FF2B5EF4-FFF2-40B4-BE49-F238E27FC236}">
                  <a16:creationId xmlns:a16="http://schemas.microsoft.com/office/drawing/2014/main" id="{5C0E9785-5CA8-4169-85BB-5DA7EB05A1BD}"/>
                </a:ext>
              </a:extLst>
            </p:cNvPr>
            <p:cNvSpPr/>
            <p:nvPr/>
          </p:nvSpPr>
          <p:spPr>
            <a:xfrm rot="5400000">
              <a:off x="955784" y="2637880"/>
              <a:ext cx="228600" cy="197069"/>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43" name="文本框 42">
              <a:extLst>
                <a:ext uri="{FF2B5EF4-FFF2-40B4-BE49-F238E27FC236}">
                  <a16:creationId xmlns:a16="http://schemas.microsoft.com/office/drawing/2014/main" id="{D06441A7-AD4E-4AF4-97A4-CBA35979FB29}"/>
                </a:ext>
              </a:extLst>
            </p:cNvPr>
            <p:cNvSpPr txBox="1"/>
            <p:nvPr/>
          </p:nvSpPr>
          <p:spPr>
            <a:xfrm>
              <a:off x="1290747" y="2573706"/>
              <a:ext cx="714939" cy="307777"/>
            </a:xfrm>
            <a:prstGeom prst="rect">
              <a:avLst/>
            </a:prstGeom>
            <a:noFill/>
          </p:spPr>
          <p:txBody>
            <a:bodyPr wrap="none" lIns="0" tIns="0" rIns="0" bIns="0" rtlCol="0" anchor="t">
              <a:spAutoFit/>
            </a:bodyPr>
            <a:lstStyle/>
            <a:p>
              <a:r>
                <a:rPr lang="en-US" altLang="zh-CN" sz="2000" dirty="0">
                  <a:solidFill>
                    <a:schemeClr val="accent1"/>
                  </a:solidFill>
                  <a:latin typeface="+mj-ea"/>
                  <a:ea typeface="+mj-ea"/>
                </a:rPr>
                <a:t>20XX</a:t>
              </a:r>
              <a:endParaRPr lang="zh-CN" altLang="en-US" sz="2000" dirty="0">
                <a:solidFill>
                  <a:schemeClr val="accent1"/>
                </a:solidFill>
                <a:latin typeface="+mj-ea"/>
                <a:ea typeface="+mj-ea"/>
              </a:endParaRPr>
            </a:p>
          </p:txBody>
        </p:sp>
        <p:sp>
          <p:nvSpPr>
            <p:cNvPr id="44" name="文本框 43">
              <a:extLst>
                <a:ext uri="{FF2B5EF4-FFF2-40B4-BE49-F238E27FC236}">
                  <a16:creationId xmlns:a16="http://schemas.microsoft.com/office/drawing/2014/main" id="{AFFCC9F3-B5F7-4A2A-AC43-0D7F63E65069}"/>
                </a:ext>
              </a:extLst>
            </p:cNvPr>
            <p:cNvSpPr txBox="1"/>
            <p:nvPr/>
          </p:nvSpPr>
          <p:spPr>
            <a:xfrm>
              <a:off x="1209784" y="2986299"/>
              <a:ext cx="1692961" cy="769441"/>
            </a:xfrm>
            <a:prstGeom prst="rect">
              <a:avLst/>
            </a:prstGeom>
            <a:noFill/>
          </p:spPr>
          <p:txBody>
            <a:bodyPr wrap="square" rtlCol="0">
              <a:spAutoFit/>
            </a:bodyPr>
            <a:lstStyle/>
            <a:p>
              <a:r>
                <a:rPr lang="en-US" altLang="zh-CN" sz="1100" dirty="0">
                  <a:solidFill>
                    <a:schemeClr val="accent1"/>
                  </a:solidFill>
                </a:rPr>
                <a:t>Lorem ipsum dolor sit amet consectetur adipisicing elit sed do eiusmod tempor</a:t>
              </a:r>
              <a:endParaRPr lang="zh-CN" altLang="en-US" sz="1100" dirty="0">
                <a:solidFill>
                  <a:schemeClr val="accent1"/>
                </a:solidFill>
              </a:endParaRPr>
            </a:p>
          </p:txBody>
        </p:sp>
        <p:sp>
          <p:nvSpPr>
            <p:cNvPr id="45" name="矩形 44">
              <a:extLst>
                <a:ext uri="{FF2B5EF4-FFF2-40B4-BE49-F238E27FC236}">
                  <a16:creationId xmlns:a16="http://schemas.microsoft.com/office/drawing/2014/main" id="{4C7EECAA-CCC0-4C35-8D54-6CC57CE8BA4F}"/>
                </a:ext>
              </a:extLst>
            </p:cNvPr>
            <p:cNvSpPr/>
            <p:nvPr/>
          </p:nvSpPr>
          <p:spPr>
            <a:xfrm>
              <a:off x="1290747" y="2921530"/>
              <a:ext cx="714939" cy="4571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grpSp>
    </p:spTree>
    <p:extLst>
      <p:ext uri="{BB962C8B-B14F-4D97-AF65-F5344CB8AC3E}">
        <p14:creationId xmlns:p14="http://schemas.microsoft.com/office/powerpoint/2010/main" val="2652042331"/>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3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任意多边形: 形状 2">
            <a:extLst>
              <a:ext uri="{FF2B5EF4-FFF2-40B4-BE49-F238E27FC236}">
                <a16:creationId xmlns:a16="http://schemas.microsoft.com/office/drawing/2014/main" id="{0D8868AA-DF32-402B-ABF1-C68B3FFBE38F}"/>
              </a:ext>
            </a:extLst>
          </p:cNvPr>
          <p:cNvSpPr/>
          <p:nvPr/>
        </p:nvSpPr>
        <p:spPr>
          <a:xfrm>
            <a:off x="1435100" y="3429000"/>
            <a:ext cx="4660900" cy="1279117"/>
          </a:xfrm>
          <a:custGeom>
            <a:avLst/>
            <a:gdLst>
              <a:gd name="connsiteX0" fmla="*/ 0 w 4660900"/>
              <a:gd name="connsiteY0" fmla="*/ 1206500 h 1206500"/>
              <a:gd name="connsiteX1" fmla="*/ 4660900 w 4660900"/>
              <a:gd name="connsiteY1" fmla="*/ 0 h 1206500"/>
              <a:gd name="connsiteX0" fmla="*/ 0 w 4660900"/>
              <a:gd name="connsiteY0" fmla="*/ 1206500 h 1206500"/>
              <a:gd name="connsiteX1" fmla="*/ 4660900 w 4660900"/>
              <a:gd name="connsiteY1" fmla="*/ 0 h 1206500"/>
              <a:gd name="connsiteX0" fmla="*/ 0 w 4660900"/>
              <a:gd name="connsiteY0" fmla="*/ 1206500 h 1206500"/>
              <a:gd name="connsiteX1" fmla="*/ 4660900 w 4660900"/>
              <a:gd name="connsiteY1" fmla="*/ 0 h 1206500"/>
              <a:gd name="connsiteX0" fmla="*/ 0 w 4660900"/>
              <a:gd name="connsiteY0" fmla="*/ 1215979 h 1215979"/>
              <a:gd name="connsiteX1" fmla="*/ 4660900 w 4660900"/>
              <a:gd name="connsiteY1" fmla="*/ 9479 h 1215979"/>
              <a:gd name="connsiteX0" fmla="*/ 0 w 4660900"/>
              <a:gd name="connsiteY0" fmla="*/ 1236815 h 1236815"/>
              <a:gd name="connsiteX1" fmla="*/ 4660900 w 4660900"/>
              <a:gd name="connsiteY1" fmla="*/ 30315 h 1236815"/>
              <a:gd name="connsiteX0" fmla="*/ 0 w 4660900"/>
              <a:gd name="connsiteY0" fmla="*/ 1243016 h 1243016"/>
              <a:gd name="connsiteX1" fmla="*/ 4660900 w 4660900"/>
              <a:gd name="connsiteY1" fmla="*/ 36516 h 1243016"/>
              <a:gd name="connsiteX0" fmla="*/ 0 w 4660900"/>
              <a:gd name="connsiteY0" fmla="*/ 1282331 h 1282331"/>
              <a:gd name="connsiteX1" fmla="*/ 4660900 w 4660900"/>
              <a:gd name="connsiteY1" fmla="*/ 75831 h 1282331"/>
              <a:gd name="connsiteX0" fmla="*/ 0 w 4660900"/>
              <a:gd name="connsiteY0" fmla="*/ 1279117 h 1279117"/>
              <a:gd name="connsiteX1" fmla="*/ 4660900 w 4660900"/>
              <a:gd name="connsiteY1" fmla="*/ 72617 h 1279117"/>
            </a:gdLst>
            <a:ahLst/>
            <a:cxnLst>
              <a:cxn ang="0">
                <a:pos x="connsiteX0" y="connsiteY0"/>
              </a:cxn>
              <a:cxn ang="0">
                <a:pos x="connsiteX1" y="connsiteY1"/>
              </a:cxn>
            </a:cxnLst>
            <a:rect l="l" t="t" r="r" b="b"/>
            <a:pathLst>
              <a:path w="4660900" h="1279117">
                <a:moveTo>
                  <a:pt x="0" y="1279117"/>
                </a:moveTo>
                <a:cubicBezTo>
                  <a:pt x="867833" y="410606"/>
                  <a:pt x="2604347" y="-220160"/>
                  <a:pt x="4660900" y="72617"/>
                </a:cubicBezTo>
              </a:path>
            </a:pathLst>
          </a:custGeom>
          <a:noFill/>
          <a:ln w="19050">
            <a:solidFill>
              <a:schemeClr val="accent1"/>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1" name="任意多边形: 形状 30">
            <a:extLst>
              <a:ext uri="{FF2B5EF4-FFF2-40B4-BE49-F238E27FC236}">
                <a16:creationId xmlns:a16="http://schemas.microsoft.com/office/drawing/2014/main" id="{7F4562E4-0EA2-4378-919F-169576853752}"/>
              </a:ext>
            </a:extLst>
          </p:cNvPr>
          <p:cNvSpPr/>
          <p:nvPr/>
        </p:nvSpPr>
        <p:spPr>
          <a:xfrm rot="20301540" flipV="1">
            <a:off x="5559045" y="2898648"/>
            <a:ext cx="4660900" cy="1279117"/>
          </a:xfrm>
          <a:custGeom>
            <a:avLst/>
            <a:gdLst>
              <a:gd name="connsiteX0" fmla="*/ 0 w 4660900"/>
              <a:gd name="connsiteY0" fmla="*/ 1206500 h 1206500"/>
              <a:gd name="connsiteX1" fmla="*/ 4660900 w 4660900"/>
              <a:gd name="connsiteY1" fmla="*/ 0 h 1206500"/>
              <a:gd name="connsiteX0" fmla="*/ 0 w 4660900"/>
              <a:gd name="connsiteY0" fmla="*/ 1206500 h 1206500"/>
              <a:gd name="connsiteX1" fmla="*/ 4660900 w 4660900"/>
              <a:gd name="connsiteY1" fmla="*/ 0 h 1206500"/>
              <a:gd name="connsiteX0" fmla="*/ 0 w 4660900"/>
              <a:gd name="connsiteY0" fmla="*/ 1206500 h 1206500"/>
              <a:gd name="connsiteX1" fmla="*/ 4660900 w 4660900"/>
              <a:gd name="connsiteY1" fmla="*/ 0 h 1206500"/>
              <a:gd name="connsiteX0" fmla="*/ 0 w 4660900"/>
              <a:gd name="connsiteY0" fmla="*/ 1215979 h 1215979"/>
              <a:gd name="connsiteX1" fmla="*/ 4660900 w 4660900"/>
              <a:gd name="connsiteY1" fmla="*/ 9479 h 1215979"/>
              <a:gd name="connsiteX0" fmla="*/ 0 w 4660900"/>
              <a:gd name="connsiteY0" fmla="*/ 1236815 h 1236815"/>
              <a:gd name="connsiteX1" fmla="*/ 4660900 w 4660900"/>
              <a:gd name="connsiteY1" fmla="*/ 30315 h 1236815"/>
              <a:gd name="connsiteX0" fmla="*/ 0 w 4660900"/>
              <a:gd name="connsiteY0" fmla="*/ 1243016 h 1243016"/>
              <a:gd name="connsiteX1" fmla="*/ 4660900 w 4660900"/>
              <a:gd name="connsiteY1" fmla="*/ 36516 h 1243016"/>
              <a:gd name="connsiteX0" fmla="*/ 0 w 4660900"/>
              <a:gd name="connsiteY0" fmla="*/ 1282331 h 1282331"/>
              <a:gd name="connsiteX1" fmla="*/ 4660900 w 4660900"/>
              <a:gd name="connsiteY1" fmla="*/ 75831 h 1282331"/>
              <a:gd name="connsiteX0" fmla="*/ 0 w 4660900"/>
              <a:gd name="connsiteY0" fmla="*/ 1279117 h 1279117"/>
              <a:gd name="connsiteX1" fmla="*/ 4660900 w 4660900"/>
              <a:gd name="connsiteY1" fmla="*/ 72617 h 1279117"/>
            </a:gdLst>
            <a:ahLst/>
            <a:cxnLst>
              <a:cxn ang="0">
                <a:pos x="connsiteX0" y="connsiteY0"/>
              </a:cxn>
              <a:cxn ang="0">
                <a:pos x="connsiteX1" y="connsiteY1"/>
              </a:cxn>
            </a:cxnLst>
            <a:rect l="l" t="t" r="r" b="b"/>
            <a:pathLst>
              <a:path w="4660900" h="1279117">
                <a:moveTo>
                  <a:pt x="0" y="1279117"/>
                </a:moveTo>
                <a:cubicBezTo>
                  <a:pt x="867833" y="410606"/>
                  <a:pt x="2604347" y="-220160"/>
                  <a:pt x="4660900" y="72617"/>
                </a:cubicBezTo>
              </a:path>
            </a:pathLst>
          </a:custGeom>
          <a:noFill/>
          <a:ln w="19050">
            <a:solidFill>
              <a:schemeClr val="accent1"/>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8" name="iconfont-1191-801535">
            <a:extLst>
              <a:ext uri="{FF2B5EF4-FFF2-40B4-BE49-F238E27FC236}">
                <a16:creationId xmlns:a16="http://schemas.microsoft.com/office/drawing/2014/main" id="{84A08487-DA8E-4C78-B446-2378A328160C}"/>
              </a:ext>
            </a:extLst>
          </p:cNvPr>
          <p:cNvSpPr/>
          <p:nvPr/>
        </p:nvSpPr>
        <p:spPr>
          <a:xfrm>
            <a:off x="1235800" y="4207564"/>
            <a:ext cx="398600" cy="505722"/>
          </a:xfrm>
          <a:custGeom>
            <a:avLst/>
            <a:gdLst>
              <a:gd name="T0" fmla="*/ 3166 w 6332"/>
              <a:gd name="T1" fmla="*/ 0 h 8034"/>
              <a:gd name="T2" fmla="*/ 0 w 6332"/>
              <a:gd name="T3" fmla="*/ 3166 h 8034"/>
              <a:gd name="T4" fmla="*/ 2481 w 6332"/>
              <a:gd name="T5" fmla="*/ 7590 h 8034"/>
              <a:gd name="T6" fmla="*/ 3853 w 6332"/>
              <a:gd name="T7" fmla="*/ 7588 h 8034"/>
              <a:gd name="T8" fmla="*/ 6332 w 6332"/>
              <a:gd name="T9" fmla="*/ 3166 h 8034"/>
              <a:gd name="T10" fmla="*/ 3166 w 6332"/>
              <a:gd name="T11" fmla="*/ 0 h 8034"/>
              <a:gd name="T12" fmla="*/ 3166 w 6332"/>
              <a:gd name="T13" fmla="*/ 0 h 8034"/>
              <a:gd name="T14" fmla="*/ 3166 w 6332"/>
              <a:gd name="T15" fmla="*/ 0 h 8034"/>
              <a:gd name="T16" fmla="*/ 3166 w 6332"/>
              <a:gd name="T17" fmla="*/ 0 h 8034"/>
              <a:gd name="T18" fmla="*/ 3166 w 6332"/>
              <a:gd name="T19" fmla="*/ 4529 h 8034"/>
              <a:gd name="T20" fmla="*/ 1702 w 6332"/>
              <a:gd name="T21" fmla="*/ 3065 h 8034"/>
              <a:gd name="T22" fmla="*/ 3166 w 6332"/>
              <a:gd name="T23" fmla="*/ 1600 h 8034"/>
              <a:gd name="T24" fmla="*/ 4630 w 6332"/>
              <a:gd name="T25" fmla="*/ 3065 h 8034"/>
              <a:gd name="T26" fmla="*/ 3166 w 6332"/>
              <a:gd name="T27" fmla="*/ 4529 h 8034"/>
              <a:gd name="T28" fmla="*/ 3166 w 6332"/>
              <a:gd name="T29" fmla="*/ 4529 h 8034"/>
              <a:gd name="T30" fmla="*/ 3166 w 6332"/>
              <a:gd name="T31" fmla="*/ 4529 h 8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332" h="8034">
                <a:moveTo>
                  <a:pt x="3166" y="0"/>
                </a:moveTo>
                <a:cubicBezTo>
                  <a:pt x="1418" y="0"/>
                  <a:pt x="0" y="1418"/>
                  <a:pt x="0" y="3166"/>
                </a:cubicBezTo>
                <a:cubicBezTo>
                  <a:pt x="0" y="4914"/>
                  <a:pt x="2481" y="7590"/>
                  <a:pt x="2481" y="7590"/>
                </a:cubicBezTo>
                <a:cubicBezTo>
                  <a:pt x="2859" y="8031"/>
                  <a:pt x="3478" y="8034"/>
                  <a:pt x="3853" y="7588"/>
                </a:cubicBezTo>
                <a:cubicBezTo>
                  <a:pt x="3853" y="7588"/>
                  <a:pt x="6332" y="4914"/>
                  <a:pt x="6332" y="3166"/>
                </a:cubicBezTo>
                <a:cubicBezTo>
                  <a:pt x="6332" y="1418"/>
                  <a:pt x="4914" y="0"/>
                  <a:pt x="3166" y="0"/>
                </a:cubicBezTo>
                <a:lnTo>
                  <a:pt x="3166" y="0"/>
                </a:lnTo>
                <a:lnTo>
                  <a:pt x="3166" y="0"/>
                </a:lnTo>
                <a:lnTo>
                  <a:pt x="3166" y="0"/>
                </a:lnTo>
                <a:close/>
                <a:moveTo>
                  <a:pt x="3166" y="4529"/>
                </a:moveTo>
                <a:cubicBezTo>
                  <a:pt x="2357" y="4529"/>
                  <a:pt x="1702" y="3874"/>
                  <a:pt x="1702" y="3065"/>
                </a:cubicBezTo>
                <a:cubicBezTo>
                  <a:pt x="1702" y="2256"/>
                  <a:pt x="2357" y="1600"/>
                  <a:pt x="3166" y="1600"/>
                </a:cubicBezTo>
                <a:cubicBezTo>
                  <a:pt x="3975" y="1600"/>
                  <a:pt x="4630" y="2256"/>
                  <a:pt x="4630" y="3065"/>
                </a:cubicBezTo>
                <a:cubicBezTo>
                  <a:pt x="4630" y="3874"/>
                  <a:pt x="3975" y="4529"/>
                  <a:pt x="3166" y="4529"/>
                </a:cubicBezTo>
                <a:lnTo>
                  <a:pt x="3166" y="4529"/>
                </a:lnTo>
                <a:close/>
                <a:moveTo>
                  <a:pt x="3166" y="4529"/>
                </a:move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9" name="文本框 38">
            <a:extLst>
              <a:ext uri="{FF2B5EF4-FFF2-40B4-BE49-F238E27FC236}">
                <a16:creationId xmlns:a16="http://schemas.microsoft.com/office/drawing/2014/main" id="{AECC79C2-67BD-4E38-997F-AB3075B10068}"/>
              </a:ext>
            </a:extLst>
          </p:cNvPr>
          <p:cNvSpPr txBox="1"/>
          <p:nvPr/>
        </p:nvSpPr>
        <p:spPr>
          <a:xfrm>
            <a:off x="1077629" y="3820969"/>
            <a:ext cx="714939" cy="307777"/>
          </a:xfrm>
          <a:prstGeom prst="rect">
            <a:avLst/>
          </a:prstGeom>
          <a:noFill/>
        </p:spPr>
        <p:txBody>
          <a:bodyPr wrap="none" lIns="0" tIns="0" rIns="0" bIns="0" rtlCol="0" anchor="t">
            <a:spAutoFit/>
          </a:bodyPr>
          <a:lstStyle/>
          <a:p>
            <a:r>
              <a:rPr lang="en-US" altLang="zh-CN" sz="2000" dirty="0">
                <a:solidFill>
                  <a:schemeClr val="accent1"/>
                </a:solidFill>
                <a:latin typeface="+mj-ea"/>
                <a:ea typeface="+mj-ea"/>
              </a:rPr>
              <a:t>20XX</a:t>
            </a:r>
            <a:endParaRPr lang="zh-CN" altLang="en-US" sz="2000" dirty="0">
              <a:solidFill>
                <a:schemeClr val="accent1"/>
              </a:solidFill>
              <a:latin typeface="+mj-ea"/>
              <a:ea typeface="+mj-ea"/>
            </a:endParaRPr>
          </a:p>
        </p:txBody>
      </p:sp>
      <p:sp>
        <p:nvSpPr>
          <p:cNvPr id="48" name="iconfont-1191-801535">
            <a:extLst>
              <a:ext uri="{FF2B5EF4-FFF2-40B4-BE49-F238E27FC236}">
                <a16:creationId xmlns:a16="http://schemas.microsoft.com/office/drawing/2014/main" id="{102B9F09-D0F6-467C-ADC9-D9CB80FBE83D}"/>
              </a:ext>
            </a:extLst>
          </p:cNvPr>
          <p:cNvSpPr/>
          <p:nvPr/>
        </p:nvSpPr>
        <p:spPr>
          <a:xfrm>
            <a:off x="3566250" y="3072304"/>
            <a:ext cx="398600" cy="505722"/>
          </a:xfrm>
          <a:custGeom>
            <a:avLst/>
            <a:gdLst>
              <a:gd name="T0" fmla="*/ 3166 w 6332"/>
              <a:gd name="T1" fmla="*/ 0 h 8034"/>
              <a:gd name="T2" fmla="*/ 0 w 6332"/>
              <a:gd name="T3" fmla="*/ 3166 h 8034"/>
              <a:gd name="T4" fmla="*/ 2481 w 6332"/>
              <a:gd name="T5" fmla="*/ 7590 h 8034"/>
              <a:gd name="T6" fmla="*/ 3853 w 6332"/>
              <a:gd name="T7" fmla="*/ 7588 h 8034"/>
              <a:gd name="T8" fmla="*/ 6332 w 6332"/>
              <a:gd name="T9" fmla="*/ 3166 h 8034"/>
              <a:gd name="T10" fmla="*/ 3166 w 6332"/>
              <a:gd name="T11" fmla="*/ 0 h 8034"/>
              <a:gd name="T12" fmla="*/ 3166 w 6332"/>
              <a:gd name="T13" fmla="*/ 0 h 8034"/>
              <a:gd name="T14" fmla="*/ 3166 w 6332"/>
              <a:gd name="T15" fmla="*/ 0 h 8034"/>
              <a:gd name="T16" fmla="*/ 3166 w 6332"/>
              <a:gd name="T17" fmla="*/ 0 h 8034"/>
              <a:gd name="T18" fmla="*/ 3166 w 6332"/>
              <a:gd name="T19" fmla="*/ 4529 h 8034"/>
              <a:gd name="T20" fmla="*/ 1702 w 6332"/>
              <a:gd name="T21" fmla="*/ 3065 h 8034"/>
              <a:gd name="T22" fmla="*/ 3166 w 6332"/>
              <a:gd name="T23" fmla="*/ 1600 h 8034"/>
              <a:gd name="T24" fmla="*/ 4630 w 6332"/>
              <a:gd name="T25" fmla="*/ 3065 h 8034"/>
              <a:gd name="T26" fmla="*/ 3166 w 6332"/>
              <a:gd name="T27" fmla="*/ 4529 h 8034"/>
              <a:gd name="T28" fmla="*/ 3166 w 6332"/>
              <a:gd name="T29" fmla="*/ 4529 h 8034"/>
              <a:gd name="T30" fmla="*/ 3166 w 6332"/>
              <a:gd name="T31" fmla="*/ 4529 h 8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332" h="8034">
                <a:moveTo>
                  <a:pt x="3166" y="0"/>
                </a:moveTo>
                <a:cubicBezTo>
                  <a:pt x="1418" y="0"/>
                  <a:pt x="0" y="1418"/>
                  <a:pt x="0" y="3166"/>
                </a:cubicBezTo>
                <a:cubicBezTo>
                  <a:pt x="0" y="4914"/>
                  <a:pt x="2481" y="7590"/>
                  <a:pt x="2481" y="7590"/>
                </a:cubicBezTo>
                <a:cubicBezTo>
                  <a:pt x="2859" y="8031"/>
                  <a:pt x="3478" y="8034"/>
                  <a:pt x="3853" y="7588"/>
                </a:cubicBezTo>
                <a:cubicBezTo>
                  <a:pt x="3853" y="7588"/>
                  <a:pt x="6332" y="4914"/>
                  <a:pt x="6332" y="3166"/>
                </a:cubicBezTo>
                <a:cubicBezTo>
                  <a:pt x="6332" y="1418"/>
                  <a:pt x="4914" y="0"/>
                  <a:pt x="3166" y="0"/>
                </a:cubicBezTo>
                <a:lnTo>
                  <a:pt x="3166" y="0"/>
                </a:lnTo>
                <a:lnTo>
                  <a:pt x="3166" y="0"/>
                </a:lnTo>
                <a:lnTo>
                  <a:pt x="3166" y="0"/>
                </a:lnTo>
                <a:close/>
                <a:moveTo>
                  <a:pt x="3166" y="4529"/>
                </a:moveTo>
                <a:cubicBezTo>
                  <a:pt x="2357" y="4529"/>
                  <a:pt x="1702" y="3874"/>
                  <a:pt x="1702" y="3065"/>
                </a:cubicBezTo>
                <a:cubicBezTo>
                  <a:pt x="1702" y="2256"/>
                  <a:pt x="2357" y="1600"/>
                  <a:pt x="3166" y="1600"/>
                </a:cubicBezTo>
                <a:cubicBezTo>
                  <a:pt x="3975" y="1600"/>
                  <a:pt x="4630" y="2256"/>
                  <a:pt x="4630" y="3065"/>
                </a:cubicBezTo>
                <a:cubicBezTo>
                  <a:pt x="4630" y="3874"/>
                  <a:pt x="3975" y="4529"/>
                  <a:pt x="3166" y="4529"/>
                </a:cubicBezTo>
                <a:lnTo>
                  <a:pt x="3166" y="4529"/>
                </a:lnTo>
                <a:close/>
                <a:moveTo>
                  <a:pt x="3166" y="4529"/>
                </a:move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9" name="文本框 48">
            <a:extLst>
              <a:ext uri="{FF2B5EF4-FFF2-40B4-BE49-F238E27FC236}">
                <a16:creationId xmlns:a16="http://schemas.microsoft.com/office/drawing/2014/main" id="{2959174B-163E-46F5-8CBD-7E7A44A7608A}"/>
              </a:ext>
            </a:extLst>
          </p:cNvPr>
          <p:cNvSpPr txBox="1"/>
          <p:nvPr/>
        </p:nvSpPr>
        <p:spPr>
          <a:xfrm>
            <a:off x="3408079" y="2709720"/>
            <a:ext cx="714939" cy="307777"/>
          </a:xfrm>
          <a:prstGeom prst="rect">
            <a:avLst/>
          </a:prstGeom>
          <a:noFill/>
        </p:spPr>
        <p:txBody>
          <a:bodyPr wrap="none" lIns="0" tIns="0" rIns="0" bIns="0" rtlCol="0" anchor="t">
            <a:spAutoFit/>
          </a:bodyPr>
          <a:lstStyle/>
          <a:p>
            <a:r>
              <a:rPr lang="en-US" altLang="zh-CN" sz="2000" dirty="0">
                <a:solidFill>
                  <a:schemeClr val="accent1"/>
                </a:solidFill>
                <a:latin typeface="+mj-ea"/>
                <a:ea typeface="+mj-ea"/>
              </a:rPr>
              <a:t>20XX</a:t>
            </a:r>
            <a:endParaRPr lang="zh-CN" altLang="en-US" sz="2000" dirty="0">
              <a:solidFill>
                <a:schemeClr val="accent1"/>
              </a:solidFill>
              <a:latin typeface="+mj-ea"/>
              <a:ea typeface="+mj-ea"/>
            </a:endParaRPr>
          </a:p>
        </p:txBody>
      </p:sp>
      <p:sp>
        <p:nvSpPr>
          <p:cNvPr id="52" name="iconfont-1191-801535">
            <a:extLst>
              <a:ext uri="{FF2B5EF4-FFF2-40B4-BE49-F238E27FC236}">
                <a16:creationId xmlns:a16="http://schemas.microsoft.com/office/drawing/2014/main" id="{63FB005E-2CB2-46FB-BCD4-7648E117E970}"/>
              </a:ext>
            </a:extLst>
          </p:cNvPr>
          <p:cNvSpPr/>
          <p:nvPr/>
        </p:nvSpPr>
        <p:spPr>
          <a:xfrm>
            <a:off x="5896700" y="3000376"/>
            <a:ext cx="398600" cy="505722"/>
          </a:xfrm>
          <a:custGeom>
            <a:avLst/>
            <a:gdLst>
              <a:gd name="T0" fmla="*/ 3166 w 6332"/>
              <a:gd name="T1" fmla="*/ 0 h 8034"/>
              <a:gd name="T2" fmla="*/ 0 w 6332"/>
              <a:gd name="T3" fmla="*/ 3166 h 8034"/>
              <a:gd name="T4" fmla="*/ 2481 w 6332"/>
              <a:gd name="T5" fmla="*/ 7590 h 8034"/>
              <a:gd name="T6" fmla="*/ 3853 w 6332"/>
              <a:gd name="T7" fmla="*/ 7588 h 8034"/>
              <a:gd name="T8" fmla="*/ 6332 w 6332"/>
              <a:gd name="T9" fmla="*/ 3166 h 8034"/>
              <a:gd name="T10" fmla="*/ 3166 w 6332"/>
              <a:gd name="T11" fmla="*/ 0 h 8034"/>
              <a:gd name="T12" fmla="*/ 3166 w 6332"/>
              <a:gd name="T13" fmla="*/ 0 h 8034"/>
              <a:gd name="T14" fmla="*/ 3166 w 6332"/>
              <a:gd name="T15" fmla="*/ 0 h 8034"/>
              <a:gd name="T16" fmla="*/ 3166 w 6332"/>
              <a:gd name="T17" fmla="*/ 0 h 8034"/>
              <a:gd name="T18" fmla="*/ 3166 w 6332"/>
              <a:gd name="T19" fmla="*/ 4529 h 8034"/>
              <a:gd name="T20" fmla="*/ 1702 w 6332"/>
              <a:gd name="T21" fmla="*/ 3065 h 8034"/>
              <a:gd name="T22" fmla="*/ 3166 w 6332"/>
              <a:gd name="T23" fmla="*/ 1600 h 8034"/>
              <a:gd name="T24" fmla="*/ 4630 w 6332"/>
              <a:gd name="T25" fmla="*/ 3065 h 8034"/>
              <a:gd name="T26" fmla="*/ 3166 w 6332"/>
              <a:gd name="T27" fmla="*/ 4529 h 8034"/>
              <a:gd name="T28" fmla="*/ 3166 w 6332"/>
              <a:gd name="T29" fmla="*/ 4529 h 8034"/>
              <a:gd name="T30" fmla="*/ 3166 w 6332"/>
              <a:gd name="T31" fmla="*/ 4529 h 8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332" h="8034">
                <a:moveTo>
                  <a:pt x="3166" y="0"/>
                </a:moveTo>
                <a:cubicBezTo>
                  <a:pt x="1418" y="0"/>
                  <a:pt x="0" y="1418"/>
                  <a:pt x="0" y="3166"/>
                </a:cubicBezTo>
                <a:cubicBezTo>
                  <a:pt x="0" y="4914"/>
                  <a:pt x="2481" y="7590"/>
                  <a:pt x="2481" y="7590"/>
                </a:cubicBezTo>
                <a:cubicBezTo>
                  <a:pt x="2859" y="8031"/>
                  <a:pt x="3478" y="8034"/>
                  <a:pt x="3853" y="7588"/>
                </a:cubicBezTo>
                <a:cubicBezTo>
                  <a:pt x="3853" y="7588"/>
                  <a:pt x="6332" y="4914"/>
                  <a:pt x="6332" y="3166"/>
                </a:cubicBezTo>
                <a:cubicBezTo>
                  <a:pt x="6332" y="1418"/>
                  <a:pt x="4914" y="0"/>
                  <a:pt x="3166" y="0"/>
                </a:cubicBezTo>
                <a:lnTo>
                  <a:pt x="3166" y="0"/>
                </a:lnTo>
                <a:lnTo>
                  <a:pt x="3166" y="0"/>
                </a:lnTo>
                <a:lnTo>
                  <a:pt x="3166" y="0"/>
                </a:lnTo>
                <a:close/>
                <a:moveTo>
                  <a:pt x="3166" y="4529"/>
                </a:moveTo>
                <a:cubicBezTo>
                  <a:pt x="2357" y="4529"/>
                  <a:pt x="1702" y="3874"/>
                  <a:pt x="1702" y="3065"/>
                </a:cubicBezTo>
                <a:cubicBezTo>
                  <a:pt x="1702" y="2256"/>
                  <a:pt x="2357" y="1600"/>
                  <a:pt x="3166" y="1600"/>
                </a:cubicBezTo>
                <a:cubicBezTo>
                  <a:pt x="3975" y="1600"/>
                  <a:pt x="4630" y="2256"/>
                  <a:pt x="4630" y="3065"/>
                </a:cubicBezTo>
                <a:cubicBezTo>
                  <a:pt x="4630" y="3874"/>
                  <a:pt x="3975" y="4529"/>
                  <a:pt x="3166" y="4529"/>
                </a:cubicBezTo>
                <a:lnTo>
                  <a:pt x="3166" y="4529"/>
                </a:lnTo>
                <a:close/>
                <a:moveTo>
                  <a:pt x="3166" y="4529"/>
                </a:move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3" name="文本框 52">
            <a:extLst>
              <a:ext uri="{FF2B5EF4-FFF2-40B4-BE49-F238E27FC236}">
                <a16:creationId xmlns:a16="http://schemas.microsoft.com/office/drawing/2014/main" id="{E2AF8571-F9F9-4AED-97D8-6D73617BE24C}"/>
              </a:ext>
            </a:extLst>
          </p:cNvPr>
          <p:cNvSpPr txBox="1"/>
          <p:nvPr/>
        </p:nvSpPr>
        <p:spPr>
          <a:xfrm>
            <a:off x="5738529" y="2628884"/>
            <a:ext cx="714939" cy="307777"/>
          </a:xfrm>
          <a:prstGeom prst="rect">
            <a:avLst/>
          </a:prstGeom>
          <a:noFill/>
        </p:spPr>
        <p:txBody>
          <a:bodyPr wrap="none" lIns="0" tIns="0" rIns="0" bIns="0" rtlCol="0" anchor="t">
            <a:spAutoFit/>
          </a:bodyPr>
          <a:lstStyle/>
          <a:p>
            <a:r>
              <a:rPr lang="en-US" altLang="zh-CN" sz="2000" dirty="0">
                <a:solidFill>
                  <a:schemeClr val="accent1"/>
                </a:solidFill>
                <a:latin typeface="+mj-ea"/>
                <a:ea typeface="+mj-ea"/>
              </a:rPr>
              <a:t>20XX</a:t>
            </a:r>
            <a:endParaRPr lang="zh-CN" altLang="en-US" sz="2000" dirty="0">
              <a:solidFill>
                <a:schemeClr val="accent1"/>
              </a:solidFill>
              <a:latin typeface="+mj-ea"/>
              <a:ea typeface="+mj-ea"/>
            </a:endParaRPr>
          </a:p>
        </p:txBody>
      </p:sp>
      <p:sp>
        <p:nvSpPr>
          <p:cNvPr id="56" name="iconfont-1191-801535">
            <a:extLst>
              <a:ext uri="{FF2B5EF4-FFF2-40B4-BE49-F238E27FC236}">
                <a16:creationId xmlns:a16="http://schemas.microsoft.com/office/drawing/2014/main" id="{4C3CC647-D246-498E-9A9E-11F1F9E81370}"/>
              </a:ext>
            </a:extLst>
          </p:cNvPr>
          <p:cNvSpPr/>
          <p:nvPr/>
        </p:nvSpPr>
        <p:spPr>
          <a:xfrm>
            <a:off x="7004679" y="3623024"/>
            <a:ext cx="398600" cy="505722"/>
          </a:xfrm>
          <a:custGeom>
            <a:avLst/>
            <a:gdLst>
              <a:gd name="T0" fmla="*/ 3166 w 6332"/>
              <a:gd name="T1" fmla="*/ 0 h 8034"/>
              <a:gd name="T2" fmla="*/ 0 w 6332"/>
              <a:gd name="T3" fmla="*/ 3166 h 8034"/>
              <a:gd name="T4" fmla="*/ 2481 w 6332"/>
              <a:gd name="T5" fmla="*/ 7590 h 8034"/>
              <a:gd name="T6" fmla="*/ 3853 w 6332"/>
              <a:gd name="T7" fmla="*/ 7588 h 8034"/>
              <a:gd name="T8" fmla="*/ 6332 w 6332"/>
              <a:gd name="T9" fmla="*/ 3166 h 8034"/>
              <a:gd name="T10" fmla="*/ 3166 w 6332"/>
              <a:gd name="T11" fmla="*/ 0 h 8034"/>
              <a:gd name="T12" fmla="*/ 3166 w 6332"/>
              <a:gd name="T13" fmla="*/ 0 h 8034"/>
              <a:gd name="T14" fmla="*/ 3166 w 6332"/>
              <a:gd name="T15" fmla="*/ 0 h 8034"/>
              <a:gd name="T16" fmla="*/ 3166 w 6332"/>
              <a:gd name="T17" fmla="*/ 0 h 8034"/>
              <a:gd name="T18" fmla="*/ 3166 w 6332"/>
              <a:gd name="T19" fmla="*/ 4529 h 8034"/>
              <a:gd name="T20" fmla="*/ 1702 w 6332"/>
              <a:gd name="T21" fmla="*/ 3065 h 8034"/>
              <a:gd name="T22" fmla="*/ 3166 w 6332"/>
              <a:gd name="T23" fmla="*/ 1600 h 8034"/>
              <a:gd name="T24" fmla="*/ 4630 w 6332"/>
              <a:gd name="T25" fmla="*/ 3065 h 8034"/>
              <a:gd name="T26" fmla="*/ 3166 w 6332"/>
              <a:gd name="T27" fmla="*/ 4529 h 8034"/>
              <a:gd name="T28" fmla="*/ 3166 w 6332"/>
              <a:gd name="T29" fmla="*/ 4529 h 8034"/>
              <a:gd name="T30" fmla="*/ 3166 w 6332"/>
              <a:gd name="T31" fmla="*/ 4529 h 8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332" h="8034">
                <a:moveTo>
                  <a:pt x="3166" y="0"/>
                </a:moveTo>
                <a:cubicBezTo>
                  <a:pt x="1418" y="0"/>
                  <a:pt x="0" y="1418"/>
                  <a:pt x="0" y="3166"/>
                </a:cubicBezTo>
                <a:cubicBezTo>
                  <a:pt x="0" y="4914"/>
                  <a:pt x="2481" y="7590"/>
                  <a:pt x="2481" y="7590"/>
                </a:cubicBezTo>
                <a:cubicBezTo>
                  <a:pt x="2859" y="8031"/>
                  <a:pt x="3478" y="8034"/>
                  <a:pt x="3853" y="7588"/>
                </a:cubicBezTo>
                <a:cubicBezTo>
                  <a:pt x="3853" y="7588"/>
                  <a:pt x="6332" y="4914"/>
                  <a:pt x="6332" y="3166"/>
                </a:cubicBezTo>
                <a:cubicBezTo>
                  <a:pt x="6332" y="1418"/>
                  <a:pt x="4914" y="0"/>
                  <a:pt x="3166" y="0"/>
                </a:cubicBezTo>
                <a:lnTo>
                  <a:pt x="3166" y="0"/>
                </a:lnTo>
                <a:lnTo>
                  <a:pt x="3166" y="0"/>
                </a:lnTo>
                <a:lnTo>
                  <a:pt x="3166" y="0"/>
                </a:lnTo>
                <a:close/>
                <a:moveTo>
                  <a:pt x="3166" y="4529"/>
                </a:moveTo>
                <a:cubicBezTo>
                  <a:pt x="2357" y="4529"/>
                  <a:pt x="1702" y="3874"/>
                  <a:pt x="1702" y="3065"/>
                </a:cubicBezTo>
                <a:cubicBezTo>
                  <a:pt x="1702" y="2256"/>
                  <a:pt x="2357" y="1600"/>
                  <a:pt x="3166" y="1600"/>
                </a:cubicBezTo>
                <a:cubicBezTo>
                  <a:pt x="3975" y="1600"/>
                  <a:pt x="4630" y="2256"/>
                  <a:pt x="4630" y="3065"/>
                </a:cubicBezTo>
                <a:cubicBezTo>
                  <a:pt x="4630" y="3874"/>
                  <a:pt x="3975" y="4529"/>
                  <a:pt x="3166" y="4529"/>
                </a:cubicBezTo>
                <a:lnTo>
                  <a:pt x="3166" y="4529"/>
                </a:lnTo>
                <a:close/>
                <a:moveTo>
                  <a:pt x="3166" y="4529"/>
                </a:move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7" name="文本框 56">
            <a:extLst>
              <a:ext uri="{FF2B5EF4-FFF2-40B4-BE49-F238E27FC236}">
                <a16:creationId xmlns:a16="http://schemas.microsoft.com/office/drawing/2014/main" id="{E6061FBD-EE46-4A5D-9F71-B1D0C072A6B8}"/>
              </a:ext>
            </a:extLst>
          </p:cNvPr>
          <p:cNvSpPr txBox="1"/>
          <p:nvPr/>
        </p:nvSpPr>
        <p:spPr>
          <a:xfrm>
            <a:off x="6846509" y="3244494"/>
            <a:ext cx="714939" cy="307777"/>
          </a:xfrm>
          <a:prstGeom prst="rect">
            <a:avLst/>
          </a:prstGeom>
          <a:noFill/>
        </p:spPr>
        <p:txBody>
          <a:bodyPr wrap="none" lIns="0" tIns="0" rIns="0" bIns="0" rtlCol="0" anchor="t">
            <a:spAutoFit/>
          </a:bodyPr>
          <a:lstStyle/>
          <a:p>
            <a:r>
              <a:rPr lang="en-US" altLang="zh-CN" sz="2000" dirty="0">
                <a:solidFill>
                  <a:schemeClr val="accent1"/>
                </a:solidFill>
                <a:latin typeface="+mj-ea"/>
                <a:ea typeface="+mj-ea"/>
              </a:rPr>
              <a:t>20XX</a:t>
            </a:r>
            <a:endParaRPr lang="zh-CN" altLang="en-US" sz="2000" dirty="0">
              <a:solidFill>
                <a:schemeClr val="accent1"/>
              </a:solidFill>
              <a:latin typeface="+mj-ea"/>
              <a:ea typeface="+mj-ea"/>
            </a:endParaRPr>
          </a:p>
        </p:txBody>
      </p:sp>
      <p:sp>
        <p:nvSpPr>
          <p:cNvPr id="58" name="iconfont-1191-801535">
            <a:extLst>
              <a:ext uri="{FF2B5EF4-FFF2-40B4-BE49-F238E27FC236}">
                <a16:creationId xmlns:a16="http://schemas.microsoft.com/office/drawing/2014/main" id="{90B34E7B-F70A-4CF0-84DA-64F5EF79913D}"/>
              </a:ext>
            </a:extLst>
          </p:cNvPr>
          <p:cNvSpPr/>
          <p:nvPr/>
        </p:nvSpPr>
        <p:spPr>
          <a:xfrm>
            <a:off x="9234112" y="3117302"/>
            <a:ext cx="398600" cy="505722"/>
          </a:xfrm>
          <a:custGeom>
            <a:avLst/>
            <a:gdLst>
              <a:gd name="T0" fmla="*/ 3166 w 6332"/>
              <a:gd name="T1" fmla="*/ 0 h 8034"/>
              <a:gd name="T2" fmla="*/ 0 w 6332"/>
              <a:gd name="T3" fmla="*/ 3166 h 8034"/>
              <a:gd name="T4" fmla="*/ 2481 w 6332"/>
              <a:gd name="T5" fmla="*/ 7590 h 8034"/>
              <a:gd name="T6" fmla="*/ 3853 w 6332"/>
              <a:gd name="T7" fmla="*/ 7588 h 8034"/>
              <a:gd name="T8" fmla="*/ 6332 w 6332"/>
              <a:gd name="T9" fmla="*/ 3166 h 8034"/>
              <a:gd name="T10" fmla="*/ 3166 w 6332"/>
              <a:gd name="T11" fmla="*/ 0 h 8034"/>
              <a:gd name="T12" fmla="*/ 3166 w 6332"/>
              <a:gd name="T13" fmla="*/ 0 h 8034"/>
              <a:gd name="T14" fmla="*/ 3166 w 6332"/>
              <a:gd name="T15" fmla="*/ 0 h 8034"/>
              <a:gd name="T16" fmla="*/ 3166 w 6332"/>
              <a:gd name="T17" fmla="*/ 0 h 8034"/>
              <a:gd name="T18" fmla="*/ 3166 w 6332"/>
              <a:gd name="T19" fmla="*/ 4529 h 8034"/>
              <a:gd name="T20" fmla="*/ 1702 w 6332"/>
              <a:gd name="T21" fmla="*/ 3065 h 8034"/>
              <a:gd name="T22" fmla="*/ 3166 w 6332"/>
              <a:gd name="T23" fmla="*/ 1600 h 8034"/>
              <a:gd name="T24" fmla="*/ 4630 w 6332"/>
              <a:gd name="T25" fmla="*/ 3065 h 8034"/>
              <a:gd name="T26" fmla="*/ 3166 w 6332"/>
              <a:gd name="T27" fmla="*/ 4529 h 8034"/>
              <a:gd name="T28" fmla="*/ 3166 w 6332"/>
              <a:gd name="T29" fmla="*/ 4529 h 8034"/>
              <a:gd name="T30" fmla="*/ 3166 w 6332"/>
              <a:gd name="T31" fmla="*/ 4529 h 8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332" h="8034">
                <a:moveTo>
                  <a:pt x="3166" y="0"/>
                </a:moveTo>
                <a:cubicBezTo>
                  <a:pt x="1418" y="0"/>
                  <a:pt x="0" y="1418"/>
                  <a:pt x="0" y="3166"/>
                </a:cubicBezTo>
                <a:cubicBezTo>
                  <a:pt x="0" y="4914"/>
                  <a:pt x="2481" y="7590"/>
                  <a:pt x="2481" y="7590"/>
                </a:cubicBezTo>
                <a:cubicBezTo>
                  <a:pt x="2859" y="8031"/>
                  <a:pt x="3478" y="8034"/>
                  <a:pt x="3853" y="7588"/>
                </a:cubicBezTo>
                <a:cubicBezTo>
                  <a:pt x="3853" y="7588"/>
                  <a:pt x="6332" y="4914"/>
                  <a:pt x="6332" y="3166"/>
                </a:cubicBezTo>
                <a:cubicBezTo>
                  <a:pt x="6332" y="1418"/>
                  <a:pt x="4914" y="0"/>
                  <a:pt x="3166" y="0"/>
                </a:cubicBezTo>
                <a:lnTo>
                  <a:pt x="3166" y="0"/>
                </a:lnTo>
                <a:lnTo>
                  <a:pt x="3166" y="0"/>
                </a:lnTo>
                <a:lnTo>
                  <a:pt x="3166" y="0"/>
                </a:lnTo>
                <a:close/>
                <a:moveTo>
                  <a:pt x="3166" y="4529"/>
                </a:moveTo>
                <a:cubicBezTo>
                  <a:pt x="2357" y="4529"/>
                  <a:pt x="1702" y="3874"/>
                  <a:pt x="1702" y="3065"/>
                </a:cubicBezTo>
                <a:cubicBezTo>
                  <a:pt x="1702" y="2256"/>
                  <a:pt x="2357" y="1600"/>
                  <a:pt x="3166" y="1600"/>
                </a:cubicBezTo>
                <a:cubicBezTo>
                  <a:pt x="3975" y="1600"/>
                  <a:pt x="4630" y="2256"/>
                  <a:pt x="4630" y="3065"/>
                </a:cubicBezTo>
                <a:cubicBezTo>
                  <a:pt x="4630" y="3874"/>
                  <a:pt x="3975" y="4529"/>
                  <a:pt x="3166" y="4529"/>
                </a:cubicBezTo>
                <a:lnTo>
                  <a:pt x="3166" y="4529"/>
                </a:lnTo>
                <a:close/>
                <a:moveTo>
                  <a:pt x="3166" y="4529"/>
                </a:move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9" name="文本框 58">
            <a:extLst>
              <a:ext uri="{FF2B5EF4-FFF2-40B4-BE49-F238E27FC236}">
                <a16:creationId xmlns:a16="http://schemas.microsoft.com/office/drawing/2014/main" id="{8D20DB0F-CED1-45CC-BCDA-839C53806C2F}"/>
              </a:ext>
            </a:extLst>
          </p:cNvPr>
          <p:cNvSpPr txBox="1"/>
          <p:nvPr/>
        </p:nvSpPr>
        <p:spPr>
          <a:xfrm>
            <a:off x="9075942" y="2738772"/>
            <a:ext cx="714939" cy="307777"/>
          </a:xfrm>
          <a:prstGeom prst="rect">
            <a:avLst/>
          </a:prstGeom>
          <a:noFill/>
        </p:spPr>
        <p:txBody>
          <a:bodyPr wrap="none" lIns="0" tIns="0" rIns="0" bIns="0" rtlCol="0" anchor="t">
            <a:spAutoFit/>
          </a:bodyPr>
          <a:lstStyle/>
          <a:p>
            <a:r>
              <a:rPr lang="en-US" altLang="zh-CN" sz="2000" dirty="0">
                <a:solidFill>
                  <a:schemeClr val="accent1"/>
                </a:solidFill>
                <a:latin typeface="+mj-ea"/>
                <a:ea typeface="+mj-ea"/>
              </a:rPr>
              <a:t>20XX</a:t>
            </a:r>
            <a:endParaRPr lang="zh-CN" altLang="en-US" sz="2000" dirty="0">
              <a:solidFill>
                <a:schemeClr val="accent1"/>
              </a:solidFill>
              <a:latin typeface="+mj-ea"/>
              <a:ea typeface="+mj-ea"/>
            </a:endParaRPr>
          </a:p>
        </p:txBody>
      </p:sp>
      <p:sp>
        <p:nvSpPr>
          <p:cNvPr id="60" name="文本框 59">
            <a:extLst>
              <a:ext uri="{FF2B5EF4-FFF2-40B4-BE49-F238E27FC236}">
                <a16:creationId xmlns:a16="http://schemas.microsoft.com/office/drawing/2014/main" id="{267C3261-CEBD-439A-B6FD-620EE6A9C969}"/>
              </a:ext>
            </a:extLst>
          </p:cNvPr>
          <p:cNvSpPr txBox="1"/>
          <p:nvPr/>
        </p:nvSpPr>
        <p:spPr>
          <a:xfrm>
            <a:off x="415426" y="4764731"/>
            <a:ext cx="2030566" cy="600164"/>
          </a:xfrm>
          <a:prstGeom prst="rect">
            <a:avLst/>
          </a:prstGeom>
          <a:noFill/>
        </p:spPr>
        <p:txBody>
          <a:bodyPr wrap="square" rtlCol="0">
            <a:spAutoFit/>
          </a:bodyPr>
          <a:lstStyle/>
          <a:p>
            <a:pPr algn="ctr"/>
            <a:r>
              <a:rPr lang="en-US" altLang="zh-CN" sz="1100" dirty="0">
                <a:solidFill>
                  <a:schemeClr val="accent1"/>
                </a:solidFill>
              </a:rPr>
              <a:t>Lorem ipsum dolor sit amet consectetur adipisicing elit sed do eiusmod tempor</a:t>
            </a:r>
            <a:endParaRPr lang="zh-CN" altLang="en-US" sz="1100" dirty="0">
              <a:solidFill>
                <a:schemeClr val="accent1"/>
              </a:solidFill>
            </a:endParaRPr>
          </a:p>
        </p:txBody>
      </p:sp>
      <p:sp>
        <p:nvSpPr>
          <p:cNvPr id="61" name="文本框 60">
            <a:extLst>
              <a:ext uri="{FF2B5EF4-FFF2-40B4-BE49-F238E27FC236}">
                <a16:creationId xmlns:a16="http://schemas.microsoft.com/office/drawing/2014/main" id="{BE6CBCBF-4BC9-4150-B766-9362D1877D4A}"/>
              </a:ext>
            </a:extLst>
          </p:cNvPr>
          <p:cNvSpPr txBox="1"/>
          <p:nvPr/>
        </p:nvSpPr>
        <p:spPr>
          <a:xfrm>
            <a:off x="2750265" y="3934722"/>
            <a:ext cx="2030566" cy="600164"/>
          </a:xfrm>
          <a:prstGeom prst="rect">
            <a:avLst/>
          </a:prstGeom>
          <a:noFill/>
        </p:spPr>
        <p:txBody>
          <a:bodyPr wrap="square" rtlCol="0">
            <a:spAutoFit/>
          </a:bodyPr>
          <a:lstStyle/>
          <a:p>
            <a:pPr algn="ctr"/>
            <a:r>
              <a:rPr lang="en-US" altLang="zh-CN" sz="1100" dirty="0">
                <a:solidFill>
                  <a:schemeClr val="accent1"/>
                </a:solidFill>
              </a:rPr>
              <a:t>Lorem ipsum dolor sit amet consectetur adipisicing elit sed do eiusmod tempor</a:t>
            </a:r>
            <a:endParaRPr lang="zh-CN" altLang="en-US" sz="1100" dirty="0">
              <a:solidFill>
                <a:schemeClr val="accent1"/>
              </a:solidFill>
            </a:endParaRPr>
          </a:p>
        </p:txBody>
      </p:sp>
      <p:sp>
        <p:nvSpPr>
          <p:cNvPr id="62" name="文本框 61">
            <a:extLst>
              <a:ext uri="{FF2B5EF4-FFF2-40B4-BE49-F238E27FC236}">
                <a16:creationId xmlns:a16="http://schemas.microsoft.com/office/drawing/2014/main" id="{B5913E35-A5F0-445F-80AD-89AB3A1A16C0}"/>
              </a:ext>
            </a:extLst>
          </p:cNvPr>
          <p:cNvSpPr txBox="1"/>
          <p:nvPr/>
        </p:nvSpPr>
        <p:spPr>
          <a:xfrm>
            <a:off x="5137070" y="1976556"/>
            <a:ext cx="2030566" cy="600164"/>
          </a:xfrm>
          <a:prstGeom prst="rect">
            <a:avLst/>
          </a:prstGeom>
          <a:noFill/>
        </p:spPr>
        <p:txBody>
          <a:bodyPr wrap="square" rtlCol="0">
            <a:spAutoFit/>
          </a:bodyPr>
          <a:lstStyle/>
          <a:p>
            <a:pPr algn="ctr"/>
            <a:r>
              <a:rPr lang="en-US" altLang="zh-CN" sz="1100" dirty="0">
                <a:solidFill>
                  <a:schemeClr val="accent1"/>
                </a:solidFill>
              </a:rPr>
              <a:t>Lorem ipsum dolor sit amet consectetur adipisicing elit sed do eiusmod tempor</a:t>
            </a:r>
            <a:endParaRPr lang="zh-CN" altLang="en-US" sz="1100" dirty="0">
              <a:solidFill>
                <a:schemeClr val="accent1"/>
              </a:solidFill>
            </a:endParaRPr>
          </a:p>
        </p:txBody>
      </p:sp>
      <p:sp>
        <p:nvSpPr>
          <p:cNvPr id="63" name="文本框 62">
            <a:extLst>
              <a:ext uri="{FF2B5EF4-FFF2-40B4-BE49-F238E27FC236}">
                <a16:creationId xmlns:a16="http://schemas.microsoft.com/office/drawing/2014/main" id="{CD247B0C-5DB0-4EC9-BBE1-291093D8589F}"/>
              </a:ext>
            </a:extLst>
          </p:cNvPr>
          <p:cNvSpPr txBox="1"/>
          <p:nvPr/>
        </p:nvSpPr>
        <p:spPr>
          <a:xfrm>
            <a:off x="6188695" y="4184433"/>
            <a:ext cx="2030566" cy="600164"/>
          </a:xfrm>
          <a:prstGeom prst="rect">
            <a:avLst/>
          </a:prstGeom>
          <a:noFill/>
        </p:spPr>
        <p:txBody>
          <a:bodyPr wrap="square" rtlCol="0">
            <a:spAutoFit/>
          </a:bodyPr>
          <a:lstStyle/>
          <a:p>
            <a:pPr algn="ctr"/>
            <a:r>
              <a:rPr lang="en-US" altLang="zh-CN" sz="1100" dirty="0">
                <a:solidFill>
                  <a:schemeClr val="accent1"/>
                </a:solidFill>
              </a:rPr>
              <a:t>Lorem ipsum dolor sit amet consectetur adipisicing elit sed do eiusmod tempor</a:t>
            </a:r>
            <a:endParaRPr lang="zh-CN" altLang="en-US" sz="1100" dirty="0">
              <a:solidFill>
                <a:schemeClr val="accent1"/>
              </a:solidFill>
            </a:endParaRPr>
          </a:p>
        </p:txBody>
      </p:sp>
      <p:sp>
        <p:nvSpPr>
          <p:cNvPr id="64" name="文本框 63">
            <a:extLst>
              <a:ext uri="{FF2B5EF4-FFF2-40B4-BE49-F238E27FC236}">
                <a16:creationId xmlns:a16="http://schemas.microsoft.com/office/drawing/2014/main" id="{05FD34C8-3799-4156-B052-3780012DB99B}"/>
              </a:ext>
            </a:extLst>
          </p:cNvPr>
          <p:cNvSpPr txBox="1"/>
          <p:nvPr/>
        </p:nvSpPr>
        <p:spPr>
          <a:xfrm>
            <a:off x="8418128" y="1976556"/>
            <a:ext cx="2030566" cy="600164"/>
          </a:xfrm>
          <a:prstGeom prst="rect">
            <a:avLst/>
          </a:prstGeom>
          <a:noFill/>
        </p:spPr>
        <p:txBody>
          <a:bodyPr wrap="square" rtlCol="0">
            <a:spAutoFit/>
          </a:bodyPr>
          <a:lstStyle/>
          <a:p>
            <a:pPr algn="ctr"/>
            <a:r>
              <a:rPr lang="en-US" altLang="zh-CN" sz="1100" dirty="0">
                <a:solidFill>
                  <a:schemeClr val="accent1"/>
                </a:solidFill>
              </a:rPr>
              <a:t>Lorem ipsum dolor sit amet consectetur adipisicing elit sed do eiusmod tempor</a:t>
            </a:r>
            <a:endParaRPr lang="zh-CN" altLang="en-US" sz="1100" dirty="0">
              <a:solidFill>
                <a:schemeClr val="accent1"/>
              </a:solidFill>
            </a:endParaRPr>
          </a:p>
        </p:txBody>
      </p:sp>
    </p:spTree>
    <p:custDataLst>
      <p:tags r:id="rId2"/>
    </p:custDataLst>
    <p:extLst>
      <p:ext uri="{BB962C8B-B14F-4D97-AF65-F5344CB8AC3E}">
        <p14:creationId xmlns:p14="http://schemas.microsoft.com/office/powerpoint/2010/main" val="836131836"/>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3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图形 5">
            <a:extLst>
              <a:ext uri="{FF2B5EF4-FFF2-40B4-BE49-F238E27FC236}">
                <a16:creationId xmlns:a16="http://schemas.microsoft.com/office/drawing/2014/main" id="{80BC2AF2-B174-4EEE-A8B0-D00EC696A004}"/>
              </a:ext>
            </a:extLst>
          </p:cNvPr>
          <p:cNvSpPr/>
          <p:nvPr/>
        </p:nvSpPr>
        <p:spPr>
          <a:xfrm>
            <a:off x="0" y="3429000"/>
            <a:ext cx="12192000" cy="1915885"/>
          </a:xfrm>
          <a:custGeom>
            <a:avLst/>
            <a:gdLst>
              <a:gd name="connsiteX0" fmla="*/ -459 w 5851112"/>
              <a:gd name="connsiteY0" fmla="*/ 590873 h 1138096"/>
              <a:gd name="connsiteX1" fmla="*/ 637716 w 5851112"/>
              <a:gd name="connsiteY1" fmla="*/ 439807 h 1138096"/>
              <a:gd name="connsiteX2" fmla="*/ 1312276 w 5851112"/>
              <a:gd name="connsiteY2" fmla="*/ 818044 h 1138096"/>
              <a:gd name="connsiteX3" fmla="*/ 1793479 w 5851112"/>
              <a:gd name="connsiteY3" fmla="*/ 854716 h 1138096"/>
              <a:gd name="connsiteX4" fmla="*/ 1998076 w 5851112"/>
              <a:gd name="connsiteY4" fmla="*/ 770039 h 1138096"/>
              <a:gd name="connsiteX5" fmla="*/ 2240773 w 5851112"/>
              <a:gd name="connsiteY5" fmla="*/ 966539 h 1138096"/>
              <a:gd name="connsiteX6" fmla="*/ 2544145 w 5851112"/>
              <a:gd name="connsiteY6" fmla="*/ 1021213 h 1138096"/>
              <a:gd name="connsiteX7" fmla="*/ 3108596 w 5851112"/>
              <a:gd name="connsiteY7" fmla="*/ 679742 h 1138096"/>
              <a:gd name="connsiteX8" fmla="*/ 3899171 w 5851112"/>
              <a:gd name="connsiteY8" fmla="*/ 726319 h 1138096"/>
              <a:gd name="connsiteX9" fmla="*/ 4591258 w 5851112"/>
              <a:gd name="connsiteY9" fmla="*/ 818044 h 1138096"/>
              <a:gd name="connsiteX10" fmla="*/ 5186761 w 5851112"/>
              <a:gd name="connsiteY10" fmla="*/ 462381 h 1138096"/>
              <a:gd name="connsiteX11" fmla="*/ 5850654 w 5851112"/>
              <a:gd name="connsiteY11" fmla="*/ -438 h 1138096"/>
              <a:gd name="connsiteX12" fmla="*/ 5850654 w 5851112"/>
              <a:gd name="connsiteY12" fmla="*/ 790136 h 1138096"/>
              <a:gd name="connsiteX13" fmla="*/ 5283439 w 5851112"/>
              <a:gd name="connsiteY13" fmla="*/ 951014 h 1138096"/>
              <a:gd name="connsiteX14" fmla="*/ 4508771 w 5851112"/>
              <a:gd name="connsiteY14" fmla="*/ 1132656 h 1138096"/>
              <a:gd name="connsiteX15" fmla="*/ 3750962 w 5851112"/>
              <a:gd name="connsiteY15" fmla="*/ 937964 h 1138096"/>
              <a:gd name="connsiteX16" fmla="*/ 2980485 w 5851112"/>
              <a:gd name="connsiteY16" fmla="*/ 948537 h 1138096"/>
              <a:gd name="connsiteX17" fmla="*/ 2366694 w 5851112"/>
              <a:gd name="connsiteY17" fmla="*/ 1134465 h 1138096"/>
              <a:gd name="connsiteX18" fmla="*/ 2068275 w 5851112"/>
              <a:gd name="connsiteY18" fmla="*/ 931583 h 1138096"/>
              <a:gd name="connsiteX19" fmla="*/ 1630125 w 5851112"/>
              <a:gd name="connsiteY19" fmla="*/ 1018355 h 1138096"/>
              <a:gd name="connsiteX20" fmla="*/ 639525 w 5851112"/>
              <a:gd name="connsiteY20" fmla="*/ 777087 h 1138096"/>
              <a:gd name="connsiteX21" fmla="*/ -459 w 5851112"/>
              <a:gd name="connsiteY21" fmla="*/ 1107319 h 1138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851112" h="1138096">
                <a:moveTo>
                  <a:pt x="-459" y="590873"/>
                </a:moveTo>
                <a:cubicBezTo>
                  <a:pt x="-459" y="590873"/>
                  <a:pt x="437024" y="343890"/>
                  <a:pt x="637716" y="439807"/>
                </a:cubicBezTo>
                <a:cubicBezTo>
                  <a:pt x="838407" y="535724"/>
                  <a:pt x="1006047" y="710793"/>
                  <a:pt x="1312276" y="818044"/>
                </a:cubicBezTo>
                <a:cubicBezTo>
                  <a:pt x="1618505" y="925296"/>
                  <a:pt x="1751093" y="939393"/>
                  <a:pt x="1793479" y="854716"/>
                </a:cubicBezTo>
                <a:cubicBezTo>
                  <a:pt x="1835865" y="770039"/>
                  <a:pt x="1879204" y="731939"/>
                  <a:pt x="1998076" y="770039"/>
                </a:cubicBezTo>
                <a:cubicBezTo>
                  <a:pt x="2116948" y="808139"/>
                  <a:pt x="2192767" y="861098"/>
                  <a:pt x="2240773" y="966539"/>
                </a:cubicBezTo>
                <a:cubicBezTo>
                  <a:pt x="2288780" y="1071981"/>
                  <a:pt x="2404413" y="1091793"/>
                  <a:pt x="2544145" y="1021213"/>
                </a:cubicBezTo>
                <a:cubicBezTo>
                  <a:pt x="2683876" y="950633"/>
                  <a:pt x="2868756" y="880148"/>
                  <a:pt x="3108596" y="679742"/>
                </a:cubicBezTo>
                <a:cubicBezTo>
                  <a:pt x="3348436" y="479336"/>
                  <a:pt x="3749247" y="628973"/>
                  <a:pt x="3899171" y="726319"/>
                </a:cubicBezTo>
                <a:cubicBezTo>
                  <a:pt x="4049095" y="823664"/>
                  <a:pt x="4329892" y="909389"/>
                  <a:pt x="4591258" y="818044"/>
                </a:cubicBezTo>
                <a:cubicBezTo>
                  <a:pt x="4852624" y="726700"/>
                  <a:pt x="4949683" y="668407"/>
                  <a:pt x="5186761" y="462381"/>
                </a:cubicBezTo>
                <a:cubicBezTo>
                  <a:pt x="5423838" y="256355"/>
                  <a:pt x="5684728" y="48996"/>
                  <a:pt x="5850654" y="-438"/>
                </a:cubicBezTo>
                <a:lnTo>
                  <a:pt x="5850654" y="790136"/>
                </a:lnTo>
                <a:cubicBezTo>
                  <a:pt x="5850654" y="790136"/>
                  <a:pt x="5507754" y="834618"/>
                  <a:pt x="5283439" y="951014"/>
                </a:cubicBezTo>
                <a:cubicBezTo>
                  <a:pt x="5059126" y="1067409"/>
                  <a:pt x="4855862" y="1147514"/>
                  <a:pt x="4508771" y="1132656"/>
                </a:cubicBezTo>
                <a:cubicBezTo>
                  <a:pt x="4161680" y="1117797"/>
                  <a:pt x="3935176" y="1048073"/>
                  <a:pt x="3750962" y="937964"/>
                </a:cubicBezTo>
                <a:cubicBezTo>
                  <a:pt x="3566749" y="827855"/>
                  <a:pt x="3302239" y="791946"/>
                  <a:pt x="2980485" y="948537"/>
                </a:cubicBezTo>
                <a:cubicBezTo>
                  <a:pt x="2658730" y="1105128"/>
                  <a:pt x="2540239" y="1151039"/>
                  <a:pt x="2366694" y="1134465"/>
                </a:cubicBezTo>
                <a:cubicBezTo>
                  <a:pt x="2256585" y="1119320"/>
                  <a:pt x="2201626" y="935869"/>
                  <a:pt x="2068275" y="931583"/>
                </a:cubicBezTo>
                <a:cubicBezTo>
                  <a:pt x="1934925" y="927296"/>
                  <a:pt x="1841771" y="1071314"/>
                  <a:pt x="1630125" y="1018355"/>
                </a:cubicBezTo>
                <a:cubicBezTo>
                  <a:pt x="1418480" y="965396"/>
                  <a:pt x="929466" y="741083"/>
                  <a:pt x="639525" y="777087"/>
                </a:cubicBezTo>
                <a:cubicBezTo>
                  <a:pt x="349584" y="813092"/>
                  <a:pt x="-459" y="1107319"/>
                  <a:pt x="-459" y="1107319"/>
                </a:cubicBezTo>
                <a:close/>
              </a:path>
            </a:pathLst>
          </a:custGeom>
          <a:solidFill>
            <a:schemeClr val="accent1"/>
          </a:solidFill>
          <a:ln w="9525" cap="flat">
            <a:noFill/>
            <a:prstDash val="solid"/>
            <a:miter/>
          </a:ln>
        </p:spPr>
        <p:txBody>
          <a:bodyPr rtlCol="0" anchor="ctr"/>
          <a:lstStyle/>
          <a:p>
            <a:endParaRPr lang="zh-CN" altLang="en-US"/>
          </a:p>
        </p:txBody>
      </p:sp>
      <p:cxnSp>
        <p:nvCxnSpPr>
          <p:cNvPr id="24" name="直接连接符 23">
            <a:extLst>
              <a:ext uri="{FF2B5EF4-FFF2-40B4-BE49-F238E27FC236}">
                <a16:creationId xmlns:a16="http://schemas.microsoft.com/office/drawing/2014/main" id="{33D76511-91B7-4553-B29E-D3931A4C9E1E}"/>
              </a:ext>
            </a:extLst>
          </p:cNvPr>
          <p:cNvCxnSpPr>
            <a:cxnSpLocks/>
          </p:cNvCxnSpPr>
          <p:nvPr/>
        </p:nvCxnSpPr>
        <p:spPr>
          <a:xfrm>
            <a:off x="976992" y="2282372"/>
            <a:ext cx="0" cy="1943664"/>
          </a:xfrm>
          <a:prstGeom prst="line">
            <a:avLst/>
          </a:prstGeom>
          <a:ln w="28575">
            <a:gradFill>
              <a:gsLst>
                <a:gs pos="0">
                  <a:schemeClr val="accent1"/>
                </a:gs>
                <a:gs pos="100000">
                  <a:schemeClr val="accent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27" name="椭圆 26">
            <a:extLst>
              <a:ext uri="{FF2B5EF4-FFF2-40B4-BE49-F238E27FC236}">
                <a16:creationId xmlns:a16="http://schemas.microsoft.com/office/drawing/2014/main" id="{FE37EBA2-3C30-48D3-8D52-04198C0927E2}"/>
              </a:ext>
            </a:extLst>
          </p:cNvPr>
          <p:cNvSpPr/>
          <p:nvPr/>
        </p:nvSpPr>
        <p:spPr>
          <a:xfrm>
            <a:off x="912698" y="2181563"/>
            <a:ext cx="128588" cy="128588"/>
          </a:xfrm>
          <a:prstGeom prst="ellipse">
            <a:avLst/>
          </a:prstGeom>
          <a:solidFill>
            <a:schemeClr val="accent1"/>
          </a:solidFill>
          <a:ln>
            <a:noFill/>
          </a:ln>
          <a:effectLst>
            <a:outerShdw sx="154000" sy="154000" algn="ctr" rotWithShape="0">
              <a:schemeClr val="accent1">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28" name="文本框 27">
            <a:extLst>
              <a:ext uri="{FF2B5EF4-FFF2-40B4-BE49-F238E27FC236}">
                <a16:creationId xmlns:a16="http://schemas.microsoft.com/office/drawing/2014/main" id="{553B70B6-F8A8-4773-8FF6-12B0B51BC7DD}"/>
              </a:ext>
            </a:extLst>
          </p:cNvPr>
          <p:cNvSpPr txBox="1"/>
          <p:nvPr/>
        </p:nvSpPr>
        <p:spPr>
          <a:xfrm>
            <a:off x="1191687" y="2121187"/>
            <a:ext cx="714939" cy="307777"/>
          </a:xfrm>
          <a:prstGeom prst="rect">
            <a:avLst/>
          </a:prstGeom>
          <a:noFill/>
        </p:spPr>
        <p:txBody>
          <a:bodyPr wrap="none" lIns="0" tIns="0" rIns="0" bIns="0" rtlCol="0" anchor="t">
            <a:spAutoFit/>
          </a:bodyPr>
          <a:lstStyle/>
          <a:p>
            <a:r>
              <a:rPr lang="en-US" altLang="zh-CN" sz="2000" dirty="0">
                <a:solidFill>
                  <a:schemeClr val="accent1"/>
                </a:solidFill>
                <a:latin typeface="+mj-ea"/>
                <a:ea typeface="+mj-ea"/>
              </a:rPr>
              <a:t>20XX</a:t>
            </a:r>
            <a:endParaRPr lang="zh-CN" altLang="en-US" sz="2000" dirty="0">
              <a:solidFill>
                <a:schemeClr val="accent1"/>
              </a:solidFill>
              <a:latin typeface="+mj-ea"/>
              <a:ea typeface="+mj-ea"/>
            </a:endParaRPr>
          </a:p>
        </p:txBody>
      </p:sp>
      <p:sp>
        <p:nvSpPr>
          <p:cNvPr id="29" name="文本框 28">
            <a:extLst>
              <a:ext uri="{FF2B5EF4-FFF2-40B4-BE49-F238E27FC236}">
                <a16:creationId xmlns:a16="http://schemas.microsoft.com/office/drawing/2014/main" id="{3291F5A0-FE32-41FF-ADED-F340907A5AA7}"/>
              </a:ext>
            </a:extLst>
          </p:cNvPr>
          <p:cNvSpPr txBox="1"/>
          <p:nvPr/>
        </p:nvSpPr>
        <p:spPr>
          <a:xfrm>
            <a:off x="1110724" y="2396620"/>
            <a:ext cx="1692961" cy="769441"/>
          </a:xfrm>
          <a:prstGeom prst="rect">
            <a:avLst/>
          </a:prstGeom>
          <a:noFill/>
        </p:spPr>
        <p:txBody>
          <a:bodyPr wrap="square" rtlCol="0">
            <a:spAutoFit/>
          </a:bodyPr>
          <a:lstStyle/>
          <a:p>
            <a:r>
              <a:rPr lang="en-US" altLang="zh-CN" sz="1100" dirty="0">
                <a:solidFill>
                  <a:schemeClr val="accent1"/>
                </a:solidFill>
              </a:rPr>
              <a:t>Lorem ipsum dolor sit amet consectetur adipisicing elit sed do eiusmod tempor</a:t>
            </a:r>
            <a:endParaRPr lang="zh-CN" altLang="en-US" sz="1100" dirty="0">
              <a:solidFill>
                <a:schemeClr val="accent1"/>
              </a:solidFill>
            </a:endParaRPr>
          </a:p>
        </p:txBody>
      </p:sp>
      <p:cxnSp>
        <p:nvCxnSpPr>
          <p:cNvPr id="32" name="直接连接符 31">
            <a:extLst>
              <a:ext uri="{FF2B5EF4-FFF2-40B4-BE49-F238E27FC236}">
                <a16:creationId xmlns:a16="http://schemas.microsoft.com/office/drawing/2014/main" id="{D87EAC3E-C0FE-41F6-9E81-090DA8314BD8}"/>
              </a:ext>
            </a:extLst>
          </p:cNvPr>
          <p:cNvCxnSpPr>
            <a:cxnSpLocks/>
          </p:cNvCxnSpPr>
          <p:nvPr/>
        </p:nvCxnSpPr>
        <p:spPr>
          <a:xfrm>
            <a:off x="3543547" y="3051813"/>
            <a:ext cx="0" cy="1943664"/>
          </a:xfrm>
          <a:prstGeom prst="line">
            <a:avLst/>
          </a:prstGeom>
          <a:ln w="28575">
            <a:gradFill>
              <a:gsLst>
                <a:gs pos="0">
                  <a:schemeClr val="accent1"/>
                </a:gs>
                <a:gs pos="100000">
                  <a:schemeClr val="accent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33" name="椭圆 32">
            <a:extLst>
              <a:ext uri="{FF2B5EF4-FFF2-40B4-BE49-F238E27FC236}">
                <a16:creationId xmlns:a16="http://schemas.microsoft.com/office/drawing/2014/main" id="{B1B6F7B3-1DDB-4867-97B7-AD18C8287F3F}"/>
              </a:ext>
            </a:extLst>
          </p:cNvPr>
          <p:cNvSpPr/>
          <p:nvPr/>
        </p:nvSpPr>
        <p:spPr>
          <a:xfrm>
            <a:off x="3479253" y="2951004"/>
            <a:ext cx="128588" cy="128588"/>
          </a:xfrm>
          <a:prstGeom prst="ellipse">
            <a:avLst/>
          </a:prstGeom>
          <a:solidFill>
            <a:schemeClr val="accent1"/>
          </a:solidFill>
          <a:ln>
            <a:noFill/>
          </a:ln>
          <a:effectLst>
            <a:outerShdw sx="154000" sy="154000" algn="ctr" rotWithShape="0">
              <a:schemeClr val="accent1">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34" name="文本框 33">
            <a:extLst>
              <a:ext uri="{FF2B5EF4-FFF2-40B4-BE49-F238E27FC236}">
                <a16:creationId xmlns:a16="http://schemas.microsoft.com/office/drawing/2014/main" id="{2148CCBF-2A04-4053-A8A3-4B1B45774A6B}"/>
              </a:ext>
            </a:extLst>
          </p:cNvPr>
          <p:cNvSpPr txBox="1"/>
          <p:nvPr/>
        </p:nvSpPr>
        <p:spPr>
          <a:xfrm>
            <a:off x="3758242" y="2890628"/>
            <a:ext cx="714939" cy="307777"/>
          </a:xfrm>
          <a:prstGeom prst="rect">
            <a:avLst/>
          </a:prstGeom>
          <a:noFill/>
        </p:spPr>
        <p:txBody>
          <a:bodyPr wrap="none" lIns="0" tIns="0" rIns="0" bIns="0" rtlCol="0" anchor="t">
            <a:spAutoFit/>
          </a:bodyPr>
          <a:lstStyle/>
          <a:p>
            <a:r>
              <a:rPr lang="en-US" altLang="zh-CN" sz="2000" dirty="0">
                <a:solidFill>
                  <a:schemeClr val="accent1"/>
                </a:solidFill>
                <a:latin typeface="+mj-ea"/>
                <a:ea typeface="+mj-ea"/>
              </a:rPr>
              <a:t>20XX</a:t>
            </a:r>
            <a:endParaRPr lang="zh-CN" altLang="en-US" sz="2000" dirty="0">
              <a:solidFill>
                <a:schemeClr val="accent1"/>
              </a:solidFill>
              <a:latin typeface="+mj-ea"/>
              <a:ea typeface="+mj-ea"/>
            </a:endParaRPr>
          </a:p>
        </p:txBody>
      </p:sp>
      <p:sp>
        <p:nvSpPr>
          <p:cNvPr id="35" name="文本框 34">
            <a:extLst>
              <a:ext uri="{FF2B5EF4-FFF2-40B4-BE49-F238E27FC236}">
                <a16:creationId xmlns:a16="http://schemas.microsoft.com/office/drawing/2014/main" id="{658B195A-A651-4284-8212-84FC9AB32CE2}"/>
              </a:ext>
            </a:extLst>
          </p:cNvPr>
          <p:cNvSpPr txBox="1"/>
          <p:nvPr/>
        </p:nvSpPr>
        <p:spPr>
          <a:xfrm>
            <a:off x="3677279" y="3166061"/>
            <a:ext cx="1692961" cy="769441"/>
          </a:xfrm>
          <a:prstGeom prst="rect">
            <a:avLst/>
          </a:prstGeom>
          <a:noFill/>
        </p:spPr>
        <p:txBody>
          <a:bodyPr wrap="square" rtlCol="0">
            <a:spAutoFit/>
          </a:bodyPr>
          <a:lstStyle/>
          <a:p>
            <a:r>
              <a:rPr lang="en-US" altLang="zh-CN" sz="1100" dirty="0">
                <a:solidFill>
                  <a:schemeClr val="accent1"/>
                </a:solidFill>
              </a:rPr>
              <a:t>Lorem ipsum dolor sit amet consectetur adipisicing elit sed do eiusmod tempor</a:t>
            </a:r>
            <a:endParaRPr lang="zh-CN" altLang="en-US" sz="1100" dirty="0">
              <a:solidFill>
                <a:schemeClr val="accent1"/>
              </a:solidFill>
            </a:endParaRPr>
          </a:p>
        </p:txBody>
      </p:sp>
      <p:cxnSp>
        <p:nvCxnSpPr>
          <p:cNvPr id="36" name="直接连接符 35">
            <a:extLst>
              <a:ext uri="{FF2B5EF4-FFF2-40B4-BE49-F238E27FC236}">
                <a16:creationId xmlns:a16="http://schemas.microsoft.com/office/drawing/2014/main" id="{73EBEDE4-17BD-43D5-A2B3-DC8DE49CEF83}"/>
              </a:ext>
            </a:extLst>
          </p:cNvPr>
          <p:cNvCxnSpPr>
            <a:cxnSpLocks/>
          </p:cNvCxnSpPr>
          <p:nvPr/>
        </p:nvCxnSpPr>
        <p:spPr>
          <a:xfrm>
            <a:off x="6160294" y="2836756"/>
            <a:ext cx="0" cy="1943664"/>
          </a:xfrm>
          <a:prstGeom prst="line">
            <a:avLst/>
          </a:prstGeom>
          <a:ln w="28575">
            <a:gradFill>
              <a:gsLst>
                <a:gs pos="0">
                  <a:schemeClr val="accent1"/>
                </a:gs>
                <a:gs pos="100000">
                  <a:schemeClr val="accent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37" name="椭圆 36">
            <a:extLst>
              <a:ext uri="{FF2B5EF4-FFF2-40B4-BE49-F238E27FC236}">
                <a16:creationId xmlns:a16="http://schemas.microsoft.com/office/drawing/2014/main" id="{6441EEF8-9C25-4BA5-8128-BA73F06F25FF}"/>
              </a:ext>
            </a:extLst>
          </p:cNvPr>
          <p:cNvSpPr/>
          <p:nvPr/>
        </p:nvSpPr>
        <p:spPr>
          <a:xfrm>
            <a:off x="6096000" y="2735947"/>
            <a:ext cx="128588" cy="128588"/>
          </a:xfrm>
          <a:prstGeom prst="ellipse">
            <a:avLst/>
          </a:prstGeom>
          <a:solidFill>
            <a:schemeClr val="accent1"/>
          </a:solidFill>
          <a:ln>
            <a:noFill/>
          </a:ln>
          <a:effectLst>
            <a:outerShdw sx="154000" sy="154000" algn="ctr" rotWithShape="0">
              <a:schemeClr val="accent1">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40" name="文本框 39">
            <a:extLst>
              <a:ext uri="{FF2B5EF4-FFF2-40B4-BE49-F238E27FC236}">
                <a16:creationId xmlns:a16="http://schemas.microsoft.com/office/drawing/2014/main" id="{A0596DE2-6AE9-45CA-B624-F2AE66E040B8}"/>
              </a:ext>
            </a:extLst>
          </p:cNvPr>
          <p:cNvSpPr txBox="1"/>
          <p:nvPr/>
        </p:nvSpPr>
        <p:spPr>
          <a:xfrm>
            <a:off x="6374989" y="2675571"/>
            <a:ext cx="714939" cy="307777"/>
          </a:xfrm>
          <a:prstGeom prst="rect">
            <a:avLst/>
          </a:prstGeom>
          <a:noFill/>
        </p:spPr>
        <p:txBody>
          <a:bodyPr wrap="none" lIns="0" tIns="0" rIns="0" bIns="0" rtlCol="0" anchor="t">
            <a:spAutoFit/>
          </a:bodyPr>
          <a:lstStyle/>
          <a:p>
            <a:r>
              <a:rPr lang="en-US" altLang="zh-CN" sz="2000" dirty="0">
                <a:solidFill>
                  <a:schemeClr val="accent1"/>
                </a:solidFill>
                <a:latin typeface="+mj-ea"/>
                <a:ea typeface="+mj-ea"/>
              </a:rPr>
              <a:t>20XX</a:t>
            </a:r>
            <a:endParaRPr lang="zh-CN" altLang="en-US" sz="2000" dirty="0">
              <a:solidFill>
                <a:schemeClr val="accent1"/>
              </a:solidFill>
              <a:latin typeface="+mj-ea"/>
              <a:ea typeface="+mj-ea"/>
            </a:endParaRPr>
          </a:p>
        </p:txBody>
      </p:sp>
      <p:sp>
        <p:nvSpPr>
          <p:cNvPr id="41" name="文本框 40">
            <a:extLst>
              <a:ext uri="{FF2B5EF4-FFF2-40B4-BE49-F238E27FC236}">
                <a16:creationId xmlns:a16="http://schemas.microsoft.com/office/drawing/2014/main" id="{386BB26E-AB61-4A63-8659-FB10E038EAAC}"/>
              </a:ext>
            </a:extLst>
          </p:cNvPr>
          <p:cNvSpPr txBox="1"/>
          <p:nvPr/>
        </p:nvSpPr>
        <p:spPr>
          <a:xfrm>
            <a:off x="6294026" y="2951004"/>
            <a:ext cx="1692961" cy="769441"/>
          </a:xfrm>
          <a:prstGeom prst="rect">
            <a:avLst/>
          </a:prstGeom>
          <a:noFill/>
        </p:spPr>
        <p:txBody>
          <a:bodyPr wrap="square" rtlCol="0">
            <a:spAutoFit/>
          </a:bodyPr>
          <a:lstStyle/>
          <a:p>
            <a:r>
              <a:rPr lang="en-US" altLang="zh-CN" sz="1100" dirty="0">
                <a:solidFill>
                  <a:schemeClr val="accent1"/>
                </a:solidFill>
              </a:rPr>
              <a:t>Lorem ipsum dolor sit amet consectetur adipisicing elit sed do eiusmod tempor</a:t>
            </a:r>
            <a:endParaRPr lang="zh-CN" altLang="en-US" sz="1100" dirty="0">
              <a:solidFill>
                <a:schemeClr val="accent1"/>
              </a:solidFill>
            </a:endParaRPr>
          </a:p>
        </p:txBody>
      </p:sp>
      <p:cxnSp>
        <p:nvCxnSpPr>
          <p:cNvPr id="42" name="直接连接符 41">
            <a:extLst>
              <a:ext uri="{FF2B5EF4-FFF2-40B4-BE49-F238E27FC236}">
                <a16:creationId xmlns:a16="http://schemas.microsoft.com/office/drawing/2014/main" id="{EEFBDB7B-6C13-438E-8CAC-E01154A49779}"/>
              </a:ext>
            </a:extLst>
          </p:cNvPr>
          <p:cNvCxnSpPr>
            <a:cxnSpLocks/>
          </p:cNvCxnSpPr>
          <p:nvPr/>
        </p:nvCxnSpPr>
        <p:spPr>
          <a:xfrm>
            <a:off x="9581197" y="2099659"/>
            <a:ext cx="0" cy="2565859"/>
          </a:xfrm>
          <a:prstGeom prst="line">
            <a:avLst/>
          </a:prstGeom>
          <a:ln w="28575">
            <a:gradFill>
              <a:gsLst>
                <a:gs pos="0">
                  <a:schemeClr val="accent1"/>
                </a:gs>
                <a:gs pos="100000">
                  <a:schemeClr val="accent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43" name="椭圆 42">
            <a:extLst>
              <a:ext uri="{FF2B5EF4-FFF2-40B4-BE49-F238E27FC236}">
                <a16:creationId xmlns:a16="http://schemas.microsoft.com/office/drawing/2014/main" id="{0BFBFC8F-0882-4826-A681-BE4EDC6094EB}"/>
              </a:ext>
            </a:extLst>
          </p:cNvPr>
          <p:cNvSpPr/>
          <p:nvPr/>
        </p:nvSpPr>
        <p:spPr>
          <a:xfrm>
            <a:off x="9516903" y="1998850"/>
            <a:ext cx="128588" cy="128588"/>
          </a:xfrm>
          <a:prstGeom prst="ellipse">
            <a:avLst/>
          </a:prstGeom>
          <a:solidFill>
            <a:schemeClr val="accent1"/>
          </a:solidFill>
          <a:ln>
            <a:noFill/>
          </a:ln>
          <a:effectLst>
            <a:outerShdw sx="154000" sy="154000" algn="ctr" rotWithShape="0">
              <a:schemeClr val="accent1">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44" name="文本框 43">
            <a:extLst>
              <a:ext uri="{FF2B5EF4-FFF2-40B4-BE49-F238E27FC236}">
                <a16:creationId xmlns:a16="http://schemas.microsoft.com/office/drawing/2014/main" id="{3CABCD10-E2D1-44A5-9BD0-D0BF62B7FC24}"/>
              </a:ext>
            </a:extLst>
          </p:cNvPr>
          <p:cNvSpPr txBox="1"/>
          <p:nvPr/>
        </p:nvSpPr>
        <p:spPr>
          <a:xfrm>
            <a:off x="9795892" y="1938474"/>
            <a:ext cx="714939" cy="307777"/>
          </a:xfrm>
          <a:prstGeom prst="rect">
            <a:avLst/>
          </a:prstGeom>
          <a:noFill/>
        </p:spPr>
        <p:txBody>
          <a:bodyPr wrap="none" lIns="0" tIns="0" rIns="0" bIns="0" rtlCol="0" anchor="t">
            <a:spAutoFit/>
          </a:bodyPr>
          <a:lstStyle/>
          <a:p>
            <a:r>
              <a:rPr lang="en-US" altLang="zh-CN" sz="2000" dirty="0">
                <a:solidFill>
                  <a:schemeClr val="accent1"/>
                </a:solidFill>
                <a:latin typeface="+mj-ea"/>
                <a:ea typeface="+mj-ea"/>
              </a:rPr>
              <a:t>20XX</a:t>
            </a:r>
            <a:endParaRPr lang="zh-CN" altLang="en-US" sz="2000" dirty="0">
              <a:solidFill>
                <a:schemeClr val="accent1"/>
              </a:solidFill>
              <a:latin typeface="+mj-ea"/>
              <a:ea typeface="+mj-ea"/>
            </a:endParaRPr>
          </a:p>
        </p:txBody>
      </p:sp>
      <p:sp>
        <p:nvSpPr>
          <p:cNvPr id="45" name="文本框 44">
            <a:extLst>
              <a:ext uri="{FF2B5EF4-FFF2-40B4-BE49-F238E27FC236}">
                <a16:creationId xmlns:a16="http://schemas.microsoft.com/office/drawing/2014/main" id="{2A95C1B9-45B9-4C67-A6F1-2B1E39B36A20}"/>
              </a:ext>
            </a:extLst>
          </p:cNvPr>
          <p:cNvSpPr txBox="1"/>
          <p:nvPr/>
        </p:nvSpPr>
        <p:spPr>
          <a:xfrm>
            <a:off x="9714929" y="2213907"/>
            <a:ext cx="1692961" cy="769441"/>
          </a:xfrm>
          <a:prstGeom prst="rect">
            <a:avLst/>
          </a:prstGeom>
          <a:noFill/>
        </p:spPr>
        <p:txBody>
          <a:bodyPr wrap="square" rtlCol="0">
            <a:spAutoFit/>
          </a:bodyPr>
          <a:lstStyle/>
          <a:p>
            <a:r>
              <a:rPr lang="en-US" altLang="zh-CN" sz="1100" dirty="0">
                <a:solidFill>
                  <a:schemeClr val="accent1"/>
                </a:solidFill>
              </a:rPr>
              <a:t>Lorem ipsum dolor sit amet consectetur adipisicing elit sed do eiusmod tempor</a:t>
            </a:r>
            <a:endParaRPr lang="zh-CN" altLang="en-US" sz="1100" dirty="0">
              <a:solidFill>
                <a:schemeClr val="accent1"/>
              </a:solidFill>
            </a:endParaRPr>
          </a:p>
        </p:txBody>
      </p:sp>
    </p:spTree>
    <p:custDataLst>
      <p:tags r:id="rId2"/>
    </p:custDataLst>
    <p:extLst>
      <p:ext uri="{BB962C8B-B14F-4D97-AF65-F5344CB8AC3E}">
        <p14:creationId xmlns:p14="http://schemas.microsoft.com/office/powerpoint/2010/main" val="3449084199"/>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椭圆 1">
            <a:extLst>
              <a:ext uri="{FF2B5EF4-FFF2-40B4-BE49-F238E27FC236}">
                <a16:creationId xmlns:a16="http://schemas.microsoft.com/office/drawing/2014/main" id="{913D2B6F-419B-4037-BCF4-6DA47CFDD1D4}"/>
              </a:ext>
            </a:extLst>
          </p:cNvPr>
          <p:cNvSpPr/>
          <p:nvPr/>
        </p:nvSpPr>
        <p:spPr>
          <a:xfrm>
            <a:off x="1955800" y="-711200"/>
            <a:ext cx="8280400" cy="8280400"/>
          </a:xfrm>
          <a:prstGeom prst="ellipse">
            <a:avLst/>
          </a:prstGeom>
          <a:solidFill>
            <a:schemeClr val="accent1"/>
          </a:solidFill>
          <a:ln>
            <a:noFill/>
          </a:ln>
          <a:effectLst>
            <a:outerShdw sx="104000" sy="104000" algn="ctr" rotWithShape="0">
              <a:schemeClr val="accent1">
                <a:lumMod val="100000"/>
                <a:alpha val="1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p>
        </p:txBody>
      </p:sp>
      <p:grpSp>
        <p:nvGrpSpPr>
          <p:cNvPr id="5" name="组合 4">
            <a:extLst>
              <a:ext uri="{FF2B5EF4-FFF2-40B4-BE49-F238E27FC236}">
                <a16:creationId xmlns:a16="http://schemas.microsoft.com/office/drawing/2014/main" id="{6B6A3566-548E-4FC4-A024-02D1E90CEB48}"/>
              </a:ext>
            </a:extLst>
          </p:cNvPr>
          <p:cNvGrpSpPr/>
          <p:nvPr/>
        </p:nvGrpSpPr>
        <p:grpSpPr>
          <a:xfrm>
            <a:off x="2898869" y="2529444"/>
            <a:ext cx="6413437" cy="1736685"/>
            <a:chOff x="2029968" y="2290144"/>
            <a:chExt cx="8156448" cy="2208674"/>
          </a:xfrm>
        </p:grpSpPr>
        <p:sp>
          <p:nvSpPr>
            <p:cNvPr id="11" name="文本框 10">
              <a:extLst>
                <a:ext uri="{FF2B5EF4-FFF2-40B4-BE49-F238E27FC236}">
                  <a16:creationId xmlns:a16="http://schemas.microsoft.com/office/drawing/2014/main" id="{E4393356-E9A7-46D9-B5F5-0D21EC991A29}"/>
                </a:ext>
              </a:extLst>
            </p:cNvPr>
            <p:cNvSpPr txBox="1"/>
            <p:nvPr/>
          </p:nvSpPr>
          <p:spPr>
            <a:xfrm>
              <a:off x="2132847" y="2828068"/>
              <a:ext cx="7926305" cy="1056842"/>
            </a:xfrm>
            <a:prstGeom prst="rect">
              <a:avLst/>
            </a:prstGeom>
            <a:noFill/>
          </p:spPr>
          <p:txBody>
            <a:bodyPr wrap="none" lIns="0" tIns="0" rIns="0" bIns="0" rtlCol="0" anchor="t">
              <a:spAutoFit/>
            </a:bodyPr>
            <a:lstStyle/>
            <a:p>
              <a:pPr algn="ctr"/>
              <a:r>
                <a:rPr lang="zh-CN" altLang="en-US" sz="5400" dirty="0">
                  <a:solidFill>
                    <a:schemeClr val="bg1"/>
                  </a:solidFill>
                  <a:latin typeface="+mj-ea"/>
                  <a:ea typeface="+mj-ea"/>
                </a:rPr>
                <a:t>输入你的封面大标题</a:t>
              </a:r>
            </a:p>
          </p:txBody>
        </p:sp>
        <p:sp>
          <p:nvSpPr>
            <p:cNvPr id="12" name="文本框 11">
              <a:extLst>
                <a:ext uri="{FF2B5EF4-FFF2-40B4-BE49-F238E27FC236}">
                  <a16:creationId xmlns:a16="http://schemas.microsoft.com/office/drawing/2014/main" id="{08D1ED60-C0E7-408E-A5AA-59B489440FCB}"/>
                </a:ext>
              </a:extLst>
            </p:cNvPr>
            <p:cNvSpPr txBox="1"/>
            <p:nvPr/>
          </p:nvSpPr>
          <p:spPr>
            <a:xfrm>
              <a:off x="4187814" y="2290144"/>
              <a:ext cx="3816369" cy="352281"/>
            </a:xfrm>
            <a:prstGeom prst="rect">
              <a:avLst/>
            </a:prstGeom>
            <a:noFill/>
          </p:spPr>
          <p:txBody>
            <a:bodyPr wrap="none" lIns="0" tIns="0" rIns="0" bIns="0" rtlCol="0" anchor="t">
              <a:spAutoFit/>
            </a:bodyPr>
            <a:lstStyle/>
            <a:p>
              <a:pPr algn="ctr"/>
              <a:r>
                <a:rPr lang="zh-CN" altLang="en-US" dirty="0">
                  <a:solidFill>
                    <a:schemeClr val="bg1"/>
                  </a:solidFill>
                  <a:latin typeface="+mn-ea"/>
                </a:rPr>
                <a:t>输入你的副标题或大标题英文</a:t>
              </a:r>
            </a:p>
          </p:txBody>
        </p:sp>
        <p:cxnSp>
          <p:nvCxnSpPr>
            <p:cNvPr id="14" name="直接连接符 13">
              <a:extLst>
                <a:ext uri="{FF2B5EF4-FFF2-40B4-BE49-F238E27FC236}">
                  <a16:creationId xmlns:a16="http://schemas.microsoft.com/office/drawing/2014/main" id="{99FDF5DC-EAFA-4C3B-B052-660243EB047F}"/>
                </a:ext>
              </a:extLst>
            </p:cNvPr>
            <p:cNvCxnSpPr/>
            <p:nvPr/>
          </p:nvCxnSpPr>
          <p:spPr>
            <a:xfrm flipH="1">
              <a:off x="2029968" y="2480596"/>
              <a:ext cx="1901952"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 name="直接连接符 14">
              <a:extLst>
                <a:ext uri="{FF2B5EF4-FFF2-40B4-BE49-F238E27FC236}">
                  <a16:creationId xmlns:a16="http://schemas.microsoft.com/office/drawing/2014/main" id="{C6CC629A-E754-4728-BB95-563C56597B63}"/>
                </a:ext>
              </a:extLst>
            </p:cNvPr>
            <p:cNvCxnSpPr/>
            <p:nvPr/>
          </p:nvCxnSpPr>
          <p:spPr>
            <a:xfrm flipH="1">
              <a:off x="8284464" y="2480596"/>
              <a:ext cx="1901952"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grpSp>
          <p:nvGrpSpPr>
            <p:cNvPr id="18" name="组合 17">
              <a:extLst>
                <a:ext uri="{FF2B5EF4-FFF2-40B4-BE49-F238E27FC236}">
                  <a16:creationId xmlns:a16="http://schemas.microsoft.com/office/drawing/2014/main" id="{FC799265-AC15-410F-82A2-679AB60B288F}"/>
                </a:ext>
              </a:extLst>
            </p:cNvPr>
            <p:cNvGrpSpPr/>
            <p:nvPr/>
          </p:nvGrpSpPr>
          <p:grpSpPr>
            <a:xfrm>
              <a:off x="4331702" y="4283535"/>
              <a:ext cx="1330327" cy="215283"/>
              <a:chOff x="4095451" y="4640913"/>
              <a:chExt cx="1330327" cy="215283"/>
            </a:xfrm>
          </p:grpSpPr>
          <p:sp>
            <p:nvSpPr>
              <p:cNvPr id="16" name="矩形 15">
                <a:extLst>
                  <a:ext uri="{FF2B5EF4-FFF2-40B4-BE49-F238E27FC236}">
                    <a16:creationId xmlns:a16="http://schemas.microsoft.com/office/drawing/2014/main" id="{74C493E7-1B47-4349-BC5B-BF3163490795}"/>
                  </a:ext>
                </a:extLst>
              </p:cNvPr>
              <p:cNvSpPr/>
              <p:nvPr/>
            </p:nvSpPr>
            <p:spPr>
              <a:xfrm>
                <a:off x="4095451" y="4672584"/>
                <a:ext cx="164592" cy="1645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4400" dirty="0">
                  <a:solidFill>
                    <a:schemeClr val="bg1"/>
                  </a:solidFill>
                </a:endParaRPr>
              </a:p>
            </p:txBody>
          </p:sp>
          <p:sp>
            <p:nvSpPr>
              <p:cNvPr id="17" name="文本框 16">
                <a:extLst>
                  <a:ext uri="{FF2B5EF4-FFF2-40B4-BE49-F238E27FC236}">
                    <a16:creationId xmlns:a16="http://schemas.microsoft.com/office/drawing/2014/main" id="{B804F6AA-7656-4EF8-84F0-3B3FB5CF0922}"/>
                  </a:ext>
                </a:extLst>
              </p:cNvPr>
              <p:cNvSpPr txBox="1"/>
              <p:nvPr/>
            </p:nvSpPr>
            <p:spPr>
              <a:xfrm>
                <a:off x="4408487" y="4640913"/>
                <a:ext cx="1017291" cy="215283"/>
              </a:xfrm>
              <a:prstGeom prst="rect">
                <a:avLst/>
              </a:prstGeom>
              <a:noFill/>
            </p:spPr>
            <p:txBody>
              <a:bodyPr wrap="none" lIns="0" tIns="0" rIns="0" bIns="0" rtlCol="0" anchor="t">
                <a:spAutoFit/>
              </a:bodyPr>
              <a:lstStyle/>
              <a:p>
                <a:r>
                  <a:rPr lang="zh-CN" altLang="en-US" sz="1100" dirty="0">
                    <a:solidFill>
                      <a:schemeClr val="bg1"/>
                    </a:solidFill>
                    <a:latin typeface="+mn-ea"/>
                  </a:rPr>
                  <a:t>汇报人：</a:t>
                </a:r>
                <a:r>
                  <a:rPr lang="en-US" altLang="zh-CN" sz="1100" dirty="0">
                    <a:solidFill>
                      <a:schemeClr val="bg1"/>
                    </a:solidFill>
                    <a:latin typeface="+mn-ea"/>
                  </a:rPr>
                  <a:t>xxx</a:t>
                </a:r>
                <a:endParaRPr lang="zh-CN" altLang="en-US" sz="1100" dirty="0">
                  <a:solidFill>
                    <a:schemeClr val="bg1"/>
                  </a:solidFill>
                  <a:latin typeface="+mn-ea"/>
                </a:endParaRPr>
              </a:p>
            </p:txBody>
          </p:sp>
        </p:grpSp>
        <p:grpSp>
          <p:nvGrpSpPr>
            <p:cNvPr id="19" name="组合 18">
              <a:extLst>
                <a:ext uri="{FF2B5EF4-FFF2-40B4-BE49-F238E27FC236}">
                  <a16:creationId xmlns:a16="http://schemas.microsoft.com/office/drawing/2014/main" id="{482B1619-178E-45D1-BC39-C5F4314075B6}"/>
                </a:ext>
              </a:extLst>
            </p:cNvPr>
            <p:cNvGrpSpPr/>
            <p:nvPr/>
          </p:nvGrpSpPr>
          <p:grpSpPr>
            <a:xfrm>
              <a:off x="6590270" y="4283535"/>
              <a:ext cx="1150926" cy="215283"/>
              <a:chOff x="4095451" y="4640913"/>
              <a:chExt cx="1150926" cy="215283"/>
            </a:xfrm>
          </p:grpSpPr>
          <p:sp>
            <p:nvSpPr>
              <p:cNvPr id="20" name="矩形 19">
                <a:extLst>
                  <a:ext uri="{FF2B5EF4-FFF2-40B4-BE49-F238E27FC236}">
                    <a16:creationId xmlns:a16="http://schemas.microsoft.com/office/drawing/2014/main" id="{3A1AE345-38CE-49BE-9E58-2C20078777A3}"/>
                  </a:ext>
                </a:extLst>
              </p:cNvPr>
              <p:cNvSpPr/>
              <p:nvPr/>
            </p:nvSpPr>
            <p:spPr>
              <a:xfrm>
                <a:off x="4095451" y="4672584"/>
                <a:ext cx="164592" cy="1645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4400" dirty="0">
                  <a:solidFill>
                    <a:schemeClr val="bg1"/>
                  </a:solidFill>
                </a:endParaRPr>
              </a:p>
            </p:txBody>
          </p:sp>
          <p:sp>
            <p:nvSpPr>
              <p:cNvPr id="21" name="文本框 20">
                <a:extLst>
                  <a:ext uri="{FF2B5EF4-FFF2-40B4-BE49-F238E27FC236}">
                    <a16:creationId xmlns:a16="http://schemas.microsoft.com/office/drawing/2014/main" id="{FCC3031D-C171-43E7-B549-82FC96054817}"/>
                  </a:ext>
                </a:extLst>
              </p:cNvPr>
              <p:cNvSpPr txBox="1"/>
              <p:nvPr/>
            </p:nvSpPr>
            <p:spPr>
              <a:xfrm>
                <a:off x="4408487" y="4640913"/>
                <a:ext cx="837890" cy="215283"/>
              </a:xfrm>
              <a:prstGeom prst="rect">
                <a:avLst/>
              </a:prstGeom>
              <a:noFill/>
            </p:spPr>
            <p:txBody>
              <a:bodyPr wrap="none" lIns="0" tIns="0" rIns="0" bIns="0" rtlCol="0" anchor="t">
                <a:spAutoFit/>
              </a:bodyPr>
              <a:lstStyle/>
              <a:p>
                <a:r>
                  <a:rPr lang="zh-CN" altLang="en-US" sz="1100" dirty="0">
                    <a:solidFill>
                      <a:schemeClr val="bg1"/>
                    </a:solidFill>
                    <a:latin typeface="+mn-ea"/>
                  </a:rPr>
                  <a:t>单位：</a:t>
                </a:r>
                <a:r>
                  <a:rPr lang="en-US" altLang="zh-CN" sz="1100" dirty="0">
                    <a:solidFill>
                      <a:schemeClr val="bg1"/>
                    </a:solidFill>
                    <a:latin typeface="+mn-ea"/>
                  </a:rPr>
                  <a:t>xxx</a:t>
                </a:r>
                <a:endParaRPr lang="zh-CN" altLang="en-US" sz="1100" dirty="0">
                  <a:solidFill>
                    <a:schemeClr val="bg1"/>
                  </a:solidFill>
                  <a:latin typeface="+mn-ea"/>
                </a:endParaRPr>
              </a:p>
            </p:txBody>
          </p:sp>
        </p:grpSp>
        <p:cxnSp>
          <p:nvCxnSpPr>
            <p:cNvPr id="23" name="直接连接符 22">
              <a:extLst>
                <a:ext uri="{FF2B5EF4-FFF2-40B4-BE49-F238E27FC236}">
                  <a16:creationId xmlns:a16="http://schemas.microsoft.com/office/drawing/2014/main" id="{CE4614EF-B88F-4347-B526-58ECE7F96194}"/>
                </a:ext>
              </a:extLst>
            </p:cNvPr>
            <p:cNvCxnSpPr>
              <a:cxnSpLocks/>
            </p:cNvCxnSpPr>
            <p:nvPr/>
          </p:nvCxnSpPr>
          <p:spPr>
            <a:xfrm flipH="1">
              <a:off x="2029968" y="4004596"/>
              <a:ext cx="8156448"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4" name="圆: 空心 3">
            <a:extLst>
              <a:ext uri="{FF2B5EF4-FFF2-40B4-BE49-F238E27FC236}">
                <a16:creationId xmlns:a16="http://schemas.microsoft.com/office/drawing/2014/main" id="{23102AFD-D180-4A68-B936-A51A851F920D}"/>
              </a:ext>
            </a:extLst>
          </p:cNvPr>
          <p:cNvSpPr/>
          <p:nvPr/>
        </p:nvSpPr>
        <p:spPr>
          <a:xfrm>
            <a:off x="323850" y="-2343150"/>
            <a:ext cx="11544300" cy="11544300"/>
          </a:xfrm>
          <a:prstGeom prst="donut">
            <a:avLst>
              <a:gd name="adj" fmla="val 3202"/>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solidFill>
                <a:schemeClr val="tx1"/>
              </a:solidFill>
            </a:endParaRPr>
          </a:p>
        </p:txBody>
      </p:sp>
      <p:sp>
        <p:nvSpPr>
          <p:cNvPr id="6" name="弧形 5">
            <a:extLst>
              <a:ext uri="{FF2B5EF4-FFF2-40B4-BE49-F238E27FC236}">
                <a16:creationId xmlns:a16="http://schemas.microsoft.com/office/drawing/2014/main" id="{FCC4C734-FD46-4CF6-8353-82491A07064D}"/>
              </a:ext>
            </a:extLst>
          </p:cNvPr>
          <p:cNvSpPr/>
          <p:nvPr/>
        </p:nvSpPr>
        <p:spPr>
          <a:xfrm>
            <a:off x="1358900" y="-1308100"/>
            <a:ext cx="9474200" cy="9474200"/>
          </a:xfrm>
          <a:prstGeom prst="arc">
            <a:avLst>
              <a:gd name="adj1" fmla="val 17066508"/>
              <a:gd name="adj2" fmla="val 2017751"/>
            </a:avLst>
          </a:prstGeom>
          <a:ln w="381000" cap="rnd">
            <a:gradFill>
              <a:gsLst>
                <a:gs pos="0">
                  <a:schemeClr val="bg1">
                    <a:lumMod val="50000"/>
                    <a:alpha val="0"/>
                  </a:schemeClr>
                </a:gs>
                <a:gs pos="100000">
                  <a:schemeClr val="bg1">
                    <a:lumMod val="50000"/>
                    <a:alpha val="16000"/>
                  </a:schemeClr>
                </a:gs>
              </a:gsLst>
              <a:lin ang="5400000" scaled="1"/>
            </a:gra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sp>
        <p:nvSpPr>
          <p:cNvPr id="24" name="弧形 23">
            <a:extLst>
              <a:ext uri="{FF2B5EF4-FFF2-40B4-BE49-F238E27FC236}">
                <a16:creationId xmlns:a16="http://schemas.microsoft.com/office/drawing/2014/main" id="{E0785D7D-5ADD-480C-9DA8-E8C75E92D64E}"/>
              </a:ext>
            </a:extLst>
          </p:cNvPr>
          <p:cNvSpPr/>
          <p:nvPr/>
        </p:nvSpPr>
        <p:spPr>
          <a:xfrm flipH="1" flipV="1">
            <a:off x="1358900" y="-1308100"/>
            <a:ext cx="9474200" cy="9474200"/>
          </a:xfrm>
          <a:prstGeom prst="arc">
            <a:avLst>
              <a:gd name="adj1" fmla="val 17066508"/>
              <a:gd name="adj2" fmla="val 1805314"/>
            </a:avLst>
          </a:prstGeom>
          <a:ln w="381000" cap="rnd">
            <a:gradFill>
              <a:gsLst>
                <a:gs pos="0">
                  <a:schemeClr val="bg1">
                    <a:lumMod val="50000"/>
                    <a:alpha val="0"/>
                  </a:schemeClr>
                </a:gs>
                <a:gs pos="100000">
                  <a:schemeClr val="bg1">
                    <a:lumMod val="50000"/>
                    <a:alpha val="16000"/>
                  </a:schemeClr>
                </a:gs>
              </a:gsLst>
              <a:lin ang="5400000" scaled="1"/>
            </a:gra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spTree>
    <p:extLst>
      <p:ext uri="{BB962C8B-B14F-4D97-AF65-F5344CB8AC3E}">
        <p14:creationId xmlns:p14="http://schemas.microsoft.com/office/powerpoint/2010/main" val="2587697216"/>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3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图片 5" descr="图片包含 黑暗, 游戏机, 笔记本, 猫&#10;&#10;描述已自动生成">
            <a:extLst>
              <a:ext uri="{FF2B5EF4-FFF2-40B4-BE49-F238E27FC236}">
                <a16:creationId xmlns:a16="http://schemas.microsoft.com/office/drawing/2014/main" id="{595BDDB6-DF87-44AB-B2C7-41BAA388CE7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04739" y="3194636"/>
            <a:ext cx="11040067" cy="2880636"/>
          </a:xfrm>
          <a:prstGeom prst="rect">
            <a:avLst/>
          </a:prstGeom>
        </p:spPr>
      </p:pic>
      <p:sp>
        <p:nvSpPr>
          <p:cNvPr id="8" name="文本框 7">
            <a:extLst>
              <a:ext uri="{FF2B5EF4-FFF2-40B4-BE49-F238E27FC236}">
                <a16:creationId xmlns:a16="http://schemas.microsoft.com/office/drawing/2014/main" id="{3E36BDB1-EB40-437E-9D30-ACE138B60D38}"/>
              </a:ext>
            </a:extLst>
          </p:cNvPr>
          <p:cNvSpPr txBox="1"/>
          <p:nvPr/>
        </p:nvSpPr>
        <p:spPr>
          <a:xfrm flipH="1">
            <a:off x="7721600" y="6489700"/>
            <a:ext cx="4470400" cy="276999"/>
          </a:xfrm>
          <a:prstGeom prst="rect">
            <a:avLst/>
          </a:prstGeom>
          <a:noFill/>
        </p:spPr>
        <p:txBody>
          <a:bodyPr wrap="square" lIns="0" tIns="0" rIns="0" bIns="0" rtlCol="0" anchor="t">
            <a:spAutoFit/>
          </a:bodyPr>
          <a:lstStyle/>
          <a:p>
            <a:pPr algn="l"/>
            <a:r>
              <a:rPr lang="zh-CN" altLang="en-US" dirty="0"/>
              <a:t>此素材是图片，需复制后在</a:t>
            </a:r>
            <a:r>
              <a:rPr lang="en-US" altLang="zh-CN" dirty="0"/>
              <a:t>ps</a:t>
            </a:r>
            <a:r>
              <a:rPr lang="zh-CN" altLang="en-US" dirty="0"/>
              <a:t>里面改颜色</a:t>
            </a:r>
          </a:p>
        </p:txBody>
      </p:sp>
      <p:cxnSp>
        <p:nvCxnSpPr>
          <p:cNvPr id="25" name="直接连接符 24">
            <a:extLst>
              <a:ext uri="{FF2B5EF4-FFF2-40B4-BE49-F238E27FC236}">
                <a16:creationId xmlns:a16="http://schemas.microsoft.com/office/drawing/2014/main" id="{726647D6-44D7-45EC-92B1-8B43573B39E0}"/>
              </a:ext>
            </a:extLst>
          </p:cNvPr>
          <p:cNvCxnSpPr>
            <a:cxnSpLocks/>
          </p:cNvCxnSpPr>
          <p:nvPr/>
        </p:nvCxnSpPr>
        <p:spPr>
          <a:xfrm>
            <a:off x="1072242" y="2941393"/>
            <a:ext cx="0" cy="1943664"/>
          </a:xfrm>
          <a:prstGeom prst="line">
            <a:avLst/>
          </a:prstGeom>
          <a:ln w="28575">
            <a:gradFill>
              <a:gsLst>
                <a:gs pos="0">
                  <a:schemeClr val="accent1"/>
                </a:gs>
                <a:gs pos="100000">
                  <a:schemeClr val="accent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26" name="椭圆 25">
            <a:extLst>
              <a:ext uri="{FF2B5EF4-FFF2-40B4-BE49-F238E27FC236}">
                <a16:creationId xmlns:a16="http://schemas.microsoft.com/office/drawing/2014/main" id="{E8656E3F-A703-43BC-BE6C-A02749F04860}"/>
              </a:ext>
            </a:extLst>
          </p:cNvPr>
          <p:cNvSpPr/>
          <p:nvPr/>
        </p:nvSpPr>
        <p:spPr>
          <a:xfrm>
            <a:off x="1007948" y="2840584"/>
            <a:ext cx="128588" cy="128588"/>
          </a:xfrm>
          <a:prstGeom prst="ellipse">
            <a:avLst/>
          </a:prstGeom>
          <a:solidFill>
            <a:schemeClr val="accent1"/>
          </a:solidFill>
          <a:ln>
            <a:noFill/>
          </a:ln>
          <a:effectLst>
            <a:outerShdw sx="154000" sy="154000" algn="ctr" rotWithShape="0">
              <a:schemeClr val="accent1">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30" name="文本框 29">
            <a:extLst>
              <a:ext uri="{FF2B5EF4-FFF2-40B4-BE49-F238E27FC236}">
                <a16:creationId xmlns:a16="http://schemas.microsoft.com/office/drawing/2014/main" id="{EA543C32-3FB7-4660-98B0-0F23C84E19C6}"/>
              </a:ext>
            </a:extLst>
          </p:cNvPr>
          <p:cNvSpPr txBox="1"/>
          <p:nvPr/>
        </p:nvSpPr>
        <p:spPr>
          <a:xfrm>
            <a:off x="1286937" y="2780208"/>
            <a:ext cx="714939" cy="307777"/>
          </a:xfrm>
          <a:prstGeom prst="rect">
            <a:avLst/>
          </a:prstGeom>
          <a:noFill/>
        </p:spPr>
        <p:txBody>
          <a:bodyPr wrap="none" lIns="0" tIns="0" rIns="0" bIns="0" rtlCol="0" anchor="t">
            <a:spAutoFit/>
          </a:bodyPr>
          <a:lstStyle/>
          <a:p>
            <a:r>
              <a:rPr lang="en-US" altLang="zh-CN" sz="2000" dirty="0">
                <a:solidFill>
                  <a:schemeClr val="accent1"/>
                </a:solidFill>
                <a:latin typeface="+mj-ea"/>
                <a:ea typeface="+mj-ea"/>
              </a:rPr>
              <a:t>20XX</a:t>
            </a:r>
            <a:endParaRPr lang="zh-CN" altLang="en-US" sz="2000" dirty="0">
              <a:solidFill>
                <a:schemeClr val="accent1"/>
              </a:solidFill>
              <a:latin typeface="+mj-ea"/>
              <a:ea typeface="+mj-ea"/>
            </a:endParaRPr>
          </a:p>
        </p:txBody>
      </p:sp>
      <p:sp>
        <p:nvSpPr>
          <p:cNvPr id="31" name="文本框 30">
            <a:extLst>
              <a:ext uri="{FF2B5EF4-FFF2-40B4-BE49-F238E27FC236}">
                <a16:creationId xmlns:a16="http://schemas.microsoft.com/office/drawing/2014/main" id="{D9F12994-9242-4E81-899F-4E2702FD603F}"/>
              </a:ext>
            </a:extLst>
          </p:cNvPr>
          <p:cNvSpPr txBox="1"/>
          <p:nvPr/>
        </p:nvSpPr>
        <p:spPr>
          <a:xfrm>
            <a:off x="1205974" y="3055641"/>
            <a:ext cx="1692961" cy="769441"/>
          </a:xfrm>
          <a:prstGeom prst="rect">
            <a:avLst/>
          </a:prstGeom>
          <a:noFill/>
        </p:spPr>
        <p:txBody>
          <a:bodyPr wrap="square" rtlCol="0">
            <a:spAutoFit/>
          </a:bodyPr>
          <a:lstStyle/>
          <a:p>
            <a:r>
              <a:rPr lang="en-US" altLang="zh-CN" sz="1100" dirty="0">
                <a:solidFill>
                  <a:schemeClr val="accent1"/>
                </a:solidFill>
              </a:rPr>
              <a:t>Lorem ipsum dolor sit amet consectetur adipisicing elit sed do eiusmod tempor</a:t>
            </a:r>
            <a:endParaRPr lang="zh-CN" altLang="en-US" sz="1100" dirty="0">
              <a:solidFill>
                <a:schemeClr val="accent1"/>
              </a:solidFill>
            </a:endParaRPr>
          </a:p>
        </p:txBody>
      </p:sp>
      <p:grpSp>
        <p:nvGrpSpPr>
          <p:cNvPr id="38" name="组合 37">
            <a:extLst>
              <a:ext uri="{FF2B5EF4-FFF2-40B4-BE49-F238E27FC236}">
                <a16:creationId xmlns:a16="http://schemas.microsoft.com/office/drawing/2014/main" id="{1747C545-ECBD-4AFF-BD65-E66485284CD3}"/>
              </a:ext>
            </a:extLst>
          </p:cNvPr>
          <p:cNvGrpSpPr/>
          <p:nvPr/>
        </p:nvGrpSpPr>
        <p:grpSpPr>
          <a:xfrm>
            <a:off x="3663992" y="2142211"/>
            <a:ext cx="1890987" cy="2104849"/>
            <a:chOff x="912698" y="2121187"/>
            <a:chExt cx="1890987" cy="2104849"/>
          </a:xfrm>
        </p:grpSpPr>
        <p:cxnSp>
          <p:nvCxnSpPr>
            <p:cNvPr id="39" name="直接连接符 38">
              <a:extLst>
                <a:ext uri="{FF2B5EF4-FFF2-40B4-BE49-F238E27FC236}">
                  <a16:creationId xmlns:a16="http://schemas.microsoft.com/office/drawing/2014/main" id="{764356B0-2D60-4B7B-A1C9-F20EA288DEA9}"/>
                </a:ext>
              </a:extLst>
            </p:cNvPr>
            <p:cNvCxnSpPr>
              <a:cxnSpLocks/>
            </p:cNvCxnSpPr>
            <p:nvPr/>
          </p:nvCxnSpPr>
          <p:spPr>
            <a:xfrm>
              <a:off x="976992" y="2282372"/>
              <a:ext cx="0" cy="1943664"/>
            </a:xfrm>
            <a:prstGeom prst="line">
              <a:avLst/>
            </a:prstGeom>
            <a:ln w="28575">
              <a:gradFill>
                <a:gsLst>
                  <a:gs pos="0">
                    <a:schemeClr val="accent1"/>
                  </a:gs>
                  <a:gs pos="100000">
                    <a:schemeClr val="accent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46" name="椭圆 45">
              <a:extLst>
                <a:ext uri="{FF2B5EF4-FFF2-40B4-BE49-F238E27FC236}">
                  <a16:creationId xmlns:a16="http://schemas.microsoft.com/office/drawing/2014/main" id="{FCF3AB66-E765-4FE2-B51F-31B1BD406431}"/>
                </a:ext>
              </a:extLst>
            </p:cNvPr>
            <p:cNvSpPr/>
            <p:nvPr/>
          </p:nvSpPr>
          <p:spPr>
            <a:xfrm>
              <a:off x="912698" y="2181563"/>
              <a:ext cx="128588" cy="128588"/>
            </a:xfrm>
            <a:prstGeom prst="ellipse">
              <a:avLst/>
            </a:prstGeom>
            <a:solidFill>
              <a:schemeClr val="accent1"/>
            </a:solidFill>
            <a:ln>
              <a:noFill/>
            </a:ln>
            <a:effectLst>
              <a:outerShdw sx="154000" sy="154000" algn="ctr" rotWithShape="0">
                <a:schemeClr val="accent1">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47" name="文本框 46">
              <a:extLst>
                <a:ext uri="{FF2B5EF4-FFF2-40B4-BE49-F238E27FC236}">
                  <a16:creationId xmlns:a16="http://schemas.microsoft.com/office/drawing/2014/main" id="{1A7DA250-527C-441A-9C43-C140B620A62E}"/>
                </a:ext>
              </a:extLst>
            </p:cNvPr>
            <p:cNvSpPr txBox="1"/>
            <p:nvPr/>
          </p:nvSpPr>
          <p:spPr>
            <a:xfrm>
              <a:off x="1191687" y="2121187"/>
              <a:ext cx="714939" cy="307777"/>
            </a:xfrm>
            <a:prstGeom prst="rect">
              <a:avLst/>
            </a:prstGeom>
            <a:noFill/>
          </p:spPr>
          <p:txBody>
            <a:bodyPr wrap="none" lIns="0" tIns="0" rIns="0" bIns="0" rtlCol="0" anchor="t">
              <a:spAutoFit/>
            </a:bodyPr>
            <a:lstStyle/>
            <a:p>
              <a:r>
                <a:rPr lang="en-US" altLang="zh-CN" sz="2000" dirty="0">
                  <a:solidFill>
                    <a:schemeClr val="accent1"/>
                  </a:solidFill>
                  <a:latin typeface="+mj-ea"/>
                  <a:ea typeface="+mj-ea"/>
                </a:rPr>
                <a:t>20XX</a:t>
              </a:r>
              <a:endParaRPr lang="zh-CN" altLang="en-US" sz="2000" dirty="0">
                <a:solidFill>
                  <a:schemeClr val="accent1"/>
                </a:solidFill>
                <a:latin typeface="+mj-ea"/>
                <a:ea typeface="+mj-ea"/>
              </a:endParaRPr>
            </a:p>
          </p:txBody>
        </p:sp>
        <p:sp>
          <p:nvSpPr>
            <p:cNvPr id="48" name="文本框 47">
              <a:extLst>
                <a:ext uri="{FF2B5EF4-FFF2-40B4-BE49-F238E27FC236}">
                  <a16:creationId xmlns:a16="http://schemas.microsoft.com/office/drawing/2014/main" id="{3F09C457-A54A-4F3A-B649-5DB690B909A3}"/>
                </a:ext>
              </a:extLst>
            </p:cNvPr>
            <p:cNvSpPr txBox="1"/>
            <p:nvPr/>
          </p:nvSpPr>
          <p:spPr>
            <a:xfrm>
              <a:off x="1110724" y="2396620"/>
              <a:ext cx="1692961" cy="769441"/>
            </a:xfrm>
            <a:prstGeom prst="rect">
              <a:avLst/>
            </a:prstGeom>
            <a:noFill/>
          </p:spPr>
          <p:txBody>
            <a:bodyPr wrap="square" rtlCol="0">
              <a:spAutoFit/>
            </a:bodyPr>
            <a:lstStyle/>
            <a:p>
              <a:r>
                <a:rPr lang="en-US" altLang="zh-CN" sz="1100" dirty="0">
                  <a:solidFill>
                    <a:schemeClr val="accent1"/>
                  </a:solidFill>
                </a:rPr>
                <a:t>Lorem ipsum dolor sit amet consectetur adipisicing elit sed do eiusmod tempor</a:t>
              </a:r>
              <a:endParaRPr lang="zh-CN" altLang="en-US" sz="1100" dirty="0">
                <a:solidFill>
                  <a:schemeClr val="accent1"/>
                </a:solidFill>
              </a:endParaRPr>
            </a:p>
          </p:txBody>
        </p:sp>
      </p:grpSp>
      <p:grpSp>
        <p:nvGrpSpPr>
          <p:cNvPr id="49" name="组合 48">
            <a:extLst>
              <a:ext uri="{FF2B5EF4-FFF2-40B4-BE49-F238E27FC236}">
                <a16:creationId xmlns:a16="http://schemas.microsoft.com/office/drawing/2014/main" id="{65C3DD76-08C4-4513-89E6-9C93044FA770}"/>
              </a:ext>
            </a:extLst>
          </p:cNvPr>
          <p:cNvGrpSpPr/>
          <p:nvPr/>
        </p:nvGrpSpPr>
        <p:grpSpPr>
          <a:xfrm>
            <a:off x="6320036" y="2704186"/>
            <a:ext cx="1890987" cy="2104849"/>
            <a:chOff x="912698" y="2121187"/>
            <a:chExt cx="1890987" cy="2104849"/>
          </a:xfrm>
        </p:grpSpPr>
        <p:cxnSp>
          <p:nvCxnSpPr>
            <p:cNvPr id="50" name="直接连接符 49">
              <a:extLst>
                <a:ext uri="{FF2B5EF4-FFF2-40B4-BE49-F238E27FC236}">
                  <a16:creationId xmlns:a16="http://schemas.microsoft.com/office/drawing/2014/main" id="{A66F35B9-DF06-406D-818D-AD59C0F6AC7F}"/>
                </a:ext>
              </a:extLst>
            </p:cNvPr>
            <p:cNvCxnSpPr>
              <a:cxnSpLocks/>
            </p:cNvCxnSpPr>
            <p:nvPr/>
          </p:nvCxnSpPr>
          <p:spPr>
            <a:xfrm>
              <a:off x="976992" y="2282372"/>
              <a:ext cx="0" cy="1943664"/>
            </a:xfrm>
            <a:prstGeom prst="line">
              <a:avLst/>
            </a:prstGeom>
            <a:ln w="28575">
              <a:gradFill>
                <a:gsLst>
                  <a:gs pos="0">
                    <a:schemeClr val="accent1"/>
                  </a:gs>
                  <a:gs pos="100000">
                    <a:schemeClr val="accent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51" name="椭圆 50">
              <a:extLst>
                <a:ext uri="{FF2B5EF4-FFF2-40B4-BE49-F238E27FC236}">
                  <a16:creationId xmlns:a16="http://schemas.microsoft.com/office/drawing/2014/main" id="{8F6E2B8A-13C4-41F9-8997-F9C54F1F616A}"/>
                </a:ext>
              </a:extLst>
            </p:cNvPr>
            <p:cNvSpPr/>
            <p:nvPr/>
          </p:nvSpPr>
          <p:spPr>
            <a:xfrm>
              <a:off x="912698" y="2181563"/>
              <a:ext cx="128588" cy="128588"/>
            </a:xfrm>
            <a:prstGeom prst="ellipse">
              <a:avLst/>
            </a:prstGeom>
            <a:solidFill>
              <a:schemeClr val="accent1"/>
            </a:solidFill>
            <a:ln>
              <a:noFill/>
            </a:ln>
            <a:effectLst>
              <a:outerShdw sx="154000" sy="154000" algn="ctr" rotWithShape="0">
                <a:schemeClr val="accent1">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52" name="文本框 51">
              <a:extLst>
                <a:ext uri="{FF2B5EF4-FFF2-40B4-BE49-F238E27FC236}">
                  <a16:creationId xmlns:a16="http://schemas.microsoft.com/office/drawing/2014/main" id="{2C9E8288-7426-4003-A104-0A47E2626F36}"/>
                </a:ext>
              </a:extLst>
            </p:cNvPr>
            <p:cNvSpPr txBox="1"/>
            <p:nvPr/>
          </p:nvSpPr>
          <p:spPr>
            <a:xfrm>
              <a:off x="1191687" y="2121187"/>
              <a:ext cx="714939" cy="307777"/>
            </a:xfrm>
            <a:prstGeom prst="rect">
              <a:avLst/>
            </a:prstGeom>
            <a:noFill/>
          </p:spPr>
          <p:txBody>
            <a:bodyPr wrap="none" lIns="0" tIns="0" rIns="0" bIns="0" rtlCol="0" anchor="t">
              <a:spAutoFit/>
            </a:bodyPr>
            <a:lstStyle/>
            <a:p>
              <a:r>
                <a:rPr lang="en-US" altLang="zh-CN" sz="2000" dirty="0">
                  <a:solidFill>
                    <a:schemeClr val="accent1"/>
                  </a:solidFill>
                  <a:latin typeface="+mj-ea"/>
                  <a:ea typeface="+mj-ea"/>
                </a:rPr>
                <a:t>20XX</a:t>
              </a:r>
              <a:endParaRPr lang="zh-CN" altLang="en-US" sz="2000" dirty="0">
                <a:solidFill>
                  <a:schemeClr val="accent1"/>
                </a:solidFill>
                <a:latin typeface="+mj-ea"/>
                <a:ea typeface="+mj-ea"/>
              </a:endParaRPr>
            </a:p>
          </p:txBody>
        </p:sp>
        <p:sp>
          <p:nvSpPr>
            <p:cNvPr id="53" name="文本框 52">
              <a:extLst>
                <a:ext uri="{FF2B5EF4-FFF2-40B4-BE49-F238E27FC236}">
                  <a16:creationId xmlns:a16="http://schemas.microsoft.com/office/drawing/2014/main" id="{AAF01EAE-6C0B-4F28-9232-D66DD7B25C9E}"/>
                </a:ext>
              </a:extLst>
            </p:cNvPr>
            <p:cNvSpPr txBox="1"/>
            <p:nvPr/>
          </p:nvSpPr>
          <p:spPr>
            <a:xfrm>
              <a:off x="1110724" y="2396620"/>
              <a:ext cx="1692961" cy="769441"/>
            </a:xfrm>
            <a:prstGeom prst="rect">
              <a:avLst/>
            </a:prstGeom>
            <a:noFill/>
          </p:spPr>
          <p:txBody>
            <a:bodyPr wrap="square" rtlCol="0">
              <a:spAutoFit/>
            </a:bodyPr>
            <a:lstStyle/>
            <a:p>
              <a:r>
                <a:rPr lang="en-US" altLang="zh-CN" sz="1100" dirty="0">
                  <a:solidFill>
                    <a:schemeClr val="accent1"/>
                  </a:solidFill>
                </a:rPr>
                <a:t>Lorem ipsum dolor sit amet consectetur adipisicing elit sed do eiusmod tempor</a:t>
              </a:r>
              <a:endParaRPr lang="zh-CN" altLang="en-US" sz="1100" dirty="0">
                <a:solidFill>
                  <a:schemeClr val="accent1"/>
                </a:solidFill>
              </a:endParaRPr>
            </a:p>
          </p:txBody>
        </p:sp>
      </p:grpSp>
      <p:grpSp>
        <p:nvGrpSpPr>
          <p:cNvPr id="54" name="组合 53">
            <a:extLst>
              <a:ext uri="{FF2B5EF4-FFF2-40B4-BE49-F238E27FC236}">
                <a16:creationId xmlns:a16="http://schemas.microsoft.com/office/drawing/2014/main" id="{F03AAC11-0782-42EA-B5E2-DB7F938CB2AC}"/>
              </a:ext>
            </a:extLst>
          </p:cNvPr>
          <p:cNvGrpSpPr/>
          <p:nvPr/>
        </p:nvGrpSpPr>
        <p:grpSpPr>
          <a:xfrm>
            <a:off x="8976079" y="1788159"/>
            <a:ext cx="1890987" cy="2104849"/>
            <a:chOff x="912698" y="2121187"/>
            <a:chExt cx="1890987" cy="2104849"/>
          </a:xfrm>
        </p:grpSpPr>
        <p:cxnSp>
          <p:nvCxnSpPr>
            <p:cNvPr id="55" name="直接连接符 54">
              <a:extLst>
                <a:ext uri="{FF2B5EF4-FFF2-40B4-BE49-F238E27FC236}">
                  <a16:creationId xmlns:a16="http://schemas.microsoft.com/office/drawing/2014/main" id="{F4C34BE5-7236-4472-BBDA-24EB51715583}"/>
                </a:ext>
              </a:extLst>
            </p:cNvPr>
            <p:cNvCxnSpPr>
              <a:cxnSpLocks/>
            </p:cNvCxnSpPr>
            <p:nvPr/>
          </p:nvCxnSpPr>
          <p:spPr>
            <a:xfrm>
              <a:off x="976992" y="2282372"/>
              <a:ext cx="0" cy="1943664"/>
            </a:xfrm>
            <a:prstGeom prst="line">
              <a:avLst/>
            </a:prstGeom>
            <a:ln w="28575">
              <a:gradFill>
                <a:gsLst>
                  <a:gs pos="0">
                    <a:schemeClr val="accent1"/>
                  </a:gs>
                  <a:gs pos="100000">
                    <a:schemeClr val="accent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56" name="椭圆 55">
              <a:extLst>
                <a:ext uri="{FF2B5EF4-FFF2-40B4-BE49-F238E27FC236}">
                  <a16:creationId xmlns:a16="http://schemas.microsoft.com/office/drawing/2014/main" id="{6666AE73-9907-412C-A850-2016C0F2F2D3}"/>
                </a:ext>
              </a:extLst>
            </p:cNvPr>
            <p:cNvSpPr/>
            <p:nvPr/>
          </p:nvSpPr>
          <p:spPr>
            <a:xfrm>
              <a:off x="912698" y="2181563"/>
              <a:ext cx="128588" cy="128588"/>
            </a:xfrm>
            <a:prstGeom prst="ellipse">
              <a:avLst/>
            </a:prstGeom>
            <a:solidFill>
              <a:schemeClr val="accent1"/>
            </a:solidFill>
            <a:ln>
              <a:noFill/>
            </a:ln>
            <a:effectLst>
              <a:outerShdw sx="154000" sy="154000" algn="ctr" rotWithShape="0">
                <a:schemeClr val="accent1">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57" name="文本框 56">
              <a:extLst>
                <a:ext uri="{FF2B5EF4-FFF2-40B4-BE49-F238E27FC236}">
                  <a16:creationId xmlns:a16="http://schemas.microsoft.com/office/drawing/2014/main" id="{60C0FCEF-12AE-4AB2-A35A-AF884C28C6A0}"/>
                </a:ext>
              </a:extLst>
            </p:cNvPr>
            <p:cNvSpPr txBox="1"/>
            <p:nvPr/>
          </p:nvSpPr>
          <p:spPr>
            <a:xfrm>
              <a:off x="1191687" y="2121187"/>
              <a:ext cx="714939" cy="307777"/>
            </a:xfrm>
            <a:prstGeom prst="rect">
              <a:avLst/>
            </a:prstGeom>
            <a:noFill/>
          </p:spPr>
          <p:txBody>
            <a:bodyPr wrap="none" lIns="0" tIns="0" rIns="0" bIns="0" rtlCol="0" anchor="t">
              <a:spAutoFit/>
            </a:bodyPr>
            <a:lstStyle/>
            <a:p>
              <a:r>
                <a:rPr lang="en-US" altLang="zh-CN" sz="2000" dirty="0">
                  <a:solidFill>
                    <a:schemeClr val="accent1"/>
                  </a:solidFill>
                  <a:latin typeface="+mj-ea"/>
                  <a:ea typeface="+mj-ea"/>
                </a:rPr>
                <a:t>20XX</a:t>
              </a:r>
              <a:endParaRPr lang="zh-CN" altLang="en-US" sz="2000" dirty="0">
                <a:solidFill>
                  <a:schemeClr val="accent1"/>
                </a:solidFill>
                <a:latin typeface="+mj-ea"/>
                <a:ea typeface="+mj-ea"/>
              </a:endParaRPr>
            </a:p>
          </p:txBody>
        </p:sp>
        <p:sp>
          <p:nvSpPr>
            <p:cNvPr id="58" name="文本框 57">
              <a:extLst>
                <a:ext uri="{FF2B5EF4-FFF2-40B4-BE49-F238E27FC236}">
                  <a16:creationId xmlns:a16="http://schemas.microsoft.com/office/drawing/2014/main" id="{9E8BED6F-DFEE-46EF-8E6B-FB6B74F843C8}"/>
                </a:ext>
              </a:extLst>
            </p:cNvPr>
            <p:cNvSpPr txBox="1"/>
            <p:nvPr/>
          </p:nvSpPr>
          <p:spPr>
            <a:xfrm>
              <a:off x="1110724" y="2396620"/>
              <a:ext cx="1692961" cy="769441"/>
            </a:xfrm>
            <a:prstGeom prst="rect">
              <a:avLst/>
            </a:prstGeom>
            <a:noFill/>
          </p:spPr>
          <p:txBody>
            <a:bodyPr wrap="square" rtlCol="0">
              <a:spAutoFit/>
            </a:bodyPr>
            <a:lstStyle/>
            <a:p>
              <a:r>
                <a:rPr lang="en-US" altLang="zh-CN" sz="1100" dirty="0">
                  <a:solidFill>
                    <a:schemeClr val="accent1"/>
                  </a:solidFill>
                </a:rPr>
                <a:t>Lorem ipsum dolor sit amet consectetur adipisicing elit sed do eiusmod tempor</a:t>
              </a:r>
              <a:endParaRPr lang="zh-CN" altLang="en-US" sz="1100" dirty="0">
                <a:solidFill>
                  <a:schemeClr val="accent1"/>
                </a:solidFill>
              </a:endParaRPr>
            </a:p>
          </p:txBody>
        </p:sp>
      </p:grpSp>
    </p:spTree>
    <p:custDataLst>
      <p:tags r:id="rId2"/>
    </p:custDataLst>
    <p:extLst>
      <p:ext uri="{BB962C8B-B14F-4D97-AF65-F5344CB8AC3E}">
        <p14:creationId xmlns:p14="http://schemas.microsoft.com/office/powerpoint/2010/main" val="457926650"/>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3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图片 2" descr="形状&#10;&#10;描述已自动生成">
            <a:extLst>
              <a:ext uri="{FF2B5EF4-FFF2-40B4-BE49-F238E27FC236}">
                <a16:creationId xmlns:a16="http://schemas.microsoft.com/office/drawing/2014/main" id="{1DE62564-E1E6-4290-96A0-D314466CF7D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0" y="2002899"/>
            <a:ext cx="12192000" cy="4855101"/>
          </a:xfrm>
          <a:prstGeom prst="rect">
            <a:avLst/>
          </a:prstGeom>
        </p:spPr>
      </p:pic>
      <p:sp>
        <p:nvSpPr>
          <p:cNvPr id="8" name="文本框 7">
            <a:extLst>
              <a:ext uri="{FF2B5EF4-FFF2-40B4-BE49-F238E27FC236}">
                <a16:creationId xmlns:a16="http://schemas.microsoft.com/office/drawing/2014/main" id="{3E36BDB1-EB40-437E-9D30-ACE138B60D38}"/>
              </a:ext>
            </a:extLst>
          </p:cNvPr>
          <p:cNvSpPr txBox="1"/>
          <p:nvPr/>
        </p:nvSpPr>
        <p:spPr>
          <a:xfrm flipH="1">
            <a:off x="7721600" y="6489700"/>
            <a:ext cx="4470400" cy="276999"/>
          </a:xfrm>
          <a:prstGeom prst="rect">
            <a:avLst/>
          </a:prstGeom>
          <a:noFill/>
        </p:spPr>
        <p:txBody>
          <a:bodyPr wrap="square" lIns="0" tIns="0" rIns="0" bIns="0" rtlCol="0" anchor="t">
            <a:spAutoFit/>
          </a:bodyPr>
          <a:lstStyle/>
          <a:p>
            <a:pPr algn="l"/>
            <a:r>
              <a:rPr lang="zh-CN" altLang="en-US" dirty="0">
                <a:solidFill>
                  <a:schemeClr val="bg1"/>
                </a:solidFill>
              </a:rPr>
              <a:t>此素材是图片，需复制后在</a:t>
            </a:r>
            <a:r>
              <a:rPr lang="en-US" altLang="zh-CN" dirty="0">
                <a:solidFill>
                  <a:schemeClr val="bg1"/>
                </a:solidFill>
              </a:rPr>
              <a:t>ps</a:t>
            </a:r>
            <a:r>
              <a:rPr lang="zh-CN" altLang="en-US" dirty="0">
                <a:solidFill>
                  <a:schemeClr val="bg1"/>
                </a:solidFill>
              </a:rPr>
              <a:t>里面改颜色</a:t>
            </a:r>
          </a:p>
        </p:txBody>
      </p:sp>
      <p:grpSp>
        <p:nvGrpSpPr>
          <p:cNvPr id="27" name="组合 26">
            <a:extLst>
              <a:ext uri="{FF2B5EF4-FFF2-40B4-BE49-F238E27FC236}">
                <a16:creationId xmlns:a16="http://schemas.microsoft.com/office/drawing/2014/main" id="{8D723A8F-DF87-4B6C-B074-6DD659FE2CFA}"/>
              </a:ext>
            </a:extLst>
          </p:cNvPr>
          <p:cNvGrpSpPr/>
          <p:nvPr/>
        </p:nvGrpSpPr>
        <p:grpSpPr>
          <a:xfrm>
            <a:off x="766648" y="3378024"/>
            <a:ext cx="1890987" cy="2104849"/>
            <a:chOff x="912698" y="2121187"/>
            <a:chExt cx="1890987" cy="2104849"/>
          </a:xfrm>
        </p:grpSpPr>
        <p:cxnSp>
          <p:nvCxnSpPr>
            <p:cNvPr id="28" name="直接连接符 27">
              <a:extLst>
                <a:ext uri="{FF2B5EF4-FFF2-40B4-BE49-F238E27FC236}">
                  <a16:creationId xmlns:a16="http://schemas.microsoft.com/office/drawing/2014/main" id="{71CD5133-0951-4BCB-9BF0-89BACD8DF1F9}"/>
                </a:ext>
              </a:extLst>
            </p:cNvPr>
            <p:cNvCxnSpPr>
              <a:cxnSpLocks/>
            </p:cNvCxnSpPr>
            <p:nvPr/>
          </p:nvCxnSpPr>
          <p:spPr>
            <a:xfrm>
              <a:off x="976992" y="2282372"/>
              <a:ext cx="0" cy="1943664"/>
            </a:xfrm>
            <a:prstGeom prst="line">
              <a:avLst/>
            </a:prstGeom>
            <a:ln w="28575">
              <a:gradFill>
                <a:gsLst>
                  <a:gs pos="0">
                    <a:schemeClr val="accent1"/>
                  </a:gs>
                  <a:gs pos="100000">
                    <a:schemeClr val="accent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29" name="椭圆 28">
              <a:extLst>
                <a:ext uri="{FF2B5EF4-FFF2-40B4-BE49-F238E27FC236}">
                  <a16:creationId xmlns:a16="http://schemas.microsoft.com/office/drawing/2014/main" id="{9B2F9776-9931-4ADE-87E9-3E25D731EF89}"/>
                </a:ext>
              </a:extLst>
            </p:cNvPr>
            <p:cNvSpPr/>
            <p:nvPr/>
          </p:nvSpPr>
          <p:spPr>
            <a:xfrm>
              <a:off x="912698" y="2181563"/>
              <a:ext cx="128588" cy="128588"/>
            </a:xfrm>
            <a:prstGeom prst="ellipse">
              <a:avLst/>
            </a:prstGeom>
            <a:solidFill>
              <a:schemeClr val="accent1"/>
            </a:solidFill>
            <a:ln>
              <a:noFill/>
            </a:ln>
            <a:effectLst>
              <a:outerShdw sx="154000" sy="154000" algn="ctr" rotWithShape="0">
                <a:schemeClr val="accent1">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32" name="文本框 31">
              <a:extLst>
                <a:ext uri="{FF2B5EF4-FFF2-40B4-BE49-F238E27FC236}">
                  <a16:creationId xmlns:a16="http://schemas.microsoft.com/office/drawing/2014/main" id="{3C27AD2C-16B7-4A9F-98B0-ED0425C7E47E}"/>
                </a:ext>
              </a:extLst>
            </p:cNvPr>
            <p:cNvSpPr txBox="1"/>
            <p:nvPr/>
          </p:nvSpPr>
          <p:spPr>
            <a:xfrm>
              <a:off x="1191687" y="2121187"/>
              <a:ext cx="714939" cy="307777"/>
            </a:xfrm>
            <a:prstGeom prst="rect">
              <a:avLst/>
            </a:prstGeom>
            <a:noFill/>
          </p:spPr>
          <p:txBody>
            <a:bodyPr wrap="none" lIns="0" tIns="0" rIns="0" bIns="0" rtlCol="0" anchor="t">
              <a:spAutoFit/>
            </a:bodyPr>
            <a:lstStyle/>
            <a:p>
              <a:r>
                <a:rPr lang="en-US" altLang="zh-CN" sz="2000" dirty="0">
                  <a:solidFill>
                    <a:schemeClr val="accent1"/>
                  </a:solidFill>
                  <a:latin typeface="+mj-ea"/>
                  <a:ea typeface="+mj-ea"/>
                </a:rPr>
                <a:t>20XX</a:t>
              </a:r>
              <a:endParaRPr lang="zh-CN" altLang="en-US" sz="2000" dirty="0">
                <a:solidFill>
                  <a:schemeClr val="accent1"/>
                </a:solidFill>
                <a:latin typeface="+mj-ea"/>
                <a:ea typeface="+mj-ea"/>
              </a:endParaRPr>
            </a:p>
          </p:txBody>
        </p:sp>
        <p:sp>
          <p:nvSpPr>
            <p:cNvPr id="33" name="文本框 32">
              <a:extLst>
                <a:ext uri="{FF2B5EF4-FFF2-40B4-BE49-F238E27FC236}">
                  <a16:creationId xmlns:a16="http://schemas.microsoft.com/office/drawing/2014/main" id="{D1891EC8-8EFA-47A5-9A4B-BE53167D1122}"/>
                </a:ext>
              </a:extLst>
            </p:cNvPr>
            <p:cNvSpPr txBox="1"/>
            <p:nvPr/>
          </p:nvSpPr>
          <p:spPr>
            <a:xfrm>
              <a:off x="1110724" y="2396620"/>
              <a:ext cx="1692961" cy="769441"/>
            </a:xfrm>
            <a:prstGeom prst="rect">
              <a:avLst/>
            </a:prstGeom>
            <a:noFill/>
          </p:spPr>
          <p:txBody>
            <a:bodyPr wrap="square" rtlCol="0">
              <a:spAutoFit/>
            </a:bodyPr>
            <a:lstStyle/>
            <a:p>
              <a:r>
                <a:rPr lang="en-US" altLang="zh-CN" sz="1100" dirty="0">
                  <a:solidFill>
                    <a:schemeClr val="accent1"/>
                  </a:solidFill>
                </a:rPr>
                <a:t>Lorem ipsum dolor sit amet consectetur adipisicing elit sed do eiusmod tempor</a:t>
              </a:r>
              <a:endParaRPr lang="zh-CN" altLang="en-US" sz="1100" dirty="0">
                <a:solidFill>
                  <a:schemeClr val="accent1"/>
                </a:solidFill>
              </a:endParaRPr>
            </a:p>
          </p:txBody>
        </p:sp>
      </p:grpSp>
      <p:grpSp>
        <p:nvGrpSpPr>
          <p:cNvPr id="34" name="组合 33">
            <a:extLst>
              <a:ext uri="{FF2B5EF4-FFF2-40B4-BE49-F238E27FC236}">
                <a16:creationId xmlns:a16="http://schemas.microsoft.com/office/drawing/2014/main" id="{A8D69678-DE08-4118-BF53-2DE4EAE6CE44}"/>
              </a:ext>
            </a:extLst>
          </p:cNvPr>
          <p:cNvGrpSpPr/>
          <p:nvPr/>
        </p:nvGrpSpPr>
        <p:grpSpPr>
          <a:xfrm>
            <a:off x="3471748" y="2376575"/>
            <a:ext cx="1890987" cy="2104849"/>
            <a:chOff x="912698" y="2121187"/>
            <a:chExt cx="1890987" cy="2104849"/>
          </a:xfrm>
        </p:grpSpPr>
        <p:cxnSp>
          <p:nvCxnSpPr>
            <p:cNvPr id="35" name="直接连接符 34">
              <a:extLst>
                <a:ext uri="{FF2B5EF4-FFF2-40B4-BE49-F238E27FC236}">
                  <a16:creationId xmlns:a16="http://schemas.microsoft.com/office/drawing/2014/main" id="{C9F0BB68-23AD-4705-9173-E9686A0BAA2D}"/>
                </a:ext>
              </a:extLst>
            </p:cNvPr>
            <p:cNvCxnSpPr>
              <a:cxnSpLocks/>
            </p:cNvCxnSpPr>
            <p:nvPr/>
          </p:nvCxnSpPr>
          <p:spPr>
            <a:xfrm>
              <a:off x="976992" y="2282372"/>
              <a:ext cx="0" cy="1943664"/>
            </a:xfrm>
            <a:prstGeom prst="line">
              <a:avLst/>
            </a:prstGeom>
            <a:ln w="28575">
              <a:gradFill>
                <a:gsLst>
                  <a:gs pos="0">
                    <a:schemeClr val="accent1"/>
                  </a:gs>
                  <a:gs pos="100000">
                    <a:schemeClr val="accent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36" name="椭圆 35">
              <a:extLst>
                <a:ext uri="{FF2B5EF4-FFF2-40B4-BE49-F238E27FC236}">
                  <a16:creationId xmlns:a16="http://schemas.microsoft.com/office/drawing/2014/main" id="{0E120EF7-B3CE-4B9D-9739-8029EDC45E60}"/>
                </a:ext>
              </a:extLst>
            </p:cNvPr>
            <p:cNvSpPr/>
            <p:nvPr/>
          </p:nvSpPr>
          <p:spPr>
            <a:xfrm>
              <a:off x="912698" y="2181563"/>
              <a:ext cx="128588" cy="128588"/>
            </a:xfrm>
            <a:prstGeom prst="ellipse">
              <a:avLst/>
            </a:prstGeom>
            <a:solidFill>
              <a:schemeClr val="accent1"/>
            </a:solidFill>
            <a:ln>
              <a:noFill/>
            </a:ln>
            <a:effectLst>
              <a:outerShdw sx="154000" sy="154000" algn="ctr" rotWithShape="0">
                <a:schemeClr val="accent1">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37" name="文本框 36">
              <a:extLst>
                <a:ext uri="{FF2B5EF4-FFF2-40B4-BE49-F238E27FC236}">
                  <a16:creationId xmlns:a16="http://schemas.microsoft.com/office/drawing/2014/main" id="{80686D1B-7389-44A9-8F9E-BB8CC9A5E845}"/>
                </a:ext>
              </a:extLst>
            </p:cNvPr>
            <p:cNvSpPr txBox="1"/>
            <p:nvPr/>
          </p:nvSpPr>
          <p:spPr>
            <a:xfrm>
              <a:off x="1191687" y="2121187"/>
              <a:ext cx="714939" cy="307777"/>
            </a:xfrm>
            <a:prstGeom prst="rect">
              <a:avLst/>
            </a:prstGeom>
            <a:noFill/>
          </p:spPr>
          <p:txBody>
            <a:bodyPr wrap="none" lIns="0" tIns="0" rIns="0" bIns="0" rtlCol="0" anchor="t">
              <a:spAutoFit/>
            </a:bodyPr>
            <a:lstStyle/>
            <a:p>
              <a:r>
                <a:rPr lang="en-US" altLang="zh-CN" sz="2000" dirty="0">
                  <a:solidFill>
                    <a:schemeClr val="accent1"/>
                  </a:solidFill>
                  <a:latin typeface="+mj-ea"/>
                  <a:ea typeface="+mj-ea"/>
                </a:rPr>
                <a:t>20XX</a:t>
              </a:r>
              <a:endParaRPr lang="zh-CN" altLang="en-US" sz="2000" dirty="0">
                <a:solidFill>
                  <a:schemeClr val="accent1"/>
                </a:solidFill>
                <a:latin typeface="+mj-ea"/>
                <a:ea typeface="+mj-ea"/>
              </a:endParaRPr>
            </a:p>
          </p:txBody>
        </p:sp>
        <p:sp>
          <p:nvSpPr>
            <p:cNvPr id="40" name="文本框 39">
              <a:extLst>
                <a:ext uri="{FF2B5EF4-FFF2-40B4-BE49-F238E27FC236}">
                  <a16:creationId xmlns:a16="http://schemas.microsoft.com/office/drawing/2014/main" id="{78061FA4-AF74-45BF-BA81-AA9CAA93E3F2}"/>
                </a:ext>
              </a:extLst>
            </p:cNvPr>
            <p:cNvSpPr txBox="1"/>
            <p:nvPr/>
          </p:nvSpPr>
          <p:spPr>
            <a:xfrm>
              <a:off x="1110724" y="2396620"/>
              <a:ext cx="1692961" cy="769441"/>
            </a:xfrm>
            <a:prstGeom prst="rect">
              <a:avLst/>
            </a:prstGeom>
            <a:noFill/>
          </p:spPr>
          <p:txBody>
            <a:bodyPr wrap="square" rtlCol="0">
              <a:spAutoFit/>
            </a:bodyPr>
            <a:lstStyle/>
            <a:p>
              <a:r>
                <a:rPr lang="en-US" altLang="zh-CN" sz="1100" dirty="0">
                  <a:solidFill>
                    <a:schemeClr val="accent1"/>
                  </a:solidFill>
                </a:rPr>
                <a:t>Lorem ipsum dolor sit amet consectetur adipisicing elit sed do eiusmod tempor</a:t>
              </a:r>
              <a:endParaRPr lang="zh-CN" altLang="en-US" sz="1100" dirty="0">
                <a:solidFill>
                  <a:schemeClr val="accent1"/>
                </a:solidFill>
              </a:endParaRPr>
            </a:p>
          </p:txBody>
        </p:sp>
      </p:grpSp>
      <p:grpSp>
        <p:nvGrpSpPr>
          <p:cNvPr id="42" name="组合 41">
            <a:extLst>
              <a:ext uri="{FF2B5EF4-FFF2-40B4-BE49-F238E27FC236}">
                <a16:creationId xmlns:a16="http://schemas.microsoft.com/office/drawing/2014/main" id="{15555370-8653-4695-B4FB-097E67D63CBF}"/>
              </a:ext>
            </a:extLst>
          </p:cNvPr>
          <p:cNvGrpSpPr/>
          <p:nvPr/>
        </p:nvGrpSpPr>
        <p:grpSpPr>
          <a:xfrm>
            <a:off x="6325426" y="1692303"/>
            <a:ext cx="1890987" cy="3273497"/>
            <a:chOff x="912698" y="2121187"/>
            <a:chExt cx="1890987" cy="3273497"/>
          </a:xfrm>
        </p:grpSpPr>
        <p:cxnSp>
          <p:nvCxnSpPr>
            <p:cNvPr id="43" name="直接连接符 42">
              <a:extLst>
                <a:ext uri="{FF2B5EF4-FFF2-40B4-BE49-F238E27FC236}">
                  <a16:creationId xmlns:a16="http://schemas.microsoft.com/office/drawing/2014/main" id="{50AF210C-F8FF-4F26-A172-3B5543DB6F89}"/>
                </a:ext>
              </a:extLst>
            </p:cNvPr>
            <p:cNvCxnSpPr>
              <a:cxnSpLocks/>
            </p:cNvCxnSpPr>
            <p:nvPr/>
          </p:nvCxnSpPr>
          <p:spPr>
            <a:xfrm>
              <a:off x="976992" y="2282372"/>
              <a:ext cx="0" cy="3112312"/>
            </a:xfrm>
            <a:prstGeom prst="line">
              <a:avLst/>
            </a:prstGeom>
            <a:ln w="28575">
              <a:gradFill>
                <a:gsLst>
                  <a:gs pos="0">
                    <a:schemeClr val="accent1"/>
                  </a:gs>
                  <a:gs pos="100000">
                    <a:schemeClr val="accent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44" name="椭圆 43">
              <a:extLst>
                <a:ext uri="{FF2B5EF4-FFF2-40B4-BE49-F238E27FC236}">
                  <a16:creationId xmlns:a16="http://schemas.microsoft.com/office/drawing/2014/main" id="{48DCA933-2ADA-4949-A3CC-33C14616F575}"/>
                </a:ext>
              </a:extLst>
            </p:cNvPr>
            <p:cNvSpPr/>
            <p:nvPr/>
          </p:nvSpPr>
          <p:spPr>
            <a:xfrm>
              <a:off x="912698" y="2181563"/>
              <a:ext cx="128588" cy="128588"/>
            </a:xfrm>
            <a:prstGeom prst="ellipse">
              <a:avLst/>
            </a:prstGeom>
            <a:solidFill>
              <a:schemeClr val="accent1"/>
            </a:solidFill>
            <a:ln>
              <a:noFill/>
            </a:ln>
            <a:effectLst>
              <a:outerShdw sx="154000" sy="154000" algn="ctr" rotWithShape="0">
                <a:schemeClr val="accent1">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45" name="文本框 44">
              <a:extLst>
                <a:ext uri="{FF2B5EF4-FFF2-40B4-BE49-F238E27FC236}">
                  <a16:creationId xmlns:a16="http://schemas.microsoft.com/office/drawing/2014/main" id="{AC062AED-4DF2-4F5F-AE6C-0AA97684908E}"/>
                </a:ext>
              </a:extLst>
            </p:cNvPr>
            <p:cNvSpPr txBox="1"/>
            <p:nvPr/>
          </p:nvSpPr>
          <p:spPr>
            <a:xfrm>
              <a:off x="1191687" y="2121187"/>
              <a:ext cx="714939" cy="307777"/>
            </a:xfrm>
            <a:prstGeom prst="rect">
              <a:avLst/>
            </a:prstGeom>
            <a:noFill/>
          </p:spPr>
          <p:txBody>
            <a:bodyPr wrap="none" lIns="0" tIns="0" rIns="0" bIns="0" rtlCol="0" anchor="t">
              <a:spAutoFit/>
            </a:bodyPr>
            <a:lstStyle/>
            <a:p>
              <a:r>
                <a:rPr lang="en-US" altLang="zh-CN" sz="2000" dirty="0">
                  <a:solidFill>
                    <a:schemeClr val="accent1"/>
                  </a:solidFill>
                  <a:latin typeface="+mj-ea"/>
                  <a:ea typeface="+mj-ea"/>
                </a:rPr>
                <a:t>20XX</a:t>
              </a:r>
              <a:endParaRPr lang="zh-CN" altLang="en-US" sz="2000" dirty="0">
                <a:solidFill>
                  <a:schemeClr val="accent1"/>
                </a:solidFill>
                <a:latin typeface="+mj-ea"/>
                <a:ea typeface="+mj-ea"/>
              </a:endParaRPr>
            </a:p>
          </p:txBody>
        </p:sp>
        <p:sp>
          <p:nvSpPr>
            <p:cNvPr id="59" name="文本框 58">
              <a:extLst>
                <a:ext uri="{FF2B5EF4-FFF2-40B4-BE49-F238E27FC236}">
                  <a16:creationId xmlns:a16="http://schemas.microsoft.com/office/drawing/2014/main" id="{FBBFF500-E7E3-4076-A750-1278851171AE}"/>
                </a:ext>
              </a:extLst>
            </p:cNvPr>
            <p:cNvSpPr txBox="1"/>
            <p:nvPr/>
          </p:nvSpPr>
          <p:spPr>
            <a:xfrm>
              <a:off x="1110724" y="2396620"/>
              <a:ext cx="1692961" cy="769441"/>
            </a:xfrm>
            <a:prstGeom prst="rect">
              <a:avLst/>
            </a:prstGeom>
            <a:noFill/>
          </p:spPr>
          <p:txBody>
            <a:bodyPr wrap="square" rtlCol="0">
              <a:spAutoFit/>
            </a:bodyPr>
            <a:lstStyle/>
            <a:p>
              <a:r>
                <a:rPr lang="en-US" altLang="zh-CN" sz="1100" dirty="0">
                  <a:solidFill>
                    <a:schemeClr val="accent1"/>
                  </a:solidFill>
                </a:rPr>
                <a:t>Lorem ipsum dolor sit amet consectetur adipisicing elit sed do eiusmod tempor</a:t>
              </a:r>
              <a:endParaRPr lang="zh-CN" altLang="en-US" sz="1100" dirty="0">
                <a:solidFill>
                  <a:schemeClr val="accent1"/>
                </a:solidFill>
              </a:endParaRPr>
            </a:p>
          </p:txBody>
        </p:sp>
      </p:grpSp>
      <p:grpSp>
        <p:nvGrpSpPr>
          <p:cNvPr id="60" name="组合 59">
            <a:extLst>
              <a:ext uri="{FF2B5EF4-FFF2-40B4-BE49-F238E27FC236}">
                <a16:creationId xmlns:a16="http://schemas.microsoft.com/office/drawing/2014/main" id="{9EA1DF05-4694-4DFB-A236-B597E4A2EC0E}"/>
              </a:ext>
            </a:extLst>
          </p:cNvPr>
          <p:cNvGrpSpPr/>
          <p:nvPr/>
        </p:nvGrpSpPr>
        <p:grpSpPr>
          <a:xfrm>
            <a:off x="9335457" y="1076326"/>
            <a:ext cx="1890987" cy="2426368"/>
            <a:chOff x="912698" y="2121187"/>
            <a:chExt cx="1890987" cy="2426368"/>
          </a:xfrm>
        </p:grpSpPr>
        <p:cxnSp>
          <p:nvCxnSpPr>
            <p:cNvPr id="61" name="直接连接符 60">
              <a:extLst>
                <a:ext uri="{FF2B5EF4-FFF2-40B4-BE49-F238E27FC236}">
                  <a16:creationId xmlns:a16="http://schemas.microsoft.com/office/drawing/2014/main" id="{79911151-0503-4E77-B911-B92B13885674}"/>
                </a:ext>
              </a:extLst>
            </p:cNvPr>
            <p:cNvCxnSpPr>
              <a:cxnSpLocks/>
            </p:cNvCxnSpPr>
            <p:nvPr/>
          </p:nvCxnSpPr>
          <p:spPr>
            <a:xfrm>
              <a:off x="976992" y="2282372"/>
              <a:ext cx="0" cy="2265183"/>
            </a:xfrm>
            <a:prstGeom prst="line">
              <a:avLst/>
            </a:prstGeom>
            <a:ln w="28575">
              <a:gradFill>
                <a:gsLst>
                  <a:gs pos="0">
                    <a:schemeClr val="accent1"/>
                  </a:gs>
                  <a:gs pos="100000">
                    <a:schemeClr val="accent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62" name="椭圆 61">
              <a:extLst>
                <a:ext uri="{FF2B5EF4-FFF2-40B4-BE49-F238E27FC236}">
                  <a16:creationId xmlns:a16="http://schemas.microsoft.com/office/drawing/2014/main" id="{914D62B1-2D19-4A6D-9DF3-ED3B2003CB05}"/>
                </a:ext>
              </a:extLst>
            </p:cNvPr>
            <p:cNvSpPr/>
            <p:nvPr/>
          </p:nvSpPr>
          <p:spPr>
            <a:xfrm>
              <a:off x="912698" y="2181563"/>
              <a:ext cx="128588" cy="128588"/>
            </a:xfrm>
            <a:prstGeom prst="ellipse">
              <a:avLst/>
            </a:prstGeom>
            <a:solidFill>
              <a:schemeClr val="accent1"/>
            </a:solidFill>
            <a:ln>
              <a:noFill/>
            </a:ln>
            <a:effectLst>
              <a:outerShdw sx="154000" sy="154000" algn="ctr" rotWithShape="0">
                <a:schemeClr val="accent1">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63" name="文本框 62">
              <a:extLst>
                <a:ext uri="{FF2B5EF4-FFF2-40B4-BE49-F238E27FC236}">
                  <a16:creationId xmlns:a16="http://schemas.microsoft.com/office/drawing/2014/main" id="{65D3D395-80BF-4DA3-85B4-2B068337B14F}"/>
                </a:ext>
              </a:extLst>
            </p:cNvPr>
            <p:cNvSpPr txBox="1"/>
            <p:nvPr/>
          </p:nvSpPr>
          <p:spPr>
            <a:xfrm>
              <a:off x="1191687" y="2121187"/>
              <a:ext cx="714939" cy="307777"/>
            </a:xfrm>
            <a:prstGeom prst="rect">
              <a:avLst/>
            </a:prstGeom>
            <a:noFill/>
          </p:spPr>
          <p:txBody>
            <a:bodyPr wrap="none" lIns="0" tIns="0" rIns="0" bIns="0" rtlCol="0" anchor="t">
              <a:spAutoFit/>
            </a:bodyPr>
            <a:lstStyle/>
            <a:p>
              <a:r>
                <a:rPr lang="en-US" altLang="zh-CN" sz="2000" dirty="0">
                  <a:solidFill>
                    <a:schemeClr val="accent1"/>
                  </a:solidFill>
                  <a:latin typeface="+mj-ea"/>
                  <a:ea typeface="+mj-ea"/>
                </a:rPr>
                <a:t>20XX</a:t>
              </a:r>
              <a:endParaRPr lang="zh-CN" altLang="en-US" sz="2000" dirty="0">
                <a:solidFill>
                  <a:schemeClr val="accent1"/>
                </a:solidFill>
                <a:latin typeface="+mj-ea"/>
                <a:ea typeface="+mj-ea"/>
              </a:endParaRPr>
            </a:p>
          </p:txBody>
        </p:sp>
        <p:sp>
          <p:nvSpPr>
            <p:cNvPr id="64" name="文本框 63">
              <a:extLst>
                <a:ext uri="{FF2B5EF4-FFF2-40B4-BE49-F238E27FC236}">
                  <a16:creationId xmlns:a16="http://schemas.microsoft.com/office/drawing/2014/main" id="{10090797-732C-4371-9DFE-664C76A0F88B}"/>
                </a:ext>
              </a:extLst>
            </p:cNvPr>
            <p:cNvSpPr txBox="1"/>
            <p:nvPr/>
          </p:nvSpPr>
          <p:spPr>
            <a:xfrm>
              <a:off x="1110724" y="2396620"/>
              <a:ext cx="1692961" cy="769441"/>
            </a:xfrm>
            <a:prstGeom prst="rect">
              <a:avLst/>
            </a:prstGeom>
            <a:noFill/>
          </p:spPr>
          <p:txBody>
            <a:bodyPr wrap="square" rtlCol="0">
              <a:spAutoFit/>
            </a:bodyPr>
            <a:lstStyle/>
            <a:p>
              <a:r>
                <a:rPr lang="en-US" altLang="zh-CN" sz="1100" dirty="0">
                  <a:solidFill>
                    <a:schemeClr val="accent1"/>
                  </a:solidFill>
                </a:rPr>
                <a:t>Lorem ipsum dolor sit amet consectetur adipisicing elit sed do eiusmod tempor</a:t>
              </a:r>
              <a:endParaRPr lang="zh-CN" altLang="en-US" sz="1100" dirty="0">
                <a:solidFill>
                  <a:schemeClr val="accent1"/>
                </a:solidFill>
              </a:endParaRPr>
            </a:p>
          </p:txBody>
        </p:sp>
      </p:grpSp>
    </p:spTree>
    <p:custDataLst>
      <p:tags r:id="rId2"/>
    </p:custDataLst>
    <p:extLst>
      <p:ext uri="{BB962C8B-B14F-4D97-AF65-F5344CB8AC3E}">
        <p14:creationId xmlns:p14="http://schemas.microsoft.com/office/powerpoint/2010/main" val="2946371917"/>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3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图片 3" descr="图片包含 动物, 游戏机&#10;&#10;描述已自动生成">
            <a:extLst>
              <a:ext uri="{FF2B5EF4-FFF2-40B4-BE49-F238E27FC236}">
                <a16:creationId xmlns:a16="http://schemas.microsoft.com/office/drawing/2014/main" id="{D7936DBC-949C-445A-AC5B-ACA2B294A44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rot="674586">
            <a:off x="1208073" y="2311399"/>
            <a:ext cx="10029854" cy="4190998"/>
          </a:xfrm>
          <a:prstGeom prst="rect">
            <a:avLst/>
          </a:prstGeom>
        </p:spPr>
      </p:pic>
      <p:grpSp>
        <p:nvGrpSpPr>
          <p:cNvPr id="26" name="组合 25">
            <a:extLst>
              <a:ext uri="{FF2B5EF4-FFF2-40B4-BE49-F238E27FC236}">
                <a16:creationId xmlns:a16="http://schemas.microsoft.com/office/drawing/2014/main" id="{C222B9A3-E6D9-4283-904D-5EFBB2B927F0}"/>
              </a:ext>
            </a:extLst>
          </p:cNvPr>
          <p:cNvGrpSpPr/>
          <p:nvPr/>
        </p:nvGrpSpPr>
        <p:grpSpPr>
          <a:xfrm>
            <a:off x="1274648" y="2835451"/>
            <a:ext cx="1890987" cy="2104849"/>
            <a:chOff x="912698" y="2121187"/>
            <a:chExt cx="1890987" cy="2104849"/>
          </a:xfrm>
        </p:grpSpPr>
        <p:cxnSp>
          <p:nvCxnSpPr>
            <p:cNvPr id="30" name="直接连接符 29">
              <a:extLst>
                <a:ext uri="{FF2B5EF4-FFF2-40B4-BE49-F238E27FC236}">
                  <a16:creationId xmlns:a16="http://schemas.microsoft.com/office/drawing/2014/main" id="{3C13A7EF-A546-4DD9-AD9A-8EBB503EAB66}"/>
                </a:ext>
              </a:extLst>
            </p:cNvPr>
            <p:cNvCxnSpPr>
              <a:cxnSpLocks/>
            </p:cNvCxnSpPr>
            <p:nvPr/>
          </p:nvCxnSpPr>
          <p:spPr>
            <a:xfrm>
              <a:off x="976992" y="2282372"/>
              <a:ext cx="0" cy="1943664"/>
            </a:xfrm>
            <a:prstGeom prst="line">
              <a:avLst/>
            </a:prstGeom>
            <a:ln w="28575">
              <a:gradFill>
                <a:gsLst>
                  <a:gs pos="0">
                    <a:schemeClr val="accent1"/>
                  </a:gs>
                  <a:gs pos="100000">
                    <a:schemeClr val="accent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31" name="椭圆 30">
              <a:extLst>
                <a:ext uri="{FF2B5EF4-FFF2-40B4-BE49-F238E27FC236}">
                  <a16:creationId xmlns:a16="http://schemas.microsoft.com/office/drawing/2014/main" id="{679194D6-B0C3-4620-85CF-05F3C90F6A0E}"/>
                </a:ext>
              </a:extLst>
            </p:cNvPr>
            <p:cNvSpPr/>
            <p:nvPr/>
          </p:nvSpPr>
          <p:spPr>
            <a:xfrm>
              <a:off x="912698" y="2181563"/>
              <a:ext cx="128588" cy="128588"/>
            </a:xfrm>
            <a:prstGeom prst="ellipse">
              <a:avLst/>
            </a:prstGeom>
            <a:solidFill>
              <a:schemeClr val="accent1"/>
            </a:solidFill>
            <a:ln>
              <a:noFill/>
            </a:ln>
            <a:effectLst>
              <a:outerShdw sx="154000" sy="154000" algn="ctr" rotWithShape="0">
                <a:schemeClr val="accent1">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38" name="文本框 37">
              <a:extLst>
                <a:ext uri="{FF2B5EF4-FFF2-40B4-BE49-F238E27FC236}">
                  <a16:creationId xmlns:a16="http://schemas.microsoft.com/office/drawing/2014/main" id="{8109962E-E93B-482A-8547-E7FF537B83EF}"/>
                </a:ext>
              </a:extLst>
            </p:cNvPr>
            <p:cNvSpPr txBox="1"/>
            <p:nvPr/>
          </p:nvSpPr>
          <p:spPr>
            <a:xfrm>
              <a:off x="1191687" y="2121187"/>
              <a:ext cx="714939" cy="307777"/>
            </a:xfrm>
            <a:prstGeom prst="rect">
              <a:avLst/>
            </a:prstGeom>
            <a:noFill/>
          </p:spPr>
          <p:txBody>
            <a:bodyPr wrap="none" lIns="0" tIns="0" rIns="0" bIns="0" rtlCol="0" anchor="t">
              <a:spAutoFit/>
            </a:bodyPr>
            <a:lstStyle/>
            <a:p>
              <a:r>
                <a:rPr lang="en-US" altLang="zh-CN" sz="2000" dirty="0">
                  <a:solidFill>
                    <a:schemeClr val="accent1"/>
                  </a:solidFill>
                  <a:latin typeface="+mj-ea"/>
                  <a:ea typeface="+mj-ea"/>
                </a:rPr>
                <a:t>20XX</a:t>
              </a:r>
              <a:endParaRPr lang="zh-CN" altLang="en-US" sz="2000" dirty="0">
                <a:solidFill>
                  <a:schemeClr val="accent1"/>
                </a:solidFill>
                <a:latin typeface="+mj-ea"/>
                <a:ea typeface="+mj-ea"/>
              </a:endParaRPr>
            </a:p>
          </p:txBody>
        </p:sp>
        <p:sp>
          <p:nvSpPr>
            <p:cNvPr id="39" name="文本框 38">
              <a:extLst>
                <a:ext uri="{FF2B5EF4-FFF2-40B4-BE49-F238E27FC236}">
                  <a16:creationId xmlns:a16="http://schemas.microsoft.com/office/drawing/2014/main" id="{1EA20172-27A4-4095-968B-D7978206A871}"/>
                </a:ext>
              </a:extLst>
            </p:cNvPr>
            <p:cNvSpPr txBox="1"/>
            <p:nvPr/>
          </p:nvSpPr>
          <p:spPr>
            <a:xfrm>
              <a:off x="1110724" y="2396620"/>
              <a:ext cx="1692961" cy="769441"/>
            </a:xfrm>
            <a:prstGeom prst="rect">
              <a:avLst/>
            </a:prstGeom>
            <a:noFill/>
          </p:spPr>
          <p:txBody>
            <a:bodyPr wrap="square" rtlCol="0">
              <a:spAutoFit/>
            </a:bodyPr>
            <a:lstStyle/>
            <a:p>
              <a:r>
                <a:rPr lang="en-US" altLang="zh-CN" sz="1100" dirty="0">
                  <a:solidFill>
                    <a:schemeClr val="accent1"/>
                  </a:solidFill>
                </a:rPr>
                <a:t>Lorem ipsum dolor sit amet consectetur adipisicing elit sed do eiusmod tempor</a:t>
              </a:r>
              <a:endParaRPr lang="zh-CN" altLang="en-US" sz="1100" dirty="0">
                <a:solidFill>
                  <a:schemeClr val="accent1"/>
                </a:solidFill>
              </a:endParaRPr>
            </a:p>
          </p:txBody>
        </p:sp>
      </p:grpSp>
      <p:grpSp>
        <p:nvGrpSpPr>
          <p:cNvPr id="41" name="组合 40">
            <a:extLst>
              <a:ext uri="{FF2B5EF4-FFF2-40B4-BE49-F238E27FC236}">
                <a16:creationId xmlns:a16="http://schemas.microsoft.com/office/drawing/2014/main" id="{65A6CE51-C1DC-43D5-A4F3-FFABF0C8D0D9}"/>
              </a:ext>
            </a:extLst>
          </p:cNvPr>
          <p:cNvGrpSpPr/>
          <p:nvPr/>
        </p:nvGrpSpPr>
        <p:grpSpPr>
          <a:xfrm>
            <a:off x="3941648" y="2022651"/>
            <a:ext cx="1890987" cy="2104849"/>
            <a:chOff x="912698" y="2121187"/>
            <a:chExt cx="1890987" cy="2104849"/>
          </a:xfrm>
        </p:grpSpPr>
        <p:cxnSp>
          <p:nvCxnSpPr>
            <p:cNvPr id="46" name="直接连接符 45">
              <a:extLst>
                <a:ext uri="{FF2B5EF4-FFF2-40B4-BE49-F238E27FC236}">
                  <a16:creationId xmlns:a16="http://schemas.microsoft.com/office/drawing/2014/main" id="{F34D054C-30A8-441C-B7D7-6A57AC596663}"/>
                </a:ext>
              </a:extLst>
            </p:cNvPr>
            <p:cNvCxnSpPr>
              <a:cxnSpLocks/>
            </p:cNvCxnSpPr>
            <p:nvPr/>
          </p:nvCxnSpPr>
          <p:spPr>
            <a:xfrm>
              <a:off x="976992" y="2282372"/>
              <a:ext cx="0" cy="1943664"/>
            </a:xfrm>
            <a:prstGeom prst="line">
              <a:avLst/>
            </a:prstGeom>
            <a:ln w="28575">
              <a:gradFill>
                <a:gsLst>
                  <a:gs pos="0">
                    <a:schemeClr val="accent1"/>
                  </a:gs>
                  <a:gs pos="100000">
                    <a:schemeClr val="accent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47" name="椭圆 46">
              <a:extLst>
                <a:ext uri="{FF2B5EF4-FFF2-40B4-BE49-F238E27FC236}">
                  <a16:creationId xmlns:a16="http://schemas.microsoft.com/office/drawing/2014/main" id="{D8AE33FE-A8DF-4743-8CA5-72CCB59B7A71}"/>
                </a:ext>
              </a:extLst>
            </p:cNvPr>
            <p:cNvSpPr/>
            <p:nvPr/>
          </p:nvSpPr>
          <p:spPr>
            <a:xfrm>
              <a:off x="912698" y="2181563"/>
              <a:ext cx="128588" cy="128588"/>
            </a:xfrm>
            <a:prstGeom prst="ellipse">
              <a:avLst/>
            </a:prstGeom>
            <a:solidFill>
              <a:schemeClr val="accent1"/>
            </a:solidFill>
            <a:ln>
              <a:noFill/>
            </a:ln>
            <a:effectLst>
              <a:outerShdw sx="154000" sy="154000" algn="ctr" rotWithShape="0">
                <a:schemeClr val="accent1">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48" name="文本框 47">
              <a:extLst>
                <a:ext uri="{FF2B5EF4-FFF2-40B4-BE49-F238E27FC236}">
                  <a16:creationId xmlns:a16="http://schemas.microsoft.com/office/drawing/2014/main" id="{46811399-B8A4-4983-AE97-637D0F985130}"/>
                </a:ext>
              </a:extLst>
            </p:cNvPr>
            <p:cNvSpPr txBox="1"/>
            <p:nvPr/>
          </p:nvSpPr>
          <p:spPr>
            <a:xfrm>
              <a:off x="1191687" y="2121187"/>
              <a:ext cx="714939" cy="307777"/>
            </a:xfrm>
            <a:prstGeom prst="rect">
              <a:avLst/>
            </a:prstGeom>
            <a:noFill/>
          </p:spPr>
          <p:txBody>
            <a:bodyPr wrap="none" lIns="0" tIns="0" rIns="0" bIns="0" rtlCol="0" anchor="t">
              <a:spAutoFit/>
            </a:bodyPr>
            <a:lstStyle/>
            <a:p>
              <a:r>
                <a:rPr lang="en-US" altLang="zh-CN" sz="2000" dirty="0">
                  <a:solidFill>
                    <a:schemeClr val="accent1"/>
                  </a:solidFill>
                  <a:latin typeface="+mj-ea"/>
                  <a:ea typeface="+mj-ea"/>
                </a:rPr>
                <a:t>20XX</a:t>
              </a:r>
              <a:endParaRPr lang="zh-CN" altLang="en-US" sz="2000" dirty="0">
                <a:solidFill>
                  <a:schemeClr val="accent1"/>
                </a:solidFill>
                <a:latin typeface="+mj-ea"/>
                <a:ea typeface="+mj-ea"/>
              </a:endParaRPr>
            </a:p>
          </p:txBody>
        </p:sp>
        <p:sp>
          <p:nvSpPr>
            <p:cNvPr id="49" name="文本框 48">
              <a:extLst>
                <a:ext uri="{FF2B5EF4-FFF2-40B4-BE49-F238E27FC236}">
                  <a16:creationId xmlns:a16="http://schemas.microsoft.com/office/drawing/2014/main" id="{4A440D4D-5E4C-46FE-92EC-8CC0AE834406}"/>
                </a:ext>
              </a:extLst>
            </p:cNvPr>
            <p:cNvSpPr txBox="1"/>
            <p:nvPr/>
          </p:nvSpPr>
          <p:spPr>
            <a:xfrm>
              <a:off x="1110724" y="2396620"/>
              <a:ext cx="1692961" cy="769441"/>
            </a:xfrm>
            <a:prstGeom prst="rect">
              <a:avLst/>
            </a:prstGeom>
            <a:noFill/>
          </p:spPr>
          <p:txBody>
            <a:bodyPr wrap="square" rtlCol="0">
              <a:spAutoFit/>
            </a:bodyPr>
            <a:lstStyle/>
            <a:p>
              <a:r>
                <a:rPr lang="en-US" altLang="zh-CN" sz="1100" dirty="0">
                  <a:solidFill>
                    <a:schemeClr val="accent1"/>
                  </a:solidFill>
                </a:rPr>
                <a:t>Lorem ipsum dolor sit amet consectetur adipisicing elit sed do eiusmod tempor</a:t>
              </a:r>
              <a:endParaRPr lang="zh-CN" altLang="en-US" sz="1100" dirty="0">
                <a:solidFill>
                  <a:schemeClr val="accent1"/>
                </a:solidFill>
              </a:endParaRPr>
            </a:p>
          </p:txBody>
        </p:sp>
      </p:grpSp>
      <p:grpSp>
        <p:nvGrpSpPr>
          <p:cNvPr id="50" name="组合 49">
            <a:extLst>
              <a:ext uri="{FF2B5EF4-FFF2-40B4-BE49-F238E27FC236}">
                <a16:creationId xmlns:a16="http://schemas.microsoft.com/office/drawing/2014/main" id="{9F72EE76-F20D-4925-8A55-3E396AA99544}"/>
              </a:ext>
            </a:extLst>
          </p:cNvPr>
          <p:cNvGrpSpPr/>
          <p:nvPr/>
        </p:nvGrpSpPr>
        <p:grpSpPr>
          <a:xfrm>
            <a:off x="6507048" y="1628951"/>
            <a:ext cx="1890987" cy="2104849"/>
            <a:chOff x="912698" y="2121187"/>
            <a:chExt cx="1890987" cy="2104849"/>
          </a:xfrm>
        </p:grpSpPr>
        <p:cxnSp>
          <p:nvCxnSpPr>
            <p:cNvPr id="51" name="直接连接符 50">
              <a:extLst>
                <a:ext uri="{FF2B5EF4-FFF2-40B4-BE49-F238E27FC236}">
                  <a16:creationId xmlns:a16="http://schemas.microsoft.com/office/drawing/2014/main" id="{3B2D0D70-52D3-4097-90D9-43C0D3C8E67F}"/>
                </a:ext>
              </a:extLst>
            </p:cNvPr>
            <p:cNvCxnSpPr>
              <a:cxnSpLocks/>
            </p:cNvCxnSpPr>
            <p:nvPr/>
          </p:nvCxnSpPr>
          <p:spPr>
            <a:xfrm>
              <a:off x="976992" y="2282372"/>
              <a:ext cx="0" cy="1943664"/>
            </a:xfrm>
            <a:prstGeom prst="line">
              <a:avLst/>
            </a:prstGeom>
            <a:ln w="28575">
              <a:gradFill>
                <a:gsLst>
                  <a:gs pos="0">
                    <a:schemeClr val="accent1"/>
                  </a:gs>
                  <a:gs pos="100000">
                    <a:schemeClr val="accent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52" name="椭圆 51">
              <a:extLst>
                <a:ext uri="{FF2B5EF4-FFF2-40B4-BE49-F238E27FC236}">
                  <a16:creationId xmlns:a16="http://schemas.microsoft.com/office/drawing/2014/main" id="{0A3E6F66-49EE-4DBE-A81E-20A63B92B477}"/>
                </a:ext>
              </a:extLst>
            </p:cNvPr>
            <p:cNvSpPr/>
            <p:nvPr/>
          </p:nvSpPr>
          <p:spPr>
            <a:xfrm>
              <a:off x="912698" y="2181563"/>
              <a:ext cx="128588" cy="128588"/>
            </a:xfrm>
            <a:prstGeom prst="ellipse">
              <a:avLst/>
            </a:prstGeom>
            <a:solidFill>
              <a:schemeClr val="accent1"/>
            </a:solidFill>
            <a:ln>
              <a:noFill/>
            </a:ln>
            <a:effectLst>
              <a:outerShdw sx="154000" sy="154000" algn="ctr" rotWithShape="0">
                <a:schemeClr val="accent1">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53" name="文本框 52">
              <a:extLst>
                <a:ext uri="{FF2B5EF4-FFF2-40B4-BE49-F238E27FC236}">
                  <a16:creationId xmlns:a16="http://schemas.microsoft.com/office/drawing/2014/main" id="{1D67C7E8-758A-4EA4-AB79-81F8AF9F6F51}"/>
                </a:ext>
              </a:extLst>
            </p:cNvPr>
            <p:cNvSpPr txBox="1"/>
            <p:nvPr/>
          </p:nvSpPr>
          <p:spPr>
            <a:xfrm>
              <a:off x="1191687" y="2121187"/>
              <a:ext cx="714939" cy="307777"/>
            </a:xfrm>
            <a:prstGeom prst="rect">
              <a:avLst/>
            </a:prstGeom>
            <a:noFill/>
          </p:spPr>
          <p:txBody>
            <a:bodyPr wrap="none" lIns="0" tIns="0" rIns="0" bIns="0" rtlCol="0" anchor="t">
              <a:spAutoFit/>
            </a:bodyPr>
            <a:lstStyle/>
            <a:p>
              <a:r>
                <a:rPr lang="en-US" altLang="zh-CN" sz="2000" dirty="0">
                  <a:solidFill>
                    <a:schemeClr val="accent1"/>
                  </a:solidFill>
                  <a:latin typeface="+mj-ea"/>
                  <a:ea typeface="+mj-ea"/>
                </a:rPr>
                <a:t>20XX</a:t>
              </a:r>
              <a:endParaRPr lang="zh-CN" altLang="en-US" sz="2000" dirty="0">
                <a:solidFill>
                  <a:schemeClr val="accent1"/>
                </a:solidFill>
                <a:latin typeface="+mj-ea"/>
                <a:ea typeface="+mj-ea"/>
              </a:endParaRPr>
            </a:p>
          </p:txBody>
        </p:sp>
        <p:sp>
          <p:nvSpPr>
            <p:cNvPr id="54" name="文本框 53">
              <a:extLst>
                <a:ext uri="{FF2B5EF4-FFF2-40B4-BE49-F238E27FC236}">
                  <a16:creationId xmlns:a16="http://schemas.microsoft.com/office/drawing/2014/main" id="{F41458F4-6659-440D-9700-F1797D16A5DE}"/>
                </a:ext>
              </a:extLst>
            </p:cNvPr>
            <p:cNvSpPr txBox="1"/>
            <p:nvPr/>
          </p:nvSpPr>
          <p:spPr>
            <a:xfrm>
              <a:off x="1110724" y="2396620"/>
              <a:ext cx="1692961" cy="769441"/>
            </a:xfrm>
            <a:prstGeom prst="rect">
              <a:avLst/>
            </a:prstGeom>
            <a:noFill/>
          </p:spPr>
          <p:txBody>
            <a:bodyPr wrap="square" rtlCol="0">
              <a:spAutoFit/>
            </a:bodyPr>
            <a:lstStyle/>
            <a:p>
              <a:r>
                <a:rPr lang="en-US" altLang="zh-CN" sz="1100" dirty="0">
                  <a:solidFill>
                    <a:schemeClr val="accent1"/>
                  </a:solidFill>
                </a:rPr>
                <a:t>Lorem ipsum dolor sit amet consectetur adipisicing elit sed do eiusmod tempor</a:t>
              </a:r>
              <a:endParaRPr lang="zh-CN" altLang="en-US" sz="1100" dirty="0">
                <a:solidFill>
                  <a:schemeClr val="accent1"/>
                </a:solidFill>
              </a:endParaRPr>
            </a:p>
          </p:txBody>
        </p:sp>
      </p:grpSp>
      <p:grpSp>
        <p:nvGrpSpPr>
          <p:cNvPr id="55" name="组合 54">
            <a:extLst>
              <a:ext uri="{FF2B5EF4-FFF2-40B4-BE49-F238E27FC236}">
                <a16:creationId xmlns:a16="http://schemas.microsoft.com/office/drawing/2014/main" id="{4FAD858C-BA8B-42ED-A440-078A755E9525}"/>
              </a:ext>
            </a:extLst>
          </p:cNvPr>
          <p:cNvGrpSpPr/>
          <p:nvPr/>
        </p:nvGrpSpPr>
        <p:grpSpPr>
          <a:xfrm>
            <a:off x="9405262" y="2015100"/>
            <a:ext cx="1890987" cy="2104849"/>
            <a:chOff x="912698" y="2121187"/>
            <a:chExt cx="1890987" cy="2104849"/>
          </a:xfrm>
        </p:grpSpPr>
        <p:cxnSp>
          <p:nvCxnSpPr>
            <p:cNvPr id="56" name="直接连接符 55">
              <a:extLst>
                <a:ext uri="{FF2B5EF4-FFF2-40B4-BE49-F238E27FC236}">
                  <a16:creationId xmlns:a16="http://schemas.microsoft.com/office/drawing/2014/main" id="{2B71B681-647E-49EC-8761-17D1A83A2868}"/>
                </a:ext>
              </a:extLst>
            </p:cNvPr>
            <p:cNvCxnSpPr>
              <a:cxnSpLocks/>
            </p:cNvCxnSpPr>
            <p:nvPr/>
          </p:nvCxnSpPr>
          <p:spPr>
            <a:xfrm>
              <a:off x="976992" y="2282372"/>
              <a:ext cx="0" cy="1943664"/>
            </a:xfrm>
            <a:prstGeom prst="line">
              <a:avLst/>
            </a:prstGeom>
            <a:ln w="28575">
              <a:gradFill>
                <a:gsLst>
                  <a:gs pos="0">
                    <a:schemeClr val="accent1"/>
                  </a:gs>
                  <a:gs pos="100000">
                    <a:schemeClr val="accent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57" name="椭圆 56">
              <a:extLst>
                <a:ext uri="{FF2B5EF4-FFF2-40B4-BE49-F238E27FC236}">
                  <a16:creationId xmlns:a16="http://schemas.microsoft.com/office/drawing/2014/main" id="{7F5BEC9F-47F1-4FC4-93FD-B6D2DBAE74C1}"/>
                </a:ext>
              </a:extLst>
            </p:cNvPr>
            <p:cNvSpPr/>
            <p:nvPr/>
          </p:nvSpPr>
          <p:spPr>
            <a:xfrm>
              <a:off x="912698" y="2181563"/>
              <a:ext cx="128588" cy="128588"/>
            </a:xfrm>
            <a:prstGeom prst="ellipse">
              <a:avLst/>
            </a:prstGeom>
            <a:solidFill>
              <a:schemeClr val="accent1"/>
            </a:solidFill>
            <a:ln>
              <a:noFill/>
            </a:ln>
            <a:effectLst>
              <a:outerShdw sx="154000" sy="154000" algn="ctr" rotWithShape="0">
                <a:schemeClr val="accent1">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58" name="文本框 57">
              <a:extLst>
                <a:ext uri="{FF2B5EF4-FFF2-40B4-BE49-F238E27FC236}">
                  <a16:creationId xmlns:a16="http://schemas.microsoft.com/office/drawing/2014/main" id="{44A7DD79-B31E-4C60-B304-C1BD3434708F}"/>
                </a:ext>
              </a:extLst>
            </p:cNvPr>
            <p:cNvSpPr txBox="1"/>
            <p:nvPr/>
          </p:nvSpPr>
          <p:spPr>
            <a:xfrm>
              <a:off x="1191687" y="2121187"/>
              <a:ext cx="714939" cy="307777"/>
            </a:xfrm>
            <a:prstGeom prst="rect">
              <a:avLst/>
            </a:prstGeom>
            <a:noFill/>
          </p:spPr>
          <p:txBody>
            <a:bodyPr wrap="none" lIns="0" tIns="0" rIns="0" bIns="0" rtlCol="0" anchor="t">
              <a:spAutoFit/>
            </a:bodyPr>
            <a:lstStyle/>
            <a:p>
              <a:r>
                <a:rPr lang="en-US" altLang="zh-CN" sz="2000" dirty="0">
                  <a:solidFill>
                    <a:schemeClr val="accent1"/>
                  </a:solidFill>
                  <a:latin typeface="+mj-ea"/>
                  <a:ea typeface="+mj-ea"/>
                </a:rPr>
                <a:t>20XX</a:t>
              </a:r>
              <a:endParaRPr lang="zh-CN" altLang="en-US" sz="2000" dirty="0">
                <a:solidFill>
                  <a:schemeClr val="accent1"/>
                </a:solidFill>
                <a:latin typeface="+mj-ea"/>
                <a:ea typeface="+mj-ea"/>
              </a:endParaRPr>
            </a:p>
          </p:txBody>
        </p:sp>
        <p:sp>
          <p:nvSpPr>
            <p:cNvPr id="65" name="文本框 64">
              <a:extLst>
                <a:ext uri="{FF2B5EF4-FFF2-40B4-BE49-F238E27FC236}">
                  <a16:creationId xmlns:a16="http://schemas.microsoft.com/office/drawing/2014/main" id="{2054E420-B2C1-4967-A95B-5C336170EDA3}"/>
                </a:ext>
              </a:extLst>
            </p:cNvPr>
            <p:cNvSpPr txBox="1"/>
            <p:nvPr/>
          </p:nvSpPr>
          <p:spPr>
            <a:xfrm>
              <a:off x="1110724" y="2396620"/>
              <a:ext cx="1692961" cy="769441"/>
            </a:xfrm>
            <a:prstGeom prst="rect">
              <a:avLst/>
            </a:prstGeom>
            <a:noFill/>
          </p:spPr>
          <p:txBody>
            <a:bodyPr wrap="square" rtlCol="0">
              <a:spAutoFit/>
            </a:bodyPr>
            <a:lstStyle/>
            <a:p>
              <a:r>
                <a:rPr lang="en-US" altLang="zh-CN" sz="1100" dirty="0">
                  <a:solidFill>
                    <a:schemeClr val="accent1"/>
                  </a:solidFill>
                </a:rPr>
                <a:t>Lorem ipsum dolor sit amet consectetur adipisicing elit sed do eiusmod tempor</a:t>
              </a:r>
              <a:endParaRPr lang="zh-CN" altLang="en-US" sz="1100" dirty="0">
                <a:solidFill>
                  <a:schemeClr val="accent1"/>
                </a:solidFill>
              </a:endParaRPr>
            </a:p>
          </p:txBody>
        </p:sp>
      </p:grpSp>
    </p:spTree>
    <p:custDataLst>
      <p:tags r:id="rId2"/>
    </p:custDataLst>
    <p:extLst>
      <p:ext uri="{BB962C8B-B14F-4D97-AF65-F5344CB8AC3E}">
        <p14:creationId xmlns:p14="http://schemas.microsoft.com/office/powerpoint/2010/main" val="967184225"/>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3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任意多边形: 形状 1">
            <a:extLst>
              <a:ext uri="{FF2B5EF4-FFF2-40B4-BE49-F238E27FC236}">
                <a16:creationId xmlns:a16="http://schemas.microsoft.com/office/drawing/2014/main" id="{26467F01-E66A-4778-916A-ADB39F42E118}"/>
              </a:ext>
            </a:extLst>
          </p:cNvPr>
          <p:cNvSpPr/>
          <p:nvPr/>
        </p:nvSpPr>
        <p:spPr>
          <a:xfrm>
            <a:off x="-12700" y="3339239"/>
            <a:ext cx="12204700" cy="508861"/>
          </a:xfrm>
          <a:custGeom>
            <a:avLst/>
            <a:gdLst>
              <a:gd name="connsiteX0" fmla="*/ 0 w 12204700"/>
              <a:gd name="connsiteY0" fmla="*/ 343761 h 508861"/>
              <a:gd name="connsiteX1" fmla="*/ 2286000 w 12204700"/>
              <a:gd name="connsiteY1" fmla="*/ 861 h 508861"/>
              <a:gd name="connsiteX2" fmla="*/ 5588000 w 12204700"/>
              <a:gd name="connsiteY2" fmla="*/ 432661 h 508861"/>
              <a:gd name="connsiteX3" fmla="*/ 8788400 w 12204700"/>
              <a:gd name="connsiteY3" fmla="*/ 64361 h 508861"/>
              <a:gd name="connsiteX4" fmla="*/ 12204700 w 12204700"/>
              <a:gd name="connsiteY4" fmla="*/ 508861 h 5088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04700" h="508861">
                <a:moveTo>
                  <a:pt x="0" y="343761"/>
                </a:moveTo>
                <a:cubicBezTo>
                  <a:pt x="677333" y="164902"/>
                  <a:pt x="1354667" y="-13956"/>
                  <a:pt x="2286000" y="861"/>
                </a:cubicBezTo>
                <a:cubicBezTo>
                  <a:pt x="3217333" y="15678"/>
                  <a:pt x="4504267" y="422078"/>
                  <a:pt x="5588000" y="432661"/>
                </a:cubicBezTo>
                <a:cubicBezTo>
                  <a:pt x="6671733" y="443244"/>
                  <a:pt x="7685617" y="51661"/>
                  <a:pt x="8788400" y="64361"/>
                </a:cubicBezTo>
                <a:cubicBezTo>
                  <a:pt x="9891183" y="77061"/>
                  <a:pt x="11047941" y="292961"/>
                  <a:pt x="12204700" y="508861"/>
                </a:cubicBezTo>
              </a:path>
            </a:pathLst>
          </a:cu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 name="任意多边形: 形状 2">
            <a:extLst>
              <a:ext uri="{FF2B5EF4-FFF2-40B4-BE49-F238E27FC236}">
                <a16:creationId xmlns:a16="http://schemas.microsoft.com/office/drawing/2014/main" id="{0F650E7E-C0E3-4AA7-9F67-E1B685EFBFF3}"/>
              </a:ext>
            </a:extLst>
          </p:cNvPr>
          <p:cNvSpPr/>
          <p:nvPr/>
        </p:nvSpPr>
        <p:spPr>
          <a:xfrm>
            <a:off x="-50800" y="3314700"/>
            <a:ext cx="12268200" cy="457200"/>
          </a:xfrm>
          <a:custGeom>
            <a:avLst/>
            <a:gdLst>
              <a:gd name="connsiteX0" fmla="*/ 0 w 12268200"/>
              <a:gd name="connsiteY0" fmla="*/ 0 h 457200"/>
              <a:gd name="connsiteX1" fmla="*/ 2260600 w 12268200"/>
              <a:gd name="connsiteY1" fmla="*/ 342900 h 457200"/>
              <a:gd name="connsiteX2" fmla="*/ 6210300 w 12268200"/>
              <a:gd name="connsiteY2" fmla="*/ 177800 h 457200"/>
              <a:gd name="connsiteX3" fmla="*/ 9639300 w 12268200"/>
              <a:gd name="connsiteY3" fmla="*/ 457200 h 457200"/>
              <a:gd name="connsiteX4" fmla="*/ 12268200 w 12268200"/>
              <a:gd name="connsiteY4" fmla="*/ 177800 h 457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68200" h="457200">
                <a:moveTo>
                  <a:pt x="0" y="0"/>
                </a:moveTo>
                <a:cubicBezTo>
                  <a:pt x="612775" y="156633"/>
                  <a:pt x="1225550" y="313267"/>
                  <a:pt x="2260600" y="342900"/>
                </a:cubicBezTo>
                <a:cubicBezTo>
                  <a:pt x="3295650" y="372533"/>
                  <a:pt x="4980517" y="158750"/>
                  <a:pt x="6210300" y="177800"/>
                </a:cubicBezTo>
                <a:cubicBezTo>
                  <a:pt x="7440083" y="196850"/>
                  <a:pt x="8629650" y="457200"/>
                  <a:pt x="9639300" y="457200"/>
                </a:cubicBezTo>
                <a:cubicBezTo>
                  <a:pt x="10648950" y="457200"/>
                  <a:pt x="11458575" y="317500"/>
                  <a:pt x="12268200" y="177800"/>
                </a:cubicBezTo>
              </a:path>
            </a:pathLst>
          </a:custGeom>
          <a:noFill/>
          <a:ln>
            <a:solidFill>
              <a:schemeClr val="accent1">
                <a:alpha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 name="任意多边形: 形状 4">
            <a:extLst>
              <a:ext uri="{FF2B5EF4-FFF2-40B4-BE49-F238E27FC236}">
                <a16:creationId xmlns:a16="http://schemas.microsoft.com/office/drawing/2014/main" id="{C96AEA5F-60DA-4B62-A61D-306D2BDC0107}"/>
              </a:ext>
            </a:extLst>
          </p:cNvPr>
          <p:cNvSpPr/>
          <p:nvPr/>
        </p:nvSpPr>
        <p:spPr>
          <a:xfrm>
            <a:off x="-25400" y="3048000"/>
            <a:ext cx="12230100" cy="927595"/>
          </a:xfrm>
          <a:custGeom>
            <a:avLst/>
            <a:gdLst>
              <a:gd name="connsiteX0" fmla="*/ 0 w 12230100"/>
              <a:gd name="connsiteY0" fmla="*/ 0 h 927595"/>
              <a:gd name="connsiteX1" fmla="*/ 2489200 w 12230100"/>
              <a:gd name="connsiteY1" fmla="*/ 927100 h 927595"/>
              <a:gd name="connsiteX2" fmla="*/ 5842000 w 12230100"/>
              <a:gd name="connsiteY2" fmla="*/ 139700 h 927595"/>
              <a:gd name="connsiteX3" fmla="*/ 9258300 w 12230100"/>
              <a:gd name="connsiteY3" fmla="*/ 889000 h 927595"/>
              <a:gd name="connsiteX4" fmla="*/ 12230100 w 12230100"/>
              <a:gd name="connsiteY4" fmla="*/ 127000 h 9275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30100" h="927595">
                <a:moveTo>
                  <a:pt x="0" y="0"/>
                </a:moveTo>
                <a:cubicBezTo>
                  <a:pt x="757766" y="451908"/>
                  <a:pt x="1515533" y="903817"/>
                  <a:pt x="2489200" y="927100"/>
                </a:cubicBezTo>
                <a:cubicBezTo>
                  <a:pt x="3462867" y="950383"/>
                  <a:pt x="4713817" y="146050"/>
                  <a:pt x="5842000" y="139700"/>
                </a:cubicBezTo>
                <a:cubicBezTo>
                  <a:pt x="6970183" y="133350"/>
                  <a:pt x="8193617" y="891117"/>
                  <a:pt x="9258300" y="889000"/>
                </a:cubicBezTo>
                <a:cubicBezTo>
                  <a:pt x="10322983" y="886883"/>
                  <a:pt x="11276541" y="506941"/>
                  <a:pt x="12230100" y="127000"/>
                </a:cubicBezTo>
              </a:path>
            </a:pathLst>
          </a:cu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7" name="椭圆 26">
            <a:extLst>
              <a:ext uri="{FF2B5EF4-FFF2-40B4-BE49-F238E27FC236}">
                <a16:creationId xmlns:a16="http://schemas.microsoft.com/office/drawing/2014/main" id="{D561AD98-BFEE-4A66-8B04-5AE8D805608E}"/>
              </a:ext>
            </a:extLst>
          </p:cNvPr>
          <p:cNvSpPr/>
          <p:nvPr/>
        </p:nvSpPr>
        <p:spPr>
          <a:xfrm>
            <a:off x="1733621" y="3271332"/>
            <a:ext cx="135813" cy="135813"/>
          </a:xfrm>
          <a:prstGeom prst="ellipse">
            <a:avLst/>
          </a:prstGeom>
          <a:solidFill>
            <a:schemeClr val="accent1"/>
          </a:solidFill>
          <a:ln w="41275">
            <a:solidFill>
              <a:schemeClr val="bg1"/>
            </a:solidFill>
          </a:ln>
          <a:effectLst>
            <a:outerShdw blurRad="127000" sx="102000" sy="102000" algn="ctr" rotWithShape="0">
              <a:schemeClr val="accent1">
                <a:lumMod val="90000"/>
                <a:lumOff val="10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28" name="文本框 27">
            <a:extLst>
              <a:ext uri="{FF2B5EF4-FFF2-40B4-BE49-F238E27FC236}">
                <a16:creationId xmlns:a16="http://schemas.microsoft.com/office/drawing/2014/main" id="{6EEE52A8-C893-4DCB-A34A-5C2552493864}"/>
              </a:ext>
            </a:extLst>
          </p:cNvPr>
          <p:cNvSpPr txBox="1"/>
          <p:nvPr/>
        </p:nvSpPr>
        <p:spPr>
          <a:xfrm>
            <a:off x="1435764" y="2279703"/>
            <a:ext cx="714939" cy="307777"/>
          </a:xfrm>
          <a:prstGeom prst="rect">
            <a:avLst/>
          </a:prstGeom>
          <a:noFill/>
        </p:spPr>
        <p:txBody>
          <a:bodyPr wrap="none" lIns="0" tIns="0" rIns="0" bIns="0" rtlCol="0" anchor="t">
            <a:spAutoFit/>
          </a:bodyPr>
          <a:lstStyle/>
          <a:p>
            <a:pPr algn="ctr"/>
            <a:r>
              <a:rPr lang="en-US" altLang="zh-CN" sz="2000" dirty="0">
                <a:solidFill>
                  <a:schemeClr val="accent1"/>
                </a:solidFill>
                <a:latin typeface="+mj-ea"/>
                <a:ea typeface="+mj-ea"/>
              </a:rPr>
              <a:t>20XX</a:t>
            </a:r>
            <a:endParaRPr lang="zh-CN" altLang="en-US" sz="2000" dirty="0">
              <a:solidFill>
                <a:schemeClr val="accent1"/>
              </a:solidFill>
              <a:latin typeface="+mj-ea"/>
              <a:ea typeface="+mj-ea"/>
            </a:endParaRPr>
          </a:p>
        </p:txBody>
      </p:sp>
      <p:sp>
        <p:nvSpPr>
          <p:cNvPr id="29" name="文本框 28">
            <a:extLst>
              <a:ext uri="{FF2B5EF4-FFF2-40B4-BE49-F238E27FC236}">
                <a16:creationId xmlns:a16="http://schemas.microsoft.com/office/drawing/2014/main" id="{C3156B13-E32D-42D5-ABC4-ECAF67328A82}"/>
              </a:ext>
            </a:extLst>
          </p:cNvPr>
          <p:cNvSpPr txBox="1"/>
          <p:nvPr/>
        </p:nvSpPr>
        <p:spPr>
          <a:xfrm>
            <a:off x="769113" y="2555136"/>
            <a:ext cx="2048242" cy="600164"/>
          </a:xfrm>
          <a:prstGeom prst="rect">
            <a:avLst/>
          </a:prstGeom>
          <a:noFill/>
        </p:spPr>
        <p:txBody>
          <a:bodyPr wrap="square" rtlCol="0">
            <a:spAutoFit/>
          </a:bodyPr>
          <a:lstStyle/>
          <a:p>
            <a:pPr algn="ctr"/>
            <a:r>
              <a:rPr lang="en-US" altLang="zh-CN" sz="1100" dirty="0">
                <a:solidFill>
                  <a:schemeClr val="accent1"/>
                </a:solidFill>
              </a:rPr>
              <a:t>Lorem ipsum dolor sit amet consectetur adipisicing elit sed do eiusmod tempor</a:t>
            </a:r>
            <a:endParaRPr lang="zh-CN" altLang="en-US" sz="1100" dirty="0">
              <a:solidFill>
                <a:schemeClr val="accent1"/>
              </a:solidFill>
            </a:endParaRPr>
          </a:p>
        </p:txBody>
      </p:sp>
      <p:sp>
        <p:nvSpPr>
          <p:cNvPr id="32" name="椭圆 31">
            <a:extLst>
              <a:ext uri="{FF2B5EF4-FFF2-40B4-BE49-F238E27FC236}">
                <a16:creationId xmlns:a16="http://schemas.microsoft.com/office/drawing/2014/main" id="{4A996FEB-5A39-4699-8034-FF495011B9FB}"/>
              </a:ext>
            </a:extLst>
          </p:cNvPr>
          <p:cNvSpPr/>
          <p:nvPr/>
        </p:nvSpPr>
        <p:spPr>
          <a:xfrm>
            <a:off x="4019621" y="3518982"/>
            <a:ext cx="135813" cy="135813"/>
          </a:xfrm>
          <a:prstGeom prst="ellipse">
            <a:avLst/>
          </a:prstGeom>
          <a:solidFill>
            <a:schemeClr val="accent1"/>
          </a:solidFill>
          <a:ln w="41275">
            <a:solidFill>
              <a:schemeClr val="bg1"/>
            </a:solidFill>
          </a:ln>
          <a:effectLst>
            <a:outerShdw blurRad="127000" sx="102000" sy="102000" algn="ctr" rotWithShape="0">
              <a:schemeClr val="accent1">
                <a:lumMod val="90000"/>
                <a:lumOff val="10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33" name="文本框 32">
            <a:extLst>
              <a:ext uri="{FF2B5EF4-FFF2-40B4-BE49-F238E27FC236}">
                <a16:creationId xmlns:a16="http://schemas.microsoft.com/office/drawing/2014/main" id="{D184C910-642B-493D-8D1F-72FFDE033CF1}"/>
              </a:ext>
            </a:extLst>
          </p:cNvPr>
          <p:cNvSpPr txBox="1"/>
          <p:nvPr/>
        </p:nvSpPr>
        <p:spPr>
          <a:xfrm>
            <a:off x="3662151" y="3763167"/>
            <a:ext cx="714939" cy="307777"/>
          </a:xfrm>
          <a:prstGeom prst="rect">
            <a:avLst/>
          </a:prstGeom>
          <a:noFill/>
        </p:spPr>
        <p:txBody>
          <a:bodyPr wrap="none" lIns="0" tIns="0" rIns="0" bIns="0" rtlCol="0" anchor="t">
            <a:spAutoFit/>
          </a:bodyPr>
          <a:lstStyle/>
          <a:p>
            <a:pPr algn="ctr"/>
            <a:r>
              <a:rPr lang="en-US" altLang="zh-CN" sz="2000" dirty="0">
                <a:solidFill>
                  <a:schemeClr val="accent1"/>
                </a:solidFill>
                <a:latin typeface="+mj-ea"/>
                <a:ea typeface="+mj-ea"/>
              </a:rPr>
              <a:t>20XX</a:t>
            </a:r>
            <a:endParaRPr lang="zh-CN" altLang="en-US" sz="2000" dirty="0">
              <a:solidFill>
                <a:schemeClr val="accent1"/>
              </a:solidFill>
              <a:latin typeface="+mj-ea"/>
              <a:ea typeface="+mj-ea"/>
            </a:endParaRPr>
          </a:p>
        </p:txBody>
      </p:sp>
      <p:sp>
        <p:nvSpPr>
          <p:cNvPr id="34" name="文本框 33">
            <a:extLst>
              <a:ext uri="{FF2B5EF4-FFF2-40B4-BE49-F238E27FC236}">
                <a16:creationId xmlns:a16="http://schemas.microsoft.com/office/drawing/2014/main" id="{7889FF60-06E6-4850-A67C-D62853849060}"/>
              </a:ext>
            </a:extLst>
          </p:cNvPr>
          <p:cNvSpPr txBox="1"/>
          <p:nvPr/>
        </p:nvSpPr>
        <p:spPr>
          <a:xfrm>
            <a:off x="2995500" y="4038600"/>
            <a:ext cx="2048242" cy="600164"/>
          </a:xfrm>
          <a:prstGeom prst="rect">
            <a:avLst/>
          </a:prstGeom>
          <a:noFill/>
        </p:spPr>
        <p:txBody>
          <a:bodyPr wrap="square" rtlCol="0">
            <a:spAutoFit/>
          </a:bodyPr>
          <a:lstStyle/>
          <a:p>
            <a:pPr algn="ctr"/>
            <a:r>
              <a:rPr lang="en-US" altLang="zh-CN" sz="1100" dirty="0">
                <a:solidFill>
                  <a:schemeClr val="accent1"/>
                </a:solidFill>
              </a:rPr>
              <a:t>Lorem ipsum dolor sit amet consectetur adipisicing elit sed do eiusmod tempor</a:t>
            </a:r>
            <a:endParaRPr lang="zh-CN" altLang="en-US" sz="1100" dirty="0">
              <a:solidFill>
                <a:schemeClr val="accent1"/>
              </a:solidFill>
            </a:endParaRPr>
          </a:p>
        </p:txBody>
      </p:sp>
      <p:sp>
        <p:nvSpPr>
          <p:cNvPr id="35" name="椭圆 34">
            <a:extLst>
              <a:ext uri="{FF2B5EF4-FFF2-40B4-BE49-F238E27FC236}">
                <a16:creationId xmlns:a16="http://schemas.microsoft.com/office/drawing/2014/main" id="{F43ED6D9-41F0-434B-AADA-A8BD61C76601}"/>
              </a:ext>
            </a:extLst>
          </p:cNvPr>
          <p:cNvSpPr/>
          <p:nvPr/>
        </p:nvSpPr>
        <p:spPr>
          <a:xfrm>
            <a:off x="7418815" y="3475393"/>
            <a:ext cx="135813" cy="135813"/>
          </a:xfrm>
          <a:prstGeom prst="ellipse">
            <a:avLst/>
          </a:prstGeom>
          <a:solidFill>
            <a:schemeClr val="accent1"/>
          </a:solidFill>
          <a:ln w="41275">
            <a:solidFill>
              <a:schemeClr val="bg1"/>
            </a:solidFill>
          </a:ln>
          <a:effectLst>
            <a:outerShdw blurRad="127000" sx="102000" sy="102000" algn="ctr" rotWithShape="0">
              <a:schemeClr val="accent1">
                <a:lumMod val="90000"/>
                <a:lumOff val="10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36" name="文本框 35">
            <a:extLst>
              <a:ext uri="{FF2B5EF4-FFF2-40B4-BE49-F238E27FC236}">
                <a16:creationId xmlns:a16="http://schemas.microsoft.com/office/drawing/2014/main" id="{FD58D3EC-0852-4C59-B6E5-612B3CB59777}"/>
              </a:ext>
            </a:extLst>
          </p:cNvPr>
          <p:cNvSpPr txBox="1"/>
          <p:nvPr/>
        </p:nvSpPr>
        <p:spPr>
          <a:xfrm>
            <a:off x="7129252" y="2395748"/>
            <a:ext cx="714939" cy="307777"/>
          </a:xfrm>
          <a:prstGeom prst="rect">
            <a:avLst/>
          </a:prstGeom>
          <a:noFill/>
        </p:spPr>
        <p:txBody>
          <a:bodyPr wrap="none" lIns="0" tIns="0" rIns="0" bIns="0" rtlCol="0" anchor="t">
            <a:spAutoFit/>
          </a:bodyPr>
          <a:lstStyle/>
          <a:p>
            <a:pPr algn="ctr"/>
            <a:r>
              <a:rPr lang="en-US" altLang="zh-CN" sz="2000" dirty="0">
                <a:solidFill>
                  <a:schemeClr val="accent1"/>
                </a:solidFill>
                <a:latin typeface="+mj-ea"/>
                <a:ea typeface="+mj-ea"/>
              </a:rPr>
              <a:t>20XX</a:t>
            </a:r>
            <a:endParaRPr lang="zh-CN" altLang="en-US" sz="2000" dirty="0">
              <a:solidFill>
                <a:schemeClr val="accent1"/>
              </a:solidFill>
              <a:latin typeface="+mj-ea"/>
              <a:ea typeface="+mj-ea"/>
            </a:endParaRPr>
          </a:p>
        </p:txBody>
      </p:sp>
      <p:sp>
        <p:nvSpPr>
          <p:cNvPr id="37" name="文本框 36">
            <a:extLst>
              <a:ext uri="{FF2B5EF4-FFF2-40B4-BE49-F238E27FC236}">
                <a16:creationId xmlns:a16="http://schemas.microsoft.com/office/drawing/2014/main" id="{4542E52C-F349-4CC6-917D-BE8623017E72}"/>
              </a:ext>
            </a:extLst>
          </p:cNvPr>
          <p:cNvSpPr txBox="1"/>
          <p:nvPr/>
        </p:nvSpPr>
        <p:spPr>
          <a:xfrm>
            <a:off x="6462600" y="2671181"/>
            <a:ext cx="2048242" cy="600164"/>
          </a:xfrm>
          <a:prstGeom prst="rect">
            <a:avLst/>
          </a:prstGeom>
          <a:noFill/>
        </p:spPr>
        <p:txBody>
          <a:bodyPr wrap="square" rtlCol="0">
            <a:spAutoFit/>
          </a:bodyPr>
          <a:lstStyle/>
          <a:p>
            <a:pPr algn="ctr"/>
            <a:r>
              <a:rPr lang="en-US" altLang="zh-CN" sz="1100" dirty="0">
                <a:solidFill>
                  <a:schemeClr val="accent1"/>
                </a:solidFill>
              </a:rPr>
              <a:t>Lorem ipsum dolor sit amet consectetur adipisicing elit sed do eiusmod tempor</a:t>
            </a:r>
            <a:endParaRPr lang="zh-CN" altLang="en-US" sz="1100" dirty="0">
              <a:solidFill>
                <a:schemeClr val="accent1"/>
              </a:solidFill>
            </a:endParaRPr>
          </a:p>
        </p:txBody>
      </p:sp>
      <p:sp>
        <p:nvSpPr>
          <p:cNvPr id="40" name="椭圆 39">
            <a:extLst>
              <a:ext uri="{FF2B5EF4-FFF2-40B4-BE49-F238E27FC236}">
                <a16:creationId xmlns:a16="http://schemas.microsoft.com/office/drawing/2014/main" id="{600C7FC6-4F42-4839-ACCC-E684BBFD890B}"/>
              </a:ext>
            </a:extLst>
          </p:cNvPr>
          <p:cNvSpPr/>
          <p:nvPr/>
        </p:nvSpPr>
        <p:spPr>
          <a:xfrm>
            <a:off x="10647790" y="3503968"/>
            <a:ext cx="135813" cy="135813"/>
          </a:xfrm>
          <a:prstGeom prst="ellipse">
            <a:avLst/>
          </a:prstGeom>
          <a:solidFill>
            <a:schemeClr val="accent1"/>
          </a:solidFill>
          <a:ln w="41275">
            <a:solidFill>
              <a:schemeClr val="bg1"/>
            </a:solidFill>
          </a:ln>
          <a:effectLst>
            <a:outerShdw blurRad="127000" sx="102000" sy="102000" algn="ctr" rotWithShape="0">
              <a:schemeClr val="accent1">
                <a:lumMod val="90000"/>
                <a:lumOff val="10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42" name="文本框 41">
            <a:extLst>
              <a:ext uri="{FF2B5EF4-FFF2-40B4-BE49-F238E27FC236}">
                <a16:creationId xmlns:a16="http://schemas.microsoft.com/office/drawing/2014/main" id="{AF2ECAC5-4699-4D21-9475-DFD269D9BE67}"/>
              </a:ext>
            </a:extLst>
          </p:cNvPr>
          <p:cNvSpPr txBox="1"/>
          <p:nvPr/>
        </p:nvSpPr>
        <p:spPr>
          <a:xfrm>
            <a:off x="10358227" y="3925956"/>
            <a:ext cx="714939" cy="307777"/>
          </a:xfrm>
          <a:prstGeom prst="rect">
            <a:avLst/>
          </a:prstGeom>
          <a:noFill/>
        </p:spPr>
        <p:txBody>
          <a:bodyPr wrap="none" lIns="0" tIns="0" rIns="0" bIns="0" rtlCol="0" anchor="t">
            <a:spAutoFit/>
          </a:bodyPr>
          <a:lstStyle/>
          <a:p>
            <a:pPr algn="ctr"/>
            <a:r>
              <a:rPr lang="en-US" altLang="zh-CN" sz="2000" dirty="0">
                <a:solidFill>
                  <a:schemeClr val="accent1"/>
                </a:solidFill>
                <a:latin typeface="+mj-ea"/>
                <a:ea typeface="+mj-ea"/>
              </a:rPr>
              <a:t>20XX</a:t>
            </a:r>
            <a:endParaRPr lang="zh-CN" altLang="en-US" sz="2000" dirty="0">
              <a:solidFill>
                <a:schemeClr val="accent1"/>
              </a:solidFill>
              <a:latin typeface="+mj-ea"/>
              <a:ea typeface="+mj-ea"/>
            </a:endParaRPr>
          </a:p>
        </p:txBody>
      </p:sp>
      <p:sp>
        <p:nvSpPr>
          <p:cNvPr id="43" name="文本框 42">
            <a:extLst>
              <a:ext uri="{FF2B5EF4-FFF2-40B4-BE49-F238E27FC236}">
                <a16:creationId xmlns:a16="http://schemas.microsoft.com/office/drawing/2014/main" id="{3164EE22-4AAA-4B54-AF16-EDF37F80FBD2}"/>
              </a:ext>
            </a:extLst>
          </p:cNvPr>
          <p:cNvSpPr txBox="1"/>
          <p:nvPr/>
        </p:nvSpPr>
        <p:spPr>
          <a:xfrm>
            <a:off x="9691575" y="4201389"/>
            <a:ext cx="2048242" cy="600164"/>
          </a:xfrm>
          <a:prstGeom prst="rect">
            <a:avLst/>
          </a:prstGeom>
          <a:noFill/>
        </p:spPr>
        <p:txBody>
          <a:bodyPr wrap="square" rtlCol="0">
            <a:spAutoFit/>
          </a:bodyPr>
          <a:lstStyle/>
          <a:p>
            <a:pPr algn="ctr"/>
            <a:r>
              <a:rPr lang="en-US" altLang="zh-CN" sz="1100" dirty="0">
                <a:solidFill>
                  <a:schemeClr val="accent1"/>
                </a:solidFill>
              </a:rPr>
              <a:t>Lorem ipsum dolor sit amet consectetur adipisicing elit sed do eiusmod tempor</a:t>
            </a:r>
            <a:endParaRPr lang="zh-CN" altLang="en-US" sz="1100" dirty="0">
              <a:solidFill>
                <a:schemeClr val="accent1"/>
              </a:solidFill>
            </a:endParaRPr>
          </a:p>
        </p:txBody>
      </p:sp>
    </p:spTree>
    <p:custDataLst>
      <p:tags r:id="rId2"/>
    </p:custDataLst>
    <p:extLst>
      <p:ext uri="{BB962C8B-B14F-4D97-AF65-F5344CB8AC3E}">
        <p14:creationId xmlns:p14="http://schemas.microsoft.com/office/powerpoint/2010/main" val="2245879411"/>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3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图片 2" descr="图片包含 游戏机, 体育, 刷子&#10;&#10;描述已自动生成">
            <a:extLst>
              <a:ext uri="{FF2B5EF4-FFF2-40B4-BE49-F238E27FC236}">
                <a16:creationId xmlns:a16="http://schemas.microsoft.com/office/drawing/2014/main" id="{3C359B71-E634-44BE-A0EE-96FB1818B54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4145213"/>
            <a:ext cx="12192000" cy="1785687"/>
          </a:xfrm>
          <a:prstGeom prst="rect">
            <a:avLst/>
          </a:prstGeom>
        </p:spPr>
      </p:pic>
      <p:grpSp>
        <p:nvGrpSpPr>
          <p:cNvPr id="4" name="组合 3">
            <a:extLst>
              <a:ext uri="{FF2B5EF4-FFF2-40B4-BE49-F238E27FC236}">
                <a16:creationId xmlns:a16="http://schemas.microsoft.com/office/drawing/2014/main" id="{E9E95FB1-40FF-4486-BEF0-12041A48ADBB}"/>
              </a:ext>
            </a:extLst>
          </p:cNvPr>
          <p:cNvGrpSpPr/>
          <p:nvPr/>
        </p:nvGrpSpPr>
        <p:grpSpPr>
          <a:xfrm>
            <a:off x="741248" y="2517951"/>
            <a:ext cx="1890987" cy="2104849"/>
            <a:chOff x="912698" y="2121187"/>
            <a:chExt cx="1890987" cy="2104849"/>
          </a:xfrm>
        </p:grpSpPr>
        <p:cxnSp>
          <p:nvCxnSpPr>
            <p:cNvPr id="5" name="直接连接符 4">
              <a:extLst>
                <a:ext uri="{FF2B5EF4-FFF2-40B4-BE49-F238E27FC236}">
                  <a16:creationId xmlns:a16="http://schemas.microsoft.com/office/drawing/2014/main" id="{83D4C06C-C02A-4457-8930-5E4DEB7294AD}"/>
                </a:ext>
              </a:extLst>
            </p:cNvPr>
            <p:cNvCxnSpPr>
              <a:cxnSpLocks/>
            </p:cNvCxnSpPr>
            <p:nvPr/>
          </p:nvCxnSpPr>
          <p:spPr>
            <a:xfrm>
              <a:off x="976992" y="2282372"/>
              <a:ext cx="0" cy="1943664"/>
            </a:xfrm>
            <a:prstGeom prst="line">
              <a:avLst/>
            </a:prstGeom>
            <a:ln w="28575">
              <a:gradFill>
                <a:gsLst>
                  <a:gs pos="0">
                    <a:schemeClr val="accent1"/>
                  </a:gs>
                  <a:gs pos="100000">
                    <a:schemeClr val="accent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6" name="椭圆 5">
              <a:extLst>
                <a:ext uri="{FF2B5EF4-FFF2-40B4-BE49-F238E27FC236}">
                  <a16:creationId xmlns:a16="http://schemas.microsoft.com/office/drawing/2014/main" id="{B7E126C2-379E-4A04-87BB-805CC4DBCED2}"/>
                </a:ext>
              </a:extLst>
            </p:cNvPr>
            <p:cNvSpPr/>
            <p:nvPr/>
          </p:nvSpPr>
          <p:spPr>
            <a:xfrm>
              <a:off x="912698" y="2181563"/>
              <a:ext cx="128588" cy="128588"/>
            </a:xfrm>
            <a:prstGeom prst="ellipse">
              <a:avLst/>
            </a:prstGeom>
            <a:solidFill>
              <a:schemeClr val="accent1"/>
            </a:solidFill>
            <a:ln>
              <a:noFill/>
            </a:ln>
            <a:effectLst>
              <a:outerShdw sx="154000" sy="154000" algn="ctr" rotWithShape="0">
                <a:schemeClr val="accent1">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7" name="文本框 6">
              <a:extLst>
                <a:ext uri="{FF2B5EF4-FFF2-40B4-BE49-F238E27FC236}">
                  <a16:creationId xmlns:a16="http://schemas.microsoft.com/office/drawing/2014/main" id="{B5AF75ED-6244-4FBE-8541-8261894AE8BF}"/>
                </a:ext>
              </a:extLst>
            </p:cNvPr>
            <p:cNvSpPr txBox="1"/>
            <p:nvPr/>
          </p:nvSpPr>
          <p:spPr>
            <a:xfrm>
              <a:off x="1191687" y="2121187"/>
              <a:ext cx="714939" cy="307777"/>
            </a:xfrm>
            <a:prstGeom prst="rect">
              <a:avLst/>
            </a:prstGeom>
            <a:noFill/>
          </p:spPr>
          <p:txBody>
            <a:bodyPr wrap="none" lIns="0" tIns="0" rIns="0" bIns="0" rtlCol="0" anchor="t">
              <a:spAutoFit/>
            </a:bodyPr>
            <a:lstStyle/>
            <a:p>
              <a:r>
                <a:rPr lang="en-US" altLang="zh-CN" sz="2000" dirty="0">
                  <a:solidFill>
                    <a:schemeClr val="accent1"/>
                  </a:solidFill>
                  <a:latin typeface="+mj-ea"/>
                  <a:ea typeface="+mj-ea"/>
                </a:rPr>
                <a:t>20XX</a:t>
              </a:r>
              <a:endParaRPr lang="zh-CN" altLang="en-US" sz="2000" dirty="0">
                <a:solidFill>
                  <a:schemeClr val="accent1"/>
                </a:solidFill>
                <a:latin typeface="+mj-ea"/>
                <a:ea typeface="+mj-ea"/>
              </a:endParaRPr>
            </a:p>
          </p:txBody>
        </p:sp>
        <p:sp>
          <p:nvSpPr>
            <p:cNvPr id="8" name="文本框 7">
              <a:extLst>
                <a:ext uri="{FF2B5EF4-FFF2-40B4-BE49-F238E27FC236}">
                  <a16:creationId xmlns:a16="http://schemas.microsoft.com/office/drawing/2014/main" id="{9CD52654-D16F-4FEF-9F8E-2EBC0275416E}"/>
                </a:ext>
              </a:extLst>
            </p:cNvPr>
            <p:cNvSpPr txBox="1"/>
            <p:nvPr/>
          </p:nvSpPr>
          <p:spPr>
            <a:xfrm>
              <a:off x="1110724" y="2396620"/>
              <a:ext cx="1692961" cy="769441"/>
            </a:xfrm>
            <a:prstGeom prst="rect">
              <a:avLst/>
            </a:prstGeom>
            <a:noFill/>
          </p:spPr>
          <p:txBody>
            <a:bodyPr wrap="square" rtlCol="0">
              <a:spAutoFit/>
            </a:bodyPr>
            <a:lstStyle/>
            <a:p>
              <a:r>
                <a:rPr lang="en-US" altLang="zh-CN" sz="1100" dirty="0">
                  <a:solidFill>
                    <a:schemeClr val="accent1"/>
                  </a:solidFill>
                </a:rPr>
                <a:t>Lorem ipsum dolor sit amet consectetur adipisicing elit sed do eiusmod tempor</a:t>
              </a:r>
              <a:endParaRPr lang="zh-CN" altLang="en-US" sz="1100" dirty="0">
                <a:solidFill>
                  <a:schemeClr val="accent1"/>
                </a:solidFill>
              </a:endParaRPr>
            </a:p>
          </p:txBody>
        </p:sp>
      </p:grpSp>
      <p:grpSp>
        <p:nvGrpSpPr>
          <p:cNvPr id="9" name="组合 8">
            <a:extLst>
              <a:ext uri="{FF2B5EF4-FFF2-40B4-BE49-F238E27FC236}">
                <a16:creationId xmlns:a16="http://schemas.microsoft.com/office/drawing/2014/main" id="{211881C7-D848-4A50-9C09-3781CA418A87}"/>
              </a:ext>
            </a:extLst>
          </p:cNvPr>
          <p:cNvGrpSpPr/>
          <p:nvPr/>
        </p:nvGrpSpPr>
        <p:grpSpPr>
          <a:xfrm>
            <a:off x="3680754" y="2040364"/>
            <a:ext cx="1890987" cy="2391936"/>
            <a:chOff x="912698" y="2121187"/>
            <a:chExt cx="1890987" cy="2391936"/>
          </a:xfrm>
        </p:grpSpPr>
        <p:cxnSp>
          <p:nvCxnSpPr>
            <p:cNvPr id="10" name="直接连接符 9">
              <a:extLst>
                <a:ext uri="{FF2B5EF4-FFF2-40B4-BE49-F238E27FC236}">
                  <a16:creationId xmlns:a16="http://schemas.microsoft.com/office/drawing/2014/main" id="{C7EAE6C0-834D-43F3-9A33-3DFC7FFCAD28}"/>
                </a:ext>
              </a:extLst>
            </p:cNvPr>
            <p:cNvCxnSpPr>
              <a:cxnSpLocks/>
            </p:cNvCxnSpPr>
            <p:nvPr/>
          </p:nvCxnSpPr>
          <p:spPr>
            <a:xfrm>
              <a:off x="976992" y="2282372"/>
              <a:ext cx="0" cy="2230751"/>
            </a:xfrm>
            <a:prstGeom prst="line">
              <a:avLst/>
            </a:prstGeom>
            <a:ln w="28575">
              <a:gradFill>
                <a:gsLst>
                  <a:gs pos="0">
                    <a:schemeClr val="accent1"/>
                  </a:gs>
                  <a:gs pos="100000">
                    <a:schemeClr val="accent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1" name="椭圆 10">
              <a:extLst>
                <a:ext uri="{FF2B5EF4-FFF2-40B4-BE49-F238E27FC236}">
                  <a16:creationId xmlns:a16="http://schemas.microsoft.com/office/drawing/2014/main" id="{F09C8A08-9544-46EF-9B4A-888AE6FE6851}"/>
                </a:ext>
              </a:extLst>
            </p:cNvPr>
            <p:cNvSpPr/>
            <p:nvPr/>
          </p:nvSpPr>
          <p:spPr>
            <a:xfrm>
              <a:off x="912698" y="2181563"/>
              <a:ext cx="128588" cy="128588"/>
            </a:xfrm>
            <a:prstGeom prst="ellipse">
              <a:avLst/>
            </a:prstGeom>
            <a:solidFill>
              <a:schemeClr val="accent1"/>
            </a:solidFill>
            <a:ln>
              <a:noFill/>
            </a:ln>
            <a:effectLst>
              <a:outerShdw sx="154000" sy="154000" algn="ctr" rotWithShape="0">
                <a:schemeClr val="accent1">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12" name="文本框 11">
              <a:extLst>
                <a:ext uri="{FF2B5EF4-FFF2-40B4-BE49-F238E27FC236}">
                  <a16:creationId xmlns:a16="http://schemas.microsoft.com/office/drawing/2014/main" id="{97458828-91DA-4431-830F-AF803974A596}"/>
                </a:ext>
              </a:extLst>
            </p:cNvPr>
            <p:cNvSpPr txBox="1"/>
            <p:nvPr/>
          </p:nvSpPr>
          <p:spPr>
            <a:xfrm>
              <a:off x="1191687" y="2121187"/>
              <a:ext cx="714939" cy="307777"/>
            </a:xfrm>
            <a:prstGeom prst="rect">
              <a:avLst/>
            </a:prstGeom>
            <a:noFill/>
          </p:spPr>
          <p:txBody>
            <a:bodyPr wrap="none" lIns="0" tIns="0" rIns="0" bIns="0" rtlCol="0" anchor="t">
              <a:spAutoFit/>
            </a:bodyPr>
            <a:lstStyle/>
            <a:p>
              <a:r>
                <a:rPr lang="en-US" altLang="zh-CN" sz="2000" dirty="0">
                  <a:solidFill>
                    <a:schemeClr val="accent1"/>
                  </a:solidFill>
                  <a:latin typeface="+mj-ea"/>
                  <a:ea typeface="+mj-ea"/>
                </a:rPr>
                <a:t>20XX</a:t>
              </a:r>
              <a:endParaRPr lang="zh-CN" altLang="en-US" sz="2000" dirty="0">
                <a:solidFill>
                  <a:schemeClr val="accent1"/>
                </a:solidFill>
                <a:latin typeface="+mj-ea"/>
                <a:ea typeface="+mj-ea"/>
              </a:endParaRPr>
            </a:p>
          </p:txBody>
        </p:sp>
        <p:sp>
          <p:nvSpPr>
            <p:cNvPr id="13" name="文本框 12">
              <a:extLst>
                <a:ext uri="{FF2B5EF4-FFF2-40B4-BE49-F238E27FC236}">
                  <a16:creationId xmlns:a16="http://schemas.microsoft.com/office/drawing/2014/main" id="{B6416201-B51C-4573-B439-09E37C674233}"/>
                </a:ext>
              </a:extLst>
            </p:cNvPr>
            <p:cNvSpPr txBox="1"/>
            <p:nvPr/>
          </p:nvSpPr>
          <p:spPr>
            <a:xfrm>
              <a:off x="1110724" y="2396620"/>
              <a:ext cx="1692961" cy="769441"/>
            </a:xfrm>
            <a:prstGeom prst="rect">
              <a:avLst/>
            </a:prstGeom>
            <a:noFill/>
          </p:spPr>
          <p:txBody>
            <a:bodyPr wrap="square" rtlCol="0">
              <a:spAutoFit/>
            </a:bodyPr>
            <a:lstStyle/>
            <a:p>
              <a:r>
                <a:rPr lang="en-US" altLang="zh-CN" sz="1100" dirty="0">
                  <a:solidFill>
                    <a:schemeClr val="accent1"/>
                  </a:solidFill>
                </a:rPr>
                <a:t>Lorem ipsum dolor sit amet consectetur adipisicing elit sed do eiusmod tempor</a:t>
              </a:r>
              <a:endParaRPr lang="zh-CN" altLang="en-US" sz="1100" dirty="0">
                <a:solidFill>
                  <a:schemeClr val="accent1"/>
                </a:solidFill>
              </a:endParaRPr>
            </a:p>
          </p:txBody>
        </p:sp>
      </p:grpSp>
      <p:grpSp>
        <p:nvGrpSpPr>
          <p:cNvPr id="15" name="组合 14">
            <a:extLst>
              <a:ext uri="{FF2B5EF4-FFF2-40B4-BE49-F238E27FC236}">
                <a16:creationId xmlns:a16="http://schemas.microsoft.com/office/drawing/2014/main" id="{5BBA1244-C53C-4297-AC5C-C2612122685C}"/>
              </a:ext>
            </a:extLst>
          </p:cNvPr>
          <p:cNvGrpSpPr/>
          <p:nvPr/>
        </p:nvGrpSpPr>
        <p:grpSpPr>
          <a:xfrm>
            <a:off x="6620260" y="2903964"/>
            <a:ext cx="1890987" cy="2391936"/>
            <a:chOff x="912698" y="2121187"/>
            <a:chExt cx="1890987" cy="2391936"/>
          </a:xfrm>
        </p:grpSpPr>
        <p:cxnSp>
          <p:nvCxnSpPr>
            <p:cNvPr id="16" name="直接连接符 15">
              <a:extLst>
                <a:ext uri="{FF2B5EF4-FFF2-40B4-BE49-F238E27FC236}">
                  <a16:creationId xmlns:a16="http://schemas.microsoft.com/office/drawing/2014/main" id="{0F765546-773C-4F76-B1E4-7AAD0100ED9B}"/>
                </a:ext>
              </a:extLst>
            </p:cNvPr>
            <p:cNvCxnSpPr>
              <a:cxnSpLocks/>
            </p:cNvCxnSpPr>
            <p:nvPr/>
          </p:nvCxnSpPr>
          <p:spPr>
            <a:xfrm>
              <a:off x="976992" y="2282372"/>
              <a:ext cx="0" cy="2230751"/>
            </a:xfrm>
            <a:prstGeom prst="line">
              <a:avLst/>
            </a:prstGeom>
            <a:ln w="28575">
              <a:gradFill>
                <a:gsLst>
                  <a:gs pos="0">
                    <a:schemeClr val="accent1"/>
                  </a:gs>
                  <a:gs pos="100000">
                    <a:schemeClr val="accent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7" name="椭圆 16">
              <a:extLst>
                <a:ext uri="{FF2B5EF4-FFF2-40B4-BE49-F238E27FC236}">
                  <a16:creationId xmlns:a16="http://schemas.microsoft.com/office/drawing/2014/main" id="{64C79C6E-B919-4840-86C7-4242DCE86F24}"/>
                </a:ext>
              </a:extLst>
            </p:cNvPr>
            <p:cNvSpPr/>
            <p:nvPr/>
          </p:nvSpPr>
          <p:spPr>
            <a:xfrm>
              <a:off x="912698" y="2181563"/>
              <a:ext cx="128588" cy="128588"/>
            </a:xfrm>
            <a:prstGeom prst="ellipse">
              <a:avLst/>
            </a:prstGeom>
            <a:solidFill>
              <a:schemeClr val="accent1"/>
            </a:solidFill>
            <a:ln>
              <a:noFill/>
            </a:ln>
            <a:effectLst>
              <a:outerShdw sx="154000" sy="154000" algn="ctr" rotWithShape="0">
                <a:schemeClr val="accent1">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18" name="文本框 17">
              <a:extLst>
                <a:ext uri="{FF2B5EF4-FFF2-40B4-BE49-F238E27FC236}">
                  <a16:creationId xmlns:a16="http://schemas.microsoft.com/office/drawing/2014/main" id="{3E54785A-0BB5-47E5-B0BA-61F25B6464EA}"/>
                </a:ext>
              </a:extLst>
            </p:cNvPr>
            <p:cNvSpPr txBox="1"/>
            <p:nvPr/>
          </p:nvSpPr>
          <p:spPr>
            <a:xfrm>
              <a:off x="1191687" y="2121187"/>
              <a:ext cx="714939" cy="307777"/>
            </a:xfrm>
            <a:prstGeom prst="rect">
              <a:avLst/>
            </a:prstGeom>
            <a:noFill/>
          </p:spPr>
          <p:txBody>
            <a:bodyPr wrap="none" lIns="0" tIns="0" rIns="0" bIns="0" rtlCol="0" anchor="t">
              <a:spAutoFit/>
            </a:bodyPr>
            <a:lstStyle/>
            <a:p>
              <a:r>
                <a:rPr lang="en-US" altLang="zh-CN" sz="2000" dirty="0">
                  <a:solidFill>
                    <a:schemeClr val="accent1"/>
                  </a:solidFill>
                  <a:latin typeface="+mj-ea"/>
                  <a:ea typeface="+mj-ea"/>
                </a:rPr>
                <a:t>20XX</a:t>
              </a:r>
              <a:endParaRPr lang="zh-CN" altLang="en-US" sz="2000" dirty="0">
                <a:solidFill>
                  <a:schemeClr val="accent1"/>
                </a:solidFill>
                <a:latin typeface="+mj-ea"/>
                <a:ea typeface="+mj-ea"/>
              </a:endParaRPr>
            </a:p>
          </p:txBody>
        </p:sp>
        <p:sp>
          <p:nvSpPr>
            <p:cNvPr id="19" name="文本框 18">
              <a:extLst>
                <a:ext uri="{FF2B5EF4-FFF2-40B4-BE49-F238E27FC236}">
                  <a16:creationId xmlns:a16="http://schemas.microsoft.com/office/drawing/2014/main" id="{96F21C01-E39F-4322-A1CC-A0F3EEE1A11F}"/>
                </a:ext>
              </a:extLst>
            </p:cNvPr>
            <p:cNvSpPr txBox="1"/>
            <p:nvPr/>
          </p:nvSpPr>
          <p:spPr>
            <a:xfrm>
              <a:off x="1110724" y="2396620"/>
              <a:ext cx="1692961" cy="769441"/>
            </a:xfrm>
            <a:prstGeom prst="rect">
              <a:avLst/>
            </a:prstGeom>
            <a:noFill/>
          </p:spPr>
          <p:txBody>
            <a:bodyPr wrap="square" rtlCol="0">
              <a:spAutoFit/>
            </a:bodyPr>
            <a:lstStyle/>
            <a:p>
              <a:r>
                <a:rPr lang="en-US" altLang="zh-CN" sz="1100" dirty="0">
                  <a:solidFill>
                    <a:schemeClr val="accent1"/>
                  </a:solidFill>
                </a:rPr>
                <a:t>Lorem ipsum dolor sit amet consectetur adipisicing elit sed do eiusmod tempor</a:t>
              </a:r>
              <a:endParaRPr lang="zh-CN" altLang="en-US" sz="1100" dirty="0">
                <a:solidFill>
                  <a:schemeClr val="accent1"/>
                </a:solidFill>
              </a:endParaRPr>
            </a:p>
          </p:txBody>
        </p:sp>
      </p:grpSp>
      <p:grpSp>
        <p:nvGrpSpPr>
          <p:cNvPr id="20" name="组合 19">
            <a:extLst>
              <a:ext uri="{FF2B5EF4-FFF2-40B4-BE49-F238E27FC236}">
                <a16:creationId xmlns:a16="http://schemas.microsoft.com/office/drawing/2014/main" id="{E37A894C-9130-42E4-BCD3-41A689B02593}"/>
              </a:ext>
            </a:extLst>
          </p:cNvPr>
          <p:cNvGrpSpPr/>
          <p:nvPr/>
        </p:nvGrpSpPr>
        <p:grpSpPr>
          <a:xfrm>
            <a:off x="9559765" y="2027048"/>
            <a:ext cx="1890987" cy="2391936"/>
            <a:chOff x="912698" y="2121187"/>
            <a:chExt cx="1890987" cy="2391936"/>
          </a:xfrm>
        </p:grpSpPr>
        <p:cxnSp>
          <p:nvCxnSpPr>
            <p:cNvPr id="21" name="直接连接符 20">
              <a:extLst>
                <a:ext uri="{FF2B5EF4-FFF2-40B4-BE49-F238E27FC236}">
                  <a16:creationId xmlns:a16="http://schemas.microsoft.com/office/drawing/2014/main" id="{14B4314C-757E-447B-A76E-2589342C6C5D}"/>
                </a:ext>
              </a:extLst>
            </p:cNvPr>
            <p:cNvCxnSpPr>
              <a:cxnSpLocks/>
            </p:cNvCxnSpPr>
            <p:nvPr/>
          </p:nvCxnSpPr>
          <p:spPr>
            <a:xfrm>
              <a:off x="976992" y="2282372"/>
              <a:ext cx="0" cy="2230751"/>
            </a:xfrm>
            <a:prstGeom prst="line">
              <a:avLst/>
            </a:prstGeom>
            <a:ln w="28575">
              <a:gradFill>
                <a:gsLst>
                  <a:gs pos="0">
                    <a:schemeClr val="accent1"/>
                  </a:gs>
                  <a:gs pos="100000">
                    <a:schemeClr val="accent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22" name="椭圆 21">
              <a:extLst>
                <a:ext uri="{FF2B5EF4-FFF2-40B4-BE49-F238E27FC236}">
                  <a16:creationId xmlns:a16="http://schemas.microsoft.com/office/drawing/2014/main" id="{F78955C1-79C6-46CF-9A35-846E4C37AE24}"/>
                </a:ext>
              </a:extLst>
            </p:cNvPr>
            <p:cNvSpPr/>
            <p:nvPr/>
          </p:nvSpPr>
          <p:spPr>
            <a:xfrm>
              <a:off x="912698" y="2181563"/>
              <a:ext cx="128588" cy="128588"/>
            </a:xfrm>
            <a:prstGeom prst="ellipse">
              <a:avLst/>
            </a:prstGeom>
            <a:solidFill>
              <a:schemeClr val="accent1"/>
            </a:solidFill>
            <a:ln>
              <a:noFill/>
            </a:ln>
            <a:effectLst>
              <a:outerShdw sx="154000" sy="154000" algn="ctr" rotWithShape="0">
                <a:schemeClr val="accent1">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23" name="文本框 22">
              <a:extLst>
                <a:ext uri="{FF2B5EF4-FFF2-40B4-BE49-F238E27FC236}">
                  <a16:creationId xmlns:a16="http://schemas.microsoft.com/office/drawing/2014/main" id="{96A0C79E-60B9-4A77-A06B-3F9FE0191F00}"/>
                </a:ext>
              </a:extLst>
            </p:cNvPr>
            <p:cNvSpPr txBox="1"/>
            <p:nvPr/>
          </p:nvSpPr>
          <p:spPr>
            <a:xfrm>
              <a:off x="1191687" y="2121187"/>
              <a:ext cx="714939" cy="307777"/>
            </a:xfrm>
            <a:prstGeom prst="rect">
              <a:avLst/>
            </a:prstGeom>
            <a:noFill/>
          </p:spPr>
          <p:txBody>
            <a:bodyPr wrap="none" lIns="0" tIns="0" rIns="0" bIns="0" rtlCol="0" anchor="t">
              <a:spAutoFit/>
            </a:bodyPr>
            <a:lstStyle/>
            <a:p>
              <a:r>
                <a:rPr lang="en-US" altLang="zh-CN" sz="2000" dirty="0">
                  <a:solidFill>
                    <a:schemeClr val="accent1"/>
                  </a:solidFill>
                  <a:latin typeface="+mj-ea"/>
                  <a:ea typeface="+mj-ea"/>
                </a:rPr>
                <a:t>20XX</a:t>
              </a:r>
              <a:endParaRPr lang="zh-CN" altLang="en-US" sz="2000" dirty="0">
                <a:solidFill>
                  <a:schemeClr val="accent1"/>
                </a:solidFill>
                <a:latin typeface="+mj-ea"/>
                <a:ea typeface="+mj-ea"/>
              </a:endParaRPr>
            </a:p>
          </p:txBody>
        </p:sp>
        <p:sp>
          <p:nvSpPr>
            <p:cNvPr id="24" name="文本框 23">
              <a:extLst>
                <a:ext uri="{FF2B5EF4-FFF2-40B4-BE49-F238E27FC236}">
                  <a16:creationId xmlns:a16="http://schemas.microsoft.com/office/drawing/2014/main" id="{588D5D24-ECAF-408B-8B2A-F4098CC97D81}"/>
                </a:ext>
              </a:extLst>
            </p:cNvPr>
            <p:cNvSpPr txBox="1"/>
            <p:nvPr/>
          </p:nvSpPr>
          <p:spPr>
            <a:xfrm>
              <a:off x="1110724" y="2396620"/>
              <a:ext cx="1692961" cy="769441"/>
            </a:xfrm>
            <a:prstGeom prst="rect">
              <a:avLst/>
            </a:prstGeom>
            <a:noFill/>
          </p:spPr>
          <p:txBody>
            <a:bodyPr wrap="square" rtlCol="0">
              <a:spAutoFit/>
            </a:bodyPr>
            <a:lstStyle/>
            <a:p>
              <a:r>
                <a:rPr lang="en-US" altLang="zh-CN" sz="1100" dirty="0">
                  <a:solidFill>
                    <a:schemeClr val="accent1"/>
                  </a:solidFill>
                </a:rPr>
                <a:t>Lorem ipsum dolor sit amet consectetur adipisicing elit sed do eiusmod tempor</a:t>
              </a:r>
              <a:endParaRPr lang="zh-CN" altLang="en-US" sz="1100" dirty="0">
                <a:solidFill>
                  <a:schemeClr val="accent1"/>
                </a:solidFill>
              </a:endParaRPr>
            </a:p>
          </p:txBody>
        </p:sp>
      </p:grpSp>
    </p:spTree>
    <p:extLst>
      <p:ext uri="{BB962C8B-B14F-4D97-AF65-F5344CB8AC3E}">
        <p14:creationId xmlns:p14="http://schemas.microsoft.com/office/powerpoint/2010/main" val="3416853704"/>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3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4" name="直接连接符 13">
            <a:extLst>
              <a:ext uri="{FF2B5EF4-FFF2-40B4-BE49-F238E27FC236}">
                <a16:creationId xmlns:a16="http://schemas.microsoft.com/office/drawing/2014/main" id="{98C7C44B-89B8-4AC9-85B9-72F53029AEC5}"/>
              </a:ext>
            </a:extLst>
          </p:cNvPr>
          <p:cNvCxnSpPr/>
          <p:nvPr/>
        </p:nvCxnSpPr>
        <p:spPr>
          <a:xfrm>
            <a:off x="601980" y="3017520"/>
            <a:ext cx="0" cy="106680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5" name="直接连接符 24">
            <a:extLst>
              <a:ext uri="{FF2B5EF4-FFF2-40B4-BE49-F238E27FC236}">
                <a16:creationId xmlns:a16="http://schemas.microsoft.com/office/drawing/2014/main" id="{077CCF24-5846-4060-B9FF-362540139162}"/>
              </a:ext>
            </a:extLst>
          </p:cNvPr>
          <p:cNvCxnSpPr>
            <a:cxnSpLocks/>
          </p:cNvCxnSpPr>
          <p:nvPr/>
        </p:nvCxnSpPr>
        <p:spPr>
          <a:xfrm>
            <a:off x="823116" y="3557016"/>
            <a:ext cx="0" cy="527304"/>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7" name="直接连接符 26">
            <a:extLst>
              <a:ext uri="{FF2B5EF4-FFF2-40B4-BE49-F238E27FC236}">
                <a16:creationId xmlns:a16="http://schemas.microsoft.com/office/drawing/2014/main" id="{EAD994B3-9269-4F4A-AD2F-E01C0D65932B}"/>
              </a:ext>
            </a:extLst>
          </p:cNvPr>
          <p:cNvCxnSpPr>
            <a:cxnSpLocks/>
          </p:cNvCxnSpPr>
          <p:nvPr/>
        </p:nvCxnSpPr>
        <p:spPr>
          <a:xfrm>
            <a:off x="1044252" y="3557016"/>
            <a:ext cx="0" cy="527304"/>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8" name="直接连接符 27">
            <a:extLst>
              <a:ext uri="{FF2B5EF4-FFF2-40B4-BE49-F238E27FC236}">
                <a16:creationId xmlns:a16="http://schemas.microsoft.com/office/drawing/2014/main" id="{AEBE11C4-14A9-4AB1-A19B-E470CF028773}"/>
              </a:ext>
            </a:extLst>
          </p:cNvPr>
          <p:cNvCxnSpPr>
            <a:cxnSpLocks/>
          </p:cNvCxnSpPr>
          <p:nvPr/>
        </p:nvCxnSpPr>
        <p:spPr>
          <a:xfrm>
            <a:off x="1265388" y="3557016"/>
            <a:ext cx="0" cy="527304"/>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9" name="直接连接符 28">
            <a:extLst>
              <a:ext uri="{FF2B5EF4-FFF2-40B4-BE49-F238E27FC236}">
                <a16:creationId xmlns:a16="http://schemas.microsoft.com/office/drawing/2014/main" id="{2A2638F3-C57E-402F-9A29-444D5ECA0694}"/>
              </a:ext>
            </a:extLst>
          </p:cNvPr>
          <p:cNvCxnSpPr>
            <a:cxnSpLocks/>
          </p:cNvCxnSpPr>
          <p:nvPr/>
        </p:nvCxnSpPr>
        <p:spPr>
          <a:xfrm>
            <a:off x="1486524" y="3557016"/>
            <a:ext cx="0" cy="527304"/>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0" name="直接连接符 29">
            <a:extLst>
              <a:ext uri="{FF2B5EF4-FFF2-40B4-BE49-F238E27FC236}">
                <a16:creationId xmlns:a16="http://schemas.microsoft.com/office/drawing/2014/main" id="{B7DA20C6-F621-4486-BDF0-562314E06C31}"/>
              </a:ext>
            </a:extLst>
          </p:cNvPr>
          <p:cNvCxnSpPr>
            <a:cxnSpLocks/>
          </p:cNvCxnSpPr>
          <p:nvPr/>
        </p:nvCxnSpPr>
        <p:spPr>
          <a:xfrm>
            <a:off x="1707660" y="3557016"/>
            <a:ext cx="0" cy="527304"/>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1" name="直接连接符 30">
            <a:extLst>
              <a:ext uri="{FF2B5EF4-FFF2-40B4-BE49-F238E27FC236}">
                <a16:creationId xmlns:a16="http://schemas.microsoft.com/office/drawing/2014/main" id="{0E9EE302-589A-45F5-87ED-78988DE3635E}"/>
              </a:ext>
            </a:extLst>
          </p:cNvPr>
          <p:cNvCxnSpPr>
            <a:cxnSpLocks/>
          </p:cNvCxnSpPr>
          <p:nvPr/>
        </p:nvCxnSpPr>
        <p:spPr>
          <a:xfrm>
            <a:off x="1928796" y="3557016"/>
            <a:ext cx="0" cy="527304"/>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2" name="直接连接符 31">
            <a:extLst>
              <a:ext uri="{FF2B5EF4-FFF2-40B4-BE49-F238E27FC236}">
                <a16:creationId xmlns:a16="http://schemas.microsoft.com/office/drawing/2014/main" id="{04840693-F764-41AA-B96F-A18CAB26FE85}"/>
              </a:ext>
            </a:extLst>
          </p:cNvPr>
          <p:cNvCxnSpPr>
            <a:cxnSpLocks/>
          </p:cNvCxnSpPr>
          <p:nvPr/>
        </p:nvCxnSpPr>
        <p:spPr>
          <a:xfrm>
            <a:off x="2149932" y="3557016"/>
            <a:ext cx="0" cy="527304"/>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3" name="直接连接符 32">
            <a:extLst>
              <a:ext uri="{FF2B5EF4-FFF2-40B4-BE49-F238E27FC236}">
                <a16:creationId xmlns:a16="http://schemas.microsoft.com/office/drawing/2014/main" id="{9E86ABB7-4063-4437-AB86-E289D2429C55}"/>
              </a:ext>
            </a:extLst>
          </p:cNvPr>
          <p:cNvCxnSpPr>
            <a:cxnSpLocks/>
          </p:cNvCxnSpPr>
          <p:nvPr/>
        </p:nvCxnSpPr>
        <p:spPr>
          <a:xfrm>
            <a:off x="2371068" y="3557016"/>
            <a:ext cx="0" cy="527304"/>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4" name="直接连接符 33">
            <a:extLst>
              <a:ext uri="{FF2B5EF4-FFF2-40B4-BE49-F238E27FC236}">
                <a16:creationId xmlns:a16="http://schemas.microsoft.com/office/drawing/2014/main" id="{CF194446-E856-4CEC-BB3A-D9BC0198A96F}"/>
              </a:ext>
            </a:extLst>
          </p:cNvPr>
          <p:cNvCxnSpPr>
            <a:cxnSpLocks/>
          </p:cNvCxnSpPr>
          <p:nvPr/>
        </p:nvCxnSpPr>
        <p:spPr>
          <a:xfrm>
            <a:off x="2592204" y="3557016"/>
            <a:ext cx="0" cy="527304"/>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5" name="直接连接符 34">
            <a:extLst>
              <a:ext uri="{FF2B5EF4-FFF2-40B4-BE49-F238E27FC236}">
                <a16:creationId xmlns:a16="http://schemas.microsoft.com/office/drawing/2014/main" id="{257E2C5B-EF5C-4AFC-B3EF-212EAD11100C}"/>
              </a:ext>
            </a:extLst>
          </p:cNvPr>
          <p:cNvCxnSpPr>
            <a:cxnSpLocks/>
          </p:cNvCxnSpPr>
          <p:nvPr/>
        </p:nvCxnSpPr>
        <p:spPr>
          <a:xfrm>
            <a:off x="2813340" y="3017520"/>
            <a:ext cx="0" cy="106680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7" name="直接连接符 36">
            <a:extLst>
              <a:ext uri="{FF2B5EF4-FFF2-40B4-BE49-F238E27FC236}">
                <a16:creationId xmlns:a16="http://schemas.microsoft.com/office/drawing/2014/main" id="{4F58513A-6F96-4EF8-A667-CA0136C700EB}"/>
              </a:ext>
            </a:extLst>
          </p:cNvPr>
          <p:cNvCxnSpPr>
            <a:cxnSpLocks/>
          </p:cNvCxnSpPr>
          <p:nvPr/>
        </p:nvCxnSpPr>
        <p:spPr>
          <a:xfrm>
            <a:off x="3034476" y="3557016"/>
            <a:ext cx="0" cy="527304"/>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8" name="直接连接符 37">
            <a:extLst>
              <a:ext uri="{FF2B5EF4-FFF2-40B4-BE49-F238E27FC236}">
                <a16:creationId xmlns:a16="http://schemas.microsoft.com/office/drawing/2014/main" id="{5E1CF7F7-9F34-46E7-8A77-ADC38FB5360C}"/>
              </a:ext>
            </a:extLst>
          </p:cNvPr>
          <p:cNvCxnSpPr>
            <a:cxnSpLocks/>
          </p:cNvCxnSpPr>
          <p:nvPr/>
        </p:nvCxnSpPr>
        <p:spPr>
          <a:xfrm>
            <a:off x="3255612" y="3557016"/>
            <a:ext cx="0" cy="527304"/>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9" name="直接连接符 38">
            <a:extLst>
              <a:ext uri="{FF2B5EF4-FFF2-40B4-BE49-F238E27FC236}">
                <a16:creationId xmlns:a16="http://schemas.microsoft.com/office/drawing/2014/main" id="{C7FAA8E7-AB69-4893-A8C5-A51A34E94E30}"/>
              </a:ext>
            </a:extLst>
          </p:cNvPr>
          <p:cNvCxnSpPr>
            <a:cxnSpLocks/>
          </p:cNvCxnSpPr>
          <p:nvPr/>
        </p:nvCxnSpPr>
        <p:spPr>
          <a:xfrm>
            <a:off x="3476748" y="3557016"/>
            <a:ext cx="0" cy="527304"/>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0" name="直接连接符 39">
            <a:extLst>
              <a:ext uri="{FF2B5EF4-FFF2-40B4-BE49-F238E27FC236}">
                <a16:creationId xmlns:a16="http://schemas.microsoft.com/office/drawing/2014/main" id="{D8F27698-F561-4C59-AF66-031A464F10EE}"/>
              </a:ext>
            </a:extLst>
          </p:cNvPr>
          <p:cNvCxnSpPr>
            <a:cxnSpLocks/>
          </p:cNvCxnSpPr>
          <p:nvPr/>
        </p:nvCxnSpPr>
        <p:spPr>
          <a:xfrm>
            <a:off x="3697884" y="3557016"/>
            <a:ext cx="0" cy="527304"/>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1" name="直接连接符 40">
            <a:extLst>
              <a:ext uri="{FF2B5EF4-FFF2-40B4-BE49-F238E27FC236}">
                <a16:creationId xmlns:a16="http://schemas.microsoft.com/office/drawing/2014/main" id="{58E06DB4-C45B-4EFF-826D-0F4A0226E42F}"/>
              </a:ext>
            </a:extLst>
          </p:cNvPr>
          <p:cNvCxnSpPr>
            <a:cxnSpLocks/>
          </p:cNvCxnSpPr>
          <p:nvPr/>
        </p:nvCxnSpPr>
        <p:spPr>
          <a:xfrm>
            <a:off x="3919020" y="3557016"/>
            <a:ext cx="0" cy="527304"/>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2" name="直接连接符 41">
            <a:extLst>
              <a:ext uri="{FF2B5EF4-FFF2-40B4-BE49-F238E27FC236}">
                <a16:creationId xmlns:a16="http://schemas.microsoft.com/office/drawing/2014/main" id="{5DD68B99-9984-41D6-A2B3-F3FC0ED8553D}"/>
              </a:ext>
            </a:extLst>
          </p:cNvPr>
          <p:cNvCxnSpPr>
            <a:cxnSpLocks/>
          </p:cNvCxnSpPr>
          <p:nvPr/>
        </p:nvCxnSpPr>
        <p:spPr>
          <a:xfrm>
            <a:off x="4140156" y="3557016"/>
            <a:ext cx="0" cy="527304"/>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3" name="直接连接符 42">
            <a:extLst>
              <a:ext uri="{FF2B5EF4-FFF2-40B4-BE49-F238E27FC236}">
                <a16:creationId xmlns:a16="http://schemas.microsoft.com/office/drawing/2014/main" id="{07D41FB3-8B78-4024-BACC-BFDD632D6821}"/>
              </a:ext>
            </a:extLst>
          </p:cNvPr>
          <p:cNvCxnSpPr>
            <a:cxnSpLocks/>
          </p:cNvCxnSpPr>
          <p:nvPr/>
        </p:nvCxnSpPr>
        <p:spPr>
          <a:xfrm>
            <a:off x="4361292" y="3557016"/>
            <a:ext cx="0" cy="527304"/>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4" name="直接连接符 43">
            <a:extLst>
              <a:ext uri="{FF2B5EF4-FFF2-40B4-BE49-F238E27FC236}">
                <a16:creationId xmlns:a16="http://schemas.microsoft.com/office/drawing/2014/main" id="{3729C85F-311F-4202-8DAF-99889C2DD94F}"/>
              </a:ext>
            </a:extLst>
          </p:cNvPr>
          <p:cNvCxnSpPr>
            <a:cxnSpLocks/>
          </p:cNvCxnSpPr>
          <p:nvPr/>
        </p:nvCxnSpPr>
        <p:spPr>
          <a:xfrm>
            <a:off x="4582428" y="3557016"/>
            <a:ext cx="0" cy="527304"/>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5" name="直接连接符 44">
            <a:extLst>
              <a:ext uri="{FF2B5EF4-FFF2-40B4-BE49-F238E27FC236}">
                <a16:creationId xmlns:a16="http://schemas.microsoft.com/office/drawing/2014/main" id="{9040C3F2-F5E4-4F1B-961E-B15E290272FF}"/>
              </a:ext>
            </a:extLst>
          </p:cNvPr>
          <p:cNvCxnSpPr>
            <a:cxnSpLocks/>
          </p:cNvCxnSpPr>
          <p:nvPr/>
        </p:nvCxnSpPr>
        <p:spPr>
          <a:xfrm>
            <a:off x="4803564" y="3557016"/>
            <a:ext cx="0" cy="527304"/>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6" name="直接连接符 45">
            <a:extLst>
              <a:ext uri="{FF2B5EF4-FFF2-40B4-BE49-F238E27FC236}">
                <a16:creationId xmlns:a16="http://schemas.microsoft.com/office/drawing/2014/main" id="{7F9AAEB5-6DD0-4AB2-9061-9D14E33FBC93}"/>
              </a:ext>
            </a:extLst>
          </p:cNvPr>
          <p:cNvCxnSpPr>
            <a:cxnSpLocks/>
          </p:cNvCxnSpPr>
          <p:nvPr/>
        </p:nvCxnSpPr>
        <p:spPr>
          <a:xfrm>
            <a:off x="5024700" y="3017520"/>
            <a:ext cx="0" cy="106680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7" name="直接连接符 46">
            <a:extLst>
              <a:ext uri="{FF2B5EF4-FFF2-40B4-BE49-F238E27FC236}">
                <a16:creationId xmlns:a16="http://schemas.microsoft.com/office/drawing/2014/main" id="{D6E9488F-2E96-49E7-AA01-7EE49A75C4BB}"/>
              </a:ext>
            </a:extLst>
          </p:cNvPr>
          <p:cNvCxnSpPr>
            <a:cxnSpLocks/>
          </p:cNvCxnSpPr>
          <p:nvPr/>
        </p:nvCxnSpPr>
        <p:spPr>
          <a:xfrm>
            <a:off x="5245836" y="3557016"/>
            <a:ext cx="0" cy="527304"/>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8" name="直接连接符 47">
            <a:extLst>
              <a:ext uri="{FF2B5EF4-FFF2-40B4-BE49-F238E27FC236}">
                <a16:creationId xmlns:a16="http://schemas.microsoft.com/office/drawing/2014/main" id="{F8F71ECC-AB9D-4CEE-BC00-3847EC584A14}"/>
              </a:ext>
            </a:extLst>
          </p:cNvPr>
          <p:cNvCxnSpPr>
            <a:cxnSpLocks/>
          </p:cNvCxnSpPr>
          <p:nvPr/>
        </p:nvCxnSpPr>
        <p:spPr>
          <a:xfrm>
            <a:off x="5466972" y="3557016"/>
            <a:ext cx="0" cy="527304"/>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9" name="直接连接符 48">
            <a:extLst>
              <a:ext uri="{FF2B5EF4-FFF2-40B4-BE49-F238E27FC236}">
                <a16:creationId xmlns:a16="http://schemas.microsoft.com/office/drawing/2014/main" id="{8E9414B0-E29F-4DF4-B617-F2707CD6F2AA}"/>
              </a:ext>
            </a:extLst>
          </p:cNvPr>
          <p:cNvCxnSpPr>
            <a:cxnSpLocks/>
          </p:cNvCxnSpPr>
          <p:nvPr/>
        </p:nvCxnSpPr>
        <p:spPr>
          <a:xfrm>
            <a:off x="5688108" y="3557016"/>
            <a:ext cx="0" cy="527304"/>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0" name="直接连接符 49">
            <a:extLst>
              <a:ext uri="{FF2B5EF4-FFF2-40B4-BE49-F238E27FC236}">
                <a16:creationId xmlns:a16="http://schemas.microsoft.com/office/drawing/2014/main" id="{D0C27569-EEC2-4D49-8B8B-CE57B75CBD26}"/>
              </a:ext>
            </a:extLst>
          </p:cNvPr>
          <p:cNvCxnSpPr>
            <a:cxnSpLocks/>
          </p:cNvCxnSpPr>
          <p:nvPr/>
        </p:nvCxnSpPr>
        <p:spPr>
          <a:xfrm>
            <a:off x="5909244" y="3557016"/>
            <a:ext cx="0" cy="527304"/>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1" name="直接连接符 50">
            <a:extLst>
              <a:ext uri="{FF2B5EF4-FFF2-40B4-BE49-F238E27FC236}">
                <a16:creationId xmlns:a16="http://schemas.microsoft.com/office/drawing/2014/main" id="{2F77D649-EBB5-4353-B1C0-8E231819E359}"/>
              </a:ext>
            </a:extLst>
          </p:cNvPr>
          <p:cNvCxnSpPr>
            <a:cxnSpLocks/>
          </p:cNvCxnSpPr>
          <p:nvPr/>
        </p:nvCxnSpPr>
        <p:spPr>
          <a:xfrm>
            <a:off x="6130380" y="3557016"/>
            <a:ext cx="0" cy="527304"/>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2" name="直接连接符 51">
            <a:extLst>
              <a:ext uri="{FF2B5EF4-FFF2-40B4-BE49-F238E27FC236}">
                <a16:creationId xmlns:a16="http://schemas.microsoft.com/office/drawing/2014/main" id="{6E8BC5C7-76B5-4485-A8A4-21CBBFEAB958}"/>
              </a:ext>
            </a:extLst>
          </p:cNvPr>
          <p:cNvCxnSpPr>
            <a:cxnSpLocks/>
          </p:cNvCxnSpPr>
          <p:nvPr/>
        </p:nvCxnSpPr>
        <p:spPr>
          <a:xfrm>
            <a:off x="6351516" y="3557016"/>
            <a:ext cx="0" cy="527304"/>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3" name="直接连接符 52">
            <a:extLst>
              <a:ext uri="{FF2B5EF4-FFF2-40B4-BE49-F238E27FC236}">
                <a16:creationId xmlns:a16="http://schemas.microsoft.com/office/drawing/2014/main" id="{BAE8F9CA-F703-4B6E-9544-C0C5EB294908}"/>
              </a:ext>
            </a:extLst>
          </p:cNvPr>
          <p:cNvCxnSpPr>
            <a:cxnSpLocks/>
          </p:cNvCxnSpPr>
          <p:nvPr/>
        </p:nvCxnSpPr>
        <p:spPr>
          <a:xfrm>
            <a:off x="6572652" y="3557016"/>
            <a:ext cx="0" cy="527304"/>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4" name="直接连接符 53">
            <a:extLst>
              <a:ext uri="{FF2B5EF4-FFF2-40B4-BE49-F238E27FC236}">
                <a16:creationId xmlns:a16="http://schemas.microsoft.com/office/drawing/2014/main" id="{B72DFA6A-7C68-4DB5-98DB-BD12E84F4C03}"/>
              </a:ext>
            </a:extLst>
          </p:cNvPr>
          <p:cNvCxnSpPr>
            <a:cxnSpLocks/>
          </p:cNvCxnSpPr>
          <p:nvPr/>
        </p:nvCxnSpPr>
        <p:spPr>
          <a:xfrm>
            <a:off x="6793788" y="3557016"/>
            <a:ext cx="0" cy="527304"/>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5" name="直接连接符 54">
            <a:extLst>
              <a:ext uri="{FF2B5EF4-FFF2-40B4-BE49-F238E27FC236}">
                <a16:creationId xmlns:a16="http://schemas.microsoft.com/office/drawing/2014/main" id="{51820C3F-CA95-4AFC-B321-6F46A3645FC8}"/>
              </a:ext>
            </a:extLst>
          </p:cNvPr>
          <p:cNvCxnSpPr>
            <a:cxnSpLocks/>
          </p:cNvCxnSpPr>
          <p:nvPr/>
        </p:nvCxnSpPr>
        <p:spPr>
          <a:xfrm>
            <a:off x="7014924" y="3557016"/>
            <a:ext cx="0" cy="527304"/>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6" name="直接连接符 55">
            <a:extLst>
              <a:ext uri="{FF2B5EF4-FFF2-40B4-BE49-F238E27FC236}">
                <a16:creationId xmlns:a16="http://schemas.microsoft.com/office/drawing/2014/main" id="{D9C7820B-3039-43DD-93FE-B111F699E58C}"/>
              </a:ext>
            </a:extLst>
          </p:cNvPr>
          <p:cNvCxnSpPr>
            <a:cxnSpLocks/>
          </p:cNvCxnSpPr>
          <p:nvPr/>
        </p:nvCxnSpPr>
        <p:spPr>
          <a:xfrm>
            <a:off x="7236060" y="3017520"/>
            <a:ext cx="0" cy="106680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7" name="直接连接符 56">
            <a:extLst>
              <a:ext uri="{FF2B5EF4-FFF2-40B4-BE49-F238E27FC236}">
                <a16:creationId xmlns:a16="http://schemas.microsoft.com/office/drawing/2014/main" id="{54F63484-1CD2-4FCC-B560-278CF220F781}"/>
              </a:ext>
            </a:extLst>
          </p:cNvPr>
          <p:cNvCxnSpPr>
            <a:cxnSpLocks/>
          </p:cNvCxnSpPr>
          <p:nvPr/>
        </p:nvCxnSpPr>
        <p:spPr>
          <a:xfrm>
            <a:off x="7457196" y="3557016"/>
            <a:ext cx="0" cy="527304"/>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8" name="直接连接符 57">
            <a:extLst>
              <a:ext uri="{FF2B5EF4-FFF2-40B4-BE49-F238E27FC236}">
                <a16:creationId xmlns:a16="http://schemas.microsoft.com/office/drawing/2014/main" id="{AE0AEBE6-48C9-4E05-B721-EBDD8975DD24}"/>
              </a:ext>
            </a:extLst>
          </p:cNvPr>
          <p:cNvCxnSpPr>
            <a:cxnSpLocks/>
          </p:cNvCxnSpPr>
          <p:nvPr/>
        </p:nvCxnSpPr>
        <p:spPr>
          <a:xfrm>
            <a:off x="7678332" y="3557016"/>
            <a:ext cx="0" cy="527304"/>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9" name="直接连接符 58">
            <a:extLst>
              <a:ext uri="{FF2B5EF4-FFF2-40B4-BE49-F238E27FC236}">
                <a16:creationId xmlns:a16="http://schemas.microsoft.com/office/drawing/2014/main" id="{8ED3D529-3F3F-4969-BCC2-8ED4AF651895}"/>
              </a:ext>
            </a:extLst>
          </p:cNvPr>
          <p:cNvCxnSpPr>
            <a:cxnSpLocks/>
          </p:cNvCxnSpPr>
          <p:nvPr/>
        </p:nvCxnSpPr>
        <p:spPr>
          <a:xfrm>
            <a:off x="7899468" y="3557016"/>
            <a:ext cx="0" cy="527304"/>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0" name="直接连接符 59">
            <a:extLst>
              <a:ext uri="{FF2B5EF4-FFF2-40B4-BE49-F238E27FC236}">
                <a16:creationId xmlns:a16="http://schemas.microsoft.com/office/drawing/2014/main" id="{508DDB29-60E1-4DB1-AAED-870DEC374828}"/>
              </a:ext>
            </a:extLst>
          </p:cNvPr>
          <p:cNvCxnSpPr>
            <a:cxnSpLocks/>
          </p:cNvCxnSpPr>
          <p:nvPr/>
        </p:nvCxnSpPr>
        <p:spPr>
          <a:xfrm>
            <a:off x="8120604" y="3557016"/>
            <a:ext cx="0" cy="527304"/>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1" name="直接连接符 60">
            <a:extLst>
              <a:ext uri="{FF2B5EF4-FFF2-40B4-BE49-F238E27FC236}">
                <a16:creationId xmlns:a16="http://schemas.microsoft.com/office/drawing/2014/main" id="{A1DDC150-C388-4081-B36D-64B73C180C2C}"/>
              </a:ext>
            </a:extLst>
          </p:cNvPr>
          <p:cNvCxnSpPr>
            <a:cxnSpLocks/>
          </p:cNvCxnSpPr>
          <p:nvPr/>
        </p:nvCxnSpPr>
        <p:spPr>
          <a:xfrm>
            <a:off x="8341740" y="3557016"/>
            <a:ext cx="0" cy="527304"/>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2" name="直接连接符 61">
            <a:extLst>
              <a:ext uri="{FF2B5EF4-FFF2-40B4-BE49-F238E27FC236}">
                <a16:creationId xmlns:a16="http://schemas.microsoft.com/office/drawing/2014/main" id="{7CB4A308-2A96-4456-B071-3A1D5B8DC883}"/>
              </a:ext>
            </a:extLst>
          </p:cNvPr>
          <p:cNvCxnSpPr>
            <a:cxnSpLocks/>
          </p:cNvCxnSpPr>
          <p:nvPr/>
        </p:nvCxnSpPr>
        <p:spPr>
          <a:xfrm>
            <a:off x="8562876" y="3557016"/>
            <a:ext cx="0" cy="527304"/>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3" name="直接连接符 62">
            <a:extLst>
              <a:ext uri="{FF2B5EF4-FFF2-40B4-BE49-F238E27FC236}">
                <a16:creationId xmlns:a16="http://schemas.microsoft.com/office/drawing/2014/main" id="{A558B19A-D53B-4730-8D98-7427E99628EC}"/>
              </a:ext>
            </a:extLst>
          </p:cNvPr>
          <p:cNvCxnSpPr>
            <a:cxnSpLocks/>
          </p:cNvCxnSpPr>
          <p:nvPr/>
        </p:nvCxnSpPr>
        <p:spPr>
          <a:xfrm>
            <a:off x="8784012" y="3557016"/>
            <a:ext cx="0" cy="527304"/>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4" name="直接连接符 63">
            <a:extLst>
              <a:ext uri="{FF2B5EF4-FFF2-40B4-BE49-F238E27FC236}">
                <a16:creationId xmlns:a16="http://schemas.microsoft.com/office/drawing/2014/main" id="{89F6670B-B220-4547-9E5A-CB58A0328C79}"/>
              </a:ext>
            </a:extLst>
          </p:cNvPr>
          <p:cNvCxnSpPr>
            <a:cxnSpLocks/>
          </p:cNvCxnSpPr>
          <p:nvPr/>
        </p:nvCxnSpPr>
        <p:spPr>
          <a:xfrm>
            <a:off x="9005148" y="3557016"/>
            <a:ext cx="0" cy="527304"/>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5" name="直接连接符 64">
            <a:extLst>
              <a:ext uri="{FF2B5EF4-FFF2-40B4-BE49-F238E27FC236}">
                <a16:creationId xmlns:a16="http://schemas.microsoft.com/office/drawing/2014/main" id="{2841C6F8-A3E7-47ED-9F77-0EC4C8E55229}"/>
              </a:ext>
            </a:extLst>
          </p:cNvPr>
          <p:cNvCxnSpPr>
            <a:cxnSpLocks/>
          </p:cNvCxnSpPr>
          <p:nvPr/>
        </p:nvCxnSpPr>
        <p:spPr>
          <a:xfrm>
            <a:off x="9226284" y="3557016"/>
            <a:ext cx="0" cy="527304"/>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6" name="直接连接符 65">
            <a:extLst>
              <a:ext uri="{FF2B5EF4-FFF2-40B4-BE49-F238E27FC236}">
                <a16:creationId xmlns:a16="http://schemas.microsoft.com/office/drawing/2014/main" id="{E786C1D7-94D4-4DA8-903B-D71C44823306}"/>
              </a:ext>
            </a:extLst>
          </p:cNvPr>
          <p:cNvCxnSpPr>
            <a:cxnSpLocks/>
          </p:cNvCxnSpPr>
          <p:nvPr/>
        </p:nvCxnSpPr>
        <p:spPr>
          <a:xfrm>
            <a:off x="9447420" y="3017520"/>
            <a:ext cx="0" cy="106680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7" name="直接连接符 66">
            <a:extLst>
              <a:ext uri="{FF2B5EF4-FFF2-40B4-BE49-F238E27FC236}">
                <a16:creationId xmlns:a16="http://schemas.microsoft.com/office/drawing/2014/main" id="{35E5CC24-A72D-44C8-9360-ED02A2B81B71}"/>
              </a:ext>
            </a:extLst>
          </p:cNvPr>
          <p:cNvCxnSpPr>
            <a:cxnSpLocks/>
          </p:cNvCxnSpPr>
          <p:nvPr/>
        </p:nvCxnSpPr>
        <p:spPr>
          <a:xfrm>
            <a:off x="9668556" y="3557016"/>
            <a:ext cx="0" cy="527304"/>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8" name="直接连接符 67">
            <a:extLst>
              <a:ext uri="{FF2B5EF4-FFF2-40B4-BE49-F238E27FC236}">
                <a16:creationId xmlns:a16="http://schemas.microsoft.com/office/drawing/2014/main" id="{F59EB3FC-362C-4896-BE41-032B5320A30E}"/>
              </a:ext>
            </a:extLst>
          </p:cNvPr>
          <p:cNvCxnSpPr>
            <a:cxnSpLocks/>
          </p:cNvCxnSpPr>
          <p:nvPr/>
        </p:nvCxnSpPr>
        <p:spPr>
          <a:xfrm>
            <a:off x="9889692" y="3557016"/>
            <a:ext cx="0" cy="527304"/>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9" name="直接连接符 68">
            <a:extLst>
              <a:ext uri="{FF2B5EF4-FFF2-40B4-BE49-F238E27FC236}">
                <a16:creationId xmlns:a16="http://schemas.microsoft.com/office/drawing/2014/main" id="{102AAA93-DABC-42C3-A919-FD176C0A0B39}"/>
              </a:ext>
            </a:extLst>
          </p:cNvPr>
          <p:cNvCxnSpPr>
            <a:cxnSpLocks/>
          </p:cNvCxnSpPr>
          <p:nvPr/>
        </p:nvCxnSpPr>
        <p:spPr>
          <a:xfrm>
            <a:off x="10110828" y="3557016"/>
            <a:ext cx="0" cy="527304"/>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70" name="直接连接符 69">
            <a:extLst>
              <a:ext uri="{FF2B5EF4-FFF2-40B4-BE49-F238E27FC236}">
                <a16:creationId xmlns:a16="http://schemas.microsoft.com/office/drawing/2014/main" id="{5934FA6B-B503-418A-82E3-7829A7672B50}"/>
              </a:ext>
            </a:extLst>
          </p:cNvPr>
          <p:cNvCxnSpPr>
            <a:cxnSpLocks/>
          </p:cNvCxnSpPr>
          <p:nvPr/>
        </p:nvCxnSpPr>
        <p:spPr>
          <a:xfrm>
            <a:off x="10331964" y="3557016"/>
            <a:ext cx="0" cy="527304"/>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71" name="直接连接符 70">
            <a:extLst>
              <a:ext uri="{FF2B5EF4-FFF2-40B4-BE49-F238E27FC236}">
                <a16:creationId xmlns:a16="http://schemas.microsoft.com/office/drawing/2014/main" id="{3FE58404-5DE3-41B0-ACFC-D6F09D159EBE}"/>
              </a:ext>
            </a:extLst>
          </p:cNvPr>
          <p:cNvCxnSpPr>
            <a:cxnSpLocks/>
          </p:cNvCxnSpPr>
          <p:nvPr/>
        </p:nvCxnSpPr>
        <p:spPr>
          <a:xfrm>
            <a:off x="10553100" y="3557016"/>
            <a:ext cx="0" cy="527304"/>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72" name="直接连接符 71">
            <a:extLst>
              <a:ext uri="{FF2B5EF4-FFF2-40B4-BE49-F238E27FC236}">
                <a16:creationId xmlns:a16="http://schemas.microsoft.com/office/drawing/2014/main" id="{B9DB318B-BBAA-4CE6-A1AA-F2956221F7DD}"/>
              </a:ext>
            </a:extLst>
          </p:cNvPr>
          <p:cNvCxnSpPr>
            <a:cxnSpLocks/>
          </p:cNvCxnSpPr>
          <p:nvPr/>
        </p:nvCxnSpPr>
        <p:spPr>
          <a:xfrm>
            <a:off x="10774236" y="3557016"/>
            <a:ext cx="0" cy="527304"/>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73" name="直接连接符 72">
            <a:extLst>
              <a:ext uri="{FF2B5EF4-FFF2-40B4-BE49-F238E27FC236}">
                <a16:creationId xmlns:a16="http://schemas.microsoft.com/office/drawing/2014/main" id="{BE79B24D-4FBA-483B-98B6-F84C835D1212}"/>
              </a:ext>
            </a:extLst>
          </p:cNvPr>
          <p:cNvCxnSpPr>
            <a:cxnSpLocks/>
          </p:cNvCxnSpPr>
          <p:nvPr/>
        </p:nvCxnSpPr>
        <p:spPr>
          <a:xfrm>
            <a:off x="10995372" y="3557016"/>
            <a:ext cx="0" cy="527304"/>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74" name="直接连接符 73">
            <a:extLst>
              <a:ext uri="{FF2B5EF4-FFF2-40B4-BE49-F238E27FC236}">
                <a16:creationId xmlns:a16="http://schemas.microsoft.com/office/drawing/2014/main" id="{DED2666B-2988-4C88-9CCC-3C3499431F98}"/>
              </a:ext>
            </a:extLst>
          </p:cNvPr>
          <p:cNvCxnSpPr>
            <a:cxnSpLocks/>
          </p:cNvCxnSpPr>
          <p:nvPr/>
        </p:nvCxnSpPr>
        <p:spPr>
          <a:xfrm>
            <a:off x="11216508" y="3557016"/>
            <a:ext cx="0" cy="527304"/>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75" name="直接连接符 74">
            <a:extLst>
              <a:ext uri="{FF2B5EF4-FFF2-40B4-BE49-F238E27FC236}">
                <a16:creationId xmlns:a16="http://schemas.microsoft.com/office/drawing/2014/main" id="{1867B8F7-9298-4F10-911E-37134BBB4E99}"/>
              </a:ext>
            </a:extLst>
          </p:cNvPr>
          <p:cNvCxnSpPr>
            <a:cxnSpLocks/>
          </p:cNvCxnSpPr>
          <p:nvPr/>
        </p:nvCxnSpPr>
        <p:spPr>
          <a:xfrm>
            <a:off x="11437620" y="3557016"/>
            <a:ext cx="0" cy="527304"/>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77" name="直接连接符 76">
            <a:extLst>
              <a:ext uri="{FF2B5EF4-FFF2-40B4-BE49-F238E27FC236}">
                <a16:creationId xmlns:a16="http://schemas.microsoft.com/office/drawing/2014/main" id="{A9629648-3AD1-49D6-956A-56DA07CAB3EB}"/>
              </a:ext>
            </a:extLst>
          </p:cNvPr>
          <p:cNvCxnSpPr>
            <a:cxnSpLocks/>
          </p:cNvCxnSpPr>
          <p:nvPr/>
        </p:nvCxnSpPr>
        <p:spPr>
          <a:xfrm>
            <a:off x="601980" y="4334256"/>
            <a:ext cx="0" cy="640080"/>
          </a:xfrm>
          <a:prstGeom prst="line">
            <a:avLst/>
          </a:prstGeom>
          <a:ln w="15875">
            <a:solidFill>
              <a:schemeClr val="accent1"/>
            </a:solidFill>
            <a:headEnd type="oval"/>
          </a:ln>
        </p:spPr>
        <p:style>
          <a:lnRef idx="1">
            <a:schemeClr val="accent1"/>
          </a:lnRef>
          <a:fillRef idx="0">
            <a:schemeClr val="accent1"/>
          </a:fillRef>
          <a:effectRef idx="0">
            <a:schemeClr val="accent1"/>
          </a:effectRef>
          <a:fontRef idx="minor">
            <a:schemeClr val="tx1"/>
          </a:fontRef>
        </p:style>
      </p:cxnSp>
      <p:sp>
        <p:nvSpPr>
          <p:cNvPr id="79" name="文本框 78">
            <a:extLst>
              <a:ext uri="{FF2B5EF4-FFF2-40B4-BE49-F238E27FC236}">
                <a16:creationId xmlns:a16="http://schemas.microsoft.com/office/drawing/2014/main" id="{8D60A546-D1BA-4175-A4A7-97C977734F2A}"/>
              </a:ext>
            </a:extLst>
          </p:cNvPr>
          <p:cNvSpPr txBox="1"/>
          <p:nvPr/>
        </p:nvSpPr>
        <p:spPr>
          <a:xfrm>
            <a:off x="738805" y="4721655"/>
            <a:ext cx="714939" cy="307777"/>
          </a:xfrm>
          <a:prstGeom prst="rect">
            <a:avLst/>
          </a:prstGeom>
          <a:noFill/>
        </p:spPr>
        <p:txBody>
          <a:bodyPr wrap="none" lIns="0" tIns="0" rIns="0" bIns="0" rtlCol="0" anchor="t">
            <a:spAutoFit/>
          </a:bodyPr>
          <a:lstStyle/>
          <a:p>
            <a:r>
              <a:rPr lang="en-US" altLang="zh-CN" sz="2000" dirty="0">
                <a:solidFill>
                  <a:schemeClr val="accent1"/>
                </a:solidFill>
                <a:latin typeface="+mj-ea"/>
                <a:ea typeface="+mj-ea"/>
              </a:rPr>
              <a:t>20XX</a:t>
            </a:r>
            <a:endParaRPr lang="zh-CN" altLang="en-US" sz="2000" dirty="0">
              <a:solidFill>
                <a:schemeClr val="accent1"/>
              </a:solidFill>
              <a:latin typeface="+mj-ea"/>
              <a:ea typeface="+mj-ea"/>
            </a:endParaRPr>
          </a:p>
        </p:txBody>
      </p:sp>
      <p:sp>
        <p:nvSpPr>
          <p:cNvPr id="80" name="文本框 79">
            <a:extLst>
              <a:ext uri="{FF2B5EF4-FFF2-40B4-BE49-F238E27FC236}">
                <a16:creationId xmlns:a16="http://schemas.microsoft.com/office/drawing/2014/main" id="{B00C7E91-A52E-4602-80F0-A79C3655308A}"/>
              </a:ext>
            </a:extLst>
          </p:cNvPr>
          <p:cNvSpPr txBox="1"/>
          <p:nvPr/>
        </p:nvSpPr>
        <p:spPr>
          <a:xfrm>
            <a:off x="657842" y="4997088"/>
            <a:ext cx="1692961" cy="430887"/>
          </a:xfrm>
          <a:prstGeom prst="rect">
            <a:avLst/>
          </a:prstGeom>
          <a:noFill/>
        </p:spPr>
        <p:txBody>
          <a:bodyPr wrap="square" rtlCol="0">
            <a:spAutoFit/>
          </a:bodyPr>
          <a:lstStyle/>
          <a:p>
            <a:r>
              <a:rPr lang="en-US" altLang="zh-CN" sz="1100" dirty="0">
                <a:solidFill>
                  <a:schemeClr val="accent1"/>
                </a:solidFill>
              </a:rPr>
              <a:t>Lorem ipsum dolor sit amet consectetur</a:t>
            </a:r>
            <a:endParaRPr lang="zh-CN" altLang="en-US" sz="1100" dirty="0">
              <a:solidFill>
                <a:schemeClr val="accent1"/>
              </a:solidFill>
            </a:endParaRPr>
          </a:p>
        </p:txBody>
      </p:sp>
      <p:cxnSp>
        <p:nvCxnSpPr>
          <p:cNvPr id="81" name="直接连接符 80">
            <a:extLst>
              <a:ext uri="{FF2B5EF4-FFF2-40B4-BE49-F238E27FC236}">
                <a16:creationId xmlns:a16="http://schemas.microsoft.com/office/drawing/2014/main" id="{55B7E981-FE8F-41E0-82FB-BA053F1AC708}"/>
              </a:ext>
            </a:extLst>
          </p:cNvPr>
          <p:cNvCxnSpPr>
            <a:cxnSpLocks/>
          </p:cNvCxnSpPr>
          <p:nvPr/>
        </p:nvCxnSpPr>
        <p:spPr>
          <a:xfrm flipH="1" flipV="1">
            <a:off x="2813340" y="2203704"/>
            <a:ext cx="0" cy="640080"/>
          </a:xfrm>
          <a:prstGeom prst="line">
            <a:avLst/>
          </a:prstGeom>
          <a:ln w="15875">
            <a:solidFill>
              <a:schemeClr val="accent1"/>
            </a:solidFill>
            <a:headEnd type="oval"/>
          </a:ln>
        </p:spPr>
        <p:style>
          <a:lnRef idx="1">
            <a:schemeClr val="accent1"/>
          </a:lnRef>
          <a:fillRef idx="0">
            <a:schemeClr val="accent1"/>
          </a:fillRef>
          <a:effectRef idx="0">
            <a:schemeClr val="accent1"/>
          </a:effectRef>
          <a:fontRef idx="minor">
            <a:schemeClr val="tx1"/>
          </a:fontRef>
        </p:style>
      </p:cxnSp>
      <p:sp>
        <p:nvSpPr>
          <p:cNvPr id="82" name="文本框 81">
            <a:extLst>
              <a:ext uri="{FF2B5EF4-FFF2-40B4-BE49-F238E27FC236}">
                <a16:creationId xmlns:a16="http://schemas.microsoft.com/office/drawing/2014/main" id="{9FA4F7F4-37BF-43BF-BD93-A4BFA87FC06A}"/>
              </a:ext>
            </a:extLst>
          </p:cNvPr>
          <p:cNvSpPr txBox="1"/>
          <p:nvPr/>
        </p:nvSpPr>
        <p:spPr>
          <a:xfrm>
            <a:off x="2937225" y="1844856"/>
            <a:ext cx="714939" cy="307777"/>
          </a:xfrm>
          <a:prstGeom prst="rect">
            <a:avLst/>
          </a:prstGeom>
          <a:noFill/>
        </p:spPr>
        <p:txBody>
          <a:bodyPr wrap="none" lIns="0" tIns="0" rIns="0" bIns="0" rtlCol="0" anchor="t">
            <a:spAutoFit/>
          </a:bodyPr>
          <a:lstStyle/>
          <a:p>
            <a:r>
              <a:rPr lang="en-US" altLang="zh-CN" sz="2000" dirty="0">
                <a:solidFill>
                  <a:schemeClr val="accent1"/>
                </a:solidFill>
                <a:latin typeface="+mj-ea"/>
                <a:ea typeface="+mj-ea"/>
              </a:rPr>
              <a:t>20XX</a:t>
            </a:r>
            <a:endParaRPr lang="zh-CN" altLang="en-US" sz="2000" dirty="0">
              <a:solidFill>
                <a:schemeClr val="accent1"/>
              </a:solidFill>
              <a:latin typeface="+mj-ea"/>
              <a:ea typeface="+mj-ea"/>
            </a:endParaRPr>
          </a:p>
        </p:txBody>
      </p:sp>
      <p:sp>
        <p:nvSpPr>
          <p:cNvPr id="83" name="文本框 82">
            <a:extLst>
              <a:ext uri="{FF2B5EF4-FFF2-40B4-BE49-F238E27FC236}">
                <a16:creationId xmlns:a16="http://schemas.microsoft.com/office/drawing/2014/main" id="{B7135A99-DBC2-49C0-A772-C150125DAE7B}"/>
              </a:ext>
            </a:extLst>
          </p:cNvPr>
          <p:cNvSpPr txBox="1"/>
          <p:nvPr/>
        </p:nvSpPr>
        <p:spPr>
          <a:xfrm>
            <a:off x="2856262" y="2120289"/>
            <a:ext cx="1692961" cy="430887"/>
          </a:xfrm>
          <a:prstGeom prst="rect">
            <a:avLst/>
          </a:prstGeom>
          <a:noFill/>
        </p:spPr>
        <p:txBody>
          <a:bodyPr wrap="square" rtlCol="0">
            <a:spAutoFit/>
          </a:bodyPr>
          <a:lstStyle/>
          <a:p>
            <a:r>
              <a:rPr lang="en-US" altLang="zh-CN" sz="1100" dirty="0">
                <a:solidFill>
                  <a:schemeClr val="accent1"/>
                </a:solidFill>
              </a:rPr>
              <a:t>Lorem ipsum dolor sit amet consectetur</a:t>
            </a:r>
            <a:endParaRPr lang="zh-CN" altLang="en-US" sz="1100" dirty="0">
              <a:solidFill>
                <a:schemeClr val="accent1"/>
              </a:solidFill>
            </a:endParaRPr>
          </a:p>
        </p:txBody>
      </p:sp>
      <p:cxnSp>
        <p:nvCxnSpPr>
          <p:cNvPr id="84" name="直接连接符 83">
            <a:extLst>
              <a:ext uri="{FF2B5EF4-FFF2-40B4-BE49-F238E27FC236}">
                <a16:creationId xmlns:a16="http://schemas.microsoft.com/office/drawing/2014/main" id="{ED542AF1-AFB1-47B9-B62E-E564E88DA7DE}"/>
              </a:ext>
            </a:extLst>
          </p:cNvPr>
          <p:cNvCxnSpPr>
            <a:cxnSpLocks/>
          </p:cNvCxnSpPr>
          <p:nvPr/>
        </p:nvCxnSpPr>
        <p:spPr>
          <a:xfrm>
            <a:off x="5006901" y="4334256"/>
            <a:ext cx="0" cy="640080"/>
          </a:xfrm>
          <a:prstGeom prst="line">
            <a:avLst/>
          </a:prstGeom>
          <a:ln w="15875">
            <a:solidFill>
              <a:schemeClr val="accent1"/>
            </a:solidFill>
            <a:headEnd type="oval"/>
          </a:ln>
        </p:spPr>
        <p:style>
          <a:lnRef idx="1">
            <a:schemeClr val="accent1"/>
          </a:lnRef>
          <a:fillRef idx="0">
            <a:schemeClr val="accent1"/>
          </a:fillRef>
          <a:effectRef idx="0">
            <a:schemeClr val="accent1"/>
          </a:effectRef>
          <a:fontRef idx="minor">
            <a:schemeClr val="tx1"/>
          </a:fontRef>
        </p:style>
      </p:cxnSp>
      <p:sp>
        <p:nvSpPr>
          <p:cNvPr id="85" name="文本框 84">
            <a:extLst>
              <a:ext uri="{FF2B5EF4-FFF2-40B4-BE49-F238E27FC236}">
                <a16:creationId xmlns:a16="http://schemas.microsoft.com/office/drawing/2014/main" id="{0B1AD225-7CD3-45F7-9203-EDA74767E38D}"/>
              </a:ext>
            </a:extLst>
          </p:cNvPr>
          <p:cNvSpPr txBox="1"/>
          <p:nvPr/>
        </p:nvSpPr>
        <p:spPr>
          <a:xfrm>
            <a:off x="5143726" y="4721655"/>
            <a:ext cx="714939" cy="307777"/>
          </a:xfrm>
          <a:prstGeom prst="rect">
            <a:avLst/>
          </a:prstGeom>
          <a:noFill/>
        </p:spPr>
        <p:txBody>
          <a:bodyPr wrap="none" lIns="0" tIns="0" rIns="0" bIns="0" rtlCol="0" anchor="t">
            <a:spAutoFit/>
          </a:bodyPr>
          <a:lstStyle/>
          <a:p>
            <a:r>
              <a:rPr lang="en-US" altLang="zh-CN" sz="2000" dirty="0">
                <a:solidFill>
                  <a:schemeClr val="accent1"/>
                </a:solidFill>
                <a:latin typeface="+mj-ea"/>
                <a:ea typeface="+mj-ea"/>
              </a:rPr>
              <a:t>20XX</a:t>
            </a:r>
            <a:endParaRPr lang="zh-CN" altLang="en-US" sz="2000" dirty="0">
              <a:solidFill>
                <a:schemeClr val="accent1"/>
              </a:solidFill>
              <a:latin typeface="+mj-ea"/>
              <a:ea typeface="+mj-ea"/>
            </a:endParaRPr>
          </a:p>
        </p:txBody>
      </p:sp>
      <p:sp>
        <p:nvSpPr>
          <p:cNvPr id="86" name="文本框 85">
            <a:extLst>
              <a:ext uri="{FF2B5EF4-FFF2-40B4-BE49-F238E27FC236}">
                <a16:creationId xmlns:a16="http://schemas.microsoft.com/office/drawing/2014/main" id="{0A1A31DA-9AA5-4BF7-89F8-994904260CF9}"/>
              </a:ext>
            </a:extLst>
          </p:cNvPr>
          <p:cNvSpPr txBox="1"/>
          <p:nvPr/>
        </p:nvSpPr>
        <p:spPr>
          <a:xfrm>
            <a:off x="5062763" y="4997088"/>
            <a:ext cx="1692961" cy="430887"/>
          </a:xfrm>
          <a:prstGeom prst="rect">
            <a:avLst/>
          </a:prstGeom>
          <a:noFill/>
        </p:spPr>
        <p:txBody>
          <a:bodyPr wrap="square" rtlCol="0">
            <a:spAutoFit/>
          </a:bodyPr>
          <a:lstStyle/>
          <a:p>
            <a:r>
              <a:rPr lang="en-US" altLang="zh-CN" sz="1100" dirty="0">
                <a:solidFill>
                  <a:schemeClr val="accent1"/>
                </a:solidFill>
              </a:rPr>
              <a:t>Lorem ipsum dolor sit amet consectetur</a:t>
            </a:r>
            <a:endParaRPr lang="zh-CN" altLang="en-US" sz="1100" dirty="0">
              <a:solidFill>
                <a:schemeClr val="accent1"/>
              </a:solidFill>
            </a:endParaRPr>
          </a:p>
        </p:txBody>
      </p:sp>
      <p:cxnSp>
        <p:nvCxnSpPr>
          <p:cNvPr id="87" name="直接连接符 86">
            <a:extLst>
              <a:ext uri="{FF2B5EF4-FFF2-40B4-BE49-F238E27FC236}">
                <a16:creationId xmlns:a16="http://schemas.microsoft.com/office/drawing/2014/main" id="{A610AEE1-174A-49FC-907D-571F12197074}"/>
              </a:ext>
            </a:extLst>
          </p:cNvPr>
          <p:cNvCxnSpPr>
            <a:cxnSpLocks/>
          </p:cNvCxnSpPr>
          <p:nvPr/>
        </p:nvCxnSpPr>
        <p:spPr>
          <a:xfrm flipH="1" flipV="1">
            <a:off x="7218261" y="2203704"/>
            <a:ext cx="0" cy="640080"/>
          </a:xfrm>
          <a:prstGeom prst="line">
            <a:avLst/>
          </a:prstGeom>
          <a:ln w="15875">
            <a:solidFill>
              <a:schemeClr val="accent1"/>
            </a:solidFill>
            <a:headEnd type="oval"/>
          </a:ln>
        </p:spPr>
        <p:style>
          <a:lnRef idx="1">
            <a:schemeClr val="accent1"/>
          </a:lnRef>
          <a:fillRef idx="0">
            <a:schemeClr val="accent1"/>
          </a:fillRef>
          <a:effectRef idx="0">
            <a:schemeClr val="accent1"/>
          </a:effectRef>
          <a:fontRef idx="minor">
            <a:schemeClr val="tx1"/>
          </a:fontRef>
        </p:style>
      </p:cxnSp>
      <p:sp>
        <p:nvSpPr>
          <p:cNvPr id="88" name="文本框 87">
            <a:extLst>
              <a:ext uri="{FF2B5EF4-FFF2-40B4-BE49-F238E27FC236}">
                <a16:creationId xmlns:a16="http://schemas.microsoft.com/office/drawing/2014/main" id="{3DE996D0-7A3E-45F0-A342-E81B6475EDE2}"/>
              </a:ext>
            </a:extLst>
          </p:cNvPr>
          <p:cNvSpPr txBox="1"/>
          <p:nvPr/>
        </p:nvSpPr>
        <p:spPr>
          <a:xfrm>
            <a:off x="7342146" y="1844856"/>
            <a:ext cx="714939" cy="307777"/>
          </a:xfrm>
          <a:prstGeom prst="rect">
            <a:avLst/>
          </a:prstGeom>
          <a:noFill/>
        </p:spPr>
        <p:txBody>
          <a:bodyPr wrap="none" lIns="0" tIns="0" rIns="0" bIns="0" rtlCol="0" anchor="t">
            <a:spAutoFit/>
          </a:bodyPr>
          <a:lstStyle/>
          <a:p>
            <a:r>
              <a:rPr lang="en-US" altLang="zh-CN" sz="2000" dirty="0">
                <a:solidFill>
                  <a:schemeClr val="accent1"/>
                </a:solidFill>
                <a:latin typeface="+mj-ea"/>
                <a:ea typeface="+mj-ea"/>
              </a:rPr>
              <a:t>20XX</a:t>
            </a:r>
            <a:endParaRPr lang="zh-CN" altLang="en-US" sz="2000" dirty="0">
              <a:solidFill>
                <a:schemeClr val="accent1"/>
              </a:solidFill>
              <a:latin typeface="+mj-ea"/>
              <a:ea typeface="+mj-ea"/>
            </a:endParaRPr>
          </a:p>
        </p:txBody>
      </p:sp>
      <p:sp>
        <p:nvSpPr>
          <p:cNvPr id="89" name="文本框 88">
            <a:extLst>
              <a:ext uri="{FF2B5EF4-FFF2-40B4-BE49-F238E27FC236}">
                <a16:creationId xmlns:a16="http://schemas.microsoft.com/office/drawing/2014/main" id="{DE0DAC04-525E-4946-9E66-4438D6D98D58}"/>
              </a:ext>
            </a:extLst>
          </p:cNvPr>
          <p:cNvSpPr txBox="1"/>
          <p:nvPr/>
        </p:nvSpPr>
        <p:spPr>
          <a:xfrm>
            <a:off x="7261183" y="2120289"/>
            <a:ext cx="1692961" cy="430887"/>
          </a:xfrm>
          <a:prstGeom prst="rect">
            <a:avLst/>
          </a:prstGeom>
          <a:noFill/>
        </p:spPr>
        <p:txBody>
          <a:bodyPr wrap="square" rtlCol="0">
            <a:spAutoFit/>
          </a:bodyPr>
          <a:lstStyle/>
          <a:p>
            <a:r>
              <a:rPr lang="en-US" altLang="zh-CN" sz="1100" dirty="0">
                <a:solidFill>
                  <a:schemeClr val="accent1"/>
                </a:solidFill>
              </a:rPr>
              <a:t>Lorem ipsum dolor sit amet consectetur</a:t>
            </a:r>
            <a:endParaRPr lang="zh-CN" altLang="en-US" sz="1100" dirty="0">
              <a:solidFill>
                <a:schemeClr val="accent1"/>
              </a:solidFill>
            </a:endParaRPr>
          </a:p>
        </p:txBody>
      </p:sp>
      <p:cxnSp>
        <p:nvCxnSpPr>
          <p:cNvPr id="90" name="直接连接符 89">
            <a:extLst>
              <a:ext uri="{FF2B5EF4-FFF2-40B4-BE49-F238E27FC236}">
                <a16:creationId xmlns:a16="http://schemas.microsoft.com/office/drawing/2014/main" id="{DC4E9C09-B817-4E9B-A3A7-3618B3807BE7}"/>
              </a:ext>
            </a:extLst>
          </p:cNvPr>
          <p:cNvCxnSpPr>
            <a:cxnSpLocks/>
          </p:cNvCxnSpPr>
          <p:nvPr/>
        </p:nvCxnSpPr>
        <p:spPr>
          <a:xfrm>
            <a:off x="9460029" y="4334256"/>
            <a:ext cx="0" cy="640080"/>
          </a:xfrm>
          <a:prstGeom prst="line">
            <a:avLst/>
          </a:prstGeom>
          <a:ln w="15875">
            <a:solidFill>
              <a:schemeClr val="accent1"/>
            </a:solidFill>
            <a:headEnd type="oval"/>
          </a:ln>
        </p:spPr>
        <p:style>
          <a:lnRef idx="1">
            <a:schemeClr val="accent1"/>
          </a:lnRef>
          <a:fillRef idx="0">
            <a:schemeClr val="accent1"/>
          </a:fillRef>
          <a:effectRef idx="0">
            <a:schemeClr val="accent1"/>
          </a:effectRef>
          <a:fontRef idx="minor">
            <a:schemeClr val="tx1"/>
          </a:fontRef>
        </p:style>
      </p:cxnSp>
      <p:sp>
        <p:nvSpPr>
          <p:cNvPr id="91" name="文本框 90">
            <a:extLst>
              <a:ext uri="{FF2B5EF4-FFF2-40B4-BE49-F238E27FC236}">
                <a16:creationId xmlns:a16="http://schemas.microsoft.com/office/drawing/2014/main" id="{A3897CE6-A1E5-4089-8C18-8F8CB914001D}"/>
              </a:ext>
            </a:extLst>
          </p:cNvPr>
          <p:cNvSpPr txBox="1"/>
          <p:nvPr/>
        </p:nvSpPr>
        <p:spPr>
          <a:xfrm>
            <a:off x="9596854" y="4721655"/>
            <a:ext cx="714939" cy="307777"/>
          </a:xfrm>
          <a:prstGeom prst="rect">
            <a:avLst/>
          </a:prstGeom>
          <a:noFill/>
        </p:spPr>
        <p:txBody>
          <a:bodyPr wrap="none" lIns="0" tIns="0" rIns="0" bIns="0" rtlCol="0" anchor="t">
            <a:spAutoFit/>
          </a:bodyPr>
          <a:lstStyle/>
          <a:p>
            <a:r>
              <a:rPr lang="en-US" altLang="zh-CN" sz="2000" dirty="0">
                <a:solidFill>
                  <a:schemeClr val="accent1"/>
                </a:solidFill>
                <a:latin typeface="+mj-ea"/>
                <a:ea typeface="+mj-ea"/>
              </a:rPr>
              <a:t>20XX</a:t>
            </a:r>
            <a:endParaRPr lang="zh-CN" altLang="en-US" sz="2000" dirty="0">
              <a:solidFill>
                <a:schemeClr val="accent1"/>
              </a:solidFill>
              <a:latin typeface="+mj-ea"/>
              <a:ea typeface="+mj-ea"/>
            </a:endParaRPr>
          </a:p>
        </p:txBody>
      </p:sp>
      <p:sp>
        <p:nvSpPr>
          <p:cNvPr id="92" name="文本框 91">
            <a:extLst>
              <a:ext uri="{FF2B5EF4-FFF2-40B4-BE49-F238E27FC236}">
                <a16:creationId xmlns:a16="http://schemas.microsoft.com/office/drawing/2014/main" id="{806323D2-50A0-4C15-AF80-1CCE97CEABD9}"/>
              </a:ext>
            </a:extLst>
          </p:cNvPr>
          <p:cNvSpPr txBox="1"/>
          <p:nvPr/>
        </p:nvSpPr>
        <p:spPr>
          <a:xfrm>
            <a:off x="9515891" y="4997088"/>
            <a:ext cx="1692961" cy="430887"/>
          </a:xfrm>
          <a:prstGeom prst="rect">
            <a:avLst/>
          </a:prstGeom>
          <a:noFill/>
        </p:spPr>
        <p:txBody>
          <a:bodyPr wrap="square" rtlCol="0">
            <a:spAutoFit/>
          </a:bodyPr>
          <a:lstStyle/>
          <a:p>
            <a:r>
              <a:rPr lang="en-US" altLang="zh-CN" sz="1100" dirty="0">
                <a:solidFill>
                  <a:schemeClr val="accent1"/>
                </a:solidFill>
              </a:rPr>
              <a:t>Lorem ipsum dolor sit amet consectetur</a:t>
            </a:r>
            <a:endParaRPr lang="zh-CN" altLang="en-US" sz="1100" dirty="0">
              <a:solidFill>
                <a:schemeClr val="accent1"/>
              </a:solidFill>
            </a:endParaRPr>
          </a:p>
        </p:txBody>
      </p:sp>
      <p:cxnSp>
        <p:nvCxnSpPr>
          <p:cNvPr id="94" name="直接连接符 93">
            <a:extLst>
              <a:ext uri="{FF2B5EF4-FFF2-40B4-BE49-F238E27FC236}">
                <a16:creationId xmlns:a16="http://schemas.microsoft.com/office/drawing/2014/main" id="{56B1F046-359F-4ED9-A7E1-7A7B241631FA}"/>
              </a:ext>
            </a:extLst>
          </p:cNvPr>
          <p:cNvCxnSpPr>
            <a:cxnSpLocks/>
          </p:cNvCxnSpPr>
          <p:nvPr/>
        </p:nvCxnSpPr>
        <p:spPr>
          <a:xfrm>
            <a:off x="11676270" y="3017520"/>
            <a:ext cx="0" cy="106680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89991713"/>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3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圆角 1">
            <a:extLst>
              <a:ext uri="{FF2B5EF4-FFF2-40B4-BE49-F238E27FC236}">
                <a16:creationId xmlns:a16="http://schemas.microsoft.com/office/drawing/2014/main" id="{BB82CA79-DE38-499A-BA56-C5937C8DEB04}"/>
              </a:ext>
            </a:extLst>
          </p:cNvPr>
          <p:cNvSpPr/>
          <p:nvPr/>
        </p:nvSpPr>
        <p:spPr>
          <a:xfrm>
            <a:off x="714374" y="2767012"/>
            <a:ext cx="11153775" cy="1323975"/>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grpSp>
        <p:nvGrpSpPr>
          <p:cNvPr id="3" name="组合 2">
            <a:extLst>
              <a:ext uri="{FF2B5EF4-FFF2-40B4-BE49-F238E27FC236}">
                <a16:creationId xmlns:a16="http://schemas.microsoft.com/office/drawing/2014/main" id="{819A5A9D-09A3-4C4B-8E60-BBE561842D1F}"/>
              </a:ext>
            </a:extLst>
          </p:cNvPr>
          <p:cNvGrpSpPr/>
          <p:nvPr/>
        </p:nvGrpSpPr>
        <p:grpSpPr>
          <a:xfrm>
            <a:off x="1115377" y="2949209"/>
            <a:ext cx="10362249" cy="998208"/>
            <a:chOff x="601980" y="3017520"/>
            <a:chExt cx="11074290" cy="1066800"/>
          </a:xfrm>
        </p:grpSpPr>
        <p:cxnSp>
          <p:nvCxnSpPr>
            <p:cNvPr id="27" name="直接连接符 26">
              <a:extLst>
                <a:ext uri="{FF2B5EF4-FFF2-40B4-BE49-F238E27FC236}">
                  <a16:creationId xmlns:a16="http://schemas.microsoft.com/office/drawing/2014/main" id="{F8C2FD29-9FFB-44B0-AEDE-2E02D284CF9A}"/>
                </a:ext>
              </a:extLst>
            </p:cNvPr>
            <p:cNvCxnSpPr/>
            <p:nvPr/>
          </p:nvCxnSpPr>
          <p:spPr>
            <a:xfrm>
              <a:off x="601980" y="3017520"/>
              <a:ext cx="0" cy="106680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8" name="直接连接符 27">
              <a:extLst>
                <a:ext uri="{FF2B5EF4-FFF2-40B4-BE49-F238E27FC236}">
                  <a16:creationId xmlns:a16="http://schemas.microsoft.com/office/drawing/2014/main" id="{F5448914-4A33-4C3C-A691-1CB67633004C}"/>
                </a:ext>
              </a:extLst>
            </p:cNvPr>
            <p:cNvCxnSpPr>
              <a:cxnSpLocks/>
            </p:cNvCxnSpPr>
            <p:nvPr/>
          </p:nvCxnSpPr>
          <p:spPr>
            <a:xfrm>
              <a:off x="823116" y="3557016"/>
              <a:ext cx="0" cy="527304"/>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2" name="直接连接符 41">
              <a:extLst>
                <a:ext uri="{FF2B5EF4-FFF2-40B4-BE49-F238E27FC236}">
                  <a16:creationId xmlns:a16="http://schemas.microsoft.com/office/drawing/2014/main" id="{4C0FACA2-92F0-4111-ADC5-C78948AE1F97}"/>
                </a:ext>
              </a:extLst>
            </p:cNvPr>
            <p:cNvCxnSpPr>
              <a:cxnSpLocks/>
            </p:cNvCxnSpPr>
            <p:nvPr/>
          </p:nvCxnSpPr>
          <p:spPr>
            <a:xfrm>
              <a:off x="1044252" y="3557016"/>
              <a:ext cx="0" cy="527304"/>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3" name="直接连接符 42">
              <a:extLst>
                <a:ext uri="{FF2B5EF4-FFF2-40B4-BE49-F238E27FC236}">
                  <a16:creationId xmlns:a16="http://schemas.microsoft.com/office/drawing/2014/main" id="{CBE997C2-EA61-4A0D-BA71-2F25363B0AE2}"/>
                </a:ext>
              </a:extLst>
            </p:cNvPr>
            <p:cNvCxnSpPr>
              <a:cxnSpLocks/>
            </p:cNvCxnSpPr>
            <p:nvPr/>
          </p:nvCxnSpPr>
          <p:spPr>
            <a:xfrm>
              <a:off x="1265388" y="3557016"/>
              <a:ext cx="0" cy="527304"/>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4" name="直接连接符 43">
              <a:extLst>
                <a:ext uri="{FF2B5EF4-FFF2-40B4-BE49-F238E27FC236}">
                  <a16:creationId xmlns:a16="http://schemas.microsoft.com/office/drawing/2014/main" id="{B09EDE29-74FD-46FE-9336-3EA79F91DE91}"/>
                </a:ext>
              </a:extLst>
            </p:cNvPr>
            <p:cNvCxnSpPr>
              <a:cxnSpLocks/>
            </p:cNvCxnSpPr>
            <p:nvPr/>
          </p:nvCxnSpPr>
          <p:spPr>
            <a:xfrm>
              <a:off x="1486524" y="3557016"/>
              <a:ext cx="0" cy="527304"/>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5" name="直接连接符 44">
              <a:extLst>
                <a:ext uri="{FF2B5EF4-FFF2-40B4-BE49-F238E27FC236}">
                  <a16:creationId xmlns:a16="http://schemas.microsoft.com/office/drawing/2014/main" id="{E34C9739-CCFF-41BD-A06B-B5DB9B1D05CD}"/>
                </a:ext>
              </a:extLst>
            </p:cNvPr>
            <p:cNvCxnSpPr>
              <a:cxnSpLocks/>
            </p:cNvCxnSpPr>
            <p:nvPr/>
          </p:nvCxnSpPr>
          <p:spPr>
            <a:xfrm>
              <a:off x="1707660" y="3557016"/>
              <a:ext cx="0" cy="527304"/>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6" name="直接连接符 45">
              <a:extLst>
                <a:ext uri="{FF2B5EF4-FFF2-40B4-BE49-F238E27FC236}">
                  <a16:creationId xmlns:a16="http://schemas.microsoft.com/office/drawing/2014/main" id="{8D5CBF38-9AD7-4635-AD2E-1719F4934B8E}"/>
                </a:ext>
              </a:extLst>
            </p:cNvPr>
            <p:cNvCxnSpPr>
              <a:cxnSpLocks/>
            </p:cNvCxnSpPr>
            <p:nvPr/>
          </p:nvCxnSpPr>
          <p:spPr>
            <a:xfrm>
              <a:off x="1928796" y="3557016"/>
              <a:ext cx="0" cy="527304"/>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7" name="直接连接符 46">
              <a:extLst>
                <a:ext uri="{FF2B5EF4-FFF2-40B4-BE49-F238E27FC236}">
                  <a16:creationId xmlns:a16="http://schemas.microsoft.com/office/drawing/2014/main" id="{6E024665-30EF-48D9-B7F9-4A7BFBC77761}"/>
                </a:ext>
              </a:extLst>
            </p:cNvPr>
            <p:cNvCxnSpPr>
              <a:cxnSpLocks/>
            </p:cNvCxnSpPr>
            <p:nvPr/>
          </p:nvCxnSpPr>
          <p:spPr>
            <a:xfrm>
              <a:off x="2149932" y="3557016"/>
              <a:ext cx="0" cy="527304"/>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8" name="直接连接符 47">
              <a:extLst>
                <a:ext uri="{FF2B5EF4-FFF2-40B4-BE49-F238E27FC236}">
                  <a16:creationId xmlns:a16="http://schemas.microsoft.com/office/drawing/2014/main" id="{976F08D1-17B5-4CFC-907A-D7E5CDFEA745}"/>
                </a:ext>
              </a:extLst>
            </p:cNvPr>
            <p:cNvCxnSpPr>
              <a:cxnSpLocks/>
            </p:cNvCxnSpPr>
            <p:nvPr/>
          </p:nvCxnSpPr>
          <p:spPr>
            <a:xfrm>
              <a:off x="2371068" y="3557016"/>
              <a:ext cx="0" cy="527304"/>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9" name="直接连接符 48">
              <a:extLst>
                <a:ext uri="{FF2B5EF4-FFF2-40B4-BE49-F238E27FC236}">
                  <a16:creationId xmlns:a16="http://schemas.microsoft.com/office/drawing/2014/main" id="{F42CB178-03E8-433B-AE33-E79CCCF25A65}"/>
                </a:ext>
              </a:extLst>
            </p:cNvPr>
            <p:cNvCxnSpPr>
              <a:cxnSpLocks/>
            </p:cNvCxnSpPr>
            <p:nvPr/>
          </p:nvCxnSpPr>
          <p:spPr>
            <a:xfrm>
              <a:off x="2592204" y="3557016"/>
              <a:ext cx="0" cy="527304"/>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0" name="直接连接符 49">
              <a:extLst>
                <a:ext uri="{FF2B5EF4-FFF2-40B4-BE49-F238E27FC236}">
                  <a16:creationId xmlns:a16="http://schemas.microsoft.com/office/drawing/2014/main" id="{15FCBA6A-2A92-4123-B0F2-1CBD47BCA703}"/>
                </a:ext>
              </a:extLst>
            </p:cNvPr>
            <p:cNvCxnSpPr>
              <a:cxnSpLocks/>
            </p:cNvCxnSpPr>
            <p:nvPr/>
          </p:nvCxnSpPr>
          <p:spPr>
            <a:xfrm>
              <a:off x="2813340" y="3017520"/>
              <a:ext cx="0" cy="106680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1" name="直接连接符 50">
              <a:extLst>
                <a:ext uri="{FF2B5EF4-FFF2-40B4-BE49-F238E27FC236}">
                  <a16:creationId xmlns:a16="http://schemas.microsoft.com/office/drawing/2014/main" id="{70E1272D-FAD0-4EDC-B399-F282B342B62D}"/>
                </a:ext>
              </a:extLst>
            </p:cNvPr>
            <p:cNvCxnSpPr>
              <a:cxnSpLocks/>
            </p:cNvCxnSpPr>
            <p:nvPr/>
          </p:nvCxnSpPr>
          <p:spPr>
            <a:xfrm>
              <a:off x="3034476" y="3557016"/>
              <a:ext cx="0" cy="527304"/>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2" name="直接连接符 51">
              <a:extLst>
                <a:ext uri="{FF2B5EF4-FFF2-40B4-BE49-F238E27FC236}">
                  <a16:creationId xmlns:a16="http://schemas.microsoft.com/office/drawing/2014/main" id="{3A911F48-F05E-4C9E-97F7-96C4747A957F}"/>
                </a:ext>
              </a:extLst>
            </p:cNvPr>
            <p:cNvCxnSpPr>
              <a:cxnSpLocks/>
            </p:cNvCxnSpPr>
            <p:nvPr/>
          </p:nvCxnSpPr>
          <p:spPr>
            <a:xfrm>
              <a:off x="3255612" y="3557016"/>
              <a:ext cx="0" cy="527304"/>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3" name="直接连接符 52">
              <a:extLst>
                <a:ext uri="{FF2B5EF4-FFF2-40B4-BE49-F238E27FC236}">
                  <a16:creationId xmlns:a16="http://schemas.microsoft.com/office/drawing/2014/main" id="{F37070A4-6E94-4CAC-AB6F-AD40619421C5}"/>
                </a:ext>
              </a:extLst>
            </p:cNvPr>
            <p:cNvCxnSpPr>
              <a:cxnSpLocks/>
            </p:cNvCxnSpPr>
            <p:nvPr/>
          </p:nvCxnSpPr>
          <p:spPr>
            <a:xfrm>
              <a:off x="3476748" y="3557016"/>
              <a:ext cx="0" cy="527304"/>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4" name="直接连接符 53">
              <a:extLst>
                <a:ext uri="{FF2B5EF4-FFF2-40B4-BE49-F238E27FC236}">
                  <a16:creationId xmlns:a16="http://schemas.microsoft.com/office/drawing/2014/main" id="{7BD68E5C-4FE5-4A95-9403-03306E129E42}"/>
                </a:ext>
              </a:extLst>
            </p:cNvPr>
            <p:cNvCxnSpPr>
              <a:cxnSpLocks/>
            </p:cNvCxnSpPr>
            <p:nvPr/>
          </p:nvCxnSpPr>
          <p:spPr>
            <a:xfrm>
              <a:off x="3697884" y="3557016"/>
              <a:ext cx="0" cy="527304"/>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5" name="直接连接符 54">
              <a:extLst>
                <a:ext uri="{FF2B5EF4-FFF2-40B4-BE49-F238E27FC236}">
                  <a16:creationId xmlns:a16="http://schemas.microsoft.com/office/drawing/2014/main" id="{5A65F959-0852-4309-8855-8F9D79414C02}"/>
                </a:ext>
              </a:extLst>
            </p:cNvPr>
            <p:cNvCxnSpPr>
              <a:cxnSpLocks/>
            </p:cNvCxnSpPr>
            <p:nvPr/>
          </p:nvCxnSpPr>
          <p:spPr>
            <a:xfrm>
              <a:off x="3919020" y="3557016"/>
              <a:ext cx="0" cy="527304"/>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6" name="直接连接符 55">
              <a:extLst>
                <a:ext uri="{FF2B5EF4-FFF2-40B4-BE49-F238E27FC236}">
                  <a16:creationId xmlns:a16="http://schemas.microsoft.com/office/drawing/2014/main" id="{415CB095-96A4-4AC8-8753-A43785454F6B}"/>
                </a:ext>
              </a:extLst>
            </p:cNvPr>
            <p:cNvCxnSpPr>
              <a:cxnSpLocks/>
            </p:cNvCxnSpPr>
            <p:nvPr/>
          </p:nvCxnSpPr>
          <p:spPr>
            <a:xfrm>
              <a:off x="4140156" y="3557016"/>
              <a:ext cx="0" cy="527304"/>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7" name="直接连接符 56">
              <a:extLst>
                <a:ext uri="{FF2B5EF4-FFF2-40B4-BE49-F238E27FC236}">
                  <a16:creationId xmlns:a16="http://schemas.microsoft.com/office/drawing/2014/main" id="{688CA324-75A6-4100-AFA7-D427FB2C993D}"/>
                </a:ext>
              </a:extLst>
            </p:cNvPr>
            <p:cNvCxnSpPr>
              <a:cxnSpLocks/>
            </p:cNvCxnSpPr>
            <p:nvPr/>
          </p:nvCxnSpPr>
          <p:spPr>
            <a:xfrm>
              <a:off x="4361292" y="3557016"/>
              <a:ext cx="0" cy="527304"/>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8" name="直接连接符 57">
              <a:extLst>
                <a:ext uri="{FF2B5EF4-FFF2-40B4-BE49-F238E27FC236}">
                  <a16:creationId xmlns:a16="http://schemas.microsoft.com/office/drawing/2014/main" id="{5D4BAF57-5270-4CB8-B4F4-151A51CA004E}"/>
                </a:ext>
              </a:extLst>
            </p:cNvPr>
            <p:cNvCxnSpPr>
              <a:cxnSpLocks/>
            </p:cNvCxnSpPr>
            <p:nvPr/>
          </p:nvCxnSpPr>
          <p:spPr>
            <a:xfrm>
              <a:off x="4582428" y="3557016"/>
              <a:ext cx="0" cy="527304"/>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9" name="直接连接符 58">
              <a:extLst>
                <a:ext uri="{FF2B5EF4-FFF2-40B4-BE49-F238E27FC236}">
                  <a16:creationId xmlns:a16="http://schemas.microsoft.com/office/drawing/2014/main" id="{3C45232B-B0DA-4EEA-9517-7676BFA5B5F4}"/>
                </a:ext>
              </a:extLst>
            </p:cNvPr>
            <p:cNvCxnSpPr>
              <a:cxnSpLocks/>
            </p:cNvCxnSpPr>
            <p:nvPr/>
          </p:nvCxnSpPr>
          <p:spPr>
            <a:xfrm>
              <a:off x="4803564" y="3557016"/>
              <a:ext cx="0" cy="527304"/>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0" name="直接连接符 59">
              <a:extLst>
                <a:ext uri="{FF2B5EF4-FFF2-40B4-BE49-F238E27FC236}">
                  <a16:creationId xmlns:a16="http://schemas.microsoft.com/office/drawing/2014/main" id="{167BFC1E-D9FF-4783-AE72-15D1977DC6D8}"/>
                </a:ext>
              </a:extLst>
            </p:cNvPr>
            <p:cNvCxnSpPr>
              <a:cxnSpLocks/>
            </p:cNvCxnSpPr>
            <p:nvPr/>
          </p:nvCxnSpPr>
          <p:spPr>
            <a:xfrm>
              <a:off x="5024700" y="3017520"/>
              <a:ext cx="0" cy="106680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1" name="直接连接符 60">
              <a:extLst>
                <a:ext uri="{FF2B5EF4-FFF2-40B4-BE49-F238E27FC236}">
                  <a16:creationId xmlns:a16="http://schemas.microsoft.com/office/drawing/2014/main" id="{FDB4A1AB-DD1D-460C-A903-22D303C6A08B}"/>
                </a:ext>
              </a:extLst>
            </p:cNvPr>
            <p:cNvCxnSpPr>
              <a:cxnSpLocks/>
            </p:cNvCxnSpPr>
            <p:nvPr/>
          </p:nvCxnSpPr>
          <p:spPr>
            <a:xfrm>
              <a:off x="5245836" y="3557016"/>
              <a:ext cx="0" cy="527304"/>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2" name="直接连接符 61">
              <a:extLst>
                <a:ext uri="{FF2B5EF4-FFF2-40B4-BE49-F238E27FC236}">
                  <a16:creationId xmlns:a16="http://schemas.microsoft.com/office/drawing/2014/main" id="{776D7DE8-D89B-4BBA-8FD4-C570A1F87EF5}"/>
                </a:ext>
              </a:extLst>
            </p:cNvPr>
            <p:cNvCxnSpPr>
              <a:cxnSpLocks/>
            </p:cNvCxnSpPr>
            <p:nvPr/>
          </p:nvCxnSpPr>
          <p:spPr>
            <a:xfrm>
              <a:off x="5466972" y="3557016"/>
              <a:ext cx="0" cy="527304"/>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3" name="直接连接符 62">
              <a:extLst>
                <a:ext uri="{FF2B5EF4-FFF2-40B4-BE49-F238E27FC236}">
                  <a16:creationId xmlns:a16="http://schemas.microsoft.com/office/drawing/2014/main" id="{5D6C710E-2633-41F3-B49D-6146AA6FE934}"/>
                </a:ext>
              </a:extLst>
            </p:cNvPr>
            <p:cNvCxnSpPr>
              <a:cxnSpLocks/>
            </p:cNvCxnSpPr>
            <p:nvPr/>
          </p:nvCxnSpPr>
          <p:spPr>
            <a:xfrm>
              <a:off x="5688108" y="3557016"/>
              <a:ext cx="0" cy="527304"/>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4" name="直接连接符 63">
              <a:extLst>
                <a:ext uri="{FF2B5EF4-FFF2-40B4-BE49-F238E27FC236}">
                  <a16:creationId xmlns:a16="http://schemas.microsoft.com/office/drawing/2014/main" id="{031E91AA-1425-4AD1-89AD-6EB6D1AD3543}"/>
                </a:ext>
              </a:extLst>
            </p:cNvPr>
            <p:cNvCxnSpPr>
              <a:cxnSpLocks/>
            </p:cNvCxnSpPr>
            <p:nvPr/>
          </p:nvCxnSpPr>
          <p:spPr>
            <a:xfrm>
              <a:off x="5909244" y="3557016"/>
              <a:ext cx="0" cy="527304"/>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5" name="直接连接符 64">
              <a:extLst>
                <a:ext uri="{FF2B5EF4-FFF2-40B4-BE49-F238E27FC236}">
                  <a16:creationId xmlns:a16="http://schemas.microsoft.com/office/drawing/2014/main" id="{947B3769-B225-4ED2-A31F-269C5D57F48C}"/>
                </a:ext>
              </a:extLst>
            </p:cNvPr>
            <p:cNvCxnSpPr>
              <a:cxnSpLocks/>
            </p:cNvCxnSpPr>
            <p:nvPr/>
          </p:nvCxnSpPr>
          <p:spPr>
            <a:xfrm>
              <a:off x="6130380" y="3557016"/>
              <a:ext cx="0" cy="527304"/>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6" name="直接连接符 65">
              <a:extLst>
                <a:ext uri="{FF2B5EF4-FFF2-40B4-BE49-F238E27FC236}">
                  <a16:creationId xmlns:a16="http://schemas.microsoft.com/office/drawing/2014/main" id="{7A41166F-DECA-4423-B004-B56EEF356EFE}"/>
                </a:ext>
              </a:extLst>
            </p:cNvPr>
            <p:cNvCxnSpPr>
              <a:cxnSpLocks/>
            </p:cNvCxnSpPr>
            <p:nvPr/>
          </p:nvCxnSpPr>
          <p:spPr>
            <a:xfrm>
              <a:off x="6351516" y="3557016"/>
              <a:ext cx="0" cy="527304"/>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7" name="直接连接符 66">
              <a:extLst>
                <a:ext uri="{FF2B5EF4-FFF2-40B4-BE49-F238E27FC236}">
                  <a16:creationId xmlns:a16="http://schemas.microsoft.com/office/drawing/2014/main" id="{4EB73748-1751-4979-A18E-A72327505FBF}"/>
                </a:ext>
              </a:extLst>
            </p:cNvPr>
            <p:cNvCxnSpPr>
              <a:cxnSpLocks/>
            </p:cNvCxnSpPr>
            <p:nvPr/>
          </p:nvCxnSpPr>
          <p:spPr>
            <a:xfrm>
              <a:off x="6572652" y="3557016"/>
              <a:ext cx="0" cy="527304"/>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8" name="直接连接符 67">
              <a:extLst>
                <a:ext uri="{FF2B5EF4-FFF2-40B4-BE49-F238E27FC236}">
                  <a16:creationId xmlns:a16="http://schemas.microsoft.com/office/drawing/2014/main" id="{48113921-DAC0-46F8-BB62-E517069CB006}"/>
                </a:ext>
              </a:extLst>
            </p:cNvPr>
            <p:cNvCxnSpPr>
              <a:cxnSpLocks/>
            </p:cNvCxnSpPr>
            <p:nvPr/>
          </p:nvCxnSpPr>
          <p:spPr>
            <a:xfrm>
              <a:off x="6793788" y="3557016"/>
              <a:ext cx="0" cy="527304"/>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9" name="直接连接符 68">
              <a:extLst>
                <a:ext uri="{FF2B5EF4-FFF2-40B4-BE49-F238E27FC236}">
                  <a16:creationId xmlns:a16="http://schemas.microsoft.com/office/drawing/2014/main" id="{1D8587EE-CDD6-4ACC-A6A0-1A0D2204AD97}"/>
                </a:ext>
              </a:extLst>
            </p:cNvPr>
            <p:cNvCxnSpPr>
              <a:cxnSpLocks/>
            </p:cNvCxnSpPr>
            <p:nvPr/>
          </p:nvCxnSpPr>
          <p:spPr>
            <a:xfrm>
              <a:off x="7014924" y="3557016"/>
              <a:ext cx="0" cy="527304"/>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70" name="直接连接符 69">
              <a:extLst>
                <a:ext uri="{FF2B5EF4-FFF2-40B4-BE49-F238E27FC236}">
                  <a16:creationId xmlns:a16="http://schemas.microsoft.com/office/drawing/2014/main" id="{107591E7-9A66-4B7F-BC26-628B531DB6AC}"/>
                </a:ext>
              </a:extLst>
            </p:cNvPr>
            <p:cNvCxnSpPr>
              <a:cxnSpLocks/>
            </p:cNvCxnSpPr>
            <p:nvPr/>
          </p:nvCxnSpPr>
          <p:spPr>
            <a:xfrm>
              <a:off x="7236060" y="3017520"/>
              <a:ext cx="0" cy="106680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71" name="直接连接符 70">
              <a:extLst>
                <a:ext uri="{FF2B5EF4-FFF2-40B4-BE49-F238E27FC236}">
                  <a16:creationId xmlns:a16="http://schemas.microsoft.com/office/drawing/2014/main" id="{5C08AA78-F95C-488E-8721-127C7486E36D}"/>
                </a:ext>
              </a:extLst>
            </p:cNvPr>
            <p:cNvCxnSpPr>
              <a:cxnSpLocks/>
            </p:cNvCxnSpPr>
            <p:nvPr/>
          </p:nvCxnSpPr>
          <p:spPr>
            <a:xfrm>
              <a:off x="7457196" y="3557016"/>
              <a:ext cx="0" cy="527304"/>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72" name="直接连接符 71">
              <a:extLst>
                <a:ext uri="{FF2B5EF4-FFF2-40B4-BE49-F238E27FC236}">
                  <a16:creationId xmlns:a16="http://schemas.microsoft.com/office/drawing/2014/main" id="{7CEAC731-E717-42B1-914E-3239F23E3141}"/>
                </a:ext>
              </a:extLst>
            </p:cNvPr>
            <p:cNvCxnSpPr>
              <a:cxnSpLocks/>
            </p:cNvCxnSpPr>
            <p:nvPr/>
          </p:nvCxnSpPr>
          <p:spPr>
            <a:xfrm>
              <a:off x="7678332" y="3557016"/>
              <a:ext cx="0" cy="527304"/>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73" name="直接连接符 72">
              <a:extLst>
                <a:ext uri="{FF2B5EF4-FFF2-40B4-BE49-F238E27FC236}">
                  <a16:creationId xmlns:a16="http://schemas.microsoft.com/office/drawing/2014/main" id="{4DE36784-9534-4661-AEF1-9CCE5365501A}"/>
                </a:ext>
              </a:extLst>
            </p:cNvPr>
            <p:cNvCxnSpPr>
              <a:cxnSpLocks/>
            </p:cNvCxnSpPr>
            <p:nvPr/>
          </p:nvCxnSpPr>
          <p:spPr>
            <a:xfrm>
              <a:off x="7899468" y="3557016"/>
              <a:ext cx="0" cy="527304"/>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74" name="直接连接符 73">
              <a:extLst>
                <a:ext uri="{FF2B5EF4-FFF2-40B4-BE49-F238E27FC236}">
                  <a16:creationId xmlns:a16="http://schemas.microsoft.com/office/drawing/2014/main" id="{CC022BD2-1526-43A7-9E10-E579E4C264A8}"/>
                </a:ext>
              </a:extLst>
            </p:cNvPr>
            <p:cNvCxnSpPr>
              <a:cxnSpLocks/>
            </p:cNvCxnSpPr>
            <p:nvPr/>
          </p:nvCxnSpPr>
          <p:spPr>
            <a:xfrm>
              <a:off x="8120604" y="3557016"/>
              <a:ext cx="0" cy="527304"/>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75" name="直接连接符 74">
              <a:extLst>
                <a:ext uri="{FF2B5EF4-FFF2-40B4-BE49-F238E27FC236}">
                  <a16:creationId xmlns:a16="http://schemas.microsoft.com/office/drawing/2014/main" id="{267E6A74-02AA-4CD2-8E2D-61DA2BE6BCBB}"/>
                </a:ext>
              </a:extLst>
            </p:cNvPr>
            <p:cNvCxnSpPr>
              <a:cxnSpLocks/>
            </p:cNvCxnSpPr>
            <p:nvPr/>
          </p:nvCxnSpPr>
          <p:spPr>
            <a:xfrm>
              <a:off x="8341740" y="3557016"/>
              <a:ext cx="0" cy="527304"/>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76" name="直接连接符 75">
              <a:extLst>
                <a:ext uri="{FF2B5EF4-FFF2-40B4-BE49-F238E27FC236}">
                  <a16:creationId xmlns:a16="http://schemas.microsoft.com/office/drawing/2014/main" id="{898B83D2-41EF-4870-9E95-C467F9A876F6}"/>
                </a:ext>
              </a:extLst>
            </p:cNvPr>
            <p:cNvCxnSpPr>
              <a:cxnSpLocks/>
            </p:cNvCxnSpPr>
            <p:nvPr/>
          </p:nvCxnSpPr>
          <p:spPr>
            <a:xfrm>
              <a:off x="8562876" y="3557016"/>
              <a:ext cx="0" cy="527304"/>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77" name="直接连接符 76">
              <a:extLst>
                <a:ext uri="{FF2B5EF4-FFF2-40B4-BE49-F238E27FC236}">
                  <a16:creationId xmlns:a16="http://schemas.microsoft.com/office/drawing/2014/main" id="{86DCBB66-2183-4075-80ED-9A849C55FB37}"/>
                </a:ext>
              </a:extLst>
            </p:cNvPr>
            <p:cNvCxnSpPr>
              <a:cxnSpLocks/>
            </p:cNvCxnSpPr>
            <p:nvPr/>
          </p:nvCxnSpPr>
          <p:spPr>
            <a:xfrm>
              <a:off x="8784012" y="3557016"/>
              <a:ext cx="0" cy="527304"/>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78" name="直接连接符 77">
              <a:extLst>
                <a:ext uri="{FF2B5EF4-FFF2-40B4-BE49-F238E27FC236}">
                  <a16:creationId xmlns:a16="http://schemas.microsoft.com/office/drawing/2014/main" id="{331A7715-0AEE-4E67-AB6B-6565D5C1B7EA}"/>
                </a:ext>
              </a:extLst>
            </p:cNvPr>
            <p:cNvCxnSpPr>
              <a:cxnSpLocks/>
            </p:cNvCxnSpPr>
            <p:nvPr/>
          </p:nvCxnSpPr>
          <p:spPr>
            <a:xfrm>
              <a:off x="9005148" y="3557016"/>
              <a:ext cx="0" cy="527304"/>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79" name="直接连接符 78">
              <a:extLst>
                <a:ext uri="{FF2B5EF4-FFF2-40B4-BE49-F238E27FC236}">
                  <a16:creationId xmlns:a16="http://schemas.microsoft.com/office/drawing/2014/main" id="{9DB4151D-77C1-4D66-8E1B-2328BF4BF946}"/>
                </a:ext>
              </a:extLst>
            </p:cNvPr>
            <p:cNvCxnSpPr>
              <a:cxnSpLocks/>
            </p:cNvCxnSpPr>
            <p:nvPr/>
          </p:nvCxnSpPr>
          <p:spPr>
            <a:xfrm>
              <a:off x="9226284" y="3557016"/>
              <a:ext cx="0" cy="527304"/>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80" name="直接连接符 79">
              <a:extLst>
                <a:ext uri="{FF2B5EF4-FFF2-40B4-BE49-F238E27FC236}">
                  <a16:creationId xmlns:a16="http://schemas.microsoft.com/office/drawing/2014/main" id="{F77518BD-DC77-4DD5-88E5-191EE46918A1}"/>
                </a:ext>
              </a:extLst>
            </p:cNvPr>
            <p:cNvCxnSpPr>
              <a:cxnSpLocks/>
            </p:cNvCxnSpPr>
            <p:nvPr/>
          </p:nvCxnSpPr>
          <p:spPr>
            <a:xfrm>
              <a:off x="9447420" y="3017520"/>
              <a:ext cx="0" cy="106680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81" name="直接连接符 80">
              <a:extLst>
                <a:ext uri="{FF2B5EF4-FFF2-40B4-BE49-F238E27FC236}">
                  <a16:creationId xmlns:a16="http://schemas.microsoft.com/office/drawing/2014/main" id="{FE96D415-8485-48F2-8ECD-D53018EE3C92}"/>
                </a:ext>
              </a:extLst>
            </p:cNvPr>
            <p:cNvCxnSpPr>
              <a:cxnSpLocks/>
            </p:cNvCxnSpPr>
            <p:nvPr/>
          </p:nvCxnSpPr>
          <p:spPr>
            <a:xfrm>
              <a:off x="9668556" y="3557016"/>
              <a:ext cx="0" cy="527304"/>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82" name="直接连接符 81">
              <a:extLst>
                <a:ext uri="{FF2B5EF4-FFF2-40B4-BE49-F238E27FC236}">
                  <a16:creationId xmlns:a16="http://schemas.microsoft.com/office/drawing/2014/main" id="{079DA3B7-91F4-40FD-8AD2-D73450A2D1B1}"/>
                </a:ext>
              </a:extLst>
            </p:cNvPr>
            <p:cNvCxnSpPr>
              <a:cxnSpLocks/>
            </p:cNvCxnSpPr>
            <p:nvPr/>
          </p:nvCxnSpPr>
          <p:spPr>
            <a:xfrm>
              <a:off x="9889692" y="3557016"/>
              <a:ext cx="0" cy="527304"/>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83" name="直接连接符 82">
              <a:extLst>
                <a:ext uri="{FF2B5EF4-FFF2-40B4-BE49-F238E27FC236}">
                  <a16:creationId xmlns:a16="http://schemas.microsoft.com/office/drawing/2014/main" id="{CAE2FF41-79B0-4BDF-9252-9273CDBF2FFD}"/>
                </a:ext>
              </a:extLst>
            </p:cNvPr>
            <p:cNvCxnSpPr>
              <a:cxnSpLocks/>
            </p:cNvCxnSpPr>
            <p:nvPr/>
          </p:nvCxnSpPr>
          <p:spPr>
            <a:xfrm>
              <a:off x="10110828" y="3557016"/>
              <a:ext cx="0" cy="527304"/>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84" name="直接连接符 83">
              <a:extLst>
                <a:ext uri="{FF2B5EF4-FFF2-40B4-BE49-F238E27FC236}">
                  <a16:creationId xmlns:a16="http://schemas.microsoft.com/office/drawing/2014/main" id="{3151919C-85F4-4BE0-9117-46E299F20BF6}"/>
                </a:ext>
              </a:extLst>
            </p:cNvPr>
            <p:cNvCxnSpPr>
              <a:cxnSpLocks/>
            </p:cNvCxnSpPr>
            <p:nvPr/>
          </p:nvCxnSpPr>
          <p:spPr>
            <a:xfrm>
              <a:off x="10331964" y="3557016"/>
              <a:ext cx="0" cy="527304"/>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85" name="直接连接符 84">
              <a:extLst>
                <a:ext uri="{FF2B5EF4-FFF2-40B4-BE49-F238E27FC236}">
                  <a16:creationId xmlns:a16="http://schemas.microsoft.com/office/drawing/2014/main" id="{78C29A77-57B3-4C18-890E-5E98DD1908DE}"/>
                </a:ext>
              </a:extLst>
            </p:cNvPr>
            <p:cNvCxnSpPr>
              <a:cxnSpLocks/>
            </p:cNvCxnSpPr>
            <p:nvPr/>
          </p:nvCxnSpPr>
          <p:spPr>
            <a:xfrm>
              <a:off x="10553100" y="3557016"/>
              <a:ext cx="0" cy="527304"/>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86" name="直接连接符 85">
              <a:extLst>
                <a:ext uri="{FF2B5EF4-FFF2-40B4-BE49-F238E27FC236}">
                  <a16:creationId xmlns:a16="http://schemas.microsoft.com/office/drawing/2014/main" id="{73645B67-245A-4C20-B0DB-5F5030B5D958}"/>
                </a:ext>
              </a:extLst>
            </p:cNvPr>
            <p:cNvCxnSpPr>
              <a:cxnSpLocks/>
            </p:cNvCxnSpPr>
            <p:nvPr/>
          </p:nvCxnSpPr>
          <p:spPr>
            <a:xfrm>
              <a:off x="10774236" y="3557016"/>
              <a:ext cx="0" cy="527304"/>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87" name="直接连接符 86">
              <a:extLst>
                <a:ext uri="{FF2B5EF4-FFF2-40B4-BE49-F238E27FC236}">
                  <a16:creationId xmlns:a16="http://schemas.microsoft.com/office/drawing/2014/main" id="{FABD0539-3416-4CDC-8113-A4225F38C915}"/>
                </a:ext>
              </a:extLst>
            </p:cNvPr>
            <p:cNvCxnSpPr>
              <a:cxnSpLocks/>
            </p:cNvCxnSpPr>
            <p:nvPr/>
          </p:nvCxnSpPr>
          <p:spPr>
            <a:xfrm>
              <a:off x="10995372" y="3557016"/>
              <a:ext cx="0" cy="527304"/>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88" name="直接连接符 87">
              <a:extLst>
                <a:ext uri="{FF2B5EF4-FFF2-40B4-BE49-F238E27FC236}">
                  <a16:creationId xmlns:a16="http://schemas.microsoft.com/office/drawing/2014/main" id="{FFA837BC-9787-47C6-B5B3-8FF7B8A46722}"/>
                </a:ext>
              </a:extLst>
            </p:cNvPr>
            <p:cNvCxnSpPr>
              <a:cxnSpLocks/>
            </p:cNvCxnSpPr>
            <p:nvPr/>
          </p:nvCxnSpPr>
          <p:spPr>
            <a:xfrm>
              <a:off x="11216508" y="3557016"/>
              <a:ext cx="0" cy="527304"/>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89" name="直接连接符 88">
              <a:extLst>
                <a:ext uri="{FF2B5EF4-FFF2-40B4-BE49-F238E27FC236}">
                  <a16:creationId xmlns:a16="http://schemas.microsoft.com/office/drawing/2014/main" id="{E6AC6941-8E27-4D22-A635-020AD7541DFE}"/>
                </a:ext>
              </a:extLst>
            </p:cNvPr>
            <p:cNvCxnSpPr>
              <a:cxnSpLocks/>
            </p:cNvCxnSpPr>
            <p:nvPr/>
          </p:nvCxnSpPr>
          <p:spPr>
            <a:xfrm>
              <a:off x="11437620" y="3557016"/>
              <a:ext cx="0" cy="527304"/>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90" name="直接连接符 89">
              <a:extLst>
                <a:ext uri="{FF2B5EF4-FFF2-40B4-BE49-F238E27FC236}">
                  <a16:creationId xmlns:a16="http://schemas.microsoft.com/office/drawing/2014/main" id="{2A9149CF-DDCA-47A4-84FA-387783DBCFCD}"/>
                </a:ext>
              </a:extLst>
            </p:cNvPr>
            <p:cNvCxnSpPr>
              <a:cxnSpLocks/>
            </p:cNvCxnSpPr>
            <p:nvPr/>
          </p:nvCxnSpPr>
          <p:spPr>
            <a:xfrm>
              <a:off x="11676270" y="3017520"/>
              <a:ext cx="0" cy="106680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grpSp>
      <p:cxnSp>
        <p:nvCxnSpPr>
          <p:cNvPr id="91" name="直接连接符 90">
            <a:extLst>
              <a:ext uri="{FF2B5EF4-FFF2-40B4-BE49-F238E27FC236}">
                <a16:creationId xmlns:a16="http://schemas.microsoft.com/office/drawing/2014/main" id="{DBC1CDA4-4FB0-4E44-B6EF-4CA74DBC12C6}"/>
              </a:ext>
            </a:extLst>
          </p:cNvPr>
          <p:cNvCxnSpPr>
            <a:cxnSpLocks/>
          </p:cNvCxnSpPr>
          <p:nvPr/>
        </p:nvCxnSpPr>
        <p:spPr>
          <a:xfrm>
            <a:off x="1115377" y="4358989"/>
            <a:ext cx="0" cy="1044874"/>
          </a:xfrm>
          <a:prstGeom prst="line">
            <a:avLst/>
          </a:prstGeom>
          <a:ln w="28575">
            <a:gradFill>
              <a:gsLst>
                <a:gs pos="0">
                  <a:schemeClr val="accent1"/>
                </a:gs>
                <a:gs pos="100000">
                  <a:schemeClr val="accent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92" name="文本框 91">
            <a:extLst>
              <a:ext uri="{FF2B5EF4-FFF2-40B4-BE49-F238E27FC236}">
                <a16:creationId xmlns:a16="http://schemas.microsoft.com/office/drawing/2014/main" id="{E55D9983-6174-4E1B-8DE1-F1A53E907306}"/>
              </a:ext>
            </a:extLst>
          </p:cNvPr>
          <p:cNvSpPr txBox="1"/>
          <p:nvPr/>
        </p:nvSpPr>
        <p:spPr>
          <a:xfrm>
            <a:off x="1306425" y="4358989"/>
            <a:ext cx="714939" cy="307777"/>
          </a:xfrm>
          <a:prstGeom prst="rect">
            <a:avLst/>
          </a:prstGeom>
          <a:noFill/>
        </p:spPr>
        <p:txBody>
          <a:bodyPr wrap="none" lIns="0" tIns="0" rIns="0" bIns="0" rtlCol="0" anchor="t">
            <a:spAutoFit/>
          </a:bodyPr>
          <a:lstStyle/>
          <a:p>
            <a:r>
              <a:rPr lang="en-US" altLang="zh-CN" sz="2000" dirty="0">
                <a:solidFill>
                  <a:schemeClr val="accent1"/>
                </a:solidFill>
                <a:latin typeface="+mj-ea"/>
                <a:ea typeface="+mj-ea"/>
              </a:rPr>
              <a:t>20XX</a:t>
            </a:r>
            <a:endParaRPr lang="zh-CN" altLang="en-US" sz="2000" dirty="0">
              <a:solidFill>
                <a:schemeClr val="accent1"/>
              </a:solidFill>
              <a:latin typeface="+mj-ea"/>
              <a:ea typeface="+mj-ea"/>
            </a:endParaRPr>
          </a:p>
        </p:txBody>
      </p:sp>
      <p:sp>
        <p:nvSpPr>
          <p:cNvPr id="93" name="文本框 92">
            <a:extLst>
              <a:ext uri="{FF2B5EF4-FFF2-40B4-BE49-F238E27FC236}">
                <a16:creationId xmlns:a16="http://schemas.microsoft.com/office/drawing/2014/main" id="{51A3C4A5-8B98-4ABD-B3A7-5DDA0F22B856}"/>
              </a:ext>
            </a:extLst>
          </p:cNvPr>
          <p:cNvSpPr txBox="1"/>
          <p:nvPr/>
        </p:nvSpPr>
        <p:spPr>
          <a:xfrm>
            <a:off x="1225462" y="4634422"/>
            <a:ext cx="1692961" cy="769441"/>
          </a:xfrm>
          <a:prstGeom prst="rect">
            <a:avLst/>
          </a:prstGeom>
          <a:noFill/>
        </p:spPr>
        <p:txBody>
          <a:bodyPr wrap="square" rtlCol="0">
            <a:spAutoFit/>
          </a:bodyPr>
          <a:lstStyle/>
          <a:p>
            <a:r>
              <a:rPr lang="en-US" altLang="zh-CN" sz="1100" dirty="0">
                <a:solidFill>
                  <a:schemeClr val="accent1"/>
                </a:solidFill>
              </a:rPr>
              <a:t>Lorem ipsum dolor sit amet consectetur adipisicing elit sed do eiusmod tempor</a:t>
            </a:r>
            <a:endParaRPr lang="zh-CN" altLang="en-US" sz="1100" dirty="0">
              <a:solidFill>
                <a:schemeClr val="accent1"/>
              </a:solidFill>
            </a:endParaRPr>
          </a:p>
        </p:txBody>
      </p:sp>
      <p:cxnSp>
        <p:nvCxnSpPr>
          <p:cNvPr id="94" name="直接连接符 93">
            <a:extLst>
              <a:ext uri="{FF2B5EF4-FFF2-40B4-BE49-F238E27FC236}">
                <a16:creationId xmlns:a16="http://schemas.microsoft.com/office/drawing/2014/main" id="{7E233053-0984-49AB-8624-C3C45370F215}"/>
              </a:ext>
            </a:extLst>
          </p:cNvPr>
          <p:cNvCxnSpPr>
            <a:cxnSpLocks/>
          </p:cNvCxnSpPr>
          <p:nvPr/>
        </p:nvCxnSpPr>
        <p:spPr>
          <a:xfrm>
            <a:off x="3172777" y="1625314"/>
            <a:ext cx="0" cy="1044874"/>
          </a:xfrm>
          <a:prstGeom prst="line">
            <a:avLst/>
          </a:prstGeom>
          <a:ln w="28575">
            <a:gradFill>
              <a:gsLst>
                <a:gs pos="0">
                  <a:schemeClr val="accent1"/>
                </a:gs>
                <a:gs pos="100000">
                  <a:schemeClr val="accent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95" name="文本框 94">
            <a:extLst>
              <a:ext uri="{FF2B5EF4-FFF2-40B4-BE49-F238E27FC236}">
                <a16:creationId xmlns:a16="http://schemas.microsoft.com/office/drawing/2014/main" id="{BA92308F-02BC-4299-ACDA-8CB08614FAE7}"/>
              </a:ext>
            </a:extLst>
          </p:cNvPr>
          <p:cNvSpPr txBox="1"/>
          <p:nvPr/>
        </p:nvSpPr>
        <p:spPr>
          <a:xfrm>
            <a:off x="3363825" y="1625314"/>
            <a:ext cx="714939" cy="307777"/>
          </a:xfrm>
          <a:prstGeom prst="rect">
            <a:avLst/>
          </a:prstGeom>
          <a:noFill/>
        </p:spPr>
        <p:txBody>
          <a:bodyPr wrap="none" lIns="0" tIns="0" rIns="0" bIns="0" rtlCol="0" anchor="t">
            <a:spAutoFit/>
          </a:bodyPr>
          <a:lstStyle/>
          <a:p>
            <a:r>
              <a:rPr lang="en-US" altLang="zh-CN" sz="2000" dirty="0">
                <a:solidFill>
                  <a:schemeClr val="accent1"/>
                </a:solidFill>
                <a:latin typeface="+mj-ea"/>
                <a:ea typeface="+mj-ea"/>
              </a:rPr>
              <a:t>20XX</a:t>
            </a:r>
            <a:endParaRPr lang="zh-CN" altLang="en-US" sz="2000" dirty="0">
              <a:solidFill>
                <a:schemeClr val="accent1"/>
              </a:solidFill>
              <a:latin typeface="+mj-ea"/>
              <a:ea typeface="+mj-ea"/>
            </a:endParaRPr>
          </a:p>
        </p:txBody>
      </p:sp>
      <p:sp>
        <p:nvSpPr>
          <p:cNvPr id="96" name="文本框 95">
            <a:extLst>
              <a:ext uri="{FF2B5EF4-FFF2-40B4-BE49-F238E27FC236}">
                <a16:creationId xmlns:a16="http://schemas.microsoft.com/office/drawing/2014/main" id="{E1FBD0F2-00C0-4F67-8C39-E6E2F53EAD90}"/>
              </a:ext>
            </a:extLst>
          </p:cNvPr>
          <p:cNvSpPr txBox="1"/>
          <p:nvPr/>
        </p:nvSpPr>
        <p:spPr>
          <a:xfrm>
            <a:off x="3282862" y="1900747"/>
            <a:ext cx="1692961" cy="769441"/>
          </a:xfrm>
          <a:prstGeom prst="rect">
            <a:avLst/>
          </a:prstGeom>
          <a:noFill/>
        </p:spPr>
        <p:txBody>
          <a:bodyPr wrap="square" rtlCol="0">
            <a:spAutoFit/>
          </a:bodyPr>
          <a:lstStyle/>
          <a:p>
            <a:r>
              <a:rPr lang="en-US" altLang="zh-CN" sz="1100" dirty="0">
                <a:solidFill>
                  <a:schemeClr val="accent1"/>
                </a:solidFill>
              </a:rPr>
              <a:t>Lorem ipsum dolor sit amet consectetur adipisicing elit sed do eiusmod tempor</a:t>
            </a:r>
            <a:endParaRPr lang="zh-CN" altLang="en-US" sz="1100" dirty="0">
              <a:solidFill>
                <a:schemeClr val="accent1"/>
              </a:solidFill>
            </a:endParaRPr>
          </a:p>
        </p:txBody>
      </p:sp>
      <p:cxnSp>
        <p:nvCxnSpPr>
          <p:cNvPr id="97" name="直接连接符 96">
            <a:extLst>
              <a:ext uri="{FF2B5EF4-FFF2-40B4-BE49-F238E27FC236}">
                <a16:creationId xmlns:a16="http://schemas.microsoft.com/office/drawing/2014/main" id="{E7017713-EA02-447C-BB1F-865DA38F9E6D}"/>
              </a:ext>
            </a:extLst>
          </p:cNvPr>
          <p:cNvCxnSpPr>
            <a:cxnSpLocks/>
          </p:cNvCxnSpPr>
          <p:nvPr/>
        </p:nvCxnSpPr>
        <p:spPr>
          <a:xfrm>
            <a:off x="5268277" y="4358989"/>
            <a:ext cx="0" cy="1044874"/>
          </a:xfrm>
          <a:prstGeom prst="line">
            <a:avLst/>
          </a:prstGeom>
          <a:ln w="28575">
            <a:gradFill>
              <a:gsLst>
                <a:gs pos="0">
                  <a:schemeClr val="accent1"/>
                </a:gs>
                <a:gs pos="100000">
                  <a:schemeClr val="accent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98" name="文本框 97">
            <a:extLst>
              <a:ext uri="{FF2B5EF4-FFF2-40B4-BE49-F238E27FC236}">
                <a16:creationId xmlns:a16="http://schemas.microsoft.com/office/drawing/2014/main" id="{0D65BA0F-0E1F-4AB4-960E-209A3E05C8AE}"/>
              </a:ext>
            </a:extLst>
          </p:cNvPr>
          <p:cNvSpPr txBox="1"/>
          <p:nvPr/>
        </p:nvSpPr>
        <p:spPr>
          <a:xfrm>
            <a:off x="5459325" y="4358989"/>
            <a:ext cx="714939" cy="307777"/>
          </a:xfrm>
          <a:prstGeom prst="rect">
            <a:avLst/>
          </a:prstGeom>
          <a:noFill/>
        </p:spPr>
        <p:txBody>
          <a:bodyPr wrap="none" lIns="0" tIns="0" rIns="0" bIns="0" rtlCol="0" anchor="t">
            <a:spAutoFit/>
          </a:bodyPr>
          <a:lstStyle/>
          <a:p>
            <a:r>
              <a:rPr lang="en-US" altLang="zh-CN" sz="2000" dirty="0">
                <a:solidFill>
                  <a:schemeClr val="accent1"/>
                </a:solidFill>
                <a:latin typeface="+mj-ea"/>
                <a:ea typeface="+mj-ea"/>
              </a:rPr>
              <a:t>20XX</a:t>
            </a:r>
            <a:endParaRPr lang="zh-CN" altLang="en-US" sz="2000" dirty="0">
              <a:solidFill>
                <a:schemeClr val="accent1"/>
              </a:solidFill>
              <a:latin typeface="+mj-ea"/>
              <a:ea typeface="+mj-ea"/>
            </a:endParaRPr>
          </a:p>
        </p:txBody>
      </p:sp>
      <p:sp>
        <p:nvSpPr>
          <p:cNvPr id="99" name="文本框 98">
            <a:extLst>
              <a:ext uri="{FF2B5EF4-FFF2-40B4-BE49-F238E27FC236}">
                <a16:creationId xmlns:a16="http://schemas.microsoft.com/office/drawing/2014/main" id="{F7DAA430-18F3-4000-A740-6D6107C77B26}"/>
              </a:ext>
            </a:extLst>
          </p:cNvPr>
          <p:cNvSpPr txBox="1"/>
          <p:nvPr/>
        </p:nvSpPr>
        <p:spPr>
          <a:xfrm>
            <a:off x="5378362" y="4634422"/>
            <a:ext cx="1692961" cy="769441"/>
          </a:xfrm>
          <a:prstGeom prst="rect">
            <a:avLst/>
          </a:prstGeom>
          <a:noFill/>
        </p:spPr>
        <p:txBody>
          <a:bodyPr wrap="square" rtlCol="0">
            <a:spAutoFit/>
          </a:bodyPr>
          <a:lstStyle/>
          <a:p>
            <a:r>
              <a:rPr lang="en-US" altLang="zh-CN" sz="1100" dirty="0">
                <a:solidFill>
                  <a:schemeClr val="accent1"/>
                </a:solidFill>
              </a:rPr>
              <a:t>Lorem ipsum dolor sit amet consectetur adipisicing elit sed do eiusmod tempor</a:t>
            </a:r>
            <a:endParaRPr lang="zh-CN" altLang="en-US" sz="1100" dirty="0">
              <a:solidFill>
                <a:schemeClr val="accent1"/>
              </a:solidFill>
            </a:endParaRPr>
          </a:p>
        </p:txBody>
      </p:sp>
      <p:cxnSp>
        <p:nvCxnSpPr>
          <p:cNvPr id="100" name="直接连接符 99">
            <a:extLst>
              <a:ext uri="{FF2B5EF4-FFF2-40B4-BE49-F238E27FC236}">
                <a16:creationId xmlns:a16="http://schemas.microsoft.com/office/drawing/2014/main" id="{53EE0446-7C92-411A-9DAE-1E3086FCF46B}"/>
              </a:ext>
            </a:extLst>
          </p:cNvPr>
          <p:cNvCxnSpPr>
            <a:cxnSpLocks/>
          </p:cNvCxnSpPr>
          <p:nvPr/>
        </p:nvCxnSpPr>
        <p:spPr>
          <a:xfrm>
            <a:off x="7325677" y="1625314"/>
            <a:ext cx="0" cy="1044874"/>
          </a:xfrm>
          <a:prstGeom prst="line">
            <a:avLst/>
          </a:prstGeom>
          <a:ln w="28575">
            <a:gradFill>
              <a:gsLst>
                <a:gs pos="0">
                  <a:schemeClr val="accent1"/>
                </a:gs>
                <a:gs pos="100000">
                  <a:schemeClr val="accent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01" name="文本框 100">
            <a:extLst>
              <a:ext uri="{FF2B5EF4-FFF2-40B4-BE49-F238E27FC236}">
                <a16:creationId xmlns:a16="http://schemas.microsoft.com/office/drawing/2014/main" id="{A40D0AFE-6B08-4285-9648-B4980D88A9E0}"/>
              </a:ext>
            </a:extLst>
          </p:cNvPr>
          <p:cNvSpPr txBox="1"/>
          <p:nvPr/>
        </p:nvSpPr>
        <p:spPr>
          <a:xfrm>
            <a:off x="7516725" y="1625314"/>
            <a:ext cx="714939" cy="307777"/>
          </a:xfrm>
          <a:prstGeom prst="rect">
            <a:avLst/>
          </a:prstGeom>
          <a:noFill/>
        </p:spPr>
        <p:txBody>
          <a:bodyPr wrap="none" lIns="0" tIns="0" rIns="0" bIns="0" rtlCol="0" anchor="t">
            <a:spAutoFit/>
          </a:bodyPr>
          <a:lstStyle/>
          <a:p>
            <a:r>
              <a:rPr lang="en-US" altLang="zh-CN" sz="2000" dirty="0">
                <a:solidFill>
                  <a:schemeClr val="accent1"/>
                </a:solidFill>
                <a:latin typeface="+mj-ea"/>
                <a:ea typeface="+mj-ea"/>
              </a:rPr>
              <a:t>20XX</a:t>
            </a:r>
            <a:endParaRPr lang="zh-CN" altLang="en-US" sz="2000" dirty="0">
              <a:solidFill>
                <a:schemeClr val="accent1"/>
              </a:solidFill>
              <a:latin typeface="+mj-ea"/>
              <a:ea typeface="+mj-ea"/>
            </a:endParaRPr>
          </a:p>
        </p:txBody>
      </p:sp>
      <p:sp>
        <p:nvSpPr>
          <p:cNvPr id="102" name="文本框 101">
            <a:extLst>
              <a:ext uri="{FF2B5EF4-FFF2-40B4-BE49-F238E27FC236}">
                <a16:creationId xmlns:a16="http://schemas.microsoft.com/office/drawing/2014/main" id="{DA26D1A3-355B-42A7-9FEB-9328F9976023}"/>
              </a:ext>
            </a:extLst>
          </p:cNvPr>
          <p:cNvSpPr txBox="1"/>
          <p:nvPr/>
        </p:nvSpPr>
        <p:spPr>
          <a:xfrm>
            <a:off x="7435762" y="1900747"/>
            <a:ext cx="1692961" cy="769441"/>
          </a:xfrm>
          <a:prstGeom prst="rect">
            <a:avLst/>
          </a:prstGeom>
          <a:noFill/>
        </p:spPr>
        <p:txBody>
          <a:bodyPr wrap="square" rtlCol="0">
            <a:spAutoFit/>
          </a:bodyPr>
          <a:lstStyle/>
          <a:p>
            <a:r>
              <a:rPr lang="en-US" altLang="zh-CN" sz="1100" dirty="0">
                <a:solidFill>
                  <a:schemeClr val="accent1"/>
                </a:solidFill>
              </a:rPr>
              <a:t>Lorem ipsum dolor sit amet consectetur adipisicing elit sed do eiusmod tempor</a:t>
            </a:r>
            <a:endParaRPr lang="zh-CN" altLang="en-US" sz="1100" dirty="0">
              <a:solidFill>
                <a:schemeClr val="accent1"/>
              </a:solidFill>
            </a:endParaRPr>
          </a:p>
        </p:txBody>
      </p:sp>
      <p:cxnSp>
        <p:nvCxnSpPr>
          <p:cNvPr id="103" name="直接连接符 102">
            <a:extLst>
              <a:ext uri="{FF2B5EF4-FFF2-40B4-BE49-F238E27FC236}">
                <a16:creationId xmlns:a16="http://schemas.microsoft.com/office/drawing/2014/main" id="{08F1CEA4-70A3-428A-8FF2-B5DEC7C0875C}"/>
              </a:ext>
            </a:extLst>
          </p:cNvPr>
          <p:cNvCxnSpPr>
            <a:cxnSpLocks/>
          </p:cNvCxnSpPr>
          <p:nvPr/>
        </p:nvCxnSpPr>
        <p:spPr>
          <a:xfrm>
            <a:off x="9392602" y="4358989"/>
            <a:ext cx="0" cy="1044874"/>
          </a:xfrm>
          <a:prstGeom prst="line">
            <a:avLst/>
          </a:prstGeom>
          <a:ln w="28575">
            <a:gradFill>
              <a:gsLst>
                <a:gs pos="0">
                  <a:schemeClr val="accent1"/>
                </a:gs>
                <a:gs pos="100000">
                  <a:schemeClr val="accent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04" name="文本框 103">
            <a:extLst>
              <a:ext uri="{FF2B5EF4-FFF2-40B4-BE49-F238E27FC236}">
                <a16:creationId xmlns:a16="http://schemas.microsoft.com/office/drawing/2014/main" id="{AF22AFE3-353E-4D18-9390-1963B3DB3FBE}"/>
              </a:ext>
            </a:extLst>
          </p:cNvPr>
          <p:cNvSpPr txBox="1"/>
          <p:nvPr/>
        </p:nvSpPr>
        <p:spPr>
          <a:xfrm>
            <a:off x="9583650" y="4358989"/>
            <a:ext cx="714939" cy="307777"/>
          </a:xfrm>
          <a:prstGeom prst="rect">
            <a:avLst/>
          </a:prstGeom>
          <a:noFill/>
        </p:spPr>
        <p:txBody>
          <a:bodyPr wrap="none" lIns="0" tIns="0" rIns="0" bIns="0" rtlCol="0" anchor="t">
            <a:spAutoFit/>
          </a:bodyPr>
          <a:lstStyle/>
          <a:p>
            <a:r>
              <a:rPr lang="en-US" altLang="zh-CN" sz="2000" dirty="0">
                <a:solidFill>
                  <a:schemeClr val="accent1"/>
                </a:solidFill>
                <a:latin typeface="+mj-ea"/>
                <a:ea typeface="+mj-ea"/>
              </a:rPr>
              <a:t>20XX</a:t>
            </a:r>
            <a:endParaRPr lang="zh-CN" altLang="en-US" sz="2000" dirty="0">
              <a:solidFill>
                <a:schemeClr val="accent1"/>
              </a:solidFill>
              <a:latin typeface="+mj-ea"/>
              <a:ea typeface="+mj-ea"/>
            </a:endParaRPr>
          </a:p>
        </p:txBody>
      </p:sp>
      <p:sp>
        <p:nvSpPr>
          <p:cNvPr id="105" name="文本框 104">
            <a:extLst>
              <a:ext uri="{FF2B5EF4-FFF2-40B4-BE49-F238E27FC236}">
                <a16:creationId xmlns:a16="http://schemas.microsoft.com/office/drawing/2014/main" id="{8F45ABFA-6F02-46F1-8DC5-E91CA67DD66D}"/>
              </a:ext>
            </a:extLst>
          </p:cNvPr>
          <p:cNvSpPr txBox="1"/>
          <p:nvPr/>
        </p:nvSpPr>
        <p:spPr>
          <a:xfrm>
            <a:off x="9502687" y="4634422"/>
            <a:ext cx="1692961" cy="769441"/>
          </a:xfrm>
          <a:prstGeom prst="rect">
            <a:avLst/>
          </a:prstGeom>
          <a:noFill/>
        </p:spPr>
        <p:txBody>
          <a:bodyPr wrap="square" rtlCol="0">
            <a:spAutoFit/>
          </a:bodyPr>
          <a:lstStyle/>
          <a:p>
            <a:r>
              <a:rPr lang="en-US" altLang="zh-CN" sz="1100" dirty="0">
                <a:solidFill>
                  <a:schemeClr val="accent1"/>
                </a:solidFill>
              </a:rPr>
              <a:t>Lorem ipsum dolor sit amet consectetur adipisicing elit sed do eiusmod tempor</a:t>
            </a:r>
            <a:endParaRPr lang="zh-CN" altLang="en-US" sz="1100" dirty="0">
              <a:solidFill>
                <a:schemeClr val="accent1"/>
              </a:solidFill>
            </a:endParaRPr>
          </a:p>
        </p:txBody>
      </p:sp>
    </p:spTree>
    <p:extLst>
      <p:ext uri="{BB962C8B-B14F-4D97-AF65-F5344CB8AC3E}">
        <p14:creationId xmlns:p14="http://schemas.microsoft.com/office/powerpoint/2010/main" val="2229250071"/>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3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组合 5">
            <a:extLst>
              <a:ext uri="{FF2B5EF4-FFF2-40B4-BE49-F238E27FC236}">
                <a16:creationId xmlns:a16="http://schemas.microsoft.com/office/drawing/2014/main" id="{27B98D67-94C1-465E-B32A-A604CD31A5CE}"/>
              </a:ext>
            </a:extLst>
          </p:cNvPr>
          <p:cNvGrpSpPr/>
          <p:nvPr/>
        </p:nvGrpSpPr>
        <p:grpSpPr>
          <a:xfrm>
            <a:off x="845026" y="3349624"/>
            <a:ext cx="1910398" cy="174625"/>
            <a:chOff x="781050" y="3349625"/>
            <a:chExt cx="1736725" cy="158750"/>
          </a:xfrm>
        </p:grpSpPr>
        <p:cxnSp>
          <p:nvCxnSpPr>
            <p:cNvPr id="5" name="直接连接符 4">
              <a:extLst>
                <a:ext uri="{FF2B5EF4-FFF2-40B4-BE49-F238E27FC236}">
                  <a16:creationId xmlns:a16="http://schemas.microsoft.com/office/drawing/2014/main" id="{BA89E548-6E77-4951-B533-61A908C29B9F}"/>
                </a:ext>
              </a:extLst>
            </p:cNvPr>
            <p:cNvCxnSpPr/>
            <p:nvPr/>
          </p:nvCxnSpPr>
          <p:spPr>
            <a:xfrm>
              <a:off x="781050" y="3429000"/>
              <a:ext cx="1657350" cy="0"/>
            </a:xfrm>
            <a:prstGeom prst="line">
              <a:avLst/>
            </a:prstGeom>
            <a:ln w="73025" cap="rnd">
              <a:gradFill>
                <a:gsLst>
                  <a:gs pos="0">
                    <a:schemeClr val="accent1"/>
                  </a:gs>
                  <a:gs pos="100000">
                    <a:schemeClr val="accent1">
                      <a:alpha val="0"/>
                    </a:schemeClr>
                  </a:gs>
                </a:gsLst>
                <a:lin ang="10800000" scaled="0"/>
              </a:gradFill>
            </a:ln>
          </p:spPr>
          <p:style>
            <a:lnRef idx="1">
              <a:schemeClr val="accent1"/>
            </a:lnRef>
            <a:fillRef idx="0">
              <a:schemeClr val="accent1"/>
            </a:fillRef>
            <a:effectRef idx="0">
              <a:schemeClr val="accent1"/>
            </a:effectRef>
            <a:fontRef idx="minor">
              <a:schemeClr val="tx1"/>
            </a:fontRef>
          </p:style>
        </p:cxnSp>
        <p:sp>
          <p:nvSpPr>
            <p:cNvPr id="106" name="椭圆 105">
              <a:extLst>
                <a:ext uri="{FF2B5EF4-FFF2-40B4-BE49-F238E27FC236}">
                  <a16:creationId xmlns:a16="http://schemas.microsoft.com/office/drawing/2014/main" id="{2782BA89-995A-40AD-9FA3-7074F92C1B33}"/>
                </a:ext>
              </a:extLst>
            </p:cNvPr>
            <p:cNvSpPr/>
            <p:nvPr/>
          </p:nvSpPr>
          <p:spPr>
            <a:xfrm>
              <a:off x="2359025" y="3349625"/>
              <a:ext cx="158750" cy="158750"/>
            </a:xfrm>
            <a:prstGeom prst="ellipse">
              <a:avLst/>
            </a:prstGeom>
            <a:solidFill>
              <a:schemeClr val="accent1"/>
            </a:solidFill>
            <a:ln>
              <a:noFill/>
            </a:ln>
            <a:effectLst>
              <a:outerShdw sx="154000" sy="154000" algn="ctr" rotWithShape="0">
                <a:schemeClr val="accent1">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grpSp>
      <p:grpSp>
        <p:nvGrpSpPr>
          <p:cNvPr id="113" name="组合 112">
            <a:extLst>
              <a:ext uri="{FF2B5EF4-FFF2-40B4-BE49-F238E27FC236}">
                <a16:creationId xmlns:a16="http://schemas.microsoft.com/office/drawing/2014/main" id="{9260F5D0-EEE9-4388-A814-128EEE362C48}"/>
              </a:ext>
            </a:extLst>
          </p:cNvPr>
          <p:cNvGrpSpPr/>
          <p:nvPr/>
        </p:nvGrpSpPr>
        <p:grpSpPr>
          <a:xfrm>
            <a:off x="2992914" y="3349624"/>
            <a:ext cx="1910398" cy="174625"/>
            <a:chOff x="781050" y="3349625"/>
            <a:chExt cx="1736725" cy="158750"/>
          </a:xfrm>
        </p:grpSpPr>
        <p:cxnSp>
          <p:nvCxnSpPr>
            <p:cNvPr id="114" name="直接连接符 113">
              <a:extLst>
                <a:ext uri="{FF2B5EF4-FFF2-40B4-BE49-F238E27FC236}">
                  <a16:creationId xmlns:a16="http://schemas.microsoft.com/office/drawing/2014/main" id="{DA8BF2A5-ACC6-481C-92CB-01BB27DCF5FF}"/>
                </a:ext>
              </a:extLst>
            </p:cNvPr>
            <p:cNvCxnSpPr/>
            <p:nvPr/>
          </p:nvCxnSpPr>
          <p:spPr>
            <a:xfrm>
              <a:off x="781050" y="3429000"/>
              <a:ext cx="1657350" cy="0"/>
            </a:xfrm>
            <a:prstGeom prst="line">
              <a:avLst/>
            </a:prstGeom>
            <a:ln w="73025" cap="rnd">
              <a:gradFill>
                <a:gsLst>
                  <a:gs pos="0">
                    <a:schemeClr val="accent1"/>
                  </a:gs>
                  <a:gs pos="100000">
                    <a:schemeClr val="accent1">
                      <a:alpha val="0"/>
                    </a:schemeClr>
                  </a:gs>
                </a:gsLst>
                <a:lin ang="10800000" scaled="0"/>
              </a:gradFill>
            </a:ln>
          </p:spPr>
          <p:style>
            <a:lnRef idx="1">
              <a:schemeClr val="accent1"/>
            </a:lnRef>
            <a:fillRef idx="0">
              <a:schemeClr val="accent1"/>
            </a:fillRef>
            <a:effectRef idx="0">
              <a:schemeClr val="accent1"/>
            </a:effectRef>
            <a:fontRef idx="minor">
              <a:schemeClr val="tx1"/>
            </a:fontRef>
          </p:style>
        </p:cxnSp>
        <p:sp>
          <p:nvSpPr>
            <p:cNvPr id="115" name="椭圆 114">
              <a:extLst>
                <a:ext uri="{FF2B5EF4-FFF2-40B4-BE49-F238E27FC236}">
                  <a16:creationId xmlns:a16="http://schemas.microsoft.com/office/drawing/2014/main" id="{8DD31D0E-0F2E-4959-91A4-D0D2EE6AD44B}"/>
                </a:ext>
              </a:extLst>
            </p:cNvPr>
            <p:cNvSpPr/>
            <p:nvPr/>
          </p:nvSpPr>
          <p:spPr>
            <a:xfrm>
              <a:off x="2359025" y="3349625"/>
              <a:ext cx="158750" cy="158750"/>
            </a:xfrm>
            <a:prstGeom prst="ellipse">
              <a:avLst/>
            </a:prstGeom>
            <a:solidFill>
              <a:schemeClr val="accent1"/>
            </a:solidFill>
            <a:ln>
              <a:noFill/>
            </a:ln>
            <a:effectLst>
              <a:outerShdw sx="154000" sy="154000" algn="ctr" rotWithShape="0">
                <a:schemeClr val="accent1">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grpSp>
      <p:grpSp>
        <p:nvGrpSpPr>
          <p:cNvPr id="116" name="组合 115">
            <a:extLst>
              <a:ext uri="{FF2B5EF4-FFF2-40B4-BE49-F238E27FC236}">
                <a16:creationId xmlns:a16="http://schemas.microsoft.com/office/drawing/2014/main" id="{6C17B855-1BC3-4105-83DB-698DEFC2E365}"/>
              </a:ext>
            </a:extLst>
          </p:cNvPr>
          <p:cNvGrpSpPr/>
          <p:nvPr/>
        </p:nvGrpSpPr>
        <p:grpSpPr>
          <a:xfrm>
            <a:off x="5140801" y="3349624"/>
            <a:ext cx="1910398" cy="174625"/>
            <a:chOff x="781050" y="3349625"/>
            <a:chExt cx="1736725" cy="158750"/>
          </a:xfrm>
        </p:grpSpPr>
        <p:cxnSp>
          <p:nvCxnSpPr>
            <p:cNvPr id="117" name="直接连接符 116">
              <a:extLst>
                <a:ext uri="{FF2B5EF4-FFF2-40B4-BE49-F238E27FC236}">
                  <a16:creationId xmlns:a16="http://schemas.microsoft.com/office/drawing/2014/main" id="{F0CC4ACE-4A5F-4BE9-8DEA-2D3828407F6C}"/>
                </a:ext>
              </a:extLst>
            </p:cNvPr>
            <p:cNvCxnSpPr/>
            <p:nvPr/>
          </p:nvCxnSpPr>
          <p:spPr>
            <a:xfrm>
              <a:off x="781050" y="3429000"/>
              <a:ext cx="1657350" cy="0"/>
            </a:xfrm>
            <a:prstGeom prst="line">
              <a:avLst/>
            </a:prstGeom>
            <a:ln w="73025" cap="rnd">
              <a:gradFill>
                <a:gsLst>
                  <a:gs pos="0">
                    <a:schemeClr val="accent1"/>
                  </a:gs>
                  <a:gs pos="100000">
                    <a:schemeClr val="accent1">
                      <a:alpha val="0"/>
                    </a:schemeClr>
                  </a:gs>
                </a:gsLst>
                <a:lin ang="10800000" scaled="0"/>
              </a:gradFill>
            </a:ln>
          </p:spPr>
          <p:style>
            <a:lnRef idx="1">
              <a:schemeClr val="accent1"/>
            </a:lnRef>
            <a:fillRef idx="0">
              <a:schemeClr val="accent1"/>
            </a:fillRef>
            <a:effectRef idx="0">
              <a:schemeClr val="accent1"/>
            </a:effectRef>
            <a:fontRef idx="minor">
              <a:schemeClr val="tx1"/>
            </a:fontRef>
          </p:style>
        </p:cxnSp>
        <p:sp>
          <p:nvSpPr>
            <p:cNvPr id="118" name="椭圆 117">
              <a:extLst>
                <a:ext uri="{FF2B5EF4-FFF2-40B4-BE49-F238E27FC236}">
                  <a16:creationId xmlns:a16="http://schemas.microsoft.com/office/drawing/2014/main" id="{DC861AC4-22C2-4D2A-961D-7A7987FB3691}"/>
                </a:ext>
              </a:extLst>
            </p:cNvPr>
            <p:cNvSpPr/>
            <p:nvPr/>
          </p:nvSpPr>
          <p:spPr>
            <a:xfrm>
              <a:off x="2359025" y="3349625"/>
              <a:ext cx="158750" cy="158750"/>
            </a:xfrm>
            <a:prstGeom prst="ellipse">
              <a:avLst/>
            </a:prstGeom>
            <a:solidFill>
              <a:schemeClr val="accent1"/>
            </a:solidFill>
            <a:ln>
              <a:noFill/>
            </a:ln>
            <a:effectLst>
              <a:outerShdw sx="154000" sy="154000" algn="ctr" rotWithShape="0">
                <a:schemeClr val="accent1">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grpSp>
      <p:grpSp>
        <p:nvGrpSpPr>
          <p:cNvPr id="119" name="组合 118">
            <a:extLst>
              <a:ext uri="{FF2B5EF4-FFF2-40B4-BE49-F238E27FC236}">
                <a16:creationId xmlns:a16="http://schemas.microsoft.com/office/drawing/2014/main" id="{E44060D3-5B75-4CA6-9A5C-A277B50AE9C3}"/>
              </a:ext>
            </a:extLst>
          </p:cNvPr>
          <p:cNvGrpSpPr/>
          <p:nvPr/>
        </p:nvGrpSpPr>
        <p:grpSpPr>
          <a:xfrm>
            <a:off x="7288689" y="3349624"/>
            <a:ext cx="1910398" cy="174625"/>
            <a:chOff x="781050" y="3349625"/>
            <a:chExt cx="1736725" cy="158750"/>
          </a:xfrm>
        </p:grpSpPr>
        <p:cxnSp>
          <p:nvCxnSpPr>
            <p:cNvPr id="120" name="直接连接符 119">
              <a:extLst>
                <a:ext uri="{FF2B5EF4-FFF2-40B4-BE49-F238E27FC236}">
                  <a16:creationId xmlns:a16="http://schemas.microsoft.com/office/drawing/2014/main" id="{3C5427E9-448B-4349-8069-31B724B3D8D6}"/>
                </a:ext>
              </a:extLst>
            </p:cNvPr>
            <p:cNvCxnSpPr/>
            <p:nvPr/>
          </p:nvCxnSpPr>
          <p:spPr>
            <a:xfrm>
              <a:off x="781050" y="3429000"/>
              <a:ext cx="1657350" cy="0"/>
            </a:xfrm>
            <a:prstGeom prst="line">
              <a:avLst/>
            </a:prstGeom>
            <a:ln w="73025" cap="rnd">
              <a:gradFill>
                <a:gsLst>
                  <a:gs pos="0">
                    <a:schemeClr val="accent1"/>
                  </a:gs>
                  <a:gs pos="100000">
                    <a:schemeClr val="accent1">
                      <a:alpha val="0"/>
                    </a:schemeClr>
                  </a:gs>
                </a:gsLst>
                <a:lin ang="10800000" scaled="0"/>
              </a:gradFill>
            </a:ln>
          </p:spPr>
          <p:style>
            <a:lnRef idx="1">
              <a:schemeClr val="accent1"/>
            </a:lnRef>
            <a:fillRef idx="0">
              <a:schemeClr val="accent1"/>
            </a:fillRef>
            <a:effectRef idx="0">
              <a:schemeClr val="accent1"/>
            </a:effectRef>
            <a:fontRef idx="minor">
              <a:schemeClr val="tx1"/>
            </a:fontRef>
          </p:style>
        </p:cxnSp>
        <p:sp>
          <p:nvSpPr>
            <p:cNvPr id="121" name="椭圆 120">
              <a:extLst>
                <a:ext uri="{FF2B5EF4-FFF2-40B4-BE49-F238E27FC236}">
                  <a16:creationId xmlns:a16="http://schemas.microsoft.com/office/drawing/2014/main" id="{4BE985B2-11BB-4869-A3C0-8A18B484BBCE}"/>
                </a:ext>
              </a:extLst>
            </p:cNvPr>
            <p:cNvSpPr/>
            <p:nvPr/>
          </p:nvSpPr>
          <p:spPr>
            <a:xfrm>
              <a:off x="2359025" y="3349625"/>
              <a:ext cx="158750" cy="158750"/>
            </a:xfrm>
            <a:prstGeom prst="ellipse">
              <a:avLst/>
            </a:prstGeom>
            <a:solidFill>
              <a:schemeClr val="accent1"/>
            </a:solidFill>
            <a:ln>
              <a:noFill/>
            </a:ln>
            <a:effectLst>
              <a:outerShdw sx="154000" sy="154000" algn="ctr" rotWithShape="0">
                <a:schemeClr val="accent1">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grpSp>
      <p:cxnSp>
        <p:nvCxnSpPr>
          <p:cNvPr id="123" name="直接连接符 122">
            <a:extLst>
              <a:ext uri="{FF2B5EF4-FFF2-40B4-BE49-F238E27FC236}">
                <a16:creationId xmlns:a16="http://schemas.microsoft.com/office/drawing/2014/main" id="{B1DBA409-1FC8-42D5-BB99-0856BAD697D8}"/>
              </a:ext>
            </a:extLst>
          </p:cNvPr>
          <p:cNvCxnSpPr/>
          <p:nvPr/>
        </p:nvCxnSpPr>
        <p:spPr>
          <a:xfrm>
            <a:off x="9436576" y="3436937"/>
            <a:ext cx="1823085" cy="0"/>
          </a:xfrm>
          <a:prstGeom prst="line">
            <a:avLst/>
          </a:prstGeom>
          <a:ln w="73025" cap="rnd">
            <a:gradFill>
              <a:gsLst>
                <a:gs pos="0">
                  <a:schemeClr val="accent1"/>
                </a:gs>
                <a:gs pos="100000">
                  <a:schemeClr val="accent1">
                    <a:alpha val="0"/>
                  </a:schemeClr>
                </a:gs>
              </a:gsLst>
              <a:lin ang="10800000" scaled="0"/>
            </a:gradFill>
          </a:ln>
        </p:spPr>
        <p:style>
          <a:lnRef idx="1">
            <a:schemeClr val="accent1"/>
          </a:lnRef>
          <a:fillRef idx="0">
            <a:schemeClr val="accent1"/>
          </a:fillRef>
          <a:effectRef idx="0">
            <a:schemeClr val="accent1"/>
          </a:effectRef>
          <a:fontRef idx="minor">
            <a:schemeClr val="tx1"/>
          </a:fontRef>
        </p:style>
      </p:cxnSp>
      <p:sp>
        <p:nvSpPr>
          <p:cNvPr id="125" name="文本框 124">
            <a:extLst>
              <a:ext uri="{FF2B5EF4-FFF2-40B4-BE49-F238E27FC236}">
                <a16:creationId xmlns:a16="http://schemas.microsoft.com/office/drawing/2014/main" id="{38F0BE49-355B-45DB-8CFC-46CFDAF6CF58}"/>
              </a:ext>
            </a:extLst>
          </p:cNvPr>
          <p:cNvSpPr txBox="1"/>
          <p:nvPr/>
        </p:nvSpPr>
        <p:spPr>
          <a:xfrm>
            <a:off x="2544675" y="3777964"/>
            <a:ext cx="714939" cy="307777"/>
          </a:xfrm>
          <a:prstGeom prst="rect">
            <a:avLst/>
          </a:prstGeom>
          <a:noFill/>
        </p:spPr>
        <p:txBody>
          <a:bodyPr wrap="none" lIns="0" tIns="0" rIns="0" bIns="0" rtlCol="0" anchor="t">
            <a:spAutoFit/>
          </a:bodyPr>
          <a:lstStyle/>
          <a:p>
            <a:r>
              <a:rPr lang="en-US" altLang="zh-CN" sz="2000" dirty="0">
                <a:solidFill>
                  <a:schemeClr val="accent1"/>
                </a:solidFill>
                <a:latin typeface="+mj-ea"/>
                <a:ea typeface="+mj-ea"/>
              </a:rPr>
              <a:t>20XX</a:t>
            </a:r>
            <a:endParaRPr lang="zh-CN" altLang="en-US" sz="2000" dirty="0">
              <a:solidFill>
                <a:schemeClr val="accent1"/>
              </a:solidFill>
              <a:latin typeface="+mj-ea"/>
              <a:ea typeface="+mj-ea"/>
            </a:endParaRPr>
          </a:p>
        </p:txBody>
      </p:sp>
      <p:sp>
        <p:nvSpPr>
          <p:cNvPr id="126" name="文本框 125">
            <a:extLst>
              <a:ext uri="{FF2B5EF4-FFF2-40B4-BE49-F238E27FC236}">
                <a16:creationId xmlns:a16="http://schemas.microsoft.com/office/drawing/2014/main" id="{7277D916-3BD6-47CC-9392-EC0D31F543CE}"/>
              </a:ext>
            </a:extLst>
          </p:cNvPr>
          <p:cNvSpPr txBox="1"/>
          <p:nvPr/>
        </p:nvSpPr>
        <p:spPr>
          <a:xfrm>
            <a:off x="2463712" y="4053397"/>
            <a:ext cx="1692961" cy="769441"/>
          </a:xfrm>
          <a:prstGeom prst="rect">
            <a:avLst/>
          </a:prstGeom>
          <a:noFill/>
        </p:spPr>
        <p:txBody>
          <a:bodyPr wrap="square" rtlCol="0">
            <a:spAutoFit/>
          </a:bodyPr>
          <a:lstStyle/>
          <a:p>
            <a:r>
              <a:rPr lang="en-US" altLang="zh-CN" sz="1100" dirty="0">
                <a:solidFill>
                  <a:schemeClr val="accent1"/>
                </a:solidFill>
              </a:rPr>
              <a:t>Lorem ipsum dolor sit amet consectetur adipisicing elit sed do eiusmod tempor</a:t>
            </a:r>
            <a:endParaRPr lang="zh-CN" altLang="en-US" sz="1100" dirty="0">
              <a:solidFill>
                <a:schemeClr val="accent1"/>
              </a:solidFill>
            </a:endParaRPr>
          </a:p>
        </p:txBody>
      </p:sp>
      <p:sp>
        <p:nvSpPr>
          <p:cNvPr id="127" name="文本框 126">
            <a:extLst>
              <a:ext uri="{FF2B5EF4-FFF2-40B4-BE49-F238E27FC236}">
                <a16:creationId xmlns:a16="http://schemas.microsoft.com/office/drawing/2014/main" id="{7C189039-45AB-4948-A942-DEFF521CAF31}"/>
              </a:ext>
            </a:extLst>
          </p:cNvPr>
          <p:cNvSpPr txBox="1"/>
          <p:nvPr/>
        </p:nvSpPr>
        <p:spPr>
          <a:xfrm>
            <a:off x="4630650" y="3777964"/>
            <a:ext cx="714939" cy="307777"/>
          </a:xfrm>
          <a:prstGeom prst="rect">
            <a:avLst/>
          </a:prstGeom>
          <a:noFill/>
        </p:spPr>
        <p:txBody>
          <a:bodyPr wrap="none" lIns="0" tIns="0" rIns="0" bIns="0" rtlCol="0" anchor="t">
            <a:spAutoFit/>
          </a:bodyPr>
          <a:lstStyle/>
          <a:p>
            <a:r>
              <a:rPr lang="en-US" altLang="zh-CN" sz="2000" dirty="0">
                <a:solidFill>
                  <a:schemeClr val="accent1"/>
                </a:solidFill>
                <a:latin typeface="+mj-ea"/>
                <a:ea typeface="+mj-ea"/>
              </a:rPr>
              <a:t>20XX</a:t>
            </a:r>
            <a:endParaRPr lang="zh-CN" altLang="en-US" sz="2000" dirty="0">
              <a:solidFill>
                <a:schemeClr val="accent1"/>
              </a:solidFill>
              <a:latin typeface="+mj-ea"/>
              <a:ea typeface="+mj-ea"/>
            </a:endParaRPr>
          </a:p>
        </p:txBody>
      </p:sp>
      <p:sp>
        <p:nvSpPr>
          <p:cNvPr id="128" name="文本框 127">
            <a:extLst>
              <a:ext uri="{FF2B5EF4-FFF2-40B4-BE49-F238E27FC236}">
                <a16:creationId xmlns:a16="http://schemas.microsoft.com/office/drawing/2014/main" id="{CC0BE49D-956E-450A-833F-0E4567697B81}"/>
              </a:ext>
            </a:extLst>
          </p:cNvPr>
          <p:cNvSpPr txBox="1"/>
          <p:nvPr/>
        </p:nvSpPr>
        <p:spPr>
          <a:xfrm>
            <a:off x="4549687" y="4053397"/>
            <a:ext cx="1692961" cy="769441"/>
          </a:xfrm>
          <a:prstGeom prst="rect">
            <a:avLst/>
          </a:prstGeom>
          <a:noFill/>
        </p:spPr>
        <p:txBody>
          <a:bodyPr wrap="square" rtlCol="0">
            <a:spAutoFit/>
          </a:bodyPr>
          <a:lstStyle/>
          <a:p>
            <a:r>
              <a:rPr lang="en-US" altLang="zh-CN" sz="1100" dirty="0">
                <a:solidFill>
                  <a:schemeClr val="accent1"/>
                </a:solidFill>
              </a:rPr>
              <a:t>Lorem ipsum dolor sit amet consectetur adipisicing elit sed do eiusmod tempor</a:t>
            </a:r>
            <a:endParaRPr lang="zh-CN" altLang="en-US" sz="1100" dirty="0">
              <a:solidFill>
                <a:schemeClr val="accent1"/>
              </a:solidFill>
            </a:endParaRPr>
          </a:p>
        </p:txBody>
      </p:sp>
      <p:sp>
        <p:nvSpPr>
          <p:cNvPr id="129" name="文本框 128">
            <a:extLst>
              <a:ext uri="{FF2B5EF4-FFF2-40B4-BE49-F238E27FC236}">
                <a16:creationId xmlns:a16="http://schemas.microsoft.com/office/drawing/2014/main" id="{8BE570FC-559F-49CB-BBB3-7C1F2099A9AB}"/>
              </a:ext>
            </a:extLst>
          </p:cNvPr>
          <p:cNvSpPr txBox="1"/>
          <p:nvPr/>
        </p:nvSpPr>
        <p:spPr>
          <a:xfrm>
            <a:off x="6848166" y="3777964"/>
            <a:ext cx="714939" cy="307777"/>
          </a:xfrm>
          <a:prstGeom prst="rect">
            <a:avLst/>
          </a:prstGeom>
          <a:noFill/>
        </p:spPr>
        <p:txBody>
          <a:bodyPr wrap="none" lIns="0" tIns="0" rIns="0" bIns="0" rtlCol="0" anchor="t">
            <a:spAutoFit/>
          </a:bodyPr>
          <a:lstStyle/>
          <a:p>
            <a:r>
              <a:rPr lang="en-US" altLang="zh-CN" sz="2000" dirty="0">
                <a:solidFill>
                  <a:schemeClr val="accent1"/>
                </a:solidFill>
                <a:latin typeface="+mj-ea"/>
                <a:ea typeface="+mj-ea"/>
              </a:rPr>
              <a:t>20XX</a:t>
            </a:r>
            <a:endParaRPr lang="zh-CN" altLang="en-US" sz="2000" dirty="0">
              <a:solidFill>
                <a:schemeClr val="accent1"/>
              </a:solidFill>
              <a:latin typeface="+mj-ea"/>
              <a:ea typeface="+mj-ea"/>
            </a:endParaRPr>
          </a:p>
        </p:txBody>
      </p:sp>
      <p:sp>
        <p:nvSpPr>
          <p:cNvPr id="130" name="文本框 129">
            <a:extLst>
              <a:ext uri="{FF2B5EF4-FFF2-40B4-BE49-F238E27FC236}">
                <a16:creationId xmlns:a16="http://schemas.microsoft.com/office/drawing/2014/main" id="{73E3FD6B-7824-48A1-A698-F8EE5F49757B}"/>
              </a:ext>
            </a:extLst>
          </p:cNvPr>
          <p:cNvSpPr txBox="1"/>
          <p:nvPr/>
        </p:nvSpPr>
        <p:spPr>
          <a:xfrm>
            <a:off x="6767203" y="4053397"/>
            <a:ext cx="1692961" cy="769441"/>
          </a:xfrm>
          <a:prstGeom prst="rect">
            <a:avLst/>
          </a:prstGeom>
          <a:noFill/>
        </p:spPr>
        <p:txBody>
          <a:bodyPr wrap="square" rtlCol="0">
            <a:spAutoFit/>
          </a:bodyPr>
          <a:lstStyle/>
          <a:p>
            <a:r>
              <a:rPr lang="en-US" altLang="zh-CN" sz="1100" dirty="0">
                <a:solidFill>
                  <a:schemeClr val="accent1"/>
                </a:solidFill>
              </a:rPr>
              <a:t>Lorem ipsum dolor sit amet consectetur adipisicing elit sed do eiusmod tempor</a:t>
            </a:r>
            <a:endParaRPr lang="zh-CN" altLang="en-US" sz="1100" dirty="0">
              <a:solidFill>
                <a:schemeClr val="accent1"/>
              </a:solidFill>
            </a:endParaRPr>
          </a:p>
        </p:txBody>
      </p:sp>
      <p:sp>
        <p:nvSpPr>
          <p:cNvPr id="131" name="文本框 130">
            <a:extLst>
              <a:ext uri="{FF2B5EF4-FFF2-40B4-BE49-F238E27FC236}">
                <a16:creationId xmlns:a16="http://schemas.microsoft.com/office/drawing/2014/main" id="{79DF3586-49D8-44F4-853B-0CFA377293BE}"/>
              </a:ext>
            </a:extLst>
          </p:cNvPr>
          <p:cNvSpPr txBox="1"/>
          <p:nvPr/>
        </p:nvSpPr>
        <p:spPr>
          <a:xfrm>
            <a:off x="9019866" y="3777964"/>
            <a:ext cx="714939" cy="307777"/>
          </a:xfrm>
          <a:prstGeom prst="rect">
            <a:avLst/>
          </a:prstGeom>
          <a:noFill/>
        </p:spPr>
        <p:txBody>
          <a:bodyPr wrap="none" lIns="0" tIns="0" rIns="0" bIns="0" rtlCol="0" anchor="t">
            <a:spAutoFit/>
          </a:bodyPr>
          <a:lstStyle/>
          <a:p>
            <a:r>
              <a:rPr lang="en-US" altLang="zh-CN" sz="2000" dirty="0">
                <a:solidFill>
                  <a:schemeClr val="accent1"/>
                </a:solidFill>
                <a:latin typeface="+mj-ea"/>
                <a:ea typeface="+mj-ea"/>
              </a:rPr>
              <a:t>20XX</a:t>
            </a:r>
            <a:endParaRPr lang="zh-CN" altLang="en-US" sz="2000" dirty="0">
              <a:solidFill>
                <a:schemeClr val="accent1"/>
              </a:solidFill>
              <a:latin typeface="+mj-ea"/>
              <a:ea typeface="+mj-ea"/>
            </a:endParaRPr>
          </a:p>
        </p:txBody>
      </p:sp>
      <p:sp>
        <p:nvSpPr>
          <p:cNvPr id="132" name="文本框 131">
            <a:extLst>
              <a:ext uri="{FF2B5EF4-FFF2-40B4-BE49-F238E27FC236}">
                <a16:creationId xmlns:a16="http://schemas.microsoft.com/office/drawing/2014/main" id="{9E907904-BC2E-4A80-A673-3FD5CFCDAF02}"/>
              </a:ext>
            </a:extLst>
          </p:cNvPr>
          <p:cNvSpPr txBox="1"/>
          <p:nvPr/>
        </p:nvSpPr>
        <p:spPr>
          <a:xfrm>
            <a:off x="8938903" y="4053397"/>
            <a:ext cx="1692961" cy="769441"/>
          </a:xfrm>
          <a:prstGeom prst="rect">
            <a:avLst/>
          </a:prstGeom>
          <a:noFill/>
        </p:spPr>
        <p:txBody>
          <a:bodyPr wrap="square" rtlCol="0">
            <a:spAutoFit/>
          </a:bodyPr>
          <a:lstStyle/>
          <a:p>
            <a:r>
              <a:rPr lang="en-US" altLang="zh-CN" sz="1100" dirty="0">
                <a:solidFill>
                  <a:schemeClr val="accent1"/>
                </a:solidFill>
              </a:rPr>
              <a:t>Lorem ipsum dolor sit amet consectetur adipisicing elit sed do eiusmod tempor</a:t>
            </a:r>
            <a:endParaRPr lang="zh-CN" altLang="en-US" sz="1100" dirty="0">
              <a:solidFill>
                <a:schemeClr val="accent1"/>
              </a:solidFill>
            </a:endParaRPr>
          </a:p>
        </p:txBody>
      </p:sp>
      <p:grpSp>
        <p:nvGrpSpPr>
          <p:cNvPr id="10" name="组合 9">
            <a:extLst>
              <a:ext uri="{FF2B5EF4-FFF2-40B4-BE49-F238E27FC236}">
                <a16:creationId xmlns:a16="http://schemas.microsoft.com/office/drawing/2014/main" id="{4AD2A0EC-7DE7-4D2A-93A5-52DF74BD1347}"/>
              </a:ext>
            </a:extLst>
          </p:cNvPr>
          <p:cNvGrpSpPr/>
          <p:nvPr/>
        </p:nvGrpSpPr>
        <p:grpSpPr>
          <a:xfrm>
            <a:off x="1695450" y="2509838"/>
            <a:ext cx="972661" cy="583180"/>
            <a:chOff x="1695450" y="2509838"/>
            <a:chExt cx="972661" cy="583180"/>
          </a:xfrm>
        </p:grpSpPr>
        <p:sp>
          <p:nvSpPr>
            <p:cNvPr id="8" name="矩形 7">
              <a:extLst>
                <a:ext uri="{FF2B5EF4-FFF2-40B4-BE49-F238E27FC236}">
                  <a16:creationId xmlns:a16="http://schemas.microsoft.com/office/drawing/2014/main" id="{AC247AD6-2ACC-44A5-9684-F17BC94E178E}"/>
                </a:ext>
              </a:extLst>
            </p:cNvPr>
            <p:cNvSpPr/>
            <p:nvPr/>
          </p:nvSpPr>
          <p:spPr>
            <a:xfrm>
              <a:off x="1695450" y="2509838"/>
              <a:ext cx="972661" cy="45243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dirty="0">
                  <a:solidFill>
                    <a:schemeClr val="bg1"/>
                  </a:solidFill>
                  <a:latin typeface="+mj-ea"/>
                  <a:ea typeface="+mj-ea"/>
                </a:rPr>
                <a:t>关键词</a:t>
              </a:r>
            </a:p>
          </p:txBody>
        </p:sp>
        <p:sp>
          <p:nvSpPr>
            <p:cNvPr id="9" name="直角三角形 8">
              <a:extLst>
                <a:ext uri="{FF2B5EF4-FFF2-40B4-BE49-F238E27FC236}">
                  <a16:creationId xmlns:a16="http://schemas.microsoft.com/office/drawing/2014/main" id="{804A22E0-6541-4A29-AC14-E2A0FD8AA538}"/>
                </a:ext>
              </a:extLst>
            </p:cNvPr>
            <p:cNvSpPr/>
            <p:nvPr/>
          </p:nvSpPr>
          <p:spPr>
            <a:xfrm rot="10800000">
              <a:off x="2527125" y="2953230"/>
              <a:ext cx="139788" cy="139788"/>
            </a:xfrm>
            <a:prstGeom prst="r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grpSp>
      <p:grpSp>
        <p:nvGrpSpPr>
          <p:cNvPr id="133" name="组合 132">
            <a:extLst>
              <a:ext uri="{FF2B5EF4-FFF2-40B4-BE49-F238E27FC236}">
                <a16:creationId xmlns:a16="http://schemas.microsoft.com/office/drawing/2014/main" id="{9213470C-D5AB-4618-9462-B5A194C2EFC1}"/>
              </a:ext>
            </a:extLst>
          </p:cNvPr>
          <p:cNvGrpSpPr/>
          <p:nvPr/>
        </p:nvGrpSpPr>
        <p:grpSpPr>
          <a:xfrm>
            <a:off x="3843338" y="2509838"/>
            <a:ext cx="972661" cy="583180"/>
            <a:chOff x="1695450" y="2509838"/>
            <a:chExt cx="972661" cy="583180"/>
          </a:xfrm>
        </p:grpSpPr>
        <p:sp>
          <p:nvSpPr>
            <p:cNvPr id="134" name="矩形 133">
              <a:extLst>
                <a:ext uri="{FF2B5EF4-FFF2-40B4-BE49-F238E27FC236}">
                  <a16:creationId xmlns:a16="http://schemas.microsoft.com/office/drawing/2014/main" id="{A91BCF33-A9FC-432C-BEAA-41596DB9ED48}"/>
                </a:ext>
              </a:extLst>
            </p:cNvPr>
            <p:cNvSpPr/>
            <p:nvPr/>
          </p:nvSpPr>
          <p:spPr>
            <a:xfrm>
              <a:off x="1695450" y="2509838"/>
              <a:ext cx="972661" cy="45243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dirty="0">
                  <a:solidFill>
                    <a:schemeClr val="bg1"/>
                  </a:solidFill>
                  <a:latin typeface="+mj-ea"/>
                  <a:ea typeface="+mj-ea"/>
                </a:rPr>
                <a:t>关键词</a:t>
              </a:r>
            </a:p>
          </p:txBody>
        </p:sp>
        <p:sp>
          <p:nvSpPr>
            <p:cNvPr id="135" name="直角三角形 134">
              <a:extLst>
                <a:ext uri="{FF2B5EF4-FFF2-40B4-BE49-F238E27FC236}">
                  <a16:creationId xmlns:a16="http://schemas.microsoft.com/office/drawing/2014/main" id="{3B44F7C1-15C1-4E5B-B0CD-61D765B9CB43}"/>
                </a:ext>
              </a:extLst>
            </p:cNvPr>
            <p:cNvSpPr/>
            <p:nvPr/>
          </p:nvSpPr>
          <p:spPr>
            <a:xfrm rot="10800000">
              <a:off x="2527125" y="2953230"/>
              <a:ext cx="139788" cy="139788"/>
            </a:xfrm>
            <a:prstGeom prst="r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grpSp>
      <p:grpSp>
        <p:nvGrpSpPr>
          <p:cNvPr id="142" name="组合 141">
            <a:extLst>
              <a:ext uri="{FF2B5EF4-FFF2-40B4-BE49-F238E27FC236}">
                <a16:creationId xmlns:a16="http://schemas.microsoft.com/office/drawing/2014/main" id="{024973BC-99AD-48B6-99D2-96047CA06F9E}"/>
              </a:ext>
            </a:extLst>
          </p:cNvPr>
          <p:cNvGrpSpPr/>
          <p:nvPr/>
        </p:nvGrpSpPr>
        <p:grpSpPr>
          <a:xfrm>
            <a:off x="5984558" y="2509838"/>
            <a:ext cx="972661" cy="583180"/>
            <a:chOff x="1695450" y="2509838"/>
            <a:chExt cx="972661" cy="583180"/>
          </a:xfrm>
        </p:grpSpPr>
        <p:sp>
          <p:nvSpPr>
            <p:cNvPr id="143" name="矩形 142">
              <a:extLst>
                <a:ext uri="{FF2B5EF4-FFF2-40B4-BE49-F238E27FC236}">
                  <a16:creationId xmlns:a16="http://schemas.microsoft.com/office/drawing/2014/main" id="{6971D2E7-E56F-45B6-8120-67DC21431006}"/>
                </a:ext>
              </a:extLst>
            </p:cNvPr>
            <p:cNvSpPr/>
            <p:nvPr/>
          </p:nvSpPr>
          <p:spPr>
            <a:xfrm>
              <a:off x="1695450" y="2509838"/>
              <a:ext cx="972661" cy="45243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dirty="0">
                  <a:solidFill>
                    <a:schemeClr val="bg1"/>
                  </a:solidFill>
                  <a:latin typeface="+mj-ea"/>
                  <a:ea typeface="+mj-ea"/>
                </a:rPr>
                <a:t>关键词</a:t>
              </a:r>
            </a:p>
          </p:txBody>
        </p:sp>
        <p:sp>
          <p:nvSpPr>
            <p:cNvPr id="144" name="直角三角形 143">
              <a:extLst>
                <a:ext uri="{FF2B5EF4-FFF2-40B4-BE49-F238E27FC236}">
                  <a16:creationId xmlns:a16="http://schemas.microsoft.com/office/drawing/2014/main" id="{AE8B2857-455B-455A-A125-A1A27DCF725F}"/>
                </a:ext>
              </a:extLst>
            </p:cNvPr>
            <p:cNvSpPr/>
            <p:nvPr/>
          </p:nvSpPr>
          <p:spPr>
            <a:xfrm rot="10800000">
              <a:off x="2527125" y="2953230"/>
              <a:ext cx="139788" cy="139788"/>
            </a:xfrm>
            <a:prstGeom prst="r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grpSp>
      <p:grpSp>
        <p:nvGrpSpPr>
          <p:cNvPr id="145" name="组合 144">
            <a:extLst>
              <a:ext uri="{FF2B5EF4-FFF2-40B4-BE49-F238E27FC236}">
                <a16:creationId xmlns:a16="http://schemas.microsoft.com/office/drawing/2014/main" id="{7CF66903-75E6-4BBD-8B85-0AA50EA47A5C}"/>
              </a:ext>
            </a:extLst>
          </p:cNvPr>
          <p:cNvGrpSpPr/>
          <p:nvPr/>
        </p:nvGrpSpPr>
        <p:grpSpPr>
          <a:xfrm>
            <a:off x="8141018" y="2509838"/>
            <a:ext cx="972661" cy="583180"/>
            <a:chOff x="1695450" y="2509838"/>
            <a:chExt cx="972661" cy="583180"/>
          </a:xfrm>
        </p:grpSpPr>
        <p:sp>
          <p:nvSpPr>
            <p:cNvPr id="146" name="矩形 145">
              <a:extLst>
                <a:ext uri="{FF2B5EF4-FFF2-40B4-BE49-F238E27FC236}">
                  <a16:creationId xmlns:a16="http://schemas.microsoft.com/office/drawing/2014/main" id="{F619FC5B-2F89-4FDC-980C-5EE9C1F8E51F}"/>
                </a:ext>
              </a:extLst>
            </p:cNvPr>
            <p:cNvSpPr/>
            <p:nvPr/>
          </p:nvSpPr>
          <p:spPr>
            <a:xfrm>
              <a:off x="1695450" y="2509838"/>
              <a:ext cx="972661" cy="45243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dirty="0">
                  <a:solidFill>
                    <a:schemeClr val="bg1"/>
                  </a:solidFill>
                  <a:latin typeface="+mj-ea"/>
                  <a:ea typeface="+mj-ea"/>
                </a:rPr>
                <a:t>关键词</a:t>
              </a:r>
            </a:p>
          </p:txBody>
        </p:sp>
        <p:sp>
          <p:nvSpPr>
            <p:cNvPr id="147" name="直角三角形 146">
              <a:extLst>
                <a:ext uri="{FF2B5EF4-FFF2-40B4-BE49-F238E27FC236}">
                  <a16:creationId xmlns:a16="http://schemas.microsoft.com/office/drawing/2014/main" id="{E0DBA4B9-671F-4494-B974-77689952421F}"/>
                </a:ext>
              </a:extLst>
            </p:cNvPr>
            <p:cNvSpPr/>
            <p:nvPr/>
          </p:nvSpPr>
          <p:spPr>
            <a:xfrm rot="10800000">
              <a:off x="2527125" y="2953230"/>
              <a:ext cx="139788" cy="139788"/>
            </a:xfrm>
            <a:prstGeom prst="r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grpSp>
    </p:spTree>
    <p:extLst>
      <p:ext uri="{BB962C8B-B14F-4D97-AF65-F5344CB8AC3E}">
        <p14:creationId xmlns:p14="http://schemas.microsoft.com/office/powerpoint/2010/main" val="3772841718"/>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3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3" name="任意多边形: 形状 92">
            <a:extLst>
              <a:ext uri="{FF2B5EF4-FFF2-40B4-BE49-F238E27FC236}">
                <a16:creationId xmlns:a16="http://schemas.microsoft.com/office/drawing/2014/main" id="{CD7DCCDF-7D8C-4895-B7CD-C07E4462E3A1}"/>
              </a:ext>
            </a:extLst>
          </p:cNvPr>
          <p:cNvSpPr/>
          <p:nvPr/>
        </p:nvSpPr>
        <p:spPr>
          <a:xfrm>
            <a:off x="105307" y="5676900"/>
            <a:ext cx="5038299" cy="1181101"/>
          </a:xfrm>
          <a:custGeom>
            <a:avLst/>
            <a:gdLst>
              <a:gd name="connsiteX0" fmla="*/ 2528383 w 5038299"/>
              <a:gd name="connsiteY0" fmla="*/ 432 h 1797433"/>
              <a:gd name="connsiteX1" fmla="*/ 5023626 w 5038299"/>
              <a:gd name="connsiteY1" fmla="*/ 1758883 h 1797433"/>
              <a:gd name="connsiteX2" fmla="*/ 5038299 w 5038299"/>
              <a:gd name="connsiteY2" fmla="*/ 1797433 h 1797433"/>
              <a:gd name="connsiteX3" fmla="*/ 0 w 5038299"/>
              <a:gd name="connsiteY3" fmla="*/ 1797433 h 1797433"/>
              <a:gd name="connsiteX4" fmla="*/ 24237 w 5038299"/>
              <a:gd name="connsiteY4" fmla="*/ 1777416 h 1797433"/>
              <a:gd name="connsiteX5" fmla="*/ 2528383 w 5038299"/>
              <a:gd name="connsiteY5" fmla="*/ 432 h 1797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38299" h="1797433">
                <a:moveTo>
                  <a:pt x="2528383" y="432"/>
                </a:moveTo>
                <a:cubicBezTo>
                  <a:pt x="3587335" y="24987"/>
                  <a:pt x="4716129" y="1088531"/>
                  <a:pt x="5023626" y="1758883"/>
                </a:cubicBezTo>
                <a:lnTo>
                  <a:pt x="5038299" y="1797433"/>
                </a:lnTo>
                <a:lnTo>
                  <a:pt x="0" y="1797433"/>
                </a:lnTo>
                <a:lnTo>
                  <a:pt x="24237" y="1777416"/>
                </a:lnTo>
                <a:cubicBezTo>
                  <a:pt x="492711" y="1343474"/>
                  <a:pt x="1306516" y="-27901"/>
                  <a:pt x="2528383" y="432"/>
                </a:cubicBezTo>
                <a:close/>
              </a:path>
            </a:pathLst>
          </a:cu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l"/>
            <a:endParaRPr lang="zh-CN" altLang="en-US" sz="1600">
              <a:solidFill>
                <a:schemeClr val="bg1"/>
              </a:solidFill>
              <a:latin typeface="+mj-ea"/>
              <a:ea typeface="+mj-ea"/>
            </a:endParaRPr>
          </a:p>
        </p:txBody>
      </p:sp>
      <p:sp>
        <p:nvSpPr>
          <p:cNvPr id="94" name="任意多边形: 形状 93">
            <a:extLst>
              <a:ext uri="{FF2B5EF4-FFF2-40B4-BE49-F238E27FC236}">
                <a16:creationId xmlns:a16="http://schemas.microsoft.com/office/drawing/2014/main" id="{E98239B3-3474-4240-BECF-F6BA62D5A4BB}"/>
              </a:ext>
            </a:extLst>
          </p:cNvPr>
          <p:cNvSpPr/>
          <p:nvPr/>
        </p:nvSpPr>
        <p:spPr>
          <a:xfrm>
            <a:off x="2791357" y="4495800"/>
            <a:ext cx="6567975" cy="2362201"/>
          </a:xfrm>
          <a:custGeom>
            <a:avLst/>
            <a:gdLst>
              <a:gd name="connsiteX0" fmla="*/ 2528383 w 5038299"/>
              <a:gd name="connsiteY0" fmla="*/ 432 h 1797433"/>
              <a:gd name="connsiteX1" fmla="*/ 5023626 w 5038299"/>
              <a:gd name="connsiteY1" fmla="*/ 1758883 h 1797433"/>
              <a:gd name="connsiteX2" fmla="*/ 5038299 w 5038299"/>
              <a:gd name="connsiteY2" fmla="*/ 1797433 h 1797433"/>
              <a:gd name="connsiteX3" fmla="*/ 0 w 5038299"/>
              <a:gd name="connsiteY3" fmla="*/ 1797433 h 1797433"/>
              <a:gd name="connsiteX4" fmla="*/ 24237 w 5038299"/>
              <a:gd name="connsiteY4" fmla="*/ 1777416 h 1797433"/>
              <a:gd name="connsiteX5" fmla="*/ 2528383 w 5038299"/>
              <a:gd name="connsiteY5" fmla="*/ 432 h 1797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38299" h="1797433">
                <a:moveTo>
                  <a:pt x="2528383" y="432"/>
                </a:moveTo>
                <a:cubicBezTo>
                  <a:pt x="3587335" y="24987"/>
                  <a:pt x="4716129" y="1088531"/>
                  <a:pt x="5023626" y="1758883"/>
                </a:cubicBezTo>
                <a:lnTo>
                  <a:pt x="5038299" y="1797433"/>
                </a:lnTo>
                <a:lnTo>
                  <a:pt x="0" y="1797433"/>
                </a:lnTo>
                <a:lnTo>
                  <a:pt x="24237" y="1777416"/>
                </a:lnTo>
                <a:cubicBezTo>
                  <a:pt x="492711" y="1343474"/>
                  <a:pt x="1306516" y="-27901"/>
                  <a:pt x="2528383" y="432"/>
                </a:cubicBezTo>
                <a:close/>
              </a:path>
            </a:pathLst>
          </a:cu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l"/>
            <a:endParaRPr lang="zh-CN" altLang="en-US" sz="1600">
              <a:solidFill>
                <a:schemeClr val="bg1"/>
              </a:solidFill>
              <a:latin typeface="+mj-ea"/>
              <a:ea typeface="+mj-ea"/>
            </a:endParaRPr>
          </a:p>
        </p:txBody>
      </p:sp>
      <p:sp>
        <p:nvSpPr>
          <p:cNvPr id="95" name="任意多边形: 形状 94">
            <a:extLst>
              <a:ext uri="{FF2B5EF4-FFF2-40B4-BE49-F238E27FC236}">
                <a16:creationId xmlns:a16="http://schemas.microsoft.com/office/drawing/2014/main" id="{38686E45-1F6E-41B0-ADD5-1457BD31F665}"/>
              </a:ext>
            </a:extLst>
          </p:cNvPr>
          <p:cNvSpPr/>
          <p:nvPr/>
        </p:nvSpPr>
        <p:spPr>
          <a:xfrm>
            <a:off x="3263901" y="2922716"/>
            <a:ext cx="8928100" cy="3935285"/>
          </a:xfrm>
          <a:custGeom>
            <a:avLst/>
            <a:gdLst>
              <a:gd name="connsiteX0" fmla="*/ 5797826 w 7119969"/>
              <a:gd name="connsiteY0" fmla="*/ 882 h 3935285"/>
              <a:gd name="connsiteX1" fmla="*/ 7109171 w 7119969"/>
              <a:gd name="connsiteY1" fmla="*/ 680101 h 3935285"/>
              <a:gd name="connsiteX2" fmla="*/ 7119969 w 7119969"/>
              <a:gd name="connsiteY2" fmla="*/ 691099 h 3935285"/>
              <a:gd name="connsiteX3" fmla="*/ 7119969 w 7119969"/>
              <a:gd name="connsiteY3" fmla="*/ 3935285 h 3935285"/>
              <a:gd name="connsiteX4" fmla="*/ 0 w 7119969"/>
              <a:gd name="connsiteY4" fmla="*/ 3935285 h 3935285"/>
              <a:gd name="connsiteX5" fmla="*/ 120682 w 7119969"/>
              <a:gd name="connsiteY5" fmla="*/ 3928141 h 3935285"/>
              <a:gd name="connsiteX6" fmla="*/ 2052669 w 7119969"/>
              <a:gd name="connsiteY6" fmla="*/ 3439985 h 3935285"/>
              <a:gd name="connsiteX7" fmla="*/ 5697569 w 7119969"/>
              <a:gd name="connsiteY7" fmla="*/ 10985 h 3935285"/>
              <a:gd name="connsiteX8" fmla="*/ 5797826 w 7119969"/>
              <a:gd name="connsiteY8" fmla="*/ 882 h 3935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9969" h="3935285">
                <a:moveTo>
                  <a:pt x="5797826" y="882"/>
                </a:moveTo>
                <a:cubicBezTo>
                  <a:pt x="6234068" y="-18292"/>
                  <a:pt x="6692044" y="277085"/>
                  <a:pt x="7109171" y="680101"/>
                </a:cubicBezTo>
                <a:lnTo>
                  <a:pt x="7119969" y="691099"/>
                </a:lnTo>
                <a:lnTo>
                  <a:pt x="7119969" y="3935285"/>
                </a:lnTo>
                <a:lnTo>
                  <a:pt x="0" y="3935285"/>
                </a:lnTo>
                <a:lnTo>
                  <a:pt x="120682" y="3928141"/>
                </a:lnTo>
                <a:cubicBezTo>
                  <a:pt x="751978" y="3881839"/>
                  <a:pt x="1470586" y="3778652"/>
                  <a:pt x="2052669" y="3439985"/>
                </a:cubicBezTo>
                <a:cubicBezTo>
                  <a:pt x="3216836" y="2762652"/>
                  <a:pt x="4632886" y="180318"/>
                  <a:pt x="5697569" y="10985"/>
                </a:cubicBezTo>
                <a:cubicBezTo>
                  <a:pt x="5730840" y="5694"/>
                  <a:pt x="5764269" y="2357"/>
                  <a:pt x="5797826" y="882"/>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l"/>
            <a:endParaRPr lang="zh-CN" altLang="en-US" sz="1600">
              <a:solidFill>
                <a:schemeClr val="bg1"/>
              </a:solidFill>
              <a:latin typeface="+mj-ea"/>
              <a:ea typeface="+mj-ea"/>
            </a:endParaRPr>
          </a:p>
        </p:txBody>
      </p:sp>
      <p:grpSp>
        <p:nvGrpSpPr>
          <p:cNvPr id="96" name="组合 95">
            <a:extLst>
              <a:ext uri="{FF2B5EF4-FFF2-40B4-BE49-F238E27FC236}">
                <a16:creationId xmlns:a16="http://schemas.microsoft.com/office/drawing/2014/main" id="{65CB592A-00DC-4CA7-A18C-E192BBA95C3D}"/>
              </a:ext>
            </a:extLst>
          </p:cNvPr>
          <p:cNvGrpSpPr/>
          <p:nvPr/>
        </p:nvGrpSpPr>
        <p:grpSpPr>
          <a:xfrm>
            <a:off x="900370" y="4033926"/>
            <a:ext cx="1890987" cy="2104849"/>
            <a:chOff x="912698" y="2121187"/>
            <a:chExt cx="1890987" cy="2104849"/>
          </a:xfrm>
        </p:grpSpPr>
        <p:cxnSp>
          <p:nvCxnSpPr>
            <p:cNvPr id="97" name="直接连接符 96">
              <a:extLst>
                <a:ext uri="{FF2B5EF4-FFF2-40B4-BE49-F238E27FC236}">
                  <a16:creationId xmlns:a16="http://schemas.microsoft.com/office/drawing/2014/main" id="{ED06331B-A691-4850-89EC-161FD7CAE3C1}"/>
                </a:ext>
              </a:extLst>
            </p:cNvPr>
            <p:cNvCxnSpPr>
              <a:cxnSpLocks/>
            </p:cNvCxnSpPr>
            <p:nvPr/>
          </p:nvCxnSpPr>
          <p:spPr>
            <a:xfrm>
              <a:off x="976992" y="2282372"/>
              <a:ext cx="0" cy="1943664"/>
            </a:xfrm>
            <a:prstGeom prst="line">
              <a:avLst/>
            </a:prstGeom>
            <a:ln w="28575">
              <a:gradFill>
                <a:gsLst>
                  <a:gs pos="0">
                    <a:schemeClr val="accent1"/>
                  </a:gs>
                  <a:gs pos="100000">
                    <a:schemeClr val="accent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98" name="椭圆 97">
              <a:extLst>
                <a:ext uri="{FF2B5EF4-FFF2-40B4-BE49-F238E27FC236}">
                  <a16:creationId xmlns:a16="http://schemas.microsoft.com/office/drawing/2014/main" id="{32A09C92-D8AE-4A20-871C-0ACF803FEE8B}"/>
                </a:ext>
              </a:extLst>
            </p:cNvPr>
            <p:cNvSpPr/>
            <p:nvPr/>
          </p:nvSpPr>
          <p:spPr>
            <a:xfrm>
              <a:off x="912698" y="2181563"/>
              <a:ext cx="128588" cy="128588"/>
            </a:xfrm>
            <a:prstGeom prst="ellipse">
              <a:avLst/>
            </a:prstGeom>
            <a:solidFill>
              <a:schemeClr val="accent1"/>
            </a:solidFill>
            <a:ln>
              <a:noFill/>
            </a:ln>
            <a:effectLst>
              <a:outerShdw sx="154000" sy="154000" algn="ctr" rotWithShape="0">
                <a:schemeClr val="accent1">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99" name="文本框 98">
              <a:extLst>
                <a:ext uri="{FF2B5EF4-FFF2-40B4-BE49-F238E27FC236}">
                  <a16:creationId xmlns:a16="http://schemas.microsoft.com/office/drawing/2014/main" id="{392DBEA1-E597-4EE0-83A7-184A45015E30}"/>
                </a:ext>
              </a:extLst>
            </p:cNvPr>
            <p:cNvSpPr txBox="1"/>
            <p:nvPr/>
          </p:nvSpPr>
          <p:spPr>
            <a:xfrm>
              <a:off x="1191687" y="2121187"/>
              <a:ext cx="714939" cy="307777"/>
            </a:xfrm>
            <a:prstGeom prst="rect">
              <a:avLst/>
            </a:prstGeom>
            <a:noFill/>
          </p:spPr>
          <p:txBody>
            <a:bodyPr wrap="none" lIns="0" tIns="0" rIns="0" bIns="0" rtlCol="0" anchor="t">
              <a:spAutoFit/>
            </a:bodyPr>
            <a:lstStyle/>
            <a:p>
              <a:r>
                <a:rPr lang="en-US" altLang="zh-CN" sz="2000" dirty="0">
                  <a:solidFill>
                    <a:schemeClr val="accent1"/>
                  </a:solidFill>
                  <a:latin typeface="+mj-ea"/>
                  <a:ea typeface="+mj-ea"/>
                </a:rPr>
                <a:t>20XX</a:t>
              </a:r>
              <a:endParaRPr lang="zh-CN" altLang="en-US" sz="2000" dirty="0">
                <a:solidFill>
                  <a:schemeClr val="accent1"/>
                </a:solidFill>
                <a:latin typeface="+mj-ea"/>
                <a:ea typeface="+mj-ea"/>
              </a:endParaRPr>
            </a:p>
          </p:txBody>
        </p:sp>
        <p:sp>
          <p:nvSpPr>
            <p:cNvPr id="100" name="文本框 99">
              <a:extLst>
                <a:ext uri="{FF2B5EF4-FFF2-40B4-BE49-F238E27FC236}">
                  <a16:creationId xmlns:a16="http://schemas.microsoft.com/office/drawing/2014/main" id="{D958BB4C-E05A-4EF6-BBB3-C9CE3AAF8350}"/>
                </a:ext>
              </a:extLst>
            </p:cNvPr>
            <p:cNvSpPr txBox="1"/>
            <p:nvPr/>
          </p:nvSpPr>
          <p:spPr>
            <a:xfrm>
              <a:off x="1110724" y="2396620"/>
              <a:ext cx="1692961" cy="769441"/>
            </a:xfrm>
            <a:prstGeom prst="rect">
              <a:avLst/>
            </a:prstGeom>
            <a:noFill/>
          </p:spPr>
          <p:txBody>
            <a:bodyPr wrap="square" rtlCol="0">
              <a:spAutoFit/>
            </a:bodyPr>
            <a:lstStyle/>
            <a:p>
              <a:r>
                <a:rPr lang="en-US" altLang="zh-CN" sz="1100" dirty="0">
                  <a:solidFill>
                    <a:schemeClr val="accent1"/>
                  </a:solidFill>
                </a:rPr>
                <a:t>Lorem ipsum dolor sit amet consectetur adipisicing elit sed do eiusmod tempor</a:t>
              </a:r>
              <a:endParaRPr lang="zh-CN" altLang="en-US" sz="1100" dirty="0">
                <a:solidFill>
                  <a:schemeClr val="accent1"/>
                </a:solidFill>
              </a:endParaRPr>
            </a:p>
          </p:txBody>
        </p:sp>
      </p:grpSp>
      <p:grpSp>
        <p:nvGrpSpPr>
          <p:cNvPr id="101" name="组合 100">
            <a:extLst>
              <a:ext uri="{FF2B5EF4-FFF2-40B4-BE49-F238E27FC236}">
                <a16:creationId xmlns:a16="http://schemas.microsoft.com/office/drawing/2014/main" id="{3C1ECF55-28A3-4615-8B8A-5D843991D75E}"/>
              </a:ext>
            </a:extLst>
          </p:cNvPr>
          <p:cNvGrpSpPr/>
          <p:nvPr/>
        </p:nvGrpSpPr>
        <p:grpSpPr>
          <a:xfrm>
            <a:off x="3192125" y="3157626"/>
            <a:ext cx="1890987" cy="2519274"/>
            <a:chOff x="912698" y="2121187"/>
            <a:chExt cx="1890987" cy="2519274"/>
          </a:xfrm>
        </p:grpSpPr>
        <p:cxnSp>
          <p:nvCxnSpPr>
            <p:cNvPr id="102" name="直接连接符 101">
              <a:extLst>
                <a:ext uri="{FF2B5EF4-FFF2-40B4-BE49-F238E27FC236}">
                  <a16:creationId xmlns:a16="http://schemas.microsoft.com/office/drawing/2014/main" id="{975435A3-1C2E-4337-AD23-D1CCB306A7D1}"/>
                </a:ext>
              </a:extLst>
            </p:cNvPr>
            <p:cNvCxnSpPr>
              <a:cxnSpLocks/>
            </p:cNvCxnSpPr>
            <p:nvPr/>
          </p:nvCxnSpPr>
          <p:spPr>
            <a:xfrm>
              <a:off x="976992" y="2282372"/>
              <a:ext cx="0" cy="2358089"/>
            </a:xfrm>
            <a:prstGeom prst="line">
              <a:avLst/>
            </a:prstGeom>
            <a:ln w="28575">
              <a:gradFill>
                <a:gsLst>
                  <a:gs pos="0">
                    <a:schemeClr val="accent1"/>
                  </a:gs>
                  <a:gs pos="100000">
                    <a:schemeClr val="accent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03" name="椭圆 102">
              <a:extLst>
                <a:ext uri="{FF2B5EF4-FFF2-40B4-BE49-F238E27FC236}">
                  <a16:creationId xmlns:a16="http://schemas.microsoft.com/office/drawing/2014/main" id="{84F90407-46D4-4F10-A376-CF857B4F69C5}"/>
                </a:ext>
              </a:extLst>
            </p:cNvPr>
            <p:cNvSpPr/>
            <p:nvPr/>
          </p:nvSpPr>
          <p:spPr>
            <a:xfrm>
              <a:off x="912698" y="2181563"/>
              <a:ext cx="128588" cy="128588"/>
            </a:xfrm>
            <a:prstGeom prst="ellipse">
              <a:avLst/>
            </a:prstGeom>
            <a:solidFill>
              <a:schemeClr val="accent1"/>
            </a:solidFill>
            <a:ln>
              <a:noFill/>
            </a:ln>
            <a:effectLst>
              <a:outerShdw sx="154000" sy="154000" algn="ctr" rotWithShape="0">
                <a:schemeClr val="accent1">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104" name="文本框 103">
              <a:extLst>
                <a:ext uri="{FF2B5EF4-FFF2-40B4-BE49-F238E27FC236}">
                  <a16:creationId xmlns:a16="http://schemas.microsoft.com/office/drawing/2014/main" id="{3BDCBF12-5739-4054-9ED5-2934D1B12F52}"/>
                </a:ext>
              </a:extLst>
            </p:cNvPr>
            <p:cNvSpPr txBox="1"/>
            <p:nvPr/>
          </p:nvSpPr>
          <p:spPr>
            <a:xfrm>
              <a:off x="1191687" y="2121187"/>
              <a:ext cx="714939" cy="307777"/>
            </a:xfrm>
            <a:prstGeom prst="rect">
              <a:avLst/>
            </a:prstGeom>
            <a:noFill/>
          </p:spPr>
          <p:txBody>
            <a:bodyPr wrap="none" lIns="0" tIns="0" rIns="0" bIns="0" rtlCol="0" anchor="t">
              <a:spAutoFit/>
            </a:bodyPr>
            <a:lstStyle/>
            <a:p>
              <a:r>
                <a:rPr lang="en-US" altLang="zh-CN" sz="2000" dirty="0">
                  <a:solidFill>
                    <a:schemeClr val="accent1"/>
                  </a:solidFill>
                  <a:latin typeface="+mj-ea"/>
                  <a:ea typeface="+mj-ea"/>
                </a:rPr>
                <a:t>20XX</a:t>
              </a:r>
              <a:endParaRPr lang="zh-CN" altLang="en-US" sz="2000" dirty="0">
                <a:solidFill>
                  <a:schemeClr val="accent1"/>
                </a:solidFill>
                <a:latin typeface="+mj-ea"/>
                <a:ea typeface="+mj-ea"/>
              </a:endParaRPr>
            </a:p>
          </p:txBody>
        </p:sp>
        <p:sp>
          <p:nvSpPr>
            <p:cNvPr id="105" name="文本框 104">
              <a:extLst>
                <a:ext uri="{FF2B5EF4-FFF2-40B4-BE49-F238E27FC236}">
                  <a16:creationId xmlns:a16="http://schemas.microsoft.com/office/drawing/2014/main" id="{706EFB4E-652C-4E85-A73A-9E1CD4AE9267}"/>
                </a:ext>
              </a:extLst>
            </p:cNvPr>
            <p:cNvSpPr txBox="1"/>
            <p:nvPr/>
          </p:nvSpPr>
          <p:spPr>
            <a:xfrm>
              <a:off x="1110724" y="2396620"/>
              <a:ext cx="1692961" cy="769441"/>
            </a:xfrm>
            <a:prstGeom prst="rect">
              <a:avLst/>
            </a:prstGeom>
            <a:noFill/>
          </p:spPr>
          <p:txBody>
            <a:bodyPr wrap="square" rtlCol="0">
              <a:spAutoFit/>
            </a:bodyPr>
            <a:lstStyle/>
            <a:p>
              <a:r>
                <a:rPr lang="en-US" altLang="zh-CN" sz="1100" dirty="0">
                  <a:solidFill>
                    <a:schemeClr val="accent1"/>
                  </a:solidFill>
                </a:rPr>
                <a:t>Lorem ipsum dolor sit amet consectetur adipisicing elit sed do eiusmod tempor</a:t>
              </a:r>
              <a:endParaRPr lang="zh-CN" altLang="en-US" sz="1100" dirty="0">
                <a:solidFill>
                  <a:schemeClr val="accent1"/>
                </a:solidFill>
              </a:endParaRPr>
            </a:p>
          </p:txBody>
        </p:sp>
      </p:grpSp>
      <p:grpSp>
        <p:nvGrpSpPr>
          <p:cNvPr id="106" name="组合 105">
            <a:extLst>
              <a:ext uri="{FF2B5EF4-FFF2-40B4-BE49-F238E27FC236}">
                <a16:creationId xmlns:a16="http://schemas.microsoft.com/office/drawing/2014/main" id="{69207F8C-866F-474D-A4C1-3E238241E86C}"/>
              </a:ext>
            </a:extLst>
          </p:cNvPr>
          <p:cNvGrpSpPr/>
          <p:nvPr/>
        </p:nvGrpSpPr>
        <p:grpSpPr>
          <a:xfrm>
            <a:off x="5483880" y="2468106"/>
            <a:ext cx="1890987" cy="2027694"/>
            <a:chOff x="912698" y="2121187"/>
            <a:chExt cx="1890987" cy="2027694"/>
          </a:xfrm>
        </p:grpSpPr>
        <p:cxnSp>
          <p:nvCxnSpPr>
            <p:cNvPr id="107" name="直接连接符 106">
              <a:extLst>
                <a:ext uri="{FF2B5EF4-FFF2-40B4-BE49-F238E27FC236}">
                  <a16:creationId xmlns:a16="http://schemas.microsoft.com/office/drawing/2014/main" id="{EB1556CA-DD6E-4786-BB3F-A4B6D9BDA76E}"/>
                </a:ext>
              </a:extLst>
            </p:cNvPr>
            <p:cNvCxnSpPr>
              <a:cxnSpLocks/>
            </p:cNvCxnSpPr>
            <p:nvPr/>
          </p:nvCxnSpPr>
          <p:spPr>
            <a:xfrm>
              <a:off x="976992" y="2282372"/>
              <a:ext cx="0" cy="1866509"/>
            </a:xfrm>
            <a:prstGeom prst="line">
              <a:avLst/>
            </a:prstGeom>
            <a:ln w="28575">
              <a:gradFill>
                <a:gsLst>
                  <a:gs pos="0">
                    <a:schemeClr val="accent1"/>
                  </a:gs>
                  <a:gs pos="100000">
                    <a:schemeClr val="accent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08" name="椭圆 107">
              <a:extLst>
                <a:ext uri="{FF2B5EF4-FFF2-40B4-BE49-F238E27FC236}">
                  <a16:creationId xmlns:a16="http://schemas.microsoft.com/office/drawing/2014/main" id="{FA4DEB27-4CE7-4111-BB83-ACF827E235B3}"/>
                </a:ext>
              </a:extLst>
            </p:cNvPr>
            <p:cNvSpPr/>
            <p:nvPr/>
          </p:nvSpPr>
          <p:spPr>
            <a:xfrm>
              <a:off x="912698" y="2181563"/>
              <a:ext cx="128588" cy="128588"/>
            </a:xfrm>
            <a:prstGeom prst="ellipse">
              <a:avLst/>
            </a:prstGeom>
            <a:solidFill>
              <a:schemeClr val="accent1"/>
            </a:solidFill>
            <a:ln>
              <a:noFill/>
            </a:ln>
            <a:effectLst>
              <a:outerShdw sx="154000" sy="154000" algn="ctr" rotWithShape="0">
                <a:schemeClr val="accent1">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109" name="文本框 108">
              <a:extLst>
                <a:ext uri="{FF2B5EF4-FFF2-40B4-BE49-F238E27FC236}">
                  <a16:creationId xmlns:a16="http://schemas.microsoft.com/office/drawing/2014/main" id="{28E710A1-A2A0-4228-BCD8-FF34CD52DBC0}"/>
                </a:ext>
              </a:extLst>
            </p:cNvPr>
            <p:cNvSpPr txBox="1"/>
            <p:nvPr/>
          </p:nvSpPr>
          <p:spPr>
            <a:xfrm>
              <a:off x="1191687" y="2121187"/>
              <a:ext cx="714939" cy="307777"/>
            </a:xfrm>
            <a:prstGeom prst="rect">
              <a:avLst/>
            </a:prstGeom>
            <a:noFill/>
          </p:spPr>
          <p:txBody>
            <a:bodyPr wrap="none" lIns="0" tIns="0" rIns="0" bIns="0" rtlCol="0" anchor="t">
              <a:spAutoFit/>
            </a:bodyPr>
            <a:lstStyle/>
            <a:p>
              <a:r>
                <a:rPr lang="en-US" altLang="zh-CN" sz="2000" dirty="0">
                  <a:solidFill>
                    <a:schemeClr val="accent1"/>
                  </a:solidFill>
                  <a:latin typeface="+mj-ea"/>
                  <a:ea typeface="+mj-ea"/>
                </a:rPr>
                <a:t>20XX</a:t>
              </a:r>
              <a:endParaRPr lang="zh-CN" altLang="en-US" sz="2000" dirty="0">
                <a:solidFill>
                  <a:schemeClr val="accent1"/>
                </a:solidFill>
                <a:latin typeface="+mj-ea"/>
                <a:ea typeface="+mj-ea"/>
              </a:endParaRPr>
            </a:p>
          </p:txBody>
        </p:sp>
        <p:sp>
          <p:nvSpPr>
            <p:cNvPr id="110" name="文本框 109">
              <a:extLst>
                <a:ext uri="{FF2B5EF4-FFF2-40B4-BE49-F238E27FC236}">
                  <a16:creationId xmlns:a16="http://schemas.microsoft.com/office/drawing/2014/main" id="{92E7BDA8-765B-4841-B792-C5DF1C9042B9}"/>
                </a:ext>
              </a:extLst>
            </p:cNvPr>
            <p:cNvSpPr txBox="1"/>
            <p:nvPr/>
          </p:nvSpPr>
          <p:spPr>
            <a:xfrm>
              <a:off x="1110724" y="2396620"/>
              <a:ext cx="1692961" cy="769441"/>
            </a:xfrm>
            <a:prstGeom prst="rect">
              <a:avLst/>
            </a:prstGeom>
            <a:noFill/>
          </p:spPr>
          <p:txBody>
            <a:bodyPr wrap="square" rtlCol="0">
              <a:spAutoFit/>
            </a:bodyPr>
            <a:lstStyle/>
            <a:p>
              <a:r>
                <a:rPr lang="en-US" altLang="zh-CN" sz="1100" dirty="0">
                  <a:solidFill>
                    <a:schemeClr val="accent1"/>
                  </a:solidFill>
                </a:rPr>
                <a:t>Lorem ipsum dolor sit amet consectetur adipisicing elit sed do eiusmod tempor</a:t>
              </a:r>
              <a:endParaRPr lang="zh-CN" altLang="en-US" sz="1100" dirty="0">
                <a:solidFill>
                  <a:schemeClr val="accent1"/>
                </a:solidFill>
              </a:endParaRPr>
            </a:p>
          </p:txBody>
        </p:sp>
      </p:grpSp>
      <p:grpSp>
        <p:nvGrpSpPr>
          <p:cNvPr id="111" name="组合 110">
            <a:extLst>
              <a:ext uri="{FF2B5EF4-FFF2-40B4-BE49-F238E27FC236}">
                <a16:creationId xmlns:a16="http://schemas.microsoft.com/office/drawing/2014/main" id="{CA0F86EC-642B-4D89-9162-C8AB705C1FB3}"/>
              </a:ext>
            </a:extLst>
          </p:cNvPr>
          <p:cNvGrpSpPr/>
          <p:nvPr/>
        </p:nvGrpSpPr>
        <p:grpSpPr>
          <a:xfrm>
            <a:off x="7775635" y="1769051"/>
            <a:ext cx="1890987" cy="2718415"/>
            <a:chOff x="912698" y="2121187"/>
            <a:chExt cx="1890987" cy="2718415"/>
          </a:xfrm>
        </p:grpSpPr>
        <p:cxnSp>
          <p:nvCxnSpPr>
            <p:cNvPr id="112" name="直接连接符 111">
              <a:extLst>
                <a:ext uri="{FF2B5EF4-FFF2-40B4-BE49-F238E27FC236}">
                  <a16:creationId xmlns:a16="http://schemas.microsoft.com/office/drawing/2014/main" id="{542C0C0E-A2D5-4ADB-BF9A-87CA781718C9}"/>
                </a:ext>
              </a:extLst>
            </p:cNvPr>
            <p:cNvCxnSpPr>
              <a:cxnSpLocks/>
            </p:cNvCxnSpPr>
            <p:nvPr/>
          </p:nvCxnSpPr>
          <p:spPr>
            <a:xfrm>
              <a:off x="976992" y="2282372"/>
              <a:ext cx="0" cy="2557230"/>
            </a:xfrm>
            <a:prstGeom prst="line">
              <a:avLst/>
            </a:prstGeom>
            <a:ln w="28575">
              <a:gradFill>
                <a:gsLst>
                  <a:gs pos="0">
                    <a:schemeClr val="accent1"/>
                  </a:gs>
                  <a:gs pos="100000">
                    <a:schemeClr val="accent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13" name="椭圆 112">
              <a:extLst>
                <a:ext uri="{FF2B5EF4-FFF2-40B4-BE49-F238E27FC236}">
                  <a16:creationId xmlns:a16="http://schemas.microsoft.com/office/drawing/2014/main" id="{D45318C0-E4C3-44F4-8746-2C93E4FBF204}"/>
                </a:ext>
              </a:extLst>
            </p:cNvPr>
            <p:cNvSpPr/>
            <p:nvPr/>
          </p:nvSpPr>
          <p:spPr>
            <a:xfrm>
              <a:off x="912698" y="2181563"/>
              <a:ext cx="128588" cy="128588"/>
            </a:xfrm>
            <a:prstGeom prst="ellipse">
              <a:avLst/>
            </a:prstGeom>
            <a:solidFill>
              <a:schemeClr val="accent1"/>
            </a:solidFill>
            <a:ln>
              <a:noFill/>
            </a:ln>
            <a:effectLst>
              <a:outerShdw sx="154000" sy="154000" algn="ctr" rotWithShape="0">
                <a:schemeClr val="accent1">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114" name="文本框 113">
              <a:extLst>
                <a:ext uri="{FF2B5EF4-FFF2-40B4-BE49-F238E27FC236}">
                  <a16:creationId xmlns:a16="http://schemas.microsoft.com/office/drawing/2014/main" id="{F48F3BFF-89A0-4A68-A99A-7E70BF5B7AD7}"/>
                </a:ext>
              </a:extLst>
            </p:cNvPr>
            <p:cNvSpPr txBox="1"/>
            <p:nvPr/>
          </p:nvSpPr>
          <p:spPr>
            <a:xfrm>
              <a:off x="1191687" y="2121187"/>
              <a:ext cx="714939" cy="307777"/>
            </a:xfrm>
            <a:prstGeom prst="rect">
              <a:avLst/>
            </a:prstGeom>
            <a:noFill/>
          </p:spPr>
          <p:txBody>
            <a:bodyPr wrap="none" lIns="0" tIns="0" rIns="0" bIns="0" rtlCol="0" anchor="t">
              <a:spAutoFit/>
            </a:bodyPr>
            <a:lstStyle/>
            <a:p>
              <a:r>
                <a:rPr lang="en-US" altLang="zh-CN" sz="2000" dirty="0">
                  <a:solidFill>
                    <a:schemeClr val="accent1"/>
                  </a:solidFill>
                  <a:latin typeface="+mj-ea"/>
                  <a:ea typeface="+mj-ea"/>
                </a:rPr>
                <a:t>20XX</a:t>
              </a:r>
              <a:endParaRPr lang="zh-CN" altLang="en-US" sz="2000" dirty="0">
                <a:solidFill>
                  <a:schemeClr val="accent1"/>
                </a:solidFill>
                <a:latin typeface="+mj-ea"/>
                <a:ea typeface="+mj-ea"/>
              </a:endParaRPr>
            </a:p>
          </p:txBody>
        </p:sp>
        <p:sp>
          <p:nvSpPr>
            <p:cNvPr id="115" name="文本框 114">
              <a:extLst>
                <a:ext uri="{FF2B5EF4-FFF2-40B4-BE49-F238E27FC236}">
                  <a16:creationId xmlns:a16="http://schemas.microsoft.com/office/drawing/2014/main" id="{C58718E5-3AF5-4B0D-B3A5-D612A047AB26}"/>
                </a:ext>
              </a:extLst>
            </p:cNvPr>
            <p:cNvSpPr txBox="1"/>
            <p:nvPr/>
          </p:nvSpPr>
          <p:spPr>
            <a:xfrm>
              <a:off x="1110724" y="2396620"/>
              <a:ext cx="1692961" cy="769441"/>
            </a:xfrm>
            <a:prstGeom prst="rect">
              <a:avLst/>
            </a:prstGeom>
            <a:noFill/>
          </p:spPr>
          <p:txBody>
            <a:bodyPr wrap="square" rtlCol="0">
              <a:spAutoFit/>
            </a:bodyPr>
            <a:lstStyle/>
            <a:p>
              <a:r>
                <a:rPr lang="en-US" altLang="zh-CN" sz="1100" dirty="0">
                  <a:solidFill>
                    <a:schemeClr val="accent1"/>
                  </a:solidFill>
                </a:rPr>
                <a:t>Lorem ipsum dolor sit amet consectetur adipisicing elit sed do eiusmod tempor</a:t>
              </a:r>
              <a:endParaRPr lang="zh-CN" altLang="en-US" sz="1100" dirty="0">
                <a:solidFill>
                  <a:schemeClr val="accent1"/>
                </a:solidFill>
              </a:endParaRPr>
            </a:p>
          </p:txBody>
        </p:sp>
      </p:grpSp>
      <p:grpSp>
        <p:nvGrpSpPr>
          <p:cNvPr id="116" name="组合 115">
            <a:extLst>
              <a:ext uri="{FF2B5EF4-FFF2-40B4-BE49-F238E27FC236}">
                <a16:creationId xmlns:a16="http://schemas.microsoft.com/office/drawing/2014/main" id="{F3C0F19E-4433-49ED-A67E-F898A3C56163}"/>
              </a:ext>
            </a:extLst>
          </p:cNvPr>
          <p:cNvGrpSpPr/>
          <p:nvPr/>
        </p:nvGrpSpPr>
        <p:grpSpPr>
          <a:xfrm>
            <a:off x="10067391" y="819567"/>
            <a:ext cx="1890987" cy="2103149"/>
            <a:chOff x="912698" y="2121187"/>
            <a:chExt cx="1890987" cy="2103149"/>
          </a:xfrm>
        </p:grpSpPr>
        <p:cxnSp>
          <p:nvCxnSpPr>
            <p:cNvPr id="117" name="直接连接符 116">
              <a:extLst>
                <a:ext uri="{FF2B5EF4-FFF2-40B4-BE49-F238E27FC236}">
                  <a16:creationId xmlns:a16="http://schemas.microsoft.com/office/drawing/2014/main" id="{DA8E77A8-0153-4066-B548-4EEB545C961C}"/>
                </a:ext>
              </a:extLst>
            </p:cNvPr>
            <p:cNvCxnSpPr>
              <a:cxnSpLocks/>
            </p:cNvCxnSpPr>
            <p:nvPr/>
          </p:nvCxnSpPr>
          <p:spPr>
            <a:xfrm>
              <a:off x="976992" y="2282372"/>
              <a:ext cx="0" cy="1941964"/>
            </a:xfrm>
            <a:prstGeom prst="line">
              <a:avLst/>
            </a:prstGeom>
            <a:ln w="28575">
              <a:gradFill>
                <a:gsLst>
                  <a:gs pos="0">
                    <a:schemeClr val="accent1"/>
                  </a:gs>
                  <a:gs pos="100000">
                    <a:schemeClr val="accent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18" name="椭圆 117">
              <a:extLst>
                <a:ext uri="{FF2B5EF4-FFF2-40B4-BE49-F238E27FC236}">
                  <a16:creationId xmlns:a16="http://schemas.microsoft.com/office/drawing/2014/main" id="{A1931192-5F64-4266-8BBE-8072ED36C5A7}"/>
                </a:ext>
              </a:extLst>
            </p:cNvPr>
            <p:cNvSpPr/>
            <p:nvPr/>
          </p:nvSpPr>
          <p:spPr>
            <a:xfrm>
              <a:off x="912698" y="2181563"/>
              <a:ext cx="128588" cy="128588"/>
            </a:xfrm>
            <a:prstGeom prst="ellipse">
              <a:avLst/>
            </a:prstGeom>
            <a:solidFill>
              <a:schemeClr val="accent1"/>
            </a:solidFill>
            <a:ln>
              <a:noFill/>
            </a:ln>
            <a:effectLst>
              <a:outerShdw sx="154000" sy="154000" algn="ctr" rotWithShape="0">
                <a:schemeClr val="accent1">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119" name="文本框 118">
              <a:extLst>
                <a:ext uri="{FF2B5EF4-FFF2-40B4-BE49-F238E27FC236}">
                  <a16:creationId xmlns:a16="http://schemas.microsoft.com/office/drawing/2014/main" id="{D2916FBF-BBA3-42CE-82CD-414F9BCAF313}"/>
                </a:ext>
              </a:extLst>
            </p:cNvPr>
            <p:cNvSpPr txBox="1"/>
            <p:nvPr/>
          </p:nvSpPr>
          <p:spPr>
            <a:xfrm>
              <a:off x="1191687" y="2121187"/>
              <a:ext cx="714939" cy="307777"/>
            </a:xfrm>
            <a:prstGeom prst="rect">
              <a:avLst/>
            </a:prstGeom>
            <a:noFill/>
          </p:spPr>
          <p:txBody>
            <a:bodyPr wrap="none" lIns="0" tIns="0" rIns="0" bIns="0" rtlCol="0" anchor="t">
              <a:spAutoFit/>
            </a:bodyPr>
            <a:lstStyle/>
            <a:p>
              <a:r>
                <a:rPr lang="en-US" altLang="zh-CN" sz="2000" dirty="0">
                  <a:solidFill>
                    <a:schemeClr val="accent1"/>
                  </a:solidFill>
                  <a:latin typeface="+mj-ea"/>
                  <a:ea typeface="+mj-ea"/>
                </a:rPr>
                <a:t>20XX</a:t>
              </a:r>
              <a:endParaRPr lang="zh-CN" altLang="en-US" sz="2000" dirty="0">
                <a:solidFill>
                  <a:schemeClr val="accent1"/>
                </a:solidFill>
                <a:latin typeface="+mj-ea"/>
                <a:ea typeface="+mj-ea"/>
              </a:endParaRPr>
            </a:p>
          </p:txBody>
        </p:sp>
        <p:sp>
          <p:nvSpPr>
            <p:cNvPr id="120" name="文本框 119">
              <a:extLst>
                <a:ext uri="{FF2B5EF4-FFF2-40B4-BE49-F238E27FC236}">
                  <a16:creationId xmlns:a16="http://schemas.microsoft.com/office/drawing/2014/main" id="{BF5FC7B2-E9AC-403F-B7F3-827216B62BB7}"/>
                </a:ext>
              </a:extLst>
            </p:cNvPr>
            <p:cNvSpPr txBox="1"/>
            <p:nvPr/>
          </p:nvSpPr>
          <p:spPr>
            <a:xfrm>
              <a:off x="1110724" y="2396620"/>
              <a:ext cx="1692961" cy="769441"/>
            </a:xfrm>
            <a:prstGeom prst="rect">
              <a:avLst/>
            </a:prstGeom>
            <a:noFill/>
          </p:spPr>
          <p:txBody>
            <a:bodyPr wrap="square" rtlCol="0">
              <a:spAutoFit/>
            </a:bodyPr>
            <a:lstStyle/>
            <a:p>
              <a:r>
                <a:rPr lang="en-US" altLang="zh-CN" sz="1100" dirty="0">
                  <a:solidFill>
                    <a:schemeClr val="accent1"/>
                  </a:solidFill>
                </a:rPr>
                <a:t>Lorem ipsum dolor sit amet consectetur adipisicing elit sed do eiusmod tempor</a:t>
              </a:r>
              <a:endParaRPr lang="zh-CN" altLang="en-US" sz="1100" dirty="0">
                <a:solidFill>
                  <a:schemeClr val="accent1"/>
                </a:solidFill>
              </a:endParaRPr>
            </a:p>
          </p:txBody>
        </p:sp>
      </p:grpSp>
    </p:spTree>
    <p:extLst>
      <p:ext uri="{BB962C8B-B14F-4D97-AF65-F5344CB8AC3E}">
        <p14:creationId xmlns:p14="http://schemas.microsoft.com/office/powerpoint/2010/main" val="2474139969"/>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3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直接连接符 3">
            <a:extLst>
              <a:ext uri="{FF2B5EF4-FFF2-40B4-BE49-F238E27FC236}">
                <a16:creationId xmlns:a16="http://schemas.microsoft.com/office/drawing/2014/main" id="{D737CCCE-F3FD-437A-B3B2-372757B57BEC}"/>
              </a:ext>
            </a:extLst>
          </p:cNvPr>
          <p:cNvCxnSpPr/>
          <p:nvPr/>
        </p:nvCxnSpPr>
        <p:spPr>
          <a:xfrm>
            <a:off x="457200" y="3644900"/>
            <a:ext cx="11290300" cy="0"/>
          </a:xfrm>
          <a:prstGeom prst="line">
            <a:avLst/>
          </a:prstGeom>
          <a:ln w="28575">
            <a:headEnd type="oval"/>
            <a:tailEnd type="oval"/>
          </a:ln>
        </p:spPr>
        <p:style>
          <a:lnRef idx="1">
            <a:schemeClr val="accent1"/>
          </a:lnRef>
          <a:fillRef idx="0">
            <a:schemeClr val="accent1"/>
          </a:fillRef>
          <a:effectRef idx="0">
            <a:schemeClr val="accent1"/>
          </a:effectRef>
          <a:fontRef idx="minor">
            <a:schemeClr val="tx1"/>
          </a:fontRef>
        </p:style>
      </p:cxnSp>
      <p:sp>
        <p:nvSpPr>
          <p:cNvPr id="2" name="椭圆 1">
            <a:extLst>
              <a:ext uri="{FF2B5EF4-FFF2-40B4-BE49-F238E27FC236}">
                <a16:creationId xmlns:a16="http://schemas.microsoft.com/office/drawing/2014/main" id="{7AB6EA5E-4DCF-4D69-93F9-F991225F4233}"/>
              </a:ext>
            </a:extLst>
          </p:cNvPr>
          <p:cNvSpPr/>
          <p:nvPr/>
        </p:nvSpPr>
        <p:spPr>
          <a:xfrm>
            <a:off x="1079500" y="2971800"/>
            <a:ext cx="1270000" cy="1270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dirty="0">
              <a:solidFill>
                <a:schemeClr val="bg1"/>
              </a:solidFill>
              <a:latin typeface="+mj-ea"/>
              <a:ea typeface="+mj-ea"/>
            </a:endParaRPr>
          </a:p>
        </p:txBody>
      </p:sp>
      <p:sp>
        <p:nvSpPr>
          <p:cNvPr id="31" name="椭圆 30">
            <a:extLst>
              <a:ext uri="{FF2B5EF4-FFF2-40B4-BE49-F238E27FC236}">
                <a16:creationId xmlns:a16="http://schemas.microsoft.com/office/drawing/2014/main" id="{10067569-E3B5-4FDA-B723-99FCE4F09812}"/>
              </a:ext>
            </a:extLst>
          </p:cNvPr>
          <p:cNvSpPr/>
          <p:nvPr/>
        </p:nvSpPr>
        <p:spPr>
          <a:xfrm>
            <a:off x="2489200" y="2616200"/>
            <a:ext cx="1981200" cy="19812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dirty="0">
              <a:solidFill>
                <a:schemeClr val="bg1"/>
              </a:solidFill>
              <a:latin typeface="+mj-ea"/>
              <a:ea typeface="+mj-ea"/>
            </a:endParaRPr>
          </a:p>
        </p:txBody>
      </p:sp>
      <p:sp>
        <p:nvSpPr>
          <p:cNvPr id="32" name="椭圆 31">
            <a:extLst>
              <a:ext uri="{FF2B5EF4-FFF2-40B4-BE49-F238E27FC236}">
                <a16:creationId xmlns:a16="http://schemas.microsoft.com/office/drawing/2014/main" id="{C9A61332-B8A6-4FF9-BBF6-9C8A584C5A06}"/>
              </a:ext>
            </a:extLst>
          </p:cNvPr>
          <p:cNvSpPr/>
          <p:nvPr/>
        </p:nvSpPr>
        <p:spPr>
          <a:xfrm>
            <a:off x="4610100" y="2120900"/>
            <a:ext cx="2971800" cy="29718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3600" dirty="0">
              <a:solidFill>
                <a:schemeClr val="bg1"/>
              </a:solidFill>
              <a:latin typeface="+mj-ea"/>
              <a:ea typeface="+mj-ea"/>
            </a:endParaRPr>
          </a:p>
        </p:txBody>
      </p:sp>
      <p:sp>
        <p:nvSpPr>
          <p:cNvPr id="33" name="椭圆 32">
            <a:extLst>
              <a:ext uri="{FF2B5EF4-FFF2-40B4-BE49-F238E27FC236}">
                <a16:creationId xmlns:a16="http://schemas.microsoft.com/office/drawing/2014/main" id="{BA8221DE-9E41-48E5-BA7C-16D77E03B69F}"/>
              </a:ext>
            </a:extLst>
          </p:cNvPr>
          <p:cNvSpPr/>
          <p:nvPr/>
        </p:nvSpPr>
        <p:spPr>
          <a:xfrm>
            <a:off x="7721600" y="2870200"/>
            <a:ext cx="1473200" cy="14732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dirty="0">
              <a:solidFill>
                <a:schemeClr val="bg1"/>
              </a:solidFill>
              <a:latin typeface="+mj-ea"/>
              <a:ea typeface="+mj-ea"/>
            </a:endParaRPr>
          </a:p>
        </p:txBody>
      </p:sp>
      <p:sp>
        <p:nvSpPr>
          <p:cNvPr id="34" name="椭圆 33">
            <a:extLst>
              <a:ext uri="{FF2B5EF4-FFF2-40B4-BE49-F238E27FC236}">
                <a16:creationId xmlns:a16="http://schemas.microsoft.com/office/drawing/2014/main" id="{2A20C26C-95E6-4A56-9239-959AB3DFBD2C}"/>
              </a:ext>
            </a:extLst>
          </p:cNvPr>
          <p:cNvSpPr/>
          <p:nvPr/>
        </p:nvSpPr>
        <p:spPr>
          <a:xfrm>
            <a:off x="9334500" y="2667000"/>
            <a:ext cx="1879600" cy="18796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800" dirty="0">
              <a:solidFill>
                <a:schemeClr val="bg1"/>
              </a:solidFill>
              <a:latin typeface="+mj-ea"/>
              <a:ea typeface="+mj-ea"/>
            </a:endParaRPr>
          </a:p>
        </p:txBody>
      </p:sp>
      <p:grpSp>
        <p:nvGrpSpPr>
          <p:cNvPr id="6" name="组合 5">
            <a:extLst>
              <a:ext uri="{FF2B5EF4-FFF2-40B4-BE49-F238E27FC236}">
                <a16:creationId xmlns:a16="http://schemas.microsoft.com/office/drawing/2014/main" id="{24D1BB38-1777-4A39-A493-06597148606F}"/>
              </a:ext>
            </a:extLst>
          </p:cNvPr>
          <p:cNvGrpSpPr/>
          <p:nvPr/>
        </p:nvGrpSpPr>
        <p:grpSpPr>
          <a:xfrm>
            <a:off x="1368249" y="3321050"/>
            <a:ext cx="692497" cy="570299"/>
            <a:chOff x="1368249" y="3321050"/>
            <a:chExt cx="692497" cy="570299"/>
          </a:xfrm>
        </p:grpSpPr>
        <p:sp>
          <p:nvSpPr>
            <p:cNvPr id="5" name="文本框 4">
              <a:extLst>
                <a:ext uri="{FF2B5EF4-FFF2-40B4-BE49-F238E27FC236}">
                  <a16:creationId xmlns:a16="http://schemas.microsoft.com/office/drawing/2014/main" id="{ED8C58B7-226E-4F01-A143-E5EA51E8ADC8}"/>
                </a:ext>
              </a:extLst>
            </p:cNvPr>
            <p:cNvSpPr txBox="1"/>
            <p:nvPr/>
          </p:nvSpPr>
          <p:spPr>
            <a:xfrm>
              <a:off x="1392296" y="3321050"/>
              <a:ext cx="644407" cy="276999"/>
            </a:xfrm>
            <a:prstGeom prst="rect">
              <a:avLst/>
            </a:prstGeom>
            <a:noFill/>
          </p:spPr>
          <p:txBody>
            <a:bodyPr wrap="none" lIns="0" tIns="0" rIns="0" bIns="0" rtlCol="0" anchor="t">
              <a:spAutoFit/>
            </a:bodyPr>
            <a:lstStyle/>
            <a:p>
              <a:pPr algn="ctr"/>
              <a:r>
                <a:rPr lang="en-US" altLang="zh-CN" dirty="0">
                  <a:solidFill>
                    <a:schemeClr val="bg1"/>
                  </a:solidFill>
                  <a:latin typeface="+mj-ea"/>
                  <a:ea typeface="+mj-ea"/>
                </a:rPr>
                <a:t>20XX</a:t>
              </a:r>
              <a:endParaRPr lang="zh-CN" altLang="en-US" dirty="0">
                <a:solidFill>
                  <a:schemeClr val="bg1"/>
                </a:solidFill>
                <a:latin typeface="+mj-ea"/>
                <a:ea typeface="+mj-ea"/>
              </a:endParaRPr>
            </a:p>
          </p:txBody>
        </p:sp>
        <p:sp>
          <p:nvSpPr>
            <p:cNvPr id="43" name="文本框 42">
              <a:extLst>
                <a:ext uri="{FF2B5EF4-FFF2-40B4-BE49-F238E27FC236}">
                  <a16:creationId xmlns:a16="http://schemas.microsoft.com/office/drawing/2014/main" id="{5B9570D7-8F41-44D2-AB7C-A46C2E0DDE21}"/>
                </a:ext>
              </a:extLst>
            </p:cNvPr>
            <p:cNvSpPr txBox="1"/>
            <p:nvPr/>
          </p:nvSpPr>
          <p:spPr>
            <a:xfrm>
              <a:off x="1368249" y="3614350"/>
              <a:ext cx="692497" cy="276999"/>
            </a:xfrm>
            <a:prstGeom prst="rect">
              <a:avLst/>
            </a:prstGeom>
            <a:noFill/>
          </p:spPr>
          <p:txBody>
            <a:bodyPr wrap="none" lIns="0" tIns="0" rIns="0" bIns="0" rtlCol="0" anchor="t">
              <a:spAutoFit/>
            </a:bodyPr>
            <a:lstStyle/>
            <a:p>
              <a:pPr algn="ctr"/>
              <a:r>
                <a:rPr lang="zh-CN" altLang="en-US" dirty="0">
                  <a:solidFill>
                    <a:schemeClr val="bg1"/>
                  </a:solidFill>
                  <a:latin typeface="+mj-ea"/>
                  <a:ea typeface="+mj-ea"/>
                </a:rPr>
                <a:t>关键词</a:t>
              </a:r>
            </a:p>
          </p:txBody>
        </p:sp>
      </p:grpSp>
      <p:grpSp>
        <p:nvGrpSpPr>
          <p:cNvPr id="45" name="组合 44">
            <a:extLst>
              <a:ext uri="{FF2B5EF4-FFF2-40B4-BE49-F238E27FC236}">
                <a16:creationId xmlns:a16="http://schemas.microsoft.com/office/drawing/2014/main" id="{0F8B22C4-19FC-44E2-ACE0-40CA2D170858}"/>
              </a:ext>
            </a:extLst>
          </p:cNvPr>
          <p:cNvGrpSpPr/>
          <p:nvPr/>
        </p:nvGrpSpPr>
        <p:grpSpPr>
          <a:xfrm>
            <a:off x="3018135" y="3229059"/>
            <a:ext cx="923330" cy="770582"/>
            <a:chOff x="1252833" y="3213100"/>
            <a:chExt cx="923330" cy="770582"/>
          </a:xfrm>
        </p:grpSpPr>
        <p:sp>
          <p:nvSpPr>
            <p:cNvPr id="46" name="文本框 45">
              <a:extLst>
                <a:ext uri="{FF2B5EF4-FFF2-40B4-BE49-F238E27FC236}">
                  <a16:creationId xmlns:a16="http://schemas.microsoft.com/office/drawing/2014/main" id="{1111C5D6-F35A-4C4A-A5C7-9ED56D6CD8E9}"/>
                </a:ext>
              </a:extLst>
            </p:cNvPr>
            <p:cNvSpPr txBox="1"/>
            <p:nvPr/>
          </p:nvSpPr>
          <p:spPr>
            <a:xfrm>
              <a:off x="1284894" y="3213100"/>
              <a:ext cx="859211" cy="369332"/>
            </a:xfrm>
            <a:prstGeom prst="rect">
              <a:avLst/>
            </a:prstGeom>
            <a:noFill/>
          </p:spPr>
          <p:txBody>
            <a:bodyPr wrap="none" lIns="0" tIns="0" rIns="0" bIns="0" rtlCol="0" anchor="t">
              <a:spAutoFit/>
            </a:bodyPr>
            <a:lstStyle/>
            <a:p>
              <a:pPr algn="ctr"/>
              <a:r>
                <a:rPr lang="en-US" altLang="zh-CN" sz="2400" dirty="0">
                  <a:solidFill>
                    <a:schemeClr val="bg1"/>
                  </a:solidFill>
                  <a:latin typeface="+mj-ea"/>
                  <a:ea typeface="+mj-ea"/>
                </a:rPr>
                <a:t>20XX</a:t>
              </a:r>
              <a:endParaRPr lang="zh-CN" altLang="en-US" sz="2400" dirty="0">
                <a:solidFill>
                  <a:schemeClr val="bg1"/>
                </a:solidFill>
                <a:latin typeface="+mj-ea"/>
                <a:ea typeface="+mj-ea"/>
              </a:endParaRPr>
            </a:p>
          </p:txBody>
        </p:sp>
        <p:sp>
          <p:nvSpPr>
            <p:cNvPr id="47" name="文本框 46">
              <a:extLst>
                <a:ext uri="{FF2B5EF4-FFF2-40B4-BE49-F238E27FC236}">
                  <a16:creationId xmlns:a16="http://schemas.microsoft.com/office/drawing/2014/main" id="{B255794E-EDD6-43CE-87E8-D8B8D5EFE6FF}"/>
                </a:ext>
              </a:extLst>
            </p:cNvPr>
            <p:cNvSpPr txBox="1"/>
            <p:nvPr/>
          </p:nvSpPr>
          <p:spPr>
            <a:xfrm>
              <a:off x="1252833" y="3614350"/>
              <a:ext cx="923330" cy="369332"/>
            </a:xfrm>
            <a:prstGeom prst="rect">
              <a:avLst/>
            </a:prstGeom>
            <a:noFill/>
          </p:spPr>
          <p:txBody>
            <a:bodyPr wrap="none" lIns="0" tIns="0" rIns="0" bIns="0" rtlCol="0" anchor="t">
              <a:spAutoFit/>
            </a:bodyPr>
            <a:lstStyle/>
            <a:p>
              <a:pPr algn="ctr"/>
              <a:r>
                <a:rPr lang="zh-CN" altLang="en-US" sz="2400" dirty="0">
                  <a:solidFill>
                    <a:schemeClr val="bg1"/>
                  </a:solidFill>
                  <a:latin typeface="+mj-ea"/>
                  <a:ea typeface="+mj-ea"/>
                </a:rPr>
                <a:t>关键词</a:t>
              </a:r>
            </a:p>
          </p:txBody>
        </p:sp>
      </p:grpSp>
      <p:grpSp>
        <p:nvGrpSpPr>
          <p:cNvPr id="48" name="组合 47">
            <a:extLst>
              <a:ext uri="{FF2B5EF4-FFF2-40B4-BE49-F238E27FC236}">
                <a16:creationId xmlns:a16="http://schemas.microsoft.com/office/drawing/2014/main" id="{41E199AF-4BD1-4792-A049-D976C82A3CA2}"/>
              </a:ext>
            </a:extLst>
          </p:cNvPr>
          <p:cNvGrpSpPr/>
          <p:nvPr/>
        </p:nvGrpSpPr>
        <p:grpSpPr>
          <a:xfrm>
            <a:off x="5403503" y="3044051"/>
            <a:ext cx="1384995" cy="1107996"/>
            <a:chOff x="1022001" y="3060352"/>
            <a:chExt cx="1384995" cy="1107996"/>
          </a:xfrm>
        </p:grpSpPr>
        <p:sp>
          <p:nvSpPr>
            <p:cNvPr id="49" name="文本框 48">
              <a:extLst>
                <a:ext uri="{FF2B5EF4-FFF2-40B4-BE49-F238E27FC236}">
                  <a16:creationId xmlns:a16="http://schemas.microsoft.com/office/drawing/2014/main" id="{B4281CAF-F317-46C0-A790-CE4B3DC11349}"/>
                </a:ext>
              </a:extLst>
            </p:cNvPr>
            <p:cNvSpPr txBox="1"/>
            <p:nvPr/>
          </p:nvSpPr>
          <p:spPr>
            <a:xfrm>
              <a:off x="1068490" y="3060352"/>
              <a:ext cx="1292021" cy="553998"/>
            </a:xfrm>
            <a:prstGeom prst="rect">
              <a:avLst/>
            </a:prstGeom>
            <a:noFill/>
          </p:spPr>
          <p:txBody>
            <a:bodyPr wrap="none" lIns="0" tIns="0" rIns="0" bIns="0" rtlCol="0" anchor="t">
              <a:spAutoFit/>
            </a:bodyPr>
            <a:lstStyle/>
            <a:p>
              <a:pPr algn="ctr"/>
              <a:r>
                <a:rPr lang="en-US" altLang="zh-CN" sz="3600" dirty="0">
                  <a:solidFill>
                    <a:schemeClr val="bg1"/>
                  </a:solidFill>
                  <a:latin typeface="+mj-ea"/>
                  <a:ea typeface="+mj-ea"/>
                </a:rPr>
                <a:t>20XX</a:t>
              </a:r>
              <a:endParaRPr lang="zh-CN" altLang="en-US" sz="3600" dirty="0">
                <a:solidFill>
                  <a:schemeClr val="bg1"/>
                </a:solidFill>
                <a:latin typeface="+mj-ea"/>
                <a:ea typeface="+mj-ea"/>
              </a:endParaRPr>
            </a:p>
          </p:txBody>
        </p:sp>
        <p:sp>
          <p:nvSpPr>
            <p:cNvPr id="50" name="文本框 49">
              <a:extLst>
                <a:ext uri="{FF2B5EF4-FFF2-40B4-BE49-F238E27FC236}">
                  <a16:creationId xmlns:a16="http://schemas.microsoft.com/office/drawing/2014/main" id="{C536F74E-11F4-404B-A50E-E896E4C9982C}"/>
                </a:ext>
              </a:extLst>
            </p:cNvPr>
            <p:cNvSpPr txBox="1"/>
            <p:nvPr/>
          </p:nvSpPr>
          <p:spPr>
            <a:xfrm>
              <a:off x="1022001" y="3614350"/>
              <a:ext cx="1384995" cy="553998"/>
            </a:xfrm>
            <a:prstGeom prst="rect">
              <a:avLst/>
            </a:prstGeom>
            <a:noFill/>
          </p:spPr>
          <p:txBody>
            <a:bodyPr wrap="none" lIns="0" tIns="0" rIns="0" bIns="0" rtlCol="0" anchor="t">
              <a:spAutoFit/>
            </a:bodyPr>
            <a:lstStyle/>
            <a:p>
              <a:pPr algn="ctr"/>
              <a:r>
                <a:rPr lang="zh-CN" altLang="en-US" sz="3600" dirty="0">
                  <a:solidFill>
                    <a:schemeClr val="bg1"/>
                  </a:solidFill>
                  <a:latin typeface="+mj-ea"/>
                  <a:ea typeface="+mj-ea"/>
                </a:rPr>
                <a:t>关键词</a:t>
              </a:r>
            </a:p>
          </p:txBody>
        </p:sp>
      </p:grpSp>
      <p:grpSp>
        <p:nvGrpSpPr>
          <p:cNvPr id="51" name="组合 50">
            <a:extLst>
              <a:ext uri="{FF2B5EF4-FFF2-40B4-BE49-F238E27FC236}">
                <a16:creationId xmlns:a16="http://schemas.microsoft.com/office/drawing/2014/main" id="{306EB7C5-1AAE-4111-8964-3D31E79AC9A2}"/>
              </a:ext>
            </a:extLst>
          </p:cNvPr>
          <p:cNvGrpSpPr/>
          <p:nvPr/>
        </p:nvGrpSpPr>
        <p:grpSpPr>
          <a:xfrm>
            <a:off x="8111951" y="3321050"/>
            <a:ext cx="692497" cy="570299"/>
            <a:chOff x="1368249" y="3321050"/>
            <a:chExt cx="692497" cy="570299"/>
          </a:xfrm>
        </p:grpSpPr>
        <p:sp>
          <p:nvSpPr>
            <p:cNvPr id="52" name="文本框 51">
              <a:extLst>
                <a:ext uri="{FF2B5EF4-FFF2-40B4-BE49-F238E27FC236}">
                  <a16:creationId xmlns:a16="http://schemas.microsoft.com/office/drawing/2014/main" id="{0DE89D87-BDB9-418C-843D-C7FFDE539975}"/>
                </a:ext>
              </a:extLst>
            </p:cNvPr>
            <p:cNvSpPr txBox="1"/>
            <p:nvPr/>
          </p:nvSpPr>
          <p:spPr>
            <a:xfrm>
              <a:off x="1392296" y="3321050"/>
              <a:ext cx="644407" cy="276999"/>
            </a:xfrm>
            <a:prstGeom prst="rect">
              <a:avLst/>
            </a:prstGeom>
            <a:noFill/>
          </p:spPr>
          <p:txBody>
            <a:bodyPr wrap="none" lIns="0" tIns="0" rIns="0" bIns="0" rtlCol="0" anchor="t">
              <a:spAutoFit/>
            </a:bodyPr>
            <a:lstStyle/>
            <a:p>
              <a:pPr algn="ctr"/>
              <a:r>
                <a:rPr lang="en-US" altLang="zh-CN" dirty="0">
                  <a:solidFill>
                    <a:schemeClr val="bg1"/>
                  </a:solidFill>
                  <a:latin typeface="+mj-ea"/>
                  <a:ea typeface="+mj-ea"/>
                </a:rPr>
                <a:t>20XX</a:t>
              </a:r>
              <a:endParaRPr lang="zh-CN" altLang="en-US" dirty="0">
                <a:solidFill>
                  <a:schemeClr val="bg1"/>
                </a:solidFill>
                <a:latin typeface="+mj-ea"/>
                <a:ea typeface="+mj-ea"/>
              </a:endParaRPr>
            </a:p>
          </p:txBody>
        </p:sp>
        <p:sp>
          <p:nvSpPr>
            <p:cNvPr id="53" name="文本框 52">
              <a:extLst>
                <a:ext uri="{FF2B5EF4-FFF2-40B4-BE49-F238E27FC236}">
                  <a16:creationId xmlns:a16="http://schemas.microsoft.com/office/drawing/2014/main" id="{D73E40EB-F52F-4AEB-87B1-F10904520A40}"/>
                </a:ext>
              </a:extLst>
            </p:cNvPr>
            <p:cNvSpPr txBox="1"/>
            <p:nvPr/>
          </p:nvSpPr>
          <p:spPr>
            <a:xfrm>
              <a:off x="1368249" y="3614350"/>
              <a:ext cx="692497" cy="276999"/>
            </a:xfrm>
            <a:prstGeom prst="rect">
              <a:avLst/>
            </a:prstGeom>
            <a:noFill/>
          </p:spPr>
          <p:txBody>
            <a:bodyPr wrap="none" lIns="0" tIns="0" rIns="0" bIns="0" rtlCol="0" anchor="t">
              <a:spAutoFit/>
            </a:bodyPr>
            <a:lstStyle/>
            <a:p>
              <a:pPr algn="ctr"/>
              <a:r>
                <a:rPr lang="zh-CN" altLang="en-US" dirty="0">
                  <a:solidFill>
                    <a:schemeClr val="bg1"/>
                  </a:solidFill>
                  <a:latin typeface="+mj-ea"/>
                  <a:ea typeface="+mj-ea"/>
                </a:rPr>
                <a:t>关键词</a:t>
              </a:r>
            </a:p>
          </p:txBody>
        </p:sp>
      </p:grpSp>
      <p:grpSp>
        <p:nvGrpSpPr>
          <p:cNvPr id="54" name="组合 53">
            <a:extLst>
              <a:ext uri="{FF2B5EF4-FFF2-40B4-BE49-F238E27FC236}">
                <a16:creationId xmlns:a16="http://schemas.microsoft.com/office/drawing/2014/main" id="{4A91A344-9928-4A70-B61C-C77217191CC9}"/>
              </a:ext>
            </a:extLst>
          </p:cNvPr>
          <p:cNvGrpSpPr/>
          <p:nvPr/>
        </p:nvGrpSpPr>
        <p:grpSpPr>
          <a:xfrm>
            <a:off x="9812635" y="3214127"/>
            <a:ext cx="923330" cy="769555"/>
            <a:chOff x="1252833" y="3214127"/>
            <a:chExt cx="923330" cy="769555"/>
          </a:xfrm>
        </p:grpSpPr>
        <p:sp>
          <p:nvSpPr>
            <p:cNvPr id="55" name="文本框 54">
              <a:extLst>
                <a:ext uri="{FF2B5EF4-FFF2-40B4-BE49-F238E27FC236}">
                  <a16:creationId xmlns:a16="http://schemas.microsoft.com/office/drawing/2014/main" id="{53C462AF-0FF6-426D-9274-BBC67C09B58F}"/>
                </a:ext>
              </a:extLst>
            </p:cNvPr>
            <p:cNvSpPr txBox="1"/>
            <p:nvPr/>
          </p:nvSpPr>
          <p:spPr>
            <a:xfrm>
              <a:off x="1284895" y="3214127"/>
              <a:ext cx="859210" cy="369332"/>
            </a:xfrm>
            <a:prstGeom prst="rect">
              <a:avLst/>
            </a:prstGeom>
            <a:noFill/>
          </p:spPr>
          <p:txBody>
            <a:bodyPr wrap="none" lIns="0" tIns="0" rIns="0" bIns="0" rtlCol="0" anchor="t">
              <a:spAutoFit/>
            </a:bodyPr>
            <a:lstStyle/>
            <a:p>
              <a:pPr algn="ctr"/>
              <a:r>
                <a:rPr lang="en-US" altLang="zh-CN" sz="2400" dirty="0">
                  <a:solidFill>
                    <a:schemeClr val="bg1"/>
                  </a:solidFill>
                  <a:latin typeface="+mj-ea"/>
                  <a:ea typeface="+mj-ea"/>
                </a:rPr>
                <a:t>20XX</a:t>
              </a:r>
              <a:endParaRPr lang="zh-CN" altLang="en-US" sz="2400" dirty="0">
                <a:solidFill>
                  <a:schemeClr val="bg1"/>
                </a:solidFill>
                <a:latin typeface="+mj-ea"/>
                <a:ea typeface="+mj-ea"/>
              </a:endParaRPr>
            </a:p>
          </p:txBody>
        </p:sp>
        <p:sp>
          <p:nvSpPr>
            <p:cNvPr id="56" name="文本框 55">
              <a:extLst>
                <a:ext uri="{FF2B5EF4-FFF2-40B4-BE49-F238E27FC236}">
                  <a16:creationId xmlns:a16="http://schemas.microsoft.com/office/drawing/2014/main" id="{C16988B5-C10A-45F6-9FF5-E37E6D72E704}"/>
                </a:ext>
              </a:extLst>
            </p:cNvPr>
            <p:cNvSpPr txBox="1"/>
            <p:nvPr/>
          </p:nvSpPr>
          <p:spPr>
            <a:xfrm>
              <a:off x="1252833" y="3614350"/>
              <a:ext cx="923330" cy="369332"/>
            </a:xfrm>
            <a:prstGeom prst="rect">
              <a:avLst/>
            </a:prstGeom>
            <a:noFill/>
          </p:spPr>
          <p:txBody>
            <a:bodyPr wrap="none" lIns="0" tIns="0" rIns="0" bIns="0" rtlCol="0" anchor="t">
              <a:spAutoFit/>
            </a:bodyPr>
            <a:lstStyle/>
            <a:p>
              <a:pPr algn="ctr"/>
              <a:r>
                <a:rPr lang="zh-CN" altLang="en-US" sz="2400" dirty="0">
                  <a:solidFill>
                    <a:schemeClr val="bg1"/>
                  </a:solidFill>
                  <a:latin typeface="+mj-ea"/>
                  <a:ea typeface="+mj-ea"/>
                </a:rPr>
                <a:t>关键词</a:t>
              </a:r>
            </a:p>
          </p:txBody>
        </p:sp>
      </p:grpSp>
    </p:spTree>
    <p:extLst>
      <p:ext uri="{BB962C8B-B14F-4D97-AF65-F5344CB8AC3E}">
        <p14:creationId xmlns:p14="http://schemas.microsoft.com/office/powerpoint/2010/main" val="726179924"/>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文本框 21">
            <a:extLst>
              <a:ext uri="{FF2B5EF4-FFF2-40B4-BE49-F238E27FC236}">
                <a16:creationId xmlns:a16="http://schemas.microsoft.com/office/drawing/2014/main" id="{6660A572-6294-45C7-A707-AFDB73C6B106}"/>
              </a:ext>
            </a:extLst>
          </p:cNvPr>
          <p:cNvSpPr txBox="1"/>
          <p:nvPr/>
        </p:nvSpPr>
        <p:spPr>
          <a:xfrm>
            <a:off x="1941016" y="2535752"/>
            <a:ext cx="8309968" cy="1107996"/>
          </a:xfrm>
          <a:prstGeom prst="rect">
            <a:avLst/>
          </a:prstGeom>
          <a:noFill/>
        </p:spPr>
        <p:txBody>
          <a:bodyPr wrap="none" lIns="0" tIns="0" rIns="0" bIns="0" rtlCol="0" anchor="t">
            <a:spAutoFit/>
          </a:bodyPr>
          <a:lstStyle/>
          <a:p>
            <a:pPr algn="ctr"/>
            <a:r>
              <a:rPr lang="zh-CN" altLang="en-US" sz="7200" dirty="0">
                <a:solidFill>
                  <a:schemeClr val="accent1">
                    <a:lumMod val="100000"/>
                  </a:schemeClr>
                </a:solidFill>
                <a:latin typeface="+mj-ea"/>
                <a:ea typeface="+mj-ea"/>
              </a:rPr>
              <a:t>输入你的封面大标题</a:t>
            </a:r>
          </a:p>
        </p:txBody>
      </p:sp>
      <p:sp>
        <p:nvSpPr>
          <p:cNvPr id="25" name="文本框 24">
            <a:extLst>
              <a:ext uri="{FF2B5EF4-FFF2-40B4-BE49-F238E27FC236}">
                <a16:creationId xmlns:a16="http://schemas.microsoft.com/office/drawing/2014/main" id="{16665C6F-007D-432D-ABC9-4BB06B645F52}"/>
              </a:ext>
            </a:extLst>
          </p:cNvPr>
          <p:cNvSpPr txBox="1"/>
          <p:nvPr/>
        </p:nvSpPr>
        <p:spPr>
          <a:xfrm>
            <a:off x="4095451" y="3675141"/>
            <a:ext cx="4001095" cy="369332"/>
          </a:xfrm>
          <a:prstGeom prst="rect">
            <a:avLst/>
          </a:prstGeom>
          <a:noFill/>
        </p:spPr>
        <p:txBody>
          <a:bodyPr wrap="none" lIns="0" tIns="0" rIns="0" bIns="0" rtlCol="0" anchor="t">
            <a:spAutoFit/>
          </a:bodyPr>
          <a:lstStyle/>
          <a:p>
            <a:pPr algn="ctr"/>
            <a:r>
              <a:rPr lang="zh-CN" altLang="en-US" sz="2400" dirty="0">
                <a:solidFill>
                  <a:schemeClr val="accent1">
                    <a:lumMod val="100000"/>
                  </a:schemeClr>
                </a:solidFill>
                <a:latin typeface="+mn-ea"/>
              </a:rPr>
              <a:t>输入你的副标题或大标题英文</a:t>
            </a:r>
          </a:p>
        </p:txBody>
      </p:sp>
      <p:cxnSp>
        <p:nvCxnSpPr>
          <p:cNvPr id="26" name="直接连接符 25">
            <a:extLst>
              <a:ext uri="{FF2B5EF4-FFF2-40B4-BE49-F238E27FC236}">
                <a16:creationId xmlns:a16="http://schemas.microsoft.com/office/drawing/2014/main" id="{BC895D47-591F-4C26-97B5-CD0D41B92454}"/>
              </a:ext>
            </a:extLst>
          </p:cNvPr>
          <p:cNvCxnSpPr>
            <a:cxnSpLocks/>
          </p:cNvCxnSpPr>
          <p:nvPr/>
        </p:nvCxnSpPr>
        <p:spPr>
          <a:xfrm flipH="1">
            <a:off x="2633513" y="3865593"/>
            <a:ext cx="1298407" cy="0"/>
          </a:xfrm>
          <a:prstGeom prst="line">
            <a:avLst/>
          </a:prstGeom>
          <a:ln w="19050">
            <a:solidFill>
              <a:schemeClr val="accent1">
                <a:lumMod val="100000"/>
              </a:schemeClr>
            </a:solidFill>
          </a:ln>
        </p:spPr>
        <p:style>
          <a:lnRef idx="1">
            <a:schemeClr val="accent1"/>
          </a:lnRef>
          <a:fillRef idx="0">
            <a:schemeClr val="accent1"/>
          </a:fillRef>
          <a:effectRef idx="0">
            <a:schemeClr val="accent1"/>
          </a:effectRef>
          <a:fontRef idx="minor">
            <a:schemeClr val="tx1"/>
          </a:fontRef>
        </p:style>
      </p:cxnSp>
      <p:cxnSp>
        <p:nvCxnSpPr>
          <p:cNvPr id="27" name="直接连接符 26">
            <a:extLst>
              <a:ext uri="{FF2B5EF4-FFF2-40B4-BE49-F238E27FC236}">
                <a16:creationId xmlns:a16="http://schemas.microsoft.com/office/drawing/2014/main" id="{ED7C1465-2ADB-4F81-8F6E-593869DF1ABA}"/>
              </a:ext>
            </a:extLst>
          </p:cNvPr>
          <p:cNvCxnSpPr>
            <a:cxnSpLocks/>
          </p:cNvCxnSpPr>
          <p:nvPr/>
        </p:nvCxnSpPr>
        <p:spPr>
          <a:xfrm flipH="1">
            <a:off x="8284464" y="3865593"/>
            <a:ext cx="1202436" cy="0"/>
          </a:xfrm>
          <a:prstGeom prst="line">
            <a:avLst/>
          </a:prstGeom>
          <a:ln w="19050">
            <a:solidFill>
              <a:schemeClr val="accent1">
                <a:lumMod val="100000"/>
              </a:schemeClr>
            </a:solidFill>
          </a:ln>
        </p:spPr>
        <p:style>
          <a:lnRef idx="1">
            <a:schemeClr val="accent1"/>
          </a:lnRef>
          <a:fillRef idx="0">
            <a:schemeClr val="accent1"/>
          </a:fillRef>
          <a:effectRef idx="0">
            <a:schemeClr val="accent1"/>
          </a:effectRef>
          <a:fontRef idx="minor">
            <a:schemeClr val="tx1"/>
          </a:fontRef>
        </p:style>
      </p:cxnSp>
      <p:grpSp>
        <p:nvGrpSpPr>
          <p:cNvPr id="28" name="组合 27">
            <a:extLst>
              <a:ext uri="{FF2B5EF4-FFF2-40B4-BE49-F238E27FC236}">
                <a16:creationId xmlns:a16="http://schemas.microsoft.com/office/drawing/2014/main" id="{FDFCF6DF-BE0B-409F-998D-E9E6E4ECAF17}"/>
              </a:ext>
            </a:extLst>
          </p:cNvPr>
          <p:cNvGrpSpPr/>
          <p:nvPr/>
        </p:nvGrpSpPr>
        <p:grpSpPr>
          <a:xfrm>
            <a:off x="4331702" y="4407693"/>
            <a:ext cx="1475214" cy="246221"/>
            <a:chOff x="4095451" y="4640913"/>
            <a:chExt cx="1475214" cy="246221"/>
          </a:xfrm>
        </p:grpSpPr>
        <p:sp>
          <p:nvSpPr>
            <p:cNvPr id="29" name="矩形 28">
              <a:extLst>
                <a:ext uri="{FF2B5EF4-FFF2-40B4-BE49-F238E27FC236}">
                  <a16:creationId xmlns:a16="http://schemas.microsoft.com/office/drawing/2014/main" id="{D35D31A0-F656-4587-9C12-98AADB13F673}"/>
                </a:ext>
              </a:extLst>
            </p:cNvPr>
            <p:cNvSpPr/>
            <p:nvPr/>
          </p:nvSpPr>
          <p:spPr>
            <a:xfrm>
              <a:off x="4095451" y="4672584"/>
              <a:ext cx="164592" cy="164592"/>
            </a:xfrm>
            <a:prstGeom prst="rect">
              <a:avLst/>
            </a:prstGeom>
            <a:solidFill>
              <a:schemeClr val="accent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p>
          </p:txBody>
        </p:sp>
        <p:sp>
          <p:nvSpPr>
            <p:cNvPr id="30" name="文本框 29">
              <a:extLst>
                <a:ext uri="{FF2B5EF4-FFF2-40B4-BE49-F238E27FC236}">
                  <a16:creationId xmlns:a16="http://schemas.microsoft.com/office/drawing/2014/main" id="{401423B2-7258-4824-9E42-2D7336218844}"/>
                </a:ext>
              </a:extLst>
            </p:cNvPr>
            <p:cNvSpPr txBox="1"/>
            <p:nvPr/>
          </p:nvSpPr>
          <p:spPr>
            <a:xfrm>
              <a:off x="4408487" y="4640913"/>
              <a:ext cx="1162178" cy="246221"/>
            </a:xfrm>
            <a:prstGeom prst="rect">
              <a:avLst/>
            </a:prstGeom>
            <a:noFill/>
          </p:spPr>
          <p:txBody>
            <a:bodyPr wrap="none" lIns="0" tIns="0" rIns="0" bIns="0" rtlCol="0" anchor="t">
              <a:spAutoFit/>
            </a:bodyPr>
            <a:lstStyle/>
            <a:p>
              <a:r>
                <a:rPr lang="zh-CN" altLang="en-US" sz="1600" dirty="0">
                  <a:solidFill>
                    <a:schemeClr val="accent1">
                      <a:lumMod val="100000"/>
                    </a:schemeClr>
                  </a:solidFill>
                  <a:latin typeface="+mn-ea"/>
                </a:rPr>
                <a:t>汇报人：</a:t>
              </a:r>
              <a:r>
                <a:rPr lang="en-US" altLang="zh-CN" sz="1600" dirty="0">
                  <a:solidFill>
                    <a:schemeClr val="accent1">
                      <a:lumMod val="100000"/>
                    </a:schemeClr>
                  </a:solidFill>
                  <a:latin typeface="+mn-ea"/>
                </a:rPr>
                <a:t>xxx</a:t>
              </a:r>
              <a:endParaRPr lang="zh-CN" altLang="en-US" sz="1600" dirty="0">
                <a:solidFill>
                  <a:schemeClr val="accent1">
                    <a:lumMod val="100000"/>
                  </a:schemeClr>
                </a:solidFill>
                <a:latin typeface="+mn-ea"/>
              </a:endParaRPr>
            </a:p>
          </p:txBody>
        </p:sp>
      </p:grpSp>
      <p:grpSp>
        <p:nvGrpSpPr>
          <p:cNvPr id="31" name="组合 30">
            <a:extLst>
              <a:ext uri="{FF2B5EF4-FFF2-40B4-BE49-F238E27FC236}">
                <a16:creationId xmlns:a16="http://schemas.microsoft.com/office/drawing/2014/main" id="{EDB0E6A3-8D4A-4386-941A-E636C5A5E853}"/>
              </a:ext>
            </a:extLst>
          </p:cNvPr>
          <p:cNvGrpSpPr/>
          <p:nvPr/>
        </p:nvGrpSpPr>
        <p:grpSpPr>
          <a:xfrm>
            <a:off x="6590270" y="4407693"/>
            <a:ext cx="1270029" cy="246221"/>
            <a:chOff x="4095451" y="4640913"/>
            <a:chExt cx="1270029" cy="246221"/>
          </a:xfrm>
        </p:grpSpPr>
        <p:sp>
          <p:nvSpPr>
            <p:cNvPr id="32" name="矩形 31">
              <a:extLst>
                <a:ext uri="{FF2B5EF4-FFF2-40B4-BE49-F238E27FC236}">
                  <a16:creationId xmlns:a16="http://schemas.microsoft.com/office/drawing/2014/main" id="{4977A4D5-965F-4234-BE1E-3557851277F7}"/>
                </a:ext>
              </a:extLst>
            </p:cNvPr>
            <p:cNvSpPr/>
            <p:nvPr/>
          </p:nvSpPr>
          <p:spPr>
            <a:xfrm>
              <a:off x="4095451" y="4672584"/>
              <a:ext cx="164592" cy="164592"/>
            </a:xfrm>
            <a:prstGeom prst="rect">
              <a:avLst/>
            </a:prstGeom>
            <a:solidFill>
              <a:schemeClr val="accent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p>
          </p:txBody>
        </p:sp>
        <p:sp>
          <p:nvSpPr>
            <p:cNvPr id="33" name="文本框 32">
              <a:extLst>
                <a:ext uri="{FF2B5EF4-FFF2-40B4-BE49-F238E27FC236}">
                  <a16:creationId xmlns:a16="http://schemas.microsoft.com/office/drawing/2014/main" id="{044CC30A-356B-4792-916A-51F9D289C481}"/>
                </a:ext>
              </a:extLst>
            </p:cNvPr>
            <p:cNvSpPr txBox="1"/>
            <p:nvPr/>
          </p:nvSpPr>
          <p:spPr>
            <a:xfrm>
              <a:off x="4408487" y="4640913"/>
              <a:ext cx="956993" cy="246221"/>
            </a:xfrm>
            <a:prstGeom prst="rect">
              <a:avLst/>
            </a:prstGeom>
            <a:noFill/>
          </p:spPr>
          <p:txBody>
            <a:bodyPr wrap="none" lIns="0" tIns="0" rIns="0" bIns="0" rtlCol="0" anchor="t">
              <a:spAutoFit/>
            </a:bodyPr>
            <a:lstStyle/>
            <a:p>
              <a:r>
                <a:rPr lang="zh-CN" altLang="en-US" sz="1600" dirty="0">
                  <a:solidFill>
                    <a:schemeClr val="accent1">
                      <a:lumMod val="100000"/>
                    </a:schemeClr>
                  </a:solidFill>
                  <a:latin typeface="+mn-ea"/>
                </a:rPr>
                <a:t>单位：</a:t>
              </a:r>
              <a:r>
                <a:rPr lang="en-US" altLang="zh-CN" sz="1600" dirty="0">
                  <a:solidFill>
                    <a:schemeClr val="accent1">
                      <a:lumMod val="100000"/>
                    </a:schemeClr>
                  </a:solidFill>
                  <a:latin typeface="+mn-ea"/>
                </a:rPr>
                <a:t>xxx</a:t>
              </a:r>
              <a:endParaRPr lang="zh-CN" altLang="en-US" sz="1600" dirty="0">
                <a:solidFill>
                  <a:schemeClr val="accent1">
                    <a:lumMod val="100000"/>
                  </a:schemeClr>
                </a:solidFill>
                <a:latin typeface="+mn-ea"/>
              </a:endParaRPr>
            </a:p>
          </p:txBody>
        </p:sp>
      </p:grpSp>
      <p:sp>
        <p:nvSpPr>
          <p:cNvPr id="3" name="弧形 2">
            <a:extLst>
              <a:ext uri="{FF2B5EF4-FFF2-40B4-BE49-F238E27FC236}">
                <a16:creationId xmlns:a16="http://schemas.microsoft.com/office/drawing/2014/main" id="{9CF4699F-6D58-4051-9CA8-85381594BA1D}"/>
              </a:ext>
            </a:extLst>
          </p:cNvPr>
          <p:cNvSpPr/>
          <p:nvPr/>
        </p:nvSpPr>
        <p:spPr>
          <a:xfrm>
            <a:off x="3590925" y="923925"/>
            <a:ext cx="5010150" cy="5010150"/>
          </a:xfrm>
          <a:prstGeom prst="arc">
            <a:avLst>
              <a:gd name="adj1" fmla="val 16438533"/>
              <a:gd name="adj2" fmla="val 19946831"/>
            </a:avLst>
          </a:prstGeom>
          <a:ln w="19050"/>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sp>
        <p:nvSpPr>
          <p:cNvPr id="34" name="弧形 33">
            <a:extLst>
              <a:ext uri="{FF2B5EF4-FFF2-40B4-BE49-F238E27FC236}">
                <a16:creationId xmlns:a16="http://schemas.microsoft.com/office/drawing/2014/main" id="{CD4BB924-9E9C-46C3-AF9C-E5DCD5F814CD}"/>
              </a:ext>
            </a:extLst>
          </p:cNvPr>
          <p:cNvSpPr/>
          <p:nvPr/>
        </p:nvSpPr>
        <p:spPr>
          <a:xfrm>
            <a:off x="3324225" y="657225"/>
            <a:ext cx="5543550" cy="5543550"/>
          </a:xfrm>
          <a:prstGeom prst="arc">
            <a:avLst>
              <a:gd name="adj1" fmla="val 6033363"/>
              <a:gd name="adj2" fmla="val 9822528"/>
            </a:avLst>
          </a:prstGeom>
          <a:ln w="19050"/>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sp>
        <p:nvSpPr>
          <p:cNvPr id="35" name="弧形 34">
            <a:extLst>
              <a:ext uri="{FF2B5EF4-FFF2-40B4-BE49-F238E27FC236}">
                <a16:creationId xmlns:a16="http://schemas.microsoft.com/office/drawing/2014/main" id="{D667612D-971D-4979-B340-D36E52A074B9}"/>
              </a:ext>
            </a:extLst>
          </p:cNvPr>
          <p:cNvSpPr/>
          <p:nvPr/>
        </p:nvSpPr>
        <p:spPr>
          <a:xfrm>
            <a:off x="2273300" y="-393700"/>
            <a:ext cx="7645400" cy="7645400"/>
          </a:xfrm>
          <a:prstGeom prst="arc">
            <a:avLst>
              <a:gd name="adj1" fmla="val 11853137"/>
              <a:gd name="adj2" fmla="val 20635706"/>
            </a:avLst>
          </a:prstGeom>
          <a:ln w="88900" cap="rnd"/>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sp>
        <p:nvSpPr>
          <p:cNvPr id="36" name="弧形 35">
            <a:extLst>
              <a:ext uri="{FF2B5EF4-FFF2-40B4-BE49-F238E27FC236}">
                <a16:creationId xmlns:a16="http://schemas.microsoft.com/office/drawing/2014/main" id="{E5C0F60C-6A61-4F55-B351-9089278F0989}"/>
              </a:ext>
            </a:extLst>
          </p:cNvPr>
          <p:cNvSpPr/>
          <p:nvPr/>
        </p:nvSpPr>
        <p:spPr>
          <a:xfrm flipV="1">
            <a:off x="2273300" y="-393700"/>
            <a:ext cx="7645400" cy="7645400"/>
          </a:xfrm>
          <a:prstGeom prst="arc">
            <a:avLst>
              <a:gd name="adj1" fmla="val 11853137"/>
              <a:gd name="adj2" fmla="val 20635706"/>
            </a:avLst>
          </a:prstGeom>
          <a:ln w="88900" cap="rnd"/>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sp>
        <p:nvSpPr>
          <p:cNvPr id="10" name="圆: 空心 9">
            <a:extLst>
              <a:ext uri="{FF2B5EF4-FFF2-40B4-BE49-F238E27FC236}">
                <a16:creationId xmlns:a16="http://schemas.microsoft.com/office/drawing/2014/main" id="{82B53336-A3CF-4E1B-BC96-05D2AE744E88}"/>
              </a:ext>
            </a:extLst>
          </p:cNvPr>
          <p:cNvSpPr/>
          <p:nvPr/>
        </p:nvSpPr>
        <p:spPr>
          <a:xfrm>
            <a:off x="927100" y="-1739900"/>
            <a:ext cx="10337800" cy="10337800"/>
          </a:xfrm>
          <a:prstGeom prst="donut">
            <a:avLst>
              <a:gd name="adj" fmla="val 421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13" name="椭圆 12">
            <a:extLst>
              <a:ext uri="{FF2B5EF4-FFF2-40B4-BE49-F238E27FC236}">
                <a16:creationId xmlns:a16="http://schemas.microsoft.com/office/drawing/2014/main" id="{F3EBA30F-AFA4-4093-AA0D-0D1D87563A76}"/>
              </a:ext>
            </a:extLst>
          </p:cNvPr>
          <p:cNvSpPr/>
          <p:nvPr/>
        </p:nvSpPr>
        <p:spPr>
          <a:xfrm>
            <a:off x="4087368" y="5333142"/>
            <a:ext cx="283464" cy="283464"/>
          </a:xfrm>
          <a:prstGeom prst="ellipse">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37" name="椭圆 36">
            <a:extLst>
              <a:ext uri="{FF2B5EF4-FFF2-40B4-BE49-F238E27FC236}">
                <a16:creationId xmlns:a16="http://schemas.microsoft.com/office/drawing/2014/main" id="{79059E06-1CC7-4EC8-92D2-891DB015F309}"/>
              </a:ext>
            </a:extLst>
          </p:cNvPr>
          <p:cNvSpPr/>
          <p:nvPr/>
        </p:nvSpPr>
        <p:spPr>
          <a:xfrm>
            <a:off x="6163560" y="849755"/>
            <a:ext cx="148340" cy="148340"/>
          </a:xfrm>
          <a:prstGeom prst="ellipse">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Tree>
    <p:extLst>
      <p:ext uri="{BB962C8B-B14F-4D97-AF65-F5344CB8AC3E}">
        <p14:creationId xmlns:p14="http://schemas.microsoft.com/office/powerpoint/2010/main" val="3634118996"/>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3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任意多边形: 形状 40">
            <a:extLst>
              <a:ext uri="{FF2B5EF4-FFF2-40B4-BE49-F238E27FC236}">
                <a16:creationId xmlns:a16="http://schemas.microsoft.com/office/drawing/2014/main" id="{C42F342E-9C98-4AA3-9097-DDF609D2AEBB}"/>
              </a:ext>
            </a:extLst>
          </p:cNvPr>
          <p:cNvSpPr/>
          <p:nvPr/>
        </p:nvSpPr>
        <p:spPr>
          <a:xfrm>
            <a:off x="266944" y="1038290"/>
            <a:ext cx="11658115" cy="5819711"/>
          </a:xfrm>
          <a:custGeom>
            <a:avLst/>
            <a:gdLst>
              <a:gd name="connsiteX0" fmla="*/ 5829057 w 11658115"/>
              <a:gd name="connsiteY0" fmla="*/ 0 h 5819711"/>
              <a:gd name="connsiteX1" fmla="*/ 11650772 w 11658115"/>
              <a:gd name="connsiteY1" fmla="*/ 5529325 h 5819711"/>
              <a:gd name="connsiteX2" fmla="*/ 11658115 w 11658115"/>
              <a:gd name="connsiteY2" fmla="*/ 5819711 h 5819711"/>
              <a:gd name="connsiteX3" fmla="*/ 11198416 w 11658115"/>
              <a:gd name="connsiteY3" fmla="*/ 5819711 h 5819711"/>
              <a:gd name="connsiteX4" fmla="*/ 11191671 w 11658115"/>
              <a:gd name="connsiteY4" fmla="*/ 5552981 h 5819711"/>
              <a:gd name="connsiteX5" fmla="*/ 5829057 w 11658115"/>
              <a:gd name="connsiteY5" fmla="*/ 459699 h 5819711"/>
              <a:gd name="connsiteX6" fmla="*/ 466443 w 11658115"/>
              <a:gd name="connsiteY6" fmla="*/ 5552981 h 5819711"/>
              <a:gd name="connsiteX7" fmla="*/ 459699 w 11658115"/>
              <a:gd name="connsiteY7" fmla="*/ 5819711 h 5819711"/>
              <a:gd name="connsiteX8" fmla="*/ 0 w 11658115"/>
              <a:gd name="connsiteY8" fmla="*/ 5819711 h 5819711"/>
              <a:gd name="connsiteX9" fmla="*/ 7342 w 11658115"/>
              <a:gd name="connsiteY9" fmla="*/ 5529325 h 5819711"/>
              <a:gd name="connsiteX10" fmla="*/ 5829057 w 11658115"/>
              <a:gd name="connsiteY10" fmla="*/ 0 h 5819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658115" h="5819711">
                <a:moveTo>
                  <a:pt x="5829057" y="0"/>
                </a:moveTo>
                <a:cubicBezTo>
                  <a:pt x="8947883" y="0"/>
                  <a:pt x="11494645" y="2449299"/>
                  <a:pt x="11650772" y="5529325"/>
                </a:cubicBezTo>
                <a:lnTo>
                  <a:pt x="11658115" y="5819711"/>
                </a:lnTo>
                <a:lnTo>
                  <a:pt x="11198416" y="5819711"/>
                </a:lnTo>
                <a:lnTo>
                  <a:pt x="11191671" y="5552981"/>
                </a:lnTo>
                <a:cubicBezTo>
                  <a:pt x="11047856" y="2715846"/>
                  <a:pt x="8701933" y="459699"/>
                  <a:pt x="5829057" y="459699"/>
                </a:cubicBezTo>
                <a:cubicBezTo>
                  <a:pt x="2956182" y="459699"/>
                  <a:pt x="610258" y="2715846"/>
                  <a:pt x="466443" y="5552981"/>
                </a:cubicBezTo>
                <a:lnTo>
                  <a:pt x="459699" y="5819711"/>
                </a:lnTo>
                <a:lnTo>
                  <a:pt x="0" y="5819711"/>
                </a:lnTo>
                <a:lnTo>
                  <a:pt x="7342" y="5529325"/>
                </a:lnTo>
                <a:cubicBezTo>
                  <a:pt x="163469" y="2449299"/>
                  <a:pt x="2710232" y="0"/>
                  <a:pt x="5829057" y="0"/>
                </a:cubicBez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l"/>
            <a:endParaRPr lang="zh-CN" altLang="en-US" sz="1600">
              <a:solidFill>
                <a:schemeClr val="bg1"/>
              </a:solidFill>
              <a:latin typeface="+mj-ea"/>
              <a:ea typeface="+mj-ea"/>
            </a:endParaRPr>
          </a:p>
        </p:txBody>
      </p:sp>
      <p:sp>
        <p:nvSpPr>
          <p:cNvPr id="4" name="任意多边形: 形状 3">
            <a:extLst>
              <a:ext uri="{FF2B5EF4-FFF2-40B4-BE49-F238E27FC236}">
                <a16:creationId xmlns:a16="http://schemas.microsoft.com/office/drawing/2014/main" id="{BA60BA4F-3EBD-4717-B820-3A81771DCB40}"/>
              </a:ext>
            </a:extLst>
          </p:cNvPr>
          <p:cNvSpPr/>
          <p:nvPr/>
        </p:nvSpPr>
        <p:spPr>
          <a:xfrm>
            <a:off x="2333625" y="3095624"/>
            <a:ext cx="7524750" cy="3762376"/>
          </a:xfrm>
          <a:custGeom>
            <a:avLst/>
            <a:gdLst>
              <a:gd name="connsiteX0" fmla="*/ 3562350 w 7124700"/>
              <a:gd name="connsiteY0" fmla="*/ 0 h 3562350"/>
              <a:gd name="connsiteX1" fmla="*/ 7124700 w 7124700"/>
              <a:gd name="connsiteY1" fmla="*/ 3562350 h 3562350"/>
              <a:gd name="connsiteX2" fmla="*/ 0 w 7124700"/>
              <a:gd name="connsiteY2" fmla="*/ 3562350 h 3562350"/>
              <a:gd name="connsiteX3" fmla="*/ 3562350 w 7124700"/>
              <a:gd name="connsiteY3" fmla="*/ 0 h 3562350"/>
              <a:gd name="connsiteX0" fmla="*/ 0 w 7124700"/>
              <a:gd name="connsiteY0" fmla="*/ 3562350 h 3651409"/>
              <a:gd name="connsiteX1" fmla="*/ 3562350 w 7124700"/>
              <a:gd name="connsiteY1" fmla="*/ 0 h 3651409"/>
              <a:gd name="connsiteX2" fmla="*/ 7124700 w 7124700"/>
              <a:gd name="connsiteY2" fmla="*/ 3562350 h 3651409"/>
              <a:gd name="connsiteX3" fmla="*/ 89059 w 7124700"/>
              <a:gd name="connsiteY3" fmla="*/ 3651409 h 3651409"/>
              <a:gd name="connsiteX0" fmla="*/ 0 w 7124700"/>
              <a:gd name="connsiteY0" fmla="*/ 3562350 h 3562350"/>
              <a:gd name="connsiteX1" fmla="*/ 3562350 w 7124700"/>
              <a:gd name="connsiteY1" fmla="*/ 0 h 3562350"/>
              <a:gd name="connsiteX2" fmla="*/ 7124700 w 7124700"/>
              <a:gd name="connsiteY2" fmla="*/ 3562350 h 3562350"/>
            </a:gdLst>
            <a:ahLst/>
            <a:cxnLst>
              <a:cxn ang="0">
                <a:pos x="connsiteX0" y="connsiteY0"/>
              </a:cxn>
              <a:cxn ang="0">
                <a:pos x="connsiteX1" y="connsiteY1"/>
              </a:cxn>
              <a:cxn ang="0">
                <a:pos x="connsiteX2" y="connsiteY2"/>
              </a:cxn>
            </a:cxnLst>
            <a:rect l="l" t="t" r="r" b="b"/>
            <a:pathLst>
              <a:path w="7124700" h="3562350">
                <a:moveTo>
                  <a:pt x="0" y="3562350"/>
                </a:moveTo>
                <a:cubicBezTo>
                  <a:pt x="0" y="1594918"/>
                  <a:pt x="1594918" y="0"/>
                  <a:pt x="3562350" y="0"/>
                </a:cubicBezTo>
                <a:cubicBezTo>
                  <a:pt x="5529782" y="0"/>
                  <a:pt x="7124700" y="1594918"/>
                  <a:pt x="7124700" y="3562350"/>
                </a:cubicBezTo>
              </a:path>
            </a:pathLst>
          </a:cu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l"/>
            <a:endParaRPr lang="zh-CN" altLang="en-US" sz="1600">
              <a:solidFill>
                <a:schemeClr val="bg1"/>
              </a:solidFill>
              <a:latin typeface="+mj-ea"/>
              <a:ea typeface="+mj-ea"/>
            </a:endParaRPr>
          </a:p>
        </p:txBody>
      </p:sp>
      <p:cxnSp>
        <p:nvCxnSpPr>
          <p:cNvPr id="29" name="直接连接符 28">
            <a:extLst>
              <a:ext uri="{FF2B5EF4-FFF2-40B4-BE49-F238E27FC236}">
                <a16:creationId xmlns:a16="http://schemas.microsoft.com/office/drawing/2014/main" id="{2E4E380D-CE5D-4AD1-AE37-53BEBD9368AE}"/>
              </a:ext>
            </a:extLst>
          </p:cNvPr>
          <p:cNvCxnSpPr>
            <a:cxnSpLocks/>
          </p:cNvCxnSpPr>
          <p:nvPr/>
        </p:nvCxnSpPr>
        <p:spPr>
          <a:xfrm rot="16200000">
            <a:off x="2225625" y="6619423"/>
            <a:ext cx="0" cy="216000"/>
          </a:xfrm>
          <a:prstGeom prst="line">
            <a:avLst/>
          </a:prstGeom>
          <a:ln w="57150"/>
        </p:spPr>
        <p:style>
          <a:lnRef idx="1">
            <a:schemeClr val="accent1"/>
          </a:lnRef>
          <a:fillRef idx="0">
            <a:schemeClr val="accent1"/>
          </a:fillRef>
          <a:effectRef idx="0">
            <a:schemeClr val="accent1"/>
          </a:effectRef>
          <a:fontRef idx="minor">
            <a:schemeClr val="tx1"/>
          </a:fontRef>
        </p:style>
      </p:cxnSp>
      <p:cxnSp>
        <p:nvCxnSpPr>
          <p:cNvPr id="30" name="直接连接符 29">
            <a:extLst>
              <a:ext uri="{FF2B5EF4-FFF2-40B4-BE49-F238E27FC236}">
                <a16:creationId xmlns:a16="http://schemas.microsoft.com/office/drawing/2014/main" id="{649F3E2E-A16E-44C3-A778-B496D2951D26}"/>
              </a:ext>
            </a:extLst>
          </p:cNvPr>
          <p:cNvCxnSpPr>
            <a:cxnSpLocks/>
          </p:cNvCxnSpPr>
          <p:nvPr/>
        </p:nvCxnSpPr>
        <p:spPr>
          <a:xfrm rot="17181818">
            <a:off x="2290558" y="5354131"/>
            <a:ext cx="0" cy="504000"/>
          </a:xfrm>
          <a:prstGeom prst="line">
            <a:avLst/>
          </a:prstGeom>
          <a:ln w="57150"/>
        </p:spPr>
        <p:style>
          <a:lnRef idx="1">
            <a:schemeClr val="accent1"/>
          </a:lnRef>
          <a:fillRef idx="0">
            <a:schemeClr val="accent1"/>
          </a:fillRef>
          <a:effectRef idx="0">
            <a:schemeClr val="accent1"/>
          </a:effectRef>
          <a:fontRef idx="minor">
            <a:schemeClr val="tx1"/>
          </a:fontRef>
        </p:style>
      </p:cxnSp>
      <p:cxnSp>
        <p:nvCxnSpPr>
          <p:cNvPr id="31" name="直接连接符 30">
            <a:extLst>
              <a:ext uri="{FF2B5EF4-FFF2-40B4-BE49-F238E27FC236}">
                <a16:creationId xmlns:a16="http://schemas.microsoft.com/office/drawing/2014/main" id="{A8498121-DD93-4923-A7A1-BA43ECF6681F}"/>
              </a:ext>
            </a:extLst>
          </p:cNvPr>
          <p:cNvCxnSpPr>
            <a:cxnSpLocks/>
          </p:cNvCxnSpPr>
          <p:nvPr/>
        </p:nvCxnSpPr>
        <p:spPr>
          <a:xfrm rot="18163636">
            <a:off x="2859165" y="4618750"/>
            <a:ext cx="0" cy="216000"/>
          </a:xfrm>
          <a:prstGeom prst="line">
            <a:avLst/>
          </a:prstGeom>
          <a:ln w="57150"/>
        </p:spPr>
        <p:style>
          <a:lnRef idx="1">
            <a:schemeClr val="accent1"/>
          </a:lnRef>
          <a:fillRef idx="0">
            <a:schemeClr val="accent1"/>
          </a:fillRef>
          <a:effectRef idx="0">
            <a:schemeClr val="accent1"/>
          </a:effectRef>
          <a:fontRef idx="minor">
            <a:schemeClr val="tx1"/>
          </a:fontRef>
        </p:style>
      </p:cxnSp>
      <p:cxnSp>
        <p:nvCxnSpPr>
          <p:cNvPr id="32" name="直接连接符 31">
            <a:extLst>
              <a:ext uri="{FF2B5EF4-FFF2-40B4-BE49-F238E27FC236}">
                <a16:creationId xmlns:a16="http://schemas.microsoft.com/office/drawing/2014/main" id="{BC79667E-19A1-486A-B65B-FB7672C53152}"/>
              </a:ext>
            </a:extLst>
          </p:cNvPr>
          <p:cNvCxnSpPr>
            <a:cxnSpLocks/>
          </p:cNvCxnSpPr>
          <p:nvPr/>
        </p:nvCxnSpPr>
        <p:spPr>
          <a:xfrm rot="19145454">
            <a:off x="3605517" y="3791683"/>
            <a:ext cx="0" cy="216000"/>
          </a:xfrm>
          <a:prstGeom prst="line">
            <a:avLst/>
          </a:prstGeom>
          <a:ln w="57150"/>
        </p:spPr>
        <p:style>
          <a:lnRef idx="1">
            <a:schemeClr val="accent1"/>
          </a:lnRef>
          <a:fillRef idx="0">
            <a:schemeClr val="accent1"/>
          </a:fillRef>
          <a:effectRef idx="0">
            <a:schemeClr val="accent1"/>
          </a:effectRef>
          <a:fontRef idx="minor">
            <a:schemeClr val="tx1"/>
          </a:fontRef>
        </p:style>
      </p:cxnSp>
      <p:cxnSp>
        <p:nvCxnSpPr>
          <p:cNvPr id="33" name="直接连接符 32">
            <a:extLst>
              <a:ext uri="{FF2B5EF4-FFF2-40B4-BE49-F238E27FC236}">
                <a16:creationId xmlns:a16="http://schemas.microsoft.com/office/drawing/2014/main" id="{92A98648-41C5-474D-9FB3-6391F1BFD4BE}"/>
              </a:ext>
            </a:extLst>
          </p:cNvPr>
          <p:cNvCxnSpPr>
            <a:cxnSpLocks/>
          </p:cNvCxnSpPr>
          <p:nvPr/>
        </p:nvCxnSpPr>
        <p:spPr>
          <a:xfrm rot="20127273">
            <a:off x="4476267" y="2928696"/>
            <a:ext cx="0" cy="504000"/>
          </a:xfrm>
          <a:prstGeom prst="line">
            <a:avLst/>
          </a:prstGeom>
          <a:ln w="57150"/>
        </p:spPr>
        <p:style>
          <a:lnRef idx="1">
            <a:schemeClr val="accent1"/>
          </a:lnRef>
          <a:fillRef idx="0">
            <a:schemeClr val="accent1"/>
          </a:fillRef>
          <a:effectRef idx="0">
            <a:schemeClr val="accent1"/>
          </a:effectRef>
          <a:fontRef idx="minor">
            <a:schemeClr val="tx1"/>
          </a:fontRef>
        </p:style>
      </p:cxnSp>
      <p:cxnSp>
        <p:nvCxnSpPr>
          <p:cNvPr id="34" name="直接连接符 33">
            <a:extLst>
              <a:ext uri="{FF2B5EF4-FFF2-40B4-BE49-F238E27FC236}">
                <a16:creationId xmlns:a16="http://schemas.microsoft.com/office/drawing/2014/main" id="{A8C62283-859C-46CD-858E-E0DFCEED262C}"/>
              </a:ext>
            </a:extLst>
          </p:cNvPr>
          <p:cNvCxnSpPr>
            <a:cxnSpLocks/>
          </p:cNvCxnSpPr>
          <p:nvPr/>
        </p:nvCxnSpPr>
        <p:spPr>
          <a:xfrm rot="21109091">
            <a:off x="5573091" y="2921646"/>
            <a:ext cx="0" cy="216000"/>
          </a:xfrm>
          <a:prstGeom prst="line">
            <a:avLst/>
          </a:prstGeom>
          <a:ln w="57150"/>
        </p:spPr>
        <p:style>
          <a:lnRef idx="1">
            <a:schemeClr val="accent1"/>
          </a:lnRef>
          <a:fillRef idx="0">
            <a:schemeClr val="accent1"/>
          </a:fillRef>
          <a:effectRef idx="0">
            <a:schemeClr val="accent1"/>
          </a:effectRef>
          <a:fontRef idx="minor">
            <a:schemeClr val="tx1"/>
          </a:fontRef>
        </p:style>
      </p:cxnSp>
      <p:cxnSp>
        <p:nvCxnSpPr>
          <p:cNvPr id="35" name="直接连接符 34">
            <a:extLst>
              <a:ext uri="{FF2B5EF4-FFF2-40B4-BE49-F238E27FC236}">
                <a16:creationId xmlns:a16="http://schemas.microsoft.com/office/drawing/2014/main" id="{5390A375-73A8-4229-8BD3-8FFB231D6F80}"/>
              </a:ext>
            </a:extLst>
          </p:cNvPr>
          <p:cNvCxnSpPr>
            <a:cxnSpLocks/>
          </p:cNvCxnSpPr>
          <p:nvPr/>
        </p:nvCxnSpPr>
        <p:spPr>
          <a:xfrm rot="490909">
            <a:off x="6640556" y="2915153"/>
            <a:ext cx="0" cy="216000"/>
          </a:xfrm>
          <a:prstGeom prst="line">
            <a:avLst/>
          </a:prstGeom>
          <a:ln w="57150"/>
        </p:spPr>
        <p:style>
          <a:lnRef idx="1">
            <a:schemeClr val="accent1"/>
          </a:lnRef>
          <a:fillRef idx="0">
            <a:schemeClr val="accent1"/>
          </a:fillRef>
          <a:effectRef idx="0">
            <a:schemeClr val="accent1"/>
          </a:effectRef>
          <a:fontRef idx="minor">
            <a:schemeClr val="tx1"/>
          </a:fontRef>
        </p:style>
      </p:cxnSp>
      <p:cxnSp>
        <p:nvCxnSpPr>
          <p:cNvPr id="36" name="直接连接符 35">
            <a:extLst>
              <a:ext uri="{FF2B5EF4-FFF2-40B4-BE49-F238E27FC236}">
                <a16:creationId xmlns:a16="http://schemas.microsoft.com/office/drawing/2014/main" id="{DE3F6261-4DB8-4874-BFAA-B706FD04E961}"/>
              </a:ext>
            </a:extLst>
          </p:cNvPr>
          <p:cNvCxnSpPr>
            <a:cxnSpLocks/>
          </p:cNvCxnSpPr>
          <p:nvPr/>
        </p:nvCxnSpPr>
        <p:spPr>
          <a:xfrm rot="1472727">
            <a:off x="7715733" y="2928696"/>
            <a:ext cx="0" cy="504000"/>
          </a:xfrm>
          <a:prstGeom prst="line">
            <a:avLst/>
          </a:prstGeom>
          <a:ln w="57150"/>
        </p:spPr>
        <p:style>
          <a:lnRef idx="1">
            <a:schemeClr val="accent1"/>
          </a:lnRef>
          <a:fillRef idx="0">
            <a:schemeClr val="accent1"/>
          </a:fillRef>
          <a:effectRef idx="0">
            <a:schemeClr val="accent1"/>
          </a:effectRef>
          <a:fontRef idx="minor">
            <a:schemeClr val="tx1"/>
          </a:fontRef>
        </p:style>
      </p:cxnSp>
      <p:cxnSp>
        <p:nvCxnSpPr>
          <p:cNvPr id="37" name="直接连接符 36">
            <a:extLst>
              <a:ext uri="{FF2B5EF4-FFF2-40B4-BE49-F238E27FC236}">
                <a16:creationId xmlns:a16="http://schemas.microsoft.com/office/drawing/2014/main" id="{FFAAAB81-0DE6-4E14-B705-981507FA5ED4}"/>
              </a:ext>
            </a:extLst>
          </p:cNvPr>
          <p:cNvCxnSpPr>
            <a:cxnSpLocks/>
          </p:cNvCxnSpPr>
          <p:nvPr/>
        </p:nvCxnSpPr>
        <p:spPr>
          <a:xfrm rot="2454546">
            <a:off x="8565847" y="3791683"/>
            <a:ext cx="0" cy="216000"/>
          </a:xfrm>
          <a:prstGeom prst="line">
            <a:avLst/>
          </a:prstGeom>
          <a:ln w="57150"/>
        </p:spPr>
        <p:style>
          <a:lnRef idx="1">
            <a:schemeClr val="accent1"/>
          </a:lnRef>
          <a:fillRef idx="0">
            <a:schemeClr val="accent1"/>
          </a:fillRef>
          <a:effectRef idx="0">
            <a:schemeClr val="accent1"/>
          </a:effectRef>
          <a:fontRef idx="minor">
            <a:schemeClr val="tx1"/>
          </a:fontRef>
        </p:style>
      </p:cxnSp>
      <p:cxnSp>
        <p:nvCxnSpPr>
          <p:cNvPr id="38" name="直接连接符 37">
            <a:extLst>
              <a:ext uri="{FF2B5EF4-FFF2-40B4-BE49-F238E27FC236}">
                <a16:creationId xmlns:a16="http://schemas.microsoft.com/office/drawing/2014/main" id="{AD213652-EF68-480F-92FB-7501533137B9}"/>
              </a:ext>
            </a:extLst>
          </p:cNvPr>
          <p:cNvCxnSpPr>
            <a:cxnSpLocks/>
          </p:cNvCxnSpPr>
          <p:nvPr/>
        </p:nvCxnSpPr>
        <p:spPr>
          <a:xfrm rot="3436364">
            <a:off x="9332833" y="4618750"/>
            <a:ext cx="0" cy="216000"/>
          </a:xfrm>
          <a:prstGeom prst="line">
            <a:avLst/>
          </a:prstGeom>
          <a:ln w="57150"/>
        </p:spPr>
        <p:style>
          <a:lnRef idx="1">
            <a:schemeClr val="accent1"/>
          </a:lnRef>
          <a:fillRef idx="0">
            <a:schemeClr val="accent1"/>
          </a:fillRef>
          <a:effectRef idx="0">
            <a:schemeClr val="accent1"/>
          </a:effectRef>
          <a:fontRef idx="minor">
            <a:schemeClr val="tx1"/>
          </a:fontRef>
        </p:style>
      </p:cxnSp>
      <p:cxnSp>
        <p:nvCxnSpPr>
          <p:cNvPr id="39" name="直接连接符 38">
            <a:extLst>
              <a:ext uri="{FF2B5EF4-FFF2-40B4-BE49-F238E27FC236}">
                <a16:creationId xmlns:a16="http://schemas.microsoft.com/office/drawing/2014/main" id="{428F0363-BB45-4332-8FA5-0A1A9CD12526}"/>
              </a:ext>
            </a:extLst>
          </p:cNvPr>
          <p:cNvCxnSpPr>
            <a:cxnSpLocks/>
          </p:cNvCxnSpPr>
          <p:nvPr/>
        </p:nvCxnSpPr>
        <p:spPr>
          <a:xfrm rot="4418182">
            <a:off x="9903821" y="5354131"/>
            <a:ext cx="0" cy="504000"/>
          </a:xfrm>
          <a:prstGeom prst="line">
            <a:avLst/>
          </a:prstGeom>
          <a:ln w="57150"/>
        </p:spPr>
        <p:style>
          <a:lnRef idx="1">
            <a:schemeClr val="accent1"/>
          </a:lnRef>
          <a:fillRef idx="0">
            <a:schemeClr val="accent1"/>
          </a:fillRef>
          <a:effectRef idx="0">
            <a:schemeClr val="accent1"/>
          </a:effectRef>
          <a:fontRef idx="minor">
            <a:schemeClr val="tx1"/>
          </a:fontRef>
        </p:style>
      </p:cxnSp>
      <p:cxnSp>
        <p:nvCxnSpPr>
          <p:cNvPr id="40" name="直接连接符 39">
            <a:extLst>
              <a:ext uri="{FF2B5EF4-FFF2-40B4-BE49-F238E27FC236}">
                <a16:creationId xmlns:a16="http://schemas.microsoft.com/office/drawing/2014/main" id="{5309E29E-193D-4B93-8951-BFD19E2BF82D}"/>
              </a:ext>
            </a:extLst>
          </p:cNvPr>
          <p:cNvCxnSpPr>
            <a:cxnSpLocks/>
          </p:cNvCxnSpPr>
          <p:nvPr/>
        </p:nvCxnSpPr>
        <p:spPr>
          <a:xfrm rot="5400000">
            <a:off x="9966375" y="6619425"/>
            <a:ext cx="0" cy="216000"/>
          </a:xfrm>
          <a:prstGeom prst="line">
            <a:avLst/>
          </a:prstGeom>
          <a:ln w="57150"/>
        </p:spPr>
        <p:style>
          <a:lnRef idx="1">
            <a:schemeClr val="accent1"/>
          </a:lnRef>
          <a:fillRef idx="0">
            <a:schemeClr val="accent1"/>
          </a:fillRef>
          <a:effectRef idx="0">
            <a:schemeClr val="accent1"/>
          </a:effectRef>
          <a:fontRef idx="minor">
            <a:schemeClr val="tx1"/>
          </a:fontRef>
        </p:style>
      </p:cxnSp>
      <p:sp>
        <p:nvSpPr>
          <p:cNvPr id="17" name="任意多边形: 形状 16">
            <a:extLst>
              <a:ext uri="{FF2B5EF4-FFF2-40B4-BE49-F238E27FC236}">
                <a16:creationId xmlns:a16="http://schemas.microsoft.com/office/drawing/2014/main" id="{FCAC26D8-C35D-4B2B-A9E3-87FCEAE9A5FC}"/>
              </a:ext>
            </a:extLst>
          </p:cNvPr>
          <p:cNvSpPr/>
          <p:nvPr/>
        </p:nvSpPr>
        <p:spPr>
          <a:xfrm>
            <a:off x="3169259" y="4046221"/>
            <a:ext cx="5853486" cy="2922968"/>
          </a:xfrm>
          <a:custGeom>
            <a:avLst/>
            <a:gdLst>
              <a:gd name="connsiteX0" fmla="*/ 2704079 w 5408159"/>
              <a:gd name="connsiteY0" fmla="*/ 0 h 2700593"/>
              <a:gd name="connsiteX1" fmla="*/ 5394382 w 5408159"/>
              <a:gd name="connsiteY1" fmla="*/ 2427770 h 2700593"/>
              <a:gd name="connsiteX2" fmla="*/ 5408159 w 5408159"/>
              <a:gd name="connsiteY2" fmla="*/ 2700593 h 2700593"/>
              <a:gd name="connsiteX3" fmla="*/ 0 w 5408159"/>
              <a:gd name="connsiteY3" fmla="*/ 2700593 h 2700593"/>
              <a:gd name="connsiteX4" fmla="*/ 13776 w 5408159"/>
              <a:gd name="connsiteY4" fmla="*/ 2427770 h 2700593"/>
              <a:gd name="connsiteX5" fmla="*/ 2704079 w 5408159"/>
              <a:gd name="connsiteY5" fmla="*/ 0 h 27005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08159" h="2700593">
                <a:moveTo>
                  <a:pt x="2704079" y="0"/>
                </a:moveTo>
                <a:cubicBezTo>
                  <a:pt x="4104258" y="0"/>
                  <a:pt x="5255897" y="1064128"/>
                  <a:pt x="5394382" y="2427770"/>
                </a:cubicBezTo>
                <a:lnTo>
                  <a:pt x="5408159" y="2700593"/>
                </a:lnTo>
                <a:lnTo>
                  <a:pt x="0" y="2700593"/>
                </a:lnTo>
                <a:lnTo>
                  <a:pt x="13776" y="2427770"/>
                </a:lnTo>
                <a:cubicBezTo>
                  <a:pt x="152262" y="1064128"/>
                  <a:pt x="1303901" y="0"/>
                  <a:pt x="2704079"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l"/>
            <a:endParaRPr lang="zh-CN" altLang="en-US" sz="1600">
              <a:solidFill>
                <a:schemeClr val="bg1"/>
              </a:solidFill>
              <a:latin typeface="+mj-ea"/>
              <a:ea typeface="+mj-ea"/>
            </a:endParaRPr>
          </a:p>
        </p:txBody>
      </p:sp>
      <p:sp>
        <p:nvSpPr>
          <p:cNvPr id="5" name="文本框 4">
            <a:extLst>
              <a:ext uri="{FF2B5EF4-FFF2-40B4-BE49-F238E27FC236}">
                <a16:creationId xmlns:a16="http://schemas.microsoft.com/office/drawing/2014/main" id="{4B48C842-70F2-40FC-A7CF-A29CE92B03AD}"/>
              </a:ext>
            </a:extLst>
          </p:cNvPr>
          <p:cNvSpPr txBox="1"/>
          <p:nvPr/>
        </p:nvSpPr>
        <p:spPr>
          <a:xfrm>
            <a:off x="5249616" y="5606131"/>
            <a:ext cx="1692772" cy="677108"/>
          </a:xfrm>
          <a:prstGeom prst="rect">
            <a:avLst/>
          </a:prstGeom>
          <a:noFill/>
        </p:spPr>
        <p:txBody>
          <a:bodyPr wrap="none" lIns="0" tIns="0" rIns="0" bIns="0" rtlCol="0" anchor="t">
            <a:spAutoFit/>
          </a:bodyPr>
          <a:lstStyle/>
          <a:p>
            <a:pPr algn="ctr"/>
            <a:r>
              <a:rPr lang="zh-CN" altLang="en-US" sz="4400" dirty="0">
                <a:solidFill>
                  <a:schemeClr val="bg1"/>
                </a:solidFill>
              </a:rPr>
              <a:t>关键词</a:t>
            </a:r>
          </a:p>
        </p:txBody>
      </p:sp>
      <p:sp>
        <p:nvSpPr>
          <p:cNvPr id="19" name="文本框 18">
            <a:extLst>
              <a:ext uri="{FF2B5EF4-FFF2-40B4-BE49-F238E27FC236}">
                <a16:creationId xmlns:a16="http://schemas.microsoft.com/office/drawing/2014/main" id="{0E190F4A-E02B-4FC0-8A45-F7C67B370624}"/>
              </a:ext>
            </a:extLst>
          </p:cNvPr>
          <p:cNvSpPr txBox="1"/>
          <p:nvPr/>
        </p:nvSpPr>
        <p:spPr>
          <a:xfrm rot="17352244">
            <a:off x="2544648" y="5621334"/>
            <a:ext cx="859210" cy="369332"/>
          </a:xfrm>
          <a:prstGeom prst="rect">
            <a:avLst/>
          </a:prstGeom>
          <a:noFill/>
        </p:spPr>
        <p:txBody>
          <a:bodyPr wrap="none" lIns="0" tIns="0" rIns="0" bIns="0" rtlCol="0" anchor="t">
            <a:spAutoFit/>
          </a:bodyPr>
          <a:lstStyle/>
          <a:p>
            <a:pPr algn="ctr"/>
            <a:r>
              <a:rPr lang="en-US" altLang="zh-CN" sz="2400" dirty="0">
                <a:solidFill>
                  <a:schemeClr val="accent1"/>
                </a:solidFill>
                <a:latin typeface="+mj-ea"/>
                <a:ea typeface="+mj-ea"/>
              </a:rPr>
              <a:t>20XX</a:t>
            </a:r>
            <a:endParaRPr lang="zh-CN" altLang="en-US" sz="2400" dirty="0">
              <a:solidFill>
                <a:schemeClr val="accent1"/>
              </a:solidFill>
              <a:latin typeface="+mj-ea"/>
              <a:ea typeface="+mj-ea"/>
            </a:endParaRPr>
          </a:p>
        </p:txBody>
      </p:sp>
      <p:sp>
        <p:nvSpPr>
          <p:cNvPr id="20" name="文本框 19">
            <a:extLst>
              <a:ext uri="{FF2B5EF4-FFF2-40B4-BE49-F238E27FC236}">
                <a16:creationId xmlns:a16="http://schemas.microsoft.com/office/drawing/2014/main" id="{DF710314-E75F-4489-8BBC-FCDF1DD4EE81}"/>
              </a:ext>
            </a:extLst>
          </p:cNvPr>
          <p:cNvSpPr txBox="1"/>
          <p:nvPr/>
        </p:nvSpPr>
        <p:spPr>
          <a:xfrm rot="20032572">
            <a:off x="4362363" y="3691700"/>
            <a:ext cx="859210" cy="369332"/>
          </a:xfrm>
          <a:prstGeom prst="rect">
            <a:avLst/>
          </a:prstGeom>
          <a:noFill/>
        </p:spPr>
        <p:txBody>
          <a:bodyPr wrap="none" lIns="0" tIns="0" rIns="0" bIns="0" rtlCol="0" anchor="t">
            <a:spAutoFit/>
          </a:bodyPr>
          <a:lstStyle/>
          <a:p>
            <a:pPr algn="ctr"/>
            <a:r>
              <a:rPr lang="en-US" altLang="zh-CN" sz="2400" dirty="0">
                <a:solidFill>
                  <a:schemeClr val="accent1"/>
                </a:solidFill>
                <a:latin typeface="+mj-ea"/>
                <a:ea typeface="+mj-ea"/>
              </a:rPr>
              <a:t>20XX</a:t>
            </a:r>
            <a:endParaRPr lang="zh-CN" altLang="en-US" sz="2400" dirty="0">
              <a:solidFill>
                <a:schemeClr val="accent1"/>
              </a:solidFill>
              <a:latin typeface="+mj-ea"/>
              <a:ea typeface="+mj-ea"/>
            </a:endParaRPr>
          </a:p>
        </p:txBody>
      </p:sp>
      <p:sp>
        <p:nvSpPr>
          <p:cNvPr id="21" name="文本框 20">
            <a:extLst>
              <a:ext uri="{FF2B5EF4-FFF2-40B4-BE49-F238E27FC236}">
                <a16:creationId xmlns:a16="http://schemas.microsoft.com/office/drawing/2014/main" id="{3218F275-03CF-4D3C-A6BB-E9257E5F78E4}"/>
              </a:ext>
            </a:extLst>
          </p:cNvPr>
          <p:cNvSpPr txBox="1"/>
          <p:nvPr/>
        </p:nvSpPr>
        <p:spPr>
          <a:xfrm rot="1428052">
            <a:off x="7021840" y="3691700"/>
            <a:ext cx="859210" cy="369332"/>
          </a:xfrm>
          <a:prstGeom prst="rect">
            <a:avLst/>
          </a:prstGeom>
          <a:noFill/>
        </p:spPr>
        <p:txBody>
          <a:bodyPr wrap="none" lIns="0" tIns="0" rIns="0" bIns="0" rtlCol="0" anchor="t">
            <a:spAutoFit/>
          </a:bodyPr>
          <a:lstStyle/>
          <a:p>
            <a:pPr algn="ctr"/>
            <a:r>
              <a:rPr lang="en-US" altLang="zh-CN" sz="2400" dirty="0">
                <a:solidFill>
                  <a:schemeClr val="accent1"/>
                </a:solidFill>
                <a:latin typeface="+mj-ea"/>
                <a:ea typeface="+mj-ea"/>
              </a:rPr>
              <a:t>20XX</a:t>
            </a:r>
            <a:endParaRPr lang="zh-CN" altLang="en-US" sz="2400" dirty="0">
              <a:solidFill>
                <a:schemeClr val="accent1"/>
              </a:solidFill>
              <a:latin typeface="+mj-ea"/>
              <a:ea typeface="+mj-ea"/>
            </a:endParaRPr>
          </a:p>
        </p:txBody>
      </p:sp>
      <p:sp>
        <p:nvSpPr>
          <p:cNvPr id="22" name="文本框 21">
            <a:extLst>
              <a:ext uri="{FF2B5EF4-FFF2-40B4-BE49-F238E27FC236}">
                <a16:creationId xmlns:a16="http://schemas.microsoft.com/office/drawing/2014/main" id="{838A38F7-B027-465E-85E0-A53552901599}"/>
              </a:ext>
            </a:extLst>
          </p:cNvPr>
          <p:cNvSpPr txBox="1"/>
          <p:nvPr/>
        </p:nvSpPr>
        <p:spPr>
          <a:xfrm rot="4214579">
            <a:off x="8788144" y="5621334"/>
            <a:ext cx="859210" cy="369332"/>
          </a:xfrm>
          <a:prstGeom prst="rect">
            <a:avLst/>
          </a:prstGeom>
          <a:noFill/>
        </p:spPr>
        <p:txBody>
          <a:bodyPr wrap="none" lIns="0" tIns="0" rIns="0" bIns="0" rtlCol="0" anchor="t">
            <a:spAutoFit/>
          </a:bodyPr>
          <a:lstStyle/>
          <a:p>
            <a:pPr algn="ctr"/>
            <a:r>
              <a:rPr lang="en-US" altLang="zh-CN" sz="2400" dirty="0">
                <a:solidFill>
                  <a:schemeClr val="accent1"/>
                </a:solidFill>
                <a:latin typeface="+mj-ea"/>
                <a:ea typeface="+mj-ea"/>
              </a:rPr>
              <a:t>20XX</a:t>
            </a:r>
            <a:endParaRPr lang="zh-CN" altLang="en-US" sz="2400" dirty="0">
              <a:solidFill>
                <a:schemeClr val="accent1"/>
              </a:solidFill>
              <a:latin typeface="+mj-ea"/>
              <a:ea typeface="+mj-ea"/>
            </a:endParaRPr>
          </a:p>
        </p:txBody>
      </p:sp>
      <p:sp>
        <p:nvSpPr>
          <p:cNvPr id="23" name="文本框 22">
            <a:extLst>
              <a:ext uri="{FF2B5EF4-FFF2-40B4-BE49-F238E27FC236}">
                <a16:creationId xmlns:a16="http://schemas.microsoft.com/office/drawing/2014/main" id="{39CBAA7E-9B77-4885-B3AE-56F8ADF0271D}"/>
              </a:ext>
            </a:extLst>
          </p:cNvPr>
          <p:cNvSpPr txBox="1"/>
          <p:nvPr/>
        </p:nvSpPr>
        <p:spPr>
          <a:xfrm>
            <a:off x="-166009" y="5158325"/>
            <a:ext cx="2236509" cy="523220"/>
          </a:xfrm>
          <a:prstGeom prst="rect">
            <a:avLst/>
          </a:prstGeom>
          <a:noFill/>
        </p:spPr>
        <p:txBody>
          <a:bodyPr wrap="square" rtlCol="0">
            <a:spAutoFit/>
          </a:bodyPr>
          <a:lstStyle/>
          <a:p>
            <a:pPr algn="r"/>
            <a:r>
              <a:rPr lang="en-US" altLang="zh-CN" sz="1400" dirty="0"/>
              <a:t>Lorem ipsum dolor sit amet, consectetur</a:t>
            </a:r>
            <a:endParaRPr lang="zh-CN" altLang="en-US" sz="1400" dirty="0"/>
          </a:p>
        </p:txBody>
      </p:sp>
      <p:sp>
        <p:nvSpPr>
          <p:cNvPr id="24" name="文本框 23">
            <a:extLst>
              <a:ext uri="{FF2B5EF4-FFF2-40B4-BE49-F238E27FC236}">
                <a16:creationId xmlns:a16="http://schemas.microsoft.com/office/drawing/2014/main" id="{042AE807-804A-469D-B5F8-A5371E661F01}"/>
              </a:ext>
            </a:extLst>
          </p:cNvPr>
          <p:cNvSpPr txBox="1"/>
          <p:nvPr/>
        </p:nvSpPr>
        <p:spPr>
          <a:xfrm>
            <a:off x="3022489" y="2345831"/>
            <a:ext cx="2236509" cy="523220"/>
          </a:xfrm>
          <a:prstGeom prst="rect">
            <a:avLst/>
          </a:prstGeom>
          <a:noFill/>
        </p:spPr>
        <p:txBody>
          <a:bodyPr wrap="square" rtlCol="0">
            <a:spAutoFit/>
          </a:bodyPr>
          <a:lstStyle/>
          <a:p>
            <a:pPr algn="ctr"/>
            <a:r>
              <a:rPr lang="en-US" altLang="zh-CN" sz="1400" dirty="0"/>
              <a:t>Lorem ipsum dolor sit amet, consectetur</a:t>
            </a:r>
            <a:endParaRPr lang="zh-CN" altLang="en-US" sz="1400" dirty="0"/>
          </a:p>
        </p:txBody>
      </p:sp>
      <p:sp>
        <p:nvSpPr>
          <p:cNvPr id="25" name="文本框 24">
            <a:extLst>
              <a:ext uri="{FF2B5EF4-FFF2-40B4-BE49-F238E27FC236}">
                <a16:creationId xmlns:a16="http://schemas.microsoft.com/office/drawing/2014/main" id="{9DBD005C-815A-451D-9513-4D2116B7A851}"/>
              </a:ext>
            </a:extLst>
          </p:cNvPr>
          <p:cNvSpPr txBox="1"/>
          <p:nvPr/>
        </p:nvSpPr>
        <p:spPr>
          <a:xfrm>
            <a:off x="6625186" y="2345831"/>
            <a:ext cx="2236509" cy="523220"/>
          </a:xfrm>
          <a:prstGeom prst="rect">
            <a:avLst/>
          </a:prstGeom>
          <a:noFill/>
        </p:spPr>
        <p:txBody>
          <a:bodyPr wrap="square" rtlCol="0">
            <a:spAutoFit/>
          </a:bodyPr>
          <a:lstStyle/>
          <a:p>
            <a:pPr algn="ctr"/>
            <a:r>
              <a:rPr lang="en-US" altLang="zh-CN" sz="1400" dirty="0"/>
              <a:t>Lorem ipsum dolor sit amet, consectetur</a:t>
            </a:r>
            <a:endParaRPr lang="zh-CN" altLang="en-US" sz="1400" dirty="0"/>
          </a:p>
        </p:txBody>
      </p:sp>
      <p:sp>
        <p:nvSpPr>
          <p:cNvPr id="26" name="文本框 25">
            <a:extLst>
              <a:ext uri="{FF2B5EF4-FFF2-40B4-BE49-F238E27FC236}">
                <a16:creationId xmlns:a16="http://schemas.microsoft.com/office/drawing/2014/main" id="{B455070D-D95C-468F-8849-0F5BC8FA7F31}"/>
              </a:ext>
            </a:extLst>
          </p:cNvPr>
          <p:cNvSpPr txBox="1"/>
          <p:nvPr/>
        </p:nvSpPr>
        <p:spPr>
          <a:xfrm>
            <a:off x="10172300" y="5246095"/>
            <a:ext cx="2236509" cy="523220"/>
          </a:xfrm>
          <a:prstGeom prst="rect">
            <a:avLst/>
          </a:prstGeom>
          <a:noFill/>
        </p:spPr>
        <p:txBody>
          <a:bodyPr wrap="square" rtlCol="0">
            <a:spAutoFit/>
          </a:bodyPr>
          <a:lstStyle/>
          <a:p>
            <a:r>
              <a:rPr lang="en-US" altLang="zh-CN" sz="1400" dirty="0"/>
              <a:t>Lorem ipsum dolor sit amet, consectetur</a:t>
            </a:r>
            <a:endParaRPr lang="zh-CN" altLang="en-US" sz="1400" dirty="0"/>
          </a:p>
        </p:txBody>
      </p:sp>
    </p:spTree>
    <p:extLst>
      <p:ext uri="{BB962C8B-B14F-4D97-AF65-F5344CB8AC3E}">
        <p14:creationId xmlns:p14="http://schemas.microsoft.com/office/powerpoint/2010/main" val="265596036"/>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3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 name="直接箭头连接符 4">
            <a:extLst>
              <a:ext uri="{FF2B5EF4-FFF2-40B4-BE49-F238E27FC236}">
                <a16:creationId xmlns:a16="http://schemas.microsoft.com/office/drawing/2014/main" id="{97DDE91B-219D-45B9-B42D-6EE9D8225D40}"/>
              </a:ext>
            </a:extLst>
          </p:cNvPr>
          <p:cNvCxnSpPr>
            <a:cxnSpLocks/>
          </p:cNvCxnSpPr>
          <p:nvPr/>
        </p:nvCxnSpPr>
        <p:spPr>
          <a:xfrm>
            <a:off x="552450" y="3704772"/>
            <a:ext cx="11087100" cy="0"/>
          </a:xfrm>
          <a:prstGeom prst="straightConnector1">
            <a:avLst/>
          </a:prstGeom>
          <a:ln w="63500">
            <a:tailEnd type="triangle"/>
          </a:ln>
        </p:spPr>
        <p:style>
          <a:lnRef idx="1">
            <a:schemeClr val="accent1"/>
          </a:lnRef>
          <a:fillRef idx="0">
            <a:schemeClr val="accent1"/>
          </a:fillRef>
          <a:effectRef idx="0">
            <a:schemeClr val="accent1"/>
          </a:effectRef>
          <a:fontRef idx="minor">
            <a:schemeClr val="tx1"/>
          </a:fontRef>
        </p:style>
      </p:cxnSp>
      <p:cxnSp>
        <p:nvCxnSpPr>
          <p:cNvPr id="6" name="直接连接符 5">
            <a:extLst>
              <a:ext uri="{FF2B5EF4-FFF2-40B4-BE49-F238E27FC236}">
                <a16:creationId xmlns:a16="http://schemas.microsoft.com/office/drawing/2014/main" id="{303326DD-C4FF-4B3C-87BC-D0A03213E295}"/>
              </a:ext>
            </a:extLst>
          </p:cNvPr>
          <p:cNvCxnSpPr>
            <a:cxnSpLocks/>
          </p:cNvCxnSpPr>
          <p:nvPr/>
        </p:nvCxnSpPr>
        <p:spPr>
          <a:xfrm>
            <a:off x="1065188" y="2389415"/>
            <a:ext cx="0" cy="1315357"/>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2" name="椭圆 11">
            <a:extLst>
              <a:ext uri="{FF2B5EF4-FFF2-40B4-BE49-F238E27FC236}">
                <a16:creationId xmlns:a16="http://schemas.microsoft.com/office/drawing/2014/main" id="{C89989FD-9E33-41F3-B31A-07634BC0FB83}"/>
              </a:ext>
            </a:extLst>
          </p:cNvPr>
          <p:cNvSpPr/>
          <p:nvPr/>
        </p:nvSpPr>
        <p:spPr>
          <a:xfrm>
            <a:off x="1017938" y="2342163"/>
            <a:ext cx="94501" cy="94501"/>
          </a:xfrm>
          <a:prstGeom prst="ellipse">
            <a:avLst/>
          </a:pr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7" name="文本框 16">
            <a:extLst>
              <a:ext uri="{FF2B5EF4-FFF2-40B4-BE49-F238E27FC236}">
                <a16:creationId xmlns:a16="http://schemas.microsoft.com/office/drawing/2014/main" id="{EDD820D0-6294-4209-AAAF-4FBFC953FC91}"/>
              </a:ext>
            </a:extLst>
          </p:cNvPr>
          <p:cNvSpPr txBox="1"/>
          <p:nvPr/>
        </p:nvSpPr>
        <p:spPr>
          <a:xfrm>
            <a:off x="1211251" y="2247627"/>
            <a:ext cx="2236510" cy="400110"/>
          </a:xfrm>
          <a:prstGeom prst="rect">
            <a:avLst/>
          </a:prstGeom>
          <a:noFill/>
        </p:spPr>
        <p:txBody>
          <a:bodyPr wrap="none" rtlCol="0">
            <a:spAutoFit/>
          </a:bodyPr>
          <a:lstStyle/>
          <a:p>
            <a:pPr algn="ctr"/>
            <a:r>
              <a:rPr lang="zh-CN" altLang="en-US" sz="2000" dirty="0">
                <a:solidFill>
                  <a:schemeClr val="accent1"/>
                </a:solidFill>
                <a:latin typeface="+mj-ea"/>
                <a:ea typeface="+mj-ea"/>
              </a:rPr>
              <a:t>请在此处输入标题</a:t>
            </a:r>
          </a:p>
        </p:txBody>
      </p:sp>
      <p:sp>
        <p:nvSpPr>
          <p:cNvPr id="18" name="文本框 17">
            <a:extLst>
              <a:ext uri="{FF2B5EF4-FFF2-40B4-BE49-F238E27FC236}">
                <a16:creationId xmlns:a16="http://schemas.microsoft.com/office/drawing/2014/main" id="{729B5CA0-8C73-433A-90B8-3B312D36392E}"/>
              </a:ext>
            </a:extLst>
          </p:cNvPr>
          <p:cNvSpPr txBox="1"/>
          <p:nvPr/>
        </p:nvSpPr>
        <p:spPr>
          <a:xfrm>
            <a:off x="1235458" y="2641342"/>
            <a:ext cx="2236509" cy="600164"/>
          </a:xfrm>
          <a:prstGeom prst="rect">
            <a:avLst/>
          </a:prstGeom>
          <a:noFill/>
        </p:spPr>
        <p:txBody>
          <a:bodyPr wrap="square" rtlCol="0">
            <a:spAutoFit/>
          </a:bodyPr>
          <a:lstStyle/>
          <a:p>
            <a:pPr algn="just"/>
            <a:r>
              <a:rPr lang="en-US" altLang="zh-CN" sz="1100" dirty="0"/>
              <a:t>Lorem ipsum dolor sit amet, consectetur adipisicing elit, sed do eiusmod tempor</a:t>
            </a:r>
            <a:endParaRPr lang="zh-CN" altLang="en-US" sz="1100" dirty="0"/>
          </a:p>
        </p:txBody>
      </p:sp>
      <p:cxnSp>
        <p:nvCxnSpPr>
          <p:cNvPr id="8" name="直接连接符 7">
            <a:extLst>
              <a:ext uri="{FF2B5EF4-FFF2-40B4-BE49-F238E27FC236}">
                <a16:creationId xmlns:a16="http://schemas.microsoft.com/office/drawing/2014/main" id="{3B2F4441-E285-4A43-8162-11AA5B1EB66B}"/>
              </a:ext>
            </a:extLst>
          </p:cNvPr>
          <p:cNvCxnSpPr>
            <a:cxnSpLocks/>
          </p:cNvCxnSpPr>
          <p:nvPr/>
        </p:nvCxnSpPr>
        <p:spPr>
          <a:xfrm>
            <a:off x="4935557" y="2389415"/>
            <a:ext cx="0" cy="1315357"/>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3" name="椭圆 12">
            <a:extLst>
              <a:ext uri="{FF2B5EF4-FFF2-40B4-BE49-F238E27FC236}">
                <a16:creationId xmlns:a16="http://schemas.microsoft.com/office/drawing/2014/main" id="{BB69EB99-F6E9-4126-B4A5-996B37DBEFCF}"/>
              </a:ext>
            </a:extLst>
          </p:cNvPr>
          <p:cNvSpPr/>
          <p:nvPr/>
        </p:nvSpPr>
        <p:spPr>
          <a:xfrm>
            <a:off x="4888307" y="2342163"/>
            <a:ext cx="94501" cy="94501"/>
          </a:xfrm>
          <a:prstGeom prst="ellipse">
            <a:avLst/>
          </a:pr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9" name="文本框 18">
            <a:extLst>
              <a:ext uri="{FF2B5EF4-FFF2-40B4-BE49-F238E27FC236}">
                <a16:creationId xmlns:a16="http://schemas.microsoft.com/office/drawing/2014/main" id="{CB471B2B-0ECC-485B-B698-F5DFD952020C}"/>
              </a:ext>
            </a:extLst>
          </p:cNvPr>
          <p:cNvSpPr txBox="1"/>
          <p:nvPr/>
        </p:nvSpPr>
        <p:spPr>
          <a:xfrm>
            <a:off x="5087335" y="2247627"/>
            <a:ext cx="2236510" cy="400110"/>
          </a:xfrm>
          <a:prstGeom prst="rect">
            <a:avLst/>
          </a:prstGeom>
          <a:noFill/>
        </p:spPr>
        <p:txBody>
          <a:bodyPr wrap="none" rtlCol="0">
            <a:spAutoFit/>
          </a:bodyPr>
          <a:lstStyle/>
          <a:p>
            <a:pPr algn="ctr"/>
            <a:r>
              <a:rPr lang="zh-CN" altLang="en-US" sz="2000" dirty="0">
                <a:solidFill>
                  <a:schemeClr val="accent1"/>
                </a:solidFill>
                <a:latin typeface="+mj-ea"/>
                <a:ea typeface="+mj-ea"/>
              </a:rPr>
              <a:t>请在此处输入标题</a:t>
            </a:r>
          </a:p>
        </p:txBody>
      </p:sp>
      <p:sp>
        <p:nvSpPr>
          <p:cNvPr id="20" name="文本框 19">
            <a:extLst>
              <a:ext uri="{FF2B5EF4-FFF2-40B4-BE49-F238E27FC236}">
                <a16:creationId xmlns:a16="http://schemas.microsoft.com/office/drawing/2014/main" id="{CDCFEFAA-C130-4F3B-81D2-AA51F64D6349}"/>
              </a:ext>
            </a:extLst>
          </p:cNvPr>
          <p:cNvSpPr txBox="1"/>
          <p:nvPr/>
        </p:nvSpPr>
        <p:spPr>
          <a:xfrm>
            <a:off x="5111542" y="2641342"/>
            <a:ext cx="2236509" cy="600164"/>
          </a:xfrm>
          <a:prstGeom prst="rect">
            <a:avLst/>
          </a:prstGeom>
          <a:noFill/>
        </p:spPr>
        <p:txBody>
          <a:bodyPr wrap="square" rtlCol="0">
            <a:spAutoFit/>
          </a:bodyPr>
          <a:lstStyle/>
          <a:p>
            <a:pPr algn="just"/>
            <a:r>
              <a:rPr lang="en-US" altLang="zh-CN" sz="1100" dirty="0"/>
              <a:t>Lorem ipsum dolor sit amet, consectetur adipisicing elit, sed do eiusmod tempor</a:t>
            </a:r>
            <a:endParaRPr lang="zh-CN" altLang="en-US" sz="1100" dirty="0"/>
          </a:p>
        </p:txBody>
      </p:sp>
      <p:cxnSp>
        <p:nvCxnSpPr>
          <p:cNvPr id="9" name="直接连接符 8">
            <a:extLst>
              <a:ext uri="{FF2B5EF4-FFF2-40B4-BE49-F238E27FC236}">
                <a16:creationId xmlns:a16="http://schemas.microsoft.com/office/drawing/2014/main" id="{722E5F62-FA5F-4100-A535-16F9909957C0}"/>
              </a:ext>
            </a:extLst>
          </p:cNvPr>
          <p:cNvCxnSpPr>
            <a:cxnSpLocks/>
          </p:cNvCxnSpPr>
          <p:nvPr/>
        </p:nvCxnSpPr>
        <p:spPr>
          <a:xfrm>
            <a:off x="8832598" y="2389415"/>
            <a:ext cx="0" cy="1315357"/>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4" name="椭圆 13">
            <a:extLst>
              <a:ext uri="{FF2B5EF4-FFF2-40B4-BE49-F238E27FC236}">
                <a16:creationId xmlns:a16="http://schemas.microsoft.com/office/drawing/2014/main" id="{94DA4583-471F-4910-AC20-589821D15445}"/>
              </a:ext>
            </a:extLst>
          </p:cNvPr>
          <p:cNvSpPr/>
          <p:nvPr/>
        </p:nvSpPr>
        <p:spPr>
          <a:xfrm>
            <a:off x="8785348" y="2342163"/>
            <a:ext cx="94501" cy="94501"/>
          </a:xfrm>
          <a:prstGeom prst="ellipse">
            <a:avLst/>
          </a:pr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1" name="文本框 20">
            <a:extLst>
              <a:ext uri="{FF2B5EF4-FFF2-40B4-BE49-F238E27FC236}">
                <a16:creationId xmlns:a16="http://schemas.microsoft.com/office/drawing/2014/main" id="{920A6213-EF15-46BA-9B78-EFA46A67FF8E}"/>
              </a:ext>
            </a:extLst>
          </p:cNvPr>
          <p:cNvSpPr txBox="1"/>
          <p:nvPr/>
        </p:nvSpPr>
        <p:spPr>
          <a:xfrm>
            <a:off x="8984376" y="2247627"/>
            <a:ext cx="2236510" cy="400110"/>
          </a:xfrm>
          <a:prstGeom prst="rect">
            <a:avLst/>
          </a:prstGeom>
          <a:noFill/>
        </p:spPr>
        <p:txBody>
          <a:bodyPr wrap="none" rtlCol="0">
            <a:spAutoFit/>
          </a:bodyPr>
          <a:lstStyle/>
          <a:p>
            <a:pPr algn="ctr"/>
            <a:r>
              <a:rPr lang="zh-CN" altLang="en-US" sz="2000" dirty="0">
                <a:solidFill>
                  <a:schemeClr val="accent1"/>
                </a:solidFill>
                <a:latin typeface="+mj-ea"/>
                <a:ea typeface="+mj-ea"/>
              </a:rPr>
              <a:t>请在此处输入标题</a:t>
            </a:r>
          </a:p>
        </p:txBody>
      </p:sp>
      <p:sp>
        <p:nvSpPr>
          <p:cNvPr id="22" name="文本框 21">
            <a:extLst>
              <a:ext uri="{FF2B5EF4-FFF2-40B4-BE49-F238E27FC236}">
                <a16:creationId xmlns:a16="http://schemas.microsoft.com/office/drawing/2014/main" id="{0AD15B0F-7B1F-468B-A7C8-C065E1068880}"/>
              </a:ext>
            </a:extLst>
          </p:cNvPr>
          <p:cNvSpPr txBox="1"/>
          <p:nvPr/>
        </p:nvSpPr>
        <p:spPr>
          <a:xfrm>
            <a:off x="9008583" y="2641342"/>
            <a:ext cx="2236509" cy="600164"/>
          </a:xfrm>
          <a:prstGeom prst="rect">
            <a:avLst/>
          </a:prstGeom>
          <a:noFill/>
        </p:spPr>
        <p:txBody>
          <a:bodyPr wrap="square" rtlCol="0">
            <a:spAutoFit/>
          </a:bodyPr>
          <a:lstStyle/>
          <a:p>
            <a:pPr algn="just"/>
            <a:r>
              <a:rPr lang="en-US" altLang="zh-CN" sz="1100" dirty="0"/>
              <a:t>Lorem ipsum dolor sit amet, consectetur adipisicing elit, sed do eiusmod tempor</a:t>
            </a:r>
            <a:endParaRPr lang="zh-CN" altLang="en-US" sz="1100" dirty="0"/>
          </a:p>
        </p:txBody>
      </p:sp>
      <p:cxnSp>
        <p:nvCxnSpPr>
          <p:cNvPr id="10" name="直接连接符 9">
            <a:extLst>
              <a:ext uri="{FF2B5EF4-FFF2-40B4-BE49-F238E27FC236}">
                <a16:creationId xmlns:a16="http://schemas.microsoft.com/office/drawing/2014/main" id="{BAAEB7D2-FFB3-47BE-AA24-9CBB9C9B8670}"/>
              </a:ext>
            </a:extLst>
          </p:cNvPr>
          <p:cNvCxnSpPr>
            <a:cxnSpLocks/>
          </p:cNvCxnSpPr>
          <p:nvPr/>
        </p:nvCxnSpPr>
        <p:spPr>
          <a:xfrm>
            <a:off x="3027105" y="3704772"/>
            <a:ext cx="0" cy="1315357"/>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6" name="椭圆 15">
            <a:extLst>
              <a:ext uri="{FF2B5EF4-FFF2-40B4-BE49-F238E27FC236}">
                <a16:creationId xmlns:a16="http://schemas.microsoft.com/office/drawing/2014/main" id="{D7814432-DF75-4698-8AF3-545789D8A65F}"/>
              </a:ext>
            </a:extLst>
          </p:cNvPr>
          <p:cNvSpPr/>
          <p:nvPr/>
        </p:nvSpPr>
        <p:spPr>
          <a:xfrm>
            <a:off x="2979855" y="4972879"/>
            <a:ext cx="94501" cy="94501"/>
          </a:xfrm>
          <a:prstGeom prst="ellipse">
            <a:avLst/>
          </a:pr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3" name="文本框 22">
            <a:extLst>
              <a:ext uri="{FF2B5EF4-FFF2-40B4-BE49-F238E27FC236}">
                <a16:creationId xmlns:a16="http://schemas.microsoft.com/office/drawing/2014/main" id="{0E959C9F-7CE7-4DCF-B35C-D31D7D07D85A}"/>
              </a:ext>
            </a:extLst>
          </p:cNvPr>
          <p:cNvSpPr txBox="1"/>
          <p:nvPr/>
        </p:nvSpPr>
        <p:spPr>
          <a:xfrm>
            <a:off x="3119703" y="3974827"/>
            <a:ext cx="2236510" cy="400110"/>
          </a:xfrm>
          <a:prstGeom prst="rect">
            <a:avLst/>
          </a:prstGeom>
          <a:noFill/>
        </p:spPr>
        <p:txBody>
          <a:bodyPr wrap="none" rtlCol="0">
            <a:spAutoFit/>
          </a:bodyPr>
          <a:lstStyle/>
          <a:p>
            <a:pPr algn="ctr"/>
            <a:r>
              <a:rPr lang="zh-CN" altLang="en-US" sz="2000" dirty="0">
                <a:solidFill>
                  <a:schemeClr val="accent1"/>
                </a:solidFill>
                <a:latin typeface="+mj-ea"/>
                <a:ea typeface="+mj-ea"/>
              </a:rPr>
              <a:t>请在此处输入标题</a:t>
            </a:r>
          </a:p>
        </p:txBody>
      </p:sp>
      <p:sp>
        <p:nvSpPr>
          <p:cNvPr id="24" name="文本框 23">
            <a:extLst>
              <a:ext uri="{FF2B5EF4-FFF2-40B4-BE49-F238E27FC236}">
                <a16:creationId xmlns:a16="http://schemas.microsoft.com/office/drawing/2014/main" id="{DCCF2018-51D5-43EC-974E-0DABE9C4B541}"/>
              </a:ext>
            </a:extLst>
          </p:cNvPr>
          <p:cNvSpPr txBox="1"/>
          <p:nvPr/>
        </p:nvSpPr>
        <p:spPr>
          <a:xfrm>
            <a:off x="3143910" y="4368542"/>
            <a:ext cx="2236509" cy="600164"/>
          </a:xfrm>
          <a:prstGeom prst="rect">
            <a:avLst/>
          </a:prstGeom>
          <a:noFill/>
        </p:spPr>
        <p:txBody>
          <a:bodyPr wrap="square" rtlCol="0">
            <a:spAutoFit/>
          </a:bodyPr>
          <a:lstStyle/>
          <a:p>
            <a:pPr algn="just"/>
            <a:r>
              <a:rPr lang="en-US" altLang="zh-CN" sz="1100" dirty="0"/>
              <a:t>Lorem ipsum dolor sit amet, consectetur adipisicing elit, sed do eiusmod tempor</a:t>
            </a:r>
            <a:endParaRPr lang="zh-CN" altLang="en-US" sz="1100" dirty="0"/>
          </a:p>
        </p:txBody>
      </p:sp>
      <p:cxnSp>
        <p:nvCxnSpPr>
          <p:cNvPr id="11" name="直接连接符 10">
            <a:extLst>
              <a:ext uri="{FF2B5EF4-FFF2-40B4-BE49-F238E27FC236}">
                <a16:creationId xmlns:a16="http://schemas.microsoft.com/office/drawing/2014/main" id="{FE2D3A09-4840-4802-81A7-64845A1C6D2D}"/>
              </a:ext>
            </a:extLst>
          </p:cNvPr>
          <p:cNvCxnSpPr>
            <a:cxnSpLocks/>
          </p:cNvCxnSpPr>
          <p:nvPr/>
        </p:nvCxnSpPr>
        <p:spPr>
          <a:xfrm>
            <a:off x="6903190" y="3704772"/>
            <a:ext cx="0" cy="1315357"/>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5" name="椭圆 14">
            <a:extLst>
              <a:ext uri="{FF2B5EF4-FFF2-40B4-BE49-F238E27FC236}">
                <a16:creationId xmlns:a16="http://schemas.microsoft.com/office/drawing/2014/main" id="{8F3AFB26-D368-4650-8A1F-6D810BC37D95}"/>
              </a:ext>
            </a:extLst>
          </p:cNvPr>
          <p:cNvSpPr/>
          <p:nvPr/>
        </p:nvSpPr>
        <p:spPr>
          <a:xfrm>
            <a:off x="6855940" y="4972879"/>
            <a:ext cx="94501" cy="94501"/>
          </a:xfrm>
          <a:prstGeom prst="ellipse">
            <a:avLst/>
          </a:pr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5" name="文本框 24">
            <a:extLst>
              <a:ext uri="{FF2B5EF4-FFF2-40B4-BE49-F238E27FC236}">
                <a16:creationId xmlns:a16="http://schemas.microsoft.com/office/drawing/2014/main" id="{34F8908C-2EF7-4365-96BE-648BA43C535B}"/>
              </a:ext>
            </a:extLst>
          </p:cNvPr>
          <p:cNvSpPr txBox="1"/>
          <p:nvPr/>
        </p:nvSpPr>
        <p:spPr>
          <a:xfrm>
            <a:off x="7016743" y="3974827"/>
            <a:ext cx="2236510" cy="400110"/>
          </a:xfrm>
          <a:prstGeom prst="rect">
            <a:avLst/>
          </a:prstGeom>
          <a:noFill/>
        </p:spPr>
        <p:txBody>
          <a:bodyPr wrap="none" rtlCol="0">
            <a:spAutoFit/>
          </a:bodyPr>
          <a:lstStyle/>
          <a:p>
            <a:pPr algn="ctr"/>
            <a:r>
              <a:rPr lang="zh-CN" altLang="en-US" sz="2000" dirty="0">
                <a:solidFill>
                  <a:schemeClr val="accent1"/>
                </a:solidFill>
                <a:latin typeface="+mj-ea"/>
                <a:ea typeface="+mj-ea"/>
              </a:rPr>
              <a:t>请在此处输入标题</a:t>
            </a:r>
          </a:p>
        </p:txBody>
      </p:sp>
      <p:sp>
        <p:nvSpPr>
          <p:cNvPr id="26" name="文本框 25">
            <a:extLst>
              <a:ext uri="{FF2B5EF4-FFF2-40B4-BE49-F238E27FC236}">
                <a16:creationId xmlns:a16="http://schemas.microsoft.com/office/drawing/2014/main" id="{2C1EAF9A-0D0F-40A0-90AA-2EE04599CF4F}"/>
              </a:ext>
            </a:extLst>
          </p:cNvPr>
          <p:cNvSpPr txBox="1"/>
          <p:nvPr/>
        </p:nvSpPr>
        <p:spPr>
          <a:xfrm>
            <a:off x="7040950" y="4368542"/>
            <a:ext cx="2236509" cy="600164"/>
          </a:xfrm>
          <a:prstGeom prst="rect">
            <a:avLst/>
          </a:prstGeom>
          <a:noFill/>
        </p:spPr>
        <p:txBody>
          <a:bodyPr wrap="square" rtlCol="0">
            <a:spAutoFit/>
          </a:bodyPr>
          <a:lstStyle/>
          <a:p>
            <a:pPr algn="just"/>
            <a:r>
              <a:rPr lang="en-US" altLang="zh-CN" sz="1100" dirty="0"/>
              <a:t>Lorem ipsum dolor sit amet, consectetur adipisicing elit, sed do eiusmod tempor</a:t>
            </a:r>
            <a:endParaRPr lang="zh-CN" altLang="en-US" sz="1100" dirty="0"/>
          </a:p>
        </p:txBody>
      </p:sp>
    </p:spTree>
    <p:extLst>
      <p:ext uri="{BB962C8B-B14F-4D97-AF65-F5344CB8AC3E}">
        <p14:creationId xmlns:p14="http://schemas.microsoft.com/office/powerpoint/2010/main" val="155954252"/>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3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 name="任意多边形: 形状 58">
            <a:extLst>
              <a:ext uri="{FF2B5EF4-FFF2-40B4-BE49-F238E27FC236}">
                <a16:creationId xmlns:a16="http://schemas.microsoft.com/office/drawing/2014/main" id="{D4DAF1FF-3EFE-40F8-B9B5-3E749F7AB4E3}"/>
              </a:ext>
            </a:extLst>
          </p:cNvPr>
          <p:cNvSpPr/>
          <p:nvPr/>
        </p:nvSpPr>
        <p:spPr>
          <a:xfrm>
            <a:off x="12192000" y="3106057"/>
            <a:ext cx="29664" cy="13918"/>
          </a:xfrm>
          <a:custGeom>
            <a:avLst/>
            <a:gdLst>
              <a:gd name="connsiteX0" fmla="*/ 29664 w 29664"/>
              <a:gd name="connsiteY0" fmla="*/ 0 h 13918"/>
              <a:gd name="connsiteX1" fmla="*/ 0 w 29664"/>
              <a:gd name="connsiteY1" fmla="*/ 13918 h 13918"/>
              <a:gd name="connsiteX2" fmla="*/ 0 w 29664"/>
              <a:gd name="connsiteY2" fmla="*/ 8702 h 13918"/>
              <a:gd name="connsiteX3" fmla="*/ 29664 w 29664"/>
              <a:gd name="connsiteY3" fmla="*/ 0 h 13918"/>
            </a:gdLst>
            <a:ahLst/>
            <a:cxnLst>
              <a:cxn ang="0">
                <a:pos x="connsiteX0" y="connsiteY0"/>
              </a:cxn>
              <a:cxn ang="0">
                <a:pos x="connsiteX1" y="connsiteY1"/>
              </a:cxn>
              <a:cxn ang="0">
                <a:pos x="connsiteX2" y="connsiteY2"/>
              </a:cxn>
              <a:cxn ang="0">
                <a:pos x="connsiteX3" y="connsiteY3"/>
              </a:cxn>
            </a:cxnLst>
            <a:rect l="l" t="t" r="r" b="b"/>
            <a:pathLst>
              <a:path w="29664" h="13918">
                <a:moveTo>
                  <a:pt x="29664" y="0"/>
                </a:moveTo>
                <a:lnTo>
                  <a:pt x="0" y="13918"/>
                </a:lnTo>
                <a:lnTo>
                  <a:pt x="0" y="8702"/>
                </a:lnTo>
                <a:lnTo>
                  <a:pt x="29664" y="0"/>
                </a:lnTo>
                <a:close/>
              </a:path>
            </a:pathLst>
          </a:custGeom>
          <a:solidFill>
            <a:schemeClr val="accent1">
              <a:lumMod val="10000"/>
              <a:lumOff val="90000"/>
            </a:schemeClr>
          </a:solid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p>
        </p:txBody>
      </p:sp>
      <p:sp>
        <p:nvSpPr>
          <p:cNvPr id="67" name="任意多边形: 形状 66">
            <a:extLst>
              <a:ext uri="{FF2B5EF4-FFF2-40B4-BE49-F238E27FC236}">
                <a16:creationId xmlns:a16="http://schemas.microsoft.com/office/drawing/2014/main" id="{BF0FC604-5E88-4C19-A5D5-237D68DB8FB8}"/>
              </a:ext>
            </a:extLst>
          </p:cNvPr>
          <p:cNvSpPr/>
          <p:nvPr/>
        </p:nvSpPr>
        <p:spPr>
          <a:xfrm>
            <a:off x="2" y="3119976"/>
            <a:ext cx="12191999" cy="3756691"/>
          </a:xfrm>
          <a:custGeom>
            <a:avLst/>
            <a:gdLst>
              <a:gd name="connsiteX0" fmla="*/ 10173128 w 12191999"/>
              <a:gd name="connsiteY0" fmla="*/ 454232 h 3756691"/>
              <a:gd name="connsiteX1" fmla="*/ 10554072 w 12191999"/>
              <a:gd name="connsiteY1" fmla="*/ 468468 h 3756691"/>
              <a:gd name="connsiteX2" fmla="*/ 10573251 w 12191999"/>
              <a:gd name="connsiteY2" fmla="*/ 469616 h 3756691"/>
              <a:gd name="connsiteX3" fmla="*/ 6656033 w 12191999"/>
              <a:gd name="connsiteY3" fmla="*/ 1618670 h 3756691"/>
              <a:gd name="connsiteX4" fmla="*/ 6774046 w 12191999"/>
              <a:gd name="connsiteY4" fmla="*/ 1480996 h 3756691"/>
              <a:gd name="connsiteX5" fmla="*/ 7167024 w 12191999"/>
              <a:gd name="connsiteY5" fmla="*/ 1156401 h 3756691"/>
              <a:gd name="connsiteX6" fmla="*/ 8462118 w 12191999"/>
              <a:gd name="connsiteY6" fmla="*/ 1067516 h 3756691"/>
              <a:gd name="connsiteX7" fmla="*/ 9807507 w 12191999"/>
              <a:gd name="connsiteY7" fmla="*/ 489763 h 3756691"/>
              <a:gd name="connsiteX8" fmla="*/ 10173128 w 12191999"/>
              <a:gd name="connsiteY8" fmla="*/ 454232 h 3756691"/>
              <a:gd name="connsiteX9" fmla="*/ 12191999 w 12191999"/>
              <a:gd name="connsiteY9" fmla="*/ 0 h 3756691"/>
              <a:gd name="connsiteX10" fmla="*/ 12191999 w 12191999"/>
              <a:gd name="connsiteY10" fmla="*/ 3756691 h 3756691"/>
              <a:gd name="connsiteX11" fmla="*/ 0 w 12191999"/>
              <a:gd name="connsiteY11" fmla="*/ 3756691 h 3756691"/>
              <a:gd name="connsiteX12" fmla="*/ 0 w 12191999"/>
              <a:gd name="connsiteY12" fmla="*/ 3571111 h 3756691"/>
              <a:gd name="connsiteX13" fmla="*/ 1 w 12191999"/>
              <a:gd name="connsiteY13" fmla="*/ 3571111 h 3756691"/>
              <a:gd name="connsiteX14" fmla="*/ 256779 w 12191999"/>
              <a:gd name="connsiteY14" fmla="*/ 3391721 h 3756691"/>
              <a:gd name="connsiteX15" fmla="*/ 1156783 w 12191999"/>
              <a:gd name="connsiteY15" fmla="*/ 2978544 h 3756691"/>
              <a:gd name="connsiteX16" fmla="*/ 1550400 w 12191999"/>
              <a:gd name="connsiteY16" fmla="*/ 2941856 h 3756691"/>
              <a:gd name="connsiteX17" fmla="*/ 1990579 w 12191999"/>
              <a:gd name="connsiteY17" fmla="*/ 2957249 h 3756691"/>
              <a:gd name="connsiteX18" fmla="*/ 2079747 w 12191999"/>
              <a:gd name="connsiteY18" fmla="*/ 2961051 h 3756691"/>
              <a:gd name="connsiteX19" fmla="*/ 2079747 w 12191999"/>
              <a:gd name="connsiteY19" fmla="*/ 2961051 h 3756691"/>
              <a:gd name="connsiteX20" fmla="*/ 2216893 w 12191999"/>
              <a:gd name="connsiteY20" fmla="*/ 2966898 h 3756691"/>
              <a:gd name="connsiteX21" fmla="*/ 2866810 w 12191999"/>
              <a:gd name="connsiteY21" fmla="*/ 2919288 h 3756691"/>
              <a:gd name="connsiteX22" fmla="*/ 3614160 w 12191999"/>
              <a:gd name="connsiteY22" fmla="*/ 2559119 h 3756691"/>
              <a:gd name="connsiteX23" fmla="*/ 3767326 w 12191999"/>
              <a:gd name="connsiteY23" fmla="*/ 2466027 h 3756691"/>
              <a:gd name="connsiteX24" fmla="*/ 3767327 w 12191999"/>
              <a:gd name="connsiteY24" fmla="*/ 2466027 h 3756691"/>
              <a:gd name="connsiteX25" fmla="*/ 3794799 w 12191999"/>
              <a:gd name="connsiteY25" fmla="*/ 2449329 h 3756691"/>
              <a:gd name="connsiteX26" fmla="*/ 4363084 w 12191999"/>
              <a:gd name="connsiteY26" fmla="*/ 2193393 h 3756691"/>
              <a:gd name="connsiteX27" fmla="*/ 4792850 w 12191999"/>
              <a:gd name="connsiteY27" fmla="*/ 2143164 h 3756691"/>
              <a:gd name="connsiteX28" fmla="*/ 4865567 w 12191999"/>
              <a:gd name="connsiteY28" fmla="*/ 2143875 h 3756691"/>
              <a:gd name="connsiteX29" fmla="*/ 5020662 w 12191999"/>
              <a:gd name="connsiteY29" fmla="*/ 2145392 h 3756691"/>
              <a:gd name="connsiteX30" fmla="*/ 6085684 w 12191999"/>
              <a:gd name="connsiteY30" fmla="*/ 2089694 h 3756691"/>
              <a:gd name="connsiteX31" fmla="*/ 6653074 w 12191999"/>
              <a:gd name="connsiteY31" fmla="*/ 1622122 h 3756691"/>
              <a:gd name="connsiteX32" fmla="*/ 6656033 w 12191999"/>
              <a:gd name="connsiteY32" fmla="*/ 1618671 h 3756691"/>
              <a:gd name="connsiteX33" fmla="*/ 10573251 w 12191999"/>
              <a:gd name="connsiteY33" fmla="*/ 469617 h 3756691"/>
              <a:gd name="connsiteX34" fmla="*/ 10741819 w 12191999"/>
              <a:gd name="connsiteY34" fmla="*/ 479710 h 3756691"/>
              <a:gd name="connsiteX35" fmla="*/ 11253486 w 12191999"/>
              <a:gd name="connsiteY35" fmla="*/ 460136 h 3756691"/>
              <a:gd name="connsiteX36" fmla="*/ 12150837 w 12191999"/>
              <a:gd name="connsiteY36" fmla="*/ 19312 h 37566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2191999" h="3756691">
                <a:moveTo>
                  <a:pt x="10173128" y="454232"/>
                </a:moveTo>
                <a:cubicBezTo>
                  <a:pt x="10299061" y="453268"/>
                  <a:pt x="10427549" y="460598"/>
                  <a:pt x="10554072" y="468468"/>
                </a:cubicBezTo>
                <a:lnTo>
                  <a:pt x="10573251" y="469616"/>
                </a:lnTo>
                <a:lnTo>
                  <a:pt x="6656033" y="1618670"/>
                </a:lnTo>
                <a:lnTo>
                  <a:pt x="6774046" y="1480996"/>
                </a:lnTo>
                <a:cubicBezTo>
                  <a:pt x="6895019" y="1343199"/>
                  <a:pt x="7018497" y="1220287"/>
                  <a:pt x="7167024" y="1156401"/>
                </a:cubicBezTo>
                <a:cubicBezTo>
                  <a:pt x="7563097" y="986038"/>
                  <a:pt x="8022038" y="1178622"/>
                  <a:pt x="8462118" y="1067516"/>
                </a:cubicBezTo>
                <a:cubicBezTo>
                  <a:pt x="8902199" y="956409"/>
                  <a:pt x="9342279" y="590993"/>
                  <a:pt x="9807507" y="489763"/>
                </a:cubicBezTo>
                <a:cubicBezTo>
                  <a:pt x="9923814" y="464456"/>
                  <a:pt x="10047194" y="455197"/>
                  <a:pt x="10173128" y="454232"/>
                </a:cubicBezTo>
                <a:close/>
                <a:moveTo>
                  <a:pt x="12191999" y="0"/>
                </a:moveTo>
                <a:lnTo>
                  <a:pt x="12191999" y="3756691"/>
                </a:lnTo>
                <a:lnTo>
                  <a:pt x="0" y="3756691"/>
                </a:lnTo>
                <a:lnTo>
                  <a:pt x="0" y="3571111"/>
                </a:lnTo>
                <a:lnTo>
                  <a:pt x="1" y="3571111"/>
                </a:lnTo>
                <a:lnTo>
                  <a:pt x="256779" y="3391721"/>
                </a:lnTo>
                <a:cubicBezTo>
                  <a:pt x="517881" y="3216497"/>
                  <a:pt x="798432" y="3060022"/>
                  <a:pt x="1156783" y="2978544"/>
                </a:cubicBezTo>
                <a:cubicBezTo>
                  <a:pt x="1276234" y="2951385"/>
                  <a:pt x="1409437" y="2942280"/>
                  <a:pt x="1550400" y="2941856"/>
                </a:cubicBezTo>
                <a:cubicBezTo>
                  <a:pt x="1691363" y="2941432"/>
                  <a:pt x="1840087" y="2949688"/>
                  <a:pt x="1990579" y="2957249"/>
                </a:cubicBezTo>
                <a:lnTo>
                  <a:pt x="2079747" y="2961051"/>
                </a:lnTo>
                <a:lnTo>
                  <a:pt x="2079747" y="2961051"/>
                </a:lnTo>
                <a:lnTo>
                  <a:pt x="2216893" y="2966898"/>
                </a:lnTo>
                <a:cubicBezTo>
                  <a:pt x="2443036" y="2973684"/>
                  <a:pt x="2666417" y="2968360"/>
                  <a:pt x="2866810" y="2919288"/>
                </a:cubicBezTo>
                <a:cubicBezTo>
                  <a:pt x="3134002" y="2853859"/>
                  <a:pt x="3373951" y="2706952"/>
                  <a:pt x="3614160" y="2559119"/>
                </a:cubicBezTo>
                <a:lnTo>
                  <a:pt x="3767326" y="2466027"/>
                </a:lnTo>
                <a:lnTo>
                  <a:pt x="3767327" y="2466027"/>
                </a:lnTo>
                <a:lnTo>
                  <a:pt x="3794799" y="2449329"/>
                </a:lnTo>
                <a:cubicBezTo>
                  <a:pt x="3976344" y="2341883"/>
                  <a:pt x="4161904" y="2245243"/>
                  <a:pt x="4363084" y="2193393"/>
                </a:cubicBezTo>
                <a:cubicBezTo>
                  <a:pt x="4497205" y="2158827"/>
                  <a:pt x="4642719" y="2145865"/>
                  <a:pt x="4792850" y="2143164"/>
                </a:cubicBezTo>
                <a:lnTo>
                  <a:pt x="4865567" y="2143875"/>
                </a:lnTo>
                <a:lnTo>
                  <a:pt x="5020662" y="2145392"/>
                </a:lnTo>
                <a:cubicBezTo>
                  <a:pt x="5403297" y="2157207"/>
                  <a:pt x="5793607" y="2197715"/>
                  <a:pt x="6085684" y="2089694"/>
                </a:cubicBezTo>
                <a:cubicBezTo>
                  <a:pt x="6319346" y="2003278"/>
                  <a:pt x="6490663" y="1812546"/>
                  <a:pt x="6653074" y="1622122"/>
                </a:cubicBezTo>
                <a:lnTo>
                  <a:pt x="6656033" y="1618671"/>
                </a:lnTo>
                <a:lnTo>
                  <a:pt x="10573251" y="469617"/>
                </a:lnTo>
                <a:lnTo>
                  <a:pt x="10741819" y="479710"/>
                </a:lnTo>
                <a:cubicBezTo>
                  <a:pt x="10926962" y="489417"/>
                  <a:pt x="11102601" y="491616"/>
                  <a:pt x="11253486" y="460136"/>
                </a:cubicBezTo>
                <a:cubicBezTo>
                  <a:pt x="11605550" y="386682"/>
                  <a:pt x="11960823" y="122302"/>
                  <a:pt x="12150837" y="19312"/>
                </a:cubicBezTo>
                <a:close/>
              </a:path>
            </a:pathLst>
          </a:custGeom>
          <a:gradFill>
            <a:gsLst>
              <a:gs pos="0">
                <a:schemeClr val="accent1">
                  <a:lumMod val="25000"/>
                  <a:lumOff val="75000"/>
                </a:schemeClr>
              </a:gs>
              <a:gs pos="100000">
                <a:schemeClr val="accent1">
                  <a:lumMod val="25000"/>
                  <a:lumOff val="75000"/>
                  <a:alpha val="0"/>
                </a:schemeClr>
              </a:gs>
            </a:gsLst>
            <a:lin ang="5400000" scaled="1"/>
          </a:grad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p>
        </p:txBody>
      </p:sp>
      <p:cxnSp>
        <p:nvCxnSpPr>
          <p:cNvPr id="13" name="直接连接符 12">
            <a:extLst>
              <a:ext uri="{FF2B5EF4-FFF2-40B4-BE49-F238E27FC236}">
                <a16:creationId xmlns:a16="http://schemas.microsoft.com/office/drawing/2014/main" id="{22703F44-2E9E-4398-9EA4-A27F8C8C30A8}"/>
              </a:ext>
            </a:extLst>
          </p:cNvPr>
          <p:cNvCxnSpPr>
            <a:cxnSpLocks/>
          </p:cNvCxnSpPr>
          <p:nvPr/>
        </p:nvCxnSpPr>
        <p:spPr>
          <a:xfrm>
            <a:off x="565897" y="4298043"/>
            <a:ext cx="0" cy="1805940"/>
          </a:xfrm>
          <a:prstGeom prst="line">
            <a:avLst/>
          </a:prstGeom>
          <a:ln w="12700">
            <a:gradFill>
              <a:gsLst>
                <a:gs pos="0">
                  <a:schemeClr val="accent1"/>
                </a:gs>
                <a:gs pos="100000">
                  <a:schemeClr val="accent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4" name="星形: 五角 13">
            <a:extLst>
              <a:ext uri="{FF2B5EF4-FFF2-40B4-BE49-F238E27FC236}">
                <a16:creationId xmlns:a16="http://schemas.microsoft.com/office/drawing/2014/main" id="{4953CC99-74A6-44C2-8295-FF113124B84D}"/>
              </a:ext>
            </a:extLst>
          </p:cNvPr>
          <p:cNvSpPr/>
          <p:nvPr/>
        </p:nvSpPr>
        <p:spPr>
          <a:xfrm>
            <a:off x="474129" y="4160883"/>
            <a:ext cx="203200" cy="203200"/>
          </a:xfrm>
          <a:prstGeom prst="star5">
            <a:avLst/>
          </a:pr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8" name="文本框 17">
            <a:extLst>
              <a:ext uri="{FF2B5EF4-FFF2-40B4-BE49-F238E27FC236}">
                <a16:creationId xmlns:a16="http://schemas.microsoft.com/office/drawing/2014/main" id="{703A2CBF-BC8E-49E1-AD8A-6D1B520F0AE6}"/>
              </a:ext>
            </a:extLst>
          </p:cNvPr>
          <p:cNvSpPr txBox="1"/>
          <p:nvPr/>
        </p:nvSpPr>
        <p:spPr>
          <a:xfrm>
            <a:off x="695534" y="4092331"/>
            <a:ext cx="2236510" cy="400110"/>
          </a:xfrm>
          <a:prstGeom prst="rect">
            <a:avLst/>
          </a:prstGeom>
          <a:noFill/>
        </p:spPr>
        <p:txBody>
          <a:bodyPr wrap="none" rtlCol="0">
            <a:spAutoFit/>
          </a:bodyPr>
          <a:lstStyle/>
          <a:p>
            <a:pPr algn="ctr"/>
            <a:r>
              <a:rPr lang="zh-CN" altLang="en-US" sz="2000" dirty="0">
                <a:solidFill>
                  <a:schemeClr val="accent1"/>
                </a:solidFill>
                <a:latin typeface="+mj-ea"/>
                <a:ea typeface="+mj-ea"/>
              </a:rPr>
              <a:t>请在此处输入标题</a:t>
            </a:r>
          </a:p>
        </p:txBody>
      </p:sp>
      <p:sp>
        <p:nvSpPr>
          <p:cNvPr id="19" name="文本框 18">
            <a:extLst>
              <a:ext uri="{FF2B5EF4-FFF2-40B4-BE49-F238E27FC236}">
                <a16:creationId xmlns:a16="http://schemas.microsoft.com/office/drawing/2014/main" id="{45837BCD-6C8A-4595-8F1E-18924FA717D0}"/>
              </a:ext>
            </a:extLst>
          </p:cNvPr>
          <p:cNvSpPr txBox="1"/>
          <p:nvPr/>
        </p:nvSpPr>
        <p:spPr>
          <a:xfrm>
            <a:off x="714584" y="4486046"/>
            <a:ext cx="2236509" cy="646331"/>
          </a:xfrm>
          <a:prstGeom prst="rect">
            <a:avLst/>
          </a:prstGeom>
          <a:noFill/>
        </p:spPr>
        <p:txBody>
          <a:bodyPr wrap="square" rtlCol="0">
            <a:spAutoFit/>
          </a:bodyPr>
          <a:lstStyle/>
          <a:p>
            <a:pPr algn="just"/>
            <a:r>
              <a:rPr lang="en-US" altLang="zh-CN" sz="1200" dirty="0"/>
              <a:t>Lorem ipsum dolor sit amet, consectetur adipisicing elit, sed do eiusmod tempor</a:t>
            </a:r>
            <a:endParaRPr lang="zh-CN" altLang="en-US" sz="1200" dirty="0"/>
          </a:p>
        </p:txBody>
      </p:sp>
      <p:cxnSp>
        <p:nvCxnSpPr>
          <p:cNvPr id="9" name="直接连接符 8">
            <a:extLst>
              <a:ext uri="{FF2B5EF4-FFF2-40B4-BE49-F238E27FC236}">
                <a16:creationId xmlns:a16="http://schemas.microsoft.com/office/drawing/2014/main" id="{F24667C3-493E-4B68-92D1-96795262A2D7}"/>
              </a:ext>
            </a:extLst>
          </p:cNvPr>
          <p:cNvCxnSpPr>
            <a:cxnSpLocks/>
          </p:cNvCxnSpPr>
          <p:nvPr/>
        </p:nvCxnSpPr>
        <p:spPr>
          <a:xfrm>
            <a:off x="3453031" y="3561443"/>
            <a:ext cx="0" cy="1953986"/>
          </a:xfrm>
          <a:prstGeom prst="line">
            <a:avLst/>
          </a:prstGeom>
          <a:ln w="12700">
            <a:gradFill>
              <a:gsLst>
                <a:gs pos="0">
                  <a:schemeClr val="accent1"/>
                </a:gs>
                <a:gs pos="100000">
                  <a:schemeClr val="accent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5" name="星形: 五角 14">
            <a:extLst>
              <a:ext uri="{FF2B5EF4-FFF2-40B4-BE49-F238E27FC236}">
                <a16:creationId xmlns:a16="http://schemas.microsoft.com/office/drawing/2014/main" id="{C56CC74B-2585-4121-9995-E2FFC1FAD3CE}"/>
              </a:ext>
            </a:extLst>
          </p:cNvPr>
          <p:cNvSpPr/>
          <p:nvPr/>
        </p:nvSpPr>
        <p:spPr>
          <a:xfrm>
            <a:off x="3351431" y="3459843"/>
            <a:ext cx="203200" cy="203200"/>
          </a:xfrm>
          <a:prstGeom prst="star5">
            <a:avLst/>
          </a:pr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0" name="文本框 19">
            <a:extLst>
              <a:ext uri="{FF2B5EF4-FFF2-40B4-BE49-F238E27FC236}">
                <a16:creationId xmlns:a16="http://schemas.microsoft.com/office/drawing/2014/main" id="{EC23799E-A43D-45C4-8162-A9B3A40DD2BF}"/>
              </a:ext>
            </a:extLst>
          </p:cNvPr>
          <p:cNvSpPr txBox="1"/>
          <p:nvPr/>
        </p:nvSpPr>
        <p:spPr>
          <a:xfrm>
            <a:off x="3542753" y="3352103"/>
            <a:ext cx="2236510" cy="400110"/>
          </a:xfrm>
          <a:prstGeom prst="rect">
            <a:avLst/>
          </a:prstGeom>
          <a:noFill/>
        </p:spPr>
        <p:txBody>
          <a:bodyPr wrap="none" rtlCol="0">
            <a:spAutoFit/>
          </a:bodyPr>
          <a:lstStyle/>
          <a:p>
            <a:pPr algn="ctr"/>
            <a:r>
              <a:rPr lang="zh-CN" altLang="en-US" sz="2000" dirty="0">
                <a:solidFill>
                  <a:schemeClr val="accent1"/>
                </a:solidFill>
                <a:latin typeface="+mj-ea"/>
                <a:ea typeface="+mj-ea"/>
              </a:rPr>
              <a:t>请在此处输入标题</a:t>
            </a:r>
          </a:p>
        </p:txBody>
      </p:sp>
      <p:sp>
        <p:nvSpPr>
          <p:cNvPr id="21" name="文本框 20">
            <a:extLst>
              <a:ext uri="{FF2B5EF4-FFF2-40B4-BE49-F238E27FC236}">
                <a16:creationId xmlns:a16="http://schemas.microsoft.com/office/drawing/2014/main" id="{C310D3ED-F051-484C-AF72-CA6DD7A1E36D}"/>
              </a:ext>
            </a:extLst>
          </p:cNvPr>
          <p:cNvSpPr txBox="1"/>
          <p:nvPr/>
        </p:nvSpPr>
        <p:spPr>
          <a:xfrm>
            <a:off x="3561803" y="3745818"/>
            <a:ext cx="2236509" cy="646331"/>
          </a:xfrm>
          <a:prstGeom prst="rect">
            <a:avLst/>
          </a:prstGeom>
          <a:noFill/>
        </p:spPr>
        <p:txBody>
          <a:bodyPr wrap="square" rtlCol="0">
            <a:spAutoFit/>
          </a:bodyPr>
          <a:lstStyle/>
          <a:p>
            <a:pPr algn="just"/>
            <a:r>
              <a:rPr lang="en-US" altLang="zh-CN" sz="1200" dirty="0"/>
              <a:t>Lorem ipsum dolor sit amet, consectetur adipisicing elit, sed do eiusmod tempor</a:t>
            </a:r>
            <a:endParaRPr lang="zh-CN" altLang="en-US" sz="1200" dirty="0"/>
          </a:p>
        </p:txBody>
      </p:sp>
      <p:cxnSp>
        <p:nvCxnSpPr>
          <p:cNvPr id="10" name="直接连接符 9">
            <a:extLst>
              <a:ext uri="{FF2B5EF4-FFF2-40B4-BE49-F238E27FC236}">
                <a16:creationId xmlns:a16="http://schemas.microsoft.com/office/drawing/2014/main" id="{71F2B0CC-7B73-4F45-A3D3-05F638FA0218}"/>
              </a:ext>
            </a:extLst>
          </p:cNvPr>
          <p:cNvCxnSpPr>
            <a:cxnSpLocks/>
          </p:cNvCxnSpPr>
          <p:nvPr/>
        </p:nvCxnSpPr>
        <p:spPr>
          <a:xfrm>
            <a:off x="6300250" y="2489200"/>
            <a:ext cx="0" cy="2387600"/>
          </a:xfrm>
          <a:prstGeom prst="line">
            <a:avLst/>
          </a:prstGeom>
          <a:ln w="12700">
            <a:gradFill>
              <a:gsLst>
                <a:gs pos="0">
                  <a:schemeClr val="accent1"/>
                </a:gs>
                <a:gs pos="100000">
                  <a:schemeClr val="accent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6" name="星形: 五角 15">
            <a:extLst>
              <a:ext uri="{FF2B5EF4-FFF2-40B4-BE49-F238E27FC236}">
                <a16:creationId xmlns:a16="http://schemas.microsoft.com/office/drawing/2014/main" id="{B29325EE-0AD4-4842-8DEF-6B8E1E345606}"/>
              </a:ext>
            </a:extLst>
          </p:cNvPr>
          <p:cNvSpPr/>
          <p:nvPr/>
        </p:nvSpPr>
        <p:spPr>
          <a:xfrm>
            <a:off x="6198650" y="2387600"/>
            <a:ext cx="203200" cy="203200"/>
          </a:xfrm>
          <a:prstGeom prst="star5">
            <a:avLst/>
          </a:pr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2" name="文本框 21">
            <a:extLst>
              <a:ext uri="{FF2B5EF4-FFF2-40B4-BE49-F238E27FC236}">
                <a16:creationId xmlns:a16="http://schemas.microsoft.com/office/drawing/2014/main" id="{E689B229-5D68-40EC-A429-8DB70568B75A}"/>
              </a:ext>
            </a:extLst>
          </p:cNvPr>
          <p:cNvSpPr txBox="1"/>
          <p:nvPr/>
        </p:nvSpPr>
        <p:spPr>
          <a:xfrm>
            <a:off x="6384530" y="2292560"/>
            <a:ext cx="2236510" cy="400110"/>
          </a:xfrm>
          <a:prstGeom prst="rect">
            <a:avLst/>
          </a:prstGeom>
          <a:noFill/>
        </p:spPr>
        <p:txBody>
          <a:bodyPr wrap="none" rtlCol="0">
            <a:spAutoFit/>
          </a:bodyPr>
          <a:lstStyle/>
          <a:p>
            <a:pPr algn="ctr"/>
            <a:r>
              <a:rPr lang="zh-CN" altLang="en-US" sz="2000" dirty="0">
                <a:solidFill>
                  <a:schemeClr val="accent1"/>
                </a:solidFill>
                <a:latin typeface="+mj-ea"/>
                <a:ea typeface="+mj-ea"/>
              </a:rPr>
              <a:t>请在此处输入标题</a:t>
            </a:r>
          </a:p>
        </p:txBody>
      </p:sp>
      <p:sp>
        <p:nvSpPr>
          <p:cNvPr id="23" name="文本框 22">
            <a:extLst>
              <a:ext uri="{FF2B5EF4-FFF2-40B4-BE49-F238E27FC236}">
                <a16:creationId xmlns:a16="http://schemas.microsoft.com/office/drawing/2014/main" id="{36AB1C5B-D653-490D-840F-79BCC2B04042}"/>
              </a:ext>
            </a:extLst>
          </p:cNvPr>
          <p:cNvSpPr txBox="1"/>
          <p:nvPr/>
        </p:nvSpPr>
        <p:spPr>
          <a:xfrm>
            <a:off x="6403580" y="2686275"/>
            <a:ext cx="2236509" cy="646331"/>
          </a:xfrm>
          <a:prstGeom prst="rect">
            <a:avLst/>
          </a:prstGeom>
          <a:noFill/>
        </p:spPr>
        <p:txBody>
          <a:bodyPr wrap="square" rtlCol="0">
            <a:spAutoFit/>
          </a:bodyPr>
          <a:lstStyle/>
          <a:p>
            <a:pPr algn="just"/>
            <a:r>
              <a:rPr lang="en-US" altLang="zh-CN" sz="1200" dirty="0"/>
              <a:t>Lorem ipsum dolor sit amet, consectetur adipisicing elit, sed do eiusmod tempor</a:t>
            </a:r>
            <a:endParaRPr lang="zh-CN" altLang="en-US" sz="1200" dirty="0"/>
          </a:p>
        </p:txBody>
      </p:sp>
      <p:cxnSp>
        <p:nvCxnSpPr>
          <p:cNvPr id="11" name="直接连接符 10">
            <a:extLst>
              <a:ext uri="{FF2B5EF4-FFF2-40B4-BE49-F238E27FC236}">
                <a16:creationId xmlns:a16="http://schemas.microsoft.com/office/drawing/2014/main" id="{16B87088-4753-4289-8A25-7FB4FA8FEDE7}"/>
              </a:ext>
            </a:extLst>
          </p:cNvPr>
          <p:cNvCxnSpPr>
            <a:cxnSpLocks/>
          </p:cNvCxnSpPr>
          <p:nvPr/>
        </p:nvCxnSpPr>
        <p:spPr>
          <a:xfrm>
            <a:off x="9142026" y="1905000"/>
            <a:ext cx="0" cy="1839686"/>
          </a:xfrm>
          <a:prstGeom prst="line">
            <a:avLst/>
          </a:prstGeom>
          <a:ln w="12700">
            <a:gradFill>
              <a:gsLst>
                <a:gs pos="0">
                  <a:schemeClr val="accent1"/>
                </a:gs>
                <a:gs pos="100000">
                  <a:schemeClr val="accent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7" name="星形: 五角 16">
            <a:extLst>
              <a:ext uri="{FF2B5EF4-FFF2-40B4-BE49-F238E27FC236}">
                <a16:creationId xmlns:a16="http://schemas.microsoft.com/office/drawing/2014/main" id="{575F6686-35EC-42E1-92D3-4C1A6E4F4D5A}"/>
              </a:ext>
            </a:extLst>
          </p:cNvPr>
          <p:cNvSpPr/>
          <p:nvPr/>
        </p:nvSpPr>
        <p:spPr>
          <a:xfrm>
            <a:off x="9040426" y="1685925"/>
            <a:ext cx="203200" cy="203200"/>
          </a:xfrm>
          <a:prstGeom prst="star5">
            <a:avLst/>
          </a:pr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4" name="文本框 23">
            <a:extLst>
              <a:ext uri="{FF2B5EF4-FFF2-40B4-BE49-F238E27FC236}">
                <a16:creationId xmlns:a16="http://schemas.microsoft.com/office/drawing/2014/main" id="{B32B11AE-612C-49B5-BF5E-EF659C5D7D9D}"/>
              </a:ext>
            </a:extLst>
          </p:cNvPr>
          <p:cNvSpPr txBox="1"/>
          <p:nvPr/>
        </p:nvSpPr>
        <p:spPr>
          <a:xfrm>
            <a:off x="9258963" y="1581360"/>
            <a:ext cx="2236510" cy="400110"/>
          </a:xfrm>
          <a:prstGeom prst="rect">
            <a:avLst/>
          </a:prstGeom>
          <a:noFill/>
        </p:spPr>
        <p:txBody>
          <a:bodyPr wrap="none" rtlCol="0">
            <a:spAutoFit/>
          </a:bodyPr>
          <a:lstStyle/>
          <a:p>
            <a:pPr algn="ctr"/>
            <a:r>
              <a:rPr lang="zh-CN" altLang="en-US" sz="2000" dirty="0">
                <a:solidFill>
                  <a:schemeClr val="accent1"/>
                </a:solidFill>
                <a:latin typeface="+mj-ea"/>
                <a:ea typeface="+mj-ea"/>
              </a:rPr>
              <a:t>请在此处输入标题</a:t>
            </a:r>
          </a:p>
        </p:txBody>
      </p:sp>
      <p:sp>
        <p:nvSpPr>
          <p:cNvPr id="25" name="文本框 24">
            <a:extLst>
              <a:ext uri="{FF2B5EF4-FFF2-40B4-BE49-F238E27FC236}">
                <a16:creationId xmlns:a16="http://schemas.microsoft.com/office/drawing/2014/main" id="{40DCE898-CEE0-4990-99AB-AE99157EC9CC}"/>
              </a:ext>
            </a:extLst>
          </p:cNvPr>
          <p:cNvSpPr txBox="1"/>
          <p:nvPr/>
        </p:nvSpPr>
        <p:spPr>
          <a:xfrm>
            <a:off x="9278013" y="1975075"/>
            <a:ext cx="2236509" cy="646331"/>
          </a:xfrm>
          <a:prstGeom prst="rect">
            <a:avLst/>
          </a:prstGeom>
          <a:noFill/>
        </p:spPr>
        <p:txBody>
          <a:bodyPr wrap="square" rtlCol="0">
            <a:spAutoFit/>
          </a:bodyPr>
          <a:lstStyle/>
          <a:p>
            <a:pPr algn="just"/>
            <a:r>
              <a:rPr lang="en-US" altLang="zh-CN" sz="1200" dirty="0"/>
              <a:t>Lorem ipsum dolor sit amet, consectetur adipisicing elit, sed do eiusmod tempor</a:t>
            </a:r>
            <a:endParaRPr lang="zh-CN" altLang="en-US" sz="1200" dirty="0"/>
          </a:p>
        </p:txBody>
      </p:sp>
      <p:sp>
        <p:nvSpPr>
          <p:cNvPr id="48" name="任意多边形: 形状 47">
            <a:extLst>
              <a:ext uri="{FF2B5EF4-FFF2-40B4-BE49-F238E27FC236}">
                <a16:creationId xmlns:a16="http://schemas.microsoft.com/office/drawing/2014/main" id="{84B8F612-0F93-4F14-969F-DADD9FE06A4F}"/>
              </a:ext>
            </a:extLst>
          </p:cNvPr>
          <p:cNvSpPr/>
          <p:nvPr/>
        </p:nvSpPr>
        <p:spPr>
          <a:xfrm>
            <a:off x="0" y="3091411"/>
            <a:ext cx="12221664" cy="3585029"/>
          </a:xfrm>
          <a:custGeom>
            <a:avLst/>
            <a:gdLst>
              <a:gd name="connsiteX0" fmla="*/ 0 w 12344400"/>
              <a:gd name="connsiteY0" fmla="*/ 3073400 h 3073400"/>
              <a:gd name="connsiteX1" fmla="*/ 1168400 w 12344400"/>
              <a:gd name="connsiteY1" fmla="*/ 2565400 h 3073400"/>
              <a:gd name="connsiteX2" fmla="*/ 2895600 w 12344400"/>
              <a:gd name="connsiteY2" fmla="*/ 2514600 h 3073400"/>
              <a:gd name="connsiteX3" fmla="*/ 4406900 w 12344400"/>
              <a:gd name="connsiteY3" fmla="*/ 1892300 h 3073400"/>
              <a:gd name="connsiteX4" fmla="*/ 6146800 w 12344400"/>
              <a:gd name="connsiteY4" fmla="*/ 1803400 h 3073400"/>
              <a:gd name="connsiteX5" fmla="*/ 7239000 w 12344400"/>
              <a:gd name="connsiteY5" fmla="*/ 1003300 h 3073400"/>
              <a:gd name="connsiteX6" fmla="*/ 8547100 w 12344400"/>
              <a:gd name="connsiteY6" fmla="*/ 927100 h 3073400"/>
              <a:gd name="connsiteX7" fmla="*/ 9906000 w 12344400"/>
              <a:gd name="connsiteY7" fmla="*/ 431800 h 3073400"/>
              <a:gd name="connsiteX8" fmla="*/ 11366500 w 12344400"/>
              <a:gd name="connsiteY8" fmla="*/ 406400 h 3073400"/>
              <a:gd name="connsiteX9" fmla="*/ 12344400 w 12344400"/>
              <a:gd name="connsiteY9" fmla="*/ 0 h 3073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344400" h="3073400">
                <a:moveTo>
                  <a:pt x="0" y="3073400"/>
                </a:moveTo>
                <a:cubicBezTo>
                  <a:pt x="342900" y="2865966"/>
                  <a:pt x="685800" y="2658533"/>
                  <a:pt x="1168400" y="2565400"/>
                </a:cubicBezTo>
                <a:cubicBezTo>
                  <a:pt x="1651000" y="2472267"/>
                  <a:pt x="2355850" y="2626783"/>
                  <a:pt x="2895600" y="2514600"/>
                </a:cubicBezTo>
                <a:cubicBezTo>
                  <a:pt x="3435350" y="2402417"/>
                  <a:pt x="3865033" y="2010833"/>
                  <a:pt x="4406900" y="1892300"/>
                </a:cubicBezTo>
                <a:cubicBezTo>
                  <a:pt x="4948767" y="1773767"/>
                  <a:pt x="5674783" y="1951567"/>
                  <a:pt x="6146800" y="1803400"/>
                </a:cubicBezTo>
                <a:cubicBezTo>
                  <a:pt x="6618817" y="1655233"/>
                  <a:pt x="6838950" y="1149350"/>
                  <a:pt x="7239000" y="1003300"/>
                </a:cubicBezTo>
                <a:cubicBezTo>
                  <a:pt x="7639050" y="857250"/>
                  <a:pt x="8102600" y="1022350"/>
                  <a:pt x="8547100" y="927100"/>
                </a:cubicBezTo>
                <a:cubicBezTo>
                  <a:pt x="8991600" y="831850"/>
                  <a:pt x="9436100" y="518583"/>
                  <a:pt x="9906000" y="431800"/>
                </a:cubicBezTo>
                <a:cubicBezTo>
                  <a:pt x="10375900" y="345017"/>
                  <a:pt x="10960100" y="478367"/>
                  <a:pt x="11366500" y="406400"/>
                </a:cubicBezTo>
                <a:cubicBezTo>
                  <a:pt x="11772900" y="334433"/>
                  <a:pt x="12183533" y="48683"/>
                  <a:pt x="12344400" y="0"/>
                </a:cubicBezTo>
              </a:path>
            </a:pathLst>
          </a:custGeom>
          <a:no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extLst>
      <p:ext uri="{BB962C8B-B14F-4D97-AF65-F5344CB8AC3E}">
        <p14:creationId xmlns:p14="http://schemas.microsoft.com/office/powerpoint/2010/main" val="2683513821"/>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3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文本框 12">
            <a:extLst>
              <a:ext uri="{FF2B5EF4-FFF2-40B4-BE49-F238E27FC236}">
                <a16:creationId xmlns:a16="http://schemas.microsoft.com/office/drawing/2014/main" id="{D8D918FB-0788-4DA1-B9A6-9288BCF67C07}"/>
              </a:ext>
            </a:extLst>
          </p:cNvPr>
          <p:cNvSpPr txBox="1"/>
          <p:nvPr/>
        </p:nvSpPr>
        <p:spPr>
          <a:xfrm>
            <a:off x="804851" y="1597206"/>
            <a:ext cx="2236510" cy="400110"/>
          </a:xfrm>
          <a:prstGeom prst="rect">
            <a:avLst/>
          </a:prstGeom>
          <a:noFill/>
        </p:spPr>
        <p:txBody>
          <a:bodyPr wrap="none" rtlCol="0">
            <a:spAutoFit/>
          </a:bodyPr>
          <a:lstStyle/>
          <a:p>
            <a:pPr algn="ctr"/>
            <a:r>
              <a:rPr lang="zh-CN" altLang="en-US" sz="2000" dirty="0">
                <a:solidFill>
                  <a:schemeClr val="accent1"/>
                </a:solidFill>
                <a:latin typeface="+mj-ea"/>
                <a:ea typeface="+mj-ea"/>
              </a:rPr>
              <a:t>请在此处输入标题</a:t>
            </a:r>
          </a:p>
        </p:txBody>
      </p:sp>
      <p:sp>
        <p:nvSpPr>
          <p:cNvPr id="14" name="文本框 13">
            <a:extLst>
              <a:ext uri="{FF2B5EF4-FFF2-40B4-BE49-F238E27FC236}">
                <a16:creationId xmlns:a16="http://schemas.microsoft.com/office/drawing/2014/main" id="{3A1076FB-74A2-4D52-B710-6FF3D0E3BD7A}"/>
              </a:ext>
            </a:extLst>
          </p:cNvPr>
          <p:cNvSpPr txBox="1"/>
          <p:nvPr/>
        </p:nvSpPr>
        <p:spPr>
          <a:xfrm>
            <a:off x="852100" y="1990921"/>
            <a:ext cx="2236509" cy="600164"/>
          </a:xfrm>
          <a:prstGeom prst="rect">
            <a:avLst/>
          </a:prstGeom>
          <a:noFill/>
        </p:spPr>
        <p:txBody>
          <a:bodyPr wrap="square" rtlCol="0">
            <a:spAutoFit/>
          </a:bodyPr>
          <a:lstStyle/>
          <a:p>
            <a:pPr algn="just"/>
            <a:r>
              <a:rPr lang="en-US" altLang="zh-CN" sz="1100" dirty="0"/>
              <a:t>Lorem ipsum dolor sit amet, consectetur adipisicing elit, sed do eiusmod tempor</a:t>
            </a:r>
            <a:endParaRPr lang="zh-CN" altLang="en-US" sz="1100" dirty="0"/>
          </a:p>
        </p:txBody>
      </p:sp>
      <p:sp>
        <p:nvSpPr>
          <p:cNvPr id="15" name="椭圆 14">
            <a:extLst>
              <a:ext uri="{FF2B5EF4-FFF2-40B4-BE49-F238E27FC236}">
                <a16:creationId xmlns:a16="http://schemas.microsoft.com/office/drawing/2014/main" id="{D7A2367B-C349-481F-8371-11BE2060AF9E}"/>
              </a:ext>
            </a:extLst>
          </p:cNvPr>
          <p:cNvSpPr/>
          <p:nvPr/>
        </p:nvSpPr>
        <p:spPr>
          <a:xfrm>
            <a:off x="1875854" y="1416877"/>
            <a:ext cx="94501" cy="94501"/>
          </a:xfrm>
          <a:prstGeom prst="ellipse">
            <a:avLst/>
          </a:pr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8" name="文本框 17">
            <a:extLst>
              <a:ext uri="{FF2B5EF4-FFF2-40B4-BE49-F238E27FC236}">
                <a16:creationId xmlns:a16="http://schemas.microsoft.com/office/drawing/2014/main" id="{6349B296-B3A0-48F4-A9EE-D213E140C26D}"/>
              </a:ext>
            </a:extLst>
          </p:cNvPr>
          <p:cNvSpPr txBox="1"/>
          <p:nvPr/>
        </p:nvSpPr>
        <p:spPr>
          <a:xfrm>
            <a:off x="5160951" y="1597206"/>
            <a:ext cx="2236510" cy="400110"/>
          </a:xfrm>
          <a:prstGeom prst="rect">
            <a:avLst/>
          </a:prstGeom>
          <a:noFill/>
        </p:spPr>
        <p:txBody>
          <a:bodyPr wrap="none" rtlCol="0">
            <a:spAutoFit/>
          </a:bodyPr>
          <a:lstStyle/>
          <a:p>
            <a:pPr algn="ctr"/>
            <a:r>
              <a:rPr lang="zh-CN" altLang="en-US" sz="2000" dirty="0">
                <a:solidFill>
                  <a:schemeClr val="accent1"/>
                </a:solidFill>
                <a:latin typeface="+mj-ea"/>
                <a:ea typeface="+mj-ea"/>
              </a:rPr>
              <a:t>请在此处输入标题</a:t>
            </a:r>
          </a:p>
        </p:txBody>
      </p:sp>
      <p:sp>
        <p:nvSpPr>
          <p:cNvPr id="19" name="文本框 18">
            <a:extLst>
              <a:ext uri="{FF2B5EF4-FFF2-40B4-BE49-F238E27FC236}">
                <a16:creationId xmlns:a16="http://schemas.microsoft.com/office/drawing/2014/main" id="{6C4483B6-6375-4549-B9A5-967B785D253C}"/>
              </a:ext>
            </a:extLst>
          </p:cNvPr>
          <p:cNvSpPr txBox="1"/>
          <p:nvPr/>
        </p:nvSpPr>
        <p:spPr>
          <a:xfrm>
            <a:off x="5208200" y="1990921"/>
            <a:ext cx="2236509" cy="600164"/>
          </a:xfrm>
          <a:prstGeom prst="rect">
            <a:avLst/>
          </a:prstGeom>
          <a:noFill/>
        </p:spPr>
        <p:txBody>
          <a:bodyPr wrap="square" rtlCol="0">
            <a:spAutoFit/>
          </a:bodyPr>
          <a:lstStyle/>
          <a:p>
            <a:pPr algn="just"/>
            <a:r>
              <a:rPr lang="en-US" altLang="zh-CN" sz="1100" dirty="0"/>
              <a:t>Lorem ipsum dolor sit amet, consectetur adipisicing elit, sed do eiusmod tempor</a:t>
            </a:r>
            <a:endParaRPr lang="zh-CN" altLang="en-US" sz="1100" dirty="0"/>
          </a:p>
        </p:txBody>
      </p:sp>
      <p:sp>
        <p:nvSpPr>
          <p:cNvPr id="20" name="椭圆 19">
            <a:extLst>
              <a:ext uri="{FF2B5EF4-FFF2-40B4-BE49-F238E27FC236}">
                <a16:creationId xmlns:a16="http://schemas.microsoft.com/office/drawing/2014/main" id="{AE29E7EA-9DC2-4AEC-BAF5-27F79A339033}"/>
              </a:ext>
            </a:extLst>
          </p:cNvPr>
          <p:cNvSpPr/>
          <p:nvPr/>
        </p:nvSpPr>
        <p:spPr>
          <a:xfrm>
            <a:off x="6231954" y="1416877"/>
            <a:ext cx="94501" cy="94501"/>
          </a:xfrm>
          <a:prstGeom prst="ellipse">
            <a:avLst/>
          </a:pr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2" name="文本框 21">
            <a:extLst>
              <a:ext uri="{FF2B5EF4-FFF2-40B4-BE49-F238E27FC236}">
                <a16:creationId xmlns:a16="http://schemas.microsoft.com/office/drawing/2014/main" id="{E112A7E6-5FCC-43ED-8314-0575CAEED594}"/>
              </a:ext>
            </a:extLst>
          </p:cNvPr>
          <p:cNvSpPr txBox="1"/>
          <p:nvPr/>
        </p:nvSpPr>
        <p:spPr>
          <a:xfrm>
            <a:off x="2652990" y="3337106"/>
            <a:ext cx="2236510" cy="400110"/>
          </a:xfrm>
          <a:prstGeom prst="rect">
            <a:avLst/>
          </a:prstGeom>
          <a:noFill/>
        </p:spPr>
        <p:txBody>
          <a:bodyPr wrap="none" rtlCol="0">
            <a:spAutoFit/>
          </a:bodyPr>
          <a:lstStyle/>
          <a:p>
            <a:pPr algn="ctr"/>
            <a:r>
              <a:rPr lang="zh-CN" altLang="en-US" sz="2000" dirty="0">
                <a:solidFill>
                  <a:schemeClr val="accent1"/>
                </a:solidFill>
                <a:latin typeface="+mj-ea"/>
                <a:ea typeface="+mj-ea"/>
              </a:rPr>
              <a:t>请在此处输入标题</a:t>
            </a:r>
          </a:p>
        </p:txBody>
      </p:sp>
      <p:sp>
        <p:nvSpPr>
          <p:cNvPr id="23" name="文本框 22">
            <a:extLst>
              <a:ext uri="{FF2B5EF4-FFF2-40B4-BE49-F238E27FC236}">
                <a16:creationId xmlns:a16="http://schemas.microsoft.com/office/drawing/2014/main" id="{29D4C97E-DC09-40F5-A3EF-E467EE276057}"/>
              </a:ext>
            </a:extLst>
          </p:cNvPr>
          <p:cNvSpPr txBox="1"/>
          <p:nvPr/>
        </p:nvSpPr>
        <p:spPr>
          <a:xfrm>
            <a:off x="2700239" y="3730821"/>
            <a:ext cx="2236509" cy="600164"/>
          </a:xfrm>
          <a:prstGeom prst="rect">
            <a:avLst/>
          </a:prstGeom>
          <a:noFill/>
        </p:spPr>
        <p:txBody>
          <a:bodyPr wrap="square" rtlCol="0">
            <a:spAutoFit/>
          </a:bodyPr>
          <a:lstStyle/>
          <a:p>
            <a:pPr algn="just"/>
            <a:r>
              <a:rPr lang="en-US" altLang="zh-CN" sz="1100" dirty="0"/>
              <a:t>Lorem ipsum dolor sit amet, consectetur adipisicing elit, sed do eiusmod tempor</a:t>
            </a:r>
            <a:endParaRPr lang="zh-CN" altLang="en-US" sz="1100" dirty="0"/>
          </a:p>
        </p:txBody>
      </p:sp>
      <p:sp>
        <p:nvSpPr>
          <p:cNvPr id="24" name="椭圆 23">
            <a:extLst>
              <a:ext uri="{FF2B5EF4-FFF2-40B4-BE49-F238E27FC236}">
                <a16:creationId xmlns:a16="http://schemas.microsoft.com/office/drawing/2014/main" id="{C2D2B0B2-364E-4601-81AF-C62906B29047}"/>
              </a:ext>
            </a:extLst>
          </p:cNvPr>
          <p:cNvSpPr/>
          <p:nvPr/>
        </p:nvSpPr>
        <p:spPr>
          <a:xfrm>
            <a:off x="3723993" y="3156777"/>
            <a:ext cx="94501" cy="94501"/>
          </a:xfrm>
          <a:prstGeom prst="ellipse">
            <a:avLst/>
          </a:pr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6" name="文本框 25">
            <a:extLst>
              <a:ext uri="{FF2B5EF4-FFF2-40B4-BE49-F238E27FC236}">
                <a16:creationId xmlns:a16="http://schemas.microsoft.com/office/drawing/2014/main" id="{AD59F2AD-DC28-454D-B786-A62DBB2CC358}"/>
              </a:ext>
            </a:extLst>
          </p:cNvPr>
          <p:cNvSpPr txBox="1"/>
          <p:nvPr/>
        </p:nvSpPr>
        <p:spPr>
          <a:xfrm>
            <a:off x="7009090" y="3337106"/>
            <a:ext cx="2236510" cy="400110"/>
          </a:xfrm>
          <a:prstGeom prst="rect">
            <a:avLst/>
          </a:prstGeom>
          <a:noFill/>
        </p:spPr>
        <p:txBody>
          <a:bodyPr wrap="none" rtlCol="0">
            <a:spAutoFit/>
          </a:bodyPr>
          <a:lstStyle/>
          <a:p>
            <a:pPr algn="ctr"/>
            <a:r>
              <a:rPr lang="zh-CN" altLang="en-US" sz="2000" dirty="0">
                <a:solidFill>
                  <a:schemeClr val="accent1"/>
                </a:solidFill>
                <a:latin typeface="+mj-ea"/>
                <a:ea typeface="+mj-ea"/>
              </a:rPr>
              <a:t>请在此处输入标题</a:t>
            </a:r>
          </a:p>
        </p:txBody>
      </p:sp>
      <p:sp>
        <p:nvSpPr>
          <p:cNvPr id="27" name="文本框 26">
            <a:extLst>
              <a:ext uri="{FF2B5EF4-FFF2-40B4-BE49-F238E27FC236}">
                <a16:creationId xmlns:a16="http://schemas.microsoft.com/office/drawing/2014/main" id="{E610ECE2-E655-4C5E-AD6A-3CE83C6F7DBB}"/>
              </a:ext>
            </a:extLst>
          </p:cNvPr>
          <p:cNvSpPr txBox="1"/>
          <p:nvPr/>
        </p:nvSpPr>
        <p:spPr>
          <a:xfrm>
            <a:off x="7056339" y="3730821"/>
            <a:ext cx="2236509" cy="600164"/>
          </a:xfrm>
          <a:prstGeom prst="rect">
            <a:avLst/>
          </a:prstGeom>
          <a:noFill/>
        </p:spPr>
        <p:txBody>
          <a:bodyPr wrap="square" rtlCol="0">
            <a:spAutoFit/>
          </a:bodyPr>
          <a:lstStyle/>
          <a:p>
            <a:pPr algn="just"/>
            <a:r>
              <a:rPr lang="en-US" altLang="zh-CN" sz="1100" dirty="0"/>
              <a:t>Lorem ipsum dolor sit amet, consectetur adipisicing elit, sed do eiusmod tempor</a:t>
            </a:r>
            <a:endParaRPr lang="zh-CN" altLang="en-US" sz="1100" dirty="0"/>
          </a:p>
        </p:txBody>
      </p:sp>
      <p:sp>
        <p:nvSpPr>
          <p:cNvPr id="28" name="椭圆 27">
            <a:extLst>
              <a:ext uri="{FF2B5EF4-FFF2-40B4-BE49-F238E27FC236}">
                <a16:creationId xmlns:a16="http://schemas.microsoft.com/office/drawing/2014/main" id="{2C8774FE-08DE-4419-BBD7-EA84EC64DB3D}"/>
              </a:ext>
            </a:extLst>
          </p:cNvPr>
          <p:cNvSpPr/>
          <p:nvPr/>
        </p:nvSpPr>
        <p:spPr>
          <a:xfrm>
            <a:off x="8080093" y="3156777"/>
            <a:ext cx="94501" cy="94501"/>
          </a:xfrm>
          <a:prstGeom prst="ellipse">
            <a:avLst/>
          </a:pr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0" name="文本框 29">
            <a:extLst>
              <a:ext uri="{FF2B5EF4-FFF2-40B4-BE49-F238E27FC236}">
                <a16:creationId xmlns:a16="http://schemas.microsoft.com/office/drawing/2014/main" id="{8031F439-81E3-4615-BF4D-42AFD764E243}"/>
              </a:ext>
            </a:extLst>
          </p:cNvPr>
          <p:cNvSpPr txBox="1"/>
          <p:nvPr/>
        </p:nvSpPr>
        <p:spPr>
          <a:xfrm>
            <a:off x="4964390" y="5064203"/>
            <a:ext cx="2236510" cy="400110"/>
          </a:xfrm>
          <a:prstGeom prst="rect">
            <a:avLst/>
          </a:prstGeom>
          <a:noFill/>
        </p:spPr>
        <p:txBody>
          <a:bodyPr wrap="none" rtlCol="0">
            <a:spAutoFit/>
          </a:bodyPr>
          <a:lstStyle/>
          <a:p>
            <a:pPr algn="ctr"/>
            <a:r>
              <a:rPr lang="zh-CN" altLang="en-US" sz="2000" dirty="0">
                <a:solidFill>
                  <a:schemeClr val="accent1"/>
                </a:solidFill>
                <a:latin typeface="+mj-ea"/>
                <a:ea typeface="+mj-ea"/>
              </a:rPr>
              <a:t>请在此处输入标题</a:t>
            </a:r>
          </a:p>
        </p:txBody>
      </p:sp>
      <p:sp>
        <p:nvSpPr>
          <p:cNvPr id="31" name="文本框 30">
            <a:extLst>
              <a:ext uri="{FF2B5EF4-FFF2-40B4-BE49-F238E27FC236}">
                <a16:creationId xmlns:a16="http://schemas.microsoft.com/office/drawing/2014/main" id="{77EC4641-E53E-4169-BD81-4F32737DA358}"/>
              </a:ext>
            </a:extLst>
          </p:cNvPr>
          <p:cNvSpPr txBox="1"/>
          <p:nvPr/>
        </p:nvSpPr>
        <p:spPr>
          <a:xfrm>
            <a:off x="5011639" y="5457918"/>
            <a:ext cx="2236509" cy="600164"/>
          </a:xfrm>
          <a:prstGeom prst="rect">
            <a:avLst/>
          </a:prstGeom>
          <a:noFill/>
        </p:spPr>
        <p:txBody>
          <a:bodyPr wrap="square" rtlCol="0">
            <a:spAutoFit/>
          </a:bodyPr>
          <a:lstStyle/>
          <a:p>
            <a:pPr algn="just"/>
            <a:r>
              <a:rPr lang="en-US" altLang="zh-CN" sz="1100" dirty="0"/>
              <a:t>Lorem ipsum dolor sit amet, consectetur adipisicing elit, sed do eiusmod tempor</a:t>
            </a:r>
            <a:endParaRPr lang="zh-CN" altLang="en-US" sz="1100" dirty="0"/>
          </a:p>
        </p:txBody>
      </p:sp>
      <p:sp>
        <p:nvSpPr>
          <p:cNvPr id="32" name="椭圆 31">
            <a:extLst>
              <a:ext uri="{FF2B5EF4-FFF2-40B4-BE49-F238E27FC236}">
                <a16:creationId xmlns:a16="http://schemas.microsoft.com/office/drawing/2014/main" id="{36976EAB-3886-4CE3-AB05-F9712EC6A68E}"/>
              </a:ext>
            </a:extLst>
          </p:cNvPr>
          <p:cNvSpPr/>
          <p:nvPr/>
        </p:nvSpPr>
        <p:spPr>
          <a:xfrm>
            <a:off x="6035393" y="4903027"/>
            <a:ext cx="94501" cy="94501"/>
          </a:xfrm>
          <a:prstGeom prst="ellipse">
            <a:avLst/>
          </a:pr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4" name="文本框 33">
            <a:extLst>
              <a:ext uri="{FF2B5EF4-FFF2-40B4-BE49-F238E27FC236}">
                <a16:creationId xmlns:a16="http://schemas.microsoft.com/office/drawing/2014/main" id="{94B6A7B2-CEF3-4304-BAA4-B013C01C3EC0}"/>
              </a:ext>
            </a:extLst>
          </p:cNvPr>
          <p:cNvSpPr txBox="1"/>
          <p:nvPr/>
        </p:nvSpPr>
        <p:spPr>
          <a:xfrm>
            <a:off x="9320490" y="5064203"/>
            <a:ext cx="2236510" cy="400110"/>
          </a:xfrm>
          <a:prstGeom prst="rect">
            <a:avLst/>
          </a:prstGeom>
          <a:noFill/>
        </p:spPr>
        <p:txBody>
          <a:bodyPr wrap="none" rtlCol="0">
            <a:spAutoFit/>
          </a:bodyPr>
          <a:lstStyle/>
          <a:p>
            <a:pPr algn="ctr"/>
            <a:r>
              <a:rPr lang="zh-CN" altLang="en-US" sz="2000" dirty="0">
                <a:solidFill>
                  <a:schemeClr val="accent1"/>
                </a:solidFill>
                <a:latin typeface="+mj-ea"/>
                <a:ea typeface="+mj-ea"/>
              </a:rPr>
              <a:t>请在此处输入标题</a:t>
            </a:r>
          </a:p>
        </p:txBody>
      </p:sp>
      <p:sp>
        <p:nvSpPr>
          <p:cNvPr id="35" name="文本框 34">
            <a:extLst>
              <a:ext uri="{FF2B5EF4-FFF2-40B4-BE49-F238E27FC236}">
                <a16:creationId xmlns:a16="http://schemas.microsoft.com/office/drawing/2014/main" id="{60842DED-A32F-48FE-9429-B304344E717F}"/>
              </a:ext>
            </a:extLst>
          </p:cNvPr>
          <p:cNvSpPr txBox="1"/>
          <p:nvPr/>
        </p:nvSpPr>
        <p:spPr>
          <a:xfrm>
            <a:off x="9367739" y="5457918"/>
            <a:ext cx="2236509" cy="600164"/>
          </a:xfrm>
          <a:prstGeom prst="rect">
            <a:avLst/>
          </a:prstGeom>
          <a:noFill/>
        </p:spPr>
        <p:txBody>
          <a:bodyPr wrap="square" rtlCol="0">
            <a:spAutoFit/>
          </a:bodyPr>
          <a:lstStyle/>
          <a:p>
            <a:pPr algn="just"/>
            <a:r>
              <a:rPr lang="en-US" altLang="zh-CN" sz="1100" dirty="0"/>
              <a:t>Lorem ipsum dolor sit amet, consectetur adipisicing elit, sed do eiusmod tempor</a:t>
            </a:r>
            <a:endParaRPr lang="zh-CN" altLang="en-US" sz="1100" dirty="0"/>
          </a:p>
        </p:txBody>
      </p:sp>
      <p:sp>
        <p:nvSpPr>
          <p:cNvPr id="36" name="椭圆 35">
            <a:extLst>
              <a:ext uri="{FF2B5EF4-FFF2-40B4-BE49-F238E27FC236}">
                <a16:creationId xmlns:a16="http://schemas.microsoft.com/office/drawing/2014/main" id="{5D8E62E2-2530-4DA5-97CE-DACB7BD887C9}"/>
              </a:ext>
            </a:extLst>
          </p:cNvPr>
          <p:cNvSpPr/>
          <p:nvPr/>
        </p:nvSpPr>
        <p:spPr>
          <a:xfrm>
            <a:off x="10391493" y="4903027"/>
            <a:ext cx="94501" cy="94501"/>
          </a:xfrm>
          <a:prstGeom prst="ellipse">
            <a:avLst/>
          </a:pr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4" name="直接连接符 3">
            <a:extLst>
              <a:ext uri="{FF2B5EF4-FFF2-40B4-BE49-F238E27FC236}">
                <a16:creationId xmlns:a16="http://schemas.microsoft.com/office/drawing/2014/main" id="{D3E943F9-F3B6-4913-AA33-D120C543AE08}"/>
              </a:ext>
            </a:extLst>
          </p:cNvPr>
          <p:cNvCxnSpPr/>
          <p:nvPr/>
        </p:nvCxnSpPr>
        <p:spPr>
          <a:xfrm>
            <a:off x="0" y="1474036"/>
            <a:ext cx="9739086" cy="0"/>
          </a:xfrm>
          <a:prstGeom prst="line">
            <a:avLst/>
          </a:prstGeom>
        </p:spPr>
        <p:style>
          <a:lnRef idx="1">
            <a:schemeClr val="accent1"/>
          </a:lnRef>
          <a:fillRef idx="0">
            <a:schemeClr val="accent1"/>
          </a:fillRef>
          <a:effectRef idx="0">
            <a:schemeClr val="accent1"/>
          </a:effectRef>
          <a:fontRef idx="minor">
            <a:schemeClr val="tx1"/>
          </a:fontRef>
        </p:style>
      </p:cxnSp>
      <p:sp>
        <p:nvSpPr>
          <p:cNvPr id="5" name="弧形 4">
            <a:extLst>
              <a:ext uri="{FF2B5EF4-FFF2-40B4-BE49-F238E27FC236}">
                <a16:creationId xmlns:a16="http://schemas.microsoft.com/office/drawing/2014/main" id="{A3491A54-EF7B-43AC-BD43-25B58BEC2FB8}"/>
              </a:ext>
            </a:extLst>
          </p:cNvPr>
          <p:cNvSpPr/>
          <p:nvPr/>
        </p:nvSpPr>
        <p:spPr>
          <a:xfrm>
            <a:off x="8948057" y="1474036"/>
            <a:ext cx="1582057" cy="1743753"/>
          </a:xfrm>
          <a:prstGeom prst="arc">
            <a:avLst>
              <a:gd name="adj1" fmla="val 16200000"/>
              <a:gd name="adj2" fmla="val 5430156"/>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cxnSp>
        <p:nvCxnSpPr>
          <p:cNvPr id="6" name="直接连接符 5">
            <a:extLst>
              <a:ext uri="{FF2B5EF4-FFF2-40B4-BE49-F238E27FC236}">
                <a16:creationId xmlns:a16="http://schemas.microsoft.com/office/drawing/2014/main" id="{42C6FD6C-E145-4278-A5B4-6A311608706D}"/>
              </a:ext>
            </a:extLst>
          </p:cNvPr>
          <p:cNvCxnSpPr>
            <a:cxnSpLocks/>
          </p:cNvCxnSpPr>
          <p:nvPr/>
        </p:nvCxnSpPr>
        <p:spPr>
          <a:xfrm>
            <a:off x="2540000" y="3216789"/>
            <a:ext cx="7199086" cy="0"/>
          </a:xfrm>
          <a:prstGeom prst="line">
            <a:avLst/>
          </a:prstGeom>
        </p:spPr>
        <p:style>
          <a:lnRef idx="1">
            <a:schemeClr val="accent1"/>
          </a:lnRef>
          <a:fillRef idx="0">
            <a:schemeClr val="accent1"/>
          </a:fillRef>
          <a:effectRef idx="0">
            <a:schemeClr val="accent1"/>
          </a:effectRef>
          <a:fontRef idx="minor">
            <a:schemeClr val="tx1"/>
          </a:fontRef>
        </p:style>
      </p:cxnSp>
      <p:sp>
        <p:nvSpPr>
          <p:cNvPr id="8" name="弧形 7">
            <a:extLst>
              <a:ext uri="{FF2B5EF4-FFF2-40B4-BE49-F238E27FC236}">
                <a16:creationId xmlns:a16="http://schemas.microsoft.com/office/drawing/2014/main" id="{8CFAE20A-C273-442D-BBBB-5743703E2035}"/>
              </a:ext>
            </a:extLst>
          </p:cNvPr>
          <p:cNvSpPr/>
          <p:nvPr/>
        </p:nvSpPr>
        <p:spPr>
          <a:xfrm flipH="1">
            <a:off x="1747157" y="3216789"/>
            <a:ext cx="1582057" cy="1743753"/>
          </a:xfrm>
          <a:prstGeom prst="arc">
            <a:avLst>
              <a:gd name="adj1" fmla="val 16200000"/>
              <a:gd name="adj2" fmla="val 5430156"/>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cxnSp>
        <p:nvCxnSpPr>
          <p:cNvPr id="9" name="直接连接符 8">
            <a:extLst>
              <a:ext uri="{FF2B5EF4-FFF2-40B4-BE49-F238E27FC236}">
                <a16:creationId xmlns:a16="http://schemas.microsoft.com/office/drawing/2014/main" id="{8ED0EC17-8283-4A91-972A-E52DA09A50F6}"/>
              </a:ext>
            </a:extLst>
          </p:cNvPr>
          <p:cNvCxnSpPr>
            <a:cxnSpLocks/>
          </p:cNvCxnSpPr>
          <p:nvPr/>
        </p:nvCxnSpPr>
        <p:spPr>
          <a:xfrm>
            <a:off x="2540000" y="4959542"/>
            <a:ext cx="9681029" cy="0"/>
          </a:xfrm>
          <a:prstGeom prst="line">
            <a:avLst/>
          </a:prstGeom>
        </p:spPr>
        <p:style>
          <a:lnRef idx="1">
            <a:schemeClr val="accent1"/>
          </a:lnRef>
          <a:fillRef idx="0">
            <a:schemeClr val="accent1"/>
          </a:fillRef>
          <a:effectRef idx="0">
            <a:schemeClr val="accent1"/>
          </a:effectRef>
          <a:fontRef idx="minor">
            <a:schemeClr val="tx1"/>
          </a:fontRef>
        </p:style>
      </p:cxnSp>
      <p:sp>
        <p:nvSpPr>
          <p:cNvPr id="37" name="等腰三角形 36">
            <a:extLst>
              <a:ext uri="{FF2B5EF4-FFF2-40B4-BE49-F238E27FC236}">
                <a16:creationId xmlns:a16="http://schemas.microsoft.com/office/drawing/2014/main" id="{6D17F19C-1707-4F53-A7C1-E44EDF3F6A13}"/>
              </a:ext>
            </a:extLst>
          </p:cNvPr>
          <p:cNvSpPr/>
          <p:nvPr/>
        </p:nvSpPr>
        <p:spPr>
          <a:xfrm rot="5400000">
            <a:off x="-22487" y="1393611"/>
            <a:ext cx="211090" cy="165100"/>
          </a:xfrm>
          <a:prstGeom prst="triangle">
            <a:avLst/>
          </a:pr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8" name="等腰三角形 37">
            <a:extLst>
              <a:ext uri="{FF2B5EF4-FFF2-40B4-BE49-F238E27FC236}">
                <a16:creationId xmlns:a16="http://schemas.microsoft.com/office/drawing/2014/main" id="{EDB524AB-BA63-4172-8FD4-9708F4D8B1B1}"/>
              </a:ext>
            </a:extLst>
          </p:cNvPr>
          <p:cNvSpPr/>
          <p:nvPr/>
        </p:nvSpPr>
        <p:spPr>
          <a:xfrm rot="5400000">
            <a:off x="12032934" y="4876991"/>
            <a:ext cx="211090" cy="165100"/>
          </a:xfrm>
          <a:prstGeom prst="triangle">
            <a:avLst/>
          </a:pr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extLst>
      <p:ext uri="{BB962C8B-B14F-4D97-AF65-F5344CB8AC3E}">
        <p14:creationId xmlns:p14="http://schemas.microsoft.com/office/powerpoint/2010/main" val="2754464263"/>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3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等腰三角形 9">
            <a:extLst>
              <a:ext uri="{FF2B5EF4-FFF2-40B4-BE49-F238E27FC236}">
                <a16:creationId xmlns:a16="http://schemas.microsoft.com/office/drawing/2014/main" id="{CE4FFB9F-CAD6-4AD5-A356-B64016000731}"/>
              </a:ext>
            </a:extLst>
          </p:cNvPr>
          <p:cNvSpPr/>
          <p:nvPr/>
        </p:nvSpPr>
        <p:spPr>
          <a:xfrm>
            <a:off x="1364343" y="3153729"/>
            <a:ext cx="319314" cy="275271"/>
          </a:xfrm>
          <a:prstGeom prst="triangle">
            <a:avLst/>
          </a:pr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 name="等腰三角形 10">
            <a:extLst>
              <a:ext uri="{FF2B5EF4-FFF2-40B4-BE49-F238E27FC236}">
                <a16:creationId xmlns:a16="http://schemas.microsoft.com/office/drawing/2014/main" id="{3622C06D-0E3B-4C48-AA96-4B9C9E567446}"/>
              </a:ext>
            </a:extLst>
          </p:cNvPr>
          <p:cNvSpPr/>
          <p:nvPr/>
        </p:nvSpPr>
        <p:spPr>
          <a:xfrm flipV="1">
            <a:off x="4412343" y="3450909"/>
            <a:ext cx="319314" cy="275271"/>
          </a:xfrm>
          <a:prstGeom prst="triangle">
            <a:avLst/>
          </a:pr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 name="等腰三角形 11">
            <a:extLst>
              <a:ext uri="{FF2B5EF4-FFF2-40B4-BE49-F238E27FC236}">
                <a16:creationId xmlns:a16="http://schemas.microsoft.com/office/drawing/2014/main" id="{EE1A6357-8C03-498C-9EDD-575C6A985F22}"/>
              </a:ext>
            </a:extLst>
          </p:cNvPr>
          <p:cNvSpPr/>
          <p:nvPr/>
        </p:nvSpPr>
        <p:spPr>
          <a:xfrm>
            <a:off x="7469868" y="3153729"/>
            <a:ext cx="319314" cy="275271"/>
          </a:xfrm>
          <a:prstGeom prst="triangle">
            <a:avLst/>
          </a:pr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3" name="等腰三角形 12">
            <a:extLst>
              <a:ext uri="{FF2B5EF4-FFF2-40B4-BE49-F238E27FC236}">
                <a16:creationId xmlns:a16="http://schemas.microsoft.com/office/drawing/2014/main" id="{0E2FAE99-7108-43E4-A1CE-DEDDDE3D6454}"/>
              </a:ext>
            </a:extLst>
          </p:cNvPr>
          <p:cNvSpPr/>
          <p:nvPr/>
        </p:nvSpPr>
        <p:spPr>
          <a:xfrm flipV="1">
            <a:off x="10508343" y="3450909"/>
            <a:ext cx="319314" cy="275271"/>
          </a:xfrm>
          <a:prstGeom prst="triangle">
            <a:avLst/>
          </a:pr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4" name="文本框 13">
            <a:extLst>
              <a:ext uri="{FF2B5EF4-FFF2-40B4-BE49-F238E27FC236}">
                <a16:creationId xmlns:a16="http://schemas.microsoft.com/office/drawing/2014/main" id="{0DFF493A-0464-4EC7-ACC3-41DD44921589}"/>
              </a:ext>
            </a:extLst>
          </p:cNvPr>
          <p:cNvSpPr txBox="1"/>
          <p:nvPr/>
        </p:nvSpPr>
        <p:spPr>
          <a:xfrm>
            <a:off x="427106" y="2728719"/>
            <a:ext cx="2236510" cy="400110"/>
          </a:xfrm>
          <a:prstGeom prst="rect">
            <a:avLst/>
          </a:prstGeom>
          <a:noFill/>
        </p:spPr>
        <p:txBody>
          <a:bodyPr wrap="none" rtlCol="0">
            <a:spAutoFit/>
          </a:bodyPr>
          <a:lstStyle/>
          <a:p>
            <a:pPr algn="ctr"/>
            <a:r>
              <a:rPr lang="zh-CN" altLang="en-US" sz="2000" dirty="0">
                <a:solidFill>
                  <a:schemeClr val="accent1"/>
                </a:solidFill>
                <a:latin typeface="+mj-ea"/>
                <a:ea typeface="+mj-ea"/>
              </a:rPr>
              <a:t>请在此处输入标题</a:t>
            </a:r>
          </a:p>
        </p:txBody>
      </p:sp>
      <p:sp>
        <p:nvSpPr>
          <p:cNvPr id="15" name="文本框 14">
            <a:extLst>
              <a:ext uri="{FF2B5EF4-FFF2-40B4-BE49-F238E27FC236}">
                <a16:creationId xmlns:a16="http://schemas.microsoft.com/office/drawing/2014/main" id="{D24FE6EB-384E-409B-AD78-77C364E51C2E}"/>
              </a:ext>
            </a:extLst>
          </p:cNvPr>
          <p:cNvSpPr txBox="1"/>
          <p:nvPr/>
        </p:nvSpPr>
        <p:spPr>
          <a:xfrm>
            <a:off x="3453745" y="3773748"/>
            <a:ext cx="2236510" cy="400110"/>
          </a:xfrm>
          <a:prstGeom prst="rect">
            <a:avLst/>
          </a:prstGeom>
          <a:noFill/>
        </p:spPr>
        <p:txBody>
          <a:bodyPr wrap="none" rtlCol="0">
            <a:spAutoFit/>
          </a:bodyPr>
          <a:lstStyle/>
          <a:p>
            <a:pPr algn="ctr"/>
            <a:r>
              <a:rPr lang="zh-CN" altLang="en-US" sz="2000" dirty="0">
                <a:solidFill>
                  <a:schemeClr val="accent1"/>
                </a:solidFill>
                <a:latin typeface="+mj-ea"/>
                <a:ea typeface="+mj-ea"/>
              </a:rPr>
              <a:t>请在此处输入标题</a:t>
            </a:r>
          </a:p>
        </p:txBody>
      </p:sp>
      <p:sp>
        <p:nvSpPr>
          <p:cNvPr id="16" name="文本框 15">
            <a:extLst>
              <a:ext uri="{FF2B5EF4-FFF2-40B4-BE49-F238E27FC236}">
                <a16:creationId xmlns:a16="http://schemas.microsoft.com/office/drawing/2014/main" id="{E957D127-FDBE-4E3E-B5AF-6C6B47E09D99}"/>
              </a:ext>
            </a:extLst>
          </p:cNvPr>
          <p:cNvSpPr txBox="1"/>
          <p:nvPr/>
        </p:nvSpPr>
        <p:spPr>
          <a:xfrm>
            <a:off x="6480384" y="2728719"/>
            <a:ext cx="2236510" cy="400110"/>
          </a:xfrm>
          <a:prstGeom prst="rect">
            <a:avLst/>
          </a:prstGeom>
          <a:noFill/>
        </p:spPr>
        <p:txBody>
          <a:bodyPr wrap="none" rtlCol="0">
            <a:spAutoFit/>
          </a:bodyPr>
          <a:lstStyle/>
          <a:p>
            <a:pPr algn="ctr"/>
            <a:r>
              <a:rPr lang="zh-CN" altLang="en-US" sz="2000" dirty="0">
                <a:solidFill>
                  <a:schemeClr val="accent1"/>
                </a:solidFill>
                <a:latin typeface="+mj-ea"/>
                <a:ea typeface="+mj-ea"/>
              </a:rPr>
              <a:t>请在此处输入标题</a:t>
            </a:r>
          </a:p>
        </p:txBody>
      </p:sp>
      <p:sp>
        <p:nvSpPr>
          <p:cNvPr id="17" name="文本框 16">
            <a:extLst>
              <a:ext uri="{FF2B5EF4-FFF2-40B4-BE49-F238E27FC236}">
                <a16:creationId xmlns:a16="http://schemas.microsoft.com/office/drawing/2014/main" id="{D1ABCD10-0444-4FAB-AF76-B0E2118DEEEA}"/>
              </a:ext>
            </a:extLst>
          </p:cNvPr>
          <p:cNvSpPr txBox="1"/>
          <p:nvPr/>
        </p:nvSpPr>
        <p:spPr>
          <a:xfrm>
            <a:off x="9507023" y="3773748"/>
            <a:ext cx="2236510" cy="400110"/>
          </a:xfrm>
          <a:prstGeom prst="rect">
            <a:avLst/>
          </a:prstGeom>
          <a:noFill/>
        </p:spPr>
        <p:txBody>
          <a:bodyPr wrap="none" rtlCol="0">
            <a:spAutoFit/>
          </a:bodyPr>
          <a:lstStyle/>
          <a:p>
            <a:pPr algn="ctr"/>
            <a:r>
              <a:rPr lang="zh-CN" altLang="en-US" sz="2000" dirty="0">
                <a:solidFill>
                  <a:schemeClr val="accent1"/>
                </a:solidFill>
                <a:latin typeface="+mj-ea"/>
                <a:ea typeface="+mj-ea"/>
              </a:rPr>
              <a:t>请在此处输入标题</a:t>
            </a:r>
          </a:p>
        </p:txBody>
      </p:sp>
      <p:sp>
        <p:nvSpPr>
          <p:cNvPr id="18" name="文本框 17">
            <a:extLst>
              <a:ext uri="{FF2B5EF4-FFF2-40B4-BE49-F238E27FC236}">
                <a16:creationId xmlns:a16="http://schemas.microsoft.com/office/drawing/2014/main" id="{EABF658E-B7C6-4788-A518-CE82C697B13A}"/>
              </a:ext>
            </a:extLst>
          </p:cNvPr>
          <p:cNvSpPr txBox="1"/>
          <p:nvPr/>
        </p:nvSpPr>
        <p:spPr>
          <a:xfrm>
            <a:off x="405746" y="3493294"/>
            <a:ext cx="2236509" cy="954107"/>
          </a:xfrm>
          <a:prstGeom prst="rect">
            <a:avLst/>
          </a:prstGeom>
          <a:noFill/>
        </p:spPr>
        <p:txBody>
          <a:bodyPr wrap="square" rtlCol="0">
            <a:spAutoFit/>
          </a:bodyPr>
          <a:lstStyle/>
          <a:p>
            <a:pPr algn="ctr"/>
            <a:r>
              <a:rPr lang="en-US" altLang="zh-CN" sz="1400" dirty="0"/>
              <a:t>Lorem ipsum dolor sit amet, consectetur adipisicing elit, sed do eiusmod tempor</a:t>
            </a:r>
            <a:endParaRPr lang="zh-CN" altLang="en-US" sz="1400" dirty="0"/>
          </a:p>
        </p:txBody>
      </p:sp>
      <p:sp>
        <p:nvSpPr>
          <p:cNvPr id="19" name="文本框 18">
            <a:extLst>
              <a:ext uri="{FF2B5EF4-FFF2-40B4-BE49-F238E27FC236}">
                <a16:creationId xmlns:a16="http://schemas.microsoft.com/office/drawing/2014/main" id="{E7BFA608-C70A-4997-B6EA-465BF4A3EDD2}"/>
              </a:ext>
            </a:extLst>
          </p:cNvPr>
          <p:cNvSpPr txBox="1"/>
          <p:nvPr/>
        </p:nvSpPr>
        <p:spPr>
          <a:xfrm>
            <a:off x="3475106" y="2348301"/>
            <a:ext cx="2236509" cy="954107"/>
          </a:xfrm>
          <a:prstGeom prst="rect">
            <a:avLst/>
          </a:prstGeom>
          <a:noFill/>
        </p:spPr>
        <p:txBody>
          <a:bodyPr wrap="square" rtlCol="0">
            <a:spAutoFit/>
          </a:bodyPr>
          <a:lstStyle/>
          <a:p>
            <a:pPr algn="ctr"/>
            <a:r>
              <a:rPr lang="en-US" altLang="zh-CN" sz="1400" dirty="0"/>
              <a:t>Lorem ipsum dolor sit amet, consectetur adipisicing elit, sed do eiusmod tempor</a:t>
            </a:r>
            <a:endParaRPr lang="zh-CN" altLang="en-US" sz="1400" dirty="0"/>
          </a:p>
        </p:txBody>
      </p:sp>
      <p:sp>
        <p:nvSpPr>
          <p:cNvPr id="20" name="文本框 19">
            <a:extLst>
              <a:ext uri="{FF2B5EF4-FFF2-40B4-BE49-F238E27FC236}">
                <a16:creationId xmlns:a16="http://schemas.microsoft.com/office/drawing/2014/main" id="{944377F9-1F8D-4614-94DF-066089327BA9}"/>
              </a:ext>
            </a:extLst>
          </p:cNvPr>
          <p:cNvSpPr txBox="1"/>
          <p:nvPr/>
        </p:nvSpPr>
        <p:spPr>
          <a:xfrm>
            <a:off x="6523106" y="3493294"/>
            <a:ext cx="2236509" cy="954107"/>
          </a:xfrm>
          <a:prstGeom prst="rect">
            <a:avLst/>
          </a:prstGeom>
          <a:noFill/>
        </p:spPr>
        <p:txBody>
          <a:bodyPr wrap="square" rtlCol="0">
            <a:spAutoFit/>
          </a:bodyPr>
          <a:lstStyle/>
          <a:p>
            <a:pPr algn="ctr"/>
            <a:r>
              <a:rPr lang="en-US" altLang="zh-CN" sz="1400" dirty="0"/>
              <a:t>Lorem ipsum dolor sit amet, consectetur adipisicing elit, sed do eiusmod tempor</a:t>
            </a:r>
            <a:endParaRPr lang="zh-CN" altLang="en-US" sz="1400" dirty="0"/>
          </a:p>
        </p:txBody>
      </p:sp>
      <p:sp>
        <p:nvSpPr>
          <p:cNvPr id="21" name="文本框 20">
            <a:extLst>
              <a:ext uri="{FF2B5EF4-FFF2-40B4-BE49-F238E27FC236}">
                <a16:creationId xmlns:a16="http://schemas.microsoft.com/office/drawing/2014/main" id="{B4B88140-F8F7-4F70-956D-377BBEB02FA8}"/>
              </a:ext>
            </a:extLst>
          </p:cNvPr>
          <p:cNvSpPr txBox="1"/>
          <p:nvPr/>
        </p:nvSpPr>
        <p:spPr>
          <a:xfrm>
            <a:off x="9527563" y="2385820"/>
            <a:ext cx="2236509" cy="954107"/>
          </a:xfrm>
          <a:prstGeom prst="rect">
            <a:avLst/>
          </a:prstGeom>
          <a:noFill/>
        </p:spPr>
        <p:txBody>
          <a:bodyPr wrap="square" rtlCol="0">
            <a:spAutoFit/>
          </a:bodyPr>
          <a:lstStyle/>
          <a:p>
            <a:pPr algn="ctr"/>
            <a:r>
              <a:rPr lang="en-US" altLang="zh-CN" sz="1400" dirty="0"/>
              <a:t>Lorem ipsum dolor sit amet, consectetur adipisicing elit, sed do eiusmod tempor</a:t>
            </a:r>
            <a:endParaRPr lang="zh-CN" altLang="en-US" sz="1400" dirty="0"/>
          </a:p>
        </p:txBody>
      </p:sp>
      <p:cxnSp>
        <p:nvCxnSpPr>
          <p:cNvPr id="9" name="直接连接符 8">
            <a:extLst>
              <a:ext uri="{FF2B5EF4-FFF2-40B4-BE49-F238E27FC236}">
                <a16:creationId xmlns:a16="http://schemas.microsoft.com/office/drawing/2014/main" id="{5BEB18EB-3BC6-4EB3-9838-234BADEB88C9}"/>
              </a:ext>
            </a:extLst>
          </p:cNvPr>
          <p:cNvCxnSpPr>
            <a:cxnSpLocks/>
          </p:cNvCxnSpPr>
          <p:nvPr/>
        </p:nvCxnSpPr>
        <p:spPr>
          <a:xfrm>
            <a:off x="0" y="3429000"/>
            <a:ext cx="12192000" cy="0"/>
          </a:xfrm>
          <a:prstGeom prst="line">
            <a:avLst/>
          </a:prstGeom>
          <a:ln w="3810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6630211"/>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3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任意多边形: 形状 5">
            <a:extLst>
              <a:ext uri="{FF2B5EF4-FFF2-40B4-BE49-F238E27FC236}">
                <a16:creationId xmlns:a16="http://schemas.microsoft.com/office/drawing/2014/main" id="{5BCF048E-E28F-4D48-8D42-B36763CA7ADC}"/>
              </a:ext>
            </a:extLst>
          </p:cNvPr>
          <p:cNvSpPr/>
          <p:nvPr/>
        </p:nvSpPr>
        <p:spPr>
          <a:xfrm>
            <a:off x="1218984" y="3937000"/>
            <a:ext cx="1867774" cy="902381"/>
          </a:xfrm>
          <a:custGeom>
            <a:avLst/>
            <a:gdLst>
              <a:gd name="connsiteX0" fmla="*/ 0 w 1867774"/>
              <a:gd name="connsiteY0" fmla="*/ 0 h 902381"/>
              <a:gd name="connsiteX1" fmla="*/ 288669 w 1867774"/>
              <a:gd name="connsiteY1" fmla="*/ 0 h 902381"/>
              <a:gd name="connsiteX2" fmla="*/ 298317 w 1867774"/>
              <a:gd name="connsiteY2" fmla="*/ 95708 h 902381"/>
              <a:gd name="connsiteX3" fmla="*/ 933887 w 1867774"/>
              <a:gd name="connsiteY3" fmla="*/ 613712 h 902381"/>
              <a:gd name="connsiteX4" fmla="*/ 1569457 w 1867774"/>
              <a:gd name="connsiteY4" fmla="*/ 95708 h 902381"/>
              <a:gd name="connsiteX5" fmla="*/ 1579105 w 1867774"/>
              <a:gd name="connsiteY5" fmla="*/ 0 h 902381"/>
              <a:gd name="connsiteX6" fmla="*/ 1867774 w 1867774"/>
              <a:gd name="connsiteY6" fmla="*/ 0 h 902381"/>
              <a:gd name="connsiteX7" fmla="*/ 1852261 w 1867774"/>
              <a:gd name="connsiteY7" fmla="*/ 153885 h 902381"/>
              <a:gd name="connsiteX8" fmla="*/ 933887 w 1867774"/>
              <a:gd name="connsiteY8" fmla="*/ 902381 h 902381"/>
              <a:gd name="connsiteX9" fmla="*/ 15513 w 1867774"/>
              <a:gd name="connsiteY9" fmla="*/ 153885 h 902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67774" h="902381">
                <a:moveTo>
                  <a:pt x="0" y="0"/>
                </a:moveTo>
                <a:lnTo>
                  <a:pt x="288669" y="0"/>
                </a:lnTo>
                <a:lnTo>
                  <a:pt x="298317" y="95708"/>
                </a:lnTo>
                <a:cubicBezTo>
                  <a:pt x="358811" y="391333"/>
                  <a:pt x="620379" y="613712"/>
                  <a:pt x="933887" y="613712"/>
                </a:cubicBezTo>
                <a:cubicBezTo>
                  <a:pt x="1247395" y="613712"/>
                  <a:pt x="1508963" y="391333"/>
                  <a:pt x="1569457" y="95708"/>
                </a:cubicBezTo>
                <a:lnTo>
                  <a:pt x="1579105" y="0"/>
                </a:lnTo>
                <a:lnTo>
                  <a:pt x="1867774" y="0"/>
                </a:lnTo>
                <a:lnTo>
                  <a:pt x="1852261" y="153885"/>
                </a:lnTo>
                <a:cubicBezTo>
                  <a:pt x="1764850" y="581051"/>
                  <a:pt x="1386894" y="902381"/>
                  <a:pt x="933887" y="902381"/>
                </a:cubicBezTo>
                <a:cubicBezTo>
                  <a:pt x="480880" y="902381"/>
                  <a:pt x="102924" y="581051"/>
                  <a:pt x="15513" y="153885"/>
                </a:cubicBezTo>
                <a:close/>
              </a:path>
            </a:pathLst>
          </a:cu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solidFill>
                <a:schemeClr val="tx1"/>
              </a:solidFill>
            </a:endParaRPr>
          </a:p>
        </p:txBody>
      </p:sp>
      <p:sp>
        <p:nvSpPr>
          <p:cNvPr id="7" name="任意多边形: 形状 6">
            <a:extLst>
              <a:ext uri="{FF2B5EF4-FFF2-40B4-BE49-F238E27FC236}">
                <a16:creationId xmlns:a16="http://schemas.microsoft.com/office/drawing/2014/main" id="{9425FE5B-A4A3-46F1-90ED-CFB540CFC16F}"/>
              </a:ext>
            </a:extLst>
          </p:cNvPr>
          <p:cNvSpPr/>
          <p:nvPr/>
        </p:nvSpPr>
        <p:spPr>
          <a:xfrm flipV="1">
            <a:off x="2795746" y="3034619"/>
            <a:ext cx="1867774" cy="902381"/>
          </a:xfrm>
          <a:custGeom>
            <a:avLst/>
            <a:gdLst>
              <a:gd name="connsiteX0" fmla="*/ 0 w 1867774"/>
              <a:gd name="connsiteY0" fmla="*/ 0 h 902381"/>
              <a:gd name="connsiteX1" fmla="*/ 288669 w 1867774"/>
              <a:gd name="connsiteY1" fmla="*/ 0 h 902381"/>
              <a:gd name="connsiteX2" fmla="*/ 298317 w 1867774"/>
              <a:gd name="connsiteY2" fmla="*/ 95708 h 902381"/>
              <a:gd name="connsiteX3" fmla="*/ 933887 w 1867774"/>
              <a:gd name="connsiteY3" fmla="*/ 613712 h 902381"/>
              <a:gd name="connsiteX4" fmla="*/ 1569457 w 1867774"/>
              <a:gd name="connsiteY4" fmla="*/ 95708 h 902381"/>
              <a:gd name="connsiteX5" fmla="*/ 1579105 w 1867774"/>
              <a:gd name="connsiteY5" fmla="*/ 0 h 902381"/>
              <a:gd name="connsiteX6" fmla="*/ 1867774 w 1867774"/>
              <a:gd name="connsiteY6" fmla="*/ 0 h 902381"/>
              <a:gd name="connsiteX7" fmla="*/ 1852261 w 1867774"/>
              <a:gd name="connsiteY7" fmla="*/ 153885 h 902381"/>
              <a:gd name="connsiteX8" fmla="*/ 933887 w 1867774"/>
              <a:gd name="connsiteY8" fmla="*/ 902381 h 902381"/>
              <a:gd name="connsiteX9" fmla="*/ 15513 w 1867774"/>
              <a:gd name="connsiteY9" fmla="*/ 153885 h 902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67774" h="902381">
                <a:moveTo>
                  <a:pt x="0" y="0"/>
                </a:moveTo>
                <a:lnTo>
                  <a:pt x="288669" y="0"/>
                </a:lnTo>
                <a:lnTo>
                  <a:pt x="298317" y="95708"/>
                </a:lnTo>
                <a:cubicBezTo>
                  <a:pt x="358811" y="391333"/>
                  <a:pt x="620379" y="613712"/>
                  <a:pt x="933887" y="613712"/>
                </a:cubicBezTo>
                <a:cubicBezTo>
                  <a:pt x="1247395" y="613712"/>
                  <a:pt x="1508963" y="391333"/>
                  <a:pt x="1569457" y="95708"/>
                </a:cubicBezTo>
                <a:lnTo>
                  <a:pt x="1579105" y="0"/>
                </a:lnTo>
                <a:lnTo>
                  <a:pt x="1867774" y="0"/>
                </a:lnTo>
                <a:lnTo>
                  <a:pt x="1852261" y="153885"/>
                </a:lnTo>
                <a:cubicBezTo>
                  <a:pt x="1764850" y="581051"/>
                  <a:pt x="1386894" y="902381"/>
                  <a:pt x="933887" y="902381"/>
                </a:cubicBezTo>
                <a:cubicBezTo>
                  <a:pt x="480880" y="902381"/>
                  <a:pt x="102924" y="581051"/>
                  <a:pt x="15513" y="153885"/>
                </a:cubicBezTo>
                <a:close/>
              </a:path>
            </a:pathLst>
          </a:cu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solidFill>
                <a:schemeClr val="tx1"/>
              </a:solidFill>
            </a:endParaRPr>
          </a:p>
        </p:txBody>
      </p:sp>
      <p:sp>
        <p:nvSpPr>
          <p:cNvPr id="8" name="任意多边形: 形状 7">
            <a:extLst>
              <a:ext uri="{FF2B5EF4-FFF2-40B4-BE49-F238E27FC236}">
                <a16:creationId xmlns:a16="http://schemas.microsoft.com/office/drawing/2014/main" id="{688DC6ED-816C-49D0-820D-344BB87D651C}"/>
              </a:ext>
            </a:extLst>
          </p:cNvPr>
          <p:cNvSpPr/>
          <p:nvPr/>
        </p:nvSpPr>
        <p:spPr>
          <a:xfrm>
            <a:off x="4373664" y="3937000"/>
            <a:ext cx="1867774" cy="902381"/>
          </a:xfrm>
          <a:custGeom>
            <a:avLst/>
            <a:gdLst>
              <a:gd name="connsiteX0" fmla="*/ 0 w 1867774"/>
              <a:gd name="connsiteY0" fmla="*/ 0 h 902381"/>
              <a:gd name="connsiteX1" fmla="*/ 288669 w 1867774"/>
              <a:gd name="connsiteY1" fmla="*/ 0 h 902381"/>
              <a:gd name="connsiteX2" fmla="*/ 298317 w 1867774"/>
              <a:gd name="connsiteY2" fmla="*/ 95708 h 902381"/>
              <a:gd name="connsiteX3" fmla="*/ 933887 w 1867774"/>
              <a:gd name="connsiteY3" fmla="*/ 613712 h 902381"/>
              <a:gd name="connsiteX4" fmla="*/ 1569457 w 1867774"/>
              <a:gd name="connsiteY4" fmla="*/ 95708 h 902381"/>
              <a:gd name="connsiteX5" fmla="*/ 1579105 w 1867774"/>
              <a:gd name="connsiteY5" fmla="*/ 0 h 902381"/>
              <a:gd name="connsiteX6" fmla="*/ 1867774 w 1867774"/>
              <a:gd name="connsiteY6" fmla="*/ 0 h 902381"/>
              <a:gd name="connsiteX7" fmla="*/ 1852261 w 1867774"/>
              <a:gd name="connsiteY7" fmla="*/ 153885 h 902381"/>
              <a:gd name="connsiteX8" fmla="*/ 933887 w 1867774"/>
              <a:gd name="connsiteY8" fmla="*/ 902381 h 902381"/>
              <a:gd name="connsiteX9" fmla="*/ 15513 w 1867774"/>
              <a:gd name="connsiteY9" fmla="*/ 153885 h 902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67774" h="902381">
                <a:moveTo>
                  <a:pt x="0" y="0"/>
                </a:moveTo>
                <a:lnTo>
                  <a:pt x="288669" y="0"/>
                </a:lnTo>
                <a:lnTo>
                  <a:pt x="298317" y="95708"/>
                </a:lnTo>
                <a:cubicBezTo>
                  <a:pt x="358811" y="391333"/>
                  <a:pt x="620379" y="613712"/>
                  <a:pt x="933887" y="613712"/>
                </a:cubicBezTo>
                <a:cubicBezTo>
                  <a:pt x="1247395" y="613712"/>
                  <a:pt x="1508963" y="391333"/>
                  <a:pt x="1569457" y="95708"/>
                </a:cubicBezTo>
                <a:lnTo>
                  <a:pt x="1579105" y="0"/>
                </a:lnTo>
                <a:lnTo>
                  <a:pt x="1867774" y="0"/>
                </a:lnTo>
                <a:lnTo>
                  <a:pt x="1852261" y="153885"/>
                </a:lnTo>
                <a:cubicBezTo>
                  <a:pt x="1764850" y="581051"/>
                  <a:pt x="1386894" y="902381"/>
                  <a:pt x="933887" y="902381"/>
                </a:cubicBezTo>
                <a:cubicBezTo>
                  <a:pt x="480880" y="902381"/>
                  <a:pt x="102924" y="581051"/>
                  <a:pt x="15513" y="153885"/>
                </a:cubicBezTo>
                <a:close/>
              </a:path>
            </a:pathLst>
          </a:cu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solidFill>
                <a:schemeClr val="tx1"/>
              </a:solidFill>
            </a:endParaRPr>
          </a:p>
        </p:txBody>
      </p:sp>
      <p:sp>
        <p:nvSpPr>
          <p:cNvPr id="9" name="任意多边形: 形状 8">
            <a:extLst>
              <a:ext uri="{FF2B5EF4-FFF2-40B4-BE49-F238E27FC236}">
                <a16:creationId xmlns:a16="http://schemas.microsoft.com/office/drawing/2014/main" id="{C66C415C-55FA-4CD3-8DD7-74B44FA5AE8A}"/>
              </a:ext>
            </a:extLst>
          </p:cNvPr>
          <p:cNvSpPr/>
          <p:nvPr/>
        </p:nvSpPr>
        <p:spPr>
          <a:xfrm flipV="1">
            <a:off x="5952807" y="3034619"/>
            <a:ext cx="1867774" cy="902381"/>
          </a:xfrm>
          <a:custGeom>
            <a:avLst/>
            <a:gdLst>
              <a:gd name="connsiteX0" fmla="*/ 0 w 1867774"/>
              <a:gd name="connsiteY0" fmla="*/ 0 h 902381"/>
              <a:gd name="connsiteX1" fmla="*/ 288669 w 1867774"/>
              <a:gd name="connsiteY1" fmla="*/ 0 h 902381"/>
              <a:gd name="connsiteX2" fmla="*/ 298317 w 1867774"/>
              <a:gd name="connsiteY2" fmla="*/ 95708 h 902381"/>
              <a:gd name="connsiteX3" fmla="*/ 933887 w 1867774"/>
              <a:gd name="connsiteY3" fmla="*/ 613712 h 902381"/>
              <a:gd name="connsiteX4" fmla="*/ 1569457 w 1867774"/>
              <a:gd name="connsiteY4" fmla="*/ 95708 h 902381"/>
              <a:gd name="connsiteX5" fmla="*/ 1579105 w 1867774"/>
              <a:gd name="connsiteY5" fmla="*/ 0 h 902381"/>
              <a:gd name="connsiteX6" fmla="*/ 1867774 w 1867774"/>
              <a:gd name="connsiteY6" fmla="*/ 0 h 902381"/>
              <a:gd name="connsiteX7" fmla="*/ 1852261 w 1867774"/>
              <a:gd name="connsiteY7" fmla="*/ 153885 h 902381"/>
              <a:gd name="connsiteX8" fmla="*/ 933887 w 1867774"/>
              <a:gd name="connsiteY8" fmla="*/ 902381 h 902381"/>
              <a:gd name="connsiteX9" fmla="*/ 15513 w 1867774"/>
              <a:gd name="connsiteY9" fmla="*/ 153885 h 902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67774" h="902381">
                <a:moveTo>
                  <a:pt x="0" y="0"/>
                </a:moveTo>
                <a:lnTo>
                  <a:pt x="288669" y="0"/>
                </a:lnTo>
                <a:lnTo>
                  <a:pt x="298317" y="95708"/>
                </a:lnTo>
                <a:cubicBezTo>
                  <a:pt x="358811" y="391333"/>
                  <a:pt x="620379" y="613712"/>
                  <a:pt x="933887" y="613712"/>
                </a:cubicBezTo>
                <a:cubicBezTo>
                  <a:pt x="1247395" y="613712"/>
                  <a:pt x="1508963" y="391333"/>
                  <a:pt x="1569457" y="95708"/>
                </a:cubicBezTo>
                <a:lnTo>
                  <a:pt x="1579105" y="0"/>
                </a:lnTo>
                <a:lnTo>
                  <a:pt x="1867774" y="0"/>
                </a:lnTo>
                <a:lnTo>
                  <a:pt x="1852261" y="153885"/>
                </a:lnTo>
                <a:cubicBezTo>
                  <a:pt x="1764850" y="581051"/>
                  <a:pt x="1386894" y="902381"/>
                  <a:pt x="933887" y="902381"/>
                </a:cubicBezTo>
                <a:cubicBezTo>
                  <a:pt x="480880" y="902381"/>
                  <a:pt x="102924" y="581051"/>
                  <a:pt x="15513" y="153885"/>
                </a:cubicBezTo>
                <a:close/>
              </a:path>
            </a:pathLst>
          </a:cu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solidFill>
                <a:schemeClr val="tx1"/>
              </a:solidFill>
            </a:endParaRPr>
          </a:p>
        </p:txBody>
      </p:sp>
      <p:sp>
        <p:nvSpPr>
          <p:cNvPr id="10" name="任意多边形: 形状 9">
            <a:extLst>
              <a:ext uri="{FF2B5EF4-FFF2-40B4-BE49-F238E27FC236}">
                <a16:creationId xmlns:a16="http://schemas.microsoft.com/office/drawing/2014/main" id="{6363C5EA-0689-4555-8210-F880CEE72607}"/>
              </a:ext>
            </a:extLst>
          </p:cNvPr>
          <p:cNvSpPr/>
          <p:nvPr/>
        </p:nvSpPr>
        <p:spPr>
          <a:xfrm>
            <a:off x="7530862" y="3937000"/>
            <a:ext cx="1867774" cy="902381"/>
          </a:xfrm>
          <a:custGeom>
            <a:avLst/>
            <a:gdLst>
              <a:gd name="connsiteX0" fmla="*/ 0 w 1867774"/>
              <a:gd name="connsiteY0" fmla="*/ 0 h 902381"/>
              <a:gd name="connsiteX1" fmla="*/ 288669 w 1867774"/>
              <a:gd name="connsiteY1" fmla="*/ 0 h 902381"/>
              <a:gd name="connsiteX2" fmla="*/ 298317 w 1867774"/>
              <a:gd name="connsiteY2" fmla="*/ 95708 h 902381"/>
              <a:gd name="connsiteX3" fmla="*/ 933887 w 1867774"/>
              <a:gd name="connsiteY3" fmla="*/ 613712 h 902381"/>
              <a:gd name="connsiteX4" fmla="*/ 1569457 w 1867774"/>
              <a:gd name="connsiteY4" fmla="*/ 95708 h 902381"/>
              <a:gd name="connsiteX5" fmla="*/ 1579105 w 1867774"/>
              <a:gd name="connsiteY5" fmla="*/ 0 h 902381"/>
              <a:gd name="connsiteX6" fmla="*/ 1867774 w 1867774"/>
              <a:gd name="connsiteY6" fmla="*/ 0 h 902381"/>
              <a:gd name="connsiteX7" fmla="*/ 1852261 w 1867774"/>
              <a:gd name="connsiteY7" fmla="*/ 153885 h 902381"/>
              <a:gd name="connsiteX8" fmla="*/ 933887 w 1867774"/>
              <a:gd name="connsiteY8" fmla="*/ 902381 h 902381"/>
              <a:gd name="connsiteX9" fmla="*/ 15513 w 1867774"/>
              <a:gd name="connsiteY9" fmla="*/ 153885 h 902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67774" h="902381">
                <a:moveTo>
                  <a:pt x="0" y="0"/>
                </a:moveTo>
                <a:lnTo>
                  <a:pt x="288669" y="0"/>
                </a:lnTo>
                <a:lnTo>
                  <a:pt x="298317" y="95708"/>
                </a:lnTo>
                <a:cubicBezTo>
                  <a:pt x="358811" y="391333"/>
                  <a:pt x="620379" y="613712"/>
                  <a:pt x="933887" y="613712"/>
                </a:cubicBezTo>
                <a:cubicBezTo>
                  <a:pt x="1247395" y="613712"/>
                  <a:pt x="1508963" y="391333"/>
                  <a:pt x="1569457" y="95708"/>
                </a:cubicBezTo>
                <a:lnTo>
                  <a:pt x="1579105" y="0"/>
                </a:lnTo>
                <a:lnTo>
                  <a:pt x="1867774" y="0"/>
                </a:lnTo>
                <a:lnTo>
                  <a:pt x="1852261" y="153885"/>
                </a:lnTo>
                <a:cubicBezTo>
                  <a:pt x="1764850" y="581051"/>
                  <a:pt x="1386894" y="902381"/>
                  <a:pt x="933887" y="902381"/>
                </a:cubicBezTo>
                <a:cubicBezTo>
                  <a:pt x="480880" y="902381"/>
                  <a:pt x="102924" y="581051"/>
                  <a:pt x="15513" y="153885"/>
                </a:cubicBezTo>
                <a:close/>
              </a:path>
            </a:pathLst>
          </a:cu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solidFill>
                <a:schemeClr val="tx1"/>
              </a:solidFill>
            </a:endParaRPr>
          </a:p>
        </p:txBody>
      </p:sp>
      <p:sp>
        <p:nvSpPr>
          <p:cNvPr id="11" name="任意多边形: 形状 10">
            <a:extLst>
              <a:ext uri="{FF2B5EF4-FFF2-40B4-BE49-F238E27FC236}">
                <a16:creationId xmlns:a16="http://schemas.microsoft.com/office/drawing/2014/main" id="{023F7BF4-E2D4-48C5-8D1E-C64A26C8C7E0}"/>
              </a:ext>
            </a:extLst>
          </p:cNvPr>
          <p:cNvSpPr/>
          <p:nvPr/>
        </p:nvSpPr>
        <p:spPr>
          <a:xfrm flipV="1">
            <a:off x="9105243" y="3034619"/>
            <a:ext cx="1867774" cy="902381"/>
          </a:xfrm>
          <a:custGeom>
            <a:avLst/>
            <a:gdLst>
              <a:gd name="connsiteX0" fmla="*/ 0 w 1867774"/>
              <a:gd name="connsiteY0" fmla="*/ 0 h 902381"/>
              <a:gd name="connsiteX1" fmla="*/ 288669 w 1867774"/>
              <a:gd name="connsiteY1" fmla="*/ 0 h 902381"/>
              <a:gd name="connsiteX2" fmla="*/ 298317 w 1867774"/>
              <a:gd name="connsiteY2" fmla="*/ 95708 h 902381"/>
              <a:gd name="connsiteX3" fmla="*/ 933887 w 1867774"/>
              <a:gd name="connsiteY3" fmla="*/ 613712 h 902381"/>
              <a:gd name="connsiteX4" fmla="*/ 1569457 w 1867774"/>
              <a:gd name="connsiteY4" fmla="*/ 95708 h 902381"/>
              <a:gd name="connsiteX5" fmla="*/ 1579105 w 1867774"/>
              <a:gd name="connsiteY5" fmla="*/ 0 h 902381"/>
              <a:gd name="connsiteX6" fmla="*/ 1867774 w 1867774"/>
              <a:gd name="connsiteY6" fmla="*/ 0 h 902381"/>
              <a:gd name="connsiteX7" fmla="*/ 1852261 w 1867774"/>
              <a:gd name="connsiteY7" fmla="*/ 153885 h 902381"/>
              <a:gd name="connsiteX8" fmla="*/ 933887 w 1867774"/>
              <a:gd name="connsiteY8" fmla="*/ 902381 h 902381"/>
              <a:gd name="connsiteX9" fmla="*/ 15513 w 1867774"/>
              <a:gd name="connsiteY9" fmla="*/ 153885 h 902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67774" h="902381">
                <a:moveTo>
                  <a:pt x="0" y="0"/>
                </a:moveTo>
                <a:lnTo>
                  <a:pt x="288669" y="0"/>
                </a:lnTo>
                <a:lnTo>
                  <a:pt x="298317" y="95708"/>
                </a:lnTo>
                <a:cubicBezTo>
                  <a:pt x="358811" y="391333"/>
                  <a:pt x="620379" y="613712"/>
                  <a:pt x="933887" y="613712"/>
                </a:cubicBezTo>
                <a:cubicBezTo>
                  <a:pt x="1247395" y="613712"/>
                  <a:pt x="1508963" y="391333"/>
                  <a:pt x="1569457" y="95708"/>
                </a:cubicBezTo>
                <a:lnTo>
                  <a:pt x="1579105" y="0"/>
                </a:lnTo>
                <a:lnTo>
                  <a:pt x="1867774" y="0"/>
                </a:lnTo>
                <a:lnTo>
                  <a:pt x="1852261" y="153885"/>
                </a:lnTo>
                <a:cubicBezTo>
                  <a:pt x="1764850" y="581051"/>
                  <a:pt x="1386894" y="902381"/>
                  <a:pt x="933887" y="902381"/>
                </a:cubicBezTo>
                <a:cubicBezTo>
                  <a:pt x="480880" y="902381"/>
                  <a:pt x="102924" y="581051"/>
                  <a:pt x="15513" y="153885"/>
                </a:cubicBezTo>
                <a:close/>
              </a:path>
            </a:pathLst>
          </a:cu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solidFill>
                <a:schemeClr val="tx1"/>
              </a:solidFill>
            </a:endParaRPr>
          </a:p>
        </p:txBody>
      </p:sp>
      <p:sp>
        <p:nvSpPr>
          <p:cNvPr id="13" name="椭圆 12">
            <a:extLst>
              <a:ext uri="{FF2B5EF4-FFF2-40B4-BE49-F238E27FC236}">
                <a16:creationId xmlns:a16="http://schemas.microsoft.com/office/drawing/2014/main" id="{D91AE66C-431A-4B8E-AFB6-032BD69C873E}"/>
              </a:ext>
            </a:extLst>
          </p:cNvPr>
          <p:cNvSpPr/>
          <p:nvPr/>
        </p:nvSpPr>
        <p:spPr>
          <a:xfrm>
            <a:off x="1670271" y="3422990"/>
            <a:ext cx="965200" cy="965200"/>
          </a:xfrm>
          <a:prstGeom prst="ellipse">
            <a:avLst/>
          </a:prstGeom>
          <a:no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4" name="椭圆 13">
            <a:extLst>
              <a:ext uri="{FF2B5EF4-FFF2-40B4-BE49-F238E27FC236}">
                <a16:creationId xmlns:a16="http://schemas.microsoft.com/office/drawing/2014/main" id="{6D26FD90-4B1F-4DE3-910C-9870DD3BC132}"/>
              </a:ext>
            </a:extLst>
          </p:cNvPr>
          <p:cNvSpPr/>
          <p:nvPr/>
        </p:nvSpPr>
        <p:spPr>
          <a:xfrm>
            <a:off x="4824951" y="3422990"/>
            <a:ext cx="965200" cy="965200"/>
          </a:xfrm>
          <a:prstGeom prst="ellipse">
            <a:avLst/>
          </a:prstGeom>
          <a:no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 name="椭圆 14">
            <a:extLst>
              <a:ext uri="{FF2B5EF4-FFF2-40B4-BE49-F238E27FC236}">
                <a16:creationId xmlns:a16="http://schemas.microsoft.com/office/drawing/2014/main" id="{20A97DAE-1D42-43A7-B687-B12B043D9D30}"/>
              </a:ext>
            </a:extLst>
          </p:cNvPr>
          <p:cNvSpPr/>
          <p:nvPr/>
        </p:nvSpPr>
        <p:spPr>
          <a:xfrm>
            <a:off x="7979631" y="3422990"/>
            <a:ext cx="965200" cy="965200"/>
          </a:xfrm>
          <a:prstGeom prst="ellipse">
            <a:avLst/>
          </a:prstGeom>
          <a:no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6" name="椭圆 15">
            <a:extLst>
              <a:ext uri="{FF2B5EF4-FFF2-40B4-BE49-F238E27FC236}">
                <a16:creationId xmlns:a16="http://schemas.microsoft.com/office/drawing/2014/main" id="{D53C65CD-FD98-4E80-B63C-EFB67348862A}"/>
              </a:ext>
            </a:extLst>
          </p:cNvPr>
          <p:cNvSpPr/>
          <p:nvPr/>
        </p:nvSpPr>
        <p:spPr>
          <a:xfrm>
            <a:off x="3257771" y="3422990"/>
            <a:ext cx="965200" cy="965200"/>
          </a:xfrm>
          <a:prstGeom prst="ellipse">
            <a:avLst/>
          </a:prstGeom>
          <a:no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7" name="椭圆 16">
            <a:extLst>
              <a:ext uri="{FF2B5EF4-FFF2-40B4-BE49-F238E27FC236}">
                <a16:creationId xmlns:a16="http://schemas.microsoft.com/office/drawing/2014/main" id="{2BEBA1A2-AC7B-4E04-BB11-1FD8C7E07A61}"/>
              </a:ext>
            </a:extLst>
          </p:cNvPr>
          <p:cNvSpPr/>
          <p:nvPr/>
        </p:nvSpPr>
        <p:spPr>
          <a:xfrm>
            <a:off x="6412451" y="3422990"/>
            <a:ext cx="965200" cy="965200"/>
          </a:xfrm>
          <a:prstGeom prst="ellipse">
            <a:avLst/>
          </a:prstGeom>
          <a:no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8" name="椭圆 17">
            <a:extLst>
              <a:ext uri="{FF2B5EF4-FFF2-40B4-BE49-F238E27FC236}">
                <a16:creationId xmlns:a16="http://schemas.microsoft.com/office/drawing/2014/main" id="{F8D65179-7FDA-4227-AA28-624824A5A9EA}"/>
              </a:ext>
            </a:extLst>
          </p:cNvPr>
          <p:cNvSpPr/>
          <p:nvPr/>
        </p:nvSpPr>
        <p:spPr>
          <a:xfrm>
            <a:off x="9567131" y="3422990"/>
            <a:ext cx="965200" cy="965200"/>
          </a:xfrm>
          <a:prstGeom prst="ellipse">
            <a:avLst/>
          </a:prstGeom>
          <a:no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1" name="文本框 20">
            <a:extLst>
              <a:ext uri="{FF2B5EF4-FFF2-40B4-BE49-F238E27FC236}">
                <a16:creationId xmlns:a16="http://schemas.microsoft.com/office/drawing/2014/main" id="{B2333331-1C06-493C-865B-BCE0F7FE810B}"/>
              </a:ext>
            </a:extLst>
          </p:cNvPr>
          <p:cNvSpPr txBox="1"/>
          <p:nvPr/>
        </p:nvSpPr>
        <p:spPr>
          <a:xfrm>
            <a:off x="1759048" y="2971853"/>
            <a:ext cx="813044" cy="400110"/>
          </a:xfrm>
          <a:prstGeom prst="rect">
            <a:avLst/>
          </a:prstGeom>
          <a:noFill/>
        </p:spPr>
        <p:txBody>
          <a:bodyPr wrap="none" rtlCol="0">
            <a:spAutoFit/>
          </a:bodyPr>
          <a:lstStyle/>
          <a:p>
            <a:pPr algn="ctr"/>
            <a:r>
              <a:rPr lang="en-US" altLang="zh-CN" sz="2000" dirty="0">
                <a:solidFill>
                  <a:schemeClr val="accent1"/>
                </a:solidFill>
                <a:latin typeface="+mj-ea"/>
                <a:ea typeface="+mj-ea"/>
              </a:rPr>
              <a:t>2018</a:t>
            </a:r>
            <a:endParaRPr lang="zh-CN" altLang="en-US" sz="2000" dirty="0">
              <a:solidFill>
                <a:schemeClr val="accent1"/>
              </a:solidFill>
              <a:latin typeface="+mj-ea"/>
              <a:ea typeface="+mj-ea"/>
            </a:endParaRPr>
          </a:p>
        </p:txBody>
      </p:sp>
      <p:sp>
        <p:nvSpPr>
          <p:cNvPr id="22" name="文本框 21">
            <a:extLst>
              <a:ext uri="{FF2B5EF4-FFF2-40B4-BE49-F238E27FC236}">
                <a16:creationId xmlns:a16="http://schemas.microsoft.com/office/drawing/2014/main" id="{15F8B30B-3F90-4BE1-B36B-CF29B55720D7}"/>
              </a:ext>
            </a:extLst>
          </p:cNvPr>
          <p:cNvSpPr txBox="1"/>
          <p:nvPr/>
        </p:nvSpPr>
        <p:spPr>
          <a:xfrm>
            <a:off x="1034616" y="4972844"/>
            <a:ext cx="2236509" cy="954107"/>
          </a:xfrm>
          <a:prstGeom prst="rect">
            <a:avLst/>
          </a:prstGeom>
          <a:noFill/>
        </p:spPr>
        <p:txBody>
          <a:bodyPr wrap="square" rtlCol="0">
            <a:spAutoFit/>
          </a:bodyPr>
          <a:lstStyle/>
          <a:p>
            <a:pPr algn="ctr"/>
            <a:r>
              <a:rPr lang="en-US" altLang="zh-CN" sz="1400" dirty="0"/>
              <a:t>Lorem ipsum dolor sit amet, consectetur adipisicing elit, sed do eiusmod tempor</a:t>
            </a:r>
            <a:endParaRPr lang="zh-CN" altLang="en-US" sz="1400" dirty="0"/>
          </a:p>
        </p:txBody>
      </p:sp>
      <p:sp>
        <p:nvSpPr>
          <p:cNvPr id="23" name="文本框 22">
            <a:extLst>
              <a:ext uri="{FF2B5EF4-FFF2-40B4-BE49-F238E27FC236}">
                <a16:creationId xmlns:a16="http://schemas.microsoft.com/office/drawing/2014/main" id="{0F54FDEC-8A8D-4D7D-9331-924F9D02787B}"/>
              </a:ext>
            </a:extLst>
          </p:cNvPr>
          <p:cNvSpPr txBox="1"/>
          <p:nvPr/>
        </p:nvSpPr>
        <p:spPr>
          <a:xfrm>
            <a:off x="4878588" y="2971853"/>
            <a:ext cx="857927" cy="400110"/>
          </a:xfrm>
          <a:prstGeom prst="rect">
            <a:avLst/>
          </a:prstGeom>
          <a:noFill/>
        </p:spPr>
        <p:txBody>
          <a:bodyPr wrap="none" rtlCol="0">
            <a:spAutoFit/>
          </a:bodyPr>
          <a:lstStyle/>
          <a:p>
            <a:pPr algn="ctr"/>
            <a:r>
              <a:rPr lang="en-US" altLang="zh-CN" sz="2000" dirty="0">
                <a:solidFill>
                  <a:schemeClr val="accent1"/>
                </a:solidFill>
                <a:latin typeface="+mj-ea"/>
                <a:ea typeface="+mj-ea"/>
              </a:rPr>
              <a:t>2020</a:t>
            </a:r>
            <a:endParaRPr lang="zh-CN" altLang="en-US" sz="2000" dirty="0">
              <a:solidFill>
                <a:schemeClr val="accent1"/>
              </a:solidFill>
              <a:latin typeface="+mj-ea"/>
              <a:ea typeface="+mj-ea"/>
            </a:endParaRPr>
          </a:p>
        </p:txBody>
      </p:sp>
      <p:sp>
        <p:nvSpPr>
          <p:cNvPr id="24" name="文本框 23">
            <a:extLst>
              <a:ext uri="{FF2B5EF4-FFF2-40B4-BE49-F238E27FC236}">
                <a16:creationId xmlns:a16="http://schemas.microsoft.com/office/drawing/2014/main" id="{36EBD411-89A2-4E19-B689-132372F7A712}"/>
              </a:ext>
            </a:extLst>
          </p:cNvPr>
          <p:cNvSpPr txBox="1"/>
          <p:nvPr/>
        </p:nvSpPr>
        <p:spPr>
          <a:xfrm>
            <a:off x="8020569" y="2971853"/>
            <a:ext cx="857927" cy="400110"/>
          </a:xfrm>
          <a:prstGeom prst="rect">
            <a:avLst/>
          </a:prstGeom>
          <a:noFill/>
        </p:spPr>
        <p:txBody>
          <a:bodyPr wrap="none" rtlCol="0">
            <a:spAutoFit/>
          </a:bodyPr>
          <a:lstStyle/>
          <a:p>
            <a:pPr algn="ctr"/>
            <a:r>
              <a:rPr lang="en-US" altLang="zh-CN" sz="2000" dirty="0">
                <a:solidFill>
                  <a:schemeClr val="accent1"/>
                </a:solidFill>
                <a:latin typeface="+mj-ea"/>
                <a:ea typeface="+mj-ea"/>
              </a:rPr>
              <a:t>2022</a:t>
            </a:r>
            <a:endParaRPr lang="zh-CN" altLang="en-US" sz="2000" dirty="0">
              <a:solidFill>
                <a:schemeClr val="accent1"/>
              </a:solidFill>
              <a:latin typeface="+mj-ea"/>
              <a:ea typeface="+mj-ea"/>
            </a:endParaRPr>
          </a:p>
        </p:txBody>
      </p:sp>
      <p:sp>
        <p:nvSpPr>
          <p:cNvPr id="25" name="文本框 24">
            <a:extLst>
              <a:ext uri="{FF2B5EF4-FFF2-40B4-BE49-F238E27FC236}">
                <a16:creationId xmlns:a16="http://schemas.microsoft.com/office/drawing/2014/main" id="{BC3D7F1A-2EBB-44F3-9C98-902A57C6ACAC}"/>
              </a:ext>
            </a:extLst>
          </p:cNvPr>
          <p:cNvSpPr txBox="1"/>
          <p:nvPr/>
        </p:nvSpPr>
        <p:spPr>
          <a:xfrm>
            <a:off x="3346548" y="4470453"/>
            <a:ext cx="813044" cy="400110"/>
          </a:xfrm>
          <a:prstGeom prst="rect">
            <a:avLst/>
          </a:prstGeom>
          <a:noFill/>
        </p:spPr>
        <p:txBody>
          <a:bodyPr wrap="none" rtlCol="0">
            <a:spAutoFit/>
          </a:bodyPr>
          <a:lstStyle/>
          <a:p>
            <a:pPr algn="ctr"/>
            <a:r>
              <a:rPr lang="en-US" altLang="zh-CN" sz="2000" dirty="0">
                <a:solidFill>
                  <a:schemeClr val="accent1"/>
                </a:solidFill>
                <a:latin typeface="+mj-ea"/>
                <a:ea typeface="+mj-ea"/>
              </a:rPr>
              <a:t>2019</a:t>
            </a:r>
            <a:endParaRPr lang="zh-CN" altLang="en-US" sz="2000" dirty="0">
              <a:solidFill>
                <a:schemeClr val="accent1"/>
              </a:solidFill>
              <a:latin typeface="+mj-ea"/>
              <a:ea typeface="+mj-ea"/>
            </a:endParaRPr>
          </a:p>
        </p:txBody>
      </p:sp>
      <p:sp>
        <p:nvSpPr>
          <p:cNvPr id="26" name="文本框 25">
            <a:extLst>
              <a:ext uri="{FF2B5EF4-FFF2-40B4-BE49-F238E27FC236}">
                <a16:creationId xmlns:a16="http://schemas.microsoft.com/office/drawing/2014/main" id="{D462103E-4A8C-4BA5-9F7C-A3C7D93A94BC}"/>
              </a:ext>
            </a:extLst>
          </p:cNvPr>
          <p:cNvSpPr txBox="1"/>
          <p:nvPr/>
        </p:nvSpPr>
        <p:spPr>
          <a:xfrm>
            <a:off x="6488530" y="4470453"/>
            <a:ext cx="813043" cy="400110"/>
          </a:xfrm>
          <a:prstGeom prst="rect">
            <a:avLst/>
          </a:prstGeom>
          <a:noFill/>
        </p:spPr>
        <p:txBody>
          <a:bodyPr wrap="none" rtlCol="0">
            <a:spAutoFit/>
          </a:bodyPr>
          <a:lstStyle/>
          <a:p>
            <a:pPr algn="ctr"/>
            <a:r>
              <a:rPr lang="en-US" altLang="zh-CN" sz="2000" dirty="0">
                <a:solidFill>
                  <a:schemeClr val="accent1"/>
                </a:solidFill>
                <a:latin typeface="+mj-ea"/>
                <a:ea typeface="+mj-ea"/>
              </a:rPr>
              <a:t>2021</a:t>
            </a:r>
            <a:endParaRPr lang="zh-CN" altLang="en-US" sz="2000" dirty="0">
              <a:solidFill>
                <a:schemeClr val="accent1"/>
              </a:solidFill>
              <a:latin typeface="+mj-ea"/>
              <a:ea typeface="+mj-ea"/>
            </a:endParaRPr>
          </a:p>
        </p:txBody>
      </p:sp>
      <p:sp>
        <p:nvSpPr>
          <p:cNvPr id="27" name="文本框 26">
            <a:extLst>
              <a:ext uri="{FF2B5EF4-FFF2-40B4-BE49-F238E27FC236}">
                <a16:creationId xmlns:a16="http://schemas.microsoft.com/office/drawing/2014/main" id="{7AAAF90F-0AF6-44DC-A08D-047811C640D2}"/>
              </a:ext>
            </a:extLst>
          </p:cNvPr>
          <p:cNvSpPr txBox="1"/>
          <p:nvPr/>
        </p:nvSpPr>
        <p:spPr>
          <a:xfrm>
            <a:off x="9608069" y="4470453"/>
            <a:ext cx="857927" cy="400110"/>
          </a:xfrm>
          <a:prstGeom prst="rect">
            <a:avLst/>
          </a:prstGeom>
          <a:noFill/>
        </p:spPr>
        <p:txBody>
          <a:bodyPr wrap="none" rtlCol="0">
            <a:spAutoFit/>
          </a:bodyPr>
          <a:lstStyle/>
          <a:p>
            <a:pPr algn="ctr"/>
            <a:r>
              <a:rPr lang="en-US" altLang="zh-CN" sz="2000" dirty="0">
                <a:solidFill>
                  <a:schemeClr val="accent1"/>
                </a:solidFill>
                <a:latin typeface="+mj-ea"/>
                <a:ea typeface="+mj-ea"/>
              </a:rPr>
              <a:t>2023</a:t>
            </a:r>
            <a:endParaRPr lang="zh-CN" altLang="en-US" sz="2000" dirty="0">
              <a:solidFill>
                <a:schemeClr val="accent1"/>
              </a:solidFill>
              <a:latin typeface="+mj-ea"/>
              <a:ea typeface="+mj-ea"/>
            </a:endParaRPr>
          </a:p>
        </p:txBody>
      </p:sp>
      <p:sp>
        <p:nvSpPr>
          <p:cNvPr id="28" name="文本框 27">
            <a:extLst>
              <a:ext uri="{FF2B5EF4-FFF2-40B4-BE49-F238E27FC236}">
                <a16:creationId xmlns:a16="http://schemas.microsoft.com/office/drawing/2014/main" id="{497F58E8-BED5-4C5A-89DA-89E213B107B9}"/>
              </a:ext>
            </a:extLst>
          </p:cNvPr>
          <p:cNvSpPr txBox="1"/>
          <p:nvPr/>
        </p:nvSpPr>
        <p:spPr>
          <a:xfrm>
            <a:off x="4189296" y="4972844"/>
            <a:ext cx="2236509" cy="954107"/>
          </a:xfrm>
          <a:prstGeom prst="rect">
            <a:avLst/>
          </a:prstGeom>
          <a:noFill/>
        </p:spPr>
        <p:txBody>
          <a:bodyPr wrap="square" rtlCol="0">
            <a:spAutoFit/>
          </a:bodyPr>
          <a:lstStyle/>
          <a:p>
            <a:pPr algn="ctr"/>
            <a:r>
              <a:rPr lang="en-US" altLang="zh-CN" sz="1400" dirty="0"/>
              <a:t>Lorem ipsum dolor sit amet, consectetur adipisicing elit, sed do eiusmod tempor</a:t>
            </a:r>
            <a:endParaRPr lang="zh-CN" altLang="en-US" sz="1400" dirty="0"/>
          </a:p>
        </p:txBody>
      </p:sp>
      <p:sp>
        <p:nvSpPr>
          <p:cNvPr id="29" name="文本框 28">
            <a:extLst>
              <a:ext uri="{FF2B5EF4-FFF2-40B4-BE49-F238E27FC236}">
                <a16:creationId xmlns:a16="http://schemas.microsoft.com/office/drawing/2014/main" id="{D38EA514-5927-4F18-B061-A87A25E824CD}"/>
              </a:ext>
            </a:extLst>
          </p:cNvPr>
          <p:cNvSpPr txBox="1"/>
          <p:nvPr/>
        </p:nvSpPr>
        <p:spPr>
          <a:xfrm>
            <a:off x="7389696" y="4972844"/>
            <a:ext cx="2236509" cy="954107"/>
          </a:xfrm>
          <a:prstGeom prst="rect">
            <a:avLst/>
          </a:prstGeom>
          <a:noFill/>
        </p:spPr>
        <p:txBody>
          <a:bodyPr wrap="square" rtlCol="0">
            <a:spAutoFit/>
          </a:bodyPr>
          <a:lstStyle/>
          <a:p>
            <a:pPr algn="ctr"/>
            <a:r>
              <a:rPr lang="en-US" altLang="zh-CN" sz="1400" dirty="0"/>
              <a:t>Lorem ipsum dolor sit amet, consectetur adipisicing elit, sed do eiusmod tempor</a:t>
            </a:r>
            <a:endParaRPr lang="zh-CN" altLang="en-US" sz="1400" dirty="0"/>
          </a:p>
        </p:txBody>
      </p:sp>
      <p:sp>
        <p:nvSpPr>
          <p:cNvPr id="30" name="文本框 29">
            <a:extLst>
              <a:ext uri="{FF2B5EF4-FFF2-40B4-BE49-F238E27FC236}">
                <a16:creationId xmlns:a16="http://schemas.microsoft.com/office/drawing/2014/main" id="{7E6381C5-E737-47E1-866D-F448D4EF7E39}"/>
              </a:ext>
            </a:extLst>
          </p:cNvPr>
          <p:cNvSpPr txBox="1"/>
          <p:nvPr/>
        </p:nvSpPr>
        <p:spPr>
          <a:xfrm>
            <a:off x="2634816" y="1947049"/>
            <a:ext cx="2236509" cy="954107"/>
          </a:xfrm>
          <a:prstGeom prst="rect">
            <a:avLst/>
          </a:prstGeom>
          <a:noFill/>
        </p:spPr>
        <p:txBody>
          <a:bodyPr wrap="square" rtlCol="0">
            <a:spAutoFit/>
          </a:bodyPr>
          <a:lstStyle/>
          <a:p>
            <a:pPr algn="ctr"/>
            <a:r>
              <a:rPr lang="en-US" altLang="zh-CN" sz="1400" dirty="0"/>
              <a:t>Lorem ipsum dolor sit amet, consectetur adipisicing elit, sed do eiusmod tempor</a:t>
            </a:r>
            <a:endParaRPr lang="zh-CN" altLang="en-US" sz="1400" dirty="0"/>
          </a:p>
        </p:txBody>
      </p:sp>
      <p:sp>
        <p:nvSpPr>
          <p:cNvPr id="31" name="文本框 30">
            <a:extLst>
              <a:ext uri="{FF2B5EF4-FFF2-40B4-BE49-F238E27FC236}">
                <a16:creationId xmlns:a16="http://schemas.microsoft.com/office/drawing/2014/main" id="{2E99E57F-59DF-4FB6-ACFD-661B4DEFA42B}"/>
              </a:ext>
            </a:extLst>
          </p:cNvPr>
          <p:cNvSpPr txBox="1"/>
          <p:nvPr/>
        </p:nvSpPr>
        <p:spPr>
          <a:xfrm>
            <a:off x="5751396" y="1947049"/>
            <a:ext cx="2236509" cy="954107"/>
          </a:xfrm>
          <a:prstGeom prst="rect">
            <a:avLst/>
          </a:prstGeom>
          <a:noFill/>
        </p:spPr>
        <p:txBody>
          <a:bodyPr wrap="square" rtlCol="0">
            <a:spAutoFit/>
          </a:bodyPr>
          <a:lstStyle/>
          <a:p>
            <a:pPr algn="ctr"/>
            <a:r>
              <a:rPr lang="en-US" altLang="zh-CN" sz="1400" dirty="0"/>
              <a:t>Lorem ipsum dolor sit amet, consectetur adipisicing elit, sed do eiusmod tempor</a:t>
            </a:r>
            <a:endParaRPr lang="zh-CN" altLang="en-US" sz="1400" dirty="0"/>
          </a:p>
        </p:txBody>
      </p:sp>
      <p:sp>
        <p:nvSpPr>
          <p:cNvPr id="32" name="文本框 31">
            <a:extLst>
              <a:ext uri="{FF2B5EF4-FFF2-40B4-BE49-F238E27FC236}">
                <a16:creationId xmlns:a16="http://schemas.microsoft.com/office/drawing/2014/main" id="{35F2D466-3867-4C10-8588-0C5405CB6C98}"/>
              </a:ext>
            </a:extLst>
          </p:cNvPr>
          <p:cNvSpPr txBox="1"/>
          <p:nvPr/>
        </p:nvSpPr>
        <p:spPr>
          <a:xfrm>
            <a:off x="8951796" y="1947049"/>
            <a:ext cx="2236509" cy="954107"/>
          </a:xfrm>
          <a:prstGeom prst="rect">
            <a:avLst/>
          </a:prstGeom>
          <a:noFill/>
        </p:spPr>
        <p:txBody>
          <a:bodyPr wrap="square" rtlCol="0">
            <a:spAutoFit/>
          </a:bodyPr>
          <a:lstStyle/>
          <a:p>
            <a:pPr algn="ctr"/>
            <a:r>
              <a:rPr lang="en-US" altLang="zh-CN" sz="1400" dirty="0"/>
              <a:t>Lorem ipsum dolor sit amet, consectetur adipisicing elit, sed do eiusmod tempor</a:t>
            </a:r>
            <a:endParaRPr lang="zh-CN" altLang="en-US" sz="1400" dirty="0"/>
          </a:p>
        </p:txBody>
      </p:sp>
    </p:spTree>
    <p:extLst>
      <p:ext uri="{BB962C8B-B14F-4D97-AF65-F5344CB8AC3E}">
        <p14:creationId xmlns:p14="http://schemas.microsoft.com/office/powerpoint/2010/main" val="1631138641"/>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3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 name="直接连接符 4">
            <a:extLst>
              <a:ext uri="{FF2B5EF4-FFF2-40B4-BE49-F238E27FC236}">
                <a16:creationId xmlns:a16="http://schemas.microsoft.com/office/drawing/2014/main" id="{AD2EDBE3-3956-4408-B2BA-5C3036145014}"/>
              </a:ext>
            </a:extLst>
          </p:cNvPr>
          <p:cNvCxnSpPr>
            <a:cxnSpLocks/>
          </p:cNvCxnSpPr>
          <p:nvPr/>
        </p:nvCxnSpPr>
        <p:spPr>
          <a:xfrm>
            <a:off x="139700" y="5778500"/>
            <a:ext cx="11912600" cy="0"/>
          </a:xfrm>
          <a:prstGeom prst="line">
            <a:avLst/>
          </a:prstGeom>
          <a:ln w="63500"/>
        </p:spPr>
        <p:style>
          <a:lnRef idx="1">
            <a:schemeClr val="accent1"/>
          </a:lnRef>
          <a:fillRef idx="0">
            <a:schemeClr val="accent1"/>
          </a:fillRef>
          <a:effectRef idx="0">
            <a:schemeClr val="accent1"/>
          </a:effectRef>
          <a:fontRef idx="minor">
            <a:schemeClr val="tx1"/>
          </a:fontRef>
        </p:style>
      </p:cxnSp>
      <p:grpSp>
        <p:nvGrpSpPr>
          <p:cNvPr id="32" name="组合 31">
            <a:extLst>
              <a:ext uri="{FF2B5EF4-FFF2-40B4-BE49-F238E27FC236}">
                <a16:creationId xmlns:a16="http://schemas.microsoft.com/office/drawing/2014/main" id="{19D59B97-C1D5-4BCB-97FC-BDB851BBA107}"/>
              </a:ext>
            </a:extLst>
          </p:cNvPr>
          <p:cNvGrpSpPr/>
          <p:nvPr/>
        </p:nvGrpSpPr>
        <p:grpSpPr>
          <a:xfrm>
            <a:off x="369937" y="3708518"/>
            <a:ext cx="813044" cy="2178726"/>
            <a:chOff x="369937" y="2857618"/>
            <a:chExt cx="813044" cy="2178726"/>
          </a:xfrm>
        </p:grpSpPr>
        <p:sp>
          <p:nvSpPr>
            <p:cNvPr id="6" name="椭圆 5">
              <a:extLst>
                <a:ext uri="{FF2B5EF4-FFF2-40B4-BE49-F238E27FC236}">
                  <a16:creationId xmlns:a16="http://schemas.microsoft.com/office/drawing/2014/main" id="{68E2282C-A705-442C-AC74-076C15F09CE2}"/>
                </a:ext>
              </a:extLst>
            </p:cNvPr>
            <p:cNvSpPr/>
            <p:nvPr/>
          </p:nvSpPr>
          <p:spPr>
            <a:xfrm>
              <a:off x="673258" y="4818856"/>
              <a:ext cx="217488" cy="217488"/>
            </a:xfrm>
            <a:prstGeom prst="ellipse">
              <a:avLst/>
            </a:pr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8" name="直接连接符 7">
              <a:extLst>
                <a:ext uri="{FF2B5EF4-FFF2-40B4-BE49-F238E27FC236}">
                  <a16:creationId xmlns:a16="http://schemas.microsoft.com/office/drawing/2014/main" id="{62D00451-E037-4D0B-BE0D-1E38F18897FF}"/>
                </a:ext>
              </a:extLst>
            </p:cNvPr>
            <p:cNvCxnSpPr>
              <a:cxnSpLocks/>
            </p:cNvCxnSpPr>
            <p:nvPr/>
          </p:nvCxnSpPr>
          <p:spPr>
            <a:xfrm flipV="1">
              <a:off x="782002" y="3642360"/>
              <a:ext cx="0" cy="1176496"/>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9" name="泪滴形 8">
              <a:extLst>
                <a:ext uri="{FF2B5EF4-FFF2-40B4-BE49-F238E27FC236}">
                  <a16:creationId xmlns:a16="http://schemas.microsoft.com/office/drawing/2014/main" id="{5247C45F-2F14-4824-B444-BB766B16811E}"/>
                </a:ext>
              </a:extLst>
            </p:cNvPr>
            <p:cNvSpPr/>
            <p:nvPr/>
          </p:nvSpPr>
          <p:spPr>
            <a:xfrm rot="8089842">
              <a:off x="413419" y="2857618"/>
              <a:ext cx="737167" cy="737167"/>
            </a:xfrm>
            <a:prstGeom prst="teardrop">
              <a:avLst/>
            </a:pr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 name="文本框 10">
              <a:extLst>
                <a:ext uri="{FF2B5EF4-FFF2-40B4-BE49-F238E27FC236}">
                  <a16:creationId xmlns:a16="http://schemas.microsoft.com/office/drawing/2014/main" id="{5202A737-2767-49F7-9B80-C1DC2B9A82E1}"/>
                </a:ext>
              </a:extLst>
            </p:cNvPr>
            <p:cNvSpPr txBox="1"/>
            <p:nvPr/>
          </p:nvSpPr>
          <p:spPr>
            <a:xfrm>
              <a:off x="369937" y="3056567"/>
              <a:ext cx="813044" cy="400110"/>
            </a:xfrm>
            <a:prstGeom prst="rect">
              <a:avLst/>
            </a:prstGeom>
            <a:noFill/>
          </p:spPr>
          <p:txBody>
            <a:bodyPr wrap="none" rtlCol="0">
              <a:spAutoFit/>
            </a:bodyPr>
            <a:lstStyle/>
            <a:p>
              <a:pPr algn="ctr"/>
              <a:r>
                <a:rPr lang="en-US" altLang="zh-CN" sz="2000" dirty="0">
                  <a:solidFill>
                    <a:schemeClr val="bg1"/>
                  </a:solidFill>
                  <a:latin typeface="+mj-ea"/>
                  <a:ea typeface="+mj-ea"/>
                </a:rPr>
                <a:t>2018</a:t>
              </a:r>
              <a:endParaRPr lang="zh-CN" altLang="en-US" sz="2000" dirty="0">
                <a:solidFill>
                  <a:schemeClr val="bg1"/>
                </a:solidFill>
                <a:latin typeface="+mj-ea"/>
                <a:ea typeface="+mj-ea"/>
              </a:endParaRPr>
            </a:p>
          </p:txBody>
        </p:sp>
      </p:grpSp>
      <p:grpSp>
        <p:nvGrpSpPr>
          <p:cNvPr id="31" name="组合 30">
            <a:extLst>
              <a:ext uri="{FF2B5EF4-FFF2-40B4-BE49-F238E27FC236}">
                <a16:creationId xmlns:a16="http://schemas.microsoft.com/office/drawing/2014/main" id="{90D53FC5-BEBD-4EC1-9CC3-A6D1943A0DFA}"/>
              </a:ext>
            </a:extLst>
          </p:cNvPr>
          <p:cNvGrpSpPr/>
          <p:nvPr/>
        </p:nvGrpSpPr>
        <p:grpSpPr>
          <a:xfrm>
            <a:off x="3196887" y="2634098"/>
            <a:ext cx="813044" cy="3253146"/>
            <a:chOff x="3219817" y="1783198"/>
            <a:chExt cx="813044" cy="3253146"/>
          </a:xfrm>
        </p:grpSpPr>
        <p:sp>
          <p:nvSpPr>
            <p:cNvPr id="12" name="椭圆 11">
              <a:extLst>
                <a:ext uri="{FF2B5EF4-FFF2-40B4-BE49-F238E27FC236}">
                  <a16:creationId xmlns:a16="http://schemas.microsoft.com/office/drawing/2014/main" id="{17A488F6-1597-423D-9758-6F3CFD1A472B}"/>
                </a:ext>
              </a:extLst>
            </p:cNvPr>
            <p:cNvSpPr/>
            <p:nvPr/>
          </p:nvSpPr>
          <p:spPr>
            <a:xfrm>
              <a:off x="3523138" y="4818856"/>
              <a:ext cx="217488" cy="217488"/>
            </a:xfrm>
            <a:prstGeom prst="ellipse">
              <a:avLst/>
            </a:pr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13" name="直接连接符 12">
              <a:extLst>
                <a:ext uri="{FF2B5EF4-FFF2-40B4-BE49-F238E27FC236}">
                  <a16:creationId xmlns:a16="http://schemas.microsoft.com/office/drawing/2014/main" id="{CE355881-9EFF-43FC-BB5D-7C1798EE691E}"/>
                </a:ext>
              </a:extLst>
            </p:cNvPr>
            <p:cNvCxnSpPr>
              <a:cxnSpLocks/>
            </p:cNvCxnSpPr>
            <p:nvPr/>
          </p:nvCxnSpPr>
          <p:spPr>
            <a:xfrm flipV="1">
              <a:off x="3631882" y="2438400"/>
              <a:ext cx="0" cy="2380456"/>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14" name="泪滴形 13">
              <a:extLst>
                <a:ext uri="{FF2B5EF4-FFF2-40B4-BE49-F238E27FC236}">
                  <a16:creationId xmlns:a16="http://schemas.microsoft.com/office/drawing/2014/main" id="{AC338C59-064C-4CEC-B326-BFB4CBE57D2B}"/>
                </a:ext>
              </a:extLst>
            </p:cNvPr>
            <p:cNvSpPr/>
            <p:nvPr/>
          </p:nvSpPr>
          <p:spPr>
            <a:xfrm rot="8089842">
              <a:off x="3263299" y="1783198"/>
              <a:ext cx="737167" cy="737167"/>
            </a:xfrm>
            <a:prstGeom prst="teardrop">
              <a:avLst/>
            </a:pr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 name="文本框 14">
              <a:extLst>
                <a:ext uri="{FF2B5EF4-FFF2-40B4-BE49-F238E27FC236}">
                  <a16:creationId xmlns:a16="http://schemas.microsoft.com/office/drawing/2014/main" id="{5AC74B8F-FC2E-4CB9-8264-63ECA7585DF6}"/>
                </a:ext>
              </a:extLst>
            </p:cNvPr>
            <p:cNvSpPr txBox="1"/>
            <p:nvPr/>
          </p:nvSpPr>
          <p:spPr>
            <a:xfrm>
              <a:off x="3219817" y="1982147"/>
              <a:ext cx="813044" cy="400110"/>
            </a:xfrm>
            <a:prstGeom prst="rect">
              <a:avLst/>
            </a:prstGeom>
            <a:noFill/>
          </p:spPr>
          <p:txBody>
            <a:bodyPr wrap="none" rtlCol="0">
              <a:spAutoFit/>
            </a:bodyPr>
            <a:lstStyle/>
            <a:p>
              <a:pPr algn="ctr"/>
              <a:r>
                <a:rPr lang="en-US" altLang="zh-CN" sz="2000" dirty="0">
                  <a:solidFill>
                    <a:schemeClr val="bg1"/>
                  </a:solidFill>
                  <a:latin typeface="+mj-ea"/>
                  <a:ea typeface="+mj-ea"/>
                </a:rPr>
                <a:t>2019</a:t>
              </a:r>
              <a:endParaRPr lang="zh-CN" altLang="en-US" sz="2000" dirty="0">
                <a:solidFill>
                  <a:schemeClr val="bg1"/>
                </a:solidFill>
                <a:latin typeface="+mj-ea"/>
                <a:ea typeface="+mj-ea"/>
              </a:endParaRPr>
            </a:p>
          </p:txBody>
        </p:sp>
      </p:grpSp>
      <p:grpSp>
        <p:nvGrpSpPr>
          <p:cNvPr id="39" name="组合 38">
            <a:extLst>
              <a:ext uri="{FF2B5EF4-FFF2-40B4-BE49-F238E27FC236}">
                <a16:creationId xmlns:a16="http://schemas.microsoft.com/office/drawing/2014/main" id="{E56AC708-D11D-4A12-A41E-0B33A32E3ADE}"/>
              </a:ext>
            </a:extLst>
          </p:cNvPr>
          <p:cNvGrpSpPr/>
          <p:nvPr/>
        </p:nvGrpSpPr>
        <p:grpSpPr>
          <a:xfrm>
            <a:off x="6042080" y="3675500"/>
            <a:ext cx="857927" cy="2211744"/>
            <a:chOff x="6042080" y="2824600"/>
            <a:chExt cx="857927" cy="2211744"/>
          </a:xfrm>
        </p:grpSpPr>
        <p:sp>
          <p:nvSpPr>
            <p:cNvPr id="17" name="椭圆 16">
              <a:extLst>
                <a:ext uri="{FF2B5EF4-FFF2-40B4-BE49-F238E27FC236}">
                  <a16:creationId xmlns:a16="http://schemas.microsoft.com/office/drawing/2014/main" id="{A3759FBE-A9E3-4C24-991B-4D8ABF2599F0}"/>
                </a:ext>
              </a:extLst>
            </p:cNvPr>
            <p:cNvSpPr/>
            <p:nvPr/>
          </p:nvSpPr>
          <p:spPr>
            <a:xfrm>
              <a:off x="6362299" y="4818856"/>
              <a:ext cx="217488" cy="217488"/>
            </a:xfrm>
            <a:prstGeom prst="ellipse">
              <a:avLst/>
            </a:pr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18" name="直接连接符 17">
              <a:extLst>
                <a:ext uri="{FF2B5EF4-FFF2-40B4-BE49-F238E27FC236}">
                  <a16:creationId xmlns:a16="http://schemas.microsoft.com/office/drawing/2014/main" id="{14CCDD1C-3493-4AD3-8FB1-6914B1CF68E0}"/>
                </a:ext>
              </a:extLst>
            </p:cNvPr>
            <p:cNvCxnSpPr>
              <a:cxnSpLocks/>
            </p:cNvCxnSpPr>
            <p:nvPr/>
          </p:nvCxnSpPr>
          <p:spPr>
            <a:xfrm flipV="1">
              <a:off x="6471043" y="3651293"/>
              <a:ext cx="0" cy="1167563"/>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19" name="泪滴形 18">
              <a:extLst>
                <a:ext uri="{FF2B5EF4-FFF2-40B4-BE49-F238E27FC236}">
                  <a16:creationId xmlns:a16="http://schemas.microsoft.com/office/drawing/2014/main" id="{55F3CF14-B15D-4ABE-BF90-8FEFD4674D75}"/>
                </a:ext>
              </a:extLst>
            </p:cNvPr>
            <p:cNvSpPr/>
            <p:nvPr/>
          </p:nvSpPr>
          <p:spPr>
            <a:xfrm rot="8089842">
              <a:off x="6102460" y="2824600"/>
              <a:ext cx="737167" cy="737167"/>
            </a:xfrm>
            <a:prstGeom prst="teardrop">
              <a:avLst/>
            </a:pr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0" name="文本框 19">
              <a:extLst>
                <a:ext uri="{FF2B5EF4-FFF2-40B4-BE49-F238E27FC236}">
                  <a16:creationId xmlns:a16="http://schemas.microsoft.com/office/drawing/2014/main" id="{5CD2AF1F-E12E-4237-8861-85A4CB36A5E9}"/>
                </a:ext>
              </a:extLst>
            </p:cNvPr>
            <p:cNvSpPr txBox="1"/>
            <p:nvPr/>
          </p:nvSpPr>
          <p:spPr>
            <a:xfrm>
              <a:off x="6042080" y="3023549"/>
              <a:ext cx="857927" cy="400110"/>
            </a:xfrm>
            <a:prstGeom prst="rect">
              <a:avLst/>
            </a:prstGeom>
            <a:noFill/>
          </p:spPr>
          <p:txBody>
            <a:bodyPr wrap="none" rtlCol="0">
              <a:spAutoFit/>
            </a:bodyPr>
            <a:lstStyle/>
            <a:p>
              <a:pPr algn="ctr"/>
              <a:r>
                <a:rPr lang="en-US" altLang="zh-CN" sz="2000" dirty="0">
                  <a:solidFill>
                    <a:schemeClr val="bg1"/>
                  </a:solidFill>
                  <a:latin typeface="+mj-ea"/>
                  <a:ea typeface="+mj-ea"/>
                </a:rPr>
                <a:t>2020</a:t>
              </a:r>
              <a:endParaRPr lang="zh-CN" altLang="en-US" sz="2000" dirty="0">
                <a:solidFill>
                  <a:schemeClr val="bg1"/>
                </a:solidFill>
                <a:latin typeface="+mj-ea"/>
                <a:ea typeface="+mj-ea"/>
              </a:endParaRPr>
            </a:p>
          </p:txBody>
        </p:sp>
      </p:grpSp>
      <p:grpSp>
        <p:nvGrpSpPr>
          <p:cNvPr id="29" name="组合 28">
            <a:extLst>
              <a:ext uri="{FF2B5EF4-FFF2-40B4-BE49-F238E27FC236}">
                <a16:creationId xmlns:a16="http://schemas.microsoft.com/office/drawing/2014/main" id="{8970940A-8A96-47C3-906F-FF82FF95DAAB}"/>
              </a:ext>
            </a:extLst>
          </p:cNvPr>
          <p:cNvGrpSpPr/>
          <p:nvPr/>
        </p:nvGrpSpPr>
        <p:grpSpPr>
          <a:xfrm>
            <a:off x="8895669" y="2532499"/>
            <a:ext cx="813043" cy="3354745"/>
            <a:chOff x="8871318" y="1681599"/>
            <a:chExt cx="813043" cy="3354745"/>
          </a:xfrm>
        </p:grpSpPr>
        <p:sp>
          <p:nvSpPr>
            <p:cNvPr id="23" name="椭圆 22">
              <a:extLst>
                <a:ext uri="{FF2B5EF4-FFF2-40B4-BE49-F238E27FC236}">
                  <a16:creationId xmlns:a16="http://schemas.microsoft.com/office/drawing/2014/main" id="{A4854987-129F-44FB-A7F8-887A69365A6E}"/>
                </a:ext>
              </a:extLst>
            </p:cNvPr>
            <p:cNvSpPr/>
            <p:nvPr/>
          </p:nvSpPr>
          <p:spPr>
            <a:xfrm>
              <a:off x="9174638" y="4818856"/>
              <a:ext cx="217488" cy="217488"/>
            </a:xfrm>
            <a:prstGeom prst="ellipse">
              <a:avLst/>
            </a:pr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24" name="直接连接符 23">
              <a:extLst>
                <a:ext uri="{FF2B5EF4-FFF2-40B4-BE49-F238E27FC236}">
                  <a16:creationId xmlns:a16="http://schemas.microsoft.com/office/drawing/2014/main" id="{ED8D818B-5353-4893-86E1-724B987FA485}"/>
                </a:ext>
              </a:extLst>
            </p:cNvPr>
            <p:cNvCxnSpPr>
              <a:cxnSpLocks/>
            </p:cNvCxnSpPr>
            <p:nvPr/>
          </p:nvCxnSpPr>
          <p:spPr>
            <a:xfrm flipV="1">
              <a:off x="9283382" y="2273300"/>
              <a:ext cx="0" cy="2545556"/>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25" name="泪滴形 24">
              <a:extLst>
                <a:ext uri="{FF2B5EF4-FFF2-40B4-BE49-F238E27FC236}">
                  <a16:creationId xmlns:a16="http://schemas.microsoft.com/office/drawing/2014/main" id="{9F9B53E0-E358-4387-954D-29757CF3033C}"/>
                </a:ext>
              </a:extLst>
            </p:cNvPr>
            <p:cNvSpPr/>
            <p:nvPr/>
          </p:nvSpPr>
          <p:spPr>
            <a:xfrm rot="8089842">
              <a:off x="8914799" y="1681599"/>
              <a:ext cx="737167" cy="737167"/>
            </a:xfrm>
            <a:prstGeom prst="teardrop">
              <a:avLst/>
            </a:pr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6" name="文本框 25">
              <a:extLst>
                <a:ext uri="{FF2B5EF4-FFF2-40B4-BE49-F238E27FC236}">
                  <a16:creationId xmlns:a16="http://schemas.microsoft.com/office/drawing/2014/main" id="{9F13E0CB-7392-489D-B5D3-B3743625A65F}"/>
                </a:ext>
              </a:extLst>
            </p:cNvPr>
            <p:cNvSpPr txBox="1"/>
            <p:nvPr/>
          </p:nvSpPr>
          <p:spPr>
            <a:xfrm>
              <a:off x="8871318" y="1880548"/>
              <a:ext cx="813043" cy="400110"/>
            </a:xfrm>
            <a:prstGeom prst="rect">
              <a:avLst/>
            </a:prstGeom>
            <a:noFill/>
          </p:spPr>
          <p:txBody>
            <a:bodyPr wrap="none" rtlCol="0">
              <a:spAutoFit/>
            </a:bodyPr>
            <a:lstStyle/>
            <a:p>
              <a:pPr algn="ctr"/>
              <a:r>
                <a:rPr lang="en-US" altLang="zh-CN" sz="2000" dirty="0">
                  <a:solidFill>
                    <a:schemeClr val="bg1"/>
                  </a:solidFill>
                  <a:latin typeface="+mj-ea"/>
                  <a:ea typeface="+mj-ea"/>
                </a:rPr>
                <a:t>2021</a:t>
              </a:r>
              <a:endParaRPr lang="zh-CN" altLang="en-US" sz="2000" dirty="0">
                <a:solidFill>
                  <a:schemeClr val="bg1"/>
                </a:solidFill>
                <a:latin typeface="+mj-ea"/>
                <a:ea typeface="+mj-ea"/>
              </a:endParaRPr>
            </a:p>
          </p:txBody>
        </p:sp>
      </p:grpSp>
      <p:sp>
        <p:nvSpPr>
          <p:cNvPr id="35" name="文本框 34">
            <a:extLst>
              <a:ext uri="{FF2B5EF4-FFF2-40B4-BE49-F238E27FC236}">
                <a16:creationId xmlns:a16="http://schemas.microsoft.com/office/drawing/2014/main" id="{0FC03BF6-5C00-44F6-AD8B-B610F0A5C1DE}"/>
              </a:ext>
            </a:extLst>
          </p:cNvPr>
          <p:cNvSpPr txBox="1"/>
          <p:nvPr/>
        </p:nvSpPr>
        <p:spPr>
          <a:xfrm>
            <a:off x="919926" y="4502193"/>
            <a:ext cx="2236509" cy="646331"/>
          </a:xfrm>
          <a:prstGeom prst="rect">
            <a:avLst/>
          </a:prstGeom>
          <a:noFill/>
        </p:spPr>
        <p:txBody>
          <a:bodyPr wrap="square" rtlCol="0">
            <a:spAutoFit/>
          </a:bodyPr>
          <a:lstStyle/>
          <a:p>
            <a:r>
              <a:rPr lang="en-US" altLang="zh-CN" sz="1200" dirty="0"/>
              <a:t>Lorem ipsum dolor sit amet, consectetur adipisicing elit, sed do eiusmod tempor</a:t>
            </a:r>
            <a:endParaRPr lang="zh-CN" altLang="en-US" sz="1200" dirty="0"/>
          </a:p>
        </p:txBody>
      </p:sp>
      <p:sp>
        <p:nvSpPr>
          <p:cNvPr id="36" name="文本框 35">
            <a:extLst>
              <a:ext uri="{FF2B5EF4-FFF2-40B4-BE49-F238E27FC236}">
                <a16:creationId xmlns:a16="http://schemas.microsoft.com/office/drawing/2014/main" id="{5A48B989-8267-49CD-A298-D8BF4407A133}"/>
              </a:ext>
            </a:extLst>
          </p:cNvPr>
          <p:cNvSpPr txBox="1"/>
          <p:nvPr/>
        </p:nvSpPr>
        <p:spPr>
          <a:xfrm>
            <a:off x="3755548" y="3524884"/>
            <a:ext cx="2236509" cy="646331"/>
          </a:xfrm>
          <a:prstGeom prst="rect">
            <a:avLst/>
          </a:prstGeom>
          <a:noFill/>
        </p:spPr>
        <p:txBody>
          <a:bodyPr wrap="square" rtlCol="0">
            <a:spAutoFit/>
          </a:bodyPr>
          <a:lstStyle/>
          <a:p>
            <a:r>
              <a:rPr lang="en-US" altLang="zh-CN" sz="1200" dirty="0"/>
              <a:t>Lorem ipsum dolor sit amet, consectetur adipisicing elit, sed do eiusmod tempor</a:t>
            </a:r>
            <a:endParaRPr lang="zh-CN" altLang="en-US" sz="1200" dirty="0"/>
          </a:p>
        </p:txBody>
      </p:sp>
      <p:sp>
        <p:nvSpPr>
          <p:cNvPr id="37" name="文本框 36">
            <a:extLst>
              <a:ext uri="{FF2B5EF4-FFF2-40B4-BE49-F238E27FC236}">
                <a16:creationId xmlns:a16="http://schemas.microsoft.com/office/drawing/2014/main" id="{D5A700D4-3D71-41B7-9628-6872C4A64A58}"/>
              </a:ext>
            </a:extLst>
          </p:cNvPr>
          <p:cNvSpPr txBox="1"/>
          <p:nvPr/>
        </p:nvSpPr>
        <p:spPr>
          <a:xfrm>
            <a:off x="6591170" y="4493260"/>
            <a:ext cx="2236509" cy="646331"/>
          </a:xfrm>
          <a:prstGeom prst="rect">
            <a:avLst/>
          </a:prstGeom>
          <a:noFill/>
        </p:spPr>
        <p:txBody>
          <a:bodyPr wrap="square" rtlCol="0">
            <a:spAutoFit/>
          </a:bodyPr>
          <a:lstStyle/>
          <a:p>
            <a:r>
              <a:rPr lang="en-US" altLang="zh-CN" sz="1200" dirty="0"/>
              <a:t>Lorem ipsum dolor sit amet, consectetur adipisicing elit, sed do eiusmod tempor</a:t>
            </a:r>
            <a:endParaRPr lang="zh-CN" altLang="en-US" sz="1200" dirty="0"/>
          </a:p>
        </p:txBody>
      </p:sp>
      <p:sp>
        <p:nvSpPr>
          <p:cNvPr id="40" name="文本框 39">
            <a:extLst>
              <a:ext uri="{FF2B5EF4-FFF2-40B4-BE49-F238E27FC236}">
                <a16:creationId xmlns:a16="http://schemas.microsoft.com/office/drawing/2014/main" id="{EF442AD5-D52F-4C34-B321-A225BFED189F}"/>
              </a:ext>
            </a:extLst>
          </p:cNvPr>
          <p:cNvSpPr txBox="1"/>
          <p:nvPr/>
        </p:nvSpPr>
        <p:spPr>
          <a:xfrm>
            <a:off x="9426793" y="3524884"/>
            <a:ext cx="2236509" cy="646331"/>
          </a:xfrm>
          <a:prstGeom prst="rect">
            <a:avLst/>
          </a:prstGeom>
          <a:noFill/>
        </p:spPr>
        <p:txBody>
          <a:bodyPr wrap="square" rtlCol="0">
            <a:spAutoFit/>
          </a:bodyPr>
          <a:lstStyle/>
          <a:p>
            <a:r>
              <a:rPr lang="en-US" altLang="zh-CN" sz="1200" dirty="0"/>
              <a:t>Lorem ipsum dolor sit amet, consectetur adipisicing elit, sed do eiusmod tempor</a:t>
            </a:r>
            <a:endParaRPr lang="zh-CN" altLang="en-US" sz="1200" dirty="0"/>
          </a:p>
        </p:txBody>
      </p:sp>
    </p:spTree>
    <p:extLst>
      <p:ext uri="{BB962C8B-B14F-4D97-AF65-F5344CB8AC3E}">
        <p14:creationId xmlns:p14="http://schemas.microsoft.com/office/powerpoint/2010/main" val="1432562383"/>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3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直接连接符 1">
            <a:extLst>
              <a:ext uri="{FF2B5EF4-FFF2-40B4-BE49-F238E27FC236}">
                <a16:creationId xmlns:a16="http://schemas.microsoft.com/office/drawing/2014/main" id="{1A792BF5-704B-460E-A2C2-1191CF7A8DCE}"/>
              </a:ext>
            </a:extLst>
          </p:cNvPr>
          <p:cNvCxnSpPr>
            <a:cxnSpLocks/>
          </p:cNvCxnSpPr>
          <p:nvPr/>
        </p:nvCxnSpPr>
        <p:spPr>
          <a:xfrm>
            <a:off x="139700" y="3822700"/>
            <a:ext cx="11912600" cy="0"/>
          </a:xfrm>
          <a:prstGeom prst="line">
            <a:avLst/>
          </a:prstGeom>
          <a:ln w="63500"/>
        </p:spPr>
        <p:style>
          <a:lnRef idx="1">
            <a:schemeClr val="accent1"/>
          </a:lnRef>
          <a:fillRef idx="0">
            <a:schemeClr val="accent1"/>
          </a:fillRef>
          <a:effectRef idx="0">
            <a:schemeClr val="accent1"/>
          </a:effectRef>
          <a:fontRef idx="minor">
            <a:schemeClr val="tx1"/>
          </a:fontRef>
        </p:style>
      </p:cxnSp>
      <p:sp>
        <p:nvSpPr>
          <p:cNvPr id="5" name="文本框 4">
            <a:extLst>
              <a:ext uri="{FF2B5EF4-FFF2-40B4-BE49-F238E27FC236}">
                <a16:creationId xmlns:a16="http://schemas.microsoft.com/office/drawing/2014/main" id="{23314B7C-0EA8-48C0-BEDC-E91313A30796}"/>
              </a:ext>
            </a:extLst>
          </p:cNvPr>
          <p:cNvSpPr txBox="1"/>
          <p:nvPr/>
        </p:nvSpPr>
        <p:spPr>
          <a:xfrm>
            <a:off x="481946" y="4077434"/>
            <a:ext cx="2236510" cy="400110"/>
          </a:xfrm>
          <a:prstGeom prst="rect">
            <a:avLst/>
          </a:prstGeom>
          <a:noFill/>
        </p:spPr>
        <p:txBody>
          <a:bodyPr wrap="none" rtlCol="0">
            <a:spAutoFit/>
          </a:bodyPr>
          <a:lstStyle/>
          <a:p>
            <a:pPr algn="ctr"/>
            <a:r>
              <a:rPr lang="zh-CN" altLang="en-US" sz="2000" dirty="0">
                <a:solidFill>
                  <a:schemeClr val="accent1"/>
                </a:solidFill>
                <a:latin typeface="+mj-ea"/>
                <a:ea typeface="+mj-ea"/>
              </a:rPr>
              <a:t>请在此处输入标题</a:t>
            </a:r>
          </a:p>
        </p:txBody>
      </p:sp>
      <p:sp>
        <p:nvSpPr>
          <p:cNvPr id="6" name="文本框 5">
            <a:extLst>
              <a:ext uri="{FF2B5EF4-FFF2-40B4-BE49-F238E27FC236}">
                <a16:creationId xmlns:a16="http://schemas.microsoft.com/office/drawing/2014/main" id="{B7225218-AF75-48C0-AAE4-B216A32EEDD3}"/>
              </a:ext>
            </a:extLst>
          </p:cNvPr>
          <p:cNvSpPr txBox="1"/>
          <p:nvPr/>
        </p:nvSpPr>
        <p:spPr>
          <a:xfrm>
            <a:off x="481947" y="4454472"/>
            <a:ext cx="2236509" cy="646331"/>
          </a:xfrm>
          <a:prstGeom prst="rect">
            <a:avLst/>
          </a:prstGeom>
          <a:noFill/>
        </p:spPr>
        <p:txBody>
          <a:bodyPr wrap="square" rtlCol="0">
            <a:spAutoFit/>
          </a:bodyPr>
          <a:lstStyle/>
          <a:p>
            <a:pPr algn="just"/>
            <a:r>
              <a:rPr lang="en-US" altLang="zh-CN" sz="1200" dirty="0"/>
              <a:t>Lorem ipsum dolor sit amet, consectetur adipisicing elit, sed do eiusmod tempor</a:t>
            </a:r>
            <a:endParaRPr lang="zh-CN" altLang="en-US" sz="1200" dirty="0"/>
          </a:p>
        </p:txBody>
      </p:sp>
      <p:grpSp>
        <p:nvGrpSpPr>
          <p:cNvPr id="14" name="组合 13">
            <a:extLst>
              <a:ext uri="{FF2B5EF4-FFF2-40B4-BE49-F238E27FC236}">
                <a16:creationId xmlns:a16="http://schemas.microsoft.com/office/drawing/2014/main" id="{84D3D27D-D254-49DB-82F8-F902216134AF}"/>
              </a:ext>
            </a:extLst>
          </p:cNvPr>
          <p:cNvGrpSpPr/>
          <p:nvPr/>
        </p:nvGrpSpPr>
        <p:grpSpPr>
          <a:xfrm>
            <a:off x="297001" y="3703803"/>
            <a:ext cx="217488" cy="1325397"/>
            <a:chOff x="297001" y="3703803"/>
            <a:chExt cx="217488" cy="1325397"/>
          </a:xfrm>
        </p:grpSpPr>
        <p:cxnSp>
          <p:nvCxnSpPr>
            <p:cNvPr id="7" name="直接连接符 6">
              <a:extLst>
                <a:ext uri="{FF2B5EF4-FFF2-40B4-BE49-F238E27FC236}">
                  <a16:creationId xmlns:a16="http://schemas.microsoft.com/office/drawing/2014/main" id="{FF70DA25-66C6-4548-8E50-3224B8E1AD71}"/>
                </a:ext>
              </a:extLst>
            </p:cNvPr>
            <p:cNvCxnSpPr>
              <a:cxnSpLocks/>
            </p:cNvCxnSpPr>
            <p:nvPr/>
          </p:nvCxnSpPr>
          <p:spPr>
            <a:xfrm>
              <a:off x="405745" y="3822700"/>
              <a:ext cx="0" cy="120650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0" name="椭圆 9">
              <a:extLst>
                <a:ext uri="{FF2B5EF4-FFF2-40B4-BE49-F238E27FC236}">
                  <a16:creationId xmlns:a16="http://schemas.microsoft.com/office/drawing/2014/main" id="{025EBFB4-C260-4209-9541-FADF62AA9569}"/>
                </a:ext>
              </a:extLst>
            </p:cNvPr>
            <p:cNvSpPr/>
            <p:nvPr/>
          </p:nvSpPr>
          <p:spPr>
            <a:xfrm>
              <a:off x="358495" y="4230238"/>
              <a:ext cx="94501" cy="94501"/>
            </a:xfrm>
            <a:prstGeom prst="ellipse">
              <a:avLst/>
            </a:pr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 name="椭圆 11">
              <a:extLst>
                <a:ext uri="{FF2B5EF4-FFF2-40B4-BE49-F238E27FC236}">
                  <a16:creationId xmlns:a16="http://schemas.microsoft.com/office/drawing/2014/main" id="{75265014-452E-44C1-A6BC-45583DEAB280}"/>
                </a:ext>
              </a:extLst>
            </p:cNvPr>
            <p:cNvSpPr/>
            <p:nvPr/>
          </p:nvSpPr>
          <p:spPr>
            <a:xfrm>
              <a:off x="297001" y="3703803"/>
              <a:ext cx="217488" cy="217488"/>
            </a:xfrm>
            <a:prstGeom prst="ellipse">
              <a:avLst/>
            </a:pr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13" name="文本框 12">
            <a:extLst>
              <a:ext uri="{FF2B5EF4-FFF2-40B4-BE49-F238E27FC236}">
                <a16:creationId xmlns:a16="http://schemas.microsoft.com/office/drawing/2014/main" id="{4CE898DE-F662-434D-9B6F-86D0D4F6882D}"/>
              </a:ext>
            </a:extLst>
          </p:cNvPr>
          <p:cNvSpPr txBox="1"/>
          <p:nvPr/>
        </p:nvSpPr>
        <p:spPr>
          <a:xfrm>
            <a:off x="212604" y="3258203"/>
            <a:ext cx="813044" cy="400110"/>
          </a:xfrm>
          <a:prstGeom prst="rect">
            <a:avLst/>
          </a:prstGeom>
          <a:noFill/>
        </p:spPr>
        <p:txBody>
          <a:bodyPr wrap="none" rtlCol="0">
            <a:spAutoFit/>
          </a:bodyPr>
          <a:lstStyle/>
          <a:p>
            <a:pPr algn="ctr"/>
            <a:r>
              <a:rPr lang="en-US" altLang="zh-CN" sz="2000" dirty="0">
                <a:solidFill>
                  <a:schemeClr val="accent1"/>
                </a:solidFill>
                <a:latin typeface="+mj-ea"/>
                <a:ea typeface="+mj-ea"/>
              </a:rPr>
              <a:t>2018</a:t>
            </a:r>
            <a:endParaRPr lang="zh-CN" altLang="en-US" sz="2000" dirty="0">
              <a:solidFill>
                <a:schemeClr val="accent1"/>
              </a:solidFill>
              <a:latin typeface="+mj-ea"/>
              <a:ea typeface="+mj-ea"/>
            </a:endParaRPr>
          </a:p>
        </p:txBody>
      </p:sp>
      <p:grpSp>
        <p:nvGrpSpPr>
          <p:cNvPr id="15" name="组合 14">
            <a:extLst>
              <a:ext uri="{FF2B5EF4-FFF2-40B4-BE49-F238E27FC236}">
                <a16:creationId xmlns:a16="http://schemas.microsoft.com/office/drawing/2014/main" id="{0AF5C2A3-BD76-49F7-9DE3-7B87CE633A22}"/>
              </a:ext>
            </a:extLst>
          </p:cNvPr>
          <p:cNvGrpSpPr/>
          <p:nvPr/>
        </p:nvGrpSpPr>
        <p:grpSpPr>
          <a:xfrm flipV="1">
            <a:off x="3303726" y="2571750"/>
            <a:ext cx="217488" cy="1360066"/>
            <a:chOff x="297001" y="3703803"/>
            <a:chExt cx="217488" cy="1360066"/>
          </a:xfrm>
        </p:grpSpPr>
        <p:cxnSp>
          <p:nvCxnSpPr>
            <p:cNvPr id="16" name="直接连接符 15">
              <a:extLst>
                <a:ext uri="{FF2B5EF4-FFF2-40B4-BE49-F238E27FC236}">
                  <a16:creationId xmlns:a16="http://schemas.microsoft.com/office/drawing/2014/main" id="{B9653CA3-70D3-48B8-8135-EB557B2EA5FA}"/>
                </a:ext>
              </a:extLst>
            </p:cNvPr>
            <p:cNvCxnSpPr>
              <a:cxnSpLocks/>
            </p:cNvCxnSpPr>
            <p:nvPr/>
          </p:nvCxnSpPr>
          <p:spPr>
            <a:xfrm>
              <a:off x="405745" y="3822700"/>
              <a:ext cx="0" cy="1241169"/>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7" name="椭圆 16">
              <a:extLst>
                <a:ext uri="{FF2B5EF4-FFF2-40B4-BE49-F238E27FC236}">
                  <a16:creationId xmlns:a16="http://schemas.microsoft.com/office/drawing/2014/main" id="{756579D7-4422-4FC3-AF2F-7DC4CB99EDC4}"/>
                </a:ext>
              </a:extLst>
            </p:cNvPr>
            <p:cNvSpPr/>
            <p:nvPr/>
          </p:nvSpPr>
          <p:spPr>
            <a:xfrm>
              <a:off x="358495" y="4230238"/>
              <a:ext cx="94501" cy="94501"/>
            </a:xfrm>
            <a:prstGeom prst="ellipse">
              <a:avLst/>
            </a:pr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8" name="椭圆 17">
              <a:extLst>
                <a:ext uri="{FF2B5EF4-FFF2-40B4-BE49-F238E27FC236}">
                  <a16:creationId xmlns:a16="http://schemas.microsoft.com/office/drawing/2014/main" id="{A2B028DE-34D3-4522-BDA6-52BBB62CF9C6}"/>
                </a:ext>
              </a:extLst>
            </p:cNvPr>
            <p:cNvSpPr/>
            <p:nvPr/>
          </p:nvSpPr>
          <p:spPr>
            <a:xfrm>
              <a:off x="297001" y="3703803"/>
              <a:ext cx="217488" cy="217488"/>
            </a:xfrm>
            <a:prstGeom prst="ellipse">
              <a:avLst/>
            </a:pr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19" name="组合 18">
            <a:extLst>
              <a:ext uri="{FF2B5EF4-FFF2-40B4-BE49-F238E27FC236}">
                <a16:creationId xmlns:a16="http://schemas.microsoft.com/office/drawing/2014/main" id="{B47D1117-AD1E-4218-A49D-C852E44C8FB9}"/>
              </a:ext>
            </a:extLst>
          </p:cNvPr>
          <p:cNvGrpSpPr/>
          <p:nvPr/>
        </p:nvGrpSpPr>
        <p:grpSpPr>
          <a:xfrm>
            <a:off x="6310451" y="3703803"/>
            <a:ext cx="217488" cy="1350797"/>
            <a:chOff x="297001" y="3703803"/>
            <a:chExt cx="217488" cy="1350797"/>
          </a:xfrm>
        </p:grpSpPr>
        <p:cxnSp>
          <p:nvCxnSpPr>
            <p:cNvPr id="20" name="直接连接符 19">
              <a:extLst>
                <a:ext uri="{FF2B5EF4-FFF2-40B4-BE49-F238E27FC236}">
                  <a16:creationId xmlns:a16="http://schemas.microsoft.com/office/drawing/2014/main" id="{7E8F0A74-853C-4FA3-90B9-6A696F443E7A}"/>
                </a:ext>
              </a:extLst>
            </p:cNvPr>
            <p:cNvCxnSpPr>
              <a:cxnSpLocks/>
            </p:cNvCxnSpPr>
            <p:nvPr/>
          </p:nvCxnSpPr>
          <p:spPr>
            <a:xfrm>
              <a:off x="405745" y="3822700"/>
              <a:ext cx="0" cy="123190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1" name="椭圆 20">
              <a:extLst>
                <a:ext uri="{FF2B5EF4-FFF2-40B4-BE49-F238E27FC236}">
                  <a16:creationId xmlns:a16="http://schemas.microsoft.com/office/drawing/2014/main" id="{D3FAE2F5-2811-4D99-9B34-2C587AE942B4}"/>
                </a:ext>
              </a:extLst>
            </p:cNvPr>
            <p:cNvSpPr/>
            <p:nvPr/>
          </p:nvSpPr>
          <p:spPr>
            <a:xfrm>
              <a:off x="358495" y="4230238"/>
              <a:ext cx="94501" cy="94501"/>
            </a:xfrm>
            <a:prstGeom prst="ellipse">
              <a:avLst/>
            </a:pr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2" name="椭圆 21">
              <a:extLst>
                <a:ext uri="{FF2B5EF4-FFF2-40B4-BE49-F238E27FC236}">
                  <a16:creationId xmlns:a16="http://schemas.microsoft.com/office/drawing/2014/main" id="{9E21B2A0-D3D5-42E6-8A8F-0ED04C30BCBD}"/>
                </a:ext>
              </a:extLst>
            </p:cNvPr>
            <p:cNvSpPr/>
            <p:nvPr/>
          </p:nvSpPr>
          <p:spPr>
            <a:xfrm>
              <a:off x="297001" y="3703803"/>
              <a:ext cx="217488" cy="217488"/>
            </a:xfrm>
            <a:prstGeom prst="ellipse">
              <a:avLst/>
            </a:pr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23" name="组合 22">
            <a:extLst>
              <a:ext uri="{FF2B5EF4-FFF2-40B4-BE49-F238E27FC236}">
                <a16:creationId xmlns:a16="http://schemas.microsoft.com/office/drawing/2014/main" id="{653BF5E1-1122-4FCF-8690-F68C397511DB}"/>
              </a:ext>
            </a:extLst>
          </p:cNvPr>
          <p:cNvGrpSpPr/>
          <p:nvPr/>
        </p:nvGrpSpPr>
        <p:grpSpPr>
          <a:xfrm flipV="1">
            <a:off x="9317176" y="2578100"/>
            <a:ext cx="217488" cy="1353716"/>
            <a:chOff x="297001" y="3703803"/>
            <a:chExt cx="217488" cy="1353716"/>
          </a:xfrm>
        </p:grpSpPr>
        <p:cxnSp>
          <p:nvCxnSpPr>
            <p:cNvPr id="24" name="直接连接符 23">
              <a:extLst>
                <a:ext uri="{FF2B5EF4-FFF2-40B4-BE49-F238E27FC236}">
                  <a16:creationId xmlns:a16="http://schemas.microsoft.com/office/drawing/2014/main" id="{256334CB-86B1-4C8C-909A-4511BAAF5A16}"/>
                </a:ext>
              </a:extLst>
            </p:cNvPr>
            <p:cNvCxnSpPr>
              <a:cxnSpLocks/>
            </p:cNvCxnSpPr>
            <p:nvPr/>
          </p:nvCxnSpPr>
          <p:spPr>
            <a:xfrm>
              <a:off x="405745" y="3822700"/>
              <a:ext cx="0" cy="1234819"/>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5" name="椭圆 24">
              <a:extLst>
                <a:ext uri="{FF2B5EF4-FFF2-40B4-BE49-F238E27FC236}">
                  <a16:creationId xmlns:a16="http://schemas.microsoft.com/office/drawing/2014/main" id="{58467C19-1C37-44FD-83FF-526F4688F9A3}"/>
                </a:ext>
              </a:extLst>
            </p:cNvPr>
            <p:cNvSpPr/>
            <p:nvPr/>
          </p:nvSpPr>
          <p:spPr>
            <a:xfrm>
              <a:off x="358495" y="4230238"/>
              <a:ext cx="94501" cy="94501"/>
            </a:xfrm>
            <a:prstGeom prst="ellipse">
              <a:avLst/>
            </a:pr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6" name="椭圆 25">
              <a:extLst>
                <a:ext uri="{FF2B5EF4-FFF2-40B4-BE49-F238E27FC236}">
                  <a16:creationId xmlns:a16="http://schemas.microsoft.com/office/drawing/2014/main" id="{6094C8DC-330F-4A3D-BFCE-D8B38F774620}"/>
                </a:ext>
              </a:extLst>
            </p:cNvPr>
            <p:cNvSpPr/>
            <p:nvPr/>
          </p:nvSpPr>
          <p:spPr>
            <a:xfrm>
              <a:off x="297001" y="3703803"/>
              <a:ext cx="217488" cy="217488"/>
            </a:xfrm>
            <a:prstGeom prst="ellipse">
              <a:avLst/>
            </a:pr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28" name="文本框 27">
            <a:extLst>
              <a:ext uri="{FF2B5EF4-FFF2-40B4-BE49-F238E27FC236}">
                <a16:creationId xmlns:a16="http://schemas.microsoft.com/office/drawing/2014/main" id="{399B8D53-CA31-46A6-9D01-C60A2E8252FE}"/>
              </a:ext>
            </a:extLst>
          </p:cNvPr>
          <p:cNvSpPr txBox="1"/>
          <p:nvPr/>
        </p:nvSpPr>
        <p:spPr>
          <a:xfrm>
            <a:off x="3217062" y="4092515"/>
            <a:ext cx="813044" cy="400110"/>
          </a:xfrm>
          <a:prstGeom prst="rect">
            <a:avLst/>
          </a:prstGeom>
          <a:noFill/>
        </p:spPr>
        <p:txBody>
          <a:bodyPr wrap="none" rtlCol="0">
            <a:spAutoFit/>
          </a:bodyPr>
          <a:lstStyle/>
          <a:p>
            <a:pPr algn="ctr"/>
            <a:r>
              <a:rPr lang="en-US" altLang="zh-CN" sz="2000" dirty="0">
                <a:solidFill>
                  <a:schemeClr val="accent1"/>
                </a:solidFill>
                <a:latin typeface="+mj-ea"/>
                <a:ea typeface="+mj-ea"/>
              </a:rPr>
              <a:t>2019</a:t>
            </a:r>
            <a:endParaRPr lang="zh-CN" altLang="en-US" sz="2000" dirty="0">
              <a:solidFill>
                <a:schemeClr val="accent1"/>
              </a:solidFill>
              <a:latin typeface="+mj-ea"/>
              <a:ea typeface="+mj-ea"/>
            </a:endParaRPr>
          </a:p>
        </p:txBody>
      </p:sp>
      <p:sp>
        <p:nvSpPr>
          <p:cNvPr id="29" name="文本框 28">
            <a:extLst>
              <a:ext uri="{FF2B5EF4-FFF2-40B4-BE49-F238E27FC236}">
                <a16:creationId xmlns:a16="http://schemas.microsoft.com/office/drawing/2014/main" id="{A0CE5E88-7875-43AD-A1E1-AF5E8499BF00}"/>
              </a:ext>
            </a:extLst>
          </p:cNvPr>
          <p:cNvSpPr txBox="1"/>
          <p:nvPr/>
        </p:nvSpPr>
        <p:spPr>
          <a:xfrm>
            <a:off x="6240277" y="3191528"/>
            <a:ext cx="857927" cy="400110"/>
          </a:xfrm>
          <a:prstGeom prst="rect">
            <a:avLst/>
          </a:prstGeom>
          <a:noFill/>
        </p:spPr>
        <p:txBody>
          <a:bodyPr wrap="none" rtlCol="0">
            <a:spAutoFit/>
          </a:bodyPr>
          <a:lstStyle/>
          <a:p>
            <a:pPr algn="ctr"/>
            <a:r>
              <a:rPr lang="en-US" altLang="zh-CN" sz="2000" dirty="0">
                <a:solidFill>
                  <a:schemeClr val="accent1"/>
                </a:solidFill>
                <a:latin typeface="+mj-ea"/>
                <a:ea typeface="+mj-ea"/>
              </a:rPr>
              <a:t>2020</a:t>
            </a:r>
            <a:endParaRPr lang="zh-CN" altLang="en-US" sz="2000" dirty="0">
              <a:solidFill>
                <a:schemeClr val="accent1"/>
              </a:solidFill>
              <a:latin typeface="+mj-ea"/>
              <a:ea typeface="+mj-ea"/>
            </a:endParaRPr>
          </a:p>
        </p:txBody>
      </p:sp>
      <p:sp>
        <p:nvSpPr>
          <p:cNvPr id="30" name="文本框 29">
            <a:extLst>
              <a:ext uri="{FF2B5EF4-FFF2-40B4-BE49-F238E27FC236}">
                <a16:creationId xmlns:a16="http://schemas.microsoft.com/office/drawing/2014/main" id="{1F792161-8202-4EAD-B28C-891B5B4EC4BF}"/>
              </a:ext>
            </a:extLst>
          </p:cNvPr>
          <p:cNvSpPr txBox="1"/>
          <p:nvPr/>
        </p:nvSpPr>
        <p:spPr>
          <a:xfrm>
            <a:off x="9244638" y="4092515"/>
            <a:ext cx="813043" cy="400110"/>
          </a:xfrm>
          <a:prstGeom prst="rect">
            <a:avLst/>
          </a:prstGeom>
          <a:noFill/>
        </p:spPr>
        <p:txBody>
          <a:bodyPr wrap="none" rtlCol="0">
            <a:spAutoFit/>
          </a:bodyPr>
          <a:lstStyle/>
          <a:p>
            <a:pPr algn="ctr"/>
            <a:r>
              <a:rPr lang="en-US" altLang="zh-CN" sz="2000" dirty="0">
                <a:solidFill>
                  <a:schemeClr val="accent1"/>
                </a:solidFill>
                <a:latin typeface="+mj-ea"/>
                <a:ea typeface="+mj-ea"/>
              </a:rPr>
              <a:t>2021</a:t>
            </a:r>
            <a:endParaRPr lang="zh-CN" altLang="en-US" sz="2000" dirty="0">
              <a:solidFill>
                <a:schemeClr val="accent1"/>
              </a:solidFill>
              <a:latin typeface="+mj-ea"/>
              <a:ea typeface="+mj-ea"/>
            </a:endParaRPr>
          </a:p>
        </p:txBody>
      </p:sp>
      <p:sp>
        <p:nvSpPr>
          <p:cNvPr id="33" name="文本框 32">
            <a:extLst>
              <a:ext uri="{FF2B5EF4-FFF2-40B4-BE49-F238E27FC236}">
                <a16:creationId xmlns:a16="http://schemas.microsoft.com/office/drawing/2014/main" id="{05F40ACC-9C31-46FB-B8D2-0AA936CFA09A}"/>
              </a:ext>
            </a:extLst>
          </p:cNvPr>
          <p:cNvSpPr txBox="1"/>
          <p:nvPr/>
        </p:nvSpPr>
        <p:spPr>
          <a:xfrm>
            <a:off x="6509521" y="4077434"/>
            <a:ext cx="2236510" cy="400110"/>
          </a:xfrm>
          <a:prstGeom prst="rect">
            <a:avLst/>
          </a:prstGeom>
          <a:noFill/>
        </p:spPr>
        <p:txBody>
          <a:bodyPr wrap="none" rtlCol="0">
            <a:spAutoFit/>
          </a:bodyPr>
          <a:lstStyle/>
          <a:p>
            <a:pPr algn="ctr"/>
            <a:r>
              <a:rPr lang="zh-CN" altLang="en-US" sz="2000" dirty="0">
                <a:solidFill>
                  <a:schemeClr val="accent1"/>
                </a:solidFill>
                <a:latin typeface="+mj-ea"/>
                <a:ea typeface="+mj-ea"/>
              </a:rPr>
              <a:t>请在此处输入标题</a:t>
            </a:r>
          </a:p>
        </p:txBody>
      </p:sp>
      <p:sp>
        <p:nvSpPr>
          <p:cNvPr id="34" name="文本框 33">
            <a:extLst>
              <a:ext uri="{FF2B5EF4-FFF2-40B4-BE49-F238E27FC236}">
                <a16:creationId xmlns:a16="http://schemas.microsoft.com/office/drawing/2014/main" id="{4F4BF325-3CF1-40A1-967D-F06274E025F8}"/>
              </a:ext>
            </a:extLst>
          </p:cNvPr>
          <p:cNvSpPr txBox="1"/>
          <p:nvPr/>
        </p:nvSpPr>
        <p:spPr>
          <a:xfrm>
            <a:off x="6509522" y="4454472"/>
            <a:ext cx="2236509" cy="646331"/>
          </a:xfrm>
          <a:prstGeom prst="rect">
            <a:avLst/>
          </a:prstGeom>
          <a:noFill/>
        </p:spPr>
        <p:txBody>
          <a:bodyPr wrap="square" rtlCol="0">
            <a:spAutoFit/>
          </a:bodyPr>
          <a:lstStyle/>
          <a:p>
            <a:pPr algn="just"/>
            <a:r>
              <a:rPr lang="en-US" altLang="zh-CN" sz="1200" dirty="0"/>
              <a:t>Lorem ipsum dolor sit amet, consectetur adipisicing elit, sed do eiusmod tempor</a:t>
            </a:r>
            <a:endParaRPr lang="zh-CN" altLang="en-US" sz="1200" dirty="0"/>
          </a:p>
        </p:txBody>
      </p:sp>
      <p:sp>
        <p:nvSpPr>
          <p:cNvPr id="36" name="文本框 35">
            <a:extLst>
              <a:ext uri="{FF2B5EF4-FFF2-40B4-BE49-F238E27FC236}">
                <a16:creationId xmlns:a16="http://schemas.microsoft.com/office/drawing/2014/main" id="{F7854322-25DC-401E-B892-2098EC2640B7}"/>
              </a:ext>
            </a:extLst>
          </p:cNvPr>
          <p:cNvSpPr txBox="1"/>
          <p:nvPr/>
        </p:nvSpPr>
        <p:spPr>
          <a:xfrm>
            <a:off x="3486404" y="3135043"/>
            <a:ext cx="2236510" cy="400110"/>
          </a:xfrm>
          <a:prstGeom prst="rect">
            <a:avLst/>
          </a:prstGeom>
          <a:noFill/>
        </p:spPr>
        <p:txBody>
          <a:bodyPr wrap="none" rtlCol="0">
            <a:spAutoFit/>
          </a:bodyPr>
          <a:lstStyle/>
          <a:p>
            <a:pPr algn="ctr"/>
            <a:r>
              <a:rPr lang="zh-CN" altLang="en-US" sz="2000" dirty="0">
                <a:solidFill>
                  <a:schemeClr val="accent1"/>
                </a:solidFill>
                <a:latin typeface="+mj-ea"/>
                <a:ea typeface="+mj-ea"/>
              </a:rPr>
              <a:t>请在此处输入标题</a:t>
            </a:r>
          </a:p>
        </p:txBody>
      </p:sp>
      <p:sp>
        <p:nvSpPr>
          <p:cNvPr id="37" name="文本框 36">
            <a:extLst>
              <a:ext uri="{FF2B5EF4-FFF2-40B4-BE49-F238E27FC236}">
                <a16:creationId xmlns:a16="http://schemas.microsoft.com/office/drawing/2014/main" id="{34011B9D-BCFA-4EF6-96F7-891820BFD4D8}"/>
              </a:ext>
            </a:extLst>
          </p:cNvPr>
          <p:cNvSpPr txBox="1"/>
          <p:nvPr/>
        </p:nvSpPr>
        <p:spPr>
          <a:xfrm>
            <a:off x="3486405" y="2508894"/>
            <a:ext cx="2236509" cy="646331"/>
          </a:xfrm>
          <a:prstGeom prst="rect">
            <a:avLst/>
          </a:prstGeom>
          <a:noFill/>
        </p:spPr>
        <p:txBody>
          <a:bodyPr wrap="square" rtlCol="0">
            <a:spAutoFit/>
          </a:bodyPr>
          <a:lstStyle/>
          <a:p>
            <a:pPr algn="just"/>
            <a:r>
              <a:rPr lang="en-US" altLang="zh-CN" sz="1200" dirty="0"/>
              <a:t>Lorem ipsum dolor sit amet, consectetur adipisicing elit, sed do eiusmod tempor</a:t>
            </a:r>
            <a:endParaRPr lang="zh-CN" altLang="en-US" sz="1200" dirty="0"/>
          </a:p>
        </p:txBody>
      </p:sp>
      <p:sp>
        <p:nvSpPr>
          <p:cNvPr id="39" name="文本框 38">
            <a:extLst>
              <a:ext uri="{FF2B5EF4-FFF2-40B4-BE49-F238E27FC236}">
                <a16:creationId xmlns:a16="http://schemas.microsoft.com/office/drawing/2014/main" id="{1AE0FB95-FB12-4A2F-BFD7-F7EF3DE812F9}"/>
              </a:ext>
            </a:extLst>
          </p:cNvPr>
          <p:cNvSpPr txBox="1"/>
          <p:nvPr/>
        </p:nvSpPr>
        <p:spPr>
          <a:xfrm>
            <a:off x="9513979" y="3135043"/>
            <a:ext cx="2236510" cy="400110"/>
          </a:xfrm>
          <a:prstGeom prst="rect">
            <a:avLst/>
          </a:prstGeom>
          <a:noFill/>
        </p:spPr>
        <p:txBody>
          <a:bodyPr wrap="none" rtlCol="0">
            <a:spAutoFit/>
          </a:bodyPr>
          <a:lstStyle/>
          <a:p>
            <a:pPr algn="ctr"/>
            <a:r>
              <a:rPr lang="zh-CN" altLang="en-US" sz="2000" dirty="0">
                <a:solidFill>
                  <a:schemeClr val="accent1"/>
                </a:solidFill>
                <a:latin typeface="+mj-ea"/>
                <a:ea typeface="+mj-ea"/>
              </a:rPr>
              <a:t>请在此处输入标题</a:t>
            </a:r>
          </a:p>
        </p:txBody>
      </p:sp>
      <p:sp>
        <p:nvSpPr>
          <p:cNvPr id="40" name="文本框 39">
            <a:extLst>
              <a:ext uri="{FF2B5EF4-FFF2-40B4-BE49-F238E27FC236}">
                <a16:creationId xmlns:a16="http://schemas.microsoft.com/office/drawing/2014/main" id="{BD327828-C35B-4822-9B4D-25653EDF8206}"/>
              </a:ext>
            </a:extLst>
          </p:cNvPr>
          <p:cNvSpPr txBox="1"/>
          <p:nvPr/>
        </p:nvSpPr>
        <p:spPr>
          <a:xfrm>
            <a:off x="9513980" y="2508894"/>
            <a:ext cx="2236509" cy="646331"/>
          </a:xfrm>
          <a:prstGeom prst="rect">
            <a:avLst/>
          </a:prstGeom>
          <a:noFill/>
        </p:spPr>
        <p:txBody>
          <a:bodyPr wrap="square" rtlCol="0">
            <a:spAutoFit/>
          </a:bodyPr>
          <a:lstStyle/>
          <a:p>
            <a:pPr algn="just"/>
            <a:r>
              <a:rPr lang="en-US" altLang="zh-CN" sz="1200" dirty="0"/>
              <a:t>Lorem ipsum dolor sit amet, consectetur adipisicing elit, sed do eiusmod tempor</a:t>
            </a:r>
            <a:endParaRPr lang="zh-CN" altLang="en-US" sz="1200" dirty="0"/>
          </a:p>
        </p:txBody>
      </p:sp>
    </p:spTree>
    <p:extLst>
      <p:ext uri="{BB962C8B-B14F-4D97-AF65-F5344CB8AC3E}">
        <p14:creationId xmlns:p14="http://schemas.microsoft.com/office/powerpoint/2010/main" val="3793011883"/>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3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 name="直接连接符 4">
            <a:extLst>
              <a:ext uri="{FF2B5EF4-FFF2-40B4-BE49-F238E27FC236}">
                <a16:creationId xmlns:a16="http://schemas.microsoft.com/office/drawing/2014/main" id="{220BF8F6-005A-4318-828D-71B03455D591}"/>
              </a:ext>
            </a:extLst>
          </p:cNvPr>
          <p:cNvCxnSpPr>
            <a:cxnSpLocks/>
          </p:cNvCxnSpPr>
          <p:nvPr/>
        </p:nvCxnSpPr>
        <p:spPr>
          <a:xfrm>
            <a:off x="4946650" y="1243058"/>
            <a:ext cx="0" cy="4749800"/>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6" name="直接连接符 5">
            <a:extLst>
              <a:ext uri="{FF2B5EF4-FFF2-40B4-BE49-F238E27FC236}">
                <a16:creationId xmlns:a16="http://schemas.microsoft.com/office/drawing/2014/main" id="{0DD919D9-6A26-4046-85F0-8FF3585F0552}"/>
              </a:ext>
            </a:extLst>
          </p:cNvPr>
          <p:cNvCxnSpPr>
            <a:cxnSpLocks/>
          </p:cNvCxnSpPr>
          <p:nvPr/>
        </p:nvCxnSpPr>
        <p:spPr>
          <a:xfrm>
            <a:off x="7245350" y="1243058"/>
            <a:ext cx="0" cy="474980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7" name="矩形: 对角圆角 6">
            <a:extLst>
              <a:ext uri="{FF2B5EF4-FFF2-40B4-BE49-F238E27FC236}">
                <a16:creationId xmlns:a16="http://schemas.microsoft.com/office/drawing/2014/main" id="{66DD4F57-2C36-4917-B6FD-F0DF5BF094D8}"/>
              </a:ext>
            </a:extLst>
          </p:cNvPr>
          <p:cNvSpPr/>
          <p:nvPr/>
        </p:nvSpPr>
        <p:spPr>
          <a:xfrm>
            <a:off x="2163021" y="1408158"/>
            <a:ext cx="2493858" cy="419100"/>
          </a:xfrm>
          <a:prstGeom prst="round2DiagRect">
            <a:avLst>
              <a:gd name="adj1" fmla="val 50000"/>
              <a:gd name="adj2" fmla="val 0"/>
            </a:avLst>
          </a:pr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 name="椭圆 10">
            <a:extLst>
              <a:ext uri="{FF2B5EF4-FFF2-40B4-BE49-F238E27FC236}">
                <a16:creationId xmlns:a16="http://schemas.microsoft.com/office/drawing/2014/main" id="{D75CEC61-B845-4E86-B7F6-5707F655EE8F}"/>
              </a:ext>
            </a:extLst>
          </p:cNvPr>
          <p:cNvSpPr/>
          <p:nvPr/>
        </p:nvSpPr>
        <p:spPr>
          <a:xfrm flipV="1">
            <a:off x="4868908" y="1539966"/>
            <a:ext cx="155484" cy="155484"/>
          </a:xfrm>
          <a:prstGeom prst="ellipse">
            <a:avLst/>
          </a:pr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 name="矩形: 对角圆角 7">
            <a:extLst>
              <a:ext uri="{FF2B5EF4-FFF2-40B4-BE49-F238E27FC236}">
                <a16:creationId xmlns:a16="http://schemas.microsoft.com/office/drawing/2014/main" id="{4DCA8C2B-B6B3-4149-B457-07F55E5A4B94}"/>
              </a:ext>
            </a:extLst>
          </p:cNvPr>
          <p:cNvSpPr/>
          <p:nvPr/>
        </p:nvSpPr>
        <p:spPr>
          <a:xfrm>
            <a:off x="2163021" y="3490958"/>
            <a:ext cx="2493858" cy="419100"/>
          </a:xfrm>
          <a:prstGeom prst="round2DiagRect">
            <a:avLst>
              <a:gd name="adj1" fmla="val 50000"/>
              <a:gd name="adj2" fmla="val 0"/>
            </a:avLst>
          </a:pr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 name="椭圆 11">
            <a:extLst>
              <a:ext uri="{FF2B5EF4-FFF2-40B4-BE49-F238E27FC236}">
                <a16:creationId xmlns:a16="http://schemas.microsoft.com/office/drawing/2014/main" id="{8ECE647C-36B0-4366-A4F2-E23EC124C875}"/>
              </a:ext>
            </a:extLst>
          </p:cNvPr>
          <p:cNvSpPr/>
          <p:nvPr/>
        </p:nvSpPr>
        <p:spPr>
          <a:xfrm flipV="1">
            <a:off x="4868908" y="3635466"/>
            <a:ext cx="155484" cy="155484"/>
          </a:xfrm>
          <a:prstGeom prst="ellipse">
            <a:avLst/>
          </a:pr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 name="矩形: 对角圆角 8">
            <a:extLst>
              <a:ext uri="{FF2B5EF4-FFF2-40B4-BE49-F238E27FC236}">
                <a16:creationId xmlns:a16="http://schemas.microsoft.com/office/drawing/2014/main" id="{A5B2DF79-8179-4852-8C70-BDFA8EB31539}"/>
              </a:ext>
            </a:extLst>
          </p:cNvPr>
          <p:cNvSpPr/>
          <p:nvPr/>
        </p:nvSpPr>
        <p:spPr>
          <a:xfrm>
            <a:off x="7535121" y="2449558"/>
            <a:ext cx="2493858" cy="419100"/>
          </a:xfrm>
          <a:prstGeom prst="round2DiagRect">
            <a:avLst>
              <a:gd name="adj1" fmla="val 50000"/>
              <a:gd name="adj2" fmla="val 0"/>
            </a:avLst>
          </a:pr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3" name="椭圆 12">
            <a:extLst>
              <a:ext uri="{FF2B5EF4-FFF2-40B4-BE49-F238E27FC236}">
                <a16:creationId xmlns:a16="http://schemas.microsoft.com/office/drawing/2014/main" id="{6DB449F5-E408-4A87-93C8-1A8F3A4D1AA0}"/>
              </a:ext>
            </a:extLst>
          </p:cNvPr>
          <p:cNvSpPr/>
          <p:nvPr/>
        </p:nvSpPr>
        <p:spPr>
          <a:xfrm flipV="1">
            <a:off x="7167608" y="2619466"/>
            <a:ext cx="155484" cy="155484"/>
          </a:xfrm>
          <a:prstGeom prst="ellipse">
            <a:avLst/>
          </a:pr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矩形: 对角圆角 9">
            <a:extLst>
              <a:ext uri="{FF2B5EF4-FFF2-40B4-BE49-F238E27FC236}">
                <a16:creationId xmlns:a16="http://schemas.microsoft.com/office/drawing/2014/main" id="{C8E34E8E-FECF-4A0F-AE14-C76CDD68AB74}"/>
              </a:ext>
            </a:extLst>
          </p:cNvPr>
          <p:cNvSpPr/>
          <p:nvPr/>
        </p:nvSpPr>
        <p:spPr>
          <a:xfrm>
            <a:off x="7535121" y="4532358"/>
            <a:ext cx="2493858" cy="419100"/>
          </a:xfrm>
          <a:prstGeom prst="round2DiagRect">
            <a:avLst>
              <a:gd name="adj1" fmla="val 50000"/>
              <a:gd name="adj2" fmla="val 0"/>
            </a:avLst>
          </a:pr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4" name="椭圆 13">
            <a:extLst>
              <a:ext uri="{FF2B5EF4-FFF2-40B4-BE49-F238E27FC236}">
                <a16:creationId xmlns:a16="http://schemas.microsoft.com/office/drawing/2014/main" id="{4A5C8B23-C82E-4837-8E2F-E30404F39CC1}"/>
              </a:ext>
            </a:extLst>
          </p:cNvPr>
          <p:cNvSpPr/>
          <p:nvPr/>
        </p:nvSpPr>
        <p:spPr>
          <a:xfrm flipV="1">
            <a:off x="7167608" y="4714966"/>
            <a:ext cx="155484" cy="155484"/>
          </a:xfrm>
          <a:prstGeom prst="ellipse">
            <a:avLst/>
          </a:pr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9" name="文本框 18">
            <a:extLst>
              <a:ext uri="{FF2B5EF4-FFF2-40B4-BE49-F238E27FC236}">
                <a16:creationId xmlns:a16="http://schemas.microsoft.com/office/drawing/2014/main" id="{A5A0919D-BA76-4F2F-9373-5E93B6565FB9}"/>
              </a:ext>
            </a:extLst>
          </p:cNvPr>
          <p:cNvSpPr txBox="1"/>
          <p:nvPr/>
        </p:nvSpPr>
        <p:spPr>
          <a:xfrm>
            <a:off x="2291695" y="1919243"/>
            <a:ext cx="2236509" cy="646331"/>
          </a:xfrm>
          <a:prstGeom prst="rect">
            <a:avLst/>
          </a:prstGeom>
          <a:noFill/>
        </p:spPr>
        <p:txBody>
          <a:bodyPr wrap="square" rtlCol="0">
            <a:spAutoFit/>
          </a:bodyPr>
          <a:lstStyle/>
          <a:p>
            <a:pPr algn="just"/>
            <a:r>
              <a:rPr lang="en-US" altLang="zh-CN" sz="1200" dirty="0"/>
              <a:t>Lorem ipsum dolor sit amet, consectetur adipisicing elit, sed do eiusmod tempor</a:t>
            </a:r>
            <a:endParaRPr lang="zh-CN" altLang="en-US" sz="1200" dirty="0"/>
          </a:p>
        </p:txBody>
      </p:sp>
      <p:sp>
        <p:nvSpPr>
          <p:cNvPr id="20" name="文本框 19">
            <a:extLst>
              <a:ext uri="{FF2B5EF4-FFF2-40B4-BE49-F238E27FC236}">
                <a16:creationId xmlns:a16="http://schemas.microsoft.com/office/drawing/2014/main" id="{1116E63D-0A05-4404-B06C-859BA3ABE260}"/>
              </a:ext>
            </a:extLst>
          </p:cNvPr>
          <p:cNvSpPr txBox="1"/>
          <p:nvPr/>
        </p:nvSpPr>
        <p:spPr>
          <a:xfrm>
            <a:off x="2291695" y="4002044"/>
            <a:ext cx="2236509" cy="646331"/>
          </a:xfrm>
          <a:prstGeom prst="rect">
            <a:avLst/>
          </a:prstGeom>
          <a:noFill/>
        </p:spPr>
        <p:txBody>
          <a:bodyPr wrap="square" rtlCol="0">
            <a:spAutoFit/>
          </a:bodyPr>
          <a:lstStyle/>
          <a:p>
            <a:pPr algn="just"/>
            <a:r>
              <a:rPr lang="en-US" altLang="zh-CN" sz="1200" dirty="0"/>
              <a:t>Lorem ipsum dolor sit amet, consectetur adipisicing elit, sed do eiusmod tempor</a:t>
            </a:r>
            <a:endParaRPr lang="zh-CN" altLang="en-US" sz="1200" dirty="0"/>
          </a:p>
        </p:txBody>
      </p:sp>
      <p:sp>
        <p:nvSpPr>
          <p:cNvPr id="21" name="文本框 20">
            <a:extLst>
              <a:ext uri="{FF2B5EF4-FFF2-40B4-BE49-F238E27FC236}">
                <a16:creationId xmlns:a16="http://schemas.microsoft.com/office/drawing/2014/main" id="{E51256D5-1744-428A-8A92-D68B079B0D63}"/>
              </a:ext>
            </a:extLst>
          </p:cNvPr>
          <p:cNvSpPr txBox="1"/>
          <p:nvPr/>
        </p:nvSpPr>
        <p:spPr>
          <a:xfrm>
            <a:off x="7701895" y="2896088"/>
            <a:ext cx="2236509" cy="646331"/>
          </a:xfrm>
          <a:prstGeom prst="rect">
            <a:avLst/>
          </a:prstGeom>
          <a:noFill/>
        </p:spPr>
        <p:txBody>
          <a:bodyPr wrap="square" rtlCol="0">
            <a:spAutoFit/>
          </a:bodyPr>
          <a:lstStyle/>
          <a:p>
            <a:pPr algn="just"/>
            <a:r>
              <a:rPr lang="en-US" altLang="zh-CN" sz="1200" dirty="0"/>
              <a:t>Lorem ipsum dolor sit amet, consectetur adipisicing elit, sed do eiusmod tempor</a:t>
            </a:r>
            <a:endParaRPr lang="zh-CN" altLang="en-US" sz="1200" dirty="0"/>
          </a:p>
        </p:txBody>
      </p:sp>
      <p:sp>
        <p:nvSpPr>
          <p:cNvPr id="22" name="文本框 21">
            <a:extLst>
              <a:ext uri="{FF2B5EF4-FFF2-40B4-BE49-F238E27FC236}">
                <a16:creationId xmlns:a16="http://schemas.microsoft.com/office/drawing/2014/main" id="{FF52DE70-B2C0-4060-958D-CFC6F3025D10}"/>
              </a:ext>
            </a:extLst>
          </p:cNvPr>
          <p:cNvSpPr txBox="1"/>
          <p:nvPr/>
        </p:nvSpPr>
        <p:spPr>
          <a:xfrm>
            <a:off x="7701895" y="5002258"/>
            <a:ext cx="2236509" cy="646331"/>
          </a:xfrm>
          <a:prstGeom prst="rect">
            <a:avLst/>
          </a:prstGeom>
          <a:noFill/>
        </p:spPr>
        <p:txBody>
          <a:bodyPr wrap="square" rtlCol="0">
            <a:spAutoFit/>
          </a:bodyPr>
          <a:lstStyle/>
          <a:p>
            <a:pPr algn="just"/>
            <a:r>
              <a:rPr lang="en-US" altLang="zh-CN" sz="1200" dirty="0"/>
              <a:t>Lorem ipsum dolor sit amet, consectetur adipisicing elit, sed do eiusmod tempor</a:t>
            </a:r>
            <a:endParaRPr lang="zh-CN" altLang="en-US" sz="1200" dirty="0"/>
          </a:p>
        </p:txBody>
      </p:sp>
      <p:sp>
        <p:nvSpPr>
          <p:cNvPr id="23" name="文本框 22">
            <a:extLst>
              <a:ext uri="{FF2B5EF4-FFF2-40B4-BE49-F238E27FC236}">
                <a16:creationId xmlns:a16="http://schemas.microsoft.com/office/drawing/2014/main" id="{659A1787-C66C-4C18-BFBD-B27737DE52A8}"/>
              </a:ext>
            </a:extLst>
          </p:cNvPr>
          <p:cNvSpPr txBox="1"/>
          <p:nvPr/>
        </p:nvSpPr>
        <p:spPr>
          <a:xfrm>
            <a:off x="5055394" y="1427148"/>
            <a:ext cx="813044" cy="400110"/>
          </a:xfrm>
          <a:prstGeom prst="rect">
            <a:avLst/>
          </a:prstGeom>
          <a:noFill/>
        </p:spPr>
        <p:txBody>
          <a:bodyPr wrap="none" rtlCol="0">
            <a:spAutoFit/>
          </a:bodyPr>
          <a:lstStyle/>
          <a:p>
            <a:pPr algn="ctr"/>
            <a:r>
              <a:rPr lang="en-US" altLang="zh-CN" sz="2000" dirty="0">
                <a:solidFill>
                  <a:schemeClr val="accent1"/>
                </a:solidFill>
                <a:latin typeface="+mj-ea"/>
                <a:ea typeface="+mj-ea"/>
              </a:rPr>
              <a:t>2018</a:t>
            </a:r>
            <a:endParaRPr lang="zh-CN" altLang="en-US" sz="2000" dirty="0">
              <a:solidFill>
                <a:schemeClr val="accent1"/>
              </a:solidFill>
              <a:latin typeface="+mj-ea"/>
              <a:ea typeface="+mj-ea"/>
            </a:endParaRPr>
          </a:p>
        </p:txBody>
      </p:sp>
      <p:sp>
        <p:nvSpPr>
          <p:cNvPr id="24" name="文本框 23">
            <a:extLst>
              <a:ext uri="{FF2B5EF4-FFF2-40B4-BE49-F238E27FC236}">
                <a16:creationId xmlns:a16="http://schemas.microsoft.com/office/drawing/2014/main" id="{F58AEE9A-9B58-4623-9DB9-31678ED203A0}"/>
              </a:ext>
            </a:extLst>
          </p:cNvPr>
          <p:cNvSpPr txBox="1"/>
          <p:nvPr/>
        </p:nvSpPr>
        <p:spPr>
          <a:xfrm>
            <a:off x="5032953" y="3497248"/>
            <a:ext cx="857927" cy="400110"/>
          </a:xfrm>
          <a:prstGeom prst="rect">
            <a:avLst/>
          </a:prstGeom>
          <a:noFill/>
        </p:spPr>
        <p:txBody>
          <a:bodyPr wrap="none" rtlCol="0">
            <a:spAutoFit/>
          </a:bodyPr>
          <a:lstStyle/>
          <a:p>
            <a:pPr algn="ctr"/>
            <a:r>
              <a:rPr lang="en-US" altLang="zh-CN" sz="2000" dirty="0">
                <a:solidFill>
                  <a:schemeClr val="accent1"/>
                </a:solidFill>
                <a:latin typeface="+mj-ea"/>
                <a:ea typeface="+mj-ea"/>
              </a:rPr>
              <a:t>2020</a:t>
            </a:r>
            <a:endParaRPr lang="zh-CN" altLang="en-US" sz="2000" dirty="0">
              <a:solidFill>
                <a:schemeClr val="accent1"/>
              </a:solidFill>
              <a:latin typeface="+mj-ea"/>
              <a:ea typeface="+mj-ea"/>
            </a:endParaRPr>
          </a:p>
        </p:txBody>
      </p:sp>
      <p:sp>
        <p:nvSpPr>
          <p:cNvPr id="25" name="文本框 24">
            <a:extLst>
              <a:ext uri="{FF2B5EF4-FFF2-40B4-BE49-F238E27FC236}">
                <a16:creationId xmlns:a16="http://schemas.microsoft.com/office/drawing/2014/main" id="{1E71290C-67F6-41EA-ACA1-35EC569DC51C}"/>
              </a:ext>
            </a:extLst>
          </p:cNvPr>
          <p:cNvSpPr txBox="1"/>
          <p:nvPr/>
        </p:nvSpPr>
        <p:spPr>
          <a:xfrm>
            <a:off x="6287294" y="2532048"/>
            <a:ext cx="813044" cy="400110"/>
          </a:xfrm>
          <a:prstGeom prst="rect">
            <a:avLst/>
          </a:prstGeom>
          <a:noFill/>
        </p:spPr>
        <p:txBody>
          <a:bodyPr wrap="none" rtlCol="0">
            <a:spAutoFit/>
          </a:bodyPr>
          <a:lstStyle/>
          <a:p>
            <a:pPr algn="ctr"/>
            <a:r>
              <a:rPr lang="en-US" altLang="zh-CN" sz="2000" dirty="0">
                <a:solidFill>
                  <a:schemeClr val="accent1"/>
                </a:solidFill>
                <a:latin typeface="+mj-ea"/>
                <a:ea typeface="+mj-ea"/>
              </a:rPr>
              <a:t>2019</a:t>
            </a:r>
            <a:endParaRPr lang="zh-CN" altLang="en-US" sz="2000" dirty="0">
              <a:solidFill>
                <a:schemeClr val="accent1"/>
              </a:solidFill>
              <a:latin typeface="+mj-ea"/>
              <a:ea typeface="+mj-ea"/>
            </a:endParaRPr>
          </a:p>
        </p:txBody>
      </p:sp>
      <p:sp>
        <p:nvSpPr>
          <p:cNvPr id="26" name="文本框 25">
            <a:extLst>
              <a:ext uri="{FF2B5EF4-FFF2-40B4-BE49-F238E27FC236}">
                <a16:creationId xmlns:a16="http://schemas.microsoft.com/office/drawing/2014/main" id="{151A703C-A68D-4F6D-B2E3-C55D87765DC2}"/>
              </a:ext>
            </a:extLst>
          </p:cNvPr>
          <p:cNvSpPr txBox="1"/>
          <p:nvPr/>
        </p:nvSpPr>
        <p:spPr>
          <a:xfrm>
            <a:off x="6287295" y="4602148"/>
            <a:ext cx="813043" cy="400110"/>
          </a:xfrm>
          <a:prstGeom prst="rect">
            <a:avLst/>
          </a:prstGeom>
          <a:noFill/>
        </p:spPr>
        <p:txBody>
          <a:bodyPr wrap="none" rtlCol="0">
            <a:spAutoFit/>
          </a:bodyPr>
          <a:lstStyle/>
          <a:p>
            <a:pPr algn="ctr"/>
            <a:r>
              <a:rPr lang="en-US" altLang="zh-CN" sz="2000" dirty="0">
                <a:solidFill>
                  <a:schemeClr val="accent1"/>
                </a:solidFill>
                <a:latin typeface="+mj-ea"/>
                <a:ea typeface="+mj-ea"/>
              </a:rPr>
              <a:t>2021</a:t>
            </a:r>
            <a:endParaRPr lang="zh-CN" altLang="en-US" sz="2000" dirty="0">
              <a:solidFill>
                <a:schemeClr val="accent1"/>
              </a:solidFill>
              <a:latin typeface="+mj-ea"/>
              <a:ea typeface="+mj-ea"/>
            </a:endParaRPr>
          </a:p>
        </p:txBody>
      </p:sp>
      <p:sp>
        <p:nvSpPr>
          <p:cNvPr id="27" name="文本框 26">
            <a:extLst>
              <a:ext uri="{FF2B5EF4-FFF2-40B4-BE49-F238E27FC236}">
                <a16:creationId xmlns:a16="http://schemas.microsoft.com/office/drawing/2014/main" id="{046623FE-EC12-4E2E-AD75-2B79E2F3716A}"/>
              </a:ext>
            </a:extLst>
          </p:cNvPr>
          <p:cNvSpPr txBox="1"/>
          <p:nvPr/>
        </p:nvSpPr>
        <p:spPr>
          <a:xfrm>
            <a:off x="2262208" y="1430353"/>
            <a:ext cx="2236510" cy="400110"/>
          </a:xfrm>
          <a:prstGeom prst="rect">
            <a:avLst/>
          </a:prstGeom>
          <a:noFill/>
        </p:spPr>
        <p:txBody>
          <a:bodyPr wrap="none" rtlCol="0">
            <a:spAutoFit/>
          </a:bodyPr>
          <a:lstStyle/>
          <a:p>
            <a:pPr algn="ctr"/>
            <a:r>
              <a:rPr lang="zh-CN" altLang="en-US" sz="2000" dirty="0">
                <a:solidFill>
                  <a:schemeClr val="bg1"/>
                </a:solidFill>
                <a:latin typeface="+mj-ea"/>
                <a:ea typeface="+mj-ea"/>
              </a:rPr>
              <a:t>请在此处输入标题</a:t>
            </a:r>
          </a:p>
        </p:txBody>
      </p:sp>
      <p:sp>
        <p:nvSpPr>
          <p:cNvPr id="28" name="文本框 27">
            <a:extLst>
              <a:ext uri="{FF2B5EF4-FFF2-40B4-BE49-F238E27FC236}">
                <a16:creationId xmlns:a16="http://schemas.microsoft.com/office/drawing/2014/main" id="{91E3B0AC-1543-463F-B809-18B52925572B}"/>
              </a:ext>
            </a:extLst>
          </p:cNvPr>
          <p:cNvSpPr txBox="1"/>
          <p:nvPr/>
        </p:nvSpPr>
        <p:spPr>
          <a:xfrm>
            <a:off x="2262208" y="3525853"/>
            <a:ext cx="2236510" cy="400110"/>
          </a:xfrm>
          <a:prstGeom prst="rect">
            <a:avLst/>
          </a:prstGeom>
          <a:noFill/>
        </p:spPr>
        <p:txBody>
          <a:bodyPr wrap="none" rtlCol="0">
            <a:spAutoFit/>
          </a:bodyPr>
          <a:lstStyle/>
          <a:p>
            <a:pPr algn="ctr"/>
            <a:r>
              <a:rPr lang="zh-CN" altLang="en-US" sz="2000" dirty="0">
                <a:solidFill>
                  <a:schemeClr val="bg1"/>
                </a:solidFill>
                <a:latin typeface="+mj-ea"/>
                <a:ea typeface="+mj-ea"/>
              </a:rPr>
              <a:t>请在此处输入标题</a:t>
            </a:r>
          </a:p>
        </p:txBody>
      </p:sp>
      <p:sp>
        <p:nvSpPr>
          <p:cNvPr id="29" name="文本框 28">
            <a:extLst>
              <a:ext uri="{FF2B5EF4-FFF2-40B4-BE49-F238E27FC236}">
                <a16:creationId xmlns:a16="http://schemas.microsoft.com/office/drawing/2014/main" id="{4904073F-4647-4898-95A1-4292E23D4C58}"/>
              </a:ext>
            </a:extLst>
          </p:cNvPr>
          <p:cNvSpPr txBox="1"/>
          <p:nvPr/>
        </p:nvSpPr>
        <p:spPr>
          <a:xfrm>
            <a:off x="7647008" y="2471753"/>
            <a:ext cx="2236510" cy="400110"/>
          </a:xfrm>
          <a:prstGeom prst="rect">
            <a:avLst/>
          </a:prstGeom>
          <a:noFill/>
        </p:spPr>
        <p:txBody>
          <a:bodyPr wrap="none" rtlCol="0">
            <a:spAutoFit/>
          </a:bodyPr>
          <a:lstStyle/>
          <a:p>
            <a:pPr algn="ctr"/>
            <a:r>
              <a:rPr lang="zh-CN" altLang="en-US" sz="2000" dirty="0">
                <a:solidFill>
                  <a:schemeClr val="bg1"/>
                </a:solidFill>
                <a:latin typeface="+mj-ea"/>
                <a:ea typeface="+mj-ea"/>
              </a:rPr>
              <a:t>请在此处输入标题</a:t>
            </a:r>
          </a:p>
        </p:txBody>
      </p:sp>
      <p:sp>
        <p:nvSpPr>
          <p:cNvPr id="30" name="文本框 29">
            <a:extLst>
              <a:ext uri="{FF2B5EF4-FFF2-40B4-BE49-F238E27FC236}">
                <a16:creationId xmlns:a16="http://schemas.microsoft.com/office/drawing/2014/main" id="{E9BA643C-13FD-452C-9DEA-941C3D6D4AAC}"/>
              </a:ext>
            </a:extLst>
          </p:cNvPr>
          <p:cNvSpPr txBox="1"/>
          <p:nvPr/>
        </p:nvSpPr>
        <p:spPr>
          <a:xfrm>
            <a:off x="7647008" y="4567253"/>
            <a:ext cx="2236510" cy="400110"/>
          </a:xfrm>
          <a:prstGeom prst="rect">
            <a:avLst/>
          </a:prstGeom>
          <a:noFill/>
        </p:spPr>
        <p:txBody>
          <a:bodyPr wrap="none" rtlCol="0">
            <a:spAutoFit/>
          </a:bodyPr>
          <a:lstStyle/>
          <a:p>
            <a:pPr algn="ctr"/>
            <a:r>
              <a:rPr lang="zh-CN" altLang="en-US" sz="2000" dirty="0">
                <a:solidFill>
                  <a:schemeClr val="bg1"/>
                </a:solidFill>
                <a:latin typeface="+mj-ea"/>
                <a:ea typeface="+mj-ea"/>
              </a:rPr>
              <a:t>请在此处输入标题</a:t>
            </a:r>
          </a:p>
        </p:txBody>
      </p:sp>
    </p:spTree>
    <p:extLst>
      <p:ext uri="{BB962C8B-B14F-4D97-AF65-F5344CB8AC3E}">
        <p14:creationId xmlns:p14="http://schemas.microsoft.com/office/powerpoint/2010/main" val="875802878"/>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3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5" name="组合 24">
            <a:extLst>
              <a:ext uri="{FF2B5EF4-FFF2-40B4-BE49-F238E27FC236}">
                <a16:creationId xmlns:a16="http://schemas.microsoft.com/office/drawing/2014/main" id="{F7DA7B55-257A-4DB9-B41A-A82C00E450F4}"/>
              </a:ext>
            </a:extLst>
          </p:cNvPr>
          <p:cNvGrpSpPr/>
          <p:nvPr/>
        </p:nvGrpSpPr>
        <p:grpSpPr>
          <a:xfrm>
            <a:off x="1808721" y="3106069"/>
            <a:ext cx="8560047" cy="1333500"/>
            <a:chOff x="1808720" y="2762250"/>
            <a:chExt cx="8560047" cy="1333500"/>
          </a:xfrm>
        </p:grpSpPr>
        <p:grpSp>
          <p:nvGrpSpPr>
            <p:cNvPr id="20" name="组合 19">
              <a:extLst>
                <a:ext uri="{FF2B5EF4-FFF2-40B4-BE49-F238E27FC236}">
                  <a16:creationId xmlns:a16="http://schemas.microsoft.com/office/drawing/2014/main" id="{EB3122D0-9D70-4F08-9006-0100A0423329}"/>
                </a:ext>
              </a:extLst>
            </p:cNvPr>
            <p:cNvGrpSpPr/>
            <p:nvPr/>
          </p:nvGrpSpPr>
          <p:grpSpPr>
            <a:xfrm>
              <a:off x="1808720" y="2762250"/>
              <a:ext cx="8560047" cy="1333500"/>
              <a:chOff x="-2990850" y="-438150"/>
              <a:chExt cx="8560047" cy="1333500"/>
            </a:xfrm>
          </p:grpSpPr>
          <p:sp>
            <p:nvSpPr>
              <p:cNvPr id="2" name="椭圆 1">
                <a:extLst>
                  <a:ext uri="{FF2B5EF4-FFF2-40B4-BE49-F238E27FC236}">
                    <a16:creationId xmlns:a16="http://schemas.microsoft.com/office/drawing/2014/main" id="{1A6F7C42-A665-4A10-9768-B2C5FE3126AB}"/>
                  </a:ext>
                </a:extLst>
              </p:cNvPr>
              <p:cNvSpPr/>
              <p:nvPr/>
            </p:nvSpPr>
            <p:spPr>
              <a:xfrm>
                <a:off x="-2990850" y="-438150"/>
                <a:ext cx="1333500" cy="1333500"/>
              </a:xfrm>
              <a:prstGeom prst="ellipse">
                <a:avLst/>
              </a:pr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4" name="任意多边形: 形状 13">
                <a:extLst>
                  <a:ext uri="{FF2B5EF4-FFF2-40B4-BE49-F238E27FC236}">
                    <a16:creationId xmlns:a16="http://schemas.microsoft.com/office/drawing/2014/main" id="{3059DADC-F42C-4235-8B43-A6E4F68DD4A3}"/>
                  </a:ext>
                </a:extLst>
              </p:cNvPr>
              <p:cNvSpPr/>
              <p:nvPr/>
            </p:nvSpPr>
            <p:spPr>
              <a:xfrm>
                <a:off x="-1765766" y="-63946"/>
                <a:ext cx="1252582" cy="573904"/>
              </a:xfrm>
              <a:custGeom>
                <a:avLst/>
                <a:gdLst>
                  <a:gd name="connsiteX0" fmla="*/ 0 w 1252582"/>
                  <a:gd name="connsiteY0" fmla="*/ 0 h 573904"/>
                  <a:gd name="connsiteX1" fmla="*/ 49804 w 1252582"/>
                  <a:gd name="connsiteY1" fmla="*/ 12158 h 573904"/>
                  <a:gd name="connsiteX2" fmla="*/ 679917 w 1252582"/>
                  <a:gd name="connsiteY2" fmla="*/ 68709 h 573904"/>
                  <a:gd name="connsiteX3" fmla="*/ 1172995 w 1252582"/>
                  <a:gd name="connsiteY3" fmla="*/ 35898 h 573904"/>
                  <a:gd name="connsiteX4" fmla="*/ 1252582 w 1252582"/>
                  <a:gd name="connsiteY4" fmla="*/ 22110 h 573904"/>
                  <a:gd name="connsiteX5" fmla="*/ 1246663 w 1252582"/>
                  <a:gd name="connsiteY5" fmla="*/ 33017 h 573904"/>
                  <a:gd name="connsiteX6" fmla="*/ 1194266 w 1252582"/>
                  <a:gd name="connsiteY6" fmla="*/ 292546 h 573904"/>
                  <a:gd name="connsiteX7" fmla="*/ 1207812 w 1252582"/>
                  <a:gd name="connsiteY7" fmla="*/ 426919 h 573904"/>
                  <a:gd name="connsiteX8" fmla="*/ 1246576 w 1252582"/>
                  <a:gd name="connsiteY8" fmla="*/ 551795 h 573904"/>
                  <a:gd name="connsiteX9" fmla="*/ 1233771 w 1252582"/>
                  <a:gd name="connsiteY9" fmla="*/ 549154 h 573904"/>
                  <a:gd name="connsiteX10" fmla="*/ 679917 w 1252582"/>
                  <a:gd name="connsiteY10" fmla="*/ 506859 h 573904"/>
                  <a:gd name="connsiteX11" fmla="*/ 126063 w 1252582"/>
                  <a:gd name="connsiteY11" fmla="*/ 549154 h 573904"/>
                  <a:gd name="connsiteX12" fmla="*/ 6072 w 1252582"/>
                  <a:gd name="connsiteY12" fmla="*/ 573904 h 573904"/>
                  <a:gd name="connsiteX13" fmla="*/ 17921 w 1252582"/>
                  <a:gd name="connsiteY13" fmla="*/ 552075 h 573904"/>
                  <a:gd name="connsiteX14" fmla="*/ 70317 w 1252582"/>
                  <a:gd name="connsiteY14" fmla="*/ 292546 h 573904"/>
                  <a:gd name="connsiteX15" fmla="*/ 17921 w 1252582"/>
                  <a:gd name="connsiteY15" fmla="*/ 33017 h 573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52582" h="573904">
                    <a:moveTo>
                      <a:pt x="0" y="0"/>
                    </a:moveTo>
                    <a:lnTo>
                      <a:pt x="49804" y="12158"/>
                    </a:lnTo>
                    <a:cubicBezTo>
                      <a:pt x="221038" y="47487"/>
                      <a:pt x="440564" y="68709"/>
                      <a:pt x="679917" y="68709"/>
                    </a:cubicBezTo>
                    <a:cubicBezTo>
                      <a:pt x="859432" y="68709"/>
                      <a:pt x="1027794" y="56771"/>
                      <a:pt x="1172995" y="35898"/>
                    </a:cubicBezTo>
                    <a:lnTo>
                      <a:pt x="1252582" y="22110"/>
                    </a:lnTo>
                    <a:lnTo>
                      <a:pt x="1246663" y="33017"/>
                    </a:lnTo>
                    <a:cubicBezTo>
                      <a:pt x="1212923" y="112786"/>
                      <a:pt x="1194266" y="200487"/>
                      <a:pt x="1194266" y="292546"/>
                    </a:cubicBezTo>
                    <a:cubicBezTo>
                      <a:pt x="1194266" y="338576"/>
                      <a:pt x="1198930" y="383516"/>
                      <a:pt x="1207812" y="426919"/>
                    </a:cubicBezTo>
                    <a:lnTo>
                      <a:pt x="1246576" y="551795"/>
                    </a:lnTo>
                    <a:lnTo>
                      <a:pt x="1233771" y="549154"/>
                    </a:lnTo>
                    <a:cubicBezTo>
                      <a:pt x="1075670" y="522451"/>
                      <a:pt x="885077" y="506859"/>
                      <a:pt x="679917" y="506859"/>
                    </a:cubicBezTo>
                    <a:cubicBezTo>
                      <a:pt x="474757" y="506859"/>
                      <a:pt x="284164" y="522451"/>
                      <a:pt x="126063" y="549154"/>
                    </a:cubicBezTo>
                    <a:lnTo>
                      <a:pt x="6072" y="573904"/>
                    </a:lnTo>
                    <a:lnTo>
                      <a:pt x="17921" y="552075"/>
                    </a:lnTo>
                    <a:cubicBezTo>
                      <a:pt x="51660" y="472306"/>
                      <a:pt x="70317" y="384605"/>
                      <a:pt x="70317" y="292546"/>
                    </a:cubicBezTo>
                    <a:cubicBezTo>
                      <a:pt x="70317" y="200487"/>
                      <a:pt x="51660" y="112786"/>
                      <a:pt x="17921" y="33017"/>
                    </a:cubicBezTo>
                    <a:close/>
                  </a:path>
                </a:pathLst>
              </a:cu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p>
            </p:txBody>
          </p:sp>
          <p:sp>
            <p:nvSpPr>
              <p:cNvPr id="15" name="椭圆 14">
                <a:extLst>
                  <a:ext uri="{FF2B5EF4-FFF2-40B4-BE49-F238E27FC236}">
                    <a16:creationId xmlns:a16="http://schemas.microsoft.com/office/drawing/2014/main" id="{C78C794F-7476-4CF5-AD29-677B1EEE2B79}"/>
                  </a:ext>
                </a:extLst>
              </p:cNvPr>
              <p:cNvSpPr/>
              <p:nvPr/>
            </p:nvSpPr>
            <p:spPr>
              <a:xfrm>
                <a:off x="-602550" y="-438150"/>
                <a:ext cx="1333500" cy="1333500"/>
              </a:xfrm>
              <a:prstGeom prst="ellipse">
                <a:avLst/>
              </a:pr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6" name="任意多边形: 形状 15">
                <a:extLst>
                  <a:ext uri="{FF2B5EF4-FFF2-40B4-BE49-F238E27FC236}">
                    <a16:creationId xmlns:a16="http://schemas.microsoft.com/office/drawing/2014/main" id="{D7AD24A0-1C77-4FA2-8E0C-7758EB47C9D7}"/>
                  </a:ext>
                </a:extLst>
              </p:cNvPr>
              <p:cNvSpPr/>
              <p:nvPr/>
            </p:nvSpPr>
            <p:spPr>
              <a:xfrm>
                <a:off x="639070" y="-63946"/>
                <a:ext cx="1252582" cy="573904"/>
              </a:xfrm>
              <a:custGeom>
                <a:avLst/>
                <a:gdLst>
                  <a:gd name="connsiteX0" fmla="*/ 0 w 1252582"/>
                  <a:gd name="connsiteY0" fmla="*/ 0 h 573904"/>
                  <a:gd name="connsiteX1" fmla="*/ 49804 w 1252582"/>
                  <a:gd name="connsiteY1" fmla="*/ 12158 h 573904"/>
                  <a:gd name="connsiteX2" fmla="*/ 679917 w 1252582"/>
                  <a:gd name="connsiteY2" fmla="*/ 68709 h 573904"/>
                  <a:gd name="connsiteX3" fmla="*/ 1172995 w 1252582"/>
                  <a:gd name="connsiteY3" fmla="*/ 35898 h 573904"/>
                  <a:gd name="connsiteX4" fmla="*/ 1252582 w 1252582"/>
                  <a:gd name="connsiteY4" fmla="*/ 22110 h 573904"/>
                  <a:gd name="connsiteX5" fmla="*/ 1246663 w 1252582"/>
                  <a:gd name="connsiteY5" fmla="*/ 33017 h 573904"/>
                  <a:gd name="connsiteX6" fmla="*/ 1194266 w 1252582"/>
                  <a:gd name="connsiteY6" fmla="*/ 292546 h 573904"/>
                  <a:gd name="connsiteX7" fmla="*/ 1207812 w 1252582"/>
                  <a:gd name="connsiteY7" fmla="*/ 426919 h 573904"/>
                  <a:gd name="connsiteX8" fmla="*/ 1246576 w 1252582"/>
                  <a:gd name="connsiteY8" fmla="*/ 551795 h 573904"/>
                  <a:gd name="connsiteX9" fmla="*/ 1233771 w 1252582"/>
                  <a:gd name="connsiteY9" fmla="*/ 549154 h 573904"/>
                  <a:gd name="connsiteX10" fmla="*/ 679917 w 1252582"/>
                  <a:gd name="connsiteY10" fmla="*/ 506859 h 573904"/>
                  <a:gd name="connsiteX11" fmla="*/ 126063 w 1252582"/>
                  <a:gd name="connsiteY11" fmla="*/ 549154 h 573904"/>
                  <a:gd name="connsiteX12" fmla="*/ 6072 w 1252582"/>
                  <a:gd name="connsiteY12" fmla="*/ 573904 h 573904"/>
                  <a:gd name="connsiteX13" fmla="*/ 17921 w 1252582"/>
                  <a:gd name="connsiteY13" fmla="*/ 552075 h 573904"/>
                  <a:gd name="connsiteX14" fmla="*/ 70317 w 1252582"/>
                  <a:gd name="connsiteY14" fmla="*/ 292546 h 573904"/>
                  <a:gd name="connsiteX15" fmla="*/ 17921 w 1252582"/>
                  <a:gd name="connsiteY15" fmla="*/ 33017 h 573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52582" h="573904">
                    <a:moveTo>
                      <a:pt x="0" y="0"/>
                    </a:moveTo>
                    <a:lnTo>
                      <a:pt x="49804" y="12158"/>
                    </a:lnTo>
                    <a:cubicBezTo>
                      <a:pt x="221038" y="47487"/>
                      <a:pt x="440564" y="68709"/>
                      <a:pt x="679917" y="68709"/>
                    </a:cubicBezTo>
                    <a:cubicBezTo>
                      <a:pt x="859432" y="68709"/>
                      <a:pt x="1027794" y="56771"/>
                      <a:pt x="1172995" y="35898"/>
                    </a:cubicBezTo>
                    <a:lnTo>
                      <a:pt x="1252582" y="22110"/>
                    </a:lnTo>
                    <a:lnTo>
                      <a:pt x="1246663" y="33017"/>
                    </a:lnTo>
                    <a:cubicBezTo>
                      <a:pt x="1212923" y="112786"/>
                      <a:pt x="1194266" y="200487"/>
                      <a:pt x="1194266" y="292546"/>
                    </a:cubicBezTo>
                    <a:cubicBezTo>
                      <a:pt x="1194266" y="338576"/>
                      <a:pt x="1198930" y="383516"/>
                      <a:pt x="1207812" y="426919"/>
                    </a:cubicBezTo>
                    <a:lnTo>
                      <a:pt x="1246576" y="551795"/>
                    </a:lnTo>
                    <a:lnTo>
                      <a:pt x="1233771" y="549154"/>
                    </a:lnTo>
                    <a:cubicBezTo>
                      <a:pt x="1075670" y="522451"/>
                      <a:pt x="885077" y="506859"/>
                      <a:pt x="679917" y="506859"/>
                    </a:cubicBezTo>
                    <a:cubicBezTo>
                      <a:pt x="474757" y="506859"/>
                      <a:pt x="284164" y="522451"/>
                      <a:pt x="126063" y="549154"/>
                    </a:cubicBezTo>
                    <a:lnTo>
                      <a:pt x="6072" y="573904"/>
                    </a:lnTo>
                    <a:lnTo>
                      <a:pt x="17921" y="552075"/>
                    </a:lnTo>
                    <a:cubicBezTo>
                      <a:pt x="51660" y="472306"/>
                      <a:pt x="70317" y="384605"/>
                      <a:pt x="70317" y="292546"/>
                    </a:cubicBezTo>
                    <a:cubicBezTo>
                      <a:pt x="70317" y="200487"/>
                      <a:pt x="51660" y="112786"/>
                      <a:pt x="17921" y="33017"/>
                    </a:cubicBezTo>
                    <a:close/>
                  </a:path>
                </a:pathLst>
              </a:cu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p>
            </p:txBody>
          </p:sp>
          <p:sp>
            <p:nvSpPr>
              <p:cNvPr id="17" name="椭圆 16">
                <a:extLst>
                  <a:ext uri="{FF2B5EF4-FFF2-40B4-BE49-F238E27FC236}">
                    <a16:creationId xmlns:a16="http://schemas.microsoft.com/office/drawing/2014/main" id="{0A9DBC44-85DC-4474-AAD3-DF6B3991A9E9}"/>
                  </a:ext>
                </a:extLst>
              </p:cNvPr>
              <p:cNvSpPr/>
              <p:nvPr/>
            </p:nvSpPr>
            <p:spPr>
              <a:xfrm>
                <a:off x="1821336" y="-438150"/>
                <a:ext cx="1333500" cy="1333500"/>
              </a:xfrm>
              <a:prstGeom prst="ellipse">
                <a:avLst/>
              </a:pr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8" name="任意多边形: 形状 17">
                <a:extLst>
                  <a:ext uri="{FF2B5EF4-FFF2-40B4-BE49-F238E27FC236}">
                    <a16:creationId xmlns:a16="http://schemas.microsoft.com/office/drawing/2014/main" id="{2477F3D7-220B-4527-976C-46AF9934D08D}"/>
                  </a:ext>
                </a:extLst>
              </p:cNvPr>
              <p:cNvSpPr/>
              <p:nvPr/>
            </p:nvSpPr>
            <p:spPr>
              <a:xfrm>
                <a:off x="3067945" y="-63946"/>
                <a:ext cx="1252582" cy="573904"/>
              </a:xfrm>
              <a:custGeom>
                <a:avLst/>
                <a:gdLst>
                  <a:gd name="connsiteX0" fmla="*/ 0 w 1252582"/>
                  <a:gd name="connsiteY0" fmla="*/ 0 h 573904"/>
                  <a:gd name="connsiteX1" fmla="*/ 49804 w 1252582"/>
                  <a:gd name="connsiteY1" fmla="*/ 12158 h 573904"/>
                  <a:gd name="connsiteX2" fmla="*/ 679917 w 1252582"/>
                  <a:gd name="connsiteY2" fmla="*/ 68709 h 573904"/>
                  <a:gd name="connsiteX3" fmla="*/ 1172995 w 1252582"/>
                  <a:gd name="connsiteY3" fmla="*/ 35898 h 573904"/>
                  <a:gd name="connsiteX4" fmla="*/ 1252582 w 1252582"/>
                  <a:gd name="connsiteY4" fmla="*/ 22110 h 573904"/>
                  <a:gd name="connsiteX5" fmla="*/ 1246663 w 1252582"/>
                  <a:gd name="connsiteY5" fmla="*/ 33017 h 573904"/>
                  <a:gd name="connsiteX6" fmla="*/ 1194266 w 1252582"/>
                  <a:gd name="connsiteY6" fmla="*/ 292546 h 573904"/>
                  <a:gd name="connsiteX7" fmla="*/ 1207812 w 1252582"/>
                  <a:gd name="connsiteY7" fmla="*/ 426919 h 573904"/>
                  <a:gd name="connsiteX8" fmla="*/ 1246576 w 1252582"/>
                  <a:gd name="connsiteY8" fmla="*/ 551795 h 573904"/>
                  <a:gd name="connsiteX9" fmla="*/ 1233771 w 1252582"/>
                  <a:gd name="connsiteY9" fmla="*/ 549154 h 573904"/>
                  <a:gd name="connsiteX10" fmla="*/ 679917 w 1252582"/>
                  <a:gd name="connsiteY10" fmla="*/ 506859 h 573904"/>
                  <a:gd name="connsiteX11" fmla="*/ 126063 w 1252582"/>
                  <a:gd name="connsiteY11" fmla="*/ 549154 h 573904"/>
                  <a:gd name="connsiteX12" fmla="*/ 6072 w 1252582"/>
                  <a:gd name="connsiteY12" fmla="*/ 573904 h 573904"/>
                  <a:gd name="connsiteX13" fmla="*/ 17921 w 1252582"/>
                  <a:gd name="connsiteY13" fmla="*/ 552075 h 573904"/>
                  <a:gd name="connsiteX14" fmla="*/ 70317 w 1252582"/>
                  <a:gd name="connsiteY14" fmla="*/ 292546 h 573904"/>
                  <a:gd name="connsiteX15" fmla="*/ 17921 w 1252582"/>
                  <a:gd name="connsiteY15" fmla="*/ 33017 h 573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52582" h="573904">
                    <a:moveTo>
                      <a:pt x="0" y="0"/>
                    </a:moveTo>
                    <a:lnTo>
                      <a:pt x="49804" y="12158"/>
                    </a:lnTo>
                    <a:cubicBezTo>
                      <a:pt x="221038" y="47487"/>
                      <a:pt x="440564" y="68709"/>
                      <a:pt x="679917" y="68709"/>
                    </a:cubicBezTo>
                    <a:cubicBezTo>
                      <a:pt x="859432" y="68709"/>
                      <a:pt x="1027794" y="56771"/>
                      <a:pt x="1172995" y="35898"/>
                    </a:cubicBezTo>
                    <a:lnTo>
                      <a:pt x="1252582" y="22110"/>
                    </a:lnTo>
                    <a:lnTo>
                      <a:pt x="1246663" y="33017"/>
                    </a:lnTo>
                    <a:cubicBezTo>
                      <a:pt x="1212923" y="112786"/>
                      <a:pt x="1194266" y="200487"/>
                      <a:pt x="1194266" y="292546"/>
                    </a:cubicBezTo>
                    <a:cubicBezTo>
                      <a:pt x="1194266" y="338576"/>
                      <a:pt x="1198930" y="383516"/>
                      <a:pt x="1207812" y="426919"/>
                    </a:cubicBezTo>
                    <a:lnTo>
                      <a:pt x="1246576" y="551795"/>
                    </a:lnTo>
                    <a:lnTo>
                      <a:pt x="1233771" y="549154"/>
                    </a:lnTo>
                    <a:cubicBezTo>
                      <a:pt x="1075670" y="522451"/>
                      <a:pt x="885077" y="506859"/>
                      <a:pt x="679917" y="506859"/>
                    </a:cubicBezTo>
                    <a:cubicBezTo>
                      <a:pt x="474757" y="506859"/>
                      <a:pt x="284164" y="522451"/>
                      <a:pt x="126063" y="549154"/>
                    </a:cubicBezTo>
                    <a:lnTo>
                      <a:pt x="6072" y="573904"/>
                    </a:lnTo>
                    <a:lnTo>
                      <a:pt x="17921" y="552075"/>
                    </a:lnTo>
                    <a:cubicBezTo>
                      <a:pt x="51660" y="472306"/>
                      <a:pt x="70317" y="384605"/>
                      <a:pt x="70317" y="292546"/>
                    </a:cubicBezTo>
                    <a:cubicBezTo>
                      <a:pt x="70317" y="200487"/>
                      <a:pt x="51660" y="112786"/>
                      <a:pt x="17921" y="33017"/>
                    </a:cubicBezTo>
                    <a:close/>
                  </a:path>
                </a:pathLst>
              </a:cu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p>
            </p:txBody>
          </p:sp>
          <p:sp>
            <p:nvSpPr>
              <p:cNvPr id="19" name="椭圆 18">
                <a:extLst>
                  <a:ext uri="{FF2B5EF4-FFF2-40B4-BE49-F238E27FC236}">
                    <a16:creationId xmlns:a16="http://schemas.microsoft.com/office/drawing/2014/main" id="{0C0AE0D4-256A-41CB-8465-4716C24434B4}"/>
                  </a:ext>
                </a:extLst>
              </p:cNvPr>
              <p:cNvSpPr/>
              <p:nvPr/>
            </p:nvSpPr>
            <p:spPr>
              <a:xfrm>
                <a:off x="4235697" y="-438150"/>
                <a:ext cx="1333500" cy="1333500"/>
              </a:xfrm>
              <a:prstGeom prst="ellipse">
                <a:avLst/>
              </a:pr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21" name="椭圆 20">
              <a:extLst>
                <a:ext uri="{FF2B5EF4-FFF2-40B4-BE49-F238E27FC236}">
                  <a16:creationId xmlns:a16="http://schemas.microsoft.com/office/drawing/2014/main" id="{22763685-A8D8-4BF9-B282-0F83A8B14882}"/>
                </a:ext>
              </a:extLst>
            </p:cNvPr>
            <p:cNvSpPr/>
            <p:nvPr/>
          </p:nvSpPr>
          <p:spPr>
            <a:xfrm>
              <a:off x="1898588" y="2846524"/>
              <a:ext cx="1153763" cy="1153763"/>
            </a:xfrm>
            <a:prstGeom prst="ellipse">
              <a:avLst/>
            </a:prstGeom>
            <a:solidFill>
              <a:schemeClr val="bg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2" name="椭圆 21">
              <a:extLst>
                <a:ext uri="{FF2B5EF4-FFF2-40B4-BE49-F238E27FC236}">
                  <a16:creationId xmlns:a16="http://schemas.microsoft.com/office/drawing/2014/main" id="{60330DE1-51EB-4419-8C99-44FB9F27712E}"/>
                </a:ext>
              </a:extLst>
            </p:cNvPr>
            <p:cNvSpPr/>
            <p:nvPr/>
          </p:nvSpPr>
          <p:spPr>
            <a:xfrm>
              <a:off x="4294474" y="2846524"/>
              <a:ext cx="1153763" cy="1153763"/>
            </a:xfrm>
            <a:prstGeom prst="ellipse">
              <a:avLst/>
            </a:prstGeom>
            <a:solidFill>
              <a:schemeClr val="bg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3" name="椭圆 22">
              <a:extLst>
                <a:ext uri="{FF2B5EF4-FFF2-40B4-BE49-F238E27FC236}">
                  <a16:creationId xmlns:a16="http://schemas.microsoft.com/office/drawing/2014/main" id="{63968911-6284-4E5B-9C79-3BAF84DF29CA}"/>
                </a:ext>
              </a:extLst>
            </p:cNvPr>
            <p:cNvSpPr/>
            <p:nvPr/>
          </p:nvSpPr>
          <p:spPr>
            <a:xfrm>
              <a:off x="6706134" y="2846524"/>
              <a:ext cx="1153763" cy="1153763"/>
            </a:xfrm>
            <a:prstGeom prst="ellipse">
              <a:avLst/>
            </a:prstGeom>
            <a:solidFill>
              <a:schemeClr val="bg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4" name="椭圆 23">
              <a:extLst>
                <a:ext uri="{FF2B5EF4-FFF2-40B4-BE49-F238E27FC236}">
                  <a16:creationId xmlns:a16="http://schemas.microsoft.com/office/drawing/2014/main" id="{64630BF3-1689-475F-BB20-4DD672ABF484}"/>
                </a:ext>
              </a:extLst>
            </p:cNvPr>
            <p:cNvSpPr/>
            <p:nvPr/>
          </p:nvSpPr>
          <p:spPr>
            <a:xfrm>
              <a:off x="9127715" y="2846524"/>
              <a:ext cx="1153763" cy="1153763"/>
            </a:xfrm>
            <a:prstGeom prst="ellipse">
              <a:avLst/>
            </a:prstGeom>
            <a:solidFill>
              <a:schemeClr val="bg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cxnSp>
        <p:nvCxnSpPr>
          <p:cNvPr id="27" name="直接连接符 26">
            <a:extLst>
              <a:ext uri="{FF2B5EF4-FFF2-40B4-BE49-F238E27FC236}">
                <a16:creationId xmlns:a16="http://schemas.microsoft.com/office/drawing/2014/main" id="{9DE6CF16-72F3-40DC-B591-258F0C64477C}"/>
              </a:ext>
            </a:extLst>
          </p:cNvPr>
          <p:cNvCxnSpPr>
            <a:cxnSpLocks/>
          </p:cNvCxnSpPr>
          <p:nvPr/>
        </p:nvCxnSpPr>
        <p:spPr>
          <a:xfrm>
            <a:off x="2489983" y="2506448"/>
            <a:ext cx="0" cy="609600"/>
          </a:xfrm>
          <a:prstGeom prst="line">
            <a:avLst/>
          </a:prstGeom>
          <a:ln w="25400">
            <a:prstDash val="dashDot"/>
          </a:ln>
        </p:spPr>
        <p:style>
          <a:lnRef idx="1">
            <a:schemeClr val="accent1"/>
          </a:lnRef>
          <a:fillRef idx="0">
            <a:schemeClr val="accent1"/>
          </a:fillRef>
          <a:effectRef idx="0">
            <a:schemeClr val="accent1"/>
          </a:effectRef>
          <a:fontRef idx="minor">
            <a:schemeClr val="tx1"/>
          </a:fontRef>
        </p:style>
      </p:cxnSp>
      <p:cxnSp>
        <p:nvCxnSpPr>
          <p:cNvPr id="29" name="直接连接符 28">
            <a:extLst>
              <a:ext uri="{FF2B5EF4-FFF2-40B4-BE49-F238E27FC236}">
                <a16:creationId xmlns:a16="http://schemas.microsoft.com/office/drawing/2014/main" id="{8F93D3B0-FB09-4B75-8D32-69756A88A654}"/>
              </a:ext>
            </a:extLst>
          </p:cNvPr>
          <p:cNvCxnSpPr>
            <a:cxnSpLocks/>
          </p:cNvCxnSpPr>
          <p:nvPr/>
        </p:nvCxnSpPr>
        <p:spPr>
          <a:xfrm>
            <a:off x="7265182" y="2506448"/>
            <a:ext cx="0" cy="609600"/>
          </a:xfrm>
          <a:prstGeom prst="line">
            <a:avLst/>
          </a:prstGeom>
          <a:ln w="25400">
            <a:prstDash val="dashDot"/>
          </a:ln>
        </p:spPr>
        <p:style>
          <a:lnRef idx="1">
            <a:schemeClr val="accent1"/>
          </a:lnRef>
          <a:fillRef idx="0">
            <a:schemeClr val="accent1"/>
          </a:fillRef>
          <a:effectRef idx="0">
            <a:schemeClr val="accent1"/>
          </a:effectRef>
          <a:fontRef idx="minor">
            <a:schemeClr val="tx1"/>
          </a:fontRef>
        </p:style>
      </p:cxnSp>
      <p:cxnSp>
        <p:nvCxnSpPr>
          <p:cNvPr id="30" name="直接连接符 29">
            <a:extLst>
              <a:ext uri="{FF2B5EF4-FFF2-40B4-BE49-F238E27FC236}">
                <a16:creationId xmlns:a16="http://schemas.microsoft.com/office/drawing/2014/main" id="{56862489-A68A-4AF4-9252-66979A682A31}"/>
              </a:ext>
            </a:extLst>
          </p:cNvPr>
          <p:cNvCxnSpPr>
            <a:cxnSpLocks/>
          </p:cNvCxnSpPr>
          <p:nvPr/>
        </p:nvCxnSpPr>
        <p:spPr>
          <a:xfrm>
            <a:off x="4855812" y="4407820"/>
            <a:ext cx="0" cy="609600"/>
          </a:xfrm>
          <a:prstGeom prst="line">
            <a:avLst/>
          </a:prstGeom>
          <a:ln w="25400">
            <a:prstDash val="dashDot"/>
          </a:ln>
        </p:spPr>
        <p:style>
          <a:lnRef idx="1">
            <a:schemeClr val="accent1"/>
          </a:lnRef>
          <a:fillRef idx="0">
            <a:schemeClr val="accent1"/>
          </a:fillRef>
          <a:effectRef idx="0">
            <a:schemeClr val="accent1"/>
          </a:effectRef>
          <a:fontRef idx="minor">
            <a:schemeClr val="tx1"/>
          </a:fontRef>
        </p:style>
      </p:cxnSp>
      <p:cxnSp>
        <p:nvCxnSpPr>
          <p:cNvPr id="31" name="直接连接符 30">
            <a:extLst>
              <a:ext uri="{FF2B5EF4-FFF2-40B4-BE49-F238E27FC236}">
                <a16:creationId xmlns:a16="http://schemas.microsoft.com/office/drawing/2014/main" id="{1030EA69-FC4E-4698-98E4-3EB5630911F9}"/>
              </a:ext>
            </a:extLst>
          </p:cNvPr>
          <p:cNvCxnSpPr>
            <a:cxnSpLocks/>
          </p:cNvCxnSpPr>
          <p:nvPr/>
        </p:nvCxnSpPr>
        <p:spPr>
          <a:xfrm>
            <a:off x="9718098" y="4407820"/>
            <a:ext cx="0" cy="609600"/>
          </a:xfrm>
          <a:prstGeom prst="line">
            <a:avLst/>
          </a:prstGeom>
          <a:ln w="25400">
            <a:prstDash val="dashDot"/>
          </a:ln>
        </p:spPr>
        <p:style>
          <a:lnRef idx="1">
            <a:schemeClr val="accent1"/>
          </a:lnRef>
          <a:fillRef idx="0">
            <a:schemeClr val="accent1"/>
          </a:fillRef>
          <a:effectRef idx="0">
            <a:schemeClr val="accent1"/>
          </a:effectRef>
          <a:fontRef idx="minor">
            <a:schemeClr val="tx1"/>
          </a:fontRef>
        </p:style>
      </p:cxnSp>
      <p:sp>
        <p:nvSpPr>
          <p:cNvPr id="32" name="椭圆 31">
            <a:extLst>
              <a:ext uri="{FF2B5EF4-FFF2-40B4-BE49-F238E27FC236}">
                <a16:creationId xmlns:a16="http://schemas.microsoft.com/office/drawing/2014/main" id="{95F1EE3B-5414-436B-A609-928591C7837E}"/>
              </a:ext>
            </a:extLst>
          </p:cNvPr>
          <p:cNvSpPr/>
          <p:nvPr/>
        </p:nvSpPr>
        <p:spPr>
          <a:xfrm>
            <a:off x="2400115" y="2284574"/>
            <a:ext cx="179737" cy="179737"/>
          </a:xfrm>
          <a:prstGeom prst="ellipse">
            <a:avLst/>
          </a:pr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3" name="椭圆 32">
            <a:extLst>
              <a:ext uri="{FF2B5EF4-FFF2-40B4-BE49-F238E27FC236}">
                <a16:creationId xmlns:a16="http://schemas.microsoft.com/office/drawing/2014/main" id="{95BA1523-D095-4BA4-A4EC-796B32EA58BC}"/>
              </a:ext>
            </a:extLst>
          </p:cNvPr>
          <p:cNvSpPr/>
          <p:nvPr/>
        </p:nvSpPr>
        <p:spPr>
          <a:xfrm>
            <a:off x="7175314" y="2284574"/>
            <a:ext cx="179737" cy="179737"/>
          </a:xfrm>
          <a:prstGeom prst="ellipse">
            <a:avLst/>
          </a:pr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4" name="椭圆 33">
            <a:extLst>
              <a:ext uri="{FF2B5EF4-FFF2-40B4-BE49-F238E27FC236}">
                <a16:creationId xmlns:a16="http://schemas.microsoft.com/office/drawing/2014/main" id="{CAB1F744-458F-4FD1-8143-4C5B6BFE1B21}"/>
              </a:ext>
            </a:extLst>
          </p:cNvPr>
          <p:cNvSpPr/>
          <p:nvPr/>
        </p:nvSpPr>
        <p:spPr>
          <a:xfrm>
            <a:off x="4765944" y="5078574"/>
            <a:ext cx="179737" cy="179737"/>
          </a:xfrm>
          <a:prstGeom prst="ellipse">
            <a:avLst/>
          </a:pr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5" name="椭圆 34">
            <a:extLst>
              <a:ext uri="{FF2B5EF4-FFF2-40B4-BE49-F238E27FC236}">
                <a16:creationId xmlns:a16="http://schemas.microsoft.com/office/drawing/2014/main" id="{E3DF9BBF-DCE2-43A0-9906-3C4191243C8C}"/>
              </a:ext>
            </a:extLst>
          </p:cNvPr>
          <p:cNvSpPr/>
          <p:nvPr/>
        </p:nvSpPr>
        <p:spPr>
          <a:xfrm>
            <a:off x="9628230" y="5078574"/>
            <a:ext cx="179737" cy="179737"/>
          </a:xfrm>
          <a:prstGeom prst="ellipse">
            <a:avLst/>
          </a:pr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6" name="文本框 35">
            <a:extLst>
              <a:ext uri="{FF2B5EF4-FFF2-40B4-BE49-F238E27FC236}">
                <a16:creationId xmlns:a16="http://schemas.microsoft.com/office/drawing/2014/main" id="{6E6D2FAF-EECE-42BA-995B-C61C9094A934}"/>
              </a:ext>
            </a:extLst>
          </p:cNvPr>
          <p:cNvSpPr txBox="1"/>
          <p:nvPr/>
        </p:nvSpPr>
        <p:spPr>
          <a:xfrm>
            <a:off x="1958427" y="1802183"/>
            <a:ext cx="1063112" cy="523220"/>
          </a:xfrm>
          <a:prstGeom prst="rect">
            <a:avLst/>
          </a:prstGeom>
          <a:noFill/>
        </p:spPr>
        <p:txBody>
          <a:bodyPr wrap="none" rtlCol="0">
            <a:spAutoFit/>
          </a:bodyPr>
          <a:lstStyle/>
          <a:p>
            <a:pPr algn="ctr"/>
            <a:r>
              <a:rPr lang="en-US" altLang="zh-CN" sz="2800" dirty="0">
                <a:solidFill>
                  <a:schemeClr val="accent1"/>
                </a:solidFill>
                <a:latin typeface="+mj-ea"/>
                <a:ea typeface="+mj-ea"/>
              </a:rPr>
              <a:t>2018</a:t>
            </a:r>
            <a:endParaRPr lang="zh-CN" altLang="en-US" sz="2800" dirty="0">
              <a:solidFill>
                <a:schemeClr val="accent1"/>
              </a:solidFill>
              <a:latin typeface="+mj-ea"/>
              <a:ea typeface="+mj-ea"/>
            </a:endParaRPr>
          </a:p>
        </p:txBody>
      </p:sp>
      <p:sp>
        <p:nvSpPr>
          <p:cNvPr id="37" name="文本框 36">
            <a:extLst>
              <a:ext uri="{FF2B5EF4-FFF2-40B4-BE49-F238E27FC236}">
                <a16:creationId xmlns:a16="http://schemas.microsoft.com/office/drawing/2014/main" id="{79E58CD5-FF83-4C6A-BDFC-6724EA3152EF}"/>
              </a:ext>
            </a:extLst>
          </p:cNvPr>
          <p:cNvSpPr txBox="1"/>
          <p:nvPr/>
        </p:nvSpPr>
        <p:spPr>
          <a:xfrm>
            <a:off x="6701566" y="1802183"/>
            <a:ext cx="1127233" cy="523220"/>
          </a:xfrm>
          <a:prstGeom prst="rect">
            <a:avLst/>
          </a:prstGeom>
          <a:noFill/>
        </p:spPr>
        <p:txBody>
          <a:bodyPr wrap="none" rtlCol="0">
            <a:spAutoFit/>
          </a:bodyPr>
          <a:lstStyle/>
          <a:p>
            <a:pPr algn="ctr"/>
            <a:r>
              <a:rPr lang="en-US" altLang="zh-CN" sz="2800" dirty="0">
                <a:solidFill>
                  <a:schemeClr val="accent1"/>
                </a:solidFill>
                <a:latin typeface="+mj-ea"/>
                <a:ea typeface="+mj-ea"/>
              </a:rPr>
              <a:t>2020</a:t>
            </a:r>
            <a:endParaRPr lang="zh-CN" altLang="en-US" sz="2800" dirty="0">
              <a:solidFill>
                <a:schemeClr val="accent1"/>
              </a:solidFill>
              <a:latin typeface="+mj-ea"/>
              <a:ea typeface="+mj-ea"/>
            </a:endParaRPr>
          </a:p>
        </p:txBody>
      </p:sp>
      <p:sp>
        <p:nvSpPr>
          <p:cNvPr id="38" name="文本框 37">
            <a:extLst>
              <a:ext uri="{FF2B5EF4-FFF2-40B4-BE49-F238E27FC236}">
                <a16:creationId xmlns:a16="http://schemas.microsoft.com/office/drawing/2014/main" id="{CAD0D819-FA5B-4C0E-9D6C-B151C400CDA3}"/>
              </a:ext>
            </a:extLst>
          </p:cNvPr>
          <p:cNvSpPr txBox="1"/>
          <p:nvPr/>
        </p:nvSpPr>
        <p:spPr>
          <a:xfrm>
            <a:off x="4324256" y="5258311"/>
            <a:ext cx="1063113" cy="523220"/>
          </a:xfrm>
          <a:prstGeom prst="rect">
            <a:avLst/>
          </a:prstGeom>
          <a:noFill/>
        </p:spPr>
        <p:txBody>
          <a:bodyPr wrap="none" rtlCol="0">
            <a:spAutoFit/>
          </a:bodyPr>
          <a:lstStyle/>
          <a:p>
            <a:pPr algn="ctr"/>
            <a:r>
              <a:rPr lang="en-US" altLang="zh-CN" sz="2800" dirty="0">
                <a:solidFill>
                  <a:schemeClr val="accent1"/>
                </a:solidFill>
                <a:latin typeface="+mj-ea"/>
                <a:ea typeface="+mj-ea"/>
              </a:rPr>
              <a:t>2019</a:t>
            </a:r>
            <a:endParaRPr lang="zh-CN" altLang="en-US" sz="2800" dirty="0">
              <a:solidFill>
                <a:schemeClr val="accent1"/>
              </a:solidFill>
              <a:latin typeface="+mj-ea"/>
              <a:ea typeface="+mj-ea"/>
            </a:endParaRPr>
          </a:p>
        </p:txBody>
      </p:sp>
      <p:sp>
        <p:nvSpPr>
          <p:cNvPr id="39" name="文本框 38">
            <a:extLst>
              <a:ext uri="{FF2B5EF4-FFF2-40B4-BE49-F238E27FC236}">
                <a16:creationId xmlns:a16="http://schemas.microsoft.com/office/drawing/2014/main" id="{74DA15D6-D8DB-4419-831A-FBB053C96495}"/>
              </a:ext>
            </a:extLst>
          </p:cNvPr>
          <p:cNvSpPr txBox="1"/>
          <p:nvPr/>
        </p:nvSpPr>
        <p:spPr>
          <a:xfrm>
            <a:off x="9186542" y="5258311"/>
            <a:ext cx="1063113" cy="523220"/>
          </a:xfrm>
          <a:prstGeom prst="rect">
            <a:avLst/>
          </a:prstGeom>
          <a:noFill/>
        </p:spPr>
        <p:txBody>
          <a:bodyPr wrap="none" rtlCol="0">
            <a:spAutoFit/>
          </a:bodyPr>
          <a:lstStyle/>
          <a:p>
            <a:pPr algn="ctr"/>
            <a:r>
              <a:rPr lang="en-US" altLang="zh-CN" sz="2800" dirty="0">
                <a:solidFill>
                  <a:schemeClr val="accent1"/>
                </a:solidFill>
                <a:latin typeface="+mj-ea"/>
                <a:ea typeface="+mj-ea"/>
              </a:rPr>
              <a:t>2021</a:t>
            </a:r>
            <a:endParaRPr lang="zh-CN" altLang="en-US" sz="2800" dirty="0">
              <a:solidFill>
                <a:schemeClr val="accent1"/>
              </a:solidFill>
              <a:latin typeface="+mj-ea"/>
              <a:ea typeface="+mj-ea"/>
            </a:endParaRPr>
          </a:p>
        </p:txBody>
      </p:sp>
      <p:sp>
        <p:nvSpPr>
          <p:cNvPr id="40" name="文本框 39">
            <a:extLst>
              <a:ext uri="{FF2B5EF4-FFF2-40B4-BE49-F238E27FC236}">
                <a16:creationId xmlns:a16="http://schemas.microsoft.com/office/drawing/2014/main" id="{4F4FDBB5-F7F1-4209-B6B0-E3C6B2C25961}"/>
              </a:ext>
            </a:extLst>
          </p:cNvPr>
          <p:cNvSpPr txBox="1"/>
          <p:nvPr/>
        </p:nvSpPr>
        <p:spPr>
          <a:xfrm>
            <a:off x="1355648" y="4542084"/>
            <a:ext cx="2236509" cy="646331"/>
          </a:xfrm>
          <a:prstGeom prst="rect">
            <a:avLst/>
          </a:prstGeom>
          <a:noFill/>
        </p:spPr>
        <p:txBody>
          <a:bodyPr wrap="square" rtlCol="0">
            <a:spAutoFit/>
          </a:bodyPr>
          <a:lstStyle/>
          <a:p>
            <a:pPr algn="ctr"/>
            <a:r>
              <a:rPr lang="en-US" altLang="zh-CN" sz="1200" dirty="0"/>
              <a:t>Lorem ipsum dolor sit amet, consectetur adipisicing elit, sed do eiusmod tempor</a:t>
            </a:r>
            <a:endParaRPr lang="zh-CN" altLang="en-US" sz="1200" dirty="0"/>
          </a:p>
        </p:txBody>
      </p:sp>
      <p:sp>
        <p:nvSpPr>
          <p:cNvPr id="41" name="文本框 40">
            <a:extLst>
              <a:ext uri="{FF2B5EF4-FFF2-40B4-BE49-F238E27FC236}">
                <a16:creationId xmlns:a16="http://schemas.microsoft.com/office/drawing/2014/main" id="{0D726D5F-2580-418F-9716-DC662A61EAAE}"/>
              </a:ext>
            </a:extLst>
          </p:cNvPr>
          <p:cNvSpPr txBox="1"/>
          <p:nvPr/>
        </p:nvSpPr>
        <p:spPr>
          <a:xfrm>
            <a:off x="6168701" y="4542084"/>
            <a:ext cx="2236509" cy="646331"/>
          </a:xfrm>
          <a:prstGeom prst="rect">
            <a:avLst/>
          </a:prstGeom>
          <a:noFill/>
        </p:spPr>
        <p:txBody>
          <a:bodyPr wrap="square" rtlCol="0">
            <a:spAutoFit/>
          </a:bodyPr>
          <a:lstStyle/>
          <a:p>
            <a:pPr algn="ctr"/>
            <a:r>
              <a:rPr lang="en-US" altLang="zh-CN" sz="1200" dirty="0"/>
              <a:t>Lorem ipsum dolor sit amet, consectetur adipisicing elit, sed do eiusmod tempor</a:t>
            </a:r>
            <a:endParaRPr lang="zh-CN" altLang="en-US" sz="1200" dirty="0"/>
          </a:p>
        </p:txBody>
      </p:sp>
      <p:sp>
        <p:nvSpPr>
          <p:cNvPr id="42" name="文本框 41">
            <a:extLst>
              <a:ext uri="{FF2B5EF4-FFF2-40B4-BE49-F238E27FC236}">
                <a16:creationId xmlns:a16="http://schemas.microsoft.com/office/drawing/2014/main" id="{EE602F6D-E25C-4C37-B930-3DB1A4F209CE}"/>
              </a:ext>
            </a:extLst>
          </p:cNvPr>
          <p:cNvSpPr txBox="1"/>
          <p:nvPr/>
        </p:nvSpPr>
        <p:spPr>
          <a:xfrm>
            <a:off x="3759328" y="2376022"/>
            <a:ext cx="2236509" cy="646331"/>
          </a:xfrm>
          <a:prstGeom prst="rect">
            <a:avLst/>
          </a:prstGeom>
          <a:noFill/>
        </p:spPr>
        <p:txBody>
          <a:bodyPr wrap="square" rtlCol="0">
            <a:spAutoFit/>
          </a:bodyPr>
          <a:lstStyle/>
          <a:p>
            <a:pPr algn="ctr"/>
            <a:r>
              <a:rPr lang="en-US" altLang="zh-CN" sz="1200" dirty="0"/>
              <a:t>Lorem ipsum dolor sit amet, consectetur adipisicing elit, sed do eiusmod tempor</a:t>
            </a:r>
            <a:endParaRPr lang="zh-CN" altLang="en-US" sz="1200" dirty="0"/>
          </a:p>
        </p:txBody>
      </p:sp>
      <p:sp>
        <p:nvSpPr>
          <p:cNvPr id="43" name="文本框 42">
            <a:extLst>
              <a:ext uri="{FF2B5EF4-FFF2-40B4-BE49-F238E27FC236}">
                <a16:creationId xmlns:a16="http://schemas.microsoft.com/office/drawing/2014/main" id="{AD590A0A-1622-4345-B2A5-3FF34686783A}"/>
              </a:ext>
            </a:extLst>
          </p:cNvPr>
          <p:cNvSpPr txBox="1"/>
          <p:nvPr/>
        </p:nvSpPr>
        <p:spPr>
          <a:xfrm>
            <a:off x="8599843" y="2376022"/>
            <a:ext cx="2236509" cy="646331"/>
          </a:xfrm>
          <a:prstGeom prst="rect">
            <a:avLst/>
          </a:prstGeom>
          <a:noFill/>
        </p:spPr>
        <p:txBody>
          <a:bodyPr wrap="square" rtlCol="0">
            <a:spAutoFit/>
          </a:bodyPr>
          <a:lstStyle/>
          <a:p>
            <a:pPr algn="ctr"/>
            <a:r>
              <a:rPr lang="en-US" altLang="zh-CN" sz="1200" dirty="0"/>
              <a:t>Lorem ipsum dolor sit amet, consectetur adipisicing elit, sed do eiusmod tempor</a:t>
            </a:r>
            <a:endParaRPr lang="zh-CN" altLang="en-US" sz="1200" dirty="0"/>
          </a:p>
        </p:txBody>
      </p:sp>
    </p:spTree>
    <p:extLst>
      <p:ext uri="{BB962C8B-B14F-4D97-AF65-F5344CB8AC3E}">
        <p14:creationId xmlns:p14="http://schemas.microsoft.com/office/powerpoint/2010/main" val="4294431719"/>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文本框 10">
            <a:extLst>
              <a:ext uri="{FF2B5EF4-FFF2-40B4-BE49-F238E27FC236}">
                <a16:creationId xmlns:a16="http://schemas.microsoft.com/office/drawing/2014/main" id="{E4393356-E9A7-46D9-B5F5-0D21EC991A29}"/>
              </a:ext>
            </a:extLst>
          </p:cNvPr>
          <p:cNvSpPr txBox="1"/>
          <p:nvPr/>
        </p:nvSpPr>
        <p:spPr>
          <a:xfrm>
            <a:off x="1941017" y="2813447"/>
            <a:ext cx="8309967" cy="1107996"/>
          </a:xfrm>
          <a:prstGeom prst="rect">
            <a:avLst/>
          </a:prstGeom>
          <a:noFill/>
        </p:spPr>
        <p:txBody>
          <a:bodyPr wrap="none" lIns="0" tIns="0" rIns="0" bIns="0" rtlCol="0" anchor="t">
            <a:spAutoFit/>
          </a:bodyPr>
          <a:lstStyle/>
          <a:p>
            <a:pPr algn="ctr"/>
            <a:r>
              <a:rPr lang="zh-CN" altLang="en-US" sz="7200" dirty="0">
                <a:solidFill>
                  <a:schemeClr val="accent1">
                    <a:lumMod val="100000"/>
                  </a:schemeClr>
                </a:solidFill>
                <a:latin typeface="+mj-ea"/>
                <a:ea typeface="+mj-ea"/>
              </a:rPr>
              <a:t>输入你的封面大标题</a:t>
            </a:r>
          </a:p>
        </p:txBody>
      </p:sp>
      <p:sp>
        <p:nvSpPr>
          <p:cNvPr id="12" name="文本框 11">
            <a:extLst>
              <a:ext uri="{FF2B5EF4-FFF2-40B4-BE49-F238E27FC236}">
                <a16:creationId xmlns:a16="http://schemas.microsoft.com/office/drawing/2014/main" id="{08D1ED60-C0E7-408E-A5AA-59B489440FCB}"/>
              </a:ext>
            </a:extLst>
          </p:cNvPr>
          <p:cNvSpPr txBox="1"/>
          <p:nvPr/>
        </p:nvSpPr>
        <p:spPr>
          <a:xfrm>
            <a:off x="4095451" y="2275523"/>
            <a:ext cx="4001095" cy="369332"/>
          </a:xfrm>
          <a:prstGeom prst="rect">
            <a:avLst/>
          </a:prstGeom>
          <a:noFill/>
        </p:spPr>
        <p:txBody>
          <a:bodyPr wrap="none" lIns="0" tIns="0" rIns="0" bIns="0" rtlCol="0" anchor="t">
            <a:spAutoFit/>
          </a:bodyPr>
          <a:lstStyle/>
          <a:p>
            <a:pPr algn="ctr"/>
            <a:r>
              <a:rPr lang="zh-CN" altLang="en-US" sz="2400" dirty="0">
                <a:solidFill>
                  <a:schemeClr val="accent1">
                    <a:lumMod val="100000"/>
                  </a:schemeClr>
                </a:solidFill>
                <a:latin typeface="+mn-ea"/>
              </a:rPr>
              <a:t>输入你的副标题或大标题英文</a:t>
            </a:r>
          </a:p>
        </p:txBody>
      </p:sp>
      <p:cxnSp>
        <p:nvCxnSpPr>
          <p:cNvPr id="14" name="直接连接符 13">
            <a:extLst>
              <a:ext uri="{FF2B5EF4-FFF2-40B4-BE49-F238E27FC236}">
                <a16:creationId xmlns:a16="http://schemas.microsoft.com/office/drawing/2014/main" id="{99FDF5DC-EAFA-4C3B-B052-660243EB047F}"/>
              </a:ext>
            </a:extLst>
          </p:cNvPr>
          <p:cNvCxnSpPr/>
          <p:nvPr/>
        </p:nvCxnSpPr>
        <p:spPr>
          <a:xfrm flipH="1">
            <a:off x="2029968" y="2465975"/>
            <a:ext cx="1901952" cy="0"/>
          </a:xfrm>
          <a:prstGeom prst="line">
            <a:avLst/>
          </a:prstGeom>
          <a:ln w="19050">
            <a:solidFill>
              <a:schemeClr val="accent1">
                <a:lumMod val="100000"/>
              </a:schemeClr>
            </a:solidFill>
          </a:ln>
        </p:spPr>
        <p:style>
          <a:lnRef idx="1">
            <a:schemeClr val="accent1"/>
          </a:lnRef>
          <a:fillRef idx="0">
            <a:schemeClr val="accent1"/>
          </a:fillRef>
          <a:effectRef idx="0">
            <a:schemeClr val="accent1"/>
          </a:effectRef>
          <a:fontRef idx="minor">
            <a:schemeClr val="tx1"/>
          </a:fontRef>
        </p:style>
      </p:cxnSp>
      <p:cxnSp>
        <p:nvCxnSpPr>
          <p:cNvPr id="15" name="直接连接符 14">
            <a:extLst>
              <a:ext uri="{FF2B5EF4-FFF2-40B4-BE49-F238E27FC236}">
                <a16:creationId xmlns:a16="http://schemas.microsoft.com/office/drawing/2014/main" id="{C6CC629A-E754-4728-BB95-563C56597B63}"/>
              </a:ext>
            </a:extLst>
          </p:cNvPr>
          <p:cNvCxnSpPr/>
          <p:nvPr/>
        </p:nvCxnSpPr>
        <p:spPr>
          <a:xfrm flipH="1">
            <a:off x="8284464" y="2465975"/>
            <a:ext cx="1901952" cy="0"/>
          </a:xfrm>
          <a:prstGeom prst="line">
            <a:avLst/>
          </a:prstGeom>
          <a:ln w="19050">
            <a:solidFill>
              <a:schemeClr val="accent1">
                <a:lumMod val="100000"/>
              </a:schemeClr>
            </a:solidFill>
          </a:ln>
        </p:spPr>
        <p:style>
          <a:lnRef idx="1">
            <a:schemeClr val="accent1"/>
          </a:lnRef>
          <a:fillRef idx="0">
            <a:schemeClr val="accent1"/>
          </a:fillRef>
          <a:effectRef idx="0">
            <a:schemeClr val="accent1"/>
          </a:effectRef>
          <a:fontRef idx="minor">
            <a:schemeClr val="tx1"/>
          </a:fontRef>
        </p:style>
      </p:cxnSp>
      <p:grpSp>
        <p:nvGrpSpPr>
          <p:cNvPr id="18" name="组合 17">
            <a:extLst>
              <a:ext uri="{FF2B5EF4-FFF2-40B4-BE49-F238E27FC236}">
                <a16:creationId xmlns:a16="http://schemas.microsoft.com/office/drawing/2014/main" id="{FC799265-AC15-410F-82A2-679AB60B288F}"/>
              </a:ext>
            </a:extLst>
          </p:cNvPr>
          <p:cNvGrpSpPr/>
          <p:nvPr/>
        </p:nvGrpSpPr>
        <p:grpSpPr>
          <a:xfrm>
            <a:off x="4331702" y="4336256"/>
            <a:ext cx="1475214" cy="246221"/>
            <a:chOff x="4095451" y="4640913"/>
            <a:chExt cx="1475214" cy="246221"/>
          </a:xfrm>
        </p:grpSpPr>
        <p:sp>
          <p:nvSpPr>
            <p:cNvPr id="16" name="矩形 15">
              <a:extLst>
                <a:ext uri="{FF2B5EF4-FFF2-40B4-BE49-F238E27FC236}">
                  <a16:creationId xmlns:a16="http://schemas.microsoft.com/office/drawing/2014/main" id="{74C493E7-1B47-4349-BC5B-BF3163490795}"/>
                </a:ext>
              </a:extLst>
            </p:cNvPr>
            <p:cNvSpPr/>
            <p:nvPr/>
          </p:nvSpPr>
          <p:spPr>
            <a:xfrm>
              <a:off x="4095451" y="4672584"/>
              <a:ext cx="164592" cy="164592"/>
            </a:xfrm>
            <a:prstGeom prst="rect">
              <a:avLst/>
            </a:prstGeom>
            <a:solidFill>
              <a:schemeClr val="accent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p>
          </p:txBody>
        </p:sp>
        <p:sp>
          <p:nvSpPr>
            <p:cNvPr id="17" name="文本框 16">
              <a:extLst>
                <a:ext uri="{FF2B5EF4-FFF2-40B4-BE49-F238E27FC236}">
                  <a16:creationId xmlns:a16="http://schemas.microsoft.com/office/drawing/2014/main" id="{B804F6AA-7656-4EF8-84F0-3B3FB5CF0922}"/>
                </a:ext>
              </a:extLst>
            </p:cNvPr>
            <p:cNvSpPr txBox="1"/>
            <p:nvPr/>
          </p:nvSpPr>
          <p:spPr>
            <a:xfrm>
              <a:off x="4408487" y="4640913"/>
              <a:ext cx="1162178" cy="246221"/>
            </a:xfrm>
            <a:prstGeom prst="rect">
              <a:avLst/>
            </a:prstGeom>
            <a:noFill/>
          </p:spPr>
          <p:txBody>
            <a:bodyPr wrap="none" lIns="0" tIns="0" rIns="0" bIns="0" rtlCol="0" anchor="t">
              <a:spAutoFit/>
            </a:bodyPr>
            <a:lstStyle/>
            <a:p>
              <a:r>
                <a:rPr lang="zh-CN" altLang="en-US" sz="1600" dirty="0">
                  <a:solidFill>
                    <a:schemeClr val="accent1">
                      <a:lumMod val="100000"/>
                    </a:schemeClr>
                  </a:solidFill>
                  <a:latin typeface="+mn-ea"/>
                </a:rPr>
                <a:t>汇报人：</a:t>
              </a:r>
              <a:r>
                <a:rPr lang="en-US" altLang="zh-CN" sz="1600" dirty="0">
                  <a:solidFill>
                    <a:schemeClr val="accent1">
                      <a:lumMod val="100000"/>
                    </a:schemeClr>
                  </a:solidFill>
                  <a:latin typeface="+mn-ea"/>
                </a:rPr>
                <a:t>xxx</a:t>
              </a:r>
              <a:endParaRPr lang="zh-CN" altLang="en-US" sz="1600" dirty="0">
                <a:solidFill>
                  <a:schemeClr val="accent1">
                    <a:lumMod val="100000"/>
                  </a:schemeClr>
                </a:solidFill>
                <a:latin typeface="+mn-ea"/>
              </a:endParaRPr>
            </a:p>
          </p:txBody>
        </p:sp>
      </p:grpSp>
      <p:grpSp>
        <p:nvGrpSpPr>
          <p:cNvPr id="19" name="组合 18">
            <a:extLst>
              <a:ext uri="{FF2B5EF4-FFF2-40B4-BE49-F238E27FC236}">
                <a16:creationId xmlns:a16="http://schemas.microsoft.com/office/drawing/2014/main" id="{482B1619-178E-45D1-BC39-C5F4314075B6}"/>
              </a:ext>
            </a:extLst>
          </p:cNvPr>
          <p:cNvGrpSpPr/>
          <p:nvPr/>
        </p:nvGrpSpPr>
        <p:grpSpPr>
          <a:xfrm>
            <a:off x="6590270" y="4336256"/>
            <a:ext cx="1270029" cy="246221"/>
            <a:chOff x="4095451" y="4640913"/>
            <a:chExt cx="1270029" cy="246221"/>
          </a:xfrm>
        </p:grpSpPr>
        <p:sp>
          <p:nvSpPr>
            <p:cNvPr id="20" name="矩形 19">
              <a:extLst>
                <a:ext uri="{FF2B5EF4-FFF2-40B4-BE49-F238E27FC236}">
                  <a16:creationId xmlns:a16="http://schemas.microsoft.com/office/drawing/2014/main" id="{3A1AE345-38CE-49BE-9E58-2C20078777A3}"/>
                </a:ext>
              </a:extLst>
            </p:cNvPr>
            <p:cNvSpPr/>
            <p:nvPr/>
          </p:nvSpPr>
          <p:spPr>
            <a:xfrm>
              <a:off x="4095451" y="4672584"/>
              <a:ext cx="164592" cy="164592"/>
            </a:xfrm>
            <a:prstGeom prst="rect">
              <a:avLst/>
            </a:prstGeom>
            <a:solidFill>
              <a:schemeClr val="accent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p>
          </p:txBody>
        </p:sp>
        <p:sp>
          <p:nvSpPr>
            <p:cNvPr id="21" name="文本框 20">
              <a:extLst>
                <a:ext uri="{FF2B5EF4-FFF2-40B4-BE49-F238E27FC236}">
                  <a16:creationId xmlns:a16="http://schemas.microsoft.com/office/drawing/2014/main" id="{FCC3031D-C171-43E7-B549-82FC96054817}"/>
                </a:ext>
              </a:extLst>
            </p:cNvPr>
            <p:cNvSpPr txBox="1"/>
            <p:nvPr/>
          </p:nvSpPr>
          <p:spPr>
            <a:xfrm>
              <a:off x="4408487" y="4640913"/>
              <a:ext cx="956993" cy="246221"/>
            </a:xfrm>
            <a:prstGeom prst="rect">
              <a:avLst/>
            </a:prstGeom>
            <a:noFill/>
          </p:spPr>
          <p:txBody>
            <a:bodyPr wrap="none" lIns="0" tIns="0" rIns="0" bIns="0" rtlCol="0" anchor="t">
              <a:spAutoFit/>
            </a:bodyPr>
            <a:lstStyle/>
            <a:p>
              <a:r>
                <a:rPr lang="zh-CN" altLang="en-US" sz="1600" dirty="0">
                  <a:solidFill>
                    <a:schemeClr val="accent1">
                      <a:lumMod val="100000"/>
                    </a:schemeClr>
                  </a:solidFill>
                  <a:latin typeface="+mn-ea"/>
                </a:rPr>
                <a:t>单位：</a:t>
              </a:r>
              <a:r>
                <a:rPr lang="en-US" altLang="zh-CN" sz="1600" dirty="0">
                  <a:solidFill>
                    <a:schemeClr val="accent1">
                      <a:lumMod val="100000"/>
                    </a:schemeClr>
                  </a:solidFill>
                  <a:latin typeface="+mn-ea"/>
                </a:rPr>
                <a:t>xxx</a:t>
              </a:r>
              <a:endParaRPr lang="zh-CN" altLang="en-US" sz="1600" dirty="0">
                <a:solidFill>
                  <a:schemeClr val="accent1">
                    <a:lumMod val="100000"/>
                  </a:schemeClr>
                </a:solidFill>
                <a:latin typeface="+mn-ea"/>
              </a:endParaRPr>
            </a:p>
          </p:txBody>
        </p:sp>
      </p:grpSp>
      <p:cxnSp>
        <p:nvCxnSpPr>
          <p:cNvPr id="13" name="直接连接符 12">
            <a:extLst>
              <a:ext uri="{FF2B5EF4-FFF2-40B4-BE49-F238E27FC236}">
                <a16:creationId xmlns:a16="http://schemas.microsoft.com/office/drawing/2014/main" id="{EE069617-9A4C-4041-858D-2D3DE3F35FA4}"/>
              </a:ext>
            </a:extLst>
          </p:cNvPr>
          <p:cNvCxnSpPr>
            <a:cxnSpLocks/>
          </p:cNvCxnSpPr>
          <p:nvPr/>
        </p:nvCxnSpPr>
        <p:spPr>
          <a:xfrm flipH="1">
            <a:off x="2029968" y="4018002"/>
            <a:ext cx="8156448" cy="0"/>
          </a:xfrm>
          <a:prstGeom prst="line">
            <a:avLst/>
          </a:prstGeom>
          <a:ln w="19050">
            <a:solidFill>
              <a:schemeClr val="accent1">
                <a:lumMod val="10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63359381"/>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任意多边形: 形状 24">
            <a:extLst>
              <a:ext uri="{FF2B5EF4-FFF2-40B4-BE49-F238E27FC236}">
                <a16:creationId xmlns:a16="http://schemas.microsoft.com/office/drawing/2014/main" id="{524D6529-65D8-40C3-A574-410A67BD905C}"/>
              </a:ext>
            </a:extLst>
          </p:cNvPr>
          <p:cNvSpPr/>
          <p:nvPr/>
        </p:nvSpPr>
        <p:spPr>
          <a:xfrm rot="11334891">
            <a:off x="2095202" y="756709"/>
            <a:ext cx="8143875" cy="5019675"/>
          </a:xfrm>
          <a:custGeom>
            <a:avLst/>
            <a:gdLst>
              <a:gd name="connsiteX0" fmla="*/ 329526 w 6490449"/>
              <a:gd name="connsiteY0" fmla="*/ 1075210 h 3964297"/>
              <a:gd name="connsiteX1" fmla="*/ 2221826 w 6490449"/>
              <a:gd name="connsiteY1" fmla="*/ 21110 h 3964297"/>
              <a:gd name="connsiteX2" fmla="*/ 5815926 w 6490449"/>
              <a:gd name="connsiteY2" fmla="*/ 529110 h 3964297"/>
              <a:gd name="connsiteX3" fmla="*/ 6336626 w 6490449"/>
              <a:gd name="connsiteY3" fmla="*/ 2357910 h 3964297"/>
              <a:gd name="connsiteX4" fmla="*/ 3974426 w 6490449"/>
              <a:gd name="connsiteY4" fmla="*/ 3958110 h 3964297"/>
              <a:gd name="connsiteX5" fmla="*/ 367626 w 6490449"/>
              <a:gd name="connsiteY5" fmla="*/ 2840510 h 3964297"/>
              <a:gd name="connsiteX6" fmla="*/ 329526 w 6490449"/>
              <a:gd name="connsiteY6" fmla="*/ 1075210 h 39642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90449" h="3964297">
                <a:moveTo>
                  <a:pt x="329526" y="1075210"/>
                </a:moveTo>
                <a:cubicBezTo>
                  <a:pt x="638559" y="605310"/>
                  <a:pt x="1307426" y="112127"/>
                  <a:pt x="2221826" y="21110"/>
                </a:cubicBezTo>
                <a:cubicBezTo>
                  <a:pt x="3136226" y="-69907"/>
                  <a:pt x="5130126" y="139643"/>
                  <a:pt x="5815926" y="529110"/>
                </a:cubicBezTo>
                <a:cubicBezTo>
                  <a:pt x="6501726" y="918577"/>
                  <a:pt x="6643543" y="1786410"/>
                  <a:pt x="6336626" y="2357910"/>
                </a:cubicBezTo>
                <a:cubicBezTo>
                  <a:pt x="6029709" y="2929410"/>
                  <a:pt x="4969259" y="3877677"/>
                  <a:pt x="3974426" y="3958110"/>
                </a:cubicBezTo>
                <a:cubicBezTo>
                  <a:pt x="2979593" y="4038543"/>
                  <a:pt x="975109" y="3316760"/>
                  <a:pt x="367626" y="2840510"/>
                </a:cubicBezTo>
                <a:cubicBezTo>
                  <a:pt x="-239857" y="2364260"/>
                  <a:pt x="20493" y="1545110"/>
                  <a:pt x="329526" y="1075210"/>
                </a:cubicBezTo>
                <a:close/>
              </a:path>
            </a:pathLst>
          </a:custGeom>
          <a:solidFill>
            <a:schemeClr val="accent1">
              <a:lumMod val="75000"/>
              <a:lumOff val="25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p>
        </p:txBody>
      </p:sp>
      <p:sp>
        <p:nvSpPr>
          <p:cNvPr id="22" name="任意多边形: 形状 21">
            <a:extLst>
              <a:ext uri="{FF2B5EF4-FFF2-40B4-BE49-F238E27FC236}">
                <a16:creationId xmlns:a16="http://schemas.microsoft.com/office/drawing/2014/main" id="{AB563749-29C0-4828-98B1-F41449CCED85}"/>
              </a:ext>
            </a:extLst>
          </p:cNvPr>
          <p:cNvSpPr/>
          <p:nvPr/>
        </p:nvSpPr>
        <p:spPr>
          <a:xfrm rot="21263566">
            <a:off x="1981200" y="971550"/>
            <a:ext cx="8143875" cy="5019675"/>
          </a:xfrm>
          <a:custGeom>
            <a:avLst/>
            <a:gdLst>
              <a:gd name="connsiteX0" fmla="*/ 329526 w 6490449"/>
              <a:gd name="connsiteY0" fmla="*/ 1075210 h 3964297"/>
              <a:gd name="connsiteX1" fmla="*/ 2221826 w 6490449"/>
              <a:gd name="connsiteY1" fmla="*/ 21110 h 3964297"/>
              <a:gd name="connsiteX2" fmla="*/ 5815926 w 6490449"/>
              <a:gd name="connsiteY2" fmla="*/ 529110 h 3964297"/>
              <a:gd name="connsiteX3" fmla="*/ 6336626 w 6490449"/>
              <a:gd name="connsiteY3" fmla="*/ 2357910 h 3964297"/>
              <a:gd name="connsiteX4" fmla="*/ 3974426 w 6490449"/>
              <a:gd name="connsiteY4" fmla="*/ 3958110 h 3964297"/>
              <a:gd name="connsiteX5" fmla="*/ 367626 w 6490449"/>
              <a:gd name="connsiteY5" fmla="*/ 2840510 h 3964297"/>
              <a:gd name="connsiteX6" fmla="*/ 329526 w 6490449"/>
              <a:gd name="connsiteY6" fmla="*/ 1075210 h 39642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90449" h="3964297">
                <a:moveTo>
                  <a:pt x="329526" y="1075210"/>
                </a:moveTo>
                <a:cubicBezTo>
                  <a:pt x="638559" y="605310"/>
                  <a:pt x="1307426" y="112127"/>
                  <a:pt x="2221826" y="21110"/>
                </a:cubicBezTo>
                <a:cubicBezTo>
                  <a:pt x="3136226" y="-69907"/>
                  <a:pt x="5130126" y="139643"/>
                  <a:pt x="5815926" y="529110"/>
                </a:cubicBezTo>
                <a:cubicBezTo>
                  <a:pt x="6501726" y="918577"/>
                  <a:pt x="6643543" y="1786410"/>
                  <a:pt x="6336626" y="2357910"/>
                </a:cubicBezTo>
                <a:cubicBezTo>
                  <a:pt x="6029709" y="2929410"/>
                  <a:pt x="4969259" y="3877677"/>
                  <a:pt x="3974426" y="3958110"/>
                </a:cubicBezTo>
                <a:cubicBezTo>
                  <a:pt x="2979593" y="4038543"/>
                  <a:pt x="975109" y="3316760"/>
                  <a:pt x="367626" y="2840510"/>
                </a:cubicBezTo>
                <a:cubicBezTo>
                  <a:pt x="-239857" y="2364260"/>
                  <a:pt x="20493" y="1545110"/>
                  <a:pt x="329526" y="1075210"/>
                </a:cubicBezTo>
                <a:close/>
              </a:path>
            </a:pathLst>
          </a:cu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p>
        </p:txBody>
      </p:sp>
      <p:sp>
        <p:nvSpPr>
          <p:cNvPr id="3" name="任意多边形: 形状 2">
            <a:extLst>
              <a:ext uri="{FF2B5EF4-FFF2-40B4-BE49-F238E27FC236}">
                <a16:creationId xmlns:a16="http://schemas.microsoft.com/office/drawing/2014/main" id="{3F49E4DF-A195-4852-83BD-A2C451FE5103}"/>
              </a:ext>
            </a:extLst>
          </p:cNvPr>
          <p:cNvSpPr/>
          <p:nvPr/>
        </p:nvSpPr>
        <p:spPr>
          <a:xfrm>
            <a:off x="2175895" y="1076665"/>
            <a:ext cx="7702608" cy="4704670"/>
          </a:xfrm>
          <a:custGeom>
            <a:avLst/>
            <a:gdLst>
              <a:gd name="connsiteX0" fmla="*/ 329526 w 6490449"/>
              <a:gd name="connsiteY0" fmla="*/ 1075210 h 3964297"/>
              <a:gd name="connsiteX1" fmla="*/ 2221826 w 6490449"/>
              <a:gd name="connsiteY1" fmla="*/ 21110 h 3964297"/>
              <a:gd name="connsiteX2" fmla="*/ 5815926 w 6490449"/>
              <a:gd name="connsiteY2" fmla="*/ 529110 h 3964297"/>
              <a:gd name="connsiteX3" fmla="*/ 6336626 w 6490449"/>
              <a:gd name="connsiteY3" fmla="*/ 2357910 h 3964297"/>
              <a:gd name="connsiteX4" fmla="*/ 3974426 w 6490449"/>
              <a:gd name="connsiteY4" fmla="*/ 3958110 h 3964297"/>
              <a:gd name="connsiteX5" fmla="*/ 367626 w 6490449"/>
              <a:gd name="connsiteY5" fmla="*/ 2840510 h 3964297"/>
              <a:gd name="connsiteX6" fmla="*/ 329526 w 6490449"/>
              <a:gd name="connsiteY6" fmla="*/ 1075210 h 39642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90449" h="3964297">
                <a:moveTo>
                  <a:pt x="329526" y="1075210"/>
                </a:moveTo>
                <a:cubicBezTo>
                  <a:pt x="638559" y="605310"/>
                  <a:pt x="1307426" y="112127"/>
                  <a:pt x="2221826" y="21110"/>
                </a:cubicBezTo>
                <a:cubicBezTo>
                  <a:pt x="3136226" y="-69907"/>
                  <a:pt x="5130126" y="139643"/>
                  <a:pt x="5815926" y="529110"/>
                </a:cubicBezTo>
                <a:cubicBezTo>
                  <a:pt x="6501726" y="918577"/>
                  <a:pt x="6643543" y="1786410"/>
                  <a:pt x="6336626" y="2357910"/>
                </a:cubicBezTo>
                <a:cubicBezTo>
                  <a:pt x="6029709" y="2929410"/>
                  <a:pt x="4969259" y="3877677"/>
                  <a:pt x="3974426" y="3958110"/>
                </a:cubicBezTo>
                <a:cubicBezTo>
                  <a:pt x="2979593" y="4038543"/>
                  <a:pt x="975109" y="3316760"/>
                  <a:pt x="367626" y="2840510"/>
                </a:cubicBezTo>
                <a:cubicBezTo>
                  <a:pt x="-239857" y="2364260"/>
                  <a:pt x="20493" y="1545110"/>
                  <a:pt x="329526" y="107521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p>
        </p:txBody>
      </p:sp>
      <p:grpSp>
        <p:nvGrpSpPr>
          <p:cNvPr id="5" name="组合 4">
            <a:extLst>
              <a:ext uri="{FF2B5EF4-FFF2-40B4-BE49-F238E27FC236}">
                <a16:creationId xmlns:a16="http://schemas.microsoft.com/office/drawing/2014/main" id="{6B6A3566-548E-4FC4-A024-02D1E90CEB48}"/>
              </a:ext>
            </a:extLst>
          </p:cNvPr>
          <p:cNvGrpSpPr/>
          <p:nvPr/>
        </p:nvGrpSpPr>
        <p:grpSpPr>
          <a:xfrm>
            <a:off x="2898869" y="2529444"/>
            <a:ext cx="6413437" cy="1736685"/>
            <a:chOff x="2029968" y="2290144"/>
            <a:chExt cx="8156448" cy="2208674"/>
          </a:xfrm>
        </p:grpSpPr>
        <p:sp>
          <p:nvSpPr>
            <p:cNvPr id="11" name="文本框 10">
              <a:extLst>
                <a:ext uri="{FF2B5EF4-FFF2-40B4-BE49-F238E27FC236}">
                  <a16:creationId xmlns:a16="http://schemas.microsoft.com/office/drawing/2014/main" id="{E4393356-E9A7-46D9-B5F5-0D21EC991A29}"/>
                </a:ext>
              </a:extLst>
            </p:cNvPr>
            <p:cNvSpPr txBox="1"/>
            <p:nvPr/>
          </p:nvSpPr>
          <p:spPr>
            <a:xfrm>
              <a:off x="2132847" y="2828068"/>
              <a:ext cx="7926305" cy="1056842"/>
            </a:xfrm>
            <a:prstGeom prst="rect">
              <a:avLst/>
            </a:prstGeom>
            <a:noFill/>
          </p:spPr>
          <p:txBody>
            <a:bodyPr wrap="none" lIns="0" tIns="0" rIns="0" bIns="0" rtlCol="0" anchor="t">
              <a:spAutoFit/>
            </a:bodyPr>
            <a:lstStyle/>
            <a:p>
              <a:pPr algn="ctr"/>
              <a:r>
                <a:rPr lang="zh-CN" altLang="en-US" sz="5400" dirty="0">
                  <a:solidFill>
                    <a:schemeClr val="bg1"/>
                  </a:solidFill>
                  <a:latin typeface="+mj-ea"/>
                  <a:ea typeface="+mj-ea"/>
                </a:rPr>
                <a:t>输入你的封面大标题</a:t>
              </a:r>
            </a:p>
          </p:txBody>
        </p:sp>
        <p:sp>
          <p:nvSpPr>
            <p:cNvPr id="12" name="文本框 11">
              <a:extLst>
                <a:ext uri="{FF2B5EF4-FFF2-40B4-BE49-F238E27FC236}">
                  <a16:creationId xmlns:a16="http://schemas.microsoft.com/office/drawing/2014/main" id="{08D1ED60-C0E7-408E-A5AA-59B489440FCB}"/>
                </a:ext>
              </a:extLst>
            </p:cNvPr>
            <p:cNvSpPr txBox="1"/>
            <p:nvPr/>
          </p:nvSpPr>
          <p:spPr>
            <a:xfrm>
              <a:off x="4187814" y="2290144"/>
              <a:ext cx="3816369" cy="352281"/>
            </a:xfrm>
            <a:prstGeom prst="rect">
              <a:avLst/>
            </a:prstGeom>
            <a:noFill/>
          </p:spPr>
          <p:txBody>
            <a:bodyPr wrap="none" lIns="0" tIns="0" rIns="0" bIns="0" rtlCol="0" anchor="t">
              <a:spAutoFit/>
            </a:bodyPr>
            <a:lstStyle/>
            <a:p>
              <a:pPr algn="ctr"/>
              <a:r>
                <a:rPr lang="zh-CN" altLang="en-US" dirty="0">
                  <a:solidFill>
                    <a:schemeClr val="bg1"/>
                  </a:solidFill>
                  <a:latin typeface="+mn-ea"/>
                </a:rPr>
                <a:t>输入你的副标题或大标题英文</a:t>
              </a:r>
            </a:p>
          </p:txBody>
        </p:sp>
        <p:cxnSp>
          <p:nvCxnSpPr>
            <p:cNvPr id="14" name="直接连接符 13">
              <a:extLst>
                <a:ext uri="{FF2B5EF4-FFF2-40B4-BE49-F238E27FC236}">
                  <a16:creationId xmlns:a16="http://schemas.microsoft.com/office/drawing/2014/main" id="{99FDF5DC-EAFA-4C3B-B052-660243EB047F}"/>
                </a:ext>
              </a:extLst>
            </p:cNvPr>
            <p:cNvCxnSpPr/>
            <p:nvPr/>
          </p:nvCxnSpPr>
          <p:spPr>
            <a:xfrm flipH="1">
              <a:off x="2029968" y="2480596"/>
              <a:ext cx="1901952"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 name="直接连接符 14">
              <a:extLst>
                <a:ext uri="{FF2B5EF4-FFF2-40B4-BE49-F238E27FC236}">
                  <a16:creationId xmlns:a16="http://schemas.microsoft.com/office/drawing/2014/main" id="{C6CC629A-E754-4728-BB95-563C56597B63}"/>
                </a:ext>
              </a:extLst>
            </p:cNvPr>
            <p:cNvCxnSpPr/>
            <p:nvPr/>
          </p:nvCxnSpPr>
          <p:spPr>
            <a:xfrm flipH="1">
              <a:off x="8284464" y="2480596"/>
              <a:ext cx="1901952"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grpSp>
          <p:nvGrpSpPr>
            <p:cNvPr id="18" name="组合 17">
              <a:extLst>
                <a:ext uri="{FF2B5EF4-FFF2-40B4-BE49-F238E27FC236}">
                  <a16:creationId xmlns:a16="http://schemas.microsoft.com/office/drawing/2014/main" id="{FC799265-AC15-410F-82A2-679AB60B288F}"/>
                </a:ext>
              </a:extLst>
            </p:cNvPr>
            <p:cNvGrpSpPr/>
            <p:nvPr/>
          </p:nvGrpSpPr>
          <p:grpSpPr>
            <a:xfrm>
              <a:off x="4331702" y="4283535"/>
              <a:ext cx="1330327" cy="215283"/>
              <a:chOff x="4095451" y="4640913"/>
              <a:chExt cx="1330327" cy="215283"/>
            </a:xfrm>
          </p:grpSpPr>
          <p:sp>
            <p:nvSpPr>
              <p:cNvPr id="16" name="矩形 15">
                <a:extLst>
                  <a:ext uri="{FF2B5EF4-FFF2-40B4-BE49-F238E27FC236}">
                    <a16:creationId xmlns:a16="http://schemas.microsoft.com/office/drawing/2014/main" id="{74C493E7-1B47-4349-BC5B-BF3163490795}"/>
                  </a:ext>
                </a:extLst>
              </p:cNvPr>
              <p:cNvSpPr/>
              <p:nvPr/>
            </p:nvSpPr>
            <p:spPr>
              <a:xfrm>
                <a:off x="4095451" y="4672584"/>
                <a:ext cx="164592" cy="1645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4400" dirty="0">
                  <a:solidFill>
                    <a:schemeClr val="bg1"/>
                  </a:solidFill>
                </a:endParaRPr>
              </a:p>
            </p:txBody>
          </p:sp>
          <p:sp>
            <p:nvSpPr>
              <p:cNvPr id="17" name="文本框 16">
                <a:extLst>
                  <a:ext uri="{FF2B5EF4-FFF2-40B4-BE49-F238E27FC236}">
                    <a16:creationId xmlns:a16="http://schemas.microsoft.com/office/drawing/2014/main" id="{B804F6AA-7656-4EF8-84F0-3B3FB5CF0922}"/>
                  </a:ext>
                </a:extLst>
              </p:cNvPr>
              <p:cNvSpPr txBox="1"/>
              <p:nvPr/>
            </p:nvSpPr>
            <p:spPr>
              <a:xfrm>
                <a:off x="4408487" y="4640913"/>
                <a:ext cx="1017291" cy="215283"/>
              </a:xfrm>
              <a:prstGeom prst="rect">
                <a:avLst/>
              </a:prstGeom>
              <a:noFill/>
            </p:spPr>
            <p:txBody>
              <a:bodyPr wrap="none" lIns="0" tIns="0" rIns="0" bIns="0" rtlCol="0" anchor="t">
                <a:spAutoFit/>
              </a:bodyPr>
              <a:lstStyle/>
              <a:p>
                <a:r>
                  <a:rPr lang="zh-CN" altLang="en-US" sz="1100" dirty="0">
                    <a:solidFill>
                      <a:schemeClr val="bg1"/>
                    </a:solidFill>
                    <a:latin typeface="+mn-ea"/>
                  </a:rPr>
                  <a:t>汇报人：</a:t>
                </a:r>
                <a:r>
                  <a:rPr lang="en-US" altLang="zh-CN" sz="1100" dirty="0">
                    <a:solidFill>
                      <a:schemeClr val="bg1"/>
                    </a:solidFill>
                    <a:latin typeface="+mn-ea"/>
                  </a:rPr>
                  <a:t>xxx</a:t>
                </a:r>
                <a:endParaRPr lang="zh-CN" altLang="en-US" sz="1100" dirty="0">
                  <a:solidFill>
                    <a:schemeClr val="bg1"/>
                  </a:solidFill>
                  <a:latin typeface="+mn-ea"/>
                </a:endParaRPr>
              </a:p>
            </p:txBody>
          </p:sp>
        </p:grpSp>
        <p:grpSp>
          <p:nvGrpSpPr>
            <p:cNvPr id="19" name="组合 18">
              <a:extLst>
                <a:ext uri="{FF2B5EF4-FFF2-40B4-BE49-F238E27FC236}">
                  <a16:creationId xmlns:a16="http://schemas.microsoft.com/office/drawing/2014/main" id="{482B1619-178E-45D1-BC39-C5F4314075B6}"/>
                </a:ext>
              </a:extLst>
            </p:cNvPr>
            <p:cNvGrpSpPr/>
            <p:nvPr/>
          </p:nvGrpSpPr>
          <p:grpSpPr>
            <a:xfrm>
              <a:off x="6590270" y="4283535"/>
              <a:ext cx="1150926" cy="215283"/>
              <a:chOff x="4095451" y="4640913"/>
              <a:chExt cx="1150926" cy="215283"/>
            </a:xfrm>
          </p:grpSpPr>
          <p:sp>
            <p:nvSpPr>
              <p:cNvPr id="20" name="矩形 19">
                <a:extLst>
                  <a:ext uri="{FF2B5EF4-FFF2-40B4-BE49-F238E27FC236}">
                    <a16:creationId xmlns:a16="http://schemas.microsoft.com/office/drawing/2014/main" id="{3A1AE345-38CE-49BE-9E58-2C20078777A3}"/>
                  </a:ext>
                </a:extLst>
              </p:cNvPr>
              <p:cNvSpPr/>
              <p:nvPr/>
            </p:nvSpPr>
            <p:spPr>
              <a:xfrm>
                <a:off x="4095451" y="4672584"/>
                <a:ext cx="164592" cy="1645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4400" dirty="0">
                  <a:solidFill>
                    <a:schemeClr val="bg1"/>
                  </a:solidFill>
                </a:endParaRPr>
              </a:p>
            </p:txBody>
          </p:sp>
          <p:sp>
            <p:nvSpPr>
              <p:cNvPr id="21" name="文本框 20">
                <a:extLst>
                  <a:ext uri="{FF2B5EF4-FFF2-40B4-BE49-F238E27FC236}">
                    <a16:creationId xmlns:a16="http://schemas.microsoft.com/office/drawing/2014/main" id="{FCC3031D-C171-43E7-B549-82FC96054817}"/>
                  </a:ext>
                </a:extLst>
              </p:cNvPr>
              <p:cNvSpPr txBox="1"/>
              <p:nvPr/>
            </p:nvSpPr>
            <p:spPr>
              <a:xfrm>
                <a:off x="4408487" y="4640913"/>
                <a:ext cx="837890" cy="215283"/>
              </a:xfrm>
              <a:prstGeom prst="rect">
                <a:avLst/>
              </a:prstGeom>
              <a:noFill/>
            </p:spPr>
            <p:txBody>
              <a:bodyPr wrap="none" lIns="0" tIns="0" rIns="0" bIns="0" rtlCol="0" anchor="t">
                <a:spAutoFit/>
              </a:bodyPr>
              <a:lstStyle/>
              <a:p>
                <a:r>
                  <a:rPr lang="zh-CN" altLang="en-US" sz="1100" dirty="0">
                    <a:solidFill>
                      <a:schemeClr val="bg1"/>
                    </a:solidFill>
                    <a:latin typeface="+mn-ea"/>
                  </a:rPr>
                  <a:t>单位：</a:t>
                </a:r>
                <a:r>
                  <a:rPr lang="en-US" altLang="zh-CN" sz="1100" dirty="0">
                    <a:solidFill>
                      <a:schemeClr val="bg1"/>
                    </a:solidFill>
                    <a:latin typeface="+mn-ea"/>
                  </a:rPr>
                  <a:t>xxx</a:t>
                </a:r>
                <a:endParaRPr lang="zh-CN" altLang="en-US" sz="1100" dirty="0">
                  <a:solidFill>
                    <a:schemeClr val="bg1"/>
                  </a:solidFill>
                  <a:latin typeface="+mn-ea"/>
                </a:endParaRPr>
              </a:p>
            </p:txBody>
          </p:sp>
        </p:grpSp>
        <p:cxnSp>
          <p:nvCxnSpPr>
            <p:cNvPr id="23" name="直接连接符 22">
              <a:extLst>
                <a:ext uri="{FF2B5EF4-FFF2-40B4-BE49-F238E27FC236}">
                  <a16:creationId xmlns:a16="http://schemas.microsoft.com/office/drawing/2014/main" id="{CE4614EF-B88F-4347-B526-58ECE7F96194}"/>
                </a:ext>
              </a:extLst>
            </p:cNvPr>
            <p:cNvCxnSpPr>
              <a:cxnSpLocks/>
            </p:cNvCxnSpPr>
            <p:nvPr/>
          </p:nvCxnSpPr>
          <p:spPr>
            <a:xfrm flipH="1">
              <a:off x="2029968" y="4004596"/>
              <a:ext cx="8156448"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7" name="椭圆 6">
            <a:extLst>
              <a:ext uri="{FF2B5EF4-FFF2-40B4-BE49-F238E27FC236}">
                <a16:creationId xmlns:a16="http://schemas.microsoft.com/office/drawing/2014/main" id="{79F59976-0B44-4373-A5B8-03E227AEC9B8}"/>
              </a:ext>
            </a:extLst>
          </p:cNvPr>
          <p:cNvSpPr/>
          <p:nvPr/>
        </p:nvSpPr>
        <p:spPr>
          <a:xfrm>
            <a:off x="2116323" y="1781175"/>
            <a:ext cx="200025" cy="200025"/>
          </a:xfrm>
          <a:prstGeom prst="ellipse">
            <a:avLst/>
          </a:prstGeom>
          <a:solidFill>
            <a:schemeClr val="accent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p>
        </p:txBody>
      </p:sp>
      <p:sp>
        <p:nvSpPr>
          <p:cNvPr id="27" name="椭圆 26">
            <a:extLst>
              <a:ext uri="{FF2B5EF4-FFF2-40B4-BE49-F238E27FC236}">
                <a16:creationId xmlns:a16="http://schemas.microsoft.com/office/drawing/2014/main" id="{9968A3B9-37FC-4496-B7BD-78FE1705FACA}"/>
              </a:ext>
            </a:extLst>
          </p:cNvPr>
          <p:cNvSpPr/>
          <p:nvPr/>
        </p:nvSpPr>
        <p:spPr>
          <a:xfrm>
            <a:off x="10153221" y="4457700"/>
            <a:ext cx="133350" cy="133350"/>
          </a:xfrm>
          <a:prstGeom prst="ellipse">
            <a:avLst/>
          </a:prstGeom>
          <a:solidFill>
            <a:schemeClr val="accent1">
              <a:lumMod val="75000"/>
              <a:lumOff val="2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p>
        </p:txBody>
      </p:sp>
      <p:sp>
        <p:nvSpPr>
          <p:cNvPr id="28" name="椭圆 27">
            <a:extLst>
              <a:ext uri="{FF2B5EF4-FFF2-40B4-BE49-F238E27FC236}">
                <a16:creationId xmlns:a16="http://schemas.microsoft.com/office/drawing/2014/main" id="{511F6803-1DC5-467A-A7BC-608950564648}"/>
              </a:ext>
            </a:extLst>
          </p:cNvPr>
          <p:cNvSpPr/>
          <p:nvPr/>
        </p:nvSpPr>
        <p:spPr>
          <a:xfrm>
            <a:off x="3530950" y="5570921"/>
            <a:ext cx="231348" cy="231348"/>
          </a:xfrm>
          <a:prstGeom prst="ellipse">
            <a:avLst/>
          </a:prstGeom>
          <a:solidFill>
            <a:schemeClr val="accent1">
              <a:lumMod val="75000"/>
              <a:lumOff val="25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p>
        </p:txBody>
      </p:sp>
      <p:sp>
        <p:nvSpPr>
          <p:cNvPr id="8" name="椭圆 7">
            <a:extLst>
              <a:ext uri="{FF2B5EF4-FFF2-40B4-BE49-F238E27FC236}">
                <a16:creationId xmlns:a16="http://schemas.microsoft.com/office/drawing/2014/main" id="{FCADC8E1-FE11-49EC-8C67-C8403E3987DB}"/>
              </a:ext>
            </a:extLst>
          </p:cNvPr>
          <p:cNvSpPr/>
          <p:nvPr/>
        </p:nvSpPr>
        <p:spPr>
          <a:xfrm>
            <a:off x="11480800" y="-711200"/>
            <a:ext cx="1422400" cy="1422400"/>
          </a:xfrm>
          <a:prstGeom prst="ellipse">
            <a:avLst/>
          </a:prstGeom>
          <a:gradFill>
            <a:gsLst>
              <a:gs pos="0">
                <a:schemeClr val="bg1">
                  <a:lumMod val="50000"/>
                  <a:alpha val="0"/>
                </a:schemeClr>
              </a:gs>
              <a:gs pos="100000">
                <a:schemeClr val="bg1">
                  <a:lumMod val="50000"/>
                  <a:alpha val="64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p>
        </p:txBody>
      </p:sp>
      <p:sp>
        <p:nvSpPr>
          <p:cNvPr id="9" name="任意多边形: 形状 8">
            <a:extLst>
              <a:ext uri="{FF2B5EF4-FFF2-40B4-BE49-F238E27FC236}">
                <a16:creationId xmlns:a16="http://schemas.microsoft.com/office/drawing/2014/main" id="{CDFEABCB-2C1A-4A1D-9A2D-33C0CC2DA79F}"/>
              </a:ext>
            </a:extLst>
          </p:cNvPr>
          <p:cNvSpPr/>
          <p:nvPr/>
        </p:nvSpPr>
        <p:spPr>
          <a:xfrm>
            <a:off x="-692949" y="5939549"/>
            <a:ext cx="2800780" cy="1635598"/>
          </a:xfrm>
          <a:custGeom>
            <a:avLst/>
            <a:gdLst>
              <a:gd name="connsiteX0" fmla="*/ 83349 w 2800780"/>
              <a:gd name="connsiteY0" fmla="*/ 308851 h 1635598"/>
              <a:gd name="connsiteX1" fmla="*/ 1162849 w 2800780"/>
              <a:gd name="connsiteY1" fmla="*/ 4051 h 1635598"/>
              <a:gd name="connsiteX2" fmla="*/ 1797849 w 2800780"/>
              <a:gd name="connsiteY2" fmla="*/ 461251 h 1635598"/>
              <a:gd name="connsiteX3" fmla="*/ 2750349 w 2800780"/>
              <a:gd name="connsiteY3" fmla="*/ 639051 h 1635598"/>
              <a:gd name="connsiteX4" fmla="*/ 2420149 w 2800780"/>
              <a:gd name="connsiteY4" fmla="*/ 1566151 h 1635598"/>
              <a:gd name="connsiteX5" fmla="*/ 337349 w 2800780"/>
              <a:gd name="connsiteY5" fmla="*/ 1426451 h 1635598"/>
              <a:gd name="connsiteX6" fmla="*/ 83349 w 2800780"/>
              <a:gd name="connsiteY6" fmla="*/ 308851 h 16355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00780" h="1635598">
                <a:moveTo>
                  <a:pt x="83349" y="308851"/>
                </a:moveTo>
                <a:cubicBezTo>
                  <a:pt x="220932" y="71784"/>
                  <a:pt x="877099" y="-21349"/>
                  <a:pt x="1162849" y="4051"/>
                </a:cubicBezTo>
                <a:cubicBezTo>
                  <a:pt x="1448599" y="29451"/>
                  <a:pt x="1533266" y="355418"/>
                  <a:pt x="1797849" y="461251"/>
                </a:cubicBezTo>
                <a:cubicBezTo>
                  <a:pt x="2062432" y="567084"/>
                  <a:pt x="2646632" y="454901"/>
                  <a:pt x="2750349" y="639051"/>
                </a:cubicBezTo>
                <a:cubicBezTo>
                  <a:pt x="2854066" y="823201"/>
                  <a:pt x="2822316" y="1434918"/>
                  <a:pt x="2420149" y="1566151"/>
                </a:cubicBezTo>
                <a:cubicBezTo>
                  <a:pt x="2017982" y="1697384"/>
                  <a:pt x="728932" y="1638118"/>
                  <a:pt x="337349" y="1426451"/>
                </a:cubicBezTo>
                <a:cubicBezTo>
                  <a:pt x="-54234" y="1214784"/>
                  <a:pt x="-54234" y="545918"/>
                  <a:pt x="83349" y="308851"/>
                </a:cubicBezTo>
                <a:close/>
              </a:path>
            </a:pathLst>
          </a:custGeom>
          <a:gradFill>
            <a:gsLst>
              <a:gs pos="0">
                <a:schemeClr val="bg1">
                  <a:lumMod val="50000"/>
                  <a:alpha val="0"/>
                </a:schemeClr>
              </a:gs>
              <a:gs pos="100000">
                <a:schemeClr val="bg1">
                  <a:lumMod val="50000"/>
                  <a:alpha val="64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p>
        </p:txBody>
      </p:sp>
    </p:spTree>
    <p:extLst>
      <p:ext uri="{BB962C8B-B14F-4D97-AF65-F5344CB8AC3E}">
        <p14:creationId xmlns:p14="http://schemas.microsoft.com/office/powerpoint/2010/main" val="3755782556"/>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4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椭圆 2">
            <a:extLst>
              <a:ext uri="{FF2B5EF4-FFF2-40B4-BE49-F238E27FC236}">
                <a16:creationId xmlns:a16="http://schemas.microsoft.com/office/drawing/2014/main" id="{2DC5AD78-EB4D-4EAB-9094-CA03F3BB9D15}"/>
              </a:ext>
            </a:extLst>
          </p:cNvPr>
          <p:cNvSpPr/>
          <p:nvPr/>
        </p:nvSpPr>
        <p:spPr>
          <a:xfrm rot="21078555">
            <a:off x="1209301" y="2614045"/>
            <a:ext cx="9773398" cy="1666875"/>
          </a:xfrm>
          <a:prstGeom prst="ellipse">
            <a:avLst/>
          </a:prstGeom>
          <a:noFill/>
          <a:ln w="25400">
            <a:gradFill>
              <a:gsLst>
                <a:gs pos="38000">
                  <a:schemeClr val="accent1">
                    <a:alpha val="0"/>
                  </a:schemeClr>
                </a:gs>
                <a:gs pos="100000">
                  <a:schemeClr val="accent1"/>
                </a:gs>
              </a:gsLst>
              <a:lin ang="5400000" scaled="1"/>
            </a:gradFill>
          </a:ln>
          <a:scene3d>
            <a:camera prst="orthographicFront">
              <a:rot lat="19499998" lon="0" rev="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 name="椭圆 3">
            <a:extLst>
              <a:ext uri="{FF2B5EF4-FFF2-40B4-BE49-F238E27FC236}">
                <a16:creationId xmlns:a16="http://schemas.microsoft.com/office/drawing/2014/main" id="{7A6586A7-C9F3-4DAE-8710-91F9AC446C18}"/>
              </a:ext>
            </a:extLst>
          </p:cNvPr>
          <p:cNvSpPr/>
          <p:nvPr/>
        </p:nvSpPr>
        <p:spPr>
          <a:xfrm>
            <a:off x="2129243" y="4025744"/>
            <a:ext cx="727218" cy="727218"/>
          </a:xfrm>
          <a:prstGeom prst="ellipse">
            <a:avLst/>
          </a:pr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 name="文本框 7">
            <a:extLst>
              <a:ext uri="{FF2B5EF4-FFF2-40B4-BE49-F238E27FC236}">
                <a16:creationId xmlns:a16="http://schemas.microsoft.com/office/drawing/2014/main" id="{695524EE-873F-4DF5-A96F-B4D58D6F272F}"/>
              </a:ext>
            </a:extLst>
          </p:cNvPr>
          <p:cNvSpPr txBox="1"/>
          <p:nvPr/>
        </p:nvSpPr>
        <p:spPr>
          <a:xfrm>
            <a:off x="2086331" y="4189298"/>
            <a:ext cx="813043" cy="400110"/>
          </a:xfrm>
          <a:prstGeom prst="rect">
            <a:avLst/>
          </a:prstGeom>
          <a:noFill/>
        </p:spPr>
        <p:txBody>
          <a:bodyPr wrap="none" rtlCol="0">
            <a:spAutoFit/>
          </a:bodyPr>
          <a:lstStyle/>
          <a:p>
            <a:pPr algn="ctr"/>
            <a:r>
              <a:rPr lang="en-US" altLang="zh-CN" sz="2000" dirty="0">
                <a:solidFill>
                  <a:schemeClr val="bg1"/>
                </a:solidFill>
                <a:latin typeface="+mj-ea"/>
                <a:ea typeface="+mj-ea"/>
              </a:rPr>
              <a:t>2018</a:t>
            </a:r>
            <a:endParaRPr lang="zh-CN" altLang="en-US" sz="2000" dirty="0">
              <a:solidFill>
                <a:schemeClr val="bg1"/>
              </a:solidFill>
              <a:latin typeface="+mj-ea"/>
              <a:ea typeface="+mj-ea"/>
            </a:endParaRPr>
          </a:p>
        </p:txBody>
      </p:sp>
      <p:sp>
        <p:nvSpPr>
          <p:cNvPr id="10" name="文本框 9">
            <a:extLst>
              <a:ext uri="{FF2B5EF4-FFF2-40B4-BE49-F238E27FC236}">
                <a16:creationId xmlns:a16="http://schemas.microsoft.com/office/drawing/2014/main" id="{C5F99B26-B0D3-4C69-8F38-B7C5CAFF480F}"/>
              </a:ext>
            </a:extLst>
          </p:cNvPr>
          <p:cNvSpPr txBox="1"/>
          <p:nvPr/>
        </p:nvSpPr>
        <p:spPr>
          <a:xfrm>
            <a:off x="1374597" y="4918158"/>
            <a:ext cx="2236510" cy="400110"/>
          </a:xfrm>
          <a:prstGeom prst="rect">
            <a:avLst/>
          </a:prstGeom>
          <a:noFill/>
        </p:spPr>
        <p:txBody>
          <a:bodyPr wrap="none" rtlCol="0">
            <a:spAutoFit/>
          </a:bodyPr>
          <a:lstStyle/>
          <a:p>
            <a:pPr algn="ctr"/>
            <a:r>
              <a:rPr lang="zh-CN" altLang="en-US" sz="2000" dirty="0">
                <a:solidFill>
                  <a:schemeClr val="accent1"/>
                </a:solidFill>
                <a:latin typeface="+mj-ea"/>
                <a:ea typeface="+mj-ea"/>
              </a:rPr>
              <a:t>请在此处输入标题</a:t>
            </a:r>
          </a:p>
        </p:txBody>
      </p:sp>
      <p:sp>
        <p:nvSpPr>
          <p:cNvPr id="11" name="文本框 10">
            <a:extLst>
              <a:ext uri="{FF2B5EF4-FFF2-40B4-BE49-F238E27FC236}">
                <a16:creationId xmlns:a16="http://schemas.microsoft.com/office/drawing/2014/main" id="{8B31AFF5-E290-41D4-95B2-12FA57D1ADBE}"/>
              </a:ext>
            </a:extLst>
          </p:cNvPr>
          <p:cNvSpPr txBox="1"/>
          <p:nvPr/>
        </p:nvSpPr>
        <p:spPr>
          <a:xfrm>
            <a:off x="1374598" y="5302393"/>
            <a:ext cx="2236509" cy="646331"/>
          </a:xfrm>
          <a:prstGeom prst="rect">
            <a:avLst/>
          </a:prstGeom>
          <a:noFill/>
        </p:spPr>
        <p:txBody>
          <a:bodyPr wrap="square" rtlCol="0">
            <a:spAutoFit/>
          </a:bodyPr>
          <a:lstStyle/>
          <a:p>
            <a:pPr algn="just"/>
            <a:r>
              <a:rPr lang="en-US" altLang="zh-CN" sz="1200" dirty="0"/>
              <a:t>Lorem ipsum dolor sit amet, consectetur adipisicing elit, sed do eiusmod tempor</a:t>
            </a:r>
            <a:endParaRPr lang="zh-CN" altLang="en-US" sz="1200" dirty="0"/>
          </a:p>
        </p:txBody>
      </p:sp>
      <p:sp>
        <p:nvSpPr>
          <p:cNvPr id="6" name="椭圆 5">
            <a:extLst>
              <a:ext uri="{FF2B5EF4-FFF2-40B4-BE49-F238E27FC236}">
                <a16:creationId xmlns:a16="http://schemas.microsoft.com/office/drawing/2014/main" id="{77DBB598-78E1-4711-BF49-49840F3046F5}"/>
              </a:ext>
            </a:extLst>
          </p:cNvPr>
          <p:cNvSpPr/>
          <p:nvPr/>
        </p:nvSpPr>
        <p:spPr>
          <a:xfrm>
            <a:off x="6926303" y="3484335"/>
            <a:ext cx="727218" cy="727218"/>
          </a:xfrm>
          <a:prstGeom prst="ellipse">
            <a:avLst/>
          </a:pr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3" name="文本框 12">
            <a:extLst>
              <a:ext uri="{FF2B5EF4-FFF2-40B4-BE49-F238E27FC236}">
                <a16:creationId xmlns:a16="http://schemas.microsoft.com/office/drawing/2014/main" id="{A5202F44-B7B2-41A4-A54C-DE5A7B61EBE8}"/>
              </a:ext>
            </a:extLst>
          </p:cNvPr>
          <p:cNvSpPr txBox="1"/>
          <p:nvPr/>
        </p:nvSpPr>
        <p:spPr>
          <a:xfrm>
            <a:off x="6860949" y="3647889"/>
            <a:ext cx="857927" cy="400110"/>
          </a:xfrm>
          <a:prstGeom prst="rect">
            <a:avLst/>
          </a:prstGeom>
          <a:noFill/>
        </p:spPr>
        <p:txBody>
          <a:bodyPr wrap="none" rtlCol="0">
            <a:spAutoFit/>
          </a:bodyPr>
          <a:lstStyle/>
          <a:p>
            <a:pPr algn="ctr"/>
            <a:r>
              <a:rPr lang="en-US" altLang="zh-CN" sz="2000" dirty="0">
                <a:solidFill>
                  <a:schemeClr val="bg1"/>
                </a:solidFill>
                <a:latin typeface="+mj-ea"/>
                <a:ea typeface="+mj-ea"/>
              </a:rPr>
              <a:t>2020</a:t>
            </a:r>
            <a:endParaRPr lang="zh-CN" altLang="en-US" sz="2000" dirty="0">
              <a:solidFill>
                <a:schemeClr val="bg1"/>
              </a:solidFill>
              <a:latin typeface="+mj-ea"/>
              <a:ea typeface="+mj-ea"/>
            </a:endParaRPr>
          </a:p>
        </p:txBody>
      </p:sp>
      <p:sp>
        <p:nvSpPr>
          <p:cNvPr id="16" name="文本框 15">
            <a:extLst>
              <a:ext uri="{FF2B5EF4-FFF2-40B4-BE49-F238E27FC236}">
                <a16:creationId xmlns:a16="http://schemas.microsoft.com/office/drawing/2014/main" id="{BB34454C-FC1E-4E6C-81E8-91CA1D45FA94}"/>
              </a:ext>
            </a:extLst>
          </p:cNvPr>
          <p:cNvSpPr txBox="1"/>
          <p:nvPr/>
        </p:nvSpPr>
        <p:spPr>
          <a:xfrm>
            <a:off x="6171657" y="4396707"/>
            <a:ext cx="2236510" cy="400110"/>
          </a:xfrm>
          <a:prstGeom prst="rect">
            <a:avLst/>
          </a:prstGeom>
          <a:noFill/>
        </p:spPr>
        <p:txBody>
          <a:bodyPr wrap="none" rtlCol="0">
            <a:spAutoFit/>
          </a:bodyPr>
          <a:lstStyle/>
          <a:p>
            <a:pPr algn="ctr"/>
            <a:r>
              <a:rPr lang="zh-CN" altLang="en-US" sz="2000" dirty="0">
                <a:solidFill>
                  <a:schemeClr val="accent1"/>
                </a:solidFill>
                <a:latin typeface="+mj-ea"/>
                <a:ea typeface="+mj-ea"/>
              </a:rPr>
              <a:t>请在此处输入标题</a:t>
            </a:r>
          </a:p>
        </p:txBody>
      </p:sp>
      <p:sp>
        <p:nvSpPr>
          <p:cNvPr id="17" name="文本框 16">
            <a:extLst>
              <a:ext uri="{FF2B5EF4-FFF2-40B4-BE49-F238E27FC236}">
                <a16:creationId xmlns:a16="http://schemas.microsoft.com/office/drawing/2014/main" id="{6AB40064-6AB7-496A-BE4F-D17E9D64D205}"/>
              </a:ext>
            </a:extLst>
          </p:cNvPr>
          <p:cNvSpPr txBox="1"/>
          <p:nvPr/>
        </p:nvSpPr>
        <p:spPr>
          <a:xfrm>
            <a:off x="6171658" y="4780942"/>
            <a:ext cx="2236509" cy="646331"/>
          </a:xfrm>
          <a:prstGeom prst="rect">
            <a:avLst/>
          </a:prstGeom>
          <a:noFill/>
        </p:spPr>
        <p:txBody>
          <a:bodyPr wrap="square" rtlCol="0">
            <a:spAutoFit/>
          </a:bodyPr>
          <a:lstStyle/>
          <a:p>
            <a:pPr algn="just"/>
            <a:r>
              <a:rPr lang="en-US" altLang="zh-CN" sz="1200" dirty="0"/>
              <a:t>Lorem ipsum dolor sit amet, consectetur adipisicing elit, sed do eiusmod tempor</a:t>
            </a:r>
            <a:endParaRPr lang="zh-CN" altLang="en-US" sz="1200" dirty="0"/>
          </a:p>
        </p:txBody>
      </p:sp>
      <p:sp>
        <p:nvSpPr>
          <p:cNvPr id="5" name="椭圆 4">
            <a:extLst>
              <a:ext uri="{FF2B5EF4-FFF2-40B4-BE49-F238E27FC236}">
                <a16:creationId xmlns:a16="http://schemas.microsoft.com/office/drawing/2014/main" id="{2055C9B1-FA19-44ED-A91F-9A34032A6DF4}"/>
              </a:ext>
            </a:extLst>
          </p:cNvPr>
          <p:cNvSpPr/>
          <p:nvPr/>
        </p:nvSpPr>
        <p:spPr>
          <a:xfrm>
            <a:off x="4527773" y="3925206"/>
            <a:ext cx="727218" cy="727218"/>
          </a:xfrm>
          <a:prstGeom prst="ellipse">
            <a:avLst/>
          </a:pr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 name="文本框 11">
            <a:extLst>
              <a:ext uri="{FF2B5EF4-FFF2-40B4-BE49-F238E27FC236}">
                <a16:creationId xmlns:a16="http://schemas.microsoft.com/office/drawing/2014/main" id="{C7FE3661-B82A-4C94-B6EF-E4CA4C157B2A}"/>
              </a:ext>
            </a:extLst>
          </p:cNvPr>
          <p:cNvSpPr txBox="1"/>
          <p:nvPr/>
        </p:nvSpPr>
        <p:spPr>
          <a:xfrm>
            <a:off x="4484860" y="4088760"/>
            <a:ext cx="813044" cy="400110"/>
          </a:xfrm>
          <a:prstGeom prst="rect">
            <a:avLst/>
          </a:prstGeom>
          <a:noFill/>
        </p:spPr>
        <p:txBody>
          <a:bodyPr wrap="none" rtlCol="0">
            <a:spAutoFit/>
          </a:bodyPr>
          <a:lstStyle/>
          <a:p>
            <a:pPr algn="ctr"/>
            <a:r>
              <a:rPr lang="en-US" altLang="zh-CN" sz="2000" dirty="0">
                <a:solidFill>
                  <a:schemeClr val="bg1"/>
                </a:solidFill>
                <a:latin typeface="+mj-ea"/>
                <a:ea typeface="+mj-ea"/>
              </a:rPr>
              <a:t>2019</a:t>
            </a:r>
            <a:endParaRPr lang="zh-CN" altLang="en-US" sz="2000" dirty="0">
              <a:solidFill>
                <a:schemeClr val="bg1"/>
              </a:solidFill>
              <a:latin typeface="+mj-ea"/>
              <a:ea typeface="+mj-ea"/>
            </a:endParaRPr>
          </a:p>
        </p:txBody>
      </p:sp>
      <p:sp>
        <p:nvSpPr>
          <p:cNvPr id="19" name="文本框 18">
            <a:extLst>
              <a:ext uri="{FF2B5EF4-FFF2-40B4-BE49-F238E27FC236}">
                <a16:creationId xmlns:a16="http://schemas.microsoft.com/office/drawing/2014/main" id="{743D645D-56CA-4550-8016-1F7B366E3BE4}"/>
              </a:ext>
            </a:extLst>
          </p:cNvPr>
          <p:cNvSpPr txBox="1"/>
          <p:nvPr/>
        </p:nvSpPr>
        <p:spPr>
          <a:xfrm>
            <a:off x="3773127" y="2707582"/>
            <a:ext cx="2236510" cy="400110"/>
          </a:xfrm>
          <a:prstGeom prst="rect">
            <a:avLst/>
          </a:prstGeom>
          <a:noFill/>
        </p:spPr>
        <p:txBody>
          <a:bodyPr wrap="none" rtlCol="0">
            <a:spAutoFit/>
          </a:bodyPr>
          <a:lstStyle/>
          <a:p>
            <a:pPr algn="ctr"/>
            <a:r>
              <a:rPr lang="zh-CN" altLang="en-US" sz="2000" dirty="0">
                <a:solidFill>
                  <a:schemeClr val="accent1"/>
                </a:solidFill>
                <a:latin typeface="+mj-ea"/>
                <a:ea typeface="+mj-ea"/>
              </a:rPr>
              <a:t>请在此处输入标题</a:t>
            </a:r>
          </a:p>
        </p:txBody>
      </p:sp>
      <p:sp>
        <p:nvSpPr>
          <p:cNvPr id="20" name="文本框 19">
            <a:extLst>
              <a:ext uri="{FF2B5EF4-FFF2-40B4-BE49-F238E27FC236}">
                <a16:creationId xmlns:a16="http://schemas.microsoft.com/office/drawing/2014/main" id="{55FF3CC0-07C8-4B42-82F4-57935CBC7449}"/>
              </a:ext>
            </a:extLst>
          </p:cNvPr>
          <p:cNvSpPr txBox="1"/>
          <p:nvPr/>
        </p:nvSpPr>
        <p:spPr>
          <a:xfrm>
            <a:off x="3773128" y="3091817"/>
            <a:ext cx="2236509" cy="646331"/>
          </a:xfrm>
          <a:prstGeom prst="rect">
            <a:avLst/>
          </a:prstGeom>
          <a:noFill/>
        </p:spPr>
        <p:txBody>
          <a:bodyPr wrap="square" rtlCol="0">
            <a:spAutoFit/>
          </a:bodyPr>
          <a:lstStyle/>
          <a:p>
            <a:pPr algn="just"/>
            <a:r>
              <a:rPr lang="en-US" altLang="zh-CN" sz="1200" dirty="0"/>
              <a:t>Lorem ipsum dolor sit amet, consectetur adipisicing elit, sed do eiusmod tempor</a:t>
            </a:r>
            <a:endParaRPr lang="zh-CN" altLang="en-US" sz="1200" dirty="0"/>
          </a:p>
        </p:txBody>
      </p:sp>
      <p:sp>
        <p:nvSpPr>
          <p:cNvPr id="7" name="椭圆 6">
            <a:extLst>
              <a:ext uri="{FF2B5EF4-FFF2-40B4-BE49-F238E27FC236}">
                <a16:creationId xmlns:a16="http://schemas.microsoft.com/office/drawing/2014/main" id="{D43070BB-837A-4140-A198-19CB237B92EA}"/>
              </a:ext>
            </a:extLst>
          </p:cNvPr>
          <p:cNvSpPr/>
          <p:nvPr/>
        </p:nvSpPr>
        <p:spPr>
          <a:xfrm>
            <a:off x="9324833" y="2958932"/>
            <a:ext cx="727218" cy="727218"/>
          </a:xfrm>
          <a:prstGeom prst="ellipse">
            <a:avLst/>
          </a:pr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4" name="文本框 13">
            <a:extLst>
              <a:ext uri="{FF2B5EF4-FFF2-40B4-BE49-F238E27FC236}">
                <a16:creationId xmlns:a16="http://schemas.microsoft.com/office/drawing/2014/main" id="{622282E6-8345-48AA-8522-457686EF9001}"/>
              </a:ext>
            </a:extLst>
          </p:cNvPr>
          <p:cNvSpPr txBox="1"/>
          <p:nvPr/>
        </p:nvSpPr>
        <p:spPr>
          <a:xfrm>
            <a:off x="9281921" y="3122486"/>
            <a:ext cx="813043" cy="400110"/>
          </a:xfrm>
          <a:prstGeom prst="rect">
            <a:avLst/>
          </a:prstGeom>
          <a:noFill/>
        </p:spPr>
        <p:txBody>
          <a:bodyPr wrap="none" rtlCol="0">
            <a:spAutoFit/>
          </a:bodyPr>
          <a:lstStyle/>
          <a:p>
            <a:pPr algn="ctr"/>
            <a:r>
              <a:rPr lang="en-US" altLang="zh-CN" sz="2000" dirty="0">
                <a:solidFill>
                  <a:schemeClr val="bg1"/>
                </a:solidFill>
                <a:latin typeface="+mj-ea"/>
                <a:ea typeface="+mj-ea"/>
              </a:rPr>
              <a:t>2021</a:t>
            </a:r>
            <a:endParaRPr lang="zh-CN" altLang="en-US" sz="2000" dirty="0">
              <a:solidFill>
                <a:schemeClr val="bg1"/>
              </a:solidFill>
              <a:latin typeface="+mj-ea"/>
              <a:ea typeface="+mj-ea"/>
            </a:endParaRPr>
          </a:p>
        </p:txBody>
      </p:sp>
      <p:sp>
        <p:nvSpPr>
          <p:cNvPr id="22" name="文本框 21">
            <a:extLst>
              <a:ext uri="{FF2B5EF4-FFF2-40B4-BE49-F238E27FC236}">
                <a16:creationId xmlns:a16="http://schemas.microsoft.com/office/drawing/2014/main" id="{C2B592CE-5A35-421E-B548-0999C1EC5CC2}"/>
              </a:ext>
            </a:extLst>
          </p:cNvPr>
          <p:cNvSpPr txBox="1"/>
          <p:nvPr/>
        </p:nvSpPr>
        <p:spPr>
          <a:xfrm>
            <a:off x="8570187" y="1819167"/>
            <a:ext cx="2236510" cy="400110"/>
          </a:xfrm>
          <a:prstGeom prst="rect">
            <a:avLst/>
          </a:prstGeom>
          <a:noFill/>
        </p:spPr>
        <p:txBody>
          <a:bodyPr wrap="none" rtlCol="0">
            <a:spAutoFit/>
          </a:bodyPr>
          <a:lstStyle/>
          <a:p>
            <a:pPr algn="ctr"/>
            <a:r>
              <a:rPr lang="zh-CN" altLang="en-US" sz="2000" dirty="0">
                <a:solidFill>
                  <a:schemeClr val="accent1"/>
                </a:solidFill>
                <a:latin typeface="+mj-ea"/>
                <a:ea typeface="+mj-ea"/>
              </a:rPr>
              <a:t>请在此处输入标题</a:t>
            </a:r>
          </a:p>
        </p:txBody>
      </p:sp>
      <p:sp>
        <p:nvSpPr>
          <p:cNvPr id="23" name="文本框 22">
            <a:extLst>
              <a:ext uri="{FF2B5EF4-FFF2-40B4-BE49-F238E27FC236}">
                <a16:creationId xmlns:a16="http://schemas.microsoft.com/office/drawing/2014/main" id="{6F3DE8CC-6989-42B9-8D85-562AEACF8645}"/>
              </a:ext>
            </a:extLst>
          </p:cNvPr>
          <p:cNvSpPr txBox="1"/>
          <p:nvPr/>
        </p:nvSpPr>
        <p:spPr>
          <a:xfrm>
            <a:off x="8570188" y="2203402"/>
            <a:ext cx="2236509" cy="646331"/>
          </a:xfrm>
          <a:prstGeom prst="rect">
            <a:avLst/>
          </a:prstGeom>
          <a:noFill/>
        </p:spPr>
        <p:txBody>
          <a:bodyPr wrap="square" rtlCol="0">
            <a:spAutoFit/>
          </a:bodyPr>
          <a:lstStyle/>
          <a:p>
            <a:pPr algn="just"/>
            <a:r>
              <a:rPr lang="en-US" altLang="zh-CN" sz="1200" dirty="0"/>
              <a:t>Lorem ipsum dolor sit amet, consectetur adipisicing elit, sed do eiusmod tempor</a:t>
            </a:r>
            <a:endParaRPr lang="zh-CN" altLang="en-US" sz="1200" dirty="0"/>
          </a:p>
        </p:txBody>
      </p:sp>
    </p:spTree>
    <p:extLst>
      <p:ext uri="{BB962C8B-B14F-4D97-AF65-F5344CB8AC3E}">
        <p14:creationId xmlns:p14="http://schemas.microsoft.com/office/powerpoint/2010/main" val="2957222399"/>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4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箭头: 上 2">
            <a:extLst>
              <a:ext uri="{FF2B5EF4-FFF2-40B4-BE49-F238E27FC236}">
                <a16:creationId xmlns:a16="http://schemas.microsoft.com/office/drawing/2014/main" id="{E6B2C3CD-3B99-4BCF-A543-45C2F1D257CF}"/>
              </a:ext>
            </a:extLst>
          </p:cNvPr>
          <p:cNvSpPr/>
          <p:nvPr/>
        </p:nvSpPr>
        <p:spPr>
          <a:xfrm>
            <a:off x="5772150" y="902547"/>
            <a:ext cx="647700" cy="5955454"/>
          </a:xfrm>
          <a:prstGeom prst="upArrow">
            <a:avLst>
              <a:gd name="adj1" fmla="val 50000"/>
              <a:gd name="adj2" fmla="val 89216"/>
            </a:avLst>
          </a:prstGeom>
          <a:gradFill>
            <a:gsLst>
              <a:gs pos="0">
                <a:schemeClr val="accent1"/>
              </a:gs>
              <a:gs pos="100000">
                <a:schemeClr val="accent1">
                  <a:alpha val="0"/>
                </a:schemeClr>
              </a:gs>
            </a:gsLst>
            <a:lin ang="5400000" scaled="0"/>
          </a:gra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20" name="组合 19">
            <a:extLst>
              <a:ext uri="{FF2B5EF4-FFF2-40B4-BE49-F238E27FC236}">
                <a16:creationId xmlns:a16="http://schemas.microsoft.com/office/drawing/2014/main" id="{4035D2CC-5D78-47E8-884F-84AFCD493229}"/>
              </a:ext>
            </a:extLst>
          </p:cNvPr>
          <p:cNvGrpSpPr/>
          <p:nvPr/>
        </p:nvGrpSpPr>
        <p:grpSpPr>
          <a:xfrm>
            <a:off x="2207976" y="1565728"/>
            <a:ext cx="3579414" cy="1193800"/>
            <a:chOff x="2207976" y="1565728"/>
            <a:chExt cx="3579414" cy="1193800"/>
          </a:xfrm>
        </p:grpSpPr>
        <p:grpSp>
          <p:nvGrpSpPr>
            <p:cNvPr id="9" name="组合 8">
              <a:extLst>
                <a:ext uri="{FF2B5EF4-FFF2-40B4-BE49-F238E27FC236}">
                  <a16:creationId xmlns:a16="http://schemas.microsoft.com/office/drawing/2014/main" id="{7156B4A3-C245-4C5D-B37F-8C8E928E2CEE}"/>
                </a:ext>
              </a:extLst>
            </p:cNvPr>
            <p:cNvGrpSpPr/>
            <p:nvPr/>
          </p:nvGrpSpPr>
          <p:grpSpPr>
            <a:xfrm>
              <a:off x="2207976" y="1565728"/>
              <a:ext cx="2771694" cy="1193800"/>
              <a:chOff x="3000456" y="2146300"/>
              <a:chExt cx="2771694" cy="1193800"/>
            </a:xfrm>
          </p:grpSpPr>
          <p:sp>
            <p:nvSpPr>
              <p:cNvPr id="8" name="任意多边形: 形状 7">
                <a:extLst>
                  <a:ext uri="{FF2B5EF4-FFF2-40B4-BE49-F238E27FC236}">
                    <a16:creationId xmlns:a16="http://schemas.microsoft.com/office/drawing/2014/main" id="{C0E85618-7350-4CDC-A149-8613BE1BC83B}"/>
                  </a:ext>
                </a:extLst>
              </p:cNvPr>
              <p:cNvSpPr/>
              <p:nvPr/>
            </p:nvSpPr>
            <p:spPr>
              <a:xfrm>
                <a:off x="3000456" y="2146300"/>
                <a:ext cx="2771694" cy="1193800"/>
              </a:xfrm>
              <a:custGeom>
                <a:avLst/>
                <a:gdLst>
                  <a:gd name="connsiteX0" fmla="*/ 2667001 w 2771694"/>
                  <a:gd name="connsiteY0" fmla="*/ 536179 h 1193800"/>
                  <a:gd name="connsiteX1" fmla="*/ 2771694 w 2771694"/>
                  <a:gd name="connsiteY1" fmla="*/ 596901 h 1193800"/>
                  <a:gd name="connsiteX2" fmla="*/ 2667001 w 2771694"/>
                  <a:gd name="connsiteY2" fmla="*/ 657623 h 1193800"/>
                  <a:gd name="connsiteX3" fmla="*/ 198971 w 2771694"/>
                  <a:gd name="connsiteY3" fmla="*/ 0 h 1193800"/>
                  <a:gd name="connsiteX4" fmla="*/ 2468029 w 2771694"/>
                  <a:gd name="connsiteY4" fmla="*/ 0 h 1193800"/>
                  <a:gd name="connsiteX5" fmla="*/ 2667000 w 2771694"/>
                  <a:gd name="connsiteY5" fmla="*/ 198971 h 1193800"/>
                  <a:gd name="connsiteX6" fmla="*/ 2667000 w 2771694"/>
                  <a:gd name="connsiteY6" fmla="*/ 994829 h 1193800"/>
                  <a:gd name="connsiteX7" fmla="*/ 2468029 w 2771694"/>
                  <a:gd name="connsiteY7" fmla="*/ 1193800 h 1193800"/>
                  <a:gd name="connsiteX8" fmla="*/ 198971 w 2771694"/>
                  <a:gd name="connsiteY8" fmla="*/ 1193800 h 1193800"/>
                  <a:gd name="connsiteX9" fmla="*/ 0 w 2771694"/>
                  <a:gd name="connsiteY9" fmla="*/ 994829 h 1193800"/>
                  <a:gd name="connsiteX10" fmla="*/ 0 w 2771694"/>
                  <a:gd name="connsiteY10" fmla="*/ 198971 h 1193800"/>
                  <a:gd name="connsiteX11" fmla="*/ 198971 w 2771694"/>
                  <a:gd name="connsiteY11" fmla="*/ 0 h 1193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771694" h="1193800">
                    <a:moveTo>
                      <a:pt x="2667001" y="536179"/>
                    </a:moveTo>
                    <a:lnTo>
                      <a:pt x="2771694" y="596901"/>
                    </a:lnTo>
                    <a:lnTo>
                      <a:pt x="2667001" y="657623"/>
                    </a:lnTo>
                    <a:close/>
                    <a:moveTo>
                      <a:pt x="198971" y="0"/>
                    </a:moveTo>
                    <a:lnTo>
                      <a:pt x="2468029" y="0"/>
                    </a:lnTo>
                    <a:cubicBezTo>
                      <a:pt x="2577918" y="0"/>
                      <a:pt x="2667000" y="89082"/>
                      <a:pt x="2667000" y="198971"/>
                    </a:cubicBezTo>
                    <a:lnTo>
                      <a:pt x="2667000" y="994829"/>
                    </a:lnTo>
                    <a:cubicBezTo>
                      <a:pt x="2667000" y="1104718"/>
                      <a:pt x="2577918" y="1193800"/>
                      <a:pt x="2468029" y="1193800"/>
                    </a:cubicBezTo>
                    <a:lnTo>
                      <a:pt x="198971" y="1193800"/>
                    </a:lnTo>
                    <a:cubicBezTo>
                      <a:pt x="89082" y="1193800"/>
                      <a:pt x="0" y="1104718"/>
                      <a:pt x="0" y="994829"/>
                    </a:cubicBezTo>
                    <a:lnTo>
                      <a:pt x="0" y="198971"/>
                    </a:lnTo>
                    <a:cubicBezTo>
                      <a:pt x="0" y="89082"/>
                      <a:pt x="89082" y="0"/>
                      <a:pt x="198971" y="0"/>
                    </a:cubicBezTo>
                    <a:close/>
                  </a:path>
                </a:pathLst>
              </a:cu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p>
            </p:txBody>
          </p:sp>
          <p:sp>
            <p:nvSpPr>
              <p:cNvPr id="6" name="矩形: 圆顶角 5">
                <a:extLst>
                  <a:ext uri="{FF2B5EF4-FFF2-40B4-BE49-F238E27FC236}">
                    <a16:creationId xmlns:a16="http://schemas.microsoft.com/office/drawing/2014/main" id="{4092DBA7-2245-4EEF-9D34-28A77F8734AB}"/>
                  </a:ext>
                </a:extLst>
              </p:cNvPr>
              <p:cNvSpPr/>
              <p:nvPr/>
            </p:nvSpPr>
            <p:spPr>
              <a:xfrm>
                <a:off x="3038953" y="2179638"/>
                <a:ext cx="2590006" cy="304800"/>
              </a:xfrm>
              <a:prstGeom prst="round2SameRect">
                <a:avLst>
                  <a:gd name="adj1" fmla="val 50000"/>
                  <a:gd name="adj2" fmla="val 0"/>
                </a:avLst>
              </a:prstGeom>
              <a:solidFill>
                <a:schemeClr val="bg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10" name="椭圆 9">
              <a:extLst>
                <a:ext uri="{FF2B5EF4-FFF2-40B4-BE49-F238E27FC236}">
                  <a16:creationId xmlns:a16="http://schemas.microsoft.com/office/drawing/2014/main" id="{14941B78-C90A-4DDC-B153-50F90B395C1A}"/>
                </a:ext>
              </a:extLst>
            </p:cNvPr>
            <p:cNvSpPr/>
            <p:nvPr/>
          </p:nvSpPr>
          <p:spPr>
            <a:xfrm>
              <a:off x="5139690" y="1838778"/>
              <a:ext cx="647700" cy="647700"/>
            </a:xfrm>
            <a:prstGeom prst="ellipse">
              <a:avLst/>
            </a:pr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19" name="组合 18">
            <a:extLst>
              <a:ext uri="{FF2B5EF4-FFF2-40B4-BE49-F238E27FC236}">
                <a16:creationId xmlns:a16="http://schemas.microsoft.com/office/drawing/2014/main" id="{53C3A70C-E238-4869-82A4-06099DD7761C}"/>
              </a:ext>
            </a:extLst>
          </p:cNvPr>
          <p:cNvGrpSpPr/>
          <p:nvPr/>
        </p:nvGrpSpPr>
        <p:grpSpPr>
          <a:xfrm>
            <a:off x="6419850" y="2809119"/>
            <a:ext cx="3564174" cy="1193800"/>
            <a:chOff x="6419850" y="2654300"/>
            <a:chExt cx="3564174" cy="1193800"/>
          </a:xfrm>
        </p:grpSpPr>
        <p:grpSp>
          <p:nvGrpSpPr>
            <p:cNvPr id="15" name="组合 14">
              <a:extLst>
                <a:ext uri="{FF2B5EF4-FFF2-40B4-BE49-F238E27FC236}">
                  <a16:creationId xmlns:a16="http://schemas.microsoft.com/office/drawing/2014/main" id="{7C35377C-811B-4EC5-B2CD-D2A02D670516}"/>
                </a:ext>
              </a:extLst>
            </p:cNvPr>
            <p:cNvGrpSpPr/>
            <p:nvPr/>
          </p:nvGrpSpPr>
          <p:grpSpPr>
            <a:xfrm flipH="1">
              <a:off x="7212330" y="2654300"/>
              <a:ext cx="2771694" cy="1193800"/>
              <a:chOff x="3000456" y="2146300"/>
              <a:chExt cx="2771694" cy="1193800"/>
            </a:xfrm>
          </p:grpSpPr>
          <p:sp>
            <p:nvSpPr>
              <p:cNvPr id="16" name="任意多边形: 形状 15">
                <a:extLst>
                  <a:ext uri="{FF2B5EF4-FFF2-40B4-BE49-F238E27FC236}">
                    <a16:creationId xmlns:a16="http://schemas.microsoft.com/office/drawing/2014/main" id="{471DB174-80D6-4268-90E9-1FD5ACD7893C}"/>
                  </a:ext>
                </a:extLst>
              </p:cNvPr>
              <p:cNvSpPr/>
              <p:nvPr/>
            </p:nvSpPr>
            <p:spPr>
              <a:xfrm>
                <a:off x="3000456" y="2146300"/>
                <a:ext cx="2771694" cy="1193800"/>
              </a:xfrm>
              <a:custGeom>
                <a:avLst/>
                <a:gdLst>
                  <a:gd name="connsiteX0" fmla="*/ 2667001 w 2771694"/>
                  <a:gd name="connsiteY0" fmla="*/ 536179 h 1193800"/>
                  <a:gd name="connsiteX1" fmla="*/ 2771694 w 2771694"/>
                  <a:gd name="connsiteY1" fmla="*/ 596901 h 1193800"/>
                  <a:gd name="connsiteX2" fmla="*/ 2667001 w 2771694"/>
                  <a:gd name="connsiteY2" fmla="*/ 657623 h 1193800"/>
                  <a:gd name="connsiteX3" fmla="*/ 198971 w 2771694"/>
                  <a:gd name="connsiteY3" fmla="*/ 0 h 1193800"/>
                  <a:gd name="connsiteX4" fmla="*/ 2468029 w 2771694"/>
                  <a:gd name="connsiteY4" fmla="*/ 0 h 1193800"/>
                  <a:gd name="connsiteX5" fmla="*/ 2667000 w 2771694"/>
                  <a:gd name="connsiteY5" fmla="*/ 198971 h 1193800"/>
                  <a:gd name="connsiteX6" fmla="*/ 2667000 w 2771694"/>
                  <a:gd name="connsiteY6" fmla="*/ 994829 h 1193800"/>
                  <a:gd name="connsiteX7" fmla="*/ 2468029 w 2771694"/>
                  <a:gd name="connsiteY7" fmla="*/ 1193800 h 1193800"/>
                  <a:gd name="connsiteX8" fmla="*/ 198971 w 2771694"/>
                  <a:gd name="connsiteY8" fmla="*/ 1193800 h 1193800"/>
                  <a:gd name="connsiteX9" fmla="*/ 0 w 2771694"/>
                  <a:gd name="connsiteY9" fmla="*/ 994829 h 1193800"/>
                  <a:gd name="connsiteX10" fmla="*/ 0 w 2771694"/>
                  <a:gd name="connsiteY10" fmla="*/ 198971 h 1193800"/>
                  <a:gd name="connsiteX11" fmla="*/ 198971 w 2771694"/>
                  <a:gd name="connsiteY11" fmla="*/ 0 h 1193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771694" h="1193800">
                    <a:moveTo>
                      <a:pt x="2667001" y="536179"/>
                    </a:moveTo>
                    <a:lnTo>
                      <a:pt x="2771694" y="596901"/>
                    </a:lnTo>
                    <a:lnTo>
                      <a:pt x="2667001" y="657623"/>
                    </a:lnTo>
                    <a:close/>
                    <a:moveTo>
                      <a:pt x="198971" y="0"/>
                    </a:moveTo>
                    <a:lnTo>
                      <a:pt x="2468029" y="0"/>
                    </a:lnTo>
                    <a:cubicBezTo>
                      <a:pt x="2577918" y="0"/>
                      <a:pt x="2667000" y="89082"/>
                      <a:pt x="2667000" y="198971"/>
                    </a:cubicBezTo>
                    <a:lnTo>
                      <a:pt x="2667000" y="994829"/>
                    </a:lnTo>
                    <a:cubicBezTo>
                      <a:pt x="2667000" y="1104718"/>
                      <a:pt x="2577918" y="1193800"/>
                      <a:pt x="2468029" y="1193800"/>
                    </a:cubicBezTo>
                    <a:lnTo>
                      <a:pt x="198971" y="1193800"/>
                    </a:lnTo>
                    <a:cubicBezTo>
                      <a:pt x="89082" y="1193800"/>
                      <a:pt x="0" y="1104718"/>
                      <a:pt x="0" y="994829"/>
                    </a:cubicBezTo>
                    <a:lnTo>
                      <a:pt x="0" y="198971"/>
                    </a:lnTo>
                    <a:cubicBezTo>
                      <a:pt x="0" y="89082"/>
                      <a:pt x="89082" y="0"/>
                      <a:pt x="198971" y="0"/>
                    </a:cubicBezTo>
                    <a:close/>
                  </a:path>
                </a:pathLst>
              </a:cu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p>
            </p:txBody>
          </p:sp>
          <p:sp>
            <p:nvSpPr>
              <p:cNvPr id="17" name="矩形: 圆顶角 16">
                <a:extLst>
                  <a:ext uri="{FF2B5EF4-FFF2-40B4-BE49-F238E27FC236}">
                    <a16:creationId xmlns:a16="http://schemas.microsoft.com/office/drawing/2014/main" id="{9848B345-AA14-449E-ABDA-FB366A3A5D6B}"/>
                  </a:ext>
                </a:extLst>
              </p:cNvPr>
              <p:cNvSpPr/>
              <p:nvPr/>
            </p:nvSpPr>
            <p:spPr>
              <a:xfrm>
                <a:off x="3038953" y="2179638"/>
                <a:ext cx="2590006" cy="304800"/>
              </a:xfrm>
              <a:prstGeom prst="round2SameRect">
                <a:avLst>
                  <a:gd name="adj1" fmla="val 50000"/>
                  <a:gd name="adj2" fmla="val 0"/>
                </a:avLst>
              </a:prstGeom>
              <a:solidFill>
                <a:schemeClr val="bg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18" name="椭圆 17">
              <a:extLst>
                <a:ext uri="{FF2B5EF4-FFF2-40B4-BE49-F238E27FC236}">
                  <a16:creationId xmlns:a16="http://schemas.microsoft.com/office/drawing/2014/main" id="{F39330A8-8B1C-4F61-BDE6-EE03F91191B5}"/>
                </a:ext>
              </a:extLst>
            </p:cNvPr>
            <p:cNvSpPr/>
            <p:nvPr/>
          </p:nvSpPr>
          <p:spPr>
            <a:xfrm>
              <a:off x="6419850" y="2927350"/>
              <a:ext cx="647700" cy="647700"/>
            </a:xfrm>
            <a:prstGeom prst="ellipse">
              <a:avLst/>
            </a:pr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21" name="组合 20">
            <a:extLst>
              <a:ext uri="{FF2B5EF4-FFF2-40B4-BE49-F238E27FC236}">
                <a16:creationId xmlns:a16="http://schemas.microsoft.com/office/drawing/2014/main" id="{CFA09A6E-ED9B-46CD-AEF7-36665109B79D}"/>
              </a:ext>
            </a:extLst>
          </p:cNvPr>
          <p:cNvGrpSpPr/>
          <p:nvPr/>
        </p:nvGrpSpPr>
        <p:grpSpPr>
          <a:xfrm>
            <a:off x="2207976" y="4052510"/>
            <a:ext cx="3579414" cy="1193800"/>
            <a:chOff x="2207976" y="1565728"/>
            <a:chExt cx="3579414" cy="1193800"/>
          </a:xfrm>
        </p:grpSpPr>
        <p:grpSp>
          <p:nvGrpSpPr>
            <p:cNvPr id="22" name="组合 21">
              <a:extLst>
                <a:ext uri="{FF2B5EF4-FFF2-40B4-BE49-F238E27FC236}">
                  <a16:creationId xmlns:a16="http://schemas.microsoft.com/office/drawing/2014/main" id="{D521B04C-ADF8-469B-A1D3-AF73AE8C4FB2}"/>
                </a:ext>
              </a:extLst>
            </p:cNvPr>
            <p:cNvGrpSpPr/>
            <p:nvPr/>
          </p:nvGrpSpPr>
          <p:grpSpPr>
            <a:xfrm>
              <a:off x="2207976" y="1565728"/>
              <a:ext cx="2771694" cy="1193800"/>
              <a:chOff x="3000456" y="2146300"/>
              <a:chExt cx="2771694" cy="1193800"/>
            </a:xfrm>
          </p:grpSpPr>
          <p:sp>
            <p:nvSpPr>
              <p:cNvPr id="24" name="任意多边形: 形状 23">
                <a:extLst>
                  <a:ext uri="{FF2B5EF4-FFF2-40B4-BE49-F238E27FC236}">
                    <a16:creationId xmlns:a16="http://schemas.microsoft.com/office/drawing/2014/main" id="{631DF967-A200-4B7E-AEFB-6112FC33D584}"/>
                  </a:ext>
                </a:extLst>
              </p:cNvPr>
              <p:cNvSpPr/>
              <p:nvPr/>
            </p:nvSpPr>
            <p:spPr>
              <a:xfrm>
                <a:off x="3000456" y="2146300"/>
                <a:ext cx="2771694" cy="1193800"/>
              </a:xfrm>
              <a:custGeom>
                <a:avLst/>
                <a:gdLst>
                  <a:gd name="connsiteX0" fmla="*/ 2667001 w 2771694"/>
                  <a:gd name="connsiteY0" fmla="*/ 536179 h 1193800"/>
                  <a:gd name="connsiteX1" fmla="*/ 2771694 w 2771694"/>
                  <a:gd name="connsiteY1" fmla="*/ 596901 h 1193800"/>
                  <a:gd name="connsiteX2" fmla="*/ 2667001 w 2771694"/>
                  <a:gd name="connsiteY2" fmla="*/ 657623 h 1193800"/>
                  <a:gd name="connsiteX3" fmla="*/ 198971 w 2771694"/>
                  <a:gd name="connsiteY3" fmla="*/ 0 h 1193800"/>
                  <a:gd name="connsiteX4" fmla="*/ 2468029 w 2771694"/>
                  <a:gd name="connsiteY4" fmla="*/ 0 h 1193800"/>
                  <a:gd name="connsiteX5" fmla="*/ 2667000 w 2771694"/>
                  <a:gd name="connsiteY5" fmla="*/ 198971 h 1193800"/>
                  <a:gd name="connsiteX6" fmla="*/ 2667000 w 2771694"/>
                  <a:gd name="connsiteY6" fmla="*/ 994829 h 1193800"/>
                  <a:gd name="connsiteX7" fmla="*/ 2468029 w 2771694"/>
                  <a:gd name="connsiteY7" fmla="*/ 1193800 h 1193800"/>
                  <a:gd name="connsiteX8" fmla="*/ 198971 w 2771694"/>
                  <a:gd name="connsiteY8" fmla="*/ 1193800 h 1193800"/>
                  <a:gd name="connsiteX9" fmla="*/ 0 w 2771694"/>
                  <a:gd name="connsiteY9" fmla="*/ 994829 h 1193800"/>
                  <a:gd name="connsiteX10" fmla="*/ 0 w 2771694"/>
                  <a:gd name="connsiteY10" fmla="*/ 198971 h 1193800"/>
                  <a:gd name="connsiteX11" fmla="*/ 198971 w 2771694"/>
                  <a:gd name="connsiteY11" fmla="*/ 0 h 1193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771694" h="1193800">
                    <a:moveTo>
                      <a:pt x="2667001" y="536179"/>
                    </a:moveTo>
                    <a:lnTo>
                      <a:pt x="2771694" y="596901"/>
                    </a:lnTo>
                    <a:lnTo>
                      <a:pt x="2667001" y="657623"/>
                    </a:lnTo>
                    <a:close/>
                    <a:moveTo>
                      <a:pt x="198971" y="0"/>
                    </a:moveTo>
                    <a:lnTo>
                      <a:pt x="2468029" y="0"/>
                    </a:lnTo>
                    <a:cubicBezTo>
                      <a:pt x="2577918" y="0"/>
                      <a:pt x="2667000" y="89082"/>
                      <a:pt x="2667000" y="198971"/>
                    </a:cubicBezTo>
                    <a:lnTo>
                      <a:pt x="2667000" y="994829"/>
                    </a:lnTo>
                    <a:cubicBezTo>
                      <a:pt x="2667000" y="1104718"/>
                      <a:pt x="2577918" y="1193800"/>
                      <a:pt x="2468029" y="1193800"/>
                    </a:cubicBezTo>
                    <a:lnTo>
                      <a:pt x="198971" y="1193800"/>
                    </a:lnTo>
                    <a:cubicBezTo>
                      <a:pt x="89082" y="1193800"/>
                      <a:pt x="0" y="1104718"/>
                      <a:pt x="0" y="994829"/>
                    </a:cubicBezTo>
                    <a:lnTo>
                      <a:pt x="0" y="198971"/>
                    </a:lnTo>
                    <a:cubicBezTo>
                      <a:pt x="0" y="89082"/>
                      <a:pt x="89082" y="0"/>
                      <a:pt x="198971" y="0"/>
                    </a:cubicBezTo>
                    <a:close/>
                  </a:path>
                </a:pathLst>
              </a:cu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p>
            </p:txBody>
          </p:sp>
          <p:sp>
            <p:nvSpPr>
              <p:cNvPr id="25" name="矩形: 圆顶角 24">
                <a:extLst>
                  <a:ext uri="{FF2B5EF4-FFF2-40B4-BE49-F238E27FC236}">
                    <a16:creationId xmlns:a16="http://schemas.microsoft.com/office/drawing/2014/main" id="{3BDE79A3-4BBB-49C6-9236-DDCF3F73B565}"/>
                  </a:ext>
                </a:extLst>
              </p:cNvPr>
              <p:cNvSpPr/>
              <p:nvPr/>
            </p:nvSpPr>
            <p:spPr>
              <a:xfrm>
                <a:off x="3038953" y="2179638"/>
                <a:ext cx="2590006" cy="304800"/>
              </a:xfrm>
              <a:prstGeom prst="round2SameRect">
                <a:avLst>
                  <a:gd name="adj1" fmla="val 50000"/>
                  <a:gd name="adj2" fmla="val 0"/>
                </a:avLst>
              </a:prstGeom>
              <a:solidFill>
                <a:schemeClr val="bg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23" name="椭圆 22">
              <a:extLst>
                <a:ext uri="{FF2B5EF4-FFF2-40B4-BE49-F238E27FC236}">
                  <a16:creationId xmlns:a16="http://schemas.microsoft.com/office/drawing/2014/main" id="{42E9292E-3B12-4B25-8D5A-678FC03A0C9C}"/>
                </a:ext>
              </a:extLst>
            </p:cNvPr>
            <p:cNvSpPr/>
            <p:nvPr/>
          </p:nvSpPr>
          <p:spPr>
            <a:xfrm>
              <a:off x="5139690" y="1838778"/>
              <a:ext cx="647700" cy="647700"/>
            </a:xfrm>
            <a:prstGeom prst="ellipse">
              <a:avLst/>
            </a:pr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26" name="组合 25">
            <a:extLst>
              <a:ext uri="{FF2B5EF4-FFF2-40B4-BE49-F238E27FC236}">
                <a16:creationId xmlns:a16="http://schemas.microsoft.com/office/drawing/2014/main" id="{F9BDD1C9-22F5-459B-9486-B833F97A1361}"/>
              </a:ext>
            </a:extLst>
          </p:cNvPr>
          <p:cNvGrpSpPr/>
          <p:nvPr/>
        </p:nvGrpSpPr>
        <p:grpSpPr>
          <a:xfrm>
            <a:off x="6419850" y="5295900"/>
            <a:ext cx="3564174" cy="1193800"/>
            <a:chOff x="6419850" y="2654300"/>
            <a:chExt cx="3564174" cy="1193800"/>
          </a:xfrm>
        </p:grpSpPr>
        <p:grpSp>
          <p:nvGrpSpPr>
            <p:cNvPr id="27" name="组合 26">
              <a:extLst>
                <a:ext uri="{FF2B5EF4-FFF2-40B4-BE49-F238E27FC236}">
                  <a16:creationId xmlns:a16="http://schemas.microsoft.com/office/drawing/2014/main" id="{33634750-80A3-4518-8725-1380B36186A1}"/>
                </a:ext>
              </a:extLst>
            </p:cNvPr>
            <p:cNvGrpSpPr/>
            <p:nvPr/>
          </p:nvGrpSpPr>
          <p:grpSpPr>
            <a:xfrm flipH="1">
              <a:off x="7212330" y="2654300"/>
              <a:ext cx="2771694" cy="1193800"/>
              <a:chOff x="3000456" y="2146300"/>
              <a:chExt cx="2771694" cy="1193800"/>
            </a:xfrm>
          </p:grpSpPr>
          <p:sp>
            <p:nvSpPr>
              <p:cNvPr id="29" name="任意多边形: 形状 28">
                <a:extLst>
                  <a:ext uri="{FF2B5EF4-FFF2-40B4-BE49-F238E27FC236}">
                    <a16:creationId xmlns:a16="http://schemas.microsoft.com/office/drawing/2014/main" id="{9B105F56-E7B7-4CA9-9879-6F45D70A2706}"/>
                  </a:ext>
                </a:extLst>
              </p:cNvPr>
              <p:cNvSpPr/>
              <p:nvPr/>
            </p:nvSpPr>
            <p:spPr>
              <a:xfrm>
                <a:off x="3000456" y="2146300"/>
                <a:ext cx="2771694" cy="1193800"/>
              </a:xfrm>
              <a:custGeom>
                <a:avLst/>
                <a:gdLst>
                  <a:gd name="connsiteX0" fmla="*/ 2667001 w 2771694"/>
                  <a:gd name="connsiteY0" fmla="*/ 536179 h 1193800"/>
                  <a:gd name="connsiteX1" fmla="*/ 2771694 w 2771694"/>
                  <a:gd name="connsiteY1" fmla="*/ 596901 h 1193800"/>
                  <a:gd name="connsiteX2" fmla="*/ 2667001 w 2771694"/>
                  <a:gd name="connsiteY2" fmla="*/ 657623 h 1193800"/>
                  <a:gd name="connsiteX3" fmla="*/ 198971 w 2771694"/>
                  <a:gd name="connsiteY3" fmla="*/ 0 h 1193800"/>
                  <a:gd name="connsiteX4" fmla="*/ 2468029 w 2771694"/>
                  <a:gd name="connsiteY4" fmla="*/ 0 h 1193800"/>
                  <a:gd name="connsiteX5" fmla="*/ 2667000 w 2771694"/>
                  <a:gd name="connsiteY5" fmla="*/ 198971 h 1193800"/>
                  <a:gd name="connsiteX6" fmla="*/ 2667000 w 2771694"/>
                  <a:gd name="connsiteY6" fmla="*/ 994829 h 1193800"/>
                  <a:gd name="connsiteX7" fmla="*/ 2468029 w 2771694"/>
                  <a:gd name="connsiteY7" fmla="*/ 1193800 h 1193800"/>
                  <a:gd name="connsiteX8" fmla="*/ 198971 w 2771694"/>
                  <a:gd name="connsiteY8" fmla="*/ 1193800 h 1193800"/>
                  <a:gd name="connsiteX9" fmla="*/ 0 w 2771694"/>
                  <a:gd name="connsiteY9" fmla="*/ 994829 h 1193800"/>
                  <a:gd name="connsiteX10" fmla="*/ 0 w 2771694"/>
                  <a:gd name="connsiteY10" fmla="*/ 198971 h 1193800"/>
                  <a:gd name="connsiteX11" fmla="*/ 198971 w 2771694"/>
                  <a:gd name="connsiteY11" fmla="*/ 0 h 1193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771694" h="1193800">
                    <a:moveTo>
                      <a:pt x="2667001" y="536179"/>
                    </a:moveTo>
                    <a:lnTo>
                      <a:pt x="2771694" y="596901"/>
                    </a:lnTo>
                    <a:lnTo>
                      <a:pt x="2667001" y="657623"/>
                    </a:lnTo>
                    <a:close/>
                    <a:moveTo>
                      <a:pt x="198971" y="0"/>
                    </a:moveTo>
                    <a:lnTo>
                      <a:pt x="2468029" y="0"/>
                    </a:lnTo>
                    <a:cubicBezTo>
                      <a:pt x="2577918" y="0"/>
                      <a:pt x="2667000" y="89082"/>
                      <a:pt x="2667000" y="198971"/>
                    </a:cubicBezTo>
                    <a:lnTo>
                      <a:pt x="2667000" y="994829"/>
                    </a:lnTo>
                    <a:cubicBezTo>
                      <a:pt x="2667000" y="1104718"/>
                      <a:pt x="2577918" y="1193800"/>
                      <a:pt x="2468029" y="1193800"/>
                    </a:cubicBezTo>
                    <a:lnTo>
                      <a:pt x="198971" y="1193800"/>
                    </a:lnTo>
                    <a:cubicBezTo>
                      <a:pt x="89082" y="1193800"/>
                      <a:pt x="0" y="1104718"/>
                      <a:pt x="0" y="994829"/>
                    </a:cubicBezTo>
                    <a:lnTo>
                      <a:pt x="0" y="198971"/>
                    </a:lnTo>
                    <a:cubicBezTo>
                      <a:pt x="0" y="89082"/>
                      <a:pt x="89082" y="0"/>
                      <a:pt x="198971" y="0"/>
                    </a:cubicBezTo>
                    <a:close/>
                  </a:path>
                </a:pathLst>
              </a:cu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p>
            </p:txBody>
          </p:sp>
          <p:sp>
            <p:nvSpPr>
              <p:cNvPr id="30" name="矩形: 圆顶角 29">
                <a:extLst>
                  <a:ext uri="{FF2B5EF4-FFF2-40B4-BE49-F238E27FC236}">
                    <a16:creationId xmlns:a16="http://schemas.microsoft.com/office/drawing/2014/main" id="{4F73E159-10F1-4DC9-A467-381AF0F4A969}"/>
                  </a:ext>
                </a:extLst>
              </p:cNvPr>
              <p:cNvSpPr/>
              <p:nvPr/>
            </p:nvSpPr>
            <p:spPr>
              <a:xfrm>
                <a:off x="3038953" y="2179638"/>
                <a:ext cx="2590006" cy="304800"/>
              </a:xfrm>
              <a:prstGeom prst="round2SameRect">
                <a:avLst>
                  <a:gd name="adj1" fmla="val 50000"/>
                  <a:gd name="adj2" fmla="val 0"/>
                </a:avLst>
              </a:prstGeom>
              <a:solidFill>
                <a:schemeClr val="bg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28" name="椭圆 27">
              <a:extLst>
                <a:ext uri="{FF2B5EF4-FFF2-40B4-BE49-F238E27FC236}">
                  <a16:creationId xmlns:a16="http://schemas.microsoft.com/office/drawing/2014/main" id="{3FD5F6E7-EBAB-4FA2-91E1-38B128B1FA86}"/>
                </a:ext>
              </a:extLst>
            </p:cNvPr>
            <p:cNvSpPr/>
            <p:nvPr/>
          </p:nvSpPr>
          <p:spPr>
            <a:xfrm>
              <a:off x="6419850" y="2927350"/>
              <a:ext cx="647700" cy="647700"/>
            </a:xfrm>
            <a:prstGeom prst="ellipse">
              <a:avLst/>
            </a:pr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31" name="文本框 30">
            <a:extLst>
              <a:ext uri="{FF2B5EF4-FFF2-40B4-BE49-F238E27FC236}">
                <a16:creationId xmlns:a16="http://schemas.microsoft.com/office/drawing/2014/main" id="{97ED481E-5663-49E0-8E90-BC806D9A4630}"/>
              </a:ext>
            </a:extLst>
          </p:cNvPr>
          <p:cNvSpPr txBox="1"/>
          <p:nvPr/>
        </p:nvSpPr>
        <p:spPr>
          <a:xfrm>
            <a:off x="5087475" y="1977962"/>
            <a:ext cx="752129" cy="369332"/>
          </a:xfrm>
          <a:prstGeom prst="rect">
            <a:avLst/>
          </a:prstGeom>
          <a:noFill/>
        </p:spPr>
        <p:txBody>
          <a:bodyPr wrap="none" rtlCol="0">
            <a:spAutoFit/>
          </a:bodyPr>
          <a:lstStyle/>
          <a:p>
            <a:pPr algn="ctr"/>
            <a:r>
              <a:rPr lang="en-US" altLang="zh-CN" dirty="0">
                <a:solidFill>
                  <a:schemeClr val="bg1"/>
                </a:solidFill>
                <a:latin typeface="+mj-ea"/>
                <a:ea typeface="+mj-ea"/>
              </a:rPr>
              <a:t>2018</a:t>
            </a:r>
            <a:endParaRPr lang="zh-CN" altLang="en-US" dirty="0">
              <a:solidFill>
                <a:schemeClr val="bg1"/>
              </a:solidFill>
              <a:latin typeface="+mj-ea"/>
              <a:ea typeface="+mj-ea"/>
            </a:endParaRPr>
          </a:p>
        </p:txBody>
      </p:sp>
      <p:sp>
        <p:nvSpPr>
          <p:cNvPr id="32" name="文本框 31">
            <a:extLst>
              <a:ext uri="{FF2B5EF4-FFF2-40B4-BE49-F238E27FC236}">
                <a16:creationId xmlns:a16="http://schemas.microsoft.com/office/drawing/2014/main" id="{F94FC78F-C5C2-4F31-943B-0477C2FB7599}"/>
              </a:ext>
            </a:extLst>
          </p:cNvPr>
          <p:cNvSpPr txBox="1"/>
          <p:nvPr/>
        </p:nvSpPr>
        <p:spPr>
          <a:xfrm>
            <a:off x="6367635" y="3244334"/>
            <a:ext cx="752129" cy="369332"/>
          </a:xfrm>
          <a:prstGeom prst="rect">
            <a:avLst/>
          </a:prstGeom>
          <a:noFill/>
        </p:spPr>
        <p:txBody>
          <a:bodyPr wrap="none" rtlCol="0">
            <a:spAutoFit/>
          </a:bodyPr>
          <a:lstStyle/>
          <a:p>
            <a:pPr algn="ctr"/>
            <a:r>
              <a:rPr lang="en-US" altLang="zh-CN" dirty="0">
                <a:solidFill>
                  <a:schemeClr val="bg1"/>
                </a:solidFill>
                <a:latin typeface="+mj-ea"/>
                <a:ea typeface="+mj-ea"/>
              </a:rPr>
              <a:t>2019</a:t>
            </a:r>
            <a:endParaRPr lang="zh-CN" altLang="en-US" dirty="0">
              <a:solidFill>
                <a:schemeClr val="bg1"/>
              </a:solidFill>
              <a:latin typeface="+mj-ea"/>
              <a:ea typeface="+mj-ea"/>
            </a:endParaRPr>
          </a:p>
        </p:txBody>
      </p:sp>
      <p:sp>
        <p:nvSpPr>
          <p:cNvPr id="33" name="文本框 32">
            <a:extLst>
              <a:ext uri="{FF2B5EF4-FFF2-40B4-BE49-F238E27FC236}">
                <a16:creationId xmlns:a16="http://schemas.microsoft.com/office/drawing/2014/main" id="{6BE6A2EB-C9CD-4206-945F-56D1CC87AB88}"/>
              </a:ext>
            </a:extLst>
          </p:cNvPr>
          <p:cNvSpPr txBox="1"/>
          <p:nvPr/>
        </p:nvSpPr>
        <p:spPr>
          <a:xfrm>
            <a:off x="5066635" y="4477519"/>
            <a:ext cx="793807" cy="369332"/>
          </a:xfrm>
          <a:prstGeom prst="rect">
            <a:avLst/>
          </a:prstGeom>
          <a:noFill/>
        </p:spPr>
        <p:txBody>
          <a:bodyPr wrap="none" rtlCol="0">
            <a:spAutoFit/>
          </a:bodyPr>
          <a:lstStyle/>
          <a:p>
            <a:pPr algn="ctr"/>
            <a:r>
              <a:rPr lang="en-US" altLang="zh-CN" dirty="0">
                <a:solidFill>
                  <a:schemeClr val="bg1"/>
                </a:solidFill>
                <a:latin typeface="+mj-ea"/>
                <a:ea typeface="+mj-ea"/>
              </a:rPr>
              <a:t>2020</a:t>
            </a:r>
            <a:endParaRPr lang="zh-CN" altLang="en-US" dirty="0">
              <a:solidFill>
                <a:schemeClr val="bg1"/>
              </a:solidFill>
              <a:latin typeface="+mj-ea"/>
              <a:ea typeface="+mj-ea"/>
            </a:endParaRPr>
          </a:p>
        </p:txBody>
      </p:sp>
      <p:sp>
        <p:nvSpPr>
          <p:cNvPr id="34" name="文本框 33">
            <a:extLst>
              <a:ext uri="{FF2B5EF4-FFF2-40B4-BE49-F238E27FC236}">
                <a16:creationId xmlns:a16="http://schemas.microsoft.com/office/drawing/2014/main" id="{E32DC8E0-1ED3-4339-8ABB-64172F0F532A}"/>
              </a:ext>
            </a:extLst>
          </p:cNvPr>
          <p:cNvSpPr txBox="1"/>
          <p:nvPr/>
        </p:nvSpPr>
        <p:spPr>
          <a:xfrm>
            <a:off x="6367634" y="5708134"/>
            <a:ext cx="752129" cy="369332"/>
          </a:xfrm>
          <a:prstGeom prst="rect">
            <a:avLst/>
          </a:prstGeom>
          <a:noFill/>
        </p:spPr>
        <p:txBody>
          <a:bodyPr wrap="none" rtlCol="0">
            <a:spAutoFit/>
          </a:bodyPr>
          <a:lstStyle/>
          <a:p>
            <a:pPr algn="ctr"/>
            <a:r>
              <a:rPr lang="en-US" altLang="zh-CN" dirty="0">
                <a:solidFill>
                  <a:schemeClr val="bg1"/>
                </a:solidFill>
                <a:latin typeface="+mj-ea"/>
                <a:ea typeface="+mj-ea"/>
              </a:rPr>
              <a:t>2021</a:t>
            </a:r>
            <a:endParaRPr lang="zh-CN" altLang="en-US" dirty="0">
              <a:solidFill>
                <a:schemeClr val="bg1"/>
              </a:solidFill>
              <a:latin typeface="+mj-ea"/>
              <a:ea typeface="+mj-ea"/>
            </a:endParaRPr>
          </a:p>
        </p:txBody>
      </p:sp>
      <p:sp>
        <p:nvSpPr>
          <p:cNvPr id="36" name="文本框 35">
            <a:extLst>
              <a:ext uri="{FF2B5EF4-FFF2-40B4-BE49-F238E27FC236}">
                <a16:creationId xmlns:a16="http://schemas.microsoft.com/office/drawing/2014/main" id="{26FDC30B-B2F7-41BF-88C7-48B266F41278}"/>
              </a:ext>
            </a:extLst>
          </p:cNvPr>
          <p:cNvSpPr txBox="1"/>
          <p:nvPr/>
        </p:nvSpPr>
        <p:spPr>
          <a:xfrm>
            <a:off x="2578160" y="1575706"/>
            <a:ext cx="2031325" cy="369332"/>
          </a:xfrm>
          <a:prstGeom prst="rect">
            <a:avLst/>
          </a:prstGeom>
          <a:noFill/>
        </p:spPr>
        <p:txBody>
          <a:bodyPr wrap="none" rtlCol="0">
            <a:spAutoFit/>
          </a:bodyPr>
          <a:lstStyle/>
          <a:p>
            <a:pPr algn="ctr"/>
            <a:r>
              <a:rPr lang="zh-CN" altLang="en-US" dirty="0">
                <a:solidFill>
                  <a:schemeClr val="accent1"/>
                </a:solidFill>
                <a:latin typeface="+mj-ea"/>
                <a:ea typeface="+mj-ea"/>
              </a:rPr>
              <a:t>请在此处输入标题</a:t>
            </a:r>
          </a:p>
        </p:txBody>
      </p:sp>
      <p:sp>
        <p:nvSpPr>
          <p:cNvPr id="37" name="文本框 36">
            <a:extLst>
              <a:ext uri="{FF2B5EF4-FFF2-40B4-BE49-F238E27FC236}">
                <a16:creationId xmlns:a16="http://schemas.microsoft.com/office/drawing/2014/main" id="{2363D87D-0C8F-441B-875D-F7046D25C34C}"/>
              </a:ext>
            </a:extLst>
          </p:cNvPr>
          <p:cNvSpPr txBox="1"/>
          <p:nvPr/>
        </p:nvSpPr>
        <p:spPr>
          <a:xfrm>
            <a:off x="2351315" y="1920808"/>
            <a:ext cx="2360762" cy="646331"/>
          </a:xfrm>
          <a:prstGeom prst="rect">
            <a:avLst/>
          </a:prstGeom>
          <a:noFill/>
        </p:spPr>
        <p:txBody>
          <a:bodyPr wrap="square" rtlCol="0">
            <a:spAutoFit/>
          </a:bodyPr>
          <a:lstStyle/>
          <a:p>
            <a:pPr algn="just"/>
            <a:r>
              <a:rPr lang="en-US" altLang="zh-CN" sz="1200" dirty="0">
                <a:solidFill>
                  <a:schemeClr val="bg1"/>
                </a:solidFill>
              </a:rPr>
              <a:t>Lorem ipsum dolor sit amet, consectetur adipisicing elit, sed do eiusmod tempor</a:t>
            </a:r>
            <a:endParaRPr lang="zh-CN" altLang="en-US" sz="1200" dirty="0">
              <a:solidFill>
                <a:schemeClr val="bg1"/>
              </a:solidFill>
            </a:endParaRPr>
          </a:p>
        </p:txBody>
      </p:sp>
      <p:sp>
        <p:nvSpPr>
          <p:cNvPr id="38" name="文本框 37">
            <a:extLst>
              <a:ext uri="{FF2B5EF4-FFF2-40B4-BE49-F238E27FC236}">
                <a16:creationId xmlns:a16="http://schemas.microsoft.com/office/drawing/2014/main" id="{97F8B921-99B6-4F35-932E-058848D881E7}"/>
              </a:ext>
            </a:extLst>
          </p:cNvPr>
          <p:cNvSpPr txBox="1"/>
          <p:nvPr/>
        </p:nvSpPr>
        <p:spPr>
          <a:xfrm>
            <a:off x="2578160" y="4061731"/>
            <a:ext cx="2031325" cy="369332"/>
          </a:xfrm>
          <a:prstGeom prst="rect">
            <a:avLst/>
          </a:prstGeom>
          <a:noFill/>
        </p:spPr>
        <p:txBody>
          <a:bodyPr wrap="none" rtlCol="0">
            <a:spAutoFit/>
          </a:bodyPr>
          <a:lstStyle/>
          <a:p>
            <a:pPr algn="ctr"/>
            <a:r>
              <a:rPr lang="zh-CN" altLang="en-US" dirty="0">
                <a:solidFill>
                  <a:schemeClr val="accent1"/>
                </a:solidFill>
                <a:latin typeface="+mj-ea"/>
                <a:ea typeface="+mj-ea"/>
              </a:rPr>
              <a:t>请在此处输入标题</a:t>
            </a:r>
          </a:p>
        </p:txBody>
      </p:sp>
      <p:sp>
        <p:nvSpPr>
          <p:cNvPr id="39" name="文本框 38">
            <a:extLst>
              <a:ext uri="{FF2B5EF4-FFF2-40B4-BE49-F238E27FC236}">
                <a16:creationId xmlns:a16="http://schemas.microsoft.com/office/drawing/2014/main" id="{36A5D366-EFDA-4059-87D3-3D5FC76F1241}"/>
              </a:ext>
            </a:extLst>
          </p:cNvPr>
          <p:cNvSpPr txBox="1"/>
          <p:nvPr/>
        </p:nvSpPr>
        <p:spPr>
          <a:xfrm>
            <a:off x="2351315" y="4416358"/>
            <a:ext cx="2360762" cy="646331"/>
          </a:xfrm>
          <a:prstGeom prst="rect">
            <a:avLst/>
          </a:prstGeom>
          <a:noFill/>
        </p:spPr>
        <p:txBody>
          <a:bodyPr wrap="square" rtlCol="0">
            <a:spAutoFit/>
          </a:bodyPr>
          <a:lstStyle/>
          <a:p>
            <a:pPr algn="just"/>
            <a:r>
              <a:rPr lang="en-US" altLang="zh-CN" sz="1200" dirty="0">
                <a:solidFill>
                  <a:schemeClr val="bg1"/>
                </a:solidFill>
              </a:rPr>
              <a:t>Lorem ipsum dolor sit amet, consectetur adipisicing elit, sed do eiusmod tempor</a:t>
            </a:r>
            <a:endParaRPr lang="zh-CN" altLang="en-US" sz="1200" dirty="0">
              <a:solidFill>
                <a:schemeClr val="bg1"/>
              </a:solidFill>
            </a:endParaRPr>
          </a:p>
        </p:txBody>
      </p:sp>
      <p:sp>
        <p:nvSpPr>
          <p:cNvPr id="40" name="文本框 39">
            <a:extLst>
              <a:ext uri="{FF2B5EF4-FFF2-40B4-BE49-F238E27FC236}">
                <a16:creationId xmlns:a16="http://schemas.microsoft.com/office/drawing/2014/main" id="{00D74D3F-9551-4DA1-BF12-70AFE4780AEA}"/>
              </a:ext>
            </a:extLst>
          </p:cNvPr>
          <p:cNvSpPr txBox="1"/>
          <p:nvPr/>
        </p:nvSpPr>
        <p:spPr>
          <a:xfrm>
            <a:off x="7721660" y="2823481"/>
            <a:ext cx="2031325" cy="369332"/>
          </a:xfrm>
          <a:prstGeom prst="rect">
            <a:avLst/>
          </a:prstGeom>
          <a:noFill/>
        </p:spPr>
        <p:txBody>
          <a:bodyPr wrap="none" rtlCol="0">
            <a:spAutoFit/>
          </a:bodyPr>
          <a:lstStyle/>
          <a:p>
            <a:pPr algn="ctr"/>
            <a:r>
              <a:rPr lang="zh-CN" altLang="en-US" dirty="0">
                <a:solidFill>
                  <a:schemeClr val="accent1"/>
                </a:solidFill>
                <a:latin typeface="+mj-ea"/>
                <a:ea typeface="+mj-ea"/>
              </a:rPr>
              <a:t>请在此处输入标题</a:t>
            </a:r>
          </a:p>
        </p:txBody>
      </p:sp>
      <p:sp>
        <p:nvSpPr>
          <p:cNvPr id="41" name="文本框 40">
            <a:extLst>
              <a:ext uri="{FF2B5EF4-FFF2-40B4-BE49-F238E27FC236}">
                <a16:creationId xmlns:a16="http://schemas.microsoft.com/office/drawing/2014/main" id="{EA197B0F-D11D-473A-980D-611D85314BE5}"/>
              </a:ext>
            </a:extLst>
          </p:cNvPr>
          <p:cNvSpPr txBox="1"/>
          <p:nvPr/>
        </p:nvSpPr>
        <p:spPr>
          <a:xfrm>
            <a:off x="7494815" y="3168583"/>
            <a:ext cx="2360762" cy="646331"/>
          </a:xfrm>
          <a:prstGeom prst="rect">
            <a:avLst/>
          </a:prstGeom>
          <a:noFill/>
        </p:spPr>
        <p:txBody>
          <a:bodyPr wrap="square" rtlCol="0">
            <a:spAutoFit/>
          </a:bodyPr>
          <a:lstStyle/>
          <a:p>
            <a:pPr algn="just"/>
            <a:r>
              <a:rPr lang="en-US" altLang="zh-CN" sz="1200" dirty="0">
                <a:solidFill>
                  <a:schemeClr val="bg1"/>
                </a:solidFill>
              </a:rPr>
              <a:t>Lorem ipsum dolor sit amet, consectetur adipisicing elit, sed do eiusmod tempor</a:t>
            </a:r>
            <a:endParaRPr lang="zh-CN" altLang="en-US" sz="1200" dirty="0">
              <a:solidFill>
                <a:schemeClr val="bg1"/>
              </a:solidFill>
            </a:endParaRPr>
          </a:p>
        </p:txBody>
      </p:sp>
      <p:sp>
        <p:nvSpPr>
          <p:cNvPr id="42" name="文本框 41">
            <a:extLst>
              <a:ext uri="{FF2B5EF4-FFF2-40B4-BE49-F238E27FC236}">
                <a16:creationId xmlns:a16="http://schemas.microsoft.com/office/drawing/2014/main" id="{7410F53D-7F77-4BDF-BAE5-D79DAB865AA2}"/>
              </a:ext>
            </a:extLst>
          </p:cNvPr>
          <p:cNvSpPr txBox="1"/>
          <p:nvPr/>
        </p:nvSpPr>
        <p:spPr>
          <a:xfrm>
            <a:off x="7721660" y="5319031"/>
            <a:ext cx="2031325" cy="369332"/>
          </a:xfrm>
          <a:prstGeom prst="rect">
            <a:avLst/>
          </a:prstGeom>
          <a:noFill/>
        </p:spPr>
        <p:txBody>
          <a:bodyPr wrap="none" rtlCol="0">
            <a:spAutoFit/>
          </a:bodyPr>
          <a:lstStyle/>
          <a:p>
            <a:pPr algn="ctr"/>
            <a:r>
              <a:rPr lang="zh-CN" altLang="en-US" dirty="0">
                <a:solidFill>
                  <a:schemeClr val="accent1"/>
                </a:solidFill>
                <a:latin typeface="+mj-ea"/>
                <a:ea typeface="+mj-ea"/>
              </a:rPr>
              <a:t>请在此处输入标题</a:t>
            </a:r>
          </a:p>
        </p:txBody>
      </p:sp>
      <p:sp>
        <p:nvSpPr>
          <p:cNvPr id="43" name="文本框 42">
            <a:extLst>
              <a:ext uri="{FF2B5EF4-FFF2-40B4-BE49-F238E27FC236}">
                <a16:creationId xmlns:a16="http://schemas.microsoft.com/office/drawing/2014/main" id="{09B1E263-A5D2-40DA-B3C9-EFB5C79A7516}"/>
              </a:ext>
            </a:extLst>
          </p:cNvPr>
          <p:cNvSpPr txBox="1"/>
          <p:nvPr/>
        </p:nvSpPr>
        <p:spPr>
          <a:xfrm>
            <a:off x="7494815" y="5664133"/>
            <a:ext cx="2360762" cy="646331"/>
          </a:xfrm>
          <a:prstGeom prst="rect">
            <a:avLst/>
          </a:prstGeom>
          <a:noFill/>
        </p:spPr>
        <p:txBody>
          <a:bodyPr wrap="square" rtlCol="0">
            <a:spAutoFit/>
          </a:bodyPr>
          <a:lstStyle/>
          <a:p>
            <a:pPr algn="just"/>
            <a:r>
              <a:rPr lang="en-US" altLang="zh-CN" sz="1200" dirty="0">
                <a:solidFill>
                  <a:schemeClr val="bg1"/>
                </a:solidFill>
              </a:rPr>
              <a:t>Lorem ipsum dolor sit amet, consectetur adipisicing elit, sed do eiusmod tempor</a:t>
            </a:r>
            <a:endParaRPr lang="zh-CN" altLang="en-US" sz="1200" dirty="0">
              <a:solidFill>
                <a:schemeClr val="bg1"/>
              </a:solidFill>
            </a:endParaRPr>
          </a:p>
        </p:txBody>
      </p:sp>
    </p:spTree>
    <p:extLst>
      <p:ext uri="{BB962C8B-B14F-4D97-AF65-F5344CB8AC3E}">
        <p14:creationId xmlns:p14="http://schemas.microsoft.com/office/powerpoint/2010/main" val="3181606184"/>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4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矩形 2">
            <a:extLst>
              <a:ext uri="{FF2B5EF4-FFF2-40B4-BE49-F238E27FC236}">
                <a16:creationId xmlns:a16="http://schemas.microsoft.com/office/drawing/2014/main" id="{8ED492F9-3E96-40ED-B33A-3B8DFAF9E95C}"/>
              </a:ext>
            </a:extLst>
          </p:cNvPr>
          <p:cNvSpPr/>
          <p:nvPr/>
        </p:nvSpPr>
        <p:spPr>
          <a:xfrm>
            <a:off x="0" y="3030499"/>
            <a:ext cx="12192000" cy="737054"/>
          </a:xfrm>
          <a:prstGeom prst="rect">
            <a:avLst/>
          </a:pr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 name="椭圆 3">
            <a:extLst>
              <a:ext uri="{FF2B5EF4-FFF2-40B4-BE49-F238E27FC236}">
                <a16:creationId xmlns:a16="http://schemas.microsoft.com/office/drawing/2014/main" id="{C3A368E6-E9B2-4BAA-A95D-CB2A8EEEBE42}"/>
              </a:ext>
            </a:extLst>
          </p:cNvPr>
          <p:cNvSpPr/>
          <p:nvPr/>
        </p:nvSpPr>
        <p:spPr>
          <a:xfrm>
            <a:off x="1088572" y="2737399"/>
            <a:ext cx="1323254" cy="1323254"/>
          </a:xfrm>
          <a:prstGeom prst="ellipse">
            <a:avLst/>
          </a:pr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 name="椭圆 4">
            <a:extLst>
              <a:ext uri="{FF2B5EF4-FFF2-40B4-BE49-F238E27FC236}">
                <a16:creationId xmlns:a16="http://schemas.microsoft.com/office/drawing/2014/main" id="{AD3836E1-5D19-4603-B5FF-7B6C4F2145C5}"/>
              </a:ext>
            </a:extLst>
          </p:cNvPr>
          <p:cNvSpPr/>
          <p:nvPr/>
        </p:nvSpPr>
        <p:spPr>
          <a:xfrm>
            <a:off x="3261473" y="2737399"/>
            <a:ext cx="1323254" cy="1323254"/>
          </a:xfrm>
          <a:prstGeom prst="ellipse">
            <a:avLst/>
          </a:pr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 name="椭圆 5">
            <a:extLst>
              <a:ext uri="{FF2B5EF4-FFF2-40B4-BE49-F238E27FC236}">
                <a16:creationId xmlns:a16="http://schemas.microsoft.com/office/drawing/2014/main" id="{765800CE-5672-40DF-B929-6583A9E17E41}"/>
              </a:ext>
            </a:extLst>
          </p:cNvPr>
          <p:cNvSpPr/>
          <p:nvPr/>
        </p:nvSpPr>
        <p:spPr>
          <a:xfrm>
            <a:off x="5434373" y="2737399"/>
            <a:ext cx="1323254" cy="1323254"/>
          </a:xfrm>
          <a:prstGeom prst="ellipse">
            <a:avLst/>
          </a:pr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 name="椭圆 6">
            <a:extLst>
              <a:ext uri="{FF2B5EF4-FFF2-40B4-BE49-F238E27FC236}">
                <a16:creationId xmlns:a16="http://schemas.microsoft.com/office/drawing/2014/main" id="{E7D47EA8-1CCB-4D2A-920A-5E64C71A9C7D}"/>
              </a:ext>
            </a:extLst>
          </p:cNvPr>
          <p:cNvSpPr/>
          <p:nvPr/>
        </p:nvSpPr>
        <p:spPr>
          <a:xfrm>
            <a:off x="9780174" y="2737399"/>
            <a:ext cx="1323254" cy="1323254"/>
          </a:xfrm>
          <a:prstGeom prst="ellipse">
            <a:avLst/>
          </a:pr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 name="椭圆 8">
            <a:extLst>
              <a:ext uri="{FF2B5EF4-FFF2-40B4-BE49-F238E27FC236}">
                <a16:creationId xmlns:a16="http://schemas.microsoft.com/office/drawing/2014/main" id="{D11939DC-FF60-4669-9B38-F0F83053AF05}"/>
              </a:ext>
            </a:extLst>
          </p:cNvPr>
          <p:cNvSpPr/>
          <p:nvPr/>
        </p:nvSpPr>
        <p:spPr>
          <a:xfrm>
            <a:off x="7607273" y="2737399"/>
            <a:ext cx="1323254" cy="1323254"/>
          </a:xfrm>
          <a:prstGeom prst="ellipse">
            <a:avLst/>
          </a:pr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 name="椭圆 11">
            <a:extLst>
              <a:ext uri="{FF2B5EF4-FFF2-40B4-BE49-F238E27FC236}">
                <a16:creationId xmlns:a16="http://schemas.microsoft.com/office/drawing/2014/main" id="{6CFBFDE2-5A5B-4968-A10E-6BD6B3CCCFB6}"/>
              </a:ext>
            </a:extLst>
          </p:cNvPr>
          <p:cNvSpPr/>
          <p:nvPr/>
        </p:nvSpPr>
        <p:spPr>
          <a:xfrm>
            <a:off x="1208876" y="2857704"/>
            <a:ext cx="1082645" cy="1082645"/>
          </a:xfrm>
          <a:prstGeom prst="ellipse">
            <a:avLst/>
          </a:prstGeom>
          <a:solidFill>
            <a:schemeClr val="bg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3" name="椭圆 12">
            <a:extLst>
              <a:ext uri="{FF2B5EF4-FFF2-40B4-BE49-F238E27FC236}">
                <a16:creationId xmlns:a16="http://schemas.microsoft.com/office/drawing/2014/main" id="{94DAB9B1-3AF7-46EB-8E67-5E4D4E36FF1D}"/>
              </a:ext>
            </a:extLst>
          </p:cNvPr>
          <p:cNvSpPr/>
          <p:nvPr/>
        </p:nvSpPr>
        <p:spPr>
          <a:xfrm>
            <a:off x="3381777" y="2857704"/>
            <a:ext cx="1082645" cy="1082645"/>
          </a:xfrm>
          <a:prstGeom prst="ellipse">
            <a:avLst/>
          </a:prstGeom>
          <a:solidFill>
            <a:schemeClr val="bg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4" name="椭圆 13">
            <a:extLst>
              <a:ext uri="{FF2B5EF4-FFF2-40B4-BE49-F238E27FC236}">
                <a16:creationId xmlns:a16="http://schemas.microsoft.com/office/drawing/2014/main" id="{EBB7B58D-E581-4D83-99A3-2654393C8103}"/>
              </a:ext>
            </a:extLst>
          </p:cNvPr>
          <p:cNvSpPr/>
          <p:nvPr/>
        </p:nvSpPr>
        <p:spPr>
          <a:xfrm>
            <a:off x="5544406" y="2857704"/>
            <a:ext cx="1082645" cy="1082645"/>
          </a:xfrm>
          <a:prstGeom prst="ellipse">
            <a:avLst/>
          </a:prstGeom>
          <a:solidFill>
            <a:schemeClr val="bg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 name="椭圆 14">
            <a:extLst>
              <a:ext uri="{FF2B5EF4-FFF2-40B4-BE49-F238E27FC236}">
                <a16:creationId xmlns:a16="http://schemas.microsoft.com/office/drawing/2014/main" id="{B592AD5B-CAE8-47F3-8F11-3B316BF515F7}"/>
              </a:ext>
            </a:extLst>
          </p:cNvPr>
          <p:cNvSpPr/>
          <p:nvPr/>
        </p:nvSpPr>
        <p:spPr>
          <a:xfrm>
            <a:off x="7727577" y="2857704"/>
            <a:ext cx="1082645" cy="1082645"/>
          </a:xfrm>
          <a:prstGeom prst="ellipse">
            <a:avLst/>
          </a:prstGeom>
          <a:solidFill>
            <a:schemeClr val="bg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6" name="椭圆 15">
            <a:extLst>
              <a:ext uri="{FF2B5EF4-FFF2-40B4-BE49-F238E27FC236}">
                <a16:creationId xmlns:a16="http://schemas.microsoft.com/office/drawing/2014/main" id="{ABF8BD4A-68C7-4AFC-8CD3-CF0BA28928F7}"/>
              </a:ext>
            </a:extLst>
          </p:cNvPr>
          <p:cNvSpPr/>
          <p:nvPr/>
        </p:nvSpPr>
        <p:spPr>
          <a:xfrm>
            <a:off x="9900479" y="2857704"/>
            <a:ext cx="1082645" cy="1082645"/>
          </a:xfrm>
          <a:prstGeom prst="ellipse">
            <a:avLst/>
          </a:prstGeom>
          <a:solidFill>
            <a:schemeClr val="bg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7" name="文本框 16">
            <a:extLst>
              <a:ext uri="{FF2B5EF4-FFF2-40B4-BE49-F238E27FC236}">
                <a16:creationId xmlns:a16="http://schemas.microsoft.com/office/drawing/2014/main" id="{30C4F4FF-5215-4285-962A-D20AB2AC096E}"/>
              </a:ext>
            </a:extLst>
          </p:cNvPr>
          <p:cNvSpPr txBox="1"/>
          <p:nvPr/>
        </p:nvSpPr>
        <p:spPr>
          <a:xfrm>
            <a:off x="1208876" y="3137416"/>
            <a:ext cx="1063112" cy="523220"/>
          </a:xfrm>
          <a:prstGeom prst="rect">
            <a:avLst/>
          </a:prstGeom>
          <a:noFill/>
        </p:spPr>
        <p:txBody>
          <a:bodyPr wrap="none" rtlCol="0">
            <a:spAutoFit/>
          </a:bodyPr>
          <a:lstStyle/>
          <a:p>
            <a:pPr algn="ctr"/>
            <a:r>
              <a:rPr lang="en-US" altLang="zh-CN" sz="2800" dirty="0">
                <a:solidFill>
                  <a:schemeClr val="accent1"/>
                </a:solidFill>
                <a:latin typeface="+mj-ea"/>
                <a:ea typeface="+mj-ea"/>
              </a:rPr>
              <a:t>2018</a:t>
            </a:r>
            <a:endParaRPr lang="zh-CN" altLang="en-US" sz="2800" dirty="0">
              <a:solidFill>
                <a:schemeClr val="accent1"/>
              </a:solidFill>
              <a:latin typeface="+mj-ea"/>
              <a:ea typeface="+mj-ea"/>
            </a:endParaRPr>
          </a:p>
        </p:txBody>
      </p:sp>
      <p:sp>
        <p:nvSpPr>
          <p:cNvPr id="18" name="文本框 17">
            <a:extLst>
              <a:ext uri="{FF2B5EF4-FFF2-40B4-BE49-F238E27FC236}">
                <a16:creationId xmlns:a16="http://schemas.microsoft.com/office/drawing/2014/main" id="{A6290FAC-C569-4106-ACA6-0AA904A7FB77}"/>
              </a:ext>
            </a:extLst>
          </p:cNvPr>
          <p:cNvSpPr txBox="1"/>
          <p:nvPr/>
        </p:nvSpPr>
        <p:spPr>
          <a:xfrm>
            <a:off x="3381776" y="3137416"/>
            <a:ext cx="1063113" cy="523220"/>
          </a:xfrm>
          <a:prstGeom prst="rect">
            <a:avLst/>
          </a:prstGeom>
          <a:noFill/>
        </p:spPr>
        <p:txBody>
          <a:bodyPr wrap="none" rtlCol="0">
            <a:spAutoFit/>
          </a:bodyPr>
          <a:lstStyle/>
          <a:p>
            <a:pPr algn="ctr"/>
            <a:r>
              <a:rPr lang="en-US" altLang="zh-CN" sz="2800" dirty="0">
                <a:solidFill>
                  <a:schemeClr val="accent1"/>
                </a:solidFill>
                <a:latin typeface="+mj-ea"/>
                <a:ea typeface="+mj-ea"/>
              </a:rPr>
              <a:t>2019</a:t>
            </a:r>
            <a:endParaRPr lang="zh-CN" altLang="en-US" sz="2800" dirty="0">
              <a:solidFill>
                <a:schemeClr val="accent1"/>
              </a:solidFill>
              <a:latin typeface="+mj-ea"/>
              <a:ea typeface="+mj-ea"/>
            </a:endParaRPr>
          </a:p>
        </p:txBody>
      </p:sp>
      <p:sp>
        <p:nvSpPr>
          <p:cNvPr id="19" name="文本框 18">
            <a:extLst>
              <a:ext uri="{FF2B5EF4-FFF2-40B4-BE49-F238E27FC236}">
                <a16:creationId xmlns:a16="http://schemas.microsoft.com/office/drawing/2014/main" id="{427C98BB-FFE6-454A-837B-E260BAC874F2}"/>
              </a:ext>
            </a:extLst>
          </p:cNvPr>
          <p:cNvSpPr txBox="1"/>
          <p:nvPr/>
        </p:nvSpPr>
        <p:spPr>
          <a:xfrm>
            <a:off x="5522111" y="3137416"/>
            <a:ext cx="1127233" cy="523220"/>
          </a:xfrm>
          <a:prstGeom prst="rect">
            <a:avLst/>
          </a:prstGeom>
          <a:noFill/>
        </p:spPr>
        <p:txBody>
          <a:bodyPr wrap="none" rtlCol="0">
            <a:spAutoFit/>
          </a:bodyPr>
          <a:lstStyle/>
          <a:p>
            <a:pPr algn="ctr"/>
            <a:r>
              <a:rPr lang="en-US" altLang="zh-CN" sz="2800" dirty="0">
                <a:solidFill>
                  <a:schemeClr val="accent1"/>
                </a:solidFill>
                <a:latin typeface="+mj-ea"/>
                <a:ea typeface="+mj-ea"/>
              </a:rPr>
              <a:t>2020</a:t>
            </a:r>
            <a:endParaRPr lang="zh-CN" altLang="en-US" sz="2800" dirty="0">
              <a:solidFill>
                <a:schemeClr val="accent1"/>
              </a:solidFill>
              <a:latin typeface="+mj-ea"/>
              <a:ea typeface="+mj-ea"/>
            </a:endParaRPr>
          </a:p>
        </p:txBody>
      </p:sp>
      <p:sp>
        <p:nvSpPr>
          <p:cNvPr id="20" name="文本框 19">
            <a:extLst>
              <a:ext uri="{FF2B5EF4-FFF2-40B4-BE49-F238E27FC236}">
                <a16:creationId xmlns:a16="http://schemas.microsoft.com/office/drawing/2014/main" id="{5FDDD033-1C40-49EB-A757-9CFCCE4F2412}"/>
              </a:ext>
            </a:extLst>
          </p:cNvPr>
          <p:cNvSpPr txBox="1"/>
          <p:nvPr/>
        </p:nvSpPr>
        <p:spPr>
          <a:xfrm>
            <a:off x="7737342" y="3137416"/>
            <a:ext cx="1063113" cy="523220"/>
          </a:xfrm>
          <a:prstGeom prst="rect">
            <a:avLst/>
          </a:prstGeom>
          <a:noFill/>
        </p:spPr>
        <p:txBody>
          <a:bodyPr wrap="none" rtlCol="0">
            <a:spAutoFit/>
          </a:bodyPr>
          <a:lstStyle/>
          <a:p>
            <a:pPr algn="ctr"/>
            <a:r>
              <a:rPr lang="en-US" altLang="zh-CN" sz="2800" dirty="0">
                <a:solidFill>
                  <a:schemeClr val="accent1"/>
                </a:solidFill>
                <a:latin typeface="+mj-ea"/>
                <a:ea typeface="+mj-ea"/>
              </a:rPr>
              <a:t>2021</a:t>
            </a:r>
            <a:endParaRPr lang="zh-CN" altLang="en-US" sz="2800" dirty="0">
              <a:solidFill>
                <a:schemeClr val="accent1"/>
              </a:solidFill>
              <a:latin typeface="+mj-ea"/>
              <a:ea typeface="+mj-ea"/>
            </a:endParaRPr>
          </a:p>
        </p:txBody>
      </p:sp>
      <p:sp>
        <p:nvSpPr>
          <p:cNvPr id="21" name="文本框 20">
            <a:extLst>
              <a:ext uri="{FF2B5EF4-FFF2-40B4-BE49-F238E27FC236}">
                <a16:creationId xmlns:a16="http://schemas.microsoft.com/office/drawing/2014/main" id="{6F1563BD-5EA0-4297-A36A-67937EE97F9A}"/>
              </a:ext>
            </a:extLst>
          </p:cNvPr>
          <p:cNvSpPr txBox="1"/>
          <p:nvPr/>
        </p:nvSpPr>
        <p:spPr>
          <a:xfrm>
            <a:off x="9868418" y="3137416"/>
            <a:ext cx="1127233" cy="523220"/>
          </a:xfrm>
          <a:prstGeom prst="rect">
            <a:avLst/>
          </a:prstGeom>
          <a:noFill/>
        </p:spPr>
        <p:txBody>
          <a:bodyPr wrap="none" rtlCol="0">
            <a:spAutoFit/>
          </a:bodyPr>
          <a:lstStyle/>
          <a:p>
            <a:pPr algn="ctr"/>
            <a:r>
              <a:rPr lang="en-US" altLang="zh-CN" sz="2800" dirty="0">
                <a:solidFill>
                  <a:schemeClr val="accent1"/>
                </a:solidFill>
                <a:latin typeface="+mj-ea"/>
                <a:ea typeface="+mj-ea"/>
              </a:rPr>
              <a:t>2022</a:t>
            </a:r>
            <a:endParaRPr lang="zh-CN" altLang="en-US" sz="2800" dirty="0">
              <a:solidFill>
                <a:schemeClr val="accent1"/>
              </a:solidFill>
              <a:latin typeface="+mj-ea"/>
              <a:ea typeface="+mj-ea"/>
            </a:endParaRPr>
          </a:p>
        </p:txBody>
      </p:sp>
      <p:sp>
        <p:nvSpPr>
          <p:cNvPr id="22" name="文本框 21">
            <a:extLst>
              <a:ext uri="{FF2B5EF4-FFF2-40B4-BE49-F238E27FC236}">
                <a16:creationId xmlns:a16="http://schemas.microsoft.com/office/drawing/2014/main" id="{B58FB68F-3593-4D47-9745-3B5FBA848A3E}"/>
              </a:ext>
            </a:extLst>
          </p:cNvPr>
          <p:cNvSpPr txBox="1"/>
          <p:nvPr/>
        </p:nvSpPr>
        <p:spPr>
          <a:xfrm>
            <a:off x="622177" y="4112150"/>
            <a:ext cx="2236509" cy="646331"/>
          </a:xfrm>
          <a:prstGeom prst="rect">
            <a:avLst/>
          </a:prstGeom>
          <a:noFill/>
        </p:spPr>
        <p:txBody>
          <a:bodyPr wrap="square" rtlCol="0">
            <a:spAutoFit/>
          </a:bodyPr>
          <a:lstStyle/>
          <a:p>
            <a:pPr algn="ctr"/>
            <a:r>
              <a:rPr lang="en-US" altLang="zh-CN" sz="1200" dirty="0"/>
              <a:t>Lorem ipsum dolor sit amet, consectetur adipisicing elit, sed do eiusmod tempor</a:t>
            </a:r>
            <a:endParaRPr lang="zh-CN" altLang="en-US" sz="1200" dirty="0"/>
          </a:p>
        </p:txBody>
      </p:sp>
      <p:sp>
        <p:nvSpPr>
          <p:cNvPr id="23" name="文本框 22">
            <a:extLst>
              <a:ext uri="{FF2B5EF4-FFF2-40B4-BE49-F238E27FC236}">
                <a16:creationId xmlns:a16="http://schemas.microsoft.com/office/drawing/2014/main" id="{5FE9A5AD-1106-4351-911B-55C06865AB70}"/>
              </a:ext>
            </a:extLst>
          </p:cNvPr>
          <p:cNvSpPr txBox="1"/>
          <p:nvPr/>
        </p:nvSpPr>
        <p:spPr>
          <a:xfrm>
            <a:off x="4967472" y="4112150"/>
            <a:ext cx="2236509" cy="646331"/>
          </a:xfrm>
          <a:prstGeom prst="rect">
            <a:avLst/>
          </a:prstGeom>
          <a:noFill/>
        </p:spPr>
        <p:txBody>
          <a:bodyPr wrap="square" rtlCol="0">
            <a:spAutoFit/>
          </a:bodyPr>
          <a:lstStyle/>
          <a:p>
            <a:pPr algn="ctr"/>
            <a:r>
              <a:rPr lang="en-US" altLang="zh-CN" sz="1200" dirty="0"/>
              <a:t>Lorem ipsum dolor sit amet, consectetur adipisicing elit, sed do eiusmod tempor</a:t>
            </a:r>
            <a:endParaRPr lang="zh-CN" altLang="en-US" sz="1200" dirty="0"/>
          </a:p>
        </p:txBody>
      </p:sp>
      <p:sp>
        <p:nvSpPr>
          <p:cNvPr id="24" name="文本框 23">
            <a:extLst>
              <a:ext uri="{FF2B5EF4-FFF2-40B4-BE49-F238E27FC236}">
                <a16:creationId xmlns:a16="http://schemas.microsoft.com/office/drawing/2014/main" id="{2CF1B74B-5D1F-4BEE-9293-A56ACBF883EF}"/>
              </a:ext>
            </a:extLst>
          </p:cNvPr>
          <p:cNvSpPr txBox="1"/>
          <p:nvPr/>
        </p:nvSpPr>
        <p:spPr>
          <a:xfrm>
            <a:off x="9333314" y="4112150"/>
            <a:ext cx="2236509" cy="646331"/>
          </a:xfrm>
          <a:prstGeom prst="rect">
            <a:avLst/>
          </a:prstGeom>
          <a:noFill/>
        </p:spPr>
        <p:txBody>
          <a:bodyPr wrap="square" rtlCol="0">
            <a:spAutoFit/>
          </a:bodyPr>
          <a:lstStyle/>
          <a:p>
            <a:pPr algn="ctr"/>
            <a:r>
              <a:rPr lang="en-US" altLang="zh-CN" sz="1200" dirty="0"/>
              <a:t>Lorem ipsum dolor sit amet, consectetur adipisicing elit, sed do eiusmod tempor</a:t>
            </a:r>
            <a:endParaRPr lang="zh-CN" altLang="en-US" sz="1200" dirty="0"/>
          </a:p>
        </p:txBody>
      </p:sp>
      <p:sp>
        <p:nvSpPr>
          <p:cNvPr id="25" name="文本框 24">
            <a:extLst>
              <a:ext uri="{FF2B5EF4-FFF2-40B4-BE49-F238E27FC236}">
                <a16:creationId xmlns:a16="http://schemas.microsoft.com/office/drawing/2014/main" id="{E065A526-D4D9-4A51-8FA1-C2077DE86E43}"/>
              </a:ext>
            </a:extLst>
          </p:cNvPr>
          <p:cNvSpPr txBox="1"/>
          <p:nvPr/>
        </p:nvSpPr>
        <p:spPr>
          <a:xfrm>
            <a:off x="7150643" y="2004670"/>
            <a:ext cx="2236509" cy="646331"/>
          </a:xfrm>
          <a:prstGeom prst="rect">
            <a:avLst/>
          </a:prstGeom>
          <a:noFill/>
        </p:spPr>
        <p:txBody>
          <a:bodyPr wrap="square" rtlCol="0">
            <a:spAutoFit/>
          </a:bodyPr>
          <a:lstStyle/>
          <a:p>
            <a:pPr algn="ctr"/>
            <a:r>
              <a:rPr lang="en-US" altLang="zh-CN" sz="1200" dirty="0"/>
              <a:t>Lorem ipsum dolor sit amet, consectetur adipisicing elit, sed do eiusmod tempor</a:t>
            </a:r>
            <a:endParaRPr lang="zh-CN" altLang="en-US" sz="1200" dirty="0"/>
          </a:p>
        </p:txBody>
      </p:sp>
      <p:sp>
        <p:nvSpPr>
          <p:cNvPr id="26" name="文本框 25">
            <a:extLst>
              <a:ext uri="{FF2B5EF4-FFF2-40B4-BE49-F238E27FC236}">
                <a16:creationId xmlns:a16="http://schemas.microsoft.com/office/drawing/2014/main" id="{C4159AEE-1C6D-48CA-BC67-2FBCA5F66A4F}"/>
              </a:ext>
            </a:extLst>
          </p:cNvPr>
          <p:cNvSpPr txBox="1"/>
          <p:nvPr/>
        </p:nvSpPr>
        <p:spPr>
          <a:xfrm>
            <a:off x="2795077" y="2004670"/>
            <a:ext cx="2236509" cy="646331"/>
          </a:xfrm>
          <a:prstGeom prst="rect">
            <a:avLst/>
          </a:prstGeom>
          <a:noFill/>
        </p:spPr>
        <p:txBody>
          <a:bodyPr wrap="square" rtlCol="0">
            <a:spAutoFit/>
          </a:bodyPr>
          <a:lstStyle/>
          <a:p>
            <a:pPr algn="ctr"/>
            <a:r>
              <a:rPr lang="en-US" altLang="zh-CN" sz="1200" dirty="0"/>
              <a:t>Lorem ipsum dolor sit amet, consectetur adipisicing elit, sed do eiusmod tempor</a:t>
            </a:r>
            <a:endParaRPr lang="zh-CN" altLang="en-US" sz="1200" dirty="0"/>
          </a:p>
        </p:txBody>
      </p:sp>
    </p:spTree>
    <p:extLst>
      <p:ext uri="{BB962C8B-B14F-4D97-AF65-F5344CB8AC3E}">
        <p14:creationId xmlns:p14="http://schemas.microsoft.com/office/powerpoint/2010/main" val="3115784467"/>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4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任意多边形: 形状 2">
            <a:extLst>
              <a:ext uri="{FF2B5EF4-FFF2-40B4-BE49-F238E27FC236}">
                <a16:creationId xmlns:a16="http://schemas.microsoft.com/office/drawing/2014/main" id="{BAF460B5-719B-4386-9837-232B3820CE70}"/>
              </a:ext>
            </a:extLst>
          </p:cNvPr>
          <p:cNvSpPr/>
          <p:nvPr/>
        </p:nvSpPr>
        <p:spPr>
          <a:xfrm>
            <a:off x="2811712" y="1660397"/>
            <a:ext cx="6625073" cy="3600320"/>
          </a:xfrm>
          <a:custGeom>
            <a:avLst/>
            <a:gdLst>
              <a:gd name="connsiteX0" fmla="*/ 1594953 w 7146667"/>
              <a:gd name="connsiteY0" fmla="*/ 0 h 3242180"/>
              <a:gd name="connsiteX1" fmla="*/ 64733 w 7146667"/>
              <a:gd name="connsiteY1" fmla="*/ 830424 h 3242180"/>
              <a:gd name="connsiteX2" fmla="*/ 3517059 w 7146667"/>
              <a:gd name="connsiteY2" fmla="*/ 1082351 h 3242180"/>
              <a:gd name="connsiteX3" fmla="*/ 1137753 w 7146667"/>
              <a:gd name="connsiteY3" fmla="*/ 2967135 h 3242180"/>
              <a:gd name="connsiteX4" fmla="*/ 4907320 w 7146667"/>
              <a:gd name="connsiteY4" fmla="*/ 3219061 h 3242180"/>
              <a:gd name="connsiteX5" fmla="*/ 7146667 w 7146667"/>
              <a:gd name="connsiteY5" fmla="*/ 2845837 h 3242180"/>
              <a:gd name="connsiteX0" fmla="*/ 1602483 w 7145807"/>
              <a:gd name="connsiteY0" fmla="*/ 0 h 3470780"/>
              <a:gd name="connsiteX1" fmla="*/ 63873 w 7145807"/>
              <a:gd name="connsiteY1" fmla="*/ 1059024 h 3470780"/>
              <a:gd name="connsiteX2" fmla="*/ 3516199 w 7145807"/>
              <a:gd name="connsiteY2" fmla="*/ 1310951 h 3470780"/>
              <a:gd name="connsiteX3" fmla="*/ 1136893 w 7145807"/>
              <a:gd name="connsiteY3" fmla="*/ 3195735 h 3470780"/>
              <a:gd name="connsiteX4" fmla="*/ 4906460 w 7145807"/>
              <a:gd name="connsiteY4" fmla="*/ 3447661 h 3470780"/>
              <a:gd name="connsiteX5" fmla="*/ 7145807 w 7145807"/>
              <a:gd name="connsiteY5" fmla="*/ 3074437 h 3470780"/>
              <a:gd name="connsiteX0" fmla="*/ 1587434 w 7147538"/>
              <a:gd name="connsiteY0" fmla="*/ 0 h 3752720"/>
              <a:gd name="connsiteX1" fmla="*/ 65604 w 7147538"/>
              <a:gd name="connsiteY1" fmla="*/ 1340964 h 3752720"/>
              <a:gd name="connsiteX2" fmla="*/ 3517930 w 7147538"/>
              <a:gd name="connsiteY2" fmla="*/ 1592891 h 3752720"/>
              <a:gd name="connsiteX3" fmla="*/ 1138624 w 7147538"/>
              <a:gd name="connsiteY3" fmla="*/ 3477675 h 3752720"/>
              <a:gd name="connsiteX4" fmla="*/ 4908191 w 7147538"/>
              <a:gd name="connsiteY4" fmla="*/ 3729601 h 3752720"/>
              <a:gd name="connsiteX5" fmla="*/ 7147538 w 7147538"/>
              <a:gd name="connsiteY5" fmla="*/ 3356377 h 3752720"/>
              <a:gd name="connsiteX0" fmla="*/ 1587434 w 7147538"/>
              <a:gd name="connsiteY0" fmla="*/ 0 h 3752720"/>
              <a:gd name="connsiteX1" fmla="*/ 65604 w 7147538"/>
              <a:gd name="connsiteY1" fmla="*/ 1340964 h 3752720"/>
              <a:gd name="connsiteX2" fmla="*/ 3517930 w 7147538"/>
              <a:gd name="connsiteY2" fmla="*/ 1592891 h 3752720"/>
              <a:gd name="connsiteX3" fmla="*/ 1138624 w 7147538"/>
              <a:gd name="connsiteY3" fmla="*/ 3477675 h 3752720"/>
              <a:gd name="connsiteX4" fmla="*/ 4908191 w 7147538"/>
              <a:gd name="connsiteY4" fmla="*/ 3729601 h 3752720"/>
              <a:gd name="connsiteX5" fmla="*/ 7147538 w 7147538"/>
              <a:gd name="connsiteY5" fmla="*/ 3356377 h 3752720"/>
              <a:gd name="connsiteX0" fmla="*/ 1739329 w 7299433"/>
              <a:gd name="connsiteY0" fmla="*/ 0 h 3752720"/>
              <a:gd name="connsiteX1" fmla="*/ 58097 w 7299433"/>
              <a:gd name="connsiteY1" fmla="*/ 1295244 h 3752720"/>
              <a:gd name="connsiteX2" fmla="*/ 3669825 w 7299433"/>
              <a:gd name="connsiteY2" fmla="*/ 1592891 h 3752720"/>
              <a:gd name="connsiteX3" fmla="*/ 1290519 w 7299433"/>
              <a:gd name="connsiteY3" fmla="*/ 3477675 h 3752720"/>
              <a:gd name="connsiteX4" fmla="*/ 5060086 w 7299433"/>
              <a:gd name="connsiteY4" fmla="*/ 3729601 h 3752720"/>
              <a:gd name="connsiteX5" fmla="*/ 7299433 w 7299433"/>
              <a:gd name="connsiteY5" fmla="*/ 3356377 h 3752720"/>
              <a:gd name="connsiteX0" fmla="*/ 1785317 w 7295083"/>
              <a:gd name="connsiteY0" fmla="*/ 0 h 3600320"/>
              <a:gd name="connsiteX1" fmla="*/ 53747 w 7295083"/>
              <a:gd name="connsiteY1" fmla="*/ 1142844 h 3600320"/>
              <a:gd name="connsiteX2" fmla="*/ 3665475 w 7295083"/>
              <a:gd name="connsiteY2" fmla="*/ 1440491 h 3600320"/>
              <a:gd name="connsiteX3" fmla="*/ 1286169 w 7295083"/>
              <a:gd name="connsiteY3" fmla="*/ 3325275 h 3600320"/>
              <a:gd name="connsiteX4" fmla="*/ 5055736 w 7295083"/>
              <a:gd name="connsiteY4" fmla="*/ 3577201 h 3600320"/>
              <a:gd name="connsiteX5" fmla="*/ 7295083 w 7295083"/>
              <a:gd name="connsiteY5" fmla="*/ 3203977 h 3600320"/>
              <a:gd name="connsiteX0" fmla="*/ 1788531 w 7298297"/>
              <a:gd name="connsiteY0" fmla="*/ 0 h 3600320"/>
              <a:gd name="connsiteX1" fmla="*/ 56961 w 7298297"/>
              <a:gd name="connsiteY1" fmla="*/ 1142844 h 3600320"/>
              <a:gd name="connsiteX2" fmla="*/ 3668689 w 7298297"/>
              <a:gd name="connsiteY2" fmla="*/ 1440491 h 3600320"/>
              <a:gd name="connsiteX3" fmla="*/ 1289383 w 7298297"/>
              <a:gd name="connsiteY3" fmla="*/ 3325275 h 3600320"/>
              <a:gd name="connsiteX4" fmla="*/ 5058950 w 7298297"/>
              <a:gd name="connsiteY4" fmla="*/ 3577201 h 3600320"/>
              <a:gd name="connsiteX5" fmla="*/ 7298297 w 7298297"/>
              <a:gd name="connsiteY5" fmla="*/ 3203977 h 3600320"/>
              <a:gd name="connsiteX0" fmla="*/ 1790272 w 7300038"/>
              <a:gd name="connsiteY0" fmla="*/ 0 h 3600320"/>
              <a:gd name="connsiteX1" fmla="*/ 58702 w 7300038"/>
              <a:gd name="connsiteY1" fmla="*/ 1142844 h 3600320"/>
              <a:gd name="connsiteX2" fmla="*/ 3670430 w 7300038"/>
              <a:gd name="connsiteY2" fmla="*/ 1440491 h 3600320"/>
              <a:gd name="connsiteX3" fmla="*/ 1291124 w 7300038"/>
              <a:gd name="connsiteY3" fmla="*/ 3325275 h 3600320"/>
              <a:gd name="connsiteX4" fmla="*/ 5060691 w 7300038"/>
              <a:gd name="connsiteY4" fmla="*/ 3577201 h 3600320"/>
              <a:gd name="connsiteX5" fmla="*/ 7300038 w 7300038"/>
              <a:gd name="connsiteY5" fmla="*/ 3203977 h 3600320"/>
              <a:gd name="connsiteX0" fmla="*/ 1784417 w 7294183"/>
              <a:gd name="connsiteY0" fmla="*/ 0 h 3600320"/>
              <a:gd name="connsiteX1" fmla="*/ 52847 w 7294183"/>
              <a:gd name="connsiteY1" fmla="*/ 1142844 h 3600320"/>
              <a:gd name="connsiteX2" fmla="*/ 3664575 w 7294183"/>
              <a:gd name="connsiteY2" fmla="*/ 1440491 h 3600320"/>
              <a:gd name="connsiteX3" fmla="*/ 1285269 w 7294183"/>
              <a:gd name="connsiteY3" fmla="*/ 3325275 h 3600320"/>
              <a:gd name="connsiteX4" fmla="*/ 5054836 w 7294183"/>
              <a:gd name="connsiteY4" fmla="*/ 3577201 h 3600320"/>
              <a:gd name="connsiteX5" fmla="*/ 7294183 w 7294183"/>
              <a:gd name="connsiteY5" fmla="*/ 3203977 h 36003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294183" h="3600320">
                <a:moveTo>
                  <a:pt x="1784417" y="0"/>
                </a:moveTo>
                <a:cubicBezTo>
                  <a:pt x="884300" y="187856"/>
                  <a:pt x="-260513" y="902762"/>
                  <a:pt x="52847" y="1142844"/>
                </a:cubicBezTo>
                <a:cubicBezTo>
                  <a:pt x="366207" y="1382926"/>
                  <a:pt x="3459171" y="1076753"/>
                  <a:pt x="3664575" y="1440491"/>
                </a:cubicBezTo>
                <a:cubicBezTo>
                  <a:pt x="3869979" y="1804229"/>
                  <a:pt x="1053559" y="2969157"/>
                  <a:pt x="1285269" y="3325275"/>
                </a:cubicBezTo>
                <a:cubicBezTo>
                  <a:pt x="1516979" y="3681393"/>
                  <a:pt x="4053350" y="3597417"/>
                  <a:pt x="5054836" y="3577201"/>
                </a:cubicBezTo>
                <a:cubicBezTo>
                  <a:pt x="6056322" y="3556985"/>
                  <a:pt x="6675252" y="3380481"/>
                  <a:pt x="7294183" y="3203977"/>
                </a:cubicBezTo>
              </a:path>
            </a:pathLst>
          </a:custGeom>
          <a:noFill/>
          <a:ln w="25400">
            <a:solidFill>
              <a:schemeClr val="accent1"/>
            </a:solidFill>
          </a:ln>
          <a:scene3d>
            <a:camera prst="orthographicFront">
              <a:rot lat="18899995" lon="0" rev="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 name="文本框 6">
            <a:extLst>
              <a:ext uri="{FF2B5EF4-FFF2-40B4-BE49-F238E27FC236}">
                <a16:creationId xmlns:a16="http://schemas.microsoft.com/office/drawing/2014/main" id="{5A951233-0E2F-4418-A343-C11CD3451173}"/>
              </a:ext>
            </a:extLst>
          </p:cNvPr>
          <p:cNvSpPr txBox="1"/>
          <p:nvPr/>
        </p:nvSpPr>
        <p:spPr>
          <a:xfrm>
            <a:off x="4486176" y="1173268"/>
            <a:ext cx="1826141" cy="338554"/>
          </a:xfrm>
          <a:prstGeom prst="rect">
            <a:avLst/>
          </a:prstGeom>
          <a:noFill/>
        </p:spPr>
        <p:txBody>
          <a:bodyPr wrap="none" rtlCol="0">
            <a:spAutoFit/>
          </a:bodyPr>
          <a:lstStyle/>
          <a:p>
            <a:r>
              <a:rPr lang="zh-CN" altLang="en-US" sz="1600" dirty="0">
                <a:solidFill>
                  <a:schemeClr val="accent1"/>
                </a:solidFill>
                <a:latin typeface="+mj-ea"/>
                <a:ea typeface="+mj-ea"/>
              </a:rPr>
              <a:t>请在此处输入标题</a:t>
            </a:r>
          </a:p>
        </p:txBody>
      </p:sp>
      <p:sp>
        <p:nvSpPr>
          <p:cNvPr id="8" name="文本框 7">
            <a:extLst>
              <a:ext uri="{FF2B5EF4-FFF2-40B4-BE49-F238E27FC236}">
                <a16:creationId xmlns:a16="http://schemas.microsoft.com/office/drawing/2014/main" id="{BD9F296A-A9BC-473E-8245-A1FA55E0386E}"/>
              </a:ext>
            </a:extLst>
          </p:cNvPr>
          <p:cNvSpPr txBox="1"/>
          <p:nvPr/>
        </p:nvSpPr>
        <p:spPr>
          <a:xfrm>
            <a:off x="4486176" y="1449337"/>
            <a:ext cx="2327195" cy="646331"/>
          </a:xfrm>
          <a:prstGeom prst="rect">
            <a:avLst/>
          </a:prstGeom>
          <a:noFill/>
        </p:spPr>
        <p:txBody>
          <a:bodyPr wrap="square" rtlCol="0">
            <a:spAutoFit/>
          </a:bodyPr>
          <a:lstStyle/>
          <a:p>
            <a:r>
              <a:rPr lang="en-US" altLang="zh-CN" sz="1200" dirty="0"/>
              <a:t>Lorem ipsum dolor sit amet, consectetur adipisicing elit, sed do eiusmod tempor</a:t>
            </a:r>
            <a:endParaRPr lang="zh-CN" altLang="en-US" sz="1200" dirty="0"/>
          </a:p>
        </p:txBody>
      </p:sp>
      <p:grpSp>
        <p:nvGrpSpPr>
          <p:cNvPr id="10" name="组合 9">
            <a:extLst>
              <a:ext uri="{FF2B5EF4-FFF2-40B4-BE49-F238E27FC236}">
                <a16:creationId xmlns:a16="http://schemas.microsoft.com/office/drawing/2014/main" id="{9515FDDE-2E44-4A82-A7AE-B976ADFEF5B6}"/>
              </a:ext>
            </a:extLst>
          </p:cNvPr>
          <p:cNvGrpSpPr/>
          <p:nvPr/>
        </p:nvGrpSpPr>
        <p:grpSpPr>
          <a:xfrm>
            <a:off x="4373555" y="1320923"/>
            <a:ext cx="83976" cy="819346"/>
            <a:chOff x="3192464" y="1597283"/>
            <a:chExt cx="83976" cy="819346"/>
          </a:xfrm>
        </p:grpSpPr>
        <p:cxnSp>
          <p:nvCxnSpPr>
            <p:cNvPr id="5" name="直接连接符 4">
              <a:extLst>
                <a:ext uri="{FF2B5EF4-FFF2-40B4-BE49-F238E27FC236}">
                  <a16:creationId xmlns:a16="http://schemas.microsoft.com/office/drawing/2014/main" id="{898FB442-5629-41C4-8FC4-22EB586A2BFD}"/>
                </a:ext>
              </a:extLst>
            </p:cNvPr>
            <p:cNvCxnSpPr>
              <a:cxnSpLocks/>
            </p:cNvCxnSpPr>
            <p:nvPr/>
          </p:nvCxnSpPr>
          <p:spPr>
            <a:xfrm>
              <a:off x="3234452" y="1651052"/>
              <a:ext cx="0" cy="765577"/>
            </a:xfrm>
            <a:prstGeom prst="line">
              <a:avLst/>
            </a:prstGeom>
            <a:ln w="12700">
              <a:gradFill>
                <a:gsLst>
                  <a:gs pos="0">
                    <a:schemeClr val="accent1"/>
                  </a:gs>
                  <a:gs pos="100000">
                    <a:schemeClr val="accent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9" name="椭圆 8">
              <a:extLst>
                <a:ext uri="{FF2B5EF4-FFF2-40B4-BE49-F238E27FC236}">
                  <a16:creationId xmlns:a16="http://schemas.microsoft.com/office/drawing/2014/main" id="{85874317-E949-4F57-A5A4-9218B74A8A04}"/>
                </a:ext>
              </a:extLst>
            </p:cNvPr>
            <p:cNvSpPr/>
            <p:nvPr/>
          </p:nvSpPr>
          <p:spPr>
            <a:xfrm>
              <a:off x="3192464" y="1597283"/>
              <a:ext cx="83976" cy="83976"/>
            </a:xfrm>
            <a:prstGeom prst="ellipse">
              <a:avLst/>
            </a:pr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11" name="组合 10">
            <a:extLst>
              <a:ext uri="{FF2B5EF4-FFF2-40B4-BE49-F238E27FC236}">
                <a16:creationId xmlns:a16="http://schemas.microsoft.com/office/drawing/2014/main" id="{016A2E29-CA4B-411A-837A-4471F5EDF36A}"/>
              </a:ext>
            </a:extLst>
          </p:cNvPr>
          <p:cNvGrpSpPr/>
          <p:nvPr/>
        </p:nvGrpSpPr>
        <p:grpSpPr>
          <a:xfrm>
            <a:off x="2893630" y="2269647"/>
            <a:ext cx="83976" cy="819346"/>
            <a:chOff x="3192464" y="1597283"/>
            <a:chExt cx="83976" cy="819346"/>
          </a:xfrm>
        </p:grpSpPr>
        <p:cxnSp>
          <p:nvCxnSpPr>
            <p:cNvPr id="12" name="直接连接符 11">
              <a:extLst>
                <a:ext uri="{FF2B5EF4-FFF2-40B4-BE49-F238E27FC236}">
                  <a16:creationId xmlns:a16="http://schemas.microsoft.com/office/drawing/2014/main" id="{0C4B9DB9-E8EB-41C8-85CC-ED553BE94AF3}"/>
                </a:ext>
              </a:extLst>
            </p:cNvPr>
            <p:cNvCxnSpPr>
              <a:cxnSpLocks/>
            </p:cNvCxnSpPr>
            <p:nvPr/>
          </p:nvCxnSpPr>
          <p:spPr>
            <a:xfrm>
              <a:off x="3234452" y="1651052"/>
              <a:ext cx="0" cy="765577"/>
            </a:xfrm>
            <a:prstGeom prst="line">
              <a:avLst/>
            </a:prstGeom>
            <a:ln w="12700">
              <a:gradFill>
                <a:gsLst>
                  <a:gs pos="0">
                    <a:schemeClr val="accent1"/>
                  </a:gs>
                  <a:gs pos="100000">
                    <a:schemeClr val="accent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3" name="椭圆 12">
              <a:extLst>
                <a:ext uri="{FF2B5EF4-FFF2-40B4-BE49-F238E27FC236}">
                  <a16:creationId xmlns:a16="http://schemas.microsoft.com/office/drawing/2014/main" id="{0E659670-4E35-4692-8276-6193ABEC9403}"/>
                </a:ext>
              </a:extLst>
            </p:cNvPr>
            <p:cNvSpPr/>
            <p:nvPr/>
          </p:nvSpPr>
          <p:spPr>
            <a:xfrm>
              <a:off x="3192464" y="1597283"/>
              <a:ext cx="83976" cy="83976"/>
            </a:xfrm>
            <a:prstGeom prst="ellipse">
              <a:avLst/>
            </a:pr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14" name="文本框 13">
            <a:extLst>
              <a:ext uri="{FF2B5EF4-FFF2-40B4-BE49-F238E27FC236}">
                <a16:creationId xmlns:a16="http://schemas.microsoft.com/office/drawing/2014/main" id="{AF6F8C46-4F6B-4FF6-9E5C-5D873483833E}"/>
              </a:ext>
            </a:extLst>
          </p:cNvPr>
          <p:cNvSpPr txBox="1"/>
          <p:nvPr/>
        </p:nvSpPr>
        <p:spPr>
          <a:xfrm>
            <a:off x="955259" y="2178548"/>
            <a:ext cx="1826141" cy="338554"/>
          </a:xfrm>
          <a:prstGeom prst="rect">
            <a:avLst/>
          </a:prstGeom>
          <a:noFill/>
        </p:spPr>
        <p:txBody>
          <a:bodyPr wrap="none" rtlCol="0">
            <a:spAutoFit/>
          </a:bodyPr>
          <a:lstStyle/>
          <a:p>
            <a:pPr algn="r"/>
            <a:r>
              <a:rPr lang="zh-CN" altLang="en-US" sz="1600" dirty="0">
                <a:solidFill>
                  <a:schemeClr val="accent1"/>
                </a:solidFill>
                <a:latin typeface="+mj-ea"/>
                <a:ea typeface="+mj-ea"/>
              </a:rPr>
              <a:t>请在此处输入标题</a:t>
            </a:r>
          </a:p>
        </p:txBody>
      </p:sp>
      <p:sp>
        <p:nvSpPr>
          <p:cNvPr id="15" name="文本框 14">
            <a:extLst>
              <a:ext uri="{FF2B5EF4-FFF2-40B4-BE49-F238E27FC236}">
                <a16:creationId xmlns:a16="http://schemas.microsoft.com/office/drawing/2014/main" id="{3F0CB09A-130B-4C94-AED6-2462AC90157A}"/>
              </a:ext>
            </a:extLst>
          </p:cNvPr>
          <p:cNvSpPr txBox="1"/>
          <p:nvPr/>
        </p:nvSpPr>
        <p:spPr>
          <a:xfrm>
            <a:off x="454205" y="2454617"/>
            <a:ext cx="2327195" cy="646331"/>
          </a:xfrm>
          <a:prstGeom prst="rect">
            <a:avLst/>
          </a:prstGeom>
          <a:noFill/>
        </p:spPr>
        <p:txBody>
          <a:bodyPr wrap="square" rtlCol="0">
            <a:spAutoFit/>
          </a:bodyPr>
          <a:lstStyle/>
          <a:p>
            <a:pPr algn="r"/>
            <a:r>
              <a:rPr lang="en-US" altLang="zh-CN" sz="1200" dirty="0"/>
              <a:t>Lorem ipsum dolor sit amet, consectetur adipisicing elit, sed do eiusmod tempor</a:t>
            </a:r>
            <a:endParaRPr lang="zh-CN" altLang="en-US" sz="1200" dirty="0"/>
          </a:p>
        </p:txBody>
      </p:sp>
      <p:sp>
        <p:nvSpPr>
          <p:cNvPr id="16" name="文本框 15">
            <a:extLst>
              <a:ext uri="{FF2B5EF4-FFF2-40B4-BE49-F238E27FC236}">
                <a16:creationId xmlns:a16="http://schemas.microsoft.com/office/drawing/2014/main" id="{9E462F42-2DAC-4C19-9BFB-647B0261771D}"/>
              </a:ext>
            </a:extLst>
          </p:cNvPr>
          <p:cNvSpPr txBox="1"/>
          <p:nvPr/>
        </p:nvSpPr>
        <p:spPr>
          <a:xfrm>
            <a:off x="6230279" y="2404629"/>
            <a:ext cx="1826141" cy="338554"/>
          </a:xfrm>
          <a:prstGeom prst="rect">
            <a:avLst/>
          </a:prstGeom>
          <a:noFill/>
        </p:spPr>
        <p:txBody>
          <a:bodyPr wrap="none" rtlCol="0">
            <a:spAutoFit/>
          </a:bodyPr>
          <a:lstStyle/>
          <a:p>
            <a:r>
              <a:rPr lang="zh-CN" altLang="en-US" sz="1600" dirty="0">
                <a:solidFill>
                  <a:schemeClr val="accent1"/>
                </a:solidFill>
                <a:latin typeface="+mj-ea"/>
                <a:ea typeface="+mj-ea"/>
              </a:rPr>
              <a:t>请在此处输入标题</a:t>
            </a:r>
          </a:p>
        </p:txBody>
      </p:sp>
      <p:sp>
        <p:nvSpPr>
          <p:cNvPr id="17" name="文本框 16">
            <a:extLst>
              <a:ext uri="{FF2B5EF4-FFF2-40B4-BE49-F238E27FC236}">
                <a16:creationId xmlns:a16="http://schemas.microsoft.com/office/drawing/2014/main" id="{68B2810E-1A03-4AE5-83CE-D401F8DD81E2}"/>
              </a:ext>
            </a:extLst>
          </p:cNvPr>
          <p:cNvSpPr txBox="1"/>
          <p:nvPr/>
        </p:nvSpPr>
        <p:spPr>
          <a:xfrm>
            <a:off x="6230279" y="2680698"/>
            <a:ext cx="2327195" cy="646331"/>
          </a:xfrm>
          <a:prstGeom prst="rect">
            <a:avLst/>
          </a:prstGeom>
          <a:noFill/>
        </p:spPr>
        <p:txBody>
          <a:bodyPr wrap="square" rtlCol="0">
            <a:spAutoFit/>
          </a:bodyPr>
          <a:lstStyle/>
          <a:p>
            <a:r>
              <a:rPr lang="en-US" altLang="zh-CN" sz="1200" dirty="0"/>
              <a:t>Lorem ipsum dolor sit amet, consectetur adipisicing elit, sed do eiusmod tempor</a:t>
            </a:r>
            <a:endParaRPr lang="zh-CN" altLang="en-US" sz="1200" dirty="0"/>
          </a:p>
        </p:txBody>
      </p:sp>
      <p:grpSp>
        <p:nvGrpSpPr>
          <p:cNvPr id="18" name="组合 17">
            <a:extLst>
              <a:ext uri="{FF2B5EF4-FFF2-40B4-BE49-F238E27FC236}">
                <a16:creationId xmlns:a16="http://schemas.microsoft.com/office/drawing/2014/main" id="{1FEBA2D5-9A82-4980-A604-4D24051FF700}"/>
              </a:ext>
            </a:extLst>
          </p:cNvPr>
          <p:cNvGrpSpPr/>
          <p:nvPr/>
        </p:nvGrpSpPr>
        <p:grpSpPr>
          <a:xfrm>
            <a:off x="6106373" y="2552284"/>
            <a:ext cx="83976" cy="819346"/>
            <a:chOff x="3192464" y="1597283"/>
            <a:chExt cx="83976" cy="819346"/>
          </a:xfrm>
        </p:grpSpPr>
        <p:cxnSp>
          <p:nvCxnSpPr>
            <p:cNvPr id="19" name="直接连接符 18">
              <a:extLst>
                <a:ext uri="{FF2B5EF4-FFF2-40B4-BE49-F238E27FC236}">
                  <a16:creationId xmlns:a16="http://schemas.microsoft.com/office/drawing/2014/main" id="{E95BDFA9-7849-48D2-8968-AA3B0462191C}"/>
                </a:ext>
              </a:extLst>
            </p:cNvPr>
            <p:cNvCxnSpPr>
              <a:cxnSpLocks/>
            </p:cNvCxnSpPr>
            <p:nvPr/>
          </p:nvCxnSpPr>
          <p:spPr>
            <a:xfrm>
              <a:off x="3234452" y="1651052"/>
              <a:ext cx="0" cy="765577"/>
            </a:xfrm>
            <a:prstGeom prst="line">
              <a:avLst/>
            </a:prstGeom>
            <a:ln w="12700">
              <a:gradFill>
                <a:gsLst>
                  <a:gs pos="0">
                    <a:schemeClr val="accent1"/>
                  </a:gs>
                  <a:gs pos="100000">
                    <a:schemeClr val="accent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20" name="椭圆 19">
              <a:extLst>
                <a:ext uri="{FF2B5EF4-FFF2-40B4-BE49-F238E27FC236}">
                  <a16:creationId xmlns:a16="http://schemas.microsoft.com/office/drawing/2014/main" id="{B0E8ACAB-6EC6-4BDC-A4F8-C2FA1C0AA1CB}"/>
                </a:ext>
              </a:extLst>
            </p:cNvPr>
            <p:cNvSpPr/>
            <p:nvPr/>
          </p:nvSpPr>
          <p:spPr>
            <a:xfrm>
              <a:off x="3192464" y="1597283"/>
              <a:ext cx="83976" cy="83976"/>
            </a:xfrm>
            <a:prstGeom prst="ellipse">
              <a:avLst/>
            </a:pr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21" name="组合 20">
            <a:extLst>
              <a:ext uri="{FF2B5EF4-FFF2-40B4-BE49-F238E27FC236}">
                <a16:creationId xmlns:a16="http://schemas.microsoft.com/office/drawing/2014/main" id="{32A7C82D-8831-4042-99A9-0581FF7731FF}"/>
              </a:ext>
            </a:extLst>
          </p:cNvPr>
          <p:cNvGrpSpPr/>
          <p:nvPr/>
        </p:nvGrpSpPr>
        <p:grpSpPr>
          <a:xfrm>
            <a:off x="3753196" y="3858279"/>
            <a:ext cx="83976" cy="819346"/>
            <a:chOff x="3192464" y="1597283"/>
            <a:chExt cx="83976" cy="819346"/>
          </a:xfrm>
        </p:grpSpPr>
        <p:cxnSp>
          <p:nvCxnSpPr>
            <p:cNvPr id="22" name="直接连接符 21">
              <a:extLst>
                <a:ext uri="{FF2B5EF4-FFF2-40B4-BE49-F238E27FC236}">
                  <a16:creationId xmlns:a16="http://schemas.microsoft.com/office/drawing/2014/main" id="{EF3B3324-2F82-42F3-AAD4-5485CE9606C3}"/>
                </a:ext>
              </a:extLst>
            </p:cNvPr>
            <p:cNvCxnSpPr>
              <a:cxnSpLocks/>
            </p:cNvCxnSpPr>
            <p:nvPr/>
          </p:nvCxnSpPr>
          <p:spPr>
            <a:xfrm>
              <a:off x="3234452" y="1651052"/>
              <a:ext cx="0" cy="765577"/>
            </a:xfrm>
            <a:prstGeom prst="line">
              <a:avLst/>
            </a:prstGeom>
            <a:ln w="12700">
              <a:gradFill>
                <a:gsLst>
                  <a:gs pos="0">
                    <a:schemeClr val="accent1"/>
                  </a:gs>
                  <a:gs pos="100000">
                    <a:schemeClr val="accent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23" name="椭圆 22">
              <a:extLst>
                <a:ext uri="{FF2B5EF4-FFF2-40B4-BE49-F238E27FC236}">
                  <a16:creationId xmlns:a16="http://schemas.microsoft.com/office/drawing/2014/main" id="{86F7D5B5-3E33-4FD7-BD13-78F909B45133}"/>
                </a:ext>
              </a:extLst>
            </p:cNvPr>
            <p:cNvSpPr/>
            <p:nvPr/>
          </p:nvSpPr>
          <p:spPr>
            <a:xfrm>
              <a:off x="3192464" y="1597283"/>
              <a:ext cx="83976" cy="83976"/>
            </a:xfrm>
            <a:prstGeom prst="ellipse">
              <a:avLst/>
            </a:pr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24" name="文本框 23">
            <a:extLst>
              <a:ext uri="{FF2B5EF4-FFF2-40B4-BE49-F238E27FC236}">
                <a16:creationId xmlns:a16="http://schemas.microsoft.com/office/drawing/2014/main" id="{F686319A-B6AC-4FB4-80B4-8B8D344E8155}"/>
              </a:ext>
            </a:extLst>
          </p:cNvPr>
          <p:cNvSpPr txBox="1"/>
          <p:nvPr/>
        </p:nvSpPr>
        <p:spPr>
          <a:xfrm>
            <a:off x="1887336" y="3767180"/>
            <a:ext cx="1826141" cy="338554"/>
          </a:xfrm>
          <a:prstGeom prst="rect">
            <a:avLst/>
          </a:prstGeom>
          <a:noFill/>
        </p:spPr>
        <p:txBody>
          <a:bodyPr wrap="none" rtlCol="0">
            <a:spAutoFit/>
          </a:bodyPr>
          <a:lstStyle/>
          <a:p>
            <a:pPr algn="r"/>
            <a:r>
              <a:rPr lang="zh-CN" altLang="en-US" sz="1600" dirty="0">
                <a:solidFill>
                  <a:schemeClr val="accent1"/>
                </a:solidFill>
                <a:latin typeface="+mj-ea"/>
                <a:ea typeface="+mj-ea"/>
              </a:rPr>
              <a:t>请在此处输入标题</a:t>
            </a:r>
          </a:p>
        </p:txBody>
      </p:sp>
      <p:sp>
        <p:nvSpPr>
          <p:cNvPr id="25" name="文本框 24">
            <a:extLst>
              <a:ext uri="{FF2B5EF4-FFF2-40B4-BE49-F238E27FC236}">
                <a16:creationId xmlns:a16="http://schemas.microsoft.com/office/drawing/2014/main" id="{8CEB1036-94BD-40CE-9A2F-296023957ECB}"/>
              </a:ext>
            </a:extLst>
          </p:cNvPr>
          <p:cNvSpPr txBox="1"/>
          <p:nvPr/>
        </p:nvSpPr>
        <p:spPr>
          <a:xfrm>
            <a:off x="1386282" y="4043249"/>
            <a:ext cx="2327195" cy="646331"/>
          </a:xfrm>
          <a:prstGeom prst="rect">
            <a:avLst/>
          </a:prstGeom>
          <a:noFill/>
        </p:spPr>
        <p:txBody>
          <a:bodyPr wrap="square" rtlCol="0">
            <a:spAutoFit/>
          </a:bodyPr>
          <a:lstStyle/>
          <a:p>
            <a:pPr algn="r"/>
            <a:r>
              <a:rPr lang="en-US" altLang="zh-CN" sz="1200" dirty="0"/>
              <a:t>Lorem ipsum dolor sit amet, consectetur adipisicing elit, sed do eiusmod tempor</a:t>
            </a:r>
            <a:endParaRPr lang="zh-CN" altLang="en-US" sz="1200" dirty="0"/>
          </a:p>
        </p:txBody>
      </p:sp>
      <p:sp>
        <p:nvSpPr>
          <p:cNvPr id="26" name="文本框 25">
            <a:extLst>
              <a:ext uri="{FF2B5EF4-FFF2-40B4-BE49-F238E27FC236}">
                <a16:creationId xmlns:a16="http://schemas.microsoft.com/office/drawing/2014/main" id="{61ADB900-A8D5-4E5A-8B41-17A175587D17}"/>
              </a:ext>
            </a:extLst>
          </p:cNvPr>
          <p:cNvSpPr txBox="1"/>
          <p:nvPr/>
        </p:nvSpPr>
        <p:spPr>
          <a:xfrm>
            <a:off x="9541756" y="3603701"/>
            <a:ext cx="1826141" cy="338554"/>
          </a:xfrm>
          <a:prstGeom prst="rect">
            <a:avLst/>
          </a:prstGeom>
          <a:noFill/>
        </p:spPr>
        <p:txBody>
          <a:bodyPr wrap="none" rtlCol="0">
            <a:spAutoFit/>
          </a:bodyPr>
          <a:lstStyle/>
          <a:p>
            <a:r>
              <a:rPr lang="zh-CN" altLang="en-US" sz="1600" dirty="0">
                <a:solidFill>
                  <a:schemeClr val="accent1"/>
                </a:solidFill>
                <a:latin typeface="+mj-ea"/>
                <a:ea typeface="+mj-ea"/>
              </a:rPr>
              <a:t>请在此处输入标题</a:t>
            </a:r>
          </a:p>
        </p:txBody>
      </p:sp>
      <p:sp>
        <p:nvSpPr>
          <p:cNvPr id="27" name="文本框 26">
            <a:extLst>
              <a:ext uri="{FF2B5EF4-FFF2-40B4-BE49-F238E27FC236}">
                <a16:creationId xmlns:a16="http://schemas.microsoft.com/office/drawing/2014/main" id="{5283F456-42D3-492A-92CD-83F94136112C}"/>
              </a:ext>
            </a:extLst>
          </p:cNvPr>
          <p:cNvSpPr txBox="1"/>
          <p:nvPr/>
        </p:nvSpPr>
        <p:spPr>
          <a:xfrm>
            <a:off x="9541756" y="3879770"/>
            <a:ext cx="2327195" cy="646331"/>
          </a:xfrm>
          <a:prstGeom prst="rect">
            <a:avLst/>
          </a:prstGeom>
          <a:noFill/>
        </p:spPr>
        <p:txBody>
          <a:bodyPr wrap="square" rtlCol="0">
            <a:spAutoFit/>
          </a:bodyPr>
          <a:lstStyle/>
          <a:p>
            <a:r>
              <a:rPr lang="en-US" altLang="zh-CN" sz="1200" dirty="0"/>
              <a:t>Lorem ipsum dolor sit amet, consectetur adipisicing elit, sed do eiusmod tempor</a:t>
            </a:r>
            <a:endParaRPr lang="zh-CN" altLang="en-US" sz="1200" dirty="0"/>
          </a:p>
        </p:txBody>
      </p:sp>
      <p:grpSp>
        <p:nvGrpSpPr>
          <p:cNvPr id="28" name="组合 27">
            <a:extLst>
              <a:ext uri="{FF2B5EF4-FFF2-40B4-BE49-F238E27FC236}">
                <a16:creationId xmlns:a16="http://schemas.microsoft.com/office/drawing/2014/main" id="{B0AE0F54-970F-4AE1-99BB-55A2A7779B26}"/>
              </a:ext>
            </a:extLst>
          </p:cNvPr>
          <p:cNvGrpSpPr/>
          <p:nvPr/>
        </p:nvGrpSpPr>
        <p:grpSpPr>
          <a:xfrm>
            <a:off x="9457780" y="3751356"/>
            <a:ext cx="83976" cy="819346"/>
            <a:chOff x="3192464" y="1597283"/>
            <a:chExt cx="83976" cy="819346"/>
          </a:xfrm>
        </p:grpSpPr>
        <p:cxnSp>
          <p:nvCxnSpPr>
            <p:cNvPr id="29" name="直接连接符 28">
              <a:extLst>
                <a:ext uri="{FF2B5EF4-FFF2-40B4-BE49-F238E27FC236}">
                  <a16:creationId xmlns:a16="http://schemas.microsoft.com/office/drawing/2014/main" id="{D217839F-AD92-43DC-994C-25737D8E75C1}"/>
                </a:ext>
              </a:extLst>
            </p:cNvPr>
            <p:cNvCxnSpPr>
              <a:cxnSpLocks/>
            </p:cNvCxnSpPr>
            <p:nvPr/>
          </p:nvCxnSpPr>
          <p:spPr>
            <a:xfrm>
              <a:off x="3234452" y="1651052"/>
              <a:ext cx="0" cy="765577"/>
            </a:xfrm>
            <a:prstGeom prst="line">
              <a:avLst/>
            </a:prstGeom>
            <a:ln w="12700">
              <a:gradFill>
                <a:gsLst>
                  <a:gs pos="0">
                    <a:schemeClr val="accent1"/>
                  </a:gs>
                  <a:gs pos="100000">
                    <a:schemeClr val="accent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30" name="椭圆 29">
              <a:extLst>
                <a:ext uri="{FF2B5EF4-FFF2-40B4-BE49-F238E27FC236}">
                  <a16:creationId xmlns:a16="http://schemas.microsoft.com/office/drawing/2014/main" id="{44424F3C-3247-4090-9A25-E796B189CBC7}"/>
                </a:ext>
              </a:extLst>
            </p:cNvPr>
            <p:cNvSpPr/>
            <p:nvPr/>
          </p:nvSpPr>
          <p:spPr>
            <a:xfrm>
              <a:off x="3192464" y="1597283"/>
              <a:ext cx="83976" cy="83976"/>
            </a:xfrm>
            <a:prstGeom prst="ellipse">
              <a:avLst/>
            </a:pr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31" name="文本框 30">
            <a:extLst>
              <a:ext uri="{FF2B5EF4-FFF2-40B4-BE49-F238E27FC236}">
                <a16:creationId xmlns:a16="http://schemas.microsoft.com/office/drawing/2014/main" id="{533FCD8C-5FE0-4E5E-AACF-36C86CA6BCE4}"/>
              </a:ext>
            </a:extLst>
          </p:cNvPr>
          <p:cNvSpPr txBox="1"/>
          <p:nvPr/>
        </p:nvSpPr>
        <p:spPr>
          <a:xfrm>
            <a:off x="5649773" y="5441264"/>
            <a:ext cx="1826141" cy="338554"/>
          </a:xfrm>
          <a:prstGeom prst="rect">
            <a:avLst/>
          </a:prstGeom>
          <a:noFill/>
        </p:spPr>
        <p:txBody>
          <a:bodyPr wrap="none" rtlCol="0">
            <a:spAutoFit/>
          </a:bodyPr>
          <a:lstStyle/>
          <a:p>
            <a:r>
              <a:rPr lang="zh-CN" altLang="en-US" sz="1600" dirty="0">
                <a:solidFill>
                  <a:schemeClr val="accent1"/>
                </a:solidFill>
                <a:latin typeface="+mj-ea"/>
                <a:ea typeface="+mj-ea"/>
              </a:rPr>
              <a:t>请在此处输入标题</a:t>
            </a:r>
          </a:p>
        </p:txBody>
      </p:sp>
      <p:sp>
        <p:nvSpPr>
          <p:cNvPr id="32" name="文本框 31">
            <a:extLst>
              <a:ext uri="{FF2B5EF4-FFF2-40B4-BE49-F238E27FC236}">
                <a16:creationId xmlns:a16="http://schemas.microsoft.com/office/drawing/2014/main" id="{FA5C1807-5C8A-468C-AAF9-18B55917F232}"/>
              </a:ext>
            </a:extLst>
          </p:cNvPr>
          <p:cNvSpPr txBox="1"/>
          <p:nvPr/>
        </p:nvSpPr>
        <p:spPr>
          <a:xfrm>
            <a:off x="5649773" y="5717333"/>
            <a:ext cx="2327195" cy="646331"/>
          </a:xfrm>
          <a:prstGeom prst="rect">
            <a:avLst/>
          </a:prstGeom>
          <a:noFill/>
        </p:spPr>
        <p:txBody>
          <a:bodyPr wrap="square" rtlCol="0">
            <a:spAutoFit/>
          </a:bodyPr>
          <a:lstStyle/>
          <a:p>
            <a:r>
              <a:rPr lang="en-US" altLang="zh-CN" sz="1200" dirty="0"/>
              <a:t>Lorem ipsum dolor sit amet, consectetur adipisicing elit, sed do eiusmod tempor</a:t>
            </a:r>
            <a:endParaRPr lang="zh-CN" altLang="en-US" sz="1200" dirty="0"/>
          </a:p>
        </p:txBody>
      </p:sp>
      <p:grpSp>
        <p:nvGrpSpPr>
          <p:cNvPr id="33" name="组合 32">
            <a:extLst>
              <a:ext uri="{FF2B5EF4-FFF2-40B4-BE49-F238E27FC236}">
                <a16:creationId xmlns:a16="http://schemas.microsoft.com/office/drawing/2014/main" id="{4B927787-69DC-49BD-ACED-48DAEE4BADC2}"/>
              </a:ext>
            </a:extLst>
          </p:cNvPr>
          <p:cNvGrpSpPr/>
          <p:nvPr/>
        </p:nvGrpSpPr>
        <p:grpSpPr>
          <a:xfrm flipV="1">
            <a:off x="5523245" y="4825627"/>
            <a:ext cx="83976" cy="819346"/>
            <a:chOff x="3192464" y="1597283"/>
            <a:chExt cx="83976" cy="819346"/>
          </a:xfrm>
        </p:grpSpPr>
        <p:cxnSp>
          <p:nvCxnSpPr>
            <p:cNvPr id="34" name="直接连接符 33">
              <a:extLst>
                <a:ext uri="{FF2B5EF4-FFF2-40B4-BE49-F238E27FC236}">
                  <a16:creationId xmlns:a16="http://schemas.microsoft.com/office/drawing/2014/main" id="{7527FCC2-13D1-4EB8-9F5B-2EDCC320D955}"/>
                </a:ext>
              </a:extLst>
            </p:cNvPr>
            <p:cNvCxnSpPr>
              <a:cxnSpLocks/>
            </p:cNvCxnSpPr>
            <p:nvPr/>
          </p:nvCxnSpPr>
          <p:spPr>
            <a:xfrm>
              <a:off x="3234452" y="1651052"/>
              <a:ext cx="0" cy="765577"/>
            </a:xfrm>
            <a:prstGeom prst="line">
              <a:avLst/>
            </a:prstGeom>
            <a:ln w="12700">
              <a:gradFill>
                <a:gsLst>
                  <a:gs pos="0">
                    <a:schemeClr val="accent1"/>
                  </a:gs>
                  <a:gs pos="100000">
                    <a:schemeClr val="accent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35" name="椭圆 34">
              <a:extLst>
                <a:ext uri="{FF2B5EF4-FFF2-40B4-BE49-F238E27FC236}">
                  <a16:creationId xmlns:a16="http://schemas.microsoft.com/office/drawing/2014/main" id="{6025893A-7DE4-4391-866F-3A476E0C7E69}"/>
                </a:ext>
              </a:extLst>
            </p:cNvPr>
            <p:cNvSpPr/>
            <p:nvPr/>
          </p:nvSpPr>
          <p:spPr>
            <a:xfrm>
              <a:off x="3192464" y="1597283"/>
              <a:ext cx="83976" cy="83976"/>
            </a:xfrm>
            <a:prstGeom prst="ellipse">
              <a:avLst/>
            </a:pr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Tree>
    <p:extLst>
      <p:ext uri="{BB962C8B-B14F-4D97-AF65-F5344CB8AC3E}">
        <p14:creationId xmlns:p14="http://schemas.microsoft.com/office/powerpoint/2010/main" val="4279084225"/>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4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任意多边形: 形状 35">
            <a:extLst>
              <a:ext uri="{FF2B5EF4-FFF2-40B4-BE49-F238E27FC236}">
                <a16:creationId xmlns:a16="http://schemas.microsoft.com/office/drawing/2014/main" id="{875727CD-F372-43CD-B933-8E96FC529FD0}"/>
              </a:ext>
            </a:extLst>
          </p:cNvPr>
          <p:cNvSpPr/>
          <p:nvPr/>
        </p:nvSpPr>
        <p:spPr>
          <a:xfrm>
            <a:off x="685800" y="4114800"/>
            <a:ext cx="11515725" cy="2305050"/>
          </a:xfrm>
          <a:custGeom>
            <a:avLst/>
            <a:gdLst>
              <a:gd name="connsiteX0" fmla="*/ 2247900 w 11182350"/>
              <a:gd name="connsiteY0" fmla="*/ 0 h 2305050"/>
              <a:gd name="connsiteX1" fmla="*/ 4781550 w 11182350"/>
              <a:gd name="connsiteY1" fmla="*/ 285750 h 2305050"/>
              <a:gd name="connsiteX2" fmla="*/ 0 w 11182350"/>
              <a:gd name="connsiteY2" fmla="*/ 857250 h 2305050"/>
              <a:gd name="connsiteX3" fmla="*/ 11182350 w 11182350"/>
              <a:gd name="connsiteY3" fmla="*/ 2305050 h 2305050"/>
              <a:gd name="connsiteX4" fmla="*/ 11182350 w 11182350"/>
              <a:gd name="connsiteY4" fmla="*/ 1409700 h 2305050"/>
              <a:gd name="connsiteX5" fmla="*/ 2686050 w 11182350"/>
              <a:gd name="connsiteY5" fmla="*/ 895350 h 2305050"/>
              <a:gd name="connsiteX6" fmla="*/ 5391150 w 11182350"/>
              <a:gd name="connsiteY6" fmla="*/ 304800 h 2305050"/>
              <a:gd name="connsiteX7" fmla="*/ 2247900 w 11182350"/>
              <a:gd name="connsiteY7" fmla="*/ 0 h 2305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182350" h="2305050">
                <a:moveTo>
                  <a:pt x="2247900" y="0"/>
                </a:moveTo>
                <a:lnTo>
                  <a:pt x="4781550" y="285750"/>
                </a:lnTo>
                <a:lnTo>
                  <a:pt x="0" y="857250"/>
                </a:lnTo>
                <a:lnTo>
                  <a:pt x="11182350" y="2305050"/>
                </a:lnTo>
                <a:lnTo>
                  <a:pt x="11182350" y="1409700"/>
                </a:lnTo>
                <a:lnTo>
                  <a:pt x="2686050" y="895350"/>
                </a:lnTo>
                <a:lnTo>
                  <a:pt x="5391150" y="304800"/>
                </a:lnTo>
                <a:lnTo>
                  <a:pt x="2247900" y="0"/>
                </a:lnTo>
                <a:close/>
              </a:path>
            </a:pathLst>
          </a:custGeom>
          <a:gradFill flip="none" rotWithShape="1">
            <a:gsLst>
              <a:gs pos="0">
                <a:schemeClr val="accent1">
                  <a:lumMod val="10000"/>
                  <a:lumOff val="90000"/>
                </a:schemeClr>
              </a:gs>
              <a:gs pos="65000">
                <a:schemeClr val="accent1"/>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等线" panose="020F0502020204030204"/>
              <a:ea typeface="等线" panose="02010600030101010101" pitchFamily="2" charset="-122"/>
              <a:cs typeface="+mn-cs"/>
            </a:endParaRPr>
          </a:p>
        </p:txBody>
      </p:sp>
      <p:sp>
        <p:nvSpPr>
          <p:cNvPr id="37" name="文本框 36">
            <a:extLst>
              <a:ext uri="{FF2B5EF4-FFF2-40B4-BE49-F238E27FC236}">
                <a16:creationId xmlns:a16="http://schemas.microsoft.com/office/drawing/2014/main" id="{3F4357D8-BC03-49C8-AEEB-4A14B468D2F4}"/>
              </a:ext>
            </a:extLst>
          </p:cNvPr>
          <p:cNvSpPr txBox="1"/>
          <p:nvPr/>
        </p:nvSpPr>
        <p:spPr>
          <a:xfrm>
            <a:off x="2853655" y="3682396"/>
            <a:ext cx="1063113" cy="523220"/>
          </a:xfrm>
          <a:prstGeom prst="rect">
            <a:avLst/>
          </a:prstGeom>
          <a:noFill/>
          <a:effectLst>
            <a:outerShdw blurRad="76200" dir="13500000" sy="23000" kx="1200000" algn="br" rotWithShape="0">
              <a:prstClr val="black">
                <a:alpha val="20000"/>
              </a:prstClr>
            </a:outerShdw>
          </a:effectLst>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2800" b="0" i="0" u="none" strike="noStrike" kern="1200" cap="none" spc="0" normalizeH="0" baseline="0" noProof="0" dirty="0">
                <a:ln>
                  <a:noFill/>
                </a:ln>
                <a:solidFill>
                  <a:schemeClr val="accent1"/>
                </a:solidFill>
                <a:effectLst>
                  <a:outerShdw blurRad="76200" dist="266700" dir="7680000" sy="30000" kx="1300200" algn="ctr" rotWithShape="0">
                    <a:prstClr val="black">
                      <a:lumMod val="85000"/>
                      <a:lumOff val="15000"/>
                      <a:alpha val="40000"/>
                    </a:prstClr>
                  </a:outerShdw>
                </a:effectLst>
                <a:uLnTx/>
                <a:uFillTx/>
                <a:latin typeface="+mj-ea"/>
                <a:ea typeface="+mj-ea"/>
                <a:cs typeface="+mn-cs"/>
              </a:rPr>
              <a:t>2017</a:t>
            </a:r>
            <a:endParaRPr kumimoji="0" lang="zh-CN" altLang="en-US" sz="2800" b="0" i="0" u="none" strike="noStrike" kern="1200" cap="none" spc="0" normalizeH="0" baseline="0" noProof="0" dirty="0">
              <a:ln>
                <a:noFill/>
              </a:ln>
              <a:solidFill>
                <a:schemeClr val="accent1"/>
              </a:solidFill>
              <a:effectLst>
                <a:outerShdw blurRad="76200" dist="266700" dir="7680000" sy="30000" kx="1300200" algn="ctr" rotWithShape="0">
                  <a:prstClr val="black">
                    <a:lumMod val="85000"/>
                    <a:lumOff val="15000"/>
                    <a:alpha val="40000"/>
                  </a:prstClr>
                </a:outerShdw>
              </a:effectLst>
              <a:uLnTx/>
              <a:uFillTx/>
              <a:latin typeface="+mj-ea"/>
              <a:ea typeface="+mj-ea"/>
              <a:cs typeface="+mn-cs"/>
            </a:endParaRPr>
          </a:p>
        </p:txBody>
      </p:sp>
      <p:sp>
        <p:nvSpPr>
          <p:cNvPr id="38" name="文本框 37">
            <a:extLst>
              <a:ext uri="{FF2B5EF4-FFF2-40B4-BE49-F238E27FC236}">
                <a16:creationId xmlns:a16="http://schemas.microsoft.com/office/drawing/2014/main" id="{73C674EB-9522-40B1-B249-3DD8E2100F46}"/>
              </a:ext>
            </a:extLst>
          </p:cNvPr>
          <p:cNvSpPr txBox="1"/>
          <p:nvPr/>
        </p:nvSpPr>
        <p:spPr>
          <a:xfrm>
            <a:off x="5615276" y="3797024"/>
            <a:ext cx="1189749" cy="584775"/>
          </a:xfrm>
          <a:prstGeom prst="rect">
            <a:avLst/>
          </a:prstGeom>
          <a:noFill/>
          <a:effectLst>
            <a:outerShdw blurRad="76200" dir="13500000" sy="23000" kx="1200000" algn="br" rotWithShape="0">
              <a:prstClr val="black">
                <a:alpha val="20000"/>
              </a:prstClr>
            </a:outerShdw>
          </a:effectLst>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3200" b="0" i="0" u="none" strike="noStrike" kern="1200" cap="none" spc="0" normalizeH="0" baseline="0" noProof="0" dirty="0">
                <a:ln>
                  <a:noFill/>
                </a:ln>
                <a:solidFill>
                  <a:schemeClr val="accent1"/>
                </a:solidFill>
                <a:effectLst>
                  <a:outerShdw blurRad="76200" dist="266700" dir="7680000" sy="30000" kx="1300200" algn="ctr" rotWithShape="0">
                    <a:prstClr val="black">
                      <a:lumMod val="85000"/>
                      <a:lumOff val="15000"/>
                      <a:alpha val="40000"/>
                    </a:prstClr>
                  </a:outerShdw>
                </a:effectLst>
                <a:uLnTx/>
                <a:uFillTx/>
                <a:latin typeface="+mj-ea"/>
                <a:ea typeface="+mj-ea"/>
                <a:cs typeface="+mn-cs"/>
              </a:rPr>
              <a:t>2018</a:t>
            </a:r>
            <a:endParaRPr kumimoji="0" lang="zh-CN" altLang="en-US" sz="3200" b="0" i="0" u="none" strike="noStrike" kern="1200" cap="none" spc="0" normalizeH="0" baseline="0" noProof="0" dirty="0">
              <a:ln>
                <a:noFill/>
              </a:ln>
              <a:solidFill>
                <a:schemeClr val="accent1"/>
              </a:solidFill>
              <a:effectLst>
                <a:outerShdw blurRad="76200" dist="266700" dir="7680000" sy="30000" kx="1300200" algn="ctr" rotWithShape="0">
                  <a:prstClr val="black">
                    <a:lumMod val="85000"/>
                    <a:lumOff val="15000"/>
                    <a:alpha val="40000"/>
                  </a:prstClr>
                </a:outerShdw>
              </a:effectLst>
              <a:uLnTx/>
              <a:uFillTx/>
              <a:latin typeface="+mj-ea"/>
              <a:ea typeface="+mj-ea"/>
              <a:cs typeface="+mn-cs"/>
            </a:endParaRPr>
          </a:p>
        </p:txBody>
      </p:sp>
      <p:sp>
        <p:nvSpPr>
          <p:cNvPr id="39" name="文本框 38">
            <a:extLst>
              <a:ext uri="{FF2B5EF4-FFF2-40B4-BE49-F238E27FC236}">
                <a16:creationId xmlns:a16="http://schemas.microsoft.com/office/drawing/2014/main" id="{960765F2-2FA3-42DE-B6FB-B67E9995A4A2}"/>
              </a:ext>
            </a:extLst>
          </p:cNvPr>
          <p:cNvSpPr txBox="1"/>
          <p:nvPr/>
        </p:nvSpPr>
        <p:spPr>
          <a:xfrm>
            <a:off x="100771" y="4415167"/>
            <a:ext cx="1333171" cy="646331"/>
          </a:xfrm>
          <a:prstGeom prst="rect">
            <a:avLst/>
          </a:prstGeom>
          <a:noFill/>
          <a:effectLst>
            <a:outerShdw blurRad="76200" dir="13500000" sy="23000" kx="1200000" algn="br" rotWithShape="0">
              <a:prstClr val="black">
                <a:alpha val="20000"/>
              </a:prstClr>
            </a:outerShdw>
          </a:effectLst>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3600" b="0" i="0" u="none" strike="noStrike" kern="1200" cap="none" spc="0" normalizeH="0" baseline="0" noProof="0" dirty="0">
                <a:ln>
                  <a:noFill/>
                </a:ln>
                <a:solidFill>
                  <a:schemeClr val="accent1"/>
                </a:solidFill>
                <a:effectLst>
                  <a:outerShdw blurRad="76200" dist="266700" dir="7680000" sy="30000" kx="1300200" algn="ctr" rotWithShape="0">
                    <a:prstClr val="black">
                      <a:lumMod val="85000"/>
                      <a:lumOff val="15000"/>
                      <a:alpha val="40000"/>
                    </a:prstClr>
                  </a:outerShdw>
                </a:effectLst>
                <a:uLnTx/>
                <a:uFillTx/>
                <a:latin typeface="+mj-ea"/>
                <a:ea typeface="+mj-ea"/>
                <a:cs typeface="+mn-cs"/>
              </a:rPr>
              <a:t>2019</a:t>
            </a:r>
            <a:endParaRPr kumimoji="0" lang="zh-CN" altLang="en-US" sz="3600" b="0" i="0" u="none" strike="noStrike" kern="1200" cap="none" spc="0" normalizeH="0" baseline="0" noProof="0" dirty="0">
              <a:ln>
                <a:noFill/>
              </a:ln>
              <a:solidFill>
                <a:schemeClr val="accent1"/>
              </a:solidFill>
              <a:effectLst>
                <a:outerShdw blurRad="76200" dist="266700" dir="7680000" sy="30000" kx="1300200" algn="ctr" rotWithShape="0">
                  <a:prstClr val="black">
                    <a:lumMod val="85000"/>
                    <a:lumOff val="15000"/>
                    <a:alpha val="40000"/>
                  </a:prstClr>
                </a:outerShdw>
              </a:effectLst>
              <a:uLnTx/>
              <a:uFillTx/>
              <a:latin typeface="+mj-ea"/>
              <a:ea typeface="+mj-ea"/>
              <a:cs typeface="+mn-cs"/>
            </a:endParaRPr>
          </a:p>
        </p:txBody>
      </p:sp>
      <p:sp>
        <p:nvSpPr>
          <p:cNvPr id="40" name="文本框 39">
            <a:extLst>
              <a:ext uri="{FF2B5EF4-FFF2-40B4-BE49-F238E27FC236}">
                <a16:creationId xmlns:a16="http://schemas.microsoft.com/office/drawing/2014/main" id="{9432C02F-805B-4E42-B9F8-CBD8DCC8CE7A}"/>
              </a:ext>
            </a:extLst>
          </p:cNvPr>
          <p:cNvSpPr txBox="1"/>
          <p:nvPr/>
        </p:nvSpPr>
        <p:spPr>
          <a:xfrm>
            <a:off x="7762926" y="5260459"/>
            <a:ext cx="1444627" cy="707886"/>
          </a:xfrm>
          <a:prstGeom prst="rect">
            <a:avLst/>
          </a:prstGeom>
          <a:noFill/>
          <a:effectLst>
            <a:outerShdw blurRad="76200" dir="13500000" sy="23000" kx="1200000" algn="br" rotWithShape="0">
              <a:prstClr val="black">
                <a:alpha val="20000"/>
              </a:prstClr>
            </a:outerShdw>
          </a:effectLst>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4000" b="0" i="0" u="none" strike="noStrike" kern="1200" cap="none" spc="0" normalizeH="0" baseline="0" noProof="0" dirty="0">
                <a:ln>
                  <a:noFill/>
                </a:ln>
                <a:solidFill>
                  <a:prstClr val="white"/>
                </a:solidFill>
                <a:effectLst>
                  <a:outerShdw blurRad="76200" dist="266700" dir="7680000" sy="30000" kx="1300200" algn="ctr" rotWithShape="0">
                    <a:prstClr val="black">
                      <a:lumMod val="85000"/>
                      <a:lumOff val="15000"/>
                      <a:alpha val="40000"/>
                    </a:prstClr>
                  </a:outerShdw>
                </a:effectLst>
                <a:uLnTx/>
                <a:uFillTx/>
                <a:latin typeface="+mj-ea"/>
                <a:ea typeface="+mj-ea"/>
                <a:cs typeface="+mn-cs"/>
              </a:rPr>
              <a:t>2021</a:t>
            </a:r>
            <a:endParaRPr kumimoji="0" lang="zh-CN" altLang="en-US" sz="4000" b="0" i="0" u="none" strike="noStrike" kern="1200" cap="none" spc="0" normalizeH="0" baseline="0" noProof="0" dirty="0">
              <a:ln>
                <a:noFill/>
              </a:ln>
              <a:solidFill>
                <a:prstClr val="white"/>
              </a:solidFill>
              <a:effectLst>
                <a:outerShdw blurRad="76200" dist="266700" dir="7680000" sy="30000" kx="1300200" algn="ctr" rotWithShape="0">
                  <a:prstClr val="black">
                    <a:lumMod val="85000"/>
                    <a:lumOff val="15000"/>
                    <a:alpha val="40000"/>
                  </a:prstClr>
                </a:outerShdw>
              </a:effectLst>
              <a:uLnTx/>
              <a:uFillTx/>
              <a:latin typeface="+mj-ea"/>
              <a:ea typeface="+mj-ea"/>
              <a:cs typeface="+mn-cs"/>
            </a:endParaRPr>
          </a:p>
        </p:txBody>
      </p:sp>
      <p:sp>
        <p:nvSpPr>
          <p:cNvPr id="42" name="文本框 41">
            <a:extLst>
              <a:ext uri="{FF2B5EF4-FFF2-40B4-BE49-F238E27FC236}">
                <a16:creationId xmlns:a16="http://schemas.microsoft.com/office/drawing/2014/main" id="{FBED1C5A-44DF-448C-A590-67125CCEFC14}"/>
              </a:ext>
            </a:extLst>
          </p:cNvPr>
          <p:cNvSpPr txBox="1"/>
          <p:nvPr/>
        </p:nvSpPr>
        <p:spPr>
          <a:xfrm>
            <a:off x="3806905" y="2195193"/>
            <a:ext cx="1826141" cy="338554"/>
          </a:xfrm>
          <a:prstGeom prst="rect">
            <a:avLst/>
          </a:prstGeom>
          <a:noFill/>
        </p:spPr>
        <p:txBody>
          <a:bodyPr wrap="none" rtlCol="0">
            <a:spAutoFit/>
          </a:bodyPr>
          <a:lstStyle/>
          <a:p>
            <a:r>
              <a:rPr lang="zh-CN" altLang="en-US" sz="1600" dirty="0">
                <a:solidFill>
                  <a:schemeClr val="accent1"/>
                </a:solidFill>
                <a:latin typeface="+mj-ea"/>
                <a:ea typeface="+mj-ea"/>
              </a:rPr>
              <a:t>请在此处输入标题</a:t>
            </a:r>
          </a:p>
        </p:txBody>
      </p:sp>
      <p:sp>
        <p:nvSpPr>
          <p:cNvPr id="43" name="文本框 42">
            <a:extLst>
              <a:ext uri="{FF2B5EF4-FFF2-40B4-BE49-F238E27FC236}">
                <a16:creationId xmlns:a16="http://schemas.microsoft.com/office/drawing/2014/main" id="{F8189C45-5FC5-458C-B0E9-9DC9CD7E117A}"/>
              </a:ext>
            </a:extLst>
          </p:cNvPr>
          <p:cNvSpPr txBox="1"/>
          <p:nvPr/>
        </p:nvSpPr>
        <p:spPr>
          <a:xfrm>
            <a:off x="3806905" y="2471262"/>
            <a:ext cx="2327195" cy="646331"/>
          </a:xfrm>
          <a:prstGeom prst="rect">
            <a:avLst/>
          </a:prstGeom>
          <a:noFill/>
        </p:spPr>
        <p:txBody>
          <a:bodyPr wrap="square" rtlCol="0">
            <a:spAutoFit/>
          </a:bodyPr>
          <a:lstStyle/>
          <a:p>
            <a:r>
              <a:rPr lang="en-US" altLang="zh-CN" sz="1200" dirty="0"/>
              <a:t>Lorem ipsum dolor sit amet, consectetur adipisicing elit, sed do eiusmod tempor</a:t>
            </a:r>
            <a:endParaRPr lang="zh-CN" altLang="en-US" sz="1200" dirty="0"/>
          </a:p>
        </p:txBody>
      </p:sp>
      <p:cxnSp>
        <p:nvCxnSpPr>
          <p:cNvPr id="45" name="直接连接符 44">
            <a:extLst>
              <a:ext uri="{FF2B5EF4-FFF2-40B4-BE49-F238E27FC236}">
                <a16:creationId xmlns:a16="http://schemas.microsoft.com/office/drawing/2014/main" id="{071CFFFF-D8F2-45AC-A350-45523AE31E44}"/>
              </a:ext>
            </a:extLst>
          </p:cNvPr>
          <p:cNvCxnSpPr>
            <a:cxnSpLocks/>
          </p:cNvCxnSpPr>
          <p:nvPr/>
        </p:nvCxnSpPr>
        <p:spPr>
          <a:xfrm>
            <a:off x="3788847" y="2324100"/>
            <a:ext cx="0" cy="1365323"/>
          </a:xfrm>
          <a:prstGeom prst="line">
            <a:avLst/>
          </a:prstGeom>
          <a:ln w="12700">
            <a:gradFill>
              <a:gsLst>
                <a:gs pos="0">
                  <a:schemeClr val="accent1"/>
                </a:gs>
                <a:gs pos="100000">
                  <a:schemeClr val="accent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46" name="椭圆 45">
            <a:extLst>
              <a:ext uri="{FF2B5EF4-FFF2-40B4-BE49-F238E27FC236}">
                <a16:creationId xmlns:a16="http://schemas.microsoft.com/office/drawing/2014/main" id="{2E16591D-04C0-42FF-9CF7-A2FC7C937773}"/>
              </a:ext>
            </a:extLst>
          </p:cNvPr>
          <p:cNvSpPr/>
          <p:nvPr/>
        </p:nvSpPr>
        <p:spPr>
          <a:xfrm>
            <a:off x="3746859" y="2270947"/>
            <a:ext cx="83976" cy="83976"/>
          </a:xfrm>
          <a:prstGeom prst="ellipse">
            <a:avLst/>
          </a:pr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7" name="文本框 46">
            <a:extLst>
              <a:ext uri="{FF2B5EF4-FFF2-40B4-BE49-F238E27FC236}">
                <a16:creationId xmlns:a16="http://schemas.microsoft.com/office/drawing/2014/main" id="{BA22374F-0CCF-4BA7-A55D-7D5D41967967}"/>
              </a:ext>
            </a:extLst>
          </p:cNvPr>
          <p:cNvSpPr txBox="1"/>
          <p:nvPr/>
        </p:nvSpPr>
        <p:spPr>
          <a:xfrm>
            <a:off x="6779175" y="2354923"/>
            <a:ext cx="1826141" cy="338554"/>
          </a:xfrm>
          <a:prstGeom prst="rect">
            <a:avLst/>
          </a:prstGeom>
          <a:noFill/>
        </p:spPr>
        <p:txBody>
          <a:bodyPr wrap="none" rtlCol="0">
            <a:spAutoFit/>
          </a:bodyPr>
          <a:lstStyle/>
          <a:p>
            <a:r>
              <a:rPr lang="zh-CN" altLang="en-US" sz="1600" dirty="0">
                <a:solidFill>
                  <a:schemeClr val="accent1"/>
                </a:solidFill>
                <a:latin typeface="+mj-ea"/>
                <a:ea typeface="+mj-ea"/>
              </a:rPr>
              <a:t>请在此处输入标题</a:t>
            </a:r>
          </a:p>
        </p:txBody>
      </p:sp>
      <p:sp>
        <p:nvSpPr>
          <p:cNvPr id="48" name="文本框 47">
            <a:extLst>
              <a:ext uri="{FF2B5EF4-FFF2-40B4-BE49-F238E27FC236}">
                <a16:creationId xmlns:a16="http://schemas.microsoft.com/office/drawing/2014/main" id="{5FEE091F-7C11-4383-AE10-1A1AC0A4B01F}"/>
              </a:ext>
            </a:extLst>
          </p:cNvPr>
          <p:cNvSpPr txBox="1"/>
          <p:nvPr/>
        </p:nvSpPr>
        <p:spPr>
          <a:xfrm>
            <a:off x="6779175" y="2630992"/>
            <a:ext cx="2327195" cy="646331"/>
          </a:xfrm>
          <a:prstGeom prst="rect">
            <a:avLst/>
          </a:prstGeom>
          <a:noFill/>
        </p:spPr>
        <p:txBody>
          <a:bodyPr wrap="square" rtlCol="0">
            <a:spAutoFit/>
          </a:bodyPr>
          <a:lstStyle/>
          <a:p>
            <a:r>
              <a:rPr lang="en-US" altLang="zh-CN" sz="1200" dirty="0"/>
              <a:t>Lorem ipsum dolor sit amet, consectetur adipisicing elit, sed do eiusmod tempor</a:t>
            </a:r>
            <a:endParaRPr lang="zh-CN" altLang="en-US" sz="1200" dirty="0"/>
          </a:p>
        </p:txBody>
      </p:sp>
      <p:cxnSp>
        <p:nvCxnSpPr>
          <p:cNvPr id="50" name="直接连接符 49">
            <a:extLst>
              <a:ext uri="{FF2B5EF4-FFF2-40B4-BE49-F238E27FC236}">
                <a16:creationId xmlns:a16="http://schemas.microsoft.com/office/drawing/2014/main" id="{37A1AE96-F58A-4BCD-8FC0-239A3B15227E}"/>
              </a:ext>
            </a:extLst>
          </p:cNvPr>
          <p:cNvCxnSpPr>
            <a:cxnSpLocks/>
          </p:cNvCxnSpPr>
          <p:nvPr/>
        </p:nvCxnSpPr>
        <p:spPr>
          <a:xfrm>
            <a:off x="6761117" y="2471262"/>
            <a:ext cx="0" cy="1596574"/>
          </a:xfrm>
          <a:prstGeom prst="line">
            <a:avLst/>
          </a:prstGeom>
          <a:ln w="12700">
            <a:gradFill>
              <a:gsLst>
                <a:gs pos="0">
                  <a:schemeClr val="accent1"/>
                </a:gs>
                <a:gs pos="100000">
                  <a:schemeClr val="accent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51" name="椭圆 50">
            <a:extLst>
              <a:ext uri="{FF2B5EF4-FFF2-40B4-BE49-F238E27FC236}">
                <a16:creationId xmlns:a16="http://schemas.microsoft.com/office/drawing/2014/main" id="{589AA9F2-85D2-43B9-BF51-452C507817DF}"/>
              </a:ext>
            </a:extLst>
          </p:cNvPr>
          <p:cNvSpPr/>
          <p:nvPr/>
        </p:nvSpPr>
        <p:spPr>
          <a:xfrm>
            <a:off x="6719129" y="2470747"/>
            <a:ext cx="83976" cy="83976"/>
          </a:xfrm>
          <a:prstGeom prst="ellipse">
            <a:avLst/>
          </a:pr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8" name="文本框 57">
            <a:extLst>
              <a:ext uri="{FF2B5EF4-FFF2-40B4-BE49-F238E27FC236}">
                <a16:creationId xmlns:a16="http://schemas.microsoft.com/office/drawing/2014/main" id="{2C689C1F-C5B6-4D2A-A8A7-E4F9035D6FC9}"/>
              </a:ext>
            </a:extLst>
          </p:cNvPr>
          <p:cNvSpPr txBox="1"/>
          <p:nvPr/>
        </p:nvSpPr>
        <p:spPr>
          <a:xfrm>
            <a:off x="8115296" y="4219339"/>
            <a:ext cx="1826141" cy="338554"/>
          </a:xfrm>
          <a:prstGeom prst="rect">
            <a:avLst/>
          </a:prstGeom>
          <a:noFill/>
        </p:spPr>
        <p:txBody>
          <a:bodyPr wrap="none" rtlCol="0">
            <a:spAutoFit/>
          </a:bodyPr>
          <a:lstStyle/>
          <a:p>
            <a:r>
              <a:rPr lang="zh-CN" altLang="en-US" sz="1600" dirty="0">
                <a:solidFill>
                  <a:schemeClr val="accent1"/>
                </a:solidFill>
                <a:latin typeface="+mj-ea"/>
                <a:ea typeface="+mj-ea"/>
              </a:rPr>
              <a:t>请在此处输入标题</a:t>
            </a:r>
          </a:p>
        </p:txBody>
      </p:sp>
      <p:sp>
        <p:nvSpPr>
          <p:cNvPr id="59" name="文本框 58">
            <a:extLst>
              <a:ext uri="{FF2B5EF4-FFF2-40B4-BE49-F238E27FC236}">
                <a16:creationId xmlns:a16="http://schemas.microsoft.com/office/drawing/2014/main" id="{F8998855-9BF8-49A4-BE83-2F5F7D44A7F8}"/>
              </a:ext>
            </a:extLst>
          </p:cNvPr>
          <p:cNvSpPr txBox="1"/>
          <p:nvPr/>
        </p:nvSpPr>
        <p:spPr>
          <a:xfrm>
            <a:off x="8115296" y="4495408"/>
            <a:ext cx="2327195" cy="646331"/>
          </a:xfrm>
          <a:prstGeom prst="rect">
            <a:avLst/>
          </a:prstGeom>
          <a:noFill/>
        </p:spPr>
        <p:txBody>
          <a:bodyPr wrap="square" rtlCol="0">
            <a:spAutoFit/>
          </a:bodyPr>
          <a:lstStyle/>
          <a:p>
            <a:r>
              <a:rPr lang="en-US" altLang="zh-CN" sz="1200" dirty="0"/>
              <a:t>Lorem ipsum dolor sit amet, consectetur adipisicing elit, sed do eiusmod tempor</a:t>
            </a:r>
            <a:endParaRPr lang="zh-CN" altLang="en-US" sz="1200" dirty="0"/>
          </a:p>
        </p:txBody>
      </p:sp>
      <p:grpSp>
        <p:nvGrpSpPr>
          <p:cNvPr id="60" name="组合 59">
            <a:extLst>
              <a:ext uri="{FF2B5EF4-FFF2-40B4-BE49-F238E27FC236}">
                <a16:creationId xmlns:a16="http://schemas.microsoft.com/office/drawing/2014/main" id="{729078D0-6AAC-4050-8710-97D78F8D6105}"/>
              </a:ext>
            </a:extLst>
          </p:cNvPr>
          <p:cNvGrpSpPr/>
          <p:nvPr/>
        </p:nvGrpSpPr>
        <p:grpSpPr>
          <a:xfrm>
            <a:off x="8055250" y="4366994"/>
            <a:ext cx="83976" cy="819346"/>
            <a:chOff x="3192464" y="1597283"/>
            <a:chExt cx="83976" cy="819346"/>
          </a:xfrm>
        </p:grpSpPr>
        <p:cxnSp>
          <p:nvCxnSpPr>
            <p:cNvPr id="61" name="直接连接符 60">
              <a:extLst>
                <a:ext uri="{FF2B5EF4-FFF2-40B4-BE49-F238E27FC236}">
                  <a16:creationId xmlns:a16="http://schemas.microsoft.com/office/drawing/2014/main" id="{326B4A83-3DFB-47C8-AB1D-DF86F1ED1E29}"/>
                </a:ext>
              </a:extLst>
            </p:cNvPr>
            <p:cNvCxnSpPr>
              <a:cxnSpLocks/>
            </p:cNvCxnSpPr>
            <p:nvPr/>
          </p:nvCxnSpPr>
          <p:spPr>
            <a:xfrm>
              <a:off x="3234452" y="1651052"/>
              <a:ext cx="0" cy="765577"/>
            </a:xfrm>
            <a:prstGeom prst="line">
              <a:avLst/>
            </a:prstGeom>
            <a:ln w="12700">
              <a:gradFill>
                <a:gsLst>
                  <a:gs pos="0">
                    <a:schemeClr val="accent1"/>
                  </a:gs>
                  <a:gs pos="100000">
                    <a:schemeClr val="accent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62" name="椭圆 61">
              <a:extLst>
                <a:ext uri="{FF2B5EF4-FFF2-40B4-BE49-F238E27FC236}">
                  <a16:creationId xmlns:a16="http://schemas.microsoft.com/office/drawing/2014/main" id="{9C3032A3-6D9D-4E9E-80ED-4CBB8C44264E}"/>
                </a:ext>
              </a:extLst>
            </p:cNvPr>
            <p:cNvSpPr/>
            <p:nvPr/>
          </p:nvSpPr>
          <p:spPr>
            <a:xfrm>
              <a:off x="3192464" y="1597283"/>
              <a:ext cx="83976" cy="83976"/>
            </a:xfrm>
            <a:prstGeom prst="ellipse">
              <a:avLst/>
            </a:pr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63" name="文本框 62">
            <a:extLst>
              <a:ext uri="{FF2B5EF4-FFF2-40B4-BE49-F238E27FC236}">
                <a16:creationId xmlns:a16="http://schemas.microsoft.com/office/drawing/2014/main" id="{9C00C2CD-4393-485F-802C-27ACD364DA46}"/>
              </a:ext>
            </a:extLst>
          </p:cNvPr>
          <p:cNvSpPr txBox="1"/>
          <p:nvPr/>
        </p:nvSpPr>
        <p:spPr>
          <a:xfrm>
            <a:off x="508403" y="3306878"/>
            <a:ext cx="1826141" cy="338554"/>
          </a:xfrm>
          <a:prstGeom prst="rect">
            <a:avLst/>
          </a:prstGeom>
          <a:noFill/>
        </p:spPr>
        <p:txBody>
          <a:bodyPr wrap="none" rtlCol="0">
            <a:spAutoFit/>
          </a:bodyPr>
          <a:lstStyle/>
          <a:p>
            <a:r>
              <a:rPr lang="zh-CN" altLang="en-US" sz="1600" dirty="0">
                <a:solidFill>
                  <a:schemeClr val="accent1"/>
                </a:solidFill>
                <a:latin typeface="+mj-ea"/>
                <a:ea typeface="+mj-ea"/>
              </a:rPr>
              <a:t>请在此处输入标题</a:t>
            </a:r>
          </a:p>
        </p:txBody>
      </p:sp>
      <p:sp>
        <p:nvSpPr>
          <p:cNvPr id="64" name="文本框 63">
            <a:extLst>
              <a:ext uri="{FF2B5EF4-FFF2-40B4-BE49-F238E27FC236}">
                <a16:creationId xmlns:a16="http://schemas.microsoft.com/office/drawing/2014/main" id="{EDFDF3CC-A003-4CD0-80C0-D164C3859792}"/>
              </a:ext>
            </a:extLst>
          </p:cNvPr>
          <p:cNvSpPr txBox="1"/>
          <p:nvPr/>
        </p:nvSpPr>
        <p:spPr>
          <a:xfrm>
            <a:off x="508403" y="3582947"/>
            <a:ext cx="2327195" cy="646331"/>
          </a:xfrm>
          <a:prstGeom prst="rect">
            <a:avLst/>
          </a:prstGeom>
          <a:noFill/>
        </p:spPr>
        <p:txBody>
          <a:bodyPr wrap="square" rtlCol="0">
            <a:spAutoFit/>
          </a:bodyPr>
          <a:lstStyle/>
          <a:p>
            <a:r>
              <a:rPr lang="en-US" altLang="zh-CN" sz="1200" dirty="0"/>
              <a:t>Lorem ipsum dolor sit amet, consectetur adipisicing elit, sed do eiusmod tempor</a:t>
            </a:r>
            <a:endParaRPr lang="zh-CN" altLang="en-US" sz="1200" dirty="0"/>
          </a:p>
        </p:txBody>
      </p:sp>
      <p:grpSp>
        <p:nvGrpSpPr>
          <p:cNvPr id="65" name="组合 64">
            <a:extLst>
              <a:ext uri="{FF2B5EF4-FFF2-40B4-BE49-F238E27FC236}">
                <a16:creationId xmlns:a16="http://schemas.microsoft.com/office/drawing/2014/main" id="{1799F3A8-E662-4B2A-8A0D-0FB156DC721D}"/>
              </a:ext>
            </a:extLst>
          </p:cNvPr>
          <p:cNvGrpSpPr/>
          <p:nvPr/>
        </p:nvGrpSpPr>
        <p:grpSpPr>
          <a:xfrm>
            <a:off x="448357" y="3454533"/>
            <a:ext cx="83976" cy="819346"/>
            <a:chOff x="3192464" y="1597283"/>
            <a:chExt cx="83976" cy="819346"/>
          </a:xfrm>
        </p:grpSpPr>
        <p:cxnSp>
          <p:nvCxnSpPr>
            <p:cNvPr id="66" name="直接连接符 65">
              <a:extLst>
                <a:ext uri="{FF2B5EF4-FFF2-40B4-BE49-F238E27FC236}">
                  <a16:creationId xmlns:a16="http://schemas.microsoft.com/office/drawing/2014/main" id="{7AB0F0DD-F878-4244-8DFC-666776E26266}"/>
                </a:ext>
              </a:extLst>
            </p:cNvPr>
            <p:cNvCxnSpPr>
              <a:cxnSpLocks/>
            </p:cNvCxnSpPr>
            <p:nvPr/>
          </p:nvCxnSpPr>
          <p:spPr>
            <a:xfrm>
              <a:off x="3234452" y="1651052"/>
              <a:ext cx="0" cy="765577"/>
            </a:xfrm>
            <a:prstGeom prst="line">
              <a:avLst/>
            </a:prstGeom>
            <a:ln w="12700">
              <a:gradFill>
                <a:gsLst>
                  <a:gs pos="0">
                    <a:schemeClr val="accent1"/>
                  </a:gs>
                  <a:gs pos="100000">
                    <a:schemeClr val="accent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67" name="椭圆 66">
              <a:extLst>
                <a:ext uri="{FF2B5EF4-FFF2-40B4-BE49-F238E27FC236}">
                  <a16:creationId xmlns:a16="http://schemas.microsoft.com/office/drawing/2014/main" id="{3660BE86-56D1-42D4-8342-64E107BD664B}"/>
                </a:ext>
              </a:extLst>
            </p:cNvPr>
            <p:cNvSpPr/>
            <p:nvPr/>
          </p:nvSpPr>
          <p:spPr>
            <a:xfrm>
              <a:off x="3192464" y="1597283"/>
              <a:ext cx="83976" cy="83976"/>
            </a:xfrm>
            <a:prstGeom prst="ellipse">
              <a:avLst/>
            </a:pr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Tree>
    <p:extLst>
      <p:ext uri="{BB962C8B-B14F-4D97-AF65-F5344CB8AC3E}">
        <p14:creationId xmlns:p14="http://schemas.microsoft.com/office/powerpoint/2010/main" val="1472454055"/>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4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 name="直接连接符 4">
            <a:extLst>
              <a:ext uri="{FF2B5EF4-FFF2-40B4-BE49-F238E27FC236}">
                <a16:creationId xmlns:a16="http://schemas.microsoft.com/office/drawing/2014/main" id="{11C65372-3ECC-43B9-80CF-11D14E46F8E3}"/>
              </a:ext>
            </a:extLst>
          </p:cNvPr>
          <p:cNvCxnSpPr>
            <a:cxnSpLocks/>
          </p:cNvCxnSpPr>
          <p:nvPr/>
        </p:nvCxnSpPr>
        <p:spPr>
          <a:xfrm>
            <a:off x="1035050" y="2019300"/>
            <a:ext cx="10121900" cy="0"/>
          </a:xfrm>
          <a:prstGeom prst="line">
            <a:avLst/>
          </a:prstGeom>
          <a:ln w="50800"/>
        </p:spPr>
        <p:style>
          <a:lnRef idx="1">
            <a:schemeClr val="accent1"/>
          </a:lnRef>
          <a:fillRef idx="0">
            <a:schemeClr val="accent1"/>
          </a:fillRef>
          <a:effectRef idx="0">
            <a:schemeClr val="accent1"/>
          </a:effectRef>
          <a:fontRef idx="minor">
            <a:schemeClr val="tx1"/>
          </a:fontRef>
        </p:style>
      </p:cxnSp>
      <p:sp>
        <p:nvSpPr>
          <p:cNvPr id="6" name="箭头: 五边形 5">
            <a:extLst>
              <a:ext uri="{FF2B5EF4-FFF2-40B4-BE49-F238E27FC236}">
                <a16:creationId xmlns:a16="http://schemas.microsoft.com/office/drawing/2014/main" id="{473EB313-6D82-4431-A2F5-8D8A623913F8}"/>
              </a:ext>
            </a:extLst>
          </p:cNvPr>
          <p:cNvSpPr/>
          <p:nvPr/>
        </p:nvSpPr>
        <p:spPr>
          <a:xfrm rot="5400000">
            <a:off x="727527" y="2972253"/>
            <a:ext cx="3111500" cy="1765300"/>
          </a:xfrm>
          <a:prstGeom prst="homePlate">
            <a:avLst>
              <a:gd name="adj" fmla="val 39209"/>
            </a:avLst>
          </a:pr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文本框 9">
            <a:extLst>
              <a:ext uri="{FF2B5EF4-FFF2-40B4-BE49-F238E27FC236}">
                <a16:creationId xmlns:a16="http://schemas.microsoft.com/office/drawing/2014/main" id="{9290FEA3-AAA6-4FD7-A9B8-46CF64960BEB}"/>
              </a:ext>
            </a:extLst>
          </p:cNvPr>
          <p:cNvSpPr txBox="1"/>
          <p:nvPr/>
        </p:nvSpPr>
        <p:spPr>
          <a:xfrm>
            <a:off x="1522560" y="2828848"/>
            <a:ext cx="1467068" cy="400110"/>
          </a:xfrm>
          <a:prstGeom prst="rect">
            <a:avLst/>
          </a:prstGeom>
          <a:noFill/>
        </p:spPr>
        <p:txBody>
          <a:bodyPr wrap="none" rtlCol="0">
            <a:spAutoFit/>
          </a:bodyPr>
          <a:lstStyle/>
          <a:p>
            <a:pPr algn="ctr"/>
            <a:r>
              <a:rPr lang="zh-CN" altLang="en-US" sz="2000" dirty="0">
                <a:solidFill>
                  <a:schemeClr val="bg1"/>
                </a:solidFill>
                <a:latin typeface="+mj-ea"/>
                <a:ea typeface="+mj-ea"/>
              </a:rPr>
              <a:t>关键词标题</a:t>
            </a:r>
          </a:p>
        </p:txBody>
      </p:sp>
      <p:sp>
        <p:nvSpPr>
          <p:cNvPr id="11" name="文本框 10">
            <a:extLst>
              <a:ext uri="{FF2B5EF4-FFF2-40B4-BE49-F238E27FC236}">
                <a16:creationId xmlns:a16="http://schemas.microsoft.com/office/drawing/2014/main" id="{BAB83C80-7D03-47A0-A001-6BC46C68FEE4}"/>
              </a:ext>
            </a:extLst>
          </p:cNvPr>
          <p:cNvSpPr txBox="1"/>
          <p:nvPr/>
        </p:nvSpPr>
        <p:spPr>
          <a:xfrm>
            <a:off x="1397389" y="3231410"/>
            <a:ext cx="1768537" cy="830997"/>
          </a:xfrm>
          <a:prstGeom prst="rect">
            <a:avLst/>
          </a:prstGeom>
          <a:noFill/>
        </p:spPr>
        <p:txBody>
          <a:bodyPr wrap="square" rtlCol="0">
            <a:spAutoFit/>
          </a:bodyPr>
          <a:lstStyle/>
          <a:p>
            <a:pPr algn="ctr"/>
            <a:r>
              <a:rPr lang="en-US" altLang="zh-CN" sz="1200" dirty="0">
                <a:solidFill>
                  <a:schemeClr val="bg1"/>
                </a:solidFill>
              </a:rPr>
              <a:t>Lorem ipsum dolor sit amet, consectetur adipisicing elit, sed do eiusmod tempor</a:t>
            </a:r>
            <a:endParaRPr lang="zh-CN" altLang="en-US" sz="1200" dirty="0">
              <a:solidFill>
                <a:schemeClr val="bg1"/>
              </a:solidFill>
            </a:endParaRPr>
          </a:p>
        </p:txBody>
      </p:sp>
      <p:sp>
        <p:nvSpPr>
          <p:cNvPr id="14" name="箭头: 五边形 13">
            <a:extLst>
              <a:ext uri="{FF2B5EF4-FFF2-40B4-BE49-F238E27FC236}">
                <a16:creationId xmlns:a16="http://schemas.microsoft.com/office/drawing/2014/main" id="{2661E235-C8A8-47F2-94C7-91B76F99522B}"/>
              </a:ext>
            </a:extLst>
          </p:cNvPr>
          <p:cNvSpPr/>
          <p:nvPr/>
        </p:nvSpPr>
        <p:spPr>
          <a:xfrm rot="5400000">
            <a:off x="3268263" y="2972253"/>
            <a:ext cx="3111500" cy="1765300"/>
          </a:xfrm>
          <a:prstGeom prst="homePlate">
            <a:avLst>
              <a:gd name="adj" fmla="val 39209"/>
            </a:avLst>
          </a:pr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 name="文本框 14">
            <a:extLst>
              <a:ext uri="{FF2B5EF4-FFF2-40B4-BE49-F238E27FC236}">
                <a16:creationId xmlns:a16="http://schemas.microsoft.com/office/drawing/2014/main" id="{6CC5828E-BFF6-481D-971F-10AD3603B04A}"/>
              </a:ext>
            </a:extLst>
          </p:cNvPr>
          <p:cNvSpPr txBox="1"/>
          <p:nvPr/>
        </p:nvSpPr>
        <p:spPr>
          <a:xfrm>
            <a:off x="4063297" y="2828848"/>
            <a:ext cx="1467068" cy="4001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2000" b="0" i="0" u="none" strike="noStrike" kern="1200" cap="none" spc="0" normalizeH="0" baseline="0" noProof="0" dirty="0">
                <a:ln>
                  <a:noFill/>
                </a:ln>
                <a:solidFill>
                  <a:srgbClr val="FFFFFF"/>
                </a:solidFill>
                <a:effectLst/>
                <a:uLnTx/>
                <a:uFillTx/>
                <a:latin typeface="OPPOSans B"/>
                <a:ea typeface="OPPOSans B"/>
                <a:cs typeface="+mn-cs"/>
              </a:rPr>
              <a:t>关键词标题</a:t>
            </a:r>
          </a:p>
        </p:txBody>
      </p:sp>
      <p:sp>
        <p:nvSpPr>
          <p:cNvPr id="16" name="文本框 15">
            <a:extLst>
              <a:ext uri="{FF2B5EF4-FFF2-40B4-BE49-F238E27FC236}">
                <a16:creationId xmlns:a16="http://schemas.microsoft.com/office/drawing/2014/main" id="{8C16191E-0EF9-4CB6-A869-BE7306FD01F2}"/>
              </a:ext>
            </a:extLst>
          </p:cNvPr>
          <p:cNvSpPr txBox="1"/>
          <p:nvPr/>
        </p:nvSpPr>
        <p:spPr>
          <a:xfrm>
            <a:off x="3938125" y="3231410"/>
            <a:ext cx="1768537" cy="830997"/>
          </a:xfrm>
          <a:prstGeom prst="rect">
            <a:avLst/>
          </a:prstGeom>
          <a:noFill/>
        </p:spPr>
        <p:txBody>
          <a:bodyPr wrap="square" rtlCol="0">
            <a:spAutoFit/>
          </a:bodyPr>
          <a:lstStyle/>
          <a:p>
            <a:pPr algn="ctr"/>
            <a:r>
              <a:rPr lang="en-US" altLang="zh-CN" sz="1200" dirty="0">
                <a:solidFill>
                  <a:schemeClr val="bg1"/>
                </a:solidFill>
              </a:rPr>
              <a:t>Lorem ipsum dolor sit amet, consectetur adipisicing elit, sed do eiusmod tempor</a:t>
            </a:r>
            <a:endParaRPr lang="zh-CN" altLang="en-US" sz="1200" dirty="0">
              <a:solidFill>
                <a:schemeClr val="bg1"/>
              </a:solidFill>
            </a:endParaRPr>
          </a:p>
        </p:txBody>
      </p:sp>
      <p:sp>
        <p:nvSpPr>
          <p:cNvPr id="18" name="箭头: 五边形 17">
            <a:extLst>
              <a:ext uri="{FF2B5EF4-FFF2-40B4-BE49-F238E27FC236}">
                <a16:creationId xmlns:a16="http://schemas.microsoft.com/office/drawing/2014/main" id="{0EB69C35-C17F-4246-AA73-77B8BE1D5048}"/>
              </a:ext>
            </a:extLst>
          </p:cNvPr>
          <p:cNvSpPr/>
          <p:nvPr/>
        </p:nvSpPr>
        <p:spPr>
          <a:xfrm rot="5400000">
            <a:off x="5808999" y="2972253"/>
            <a:ext cx="3111500" cy="1765300"/>
          </a:xfrm>
          <a:prstGeom prst="homePlate">
            <a:avLst>
              <a:gd name="adj" fmla="val 39209"/>
            </a:avLst>
          </a:pr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9" name="文本框 18">
            <a:extLst>
              <a:ext uri="{FF2B5EF4-FFF2-40B4-BE49-F238E27FC236}">
                <a16:creationId xmlns:a16="http://schemas.microsoft.com/office/drawing/2014/main" id="{B1275539-0996-462A-9B53-5F4776570C34}"/>
              </a:ext>
            </a:extLst>
          </p:cNvPr>
          <p:cNvSpPr txBox="1"/>
          <p:nvPr/>
        </p:nvSpPr>
        <p:spPr>
          <a:xfrm>
            <a:off x="6604033" y="2828848"/>
            <a:ext cx="1467068" cy="4001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2000" b="0" i="0" u="none" strike="noStrike" kern="1200" cap="none" spc="0" normalizeH="0" baseline="0" noProof="0" dirty="0">
                <a:ln>
                  <a:noFill/>
                </a:ln>
                <a:solidFill>
                  <a:srgbClr val="FFFFFF"/>
                </a:solidFill>
                <a:effectLst/>
                <a:uLnTx/>
                <a:uFillTx/>
                <a:latin typeface="OPPOSans B"/>
                <a:ea typeface="OPPOSans B"/>
                <a:cs typeface="+mn-cs"/>
              </a:rPr>
              <a:t>关键词标题</a:t>
            </a:r>
          </a:p>
        </p:txBody>
      </p:sp>
      <p:sp>
        <p:nvSpPr>
          <p:cNvPr id="20" name="文本框 19">
            <a:extLst>
              <a:ext uri="{FF2B5EF4-FFF2-40B4-BE49-F238E27FC236}">
                <a16:creationId xmlns:a16="http://schemas.microsoft.com/office/drawing/2014/main" id="{C453E096-79FF-4A53-814B-F3F6808DD141}"/>
              </a:ext>
            </a:extLst>
          </p:cNvPr>
          <p:cNvSpPr txBox="1"/>
          <p:nvPr/>
        </p:nvSpPr>
        <p:spPr>
          <a:xfrm>
            <a:off x="6478861" y="3231410"/>
            <a:ext cx="1768537" cy="830997"/>
          </a:xfrm>
          <a:prstGeom prst="rect">
            <a:avLst/>
          </a:prstGeom>
          <a:noFill/>
        </p:spPr>
        <p:txBody>
          <a:bodyPr wrap="square" rtlCol="0">
            <a:spAutoFit/>
          </a:bodyPr>
          <a:lstStyle/>
          <a:p>
            <a:pPr algn="ctr"/>
            <a:r>
              <a:rPr lang="en-US" altLang="zh-CN" sz="1200" dirty="0">
                <a:solidFill>
                  <a:schemeClr val="bg1"/>
                </a:solidFill>
              </a:rPr>
              <a:t>Lorem ipsum dolor sit amet, consectetur adipisicing elit, sed do eiusmod tempor</a:t>
            </a:r>
            <a:endParaRPr lang="zh-CN" altLang="en-US" sz="1200" dirty="0">
              <a:solidFill>
                <a:schemeClr val="bg1"/>
              </a:solidFill>
            </a:endParaRPr>
          </a:p>
        </p:txBody>
      </p:sp>
      <p:sp>
        <p:nvSpPr>
          <p:cNvPr id="22" name="箭头: 五边形 21">
            <a:extLst>
              <a:ext uri="{FF2B5EF4-FFF2-40B4-BE49-F238E27FC236}">
                <a16:creationId xmlns:a16="http://schemas.microsoft.com/office/drawing/2014/main" id="{04177FBF-E3E1-4D94-9D27-F5B4594CC833}"/>
              </a:ext>
            </a:extLst>
          </p:cNvPr>
          <p:cNvSpPr/>
          <p:nvPr/>
        </p:nvSpPr>
        <p:spPr>
          <a:xfrm rot="5400000">
            <a:off x="8349734" y="2972253"/>
            <a:ext cx="3111500" cy="1765300"/>
          </a:xfrm>
          <a:prstGeom prst="homePlate">
            <a:avLst>
              <a:gd name="adj" fmla="val 39209"/>
            </a:avLst>
          </a:pr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3" name="文本框 22">
            <a:extLst>
              <a:ext uri="{FF2B5EF4-FFF2-40B4-BE49-F238E27FC236}">
                <a16:creationId xmlns:a16="http://schemas.microsoft.com/office/drawing/2014/main" id="{64CF8AF9-47B4-41F5-A893-22D6048A1790}"/>
              </a:ext>
            </a:extLst>
          </p:cNvPr>
          <p:cNvSpPr txBox="1"/>
          <p:nvPr/>
        </p:nvSpPr>
        <p:spPr>
          <a:xfrm>
            <a:off x="9144768" y="2828848"/>
            <a:ext cx="1467068" cy="4001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2000" b="0" i="0" u="none" strike="noStrike" kern="1200" cap="none" spc="0" normalizeH="0" baseline="0" noProof="0" dirty="0">
                <a:ln>
                  <a:noFill/>
                </a:ln>
                <a:solidFill>
                  <a:srgbClr val="FFFFFF"/>
                </a:solidFill>
                <a:effectLst/>
                <a:uLnTx/>
                <a:uFillTx/>
                <a:latin typeface="OPPOSans B"/>
                <a:ea typeface="OPPOSans B"/>
                <a:cs typeface="+mn-cs"/>
              </a:rPr>
              <a:t>关键词标题</a:t>
            </a:r>
          </a:p>
        </p:txBody>
      </p:sp>
      <p:sp>
        <p:nvSpPr>
          <p:cNvPr id="24" name="文本框 23">
            <a:extLst>
              <a:ext uri="{FF2B5EF4-FFF2-40B4-BE49-F238E27FC236}">
                <a16:creationId xmlns:a16="http://schemas.microsoft.com/office/drawing/2014/main" id="{30538AE2-E26D-48D7-BEF4-0430C255E608}"/>
              </a:ext>
            </a:extLst>
          </p:cNvPr>
          <p:cNvSpPr txBox="1"/>
          <p:nvPr/>
        </p:nvSpPr>
        <p:spPr>
          <a:xfrm>
            <a:off x="9019596" y="3231410"/>
            <a:ext cx="1768537" cy="830997"/>
          </a:xfrm>
          <a:prstGeom prst="rect">
            <a:avLst/>
          </a:prstGeom>
          <a:noFill/>
        </p:spPr>
        <p:txBody>
          <a:bodyPr wrap="square" rtlCol="0">
            <a:spAutoFit/>
          </a:bodyPr>
          <a:lstStyle/>
          <a:p>
            <a:pPr algn="ctr"/>
            <a:r>
              <a:rPr lang="en-US" altLang="zh-CN" sz="1200" dirty="0">
                <a:solidFill>
                  <a:schemeClr val="bg1"/>
                </a:solidFill>
              </a:rPr>
              <a:t>Lorem ipsum dolor sit amet, consectetur adipisicing elit, sed do eiusmod tempor</a:t>
            </a:r>
            <a:endParaRPr lang="zh-CN" altLang="en-US" sz="1200" dirty="0">
              <a:solidFill>
                <a:schemeClr val="bg1"/>
              </a:solidFill>
            </a:endParaRPr>
          </a:p>
        </p:txBody>
      </p:sp>
      <p:sp>
        <p:nvSpPr>
          <p:cNvPr id="25" name="文本框 24">
            <a:extLst>
              <a:ext uri="{FF2B5EF4-FFF2-40B4-BE49-F238E27FC236}">
                <a16:creationId xmlns:a16="http://schemas.microsoft.com/office/drawing/2014/main" id="{7ECD94E9-F6C5-4184-8A84-D414A0730111}"/>
              </a:ext>
            </a:extLst>
          </p:cNvPr>
          <p:cNvSpPr txBox="1"/>
          <p:nvPr/>
        </p:nvSpPr>
        <p:spPr>
          <a:xfrm>
            <a:off x="9434823" y="4528094"/>
            <a:ext cx="938077" cy="461665"/>
          </a:xfrm>
          <a:prstGeom prst="rect">
            <a:avLst/>
          </a:prstGeom>
          <a:noFill/>
          <a:effectLst>
            <a:outerShdw blurRad="76200" dir="13500000" sy="23000" kx="1200000" algn="br" rotWithShape="0">
              <a:prstClr val="black">
                <a:alpha val="20000"/>
              </a:prstClr>
            </a:outerShdw>
          </a:effectLst>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2400" b="0" i="0" u="none" strike="noStrike" kern="1200" cap="none" spc="0" normalizeH="0" baseline="0" noProof="0" dirty="0">
                <a:ln>
                  <a:noFill/>
                </a:ln>
                <a:solidFill>
                  <a:prstClr val="white"/>
                </a:solidFill>
                <a:uLnTx/>
                <a:uFillTx/>
                <a:latin typeface="+mj-ea"/>
                <a:ea typeface="+mj-ea"/>
                <a:cs typeface="+mn-cs"/>
              </a:rPr>
              <a:t>2021</a:t>
            </a:r>
            <a:endParaRPr kumimoji="0" lang="zh-CN" altLang="en-US" sz="2400" b="0" i="0" u="none" strike="noStrike" kern="1200" cap="none" spc="0" normalizeH="0" baseline="0" noProof="0" dirty="0">
              <a:ln>
                <a:noFill/>
              </a:ln>
              <a:solidFill>
                <a:prstClr val="white"/>
              </a:solidFill>
              <a:uLnTx/>
              <a:uFillTx/>
              <a:latin typeface="+mj-ea"/>
              <a:ea typeface="+mj-ea"/>
              <a:cs typeface="+mn-cs"/>
            </a:endParaRPr>
          </a:p>
        </p:txBody>
      </p:sp>
      <p:sp>
        <p:nvSpPr>
          <p:cNvPr id="26" name="文本框 25">
            <a:extLst>
              <a:ext uri="{FF2B5EF4-FFF2-40B4-BE49-F238E27FC236}">
                <a16:creationId xmlns:a16="http://schemas.microsoft.com/office/drawing/2014/main" id="{4A341340-E362-4532-BD5F-8D8307E70835}"/>
              </a:ext>
            </a:extLst>
          </p:cNvPr>
          <p:cNvSpPr txBox="1"/>
          <p:nvPr/>
        </p:nvSpPr>
        <p:spPr>
          <a:xfrm>
            <a:off x="6866839" y="4528094"/>
            <a:ext cx="992580" cy="461665"/>
          </a:xfrm>
          <a:prstGeom prst="rect">
            <a:avLst/>
          </a:prstGeom>
          <a:noFill/>
          <a:effectLst>
            <a:outerShdw blurRad="76200" dir="13500000" sy="23000" kx="1200000" algn="br" rotWithShape="0">
              <a:prstClr val="black">
                <a:alpha val="20000"/>
              </a:prstClr>
            </a:outerShdw>
          </a:effectLst>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2400" b="0" i="0" u="none" strike="noStrike" kern="1200" cap="none" spc="0" normalizeH="0" baseline="0" noProof="0" dirty="0">
                <a:ln>
                  <a:noFill/>
                </a:ln>
                <a:solidFill>
                  <a:prstClr val="white"/>
                </a:solidFill>
                <a:uLnTx/>
                <a:uFillTx/>
                <a:latin typeface="+mj-ea"/>
                <a:ea typeface="+mj-ea"/>
                <a:cs typeface="+mn-cs"/>
              </a:rPr>
              <a:t>2020</a:t>
            </a:r>
            <a:endParaRPr kumimoji="0" lang="zh-CN" altLang="en-US" sz="2400" b="0" i="0" u="none" strike="noStrike" kern="1200" cap="none" spc="0" normalizeH="0" baseline="0" noProof="0" dirty="0">
              <a:ln>
                <a:noFill/>
              </a:ln>
              <a:solidFill>
                <a:prstClr val="white"/>
              </a:solidFill>
              <a:uLnTx/>
              <a:uFillTx/>
              <a:latin typeface="+mj-ea"/>
              <a:ea typeface="+mj-ea"/>
              <a:cs typeface="+mn-cs"/>
            </a:endParaRPr>
          </a:p>
        </p:txBody>
      </p:sp>
      <p:sp>
        <p:nvSpPr>
          <p:cNvPr id="27" name="文本框 26">
            <a:extLst>
              <a:ext uri="{FF2B5EF4-FFF2-40B4-BE49-F238E27FC236}">
                <a16:creationId xmlns:a16="http://schemas.microsoft.com/office/drawing/2014/main" id="{0427B971-CB61-46DD-A6C7-49D077AACE11}"/>
              </a:ext>
            </a:extLst>
          </p:cNvPr>
          <p:cNvSpPr txBox="1"/>
          <p:nvPr/>
        </p:nvSpPr>
        <p:spPr>
          <a:xfrm>
            <a:off x="4327792" y="4528094"/>
            <a:ext cx="938078" cy="461665"/>
          </a:xfrm>
          <a:prstGeom prst="rect">
            <a:avLst/>
          </a:prstGeom>
          <a:noFill/>
          <a:effectLst>
            <a:outerShdw blurRad="76200" dir="13500000" sy="23000" kx="1200000" algn="br" rotWithShape="0">
              <a:prstClr val="black">
                <a:alpha val="20000"/>
              </a:prstClr>
            </a:outerShdw>
          </a:effectLst>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2400" b="0" i="0" u="none" strike="noStrike" kern="1200" cap="none" spc="0" normalizeH="0" baseline="0" noProof="0" dirty="0">
                <a:ln>
                  <a:noFill/>
                </a:ln>
                <a:solidFill>
                  <a:prstClr val="white"/>
                </a:solidFill>
                <a:uLnTx/>
                <a:uFillTx/>
                <a:latin typeface="+mj-ea"/>
                <a:ea typeface="+mj-ea"/>
                <a:cs typeface="+mn-cs"/>
              </a:rPr>
              <a:t>2019</a:t>
            </a:r>
            <a:endParaRPr kumimoji="0" lang="zh-CN" altLang="en-US" sz="2400" b="0" i="0" u="none" strike="noStrike" kern="1200" cap="none" spc="0" normalizeH="0" baseline="0" noProof="0" dirty="0">
              <a:ln>
                <a:noFill/>
              </a:ln>
              <a:solidFill>
                <a:prstClr val="white"/>
              </a:solidFill>
              <a:uLnTx/>
              <a:uFillTx/>
              <a:latin typeface="+mj-ea"/>
              <a:ea typeface="+mj-ea"/>
              <a:cs typeface="+mn-cs"/>
            </a:endParaRPr>
          </a:p>
        </p:txBody>
      </p:sp>
      <p:sp>
        <p:nvSpPr>
          <p:cNvPr id="28" name="文本框 27">
            <a:extLst>
              <a:ext uri="{FF2B5EF4-FFF2-40B4-BE49-F238E27FC236}">
                <a16:creationId xmlns:a16="http://schemas.microsoft.com/office/drawing/2014/main" id="{7208E467-2A1F-43AE-84C9-2B03B698BCAC}"/>
              </a:ext>
            </a:extLst>
          </p:cNvPr>
          <p:cNvSpPr txBox="1"/>
          <p:nvPr/>
        </p:nvSpPr>
        <p:spPr>
          <a:xfrm>
            <a:off x="1812618" y="4528094"/>
            <a:ext cx="938078" cy="461665"/>
          </a:xfrm>
          <a:prstGeom prst="rect">
            <a:avLst/>
          </a:prstGeom>
          <a:noFill/>
          <a:effectLst>
            <a:outerShdw blurRad="76200" dir="13500000" sy="23000" kx="1200000" algn="br" rotWithShape="0">
              <a:prstClr val="black">
                <a:alpha val="20000"/>
              </a:prstClr>
            </a:outerShdw>
          </a:effectLst>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2400" b="0" i="0" u="none" strike="noStrike" kern="1200" cap="none" spc="0" normalizeH="0" baseline="0" noProof="0" dirty="0">
                <a:ln>
                  <a:noFill/>
                </a:ln>
                <a:solidFill>
                  <a:prstClr val="white"/>
                </a:solidFill>
                <a:uLnTx/>
                <a:uFillTx/>
                <a:latin typeface="+mj-ea"/>
                <a:ea typeface="+mj-ea"/>
                <a:cs typeface="+mn-cs"/>
              </a:rPr>
              <a:t>2018</a:t>
            </a:r>
            <a:endParaRPr kumimoji="0" lang="zh-CN" altLang="en-US" sz="2400" b="0" i="0" u="none" strike="noStrike" kern="1200" cap="none" spc="0" normalizeH="0" baseline="0" noProof="0" dirty="0">
              <a:ln>
                <a:noFill/>
              </a:ln>
              <a:solidFill>
                <a:prstClr val="white"/>
              </a:solidFill>
              <a:uLnTx/>
              <a:uFillTx/>
              <a:latin typeface="+mj-ea"/>
              <a:ea typeface="+mj-ea"/>
              <a:cs typeface="+mn-cs"/>
            </a:endParaRPr>
          </a:p>
        </p:txBody>
      </p:sp>
      <p:cxnSp>
        <p:nvCxnSpPr>
          <p:cNvPr id="30" name="直接连接符 29">
            <a:extLst>
              <a:ext uri="{FF2B5EF4-FFF2-40B4-BE49-F238E27FC236}">
                <a16:creationId xmlns:a16="http://schemas.microsoft.com/office/drawing/2014/main" id="{3DD53A0A-354F-436A-A900-E082A0A08BBA}"/>
              </a:ext>
            </a:extLst>
          </p:cNvPr>
          <p:cNvCxnSpPr>
            <a:endCxn id="6" idx="1"/>
          </p:cNvCxnSpPr>
          <p:nvPr/>
        </p:nvCxnSpPr>
        <p:spPr>
          <a:xfrm>
            <a:off x="2281657" y="2019300"/>
            <a:ext cx="1620" cy="279853"/>
          </a:xfrm>
          <a:prstGeom prst="line">
            <a:avLst/>
          </a:prstGeom>
          <a:ln w="25400">
            <a:prstDash val="sysDash"/>
          </a:ln>
        </p:spPr>
        <p:style>
          <a:lnRef idx="1">
            <a:schemeClr val="accent1"/>
          </a:lnRef>
          <a:fillRef idx="0">
            <a:schemeClr val="accent1"/>
          </a:fillRef>
          <a:effectRef idx="0">
            <a:schemeClr val="accent1"/>
          </a:effectRef>
          <a:fontRef idx="minor">
            <a:schemeClr val="tx1"/>
          </a:fontRef>
        </p:style>
      </p:cxnSp>
      <p:cxnSp>
        <p:nvCxnSpPr>
          <p:cNvPr id="31" name="直接连接符 30">
            <a:extLst>
              <a:ext uri="{FF2B5EF4-FFF2-40B4-BE49-F238E27FC236}">
                <a16:creationId xmlns:a16="http://schemas.microsoft.com/office/drawing/2014/main" id="{6AFA7213-9331-433A-A326-BC88FB09C96C}"/>
              </a:ext>
            </a:extLst>
          </p:cNvPr>
          <p:cNvCxnSpPr/>
          <p:nvPr/>
        </p:nvCxnSpPr>
        <p:spPr>
          <a:xfrm>
            <a:off x="4827381" y="2019300"/>
            <a:ext cx="1620" cy="279853"/>
          </a:xfrm>
          <a:prstGeom prst="line">
            <a:avLst/>
          </a:prstGeom>
          <a:ln w="25400">
            <a:prstDash val="sysDash"/>
          </a:ln>
        </p:spPr>
        <p:style>
          <a:lnRef idx="1">
            <a:schemeClr val="accent1"/>
          </a:lnRef>
          <a:fillRef idx="0">
            <a:schemeClr val="accent1"/>
          </a:fillRef>
          <a:effectRef idx="0">
            <a:schemeClr val="accent1"/>
          </a:effectRef>
          <a:fontRef idx="minor">
            <a:schemeClr val="tx1"/>
          </a:fontRef>
        </p:style>
      </p:cxnSp>
      <p:cxnSp>
        <p:nvCxnSpPr>
          <p:cNvPr id="32" name="直接连接符 31">
            <a:extLst>
              <a:ext uri="{FF2B5EF4-FFF2-40B4-BE49-F238E27FC236}">
                <a16:creationId xmlns:a16="http://schemas.microsoft.com/office/drawing/2014/main" id="{2CD29CE1-27C7-4AFD-B388-96DA695374DF}"/>
              </a:ext>
            </a:extLst>
          </p:cNvPr>
          <p:cNvCxnSpPr/>
          <p:nvPr/>
        </p:nvCxnSpPr>
        <p:spPr>
          <a:xfrm>
            <a:off x="7361381" y="2019300"/>
            <a:ext cx="1620" cy="279853"/>
          </a:xfrm>
          <a:prstGeom prst="line">
            <a:avLst/>
          </a:prstGeom>
          <a:ln w="25400">
            <a:prstDash val="sysDash"/>
          </a:ln>
        </p:spPr>
        <p:style>
          <a:lnRef idx="1">
            <a:schemeClr val="accent1"/>
          </a:lnRef>
          <a:fillRef idx="0">
            <a:schemeClr val="accent1"/>
          </a:fillRef>
          <a:effectRef idx="0">
            <a:schemeClr val="accent1"/>
          </a:effectRef>
          <a:fontRef idx="minor">
            <a:schemeClr val="tx1"/>
          </a:fontRef>
        </p:style>
      </p:cxnSp>
      <p:cxnSp>
        <p:nvCxnSpPr>
          <p:cNvPr id="33" name="直接连接符 32">
            <a:extLst>
              <a:ext uri="{FF2B5EF4-FFF2-40B4-BE49-F238E27FC236}">
                <a16:creationId xmlns:a16="http://schemas.microsoft.com/office/drawing/2014/main" id="{A8A12F68-5DC7-4E28-A378-FF052D29A801}"/>
              </a:ext>
            </a:extLst>
          </p:cNvPr>
          <p:cNvCxnSpPr/>
          <p:nvPr/>
        </p:nvCxnSpPr>
        <p:spPr>
          <a:xfrm>
            <a:off x="9910343" y="2019300"/>
            <a:ext cx="1620" cy="279853"/>
          </a:xfrm>
          <a:prstGeom prst="line">
            <a:avLst/>
          </a:prstGeom>
          <a:ln w="25400">
            <a:prstDash val="sys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91795416"/>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4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矩形: 圆角 5">
            <a:extLst>
              <a:ext uri="{FF2B5EF4-FFF2-40B4-BE49-F238E27FC236}">
                <a16:creationId xmlns:a16="http://schemas.microsoft.com/office/drawing/2014/main" id="{353D7CA1-C8F3-44A4-8BC5-6FC948BA6701}"/>
              </a:ext>
            </a:extLst>
          </p:cNvPr>
          <p:cNvSpPr/>
          <p:nvPr/>
        </p:nvSpPr>
        <p:spPr>
          <a:xfrm>
            <a:off x="5095875" y="1285875"/>
            <a:ext cx="4752975" cy="1133475"/>
          </a:xfrm>
          <a:prstGeom prst="roundRect">
            <a:avLst>
              <a:gd name="adj" fmla="val 14228"/>
            </a:avLst>
          </a:pr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2" name="任意多边形: 形状 31">
            <a:extLst>
              <a:ext uri="{FF2B5EF4-FFF2-40B4-BE49-F238E27FC236}">
                <a16:creationId xmlns:a16="http://schemas.microsoft.com/office/drawing/2014/main" id="{E991CBC2-3615-41A0-A964-BE76F6DBB09D}"/>
              </a:ext>
            </a:extLst>
          </p:cNvPr>
          <p:cNvSpPr/>
          <p:nvPr/>
        </p:nvSpPr>
        <p:spPr>
          <a:xfrm>
            <a:off x="6537960" y="1381124"/>
            <a:ext cx="3263265" cy="942976"/>
          </a:xfrm>
          <a:custGeom>
            <a:avLst/>
            <a:gdLst>
              <a:gd name="connsiteX0" fmla="*/ 0 w 3076575"/>
              <a:gd name="connsiteY0" fmla="*/ 471487 h 942976"/>
              <a:gd name="connsiteX1" fmla="*/ 0 w 3076575"/>
              <a:gd name="connsiteY1" fmla="*/ 471488 h 942976"/>
              <a:gd name="connsiteX2" fmla="*/ 0 w 3076575"/>
              <a:gd name="connsiteY2" fmla="*/ 471488 h 942976"/>
              <a:gd name="connsiteX3" fmla="*/ 471488 w 3076575"/>
              <a:gd name="connsiteY3" fmla="*/ 0 h 942976"/>
              <a:gd name="connsiteX4" fmla="*/ 3076575 w 3076575"/>
              <a:gd name="connsiteY4" fmla="*/ 0 h 942976"/>
              <a:gd name="connsiteX5" fmla="*/ 3076575 w 3076575"/>
              <a:gd name="connsiteY5" fmla="*/ 942976 h 942976"/>
              <a:gd name="connsiteX6" fmla="*/ 471488 w 3076575"/>
              <a:gd name="connsiteY6" fmla="*/ 942975 h 942976"/>
              <a:gd name="connsiteX7" fmla="*/ 9579 w 3076575"/>
              <a:gd name="connsiteY7" fmla="*/ 566509 h 942976"/>
              <a:gd name="connsiteX8" fmla="*/ 0 w 3076575"/>
              <a:gd name="connsiteY8" fmla="*/ 471488 h 942976"/>
              <a:gd name="connsiteX9" fmla="*/ 9579 w 3076575"/>
              <a:gd name="connsiteY9" fmla="*/ 376467 h 942976"/>
              <a:gd name="connsiteX10" fmla="*/ 471488 w 3076575"/>
              <a:gd name="connsiteY10" fmla="*/ 0 h 942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076575" h="942976">
                <a:moveTo>
                  <a:pt x="0" y="471487"/>
                </a:moveTo>
                <a:lnTo>
                  <a:pt x="0" y="471488"/>
                </a:lnTo>
                <a:lnTo>
                  <a:pt x="0" y="471488"/>
                </a:lnTo>
                <a:close/>
                <a:moveTo>
                  <a:pt x="471488" y="0"/>
                </a:moveTo>
                <a:lnTo>
                  <a:pt x="3076575" y="0"/>
                </a:lnTo>
                <a:lnTo>
                  <a:pt x="3076575" y="942976"/>
                </a:lnTo>
                <a:lnTo>
                  <a:pt x="471488" y="942975"/>
                </a:lnTo>
                <a:cubicBezTo>
                  <a:pt x="243642" y="942975"/>
                  <a:pt x="53544" y="781358"/>
                  <a:pt x="9579" y="566509"/>
                </a:cubicBezTo>
                <a:lnTo>
                  <a:pt x="0" y="471488"/>
                </a:lnTo>
                <a:lnTo>
                  <a:pt x="9579" y="376467"/>
                </a:lnTo>
                <a:cubicBezTo>
                  <a:pt x="53544" y="161617"/>
                  <a:pt x="243642" y="0"/>
                  <a:pt x="471488" y="0"/>
                </a:cubicBezTo>
                <a:close/>
              </a:path>
            </a:pathLst>
          </a:custGeom>
          <a:solidFill>
            <a:schemeClr val="bg1"/>
          </a:solid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p>
        </p:txBody>
      </p:sp>
      <p:sp>
        <p:nvSpPr>
          <p:cNvPr id="10" name="椭圆 9">
            <a:extLst>
              <a:ext uri="{FF2B5EF4-FFF2-40B4-BE49-F238E27FC236}">
                <a16:creationId xmlns:a16="http://schemas.microsoft.com/office/drawing/2014/main" id="{1DA5CE2E-411F-4E07-A199-A27D3142B25D}"/>
              </a:ext>
            </a:extLst>
          </p:cNvPr>
          <p:cNvSpPr/>
          <p:nvPr/>
        </p:nvSpPr>
        <p:spPr>
          <a:xfrm>
            <a:off x="5420406" y="1087891"/>
            <a:ext cx="979714" cy="979714"/>
          </a:xfrm>
          <a:prstGeom prst="ellipse">
            <a:avLst/>
          </a:prstGeom>
          <a:solidFill>
            <a:schemeClr val="bg1">
              <a:alpha val="17000"/>
            </a:schemeClr>
          </a:solidFill>
          <a:ln w="6350">
            <a:solidFill>
              <a:schemeClr val="bg1"/>
            </a:solidFill>
          </a:ln>
          <a:effectLst>
            <a:outerShdw blurRad="152400"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4" name="椭圆 33">
            <a:extLst>
              <a:ext uri="{FF2B5EF4-FFF2-40B4-BE49-F238E27FC236}">
                <a16:creationId xmlns:a16="http://schemas.microsoft.com/office/drawing/2014/main" id="{F1CDAA39-176D-4CB4-8708-698A68546C63}"/>
              </a:ext>
            </a:extLst>
          </p:cNvPr>
          <p:cNvSpPr/>
          <p:nvPr/>
        </p:nvSpPr>
        <p:spPr>
          <a:xfrm>
            <a:off x="5504041" y="1171527"/>
            <a:ext cx="812443" cy="812443"/>
          </a:xfrm>
          <a:prstGeom prst="ellipse">
            <a:avLst/>
          </a:prstGeom>
          <a:solidFill>
            <a:schemeClr val="bg1"/>
          </a:solidFill>
          <a:ln w="6350">
            <a:noFill/>
          </a:ln>
          <a:effectLst>
            <a:outerShdw blurRad="152400" dist="38100" dir="2700000" algn="tl" rotWithShape="0">
              <a:schemeClr val="tx1">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5" name="文本框 34">
            <a:extLst>
              <a:ext uri="{FF2B5EF4-FFF2-40B4-BE49-F238E27FC236}">
                <a16:creationId xmlns:a16="http://schemas.microsoft.com/office/drawing/2014/main" id="{EA354F08-1D95-4E01-B574-E15DE12F93BB}"/>
              </a:ext>
            </a:extLst>
          </p:cNvPr>
          <p:cNvSpPr txBox="1"/>
          <p:nvPr/>
        </p:nvSpPr>
        <p:spPr>
          <a:xfrm>
            <a:off x="5441223" y="1347632"/>
            <a:ext cx="938078" cy="461665"/>
          </a:xfrm>
          <a:prstGeom prst="rect">
            <a:avLst/>
          </a:prstGeom>
          <a:noFill/>
          <a:effectLst>
            <a:outerShdw blurRad="76200" dir="13500000" sy="23000" kx="1200000" algn="br" rotWithShape="0">
              <a:prstClr val="black">
                <a:alpha val="20000"/>
              </a:prstClr>
            </a:outerShdw>
          </a:effectLst>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2400" b="0" i="0" u="none" strike="noStrike" kern="1200" cap="none" spc="0" normalizeH="0" baseline="0" noProof="0" dirty="0">
                <a:ln>
                  <a:noFill/>
                </a:ln>
                <a:solidFill>
                  <a:schemeClr val="accent1"/>
                </a:solidFill>
                <a:uLnTx/>
                <a:uFillTx/>
                <a:latin typeface="+mj-ea"/>
                <a:ea typeface="+mj-ea"/>
                <a:cs typeface="+mn-cs"/>
              </a:rPr>
              <a:t>2018</a:t>
            </a:r>
            <a:endParaRPr kumimoji="0" lang="zh-CN" altLang="en-US" sz="2400" b="0" i="0" u="none" strike="noStrike" kern="1200" cap="none" spc="0" normalizeH="0" baseline="0" noProof="0" dirty="0">
              <a:ln>
                <a:noFill/>
              </a:ln>
              <a:solidFill>
                <a:schemeClr val="accent1"/>
              </a:solidFill>
              <a:uLnTx/>
              <a:uFillTx/>
              <a:latin typeface="+mj-ea"/>
              <a:ea typeface="+mj-ea"/>
              <a:cs typeface="+mn-cs"/>
            </a:endParaRPr>
          </a:p>
        </p:txBody>
      </p:sp>
      <p:sp>
        <p:nvSpPr>
          <p:cNvPr id="45" name="矩形: 圆角 44">
            <a:extLst>
              <a:ext uri="{FF2B5EF4-FFF2-40B4-BE49-F238E27FC236}">
                <a16:creationId xmlns:a16="http://schemas.microsoft.com/office/drawing/2014/main" id="{4CA85777-B564-42CA-BF9C-58D71BF97AD8}"/>
              </a:ext>
            </a:extLst>
          </p:cNvPr>
          <p:cNvSpPr/>
          <p:nvPr/>
        </p:nvSpPr>
        <p:spPr>
          <a:xfrm>
            <a:off x="1563509" y="2675861"/>
            <a:ext cx="4752975" cy="1133475"/>
          </a:xfrm>
          <a:prstGeom prst="roundRect">
            <a:avLst>
              <a:gd name="adj" fmla="val 14228"/>
            </a:avLst>
          </a:pr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6" name="任意多边形: 形状 45">
            <a:extLst>
              <a:ext uri="{FF2B5EF4-FFF2-40B4-BE49-F238E27FC236}">
                <a16:creationId xmlns:a16="http://schemas.microsoft.com/office/drawing/2014/main" id="{61BBF202-7E57-4FA3-B6B5-7744CB9171F6}"/>
              </a:ext>
            </a:extLst>
          </p:cNvPr>
          <p:cNvSpPr/>
          <p:nvPr/>
        </p:nvSpPr>
        <p:spPr>
          <a:xfrm>
            <a:off x="3005594" y="2771110"/>
            <a:ext cx="3263265" cy="942976"/>
          </a:xfrm>
          <a:custGeom>
            <a:avLst/>
            <a:gdLst>
              <a:gd name="connsiteX0" fmla="*/ 0 w 3076575"/>
              <a:gd name="connsiteY0" fmla="*/ 471487 h 942976"/>
              <a:gd name="connsiteX1" fmla="*/ 0 w 3076575"/>
              <a:gd name="connsiteY1" fmla="*/ 471488 h 942976"/>
              <a:gd name="connsiteX2" fmla="*/ 0 w 3076575"/>
              <a:gd name="connsiteY2" fmla="*/ 471488 h 942976"/>
              <a:gd name="connsiteX3" fmla="*/ 471488 w 3076575"/>
              <a:gd name="connsiteY3" fmla="*/ 0 h 942976"/>
              <a:gd name="connsiteX4" fmla="*/ 3076575 w 3076575"/>
              <a:gd name="connsiteY4" fmla="*/ 0 h 942976"/>
              <a:gd name="connsiteX5" fmla="*/ 3076575 w 3076575"/>
              <a:gd name="connsiteY5" fmla="*/ 942976 h 942976"/>
              <a:gd name="connsiteX6" fmla="*/ 471488 w 3076575"/>
              <a:gd name="connsiteY6" fmla="*/ 942975 h 942976"/>
              <a:gd name="connsiteX7" fmla="*/ 9579 w 3076575"/>
              <a:gd name="connsiteY7" fmla="*/ 566509 h 942976"/>
              <a:gd name="connsiteX8" fmla="*/ 0 w 3076575"/>
              <a:gd name="connsiteY8" fmla="*/ 471488 h 942976"/>
              <a:gd name="connsiteX9" fmla="*/ 9579 w 3076575"/>
              <a:gd name="connsiteY9" fmla="*/ 376467 h 942976"/>
              <a:gd name="connsiteX10" fmla="*/ 471488 w 3076575"/>
              <a:gd name="connsiteY10" fmla="*/ 0 h 942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076575" h="942976">
                <a:moveTo>
                  <a:pt x="0" y="471487"/>
                </a:moveTo>
                <a:lnTo>
                  <a:pt x="0" y="471488"/>
                </a:lnTo>
                <a:lnTo>
                  <a:pt x="0" y="471488"/>
                </a:lnTo>
                <a:close/>
                <a:moveTo>
                  <a:pt x="471488" y="0"/>
                </a:moveTo>
                <a:lnTo>
                  <a:pt x="3076575" y="0"/>
                </a:lnTo>
                <a:lnTo>
                  <a:pt x="3076575" y="942976"/>
                </a:lnTo>
                <a:lnTo>
                  <a:pt x="471488" y="942975"/>
                </a:lnTo>
                <a:cubicBezTo>
                  <a:pt x="243642" y="942975"/>
                  <a:pt x="53544" y="781358"/>
                  <a:pt x="9579" y="566509"/>
                </a:cubicBezTo>
                <a:lnTo>
                  <a:pt x="0" y="471488"/>
                </a:lnTo>
                <a:lnTo>
                  <a:pt x="9579" y="376467"/>
                </a:lnTo>
                <a:cubicBezTo>
                  <a:pt x="53544" y="161617"/>
                  <a:pt x="243642" y="0"/>
                  <a:pt x="471488" y="0"/>
                </a:cubicBezTo>
                <a:close/>
              </a:path>
            </a:pathLst>
          </a:custGeom>
          <a:solidFill>
            <a:schemeClr val="bg1"/>
          </a:solid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p>
        </p:txBody>
      </p:sp>
      <p:sp>
        <p:nvSpPr>
          <p:cNvPr id="47" name="椭圆 46">
            <a:extLst>
              <a:ext uri="{FF2B5EF4-FFF2-40B4-BE49-F238E27FC236}">
                <a16:creationId xmlns:a16="http://schemas.microsoft.com/office/drawing/2014/main" id="{F363F2BA-AD0D-4444-BD46-E6558B8775C0}"/>
              </a:ext>
            </a:extLst>
          </p:cNvPr>
          <p:cNvSpPr/>
          <p:nvPr/>
        </p:nvSpPr>
        <p:spPr>
          <a:xfrm>
            <a:off x="1888040" y="2477877"/>
            <a:ext cx="979714" cy="979714"/>
          </a:xfrm>
          <a:prstGeom prst="ellipse">
            <a:avLst/>
          </a:prstGeom>
          <a:solidFill>
            <a:schemeClr val="bg1">
              <a:alpha val="17000"/>
            </a:schemeClr>
          </a:solidFill>
          <a:ln w="6350">
            <a:solidFill>
              <a:schemeClr val="bg1"/>
            </a:solidFill>
          </a:ln>
          <a:effectLst>
            <a:outerShdw blurRad="152400"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8" name="椭圆 47">
            <a:extLst>
              <a:ext uri="{FF2B5EF4-FFF2-40B4-BE49-F238E27FC236}">
                <a16:creationId xmlns:a16="http://schemas.microsoft.com/office/drawing/2014/main" id="{0CF0AC3B-36F2-43CF-9ACE-A107303D754B}"/>
              </a:ext>
            </a:extLst>
          </p:cNvPr>
          <p:cNvSpPr/>
          <p:nvPr/>
        </p:nvSpPr>
        <p:spPr>
          <a:xfrm>
            <a:off x="1971675" y="2561513"/>
            <a:ext cx="812443" cy="812443"/>
          </a:xfrm>
          <a:prstGeom prst="ellipse">
            <a:avLst/>
          </a:prstGeom>
          <a:solidFill>
            <a:schemeClr val="bg1"/>
          </a:solidFill>
          <a:ln w="6350">
            <a:noFill/>
          </a:ln>
          <a:effectLst>
            <a:outerShdw blurRad="152400" dist="38100" dir="2700000" algn="tl" rotWithShape="0">
              <a:schemeClr val="tx1">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61" name="文本框 60">
            <a:extLst>
              <a:ext uri="{FF2B5EF4-FFF2-40B4-BE49-F238E27FC236}">
                <a16:creationId xmlns:a16="http://schemas.microsoft.com/office/drawing/2014/main" id="{672C4AED-2B05-4EE2-AA3F-AFF380140404}"/>
              </a:ext>
            </a:extLst>
          </p:cNvPr>
          <p:cNvSpPr txBox="1"/>
          <p:nvPr/>
        </p:nvSpPr>
        <p:spPr>
          <a:xfrm>
            <a:off x="1908857" y="2737618"/>
            <a:ext cx="938078" cy="461665"/>
          </a:xfrm>
          <a:prstGeom prst="rect">
            <a:avLst/>
          </a:prstGeom>
          <a:noFill/>
          <a:effectLst>
            <a:outerShdw blurRad="76200" dir="13500000" sy="23000" kx="1200000" algn="br" rotWithShape="0">
              <a:prstClr val="black">
                <a:alpha val="20000"/>
              </a:prstClr>
            </a:outerShdw>
          </a:effectLst>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2400" b="0" i="0" u="none" strike="noStrike" kern="1200" cap="none" spc="0" normalizeH="0" baseline="0" noProof="0" dirty="0">
                <a:ln>
                  <a:noFill/>
                </a:ln>
                <a:solidFill>
                  <a:schemeClr val="accent1"/>
                </a:solidFill>
                <a:uLnTx/>
                <a:uFillTx/>
                <a:latin typeface="+mj-ea"/>
                <a:ea typeface="+mj-ea"/>
                <a:cs typeface="+mn-cs"/>
              </a:rPr>
              <a:t>2019</a:t>
            </a:r>
            <a:endParaRPr kumimoji="0" lang="zh-CN" altLang="en-US" sz="2400" b="0" i="0" u="none" strike="noStrike" kern="1200" cap="none" spc="0" normalizeH="0" baseline="0" noProof="0" dirty="0">
              <a:ln>
                <a:noFill/>
              </a:ln>
              <a:solidFill>
                <a:schemeClr val="accent1"/>
              </a:solidFill>
              <a:uLnTx/>
              <a:uFillTx/>
              <a:latin typeface="+mj-ea"/>
              <a:ea typeface="+mj-ea"/>
              <a:cs typeface="+mn-cs"/>
            </a:endParaRPr>
          </a:p>
        </p:txBody>
      </p:sp>
      <p:sp>
        <p:nvSpPr>
          <p:cNvPr id="63" name="矩形: 圆角 62">
            <a:extLst>
              <a:ext uri="{FF2B5EF4-FFF2-40B4-BE49-F238E27FC236}">
                <a16:creationId xmlns:a16="http://schemas.microsoft.com/office/drawing/2014/main" id="{EEFB6767-B961-4EE1-A08F-B5650A81E122}"/>
              </a:ext>
            </a:extLst>
          </p:cNvPr>
          <p:cNvSpPr/>
          <p:nvPr/>
        </p:nvSpPr>
        <p:spPr>
          <a:xfrm>
            <a:off x="5095875" y="4065847"/>
            <a:ext cx="4752975" cy="1133475"/>
          </a:xfrm>
          <a:prstGeom prst="roundRect">
            <a:avLst>
              <a:gd name="adj" fmla="val 14228"/>
            </a:avLst>
          </a:pr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4" name="任意多边形: 形状 63">
            <a:extLst>
              <a:ext uri="{FF2B5EF4-FFF2-40B4-BE49-F238E27FC236}">
                <a16:creationId xmlns:a16="http://schemas.microsoft.com/office/drawing/2014/main" id="{4A7F8068-44C6-4A21-ADF0-DE4EE3DCDFF0}"/>
              </a:ext>
            </a:extLst>
          </p:cNvPr>
          <p:cNvSpPr/>
          <p:nvPr/>
        </p:nvSpPr>
        <p:spPr>
          <a:xfrm>
            <a:off x="6537960" y="4161096"/>
            <a:ext cx="3263265" cy="942976"/>
          </a:xfrm>
          <a:custGeom>
            <a:avLst/>
            <a:gdLst>
              <a:gd name="connsiteX0" fmla="*/ 0 w 3076575"/>
              <a:gd name="connsiteY0" fmla="*/ 471487 h 942976"/>
              <a:gd name="connsiteX1" fmla="*/ 0 w 3076575"/>
              <a:gd name="connsiteY1" fmla="*/ 471488 h 942976"/>
              <a:gd name="connsiteX2" fmla="*/ 0 w 3076575"/>
              <a:gd name="connsiteY2" fmla="*/ 471488 h 942976"/>
              <a:gd name="connsiteX3" fmla="*/ 471488 w 3076575"/>
              <a:gd name="connsiteY3" fmla="*/ 0 h 942976"/>
              <a:gd name="connsiteX4" fmla="*/ 3076575 w 3076575"/>
              <a:gd name="connsiteY4" fmla="*/ 0 h 942976"/>
              <a:gd name="connsiteX5" fmla="*/ 3076575 w 3076575"/>
              <a:gd name="connsiteY5" fmla="*/ 942976 h 942976"/>
              <a:gd name="connsiteX6" fmla="*/ 471488 w 3076575"/>
              <a:gd name="connsiteY6" fmla="*/ 942975 h 942976"/>
              <a:gd name="connsiteX7" fmla="*/ 9579 w 3076575"/>
              <a:gd name="connsiteY7" fmla="*/ 566509 h 942976"/>
              <a:gd name="connsiteX8" fmla="*/ 0 w 3076575"/>
              <a:gd name="connsiteY8" fmla="*/ 471488 h 942976"/>
              <a:gd name="connsiteX9" fmla="*/ 9579 w 3076575"/>
              <a:gd name="connsiteY9" fmla="*/ 376467 h 942976"/>
              <a:gd name="connsiteX10" fmla="*/ 471488 w 3076575"/>
              <a:gd name="connsiteY10" fmla="*/ 0 h 942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076575" h="942976">
                <a:moveTo>
                  <a:pt x="0" y="471487"/>
                </a:moveTo>
                <a:lnTo>
                  <a:pt x="0" y="471488"/>
                </a:lnTo>
                <a:lnTo>
                  <a:pt x="0" y="471488"/>
                </a:lnTo>
                <a:close/>
                <a:moveTo>
                  <a:pt x="471488" y="0"/>
                </a:moveTo>
                <a:lnTo>
                  <a:pt x="3076575" y="0"/>
                </a:lnTo>
                <a:lnTo>
                  <a:pt x="3076575" y="942976"/>
                </a:lnTo>
                <a:lnTo>
                  <a:pt x="471488" y="942975"/>
                </a:lnTo>
                <a:cubicBezTo>
                  <a:pt x="243642" y="942975"/>
                  <a:pt x="53544" y="781358"/>
                  <a:pt x="9579" y="566509"/>
                </a:cubicBezTo>
                <a:lnTo>
                  <a:pt x="0" y="471488"/>
                </a:lnTo>
                <a:lnTo>
                  <a:pt x="9579" y="376467"/>
                </a:lnTo>
                <a:cubicBezTo>
                  <a:pt x="53544" y="161617"/>
                  <a:pt x="243642" y="0"/>
                  <a:pt x="471488" y="0"/>
                </a:cubicBezTo>
                <a:close/>
              </a:path>
            </a:pathLst>
          </a:custGeom>
          <a:solidFill>
            <a:schemeClr val="bg1"/>
          </a:solid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p>
        </p:txBody>
      </p:sp>
      <p:sp>
        <p:nvSpPr>
          <p:cNvPr id="65" name="椭圆 64">
            <a:extLst>
              <a:ext uri="{FF2B5EF4-FFF2-40B4-BE49-F238E27FC236}">
                <a16:creationId xmlns:a16="http://schemas.microsoft.com/office/drawing/2014/main" id="{DB6500FC-6E4C-484B-AA21-952AEDED7492}"/>
              </a:ext>
            </a:extLst>
          </p:cNvPr>
          <p:cNvSpPr/>
          <p:nvPr/>
        </p:nvSpPr>
        <p:spPr>
          <a:xfrm>
            <a:off x="5420406" y="3867863"/>
            <a:ext cx="979714" cy="979714"/>
          </a:xfrm>
          <a:prstGeom prst="ellipse">
            <a:avLst/>
          </a:prstGeom>
          <a:solidFill>
            <a:schemeClr val="bg1">
              <a:alpha val="17000"/>
            </a:schemeClr>
          </a:solidFill>
          <a:ln w="6350">
            <a:solidFill>
              <a:schemeClr val="bg1"/>
            </a:solidFill>
          </a:ln>
          <a:effectLst>
            <a:outerShdw blurRad="152400"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6" name="椭圆 65">
            <a:extLst>
              <a:ext uri="{FF2B5EF4-FFF2-40B4-BE49-F238E27FC236}">
                <a16:creationId xmlns:a16="http://schemas.microsoft.com/office/drawing/2014/main" id="{F211F870-58EA-4C66-A03C-552A0C7F3E7B}"/>
              </a:ext>
            </a:extLst>
          </p:cNvPr>
          <p:cNvSpPr/>
          <p:nvPr/>
        </p:nvSpPr>
        <p:spPr>
          <a:xfrm>
            <a:off x="5504041" y="3951499"/>
            <a:ext cx="812443" cy="812443"/>
          </a:xfrm>
          <a:prstGeom prst="ellipse">
            <a:avLst/>
          </a:prstGeom>
          <a:solidFill>
            <a:schemeClr val="bg1"/>
          </a:solidFill>
          <a:ln w="6350">
            <a:noFill/>
          </a:ln>
          <a:effectLst>
            <a:outerShdw blurRad="152400" dist="38100" dir="2700000" algn="tl" rotWithShape="0">
              <a:schemeClr val="tx1">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7" name="文本框 66">
            <a:extLst>
              <a:ext uri="{FF2B5EF4-FFF2-40B4-BE49-F238E27FC236}">
                <a16:creationId xmlns:a16="http://schemas.microsoft.com/office/drawing/2014/main" id="{3E810B48-989D-403E-8AF2-999EAED66374}"/>
              </a:ext>
            </a:extLst>
          </p:cNvPr>
          <p:cNvSpPr txBox="1"/>
          <p:nvPr/>
        </p:nvSpPr>
        <p:spPr>
          <a:xfrm>
            <a:off x="5413972" y="4127604"/>
            <a:ext cx="992580" cy="461665"/>
          </a:xfrm>
          <a:prstGeom prst="rect">
            <a:avLst/>
          </a:prstGeom>
          <a:noFill/>
          <a:effectLst>
            <a:outerShdw blurRad="76200" dir="13500000" sy="23000" kx="1200000" algn="br" rotWithShape="0">
              <a:prstClr val="black">
                <a:alpha val="20000"/>
              </a:prstClr>
            </a:outerShdw>
          </a:effectLst>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2400" b="0" i="0" u="none" strike="noStrike" kern="1200" cap="none" spc="0" normalizeH="0" baseline="0" noProof="0" dirty="0">
                <a:ln>
                  <a:noFill/>
                </a:ln>
                <a:solidFill>
                  <a:schemeClr val="accent1"/>
                </a:solidFill>
                <a:uLnTx/>
                <a:uFillTx/>
                <a:latin typeface="+mj-ea"/>
                <a:ea typeface="+mj-ea"/>
                <a:cs typeface="+mn-cs"/>
              </a:rPr>
              <a:t>2020</a:t>
            </a:r>
            <a:endParaRPr kumimoji="0" lang="zh-CN" altLang="en-US" sz="2400" b="0" i="0" u="none" strike="noStrike" kern="1200" cap="none" spc="0" normalizeH="0" baseline="0" noProof="0" dirty="0">
              <a:ln>
                <a:noFill/>
              </a:ln>
              <a:solidFill>
                <a:schemeClr val="accent1"/>
              </a:solidFill>
              <a:uLnTx/>
              <a:uFillTx/>
              <a:latin typeface="+mj-ea"/>
              <a:ea typeface="+mj-ea"/>
              <a:cs typeface="+mn-cs"/>
            </a:endParaRPr>
          </a:p>
        </p:txBody>
      </p:sp>
      <p:sp>
        <p:nvSpPr>
          <p:cNvPr id="69" name="矩形: 圆角 68">
            <a:extLst>
              <a:ext uri="{FF2B5EF4-FFF2-40B4-BE49-F238E27FC236}">
                <a16:creationId xmlns:a16="http://schemas.microsoft.com/office/drawing/2014/main" id="{C0D30114-EAB0-449E-BA98-E2B140BB804B}"/>
              </a:ext>
            </a:extLst>
          </p:cNvPr>
          <p:cNvSpPr/>
          <p:nvPr/>
        </p:nvSpPr>
        <p:spPr>
          <a:xfrm>
            <a:off x="1563509" y="5455832"/>
            <a:ext cx="4752975" cy="1133475"/>
          </a:xfrm>
          <a:prstGeom prst="roundRect">
            <a:avLst>
              <a:gd name="adj" fmla="val 14228"/>
            </a:avLst>
          </a:pr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0" name="任意多边形: 形状 69">
            <a:extLst>
              <a:ext uri="{FF2B5EF4-FFF2-40B4-BE49-F238E27FC236}">
                <a16:creationId xmlns:a16="http://schemas.microsoft.com/office/drawing/2014/main" id="{D9790C03-7DED-46F6-8FAC-7AAF12463E54}"/>
              </a:ext>
            </a:extLst>
          </p:cNvPr>
          <p:cNvSpPr/>
          <p:nvPr/>
        </p:nvSpPr>
        <p:spPr>
          <a:xfrm>
            <a:off x="3005594" y="5551081"/>
            <a:ext cx="3263265" cy="942976"/>
          </a:xfrm>
          <a:custGeom>
            <a:avLst/>
            <a:gdLst>
              <a:gd name="connsiteX0" fmla="*/ 0 w 3076575"/>
              <a:gd name="connsiteY0" fmla="*/ 471487 h 942976"/>
              <a:gd name="connsiteX1" fmla="*/ 0 w 3076575"/>
              <a:gd name="connsiteY1" fmla="*/ 471488 h 942976"/>
              <a:gd name="connsiteX2" fmla="*/ 0 w 3076575"/>
              <a:gd name="connsiteY2" fmla="*/ 471488 h 942976"/>
              <a:gd name="connsiteX3" fmla="*/ 471488 w 3076575"/>
              <a:gd name="connsiteY3" fmla="*/ 0 h 942976"/>
              <a:gd name="connsiteX4" fmla="*/ 3076575 w 3076575"/>
              <a:gd name="connsiteY4" fmla="*/ 0 h 942976"/>
              <a:gd name="connsiteX5" fmla="*/ 3076575 w 3076575"/>
              <a:gd name="connsiteY5" fmla="*/ 942976 h 942976"/>
              <a:gd name="connsiteX6" fmla="*/ 471488 w 3076575"/>
              <a:gd name="connsiteY6" fmla="*/ 942975 h 942976"/>
              <a:gd name="connsiteX7" fmla="*/ 9579 w 3076575"/>
              <a:gd name="connsiteY7" fmla="*/ 566509 h 942976"/>
              <a:gd name="connsiteX8" fmla="*/ 0 w 3076575"/>
              <a:gd name="connsiteY8" fmla="*/ 471488 h 942976"/>
              <a:gd name="connsiteX9" fmla="*/ 9579 w 3076575"/>
              <a:gd name="connsiteY9" fmla="*/ 376467 h 942976"/>
              <a:gd name="connsiteX10" fmla="*/ 471488 w 3076575"/>
              <a:gd name="connsiteY10" fmla="*/ 0 h 942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076575" h="942976">
                <a:moveTo>
                  <a:pt x="0" y="471487"/>
                </a:moveTo>
                <a:lnTo>
                  <a:pt x="0" y="471488"/>
                </a:lnTo>
                <a:lnTo>
                  <a:pt x="0" y="471488"/>
                </a:lnTo>
                <a:close/>
                <a:moveTo>
                  <a:pt x="471488" y="0"/>
                </a:moveTo>
                <a:lnTo>
                  <a:pt x="3076575" y="0"/>
                </a:lnTo>
                <a:lnTo>
                  <a:pt x="3076575" y="942976"/>
                </a:lnTo>
                <a:lnTo>
                  <a:pt x="471488" y="942975"/>
                </a:lnTo>
                <a:cubicBezTo>
                  <a:pt x="243642" y="942975"/>
                  <a:pt x="53544" y="781358"/>
                  <a:pt x="9579" y="566509"/>
                </a:cubicBezTo>
                <a:lnTo>
                  <a:pt x="0" y="471488"/>
                </a:lnTo>
                <a:lnTo>
                  <a:pt x="9579" y="376467"/>
                </a:lnTo>
                <a:cubicBezTo>
                  <a:pt x="53544" y="161617"/>
                  <a:pt x="243642" y="0"/>
                  <a:pt x="471488" y="0"/>
                </a:cubicBezTo>
                <a:close/>
              </a:path>
            </a:pathLst>
          </a:custGeom>
          <a:solidFill>
            <a:schemeClr val="bg1"/>
          </a:solid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p>
        </p:txBody>
      </p:sp>
      <p:sp>
        <p:nvSpPr>
          <p:cNvPr id="71" name="椭圆 70">
            <a:extLst>
              <a:ext uri="{FF2B5EF4-FFF2-40B4-BE49-F238E27FC236}">
                <a16:creationId xmlns:a16="http://schemas.microsoft.com/office/drawing/2014/main" id="{F2E866C8-9895-4D78-9971-C25A44BE31DE}"/>
              </a:ext>
            </a:extLst>
          </p:cNvPr>
          <p:cNvSpPr/>
          <p:nvPr/>
        </p:nvSpPr>
        <p:spPr>
          <a:xfrm>
            <a:off x="1888040" y="5257848"/>
            <a:ext cx="979714" cy="979714"/>
          </a:xfrm>
          <a:prstGeom prst="ellipse">
            <a:avLst/>
          </a:prstGeom>
          <a:solidFill>
            <a:schemeClr val="bg1">
              <a:alpha val="17000"/>
            </a:schemeClr>
          </a:solidFill>
          <a:ln w="6350">
            <a:solidFill>
              <a:schemeClr val="bg1"/>
            </a:solidFill>
          </a:ln>
          <a:effectLst>
            <a:outerShdw blurRad="152400"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2" name="椭圆 71">
            <a:extLst>
              <a:ext uri="{FF2B5EF4-FFF2-40B4-BE49-F238E27FC236}">
                <a16:creationId xmlns:a16="http://schemas.microsoft.com/office/drawing/2014/main" id="{9B8F7763-AE08-4352-B5E8-ECF324473953}"/>
              </a:ext>
            </a:extLst>
          </p:cNvPr>
          <p:cNvSpPr/>
          <p:nvPr/>
        </p:nvSpPr>
        <p:spPr>
          <a:xfrm>
            <a:off x="1971675" y="5341484"/>
            <a:ext cx="812443" cy="812443"/>
          </a:xfrm>
          <a:prstGeom prst="ellipse">
            <a:avLst/>
          </a:prstGeom>
          <a:solidFill>
            <a:schemeClr val="bg1"/>
          </a:solidFill>
          <a:ln w="6350">
            <a:noFill/>
          </a:ln>
          <a:effectLst>
            <a:outerShdw blurRad="152400" dist="38100" dir="2700000" algn="tl" rotWithShape="0">
              <a:schemeClr val="tx1">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3" name="文本框 72">
            <a:extLst>
              <a:ext uri="{FF2B5EF4-FFF2-40B4-BE49-F238E27FC236}">
                <a16:creationId xmlns:a16="http://schemas.microsoft.com/office/drawing/2014/main" id="{1B81A9DE-6DED-41BB-869E-F31EB35C2023}"/>
              </a:ext>
            </a:extLst>
          </p:cNvPr>
          <p:cNvSpPr txBox="1"/>
          <p:nvPr/>
        </p:nvSpPr>
        <p:spPr>
          <a:xfrm>
            <a:off x="1908858" y="5517589"/>
            <a:ext cx="938077" cy="461665"/>
          </a:xfrm>
          <a:prstGeom prst="rect">
            <a:avLst/>
          </a:prstGeom>
          <a:noFill/>
          <a:effectLst>
            <a:outerShdw blurRad="76200" dir="13500000" sy="23000" kx="1200000" algn="br" rotWithShape="0">
              <a:prstClr val="black">
                <a:alpha val="20000"/>
              </a:prstClr>
            </a:outerShdw>
          </a:effectLst>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2400" b="0" i="0" u="none" strike="noStrike" kern="1200" cap="none" spc="0" normalizeH="0" baseline="0" noProof="0" dirty="0">
                <a:ln>
                  <a:noFill/>
                </a:ln>
                <a:solidFill>
                  <a:schemeClr val="accent1"/>
                </a:solidFill>
                <a:uLnTx/>
                <a:uFillTx/>
                <a:latin typeface="+mj-ea"/>
                <a:ea typeface="+mj-ea"/>
                <a:cs typeface="+mn-cs"/>
              </a:rPr>
              <a:t>2021</a:t>
            </a:r>
            <a:endParaRPr kumimoji="0" lang="zh-CN" altLang="en-US" sz="2400" b="0" i="0" u="none" strike="noStrike" kern="1200" cap="none" spc="0" normalizeH="0" baseline="0" noProof="0" dirty="0">
              <a:ln>
                <a:noFill/>
              </a:ln>
              <a:solidFill>
                <a:schemeClr val="accent1"/>
              </a:solidFill>
              <a:uLnTx/>
              <a:uFillTx/>
              <a:latin typeface="+mj-ea"/>
              <a:ea typeface="+mj-ea"/>
              <a:cs typeface="+mn-cs"/>
            </a:endParaRPr>
          </a:p>
        </p:txBody>
      </p:sp>
      <p:sp>
        <p:nvSpPr>
          <p:cNvPr id="74" name="文本框 73">
            <a:extLst>
              <a:ext uri="{FF2B5EF4-FFF2-40B4-BE49-F238E27FC236}">
                <a16:creationId xmlns:a16="http://schemas.microsoft.com/office/drawing/2014/main" id="{D710BA67-A84E-4651-AB56-0C331DD001E6}"/>
              </a:ext>
            </a:extLst>
          </p:cNvPr>
          <p:cNvSpPr txBox="1"/>
          <p:nvPr/>
        </p:nvSpPr>
        <p:spPr>
          <a:xfrm>
            <a:off x="3124200" y="3031237"/>
            <a:ext cx="3144659" cy="461665"/>
          </a:xfrm>
          <a:prstGeom prst="rect">
            <a:avLst/>
          </a:prstGeom>
          <a:noFill/>
        </p:spPr>
        <p:txBody>
          <a:bodyPr wrap="square" rtlCol="0">
            <a:spAutoFit/>
          </a:bodyPr>
          <a:lstStyle/>
          <a:p>
            <a:pPr algn="just"/>
            <a:r>
              <a:rPr lang="en-US" altLang="zh-CN" sz="1200" dirty="0"/>
              <a:t>Lorem ipsum dolor sit amet, consectetur adipisicing elit, sed do eiusmod tempor</a:t>
            </a:r>
            <a:endParaRPr lang="zh-CN" altLang="en-US" sz="1200" dirty="0"/>
          </a:p>
        </p:txBody>
      </p:sp>
      <p:sp>
        <p:nvSpPr>
          <p:cNvPr id="75" name="文本框 74">
            <a:extLst>
              <a:ext uri="{FF2B5EF4-FFF2-40B4-BE49-F238E27FC236}">
                <a16:creationId xmlns:a16="http://schemas.microsoft.com/office/drawing/2014/main" id="{AAFEFBC7-B1E2-47BB-B290-E0E1DB0FCFEA}"/>
              </a:ext>
            </a:extLst>
          </p:cNvPr>
          <p:cNvSpPr txBox="1"/>
          <p:nvPr/>
        </p:nvSpPr>
        <p:spPr>
          <a:xfrm>
            <a:off x="6666091" y="1640221"/>
            <a:ext cx="3144659" cy="461665"/>
          </a:xfrm>
          <a:prstGeom prst="rect">
            <a:avLst/>
          </a:prstGeom>
          <a:noFill/>
        </p:spPr>
        <p:txBody>
          <a:bodyPr wrap="square" rtlCol="0">
            <a:spAutoFit/>
          </a:bodyPr>
          <a:lstStyle/>
          <a:p>
            <a:pPr algn="just"/>
            <a:r>
              <a:rPr lang="en-US" altLang="zh-CN" sz="1200" dirty="0"/>
              <a:t>Lorem ipsum dolor sit amet, consectetur adipisicing elit, sed do eiusmod tempor</a:t>
            </a:r>
            <a:endParaRPr lang="zh-CN" altLang="en-US" sz="1200" dirty="0"/>
          </a:p>
        </p:txBody>
      </p:sp>
      <p:sp>
        <p:nvSpPr>
          <p:cNvPr id="76" name="文本框 75">
            <a:extLst>
              <a:ext uri="{FF2B5EF4-FFF2-40B4-BE49-F238E27FC236}">
                <a16:creationId xmlns:a16="http://schemas.microsoft.com/office/drawing/2014/main" id="{6BCD080D-F194-448E-BA28-9B3EBB17C299}"/>
              </a:ext>
            </a:extLst>
          </p:cNvPr>
          <p:cNvSpPr txBox="1"/>
          <p:nvPr/>
        </p:nvSpPr>
        <p:spPr>
          <a:xfrm>
            <a:off x="3124200" y="5822062"/>
            <a:ext cx="3144659" cy="461665"/>
          </a:xfrm>
          <a:prstGeom prst="rect">
            <a:avLst/>
          </a:prstGeom>
          <a:noFill/>
        </p:spPr>
        <p:txBody>
          <a:bodyPr wrap="square" rtlCol="0">
            <a:spAutoFit/>
          </a:bodyPr>
          <a:lstStyle/>
          <a:p>
            <a:pPr algn="just"/>
            <a:r>
              <a:rPr lang="en-US" altLang="zh-CN" sz="1200" dirty="0"/>
              <a:t>Lorem ipsum dolor sit amet, consectetur adipisicing elit, sed do eiusmod tempor</a:t>
            </a:r>
            <a:endParaRPr lang="zh-CN" altLang="en-US" sz="1200" dirty="0"/>
          </a:p>
        </p:txBody>
      </p:sp>
      <p:sp>
        <p:nvSpPr>
          <p:cNvPr id="77" name="文本框 76">
            <a:extLst>
              <a:ext uri="{FF2B5EF4-FFF2-40B4-BE49-F238E27FC236}">
                <a16:creationId xmlns:a16="http://schemas.microsoft.com/office/drawing/2014/main" id="{09D13C55-7462-4727-94CB-D969580062FB}"/>
              </a:ext>
            </a:extLst>
          </p:cNvPr>
          <p:cNvSpPr txBox="1"/>
          <p:nvPr/>
        </p:nvSpPr>
        <p:spPr>
          <a:xfrm>
            <a:off x="6666091" y="4431046"/>
            <a:ext cx="3144659" cy="461665"/>
          </a:xfrm>
          <a:prstGeom prst="rect">
            <a:avLst/>
          </a:prstGeom>
          <a:noFill/>
        </p:spPr>
        <p:txBody>
          <a:bodyPr wrap="square" rtlCol="0">
            <a:spAutoFit/>
          </a:bodyPr>
          <a:lstStyle/>
          <a:p>
            <a:pPr algn="just"/>
            <a:r>
              <a:rPr lang="en-US" altLang="zh-CN" sz="1200" dirty="0"/>
              <a:t>Lorem ipsum dolor sit amet, consectetur adipisicing elit, sed do eiusmod tempor</a:t>
            </a:r>
            <a:endParaRPr lang="zh-CN" altLang="en-US" sz="1200" dirty="0"/>
          </a:p>
        </p:txBody>
      </p:sp>
    </p:spTree>
    <p:extLst>
      <p:ext uri="{BB962C8B-B14F-4D97-AF65-F5344CB8AC3E}">
        <p14:creationId xmlns:p14="http://schemas.microsoft.com/office/powerpoint/2010/main" val="797484756"/>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4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任意多边形: 形状 5">
            <a:extLst>
              <a:ext uri="{FF2B5EF4-FFF2-40B4-BE49-F238E27FC236}">
                <a16:creationId xmlns:a16="http://schemas.microsoft.com/office/drawing/2014/main" id="{84DACB71-A8EB-4EC5-A7F9-14EF9555B54C}"/>
              </a:ext>
            </a:extLst>
          </p:cNvPr>
          <p:cNvSpPr/>
          <p:nvPr/>
        </p:nvSpPr>
        <p:spPr>
          <a:xfrm>
            <a:off x="-25400" y="2806700"/>
            <a:ext cx="11798300" cy="1778000"/>
          </a:xfrm>
          <a:custGeom>
            <a:avLst/>
            <a:gdLst>
              <a:gd name="connsiteX0" fmla="*/ 0 w 11798300"/>
              <a:gd name="connsiteY0" fmla="*/ 0 h 1778000"/>
              <a:gd name="connsiteX1" fmla="*/ 11798300 w 11798300"/>
              <a:gd name="connsiteY1" fmla="*/ 0 h 1778000"/>
              <a:gd name="connsiteX2" fmla="*/ 11798300 w 11798300"/>
              <a:gd name="connsiteY2" fmla="*/ 1778000 h 1778000"/>
              <a:gd name="connsiteX3" fmla="*/ 50800 w 11798300"/>
              <a:gd name="connsiteY3" fmla="*/ 1778000 h 1778000"/>
            </a:gdLst>
            <a:ahLst/>
            <a:cxnLst>
              <a:cxn ang="0">
                <a:pos x="connsiteX0" y="connsiteY0"/>
              </a:cxn>
              <a:cxn ang="0">
                <a:pos x="connsiteX1" y="connsiteY1"/>
              </a:cxn>
              <a:cxn ang="0">
                <a:pos x="connsiteX2" y="connsiteY2"/>
              </a:cxn>
              <a:cxn ang="0">
                <a:pos x="connsiteX3" y="connsiteY3"/>
              </a:cxn>
            </a:cxnLst>
            <a:rect l="l" t="t" r="r" b="b"/>
            <a:pathLst>
              <a:path w="11798300" h="1778000">
                <a:moveTo>
                  <a:pt x="0" y="0"/>
                </a:moveTo>
                <a:lnTo>
                  <a:pt x="11798300" y="0"/>
                </a:lnTo>
                <a:lnTo>
                  <a:pt x="11798300" y="1778000"/>
                </a:lnTo>
                <a:lnTo>
                  <a:pt x="50800" y="1778000"/>
                </a:lnTo>
              </a:path>
            </a:pathLst>
          </a:custGeom>
          <a:no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 name="矩形 3">
            <a:extLst>
              <a:ext uri="{FF2B5EF4-FFF2-40B4-BE49-F238E27FC236}">
                <a16:creationId xmlns:a16="http://schemas.microsoft.com/office/drawing/2014/main" id="{21F5777E-3256-41C6-B1CB-ABAF9B7CB13E}"/>
              </a:ext>
            </a:extLst>
          </p:cNvPr>
          <p:cNvSpPr/>
          <p:nvPr/>
        </p:nvSpPr>
        <p:spPr>
          <a:xfrm>
            <a:off x="737325" y="2151842"/>
            <a:ext cx="5080000" cy="1244600"/>
          </a:xfrm>
          <a:prstGeom prst="rect">
            <a:avLst/>
          </a:pr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4" name="文本框 23">
            <a:extLst>
              <a:ext uri="{FF2B5EF4-FFF2-40B4-BE49-F238E27FC236}">
                <a16:creationId xmlns:a16="http://schemas.microsoft.com/office/drawing/2014/main" id="{DD779CEC-C6C7-461D-9AD0-385350E74105}"/>
              </a:ext>
            </a:extLst>
          </p:cNvPr>
          <p:cNvSpPr txBox="1"/>
          <p:nvPr/>
        </p:nvSpPr>
        <p:spPr>
          <a:xfrm>
            <a:off x="791632" y="2481754"/>
            <a:ext cx="1189749" cy="584775"/>
          </a:xfrm>
          <a:prstGeom prst="rect">
            <a:avLst/>
          </a:prstGeom>
          <a:noFill/>
          <a:effectLst>
            <a:outerShdw blurRad="76200" dir="13500000" sy="23000" kx="1200000" algn="br" rotWithShape="0">
              <a:prstClr val="black">
                <a:alpha val="20000"/>
              </a:prstClr>
            </a:outerShdw>
          </a:effectLst>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3200" b="0" i="0" u="none" strike="noStrike" kern="1200" cap="none" spc="0" normalizeH="0" baseline="0" noProof="0" dirty="0">
                <a:ln>
                  <a:noFill/>
                </a:ln>
                <a:solidFill>
                  <a:prstClr val="white"/>
                </a:solidFill>
                <a:uLnTx/>
                <a:uFillTx/>
                <a:latin typeface="+mj-ea"/>
                <a:ea typeface="+mj-ea"/>
                <a:cs typeface="+mn-cs"/>
              </a:rPr>
              <a:t>2018</a:t>
            </a:r>
            <a:endParaRPr kumimoji="0" lang="zh-CN" altLang="en-US" sz="3200" b="0" i="0" u="none" strike="noStrike" kern="1200" cap="none" spc="0" normalizeH="0" baseline="0" noProof="0" dirty="0">
              <a:ln>
                <a:noFill/>
              </a:ln>
              <a:solidFill>
                <a:prstClr val="white"/>
              </a:solidFill>
              <a:uLnTx/>
              <a:uFillTx/>
              <a:latin typeface="+mj-ea"/>
              <a:ea typeface="+mj-ea"/>
              <a:cs typeface="+mn-cs"/>
            </a:endParaRPr>
          </a:p>
        </p:txBody>
      </p:sp>
      <p:sp>
        <p:nvSpPr>
          <p:cNvPr id="5" name="椭圆 4">
            <a:extLst>
              <a:ext uri="{FF2B5EF4-FFF2-40B4-BE49-F238E27FC236}">
                <a16:creationId xmlns:a16="http://schemas.microsoft.com/office/drawing/2014/main" id="{E7DAAABA-DE44-4A5B-88FC-734DD8B75F32}"/>
              </a:ext>
            </a:extLst>
          </p:cNvPr>
          <p:cNvSpPr/>
          <p:nvPr/>
        </p:nvSpPr>
        <p:spPr>
          <a:xfrm>
            <a:off x="2006784" y="2469342"/>
            <a:ext cx="609598" cy="609598"/>
          </a:xfrm>
          <a:prstGeom prst="ellipse">
            <a:avLst/>
          </a:prstGeom>
          <a:solidFill>
            <a:schemeClr val="bg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6" name="文本框 25">
            <a:extLst>
              <a:ext uri="{FF2B5EF4-FFF2-40B4-BE49-F238E27FC236}">
                <a16:creationId xmlns:a16="http://schemas.microsoft.com/office/drawing/2014/main" id="{8DB3D0CB-F12C-401B-BB5D-760F8FBC646F}"/>
              </a:ext>
            </a:extLst>
          </p:cNvPr>
          <p:cNvSpPr txBox="1"/>
          <p:nvPr/>
        </p:nvSpPr>
        <p:spPr>
          <a:xfrm>
            <a:off x="2748310" y="2297087"/>
            <a:ext cx="2937087" cy="738664"/>
          </a:xfrm>
          <a:prstGeom prst="rect">
            <a:avLst/>
          </a:prstGeom>
          <a:noFill/>
        </p:spPr>
        <p:txBody>
          <a:bodyPr wrap="square" rtlCol="0">
            <a:spAutoFit/>
          </a:bodyPr>
          <a:lstStyle/>
          <a:p>
            <a:pPr algn="just"/>
            <a:r>
              <a:rPr lang="en-US" altLang="zh-CN" sz="1400" dirty="0">
                <a:solidFill>
                  <a:schemeClr val="bg1"/>
                </a:solidFill>
              </a:rPr>
              <a:t>Lorem ipsum dolor sit amet, consectetur adipisicing elit, sed do eiusmod tempor</a:t>
            </a:r>
            <a:endParaRPr lang="zh-CN" altLang="en-US" sz="1400" dirty="0">
              <a:solidFill>
                <a:schemeClr val="bg1"/>
              </a:solidFill>
            </a:endParaRPr>
          </a:p>
        </p:txBody>
      </p:sp>
      <p:sp>
        <p:nvSpPr>
          <p:cNvPr id="27" name="矩形 26">
            <a:extLst>
              <a:ext uri="{FF2B5EF4-FFF2-40B4-BE49-F238E27FC236}">
                <a16:creationId xmlns:a16="http://schemas.microsoft.com/office/drawing/2014/main" id="{F5C2A0D7-F94D-4120-B43D-22F29C216F6D}"/>
              </a:ext>
            </a:extLst>
          </p:cNvPr>
          <p:cNvSpPr/>
          <p:nvPr/>
        </p:nvSpPr>
        <p:spPr>
          <a:xfrm>
            <a:off x="737325" y="3999337"/>
            <a:ext cx="5080000" cy="1244600"/>
          </a:xfrm>
          <a:prstGeom prst="rect">
            <a:avLst/>
          </a:pr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8" name="文本框 27">
            <a:extLst>
              <a:ext uri="{FF2B5EF4-FFF2-40B4-BE49-F238E27FC236}">
                <a16:creationId xmlns:a16="http://schemas.microsoft.com/office/drawing/2014/main" id="{0E088154-0B67-4F75-8470-897EF5DD91CD}"/>
              </a:ext>
            </a:extLst>
          </p:cNvPr>
          <p:cNvSpPr txBox="1"/>
          <p:nvPr/>
        </p:nvSpPr>
        <p:spPr>
          <a:xfrm>
            <a:off x="791631" y="4329249"/>
            <a:ext cx="1189749" cy="584775"/>
          </a:xfrm>
          <a:prstGeom prst="rect">
            <a:avLst/>
          </a:prstGeom>
          <a:noFill/>
          <a:effectLst>
            <a:outerShdw blurRad="76200" dir="13500000" sy="23000" kx="1200000" algn="br" rotWithShape="0">
              <a:prstClr val="black">
                <a:alpha val="20000"/>
              </a:prstClr>
            </a:outerShdw>
          </a:effectLst>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3200" b="0" i="0" u="none" strike="noStrike" kern="1200" cap="none" spc="0" normalizeH="0" baseline="0" noProof="0" dirty="0">
                <a:ln>
                  <a:noFill/>
                </a:ln>
                <a:solidFill>
                  <a:prstClr val="white"/>
                </a:solidFill>
                <a:uLnTx/>
                <a:uFillTx/>
                <a:latin typeface="+mj-ea"/>
                <a:ea typeface="+mj-ea"/>
                <a:cs typeface="+mn-cs"/>
              </a:rPr>
              <a:t>2021</a:t>
            </a:r>
            <a:endParaRPr kumimoji="0" lang="zh-CN" altLang="en-US" sz="3200" b="0" i="0" u="none" strike="noStrike" kern="1200" cap="none" spc="0" normalizeH="0" baseline="0" noProof="0" dirty="0">
              <a:ln>
                <a:noFill/>
              </a:ln>
              <a:solidFill>
                <a:prstClr val="white"/>
              </a:solidFill>
              <a:uLnTx/>
              <a:uFillTx/>
              <a:latin typeface="+mj-ea"/>
              <a:ea typeface="+mj-ea"/>
              <a:cs typeface="+mn-cs"/>
            </a:endParaRPr>
          </a:p>
        </p:txBody>
      </p:sp>
      <p:sp>
        <p:nvSpPr>
          <p:cNvPr id="29" name="椭圆 28">
            <a:extLst>
              <a:ext uri="{FF2B5EF4-FFF2-40B4-BE49-F238E27FC236}">
                <a16:creationId xmlns:a16="http://schemas.microsoft.com/office/drawing/2014/main" id="{E5FA2418-7255-46C6-BB9C-9CC0973948F9}"/>
              </a:ext>
            </a:extLst>
          </p:cNvPr>
          <p:cNvSpPr/>
          <p:nvPr/>
        </p:nvSpPr>
        <p:spPr>
          <a:xfrm>
            <a:off x="2006784" y="4316837"/>
            <a:ext cx="609598" cy="609598"/>
          </a:xfrm>
          <a:prstGeom prst="ellipse">
            <a:avLst/>
          </a:prstGeom>
          <a:solidFill>
            <a:schemeClr val="bg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0" name="文本框 29">
            <a:extLst>
              <a:ext uri="{FF2B5EF4-FFF2-40B4-BE49-F238E27FC236}">
                <a16:creationId xmlns:a16="http://schemas.microsoft.com/office/drawing/2014/main" id="{66F66D69-9E35-4F36-B2DB-39083E5AA0F6}"/>
              </a:ext>
            </a:extLst>
          </p:cNvPr>
          <p:cNvSpPr txBox="1"/>
          <p:nvPr/>
        </p:nvSpPr>
        <p:spPr>
          <a:xfrm>
            <a:off x="2748310" y="4144582"/>
            <a:ext cx="2937087" cy="738664"/>
          </a:xfrm>
          <a:prstGeom prst="rect">
            <a:avLst/>
          </a:prstGeom>
          <a:noFill/>
        </p:spPr>
        <p:txBody>
          <a:bodyPr wrap="square" rtlCol="0">
            <a:spAutoFit/>
          </a:bodyPr>
          <a:lstStyle/>
          <a:p>
            <a:pPr algn="just"/>
            <a:r>
              <a:rPr lang="en-US" altLang="zh-CN" sz="1400" dirty="0">
                <a:solidFill>
                  <a:schemeClr val="bg1"/>
                </a:solidFill>
              </a:rPr>
              <a:t>Lorem ipsum dolor sit amet, consectetur adipisicing elit, sed do eiusmod tempor</a:t>
            </a:r>
            <a:endParaRPr lang="zh-CN" altLang="en-US" sz="1400" dirty="0">
              <a:solidFill>
                <a:schemeClr val="bg1"/>
              </a:solidFill>
            </a:endParaRPr>
          </a:p>
        </p:txBody>
      </p:sp>
      <p:sp>
        <p:nvSpPr>
          <p:cNvPr id="31" name="矩形 30">
            <a:extLst>
              <a:ext uri="{FF2B5EF4-FFF2-40B4-BE49-F238E27FC236}">
                <a16:creationId xmlns:a16="http://schemas.microsoft.com/office/drawing/2014/main" id="{CC625126-73E6-49C3-AA62-8776AA517036}"/>
              </a:ext>
            </a:extLst>
          </p:cNvPr>
          <p:cNvSpPr/>
          <p:nvPr/>
        </p:nvSpPr>
        <p:spPr>
          <a:xfrm>
            <a:off x="6374677" y="2151842"/>
            <a:ext cx="5080000" cy="1244600"/>
          </a:xfrm>
          <a:prstGeom prst="rect">
            <a:avLst/>
          </a:pr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3" name="文本框 32">
            <a:extLst>
              <a:ext uri="{FF2B5EF4-FFF2-40B4-BE49-F238E27FC236}">
                <a16:creationId xmlns:a16="http://schemas.microsoft.com/office/drawing/2014/main" id="{AACD6989-4910-4BD3-B28C-9C92E2004581}"/>
              </a:ext>
            </a:extLst>
          </p:cNvPr>
          <p:cNvSpPr txBox="1"/>
          <p:nvPr/>
        </p:nvSpPr>
        <p:spPr>
          <a:xfrm>
            <a:off x="6428984" y="2481754"/>
            <a:ext cx="1189749" cy="584775"/>
          </a:xfrm>
          <a:prstGeom prst="rect">
            <a:avLst/>
          </a:prstGeom>
          <a:noFill/>
          <a:effectLst>
            <a:outerShdw blurRad="76200" dir="13500000" sy="23000" kx="1200000" algn="br" rotWithShape="0">
              <a:prstClr val="black">
                <a:alpha val="20000"/>
              </a:prstClr>
            </a:outerShdw>
          </a:effectLst>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3200" b="0" i="0" u="none" strike="noStrike" kern="1200" cap="none" spc="0" normalizeH="0" baseline="0" noProof="0" dirty="0">
                <a:ln>
                  <a:noFill/>
                </a:ln>
                <a:solidFill>
                  <a:prstClr val="white"/>
                </a:solidFill>
                <a:uLnTx/>
                <a:uFillTx/>
                <a:latin typeface="+mj-ea"/>
                <a:ea typeface="+mj-ea"/>
                <a:cs typeface="+mn-cs"/>
              </a:rPr>
              <a:t>2019</a:t>
            </a:r>
            <a:endParaRPr kumimoji="0" lang="zh-CN" altLang="en-US" sz="3200" b="0" i="0" u="none" strike="noStrike" kern="1200" cap="none" spc="0" normalizeH="0" baseline="0" noProof="0" dirty="0">
              <a:ln>
                <a:noFill/>
              </a:ln>
              <a:solidFill>
                <a:prstClr val="white"/>
              </a:solidFill>
              <a:uLnTx/>
              <a:uFillTx/>
              <a:latin typeface="+mj-ea"/>
              <a:ea typeface="+mj-ea"/>
              <a:cs typeface="+mn-cs"/>
            </a:endParaRPr>
          </a:p>
        </p:txBody>
      </p:sp>
      <p:sp>
        <p:nvSpPr>
          <p:cNvPr id="36" name="椭圆 35">
            <a:extLst>
              <a:ext uri="{FF2B5EF4-FFF2-40B4-BE49-F238E27FC236}">
                <a16:creationId xmlns:a16="http://schemas.microsoft.com/office/drawing/2014/main" id="{0A4CEA27-C507-4DD4-8838-3F27479C0FDD}"/>
              </a:ext>
            </a:extLst>
          </p:cNvPr>
          <p:cNvSpPr/>
          <p:nvPr/>
        </p:nvSpPr>
        <p:spPr>
          <a:xfrm>
            <a:off x="7644136" y="2469342"/>
            <a:ext cx="609598" cy="609598"/>
          </a:xfrm>
          <a:prstGeom prst="ellipse">
            <a:avLst/>
          </a:prstGeom>
          <a:solidFill>
            <a:schemeClr val="bg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7" name="文本框 36">
            <a:extLst>
              <a:ext uri="{FF2B5EF4-FFF2-40B4-BE49-F238E27FC236}">
                <a16:creationId xmlns:a16="http://schemas.microsoft.com/office/drawing/2014/main" id="{635F5465-AA03-454F-B202-DEF93E3582CE}"/>
              </a:ext>
            </a:extLst>
          </p:cNvPr>
          <p:cNvSpPr txBox="1"/>
          <p:nvPr/>
        </p:nvSpPr>
        <p:spPr>
          <a:xfrm>
            <a:off x="8385662" y="2297087"/>
            <a:ext cx="2937087" cy="738664"/>
          </a:xfrm>
          <a:prstGeom prst="rect">
            <a:avLst/>
          </a:prstGeom>
          <a:noFill/>
        </p:spPr>
        <p:txBody>
          <a:bodyPr wrap="square" rtlCol="0">
            <a:spAutoFit/>
          </a:bodyPr>
          <a:lstStyle/>
          <a:p>
            <a:pPr algn="just"/>
            <a:r>
              <a:rPr lang="en-US" altLang="zh-CN" sz="1400" dirty="0">
                <a:solidFill>
                  <a:schemeClr val="bg1"/>
                </a:solidFill>
              </a:rPr>
              <a:t>Lorem ipsum dolor sit amet, consectetur adipisicing elit, sed do eiusmod tempor</a:t>
            </a:r>
            <a:endParaRPr lang="zh-CN" altLang="en-US" sz="1400" dirty="0">
              <a:solidFill>
                <a:schemeClr val="bg1"/>
              </a:solidFill>
            </a:endParaRPr>
          </a:p>
        </p:txBody>
      </p:sp>
      <p:sp>
        <p:nvSpPr>
          <p:cNvPr id="38" name="矩形 37">
            <a:extLst>
              <a:ext uri="{FF2B5EF4-FFF2-40B4-BE49-F238E27FC236}">
                <a16:creationId xmlns:a16="http://schemas.microsoft.com/office/drawing/2014/main" id="{51E667DA-D262-4952-873A-FAF18AB2784E}"/>
              </a:ext>
            </a:extLst>
          </p:cNvPr>
          <p:cNvSpPr/>
          <p:nvPr/>
        </p:nvSpPr>
        <p:spPr>
          <a:xfrm>
            <a:off x="6374677" y="3999337"/>
            <a:ext cx="5080000" cy="1244600"/>
          </a:xfrm>
          <a:prstGeom prst="rect">
            <a:avLst/>
          </a:pr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4" name="文本框 43">
            <a:extLst>
              <a:ext uri="{FF2B5EF4-FFF2-40B4-BE49-F238E27FC236}">
                <a16:creationId xmlns:a16="http://schemas.microsoft.com/office/drawing/2014/main" id="{84029259-36B7-41A3-9D01-6989D6F86D8C}"/>
              </a:ext>
            </a:extLst>
          </p:cNvPr>
          <p:cNvSpPr txBox="1"/>
          <p:nvPr/>
        </p:nvSpPr>
        <p:spPr>
          <a:xfrm>
            <a:off x="6392915" y="4329249"/>
            <a:ext cx="1261885" cy="584775"/>
          </a:xfrm>
          <a:prstGeom prst="rect">
            <a:avLst/>
          </a:prstGeom>
          <a:noFill/>
          <a:effectLst>
            <a:outerShdw blurRad="76200" dir="13500000" sy="23000" kx="1200000" algn="br" rotWithShape="0">
              <a:prstClr val="black">
                <a:alpha val="20000"/>
              </a:prstClr>
            </a:outerShdw>
          </a:effectLst>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3200" b="0" i="0" u="none" strike="noStrike" kern="1200" cap="none" spc="0" normalizeH="0" baseline="0" noProof="0" dirty="0">
                <a:ln>
                  <a:noFill/>
                </a:ln>
                <a:solidFill>
                  <a:prstClr val="white"/>
                </a:solidFill>
                <a:uLnTx/>
                <a:uFillTx/>
                <a:latin typeface="+mj-ea"/>
                <a:ea typeface="+mj-ea"/>
                <a:cs typeface="+mn-cs"/>
              </a:rPr>
              <a:t>2020</a:t>
            </a:r>
            <a:endParaRPr kumimoji="0" lang="zh-CN" altLang="en-US" sz="3200" b="0" i="0" u="none" strike="noStrike" kern="1200" cap="none" spc="0" normalizeH="0" baseline="0" noProof="0" dirty="0">
              <a:ln>
                <a:noFill/>
              </a:ln>
              <a:solidFill>
                <a:prstClr val="white"/>
              </a:solidFill>
              <a:uLnTx/>
              <a:uFillTx/>
              <a:latin typeface="+mj-ea"/>
              <a:ea typeface="+mj-ea"/>
              <a:cs typeface="+mn-cs"/>
            </a:endParaRPr>
          </a:p>
        </p:txBody>
      </p:sp>
      <p:sp>
        <p:nvSpPr>
          <p:cNvPr id="45" name="椭圆 44">
            <a:extLst>
              <a:ext uri="{FF2B5EF4-FFF2-40B4-BE49-F238E27FC236}">
                <a16:creationId xmlns:a16="http://schemas.microsoft.com/office/drawing/2014/main" id="{1A5E185E-6963-4375-B409-882A40A9733B}"/>
              </a:ext>
            </a:extLst>
          </p:cNvPr>
          <p:cNvSpPr/>
          <p:nvPr/>
        </p:nvSpPr>
        <p:spPr>
          <a:xfrm>
            <a:off x="7644136" y="4316837"/>
            <a:ext cx="609598" cy="609598"/>
          </a:xfrm>
          <a:prstGeom prst="ellipse">
            <a:avLst/>
          </a:prstGeom>
          <a:solidFill>
            <a:schemeClr val="bg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6" name="文本框 45">
            <a:extLst>
              <a:ext uri="{FF2B5EF4-FFF2-40B4-BE49-F238E27FC236}">
                <a16:creationId xmlns:a16="http://schemas.microsoft.com/office/drawing/2014/main" id="{DBE3A8F8-3BFC-4616-8662-509E0C2BAC11}"/>
              </a:ext>
            </a:extLst>
          </p:cNvPr>
          <p:cNvSpPr txBox="1"/>
          <p:nvPr/>
        </p:nvSpPr>
        <p:spPr>
          <a:xfrm>
            <a:off x="8385662" y="4144582"/>
            <a:ext cx="2937087" cy="738664"/>
          </a:xfrm>
          <a:prstGeom prst="rect">
            <a:avLst/>
          </a:prstGeom>
          <a:noFill/>
        </p:spPr>
        <p:txBody>
          <a:bodyPr wrap="square" rtlCol="0">
            <a:spAutoFit/>
          </a:bodyPr>
          <a:lstStyle/>
          <a:p>
            <a:pPr algn="just"/>
            <a:r>
              <a:rPr lang="en-US" altLang="zh-CN" sz="1400" dirty="0">
                <a:solidFill>
                  <a:schemeClr val="bg1"/>
                </a:solidFill>
              </a:rPr>
              <a:t>Lorem ipsum dolor sit amet, consectetur adipisicing elit, sed do eiusmod tempor</a:t>
            </a:r>
            <a:endParaRPr lang="zh-CN" altLang="en-US" sz="1400" dirty="0">
              <a:solidFill>
                <a:schemeClr val="bg1"/>
              </a:solidFill>
            </a:endParaRPr>
          </a:p>
        </p:txBody>
      </p:sp>
    </p:spTree>
    <p:extLst>
      <p:ext uri="{BB962C8B-B14F-4D97-AF65-F5344CB8AC3E}">
        <p14:creationId xmlns:p14="http://schemas.microsoft.com/office/powerpoint/2010/main" val="3369479775"/>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4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任意多边形: 形状 7">
            <a:extLst>
              <a:ext uri="{FF2B5EF4-FFF2-40B4-BE49-F238E27FC236}">
                <a16:creationId xmlns:a16="http://schemas.microsoft.com/office/drawing/2014/main" id="{328631A5-AD61-4A35-A209-DB953518173B}"/>
              </a:ext>
            </a:extLst>
          </p:cNvPr>
          <p:cNvSpPr/>
          <p:nvPr/>
        </p:nvSpPr>
        <p:spPr>
          <a:xfrm>
            <a:off x="806630" y="3222536"/>
            <a:ext cx="10610670" cy="1355724"/>
          </a:xfrm>
          <a:custGeom>
            <a:avLst/>
            <a:gdLst>
              <a:gd name="connsiteX0" fmla="*/ 3543301 w 10901045"/>
              <a:gd name="connsiteY0" fmla="*/ 279 h 1134452"/>
              <a:gd name="connsiteX1" fmla="*/ 7848600 w 10901045"/>
              <a:gd name="connsiteY1" fmla="*/ 736879 h 1134452"/>
              <a:gd name="connsiteX2" fmla="*/ 10767295 w 10901045"/>
              <a:gd name="connsiteY2" fmla="*/ 85004 h 1134452"/>
              <a:gd name="connsiteX3" fmla="*/ 10901045 w 10901045"/>
              <a:gd name="connsiteY3" fmla="*/ 42139 h 1134452"/>
              <a:gd name="connsiteX4" fmla="*/ 10901045 w 10901045"/>
              <a:gd name="connsiteY4" fmla="*/ 43808 h 1134452"/>
              <a:gd name="connsiteX5" fmla="*/ 10822831 w 10901045"/>
              <a:gd name="connsiteY5" fmla="*/ 78873 h 1134452"/>
              <a:gd name="connsiteX6" fmla="*/ 7734300 w 10901045"/>
              <a:gd name="connsiteY6" fmla="*/ 1130579 h 1134452"/>
              <a:gd name="connsiteX7" fmla="*/ 3670301 w 10901045"/>
              <a:gd name="connsiteY7" fmla="*/ 305079 h 1134452"/>
              <a:gd name="connsiteX8" fmla="*/ 7082 w 10901045"/>
              <a:gd name="connsiteY8" fmla="*/ 719280 h 1134452"/>
              <a:gd name="connsiteX9" fmla="*/ 0 w 10901045"/>
              <a:gd name="connsiteY9" fmla="*/ 720709 h 1134452"/>
              <a:gd name="connsiteX10" fmla="*/ 0 w 10901045"/>
              <a:gd name="connsiteY10" fmla="*/ 720136 h 1134452"/>
              <a:gd name="connsiteX11" fmla="*/ 108540 w 10901045"/>
              <a:gd name="connsiteY11" fmla="*/ 685260 h 1134452"/>
              <a:gd name="connsiteX12" fmla="*/ 3543301 w 10901045"/>
              <a:gd name="connsiteY12" fmla="*/ 279 h 11344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901045" h="1134452">
                <a:moveTo>
                  <a:pt x="3543301" y="279"/>
                </a:moveTo>
                <a:cubicBezTo>
                  <a:pt x="4912783" y="-16654"/>
                  <a:pt x="6576483" y="743229"/>
                  <a:pt x="7848600" y="736879"/>
                </a:cubicBezTo>
                <a:cubicBezTo>
                  <a:pt x="8882195" y="731720"/>
                  <a:pt x="10058317" y="315745"/>
                  <a:pt x="10767295" y="85004"/>
                </a:cubicBezTo>
                <a:lnTo>
                  <a:pt x="10901045" y="42139"/>
                </a:lnTo>
                <a:lnTo>
                  <a:pt x="10901045" y="43808"/>
                </a:lnTo>
                <a:lnTo>
                  <a:pt x="10822831" y="78873"/>
                </a:lnTo>
                <a:cubicBezTo>
                  <a:pt x="10063005" y="425249"/>
                  <a:pt x="8761016" y="1075546"/>
                  <a:pt x="7734300" y="1130579"/>
                </a:cubicBezTo>
                <a:cubicBezTo>
                  <a:pt x="6470650" y="1198312"/>
                  <a:pt x="5046133" y="355879"/>
                  <a:pt x="3670301" y="305079"/>
                </a:cubicBezTo>
                <a:cubicBezTo>
                  <a:pt x="2466447" y="260629"/>
                  <a:pt x="1238283" y="473850"/>
                  <a:pt x="7082" y="719280"/>
                </a:cubicBezTo>
                <a:lnTo>
                  <a:pt x="0" y="720709"/>
                </a:lnTo>
                <a:lnTo>
                  <a:pt x="0" y="720136"/>
                </a:lnTo>
                <a:lnTo>
                  <a:pt x="108540" y="685260"/>
                </a:lnTo>
                <a:cubicBezTo>
                  <a:pt x="1222061" y="331338"/>
                  <a:pt x="2345003" y="15096"/>
                  <a:pt x="3543301" y="279"/>
                </a:cubicBezTo>
                <a:close/>
              </a:path>
            </a:pathLst>
          </a:custGeom>
          <a:gradFill>
            <a:gsLst>
              <a:gs pos="0">
                <a:schemeClr val="accent1">
                  <a:lumMod val="5000"/>
                  <a:lumOff val="95000"/>
                </a:schemeClr>
              </a:gs>
              <a:gs pos="100000">
                <a:schemeClr val="accent1">
                  <a:lumMod val="10000"/>
                  <a:lumOff val="90000"/>
                  <a:alpha val="20000"/>
                </a:schemeClr>
              </a:gs>
            </a:gsLst>
            <a:lin ang="5400000" scaled="1"/>
          </a:grad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p>
        </p:txBody>
      </p:sp>
      <p:sp>
        <p:nvSpPr>
          <p:cNvPr id="7" name="任意多边形: 形状 6">
            <a:extLst>
              <a:ext uri="{FF2B5EF4-FFF2-40B4-BE49-F238E27FC236}">
                <a16:creationId xmlns:a16="http://schemas.microsoft.com/office/drawing/2014/main" id="{6AB43B03-22CC-4226-9073-F46C6539B0E6}"/>
              </a:ext>
            </a:extLst>
          </p:cNvPr>
          <p:cNvSpPr/>
          <p:nvPr/>
        </p:nvSpPr>
        <p:spPr>
          <a:xfrm>
            <a:off x="1625600" y="3435172"/>
            <a:ext cx="8940800" cy="930453"/>
          </a:xfrm>
          <a:custGeom>
            <a:avLst/>
            <a:gdLst>
              <a:gd name="connsiteX0" fmla="*/ 3543301 w 10901045"/>
              <a:gd name="connsiteY0" fmla="*/ 279 h 1134452"/>
              <a:gd name="connsiteX1" fmla="*/ 7848600 w 10901045"/>
              <a:gd name="connsiteY1" fmla="*/ 736879 h 1134452"/>
              <a:gd name="connsiteX2" fmla="*/ 10767295 w 10901045"/>
              <a:gd name="connsiteY2" fmla="*/ 85004 h 1134452"/>
              <a:gd name="connsiteX3" fmla="*/ 10901045 w 10901045"/>
              <a:gd name="connsiteY3" fmla="*/ 42139 h 1134452"/>
              <a:gd name="connsiteX4" fmla="*/ 10901045 w 10901045"/>
              <a:gd name="connsiteY4" fmla="*/ 43808 h 1134452"/>
              <a:gd name="connsiteX5" fmla="*/ 10822831 w 10901045"/>
              <a:gd name="connsiteY5" fmla="*/ 78873 h 1134452"/>
              <a:gd name="connsiteX6" fmla="*/ 7734300 w 10901045"/>
              <a:gd name="connsiteY6" fmla="*/ 1130579 h 1134452"/>
              <a:gd name="connsiteX7" fmla="*/ 3670301 w 10901045"/>
              <a:gd name="connsiteY7" fmla="*/ 305079 h 1134452"/>
              <a:gd name="connsiteX8" fmla="*/ 7082 w 10901045"/>
              <a:gd name="connsiteY8" fmla="*/ 719280 h 1134452"/>
              <a:gd name="connsiteX9" fmla="*/ 0 w 10901045"/>
              <a:gd name="connsiteY9" fmla="*/ 720709 h 1134452"/>
              <a:gd name="connsiteX10" fmla="*/ 0 w 10901045"/>
              <a:gd name="connsiteY10" fmla="*/ 720136 h 1134452"/>
              <a:gd name="connsiteX11" fmla="*/ 108540 w 10901045"/>
              <a:gd name="connsiteY11" fmla="*/ 685260 h 1134452"/>
              <a:gd name="connsiteX12" fmla="*/ 3543301 w 10901045"/>
              <a:gd name="connsiteY12" fmla="*/ 279 h 11344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901045" h="1134452">
                <a:moveTo>
                  <a:pt x="3543301" y="279"/>
                </a:moveTo>
                <a:cubicBezTo>
                  <a:pt x="4912783" y="-16654"/>
                  <a:pt x="6576483" y="743229"/>
                  <a:pt x="7848600" y="736879"/>
                </a:cubicBezTo>
                <a:cubicBezTo>
                  <a:pt x="8882195" y="731720"/>
                  <a:pt x="10058317" y="315745"/>
                  <a:pt x="10767295" y="85004"/>
                </a:cubicBezTo>
                <a:lnTo>
                  <a:pt x="10901045" y="42139"/>
                </a:lnTo>
                <a:lnTo>
                  <a:pt x="10901045" y="43808"/>
                </a:lnTo>
                <a:lnTo>
                  <a:pt x="10822831" y="78873"/>
                </a:lnTo>
                <a:cubicBezTo>
                  <a:pt x="10063005" y="425249"/>
                  <a:pt x="8761016" y="1075546"/>
                  <a:pt x="7734300" y="1130579"/>
                </a:cubicBezTo>
                <a:cubicBezTo>
                  <a:pt x="6470650" y="1198312"/>
                  <a:pt x="5046133" y="355879"/>
                  <a:pt x="3670301" y="305079"/>
                </a:cubicBezTo>
                <a:cubicBezTo>
                  <a:pt x="2466447" y="260629"/>
                  <a:pt x="1238283" y="473850"/>
                  <a:pt x="7082" y="719280"/>
                </a:cubicBezTo>
                <a:lnTo>
                  <a:pt x="0" y="720709"/>
                </a:lnTo>
                <a:lnTo>
                  <a:pt x="0" y="720136"/>
                </a:lnTo>
                <a:lnTo>
                  <a:pt x="108540" y="685260"/>
                </a:lnTo>
                <a:cubicBezTo>
                  <a:pt x="1222061" y="331338"/>
                  <a:pt x="2345003" y="15096"/>
                  <a:pt x="3543301" y="279"/>
                </a:cubicBezTo>
                <a:close/>
              </a:path>
            </a:pathLst>
          </a:custGeom>
          <a:gradFill>
            <a:gsLst>
              <a:gs pos="0">
                <a:schemeClr val="accent1">
                  <a:lumMod val="5000"/>
                  <a:lumOff val="95000"/>
                </a:schemeClr>
              </a:gs>
              <a:gs pos="74000">
                <a:schemeClr val="accent1"/>
              </a:gs>
              <a:gs pos="83000">
                <a:schemeClr val="accent1"/>
              </a:gs>
              <a:gs pos="100000">
                <a:schemeClr val="accent1"/>
              </a:gs>
            </a:gsLst>
            <a:lin ang="5400000" scaled="1"/>
          </a:grad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p>
        </p:txBody>
      </p:sp>
      <p:cxnSp>
        <p:nvCxnSpPr>
          <p:cNvPr id="13" name="直接连接符 12">
            <a:extLst>
              <a:ext uri="{FF2B5EF4-FFF2-40B4-BE49-F238E27FC236}">
                <a16:creationId xmlns:a16="http://schemas.microsoft.com/office/drawing/2014/main" id="{4B182FA7-6C93-4E89-AF7F-1A1CEA7A340A}"/>
              </a:ext>
            </a:extLst>
          </p:cNvPr>
          <p:cNvCxnSpPr>
            <a:cxnSpLocks/>
          </p:cNvCxnSpPr>
          <p:nvPr/>
        </p:nvCxnSpPr>
        <p:spPr>
          <a:xfrm>
            <a:off x="4010027" y="3681012"/>
            <a:ext cx="0" cy="1231900"/>
          </a:xfrm>
          <a:prstGeom prst="line">
            <a:avLst/>
          </a:prstGeom>
          <a:ln w="12700">
            <a:gradFill>
              <a:gsLst>
                <a:gs pos="0">
                  <a:schemeClr val="accent1"/>
                </a:gs>
                <a:gs pos="100000">
                  <a:schemeClr val="accent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5" name="直接连接符 14">
            <a:extLst>
              <a:ext uri="{FF2B5EF4-FFF2-40B4-BE49-F238E27FC236}">
                <a16:creationId xmlns:a16="http://schemas.microsoft.com/office/drawing/2014/main" id="{B6C690EC-7622-4A59-852D-AD113BF6C2FF}"/>
              </a:ext>
            </a:extLst>
          </p:cNvPr>
          <p:cNvCxnSpPr>
            <a:cxnSpLocks/>
          </p:cNvCxnSpPr>
          <p:nvPr/>
        </p:nvCxnSpPr>
        <p:spPr>
          <a:xfrm>
            <a:off x="7810500" y="4365625"/>
            <a:ext cx="0" cy="984337"/>
          </a:xfrm>
          <a:prstGeom prst="line">
            <a:avLst/>
          </a:prstGeom>
          <a:ln w="12700">
            <a:gradFill>
              <a:gsLst>
                <a:gs pos="0">
                  <a:schemeClr val="accent1"/>
                </a:gs>
                <a:gs pos="100000">
                  <a:schemeClr val="accent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6" name="直接连接符 15">
            <a:extLst>
              <a:ext uri="{FF2B5EF4-FFF2-40B4-BE49-F238E27FC236}">
                <a16:creationId xmlns:a16="http://schemas.microsoft.com/office/drawing/2014/main" id="{693EEA1C-E9A3-4349-8B72-67E7A33B32F7}"/>
              </a:ext>
            </a:extLst>
          </p:cNvPr>
          <p:cNvCxnSpPr>
            <a:cxnSpLocks/>
            <a:stCxn id="21" idx="4"/>
          </p:cNvCxnSpPr>
          <p:nvPr/>
        </p:nvCxnSpPr>
        <p:spPr>
          <a:xfrm>
            <a:off x="1625600" y="2251051"/>
            <a:ext cx="0" cy="1587435"/>
          </a:xfrm>
          <a:prstGeom prst="line">
            <a:avLst/>
          </a:prstGeom>
          <a:ln w="12700">
            <a:gradFill>
              <a:gsLst>
                <a:gs pos="0">
                  <a:schemeClr val="accent1"/>
                </a:gs>
                <a:gs pos="100000">
                  <a:schemeClr val="accent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7" name="直接连接符 16">
            <a:extLst>
              <a:ext uri="{FF2B5EF4-FFF2-40B4-BE49-F238E27FC236}">
                <a16:creationId xmlns:a16="http://schemas.microsoft.com/office/drawing/2014/main" id="{A1E1C051-788B-432B-8A9F-38576FF389B9}"/>
              </a:ext>
            </a:extLst>
          </p:cNvPr>
          <p:cNvCxnSpPr>
            <a:cxnSpLocks/>
          </p:cNvCxnSpPr>
          <p:nvPr/>
        </p:nvCxnSpPr>
        <p:spPr>
          <a:xfrm>
            <a:off x="6750050" y="2647950"/>
            <a:ext cx="0" cy="1231900"/>
          </a:xfrm>
          <a:prstGeom prst="line">
            <a:avLst/>
          </a:prstGeom>
          <a:ln w="12700">
            <a:gradFill>
              <a:gsLst>
                <a:gs pos="0">
                  <a:schemeClr val="accent1"/>
                </a:gs>
                <a:gs pos="100000">
                  <a:schemeClr val="accent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8" name="椭圆 17">
            <a:extLst>
              <a:ext uri="{FF2B5EF4-FFF2-40B4-BE49-F238E27FC236}">
                <a16:creationId xmlns:a16="http://schemas.microsoft.com/office/drawing/2014/main" id="{256BE119-1686-4731-BF45-5A240AB0B26C}"/>
              </a:ext>
            </a:extLst>
          </p:cNvPr>
          <p:cNvSpPr/>
          <p:nvPr/>
        </p:nvSpPr>
        <p:spPr>
          <a:xfrm>
            <a:off x="3816353" y="4824100"/>
            <a:ext cx="387348" cy="387348"/>
          </a:xfrm>
          <a:prstGeom prst="ellipse">
            <a:avLst/>
          </a:prstGeom>
          <a:solidFill>
            <a:schemeClr val="accent1"/>
          </a:solidFill>
          <a:ln w="25400">
            <a:noFill/>
          </a:ln>
          <a:effectLst>
            <a:softEdge rad="127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9" name="椭圆 18">
            <a:extLst>
              <a:ext uri="{FF2B5EF4-FFF2-40B4-BE49-F238E27FC236}">
                <a16:creationId xmlns:a16="http://schemas.microsoft.com/office/drawing/2014/main" id="{D9486602-E13A-4E38-B620-BCFB307CBAB1}"/>
              </a:ext>
            </a:extLst>
          </p:cNvPr>
          <p:cNvSpPr/>
          <p:nvPr/>
        </p:nvSpPr>
        <p:spPr>
          <a:xfrm>
            <a:off x="7616826" y="5156288"/>
            <a:ext cx="387348" cy="387348"/>
          </a:xfrm>
          <a:prstGeom prst="ellipse">
            <a:avLst/>
          </a:prstGeom>
          <a:solidFill>
            <a:schemeClr val="accent1"/>
          </a:solidFill>
          <a:ln w="25400">
            <a:noFill/>
          </a:ln>
          <a:effectLst>
            <a:softEdge rad="127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1" name="椭圆 20">
            <a:extLst>
              <a:ext uri="{FF2B5EF4-FFF2-40B4-BE49-F238E27FC236}">
                <a16:creationId xmlns:a16="http://schemas.microsoft.com/office/drawing/2014/main" id="{1FE5488E-9367-48B0-B88F-22DF735DC753}"/>
              </a:ext>
            </a:extLst>
          </p:cNvPr>
          <p:cNvSpPr/>
          <p:nvPr/>
        </p:nvSpPr>
        <p:spPr>
          <a:xfrm>
            <a:off x="1431926" y="1863703"/>
            <a:ext cx="387348" cy="387348"/>
          </a:xfrm>
          <a:prstGeom prst="ellipse">
            <a:avLst/>
          </a:prstGeom>
          <a:solidFill>
            <a:schemeClr val="accent1"/>
          </a:solidFill>
          <a:ln w="25400">
            <a:noFill/>
          </a:ln>
          <a:effectLst>
            <a:softEdge rad="127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2" name="椭圆 21">
            <a:extLst>
              <a:ext uri="{FF2B5EF4-FFF2-40B4-BE49-F238E27FC236}">
                <a16:creationId xmlns:a16="http://schemas.microsoft.com/office/drawing/2014/main" id="{4FED8521-D341-47F5-A3D7-ADFECC3F25FD}"/>
              </a:ext>
            </a:extLst>
          </p:cNvPr>
          <p:cNvSpPr/>
          <p:nvPr/>
        </p:nvSpPr>
        <p:spPr>
          <a:xfrm>
            <a:off x="6556376" y="2260602"/>
            <a:ext cx="387348" cy="387348"/>
          </a:xfrm>
          <a:prstGeom prst="ellipse">
            <a:avLst/>
          </a:prstGeom>
          <a:solidFill>
            <a:schemeClr val="accent1"/>
          </a:solidFill>
          <a:ln w="25400">
            <a:noFill/>
          </a:ln>
          <a:effectLst>
            <a:softEdge rad="127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3" name="文本框 22">
            <a:extLst>
              <a:ext uri="{FF2B5EF4-FFF2-40B4-BE49-F238E27FC236}">
                <a16:creationId xmlns:a16="http://schemas.microsoft.com/office/drawing/2014/main" id="{0B47A01C-3D4F-47CB-9B70-26FF10946261}"/>
              </a:ext>
            </a:extLst>
          </p:cNvPr>
          <p:cNvSpPr txBox="1"/>
          <p:nvPr/>
        </p:nvSpPr>
        <p:spPr>
          <a:xfrm>
            <a:off x="1896743" y="2214715"/>
            <a:ext cx="2937087" cy="738664"/>
          </a:xfrm>
          <a:prstGeom prst="rect">
            <a:avLst/>
          </a:prstGeom>
          <a:noFill/>
        </p:spPr>
        <p:txBody>
          <a:bodyPr wrap="square" rtlCol="0">
            <a:spAutoFit/>
          </a:bodyPr>
          <a:lstStyle/>
          <a:p>
            <a:pPr algn="just"/>
            <a:r>
              <a:rPr lang="en-US" altLang="zh-CN" sz="1400" dirty="0"/>
              <a:t>Lorem ipsum dolor sit amet, consectetur adipisicing elit, sed do eiusmod tempor</a:t>
            </a:r>
            <a:endParaRPr lang="zh-CN" altLang="en-US" sz="1400" dirty="0"/>
          </a:p>
        </p:txBody>
      </p:sp>
      <p:sp>
        <p:nvSpPr>
          <p:cNvPr id="24" name="文本框 23">
            <a:extLst>
              <a:ext uri="{FF2B5EF4-FFF2-40B4-BE49-F238E27FC236}">
                <a16:creationId xmlns:a16="http://schemas.microsoft.com/office/drawing/2014/main" id="{3EC5AEFB-6861-40C6-B3AD-8912D00EA8E7}"/>
              </a:ext>
            </a:extLst>
          </p:cNvPr>
          <p:cNvSpPr txBox="1"/>
          <p:nvPr/>
        </p:nvSpPr>
        <p:spPr>
          <a:xfrm>
            <a:off x="1896743" y="1792650"/>
            <a:ext cx="938077" cy="461665"/>
          </a:xfrm>
          <a:prstGeom prst="rect">
            <a:avLst/>
          </a:prstGeom>
          <a:noFill/>
          <a:effectLst>
            <a:outerShdw blurRad="76200" dir="13500000" sy="23000" kx="1200000" algn="br" rotWithShape="0">
              <a:prstClr val="black">
                <a:alpha val="20000"/>
              </a:prstClr>
            </a:outerShdw>
          </a:effectLst>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2400" b="0" i="0" u="none" strike="noStrike" kern="1200" cap="none" spc="0" normalizeH="0" baseline="0" noProof="0" dirty="0">
                <a:ln>
                  <a:noFill/>
                </a:ln>
                <a:solidFill>
                  <a:schemeClr val="accent1"/>
                </a:solidFill>
                <a:uLnTx/>
                <a:uFillTx/>
                <a:latin typeface="+mj-ea"/>
                <a:ea typeface="+mj-ea"/>
                <a:cs typeface="+mn-cs"/>
              </a:rPr>
              <a:t>2018</a:t>
            </a:r>
            <a:endParaRPr kumimoji="0" lang="zh-CN" altLang="en-US" sz="2400" b="0" i="0" u="none" strike="noStrike" kern="1200" cap="none" spc="0" normalizeH="0" baseline="0" noProof="0" dirty="0">
              <a:ln>
                <a:noFill/>
              </a:ln>
              <a:solidFill>
                <a:schemeClr val="accent1"/>
              </a:solidFill>
              <a:uLnTx/>
              <a:uFillTx/>
              <a:latin typeface="+mj-ea"/>
              <a:ea typeface="+mj-ea"/>
              <a:cs typeface="+mn-cs"/>
            </a:endParaRPr>
          </a:p>
        </p:txBody>
      </p:sp>
      <p:sp>
        <p:nvSpPr>
          <p:cNvPr id="26" name="文本框 25">
            <a:extLst>
              <a:ext uri="{FF2B5EF4-FFF2-40B4-BE49-F238E27FC236}">
                <a16:creationId xmlns:a16="http://schemas.microsoft.com/office/drawing/2014/main" id="{A0D2DECC-544C-419E-9CCB-D2C2752D50B6}"/>
              </a:ext>
            </a:extLst>
          </p:cNvPr>
          <p:cNvSpPr txBox="1"/>
          <p:nvPr/>
        </p:nvSpPr>
        <p:spPr>
          <a:xfrm>
            <a:off x="7021192" y="2647950"/>
            <a:ext cx="2937087" cy="738664"/>
          </a:xfrm>
          <a:prstGeom prst="rect">
            <a:avLst/>
          </a:prstGeom>
          <a:noFill/>
        </p:spPr>
        <p:txBody>
          <a:bodyPr wrap="square" rtlCol="0">
            <a:spAutoFit/>
          </a:bodyPr>
          <a:lstStyle/>
          <a:p>
            <a:pPr algn="just"/>
            <a:r>
              <a:rPr lang="en-US" altLang="zh-CN" sz="1400" dirty="0"/>
              <a:t>Lorem ipsum dolor sit amet, consectetur adipisicing elit, sed do eiusmod tempor</a:t>
            </a:r>
            <a:endParaRPr lang="zh-CN" altLang="en-US" sz="1400" dirty="0"/>
          </a:p>
        </p:txBody>
      </p:sp>
      <p:sp>
        <p:nvSpPr>
          <p:cNvPr id="27" name="文本框 26">
            <a:extLst>
              <a:ext uri="{FF2B5EF4-FFF2-40B4-BE49-F238E27FC236}">
                <a16:creationId xmlns:a16="http://schemas.microsoft.com/office/drawing/2014/main" id="{2A3B34DA-56B7-49CE-8FA2-B0FF90DA5C70}"/>
              </a:ext>
            </a:extLst>
          </p:cNvPr>
          <p:cNvSpPr txBox="1"/>
          <p:nvPr/>
        </p:nvSpPr>
        <p:spPr>
          <a:xfrm>
            <a:off x="6993941" y="2225885"/>
            <a:ext cx="992580" cy="461665"/>
          </a:xfrm>
          <a:prstGeom prst="rect">
            <a:avLst/>
          </a:prstGeom>
          <a:noFill/>
          <a:effectLst>
            <a:outerShdw blurRad="76200" dir="13500000" sy="23000" kx="1200000" algn="br" rotWithShape="0">
              <a:prstClr val="black">
                <a:alpha val="20000"/>
              </a:prstClr>
            </a:outerShdw>
          </a:effectLst>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2400" b="0" i="0" u="none" strike="noStrike" kern="1200" cap="none" spc="0" normalizeH="0" baseline="0" noProof="0" dirty="0">
                <a:ln>
                  <a:noFill/>
                </a:ln>
                <a:solidFill>
                  <a:schemeClr val="accent1"/>
                </a:solidFill>
                <a:uLnTx/>
                <a:uFillTx/>
                <a:latin typeface="+mj-ea"/>
                <a:ea typeface="+mj-ea"/>
                <a:cs typeface="+mn-cs"/>
              </a:rPr>
              <a:t>2020</a:t>
            </a:r>
            <a:endParaRPr kumimoji="0" lang="zh-CN" altLang="en-US" sz="2400" b="0" i="0" u="none" strike="noStrike" kern="1200" cap="none" spc="0" normalizeH="0" baseline="0" noProof="0" dirty="0">
              <a:ln>
                <a:noFill/>
              </a:ln>
              <a:solidFill>
                <a:schemeClr val="accent1"/>
              </a:solidFill>
              <a:uLnTx/>
              <a:uFillTx/>
              <a:latin typeface="+mj-ea"/>
              <a:ea typeface="+mj-ea"/>
              <a:cs typeface="+mn-cs"/>
            </a:endParaRPr>
          </a:p>
        </p:txBody>
      </p:sp>
      <p:sp>
        <p:nvSpPr>
          <p:cNvPr id="28" name="文本框 27">
            <a:extLst>
              <a:ext uri="{FF2B5EF4-FFF2-40B4-BE49-F238E27FC236}">
                <a16:creationId xmlns:a16="http://schemas.microsoft.com/office/drawing/2014/main" id="{83EEBE4B-E1D7-4B59-AD7F-9E61C8CE1335}"/>
              </a:ext>
            </a:extLst>
          </p:cNvPr>
          <p:cNvSpPr txBox="1"/>
          <p:nvPr/>
        </p:nvSpPr>
        <p:spPr>
          <a:xfrm>
            <a:off x="7959269" y="5015332"/>
            <a:ext cx="2937087" cy="738664"/>
          </a:xfrm>
          <a:prstGeom prst="rect">
            <a:avLst/>
          </a:prstGeom>
          <a:noFill/>
        </p:spPr>
        <p:txBody>
          <a:bodyPr wrap="square" rtlCol="0">
            <a:spAutoFit/>
          </a:bodyPr>
          <a:lstStyle/>
          <a:p>
            <a:pPr algn="just"/>
            <a:r>
              <a:rPr lang="en-US" altLang="zh-CN" sz="1400" dirty="0"/>
              <a:t>Lorem ipsum dolor sit amet, consectetur adipisicing elit, sed do eiusmod tempor</a:t>
            </a:r>
            <a:endParaRPr lang="zh-CN" altLang="en-US" sz="1400" dirty="0"/>
          </a:p>
        </p:txBody>
      </p:sp>
      <p:sp>
        <p:nvSpPr>
          <p:cNvPr id="29" name="文本框 28">
            <a:extLst>
              <a:ext uri="{FF2B5EF4-FFF2-40B4-BE49-F238E27FC236}">
                <a16:creationId xmlns:a16="http://schemas.microsoft.com/office/drawing/2014/main" id="{0CFECA8F-F86F-4F6D-8ABF-F4751DD20423}"/>
              </a:ext>
            </a:extLst>
          </p:cNvPr>
          <p:cNvSpPr txBox="1"/>
          <p:nvPr/>
        </p:nvSpPr>
        <p:spPr>
          <a:xfrm>
            <a:off x="7959270" y="4593267"/>
            <a:ext cx="938077" cy="461665"/>
          </a:xfrm>
          <a:prstGeom prst="rect">
            <a:avLst/>
          </a:prstGeom>
          <a:noFill/>
          <a:effectLst>
            <a:outerShdw blurRad="76200" dir="13500000" sy="23000" kx="1200000" algn="br" rotWithShape="0">
              <a:prstClr val="black">
                <a:alpha val="20000"/>
              </a:prstClr>
            </a:outerShdw>
          </a:effectLst>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2400" b="0" i="0" u="none" strike="noStrike" kern="1200" cap="none" spc="0" normalizeH="0" baseline="0" noProof="0" dirty="0">
                <a:ln>
                  <a:noFill/>
                </a:ln>
                <a:solidFill>
                  <a:schemeClr val="accent1"/>
                </a:solidFill>
                <a:uLnTx/>
                <a:uFillTx/>
                <a:latin typeface="+mj-ea"/>
                <a:ea typeface="+mj-ea"/>
                <a:cs typeface="+mn-cs"/>
              </a:rPr>
              <a:t>2021</a:t>
            </a:r>
            <a:endParaRPr kumimoji="0" lang="zh-CN" altLang="en-US" sz="2400" b="0" i="0" u="none" strike="noStrike" kern="1200" cap="none" spc="0" normalizeH="0" baseline="0" noProof="0" dirty="0">
              <a:ln>
                <a:noFill/>
              </a:ln>
              <a:solidFill>
                <a:schemeClr val="accent1"/>
              </a:solidFill>
              <a:uLnTx/>
              <a:uFillTx/>
              <a:latin typeface="+mj-ea"/>
              <a:ea typeface="+mj-ea"/>
              <a:cs typeface="+mn-cs"/>
            </a:endParaRPr>
          </a:p>
        </p:txBody>
      </p:sp>
      <p:sp>
        <p:nvSpPr>
          <p:cNvPr id="30" name="文本框 29">
            <a:extLst>
              <a:ext uri="{FF2B5EF4-FFF2-40B4-BE49-F238E27FC236}">
                <a16:creationId xmlns:a16="http://schemas.microsoft.com/office/drawing/2014/main" id="{F265CCDB-E2FD-4F70-B13F-6041C7723737}"/>
              </a:ext>
            </a:extLst>
          </p:cNvPr>
          <p:cNvSpPr txBox="1"/>
          <p:nvPr/>
        </p:nvSpPr>
        <p:spPr>
          <a:xfrm>
            <a:off x="4212769" y="4431132"/>
            <a:ext cx="2937087" cy="738664"/>
          </a:xfrm>
          <a:prstGeom prst="rect">
            <a:avLst/>
          </a:prstGeom>
          <a:noFill/>
        </p:spPr>
        <p:txBody>
          <a:bodyPr wrap="square" rtlCol="0">
            <a:spAutoFit/>
          </a:bodyPr>
          <a:lstStyle/>
          <a:p>
            <a:pPr algn="just"/>
            <a:r>
              <a:rPr lang="en-US" altLang="zh-CN" sz="1400" dirty="0"/>
              <a:t>Lorem ipsum dolor sit amet, consectetur adipisicing elit, sed do eiusmod tempor</a:t>
            </a:r>
            <a:endParaRPr lang="zh-CN" altLang="en-US" sz="1400" dirty="0"/>
          </a:p>
        </p:txBody>
      </p:sp>
      <p:sp>
        <p:nvSpPr>
          <p:cNvPr id="31" name="文本框 30">
            <a:extLst>
              <a:ext uri="{FF2B5EF4-FFF2-40B4-BE49-F238E27FC236}">
                <a16:creationId xmlns:a16="http://schemas.microsoft.com/office/drawing/2014/main" id="{48591893-FF88-4CFC-A0E9-09D6143A29EA}"/>
              </a:ext>
            </a:extLst>
          </p:cNvPr>
          <p:cNvSpPr txBox="1"/>
          <p:nvPr/>
        </p:nvSpPr>
        <p:spPr>
          <a:xfrm>
            <a:off x="4212769" y="4009067"/>
            <a:ext cx="938078" cy="461665"/>
          </a:xfrm>
          <a:prstGeom prst="rect">
            <a:avLst/>
          </a:prstGeom>
          <a:noFill/>
          <a:effectLst>
            <a:outerShdw blurRad="76200" dir="13500000" sy="23000" kx="1200000" algn="br" rotWithShape="0">
              <a:prstClr val="black">
                <a:alpha val="20000"/>
              </a:prstClr>
            </a:outerShdw>
          </a:effectLst>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2400" b="0" i="0" u="none" strike="noStrike" kern="1200" cap="none" spc="0" normalizeH="0" baseline="0" noProof="0" dirty="0">
                <a:ln>
                  <a:noFill/>
                </a:ln>
                <a:solidFill>
                  <a:schemeClr val="accent1"/>
                </a:solidFill>
                <a:uLnTx/>
                <a:uFillTx/>
                <a:latin typeface="+mj-ea"/>
                <a:ea typeface="+mj-ea"/>
                <a:cs typeface="+mn-cs"/>
              </a:rPr>
              <a:t>2019</a:t>
            </a:r>
            <a:endParaRPr kumimoji="0" lang="zh-CN" altLang="en-US" sz="2400" b="0" i="0" u="none" strike="noStrike" kern="1200" cap="none" spc="0" normalizeH="0" baseline="0" noProof="0" dirty="0">
              <a:ln>
                <a:noFill/>
              </a:ln>
              <a:solidFill>
                <a:schemeClr val="accent1"/>
              </a:solidFill>
              <a:uLnTx/>
              <a:uFillTx/>
              <a:latin typeface="+mj-ea"/>
              <a:ea typeface="+mj-ea"/>
              <a:cs typeface="+mn-cs"/>
            </a:endParaRPr>
          </a:p>
        </p:txBody>
      </p:sp>
    </p:spTree>
    <p:extLst>
      <p:ext uri="{BB962C8B-B14F-4D97-AF65-F5344CB8AC3E}">
        <p14:creationId xmlns:p14="http://schemas.microsoft.com/office/powerpoint/2010/main" val="4118484197"/>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4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平行四边形 3">
            <a:extLst>
              <a:ext uri="{FF2B5EF4-FFF2-40B4-BE49-F238E27FC236}">
                <a16:creationId xmlns:a16="http://schemas.microsoft.com/office/drawing/2014/main" id="{399B63BE-5E75-4BEE-8AED-5A97327859AD}"/>
              </a:ext>
            </a:extLst>
          </p:cNvPr>
          <p:cNvSpPr/>
          <p:nvPr/>
        </p:nvSpPr>
        <p:spPr>
          <a:xfrm>
            <a:off x="3746500" y="3585546"/>
            <a:ext cx="2413000" cy="508000"/>
          </a:xfrm>
          <a:prstGeom prst="parallelogram">
            <a:avLst>
              <a:gd name="adj" fmla="val 67500"/>
            </a:avLst>
          </a:prstGeom>
          <a:solidFill>
            <a:schemeClr val="accent1">
              <a:lumMod val="75000"/>
              <a:lumOff val="25000"/>
            </a:schemeClr>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12" name="直接连接符 11">
            <a:extLst>
              <a:ext uri="{FF2B5EF4-FFF2-40B4-BE49-F238E27FC236}">
                <a16:creationId xmlns:a16="http://schemas.microsoft.com/office/drawing/2014/main" id="{1A6ECBB9-5D89-4854-BA5D-2EA5510B0988}"/>
              </a:ext>
            </a:extLst>
          </p:cNvPr>
          <p:cNvCxnSpPr>
            <a:cxnSpLocks/>
          </p:cNvCxnSpPr>
          <p:nvPr/>
        </p:nvCxnSpPr>
        <p:spPr>
          <a:xfrm>
            <a:off x="4953000" y="2902921"/>
            <a:ext cx="0" cy="682625"/>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16" name="椭圆 15">
            <a:extLst>
              <a:ext uri="{FF2B5EF4-FFF2-40B4-BE49-F238E27FC236}">
                <a16:creationId xmlns:a16="http://schemas.microsoft.com/office/drawing/2014/main" id="{B438C52B-840A-439B-8DD9-C1ADB7108047}"/>
              </a:ext>
            </a:extLst>
          </p:cNvPr>
          <p:cNvSpPr/>
          <p:nvPr/>
        </p:nvSpPr>
        <p:spPr>
          <a:xfrm>
            <a:off x="4902200" y="2852121"/>
            <a:ext cx="101600" cy="101600"/>
          </a:xfrm>
          <a:prstGeom prst="ellipse">
            <a:avLst/>
          </a:pr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8" name="文本框 17">
            <a:extLst>
              <a:ext uri="{FF2B5EF4-FFF2-40B4-BE49-F238E27FC236}">
                <a16:creationId xmlns:a16="http://schemas.microsoft.com/office/drawing/2014/main" id="{5B66A73E-0DE4-4DAA-BDF1-BA5A669BEA2E}"/>
              </a:ext>
            </a:extLst>
          </p:cNvPr>
          <p:cNvSpPr txBox="1"/>
          <p:nvPr/>
        </p:nvSpPr>
        <p:spPr>
          <a:xfrm>
            <a:off x="3484457" y="1898014"/>
            <a:ext cx="2937087" cy="738664"/>
          </a:xfrm>
          <a:prstGeom prst="rect">
            <a:avLst/>
          </a:prstGeom>
          <a:noFill/>
        </p:spPr>
        <p:txBody>
          <a:bodyPr wrap="square" rtlCol="0">
            <a:spAutoFit/>
          </a:bodyPr>
          <a:lstStyle/>
          <a:p>
            <a:pPr algn="just"/>
            <a:r>
              <a:rPr lang="en-US" altLang="zh-CN" sz="1400" dirty="0"/>
              <a:t>Lorem ipsum dolor sit amet, consectetur adipisicing elit, sed do eiusmod tempor</a:t>
            </a:r>
            <a:endParaRPr lang="zh-CN" altLang="en-US" sz="1400" dirty="0"/>
          </a:p>
        </p:txBody>
      </p:sp>
      <p:sp>
        <p:nvSpPr>
          <p:cNvPr id="19" name="文本框 18">
            <a:extLst>
              <a:ext uri="{FF2B5EF4-FFF2-40B4-BE49-F238E27FC236}">
                <a16:creationId xmlns:a16="http://schemas.microsoft.com/office/drawing/2014/main" id="{6D093128-DE17-4A4F-AA5B-92ED76982551}"/>
              </a:ext>
            </a:extLst>
          </p:cNvPr>
          <p:cNvSpPr txBox="1"/>
          <p:nvPr/>
        </p:nvSpPr>
        <p:spPr>
          <a:xfrm>
            <a:off x="4483961" y="1475949"/>
            <a:ext cx="938078" cy="461665"/>
          </a:xfrm>
          <a:prstGeom prst="rect">
            <a:avLst/>
          </a:prstGeom>
          <a:noFill/>
          <a:effectLst>
            <a:outerShdw blurRad="76200" dir="13500000" sy="23000" kx="1200000" algn="br" rotWithShape="0">
              <a:prstClr val="black">
                <a:alpha val="20000"/>
              </a:prstClr>
            </a:outerShdw>
          </a:effectLst>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2400" b="0" i="0" u="none" strike="noStrike" kern="1200" cap="none" spc="0" normalizeH="0" baseline="0" noProof="0" dirty="0">
                <a:ln>
                  <a:noFill/>
                </a:ln>
                <a:solidFill>
                  <a:schemeClr val="accent1"/>
                </a:solidFill>
                <a:uLnTx/>
                <a:uFillTx/>
                <a:latin typeface="+mj-ea"/>
                <a:ea typeface="+mj-ea"/>
                <a:cs typeface="+mn-cs"/>
              </a:rPr>
              <a:t>2019</a:t>
            </a:r>
            <a:endParaRPr kumimoji="0" lang="zh-CN" altLang="en-US" sz="2400" b="0" i="0" u="none" strike="noStrike" kern="1200" cap="none" spc="0" normalizeH="0" baseline="0" noProof="0" dirty="0">
              <a:ln>
                <a:noFill/>
              </a:ln>
              <a:solidFill>
                <a:schemeClr val="accent1"/>
              </a:solidFill>
              <a:uLnTx/>
              <a:uFillTx/>
              <a:latin typeface="+mj-ea"/>
              <a:ea typeface="+mj-ea"/>
              <a:cs typeface="+mn-cs"/>
            </a:endParaRPr>
          </a:p>
        </p:txBody>
      </p:sp>
      <p:sp>
        <p:nvSpPr>
          <p:cNvPr id="6" name="平行四边形 5">
            <a:extLst>
              <a:ext uri="{FF2B5EF4-FFF2-40B4-BE49-F238E27FC236}">
                <a16:creationId xmlns:a16="http://schemas.microsoft.com/office/drawing/2014/main" id="{7832C6C7-4EB8-4EDD-B8D7-B756C526F2D9}"/>
              </a:ext>
            </a:extLst>
          </p:cNvPr>
          <p:cNvSpPr/>
          <p:nvPr/>
        </p:nvSpPr>
        <p:spPr>
          <a:xfrm>
            <a:off x="8216900" y="3585546"/>
            <a:ext cx="2413000" cy="508000"/>
          </a:xfrm>
          <a:prstGeom prst="parallelogram">
            <a:avLst>
              <a:gd name="adj" fmla="val 67500"/>
            </a:avLst>
          </a:prstGeom>
          <a:solidFill>
            <a:schemeClr val="accent1">
              <a:lumMod val="75000"/>
              <a:lumOff val="25000"/>
            </a:schemeClr>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13" name="直接连接符 12">
            <a:extLst>
              <a:ext uri="{FF2B5EF4-FFF2-40B4-BE49-F238E27FC236}">
                <a16:creationId xmlns:a16="http://schemas.microsoft.com/office/drawing/2014/main" id="{3D074A67-E4DA-4794-A3AC-72D8B8B162F1}"/>
              </a:ext>
            </a:extLst>
          </p:cNvPr>
          <p:cNvCxnSpPr>
            <a:cxnSpLocks/>
          </p:cNvCxnSpPr>
          <p:nvPr/>
        </p:nvCxnSpPr>
        <p:spPr>
          <a:xfrm>
            <a:off x="9423400" y="2902921"/>
            <a:ext cx="0" cy="682625"/>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17" name="椭圆 16">
            <a:extLst>
              <a:ext uri="{FF2B5EF4-FFF2-40B4-BE49-F238E27FC236}">
                <a16:creationId xmlns:a16="http://schemas.microsoft.com/office/drawing/2014/main" id="{BD6A3A01-7876-4A7B-BAF6-60D9E866637D}"/>
              </a:ext>
            </a:extLst>
          </p:cNvPr>
          <p:cNvSpPr/>
          <p:nvPr/>
        </p:nvSpPr>
        <p:spPr>
          <a:xfrm>
            <a:off x="9372600" y="2852121"/>
            <a:ext cx="101600" cy="101600"/>
          </a:xfrm>
          <a:prstGeom prst="ellipse">
            <a:avLst/>
          </a:pr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0" name="文本框 19">
            <a:extLst>
              <a:ext uri="{FF2B5EF4-FFF2-40B4-BE49-F238E27FC236}">
                <a16:creationId xmlns:a16="http://schemas.microsoft.com/office/drawing/2014/main" id="{872F3B19-BAAF-4F8A-8833-CB80236D6525}"/>
              </a:ext>
            </a:extLst>
          </p:cNvPr>
          <p:cNvSpPr txBox="1"/>
          <p:nvPr/>
        </p:nvSpPr>
        <p:spPr>
          <a:xfrm>
            <a:off x="7954857" y="1898014"/>
            <a:ext cx="2937087" cy="738664"/>
          </a:xfrm>
          <a:prstGeom prst="rect">
            <a:avLst/>
          </a:prstGeom>
          <a:noFill/>
        </p:spPr>
        <p:txBody>
          <a:bodyPr wrap="square" rtlCol="0">
            <a:spAutoFit/>
          </a:bodyPr>
          <a:lstStyle/>
          <a:p>
            <a:pPr algn="just"/>
            <a:r>
              <a:rPr lang="en-US" altLang="zh-CN" sz="1400" dirty="0"/>
              <a:t>Lorem ipsum dolor sit amet, consectetur adipisicing elit, sed do eiusmod tempor</a:t>
            </a:r>
            <a:endParaRPr lang="zh-CN" altLang="en-US" sz="1400" dirty="0"/>
          </a:p>
        </p:txBody>
      </p:sp>
      <p:sp>
        <p:nvSpPr>
          <p:cNvPr id="21" name="文本框 20">
            <a:extLst>
              <a:ext uri="{FF2B5EF4-FFF2-40B4-BE49-F238E27FC236}">
                <a16:creationId xmlns:a16="http://schemas.microsoft.com/office/drawing/2014/main" id="{D7371227-DB15-439D-BBE0-97E2E285D960}"/>
              </a:ext>
            </a:extLst>
          </p:cNvPr>
          <p:cNvSpPr txBox="1"/>
          <p:nvPr/>
        </p:nvSpPr>
        <p:spPr>
          <a:xfrm>
            <a:off x="8954362" y="1475949"/>
            <a:ext cx="938077" cy="461665"/>
          </a:xfrm>
          <a:prstGeom prst="rect">
            <a:avLst/>
          </a:prstGeom>
          <a:noFill/>
          <a:effectLst>
            <a:outerShdw blurRad="76200" dir="13500000" sy="23000" kx="1200000" algn="br" rotWithShape="0">
              <a:prstClr val="black">
                <a:alpha val="20000"/>
              </a:prstClr>
            </a:outerShdw>
          </a:effectLst>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2400" b="0" i="0" u="none" strike="noStrike" kern="1200" cap="none" spc="0" normalizeH="0" baseline="0" noProof="0" dirty="0">
                <a:ln>
                  <a:noFill/>
                </a:ln>
                <a:solidFill>
                  <a:schemeClr val="accent1"/>
                </a:solidFill>
                <a:uLnTx/>
                <a:uFillTx/>
                <a:latin typeface="+mj-ea"/>
                <a:ea typeface="+mj-ea"/>
                <a:cs typeface="+mn-cs"/>
              </a:rPr>
              <a:t>2021</a:t>
            </a:r>
            <a:endParaRPr kumimoji="0" lang="zh-CN" altLang="en-US" sz="2400" b="0" i="0" u="none" strike="noStrike" kern="1200" cap="none" spc="0" normalizeH="0" baseline="0" noProof="0" dirty="0">
              <a:ln>
                <a:noFill/>
              </a:ln>
              <a:solidFill>
                <a:schemeClr val="accent1"/>
              </a:solidFill>
              <a:uLnTx/>
              <a:uFillTx/>
              <a:latin typeface="+mj-ea"/>
              <a:ea typeface="+mj-ea"/>
              <a:cs typeface="+mn-cs"/>
            </a:endParaRPr>
          </a:p>
        </p:txBody>
      </p:sp>
      <p:sp>
        <p:nvSpPr>
          <p:cNvPr id="3" name="平行四边形 2">
            <a:extLst>
              <a:ext uri="{FF2B5EF4-FFF2-40B4-BE49-F238E27FC236}">
                <a16:creationId xmlns:a16="http://schemas.microsoft.com/office/drawing/2014/main" id="{5A208A99-99C4-4133-AD97-731844762944}"/>
              </a:ext>
            </a:extLst>
          </p:cNvPr>
          <p:cNvSpPr/>
          <p:nvPr/>
        </p:nvSpPr>
        <p:spPr>
          <a:xfrm>
            <a:off x="1511300" y="3585546"/>
            <a:ext cx="2413000" cy="508000"/>
          </a:xfrm>
          <a:prstGeom prst="parallelogram">
            <a:avLst>
              <a:gd name="adj" fmla="val 67500"/>
            </a:avLst>
          </a:pr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9" name="直接连接符 8">
            <a:extLst>
              <a:ext uri="{FF2B5EF4-FFF2-40B4-BE49-F238E27FC236}">
                <a16:creationId xmlns:a16="http://schemas.microsoft.com/office/drawing/2014/main" id="{15EF3F8A-639D-4A22-B4B2-F5A03F3768A3}"/>
              </a:ext>
            </a:extLst>
          </p:cNvPr>
          <p:cNvCxnSpPr>
            <a:cxnSpLocks/>
          </p:cNvCxnSpPr>
          <p:nvPr/>
        </p:nvCxnSpPr>
        <p:spPr>
          <a:xfrm>
            <a:off x="2717800" y="4093545"/>
            <a:ext cx="0" cy="682625"/>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14" name="椭圆 13">
            <a:extLst>
              <a:ext uri="{FF2B5EF4-FFF2-40B4-BE49-F238E27FC236}">
                <a16:creationId xmlns:a16="http://schemas.microsoft.com/office/drawing/2014/main" id="{0562619F-44C4-47AA-9475-6964AF12523F}"/>
              </a:ext>
            </a:extLst>
          </p:cNvPr>
          <p:cNvSpPr/>
          <p:nvPr/>
        </p:nvSpPr>
        <p:spPr>
          <a:xfrm>
            <a:off x="2667000" y="4725371"/>
            <a:ext cx="101600" cy="101600"/>
          </a:xfrm>
          <a:prstGeom prst="ellipse">
            <a:avLst/>
          </a:pr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4" name="文本框 23">
            <a:extLst>
              <a:ext uri="{FF2B5EF4-FFF2-40B4-BE49-F238E27FC236}">
                <a16:creationId xmlns:a16="http://schemas.microsoft.com/office/drawing/2014/main" id="{2A00AD04-99B6-4B66-8EFB-267DCC53CC01}"/>
              </a:ext>
            </a:extLst>
          </p:cNvPr>
          <p:cNvSpPr txBox="1"/>
          <p:nvPr/>
        </p:nvSpPr>
        <p:spPr>
          <a:xfrm>
            <a:off x="1249257" y="5291706"/>
            <a:ext cx="2937087" cy="738664"/>
          </a:xfrm>
          <a:prstGeom prst="rect">
            <a:avLst/>
          </a:prstGeom>
          <a:noFill/>
        </p:spPr>
        <p:txBody>
          <a:bodyPr wrap="square" rtlCol="0">
            <a:spAutoFit/>
          </a:bodyPr>
          <a:lstStyle/>
          <a:p>
            <a:pPr algn="just"/>
            <a:r>
              <a:rPr lang="en-US" altLang="zh-CN" sz="1400" dirty="0"/>
              <a:t>Lorem ipsum dolor sit amet, consectetur adipisicing elit, sed do eiusmod tempor</a:t>
            </a:r>
            <a:endParaRPr lang="zh-CN" altLang="en-US" sz="1400" dirty="0"/>
          </a:p>
        </p:txBody>
      </p:sp>
      <p:sp>
        <p:nvSpPr>
          <p:cNvPr id="25" name="文本框 24">
            <a:extLst>
              <a:ext uri="{FF2B5EF4-FFF2-40B4-BE49-F238E27FC236}">
                <a16:creationId xmlns:a16="http://schemas.microsoft.com/office/drawing/2014/main" id="{8FAB7361-53B6-4B42-B3D8-0F72CABE768D}"/>
              </a:ext>
            </a:extLst>
          </p:cNvPr>
          <p:cNvSpPr txBox="1"/>
          <p:nvPr/>
        </p:nvSpPr>
        <p:spPr>
          <a:xfrm>
            <a:off x="2248761" y="4869641"/>
            <a:ext cx="938078" cy="461665"/>
          </a:xfrm>
          <a:prstGeom prst="rect">
            <a:avLst/>
          </a:prstGeom>
          <a:noFill/>
          <a:effectLst>
            <a:outerShdw blurRad="76200" dir="13500000" sy="23000" kx="1200000" algn="br" rotWithShape="0">
              <a:prstClr val="black">
                <a:alpha val="20000"/>
              </a:prstClr>
            </a:outerShdw>
          </a:effectLst>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2400" b="0" i="0" u="none" strike="noStrike" kern="1200" cap="none" spc="0" normalizeH="0" baseline="0" noProof="0" dirty="0">
                <a:ln>
                  <a:noFill/>
                </a:ln>
                <a:solidFill>
                  <a:schemeClr val="accent1"/>
                </a:solidFill>
                <a:uLnTx/>
                <a:uFillTx/>
                <a:latin typeface="+mj-ea"/>
                <a:ea typeface="+mj-ea"/>
                <a:cs typeface="+mn-cs"/>
              </a:rPr>
              <a:t>2018</a:t>
            </a:r>
            <a:endParaRPr kumimoji="0" lang="zh-CN" altLang="en-US" sz="2400" b="0" i="0" u="none" strike="noStrike" kern="1200" cap="none" spc="0" normalizeH="0" baseline="0" noProof="0" dirty="0">
              <a:ln>
                <a:noFill/>
              </a:ln>
              <a:solidFill>
                <a:schemeClr val="accent1"/>
              </a:solidFill>
              <a:uLnTx/>
              <a:uFillTx/>
              <a:latin typeface="+mj-ea"/>
              <a:ea typeface="+mj-ea"/>
              <a:cs typeface="+mn-cs"/>
            </a:endParaRPr>
          </a:p>
        </p:txBody>
      </p:sp>
      <p:sp>
        <p:nvSpPr>
          <p:cNvPr id="5" name="平行四边形 4">
            <a:extLst>
              <a:ext uri="{FF2B5EF4-FFF2-40B4-BE49-F238E27FC236}">
                <a16:creationId xmlns:a16="http://schemas.microsoft.com/office/drawing/2014/main" id="{BEDD4301-C129-4C58-95A7-CD06BF333834}"/>
              </a:ext>
            </a:extLst>
          </p:cNvPr>
          <p:cNvSpPr/>
          <p:nvPr/>
        </p:nvSpPr>
        <p:spPr>
          <a:xfrm>
            <a:off x="5981700" y="3585546"/>
            <a:ext cx="2413000" cy="508000"/>
          </a:xfrm>
          <a:prstGeom prst="parallelogram">
            <a:avLst>
              <a:gd name="adj" fmla="val 67500"/>
            </a:avLst>
          </a:pr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11" name="直接连接符 10">
            <a:extLst>
              <a:ext uri="{FF2B5EF4-FFF2-40B4-BE49-F238E27FC236}">
                <a16:creationId xmlns:a16="http://schemas.microsoft.com/office/drawing/2014/main" id="{9F601F41-1175-4D62-834A-4CF40DB7937F}"/>
              </a:ext>
            </a:extLst>
          </p:cNvPr>
          <p:cNvCxnSpPr>
            <a:cxnSpLocks/>
          </p:cNvCxnSpPr>
          <p:nvPr/>
        </p:nvCxnSpPr>
        <p:spPr>
          <a:xfrm>
            <a:off x="7188200" y="4093545"/>
            <a:ext cx="0" cy="682625"/>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15" name="椭圆 14">
            <a:extLst>
              <a:ext uri="{FF2B5EF4-FFF2-40B4-BE49-F238E27FC236}">
                <a16:creationId xmlns:a16="http://schemas.microsoft.com/office/drawing/2014/main" id="{FB989F6F-24EB-4C4F-8DDA-923FBAD5495F}"/>
              </a:ext>
            </a:extLst>
          </p:cNvPr>
          <p:cNvSpPr/>
          <p:nvPr/>
        </p:nvSpPr>
        <p:spPr>
          <a:xfrm>
            <a:off x="7137400" y="4725371"/>
            <a:ext cx="101600" cy="101600"/>
          </a:xfrm>
          <a:prstGeom prst="ellipse">
            <a:avLst/>
          </a:pr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6" name="文本框 25">
            <a:extLst>
              <a:ext uri="{FF2B5EF4-FFF2-40B4-BE49-F238E27FC236}">
                <a16:creationId xmlns:a16="http://schemas.microsoft.com/office/drawing/2014/main" id="{0E3E734A-165D-498F-9A2A-2FB2F8859D77}"/>
              </a:ext>
            </a:extLst>
          </p:cNvPr>
          <p:cNvSpPr txBox="1"/>
          <p:nvPr/>
        </p:nvSpPr>
        <p:spPr>
          <a:xfrm>
            <a:off x="5719657" y="5291706"/>
            <a:ext cx="2937087" cy="738664"/>
          </a:xfrm>
          <a:prstGeom prst="rect">
            <a:avLst/>
          </a:prstGeom>
          <a:noFill/>
        </p:spPr>
        <p:txBody>
          <a:bodyPr wrap="square" rtlCol="0">
            <a:spAutoFit/>
          </a:bodyPr>
          <a:lstStyle/>
          <a:p>
            <a:pPr algn="just"/>
            <a:r>
              <a:rPr lang="en-US" altLang="zh-CN" sz="1400" dirty="0"/>
              <a:t>Lorem ipsum dolor sit amet, consectetur adipisicing elit, sed do eiusmod tempor</a:t>
            </a:r>
            <a:endParaRPr lang="zh-CN" altLang="en-US" sz="1400" dirty="0"/>
          </a:p>
        </p:txBody>
      </p:sp>
      <p:sp>
        <p:nvSpPr>
          <p:cNvPr id="27" name="文本框 26">
            <a:extLst>
              <a:ext uri="{FF2B5EF4-FFF2-40B4-BE49-F238E27FC236}">
                <a16:creationId xmlns:a16="http://schemas.microsoft.com/office/drawing/2014/main" id="{878DCB1E-551C-4994-A26F-55D08B5D0E19}"/>
              </a:ext>
            </a:extLst>
          </p:cNvPr>
          <p:cNvSpPr txBox="1"/>
          <p:nvPr/>
        </p:nvSpPr>
        <p:spPr>
          <a:xfrm>
            <a:off x="6691910" y="4869641"/>
            <a:ext cx="992580" cy="461665"/>
          </a:xfrm>
          <a:prstGeom prst="rect">
            <a:avLst/>
          </a:prstGeom>
          <a:noFill/>
          <a:effectLst>
            <a:outerShdw blurRad="76200" dir="13500000" sy="23000" kx="1200000" algn="br" rotWithShape="0">
              <a:prstClr val="black">
                <a:alpha val="20000"/>
              </a:prstClr>
            </a:outerShdw>
          </a:effectLst>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2400" b="0" i="0" u="none" strike="noStrike" kern="1200" cap="none" spc="0" normalizeH="0" baseline="0" noProof="0" dirty="0">
                <a:ln>
                  <a:noFill/>
                </a:ln>
                <a:solidFill>
                  <a:schemeClr val="accent1"/>
                </a:solidFill>
                <a:uLnTx/>
                <a:uFillTx/>
                <a:latin typeface="+mj-ea"/>
                <a:ea typeface="+mj-ea"/>
                <a:cs typeface="+mn-cs"/>
              </a:rPr>
              <a:t>2020</a:t>
            </a:r>
            <a:endParaRPr kumimoji="0" lang="zh-CN" altLang="en-US" sz="2400" b="0" i="0" u="none" strike="noStrike" kern="1200" cap="none" spc="0" normalizeH="0" baseline="0" noProof="0" dirty="0">
              <a:ln>
                <a:noFill/>
              </a:ln>
              <a:solidFill>
                <a:schemeClr val="accent1"/>
              </a:solidFill>
              <a:uLnTx/>
              <a:uFillTx/>
              <a:latin typeface="+mj-ea"/>
              <a:ea typeface="+mj-ea"/>
              <a:cs typeface="+mn-cs"/>
            </a:endParaRPr>
          </a:p>
        </p:txBody>
      </p:sp>
    </p:spTree>
    <p:extLst>
      <p:ext uri="{BB962C8B-B14F-4D97-AF65-F5344CB8AC3E}">
        <p14:creationId xmlns:p14="http://schemas.microsoft.com/office/powerpoint/2010/main" val="3030458270"/>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文本框 10">
            <a:extLst>
              <a:ext uri="{FF2B5EF4-FFF2-40B4-BE49-F238E27FC236}">
                <a16:creationId xmlns:a16="http://schemas.microsoft.com/office/drawing/2014/main" id="{E4393356-E9A7-46D9-B5F5-0D21EC991A29}"/>
              </a:ext>
            </a:extLst>
          </p:cNvPr>
          <p:cNvSpPr txBox="1"/>
          <p:nvPr/>
        </p:nvSpPr>
        <p:spPr>
          <a:xfrm>
            <a:off x="2372817" y="3181747"/>
            <a:ext cx="8309967" cy="1107996"/>
          </a:xfrm>
          <a:prstGeom prst="rect">
            <a:avLst/>
          </a:prstGeom>
          <a:noFill/>
        </p:spPr>
        <p:txBody>
          <a:bodyPr wrap="none" lIns="0" tIns="0" rIns="0" bIns="0" rtlCol="0" anchor="t">
            <a:spAutoFit/>
          </a:bodyPr>
          <a:lstStyle/>
          <a:p>
            <a:pPr algn="ctr"/>
            <a:r>
              <a:rPr lang="zh-CN" altLang="en-US" sz="7200" dirty="0">
                <a:solidFill>
                  <a:schemeClr val="accent1">
                    <a:lumMod val="100000"/>
                  </a:schemeClr>
                </a:solidFill>
                <a:latin typeface="+mj-ea"/>
                <a:ea typeface="+mj-ea"/>
              </a:rPr>
              <a:t>输入你的封面大标题</a:t>
            </a:r>
          </a:p>
        </p:txBody>
      </p:sp>
      <p:sp>
        <p:nvSpPr>
          <p:cNvPr id="12" name="文本框 11">
            <a:extLst>
              <a:ext uri="{FF2B5EF4-FFF2-40B4-BE49-F238E27FC236}">
                <a16:creationId xmlns:a16="http://schemas.microsoft.com/office/drawing/2014/main" id="{08D1ED60-C0E7-408E-A5AA-59B489440FCB}"/>
              </a:ext>
            </a:extLst>
          </p:cNvPr>
          <p:cNvSpPr txBox="1"/>
          <p:nvPr/>
        </p:nvSpPr>
        <p:spPr>
          <a:xfrm>
            <a:off x="2461768" y="2643823"/>
            <a:ext cx="4001095" cy="369332"/>
          </a:xfrm>
          <a:prstGeom prst="rect">
            <a:avLst/>
          </a:prstGeom>
          <a:noFill/>
        </p:spPr>
        <p:txBody>
          <a:bodyPr wrap="none" lIns="0" tIns="0" rIns="0" bIns="0" rtlCol="0" anchor="t">
            <a:spAutoFit/>
          </a:bodyPr>
          <a:lstStyle/>
          <a:p>
            <a:pPr algn="ctr"/>
            <a:r>
              <a:rPr lang="zh-CN" altLang="en-US" sz="2400" dirty="0">
                <a:solidFill>
                  <a:schemeClr val="accent1">
                    <a:lumMod val="100000"/>
                  </a:schemeClr>
                </a:solidFill>
                <a:latin typeface="+mn-ea"/>
              </a:rPr>
              <a:t>输入你的副标题或大标题英文</a:t>
            </a:r>
          </a:p>
        </p:txBody>
      </p:sp>
      <p:cxnSp>
        <p:nvCxnSpPr>
          <p:cNvPr id="15" name="直接连接符 14">
            <a:extLst>
              <a:ext uri="{FF2B5EF4-FFF2-40B4-BE49-F238E27FC236}">
                <a16:creationId xmlns:a16="http://schemas.microsoft.com/office/drawing/2014/main" id="{C6CC629A-E754-4728-BB95-563C56597B63}"/>
              </a:ext>
            </a:extLst>
          </p:cNvPr>
          <p:cNvCxnSpPr>
            <a:cxnSpLocks/>
          </p:cNvCxnSpPr>
          <p:nvPr/>
        </p:nvCxnSpPr>
        <p:spPr>
          <a:xfrm flipH="1">
            <a:off x="6604000" y="2834275"/>
            <a:ext cx="4014216" cy="0"/>
          </a:xfrm>
          <a:prstGeom prst="line">
            <a:avLst/>
          </a:prstGeom>
          <a:ln w="19050">
            <a:solidFill>
              <a:schemeClr val="accent1">
                <a:lumMod val="100000"/>
              </a:schemeClr>
            </a:solidFill>
          </a:ln>
        </p:spPr>
        <p:style>
          <a:lnRef idx="1">
            <a:schemeClr val="accent1"/>
          </a:lnRef>
          <a:fillRef idx="0">
            <a:schemeClr val="accent1"/>
          </a:fillRef>
          <a:effectRef idx="0">
            <a:schemeClr val="accent1"/>
          </a:effectRef>
          <a:fontRef idx="minor">
            <a:schemeClr val="tx1"/>
          </a:fontRef>
        </p:style>
      </p:cxnSp>
      <p:grpSp>
        <p:nvGrpSpPr>
          <p:cNvPr id="18" name="组合 17">
            <a:extLst>
              <a:ext uri="{FF2B5EF4-FFF2-40B4-BE49-F238E27FC236}">
                <a16:creationId xmlns:a16="http://schemas.microsoft.com/office/drawing/2014/main" id="{FC799265-AC15-410F-82A2-679AB60B288F}"/>
              </a:ext>
            </a:extLst>
          </p:cNvPr>
          <p:cNvGrpSpPr/>
          <p:nvPr/>
        </p:nvGrpSpPr>
        <p:grpSpPr>
          <a:xfrm>
            <a:off x="2140240" y="4637214"/>
            <a:ext cx="1475214" cy="246221"/>
            <a:chOff x="4095451" y="4640913"/>
            <a:chExt cx="1475214" cy="246221"/>
          </a:xfrm>
        </p:grpSpPr>
        <p:sp>
          <p:nvSpPr>
            <p:cNvPr id="16" name="矩形 15">
              <a:extLst>
                <a:ext uri="{FF2B5EF4-FFF2-40B4-BE49-F238E27FC236}">
                  <a16:creationId xmlns:a16="http://schemas.microsoft.com/office/drawing/2014/main" id="{74C493E7-1B47-4349-BC5B-BF3163490795}"/>
                </a:ext>
              </a:extLst>
            </p:cNvPr>
            <p:cNvSpPr/>
            <p:nvPr/>
          </p:nvSpPr>
          <p:spPr>
            <a:xfrm>
              <a:off x="4095451" y="4672584"/>
              <a:ext cx="164592" cy="164592"/>
            </a:xfrm>
            <a:prstGeom prst="rect">
              <a:avLst/>
            </a:prstGeom>
            <a:solidFill>
              <a:schemeClr val="accent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p>
          </p:txBody>
        </p:sp>
        <p:sp>
          <p:nvSpPr>
            <p:cNvPr id="17" name="文本框 16">
              <a:extLst>
                <a:ext uri="{FF2B5EF4-FFF2-40B4-BE49-F238E27FC236}">
                  <a16:creationId xmlns:a16="http://schemas.microsoft.com/office/drawing/2014/main" id="{B804F6AA-7656-4EF8-84F0-3B3FB5CF0922}"/>
                </a:ext>
              </a:extLst>
            </p:cNvPr>
            <p:cNvSpPr txBox="1"/>
            <p:nvPr/>
          </p:nvSpPr>
          <p:spPr>
            <a:xfrm>
              <a:off x="4408487" y="4640913"/>
              <a:ext cx="1162178" cy="246221"/>
            </a:xfrm>
            <a:prstGeom prst="rect">
              <a:avLst/>
            </a:prstGeom>
            <a:noFill/>
          </p:spPr>
          <p:txBody>
            <a:bodyPr wrap="none" lIns="0" tIns="0" rIns="0" bIns="0" rtlCol="0" anchor="t">
              <a:spAutoFit/>
            </a:bodyPr>
            <a:lstStyle/>
            <a:p>
              <a:r>
                <a:rPr lang="zh-CN" altLang="en-US" sz="1600" dirty="0">
                  <a:solidFill>
                    <a:schemeClr val="accent1">
                      <a:lumMod val="100000"/>
                    </a:schemeClr>
                  </a:solidFill>
                  <a:latin typeface="+mn-ea"/>
                </a:rPr>
                <a:t>汇报人：</a:t>
              </a:r>
              <a:r>
                <a:rPr lang="en-US" altLang="zh-CN" sz="1600" dirty="0">
                  <a:solidFill>
                    <a:schemeClr val="accent1">
                      <a:lumMod val="100000"/>
                    </a:schemeClr>
                  </a:solidFill>
                  <a:latin typeface="+mn-ea"/>
                </a:rPr>
                <a:t>xxx</a:t>
              </a:r>
              <a:endParaRPr lang="zh-CN" altLang="en-US" sz="1600" dirty="0">
                <a:solidFill>
                  <a:schemeClr val="accent1">
                    <a:lumMod val="100000"/>
                  </a:schemeClr>
                </a:solidFill>
                <a:latin typeface="+mn-ea"/>
              </a:endParaRPr>
            </a:p>
          </p:txBody>
        </p:sp>
      </p:grpSp>
      <p:grpSp>
        <p:nvGrpSpPr>
          <p:cNvPr id="19" name="组合 18">
            <a:extLst>
              <a:ext uri="{FF2B5EF4-FFF2-40B4-BE49-F238E27FC236}">
                <a16:creationId xmlns:a16="http://schemas.microsoft.com/office/drawing/2014/main" id="{482B1619-178E-45D1-BC39-C5F4314075B6}"/>
              </a:ext>
            </a:extLst>
          </p:cNvPr>
          <p:cNvGrpSpPr/>
          <p:nvPr/>
        </p:nvGrpSpPr>
        <p:grpSpPr>
          <a:xfrm>
            <a:off x="4398808" y="4637214"/>
            <a:ext cx="1270029" cy="246221"/>
            <a:chOff x="4095451" y="4640913"/>
            <a:chExt cx="1270029" cy="246221"/>
          </a:xfrm>
        </p:grpSpPr>
        <p:sp>
          <p:nvSpPr>
            <p:cNvPr id="20" name="矩形 19">
              <a:extLst>
                <a:ext uri="{FF2B5EF4-FFF2-40B4-BE49-F238E27FC236}">
                  <a16:creationId xmlns:a16="http://schemas.microsoft.com/office/drawing/2014/main" id="{3A1AE345-38CE-49BE-9E58-2C20078777A3}"/>
                </a:ext>
              </a:extLst>
            </p:cNvPr>
            <p:cNvSpPr/>
            <p:nvPr/>
          </p:nvSpPr>
          <p:spPr>
            <a:xfrm>
              <a:off x="4095451" y="4672584"/>
              <a:ext cx="164592" cy="164592"/>
            </a:xfrm>
            <a:prstGeom prst="rect">
              <a:avLst/>
            </a:prstGeom>
            <a:solidFill>
              <a:schemeClr val="accent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p>
          </p:txBody>
        </p:sp>
        <p:sp>
          <p:nvSpPr>
            <p:cNvPr id="21" name="文本框 20">
              <a:extLst>
                <a:ext uri="{FF2B5EF4-FFF2-40B4-BE49-F238E27FC236}">
                  <a16:creationId xmlns:a16="http://schemas.microsoft.com/office/drawing/2014/main" id="{FCC3031D-C171-43E7-B549-82FC96054817}"/>
                </a:ext>
              </a:extLst>
            </p:cNvPr>
            <p:cNvSpPr txBox="1"/>
            <p:nvPr/>
          </p:nvSpPr>
          <p:spPr>
            <a:xfrm>
              <a:off x="4408487" y="4640913"/>
              <a:ext cx="956993" cy="246221"/>
            </a:xfrm>
            <a:prstGeom prst="rect">
              <a:avLst/>
            </a:prstGeom>
            <a:noFill/>
          </p:spPr>
          <p:txBody>
            <a:bodyPr wrap="none" lIns="0" tIns="0" rIns="0" bIns="0" rtlCol="0" anchor="t">
              <a:spAutoFit/>
            </a:bodyPr>
            <a:lstStyle/>
            <a:p>
              <a:r>
                <a:rPr lang="zh-CN" altLang="en-US" sz="1600" dirty="0">
                  <a:solidFill>
                    <a:schemeClr val="accent1">
                      <a:lumMod val="100000"/>
                    </a:schemeClr>
                  </a:solidFill>
                  <a:latin typeface="+mn-ea"/>
                </a:rPr>
                <a:t>单位：</a:t>
              </a:r>
              <a:r>
                <a:rPr lang="en-US" altLang="zh-CN" sz="1600" dirty="0">
                  <a:solidFill>
                    <a:schemeClr val="accent1">
                      <a:lumMod val="100000"/>
                    </a:schemeClr>
                  </a:solidFill>
                  <a:latin typeface="+mn-ea"/>
                </a:rPr>
                <a:t>xxx</a:t>
              </a:r>
              <a:endParaRPr lang="zh-CN" altLang="en-US" sz="1600" dirty="0">
                <a:solidFill>
                  <a:schemeClr val="accent1">
                    <a:lumMod val="100000"/>
                  </a:schemeClr>
                </a:solidFill>
                <a:latin typeface="+mn-ea"/>
              </a:endParaRPr>
            </a:p>
          </p:txBody>
        </p:sp>
      </p:grpSp>
      <p:sp>
        <p:nvSpPr>
          <p:cNvPr id="2" name="矩形 1">
            <a:extLst>
              <a:ext uri="{FF2B5EF4-FFF2-40B4-BE49-F238E27FC236}">
                <a16:creationId xmlns:a16="http://schemas.microsoft.com/office/drawing/2014/main" id="{BE77E067-C85E-4716-95AA-0FD0D805A140}"/>
              </a:ext>
            </a:extLst>
          </p:cNvPr>
          <p:cNvSpPr/>
          <p:nvPr/>
        </p:nvSpPr>
        <p:spPr>
          <a:xfrm flipH="1">
            <a:off x="2140240" y="2643823"/>
            <a:ext cx="91440" cy="1519237"/>
          </a:xfrm>
          <a:prstGeom prst="rect">
            <a:avLst/>
          </a:prstGeom>
          <a:solidFill>
            <a:schemeClr val="accent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p>
        </p:txBody>
      </p:sp>
      <p:sp>
        <p:nvSpPr>
          <p:cNvPr id="22" name="任意多边形: 形状 21">
            <a:extLst>
              <a:ext uri="{FF2B5EF4-FFF2-40B4-BE49-F238E27FC236}">
                <a16:creationId xmlns:a16="http://schemas.microsoft.com/office/drawing/2014/main" id="{89FECD56-DCEF-472E-B95D-9F43D47A7AED}"/>
              </a:ext>
            </a:extLst>
          </p:cNvPr>
          <p:cNvSpPr/>
          <p:nvPr/>
        </p:nvSpPr>
        <p:spPr>
          <a:xfrm rot="3743857">
            <a:off x="781621" y="-2402306"/>
            <a:ext cx="2200131" cy="5319673"/>
          </a:xfrm>
          <a:custGeom>
            <a:avLst/>
            <a:gdLst>
              <a:gd name="connsiteX0" fmla="*/ 0 w 2200131"/>
              <a:gd name="connsiteY0" fmla="*/ 4208037 h 5319673"/>
              <a:gd name="connsiteX1" fmla="*/ 2200131 w 2200131"/>
              <a:gd name="connsiteY1" fmla="*/ 0 h 5319673"/>
              <a:gd name="connsiteX2" fmla="*/ 2200131 w 2200131"/>
              <a:gd name="connsiteY2" fmla="*/ 5037686 h 5319673"/>
              <a:gd name="connsiteX3" fmla="*/ 2153299 w 2200131"/>
              <a:gd name="connsiteY3" fmla="*/ 5269652 h 5319673"/>
              <a:gd name="connsiteX4" fmla="*/ 2126149 w 2200131"/>
              <a:gd name="connsiteY4" fmla="*/ 5319673 h 53196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00131" h="5319673">
                <a:moveTo>
                  <a:pt x="0" y="4208037"/>
                </a:moveTo>
                <a:lnTo>
                  <a:pt x="2200131" y="0"/>
                </a:lnTo>
                <a:lnTo>
                  <a:pt x="2200131" y="5037686"/>
                </a:lnTo>
                <a:cubicBezTo>
                  <a:pt x="2200131" y="5119968"/>
                  <a:pt x="2183455" y="5198355"/>
                  <a:pt x="2153299" y="5269652"/>
                </a:cubicBezTo>
                <a:lnTo>
                  <a:pt x="2126149" y="531967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6000" dirty="0"/>
          </a:p>
        </p:txBody>
      </p:sp>
      <p:sp>
        <p:nvSpPr>
          <p:cNvPr id="25" name="任意多边形: 形状 24">
            <a:extLst>
              <a:ext uri="{FF2B5EF4-FFF2-40B4-BE49-F238E27FC236}">
                <a16:creationId xmlns:a16="http://schemas.microsoft.com/office/drawing/2014/main" id="{8380DECD-B648-483B-9F8F-5A82AFE366FB}"/>
              </a:ext>
            </a:extLst>
          </p:cNvPr>
          <p:cNvSpPr/>
          <p:nvPr/>
        </p:nvSpPr>
        <p:spPr>
          <a:xfrm rot="19935289">
            <a:off x="9161170" y="6288737"/>
            <a:ext cx="2160174" cy="1137476"/>
          </a:xfrm>
          <a:custGeom>
            <a:avLst/>
            <a:gdLst>
              <a:gd name="connsiteX0" fmla="*/ 1897737 w 2160174"/>
              <a:gd name="connsiteY0" fmla="*/ 33767 h 1137476"/>
              <a:gd name="connsiteX1" fmla="*/ 2160174 w 2160174"/>
              <a:gd name="connsiteY1" fmla="*/ 429692 h 1137476"/>
              <a:gd name="connsiteX2" fmla="*/ 2160174 w 2160174"/>
              <a:gd name="connsiteY2" fmla="*/ 1137476 h 1137476"/>
              <a:gd name="connsiteX3" fmla="*/ 0 w 2160174"/>
              <a:gd name="connsiteY3" fmla="*/ 1186 h 1137476"/>
              <a:gd name="connsiteX4" fmla="*/ 11766 w 2160174"/>
              <a:gd name="connsiteY4" fmla="*/ 0 h 1137476"/>
              <a:gd name="connsiteX5" fmla="*/ 1730482 w 2160174"/>
              <a:gd name="connsiteY5" fmla="*/ 0 h 1137476"/>
              <a:gd name="connsiteX6" fmla="*/ 1897737 w 2160174"/>
              <a:gd name="connsiteY6" fmla="*/ 33767 h 1137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60174" h="1137476">
                <a:moveTo>
                  <a:pt x="1897737" y="33767"/>
                </a:moveTo>
                <a:cubicBezTo>
                  <a:pt x="2051960" y="98998"/>
                  <a:pt x="2160174" y="251708"/>
                  <a:pt x="2160174" y="429692"/>
                </a:cubicBezTo>
                <a:lnTo>
                  <a:pt x="2160174" y="1137476"/>
                </a:lnTo>
                <a:lnTo>
                  <a:pt x="0" y="1186"/>
                </a:lnTo>
                <a:lnTo>
                  <a:pt x="11766" y="0"/>
                </a:lnTo>
                <a:lnTo>
                  <a:pt x="1730482" y="0"/>
                </a:lnTo>
                <a:cubicBezTo>
                  <a:pt x="1789810" y="0"/>
                  <a:pt x="1846330" y="12023"/>
                  <a:pt x="1897737" y="33767"/>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6000" dirty="0"/>
          </a:p>
        </p:txBody>
      </p:sp>
    </p:spTree>
    <p:extLst>
      <p:ext uri="{BB962C8B-B14F-4D97-AF65-F5344CB8AC3E}">
        <p14:creationId xmlns:p14="http://schemas.microsoft.com/office/powerpoint/2010/main" val="1652075542"/>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4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直接连接符 3">
            <a:extLst>
              <a:ext uri="{FF2B5EF4-FFF2-40B4-BE49-F238E27FC236}">
                <a16:creationId xmlns:a16="http://schemas.microsoft.com/office/drawing/2014/main" id="{8C40624D-180A-47BF-B0F9-606102E80C78}"/>
              </a:ext>
            </a:extLst>
          </p:cNvPr>
          <p:cNvCxnSpPr>
            <a:cxnSpLocks/>
          </p:cNvCxnSpPr>
          <p:nvPr/>
        </p:nvCxnSpPr>
        <p:spPr>
          <a:xfrm>
            <a:off x="6096000" y="1498600"/>
            <a:ext cx="0" cy="5168900"/>
          </a:xfrm>
          <a:prstGeom prst="line">
            <a:avLst/>
          </a:prstGeom>
        </p:spPr>
        <p:style>
          <a:lnRef idx="1">
            <a:schemeClr val="accent1"/>
          </a:lnRef>
          <a:fillRef idx="0">
            <a:schemeClr val="accent1"/>
          </a:fillRef>
          <a:effectRef idx="0">
            <a:schemeClr val="accent1"/>
          </a:effectRef>
          <a:fontRef idx="minor">
            <a:schemeClr val="tx1"/>
          </a:fontRef>
        </p:style>
      </p:cxnSp>
      <p:sp>
        <p:nvSpPr>
          <p:cNvPr id="11" name="等腰三角形 6">
            <a:extLst>
              <a:ext uri="{FF2B5EF4-FFF2-40B4-BE49-F238E27FC236}">
                <a16:creationId xmlns:a16="http://schemas.microsoft.com/office/drawing/2014/main" id="{FCF672E3-CA18-4FFD-8333-E5CA2979A150}"/>
              </a:ext>
            </a:extLst>
          </p:cNvPr>
          <p:cNvSpPr/>
          <p:nvPr/>
        </p:nvSpPr>
        <p:spPr>
          <a:xfrm rot="5400000" flipH="1">
            <a:off x="6140678" y="5333883"/>
            <a:ext cx="259894" cy="349250"/>
          </a:xfrm>
          <a:custGeom>
            <a:avLst/>
            <a:gdLst>
              <a:gd name="connsiteX0" fmla="*/ 0 w 2902204"/>
              <a:gd name="connsiteY0" fmla="*/ 2501900 h 2501900"/>
              <a:gd name="connsiteX1" fmla="*/ 1451102 w 2902204"/>
              <a:gd name="connsiteY1" fmla="*/ 0 h 2501900"/>
              <a:gd name="connsiteX2" fmla="*/ 2902204 w 2902204"/>
              <a:gd name="connsiteY2" fmla="*/ 2501900 h 2501900"/>
              <a:gd name="connsiteX3" fmla="*/ 0 w 2902204"/>
              <a:gd name="connsiteY3" fmla="*/ 2501900 h 2501900"/>
              <a:gd name="connsiteX0" fmla="*/ 0 w 2902204"/>
              <a:gd name="connsiteY0" fmla="*/ 2501900 h 2501900"/>
              <a:gd name="connsiteX1" fmla="*/ 1451102 w 2902204"/>
              <a:gd name="connsiteY1" fmla="*/ 0 h 2501900"/>
              <a:gd name="connsiteX2" fmla="*/ 2902204 w 2902204"/>
              <a:gd name="connsiteY2" fmla="*/ 2501900 h 2501900"/>
              <a:gd name="connsiteX3" fmla="*/ 0 w 2902204"/>
              <a:gd name="connsiteY3" fmla="*/ 2501900 h 2501900"/>
              <a:gd name="connsiteX0" fmla="*/ 0 w 2902204"/>
              <a:gd name="connsiteY0" fmla="*/ 2501900 h 2501900"/>
              <a:gd name="connsiteX1" fmla="*/ 1451102 w 2902204"/>
              <a:gd name="connsiteY1" fmla="*/ 0 h 2501900"/>
              <a:gd name="connsiteX2" fmla="*/ 2902204 w 2902204"/>
              <a:gd name="connsiteY2" fmla="*/ 2501900 h 2501900"/>
              <a:gd name="connsiteX3" fmla="*/ 0 w 2902204"/>
              <a:gd name="connsiteY3" fmla="*/ 2501900 h 2501900"/>
              <a:gd name="connsiteX0" fmla="*/ 0 w 2902204"/>
              <a:gd name="connsiteY0" fmla="*/ 2501900 h 2501900"/>
              <a:gd name="connsiteX1" fmla="*/ 1451102 w 2902204"/>
              <a:gd name="connsiteY1" fmla="*/ 0 h 2501900"/>
              <a:gd name="connsiteX2" fmla="*/ 2902204 w 2902204"/>
              <a:gd name="connsiteY2" fmla="*/ 2501900 h 2501900"/>
              <a:gd name="connsiteX3" fmla="*/ 0 w 2902204"/>
              <a:gd name="connsiteY3" fmla="*/ 2501900 h 2501900"/>
              <a:gd name="connsiteX0" fmla="*/ 0 w 2902204"/>
              <a:gd name="connsiteY0" fmla="*/ 2501900 h 2501900"/>
              <a:gd name="connsiteX1" fmla="*/ 1451102 w 2902204"/>
              <a:gd name="connsiteY1" fmla="*/ 0 h 2501900"/>
              <a:gd name="connsiteX2" fmla="*/ 2902204 w 2902204"/>
              <a:gd name="connsiteY2" fmla="*/ 2501900 h 2501900"/>
              <a:gd name="connsiteX3" fmla="*/ 0 w 2902204"/>
              <a:gd name="connsiteY3" fmla="*/ 2501900 h 2501900"/>
            </a:gdLst>
            <a:ahLst/>
            <a:cxnLst>
              <a:cxn ang="0">
                <a:pos x="connsiteX0" y="connsiteY0"/>
              </a:cxn>
              <a:cxn ang="0">
                <a:pos x="connsiteX1" y="connsiteY1"/>
              </a:cxn>
              <a:cxn ang="0">
                <a:pos x="connsiteX2" y="connsiteY2"/>
              </a:cxn>
              <a:cxn ang="0">
                <a:pos x="connsiteX3" y="connsiteY3"/>
              </a:cxn>
            </a:cxnLst>
            <a:rect l="l" t="t" r="r" b="b"/>
            <a:pathLst>
              <a:path w="2902204" h="2501900">
                <a:moveTo>
                  <a:pt x="0" y="2501900"/>
                </a:moveTo>
                <a:cubicBezTo>
                  <a:pt x="775801" y="2315633"/>
                  <a:pt x="1424601" y="1202267"/>
                  <a:pt x="1451102" y="0"/>
                </a:cubicBezTo>
                <a:cubicBezTo>
                  <a:pt x="1388703" y="1380067"/>
                  <a:pt x="2012103" y="2391833"/>
                  <a:pt x="2902204" y="2501900"/>
                </a:cubicBezTo>
                <a:lnTo>
                  <a:pt x="0" y="2501900"/>
                </a:lnTo>
                <a:close/>
              </a:path>
            </a:pathLst>
          </a:cu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 name="文本框 11">
            <a:extLst>
              <a:ext uri="{FF2B5EF4-FFF2-40B4-BE49-F238E27FC236}">
                <a16:creationId xmlns:a16="http://schemas.microsoft.com/office/drawing/2014/main" id="{D0C5F672-7512-4782-94D1-FA2885B7AD94}"/>
              </a:ext>
            </a:extLst>
          </p:cNvPr>
          <p:cNvSpPr txBox="1"/>
          <p:nvPr/>
        </p:nvSpPr>
        <p:spPr>
          <a:xfrm>
            <a:off x="7802428" y="5287487"/>
            <a:ext cx="2937087" cy="738664"/>
          </a:xfrm>
          <a:prstGeom prst="rect">
            <a:avLst/>
          </a:prstGeom>
          <a:noFill/>
        </p:spPr>
        <p:txBody>
          <a:bodyPr wrap="square" rtlCol="0">
            <a:spAutoFit/>
          </a:bodyPr>
          <a:lstStyle/>
          <a:p>
            <a:pPr algn="just"/>
            <a:r>
              <a:rPr lang="en-US" altLang="zh-CN" sz="1400" dirty="0"/>
              <a:t>Lorem ipsum dolor sit amet, consectetur adipisicing elit, sed do eiusmod tempor</a:t>
            </a:r>
            <a:endParaRPr lang="zh-CN" altLang="en-US" sz="1400" dirty="0"/>
          </a:p>
        </p:txBody>
      </p:sp>
      <p:sp>
        <p:nvSpPr>
          <p:cNvPr id="13" name="文本框 12">
            <a:extLst>
              <a:ext uri="{FF2B5EF4-FFF2-40B4-BE49-F238E27FC236}">
                <a16:creationId xmlns:a16="http://schemas.microsoft.com/office/drawing/2014/main" id="{34FBA7DA-9F0C-4C62-9E02-604729DC89F3}"/>
              </a:ext>
            </a:extLst>
          </p:cNvPr>
          <p:cNvSpPr txBox="1"/>
          <p:nvPr/>
        </p:nvSpPr>
        <p:spPr>
          <a:xfrm>
            <a:off x="6864351" y="5277676"/>
            <a:ext cx="938077" cy="461665"/>
          </a:xfrm>
          <a:prstGeom prst="rect">
            <a:avLst/>
          </a:prstGeom>
          <a:noFill/>
          <a:effectLst>
            <a:outerShdw blurRad="76200" dir="13500000" sy="23000" kx="1200000" algn="br" rotWithShape="0">
              <a:prstClr val="black">
                <a:alpha val="20000"/>
              </a:prstClr>
            </a:outerShdw>
          </a:effectLst>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2400" b="0" i="0" u="none" strike="noStrike" kern="1200" cap="none" spc="0" normalizeH="0" baseline="0" noProof="0" dirty="0">
                <a:ln>
                  <a:noFill/>
                </a:ln>
                <a:solidFill>
                  <a:schemeClr val="accent1"/>
                </a:solidFill>
                <a:uLnTx/>
                <a:uFillTx/>
                <a:latin typeface="+mj-ea"/>
                <a:ea typeface="+mj-ea"/>
                <a:cs typeface="+mn-cs"/>
              </a:rPr>
              <a:t>2021</a:t>
            </a:r>
            <a:endParaRPr kumimoji="0" lang="zh-CN" altLang="en-US" sz="2400" b="0" i="0" u="none" strike="noStrike" kern="1200" cap="none" spc="0" normalizeH="0" baseline="0" noProof="0" dirty="0">
              <a:ln>
                <a:noFill/>
              </a:ln>
              <a:solidFill>
                <a:schemeClr val="accent1"/>
              </a:solidFill>
              <a:uLnTx/>
              <a:uFillTx/>
              <a:latin typeface="+mj-ea"/>
              <a:ea typeface="+mj-ea"/>
              <a:cs typeface="+mn-cs"/>
            </a:endParaRPr>
          </a:p>
        </p:txBody>
      </p:sp>
      <p:sp>
        <p:nvSpPr>
          <p:cNvPr id="10" name="等腰三角形 6">
            <a:extLst>
              <a:ext uri="{FF2B5EF4-FFF2-40B4-BE49-F238E27FC236}">
                <a16:creationId xmlns:a16="http://schemas.microsoft.com/office/drawing/2014/main" id="{04913B6F-8B79-4644-8309-563ED3A3D202}"/>
              </a:ext>
            </a:extLst>
          </p:cNvPr>
          <p:cNvSpPr/>
          <p:nvPr/>
        </p:nvSpPr>
        <p:spPr>
          <a:xfrm rot="5400000" flipH="1">
            <a:off x="6140678" y="3077594"/>
            <a:ext cx="259894" cy="349250"/>
          </a:xfrm>
          <a:custGeom>
            <a:avLst/>
            <a:gdLst>
              <a:gd name="connsiteX0" fmla="*/ 0 w 2902204"/>
              <a:gd name="connsiteY0" fmla="*/ 2501900 h 2501900"/>
              <a:gd name="connsiteX1" fmla="*/ 1451102 w 2902204"/>
              <a:gd name="connsiteY1" fmla="*/ 0 h 2501900"/>
              <a:gd name="connsiteX2" fmla="*/ 2902204 w 2902204"/>
              <a:gd name="connsiteY2" fmla="*/ 2501900 h 2501900"/>
              <a:gd name="connsiteX3" fmla="*/ 0 w 2902204"/>
              <a:gd name="connsiteY3" fmla="*/ 2501900 h 2501900"/>
              <a:gd name="connsiteX0" fmla="*/ 0 w 2902204"/>
              <a:gd name="connsiteY0" fmla="*/ 2501900 h 2501900"/>
              <a:gd name="connsiteX1" fmla="*/ 1451102 w 2902204"/>
              <a:gd name="connsiteY1" fmla="*/ 0 h 2501900"/>
              <a:gd name="connsiteX2" fmla="*/ 2902204 w 2902204"/>
              <a:gd name="connsiteY2" fmla="*/ 2501900 h 2501900"/>
              <a:gd name="connsiteX3" fmla="*/ 0 w 2902204"/>
              <a:gd name="connsiteY3" fmla="*/ 2501900 h 2501900"/>
              <a:gd name="connsiteX0" fmla="*/ 0 w 2902204"/>
              <a:gd name="connsiteY0" fmla="*/ 2501900 h 2501900"/>
              <a:gd name="connsiteX1" fmla="*/ 1451102 w 2902204"/>
              <a:gd name="connsiteY1" fmla="*/ 0 h 2501900"/>
              <a:gd name="connsiteX2" fmla="*/ 2902204 w 2902204"/>
              <a:gd name="connsiteY2" fmla="*/ 2501900 h 2501900"/>
              <a:gd name="connsiteX3" fmla="*/ 0 w 2902204"/>
              <a:gd name="connsiteY3" fmla="*/ 2501900 h 2501900"/>
              <a:gd name="connsiteX0" fmla="*/ 0 w 2902204"/>
              <a:gd name="connsiteY0" fmla="*/ 2501900 h 2501900"/>
              <a:gd name="connsiteX1" fmla="*/ 1451102 w 2902204"/>
              <a:gd name="connsiteY1" fmla="*/ 0 h 2501900"/>
              <a:gd name="connsiteX2" fmla="*/ 2902204 w 2902204"/>
              <a:gd name="connsiteY2" fmla="*/ 2501900 h 2501900"/>
              <a:gd name="connsiteX3" fmla="*/ 0 w 2902204"/>
              <a:gd name="connsiteY3" fmla="*/ 2501900 h 2501900"/>
              <a:gd name="connsiteX0" fmla="*/ 0 w 2902204"/>
              <a:gd name="connsiteY0" fmla="*/ 2501900 h 2501900"/>
              <a:gd name="connsiteX1" fmla="*/ 1451102 w 2902204"/>
              <a:gd name="connsiteY1" fmla="*/ 0 h 2501900"/>
              <a:gd name="connsiteX2" fmla="*/ 2902204 w 2902204"/>
              <a:gd name="connsiteY2" fmla="*/ 2501900 h 2501900"/>
              <a:gd name="connsiteX3" fmla="*/ 0 w 2902204"/>
              <a:gd name="connsiteY3" fmla="*/ 2501900 h 2501900"/>
            </a:gdLst>
            <a:ahLst/>
            <a:cxnLst>
              <a:cxn ang="0">
                <a:pos x="connsiteX0" y="connsiteY0"/>
              </a:cxn>
              <a:cxn ang="0">
                <a:pos x="connsiteX1" y="connsiteY1"/>
              </a:cxn>
              <a:cxn ang="0">
                <a:pos x="connsiteX2" y="connsiteY2"/>
              </a:cxn>
              <a:cxn ang="0">
                <a:pos x="connsiteX3" y="connsiteY3"/>
              </a:cxn>
            </a:cxnLst>
            <a:rect l="l" t="t" r="r" b="b"/>
            <a:pathLst>
              <a:path w="2902204" h="2501900">
                <a:moveTo>
                  <a:pt x="0" y="2501900"/>
                </a:moveTo>
                <a:cubicBezTo>
                  <a:pt x="775801" y="2315633"/>
                  <a:pt x="1424601" y="1202267"/>
                  <a:pt x="1451102" y="0"/>
                </a:cubicBezTo>
                <a:cubicBezTo>
                  <a:pt x="1388703" y="1380067"/>
                  <a:pt x="2012103" y="2391833"/>
                  <a:pt x="2902204" y="2501900"/>
                </a:cubicBezTo>
                <a:lnTo>
                  <a:pt x="0" y="2501900"/>
                </a:lnTo>
                <a:close/>
              </a:path>
            </a:pathLst>
          </a:cu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4" name="文本框 13">
            <a:extLst>
              <a:ext uri="{FF2B5EF4-FFF2-40B4-BE49-F238E27FC236}">
                <a16:creationId xmlns:a16="http://schemas.microsoft.com/office/drawing/2014/main" id="{8521B8F2-8510-4A1D-8878-5E9CAE4431EF}"/>
              </a:ext>
            </a:extLst>
          </p:cNvPr>
          <p:cNvSpPr txBox="1"/>
          <p:nvPr/>
        </p:nvSpPr>
        <p:spPr>
          <a:xfrm>
            <a:off x="7802428" y="3031198"/>
            <a:ext cx="2937087" cy="738664"/>
          </a:xfrm>
          <a:prstGeom prst="rect">
            <a:avLst/>
          </a:prstGeom>
          <a:noFill/>
        </p:spPr>
        <p:txBody>
          <a:bodyPr wrap="square" rtlCol="0">
            <a:spAutoFit/>
          </a:bodyPr>
          <a:lstStyle/>
          <a:p>
            <a:pPr algn="just"/>
            <a:r>
              <a:rPr lang="en-US" altLang="zh-CN" sz="1400" dirty="0"/>
              <a:t>Lorem ipsum dolor sit amet, consectetur adipisicing elit, sed do eiusmod tempor</a:t>
            </a:r>
            <a:endParaRPr lang="zh-CN" altLang="en-US" sz="1400" dirty="0"/>
          </a:p>
        </p:txBody>
      </p:sp>
      <p:sp>
        <p:nvSpPr>
          <p:cNvPr id="15" name="文本框 14">
            <a:extLst>
              <a:ext uri="{FF2B5EF4-FFF2-40B4-BE49-F238E27FC236}">
                <a16:creationId xmlns:a16="http://schemas.microsoft.com/office/drawing/2014/main" id="{82FF916B-AA32-4755-93AB-568ADCF04DAD}"/>
              </a:ext>
            </a:extLst>
          </p:cNvPr>
          <p:cNvSpPr txBox="1"/>
          <p:nvPr/>
        </p:nvSpPr>
        <p:spPr>
          <a:xfrm>
            <a:off x="6864350" y="3021387"/>
            <a:ext cx="938078" cy="461665"/>
          </a:xfrm>
          <a:prstGeom prst="rect">
            <a:avLst/>
          </a:prstGeom>
          <a:noFill/>
          <a:effectLst>
            <a:outerShdw blurRad="76200" dir="13500000" sy="23000" kx="1200000" algn="br" rotWithShape="0">
              <a:prstClr val="black">
                <a:alpha val="20000"/>
              </a:prstClr>
            </a:outerShdw>
          </a:effectLst>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2400" b="0" i="0" u="none" strike="noStrike" kern="1200" cap="none" spc="0" normalizeH="0" baseline="0" noProof="0" dirty="0">
                <a:ln>
                  <a:noFill/>
                </a:ln>
                <a:solidFill>
                  <a:schemeClr val="accent1"/>
                </a:solidFill>
                <a:uLnTx/>
                <a:uFillTx/>
                <a:latin typeface="+mj-ea"/>
                <a:ea typeface="+mj-ea"/>
                <a:cs typeface="+mn-cs"/>
              </a:rPr>
              <a:t>2019</a:t>
            </a:r>
            <a:endParaRPr kumimoji="0" lang="zh-CN" altLang="en-US" sz="2400" b="0" i="0" u="none" strike="noStrike" kern="1200" cap="none" spc="0" normalizeH="0" baseline="0" noProof="0" dirty="0">
              <a:ln>
                <a:noFill/>
              </a:ln>
              <a:solidFill>
                <a:schemeClr val="accent1"/>
              </a:solidFill>
              <a:uLnTx/>
              <a:uFillTx/>
              <a:latin typeface="+mj-ea"/>
              <a:ea typeface="+mj-ea"/>
              <a:cs typeface="+mn-cs"/>
            </a:endParaRPr>
          </a:p>
        </p:txBody>
      </p:sp>
      <p:sp>
        <p:nvSpPr>
          <p:cNvPr id="9" name="等腰三角形 6">
            <a:extLst>
              <a:ext uri="{FF2B5EF4-FFF2-40B4-BE49-F238E27FC236}">
                <a16:creationId xmlns:a16="http://schemas.microsoft.com/office/drawing/2014/main" id="{14698A9A-8C6E-41EF-9EA5-C09CB87646EE}"/>
              </a:ext>
            </a:extLst>
          </p:cNvPr>
          <p:cNvSpPr/>
          <p:nvPr/>
        </p:nvSpPr>
        <p:spPr>
          <a:xfrm rot="16200000">
            <a:off x="5791428" y="4205740"/>
            <a:ext cx="259894" cy="349250"/>
          </a:xfrm>
          <a:custGeom>
            <a:avLst/>
            <a:gdLst>
              <a:gd name="connsiteX0" fmla="*/ 0 w 2902204"/>
              <a:gd name="connsiteY0" fmla="*/ 2501900 h 2501900"/>
              <a:gd name="connsiteX1" fmla="*/ 1451102 w 2902204"/>
              <a:gd name="connsiteY1" fmla="*/ 0 h 2501900"/>
              <a:gd name="connsiteX2" fmla="*/ 2902204 w 2902204"/>
              <a:gd name="connsiteY2" fmla="*/ 2501900 h 2501900"/>
              <a:gd name="connsiteX3" fmla="*/ 0 w 2902204"/>
              <a:gd name="connsiteY3" fmla="*/ 2501900 h 2501900"/>
              <a:gd name="connsiteX0" fmla="*/ 0 w 2902204"/>
              <a:gd name="connsiteY0" fmla="*/ 2501900 h 2501900"/>
              <a:gd name="connsiteX1" fmla="*/ 1451102 w 2902204"/>
              <a:gd name="connsiteY1" fmla="*/ 0 h 2501900"/>
              <a:gd name="connsiteX2" fmla="*/ 2902204 w 2902204"/>
              <a:gd name="connsiteY2" fmla="*/ 2501900 h 2501900"/>
              <a:gd name="connsiteX3" fmla="*/ 0 w 2902204"/>
              <a:gd name="connsiteY3" fmla="*/ 2501900 h 2501900"/>
              <a:gd name="connsiteX0" fmla="*/ 0 w 2902204"/>
              <a:gd name="connsiteY0" fmla="*/ 2501900 h 2501900"/>
              <a:gd name="connsiteX1" fmla="*/ 1451102 w 2902204"/>
              <a:gd name="connsiteY1" fmla="*/ 0 h 2501900"/>
              <a:gd name="connsiteX2" fmla="*/ 2902204 w 2902204"/>
              <a:gd name="connsiteY2" fmla="*/ 2501900 h 2501900"/>
              <a:gd name="connsiteX3" fmla="*/ 0 w 2902204"/>
              <a:gd name="connsiteY3" fmla="*/ 2501900 h 2501900"/>
              <a:gd name="connsiteX0" fmla="*/ 0 w 2902204"/>
              <a:gd name="connsiteY0" fmla="*/ 2501900 h 2501900"/>
              <a:gd name="connsiteX1" fmla="*/ 1451102 w 2902204"/>
              <a:gd name="connsiteY1" fmla="*/ 0 h 2501900"/>
              <a:gd name="connsiteX2" fmla="*/ 2902204 w 2902204"/>
              <a:gd name="connsiteY2" fmla="*/ 2501900 h 2501900"/>
              <a:gd name="connsiteX3" fmla="*/ 0 w 2902204"/>
              <a:gd name="connsiteY3" fmla="*/ 2501900 h 2501900"/>
              <a:gd name="connsiteX0" fmla="*/ 0 w 2902204"/>
              <a:gd name="connsiteY0" fmla="*/ 2501900 h 2501900"/>
              <a:gd name="connsiteX1" fmla="*/ 1451102 w 2902204"/>
              <a:gd name="connsiteY1" fmla="*/ 0 h 2501900"/>
              <a:gd name="connsiteX2" fmla="*/ 2902204 w 2902204"/>
              <a:gd name="connsiteY2" fmla="*/ 2501900 h 2501900"/>
              <a:gd name="connsiteX3" fmla="*/ 0 w 2902204"/>
              <a:gd name="connsiteY3" fmla="*/ 2501900 h 2501900"/>
            </a:gdLst>
            <a:ahLst/>
            <a:cxnLst>
              <a:cxn ang="0">
                <a:pos x="connsiteX0" y="connsiteY0"/>
              </a:cxn>
              <a:cxn ang="0">
                <a:pos x="connsiteX1" y="connsiteY1"/>
              </a:cxn>
              <a:cxn ang="0">
                <a:pos x="connsiteX2" y="connsiteY2"/>
              </a:cxn>
              <a:cxn ang="0">
                <a:pos x="connsiteX3" y="connsiteY3"/>
              </a:cxn>
            </a:cxnLst>
            <a:rect l="l" t="t" r="r" b="b"/>
            <a:pathLst>
              <a:path w="2902204" h="2501900">
                <a:moveTo>
                  <a:pt x="0" y="2501900"/>
                </a:moveTo>
                <a:cubicBezTo>
                  <a:pt x="775801" y="2315633"/>
                  <a:pt x="1424601" y="1202267"/>
                  <a:pt x="1451102" y="0"/>
                </a:cubicBezTo>
                <a:cubicBezTo>
                  <a:pt x="1388703" y="1380067"/>
                  <a:pt x="2012103" y="2391833"/>
                  <a:pt x="2902204" y="2501900"/>
                </a:cubicBezTo>
                <a:lnTo>
                  <a:pt x="0" y="2501900"/>
                </a:lnTo>
                <a:close/>
              </a:path>
            </a:pathLst>
          </a:cu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6" name="文本框 15">
            <a:extLst>
              <a:ext uri="{FF2B5EF4-FFF2-40B4-BE49-F238E27FC236}">
                <a16:creationId xmlns:a16="http://schemas.microsoft.com/office/drawing/2014/main" id="{3A8BF280-8B73-4981-8E2D-A648ADF18C36}"/>
              </a:ext>
            </a:extLst>
          </p:cNvPr>
          <p:cNvSpPr txBox="1"/>
          <p:nvPr/>
        </p:nvSpPr>
        <p:spPr>
          <a:xfrm>
            <a:off x="1551546" y="4141055"/>
            <a:ext cx="2937087" cy="738664"/>
          </a:xfrm>
          <a:prstGeom prst="rect">
            <a:avLst/>
          </a:prstGeom>
          <a:noFill/>
        </p:spPr>
        <p:txBody>
          <a:bodyPr wrap="square" rtlCol="0">
            <a:spAutoFit/>
          </a:bodyPr>
          <a:lstStyle/>
          <a:p>
            <a:pPr algn="r"/>
            <a:r>
              <a:rPr lang="en-US" altLang="zh-CN" sz="1400" dirty="0"/>
              <a:t>Lorem ipsum dolor sit amet, consectetur adipisicing elit, sed do eiusmod tempor</a:t>
            </a:r>
            <a:endParaRPr lang="zh-CN" altLang="en-US" sz="1400" dirty="0"/>
          </a:p>
        </p:txBody>
      </p:sp>
      <p:sp>
        <p:nvSpPr>
          <p:cNvPr id="17" name="文本框 16">
            <a:extLst>
              <a:ext uri="{FF2B5EF4-FFF2-40B4-BE49-F238E27FC236}">
                <a16:creationId xmlns:a16="http://schemas.microsoft.com/office/drawing/2014/main" id="{00763AFB-5A73-4BB3-A683-92C40A5C8FAB}"/>
              </a:ext>
            </a:extLst>
          </p:cNvPr>
          <p:cNvSpPr txBox="1"/>
          <p:nvPr/>
        </p:nvSpPr>
        <p:spPr>
          <a:xfrm>
            <a:off x="4443706" y="4149532"/>
            <a:ext cx="992580" cy="461665"/>
          </a:xfrm>
          <a:prstGeom prst="rect">
            <a:avLst/>
          </a:prstGeom>
          <a:noFill/>
          <a:effectLst>
            <a:outerShdw blurRad="76200" dir="13500000" sy="23000" kx="1200000" algn="br" rotWithShape="0">
              <a:prstClr val="black">
                <a:alpha val="20000"/>
              </a:prstClr>
            </a:outerShdw>
          </a:effectLst>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2400" b="0" i="0" u="none" strike="noStrike" kern="1200" cap="none" spc="0" normalizeH="0" baseline="0" noProof="0" dirty="0">
                <a:ln>
                  <a:noFill/>
                </a:ln>
                <a:solidFill>
                  <a:schemeClr val="accent1"/>
                </a:solidFill>
                <a:uLnTx/>
                <a:uFillTx/>
                <a:latin typeface="+mj-ea"/>
                <a:ea typeface="+mj-ea"/>
                <a:cs typeface="+mn-cs"/>
              </a:rPr>
              <a:t>2020</a:t>
            </a:r>
            <a:endParaRPr kumimoji="0" lang="zh-CN" altLang="en-US" sz="2400" b="0" i="0" u="none" strike="noStrike" kern="1200" cap="none" spc="0" normalizeH="0" baseline="0" noProof="0" dirty="0">
              <a:ln>
                <a:noFill/>
              </a:ln>
              <a:solidFill>
                <a:schemeClr val="accent1"/>
              </a:solidFill>
              <a:uLnTx/>
              <a:uFillTx/>
              <a:latin typeface="+mj-ea"/>
              <a:ea typeface="+mj-ea"/>
              <a:cs typeface="+mn-cs"/>
            </a:endParaRPr>
          </a:p>
        </p:txBody>
      </p:sp>
      <p:sp>
        <p:nvSpPr>
          <p:cNvPr id="7" name="等腰三角形 6">
            <a:extLst>
              <a:ext uri="{FF2B5EF4-FFF2-40B4-BE49-F238E27FC236}">
                <a16:creationId xmlns:a16="http://schemas.microsoft.com/office/drawing/2014/main" id="{1A5D551D-CF84-494D-A53D-A2F993FEC26B}"/>
              </a:ext>
            </a:extLst>
          </p:cNvPr>
          <p:cNvSpPr/>
          <p:nvPr/>
        </p:nvSpPr>
        <p:spPr>
          <a:xfrm rot="16200000">
            <a:off x="5791428" y="1949449"/>
            <a:ext cx="259894" cy="349250"/>
          </a:xfrm>
          <a:custGeom>
            <a:avLst/>
            <a:gdLst>
              <a:gd name="connsiteX0" fmla="*/ 0 w 2902204"/>
              <a:gd name="connsiteY0" fmla="*/ 2501900 h 2501900"/>
              <a:gd name="connsiteX1" fmla="*/ 1451102 w 2902204"/>
              <a:gd name="connsiteY1" fmla="*/ 0 h 2501900"/>
              <a:gd name="connsiteX2" fmla="*/ 2902204 w 2902204"/>
              <a:gd name="connsiteY2" fmla="*/ 2501900 h 2501900"/>
              <a:gd name="connsiteX3" fmla="*/ 0 w 2902204"/>
              <a:gd name="connsiteY3" fmla="*/ 2501900 h 2501900"/>
              <a:gd name="connsiteX0" fmla="*/ 0 w 2902204"/>
              <a:gd name="connsiteY0" fmla="*/ 2501900 h 2501900"/>
              <a:gd name="connsiteX1" fmla="*/ 1451102 w 2902204"/>
              <a:gd name="connsiteY1" fmla="*/ 0 h 2501900"/>
              <a:gd name="connsiteX2" fmla="*/ 2902204 w 2902204"/>
              <a:gd name="connsiteY2" fmla="*/ 2501900 h 2501900"/>
              <a:gd name="connsiteX3" fmla="*/ 0 w 2902204"/>
              <a:gd name="connsiteY3" fmla="*/ 2501900 h 2501900"/>
              <a:gd name="connsiteX0" fmla="*/ 0 w 2902204"/>
              <a:gd name="connsiteY0" fmla="*/ 2501900 h 2501900"/>
              <a:gd name="connsiteX1" fmla="*/ 1451102 w 2902204"/>
              <a:gd name="connsiteY1" fmla="*/ 0 h 2501900"/>
              <a:gd name="connsiteX2" fmla="*/ 2902204 w 2902204"/>
              <a:gd name="connsiteY2" fmla="*/ 2501900 h 2501900"/>
              <a:gd name="connsiteX3" fmla="*/ 0 w 2902204"/>
              <a:gd name="connsiteY3" fmla="*/ 2501900 h 2501900"/>
              <a:gd name="connsiteX0" fmla="*/ 0 w 2902204"/>
              <a:gd name="connsiteY0" fmla="*/ 2501900 h 2501900"/>
              <a:gd name="connsiteX1" fmla="*/ 1451102 w 2902204"/>
              <a:gd name="connsiteY1" fmla="*/ 0 h 2501900"/>
              <a:gd name="connsiteX2" fmla="*/ 2902204 w 2902204"/>
              <a:gd name="connsiteY2" fmla="*/ 2501900 h 2501900"/>
              <a:gd name="connsiteX3" fmla="*/ 0 w 2902204"/>
              <a:gd name="connsiteY3" fmla="*/ 2501900 h 2501900"/>
              <a:gd name="connsiteX0" fmla="*/ 0 w 2902204"/>
              <a:gd name="connsiteY0" fmla="*/ 2501900 h 2501900"/>
              <a:gd name="connsiteX1" fmla="*/ 1451102 w 2902204"/>
              <a:gd name="connsiteY1" fmla="*/ 0 h 2501900"/>
              <a:gd name="connsiteX2" fmla="*/ 2902204 w 2902204"/>
              <a:gd name="connsiteY2" fmla="*/ 2501900 h 2501900"/>
              <a:gd name="connsiteX3" fmla="*/ 0 w 2902204"/>
              <a:gd name="connsiteY3" fmla="*/ 2501900 h 2501900"/>
            </a:gdLst>
            <a:ahLst/>
            <a:cxnLst>
              <a:cxn ang="0">
                <a:pos x="connsiteX0" y="connsiteY0"/>
              </a:cxn>
              <a:cxn ang="0">
                <a:pos x="connsiteX1" y="connsiteY1"/>
              </a:cxn>
              <a:cxn ang="0">
                <a:pos x="connsiteX2" y="connsiteY2"/>
              </a:cxn>
              <a:cxn ang="0">
                <a:pos x="connsiteX3" y="connsiteY3"/>
              </a:cxn>
            </a:cxnLst>
            <a:rect l="l" t="t" r="r" b="b"/>
            <a:pathLst>
              <a:path w="2902204" h="2501900">
                <a:moveTo>
                  <a:pt x="0" y="2501900"/>
                </a:moveTo>
                <a:cubicBezTo>
                  <a:pt x="775801" y="2315633"/>
                  <a:pt x="1424601" y="1202267"/>
                  <a:pt x="1451102" y="0"/>
                </a:cubicBezTo>
                <a:cubicBezTo>
                  <a:pt x="1388703" y="1380067"/>
                  <a:pt x="2012103" y="2391833"/>
                  <a:pt x="2902204" y="2501900"/>
                </a:cubicBezTo>
                <a:lnTo>
                  <a:pt x="0" y="2501900"/>
                </a:lnTo>
                <a:close/>
              </a:path>
            </a:pathLst>
          </a:cu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8" name="文本框 17">
            <a:extLst>
              <a:ext uri="{FF2B5EF4-FFF2-40B4-BE49-F238E27FC236}">
                <a16:creationId xmlns:a16="http://schemas.microsoft.com/office/drawing/2014/main" id="{430D1515-DF9D-4233-909C-B5222DFC5BB2}"/>
              </a:ext>
            </a:extLst>
          </p:cNvPr>
          <p:cNvSpPr txBox="1"/>
          <p:nvPr/>
        </p:nvSpPr>
        <p:spPr>
          <a:xfrm>
            <a:off x="1551546" y="1884765"/>
            <a:ext cx="2937087" cy="738664"/>
          </a:xfrm>
          <a:prstGeom prst="rect">
            <a:avLst/>
          </a:prstGeom>
          <a:noFill/>
        </p:spPr>
        <p:txBody>
          <a:bodyPr wrap="square" rtlCol="0">
            <a:spAutoFit/>
          </a:bodyPr>
          <a:lstStyle/>
          <a:p>
            <a:pPr algn="r"/>
            <a:r>
              <a:rPr lang="en-US" altLang="zh-CN" sz="1400" dirty="0"/>
              <a:t>Lorem ipsum dolor sit amet, consectetur adipisicing elit, sed do eiusmod tempor</a:t>
            </a:r>
            <a:endParaRPr lang="zh-CN" altLang="en-US" sz="1400" dirty="0"/>
          </a:p>
        </p:txBody>
      </p:sp>
      <p:sp>
        <p:nvSpPr>
          <p:cNvPr id="19" name="文本框 18">
            <a:extLst>
              <a:ext uri="{FF2B5EF4-FFF2-40B4-BE49-F238E27FC236}">
                <a16:creationId xmlns:a16="http://schemas.microsoft.com/office/drawing/2014/main" id="{EFC9654C-018B-4BC8-81A3-45C4F003318E}"/>
              </a:ext>
            </a:extLst>
          </p:cNvPr>
          <p:cNvSpPr txBox="1"/>
          <p:nvPr/>
        </p:nvSpPr>
        <p:spPr>
          <a:xfrm>
            <a:off x="4470956" y="1893242"/>
            <a:ext cx="938078" cy="461665"/>
          </a:xfrm>
          <a:prstGeom prst="rect">
            <a:avLst/>
          </a:prstGeom>
          <a:noFill/>
          <a:effectLst>
            <a:outerShdw blurRad="76200" dir="13500000" sy="23000" kx="1200000" algn="br" rotWithShape="0">
              <a:prstClr val="black">
                <a:alpha val="20000"/>
              </a:prstClr>
            </a:outerShdw>
          </a:effectLst>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2400" b="0" i="0" u="none" strike="noStrike" kern="1200" cap="none" spc="0" normalizeH="0" baseline="0" noProof="0" dirty="0">
                <a:ln>
                  <a:noFill/>
                </a:ln>
                <a:solidFill>
                  <a:schemeClr val="accent1"/>
                </a:solidFill>
                <a:uLnTx/>
                <a:uFillTx/>
                <a:latin typeface="+mj-ea"/>
                <a:ea typeface="+mj-ea"/>
                <a:cs typeface="+mn-cs"/>
              </a:rPr>
              <a:t>2018</a:t>
            </a:r>
            <a:endParaRPr kumimoji="0" lang="zh-CN" altLang="en-US" sz="2400" b="0" i="0" u="none" strike="noStrike" kern="1200" cap="none" spc="0" normalizeH="0" baseline="0" noProof="0" dirty="0">
              <a:ln>
                <a:noFill/>
              </a:ln>
              <a:solidFill>
                <a:schemeClr val="accent1"/>
              </a:solidFill>
              <a:uLnTx/>
              <a:uFillTx/>
              <a:latin typeface="+mj-ea"/>
              <a:ea typeface="+mj-ea"/>
              <a:cs typeface="+mn-cs"/>
            </a:endParaRPr>
          </a:p>
        </p:txBody>
      </p:sp>
      <p:sp>
        <p:nvSpPr>
          <p:cNvPr id="24" name="圆: 空心 23">
            <a:extLst>
              <a:ext uri="{FF2B5EF4-FFF2-40B4-BE49-F238E27FC236}">
                <a16:creationId xmlns:a16="http://schemas.microsoft.com/office/drawing/2014/main" id="{1CA1574D-D070-457A-9194-8A3852E6D8C6}"/>
              </a:ext>
            </a:extLst>
          </p:cNvPr>
          <p:cNvSpPr/>
          <p:nvPr/>
        </p:nvSpPr>
        <p:spPr>
          <a:xfrm>
            <a:off x="5533389" y="2017394"/>
            <a:ext cx="213360" cy="213360"/>
          </a:xfrm>
          <a:prstGeom prst="donut">
            <a:avLst>
              <a:gd name="adj" fmla="val 33890"/>
            </a:avLst>
          </a:pr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sp>
        <p:nvSpPr>
          <p:cNvPr id="25" name="圆: 空心 24">
            <a:extLst>
              <a:ext uri="{FF2B5EF4-FFF2-40B4-BE49-F238E27FC236}">
                <a16:creationId xmlns:a16="http://schemas.microsoft.com/office/drawing/2014/main" id="{4C973B74-9EB8-41EA-A539-A58ED3D2EC08}"/>
              </a:ext>
            </a:extLst>
          </p:cNvPr>
          <p:cNvSpPr/>
          <p:nvPr/>
        </p:nvSpPr>
        <p:spPr>
          <a:xfrm>
            <a:off x="6441440" y="3145539"/>
            <a:ext cx="213360" cy="213360"/>
          </a:xfrm>
          <a:prstGeom prst="donut">
            <a:avLst>
              <a:gd name="adj" fmla="val 33890"/>
            </a:avLst>
          </a:pr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sp>
        <p:nvSpPr>
          <p:cNvPr id="26" name="圆: 空心 25">
            <a:extLst>
              <a:ext uri="{FF2B5EF4-FFF2-40B4-BE49-F238E27FC236}">
                <a16:creationId xmlns:a16="http://schemas.microsoft.com/office/drawing/2014/main" id="{58F20CCF-B0FD-4AA4-910F-58BC00BD334A}"/>
              </a:ext>
            </a:extLst>
          </p:cNvPr>
          <p:cNvSpPr/>
          <p:nvPr/>
        </p:nvSpPr>
        <p:spPr>
          <a:xfrm>
            <a:off x="5533389" y="4273684"/>
            <a:ext cx="213360" cy="213360"/>
          </a:xfrm>
          <a:prstGeom prst="donut">
            <a:avLst>
              <a:gd name="adj" fmla="val 33890"/>
            </a:avLst>
          </a:pr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sp>
        <p:nvSpPr>
          <p:cNvPr id="27" name="圆: 空心 26">
            <a:extLst>
              <a:ext uri="{FF2B5EF4-FFF2-40B4-BE49-F238E27FC236}">
                <a16:creationId xmlns:a16="http://schemas.microsoft.com/office/drawing/2014/main" id="{53D88BA8-4E05-4BB6-8666-0C1C616231BA}"/>
              </a:ext>
            </a:extLst>
          </p:cNvPr>
          <p:cNvSpPr/>
          <p:nvPr/>
        </p:nvSpPr>
        <p:spPr>
          <a:xfrm>
            <a:off x="6441440" y="5401828"/>
            <a:ext cx="213360" cy="213360"/>
          </a:xfrm>
          <a:prstGeom prst="donut">
            <a:avLst>
              <a:gd name="adj" fmla="val 33890"/>
            </a:avLst>
          </a:pr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spTree>
    <p:extLst>
      <p:ext uri="{BB962C8B-B14F-4D97-AF65-F5344CB8AC3E}">
        <p14:creationId xmlns:p14="http://schemas.microsoft.com/office/powerpoint/2010/main" val="907122323"/>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4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7" name="Group 96"/>
          <p:cNvGrpSpPr/>
          <p:nvPr/>
        </p:nvGrpSpPr>
        <p:grpSpPr>
          <a:xfrm>
            <a:off x="3773311" y="4141845"/>
            <a:ext cx="2190756" cy="1042994"/>
            <a:chOff x="5022025" y="4220590"/>
            <a:chExt cx="2190756" cy="1042994"/>
          </a:xfrm>
          <a:solidFill>
            <a:schemeClr val="bg2"/>
          </a:solidFill>
        </p:grpSpPr>
        <p:grpSp>
          <p:nvGrpSpPr>
            <p:cNvPr id="98" name="Group 97"/>
            <p:cNvGrpSpPr/>
            <p:nvPr/>
          </p:nvGrpSpPr>
          <p:grpSpPr>
            <a:xfrm>
              <a:off x="5022025" y="4236643"/>
              <a:ext cx="1166500" cy="1026941"/>
              <a:chOff x="2873965" y="2332283"/>
              <a:chExt cx="1166500" cy="1026941"/>
            </a:xfrm>
            <a:grpFill/>
          </p:grpSpPr>
          <p:sp>
            <p:nvSpPr>
              <p:cNvPr id="102" name="Block Arc 101"/>
              <p:cNvSpPr/>
              <p:nvPr/>
            </p:nvSpPr>
            <p:spPr>
              <a:xfrm>
                <a:off x="3013524" y="2332283"/>
                <a:ext cx="1026941" cy="1026941"/>
              </a:xfrm>
              <a:prstGeom prst="blockArc">
                <a:avLst>
                  <a:gd name="adj1" fmla="val 16202709"/>
                  <a:gd name="adj2" fmla="val 21553953"/>
                  <a:gd name="adj3" fmla="val 1378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阿里巴巴普惠体 B"/>
                  <a:cs typeface="+mn-cs"/>
                </a:endParaRPr>
              </a:p>
            </p:txBody>
          </p:sp>
          <p:sp>
            <p:nvSpPr>
              <p:cNvPr id="103" name="Rectangle 102"/>
              <p:cNvSpPr/>
              <p:nvPr/>
            </p:nvSpPr>
            <p:spPr>
              <a:xfrm>
                <a:off x="2873965" y="2332283"/>
                <a:ext cx="654747" cy="14272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阿里巴巴普惠体 B"/>
                  <a:cs typeface="+mn-cs"/>
                </a:endParaRPr>
              </a:p>
            </p:txBody>
          </p:sp>
        </p:grpSp>
        <p:grpSp>
          <p:nvGrpSpPr>
            <p:cNvPr id="99" name="Group 98"/>
            <p:cNvGrpSpPr/>
            <p:nvPr/>
          </p:nvGrpSpPr>
          <p:grpSpPr>
            <a:xfrm>
              <a:off x="6046281" y="4220590"/>
              <a:ext cx="1166500" cy="1026941"/>
              <a:chOff x="6557826" y="3997627"/>
              <a:chExt cx="1166500" cy="1026941"/>
            </a:xfrm>
            <a:grpFill/>
          </p:grpSpPr>
          <p:sp>
            <p:nvSpPr>
              <p:cNvPr id="100" name="Block Arc 99"/>
              <p:cNvSpPr/>
              <p:nvPr/>
            </p:nvSpPr>
            <p:spPr>
              <a:xfrm rot="10800000">
                <a:off x="6557826" y="3997627"/>
                <a:ext cx="1026941" cy="1026941"/>
              </a:xfrm>
              <a:prstGeom prst="blockArc">
                <a:avLst>
                  <a:gd name="adj1" fmla="val 16202709"/>
                  <a:gd name="adj2" fmla="val 21553953"/>
                  <a:gd name="adj3" fmla="val 1378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阿里巴巴普惠体 B"/>
                  <a:cs typeface="+mn-cs"/>
                </a:endParaRPr>
              </a:p>
            </p:txBody>
          </p:sp>
          <p:sp>
            <p:nvSpPr>
              <p:cNvPr id="101" name="Rectangle 100"/>
              <p:cNvSpPr/>
              <p:nvPr/>
            </p:nvSpPr>
            <p:spPr>
              <a:xfrm rot="10800000">
                <a:off x="7069579" y="4881844"/>
                <a:ext cx="654747" cy="14272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阿里巴巴普惠体 B"/>
                  <a:cs typeface="+mn-cs"/>
                </a:endParaRPr>
              </a:p>
            </p:txBody>
          </p:sp>
        </p:grpSp>
      </p:grpSp>
      <p:grpSp>
        <p:nvGrpSpPr>
          <p:cNvPr id="104" name="Group 103"/>
          <p:cNvGrpSpPr/>
          <p:nvPr/>
        </p:nvGrpSpPr>
        <p:grpSpPr>
          <a:xfrm>
            <a:off x="9019242" y="3273683"/>
            <a:ext cx="1288611" cy="1168157"/>
            <a:chOff x="9019242" y="3239883"/>
            <a:chExt cx="1288611" cy="1168157"/>
          </a:xfrm>
          <a:solidFill>
            <a:schemeClr val="bg2"/>
          </a:solidFill>
        </p:grpSpPr>
        <p:sp>
          <p:nvSpPr>
            <p:cNvPr id="105" name="Chevron 104"/>
            <p:cNvSpPr/>
            <p:nvPr/>
          </p:nvSpPr>
          <p:spPr>
            <a:xfrm>
              <a:off x="10008643" y="3982882"/>
              <a:ext cx="299210" cy="425158"/>
            </a:xfrm>
            <a:prstGeom prst="chevron">
              <a:avLst>
                <a:gd name="adj" fmla="val 41342"/>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阿里巴巴普惠体 B"/>
                <a:cs typeface="+mn-cs"/>
              </a:endParaRPr>
            </a:p>
          </p:txBody>
        </p:sp>
        <p:grpSp>
          <p:nvGrpSpPr>
            <p:cNvPr id="106" name="Group 105"/>
            <p:cNvGrpSpPr/>
            <p:nvPr/>
          </p:nvGrpSpPr>
          <p:grpSpPr>
            <a:xfrm rot="10800000">
              <a:off x="9019242" y="3239883"/>
              <a:ext cx="1163337" cy="1026941"/>
              <a:chOff x="2877129" y="2332283"/>
              <a:chExt cx="1163337" cy="1026941"/>
            </a:xfrm>
            <a:grpFill/>
          </p:grpSpPr>
          <p:sp>
            <p:nvSpPr>
              <p:cNvPr id="107" name="Block Arc 106"/>
              <p:cNvSpPr/>
              <p:nvPr/>
            </p:nvSpPr>
            <p:spPr>
              <a:xfrm>
                <a:off x="3013524" y="2332283"/>
                <a:ext cx="1026941" cy="1026941"/>
              </a:xfrm>
              <a:prstGeom prst="blockArc">
                <a:avLst>
                  <a:gd name="adj1" fmla="val 16202709"/>
                  <a:gd name="adj2" fmla="val 21553953"/>
                  <a:gd name="adj3" fmla="val 1378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阿里巴巴普惠体 B"/>
                  <a:cs typeface="+mn-cs"/>
                </a:endParaRPr>
              </a:p>
            </p:txBody>
          </p:sp>
          <p:sp>
            <p:nvSpPr>
              <p:cNvPr id="108" name="Rectangle 107"/>
              <p:cNvSpPr/>
              <p:nvPr/>
            </p:nvSpPr>
            <p:spPr>
              <a:xfrm>
                <a:off x="2877129" y="2332283"/>
                <a:ext cx="654747" cy="14272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阿里巴巴普惠体 B"/>
                  <a:cs typeface="+mn-cs"/>
                </a:endParaRPr>
              </a:p>
            </p:txBody>
          </p:sp>
          <p:sp>
            <p:nvSpPr>
              <p:cNvPr id="109" name="Rectangle 108"/>
              <p:cNvSpPr/>
              <p:nvPr/>
            </p:nvSpPr>
            <p:spPr>
              <a:xfrm rot="5400000">
                <a:off x="3738175" y="2995359"/>
                <a:ext cx="461857" cy="14272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阿里巴巴普惠体 B"/>
                  <a:cs typeface="+mn-cs"/>
                </a:endParaRPr>
              </a:p>
            </p:txBody>
          </p:sp>
        </p:grpSp>
      </p:grpSp>
      <p:grpSp>
        <p:nvGrpSpPr>
          <p:cNvPr id="112" name="Group 111"/>
          <p:cNvGrpSpPr/>
          <p:nvPr/>
        </p:nvGrpSpPr>
        <p:grpSpPr>
          <a:xfrm>
            <a:off x="5427435" y="3693557"/>
            <a:ext cx="1028108" cy="1475229"/>
            <a:chOff x="5427435" y="3659757"/>
            <a:chExt cx="1028108" cy="1475229"/>
          </a:xfrm>
          <a:solidFill>
            <a:schemeClr val="bg2"/>
          </a:solidFill>
        </p:grpSpPr>
        <p:sp>
          <p:nvSpPr>
            <p:cNvPr id="113" name="Block Arc 112"/>
            <p:cNvSpPr/>
            <p:nvPr/>
          </p:nvSpPr>
          <p:spPr>
            <a:xfrm rot="10800000" flipH="1">
              <a:off x="5427435" y="4108045"/>
              <a:ext cx="1026941" cy="1026941"/>
            </a:xfrm>
            <a:prstGeom prst="blockArc">
              <a:avLst>
                <a:gd name="adj1" fmla="val 16202709"/>
                <a:gd name="adj2" fmla="val 21553953"/>
                <a:gd name="adj3" fmla="val 1378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阿里巴巴普惠体 B"/>
                <a:cs typeface="+mn-cs"/>
              </a:endParaRPr>
            </a:p>
          </p:txBody>
        </p:sp>
        <p:sp>
          <p:nvSpPr>
            <p:cNvPr id="114" name="Rectangle 113"/>
            <p:cNvSpPr/>
            <p:nvPr/>
          </p:nvSpPr>
          <p:spPr>
            <a:xfrm rot="5400000">
              <a:off x="5893641" y="4078935"/>
              <a:ext cx="981079" cy="14272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阿里巴巴普惠体 B"/>
                <a:cs typeface="+mn-cs"/>
              </a:endParaRPr>
            </a:p>
          </p:txBody>
        </p:sp>
      </p:grpSp>
      <p:grpSp>
        <p:nvGrpSpPr>
          <p:cNvPr id="115" name="Group 114"/>
          <p:cNvGrpSpPr/>
          <p:nvPr/>
        </p:nvGrpSpPr>
        <p:grpSpPr>
          <a:xfrm>
            <a:off x="1764810" y="2380150"/>
            <a:ext cx="1026942" cy="1026941"/>
            <a:chOff x="3013524" y="2332283"/>
            <a:chExt cx="1026942" cy="1026941"/>
          </a:xfrm>
          <a:solidFill>
            <a:schemeClr val="bg2"/>
          </a:solidFill>
        </p:grpSpPr>
        <p:sp>
          <p:nvSpPr>
            <p:cNvPr id="116" name="Block Arc 115"/>
            <p:cNvSpPr/>
            <p:nvPr/>
          </p:nvSpPr>
          <p:spPr>
            <a:xfrm>
              <a:off x="3013524" y="2332283"/>
              <a:ext cx="1026941" cy="1026941"/>
            </a:xfrm>
            <a:prstGeom prst="blockArc">
              <a:avLst>
                <a:gd name="adj1" fmla="val 16202709"/>
                <a:gd name="adj2" fmla="val 21553953"/>
                <a:gd name="adj3" fmla="val 1378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阿里巴巴普惠体 B"/>
                <a:cs typeface="+mn-cs"/>
              </a:endParaRPr>
            </a:p>
          </p:txBody>
        </p:sp>
        <p:sp>
          <p:nvSpPr>
            <p:cNvPr id="117" name="Rectangle 116"/>
            <p:cNvSpPr/>
            <p:nvPr/>
          </p:nvSpPr>
          <p:spPr>
            <a:xfrm>
              <a:off x="3276531" y="2332283"/>
              <a:ext cx="255346" cy="14272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阿里巴巴普惠体 B"/>
                <a:cs typeface="+mn-cs"/>
              </a:endParaRPr>
            </a:p>
          </p:txBody>
        </p:sp>
        <p:sp>
          <p:nvSpPr>
            <p:cNvPr id="118" name="Rectangle 117"/>
            <p:cNvSpPr/>
            <p:nvPr/>
          </p:nvSpPr>
          <p:spPr>
            <a:xfrm rot="5400000">
              <a:off x="3738175" y="2998523"/>
              <a:ext cx="461857" cy="14272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阿里巴巴普惠体 B"/>
                <a:cs typeface="+mn-cs"/>
              </a:endParaRPr>
            </a:p>
          </p:txBody>
        </p:sp>
      </p:grpSp>
      <p:grpSp>
        <p:nvGrpSpPr>
          <p:cNvPr id="119" name="Group 118"/>
          <p:cNvGrpSpPr/>
          <p:nvPr/>
        </p:nvGrpSpPr>
        <p:grpSpPr>
          <a:xfrm rot="10800000">
            <a:off x="2649027" y="3273681"/>
            <a:ext cx="1163337" cy="1026941"/>
            <a:chOff x="2877129" y="2332283"/>
            <a:chExt cx="1163337" cy="1026941"/>
          </a:xfrm>
          <a:solidFill>
            <a:schemeClr val="bg2"/>
          </a:solidFill>
        </p:grpSpPr>
        <p:sp>
          <p:nvSpPr>
            <p:cNvPr id="120" name="Block Arc 119"/>
            <p:cNvSpPr/>
            <p:nvPr/>
          </p:nvSpPr>
          <p:spPr>
            <a:xfrm>
              <a:off x="3013524" y="2332283"/>
              <a:ext cx="1026941" cy="1026941"/>
            </a:xfrm>
            <a:prstGeom prst="blockArc">
              <a:avLst>
                <a:gd name="adj1" fmla="val 16202709"/>
                <a:gd name="adj2" fmla="val 21553953"/>
                <a:gd name="adj3" fmla="val 1378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阿里巴巴普惠体 B"/>
                <a:cs typeface="+mn-cs"/>
              </a:endParaRPr>
            </a:p>
          </p:txBody>
        </p:sp>
        <p:sp>
          <p:nvSpPr>
            <p:cNvPr id="121" name="Rectangle 120"/>
            <p:cNvSpPr/>
            <p:nvPr/>
          </p:nvSpPr>
          <p:spPr>
            <a:xfrm>
              <a:off x="2877129" y="2332283"/>
              <a:ext cx="654747" cy="14272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阿里巴巴普惠体 B"/>
                <a:cs typeface="+mn-cs"/>
              </a:endParaRPr>
            </a:p>
          </p:txBody>
        </p:sp>
        <p:sp>
          <p:nvSpPr>
            <p:cNvPr id="122" name="Rectangle 121"/>
            <p:cNvSpPr/>
            <p:nvPr/>
          </p:nvSpPr>
          <p:spPr>
            <a:xfrm rot="5400000">
              <a:off x="3738175" y="2995359"/>
              <a:ext cx="461857" cy="14272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阿里巴巴普惠体 B"/>
                <a:cs typeface="+mn-cs"/>
              </a:endParaRPr>
            </a:p>
          </p:txBody>
        </p:sp>
      </p:grpSp>
      <p:grpSp>
        <p:nvGrpSpPr>
          <p:cNvPr id="123" name="Group 122"/>
          <p:cNvGrpSpPr/>
          <p:nvPr/>
        </p:nvGrpSpPr>
        <p:grpSpPr>
          <a:xfrm>
            <a:off x="6318005" y="2377354"/>
            <a:ext cx="1026943" cy="1286310"/>
            <a:chOff x="6318005" y="2343554"/>
            <a:chExt cx="1026943" cy="1286310"/>
          </a:xfrm>
          <a:solidFill>
            <a:schemeClr val="bg2"/>
          </a:solidFill>
        </p:grpSpPr>
        <p:sp>
          <p:nvSpPr>
            <p:cNvPr id="124" name="Rectangle 123"/>
            <p:cNvSpPr/>
            <p:nvPr/>
          </p:nvSpPr>
          <p:spPr>
            <a:xfrm>
              <a:off x="6816174" y="2343554"/>
              <a:ext cx="528774" cy="14272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阿里巴巴普惠体 B"/>
                <a:cs typeface="+mn-cs"/>
              </a:endParaRPr>
            </a:p>
          </p:txBody>
        </p:sp>
        <p:grpSp>
          <p:nvGrpSpPr>
            <p:cNvPr id="125" name="Group 124"/>
            <p:cNvGrpSpPr/>
            <p:nvPr/>
          </p:nvGrpSpPr>
          <p:grpSpPr>
            <a:xfrm>
              <a:off x="6318005" y="2346350"/>
              <a:ext cx="1026942" cy="1283514"/>
              <a:chOff x="2366533" y="2332283"/>
              <a:chExt cx="1026942" cy="1283514"/>
            </a:xfrm>
            <a:grpFill/>
          </p:grpSpPr>
          <p:sp>
            <p:nvSpPr>
              <p:cNvPr id="126" name="Block Arc 125"/>
              <p:cNvSpPr/>
              <p:nvPr/>
            </p:nvSpPr>
            <p:spPr>
              <a:xfrm flipH="1">
                <a:off x="2366534" y="2332283"/>
                <a:ext cx="1026941" cy="1026941"/>
              </a:xfrm>
              <a:prstGeom prst="blockArc">
                <a:avLst>
                  <a:gd name="adj1" fmla="val 16202709"/>
                  <a:gd name="adj2" fmla="val 21553953"/>
                  <a:gd name="adj3" fmla="val 1378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阿里巴巴普惠体 B"/>
                  <a:cs typeface="+mn-cs"/>
                </a:endParaRPr>
              </a:p>
            </p:txBody>
          </p:sp>
          <p:sp>
            <p:nvSpPr>
              <p:cNvPr id="127" name="Rectangle 126"/>
              <p:cNvSpPr/>
              <p:nvPr/>
            </p:nvSpPr>
            <p:spPr>
              <a:xfrm rot="5400000">
                <a:off x="2049474" y="3156015"/>
                <a:ext cx="776841" cy="14272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阿里巴巴普惠体 B"/>
                  <a:cs typeface="+mn-cs"/>
                </a:endParaRPr>
              </a:p>
            </p:txBody>
          </p:sp>
        </p:grpSp>
      </p:grpSp>
      <p:grpSp>
        <p:nvGrpSpPr>
          <p:cNvPr id="128" name="Group 127"/>
          <p:cNvGrpSpPr/>
          <p:nvPr/>
        </p:nvGrpSpPr>
        <p:grpSpPr>
          <a:xfrm>
            <a:off x="7571935" y="2380150"/>
            <a:ext cx="1588341" cy="1026941"/>
            <a:chOff x="7571935" y="2346350"/>
            <a:chExt cx="1588341" cy="1026941"/>
          </a:xfrm>
          <a:solidFill>
            <a:schemeClr val="bg2"/>
          </a:solidFill>
        </p:grpSpPr>
        <p:grpSp>
          <p:nvGrpSpPr>
            <p:cNvPr id="129" name="Group 128"/>
            <p:cNvGrpSpPr/>
            <p:nvPr/>
          </p:nvGrpSpPr>
          <p:grpSpPr>
            <a:xfrm>
              <a:off x="7571935" y="2346350"/>
              <a:ext cx="1588340" cy="1026941"/>
              <a:chOff x="7571935" y="2346350"/>
              <a:chExt cx="1588340" cy="1026941"/>
            </a:xfrm>
            <a:grpFill/>
          </p:grpSpPr>
          <p:sp>
            <p:nvSpPr>
              <p:cNvPr id="131" name="Rectangle 130"/>
              <p:cNvSpPr/>
              <p:nvPr/>
            </p:nvSpPr>
            <p:spPr>
              <a:xfrm>
                <a:off x="7571935" y="2346350"/>
                <a:ext cx="1116400" cy="14272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阿里巴巴普惠体 B"/>
                  <a:cs typeface="+mn-cs"/>
                </a:endParaRPr>
              </a:p>
            </p:txBody>
          </p:sp>
          <p:sp>
            <p:nvSpPr>
              <p:cNvPr id="132" name="Block Arc 131"/>
              <p:cNvSpPr/>
              <p:nvPr/>
            </p:nvSpPr>
            <p:spPr>
              <a:xfrm>
                <a:off x="8133334" y="2346350"/>
                <a:ext cx="1026941" cy="1026941"/>
              </a:xfrm>
              <a:prstGeom prst="blockArc">
                <a:avLst>
                  <a:gd name="adj1" fmla="val 16202709"/>
                  <a:gd name="adj2" fmla="val 21553953"/>
                  <a:gd name="adj3" fmla="val 1378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阿里巴巴普惠体 B"/>
                  <a:cs typeface="+mn-cs"/>
                </a:endParaRPr>
              </a:p>
            </p:txBody>
          </p:sp>
        </p:grpSp>
        <p:sp>
          <p:nvSpPr>
            <p:cNvPr id="130" name="Rectangle 129"/>
            <p:cNvSpPr/>
            <p:nvPr/>
          </p:nvSpPr>
          <p:spPr>
            <a:xfrm rot="5400000">
              <a:off x="8857985" y="3012590"/>
              <a:ext cx="461857" cy="14272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阿里巴巴普惠体 B"/>
                <a:cs typeface="+mn-cs"/>
              </a:endParaRPr>
            </a:p>
          </p:txBody>
        </p:sp>
      </p:grpSp>
      <p:grpSp>
        <p:nvGrpSpPr>
          <p:cNvPr id="147" name="Group 146"/>
          <p:cNvGrpSpPr/>
          <p:nvPr/>
        </p:nvGrpSpPr>
        <p:grpSpPr>
          <a:xfrm>
            <a:off x="1060437" y="2380150"/>
            <a:ext cx="1084324" cy="1149676"/>
            <a:chOff x="1060437" y="2346350"/>
            <a:chExt cx="1084324" cy="1149676"/>
          </a:xfrm>
          <a:solidFill>
            <a:schemeClr val="bg2"/>
          </a:solidFill>
        </p:grpSpPr>
        <p:grpSp>
          <p:nvGrpSpPr>
            <p:cNvPr id="148" name="Group 147"/>
            <p:cNvGrpSpPr/>
            <p:nvPr/>
          </p:nvGrpSpPr>
          <p:grpSpPr>
            <a:xfrm>
              <a:off x="1117819" y="2346350"/>
              <a:ext cx="1026942" cy="1026941"/>
              <a:chOff x="2366533" y="2332283"/>
              <a:chExt cx="1026942" cy="1026941"/>
            </a:xfrm>
            <a:grpFill/>
          </p:grpSpPr>
          <p:sp>
            <p:nvSpPr>
              <p:cNvPr id="150" name="Block Arc 149"/>
              <p:cNvSpPr/>
              <p:nvPr/>
            </p:nvSpPr>
            <p:spPr>
              <a:xfrm flipH="1">
                <a:off x="2366534" y="2332283"/>
                <a:ext cx="1026941" cy="1026941"/>
              </a:xfrm>
              <a:prstGeom prst="blockArc">
                <a:avLst>
                  <a:gd name="adj1" fmla="val 16202709"/>
                  <a:gd name="adj2" fmla="val 21553953"/>
                  <a:gd name="adj3" fmla="val 1378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阿里巴巴普惠体 B"/>
                  <a:cs typeface="+mn-cs"/>
                </a:endParaRPr>
              </a:p>
            </p:txBody>
          </p:sp>
          <p:sp>
            <p:nvSpPr>
              <p:cNvPr id="151" name="Rectangle 150"/>
              <p:cNvSpPr/>
              <p:nvPr/>
            </p:nvSpPr>
            <p:spPr>
              <a:xfrm rot="5400000">
                <a:off x="2206966" y="2998522"/>
                <a:ext cx="461857" cy="14272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阿里巴巴普惠体 B"/>
                  <a:cs typeface="+mn-cs"/>
                </a:endParaRPr>
              </a:p>
            </p:txBody>
          </p:sp>
        </p:grpSp>
        <p:sp>
          <p:nvSpPr>
            <p:cNvPr id="149" name="Oval 148"/>
            <p:cNvSpPr/>
            <p:nvPr/>
          </p:nvSpPr>
          <p:spPr>
            <a:xfrm>
              <a:off x="1060437" y="3239882"/>
              <a:ext cx="256144" cy="25614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阿里巴巴普惠体 B"/>
                <a:cs typeface="+mn-cs"/>
              </a:endParaRPr>
            </a:p>
          </p:txBody>
        </p:sp>
      </p:grpSp>
      <p:sp>
        <p:nvSpPr>
          <p:cNvPr id="153" name="Oval 152"/>
          <p:cNvSpPr>
            <a:spLocks noChangeAspect="1"/>
          </p:cNvSpPr>
          <p:nvPr/>
        </p:nvSpPr>
        <p:spPr>
          <a:xfrm flipH="1">
            <a:off x="1615598" y="2124716"/>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阿里巴巴普惠体 B"/>
              <a:cs typeface="+mn-cs"/>
            </a:endParaRPr>
          </a:p>
        </p:txBody>
      </p:sp>
      <p:sp>
        <p:nvSpPr>
          <p:cNvPr id="154" name="Oval 153"/>
          <p:cNvSpPr>
            <a:spLocks noChangeAspect="1"/>
          </p:cNvSpPr>
          <p:nvPr/>
        </p:nvSpPr>
        <p:spPr>
          <a:xfrm flipH="1">
            <a:off x="2401270" y="2983307"/>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阿里巴巴普惠体 B"/>
              <a:cs typeface="+mn-cs"/>
            </a:endParaRPr>
          </a:p>
        </p:txBody>
      </p:sp>
      <p:sp>
        <p:nvSpPr>
          <p:cNvPr id="155" name="Oval 154"/>
          <p:cNvSpPr>
            <a:spLocks noChangeAspect="1"/>
          </p:cNvSpPr>
          <p:nvPr/>
        </p:nvSpPr>
        <p:spPr>
          <a:xfrm flipH="1">
            <a:off x="3452684" y="3886899"/>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阿里巴巴普惠体 B"/>
              <a:cs typeface="+mn-cs"/>
            </a:endParaRPr>
          </a:p>
        </p:txBody>
      </p:sp>
      <p:sp>
        <p:nvSpPr>
          <p:cNvPr id="156" name="Oval 155"/>
          <p:cNvSpPr>
            <a:spLocks noChangeAspect="1"/>
          </p:cNvSpPr>
          <p:nvPr/>
        </p:nvSpPr>
        <p:spPr>
          <a:xfrm flipH="1">
            <a:off x="5350540" y="4768231"/>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FontAwesome" pitchFamily="2" charset="0"/>
              <a:cs typeface="+mn-cs"/>
            </a:endParaRPr>
          </a:p>
        </p:txBody>
      </p:sp>
      <p:sp>
        <p:nvSpPr>
          <p:cNvPr id="157" name="Oval 156"/>
          <p:cNvSpPr>
            <a:spLocks noChangeAspect="1"/>
          </p:cNvSpPr>
          <p:nvPr/>
        </p:nvSpPr>
        <p:spPr>
          <a:xfrm flipH="1">
            <a:off x="6049746" y="3343167"/>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600" b="0" i="0" u="none" strike="noStrike" kern="1200" cap="none" spc="0" normalizeH="0" baseline="0" noProof="0" dirty="0">
              <a:ln>
                <a:noFill/>
              </a:ln>
              <a:solidFill>
                <a:prstClr val="white"/>
              </a:solidFill>
              <a:effectLst/>
              <a:uLnTx/>
              <a:uFillTx/>
              <a:latin typeface="FontAwesome" pitchFamily="2" charset="0"/>
              <a:cs typeface="+mn-cs"/>
            </a:endParaRPr>
          </a:p>
        </p:txBody>
      </p:sp>
      <p:sp>
        <p:nvSpPr>
          <p:cNvPr id="158" name="Oval 157"/>
          <p:cNvSpPr>
            <a:spLocks noChangeAspect="1"/>
          </p:cNvSpPr>
          <p:nvPr/>
        </p:nvSpPr>
        <p:spPr>
          <a:xfrm flipH="1">
            <a:off x="7126400" y="2130252"/>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600" b="0" i="0" u="none" strike="noStrike" kern="1200" cap="none" spc="0" normalizeH="0" baseline="0" noProof="0" dirty="0">
              <a:ln>
                <a:noFill/>
              </a:ln>
              <a:solidFill>
                <a:prstClr val="white"/>
              </a:solidFill>
              <a:effectLst/>
              <a:uLnTx/>
              <a:uFillTx/>
              <a:latin typeface="阿里巴巴普惠体 B"/>
              <a:cs typeface="+mn-cs"/>
            </a:endParaRPr>
          </a:p>
        </p:txBody>
      </p:sp>
      <p:sp>
        <p:nvSpPr>
          <p:cNvPr id="159" name="Oval 158"/>
          <p:cNvSpPr>
            <a:spLocks noChangeAspect="1"/>
          </p:cNvSpPr>
          <p:nvPr/>
        </p:nvSpPr>
        <p:spPr>
          <a:xfrm flipH="1">
            <a:off x="8776018" y="2996702"/>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FontAwesome" pitchFamily="2" charset="0"/>
              <a:cs typeface="+mn-cs"/>
            </a:endParaRPr>
          </a:p>
        </p:txBody>
      </p:sp>
      <p:grpSp>
        <p:nvGrpSpPr>
          <p:cNvPr id="70" name="图形 93">
            <a:extLst>
              <a:ext uri="{FF2B5EF4-FFF2-40B4-BE49-F238E27FC236}">
                <a16:creationId xmlns:a16="http://schemas.microsoft.com/office/drawing/2014/main" id="{2059B9EA-FDE5-43CC-A5BA-58628DBD6E0D}"/>
              </a:ext>
            </a:extLst>
          </p:cNvPr>
          <p:cNvGrpSpPr/>
          <p:nvPr/>
        </p:nvGrpSpPr>
        <p:grpSpPr>
          <a:xfrm>
            <a:off x="1771120" y="2282969"/>
            <a:ext cx="336956" cy="331495"/>
            <a:chOff x="4421509" y="1204616"/>
            <a:chExt cx="1231508" cy="1211536"/>
          </a:xfrm>
          <a:solidFill>
            <a:schemeClr val="bg1"/>
          </a:solidFill>
        </p:grpSpPr>
        <p:sp>
          <p:nvSpPr>
            <p:cNvPr id="71" name="任意多边形: 形状 70">
              <a:extLst>
                <a:ext uri="{FF2B5EF4-FFF2-40B4-BE49-F238E27FC236}">
                  <a16:creationId xmlns:a16="http://schemas.microsoft.com/office/drawing/2014/main" id="{489DB319-47C8-4AD1-99C7-9D4E65E8ACFD}"/>
                </a:ext>
              </a:extLst>
            </p:cNvPr>
            <p:cNvSpPr/>
            <p:nvPr/>
          </p:nvSpPr>
          <p:spPr>
            <a:xfrm>
              <a:off x="4503802" y="1286988"/>
              <a:ext cx="846402" cy="846394"/>
            </a:xfrm>
            <a:custGeom>
              <a:avLst/>
              <a:gdLst>
                <a:gd name="connsiteX0" fmla="*/ 423201 w 846402"/>
                <a:gd name="connsiteY0" fmla="*/ 0 h 846402"/>
                <a:gd name="connsiteX1" fmla="*/ 0 w 846402"/>
                <a:gd name="connsiteY1" fmla="*/ 423201 h 846402"/>
                <a:gd name="connsiteX2" fmla="*/ 423201 w 846402"/>
                <a:gd name="connsiteY2" fmla="*/ 846402 h 846402"/>
                <a:gd name="connsiteX3" fmla="*/ 846402 w 846402"/>
                <a:gd name="connsiteY3" fmla="*/ 423201 h 846402"/>
                <a:gd name="connsiteX4" fmla="*/ 423201 w 846402"/>
                <a:gd name="connsiteY4" fmla="*/ 0 h 846402"/>
                <a:gd name="connsiteX5" fmla="*/ 423201 w 846402"/>
                <a:gd name="connsiteY5" fmla="*/ 806098 h 846402"/>
                <a:gd name="connsiteX6" fmla="*/ 40305 w 846402"/>
                <a:gd name="connsiteY6" fmla="*/ 423201 h 846402"/>
                <a:gd name="connsiteX7" fmla="*/ 423201 w 846402"/>
                <a:gd name="connsiteY7" fmla="*/ 40305 h 846402"/>
                <a:gd name="connsiteX8" fmla="*/ 806098 w 846402"/>
                <a:gd name="connsiteY8" fmla="*/ 423201 h 846402"/>
                <a:gd name="connsiteX9" fmla="*/ 423201 w 846402"/>
                <a:gd name="connsiteY9" fmla="*/ 806098 h 846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46402" h="846402">
                  <a:moveTo>
                    <a:pt x="423201" y="0"/>
                  </a:moveTo>
                  <a:cubicBezTo>
                    <a:pt x="189474" y="0"/>
                    <a:pt x="0" y="189474"/>
                    <a:pt x="0" y="423201"/>
                  </a:cubicBezTo>
                  <a:cubicBezTo>
                    <a:pt x="0" y="656929"/>
                    <a:pt x="189474" y="846402"/>
                    <a:pt x="423201" y="846402"/>
                  </a:cubicBezTo>
                  <a:cubicBezTo>
                    <a:pt x="656929" y="846402"/>
                    <a:pt x="846402" y="656929"/>
                    <a:pt x="846402" y="423201"/>
                  </a:cubicBezTo>
                  <a:cubicBezTo>
                    <a:pt x="846136" y="189584"/>
                    <a:pt x="656818" y="267"/>
                    <a:pt x="423201" y="0"/>
                  </a:cubicBezTo>
                  <a:close/>
                  <a:moveTo>
                    <a:pt x="423201" y="806098"/>
                  </a:moveTo>
                  <a:cubicBezTo>
                    <a:pt x="211733" y="806098"/>
                    <a:pt x="40305" y="634669"/>
                    <a:pt x="40305" y="423201"/>
                  </a:cubicBezTo>
                  <a:cubicBezTo>
                    <a:pt x="40305" y="211733"/>
                    <a:pt x="211733" y="40305"/>
                    <a:pt x="423201" y="40305"/>
                  </a:cubicBezTo>
                  <a:cubicBezTo>
                    <a:pt x="634669" y="40305"/>
                    <a:pt x="806098" y="211733"/>
                    <a:pt x="806098" y="423201"/>
                  </a:cubicBezTo>
                  <a:cubicBezTo>
                    <a:pt x="805853" y="634568"/>
                    <a:pt x="634568" y="805853"/>
                    <a:pt x="423201" y="806098"/>
                  </a:cubicBezTo>
                  <a:close/>
                </a:path>
              </a:pathLst>
            </a:custGeom>
            <a:grpFill/>
            <a:ln w="200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262626"/>
                </a:solidFill>
                <a:effectLst/>
                <a:uLnTx/>
                <a:uFillTx/>
                <a:latin typeface="阿里巴巴普惠体 B"/>
                <a:ea typeface="阿里巴巴普惠体 R"/>
                <a:cs typeface="+mn-cs"/>
              </a:endParaRPr>
            </a:p>
          </p:txBody>
        </p:sp>
        <p:sp>
          <p:nvSpPr>
            <p:cNvPr id="72" name="任意多边形: 形状 71">
              <a:extLst>
                <a:ext uri="{FF2B5EF4-FFF2-40B4-BE49-F238E27FC236}">
                  <a16:creationId xmlns:a16="http://schemas.microsoft.com/office/drawing/2014/main" id="{D2FFD937-599A-4822-9F8D-E00E51D94D10}"/>
                </a:ext>
              </a:extLst>
            </p:cNvPr>
            <p:cNvSpPr/>
            <p:nvPr/>
          </p:nvSpPr>
          <p:spPr>
            <a:xfrm>
              <a:off x="4421509" y="1204616"/>
              <a:ext cx="1231508" cy="1211536"/>
            </a:xfrm>
            <a:custGeom>
              <a:avLst/>
              <a:gdLst>
                <a:gd name="connsiteX0" fmla="*/ 910417 w 1231508"/>
                <a:gd name="connsiteY0" fmla="*/ 804878 h 1211548"/>
                <a:gd name="connsiteX1" fmla="*/ 804878 w 1231508"/>
                <a:gd name="connsiteY1" fmla="*/ 99003 h 1211548"/>
                <a:gd name="connsiteX2" fmla="*/ 99003 w 1231508"/>
                <a:gd name="connsiteY2" fmla="*/ 204541 h 1211548"/>
                <a:gd name="connsiteX3" fmla="*/ 204541 w 1231508"/>
                <a:gd name="connsiteY3" fmla="*/ 910417 h 1211548"/>
                <a:gd name="connsiteX4" fmla="*/ 827328 w 1231508"/>
                <a:gd name="connsiteY4" fmla="*/ 892803 h 1211548"/>
                <a:gd name="connsiteX5" fmla="*/ 1127721 w 1231508"/>
                <a:gd name="connsiteY5" fmla="*/ 1193075 h 1211548"/>
                <a:gd name="connsiteX6" fmla="*/ 1213034 w 1231508"/>
                <a:gd name="connsiteY6" fmla="*/ 1194664 h 1211548"/>
                <a:gd name="connsiteX7" fmla="*/ 1214624 w 1231508"/>
                <a:gd name="connsiteY7" fmla="*/ 1109350 h 1211548"/>
                <a:gd name="connsiteX8" fmla="*/ 1213127 w 1231508"/>
                <a:gd name="connsiteY8" fmla="*/ 1107850 h 1211548"/>
                <a:gd name="connsiteX9" fmla="*/ 41988 w 1231508"/>
                <a:gd name="connsiteY9" fmla="*/ 505574 h 1211548"/>
                <a:gd name="connsiteX10" fmla="*/ 505494 w 1231508"/>
                <a:gd name="connsiteY10" fmla="*/ 42068 h 1211548"/>
                <a:gd name="connsiteX11" fmla="*/ 969000 w 1231508"/>
                <a:gd name="connsiteY11" fmla="*/ 505574 h 1211548"/>
                <a:gd name="connsiteX12" fmla="*/ 505494 w 1231508"/>
                <a:gd name="connsiteY12" fmla="*/ 969080 h 1211548"/>
                <a:gd name="connsiteX13" fmla="*/ 41988 w 1231508"/>
                <a:gd name="connsiteY13" fmla="*/ 505574 h 1211548"/>
                <a:gd name="connsiteX14" fmla="*/ 1184631 w 1231508"/>
                <a:gd name="connsiteY14" fmla="*/ 1164720 h 1211548"/>
                <a:gd name="connsiteX15" fmla="*/ 1156418 w 1231508"/>
                <a:gd name="connsiteY15" fmla="*/ 1164720 h 1211548"/>
                <a:gd name="connsiteX16" fmla="*/ 857235 w 1231508"/>
                <a:gd name="connsiteY16" fmla="*/ 865739 h 1211548"/>
                <a:gd name="connsiteX17" fmla="*/ 884924 w 1231508"/>
                <a:gd name="connsiteY17" fmla="*/ 836397 h 1211548"/>
                <a:gd name="connsiteX18" fmla="*/ 1184631 w 1231508"/>
                <a:gd name="connsiteY18" fmla="*/ 1136346 h 1211548"/>
                <a:gd name="connsiteX19" fmla="*/ 1190677 w 1231508"/>
                <a:gd name="connsiteY19" fmla="*/ 1150452 h 1211548"/>
                <a:gd name="connsiteX20" fmla="*/ 1184631 w 1231508"/>
                <a:gd name="connsiteY20" fmla="*/ 1164720 h 1211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31508" h="1211548">
                  <a:moveTo>
                    <a:pt x="910417" y="804878"/>
                  </a:moveTo>
                  <a:cubicBezTo>
                    <a:pt x="1076195" y="580812"/>
                    <a:pt x="1028944" y="264781"/>
                    <a:pt x="804878" y="99003"/>
                  </a:cubicBezTo>
                  <a:cubicBezTo>
                    <a:pt x="580812" y="-66776"/>
                    <a:pt x="264781" y="-19525"/>
                    <a:pt x="99003" y="204541"/>
                  </a:cubicBezTo>
                  <a:cubicBezTo>
                    <a:pt x="-66776" y="428607"/>
                    <a:pt x="-19525" y="744638"/>
                    <a:pt x="204541" y="910417"/>
                  </a:cubicBezTo>
                  <a:cubicBezTo>
                    <a:pt x="391418" y="1048680"/>
                    <a:pt x="648565" y="1041408"/>
                    <a:pt x="827328" y="892803"/>
                  </a:cubicBezTo>
                  <a:lnTo>
                    <a:pt x="1127721" y="1193075"/>
                  </a:lnTo>
                  <a:cubicBezTo>
                    <a:pt x="1150841" y="1217072"/>
                    <a:pt x="1189037" y="1217784"/>
                    <a:pt x="1213034" y="1194664"/>
                  </a:cubicBezTo>
                  <a:cubicBezTo>
                    <a:pt x="1237032" y="1171544"/>
                    <a:pt x="1237744" y="1133348"/>
                    <a:pt x="1214624" y="1109350"/>
                  </a:cubicBezTo>
                  <a:cubicBezTo>
                    <a:pt x="1214134" y="1108841"/>
                    <a:pt x="1213634" y="1108341"/>
                    <a:pt x="1213127" y="1107850"/>
                  </a:cubicBezTo>
                  <a:close/>
                  <a:moveTo>
                    <a:pt x="41988" y="505574"/>
                  </a:moveTo>
                  <a:cubicBezTo>
                    <a:pt x="41988" y="249587"/>
                    <a:pt x="249507" y="42068"/>
                    <a:pt x="505494" y="42068"/>
                  </a:cubicBezTo>
                  <a:cubicBezTo>
                    <a:pt x="761481" y="42068"/>
                    <a:pt x="969000" y="249587"/>
                    <a:pt x="969000" y="505574"/>
                  </a:cubicBezTo>
                  <a:cubicBezTo>
                    <a:pt x="969000" y="761562"/>
                    <a:pt x="761481" y="969080"/>
                    <a:pt x="505494" y="969080"/>
                  </a:cubicBezTo>
                  <a:cubicBezTo>
                    <a:pt x="249622" y="968803"/>
                    <a:pt x="42266" y="761446"/>
                    <a:pt x="41988" y="505574"/>
                  </a:cubicBezTo>
                  <a:close/>
                  <a:moveTo>
                    <a:pt x="1184631" y="1164720"/>
                  </a:moveTo>
                  <a:cubicBezTo>
                    <a:pt x="1176835" y="1172499"/>
                    <a:pt x="1164214" y="1172499"/>
                    <a:pt x="1156418" y="1164720"/>
                  </a:cubicBezTo>
                  <a:lnTo>
                    <a:pt x="857235" y="865739"/>
                  </a:lnTo>
                  <a:cubicBezTo>
                    <a:pt x="866868" y="856334"/>
                    <a:pt x="876097" y="846553"/>
                    <a:pt x="884924" y="836397"/>
                  </a:cubicBezTo>
                  <a:lnTo>
                    <a:pt x="1184631" y="1136346"/>
                  </a:lnTo>
                  <a:cubicBezTo>
                    <a:pt x="1188483" y="1140028"/>
                    <a:pt x="1190667" y="1145123"/>
                    <a:pt x="1190677" y="1150452"/>
                  </a:cubicBezTo>
                  <a:cubicBezTo>
                    <a:pt x="1190683" y="1155832"/>
                    <a:pt x="1188500" y="1160982"/>
                    <a:pt x="1184631" y="1164720"/>
                  </a:cubicBezTo>
                  <a:close/>
                </a:path>
              </a:pathLst>
            </a:custGeom>
            <a:grpFill/>
            <a:ln w="200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262626"/>
                </a:solidFill>
                <a:effectLst/>
                <a:uLnTx/>
                <a:uFillTx/>
                <a:latin typeface="阿里巴巴普惠体 B"/>
                <a:ea typeface="阿里巴巴普惠体 R"/>
                <a:cs typeface="+mn-cs"/>
              </a:endParaRPr>
            </a:p>
          </p:txBody>
        </p:sp>
        <p:sp>
          <p:nvSpPr>
            <p:cNvPr id="73" name="任意多边形: 形状 72">
              <a:extLst>
                <a:ext uri="{FF2B5EF4-FFF2-40B4-BE49-F238E27FC236}">
                  <a16:creationId xmlns:a16="http://schemas.microsoft.com/office/drawing/2014/main" id="{557EECA8-3A33-4D60-9AD4-7C785394E0B6}"/>
                </a:ext>
              </a:extLst>
            </p:cNvPr>
            <p:cNvSpPr/>
            <p:nvPr/>
          </p:nvSpPr>
          <p:spPr>
            <a:xfrm>
              <a:off x="4705325" y="1609425"/>
              <a:ext cx="120914" cy="241826"/>
            </a:xfrm>
            <a:custGeom>
              <a:avLst/>
              <a:gdLst>
                <a:gd name="connsiteX0" fmla="*/ 20152 w 120914"/>
                <a:gd name="connsiteY0" fmla="*/ 241829 h 241829"/>
                <a:gd name="connsiteX1" fmla="*/ 100762 w 120914"/>
                <a:gd name="connsiteY1" fmla="*/ 241829 h 241829"/>
                <a:gd name="connsiteX2" fmla="*/ 120915 w 120914"/>
                <a:gd name="connsiteY2" fmla="*/ 221677 h 241829"/>
                <a:gd name="connsiteX3" fmla="*/ 120915 w 120914"/>
                <a:gd name="connsiteY3" fmla="*/ 20152 h 241829"/>
                <a:gd name="connsiteX4" fmla="*/ 100762 w 120914"/>
                <a:gd name="connsiteY4" fmla="*/ 0 h 241829"/>
                <a:gd name="connsiteX5" fmla="*/ 20152 w 120914"/>
                <a:gd name="connsiteY5" fmla="*/ 0 h 241829"/>
                <a:gd name="connsiteX6" fmla="*/ 0 w 120914"/>
                <a:gd name="connsiteY6" fmla="*/ 20152 h 241829"/>
                <a:gd name="connsiteX7" fmla="*/ 0 w 120914"/>
                <a:gd name="connsiteY7" fmla="*/ 221677 h 241829"/>
                <a:gd name="connsiteX8" fmla="*/ 20152 w 120914"/>
                <a:gd name="connsiteY8" fmla="*/ 241829 h 241829"/>
                <a:gd name="connsiteX9" fmla="*/ 40305 w 120914"/>
                <a:gd name="connsiteY9" fmla="*/ 40305 h 241829"/>
                <a:gd name="connsiteX10" fmla="*/ 80610 w 120914"/>
                <a:gd name="connsiteY10" fmla="*/ 40305 h 241829"/>
                <a:gd name="connsiteX11" fmla="*/ 80610 w 120914"/>
                <a:gd name="connsiteY11" fmla="*/ 201524 h 241829"/>
                <a:gd name="connsiteX12" fmla="*/ 40305 w 120914"/>
                <a:gd name="connsiteY12" fmla="*/ 201524 h 241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0914" h="241829">
                  <a:moveTo>
                    <a:pt x="20152" y="241829"/>
                  </a:moveTo>
                  <a:lnTo>
                    <a:pt x="100762" y="241829"/>
                  </a:lnTo>
                  <a:cubicBezTo>
                    <a:pt x="111892" y="241829"/>
                    <a:pt x="120915" y="232807"/>
                    <a:pt x="120915" y="221677"/>
                  </a:cubicBezTo>
                  <a:lnTo>
                    <a:pt x="120915" y="20152"/>
                  </a:lnTo>
                  <a:cubicBezTo>
                    <a:pt x="120915" y="9023"/>
                    <a:pt x="111892" y="0"/>
                    <a:pt x="100762" y="0"/>
                  </a:cubicBezTo>
                  <a:lnTo>
                    <a:pt x="20152" y="0"/>
                  </a:lnTo>
                  <a:cubicBezTo>
                    <a:pt x="9023" y="0"/>
                    <a:pt x="0" y="9023"/>
                    <a:pt x="0" y="20152"/>
                  </a:cubicBezTo>
                  <a:lnTo>
                    <a:pt x="0" y="221677"/>
                  </a:lnTo>
                  <a:cubicBezTo>
                    <a:pt x="0" y="232807"/>
                    <a:pt x="9023" y="241829"/>
                    <a:pt x="20152" y="241829"/>
                  </a:cubicBezTo>
                  <a:close/>
                  <a:moveTo>
                    <a:pt x="40305" y="40305"/>
                  </a:moveTo>
                  <a:lnTo>
                    <a:pt x="80610" y="40305"/>
                  </a:lnTo>
                  <a:lnTo>
                    <a:pt x="80610" y="201524"/>
                  </a:lnTo>
                  <a:lnTo>
                    <a:pt x="40305" y="201524"/>
                  </a:lnTo>
                  <a:close/>
                </a:path>
              </a:pathLst>
            </a:custGeom>
            <a:grpFill/>
            <a:ln w="200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262626"/>
                </a:solidFill>
                <a:effectLst/>
                <a:uLnTx/>
                <a:uFillTx/>
                <a:latin typeface="阿里巴巴普惠体 B"/>
                <a:ea typeface="阿里巴巴普惠体 R"/>
                <a:cs typeface="+mn-cs"/>
              </a:endParaRPr>
            </a:p>
          </p:txBody>
        </p:sp>
        <p:sp>
          <p:nvSpPr>
            <p:cNvPr id="74" name="任意多边形: 形状 73">
              <a:extLst>
                <a:ext uri="{FF2B5EF4-FFF2-40B4-BE49-F238E27FC236}">
                  <a16:creationId xmlns:a16="http://schemas.microsoft.com/office/drawing/2014/main" id="{3B92E6AC-94C2-42F6-BB7D-7D22E155F531}"/>
                </a:ext>
              </a:extLst>
            </p:cNvPr>
            <p:cNvSpPr/>
            <p:nvPr/>
          </p:nvSpPr>
          <p:spPr>
            <a:xfrm>
              <a:off x="4866547" y="1569120"/>
              <a:ext cx="120914" cy="282132"/>
            </a:xfrm>
            <a:custGeom>
              <a:avLst/>
              <a:gdLst>
                <a:gd name="connsiteX0" fmla="*/ 20152 w 120914"/>
                <a:gd name="connsiteY0" fmla="*/ 282134 h 282134"/>
                <a:gd name="connsiteX1" fmla="*/ 100762 w 120914"/>
                <a:gd name="connsiteY1" fmla="*/ 282134 h 282134"/>
                <a:gd name="connsiteX2" fmla="*/ 120915 w 120914"/>
                <a:gd name="connsiteY2" fmla="*/ 261982 h 282134"/>
                <a:gd name="connsiteX3" fmla="*/ 120915 w 120914"/>
                <a:gd name="connsiteY3" fmla="*/ 20152 h 282134"/>
                <a:gd name="connsiteX4" fmla="*/ 100762 w 120914"/>
                <a:gd name="connsiteY4" fmla="*/ 0 h 282134"/>
                <a:gd name="connsiteX5" fmla="*/ 20152 w 120914"/>
                <a:gd name="connsiteY5" fmla="*/ 0 h 282134"/>
                <a:gd name="connsiteX6" fmla="*/ 0 w 120914"/>
                <a:gd name="connsiteY6" fmla="*/ 20152 h 282134"/>
                <a:gd name="connsiteX7" fmla="*/ 0 w 120914"/>
                <a:gd name="connsiteY7" fmla="*/ 261982 h 282134"/>
                <a:gd name="connsiteX8" fmla="*/ 20152 w 120914"/>
                <a:gd name="connsiteY8" fmla="*/ 282134 h 282134"/>
                <a:gd name="connsiteX9" fmla="*/ 40305 w 120914"/>
                <a:gd name="connsiteY9" fmla="*/ 40305 h 282134"/>
                <a:gd name="connsiteX10" fmla="*/ 80610 w 120914"/>
                <a:gd name="connsiteY10" fmla="*/ 40305 h 282134"/>
                <a:gd name="connsiteX11" fmla="*/ 80610 w 120914"/>
                <a:gd name="connsiteY11" fmla="*/ 241829 h 282134"/>
                <a:gd name="connsiteX12" fmla="*/ 40305 w 120914"/>
                <a:gd name="connsiteY12" fmla="*/ 241829 h 282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0914" h="282134">
                  <a:moveTo>
                    <a:pt x="20152" y="282134"/>
                  </a:moveTo>
                  <a:lnTo>
                    <a:pt x="100762" y="282134"/>
                  </a:lnTo>
                  <a:cubicBezTo>
                    <a:pt x="111892" y="282134"/>
                    <a:pt x="120915" y="273112"/>
                    <a:pt x="120915" y="261982"/>
                  </a:cubicBezTo>
                  <a:lnTo>
                    <a:pt x="120915" y="20152"/>
                  </a:lnTo>
                  <a:cubicBezTo>
                    <a:pt x="120915" y="9023"/>
                    <a:pt x="111892" y="0"/>
                    <a:pt x="100762" y="0"/>
                  </a:cubicBezTo>
                  <a:lnTo>
                    <a:pt x="20152" y="0"/>
                  </a:lnTo>
                  <a:cubicBezTo>
                    <a:pt x="9023" y="0"/>
                    <a:pt x="0" y="9023"/>
                    <a:pt x="0" y="20152"/>
                  </a:cubicBezTo>
                  <a:lnTo>
                    <a:pt x="0" y="261982"/>
                  </a:lnTo>
                  <a:cubicBezTo>
                    <a:pt x="0" y="273112"/>
                    <a:pt x="9023" y="282134"/>
                    <a:pt x="20152" y="282134"/>
                  </a:cubicBezTo>
                  <a:close/>
                  <a:moveTo>
                    <a:pt x="40305" y="40305"/>
                  </a:moveTo>
                  <a:lnTo>
                    <a:pt x="80610" y="40305"/>
                  </a:lnTo>
                  <a:lnTo>
                    <a:pt x="80610" y="241829"/>
                  </a:lnTo>
                  <a:lnTo>
                    <a:pt x="40305" y="241829"/>
                  </a:lnTo>
                  <a:close/>
                </a:path>
              </a:pathLst>
            </a:custGeom>
            <a:grpFill/>
            <a:ln w="200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262626"/>
                </a:solidFill>
                <a:effectLst/>
                <a:uLnTx/>
                <a:uFillTx/>
                <a:latin typeface="阿里巴巴普惠体 B"/>
                <a:ea typeface="阿里巴巴普惠体 R"/>
                <a:cs typeface="+mn-cs"/>
              </a:endParaRPr>
            </a:p>
          </p:txBody>
        </p:sp>
        <p:sp>
          <p:nvSpPr>
            <p:cNvPr id="75" name="任意多边形: 形状 74">
              <a:extLst>
                <a:ext uri="{FF2B5EF4-FFF2-40B4-BE49-F238E27FC236}">
                  <a16:creationId xmlns:a16="http://schemas.microsoft.com/office/drawing/2014/main" id="{44F23F7C-B99A-4C94-B64D-72DC4C92AF0C}"/>
                </a:ext>
              </a:extLst>
            </p:cNvPr>
            <p:cNvSpPr/>
            <p:nvPr/>
          </p:nvSpPr>
          <p:spPr>
            <a:xfrm>
              <a:off x="5027765" y="1528814"/>
              <a:ext cx="120914" cy="322437"/>
            </a:xfrm>
            <a:custGeom>
              <a:avLst/>
              <a:gdLst>
                <a:gd name="connsiteX0" fmla="*/ 100762 w 120914"/>
                <a:gd name="connsiteY0" fmla="*/ 0 h 322439"/>
                <a:gd name="connsiteX1" fmla="*/ 20152 w 120914"/>
                <a:gd name="connsiteY1" fmla="*/ 0 h 322439"/>
                <a:gd name="connsiteX2" fmla="*/ 0 w 120914"/>
                <a:gd name="connsiteY2" fmla="*/ 20152 h 322439"/>
                <a:gd name="connsiteX3" fmla="*/ 0 w 120914"/>
                <a:gd name="connsiteY3" fmla="*/ 302287 h 322439"/>
                <a:gd name="connsiteX4" fmla="*/ 20152 w 120914"/>
                <a:gd name="connsiteY4" fmla="*/ 322439 h 322439"/>
                <a:gd name="connsiteX5" fmla="*/ 100762 w 120914"/>
                <a:gd name="connsiteY5" fmla="*/ 322439 h 322439"/>
                <a:gd name="connsiteX6" fmla="*/ 120915 w 120914"/>
                <a:gd name="connsiteY6" fmla="*/ 302287 h 322439"/>
                <a:gd name="connsiteX7" fmla="*/ 120915 w 120914"/>
                <a:gd name="connsiteY7" fmla="*/ 20152 h 322439"/>
                <a:gd name="connsiteX8" fmla="*/ 100762 w 120914"/>
                <a:gd name="connsiteY8" fmla="*/ 0 h 322439"/>
                <a:gd name="connsiteX9" fmla="*/ 80610 w 120914"/>
                <a:gd name="connsiteY9" fmla="*/ 282134 h 322439"/>
                <a:gd name="connsiteX10" fmla="*/ 40305 w 120914"/>
                <a:gd name="connsiteY10" fmla="*/ 282134 h 322439"/>
                <a:gd name="connsiteX11" fmla="*/ 40305 w 120914"/>
                <a:gd name="connsiteY11" fmla="*/ 40305 h 322439"/>
                <a:gd name="connsiteX12" fmla="*/ 80610 w 120914"/>
                <a:gd name="connsiteY12" fmla="*/ 40305 h 322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0914" h="322439">
                  <a:moveTo>
                    <a:pt x="100762" y="0"/>
                  </a:moveTo>
                  <a:lnTo>
                    <a:pt x="20152" y="0"/>
                  </a:lnTo>
                  <a:cubicBezTo>
                    <a:pt x="9023" y="0"/>
                    <a:pt x="0" y="9023"/>
                    <a:pt x="0" y="20152"/>
                  </a:cubicBezTo>
                  <a:lnTo>
                    <a:pt x="0" y="302287"/>
                  </a:lnTo>
                  <a:cubicBezTo>
                    <a:pt x="0" y="313416"/>
                    <a:pt x="9023" y="322439"/>
                    <a:pt x="20152" y="322439"/>
                  </a:cubicBezTo>
                  <a:lnTo>
                    <a:pt x="100762" y="322439"/>
                  </a:lnTo>
                  <a:cubicBezTo>
                    <a:pt x="111892" y="322439"/>
                    <a:pt x="120915" y="313416"/>
                    <a:pt x="120915" y="302287"/>
                  </a:cubicBezTo>
                  <a:lnTo>
                    <a:pt x="120915" y="20152"/>
                  </a:lnTo>
                  <a:cubicBezTo>
                    <a:pt x="120915" y="9023"/>
                    <a:pt x="111892" y="0"/>
                    <a:pt x="100762" y="0"/>
                  </a:cubicBezTo>
                  <a:close/>
                  <a:moveTo>
                    <a:pt x="80610" y="282134"/>
                  </a:moveTo>
                  <a:lnTo>
                    <a:pt x="40305" y="282134"/>
                  </a:lnTo>
                  <a:lnTo>
                    <a:pt x="40305" y="40305"/>
                  </a:lnTo>
                  <a:lnTo>
                    <a:pt x="80610" y="40305"/>
                  </a:lnTo>
                  <a:close/>
                </a:path>
              </a:pathLst>
            </a:custGeom>
            <a:grpFill/>
            <a:ln w="200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262626"/>
                </a:solidFill>
                <a:effectLst/>
                <a:uLnTx/>
                <a:uFillTx/>
                <a:latin typeface="阿里巴巴普惠体 B"/>
                <a:ea typeface="阿里巴巴普惠体 R"/>
                <a:cs typeface="+mn-cs"/>
              </a:endParaRPr>
            </a:p>
          </p:txBody>
        </p:sp>
        <p:sp>
          <p:nvSpPr>
            <p:cNvPr id="76" name="任意多边形: 形状 75">
              <a:extLst>
                <a:ext uri="{FF2B5EF4-FFF2-40B4-BE49-F238E27FC236}">
                  <a16:creationId xmlns:a16="http://schemas.microsoft.com/office/drawing/2014/main" id="{53F80AB4-A4FF-4CE8-B976-C0AE5AB8A539}"/>
                </a:ext>
              </a:extLst>
            </p:cNvPr>
            <p:cNvSpPr/>
            <p:nvPr/>
          </p:nvSpPr>
          <p:spPr>
            <a:xfrm>
              <a:off x="5295651" y="1246683"/>
              <a:ext cx="135162" cy="94856"/>
            </a:xfrm>
            <a:custGeom>
              <a:avLst/>
              <a:gdLst>
                <a:gd name="connsiteX0" fmla="*/ 83048 w 135162"/>
                <a:gd name="connsiteY0" fmla="*/ 40305 h 94857"/>
                <a:gd name="connsiteX1" fmla="*/ 135162 w 135162"/>
                <a:gd name="connsiteY1" fmla="*/ 40305 h 94857"/>
                <a:gd name="connsiteX2" fmla="*/ 135162 w 135162"/>
                <a:gd name="connsiteY2" fmla="*/ 0 h 94857"/>
                <a:gd name="connsiteX3" fmla="*/ 74705 w 135162"/>
                <a:gd name="connsiteY3" fmla="*/ 0 h 94857"/>
                <a:gd name="connsiteX4" fmla="*/ 60457 w 135162"/>
                <a:gd name="connsiteY4" fmla="*/ 5905 h 94857"/>
                <a:gd name="connsiteX5" fmla="*/ 0 w 135162"/>
                <a:gd name="connsiteY5" fmla="*/ 66362 h 94857"/>
                <a:gd name="connsiteX6" fmla="*/ 28496 w 135162"/>
                <a:gd name="connsiteY6" fmla="*/ 94858 h 948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5162" h="94857">
                  <a:moveTo>
                    <a:pt x="83048" y="40305"/>
                  </a:moveTo>
                  <a:lnTo>
                    <a:pt x="135162" y="40305"/>
                  </a:lnTo>
                  <a:lnTo>
                    <a:pt x="135162" y="0"/>
                  </a:lnTo>
                  <a:lnTo>
                    <a:pt x="74705" y="0"/>
                  </a:lnTo>
                  <a:cubicBezTo>
                    <a:pt x="69361" y="1"/>
                    <a:pt x="64236" y="2125"/>
                    <a:pt x="60457" y="5905"/>
                  </a:cubicBezTo>
                  <a:lnTo>
                    <a:pt x="0" y="66362"/>
                  </a:lnTo>
                  <a:lnTo>
                    <a:pt x="28496" y="94858"/>
                  </a:lnTo>
                  <a:close/>
                </a:path>
              </a:pathLst>
            </a:custGeom>
            <a:grpFill/>
            <a:ln w="200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262626"/>
                </a:solidFill>
                <a:effectLst/>
                <a:uLnTx/>
                <a:uFillTx/>
                <a:latin typeface="阿里巴巴普惠体 B"/>
                <a:ea typeface="阿里巴巴普惠体 R"/>
                <a:cs typeface="+mn-cs"/>
              </a:endParaRPr>
            </a:p>
          </p:txBody>
        </p:sp>
        <p:sp>
          <p:nvSpPr>
            <p:cNvPr id="77" name="任意多边形: 形状 76">
              <a:extLst>
                <a:ext uri="{FF2B5EF4-FFF2-40B4-BE49-F238E27FC236}">
                  <a16:creationId xmlns:a16="http://schemas.microsoft.com/office/drawing/2014/main" id="{CDC6771D-B6DB-4EA9-900B-E5C2C0C2C30A}"/>
                </a:ext>
              </a:extLst>
            </p:cNvPr>
            <p:cNvSpPr/>
            <p:nvPr/>
          </p:nvSpPr>
          <p:spPr>
            <a:xfrm>
              <a:off x="5471119" y="1246683"/>
              <a:ext cx="181371" cy="40303"/>
            </a:xfrm>
            <a:custGeom>
              <a:avLst/>
              <a:gdLst>
                <a:gd name="connsiteX0" fmla="*/ 0 w 181371"/>
                <a:gd name="connsiteY0" fmla="*/ 0 h 40304"/>
                <a:gd name="connsiteX1" fmla="*/ 181372 w 181371"/>
                <a:gd name="connsiteY1" fmla="*/ 0 h 40304"/>
                <a:gd name="connsiteX2" fmla="*/ 181372 w 181371"/>
                <a:gd name="connsiteY2" fmla="*/ 40305 h 40304"/>
                <a:gd name="connsiteX3" fmla="*/ 0 w 181371"/>
                <a:gd name="connsiteY3" fmla="*/ 40305 h 40304"/>
              </a:gdLst>
              <a:ahLst/>
              <a:cxnLst>
                <a:cxn ang="0">
                  <a:pos x="connsiteX0" y="connsiteY0"/>
                </a:cxn>
                <a:cxn ang="0">
                  <a:pos x="connsiteX1" y="connsiteY1"/>
                </a:cxn>
                <a:cxn ang="0">
                  <a:pos x="connsiteX2" y="connsiteY2"/>
                </a:cxn>
                <a:cxn ang="0">
                  <a:pos x="connsiteX3" y="connsiteY3"/>
                </a:cxn>
              </a:cxnLst>
              <a:rect l="l" t="t" r="r" b="b"/>
              <a:pathLst>
                <a:path w="181371" h="40304">
                  <a:moveTo>
                    <a:pt x="0" y="0"/>
                  </a:moveTo>
                  <a:lnTo>
                    <a:pt x="181372" y="0"/>
                  </a:lnTo>
                  <a:lnTo>
                    <a:pt x="181372" y="40305"/>
                  </a:lnTo>
                  <a:lnTo>
                    <a:pt x="0" y="40305"/>
                  </a:lnTo>
                  <a:close/>
                </a:path>
              </a:pathLst>
            </a:custGeom>
            <a:grpFill/>
            <a:ln w="200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262626"/>
                </a:solidFill>
                <a:effectLst/>
                <a:uLnTx/>
                <a:uFillTx/>
                <a:latin typeface="阿里巴巴普惠体 B"/>
                <a:ea typeface="阿里巴巴普惠体 R"/>
                <a:cs typeface="+mn-cs"/>
              </a:endParaRPr>
            </a:p>
          </p:txBody>
        </p:sp>
        <p:sp>
          <p:nvSpPr>
            <p:cNvPr id="78" name="任意多边形: 形状 77">
              <a:extLst>
                <a:ext uri="{FF2B5EF4-FFF2-40B4-BE49-F238E27FC236}">
                  <a16:creationId xmlns:a16="http://schemas.microsoft.com/office/drawing/2014/main" id="{F8BABB59-2E5F-443B-BD6E-885EC7CF9477}"/>
                </a:ext>
              </a:extLst>
            </p:cNvPr>
            <p:cNvSpPr/>
            <p:nvPr/>
          </p:nvSpPr>
          <p:spPr>
            <a:xfrm>
              <a:off x="5471119" y="1327293"/>
              <a:ext cx="40303" cy="40303"/>
            </a:xfrm>
            <a:custGeom>
              <a:avLst/>
              <a:gdLst>
                <a:gd name="connsiteX0" fmla="*/ 0 w 40304"/>
                <a:gd name="connsiteY0" fmla="*/ 0 h 40304"/>
                <a:gd name="connsiteX1" fmla="*/ 40305 w 40304"/>
                <a:gd name="connsiteY1" fmla="*/ 0 h 40304"/>
                <a:gd name="connsiteX2" fmla="*/ 40305 w 40304"/>
                <a:gd name="connsiteY2" fmla="*/ 40305 h 40304"/>
                <a:gd name="connsiteX3" fmla="*/ 0 w 40304"/>
                <a:gd name="connsiteY3" fmla="*/ 40305 h 40304"/>
              </a:gdLst>
              <a:ahLst/>
              <a:cxnLst>
                <a:cxn ang="0">
                  <a:pos x="connsiteX0" y="connsiteY0"/>
                </a:cxn>
                <a:cxn ang="0">
                  <a:pos x="connsiteX1" y="connsiteY1"/>
                </a:cxn>
                <a:cxn ang="0">
                  <a:pos x="connsiteX2" y="connsiteY2"/>
                </a:cxn>
                <a:cxn ang="0">
                  <a:pos x="connsiteX3" y="connsiteY3"/>
                </a:cxn>
              </a:cxnLst>
              <a:rect l="l" t="t" r="r" b="b"/>
              <a:pathLst>
                <a:path w="40304" h="40304">
                  <a:moveTo>
                    <a:pt x="0" y="0"/>
                  </a:moveTo>
                  <a:lnTo>
                    <a:pt x="40305" y="0"/>
                  </a:lnTo>
                  <a:lnTo>
                    <a:pt x="40305" y="40305"/>
                  </a:lnTo>
                  <a:lnTo>
                    <a:pt x="0" y="40305"/>
                  </a:lnTo>
                  <a:close/>
                </a:path>
              </a:pathLst>
            </a:custGeom>
            <a:grpFill/>
            <a:ln w="200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262626"/>
                </a:solidFill>
                <a:effectLst/>
                <a:uLnTx/>
                <a:uFillTx/>
                <a:latin typeface="阿里巴巴普惠体 B"/>
                <a:ea typeface="阿里巴巴普惠体 R"/>
                <a:cs typeface="+mn-cs"/>
              </a:endParaRPr>
            </a:p>
          </p:txBody>
        </p:sp>
        <p:sp>
          <p:nvSpPr>
            <p:cNvPr id="79" name="任意多边形: 形状 78">
              <a:extLst>
                <a:ext uri="{FF2B5EF4-FFF2-40B4-BE49-F238E27FC236}">
                  <a16:creationId xmlns:a16="http://schemas.microsoft.com/office/drawing/2014/main" id="{4D0CC2FC-F502-49C8-A6CD-8C6027021E59}"/>
                </a:ext>
              </a:extLst>
            </p:cNvPr>
            <p:cNvSpPr/>
            <p:nvPr/>
          </p:nvSpPr>
          <p:spPr>
            <a:xfrm>
              <a:off x="5551727" y="1327293"/>
              <a:ext cx="100763" cy="40303"/>
            </a:xfrm>
            <a:custGeom>
              <a:avLst/>
              <a:gdLst>
                <a:gd name="connsiteX0" fmla="*/ 0 w 100762"/>
                <a:gd name="connsiteY0" fmla="*/ 0 h 40304"/>
                <a:gd name="connsiteX1" fmla="*/ 100762 w 100762"/>
                <a:gd name="connsiteY1" fmla="*/ 0 h 40304"/>
                <a:gd name="connsiteX2" fmla="*/ 100762 w 100762"/>
                <a:gd name="connsiteY2" fmla="*/ 40305 h 40304"/>
                <a:gd name="connsiteX3" fmla="*/ 0 w 100762"/>
                <a:gd name="connsiteY3" fmla="*/ 40305 h 40304"/>
              </a:gdLst>
              <a:ahLst/>
              <a:cxnLst>
                <a:cxn ang="0">
                  <a:pos x="connsiteX0" y="connsiteY0"/>
                </a:cxn>
                <a:cxn ang="0">
                  <a:pos x="connsiteX1" y="connsiteY1"/>
                </a:cxn>
                <a:cxn ang="0">
                  <a:pos x="connsiteX2" y="connsiteY2"/>
                </a:cxn>
                <a:cxn ang="0">
                  <a:pos x="connsiteX3" y="connsiteY3"/>
                </a:cxn>
              </a:cxnLst>
              <a:rect l="l" t="t" r="r" b="b"/>
              <a:pathLst>
                <a:path w="100762" h="40304">
                  <a:moveTo>
                    <a:pt x="0" y="0"/>
                  </a:moveTo>
                  <a:lnTo>
                    <a:pt x="100762" y="0"/>
                  </a:lnTo>
                  <a:lnTo>
                    <a:pt x="100762" y="40305"/>
                  </a:lnTo>
                  <a:lnTo>
                    <a:pt x="0" y="40305"/>
                  </a:lnTo>
                  <a:close/>
                </a:path>
              </a:pathLst>
            </a:custGeom>
            <a:grpFill/>
            <a:ln w="200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262626"/>
                </a:solidFill>
                <a:effectLst/>
                <a:uLnTx/>
                <a:uFillTx/>
                <a:latin typeface="阿里巴巴普惠体 B"/>
                <a:ea typeface="阿里巴巴普惠体 R"/>
                <a:cs typeface="+mn-cs"/>
              </a:endParaRPr>
            </a:p>
          </p:txBody>
        </p:sp>
        <p:sp>
          <p:nvSpPr>
            <p:cNvPr id="80" name="任意多边形: 形状 79">
              <a:extLst>
                <a:ext uri="{FF2B5EF4-FFF2-40B4-BE49-F238E27FC236}">
                  <a16:creationId xmlns:a16="http://schemas.microsoft.com/office/drawing/2014/main" id="{3B2FC7F9-216C-4B9A-AA85-21788417BC6D}"/>
                </a:ext>
              </a:extLst>
            </p:cNvPr>
            <p:cNvSpPr/>
            <p:nvPr/>
          </p:nvSpPr>
          <p:spPr>
            <a:xfrm>
              <a:off x="5471119" y="1407903"/>
              <a:ext cx="181371" cy="40303"/>
            </a:xfrm>
            <a:custGeom>
              <a:avLst/>
              <a:gdLst>
                <a:gd name="connsiteX0" fmla="*/ 0 w 181371"/>
                <a:gd name="connsiteY0" fmla="*/ 0 h 40304"/>
                <a:gd name="connsiteX1" fmla="*/ 181372 w 181371"/>
                <a:gd name="connsiteY1" fmla="*/ 0 h 40304"/>
                <a:gd name="connsiteX2" fmla="*/ 181372 w 181371"/>
                <a:gd name="connsiteY2" fmla="*/ 40305 h 40304"/>
                <a:gd name="connsiteX3" fmla="*/ 0 w 181371"/>
                <a:gd name="connsiteY3" fmla="*/ 40305 h 40304"/>
              </a:gdLst>
              <a:ahLst/>
              <a:cxnLst>
                <a:cxn ang="0">
                  <a:pos x="connsiteX0" y="connsiteY0"/>
                </a:cxn>
                <a:cxn ang="0">
                  <a:pos x="connsiteX1" y="connsiteY1"/>
                </a:cxn>
                <a:cxn ang="0">
                  <a:pos x="connsiteX2" y="connsiteY2"/>
                </a:cxn>
                <a:cxn ang="0">
                  <a:pos x="connsiteX3" y="connsiteY3"/>
                </a:cxn>
              </a:cxnLst>
              <a:rect l="l" t="t" r="r" b="b"/>
              <a:pathLst>
                <a:path w="181371" h="40304">
                  <a:moveTo>
                    <a:pt x="0" y="0"/>
                  </a:moveTo>
                  <a:lnTo>
                    <a:pt x="181372" y="0"/>
                  </a:lnTo>
                  <a:lnTo>
                    <a:pt x="181372" y="40305"/>
                  </a:lnTo>
                  <a:lnTo>
                    <a:pt x="0" y="40305"/>
                  </a:lnTo>
                  <a:close/>
                </a:path>
              </a:pathLst>
            </a:custGeom>
            <a:grpFill/>
            <a:ln w="200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262626"/>
                </a:solidFill>
                <a:effectLst/>
                <a:uLnTx/>
                <a:uFillTx/>
                <a:latin typeface="阿里巴巴普惠体 B"/>
                <a:ea typeface="阿里巴巴普惠体 R"/>
                <a:cs typeface="+mn-cs"/>
              </a:endParaRPr>
            </a:p>
          </p:txBody>
        </p:sp>
        <p:sp>
          <p:nvSpPr>
            <p:cNvPr id="81" name="任意多边形: 形状 80">
              <a:extLst>
                <a:ext uri="{FF2B5EF4-FFF2-40B4-BE49-F238E27FC236}">
                  <a16:creationId xmlns:a16="http://schemas.microsoft.com/office/drawing/2014/main" id="{78983EB2-541B-4F78-B94B-01761241D77A}"/>
                </a:ext>
              </a:extLst>
            </p:cNvPr>
            <p:cNvSpPr/>
            <p:nvPr/>
          </p:nvSpPr>
          <p:spPr>
            <a:xfrm>
              <a:off x="4665022" y="2280353"/>
              <a:ext cx="135162" cy="94856"/>
            </a:xfrm>
            <a:custGeom>
              <a:avLst/>
              <a:gdLst>
                <a:gd name="connsiteX0" fmla="*/ 52114 w 135162"/>
                <a:gd name="connsiteY0" fmla="*/ 54553 h 94857"/>
                <a:gd name="connsiteX1" fmla="*/ 0 w 135162"/>
                <a:gd name="connsiteY1" fmla="*/ 54553 h 94857"/>
                <a:gd name="connsiteX2" fmla="*/ 0 w 135162"/>
                <a:gd name="connsiteY2" fmla="*/ 94858 h 94857"/>
                <a:gd name="connsiteX3" fmla="*/ 60457 w 135162"/>
                <a:gd name="connsiteY3" fmla="*/ 94858 h 94857"/>
                <a:gd name="connsiteX4" fmla="*/ 74705 w 135162"/>
                <a:gd name="connsiteY4" fmla="*/ 88953 h 94857"/>
                <a:gd name="connsiteX5" fmla="*/ 135162 w 135162"/>
                <a:gd name="connsiteY5" fmla="*/ 28496 h 94857"/>
                <a:gd name="connsiteX6" fmla="*/ 106667 w 135162"/>
                <a:gd name="connsiteY6" fmla="*/ 0 h 948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5162" h="94857">
                  <a:moveTo>
                    <a:pt x="52114" y="54553"/>
                  </a:moveTo>
                  <a:lnTo>
                    <a:pt x="0" y="54553"/>
                  </a:lnTo>
                  <a:lnTo>
                    <a:pt x="0" y="94858"/>
                  </a:lnTo>
                  <a:lnTo>
                    <a:pt x="60457" y="94858"/>
                  </a:lnTo>
                  <a:cubicBezTo>
                    <a:pt x="65802" y="94856"/>
                    <a:pt x="70927" y="92732"/>
                    <a:pt x="74705" y="88953"/>
                  </a:cubicBezTo>
                  <a:lnTo>
                    <a:pt x="135162" y="28496"/>
                  </a:lnTo>
                  <a:lnTo>
                    <a:pt x="106667" y="0"/>
                  </a:lnTo>
                  <a:close/>
                </a:path>
              </a:pathLst>
            </a:custGeom>
            <a:grpFill/>
            <a:ln w="200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262626"/>
                </a:solidFill>
                <a:effectLst/>
                <a:uLnTx/>
                <a:uFillTx/>
                <a:latin typeface="阿里巴巴普惠体 B"/>
                <a:ea typeface="阿里巴巴普惠体 R"/>
                <a:cs typeface="+mn-cs"/>
              </a:endParaRPr>
            </a:p>
          </p:txBody>
        </p:sp>
        <p:sp>
          <p:nvSpPr>
            <p:cNvPr id="82" name="任意多边形: 形状 81">
              <a:extLst>
                <a:ext uri="{FF2B5EF4-FFF2-40B4-BE49-F238E27FC236}">
                  <a16:creationId xmlns:a16="http://schemas.microsoft.com/office/drawing/2014/main" id="{337EAA19-C710-48FE-9A7E-E0E0DD361DFA}"/>
                </a:ext>
              </a:extLst>
            </p:cNvPr>
            <p:cNvSpPr/>
            <p:nvPr/>
          </p:nvSpPr>
          <p:spPr>
            <a:xfrm>
              <a:off x="4443345" y="2334906"/>
              <a:ext cx="181371" cy="40303"/>
            </a:xfrm>
            <a:custGeom>
              <a:avLst/>
              <a:gdLst>
                <a:gd name="connsiteX0" fmla="*/ 0 w 181371"/>
                <a:gd name="connsiteY0" fmla="*/ 0 h 40304"/>
                <a:gd name="connsiteX1" fmla="*/ 181372 w 181371"/>
                <a:gd name="connsiteY1" fmla="*/ 0 h 40304"/>
                <a:gd name="connsiteX2" fmla="*/ 181372 w 181371"/>
                <a:gd name="connsiteY2" fmla="*/ 40305 h 40304"/>
                <a:gd name="connsiteX3" fmla="*/ 0 w 181371"/>
                <a:gd name="connsiteY3" fmla="*/ 40305 h 40304"/>
              </a:gdLst>
              <a:ahLst/>
              <a:cxnLst>
                <a:cxn ang="0">
                  <a:pos x="connsiteX0" y="connsiteY0"/>
                </a:cxn>
                <a:cxn ang="0">
                  <a:pos x="connsiteX1" y="connsiteY1"/>
                </a:cxn>
                <a:cxn ang="0">
                  <a:pos x="connsiteX2" y="connsiteY2"/>
                </a:cxn>
                <a:cxn ang="0">
                  <a:pos x="connsiteX3" y="connsiteY3"/>
                </a:cxn>
              </a:cxnLst>
              <a:rect l="l" t="t" r="r" b="b"/>
              <a:pathLst>
                <a:path w="181371" h="40304">
                  <a:moveTo>
                    <a:pt x="0" y="0"/>
                  </a:moveTo>
                  <a:lnTo>
                    <a:pt x="181372" y="0"/>
                  </a:lnTo>
                  <a:lnTo>
                    <a:pt x="181372" y="40305"/>
                  </a:lnTo>
                  <a:lnTo>
                    <a:pt x="0" y="40305"/>
                  </a:lnTo>
                  <a:close/>
                </a:path>
              </a:pathLst>
            </a:custGeom>
            <a:grpFill/>
            <a:ln w="200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262626"/>
                </a:solidFill>
                <a:effectLst/>
                <a:uLnTx/>
                <a:uFillTx/>
                <a:latin typeface="阿里巴巴普惠体 B"/>
                <a:ea typeface="阿里巴巴普惠体 R"/>
                <a:cs typeface="+mn-cs"/>
              </a:endParaRPr>
            </a:p>
          </p:txBody>
        </p:sp>
        <p:sp>
          <p:nvSpPr>
            <p:cNvPr id="83" name="任意多边形: 形状 82">
              <a:extLst>
                <a:ext uri="{FF2B5EF4-FFF2-40B4-BE49-F238E27FC236}">
                  <a16:creationId xmlns:a16="http://schemas.microsoft.com/office/drawing/2014/main" id="{00AB7131-99C9-4E7B-A3B9-BCB6B09384AC}"/>
                </a:ext>
              </a:extLst>
            </p:cNvPr>
            <p:cNvSpPr/>
            <p:nvPr/>
          </p:nvSpPr>
          <p:spPr>
            <a:xfrm>
              <a:off x="4584411" y="2254296"/>
              <a:ext cx="40303" cy="40303"/>
            </a:xfrm>
            <a:custGeom>
              <a:avLst/>
              <a:gdLst>
                <a:gd name="connsiteX0" fmla="*/ 0 w 40304"/>
                <a:gd name="connsiteY0" fmla="*/ 0 h 40304"/>
                <a:gd name="connsiteX1" fmla="*/ 40305 w 40304"/>
                <a:gd name="connsiteY1" fmla="*/ 0 h 40304"/>
                <a:gd name="connsiteX2" fmla="*/ 40305 w 40304"/>
                <a:gd name="connsiteY2" fmla="*/ 40305 h 40304"/>
                <a:gd name="connsiteX3" fmla="*/ 0 w 40304"/>
                <a:gd name="connsiteY3" fmla="*/ 40305 h 40304"/>
              </a:gdLst>
              <a:ahLst/>
              <a:cxnLst>
                <a:cxn ang="0">
                  <a:pos x="connsiteX0" y="connsiteY0"/>
                </a:cxn>
                <a:cxn ang="0">
                  <a:pos x="connsiteX1" y="connsiteY1"/>
                </a:cxn>
                <a:cxn ang="0">
                  <a:pos x="connsiteX2" y="connsiteY2"/>
                </a:cxn>
                <a:cxn ang="0">
                  <a:pos x="connsiteX3" y="connsiteY3"/>
                </a:cxn>
              </a:cxnLst>
              <a:rect l="l" t="t" r="r" b="b"/>
              <a:pathLst>
                <a:path w="40304" h="40304">
                  <a:moveTo>
                    <a:pt x="0" y="0"/>
                  </a:moveTo>
                  <a:lnTo>
                    <a:pt x="40305" y="0"/>
                  </a:lnTo>
                  <a:lnTo>
                    <a:pt x="40305" y="40305"/>
                  </a:lnTo>
                  <a:lnTo>
                    <a:pt x="0" y="40305"/>
                  </a:lnTo>
                  <a:close/>
                </a:path>
              </a:pathLst>
            </a:custGeom>
            <a:grpFill/>
            <a:ln w="200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262626"/>
                </a:solidFill>
                <a:effectLst/>
                <a:uLnTx/>
                <a:uFillTx/>
                <a:latin typeface="阿里巴巴普惠体 B"/>
                <a:ea typeface="阿里巴巴普惠体 R"/>
                <a:cs typeface="+mn-cs"/>
              </a:endParaRPr>
            </a:p>
          </p:txBody>
        </p:sp>
        <p:sp>
          <p:nvSpPr>
            <p:cNvPr id="84" name="任意多边形: 形状 83">
              <a:extLst>
                <a:ext uri="{FF2B5EF4-FFF2-40B4-BE49-F238E27FC236}">
                  <a16:creationId xmlns:a16="http://schemas.microsoft.com/office/drawing/2014/main" id="{68DC7131-6D17-49A2-80A4-ACFE30A16252}"/>
                </a:ext>
              </a:extLst>
            </p:cNvPr>
            <p:cNvSpPr/>
            <p:nvPr/>
          </p:nvSpPr>
          <p:spPr>
            <a:xfrm>
              <a:off x="4443345" y="2254298"/>
              <a:ext cx="100763" cy="40303"/>
            </a:xfrm>
            <a:custGeom>
              <a:avLst/>
              <a:gdLst>
                <a:gd name="connsiteX0" fmla="*/ 0 w 100762"/>
                <a:gd name="connsiteY0" fmla="*/ 0 h 40304"/>
                <a:gd name="connsiteX1" fmla="*/ 100762 w 100762"/>
                <a:gd name="connsiteY1" fmla="*/ 0 h 40304"/>
                <a:gd name="connsiteX2" fmla="*/ 100762 w 100762"/>
                <a:gd name="connsiteY2" fmla="*/ 40305 h 40304"/>
                <a:gd name="connsiteX3" fmla="*/ 0 w 100762"/>
                <a:gd name="connsiteY3" fmla="*/ 40305 h 40304"/>
              </a:gdLst>
              <a:ahLst/>
              <a:cxnLst>
                <a:cxn ang="0">
                  <a:pos x="connsiteX0" y="connsiteY0"/>
                </a:cxn>
                <a:cxn ang="0">
                  <a:pos x="connsiteX1" y="connsiteY1"/>
                </a:cxn>
                <a:cxn ang="0">
                  <a:pos x="connsiteX2" y="connsiteY2"/>
                </a:cxn>
                <a:cxn ang="0">
                  <a:pos x="connsiteX3" y="connsiteY3"/>
                </a:cxn>
              </a:cxnLst>
              <a:rect l="l" t="t" r="r" b="b"/>
              <a:pathLst>
                <a:path w="100762" h="40304">
                  <a:moveTo>
                    <a:pt x="0" y="0"/>
                  </a:moveTo>
                  <a:lnTo>
                    <a:pt x="100762" y="0"/>
                  </a:lnTo>
                  <a:lnTo>
                    <a:pt x="100762" y="40305"/>
                  </a:lnTo>
                  <a:lnTo>
                    <a:pt x="0" y="40305"/>
                  </a:lnTo>
                  <a:close/>
                </a:path>
              </a:pathLst>
            </a:custGeom>
            <a:grpFill/>
            <a:ln w="200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262626"/>
                </a:solidFill>
                <a:effectLst/>
                <a:uLnTx/>
                <a:uFillTx/>
                <a:latin typeface="阿里巴巴普惠体 B"/>
                <a:ea typeface="阿里巴巴普惠体 R"/>
                <a:cs typeface="+mn-cs"/>
              </a:endParaRPr>
            </a:p>
          </p:txBody>
        </p:sp>
        <p:sp>
          <p:nvSpPr>
            <p:cNvPr id="85" name="任意多边形: 形状 84">
              <a:extLst>
                <a:ext uri="{FF2B5EF4-FFF2-40B4-BE49-F238E27FC236}">
                  <a16:creationId xmlns:a16="http://schemas.microsoft.com/office/drawing/2014/main" id="{A4B2AF75-5B79-47ED-8B2B-43F1DC8DEF86}"/>
                </a:ext>
              </a:extLst>
            </p:cNvPr>
            <p:cNvSpPr/>
            <p:nvPr/>
          </p:nvSpPr>
          <p:spPr>
            <a:xfrm>
              <a:off x="4443347" y="2173688"/>
              <a:ext cx="181372" cy="40303"/>
            </a:xfrm>
            <a:custGeom>
              <a:avLst/>
              <a:gdLst>
                <a:gd name="connsiteX0" fmla="*/ 0 w 181371"/>
                <a:gd name="connsiteY0" fmla="*/ 0 h 40304"/>
                <a:gd name="connsiteX1" fmla="*/ 181372 w 181371"/>
                <a:gd name="connsiteY1" fmla="*/ 0 h 40304"/>
                <a:gd name="connsiteX2" fmla="*/ 181372 w 181371"/>
                <a:gd name="connsiteY2" fmla="*/ 40305 h 40304"/>
                <a:gd name="connsiteX3" fmla="*/ 0 w 181371"/>
                <a:gd name="connsiteY3" fmla="*/ 40305 h 40304"/>
              </a:gdLst>
              <a:ahLst/>
              <a:cxnLst>
                <a:cxn ang="0">
                  <a:pos x="connsiteX0" y="connsiteY0"/>
                </a:cxn>
                <a:cxn ang="0">
                  <a:pos x="connsiteX1" y="connsiteY1"/>
                </a:cxn>
                <a:cxn ang="0">
                  <a:pos x="connsiteX2" y="connsiteY2"/>
                </a:cxn>
                <a:cxn ang="0">
                  <a:pos x="connsiteX3" y="connsiteY3"/>
                </a:cxn>
              </a:cxnLst>
              <a:rect l="l" t="t" r="r" b="b"/>
              <a:pathLst>
                <a:path w="181371" h="40304">
                  <a:moveTo>
                    <a:pt x="0" y="0"/>
                  </a:moveTo>
                  <a:lnTo>
                    <a:pt x="181372" y="0"/>
                  </a:lnTo>
                  <a:lnTo>
                    <a:pt x="181372" y="40305"/>
                  </a:lnTo>
                  <a:lnTo>
                    <a:pt x="0" y="40305"/>
                  </a:lnTo>
                  <a:close/>
                </a:path>
              </a:pathLst>
            </a:custGeom>
            <a:grpFill/>
            <a:ln w="200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262626"/>
                </a:solidFill>
                <a:effectLst/>
                <a:uLnTx/>
                <a:uFillTx/>
                <a:latin typeface="阿里巴巴普惠体 B"/>
                <a:ea typeface="阿里巴巴普惠体 R"/>
                <a:cs typeface="+mn-cs"/>
              </a:endParaRPr>
            </a:p>
          </p:txBody>
        </p:sp>
        <p:sp>
          <p:nvSpPr>
            <p:cNvPr id="86" name="任意多边形: 形状 85">
              <a:extLst>
                <a:ext uri="{FF2B5EF4-FFF2-40B4-BE49-F238E27FC236}">
                  <a16:creationId xmlns:a16="http://schemas.microsoft.com/office/drawing/2014/main" id="{4F281C06-8BD5-4581-A062-016E9A9CF5C9}"/>
                </a:ext>
              </a:extLst>
            </p:cNvPr>
            <p:cNvSpPr/>
            <p:nvPr/>
          </p:nvSpPr>
          <p:spPr>
            <a:xfrm>
              <a:off x="4705325" y="1891573"/>
              <a:ext cx="443354" cy="40303"/>
            </a:xfrm>
            <a:custGeom>
              <a:avLst/>
              <a:gdLst>
                <a:gd name="connsiteX0" fmla="*/ 0 w 443353"/>
                <a:gd name="connsiteY0" fmla="*/ 0 h 40304"/>
                <a:gd name="connsiteX1" fmla="*/ 443354 w 443353"/>
                <a:gd name="connsiteY1" fmla="*/ 0 h 40304"/>
                <a:gd name="connsiteX2" fmla="*/ 443354 w 443353"/>
                <a:gd name="connsiteY2" fmla="*/ 40305 h 40304"/>
                <a:gd name="connsiteX3" fmla="*/ 0 w 443353"/>
                <a:gd name="connsiteY3" fmla="*/ 40305 h 40304"/>
              </a:gdLst>
              <a:ahLst/>
              <a:cxnLst>
                <a:cxn ang="0">
                  <a:pos x="connsiteX0" y="connsiteY0"/>
                </a:cxn>
                <a:cxn ang="0">
                  <a:pos x="connsiteX1" y="connsiteY1"/>
                </a:cxn>
                <a:cxn ang="0">
                  <a:pos x="connsiteX2" y="connsiteY2"/>
                </a:cxn>
                <a:cxn ang="0">
                  <a:pos x="connsiteX3" y="connsiteY3"/>
                </a:cxn>
              </a:cxnLst>
              <a:rect l="l" t="t" r="r" b="b"/>
              <a:pathLst>
                <a:path w="443353" h="40304">
                  <a:moveTo>
                    <a:pt x="0" y="0"/>
                  </a:moveTo>
                  <a:lnTo>
                    <a:pt x="443354" y="0"/>
                  </a:lnTo>
                  <a:lnTo>
                    <a:pt x="443354" y="40305"/>
                  </a:lnTo>
                  <a:lnTo>
                    <a:pt x="0" y="40305"/>
                  </a:lnTo>
                  <a:close/>
                </a:path>
              </a:pathLst>
            </a:custGeom>
            <a:grpFill/>
            <a:ln w="200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262626"/>
                </a:solidFill>
                <a:effectLst/>
                <a:uLnTx/>
                <a:uFillTx/>
                <a:latin typeface="阿里巴巴普惠体 B"/>
                <a:ea typeface="阿里巴巴普惠体 R"/>
                <a:cs typeface="+mn-cs"/>
              </a:endParaRPr>
            </a:p>
          </p:txBody>
        </p:sp>
      </p:grpSp>
      <p:grpSp>
        <p:nvGrpSpPr>
          <p:cNvPr id="87" name="图形 23">
            <a:extLst>
              <a:ext uri="{FF2B5EF4-FFF2-40B4-BE49-F238E27FC236}">
                <a16:creationId xmlns:a16="http://schemas.microsoft.com/office/drawing/2014/main" id="{961B1909-3451-436E-BF0D-C9584A6E1B0A}"/>
              </a:ext>
            </a:extLst>
          </p:cNvPr>
          <p:cNvGrpSpPr/>
          <p:nvPr/>
        </p:nvGrpSpPr>
        <p:grpSpPr>
          <a:xfrm>
            <a:off x="2556792" y="3138829"/>
            <a:ext cx="336956" cy="336956"/>
            <a:chOff x="3657600" y="990601"/>
            <a:chExt cx="4876801" cy="4876796"/>
          </a:xfrm>
          <a:solidFill>
            <a:schemeClr val="bg1"/>
          </a:solidFill>
        </p:grpSpPr>
        <p:sp>
          <p:nvSpPr>
            <p:cNvPr id="88" name="任意多边形: 形状 87">
              <a:extLst>
                <a:ext uri="{FF2B5EF4-FFF2-40B4-BE49-F238E27FC236}">
                  <a16:creationId xmlns:a16="http://schemas.microsoft.com/office/drawing/2014/main" id="{885F81E1-64F0-4F85-99C0-1F2933C2D93C}"/>
                </a:ext>
              </a:extLst>
            </p:cNvPr>
            <p:cNvSpPr/>
            <p:nvPr/>
          </p:nvSpPr>
          <p:spPr>
            <a:xfrm>
              <a:off x="3657600" y="990601"/>
              <a:ext cx="4876801" cy="4876796"/>
            </a:xfrm>
            <a:custGeom>
              <a:avLst/>
              <a:gdLst>
                <a:gd name="connsiteX0" fmla="*/ 4848892 w 4876800"/>
                <a:gd name="connsiteY0" fmla="*/ 894550 h 4876800"/>
                <a:gd name="connsiteX1" fmla="*/ 3982117 w 4876800"/>
                <a:gd name="connsiteY1" fmla="*/ 27899 h 4876800"/>
                <a:gd name="connsiteX2" fmla="*/ 3914775 w 4876800"/>
                <a:gd name="connsiteY2" fmla="*/ 0 h 4876800"/>
                <a:gd name="connsiteX3" fmla="*/ 1085850 w 4876800"/>
                <a:gd name="connsiteY3" fmla="*/ 0 h 4876800"/>
                <a:gd name="connsiteX4" fmla="*/ 800100 w 4876800"/>
                <a:gd name="connsiteY4" fmla="*/ 285750 h 4876800"/>
                <a:gd name="connsiteX5" fmla="*/ 800100 w 4876800"/>
                <a:gd name="connsiteY5" fmla="*/ 467335 h 4876800"/>
                <a:gd name="connsiteX6" fmla="*/ 0 w 4876800"/>
                <a:gd name="connsiteY6" fmla="*/ 1639167 h 4876800"/>
                <a:gd name="connsiteX7" fmla="*/ 95250 w 4876800"/>
                <a:gd name="connsiteY7" fmla="*/ 1734417 h 4876800"/>
                <a:gd name="connsiteX8" fmla="*/ 1258167 w 4876800"/>
                <a:gd name="connsiteY8" fmla="*/ 1734417 h 4876800"/>
                <a:gd name="connsiteX9" fmla="*/ 1353417 w 4876800"/>
                <a:gd name="connsiteY9" fmla="*/ 1639167 h 4876800"/>
                <a:gd name="connsiteX10" fmla="*/ 1353417 w 4876800"/>
                <a:gd name="connsiteY10" fmla="*/ 476250 h 4876800"/>
                <a:gd name="connsiteX11" fmla="*/ 1258167 w 4876800"/>
                <a:gd name="connsiteY11" fmla="*/ 381000 h 4876800"/>
                <a:gd name="connsiteX12" fmla="*/ 990600 w 4876800"/>
                <a:gd name="connsiteY12" fmla="*/ 409737 h 4876800"/>
                <a:gd name="connsiteX13" fmla="*/ 990600 w 4876800"/>
                <a:gd name="connsiteY13" fmla="*/ 285750 h 4876800"/>
                <a:gd name="connsiteX14" fmla="*/ 1085850 w 4876800"/>
                <a:gd name="connsiteY14" fmla="*/ 190500 h 4876800"/>
                <a:gd name="connsiteX15" fmla="*/ 3819525 w 4876800"/>
                <a:gd name="connsiteY15" fmla="*/ 190500 h 4876800"/>
                <a:gd name="connsiteX16" fmla="*/ 3819525 w 4876800"/>
                <a:gd name="connsiteY16" fmla="*/ 771525 h 4876800"/>
                <a:gd name="connsiteX17" fmla="*/ 4105275 w 4876800"/>
                <a:gd name="connsiteY17" fmla="*/ 1057275 h 4876800"/>
                <a:gd name="connsiteX18" fmla="*/ 4686300 w 4876800"/>
                <a:gd name="connsiteY18" fmla="*/ 1057275 h 4876800"/>
                <a:gd name="connsiteX19" fmla="*/ 4686300 w 4876800"/>
                <a:gd name="connsiteY19" fmla="*/ 4591050 h 4876800"/>
                <a:gd name="connsiteX20" fmla="*/ 4591050 w 4876800"/>
                <a:gd name="connsiteY20" fmla="*/ 4686300 h 4876800"/>
                <a:gd name="connsiteX21" fmla="*/ 1085850 w 4876800"/>
                <a:gd name="connsiteY21" fmla="*/ 4686300 h 4876800"/>
                <a:gd name="connsiteX22" fmla="*/ 990600 w 4876800"/>
                <a:gd name="connsiteY22" fmla="*/ 4591050 h 4876800"/>
                <a:gd name="connsiteX23" fmla="*/ 990600 w 4876800"/>
                <a:gd name="connsiteY23" fmla="*/ 3775072 h 4876800"/>
                <a:gd name="connsiteX24" fmla="*/ 895350 w 4876800"/>
                <a:gd name="connsiteY24" fmla="*/ 3679822 h 4876800"/>
                <a:gd name="connsiteX25" fmla="*/ 800100 w 4876800"/>
                <a:gd name="connsiteY25" fmla="*/ 3775072 h 4876800"/>
                <a:gd name="connsiteX26" fmla="*/ 800100 w 4876800"/>
                <a:gd name="connsiteY26" fmla="*/ 4591050 h 4876800"/>
                <a:gd name="connsiteX27" fmla="*/ 1085850 w 4876800"/>
                <a:gd name="connsiteY27" fmla="*/ 4876800 h 4876800"/>
                <a:gd name="connsiteX28" fmla="*/ 4591050 w 4876800"/>
                <a:gd name="connsiteY28" fmla="*/ 4876800 h 4876800"/>
                <a:gd name="connsiteX29" fmla="*/ 4876800 w 4876800"/>
                <a:gd name="connsiteY29" fmla="*/ 4591050 h 4876800"/>
                <a:gd name="connsiteX30" fmla="*/ 4876800 w 4876800"/>
                <a:gd name="connsiteY30" fmla="*/ 961901 h 4876800"/>
                <a:gd name="connsiteX31" fmla="*/ 4848892 w 4876800"/>
                <a:gd name="connsiteY31" fmla="*/ 894550 h 4876800"/>
                <a:gd name="connsiteX32" fmla="*/ 1162907 w 4876800"/>
                <a:gd name="connsiteY32" fmla="*/ 575720 h 4876800"/>
                <a:gd name="connsiteX33" fmla="*/ 1162907 w 4876800"/>
                <a:gd name="connsiteY33" fmla="*/ 1543917 h 4876800"/>
                <a:gd name="connsiteX34" fmla="*/ 194710 w 4876800"/>
                <a:gd name="connsiteY34" fmla="*/ 1543917 h 4876800"/>
                <a:gd name="connsiteX35" fmla="*/ 1162907 w 4876800"/>
                <a:gd name="connsiteY35" fmla="*/ 575720 h 4876800"/>
                <a:gd name="connsiteX36" fmla="*/ 4105275 w 4876800"/>
                <a:gd name="connsiteY36" fmla="*/ 866775 h 4876800"/>
                <a:gd name="connsiteX37" fmla="*/ 4010025 w 4876800"/>
                <a:gd name="connsiteY37" fmla="*/ 771525 h 4876800"/>
                <a:gd name="connsiteX38" fmla="*/ 4010025 w 4876800"/>
                <a:gd name="connsiteY38" fmla="*/ 325184 h 4876800"/>
                <a:gd name="connsiteX39" fmla="*/ 4551693 w 4876800"/>
                <a:gd name="connsiteY39" fmla="*/ 866775 h 4876800"/>
                <a:gd name="connsiteX40" fmla="*/ 4105275 w 4876800"/>
                <a:gd name="connsiteY40" fmla="*/ 866775 h 4876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4876800" h="4876800">
                  <a:moveTo>
                    <a:pt x="4848892" y="894550"/>
                  </a:moveTo>
                  <a:lnTo>
                    <a:pt x="3982117" y="27899"/>
                  </a:lnTo>
                  <a:cubicBezTo>
                    <a:pt x="3964258" y="10039"/>
                    <a:pt x="3940036" y="0"/>
                    <a:pt x="3914775" y="0"/>
                  </a:cubicBezTo>
                  <a:lnTo>
                    <a:pt x="1085850" y="0"/>
                  </a:lnTo>
                  <a:cubicBezTo>
                    <a:pt x="928287" y="0"/>
                    <a:pt x="800100" y="128187"/>
                    <a:pt x="800100" y="285750"/>
                  </a:cubicBezTo>
                  <a:lnTo>
                    <a:pt x="800100" y="467335"/>
                  </a:lnTo>
                  <a:cubicBezTo>
                    <a:pt x="332184" y="650881"/>
                    <a:pt x="0" y="1106948"/>
                    <a:pt x="0" y="1639167"/>
                  </a:cubicBezTo>
                  <a:cubicBezTo>
                    <a:pt x="0" y="1691764"/>
                    <a:pt x="42653" y="1734417"/>
                    <a:pt x="95250" y="1734417"/>
                  </a:cubicBezTo>
                  <a:lnTo>
                    <a:pt x="1258167" y="1734417"/>
                  </a:lnTo>
                  <a:cubicBezTo>
                    <a:pt x="1310764" y="1734417"/>
                    <a:pt x="1353417" y="1691764"/>
                    <a:pt x="1353417" y="1639167"/>
                  </a:cubicBezTo>
                  <a:lnTo>
                    <a:pt x="1353417" y="476250"/>
                  </a:lnTo>
                  <a:cubicBezTo>
                    <a:pt x="1353417" y="423653"/>
                    <a:pt x="1310764" y="381000"/>
                    <a:pt x="1258167" y="381000"/>
                  </a:cubicBezTo>
                  <a:cubicBezTo>
                    <a:pt x="1166365" y="381000"/>
                    <a:pt x="1076868" y="390973"/>
                    <a:pt x="990600" y="409737"/>
                  </a:cubicBezTo>
                  <a:lnTo>
                    <a:pt x="990600" y="285750"/>
                  </a:lnTo>
                  <a:cubicBezTo>
                    <a:pt x="990600" y="233229"/>
                    <a:pt x="1033329" y="190500"/>
                    <a:pt x="1085850" y="190500"/>
                  </a:cubicBezTo>
                  <a:lnTo>
                    <a:pt x="3819525" y="190500"/>
                  </a:lnTo>
                  <a:lnTo>
                    <a:pt x="3819525" y="771525"/>
                  </a:lnTo>
                  <a:cubicBezTo>
                    <a:pt x="3819525" y="929088"/>
                    <a:pt x="3947713" y="1057275"/>
                    <a:pt x="4105275" y="1057275"/>
                  </a:cubicBezTo>
                  <a:lnTo>
                    <a:pt x="4686300" y="1057275"/>
                  </a:lnTo>
                  <a:lnTo>
                    <a:pt x="4686300" y="4591050"/>
                  </a:lnTo>
                  <a:cubicBezTo>
                    <a:pt x="4686300" y="4643571"/>
                    <a:pt x="4643571" y="4686300"/>
                    <a:pt x="4591050" y="4686300"/>
                  </a:cubicBezTo>
                  <a:lnTo>
                    <a:pt x="1085850" y="4686300"/>
                  </a:lnTo>
                  <a:cubicBezTo>
                    <a:pt x="1033329" y="4686300"/>
                    <a:pt x="990600" y="4643571"/>
                    <a:pt x="990600" y="4591050"/>
                  </a:cubicBezTo>
                  <a:lnTo>
                    <a:pt x="990600" y="3775072"/>
                  </a:lnTo>
                  <a:cubicBezTo>
                    <a:pt x="990600" y="3722475"/>
                    <a:pt x="947947" y="3679822"/>
                    <a:pt x="895350" y="3679822"/>
                  </a:cubicBezTo>
                  <a:cubicBezTo>
                    <a:pt x="842753" y="3679822"/>
                    <a:pt x="800100" y="3722475"/>
                    <a:pt x="800100" y="3775072"/>
                  </a:cubicBezTo>
                  <a:lnTo>
                    <a:pt x="800100" y="4591050"/>
                  </a:lnTo>
                  <a:cubicBezTo>
                    <a:pt x="800100" y="4748613"/>
                    <a:pt x="928287" y="4876800"/>
                    <a:pt x="1085850" y="4876800"/>
                  </a:cubicBezTo>
                  <a:lnTo>
                    <a:pt x="4591050" y="4876800"/>
                  </a:lnTo>
                  <a:cubicBezTo>
                    <a:pt x="4748613" y="4876800"/>
                    <a:pt x="4876800" y="4748613"/>
                    <a:pt x="4876800" y="4591050"/>
                  </a:cubicBezTo>
                  <a:lnTo>
                    <a:pt x="4876800" y="961901"/>
                  </a:lnTo>
                  <a:cubicBezTo>
                    <a:pt x="4876800" y="936641"/>
                    <a:pt x="4866761" y="912409"/>
                    <a:pt x="4848892" y="894550"/>
                  </a:cubicBezTo>
                  <a:close/>
                  <a:moveTo>
                    <a:pt x="1162907" y="575720"/>
                  </a:moveTo>
                  <a:lnTo>
                    <a:pt x="1162907" y="1543917"/>
                  </a:lnTo>
                  <a:lnTo>
                    <a:pt x="194710" y="1543917"/>
                  </a:lnTo>
                  <a:cubicBezTo>
                    <a:pt x="240249" y="1031015"/>
                    <a:pt x="650015" y="621259"/>
                    <a:pt x="1162907" y="575720"/>
                  </a:cubicBezTo>
                  <a:close/>
                  <a:moveTo>
                    <a:pt x="4105275" y="866775"/>
                  </a:moveTo>
                  <a:cubicBezTo>
                    <a:pt x="4052754" y="866775"/>
                    <a:pt x="4010025" y="824046"/>
                    <a:pt x="4010025" y="771525"/>
                  </a:cubicBezTo>
                  <a:lnTo>
                    <a:pt x="4010025" y="325184"/>
                  </a:lnTo>
                  <a:lnTo>
                    <a:pt x="4551693" y="866775"/>
                  </a:lnTo>
                  <a:lnTo>
                    <a:pt x="4105275" y="866775"/>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262626"/>
                </a:solidFill>
                <a:effectLst/>
                <a:uLnTx/>
                <a:uFillTx/>
                <a:latin typeface="阿里巴巴普惠体 B"/>
                <a:ea typeface="阿里巴巴普惠体 R"/>
                <a:cs typeface="+mn-cs"/>
              </a:endParaRPr>
            </a:p>
          </p:txBody>
        </p:sp>
        <p:sp>
          <p:nvSpPr>
            <p:cNvPr id="89" name="任意多边形: 形状 88">
              <a:extLst>
                <a:ext uri="{FF2B5EF4-FFF2-40B4-BE49-F238E27FC236}">
                  <a16:creationId xmlns:a16="http://schemas.microsoft.com/office/drawing/2014/main" id="{7DC21DCA-39F2-46C6-B873-DD15A85884AC}"/>
                </a:ext>
              </a:extLst>
            </p:cNvPr>
            <p:cNvSpPr/>
            <p:nvPr/>
          </p:nvSpPr>
          <p:spPr>
            <a:xfrm>
              <a:off x="4457698" y="4324346"/>
              <a:ext cx="190499" cy="190499"/>
            </a:xfrm>
            <a:custGeom>
              <a:avLst/>
              <a:gdLst>
                <a:gd name="connsiteX0" fmla="*/ 162582 w 190500"/>
                <a:gd name="connsiteY0" fmla="*/ 27908 h 190500"/>
                <a:gd name="connsiteX1" fmla="*/ 95250 w 190500"/>
                <a:gd name="connsiteY1" fmla="*/ 0 h 190500"/>
                <a:gd name="connsiteX2" fmla="*/ 27908 w 190500"/>
                <a:gd name="connsiteY2" fmla="*/ 27908 h 190500"/>
                <a:gd name="connsiteX3" fmla="*/ 0 w 190500"/>
                <a:gd name="connsiteY3" fmla="*/ 95250 h 190500"/>
                <a:gd name="connsiteX4" fmla="*/ 27908 w 190500"/>
                <a:gd name="connsiteY4" fmla="*/ 162582 h 190500"/>
                <a:gd name="connsiteX5" fmla="*/ 95250 w 190500"/>
                <a:gd name="connsiteY5" fmla="*/ 190500 h 190500"/>
                <a:gd name="connsiteX6" fmla="*/ 162582 w 190500"/>
                <a:gd name="connsiteY6" fmla="*/ 162582 h 190500"/>
                <a:gd name="connsiteX7" fmla="*/ 190500 w 190500"/>
                <a:gd name="connsiteY7" fmla="*/ 95250 h 190500"/>
                <a:gd name="connsiteX8" fmla="*/ 162582 w 190500"/>
                <a:gd name="connsiteY8" fmla="*/ 27908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0500" h="190500">
                  <a:moveTo>
                    <a:pt x="162582" y="27908"/>
                  </a:moveTo>
                  <a:cubicBezTo>
                    <a:pt x="144875" y="10182"/>
                    <a:pt x="120301" y="0"/>
                    <a:pt x="95250" y="0"/>
                  </a:cubicBezTo>
                  <a:cubicBezTo>
                    <a:pt x="70199" y="0"/>
                    <a:pt x="45625" y="10182"/>
                    <a:pt x="27908" y="27908"/>
                  </a:cubicBezTo>
                  <a:cubicBezTo>
                    <a:pt x="10192" y="45625"/>
                    <a:pt x="0" y="70199"/>
                    <a:pt x="0" y="95250"/>
                  </a:cubicBezTo>
                  <a:cubicBezTo>
                    <a:pt x="0" y="120301"/>
                    <a:pt x="10182" y="144875"/>
                    <a:pt x="27908" y="162582"/>
                  </a:cubicBezTo>
                  <a:cubicBezTo>
                    <a:pt x="45625" y="180308"/>
                    <a:pt x="70199" y="190500"/>
                    <a:pt x="95250" y="190500"/>
                  </a:cubicBezTo>
                  <a:cubicBezTo>
                    <a:pt x="120301" y="190500"/>
                    <a:pt x="144875" y="180308"/>
                    <a:pt x="162582" y="162582"/>
                  </a:cubicBezTo>
                  <a:cubicBezTo>
                    <a:pt x="180308" y="144875"/>
                    <a:pt x="190500" y="120301"/>
                    <a:pt x="190500" y="95250"/>
                  </a:cubicBezTo>
                  <a:cubicBezTo>
                    <a:pt x="190500" y="70199"/>
                    <a:pt x="180308" y="45625"/>
                    <a:pt x="162582" y="2790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262626"/>
                </a:solidFill>
                <a:effectLst/>
                <a:uLnTx/>
                <a:uFillTx/>
                <a:latin typeface="阿里巴巴普惠体 B"/>
                <a:ea typeface="阿里巴巴普惠体 R"/>
                <a:cs typeface="+mn-cs"/>
              </a:endParaRPr>
            </a:p>
          </p:txBody>
        </p:sp>
        <p:sp>
          <p:nvSpPr>
            <p:cNvPr id="90" name="任意多边形: 形状 89">
              <a:extLst>
                <a:ext uri="{FF2B5EF4-FFF2-40B4-BE49-F238E27FC236}">
                  <a16:creationId xmlns:a16="http://schemas.microsoft.com/office/drawing/2014/main" id="{F492DE00-3D8E-4479-B26F-7DD7669FA072}"/>
                </a:ext>
              </a:extLst>
            </p:cNvPr>
            <p:cNvSpPr/>
            <p:nvPr/>
          </p:nvSpPr>
          <p:spPr>
            <a:xfrm>
              <a:off x="3998774" y="1712773"/>
              <a:ext cx="2516322" cy="2516320"/>
            </a:xfrm>
            <a:custGeom>
              <a:avLst/>
              <a:gdLst>
                <a:gd name="connsiteX0" fmla="*/ 1258157 w 2516324"/>
                <a:gd name="connsiteY0" fmla="*/ 0 h 2516324"/>
                <a:gd name="connsiteX1" fmla="*/ 1162907 w 2516324"/>
                <a:gd name="connsiteY1" fmla="*/ 95250 h 2516324"/>
                <a:gd name="connsiteX2" fmla="*/ 1162907 w 2516324"/>
                <a:gd name="connsiteY2" fmla="*/ 1162907 h 2516324"/>
                <a:gd name="connsiteX3" fmla="*/ 95250 w 2516324"/>
                <a:gd name="connsiteY3" fmla="*/ 1162907 h 2516324"/>
                <a:gd name="connsiteX4" fmla="*/ 0 w 2516324"/>
                <a:gd name="connsiteY4" fmla="*/ 1258157 h 2516324"/>
                <a:gd name="connsiteX5" fmla="*/ 1258157 w 2516324"/>
                <a:gd name="connsiteY5" fmla="*/ 2516324 h 2516324"/>
                <a:gd name="connsiteX6" fmla="*/ 2516324 w 2516324"/>
                <a:gd name="connsiteY6" fmla="*/ 1258157 h 2516324"/>
                <a:gd name="connsiteX7" fmla="*/ 1258157 w 2516324"/>
                <a:gd name="connsiteY7" fmla="*/ 0 h 2516324"/>
                <a:gd name="connsiteX8" fmla="*/ 1353407 w 2516324"/>
                <a:gd name="connsiteY8" fmla="*/ 194720 h 2516324"/>
                <a:gd name="connsiteX9" fmla="*/ 1942395 w 2516324"/>
                <a:gd name="connsiteY9" fmla="*/ 439226 h 2516324"/>
                <a:gd name="connsiteX10" fmla="*/ 1353407 w 2516324"/>
                <a:gd name="connsiteY10" fmla="*/ 1028205 h 2516324"/>
                <a:gd name="connsiteX11" fmla="*/ 1353407 w 2516324"/>
                <a:gd name="connsiteY11" fmla="*/ 194720 h 2516324"/>
                <a:gd name="connsiteX12" fmla="*/ 1258157 w 2516324"/>
                <a:gd name="connsiteY12" fmla="*/ 2325824 h 2516324"/>
                <a:gd name="connsiteX13" fmla="*/ 194720 w 2516324"/>
                <a:gd name="connsiteY13" fmla="*/ 1353407 h 2516324"/>
                <a:gd name="connsiteX14" fmla="*/ 1258157 w 2516324"/>
                <a:gd name="connsiteY14" fmla="*/ 1353407 h 2516324"/>
                <a:gd name="connsiteX15" fmla="*/ 1325480 w 2516324"/>
                <a:gd name="connsiteY15" fmla="*/ 1325537 h 2516324"/>
                <a:gd name="connsiteX16" fmla="*/ 1325518 w 2516324"/>
                <a:gd name="connsiteY16" fmla="*/ 1325509 h 2516324"/>
                <a:gd name="connsiteX17" fmla="*/ 2077126 w 2516324"/>
                <a:gd name="connsiteY17" fmla="*/ 573910 h 2516324"/>
                <a:gd name="connsiteX18" fmla="*/ 2325824 w 2516324"/>
                <a:gd name="connsiteY18" fmla="*/ 1258157 h 2516324"/>
                <a:gd name="connsiteX19" fmla="*/ 1258157 w 2516324"/>
                <a:gd name="connsiteY19" fmla="*/ 2325824 h 25163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516324" h="2516324">
                  <a:moveTo>
                    <a:pt x="1258157" y="0"/>
                  </a:moveTo>
                  <a:cubicBezTo>
                    <a:pt x="1205560" y="0"/>
                    <a:pt x="1162907" y="42653"/>
                    <a:pt x="1162907" y="95250"/>
                  </a:cubicBezTo>
                  <a:lnTo>
                    <a:pt x="1162907" y="1162907"/>
                  </a:lnTo>
                  <a:lnTo>
                    <a:pt x="95250" y="1162907"/>
                  </a:lnTo>
                  <a:cubicBezTo>
                    <a:pt x="42653" y="1162907"/>
                    <a:pt x="0" y="1205560"/>
                    <a:pt x="0" y="1258157"/>
                  </a:cubicBezTo>
                  <a:cubicBezTo>
                    <a:pt x="0" y="1951911"/>
                    <a:pt x="564404" y="2516324"/>
                    <a:pt x="1258157" y="2516324"/>
                  </a:cubicBezTo>
                  <a:cubicBezTo>
                    <a:pt x="1951911" y="2516324"/>
                    <a:pt x="2516324" y="1951911"/>
                    <a:pt x="2516324" y="1258157"/>
                  </a:cubicBezTo>
                  <a:cubicBezTo>
                    <a:pt x="2516324" y="564404"/>
                    <a:pt x="1951911" y="0"/>
                    <a:pt x="1258157" y="0"/>
                  </a:cubicBezTo>
                  <a:close/>
                  <a:moveTo>
                    <a:pt x="1353407" y="194720"/>
                  </a:moveTo>
                  <a:cubicBezTo>
                    <a:pt x="1576388" y="214512"/>
                    <a:pt x="1779851" y="303190"/>
                    <a:pt x="1942395" y="439226"/>
                  </a:cubicBezTo>
                  <a:lnTo>
                    <a:pt x="1353407" y="1028205"/>
                  </a:lnTo>
                  <a:lnTo>
                    <a:pt x="1353407" y="194720"/>
                  </a:lnTo>
                  <a:close/>
                  <a:moveTo>
                    <a:pt x="1258157" y="2325824"/>
                  </a:moveTo>
                  <a:cubicBezTo>
                    <a:pt x="701545" y="2325824"/>
                    <a:pt x="243040" y="1897685"/>
                    <a:pt x="194720" y="1353407"/>
                  </a:cubicBezTo>
                  <a:lnTo>
                    <a:pt x="1258157" y="1353407"/>
                  </a:lnTo>
                  <a:cubicBezTo>
                    <a:pt x="1284446" y="1353407"/>
                    <a:pt x="1308240" y="1342758"/>
                    <a:pt x="1325480" y="1325537"/>
                  </a:cubicBezTo>
                  <a:cubicBezTo>
                    <a:pt x="1325490" y="1325528"/>
                    <a:pt x="1325499" y="1325528"/>
                    <a:pt x="1325518" y="1325509"/>
                  </a:cubicBezTo>
                  <a:lnTo>
                    <a:pt x="2077126" y="573910"/>
                  </a:lnTo>
                  <a:cubicBezTo>
                    <a:pt x="2232298" y="759333"/>
                    <a:pt x="2325824" y="998030"/>
                    <a:pt x="2325824" y="1258157"/>
                  </a:cubicBezTo>
                  <a:cubicBezTo>
                    <a:pt x="2325824" y="1846869"/>
                    <a:pt x="1846869" y="2325824"/>
                    <a:pt x="1258157" y="2325824"/>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262626"/>
                </a:solidFill>
                <a:effectLst/>
                <a:uLnTx/>
                <a:uFillTx/>
                <a:latin typeface="阿里巴巴普惠体 B"/>
                <a:ea typeface="阿里巴巴普惠体 R"/>
                <a:cs typeface="+mn-cs"/>
              </a:endParaRPr>
            </a:p>
          </p:txBody>
        </p:sp>
        <p:sp>
          <p:nvSpPr>
            <p:cNvPr id="91" name="任意多边形: 形状 90">
              <a:extLst>
                <a:ext uri="{FF2B5EF4-FFF2-40B4-BE49-F238E27FC236}">
                  <a16:creationId xmlns:a16="http://schemas.microsoft.com/office/drawing/2014/main" id="{61204276-E5F7-42F4-9485-65DB4344F17D}"/>
                </a:ext>
              </a:extLst>
            </p:cNvPr>
            <p:cNvSpPr/>
            <p:nvPr/>
          </p:nvSpPr>
          <p:spPr>
            <a:xfrm>
              <a:off x="5123541" y="3996733"/>
              <a:ext cx="2992447" cy="1489064"/>
            </a:xfrm>
            <a:custGeom>
              <a:avLst/>
              <a:gdLst>
                <a:gd name="connsiteX0" fmla="*/ 2706700 w 2992450"/>
                <a:gd name="connsiteY0" fmla="*/ 0 h 1489062"/>
                <a:gd name="connsiteX1" fmla="*/ 2420950 w 2992450"/>
                <a:gd name="connsiteY1" fmla="*/ 285750 h 1489062"/>
                <a:gd name="connsiteX2" fmla="*/ 2443553 w 2992450"/>
                <a:gd name="connsiteY2" fmla="*/ 397116 h 1489062"/>
                <a:gd name="connsiteX3" fmla="*/ 1894789 w 2992450"/>
                <a:gd name="connsiteY3" fmla="*/ 945880 h 1489062"/>
                <a:gd name="connsiteX4" fmla="*/ 1770059 w 2992450"/>
                <a:gd name="connsiteY4" fmla="*/ 917172 h 1489062"/>
                <a:gd name="connsiteX5" fmla="*/ 1648044 w 2992450"/>
                <a:gd name="connsiteY5" fmla="*/ 944594 h 1489062"/>
                <a:gd name="connsiteX6" fmla="*/ 1283637 w 2992450"/>
                <a:gd name="connsiteY6" fmla="*/ 580187 h 1489062"/>
                <a:gd name="connsiteX7" fmla="*/ 1303277 w 2992450"/>
                <a:gd name="connsiteY7" fmla="*/ 476240 h 1489062"/>
                <a:gd name="connsiteX8" fmla="*/ 1017527 w 2992450"/>
                <a:gd name="connsiteY8" fmla="*/ 190490 h 1489062"/>
                <a:gd name="connsiteX9" fmla="*/ 731777 w 2992450"/>
                <a:gd name="connsiteY9" fmla="*/ 476240 h 1489062"/>
                <a:gd name="connsiteX10" fmla="*/ 758114 w 2992450"/>
                <a:gd name="connsiteY10" fmla="*/ 595846 h 1489062"/>
                <a:gd name="connsiteX11" fmla="*/ 408594 w 2992450"/>
                <a:gd name="connsiteY11" fmla="*/ 945366 h 1489062"/>
                <a:gd name="connsiteX12" fmla="*/ 285750 w 2992450"/>
                <a:gd name="connsiteY12" fmla="*/ 917562 h 1489062"/>
                <a:gd name="connsiteX13" fmla="*/ 0 w 2992450"/>
                <a:gd name="connsiteY13" fmla="*/ 1203312 h 1489062"/>
                <a:gd name="connsiteX14" fmla="*/ 285750 w 2992450"/>
                <a:gd name="connsiteY14" fmla="*/ 1489062 h 1489062"/>
                <a:gd name="connsiteX15" fmla="*/ 571500 w 2992450"/>
                <a:gd name="connsiteY15" fmla="*/ 1203312 h 1489062"/>
                <a:gd name="connsiteX16" fmla="*/ 543458 w 2992450"/>
                <a:gd name="connsiteY16" fmla="*/ 1079925 h 1489062"/>
                <a:gd name="connsiteX17" fmla="*/ 891026 w 2992450"/>
                <a:gd name="connsiteY17" fmla="*/ 732358 h 1489062"/>
                <a:gd name="connsiteX18" fmla="*/ 1017546 w 2992450"/>
                <a:gd name="connsiteY18" fmla="*/ 761990 h 1489062"/>
                <a:gd name="connsiteX19" fmla="*/ 1158621 w 2992450"/>
                <a:gd name="connsiteY19" fmla="*/ 724586 h 1489062"/>
                <a:gd name="connsiteX20" fmla="*/ 1512751 w 2992450"/>
                <a:gd name="connsiteY20" fmla="*/ 1078716 h 1489062"/>
                <a:gd name="connsiteX21" fmla="*/ 1484309 w 2992450"/>
                <a:gd name="connsiteY21" fmla="*/ 1202922 h 1489062"/>
                <a:gd name="connsiteX22" fmla="*/ 1770059 w 2992450"/>
                <a:gd name="connsiteY22" fmla="*/ 1488672 h 1489062"/>
                <a:gd name="connsiteX23" fmla="*/ 2055809 w 2992450"/>
                <a:gd name="connsiteY23" fmla="*/ 1202922 h 1489062"/>
                <a:gd name="connsiteX24" fmla="*/ 2028635 w 2992450"/>
                <a:gd name="connsiteY24" fmla="*/ 1081459 h 1489062"/>
                <a:gd name="connsiteX25" fmla="*/ 2572274 w 2992450"/>
                <a:gd name="connsiteY25" fmla="*/ 537820 h 1489062"/>
                <a:gd name="connsiteX26" fmla="*/ 2706700 w 2992450"/>
                <a:gd name="connsiteY26" fmla="*/ 571500 h 1489062"/>
                <a:gd name="connsiteX27" fmla="*/ 2992450 w 2992450"/>
                <a:gd name="connsiteY27" fmla="*/ 285750 h 1489062"/>
                <a:gd name="connsiteX28" fmla="*/ 2706700 w 2992450"/>
                <a:gd name="connsiteY28" fmla="*/ 0 h 1489062"/>
                <a:gd name="connsiteX29" fmla="*/ 285741 w 2992450"/>
                <a:gd name="connsiteY29" fmla="*/ 1298572 h 1489062"/>
                <a:gd name="connsiteX30" fmla="*/ 190491 w 2992450"/>
                <a:gd name="connsiteY30" fmla="*/ 1203322 h 1489062"/>
                <a:gd name="connsiteX31" fmla="*/ 285741 w 2992450"/>
                <a:gd name="connsiteY31" fmla="*/ 1108072 h 1489062"/>
                <a:gd name="connsiteX32" fmla="*/ 351635 w 2992450"/>
                <a:gd name="connsiteY32" fmla="*/ 1134713 h 1489062"/>
                <a:gd name="connsiteX33" fmla="*/ 352739 w 2992450"/>
                <a:gd name="connsiteY33" fmla="*/ 1135932 h 1489062"/>
                <a:gd name="connsiteX34" fmla="*/ 354159 w 2992450"/>
                <a:gd name="connsiteY34" fmla="*/ 1137209 h 1489062"/>
                <a:gd name="connsiteX35" fmla="*/ 380991 w 2992450"/>
                <a:gd name="connsiteY35" fmla="*/ 1203322 h 1489062"/>
                <a:gd name="connsiteX36" fmla="*/ 285741 w 2992450"/>
                <a:gd name="connsiteY36" fmla="*/ 1298572 h 1489062"/>
                <a:gd name="connsiteX37" fmla="*/ 1017527 w 2992450"/>
                <a:gd name="connsiteY37" fmla="*/ 571490 h 1489062"/>
                <a:gd name="connsiteX38" fmla="*/ 922277 w 2992450"/>
                <a:gd name="connsiteY38" fmla="*/ 476240 h 1489062"/>
                <a:gd name="connsiteX39" fmla="*/ 1017527 w 2992450"/>
                <a:gd name="connsiteY39" fmla="*/ 380990 h 1489062"/>
                <a:gd name="connsiteX40" fmla="*/ 1112777 w 2992450"/>
                <a:gd name="connsiteY40" fmla="*/ 476240 h 1489062"/>
                <a:gd name="connsiteX41" fmla="*/ 1017527 w 2992450"/>
                <a:gd name="connsiteY41" fmla="*/ 571490 h 1489062"/>
                <a:gd name="connsiteX42" fmla="*/ 1770040 w 2992450"/>
                <a:gd name="connsiteY42" fmla="*/ 1298172 h 1489062"/>
                <a:gd name="connsiteX43" fmla="*/ 1674790 w 2992450"/>
                <a:gd name="connsiteY43" fmla="*/ 1202922 h 1489062"/>
                <a:gd name="connsiteX44" fmla="*/ 1770040 w 2992450"/>
                <a:gd name="connsiteY44" fmla="*/ 1107672 h 1489062"/>
                <a:gd name="connsiteX45" fmla="*/ 1865290 w 2992450"/>
                <a:gd name="connsiteY45" fmla="*/ 1202922 h 1489062"/>
                <a:gd name="connsiteX46" fmla="*/ 1770040 w 2992450"/>
                <a:gd name="connsiteY46" fmla="*/ 1298172 h 1489062"/>
                <a:gd name="connsiteX47" fmla="*/ 2706681 w 2992450"/>
                <a:gd name="connsiteY47" fmla="*/ 380990 h 1489062"/>
                <a:gd name="connsiteX48" fmla="*/ 2611431 w 2992450"/>
                <a:gd name="connsiteY48" fmla="*/ 285740 h 1489062"/>
                <a:gd name="connsiteX49" fmla="*/ 2706681 w 2992450"/>
                <a:gd name="connsiteY49" fmla="*/ 190490 h 1489062"/>
                <a:gd name="connsiteX50" fmla="*/ 2801931 w 2992450"/>
                <a:gd name="connsiteY50" fmla="*/ 285740 h 1489062"/>
                <a:gd name="connsiteX51" fmla="*/ 2706681 w 2992450"/>
                <a:gd name="connsiteY51" fmla="*/ 380990 h 1489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2992450" h="1489062">
                  <a:moveTo>
                    <a:pt x="2706700" y="0"/>
                  </a:moveTo>
                  <a:cubicBezTo>
                    <a:pt x="2549138" y="0"/>
                    <a:pt x="2420950" y="128187"/>
                    <a:pt x="2420950" y="285750"/>
                  </a:cubicBezTo>
                  <a:cubicBezTo>
                    <a:pt x="2420950" y="325241"/>
                    <a:pt x="2429009" y="362874"/>
                    <a:pt x="2443553" y="397116"/>
                  </a:cubicBezTo>
                  <a:lnTo>
                    <a:pt x="1894789" y="945880"/>
                  </a:lnTo>
                  <a:cubicBezTo>
                    <a:pt x="1857080" y="927506"/>
                    <a:pt x="1814751" y="917172"/>
                    <a:pt x="1770059" y="917172"/>
                  </a:cubicBezTo>
                  <a:cubicBezTo>
                    <a:pt x="1726425" y="917172"/>
                    <a:pt x="1685068" y="927040"/>
                    <a:pt x="1648044" y="944594"/>
                  </a:cubicBezTo>
                  <a:lnTo>
                    <a:pt x="1283637" y="580187"/>
                  </a:lnTo>
                  <a:cubicBezTo>
                    <a:pt x="1296267" y="547954"/>
                    <a:pt x="1303277" y="512912"/>
                    <a:pt x="1303277" y="476240"/>
                  </a:cubicBezTo>
                  <a:cubicBezTo>
                    <a:pt x="1303277" y="318678"/>
                    <a:pt x="1175090" y="190490"/>
                    <a:pt x="1017527" y="190490"/>
                  </a:cubicBezTo>
                  <a:cubicBezTo>
                    <a:pt x="859965" y="190490"/>
                    <a:pt x="731777" y="318678"/>
                    <a:pt x="731777" y="476240"/>
                  </a:cubicBezTo>
                  <a:cubicBezTo>
                    <a:pt x="731777" y="518931"/>
                    <a:pt x="741255" y="559432"/>
                    <a:pt x="758114" y="595846"/>
                  </a:cubicBezTo>
                  <a:lnTo>
                    <a:pt x="408594" y="945366"/>
                  </a:lnTo>
                  <a:cubicBezTo>
                    <a:pt x="371361" y="927554"/>
                    <a:pt x="329698" y="917562"/>
                    <a:pt x="285750" y="917562"/>
                  </a:cubicBezTo>
                  <a:cubicBezTo>
                    <a:pt x="128188" y="917562"/>
                    <a:pt x="0" y="1045750"/>
                    <a:pt x="0" y="1203312"/>
                  </a:cubicBezTo>
                  <a:cubicBezTo>
                    <a:pt x="0" y="1360875"/>
                    <a:pt x="128188" y="1489062"/>
                    <a:pt x="285750" y="1489062"/>
                  </a:cubicBezTo>
                  <a:cubicBezTo>
                    <a:pt x="443313" y="1489062"/>
                    <a:pt x="571500" y="1360875"/>
                    <a:pt x="571500" y="1203312"/>
                  </a:cubicBezTo>
                  <a:cubicBezTo>
                    <a:pt x="571500" y="1159145"/>
                    <a:pt x="561423" y="1117292"/>
                    <a:pt x="543458" y="1079925"/>
                  </a:cubicBezTo>
                  <a:lnTo>
                    <a:pt x="891026" y="732358"/>
                  </a:lnTo>
                  <a:cubicBezTo>
                    <a:pt x="929192" y="751294"/>
                    <a:pt x="972131" y="761990"/>
                    <a:pt x="1017546" y="761990"/>
                  </a:cubicBezTo>
                  <a:cubicBezTo>
                    <a:pt x="1068838" y="761990"/>
                    <a:pt x="1116968" y="748341"/>
                    <a:pt x="1158621" y="724586"/>
                  </a:cubicBezTo>
                  <a:lnTo>
                    <a:pt x="1512751" y="1078716"/>
                  </a:lnTo>
                  <a:cubicBezTo>
                    <a:pt x="1494539" y="1116292"/>
                    <a:pt x="1484309" y="1158431"/>
                    <a:pt x="1484309" y="1202922"/>
                  </a:cubicBezTo>
                  <a:cubicBezTo>
                    <a:pt x="1484309" y="1360484"/>
                    <a:pt x="1612497" y="1488672"/>
                    <a:pt x="1770059" y="1488672"/>
                  </a:cubicBezTo>
                  <a:cubicBezTo>
                    <a:pt x="1927622" y="1488672"/>
                    <a:pt x="2055809" y="1360484"/>
                    <a:pt x="2055809" y="1202922"/>
                  </a:cubicBezTo>
                  <a:cubicBezTo>
                    <a:pt x="2055809" y="1159507"/>
                    <a:pt x="2046037" y="1118340"/>
                    <a:pt x="2028635" y="1081459"/>
                  </a:cubicBezTo>
                  <a:lnTo>
                    <a:pt x="2572274" y="537820"/>
                  </a:lnTo>
                  <a:cubicBezTo>
                    <a:pt x="2612365" y="559289"/>
                    <a:pt x="2658132" y="571500"/>
                    <a:pt x="2706700" y="571500"/>
                  </a:cubicBezTo>
                  <a:cubicBezTo>
                    <a:pt x="2864263" y="571500"/>
                    <a:pt x="2992450" y="443312"/>
                    <a:pt x="2992450" y="285750"/>
                  </a:cubicBezTo>
                  <a:cubicBezTo>
                    <a:pt x="2992450" y="128187"/>
                    <a:pt x="2864263" y="0"/>
                    <a:pt x="2706700" y="0"/>
                  </a:cubicBezTo>
                  <a:close/>
                  <a:moveTo>
                    <a:pt x="285741" y="1298572"/>
                  </a:moveTo>
                  <a:cubicBezTo>
                    <a:pt x="233220" y="1298572"/>
                    <a:pt x="190491" y="1255843"/>
                    <a:pt x="190491" y="1203322"/>
                  </a:cubicBezTo>
                  <a:cubicBezTo>
                    <a:pt x="190491" y="1150801"/>
                    <a:pt x="233220" y="1108072"/>
                    <a:pt x="285741" y="1108072"/>
                  </a:cubicBezTo>
                  <a:cubicBezTo>
                    <a:pt x="311315" y="1108072"/>
                    <a:pt x="334509" y="1118254"/>
                    <a:pt x="351635" y="1134713"/>
                  </a:cubicBezTo>
                  <a:cubicBezTo>
                    <a:pt x="352015" y="1135113"/>
                    <a:pt x="352349" y="1135542"/>
                    <a:pt x="352739" y="1135932"/>
                  </a:cubicBezTo>
                  <a:cubicBezTo>
                    <a:pt x="353196" y="1136390"/>
                    <a:pt x="353692" y="1136771"/>
                    <a:pt x="354159" y="1137209"/>
                  </a:cubicBezTo>
                  <a:cubicBezTo>
                    <a:pt x="370732" y="1154354"/>
                    <a:pt x="380991" y="1177652"/>
                    <a:pt x="380991" y="1203322"/>
                  </a:cubicBezTo>
                  <a:cubicBezTo>
                    <a:pt x="380991" y="1255833"/>
                    <a:pt x="338261" y="1298572"/>
                    <a:pt x="285741" y="1298572"/>
                  </a:cubicBezTo>
                  <a:close/>
                  <a:moveTo>
                    <a:pt x="1017527" y="571490"/>
                  </a:moveTo>
                  <a:cubicBezTo>
                    <a:pt x="965006" y="571490"/>
                    <a:pt x="922277" y="528761"/>
                    <a:pt x="922277" y="476240"/>
                  </a:cubicBezTo>
                  <a:cubicBezTo>
                    <a:pt x="922277" y="423720"/>
                    <a:pt x="965006" y="380990"/>
                    <a:pt x="1017527" y="380990"/>
                  </a:cubicBezTo>
                  <a:cubicBezTo>
                    <a:pt x="1070048" y="380990"/>
                    <a:pt x="1112777" y="423720"/>
                    <a:pt x="1112777" y="476240"/>
                  </a:cubicBezTo>
                  <a:cubicBezTo>
                    <a:pt x="1112777" y="528761"/>
                    <a:pt x="1070048" y="571490"/>
                    <a:pt x="1017527" y="571490"/>
                  </a:cubicBezTo>
                  <a:close/>
                  <a:moveTo>
                    <a:pt x="1770040" y="1298172"/>
                  </a:moveTo>
                  <a:cubicBezTo>
                    <a:pt x="1717519" y="1298172"/>
                    <a:pt x="1674790" y="1255443"/>
                    <a:pt x="1674790" y="1202922"/>
                  </a:cubicBezTo>
                  <a:cubicBezTo>
                    <a:pt x="1674790" y="1150401"/>
                    <a:pt x="1717519" y="1107672"/>
                    <a:pt x="1770040" y="1107672"/>
                  </a:cubicBezTo>
                  <a:cubicBezTo>
                    <a:pt x="1822561" y="1107672"/>
                    <a:pt x="1865290" y="1150401"/>
                    <a:pt x="1865290" y="1202922"/>
                  </a:cubicBezTo>
                  <a:cubicBezTo>
                    <a:pt x="1865290" y="1255443"/>
                    <a:pt x="1822561" y="1298172"/>
                    <a:pt x="1770040" y="1298172"/>
                  </a:cubicBezTo>
                  <a:close/>
                  <a:moveTo>
                    <a:pt x="2706681" y="380990"/>
                  </a:moveTo>
                  <a:cubicBezTo>
                    <a:pt x="2654161" y="380990"/>
                    <a:pt x="2611431" y="338261"/>
                    <a:pt x="2611431" y="285740"/>
                  </a:cubicBezTo>
                  <a:cubicBezTo>
                    <a:pt x="2611431" y="233219"/>
                    <a:pt x="2654170" y="190490"/>
                    <a:pt x="2706681" y="190490"/>
                  </a:cubicBezTo>
                  <a:cubicBezTo>
                    <a:pt x="2759202" y="190490"/>
                    <a:pt x="2801931" y="233219"/>
                    <a:pt x="2801931" y="285740"/>
                  </a:cubicBezTo>
                  <a:cubicBezTo>
                    <a:pt x="2801931" y="338261"/>
                    <a:pt x="2759202" y="380990"/>
                    <a:pt x="2706681" y="380990"/>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262626"/>
                </a:solidFill>
                <a:effectLst/>
                <a:uLnTx/>
                <a:uFillTx/>
                <a:latin typeface="阿里巴巴普惠体 B"/>
                <a:ea typeface="阿里巴巴普惠体 R"/>
                <a:cs typeface="+mn-cs"/>
              </a:endParaRPr>
            </a:p>
          </p:txBody>
        </p:sp>
        <p:sp>
          <p:nvSpPr>
            <p:cNvPr id="92" name="任意多边形: 形状 91">
              <a:extLst>
                <a:ext uri="{FF2B5EF4-FFF2-40B4-BE49-F238E27FC236}">
                  <a16:creationId xmlns:a16="http://schemas.microsoft.com/office/drawing/2014/main" id="{4D83DE71-C7A9-4705-BCD2-0AA6897DE89C}"/>
                </a:ext>
              </a:extLst>
            </p:cNvPr>
            <p:cNvSpPr/>
            <p:nvPr/>
          </p:nvSpPr>
          <p:spPr>
            <a:xfrm>
              <a:off x="6756187" y="3228975"/>
              <a:ext cx="693219" cy="190499"/>
            </a:xfrm>
            <a:custGeom>
              <a:avLst/>
              <a:gdLst>
                <a:gd name="connsiteX0" fmla="*/ 597970 w 693219"/>
                <a:gd name="connsiteY0" fmla="*/ 0 h 190500"/>
                <a:gd name="connsiteX1" fmla="*/ 95250 w 693219"/>
                <a:gd name="connsiteY1" fmla="*/ 0 h 190500"/>
                <a:gd name="connsiteX2" fmla="*/ 0 w 693219"/>
                <a:gd name="connsiteY2" fmla="*/ 95250 h 190500"/>
                <a:gd name="connsiteX3" fmla="*/ 95250 w 693219"/>
                <a:gd name="connsiteY3" fmla="*/ 190500 h 190500"/>
                <a:gd name="connsiteX4" fmla="*/ 597970 w 693219"/>
                <a:gd name="connsiteY4" fmla="*/ 190500 h 190500"/>
                <a:gd name="connsiteX5" fmla="*/ 693220 w 693219"/>
                <a:gd name="connsiteY5" fmla="*/ 95250 h 190500"/>
                <a:gd name="connsiteX6" fmla="*/ 597970 w 693219"/>
                <a:gd name="connsiteY6" fmla="*/ 0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93219" h="190500">
                  <a:moveTo>
                    <a:pt x="597970" y="0"/>
                  </a:moveTo>
                  <a:lnTo>
                    <a:pt x="95250" y="0"/>
                  </a:lnTo>
                  <a:cubicBezTo>
                    <a:pt x="42653" y="0"/>
                    <a:pt x="0" y="42653"/>
                    <a:pt x="0" y="95250"/>
                  </a:cubicBezTo>
                  <a:cubicBezTo>
                    <a:pt x="0" y="147847"/>
                    <a:pt x="42643" y="190500"/>
                    <a:pt x="95250" y="190500"/>
                  </a:cubicBezTo>
                  <a:lnTo>
                    <a:pt x="597970" y="190500"/>
                  </a:lnTo>
                  <a:cubicBezTo>
                    <a:pt x="650567" y="190500"/>
                    <a:pt x="693220" y="147847"/>
                    <a:pt x="693220" y="95250"/>
                  </a:cubicBezTo>
                  <a:cubicBezTo>
                    <a:pt x="693220" y="42653"/>
                    <a:pt x="650567" y="0"/>
                    <a:pt x="597970" y="0"/>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262626"/>
                </a:solidFill>
                <a:effectLst/>
                <a:uLnTx/>
                <a:uFillTx/>
                <a:latin typeface="阿里巴巴普惠体 B"/>
                <a:ea typeface="阿里巴巴普惠体 R"/>
                <a:cs typeface="+mn-cs"/>
              </a:endParaRPr>
            </a:p>
          </p:txBody>
        </p:sp>
        <p:sp>
          <p:nvSpPr>
            <p:cNvPr id="93" name="任意多边形: 形状 92">
              <a:extLst>
                <a:ext uri="{FF2B5EF4-FFF2-40B4-BE49-F238E27FC236}">
                  <a16:creationId xmlns:a16="http://schemas.microsoft.com/office/drawing/2014/main" id="{13810E78-25A5-4A06-BD2C-D8F30096B50B}"/>
                </a:ext>
              </a:extLst>
            </p:cNvPr>
            <p:cNvSpPr/>
            <p:nvPr/>
          </p:nvSpPr>
          <p:spPr>
            <a:xfrm>
              <a:off x="7692577" y="3228975"/>
              <a:ext cx="190499" cy="190499"/>
            </a:xfrm>
            <a:custGeom>
              <a:avLst/>
              <a:gdLst>
                <a:gd name="connsiteX0" fmla="*/ 162582 w 190500"/>
                <a:gd name="connsiteY0" fmla="*/ 27908 h 190500"/>
                <a:gd name="connsiteX1" fmla="*/ 95250 w 190500"/>
                <a:gd name="connsiteY1" fmla="*/ 0 h 190500"/>
                <a:gd name="connsiteX2" fmla="*/ 27908 w 190500"/>
                <a:gd name="connsiteY2" fmla="*/ 27908 h 190500"/>
                <a:gd name="connsiteX3" fmla="*/ 0 w 190500"/>
                <a:gd name="connsiteY3" fmla="*/ 95250 h 190500"/>
                <a:gd name="connsiteX4" fmla="*/ 27908 w 190500"/>
                <a:gd name="connsiteY4" fmla="*/ 162582 h 190500"/>
                <a:gd name="connsiteX5" fmla="*/ 95250 w 190500"/>
                <a:gd name="connsiteY5" fmla="*/ 190500 h 190500"/>
                <a:gd name="connsiteX6" fmla="*/ 162582 w 190500"/>
                <a:gd name="connsiteY6" fmla="*/ 162582 h 190500"/>
                <a:gd name="connsiteX7" fmla="*/ 190500 w 190500"/>
                <a:gd name="connsiteY7" fmla="*/ 95250 h 190500"/>
                <a:gd name="connsiteX8" fmla="*/ 162582 w 190500"/>
                <a:gd name="connsiteY8" fmla="*/ 27908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0500" h="190500">
                  <a:moveTo>
                    <a:pt x="162582" y="27908"/>
                  </a:moveTo>
                  <a:cubicBezTo>
                    <a:pt x="144875" y="10192"/>
                    <a:pt x="120301" y="0"/>
                    <a:pt x="95250" y="0"/>
                  </a:cubicBezTo>
                  <a:cubicBezTo>
                    <a:pt x="70199" y="0"/>
                    <a:pt x="45625" y="10182"/>
                    <a:pt x="27908" y="27908"/>
                  </a:cubicBezTo>
                  <a:cubicBezTo>
                    <a:pt x="10192" y="45625"/>
                    <a:pt x="0" y="70199"/>
                    <a:pt x="0" y="95250"/>
                  </a:cubicBezTo>
                  <a:cubicBezTo>
                    <a:pt x="0" y="120301"/>
                    <a:pt x="10182" y="144875"/>
                    <a:pt x="27908" y="162582"/>
                  </a:cubicBezTo>
                  <a:cubicBezTo>
                    <a:pt x="45625" y="180299"/>
                    <a:pt x="70104" y="190500"/>
                    <a:pt x="95250" y="190500"/>
                  </a:cubicBezTo>
                  <a:cubicBezTo>
                    <a:pt x="120301" y="190500"/>
                    <a:pt x="144875" y="180308"/>
                    <a:pt x="162582" y="162582"/>
                  </a:cubicBezTo>
                  <a:cubicBezTo>
                    <a:pt x="180299" y="144875"/>
                    <a:pt x="190500" y="120301"/>
                    <a:pt x="190500" y="95250"/>
                  </a:cubicBezTo>
                  <a:cubicBezTo>
                    <a:pt x="190500" y="70199"/>
                    <a:pt x="180308" y="45625"/>
                    <a:pt x="162582" y="2790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262626"/>
                </a:solidFill>
                <a:effectLst/>
                <a:uLnTx/>
                <a:uFillTx/>
                <a:latin typeface="阿里巴巴普惠体 B"/>
                <a:ea typeface="阿里巴巴普惠体 R"/>
                <a:cs typeface="+mn-cs"/>
              </a:endParaRPr>
            </a:p>
          </p:txBody>
        </p:sp>
        <p:sp>
          <p:nvSpPr>
            <p:cNvPr id="94" name="任意多边形: 形状 93">
              <a:extLst>
                <a:ext uri="{FF2B5EF4-FFF2-40B4-BE49-F238E27FC236}">
                  <a16:creationId xmlns:a16="http://schemas.microsoft.com/office/drawing/2014/main" id="{C96A59EA-44BD-42CD-838F-D0A9C047DA5C}"/>
                </a:ext>
              </a:extLst>
            </p:cNvPr>
            <p:cNvSpPr/>
            <p:nvPr/>
          </p:nvSpPr>
          <p:spPr>
            <a:xfrm>
              <a:off x="6756187" y="2314573"/>
              <a:ext cx="1354013" cy="190499"/>
            </a:xfrm>
            <a:custGeom>
              <a:avLst/>
              <a:gdLst>
                <a:gd name="connsiteX0" fmla="*/ 1258767 w 1354016"/>
                <a:gd name="connsiteY0" fmla="*/ 0 h 190500"/>
                <a:gd name="connsiteX1" fmla="*/ 95250 w 1354016"/>
                <a:gd name="connsiteY1" fmla="*/ 0 h 190500"/>
                <a:gd name="connsiteX2" fmla="*/ 0 w 1354016"/>
                <a:gd name="connsiteY2" fmla="*/ 95250 h 190500"/>
                <a:gd name="connsiteX3" fmla="*/ 95250 w 1354016"/>
                <a:gd name="connsiteY3" fmla="*/ 190500 h 190500"/>
                <a:gd name="connsiteX4" fmla="*/ 1258767 w 1354016"/>
                <a:gd name="connsiteY4" fmla="*/ 190500 h 190500"/>
                <a:gd name="connsiteX5" fmla="*/ 1354017 w 1354016"/>
                <a:gd name="connsiteY5" fmla="*/ 95250 h 190500"/>
                <a:gd name="connsiteX6" fmla="*/ 1258767 w 1354016"/>
                <a:gd name="connsiteY6" fmla="*/ 0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54016" h="190500">
                  <a:moveTo>
                    <a:pt x="1258767" y="0"/>
                  </a:moveTo>
                  <a:lnTo>
                    <a:pt x="95250" y="0"/>
                  </a:lnTo>
                  <a:cubicBezTo>
                    <a:pt x="42653" y="0"/>
                    <a:pt x="0" y="42653"/>
                    <a:pt x="0" y="95250"/>
                  </a:cubicBezTo>
                  <a:cubicBezTo>
                    <a:pt x="0" y="147847"/>
                    <a:pt x="42643" y="190500"/>
                    <a:pt x="95250" y="190500"/>
                  </a:cubicBezTo>
                  <a:lnTo>
                    <a:pt x="1258767" y="190500"/>
                  </a:lnTo>
                  <a:cubicBezTo>
                    <a:pt x="1311364" y="190500"/>
                    <a:pt x="1354017" y="147847"/>
                    <a:pt x="1354017" y="95250"/>
                  </a:cubicBezTo>
                  <a:cubicBezTo>
                    <a:pt x="1354017" y="42653"/>
                    <a:pt x="1311364" y="0"/>
                    <a:pt x="1258767" y="0"/>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262626"/>
                </a:solidFill>
                <a:effectLst/>
                <a:uLnTx/>
                <a:uFillTx/>
                <a:latin typeface="阿里巴巴普惠体 B"/>
                <a:ea typeface="阿里巴巴普惠体 R"/>
                <a:cs typeface="+mn-cs"/>
              </a:endParaRPr>
            </a:p>
          </p:txBody>
        </p:sp>
        <p:sp>
          <p:nvSpPr>
            <p:cNvPr id="95" name="任意多边形: 形状 94">
              <a:extLst>
                <a:ext uri="{FF2B5EF4-FFF2-40B4-BE49-F238E27FC236}">
                  <a16:creationId xmlns:a16="http://schemas.microsoft.com/office/drawing/2014/main" id="{1C14B237-2D4F-47EE-A13C-90C2064DBF45}"/>
                </a:ext>
              </a:extLst>
            </p:cNvPr>
            <p:cNvSpPr/>
            <p:nvPr/>
          </p:nvSpPr>
          <p:spPr>
            <a:xfrm>
              <a:off x="6756187" y="2771774"/>
              <a:ext cx="1354013" cy="190499"/>
            </a:xfrm>
            <a:custGeom>
              <a:avLst/>
              <a:gdLst>
                <a:gd name="connsiteX0" fmla="*/ 1258767 w 1354016"/>
                <a:gd name="connsiteY0" fmla="*/ 0 h 190500"/>
                <a:gd name="connsiteX1" fmla="*/ 95250 w 1354016"/>
                <a:gd name="connsiteY1" fmla="*/ 0 h 190500"/>
                <a:gd name="connsiteX2" fmla="*/ 0 w 1354016"/>
                <a:gd name="connsiteY2" fmla="*/ 95250 h 190500"/>
                <a:gd name="connsiteX3" fmla="*/ 95250 w 1354016"/>
                <a:gd name="connsiteY3" fmla="*/ 190500 h 190500"/>
                <a:gd name="connsiteX4" fmla="*/ 1258767 w 1354016"/>
                <a:gd name="connsiteY4" fmla="*/ 190500 h 190500"/>
                <a:gd name="connsiteX5" fmla="*/ 1354017 w 1354016"/>
                <a:gd name="connsiteY5" fmla="*/ 95250 h 190500"/>
                <a:gd name="connsiteX6" fmla="*/ 1258767 w 1354016"/>
                <a:gd name="connsiteY6" fmla="*/ 0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54016" h="190500">
                  <a:moveTo>
                    <a:pt x="1258767" y="0"/>
                  </a:moveTo>
                  <a:lnTo>
                    <a:pt x="95250" y="0"/>
                  </a:lnTo>
                  <a:cubicBezTo>
                    <a:pt x="42653" y="0"/>
                    <a:pt x="0" y="42653"/>
                    <a:pt x="0" y="95250"/>
                  </a:cubicBezTo>
                  <a:cubicBezTo>
                    <a:pt x="0" y="147847"/>
                    <a:pt x="42643" y="190500"/>
                    <a:pt x="95250" y="190500"/>
                  </a:cubicBezTo>
                  <a:lnTo>
                    <a:pt x="1258767" y="190500"/>
                  </a:lnTo>
                  <a:cubicBezTo>
                    <a:pt x="1311364" y="190500"/>
                    <a:pt x="1354017" y="147847"/>
                    <a:pt x="1354017" y="95250"/>
                  </a:cubicBezTo>
                  <a:cubicBezTo>
                    <a:pt x="1354017" y="42653"/>
                    <a:pt x="1311364" y="0"/>
                    <a:pt x="1258767" y="0"/>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262626"/>
                </a:solidFill>
                <a:effectLst/>
                <a:uLnTx/>
                <a:uFillTx/>
                <a:latin typeface="阿里巴巴普惠体 B"/>
                <a:ea typeface="阿里巴巴普惠体 R"/>
                <a:cs typeface="+mn-cs"/>
              </a:endParaRPr>
            </a:p>
          </p:txBody>
        </p:sp>
      </p:grpSp>
      <p:grpSp>
        <p:nvGrpSpPr>
          <p:cNvPr id="96" name="图形 31">
            <a:extLst>
              <a:ext uri="{FF2B5EF4-FFF2-40B4-BE49-F238E27FC236}">
                <a16:creationId xmlns:a16="http://schemas.microsoft.com/office/drawing/2014/main" id="{4333563D-3A79-4995-A184-BF7F1294B951}"/>
              </a:ext>
            </a:extLst>
          </p:cNvPr>
          <p:cNvGrpSpPr/>
          <p:nvPr/>
        </p:nvGrpSpPr>
        <p:grpSpPr>
          <a:xfrm>
            <a:off x="3608206" y="4042421"/>
            <a:ext cx="336957" cy="336956"/>
            <a:chOff x="2843212" y="176223"/>
            <a:chExt cx="6505587" cy="6505563"/>
          </a:xfrm>
          <a:solidFill>
            <a:schemeClr val="bg1"/>
          </a:solidFill>
        </p:grpSpPr>
        <p:sp>
          <p:nvSpPr>
            <p:cNvPr id="160" name="任意多边形: 形状 159">
              <a:extLst>
                <a:ext uri="{FF2B5EF4-FFF2-40B4-BE49-F238E27FC236}">
                  <a16:creationId xmlns:a16="http://schemas.microsoft.com/office/drawing/2014/main" id="{BB4A9D31-C518-4081-BDFD-3B840738615C}"/>
                </a:ext>
              </a:extLst>
            </p:cNvPr>
            <p:cNvSpPr/>
            <p:nvPr/>
          </p:nvSpPr>
          <p:spPr>
            <a:xfrm>
              <a:off x="2843212" y="176223"/>
              <a:ext cx="6505587" cy="6063721"/>
            </a:xfrm>
            <a:custGeom>
              <a:avLst/>
              <a:gdLst>
                <a:gd name="connsiteX0" fmla="*/ 6422042 w 6505587"/>
                <a:gd name="connsiteY0" fmla="*/ 4372857 h 6063724"/>
                <a:gd name="connsiteX1" fmla="*/ 5444359 w 6505587"/>
                <a:gd name="connsiteY1" fmla="*/ 3395025 h 6063724"/>
                <a:gd name="connsiteX2" fmla="*/ 5865848 w 6505587"/>
                <a:gd name="connsiteY2" fmla="*/ 2319515 h 6063724"/>
                <a:gd name="connsiteX3" fmla="*/ 5529133 w 6505587"/>
                <a:gd name="connsiteY3" fmla="*/ 953747 h 6063724"/>
                <a:gd name="connsiteX4" fmla="*/ 5397158 w 6505587"/>
                <a:gd name="connsiteY4" fmla="*/ 926498 h 6063724"/>
                <a:gd name="connsiteX5" fmla="*/ 5369909 w 6505587"/>
                <a:gd name="connsiteY5" fmla="*/ 1058523 h 6063724"/>
                <a:gd name="connsiteX6" fmla="*/ 5121245 w 6505587"/>
                <a:gd name="connsiteY6" fmla="*/ 3476275 h 6063724"/>
                <a:gd name="connsiteX7" fmla="*/ 2398842 w 6505587"/>
                <a:gd name="connsiteY7" fmla="*/ 3476275 h 6063724"/>
                <a:gd name="connsiteX8" fmla="*/ 2398842 w 6505587"/>
                <a:gd name="connsiteY8" fmla="*/ 753525 h 6063724"/>
                <a:gd name="connsiteX9" fmla="*/ 5120996 w 6505587"/>
                <a:gd name="connsiteY9" fmla="*/ 753277 h 6063724"/>
                <a:gd name="connsiteX10" fmla="*/ 5126208 w 6505587"/>
                <a:gd name="connsiteY10" fmla="*/ 758538 h 6063724"/>
                <a:gd name="connsiteX11" fmla="*/ 5260963 w 6505587"/>
                <a:gd name="connsiteY11" fmla="*/ 758985 h 6063724"/>
                <a:gd name="connsiteX12" fmla="*/ 5261459 w 6505587"/>
                <a:gd name="connsiteY12" fmla="*/ 624229 h 6063724"/>
                <a:gd name="connsiteX13" fmla="*/ 5256000 w 6505587"/>
                <a:gd name="connsiteY13" fmla="*/ 618720 h 6063724"/>
                <a:gd name="connsiteX14" fmla="*/ 2264037 w 6505587"/>
                <a:gd name="connsiteY14" fmla="*/ 618720 h 6063724"/>
                <a:gd name="connsiteX15" fmla="*/ 2188792 w 6505587"/>
                <a:gd name="connsiteY15" fmla="*/ 697935 h 6063724"/>
                <a:gd name="connsiteX16" fmla="*/ 95297 w 6505587"/>
                <a:gd name="connsiteY16" fmla="*/ 697935 h 6063724"/>
                <a:gd name="connsiteX17" fmla="*/ 0 w 6505587"/>
                <a:gd name="connsiteY17" fmla="*/ 793232 h 6063724"/>
                <a:gd name="connsiteX18" fmla="*/ 0 w 6505587"/>
                <a:gd name="connsiteY18" fmla="*/ 1214720 h 6063724"/>
                <a:gd name="connsiteX19" fmla="*/ 95297 w 6505587"/>
                <a:gd name="connsiteY19" fmla="*/ 1310066 h 6063724"/>
                <a:gd name="connsiteX20" fmla="*/ 190593 w 6505587"/>
                <a:gd name="connsiteY20" fmla="*/ 1214720 h 6063724"/>
                <a:gd name="connsiteX21" fmla="*/ 190593 w 6505587"/>
                <a:gd name="connsiteY21" fmla="*/ 888578 h 6063724"/>
                <a:gd name="connsiteX22" fmla="*/ 2035921 w 6505587"/>
                <a:gd name="connsiteY22" fmla="*/ 888578 h 6063724"/>
                <a:gd name="connsiteX23" fmla="*/ 1848008 w 6505587"/>
                <a:gd name="connsiteY23" fmla="*/ 1209211 h 6063724"/>
                <a:gd name="connsiteX24" fmla="*/ 660722 w 6505587"/>
                <a:gd name="connsiteY24" fmla="*/ 1209211 h 6063724"/>
                <a:gd name="connsiteX25" fmla="*/ 565426 w 6505587"/>
                <a:gd name="connsiteY25" fmla="*/ 1304508 h 6063724"/>
                <a:gd name="connsiteX26" fmla="*/ 660722 w 6505587"/>
                <a:gd name="connsiteY26" fmla="*/ 1399804 h 6063724"/>
                <a:gd name="connsiteX27" fmla="*/ 1769140 w 6505587"/>
                <a:gd name="connsiteY27" fmla="*/ 1399804 h 6063724"/>
                <a:gd name="connsiteX28" fmla="*/ 1700745 w 6505587"/>
                <a:gd name="connsiteY28" fmla="*/ 1632784 h 6063724"/>
                <a:gd name="connsiteX29" fmla="*/ 660722 w 6505587"/>
                <a:gd name="connsiteY29" fmla="*/ 1632784 h 6063724"/>
                <a:gd name="connsiteX30" fmla="*/ 565426 w 6505587"/>
                <a:gd name="connsiteY30" fmla="*/ 1728081 h 6063724"/>
                <a:gd name="connsiteX31" fmla="*/ 660722 w 6505587"/>
                <a:gd name="connsiteY31" fmla="*/ 1823377 h 6063724"/>
                <a:gd name="connsiteX32" fmla="*/ 1665505 w 6505587"/>
                <a:gd name="connsiteY32" fmla="*/ 1823377 h 6063724"/>
                <a:gd name="connsiteX33" fmla="*/ 1646297 w 6505587"/>
                <a:gd name="connsiteY33" fmla="*/ 2056308 h 6063724"/>
                <a:gd name="connsiteX34" fmla="*/ 660722 w 6505587"/>
                <a:gd name="connsiteY34" fmla="*/ 2056308 h 6063724"/>
                <a:gd name="connsiteX35" fmla="*/ 565426 w 6505587"/>
                <a:gd name="connsiteY35" fmla="*/ 2151654 h 6063724"/>
                <a:gd name="connsiteX36" fmla="*/ 660722 w 6505587"/>
                <a:gd name="connsiteY36" fmla="*/ 2246950 h 6063724"/>
                <a:gd name="connsiteX37" fmla="*/ 1649622 w 6505587"/>
                <a:gd name="connsiteY37" fmla="*/ 2246950 h 6063724"/>
                <a:gd name="connsiteX38" fmla="*/ 1862948 w 6505587"/>
                <a:gd name="connsiteY38" fmla="*/ 3051858 h 6063724"/>
                <a:gd name="connsiteX39" fmla="*/ 1702681 w 6505587"/>
                <a:gd name="connsiteY39" fmla="*/ 3051858 h 6063724"/>
                <a:gd name="connsiteX40" fmla="*/ 1607384 w 6505587"/>
                <a:gd name="connsiteY40" fmla="*/ 3147205 h 6063724"/>
                <a:gd name="connsiteX41" fmla="*/ 1607384 w 6505587"/>
                <a:gd name="connsiteY41" fmla="*/ 5968378 h 6063724"/>
                <a:gd name="connsiteX42" fmla="*/ 1702681 w 6505587"/>
                <a:gd name="connsiteY42" fmla="*/ 6063725 h 6063724"/>
                <a:gd name="connsiteX43" fmla="*/ 2465053 w 6505587"/>
                <a:gd name="connsiteY43" fmla="*/ 6063725 h 6063724"/>
                <a:gd name="connsiteX44" fmla="*/ 2560349 w 6505587"/>
                <a:gd name="connsiteY44" fmla="*/ 5968378 h 6063724"/>
                <a:gd name="connsiteX45" fmla="*/ 2560349 w 6505587"/>
                <a:gd name="connsiteY45" fmla="*/ 3857908 h 6063724"/>
                <a:gd name="connsiteX46" fmla="*/ 2827180 w 6505587"/>
                <a:gd name="connsiteY46" fmla="*/ 4014155 h 6063724"/>
                <a:gd name="connsiteX47" fmla="*/ 2827180 w 6505587"/>
                <a:gd name="connsiteY47" fmla="*/ 5968378 h 6063724"/>
                <a:gd name="connsiteX48" fmla="*/ 2922476 w 6505587"/>
                <a:gd name="connsiteY48" fmla="*/ 6063725 h 6063724"/>
                <a:gd name="connsiteX49" fmla="*/ 3684848 w 6505587"/>
                <a:gd name="connsiteY49" fmla="*/ 6063725 h 6063724"/>
                <a:gd name="connsiteX50" fmla="*/ 3780145 w 6505587"/>
                <a:gd name="connsiteY50" fmla="*/ 5968378 h 6063724"/>
                <a:gd name="connsiteX51" fmla="*/ 3780145 w 6505587"/>
                <a:gd name="connsiteY51" fmla="*/ 4229614 h 6063724"/>
                <a:gd name="connsiteX52" fmla="*/ 4002553 w 6505587"/>
                <a:gd name="connsiteY52" fmla="*/ 4215915 h 6063724"/>
                <a:gd name="connsiteX53" fmla="*/ 4002553 w 6505587"/>
                <a:gd name="connsiteY53" fmla="*/ 5687998 h 6063724"/>
                <a:gd name="connsiteX54" fmla="*/ 4097849 w 6505587"/>
                <a:gd name="connsiteY54" fmla="*/ 5783344 h 6063724"/>
                <a:gd name="connsiteX55" fmla="*/ 4193146 w 6505587"/>
                <a:gd name="connsiteY55" fmla="*/ 5687998 h 6063724"/>
                <a:gd name="connsiteX56" fmla="*/ 4193146 w 6505587"/>
                <a:gd name="connsiteY56" fmla="*/ 4185242 h 6063724"/>
                <a:gd name="connsiteX57" fmla="*/ 5040094 w 6505587"/>
                <a:gd name="connsiteY57" fmla="*/ 3799539 h 6063724"/>
                <a:gd name="connsiteX58" fmla="*/ 6017578 w 6505587"/>
                <a:gd name="connsiteY58" fmla="*/ 4777172 h 6063724"/>
                <a:gd name="connsiteX59" fmla="*/ 6219785 w 6505587"/>
                <a:gd name="connsiteY59" fmla="*/ 4860954 h 6063724"/>
                <a:gd name="connsiteX60" fmla="*/ 6421992 w 6505587"/>
                <a:gd name="connsiteY60" fmla="*/ 4777172 h 6063724"/>
                <a:gd name="connsiteX61" fmla="*/ 6422042 w 6505587"/>
                <a:gd name="connsiteY61" fmla="*/ 4372857 h 6063724"/>
                <a:gd name="connsiteX62" fmla="*/ 2369756 w 6505587"/>
                <a:gd name="connsiteY62" fmla="*/ 5873082 h 6063724"/>
                <a:gd name="connsiteX63" fmla="*/ 1797977 w 6505587"/>
                <a:gd name="connsiteY63" fmla="*/ 5873082 h 6063724"/>
                <a:gd name="connsiteX64" fmla="*/ 1797977 w 6505587"/>
                <a:gd name="connsiteY64" fmla="*/ 3242501 h 6063724"/>
                <a:gd name="connsiteX65" fmla="*/ 1969660 w 6505587"/>
                <a:gd name="connsiteY65" fmla="*/ 3242501 h 6063724"/>
                <a:gd name="connsiteX66" fmla="*/ 2264037 w 6505587"/>
                <a:gd name="connsiteY66" fmla="*/ 3611080 h 6063724"/>
                <a:gd name="connsiteX67" fmla="*/ 2369756 w 6505587"/>
                <a:gd name="connsiteY67" fmla="*/ 3709702 h 6063724"/>
                <a:gd name="connsiteX68" fmla="*/ 3017822 w 6505587"/>
                <a:gd name="connsiteY68" fmla="*/ 5873082 h 6063724"/>
                <a:gd name="connsiteX69" fmla="*/ 3017822 w 6505587"/>
                <a:gd name="connsiteY69" fmla="*/ 4096149 h 6063724"/>
                <a:gd name="connsiteX70" fmla="*/ 3589601 w 6505587"/>
                <a:gd name="connsiteY70" fmla="*/ 4222864 h 6063724"/>
                <a:gd name="connsiteX71" fmla="*/ 3589601 w 6505587"/>
                <a:gd name="connsiteY71" fmla="*/ 5873082 h 6063724"/>
                <a:gd name="connsiteX72" fmla="*/ 6287287 w 6505587"/>
                <a:gd name="connsiteY72" fmla="*/ 4642367 h 6063724"/>
                <a:gd name="connsiteX73" fmla="*/ 6219835 w 6505587"/>
                <a:gd name="connsiteY73" fmla="*/ 4670311 h 6063724"/>
                <a:gd name="connsiteX74" fmla="*/ 6152432 w 6505587"/>
                <a:gd name="connsiteY74" fmla="*/ 4642367 h 6063724"/>
                <a:gd name="connsiteX75" fmla="*/ 5187009 w 6505587"/>
                <a:gd name="connsiteY75" fmla="*/ 3676894 h 6063724"/>
                <a:gd name="connsiteX76" fmla="*/ 5256000 w 6505587"/>
                <a:gd name="connsiteY76" fmla="*/ 3611080 h 6063724"/>
                <a:gd name="connsiteX77" fmla="*/ 5321864 w 6505587"/>
                <a:gd name="connsiteY77" fmla="*/ 3542089 h 6063724"/>
                <a:gd name="connsiteX78" fmla="*/ 6287187 w 6505587"/>
                <a:gd name="connsiteY78" fmla="*/ 4507612 h 6063724"/>
                <a:gd name="connsiteX79" fmla="*/ 6287287 w 6505587"/>
                <a:gd name="connsiteY79" fmla="*/ 4642367 h 60637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6505587" h="6063724">
                  <a:moveTo>
                    <a:pt x="6422042" y="4372857"/>
                  </a:moveTo>
                  <a:lnTo>
                    <a:pt x="5444359" y="3395025"/>
                  </a:lnTo>
                  <a:cubicBezTo>
                    <a:pt x="5680566" y="3083773"/>
                    <a:pt x="5828027" y="2710677"/>
                    <a:pt x="5865848" y="2319515"/>
                  </a:cubicBezTo>
                  <a:cubicBezTo>
                    <a:pt x="5912156" y="1839458"/>
                    <a:pt x="5792589" y="1354439"/>
                    <a:pt x="5529133" y="953747"/>
                  </a:cubicBezTo>
                  <a:cubicBezTo>
                    <a:pt x="5500197" y="909771"/>
                    <a:pt x="5441083" y="897562"/>
                    <a:pt x="5397158" y="926498"/>
                  </a:cubicBezTo>
                  <a:cubicBezTo>
                    <a:pt x="5353182" y="955434"/>
                    <a:pt x="5340972" y="1014548"/>
                    <a:pt x="5369909" y="1058523"/>
                  </a:cubicBezTo>
                  <a:cubicBezTo>
                    <a:pt x="5868478" y="1816726"/>
                    <a:pt x="5763900" y="2833570"/>
                    <a:pt x="5121245" y="3476275"/>
                  </a:cubicBezTo>
                  <a:cubicBezTo>
                    <a:pt x="4370636" y="4226934"/>
                    <a:pt x="3149401" y="4226934"/>
                    <a:pt x="2398842" y="3476275"/>
                  </a:cubicBezTo>
                  <a:cubicBezTo>
                    <a:pt x="1648233" y="2725617"/>
                    <a:pt x="1648233" y="1504183"/>
                    <a:pt x="2398842" y="753525"/>
                  </a:cubicBezTo>
                  <a:cubicBezTo>
                    <a:pt x="3149401" y="2866"/>
                    <a:pt x="4370685" y="2866"/>
                    <a:pt x="5120996" y="753277"/>
                  </a:cubicBezTo>
                  <a:lnTo>
                    <a:pt x="5126208" y="758538"/>
                  </a:lnTo>
                  <a:cubicBezTo>
                    <a:pt x="5163334" y="795862"/>
                    <a:pt x="5223639" y="796111"/>
                    <a:pt x="5260963" y="758985"/>
                  </a:cubicBezTo>
                  <a:cubicBezTo>
                    <a:pt x="5298337" y="721908"/>
                    <a:pt x="5298536" y="661554"/>
                    <a:pt x="5261459" y="624229"/>
                  </a:cubicBezTo>
                  <a:lnTo>
                    <a:pt x="5256000" y="618720"/>
                  </a:lnTo>
                  <a:cubicBezTo>
                    <a:pt x="4431089" y="-206240"/>
                    <a:pt x="3088947" y="-206240"/>
                    <a:pt x="2264037" y="618720"/>
                  </a:cubicBezTo>
                  <a:cubicBezTo>
                    <a:pt x="2238128" y="644629"/>
                    <a:pt x="2213063" y="671034"/>
                    <a:pt x="2188792" y="697935"/>
                  </a:cubicBezTo>
                  <a:lnTo>
                    <a:pt x="95297" y="697935"/>
                  </a:lnTo>
                  <a:cubicBezTo>
                    <a:pt x="42685" y="697935"/>
                    <a:pt x="0" y="740620"/>
                    <a:pt x="0" y="793232"/>
                  </a:cubicBezTo>
                  <a:lnTo>
                    <a:pt x="0" y="1214720"/>
                  </a:lnTo>
                  <a:cubicBezTo>
                    <a:pt x="0" y="1267382"/>
                    <a:pt x="42685" y="1310066"/>
                    <a:pt x="95297" y="1310066"/>
                  </a:cubicBezTo>
                  <a:cubicBezTo>
                    <a:pt x="147958" y="1310066"/>
                    <a:pt x="190593" y="1267382"/>
                    <a:pt x="190593" y="1214720"/>
                  </a:cubicBezTo>
                  <a:lnTo>
                    <a:pt x="190593" y="888578"/>
                  </a:lnTo>
                  <a:lnTo>
                    <a:pt x="2035921" y="888578"/>
                  </a:lnTo>
                  <a:cubicBezTo>
                    <a:pt x="1963108" y="990873"/>
                    <a:pt x="1900471" y="1098181"/>
                    <a:pt x="1848008" y="1209211"/>
                  </a:cubicBezTo>
                  <a:lnTo>
                    <a:pt x="660722" y="1209211"/>
                  </a:lnTo>
                  <a:cubicBezTo>
                    <a:pt x="608111" y="1209211"/>
                    <a:pt x="565426" y="1251846"/>
                    <a:pt x="565426" y="1304508"/>
                  </a:cubicBezTo>
                  <a:cubicBezTo>
                    <a:pt x="565426" y="1357169"/>
                    <a:pt x="608111" y="1399804"/>
                    <a:pt x="660722" y="1399804"/>
                  </a:cubicBezTo>
                  <a:lnTo>
                    <a:pt x="1769140" y="1399804"/>
                  </a:lnTo>
                  <a:cubicBezTo>
                    <a:pt x="1741792" y="1476339"/>
                    <a:pt x="1719010" y="1554115"/>
                    <a:pt x="1700745" y="1632784"/>
                  </a:cubicBezTo>
                  <a:lnTo>
                    <a:pt x="660722" y="1632784"/>
                  </a:lnTo>
                  <a:cubicBezTo>
                    <a:pt x="608111" y="1632784"/>
                    <a:pt x="565426" y="1675419"/>
                    <a:pt x="565426" y="1728081"/>
                  </a:cubicBezTo>
                  <a:cubicBezTo>
                    <a:pt x="565426" y="1780692"/>
                    <a:pt x="608111" y="1823377"/>
                    <a:pt x="660722" y="1823377"/>
                  </a:cubicBezTo>
                  <a:lnTo>
                    <a:pt x="1665505" y="1823377"/>
                  </a:lnTo>
                  <a:cubicBezTo>
                    <a:pt x="1654834" y="1900657"/>
                    <a:pt x="1648431" y="1978433"/>
                    <a:pt x="1646297" y="2056308"/>
                  </a:cubicBezTo>
                  <a:lnTo>
                    <a:pt x="660722" y="2056308"/>
                  </a:lnTo>
                  <a:cubicBezTo>
                    <a:pt x="608111" y="2056308"/>
                    <a:pt x="565426" y="2098993"/>
                    <a:pt x="565426" y="2151654"/>
                  </a:cubicBezTo>
                  <a:cubicBezTo>
                    <a:pt x="565426" y="2204265"/>
                    <a:pt x="608111" y="2246950"/>
                    <a:pt x="660722" y="2246950"/>
                  </a:cubicBezTo>
                  <a:lnTo>
                    <a:pt x="1649622" y="2246950"/>
                  </a:lnTo>
                  <a:cubicBezTo>
                    <a:pt x="1666796" y="2523807"/>
                    <a:pt x="1737821" y="2797883"/>
                    <a:pt x="1862948" y="3051858"/>
                  </a:cubicBezTo>
                  <a:lnTo>
                    <a:pt x="1702681" y="3051858"/>
                  </a:lnTo>
                  <a:cubicBezTo>
                    <a:pt x="1650019" y="3051858"/>
                    <a:pt x="1607384" y="3094543"/>
                    <a:pt x="1607384" y="3147205"/>
                  </a:cubicBezTo>
                  <a:lnTo>
                    <a:pt x="1607384" y="5968378"/>
                  </a:lnTo>
                  <a:cubicBezTo>
                    <a:pt x="1607384" y="6021040"/>
                    <a:pt x="1650019" y="6063725"/>
                    <a:pt x="1702681" y="6063725"/>
                  </a:cubicBezTo>
                  <a:lnTo>
                    <a:pt x="2465053" y="6063725"/>
                  </a:lnTo>
                  <a:cubicBezTo>
                    <a:pt x="2517714" y="6063725"/>
                    <a:pt x="2560349" y="6021040"/>
                    <a:pt x="2560349" y="5968378"/>
                  </a:cubicBezTo>
                  <a:lnTo>
                    <a:pt x="2560349" y="3857908"/>
                  </a:lnTo>
                  <a:cubicBezTo>
                    <a:pt x="2646166" y="3917022"/>
                    <a:pt x="2735357" y="3969137"/>
                    <a:pt x="2827180" y="4014155"/>
                  </a:cubicBezTo>
                  <a:lnTo>
                    <a:pt x="2827180" y="5968378"/>
                  </a:lnTo>
                  <a:cubicBezTo>
                    <a:pt x="2827180" y="6021040"/>
                    <a:pt x="2869864" y="6063725"/>
                    <a:pt x="2922476" y="6063725"/>
                  </a:cubicBezTo>
                  <a:lnTo>
                    <a:pt x="3684848" y="6063725"/>
                  </a:lnTo>
                  <a:cubicBezTo>
                    <a:pt x="3737509" y="6063725"/>
                    <a:pt x="3780145" y="6021040"/>
                    <a:pt x="3780145" y="5968378"/>
                  </a:cubicBezTo>
                  <a:lnTo>
                    <a:pt x="3780145" y="4229614"/>
                  </a:lnTo>
                  <a:cubicBezTo>
                    <a:pt x="3854446" y="4228870"/>
                    <a:pt x="3928648" y="4224353"/>
                    <a:pt x="4002553" y="4215915"/>
                  </a:cubicBezTo>
                  <a:lnTo>
                    <a:pt x="4002553" y="5687998"/>
                  </a:lnTo>
                  <a:cubicBezTo>
                    <a:pt x="4002553" y="5740659"/>
                    <a:pt x="4045188" y="5783344"/>
                    <a:pt x="4097849" y="5783344"/>
                  </a:cubicBezTo>
                  <a:cubicBezTo>
                    <a:pt x="4150461" y="5783344"/>
                    <a:pt x="4193146" y="5740659"/>
                    <a:pt x="4193146" y="5687998"/>
                  </a:cubicBezTo>
                  <a:lnTo>
                    <a:pt x="4193146" y="4185242"/>
                  </a:lnTo>
                  <a:cubicBezTo>
                    <a:pt x="4494372" y="4122703"/>
                    <a:pt x="4784481" y="3994152"/>
                    <a:pt x="5040094" y="3799539"/>
                  </a:cubicBezTo>
                  <a:lnTo>
                    <a:pt x="6017578" y="4777172"/>
                  </a:lnTo>
                  <a:cubicBezTo>
                    <a:pt x="6071629" y="4831173"/>
                    <a:pt x="6143449" y="4860954"/>
                    <a:pt x="6219785" y="4860954"/>
                  </a:cubicBezTo>
                  <a:cubicBezTo>
                    <a:pt x="6296171" y="4860954"/>
                    <a:pt x="6367991" y="4831173"/>
                    <a:pt x="6421992" y="4777172"/>
                  </a:cubicBezTo>
                  <a:cubicBezTo>
                    <a:pt x="6533420" y="4665794"/>
                    <a:pt x="6533469" y="4484433"/>
                    <a:pt x="6422042" y="4372857"/>
                  </a:cubicBezTo>
                  <a:close/>
                  <a:moveTo>
                    <a:pt x="2369756" y="5873082"/>
                  </a:moveTo>
                  <a:lnTo>
                    <a:pt x="1797977" y="5873082"/>
                  </a:lnTo>
                  <a:lnTo>
                    <a:pt x="1797977" y="3242501"/>
                  </a:lnTo>
                  <a:lnTo>
                    <a:pt x="1969660" y="3242501"/>
                  </a:lnTo>
                  <a:cubicBezTo>
                    <a:pt x="2052101" y="3373385"/>
                    <a:pt x="2150177" y="3497171"/>
                    <a:pt x="2264037" y="3611080"/>
                  </a:cubicBezTo>
                  <a:cubicBezTo>
                    <a:pt x="2298383" y="3645427"/>
                    <a:pt x="2333722" y="3678234"/>
                    <a:pt x="2369756" y="3709702"/>
                  </a:cubicBezTo>
                  <a:close/>
                  <a:moveTo>
                    <a:pt x="3017822" y="5873082"/>
                  </a:moveTo>
                  <a:lnTo>
                    <a:pt x="3017822" y="4096149"/>
                  </a:lnTo>
                  <a:cubicBezTo>
                    <a:pt x="3202658" y="4165090"/>
                    <a:pt x="3395236" y="4207279"/>
                    <a:pt x="3589601" y="4222864"/>
                  </a:cubicBezTo>
                  <a:lnTo>
                    <a:pt x="3589601" y="5873082"/>
                  </a:lnTo>
                  <a:close/>
                  <a:moveTo>
                    <a:pt x="6287287" y="4642367"/>
                  </a:moveTo>
                  <a:cubicBezTo>
                    <a:pt x="6269270" y="4660384"/>
                    <a:pt x="6245297" y="4670311"/>
                    <a:pt x="6219835" y="4670311"/>
                  </a:cubicBezTo>
                  <a:cubicBezTo>
                    <a:pt x="6194373" y="4670311"/>
                    <a:pt x="6170400" y="4660384"/>
                    <a:pt x="6152432" y="4642367"/>
                  </a:cubicBezTo>
                  <a:lnTo>
                    <a:pt x="5187009" y="3676894"/>
                  </a:lnTo>
                  <a:cubicBezTo>
                    <a:pt x="5210387" y="3655502"/>
                    <a:pt x="5233416" y="3633663"/>
                    <a:pt x="5256000" y="3611080"/>
                  </a:cubicBezTo>
                  <a:cubicBezTo>
                    <a:pt x="5278533" y="3588547"/>
                    <a:pt x="5300471" y="3565566"/>
                    <a:pt x="5321864" y="3542089"/>
                  </a:cubicBezTo>
                  <a:lnTo>
                    <a:pt x="6287187" y="4507612"/>
                  </a:lnTo>
                  <a:cubicBezTo>
                    <a:pt x="6324363" y="4544788"/>
                    <a:pt x="6324413" y="4605291"/>
                    <a:pt x="6287287" y="4642367"/>
                  </a:cubicBezTo>
                  <a:close/>
                </a:path>
              </a:pathLst>
            </a:custGeom>
            <a:grpFill/>
            <a:ln w="127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262626"/>
                </a:solidFill>
                <a:effectLst/>
                <a:uLnTx/>
                <a:uFillTx/>
                <a:latin typeface="阿里巴巴普惠体 B"/>
                <a:ea typeface="阿里巴巴普惠体 R"/>
                <a:cs typeface="+mn-cs"/>
              </a:endParaRPr>
            </a:p>
          </p:txBody>
        </p:sp>
        <p:sp>
          <p:nvSpPr>
            <p:cNvPr id="161" name="任意多边形: 形状 160">
              <a:extLst>
                <a:ext uri="{FF2B5EF4-FFF2-40B4-BE49-F238E27FC236}">
                  <a16:creationId xmlns:a16="http://schemas.microsoft.com/office/drawing/2014/main" id="{D98CF03B-000A-45EA-ACC3-2905613F6C01}"/>
                </a:ext>
              </a:extLst>
            </p:cNvPr>
            <p:cNvSpPr/>
            <p:nvPr/>
          </p:nvSpPr>
          <p:spPr>
            <a:xfrm>
              <a:off x="2843212" y="1708703"/>
              <a:ext cx="4193146" cy="4973083"/>
            </a:xfrm>
            <a:custGeom>
              <a:avLst/>
              <a:gdLst>
                <a:gd name="connsiteX0" fmla="*/ 4097849 w 4193145"/>
                <a:gd name="connsiteY0" fmla="*/ 4471144 h 4973088"/>
                <a:gd name="connsiteX1" fmla="*/ 4002553 w 4193145"/>
                <a:gd name="connsiteY1" fmla="*/ 4566440 h 4973088"/>
                <a:gd name="connsiteX2" fmla="*/ 4002553 w 4193145"/>
                <a:gd name="connsiteY2" fmla="*/ 4782495 h 4973088"/>
                <a:gd name="connsiteX3" fmla="*/ 190593 w 4193145"/>
                <a:gd name="connsiteY3" fmla="*/ 4782495 h 4973088"/>
                <a:gd name="connsiteX4" fmla="*/ 190593 w 4193145"/>
                <a:gd name="connsiteY4" fmla="*/ 95297 h 4973088"/>
                <a:gd name="connsiteX5" fmla="*/ 95297 w 4193145"/>
                <a:gd name="connsiteY5" fmla="*/ 0 h 4973088"/>
                <a:gd name="connsiteX6" fmla="*/ 0 w 4193145"/>
                <a:gd name="connsiteY6" fmla="*/ 95297 h 4973088"/>
                <a:gd name="connsiteX7" fmla="*/ 0 w 4193145"/>
                <a:gd name="connsiteY7" fmla="*/ 4877792 h 4973088"/>
                <a:gd name="connsiteX8" fmla="*/ 95297 w 4193145"/>
                <a:gd name="connsiteY8" fmla="*/ 4973088 h 4973088"/>
                <a:gd name="connsiteX9" fmla="*/ 4097849 w 4193145"/>
                <a:gd name="connsiteY9" fmla="*/ 4973088 h 4973088"/>
                <a:gd name="connsiteX10" fmla="*/ 4193146 w 4193145"/>
                <a:gd name="connsiteY10" fmla="*/ 4877792 h 4973088"/>
                <a:gd name="connsiteX11" fmla="*/ 4193146 w 4193145"/>
                <a:gd name="connsiteY11" fmla="*/ 4566440 h 4973088"/>
                <a:gd name="connsiteX12" fmla="*/ 4097849 w 4193145"/>
                <a:gd name="connsiteY12" fmla="*/ 4471144 h 4973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193145" h="4973088">
                  <a:moveTo>
                    <a:pt x="4097849" y="4471144"/>
                  </a:moveTo>
                  <a:cubicBezTo>
                    <a:pt x="4045238" y="4471144"/>
                    <a:pt x="4002553" y="4513779"/>
                    <a:pt x="4002553" y="4566440"/>
                  </a:cubicBezTo>
                  <a:lnTo>
                    <a:pt x="4002553" y="4782495"/>
                  </a:lnTo>
                  <a:lnTo>
                    <a:pt x="190593" y="4782495"/>
                  </a:lnTo>
                  <a:lnTo>
                    <a:pt x="190593" y="95297"/>
                  </a:lnTo>
                  <a:cubicBezTo>
                    <a:pt x="190593" y="42635"/>
                    <a:pt x="147958" y="0"/>
                    <a:pt x="95297" y="0"/>
                  </a:cubicBezTo>
                  <a:cubicBezTo>
                    <a:pt x="42685" y="0"/>
                    <a:pt x="0" y="42635"/>
                    <a:pt x="0" y="95297"/>
                  </a:cubicBezTo>
                  <a:lnTo>
                    <a:pt x="0" y="4877792"/>
                  </a:lnTo>
                  <a:cubicBezTo>
                    <a:pt x="0" y="4930453"/>
                    <a:pt x="42685" y="4973088"/>
                    <a:pt x="95297" y="4973088"/>
                  </a:cubicBezTo>
                  <a:lnTo>
                    <a:pt x="4097849" y="4973088"/>
                  </a:lnTo>
                  <a:cubicBezTo>
                    <a:pt x="4150511" y="4973088"/>
                    <a:pt x="4193146" y="4930453"/>
                    <a:pt x="4193146" y="4877792"/>
                  </a:cubicBezTo>
                  <a:lnTo>
                    <a:pt x="4193146" y="4566440"/>
                  </a:lnTo>
                  <a:cubicBezTo>
                    <a:pt x="4193146" y="4513779"/>
                    <a:pt x="4150511" y="4471144"/>
                    <a:pt x="4097849" y="4471144"/>
                  </a:cubicBezTo>
                  <a:close/>
                </a:path>
              </a:pathLst>
            </a:custGeom>
            <a:grpFill/>
            <a:ln w="127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262626"/>
                </a:solidFill>
                <a:effectLst/>
                <a:uLnTx/>
                <a:uFillTx/>
                <a:latin typeface="阿里巴巴普惠体 B"/>
                <a:ea typeface="阿里巴巴普惠体 R"/>
                <a:cs typeface="+mn-cs"/>
              </a:endParaRPr>
            </a:p>
          </p:txBody>
        </p:sp>
        <p:sp>
          <p:nvSpPr>
            <p:cNvPr id="162" name="任意多边形: 形状 161">
              <a:extLst>
                <a:ext uri="{FF2B5EF4-FFF2-40B4-BE49-F238E27FC236}">
                  <a16:creationId xmlns:a16="http://schemas.microsoft.com/office/drawing/2014/main" id="{AF04EF59-FF1E-4028-B214-332B8C922FF5}"/>
                </a:ext>
              </a:extLst>
            </p:cNvPr>
            <p:cNvSpPr/>
            <p:nvPr/>
          </p:nvSpPr>
          <p:spPr>
            <a:xfrm>
              <a:off x="3256166" y="3990556"/>
              <a:ext cx="953009" cy="2249342"/>
            </a:xfrm>
            <a:custGeom>
              <a:avLst/>
              <a:gdLst>
                <a:gd name="connsiteX0" fmla="*/ 0 w 953014"/>
                <a:gd name="connsiteY0" fmla="*/ 95297 h 2249345"/>
                <a:gd name="connsiteX1" fmla="*/ 0 w 953014"/>
                <a:gd name="connsiteY1" fmla="*/ 2154049 h 2249345"/>
                <a:gd name="connsiteX2" fmla="*/ 95297 w 953014"/>
                <a:gd name="connsiteY2" fmla="*/ 2249345 h 2249345"/>
                <a:gd name="connsiteX3" fmla="*/ 857718 w 953014"/>
                <a:gd name="connsiteY3" fmla="*/ 2249345 h 2249345"/>
                <a:gd name="connsiteX4" fmla="*/ 953015 w 953014"/>
                <a:gd name="connsiteY4" fmla="*/ 2154049 h 2249345"/>
                <a:gd name="connsiteX5" fmla="*/ 953015 w 953014"/>
                <a:gd name="connsiteY5" fmla="*/ 95297 h 2249345"/>
                <a:gd name="connsiteX6" fmla="*/ 857718 w 953014"/>
                <a:gd name="connsiteY6" fmla="*/ 0 h 2249345"/>
                <a:gd name="connsiteX7" fmla="*/ 95297 w 953014"/>
                <a:gd name="connsiteY7" fmla="*/ 0 h 2249345"/>
                <a:gd name="connsiteX8" fmla="*/ 0 w 953014"/>
                <a:gd name="connsiteY8" fmla="*/ 95297 h 2249345"/>
                <a:gd name="connsiteX9" fmla="*/ 190593 w 953014"/>
                <a:gd name="connsiteY9" fmla="*/ 190643 h 2249345"/>
                <a:gd name="connsiteX10" fmla="*/ 762422 w 953014"/>
                <a:gd name="connsiteY10" fmla="*/ 190643 h 2249345"/>
                <a:gd name="connsiteX11" fmla="*/ 762422 w 953014"/>
                <a:gd name="connsiteY11" fmla="*/ 2058702 h 2249345"/>
                <a:gd name="connsiteX12" fmla="*/ 190593 w 953014"/>
                <a:gd name="connsiteY12" fmla="*/ 2058702 h 22493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53014" h="2249345">
                  <a:moveTo>
                    <a:pt x="0" y="95297"/>
                  </a:moveTo>
                  <a:lnTo>
                    <a:pt x="0" y="2154049"/>
                  </a:lnTo>
                  <a:cubicBezTo>
                    <a:pt x="0" y="2206660"/>
                    <a:pt x="42685" y="2249345"/>
                    <a:pt x="95297" y="2249345"/>
                  </a:cubicBezTo>
                  <a:lnTo>
                    <a:pt x="857718" y="2249345"/>
                  </a:lnTo>
                  <a:cubicBezTo>
                    <a:pt x="910330" y="2249345"/>
                    <a:pt x="953015" y="2206660"/>
                    <a:pt x="953015" y="2154049"/>
                  </a:cubicBezTo>
                  <a:lnTo>
                    <a:pt x="953015" y="95297"/>
                  </a:lnTo>
                  <a:cubicBezTo>
                    <a:pt x="953015" y="42685"/>
                    <a:pt x="910330" y="0"/>
                    <a:pt x="857718" y="0"/>
                  </a:cubicBezTo>
                  <a:lnTo>
                    <a:pt x="95297" y="0"/>
                  </a:lnTo>
                  <a:cubicBezTo>
                    <a:pt x="42685" y="0"/>
                    <a:pt x="0" y="42685"/>
                    <a:pt x="0" y="95297"/>
                  </a:cubicBezTo>
                  <a:close/>
                  <a:moveTo>
                    <a:pt x="190593" y="190643"/>
                  </a:moveTo>
                  <a:lnTo>
                    <a:pt x="762422" y="190643"/>
                  </a:lnTo>
                  <a:lnTo>
                    <a:pt x="762422" y="2058702"/>
                  </a:lnTo>
                  <a:lnTo>
                    <a:pt x="190593" y="2058702"/>
                  </a:lnTo>
                  <a:close/>
                </a:path>
              </a:pathLst>
            </a:custGeom>
            <a:grpFill/>
            <a:ln w="127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262626"/>
                </a:solidFill>
                <a:effectLst/>
                <a:uLnTx/>
                <a:uFillTx/>
                <a:latin typeface="阿里巴巴普惠体 B"/>
                <a:ea typeface="阿里巴巴普惠体 R"/>
                <a:cs typeface="+mn-cs"/>
              </a:endParaRPr>
            </a:p>
          </p:txBody>
        </p:sp>
        <p:sp>
          <p:nvSpPr>
            <p:cNvPr id="163" name="任意多边形: 形状 162">
              <a:extLst>
                <a:ext uri="{FF2B5EF4-FFF2-40B4-BE49-F238E27FC236}">
                  <a16:creationId xmlns:a16="http://schemas.microsoft.com/office/drawing/2014/main" id="{3DFC4C2C-C6D6-4A1B-959D-0E8E79FA9839}"/>
                </a:ext>
              </a:extLst>
            </p:cNvPr>
            <p:cNvSpPr/>
            <p:nvPr/>
          </p:nvSpPr>
          <p:spPr>
            <a:xfrm>
              <a:off x="3408635" y="2656199"/>
              <a:ext cx="903178" cy="190640"/>
            </a:xfrm>
            <a:custGeom>
              <a:avLst/>
              <a:gdLst>
                <a:gd name="connsiteX0" fmla="*/ 807886 w 903182"/>
                <a:gd name="connsiteY0" fmla="*/ 190643 h 190642"/>
                <a:gd name="connsiteX1" fmla="*/ 903183 w 903182"/>
                <a:gd name="connsiteY1" fmla="*/ 95297 h 190642"/>
                <a:gd name="connsiteX2" fmla="*/ 807886 w 903182"/>
                <a:gd name="connsiteY2" fmla="*/ 0 h 190642"/>
                <a:gd name="connsiteX3" fmla="*/ 95297 w 903182"/>
                <a:gd name="connsiteY3" fmla="*/ 0 h 190642"/>
                <a:gd name="connsiteX4" fmla="*/ 0 w 903182"/>
                <a:gd name="connsiteY4" fmla="*/ 95297 h 190642"/>
                <a:gd name="connsiteX5" fmla="*/ 95297 w 903182"/>
                <a:gd name="connsiteY5" fmla="*/ 190643 h 1906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03182" h="190642">
                  <a:moveTo>
                    <a:pt x="807886" y="190643"/>
                  </a:moveTo>
                  <a:cubicBezTo>
                    <a:pt x="860547" y="190643"/>
                    <a:pt x="903183" y="147958"/>
                    <a:pt x="903183" y="95297"/>
                  </a:cubicBezTo>
                  <a:cubicBezTo>
                    <a:pt x="903183" y="42685"/>
                    <a:pt x="860547" y="0"/>
                    <a:pt x="807886" y="0"/>
                  </a:cubicBezTo>
                  <a:lnTo>
                    <a:pt x="95297" y="0"/>
                  </a:lnTo>
                  <a:cubicBezTo>
                    <a:pt x="42685" y="0"/>
                    <a:pt x="0" y="42685"/>
                    <a:pt x="0" y="95297"/>
                  </a:cubicBezTo>
                  <a:cubicBezTo>
                    <a:pt x="0" y="147958"/>
                    <a:pt x="42685" y="190643"/>
                    <a:pt x="95297" y="190643"/>
                  </a:cubicBezTo>
                  <a:close/>
                </a:path>
              </a:pathLst>
            </a:custGeom>
            <a:grpFill/>
            <a:ln w="127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262626"/>
                </a:solidFill>
                <a:effectLst/>
                <a:uLnTx/>
                <a:uFillTx/>
                <a:latin typeface="阿里巴巴普惠体 B"/>
                <a:ea typeface="阿里巴巴普惠体 R"/>
                <a:cs typeface="+mn-cs"/>
              </a:endParaRPr>
            </a:p>
          </p:txBody>
        </p:sp>
        <p:sp>
          <p:nvSpPr>
            <p:cNvPr id="164" name="任意多边形: 形状 163">
              <a:extLst>
                <a:ext uri="{FF2B5EF4-FFF2-40B4-BE49-F238E27FC236}">
                  <a16:creationId xmlns:a16="http://schemas.microsoft.com/office/drawing/2014/main" id="{E733F1F8-699D-483C-B7BE-9C3F23A555F4}"/>
                </a:ext>
              </a:extLst>
            </p:cNvPr>
            <p:cNvSpPr/>
            <p:nvPr/>
          </p:nvSpPr>
          <p:spPr>
            <a:xfrm>
              <a:off x="4869550" y="557243"/>
              <a:ext cx="3467353" cy="3467805"/>
            </a:xfrm>
            <a:custGeom>
              <a:avLst/>
              <a:gdLst>
                <a:gd name="connsiteX0" fmla="*/ 1733702 w 3467353"/>
                <a:gd name="connsiteY0" fmla="*/ 0 h 3467800"/>
                <a:gd name="connsiteX1" fmla="*/ 507255 w 3467353"/>
                <a:gd name="connsiteY1" fmla="*/ 507305 h 3467800"/>
                <a:gd name="connsiteX2" fmla="*/ 0 w 3467353"/>
                <a:gd name="connsiteY2" fmla="*/ 1733900 h 3467800"/>
                <a:gd name="connsiteX3" fmla="*/ 507255 w 3467353"/>
                <a:gd name="connsiteY3" fmla="*/ 2960495 h 3467800"/>
                <a:gd name="connsiteX4" fmla="*/ 1733702 w 3467353"/>
                <a:gd name="connsiteY4" fmla="*/ 3467800 h 3467800"/>
                <a:gd name="connsiteX5" fmla="*/ 2960148 w 3467353"/>
                <a:gd name="connsiteY5" fmla="*/ 2960495 h 3467800"/>
                <a:gd name="connsiteX6" fmla="*/ 3467354 w 3467353"/>
                <a:gd name="connsiteY6" fmla="*/ 1733900 h 3467800"/>
                <a:gd name="connsiteX7" fmla="*/ 2960148 w 3467353"/>
                <a:gd name="connsiteY7" fmla="*/ 507305 h 3467800"/>
                <a:gd name="connsiteX8" fmla="*/ 1733702 w 3467353"/>
                <a:gd name="connsiteY8" fmla="*/ 0 h 3467800"/>
                <a:gd name="connsiteX9" fmla="*/ 2825343 w 3467353"/>
                <a:gd name="connsiteY9" fmla="*/ 2825691 h 3467800"/>
                <a:gd name="connsiteX10" fmla="*/ 1733702 w 3467353"/>
                <a:gd name="connsiteY10" fmla="*/ 3277158 h 3467800"/>
                <a:gd name="connsiteX11" fmla="*/ 642060 w 3467353"/>
                <a:gd name="connsiteY11" fmla="*/ 2825691 h 3467800"/>
                <a:gd name="connsiteX12" fmla="*/ 190593 w 3467353"/>
                <a:gd name="connsiteY12" fmla="*/ 1733900 h 3467800"/>
                <a:gd name="connsiteX13" fmla="*/ 642060 w 3467353"/>
                <a:gd name="connsiteY13" fmla="*/ 642060 h 3467800"/>
                <a:gd name="connsiteX14" fmla="*/ 1733702 w 3467353"/>
                <a:gd name="connsiteY14" fmla="*/ 190543 h 3467800"/>
                <a:gd name="connsiteX15" fmla="*/ 2825343 w 3467353"/>
                <a:gd name="connsiteY15" fmla="*/ 642060 h 3467800"/>
                <a:gd name="connsiteX16" fmla="*/ 3276761 w 3467353"/>
                <a:gd name="connsiteY16" fmla="*/ 1733900 h 3467800"/>
                <a:gd name="connsiteX17" fmla="*/ 2825343 w 3467353"/>
                <a:gd name="connsiteY17" fmla="*/ 2825691 h 3467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467353" h="3467800">
                  <a:moveTo>
                    <a:pt x="1733702" y="0"/>
                  </a:moveTo>
                  <a:cubicBezTo>
                    <a:pt x="1269925" y="0"/>
                    <a:pt x="834341" y="180170"/>
                    <a:pt x="507255" y="507305"/>
                  </a:cubicBezTo>
                  <a:cubicBezTo>
                    <a:pt x="180170" y="834440"/>
                    <a:pt x="0" y="1270074"/>
                    <a:pt x="0" y="1733900"/>
                  </a:cubicBezTo>
                  <a:cubicBezTo>
                    <a:pt x="0" y="2197726"/>
                    <a:pt x="180170" y="2633360"/>
                    <a:pt x="507255" y="2960495"/>
                  </a:cubicBezTo>
                  <a:cubicBezTo>
                    <a:pt x="834390" y="3287630"/>
                    <a:pt x="1269925" y="3467800"/>
                    <a:pt x="1733702" y="3467800"/>
                  </a:cubicBezTo>
                  <a:cubicBezTo>
                    <a:pt x="2197478" y="3467800"/>
                    <a:pt x="2633013" y="3287630"/>
                    <a:pt x="2960148" y="2960495"/>
                  </a:cubicBezTo>
                  <a:cubicBezTo>
                    <a:pt x="3287233" y="2633360"/>
                    <a:pt x="3467354" y="2197726"/>
                    <a:pt x="3467354" y="1733900"/>
                  </a:cubicBezTo>
                  <a:cubicBezTo>
                    <a:pt x="3467354" y="1270074"/>
                    <a:pt x="3287233" y="834440"/>
                    <a:pt x="2960148" y="507305"/>
                  </a:cubicBezTo>
                  <a:cubicBezTo>
                    <a:pt x="2633013" y="180170"/>
                    <a:pt x="2197478" y="0"/>
                    <a:pt x="1733702" y="0"/>
                  </a:cubicBezTo>
                  <a:close/>
                  <a:moveTo>
                    <a:pt x="2825343" y="2825691"/>
                  </a:moveTo>
                  <a:cubicBezTo>
                    <a:pt x="2534242" y="3116841"/>
                    <a:pt x="2146554" y="3277158"/>
                    <a:pt x="1733702" y="3277158"/>
                  </a:cubicBezTo>
                  <a:cubicBezTo>
                    <a:pt x="1320800" y="3277158"/>
                    <a:pt x="933161" y="3116841"/>
                    <a:pt x="642060" y="2825691"/>
                  </a:cubicBezTo>
                  <a:cubicBezTo>
                    <a:pt x="350910" y="2534540"/>
                    <a:pt x="190593" y="2146802"/>
                    <a:pt x="190593" y="1733900"/>
                  </a:cubicBezTo>
                  <a:cubicBezTo>
                    <a:pt x="190593" y="1320949"/>
                    <a:pt x="350910" y="933211"/>
                    <a:pt x="642060" y="642060"/>
                  </a:cubicBezTo>
                  <a:cubicBezTo>
                    <a:pt x="942989" y="341082"/>
                    <a:pt x="1338370" y="190543"/>
                    <a:pt x="1733702" y="190543"/>
                  </a:cubicBezTo>
                  <a:cubicBezTo>
                    <a:pt x="2129033" y="190543"/>
                    <a:pt x="2524415" y="341082"/>
                    <a:pt x="2825343" y="642060"/>
                  </a:cubicBezTo>
                  <a:cubicBezTo>
                    <a:pt x="3116444" y="933211"/>
                    <a:pt x="3276761" y="1320949"/>
                    <a:pt x="3276761" y="1733900"/>
                  </a:cubicBezTo>
                  <a:cubicBezTo>
                    <a:pt x="3276761" y="2146802"/>
                    <a:pt x="3116444" y="2534540"/>
                    <a:pt x="2825343" y="2825691"/>
                  </a:cubicBezTo>
                  <a:close/>
                </a:path>
              </a:pathLst>
            </a:custGeom>
            <a:grpFill/>
            <a:ln w="127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262626"/>
                </a:solidFill>
                <a:effectLst/>
                <a:uLnTx/>
                <a:uFillTx/>
                <a:latin typeface="阿里巴巴普惠体 B"/>
                <a:ea typeface="阿里巴巴普惠体 R"/>
                <a:cs typeface="+mn-cs"/>
              </a:endParaRPr>
            </a:p>
          </p:txBody>
        </p:sp>
      </p:grpSp>
      <p:grpSp>
        <p:nvGrpSpPr>
          <p:cNvPr id="165" name="图形 93">
            <a:extLst>
              <a:ext uri="{FF2B5EF4-FFF2-40B4-BE49-F238E27FC236}">
                <a16:creationId xmlns:a16="http://schemas.microsoft.com/office/drawing/2014/main" id="{9F4CD76F-A4CF-4580-AA5A-46AAFE7EC57D}"/>
              </a:ext>
            </a:extLst>
          </p:cNvPr>
          <p:cNvGrpSpPr/>
          <p:nvPr/>
        </p:nvGrpSpPr>
        <p:grpSpPr>
          <a:xfrm>
            <a:off x="5506062" y="4926484"/>
            <a:ext cx="336956" cy="331495"/>
            <a:chOff x="4421509" y="1204616"/>
            <a:chExt cx="1231508" cy="1211536"/>
          </a:xfrm>
          <a:solidFill>
            <a:schemeClr val="bg1"/>
          </a:solidFill>
        </p:grpSpPr>
        <p:sp>
          <p:nvSpPr>
            <p:cNvPr id="166" name="任意多边形: 形状 165">
              <a:extLst>
                <a:ext uri="{FF2B5EF4-FFF2-40B4-BE49-F238E27FC236}">
                  <a16:creationId xmlns:a16="http://schemas.microsoft.com/office/drawing/2014/main" id="{3F72A95E-EBE6-40F0-85BA-D229ECEE2D50}"/>
                </a:ext>
              </a:extLst>
            </p:cNvPr>
            <p:cNvSpPr/>
            <p:nvPr/>
          </p:nvSpPr>
          <p:spPr>
            <a:xfrm>
              <a:off x="4503802" y="1286988"/>
              <a:ext cx="846402" cy="846394"/>
            </a:xfrm>
            <a:custGeom>
              <a:avLst/>
              <a:gdLst>
                <a:gd name="connsiteX0" fmla="*/ 423201 w 846402"/>
                <a:gd name="connsiteY0" fmla="*/ 0 h 846402"/>
                <a:gd name="connsiteX1" fmla="*/ 0 w 846402"/>
                <a:gd name="connsiteY1" fmla="*/ 423201 h 846402"/>
                <a:gd name="connsiteX2" fmla="*/ 423201 w 846402"/>
                <a:gd name="connsiteY2" fmla="*/ 846402 h 846402"/>
                <a:gd name="connsiteX3" fmla="*/ 846402 w 846402"/>
                <a:gd name="connsiteY3" fmla="*/ 423201 h 846402"/>
                <a:gd name="connsiteX4" fmla="*/ 423201 w 846402"/>
                <a:gd name="connsiteY4" fmla="*/ 0 h 846402"/>
                <a:gd name="connsiteX5" fmla="*/ 423201 w 846402"/>
                <a:gd name="connsiteY5" fmla="*/ 806098 h 846402"/>
                <a:gd name="connsiteX6" fmla="*/ 40305 w 846402"/>
                <a:gd name="connsiteY6" fmla="*/ 423201 h 846402"/>
                <a:gd name="connsiteX7" fmla="*/ 423201 w 846402"/>
                <a:gd name="connsiteY7" fmla="*/ 40305 h 846402"/>
                <a:gd name="connsiteX8" fmla="*/ 806098 w 846402"/>
                <a:gd name="connsiteY8" fmla="*/ 423201 h 846402"/>
                <a:gd name="connsiteX9" fmla="*/ 423201 w 846402"/>
                <a:gd name="connsiteY9" fmla="*/ 806098 h 846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46402" h="846402">
                  <a:moveTo>
                    <a:pt x="423201" y="0"/>
                  </a:moveTo>
                  <a:cubicBezTo>
                    <a:pt x="189474" y="0"/>
                    <a:pt x="0" y="189474"/>
                    <a:pt x="0" y="423201"/>
                  </a:cubicBezTo>
                  <a:cubicBezTo>
                    <a:pt x="0" y="656929"/>
                    <a:pt x="189474" y="846402"/>
                    <a:pt x="423201" y="846402"/>
                  </a:cubicBezTo>
                  <a:cubicBezTo>
                    <a:pt x="656929" y="846402"/>
                    <a:pt x="846402" y="656929"/>
                    <a:pt x="846402" y="423201"/>
                  </a:cubicBezTo>
                  <a:cubicBezTo>
                    <a:pt x="846136" y="189584"/>
                    <a:pt x="656818" y="267"/>
                    <a:pt x="423201" y="0"/>
                  </a:cubicBezTo>
                  <a:close/>
                  <a:moveTo>
                    <a:pt x="423201" y="806098"/>
                  </a:moveTo>
                  <a:cubicBezTo>
                    <a:pt x="211733" y="806098"/>
                    <a:pt x="40305" y="634669"/>
                    <a:pt x="40305" y="423201"/>
                  </a:cubicBezTo>
                  <a:cubicBezTo>
                    <a:pt x="40305" y="211733"/>
                    <a:pt x="211733" y="40305"/>
                    <a:pt x="423201" y="40305"/>
                  </a:cubicBezTo>
                  <a:cubicBezTo>
                    <a:pt x="634669" y="40305"/>
                    <a:pt x="806098" y="211733"/>
                    <a:pt x="806098" y="423201"/>
                  </a:cubicBezTo>
                  <a:cubicBezTo>
                    <a:pt x="805853" y="634568"/>
                    <a:pt x="634568" y="805853"/>
                    <a:pt x="423201" y="806098"/>
                  </a:cubicBezTo>
                  <a:close/>
                </a:path>
              </a:pathLst>
            </a:custGeom>
            <a:grpFill/>
            <a:ln w="200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262626"/>
                </a:solidFill>
                <a:effectLst/>
                <a:uLnTx/>
                <a:uFillTx/>
                <a:latin typeface="阿里巴巴普惠体 B"/>
                <a:ea typeface="阿里巴巴普惠体 R"/>
                <a:cs typeface="+mn-cs"/>
              </a:endParaRPr>
            </a:p>
          </p:txBody>
        </p:sp>
        <p:sp>
          <p:nvSpPr>
            <p:cNvPr id="167" name="任意多边形: 形状 166">
              <a:extLst>
                <a:ext uri="{FF2B5EF4-FFF2-40B4-BE49-F238E27FC236}">
                  <a16:creationId xmlns:a16="http://schemas.microsoft.com/office/drawing/2014/main" id="{9517C1A8-8A10-4ABB-B15E-F3AFFA5D0CFC}"/>
                </a:ext>
              </a:extLst>
            </p:cNvPr>
            <p:cNvSpPr/>
            <p:nvPr/>
          </p:nvSpPr>
          <p:spPr>
            <a:xfrm>
              <a:off x="4421509" y="1204616"/>
              <a:ext cx="1231508" cy="1211536"/>
            </a:xfrm>
            <a:custGeom>
              <a:avLst/>
              <a:gdLst>
                <a:gd name="connsiteX0" fmla="*/ 910417 w 1231508"/>
                <a:gd name="connsiteY0" fmla="*/ 804878 h 1211548"/>
                <a:gd name="connsiteX1" fmla="*/ 804878 w 1231508"/>
                <a:gd name="connsiteY1" fmla="*/ 99003 h 1211548"/>
                <a:gd name="connsiteX2" fmla="*/ 99003 w 1231508"/>
                <a:gd name="connsiteY2" fmla="*/ 204541 h 1211548"/>
                <a:gd name="connsiteX3" fmla="*/ 204541 w 1231508"/>
                <a:gd name="connsiteY3" fmla="*/ 910417 h 1211548"/>
                <a:gd name="connsiteX4" fmla="*/ 827328 w 1231508"/>
                <a:gd name="connsiteY4" fmla="*/ 892803 h 1211548"/>
                <a:gd name="connsiteX5" fmla="*/ 1127721 w 1231508"/>
                <a:gd name="connsiteY5" fmla="*/ 1193075 h 1211548"/>
                <a:gd name="connsiteX6" fmla="*/ 1213034 w 1231508"/>
                <a:gd name="connsiteY6" fmla="*/ 1194664 h 1211548"/>
                <a:gd name="connsiteX7" fmla="*/ 1214624 w 1231508"/>
                <a:gd name="connsiteY7" fmla="*/ 1109350 h 1211548"/>
                <a:gd name="connsiteX8" fmla="*/ 1213127 w 1231508"/>
                <a:gd name="connsiteY8" fmla="*/ 1107850 h 1211548"/>
                <a:gd name="connsiteX9" fmla="*/ 41988 w 1231508"/>
                <a:gd name="connsiteY9" fmla="*/ 505574 h 1211548"/>
                <a:gd name="connsiteX10" fmla="*/ 505494 w 1231508"/>
                <a:gd name="connsiteY10" fmla="*/ 42068 h 1211548"/>
                <a:gd name="connsiteX11" fmla="*/ 969000 w 1231508"/>
                <a:gd name="connsiteY11" fmla="*/ 505574 h 1211548"/>
                <a:gd name="connsiteX12" fmla="*/ 505494 w 1231508"/>
                <a:gd name="connsiteY12" fmla="*/ 969080 h 1211548"/>
                <a:gd name="connsiteX13" fmla="*/ 41988 w 1231508"/>
                <a:gd name="connsiteY13" fmla="*/ 505574 h 1211548"/>
                <a:gd name="connsiteX14" fmla="*/ 1184631 w 1231508"/>
                <a:gd name="connsiteY14" fmla="*/ 1164720 h 1211548"/>
                <a:gd name="connsiteX15" fmla="*/ 1156418 w 1231508"/>
                <a:gd name="connsiteY15" fmla="*/ 1164720 h 1211548"/>
                <a:gd name="connsiteX16" fmla="*/ 857235 w 1231508"/>
                <a:gd name="connsiteY16" fmla="*/ 865739 h 1211548"/>
                <a:gd name="connsiteX17" fmla="*/ 884924 w 1231508"/>
                <a:gd name="connsiteY17" fmla="*/ 836397 h 1211548"/>
                <a:gd name="connsiteX18" fmla="*/ 1184631 w 1231508"/>
                <a:gd name="connsiteY18" fmla="*/ 1136346 h 1211548"/>
                <a:gd name="connsiteX19" fmla="*/ 1190677 w 1231508"/>
                <a:gd name="connsiteY19" fmla="*/ 1150452 h 1211548"/>
                <a:gd name="connsiteX20" fmla="*/ 1184631 w 1231508"/>
                <a:gd name="connsiteY20" fmla="*/ 1164720 h 1211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31508" h="1211548">
                  <a:moveTo>
                    <a:pt x="910417" y="804878"/>
                  </a:moveTo>
                  <a:cubicBezTo>
                    <a:pt x="1076195" y="580812"/>
                    <a:pt x="1028944" y="264781"/>
                    <a:pt x="804878" y="99003"/>
                  </a:cubicBezTo>
                  <a:cubicBezTo>
                    <a:pt x="580812" y="-66776"/>
                    <a:pt x="264781" y="-19525"/>
                    <a:pt x="99003" y="204541"/>
                  </a:cubicBezTo>
                  <a:cubicBezTo>
                    <a:pt x="-66776" y="428607"/>
                    <a:pt x="-19525" y="744638"/>
                    <a:pt x="204541" y="910417"/>
                  </a:cubicBezTo>
                  <a:cubicBezTo>
                    <a:pt x="391418" y="1048680"/>
                    <a:pt x="648565" y="1041408"/>
                    <a:pt x="827328" y="892803"/>
                  </a:cubicBezTo>
                  <a:lnTo>
                    <a:pt x="1127721" y="1193075"/>
                  </a:lnTo>
                  <a:cubicBezTo>
                    <a:pt x="1150841" y="1217072"/>
                    <a:pt x="1189037" y="1217784"/>
                    <a:pt x="1213034" y="1194664"/>
                  </a:cubicBezTo>
                  <a:cubicBezTo>
                    <a:pt x="1237032" y="1171544"/>
                    <a:pt x="1237744" y="1133348"/>
                    <a:pt x="1214624" y="1109350"/>
                  </a:cubicBezTo>
                  <a:cubicBezTo>
                    <a:pt x="1214134" y="1108841"/>
                    <a:pt x="1213634" y="1108341"/>
                    <a:pt x="1213127" y="1107850"/>
                  </a:cubicBezTo>
                  <a:close/>
                  <a:moveTo>
                    <a:pt x="41988" y="505574"/>
                  </a:moveTo>
                  <a:cubicBezTo>
                    <a:pt x="41988" y="249587"/>
                    <a:pt x="249507" y="42068"/>
                    <a:pt x="505494" y="42068"/>
                  </a:cubicBezTo>
                  <a:cubicBezTo>
                    <a:pt x="761481" y="42068"/>
                    <a:pt x="969000" y="249587"/>
                    <a:pt x="969000" y="505574"/>
                  </a:cubicBezTo>
                  <a:cubicBezTo>
                    <a:pt x="969000" y="761562"/>
                    <a:pt x="761481" y="969080"/>
                    <a:pt x="505494" y="969080"/>
                  </a:cubicBezTo>
                  <a:cubicBezTo>
                    <a:pt x="249622" y="968803"/>
                    <a:pt x="42266" y="761446"/>
                    <a:pt x="41988" y="505574"/>
                  </a:cubicBezTo>
                  <a:close/>
                  <a:moveTo>
                    <a:pt x="1184631" y="1164720"/>
                  </a:moveTo>
                  <a:cubicBezTo>
                    <a:pt x="1176835" y="1172499"/>
                    <a:pt x="1164214" y="1172499"/>
                    <a:pt x="1156418" y="1164720"/>
                  </a:cubicBezTo>
                  <a:lnTo>
                    <a:pt x="857235" y="865739"/>
                  </a:lnTo>
                  <a:cubicBezTo>
                    <a:pt x="866868" y="856334"/>
                    <a:pt x="876097" y="846553"/>
                    <a:pt x="884924" y="836397"/>
                  </a:cubicBezTo>
                  <a:lnTo>
                    <a:pt x="1184631" y="1136346"/>
                  </a:lnTo>
                  <a:cubicBezTo>
                    <a:pt x="1188483" y="1140028"/>
                    <a:pt x="1190667" y="1145123"/>
                    <a:pt x="1190677" y="1150452"/>
                  </a:cubicBezTo>
                  <a:cubicBezTo>
                    <a:pt x="1190683" y="1155832"/>
                    <a:pt x="1188500" y="1160982"/>
                    <a:pt x="1184631" y="1164720"/>
                  </a:cubicBezTo>
                  <a:close/>
                </a:path>
              </a:pathLst>
            </a:custGeom>
            <a:grpFill/>
            <a:ln w="200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262626"/>
                </a:solidFill>
                <a:effectLst/>
                <a:uLnTx/>
                <a:uFillTx/>
                <a:latin typeface="阿里巴巴普惠体 B"/>
                <a:ea typeface="阿里巴巴普惠体 R"/>
                <a:cs typeface="+mn-cs"/>
              </a:endParaRPr>
            </a:p>
          </p:txBody>
        </p:sp>
        <p:sp>
          <p:nvSpPr>
            <p:cNvPr id="168" name="任意多边形: 形状 167">
              <a:extLst>
                <a:ext uri="{FF2B5EF4-FFF2-40B4-BE49-F238E27FC236}">
                  <a16:creationId xmlns:a16="http://schemas.microsoft.com/office/drawing/2014/main" id="{2FAAE59E-0F67-407E-82E5-25401C3D63CC}"/>
                </a:ext>
              </a:extLst>
            </p:cNvPr>
            <p:cNvSpPr/>
            <p:nvPr/>
          </p:nvSpPr>
          <p:spPr>
            <a:xfrm>
              <a:off x="4705325" y="1609425"/>
              <a:ext cx="120914" cy="241826"/>
            </a:xfrm>
            <a:custGeom>
              <a:avLst/>
              <a:gdLst>
                <a:gd name="connsiteX0" fmla="*/ 20152 w 120914"/>
                <a:gd name="connsiteY0" fmla="*/ 241829 h 241829"/>
                <a:gd name="connsiteX1" fmla="*/ 100762 w 120914"/>
                <a:gd name="connsiteY1" fmla="*/ 241829 h 241829"/>
                <a:gd name="connsiteX2" fmla="*/ 120915 w 120914"/>
                <a:gd name="connsiteY2" fmla="*/ 221677 h 241829"/>
                <a:gd name="connsiteX3" fmla="*/ 120915 w 120914"/>
                <a:gd name="connsiteY3" fmla="*/ 20152 h 241829"/>
                <a:gd name="connsiteX4" fmla="*/ 100762 w 120914"/>
                <a:gd name="connsiteY4" fmla="*/ 0 h 241829"/>
                <a:gd name="connsiteX5" fmla="*/ 20152 w 120914"/>
                <a:gd name="connsiteY5" fmla="*/ 0 h 241829"/>
                <a:gd name="connsiteX6" fmla="*/ 0 w 120914"/>
                <a:gd name="connsiteY6" fmla="*/ 20152 h 241829"/>
                <a:gd name="connsiteX7" fmla="*/ 0 w 120914"/>
                <a:gd name="connsiteY7" fmla="*/ 221677 h 241829"/>
                <a:gd name="connsiteX8" fmla="*/ 20152 w 120914"/>
                <a:gd name="connsiteY8" fmla="*/ 241829 h 241829"/>
                <a:gd name="connsiteX9" fmla="*/ 40305 w 120914"/>
                <a:gd name="connsiteY9" fmla="*/ 40305 h 241829"/>
                <a:gd name="connsiteX10" fmla="*/ 80610 w 120914"/>
                <a:gd name="connsiteY10" fmla="*/ 40305 h 241829"/>
                <a:gd name="connsiteX11" fmla="*/ 80610 w 120914"/>
                <a:gd name="connsiteY11" fmla="*/ 201524 h 241829"/>
                <a:gd name="connsiteX12" fmla="*/ 40305 w 120914"/>
                <a:gd name="connsiteY12" fmla="*/ 201524 h 241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0914" h="241829">
                  <a:moveTo>
                    <a:pt x="20152" y="241829"/>
                  </a:moveTo>
                  <a:lnTo>
                    <a:pt x="100762" y="241829"/>
                  </a:lnTo>
                  <a:cubicBezTo>
                    <a:pt x="111892" y="241829"/>
                    <a:pt x="120915" y="232807"/>
                    <a:pt x="120915" y="221677"/>
                  </a:cubicBezTo>
                  <a:lnTo>
                    <a:pt x="120915" y="20152"/>
                  </a:lnTo>
                  <a:cubicBezTo>
                    <a:pt x="120915" y="9023"/>
                    <a:pt x="111892" y="0"/>
                    <a:pt x="100762" y="0"/>
                  </a:cubicBezTo>
                  <a:lnTo>
                    <a:pt x="20152" y="0"/>
                  </a:lnTo>
                  <a:cubicBezTo>
                    <a:pt x="9023" y="0"/>
                    <a:pt x="0" y="9023"/>
                    <a:pt x="0" y="20152"/>
                  </a:cubicBezTo>
                  <a:lnTo>
                    <a:pt x="0" y="221677"/>
                  </a:lnTo>
                  <a:cubicBezTo>
                    <a:pt x="0" y="232807"/>
                    <a:pt x="9023" y="241829"/>
                    <a:pt x="20152" y="241829"/>
                  </a:cubicBezTo>
                  <a:close/>
                  <a:moveTo>
                    <a:pt x="40305" y="40305"/>
                  </a:moveTo>
                  <a:lnTo>
                    <a:pt x="80610" y="40305"/>
                  </a:lnTo>
                  <a:lnTo>
                    <a:pt x="80610" y="201524"/>
                  </a:lnTo>
                  <a:lnTo>
                    <a:pt x="40305" y="201524"/>
                  </a:lnTo>
                  <a:close/>
                </a:path>
              </a:pathLst>
            </a:custGeom>
            <a:grpFill/>
            <a:ln w="200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262626"/>
                </a:solidFill>
                <a:effectLst/>
                <a:uLnTx/>
                <a:uFillTx/>
                <a:latin typeface="阿里巴巴普惠体 B"/>
                <a:ea typeface="阿里巴巴普惠体 R"/>
                <a:cs typeface="+mn-cs"/>
              </a:endParaRPr>
            </a:p>
          </p:txBody>
        </p:sp>
        <p:sp>
          <p:nvSpPr>
            <p:cNvPr id="169" name="任意多边形: 形状 168">
              <a:extLst>
                <a:ext uri="{FF2B5EF4-FFF2-40B4-BE49-F238E27FC236}">
                  <a16:creationId xmlns:a16="http://schemas.microsoft.com/office/drawing/2014/main" id="{0C31CD06-60F5-4D1F-AB7A-6555ED7DEBC8}"/>
                </a:ext>
              </a:extLst>
            </p:cNvPr>
            <p:cNvSpPr/>
            <p:nvPr/>
          </p:nvSpPr>
          <p:spPr>
            <a:xfrm>
              <a:off x="4866547" y="1569120"/>
              <a:ext cx="120914" cy="282132"/>
            </a:xfrm>
            <a:custGeom>
              <a:avLst/>
              <a:gdLst>
                <a:gd name="connsiteX0" fmla="*/ 20152 w 120914"/>
                <a:gd name="connsiteY0" fmla="*/ 282134 h 282134"/>
                <a:gd name="connsiteX1" fmla="*/ 100762 w 120914"/>
                <a:gd name="connsiteY1" fmla="*/ 282134 h 282134"/>
                <a:gd name="connsiteX2" fmla="*/ 120915 w 120914"/>
                <a:gd name="connsiteY2" fmla="*/ 261982 h 282134"/>
                <a:gd name="connsiteX3" fmla="*/ 120915 w 120914"/>
                <a:gd name="connsiteY3" fmla="*/ 20152 h 282134"/>
                <a:gd name="connsiteX4" fmla="*/ 100762 w 120914"/>
                <a:gd name="connsiteY4" fmla="*/ 0 h 282134"/>
                <a:gd name="connsiteX5" fmla="*/ 20152 w 120914"/>
                <a:gd name="connsiteY5" fmla="*/ 0 h 282134"/>
                <a:gd name="connsiteX6" fmla="*/ 0 w 120914"/>
                <a:gd name="connsiteY6" fmla="*/ 20152 h 282134"/>
                <a:gd name="connsiteX7" fmla="*/ 0 w 120914"/>
                <a:gd name="connsiteY7" fmla="*/ 261982 h 282134"/>
                <a:gd name="connsiteX8" fmla="*/ 20152 w 120914"/>
                <a:gd name="connsiteY8" fmla="*/ 282134 h 282134"/>
                <a:gd name="connsiteX9" fmla="*/ 40305 w 120914"/>
                <a:gd name="connsiteY9" fmla="*/ 40305 h 282134"/>
                <a:gd name="connsiteX10" fmla="*/ 80610 w 120914"/>
                <a:gd name="connsiteY10" fmla="*/ 40305 h 282134"/>
                <a:gd name="connsiteX11" fmla="*/ 80610 w 120914"/>
                <a:gd name="connsiteY11" fmla="*/ 241829 h 282134"/>
                <a:gd name="connsiteX12" fmla="*/ 40305 w 120914"/>
                <a:gd name="connsiteY12" fmla="*/ 241829 h 282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0914" h="282134">
                  <a:moveTo>
                    <a:pt x="20152" y="282134"/>
                  </a:moveTo>
                  <a:lnTo>
                    <a:pt x="100762" y="282134"/>
                  </a:lnTo>
                  <a:cubicBezTo>
                    <a:pt x="111892" y="282134"/>
                    <a:pt x="120915" y="273112"/>
                    <a:pt x="120915" y="261982"/>
                  </a:cubicBezTo>
                  <a:lnTo>
                    <a:pt x="120915" y="20152"/>
                  </a:lnTo>
                  <a:cubicBezTo>
                    <a:pt x="120915" y="9023"/>
                    <a:pt x="111892" y="0"/>
                    <a:pt x="100762" y="0"/>
                  </a:cubicBezTo>
                  <a:lnTo>
                    <a:pt x="20152" y="0"/>
                  </a:lnTo>
                  <a:cubicBezTo>
                    <a:pt x="9023" y="0"/>
                    <a:pt x="0" y="9023"/>
                    <a:pt x="0" y="20152"/>
                  </a:cubicBezTo>
                  <a:lnTo>
                    <a:pt x="0" y="261982"/>
                  </a:lnTo>
                  <a:cubicBezTo>
                    <a:pt x="0" y="273112"/>
                    <a:pt x="9023" y="282134"/>
                    <a:pt x="20152" y="282134"/>
                  </a:cubicBezTo>
                  <a:close/>
                  <a:moveTo>
                    <a:pt x="40305" y="40305"/>
                  </a:moveTo>
                  <a:lnTo>
                    <a:pt x="80610" y="40305"/>
                  </a:lnTo>
                  <a:lnTo>
                    <a:pt x="80610" y="241829"/>
                  </a:lnTo>
                  <a:lnTo>
                    <a:pt x="40305" y="241829"/>
                  </a:lnTo>
                  <a:close/>
                </a:path>
              </a:pathLst>
            </a:custGeom>
            <a:grpFill/>
            <a:ln w="200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262626"/>
                </a:solidFill>
                <a:effectLst/>
                <a:uLnTx/>
                <a:uFillTx/>
                <a:latin typeface="阿里巴巴普惠体 B"/>
                <a:ea typeface="阿里巴巴普惠体 R"/>
                <a:cs typeface="+mn-cs"/>
              </a:endParaRPr>
            </a:p>
          </p:txBody>
        </p:sp>
        <p:sp>
          <p:nvSpPr>
            <p:cNvPr id="170" name="任意多边形: 形状 169">
              <a:extLst>
                <a:ext uri="{FF2B5EF4-FFF2-40B4-BE49-F238E27FC236}">
                  <a16:creationId xmlns:a16="http://schemas.microsoft.com/office/drawing/2014/main" id="{67B831AD-A14B-4881-A6BE-E715FFB70FB8}"/>
                </a:ext>
              </a:extLst>
            </p:cNvPr>
            <p:cNvSpPr/>
            <p:nvPr/>
          </p:nvSpPr>
          <p:spPr>
            <a:xfrm>
              <a:off x="5027765" y="1528814"/>
              <a:ext cx="120914" cy="322437"/>
            </a:xfrm>
            <a:custGeom>
              <a:avLst/>
              <a:gdLst>
                <a:gd name="connsiteX0" fmla="*/ 100762 w 120914"/>
                <a:gd name="connsiteY0" fmla="*/ 0 h 322439"/>
                <a:gd name="connsiteX1" fmla="*/ 20152 w 120914"/>
                <a:gd name="connsiteY1" fmla="*/ 0 h 322439"/>
                <a:gd name="connsiteX2" fmla="*/ 0 w 120914"/>
                <a:gd name="connsiteY2" fmla="*/ 20152 h 322439"/>
                <a:gd name="connsiteX3" fmla="*/ 0 w 120914"/>
                <a:gd name="connsiteY3" fmla="*/ 302287 h 322439"/>
                <a:gd name="connsiteX4" fmla="*/ 20152 w 120914"/>
                <a:gd name="connsiteY4" fmla="*/ 322439 h 322439"/>
                <a:gd name="connsiteX5" fmla="*/ 100762 w 120914"/>
                <a:gd name="connsiteY5" fmla="*/ 322439 h 322439"/>
                <a:gd name="connsiteX6" fmla="*/ 120915 w 120914"/>
                <a:gd name="connsiteY6" fmla="*/ 302287 h 322439"/>
                <a:gd name="connsiteX7" fmla="*/ 120915 w 120914"/>
                <a:gd name="connsiteY7" fmla="*/ 20152 h 322439"/>
                <a:gd name="connsiteX8" fmla="*/ 100762 w 120914"/>
                <a:gd name="connsiteY8" fmla="*/ 0 h 322439"/>
                <a:gd name="connsiteX9" fmla="*/ 80610 w 120914"/>
                <a:gd name="connsiteY9" fmla="*/ 282134 h 322439"/>
                <a:gd name="connsiteX10" fmla="*/ 40305 w 120914"/>
                <a:gd name="connsiteY10" fmla="*/ 282134 h 322439"/>
                <a:gd name="connsiteX11" fmla="*/ 40305 w 120914"/>
                <a:gd name="connsiteY11" fmla="*/ 40305 h 322439"/>
                <a:gd name="connsiteX12" fmla="*/ 80610 w 120914"/>
                <a:gd name="connsiteY12" fmla="*/ 40305 h 322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0914" h="322439">
                  <a:moveTo>
                    <a:pt x="100762" y="0"/>
                  </a:moveTo>
                  <a:lnTo>
                    <a:pt x="20152" y="0"/>
                  </a:lnTo>
                  <a:cubicBezTo>
                    <a:pt x="9023" y="0"/>
                    <a:pt x="0" y="9023"/>
                    <a:pt x="0" y="20152"/>
                  </a:cubicBezTo>
                  <a:lnTo>
                    <a:pt x="0" y="302287"/>
                  </a:lnTo>
                  <a:cubicBezTo>
                    <a:pt x="0" y="313416"/>
                    <a:pt x="9023" y="322439"/>
                    <a:pt x="20152" y="322439"/>
                  </a:cubicBezTo>
                  <a:lnTo>
                    <a:pt x="100762" y="322439"/>
                  </a:lnTo>
                  <a:cubicBezTo>
                    <a:pt x="111892" y="322439"/>
                    <a:pt x="120915" y="313416"/>
                    <a:pt x="120915" y="302287"/>
                  </a:cubicBezTo>
                  <a:lnTo>
                    <a:pt x="120915" y="20152"/>
                  </a:lnTo>
                  <a:cubicBezTo>
                    <a:pt x="120915" y="9023"/>
                    <a:pt x="111892" y="0"/>
                    <a:pt x="100762" y="0"/>
                  </a:cubicBezTo>
                  <a:close/>
                  <a:moveTo>
                    <a:pt x="80610" y="282134"/>
                  </a:moveTo>
                  <a:lnTo>
                    <a:pt x="40305" y="282134"/>
                  </a:lnTo>
                  <a:lnTo>
                    <a:pt x="40305" y="40305"/>
                  </a:lnTo>
                  <a:lnTo>
                    <a:pt x="80610" y="40305"/>
                  </a:lnTo>
                  <a:close/>
                </a:path>
              </a:pathLst>
            </a:custGeom>
            <a:grpFill/>
            <a:ln w="200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262626"/>
                </a:solidFill>
                <a:effectLst/>
                <a:uLnTx/>
                <a:uFillTx/>
                <a:latin typeface="阿里巴巴普惠体 B"/>
                <a:ea typeface="阿里巴巴普惠体 R"/>
                <a:cs typeface="+mn-cs"/>
              </a:endParaRPr>
            </a:p>
          </p:txBody>
        </p:sp>
        <p:sp>
          <p:nvSpPr>
            <p:cNvPr id="171" name="任意多边形: 形状 170">
              <a:extLst>
                <a:ext uri="{FF2B5EF4-FFF2-40B4-BE49-F238E27FC236}">
                  <a16:creationId xmlns:a16="http://schemas.microsoft.com/office/drawing/2014/main" id="{32542F83-5FF3-4A19-9C03-E39A93D1CE7C}"/>
                </a:ext>
              </a:extLst>
            </p:cNvPr>
            <p:cNvSpPr/>
            <p:nvPr/>
          </p:nvSpPr>
          <p:spPr>
            <a:xfrm>
              <a:off x="5295651" y="1246683"/>
              <a:ext cx="135162" cy="94856"/>
            </a:xfrm>
            <a:custGeom>
              <a:avLst/>
              <a:gdLst>
                <a:gd name="connsiteX0" fmla="*/ 83048 w 135162"/>
                <a:gd name="connsiteY0" fmla="*/ 40305 h 94857"/>
                <a:gd name="connsiteX1" fmla="*/ 135162 w 135162"/>
                <a:gd name="connsiteY1" fmla="*/ 40305 h 94857"/>
                <a:gd name="connsiteX2" fmla="*/ 135162 w 135162"/>
                <a:gd name="connsiteY2" fmla="*/ 0 h 94857"/>
                <a:gd name="connsiteX3" fmla="*/ 74705 w 135162"/>
                <a:gd name="connsiteY3" fmla="*/ 0 h 94857"/>
                <a:gd name="connsiteX4" fmla="*/ 60457 w 135162"/>
                <a:gd name="connsiteY4" fmla="*/ 5905 h 94857"/>
                <a:gd name="connsiteX5" fmla="*/ 0 w 135162"/>
                <a:gd name="connsiteY5" fmla="*/ 66362 h 94857"/>
                <a:gd name="connsiteX6" fmla="*/ 28496 w 135162"/>
                <a:gd name="connsiteY6" fmla="*/ 94858 h 948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5162" h="94857">
                  <a:moveTo>
                    <a:pt x="83048" y="40305"/>
                  </a:moveTo>
                  <a:lnTo>
                    <a:pt x="135162" y="40305"/>
                  </a:lnTo>
                  <a:lnTo>
                    <a:pt x="135162" y="0"/>
                  </a:lnTo>
                  <a:lnTo>
                    <a:pt x="74705" y="0"/>
                  </a:lnTo>
                  <a:cubicBezTo>
                    <a:pt x="69361" y="1"/>
                    <a:pt x="64236" y="2125"/>
                    <a:pt x="60457" y="5905"/>
                  </a:cubicBezTo>
                  <a:lnTo>
                    <a:pt x="0" y="66362"/>
                  </a:lnTo>
                  <a:lnTo>
                    <a:pt x="28496" y="94858"/>
                  </a:lnTo>
                  <a:close/>
                </a:path>
              </a:pathLst>
            </a:custGeom>
            <a:grpFill/>
            <a:ln w="200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262626"/>
                </a:solidFill>
                <a:effectLst/>
                <a:uLnTx/>
                <a:uFillTx/>
                <a:latin typeface="阿里巴巴普惠体 B"/>
                <a:ea typeface="阿里巴巴普惠体 R"/>
                <a:cs typeface="+mn-cs"/>
              </a:endParaRPr>
            </a:p>
          </p:txBody>
        </p:sp>
        <p:sp>
          <p:nvSpPr>
            <p:cNvPr id="172" name="任意多边形: 形状 171">
              <a:extLst>
                <a:ext uri="{FF2B5EF4-FFF2-40B4-BE49-F238E27FC236}">
                  <a16:creationId xmlns:a16="http://schemas.microsoft.com/office/drawing/2014/main" id="{3E507D31-3B72-44EF-B36D-E838D3409027}"/>
                </a:ext>
              </a:extLst>
            </p:cNvPr>
            <p:cNvSpPr/>
            <p:nvPr/>
          </p:nvSpPr>
          <p:spPr>
            <a:xfrm>
              <a:off x="5471119" y="1246683"/>
              <a:ext cx="181371" cy="40303"/>
            </a:xfrm>
            <a:custGeom>
              <a:avLst/>
              <a:gdLst>
                <a:gd name="connsiteX0" fmla="*/ 0 w 181371"/>
                <a:gd name="connsiteY0" fmla="*/ 0 h 40304"/>
                <a:gd name="connsiteX1" fmla="*/ 181372 w 181371"/>
                <a:gd name="connsiteY1" fmla="*/ 0 h 40304"/>
                <a:gd name="connsiteX2" fmla="*/ 181372 w 181371"/>
                <a:gd name="connsiteY2" fmla="*/ 40305 h 40304"/>
                <a:gd name="connsiteX3" fmla="*/ 0 w 181371"/>
                <a:gd name="connsiteY3" fmla="*/ 40305 h 40304"/>
              </a:gdLst>
              <a:ahLst/>
              <a:cxnLst>
                <a:cxn ang="0">
                  <a:pos x="connsiteX0" y="connsiteY0"/>
                </a:cxn>
                <a:cxn ang="0">
                  <a:pos x="connsiteX1" y="connsiteY1"/>
                </a:cxn>
                <a:cxn ang="0">
                  <a:pos x="connsiteX2" y="connsiteY2"/>
                </a:cxn>
                <a:cxn ang="0">
                  <a:pos x="connsiteX3" y="connsiteY3"/>
                </a:cxn>
              </a:cxnLst>
              <a:rect l="l" t="t" r="r" b="b"/>
              <a:pathLst>
                <a:path w="181371" h="40304">
                  <a:moveTo>
                    <a:pt x="0" y="0"/>
                  </a:moveTo>
                  <a:lnTo>
                    <a:pt x="181372" y="0"/>
                  </a:lnTo>
                  <a:lnTo>
                    <a:pt x="181372" y="40305"/>
                  </a:lnTo>
                  <a:lnTo>
                    <a:pt x="0" y="40305"/>
                  </a:lnTo>
                  <a:close/>
                </a:path>
              </a:pathLst>
            </a:custGeom>
            <a:grpFill/>
            <a:ln w="200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262626"/>
                </a:solidFill>
                <a:effectLst/>
                <a:uLnTx/>
                <a:uFillTx/>
                <a:latin typeface="阿里巴巴普惠体 B"/>
                <a:ea typeface="阿里巴巴普惠体 R"/>
                <a:cs typeface="+mn-cs"/>
              </a:endParaRPr>
            </a:p>
          </p:txBody>
        </p:sp>
        <p:sp>
          <p:nvSpPr>
            <p:cNvPr id="173" name="任意多边形: 形状 172">
              <a:extLst>
                <a:ext uri="{FF2B5EF4-FFF2-40B4-BE49-F238E27FC236}">
                  <a16:creationId xmlns:a16="http://schemas.microsoft.com/office/drawing/2014/main" id="{A4044067-0191-466A-956C-691A3BB073BC}"/>
                </a:ext>
              </a:extLst>
            </p:cNvPr>
            <p:cNvSpPr/>
            <p:nvPr/>
          </p:nvSpPr>
          <p:spPr>
            <a:xfrm>
              <a:off x="5471119" y="1327293"/>
              <a:ext cx="40303" cy="40303"/>
            </a:xfrm>
            <a:custGeom>
              <a:avLst/>
              <a:gdLst>
                <a:gd name="connsiteX0" fmla="*/ 0 w 40304"/>
                <a:gd name="connsiteY0" fmla="*/ 0 h 40304"/>
                <a:gd name="connsiteX1" fmla="*/ 40305 w 40304"/>
                <a:gd name="connsiteY1" fmla="*/ 0 h 40304"/>
                <a:gd name="connsiteX2" fmla="*/ 40305 w 40304"/>
                <a:gd name="connsiteY2" fmla="*/ 40305 h 40304"/>
                <a:gd name="connsiteX3" fmla="*/ 0 w 40304"/>
                <a:gd name="connsiteY3" fmla="*/ 40305 h 40304"/>
              </a:gdLst>
              <a:ahLst/>
              <a:cxnLst>
                <a:cxn ang="0">
                  <a:pos x="connsiteX0" y="connsiteY0"/>
                </a:cxn>
                <a:cxn ang="0">
                  <a:pos x="connsiteX1" y="connsiteY1"/>
                </a:cxn>
                <a:cxn ang="0">
                  <a:pos x="connsiteX2" y="connsiteY2"/>
                </a:cxn>
                <a:cxn ang="0">
                  <a:pos x="connsiteX3" y="connsiteY3"/>
                </a:cxn>
              </a:cxnLst>
              <a:rect l="l" t="t" r="r" b="b"/>
              <a:pathLst>
                <a:path w="40304" h="40304">
                  <a:moveTo>
                    <a:pt x="0" y="0"/>
                  </a:moveTo>
                  <a:lnTo>
                    <a:pt x="40305" y="0"/>
                  </a:lnTo>
                  <a:lnTo>
                    <a:pt x="40305" y="40305"/>
                  </a:lnTo>
                  <a:lnTo>
                    <a:pt x="0" y="40305"/>
                  </a:lnTo>
                  <a:close/>
                </a:path>
              </a:pathLst>
            </a:custGeom>
            <a:grpFill/>
            <a:ln w="200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262626"/>
                </a:solidFill>
                <a:effectLst/>
                <a:uLnTx/>
                <a:uFillTx/>
                <a:latin typeface="阿里巴巴普惠体 B"/>
                <a:ea typeface="阿里巴巴普惠体 R"/>
                <a:cs typeface="+mn-cs"/>
              </a:endParaRPr>
            </a:p>
          </p:txBody>
        </p:sp>
        <p:sp>
          <p:nvSpPr>
            <p:cNvPr id="174" name="任意多边形: 形状 173">
              <a:extLst>
                <a:ext uri="{FF2B5EF4-FFF2-40B4-BE49-F238E27FC236}">
                  <a16:creationId xmlns:a16="http://schemas.microsoft.com/office/drawing/2014/main" id="{B4664D06-E7B9-4DB3-9F8C-1E6E96186076}"/>
                </a:ext>
              </a:extLst>
            </p:cNvPr>
            <p:cNvSpPr/>
            <p:nvPr/>
          </p:nvSpPr>
          <p:spPr>
            <a:xfrm>
              <a:off x="5551727" y="1327293"/>
              <a:ext cx="100763" cy="40303"/>
            </a:xfrm>
            <a:custGeom>
              <a:avLst/>
              <a:gdLst>
                <a:gd name="connsiteX0" fmla="*/ 0 w 100762"/>
                <a:gd name="connsiteY0" fmla="*/ 0 h 40304"/>
                <a:gd name="connsiteX1" fmla="*/ 100762 w 100762"/>
                <a:gd name="connsiteY1" fmla="*/ 0 h 40304"/>
                <a:gd name="connsiteX2" fmla="*/ 100762 w 100762"/>
                <a:gd name="connsiteY2" fmla="*/ 40305 h 40304"/>
                <a:gd name="connsiteX3" fmla="*/ 0 w 100762"/>
                <a:gd name="connsiteY3" fmla="*/ 40305 h 40304"/>
              </a:gdLst>
              <a:ahLst/>
              <a:cxnLst>
                <a:cxn ang="0">
                  <a:pos x="connsiteX0" y="connsiteY0"/>
                </a:cxn>
                <a:cxn ang="0">
                  <a:pos x="connsiteX1" y="connsiteY1"/>
                </a:cxn>
                <a:cxn ang="0">
                  <a:pos x="connsiteX2" y="connsiteY2"/>
                </a:cxn>
                <a:cxn ang="0">
                  <a:pos x="connsiteX3" y="connsiteY3"/>
                </a:cxn>
              </a:cxnLst>
              <a:rect l="l" t="t" r="r" b="b"/>
              <a:pathLst>
                <a:path w="100762" h="40304">
                  <a:moveTo>
                    <a:pt x="0" y="0"/>
                  </a:moveTo>
                  <a:lnTo>
                    <a:pt x="100762" y="0"/>
                  </a:lnTo>
                  <a:lnTo>
                    <a:pt x="100762" y="40305"/>
                  </a:lnTo>
                  <a:lnTo>
                    <a:pt x="0" y="40305"/>
                  </a:lnTo>
                  <a:close/>
                </a:path>
              </a:pathLst>
            </a:custGeom>
            <a:grpFill/>
            <a:ln w="200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262626"/>
                </a:solidFill>
                <a:effectLst/>
                <a:uLnTx/>
                <a:uFillTx/>
                <a:latin typeface="阿里巴巴普惠体 B"/>
                <a:ea typeface="阿里巴巴普惠体 R"/>
                <a:cs typeface="+mn-cs"/>
              </a:endParaRPr>
            </a:p>
          </p:txBody>
        </p:sp>
        <p:sp>
          <p:nvSpPr>
            <p:cNvPr id="175" name="任意多边形: 形状 174">
              <a:extLst>
                <a:ext uri="{FF2B5EF4-FFF2-40B4-BE49-F238E27FC236}">
                  <a16:creationId xmlns:a16="http://schemas.microsoft.com/office/drawing/2014/main" id="{2CB8731A-410A-46CB-BD81-FF2B1194746D}"/>
                </a:ext>
              </a:extLst>
            </p:cNvPr>
            <p:cNvSpPr/>
            <p:nvPr/>
          </p:nvSpPr>
          <p:spPr>
            <a:xfrm>
              <a:off x="5471119" y="1407903"/>
              <a:ext cx="181371" cy="40303"/>
            </a:xfrm>
            <a:custGeom>
              <a:avLst/>
              <a:gdLst>
                <a:gd name="connsiteX0" fmla="*/ 0 w 181371"/>
                <a:gd name="connsiteY0" fmla="*/ 0 h 40304"/>
                <a:gd name="connsiteX1" fmla="*/ 181372 w 181371"/>
                <a:gd name="connsiteY1" fmla="*/ 0 h 40304"/>
                <a:gd name="connsiteX2" fmla="*/ 181372 w 181371"/>
                <a:gd name="connsiteY2" fmla="*/ 40305 h 40304"/>
                <a:gd name="connsiteX3" fmla="*/ 0 w 181371"/>
                <a:gd name="connsiteY3" fmla="*/ 40305 h 40304"/>
              </a:gdLst>
              <a:ahLst/>
              <a:cxnLst>
                <a:cxn ang="0">
                  <a:pos x="connsiteX0" y="connsiteY0"/>
                </a:cxn>
                <a:cxn ang="0">
                  <a:pos x="connsiteX1" y="connsiteY1"/>
                </a:cxn>
                <a:cxn ang="0">
                  <a:pos x="connsiteX2" y="connsiteY2"/>
                </a:cxn>
                <a:cxn ang="0">
                  <a:pos x="connsiteX3" y="connsiteY3"/>
                </a:cxn>
              </a:cxnLst>
              <a:rect l="l" t="t" r="r" b="b"/>
              <a:pathLst>
                <a:path w="181371" h="40304">
                  <a:moveTo>
                    <a:pt x="0" y="0"/>
                  </a:moveTo>
                  <a:lnTo>
                    <a:pt x="181372" y="0"/>
                  </a:lnTo>
                  <a:lnTo>
                    <a:pt x="181372" y="40305"/>
                  </a:lnTo>
                  <a:lnTo>
                    <a:pt x="0" y="40305"/>
                  </a:lnTo>
                  <a:close/>
                </a:path>
              </a:pathLst>
            </a:custGeom>
            <a:grpFill/>
            <a:ln w="200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262626"/>
                </a:solidFill>
                <a:effectLst/>
                <a:uLnTx/>
                <a:uFillTx/>
                <a:latin typeface="阿里巴巴普惠体 B"/>
                <a:ea typeface="阿里巴巴普惠体 R"/>
                <a:cs typeface="+mn-cs"/>
              </a:endParaRPr>
            </a:p>
          </p:txBody>
        </p:sp>
        <p:sp>
          <p:nvSpPr>
            <p:cNvPr id="176" name="任意多边形: 形状 175">
              <a:extLst>
                <a:ext uri="{FF2B5EF4-FFF2-40B4-BE49-F238E27FC236}">
                  <a16:creationId xmlns:a16="http://schemas.microsoft.com/office/drawing/2014/main" id="{49204083-D4B2-4C6B-8796-BEC2F8EE9949}"/>
                </a:ext>
              </a:extLst>
            </p:cNvPr>
            <p:cNvSpPr/>
            <p:nvPr/>
          </p:nvSpPr>
          <p:spPr>
            <a:xfrm>
              <a:off x="4665022" y="2280353"/>
              <a:ext cx="135162" cy="94856"/>
            </a:xfrm>
            <a:custGeom>
              <a:avLst/>
              <a:gdLst>
                <a:gd name="connsiteX0" fmla="*/ 52114 w 135162"/>
                <a:gd name="connsiteY0" fmla="*/ 54553 h 94857"/>
                <a:gd name="connsiteX1" fmla="*/ 0 w 135162"/>
                <a:gd name="connsiteY1" fmla="*/ 54553 h 94857"/>
                <a:gd name="connsiteX2" fmla="*/ 0 w 135162"/>
                <a:gd name="connsiteY2" fmla="*/ 94858 h 94857"/>
                <a:gd name="connsiteX3" fmla="*/ 60457 w 135162"/>
                <a:gd name="connsiteY3" fmla="*/ 94858 h 94857"/>
                <a:gd name="connsiteX4" fmla="*/ 74705 w 135162"/>
                <a:gd name="connsiteY4" fmla="*/ 88953 h 94857"/>
                <a:gd name="connsiteX5" fmla="*/ 135162 w 135162"/>
                <a:gd name="connsiteY5" fmla="*/ 28496 h 94857"/>
                <a:gd name="connsiteX6" fmla="*/ 106667 w 135162"/>
                <a:gd name="connsiteY6" fmla="*/ 0 h 948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5162" h="94857">
                  <a:moveTo>
                    <a:pt x="52114" y="54553"/>
                  </a:moveTo>
                  <a:lnTo>
                    <a:pt x="0" y="54553"/>
                  </a:lnTo>
                  <a:lnTo>
                    <a:pt x="0" y="94858"/>
                  </a:lnTo>
                  <a:lnTo>
                    <a:pt x="60457" y="94858"/>
                  </a:lnTo>
                  <a:cubicBezTo>
                    <a:pt x="65802" y="94856"/>
                    <a:pt x="70927" y="92732"/>
                    <a:pt x="74705" y="88953"/>
                  </a:cubicBezTo>
                  <a:lnTo>
                    <a:pt x="135162" y="28496"/>
                  </a:lnTo>
                  <a:lnTo>
                    <a:pt x="106667" y="0"/>
                  </a:lnTo>
                  <a:close/>
                </a:path>
              </a:pathLst>
            </a:custGeom>
            <a:grpFill/>
            <a:ln w="200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262626"/>
                </a:solidFill>
                <a:effectLst/>
                <a:uLnTx/>
                <a:uFillTx/>
                <a:latin typeface="阿里巴巴普惠体 B"/>
                <a:ea typeface="阿里巴巴普惠体 R"/>
                <a:cs typeface="+mn-cs"/>
              </a:endParaRPr>
            </a:p>
          </p:txBody>
        </p:sp>
        <p:sp>
          <p:nvSpPr>
            <p:cNvPr id="177" name="任意多边形: 形状 176">
              <a:extLst>
                <a:ext uri="{FF2B5EF4-FFF2-40B4-BE49-F238E27FC236}">
                  <a16:creationId xmlns:a16="http://schemas.microsoft.com/office/drawing/2014/main" id="{694C5886-1DF1-45A5-99FE-2CE42D0E59CD}"/>
                </a:ext>
              </a:extLst>
            </p:cNvPr>
            <p:cNvSpPr/>
            <p:nvPr/>
          </p:nvSpPr>
          <p:spPr>
            <a:xfrm>
              <a:off x="4443345" y="2334906"/>
              <a:ext cx="181371" cy="40303"/>
            </a:xfrm>
            <a:custGeom>
              <a:avLst/>
              <a:gdLst>
                <a:gd name="connsiteX0" fmla="*/ 0 w 181371"/>
                <a:gd name="connsiteY0" fmla="*/ 0 h 40304"/>
                <a:gd name="connsiteX1" fmla="*/ 181372 w 181371"/>
                <a:gd name="connsiteY1" fmla="*/ 0 h 40304"/>
                <a:gd name="connsiteX2" fmla="*/ 181372 w 181371"/>
                <a:gd name="connsiteY2" fmla="*/ 40305 h 40304"/>
                <a:gd name="connsiteX3" fmla="*/ 0 w 181371"/>
                <a:gd name="connsiteY3" fmla="*/ 40305 h 40304"/>
              </a:gdLst>
              <a:ahLst/>
              <a:cxnLst>
                <a:cxn ang="0">
                  <a:pos x="connsiteX0" y="connsiteY0"/>
                </a:cxn>
                <a:cxn ang="0">
                  <a:pos x="connsiteX1" y="connsiteY1"/>
                </a:cxn>
                <a:cxn ang="0">
                  <a:pos x="connsiteX2" y="connsiteY2"/>
                </a:cxn>
                <a:cxn ang="0">
                  <a:pos x="connsiteX3" y="connsiteY3"/>
                </a:cxn>
              </a:cxnLst>
              <a:rect l="l" t="t" r="r" b="b"/>
              <a:pathLst>
                <a:path w="181371" h="40304">
                  <a:moveTo>
                    <a:pt x="0" y="0"/>
                  </a:moveTo>
                  <a:lnTo>
                    <a:pt x="181372" y="0"/>
                  </a:lnTo>
                  <a:lnTo>
                    <a:pt x="181372" y="40305"/>
                  </a:lnTo>
                  <a:lnTo>
                    <a:pt x="0" y="40305"/>
                  </a:lnTo>
                  <a:close/>
                </a:path>
              </a:pathLst>
            </a:custGeom>
            <a:grpFill/>
            <a:ln w="200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262626"/>
                </a:solidFill>
                <a:effectLst/>
                <a:uLnTx/>
                <a:uFillTx/>
                <a:latin typeface="阿里巴巴普惠体 B"/>
                <a:ea typeface="阿里巴巴普惠体 R"/>
                <a:cs typeface="+mn-cs"/>
              </a:endParaRPr>
            </a:p>
          </p:txBody>
        </p:sp>
        <p:sp>
          <p:nvSpPr>
            <p:cNvPr id="178" name="任意多边形: 形状 177">
              <a:extLst>
                <a:ext uri="{FF2B5EF4-FFF2-40B4-BE49-F238E27FC236}">
                  <a16:creationId xmlns:a16="http://schemas.microsoft.com/office/drawing/2014/main" id="{3C24DE3A-A4B2-429F-872A-6564156E3637}"/>
                </a:ext>
              </a:extLst>
            </p:cNvPr>
            <p:cNvSpPr/>
            <p:nvPr/>
          </p:nvSpPr>
          <p:spPr>
            <a:xfrm>
              <a:off x="4584411" y="2254296"/>
              <a:ext cx="40303" cy="40303"/>
            </a:xfrm>
            <a:custGeom>
              <a:avLst/>
              <a:gdLst>
                <a:gd name="connsiteX0" fmla="*/ 0 w 40304"/>
                <a:gd name="connsiteY0" fmla="*/ 0 h 40304"/>
                <a:gd name="connsiteX1" fmla="*/ 40305 w 40304"/>
                <a:gd name="connsiteY1" fmla="*/ 0 h 40304"/>
                <a:gd name="connsiteX2" fmla="*/ 40305 w 40304"/>
                <a:gd name="connsiteY2" fmla="*/ 40305 h 40304"/>
                <a:gd name="connsiteX3" fmla="*/ 0 w 40304"/>
                <a:gd name="connsiteY3" fmla="*/ 40305 h 40304"/>
              </a:gdLst>
              <a:ahLst/>
              <a:cxnLst>
                <a:cxn ang="0">
                  <a:pos x="connsiteX0" y="connsiteY0"/>
                </a:cxn>
                <a:cxn ang="0">
                  <a:pos x="connsiteX1" y="connsiteY1"/>
                </a:cxn>
                <a:cxn ang="0">
                  <a:pos x="connsiteX2" y="connsiteY2"/>
                </a:cxn>
                <a:cxn ang="0">
                  <a:pos x="connsiteX3" y="connsiteY3"/>
                </a:cxn>
              </a:cxnLst>
              <a:rect l="l" t="t" r="r" b="b"/>
              <a:pathLst>
                <a:path w="40304" h="40304">
                  <a:moveTo>
                    <a:pt x="0" y="0"/>
                  </a:moveTo>
                  <a:lnTo>
                    <a:pt x="40305" y="0"/>
                  </a:lnTo>
                  <a:lnTo>
                    <a:pt x="40305" y="40305"/>
                  </a:lnTo>
                  <a:lnTo>
                    <a:pt x="0" y="40305"/>
                  </a:lnTo>
                  <a:close/>
                </a:path>
              </a:pathLst>
            </a:custGeom>
            <a:grpFill/>
            <a:ln w="200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262626"/>
                </a:solidFill>
                <a:effectLst/>
                <a:uLnTx/>
                <a:uFillTx/>
                <a:latin typeface="阿里巴巴普惠体 B"/>
                <a:ea typeface="阿里巴巴普惠体 R"/>
                <a:cs typeface="+mn-cs"/>
              </a:endParaRPr>
            </a:p>
          </p:txBody>
        </p:sp>
        <p:sp>
          <p:nvSpPr>
            <p:cNvPr id="179" name="任意多边形: 形状 178">
              <a:extLst>
                <a:ext uri="{FF2B5EF4-FFF2-40B4-BE49-F238E27FC236}">
                  <a16:creationId xmlns:a16="http://schemas.microsoft.com/office/drawing/2014/main" id="{06BF5B40-6E19-4793-A45F-D4DD020388DB}"/>
                </a:ext>
              </a:extLst>
            </p:cNvPr>
            <p:cNvSpPr/>
            <p:nvPr/>
          </p:nvSpPr>
          <p:spPr>
            <a:xfrm>
              <a:off x="4443345" y="2254298"/>
              <a:ext cx="100763" cy="40303"/>
            </a:xfrm>
            <a:custGeom>
              <a:avLst/>
              <a:gdLst>
                <a:gd name="connsiteX0" fmla="*/ 0 w 100762"/>
                <a:gd name="connsiteY0" fmla="*/ 0 h 40304"/>
                <a:gd name="connsiteX1" fmla="*/ 100762 w 100762"/>
                <a:gd name="connsiteY1" fmla="*/ 0 h 40304"/>
                <a:gd name="connsiteX2" fmla="*/ 100762 w 100762"/>
                <a:gd name="connsiteY2" fmla="*/ 40305 h 40304"/>
                <a:gd name="connsiteX3" fmla="*/ 0 w 100762"/>
                <a:gd name="connsiteY3" fmla="*/ 40305 h 40304"/>
              </a:gdLst>
              <a:ahLst/>
              <a:cxnLst>
                <a:cxn ang="0">
                  <a:pos x="connsiteX0" y="connsiteY0"/>
                </a:cxn>
                <a:cxn ang="0">
                  <a:pos x="connsiteX1" y="connsiteY1"/>
                </a:cxn>
                <a:cxn ang="0">
                  <a:pos x="connsiteX2" y="connsiteY2"/>
                </a:cxn>
                <a:cxn ang="0">
                  <a:pos x="connsiteX3" y="connsiteY3"/>
                </a:cxn>
              </a:cxnLst>
              <a:rect l="l" t="t" r="r" b="b"/>
              <a:pathLst>
                <a:path w="100762" h="40304">
                  <a:moveTo>
                    <a:pt x="0" y="0"/>
                  </a:moveTo>
                  <a:lnTo>
                    <a:pt x="100762" y="0"/>
                  </a:lnTo>
                  <a:lnTo>
                    <a:pt x="100762" y="40305"/>
                  </a:lnTo>
                  <a:lnTo>
                    <a:pt x="0" y="40305"/>
                  </a:lnTo>
                  <a:close/>
                </a:path>
              </a:pathLst>
            </a:custGeom>
            <a:grpFill/>
            <a:ln w="200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262626"/>
                </a:solidFill>
                <a:effectLst/>
                <a:uLnTx/>
                <a:uFillTx/>
                <a:latin typeface="阿里巴巴普惠体 B"/>
                <a:ea typeface="阿里巴巴普惠体 R"/>
                <a:cs typeface="+mn-cs"/>
              </a:endParaRPr>
            </a:p>
          </p:txBody>
        </p:sp>
        <p:sp>
          <p:nvSpPr>
            <p:cNvPr id="180" name="任意多边形: 形状 179">
              <a:extLst>
                <a:ext uri="{FF2B5EF4-FFF2-40B4-BE49-F238E27FC236}">
                  <a16:creationId xmlns:a16="http://schemas.microsoft.com/office/drawing/2014/main" id="{8013BD1C-6582-4BE2-B38B-DAC7DCF3315D}"/>
                </a:ext>
              </a:extLst>
            </p:cNvPr>
            <p:cNvSpPr/>
            <p:nvPr/>
          </p:nvSpPr>
          <p:spPr>
            <a:xfrm>
              <a:off x="4443347" y="2173688"/>
              <a:ext cx="181372" cy="40303"/>
            </a:xfrm>
            <a:custGeom>
              <a:avLst/>
              <a:gdLst>
                <a:gd name="connsiteX0" fmla="*/ 0 w 181371"/>
                <a:gd name="connsiteY0" fmla="*/ 0 h 40304"/>
                <a:gd name="connsiteX1" fmla="*/ 181372 w 181371"/>
                <a:gd name="connsiteY1" fmla="*/ 0 h 40304"/>
                <a:gd name="connsiteX2" fmla="*/ 181372 w 181371"/>
                <a:gd name="connsiteY2" fmla="*/ 40305 h 40304"/>
                <a:gd name="connsiteX3" fmla="*/ 0 w 181371"/>
                <a:gd name="connsiteY3" fmla="*/ 40305 h 40304"/>
              </a:gdLst>
              <a:ahLst/>
              <a:cxnLst>
                <a:cxn ang="0">
                  <a:pos x="connsiteX0" y="connsiteY0"/>
                </a:cxn>
                <a:cxn ang="0">
                  <a:pos x="connsiteX1" y="connsiteY1"/>
                </a:cxn>
                <a:cxn ang="0">
                  <a:pos x="connsiteX2" y="connsiteY2"/>
                </a:cxn>
                <a:cxn ang="0">
                  <a:pos x="connsiteX3" y="connsiteY3"/>
                </a:cxn>
              </a:cxnLst>
              <a:rect l="l" t="t" r="r" b="b"/>
              <a:pathLst>
                <a:path w="181371" h="40304">
                  <a:moveTo>
                    <a:pt x="0" y="0"/>
                  </a:moveTo>
                  <a:lnTo>
                    <a:pt x="181372" y="0"/>
                  </a:lnTo>
                  <a:lnTo>
                    <a:pt x="181372" y="40305"/>
                  </a:lnTo>
                  <a:lnTo>
                    <a:pt x="0" y="40305"/>
                  </a:lnTo>
                  <a:close/>
                </a:path>
              </a:pathLst>
            </a:custGeom>
            <a:grpFill/>
            <a:ln w="200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262626"/>
                </a:solidFill>
                <a:effectLst/>
                <a:uLnTx/>
                <a:uFillTx/>
                <a:latin typeface="阿里巴巴普惠体 B"/>
                <a:ea typeface="阿里巴巴普惠体 R"/>
                <a:cs typeface="+mn-cs"/>
              </a:endParaRPr>
            </a:p>
          </p:txBody>
        </p:sp>
        <p:sp>
          <p:nvSpPr>
            <p:cNvPr id="181" name="任意多边形: 形状 180">
              <a:extLst>
                <a:ext uri="{FF2B5EF4-FFF2-40B4-BE49-F238E27FC236}">
                  <a16:creationId xmlns:a16="http://schemas.microsoft.com/office/drawing/2014/main" id="{882F9260-18C4-4F7E-8152-C2E071206E43}"/>
                </a:ext>
              </a:extLst>
            </p:cNvPr>
            <p:cNvSpPr/>
            <p:nvPr/>
          </p:nvSpPr>
          <p:spPr>
            <a:xfrm>
              <a:off x="4705325" y="1891573"/>
              <a:ext cx="443354" cy="40303"/>
            </a:xfrm>
            <a:custGeom>
              <a:avLst/>
              <a:gdLst>
                <a:gd name="connsiteX0" fmla="*/ 0 w 443353"/>
                <a:gd name="connsiteY0" fmla="*/ 0 h 40304"/>
                <a:gd name="connsiteX1" fmla="*/ 443354 w 443353"/>
                <a:gd name="connsiteY1" fmla="*/ 0 h 40304"/>
                <a:gd name="connsiteX2" fmla="*/ 443354 w 443353"/>
                <a:gd name="connsiteY2" fmla="*/ 40305 h 40304"/>
                <a:gd name="connsiteX3" fmla="*/ 0 w 443353"/>
                <a:gd name="connsiteY3" fmla="*/ 40305 h 40304"/>
              </a:gdLst>
              <a:ahLst/>
              <a:cxnLst>
                <a:cxn ang="0">
                  <a:pos x="connsiteX0" y="connsiteY0"/>
                </a:cxn>
                <a:cxn ang="0">
                  <a:pos x="connsiteX1" y="connsiteY1"/>
                </a:cxn>
                <a:cxn ang="0">
                  <a:pos x="connsiteX2" y="connsiteY2"/>
                </a:cxn>
                <a:cxn ang="0">
                  <a:pos x="connsiteX3" y="connsiteY3"/>
                </a:cxn>
              </a:cxnLst>
              <a:rect l="l" t="t" r="r" b="b"/>
              <a:pathLst>
                <a:path w="443353" h="40304">
                  <a:moveTo>
                    <a:pt x="0" y="0"/>
                  </a:moveTo>
                  <a:lnTo>
                    <a:pt x="443354" y="0"/>
                  </a:lnTo>
                  <a:lnTo>
                    <a:pt x="443354" y="40305"/>
                  </a:lnTo>
                  <a:lnTo>
                    <a:pt x="0" y="40305"/>
                  </a:lnTo>
                  <a:close/>
                </a:path>
              </a:pathLst>
            </a:custGeom>
            <a:grpFill/>
            <a:ln w="200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262626"/>
                </a:solidFill>
                <a:effectLst/>
                <a:uLnTx/>
                <a:uFillTx/>
                <a:latin typeface="阿里巴巴普惠体 B"/>
                <a:ea typeface="阿里巴巴普惠体 R"/>
                <a:cs typeface="+mn-cs"/>
              </a:endParaRPr>
            </a:p>
          </p:txBody>
        </p:sp>
      </p:grpSp>
      <p:grpSp>
        <p:nvGrpSpPr>
          <p:cNvPr id="182" name="图形 23">
            <a:extLst>
              <a:ext uri="{FF2B5EF4-FFF2-40B4-BE49-F238E27FC236}">
                <a16:creationId xmlns:a16="http://schemas.microsoft.com/office/drawing/2014/main" id="{55B429E5-0C93-4CAD-9B74-B8EF3C98C78A}"/>
              </a:ext>
            </a:extLst>
          </p:cNvPr>
          <p:cNvGrpSpPr/>
          <p:nvPr/>
        </p:nvGrpSpPr>
        <p:grpSpPr>
          <a:xfrm>
            <a:off x="6205268" y="3498689"/>
            <a:ext cx="336956" cy="336956"/>
            <a:chOff x="3657600" y="990601"/>
            <a:chExt cx="4876801" cy="4876796"/>
          </a:xfrm>
          <a:solidFill>
            <a:schemeClr val="bg1"/>
          </a:solidFill>
        </p:grpSpPr>
        <p:sp>
          <p:nvSpPr>
            <p:cNvPr id="183" name="任意多边形: 形状 182">
              <a:extLst>
                <a:ext uri="{FF2B5EF4-FFF2-40B4-BE49-F238E27FC236}">
                  <a16:creationId xmlns:a16="http://schemas.microsoft.com/office/drawing/2014/main" id="{A3984907-F43D-47D7-AE83-EC47EADC539E}"/>
                </a:ext>
              </a:extLst>
            </p:cNvPr>
            <p:cNvSpPr/>
            <p:nvPr/>
          </p:nvSpPr>
          <p:spPr>
            <a:xfrm>
              <a:off x="3657600" y="990601"/>
              <a:ext cx="4876801" cy="4876796"/>
            </a:xfrm>
            <a:custGeom>
              <a:avLst/>
              <a:gdLst>
                <a:gd name="connsiteX0" fmla="*/ 4848892 w 4876800"/>
                <a:gd name="connsiteY0" fmla="*/ 894550 h 4876800"/>
                <a:gd name="connsiteX1" fmla="*/ 3982117 w 4876800"/>
                <a:gd name="connsiteY1" fmla="*/ 27899 h 4876800"/>
                <a:gd name="connsiteX2" fmla="*/ 3914775 w 4876800"/>
                <a:gd name="connsiteY2" fmla="*/ 0 h 4876800"/>
                <a:gd name="connsiteX3" fmla="*/ 1085850 w 4876800"/>
                <a:gd name="connsiteY3" fmla="*/ 0 h 4876800"/>
                <a:gd name="connsiteX4" fmla="*/ 800100 w 4876800"/>
                <a:gd name="connsiteY4" fmla="*/ 285750 h 4876800"/>
                <a:gd name="connsiteX5" fmla="*/ 800100 w 4876800"/>
                <a:gd name="connsiteY5" fmla="*/ 467335 h 4876800"/>
                <a:gd name="connsiteX6" fmla="*/ 0 w 4876800"/>
                <a:gd name="connsiteY6" fmla="*/ 1639167 h 4876800"/>
                <a:gd name="connsiteX7" fmla="*/ 95250 w 4876800"/>
                <a:gd name="connsiteY7" fmla="*/ 1734417 h 4876800"/>
                <a:gd name="connsiteX8" fmla="*/ 1258167 w 4876800"/>
                <a:gd name="connsiteY8" fmla="*/ 1734417 h 4876800"/>
                <a:gd name="connsiteX9" fmla="*/ 1353417 w 4876800"/>
                <a:gd name="connsiteY9" fmla="*/ 1639167 h 4876800"/>
                <a:gd name="connsiteX10" fmla="*/ 1353417 w 4876800"/>
                <a:gd name="connsiteY10" fmla="*/ 476250 h 4876800"/>
                <a:gd name="connsiteX11" fmla="*/ 1258167 w 4876800"/>
                <a:gd name="connsiteY11" fmla="*/ 381000 h 4876800"/>
                <a:gd name="connsiteX12" fmla="*/ 990600 w 4876800"/>
                <a:gd name="connsiteY12" fmla="*/ 409737 h 4876800"/>
                <a:gd name="connsiteX13" fmla="*/ 990600 w 4876800"/>
                <a:gd name="connsiteY13" fmla="*/ 285750 h 4876800"/>
                <a:gd name="connsiteX14" fmla="*/ 1085850 w 4876800"/>
                <a:gd name="connsiteY14" fmla="*/ 190500 h 4876800"/>
                <a:gd name="connsiteX15" fmla="*/ 3819525 w 4876800"/>
                <a:gd name="connsiteY15" fmla="*/ 190500 h 4876800"/>
                <a:gd name="connsiteX16" fmla="*/ 3819525 w 4876800"/>
                <a:gd name="connsiteY16" fmla="*/ 771525 h 4876800"/>
                <a:gd name="connsiteX17" fmla="*/ 4105275 w 4876800"/>
                <a:gd name="connsiteY17" fmla="*/ 1057275 h 4876800"/>
                <a:gd name="connsiteX18" fmla="*/ 4686300 w 4876800"/>
                <a:gd name="connsiteY18" fmla="*/ 1057275 h 4876800"/>
                <a:gd name="connsiteX19" fmla="*/ 4686300 w 4876800"/>
                <a:gd name="connsiteY19" fmla="*/ 4591050 h 4876800"/>
                <a:gd name="connsiteX20" fmla="*/ 4591050 w 4876800"/>
                <a:gd name="connsiteY20" fmla="*/ 4686300 h 4876800"/>
                <a:gd name="connsiteX21" fmla="*/ 1085850 w 4876800"/>
                <a:gd name="connsiteY21" fmla="*/ 4686300 h 4876800"/>
                <a:gd name="connsiteX22" fmla="*/ 990600 w 4876800"/>
                <a:gd name="connsiteY22" fmla="*/ 4591050 h 4876800"/>
                <a:gd name="connsiteX23" fmla="*/ 990600 w 4876800"/>
                <a:gd name="connsiteY23" fmla="*/ 3775072 h 4876800"/>
                <a:gd name="connsiteX24" fmla="*/ 895350 w 4876800"/>
                <a:gd name="connsiteY24" fmla="*/ 3679822 h 4876800"/>
                <a:gd name="connsiteX25" fmla="*/ 800100 w 4876800"/>
                <a:gd name="connsiteY25" fmla="*/ 3775072 h 4876800"/>
                <a:gd name="connsiteX26" fmla="*/ 800100 w 4876800"/>
                <a:gd name="connsiteY26" fmla="*/ 4591050 h 4876800"/>
                <a:gd name="connsiteX27" fmla="*/ 1085850 w 4876800"/>
                <a:gd name="connsiteY27" fmla="*/ 4876800 h 4876800"/>
                <a:gd name="connsiteX28" fmla="*/ 4591050 w 4876800"/>
                <a:gd name="connsiteY28" fmla="*/ 4876800 h 4876800"/>
                <a:gd name="connsiteX29" fmla="*/ 4876800 w 4876800"/>
                <a:gd name="connsiteY29" fmla="*/ 4591050 h 4876800"/>
                <a:gd name="connsiteX30" fmla="*/ 4876800 w 4876800"/>
                <a:gd name="connsiteY30" fmla="*/ 961901 h 4876800"/>
                <a:gd name="connsiteX31" fmla="*/ 4848892 w 4876800"/>
                <a:gd name="connsiteY31" fmla="*/ 894550 h 4876800"/>
                <a:gd name="connsiteX32" fmla="*/ 1162907 w 4876800"/>
                <a:gd name="connsiteY32" fmla="*/ 575720 h 4876800"/>
                <a:gd name="connsiteX33" fmla="*/ 1162907 w 4876800"/>
                <a:gd name="connsiteY33" fmla="*/ 1543917 h 4876800"/>
                <a:gd name="connsiteX34" fmla="*/ 194710 w 4876800"/>
                <a:gd name="connsiteY34" fmla="*/ 1543917 h 4876800"/>
                <a:gd name="connsiteX35" fmla="*/ 1162907 w 4876800"/>
                <a:gd name="connsiteY35" fmla="*/ 575720 h 4876800"/>
                <a:gd name="connsiteX36" fmla="*/ 4105275 w 4876800"/>
                <a:gd name="connsiteY36" fmla="*/ 866775 h 4876800"/>
                <a:gd name="connsiteX37" fmla="*/ 4010025 w 4876800"/>
                <a:gd name="connsiteY37" fmla="*/ 771525 h 4876800"/>
                <a:gd name="connsiteX38" fmla="*/ 4010025 w 4876800"/>
                <a:gd name="connsiteY38" fmla="*/ 325184 h 4876800"/>
                <a:gd name="connsiteX39" fmla="*/ 4551693 w 4876800"/>
                <a:gd name="connsiteY39" fmla="*/ 866775 h 4876800"/>
                <a:gd name="connsiteX40" fmla="*/ 4105275 w 4876800"/>
                <a:gd name="connsiteY40" fmla="*/ 866775 h 4876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4876800" h="4876800">
                  <a:moveTo>
                    <a:pt x="4848892" y="894550"/>
                  </a:moveTo>
                  <a:lnTo>
                    <a:pt x="3982117" y="27899"/>
                  </a:lnTo>
                  <a:cubicBezTo>
                    <a:pt x="3964258" y="10039"/>
                    <a:pt x="3940036" y="0"/>
                    <a:pt x="3914775" y="0"/>
                  </a:cubicBezTo>
                  <a:lnTo>
                    <a:pt x="1085850" y="0"/>
                  </a:lnTo>
                  <a:cubicBezTo>
                    <a:pt x="928287" y="0"/>
                    <a:pt x="800100" y="128187"/>
                    <a:pt x="800100" y="285750"/>
                  </a:cubicBezTo>
                  <a:lnTo>
                    <a:pt x="800100" y="467335"/>
                  </a:lnTo>
                  <a:cubicBezTo>
                    <a:pt x="332184" y="650881"/>
                    <a:pt x="0" y="1106948"/>
                    <a:pt x="0" y="1639167"/>
                  </a:cubicBezTo>
                  <a:cubicBezTo>
                    <a:pt x="0" y="1691764"/>
                    <a:pt x="42653" y="1734417"/>
                    <a:pt x="95250" y="1734417"/>
                  </a:cubicBezTo>
                  <a:lnTo>
                    <a:pt x="1258167" y="1734417"/>
                  </a:lnTo>
                  <a:cubicBezTo>
                    <a:pt x="1310764" y="1734417"/>
                    <a:pt x="1353417" y="1691764"/>
                    <a:pt x="1353417" y="1639167"/>
                  </a:cubicBezTo>
                  <a:lnTo>
                    <a:pt x="1353417" y="476250"/>
                  </a:lnTo>
                  <a:cubicBezTo>
                    <a:pt x="1353417" y="423653"/>
                    <a:pt x="1310764" y="381000"/>
                    <a:pt x="1258167" y="381000"/>
                  </a:cubicBezTo>
                  <a:cubicBezTo>
                    <a:pt x="1166365" y="381000"/>
                    <a:pt x="1076868" y="390973"/>
                    <a:pt x="990600" y="409737"/>
                  </a:cubicBezTo>
                  <a:lnTo>
                    <a:pt x="990600" y="285750"/>
                  </a:lnTo>
                  <a:cubicBezTo>
                    <a:pt x="990600" y="233229"/>
                    <a:pt x="1033329" y="190500"/>
                    <a:pt x="1085850" y="190500"/>
                  </a:cubicBezTo>
                  <a:lnTo>
                    <a:pt x="3819525" y="190500"/>
                  </a:lnTo>
                  <a:lnTo>
                    <a:pt x="3819525" y="771525"/>
                  </a:lnTo>
                  <a:cubicBezTo>
                    <a:pt x="3819525" y="929088"/>
                    <a:pt x="3947713" y="1057275"/>
                    <a:pt x="4105275" y="1057275"/>
                  </a:cubicBezTo>
                  <a:lnTo>
                    <a:pt x="4686300" y="1057275"/>
                  </a:lnTo>
                  <a:lnTo>
                    <a:pt x="4686300" y="4591050"/>
                  </a:lnTo>
                  <a:cubicBezTo>
                    <a:pt x="4686300" y="4643571"/>
                    <a:pt x="4643571" y="4686300"/>
                    <a:pt x="4591050" y="4686300"/>
                  </a:cubicBezTo>
                  <a:lnTo>
                    <a:pt x="1085850" y="4686300"/>
                  </a:lnTo>
                  <a:cubicBezTo>
                    <a:pt x="1033329" y="4686300"/>
                    <a:pt x="990600" y="4643571"/>
                    <a:pt x="990600" y="4591050"/>
                  </a:cubicBezTo>
                  <a:lnTo>
                    <a:pt x="990600" y="3775072"/>
                  </a:lnTo>
                  <a:cubicBezTo>
                    <a:pt x="990600" y="3722475"/>
                    <a:pt x="947947" y="3679822"/>
                    <a:pt x="895350" y="3679822"/>
                  </a:cubicBezTo>
                  <a:cubicBezTo>
                    <a:pt x="842753" y="3679822"/>
                    <a:pt x="800100" y="3722475"/>
                    <a:pt x="800100" y="3775072"/>
                  </a:cubicBezTo>
                  <a:lnTo>
                    <a:pt x="800100" y="4591050"/>
                  </a:lnTo>
                  <a:cubicBezTo>
                    <a:pt x="800100" y="4748613"/>
                    <a:pt x="928287" y="4876800"/>
                    <a:pt x="1085850" y="4876800"/>
                  </a:cubicBezTo>
                  <a:lnTo>
                    <a:pt x="4591050" y="4876800"/>
                  </a:lnTo>
                  <a:cubicBezTo>
                    <a:pt x="4748613" y="4876800"/>
                    <a:pt x="4876800" y="4748613"/>
                    <a:pt x="4876800" y="4591050"/>
                  </a:cubicBezTo>
                  <a:lnTo>
                    <a:pt x="4876800" y="961901"/>
                  </a:lnTo>
                  <a:cubicBezTo>
                    <a:pt x="4876800" y="936641"/>
                    <a:pt x="4866761" y="912409"/>
                    <a:pt x="4848892" y="894550"/>
                  </a:cubicBezTo>
                  <a:close/>
                  <a:moveTo>
                    <a:pt x="1162907" y="575720"/>
                  </a:moveTo>
                  <a:lnTo>
                    <a:pt x="1162907" y="1543917"/>
                  </a:lnTo>
                  <a:lnTo>
                    <a:pt x="194710" y="1543917"/>
                  </a:lnTo>
                  <a:cubicBezTo>
                    <a:pt x="240249" y="1031015"/>
                    <a:pt x="650015" y="621259"/>
                    <a:pt x="1162907" y="575720"/>
                  </a:cubicBezTo>
                  <a:close/>
                  <a:moveTo>
                    <a:pt x="4105275" y="866775"/>
                  </a:moveTo>
                  <a:cubicBezTo>
                    <a:pt x="4052754" y="866775"/>
                    <a:pt x="4010025" y="824046"/>
                    <a:pt x="4010025" y="771525"/>
                  </a:cubicBezTo>
                  <a:lnTo>
                    <a:pt x="4010025" y="325184"/>
                  </a:lnTo>
                  <a:lnTo>
                    <a:pt x="4551693" y="866775"/>
                  </a:lnTo>
                  <a:lnTo>
                    <a:pt x="4105275" y="866775"/>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262626"/>
                </a:solidFill>
                <a:effectLst/>
                <a:uLnTx/>
                <a:uFillTx/>
                <a:latin typeface="阿里巴巴普惠体 B"/>
                <a:ea typeface="阿里巴巴普惠体 R"/>
                <a:cs typeface="+mn-cs"/>
              </a:endParaRPr>
            </a:p>
          </p:txBody>
        </p:sp>
        <p:sp>
          <p:nvSpPr>
            <p:cNvPr id="184" name="任意多边形: 形状 183">
              <a:extLst>
                <a:ext uri="{FF2B5EF4-FFF2-40B4-BE49-F238E27FC236}">
                  <a16:creationId xmlns:a16="http://schemas.microsoft.com/office/drawing/2014/main" id="{4714E645-6AE1-4686-96F5-4E2C80F1526F}"/>
                </a:ext>
              </a:extLst>
            </p:cNvPr>
            <p:cNvSpPr/>
            <p:nvPr/>
          </p:nvSpPr>
          <p:spPr>
            <a:xfrm>
              <a:off x="4457698" y="4324346"/>
              <a:ext cx="190499" cy="190499"/>
            </a:xfrm>
            <a:custGeom>
              <a:avLst/>
              <a:gdLst>
                <a:gd name="connsiteX0" fmla="*/ 162582 w 190500"/>
                <a:gd name="connsiteY0" fmla="*/ 27908 h 190500"/>
                <a:gd name="connsiteX1" fmla="*/ 95250 w 190500"/>
                <a:gd name="connsiteY1" fmla="*/ 0 h 190500"/>
                <a:gd name="connsiteX2" fmla="*/ 27908 w 190500"/>
                <a:gd name="connsiteY2" fmla="*/ 27908 h 190500"/>
                <a:gd name="connsiteX3" fmla="*/ 0 w 190500"/>
                <a:gd name="connsiteY3" fmla="*/ 95250 h 190500"/>
                <a:gd name="connsiteX4" fmla="*/ 27908 w 190500"/>
                <a:gd name="connsiteY4" fmla="*/ 162582 h 190500"/>
                <a:gd name="connsiteX5" fmla="*/ 95250 w 190500"/>
                <a:gd name="connsiteY5" fmla="*/ 190500 h 190500"/>
                <a:gd name="connsiteX6" fmla="*/ 162582 w 190500"/>
                <a:gd name="connsiteY6" fmla="*/ 162582 h 190500"/>
                <a:gd name="connsiteX7" fmla="*/ 190500 w 190500"/>
                <a:gd name="connsiteY7" fmla="*/ 95250 h 190500"/>
                <a:gd name="connsiteX8" fmla="*/ 162582 w 190500"/>
                <a:gd name="connsiteY8" fmla="*/ 27908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0500" h="190500">
                  <a:moveTo>
                    <a:pt x="162582" y="27908"/>
                  </a:moveTo>
                  <a:cubicBezTo>
                    <a:pt x="144875" y="10182"/>
                    <a:pt x="120301" y="0"/>
                    <a:pt x="95250" y="0"/>
                  </a:cubicBezTo>
                  <a:cubicBezTo>
                    <a:pt x="70199" y="0"/>
                    <a:pt x="45625" y="10182"/>
                    <a:pt x="27908" y="27908"/>
                  </a:cubicBezTo>
                  <a:cubicBezTo>
                    <a:pt x="10192" y="45625"/>
                    <a:pt x="0" y="70199"/>
                    <a:pt x="0" y="95250"/>
                  </a:cubicBezTo>
                  <a:cubicBezTo>
                    <a:pt x="0" y="120301"/>
                    <a:pt x="10182" y="144875"/>
                    <a:pt x="27908" y="162582"/>
                  </a:cubicBezTo>
                  <a:cubicBezTo>
                    <a:pt x="45625" y="180308"/>
                    <a:pt x="70199" y="190500"/>
                    <a:pt x="95250" y="190500"/>
                  </a:cubicBezTo>
                  <a:cubicBezTo>
                    <a:pt x="120301" y="190500"/>
                    <a:pt x="144875" y="180308"/>
                    <a:pt x="162582" y="162582"/>
                  </a:cubicBezTo>
                  <a:cubicBezTo>
                    <a:pt x="180308" y="144875"/>
                    <a:pt x="190500" y="120301"/>
                    <a:pt x="190500" y="95250"/>
                  </a:cubicBezTo>
                  <a:cubicBezTo>
                    <a:pt x="190500" y="70199"/>
                    <a:pt x="180308" y="45625"/>
                    <a:pt x="162582" y="2790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262626"/>
                </a:solidFill>
                <a:effectLst/>
                <a:uLnTx/>
                <a:uFillTx/>
                <a:latin typeface="阿里巴巴普惠体 B"/>
                <a:ea typeface="阿里巴巴普惠体 R"/>
                <a:cs typeface="+mn-cs"/>
              </a:endParaRPr>
            </a:p>
          </p:txBody>
        </p:sp>
        <p:sp>
          <p:nvSpPr>
            <p:cNvPr id="185" name="任意多边形: 形状 184">
              <a:extLst>
                <a:ext uri="{FF2B5EF4-FFF2-40B4-BE49-F238E27FC236}">
                  <a16:creationId xmlns:a16="http://schemas.microsoft.com/office/drawing/2014/main" id="{66ECF8CF-D58F-49A2-83C9-179C2121979C}"/>
                </a:ext>
              </a:extLst>
            </p:cNvPr>
            <p:cNvSpPr/>
            <p:nvPr/>
          </p:nvSpPr>
          <p:spPr>
            <a:xfrm>
              <a:off x="3998774" y="1712773"/>
              <a:ext cx="2516322" cy="2516320"/>
            </a:xfrm>
            <a:custGeom>
              <a:avLst/>
              <a:gdLst>
                <a:gd name="connsiteX0" fmla="*/ 1258157 w 2516324"/>
                <a:gd name="connsiteY0" fmla="*/ 0 h 2516324"/>
                <a:gd name="connsiteX1" fmla="*/ 1162907 w 2516324"/>
                <a:gd name="connsiteY1" fmla="*/ 95250 h 2516324"/>
                <a:gd name="connsiteX2" fmla="*/ 1162907 w 2516324"/>
                <a:gd name="connsiteY2" fmla="*/ 1162907 h 2516324"/>
                <a:gd name="connsiteX3" fmla="*/ 95250 w 2516324"/>
                <a:gd name="connsiteY3" fmla="*/ 1162907 h 2516324"/>
                <a:gd name="connsiteX4" fmla="*/ 0 w 2516324"/>
                <a:gd name="connsiteY4" fmla="*/ 1258157 h 2516324"/>
                <a:gd name="connsiteX5" fmla="*/ 1258157 w 2516324"/>
                <a:gd name="connsiteY5" fmla="*/ 2516324 h 2516324"/>
                <a:gd name="connsiteX6" fmla="*/ 2516324 w 2516324"/>
                <a:gd name="connsiteY6" fmla="*/ 1258157 h 2516324"/>
                <a:gd name="connsiteX7" fmla="*/ 1258157 w 2516324"/>
                <a:gd name="connsiteY7" fmla="*/ 0 h 2516324"/>
                <a:gd name="connsiteX8" fmla="*/ 1353407 w 2516324"/>
                <a:gd name="connsiteY8" fmla="*/ 194720 h 2516324"/>
                <a:gd name="connsiteX9" fmla="*/ 1942395 w 2516324"/>
                <a:gd name="connsiteY9" fmla="*/ 439226 h 2516324"/>
                <a:gd name="connsiteX10" fmla="*/ 1353407 w 2516324"/>
                <a:gd name="connsiteY10" fmla="*/ 1028205 h 2516324"/>
                <a:gd name="connsiteX11" fmla="*/ 1353407 w 2516324"/>
                <a:gd name="connsiteY11" fmla="*/ 194720 h 2516324"/>
                <a:gd name="connsiteX12" fmla="*/ 1258157 w 2516324"/>
                <a:gd name="connsiteY12" fmla="*/ 2325824 h 2516324"/>
                <a:gd name="connsiteX13" fmla="*/ 194720 w 2516324"/>
                <a:gd name="connsiteY13" fmla="*/ 1353407 h 2516324"/>
                <a:gd name="connsiteX14" fmla="*/ 1258157 w 2516324"/>
                <a:gd name="connsiteY14" fmla="*/ 1353407 h 2516324"/>
                <a:gd name="connsiteX15" fmla="*/ 1325480 w 2516324"/>
                <a:gd name="connsiteY15" fmla="*/ 1325537 h 2516324"/>
                <a:gd name="connsiteX16" fmla="*/ 1325518 w 2516324"/>
                <a:gd name="connsiteY16" fmla="*/ 1325509 h 2516324"/>
                <a:gd name="connsiteX17" fmla="*/ 2077126 w 2516324"/>
                <a:gd name="connsiteY17" fmla="*/ 573910 h 2516324"/>
                <a:gd name="connsiteX18" fmla="*/ 2325824 w 2516324"/>
                <a:gd name="connsiteY18" fmla="*/ 1258157 h 2516324"/>
                <a:gd name="connsiteX19" fmla="*/ 1258157 w 2516324"/>
                <a:gd name="connsiteY19" fmla="*/ 2325824 h 25163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516324" h="2516324">
                  <a:moveTo>
                    <a:pt x="1258157" y="0"/>
                  </a:moveTo>
                  <a:cubicBezTo>
                    <a:pt x="1205560" y="0"/>
                    <a:pt x="1162907" y="42653"/>
                    <a:pt x="1162907" y="95250"/>
                  </a:cubicBezTo>
                  <a:lnTo>
                    <a:pt x="1162907" y="1162907"/>
                  </a:lnTo>
                  <a:lnTo>
                    <a:pt x="95250" y="1162907"/>
                  </a:lnTo>
                  <a:cubicBezTo>
                    <a:pt x="42653" y="1162907"/>
                    <a:pt x="0" y="1205560"/>
                    <a:pt x="0" y="1258157"/>
                  </a:cubicBezTo>
                  <a:cubicBezTo>
                    <a:pt x="0" y="1951911"/>
                    <a:pt x="564404" y="2516324"/>
                    <a:pt x="1258157" y="2516324"/>
                  </a:cubicBezTo>
                  <a:cubicBezTo>
                    <a:pt x="1951911" y="2516324"/>
                    <a:pt x="2516324" y="1951911"/>
                    <a:pt x="2516324" y="1258157"/>
                  </a:cubicBezTo>
                  <a:cubicBezTo>
                    <a:pt x="2516324" y="564404"/>
                    <a:pt x="1951911" y="0"/>
                    <a:pt x="1258157" y="0"/>
                  </a:cubicBezTo>
                  <a:close/>
                  <a:moveTo>
                    <a:pt x="1353407" y="194720"/>
                  </a:moveTo>
                  <a:cubicBezTo>
                    <a:pt x="1576388" y="214512"/>
                    <a:pt x="1779851" y="303190"/>
                    <a:pt x="1942395" y="439226"/>
                  </a:cubicBezTo>
                  <a:lnTo>
                    <a:pt x="1353407" y="1028205"/>
                  </a:lnTo>
                  <a:lnTo>
                    <a:pt x="1353407" y="194720"/>
                  </a:lnTo>
                  <a:close/>
                  <a:moveTo>
                    <a:pt x="1258157" y="2325824"/>
                  </a:moveTo>
                  <a:cubicBezTo>
                    <a:pt x="701545" y="2325824"/>
                    <a:pt x="243040" y="1897685"/>
                    <a:pt x="194720" y="1353407"/>
                  </a:cubicBezTo>
                  <a:lnTo>
                    <a:pt x="1258157" y="1353407"/>
                  </a:lnTo>
                  <a:cubicBezTo>
                    <a:pt x="1284446" y="1353407"/>
                    <a:pt x="1308240" y="1342758"/>
                    <a:pt x="1325480" y="1325537"/>
                  </a:cubicBezTo>
                  <a:cubicBezTo>
                    <a:pt x="1325490" y="1325528"/>
                    <a:pt x="1325499" y="1325528"/>
                    <a:pt x="1325518" y="1325509"/>
                  </a:cubicBezTo>
                  <a:lnTo>
                    <a:pt x="2077126" y="573910"/>
                  </a:lnTo>
                  <a:cubicBezTo>
                    <a:pt x="2232298" y="759333"/>
                    <a:pt x="2325824" y="998030"/>
                    <a:pt x="2325824" y="1258157"/>
                  </a:cubicBezTo>
                  <a:cubicBezTo>
                    <a:pt x="2325824" y="1846869"/>
                    <a:pt x="1846869" y="2325824"/>
                    <a:pt x="1258157" y="2325824"/>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262626"/>
                </a:solidFill>
                <a:effectLst/>
                <a:uLnTx/>
                <a:uFillTx/>
                <a:latin typeface="阿里巴巴普惠体 B"/>
                <a:ea typeface="阿里巴巴普惠体 R"/>
                <a:cs typeface="+mn-cs"/>
              </a:endParaRPr>
            </a:p>
          </p:txBody>
        </p:sp>
        <p:sp>
          <p:nvSpPr>
            <p:cNvPr id="186" name="任意多边形: 形状 185">
              <a:extLst>
                <a:ext uri="{FF2B5EF4-FFF2-40B4-BE49-F238E27FC236}">
                  <a16:creationId xmlns:a16="http://schemas.microsoft.com/office/drawing/2014/main" id="{F8D421B5-AC9A-4EC2-8644-42A35A0F1517}"/>
                </a:ext>
              </a:extLst>
            </p:cNvPr>
            <p:cNvSpPr/>
            <p:nvPr/>
          </p:nvSpPr>
          <p:spPr>
            <a:xfrm>
              <a:off x="5123541" y="3996733"/>
              <a:ext cx="2992447" cy="1489064"/>
            </a:xfrm>
            <a:custGeom>
              <a:avLst/>
              <a:gdLst>
                <a:gd name="connsiteX0" fmla="*/ 2706700 w 2992450"/>
                <a:gd name="connsiteY0" fmla="*/ 0 h 1489062"/>
                <a:gd name="connsiteX1" fmla="*/ 2420950 w 2992450"/>
                <a:gd name="connsiteY1" fmla="*/ 285750 h 1489062"/>
                <a:gd name="connsiteX2" fmla="*/ 2443553 w 2992450"/>
                <a:gd name="connsiteY2" fmla="*/ 397116 h 1489062"/>
                <a:gd name="connsiteX3" fmla="*/ 1894789 w 2992450"/>
                <a:gd name="connsiteY3" fmla="*/ 945880 h 1489062"/>
                <a:gd name="connsiteX4" fmla="*/ 1770059 w 2992450"/>
                <a:gd name="connsiteY4" fmla="*/ 917172 h 1489062"/>
                <a:gd name="connsiteX5" fmla="*/ 1648044 w 2992450"/>
                <a:gd name="connsiteY5" fmla="*/ 944594 h 1489062"/>
                <a:gd name="connsiteX6" fmla="*/ 1283637 w 2992450"/>
                <a:gd name="connsiteY6" fmla="*/ 580187 h 1489062"/>
                <a:gd name="connsiteX7" fmla="*/ 1303277 w 2992450"/>
                <a:gd name="connsiteY7" fmla="*/ 476240 h 1489062"/>
                <a:gd name="connsiteX8" fmla="*/ 1017527 w 2992450"/>
                <a:gd name="connsiteY8" fmla="*/ 190490 h 1489062"/>
                <a:gd name="connsiteX9" fmla="*/ 731777 w 2992450"/>
                <a:gd name="connsiteY9" fmla="*/ 476240 h 1489062"/>
                <a:gd name="connsiteX10" fmla="*/ 758114 w 2992450"/>
                <a:gd name="connsiteY10" fmla="*/ 595846 h 1489062"/>
                <a:gd name="connsiteX11" fmla="*/ 408594 w 2992450"/>
                <a:gd name="connsiteY11" fmla="*/ 945366 h 1489062"/>
                <a:gd name="connsiteX12" fmla="*/ 285750 w 2992450"/>
                <a:gd name="connsiteY12" fmla="*/ 917562 h 1489062"/>
                <a:gd name="connsiteX13" fmla="*/ 0 w 2992450"/>
                <a:gd name="connsiteY13" fmla="*/ 1203312 h 1489062"/>
                <a:gd name="connsiteX14" fmla="*/ 285750 w 2992450"/>
                <a:gd name="connsiteY14" fmla="*/ 1489062 h 1489062"/>
                <a:gd name="connsiteX15" fmla="*/ 571500 w 2992450"/>
                <a:gd name="connsiteY15" fmla="*/ 1203312 h 1489062"/>
                <a:gd name="connsiteX16" fmla="*/ 543458 w 2992450"/>
                <a:gd name="connsiteY16" fmla="*/ 1079925 h 1489062"/>
                <a:gd name="connsiteX17" fmla="*/ 891026 w 2992450"/>
                <a:gd name="connsiteY17" fmla="*/ 732358 h 1489062"/>
                <a:gd name="connsiteX18" fmla="*/ 1017546 w 2992450"/>
                <a:gd name="connsiteY18" fmla="*/ 761990 h 1489062"/>
                <a:gd name="connsiteX19" fmla="*/ 1158621 w 2992450"/>
                <a:gd name="connsiteY19" fmla="*/ 724586 h 1489062"/>
                <a:gd name="connsiteX20" fmla="*/ 1512751 w 2992450"/>
                <a:gd name="connsiteY20" fmla="*/ 1078716 h 1489062"/>
                <a:gd name="connsiteX21" fmla="*/ 1484309 w 2992450"/>
                <a:gd name="connsiteY21" fmla="*/ 1202922 h 1489062"/>
                <a:gd name="connsiteX22" fmla="*/ 1770059 w 2992450"/>
                <a:gd name="connsiteY22" fmla="*/ 1488672 h 1489062"/>
                <a:gd name="connsiteX23" fmla="*/ 2055809 w 2992450"/>
                <a:gd name="connsiteY23" fmla="*/ 1202922 h 1489062"/>
                <a:gd name="connsiteX24" fmla="*/ 2028635 w 2992450"/>
                <a:gd name="connsiteY24" fmla="*/ 1081459 h 1489062"/>
                <a:gd name="connsiteX25" fmla="*/ 2572274 w 2992450"/>
                <a:gd name="connsiteY25" fmla="*/ 537820 h 1489062"/>
                <a:gd name="connsiteX26" fmla="*/ 2706700 w 2992450"/>
                <a:gd name="connsiteY26" fmla="*/ 571500 h 1489062"/>
                <a:gd name="connsiteX27" fmla="*/ 2992450 w 2992450"/>
                <a:gd name="connsiteY27" fmla="*/ 285750 h 1489062"/>
                <a:gd name="connsiteX28" fmla="*/ 2706700 w 2992450"/>
                <a:gd name="connsiteY28" fmla="*/ 0 h 1489062"/>
                <a:gd name="connsiteX29" fmla="*/ 285741 w 2992450"/>
                <a:gd name="connsiteY29" fmla="*/ 1298572 h 1489062"/>
                <a:gd name="connsiteX30" fmla="*/ 190491 w 2992450"/>
                <a:gd name="connsiteY30" fmla="*/ 1203322 h 1489062"/>
                <a:gd name="connsiteX31" fmla="*/ 285741 w 2992450"/>
                <a:gd name="connsiteY31" fmla="*/ 1108072 h 1489062"/>
                <a:gd name="connsiteX32" fmla="*/ 351635 w 2992450"/>
                <a:gd name="connsiteY32" fmla="*/ 1134713 h 1489062"/>
                <a:gd name="connsiteX33" fmla="*/ 352739 w 2992450"/>
                <a:gd name="connsiteY33" fmla="*/ 1135932 h 1489062"/>
                <a:gd name="connsiteX34" fmla="*/ 354159 w 2992450"/>
                <a:gd name="connsiteY34" fmla="*/ 1137209 h 1489062"/>
                <a:gd name="connsiteX35" fmla="*/ 380991 w 2992450"/>
                <a:gd name="connsiteY35" fmla="*/ 1203322 h 1489062"/>
                <a:gd name="connsiteX36" fmla="*/ 285741 w 2992450"/>
                <a:gd name="connsiteY36" fmla="*/ 1298572 h 1489062"/>
                <a:gd name="connsiteX37" fmla="*/ 1017527 w 2992450"/>
                <a:gd name="connsiteY37" fmla="*/ 571490 h 1489062"/>
                <a:gd name="connsiteX38" fmla="*/ 922277 w 2992450"/>
                <a:gd name="connsiteY38" fmla="*/ 476240 h 1489062"/>
                <a:gd name="connsiteX39" fmla="*/ 1017527 w 2992450"/>
                <a:gd name="connsiteY39" fmla="*/ 380990 h 1489062"/>
                <a:gd name="connsiteX40" fmla="*/ 1112777 w 2992450"/>
                <a:gd name="connsiteY40" fmla="*/ 476240 h 1489062"/>
                <a:gd name="connsiteX41" fmla="*/ 1017527 w 2992450"/>
                <a:gd name="connsiteY41" fmla="*/ 571490 h 1489062"/>
                <a:gd name="connsiteX42" fmla="*/ 1770040 w 2992450"/>
                <a:gd name="connsiteY42" fmla="*/ 1298172 h 1489062"/>
                <a:gd name="connsiteX43" fmla="*/ 1674790 w 2992450"/>
                <a:gd name="connsiteY43" fmla="*/ 1202922 h 1489062"/>
                <a:gd name="connsiteX44" fmla="*/ 1770040 w 2992450"/>
                <a:gd name="connsiteY44" fmla="*/ 1107672 h 1489062"/>
                <a:gd name="connsiteX45" fmla="*/ 1865290 w 2992450"/>
                <a:gd name="connsiteY45" fmla="*/ 1202922 h 1489062"/>
                <a:gd name="connsiteX46" fmla="*/ 1770040 w 2992450"/>
                <a:gd name="connsiteY46" fmla="*/ 1298172 h 1489062"/>
                <a:gd name="connsiteX47" fmla="*/ 2706681 w 2992450"/>
                <a:gd name="connsiteY47" fmla="*/ 380990 h 1489062"/>
                <a:gd name="connsiteX48" fmla="*/ 2611431 w 2992450"/>
                <a:gd name="connsiteY48" fmla="*/ 285740 h 1489062"/>
                <a:gd name="connsiteX49" fmla="*/ 2706681 w 2992450"/>
                <a:gd name="connsiteY49" fmla="*/ 190490 h 1489062"/>
                <a:gd name="connsiteX50" fmla="*/ 2801931 w 2992450"/>
                <a:gd name="connsiteY50" fmla="*/ 285740 h 1489062"/>
                <a:gd name="connsiteX51" fmla="*/ 2706681 w 2992450"/>
                <a:gd name="connsiteY51" fmla="*/ 380990 h 1489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2992450" h="1489062">
                  <a:moveTo>
                    <a:pt x="2706700" y="0"/>
                  </a:moveTo>
                  <a:cubicBezTo>
                    <a:pt x="2549138" y="0"/>
                    <a:pt x="2420950" y="128187"/>
                    <a:pt x="2420950" y="285750"/>
                  </a:cubicBezTo>
                  <a:cubicBezTo>
                    <a:pt x="2420950" y="325241"/>
                    <a:pt x="2429009" y="362874"/>
                    <a:pt x="2443553" y="397116"/>
                  </a:cubicBezTo>
                  <a:lnTo>
                    <a:pt x="1894789" y="945880"/>
                  </a:lnTo>
                  <a:cubicBezTo>
                    <a:pt x="1857080" y="927506"/>
                    <a:pt x="1814751" y="917172"/>
                    <a:pt x="1770059" y="917172"/>
                  </a:cubicBezTo>
                  <a:cubicBezTo>
                    <a:pt x="1726425" y="917172"/>
                    <a:pt x="1685068" y="927040"/>
                    <a:pt x="1648044" y="944594"/>
                  </a:cubicBezTo>
                  <a:lnTo>
                    <a:pt x="1283637" y="580187"/>
                  </a:lnTo>
                  <a:cubicBezTo>
                    <a:pt x="1296267" y="547954"/>
                    <a:pt x="1303277" y="512912"/>
                    <a:pt x="1303277" y="476240"/>
                  </a:cubicBezTo>
                  <a:cubicBezTo>
                    <a:pt x="1303277" y="318678"/>
                    <a:pt x="1175090" y="190490"/>
                    <a:pt x="1017527" y="190490"/>
                  </a:cubicBezTo>
                  <a:cubicBezTo>
                    <a:pt x="859965" y="190490"/>
                    <a:pt x="731777" y="318678"/>
                    <a:pt x="731777" y="476240"/>
                  </a:cubicBezTo>
                  <a:cubicBezTo>
                    <a:pt x="731777" y="518931"/>
                    <a:pt x="741255" y="559432"/>
                    <a:pt x="758114" y="595846"/>
                  </a:cubicBezTo>
                  <a:lnTo>
                    <a:pt x="408594" y="945366"/>
                  </a:lnTo>
                  <a:cubicBezTo>
                    <a:pt x="371361" y="927554"/>
                    <a:pt x="329698" y="917562"/>
                    <a:pt x="285750" y="917562"/>
                  </a:cubicBezTo>
                  <a:cubicBezTo>
                    <a:pt x="128188" y="917562"/>
                    <a:pt x="0" y="1045750"/>
                    <a:pt x="0" y="1203312"/>
                  </a:cubicBezTo>
                  <a:cubicBezTo>
                    <a:pt x="0" y="1360875"/>
                    <a:pt x="128188" y="1489062"/>
                    <a:pt x="285750" y="1489062"/>
                  </a:cubicBezTo>
                  <a:cubicBezTo>
                    <a:pt x="443313" y="1489062"/>
                    <a:pt x="571500" y="1360875"/>
                    <a:pt x="571500" y="1203312"/>
                  </a:cubicBezTo>
                  <a:cubicBezTo>
                    <a:pt x="571500" y="1159145"/>
                    <a:pt x="561423" y="1117292"/>
                    <a:pt x="543458" y="1079925"/>
                  </a:cubicBezTo>
                  <a:lnTo>
                    <a:pt x="891026" y="732358"/>
                  </a:lnTo>
                  <a:cubicBezTo>
                    <a:pt x="929192" y="751294"/>
                    <a:pt x="972131" y="761990"/>
                    <a:pt x="1017546" y="761990"/>
                  </a:cubicBezTo>
                  <a:cubicBezTo>
                    <a:pt x="1068838" y="761990"/>
                    <a:pt x="1116968" y="748341"/>
                    <a:pt x="1158621" y="724586"/>
                  </a:cubicBezTo>
                  <a:lnTo>
                    <a:pt x="1512751" y="1078716"/>
                  </a:lnTo>
                  <a:cubicBezTo>
                    <a:pt x="1494539" y="1116292"/>
                    <a:pt x="1484309" y="1158431"/>
                    <a:pt x="1484309" y="1202922"/>
                  </a:cubicBezTo>
                  <a:cubicBezTo>
                    <a:pt x="1484309" y="1360484"/>
                    <a:pt x="1612497" y="1488672"/>
                    <a:pt x="1770059" y="1488672"/>
                  </a:cubicBezTo>
                  <a:cubicBezTo>
                    <a:pt x="1927622" y="1488672"/>
                    <a:pt x="2055809" y="1360484"/>
                    <a:pt x="2055809" y="1202922"/>
                  </a:cubicBezTo>
                  <a:cubicBezTo>
                    <a:pt x="2055809" y="1159507"/>
                    <a:pt x="2046037" y="1118340"/>
                    <a:pt x="2028635" y="1081459"/>
                  </a:cubicBezTo>
                  <a:lnTo>
                    <a:pt x="2572274" y="537820"/>
                  </a:lnTo>
                  <a:cubicBezTo>
                    <a:pt x="2612365" y="559289"/>
                    <a:pt x="2658132" y="571500"/>
                    <a:pt x="2706700" y="571500"/>
                  </a:cubicBezTo>
                  <a:cubicBezTo>
                    <a:pt x="2864263" y="571500"/>
                    <a:pt x="2992450" y="443312"/>
                    <a:pt x="2992450" y="285750"/>
                  </a:cubicBezTo>
                  <a:cubicBezTo>
                    <a:pt x="2992450" y="128187"/>
                    <a:pt x="2864263" y="0"/>
                    <a:pt x="2706700" y="0"/>
                  </a:cubicBezTo>
                  <a:close/>
                  <a:moveTo>
                    <a:pt x="285741" y="1298572"/>
                  </a:moveTo>
                  <a:cubicBezTo>
                    <a:pt x="233220" y="1298572"/>
                    <a:pt x="190491" y="1255843"/>
                    <a:pt x="190491" y="1203322"/>
                  </a:cubicBezTo>
                  <a:cubicBezTo>
                    <a:pt x="190491" y="1150801"/>
                    <a:pt x="233220" y="1108072"/>
                    <a:pt x="285741" y="1108072"/>
                  </a:cubicBezTo>
                  <a:cubicBezTo>
                    <a:pt x="311315" y="1108072"/>
                    <a:pt x="334509" y="1118254"/>
                    <a:pt x="351635" y="1134713"/>
                  </a:cubicBezTo>
                  <a:cubicBezTo>
                    <a:pt x="352015" y="1135113"/>
                    <a:pt x="352349" y="1135542"/>
                    <a:pt x="352739" y="1135932"/>
                  </a:cubicBezTo>
                  <a:cubicBezTo>
                    <a:pt x="353196" y="1136390"/>
                    <a:pt x="353692" y="1136771"/>
                    <a:pt x="354159" y="1137209"/>
                  </a:cubicBezTo>
                  <a:cubicBezTo>
                    <a:pt x="370732" y="1154354"/>
                    <a:pt x="380991" y="1177652"/>
                    <a:pt x="380991" y="1203322"/>
                  </a:cubicBezTo>
                  <a:cubicBezTo>
                    <a:pt x="380991" y="1255833"/>
                    <a:pt x="338261" y="1298572"/>
                    <a:pt x="285741" y="1298572"/>
                  </a:cubicBezTo>
                  <a:close/>
                  <a:moveTo>
                    <a:pt x="1017527" y="571490"/>
                  </a:moveTo>
                  <a:cubicBezTo>
                    <a:pt x="965006" y="571490"/>
                    <a:pt x="922277" y="528761"/>
                    <a:pt x="922277" y="476240"/>
                  </a:cubicBezTo>
                  <a:cubicBezTo>
                    <a:pt x="922277" y="423720"/>
                    <a:pt x="965006" y="380990"/>
                    <a:pt x="1017527" y="380990"/>
                  </a:cubicBezTo>
                  <a:cubicBezTo>
                    <a:pt x="1070048" y="380990"/>
                    <a:pt x="1112777" y="423720"/>
                    <a:pt x="1112777" y="476240"/>
                  </a:cubicBezTo>
                  <a:cubicBezTo>
                    <a:pt x="1112777" y="528761"/>
                    <a:pt x="1070048" y="571490"/>
                    <a:pt x="1017527" y="571490"/>
                  </a:cubicBezTo>
                  <a:close/>
                  <a:moveTo>
                    <a:pt x="1770040" y="1298172"/>
                  </a:moveTo>
                  <a:cubicBezTo>
                    <a:pt x="1717519" y="1298172"/>
                    <a:pt x="1674790" y="1255443"/>
                    <a:pt x="1674790" y="1202922"/>
                  </a:cubicBezTo>
                  <a:cubicBezTo>
                    <a:pt x="1674790" y="1150401"/>
                    <a:pt x="1717519" y="1107672"/>
                    <a:pt x="1770040" y="1107672"/>
                  </a:cubicBezTo>
                  <a:cubicBezTo>
                    <a:pt x="1822561" y="1107672"/>
                    <a:pt x="1865290" y="1150401"/>
                    <a:pt x="1865290" y="1202922"/>
                  </a:cubicBezTo>
                  <a:cubicBezTo>
                    <a:pt x="1865290" y="1255443"/>
                    <a:pt x="1822561" y="1298172"/>
                    <a:pt x="1770040" y="1298172"/>
                  </a:cubicBezTo>
                  <a:close/>
                  <a:moveTo>
                    <a:pt x="2706681" y="380990"/>
                  </a:moveTo>
                  <a:cubicBezTo>
                    <a:pt x="2654161" y="380990"/>
                    <a:pt x="2611431" y="338261"/>
                    <a:pt x="2611431" y="285740"/>
                  </a:cubicBezTo>
                  <a:cubicBezTo>
                    <a:pt x="2611431" y="233219"/>
                    <a:pt x="2654170" y="190490"/>
                    <a:pt x="2706681" y="190490"/>
                  </a:cubicBezTo>
                  <a:cubicBezTo>
                    <a:pt x="2759202" y="190490"/>
                    <a:pt x="2801931" y="233219"/>
                    <a:pt x="2801931" y="285740"/>
                  </a:cubicBezTo>
                  <a:cubicBezTo>
                    <a:pt x="2801931" y="338261"/>
                    <a:pt x="2759202" y="380990"/>
                    <a:pt x="2706681" y="380990"/>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262626"/>
                </a:solidFill>
                <a:effectLst/>
                <a:uLnTx/>
                <a:uFillTx/>
                <a:latin typeface="阿里巴巴普惠体 B"/>
                <a:ea typeface="阿里巴巴普惠体 R"/>
                <a:cs typeface="+mn-cs"/>
              </a:endParaRPr>
            </a:p>
          </p:txBody>
        </p:sp>
        <p:sp>
          <p:nvSpPr>
            <p:cNvPr id="187" name="任意多边形: 形状 186">
              <a:extLst>
                <a:ext uri="{FF2B5EF4-FFF2-40B4-BE49-F238E27FC236}">
                  <a16:creationId xmlns:a16="http://schemas.microsoft.com/office/drawing/2014/main" id="{55D11EAD-D578-43D6-9288-0F710512CFCA}"/>
                </a:ext>
              </a:extLst>
            </p:cNvPr>
            <p:cNvSpPr/>
            <p:nvPr/>
          </p:nvSpPr>
          <p:spPr>
            <a:xfrm>
              <a:off x="6756187" y="3228975"/>
              <a:ext cx="693219" cy="190499"/>
            </a:xfrm>
            <a:custGeom>
              <a:avLst/>
              <a:gdLst>
                <a:gd name="connsiteX0" fmla="*/ 597970 w 693219"/>
                <a:gd name="connsiteY0" fmla="*/ 0 h 190500"/>
                <a:gd name="connsiteX1" fmla="*/ 95250 w 693219"/>
                <a:gd name="connsiteY1" fmla="*/ 0 h 190500"/>
                <a:gd name="connsiteX2" fmla="*/ 0 w 693219"/>
                <a:gd name="connsiteY2" fmla="*/ 95250 h 190500"/>
                <a:gd name="connsiteX3" fmla="*/ 95250 w 693219"/>
                <a:gd name="connsiteY3" fmla="*/ 190500 h 190500"/>
                <a:gd name="connsiteX4" fmla="*/ 597970 w 693219"/>
                <a:gd name="connsiteY4" fmla="*/ 190500 h 190500"/>
                <a:gd name="connsiteX5" fmla="*/ 693220 w 693219"/>
                <a:gd name="connsiteY5" fmla="*/ 95250 h 190500"/>
                <a:gd name="connsiteX6" fmla="*/ 597970 w 693219"/>
                <a:gd name="connsiteY6" fmla="*/ 0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93219" h="190500">
                  <a:moveTo>
                    <a:pt x="597970" y="0"/>
                  </a:moveTo>
                  <a:lnTo>
                    <a:pt x="95250" y="0"/>
                  </a:lnTo>
                  <a:cubicBezTo>
                    <a:pt x="42653" y="0"/>
                    <a:pt x="0" y="42653"/>
                    <a:pt x="0" y="95250"/>
                  </a:cubicBezTo>
                  <a:cubicBezTo>
                    <a:pt x="0" y="147847"/>
                    <a:pt x="42643" y="190500"/>
                    <a:pt x="95250" y="190500"/>
                  </a:cubicBezTo>
                  <a:lnTo>
                    <a:pt x="597970" y="190500"/>
                  </a:lnTo>
                  <a:cubicBezTo>
                    <a:pt x="650567" y="190500"/>
                    <a:pt x="693220" y="147847"/>
                    <a:pt x="693220" y="95250"/>
                  </a:cubicBezTo>
                  <a:cubicBezTo>
                    <a:pt x="693220" y="42653"/>
                    <a:pt x="650567" y="0"/>
                    <a:pt x="597970" y="0"/>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262626"/>
                </a:solidFill>
                <a:effectLst/>
                <a:uLnTx/>
                <a:uFillTx/>
                <a:latin typeface="阿里巴巴普惠体 B"/>
                <a:ea typeface="阿里巴巴普惠体 R"/>
                <a:cs typeface="+mn-cs"/>
              </a:endParaRPr>
            </a:p>
          </p:txBody>
        </p:sp>
        <p:sp>
          <p:nvSpPr>
            <p:cNvPr id="188" name="任意多边形: 形状 187">
              <a:extLst>
                <a:ext uri="{FF2B5EF4-FFF2-40B4-BE49-F238E27FC236}">
                  <a16:creationId xmlns:a16="http://schemas.microsoft.com/office/drawing/2014/main" id="{5CC8A464-913D-4DA0-8F19-60F4E0D2B225}"/>
                </a:ext>
              </a:extLst>
            </p:cNvPr>
            <p:cNvSpPr/>
            <p:nvPr/>
          </p:nvSpPr>
          <p:spPr>
            <a:xfrm>
              <a:off x="7692577" y="3228975"/>
              <a:ext cx="190499" cy="190499"/>
            </a:xfrm>
            <a:custGeom>
              <a:avLst/>
              <a:gdLst>
                <a:gd name="connsiteX0" fmla="*/ 162582 w 190500"/>
                <a:gd name="connsiteY0" fmla="*/ 27908 h 190500"/>
                <a:gd name="connsiteX1" fmla="*/ 95250 w 190500"/>
                <a:gd name="connsiteY1" fmla="*/ 0 h 190500"/>
                <a:gd name="connsiteX2" fmla="*/ 27908 w 190500"/>
                <a:gd name="connsiteY2" fmla="*/ 27908 h 190500"/>
                <a:gd name="connsiteX3" fmla="*/ 0 w 190500"/>
                <a:gd name="connsiteY3" fmla="*/ 95250 h 190500"/>
                <a:gd name="connsiteX4" fmla="*/ 27908 w 190500"/>
                <a:gd name="connsiteY4" fmla="*/ 162582 h 190500"/>
                <a:gd name="connsiteX5" fmla="*/ 95250 w 190500"/>
                <a:gd name="connsiteY5" fmla="*/ 190500 h 190500"/>
                <a:gd name="connsiteX6" fmla="*/ 162582 w 190500"/>
                <a:gd name="connsiteY6" fmla="*/ 162582 h 190500"/>
                <a:gd name="connsiteX7" fmla="*/ 190500 w 190500"/>
                <a:gd name="connsiteY7" fmla="*/ 95250 h 190500"/>
                <a:gd name="connsiteX8" fmla="*/ 162582 w 190500"/>
                <a:gd name="connsiteY8" fmla="*/ 27908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0500" h="190500">
                  <a:moveTo>
                    <a:pt x="162582" y="27908"/>
                  </a:moveTo>
                  <a:cubicBezTo>
                    <a:pt x="144875" y="10192"/>
                    <a:pt x="120301" y="0"/>
                    <a:pt x="95250" y="0"/>
                  </a:cubicBezTo>
                  <a:cubicBezTo>
                    <a:pt x="70199" y="0"/>
                    <a:pt x="45625" y="10182"/>
                    <a:pt x="27908" y="27908"/>
                  </a:cubicBezTo>
                  <a:cubicBezTo>
                    <a:pt x="10192" y="45625"/>
                    <a:pt x="0" y="70199"/>
                    <a:pt x="0" y="95250"/>
                  </a:cubicBezTo>
                  <a:cubicBezTo>
                    <a:pt x="0" y="120301"/>
                    <a:pt x="10182" y="144875"/>
                    <a:pt x="27908" y="162582"/>
                  </a:cubicBezTo>
                  <a:cubicBezTo>
                    <a:pt x="45625" y="180299"/>
                    <a:pt x="70104" y="190500"/>
                    <a:pt x="95250" y="190500"/>
                  </a:cubicBezTo>
                  <a:cubicBezTo>
                    <a:pt x="120301" y="190500"/>
                    <a:pt x="144875" y="180308"/>
                    <a:pt x="162582" y="162582"/>
                  </a:cubicBezTo>
                  <a:cubicBezTo>
                    <a:pt x="180299" y="144875"/>
                    <a:pt x="190500" y="120301"/>
                    <a:pt x="190500" y="95250"/>
                  </a:cubicBezTo>
                  <a:cubicBezTo>
                    <a:pt x="190500" y="70199"/>
                    <a:pt x="180308" y="45625"/>
                    <a:pt x="162582" y="2790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262626"/>
                </a:solidFill>
                <a:effectLst/>
                <a:uLnTx/>
                <a:uFillTx/>
                <a:latin typeface="阿里巴巴普惠体 B"/>
                <a:ea typeface="阿里巴巴普惠体 R"/>
                <a:cs typeface="+mn-cs"/>
              </a:endParaRPr>
            </a:p>
          </p:txBody>
        </p:sp>
        <p:sp>
          <p:nvSpPr>
            <p:cNvPr id="189" name="任意多边形: 形状 188">
              <a:extLst>
                <a:ext uri="{FF2B5EF4-FFF2-40B4-BE49-F238E27FC236}">
                  <a16:creationId xmlns:a16="http://schemas.microsoft.com/office/drawing/2014/main" id="{AE80E5B7-CBBB-48B8-84A6-26E3EE71B86D}"/>
                </a:ext>
              </a:extLst>
            </p:cNvPr>
            <p:cNvSpPr/>
            <p:nvPr/>
          </p:nvSpPr>
          <p:spPr>
            <a:xfrm>
              <a:off x="6756187" y="2314573"/>
              <a:ext cx="1354013" cy="190499"/>
            </a:xfrm>
            <a:custGeom>
              <a:avLst/>
              <a:gdLst>
                <a:gd name="connsiteX0" fmla="*/ 1258767 w 1354016"/>
                <a:gd name="connsiteY0" fmla="*/ 0 h 190500"/>
                <a:gd name="connsiteX1" fmla="*/ 95250 w 1354016"/>
                <a:gd name="connsiteY1" fmla="*/ 0 h 190500"/>
                <a:gd name="connsiteX2" fmla="*/ 0 w 1354016"/>
                <a:gd name="connsiteY2" fmla="*/ 95250 h 190500"/>
                <a:gd name="connsiteX3" fmla="*/ 95250 w 1354016"/>
                <a:gd name="connsiteY3" fmla="*/ 190500 h 190500"/>
                <a:gd name="connsiteX4" fmla="*/ 1258767 w 1354016"/>
                <a:gd name="connsiteY4" fmla="*/ 190500 h 190500"/>
                <a:gd name="connsiteX5" fmla="*/ 1354017 w 1354016"/>
                <a:gd name="connsiteY5" fmla="*/ 95250 h 190500"/>
                <a:gd name="connsiteX6" fmla="*/ 1258767 w 1354016"/>
                <a:gd name="connsiteY6" fmla="*/ 0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54016" h="190500">
                  <a:moveTo>
                    <a:pt x="1258767" y="0"/>
                  </a:moveTo>
                  <a:lnTo>
                    <a:pt x="95250" y="0"/>
                  </a:lnTo>
                  <a:cubicBezTo>
                    <a:pt x="42653" y="0"/>
                    <a:pt x="0" y="42653"/>
                    <a:pt x="0" y="95250"/>
                  </a:cubicBezTo>
                  <a:cubicBezTo>
                    <a:pt x="0" y="147847"/>
                    <a:pt x="42643" y="190500"/>
                    <a:pt x="95250" y="190500"/>
                  </a:cubicBezTo>
                  <a:lnTo>
                    <a:pt x="1258767" y="190500"/>
                  </a:lnTo>
                  <a:cubicBezTo>
                    <a:pt x="1311364" y="190500"/>
                    <a:pt x="1354017" y="147847"/>
                    <a:pt x="1354017" y="95250"/>
                  </a:cubicBezTo>
                  <a:cubicBezTo>
                    <a:pt x="1354017" y="42653"/>
                    <a:pt x="1311364" y="0"/>
                    <a:pt x="1258767" y="0"/>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262626"/>
                </a:solidFill>
                <a:effectLst/>
                <a:uLnTx/>
                <a:uFillTx/>
                <a:latin typeface="阿里巴巴普惠体 B"/>
                <a:ea typeface="阿里巴巴普惠体 R"/>
                <a:cs typeface="+mn-cs"/>
              </a:endParaRPr>
            </a:p>
          </p:txBody>
        </p:sp>
        <p:sp>
          <p:nvSpPr>
            <p:cNvPr id="190" name="任意多边形: 形状 189">
              <a:extLst>
                <a:ext uri="{FF2B5EF4-FFF2-40B4-BE49-F238E27FC236}">
                  <a16:creationId xmlns:a16="http://schemas.microsoft.com/office/drawing/2014/main" id="{F1E0757D-F28B-43B7-AA1A-D5E9E3FC1FB4}"/>
                </a:ext>
              </a:extLst>
            </p:cNvPr>
            <p:cNvSpPr/>
            <p:nvPr/>
          </p:nvSpPr>
          <p:spPr>
            <a:xfrm>
              <a:off x="6756187" y="2771774"/>
              <a:ext cx="1354013" cy="190499"/>
            </a:xfrm>
            <a:custGeom>
              <a:avLst/>
              <a:gdLst>
                <a:gd name="connsiteX0" fmla="*/ 1258767 w 1354016"/>
                <a:gd name="connsiteY0" fmla="*/ 0 h 190500"/>
                <a:gd name="connsiteX1" fmla="*/ 95250 w 1354016"/>
                <a:gd name="connsiteY1" fmla="*/ 0 h 190500"/>
                <a:gd name="connsiteX2" fmla="*/ 0 w 1354016"/>
                <a:gd name="connsiteY2" fmla="*/ 95250 h 190500"/>
                <a:gd name="connsiteX3" fmla="*/ 95250 w 1354016"/>
                <a:gd name="connsiteY3" fmla="*/ 190500 h 190500"/>
                <a:gd name="connsiteX4" fmla="*/ 1258767 w 1354016"/>
                <a:gd name="connsiteY4" fmla="*/ 190500 h 190500"/>
                <a:gd name="connsiteX5" fmla="*/ 1354017 w 1354016"/>
                <a:gd name="connsiteY5" fmla="*/ 95250 h 190500"/>
                <a:gd name="connsiteX6" fmla="*/ 1258767 w 1354016"/>
                <a:gd name="connsiteY6" fmla="*/ 0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54016" h="190500">
                  <a:moveTo>
                    <a:pt x="1258767" y="0"/>
                  </a:moveTo>
                  <a:lnTo>
                    <a:pt x="95250" y="0"/>
                  </a:lnTo>
                  <a:cubicBezTo>
                    <a:pt x="42653" y="0"/>
                    <a:pt x="0" y="42653"/>
                    <a:pt x="0" y="95250"/>
                  </a:cubicBezTo>
                  <a:cubicBezTo>
                    <a:pt x="0" y="147847"/>
                    <a:pt x="42643" y="190500"/>
                    <a:pt x="95250" y="190500"/>
                  </a:cubicBezTo>
                  <a:lnTo>
                    <a:pt x="1258767" y="190500"/>
                  </a:lnTo>
                  <a:cubicBezTo>
                    <a:pt x="1311364" y="190500"/>
                    <a:pt x="1354017" y="147847"/>
                    <a:pt x="1354017" y="95250"/>
                  </a:cubicBezTo>
                  <a:cubicBezTo>
                    <a:pt x="1354017" y="42653"/>
                    <a:pt x="1311364" y="0"/>
                    <a:pt x="1258767" y="0"/>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262626"/>
                </a:solidFill>
                <a:effectLst/>
                <a:uLnTx/>
                <a:uFillTx/>
                <a:latin typeface="阿里巴巴普惠体 B"/>
                <a:ea typeface="阿里巴巴普惠体 R"/>
                <a:cs typeface="+mn-cs"/>
              </a:endParaRPr>
            </a:p>
          </p:txBody>
        </p:sp>
      </p:grpSp>
      <p:grpSp>
        <p:nvGrpSpPr>
          <p:cNvPr id="191" name="图形 31">
            <a:extLst>
              <a:ext uri="{FF2B5EF4-FFF2-40B4-BE49-F238E27FC236}">
                <a16:creationId xmlns:a16="http://schemas.microsoft.com/office/drawing/2014/main" id="{DE44E054-1AC4-4256-AD8C-E5262DF193BF}"/>
              </a:ext>
            </a:extLst>
          </p:cNvPr>
          <p:cNvGrpSpPr/>
          <p:nvPr/>
        </p:nvGrpSpPr>
        <p:grpSpPr>
          <a:xfrm>
            <a:off x="7281922" y="2285774"/>
            <a:ext cx="336957" cy="336956"/>
            <a:chOff x="2843212" y="176223"/>
            <a:chExt cx="6505587" cy="6505563"/>
          </a:xfrm>
          <a:solidFill>
            <a:schemeClr val="bg1"/>
          </a:solidFill>
        </p:grpSpPr>
        <p:sp>
          <p:nvSpPr>
            <p:cNvPr id="192" name="任意多边形: 形状 191">
              <a:extLst>
                <a:ext uri="{FF2B5EF4-FFF2-40B4-BE49-F238E27FC236}">
                  <a16:creationId xmlns:a16="http://schemas.microsoft.com/office/drawing/2014/main" id="{01134EF8-ED65-4515-90F2-F4AEFAAC28F4}"/>
                </a:ext>
              </a:extLst>
            </p:cNvPr>
            <p:cNvSpPr/>
            <p:nvPr/>
          </p:nvSpPr>
          <p:spPr>
            <a:xfrm>
              <a:off x="2843212" y="176223"/>
              <a:ext cx="6505587" cy="6063721"/>
            </a:xfrm>
            <a:custGeom>
              <a:avLst/>
              <a:gdLst>
                <a:gd name="connsiteX0" fmla="*/ 6422042 w 6505587"/>
                <a:gd name="connsiteY0" fmla="*/ 4372857 h 6063724"/>
                <a:gd name="connsiteX1" fmla="*/ 5444359 w 6505587"/>
                <a:gd name="connsiteY1" fmla="*/ 3395025 h 6063724"/>
                <a:gd name="connsiteX2" fmla="*/ 5865848 w 6505587"/>
                <a:gd name="connsiteY2" fmla="*/ 2319515 h 6063724"/>
                <a:gd name="connsiteX3" fmla="*/ 5529133 w 6505587"/>
                <a:gd name="connsiteY3" fmla="*/ 953747 h 6063724"/>
                <a:gd name="connsiteX4" fmla="*/ 5397158 w 6505587"/>
                <a:gd name="connsiteY4" fmla="*/ 926498 h 6063724"/>
                <a:gd name="connsiteX5" fmla="*/ 5369909 w 6505587"/>
                <a:gd name="connsiteY5" fmla="*/ 1058523 h 6063724"/>
                <a:gd name="connsiteX6" fmla="*/ 5121245 w 6505587"/>
                <a:gd name="connsiteY6" fmla="*/ 3476275 h 6063724"/>
                <a:gd name="connsiteX7" fmla="*/ 2398842 w 6505587"/>
                <a:gd name="connsiteY7" fmla="*/ 3476275 h 6063724"/>
                <a:gd name="connsiteX8" fmla="*/ 2398842 w 6505587"/>
                <a:gd name="connsiteY8" fmla="*/ 753525 h 6063724"/>
                <a:gd name="connsiteX9" fmla="*/ 5120996 w 6505587"/>
                <a:gd name="connsiteY9" fmla="*/ 753277 h 6063724"/>
                <a:gd name="connsiteX10" fmla="*/ 5126208 w 6505587"/>
                <a:gd name="connsiteY10" fmla="*/ 758538 h 6063724"/>
                <a:gd name="connsiteX11" fmla="*/ 5260963 w 6505587"/>
                <a:gd name="connsiteY11" fmla="*/ 758985 h 6063724"/>
                <a:gd name="connsiteX12" fmla="*/ 5261459 w 6505587"/>
                <a:gd name="connsiteY12" fmla="*/ 624229 h 6063724"/>
                <a:gd name="connsiteX13" fmla="*/ 5256000 w 6505587"/>
                <a:gd name="connsiteY13" fmla="*/ 618720 h 6063724"/>
                <a:gd name="connsiteX14" fmla="*/ 2264037 w 6505587"/>
                <a:gd name="connsiteY14" fmla="*/ 618720 h 6063724"/>
                <a:gd name="connsiteX15" fmla="*/ 2188792 w 6505587"/>
                <a:gd name="connsiteY15" fmla="*/ 697935 h 6063724"/>
                <a:gd name="connsiteX16" fmla="*/ 95297 w 6505587"/>
                <a:gd name="connsiteY16" fmla="*/ 697935 h 6063724"/>
                <a:gd name="connsiteX17" fmla="*/ 0 w 6505587"/>
                <a:gd name="connsiteY17" fmla="*/ 793232 h 6063724"/>
                <a:gd name="connsiteX18" fmla="*/ 0 w 6505587"/>
                <a:gd name="connsiteY18" fmla="*/ 1214720 h 6063724"/>
                <a:gd name="connsiteX19" fmla="*/ 95297 w 6505587"/>
                <a:gd name="connsiteY19" fmla="*/ 1310066 h 6063724"/>
                <a:gd name="connsiteX20" fmla="*/ 190593 w 6505587"/>
                <a:gd name="connsiteY20" fmla="*/ 1214720 h 6063724"/>
                <a:gd name="connsiteX21" fmla="*/ 190593 w 6505587"/>
                <a:gd name="connsiteY21" fmla="*/ 888578 h 6063724"/>
                <a:gd name="connsiteX22" fmla="*/ 2035921 w 6505587"/>
                <a:gd name="connsiteY22" fmla="*/ 888578 h 6063724"/>
                <a:gd name="connsiteX23" fmla="*/ 1848008 w 6505587"/>
                <a:gd name="connsiteY23" fmla="*/ 1209211 h 6063724"/>
                <a:gd name="connsiteX24" fmla="*/ 660722 w 6505587"/>
                <a:gd name="connsiteY24" fmla="*/ 1209211 h 6063724"/>
                <a:gd name="connsiteX25" fmla="*/ 565426 w 6505587"/>
                <a:gd name="connsiteY25" fmla="*/ 1304508 h 6063724"/>
                <a:gd name="connsiteX26" fmla="*/ 660722 w 6505587"/>
                <a:gd name="connsiteY26" fmla="*/ 1399804 h 6063724"/>
                <a:gd name="connsiteX27" fmla="*/ 1769140 w 6505587"/>
                <a:gd name="connsiteY27" fmla="*/ 1399804 h 6063724"/>
                <a:gd name="connsiteX28" fmla="*/ 1700745 w 6505587"/>
                <a:gd name="connsiteY28" fmla="*/ 1632784 h 6063724"/>
                <a:gd name="connsiteX29" fmla="*/ 660722 w 6505587"/>
                <a:gd name="connsiteY29" fmla="*/ 1632784 h 6063724"/>
                <a:gd name="connsiteX30" fmla="*/ 565426 w 6505587"/>
                <a:gd name="connsiteY30" fmla="*/ 1728081 h 6063724"/>
                <a:gd name="connsiteX31" fmla="*/ 660722 w 6505587"/>
                <a:gd name="connsiteY31" fmla="*/ 1823377 h 6063724"/>
                <a:gd name="connsiteX32" fmla="*/ 1665505 w 6505587"/>
                <a:gd name="connsiteY32" fmla="*/ 1823377 h 6063724"/>
                <a:gd name="connsiteX33" fmla="*/ 1646297 w 6505587"/>
                <a:gd name="connsiteY33" fmla="*/ 2056308 h 6063724"/>
                <a:gd name="connsiteX34" fmla="*/ 660722 w 6505587"/>
                <a:gd name="connsiteY34" fmla="*/ 2056308 h 6063724"/>
                <a:gd name="connsiteX35" fmla="*/ 565426 w 6505587"/>
                <a:gd name="connsiteY35" fmla="*/ 2151654 h 6063724"/>
                <a:gd name="connsiteX36" fmla="*/ 660722 w 6505587"/>
                <a:gd name="connsiteY36" fmla="*/ 2246950 h 6063724"/>
                <a:gd name="connsiteX37" fmla="*/ 1649622 w 6505587"/>
                <a:gd name="connsiteY37" fmla="*/ 2246950 h 6063724"/>
                <a:gd name="connsiteX38" fmla="*/ 1862948 w 6505587"/>
                <a:gd name="connsiteY38" fmla="*/ 3051858 h 6063724"/>
                <a:gd name="connsiteX39" fmla="*/ 1702681 w 6505587"/>
                <a:gd name="connsiteY39" fmla="*/ 3051858 h 6063724"/>
                <a:gd name="connsiteX40" fmla="*/ 1607384 w 6505587"/>
                <a:gd name="connsiteY40" fmla="*/ 3147205 h 6063724"/>
                <a:gd name="connsiteX41" fmla="*/ 1607384 w 6505587"/>
                <a:gd name="connsiteY41" fmla="*/ 5968378 h 6063724"/>
                <a:gd name="connsiteX42" fmla="*/ 1702681 w 6505587"/>
                <a:gd name="connsiteY42" fmla="*/ 6063725 h 6063724"/>
                <a:gd name="connsiteX43" fmla="*/ 2465053 w 6505587"/>
                <a:gd name="connsiteY43" fmla="*/ 6063725 h 6063724"/>
                <a:gd name="connsiteX44" fmla="*/ 2560349 w 6505587"/>
                <a:gd name="connsiteY44" fmla="*/ 5968378 h 6063724"/>
                <a:gd name="connsiteX45" fmla="*/ 2560349 w 6505587"/>
                <a:gd name="connsiteY45" fmla="*/ 3857908 h 6063724"/>
                <a:gd name="connsiteX46" fmla="*/ 2827180 w 6505587"/>
                <a:gd name="connsiteY46" fmla="*/ 4014155 h 6063724"/>
                <a:gd name="connsiteX47" fmla="*/ 2827180 w 6505587"/>
                <a:gd name="connsiteY47" fmla="*/ 5968378 h 6063724"/>
                <a:gd name="connsiteX48" fmla="*/ 2922476 w 6505587"/>
                <a:gd name="connsiteY48" fmla="*/ 6063725 h 6063724"/>
                <a:gd name="connsiteX49" fmla="*/ 3684848 w 6505587"/>
                <a:gd name="connsiteY49" fmla="*/ 6063725 h 6063724"/>
                <a:gd name="connsiteX50" fmla="*/ 3780145 w 6505587"/>
                <a:gd name="connsiteY50" fmla="*/ 5968378 h 6063724"/>
                <a:gd name="connsiteX51" fmla="*/ 3780145 w 6505587"/>
                <a:gd name="connsiteY51" fmla="*/ 4229614 h 6063724"/>
                <a:gd name="connsiteX52" fmla="*/ 4002553 w 6505587"/>
                <a:gd name="connsiteY52" fmla="*/ 4215915 h 6063724"/>
                <a:gd name="connsiteX53" fmla="*/ 4002553 w 6505587"/>
                <a:gd name="connsiteY53" fmla="*/ 5687998 h 6063724"/>
                <a:gd name="connsiteX54" fmla="*/ 4097849 w 6505587"/>
                <a:gd name="connsiteY54" fmla="*/ 5783344 h 6063724"/>
                <a:gd name="connsiteX55" fmla="*/ 4193146 w 6505587"/>
                <a:gd name="connsiteY55" fmla="*/ 5687998 h 6063724"/>
                <a:gd name="connsiteX56" fmla="*/ 4193146 w 6505587"/>
                <a:gd name="connsiteY56" fmla="*/ 4185242 h 6063724"/>
                <a:gd name="connsiteX57" fmla="*/ 5040094 w 6505587"/>
                <a:gd name="connsiteY57" fmla="*/ 3799539 h 6063724"/>
                <a:gd name="connsiteX58" fmla="*/ 6017578 w 6505587"/>
                <a:gd name="connsiteY58" fmla="*/ 4777172 h 6063724"/>
                <a:gd name="connsiteX59" fmla="*/ 6219785 w 6505587"/>
                <a:gd name="connsiteY59" fmla="*/ 4860954 h 6063724"/>
                <a:gd name="connsiteX60" fmla="*/ 6421992 w 6505587"/>
                <a:gd name="connsiteY60" fmla="*/ 4777172 h 6063724"/>
                <a:gd name="connsiteX61" fmla="*/ 6422042 w 6505587"/>
                <a:gd name="connsiteY61" fmla="*/ 4372857 h 6063724"/>
                <a:gd name="connsiteX62" fmla="*/ 2369756 w 6505587"/>
                <a:gd name="connsiteY62" fmla="*/ 5873082 h 6063724"/>
                <a:gd name="connsiteX63" fmla="*/ 1797977 w 6505587"/>
                <a:gd name="connsiteY63" fmla="*/ 5873082 h 6063724"/>
                <a:gd name="connsiteX64" fmla="*/ 1797977 w 6505587"/>
                <a:gd name="connsiteY64" fmla="*/ 3242501 h 6063724"/>
                <a:gd name="connsiteX65" fmla="*/ 1969660 w 6505587"/>
                <a:gd name="connsiteY65" fmla="*/ 3242501 h 6063724"/>
                <a:gd name="connsiteX66" fmla="*/ 2264037 w 6505587"/>
                <a:gd name="connsiteY66" fmla="*/ 3611080 h 6063724"/>
                <a:gd name="connsiteX67" fmla="*/ 2369756 w 6505587"/>
                <a:gd name="connsiteY67" fmla="*/ 3709702 h 6063724"/>
                <a:gd name="connsiteX68" fmla="*/ 3017822 w 6505587"/>
                <a:gd name="connsiteY68" fmla="*/ 5873082 h 6063724"/>
                <a:gd name="connsiteX69" fmla="*/ 3017822 w 6505587"/>
                <a:gd name="connsiteY69" fmla="*/ 4096149 h 6063724"/>
                <a:gd name="connsiteX70" fmla="*/ 3589601 w 6505587"/>
                <a:gd name="connsiteY70" fmla="*/ 4222864 h 6063724"/>
                <a:gd name="connsiteX71" fmla="*/ 3589601 w 6505587"/>
                <a:gd name="connsiteY71" fmla="*/ 5873082 h 6063724"/>
                <a:gd name="connsiteX72" fmla="*/ 6287287 w 6505587"/>
                <a:gd name="connsiteY72" fmla="*/ 4642367 h 6063724"/>
                <a:gd name="connsiteX73" fmla="*/ 6219835 w 6505587"/>
                <a:gd name="connsiteY73" fmla="*/ 4670311 h 6063724"/>
                <a:gd name="connsiteX74" fmla="*/ 6152432 w 6505587"/>
                <a:gd name="connsiteY74" fmla="*/ 4642367 h 6063724"/>
                <a:gd name="connsiteX75" fmla="*/ 5187009 w 6505587"/>
                <a:gd name="connsiteY75" fmla="*/ 3676894 h 6063724"/>
                <a:gd name="connsiteX76" fmla="*/ 5256000 w 6505587"/>
                <a:gd name="connsiteY76" fmla="*/ 3611080 h 6063724"/>
                <a:gd name="connsiteX77" fmla="*/ 5321864 w 6505587"/>
                <a:gd name="connsiteY77" fmla="*/ 3542089 h 6063724"/>
                <a:gd name="connsiteX78" fmla="*/ 6287187 w 6505587"/>
                <a:gd name="connsiteY78" fmla="*/ 4507612 h 6063724"/>
                <a:gd name="connsiteX79" fmla="*/ 6287287 w 6505587"/>
                <a:gd name="connsiteY79" fmla="*/ 4642367 h 60637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6505587" h="6063724">
                  <a:moveTo>
                    <a:pt x="6422042" y="4372857"/>
                  </a:moveTo>
                  <a:lnTo>
                    <a:pt x="5444359" y="3395025"/>
                  </a:lnTo>
                  <a:cubicBezTo>
                    <a:pt x="5680566" y="3083773"/>
                    <a:pt x="5828027" y="2710677"/>
                    <a:pt x="5865848" y="2319515"/>
                  </a:cubicBezTo>
                  <a:cubicBezTo>
                    <a:pt x="5912156" y="1839458"/>
                    <a:pt x="5792589" y="1354439"/>
                    <a:pt x="5529133" y="953747"/>
                  </a:cubicBezTo>
                  <a:cubicBezTo>
                    <a:pt x="5500197" y="909771"/>
                    <a:pt x="5441083" y="897562"/>
                    <a:pt x="5397158" y="926498"/>
                  </a:cubicBezTo>
                  <a:cubicBezTo>
                    <a:pt x="5353182" y="955434"/>
                    <a:pt x="5340972" y="1014548"/>
                    <a:pt x="5369909" y="1058523"/>
                  </a:cubicBezTo>
                  <a:cubicBezTo>
                    <a:pt x="5868478" y="1816726"/>
                    <a:pt x="5763900" y="2833570"/>
                    <a:pt x="5121245" y="3476275"/>
                  </a:cubicBezTo>
                  <a:cubicBezTo>
                    <a:pt x="4370636" y="4226934"/>
                    <a:pt x="3149401" y="4226934"/>
                    <a:pt x="2398842" y="3476275"/>
                  </a:cubicBezTo>
                  <a:cubicBezTo>
                    <a:pt x="1648233" y="2725617"/>
                    <a:pt x="1648233" y="1504183"/>
                    <a:pt x="2398842" y="753525"/>
                  </a:cubicBezTo>
                  <a:cubicBezTo>
                    <a:pt x="3149401" y="2866"/>
                    <a:pt x="4370685" y="2866"/>
                    <a:pt x="5120996" y="753277"/>
                  </a:cubicBezTo>
                  <a:lnTo>
                    <a:pt x="5126208" y="758538"/>
                  </a:lnTo>
                  <a:cubicBezTo>
                    <a:pt x="5163334" y="795862"/>
                    <a:pt x="5223639" y="796111"/>
                    <a:pt x="5260963" y="758985"/>
                  </a:cubicBezTo>
                  <a:cubicBezTo>
                    <a:pt x="5298337" y="721908"/>
                    <a:pt x="5298536" y="661554"/>
                    <a:pt x="5261459" y="624229"/>
                  </a:cubicBezTo>
                  <a:lnTo>
                    <a:pt x="5256000" y="618720"/>
                  </a:lnTo>
                  <a:cubicBezTo>
                    <a:pt x="4431089" y="-206240"/>
                    <a:pt x="3088947" y="-206240"/>
                    <a:pt x="2264037" y="618720"/>
                  </a:cubicBezTo>
                  <a:cubicBezTo>
                    <a:pt x="2238128" y="644629"/>
                    <a:pt x="2213063" y="671034"/>
                    <a:pt x="2188792" y="697935"/>
                  </a:cubicBezTo>
                  <a:lnTo>
                    <a:pt x="95297" y="697935"/>
                  </a:lnTo>
                  <a:cubicBezTo>
                    <a:pt x="42685" y="697935"/>
                    <a:pt x="0" y="740620"/>
                    <a:pt x="0" y="793232"/>
                  </a:cubicBezTo>
                  <a:lnTo>
                    <a:pt x="0" y="1214720"/>
                  </a:lnTo>
                  <a:cubicBezTo>
                    <a:pt x="0" y="1267382"/>
                    <a:pt x="42685" y="1310066"/>
                    <a:pt x="95297" y="1310066"/>
                  </a:cubicBezTo>
                  <a:cubicBezTo>
                    <a:pt x="147958" y="1310066"/>
                    <a:pt x="190593" y="1267382"/>
                    <a:pt x="190593" y="1214720"/>
                  </a:cubicBezTo>
                  <a:lnTo>
                    <a:pt x="190593" y="888578"/>
                  </a:lnTo>
                  <a:lnTo>
                    <a:pt x="2035921" y="888578"/>
                  </a:lnTo>
                  <a:cubicBezTo>
                    <a:pt x="1963108" y="990873"/>
                    <a:pt x="1900471" y="1098181"/>
                    <a:pt x="1848008" y="1209211"/>
                  </a:cubicBezTo>
                  <a:lnTo>
                    <a:pt x="660722" y="1209211"/>
                  </a:lnTo>
                  <a:cubicBezTo>
                    <a:pt x="608111" y="1209211"/>
                    <a:pt x="565426" y="1251846"/>
                    <a:pt x="565426" y="1304508"/>
                  </a:cubicBezTo>
                  <a:cubicBezTo>
                    <a:pt x="565426" y="1357169"/>
                    <a:pt x="608111" y="1399804"/>
                    <a:pt x="660722" y="1399804"/>
                  </a:cubicBezTo>
                  <a:lnTo>
                    <a:pt x="1769140" y="1399804"/>
                  </a:lnTo>
                  <a:cubicBezTo>
                    <a:pt x="1741792" y="1476339"/>
                    <a:pt x="1719010" y="1554115"/>
                    <a:pt x="1700745" y="1632784"/>
                  </a:cubicBezTo>
                  <a:lnTo>
                    <a:pt x="660722" y="1632784"/>
                  </a:lnTo>
                  <a:cubicBezTo>
                    <a:pt x="608111" y="1632784"/>
                    <a:pt x="565426" y="1675419"/>
                    <a:pt x="565426" y="1728081"/>
                  </a:cubicBezTo>
                  <a:cubicBezTo>
                    <a:pt x="565426" y="1780692"/>
                    <a:pt x="608111" y="1823377"/>
                    <a:pt x="660722" y="1823377"/>
                  </a:cubicBezTo>
                  <a:lnTo>
                    <a:pt x="1665505" y="1823377"/>
                  </a:lnTo>
                  <a:cubicBezTo>
                    <a:pt x="1654834" y="1900657"/>
                    <a:pt x="1648431" y="1978433"/>
                    <a:pt x="1646297" y="2056308"/>
                  </a:cubicBezTo>
                  <a:lnTo>
                    <a:pt x="660722" y="2056308"/>
                  </a:lnTo>
                  <a:cubicBezTo>
                    <a:pt x="608111" y="2056308"/>
                    <a:pt x="565426" y="2098993"/>
                    <a:pt x="565426" y="2151654"/>
                  </a:cubicBezTo>
                  <a:cubicBezTo>
                    <a:pt x="565426" y="2204265"/>
                    <a:pt x="608111" y="2246950"/>
                    <a:pt x="660722" y="2246950"/>
                  </a:cubicBezTo>
                  <a:lnTo>
                    <a:pt x="1649622" y="2246950"/>
                  </a:lnTo>
                  <a:cubicBezTo>
                    <a:pt x="1666796" y="2523807"/>
                    <a:pt x="1737821" y="2797883"/>
                    <a:pt x="1862948" y="3051858"/>
                  </a:cubicBezTo>
                  <a:lnTo>
                    <a:pt x="1702681" y="3051858"/>
                  </a:lnTo>
                  <a:cubicBezTo>
                    <a:pt x="1650019" y="3051858"/>
                    <a:pt x="1607384" y="3094543"/>
                    <a:pt x="1607384" y="3147205"/>
                  </a:cubicBezTo>
                  <a:lnTo>
                    <a:pt x="1607384" y="5968378"/>
                  </a:lnTo>
                  <a:cubicBezTo>
                    <a:pt x="1607384" y="6021040"/>
                    <a:pt x="1650019" y="6063725"/>
                    <a:pt x="1702681" y="6063725"/>
                  </a:cubicBezTo>
                  <a:lnTo>
                    <a:pt x="2465053" y="6063725"/>
                  </a:lnTo>
                  <a:cubicBezTo>
                    <a:pt x="2517714" y="6063725"/>
                    <a:pt x="2560349" y="6021040"/>
                    <a:pt x="2560349" y="5968378"/>
                  </a:cubicBezTo>
                  <a:lnTo>
                    <a:pt x="2560349" y="3857908"/>
                  </a:lnTo>
                  <a:cubicBezTo>
                    <a:pt x="2646166" y="3917022"/>
                    <a:pt x="2735357" y="3969137"/>
                    <a:pt x="2827180" y="4014155"/>
                  </a:cubicBezTo>
                  <a:lnTo>
                    <a:pt x="2827180" y="5968378"/>
                  </a:lnTo>
                  <a:cubicBezTo>
                    <a:pt x="2827180" y="6021040"/>
                    <a:pt x="2869864" y="6063725"/>
                    <a:pt x="2922476" y="6063725"/>
                  </a:cubicBezTo>
                  <a:lnTo>
                    <a:pt x="3684848" y="6063725"/>
                  </a:lnTo>
                  <a:cubicBezTo>
                    <a:pt x="3737509" y="6063725"/>
                    <a:pt x="3780145" y="6021040"/>
                    <a:pt x="3780145" y="5968378"/>
                  </a:cubicBezTo>
                  <a:lnTo>
                    <a:pt x="3780145" y="4229614"/>
                  </a:lnTo>
                  <a:cubicBezTo>
                    <a:pt x="3854446" y="4228870"/>
                    <a:pt x="3928648" y="4224353"/>
                    <a:pt x="4002553" y="4215915"/>
                  </a:cubicBezTo>
                  <a:lnTo>
                    <a:pt x="4002553" y="5687998"/>
                  </a:lnTo>
                  <a:cubicBezTo>
                    <a:pt x="4002553" y="5740659"/>
                    <a:pt x="4045188" y="5783344"/>
                    <a:pt x="4097849" y="5783344"/>
                  </a:cubicBezTo>
                  <a:cubicBezTo>
                    <a:pt x="4150461" y="5783344"/>
                    <a:pt x="4193146" y="5740659"/>
                    <a:pt x="4193146" y="5687998"/>
                  </a:cubicBezTo>
                  <a:lnTo>
                    <a:pt x="4193146" y="4185242"/>
                  </a:lnTo>
                  <a:cubicBezTo>
                    <a:pt x="4494372" y="4122703"/>
                    <a:pt x="4784481" y="3994152"/>
                    <a:pt x="5040094" y="3799539"/>
                  </a:cubicBezTo>
                  <a:lnTo>
                    <a:pt x="6017578" y="4777172"/>
                  </a:lnTo>
                  <a:cubicBezTo>
                    <a:pt x="6071629" y="4831173"/>
                    <a:pt x="6143449" y="4860954"/>
                    <a:pt x="6219785" y="4860954"/>
                  </a:cubicBezTo>
                  <a:cubicBezTo>
                    <a:pt x="6296171" y="4860954"/>
                    <a:pt x="6367991" y="4831173"/>
                    <a:pt x="6421992" y="4777172"/>
                  </a:cubicBezTo>
                  <a:cubicBezTo>
                    <a:pt x="6533420" y="4665794"/>
                    <a:pt x="6533469" y="4484433"/>
                    <a:pt x="6422042" y="4372857"/>
                  </a:cubicBezTo>
                  <a:close/>
                  <a:moveTo>
                    <a:pt x="2369756" y="5873082"/>
                  </a:moveTo>
                  <a:lnTo>
                    <a:pt x="1797977" y="5873082"/>
                  </a:lnTo>
                  <a:lnTo>
                    <a:pt x="1797977" y="3242501"/>
                  </a:lnTo>
                  <a:lnTo>
                    <a:pt x="1969660" y="3242501"/>
                  </a:lnTo>
                  <a:cubicBezTo>
                    <a:pt x="2052101" y="3373385"/>
                    <a:pt x="2150177" y="3497171"/>
                    <a:pt x="2264037" y="3611080"/>
                  </a:cubicBezTo>
                  <a:cubicBezTo>
                    <a:pt x="2298383" y="3645427"/>
                    <a:pt x="2333722" y="3678234"/>
                    <a:pt x="2369756" y="3709702"/>
                  </a:cubicBezTo>
                  <a:close/>
                  <a:moveTo>
                    <a:pt x="3017822" y="5873082"/>
                  </a:moveTo>
                  <a:lnTo>
                    <a:pt x="3017822" y="4096149"/>
                  </a:lnTo>
                  <a:cubicBezTo>
                    <a:pt x="3202658" y="4165090"/>
                    <a:pt x="3395236" y="4207279"/>
                    <a:pt x="3589601" y="4222864"/>
                  </a:cubicBezTo>
                  <a:lnTo>
                    <a:pt x="3589601" y="5873082"/>
                  </a:lnTo>
                  <a:close/>
                  <a:moveTo>
                    <a:pt x="6287287" y="4642367"/>
                  </a:moveTo>
                  <a:cubicBezTo>
                    <a:pt x="6269270" y="4660384"/>
                    <a:pt x="6245297" y="4670311"/>
                    <a:pt x="6219835" y="4670311"/>
                  </a:cubicBezTo>
                  <a:cubicBezTo>
                    <a:pt x="6194373" y="4670311"/>
                    <a:pt x="6170400" y="4660384"/>
                    <a:pt x="6152432" y="4642367"/>
                  </a:cubicBezTo>
                  <a:lnTo>
                    <a:pt x="5187009" y="3676894"/>
                  </a:lnTo>
                  <a:cubicBezTo>
                    <a:pt x="5210387" y="3655502"/>
                    <a:pt x="5233416" y="3633663"/>
                    <a:pt x="5256000" y="3611080"/>
                  </a:cubicBezTo>
                  <a:cubicBezTo>
                    <a:pt x="5278533" y="3588547"/>
                    <a:pt x="5300471" y="3565566"/>
                    <a:pt x="5321864" y="3542089"/>
                  </a:cubicBezTo>
                  <a:lnTo>
                    <a:pt x="6287187" y="4507612"/>
                  </a:lnTo>
                  <a:cubicBezTo>
                    <a:pt x="6324363" y="4544788"/>
                    <a:pt x="6324413" y="4605291"/>
                    <a:pt x="6287287" y="4642367"/>
                  </a:cubicBezTo>
                  <a:close/>
                </a:path>
              </a:pathLst>
            </a:custGeom>
            <a:grpFill/>
            <a:ln w="127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262626"/>
                </a:solidFill>
                <a:effectLst/>
                <a:uLnTx/>
                <a:uFillTx/>
                <a:latin typeface="阿里巴巴普惠体 B"/>
                <a:ea typeface="阿里巴巴普惠体 R"/>
                <a:cs typeface="+mn-cs"/>
              </a:endParaRPr>
            </a:p>
          </p:txBody>
        </p:sp>
        <p:sp>
          <p:nvSpPr>
            <p:cNvPr id="193" name="任意多边形: 形状 192">
              <a:extLst>
                <a:ext uri="{FF2B5EF4-FFF2-40B4-BE49-F238E27FC236}">
                  <a16:creationId xmlns:a16="http://schemas.microsoft.com/office/drawing/2014/main" id="{A6DB16CB-40C2-4BA1-ACFC-1502C3B0C83D}"/>
                </a:ext>
              </a:extLst>
            </p:cNvPr>
            <p:cNvSpPr/>
            <p:nvPr/>
          </p:nvSpPr>
          <p:spPr>
            <a:xfrm>
              <a:off x="2843212" y="1708703"/>
              <a:ext cx="4193146" cy="4973083"/>
            </a:xfrm>
            <a:custGeom>
              <a:avLst/>
              <a:gdLst>
                <a:gd name="connsiteX0" fmla="*/ 4097849 w 4193145"/>
                <a:gd name="connsiteY0" fmla="*/ 4471144 h 4973088"/>
                <a:gd name="connsiteX1" fmla="*/ 4002553 w 4193145"/>
                <a:gd name="connsiteY1" fmla="*/ 4566440 h 4973088"/>
                <a:gd name="connsiteX2" fmla="*/ 4002553 w 4193145"/>
                <a:gd name="connsiteY2" fmla="*/ 4782495 h 4973088"/>
                <a:gd name="connsiteX3" fmla="*/ 190593 w 4193145"/>
                <a:gd name="connsiteY3" fmla="*/ 4782495 h 4973088"/>
                <a:gd name="connsiteX4" fmla="*/ 190593 w 4193145"/>
                <a:gd name="connsiteY4" fmla="*/ 95297 h 4973088"/>
                <a:gd name="connsiteX5" fmla="*/ 95297 w 4193145"/>
                <a:gd name="connsiteY5" fmla="*/ 0 h 4973088"/>
                <a:gd name="connsiteX6" fmla="*/ 0 w 4193145"/>
                <a:gd name="connsiteY6" fmla="*/ 95297 h 4973088"/>
                <a:gd name="connsiteX7" fmla="*/ 0 w 4193145"/>
                <a:gd name="connsiteY7" fmla="*/ 4877792 h 4973088"/>
                <a:gd name="connsiteX8" fmla="*/ 95297 w 4193145"/>
                <a:gd name="connsiteY8" fmla="*/ 4973088 h 4973088"/>
                <a:gd name="connsiteX9" fmla="*/ 4097849 w 4193145"/>
                <a:gd name="connsiteY9" fmla="*/ 4973088 h 4973088"/>
                <a:gd name="connsiteX10" fmla="*/ 4193146 w 4193145"/>
                <a:gd name="connsiteY10" fmla="*/ 4877792 h 4973088"/>
                <a:gd name="connsiteX11" fmla="*/ 4193146 w 4193145"/>
                <a:gd name="connsiteY11" fmla="*/ 4566440 h 4973088"/>
                <a:gd name="connsiteX12" fmla="*/ 4097849 w 4193145"/>
                <a:gd name="connsiteY12" fmla="*/ 4471144 h 4973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193145" h="4973088">
                  <a:moveTo>
                    <a:pt x="4097849" y="4471144"/>
                  </a:moveTo>
                  <a:cubicBezTo>
                    <a:pt x="4045238" y="4471144"/>
                    <a:pt x="4002553" y="4513779"/>
                    <a:pt x="4002553" y="4566440"/>
                  </a:cubicBezTo>
                  <a:lnTo>
                    <a:pt x="4002553" y="4782495"/>
                  </a:lnTo>
                  <a:lnTo>
                    <a:pt x="190593" y="4782495"/>
                  </a:lnTo>
                  <a:lnTo>
                    <a:pt x="190593" y="95297"/>
                  </a:lnTo>
                  <a:cubicBezTo>
                    <a:pt x="190593" y="42635"/>
                    <a:pt x="147958" y="0"/>
                    <a:pt x="95297" y="0"/>
                  </a:cubicBezTo>
                  <a:cubicBezTo>
                    <a:pt x="42685" y="0"/>
                    <a:pt x="0" y="42635"/>
                    <a:pt x="0" y="95297"/>
                  </a:cubicBezTo>
                  <a:lnTo>
                    <a:pt x="0" y="4877792"/>
                  </a:lnTo>
                  <a:cubicBezTo>
                    <a:pt x="0" y="4930453"/>
                    <a:pt x="42685" y="4973088"/>
                    <a:pt x="95297" y="4973088"/>
                  </a:cubicBezTo>
                  <a:lnTo>
                    <a:pt x="4097849" y="4973088"/>
                  </a:lnTo>
                  <a:cubicBezTo>
                    <a:pt x="4150511" y="4973088"/>
                    <a:pt x="4193146" y="4930453"/>
                    <a:pt x="4193146" y="4877792"/>
                  </a:cubicBezTo>
                  <a:lnTo>
                    <a:pt x="4193146" y="4566440"/>
                  </a:lnTo>
                  <a:cubicBezTo>
                    <a:pt x="4193146" y="4513779"/>
                    <a:pt x="4150511" y="4471144"/>
                    <a:pt x="4097849" y="4471144"/>
                  </a:cubicBezTo>
                  <a:close/>
                </a:path>
              </a:pathLst>
            </a:custGeom>
            <a:grpFill/>
            <a:ln w="127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262626"/>
                </a:solidFill>
                <a:effectLst/>
                <a:uLnTx/>
                <a:uFillTx/>
                <a:latin typeface="阿里巴巴普惠体 B"/>
                <a:ea typeface="阿里巴巴普惠体 R"/>
                <a:cs typeface="+mn-cs"/>
              </a:endParaRPr>
            </a:p>
          </p:txBody>
        </p:sp>
        <p:sp>
          <p:nvSpPr>
            <p:cNvPr id="194" name="任意多边形: 形状 193">
              <a:extLst>
                <a:ext uri="{FF2B5EF4-FFF2-40B4-BE49-F238E27FC236}">
                  <a16:creationId xmlns:a16="http://schemas.microsoft.com/office/drawing/2014/main" id="{694DF94E-18B5-4D7E-8C79-B2B9A3B38EB7}"/>
                </a:ext>
              </a:extLst>
            </p:cNvPr>
            <p:cNvSpPr/>
            <p:nvPr/>
          </p:nvSpPr>
          <p:spPr>
            <a:xfrm>
              <a:off x="3256166" y="3990556"/>
              <a:ext cx="953009" cy="2249342"/>
            </a:xfrm>
            <a:custGeom>
              <a:avLst/>
              <a:gdLst>
                <a:gd name="connsiteX0" fmla="*/ 0 w 953014"/>
                <a:gd name="connsiteY0" fmla="*/ 95297 h 2249345"/>
                <a:gd name="connsiteX1" fmla="*/ 0 w 953014"/>
                <a:gd name="connsiteY1" fmla="*/ 2154049 h 2249345"/>
                <a:gd name="connsiteX2" fmla="*/ 95297 w 953014"/>
                <a:gd name="connsiteY2" fmla="*/ 2249345 h 2249345"/>
                <a:gd name="connsiteX3" fmla="*/ 857718 w 953014"/>
                <a:gd name="connsiteY3" fmla="*/ 2249345 h 2249345"/>
                <a:gd name="connsiteX4" fmla="*/ 953015 w 953014"/>
                <a:gd name="connsiteY4" fmla="*/ 2154049 h 2249345"/>
                <a:gd name="connsiteX5" fmla="*/ 953015 w 953014"/>
                <a:gd name="connsiteY5" fmla="*/ 95297 h 2249345"/>
                <a:gd name="connsiteX6" fmla="*/ 857718 w 953014"/>
                <a:gd name="connsiteY6" fmla="*/ 0 h 2249345"/>
                <a:gd name="connsiteX7" fmla="*/ 95297 w 953014"/>
                <a:gd name="connsiteY7" fmla="*/ 0 h 2249345"/>
                <a:gd name="connsiteX8" fmla="*/ 0 w 953014"/>
                <a:gd name="connsiteY8" fmla="*/ 95297 h 2249345"/>
                <a:gd name="connsiteX9" fmla="*/ 190593 w 953014"/>
                <a:gd name="connsiteY9" fmla="*/ 190643 h 2249345"/>
                <a:gd name="connsiteX10" fmla="*/ 762422 w 953014"/>
                <a:gd name="connsiteY10" fmla="*/ 190643 h 2249345"/>
                <a:gd name="connsiteX11" fmla="*/ 762422 w 953014"/>
                <a:gd name="connsiteY11" fmla="*/ 2058702 h 2249345"/>
                <a:gd name="connsiteX12" fmla="*/ 190593 w 953014"/>
                <a:gd name="connsiteY12" fmla="*/ 2058702 h 22493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53014" h="2249345">
                  <a:moveTo>
                    <a:pt x="0" y="95297"/>
                  </a:moveTo>
                  <a:lnTo>
                    <a:pt x="0" y="2154049"/>
                  </a:lnTo>
                  <a:cubicBezTo>
                    <a:pt x="0" y="2206660"/>
                    <a:pt x="42685" y="2249345"/>
                    <a:pt x="95297" y="2249345"/>
                  </a:cubicBezTo>
                  <a:lnTo>
                    <a:pt x="857718" y="2249345"/>
                  </a:lnTo>
                  <a:cubicBezTo>
                    <a:pt x="910330" y="2249345"/>
                    <a:pt x="953015" y="2206660"/>
                    <a:pt x="953015" y="2154049"/>
                  </a:cubicBezTo>
                  <a:lnTo>
                    <a:pt x="953015" y="95297"/>
                  </a:lnTo>
                  <a:cubicBezTo>
                    <a:pt x="953015" y="42685"/>
                    <a:pt x="910330" y="0"/>
                    <a:pt x="857718" y="0"/>
                  </a:cubicBezTo>
                  <a:lnTo>
                    <a:pt x="95297" y="0"/>
                  </a:lnTo>
                  <a:cubicBezTo>
                    <a:pt x="42685" y="0"/>
                    <a:pt x="0" y="42685"/>
                    <a:pt x="0" y="95297"/>
                  </a:cubicBezTo>
                  <a:close/>
                  <a:moveTo>
                    <a:pt x="190593" y="190643"/>
                  </a:moveTo>
                  <a:lnTo>
                    <a:pt x="762422" y="190643"/>
                  </a:lnTo>
                  <a:lnTo>
                    <a:pt x="762422" y="2058702"/>
                  </a:lnTo>
                  <a:lnTo>
                    <a:pt x="190593" y="2058702"/>
                  </a:lnTo>
                  <a:close/>
                </a:path>
              </a:pathLst>
            </a:custGeom>
            <a:grpFill/>
            <a:ln w="127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262626"/>
                </a:solidFill>
                <a:effectLst/>
                <a:uLnTx/>
                <a:uFillTx/>
                <a:latin typeface="阿里巴巴普惠体 B"/>
                <a:ea typeface="阿里巴巴普惠体 R"/>
                <a:cs typeface="+mn-cs"/>
              </a:endParaRPr>
            </a:p>
          </p:txBody>
        </p:sp>
        <p:sp>
          <p:nvSpPr>
            <p:cNvPr id="195" name="任意多边形: 形状 194">
              <a:extLst>
                <a:ext uri="{FF2B5EF4-FFF2-40B4-BE49-F238E27FC236}">
                  <a16:creationId xmlns:a16="http://schemas.microsoft.com/office/drawing/2014/main" id="{35F8EDD9-E50F-47C5-BBC2-3351C2E3A90E}"/>
                </a:ext>
              </a:extLst>
            </p:cNvPr>
            <p:cNvSpPr/>
            <p:nvPr/>
          </p:nvSpPr>
          <p:spPr>
            <a:xfrm>
              <a:off x="3408635" y="2656199"/>
              <a:ext cx="903178" cy="190640"/>
            </a:xfrm>
            <a:custGeom>
              <a:avLst/>
              <a:gdLst>
                <a:gd name="connsiteX0" fmla="*/ 807886 w 903182"/>
                <a:gd name="connsiteY0" fmla="*/ 190643 h 190642"/>
                <a:gd name="connsiteX1" fmla="*/ 903183 w 903182"/>
                <a:gd name="connsiteY1" fmla="*/ 95297 h 190642"/>
                <a:gd name="connsiteX2" fmla="*/ 807886 w 903182"/>
                <a:gd name="connsiteY2" fmla="*/ 0 h 190642"/>
                <a:gd name="connsiteX3" fmla="*/ 95297 w 903182"/>
                <a:gd name="connsiteY3" fmla="*/ 0 h 190642"/>
                <a:gd name="connsiteX4" fmla="*/ 0 w 903182"/>
                <a:gd name="connsiteY4" fmla="*/ 95297 h 190642"/>
                <a:gd name="connsiteX5" fmla="*/ 95297 w 903182"/>
                <a:gd name="connsiteY5" fmla="*/ 190643 h 1906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03182" h="190642">
                  <a:moveTo>
                    <a:pt x="807886" y="190643"/>
                  </a:moveTo>
                  <a:cubicBezTo>
                    <a:pt x="860547" y="190643"/>
                    <a:pt x="903183" y="147958"/>
                    <a:pt x="903183" y="95297"/>
                  </a:cubicBezTo>
                  <a:cubicBezTo>
                    <a:pt x="903183" y="42685"/>
                    <a:pt x="860547" y="0"/>
                    <a:pt x="807886" y="0"/>
                  </a:cubicBezTo>
                  <a:lnTo>
                    <a:pt x="95297" y="0"/>
                  </a:lnTo>
                  <a:cubicBezTo>
                    <a:pt x="42685" y="0"/>
                    <a:pt x="0" y="42685"/>
                    <a:pt x="0" y="95297"/>
                  </a:cubicBezTo>
                  <a:cubicBezTo>
                    <a:pt x="0" y="147958"/>
                    <a:pt x="42685" y="190643"/>
                    <a:pt x="95297" y="190643"/>
                  </a:cubicBezTo>
                  <a:close/>
                </a:path>
              </a:pathLst>
            </a:custGeom>
            <a:grpFill/>
            <a:ln w="127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262626"/>
                </a:solidFill>
                <a:effectLst/>
                <a:uLnTx/>
                <a:uFillTx/>
                <a:latin typeface="阿里巴巴普惠体 B"/>
                <a:ea typeface="阿里巴巴普惠体 R"/>
                <a:cs typeface="+mn-cs"/>
              </a:endParaRPr>
            </a:p>
          </p:txBody>
        </p:sp>
        <p:sp>
          <p:nvSpPr>
            <p:cNvPr id="196" name="任意多边形: 形状 195">
              <a:extLst>
                <a:ext uri="{FF2B5EF4-FFF2-40B4-BE49-F238E27FC236}">
                  <a16:creationId xmlns:a16="http://schemas.microsoft.com/office/drawing/2014/main" id="{46818227-2638-4B02-B68C-886AA37ED489}"/>
                </a:ext>
              </a:extLst>
            </p:cNvPr>
            <p:cNvSpPr/>
            <p:nvPr/>
          </p:nvSpPr>
          <p:spPr>
            <a:xfrm>
              <a:off x="4869550" y="557243"/>
              <a:ext cx="3467353" cy="3467805"/>
            </a:xfrm>
            <a:custGeom>
              <a:avLst/>
              <a:gdLst>
                <a:gd name="connsiteX0" fmla="*/ 1733702 w 3467353"/>
                <a:gd name="connsiteY0" fmla="*/ 0 h 3467800"/>
                <a:gd name="connsiteX1" fmla="*/ 507255 w 3467353"/>
                <a:gd name="connsiteY1" fmla="*/ 507305 h 3467800"/>
                <a:gd name="connsiteX2" fmla="*/ 0 w 3467353"/>
                <a:gd name="connsiteY2" fmla="*/ 1733900 h 3467800"/>
                <a:gd name="connsiteX3" fmla="*/ 507255 w 3467353"/>
                <a:gd name="connsiteY3" fmla="*/ 2960495 h 3467800"/>
                <a:gd name="connsiteX4" fmla="*/ 1733702 w 3467353"/>
                <a:gd name="connsiteY4" fmla="*/ 3467800 h 3467800"/>
                <a:gd name="connsiteX5" fmla="*/ 2960148 w 3467353"/>
                <a:gd name="connsiteY5" fmla="*/ 2960495 h 3467800"/>
                <a:gd name="connsiteX6" fmla="*/ 3467354 w 3467353"/>
                <a:gd name="connsiteY6" fmla="*/ 1733900 h 3467800"/>
                <a:gd name="connsiteX7" fmla="*/ 2960148 w 3467353"/>
                <a:gd name="connsiteY7" fmla="*/ 507305 h 3467800"/>
                <a:gd name="connsiteX8" fmla="*/ 1733702 w 3467353"/>
                <a:gd name="connsiteY8" fmla="*/ 0 h 3467800"/>
                <a:gd name="connsiteX9" fmla="*/ 2825343 w 3467353"/>
                <a:gd name="connsiteY9" fmla="*/ 2825691 h 3467800"/>
                <a:gd name="connsiteX10" fmla="*/ 1733702 w 3467353"/>
                <a:gd name="connsiteY10" fmla="*/ 3277158 h 3467800"/>
                <a:gd name="connsiteX11" fmla="*/ 642060 w 3467353"/>
                <a:gd name="connsiteY11" fmla="*/ 2825691 h 3467800"/>
                <a:gd name="connsiteX12" fmla="*/ 190593 w 3467353"/>
                <a:gd name="connsiteY12" fmla="*/ 1733900 h 3467800"/>
                <a:gd name="connsiteX13" fmla="*/ 642060 w 3467353"/>
                <a:gd name="connsiteY13" fmla="*/ 642060 h 3467800"/>
                <a:gd name="connsiteX14" fmla="*/ 1733702 w 3467353"/>
                <a:gd name="connsiteY14" fmla="*/ 190543 h 3467800"/>
                <a:gd name="connsiteX15" fmla="*/ 2825343 w 3467353"/>
                <a:gd name="connsiteY15" fmla="*/ 642060 h 3467800"/>
                <a:gd name="connsiteX16" fmla="*/ 3276761 w 3467353"/>
                <a:gd name="connsiteY16" fmla="*/ 1733900 h 3467800"/>
                <a:gd name="connsiteX17" fmla="*/ 2825343 w 3467353"/>
                <a:gd name="connsiteY17" fmla="*/ 2825691 h 3467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467353" h="3467800">
                  <a:moveTo>
                    <a:pt x="1733702" y="0"/>
                  </a:moveTo>
                  <a:cubicBezTo>
                    <a:pt x="1269925" y="0"/>
                    <a:pt x="834341" y="180170"/>
                    <a:pt x="507255" y="507305"/>
                  </a:cubicBezTo>
                  <a:cubicBezTo>
                    <a:pt x="180170" y="834440"/>
                    <a:pt x="0" y="1270074"/>
                    <a:pt x="0" y="1733900"/>
                  </a:cubicBezTo>
                  <a:cubicBezTo>
                    <a:pt x="0" y="2197726"/>
                    <a:pt x="180170" y="2633360"/>
                    <a:pt x="507255" y="2960495"/>
                  </a:cubicBezTo>
                  <a:cubicBezTo>
                    <a:pt x="834390" y="3287630"/>
                    <a:pt x="1269925" y="3467800"/>
                    <a:pt x="1733702" y="3467800"/>
                  </a:cubicBezTo>
                  <a:cubicBezTo>
                    <a:pt x="2197478" y="3467800"/>
                    <a:pt x="2633013" y="3287630"/>
                    <a:pt x="2960148" y="2960495"/>
                  </a:cubicBezTo>
                  <a:cubicBezTo>
                    <a:pt x="3287233" y="2633360"/>
                    <a:pt x="3467354" y="2197726"/>
                    <a:pt x="3467354" y="1733900"/>
                  </a:cubicBezTo>
                  <a:cubicBezTo>
                    <a:pt x="3467354" y="1270074"/>
                    <a:pt x="3287233" y="834440"/>
                    <a:pt x="2960148" y="507305"/>
                  </a:cubicBezTo>
                  <a:cubicBezTo>
                    <a:pt x="2633013" y="180170"/>
                    <a:pt x="2197478" y="0"/>
                    <a:pt x="1733702" y="0"/>
                  </a:cubicBezTo>
                  <a:close/>
                  <a:moveTo>
                    <a:pt x="2825343" y="2825691"/>
                  </a:moveTo>
                  <a:cubicBezTo>
                    <a:pt x="2534242" y="3116841"/>
                    <a:pt x="2146554" y="3277158"/>
                    <a:pt x="1733702" y="3277158"/>
                  </a:cubicBezTo>
                  <a:cubicBezTo>
                    <a:pt x="1320800" y="3277158"/>
                    <a:pt x="933161" y="3116841"/>
                    <a:pt x="642060" y="2825691"/>
                  </a:cubicBezTo>
                  <a:cubicBezTo>
                    <a:pt x="350910" y="2534540"/>
                    <a:pt x="190593" y="2146802"/>
                    <a:pt x="190593" y="1733900"/>
                  </a:cubicBezTo>
                  <a:cubicBezTo>
                    <a:pt x="190593" y="1320949"/>
                    <a:pt x="350910" y="933211"/>
                    <a:pt x="642060" y="642060"/>
                  </a:cubicBezTo>
                  <a:cubicBezTo>
                    <a:pt x="942989" y="341082"/>
                    <a:pt x="1338370" y="190543"/>
                    <a:pt x="1733702" y="190543"/>
                  </a:cubicBezTo>
                  <a:cubicBezTo>
                    <a:pt x="2129033" y="190543"/>
                    <a:pt x="2524415" y="341082"/>
                    <a:pt x="2825343" y="642060"/>
                  </a:cubicBezTo>
                  <a:cubicBezTo>
                    <a:pt x="3116444" y="933211"/>
                    <a:pt x="3276761" y="1320949"/>
                    <a:pt x="3276761" y="1733900"/>
                  </a:cubicBezTo>
                  <a:cubicBezTo>
                    <a:pt x="3276761" y="2146802"/>
                    <a:pt x="3116444" y="2534540"/>
                    <a:pt x="2825343" y="2825691"/>
                  </a:cubicBezTo>
                  <a:close/>
                </a:path>
              </a:pathLst>
            </a:custGeom>
            <a:grpFill/>
            <a:ln w="127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262626"/>
                </a:solidFill>
                <a:effectLst/>
                <a:uLnTx/>
                <a:uFillTx/>
                <a:latin typeface="阿里巴巴普惠体 B"/>
                <a:ea typeface="阿里巴巴普惠体 R"/>
                <a:cs typeface="+mn-cs"/>
              </a:endParaRPr>
            </a:p>
          </p:txBody>
        </p:sp>
      </p:grpSp>
      <p:grpSp>
        <p:nvGrpSpPr>
          <p:cNvPr id="197" name="图形 93">
            <a:extLst>
              <a:ext uri="{FF2B5EF4-FFF2-40B4-BE49-F238E27FC236}">
                <a16:creationId xmlns:a16="http://schemas.microsoft.com/office/drawing/2014/main" id="{FD213CAD-22D8-493C-BFD3-B4AAABA2FC59}"/>
              </a:ext>
            </a:extLst>
          </p:cNvPr>
          <p:cNvGrpSpPr/>
          <p:nvPr/>
        </p:nvGrpSpPr>
        <p:grpSpPr>
          <a:xfrm>
            <a:off x="8931540" y="3154955"/>
            <a:ext cx="336956" cy="331495"/>
            <a:chOff x="4421509" y="1204616"/>
            <a:chExt cx="1231508" cy="1211536"/>
          </a:xfrm>
          <a:solidFill>
            <a:schemeClr val="bg1"/>
          </a:solidFill>
        </p:grpSpPr>
        <p:sp>
          <p:nvSpPr>
            <p:cNvPr id="198" name="任意多边形: 形状 197">
              <a:extLst>
                <a:ext uri="{FF2B5EF4-FFF2-40B4-BE49-F238E27FC236}">
                  <a16:creationId xmlns:a16="http://schemas.microsoft.com/office/drawing/2014/main" id="{A604F609-4E21-4B1E-8BB7-1A8642C09C2F}"/>
                </a:ext>
              </a:extLst>
            </p:cNvPr>
            <p:cNvSpPr/>
            <p:nvPr/>
          </p:nvSpPr>
          <p:spPr>
            <a:xfrm>
              <a:off x="4503802" y="1286988"/>
              <a:ext cx="846402" cy="846394"/>
            </a:xfrm>
            <a:custGeom>
              <a:avLst/>
              <a:gdLst>
                <a:gd name="connsiteX0" fmla="*/ 423201 w 846402"/>
                <a:gd name="connsiteY0" fmla="*/ 0 h 846402"/>
                <a:gd name="connsiteX1" fmla="*/ 0 w 846402"/>
                <a:gd name="connsiteY1" fmla="*/ 423201 h 846402"/>
                <a:gd name="connsiteX2" fmla="*/ 423201 w 846402"/>
                <a:gd name="connsiteY2" fmla="*/ 846402 h 846402"/>
                <a:gd name="connsiteX3" fmla="*/ 846402 w 846402"/>
                <a:gd name="connsiteY3" fmla="*/ 423201 h 846402"/>
                <a:gd name="connsiteX4" fmla="*/ 423201 w 846402"/>
                <a:gd name="connsiteY4" fmla="*/ 0 h 846402"/>
                <a:gd name="connsiteX5" fmla="*/ 423201 w 846402"/>
                <a:gd name="connsiteY5" fmla="*/ 806098 h 846402"/>
                <a:gd name="connsiteX6" fmla="*/ 40305 w 846402"/>
                <a:gd name="connsiteY6" fmla="*/ 423201 h 846402"/>
                <a:gd name="connsiteX7" fmla="*/ 423201 w 846402"/>
                <a:gd name="connsiteY7" fmla="*/ 40305 h 846402"/>
                <a:gd name="connsiteX8" fmla="*/ 806098 w 846402"/>
                <a:gd name="connsiteY8" fmla="*/ 423201 h 846402"/>
                <a:gd name="connsiteX9" fmla="*/ 423201 w 846402"/>
                <a:gd name="connsiteY9" fmla="*/ 806098 h 846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46402" h="846402">
                  <a:moveTo>
                    <a:pt x="423201" y="0"/>
                  </a:moveTo>
                  <a:cubicBezTo>
                    <a:pt x="189474" y="0"/>
                    <a:pt x="0" y="189474"/>
                    <a:pt x="0" y="423201"/>
                  </a:cubicBezTo>
                  <a:cubicBezTo>
                    <a:pt x="0" y="656929"/>
                    <a:pt x="189474" y="846402"/>
                    <a:pt x="423201" y="846402"/>
                  </a:cubicBezTo>
                  <a:cubicBezTo>
                    <a:pt x="656929" y="846402"/>
                    <a:pt x="846402" y="656929"/>
                    <a:pt x="846402" y="423201"/>
                  </a:cubicBezTo>
                  <a:cubicBezTo>
                    <a:pt x="846136" y="189584"/>
                    <a:pt x="656818" y="267"/>
                    <a:pt x="423201" y="0"/>
                  </a:cubicBezTo>
                  <a:close/>
                  <a:moveTo>
                    <a:pt x="423201" y="806098"/>
                  </a:moveTo>
                  <a:cubicBezTo>
                    <a:pt x="211733" y="806098"/>
                    <a:pt x="40305" y="634669"/>
                    <a:pt x="40305" y="423201"/>
                  </a:cubicBezTo>
                  <a:cubicBezTo>
                    <a:pt x="40305" y="211733"/>
                    <a:pt x="211733" y="40305"/>
                    <a:pt x="423201" y="40305"/>
                  </a:cubicBezTo>
                  <a:cubicBezTo>
                    <a:pt x="634669" y="40305"/>
                    <a:pt x="806098" y="211733"/>
                    <a:pt x="806098" y="423201"/>
                  </a:cubicBezTo>
                  <a:cubicBezTo>
                    <a:pt x="805853" y="634568"/>
                    <a:pt x="634568" y="805853"/>
                    <a:pt x="423201" y="806098"/>
                  </a:cubicBezTo>
                  <a:close/>
                </a:path>
              </a:pathLst>
            </a:custGeom>
            <a:grpFill/>
            <a:ln w="200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262626"/>
                </a:solidFill>
                <a:effectLst/>
                <a:uLnTx/>
                <a:uFillTx/>
                <a:latin typeface="阿里巴巴普惠体 B"/>
                <a:ea typeface="阿里巴巴普惠体 R"/>
                <a:cs typeface="+mn-cs"/>
              </a:endParaRPr>
            </a:p>
          </p:txBody>
        </p:sp>
        <p:sp>
          <p:nvSpPr>
            <p:cNvPr id="199" name="任意多边形: 形状 198">
              <a:extLst>
                <a:ext uri="{FF2B5EF4-FFF2-40B4-BE49-F238E27FC236}">
                  <a16:creationId xmlns:a16="http://schemas.microsoft.com/office/drawing/2014/main" id="{548A9DF4-0E30-4E40-9EE4-1B74E3004920}"/>
                </a:ext>
              </a:extLst>
            </p:cNvPr>
            <p:cNvSpPr/>
            <p:nvPr/>
          </p:nvSpPr>
          <p:spPr>
            <a:xfrm>
              <a:off x="4421509" y="1204616"/>
              <a:ext cx="1231508" cy="1211536"/>
            </a:xfrm>
            <a:custGeom>
              <a:avLst/>
              <a:gdLst>
                <a:gd name="connsiteX0" fmla="*/ 910417 w 1231508"/>
                <a:gd name="connsiteY0" fmla="*/ 804878 h 1211548"/>
                <a:gd name="connsiteX1" fmla="*/ 804878 w 1231508"/>
                <a:gd name="connsiteY1" fmla="*/ 99003 h 1211548"/>
                <a:gd name="connsiteX2" fmla="*/ 99003 w 1231508"/>
                <a:gd name="connsiteY2" fmla="*/ 204541 h 1211548"/>
                <a:gd name="connsiteX3" fmla="*/ 204541 w 1231508"/>
                <a:gd name="connsiteY3" fmla="*/ 910417 h 1211548"/>
                <a:gd name="connsiteX4" fmla="*/ 827328 w 1231508"/>
                <a:gd name="connsiteY4" fmla="*/ 892803 h 1211548"/>
                <a:gd name="connsiteX5" fmla="*/ 1127721 w 1231508"/>
                <a:gd name="connsiteY5" fmla="*/ 1193075 h 1211548"/>
                <a:gd name="connsiteX6" fmla="*/ 1213034 w 1231508"/>
                <a:gd name="connsiteY6" fmla="*/ 1194664 h 1211548"/>
                <a:gd name="connsiteX7" fmla="*/ 1214624 w 1231508"/>
                <a:gd name="connsiteY7" fmla="*/ 1109350 h 1211548"/>
                <a:gd name="connsiteX8" fmla="*/ 1213127 w 1231508"/>
                <a:gd name="connsiteY8" fmla="*/ 1107850 h 1211548"/>
                <a:gd name="connsiteX9" fmla="*/ 41988 w 1231508"/>
                <a:gd name="connsiteY9" fmla="*/ 505574 h 1211548"/>
                <a:gd name="connsiteX10" fmla="*/ 505494 w 1231508"/>
                <a:gd name="connsiteY10" fmla="*/ 42068 h 1211548"/>
                <a:gd name="connsiteX11" fmla="*/ 969000 w 1231508"/>
                <a:gd name="connsiteY11" fmla="*/ 505574 h 1211548"/>
                <a:gd name="connsiteX12" fmla="*/ 505494 w 1231508"/>
                <a:gd name="connsiteY12" fmla="*/ 969080 h 1211548"/>
                <a:gd name="connsiteX13" fmla="*/ 41988 w 1231508"/>
                <a:gd name="connsiteY13" fmla="*/ 505574 h 1211548"/>
                <a:gd name="connsiteX14" fmla="*/ 1184631 w 1231508"/>
                <a:gd name="connsiteY14" fmla="*/ 1164720 h 1211548"/>
                <a:gd name="connsiteX15" fmla="*/ 1156418 w 1231508"/>
                <a:gd name="connsiteY15" fmla="*/ 1164720 h 1211548"/>
                <a:gd name="connsiteX16" fmla="*/ 857235 w 1231508"/>
                <a:gd name="connsiteY16" fmla="*/ 865739 h 1211548"/>
                <a:gd name="connsiteX17" fmla="*/ 884924 w 1231508"/>
                <a:gd name="connsiteY17" fmla="*/ 836397 h 1211548"/>
                <a:gd name="connsiteX18" fmla="*/ 1184631 w 1231508"/>
                <a:gd name="connsiteY18" fmla="*/ 1136346 h 1211548"/>
                <a:gd name="connsiteX19" fmla="*/ 1190677 w 1231508"/>
                <a:gd name="connsiteY19" fmla="*/ 1150452 h 1211548"/>
                <a:gd name="connsiteX20" fmla="*/ 1184631 w 1231508"/>
                <a:gd name="connsiteY20" fmla="*/ 1164720 h 1211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31508" h="1211548">
                  <a:moveTo>
                    <a:pt x="910417" y="804878"/>
                  </a:moveTo>
                  <a:cubicBezTo>
                    <a:pt x="1076195" y="580812"/>
                    <a:pt x="1028944" y="264781"/>
                    <a:pt x="804878" y="99003"/>
                  </a:cubicBezTo>
                  <a:cubicBezTo>
                    <a:pt x="580812" y="-66776"/>
                    <a:pt x="264781" y="-19525"/>
                    <a:pt x="99003" y="204541"/>
                  </a:cubicBezTo>
                  <a:cubicBezTo>
                    <a:pt x="-66776" y="428607"/>
                    <a:pt x="-19525" y="744638"/>
                    <a:pt x="204541" y="910417"/>
                  </a:cubicBezTo>
                  <a:cubicBezTo>
                    <a:pt x="391418" y="1048680"/>
                    <a:pt x="648565" y="1041408"/>
                    <a:pt x="827328" y="892803"/>
                  </a:cubicBezTo>
                  <a:lnTo>
                    <a:pt x="1127721" y="1193075"/>
                  </a:lnTo>
                  <a:cubicBezTo>
                    <a:pt x="1150841" y="1217072"/>
                    <a:pt x="1189037" y="1217784"/>
                    <a:pt x="1213034" y="1194664"/>
                  </a:cubicBezTo>
                  <a:cubicBezTo>
                    <a:pt x="1237032" y="1171544"/>
                    <a:pt x="1237744" y="1133348"/>
                    <a:pt x="1214624" y="1109350"/>
                  </a:cubicBezTo>
                  <a:cubicBezTo>
                    <a:pt x="1214134" y="1108841"/>
                    <a:pt x="1213634" y="1108341"/>
                    <a:pt x="1213127" y="1107850"/>
                  </a:cubicBezTo>
                  <a:close/>
                  <a:moveTo>
                    <a:pt x="41988" y="505574"/>
                  </a:moveTo>
                  <a:cubicBezTo>
                    <a:pt x="41988" y="249587"/>
                    <a:pt x="249507" y="42068"/>
                    <a:pt x="505494" y="42068"/>
                  </a:cubicBezTo>
                  <a:cubicBezTo>
                    <a:pt x="761481" y="42068"/>
                    <a:pt x="969000" y="249587"/>
                    <a:pt x="969000" y="505574"/>
                  </a:cubicBezTo>
                  <a:cubicBezTo>
                    <a:pt x="969000" y="761562"/>
                    <a:pt x="761481" y="969080"/>
                    <a:pt x="505494" y="969080"/>
                  </a:cubicBezTo>
                  <a:cubicBezTo>
                    <a:pt x="249622" y="968803"/>
                    <a:pt x="42266" y="761446"/>
                    <a:pt x="41988" y="505574"/>
                  </a:cubicBezTo>
                  <a:close/>
                  <a:moveTo>
                    <a:pt x="1184631" y="1164720"/>
                  </a:moveTo>
                  <a:cubicBezTo>
                    <a:pt x="1176835" y="1172499"/>
                    <a:pt x="1164214" y="1172499"/>
                    <a:pt x="1156418" y="1164720"/>
                  </a:cubicBezTo>
                  <a:lnTo>
                    <a:pt x="857235" y="865739"/>
                  </a:lnTo>
                  <a:cubicBezTo>
                    <a:pt x="866868" y="856334"/>
                    <a:pt x="876097" y="846553"/>
                    <a:pt x="884924" y="836397"/>
                  </a:cubicBezTo>
                  <a:lnTo>
                    <a:pt x="1184631" y="1136346"/>
                  </a:lnTo>
                  <a:cubicBezTo>
                    <a:pt x="1188483" y="1140028"/>
                    <a:pt x="1190667" y="1145123"/>
                    <a:pt x="1190677" y="1150452"/>
                  </a:cubicBezTo>
                  <a:cubicBezTo>
                    <a:pt x="1190683" y="1155832"/>
                    <a:pt x="1188500" y="1160982"/>
                    <a:pt x="1184631" y="1164720"/>
                  </a:cubicBezTo>
                  <a:close/>
                </a:path>
              </a:pathLst>
            </a:custGeom>
            <a:grpFill/>
            <a:ln w="200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262626"/>
                </a:solidFill>
                <a:effectLst/>
                <a:uLnTx/>
                <a:uFillTx/>
                <a:latin typeface="阿里巴巴普惠体 B"/>
                <a:ea typeface="阿里巴巴普惠体 R"/>
                <a:cs typeface="+mn-cs"/>
              </a:endParaRPr>
            </a:p>
          </p:txBody>
        </p:sp>
        <p:sp>
          <p:nvSpPr>
            <p:cNvPr id="200" name="任意多边形: 形状 199">
              <a:extLst>
                <a:ext uri="{FF2B5EF4-FFF2-40B4-BE49-F238E27FC236}">
                  <a16:creationId xmlns:a16="http://schemas.microsoft.com/office/drawing/2014/main" id="{B5EC9A6F-51D4-45EB-A0E1-DBC7E69820BA}"/>
                </a:ext>
              </a:extLst>
            </p:cNvPr>
            <p:cNvSpPr/>
            <p:nvPr/>
          </p:nvSpPr>
          <p:spPr>
            <a:xfrm>
              <a:off x="4705325" y="1609425"/>
              <a:ext cx="120914" cy="241826"/>
            </a:xfrm>
            <a:custGeom>
              <a:avLst/>
              <a:gdLst>
                <a:gd name="connsiteX0" fmla="*/ 20152 w 120914"/>
                <a:gd name="connsiteY0" fmla="*/ 241829 h 241829"/>
                <a:gd name="connsiteX1" fmla="*/ 100762 w 120914"/>
                <a:gd name="connsiteY1" fmla="*/ 241829 h 241829"/>
                <a:gd name="connsiteX2" fmla="*/ 120915 w 120914"/>
                <a:gd name="connsiteY2" fmla="*/ 221677 h 241829"/>
                <a:gd name="connsiteX3" fmla="*/ 120915 w 120914"/>
                <a:gd name="connsiteY3" fmla="*/ 20152 h 241829"/>
                <a:gd name="connsiteX4" fmla="*/ 100762 w 120914"/>
                <a:gd name="connsiteY4" fmla="*/ 0 h 241829"/>
                <a:gd name="connsiteX5" fmla="*/ 20152 w 120914"/>
                <a:gd name="connsiteY5" fmla="*/ 0 h 241829"/>
                <a:gd name="connsiteX6" fmla="*/ 0 w 120914"/>
                <a:gd name="connsiteY6" fmla="*/ 20152 h 241829"/>
                <a:gd name="connsiteX7" fmla="*/ 0 w 120914"/>
                <a:gd name="connsiteY7" fmla="*/ 221677 h 241829"/>
                <a:gd name="connsiteX8" fmla="*/ 20152 w 120914"/>
                <a:gd name="connsiteY8" fmla="*/ 241829 h 241829"/>
                <a:gd name="connsiteX9" fmla="*/ 40305 w 120914"/>
                <a:gd name="connsiteY9" fmla="*/ 40305 h 241829"/>
                <a:gd name="connsiteX10" fmla="*/ 80610 w 120914"/>
                <a:gd name="connsiteY10" fmla="*/ 40305 h 241829"/>
                <a:gd name="connsiteX11" fmla="*/ 80610 w 120914"/>
                <a:gd name="connsiteY11" fmla="*/ 201524 h 241829"/>
                <a:gd name="connsiteX12" fmla="*/ 40305 w 120914"/>
                <a:gd name="connsiteY12" fmla="*/ 201524 h 241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0914" h="241829">
                  <a:moveTo>
                    <a:pt x="20152" y="241829"/>
                  </a:moveTo>
                  <a:lnTo>
                    <a:pt x="100762" y="241829"/>
                  </a:lnTo>
                  <a:cubicBezTo>
                    <a:pt x="111892" y="241829"/>
                    <a:pt x="120915" y="232807"/>
                    <a:pt x="120915" y="221677"/>
                  </a:cubicBezTo>
                  <a:lnTo>
                    <a:pt x="120915" y="20152"/>
                  </a:lnTo>
                  <a:cubicBezTo>
                    <a:pt x="120915" y="9023"/>
                    <a:pt x="111892" y="0"/>
                    <a:pt x="100762" y="0"/>
                  </a:cubicBezTo>
                  <a:lnTo>
                    <a:pt x="20152" y="0"/>
                  </a:lnTo>
                  <a:cubicBezTo>
                    <a:pt x="9023" y="0"/>
                    <a:pt x="0" y="9023"/>
                    <a:pt x="0" y="20152"/>
                  </a:cubicBezTo>
                  <a:lnTo>
                    <a:pt x="0" y="221677"/>
                  </a:lnTo>
                  <a:cubicBezTo>
                    <a:pt x="0" y="232807"/>
                    <a:pt x="9023" y="241829"/>
                    <a:pt x="20152" y="241829"/>
                  </a:cubicBezTo>
                  <a:close/>
                  <a:moveTo>
                    <a:pt x="40305" y="40305"/>
                  </a:moveTo>
                  <a:lnTo>
                    <a:pt x="80610" y="40305"/>
                  </a:lnTo>
                  <a:lnTo>
                    <a:pt x="80610" y="201524"/>
                  </a:lnTo>
                  <a:lnTo>
                    <a:pt x="40305" y="201524"/>
                  </a:lnTo>
                  <a:close/>
                </a:path>
              </a:pathLst>
            </a:custGeom>
            <a:grpFill/>
            <a:ln w="200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262626"/>
                </a:solidFill>
                <a:effectLst/>
                <a:uLnTx/>
                <a:uFillTx/>
                <a:latin typeface="阿里巴巴普惠体 B"/>
                <a:ea typeface="阿里巴巴普惠体 R"/>
                <a:cs typeface="+mn-cs"/>
              </a:endParaRPr>
            </a:p>
          </p:txBody>
        </p:sp>
        <p:sp>
          <p:nvSpPr>
            <p:cNvPr id="201" name="任意多边形: 形状 200">
              <a:extLst>
                <a:ext uri="{FF2B5EF4-FFF2-40B4-BE49-F238E27FC236}">
                  <a16:creationId xmlns:a16="http://schemas.microsoft.com/office/drawing/2014/main" id="{6230938F-D219-4708-A5D7-BAF890ADAF04}"/>
                </a:ext>
              </a:extLst>
            </p:cNvPr>
            <p:cNvSpPr/>
            <p:nvPr/>
          </p:nvSpPr>
          <p:spPr>
            <a:xfrm>
              <a:off x="4866547" y="1569120"/>
              <a:ext cx="120914" cy="282132"/>
            </a:xfrm>
            <a:custGeom>
              <a:avLst/>
              <a:gdLst>
                <a:gd name="connsiteX0" fmla="*/ 20152 w 120914"/>
                <a:gd name="connsiteY0" fmla="*/ 282134 h 282134"/>
                <a:gd name="connsiteX1" fmla="*/ 100762 w 120914"/>
                <a:gd name="connsiteY1" fmla="*/ 282134 h 282134"/>
                <a:gd name="connsiteX2" fmla="*/ 120915 w 120914"/>
                <a:gd name="connsiteY2" fmla="*/ 261982 h 282134"/>
                <a:gd name="connsiteX3" fmla="*/ 120915 w 120914"/>
                <a:gd name="connsiteY3" fmla="*/ 20152 h 282134"/>
                <a:gd name="connsiteX4" fmla="*/ 100762 w 120914"/>
                <a:gd name="connsiteY4" fmla="*/ 0 h 282134"/>
                <a:gd name="connsiteX5" fmla="*/ 20152 w 120914"/>
                <a:gd name="connsiteY5" fmla="*/ 0 h 282134"/>
                <a:gd name="connsiteX6" fmla="*/ 0 w 120914"/>
                <a:gd name="connsiteY6" fmla="*/ 20152 h 282134"/>
                <a:gd name="connsiteX7" fmla="*/ 0 w 120914"/>
                <a:gd name="connsiteY7" fmla="*/ 261982 h 282134"/>
                <a:gd name="connsiteX8" fmla="*/ 20152 w 120914"/>
                <a:gd name="connsiteY8" fmla="*/ 282134 h 282134"/>
                <a:gd name="connsiteX9" fmla="*/ 40305 w 120914"/>
                <a:gd name="connsiteY9" fmla="*/ 40305 h 282134"/>
                <a:gd name="connsiteX10" fmla="*/ 80610 w 120914"/>
                <a:gd name="connsiteY10" fmla="*/ 40305 h 282134"/>
                <a:gd name="connsiteX11" fmla="*/ 80610 w 120914"/>
                <a:gd name="connsiteY11" fmla="*/ 241829 h 282134"/>
                <a:gd name="connsiteX12" fmla="*/ 40305 w 120914"/>
                <a:gd name="connsiteY12" fmla="*/ 241829 h 282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0914" h="282134">
                  <a:moveTo>
                    <a:pt x="20152" y="282134"/>
                  </a:moveTo>
                  <a:lnTo>
                    <a:pt x="100762" y="282134"/>
                  </a:lnTo>
                  <a:cubicBezTo>
                    <a:pt x="111892" y="282134"/>
                    <a:pt x="120915" y="273112"/>
                    <a:pt x="120915" y="261982"/>
                  </a:cubicBezTo>
                  <a:lnTo>
                    <a:pt x="120915" y="20152"/>
                  </a:lnTo>
                  <a:cubicBezTo>
                    <a:pt x="120915" y="9023"/>
                    <a:pt x="111892" y="0"/>
                    <a:pt x="100762" y="0"/>
                  </a:cubicBezTo>
                  <a:lnTo>
                    <a:pt x="20152" y="0"/>
                  </a:lnTo>
                  <a:cubicBezTo>
                    <a:pt x="9023" y="0"/>
                    <a:pt x="0" y="9023"/>
                    <a:pt x="0" y="20152"/>
                  </a:cubicBezTo>
                  <a:lnTo>
                    <a:pt x="0" y="261982"/>
                  </a:lnTo>
                  <a:cubicBezTo>
                    <a:pt x="0" y="273112"/>
                    <a:pt x="9023" y="282134"/>
                    <a:pt x="20152" y="282134"/>
                  </a:cubicBezTo>
                  <a:close/>
                  <a:moveTo>
                    <a:pt x="40305" y="40305"/>
                  </a:moveTo>
                  <a:lnTo>
                    <a:pt x="80610" y="40305"/>
                  </a:lnTo>
                  <a:lnTo>
                    <a:pt x="80610" y="241829"/>
                  </a:lnTo>
                  <a:lnTo>
                    <a:pt x="40305" y="241829"/>
                  </a:lnTo>
                  <a:close/>
                </a:path>
              </a:pathLst>
            </a:custGeom>
            <a:grpFill/>
            <a:ln w="200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262626"/>
                </a:solidFill>
                <a:effectLst/>
                <a:uLnTx/>
                <a:uFillTx/>
                <a:latin typeface="阿里巴巴普惠体 B"/>
                <a:ea typeface="阿里巴巴普惠体 R"/>
                <a:cs typeface="+mn-cs"/>
              </a:endParaRPr>
            </a:p>
          </p:txBody>
        </p:sp>
        <p:sp>
          <p:nvSpPr>
            <p:cNvPr id="202" name="任意多边形: 形状 201">
              <a:extLst>
                <a:ext uri="{FF2B5EF4-FFF2-40B4-BE49-F238E27FC236}">
                  <a16:creationId xmlns:a16="http://schemas.microsoft.com/office/drawing/2014/main" id="{C41857F6-C131-48B7-B81D-3CAFF2C7290B}"/>
                </a:ext>
              </a:extLst>
            </p:cNvPr>
            <p:cNvSpPr/>
            <p:nvPr/>
          </p:nvSpPr>
          <p:spPr>
            <a:xfrm>
              <a:off x="5027765" y="1528814"/>
              <a:ext cx="120914" cy="322437"/>
            </a:xfrm>
            <a:custGeom>
              <a:avLst/>
              <a:gdLst>
                <a:gd name="connsiteX0" fmla="*/ 100762 w 120914"/>
                <a:gd name="connsiteY0" fmla="*/ 0 h 322439"/>
                <a:gd name="connsiteX1" fmla="*/ 20152 w 120914"/>
                <a:gd name="connsiteY1" fmla="*/ 0 h 322439"/>
                <a:gd name="connsiteX2" fmla="*/ 0 w 120914"/>
                <a:gd name="connsiteY2" fmla="*/ 20152 h 322439"/>
                <a:gd name="connsiteX3" fmla="*/ 0 w 120914"/>
                <a:gd name="connsiteY3" fmla="*/ 302287 h 322439"/>
                <a:gd name="connsiteX4" fmla="*/ 20152 w 120914"/>
                <a:gd name="connsiteY4" fmla="*/ 322439 h 322439"/>
                <a:gd name="connsiteX5" fmla="*/ 100762 w 120914"/>
                <a:gd name="connsiteY5" fmla="*/ 322439 h 322439"/>
                <a:gd name="connsiteX6" fmla="*/ 120915 w 120914"/>
                <a:gd name="connsiteY6" fmla="*/ 302287 h 322439"/>
                <a:gd name="connsiteX7" fmla="*/ 120915 w 120914"/>
                <a:gd name="connsiteY7" fmla="*/ 20152 h 322439"/>
                <a:gd name="connsiteX8" fmla="*/ 100762 w 120914"/>
                <a:gd name="connsiteY8" fmla="*/ 0 h 322439"/>
                <a:gd name="connsiteX9" fmla="*/ 80610 w 120914"/>
                <a:gd name="connsiteY9" fmla="*/ 282134 h 322439"/>
                <a:gd name="connsiteX10" fmla="*/ 40305 w 120914"/>
                <a:gd name="connsiteY10" fmla="*/ 282134 h 322439"/>
                <a:gd name="connsiteX11" fmla="*/ 40305 w 120914"/>
                <a:gd name="connsiteY11" fmla="*/ 40305 h 322439"/>
                <a:gd name="connsiteX12" fmla="*/ 80610 w 120914"/>
                <a:gd name="connsiteY12" fmla="*/ 40305 h 322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0914" h="322439">
                  <a:moveTo>
                    <a:pt x="100762" y="0"/>
                  </a:moveTo>
                  <a:lnTo>
                    <a:pt x="20152" y="0"/>
                  </a:lnTo>
                  <a:cubicBezTo>
                    <a:pt x="9023" y="0"/>
                    <a:pt x="0" y="9023"/>
                    <a:pt x="0" y="20152"/>
                  </a:cubicBezTo>
                  <a:lnTo>
                    <a:pt x="0" y="302287"/>
                  </a:lnTo>
                  <a:cubicBezTo>
                    <a:pt x="0" y="313416"/>
                    <a:pt x="9023" y="322439"/>
                    <a:pt x="20152" y="322439"/>
                  </a:cubicBezTo>
                  <a:lnTo>
                    <a:pt x="100762" y="322439"/>
                  </a:lnTo>
                  <a:cubicBezTo>
                    <a:pt x="111892" y="322439"/>
                    <a:pt x="120915" y="313416"/>
                    <a:pt x="120915" y="302287"/>
                  </a:cubicBezTo>
                  <a:lnTo>
                    <a:pt x="120915" y="20152"/>
                  </a:lnTo>
                  <a:cubicBezTo>
                    <a:pt x="120915" y="9023"/>
                    <a:pt x="111892" y="0"/>
                    <a:pt x="100762" y="0"/>
                  </a:cubicBezTo>
                  <a:close/>
                  <a:moveTo>
                    <a:pt x="80610" y="282134"/>
                  </a:moveTo>
                  <a:lnTo>
                    <a:pt x="40305" y="282134"/>
                  </a:lnTo>
                  <a:lnTo>
                    <a:pt x="40305" y="40305"/>
                  </a:lnTo>
                  <a:lnTo>
                    <a:pt x="80610" y="40305"/>
                  </a:lnTo>
                  <a:close/>
                </a:path>
              </a:pathLst>
            </a:custGeom>
            <a:grpFill/>
            <a:ln w="200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262626"/>
                </a:solidFill>
                <a:effectLst/>
                <a:uLnTx/>
                <a:uFillTx/>
                <a:latin typeface="阿里巴巴普惠体 B"/>
                <a:ea typeface="阿里巴巴普惠体 R"/>
                <a:cs typeface="+mn-cs"/>
              </a:endParaRPr>
            </a:p>
          </p:txBody>
        </p:sp>
        <p:sp>
          <p:nvSpPr>
            <p:cNvPr id="203" name="任意多边形: 形状 202">
              <a:extLst>
                <a:ext uri="{FF2B5EF4-FFF2-40B4-BE49-F238E27FC236}">
                  <a16:creationId xmlns:a16="http://schemas.microsoft.com/office/drawing/2014/main" id="{0EA9555E-15F4-4BFA-813C-711015110051}"/>
                </a:ext>
              </a:extLst>
            </p:cNvPr>
            <p:cNvSpPr/>
            <p:nvPr/>
          </p:nvSpPr>
          <p:spPr>
            <a:xfrm>
              <a:off x="5295651" y="1246683"/>
              <a:ext cx="135162" cy="94856"/>
            </a:xfrm>
            <a:custGeom>
              <a:avLst/>
              <a:gdLst>
                <a:gd name="connsiteX0" fmla="*/ 83048 w 135162"/>
                <a:gd name="connsiteY0" fmla="*/ 40305 h 94857"/>
                <a:gd name="connsiteX1" fmla="*/ 135162 w 135162"/>
                <a:gd name="connsiteY1" fmla="*/ 40305 h 94857"/>
                <a:gd name="connsiteX2" fmla="*/ 135162 w 135162"/>
                <a:gd name="connsiteY2" fmla="*/ 0 h 94857"/>
                <a:gd name="connsiteX3" fmla="*/ 74705 w 135162"/>
                <a:gd name="connsiteY3" fmla="*/ 0 h 94857"/>
                <a:gd name="connsiteX4" fmla="*/ 60457 w 135162"/>
                <a:gd name="connsiteY4" fmla="*/ 5905 h 94857"/>
                <a:gd name="connsiteX5" fmla="*/ 0 w 135162"/>
                <a:gd name="connsiteY5" fmla="*/ 66362 h 94857"/>
                <a:gd name="connsiteX6" fmla="*/ 28496 w 135162"/>
                <a:gd name="connsiteY6" fmla="*/ 94858 h 948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5162" h="94857">
                  <a:moveTo>
                    <a:pt x="83048" y="40305"/>
                  </a:moveTo>
                  <a:lnTo>
                    <a:pt x="135162" y="40305"/>
                  </a:lnTo>
                  <a:lnTo>
                    <a:pt x="135162" y="0"/>
                  </a:lnTo>
                  <a:lnTo>
                    <a:pt x="74705" y="0"/>
                  </a:lnTo>
                  <a:cubicBezTo>
                    <a:pt x="69361" y="1"/>
                    <a:pt x="64236" y="2125"/>
                    <a:pt x="60457" y="5905"/>
                  </a:cubicBezTo>
                  <a:lnTo>
                    <a:pt x="0" y="66362"/>
                  </a:lnTo>
                  <a:lnTo>
                    <a:pt x="28496" y="94858"/>
                  </a:lnTo>
                  <a:close/>
                </a:path>
              </a:pathLst>
            </a:custGeom>
            <a:grpFill/>
            <a:ln w="200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262626"/>
                </a:solidFill>
                <a:effectLst/>
                <a:uLnTx/>
                <a:uFillTx/>
                <a:latin typeface="阿里巴巴普惠体 B"/>
                <a:ea typeface="阿里巴巴普惠体 R"/>
                <a:cs typeface="+mn-cs"/>
              </a:endParaRPr>
            </a:p>
          </p:txBody>
        </p:sp>
        <p:sp>
          <p:nvSpPr>
            <p:cNvPr id="204" name="任意多边形: 形状 203">
              <a:extLst>
                <a:ext uri="{FF2B5EF4-FFF2-40B4-BE49-F238E27FC236}">
                  <a16:creationId xmlns:a16="http://schemas.microsoft.com/office/drawing/2014/main" id="{03CBDBF4-E181-42B3-928D-DDFA17F6BBEB}"/>
                </a:ext>
              </a:extLst>
            </p:cNvPr>
            <p:cNvSpPr/>
            <p:nvPr/>
          </p:nvSpPr>
          <p:spPr>
            <a:xfrm>
              <a:off x="5471119" y="1246683"/>
              <a:ext cx="181371" cy="40303"/>
            </a:xfrm>
            <a:custGeom>
              <a:avLst/>
              <a:gdLst>
                <a:gd name="connsiteX0" fmla="*/ 0 w 181371"/>
                <a:gd name="connsiteY0" fmla="*/ 0 h 40304"/>
                <a:gd name="connsiteX1" fmla="*/ 181372 w 181371"/>
                <a:gd name="connsiteY1" fmla="*/ 0 h 40304"/>
                <a:gd name="connsiteX2" fmla="*/ 181372 w 181371"/>
                <a:gd name="connsiteY2" fmla="*/ 40305 h 40304"/>
                <a:gd name="connsiteX3" fmla="*/ 0 w 181371"/>
                <a:gd name="connsiteY3" fmla="*/ 40305 h 40304"/>
              </a:gdLst>
              <a:ahLst/>
              <a:cxnLst>
                <a:cxn ang="0">
                  <a:pos x="connsiteX0" y="connsiteY0"/>
                </a:cxn>
                <a:cxn ang="0">
                  <a:pos x="connsiteX1" y="connsiteY1"/>
                </a:cxn>
                <a:cxn ang="0">
                  <a:pos x="connsiteX2" y="connsiteY2"/>
                </a:cxn>
                <a:cxn ang="0">
                  <a:pos x="connsiteX3" y="connsiteY3"/>
                </a:cxn>
              </a:cxnLst>
              <a:rect l="l" t="t" r="r" b="b"/>
              <a:pathLst>
                <a:path w="181371" h="40304">
                  <a:moveTo>
                    <a:pt x="0" y="0"/>
                  </a:moveTo>
                  <a:lnTo>
                    <a:pt x="181372" y="0"/>
                  </a:lnTo>
                  <a:lnTo>
                    <a:pt x="181372" y="40305"/>
                  </a:lnTo>
                  <a:lnTo>
                    <a:pt x="0" y="40305"/>
                  </a:lnTo>
                  <a:close/>
                </a:path>
              </a:pathLst>
            </a:custGeom>
            <a:grpFill/>
            <a:ln w="200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262626"/>
                </a:solidFill>
                <a:effectLst/>
                <a:uLnTx/>
                <a:uFillTx/>
                <a:latin typeface="阿里巴巴普惠体 B"/>
                <a:ea typeface="阿里巴巴普惠体 R"/>
                <a:cs typeface="+mn-cs"/>
              </a:endParaRPr>
            </a:p>
          </p:txBody>
        </p:sp>
        <p:sp>
          <p:nvSpPr>
            <p:cNvPr id="205" name="任意多边形: 形状 204">
              <a:extLst>
                <a:ext uri="{FF2B5EF4-FFF2-40B4-BE49-F238E27FC236}">
                  <a16:creationId xmlns:a16="http://schemas.microsoft.com/office/drawing/2014/main" id="{52CC7C62-756F-46BC-AE00-3D9C59E6E585}"/>
                </a:ext>
              </a:extLst>
            </p:cNvPr>
            <p:cNvSpPr/>
            <p:nvPr/>
          </p:nvSpPr>
          <p:spPr>
            <a:xfrm>
              <a:off x="5471119" y="1327293"/>
              <a:ext cx="40303" cy="40303"/>
            </a:xfrm>
            <a:custGeom>
              <a:avLst/>
              <a:gdLst>
                <a:gd name="connsiteX0" fmla="*/ 0 w 40304"/>
                <a:gd name="connsiteY0" fmla="*/ 0 h 40304"/>
                <a:gd name="connsiteX1" fmla="*/ 40305 w 40304"/>
                <a:gd name="connsiteY1" fmla="*/ 0 h 40304"/>
                <a:gd name="connsiteX2" fmla="*/ 40305 w 40304"/>
                <a:gd name="connsiteY2" fmla="*/ 40305 h 40304"/>
                <a:gd name="connsiteX3" fmla="*/ 0 w 40304"/>
                <a:gd name="connsiteY3" fmla="*/ 40305 h 40304"/>
              </a:gdLst>
              <a:ahLst/>
              <a:cxnLst>
                <a:cxn ang="0">
                  <a:pos x="connsiteX0" y="connsiteY0"/>
                </a:cxn>
                <a:cxn ang="0">
                  <a:pos x="connsiteX1" y="connsiteY1"/>
                </a:cxn>
                <a:cxn ang="0">
                  <a:pos x="connsiteX2" y="connsiteY2"/>
                </a:cxn>
                <a:cxn ang="0">
                  <a:pos x="connsiteX3" y="connsiteY3"/>
                </a:cxn>
              </a:cxnLst>
              <a:rect l="l" t="t" r="r" b="b"/>
              <a:pathLst>
                <a:path w="40304" h="40304">
                  <a:moveTo>
                    <a:pt x="0" y="0"/>
                  </a:moveTo>
                  <a:lnTo>
                    <a:pt x="40305" y="0"/>
                  </a:lnTo>
                  <a:lnTo>
                    <a:pt x="40305" y="40305"/>
                  </a:lnTo>
                  <a:lnTo>
                    <a:pt x="0" y="40305"/>
                  </a:lnTo>
                  <a:close/>
                </a:path>
              </a:pathLst>
            </a:custGeom>
            <a:grpFill/>
            <a:ln w="200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262626"/>
                </a:solidFill>
                <a:effectLst/>
                <a:uLnTx/>
                <a:uFillTx/>
                <a:latin typeface="阿里巴巴普惠体 B"/>
                <a:ea typeface="阿里巴巴普惠体 R"/>
                <a:cs typeface="+mn-cs"/>
              </a:endParaRPr>
            </a:p>
          </p:txBody>
        </p:sp>
        <p:sp>
          <p:nvSpPr>
            <p:cNvPr id="206" name="任意多边形: 形状 205">
              <a:extLst>
                <a:ext uri="{FF2B5EF4-FFF2-40B4-BE49-F238E27FC236}">
                  <a16:creationId xmlns:a16="http://schemas.microsoft.com/office/drawing/2014/main" id="{4CD16E9E-A4E4-4A6D-9BA4-FF4CE8BC80C4}"/>
                </a:ext>
              </a:extLst>
            </p:cNvPr>
            <p:cNvSpPr/>
            <p:nvPr/>
          </p:nvSpPr>
          <p:spPr>
            <a:xfrm>
              <a:off x="5551727" y="1327293"/>
              <a:ext cx="100763" cy="40303"/>
            </a:xfrm>
            <a:custGeom>
              <a:avLst/>
              <a:gdLst>
                <a:gd name="connsiteX0" fmla="*/ 0 w 100762"/>
                <a:gd name="connsiteY0" fmla="*/ 0 h 40304"/>
                <a:gd name="connsiteX1" fmla="*/ 100762 w 100762"/>
                <a:gd name="connsiteY1" fmla="*/ 0 h 40304"/>
                <a:gd name="connsiteX2" fmla="*/ 100762 w 100762"/>
                <a:gd name="connsiteY2" fmla="*/ 40305 h 40304"/>
                <a:gd name="connsiteX3" fmla="*/ 0 w 100762"/>
                <a:gd name="connsiteY3" fmla="*/ 40305 h 40304"/>
              </a:gdLst>
              <a:ahLst/>
              <a:cxnLst>
                <a:cxn ang="0">
                  <a:pos x="connsiteX0" y="connsiteY0"/>
                </a:cxn>
                <a:cxn ang="0">
                  <a:pos x="connsiteX1" y="connsiteY1"/>
                </a:cxn>
                <a:cxn ang="0">
                  <a:pos x="connsiteX2" y="connsiteY2"/>
                </a:cxn>
                <a:cxn ang="0">
                  <a:pos x="connsiteX3" y="connsiteY3"/>
                </a:cxn>
              </a:cxnLst>
              <a:rect l="l" t="t" r="r" b="b"/>
              <a:pathLst>
                <a:path w="100762" h="40304">
                  <a:moveTo>
                    <a:pt x="0" y="0"/>
                  </a:moveTo>
                  <a:lnTo>
                    <a:pt x="100762" y="0"/>
                  </a:lnTo>
                  <a:lnTo>
                    <a:pt x="100762" y="40305"/>
                  </a:lnTo>
                  <a:lnTo>
                    <a:pt x="0" y="40305"/>
                  </a:lnTo>
                  <a:close/>
                </a:path>
              </a:pathLst>
            </a:custGeom>
            <a:grpFill/>
            <a:ln w="200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262626"/>
                </a:solidFill>
                <a:effectLst/>
                <a:uLnTx/>
                <a:uFillTx/>
                <a:latin typeface="阿里巴巴普惠体 B"/>
                <a:ea typeface="阿里巴巴普惠体 R"/>
                <a:cs typeface="+mn-cs"/>
              </a:endParaRPr>
            </a:p>
          </p:txBody>
        </p:sp>
        <p:sp>
          <p:nvSpPr>
            <p:cNvPr id="207" name="任意多边形: 形状 206">
              <a:extLst>
                <a:ext uri="{FF2B5EF4-FFF2-40B4-BE49-F238E27FC236}">
                  <a16:creationId xmlns:a16="http://schemas.microsoft.com/office/drawing/2014/main" id="{A51A7634-F33C-43A5-9ADD-9259AA916E14}"/>
                </a:ext>
              </a:extLst>
            </p:cNvPr>
            <p:cNvSpPr/>
            <p:nvPr/>
          </p:nvSpPr>
          <p:spPr>
            <a:xfrm>
              <a:off x="5471119" y="1407903"/>
              <a:ext cx="181371" cy="40303"/>
            </a:xfrm>
            <a:custGeom>
              <a:avLst/>
              <a:gdLst>
                <a:gd name="connsiteX0" fmla="*/ 0 w 181371"/>
                <a:gd name="connsiteY0" fmla="*/ 0 h 40304"/>
                <a:gd name="connsiteX1" fmla="*/ 181372 w 181371"/>
                <a:gd name="connsiteY1" fmla="*/ 0 h 40304"/>
                <a:gd name="connsiteX2" fmla="*/ 181372 w 181371"/>
                <a:gd name="connsiteY2" fmla="*/ 40305 h 40304"/>
                <a:gd name="connsiteX3" fmla="*/ 0 w 181371"/>
                <a:gd name="connsiteY3" fmla="*/ 40305 h 40304"/>
              </a:gdLst>
              <a:ahLst/>
              <a:cxnLst>
                <a:cxn ang="0">
                  <a:pos x="connsiteX0" y="connsiteY0"/>
                </a:cxn>
                <a:cxn ang="0">
                  <a:pos x="connsiteX1" y="connsiteY1"/>
                </a:cxn>
                <a:cxn ang="0">
                  <a:pos x="connsiteX2" y="connsiteY2"/>
                </a:cxn>
                <a:cxn ang="0">
                  <a:pos x="connsiteX3" y="connsiteY3"/>
                </a:cxn>
              </a:cxnLst>
              <a:rect l="l" t="t" r="r" b="b"/>
              <a:pathLst>
                <a:path w="181371" h="40304">
                  <a:moveTo>
                    <a:pt x="0" y="0"/>
                  </a:moveTo>
                  <a:lnTo>
                    <a:pt x="181372" y="0"/>
                  </a:lnTo>
                  <a:lnTo>
                    <a:pt x="181372" y="40305"/>
                  </a:lnTo>
                  <a:lnTo>
                    <a:pt x="0" y="40305"/>
                  </a:lnTo>
                  <a:close/>
                </a:path>
              </a:pathLst>
            </a:custGeom>
            <a:grpFill/>
            <a:ln w="200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262626"/>
                </a:solidFill>
                <a:effectLst/>
                <a:uLnTx/>
                <a:uFillTx/>
                <a:latin typeface="阿里巴巴普惠体 B"/>
                <a:ea typeface="阿里巴巴普惠体 R"/>
                <a:cs typeface="+mn-cs"/>
              </a:endParaRPr>
            </a:p>
          </p:txBody>
        </p:sp>
        <p:sp>
          <p:nvSpPr>
            <p:cNvPr id="208" name="任意多边形: 形状 207">
              <a:extLst>
                <a:ext uri="{FF2B5EF4-FFF2-40B4-BE49-F238E27FC236}">
                  <a16:creationId xmlns:a16="http://schemas.microsoft.com/office/drawing/2014/main" id="{FE8C910E-DDDF-40B5-9462-1ABA68F8E9C4}"/>
                </a:ext>
              </a:extLst>
            </p:cNvPr>
            <p:cNvSpPr/>
            <p:nvPr/>
          </p:nvSpPr>
          <p:spPr>
            <a:xfrm>
              <a:off x="4665022" y="2280353"/>
              <a:ext cx="135162" cy="94856"/>
            </a:xfrm>
            <a:custGeom>
              <a:avLst/>
              <a:gdLst>
                <a:gd name="connsiteX0" fmla="*/ 52114 w 135162"/>
                <a:gd name="connsiteY0" fmla="*/ 54553 h 94857"/>
                <a:gd name="connsiteX1" fmla="*/ 0 w 135162"/>
                <a:gd name="connsiteY1" fmla="*/ 54553 h 94857"/>
                <a:gd name="connsiteX2" fmla="*/ 0 w 135162"/>
                <a:gd name="connsiteY2" fmla="*/ 94858 h 94857"/>
                <a:gd name="connsiteX3" fmla="*/ 60457 w 135162"/>
                <a:gd name="connsiteY3" fmla="*/ 94858 h 94857"/>
                <a:gd name="connsiteX4" fmla="*/ 74705 w 135162"/>
                <a:gd name="connsiteY4" fmla="*/ 88953 h 94857"/>
                <a:gd name="connsiteX5" fmla="*/ 135162 w 135162"/>
                <a:gd name="connsiteY5" fmla="*/ 28496 h 94857"/>
                <a:gd name="connsiteX6" fmla="*/ 106667 w 135162"/>
                <a:gd name="connsiteY6" fmla="*/ 0 h 948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5162" h="94857">
                  <a:moveTo>
                    <a:pt x="52114" y="54553"/>
                  </a:moveTo>
                  <a:lnTo>
                    <a:pt x="0" y="54553"/>
                  </a:lnTo>
                  <a:lnTo>
                    <a:pt x="0" y="94858"/>
                  </a:lnTo>
                  <a:lnTo>
                    <a:pt x="60457" y="94858"/>
                  </a:lnTo>
                  <a:cubicBezTo>
                    <a:pt x="65802" y="94856"/>
                    <a:pt x="70927" y="92732"/>
                    <a:pt x="74705" y="88953"/>
                  </a:cubicBezTo>
                  <a:lnTo>
                    <a:pt x="135162" y="28496"/>
                  </a:lnTo>
                  <a:lnTo>
                    <a:pt x="106667" y="0"/>
                  </a:lnTo>
                  <a:close/>
                </a:path>
              </a:pathLst>
            </a:custGeom>
            <a:grpFill/>
            <a:ln w="200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262626"/>
                </a:solidFill>
                <a:effectLst/>
                <a:uLnTx/>
                <a:uFillTx/>
                <a:latin typeface="阿里巴巴普惠体 B"/>
                <a:ea typeface="阿里巴巴普惠体 R"/>
                <a:cs typeface="+mn-cs"/>
              </a:endParaRPr>
            </a:p>
          </p:txBody>
        </p:sp>
        <p:sp>
          <p:nvSpPr>
            <p:cNvPr id="209" name="任意多边形: 形状 208">
              <a:extLst>
                <a:ext uri="{FF2B5EF4-FFF2-40B4-BE49-F238E27FC236}">
                  <a16:creationId xmlns:a16="http://schemas.microsoft.com/office/drawing/2014/main" id="{FEB2A0B6-174C-431E-B714-2204D4B503A3}"/>
                </a:ext>
              </a:extLst>
            </p:cNvPr>
            <p:cNvSpPr/>
            <p:nvPr/>
          </p:nvSpPr>
          <p:spPr>
            <a:xfrm>
              <a:off x="4443345" y="2334906"/>
              <a:ext cx="181371" cy="40303"/>
            </a:xfrm>
            <a:custGeom>
              <a:avLst/>
              <a:gdLst>
                <a:gd name="connsiteX0" fmla="*/ 0 w 181371"/>
                <a:gd name="connsiteY0" fmla="*/ 0 h 40304"/>
                <a:gd name="connsiteX1" fmla="*/ 181372 w 181371"/>
                <a:gd name="connsiteY1" fmla="*/ 0 h 40304"/>
                <a:gd name="connsiteX2" fmla="*/ 181372 w 181371"/>
                <a:gd name="connsiteY2" fmla="*/ 40305 h 40304"/>
                <a:gd name="connsiteX3" fmla="*/ 0 w 181371"/>
                <a:gd name="connsiteY3" fmla="*/ 40305 h 40304"/>
              </a:gdLst>
              <a:ahLst/>
              <a:cxnLst>
                <a:cxn ang="0">
                  <a:pos x="connsiteX0" y="connsiteY0"/>
                </a:cxn>
                <a:cxn ang="0">
                  <a:pos x="connsiteX1" y="connsiteY1"/>
                </a:cxn>
                <a:cxn ang="0">
                  <a:pos x="connsiteX2" y="connsiteY2"/>
                </a:cxn>
                <a:cxn ang="0">
                  <a:pos x="connsiteX3" y="connsiteY3"/>
                </a:cxn>
              </a:cxnLst>
              <a:rect l="l" t="t" r="r" b="b"/>
              <a:pathLst>
                <a:path w="181371" h="40304">
                  <a:moveTo>
                    <a:pt x="0" y="0"/>
                  </a:moveTo>
                  <a:lnTo>
                    <a:pt x="181372" y="0"/>
                  </a:lnTo>
                  <a:lnTo>
                    <a:pt x="181372" y="40305"/>
                  </a:lnTo>
                  <a:lnTo>
                    <a:pt x="0" y="40305"/>
                  </a:lnTo>
                  <a:close/>
                </a:path>
              </a:pathLst>
            </a:custGeom>
            <a:grpFill/>
            <a:ln w="200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262626"/>
                </a:solidFill>
                <a:effectLst/>
                <a:uLnTx/>
                <a:uFillTx/>
                <a:latin typeface="阿里巴巴普惠体 B"/>
                <a:ea typeface="阿里巴巴普惠体 R"/>
                <a:cs typeface="+mn-cs"/>
              </a:endParaRPr>
            </a:p>
          </p:txBody>
        </p:sp>
        <p:sp>
          <p:nvSpPr>
            <p:cNvPr id="210" name="任意多边形: 形状 209">
              <a:extLst>
                <a:ext uri="{FF2B5EF4-FFF2-40B4-BE49-F238E27FC236}">
                  <a16:creationId xmlns:a16="http://schemas.microsoft.com/office/drawing/2014/main" id="{235F5A7E-B738-4708-AB9D-E266201A2D38}"/>
                </a:ext>
              </a:extLst>
            </p:cNvPr>
            <p:cNvSpPr/>
            <p:nvPr/>
          </p:nvSpPr>
          <p:spPr>
            <a:xfrm>
              <a:off x="4584411" y="2254296"/>
              <a:ext cx="40303" cy="40303"/>
            </a:xfrm>
            <a:custGeom>
              <a:avLst/>
              <a:gdLst>
                <a:gd name="connsiteX0" fmla="*/ 0 w 40304"/>
                <a:gd name="connsiteY0" fmla="*/ 0 h 40304"/>
                <a:gd name="connsiteX1" fmla="*/ 40305 w 40304"/>
                <a:gd name="connsiteY1" fmla="*/ 0 h 40304"/>
                <a:gd name="connsiteX2" fmla="*/ 40305 w 40304"/>
                <a:gd name="connsiteY2" fmla="*/ 40305 h 40304"/>
                <a:gd name="connsiteX3" fmla="*/ 0 w 40304"/>
                <a:gd name="connsiteY3" fmla="*/ 40305 h 40304"/>
              </a:gdLst>
              <a:ahLst/>
              <a:cxnLst>
                <a:cxn ang="0">
                  <a:pos x="connsiteX0" y="connsiteY0"/>
                </a:cxn>
                <a:cxn ang="0">
                  <a:pos x="connsiteX1" y="connsiteY1"/>
                </a:cxn>
                <a:cxn ang="0">
                  <a:pos x="connsiteX2" y="connsiteY2"/>
                </a:cxn>
                <a:cxn ang="0">
                  <a:pos x="connsiteX3" y="connsiteY3"/>
                </a:cxn>
              </a:cxnLst>
              <a:rect l="l" t="t" r="r" b="b"/>
              <a:pathLst>
                <a:path w="40304" h="40304">
                  <a:moveTo>
                    <a:pt x="0" y="0"/>
                  </a:moveTo>
                  <a:lnTo>
                    <a:pt x="40305" y="0"/>
                  </a:lnTo>
                  <a:lnTo>
                    <a:pt x="40305" y="40305"/>
                  </a:lnTo>
                  <a:lnTo>
                    <a:pt x="0" y="40305"/>
                  </a:lnTo>
                  <a:close/>
                </a:path>
              </a:pathLst>
            </a:custGeom>
            <a:grpFill/>
            <a:ln w="200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262626"/>
                </a:solidFill>
                <a:effectLst/>
                <a:uLnTx/>
                <a:uFillTx/>
                <a:latin typeface="阿里巴巴普惠体 B"/>
                <a:ea typeface="阿里巴巴普惠体 R"/>
                <a:cs typeface="+mn-cs"/>
              </a:endParaRPr>
            </a:p>
          </p:txBody>
        </p:sp>
        <p:sp>
          <p:nvSpPr>
            <p:cNvPr id="211" name="任意多边形: 形状 210">
              <a:extLst>
                <a:ext uri="{FF2B5EF4-FFF2-40B4-BE49-F238E27FC236}">
                  <a16:creationId xmlns:a16="http://schemas.microsoft.com/office/drawing/2014/main" id="{0E14D758-494C-4508-9764-276721C691CB}"/>
                </a:ext>
              </a:extLst>
            </p:cNvPr>
            <p:cNvSpPr/>
            <p:nvPr/>
          </p:nvSpPr>
          <p:spPr>
            <a:xfrm>
              <a:off x="4443345" y="2254298"/>
              <a:ext cx="100763" cy="40303"/>
            </a:xfrm>
            <a:custGeom>
              <a:avLst/>
              <a:gdLst>
                <a:gd name="connsiteX0" fmla="*/ 0 w 100762"/>
                <a:gd name="connsiteY0" fmla="*/ 0 h 40304"/>
                <a:gd name="connsiteX1" fmla="*/ 100762 w 100762"/>
                <a:gd name="connsiteY1" fmla="*/ 0 h 40304"/>
                <a:gd name="connsiteX2" fmla="*/ 100762 w 100762"/>
                <a:gd name="connsiteY2" fmla="*/ 40305 h 40304"/>
                <a:gd name="connsiteX3" fmla="*/ 0 w 100762"/>
                <a:gd name="connsiteY3" fmla="*/ 40305 h 40304"/>
              </a:gdLst>
              <a:ahLst/>
              <a:cxnLst>
                <a:cxn ang="0">
                  <a:pos x="connsiteX0" y="connsiteY0"/>
                </a:cxn>
                <a:cxn ang="0">
                  <a:pos x="connsiteX1" y="connsiteY1"/>
                </a:cxn>
                <a:cxn ang="0">
                  <a:pos x="connsiteX2" y="connsiteY2"/>
                </a:cxn>
                <a:cxn ang="0">
                  <a:pos x="connsiteX3" y="connsiteY3"/>
                </a:cxn>
              </a:cxnLst>
              <a:rect l="l" t="t" r="r" b="b"/>
              <a:pathLst>
                <a:path w="100762" h="40304">
                  <a:moveTo>
                    <a:pt x="0" y="0"/>
                  </a:moveTo>
                  <a:lnTo>
                    <a:pt x="100762" y="0"/>
                  </a:lnTo>
                  <a:lnTo>
                    <a:pt x="100762" y="40305"/>
                  </a:lnTo>
                  <a:lnTo>
                    <a:pt x="0" y="40305"/>
                  </a:lnTo>
                  <a:close/>
                </a:path>
              </a:pathLst>
            </a:custGeom>
            <a:grpFill/>
            <a:ln w="200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262626"/>
                </a:solidFill>
                <a:effectLst/>
                <a:uLnTx/>
                <a:uFillTx/>
                <a:latin typeface="阿里巴巴普惠体 B"/>
                <a:ea typeface="阿里巴巴普惠体 R"/>
                <a:cs typeface="+mn-cs"/>
              </a:endParaRPr>
            </a:p>
          </p:txBody>
        </p:sp>
        <p:sp>
          <p:nvSpPr>
            <p:cNvPr id="212" name="任意多边形: 形状 211">
              <a:extLst>
                <a:ext uri="{FF2B5EF4-FFF2-40B4-BE49-F238E27FC236}">
                  <a16:creationId xmlns:a16="http://schemas.microsoft.com/office/drawing/2014/main" id="{B85C5C60-76D3-4D6F-AEC0-31294BB7CE3A}"/>
                </a:ext>
              </a:extLst>
            </p:cNvPr>
            <p:cNvSpPr/>
            <p:nvPr/>
          </p:nvSpPr>
          <p:spPr>
            <a:xfrm>
              <a:off x="4443347" y="2173688"/>
              <a:ext cx="181372" cy="40303"/>
            </a:xfrm>
            <a:custGeom>
              <a:avLst/>
              <a:gdLst>
                <a:gd name="connsiteX0" fmla="*/ 0 w 181371"/>
                <a:gd name="connsiteY0" fmla="*/ 0 h 40304"/>
                <a:gd name="connsiteX1" fmla="*/ 181372 w 181371"/>
                <a:gd name="connsiteY1" fmla="*/ 0 h 40304"/>
                <a:gd name="connsiteX2" fmla="*/ 181372 w 181371"/>
                <a:gd name="connsiteY2" fmla="*/ 40305 h 40304"/>
                <a:gd name="connsiteX3" fmla="*/ 0 w 181371"/>
                <a:gd name="connsiteY3" fmla="*/ 40305 h 40304"/>
              </a:gdLst>
              <a:ahLst/>
              <a:cxnLst>
                <a:cxn ang="0">
                  <a:pos x="connsiteX0" y="connsiteY0"/>
                </a:cxn>
                <a:cxn ang="0">
                  <a:pos x="connsiteX1" y="connsiteY1"/>
                </a:cxn>
                <a:cxn ang="0">
                  <a:pos x="connsiteX2" y="connsiteY2"/>
                </a:cxn>
                <a:cxn ang="0">
                  <a:pos x="connsiteX3" y="connsiteY3"/>
                </a:cxn>
              </a:cxnLst>
              <a:rect l="l" t="t" r="r" b="b"/>
              <a:pathLst>
                <a:path w="181371" h="40304">
                  <a:moveTo>
                    <a:pt x="0" y="0"/>
                  </a:moveTo>
                  <a:lnTo>
                    <a:pt x="181372" y="0"/>
                  </a:lnTo>
                  <a:lnTo>
                    <a:pt x="181372" y="40305"/>
                  </a:lnTo>
                  <a:lnTo>
                    <a:pt x="0" y="40305"/>
                  </a:lnTo>
                  <a:close/>
                </a:path>
              </a:pathLst>
            </a:custGeom>
            <a:grpFill/>
            <a:ln w="200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262626"/>
                </a:solidFill>
                <a:effectLst/>
                <a:uLnTx/>
                <a:uFillTx/>
                <a:latin typeface="阿里巴巴普惠体 B"/>
                <a:ea typeface="阿里巴巴普惠体 R"/>
                <a:cs typeface="+mn-cs"/>
              </a:endParaRPr>
            </a:p>
          </p:txBody>
        </p:sp>
        <p:sp>
          <p:nvSpPr>
            <p:cNvPr id="213" name="任意多边形: 形状 212">
              <a:extLst>
                <a:ext uri="{FF2B5EF4-FFF2-40B4-BE49-F238E27FC236}">
                  <a16:creationId xmlns:a16="http://schemas.microsoft.com/office/drawing/2014/main" id="{1985A3D9-8CF4-4F1E-9865-EF85D12AD72E}"/>
                </a:ext>
              </a:extLst>
            </p:cNvPr>
            <p:cNvSpPr/>
            <p:nvPr/>
          </p:nvSpPr>
          <p:spPr>
            <a:xfrm>
              <a:off x="4705325" y="1891573"/>
              <a:ext cx="443354" cy="40303"/>
            </a:xfrm>
            <a:custGeom>
              <a:avLst/>
              <a:gdLst>
                <a:gd name="connsiteX0" fmla="*/ 0 w 443353"/>
                <a:gd name="connsiteY0" fmla="*/ 0 h 40304"/>
                <a:gd name="connsiteX1" fmla="*/ 443354 w 443353"/>
                <a:gd name="connsiteY1" fmla="*/ 0 h 40304"/>
                <a:gd name="connsiteX2" fmla="*/ 443354 w 443353"/>
                <a:gd name="connsiteY2" fmla="*/ 40305 h 40304"/>
                <a:gd name="connsiteX3" fmla="*/ 0 w 443353"/>
                <a:gd name="connsiteY3" fmla="*/ 40305 h 40304"/>
              </a:gdLst>
              <a:ahLst/>
              <a:cxnLst>
                <a:cxn ang="0">
                  <a:pos x="connsiteX0" y="connsiteY0"/>
                </a:cxn>
                <a:cxn ang="0">
                  <a:pos x="connsiteX1" y="connsiteY1"/>
                </a:cxn>
                <a:cxn ang="0">
                  <a:pos x="connsiteX2" y="connsiteY2"/>
                </a:cxn>
                <a:cxn ang="0">
                  <a:pos x="connsiteX3" y="connsiteY3"/>
                </a:cxn>
              </a:cxnLst>
              <a:rect l="l" t="t" r="r" b="b"/>
              <a:pathLst>
                <a:path w="443353" h="40304">
                  <a:moveTo>
                    <a:pt x="0" y="0"/>
                  </a:moveTo>
                  <a:lnTo>
                    <a:pt x="443354" y="0"/>
                  </a:lnTo>
                  <a:lnTo>
                    <a:pt x="443354" y="40305"/>
                  </a:lnTo>
                  <a:lnTo>
                    <a:pt x="0" y="40305"/>
                  </a:lnTo>
                  <a:close/>
                </a:path>
              </a:pathLst>
            </a:custGeom>
            <a:grpFill/>
            <a:ln w="200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262626"/>
                </a:solidFill>
                <a:effectLst/>
                <a:uLnTx/>
                <a:uFillTx/>
                <a:latin typeface="阿里巴巴普惠体 B"/>
                <a:ea typeface="阿里巴巴普惠体 R"/>
                <a:cs typeface="+mn-cs"/>
              </a:endParaRPr>
            </a:p>
          </p:txBody>
        </p:sp>
      </p:grpSp>
      <p:grpSp>
        <p:nvGrpSpPr>
          <p:cNvPr id="218" name="组合 217">
            <a:extLst>
              <a:ext uri="{FF2B5EF4-FFF2-40B4-BE49-F238E27FC236}">
                <a16:creationId xmlns:a16="http://schemas.microsoft.com/office/drawing/2014/main" id="{FD6A91FB-F861-442A-AFBB-9E1F729EE9E5}"/>
              </a:ext>
            </a:extLst>
          </p:cNvPr>
          <p:cNvGrpSpPr/>
          <p:nvPr/>
        </p:nvGrpSpPr>
        <p:grpSpPr>
          <a:xfrm>
            <a:off x="11582193" y="421861"/>
            <a:ext cx="128587" cy="180000"/>
            <a:chOff x="2975429" y="1451429"/>
            <a:chExt cx="128587" cy="180000"/>
          </a:xfrm>
        </p:grpSpPr>
        <p:cxnSp>
          <p:nvCxnSpPr>
            <p:cNvPr id="219" name="直接连接符 218">
              <a:extLst>
                <a:ext uri="{FF2B5EF4-FFF2-40B4-BE49-F238E27FC236}">
                  <a16:creationId xmlns:a16="http://schemas.microsoft.com/office/drawing/2014/main" id="{2C123133-0472-4A06-81A2-03CD765C63CB}"/>
                </a:ext>
              </a:extLst>
            </p:cNvPr>
            <p:cNvCxnSpPr>
              <a:cxnSpLocks/>
            </p:cNvCxnSpPr>
            <p:nvPr/>
          </p:nvCxnSpPr>
          <p:spPr>
            <a:xfrm flipV="1">
              <a:off x="2975429" y="1451429"/>
              <a:ext cx="0" cy="180000"/>
            </a:xfrm>
            <a:prstGeom prst="line">
              <a:avLst/>
            </a:prstGeom>
            <a:ln w="25400">
              <a:solidFill>
                <a:srgbClr val="1622FA"/>
              </a:solidFill>
            </a:ln>
          </p:spPr>
          <p:style>
            <a:lnRef idx="1">
              <a:schemeClr val="accent1"/>
            </a:lnRef>
            <a:fillRef idx="0">
              <a:schemeClr val="accent1"/>
            </a:fillRef>
            <a:effectRef idx="0">
              <a:schemeClr val="accent1"/>
            </a:effectRef>
            <a:fontRef idx="minor">
              <a:schemeClr val="tx1"/>
            </a:fontRef>
          </p:style>
        </p:cxnSp>
        <p:cxnSp>
          <p:nvCxnSpPr>
            <p:cNvPr id="220" name="直接连接符 219">
              <a:extLst>
                <a:ext uri="{FF2B5EF4-FFF2-40B4-BE49-F238E27FC236}">
                  <a16:creationId xmlns:a16="http://schemas.microsoft.com/office/drawing/2014/main" id="{92E1C872-ADF3-4576-B377-226735939262}"/>
                </a:ext>
              </a:extLst>
            </p:cNvPr>
            <p:cNvCxnSpPr>
              <a:cxnSpLocks/>
            </p:cNvCxnSpPr>
            <p:nvPr/>
          </p:nvCxnSpPr>
          <p:spPr>
            <a:xfrm flipV="1">
              <a:off x="3039723" y="1451429"/>
              <a:ext cx="0" cy="180000"/>
            </a:xfrm>
            <a:prstGeom prst="line">
              <a:avLst/>
            </a:prstGeom>
            <a:ln w="25400">
              <a:solidFill>
                <a:srgbClr val="1622FA"/>
              </a:solidFill>
            </a:ln>
          </p:spPr>
          <p:style>
            <a:lnRef idx="1">
              <a:schemeClr val="accent1"/>
            </a:lnRef>
            <a:fillRef idx="0">
              <a:schemeClr val="accent1"/>
            </a:fillRef>
            <a:effectRef idx="0">
              <a:schemeClr val="accent1"/>
            </a:effectRef>
            <a:fontRef idx="minor">
              <a:schemeClr val="tx1"/>
            </a:fontRef>
          </p:style>
        </p:cxnSp>
        <p:cxnSp>
          <p:nvCxnSpPr>
            <p:cNvPr id="221" name="直接连接符 220">
              <a:extLst>
                <a:ext uri="{FF2B5EF4-FFF2-40B4-BE49-F238E27FC236}">
                  <a16:creationId xmlns:a16="http://schemas.microsoft.com/office/drawing/2014/main" id="{1BC012D8-41C0-4DCA-BAD3-8473686C8220}"/>
                </a:ext>
              </a:extLst>
            </p:cNvPr>
            <p:cNvCxnSpPr>
              <a:cxnSpLocks/>
            </p:cNvCxnSpPr>
            <p:nvPr/>
          </p:nvCxnSpPr>
          <p:spPr>
            <a:xfrm flipV="1">
              <a:off x="3104016" y="1451429"/>
              <a:ext cx="0" cy="180000"/>
            </a:xfrm>
            <a:prstGeom prst="line">
              <a:avLst/>
            </a:prstGeom>
            <a:ln w="25400">
              <a:solidFill>
                <a:srgbClr val="1622FA"/>
              </a:solidFill>
            </a:ln>
          </p:spPr>
          <p:style>
            <a:lnRef idx="1">
              <a:schemeClr val="accent1"/>
            </a:lnRef>
            <a:fillRef idx="0">
              <a:schemeClr val="accent1"/>
            </a:fillRef>
            <a:effectRef idx="0">
              <a:schemeClr val="accent1"/>
            </a:effectRef>
            <a:fontRef idx="minor">
              <a:schemeClr val="tx1"/>
            </a:fontRef>
          </p:style>
        </p:cxnSp>
      </p:grpSp>
      <p:grpSp>
        <p:nvGrpSpPr>
          <p:cNvPr id="222" name="组合 221">
            <a:extLst>
              <a:ext uri="{FF2B5EF4-FFF2-40B4-BE49-F238E27FC236}">
                <a16:creationId xmlns:a16="http://schemas.microsoft.com/office/drawing/2014/main" id="{F47AA1A2-961F-48F3-AC9C-BC51643D60D6}"/>
              </a:ext>
            </a:extLst>
          </p:cNvPr>
          <p:cNvGrpSpPr/>
          <p:nvPr/>
        </p:nvGrpSpPr>
        <p:grpSpPr>
          <a:xfrm>
            <a:off x="1078645" y="1150496"/>
            <a:ext cx="2374040" cy="890729"/>
            <a:chOff x="7654787" y="2508852"/>
            <a:chExt cx="2190425" cy="890729"/>
          </a:xfrm>
        </p:grpSpPr>
        <p:sp>
          <p:nvSpPr>
            <p:cNvPr id="223" name="文本框 222">
              <a:extLst>
                <a:ext uri="{FF2B5EF4-FFF2-40B4-BE49-F238E27FC236}">
                  <a16:creationId xmlns:a16="http://schemas.microsoft.com/office/drawing/2014/main" id="{EE06C8A8-24BE-4609-9A7E-B4B60FA0936C}"/>
                </a:ext>
              </a:extLst>
            </p:cNvPr>
            <p:cNvSpPr txBox="1"/>
            <p:nvPr/>
          </p:nvSpPr>
          <p:spPr>
            <a:xfrm>
              <a:off x="7654787" y="2508852"/>
              <a:ext cx="745427" cy="279372"/>
            </a:xfrm>
            <a:prstGeom prst="rect">
              <a:avLst/>
            </a:prstGeom>
            <a:noFill/>
          </p:spPr>
          <p:txBody>
            <a:bodyPr wrap="none" lIns="0" tIns="0" rIns="0" bIns="0" rtlCol="0">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zh-CN" altLang="en-US" sz="1600" b="1" i="0" u="none" strike="noStrike" kern="0" cap="none" spc="0" normalizeH="0" baseline="0" noProof="0" dirty="0">
                  <a:ln>
                    <a:noFill/>
                  </a:ln>
                  <a:solidFill>
                    <a:srgbClr val="262626">
                      <a:lumMod val="85000"/>
                      <a:lumOff val="15000"/>
                    </a:srgbClr>
                  </a:solidFill>
                  <a:effectLst/>
                  <a:uLnTx/>
                  <a:uFillTx/>
                  <a:latin typeface="阿里巴巴普惠体 B" panose="00020600040101010101" pitchFamily="18" charset="-122"/>
                  <a:ea typeface="阿里巴巴普惠体 B" panose="00020600040101010101" pitchFamily="18" charset="-122"/>
                  <a:cs typeface="+mn-cs"/>
                </a:rPr>
                <a:t>经营哲学</a:t>
              </a:r>
            </a:p>
          </p:txBody>
        </p:sp>
        <p:sp>
          <p:nvSpPr>
            <p:cNvPr id="224" name="文本框 223">
              <a:extLst>
                <a:ext uri="{FF2B5EF4-FFF2-40B4-BE49-F238E27FC236}">
                  <a16:creationId xmlns:a16="http://schemas.microsoft.com/office/drawing/2014/main" id="{ABA6ACFC-572C-48CC-B71C-9D74C072E034}"/>
                </a:ext>
              </a:extLst>
            </p:cNvPr>
            <p:cNvSpPr txBox="1"/>
            <p:nvPr/>
          </p:nvSpPr>
          <p:spPr>
            <a:xfrm>
              <a:off x="7654787" y="2855650"/>
              <a:ext cx="2190425" cy="543931"/>
            </a:xfrm>
            <a:prstGeom prst="rect">
              <a:avLst/>
            </a:prstGeom>
            <a:noFill/>
          </p:spPr>
          <p:txBody>
            <a:bodyPr wrap="square" lIns="0" tIns="0" rIns="0" bIns="0" rtlCol="0">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zh-CN" altLang="en-US" sz="1000" b="0" i="0" u="none" strike="noStrike" kern="0" cap="none" spc="0" normalizeH="0" baseline="0" noProof="0" dirty="0">
                  <a:ln>
                    <a:noFill/>
                  </a:ln>
                  <a:solidFill>
                    <a:srgbClr val="262626">
                      <a:lumMod val="85000"/>
                      <a:lumOff val="15000"/>
                    </a:srgbClr>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接受企业文化，能使自己和企业在价值取向上趋于一致，减少因理念和行为不协调所带来的冲突，从而使内心更加平静。</a:t>
              </a:r>
            </a:p>
          </p:txBody>
        </p:sp>
      </p:grpSp>
      <p:grpSp>
        <p:nvGrpSpPr>
          <p:cNvPr id="225" name="组合 224">
            <a:extLst>
              <a:ext uri="{FF2B5EF4-FFF2-40B4-BE49-F238E27FC236}">
                <a16:creationId xmlns:a16="http://schemas.microsoft.com/office/drawing/2014/main" id="{C3E3A5A6-20AF-4838-BA6D-A18842718842}"/>
              </a:ext>
            </a:extLst>
          </p:cNvPr>
          <p:cNvGrpSpPr/>
          <p:nvPr/>
        </p:nvGrpSpPr>
        <p:grpSpPr>
          <a:xfrm>
            <a:off x="3117638" y="2735423"/>
            <a:ext cx="2316148" cy="890729"/>
            <a:chOff x="7884623" y="2508852"/>
            <a:chExt cx="2137011" cy="890729"/>
          </a:xfrm>
        </p:grpSpPr>
        <p:sp>
          <p:nvSpPr>
            <p:cNvPr id="226" name="文本框 225">
              <a:extLst>
                <a:ext uri="{FF2B5EF4-FFF2-40B4-BE49-F238E27FC236}">
                  <a16:creationId xmlns:a16="http://schemas.microsoft.com/office/drawing/2014/main" id="{BDF8FB16-AABC-4201-8020-1BA7554EEC8A}"/>
                </a:ext>
              </a:extLst>
            </p:cNvPr>
            <p:cNvSpPr txBox="1"/>
            <p:nvPr/>
          </p:nvSpPr>
          <p:spPr>
            <a:xfrm>
              <a:off x="7884623" y="2508852"/>
              <a:ext cx="745427" cy="279372"/>
            </a:xfrm>
            <a:prstGeom prst="rect">
              <a:avLst/>
            </a:prstGeom>
            <a:noFill/>
          </p:spPr>
          <p:txBody>
            <a:bodyPr wrap="none" lIns="0" tIns="0" rIns="0" bIns="0" rtlCol="0">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zh-CN" altLang="en-US" sz="1600" b="1" i="0" u="none" strike="noStrike" kern="0" cap="none" spc="0" normalizeH="0" baseline="0" noProof="0" dirty="0">
                  <a:ln>
                    <a:noFill/>
                  </a:ln>
                  <a:solidFill>
                    <a:srgbClr val="262626">
                      <a:lumMod val="85000"/>
                      <a:lumOff val="15000"/>
                    </a:srgbClr>
                  </a:solidFill>
                  <a:effectLst/>
                  <a:uLnTx/>
                  <a:uFillTx/>
                  <a:latin typeface="阿里巴巴普惠体 B" panose="00020600040101010101" pitchFamily="18" charset="-122"/>
                  <a:ea typeface="阿里巴巴普惠体 B" panose="00020600040101010101" pitchFamily="18" charset="-122"/>
                  <a:cs typeface="+mn-cs"/>
                </a:rPr>
                <a:t>企业精神</a:t>
              </a:r>
            </a:p>
          </p:txBody>
        </p:sp>
        <p:sp>
          <p:nvSpPr>
            <p:cNvPr id="227" name="文本框 226">
              <a:extLst>
                <a:ext uri="{FF2B5EF4-FFF2-40B4-BE49-F238E27FC236}">
                  <a16:creationId xmlns:a16="http://schemas.microsoft.com/office/drawing/2014/main" id="{35FFE85C-5F45-4C2C-84E0-C84D747731A0}"/>
                </a:ext>
              </a:extLst>
            </p:cNvPr>
            <p:cNvSpPr txBox="1"/>
            <p:nvPr/>
          </p:nvSpPr>
          <p:spPr>
            <a:xfrm>
              <a:off x="7884623" y="2855650"/>
              <a:ext cx="2137011" cy="543931"/>
            </a:xfrm>
            <a:prstGeom prst="rect">
              <a:avLst/>
            </a:prstGeom>
            <a:noFill/>
          </p:spPr>
          <p:txBody>
            <a:bodyPr wrap="square" lIns="0" tIns="0" rIns="0" bIns="0" rtlCol="0">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zh-CN" altLang="en-US" sz="1000" b="0" i="0" u="none" strike="noStrike" kern="0" cap="none" spc="0" normalizeH="0" baseline="0" noProof="0" dirty="0">
                  <a:ln>
                    <a:noFill/>
                  </a:ln>
                  <a:solidFill>
                    <a:srgbClr val="262626">
                      <a:lumMod val="85000"/>
                      <a:lumOff val="15000"/>
                    </a:srgbClr>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接受企业文化，能使自己和企业在价值取向上趋于一致，减少因理念和行为不协调所带来的冲突，从而使内心更加平静。</a:t>
              </a:r>
            </a:p>
          </p:txBody>
        </p:sp>
      </p:grpSp>
      <p:grpSp>
        <p:nvGrpSpPr>
          <p:cNvPr id="228" name="组合 227">
            <a:extLst>
              <a:ext uri="{FF2B5EF4-FFF2-40B4-BE49-F238E27FC236}">
                <a16:creationId xmlns:a16="http://schemas.microsoft.com/office/drawing/2014/main" id="{E40F22A8-A596-4190-9805-4315B46E32E8}"/>
              </a:ext>
            </a:extLst>
          </p:cNvPr>
          <p:cNvGrpSpPr/>
          <p:nvPr/>
        </p:nvGrpSpPr>
        <p:grpSpPr>
          <a:xfrm>
            <a:off x="2602453" y="4590365"/>
            <a:ext cx="2358470" cy="890729"/>
            <a:chOff x="7884623" y="2508852"/>
            <a:chExt cx="2176060" cy="890729"/>
          </a:xfrm>
        </p:grpSpPr>
        <p:sp>
          <p:nvSpPr>
            <p:cNvPr id="229" name="文本框 228">
              <a:extLst>
                <a:ext uri="{FF2B5EF4-FFF2-40B4-BE49-F238E27FC236}">
                  <a16:creationId xmlns:a16="http://schemas.microsoft.com/office/drawing/2014/main" id="{9C999B00-57F3-4BFB-9FDD-97E427D32A72}"/>
                </a:ext>
              </a:extLst>
            </p:cNvPr>
            <p:cNvSpPr txBox="1"/>
            <p:nvPr/>
          </p:nvSpPr>
          <p:spPr>
            <a:xfrm>
              <a:off x="7884623" y="2508852"/>
              <a:ext cx="745427" cy="279372"/>
            </a:xfrm>
            <a:prstGeom prst="rect">
              <a:avLst/>
            </a:prstGeom>
            <a:noFill/>
          </p:spPr>
          <p:txBody>
            <a:bodyPr wrap="none" lIns="0" tIns="0" rIns="0" bIns="0" rtlCol="0">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zh-CN" altLang="en-US" sz="1600" b="1" i="0" u="none" strike="noStrike" kern="0" cap="none" spc="0" normalizeH="0" baseline="0" noProof="0" dirty="0">
                  <a:ln>
                    <a:noFill/>
                  </a:ln>
                  <a:solidFill>
                    <a:srgbClr val="262626">
                      <a:lumMod val="85000"/>
                      <a:lumOff val="15000"/>
                    </a:srgbClr>
                  </a:solidFill>
                  <a:effectLst/>
                  <a:uLnTx/>
                  <a:uFillTx/>
                  <a:latin typeface="阿里巴巴普惠体 B" panose="00020600040101010101" pitchFamily="18" charset="-122"/>
                  <a:ea typeface="阿里巴巴普惠体 B" panose="00020600040101010101" pitchFamily="18" charset="-122"/>
                  <a:cs typeface="+mn-cs"/>
                </a:rPr>
                <a:t>核心理念</a:t>
              </a:r>
            </a:p>
          </p:txBody>
        </p:sp>
        <p:sp>
          <p:nvSpPr>
            <p:cNvPr id="230" name="文本框 229">
              <a:extLst>
                <a:ext uri="{FF2B5EF4-FFF2-40B4-BE49-F238E27FC236}">
                  <a16:creationId xmlns:a16="http://schemas.microsoft.com/office/drawing/2014/main" id="{EA66581F-BF79-43D6-B71F-D26DDE46D9CE}"/>
                </a:ext>
              </a:extLst>
            </p:cNvPr>
            <p:cNvSpPr txBox="1"/>
            <p:nvPr/>
          </p:nvSpPr>
          <p:spPr>
            <a:xfrm>
              <a:off x="7884623" y="2855650"/>
              <a:ext cx="2176060" cy="543931"/>
            </a:xfrm>
            <a:prstGeom prst="rect">
              <a:avLst/>
            </a:prstGeom>
            <a:noFill/>
          </p:spPr>
          <p:txBody>
            <a:bodyPr wrap="square" lIns="0" tIns="0" rIns="0" bIns="0" rtlCol="0">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zh-CN" altLang="en-US" sz="1000" b="0" i="0" u="none" strike="noStrike" kern="0" cap="none" spc="0" normalizeH="0" baseline="0" noProof="0" dirty="0">
                  <a:ln>
                    <a:noFill/>
                  </a:ln>
                  <a:solidFill>
                    <a:srgbClr val="262626">
                      <a:lumMod val="85000"/>
                      <a:lumOff val="15000"/>
                    </a:srgbClr>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接受企业文化，能使自己和企业在价值取向上趋于一致，减少因理念和行为不协调所带来的冲突，从而使内心更加平静。</a:t>
              </a:r>
            </a:p>
          </p:txBody>
        </p:sp>
      </p:grpSp>
      <p:grpSp>
        <p:nvGrpSpPr>
          <p:cNvPr id="231" name="组合 230">
            <a:extLst>
              <a:ext uri="{FF2B5EF4-FFF2-40B4-BE49-F238E27FC236}">
                <a16:creationId xmlns:a16="http://schemas.microsoft.com/office/drawing/2014/main" id="{D7A6BE51-FF90-4CD2-A5B9-8A8E9B4A4FD3}"/>
              </a:ext>
            </a:extLst>
          </p:cNvPr>
          <p:cNvGrpSpPr/>
          <p:nvPr/>
        </p:nvGrpSpPr>
        <p:grpSpPr>
          <a:xfrm>
            <a:off x="5297609" y="5420185"/>
            <a:ext cx="2351474" cy="890729"/>
            <a:chOff x="7884623" y="2508852"/>
            <a:chExt cx="2169605" cy="890729"/>
          </a:xfrm>
        </p:grpSpPr>
        <p:sp>
          <p:nvSpPr>
            <p:cNvPr id="232" name="文本框 231">
              <a:extLst>
                <a:ext uri="{FF2B5EF4-FFF2-40B4-BE49-F238E27FC236}">
                  <a16:creationId xmlns:a16="http://schemas.microsoft.com/office/drawing/2014/main" id="{0BC09A62-1633-4940-854B-5F13EAC40245}"/>
                </a:ext>
              </a:extLst>
            </p:cNvPr>
            <p:cNvSpPr txBox="1"/>
            <p:nvPr/>
          </p:nvSpPr>
          <p:spPr>
            <a:xfrm>
              <a:off x="7884623" y="2508852"/>
              <a:ext cx="745427" cy="279372"/>
            </a:xfrm>
            <a:prstGeom prst="rect">
              <a:avLst/>
            </a:prstGeom>
            <a:noFill/>
          </p:spPr>
          <p:txBody>
            <a:bodyPr wrap="none" lIns="0" tIns="0" rIns="0" bIns="0" rtlCol="0">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zh-CN" altLang="en-US" sz="1600" b="1" i="0" u="none" strike="noStrike" kern="0" cap="none" spc="0" normalizeH="0" baseline="0" noProof="0" dirty="0">
                  <a:ln>
                    <a:noFill/>
                  </a:ln>
                  <a:solidFill>
                    <a:srgbClr val="262626">
                      <a:lumMod val="85000"/>
                      <a:lumOff val="15000"/>
                    </a:srgbClr>
                  </a:solidFill>
                  <a:effectLst/>
                  <a:uLnTx/>
                  <a:uFillTx/>
                  <a:latin typeface="阿里巴巴普惠体 B" panose="00020600040101010101" pitchFamily="18" charset="-122"/>
                  <a:ea typeface="阿里巴巴普惠体 B" panose="00020600040101010101" pitchFamily="18" charset="-122"/>
                  <a:cs typeface="+mn-cs"/>
                </a:rPr>
                <a:t>经营理念</a:t>
              </a:r>
            </a:p>
          </p:txBody>
        </p:sp>
        <p:sp>
          <p:nvSpPr>
            <p:cNvPr id="233" name="文本框 232">
              <a:extLst>
                <a:ext uri="{FF2B5EF4-FFF2-40B4-BE49-F238E27FC236}">
                  <a16:creationId xmlns:a16="http://schemas.microsoft.com/office/drawing/2014/main" id="{1F77D800-3718-4F13-9B65-9C61B62723E7}"/>
                </a:ext>
              </a:extLst>
            </p:cNvPr>
            <p:cNvSpPr txBox="1"/>
            <p:nvPr/>
          </p:nvSpPr>
          <p:spPr>
            <a:xfrm>
              <a:off x="7884623" y="2855650"/>
              <a:ext cx="2169605" cy="543931"/>
            </a:xfrm>
            <a:prstGeom prst="rect">
              <a:avLst/>
            </a:prstGeom>
            <a:noFill/>
          </p:spPr>
          <p:txBody>
            <a:bodyPr wrap="square" lIns="0" tIns="0" rIns="0" bIns="0" rtlCol="0">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zh-CN" altLang="en-US" sz="1000" b="0" i="0" u="none" strike="noStrike" kern="0" cap="none" spc="0" normalizeH="0" baseline="0" noProof="0" dirty="0">
                  <a:ln>
                    <a:noFill/>
                  </a:ln>
                  <a:solidFill>
                    <a:srgbClr val="262626">
                      <a:lumMod val="85000"/>
                      <a:lumOff val="15000"/>
                    </a:srgbClr>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接受企业文化，能使自己和企业在价值取向上趋于一致，减少因理念和行为不协调所带来的冲突，从而使内心更加平静。</a:t>
              </a:r>
            </a:p>
          </p:txBody>
        </p:sp>
      </p:grpSp>
      <p:grpSp>
        <p:nvGrpSpPr>
          <p:cNvPr id="234" name="组合 233">
            <a:extLst>
              <a:ext uri="{FF2B5EF4-FFF2-40B4-BE49-F238E27FC236}">
                <a16:creationId xmlns:a16="http://schemas.microsoft.com/office/drawing/2014/main" id="{AE1113C3-B8E6-4D4C-BA33-C211758EFE36}"/>
              </a:ext>
            </a:extLst>
          </p:cNvPr>
          <p:cNvGrpSpPr/>
          <p:nvPr/>
        </p:nvGrpSpPr>
        <p:grpSpPr>
          <a:xfrm>
            <a:off x="6622318" y="3902027"/>
            <a:ext cx="2285461" cy="890729"/>
            <a:chOff x="7884623" y="2508852"/>
            <a:chExt cx="2108697" cy="890729"/>
          </a:xfrm>
        </p:grpSpPr>
        <p:sp>
          <p:nvSpPr>
            <p:cNvPr id="235" name="文本框 234">
              <a:extLst>
                <a:ext uri="{FF2B5EF4-FFF2-40B4-BE49-F238E27FC236}">
                  <a16:creationId xmlns:a16="http://schemas.microsoft.com/office/drawing/2014/main" id="{0D6BDE2E-F726-41B3-ADC7-57767AD4EF88}"/>
                </a:ext>
              </a:extLst>
            </p:cNvPr>
            <p:cNvSpPr txBox="1"/>
            <p:nvPr/>
          </p:nvSpPr>
          <p:spPr>
            <a:xfrm>
              <a:off x="7884623" y="2508852"/>
              <a:ext cx="931784" cy="279372"/>
            </a:xfrm>
            <a:prstGeom prst="rect">
              <a:avLst/>
            </a:prstGeom>
            <a:noFill/>
          </p:spPr>
          <p:txBody>
            <a:bodyPr wrap="none" lIns="0" tIns="0" rIns="0" bIns="0" rtlCol="0">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zh-CN" altLang="en-US" sz="1600" b="1" i="0" u="none" strike="noStrike" kern="0" cap="none" spc="0" normalizeH="0" baseline="0" noProof="0" dirty="0">
                  <a:ln>
                    <a:noFill/>
                  </a:ln>
                  <a:solidFill>
                    <a:srgbClr val="262626">
                      <a:lumMod val="85000"/>
                      <a:lumOff val="15000"/>
                    </a:srgbClr>
                  </a:solidFill>
                  <a:effectLst/>
                  <a:uLnTx/>
                  <a:uFillTx/>
                  <a:latin typeface="阿里巴巴普惠体 B" panose="00020600040101010101" pitchFamily="18" charset="-122"/>
                  <a:ea typeface="阿里巴巴普惠体 B" panose="00020600040101010101" pitchFamily="18" charset="-122"/>
                  <a:cs typeface="+mn-cs"/>
                </a:rPr>
                <a:t>核心价值观</a:t>
              </a:r>
            </a:p>
          </p:txBody>
        </p:sp>
        <p:sp>
          <p:nvSpPr>
            <p:cNvPr id="236" name="文本框 235">
              <a:extLst>
                <a:ext uri="{FF2B5EF4-FFF2-40B4-BE49-F238E27FC236}">
                  <a16:creationId xmlns:a16="http://schemas.microsoft.com/office/drawing/2014/main" id="{0100F2BE-1253-4288-AB8D-A7D21A2D2302}"/>
                </a:ext>
              </a:extLst>
            </p:cNvPr>
            <p:cNvSpPr txBox="1"/>
            <p:nvPr/>
          </p:nvSpPr>
          <p:spPr>
            <a:xfrm>
              <a:off x="7884623" y="2855650"/>
              <a:ext cx="2108697" cy="543931"/>
            </a:xfrm>
            <a:prstGeom prst="rect">
              <a:avLst/>
            </a:prstGeom>
            <a:noFill/>
          </p:spPr>
          <p:txBody>
            <a:bodyPr wrap="square" lIns="0" tIns="0" rIns="0" bIns="0" rtlCol="0">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zh-CN" altLang="en-US" sz="1000" b="0" i="0" u="none" strike="noStrike" kern="0" cap="none" spc="0" normalizeH="0" baseline="0" noProof="0" dirty="0">
                  <a:ln>
                    <a:noFill/>
                  </a:ln>
                  <a:solidFill>
                    <a:srgbClr val="262626">
                      <a:lumMod val="85000"/>
                      <a:lumOff val="15000"/>
                    </a:srgbClr>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接受企业文化，能使自己和企业在价值取向上趋于一致，减少因理念和行为不协调所带来的冲突，从而使内心更加平静。</a:t>
              </a:r>
            </a:p>
          </p:txBody>
        </p:sp>
      </p:grpSp>
      <p:grpSp>
        <p:nvGrpSpPr>
          <p:cNvPr id="237" name="组合 236">
            <a:extLst>
              <a:ext uri="{FF2B5EF4-FFF2-40B4-BE49-F238E27FC236}">
                <a16:creationId xmlns:a16="http://schemas.microsoft.com/office/drawing/2014/main" id="{3E9B49B6-35F8-4145-A972-D7C58477BEDF}"/>
              </a:ext>
            </a:extLst>
          </p:cNvPr>
          <p:cNvGrpSpPr/>
          <p:nvPr/>
        </p:nvGrpSpPr>
        <p:grpSpPr>
          <a:xfrm>
            <a:off x="6855568" y="1157755"/>
            <a:ext cx="2304707" cy="890729"/>
            <a:chOff x="7884623" y="2508852"/>
            <a:chExt cx="2126455" cy="890729"/>
          </a:xfrm>
        </p:grpSpPr>
        <p:sp>
          <p:nvSpPr>
            <p:cNvPr id="238" name="文本框 237">
              <a:extLst>
                <a:ext uri="{FF2B5EF4-FFF2-40B4-BE49-F238E27FC236}">
                  <a16:creationId xmlns:a16="http://schemas.microsoft.com/office/drawing/2014/main" id="{A65960AA-B7B3-4D40-A57B-2F792095A29E}"/>
                </a:ext>
              </a:extLst>
            </p:cNvPr>
            <p:cNvSpPr txBox="1"/>
            <p:nvPr/>
          </p:nvSpPr>
          <p:spPr>
            <a:xfrm>
              <a:off x="7884623" y="2508852"/>
              <a:ext cx="931784" cy="279372"/>
            </a:xfrm>
            <a:prstGeom prst="rect">
              <a:avLst/>
            </a:prstGeom>
            <a:noFill/>
          </p:spPr>
          <p:txBody>
            <a:bodyPr wrap="none" lIns="0" tIns="0" rIns="0" bIns="0" rtlCol="0">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zh-CN" altLang="en-US" sz="1600" b="1" i="0" u="none" strike="noStrike" kern="0" cap="none" spc="0" normalizeH="0" baseline="0" noProof="0" dirty="0">
                  <a:ln>
                    <a:noFill/>
                  </a:ln>
                  <a:solidFill>
                    <a:srgbClr val="262626">
                      <a:lumMod val="85000"/>
                      <a:lumOff val="15000"/>
                    </a:srgbClr>
                  </a:solidFill>
                  <a:effectLst/>
                  <a:uLnTx/>
                  <a:uFillTx/>
                  <a:latin typeface="阿里巴巴普惠体 B" panose="00020600040101010101" pitchFamily="18" charset="-122"/>
                  <a:ea typeface="阿里巴巴普惠体 B" panose="00020600040101010101" pitchFamily="18" charset="-122"/>
                  <a:cs typeface="+mn-cs"/>
                </a:rPr>
                <a:t>主题价值观</a:t>
              </a:r>
            </a:p>
          </p:txBody>
        </p:sp>
        <p:sp>
          <p:nvSpPr>
            <p:cNvPr id="239" name="文本框 238">
              <a:extLst>
                <a:ext uri="{FF2B5EF4-FFF2-40B4-BE49-F238E27FC236}">
                  <a16:creationId xmlns:a16="http://schemas.microsoft.com/office/drawing/2014/main" id="{8F103259-08EE-498C-9EEF-2AE1D6CFC158}"/>
                </a:ext>
              </a:extLst>
            </p:cNvPr>
            <p:cNvSpPr txBox="1"/>
            <p:nvPr/>
          </p:nvSpPr>
          <p:spPr>
            <a:xfrm>
              <a:off x="7884623" y="2855650"/>
              <a:ext cx="2126455" cy="543931"/>
            </a:xfrm>
            <a:prstGeom prst="rect">
              <a:avLst/>
            </a:prstGeom>
            <a:noFill/>
          </p:spPr>
          <p:txBody>
            <a:bodyPr wrap="square" lIns="0" tIns="0" rIns="0" bIns="0" rtlCol="0">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zh-CN" altLang="en-US" sz="1000" b="0" i="0" u="none" strike="noStrike" kern="0" cap="none" spc="0" normalizeH="0" baseline="0" noProof="0" dirty="0">
                  <a:ln>
                    <a:noFill/>
                  </a:ln>
                  <a:solidFill>
                    <a:srgbClr val="262626">
                      <a:lumMod val="85000"/>
                      <a:lumOff val="15000"/>
                    </a:srgbClr>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接受企业文化，能使自己和企业在价值取向上趋于一致，减少因理念和行为不协调所带来的冲突，从而使内心更加平静。</a:t>
              </a:r>
            </a:p>
          </p:txBody>
        </p:sp>
      </p:grpSp>
      <p:grpSp>
        <p:nvGrpSpPr>
          <p:cNvPr id="240" name="组合 239">
            <a:extLst>
              <a:ext uri="{FF2B5EF4-FFF2-40B4-BE49-F238E27FC236}">
                <a16:creationId xmlns:a16="http://schemas.microsoft.com/office/drawing/2014/main" id="{CCE390E2-97FB-4359-9D2A-1C3701D21B1D}"/>
              </a:ext>
            </a:extLst>
          </p:cNvPr>
          <p:cNvGrpSpPr/>
          <p:nvPr/>
        </p:nvGrpSpPr>
        <p:grpSpPr>
          <a:xfrm>
            <a:off x="9479157" y="2811504"/>
            <a:ext cx="2353038" cy="890729"/>
            <a:chOff x="7884623" y="2508852"/>
            <a:chExt cx="2171048" cy="890729"/>
          </a:xfrm>
        </p:grpSpPr>
        <p:sp>
          <p:nvSpPr>
            <p:cNvPr id="241" name="文本框 240">
              <a:extLst>
                <a:ext uri="{FF2B5EF4-FFF2-40B4-BE49-F238E27FC236}">
                  <a16:creationId xmlns:a16="http://schemas.microsoft.com/office/drawing/2014/main" id="{01901706-3E61-45DC-B33C-815F523FE0D1}"/>
                </a:ext>
              </a:extLst>
            </p:cNvPr>
            <p:cNvSpPr txBox="1"/>
            <p:nvPr/>
          </p:nvSpPr>
          <p:spPr>
            <a:xfrm>
              <a:off x="7884623" y="2508852"/>
              <a:ext cx="745427" cy="279372"/>
            </a:xfrm>
            <a:prstGeom prst="rect">
              <a:avLst/>
            </a:prstGeom>
            <a:noFill/>
          </p:spPr>
          <p:txBody>
            <a:bodyPr wrap="none" lIns="0" tIns="0" rIns="0" bIns="0" rtlCol="0">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zh-CN" altLang="en-US" sz="1600" b="1" i="0" u="none" strike="noStrike" kern="0" cap="none" spc="0" normalizeH="0" baseline="0" noProof="0" dirty="0">
                  <a:ln>
                    <a:noFill/>
                  </a:ln>
                  <a:solidFill>
                    <a:srgbClr val="262626">
                      <a:lumMod val="85000"/>
                      <a:lumOff val="15000"/>
                    </a:srgbClr>
                  </a:solidFill>
                  <a:effectLst/>
                  <a:uLnTx/>
                  <a:uFillTx/>
                  <a:latin typeface="阿里巴巴普惠体 B" panose="00020600040101010101" pitchFamily="18" charset="-122"/>
                  <a:ea typeface="阿里巴巴普惠体 B" panose="00020600040101010101" pitchFamily="18" charset="-122"/>
                  <a:cs typeface="+mn-cs"/>
                </a:rPr>
                <a:t>企业文化</a:t>
              </a:r>
            </a:p>
          </p:txBody>
        </p:sp>
        <p:sp>
          <p:nvSpPr>
            <p:cNvPr id="242" name="文本框 241">
              <a:extLst>
                <a:ext uri="{FF2B5EF4-FFF2-40B4-BE49-F238E27FC236}">
                  <a16:creationId xmlns:a16="http://schemas.microsoft.com/office/drawing/2014/main" id="{86E99335-BCE1-4E99-8F9D-129018F9BB1A}"/>
                </a:ext>
              </a:extLst>
            </p:cNvPr>
            <p:cNvSpPr txBox="1"/>
            <p:nvPr/>
          </p:nvSpPr>
          <p:spPr>
            <a:xfrm>
              <a:off x="7884623" y="2855650"/>
              <a:ext cx="2171048" cy="543931"/>
            </a:xfrm>
            <a:prstGeom prst="rect">
              <a:avLst/>
            </a:prstGeom>
            <a:noFill/>
          </p:spPr>
          <p:txBody>
            <a:bodyPr wrap="square" lIns="0" tIns="0" rIns="0" bIns="0" rtlCol="0">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zh-CN" altLang="en-US" sz="1000" b="0" i="0" u="none" strike="noStrike" kern="0" cap="none" spc="0" normalizeH="0" baseline="0" noProof="0" dirty="0">
                  <a:ln>
                    <a:noFill/>
                  </a:ln>
                  <a:solidFill>
                    <a:srgbClr val="262626">
                      <a:lumMod val="85000"/>
                      <a:lumOff val="15000"/>
                    </a:srgbClr>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rPr>
                <a:t>接受企业文化，能使自己和企业在价值取向上趋于一致，减少因理念和行为不协调所带来的冲突，从而使内心更加平静。</a:t>
              </a:r>
            </a:p>
          </p:txBody>
        </p:sp>
      </p:grpSp>
    </p:spTree>
    <p:extLst>
      <p:ext uri="{BB962C8B-B14F-4D97-AF65-F5344CB8AC3E}">
        <p14:creationId xmlns:p14="http://schemas.microsoft.com/office/powerpoint/2010/main" val="3220790206"/>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4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23" name="Straight Connector 55">
            <a:extLst>
              <a:ext uri="{FF2B5EF4-FFF2-40B4-BE49-F238E27FC236}">
                <a16:creationId xmlns:a16="http://schemas.microsoft.com/office/drawing/2014/main" id="{1F05E37D-AA1C-4853-9EA0-AF022522900F}"/>
              </a:ext>
            </a:extLst>
          </p:cNvPr>
          <p:cNvCxnSpPr/>
          <p:nvPr/>
        </p:nvCxnSpPr>
        <p:spPr>
          <a:xfrm flipV="1">
            <a:off x="7948644" y="3131271"/>
            <a:ext cx="0" cy="859600"/>
          </a:xfrm>
          <a:prstGeom prst="line">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nvCxnSpPr>
        <p:spPr>
          <a:xfrm flipV="1">
            <a:off x="4170217" y="3936274"/>
            <a:ext cx="0" cy="859600"/>
          </a:xfrm>
          <a:prstGeom prst="line">
            <a:avLst/>
          </a:prstGeom>
          <a:ln>
            <a:solidFill>
              <a:schemeClr val="bg1">
                <a:lumMod val="75000"/>
              </a:schemeClr>
            </a:solidFill>
            <a:tailEnd type="oval"/>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a:off x="6054435" y="3506474"/>
            <a:ext cx="0" cy="859600"/>
          </a:xfrm>
          <a:prstGeom prst="line">
            <a:avLst/>
          </a:prstGeom>
          <a:ln>
            <a:solidFill>
              <a:schemeClr val="bg1">
                <a:lumMod val="75000"/>
              </a:schemeClr>
            </a:solidFill>
            <a:tailEnd type="oval"/>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a:cxnSpLocks/>
          </p:cNvCxnSpPr>
          <p:nvPr/>
        </p:nvCxnSpPr>
        <p:spPr>
          <a:xfrm flipV="1">
            <a:off x="7952508" y="3447131"/>
            <a:ext cx="0" cy="859600"/>
          </a:xfrm>
          <a:prstGeom prst="line">
            <a:avLst/>
          </a:prstGeom>
          <a:ln>
            <a:solidFill>
              <a:schemeClr val="bg1">
                <a:lumMod val="75000"/>
              </a:schemeClr>
            </a:solidFill>
            <a:tailEnd type="oval"/>
          </a:ln>
        </p:spPr>
        <p:style>
          <a:lnRef idx="1">
            <a:schemeClr val="accent1"/>
          </a:lnRef>
          <a:fillRef idx="0">
            <a:schemeClr val="accent1"/>
          </a:fillRef>
          <a:effectRef idx="0">
            <a:schemeClr val="accent1"/>
          </a:effectRef>
          <a:fontRef idx="minor">
            <a:schemeClr val="tx1"/>
          </a:fontRef>
        </p:style>
      </p:cxnSp>
      <p:sp>
        <p:nvSpPr>
          <p:cNvPr id="59" name="TextBox 58"/>
          <p:cNvSpPr txBox="1"/>
          <p:nvPr/>
        </p:nvSpPr>
        <p:spPr>
          <a:xfrm flipH="1">
            <a:off x="1476570" y="2329129"/>
            <a:ext cx="1572710" cy="246221"/>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600" b="0" i="0" u="none" strike="noStrike" kern="1200" cap="none" spc="0" normalizeH="0" baseline="0" noProof="0" dirty="0">
                <a:ln>
                  <a:noFill/>
                </a:ln>
                <a:solidFill>
                  <a:srgbClr val="E7E6E6">
                    <a:lumMod val="75000"/>
                  </a:srgbClr>
                </a:solidFill>
                <a:effectLst/>
                <a:uLnTx/>
                <a:uFillTx/>
                <a:latin typeface="阿里巴巴普惠体 B" panose="00020600040101010101" pitchFamily="18" charset="-122"/>
                <a:ea typeface="阿里巴巴普惠体 B" panose="00020600040101010101" pitchFamily="18" charset="-122"/>
                <a:cs typeface="+mn-cs"/>
              </a:rPr>
              <a:t>集团战略目标</a:t>
            </a:r>
          </a:p>
        </p:txBody>
      </p:sp>
      <p:sp>
        <p:nvSpPr>
          <p:cNvPr id="60" name="Text Placeholder 32"/>
          <p:cNvSpPr txBox="1">
            <a:spLocks/>
          </p:cNvSpPr>
          <p:nvPr/>
        </p:nvSpPr>
        <p:spPr>
          <a:xfrm flipH="1">
            <a:off x="1476569" y="2605302"/>
            <a:ext cx="1572704" cy="780676"/>
          </a:xfrm>
          <a:prstGeom prst="rect">
            <a:avLst/>
          </a:prstGeom>
        </p:spPr>
        <p:txBody>
          <a:bodyPr lIns="0" tIns="0" rIns="0" bIns="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Neris Thin" panose="00000300000000000000" pitchFamily="50"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Neris Thin" panose="00000300000000000000" pitchFamily="50"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Neris Thin" panose="00000300000000000000" pitchFamily="50"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ctr" defTabSz="685800" rtl="0" eaLnBrk="1" fontAlgn="auto" latinLnBrk="0" hangingPunct="1">
              <a:lnSpc>
                <a:spcPct val="130000"/>
              </a:lnSpc>
              <a:spcBef>
                <a:spcPts val="0"/>
              </a:spcBef>
              <a:spcAft>
                <a:spcPts val="0"/>
              </a:spcAft>
              <a:buClrTx/>
              <a:buSzTx/>
              <a:buFont typeface="Arial" panose="020B0604020202020204" pitchFamily="34" charset="0"/>
              <a:buNone/>
              <a:tabLst/>
              <a:defRPr/>
            </a:pPr>
            <a:r>
              <a:rPr kumimoji="0" lang="zh-CN" altLang="en-US" sz="1000" b="0" i="0" u="none" strike="noStrike" kern="1200" cap="none" spc="0" normalizeH="0" baseline="0" noProof="0" dirty="0">
                <a:ln>
                  <a:noFill/>
                </a:ln>
                <a:solidFill>
                  <a:prstClr val="black">
                    <a:lumMod val="65000"/>
                    <a:lumOff val="35000"/>
                  </a:prstClr>
                </a:solidFill>
                <a:effectLst/>
                <a:uLnTx/>
                <a:uFillTx/>
                <a:latin typeface="阿里巴巴普惠体 R" panose="00020600040101010101" pitchFamily="18" charset="-122"/>
                <a:ea typeface="阿里巴巴普惠体 R" panose="00020600040101010101" pitchFamily="18" charset="-122"/>
                <a:cs typeface="+mn-cs"/>
              </a:rPr>
              <a:t>文化是一个集体在其整个历史中习得的所有共享的被视为理所当然的假设的总和</a:t>
            </a:r>
          </a:p>
        </p:txBody>
      </p:sp>
      <p:cxnSp>
        <p:nvCxnSpPr>
          <p:cNvPr id="61" name="Straight Connector 60"/>
          <p:cNvCxnSpPr/>
          <p:nvPr/>
        </p:nvCxnSpPr>
        <p:spPr>
          <a:xfrm flipV="1">
            <a:off x="2262925" y="3437199"/>
            <a:ext cx="0" cy="859600"/>
          </a:xfrm>
          <a:prstGeom prst="line">
            <a:avLst/>
          </a:prstGeom>
          <a:ln>
            <a:solidFill>
              <a:schemeClr val="bg1">
                <a:lumMod val="75000"/>
              </a:schemeClr>
            </a:solidFill>
            <a:tailEnd type="oval"/>
          </a:ln>
        </p:spPr>
        <p:style>
          <a:lnRef idx="1">
            <a:schemeClr val="accent1"/>
          </a:lnRef>
          <a:fillRef idx="0">
            <a:schemeClr val="accent1"/>
          </a:fillRef>
          <a:effectRef idx="0">
            <a:schemeClr val="accent1"/>
          </a:effectRef>
          <a:fontRef idx="minor">
            <a:schemeClr val="tx1"/>
          </a:fontRef>
        </p:style>
      </p:cxnSp>
      <p:sp>
        <p:nvSpPr>
          <p:cNvPr id="62" name="Freeform 21"/>
          <p:cNvSpPr>
            <a:spLocks/>
          </p:cNvSpPr>
          <p:nvPr/>
        </p:nvSpPr>
        <p:spPr bwMode="auto">
          <a:xfrm>
            <a:off x="-84570" y="2350436"/>
            <a:ext cx="9794527" cy="3583614"/>
          </a:xfrm>
          <a:custGeom>
            <a:avLst/>
            <a:gdLst>
              <a:gd name="T0" fmla="*/ 0 w 2828"/>
              <a:gd name="T1" fmla="*/ 856 h 1032"/>
              <a:gd name="T2" fmla="*/ 660 w 2828"/>
              <a:gd name="T3" fmla="*/ 540 h 1032"/>
              <a:gd name="T4" fmla="*/ 1232 w 2828"/>
              <a:gd name="T5" fmla="*/ 720 h 1032"/>
              <a:gd name="T6" fmla="*/ 1772 w 2828"/>
              <a:gd name="T7" fmla="*/ 320 h 1032"/>
              <a:gd name="T8" fmla="*/ 2315 w 2828"/>
              <a:gd name="T9" fmla="*/ 479 h 1032"/>
              <a:gd name="T10" fmla="*/ 2828 w 2828"/>
              <a:gd name="T11" fmla="*/ 0 h 1032"/>
            </a:gdLst>
            <a:ahLst/>
            <a:cxnLst>
              <a:cxn ang="0">
                <a:pos x="T0" y="T1"/>
              </a:cxn>
              <a:cxn ang="0">
                <a:pos x="T2" y="T3"/>
              </a:cxn>
              <a:cxn ang="0">
                <a:pos x="T4" y="T5"/>
              </a:cxn>
              <a:cxn ang="0">
                <a:pos x="T6" y="T7"/>
              </a:cxn>
              <a:cxn ang="0">
                <a:pos x="T8" y="T9"/>
              </a:cxn>
              <a:cxn ang="0">
                <a:pos x="T10" y="T11"/>
              </a:cxn>
            </a:cxnLst>
            <a:rect l="0" t="0" r="r" b="b"/>
            <a:pathLst>
              <a:path w="2828" h="1032">
                <a:moveTo>
                  <a:pt x="0" y="856"/>
                </a:moveTo>
                <a:cubicBezTo>
                  <a:pt x="420" y="1032"/>
                  <a:pt x="464" y="536"/>
                  <a:pt x="660" y="540"/>
                </a:cubicBezTo>
                <a:cubicBezTo>
                  <a:pt x="856" y="544"/>
                  <a:pt x="976" y="736"/>
                  <a:pt x="1232" y="720"/>
                </a:cubicBezTo>
                <a:cubicBezTo>
                  <a:pt x="1488" y="704"/>
                  <a:pt x="1508" y="352"/>
                  <a:pt x="1772" y="320"/>
                </a:cubicBezTo>
                <a:cubicBezTo>
                  <a:pt x="2036" y="288"/>
                  <a:pt x="2063" y="491"/>
                  <a:pt x="2315" y="479"/>
                </a:cubicBezTo>
                <a:cubicBezTo>
                  <a:pt x="2567" y="467"/>
                  <a:pt x="2572" y="84"/>
                  <a:pt x="2828" y="0"/>
                </a:cubicBezTo>
              </a:path>
            </a:pathLst>
          </a:custGeom>
          <a:noFill/>
          <a:ln w="15875" cap="flat">
            <a:solidFill>
              <a:schemeClr val="tx1">
                <a:lumMod val="65000"/>
                <a:lumOff val="35000"/>
              </a:schemeClr>
            </a:solidFill>
            <a:prstDash val="dash"/>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阿里巴巴普惠体 B"/>
              <a:cs typeface="+mn-cs"/>
            </a:endParaRPr>
          </a:p>
        </p:txBody>
      </p:sp>
      <p:sp>
        <p:nvSpPr>
          <p:cNvPr id="63" name="Oval 19"/>
          <p:cNvSpPr>
            <a:spLocks noChangeArrowheads="1"/>
          </p:cNvSpPr>
          <p:nvPr/>
        </p:nvSpPr>
        <p:spPr bwMode="auto">
          <a:xfrm>
            <a:off x="3658379" y="4366074"/>
            <a:ext cx="995966" cy="993236"/>
          </a:xfrm>
          <a:prstGeom prst="ellipse">
            <a:avLst/>
          </a:prstGeom>
          <a:solidFill>
            <a:schemeClr val="accent1"/>
          </a:solidFill>
          <a:ln>
            <a:noFill/>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E7E6E6">
                  <a:lumMod val="75000"/>
                </a:srgbClr>
              </a:solidFill>
              <a:effectLst/>
              <a:uLnTx/>
              <a:uFillTx/>
              <a:latin typeface="FontAwesome" pitchFamily="2" charset="0"/>
              <a:cs typeface="+mn-cs"/>
            </a:endParaRPr>
          </a:p>
        </p:txBody>
      </p:sp>
      <p:sp>
        <p:nvSpPr>
          <p:cNvPr id="64" name="Oval 19"/>
          <p:cNvSpPr>
            <a:spLocks noChangeArrowheads="1"/>
          </p:cNvSpPr>
          <p:nvPr/>
        </p:nvSpPr>
        <p:spPr bwMode="auto">
          <a:xfrm>
            <a:off x="5556452" y="3010474"/>
            <a:ext cx="995966" cy="993236"/>
          </a:xfrm>
          <a:prstGeom prst="ellipse">
            <a:avLst/>
          </a:prstGeom>
          <a:solidFill>
            <a:schemeClr val="accent1"/>
          </a:solidFill>
          <a:ln>
            <a:noFill/>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FontAwesome" pitchFamily="2" charset="0"/>
              <a:cs typeface="+mn-cs"/>
            </a:endParaRPr>
          </a:p>
        </p:txBody>
      </p:sp>
      <p:sp>
        <p:nvSpPr>
          <p:cNvPr id="65" name="Oval 19"/>
          <p:cNvSpPr>
            <a:spLocks noChangeArrowheads="1"/>
          </p:cNvSpPr>
          <p:nvPr/>
        </p:nvSpPr>
        <p:spPr bwMode="auto">
          <a:xfrm>
            <a:off x="7454525" y="3380313"/>
            <a:ext cx="995966" cy="993236"/>
          </a:xfrm>
          <a:prstGeom prst="ellipse">
            <a:avLst/>
          </a:prstGeom>
          <a:solidFill>
            <a:schemeClr val="accent1"/>
          </a:solidFill>
          <a:ln>
            <a:noFill/>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FontAwesome" pitchFamily="2" charset="0"/>
              <a:cs typeface="+mn-cs"/>
            </a:endParaRPr>
          </a:p>
        </p:txBody>
      </p:sp>
      <p:sp>
        <p:nvSpPr>
          <p:cNvPr id="66" name="Oval 19"/>
          <p:cNvSpPr>
            <a:spLocks noChangeArrowheads="1"/>
          </p:cNvSpPr>
          <p:nvPr/>
        </p:nvSpPr>
        <p:spPr bwMode="auto">
          <a:xfrm>
            <a:off x="1760306" y="3744765"/>
            <a:ext cx="995966" cy="993236"/>
          </a:xfrm>
          <a:prstGeom prst="ellipse">
            <a:avLst/>
          </a:prstGeom>
          <a:solidFill>
            <a:schemeClr val="accent1"/>
          </a:solidFill>
          <a:ln>
            <a:noFill/>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FontAwesome" pitchFamily="2" charset="0"/>
              <a:cs typeface="+mn-cs"/>
            </a:endParaRPr>
          </a:p>
        </p:txBody>
      </p:sp>
      <p:grpSp>
        <p:nvGrpSpPr>
          <p:cNvPr id="67" name="Group 66"/>
          <p:cNvGrpSpPr/>
          <p:nvPr/>
        </p:nvGrpSpPr>
        <p:grpSpPr>
          <a:xfrm>
            <a:off x="9654540" y="1768263"/>
            <a:ext cx="1316691" cy="790008"/>
            <a:chOff x="10452101" y="1779589"/>
            <a:chExt cx="365125" cy="219075"/>
          </a:xfrm>
        </p:grpSpPr>
        <p:sp>
          <p:nvSpPr>
            <p:cNvPr id="68" name="Freeform 22"/>
            <p:cNvSpPr>
              <a:spLocks/>
            </p:cNvSpPr>
            <p:nvPr/>
          </p:nvSpPr>
          <p:spPr bwMode="auto">
            <a:xfrm>
              <a:off x="10550526" y="1900239"/>
              <a:ext cx="112713" cy="98425"/>
            </a:xfrm>
            <a:custGeom>
              <a:avLst/>
              <a:gdLst>
                <a:gd name="T0" fmla="*/ 71 w 71"/>
                <a:gd name="T1" fmla="*/ 3 h 62"/>
                <a:gd name="T2" fmla="*/ 0 w 71"/>
                <a:gd name="T3" fmla="*/ 62 h 62"/>
                <a:gd name="T4" fmla="*/ 14 w 71"/>
                <a:gd name="T5" fmla="*/ 0 h 62"/>
                <a:gd name="T6" fmla="*/ 71 w 71"/>
                <a:gd name="T7" fmla="*/ 3 h 62"/>
              </a:gdLst>
              <a:ahLst/>
              <a:cxnLst>
                <a:cxn ang="0">
                  <a:pos x="T0" y="T1"/>
                </a:cxn>
                <a:cxn ang="0">
                  <a:pos x="T2" y="T3"/>
                </a:cxn>
                <a:cxn ang="0">
                  <a:pos x="T4" y="T5"/>
                </a:cxn>
                <a:cxn ang="0">
                  <a:pos x="T6" y="T7"/>
                </a:cxn>
              </a:cxnLst>
              <a:rect l="0" t="0" r="r" b="b"/>
              <a:pathLst>
                <a:path w="71" h="62">
                  <a:moveTo>
                    <a:pt x="71" y="3"/>
                  </a:moveTo>
                  <a:lnTo>
                    <a:pt x="0" y="62"/>
                  </a:lnTo>
                  <a:lnTo>
                    <a:pt x="14" y="0"/>
                  </a:lnTo>
                  <a:lnTo>
                    <a:pt x="71" y="3"/>
                  </a:lnTo>
                  <a:close/>
                </a:path>
              </a:pathLst>
            </a:custGeom>
            <a:solidFill>
              <a:schemeClr val="bg1">
                <a:lumMod val="65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阿里巴巴普惠体 B"/>
                <a:cs typeface="+mn-cs"/>
              </a:endParaRPr>
            </a:p>
          </p:txBody>
        </p:sp>
        <p:sp>
          <p:nvSpPr>
            <p:cNvPr id="69" name="Freeform 23"/>
            <p:cNvSpPr>
              <a:spLocks/>
            </p:cNvSpPr>
            <p:nvPr/>
          </p:nvSpPr>
          <p:spPr bwMode="auto">
            <a:xfrm>
              <a:off x="10452101" y="1779589"/>
              <a:ext cx="365125" cy="188913"/>
            </a:xfrm>
            <a:custGeom>
              <a:avLst/>
              <a:gdLst>
                <a:gd name="T0" fmla="*/ 230 w 230"/>
                <a:gd name="T1" fmla="*/ 0 h 119"/>
                <a:gd name="T2" fmla="*/ 0 w 230"/>
                <a:gd name="T3" fmla="*/ 26 h 119"/>
                <a:gd name="T4" fmla="*/ 140 w 230"/>
                <a:gd name="T5" fmla="*/ 119 h 119"/>
                <a:gd name="T6" fmla="*/ 230 w 230"/>
                <a:gd name="T7" fmla="*/ 0 h 119"/>
              </a:gdLst>
              <a:ahLst/>
              <a:cxnLst>
                <a:cxn ang="0">
                  <a:pos x="T0" y="T1"/>
                </a:cxn>
                <a:cxn ang="0">
                  <a:pos x="T2" y="T3"/>
                </a:cxn>
                <a:cxn ang="0">
                  <a:pos x="T4" y="T5"/>
                </a:cxn>
                <a:cxn ang="0">
                  <a:pos x="T6" y="T7"/>
                </a:cxn>
              </a:cxnLst>
              <a:rect l="0" t="0" r="r" b="b"/>
              <a:pathLst>
                <a:path w="230" h="119">
                  <a:moveTo>
                    <a:pt x="230" y="0"/>
                  </a:moveTo>
                  <a:lnTo>
                    <a:pt x="0" y="26"/>
                  </a:lnTo>
                  <a:lnTo>
                    <a:pt x="140" y="119"/>
                  </a:lnTo>
                  <a:lnTo>
                    <a:pt x="230" y="0"/>
                  </a:lnTo>
                  <a:close/>
                </a:path>
              </a:pathLst>
            </a:custGeom>
            <a:solidFill>
              <a:schemeClr val="bg1">
                <a:lumMod val="85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阿里巴巴普惠体 B"/>
                <a:cs typeface="+mn-cs"/>
              </a:endParaRPr>
            </a:p>
          </p:txBody>
        </p:sp>
        <p:sp>
          <p:nvSpPr>
            <p:cNvPr id="70" name="Freeform 24"/>
            <p:cNvSpPr>
              <a:spLocks/>
            </p:cNvSpPr>
            <p:nvPr/>
          </p:nvSpPr>
          <p:spPr bwMode="auto">
            <a:xfrm>
              <a:off x="10531476" y="1792289"/>
              <a:ext cx="258763" cy="206375"/>
            </a:xfrm>
            <a:custGeom>
              <a:avLst/>
              <a:gdLst>
                <a:gd name="T0" fmla="*/ 163 w 163"/>
                <a:gd name="T1" fmla="*/ 0 h 130"/>
                <a:gd name="T2" fmla="*/ 0 w 163"/>
                <a:gd name="T3" fmla="*/ 52 h 130"/>
                <a:gd name="T4" fmla="*/ 12 w 163"/>
                <a:gd name="T5" fmla="*/ 130 h 130"/>
                <a:gd name="T6" fmla="*/ 26 w 163"/>
                <a:gd name="T7" fmla="*/ 68 h 130"/>
                <a:gd name="T8" fmla="*/ 163 w 163"/>
                <a:gd name="T9" fmla="*/ 0 h 130"/>
              </a:gdLst>
              <a:ahLst/>
              <a:cxnLst>
                <a:cxn ang="0">
                  <a:pos x="T0" y="T1"/>
                </a:cxn>
                <a:cxn ang="0">
                  <a:pos x="T2" y="T3"/>
                </a:cxn>
                <a:cxn ang="0">
                  <a:pos x="T4" y="T5"/>
                </a:cxn>
                <a:cxn ang="0">
                  <a:pos x="T6" y="T7"/>
                </a:cxn>
                <a:cxn ang="0">
                  <a:pos x="T8" y="T9"/>
                </a:cxn>
              </a:cxnLst>
              <a:rect l="0" t="0" r="r" b="b"/>
              <a:pathLst>
                <a:path w="163" h="130">
                  <a:moveTo>
                    <a:pt x="163" y="0"/>
                  </a:moveTo>
                  <a:lnTo>
                    <a:pt x="0" y="52"/>
                  </a:lnTo>
                  <a:lnTo>
                    <a:pt x="12" y="130"/>
                  </a:lnTo>
                  <a:lnTo>
                    <a:pt x="26" y="68"/>
                  </a:lnTo>
                  <a:lnTo>
                    <a:pt x="163" y="0"/>
                  </a:lnTo>
                  <a:close/>
                </a:path>
              </a:pathLst>
            </a:custGeom>
            <a:solidFill>
              <a:schemeClr val="bg1">
                <a:lumMod val="75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阿里巴巴普惠体 B"/>
                <a:cs typeface="+mn-cs"/>
              </a:endParaRPr>
            </a:p>
          </p:txBody>
        </p:sp>
      </p:grpSp>
      <p:sp>
        <p:nvSpPr>
          <p:cNvPr id="71" name="TextBox 70"/>
          <p:cNvSpPr txBox="1"/>
          <p:nvPr/>
        </p:nvSpPr>
        <p:spPr>
          <a:xfrm flipH="1">
            <a:off x="3397717" y="2885050"/>
            <a:ext cx="1572710" cy="246221"/>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600" b="0" i="0" u="none" strike="noStrike" kern="1200" cap="none" spc="0" normalizeH="0" baseline="0" noProof="0" dirty="0">
                <a:ln>
                  <a:noFill/>
                </a:ln>
                <a:solidFill>
                  <a:srgbClr val="E7E6E6">
                    <a:lumMod val="50000"/>
                  </a:srgbClr>
                </a:solidFill>
                <a:effectLst/>
                <a:uLnTx/>
                <a:uFillTx/>
                <a:latin typeface="阿里巴巴普惠体 B" panose="00020600040101010101" pitchFamily="18" charset="-122"/>
                <a:ea typeface="阿里巴巴普惠体 B" panose="00020600040101010101" pitchFamily="18" charset="-122"/>
                <a:cs typeface="+mn-cs"/>
              </a:rPr>
              <a:t>核心能力</a:t>
            </a:r>
          </a:p>
        </p:txBody>
      </p:sp>
      <p:sp>
        <p:nvSpPr>
          <p:cNvPr id="72" name="Text Placeholder 32"/>
          <p:cNvSpPr txBox="1">
            <a:spLocks/>
          </p:cNvSpPr>
          <p:nvPr/>
        </p:nvSpPr>
        <p:spPr>
          <a:xfrm flipH="1">
            <a:off x="3325937" y="3161223"/>
            <a:ext cx="1716262" cy="780676"/>
          </a:xfrm>
          <a:prstGeom prst="rect">
            <a:avLst/>
          </a:prstGeom>
        </p:spPr>
        <p:txBody>
          <a:bodyPr lIns="0" tIns="0" rIns="0" bIns="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Neris Thin" panose="00000300000000000000" pitchFamily="50"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Neris Thin" panose="00000300000000000000" pitchFamily="50"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Neris Thin" panose="00000300000000000000" pitchFamily="50"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ctr" defTabSz="685800" rtl="0" eaLnBrk="1" fontAlgn="auto" latinLnBrk="0" hangingPunct="1">
              <a:lnSpc>
                <a:spcPct val="130000"/>
              </a:lnSpc>
              <a:spcBef>
                <a:spcPts val="0"/>
              </a:spcBef>
              <a:spcAft>
                <a:spcPts val="0"/>
              </a:spcAft>
              <a:buClrTx/>
              <a:buSzTx/>
              <a:buFont typeface="Arial" panose="020B0604020202020204" pitchFamily="34" charset="0"/>
              <a:buNone/>
              <a:tabLst/>
              <a:defRPr/>
            </a:pPr>
            <a:r>
              <a:rPr kumimoji="0" lang="zh-CN" altLang="en-US" sz="1000" b="0" i="0" u="none" strike="noStrike" kern="1200" cap="none" spc="0" normalizeH="0" baseline="0" noProof="0" dirty="0">
                <a:ln>
                  <a:noFill/>
                </a:ln>
                <a:solidFill>
                  <a:prstClr val="black">
                    <a:lumMod val="65000"/>
                    <a:lumOff val="35000"/>
                  </a:prstClr>
                </a:solidFill>
                <a:effectLst/>
                <a:uLnTx/>
                <a:uFillTx/>
                <a:latin typeface="阿里巴巴普惠体 R" panose="00020600040101010101" pitchFamily="18" charset="-122"/>
                <a:ea typeface="阿里巴巴普惠体 R" panose="00020600040101010101" pitchFamily="18" charset="-122"/>
                <a:cs typeface="+mn-cs"/>
              </a:rPr>
              <a:t>群体在解决其外在适应与内部整合问题时，学得的一组基本假设，因为他们运作得很好</a:t>
            </a:r>
          </a:p>
        </p:txBody>
      </p:sp>
      <p:sp>
        <p:nvSpPr>
          <p:cNvPr id="73" name="TextBox 72"/>
          <p:cNvSpPr txBox="1"/>
          <p:nvPr/>
        </p:nvSpPr>
        <p:spPr>
          <a:xfrm flipH="1">
            <a:off x="3397717" y="2317292"/>
            <a:ext cx="1572710" cy="492443"/>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3200" b="0" i="0" u="none" strike="noStrike" kern="1200" cap="none" spc="0" normalizeH="0" baseline="0" noProof="0" dirty="0">
                <a:ln>
                  <a:noFill/>
                </a:ln>
                <a:solidFill>
                  <a:srgbClr val="E7E6E6">
                    <a:lumMod val="50000"/>
                  </a:srgbClr>
                </a:solidFill>
                <a:effectLst/>
                <a:uLnTx/>
                <a:uFillTx/>
                <a:latin typeface="Roboto Black" panose="02000000000000000000" pitchFamily="2" charset="0"/>
                <a:ea typeface="Roboto Black" panose="02000000000000000000" pitchFamily="2" charset="0"/>
                <a:cs typeface="+mn-cs"/>
              </a:rPr>
              <a:t>37%</a:t>
            </a:r>
          </a:p>
        </p:txBody>
      </p:sp>
      <p:sp>
        <p:nvSpPr>
          <p:cNvPr id="74" name="TextBox 73"/>
          <p:cNvSpPr txBox="1"/>
          <p:nvPr/>
        </p:nvSpPr>
        <p:spPr>
          <a:xfrm flipH="1">
            <a:off x="1476563" y="1740326"/>
            <a:ext cx="1572710" cy="492443"/>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3200" b="0" i="0" u="none" strike="noStrike" kern="1200" cap="none" spc="0" normalizeH="0" baseline="0" noProof="0" dirty="0">
                <a:ln>
                  <a:noFill/>
                </a:ln>
                <a:solidFill>
                  <a:srgbClr val="E7E6E6">
                    <a:lumMod val="75000"/>
                  </a:srgbClr>
                </a:solidFill>
                <a:effectLst/>
                <a:uLnTx/>
                <a:uFillTx/>
                <a:latin typeface="Roboto Black" panose="02000000000000000000" pitchFamily="2" charset="0"/>
                <a:ea typeface="Roboto Black" panose="02000000000000000000" pitchFamily="2" charset="0"/>
                <a:cs typeface="+mn-cs"/>
              </a:rPr>
              <a:t>12%</a:t>
            </a:r>
          </a:p>
        </p:txBody>
      </p:sp>
      <p:sp>
        <p:nvSpPr>
          <p:cNvPr id="75" name="TextBox 74"/>
          <p:cNvSpPr txBox="1"/>
          <p:nvPr/>
        </p:nvSpPr>
        <p:spPr>
          <a:xfrm flipH="1">
            <a:off x="5281939" y="5134689"/>
            <a:ext cx="1572710" cy="246221"/>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600" b="0" i="0" u="none" strike="noStrike" kern="1200" cap="none" spc="0" normalizeH="0" baseline="0" noProof="0" dirty="0">
                <a:ln>
                  <a:noFill/>
                </a:ln>
                <a:solidFill>
                  <a:srgbClr val="262626"/>
                </a:solidFill>
                <a:effectLst/>
                <a:uLnTx/>
                <a:uFillTx/>
                <a:latin typeface="阿里巴巴普惠体 B" panose="00020600040101010101" pitchFamily="18" charset="-122"/>
                <a:ea typeface="阿里巴巴普惠体 B" panose="00020600040101010101" pitchFamily="18" charset="-122"/>
                <a:cs typeface="+mn-cs"/>
              </a:rPr>
              <a:t>业务组合战略</a:t>
            </a:r>
          </a:p>
        </p:txBody>
      </p:sp>
      <p:sp>
        <p:nvSpPr>
          <p:cNvPr id="76" name="Text Placeholder 32"/>
          <p:cNvSpPr txBox="1">
            <a:spLocks/>
          </p:cNvSpPr>
          <p:nvPr/>
        </p:nvSpPr>
        <p:spPr>
          <a:xfrm flipH="1">
            <a:off x="5281938" y="5410862"/>
            <a:ext cx="1572704" cy="780676"/>
          </a:xfrm>
          <a:prstGeom prst="rect">
            <a:avLst/>
          </a:prstGeom>
        </p:spPr>
        <p:txBody>
          <a:bodyPr lIns="0" tIns="0" rIns="0" bIns="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Neris Thin" panose="00000300000000000000" pitchFamily="50"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Neris Thin" panose="00000300000000000000" pitchFamily="50"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Neris Thin" panose="00000300000000000000" pitchFamily="50"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ctr" defTabSz="685800" rtl="0" eaLnBrk="1" fontAlgn="auto" latinLnBrk="0" hangingPunct="1">
              <a:lnSpc>
                <a:spcPct val="130000"/>
              </a:lnSpc>
              <a:spcBef>
                <a:spcPts val="0"/>
              </a:spcBef>
              <a:spcAft>
                <a:spcPts val="0"/>
              </a:spcAft>
              <a:buClrTx/>
              <a:buSzTx/>
              <a:buFont typeface="Arial" panose="020B0604020202020204" pitchFamily="34" charset="0"/>
              <a:buNone/>
              <a:tabLst/>
              <a:defRPr/>
            </a:pPr>
            <a:r>
              <a:rPr kumimoji="0" lang="zh-CN" altLang="en-US" sz="1000" b="0" i="0" u="none" strike="noStrike" kern="1200" cap="none" spc="0" normalizeH="0" baseline="0" noProof="0" dirty="0">
                <a:ln>
                  <a:noFill/>
                </a:ln>
                <a:solidFill>
                  <a:prstClr val="black">
                    <a:lumMod val="65000"/>
                    <a:lumOff val="35000"/>
                  </a:prstClr>
                </a:solidFill>
                <a:effectLst/>
                <a:uLnTx/>
                <a:uFillTx/>
                <a:latin typeface="阿里巴巴普惠体 R" panose="00020600040101010101" pitchFamily="18" charset="-122"/>
                <a:ea typeface="阿里巴巴普惠体 R" panose="00020600040101010101" pitchFamily="18" charset="-122"/>
                <a:cs typeface="+mn-cs"/>
              </a:rPr>
              <a:t>文化是一个集体在其整个历史中习得的所有共享的被视为理所当然的假设的总和</a:t>
            </a:r>
          </a:p>
        </p:txBody>
      </p:sp>
      <p:sp>
        <p:nvSpPr>
          <p:cNvPr id="77" name="TextBox 76"/>
          <p:cNvSpPr txBox="1"/>
          <p:nvPr/>
        </p:nvSpPr>
        <p:spPr>
          <a:xfrm flipH="1">
            <a:off x="5281939" y="4566931"/>
            <a:ext cx="1572710" cy="492443"/>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3200" b="0" i="0" u="none" strike="noStrike" kern="1200" cap="none" spc="0" normalizeH="0" baseline="0" noProof="0" dirty="0">
                <a:ln>
                  <a:noFill/>
                </a:ln>
                <a:solidFill>
                  <a:srgbClr val="262626"/>
                </a:solidFill>
                <a:effectLst/>
                <a:uLnTx/>
                <a:uFillTx/>
                <a:latin typeface="Roboto Black" panose="02000000000000000000" pitchFamily="2" charset="0"/>
                <a:ea typeface="Roboto Black" panose="02000000000000000000" pitchFamily="2" charset="0"/>
                <a:cs typeface="+mn-cs"/>
              </a:rPr>
              <a:t>25%</a:t>
            </a:r>
          </a:p>
        </p:txBody>
      </p:sp>
      <p:sp>
        <p:nvSpPr>
          <p:cNvPr id="78" name="TextBox 77"/>
          <p:cNvSpPr txBox="1"/>
          <p:nvPr/>
        </p:nvSpPr>
        <p:spPr>
          <a:xfrm flipH="1">
            <a:off x="7152297" y="2190390"/>
            <a:ext cx="1572710" cy="246221"/>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600" b="0" i="0" u="none" strike="noStrike" kern="1200" cap="none" spc="0" normalizeH="0" baseline="0" noProof="0" dirty="0">
                <a:ln>
                  <a:noFill/>
                </a:ln>
                <a:solidFill>
                  <a:schemeClr val="tx1">
                    <a:lumMod val="50000"/>
                    <a:lumOff val="50000"/>
                  </a:schemeClr>
                </a:solidFill>
                <a:effectLst/>
                <a:uLnTx/>
                <a:uFillTx/>
                <a:latin typeface="阿里巴巴普惠体 B" panose="00020600040101010101" pitchFamily="18" charset="-122"/>
                <a:ea typeface="阿里巴巴普惠体 B" panose="00020600040101010101" pitchFamily="18" charset="-122"/>
                <a:cs typeface="+mn-cs"/>
              </a:rPr>
              <a:t>关键行为准则</a:t>
            </a:r>
          </a:p>
        </p:txBody>
      </p:sp>
      <p:sp>
        <p:nvSpPr>
          <p:cNvPr id="79" name="Text Placeholder 32"/>
          <p:cNvSpPr txBox="1">
            <a:spLocks/>
          </p:cNvSpPr>
          <p:nvPr/>
        </p:nvSpPr>
        <p:spPr>
          <a:xfrm flipH="1">
            <a:off x="7066671" y="2466563"/>
            <a:ext cx="1743954" cy="780676"/>
          </a:xfrm>
          <a:prstGeom prst="rect">
            <a:avLst/>
          </a:prstGeom>
        </p:spPr>
        <p:txBody>
          <a:bodyPr lIns="0" tIns="0" rIns="0" bIns="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Neris Thin" panose="00000300000000000000" pitchFamily="50"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Neris Thin" panose="00000300000000000000" pitchFamily="50"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Neris Thin" panose="00000300000000000000" pitchFamily="50"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ctr" defTabSz="685800" rtl="0" eaLnBrk="1" fontAlgn="auto" latinLnBrk="0" hangingPunct="1">
              <a:lnSpc>
                <a:spcPct val="130000"/>
              </a:lnSpc>
              <a:spcBef>
                <a:spcPts val="0"/>
              </a:spcBef>
              <a:spcAft>
                <a:spcPts val="0"/>
              </a:spcAft>
              <a:buClrTx/>
              <a:buSzTx/>
              <a:buFont typeface="Arial" panose="020B0604020202020204" pitchFamily="34" charset="0"/>
              <a:buNone/>
              <a:tabLst/>
              <a:defRPr/>
            </a:pPr>
            <a:r>
              <a:rPr kumimoji="0" lang="zh-CN" altLang="en-US" sz="1000" b="0" i="0" u="none" strike="noStrike" kern="1200" cap="none" spc="0" normalizeH="0" baseline="0" noProof="0" dirty="0">
                <a:ln>
                  <a:noFill/>
                </a:ln>
                <a:solidFill>
                  <a:prstClr val="black">
                    <a:lumMod val="65000"/>
                    <a:lumOff val="35000"/>
                  </a:prstClr>
                </a:solidFill>
                <a:effectLst/>
                <a:uLnTx/>
                <a:uFillTx/>
                <a:latin typeface="阿里巴巴普惠体 R" panose="00020600040101010101" pitchFamily="18" charset="-122"/>
                <a:ea typeface="阿里巴巴普惠体 R" panose="00020600040101010101" pitchFamily="18" charset="-122"/>
                <a:cs typeface="+mn-cs"/>
              </a:rPr>
              <a:t>群体在解决其外在适应与内部整合问题时，学得的一组基本假设，因为他们运作得很好</a:t>
            </a:r>
          </a:p>
        </p:txBody>
      </p:sp>
      <p:sp>
        <p:nvSpPr>
          <p:cNvPr id="80" name="TextBox 79"/>
          <p:cNvSpPr txBox="1"/>
          <p:nvPr/>
        </p:nvSpPr>
        <p:spPr>
          <a:xfrm flipH="1">
            <a:off x="7152297" y="1622632"/>
            <a:ext cx="1572710" cy="492443"/>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3200" b="0" i="0" u="none" strike="noStrike" kern="1200" cap="none" spc="0" normalizeH="0" baseline="0" noProof="0" dirty="0">
                <a:ln>
                  <a:noFill/>
                </a:ln>
                <a:solidFill>
                  <a:schemeClr val="accent1"/>
                </a:solidFill>
                <a:effectLst/>
                <a:uLnTx/>
                <a:uFillTx/>
                <a:latin typeface="Roboto Black" panose="02000000000000000000" pitchFamily="2" charset="0"/>
                <a:ea typeface="Roboto Black" panose="02000000000000000000" pitchFamily="2" charset="0"/>
                <a:cs typeface="+mn-cs"/>
              </a:rPr>
              <a:t>26%</a:t>
            </a:r>
          </a:p>
        </p:txBody>
      </p:sp>
      <p:sp>
        <p:nvSpPr>
          <p:cNvPr id="81" name="TextBox 80"/>
          <p:cNvSpPr txBox="1"/>
          <p:nvPr/>
        </p:nvSpPr>
        <p:spPr>
          <a:xfrm flipH="1">
            <a:off x="9613424" y="2796984"/>
            <a:ext cx="1572710" cy="246221"/>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600" b="0" i="0" u="none" strike="noStrike" kern="1200" cap="none" spc="0" normalizeH="0" baseline="0" noProof="0" dirty="0">
                <a:ln>
                  <a:noFill/>
                </a:ln>
                <a:solidFill>
                  <a:prstClr val="black">
                    <a:lumMod val="65000"/>
                    <a:lumOff val="35000"/>
                  </a:prstClr>
                </a:solidFill>
                <a:effectLst/>
                <a:uLnTx/>
                <a:uFillTx/>
                <a:latin typeface="阿里巴巴普惠体 B" panose="00020600040101010101" pitchFamily="18" charset="-122"/>
                <a:ea typeface="阿里巴巴普惠体 B" panose="00020600040101010101" pitchFamily="18" charset="-122"/>
                <a:cs typeface="+mn-cs"/>
              </a:rPr>
              <a:t>未来愿景</a:t>
            </a:r>
          </a:p>
        </p:txBody>
      </p:sp>
      <p:sp>
        <p:nvSpPr>
          <p:cNvPr id="82" name="Text Placeholder 32"/>
          <p:cNvSpPr txBox="1">
            <a:spLocks/>
          </p:cNvSpPr>
          <p:nvPr/>
        </p:nvSpPr>
        <p:spPr>
          <a:xfrm flipH="1">
            <a:off x="9613423" y="3073157"/>
            <a:ext cx="1572704" cy="780676"/>
          </a:xfrm>
          <a:prstGeom prst="rect">
            <a:avLst/>
          </a:prstGeom>
        </p:spPr>
        <p:txBody>
          <a:bodyPr lIns="0" tIns="0" rIns="0" bIns="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Neris Thin" panose="00000300000000000000" pitchFamily="50"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Neris Thin" panose="00000300000000000000" pitchFamily="50"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Neris Thin" panose="00000300000000000000" pitchFamily="50"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ctr" defTabSz="685800" rtl="0" eaLnBrk="1" fontAlgn="auto" latinLnBrk="0" hangingPunct="1">
              <a:lnSpc>
                <a:spcPct val="130000"/>
              </a:lnSpc>
              <a:spcBef>
                <a:spcPts val="0"/>
              </a:spcBef>
              <a:spcAft>
                <a:spcPts val="0"/>
              </a:spcAft>
              <a:buClrTx/>
              <a:buSzTx/>
              <a:buFont typeface="Arial" panose="020B0604020202020204" pitchFamily="34" charset="0"/>
              <a:buNone/>
              <a:tabLst/>
              <a:defRPr/>
            </a:pPr>
            <a:r>
              <a:rPr kumimoji="0" lang="zh-CN" altLang="en-US" sz="1000" b="0" i="0" u="none" strike="noStrike" kern="1200" cap="none" spc="0" normalizeH="0" baseline="0" noProof="0" dirty="0">
                <a:ln>
                  <a:noFill/>
                </a:ln>
                <a:solidFill>
                  <a:prstClr val="black">
                    <a:lumMod val="65000"/>
                    <a:lumOff val="35000"/>
                  </a:prstClr>
                </a:solidFill>
                <a:effectLst/>
                <a:uLnTx/>
                <a:uFillTx/>
                <a:latin typeface="阿里巴巴普惠体 R" panose="00020600040101010101" pitchFamily="18" charset="-122"/>
                <a:ea typeface="阿里巴巴普惠体 R" panose="00020600040101010101" pitchFamily="18" charset="-122"/>
                <a:cs typeface="+mn-cs"/>
              </a:rPr>
              <a:t>文化是一个集体在其整个历史中习得的所有共享的被视为理所当然的假设的总和</a:t>
            </a:r>
          </a:p>
        </p:txBody>
      </p:sp>
      <p:grpSp>
        <p:nvGrpSpPr>
          <p:cNvPr id="38" name="图形 93">
            <a:extLst>
              <a:ext uri="{FF2B5EF4-FFF2-40B4-BE49-F238E27FC236}">
                <a16:creationId xmlns:a16="http://schemas.microsoft.com/office/drawing/2014/main" id="{A0639F1A-E18B-4913-BEDF-B15E8561532B}"/>
              </a:ext>
            </a:extLst>
          </p:cNvPr>
          <p:cNvGrpSpPr/>
          <p:nvPr/>
        </p:nvGrpSpPr>
        <p:grpSpPr>
          <a:xfrm>
            <a:off x="2007797" y="3994952"/>
            <a:ext cx="500984" cy="492862"/>
            <a:chOff x="4421509" y="1204616"/>
            <a:chExt cx="1231508" cy="1211536"/>
          </a:xfrm>
          <a:solidFill>
            <a:schemeClr val="bg1"/>
          </a:solidFill>
        </p:grpSpPr>
        <p:sp>
          <p:nvSpPr>
            <p:cNvPr id="39" name="任意多边形: 形状 38">
              <a:extLst>
                <a:ext uri="{FF2B5EF4-FFF2-40B4-BE49-F238E27FC236}">
                  <a16:creationId xmlns:a16="http://schemas.microsoft.com/office/drawing/2014/main" id="{BFB5214B-85CB-4EB0-A93D-A76F4376ED90}"/>
                </a:ext>
              </a:extLst>
            </p:cNvPr>
            <p:cNvSpPr/>
            <p:nvPr/>
          </p:nvSpPr>
          <p:spPr>
            <a:xfrm>
              <a:off x="4503802" y="1286988"/>
              <a:ext cx="846402" cy="846394"/>
            </a:xfrm>
            <a:custGeom>
              <a:avLst/>
              <a:gdLst>
                <a:gd name="connsiteX0" fmla="*/ 423201 w 846402"/>
                <a:gd name="connsiteY0" fmla="*/ 0 h 846402"/>
                <a:gd name="connsiteX1" fmla="*/ 0 w 846402"/>
                <a:gd name="connsiteY1" fmla="*/ 423201 h 846402"/>
                <a:gd name="connsiteX2" fmla="*/ 423201 w 846402"/>
                <a:gd name="connsiteY2" fmla="*/ 846402 h 846402"/>
                <a:gd name="connsiteX3" fmla="*/ 846402 w 846402"/>
                <a:gd name="connsiteY3" fmla="*/ 423201 h 846402"/>
                <a:gd name="connsiteX4" fmla="*/ 423201 w 846402"/>
                <a:gd name="connsiteY4" fmla="*/ 0 h 846402"/>
                <a:gd name="connsiteX5" fmla="*/ 423201 w 846402"/>
                <a:gd name="connsiteY5" fmla="*/ 806098 h 846402"/>
                <a:gd name="connsiteX6" fmla="*/ 40305 w 846402"/>
                <a:gd name="connsiteY6" fmla="*/ 423201 h 846402"/>
                <a:gd name="connsiteX7" fmla="*/ 423201 w 846402"/>
                <a:gd name="connsiteY7" fmla="*/ 40305 h 846402"/>
                <a:gd name="connsiteX8" fmla="*/ 806098 w 846402"/>
                <a:gd name="connsiteY8" fmla="*/ 423201 h 846402"/>
                <a:gd name="connsiteX9" fmla="*/ 423201 w 846402"/>
                <a:gd name="connsiteY9" fmla="*/ 806098 h 846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46402" h="846402">
                  <a:moveTo>
                    <a:pt x="423201" y="0"/>
                  </a:moveTo>
                  <a:cubicBezTo>
                    <a:pt x="189474" y="0"/>
                    <a:pt x="0" y="189474"/>
                    <a:pt x="0" y="423201"/>
                  </a:cubicBezTo>
                  <a:cubicBezTo>
                    <a:pt x="0" y="656929"/>
                    <a:pt x="189474" y="846402"/>
                    <a:pt x="423201" y="846402"/>
                  </a:cubicBezTo>
                  <a:cubicBezTo>
                    <a:pt x="656929" y="846402"/>
                    <a:pt x="846402" y="656929"/>
                    <a:pt x="846402" y="423201"/>
                  </a:cubicBezTo>
                  <a:cubicBezTo>
                    <a:pt x="846136" y="189584"/>
                    <a:pt x="656818" y="267"/>
                    <a:pt x="423201" y="0"/>
                  </a:cubicBezTo>
                  <a:close/>
                  <a:moveTo>
                    <a:pt x="423201" y="806098"/>
                  </a:moveTo>
                  <a:cubicBezTo>
                    <a:pt x="211733" y="806098"/>
                    <a:pt x="40305" y="634669"/>
                    <a:pt x="40305" y="423201"/>
                  </a:cubicBezTo>
                  <a:cubicBezTo>
                    <a:pt x="40305" y="211733"/>
                    <a:pt x="211733" y="40305"/>
                    <a:pt x="423201" y="40305"/>
                  </a:cubicBezTo>
                  <a:cubicBezTo>
                    <a:pt x="634669" y="40305"/>
                    <a:pt x="806098" y="211733"/>
                    <a:pt x="806098" y="423201"/>
                  </a:cubicBezTo>
                  <a:cubicBezTo>
                    <a:pt x="805853" y="634568"/>
                    <a:pt x="634568" y="805853"/>
                    <a:pt x="423201" y="806098"/>
                  </a:cubicBezTo>
                  <a:close/>
                </a:path>
              </a:pathLst>
            </a:custGeom>
            <a:grpFill/>
            <a:ln w="200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262626"/>
                </a:solidFill>
                <a:effectLst/>
                <a:uLnTx/>
                <a:uFillTx/>
                <a:latin typeface="阿里巴巴普惠体 B"/>
                <a:ea typeface="阿里巴巴普惠体 R"/>
                <a:cs typeface="+mn-cs"/>
              </a:endParaRPr>
            </a:p>
          </p:txBody>
        </p:sp>
        <p:sp>
          <p:nvSpPr>
            <p:cNvPr id="40" name="任意多边形: 形状 39">
              <a:extLst>
                <a:ext uri="{FF2B5EF4-FFF2-40B4-BE49-F238E27FC236}">
                  <a16:creationId xmlns:a16="http://schemas.microsoft.com/office/drawing/2014/main" id="{916CDC2D-ED9E-4310-9F9F-CFBEC495B26D}"/>
                </a:ext>
              </a:extLst>
            </p:cNvPr>
            <p:cNvSpPr/>
            <p:nvPr/>
          </p:nvSpPr>
          <p:spPr>
            <a:xfrm>
              <a:off x="4421509" y="1204616"/>
              <a:ext cx="1231508" cy="1211536"/>
            </a:xfrm>
            <a:custGeom>
              <a:avLst/>
              <a:gdLst>
                <a:gd name="connsiteX0" fmla="*/ 910417 w 1231508"/>
                <a:gd name="connsiteY0" fmla="*/ 804878 h 1211548"/>
                <a:gd name="connsiteX1" fmla="*/ 804878 w 1231508"/>
                <a:gd name="connsiteY1" fmla="*/ 99003 h 1211548"/>
                <a:gd name="connsiteX2" fmla="*/ 99003 w 1231508"/>
                <a:gd name="connsiteY2" fmla="*/ 204541 h 1211548"/>
                <a:gd name="connsiteX3" fmla="*/ 204541 w 1231508"/>
                <a:gd name="connsiteY3" fmla="*/ 910417 h 1211548"/>
                <a:gd name="connsiteX4" fmla="*/ 827328 w 1231508"/>
                <a:gd name="connsiteY4" fmla="*/ 892803 h 1211548"/>
                <a:gd name="connsiteX5" fmla="*/ 1127721 w 1231508"/>
                <a:gd name="connsiteY5" fmla="*/ 1193075 h 1211548"/>
                <a:gd name="connsiteX6" fmla="*/ 1213034 w 1231508"/>
                <a:gd name="connsiteY6" fmla="*/ 1194664 h 1211548"/>
                <a:gd name="connsiteX7" fmla="*/ 1214624 w 1231508"/>
                <a:gd name="connsiteY7" fmla="*/ 1109350 h 1211548"/>
                <a:gd name="connsiteX8" fmla="*/ 1213127 w 1231508"/>
                <a:gd name="connsiteY8" fmla="*/ 1107850 h 1211548"/>
                <a:gd name="connsiteX9" fmla="*/ 41988 w 1231508"/>
                <a:gd name="connsiteY9" fmla="*/ 505574 h 1211548"/>
                <a:gd name="connsiteX10" fmla="*/ 505494 w 1231508"/>
                <a:gd name="connsiteY10" fmla="*/ 42068 h 1211548"/>
                <a:gd name="connsiteX11" fmla="*/ 969000 w 1231508"/>
                <a:gd name="connsiteY11" fmla="*/ 505574 h 1211548"/>
                <a:gd name="connsiteX12" fmla="*/ 505494 w 1231508"/>
                <a:gd name="connsiteY12" fmla="*/ 969080 h 1211548"/>
                <a:gd name="connsiteX13" fmla="*/ 41988 w 1231508"/>
                <a:gd name="connsiteY13" fmla="*/ 505574 h 1211548"/>
                <a:gd name="connsiteX14" fmla="*/ 1184631 w 1231508"/>
                <a:gd name="connsiteY14" fmla="*/ 1164720 h 1211548"/>
                <a:gd name="connsiteX15" fmla="*/ 1156418 w 1231508"/>
                <a:gd name="connsiteY15" fmla="*/ 1164720 h 1211548"/>
                <a:gd name="connsiteX16" fmla="*/ 857235 w 1231508"/>
                <a:gd name="connsiteY16" fmla="*/ 865739 h 1211548"/>
                <a:gd name="connsiteX17" fmla="*/ 884924 w 1231508"/>
                <a:gd name="connsiteY17" fmla="*/ 836397 h 1211548"/>
                <a:gd name="connsiteX18" fmla="*/ 1184631 w 1231508"/>
                <a:gd name="connsiteY18" fmla="*/ 1136346 h 1211548"/>
                <a:gd name="connsiteX19" fmla="*/ 1190677 w 1231508"/>
                <a:gd name="connsiteY19" fmla="*/ 1150452 h 1211548"/>
                <a:gd name="connsiteX20" fmla="*/ 1184631 w 1231508"/>
                <a:gd name="connsiteY20" fmla="*/ 1164720 h 1211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31508" h="1211548">
                  <a:moveTo>
                    <a:pt x="910417" y="804878"/>
                  </a:moveTo>
                  <a:cubicBezTo>
                    <a:pt x="1076195" y="580812"/>
                    <a:pt x="1028944" y="264781"/>
                    <a:pt x="804878" y="99003"/>
                  </a:cubicBezTo>
                  <a:cubicBezTo>
                    <a:pt x="580812" y="-66776"/>
                    <a:pt x="264781" y="-19525"/>
                    <a:pt x="99003" y="204541"/>
                  </a:cubicBezTo>
                  <a:cubicBezTo>
                    <a:pt x="-66776" y="428607"/>
                    <a:pt x="-19525" y="744638"/>
                    <a:pt x="204541" y="910417"/>
                  </a:cubicBezTo>
                  <a:cubicBezTo>
                    <a:pt x="391418" y="1048680"/>
                    <a:pt x="648565" y="1041408"/>
                    <a:pt x="827328" y="892803"/>
                  </a:cubicBezTo>
                  <a:lnTo>
                    <a:pt x="1127721" y="1193075"/>
                  </a:lnTo>
                  <a:cubicBezTo>
                    <a:pt x="1150841" y="1217072"/>
                    <a:pt x="1189037" y="1217784"/>
                    <a:pt x="1213034" y="1194664"/>
                  </a:cubicBezTo>
                  <a:cubicBezTo>
                    <a:pt x="1237032" y="1171544"/>
                    <a:pt x="1237744" y="1133348"/>
                    <a:pt x="1214624" y="1109350"/>
                  </a:cubicBezTo>
                  <a:cubicBezTo>
                    <a:pt x="1214134" y="1108841"/>
                    <a:pt x="1213634" y="1108341"/>
                    <a:pt x="1213127" y="1107850"/>
                  </a:cubicBezTo>
                  <a:close/>
                  <a:moveTo>
                    <a:pt x="41988" y="505574"/>
                  </a:moveTo>
                  <a:cubicBezTo>
                    <a:pt x="41988" y="249587"/>
                    <a:pt x="249507" y="42068"/>
                    <a:pt x="505494" y="42068"/>
                  </a:cubicBezTo>
                  <a:cubicBezTo>
                    <a:pt x="761481" y="42068"/>
                    <a:pt x="969000" y="249587"/>
                    <a:pt x="969000" y="505574"/>
                  </a:cubicBezTo>
                  <a:cubicBezTo>
                    <a:pt x="969000" y="761562"/>
                    <a:pt x="761481" y="969080"/>
                    <a:pt x="505494" y="969080"/>
                  </a:cubicBezTo>
                  <a:cubicBezTo>
                    <a:pt x="249622" y="968803"/>
                    <a:pt x="42266" y="761446"/>
                    <a:pt x="41988" y="505574"/>
                  </a:cubicBezTo>
                  <a:close/>
                  <a:moveTo>
                    <a:pt x="1184631" y="1164720"/>
                  </a:moveTo>
                  <a:cubicBezTo>
                    <a:pt x="1176835" y="1172499"/>
                    <a:pt x="1164214" y="1172499"/>
                    <a:pt x="1156418" y="1164720"/>
                  </a:cubicBezTo>
                  <a:lnTo>
                    <a:pt x="857235" y="865739"/>
                  </a:lnTo>
                  <a:cubicBezTo>
                    <a:pt x="866868" y="856334"/>
                    <a:pt x="876097" y="846553"/>
                    <a:pt x="884924" y="836397"/>
                  </a:cubicBezTo>
                  <a:lnTo>
                    <a:pt x="1184631" y="1136346"/>
                  </a:lnTo>
                  <a:cubicBezTo>
                    <a:pt x="1188483" y="1140028"/>
                    <a:pt x="1190667" y="1145123"/>
                    <a:pt x="1190677" y="1150452"/>
                  </a:cubicBezTo>
                  <a:cubicBezTo>
                    <a:pt x="1190683" y="1155832"/>
                    <a:pt x="1188500" y="1160982"/>
                    <a:pt x="1184631" y="1164720"/>
                  </a:cubicBezTo>
                  <a:close/>
                </a:path>
              </a:pathLst>
            </a:custGeom>
            <a:grpFill/>
            <a:ln w="200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262626"/>
                </a:solidFill>
                <a:effectLst/>
                <a:uLnTx/>
                <a:uFillTx/>
                <a:latin typeface="阿里巴巴普惠体 B"/>
                <a:ea typeface="阿里巴巴普惠体 R"/>
                <a:cs typeface="+mn-cs"/>
              </a:endParaRPr>
            </a:p>
          </p:txBody>
        </p:sp>
        <p:sp>
          <p:nvSpPr>
            <p:cNvPr id="41" name="任意多边形: 形状 40">
              <a:extLst>
                <a:ext uri="{FF2B5EF4-FFF2-40B4-BE49-F238E27FC236}">
                  <a16:creationId xmlns:a16="http://schemas.microsoft.com/office/drawing/2014/main" id="{2A19B68C-0C99-4595-B80A-DCD2117904CE}"/>
                </a:ext>
              </a:extLst>
            </p:cNvPr>
            <p:cNvSpPr/>
            <p:nvPr/>
          </p:nvSpPr>
          <p:spPr>
            <a:xfrm>
              <a:off x="4705325" y="1609425"/>
              <a:ext cx="120914" cy="241826"/>
            </a:xfrm>
            <a:custGeom>
              <a:avLst/>
              <a:gdLst>
                <a:gd name="connsiteX0" fmla="*/ 20152 w 120914"/>
                <a:gd name="connsiteY0" fmla="*/ 241829 h 241829"/>
                <a:gd name="connsiteX1" fmla="*/ 100762 w 120914"/>
                <a:gd name="connsiteY1" fmla="*/ 241829 h 241829"/>
                <a:gd name="connsiteX2" fmla="*/ 120915 w 120914"/>
                <a:gd name="connsiteY2" fmla="*/ 221677 h 241829"/>
                <a:gd name="connsiteX3" fmla="*/ 120915 w 120914"/>
                <a:gd name="connsiteY3" fmla="*/ 20152 h 241829"/>
                <a:gd name="connsiteX4" fmla="*/ 100762 w 120914"/>
                <a:gd name="connsiteY4" fmla="*/ 0 h 241829"/>
                <a:gd name="connsiteX5" fmla="*/ 20152 w 120914"/>
                <a:gd name="connsiteY5" fmla="*/ 0 h 241829"/>
                <a:gd name="connsiteX6" fmla="*/ 0 w 120914"/>
                <a:gd name="connsiteY6" fmla="*/ 20152 h 241829"/>
                <a:gd name="connsiteX7" fmla="*/ 0 w 120914"/>
                <a:gd name="connsiteY7" fmla="*/ 221677 h 241829"/>
                <a:gd name="connsiteX8" fmla="*/ 20152 w 120914"/>
                <a:gd name="connsiteY8" fmla="*/ 241829 h 241829"/>
                <a:gd name="connsiteX9" fmla="*/ 40305 w 120914"/>
                <a:gd name="connsiteY9" fmla="*/ 40305 h 241829"/>
                <a:gd name="connsiteX10" fmla="*/ 80610 w 120914"/>
                <a:gd name="connsiteY10" fmla="*/ 40305 h 241829"/>
                <a:gd name="connsiteX11" fmla="*/ 80610 w 120914"/>
                <a:gd name="connsiteY11" fmla="*/ 201524 h 241829"/>
                <a:gd name="connsiteX12" fmla="*/ 40305 w 120914"/>
                <a:gd name="connsiteY12" fmla="*/ 201524 h 241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0914" h="241829">
                  <a:moveTo>
                    <a:pt x="20152" y="241829"/>
                  </a:moveTo>
                  <a:lnTo>
                    <a:pt x="100762" y="241829"/>
                  </a:lnTo>
                  <a:cubicBezTo>
                    <a:pt x="111892" y="241829"/>
                    <a:pt x="120915" y="232807"/>
                    <a:pt x="120915" y="221677"/>
                  </a:cubicBezTo>
                  <a:lnTo>
                    <a:pt x="120915" y="20152"/>
                  </a:lnTo>
                  <a:cubicBezTo>
                    <a:pt x="120915" y="9023"/>
                    <a:pt x="111892" y="0"/>
                    <a:pt x="100762" y="0"/>
                  </a:cubicBezTo>
                  <a:lnTo>
                    <a:pt x="20152" y="0"/>
                  </a:lnTo>
                  <a:cubicBezTo>
                    <a:pt x="9023" y="0"/>
                    <a:pt x="0" y="9023"/>
                    <a:pt x="0" y="20152"/>
                  </a:cubicBezTo>
                  <a:lnTo>
                    <a:pt x="0" y="221677"/>
                  </a:lnTo>
                  <a:cubicBezTo>
                    <a:pt x="0" y="232807"/>
                    <a:pt x="9023" y="241829"/>
                    <a:pt x="20152" y="241829"/>
                  </a:cubicBezTo>
                  <a:close/>
                  <a:moveTo>
                    <a:pt x="40305" y="40305"/>
                  </a:moveTo>
                  <a:lnTo>
                    <a:pt x="80610" y="40305"/>
                  </a:lnTo>
                  <a:lnTo>
                    <a:pt x="80610" y="201524"/>
                  </a:lnTo>
                  <a:lnTo>
                    <a:pt x="40305" y="201524"/>
                  </a:lnTo>
                  <a:close/>
                </a:path>
              </a:pathLst>
            </a:custGeom>
            <a:grpFill/>
            <a:ln w="200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262626"/>
                </a:solidFill>
                <a:effectLst/>
                <a:uLnTx/>
                <a:uFillTx/>
                <a:latin typeface="阿里巴巴普惠体 B"/>
                <a:ea typeface="阿里巴巴普惠体 R"/>
                <a:cs typeface="+mn-cs"/>
              </a:endParaRPr>
            </a:p>
          </p:txBody>
        </p:sp>
        <p:sp>
          <p:nvSpPr>
            <p:cNvPr id="42" name="任意多边形: 形状 41">
              <a:extLst>
                <a:ext uri="{FF2B5EF4-FFF2-40B4-BE49-F238E27FC236}">
                  <a16:creationId xmlns:a16="http://schemas.microsoft.com/office/drawing/2014/main" id="{1FAF35BF-64CE-400B-8011-7E7F19C17B06}"/>
                </a:ext>
              </a:extLst>
            </p:cNvPr>
            <p:cNvSpPr/>
            <p:nvPr/>
          </p:nvSpPr>
          <p:spPr>
            <a:xfrm>
              <a:off x="4866547" y="1569120"/>
              <a:ext cx="120914" cy="282132"/>
            </a:xfrm>
            <a:custGeom>
              <a:avLst/>
              <a:gdLst>
                <a:gd name="connsiteX0" fmla="*/ 20152 w 120914"/>
                <a:gd name="connsiteY0" fmla="*/ 282134 h 282134"/>
                <a:gd name="connsiteX1" fmla="*/ 100762 w 120914"/>
                <a:gd name="connsiteY1" fmla="*/ 282134 h 282134"/>
                <a:gd name="connsiteX2" fmla="*/ 120915 w 120914"/>
                <a:gd name="connsiteY2" fmla="*/ 261982 h 282134"/>
                <a:gd name="connsiteX3" fmla="*/ 120915 w 120914"/>
                <a:gd name="connsiteY3" fmla="*/ 20152 h 282134"/>
                <a:gd name="connsiteX4" fmla="*/ 100762 w 120914"/>
                <a:gd name="connsiteY4" fmla="*/ 0 h 282134"/>
                <a:gd name="connsiteX5" fmla="*/ 20152 w 120914"/>
                <a:gd name="connsiteY5" fmla="*/ 0 h 282134"/>
                <a:gd name="connsiteX6" fmla="*/ 0 w 120914"/>
                <a:gd name="connsiteY6" fmla="*/ 20152 h 282134"/>
                <a:gd name="connsiteX7" fmla="*/ 0 w 120914"/>
                <a:gd name="connsiteY7" fmla="*/ 261982 h 282134"/>
                <a:gd name="connsiteX8" fmla="*/ 20152 w 120914"/>
                <a:gd name="connsiteY8" fmla="*/ 282134 h 282134"/>
                <a:gd name="connsiteX9" fmla="*/ 40305 w 120914"/>
                <a:gd name="connsiteY9" fmla="*/ 40305 h 282134"/>
                <a:gd name="connsiteX10" fmla="*/ 80610 w 120914"/>
                <a:gd name="connsiteY10" fmla="*/ 40305 h 282134"/>
                <a:gd name="connsiteX11" fmla="*/ 80610 w 120914"/>
                <a:gd name="connsiteY11" fmla="*/ 241829 h 282134"/>
                <a:gd name="connsiteX12" fmla="*/ 40305 w 120914"/>
                <a:gd name="connsiteY12" fmla="*/ 241829 h 282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0914" h="282134">
                  <a:moveTo>
                    <a:pt x="20152" y="282134"/>
                  </a:moveTo>
                  <a:lnTo>
                    <a:pt x="100762" y="282134"/>
                  </a:lnTo>
                  <a:cubicBezTo>
                    <a:pt x="111892" y="282134"/>
                    <a:pt x="120915" y="273112"/>
                    <a:pt x="120915" y="261982"/>
                  </a:cubicBezTo>
                  <a:lnTo>
                    <a:pt x="120915" y="20152"/>
                  </a:lnTo>
                  <a:cubicBezTo>
                    <a:pt x="120915" y="9023"/>
                    <a:pt x="111892" y="0"/>
                    <a:pt x="100762" y="0"/>
                  </a:cubicBezTo>
                  <a:lnTo>
                    <a:pt x="20152" y="0"/>
                  </a:lnTo>
                  <a:cubicBezTo>
                    <a:pt x="9023" y="0"/>
                    <a:pt x="0" y="9023"/>
                    <a:pt x="0" y="20152"/>
                  </a:cubicBezTo>
                  <a:lnTo>
                    <a:pt x="0" y="261982"/>
                  </a:lnTo>
                  <a:cubicBezTo>
                    <a:pt x="0" y="273112"/>
                    <a:pt x="9023" y="282134"/>
                    <a:pt x="20152" y="282134"/>
                  </a:cubicBezTo>
                  <a:close/>
                  <a:moveTo>
                    <a:pt x="40305" y="40305"/>
                  </a:moveTo>
                  <a:lnTo>
                    <a:pt x="80610" y="40305"/>
                  </a:lnTo>
                  <a:lnTo>
                    <a:pt x="80610" y="241829"/>
                  </a:lnTo>
                  <a:lnTo>
                    <a:pt x="40305" y="241829"/>
                  </a:lnTo>
                  <a:close/>
                </a:path>
              </a:pathLst>
            </a:custGeom>
            <a:grpFill/>
            <a:ln w="200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262626"/>
                </a:solidFill>
                <a:effectLst/>
                <a:uLnTx/>
                <a:uFillTx/>
                <a:latin typeface="阿里巴巴普惠体 B"/>
                <a:ea typeface="阿里巴巴普惠体 R"/>
                <a:cs typeface="+mn-cs"/>
              </a:endParaRPr>
            </a:p>
          </p:txBody>
        </p:sp>
        <p:sp>
          <p:nvSpPr>
            <p:cNvPr id="43" name="任意多边形: 形状 42">
              <a:extLst>
                <a:ext uri="{FF2B5EF4-FFF2-40B4-BE49-F238E27FC236}">
                  <a16:creationId xmlns:a16="http://schemas.microsoft.com/office/drawing/2014/main" id="{971C82F9-FE77-47BF-8976-87EB7FFEE5CF}"/>
                </a:ext>
              </a:extLst>
            </p:cNvPr>
            <p:cNvSpPr/>
            <p:nvPr/>
          </p:nvSpPr>
          <p:spPr>
            <a:xfrm>
              <a:off x="5027765" y="1528814"/>
              <a:ext cx="120914" cy="322437"/>
            </a:xfrm>
            <a:custGeom>
              <a:avLst/>
              <a:gdLst>
                <a:gd name="connsiteX0" fmla="*/ 100762 w 120914"/>
                <a:gd name="connsiteY0" fmla="*/ 0 h 322439"/>
                <a:gd name="connsiteX1" fmla="*/ 20152 w 120914"/>
                <a:gd name="connsiteY1" fmla="*/ 0 h 322439"/>
                <a:gd name="connsiteX2" fmla="*/ 0 w 120914"/>
                <a:gd name="connsiteY2" fmla="*/ 20152 h 322439"/>
                <a:gd name="connsiteX3" fmla="*/ 0 w 120914"/>
                <a:gd name="connsiteY3" fmla="*/ 302287 h 322439"/>
                <a:gd name="connsiteX4" fmla="*/ 20152 w 120914"/>
                <a:gd name="connsiteY4" fmla="*/ 322439 h 322439"/>
                <a:gd name="connsiteX5" fmla="*/ 100762 w 120914"/>
                <a:gd name="connsiteY5" fmla="*/ 322439 h 322439"/>
                <a:gd name="connsiteX6" fmla="*/ 120915 w 120914"/>
                <a:gd name="connsiteY6" fmla="*/ 302287 h 322439"/>
                <a:gd name="connsiteX7" fmla="*/ 120915 w 120914"/>
                <a:gd name="connsiteY7" fmla="*/ 20152 h 322439"/>
                <a:gd name="connsiteX8" fmla="*/ 100762 w 120914"/>
                <a:gd name="connsiteY8" fmla="*/ 0 h 322439"/>
                <a:gd name="connsiteX9" fmla="*/ 80610 w 120914"/>
                <a:gd name="connsiteY9" fmla="*/ 282134 h 322439"/>
                <a:gd name="connsiteX10" fmla="*/ 40305 w 120914"/>
                <a:gd name="connsiteY10" fmla="*/ 282134 h 322439"/>
                <a:gd name="connsiteX11" fmla="*/ 40305 w 120914"/>
                <a:gd name="connsiteY11" fmla="*/ 40305 h 322439"/>
                <a:gd name="connsiteX12" fmla="*/ 80610 w 120914"/>
                <a:gd name="connsiteY12" fmla="*/ 40305 h 322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0914" h="322439">
                  <a:moveTo>
                    <a:pt x="100762" y="0"/>
                  </a:moveTo>
                  <a:lnTo>
                    <a:pt x="20152" y="0"/>
                  </a:lnTo>
                  <a:cubicBezTo>
                    <a:pt x="9023" y="0"/>
                    <a:pt x="0" y="9023"/>
                    <a:pt x="0" y="20152"/>
                  </a:cubicBezTo>
                  <a:lnTo>
                    <a:pt x="0" y="302287"/>
                  </a:lnTo>
                  <a:cubicBezTo>
                    <a:pt x="0" y="313416"/>
                    <a:pt x="9023" y="322439"/>
                    <a:pt x="20152" y="322439"/>
                  </a:cubicBezTo>
                  <a:lnTo>
                    <a:pt x="100762" y="322439"/>
                  </a:lnTo>
                  <a:cubicBezTo>
                    <a:pt x="111892" y="322439"/>
                    <a:pt x="120915" y="313416"/>
                    <a:pt x="120915" y="302287"/>
                  </a:cubicBezTo>
                  <a:lnTo>
                    <a:pt x="120915" y="20152"/>
                  </a:lnTo>
                  <a:cubicBezTo>
                    <a:pt x="120915" y="9023"/>
                    <a:pt x="111892" y="0"/>
                    <a:pt x="100762" y="0"/>
                  </a:cubicBezTo>
                  <a:close/>
                  <a:moveTo>
                    <a:pt x="80610" y="282134"/>
                  </a:moveTo>
                  <a:lnTo>
                    <a:pt x="40305" y="282134"/>
                  </a:lnTo>
                  <a:lnTo>
                    <a:pt x="40305" y="40305"/>
                  </a:lnTo>
                  <a:lnTo>
                    <a:pt x="80610" y="40305"/>
                  </a:lnTo>
                  <a:close/>
                </a:path>
              </a:pathLst>
            </a:custGeom>
            <a:grpFill/>
            <a:ln w="200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262626"/>
                </a:solidFill>
                <a:effectLst/>
                <a:uLnTx/>
                <a:uFillTx/>
                <a:latin typeface="阿里巴巴普惠体 B"/>
                <a:ea typeface="阿里巴巴普惠体 R"/>
                <a:cs typeface="+mn-cs"/>
              </a:endParaRPr>
            </a:p>
          </p:txBody>
        </p:sp>
        <p:sp>
          <p:nvSpPr>
            <p:cNvPr id="44" name="任意多边形: 形状 43">
              <a:extLst>
                <a:ext uri="{FF2B5EF4-FFF2-40B4-BE49-F238E27FC236}">
                  <a16:creationId xmlns:a16="http://schemas.microsoft.com/office/drawing/2014/main" id="{A1ED81F3-0C6B-4E61-A06F-6180A51CCC34}"/>
                </a:ext>
              </a:extLst>
            </p:cNvPr>
            <p:cNvSpPr/>
            <p:nvPr/>
          </p:nvSpPr>
          <p:spPr>
            <a:xfrm>
              <a:off x="5295651" y="1246683"/>
              <a:ext cx="135162" cy="94856"/>
            </a:xfrm>
            <a:custGeom>
              <a:avLst/>
              <a:gdLst>
                <a:gd name="connsiteX0" fmla="*/ 83048 w 135162"/>
                <a:gd name="connsiteY0" fmla="*/ 40305 h 94857"/>
                <a:gd name="connsiteX1" fmla="*/ 135162 w 135162"/>
                <a:gd name="connsiteY1" fmla="*/ 40305 h 94857"/>
                <a:gd name="connsiteX2" fmla="*/ 135162 w 135162"/>
                <a:gd name="connsiteY2" fmla="*/ 0 h 94857"/>
                <a:gd name="connsiteX3" fmla="*/ 74705 w 135162"/>
                <a:gd name="connsiteY3" fmla="*/ 0 h 94857"/>
                <a:gd name="connsiteX4" fmla="*/ 60457 w 135162"/>
                <a:gd name="connsiteY4" fmla="*/ 5905 h 94857"/>
                <a:gd name="connsiteX5" fmla="*/ 0 w 135162"/>
                <a:gd name="connsiteY5" fmla="*/ 66362 h 94857"/>
                <a:gd name="connsiteX6" fmla="*/ 28496 w 135162"/>
                <a:gd name="connsiteY6" fmla="*/ 94858 h 948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5162" h="94857">
                  <a:moveTo>
                    <a:pt x="83048" y="40305"/>
                  </a:moveTo>
                  <a:lnTo>
                    <a:pt x="135162" y="40305"/>
                  </a:lnTo>
                  <a:lnTo>
                    <a:pt x="135162" y="0"/>
                  </a:lnTo>
                  <a:lnTo>
                    <a:pt x="74705" y="0"/>
                  </a:lnTo>
                  <a:cubicBezTo>
                    <a:pt x="69361" y="1"/>
                    <a:pt x="64236" y="2125"/>
                    <a:pt x="60457" y="5905"/>
                  </a:cubicBezTo>
                  <a:lnTo>
                    <a:pt x="0" y="66362"/>
                  </a:lnTo>
                  <a:lnTo>
                    <a:pt x="28496" y="94858"/>
                  </a:lnTo>
                  <a:close/>
                </a:path>
              </a:pathLst>
            </a:custGeom>
            <a:grpFill/>
            <a:ln w="200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262626"/>
                </a:solidFill>
                <a:effectLst/>
                <a:uLnTx/>
                <a:uFillTx/>
                <a:latin typeface="阿里巴巴普惠体 B"/>
                <a:ea typeface="阿里巴巴普惠体 R"/>
                <a:cs typeface="+mn-cs"/>
              </a:endParaRPr>
            </a:p>
          </p:txBody>
        </p:sp>
        <p:sp>
          <p:nvSpPr>
            <p:cNvPr id="45" name="任意多边形: 形状 44">
              <a:extLst>
                <a:ext uri="{FF2B5EF4-FFF2-40B4-BE49-F238E27FC236}">
                  <a16:creationId xmlns:a16="http://schemas.microsoft.com/office/drawing/2014/main" id="{0F61FDE2-ABEA-45BE-94F6-64F9E8DB0E5E}"/>
                </a:ext>
              </a:extLst>
            </p:cNvPr>
            <p:cNvSpPr/>
            <p:nvPr/>
          </p:nvSpPr>
          <p:spPr>
            <a:xfrm>
              <a:off x="5471119" y="1246683"/>
              <a:ext cx="181371" cy="40303"/>
            </a:xfrm>
            <a:custGeom>
              <a:avLst/>
              <a:gdLst>
                <a:gd name="connsiteX0" fmla="*/ 0 w 181371"/>
                <a:gd name="connsiteY0" fmla="*/ 0 h 40304"/>
                <a:gd name="connsiteX1" fmla="*/ 181372 w 181371"/>
                <a:gd name="connsiteY1" fmla="*/ 0 h 40304"/>
                <a:gd name="connsiteX2" fmla="*/ 181372 w 181371"/>
                <a:gd name="connsiteY2" fmla="*/ 40305 h 40304"/>
                <a:gd name="connsiteX3" fmla="*/ 0 w 181371"/>
                <a:gd name="connsiteY3" fmla="*/ 40305 h 40304"/>
              </a:gdLst>
              <a:ahLst/>
              <a:cxnLst>
                <a:cxn ang="0">
                  <a:pos x="connsiteX0" y="connsiteY0"/>
                </a:cxn>
                <a:cxn ang="0">
                  <a:pos x="connsiteX1" y="connsiteY1"/>
                </a:cxn>
                <a:cxn ang="0">
                  <a:pos x="connsiteX2" y="connsiteY2"/>
                </a:cxn>
                <a:cxn ang="0">
                  <a:pos x="connsiteX3" y="connsiteY3"/>
                </a:cxn>
              </a:cxnLst>
              <a:rect l="l" t="t" r="r" b="b"/>
              <a:pathLst>
                <a:path w="181371" h="40304">
                  <a:moveTo>
                    <a:pt x="0" y="0"/>
                  </a:moveTo>
                  <a:lnTo>
                    <a:pt x="181372" y="0"/>
                  </a:lnTo>
                  <a:lnTo>
                    <a:pt x="181372" y="40305"/>
                  </a:lnTo>
                  <a:lnTo>
                    <a:pt x="0" y="40305"/>
                  </a:lnTo>
                  <a:close/>
                </a:path>
              </a:pathLst>
            </a:custGeom>
            <a:grpFill/>
            <a:ln w="200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262626"/>
                </a:solidFill>
                <a:effectLst/>
                <a:uLnTx/>
                <a:uFillTx/>
                <a:latin typeface="阿里巴巴普惠体 B"/>
                <a:ea typeface="阿里巴巴普惠体 R"/>
                <a:cs typeface="+mn-cs"/>
              </a:endParaRPr>
            </a:p>
          </p:txBody>
        </p:sp>
        <p:sp>
          <p:nvSpPr>
            <p:cNvPr id="46" name="任意多边形: 形状 45">
              <a:extLst>
                <a:ext uri="{FF2B5EF4-FFF2-40B4-BE49-F238E27FC236}">
                  <a16:creationId xmlns:a16="http://schemas.microsoft.com/office/drawing/2014/main" id="{A6AC3FA5-3605-4E2D-9747-D58BEFA51528}"/>
                </a:ext>
              </a:extLst>
            </p:cNvPr>
            <p:cNvSpPr/>
            <p:nvPr/>
          </p:nvSpPr>
          <p:spPr>
            <a:xfrm>
              <a:off x="5471119" y="1327293"/>
              <a:ext cx="40303" cy="40303"/>
            </a:xfrm>
            <a:custGeom>
              <a:avLst/>
              <a:gdLst>
                <a:gd name="connsiteX0" fmla="*/ 0 w 40304"/>
                <a:gd name="connsiteY0" fmla="*/ 0 h 40304"/>
                <a:gd name="connsiteX1" fmla="*/ 40305 w 40304"/>
                <a:gd name="connsiteY1" fmla="*/ 0 h 40304"/>
                <a:gd name="connsiteX2" fmla="*/ 40305 w 40304"/>
                <a:gd name="connsiteY2" fmla="*/ 40305 h 40304"/>
                <a:gd name="connsiteX3" fmla="*/ 0 w 40304"/>
                <a:gd name="connsiteY3" fmla="*/ 40305 h 40304"/>
              </a:gdLst>
              <a:ahLst/>
              <a:cxnLst>
                <a:cxn ang="0">
                  <a:pos x="connsiteX0" y="connsiteY0"/>
                </a:cxn>
                <a:cxn ang="0">
                  <a:pos x="connsiteX1" y="connsiteY1"/>
                </a:cxn>
                <a:cxn ang="0">
                  <a:pos x="connsiteX2" y="connsiteY2"/>
                </a:cxn>
                <a:cxn ang="0">
                  <a:pos x="connsiteX3" y="connsiteY3"/>
                </a:cxn>
              </a:cxnLst>
              <a:rect l="l" t="t" r="r" b="b"/>
              <a:pathLst>
                <a:path w="40304" h="40304">
                  <a:moveTo>
                    <a:pt x="0" y="0"/>
                  </a:moveTo>
                  <a:lnTo>
                    <a:pt x="40305" y="0"/>
                  </a:lnTo>
                  <a:lnTo>
                    <a:pt x="40305" y="40305"/>
                  </a:lnTo>
                  <a:lnTo>
                    <a:pt x="0" y="40305"/>
                  </a:lnTo>
                  <a:close/>
                </a:path>
              </a:pathLst>
            </a:custGeom>
            <a:grpFill/>
            <a:ln w="200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262626"/>
                </a:solidFill>
                <a:effectLst/>
                <a:uLnTx/>
                <a:uFillTx/>
                <a:latin typeface="阿里巴巴普惠体 B"/>
                <a:ea typeface="阿里巴巴普惠体 R"/>
                <a:cs typeface="+mn-cs"/>
              </a:endParaRPr>
            </a:p>
          </p:txBody>
        </p:sp>
        <p:sp>
          <p:nvSpPr>
            <p:cNvPr id="47" name="任意多边形: 形状 46">
              <a:extLst>
                <a:ext uri="{FF2B5EF4-FFF2-40B4-BE49-F238E27FC236}">
                  <a16:creationId xmlns:a16="http://schemas.microsoft.com/office/drawing/2014/main" id="{0D655D98-448C-4B62-AF5D-9FAE8B41ACC5}"/>
                </a:ext>
              </a:extLst>
            </p:cNvPr>
            <p:cNvSpPr/>
            <p:nvPr/>
          </p:nvSpPr>
          <p:spPr>
            <a:xfrm>
              <a:off x="5551727" y="1327293"/>
              <a:ext cx="100763" cy="40303"/>
            </a:xfrm>
            <a:custGeom>
              <a:avLst/>
              <a:gdLst>
                <a:gd name="connsiteX0" fmla="*/ 0 w 100762"/>
                <a:gd name="connsiteY0" fmla="*/ 0 h 40304"/>
                <a:gd name="connsiteX1" fmla="*/ 100762 w 100762"/>
                <a:gd name="connsiteY1" fmla="*/ 0 h 40304"/>
                <a:gd name="connsiteX2" fmla="*/ 100762 w 100762"/>
                <a:gd name="connsiteY2" fmla="*/ 40305 h 40304"/>
                <a:gd name="connsiteX3" fmla="*/ 0 w 100762"/>
                <a:gd name="connsiteY3" fmla="*/ 40305 h 40304"/>
              </a:gdLst>
              <a:ahLst/>
              <a:cxnLst>
                <a:cxn ang="0">
                  <a:pos x="connsiteX0" y="connsiteY0"/>
                </a:cxn>
                <a:cxn ang="0">
                  <a:pos x="connsiteX1" y="connsiteY1"/>
                </a:cxn>
                <a:cxn ang="0">
                  <a:pos x="connsiteX2" y="connsiteY2"/>
                </a:cxn>
                <a:cxn ang="0">
                  <a:pos x="connsiteX3" y="connsiteY3"/>
                </a:cxn>
              </a:cxnLst>
              <a:rect l="l" t="t" r="r" b="b"/>
              <a:pathLst>
                <a:path w="100762" h="40304">
                  <a:moveTo>
                    <a:pt x="0" y="0"/>
                  </a:moveTo>
                  <a:lnTo>
                    <a:pt x="100762" y="0"/>
                  </a:lnTo>
                  <a:lnTo>
                    <a:pt x="100762" y="40305"/>
                  </a:lnTo>
                  <a:lnTo>
                    <a:pt x="0" y="40305"/>
                  </a:lnTo>
                  <a:close/>
                </a:path>
              </a:pathLst>
            </a:custGeom>
            <a:grpFill/>
            <a:ln w="200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262626"/>
                </a:solidFill>
                <a:effectLst/>
                <a:uLnTx/>
                <a:uFillTx/>
                <a:latin typeface="阿里巴巴普惠体 B"/>
                <a:ea typeface="阿里巴巴普惠体 R"/>
                <a:cs typeface="+mn-cs"/>
              </a:endParaRPr>
            </a:p>
          </p:txBody>
        </p:sp>
        <p:sp>
          <p:nvSpPr>
            <p:cNvPr id="48" name="任意多边形: 形状 47">
              <a:extLst>
                <a:ext uri="{FF2B5EF4-FFF2-40B4-BE49-F238E27FC236}">
                  <a16:creationId xmlns:a16="http://schemas.microsoft.com/office/drawing/2014/main" id="{A072CC13-CB7B-46BB-B7B4-B27AB06E44A9}"/>
                </a:ext>
              </a:extLst>
            </p:cNvPr>
            <p:cNvSpPr/>
            <p:nvPr/>
          </p:nvSpPr>
          <p:spPr>
            <a:xfrm>
              <a:off x="5471119" y="1407903"/>
              <a:ext cx="181371" cy="40303"/>
            </a:xfrm>
            <a:custGeom>
              <a:avLst/>
              <a:gdLst>
                <a:gd name="connsiteX0" fmla="*/ 0 w 181371"/>
                <a:gd name="connsiteY0" fmla="*/ 0 h 40304"/>
                <a:gd name="connsiteX1" fmla="*/ 181372 w 181371"/>
                <a:gd name="connsiteY1" fmla="*/ 0 h 40304"/>
                <a:gd name="connsiteX2" fmla="*/ 181372 w 181371"/>
                <a:gd name="connsiteY2" fmla="*/ 40305 h 40304"/>
                <a:gd name="connsiteX3" fmla="*/ 0 w 181371"/>
                <a:gd name="connsiteY3" fmla="*/ 40305 h 40304"/>
              </a:gdLst>
              <a:ahLst/>
              <a:cxnLst>
                <a:cxn ang="0">
                  <a:pos x="connsiteX0" y="connsiteY0"/>
                </a:cxn>
                <a:cxn ang="0">
                  <a:pos x="connsiteX1" y="connsiteY1"/>
                </a:cxn>
                <a:cxn ang="0">
                  <a:pos x="connsiteX2" y="connsiteY2"/>
                </a:cxn>
                <a:cxn ang="0">
                  <a:pos x="connsiteX3" y="connsiteY3"/>
                </a:cxn>
              </a:cxnLst>
              <a:rect l="l" t="t" r="r" b="b"/>
              <a:pathLst>
                <a:path w="181371" h="40304">
                  <a:moveTo>
                    <a:pt x="0" y="0"/>
                  </a:moveTo>
                  <a:lnTo>
                    <a:pt x="181372" y="0"/>
                  </a:lnTo>
                  <a:lnTo>
                    <a:pt x="181372" y="40305"/>
                  </a:lnTo>
                  <a:lnTo>
                    <a:pt x="0" y="40305"/>
                  </a:lnTo>
                  <a:close/>
                </a:path>
              </a:pathLst>
            </a:custGeom>
            <a:grpFill/>
            <a:ln w="200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262626"/>
                </a:solidFill>
                <a:effectLst/>
                <a:uLnTx/>
                <a:uFillTx/>
                <a:latin typeface="阿里巴巴普惠体 B"/>
                <a:ea typeface="阿里巴巴普惠体 R"/>
                <a:cs typeface="+mn-cs"/>
              </a:endParaRPr>
            </a:p>
          </p:txBody>
        </p:sp>
        <p:sp>
          <p:nvSpPr>
            <p:cNvPr id="49" name="任意多边形: 形状 48">
              <a:extLst>
                <a:ext uri="{FF2B5EF4-FFF2-40B4-BE49-F238E27FC236}">
                  <a16:creationId xmlns:a16="http://schemas.microsoft.com/office/drawing/2014/main" id="{C673E726-90C8-477A-95D1-879C22F3EA42}"/>
                </a:ext>
              </a:extLst>
            </p:cNvPr>
            <p:cNvSpPr/>
            <p:nvPr/>
          </p:nvSpPr>
          <p:spPr>
            <a:xfrm>
              <a:off x="4665022" y="2280353"/>
              <a:ext cx="135162" cy="94856"/>
            </a:xfrm>
            <a:custGeom>
              <a:avLst/>
              <a:gdLst>
                <a:gd name="connsiteX0" fmla="*/ 52114 w 135162"/>
                <a:gd name="connsiteY0" fmla="*/ 54553 h 94857"/>
                <a:gd name="connsiteX1" fmla="*/ 0 w 135162"/>
                <a:gd name="connsiteY1" fmla="*/ 54553 h 94857"/>
                <a:gd name="connsiteX2" fmla="*/ 0 w 135162"/>
                <a:gd name="connsiteY2" fmla="*/ 94858 h 94857"/>
                <a:gd name="connsiteX3" fmla="*/ 60457 w 135162"/>
                <a:gd name="connsiteY3" fmla="*/ 94858 h 94857"/>
                <a:gd name="connsiteX4" fmla="*/ 74705 w 135162"/>
                <a:gd name="connsiteY4" fmla="*/ 88953 h 94857"/>
                <a:gd name="connsiteX5" fmla="*/ 135162 w 135162"/>
                <a:gd name="connsiteY5" fmla="*/ 28496 h 94857"/>
                <a:gd name="connsiteX6" fmla="*/ 106667 w 135162"/>
                <a:gd name="connsiteY6" fmla="*/ 0 h 948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5162" h="94857">
                  <a:moveTo>
                    <a:pt x="52114" y="54553"/>
                  </a:moveTo>
                  <a:lnTo>
                    <a:pt x="0" y="54553"/>
                  </a:lnTo>
                  <a:lnTo>
                    <a:pt x="0" y="94858"/>
                  </a:lnTo>
                  <a:lnTo>
                    <a:pt x="60457" y="94858"/>
                  </a:lnTo>
                  <a:cubicBezTo>
                    <a:pt x="65802" y="94856"/>
                    <a:pt x="70927" y="92732"/>
                    <a:pt x="74705" y="88953"/>
                  </a:cubicBezTo>
                  <a:lnTo>
                    <a:pt x="135162" y="28496"/>
                  </a:lnTo>
                  <a:lnTo>
                    <a:pt x="106667" y="0"/>
                  </a:lnTo>
                  <a:close/>
                </a:path>
              </a:pathLst>
            </a:custGeom>
            <a:grpFill/>
            <a:ln w="200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262626"/>
                </a:solidFill>
                <a:effectLst/>
                <a:uLnTx/>
                <a:uFillTx/>
                <a:latin typeface="阿里巴巴普惠体 B"/>
                <a:ea typeface="阿里巴巴普惠体 R"/>
                <a:cs typeface="+mn-cs"/>
              </a:endParaRPr>
            </a:p>
          </p:txBody>
        </p:sp>
        <p:sp>
          <p:nvSpPr>
            <p:cNvPr id="50" name="任意多边形: 形状 49">
              <a:extLst>
                <a:ext uri="{FF2B5EF4-FFF2-40B4-BE49-F238E27FC236}">
                  <a16:creationId xmlns:a16="http://schemas.microsoft.com/office/drawing/2014/main" id="{8950CCF3-6FCA-4AC5-9736-F0DFF8BF7678}"/>
                </a:ext>
              </a:extLst>
            </p:cNvPr>
            <p:cNvSpPr/>
            <p:nvPr/>
          </p:nvSpPr>
          <p:spPr>
            <a:xfrm>
              <a:off x="4443345" y="2334906"/>
              <a:ext cx="181371" cy="40303"/>
            </a:xfrm>
            <a:custGeom>
              <a:avLst/>
              <a:gdLst>
                <a:gd name="connsiteX0" fmla="*/ 0 w 181371"/>
                <a:gd name="connsiteY0" fmla="*/ 0 h 40304"/>
                <a:gd name="connsiteX1" fmla="*/ 181372 w 181371"/>
                <a:gd name="connsiteY1" fmla="*/ 0 h 40304"/>
                <a:gd name="connsiteX2" fmla="*/ 181372 w 181371"/>
                <a:gd name="connsiteY2" fmla="*/ 40305 h 40304"/>
                <a:gd name="connsiteX3" fmla="*/ 0 w 181371"/>
                <a:gd name="connsiteY3" fmla="*/ 40305 h 40304"/>
              </a:gdLst>
              <a:ahLst/>
              <a:cxnLst>
                <a:cxn ang="0">
                  <a:pos x="connsiteX0" y="connsiteY0"/>
                </a:cxn>
                <a:cxn ang="0">
                  <a:pos x="connsiteX1" y="connsiteY1"/>
                </a:cxn>
                <a:cxn ang="0">
                  <a:pos x="connsiteX2" y="connsiteY2"/>
                </a:cxn>
                <a:cxn ang="0">
                  <a:pos x="connsiteX3" y="connsiteY3"/>
                </a:cxn>
              </a:cxnLst>
              <a:rect l="l" t="t" r="r" b="b"/>
              <a:pathLst>
                <a:path w="181371" h="40304">
                  <a:moveTo>
                    <a:pt x="0" y="0"/>
                  </a:moveTo>
                  <a:lnTo>
                    <a:pt x="181372" y="0"/>
                  </a:lnTo>
                  <a:lnTo>
                    <a:pt x="181372" y="40305"/>
                  </a:lnTo>
                  <a:lnTo>
                    <a:pt x="0" y="40305"/>
                  </a:lnTo>
                  <a:close/>
                </a:path>
              </a:pathLst>
            </a:custGeom>
            <a:grpFill/>
            <a:ln w="200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262626"/>
                </a:solidFill>
                <a:effectLst/>
                <a:uLnTx/>
                <a:uFillTx/>
                <a:latin typeface="阿里巴巴普惠体 B"/>
                <a:ea typeface="阿里巴巴普惠体 R"/>
                <a:cs typeface="+mn-cs"/>
              </a:endParaRPr>
            </a:p>
          </p:txBody>
        </p:sp>
        <p:sp>
          <p:nvSpPr>
            <p:cNvPr id="51" name="任意多边形: 形状 50">
              <a:extLst>
                <a:ext uri="{FF2B5EF4-FFF2-40B4-BE49-F238E27FC236}">
                  <a16:creationId xmlns:a16="http://schemas.microsoft.com/office/drawing/2014/main" id="{89F09EDF-3F06-455B-B2EA-195017E3110D}"/>
                </a:ext>
              </a:extLst>
            </p:cNvPr>
            <p:cNvSpPr/>
            <p:nvPr/>
          </p:nvSpPr>
          <p:spPr>
            <a:xfrm>
              <a:off x="4584411" y="2254296"/>
              <a:ext cx="40303" cy="40303"/>
            </a:xfrm>
            <a:custGeom>
              <a:avLst/>
              <a:gdLst>
                <a:gd name="connsiteX0" fmla="*/ 0 w 40304"/>
                <a:gd name="connsiteY0" fmla="*/ 0 h 40304"/>
                <a:gd name="connsiteX1" fmla="*/ 40305 w 40304"/>
                <a:gd name="connsiteY1" fmla="*/ 0 h 40304"/>
                <a:gd name="connsiteX2" fmla="*/ 40305 w 40304"/>
                <a:gd name="connsiteY2" fmla="*/ 40305 h 40304"/>
                <a:gd name="connsiteX3" fmla="*/ 0 w 40304"/>
                <a:gd name="connsiteY3" fmla="*/ 40305 h 40304"/>
              </a:gdLst>
              <a:ahLst/>
              <a:cxnLst>
                <a:cxn ang="0">
                  <a:pos x="connsiteX0" y="connsiteY0"/>
                </a:cxn>
                <a:cxn ang="0">
                  <a:pos x="connsiteX1" y="connsiteY1"/>
                </a:cxn>
                <a:cxn ang="0">
                  <a:pos x="connsiteX2" y="connsiteY2"/>
                </a:cxn>
                <a:cxn ang="0">
                  <a:pos x="connsiteX3" y="connsiteY3"/>
                </a:cxn>
              </a:cxnLst>
              <a:rect l="l" t="t" r="r" b="b"/>
              <a:pathLst>
                <a:path w="40304" h="40304">
                  <a:moveTo>
                    <a:pt x="0" y="0"/>
                  </a:moveTo>
                  <a:lnTo>
                    <a:pt x="40305" y="0"/>
                  </a:lnTo>
                  <a:lnTo>
                    <a:pt x="40305" y="40305"/>
                  </a:lnTo>
                  <a:lnTo>
                    <a:pt x="0" y="40305"/>
                  </a:lnTo>
                  <a:close/>
                </a:path>
              </a:pathLst>
            </a:custGeom>
            <a:grpFill/>
            <a:ln w="200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262626"/>
                </a:solidFill>
                <a:effectLst/>
                <a:uLnTx/>
                <a:uFillTx/>
                <a:latin typeface="阿里巴巴普惠体 B"/>
                <a:ea typeface="阿里巴巴普惠体 R"/>
                <a:cs typeface="+mn-cs"/>
              </a:endParaRPr>
            </a:p>
          </p:txBody>
        </p:sp>
        <p:sp>
          <p:nvSpPr>
            <p:cNvPr id="52" name="任意多边形: 形状 51">
              <a:extLst>
                <a:ext uri="{FF2B5EF4-FFF2-40B4-BE49-F238E27FC236}">
                  <a16:creationId xmlns:a16="http://schemas.microsoft.com/office/drawing/2014/main" id="{070F14FE-A389-4F31-8D9A-5A8F5C946AC5}"/>
                </a:ext>
              </a:extLst>
            </p:cNvPr>
            <p:cNvSpPr/>
            <p:nvPr/>
          </p:nvSpPr>
          <p:spPr>
            <a:xfrm>
              <a:off x="4443345" y="2254298"/>
              <a:ext cx="100763" cy="40303"/>
            </a:xfrm>
            <a:custGeom>
              <a:avLst/>
              <a:gdLst>
                <a:gd name="connsiteX0" fmla="*/ 0 w 100762"/>
                <a:gd name="connsiteY0" fmla="*/ 0 h 40304"/>
                <a:gd name="connsiteX1" fmla="*/ 100762 w 100762"/>
                <a:gd name="connsiteY1" fmla="*/ 0 h 40304"/>
                <a:gd name="connsiteX2" fmla="*/ 100762 w 100762"/>
                <a:gd name="connsiteY2" fmla="*/ 40305 h 40304"/>
                <a:gd name="connsiteX3" fmla="*/ 0 w 100762"/>
                <a:gd name="connsiteY3" fmla="*/ 40305 h 40304"/>
              </a:gdLst>
              <a:ahLst/>
              <a:cxnLst>
                <a:cxn ang="0">
                  <a:pos x="connsiteX0" y="connsiteY0"/>
                </a:cxn>
                <a:cxn ang="0">
                  <a:pos x="connsiteX1" y="connsiteY1"/>
                </a:cxn>
                <a:cxn ang="0">
                  <a:pos x="connsiteX2" y="connsiteY2"/>
                </a:cxn>
                <a:cxn ang="0">
                  <a:pos x="connsiteX3" y="connsiteY3"/>
                </a:cxn>
              </a:cxnLst>
              <a:rect l="l" t="t" r="r" b="b"/>
              <a:pathLst>
                <a:path w="100762" h="40304">
                  <a:moveTo>
                    <a:pt x="0" y="0"/>
                  </a:moveTo>
                  <a:lnTo>
                    <a:pt x="100762" y="0"/>
                  </a:lnTo>
                  <a:lnTo>
                    <a:pt x="100762" y="40305"/>
                  </a:lnTo>
                  <a:lnTo>
                    <a:pt x="0" y="40305"/>
                  </a:lnTo>
                  <a:close/>
                </a:path>
              </a:pathLst>
            </a:custGeom>
            <a:grpFill/>
            <a:ln w="200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262626"/>
                </a:solidFill>
                <a:effectLst/>
                <a:uLnTx/>
                <a:uFillTx/>
                <a:latin typeface="阿里巴巴普惠体 B"/>
                <a:ea typeface="阿里巴巴普惠体 R"/>
                <a:cs typeface="+mn-cs"/>
              </a:endParaRPr>
            </a:p>
          </p:txBody>
        </p:sp>
        <p:sp>
          <p:nvSpPr>
            <p:cNvPr id="53" name="任意多边形: 形状 52">
              <a:extLst>
                <a:ext uri="{FF2B5EF4-FFF2-40B4-BE49-F238E27FC236}">
                  <a16:creationId xmlns:a16="http://schemas.microsoft.com/office/drawing/2014/main" id="{E9A94974-1052-4769-A803-2A312CF87259}"/>
                </a:ext>
              </a:extLst>
            </p:cNvPr>
            <p:cNvSpPr/>
            <p:nvPr/>
          </p:nvSpPr>
          <p:spPr>
            <a:xfrm>
              <a:off x="4443347" y="2173688"/>
              <a:ext cx="181372" cy="40303"/>
            </a:xfrm>
            <a:custGeom>
              <a:avLst/>
              <a:gdLst>
                <a:gd name="connsiteX0" fmla="*/ 0 w 181371"/>
                <a:gd name="connsiteY0" fmla="*/ 0 h 40304"/>
                <a:gd name="connsiteX1" fmla="*/ 181372 w 181371"/>
                <a:gd name="connsiteY1" fmla="*/ 0 h 40304"/>
                <a:gd name="connsiteX2" fmla="*/ 181372 w 181371"/>
                <a:gd name="connsiteY2" fmla="*/ 40305 h 40304"/>
                <a:gd name="connsiteX3" fmla="*/ 0 w 181371"/>
                <a:gd name="connsiteY3" fmla="*/ 40305 h 40304"/>
              </a:gdLst>
              <a:ahLst/>
              <a:cxnLst>
                <a:cxn ang="0">
                  <a:pos x="connsiteX0" y="connsiteY0"/>
                </a:cxn>
                <a:cxn ang="0">
                  <a:pos x="connsiteX1" y="connsiteY1"/>
                </a:cxn>
                <a:cxn ang="0">
                  <a:pos x="connsiteX2" y="connsiteY2"/>
                </a:cxn>
                <a:cxn ang="0">
                  <a:pos x="connsiteX3" y="connsiteY3"/>
                </a:cxn>
              </a:cxnLst>
              <a:rect l="l" t="t" r="r" b="b"/>
              <a:pathLst>
                <a:path w="181371" h="40304">
                  <a:moveTo>
                    <a:pt x="0" y="0"/>
                  </a:moveTo>
                  <a:lnTo>
                    <a:pt x="181372" y="0"/>
                  </a:lnTo>
                  <a:lnTo>
                    <a:pt x="181372" y="40305"/>
                  </a:lnTo>
                  <a:lnTo>
                    <a:pt x="0" y="40305"/>
                  </a:lnTo>
                  <a:close/>
                </a:path>
              </a:pathLst>
            </a:custGeom>
            <a:grpFill/>
            <a:ln w="200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262626"/>
                </a:solidFill>
                <a:effectLst/>
                <a:uLnTx/>
                <a:uFillTx/>
                <a:latin typeface="阿里巴巴普惠体 B"/>
                <a:ea typeface="阿里巴巴普惠体 R"/>
                <a:cs typeface="+mn-cs"/>
              </a:endParaRPr>
            </a:p>
          </p:txBody>
        </p:sp>
        <p:sp>
          <p:nvSpPr>
            <p:cNvPr id="54" name="任意多边形: 形状 53">
              <a:extLst>
                <a:ext uri="{FF2B5EF4-FFF2-40B4-BE49-F238E27FC236}">
                  <a16:creationId xmlns:a16="http://schemas.microsoft.com/office/drawing/2014/main" id="{BD46BD97-CA98-48BA-A179-EEF87B4F5861}"/>
                </a:ext>
              </a:extLst>
            </p:cNvPr>
            <p:cNvSpPr/>
            <p:nvPr/>
          </p:nvSpPr>
          <p:spPr>
            <a:xfrm>
              <a:off x="4705325" y="1891573"/>
              <a:ext cx="443354" cy="40303"/>
            </a:xfrm>
            <a:custGeom>
              <a:avLst/>
              <a:gdLst>
                <a:gd name="connsiteX0" fmla="*/ 0 w 443353"/>
                <a:gd name="connsiteY0" fmla="*/ 0 h 40304"/>
                <a:gd name="connsiteX1" fmla="*/ 443354 w 443353"/>
                <a:gd name="connsiteY1" fmla="*/ 0 h 40304"/>
                <a:gd name="connsiteX2" fmla="*/ 443354 w 443353"/>
                <a:gd name="connsiteY2" fmla="*/ 40305 h 40304"/>
                <a:gd name="connsiteX3" fmla="*/ 0 w 443353"/>
                <a:gd name="connsiteY3" fmla="*/ 40305 h 40304"/>
              </a:gdLst>
              <a:ahLst/>
              <a:cxnLst>
                <a:cxn ang="0">
                  <a:pos x="connsiteX0" y="connsiteY0"/>
                </a:cxn>
                <a:cxn ang="0">
                  <a:pos x="connsiteX1" y="connsiteY1"/>
                </a:cxn>
                <a:cxn ang="0">
                  <a:pos x="connsiteX2" y="connsiteY2"/>
                </a:cxn>
                <a:cxn ang="0">
                  <a:pos x="connsiteX3" y="connsiteY3"/>
                </a:cxn>
              </a:cxnLst>
              <a:rect l="l" t="t" r="r" b="b"/>
              <a:pathLst>
                <a:path w="443353" h="40304">
                  <a:moveTo>
                    <a:pt x="0" y="0"/>
                  </a:moveTo>
                  <a:lnTo>
                    <a:pt x="443354" y="0"/>
                  </a:lnTo>
                  <a:lnTo>
                    <a:pt x="443354" y="40305"/>
                  </a:lnTo>
                  <a:lnTo>
                    <a:pt x="0" y="40305"/>
                  </a:lnTo>
                  <a:close/>
                </a:path>
              </a:pathLst>
            </a:custGeom>
            <a:grpFill/>
            <a:ln w="200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262626"/>
                </a:solidFill>
                <a:effectLst/>
                <a:uLnTx/>
                <a:uFillTx/>
                <a:latin typeface="阿里巴巴普惠体 B"/>
                <a:ea typeface="阿里巴巴普惠体 R"/>
                <a:cs typeface="+mn-cs"/>
              </a:endParaRPr>
            </a:p>
          </p:txBody>
        </p:sp>
      </p:grpSp>
      <p:grpSp>
        <p:nvGrpSpPr>
          <p:cNvPr id="55" name="图形 23">
            <a:extLst>
              <a:ext uri="{FF2B5EF4-FFF2-40B4-BE49-F238E27FC236}">
                <a16:creationId xmlns:a16="http://schemas.microsoft.com/office/drawing/2014/main" id="{8497D8D0-89FA-446E-BA0D-69463D19293E}"/>
              </a:ext>
            </a:extLst>
          </p:cNvPr>
          <p:cNvGrpSpPr/>
          <p:nvPr/>
        </p:nvGrpSpPr>
        <p:grpSpPr>
          <a:xfrm>
            <a:off x="3905871" y="4612201"/>
            <a:ext cx="500982" cy="500982"/>
            <a:chOff x="3657600" y="990601"/>
            <a:chExt cx="4876801" cy="4876796"/>
          </a:xfrm>
          <a:solidFill>
            <a:schemeClr val="bg1"/>
          </a:solidFill>
        </p:grpSpPr>
        <p:sp>
          <p:nvSpPr>
            <p:cNvPr id="83" name="任意多边形: 形状 82">
              <a:extLst>
                <a:ext uri="{FF2B5EF4-FFF2-40B4-BE49-F238E27FC236}">
                  <a16:creationId xmlns:a16="http://schemas.microsoft.com/office/drawing/2014/main" id="{8FF90B8A-7820-4C9A-8A64-148A9222AC20}"/>
                </a:ext>
              </a:extLst>
            </p:cNvPr>
            <p:cNvSpPr/>
            <p:nvPr/>
          </p:nvSpPr>
          <p:spPr>
            <a:xfrm>
              <a:off x="3657600" y="990601"/>
              <a:ext cx="4876801" cy="4876796"/>
            </a:xfrm>
            <a:custGeom>
              <a:avLst/>
              <a:gdLst>
                <a:gd name="connsiteX0" fmla="*/ 4848892 w 4876800"/>
                <a:gd name="connsiteY0" fmla="*/ 894550 h 4876800"/>
                <a:gd name="connsiteX1" fmla="*/ 3982117 w 4876800"/>
                <a:gd name="connsiteY1" fmla="*/ 27899 h 4876800"/>
                <a:gd name="connsiteX2" fmla="*/ 3914775 w 4876800"/>
                <a:gd name="connsiteY2" fmla="*/ 0 h 4876800"/>
                <a:gd name="connsiteX3" fmla="*/ 1085850 w 4876800"/>
                <a:gd name="connsiteY3" fmla="*/ 0 h 4876800"/>
                <a:gd name="connsiteX4" fmla="*/ 800100 w 4876800"/>
                <a:gd name="connsiteY4" fmla="*/ 285750 h 4876800"/>
                <a:gd name="connsiteX5" fmla="*/ 800100 w 4876800"/>
                <a:gd name="connsiteY5" fmla="*/ 467335 h 4876800"/>
                <a:gd name="connsiteX6" fmla="*/ 0 w 4876800"/>
                <a:gd name="connsiteY6" fmla="*/ 1639167 h 4876800"/>
                <a:gd name="connsiteX7" fmla="*/ 95250 w 4876800"/>
                <a:gd name="connsiteY7" fmla="*/ 1734417 h 4876800"/>
                <a:gd name="connsiteX8" fmla="*/ 1258167 w 4876800"/>
                <a:gd name="connsiteY8" fmla="*/ 1734417 h 4876800"/>
                <a:gd name="connsiteX9" fmla="*/ 1353417 w 4876800"/>
                <a:gd name="connsiteY9" fmla="*/ 1639167 h 4876800"/>
                <a:gd name="connsiteX10" fmla="*/ 1353417 w 4876800"/>
                <a:gd name="connsiteY10" fmla="*/ 476250 h 4876800"/>
                <a:gd name="connsiteX11" fmla="*/ 1258167 w 4876800"/>
                <a:gd name="connsiteY11" fmla="*/ 381000 h 4876800"/>
                <a:gd name="connsiteX12" fmla="*/ 990600 w 4876800"/>
                <a:gd name="connsiteY12" fmla="*/ 409737 h 4876800"/>
                <a:gd name="connsiteX13" fmla="*/ 990600 w 4876800"/>
                <a:gd name="connsiteY13" fmla="*/ 285750 h 4876800"/>
                <a:gd name="connsiteX14" fmla="*/ 1085850 w 4876800"/>
                <a:gd name="connsiteY14" fmla="*/ 190500 h 4876800"/>
                <a:gd name="connsiteX15" fmla="*/ 3819525 w 4876800"/>
                <a:gd name="connsiteY15" fmla="*/ 190500 h 4876800"/>
                <a:gd name="connsiteX16" fmla="*/ 3819525 w 4876800"/>
                <a:gd name="connsiteY16" fmla="*/ 771525 h 4876800"/>
                <a:gd name="connsiteX17" fmla="*/ 4105275 w 4876800"/>
                <a:gd name="connsiteY17" fmla="*/ 1057275 h 4876800"/>
                <a:gd name="connsiteX18" fmla="*/ 4686300 w 4876800"/>
                <a:gd name="connsiteY18" fmla="*/ 1057275 h 4876800"/>
                <a:gd name="connsiteX19" fmla="*/ 4686300 w 4876800"/>
                <a:gd name="connsiteY19" fmla="*/ 4591050 h 4876800"/>
                <a:gd name="connsiteX20" fmla="*/ 4591050 w 4876800"/>
                <a:gd name="connsiteY20" fmla="*/ 4686300 h 4876800"/>
                <a:gd name="connsiteX21" fmla="*/ 1085850 w 4876800"/>
                <a:gd name="connsiteY21" fmla="*/ 4686300 h 4876800"/>
                <a:gd name="connsiteX22" fmla="*/ 990600 w 4876800"/>
                <a:gd name="connsiteY22" fmla="*/ 4591050 h 4876800"/>
                <a:gd name="connsiteX23" fmla="*/ 990600 w 4876800"/>
                <a:gd name="connsiteY23" fmla="*/ 3775072 h 4876800"/>
                <a:gd name="connsiteX24" fmla="*/ 895350 w 4876800"/>
                <a:gd name="connsiteY24" fmla="*/ 3679822 h 4876800"/>
                <a:gd name="connsiteX25" fmla="*/ 800100 w 4876800"/>
                <a:gd name="connsiteY25" fmla="*/ 3775072 h 4876800"/>
                <a:gd name="connsiteX26" fmla="*/ 800100 w 4876800"/>
                <a:gd name="connsiteY26" fmla="*/ 4591050 h 4876800"/>
                <a:gd name="connsiteX27" fmla="*/ 1085850 w 4876800"/>
                <a:gd name="connsiteY27" fmla="*/ 4876800 h 4876800"/>
                <a:gd name="connsiteX28" fmla="*/ 4591050 w 4876800"/>
                <a:gd name="connsiteY28" fmla="*/ 4876800 h 4876800"/>
                <a:gd name="connsiteX29" fmla="*/ 4876800 w 4876800"/>
                <a:gd name="connsiteY29" fmla="*/ 4591050 h 4876800"/>
                <a:gd name="connsiteX30" fmla="*/ 4876800 w 4876800"/>
                <a:gd name="connsiteY30" fmla="*/ 961901 h 4876800"/>
                <a:gd name="connsiteX31" fmla="*/ 4848892 w 4876800"/>
                <a:gd name="connsiteY31" fmla="*/ 894550 h 4876800"/>
                <a:gd name="connsiteX32" fmla="*/ 1162907 w 4876800"/>
                <a:gd name="connsiteY32" fmla="*/ 575720 h 4876800"/>
                <a:gd name="connsiteX33" fmla="*/ 1162907 w 4876800"/>
                <a:gd name="connsiteY33" fmla="*/ 1543917 h 4876800"/>
                <a:gd name="connsiteX34" fmla="*/ 194710 w 4876800"/>
                <a:gd name="connsiteY34" fmla="*/ 1543917 h 4876800"/>
                <a:gd name="connsiteX35" fmla="*/ 1162907 w 4876800"/>
                <a:gd name="connsiteY35" fmla="*/ 575720 h 4876800"/>
                <a:gd name="connsiteX36" fmla="*/ 4105275 w 4876800"/>
                <a:gd name="connsiteY36" fmla="*/ 866775 h 4876800"/>
                <a:gd name="connsiteX37" fmla="*/ 4010025 w 4876800"/>
                <a:gd name="connsiteY37" fmla="*/ 771525 h 4876800"/>
                <a:gd name="connsiteX38" fmla="*/ 4010025 w 4876800"/>
                <a:gd name="connsiteY38" fmla="*/ 325184 h 4876800"/>
                <a:gd name="connsiteX39" fmla="*/ 4551693 w 4876800"/>
                <a:gd name="connsiteY39" fmla="*/ 866775 h 4876800"/>
                <a:gd name="connsiteX40" fmla="*/ 4105275 w 4876800"/>
                <a:gd name="connsiteY40" fmla="*/ 866775 h 4876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4876800" h="4876800">
                  <a:moveTo>
                    <a:pt x="4848892" y="894550"/>
                  </a:moveTo>
                  <a:lnTo>
                    <a:pt x="3982117" y="27899"/>
                  </a:lnTo>
                  <a:cubicBezTo>
                    <a:pt x="3964258" y="10039"/>
                    <a:pt x="3940036" y="0"/>
                    <a:pt x="3914775" y="0"/>
                  </a:cubicBezTo>
                  <a:lnTo>
                    <a:pt x="1085850" y="0"/>
                  </a:lnTo>
                  <a:cubicBezTo>
                    <a:pt x="928287" y="0"/>
                    <a:pt x="800100" y="128187"/>
                    <a:pt x="800100" y="285750"/>
                  </a:cubicBezTo>
                  <a:lnTo>
                    <a:pt x="800100" y="467335"/>
                  </a:lnTo>
                  <a:cubicBezTo>
                    <a:pt x="332184" y="650881"/>
                    <a:pt x="0" y="1106948"/>
                    <a:pt x="0" y="1639167"/>
                  </a:cubicBezTo>
                  <a:cubicBezTo>
                    <a:pt x="0" y="1691764"/>
                    <a:pt x="42653" y="1734417"/>
                    <a:pt x="95250" y="1734417"/>
                  </a:cubicBezTo>
                  <a:lnTo>
                    <a:pt x="1258167" y="1734417"/>
                  </a:lnTo>
                  <a:cubicBezTo>
                    <a:pt x="1310764" y="1734417"/>
                    <a:pt x="1353417" y="1691764"/>
                    <a:pt x="1353417" y="1639167"/>
                  </a:cubicBezTo>
                  <a:lnTo>
                    <a:pt x="1353417" y="476250"/>
                  </a:lnTo>
                  <a:cubicBezTo>
                    <a:pt x="1353417" y="423653"/>
                    <a:pt x="1310764" y="381000"/>
                    <a:pt x="1258167" y="381000"/>
                  </a:cubicBezTo>
                  <a:cubicBezTo>
                    <a:pt x="1166365" y="381000"/>
                    <a:pt x="1076868" y="390973"/>
                    <a:pt x="990600" y="409737"/>
                  </a:cubicBezTo>
                  <a:lnTo>
                    <a:pt x="990600" y="285750"/>
                  </a:lnTo>
                  <a:cubicBezTo>
                    <a:pt x="990600" y="233229"/>
                    <a:pt x="1033329" y="190500"/>
                    <a:pt x="1085850" y="190500"/>
                  </a:cubicBezTo>
                  <a:lnTo>
                    <a:pt x="3819525" y="190500"/>
                  </a:lnTo>
                  <a:lnTo>
                    <a:pt x="3819525" y="771525"/>
                  </a:lnTo>
                  <a:cubicBezTo>
                    <a:pt x="3819525" y="929088"/>
                    <a:pt x="3947713" y="1057275"/>
                    <a:pt x="4105275" y="1057275"/>
                  </a:cubicBezTo>
                  <a:lnTo>
                    <a:pt x="4686300" y="1057275"/>
                  </a:lnTo>
                  <a:lnTo>
                    <a:pt x="4686300" y="4591050"/>
                  </a:lnTo>
                  <a:cubicBezTo>
                    <a:pt x="4686300" y="4643571"/>
                    <a:pt x="4643571" y="4686300"/>
                    <a:pt x="4591050" y="4686300"/>
                  </a:cubicBezTo>
                  <a:lnTo>
                    <a:pt x="1085850" y="4686300"/>
                  </a:lnTo>
                  <a:cubicBezTo>
                    <a:pt x="1033329" y="4686300"/>
                    <a:pt x="990600" y="4643571"/>
                    <a:pt x="990600" y="4591050"/>
                  </a:cubicBezTo>
                  <a:lnTo>
                    <a:pt x="990600" y="3775072"/>
                  </a:lnTo>
                  <a:cubicBezTo>
                    <a:pt x="990600" y="3722475"/>
                    <a:pt x="947947" y="3679822"/>
                    <a:pt x="895350" y="3679822"/>
                  </a:cubicBezTo>
                  <a:cubicBezTo>
                    <a:pt x="842753" y="3679822"/>
                    <a:pt x="800100" y="3722475"/>
                    <a:pt x="800100" y="3775072"/>
                  </a:cubicBezTo>
                  <a:lnTo>
                    <a:pt x="800100" y="4591050"/>
                  </a:lnTo>
                  <a:cubicBezTo>
                    <a:pt x="800100" y="4748613"/>
                    <a:pt x="928287" y="4876800"/>
                    <a:pt x="1085850" y="4876800"/>
                  </a:cubicBezTo>
                  <a:lnTo>
                    <a:pt x="4591050" y="4876800"/>
                  </a:lnTo>
                  <a:cubicBezTo>
                    <a:pt x="4748613" y="4876800"/>
                    <a:pt x="4876800" y="4748613"/>
                    <a:pt x="4876800" y="4591050"/>
                  </a:cubicBezTo>
                  <a:lnTo>
                    <a:pt x="4876800" y="961901"/>
                  </a:lnTo>
                  <a:cubicBezTo>
                    <a:pt x="4876800" y="936641"/>
                    <a:pt x="4866761" y="912409"/>
                    <a:pt x="4848892" y="894550"/>
                  </a:cubicBezTo>
                  <a:close/>
                  <a:moveTo>
                    <a:pt x="1162907" y="575720"/>
                  </a:moveTo>
                  <a:lnTo>
                    <a:pt x="1162907" y="1543917"/>
                  </a:lnTo>
                  <a:lnTo>
                    <a:pt x="194710" y="1543917"/>
                  </a:lnTo>
                  <a:cubicBezTo>
                    <a:pt x="240249" y="1031015"/>
                    <a:pt x="650015" y="621259"/>
                    <a:pt x="1162907" y="575720"/>
                  </a:cubicBezTo>
                  <a:close/>
                  <a:moveTo>
                    <a:pt x="4105275" y="866775"/>
                  </a:moveTo>
                  <a:cubicBezTo>
                    <a:pt x="4052754" y="866775"/>
                    <a:pt x="4010025" y="824046"/>
                    <a:pt x="4010025" y="771525"/>
                  </a:cubicBezTo>
                  <a:lnTo>
                    <a:pt x="4010025" y="325184"/>
                  </a:lnTo>
                  <a:lnTo>
                    <a:pt x="4551693" y="866775"/>
                  </a:lnTo>
                  <a:lnTo>
                    <a:pt x="4105275" y="866775"/>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262626"/>
                </a:solidFill>
                <a:effectLst/>
                <a:uLnTx/>
                <a:uFillTx/>
                <a:latin typeface="阿里巴巴普惠体 B"/>
                <a:ea typeface="阿里巴巴普惠体 R"/>
                <a:cs typeface="+mn-cs"/>
              </a:endParaRPr>
            </a:p>
          </p:txBody>
        </p:sp>
        <p:sp>
          <p:nvSpPr>
            <p:cNvPr id="84" name="任意多边形: 形状 83">
              <a:extLst>
                <a:ext uri="{FF2B5EF4-FFF2-40B4-BE49-F238E27FC236}">
                  <a16:creationId xmlns:a16="http://schemas.microsoft.com/office/drawing/2014/main" id="{C02F214C-8906-4B6B-BC49-6A047EA0A963}"/>
                </a:ext>
              </a:extLst>
            </p:cNvPr>
            <p:cNvSpPr/>
            <p:nvPr/>
          </p:nvSpPr>
          <p:spPr>
            <a:xfrm>
              <a:off x="4457698" y="4324346"/>
              <a:ext cx="190499" cy="190499"/>
            </a:xfrm>
            <a:custGeom>
              <a:avLst/>
              <a:gdLst>
                <a:gd name="connsiteX0" fmla="*/ 162582 w 190500"/>
                <a:gd name="connsiteY0" fmla="*/ 27908 h 190500"/>
                <a:gd name="connsiteX1" fmla="*/ 95250 w 190500"/>
                <a:gd name="connsiteY1" fmla="*/ 0 h 190500"/>
                <a:gd name="connsiteX2" fmla="*/ 27908 w 190500"/>
                <a:gd name="connsiteY2" fmla="*/ 27908 h 190500"/>
                <a:gd name="connsiteX3" fmla="*/ 0 w 190500"/>
                <a:gd name="connsiteY3" fmla="*/ 95250 h 190500"/>
                <a:gd name="connsiteX4" fmla="*/ 27908 w 190500"/>
                <a:gd name="connsiteY4" fmla="*/ 162582 h 190500"/>
                <a:gd name="connsiteX5" fmla="*/ 95250 w 190500"/>
                <a:gd name="connsiteY5" fmla="*/ 190500 h 190500"/>
                <a:gd name="connsiteX6" fmla="*/ 162582 w 190500"/>
                <a:gd name="connsiteY6" fmla="*/ 162582 h 190500"/>
                <a:gd name="connsiteX7" fmla="*/ 190500 w 190500"/>
                <a:gd name="connsiteY7" fmla="*/ 95250 h 190500"/>
                <a:gd name="connsiteX8" fmla="*/ 162582 w 190500"/>
                <a:gd name="connsiteY8" fmla="*/ 27908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0500" h="190500">
                  <a:moveTo>
                    <a:pt x="162582" y="27908"/>
                  </a:moveTo>
                  <a:cubicBezTo>
                    <a:pt x="144875" y="10182"/>
                    <a:pt x="120301" y="0"/>
                    <a:pt x="95250" y="0"/>
                  </a:cubicBezTo>
                  <a:cubicBezTo>
                    <a:pt x="70199" y="0"/>
                    <a:pt x="45625" y="10182"/>
                    <a:pt x="27908" y="27908"/>
                  </a:cubicBezTo>
                  <a:cubicBezTo>
                    <a:pt x="10192" y="45625"/>
                    <a:pt x="0" y="70199"/>
                    <a:pt x="0" y="95250"/>
                  </a:cubicBezTo>
                  <a:cubicBezTo>
                    <a:pt x="0" y="120301"/>
                    <a:pt x="10182" y="144875"/>
                    <a:pt x="27908" y="162582"/>
                  </a:cubicBezTo>
                  <a:cubicBezTo>
                    <a:pt x="45625" y="180308"/>
                    <a:pt x="70199" y="190500"/>
                    <a:pt x="95250" y="190500"/>
                  </a:cubicBezTo>
                  <a:cubicBezTo>
                    <a:pt x="120301" y="190500"/>
                    <a:pt x="144875" y="180308"/>
                    <a:pt x="162582" y="162582"/>
                  </a:cubicBezTo>
                  <a:cubicBezTo>
                    <a:pt x="180308" y="144875"/>
                    <a:pt x="190500" y="120301"/>
                    <a:pt x="190500" y="95250"/>
                  </a:cubicBezTo>
                  <a:cubicBezTo>
                    <a:pt x="190500" y="70199"/>
                    <a:pt x="180308" y="45625"/>
                    <a:pt x="162582" y="2790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262626"/>
                </a:solidFill>
                <a:effectLst/>
                <a:uLnTx/>
                <a:uFillTx/>
                <a:latin typeface="阿里巴巴普惠体 B"/>
                <a:ea typeface="阿里巴巴普惠体 R"/>
                <a:cs typeface="+mn-cs"/>
              </a:endParaRPr>
            </a:p>
          </p:txBody>
        </p:sp>
        <p:sp>
          <p:nvSpPr>
            <p:cNvPr id="85" name="任意多边形: 形状 84">
              <a:extLst>
                <a:ext uri="{FF2B5EF4-FFF2-40B4-BE49-F238E27FC236}">
                  <a16:creationId xmlns:a16="http://schemas.microsoft.com/office/drawing/2014/main" id="{64E8A999-2F81-4695-9E9B-8B320493D4D7}"/>
                </a:ext>
              </a:extLst>
            </p:cNvPr>
            <p:cNvSpPr/>
            <p:nvPr/>
          </p:nvSpPr>
          <p:spPr>
            <a:xfrm>
              <a:off x="3998774" y="1712773"/>
              <a:ext cx="2516322" cy="2516320"/>
            </a:xfrm>
            <a:custGeom>
              <a:avLst/>
              <a:gdLst>
                <a:gd name="connsiteX0" fmla="*/ 1258157 w 2516324"/>
                <a:gd name="connsiteY0" fmla="*/ 0 h 2516324"/>
                <a:gd name="connsiteX1" fmla="*/ 1162907 w 2516324"/>
                <a:gd name="connsiteY1" fmla="*/ 95250 h 2516324"/>
                <a:gd name="connsiteX2" fmla="*/ 1162907 w 2516324"/>
                <a:gd name="connsiteY2" fmla="*/ 1162907 h 2516324"/>
                <a:gd name="connsiteX3" fmla="*/ 95250 w 2516324"/>
                <a:gd name="connsiteY3" fmla="*/ 1162907 h 2516324"/>
                <a:gd name="connsiteX4" fmla="*/ 0 w 2516324"/>
                <a:gd name="connsiteY4" fmla="*/ 1258157 h 2516324"/>
                <a:gd name="connsiteX5" fmla="*/ 1258157 w 2516324"/>
                <a:gd name="connsiteY5" fmla="*/ 2516324 h 2516324"/>
                <a:gd name="connsiteX6" fmla="*/ 2516324 w 2516324"/>
                <a:gd name="connsiteY6" fmla="*/ 1258157 h 2516324"/>
                <a:gd name="connsiteX7" fmla="*/ 1258157 w 2516324"/>
                <a:gd name="connsiteY7" fmla="*/ 0 h 2516324"/>
                <a:gd name="connsiteX8" fmla="*/ 1353407 w 2516324"/>
                <a:gd name="connsiteY8" fmla="*/ 194720 h 2516324"/>
                <a:gd name="connsiteX9" fmla="*/ 1942395 w 2516324"/>
                <a:gd name="connsiteY9" fmla="*/ 439226 h 2516324"/>
                <a:gd name="connsiteX10" fmla="*/ 1353407 w 2516324"/>
                <a:gd name="connsiteY10" fmla="*/ 1028205 h 2516324"/>
                <a:gd name="connsiteX11" fmla="*/ 1353407 w 2516324"/>
                <a:gd name="connsiteY11" fmla="*/ 194720 h 2516324"/>
                <a:gd name="connsiteX12" fmla="*/ 1258157 w 2516324"/>
                <a:gd name="connsiteY12" fmla="*/ 2325824 h 2516324"/>
                <a:gd name="connsiteX13" fmla="*/ 194720 w 2516324"/>
                <a:gd name="connsiteY13" fmla="*/ 1353407 h 2516324"/>
                <a:gd name="connsiteX14" fmla="*/ 1258157 w 2516324"/>
                <a:gd name="connsiteY14" fmla="*/ 1353407 h 2516324"/>
                <a:gd name="connsiteX15" fmla="*/ 1325480 w 2516324"/>
                <a:gd name="connsiteY15" fmla="*/ 1325537 h 2516324"/>
                <a:gd name="connsiteX16" fmla="*/ 1325518 w 2516324"/>
                <a:gd name="connsiteY16" fmla="*/ 1325509 h 2516324"/>
                <a:gd name="connsiteX17" fmla="*/ 2077126 w 2516324"/>
                <a:gd name="connsiteY17" fmla="*/ 573910 h 2516324"/>
                <a:gd name="connsiteX18" fmla="*/ 2325824 w 2516324"/>
                <a:gd name="connsiteY18" fmla="*/ 1258157 h 2516324"/>
                <a:gd name="connsiteX19" fmla="*/ 1258157 w 2516324"/>
                <a:gd name="connsiteY19" fmla="*/ 2325824 h 25163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516324" h="2516324">
                  <a:moveTo>
                    <a:pt x="1258157" y="0"/>
                  </a:moveTo>
                  <a:cubicBezTo>
                    <a:pt x="1205560" y="0"/>
                    <a:pt x="1162907" y="42653"/>
                    <a:pt x="1162907" y="95250"/>
                  </a:cubicBezTo>
                  <a:lnTo>
                    <a:pt x="1162907" y="1162907"/>
                  </a:lnTo>
                  <a:lnTo>
                    <a:pt x="95250" y="1162907"/>
                  </a:lnTo>
                  <a:cubicBezTo>
                    <a:pt x="42653" y="1162907"/>
                    <a:pt x="0" y="1205560"/>
                    <a:pt x="0" y="1258157"/>
                  </a:cubicBezTo>
                  <a:cubicBezTo>
                    <a:pt x="0" y="1951911"/>
                    <a:pt x="564404" y="2516324"/>
                    <a:pt x="1258157" y="2516324"/>
                  </a:cubicBezTo>
                  <a:cubicBezTo>
                    <a:pt x="1951911" y="2516324"/>
                    <a:pt x="2516324" y="1951911"/>
                    <a:pt x="2516324" y="1258157"/>
                  </a:cubicBezTo>
                  <a:cubicBezTo>
                    <a:pt x="2516324" y="564404"/>
                    <a:pt x="1951911" y="0"/>
                    <a:pt x="1258157" y="0"/>
                  </a:cubicBezTo>
                  <a:close/>
                  <a:moveTo>
                    <a:pt x="1353407" y="194720"/>
                  </a:moveTo>
                  <a:cubicBezTo>
                    <a:pt x="1576388" y="214512"/>
                    <a:pt x="1779851" y="303190"/>
                    <a:pt x="1942395" y="439226"/>
                  </a:cubicBezTo>
                  <a:lnTo>
                    <a:pt x="1353407" y="1028205"/>
                  </a:lnTo>
                  <a:lnTo>
                    <a:pt x="1353407" y="194720"/>
                  </a:lnTo>
                  <a:close/>
                  <a:moveTo>
                    <a:pt x="1258157" y="2325824"/>
                  </a:moveTo>
                  <a:cubicBezTo>
                    <a:pt x="701545" y="2325824"/>
                    <a:pt x="243040" y="1897685"/>
                    <a:pt x="194720" y="1353407"/>
                  </a:cubicBezTo>
                  <a:lnTo>
                    <a:pt x="1258157" y="1353407"/>
                  </a:lnTo>
                  <a:cubicBezTo>
                    <a:pt x="1284446" y="1353407"/>
                    <a:pt x="1308240" y="1342758"/>
                    <a:pt x="1325480" y="1325537"/>
                  </a:cubicBezTo>
                  <a:cubicBezTo>
                    <a:pt x="1325490" y="1325528"/>
                    <a:pt x="1325499" y="1325528"/>
                    <a:pt x="1325518" y="1325509"/>
                  </a:cubicBezTo>
                  <a:lnTo>
                    <a:pt x="2077126" y="573910"/>
                  </a:lnTo>
                  <a:cubicBezTo>
                    <a:pt x="2232298" y="759333"/>
                    <a:pt x="2325824" y="998030"/>
                    <a:pt x="2325824" y="1258157"/>
                  </a:cubicBezTo>
                  <a:cubicBezTo>
                    <a:pt x="2325824" y="1846869"/>
                    <a:pt x="1846869" y="2325824"/>
                    <a:pt x="1258157" y="2325824"/>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262626"/>
                </a:solidFill>
                <a:effectLst/>
                <a:uLnTx/>
                <a:uFillTx/>
                <a:latin typeface="阿里巴巴普惠体 B"/>
                <a:ea typeface="阿里巴巴普惠体 R"/>
                <a:cs typeface="+mn-cs"/>
              </a:endParaRPr>
            </a:p>
          </p:txBody>
        </p:sp>
        <p:sp>
          <p:nvSpPr>
            <p:cNvPr id="86" name="任意多边形: 形状 85">
              <a:extLst>
                <a:ext uri="{FF2B5EF4-FFF2-40B4-BE49-F238E27FC236}">
                  <a16:creationId xmlns:a16="http://schemas.microsoft.com/office/drawing/2014/main" id="{63F695F7-E7F6-4EB4-AC55-496BF87D605C}"/>
                </a:ext>
              </a:extLst>
            </p:cNvPr>
            <p:cNvSpPr/>
            <p:nvPr/>
          </p:nvSpPr>
          <p:spPr>
            <a:xfrm>
              <a:off x="5123541" y="3996733"/>
              <a:ext cx="2992447" cy="1489064"/>
            </a:xfrm>
            <a:custGeom>
              <a:avLst/>
              <a:gdLst>
                <a:gd name="connsiteX0" fmla="*/ 2706700 w 2992450"/>
                <a:gd name="connsiteY0" fmla="*/ 0 h 1489062"/>
                <a:gd name="connsiteX1" fmla="*/ 2420950 w 2992450"/>
                <a:gd name="connsiteY1" fmla="*/ 285750 h 1489062"/>
                <a:gd name="connsiteX2" fmla="*/ 2443553 w 2992450"/>
                <a:gd name="connsiteY2" fmla="*/ 397116 h 1489062"/>
                <a:gd name="connsiteX3" fmla="*/ 1894789 w 2992450"/>
                <a:gd name="connsiteY3" fmla="*/ 945880 h 1489062"/>
                <a:gd name="connsiteX4" fmla="*/ 1770059 w 2992450"/>
                <a:gd name="connsiteY4" fmla="*/ 917172 h 1489062"/>
                <a:gd name="connsiteX5" fmla="*/ 1648044 w 2992450"/>
                <a:gd name="connsiteY5" fmla="*/ 944594 h 1489062"/>
                <a:gd name="connsiteX6" fmla="*/ 1283637 w 2992450"/>
                <a:gd name="connsiteY6" fmla="*/ 580187 h 1489062"/>
                <a:gd name="connsiteX7" fmla="*/ 1303277 w 2992450"/>
                <a:gd name="connsiteY7" fmla="*/ 476240 h 1489062"/>
                <a:gd name="connsiteX8" fmla="*/ 1017527 w 2992450"/>
                <a:gd name="connsiteY8" fmla="*/ 190490 h 1489062"/>
                <a:gd name="connsiteX9" fmla="*/ 731777 w 2992450"/>
                <a:gd name="connsiteY9" fmla="*/ 476240 h 1489062"/>
                <a:gd name="connsiteX10" fmla="*/ 758114 w 2992450"/>
                <a:gd name="connsiteY10" fmla="*/ 595846 h 1489062"/>
                <a:gd name="connsiteX11" fmla="*/ 408594 w 2992450"/>
                <a:gd name="connsiteY11" fmla="*/ 945366 h 1489062"/>
                <a:gd name="connsiteX12" fmla="*/ 285750 w 2992450"/>
                <a:gd name="connsiteY12" fmla="*/ 917562 h 1489062"/>
                <a:gd name="connsiteX13" fmla="*/ 0 w 2992450"/>
                <a:gd name="connsiteY13" fmla="*/ 1203312 h 1489062"/>
                <a:gd name="connsiteX14" fmla="*/ 285750 w 2992450"/>
                <a:gd name="connsiteY14" fmla="*/ 1489062 h 1489062"/>
                <a:gd name="connsiteX15" fmla="*/ 571500 w 2992450"/>
                <a:gd name="connsiteY15" fmla="*/ 1203312 h 1489062"/>
                <a:gd name="connsiteX16" fmla="*/ 543458 w 2992450"/>
                <a:gd name="connsiteY16" fmla="*/ 1079925 h 1489062"/>
                <a:gd name="connsiteX17" fmla="*/ 891026 w 2992450"/>
                <a:gd name="connsiteY17" fmla="*/ 732358 h 1489062"/>
                <a:gd name="connsiteX18" fmla="*/ 1017546 w 2992450"/>
                <a:gd name="connsiteY18" fmla="*/ 761990 h 1489062"/>
                <a:gd name="connsiteX19" fmla="*/ 1158621 w 2992450"/>
                <a:gd name="connsiteY19" fmla="*/ 724586 h 1489062"/>
                <a:gd name="connsiteX20" fmla="*/ 1512751 w 2992450"/>
                <a:gd name="connsiteY20" fmla="*/ 1078716 h 1489062"/>
                <a:gd name="connsiteX21" fmla="*/ 1484309 w 2992450"/>
                <a:gd name="connsiteY21" fmla="*/ 1202922 h 1489062"/>
                <a:gd name="connsiteX22" fmla="*/ 1770059 w 2992450"/>
                <a:gd name="connsiteY22" fmla="*/ 1488672 h 1489062"/>
                <a:gd name="connsiteX23" fmla="*/ 2055809 w 2992450"/>
                <a:gd name="connsiteY23" fmla="*/ 1202922 h 1489062"/>
                <a:gd name="connsiteX24" fmla="*/ 2028635 w 2992450"/>
                <a:gd name="connsiteY24" fmla="*/ 1081459 h 1489062"/>
                <a:gd name="connsiteX25" fmla="*/ 2572274 w 2992450"/>
                <a:gd name="connsiteY25" fmla="*/ 537820 h 1489062"/>
                <a:gd name="connsiteX26" fmla="*/ 2706700 w 2992450"/>
                <a:gd name="connsiteY26" fmla="*/ 571500 h 1489062"/>
                <a:gd name="connsiteX27" fmla="*/ 2992450 w 2992450"/>
                <a:gd name="connsiteY27" fmla="*/ 285750 h 1489062"/>
                <a:gd name="connsiteX28" fmla="*/ 2706700 w 2992450"/>
                <a:gd name="connsiteY28" fmla="*/ 0 h 1489062"/>
                <a:gd name="connsiteX29" fmla="*/ 285741 w 2992450"/>
                <a:gd name="connsiteY29" fmla="*/ 1298572 h 1489062"/>
                <a:gd name="connsiteX30" fmla="*/ 190491 w 2992450"/>
                <a:gd name="connsiteY30" fmla="*/ 1203322 h 1489062"/>
                <a:gd name="connsiteX31" fmla="*/ 285741 w 2992450"/>
                <a:gd name="connsiteY31" fmla="*/ 1108072 h 1489062"/>
                <a:gd name="connsiteX32" fmla="*/ 351635 w 2992450"/>
                <a:gd name="connsiteY32" fmla="*/ 1134713 h 1489062"/>
                <a:gd name="connsiteX33" fmla="*/ 352739 w 2992450"/>
                <a:gd name="connsiteY33" fmla="*/ 1135932 h 1489062"/>
                <a:gd name="connsiteX34" fmla="*/ 354159 w 2992450"/>
                <a:gd name="connsiteY34" fmla="*/ 1137209 h 1489062"/>
                <a:gd name="connsiteX35" fmla="*/ 380991 w 2992450"/>
                <a:gd name="connsiteY35" fmla="*/ 1203322 h 1489062"/>
                <a:gd name="connsiteX36" fmla="*/ 285741 w 2992450"/>
                <a:gd name="connsiteY36" fmla="*/ 1298572 h 1489062"/>
                <a:gd name="connsiteX37" fmla="*/ 1017527 w 2992450"/>
                <a:gd name="connsiteY37" fmla="*/ 571490 h 1489062"/>
                <a:gd name="connsiteX38" fmla="*/ 922277 w 2992450"/>
                <a:gd name="connsiteY38" fmla="*/ 476240 h 1489062"/>
                <a:gd name="connsiteX39" fmla="*/ 1017527 w 2992450"/>
                <a:gd name="connsiteY39" fmla="*/ 380990 h 1489062"/>
                <a:gd name="connsiteX40" fmla="*/ 1112777 w 2992450"/>
                <a:gd name="connsiteY40" fmla="*/ 476240 h 1489062"/>
                <a:gd name="connsiteX41" fmla="*/ 1017527 w 2992450"/>
                <a:gd name="connsiteY41" fmla="*/ 571490 h 1489062"/>
                <a:gd name="connsiteX42" fmla="*/ 1770040 w 2992450"/>
                <a:gd name="connsiteY42" fmla="*/ 1298172 h 1489062"/>
                <a:gd name="connsiteX43" fmla="*/ 1674790 w 2992450"/>
                <a:gd name="connsiteY43" fmla="*/ 1202922 h 1489062"/>
                <a:gd name="connsiteX44" fmla="*/ 1770040 w 2992450"/>
                <a:gd name="connsiteY44" fmla="*/ 1107672 h 1489062"/>
                <a:gd name="connsiteX45" fmla="*/ 1865290 w 2992450"/>
                <a:gd name="connsiteY45" fmla="*/ 1202922 h 1489062"/>
                <a:gd name="connsiteX46" fmla="*/ 1770040 w 2992450"/>
                <a:gd name="connsiteY46" fmla="*/ 1298172 h 1489062"/>
                <a:gd name="connsiteX47" fmla="*/ 2706681 w 2992450"/>
                <a:gd name="connsiteY47" fmla="*/ 380990 h 1489062"/>
                <a:gd name="connsiteX48" fmla="*/ 2611431 w 2992450"/>
                <a:gd name="connsiteY48" fmla="*/ 285740 h 1489062"/>
                <a:gd name="connsiteX49" fmla="*/ 2706681 w 2992450"/>
                <a:gd name="connsiteY49" fmla="*/ 190490 h 1489062"/>
                <a:gd name="connsiteX50" fmla="*/ 2801931 w 2992450"/>
                <a:gd name="connsiteY50" fmla="*/ 285740 h 1489062"/>
                <a:gd name="connsiteX51" fmla="*/ 2706681 w 2992450"/>
                <a:gd name="connsiteY51" fmla="*/ 380990 h 1489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2992450" h="1489062">
                  <a:moveTo>
                    <a:pt x="2706700" y="0"/>
                  </a:moveTo>
                  <a:cubicBezTo>
                    <a:pt x="2549138" y="0"/>
                    <a:pt x="2420950" y="128187"/>
                    <a:pt x="2420950" y="285750"/>
                  </a:cubicBezTo>
                  <a:cubicBezTo>
                    <a:pt x="2420950" y="325241"/>
                    <a:pt x="2429009" y="362874"/>
                    <a:pt x="2443553" y="397116"/>
                  </a:cubicBezTo>
                  <a:lnTo>
                    <a:pt x="1894789" y="945880"/>
                  </a:lnTo>
                  <a:cubicBezTo>
                    <a:pt x="1857080" y="927506"/>
                    <a:pt x="1814751" y="917172"/>
                    <a:pt x="1770059" y="917172"/>
                  </a:cubicBezTo>
                  <a:cubicBezTo>
                    <a:pt x="1726425" y="917172"/>
                    <a:pt x="1685068" y="927040"/>
                    <a:pt x="1648044" y="944594"/>
                  </a:cubicBezTo>
                  <a:lnTo>
                    <a:pt x="1283637" y="580187"/>
                  </a:lnTo>
                  <a:cubicBezTo>
                    <a:pt x="1296267" y="547954"/>
                    <a:pt x="1303277" y="512912"/>
                    <a:pt x="1303277" y="476240"/>
                  </a:cubicBezTo>
                  <a:cubicBezTo>
                    <a:pt x="1303277" y="318678"/>
                    <a:pt x="1175090" y="190490"/>
                    <a:pt x="1017527" y="190490"/>
                  </a:cubicBezTo>
                  <a:cubicBezTo>
                    <a:pt x="859965" y="190490"/>
                    <a:pt x="731777" y="318678"/>
                    <a:pt x="731777" y="476240"/>
                  </a:cubicBezTo>
                  <a:cubicBezTo>
                    <a:pt x="731777" y="518931"/>
                    <a:pt x="741255" y="559432"/>
                    <a:pt x="758114" y="595846"/>
                  </a:cubicBezTo>
                  <a:lnTo>
                    <a:pt x="408594" y="945366"/>
                  </a:lnTo>
                  <a:cubicBezTo>
                    <a:pt x="371361" y="927554"/>
                    <a:pt x="329698" y="917562"/>
                    <a:pt x="285750" y="917562"/>
                  </a:cubicBezTo>
                  <a:cubicBezTo>
                    <a:pt x="128188" y="917562"/>
                    <a:pt x="0" y="1045750"/>
                    <a:pt x="0" y="1203312"/>
                  </a:cubicBezTo>
                  <a:cubicBezTo>
                    <a:pt x="0" y="1360875"/>
                    <a:pt x="128188" y="1489062"/>
                    <a:pt x="285750" y="1489062"/>
                  </a:cubicBezTo>
                  <a:cubicBezTo>
                    <a:pt x="443313" y="1489062"/>
                    <a:pt x="571500" y="1360875"/>
                    <a:pt x="571500" y="1203312"/>
                  </a:cubicBezTo>
                  <a:cubicBezTo>
                    <a:pt x="571500" y="1159145"/>
                    <a:pt x="561423" y="1117292"/>
                    <a:pt x="543458" y="1079925"/>
                  </a:cubicBezTo>
                  <a:lnTo>
                    <a:pt x="891026" y="732358"/>
                  </a:lnTo>
                  <a:cubicBezTo>
                    <a:pt x="929192" y="751294"/>
                    <a:pt x="972131" y="761990"/>
                    <a:pt x="1017546" y="761990"/>
                  </a:cubicBezTo>
                  <a:cubicBezTo>
                    <a:pt x="1068838" y="761990"/>
                    <a:pt x="1116968" y="748341"/>
                    <a:pt x="1158621" y="724586"/>
                  </a:cubicBezTo>
                  <a:lnTo>
                    <a:pt x="1512751" y="1078716"/>
                  </a:lnTo>
                  <a:cubicBezTo>
                    <a:pt x="1494539" y="1116292"/>
                    <a:pt x="1484309" y="1158431"/>
                    <a:pt x="1484309" y="1202922"/>
                  </a:cubicBezTo>
                  <a:cubicBezTo>
                    <a:pt x="1484309" y="1360484"/>
                    <a:pt x="1612497" y="1488672"/>
                    <a:pt x="1770059" y="1488672"/>
                  </a:cubicBezTo>
                  <a:cubicBezTo>
                    <a:pt x="1927622" y="1488672"/>
                    <a:pt x="2055809" y="1360484"/>
                    <a:pt x="2055809" y="1202922"/>
                  </a:cubicBezTo>
                  <a:cubicBezTo>
                    <a:pt x="2055809" y="1159507"/>
                    <a:pt x="2046037" y="1118340"/>
                    <a:pt x="2028635" y="1081459"/>
                  </a:cubicBezTo>
                  <a:lnTo>
                    <a:pt x="2572274" y="537820"/>
                  </a:lnTo>
                  <a:cubicBezTo>
                    <a:pt x="2612365" y="559289"/>
                    <a:pt x="2658132" y="571500"/>
                    <a:pt x="2706700" y="571500"/>
                  </a:cubicBezTo>
                  <a:cubicBezTo>
                    <a:pt x="2864263" y="571500"/>
                    <a:pt x="2992450" y="443312"/>
                    <a:pt x="2992450" y="285750"/>
                  </a:cubicBezTo>
                  <a:cubicBezTo>
                    <a:pt x="2992450" y="128187"/>
                    <a:pt x="2864263" y="0"/>
                    <a:pt x="2706700" y="0"/>
                  </a:cubicBezTo>
                  <a:close/>
                  <a:moveTo>
                    <a:pt x="285741" y="1298572"/>
                  </a:moveTo>
                  <a:cubicBezTo>
                    <a:pt x="233220" y="1298572"/>
                    <a:pt x="190491" y="1255843"/>
                    <a:pt x="190491" y="1203322"/>
                  </a:cubicBezTo>
                  <a:cubicBezTo>
                    <a:pt x="190491" y="1150801"/>
                    <a:pt x="233220" y="1108072"/>
                    <a:pt x="285741" y="1108072"/>
                  </a:cubicBezTo>
                  <a:cubicBezTo>
                    <a:pt x="311315" y="1108072"/>
                    <a:pt x="334509" y="1118254"/>
                    <a:pt x="351635" y="1134713"/>
                  </a:cubicBezTo>
                  <a:cubicBezTo>
                    <a:pt x="352015" y="1135113"/>
                    <a:pt x="352349" y="1135542"/>
                    <a:pt x="352739" y="1135932"/>
                  </a:cubicBezTo>
                  <a:cubicBezTo>
                    <a:pt x="353196" y="1136390"/>
                    <a:pt x="353692" y="1136771"/>
                    <a:pt x="354159" y="1137209"/>
                  </a:cubicBezTo>
                  <a:cubicBezTo>
                    <a:pt x="370732" y="1154354"/>
                    <a:pt x="380991" y="1177652"/>
                    <a:pt x="380991" y="1203322"/>
                  </a:cubicBezTo>
                  <a:cubicBezTo>
                    <a:pt x="380991" y="1255833"/>
                    <a:pt x="338261" y="1298572"/>
                    <a:pt x="285741" y="1298572"/>
                  </a:cubicBezTo>
                  <a:close/>
                  <a:moveTo>
                    <a:pt x="1017527" y="571490"/>
                  </a:moveTo>
                  <a:cubicBezTo>
                    <a:pt x="965006" y="571490"/>
                    <a:pt x="922277" y="528761"/>
                    <a:pt x="922277" y="476240"/>
                  </a:cubicBezTo>
                  <a:cubicBezTo>
                    <a:pt x="922277" y="423720"/>
                    <a:pt x="965006" y="380990"/>
                    <a:pt x="1017527" y="380990"/>
                  </a:cubicBezTo>
                  <a:cubicBezTo>
                    <a:pt x="1070048" y="380990"/>
                    <a:pt x="1112777" y="423720"/>
                    <a:pt x="1112777" y="476240"/>
                  </a:cubicBezTo>
                  <a:cubicBezTo>
                    <a:pt x="1112777" y="528761"/>
                    <a:pt x="1070048" y="571490"/>
                    <a:pt x="1017527" y="571490"/>
                  </a:cubicBezTo>
                  <a:close/>
                  <a:moveTo>
                    <a:pt x="1770040" y="1298172"/>
                  </a:moveTo>
                  <a:cubicBezTo>
                    <a:pt x="1717519" y="1298172"/>
                    <a:pt x="1674790" y="1255443"/>
                    <a:pt x="1674790" y="1202922"/>
                  </a:cubicBezTo>
                  <a:cubicBezTo>
                    <a:pt x="1674790" y="1150401"/>
                    <a:pt x="1717519" y="1107672"/>
                    <a:pt x="1770040" y="1107672"/>
                  </a:cubicBezTo>
                  <a:cubicBezTo>
                    <a:pt x="1822561" y="1107672"/>
                    <a:pt x="1865290" y="1150401"/>
                    <a:pt x="1865290" y="1202922"/>
                  </a:cubicBezTo>
                  <a:cubicBezTo>
                    <a:pt x="1865290" y="1255443"/>
                    <a:pt x="1822561" y="1298172"/>
                    <a:pt x="1770040" y="1298172"/>
                  </a:cubicBezTo>
                  <a:close/>
                  <a:moveTo>
                    <a:pt x="2706681" y="380990"/>
                  </a:moveTo>
                  <a:cubicBezTo>
                    <a:pt x="2654161" y="380990"/>
                    <a:pt x="2611431" y="338261"/>
                    <a:pt x="2611431" y="285740"/>
                  </a:cubicBezTo>
                  <a:cubicBezTo>
                    <a:pt x="2611431" y="233219"/>
                    <a:pt x="2654170" y="190490"/>
                    <a:pt x="2706681" y="190490"/>
                  </a:cubicBezTo>
                  <a:cubicBezTo>
                    <a:pt x="2759202" y="190490"/>
                    <a:pt x="2801931" y="233219"/>
                    <a:pt x="2801931" y="285740"/>
                  </a:cubicBezTo>
                  <a:cubicBezTo>
                    <a:pt x="2801931" y="338261"/>
                    <a:pt x="2759202" y="380990"/>
                    <a:pt x="2706681" y="380990"/>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262626"/>
                </a:solidFill>
                <a:effectLst/>
                <a:uLnTx/>
                <a:uFillTx/>
                <a:latin typeface="阿里巴巴普惠体 B"/>
                <a:ea typeface="阿里巴巴普惠体 R"/>
                <a:cs typeface="+mn-cs"/>
              </a:endParaRPr>
            </a:p>
          </p:txBody>
        </p:sp>
        <p:sp>
          <p:nvSpPr>
            <p:cNvPr id="87" name="任意多边形: 形状 86">
              <a:extLst>
                <a:ext uri="{FF2B5EF4-FFF2-40B4-BE49-F238E27FC236}">
                  <a16:creationId xmlns:a16="http://schemas.microsoft.com/office/drawing/2014/main" id="{399406AC-6A9B-4B9F-A278-FCE60151C16F}"/>
                </a:ext>
              </a:extLst>
            </p:cNvPr>
            <p:cNvSpPr/>
            <p:nvPr/>
          </p:nvSpPr>
          <p:spPr>
            <a:xfrm>
              <a:off x="6756187" y="3228975"/>
              <a:ext cx="693219" cy="190499"/>
            </a:xfrm>
            <a:custGeom>
              <a:avLst/>
              <a:gdLst>
                <a:gd name="connsiteX0" fmla="*/ 597970 w 693219"/>
                <a:gd name="connsiteY0" fmla="*/ 0 h 190500"/>
                <a:gd name="connsiteX1" fmla="*/ 95250 w 693219"/>
                <a:gd name="connsiteY1" fmla="*/ 0 h 190500"/>
                <a:gd name="connsiteX2" fmla="*/ 0 w 693219"/>
                <a:gd name="connsiteY2" fmla="*/ 95250 h 190500"/>
                <a:gd name="connsiteX3" fmla="*/ 95250 w 693219"/>
                <a:gd name="connsiteY3" fmla="*/ 190500 h 190500"/>
                <a:gd name="connsiteX4" fmla="*/ 597970 w 693219"/>
                <a:gd name="connsiteY4" fmla="*/ 190500 h 190500"/>
                <a:gd name="connsiteX5" fmla="*/ 693220 w 693219"/>
                <a:gd name="connsiteY5" fmla="*/ 95250 h 190500"/>
                <a:gd name="connsiteX6" fmla="*/ 597970 w 693219"/>
                <a:gd name="connsiteY6" fmla="*/ 0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93219" h="190500">
                  <a:moveTo>
                    <a:pt x="597970" y="0"/>
                  </a:moveTo>
                  <a:lnTo>
                    <a:pt x="95250" y="0"/>
                  </a:lnTo>
                  <a:cubicBezTo>
                    <a:pt x="42653" y="0"/>
                    <a:pt x="0" y="42653"/>
                    <a:pt x="0" y="95250"/>
                  </a:cubicBezTo>
                  <a:cubicBezTo>
                    <a:pt x="0" y="147847"/>
                    <a:pt x="42643" y="190500"/>
                    <a:pt x="95250" y="190500"/>
                  </a:cubicBezTo>
                  <a:lnTo>
                    <a:pt x="597970" y="190500"/>
                  </a:lnTo>
                  <a:cubicBezTo>
                    <a:pt x="650567" y="190500"/>
                    <a:pt x="693220" y="147847"/>
                    <a:pt x="693220" y="95250"/>
                  </a:cubicBezTo>
                  <a:cubicBezTo>
                    <a:pt x="693220" y="42653"/>
                    <a:pt x="650567" y="0"/>
                    <a:pt x="597970" y="0"/>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262626"/>
                </a:solidFill>
                <a:effectLst/>
                <a:uLnTx/>
                <a:uFillTx/>
                <a:latin typeface="阿里巴巴普惠体 B"/>
                <a:ea typeface="阿里巴巴普惠体 R"/>
                <a:cs typeface="+mn-cs"/>
              </a:endParaRPr>
            </a:p>
          </p:txBody>
        </p:sp>
        <p:sp>
          <p:nvSpPr>
            <p:cNvPr id="88" name="任意多边形: 形状 87">
              <a:extLst>
                <a:ext uri="{FF2B5EF4-FFF2-40B4-BE49-F238E27FC236}">
                  <a16:creationId xmlns:a16="http://schemas.microsoft.com/office/drawing/2014/main" id="{4191B839-1C9E-4B48-92E0-ED7CE223A947}"/>
                </a:ext>
              </a:extLst>
            </p:cNvPr>
            <p:cNvSpPr/>
            <p:nvPr/>
          </p:nvSpPr>
          <p:spPr>
            <a:xfrm>
              <a:off x="7692577" y="3228975"/>
              <a:ext cx="190499" cy="190499"/>
            </a:xfrm>
            <a:custGeom>
              <a:avLst/>
              <a:gdLst>
                <a:gd name="connsiteX0" fmla="*/ 162582 w 190500"/>
                <a:gd name="connsiteY0" fmla="*/ 27908 h 190500"/>
                <a:gd name="connsiteX1" fmla="*/ 95250 w 190500"/>
                <a:gd name="connsiteY1" fmla="*/ 0 h 190500"/>
                <a:gd name="connsiteX2" fmla="*/ 27908 w 190500"/>
                <a:gd name="connsiteY2" fmla="*/ 27908 h 190500"/>
                <a:gd name="connsiteX3" fmla="*/ 0 w 190500"/>
                <a:gd name="connsiteY3" fmla="*/ 95250 h 190500"/>
                <a:gd name="connsiteX4" fmla="*/ 27908 w 190500"/>
                <a:gd name="connsiteY4" fmla="*/ 162582 h 190500"/>
                <a:gd name="connsiteX5" fmla="*/ 95250 w 190500"/>
                <a:gd name="connsiteY5" fmla="*/ 190500 h 190500"/>
                <a:gd name="connsiteX6" fmla="*/ 162582 w 190500"/>
                <a:gd name="connsiteY6" fmla="*/ 162582 h 190500"/>
                <a:gd name="connsiteX7" fmla="*/ 190500 w 190500"/>
                <a:gd name="connsiteY7" fmla="*/ 95250 h 190500"/>
                <a:gd name="connsiteX8" fmla="*/ 162582 w 190500"/>
                <a:gd name="connsiteY8" fmla="*/ 27908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0500" h="190500">
                  <a:moveTo>
                    <a:pt x="162582" y="27908"/>
                  </a:moveTo>
                  <a:cubicBezTo>
                    <a:pt x="144875" y="10192"/>
                    <a:pt x="120301" y="0"/>
                    <a:pt x="95250" y="0"/>
                  </a:cubicBezTo>
                  <a:cubicBezTo>
                    <a:pt x="70199" y="0"/>
                    <a:pt x="45625" y="10182"/>
                    <a:pt x="27908" y="27908"/>
                  </a:cubicBezTo>
                  <a:cubicBezTo>
                    <a:pt x="10192" y="45625"/>
                    <a:pt x="0" y="70199"/>
                    <a:pt x="0" y="95250"/>
                  </a:cubicBezTo>
                  <a:cubicBezTo>
                    <a:pt x="0" y="120301"/>
                    <a:pt x="10182" y="144875"/>
                    <a:pt x="27908" y="162582"/>
                  </a:cubicBezTo>
                  <a:cubicBezTo>
                    <a:pt x="45625" y="180299"/>
                    <a:pt x="70104" y="190500"/>
                    <a:pt x="95250" y="190500"/>
                  </a:cubicBezTo>
                  <a:cubicBezTo>
                    <a:pt x="120301" y="190500"/>
                    <a:pt x="144875" y="180308"/>
                    <a:pt x="162582" y="162582"/>
                  </a:cubicBezTo>
                  <a:cubicBezTo>
                    <a:pt x="180299" y="144875"/>
                    <a:pt x="190500" y="120301"/>
                    <a:pt x="190500" y="95250"/>
                  </a:cubicBezTo>
                  <a:cubicBezTo>
                    <a:pt x="190500" y="70199"/>
                    <a:pt x="180308" y="45625"/>
                    <a:pt x="162582" y="2790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262626"/>
                </a:solidFill>
                <a:effectLst/>
                <a:uLnTx/>
                <a:uFillTx/>
                <a:latin typeface="阿里巴巴普惠体 B"/>
                <a:ea typeface="阿里巴巴普惠体 R"/>
                <a:cs typeface="+mn-cs"/>
              </a:endParaRPr>
            </a:p>
          </p:txBody>
        </p:sp>
        <p:sp>
          <p:nvSpPr>
            <p:cNvPr id="89" name="任意多边形: 形状 88">
              <a:extLst>
                <a:ext uri="{FF2B5EF4-FFF2-40B4-BE49-F238E27FC236}">
                  <a16:creationId xmlns:a16="http://schemas.microsoft.com/office/drawing/2014/main" id="{DAC314FD-6B70-41B6-8B13-060AC32D4FD4}"/>
                </a:ext>
              </a:extLst>
            </p:cNvPr>
            <p:cNvSpPr/>
            <p:nvPr/>
          </p:nvSpPr>
          <p:spPr>
            <a:xfrm>
              <a:off x="6756187" y="2314573"/>
              <a:ext cx="1354013" cy="190499"/>
            </a:xfrm>
            <a:custGeom>
              <a:avLst/>
              <a:gdLst>
                <a:gd name="connsiteX0" fmla="*/ 1258767 w 1354016"/>
                <a:gd name="connsiteY0" fmla="*/ 0 h 190500"/>
                <a:gd name="connsiteX1" fmla="*/ 95250 w 1354016"/>
                <a:gd name="connsiteY1" fmla="*/ 0 h 190500"/>
                <a:gd name="connsiteX2" fmla="*/ 0 w 1354016"/>
                <a:gd name="connsiteY2" fmla="*/ 95250 h 190500"/>
                <a:gd name="connsiteX3" fmla="*/ 95250 w 1354016"/>
                <a:gd name="connsiteY3" fmla="*/ 190500 h 190500"/>
                <a:gd name="connsiteX4" fmla="*/ 1258767 w 1354016"/>
                <a:gd name="connsiteY4" fmla="*/ 190500 h 190500"/>
                <a:gd name="connsiteX5" fmla="*/ 1354017 w 1354016"/>
                <a:gd name="connsiteY5" fmla="*/ 95250 h 190500"/>
                <a:gd name="connsiteX6" fmla="*/ 1258767 w 1354016"/>
                <a:gd name="connsiteY6" fmla="*/ 0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54016" h="190500">
                  <a:moveTo>
                    <a:pt x="1258767" y="0"/>
                  </a:moveTo>
                  <a:lnTo>
                    <a:pt x="95250" y="0"/>
                  </a:lnTo>
                  <a:cubicBezTo>
                    <a:pt x="42653" y="0"/>
                    <a:pt x="0" y="42653"/>
                    <a:pt x="0" y="95250"/>
                  </a:cubicBezTo>
                  <a:cubicBezTo>
                    <a:pt x="0" y="147847"/>
                    <a:pt x="42643" y="190500"/>
                    <a:pt x="95250" y="190500"/>
                  </a:cubicBezTo>
                  <a:lnTo>
                    <a:pt x="1258767" y="190500"/>
                  </a:lnTo>
                  <a:cubicBezTo>
                    <a:pt x="1311364" y="190500"/>
                    <a:pt x="1354017" y="147847"/>
                    <a:pt x="1354017" y="95250"/>
                  </a:cubicBezTo>
                  <a:cubicBezTo>
                    <a:pt x="1354017" y="42653"/>
                    <a:pt x="1311364" y="0"/>
                    <a:pt x="1258767" y="0"/>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262626"/>
                </a:solidFill>
                <a:effectLst/>
                <a:uLnTx/>
                <a:uFillTx/>
                <a:latin typeface="阿里巴巴普惠体 B"/>
                <a:ea typeface="阿里巴巴普惠体 R"/>
                <a:cs typeface="+mn-cs"/>
              </a:endParaRPr>
            </a:p>
          </p:txBody>
        </p:sp>
        <p:sp>
          <p:nvSpPr>
            <p:cNvPr id="90" name="任意多边形: 形状 89">
              <a:extLst>
                <a:ext uri="{FF2B5EF4-FFF2-40B4-BE49-F238E27FC236}">
                  <a16:creationId xmlns:a16="http://schemas.microsoft.com/office/drawing/2014/main" id="{0E10F65C-0A01-4E0D-A7F7-033D2620BBB3}"/>
                </a:ext>
              </a:extLst>
            </p:cNvPr>
            <p:cNvSpPr/>
            <p:nvPr/>
          </p:nvSpPr>
          <p:spPr>
            <a:xfrm>
              <a:off x="6756187" y="2771774"/>
              <a:ext cx="1354013" cy="190499"/>
            </a:xfrm>
            <a:custGeom>
              <a:avLst/>
              <a:gdLst>
                <a:gd name="connsiteX0" fmla="*/ 1258767 w 1354016"/>
                <a:gd name="connsiteY0" fmla="*/ 0 h 190500"/>
                <a:gd name="connsiteX1" fmla="*/ 95250 w 1354016"/>
                <a:gd name="connsiteY1" fmla="*/ 0 h 190500"/>
                <a:gd name="connsiteX2" fmla="*/ 0 w 1354016"/>
                <a:gd name="connsiteY2" fmla="*/ 95250 h 190500"/>
                <a:gd name="connsiteX3" fmla="*/ 95250 w 1354016"/>
                <a:gd name="connsiteY3" fmla="*/ 190500 h 190500"/>
                <a:gd name="connsiteX4" fmla="*/ 1258767 w 1354016"/>
                <a:gd name="connsiteY4" fmla="*/ 190500 h 190500"/>
                <a:gd name="connsiteX5" fmla="*/ 1354017 w 1354016"/>
                <a:gd name="connsiteY5" fmla="*/ 95250 h 190500"/>
                <a:gd name="connsiteX6" fmla="*/ 1258767 w 1354016"/>
                <a:gd name="connsiteY6" fmla="*/ 0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54016" h="190500">
                  <a:moveTo>
                    <a:pt x="1258767" y="0"/>
                  </a:moveTo>
                  <a:lnTo>
                    <a:pt x="95250" y="0"/>
                  </a:lnTo>
                  <a:cubicBezTo>
                    <a:pt x="42653" y="0"/>
                    <a:pt x="0" y="42653"/>
                    <a:pt x="0" y="95250"/>
                  </a:cubicBezTo>
                  <a:cubicBezTo>
                    <a:pt x="0" y="147847"/>
                    <a:pt x="42643" y="190500"/>
                    <a:pt x="95250" y="190500"/>
                  </a:cubicBezTo>
                  <a:lnTo>
                    <a:pt x="1258767" y="190500"/>
                  </a:lnTo>
                  <a:cubicBezTo>
                    <a:pt x="1311364" y="190500"/>
                    <a:pt x="1354017" y="147847"/>
                    <a:pt x="1354017" y="95250"/>
                  </a:cubicBezTo>
                  <a:cubicBezTo>
                    <a:pt x="1354017" y="42653"/>
                    <a:pt x="1311364" y="0"/>
                    <a:pt x="1258767" y="0"/>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262626"/>
                </a:solidFill>
                <a:effectLst/>
                <a:uLnTx/>
                <a:uFillTx/>
                <a:latin typeface="阿里巴巴普惠体 B"/>
                <a:ea typeface="阿里巴巴普惠体 R"/>
                <a:cs typeface="+mn-cs"/>
              </a:endParaRPr>
            </a:p>
          </p:txBody>
        </p:sp>
      </p:grpSp>
      <p:grpSp>
        <p:nvGrpSpPr>
          <p:cNvPr id="91" name="图形 31">
            <a:extLst>
              <a:ext uri="{FF2B5EF4-FFF2-40B4-BE49-F238E27FC236}">
                <a16:creationId xmlns:a16="http://schemas.microsoft.com/office/drawing/2014/main" id="{0328247F-1B7B-49E4-9191-E0934B40DE1F}"/>
              </a:ext>
            </a:extLst>
          </p:cNvPr>
          <p:cNvGrpSpPr/>
          <p:nvPr/>
        </p:nvGrpSpPr>
        <p:grpSpPr>
          <a:xfrm>
            <a:off x="5803942" y="3256601"/>
            <a:ext cx="500986" cy="500982"/>
            <a:chOff x="2843212" y="176223"/>
            <a:chExt cx="6505587" cy="6505563"/>
          </a:xfrm>
          <a:solidFill>
            <a:schemeClr val="bg1"/>
          </a:solidFill>
        </p:grpSpPr>
        <p:sp>
          <p:nvSpPr>
            <p:cNvPr id="92" name="任意多边形: 形状 91">
              <a:extLst>
                <a:ext uri="{FF2B5EF4-FFF2-40B4-BE49-F238E27FC236}">
                  <a16:creationId xmlns:a16="http://schemas.microsoft.com/office/drawing/2014/main" id="{7A6DC17F-A376-4A97-9F44-2DD4B94C4F3D}"/>
                </a:ext>
              </a:extLst>
            </p:cNvPr>
            <p:cNvSpPr/>
            <p:nvPr/>
          </p:nvSpPr>
          <p:spPr>
            <a:xfrm>
              <a:off x="2843212" y="176223"/>
              <a:ext cx="6505587" cy="6063721"/>
            </a:xfrm>
            <a:custGeom>
              <a:avLst/>
              <a:gdLst>
                <a:gd name="connsiteX0" fmla="*/ 6422042 w 6505587"/>
                <a:gd name="connsiteY0" fmla="*/ 4372857 h 6063724"/>
                <a:gd name="connsiteX1" fmla="*/ 5444359 w 6505587"/>
                <a:gd name="connsiteY1" fmla="*/ 3395025 h 6063724"/>
                <a:gd name="connsiteX2" fmla="*/ 5865848 w 6505587"/>
                <a:gd name="connsiteY2" fmla="*/ 2319515 h 6063724"/>
                <a:gd name="connsiteX3" fmla="*/ 5529133 w 6505587"/>
                <a:gd name="connsiteY3" fmla="*/ 953747 h 6063724"/>
                <a:gd name="connsiteX4" fmla="*/ 5397158 w 6505587"/>
                <a:gd name="connsiteY4" fmla="*/ 926498 h 6063724"/>
                <a:gd name="connsiteX5" fmla="*/ 5369909 w 6505587"/>
                <a:gd name="connsiteY5" fmla="*/ 1058523 h 6063724"/>
                <a:gd name="connsiteX6" fmla="*/ 5121245 w 6505587"/>
                <a:gd name="connsiteY6" fmla="*/ 3476275 h 6063724"/>
                <a:gd name="connsiteX7" fmla="*/ 2398842 w 6505587"/>
                <a:gd name="connsiteY7" fmla="*/ 3476275 h 6063724"/>
                <a:gd name="connsiteX8" fmla="*/ 2398842 w 6505587"/>
                <a:gd name="connsiteY8" fmla="*/ 753525 h 6063724"/>
                <a:gd name="connsiteX9" fmla="*/ 5120996 w 6505587"/>
                <a:gd name="connsiteY9" fmla="*/ 753277 h 6063724"/>
                <a:gd name="connsiteX10" fmla="*/ 5126208 w 6505587"/>
                <a:gd name="connsiteY10" fmla="*/ 758538 h 6063724"/>
                <a:gd name="connsiteX11" fmla="*/ 5260963 w 6505587"/>
                <a:gd name="connsiteY11" fmla="*/ 758985 h 6063724"/>
                <a:gd name="connsiteX12" fmla="*/ 5261459 w 6505587"/>
                <a:gd name="connsiteY12" fmla="*/ 624229 h 6063724"/>
                <a:gd name="connsiteX13" fmla="*/ 5256000 w 6505587"/>
                <a:gd name="connsiteY13" fmla="*/ 618720 h 6063724"/>
                <a:gd name="connsiteX14" fmla="*/ 2264037 w 6505587"/>
                <a:gd name="connsiteY14" fmla="*/ 618720 h 6063724"/>
                <a:gd name="connsiteX15" fmla="*/ 2188792 w 6505587"/>
                <a:gd name="connsiteY15" fmla="*/ 697935 h 6063724"/>
                <a:gd name="connsiteX16" fmla="*/ 95297 w 6505587"/>
                <a:gd name="connsiteY16" fmla="*/ 697935 h 6063724"/>
                <a:gd name="connsiteX17" fmla="*/ 0 w 6505587"/>
                <a:gd name="connsiteY17" fmla="*/ 793232 h 6063724"/>
                <a:gd name="connsiteX18" fmla="*/ 0 w 6505587"/>
                <a:gd name="connsiteY18" fmla="*/ 1214720 h 6063724"/>
                <a:gd name="connsiteX19" fmla="*/ 95297 w 6505587"/>
                <a:gd name="connsiteY19" fmla="*/ 1310066 h 6063724"/>
                <a:gd name="connsiteX20" fmla="*/ 190593 w 6505587"/>
                <a:gd name="connsiteY20" fmla="*/ 1214720 h 6063724"/>
                <a:gd name="connsiteX21" fmla="*/ 190593 w 6505587"/>
                <a:gd name="connsiteY21" fmla="*/ 888578 h 6063724"/>
                <a:gd name="connsiteX22" fmla="*/ 2035921 w 6505587"/>
                <a:gd name="connsiteY22" fmla="*/ 888578 h 6063724"/>
                <a:gd name="connsiteX23" fmla="*/ 1848008 w 6505587"/>
                <a:gd name="connsiteY23" fmla="*/ 1209211 h 6063724"/>
                <a:gd name="connsiteX24" fmla="*/ 660722 w 6505587"/>
                <a:gd name="connsiteY24" fmla="*/ 1209211 h 6063724"/>
                <a:gd name="connsiteX25" fmla="*/ 565426 w 6505587"/>
                <a:gd name="connsiteY25" fmla="*/ 1304508 h 6063724"/>
                <a:gd name="connsiteX26" fmla="*/ 660722 w 6505587"/>
                <a:gd name="connsiteY26" fmla="*/ 1399804 h 6063724"/>
                <a:gd name="connsiteX27" fmla="*/ 1769140 w 6505587"/>
                <a:gd name="connsiteY27" fmla="*/ 1399804 h 6063724"/>
                <a:gd name="connsiteX28" fmla="*/ 1700745 w 6505587"/>
                <a:gd name="connsiteY28" fmla="*/ 1632784 h 6063724"/>
                <a:gd name="connsiteX29" fmla="*/ 660722 w 6505587"/>
                <a:gd name="connsiteY29" fmla="*/ 1632784 h 6063724"/>
                <a:gd name="connsiteX30" fmla="*/ 565426 w 6505587"/>
                <a:gd name="connsiteY30" fmla="*/ 1728081 h 6063724"/>
                <a:gd name="connsiteX31" fmla="*/ 660722 w 6505587"/>
                <a:gd name="connsiteY31" fmla="*/ 1823377 h 6063724"/>
                <a:gd name="connsiteX32" fmla="*/ 1665505 w 6505587"/>
                <a:gd name="connsiteY32" fmla="*/ 1823377 h 6063724"/>
                <a:gd name="connsiteX33" fmla="*/ 1646297 w 6505587"/>
                <a:gd name="connsiteY33" fmla="*/ 2056308 h 6063724"/>
                <a:gd name="connsiteX34" fmla="*/ 660722 w 6505587"/>
                <a:gd name="connsiteY34" fmla="*/ 2056308 h 6063724"/>
                <a:gd name="connsiteX35" fmla="*/ 565426 w 6505587"/>
                <a:gd name="connsiteY35" fmla="*/ 2151654 h 6063724"/>
                <a:gd name="connsiteX36" fmla="*/ 660722 w 6505587"/>
                <a:gd name="connsiteY36" fmla="*/ 2246950 h 6063724"/>
                <a:gd name="connsiteX37" fmla="*/ 1649622 w 6505587"/>
                <a:gd name="connsiteY37" fmla="*/ 2246950 h 6063724"/>
                <a:gd name="connsiteX38" fmla="*/ 1862948 w 6505587"/>
                <a:gd name="connsiteY38" fmla="*/ 3051858 h 6063724"/>
                <a:gd name="connsiteX39" fmla="*/ 1702681 w 6505587"/>
                <a:gd name="connsiteY39" fmla="*/ 3051858 h 6063724"/>
                <a:gd name="connsiteX40" fmla="*/ 1607384 w 6505587"/>
                <a:gd name="connsiteY40" fmla="*/ 3147205 h 6063724"/>
                <a:gd name="connsiteX41" fmla="*/ 1607384 w 6505587"/>
                <a:gd name="connsiteY41" fmla="*/ 5968378 h 6063724"/>
                <a:gd name="connsiteX42" fmla="*/ 1702681 w 6505587"/>
                <a:gd name="connsiteY42" fmla="*/ 6063725 h 6063724"/>
                <a:gd name="connsiteX43" fmla="*/ 2465053 w 6505587"/>
                <a:gd name="connsiteY43" fmla="*/ 6063725 h 6063724"/>
                <a:gd name="connsiteX44" fmla="*/ 2560349 w 6505587"/>
                <a:gd name="connsiteY44" fmla="*/ 5968378 h 6063724"/>
                <a:gd name="connsiteX45" fmla="*/ 2560349 w 6505587"/>
                <a:gd name="connsiteY45" fmla="*/ 3857908 h 6063724"/>
                <a:gd name="connsiteX46" fmla="*/ 2827180 w 6505587"/>
                <a:gd name="connsiteY46" fmla="*/ 4014155 h 6063724"/>
                <a:gd name="connsiteX47" fmla="*/ 2827180 w 6505587"/>
                <a:gd name="connsiteY47" fmla="*/ 5968378 h 6063724"/>
                <a:gd name="connsiteX48" fmla="*/ 2922476 w 6505587"/>
                <a:gd name="connsiteY48" fmla="*/ 6063725 h 6063724"/>
                <a:gd name="connsiteX49" fmla="*/ 3684848 w 6505587"/>
                <a:gd name="connsiteY49" fmla="*/ 6063725 h 6063724"/>
                <a:gd name="connsiteX50" fmla="*/ 3780145 w 6505587"/>
                <a:gd name="connsiteY50" fmla="*/ 5968378 h 6063724"/>
                <a:gd name="connsiteX51" fmla="*/ 3780145 w 6505587"/>
                <a:gd name="connsiteY51" fmla="*/ 4229614 h 6063724"/>
                <a:gd name="connsiteX52" fmla="*/ 4002553 w 6505587"/>
                <a:gd name="connsiteY52" fmla="*/ 4215915 h 6063724"/>
                <a:gd name="connsiteX53" fmla="*/ 4002553 w 6505587"/>
                <a:gd name="connsiteY53" fmla="*/ 5687998 h 6063724"/>
                <a:gd name="connsiteX54" fmla="*/ 4097849 w 6505587"/>
                <a:gd name="connsiteY54" fmla="*/ 5783344 h 6063724"/>
                <a:gd name="connsiteX55" fmla="*/ 4193146 w 6505587"/>
                <a:gd name="connsiteY55" fmla="*/ 5687998 h 6063724"/>
                <a:gd name="connsiteX56" fmla="*/ 4193146 w 6505587"/>
                <a:gd name="connsiteY56" fmla="*/ 4185242 h 6063724"/>
                <a:gd name="connsiteX57" fmla="*/ 5040094 w 6505587"/>
                <a:gd name="connsiteY57" fmla="*/ 3799539 h 6063724"/>
                <a:gd name="connsiteX58" fmla="*/ 6017578 w 6505587"/>
                <a:gd name="connsiteY58" fmla="*/ 4777172 h 6063724"/>
                <a:gd name="connsiteX59" fmla="*/ 6219785 w 6505587"/>
                <a:gd name="connsiteY59" fmla="*/ 4860954 h 6063724"/>
                <a:gd name="connsiteX60" fmla="*/ 6421992 w 6505587"/>
                <a:gd name="connsiteY60" fmla="*/ 4777172 h 6063724"/>
                <a:gd name="connsiteX61" fmla="*/ 6422042 w 6505587"/>
                <a:gd name="connsiteY61" fmla="*/ 4372857 h 6063724"/>
                <a:gd name="connsiteX62" fmla="*/ 2369756 w 6505587"/>
                <a:gd name="connsiteY62" fmla="*/ 5873082 h 6063724"/>
                <a:gd name="connsiteX63" fmla="*/ 1797977 w 6505587"/>
                <a:gd name="connsiteY63" fmla="*/ 5873082 h 6063724"/>
                <a:gd name="connsiteX64" fmla="*/ 1797977 w 6505587"/>
                <a:gd name="connsiteY64" fmla="*/ 3242501 h 6063724"/>
                <a:gd name="connsiteX65" fmla="*/ 1969660 w 6505587"/>
                <a:gd name="connsiteY65" fmla="*/ 3242501 h 6063724"/>
                <a:gd name="connsiteX66" fmla="*/ 2264037 w 6505587"/>
                <a:gd name="connsiteY66" fmla="*/ 3611080 h 6063724"/>
                <a:gd name="connsiteX67" fmla="*/ 2369756 w 6505587"/>
                <a:gd name="connsiteY67" fmla="*/ 3709702 h 6063724"/>
                <a:gd name="connsiteX68" fmla="*/ 3017822 w 6505587"/>
                <a:gd name="connsiteY68" fmla="*/ 5873082 h 6063724"/>
                <a:gd name="connsiteX69" fmla="*/ 3017822 w 6505587"/>
                <a:gd name="connsiteY69" fmla="*/ 4096149 h 6063724"/>
                <a:gd name="connsiteX70" fmla="*/ 3589601 w 6505587"/>
                <a:gd name="connsiteY70" fmla="*/ 4222864 h 6063724"/>
                <a:gd name="connsiteX71" fmla="*/ 3589601 w 6505587"/>
                <a:gd name="connsiteY71" fmla="*/ 5873082 h 6063724"/>
                <a:gd name="connsiteX72" fmla="*/ 6287287 w 6505587"/>
                <a:gd name="connsiteY72" fmla="*/ 4642367 h 6063724"/>
                <a:gd name="connsiteX73" fmla="*/ 6219835 w 6505587"/>
                <a:gd name="connsiteY73" fmla="*/ 4670311 h 6063724"/>
                <a:gd name="connsiteX74" fmla="*/ 6152432 w 6505587"/>
                <a:gd name="connsiteY74" fmla="*/ 4642367 h 6063724"/>
                <a:gd name="connsiteX75" fmla="*/ 5187009 w 6505587"/>
                <a:gd name="connsiteY75" fmla="*/ 3676894 h 6063724"/>
                <a:gd name="connsiteX76" fmla="*/ 5256000 w 6505587"/>
                <a:gd name="connsiteY76" fmla="*/ 3611080 h 6063724"/>
                <a:gd name="connsiteX77" fmla="*/ 5321864 w 6505587"/>
                <a:gd name="connsiteY77" fmla="*/ 3542089 h 6063724"/>
                <a:gd name="connsiteX78" fmla="*/ 6287187 w 6505587"/>
                <a:gd name="connsiteY78" fmla="*/ 4507612 h 6063724"/>
                <a:gd name="connsiteX79" fmla="*/ 6287287 w 6505587"/>
                <a:gd name="connsiteY79" fmla="*/ 4642367 h 60637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6505587" h="6063724">
                  <a:moveTo>
                    <a:pt x="6422042" y="4372857"/>
                  </a:moveTo>
                  <a:lnTo>
                    <a:pt x="5444359" y="3395025"/>
                  </a:lnTo>
                  <a:cubicBezTo>
                    <a:pt x="5680566" y="3083773"/>
                    <a:pt x="5828027" y="2710677"/>
                    <a:pt x="5865848" y="2319515"/>
                  </a:cubicBezTo>
                  <a:cubicBezTo>
                    <a:pt x="5912156" y="1839458"/>
                    <a:pt x="5792589" y="1354439"/>
                    <a:pt x="5529133" y="953747"/>
                  </a:cubicBezTo>
                  <a:cubicBezTo>
                    <a:pt x="5500197" y="909771"/>
                    <a:pt x="5441083" y="897562"/>
                    <a:pt x="5397158" y="926498"/>
                  </a:cubicBezTo>
                  <a:cubicBezTo>
                    <a:pt x="5353182" y="955434"/>
                    <a:pt x="5340972" y="1014548"/>
                    <a:pt x="5369909" y="1058523"/>
                  </a:cubicBezTo>
                  <a:cubicBezTo>
                    <a:pt x="5868478" y="1816726"/>
                    <a:pt x="5763900" y="2833570"/>
                    <a:pt x="5121245" y="3476275"/>
                  </a:cubicBezTo>
                  <a:cubicBezTo>
                    <a:pt x="4370636" y="4226934"/>
                    <a:pt x="3149401" y="4226934"/>
                    <a:pt x="2398842" y="3476275"/>
                  </a:cubicBezTo>
                  <a:cubicBezTo>
                    <a:pt x="1648233" y="2725617"/>
                    <a:pt x="1648233" y="1504183"/>
                    <a:pt x="2398842" y="753525"/>
                  </a:cubicBezTo>
                  <a:cubicBezTo>
                    <a:pt x="3149401" y="2866"/>
                    <a:pt x="4370685" y="2866"/>
                    <a:pt x="5120996" y="753277"/>
                  </a:cubicBezTo>
                  <a:lnTo>
                    <a:pt x="5126208" y="758538"/>
                  </a:lnTo>
                  <a:cubicBezTo>
                    <a:pt x="5163334" y="795862"/>
                    <a:pt x="5223639" y="796111"/>
                    <a:pt x="5260963" y="758985"/>
                  </a:cubicBezTo>
                  <a:cubicBezTo>
                    <a:pt x="5298337" y="721908"/>
                    <a:pt x="5298536" y="661554"/>
                    <a:pt x="5261459" y="624229"/>
                  </a:cubicBezTo>
                  <a:lnTo>
                    <a:pt x="5256000" y="618720"/>
                  </a:lnTo>
                  <a:cubicBezTo>
                    <a:pt x="4431089" y="-206240"/>
                    <a:pt x="3088947" y="-206240"/>
                    <a:pt x="2264037" y="618720"/>
                  </a:cubicBezTo>
                  <a:cubicBezTo>
                    <a:pt x="2238128" y="644629"/>
                    <a:pt x="2213063" y="671034"/>
                    <a:pt x="2188792" y="697935"/>
                  </a:cubicBezTo>
                  <a:lnTo>
                    <a:pt x="95297" y="697935"/>
                  </a:lnTo>
                  <a:cubicBezTo>
                    <a:pt x="42685" y="697935"/>
                    <a:pt x="0" y="740620"/>
                    <a:pt x="0" y="793232"/>
                  </a:cubicBezTo>
                  <a:lnTo>
                    <a:pt x="0" y="1214720"/>
                  </a:lnTo>
                  <a:cubicBezTo>
                    <a:pt x="0" y="1267382"/>
                    <a:pt x="42685" y="1310066"/>
                    <a:pt x="95297" y="1310066"/>
                  </a:cubicBezTo>
                  <a:cubicBezTo>
                    <a:pt x="147958" y="1310066"/>
                    <a:pt x="190593" y="1267382"/>
                    <a:pt x="190593" y="1214720"/>
                  </a:cubicBezTo>
                  <a:lnTo>
                    <a:pt x="190593" y="888578"/>
                  </a:lnTo>
                  <a:lnTo>
                    <a:pt x="2035921" y="888578"/>
                  </a:lnTo>
                  <a:cubicBezTo>
                    <a:pt x="1963108" y="990873"/>
                    <a:pt x="1900471" y="1098181"/>
                    <a:pt x="1848008" y="1209211"/>
                  </a:cubicBezTo>
                  <a:lnTo>
                    <a:pt x="660722" y="1209211"/>
                  </a:lnTo>
                  <a:cubicBezTo>
                    <a:pt x="608111" y="1209211"/>
                    <a:pt x="565426" y="1251846"/>
                    <a:pt x="565426" y="1304508"/>
                  </a:cubicBezTo>
                  <a:cubicBezTo>
                    <a:pt x="565426" y="1357169"/>
                    <a:pt x="608111" y="1399804"/>
                    <a:pt x="660722" y="1399804"/>
                  </a:cubicBezTo>
                  <a:lnTo>
                    <a:pt x="1769140" y="1399804"/>
                  </a:lnTo>
                  <a:cubicBezTo>
                    <a:pt x="1741792" y="1476339"/>
                    <a:pt x="1719010" y="1554115"/>
                    <a:pt x="1700745" y="1632784"/>
                  </a:cubicBezTo>
                  <a:lnTo>
                    <a:pt x="660722" y="1632784"/>
                  </a:lnTo>
                  <a:cubicBezTo>
                    <a:pt x="608111" y="1632784"/>
                    <a:pt x="565426" y="1675419"/>
                    <a:pt x="565426" y="1728081"/>
                  </a:cubicBezTo>
                  <a:cubicBezTo>
                    <a:pt x="565426" y="1780692"/>
                    <a:pt x="608111" y="1823377"/>
                    <a:pt x="660722" y="1823377"/>
                  </a:cubicBezTo>
                  <a:lnTo>
                    <a:pt x="1665505" y="1823377"/>
                  </a:lnTo>
                  <a:cubicBezTo>
                    <a:pt x="1654834" y="1900657"/>
                    <a:pt x="1648431" y="1978433"/>
                    <a:pt x="1646297" y="2056308"/>
                  </a:cubicBezTo>
                  <a:lnTo>
                    <a:pt x="660722" y="2056308"/>
                  </a:lnTo>
                  <a:cubicBezTo>
                    <a:pt x="608111" y="2056308"/>
                    <a:pt x="565426" y="2098993"/>
                    <a:pt x="565426" y="2151654"/>
                  </a:cubicBezTo>
                  <a:cubicBezTo>
                    <a:pt x="565426" y="2204265"/>
                    <a:pt x="608111" y="2246950"/>
                    <a:pt x="660722" y="2246950"/>
                  </a:cubicBezTo>
                  <a:lnTo>
                    <a:pt x="1649622" y="2246950"/>
                  </a:lnTo>
                  <a:cubicBezTo>
                    <a:pt x="1666796" y="2523807"/>
                    <a:pt x="1737821" y="2797883"/>
                    <a:pt x="1862948" y="3051858"/>
                  </a:cubicBezTo>
                  <a:lnTo>
                    <a:pt x="1702681" y="3051858"/>
                  </a:lnTo>
                  <a:cubicBezTo>
                    <a:pt x="1650019" y="3051858"/>
                    <a:pt x="1607384" y="3094543"/>
                    <a:pt x="1607384" y="3147205"/>
                  </a:cubicBezTo>
                  <a:lnTo>
                    <a:pt x="1607384" y="5968378"/>
                  </a:lnTo>
                  <a:cubicBezTo>
                    <a:pt x="1607384" y="6021040"/>
                    <a:pt x="1650019" y="6063725"/>
                    <a:pt x="1702681" y="6063725"/>
                  </a:cubicBezTo>
                  <a:lnTo>
                    <a:pt x="2465053" y="6063725"/>
                  </a:lnTo>
                  <a:cubicBezTo>
                    <a:pt x="2517714" y="6063725"/>
                    <a:pt x="2560349" y="6021040"/>
                    <a:pt x="2560349" y="5968378"/>
                  </a:cubicBezTo>
                  <a:lnTo>
                    <a:pt x="2560349" y="3857908"/>
                  </a:lnTo>
                  <a:cubicBezTo>
                    <a:pt x="2646166" y="3917022"/>
                    <a:pt x="2735357" y="3969137"/>
                    <a:pt x="2827180" y="4014155"/>
                  </a:cubicBezTo>
                  <a:lnTo>
                    <a:pt x="2827180" y="5968378"/>
                  </a:lnTo>
                  <a:cubicBezTo>
                    <a:pt x="2827180" y="6021040"/>
                    <a:pt x="2869864" y="6063725"/>
                    <a:pt x="2922476" y="6063725"/>
                  </a:cubicBezTo>
                  <a:lnTo>
                    <a:pt x="3684848" y="6063725"/>
                  </a:lnTo>
                  <a:cubicBezTo>
                    <a:pt x="3737509" y="6063725"/>
                    <a:pt x="3780145" y="6021040"/>
                    <a:pt x="3780145" y="5968378"/>
                  </a:cubicBezTo>
                  <a:lnTo>
                    <a:pt x="3780145" y="4229614"/>
                  </a:lnTo>
                  <a:cubicBezTo>
                    <a:pt x="3854446" y="4228870"/>
                    <a:pt x="3928648" y="4224353"/>
                    <a:pt x="4002553" y="4215915"/>
                  </a:cubicBezTo>
                  <a:lnTo>
                    <a:pt x="4002553" y="5687998"/>
                  </a:lnTo>
                  <a:cubicBezTo>
                    <a:pt x="4002553" y="5740659"/>
                    <a:pt x="4045188" y="5783344"/>
                    <a:pt x="4097849" y="5783344"/>
                  </a:cubicBezTo>
                  <a:cubicBezTo>
                    <a:pt x="4150461" y="5783344"/>
                    <a:pt x="4193146" y="5740659"/>
                    <a:pt x="4193146" y="5687998"/>
                  </a:cubicBezTo>
                  <a:lnTo>
                    <a:pt x="4193146" y="4185242"/>
                  </a:lnTo>
                  <a:cubicBezTo>
                    <a:pt x="4494372" y="4122703"/>
                    <a:pt x="4784481" y="3994152"/>
                    <a:pt x="5040094" y="3799539"/>
                  </a:cubicBezTo>
                  <a:lnTo>
                    <a:pt x="6017578" y="4777172"/>
                  </a:lnTo>
                  <a:cubicBezTo>
                    <a:pt x="6071629" y="4831173"/>
                    <a:pt x="6143449" y="4860954"/>
                    <a:pt x="6219785" y="4860954"/>
                  </a:cubicBezTo>
                  <a:cubicBezTo>
                    <a:pt x="6296171" y="4860954"/>
                    <a:pt x="6367991" y="4831173"/>
                    <a:pt x="6421992" y="4777172"/>
                  </a:cubicBezTo>
                  <a:cubicBezTo>
                    <a:pt x="6533420" y="4665794"/>
                    <a:pt x="6533469" y="4484433"/>
                    <a:pt x="6422042" y="4372857"/>
                  </a:cubicBezTo>
                  <a:close/>
                  <a:moveTo>
                    <a:pt x="2369756" y="5873082"/>
                  </a:moveTo>
                  <a:lnTo>
                    <a:pt x="1797977" y="5873082"/>
                  </a:lnTo>
                  <a:lnTo>
                    <a:pt x="1797977" y="3242501"/>
                  </a:lnTo>
                  <a:lnTo>
                    <a:pt x="1969660" y="3242501"/>
                  </a:lnTo>
                  <a:cubicBezTo>
                    <a:pt x="2052101" y="3373385"/>
                    <a:pt x="2150177" y="3497171"/>
                    <a:pt x="2264037" y="3611080"/>
                  </a:cubicBezTo>
                  <a:cubicBezTo>
                    <a:pt x="2298383" y="3645427"/>
                    <a:pt x="2333722" y="3678234"/>
                    <a:pt x="2369756" y="3709702"/>
                  </a:cubicBezTo>
                  <a:close/>
                  <a:moveTo>
                    <a:pt x="3017822" y="5873082"/>
                  </a:moveTo>
                  <a:lnTo>
                    <a:pt x="3017822" y="4096149"/>
                  </a:lnTo>
                  <a:cubicBezTo>
                    <a:pt x="3202658" y="4165090"/>
                    <a:pt x="3395236" y="4207279"/>
                    <a:pt x="3589601" y="4222864"/>
                  </a:cubicBezTo>
                  <a:lnTo>
                    <a:pt x="3589601" y="5873082"/>
                  </a:lnTo>
                  <a:close/>
                  <a:moveTo>
                    <a:pt x="6287287" y="4642367"/>
                  </a:moveTo>
                  <a:cubicBezTo>
                    <a:pt x="6269270" y="4660384"/>
                    <a:pt x="6245297" y="4670311"/>
                    <a:pt x="6219835" y="4670311"/>
                  </a:cubicBezTo>
                  <a:cubicBezTo>
                    <a:pt x="6194373" y="4670311"/>
                    <a:pt x="6170400" y="4660384"/>
                    <a:pt x="6152432" y="4642367"/>
                  </a:cubicBezTo>
                  <a:lnTo>
                    <a:pt x="5187009" y="3676894"/>
                  </a:lnTo>
                  <a:cubicBezTo>
                    <a:pt x="5210387" y="3655502"/>
                    <a:pt x="5233416" y="3633663"/>
                    <a:pt x="5256000" y="3611080"/>
                  </a:cubicBezTo>
                  <a:cubicBezTo>
                    <a:pt x="5278533" y="3588547"/>
                    <a:pt x="5300471" y="3565566"/>
                    <a:pt x="5321864" y="3542089"/>
                  </a:cubicBezTo>
                  <a:lnTo>
                    <a:pt x="6287187" y="4507612"/>
                  </a:lnTo>
                  <a:cubicBezTo>
                    <a:pt x="6324363" y="4544788"/>
                    <a:pt x="6324413" y="4605291"/>
                    <a:pt x="6287287" y="4642367"/>
                  </a:cubicBezTo>
                  <a:close/>
                </a:path>
              </a:pathLst>
            </a:custGeom>
            <a:grpFill/>
            <a:ln w="127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262626"/>
                </a:solidFill>
                <a:effectLst/>
                <a:uLnTx/>
                <a:uFillTx/>
                <a:latin typeface="阿里巴巴普惠体 B"/>
                <a:ea typeface="阿里巴巴普惠体 R"/>
                <a:cs typeface="+mn-cs"/>
              </a:endParaRPr>
            </a:p>
          </p:txBody>
        </p:sp>
        <p:sp>
          <p:nvSpPr>
            <p:cNvPr id="93" name="任意多边形: 形状 92">
              <a:extLst>
                <a:ext uri="{FF2B5EF4-FFF2-40B4-BE49-F238E27FC236}">
                  <a16:creationId xmlns:a16="http://schemas.microsoft.com/office/drawing/2014/main" id="{9A8F0FF5-4626-4663-BC2E-CD08B70C91D2}"/>
                </a:ext>
              </a:extLst>
            </p:cNvPr>
            <p:cNvSpPr/>
            <p:nvPr/>
          </p:nvSpPr>
          <p:spPr>
            <a:xfrm>
              <a:off x="2843212" y="1708703"/>
              <a:ext cx="4193146" cy="4973083"/>
            </a:xfrm>
            <a:custGeom>
              <a:avLst/>
              <a:gdLst>
                <a:gd name="connsiteX0" fmla="*/ 4097849 w 4193145"/>
                <a:gd name="connsiteY0" fmla="*/ 4471144 h 4973088"/>
                <a:gd name="connsiteX1" fmla="*/ 4002553 w 4193145"/>
                <a:gd name="connsiteY1" fmla="*/ 4566440 h 4973088"/>
                <a:gd name="connsiteX2" fmla="*/ 4002553 w 4193145"/>
                <a:gd name="connsiteY2" fmla="*/ 4782495 h 4973088"/>
                <a:gd name="connsiteX3" fmla="*/ 190593 w 4193145"/>
                <a:gd name="connsiteY3" fmla="*/ 4782495 h 4973088"/>
                <a:gd name="connsiteX4" fmla="*/ 190593 w 4193145"/>
                <a:gd name="connsiteY4" fmla="*/ 95297 h 4973088"/>
                <a:gd name="connsiteX5" fmla="*/ 95297 w 4193145"/>
                <a:gd name="connsiteY5" fmla="*/ 0 h 4973088"/>
                <a:gd name="connsiteX6" fmla="*/ 0 w 4193145"/>
                <a:gd name="connsiteY6" fmla="*/ 95297 h 4973088"/>
                <a:gd name="connsiteX7" fmla="*/ 0 w 4193145"/>
                <a:gd name="connsiteY7" fmla="*/ 4877792 h 4973088"/>
                <a:gd name="connsiteX8" fmla="*/ 95297 w 4193145"/>
                <a:gd name="connsiteY8" fmla="*/ 4973088 h 4973088"/>
                <a:gd name="connsiteX9" fmla="*/ 4097849 w 4193145"/>
                <a:gd name="connsiteY9" fmla="*/ 4973088 h 4973088"/>
                <a:gd name="connsiteX10" fmla="*/ 4193146 w 4193145"/>
                <a:gd name="connsiteY10" fmla="*/ 4877792 h 4973088"/>
                <a:gd name="connsiteX11" fmla="*/ 4193146 w 4193145"/>
                <a:gd name="connsiteY11" fmla="*/ 4566440 h 4973088"/>
                <a:gd name="connsiteX12" fmla="*/ 4097849 w 4193145"/>
                <a:gd name="connsiteY12" fmla="*/ 4471144 h 4973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193145" h="4973088">
                  <a:moveTo>
                    <a:pt x="4097849" y="4471144"/>
                  </a:moveTo>
                  <a:cubicBezTo>
                    <a:pt x="4045238" y="4471144"/>
                    <a:pt x="4002553" y="4513779"/>
                    <a:pt x="4002553" y="4566440"/>
                  </a:cubicBezTo>
                  <a:lnTo>
                    <a:pt x="4002553" y="4782495"/>
                  </a:lnTo>
                  <a:lnTo>
                    <a:pt x="190593" y="4782495"/>
                  </a:lnTo>
                  <a:lnTo>
                    <a:pt x="190593" y="95297"/>
                  </a:lnTo>
                  <a:cubicBezTo>
                    <a:pt x="190593" y="42635"/>
                    <a:pt x="147958" y="0"/>
                    <a:pt x="95297" y="0"/>
                  </a:cubicBezTo>
                  <a:cubicBezTo>
                    <a:pt x="42685" y="0"/>
                    <a:pt x="0" y="42635"/>
                    <a:pt x="0" y="95297"/>
                  </a:cubicBezTo>
                  <a:lnTo>
                    <a:pt x="0" y="4877792"/>
                  </a:lnTo>
                  <a:cubicBezTo>
                    <a:pt x="0" y="4930453"/>
                    <a:pt x="42685" y="4973088"/>
                    <a:pt x="95297" y="4973088"/>
                  </a:cubicBezTo>
                  <a:lnTo>
                    <a:pt x="4097849" y="4973088"/>
                  </a:lnTo>
                  <a:cubicBezTo>
                    <a:pt x="4150511" y="4973088"/>
                    <a:pt x="4193146" y="4930453"/>
                    <a:pt x="4193146" y="4877792"/>
                  </a:cubicBezTo>
                  <a:lnTo>
                    <a:pt x="4193146" y="4566440"/>
                  </a:lnTo>
                  <a:cubicBezTo>
                    <a:pt x="4193146" y="4513779"/>
                    <a:pt x="4150511" y="4471144"/>
                    <a:pt x="4097849" y="4471144"/>
                  </a:cubicBezTo>
                  <a:close/>
                </a:path>
              </a:pathLst>
            </a:custGeom>
            <a:grpFill/>
            <a:ln w="127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262626"/>
                </a:solidFill>
                <a:effectLst/>
                <a:uLnTx/>
                <a:uFillTx/>
                <a:latin typeface="阿里巴巴普惠体 B"/>
                <a:ea typeface="阿里巴巴普惠体 R"/>
                <a:cs typeface="+mn-cs"/>
              </a:endParaRPr>
            </a:p>
          </p:txBody>
        </p:sp>
        <p:sp>
          <p:nvSpPr>
            <p:cNvPr id="94" name="任意多边形: 形状 93">
              <a:extLst>
                <a:ext uri="{FF2B5EF4-FFF2-40B4-BE49-F238E27FC236}">
                  <a16:creationId xmlns:a16="http://schemas.microsoft.com/office/drawing/2014/main" id="{DFDF5ADE-E7E9-48EA-888C-932148939137}"/>
                </a:ext>
              </a:extLst>
            </p:cNvPr>
            <p:cNvSpPr/>
            <p:nvPr/>
          </p:nvSpPr>
          <p:spPr>
            <a:xfrm>
              <a:off x="3256166" y="3990556"/>
              <a:ext cx="953009" cy="2249342"/>
            </a:xfrm>
            <a:custGeom>
              <a:avLst/>
              <a:gdLst>
                <a:gd name="connsiteX0" fmla="*/ 0 w 953014"/>
                <a:gd name="connsiteY0" fmla="*/ 95297 h 2249345"/>
                <a:gd name="connsiteX1" fmla="*/ 0 w 953014"/>
                <a:gd name="connsiteY1" fmla="*/ 2154049 h 2249345"/>
                <a:gd name="connsiteX2" fmla="*/ 95297 w 953014"/>
                <a:gd name="connsiteY2" fmla="*/ 2249345 h 2249345"/>
                <a:gd name="connsiteX3" fmla="*/ 857718 w 953014"/>
                <a:gd name="connsiteY3" fmla="*/ 2249345 h 2249345"/>
                <a:gd name="connsiteX4" fmla="*/ 953015 w 953014"/>
                <a:gd name="connsiteY4" fmla="*/ 2154049 h 2249345"/>
                <a:gd name="connsiteX5" fmla="*/ 953015 w 953014"/>
                <a:gd name="connsiteY5" fmla="*/ 95297 h 2249345"/>
                <a:gd name="connsiteX6" fmla="*/ 857718 w 953014"/>
                <a:gd name="connsiteY6" fmla="*/ 0 h 2249345"/>
                <a:gd name="connsiteX7" fmla="*/ 95297 w 953014"/>
                <a:gd name="connsiteY7" fmla="*/ 0 h 2249345"/>
                <a:gd name="connsiteX8" fmla="*/ 0 w 953014"/>
                <a:gd name="connsiteY8" fmla="*/ 95297 h 2249345"/>
                <a:gd name="connsiteX9" fmla="*/ 190593 w 953014"/>
                <a:gd name="connsiteY9" fmla="*/ 190643 h 2249345"/>
                <a:gd name="connsiteX10" fmla="*/ 762422 w 953014"/>
                <a:gd name="connsiteY10" fmla="*/ 190643 h 2249345"/>
                <a:gd name="connsiteX11" fmla="*/ 762422 w 953014"/>
                <a:gd name="connsiteY11" fmla="*/ 2058702 h 2249345"/>
                <a:gd name="connsiteX12" fmla="*/ 190593 w 953014"/>
                <a:gd name="connsiteY12" fmla="*/ 2058702 h 22493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53014" h="2249345">
                  <a:moveTo>
                    <a:pt x="0" y="95297"/>
                  </a:moveTo>
                  <a:lnTo>
                    <a:pt x="0" y="2154049"/>
                  </a:lnTo>
                  <a:cubicBezTo>
                    <a:pt x="0" y="2206660"/>
                    <a:pt x="42685" y="2249345"/>
                    <a:pt x="95297" y="2249345"/>
                  </a:cubicBezTo>
                  <a:lnTo>
                    <a:pt x="857718" y="2249345"/>
                  </a:lnTo>
                  <a:cubicBezTo>
                    <a:pt x="910330" y="2249345"/>
                    <a:pt x="953015" y="2206660"/>
                    <a:pt x="953015" y="2154049"/>
                  </a:cubicBezTo>
                  <a:lnTo>
                    <a:pt x="953015" y="95297"/>
                  </a:lnTo>
                  <a:cubicBezTo>
                    <a:pt x="953015" y="42685"/>
                    <a:pt x="910330" y="0"/>
                    <a:pt x="857718" y="0"/>
                  </a:cubicBezTo>
                  <a:lnTo>
                    <a:pt x="95297" y="0"/>
                  </a:lnTo>
                  <a:cubicBezTo>
                    <a:pt x="42685" y="0"/>
                    <a:pt x="0" y="42685"/>
                    <a:pt x="0" y="95297"/>
                  </a:cubicBezTo>
                  <a:close/>
                  <a:moveTo>
                    <a:pt x="190593" y="190643"/>
                  </a:moveTo>
                  <a:lnTo>
                    <a:pt x="762422" y="190643"/>
                  </a:lnTo>
                  <a:lnTo>
                    <a:pt x="762422" y="2058702"/>
                  </a:lnTo>
                  <a:lnTo>
                    <a:pt x="190593" y="2058702"/>
                  </a:lnTo>
                  <a:close/>
                </a:path>
              </a:pathLst>
            </a:custGeom>
            <a:grpFill/>
            <a:ln w="127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262626"/>
                </a:solidFill>
                <a:effectLst/>
                <a:uLnTx/>
                <a:uFillTx/>
                <a:latin typeface="阿里巴巴普惠体 B"/>
                <a:ea typeface="阿里巴巴普惠体 R"/>
                <a:cs typeface="+mn-cs"/>
              </a:endParaRPr>
            </a:p>
          </p:txBody>
        </p:sp>
        <p:sp>
          <p:nvSpPr>
            <p:cNvPr id="95" name="任意多边形: 形状 94">
              <a:extLst>
                <a:ext uri="{FF2B5EF4-FFF2-40B4-BE49-F238E27FC236}">
                  <a16:creationId xmlns:a16="http://schemas.microsoft.com/office/drawing/2014/main" id="{8CFAC171-D8A3-4257-84B5-25C4EB912FBA}"/>
                </a:ext>
              </a:extLst>
            </p:cNvPr>
            <p:cNvSpPr/>
            <p:nvPr/>
          </p:nvSpPr>
          <p:spPr>
            <a:xfrm>
              <a:off x="3408635" y="2656199"/>
              <a:ext cx="903178" cy="190640"/>
            </a:xfrm>
            <a:custGeom>
              <a:avLst/>
              <a:gdLst>
                <a:gd name="connsiteX0" fmla="*/ 807886 w 903182"/>
                <a:gd name="connsiteY0" fmla="*/ 190643 h 190642"/>
                <a:gd name="connsiteX1" fmla="*/ 903183 w 903182"/>
                <a:gd name="connsiteY1" fmla="*/ 95297 h 190642"/>
                <a:gd name="connsiteX2" fmla="*/ 807886 w 903182"/>
                <a:gd name="connsiteY2" fmla="*/ 0 h 190642"/>
                <a:gd name="connsiteX3" fmla="*/ 95297 w 903182"/>
                <a:gd name="connsiteY3" fmla="*/ 0 h 190642"/>
                <a:gd name="connsiteX4" fmla="*/ 0 w 903182"/>
                <a:gd name="connsiteY4" fmla="*/ 95297 h 190642"/>
                <a:gd name="connsiteX5" fmla="*/ 95297 w 903182"/>
                <a:gd name="connsiteY5" fmla="*/ 190643 h 1906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03182" h="190642">
                  <a:moveTo>
                    <a:pt x="807886" y="190643"/>
                  </a:moveTo>
                  <a:cubicBezTo>
                    <a:pt x="860547" y="190643"/>
                    <a:pt x="903183" y="147958"/>
                    <a:pt x="903183" y="95297"/>
                  </a:cubicBezTo>
                  <a:cubicBezTo>
                    <a:pt x="903183" y="42685"/>
                    <a:pt x="860547" y="0"/>
                    <a:pt x="807886" y="0"/>
                  </a:cubicBezTo>
                  <a:lnTo>
                    <a:pt x="95297" y="0"/>
                  </a:lnTo>
                  <a:cubicBezTo>
                    <a:pt x="42685" y="0"/>
                    <a:pt x="0" y="42685"/>
                    <a:pt x="0" y="95297"/>
                  </a:cubicBezTo>
                  <a:cubicBezTo>
                    <a:pt x="0" y="147958"/>
                    <a:pt x="42685" y="190643"/>
                    <a:pt x="95297" y="190643"/>
                  </a:cubicBezTo>
                  <a:close/>
                </a:path>
              </a:pathLst>
            </a:custGeom>
            <a:grpFill/>
            <a:ln w="127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262626"/>
                </a:solidFill>
                <a:effectLst/>
                <a:uLnTx/>
                <a:uFillTx/>
                <a:latin typeface="阿里巴巴普惠体 B"/>
                <a:ea typeface="阿里巴巴普惠体 R"/>
                <a:cs typeface="+mn-cs"/>
              </a:endParaRPr>
            </a:p>
          </p:txBody>
        </p:sp>
        <p:sp>
          <p:nvSpPr>
            <p:cNvPr id="96" name="任意多边形: 形状 95">
              <a:extLst>
                <a:ext uri="{FF2B5EF4-FFF2-40B4-BE49-F238E27FC236}">
                  <a16:creationId xmlns:a16="http://schemas.microsoft.com/office/drawing/2014/main" id="{B829F2C6-317E-47C9-BDCF-518B0A98F171}"/>
                </a:ext>
              </a:extLst>
            </p:cNvPr>
            <p:cNvSpPr/>
            <p:nvPr/>
          </p:nvSpPr>
          <p:spPr>
            <a:xfrm>
              <a:off x="4869550" y="557243"/>
              <a:ext cx="3467353" cy="3467805"/>
            </a:xfrm>
            <a:custGeom>
              <a:avLst/>
              <a:gdLst>
                <a:gd name="connsiteX0" fmla="*/ 1733702 w 3467353"/>
                <a:gd name="connsiteY0" fmla="*/ 0 h 3467800"/>
                <a:gd name="connsiteX1" fmla="*/ 507255 w 3467353"/>
                <a:gd name="connsiteY1" fmla="*/ 507305 h 3467800"/>
                <a:gd name="connsiteX2" fmla="*/ 0 w 3467353"/>
                <a:gd name="connsiteY2" fmla="*/ 1733900 h 3467800"/>
                <a:gd name="connsiteX3" fmla="*/ 507255 w 3467353"/>
                <a:gd name="connsiteY3" fmla="*/ 2960495 h 3467800"/>
                <a:gd name="connsiteX4" fmla="*/ 1733702 w 3467353"/>
                <a:gd name="connsiteY4" fmla="*/ 3467800 h 3467800"/>
                <a:gd name="connsiteX5" fmla="*/ 2960148 w 3467353"/>
                <a:gd name="connsiteY5" fmla="*/ 2960495 h 3467800"/>
                <a:gd name="connsiteX6" fmla="*/ 3467354 w 3467353"/>
                <a:gd name="connsiteY6" fmla="*/ 1733900 h 3467800"/>
                <a:gd name="connsiteX7" fmla="*/ 2960148 w 3467353"/>
                <a:gd name="connsiteY7" fmla="*/ 507305 h 3467800"/>
                <a:gd name="connsiteX8" fmla="*/ 1733702 w 3467353"/>
                <a:gd name="connsiteY8" fmla="*/ 0 h 3467800"/>
                <a:gd name="connsiteX9" fmla="*/ 2825343 w 3467353"/>
                <a:gd name="connsiteY9" fmla="*/ 2825691 h 3467800"/>
                <a:gd name="connsiteX10" fmla="*/ 1733702 w 3467353"/>
                <a:gd name="connsiteY10" fmla="*/ 3277158 h 3467800"/>
                <a:gd name="connsiteX11" fmla="*/ 642060 w 3467353"/>
                <a:gd name="connsiteY11" fmla="*/ 2825691 h 3467800"/>
                <a:gd name="connsiteX12" fmla="*/ 190593 w 3467353"/>
                <a:gd name="connsiteY12" fmla="*/ 1733900 h 3467800"/>
                <a:gd name="connsiteX13" fmla="*/ 642060 w 3467353"/>
                <a:gd name="connsiteY13" fmla="*/ 642060 h 3467800"/>
                <a:gd name="connsiteX14" fmla="*/ 1733702 w 3467353"/>
                <a:gd name="connsiteY14" fmla="*/ 190543 h 3467800"/>
                <a:gd name="connsiteX15" fmla="*/ 2825343 w 3467353"/>
                <a:gd name="connsiteY15" fmla="*/ 642060 h 3467800"/>
                <a:gd name="connsiteX16" fmla="*/ 3276761 w 3467353"/>
                <a:gd name="connsiteY16" fmla="*/ 1733900 h 3467800"/>
                <a:gd name="connsiteX17" fmla="*/ 2825343 w 3467353"/>
                <a:gd name="connsiteY17" fmla="*/ 2825691 h 3467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467353" h="3467800">
                  <a:moveTo>
                    <a:pt x="1733702" y="0"/>
                  </a:moveTo>
                  <a:cubicBezTo>
                    <a:pt x="1269925" y="0"/>
                    <a:pt x="834341" y="180170"/>
                    <a:pt x="507255" y="507305"/>
                  </a:cubicBezTo>
                  <a:cubicBezTo>
                    <a:pt x="180170" y="834440"/>
                    <a:pt x="0" y="1270074"/>
                    <a:pt x="0" y="1733900"/>
                  </a:cubicBezTo>
                  <a:cubicBezTo>
                    <a:pt x="0" y="2197726"/>
                    <a:pt x="180170" y="2633360"/>
                    <a:pt x="507255" y="2960495"/>
                  </a:cubicBezTo>
                  <a:cubicBezTo>
                    <a:pt x="834390" y="3287630"/>
                    <a:pt x="1269925" y="3467800"/>
                    <a:pt x="1733702" y="3467800"/>
                  </a:cubicBezTo>
                  <a:cubicBezTo>
                    <a:pt x="2197478" y="3467800"/>
                    <a:pt x="2633013" y="3287630"/>
                    <a:pt x="2960148" y="2960495"/>
                  </a:cubicBezTo>
                  <a:cubicBezTo>
                    <a:pt x="3287233" y="2633360"/>
                    <a:pt x="3467354" y="2197726"/>
                    <a:pt x="3467354" y="1733900"/>
                  </a:cubicBezTo>
                  <a:cubicBezTo>
                    <a:pt x="3467354" y="1270074"/>
                    <a:pt x="3287233" y="834440"/>
                    <a:pt x="2960148" y="507305"/>
                  </a:cubicBezTo>
                  <a:cubicBezTo>
                    <a:pt x="2633013" y="180170"/>
                    <a:pt x="2197478" y="0"/>
                    <a:pt x="1733702" y="0"/>
                  </a:cubicBezTo>
                  <a:close/>
                  <a:moveTo>
                    <a:pt x="2825343" y="2825691"/>
                  </a:moveTo>
                  <a:cubicBezTo>
                    <a:pt x="2534242" y="3116841"/>
                    <a:pt x="2146554" y="3277158"/>
                    <a:pt x="1733702" y="3277158"/>
                  </a:cubicBezTo>
                  <a:cubicBezTo>
                    <a:pt x="1320800" y="3277158"/>
                    <a:pt x="933161" y="3116841"/>
                    <a:pt x="642060" y="2825691"/>
                  </a:cubicBezTo>
                  <a:cubicBezTo>
                    <a:pt x="350910" y="2534540"/>
                    <a:pt x="190593" y="2146802"/>
                    <a:pt x="190593" y="1733900"/>
                  </a:cubicBezTo>
                  <a:cubicBezTo>
                    <a:pt x="190593" y="1320949"/>
                    <a:pt x="350910" y="933211"/>
                    <a:pt x="642060" y="642060"/>
                  </a:cubicBezTo>
                  <a:cubicBezTo>
                    <a:pt x="942989" y="341082"/>
                    <a:pt x="1338370" y="190543"/>
                    <a:pt x="1733702" y="190543"/>
                  </a:cubicBezTo>
                  <a:cubicBezTo>
                    <a:pt x="2129033" y="190543"/>
                    <a:pt x="2524415" y="341082"/>
                    <a:pt x="2825343" y="642060"/>
                  </a:cubicBezTo>
                  <a:cubicBezTo>
                    <a:pt x="3116444" y="933211"/>
                    <a:pt x="3276761" y="1320949"/>
                    <a:pt x="3276761" y="1733900"/>
                  </a:cubicBezTo>
                  <a:cubicBezTo>
                    <a:pt x="3276761" y="2146802"/>
                    <a:pt x="3116444" y="2534540"/>
                    <a:pt x="2825343" y="2825691"/>
                  </a:cubicBezTo>
                  <a:close/>
                </a:path>
              </a:pathLst>
            </a:custGeom>
            <a:grpFill/>
            <a:ln w="127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262626"/>
                </a:solidFill>
                <a:effectLst/>
                <a:uLnTx/>
                <a:uFillTx/>
                <a:latin typeface="阿里巴巴普惠体 B"/>
                <a:ea typeface="阿里巴巴普惠体 R"/>
                <a:cs typeface="+mn-cs"/>
              </a:endParaRPr>
            </a:p>
          </p:txBody>
        </p:sp>
      </p:grpSp>
      <p:grpSp>
        <p:nvGrpSpPr>
          <p:cNvPr id="97" name="图形 93">
            <a:extLst>
              <a:ext uri="{FF2B5EF4-FFF2-40B4-BE49-F238E27FC236}">
                <a16:creationId xmlns:a16="http://schemas.microsoft.com/office/drawing/2014/main" id="{602D2842-2AC3-4456-B318-2C00B6387AD7}"/>
              </a:ext>
            </a:extLst>
          </p:cNvPr>
          <p:cNvGrpSpPr/>
          <p:nvPr/>
        </p:nvGrpSpPr>
        <p:grpSpPr>
          <a:xfrm>
            <a:off x="7702016" y="3630500"/>
            <a:ext cx="500984" cy="492862"/>
            <a:chOff x="4421509" y="1204616"/>
            <a:chExt cx="1231508" cy="1211536"/>
          </a:xfrm>
          <a:solidFill>
            <a:schemeClr val="bg1"/>
          </a:solidFill>
        </p:grpSpPr>
        <p:sp>
          <p:nvSpPr>
            <p:cNvPr id="98" name="任意多边形: 形状 97">
              <a:extLst>
                <a:ext uri="{FF2B5EF4-FFF2-40B4-BE49-F238E27FC236}">
                  <a16:creationId xmlns:a16="http://schemas.microsoft.com/office/drawing/2014/main" id="{C2CF1991-0FC0-4D7F-A9AC-E0939704D392}"/>
                </a:ext>
              </a:extLst>
            </p:cNvPr>
            <p:cNvSpPr/>
            <p:nvPr/>
          </p:nvSpPr>
          <p:spPr>
            <a:xfrm>
              <a:off x="4503802" y="1286988"/>
              <a:ext cx="846402" cy="846394"/>
            </a:xfrm>
            <a:custGeom>
              <a:avLst/>
              <a:gdLst>
                <a:gd name="connsiteX0" fmla="*/ 423201 w 846402"/>
                <a:gd name="connsiteY0" fmla="*/ 0 h 846402"/>
                <a:gd name="connsiteX1" fmla="*/ 0 w 846402"/>
                <a:gd name="connsiteY1" fmla="*/ 423201 h 846402"/>
                <a:gd name="connsiteX2" fmla="*/ 423201 w 846402"/>
                <a:gd name="connsiteY2" fmla="*/ 846402 h 846402"/>
                <a:gd name="connsiteX3" fmla="*/ 846402 w 846402"/>
                <a:gd name="connsiteY3" fmla="*/ 423201 h 846402"/>
                <a:gd name="connsiteX4" fmla="*/ 423201 w 846402"/>
                <a:gd name="connsiteY4" fmla="*/ 0 h 846402"/>
                <a:gd name="connsiteX5" fmla="*/ 423201 w 846402"/>
                <a:gd name="connsiteY5" fmla="*/ 806098 h 846402"/>
                <a:gd name="connsiteX6" fmla="*/ 40305 w 846402"/>
                <a:gd name="connsiteY6" fmla="*/ 423201 h 846402"/>
                <a:gd name="connsiteX7" fmla="*/ 423201 w 846402"/>
                <a:gd name="connsiteY7" fmla="*/ 40305 h 846402"/>
                <a:gd name="connsiteX8" fmla="*/ 806098 w 846402"/>
                <a:gd name="connsiteY8" fmla="*/ 423201 h 846402"/>
                <a:gd name="connsiteX9" fmla="*/ 423201 w 846402"/>
                <a:gd name="connsiteY9" fmla="*/ 806098 h 846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46402" h="846402">
                  <a:moveTo>
                    <a:pt x="423201" y="0"/>
                  </a:moveTo>
                  <a:cubicBezTo>
                    <a:pt x="189474" y="0"/>
                    <a:pt x="0" y="189474"/>
                    <a:pt x="0" y="423201"/>
                  </a:cubicBezTo>
                  <a:cubicBezTo>
                    <a:pt x="0" y="656929"/>
                    <a:pt x="189474" y="846402"/>
                    <a:pt x="423201" y="846402"/>
                  </a:cubicBezTo>
                  <a:cubicBezTo>
                    <a:pt x="656929" y="846402"/>
                    <a:pt x="846402" y="656929"/>
                    <a:pt x="846402" y="423201"/>
                  </a:cubicBezTo>
                  <a:cubicBezTo>
                    <a:pt x="846136" y="189584"/>
                    <a:pt x="656818" y="267"/>
                    <a:pt x="423201" y="0"/>
                  </a:cubicBezTo>
                  <a:close/>
                  <a:moveTo>
                    <a:pt x="423201" y="806098"/>
                  </a:moveTo>
                  <a:cubicBezTo>
                    <a:pt x="211733" y="806098"/>
                    <a:pt x="40305" y="634669"/>
                    <a:pt x="40305" y="423201"/>
                  </a:cubicBezTo>
                  <a:cubicBezTo>
                    <a:pt x="40305" y="211733"/>
                    <a:pt x="211733" y="40305"/>
                    <a:pt x="423201" y="40305"/>
                  </a:cubicBezTo>
                  <a:cubicBezTo>
                    <a:pt x="634669" y="40305"/>
                    <a:pt x="806098" y="211733"/>
                    <a:pt x="806098" y="423201"/>
                  </a:cubicBezTo>
                  <a:cubicBezTo>
                    <a:pt x="805853" y="634568"/>
                    <a:pt x="634568" y="805853"/>
                    <a:pt x="423201" y="806098"/>
                  </a:cubicBezTo>
                  <a:close/>
                </a:path>
              </a:pathLst>
            </a:custGeom>
            <a:grpFill/>
            <a:ln w="200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262626"/>
                </a:solidFill>
                <a:effectLst/>
                <a:uLnTx/>
                <a:uFillTx/>
                <a:latin typeface="阿里巴巴普惠体 B"/>
                <a:ea typeface="阿里巴巴普惠体 R"/>
                <a:cs typeface="+mn-cs"/>
              </a:endParaRPr>
            </a:p>
          </p:txBody>
        </p:sp>
        <p:sp>
          <p:nvSpPr>
            <p:cNvPr id="99" name="任意多边形: 形状 98">
              <a:extLst>
                <a:ext uri="{FF2B5EF4-FFF2-40B4-BE49-F238E27FC236}">
                  <a16:creationId xmlns:a16="http://schemas.microsoft.com/office/drawing/2014/main" id="{6938C027-FF70-4D1C-81EB-642BF1907537}"/>
                </a:ext>
              </a:extLst>
            </p:cNvPr>
            <p:cNvSpPr/>
            <p:nvPr/>
          </p:nvSpPr>
          <p:spPr>
            <a:xfrm>
              <a:off x="4421509" y="1204616"/>
              <a:ext cx="1231508" cy="1211536"/>
            </a:xfrm>
            <a:custGeom>
              <a:avLst/>
              <a:gdLst>
                <a:gd name="connsiteX0" fmla="*/ 910417 w 1231508"/>
                <a:gd name="connsiteY0" fmla="*/ 804878 h 1211548"/>
                <a:gd name="connsiteX1" fmla="*/ 804878 w 1231508"/>
                <a:gd name="connsiteY1" fmla="*/ 99003 h 1211548"/>
                <a:gd name="connsiteX2" fmla="*/ 99003 w 1231508"/>
                <a:gd name="connsiteY2" fmla="*/ 204541 h 1211548"/>
                <a:gd name="connsiteX3" fmla="*/ 204541 w 1231508"/>
                <a:gd name="connsiteY3" fmla="*/ 910417 h 1211548"/>
                <a:gd name="connsiteX4" fmla="*/ 827328 w 1231508"/>
                <a:gd name="connsiteY4" fmla="*/ 892803 h 1211548"/>
                <a:gd name="connsiteX5" fmla="*/ 1127721 w 1231508"/>
                <a:gd name="connsiteY5" fmla="*/ 1193075 h 1211548"/>
                <a:gd name="connsiteX6" fmla="*/ 1213034 w 1231508"/>
                <a:gd name="connsiteY6" fmla="*/ 1194664 h 1211548"/>
                <a:gd name="connsiteX7" fmla="*/ 1214624 w 1231508"/>
                <a:gd name="connsiteY7" fmla="*/ 1109350 h 1211548"/>
                <a:gd name="connsiteX8" fmla="*/ 1213127 w 1231508"/>
                <a:gd name="connsiteY8" fmla="*/ 1107850 h 1211548"/>
                <a:gd name="connsiteX9" fmla="*/ 41988 w 1231508"/>
                <a:gd name="connsiteY9" fmla="*/ 505574 h 1211548"/>
                <a:gd name="connsiteX10" fmla="*/ 505494 w 1231508"/>
                <a:gd name="connsiteY10" fmla="*/ 42068 h 1211548"/>
                <a:gd name="connsiteX11" fmla="*/ 969000 w 1231508"/>
                <a:gd name="connsiteY11" fmla="*/ 505574 h 1211548"/>
                <a:gd name="connsiteX12" fmla="*/ 505494 w 1231508"/>
                <a:gd name="connsiteY12" fmla="*/ 969080 h 1211548"/>
                <a:gd name="connsiteX13" fmla="*/ 41988 w 1231508"/>
                <a:gd name="connsiteY13" fmla="*/ 505574 h 1211548"/>
                <a:gd name="connsiteX14" fmla="*/ 1184631 w 1231508"/>
                <a:gd name="connsiteY14" fmla="*/ 1164720 h 1211548"/>
                <a:gd name="connsiteX15" fmla="*/ 1156418 w 1231508"/>
                <a:gd name="connsiteY15" fmla="*/ 1164720 h 1211548"/>
                <a:gd name="connsiteX16" fmla="*/ 857235 w 1231508"/>
                <a:gd name="connsiteY16" fmla="*/ 865739 h 1211548"/>
                <a:gd name="connsiteX17" fmla="*/ 884924 w 1231508"/>
                <a:gd name="connsiteY17" fmla="*/ 836397 h 1211548"/>
                <a:gd name="connsiteX18" fmla="*/ 1184631 w 1231508"/>
                <a:gd name="connsiteY18" fmla="*/ 1136346 h 1211548"/>
                <a:gd name="connsiteX19" fmla="*/ 1190677 w 1231508"/>
                <a:gd name="connsiteY19" fmla="*/ 1150452 h 1211548"/>
                <a:gd name="connsiteX20" fmla="*/ 1184631 w 1231508"/>
                <a:gd name="connsiteY20" fmla="*/ 1164720 h 1211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31508" h="1211548">
                  <a:moveTo>
                    <a:pt x="910417" y="804878"/>
                  </a:moveTo>
                  <a:cubicBezTo>
                    <a:pt x="1076195" y="580812"/>
                    <a:pt x="1028944" y="264781"/>
                    <a:pt x="804878" y="99003"/>
                  </a:cubicBezTo>
                  <a:cubicBezTo>
                    <a:pt x="580812" y="-66776"/>
                    <a:pt x="264781" y="-19525"/>
                    <a:pt x="99003" y="204541"/>
                  </a:cubicBezTo>
                  <a:cubicBezTo>
                    <a:pt x="-66776" y="428607"/>
                    <a:pt x="-19525" y="744638"/>
                    <a:pt x="204541" y="910417"/>
                  </a:cubicBezTo>
                  <a:cubicBezTo>
                    <a:pt x="391418" y="1048680"/>
                    <a:pt x="648565" y="1041408"/>
                    <a:pt x="827328" y="892803"/>
                  </a:cubicBezTo>
                  <a:lnTo>
                    <a:pt x="1127721" y="1193075"/>
                  </a:lnTo>
                  <a:cubicBezTo>
                    <a:pt x="1150841" y="1217072"/>
                    <a:pt x="1189037" y="1217784"/>
                    <a:pt x="1213034" y="1194664"/>
                  </a:cubicBezTo>
                  <a:cubicBezTo>
                    <a:pt x="1237032" y="1171544"/>
                    <a:pt x="1237744" y="1133348"/>
                    <a:pt x="1214624" y="1109350"/>
                  </a:cubicBezTo>
                  <a:cubicBezTo>
                    <a:pt x="1214134" y="1108841"/>
                    <a:pt x="1213634" y="1108341"/>
                    <a:pt x="1213127" y="1107850"/>
                  </a:cubicBezTo>
                  <a:close/>
                  <a:moveTo>
                    <a:pt x="41988" y="505574"/>
                  </a:moveTo>
                  <a:cubicBezTo>
                    <a:pt x="41988" y="249587"/>
                    <a:pt x="249507" y="42068"/>
                    <a:pt x="505494" y="42068"/>
                  </a:cubicBezTo>
                  <a:cubicBezTo>
                    <a:pt x="761481" y="42068"/>
                    <a:pt x="969000" y="249587"/>
                    <a:pt x="969000" y="505574"/>
                  </a:cubicBezTo>
                  <a:cubicBezTo>
                    <a:pt x="969000" y="761562"/>
                    <a:pt x="761481" y="969080"/>
                    <a:pt x="505494" y="969080"/>
                  </a:cubicBezTo>
                  <a:cubicBezTo>
                    <a:pt x="249622" y="968803"/>
                    <a:pt x="42266" y="761446"/>
                    <a:pt x="41988" y="505574"/>
                  </a:cubicBezTo>
                  <a:close/>
                  <a:moveTo>
                    <a:pt x="1184631" y="1164720"/>
                  </a:moveTo>
                  <a:cubicBezTo>
                    <a:pt x="1176835" y="1172499"/>
                    <a:pt x="1164214" y="1172499"/>
                    <a:pt x="1156418" y="1164720"/>
                  </a:cubicBezTo>
                  <a:lnTo>
                    <a:pt x="857235" y="865739"/>
                  </a:lnTo>
                  <a:cubicBezTo>
                    <a:pt x="866868" y="856334"/>
                    <a:pt x="876097" y="846553"/>
                    <a:pt x="884924" y="836397"/>
                  </a:cubicBezTo>
                  <a:lnTo>
                    <a:pt x="1184631" y="1136346"/>
                  </a:lnTo>
                  <a:cubicBezTo>
                    <a:pt x="1188483" y="1140028"/>
                    <a:pt x="1190667" y="1145123"/>
                    <a:pt x="1190677" y="1150452"/>
                  </a:cubicBezTo>
                  <a:cubicBezTo>
                    <a:pt x="1190683" y="1155832"/>
                    <a:pt x="1188500" y="1160982"/>
                    <a:pt x="1184631" y="1164720"/>
                  </a:cubicBezTo>
                  <a:close/>
                </a:path>
              </a:pathLst>
            </a:custGeom>
            <a:grpFill/>
            <a:ln w="200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262626"/>
                </a:solidFill>
                <a:effectLst/>
                <a:uLnTx/>
                <a:uFillTx/>
                <a:latin typeface="阿里巴巴普惠体 B"/>
                <a:ea typeface="阿里巴巴普惠体 R"/>
                <a:cs typeface="+mn-cs"/>
              </a:endParaRPr>
            </a:p>
          </p:txBody>
        </p:sp>
        <p:sp>
          <p:nvSpPr>
            <p:cNvPr id="100" name="任意多边形: 形状 99">
              <a:extLst>
                <a:ext uri="{FF2B5EF4-FFF2-40B4-BE49-F238E27FC236}">
                  <a16:creationId xmlns:a16="http://schemas.microsoft.com/office/drawing/2014/main" id="{D464D9B6-35DD-4F5A-B8DA-7D222345A0EA}"/>
                </a:ext>
              </a:extLst>
            </p:cNvPr>
            <p:cNvSpPr/>
            <p:nvPr/>
          </p:nvSpPr>
          <p:spPr>
            <a:xfrm>
              <a:off x="4705325" y="1609425"/>
              <a:ext cx="120914" cy="241826"/>
            </a:xfrm>
            <a:custGeom>
              <a:avLst/>
              <a:gdLst>
                <a:gd name="connsiteX0" fmla="*/ 20152 w 120914"/>
                <a:gd name="connsiteY0" fmla="*/ 241829 h 241829"/>
                <a:gd name="connsiteX1" fmla="*/ 100762 w 120914"/>
                <a:gd name="connsiteY1" fmla="*/ 241829 h 241829"/>
                <a:gd name="connsiteX2" fmla="*/ 120915 w 120914"/>
                <a:gd name="connsiteY2" fmla="*/ 221677 h 241829"/>
                <a:gd name="connsiteX3" fmla="*/ 120915 w 120914"/>
                <a:gd name="connsiteY3" fmla="*/ 20152 h 241829"/>
                <a:gd name="connsiteX4" fmla="*/ 100762 w 120914"/>
                <a:gd name="connsiteY4" fmla="*/ 0 h 241829"/>
                <a:gd name="connsiteX5" fmla="*/ 20152 w 120914"/>
                <a:gd name="connsiteY5" fmla="*/ 0 h 241829"/>
                <a:gd name="connsiteX6" fmla="*/ 0 w 120914"/>
                <a:gd name="connsiteY6" fmla="*/ 20152 h 241829"/>
                <a:gd name="connsiteX7" fmla="*/ 0 w 120914"/>
                <a:gd name="connsiteY7" fmla="*/ 221677 h 241829"/>
                <a:gd name="connsiteX8" fmla="*/ 20152 w 120914"/>
                <a:gd name="connsiteY8" fmla="*/ 241829 h 241829"/>
                <a:gd name="connsiteX9" fmla="*/ 40305 w 120914"/>
                <a:gd name="connsiteY9" fmla="*/ 40305 h 241829"/>
                <a:gd name="connsiteX10" fmla="*/ 80610 w 120914"/>
                <a:gd name="connsiteY10" fmla="*/ 40305 h 241829"/>
                <a:gd name="connsiteX11" fmla="*/ 80610 w 120914"/>
                <a:gd name="connsiteY11" fmla="*/ 201524 h 241829"/>
                <a:gd name="connsiteX12" fmla="*/ 40305 w 120914"/>
                <a:gd name="connsiteY12" fmla="*/ 201524 h 241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0914" h="241829">
                  <a:moveTo>
                    <a:pt x="20152" y="241829"/>
                  </a:moveTo>
                  <a:lnTo>
                    <a:pt x="100762" y="241829"/>
                  </a:lnTo>
                  <a:cubicBezTo>
                    <a:pt x="111892" y="241829"/>
                    <a:pt x="120915" y="232807"/>
                    <a:pt x="120915" y="221677"/>
                  </a:cubicBezTo>
                  <a:lnTo>
                    <a:pt x="120915" y="20152"/>
                  </a:lnTo>
                  <a:cubicBezTo>
                    <a:pt x="120915" y="9023"/>
                    <a:pt x="111892" y="0"/>
                    <a:pt x="100762" y="0"/>
                  </a:cubicBezTo>
                  <a:lnTo>
                    <a:pt x="20152" y="0"/>
                  </a:lnTo>
                  <a:cubicBezTo>
                    <a:pt x="9023" y="0"/>
                    <a:pt x="0" y="9023"/>
                    <a:pt x="0" y="20152"/>
                  </a:cubicBezTo>
                  <a:lnTo>
                    <a:pt x="0" y="221677"/>
                  </a:lnTo>
                  <a:cubicBezTo>
                    <a:pt x="0" y="232807"/>
                    <a:pt x="9023" y="241829"/>
                    <a:pt x="20152" y="241829"/>
                  </a:cubicBezTo>
                  <a:close/>
                  <a:moveTo>
                    <a:pt x="40305" y="40305"/>
                  </a:moveTo>
                  <a:lnTo>
                    <a:pt x="80610" y="40305"/>
                  </a:lnTo>
                  <a:lnTo>
                    <a:pt x="80610" y="201524"/>
                  </a:lnTo>
                  <a:lnTo>
                    <a:pt x="40305" y="201524"/>
                  </a:lnTo>
                  <a:close/>
                </a:path>
              </a:pathLst>
            </a:custGeom>
            <a:grpFill/>
            <a:ln w="200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262626"/>
                </a:solidFill>
                <a:effectLst/>
                <a:uLnTx/>
                <a:uFillTx/>
                <a:latin typeface="阿里巴巴普惠体 B"/>
                <a:ea typeface="阿里巴巴普惠体 R"/>
                <a:cs typeface="+mn-cs"/>
              </a:endParaRPr>
            </a:p>
          </p:txBody>
        </p:sp>
        <p:sp>
          <p:nvSpPr>
            <p:cNvPr id="101" name="任意多边形: 形状 100">
              <a:extLst>
                <a:ext uri="{FF2B5EF4-FFF2-40B4-BE49-F238E27FC236}">
                  <a16:creationId xmlns:a16="http://schemas.microsoft.com/office/drawing/2014/main" id="{43A8CA56-85BF-4896-AFF5-663A5E9B9001}"/>
                </a:ext>
              </a:extLst>
            </p:cNvPr>
            <p:cNvSpPr/>
            <p:nvPr/>
          </p:nvSpPr>
          <p:spPr>
            <a:xfrm>
              <a:off x="4866547" y="1569120"/>
              <a:ext cx="120914" cy="282132"/>
            </a:xfrm>
            <a:custGeom>
              <a:avLst/>
              <a:gdLst>
                <a:gd name="connsiteX0" fmla="*/ 20152 w 120914"/>
                <a:gd name="connsiteY0" fmla="*/ 282134 h 282134"/>
                <a:gd name="connsiteX1" fmla="*/ 100762 w 120914"/>
                <a:gd name="connsiteY1" fmla="*/ 282134 h 282134"/>
                <a:gd name="connsiteX2" fmla="*/ 120915 w 120914"/>
                <a:gd name="connsiteY2" fmla="*/ 261982 h 282134"/>
                <a:gd name="connsiteX3" fmla="*/ 120915 w 120914"/>
                <a:gd name="connsiteY3" fmla="*/ 20152 h 282134"/>
                <a:gd name="connsiteX4" fmla="*/ 100762 w 120914"/>
                <a:gd name="connsiteY4" fmla="*/ 0 h 282134"/>
                <a:gd name="connsiteX5" fmla="*/ 20152 w 120914"/>
                <a:gd name="connsiteY5" fmla="*/ 0 h 282134"/>
                <a:gd name="connsiteX6" fmla="*/ 0 w 120914"/>
                <a:gd name="connsiteY6" fmla="*/ 20152 h 282134"/>
                <a:gd name="connsiteX7" fmla="*/ 0 w 120914"/>
                <a:gd name="connsiteY7" fmla="*/ 261982 h 282134"/>
                <a:gd name="connsiteX8" fmla="*/ 20152 w 120914"/>
                <a:gd name="connsiteY8" fmla="*/ 282134 h 282134"/>
                <a:gd name="connsiteX9" fmla="*/ 40305 w 120914"/>
                <a:gd name="connsiteY9" fmla="*/ 40305 h 282134"/>
                <a:gd name="connsiteX10" fmla="*/ 80610 w 120914"/>
                <a:gd name="connsiteY10" fmla="*/ 40305 h 282134"/>
                <a:gd name="connsiteX11" fmla="*/ 80610 w 120914"/>
                <a:gd name="connsiteY11" fmla="*/ 241829 h 282134"/>
                <a:gd name="connsiteX12" fmla="*/ 40305 w 120914"/>
                <a:gd name="connsiteY12" fmla="*/ 241829 h 282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0914" h="282134">
                  <a:moveTo>
                    <a:pt x="20152" y="282134"/>
                  </a:moveTo>
                  <a:lnTo>
                    <a:pt x="100762" y="282134"/>
                  </a:lnTo>
                  <a:cubicBezTo>
                    <a:pt x="111892" y="282134"/>
                    <a:pt x="120915" y="273112"/>
                    <a:pt x="120915" y="261982"/>
                  </a:cubicBezTo>
                  <a:lnTo>
                    <a:pt x="120915" y="20152"/>
                  </a:lnTo>
                  <a:cubicBezTo>
                    <a:pt x="120915" y="9023"/>
                    <a:pt x="111892" y="0"/>
                    <a:pt x="100762" y="0"/>
                  </a:cubicBezTo>
                  <a:lnTo>
                    <a:pt x="20152" y="0"/>
                  </a:lnTo>
                  <a:cubicBezTo>
                    <a:pt x="9023" y="0"/>
                    <a:pt x="0" y="9023"/>
                    <a:pt x="0" y="20152"/>
                  </a:cubicBezTo>
                  <a:lnTo>
                    <a:pt x="0" y="261982"/>
                  </a:lnTo>
                  <a:cubicBezTo>
                    <a:pt x="0" y="273112"/>
                    <a:pt x="9023" y="282134"/>
                    <a:pt x="20152" y="282134"/>
                  </a:cubicBezTo>
                  <a:close/>
                  <a:moveTo>
                    <a:pt x="40305" y="40305"/>
                  </a:moveTo>
                  <a:lnTo>
                    <a:pt x="80610" y="40305"/>
                  </a:lnTo>
                  <a:lnTo>
                    <a:pt x="80610" y="241829"/>
                  </a:lnTo>
                  <a:lnTo>
                    <a:pt x="40305" y="241829"/>
                  </a:lnTo>
                  <a:close/>
                </a:path>
              </a:pathLst>
            </a:custGeom>
            <a:grpFill/>
            <a:ln w="200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262626"/>
                </a:solidFill>
                <a:effectLst/>
                <a:uLnTx/>
                <a:uFillTx/>
                <a:latin typeface="阿里巴巴普惠体 B"/>
                <a:ea typeface="阿里巴巴普惠体 R"/>
                <a:cs typeface="+mn-cs"/>
              </a:endParaRPr>
            </a:p>
          </p:txBody>
        </p:sp>
        <p:sp>
          <p:nvSpPr>
            <p:cNvPr id="102" name="任意多边形: 形状 101">
              <a:extLst>
                <a:ext uri="{FF2B5EF4-FFF2-40B4-BE49-F238E27FC236}">
                  <a16:creationId xmlns:a16="http://schemas.microsoft.com/office/drawing/2014/main" id="{C41D91C1-6675-49CD-9EA0-097A47AE2C8D}"/>
                </a:ext>
              </a:extLst>
            </p:cNvPr>
            <p:cNvSpPr/>
            <p:nvPr/>
          </p:nvSpPr>
          <p:spPr>
            <a:xfrm>
              <a:off x="5027765" y="1528814"/>
              <a:ext cx="120914" cy="322437"/>
            </a:xfrm>
            <a:custGeom>
              <a:avLst/>
              <a:gdLst>
                <a:gd name="connsiteX0" fmla="*/ 100762 w 120914"/>
                <a:gd name="connsiteY0" fmla="*/ 0 h 322439"/>
                <a:gd name="connsiteX1" fmla="*/ 20152 w 120914"/>
                <a:gd name="connsiteY1" fmla="*/ 0 h 322439"/>
                <a:gd name="connsiteX2" fmla="*/ 0 w 120914"/>
                <a:gd name="connsiteY2" fmla="*/ 20152 h 322439"/>
                <a:gd name="connsiteX3" fmla="*/ 0 w 120914"/>
                <a:gd name="connsiteY3" fmla="*/ 302287 h 322439"/>
                <a:gd name="connsiteX4" fmla="*/ 20152 w 120914"/>
                <a:gd name="connsiteY4" fmla="*/ 322439 h 322439"/>
                <a:gd name="connsiteX5" fmla="*/ 100762 w 120914"/>
                <a:gd name="connsiteY5" fmla="*/ 322439 h 322439"/>
                <a:gd name="connsiteX6" fmla="*/ 120915 w 120914"/>
                <a:gd name="connsiteY6" fmla="*/ 302287 h 322439"/>
                <a:gd name="connsiteX7" fmla="*/ 120915 w 120914"/>
                <a:gd name="connsiteY7" fmla="*/ 20152 h 322439"/>
                <a:gd name="connsiteX8" fmla="*/ 100762 w 120914"/>
                <a:gd name="connsiteY8" fmla="*/ 0 h 322439"/>
                <a:gd name="connsiteX9" fmla="*/ 80610 w 120914"/>
                <a:gd name="connsiteY9" fmla="*/ 282134 h 322439"/>
                <a:gd name="connsiteX10" fmla="*/ 40305 w 120914"/>
                <a:gd name="connsiteY10" fmla="*/ 282134 h 322439"/>
                <a:gd name="connsiteX11" fmla="*/ 40305 w 120914"/>
                <a:gd name="connsiteY11" fmla="*/ 40305 h 322439"/>
                <a:gd name="connsiteX12" fmla="*/ 80610 w 120914"/>
                <a:gd name="connsiteY12" fmla="*/ 40305 h 322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0914" h="322439">
                  <a:moveTo>
                    <a:pt x="100762" y="0"/>
                  </a:moveTo>
                  <a:lnTo>
                    <a:pt x="20152" y="0"/>
                  </a:lnTo>
                  <a:cubicBezTo>
                    <a:pt x="9023" y="0"/>
                    <a:pt x="0" y="9023"/>
                    <a:pt x="0" y="20152"/>
                  </a:cubicBezTo>
                  <a:lnTo>
                    <a:pt x="0" y="302287"/>
                  </a:lnTo>
                  <a:cubicBezTo>
                    <a:pt x="0" y="313416"/>
                    <a:pt x="9023" y="322439"/>
                    <a:pt x="20152" y="322439"/>
                  </a:cubicBezTo>
                  <a:lnTo>
                    <a:pt x="100762" y="322439"/>
                  </a:lnTo>
                  <a:cubicBezTo>
                    <a:pt x="111892" y="322439"/>
                    <a:pt x="120915" y="313416"/>
                    <a:pt x="120915" y="302287"/>
                  </a:cubicBezTo>
                  <a:lnTo>
                    <a:pt x="120915" y="20152"/>
                  </a:lnTo>
                  <a:cubicBezTo>
                    <a:pt x="120915" y="9023"/>
                    <a:pt x="111892" y="0"/>
                    <a:pt x="100762" y="0"/>
                  </a:cubicBezTo>
                  <a:close/>
                  <a:moveTo>
                    <a:pt x="80610" y="282134"/>
                  </a:moveTo>
                  <a:lnTo>
                    <a:pt x="40305" y="282134"/>
                  </a:lnTo>
                  <a:lnTo>
                    <a:pt x="40305" y="40305"/>
                  </a:lnTo>
                  <a:lnTo>
                    <a:pt x="80610" y="40305"/>
                  </a:lnTo>
                  <a:close/>
                </a:path>
              </a:pathLst>
            </a:custGeom>
            <a:grpFill/>
            <a:ln w="200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262626"/>
                </a:solidFill>
                <a:effectLst/>
                <a:uLnTx/>
                <a:uFillTx/>
                <a:latin typeface="阿里巴巴普惠体 B"/>
                <a:ea typeface="阿里巴巴普惠体 R"/>
                <a:cs typeface="+mn-cs"/>
              </a:endParaRPr>
            </a:p>
          </p:txBody>
        </p:sp>
        <p:sp>
          <p:nvSpPr>
            <p:cNvPr id="103" name="任意多边形: 形状 102">
              <a:extLst>
                <a:ext uri="{FF2B5EF4-FFF2-40B4-BE49-F238E27FC236}">
                  <a16:creationId xmlns:a16="http://schemas.microsoft.com/office/drawing/2014/main" id="{61ACC43D-1E06-4550-9687-72187A87F561}"/>
                </a:ext>
              </a:extLst>
            </p:cNvPr>
            <p:cNvSpPr/>
            <p:nvPr/>
          </p:nvSpPr>
          <p:spPr>
            <a:xfrm>
              <a:off x="5295651" y="1246683"/>
              <a:ext cx="135162" cy="94856"/>
            </a:xfrm>
            <a:custGeom>
              <a:avLst/>
              <a:gdLst>
                <a:gd name="connsiteX0" fmla="*/ 83048 w 135162"/>
                <a:gd name="connsiteY0" fmla="*/ 40305 h 94857"/>
                <a:gd name="connsiteX1" fmla="*/ 135162 w 135162"/>
                <a:gd name="connsiteY1" fmla="*/ 40305 h 94857"/>
                <a:gd name="connsiteX2" fmla="*/ 135162 w 135162"/>
                <a:gd name="connsiteY2" fmla="*/ 0 h 94857"/>
                <a:gd name="connsiteX3" fmla="*/ 74705 w 135162"/>
                <a:gd name="connsiteY3" fmla="*/ 0 h 94857"/>
                <a:gd name="connsiteX4" fmla="*/ 60457 w 135162"/>
                <a:gd name="connsiteY4" fmla="*/ 5905 h 94857"/>
                <a:gd name="connsiteX5" fmla="*/ 0 w 135162"/>
                <a:gd name="connsiteY5" fmla="*/ 66362 h 94857"/>
                <a:gd name="connsiteX6" fmla="*/ 28496 w 135162"/>
                <a:gd name="connsiteY6" fmla="*/ 94858 h 948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5162" h="94857">
                  <a:moveTo>
                    <a:pt x="83048" y="40305"/>
                  </a:moveTo>
                  <a:lnTo>
                    <a:pt x="135162" y="40305"/>
                  </a:lnTo>
                  <a:lnTo>
                    <a:pt x="135162" y="0"/>
                  </a:lnTo>
                  <a:lnTo>
                    <a:pt x="74705" y="0"/>
                  </a:lnTo>
                  <a:cubicBezTo>
                    <a:pt x="69361" y="1"/>
                    <a:pt x="64236" y="2125"/>
                    <a:pt x="60457" y="5905"/>
                  </a:cubicBezTo>
                  <a:lnTo>
                    <a:pt x="0" y="66362"/>
                  </a:lnTo>
                  <a:lnTo>
                    <a:pt x="28496" y="94858"/>
                  </a:lnTo>
                  <a:close/>
                </a:path>
              </a:pathLst>
            </a:custGeom>
            <a:grpFill/>
            <a:ln w="200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262626"/>
                </a:solidFill>
                <a:effectLst/>
                <a:uLnTx/>
                <a:uFillTx/>
                <a:latin typeface="阿里巴巴普惠体 B"/>
                <a:ea typeface="阿里巴巴普惠体 R"/>
                <a:cs typeface="+mn-cs"/>
              </a:endParaRPr>
            </a:p>
          </p:txBody>
        </p:sp>
        <p:sp>
          <p:nvSpPr>
            <p:cNvPr id="104" name="任意多边形: 形状 103">
              <a:extLst>
                <a:ext uri="{FF2B5EF4-FFF2-40B4-BE49-F238E27FC236}">
                  <a16:creationId xmlns:a16="http://schemas.microsoft.com/office/drawing/2014/main" id="{2E7204F2-6B44-464C-A848-356921ADBACD}"/>
                </a:ext>
              </a:extLst>
            </p:cNvPr>
            <p:cNvSpPr/>
            <p:nvPr/>
          </p:nvSpPr>
          <p:spPr>
            <a:xfrm>
              <a:off x="5471119" y="1246683"/>
              <a:ext cx="181371" cy="40303"/>
            </a:xfrm>
            <a:custGeom>
              <a:avLst/>
              <a:gdLst>
                <a:gd name="connsiteX0" fmla="*/ 0 w 181371"/>
                <a:gd name="connsiteY0" fmla="*/ 0 h 40304"/>
                <a:gd name="connsiteX1" fmla="*/ 181372 w 181371"/>
                <a:gd name="connsiteY1" fmla="*/ 0 h 40304"/>
                <a:gd name="connsiteX2" fmla="*/ 181372 w 181371"/>
                <a:gd name="connsiteY2" fmla="*/ 40305 h 40304"/>
                <a:gd name="connsiteX3" fmla="*/ 0 w 181371"/>
                <a:gd name="connsiteY3" fmla="*/ 40305 h 40304"/>
              </a:gdLst>
              <a:ahLst/>
              <a:cxnLst>
                <a:cxn ang="0">
                  <a:pos x="connsiteX0" y="connsiteY0"/>
                </a:cxn>
                <a:cxn ang="0">
                  <a:pos x="connsiteX1" y="connsiteY1"/>
                </a:cxn>
                <a:cxn ang="0">
                  <a:pos x="connsiteX2" y="connsiteY2"/>
                </a:cxn>
                <a:cxn ang="0">
                  <a:pos x="connsiteX3" y="connsiteY3"/>
                </a:cxn>
              </a:cxnLst>
              <a:rect l="l" t="t" r="r" b="b"/>
              <a:pathLst>
                <a:path w="181371" h="40304">
                  <a:moveTo>
                    <a:pt x="0" y="0"/>
                  </a:moveTo>
                  <a:lnTo>
                    <a:pt x="181372" y="0"/>
                  </a:lnTo>
                  <a:lnTo>
                    <a:pt x="181372" y="40305"/>
                  </a:lnTo>
                  <a:lnTo>
                    <a:pt x="0" y="40305"/>
                  </a:lnTo>
                  <a:close/>
                </a:path>
              </a:pathLst>
            </a:custGeom>
            <a:grpFill/>
            <a:ln w="200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262626"/>
                </a:solidFill>
                <a:effectLst/>
                <a:uLnTx/>
                <a:uFillTx/>
                <a:latin typeface="阿里巴巴普惠体 B"/>
                <a:ea typeface="阿里巴巴普惠体 R"/>
                <a:cs typeface="+mn-cs"/>
              </a:endParaRPr>
            </a:p>
          </p:txBody>
        </p:sp>
        <p:sp>
          <p:nvSpPr>
            <p:cNvPr id="105" name="任意多边形: 形状 104">
              <a:extLst>
                <a:ext uri="{FF2B5EF4-FFF2-40B4-BE49-F238E27FC236}">
                  <a16:creationId xmlns:a16="http://schemas.microsoft.com/office/drawing/2014/main" id="{ED8D82B1-EF30-4E18-B7D0-6FFD2F69CD29}"/>
                </a:ext>
              </a:extLst>
            </p:cNvPr>
            <p:cNvSpPr/>
            <p:nvPr/>
          </p:nvSpPr>
          <p:spPr>
            <a:xfrm>
              <a:off x="5471119" y="1327293"/>
              <a:ext cx="40303" cy="40303"/>
            </a:xfrm>
            <a:custGeom>
              <a:avLst/>
              <a:gdLst>
                <a:gd name="connsiteX0" fmla="*/ 0 w 40304"/>
                <a:gd name="connsiteY0" fmla="*/ 0 h 40304"/>
                <a:gd name="connsiteX1" fmla="*/ 40305 w 40304"/>
                <a:gd name="connsiteY1" fmla="*/ 0 h 40304"/>
                <a:gd name="connsiteX2" fmla="*/ 40305 w 40304"/>
                <a:gd name="connsiteY2" fmla="*/ 40305 h 40304"/>
                <a:gd name="connsiteX3" fmla="*/ 0 w 40304"/>
                <a:gd name="connsiteY3" fmla="*/ 40305 h 40304"/>
              </a:gdLst>
              <a:ahLst/>
              <a:cxnLst>
                <a:cxn ang="0">
                  <a:pos x="connsiteX0" y="connsiteY0"/>
                </a:cxn>
                <a:cxn ang="0">
                  <a:pos x="connsiteX1" y="connsiteY1"/>
                </a:cxn>
                <a:cxn ang="0">
                  <a:pos x="connsiteX2" y="connsiteY2"/>
                </a:cxn>
                <a:cxn ang="0">
                  <a:pos x="connsiteX3" y="connsiteY3"/>
                </a:cxn>
              </a:cxnLst>
              <a:rect l="l" t="t" r="r" b="b"/>
              <a:pathLst>
                <a:path w="40304" h="40304">
                  <a:moveTo>
                    <a:pt x="0" y="0"/>
                  </a:moveTo>
                  <a:lnTo>
                    <a:pt x="40305" y="0"/>
                  </a:lnTo>
                  <a:lnTo>
                    <a:pt x="40305" y="40305"/>
                  </a:lnTo>
                  <a:lnTo>
                    <a:pt x="0" y="40305"/>
                  </a:lnTo>
                  <a:close/>
                </a:path>
              </a:pathLst>
            </a:custGeom>
            <a:grpFill/>
            <a:ln w="200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262626"/>
                </a:solidFill>
                <a:effectLst/>
                <a:uLnTx/>
                <a:uFillTx/>
                <a:latin typeface="阿里巴巴普惠体 B"/>
                <a:ea typeface="阿里巴巴普惠体 R"/>
                <a:cs typeface="+mn-cs"/>
              </a:endParaRPr>
            </a:p>
          </p:txBody>
        </p:sp>
        <p:sp>
          <p:nvSpPr>
            <p:cNvPr id="106" name="任意多边形: 形状 105">
              <a:extLst>
                <a:ext uri="{FF2B5EF4-FFF2-40B4-BE49-F238E27FC236}">
                  <a16:creationId xmlns:a16="http://schemas.microsoft.com/office/drawing/2014/main" id="{F1F5B96A-787C-4582-B060-15C382F0F0CB}"/>
                </a:ext>
              </a:extLst>
            </p:cNvPr>
            <p:cNvSpPr/>
            <p:nvPr/>
          </p:nvSpPr>
          <p:spPr>
            <a:xfrm>
              <a:off x="5551727" y="1327293"/>
              <a:ext cx="100763" cy="40303"/>
            </a:xfrm>
            <a:custGeom>
              <a:avLst/>
              <a:gdLst>
                <a:gd name="connsiteX0" fmla="*/ 0 w 100762"/>
                <a:gd name="connsiteY0" fmla="*/ 0 h 40304"/>
                <a:gd name="connsiteX1" fmla="*/ 100762 w 100762"/>
                <a:gd name="connsiteY1" fmla="*/ 0 h 40304"/>
                <a:gd name="connsiteX2" fmla="*/ 100762 w 100762"/>
                <a:gd name="connsiteY2" fmla="*/ 40305 h 40304"/>
                <a:gd name="connsiteX3" fmla="*/ 0 w 100762"/>
                <a:gd name="connsiteY3" fmla="*/ 40305 h 40304"/>
              </a:gdLst>
              <a:ahLst/>
              <a:cxnLst>
                <a:cxn ang="0">
                  <a:pos x="connsiteX0" y="connsiteY0"/>
                </a:cxn>
                <a:cxn ang="0">
                  <a:pos x="connsiteX1" y="connsiteY1"/>
                </a:cxn>
                <a:cxn ang="0">
                  <a:pos x="connsiteX2" y="connsiteY2"/>
                </a:cxn>
                <a:cxn ang="0">
                  <a:pos x="connsiteX3" y="connsiteY3"/>
                </a:cxn>
              </a:cxnLst>
              <a:rect l="l" t="t" r="r" b="b"/>
              <a:pathLst>
                <a:path w="100762" h="40304">
                  <a:moveTo>
                    <a:pt x="0" y="0"/>
                  </a:moveTo>
                  <a:lnTo>
                    <a:pt x="100762" y="0"/>
                  </a:lnTo>
                  <a:lnTo>
                    <a:pt x="100762" y="40305"/>
                  </a:lnTo>
                  <a:lnTo>
                    <a:pt x="0" y="40305"/>
                  </a:lnTo>
                  <a:close/>
                </a:path>
              </a:pathLst>
            </a:custGeom>
            <a:grpFill/>
            <a:ln w="200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262626"/>
                </a:solidFill>
                <a:effectLst/>
                <a:uLnTx/>
                <a:uFillTx/>
                <a:latin typeface="阿里巴巴普惠体 B"/>
                <a:ea typeface="阿里巴巴普惠体 R"/>
                <a:cs typeface="+mn-cs"/>
              </a:endParaRPr>
            </a:p>
          </p:txBody>
        </p:sp>
        <p:sp>
          <p:nvSpPr>
            <p:cNvPr id="107" name="任意多边形: 形状 106">
              <a:extLst>
                <a:ext uri="{FF2B5EF4-FFF2-40B4-BE49-F238E27FC236}">
                  <a16:creationId xmlns:a16="http://schemas.microsoft.com/office/drawing/2014/main" id="{F002D27D-D862-4D27-909D-27E60CD9011F}"/>
                </a:ext>
              </a:extLst>
            </p:cNvPr>
            <p:cNvSpPr/>
            <p:nvPr/>
          </p:nvSpPr>
          <p:spPr>
            <a:xfrm>
              <a:off x="5471119" y="1407903"/>
              <a:ext cx="181371" cy="40303"/>
            </a:xfrm>
            <a:custGeom>
              <a:avLst/>
              <a:gdLst>
                <a:gd name="connsiteX0" fmla="*/ 0 w 181371"/>
                <a:gd name="connsiteY0" fmla="*/ 0 h 40304"/>
                <a:gd name="connsiteX1" fmla="*/ 181372 w 181371"/>
                <a:gd name="connsiteY1" fmla="*/ 0 h 40304"/>
                <a:gd name="connsiteX2" fmla="*/ 181372 w 181371"/>
                <a:gd name="connsiteY2" fmla="*/ 40305 h 40304"/>
                <a:gd name="connsiteX3" fmla="*/ 0 w 181371"/>
                <a:gd name="connsiteY3" fmla="*/ 40305 h 40304"/>
              </a:gdLst>
              <a:ahLst/>
              <a:cxnLst>
                <a:cxn ang="0">
                  <a:pos x="connsiteX0" y="connsiteY0"/>
                </a:cxn>
                <a:cxn ang="0">
                  <a:pos x="connsiteX1" y="connsiteY1"/>
                </a:cxn>
                <a:cxn ang="0">
                  <a:pos x="connsiteX2" y="connsiteY2"/>
                </a:cxn>
                <a:cxn ang="0">
                  <a:pos x="connsiteX3" y="connsiteY3"/>
                </a:cxn>
              </a:cxnLst>
              <a:rect l="l" t="t" r="r" b="b"/>
              <a:pathLst>
                <a:path w="181371" h="40304">
                  <a:moveTo>
                    <a:pt x="0" y="0"/>
                  </a:moveTo>
                  <a:lnTo>
                    <a:pt x="181372" y="0"/>
                  </a:lnTo>
                  <a:lnTo>
                    <a:pt x="181372" y="40305"/>
                  </a:lnTo>
                  <a:lnTo>
                    <a:pt x="0" y="40305"/>
                  </a:lnTo>
                  <a:close/>
                </a:path>
              </a:pathLst>
            </a:custGeom>
            <a:grpFill/>
            <a:ln w="200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262626"/>
                </a:solidFill>
                <a:effectLst/>
                <a:uLnTx/>
                <a:uFillTx/>
                <a:latin typeface="阿里巴巴普惠体 B"/>
                <a:ea typeface="阿里巴巴普惠体 R"/>
                <a:cs typeface="+mn-cs"/>
              </a:endParaRPr>
            </a:p>
          </p:txBody>
        </p:sp>
        <p:sp>
          <p:nvSpPr>
            <p:cNvPr id="108" name="任意多边形: 形状 107">
              <a:extLst>
                <a:ext uri="{FF2B5EF4-FFF2-40B4-BE49-F238E27FC236}">
                  <a16:creationId xmlns:a16="http://schemas.microsoft.com/office/drawing/2014/main" id="{66777530-18DA-42E7-A26C-30A104EBB17B}"/>
                </a:ext>
              </a:extLst>
            </p:cNvPr>
            <p:cNvSpPr/>
            <p:nvPr/>
          </p:nvSpPr>
          <p:spPr>
            <a:xfrm>
              <a:off x="4665022" y="2280353"/>
              <a:ext cx="135162" cy="94856"/>
            </a:xfrm>
            <a:custGeom>
              <a:avLst/>
              <a:gdLst>
                <a:gd name="connsiteX0" fmla="*/ 52114 w 135162"/>
                <a:gd name="connsiteY0" fmla="*/ 54553 h 94857"/>
                <a:gd name="connsiteX1" fmla="*/ 0 w 135162"/>
                <a:gd name="connsiteY1" fmla="*/ 54553 h 94857"/>
                <a:gd name="connsiteX2" fmla="*/ 0 w 135162"/>
                <a:gd name="connsiteY2" fmla="*/ 94858 h 94857"/>
                <a:gd name="connsiteX3" fmla="*/ 60457 w 135162"/>
                <a:gd name="connsiteY3" fmla="*/ 94858 h 94857"/>
                <a:gd name="connsiteX4" fmla="*/ 74705 w 135162"/>
                <a:gd name="connsiteY4" fmla="*/ 88953 h 94857"/>
                <a:gd name="connsiteX5" fmla="*/ 135162 w 135162"/>
                <a:gd name="connsiteY5" fmla="*/ 28496 h 94857"/>
                <a:gd name="connsiteX6" fmla="*/ 106667 w 135162"/>
                <a:gd name="connsiteY6" fmla="*/ 0 h 948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5162" h="94857">
                  <a:moveTo>
                    <a:pt x="52114" y="54553"/>
                  </a:moveTo>
                  <a:lnTo>
                    <a:pt x="0" y="54553"/>
                  </a:lnTo>
                  <a:lnTo>
                    <a:pt x="0" y="94858"/>
                  </a:lnTo>
                  <a:lnTo>
                    <a:pt x="60457" y="94858"/>
                  </a:lnTo>
                  <a:cubicBezTo>
                    <a:pt x="65802" y="94856"/>
                    <a:pt x="70927" y="92732"/>
                    <a:pt x="74705" y="88953"/>
                  </a:cubicBezTo>
                  <a:lnTo>
                    <a:pt x="135162" y="28496"/>
                  </a:lnTo>
                  <a:lnTo>
                    <a:pt x="106667" y="0"/>
                  </a:lnTo>
                  <a:close/>
                </a:path>
              </a:pathLst>
            </a:custGeom>
            <a:grpFill/>
            <a:ln w="200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262626"/>
                </a:solidFill>
                <a:effectLst/>
                <a:uLnTx/>
                <a:uFillTx/>
                <a:latin typeface="阿里巴巴普惠体 B"/>
                <a:ea typeface="阿里巴巴普惠体 R"/>
                <a:cs typeface="+mn-cs"/>
              </a:endParaRPr>
            </a:p>
          </p:txBody>
        </p:sp>
        <p:sp>
          <p:nvSpPr>
            <p:cNvPr id="109" name="任意多边形: 形状 108">
              <a:extLst>
                <a:ext uri="{FF2B5EF4-FFF2-40B4-BE49-F238E27FC236}">
                  <a16:creationId xmlns:a16="http://schemas.microsoft.com/office/drawing/2014/main" id="{FBFDF883-4F0D-439E-91F9-0D1DF4AF6F44}"/>
                </a:ext>
              </a:extLst>
            </p:cNvPr>
            <p:cNvSpPr/>
            <p:nvPr/>
          </p:nvSpPr>
          <p:spPr>
            <a:xfrm>
              <a:off x="4443345" y="2334906"/>
              <a:ext cx="181371" cy="40303"/>
            </a:xfrm>
            <a:custGeom>
              <a:avLst/>
              <a:gdLst>
                <a:gd name="connsiteX0" fmla="*/ 0 w 181371"/>
                <a:gd name="connsiteY0" fmla="*/ 0 h 40304"/>
                <a:gd name="connsiteX1" fmla="*/ 181372 w 181371"/>
                <a:gd name="connsiteY1" fmla="*/ 0 h 40304"/>
                <a:gd name="connsiteX2" fmla="*/ 181372 w 181371"/>
                <a:gd name="connsiteY2" fmla="*/ 40305 h 40304"/>
                <a:gd name="connsiteX3" fmla="*/ 0 w 181371"/>
                <a:gd name="connsiteY3" fmla="*/ 40305 h 40304"/>
              </a:gdLst>
              <a:ahLst/>
              <a:cxnLst>
                <a:cxn ang="0">
                  <a:pos x="connsiteX0" y="connsiteY0"/>
                </a:cxn>
                <a:cxn ang="0">
                  <a:pos x="connsiteX1" y="connsiteY1"/>
                </a:cxn>
                <a:cxn ang="0">
                  <a:pos x="connsiteX2" y="connsiteY2"/>
                </a:cxn>
                <a:cxn ang="0">
                  <a:pos x="connsiteX3" y="connsiteY3"/>
                </a:cxn>
              </a:cxnLst>
              <a:rect l="l" t="t" r="r" b="b"/>
              <a:pathLst>
                <a:path w="181371" h="40304">
                  <a:moveTo>
                    <a:pt x="0" y="0"/>
                  </a:moveTo>
                  <a:lnTo>
                    <a:pt x="181372" y="0"/>
                  </a:lnTo>
                  <a:lnTo>
                    <a:pt x="181372" y="40305"/>
                  </a:lnTo>
                  <a:lnTo>
                    <a:pt x="0" y="40305"/>
                  </a:lnTo>
                  <a:close/>
                </a:path>
              </a:pathLst>
            </a:custGeom>
            <a:grpFill/>
            <a:ln w="200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262626"/>
                </a:solidFill>
                <a:effectLst/>
                <a:uLnTx/>
                <a:uFillTx/>
                <a:latin typeface="阿里巴巴普惠体 B"/>
                <a:ea typeface="阿里巴巴普惠体 R"/>
                <a:cs typeface="+mn-cs"/>
              </a:endParaRPr>
            </a:p>
          </p:txBody>
        </p:sp>
        <p:sp>
          <p:nvSpPr>
            <p:cNvPr id="110" name="任意多边形: 形状 109">
              <a:extLst>
                <a:ext uri="{FF2B5EF4-FFF2-40B4-BE49-F238E27FC236}">
                  <a16:creationId xmlns:a16="http://schemas.microsoft.com/office/drawing/2014/main" id="{C6D0CADA-8002-44AE-AD94-07D306203D23}"/>
                </a:ext>
              </a:extLst>
            </p:cNvPr>
            <p:cNvSpPr/>
            <p:nvPr/>
          </p:nvSpPr>
          <p:spPr>
            <a:xfrm>
              <a:off x="4584411" y="2254296"/>
              <a:ext cx="40303" cy="40303"/>
            </a:xfrm>
            <a:custGeom>
              <a:avLst/>
              <a:gdLst>
                <a:gd name="connsiteX0" fmla="*/ 0 w 40304"/>
                <a:gd name="connsiteY0" fmla="*/ 0 h 40304"/>
                <a:gd name="connsiteX1" fmla="*/ 40305 w 40304"/>
                <a:gd name="connsiteY1" fmla="*/ 0 h 40304"/>
                <a:gd name="connsiteX2" fmla="*/ 40305 w 40304"/>
                <a:gd name="connsiteY2" fmla="*/ 40305 h 40304"/>
                <a:gd name="connsiteX3" fmla="*/ 0 w 40304"/>
                <a:gd name="connsiteY3" fmla="*/ 40305 h 40304"/>
              </a:gdLst>
              <a:ahLst/>
              <a:cxnLst>
                <a:cxn ang="0">
                  <a:pos x="connsiteX0" y="connsiteY0"/>
                </a:cxn>
                <a:cxn ang="0">
                  <a:pos x="connsiteX1" y="connsiteY1"/>
                </a:cxn>
                <a:cxn ang="0">
                  <a:pos x="connsiteX2" y="connsiteY2"/>
                </a:cxn>
                <a:cxn ang="0">
                  <a:pos x="connsiteX3" y="connsiteY3"/>
                </a:cxn>
              </a:cxnLst>
              <a:rect l="l" t="t" r="r" b="b"/>
              <a:pathLst>
                <a:path w="40304" h="40304">
                  <a:moveTo>
                    <a:pt x="0" y="0"/>
                  </a:moveTo>
                  <a:lnTo>
                    <a:pt x="40305" y="0"/>
                  </a:lnTo>
                  <a:lnTo>
                    <a:pt x="40305" y="40305"/>
                  </a:lnTo>
                  <a:lnTo>
                    <a:pt x="0" y="40305"/>
                  </a:lnTo>
                  <a:close/>
                </a:path>
              </a:pathLst>
            </a:custGeom>
            <a:grpFill/>
            <a:ln w="200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262626"/>
                </a:solidFill>
                <a:effectLst/>
                <a:uLnTx/>
                <a:uFillTx/>
                <a:latin typeface="阿里巴巴普惠体 B"/>
                <a:ea typeface="阿里巴巴普惠体 R"/>
                <a:cs typeface="+mn-cs"/>
              </a:endParaRPr>
            </a:p>
          </p:txBody>
        </p:sp>
        <p:sp>
          <p:nvSpPr>
            <p:cNvPr id="112" name="任意多边形: 形状 111">
              <a:extLst>
                <a:ext uri="{FF2B5EF4-FFF2-40B4-BE49-F238E27FC236}">
                  <a16:creationId xmlns:a16="http://schemas.microsoft.com/office/drawing/2014/main" id="{E73DD6AC-716F-4C15-9D69-12449E949A36}"/>
                </a:ext>
              </a:extLst>
            </p:cNvPr>
            <p:cNvSpPr/>
            <p:nvPr/>
          </p:nvSpPr>
          <p:spPr>
            <a:xfrm>
              <a:off x="4443345" y="2254298"/>
              <a:ext cx="100763" cy="40303"/>
            </a:xfrm>
            <a:custGeom>
              <a:avLst/>
              <a:gdLst>
                <a:gd name="connsiteX0" fmla="*/ 0 w 100762"/>
                <a:gd name="connsiteY0" fmla="*/ 0 h 40304"/>
                <a:gd name="connsiteX1" fmla="*/ 100762 w 100762"/>
                <a:gd name="connsiteY1" fmla="*/ 0 h 40304"/>
                <a:gd name="connsiteX2" fmla="*/ 100762 w 100762"/>
                <a:gd name="connsiteY2" fmla="*/ 40305 h 40304"/>
                <a:gd name="connsiteX3" fmla="*/ 0 w 100762"/>
                <a:gd name="connsiteY3" fmla="*/ 40305 h 40304"/>
              </a:gdLst>
              <a:ahLst/>
              <a:cxnLst>
                <a:cxn ang="0">
                  <a:pos x="connsiteX0" y="connsiteY0"/>
                </a:cxn>
                <a:cxn ang="0">
                  <a:pos x="connsiteX1" y="connsiteY1"/>
                </a:cxn>
                <a:cxn ang="0">
                  <a:pos x="connsiteX2" y="connsiteY2"/>
                </a:cxn>
                <a:cxn ang="0">
                  <a:pos x="connsiteX3" y="connsiteY3"/>
                </a:cxn>
              </a:cxnLst>
              <a:rect l="l" t="t" r="r" b="b"/>
              <a:pathLst>
                <a:path w="100762" h="40304">
                  <a:moveTo>
                    <a:pt x="0" y="0"/>
                  </a:moveTo>
                  <a:lnTo>
                    <a:pt x="100762" y="0"/>
                  </a:lnTo>
                  <a:lnTo>
                    <a:pt x="100762" y="40305"/>
                  </a:lnTo>
                  <a:lnTo>
                    <a:pt x="0" y="40305"/>
                  </a:lnTo>
                  <a:close/>
                </a:path>
              </a:pathLst>
            </a:custGeom>
            <a:grpFill/>
            <a:ln w="200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262626"/>
                </a:solidFill>
                <a:effectLst/>
                <a:uLnTx/>
                <a:uFillTx/>
                <a:latin typeface="阿里巴巴普惠体 B"/>
                <a:ea typeface="阿里巴巴普惠体 R"/>
                <a:cs typeface="+mn-cs"/>
              </a:endParaRPr>
            </a:p>
          </p:txBody>
        </p:sp>
        <p:sp>
          <p:nvSpPr>
            <p:cNvPr id="113" name="任意多边形: 形状 112">
              <a:extLst>
                <a:ext uri="{FF2B5EF4-FFF2-40B4-BE49-F238E27FC236}">
                  <a16:creationId xmlns:a16="http://schemas.microsoft.com/office/drawing/2014/main" id="{86E3CD78-CD01-40E3-9EC1-7D0A3ED5E516}"/>
                </a:ext>
              </a:extLst>
            </p:cNvPr>
            <p:cNvSpPr/>
            <p:nvPr/>
          </p:nvSpPr>
          <p:spPr>
            <a:xfrm>
              <a:off x="4443347" y="2173688"/>
              <a:ext cx="181372" cy="40303"/>
            </a:xfrm>
            <a:custGeom>
              <a:avLst/>
              <a:gdLst>
                <a:gd name="connsiteX0" fmla="*/ 0 w 181371"/>
                <a:gd name="connsiteY0" fmla="*/ 0 h 40304"/>
                <a:gd name="connsiteX1" fmla="*/ 181372 w 181371"/>
                <a:gd name="connsiteY1" fmla="*/ 0 h 40304"/>
                <a:gd name="connsiteX2" fmla="*/ 181372 w 181371"/>
                <a:gd name="connsiteY2" fmla="*/ 40305 h 40304"/>
                <a:gd name="connsiteX3" fmla="*/ 0 w 181371"/>
                <a:gd name="connsiteY3" fmla="*/ 40305 h 40304"/>
              </a:gdLst>
              <a:ahLst/>
              <a:cxnLst>
                <a:cxn ang="0">
                  <a:pos x="connsiteX0" y="connsiteY0"/>
                </a:cxn>
                <a:cxn ang="0">
                  <a:pos x="connsiteX1" y="connsiteY1"/>
                </a:cxn>
                <a:cxn ang="0">
                  <a:pos x="connsiteX2" y="connsiteY2"/>
                </a:cxn>
                <a:cxn ang="0">
                  <a:pos x="connsiteX3" y="connsiteY3"/>
                </a:cxn>
              </a:cxnLst>
              <a:rect l="l" t="t" r="r" b="b"/>
              <a:pathLst>
                <a:path w="181371" h="40304">
                  <a:moveTo>
                    <a:pt x="0" y="0"/>
                  </a:moveTo>
                  <a:lnTo>
                    <a:pt x="181372" y="0"/>
                  </a:lnTo>
                  <a:lnTo>
                    <a:pt x="181372" y="40305"/>
                  </a:lnTo>
                  <a:lnTo>
                    <a:pt x="0" y="40305"/>
                  </a:lnTo>
                  <a:close/>
                </a:path>
              </a:pathLst>
            </a:custGeom>
            <a:grpFill/>
            <a:ln w="200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262626"/>
                </a:solidFill>
                <a:effectLst/>
                <a:uLnTx/>
                <a:uFillTx/>
                <a:latin typeface="阿里巴巴普惠体 B"/>
                <a:ea typeface="阿里巴巴普惠体 R"/>
                <a:cs typeface="+mn-cs"/>
              </a:endParaRPr>
            </a:p>
          </p:txBody>
        </p:sp>
        <p:sp>
          <p:nvSpPr>
            <p:cNvPr id="114" name="任意多边形: 形状 113">
              <a:extLst>
                <a:ext uri="{FF2B5EF4-FFF2-40B4-BE49-F238E27FC236}">
                  <a16:creationId xmlns:a16="http://schemas.microsoft.com/office/drawing/2014/main" id="{B71F2BC2-3890-49F7-86B4-78DFA663DFEA}"/>
                </a:ext>
              </a:extLst>
            </p:cNvPr>
            <p:cNvSpPr/>
            <p:nvPr/>
          </p:nvSpPr>
          <p:spPr>
            <a:xfrm>
              <a:off x="4705325" y="1891573"/>
              <a:ext cx="443354" cy="40303"/>
            </a:xfrm>
            <a:custGeom>
              <a:avLst/>
              <a:gdLst>
                <a:gd name="connsiteX0" fmla="*/ 0 w 443353"/>
                <a:gd name="connsiteY0" fmla="*/ 0 h 40304"/>
                <a:gd name="connsiteX1" fmla="*/ 443354 w 443353"/>
                <a:gd name="connsiteY1" fmla="*/ 0 h 40304"/>
                <a:gd name="connsiteX2" fmla="*/ 443354 w 443353"/>
                <a:gd name="connsiteY2" fmla="*/ 40305 h 40304"/>
                <a:gd name="connsiteX3" fmla="*/ 0 w 443353"/>
                <a:gd name="connsiteY3" fmla="*/ 40305 h 40304"/>
              </a:gdLst>
              <a:ahLst/>
              <a:cxnLst>
                <a:cxn ang="0">
                  <a:pos x="connsiteX0" y="connsiteY0"/>
                </a:cxn>
                <a:cxn ang="0">
                  <a:pos x="connsiteX1" y="connsiteY1"/>
                </a:cxn>
                <a:cxn ang="0">
                  <a:pos x="connsiteX2" y="connsiteY2"/>
                </a:cxn>
                <a:cxn ang="0">
                  <a:pos x="connsiteX3" y="connsiteY3"/>
                </a:cxn>
              </a:cxnLst>
              <a:rect l="l" t="t" r="r" b="b"/>
              <a:pathLst>
                <a:path w="443353" h="40304">
                  <a:moveTo>
                    <a:pt x="0" y="0"/>
                  </a:moveTo>
                  <a:lnTo>
                    <a:pt x="443354" y="0"/>
                  </a:lnTo>
                  <a:lnTo>
                    <a:pt x="443354" y="40305"/>
                  </a:lnTo>
                  <a:lnTo>
                    <a:pt x="0" y="40305"/>
                  </a:lnTo>
                  <a:close/>
                </a:path>
              </a:pathLst>
            </a:custGeom>
            <a:grpFill/>
            <a:ln w="2009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262626"/>
                </a:solidFill>
                <a:effectLst/>
                <a:uLnTx/>
                <a:uFillTx/>
                <a:latin typeface="阿里巴巴普惠体 B"/>
                <a:ea typeface="阿里巴巴普惠体 R"/>
                <a:cs typeface="+mn-cs"/>
              </a:endParaRPr>
            </a:p>
          </p:txBody>
        </p:sp>
      </p:grpSp>
      <p:grpSp>
        <p:nvGrpSpPr>
          <p:cNvPr id="119" name="组合 118">
            <a:extLst>
              <a:ext uri="{FF2B5EF4-FFF2-40B4-BE49-F238E27FC236}">
                <a16:creationId xmlns:a16="http://schemas.microsoft.com/office/drawing/2014/main" id="{9DBB7763-DD89-4EDF-835E-CC777287E6B2}"/>
              </a:ext>
            </a:extLst>
          </p:cNvPr>
          <p:cNvGrpSpPr/>
          <p:nvPr/>
        </p:nvGrpSpPr>
        <p:grpSpPr>
          <a:xfrm>
            <a:off x="11582193" y="421861"/>
            <a:ext cx="128587" cy="180000"/>
            <a:chOff x="2975429" y="1451429"/>
            <a:chExt cx="128587" cy="180000"/>
          </a:xfrm>
        </p:grpSpPr>
        <p:cxnSp>
          <p:nvCxnSpPr>
            <p:cNvPr id="120" name="直接连接符 119">
              <a:extLst>
                <a:ext uri="{FF2B5EF4-FFF2-40B4-BE49-F238E27FC236}">
                  <a16:creationId xmlns:a16="http://schemas.microsoft.com/office/drawing/2014/main" id="{260EA0D7-EDF7-4857-AE07-47710F818FA6}"/>
                </a:ext>
              </a:extLst>
            </p:cNvPr>
            <p:cNvCxnSpPr>
              <a:cxnSpLocks/>
            </p:cNvCxnSpPr>
            <p:nvPr/>
          </p:nvCxnSpPr>
          <p:spPr>
            <a:xfrm flipV="1">
              <a:off x="2975429" y="1451429"/>
              <a:ext cx="0" cy="180000"/>
            </a:xfrm>
            <a:prstGeom prst="line">
              <a:avLst/>
            </a:prstGeom>
            <a:ln w="25400">
              <a:solidFill>
                <a:srgbClr val="1622FA"/>
              </a:solidFill>
            </a:ln>
          </p:spPr>
          <p:style>
            <a:lnRef idx="1">
              <a:schemeClr val="accent1"/>
            </a:lnRef>
            <a:fillRef idx="0">
              <a:schemeClr val="accent1"/>
            </a:fillRef>
            <a:effectRef idx="0">
              <a:schemeClr val="accent1"/>
            </a:effectRef>
            <a:fontRef idx="minor">
              <a:schemeClr val="tx1"/>
            </a:fontRef>
          </p:style>
        </p:cxnSp>
        <p:cxnSp>
          <p:nvCxnSpPr>
            <p:cNvPr id="121" name="直接连接符 120">
              <a:extLst>
                <a:ext uri="{FF2B5EF4-FFF2-40B4-BE49-F238E27FC236}">
                  <a16:creationId xmlns:a16="http://schemas.microsoft.com/office/drawing/2014/main" id="{ABB21407-094C-4D4B-91F5-F00F4B139BB4}"/>
                </a:ext>
              </a:extLst>
            </p:cNvPr>
            <p:cNvCxnSpPr>
              <a:cxnSpLocks/>
            </p:cNvCxnSpPr>
            <p:nvPr/>
          </p:nvCxnSpPr>
          <p:spPr>
            <a:xfrm flipV="1">
              <a:off x="3039723" y="1451429"/>
              <a:ext cx="0" cy="180000"/>
            </a:xfrm>
            <a:prstGeom prst="line">
              <a:avLst/>
            </a:prstGeom>
            <a:ln w="25400">
              <a:solidFill>
                <a:srgbClr val="1622FA"/>
              </a:solidFill>
            </a:ln>
          </p:spPr>
          <p:style>
            <a:lnRef idx="1">
              <a:schemeClr val="accent1"/>
            </a:lnRef>
            <a:fillRef idx="0">
              <a:schemeClr val="accent1"/>
            </a:fillRef>
            <a:effectRef idx="0">
              <a:schemeClr val="accent1"/>
            </a:effectRef>
            <a:fontRef idx="minor">
              <a:schemeClr val="tx1"/>
            </a:fontRef>
          </p:style>
        </p:cxnSp>
        <p:cxnSp>
          <p:nvCxnSpPr>
            <p:cNvPr id="122" name="直接连接符 121">
              <a:extLst>
                <a:ext uri="{FF2B5EF4-FFF2-40B4-BE49-F238E27FC236}">
                  <a16:creationId xmlns:a16="http://schemas.microsoft.com/office/drawing/2014/main" id="{A4B67B44-A794-4E1E-96FE-8D28855813E4}"/>
                </a:ext>
              </a:extLst>
            </p:cNvPr>
            <p:cNvCxnSpPr>
              <a:cxnSpLocks/>
            </p:cNvCxnSpPr>
            <p:nvPr/>
          </p:nvCxnSpPr>
          <p:spPr>
            <a:xfrm flipV="1">
              <a:off x="3104016" y="1451429"/>
              <a:ext cx="0" cy="180000"/>
            </a:xfrm>
            <a:prstGeom prst="line">
              <a:avLst/>
            </a:prstGeom>
            <a:ln w="25400">
              <a:solidFill>
                <a:srgbClr val="1622FA"/>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951702119"/>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4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A517FAF2-2CC5-4306-BBCB-D56DAD9E166A}"/>
              </a:ext>
            </a:extLst>
          </p:cNvPr>
          <p:cNvSpPr>
            <a:spLocks noGrp="1"/>
          </p:cNvSpPr>
          <p:nvPr/>
        </p:nvSpPr>
        <p:spPr>
          <a:xfrm>
            <a:off x="670718" y="644718"/>
            <a:ext cx="10850563" cy="736838"/>
          </a:xfrm>
          <a:prstGeom prst="rect">
            <a:avLst/>
          </a:prstGeom>
        </p:spPr>
        <p:txBody>
          <a:bodyPr vert="horz" lIns="91440" tIns="45720" rIns="91440" bIns="45720" rtlCol="0" anchor="b">
            <a:normAutofit/>
          </a:bodyPr>
          <a:lstStyle>
            <a:lvl1pPr algn="l" defTabSz="914354" rtl="0" eaLnBrk="1" latinLnBrk="0" hangingPunct="1">
              <a:lnSpc>
                <a:spcPct val="90000"/>
              </a:lnSpc>
              <a:spcBef>
                <a:spcPct val="0"/>
              </a:spcBef>
              <a:buNone/>
              <a:defRPr sz="2800" b="1" kern="1200">
                <a:solidFill>
                  <a:schemeClr val="tx1"/>
                </a:solidFill>
                <a:latin typeface="+mj-lt"/>
                <a:ea typeface="+mj-ea"/>
                <a:cs typeface="+mj-cs"/>
              </a:defRPr>
            </a:lvl1pPr>
          </a:lstStyle>
          <a:p>
            <a:pPr marL="0" marR="0" lvl="0" indent="0" algn="l" defTabSz="914354" rtl="0" eaLnBrk="1" fontAlgn="auto" latinLnBrk="0" hangingPunct="1">
              <a:lnSpc>
                <a:spcPct val="90000"/>
              </a:lnSpc>
              <a:spcBef>
                <a:spcPct val="0"/>
              </a:spcBef>
              <a:spcAft>
                <a:spcPts val="0"/>
              </a:spcAft>
              <a:buClrTx/>
              <a:buSzTx/>
              <a:buFontTx/>
              <a:buNone/>
              <a:tabLst/>
              <a:defRPr/>
            </a:pPr>
            <a:r>
              <a:rPr kumimoji="0" lang="zh-CN" altLang="en-US" sz="2800" b="1" i="0" u="none" strike="noStrike" kern="1200" cap="none" spc="0" normalizeH="0" baseline="0" noProof="0" dirty="0">
                <a:ln>
                  <a:noFill/>
                </a:ln>
                <a:solidFill>
                  <a:prstClr val="black">
                    <a:lumMod val="75000"/>
                    <a:lumOff val="25000"/>
                  </a:prstClr>
                </a:solidFill>
                <a:effectLst/>
                <a:uLnTx/>
                <a:uFillTx/>
                <a:latin typeface="阿里巴巴普惠体 B"/>
                <a:cs typeface="+mj-cs"/>
                <a:sym typeface="思源黑体" panose="020B0500000000000000" pitchFamily="34" charset="-122"/>
              </a:rPr>
              <a:t>找到内心的归属感</a:t>
            </a:r>
          </a:p>
        </p:txBody>
      </p:sp>
      <p:cxnSp>
        <p:nvCxnSpPr>
          <p:cNvPr id="4" name="直接连接符 3">
            <a:extLst>
              <a:ext uri="{FF2B5EF4-FFF2-40B4-BE49-F238E27FC236}">
                <a16:creationId xmlns:a16="http://schemas.microsoft.com/office/drawing/2014/main" id="{E21ABF9D-8794-4894-85C5-C4DE3CBC4601}"/>
              </a:ext>
            </a:extLst>
          </p:cNvPr>
          <p:cNvCxnSpPr>
            <a:cxnSpLocks/>
          </p:cNvCxnSpPr>
          <p:nvPr/>
        </p:nvCxnSpPr>
        <p:spPr>
          <a:xfrm flipH="1">
            <a:off x="7645178" y="3827808"/>
            <a:ext cx="327272" cy="941832"/>
          </a:xfrm>
          <a:prstGeom prst="line">
            <a:avLst/>
          </a:prstGeom>
          <a:ln w="152400" cap="rnd">
            <a:solidFill>
              <a:schemeClr val="bg2"/>
            </a:solidFill>
            <a:round/>
          </a:ln>
        </p:spPr>
        <p:style>
          <a:lnRef idx="1">
            <a:schemeClr val="accent1"/>
          </a:lnRef>
          <a:fillRef idx="0">
            <a:schemeClr val="accent1"/>
          </a:fillRef>
          <a:effectRef idx="0">
            <a:schemeClr val="accent1"/>
          </a:effectRef>
          <a:fontRef idx="minor">
            <a:schemeClr val="tx1"/>
          </a:fontRef>
        </p:style>
      </p:cxnSp>
      <p:cxnSp>
        <p:nvCxnSpPr>
          <p:cNvPr id="5" name="直接连接符 4">
            <a:extLst>
              <a:ext uri="{FF2B5EF4-FFF2-40B4-BE49-F238E27FC236}">
                <a16:creationId xmlns:a16="http://schemas.microsoft.com/office/drawing/2014/main" id="{10F54770-7E6E-4A5D-831D-E65FED7A7A0A}"/>
              </a:ext>
            </a:extLst>
          </p:cNvPr>
          <p:cNvCxnSpPr>
            <a:cxnSpLocks/>
          </p:cNvCxnSpPr>
          <p:nvPr/>
        </p:nvCxnSpPr>
        <p:spPr>
          <a:xfrm flipH="1">
            <a:off x="4105334" y="4812791"/>
            <a:ext cx="291038" cy="876257"/>
          </a:xfrm>
          <a:prstGeom prst="line">
            <a:avLst/>
          </a:prstGeom>
          <a:ln w="152400" cap="rnd">
            <a:solidFill>
              <a:schemeClr val="bg2"/>
            </a:solidFill>
            <a:round/>
          </a:ln>
        </p:spPr>
        <p:style>
          <a:lnRef idx="1">
            <a:schemeClr val="accent1"/>
          </a:lnRef>
          <a:fillRef idx="0">
            <a:schemeClr val="accent1"/>
          </a:fillRef>
          <a:effectRef idx="0">
            <a:schemeClr val="accent1"/>
          </a:effectRef>
          <a:fontRef idx="minor">
            <a:schemeClr val="tx1"/>
          </a:fontRef>
        </p:style>
      </p:cxnSp>
      <p:cxnSp>
        <p:nvCxnSpPr>
          <p:cNvPr id="6" name="直接连接符 5">
            <a:extLst>
              <a:ext uri="{FF2B5EF4-FFF2-40B4-BE49-F238E27FC236}">
                <a16:creationId xmlns:a16="http://schemas.microsoft.com/office/drawing/2014/main" id="{A7C39FD6-95EC-4545-9440-8CA40165BCEF}"/>
              </a:ext>
            </a:extLst>
          </p:cNvPr>
          <p:cNvCxnSpPr/>
          <p:nvPr/>
        </p:nvCxnSpPr>
        <p:spPr>
          <a:xfrm>
            <a:off x="769843" y="5776196"/>
            <a:ext cx="3357522" cy="0"/>
          </a:xfrm>
          <a:prstGeom prst="line">
            <a:avLst/>
          </a:prstGeom>
          <a:ln w="152400" cap="rnd">
            <a:solidFill>
              <a:schemeClr val="bg2"/>
            </a:solidFill>
            <a:round/>
            <a:tailEnd type="arrow" w="sm" len="sm"/>
          </a:ln>
        </p:spPr>
        <p:style>
          <a:lnRef idx="1">
            <a:schemeClr val="accent1"/>
          </a:lnRef>
          <a:fillRef idx="0">
            <a:schemeClr val="accent1"/>
          </a:fillRef>
          <a:effectRef idx="0">
            <a:schemeClr val="accent1"/>
          </a:effectRef>
          <a:fontRef idx="minor">
            <a:schemeClr val="tx1"/>
          </a:fontRef>
        </p:style>
      </p:cxnSp>
      <p:cxnSp>
        <p:nvCxnSpPr>
          <p:cNvPr id="7" name="直接连接符 6">
            <a:extLst>
              <a:ext uri="{FF2B5EF4-FFF2-40B4-BE49-F238E27FC236}">
                <a16:creationId xmlns:a16="http://schemas.microsoft.com/office/drawing/2014/main" id="{F9365E83-CA97-4DDE-A7B1-5A3D4E8197CB}"/>
              </a:ext>
            </a:extLst>
          </p:cNvPr>
          <p:cNvCxnSpPr>
            <a:cxnSpLocks/>
          </p:cNvCxnSpPr>
          <p:nvPr/>
        </p:nvCxnSpPr>
        <p:spPr>
          <a:xfrm>
            <a:off x="4396372" y="4810814"/>
            <a:ext cx="3320422" cy="0"/>
          </a:xfrm>
          <a:prstGeom prst="line">
            <a:avLst/>
          </a:prstGeom>
          <a:ln w="152400" cap="rnd">
            <a:solidFill>
              <a:schemeClr val="bg2"/>
            </a:solidFill>
            <a:round/>
            <a:tailEnd type="arrow" w="sm" len="sm"/>
          </a:ln>
        </p:spPr>
        <p:style>
          <a:lnRef idx="1">
            <a:schemeClr val="accent1"/>
          </a:lnRef>
          <a:fillRef idx="0">
            <a:schemeClr val="accent1"/>
          </a:fillRef>
          <a:effectRef idx="0">
            <a:schemeClr val="accent1"/>
          </a:effectRef>
          <a:fontRef idx="minor">
            <a:schemeClr val="tx1"/>
          </a:fontRef>
        </p:style>
      </p:cxnSp>
      <p:cxnSp>
        <p:nvCxnSpPr>
          <p:cNvPr id="8" name="直接连接符 7">
            <a:extLst>
              <a:ext uri="{FF2B5EF4-FFF2-40B4-BE49-F238E27FC236}">
                <a16:creationId xmlns:a16="http://schemas.microsoft.com/office/drawing/2014/main" id="{D3845972-E8C4-4652-A38C-B02A43B78AAB}"/>
              </a:ext>
            </a:extLst>
          </p:cNvPr>
          <p:cNvCxnSpPr>
            <a:cxnSpLocks/>
          </p:cNvCxnSpPr>
          <p:nvPr/>
        </p:nvCxnSpPr>
        <p:spPr>
          <a:xfrm>
            <a:off x="7981833" y="3827808"/>
            <a:ext cx="3539449" cy="0"/>
          </a:xfrm>
          <a:prstGeom prst="line">
            <a:avLst/>
          </a:prstGeom>
          <a:ln w="152400" cap="rnd">
            <a:solidFill>
              <a:schemeClr val="bg2"/>
            </a:solidFill>
            <a:round/>
            <a:tailEnd type="arrow" w="sm" len="sm"/>
          </a:ln>
        </p:spPr>
        <p:style>
          <a:lnRef idx="1">
            <a:schemeClr val="accent1"/>
          </a:lnRef>
          <a:fillRef idx="0">
            <a:schemeClr val="accent1"/>
          </a:fillRef>
          <a:effectRef idx="0">
            <a:schemeClr val="accent1"/>
          </a:effectRef>
          <a:fontRef idx="minor">
            <a:schemeClr val="tx1"/>
          </a:fontRef>
        </p:style>
      </p:cxnSp>
      <p:sp>
        <p:nvSpPr>
          <p:cNvPr id="9" name="îşlîďê">
            <a:extLst>
              <a:ext uri="{FF2B5EF4-FFF2-40B4-BE49-F238E27FC236}">
                <a16:creationId xmlns:a16="http://schemas.microsoft.com/office/drawing/2014/main" id="{9FD8E826-DCE3-4095-87FC-E64EBAE76285}"/>
              </a:ext>
            </a:extLst>
          </p:cNvPr>
          <p:cNvSpPr/>
          <p:nvPr/>
        </p:nvSpPr>
        <p:spPr>
          <a:xfrm>
            <a:off x="1793044" y="5397433"/>
            <a:ext cx="723900" cy="723894"/>
          </a:xfrm>
          <a:prstGeom prst="ellipse">
            <a:avLst/>
          </a:prstGeom>
          <a:solidFill>
            <a:schemeClr val="accent1"/>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anchor="ctr">
            <a:norm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600" b="1" i="0" u="none" strike="noStrike" kern="1200" cap="none" spc="0" normalizeH="0" baseline="0" noProof="0" dirty="0">
                <a:ln>
                  <a:noFill/>
                </a:ln>
                <a:solidFill>
                  <a:prstClr val="white"/>
                </a:solidFill>
                <a:effectLst/>
                <a:uLnTx/>
                <a:uFillTx/>
                <a:latin typeface="阿里巴巴普惠体 B"/>
                <a:cs typeface="+mn-cs"/>
              </a:rPr>
              <a:t>Text</a:t>
            </a:r>
            <a:endParaRPr kumimoji="0" sz="1600" b="1" i="0" u="none" strike="noStrike" kern="1200" cap="none" spc="0" normalizeH="0" baseline="0" noProof="0" dirty="0">
              <a:ln>
                <a:noFill/>
              </a:ln>
              <a:solidFill>
                <a:prstClr val="white"/>
              </a:solidFill>
              <a:effectLst/>
              <a:uLnTx/>
              <a:uFillTx/>
              <a:latin typeface="阿里巴巴普惠体 B"/>
              <a:cs typeface="+mn-cs"/>
            </a:endParaRPr>
          </a:p>
        </p:txBody>
      </p:sp>
      <p:sp>
        <p:nvSpPr>
          <p:cNvPr id="10" name="îṧḻïḍé">
            <a:extLst>
              <a:ext uri="{FF2B5EF4-FFF2-40B4-BE49-F238E27FC236}">
                <a16:creationId xmlns:a16="http://schemas.microsoft.com/office/drawing/2014/main" id="{C6014BEE-F77E-4512-B7FF-4A131334236D}"/>
              </a:ext>
            </a:extLst>
          </p:cNvPr>
          <p:cNvSpPr/>
          <p:nvPr/>
        </p:nvSpPr>
        <p:spPr>
          <a:xfrm>
            <a:off x="5449977" y="4456103"/>
            <a:ext cx="723900" cy="723894"/>
          </a:xfrm>
          <a:prstGeom prst="ellipse">
            <a:avLst/>
          </a:prstGeom>
          <a:solidFill>
            <a:schemeClr val="accent1"/>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anchor="ctr">
            <a:norm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600" b="1" i="0" u="none" strike="noStrike" kern="1200" cap="none" spc="0" normalizeH="0" baseline="0" noProof="0" dirty="0">
                <a:ln>
                  <a:noFill/>
                </a:ln>
                <a:solidFill>
                  <a:prstClr val="white"/>
                </a:solidFill>
                <a:effectLst/>
                <a:uLnTx/>
                <a:uFillTx/>
                <a:latin typeface="阿里巴巴普惠体 B"/>
                <a:cs typeface="+mn-cs"/>
              </a:rPr>
              <a:t>Text</a:t>
            </a:r>
            <a:endParaRPr kumimoji="0" sz="1600" b="1" i="0" u="none" strike="noStrike" kern="1200" cap="none" spc="0" normalizeH="0" baseline="0" noProof="0" dirty="0">
              <a:ln>
                <a:noFill/>
              </a:ln>
              <a:solidFill>
                <a:prstClr val="white"/>
              </a:solidFill>
              <a:effectLst/>
              <a:uLnTx/>
              <a:uFillTx/>
              <a:latin typeface="阿里巴巴普惠体 B"/>
              <a:cs typeface="+mn-cs"/>
            </a:endParaRPr>
          </a:p>
        </p:txBody>
      </p:sp>
      <p:sp>
        <p:nvSpPr>
          <p:cNvPr id="11" name="iṡlïḓé">
            <a:extLst>
              <a:ext uri="{FF2B5EF4-FFF2-40B4-BE49-F238E27FC236}">
                <a16:creationId xmlns:a16="http://schemas.microsoft.com/office/drawing/2014/main" id="{63149A30-4BDD-415D-81D4-325A3C208F8C}"/>
              </a:ext>
            </a:extLst>
          </p:cNvPr>
          <p:cNvSpPr/>
          <p:nvPr/>
        </p:nvSpPr>
        <p:spPr>
          <a:xfrm>
            <a:off x="9270265" y="3450263"/>
            <a:ext cx="723900" cy="723894"/>
          </a:xfrm>
          <a:prstGeom prst="ellipse">
            <a:avLst/>
          </a:prstGeom>
          <a:solidFill>
            <a:schemeClr val="accent1"/>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anchor="ctr">
            <a:norm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600" b="1" i="0" u="none" strike="noStrike" kern="1200" cap="none" spc="0" normalizeH="0" baseline="0" noProof="0" dirty="0">
                <a:ln>
                  <a:noFill/>
                </a:ln>
                <a:solidFill>
                  <a:prstClr val="white"/>
                </a:solidFill>
                <a:effectLst/>
                <a:uLnTx/>
                <a:uFillTx/>
                <a:latin typeface="阿里巴巴普惠体 B"/>
                <a:cs typeface="+mn-cs"/>
              </a:rPr>
              <a:t>Text</a:t>
            </a:r>
            <a:endParaRPr kumimoji="0" sz="1600" b="1" i="0" u="none" strike="noStrike" kern="1200" cap="none" spc="0" normalizeH="0" baseline="0" noProof="0" dirty="0">
              <a:ln>
                <a:noFill/>
              </a:ln>
              <a:solidFill>
                <a:prstClr val="white"/>
              </a:solidFill>
              <a:effectLst/>
              <a:uLnTx/>
              <a:uFillTx/>
              <a:latin typeface="阿里巴巴普惠体 B"/>
              <a:cs typeface="+mn-cs"/>
            </a:endParaRPr>
          </a:p>
        </p:txBody>
      </p:sp>
      <p:sp>
        <p:nvSpPr>
          <p:cNvPr id="12" name="i$ľïḋè">
            <a:extLst>
              <a:ext uri="{FF2B5EF4-FFF2-40B4-BE49-F238E27FC236}">
                <a16:creationId xmlns:a16="http://schemas.microsoft.com/office/drawing/2014/main" id="{D1C82E58-9266-4A1B-94B3-319D9509F73F}"/>
              </a:ext>
            </a:extLst>
          </p:cNvPr>
          <p:cNvSpPr txBox="1"/>
          <p:nvPr/>
        </p:nvSpPr>
        <p:spPr>
          <a:xfrm>
            <a:off x="680416" y="4101274"/>
            <a:ext cx="2949156" cy="830369"/>
          </a:xfrm>
          <a:prstGeom prst="rect">
            <a:avLst/>
          </a:prstGeom>
          <a:noFill/>
        </p:spPr>
        <p:txBody>
          <a:bodyPr wrap="square" lIns="90000" tIns="46800" rIns="90000" bIns="46800" rtlCol="0">
            <a:no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0" lang="zh-CN" altLang="en-US" sz="1600" b="0" i="0" u="none" strike="noStrike" kern="1200" cap="none" spc="0" normalizeH="0" baseline="0" noProof="0" dirty="0">
                <a:ln>
                  <a:noFill/>
                </a:ln>
                <a:solidFill>
                  <a:prstClr val="black"/>
                </a:solidFill>
                <a:effectLst/>
                <a:uLnTx/>
                <a:uFillTx/>
                <a:latin typeface="阿里巴巴普惠体 R"/>
                <a:ea typeface="+mj-ea"/>
                <a:cs typeface="+mn-cs"/>
              </a:rPr>
              <a:t>每个部门前</a:t>
            </a:r>
            <a:r>
              <a:rPr kumimoji="0" lang="en-US" altLang="zh-CN" sz="1600" b="0" i="0" u="none" strike="noStrike" kern="1200" cap="none" spc="0" normalizeH="0" baseline="0" noProof="0" dirty="0">
                <a:ln>
                  <a:noFill/>
                </a:ln>
                <a:solidFill>
                  <a:prstClr val="black"/>
                </a:solidFill>
                <a:effectLst/>
                <a:uLnTx/>
                <a:uFillTx/>
                <a:latin typeface="阿里巴巴普惠体 R"/>
                <a:ea typeface="+mj-ea"/>
                <a:cs typeface="+mn-cs"/>
              </a:rPr>
              <a:t>5</a:t>
            </a:r>
            <a:r>
              <a:rPr kumimoji="0" lang="zh-CN" altLang="en-US" sz="1600" b="0" i="0" u="none" strike="noStrike" kern="1200" cap="none" spc="0" normalizeH="0" baseline="0" noProof="0" dirty="0">
                <a:ln>
                  <a:noFill/>
                </a:ln>
                <a:solidFill>
                  <a:prstClr val="black"/>
                </a:solidFill>
                <a:effectLst/>
                <a:uLnTx/>
                <a:uFillTx/>
                <a:latin typeface="阿里巴巴普惠体 R"/>
                <a:ea typeface="+mj-ea"/>
                <a:cs typeface="+mn-cs"/>
              </a:rPr>
              <a:t>年推出的新产品和服务产生的营收应占年度营收的</a:t>
            </a:r>
            <a:r>
              <a:rPr kumimoji="0" lang="en-US" altLang="zh-CN" sz="1600" b="0" i="0" u="none" strike="noStrike" kern="1200" cap="none" spc="0" normalizeH="0" baseline="0" noProof="0" dirty="0">
                <a:ln>
                  <a:noFill/>
                </a:ln>
                <a:solidFill>
                  <a:prstClr val="black"/>
                </a:solidFill>
                <a:effectLst/>
                <a:uLnTx/>
                <a:uFillTx/>
                <a:latin typeface="阿里巴巴普惠体 R"/>
                <a:ea typeface="+mj-ea"/>
                <a:cs typeface="+mn-cs"/>
              </a:rPr>
              <a:t>25</a:t>
            </a:r>
            <a:r>
              <a:rPr kumimoji="0" lang="zh-CN" altLang="en-US" sz="1600" b="0" i="0" u="none" strike="noStrike" kern="1200" cap="none" spc="0" normalizeH="0" baseline="0" noProof="0" dirty="0">
                <a:ln>
                  <a:noFill/>
                </a:ln>
                <a:solidFill>
                  <a:prstClr val="black"/>
                </a:solidFill>
                <a:effectLst/>
                <a:uLnTx/>
                <a:uFillTx/>
                <a:latin typeface="阿里巴巴普惠体 R"/>
                <a:ea typeface="+mj-ea"/>
                <a:cs typeface="+mn-cs"/>
              </a:rPr>
              <a:t>％以上</a:t>
            </a:r>
          </a:p>
        </p:txBody>
      </p:sp>
      <p:sp>
        <p:nvSpPr>
          <p:cNvPr id="13" name="ïṩḻiḍé">
            <a:extLst>
              <a:ext uri="{FF2B5EF4-FFF2-40B4-BE49-F238E27FC236}">
                <a16:creationId xmlns:a16="http://schemas.microsoft.com/office/drawing/2014/main" id="{D6700DDA-6373-4E2F-96BD-50A3C48BC646}"/>
              </a:ext>
            </a:extLst>
          </p:cNvPr>
          <p:cNvSpPr txBox="1"/>
          <p:nvPr/>
        </p:nvSpPr>
        <p:spPr>
          <a:xfrm>
            <a:off x="680416" y="3647074"/>
            <a:ext cx="2949156" cy="454199"/>
          </a:xfrm>
          <a:prstGeom prst="rect">
            <a:avLst/>
          </a:prstGeom>
          <a:noFill/>
        </p:spPr>
        <p:txBody>
          <a:bodyPr wrap="none" rtlCol="0" anchor="b">
            <a:no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378" rtl="0" eaLnBrk="1" fontAlgn="auto" latinLnBrk="0" hangingPunct="1">
              <a:lnSpc>
                <a:spcPct val="100000"/>
              </a:lnSpc>
              <a:spcBef>
                <a:spcPct val="0"/>
              </a:spcBef>
              <a:spcAft>
                <a:spcPts val="0"/>
              </a:spcAft>
              <a:buClrTx/>
              <a:buSzTx/>
              <a:buFontTx/>
              <a:buNone/>
              <a:tabLst/>
              <a:defRPr/>
            </a:pPr>
            <a:r>
              <a:rPr kumimoji="0" lang="zh-CN" altLang="en-US" sz="2000" b="1" i="0" u="none" strike="noStrike" kern="1200" cap="none" spc="0" normalizeH="0" baseline="0" noProof="0" dirty="0">
                <a:ln>
                  <a:noFill/>
                </a:ln>
                <a:solidFill>
                  <a:schemeClr val="accent1"/>
                </a:solidFill>
                <a:effectLst/>
                <a:uLnTx/>
                <a:uFillTx/>
                <a:latin typeface="阿里巴巴普惠体 B"/>
                <a:cs typeface="+mn-cs"/>
              </a:rPr>
              <a:t>核心能力</a:t>
            </a:r>
          </a:p>
        </p:txBody>
      </p:sp>
      <p:sp>
        <p:nvSpPr>
          <p:cNvPr id="14" name="ïṡļiḍé">
            <a:extLst>
              <a:ext uri="{FF2B5EF4-FFF2-40B4-BE49-F238E27FC236}">
                <a16:creationId xmlns:a16="http://schemas.microsoft.com/office/drawing/2014/main" id="{3A8FEAAE-9D91-4097-AF0E-F37480F38B9C}"/>
              </a:ext>
            </a:extLst>
          </p:cNvPr>
          <p:cNvSpPr txBox="1"/>
          <p:nvPr/>
        </p:nvSpPr>
        <p:spPr>
          <a:xfrm>
            <a:off x="4337349" y="3068887"/>
            <a:ext cx="2949156" cy="830369"/>
          </a:xfrm>
          <a:prstGeom prst="rect">
            <a:avLst/>
          </a:prstGeom>
          <a:noFill/>
        </p:spPr>
        <p:txBody>
          <a:bodyPr wrap="square" lIns="90000" tIns="46800" rIns="90000" bIns="46800" rtlCol="0">
            <a:no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0" lang="zh-CN" altLang="en-US" sz="1600" b="0" i="0" u="none" strike="noStrike" kern="1200" cap="none" spc="0" normalizeH="0" baseline="0" noProof="0" dirty="0">
                <a:ln>
                  <a:noFill/>
                </a:ln>
                <a:solidFill>
                  <a:prstClr val="black"/>
                </a:solidFill>
                <a:effectLst/>
                <a:uLnTx/>
                <a:uFillTx/>
                <a:latin typeface="阿里巴巴普惠体 R"/>
                <a:ea typeface="+mj-ea"/>
                <a:cs typeface="+mn-cs"/>
              </a:rPr>
              <a:t>每个部门前</a:t>
            </a:r>
            <a:r>
              <a:rPr kumimoji="0" lang="en-US" altLang="zh-CN" sz="1600" b="0" i="0" u="none" strike="noStrike" kern="1200" cap="none" spc="0" normalizeH="0" baseline="0" noProof="0" dirty="0">
                <a:ln>
                  <a:noFill/>
                </a:ln>
                <a:solidFill>
                  <a:prstClr val="black"/>
                </a:solidFill>
                <a:effectLst/>
                <a:uLnTx/>
                <a:uFillTx/>
                <a:latin typeface="阿里巴巴普惠体 R"/>
                <a:ea typeface="+mj-ea"/>
                <a:cs typeface="+mn-cs"/>
              </a:rPr>
              <a:t>5</a:t>
            </a:r>
            <a:r>
              <a:rPr kumimoji="0" lang="zh-CN" altLang="en-US" sz="1600" b="0" i="0" u="none" strike="noStrike" kern="1200" cap="none" spc="0" normalizeH="0" baseline="0" noProof="0" dirty="0">
                <a:ln>
                  <a:noFill/>
                </a:ln>
                <a:solidFill>
                  <a:prstClr val="black"/>
                </a:solidFill>
                <a:effectLst/>
                <a:uLnTx/>
                <a:uFillTx/>
                <a:latin typeface="阿里巴巴普惠体 R"/>
                <a:ea typeface="+mj-ea"/>
                <a:cs typeface="+mn-cs"/>
              </a:rPr>
              <a:t>年推出的新产品和服务产生的营收应占年度营收的</a:t>
            </a:r>
            <a:r>
              <a:rPr kumimoji="0" lang="en-US" altLang="zh-CN" sz="1600" b="0" i="0" u="none" strike="noStrike" kern="1200" cap="none" spc="0" normalizeH="0" baseline="0" noProof="0" dirty="0">
                <a:ln>
                  <a:noFill/>
                </a:ln>
                <a:solidFill>
                  <a:prstClr val="black"/>
                </a:solidFill>
                <a:effectLst/>
                <a:uLnTx/>
                <a:uFillTx/>
                <a:latin typeface="阿里巴巴普惠体 R"/>
                <a:ea typeface="+mj-ea"/>
                <a:cs typeface="+mn-cs"/>
              </a:rPr>
              <a:t>25</a:t>
            </a:r>
            <a:r>
              <a:rPr kumimoji="0" lang="zh-CN" altLang="en-US" sz="1600" b="0" i="0" u="none" strike="noStrike" kern="1200" cap="none" spc="0" normalizeH="0" baseline="0" noProof="0" dirty="0">
                <a:ln>
                  <a:noFill/>
                </a:ln>
                <a:solidFill>
                  <a:prstClr val="black"/>
                </a:solidFill>
                <a:effectLst/>
                <a:uLnTx/>
                <a:uFillTx/>
                <a:latin typeface="阿里巴巴普惠体 R"/>
                <a:ea typeface="+mj-ea"/>
                <a:cs typeface="+mn-cs"/>
              </a:rPr>
              <a:t>％以上</a:t>
            </a:r>
          </a:p>
        </p:txBody>
      </p:sp>
      <p:sp>
        <p:nvSpPr>
          <p:cNvPr id="15" name="íšḻïďê">
            <a:extLst>
              <a:ext uri="{FF2B5EF4-FFF2-40B4-BE49-F238E27FC236}">
                <a16:creationId xmlns:a16="http://schemas.microsoft.com/office/drawing/2014/main" id="{EC31ACCB-B211-4EB5-B9C5-BB6B77542EA2}"/>
              </a:ext>
            </a:extLst>
          </p:cNvPr>
          <p:cNvSpPr txBox="1"/>
          <p:nvPr/>
        </p:nvSpPr>
        <p:spPr>
          <a:xfrm>
            <a:off x="4337349" y="2614687"/>
            <a:ext cx="2949156" cy="454199"/>
          </a:xfrm>
          <a:prstGeom prst="rect">
            <a:avLst/>
          </a:prstGeom>
          <a:noFill/>
        </p:spPr>
        <p:txBody>
          <a:bodyPr wrap="none" rtlCol="0" anchor="b">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378" rtl="0" eaLnBrk="1" fontAlgn="auto" latinLnBrk="0" hangingPunct="1">
              <a:lnSpc>
                <a:spcPct val="100000"/>
              </a:lnSpc>
              <a:spcBef>
                <a:spcPct val="0"/>
              </a:spcBef>
              <a:spcAft>
                <a:spcPts val="0"/>
              </a:spcAft>
              <a:buClrTx/>
              <a:buSzTx/>
              <a:buFontTx/>
              <a:buNone/>
              <a:tabLst/>
              <a:defRPr/>
            </a:pPr>
            <a:r>
              <a:rPr kumimoji="0" lang="zh-CN" altLang="en-US" sz="2000" b="1" i="0" u="none" strike="noStrike" kern="1200" cap="none" spc="0" normalizeH="0" baseline="0" noProof="0" dirty="0">
                <a:ln>
                  <a:noFill/>
                </a:ln>
                <a:solidFill>
                  <a:schemeClr val="accent1"/>
                </a:solidFill>
                <a:effectLst/>
                <a:uLnTx/>
                <a:uFillTx/>
                <a:latin typeface="阿里巴巴普惠体 B"/>
                <a:cs typeface="+mn-cs"/>
              </a:rPr>
              <a:t>集团战略目标</a:t>
            </a:r>
          </a:p>
        </p:txBody>
      </p:sp>
      <p:sp>
        <p:nvSpPr>
          <p:cNvPr id="16" name="îšḷîḓé">
            <a:extLst>
              <a:ext uri="{FF2B5EF4-FFF2-40B4-BE49-F238E27FC236}">
                <a16:creationId xmlns:a16="http://schemas.microsoft.com/office/drawing/2014/main" id="{89117E88-D693-41C6-9E51-4AC50669AB26}"/>
              </a:ext>
            </a:extLst>
          </p:cNvPr>
          <p:cNvSpPr txBox="1"/>
          <p:nvPr/>
        </p:nvSpPr>
        <p:spPr>
          <a:xfrm>
            <a:off x="8157637" y="2238518"/>
            <a:ext cx="2949156" cy="830369"/>
          </a:xfrm>
          <a:prstGeom prst="rect">
            <a:avLst/>
          </a:prstGeom>
          <a:noFill/>
        </p:spPr>
        <p:txBody>
          <a:bodyPr wrap="square" lIns="90000" tIns="46800" rIns="90000" bIns="46800" rtlCol="0">
            <a:no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0" lang="zh-CN" altLang="en-US" sz="1600" b="0" i="0" u="none" strike="noStrike" kern="1200" cap="none" spc="0" normalizeH="0" baseline="0" noProof="0" dirty="0">
                <a:ln>
                  <a:noFill/>
                </a:ln>
                <a:solidFill>
                  <a:prstClr val="black"/>
                </a:solidFill>
                <a:effectLst/>
                <a:uLnTx/>
                <a:uFillTx/>
                <a:latin typeface="阿里巴巴普惠体 R"/>
                <a:ea typeface="+mj-ea"/>
                <a:cs typeface="+mn-cs"/>
              </a:rPr>
              <a:t>每个部门前</a:t>
            </a:r>
            <a:r>
              <a:rPr kumimoji="0" lang="en-US" altLang="zh-CN" sz="1600" b="0" i="0" u="none" strike="noStrike" kern="1200" cap="none" spc="0" normalizeH="0" baseline="0" noProof="0" dirty="0">
                <a:ln>
                  <a:noFill/>
                </a:ln>
                <a:solidFill>
                  <a:prstClr val="black"/>
                </a:solidFill>
                <a:effectLst/>
                <a:uLnTx/>
                <a:uFillTx/>
                <a:latin typeface="阿里巴巴普惠体 R"/>
                <a:ea typeface="+mj-ea"/>
                <a:cs typeface="+mn-cs"/>
              </a:rPr>
              <a:t>5</a:t>
            </a:r>
            <a:r>
              <a:rPr kumimoji="0" lang="zh-CN" altLang="en-US" sz="1600" b="0" i="0" u="none" strike="noStrike" kern="1200" cap="none" spc="0" normalizeH="0" baseline="0" noProof="0" dirty="0">
                <a:ln>
                  <a:noFill/>
                </a:ln>
                <a:solidFill>
                  <a:prstClr val="black"/>
                </a:solidFill>
                <a:effectLst/>
                <a:uLnTx/>
                <a:uFillTx/>
                <a:latin typeface="阿里巴巴普惠体 R"/>
                <a:ea typeface="+mj-ea"/>
                <a:cs typeface="+mn-cs"/>
              </a:rPr>
              <a:t>年推出的新产品和服务产生的营收应占年度营收的</a:t>
            </a:r>
            <a:r>
              <a:rPr kumimoji="0" lang="en-US" altLang="zh-CN" sz="1600" b="0" i="0" u="none" strike="noStrike" kern="1200" cap="none" spc="0" normalizeH="0" baseline="0" noProof="0" dirty="0">
                <a:ln>
                  <a:noFill/>
                </a:ln>
                <a:solidFill>
                  <a:prstClr val="black"/>
                </a:solidFill>
                <a:effectLst/>
                <a:uLnTx/>
                <a:uFillTx/>
                <a:latin typeface="阿里巴巴普惠体 R"/>
                <a:ea typeface="+mj-ea"/>
                <a:cs typeface="+mn-cs"/>
              </a:rPr>
              <a:t>25</a:t>
            </a:r>
            <a:r>
              <a:rPr kumimoji="0" lang="zh-CN" altLang="en-US" sz="1600" b="0" i="0" u="none" strike="noStrike" kern="1200" cap="none" spc="0" normalizeH="0" baseline="0" noProof="0" dirty="0">
                <a:ln>
                  <a:noFill/>
                </a:ln>
                <a:solidFill>
                  <a:prstClr val="black"/>
                </a:solidFill>
                <a:effectLst/>
                <a:uLnTx/>
                <a:uFillTx/>
                <a:latin typeface="阿里巴巴普惠体 R"/>
                <a:ea typeface="+mj-ea"/>
                <a:cs typeface="+mn-cs"/>
              </a:rPr>
              <a:t>％以上</a:t>
            </a:r>
          </a:p>
        </p:txBody>
      </p:sp>
      <p:sp>
        <p:nvSpPr>
          <p:cNvPr id="17" name="ïsļïḑé">
            <a:extLst>
              <a:ext uri="{FF2B5EF4-FFF2-40B4-BE49-F238E27FC236}">
                <a16:creationId xmlns:a16="http://schemas.microsoft.com/office/drawing/2014/main" id="{E4F33950-8088-4CEA-8F72-562E7824AF97}"/>
              </a:ext>
            </a:extLst>
          </p:cNvPr>
          <p:cNvSpPr txBox="1"/>
          <p:nvPr/>
        </p:nvSpPr>
        <p:spPr>
          <a:xfrm>
            <a:off x="8157637" y="1784318"/>
            <a:ext cx="2949156" cy="454199"/>
          </a:xfrm>
          <a:prstGeom prst="rect">
            <a:avLst/>
          </a:prstGeom>
          <a:noFill/>
        </p:spPr>
        <p:txBody>
          <a:bodyPr wrap="none" rtlCol="0" anchor="b">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378" rtl="0" eaLnBrk="1" fontAlgn="auto" latinLnBrk="0" hangingPunct="1">
              <a:lnSpc>
                <a:spcPct val="100000"/>
              </a:lnSpc>
              <a:spcBef>
                <a:spcPct val="0"/>
              </a:spcBef>
              <a:spcAft>
                <a:spcPts val="0"/>
              </a:spcAft>
              <a:buClrTx/>
              <a:buSzTx/>
              <a:buFontTx/>
              <a:buNone/>
              <a:tabLst/>
              <a:defRPr/>
            </a:pPr>
            <a:r>
              <a:rPr kumimoji="0" lang="zh-CN" altLang="en-US" sz="2000" b="1" i="0" u="none" strike="noStrike" kern="1200" cap="none" spc="0" normalizeH="0" baseline="0" noProof="0" dirty="0">
                <a:ln>
                  <a:noFill/>
                </a:ln>
                <a:solidFill>
                  <a:schemeClr val="accent1"/>
                </a:solidFill>
                <a:effectLst/>
                <a:uLnTx/>
                <a:uFillTx/>
                <a:latin typeface="阿里巴巴普惠体 B"/>
                <a:cs typeface="+mn-cs"/>
              </a:rPr>
              <a:t>业务组合战略</a:t>
            </a:r>
          </a:p>
        </p:txBody>
      </p:sp>
      <p:cxnSp>
        <p:nvCxnSpPr>
          <p:cNvPr id="18" name="直接连接符 17">
            <a:extLst>
              <a:ext uri="{FF2B5EF4-FFF2-40B4-BE49-F238E27FC236}">
                <a16:creationId xmlns:a16="http://schemas.microsoft.com/office/drawing/2014/main" id="{C267B749-00AE-4CAD-B086-AEF62954B798}"/>
              </a:ext>
            </a:extLst>
          </p:cNvPr>
          <p:cNvCxnSpPr/>
          <p:nvPr/>
        </p:nvCxnSpPr>
        <p:spPr>
          <a:xfrm>
            <a:off x="3846794" y="2093040"/>
            <a:ext cx="0" cy="2610000"/>
          </a:xfrm>
          <a:prstGeom prst="line">
            <a:avLst/>
          </a:prstGeom>
          <a:ln w="3175" cap="rnd">
            <a:solidFill>
              <a:schemeClr val="bg1">
                <a:lumMod val="85000"/>
              </a:schemeClr>
            </a:solidFill>
            <a:round/>
            <a:headEnd type="none"/>
            <a:tailEnd type="none" w="med" len="med"/>
          </a:ln>
        </p:spPr>
        <p:style>
          <a:lnRef idx="1">
            <a:schemeClr val="accent1"/>
          </a:lnRef>
          <a:fillRef idx="0">
            <a:schemeClr val="accent1"/>
          </a:fillRef>
          <a:effectRef idx="0">
            <a:schemeClr val="accent1"/>
          </a:effectRef>
          <a:fontRef idx="minor">
            <a:schemeClr val="tx1"/>
          </a:fontRef>
        </p:style>
      </p:cxnSp>
      <p:cxnSp>
        <p:nvCxnSpPr>
          <p:cNvPr id="19" name="直接连接符 18">
            <a:extLst>
              <a:ext uri="{FF2B5EF4-FFF2-40B4-BE49-F238E27FC236}">
                <a16:creationId xmlns:a16="http://schemas.microsoft.com/office/drawing/2014/main" id="{46254955-3ED5-4DA3-A88D-CF3548F37B2E}"/>
              </a:ext>
            </a:extLst>
          </p:cNvPr>
          <p:cNvCxnSpPr>
            <a:cxnSpLocks/>
          </p:cNvCxnSpPr>
          <p:nvPr/>
        </p:nvCxnSpPr>
        <p:spPr>
          <a:xfrm>
            <a:off x="7736459" y="1876498"/>
            <a:ext cx="0" cy="1759974"/>
          </a:xfrm>
          <a:prstGeom prst="line">
            <a:avLst/>
          </a:prstGeom>
          <a:ln w="3175" cap="rnd">
            <a:solidFill>
              <a:schemeClr val="bg1">
                <a:lumMod val="85000"/>
              </a:schemeClr>
            </a:solidFill>
            <a:round/>
            <a:headEnd type="none"/>
            <a:tailEnd type="none" w="med" len="med"/>
          </a:ln>
        </p:spPr>
        <p:style>
          <a:lnRef idx="1">
            <a:schemeClr val="accent1"/>
          </a:lnRef>
          <a:fillRef idx="0">
            <a:schemeClr val="accent1"/>
          </a:fillRef>
          <a:effectRef idx="0">
            <a:schemeClr val="accent1"/>
          </a:effectRef>
          <a:fontRef idx="minor">
            <a:schemeClr val="tx1"/>
          </a:fontRef>
        </p:style>
      </p:cxnSp>
      <p:sp>
        <p:nvSpPr>
          <p:cNvPr id="20" name="ïšḷïḓé">
            <a:extLst>
              <a:ext uri="{FF2B5EF4-FFF2-40B4-BE49-F238E27FC236}">
                <a16:creationId xmlns:a16="http://schemas.microsoft.com/office/drawing/2014/main" id="{D9100DFC-A7AA-4E45-A0D6-139D09105370}"/>
              </a:ext>
            </a:extLst>
          </p:cNvPr>
          <p:cNvSpPr txBox="1"/>
          <p:nvPr/>
        </p:nvSpPr>
        <p:spPr>
          <a:xfrm>
            <a:off x="680244" y="1387118"/>
            <a:ext cx="5314438" cy="736838"/>
          </a:xfrm>
          <a:prstGeom prst="rect">
            <a:avLst/>
          </a:prstGeom>
          <a:noFill/>
        </p:spPr>
        <p:txBody>
          <a:bodyPr wrap="square" lIns="90000" tIns="46800" rIns="90000" bIns="46800" rtlCol="0">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217930" rtl="0" eaLnBrk="1" fontAlgn="auto" latinLnBrk="0" hangingPunct="1">
              <a:lnSpc>
                <a:spcPct val="150000"/>
              </a:lnSpc>
              <a:spcBef>
                <a:spcPts val="0"/>
              </a:spcBef>
              <a:spcAft>
                <a:spcPts val="0"/>
              </a:spcAft>
              <a:buClrTx/>
              <a:buSzTx/>
              <a:buFontTx/>
              <a:buNone/>
              <a:tabLst/>
              <a:defRPr/>
            </a:pPr>
            <a:r>
              <a:rPr kumimoji="0" lang="zh-CN" altLang="en-US" sz="1400" b="0" i="0" u="none" strike="noStrike" kern="1200" cap="none" spc="0" normalizeH="0" baseline="0" noProof="0" dirty="0">
                <a:ln>
                  <a:noFill/>
                </a:ln>
                <a:solidFill>
                  <a:prstClr val="white">
                    <a:lumMod val="50000"/>
                  </a:prstClr>
                </a:solidFill>
                <a:effectLst/>
                <a:uLnTx/>
                <a:uFillTx/>
                <a:latin typeface="阿里巴巴普惠体 R"/>
                <a:ea typeface="+mj-ea"/>
                <a:cs typeface="+mn-cs"/>
                <a:sym typeface="思源黑体" panose="020B0500000000000000" pitchFamily="34" charset="-122"/>
              </a:rPr>
              <a:t>接受企业文化，能使自己和企业在价值取向上趋于一致，减少因理念和行为不协调所带来的冲突，从而使内心更加平静。</a:t>
            </a:r>
          </a:p>
        </p:txBody>
      </p:sp>
    </p:spTree>
    <p:extLst>
      <p:ext uri="{BB962C8B-B14F-4D97-AF65-F5344CB8AC3E}">
        <p14:creationId xmlns:p14="http://schemas.microsoft.com/office/powerpoint/2010/main" val="2593231533"/>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4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26">
            <a:extLst>
              <a:ext uri="{FF2B5EF4-FFF2-40B4-BE49-F238E27FC236}">
                <a16:creationId xmlns:a16="http://schemas.microsoft.com/office/drawing/2014/main" id="{5A69E857-1F75-4283-99DF-6D40352B749A}"/>
              </a:ext>
            </a:extLst>
          </p:cNvPr>
          <p:cNvGrpSpPr/>
          <p:nvPr/>
        </p:nvGrpSpPr>
        <p:grpSpPr>
          <a:xfrm>
            <a:off x="737537" y="2709836"/>
            <a:ext cx="1844675" cy="847725"/>
            <a:chOff x="737537" y="2574925"/>
            <a:chExt cx="1844675" cy="847725"/>
          </a:xfrm>
        </p:grpSpPr>
        <p:sp>
          <p:nvSpPr>
            <p:cNvPr id="3" name="Freeform 5">
              <a:extLst>
                <a:ext uri="{FF2B5EF4-FFF2-40B4-BE49-F238E27FC236}">
                  <a16:creationId xmlns:a16="http://schemas.microsoft.com/office/drawing/2014/main" id="{F3CF32B6-DAA0-4246-B694-484346237BEE}"/>
                </a:ext>
              </a:extLst>
            </p:cNvPr>
            <p:cNvSpPr>
              <a:spLocks/>
            </p:cNvSpPr>
            <p:nvPr/>
          </p:nvSpPr>
          <p:spPr bwMode="auto">
            <a:xfrm>
              <a:off x="737537" y="2574925"/>
              <a:ext cx="1069975" cy="820738"/>
            </a:xfrm>
            <a:custGeom>
              <a:avLst/>
              <a:gdLst>
                <a:gd name="T0" fmla="*/ 62 w 83"/>
                <a:gd name="T1" fmla="*/ 0 h 63"/>
                <a:gd name="T2" fmla="*/ 46 w 83"/>
                <a:gd name="T3" fmla="*/ 8 h 63"/>
                <a:gd name="T4" fmla="*/ 6 w 83"/>
                <a:gd name="T5" fmla="*/ 52 h 63"/>
                <a:gd name="T6" fmla="*/ 10 w 83"/>
                <a:gd name="T7" fmla="*/ 63 h 63"/>
                <a:gd name="T8" fmla="*/ 53 w 83"/>
                <a:gd name="T9" fmla="*/ 23 h 63"/>
                <a:gd name="T10" fmla="*/ 83 w 83"/>
                <a:gd name="T11" fmla="*/ 0 h 63"/>
                <a:gd name="T12" fmla="*/ 62 w 83"/>
                <a:gd name="T13" fmla="*/ 0 h 63"/>
              </a:gdLst>
              <a:ahLst/>
              <a:cxnLst>
                <a:cxn ang="0">
                  <a:pos x="T0" y="T1"/>
                </a:cxn>
                <a:cxn ang="0">
                  <a:pos x="T2" y="T3"/>
                </a:cxn>
                <a:cxn ang="0">
                  <a:pos x="T4" y="T5"/>
                </a:cxn>
                <a:cxn ang="0">
                  <a:pos x="T6" y="T7"/>
                </a:cxn>
                <a:cxn ang="0">
                  <a:pos x="T8" y="T9"/>
                </a:cxn>
                <a:cxn ang="0">
                  <a:pos x="T10" y="T11"/>
                </a:cxn>
                <a:cxn ang="0">
                  <a:pos x="T12" y="T13"/>
                </a:cxn>
              </a:cxnLst>
              <a:rect l="0" t="0" r="r" b="b"/>
              <a:pathLst>
                <a:path w="83" h="63">
                  <a:moveTo>
                    <a:pt x="62" y="0"/>
                  </a:moveTo>
                  <a:cubicBezTo>
                    <a:pt x="59" y="0"/>
                    <a:pt x="54" y="0"/>
                    <a:pt x="46" y="8"/>
                  </a:cubicBezTo>
                  <a:cubicBezTo>
                    <a:pt x="31" y="22"/>
                    <a:pt x="20" y="38"/>
                    <a:pt x="6" y="52"/>
                  </a:cubicBezTo>
                  <a:cubicBezTo>
                    <a:pt x="0" y="58"/>
                    <a:pt x="4" y="63"/>
                    <a:pt x="10" y="63"/>
                  </a:cubicBezTo>
                  <a:cubicBezTo>
                    <a:pt x="19" y="63"/>
                    <a:pt x="42" y="37"/>
                    <a:pt x="53" y="23"/>
                  </a:cubicBezTo>
                  <a:cubicBezTo>
                    <a:pt x="63" y="11"/>
                    <a:pt x="72" y="0"/>
                    <a:pt x="83" y="0"/>
                  </a:cubicBezTo>
                  <a:cubicBezTo>
                    <a:pt x="62" y="0"/>
                    <a:pt x="62" y="0"/>
                    <a:pt x="62" y="0"/>
                  </a:cubicBezTo>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ource Sans Pro" charset="0"/>
                <a:cs typeface="+mn-cs"/>
              </a:endParaRPr>
            </a:p>
          </p:txBody>
        </p:sp>
        <p:sp>
          <p:nvSpPr>
            <p:cNvPr id="4" name="Freeform 6">
              <a:extLst>
                <a:ext uri="{FF2B5EF4-FFF2-40B4-BE49-F238E27FC236}">
                  <a16:creationId xmlns:a16="http://schemas.microsoft.com/office/drawing/2014/main" id="{93126975-A015-42DA-A7EB-2F20F245109F}"/>
                </a:ext>
              </a:extLst>
            </p:cNvPr>
            <p:cNvSpPr>
              <a:spLocks/>
            </p:cNvSpPr>
            <p:nvPr/>
          </p:nvSpPr>
          <p:spPr bwMode="auto">
            <a:xfrm>
              <a:off x="1537637" y="2574925"/>
              <a:ext cx="1044575" cy="847725"/>
            </a:xfrm>
            <a:custGeom>
              <a:avLst/>
              <a:gdLst>
                <a:gd name="T0" fmla="*/ 35 w 81"/>
                <a:gd name="T1" fmla="*/ 53 h 65"/>
                <a:gd name="T2" fmla="*/ 46 w 81"/>
                <a:gd name="T3" fmla="*/ 42 h 65"/>
                <a:gd name="T4" fmla="*/ 0 w 81"/>
                <a:gd name="T5" fmla="*/ 0 h 65"/>
                <a:gd name="T6" fmla="*/ 21 w 81"/>
                <a:gd name="T7" fmla="*/ 0 h 65"/>
                <a:gd name="T8" fmla="*/ 57 w 81"/>
                <a:gd name="T9" fmla="*/ 31 h 65"/>
                <a:gd name="T10" fmla="*/ 70 w 81"/>
                <a:gd name="T11" fmla="*/ 21 h 65"/>
                <a:gd name="T12" fmla="*/ 81 w 81"/>
                <a:gd name="T13" fmla="*/ 65 h 65"/>
                <a:gd name="T14" fmla="*/ 35 w 81"/>
                <a:gd name="T15" fmla="*/ 53 h 6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1" h="65">
                  <a:moveTo>
                    <a:pt x="35" y="53"/>
                  </a:moveTo>
                  <a:cubicBezTo>
                    <a:pt x="40" y="48"/>
                    <a:pt x="41" y="47"/>
                    <a:pt x="46" y="42"/>
                  </a:cubicBezTo>
                  <a:cubicBezTo>
                    <a:pt x="8" y="0"/>
                    <a:pt x="8" y="0"/>
                    <a:pt x="0" y="0"/>
                  </a:cubicBezTo>
                  <a:cubicBezTo>
                    <a:pt x="21" y="0"/>
                    <a:pt x="21" y="0"/>
                    <a:pt x="21" y="0"/>
                  </a:cubicBezTo>
                  <a:cubicBezTo>
                    <a:pt x="31" y="1"/>
                    <a:pt x="36" y="7"/>
                    <a:pt x="57" y="31"/>
                  </a:cubicBezTo>
                  <a:cubicBezTo>
                    <a:pt x="63" y="27"/>
                    <a:pt x="64" y="26"/>
                    <a:pt x="70" y="21"/>
                  </a:cubicBezTo>
                  <a:cubicBezTo>
                    <a:pt x="72" y="40"/>
                    <a:pt x="76" y="55"/>
                    <a:pt x="81" y="65"/>
                  </a:cubicBezTo>
                  <a:cubicBezTo>
                    <a:pt x="61" y="61"/>
                    <a:pt x="52" y="58"/>
                    <a:pt x="35" y="5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ource Sans Pro" charset="0"/>
                <a:cs typeface="+mn-cs"/>
              </a:endParaRPr>
            </a:p>
          </p:txBody>
        </p:sp>
      </p:grpSp>
      <p:grpSp>
        <p:nvGrpSpPr>
          <p:cNvPr id="5" name="Group 27">
            <a:extLst>
              <a:ext uri="{FF2B5EF4-FFF2-40B4-BE49-F238E27FC236}">
                <a16:creationId xmlns:a16="http://schemas.microsoft.com/office/drawing/2014/main" id="{220E1E58-C04C-44AE-8A67-CC91EE42B2CB}"/>
              </a:ext>
            </a:extLst>
          </p:cNvPr>
          <p:cNvGrpSpPr/>
          <p:nvPr/>
        </p:nvGrpSpPr>
        <p:grpSpPr>
          <a:xfrm>
            <a:off x="2479024" y="3530574"/>
            <a:ext cx="1843087" cy="901700"/>
            <a:chOff x="2479024" y="3395663"/>
            <a:chExt cx="1843087" cy="901700"/>
          </a:xfrm>
        </p:grpSpPr>
        <p:sp>
          <p:nvSpPr>
            <p:cNvPr id="6" name="Freeform 7">
              <a:extLst>
                <a:ext uri="{FF2B5EF4-FFF2-40B4-BE49-F238E27FC236}">
                  <a16:creationId xmlns:a16="http://schemas.microsoft.com/office/drawing/2014/main" id="{A85F50CE-5181-4989-B3AD-6BED12984277}"/>
                </a:ext>
              </a:extLst>
            </p:cNvPr>
            <p:cNvSpPr>
              <a:spLocks/>
            </p:cNvSpPr>
            <p:nvPr/>
          </p:nvSpPr>
          <p:spPr bwMode="auto">
            <a:xfrm>
              <a:off x="2479024" y="3500438"/>
              <a:ext cx="1108075" cy="796925"/>
            </a:xfrm>
            <a:custGeom>
              <a:avLst/>
              <a:gdLst>
                <a:gd name="T0" fmla="*/ 65 w 86"/>
                <a:gd name="T1" fmla="*/ 61 h 61"/>
                <a:gd name="T2" fmla="*/ 48 w 86"/>
                <a:gd name="T3" fmla="*/ 54 h 61"/>
                <a:gd name="T4" fmla="*/ 6 w 86"/>
                <a:gd name="T5" fmla="*/ 11 h 61"/>
                <a:gd name="T6" fmla="*/ 10 w 86"/>
                <a:gd name="T7" fmla="*/ 0 h 61"/>
                <a:gd name="T8" fmla="*/ 54 w 86"/>
                <a:gd name="T9" fmla="*/ 38 h 61"/>
                <a:gd name="T10" fmla="*/ 86 w 86"/>
                <a:gd name="T11" fmla="*/ 60 h 61"/>
                <a:gd name="T12" fmla="*/ 65 w 86"/>
                <a:gd name="T13" fmla="*/ 61 h 61"/>
              </a:gdLst>
              <a:ahLst/>
              <a:cxnLst>
                <a:cxn ang="0">
                  <a:pos x="T0" y="T1"/>
                </a:cxn>
                <a:cxn ang="0">
                  <a:pos x="T2" y="T3"/>
                </a:cxn>
                <a:cxn ang="0">
                  <a:pos x="T4" y="T5"/>
                </a:cxn>
                <a:cxn ang="0">
                  <a:pos x="T6" y="T7"/>
                </a:cxn>
                <a:cxn ang="0">
                  <a:pos x="T8" y="T9"/>
                </a:cxn>
                <a:cxn ang="0">
                  <a:pos x="T10" y="T11"/>
                </a:cxn>
                <a:cxn ang="0">
                  <a:pos x="T12" y="T13"/>
                </a:cxn>
              </a:cxnLst>
              <a:rect l="0" t="0" r="r" b="b"/>
              <a:pathLst>
                <a:path w="86" h="61">
                  <a:moveTo>
                    <a:pt x="65" y="61"/>
                  </a:moveTo>
                  <a:cubicBezTo>
                    <a:pt x="62" y="61"/>
                    <a:pt x="56" y="61"/>
                    <a:pt x="48" y="54"/>
                  </a:cubicBezTo>
                  <a:cubicBezTo>
                    <a:pt x="33" y="41"/>
                    <a:pt x="21" y="24"/>
                    <a:pt x="6" y="11"/>
                  </a:cubicBezTo>
                  <a:cubicBezTo>
                    <a:pt x="0" y="5"/>
                    <a:pt x="4" y="0"/>
                    <a:pt x="10" y="0"/>
                  </a:cubicBezTo>
                  <a:cubicBezTo>
                    <a:pt x="19" y="0"/>
                    <a:pt x="43" y="25"/>
                    <a:pt x="54" y="38"/>
                  </a:cubicBezTo>
                  <a:cubicBezTo>
                    <a:pt x="65" y="50"/>
                    <a:pt x="75" y="60"/>
                    <a:pt x="86" y="60"/>
                  </a:cubicBezTo>
                  <a:cubicBezTo>
                    <a:pt x="65" y="61"/>
                    <a:pt x="65" y="61"/>
                    <a:pt x="65" y="61"/>
                  </a:cubicBezTo>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latin typeface="Source Sans Pro" charset="0"/>
              </a:endParaRPr>
            </a:p>
          </p:txBody>
        </p:sp>
        <p:sp>
          <p:nvSpPr>
            <p:cNvPr id="7" name="Freeform 8">
              <a:extLst>
                <a:ext uri="{FF2B5EF4-FFF2-40B4-BE49-F238E27FC236}">
                  <a16:creationId xmlns:a16="http://schemas.microsoft.com/office/drawing/2014/main" id="{DBF1F69A-BC87-49B9-8FE0-E5673764EA7D}"/>
                </a:ext>
              </a:extLst>
            </p:cNvPr>
            <p:cNvSpPr>
              <a:spLocks/>
            </p:cNvSpPr>
            <p:nvPr/>
          </p:nvSpPr>
          <p:spPr bwMode="auto">
            <a:xfrm>
              <a:off x="3317224" y="3395663"/>
              <a:ext cx="1004887" cy="901700"/>
            </a:xfrm>
            <a:custGeom>
              <a:avLst/>
              <a:gdLst>
                <a:gd name="T0" fmla="*/ 32 w 78"/>
                <a:gd name="T1" fmla="*/ 15 h 69"/>
                <a:gd name="T2" fmla="*/ 44 w 78"/>
                <a:gd name="T3" fmla="*/ 25 h 69"/>
                <a:gd name="T4" fmla="*/ 0 w 78"/>
                <a:gd name="T5" fmla="*/ 69 h 69"/>
                <a:gd name="T6" fmla="*/ 21 w 78"/>
                <a:gd name="T7" fmla="*/ 68 h 69"/>
                <a:gd name="T8" fmla="*/ 56 w 78"/>
                <a:gd name="T9" fmla="*/ 35 h 69"/>
                <a:gd name="T10" fmla="*/ 68 w 78"/>
                <a:gd name="T11" fmla="*/ 45 h 69"/>
                <a:gd name="T12" fmla="*/ 78 w 78"/>
                <a:gd name="T13" fmla="*/ 0 h 69"/>
                <a:gd name="T14" fmla="*/ 32 w 78"/>
                <a:gd name="T15" fmla="*/ 15 h 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8" h="69">
                  <a:moveTo>
                    <a:pt x="32" y="15"/>
                  </a:moveTo>
                  <a:cubicBezTo>
                    <a:pt x="37" y="19"/>
                    <a:pt x="39" y="21"/>
                    <a:pt x="44" y="25"/>
                  </a:cubicBezTo>
                  <a:cubicBezTo>
                    <a:pt x="7" y="69"/>
                    <a:pt x="7" y="69"/>
                    <a:pt x="0" y="69"/>
                  </a:cubicBezTo>
                  <a:cubicBezTo>
                    <a:pt x="21" y="68"/>
                    <a:pt x="21" y="68"/>
                    <a:pt x="21" y="68"/>
                  </a:cubicBezTo>
                  <a:cubicBezTo>
                    <a:pt x="30" y="67"/>
                    <a:pt x="36" y="60"/>
                    <a:pt x="56" y="35"/>
                  </a:cubicBezTo>
                  <a:cubicBezTo>
                    <a:pt x="61" y="40"/>
                    <a:pt x="63" y="41"/>
                    <a:pt x="68" y="45"/>
                  </a:cubicBezTo>
                  <a:cubicBezTo>
                    <a:pt x="69" y="26"/>
                    <a:pt x="73" y="11"/>
                    <a:pt x="78" y="0"/>
                  </a:cubicBezTo>
                  <a:cubicBezTo>
                    <a:pt x="58" y="6"/>
                    <a:pt x="49" y="9"/>
                    <a:pt x="32" y="15"/>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latin typeface="Source Sans Pro" charset="0"/>
              </a:endParaRPr>
            </a:p>
          </p:txBody>
        </p:sp>
      </p:grpSp>
      <p:grpSp>
        <p:nvGrpSpPr>
          <p:cNvPr id="8" name="Group 28">
            <a:extLst>
              <a:ext uri="{FF2B5EF4-FFF2-40B4-BE49-F238E27FC236}">
                <a16:creationId xmlns:a16="http://schemas.microsoft.com/office/drawing/2014/main" id="{FFE6C114-C6BE-4ED6-8BCC-D21CB9BA9086}"/>
              </a:ext>
            </a:extLst>
          </p:cNvPr>
          <p:cNvGrpSpPr/>
          <p:nvPr/>
        </p:nvGrpSpPr>
        <p:grpSpPr>
          <a:xfrm>
            <a:off x="4322111" y="2709836"/>
            <a:ext cx="1844675" cy="847725"/>
            <a:chOff x="4322111" y="2574925"/>
            <a:chExt cx="1844675" cy="847725"/>
          </a:xfrm>
        </p:grpSpPr>
        <p:sp>
          <p:nvSpPr>
            <p:cNvPr id="9" name="Freeform 5">
              <a:extLst>
                <a:ext uri="{FF2B5EF4-FFF2-40B4-BE49-F238E27FC236}">
                  <a16:creationId xmlns:a16="http://schemas.microsoft.com/office/drawing/2014/main" id="{4597EA3A-8FA5-408A-B1DA-7518B6B50AAF}"/>
                </a:ext>
              </a:extLst>
            </p:cNvPr>
            <p:cNvSpPr>
              <a:spLocks/>
            </p:cNvSpPr>
            <p:nvPr/>
          </p:nvSpPr>
          <p:spPr bwMode="auto">
            <a:xfrm>
              <a:off x="4322111" y="2574925"/>
              <a:ext cx="1069975" cy="820738"/>
            </a:xfrm>
            <a:custGeom>
              <a:avLst/>
              <a:gdLst>
                <a:gd name="T0" fmla="*/ 62 w 83"/>
                <a:gd name="T1" fmla="*/ 0 h 63"/>
                <a:gd name="T2" fmla="*/ 46 w 83"/>
                <a:gd name="T3" fmla="*/ 8 h 63"/>
                <a:gd name="T4" fmla="*/ 6 w 83"/>
                <a:gd name="T5" fmla="*/ 52 h 63"/>
                <a:gd name="T6" fmla="*/ 10 w 83"/>
                <a:gd name="T7" fmla="*/ 63 h 63"/>
                <a:gd name="T8" fmla="*/ 53 w 83"/>
                <a:gd name="T9" fmla="*/ 23 h 63"/>
                <a:gd name="T10" fmla="*/ 83 w 83"/>
                <a:gd name="T11" fmla="*/ 0 h 63"/>
                <a:gd name="T12" fmla="*/ 62 w 83"/>
                <a:gd name="T13" fmla="*/ 0 h 63"/>
              </a:gdLst>
              <a:ahLst/>
              <a:cxnLst>
                <a:cxn ang="0">
                  <a:pos x="T0" y="T1"/>
                </a:cxn>
                <a:cxn ang="0">
                  <a:pos x="T2" y="T3"/>
                </a:cxn>
                <a:cxn ang="0">
                  <a:pos x="T4" y="T5"/>
                </a:cxn>
                <a:cxn ang="0">
                  <a:pos x="T6" y="T7"/>
                </a:cxn>
                <a:cxn ang="0">
                  <a:pos x="T8" y="T9"/>
                </a:cxn>
                <a:cxn ang="0">
                  <a:pos x="T10" y="T11"/>
                </a:cxn>
                <a:cxn ang="0">
                  <a:pos x="T12" y="T13"/>
                </a:cxn>
              </a:cxnLst>
              <a:rect l="0" t="0" r="r" b="b"/>
              <a:pathLst>
                <a:path w="83" h="63">
                  <a:moveTo>
                    <a:pt x="62" y="0"/>
                  </a:moveTo>
                  <a:cubicBezTo>
                    <a:pt x="59" y="0"/>
                    <a:pt x="54" y="0"/>
                    <a:pt x="46" y="8"/>
                  </a:cubicBezTo>
                  <a:cubicBezTo>
                    <a:pt x="31" y="22"/>
                    <a:pt x="20" y="38"/>
                    <a:pt x="6" y="52"/>
                  </a:cubicBezTo>
                  <a:cubicBezTo>
                    <a:pt x="0" y="58"/>
                    <a:pt x="4" y="63"/>
                    <a:pt x="10" y="63"/>
                  </a:cubicBezTo>
                  <a:cubicBezTo>
                    <a:pt x="19" y="63"/>
                    <a:pt x="42" y="37"/>
                    <a:pt x="53" y="23"/>
                  </a:cubicBezTo>
                  <a:cubicBezTo>
                    <a:pt x="63" y="11"/>
                    <a:pt x="72" y="0"/>
                    <a:pt x="83" y="0"/>
                  </a:cubicBezTo>
                  <a:cubicBezTo>
                    <a:pt x="62" y="0"/>
                    <a:pt x="62" y="0"/>
                    <a:pt x="62" y="0"/>
                  </a:cubicBezTo>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latin typeface="Source Sans Pro" charset="0"/>
              </a:endParaRPr>
            </a:p>
          </p:txBody>
        </p:sp>
        <p:sp>
          <p:nvSpPr>
            <p:cNvPr id="10" name="Freeform 6">
              <a:extLst>
                <a:ext uri="{FF2B5EF4-FFF2-40B4-BE49-F238E27FC236}">
                  <a16:creationId xmlns:a16="http://schemas.microsoft.com/office/drawing/2014/main" id="{E8B64FE2-54E2-44CF-AF54-2BA96179C26A}"/>
                </a:ext>
              </a:extLst>
            </p:cNvPr>
            <p:cNvSpPr>
              <a:spLocks/>
            </p:cNvSpPr>
            <p:nvPr/>
          </p:nvSpPr>
          <p:spPr bwMode="auto">
            <a:xfrm>
              <a:off x="5122211" y="2574925"/>
              <a:ext cx="1044575" cy="847725"/>
            </a:xfrm>
            <a:custGeom>
              <a:avLst/>
              <a:gdLst>
                <a:gd name="T0" fmla="*/ 35 w 81"/>
                <a:gd name="T1" fmla="*/ 53 h 65"/>
                <a:gd name="T2" fmla="*/ 46 w 81"/>
                <a:gd name="T3" fmla="*/ 42 h 65"/>
                <a:gd name="T4" fmla="*/ 0 w 81"/>
                <a:gd name="T5" fmla="*/ 0 h 65"/>
                <a:gd name="T6" fmla="*/ 21 w 81"/>
                <a:gd name="T7" fmla="*/ 0 h 65"/>
                <a:gd name="T8" fmla="*/ 57 w 81"/>
                <a:gd name="T9" fmla="*/ 31 h 65"/>
                <a:gd name="T10" fmla="*/ 70 w 81"/>
                <a:gd name="T11" fmla="*/ 21 h 65"/>
                <a:gd name="T12" fmla="*/ 81 w 81"/>
                <a:gd name="T13" fmla="*/ 65 h 65"/>
                <a:gd name="T14" fmla="*/ 35 w 81"/>
                <a:gd name="T15" fmla="*/ 53 h 6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1" h="65">
                  <a:moveTo>
                    <a:pt x="35" y="53"/>
                  </a:moveTo>
                  <a:cubicBezTo>
                    <a:pt x="40" y="48"/>
                    <a:pt x="41" y="47"/>
                    <a:pt x="46" y="42"/>
                  </a:cubicBezTo>
                  <a:cubicBezTo>
                    <a:pt x="8" y="0"/>
                    <a:pt x="8" y="0"/>
                    <a:pt x="0" y="0"/>
                  </a:cubicBezTo>
                  <a:cubicBezTo>
                    <a:pt x="21" y="0"/>
                    <a:pt x="21" y="0"/>
                    <a:pt x="21" y="0"/>
                  </a:cubicBezTo>
                  <a:cubicBezTo>
                    <a:pt x="31" y="1"/>
                    <a:pt x="36" y="7"/>
                    <a:pt x="57" y="31"/>
                  </a:cubicBezTo>
                  <a:cubicBezTo>
                    <a:pt x="63" y="27"/>
                    <a:pt x="64" y="26"/>
                    <a:pt x="70" y="21"/>
                  </a:cubicBezTo>
                  <a:cubicBezTo>
                    <a:pt x="72" y="40"/>
                    <a:pt x="76" y="55"/>
                    <a:pt x="81" y="65"/>
                  </a:cubicBezTo>
                  <a:cubicBezTo>
                    <a:pt x="61" y="61"/>
                    <a:pt x="52" y="58"/>
                    <a:pt x="35" y="5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latin typeface="Source Sans Pro" charset="0"/>
              </a:endParaRPr>
            </a:p>
          </p:txBody>
        </p:sp>
      </p:grpSp>
      <p:grpSp>
        <p:nvGrpSpPr>
          <p:cNvPr id="11" name="Group 29">
            <a:extLst>
              <a:ext uri="{FF2B5EF4-FFF2-40B4-BE49-F238E27FC236}">
                <a16:creationId xmlns:a16="http://schemas.microsoft.com/office/drawing/2014/main" id="{6FC6FC5D-82DF-4DA6-ABE1-8959C6310E5C}"/>
              </a:ext>
            </a:extLst>
          </p:cNvPr>
          <p:cNvGrpSpPr/>
          <p:nvPr/>
        </p:nvGrpSpPr>
        <p:grpSpPr>
          <a:xfrm>
            <a:off x="6063598" y="3530574"/>
            <a:ext cx="1843087" cy="901700"/>
            <a:chOff x="6063598" y="3395663"/>
            <a:chExt cx="1843087" cy="901700"/>
          </a:xfrm>
        </p:grpSpPr>
        <p:sp>
          <p:nvSpPr>
            <p:cNvPr id="12" name="Freeform 7">
              <a:extLst>
                <a:ext uri="{FF2B5EF4-FFF2-40B4-BE49-F238E27FC236}">
                  <a16:creationId xmlns:a16="http://schemas.microsoft.com/office/drawing/2014/main" id="{AE60AF51-BA1C-483F-BF76-E2C24FED4952}"/>
                </a:ext>
              </a:extLst>
            </p:cNvPr>
            <p:cNvSpPr>
              <a:spLocks/>
            </p:cNvSpPr>
            <p:nvPr/>
          </p:nvSpPr>
          <p:spPr bwMode="auto">
            <a:xfrm>
              <a:off x="6063598" y="3500438"/>
              <a:ext cx="1108075" cy="796925"/>
            </a:xfrm>
            <a:custGeom>
              <a:avLst/>
              <a:gdLst>
                <a:gd name="T0" fmla="*/ 65 w 86"/>
                <a:gd name="T1" fmla="*/ 61 h 61"/>
                <a:gd name="T2" fmla="*/ 48 w 86"/>
                <a:gd name="T3" fmla="*/ 54 h 61"/>
                <a:gd name="T4" fmla="*/ 6 w 86"/>
                <a:gd name="T5" fmla="*/ 11 h 61"/>
                <a:gd name="T6" fmla="*/ 10 w 86"/>
                <a:gd name="T7" fmla="*/ 0 h 61"/>
                <a:gd name="T8" fmla="*/ 54 w 86"/>
                <a:gd name="T9" fmla="*/ 38 h 61"/>
                <a:gd name="T10" fmla="*/ 86 w 86"/>
                <a:gd name="T11" fmla="*/ 60 h 61"/>
                <a:gd name="T12" fmla="*/ 65 w 86"/>
                <a:gd name="T13" fmla="*/ 61 h 61"/>
              </a:gdLst>
              <a:ahLst/>
              <a:cxnLst>
                <a:cxn ang="0">
                  <a:pos x="T0" y="T1"/>
                </a:cxn>
                <a:cxn ang="0">
                  <a:pos x="T2" y="T3"/>
                </a:cxn>
                <a:cxn ang="0">
                  <a:pos x="T4" y="T5"/>
                </a:cxn>
                <a:cxn ang="0">
                  <a:pos x="T6" y="T7"/>
                </a:cxn>
                <a:cxn ang="0">
                  <a:pos x="T8" y="T9"/>
                </a:cxn>
                <a:cxn ang="0">
                  <a:pos x="T10" y="T11"/>
                </a:cxn>
                <a:cxn ang="0">
                  <a:pos x="T12" y="T13"/>
                </a:cxn>
              </a:cxnLst>
              <a:rect l="0" t="0" r="r" b="b"/>
              <a:pathLst>
                <a:path w="86" h="61">
                  <a:moveTo>
                    <a:pt x="65" y="61"/>
                  </a:moveTo>
                  <a:cubicBezTo>
                    <a:pt x="62" y="61"/>
                    <a:pt x="56" y="61"/>
                    <a:pt x="48" y="54"/>
                  </a:cubicBezTo>
                  <a:cubicBezTo>
                    <a:pt x="33" y="41"/>
                    <a:pt x="21" y="24"/>
                    <a:pt x="6" y="11"/>
                  </a:cubicBezTo>
                  <a:cubicBezTo>
                    <a:pt x="0" y="5"/>
                    <a:pt x="4" y="0"/>
                    <a:pt x="10" y="0"/>
                  </a:cubicBezTo>
                  <a:cubicBezTo>
                    <a:pt x="19" y="0"/>
                    <a:pt x="43" y="25"/>
                    <a:pt x="54" y="38"/>
                  </a:cubicBezTo>
                  <a:cubicBezTo>
                    <a:pt x="65" y="50"/>
                    <a:pt x="75" y="60"/>
                    <a:pt x="86" y="60"/>
                  </a:cubicBezTo>
                  <a:cubicBezTo>
                    <a:pt x="65" y="61"/>
                    <a:pt x="65" y="61"/>
                    <a:pt x="65" y="61"/>
                  </a:cubicBezTo>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latin typeface="Source Sans Pro" charset="0"/>
              </a:endParaRPr>
            </a:p>
          </p:txBody>
        </p:sp>
        <p:sp>
          <p:nvSpPr>
            <p:cNvPr id="13" name="Freeform 8">
              <a:extLst>
                <a:ext uri="{FF2B5EF4-FFF2-40B4-BE49-F238E27FC236}">
                  <a16:creationId xmlns:a16="http://schemas.microsoft.com/office/drawing/2014/main" id="{579F0038-36C7-4E26-8964-F28BFDC3EC86}"/>
                </a:ext>
              </a:extLst>
            </p:cNvPr>
            <p:cNvSpPr>
              <a:spLocks/>
            </p:cNvSpPr>
            <p:nvPr/>
          </p:nvSpPr>
          <p:spPr bwMode="auto">
            <a:xfrm>
              <a:off x="6901798" y="3395663"/>
              <a:ext cx="1004887" cy="901700"/>
            </a:xfrm>
            <a:custGeom>
              <a:avLst/>
              <a:gdLst>
                <a:gd name="T0" fmla="*/ 32 w 78"/>
                <a:gd name="T1" fmla="*/ 15 h 69"/>
                <a:gd name="T2" fmla="*/ 44 w 78"/>
                <a:gd name="T3" fmla="*/ 25 h 69"/>
                <a:gd name="T4" fmla="*/ 0 w 78"/>
                <a:gd name="T5" fmla="*/ 69 h 69"/>
                <a:gd name="T6" fmla="*/ 21 w 78"/>
                <a:gd name="T7" fmla="*/ 68 h 69"/>
                <a:gd name="T8" fmla="*/ 56 w 78"/>
                <a:gd name="T9" fmla="*/ 35 h 69"/>
                <a:gd name="T10" fmla="*/ 68 w 78"/>
                <a:gd name="T11" fmla="*/ 45 h 69"/>
                <a:gd name="T12" fmla="*/ 78 w 78"/>
                <a:gd name="T13" fmla="*/ 0 h 69"/>
                <a:gd name="T14" fmla="*/ 32 w 78"/>
                <a:gd name="T15" fmla="*/ 15 h 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8" h="69">
                  <a:moveTo>
                    <a:pt x="32" y="15"/>
                  </a:moveTo>
                  <a:cubicBezTo>
                    <a:pt x="37" y="19"/>
                    <a:pt x="39" y="21"/>
                    <a:pt x="44" y="25"/>
                  </a:cubicBezTo>
                  <a:cubicBezTo>
                    <a:pt x="7" y="69"/>
                    <a:pt x="7" y="69"/>
                    <a:pt x="0" y="69"/>
                  </a:cubicBezTo>
                  <a:cubicBezTo>
                    <a:pt x="21" y="68"/>
                    <a:pt x="21" y="68"/>
                    <a:pt x="21" y="68"/>
                  </a:cubicBezTo>
                  <a:cubicBezTo>
                    <a:pt x="30" y="67"/>
                    <a:pt x="36" y="60"/>
                    <a:pt x="56" y="35"/>
                  </a:cubicBezTo>
                  <a:cubicBezTo>
                    <a:pt x="61" y="40"/>
                    <a:pt x="63" y="41"/>
                    <a:pt x="68" y="45"/>
                  </a:cubicBezTo>
                  <a:cubicBezTo>
                    <a:pt x="69" y="26"/>
                    <a:pt x="73" y="11"/>
                    <a:pt x="78" y="0"/>
                  </a:cubicBezTo>
                  <a:cubicBezTo>
                    <a:pt x="58" y="6"/>
                    <a:pt x="49" y="9"/>
                    <a:pt x="32" y="15"/>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latin typeface="Source Sans Pro" charset="0"/>
              </a:endParaRPr>
            </a:p>
          </p:txBody>
        </p:sp>
      </p:grpSp>
      <p:grpSp>
        <p:nvGrpSpPr>
          <p:cNvPr id="14" name="Group 30">
            <a:extLst>
              <a:ext uri="{FF2B5EF4-FFF2-40B4-BE49-F238E27FC236}">
                <a16:creationId xmlns:a16="http://schemas.microsoft.com/office/drawing/2014/main" id="{2BE70D66-0B63-427B-B054-DBB8B5C15911}"/>
              </a:ext>
            </a:extLst>
          </p:cNvPr>
          <p:cNvGrpSpPr/>
          <p:nvPr/>
        </p:nvGrpSpPr>
        <p:grpSpPr>
          <a:xfrm>
            <a:off x="7865413" y="2709836"/>
            <a:ext cx="1844675" cy="847725"/>
            <a:chOff x="7865413" y="2574925"/>
            <a:chExt cx="1844675" cy="847725"/>
          </a:xfrm>
        </p:grpSpPr>
        <p:sp>
          <p:nvSpPr>
            <p:cNvPr id="15" name="Freeform 5">
              <a:extLst>
                <a:ext uri="{FF2B5EF4-FFF2-40B4-BE49-F238E27FC236}">
                  <a16:creationId xmlns:a16="http://schemas.microsoft.com/office/drawing/2014/main" id="{F59DBB0F-0161-4B59-85E2-25AB52E906A2}"/>
                </a:ext>
              </a:extLst>
            </p:cNvPr>
            <p:cNvSpPr>
              <a:spLocks/>
            </p:cNvSpPr>
            <p:nvPr/>
          </p:nvSpPr>
          <p:spPr bwMode="auto">
            <a:xfrm>
              <a:off x="7865413" y="2574925"/>
              <a:ext cx="1069975" cy="820738"/>
            </a:xfrm>
            <a:custGeom>
              <a:avLst/>
              <a:gdLst>
                <a:gd name="T0" fmla="*/ 62 w 83"/>
                <a:gd name="T1" fmla="*/ 0 h 63"/>
                <a:gd name="T2" fmla="*/ 46 w 83"/>
                <a:gd name="T3" fmla="*/ 8 h 63"/>
                <a:gd name="T4" fmla="*/ 6 w 83"/>
                <a:gd name="T5" fmla="*/ 52 h 63"/>
                <a:gd name="T6" fmla="*/ 10 w 83"/>
                <a:gd name="T7" fmla="*/ 63 h 63"/>
                <a:gd name="T8" fmla="*/ 53 w 83"/>
                <a:gd name="T9" fmla="*/ 23 h 63"/>
                <a:gd name="T10" fmla="*/ 83 w 83"/>
                <a:gd name="T11" fmla="*/ 0 h 63"/>
                <a:gd name="T12" fmla="*/ 62 w 83"/>
                <a:gd name="T13" fmla="*/ 0 h 63"/>
              </a:gdLst>
              <a:ahLst/>
              <a:cxnLst>
                <a:cxn ang="0">
                  <a:pos x="T0" y="T1"/>
                </a:cxn>
                <a:cxn ang="0">
                  <a:pos x="T2" y="T3"/>
                </a:cxn>
                <a:cxn ang="0">
                  <a:pos x="T4" y="T5"/>
                </a:cxn>
                <a:cxn ang="0">
                  <a:pos x="T6" y="T7"/>
                </a:cxn>
                <a:cxn ang="0">
                  <a:pos x="T8" y="T9"/>
                </a:cxn>
                <a:cxn ang="0">
                  <a:pos x="T10" y="T11"/>
                </a:cxn>
                <a:cxn ang="0">
                  <a:pos x="T12" y="T13"/>
                </a:cxn>
              </a:cxnLst>
              <a:rect l="0" t="0" r="r" b="b"/>
              <a:pathLst>
                <a:path w="83" h="63">
                  <a:moveTo>
                    <a:pt x="62" y="0"/>
                  </a:moveTo>
                  <a:cubicBezTo>
                    <a:pt x="59" y="0"/>
                    <a:pt x="54" y="0"/>
                    <a:pt x="46" y="8"/>
                  </a:cubicBezTo>
                  <a:cubicBezTo>
                    <a:pt x="31" y="22"/>
                    <a:pt x="20" y="38"/>
                    <a:pt x="6" y="52"/>
                  </a:cubicBezTo>
                  <a:cubicBezTo>
                    <a:pt x="0" y="58"/>
                    <a:pt x="4" y="63"/>
                    <a:pt x="10" y="63"/>
                  </a:cubicBezTo>
                  <a:cubicBezTo>
                    <a:pt x="19" y="63"/>
                    <a:pt x="42" y="37"/>
                    <a:pt x="53" y="23"/>
                  </a:cubicBezTo>
                  <a:cubicBezTo>
                    <a:pt x="63" y="11"/>
                    <a:pt x="72" y="0"/>
                    <a:pt x="83" y="0"/>
                  </a:cubicBezTo>
                  <a:cubicBezTo>
                    <a:pt x="62" y="0"/>
                    <a:pt x="62" y="0"/>
                    <a:pt x="62" y="0"/>
                  </a:cubicBezTo>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latin typeface="Source Sans Pro" charset="0"/>
              </a:endParaRPr>
            </a:p>
          </p:txBody>
        </p:sp>
        <p:sp>
          <p:nvSpPr>
            <p:cNvPr id="16" name="Freeform 6">
              <a:extLst>
                <a:ext uri="{FF2B5EF4-FFF2-40B4-BE49-F238E27FC236}">
                  <a16:creationId xmlns:a16="http://schemas.microsoft.com/office/drawing/2014/main" id="{A78D86E1-FAF9-4258-82CC-8AEFE1B12CC3}"/>
                </a:ext>
              </a:extLst>
            </p:cNvPr>
            <p:cNvSpPr>
              <a:spLocks/>
            </p:cNvSpPr>
            <p:nvPr/>
          </p:nvSpPr>
          <p:spPr bwMode="auto">
            <a:xfrm>
              <a:off x="8665513" y="2574925"/>
              <a:ext cx="1044575" cy="847725"/>
            </a:xfrm>
            <a:custGeom>
              <a:avLst/>
              <a:gdLst>
                <a:gd name="T0" fmla="*/ 35 w 81"/>
                <a:gd name="T1" fmla="*/ 53 h 65"/>
                <a:gd name="T2" fmla="*/ 46 w 81"/>
                <a:gd name="T3" fmla="*/ 42 h 65"/>
                <a:gd name="T4" fmla="*/ 0 w 81"/>
                <a:gd name="T5" fmla="*/ 0 h 65"/>
                <a:gd name="T6" fmla="*/ 21 w 81"/>
                <a:gd name="T7" fmla="*/ 0 h 65"/>
                <a:gd name="T8" fmla="*/ 57 w 81"/>
                <a:gd name="T9" fmla="*/ 31 h 65"/>
                <a:gd name="T10" fmla="*/ 70 w 81"/>
                <a:gd name="T11" fmla="*/ 21 h 65"/>
                <a:gd name="T12" fmla="*/ 81 w 81"/>
                <a:gd name="T13" fmla="*/ 65 h 65"/>
                <a:gd name="T14" fmla="*/ 35 w 81"/>
                <a:gd name="T15" fmla="*/ 53 h 6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1" h="65">
                  <a:moveTo>
                    <a:pt x="35" y="53"/>
                  </a:moveTo>
                  <a:cubicBezTo>
                    <a:pt x="40" y="48"/>
                    <a:pt x="41" y="47"/>
                    <a:pt x="46" y="42"/>
                  </a:cubicBezTo>
                  <a:cubicBezTo>
                    <a:pt x="8" y="0"/>
                    <a:pt x="8" y="0"/>
                    <a:pt x="0" y="0"/>
                  </a:cubicBezTo>
                  <a:cubicBezTo>
                    <a:pt x="21" y="0"/>
                    <a:pt x="21" y="0"/>
                    <a:pt x="21" y="0"/>
                  </a:cubicBezTo>
                  <a:cubicBezTo>
                    <a:pt x="31" y="1"/>
                    <a:pt x="36" y="7"/>
                    <a:pt x="57" y="31"/>
                  </a:cubicBezTo>
                  <a:cubicBezTo>
                    <a:pt x="63" y="27"/>
                    <a:pt x="64" y="26"/>
                    <a:pt x="70" y="21"/>
                  </a:cubicBezTo>
                  <a:cubicBezTo>
                    <a:pt x="72" y="40"/>
                    <a:pt x="76" y="55"/>
                    <a:pt x="81" y="65"/>
                  </a:cubicBezTo>
                  <a:cubicBezTo>
                    <a:pt x="61" y="61"/>
                    <a:pt x="52" y="58"/>
                    <a:pt x="35" y="5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latin typeface="Source Sans Pro" charset="0"/>
              </a:endParaRPr>
            </a:p>
          </p:txBody>
        </p:sp>
      </p:grpSp>
      <p:grpSp>
        <p:nvGrpSpPr>
          <p:cNvPr id="17" name="Group 31">
            <a:extLst>
              <a:ext uri="{FF2B5EF4-FFF2-40B4-BE49-F238E27FC236}">
                <a16:creationId xmlns:a16="http://schemas.microsoft.com/office/drawing/2014/main" id="{4C4BA69B-23C4-4CBC-AA8A-D039407B054E}"/>
              </a:ext>
            </a:extLst>
          </p:cNvPr>
          <p:cNvGrpSpPr/>
          <p:nvPr/>
        </p:nvGrpSpPr>
        <p:grpSpPr>
          <a:xfrm>
            <a:off x="9606900" y="3530574"/>
            <a:ext cx="1843087" cy="901700"/>
            <a:chOff x="9606900" y="3395663"/>
            <a:chExt cx="1843087" cy="901700"/>
          </a:xfrm>
        </p:grpSpPr>
        <p:sp>
          <p:nvSpPr>
            <p:cNvPr id="18" name="Freeform 7">
              <a:extLst>
                <a:ext uri="{FF2B5EF4-FFF2-40B4-BE49-F238E27FC236}">
                  <a16:creationId xmlns:a16="http://schemas.microsoft.com/office/drawing/2014/main" id="{7C1A9466-D005-4952-BD00-1BFFA064F04D}"/>
                </a:ext>
              </a:extLst>
            </p:cNvPr>
            <p:cNvSpPr>
              <a:spLocks/>
            </p:cNvSpPr>
            <p:nvPr/>
          </p:nvSpPr>
          <p:spPr bwMode="auto">
            <a:xfrm>
              <a:off x="9606900" y="3500438"/>
              <a:ext cx="1108075" cy="796925"/>
            </a:xfrm>
            <a:custGeom>
              <a:avLst/>
              <a:gdLst>
                <a:gd name="T0" fmla="*/ 65 w 86"/>
                <a:gd name="T1" fmla="*/ 61 h 61"/>
                <a:gd name="T2" fmla="*/ 48 w 86"/>
                <a:gd name="T3" fmla="*/ 54 h 61"/>
                <a:gd name="T4" fmla="*/ 6 w 86"/>
                <a:gd name="T5" fmla="*/ 11 h 61"/>
                <a:gd name="T6" fmla="*/ 10 w 86"/>
                <a:gd name="T7" fmla="*/ 0 h 61"/>
                <a:gd name="T8" fmla="*/ 54 w 86"/>
                <a:gd name="T9" fmla="*/ 38 h 61"/>
                <a:gd name="T10" fmla="*/ 86 w 86"/>
                <a:gd name="T11" fmla="*/ 60 h 61"/>
                <a:gd name="T12" fmla="*/ 65 w 86"/>
                <a:gd name="T13" fmla="*/ 61 h 61"/>
              </a:gdLst>
              <a:ahLst/>
              <a:cxnLst>
                <a:cxn ang="0">
                  <a:pos x="T0" y="T1"/>
                </a:cxn>
                <a:cxn ang="0">
                  <a:pos x="T2" y="T3"/>
                </a:cxn>
                <a:cxn ang="0">
                  <a:pos x="T4" y="T5"/>
                </a:cxn>
                <a:cxn ang="0">
                  <a:pos x="T6" y="T7"/>
                </a:cxn>
                <a:cxn ang="0">
                  <a:pos x="T8" y="T9"/>
                </a:cxn>
                <a:cxn ang="0">
                  <a:pos x="T10" y="T11"/>
                </a:cxn>
                <a:cxn ang="0">
                  <a:pos x="T12" y="T13"/>
                </a:cxn>
              </a:cxnLst>
              <a:rect l="0" t="0" r="r" b="b"/>
              <a:pathLst>
                <a:path w="86" h="61">
                  <a:moveTo>
                    <a:pt x="65" y="61"/>
                  </a:moveTo>
                  <a:cubicBezTo>
                    <a:pt x="62" y="61"/>
                    <a:pt x="56" y="61"/>
                    <a:pt x="48" y="54"/>
                  </a:cubicBezTo>
                  <a:cubicBezTo>
                    <a:pt x="33" y="41"/>
                    <a:pt x="21" y="24"/>
                    <a:pt x="6" y="11"/>
                  </a:cubicBezTo>
                  <a:cubicBezTo>
                    <a:pt x="0" y="5"/>
                    <a:pt x="4" y="0"/>
                    <a:pt x="10" y="0"/>
                  </a:cubicBezTo>
                  <a:cubicBezTo>
                    <a:pt x="19" y="0"/>
                    <a:pt x="43" y="25"/>
                    <a:pt x="54" y="38"/>
                  </a:cubicBezTo>
                  <a:cubicBezTo>
                    <a:pt x="65" y="50"/>
                    <a:pt x="75" y="60"/>
                    <a:pt x="86" y="60"/>
                  </a:cubicBezTo>
                  <a:cubicBezTo>
                    <a:pt x="65" y="61"/>
                    <a:pt x="65" y="61"/>
                    <a:pt x="65" y="61"/>
                  </a:cubicBezTo>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latin typeface="Source Sans Pro" charset="0"/>
              </a:endParaRPr>
            </a:p>
          </p:txBody>
        </p:sp>
        <p:sp>
          <p:nvSpPr>
            <p:cNvPr id="19" name="Freeform 8">
              <a:extLst>
                <a:ext uri="{FF2B5EF4-FFF2-40B4-BE49-F238E27FC236}">
                  <a16:creationId xmlns:a16="http://schemas.microsoft.com/office/drawing/2014/main" id="{732B1F6C-28B1-4874-B865-CC07473F7F23}"/>
                </a:ext>
              </a:extLst>
            </p:cNvPr>
            <p:cNvSpPr>
              <a:spLocks/>
            </p:cNvSpPr>
            <p:nvPr/>
          </p:nvSpPr>
          <p:spPr bwMode="auto">
            <a:xfrm>
              <a:off x="10445100" y="3395663"/>
              <a:ext cx="1004887" cy="901700"/>
            </a:xfrm>
            <a:custGeom>
              <a:avLst/>
              <a:gdLst>
                <a:gd name="T0" fmla="*/ 32 w 78"/>
                <a:gd name="T1" fmla="*/ 15 h 69"/>
                <a:gd name="T2" fmla="*/ 44 w 78"/>
                <a:gd name="T3" fmla="*/ 25 h 69"/>
                <a:gd name="T4" fmla="*/ 0 w 78"/>
                <a:gd name="T5" fmla="*/ 69 h 69"/>
                <a:gd name="T6" fmla="*/ 21 w 78"/>
                <a:gd name="T7" fmla="*/ 68 h 69"/>
                <a:gd name="T8" fmla="*/ 56 w 78"/>
                <a:gd name="T9" fmla="*/ 35 h 69"/>
                <a:gd name="T10" fmla="*/ 68 w 78"/>
                <a:gd name="T11" fmla="*/ 45 h 69"/>
                <a:gd name="T12" fmla="*/ 78 w 78"/>
                <a:gd name="T13" fmla="*/ 0 h 69"/>
                <a:gd name="T14" fmla="*/ 32 w 78"/>
                <a:gd name="T15" fmla="*/ 15 h 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8" h="69">
                  <a:moveTo>
                    <a:pt x="32" y="15"/>
                  </a:moveTo>
                  <a:cubicBezTo>
                    <a:pt x="37" y="19"/>
                    <a:pt x="39" y="21"/>
                    <a:pt x="44" y="25"/>
                  </a:cubicBezTo>
                  <a:cubicBezTo>
                    <a:pt x="7" y="69"/>
                    <a:pt x="7" y="69"/>
                    <a:pt x="0" y="69"/>
                  </a:cubicBezTo>
                  <a:cubicBezTo>
                    <a:pt x="21" y="68"/>
                    <a:pt x="21" y="68"/>
                    <a:pt x="21" y="68"/>
                  </a:cubicBezTo>
                  <a:cubicBezTo>
                    <a:pt x="30" y="67"/>
                    <a:pt x="36" y="60"/>
                    <a:pt x="56" y="35"/>
                  </a:cubicBezTo>
                  <a:cubicBezTo>
                    <a:pt x="61" y="40"/>
                    <a:pt x="63" y="41"/>
                    <a:pt x="68" y="45"/>
                  </a:cubicBezTo>
                  <a:cubicBezTo>
                    <a:pt x="69" y="26"/>
                    <a:pt x="73" y="11"/>
                    <a:pt x="78" y="0"/>
                  </a:cubicBezTo>
                  <a:cubicBezTo>
                    <a:pt x="58" y="6"/>
                    <a:pt x="49" y="9"/>
                    <a:pt x="32" y="15"/>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latin typeface="Source Sans Pro" charset="0"/>
              </a:endParaRPr>
            </a:p>
          </p:txBody>
        </p:sp>
      </p:grpSp>
      <p:sp>
        <p:nvSpPr>
          <p:cNvPr id="20" name="Freeform 20">
            <a:extLst>
              <a:ext uri="{FF2B5EF4-FFF2-40B4-BE49-F238E27FC236}">
                <a16:creationId xmlns:a16="http://schemas.microsoft.com/office/drawing/2014/main" id="{1336D9AE-8CA7-43D7-A271-EDA76A8FBB5F}"/>
              </a:ext>
            </a:extLst>
          </p:cNvPr>
          <p:cNvSpPr/>
          <p:nvPr/>
        </p:nvSpPr>
        <p:spPr>
          <a:xfrm>
            <a:off x="1079635" y="3336891"/>
            <a:ext cx="1151996" cy="1151997"/>
          </a:xfrm>
          <a:custGeom>
            <a:avLst/>
            <a:gdLst>
              <a:gd name="connsiteX0" fmla="*/ 1399387 w 3529838"/>
              <a:gd name="connsiteY0" fmla="*/ 1474949 h 3656018"/>
              <a:gd name="connsiteX1" fmla="*/ 3529838 w 3529838"/>
              <a:gd name="connsiteY1" fmla="*/ 1474949 h 3656018"/>
              <a:gd name="connsiteX2" fmla="*/ 3529838 w 3529838"/>
              <a:gd name="connsiteY2" fmla="*/ 3656018 h 3656018"/>
              <a:gd name="connsiteX3" fmla="*/ 1399387 w 3529838"/>
              <a:gd name="connsiteY3" fmla="*/ 3656018 h 3656018"/>
              <a:gd name="connsiteX4" fmla="*/ 575998 w 3529838"/>
              <a:gd name="connsiteY4" fmla="*/ 0 h 3656018"/>
              <a:gd name="connsiteX5" fmla="*/ 682386 w 3529838"/>
              <a:gd name="connsiteY5" fmla="*/ 44068 h 3656018"/>
              <a:gd name="connsiteX6" fmla="*/ 1107929 w 3529838"/>
              <a:gd name="connsiteY6" fmla="*/ 469610 h 3656018"/>
              <a:gd name="connsiteX7" fmla="*/ 1107929 w 3529838"/>
              <a:gd name="connsiteY7" fmla="*/ 682387 h 3656018"/>
              <a:gd name="connsiteX8" fmla="*/ 682386 w 3529838"/>
              <a:gd name="connsiteY8" fmla="*/ 1107930 h 3656018"/>
              <a:gd name="connsiteX9" fmla="*/ 469610 w 3529838"/>
              <a:gd name="connsiteY9" fmla="*/ 1107930 h 3656018"/>
              <a:gd name="connsiteX10" fmla="*/ 44067 w 3529838"/>
              <a:gd name="connsiteY10" fmla="*/ 682387 h 3656018"/>
              <a:gd name="connsiteX11" fmla="*/ 44067 w 3529838"/>
              <a:gd name="connsiteY11" fmla="*/ 469610 h 3656018"/>
              <a:gd name="connsiteX12" fmla="*/ 469610 w 3529838"/>
              <a:gd name="connsiteY12" fmla="*/ 44068 h 3656018"/>
              <a:gd name="connsiteX13" fmla="*/ 575998 w 3529838"/>
              <a:gd name="connsiteY13" fmla="*/ 0 h 3656018"/>
              <a:gd name="connsiteX0" fmla="*/ 1399387 w 3529838"/>
              <a:gd name="connsiteY0" fmla="*/ 1474949 h 3656018"/>
              <a:gd name="connsiteX1" fmla="*/ 3529838 w 3529838"/>
              <a:gd name="connsiteY1" fmla="*/ 1474949 h 3656018"/>
              <a:gd name="connsiteX2" fmla="*/ 1399387 w 3529838"/>
              <a:gd name="connsiteY2" fmla="*/ 3656018 h 3656018"/>
              <a:gd name="connsiteX3" fmla="*/ 1399387 w 3529838"/>
              <a:gd name="connsiteY3" fmla="*/ 1474949 h 3656018"/>
              <a:gd name="connsiteX4" fmla="*/ 575998 w 3529838"/>
              <a:gd name="connsiteY4" fmla="*/ 0 h 3656018"/>
              <a:gd name="connsiteX5" fmla="*/ 682386 w 3529838"/>
              <a:gd name="connsiteY5" fmla="*/ 44068 h 3656018"/>
              <a:gd name="connsiteX6" fmla="*/ 1107929 w 3529838"/>
              <a:gd name="connsiteY6" fmla="*/ 469610 h 3656018"/>
              <a:gd name="connsiteX7" fmla="*/ 1107929 w 3529838"/>
              <a:gd name="connsiteY7" fmla="*/ 682387 h 3656018"/>
              <a:gd name="connsiteX8" fmla="*/ 682386 w 3529838"/>
              <a:gd name="connsiteY8" fmla="*/ 1107930 h 3656018"/>
              <a:gd name="connsiteX9" fmla="*/ 469610 w 3529838"/>
              <a:gd name="connsiteY9" fmla="*/ 1107930 h 3656018"/>
              <a:gd name="connsiteX10" fmla="*/ 44067 w 3529838"/>
              <a:gd name="connsiteY10" fmla="*/ 682387 h 3656018"/>
              <a:gd name="connsiteX11" fmla="*/ 44067 w 3529838"/>
              <a:gd name="connsiteY11" fmla="*/ 469610 h 3656018"/>
              <a:gd name="connsiteX12" fmla="*/ 469610 w 3529838"/>
              <a:gd name="connsiteY12" fmla="*/ 44068 h 3656018"/>
              <a:gd name="connsiteX13" fmla="*/ 575998 w 3529838"/>
              <a:gd name="connsiteY13" fmla="*/ 0 h 3656018"/>
              <a:gd name="connsiteX0" fmla="*/ 1399387 w 1399387"/>
              <a:gd name="connsiteY0" fmla="*/ 1474949 h 3656018"/>
              <a:gd name="connsiteX1" fmla="*/ 1399387 w 1399387"/>
              <a:gd name="connsiteY1" fmla="*/ 3656018 h 3656018"/>
              <a:gd name="connsiteX2" fmla="*/ 1399387 w 1399387"/>
              <a:gd name="connsiteY2" fmla="*/ 1474949 h 3656018"/>
              <a:gd name="connsiteX3" fmla="*/ 575998 w 1399387"/>
              <a:gd name="connsiteY3" fmla="*/ 0 h 3656018"/>
              <a:gd name="connsiteX4" fmla="*/ 682386 w 1399387"/>
              <a:gd name="connsiteY4" fmla="*/ 44068 h 3656018"/>
              <a:gd name="connsiteX5" fmla="*/ 1107929 w 1399387"/>
              <a:gd name="connsiteY5" fmla="*/ 469610 h 3656018"/>
              <a:gd name="connsiteX6" fmla="*/ 1107929 w 1399387"/>
              <a:gd name="connsiteY6" fmla="*/ 682387 h 3656018"/>
              <a:gd name="connsiteX7" fmla="*/ 682386 w 1399387"/>
              <a:gd name="connsiteY7" fmla="*/ 1107930 h 3656018"/>
              <a:gd name="connsiteX8" fmla="*/ 469610 w 1399387"/>
              <a:gd name="connsiteY8" fmla="*/ 1107930 h 3656018"/>
              <a:gd name="connsiteX9" fmla="*/ 44067 w 1399387"/>
              <a:gd name="connsiteY9" fmla="*/ 682387 h 3656018"/>
              <a:gd name="connsiteX10" fmla="*/ 44067 w 1399387"/>
              <a:gd name="connsiteY10" fmla="*/ 469610 h 3656018"/>
              <a:gd name="connsiteX11" fmla="*/ 469610 w 1399387"/>
              <a:gd name="connsiteY11" fmla="*/ 44068 h 3656018"/>
              <a:gd name="connsiteX12" fmla="*/ 575998 w 1399387"/>
              <a:gd name="connsiteY12" fmla="*/ 0 h 3656018"/>
              <a:gd name="connsiteX0" fmla="*/ 575998 w 1151996"/>
              <a:gd name="connsiteY0" fmla="*/ 0 h 1151997"/>
              <a:gd name="connsiteX1" fmla="*/ 682386 w 1151996"/>
              <a:gd name="connsiteY1" fmla="*/ 44068 h 1151997"/>
              <a:gd name="connsiteX2" fmla="*/ 1107929 w 1151996"/>
              <a:gd name="connsiteY2" fmla="*/ 469610 h 1151997"/>
              <a:gd name="connsiteX3" fmla="*/ 1107929 w 1151996"/>
              <a:gd name="connsiteY3" fmla="*/ 682387 h 1151997"/>
              <a:gd name="connsiteX4" fmla="*/ 682386 w 1151996"/>
              <a:gd name="connsiteY4" fmla="*/ 1107930 h 1151997"/>
              <a:gd name="connsiteX5" fmla="*/ 469610 w 1151996"/>
              <a:gd name="connsiteY5" fmla="*/ 1107930 h 1151997"/>
              <a:gd name="connsiteX6" fmla="*/ 44067 w 1151996"/>
              <a:gd name="connsiteY6" fmla="*/ 682387 h 1151997"/>
              <a:gd name="connsiteX7" fmla="*/ 44067 w 1151996"/>
              <a:gd name="connsiteY7" fmla="*/ 469610 h 1151997"/>
              <a:gd name="connsiteX8" fmla="*/ 469610 w 1151996"/>
              <a:gd name="connsiteY8" fmla="*/ 44068 h 1151997"/>
              <a:gd name="connsiteX9" fmla="*/ 575998 w 1151996"/>
              <a:gd name="connsiteY9" fmla="*/ 0 h 1151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51996" h="1151997">
                <a:moveTo>
                  <a:pt x="575998" y="0"/>
                </a:moveTo>
                <a:cubicBezTo>
                  <a:pt x="614503" y="0"/>
                  <a:pt x="653008" y="14689"/>
                  <a:pt x="682386" y="44068"/>
                </a:cubicBezTo>
                <a:lnTo>
                  <a:pt x="1107929" y="469610"/>
                </a:lnTo>
                <a:cubicBezTo>
                  <a:pt x="1166686" y="528367"/>
                  <a:pt x="1166686" y="623630"/>
                  <a:pt x="1107929" y="682387"/>
                </a:cubicBezTo>
                <a:lnTo>
                  <a:pt x="682386" y="1107930"/>
                </a:lnTo>
                <a:cubicBezTo>
                  <a:pt x="623629" y="1166687"/>
                  <a:pt x="528367" y="1166687"/>
                  <a:pt x="469610" y="1107930"/>
                </a:cubicBezTo>
                <a:lnTo>
                  <a:pt x="44067" y="682387"/>
                </a:lnTo>
                <a:cubicBezTo>
                  <a:pt x="-14690" y="623630"/>
                  <a:pt x="-14690" y="528367"/>
                  <a:pt x="44067" y="469610"/>
                </a:cubicBezTo>
                <a:lnTo>
                  <a:pt x="469610" y="44068"/>
                </a:lnTo>
                <a:cubicBezTo>
                  <a:pt x="498988" y="14689"/>
                  <a:pt x="537493" y="0"/>
                  <a:pt x="575998"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srgbClr val="FFFFFF"/>
                </a:solidFill>
                <a:effectLst/>
                <a:uLnTx/>
                <a:uFillTx/>
                <a:latin typeface="linea-basic-10" panose="02000509000000000000" pitchFamily="49" charset="0"/>
                <a:cs typeface="+mn-cs"/>
              </a:rPr>
              <a:t>Y</a:t>
            </a:r>
          </a:p>
        </p:txBody>
      </p:sp>
      <p:sp>
        <p:nvSpPr>
          <p:cNvPr id="21" name="Freeform 21">
            <a:extLst>
              <a:ext uri="{FF2B5EF4-FFF2-40B4-BE49-F238E27FC236}">
                <a16:creationId xmlns:a16="http://schemas.microsoft.com/office/drawing/2014/main" id="{64E4FD0F-0813-4C95-A388-F3BD9A6DE9D3}"/>
              </a:ext>
            </a:extLst>
          </p:cNvPr>
          <p:cNvSpPr/>
          <p:nvPr/>
        </p:nvSpPr>
        <p:spPr>
          <a:xfrm>
            <a:off x="2822453" y="2649217"/>
            <a:ext cx="1151996" cy="1151997"/>
          </a:xfrm>
          <a:custGeom>
            <a:avLst/>
            <a:gdLst>
              <a:gd name="connsiteX0" fmla="*/ 1399387 w 3529838"/>
              <a:gd name="connsiteY0" fmla="*/ 1474949 h 3656018"/>
              <a:gd name="connsiteX1" fmla="*/ 3529838 w 3529838"/>
              <a:gd name="connsiteY1" fmla="*/ 1474949 h 3656018"/>
              <a:gd name="connsiteX2" fmla="*/ 3529838 w 3529838"/>
              <a:gd name="connsiteY2" fmla="*/ 3656018 h 3656018"/>
              <a:gd name="connsiteX3" fmla="*/ 1399387 w 3529838"/>
              <a:gd name="connsiteY3" fmla="*/ 3656018 h 3656018"/>
              <a:gd name="connsiteX4" fmla="*/ 575998 w 3529838"/>
              <a:gd name="connsiteY4" fmla="*/ 0 h 3656018"/>
              <a:gd name="connsiteX5" fmla="*/ 682386 w 3529838"/>
              <a:gd name="connsiteY5" fmla="*/ 44068 h 3656018"/>
              <a:gd name="connsiteX6" fmla="*/ 1107929 w 3529838"/>
              <a:gd name="connsiteY6" fmla="*/ 469610 h 3656018"/>
              <a:gd name="connsiteX7" fmla="*/ 1107929 w 3529838"/>
              <a:gd name="connsiteY7" fmla="*/ 682387 h 3656018"/>
              <a:gd name="connsiteX8" fmla="*/ 682386 w 3529838"/>
              <a:gd name="connsiteY8" fmla="*/ 1107930 h 3656018"/>
              <a:gd name="connsiteX9" fmla="*/ 469610 w 3529838"/>
              <a:gd name="connsiteY9" fmla="*/ 1107930 h 3656018"/>
              <a:gd name="connsiteX10" fmla="*/ 44067 w 3529838"/>
              <a:gd name="connsiteY10" fmla="*/ 682387 h 3656018"/>
              <a:gd name="connsiteX11" fmla="*/ 44067 w 3529838"/>
              <a:gd name="connsiteY11" fmla="*/ 469610 h 3656018"/>
              <a:gd name="connsiteX12" fmla="*/ 469610 w 3529838"/>
              <a:gd name="connsiteY12" fmla="*/ 44068 h 3656018"/>
              <a:gd name="connsiteX13" fmla="*/ 575998 w 3529838"/>
              <a:gd name="connsiteY13" fmla="*/ 0 h 3656018"/>
              <a:gd name="connsiteX0" fmla="*/ 1399387 w 3529838"/>
              <a:gd name="connsiteY0" fmla="*/ 1474949 h 3656018"/>
              <a:gd name="connsiteX1" fmla="*/ 3529838 w 3529838"/>
              <a:gd name="connsiteY1" fmla="*/ 1474949 h 3656018"/>
              <a:gd name="connsiteX2" fmla="*/ 1399387 w 3529838"/>
              <a:gd name="connsiteY2" fmla="*/ 3656018 h 3656018"/>
              <a:gd name="connsiteX3" fmla="*/ 1399387 w 3529838"/>
              <a:gd name="connsiteY3" fmla="*/ 1474949 h 3656018"/>
              <a:gd name="connsiteX4" fmla="*/ 575998 w 3529838"/>
              <a:gd name="connsiteY4" fmla="*/ 0 h 3656018"/>
              <a:gd name="connsiteX5" fmla="*/ 682386 w 3529838"/>
              <a:gd name="connsiteY5" fmla="*/ 44068 h 3656018"/>
              <a:gd name="connsiteX6" fmla="*/ 1107929 w 3529838"/>
              <a:gd name="connsiteY6" fmla="*/ 469610 h 3656018"/>
              <a:gd name="connsiteX7" fmla="*/ 1107929 w 3529838"/>
              <a:gd name="connsiteY7" fmla="*/ 682387 h 3656018"/>
              <a:gd name="connsiteX8" fmla="*/ 682386 w 3529838"/>
              <a:gd name="connsiteY8" fmla="*/ 1107930 h 3656018"/>
              <a:gd name="connsiteX9" fmla="*/ 469610 w 3529838"/>
              <a:gd name="connsiteY9" fmla="*/ 1107930 h 3656018"/>
              <a:gd name="connsiteX10" fmla="*/ 44067 w 3529838"/>
              <a:gd name="connsiteY10" fmla="*/ 682387 h 3656018"/>
              <a:gd name="connsiteX11" fmla="*/ 44067 w 3529838"/>
              <a:gd name="connsiteY11" fmla="*/ 469610 h 3656018"/>
              <a:gd name="connsiteX12" fmla="*/ 469610 w 3529838"/>
              <a:gd name="connsiteY12" fmla="*/ 44068 h 3656018"/>
              <a:gd name="connsiteX13" fmla="*/ 575998 w 3529838"/>
              <a:gd name="connsiteY13" fmla="*/ 0 h 3656018"/>
              <a:gd name="connsiteX0" fmla="*/ 1399387 w 1399387"/>
              <a:gd name="connsiteY0" fmla="*/ 1474949 h 3656018"/>
              <a:gd name="connsiteX1" fmla="*/ 1399387 w 1399387"/>
              <a:gd name="connsiteY1" fmla="*/ 3656018 h 3656018"/>
              <a:gd name="connsiteX2" fmla="*/ 1399387 w 1399387"/>
              <a:gd name="connsiteY2" fmla="*/ 1474949 h 3656018"/>
              <a:gd name="connsiteX3" fmla="*/ 575998 w 1399387"/>
              <a:gd name="connsiteY3" fmla="*/ 0 h 3656018"/>
              <a:gd name="connsiteX4" fmla="*/ 682386 w 1399387"/>
              <a:gd name="connsiteY4" fmla="*/ 44068 h 3656018"/>
              <a:gd name="connsiteX5" fmla="*/ 1107929 w 1399387"/>
              <a:gd name="connsiteY5" fmla="*/ 469610 h 3656018"/>
              <a:gd name="connsiteX6" fmla="*/ 1107929 w 1399387"/>
              <a:gd name="connsiteY6" fmla="*/ 682387 h 3656018"/>
              <a:gd name="connsiteX7" fmla="*/ 682386 w 1399387"/>
              <a:gd name="connsiteY7" fmla="*/ 1107930 h 3656018"/>
              <a:gd name="connsiteX8" fmla="*/ 469610 w 1399387"/>
              <a:gd name="connsiteY8" fmla="*/ 1107930 h 3656018"/>
              <a:gd name="connsiteX9" fmla="*/ 44067 w 1399387"/>
              <a:gd name="connsiteY9" fmla="*/ 682387 h 3656018"/>
              <a:gd name="connsiteX10" fmla="*/ 44067 w 1399387"/>
              <a:gd name="connsiteY10" fmla="*/ 469610 h 3656018"/>
              <a:gd name="connsiteX11" fmla="*/ 469610 w 1399387"/>
              <a:gd name="connsiteY11" fmla="*/ 44068 h 3656018"/>
              <a:gd name="connsiteX12" fmla="*/ 575998 w 1399387"/>
              <a:gd name="connsiteY12" fmla="*/ 0 h 3656018"/>
              <a:gd name="connsiteX0" fmla="*/ 575998 w 1151996"/>
              <a:gd name="connsiteY0" fmla="*/ 0 h 1151997"/>
              <a:gd name="connsiteX1" fmla="*/ 682386 w 1151996"/>
              <a:gd name="connsiteY1" fmla="*/ 44068 h 1151997"/>
              <a:gd name="connsiteX2" fmla="*/ 1107929 w 1151996"/>
              <a:gd name="connsiteY2" fmla="*/ 469610 h 1151997"/>
              <a:gd name="connsiteX3" fmla="*/ 1107929 w 1151996"/>
              <a:gd name="connsiteY3" fmla="*/ 682387 h 1151997"/>
              <a:gd name="connsiteX4" fmla="*/ 682386 w 1151996"/>
              <a:gd name="connsiteY4" fmla="*/ 1107930 h 1151997"/>
              <a:gd name="connsiteX5" fmla="*/ 469610 w 1151996"/>
              <a:gd name="connsiteY5" fmla="*/ 1107930 h 1151997"/>
              <a:gd name="connsiteX6" fmla="*/ 44067 w 1151996"/>
              <a:gd name="connsiteY6" fmla="*/ 682387 h 1151997"/>
              <a:gd name="connsiteX7" fmla="*/ 44067 w 1151996"/>
              <a:gd name="connsiteY7" fmla="*/ 469610 h 1151997"/>
              <a:gd name="connsiteX8" fmla="*/ 469610 w 1151996"/>
              <a:gd name="connsiteY8" fmla="*/ 44068 h 1151997"/>
              <a:gd name="connsiteX9" fmla="*/ 575998 w 1151996"/>
              <a:gd name="connsiteY9" fmla="*/ 0 h 1151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51996" h="1151997">
                <a:moveTo>
                  <a:pt x="575998" y="0"/>
                </a:moveTo>
                <a:cubicBezTo>
                  <a:pt x="614503" y="0"/>
                  <a:pt x="653008" y="14689"/>
                  <a:pt x="682386" y="44068"/>
                </a:cubicBezTo>
                <a:lnTo>
                  <a:pt x="1107929" y="469610"/>
                </a:lnTo>
                <a:cubicBezTo>
                  <a:pt x="1166686" y="528367"/>
                  <a:pt x="1166686" y="623630"/>
                  <a:pt x="1107929" y="682387"/>
                </a:cubicBezTo>
                <a:lnTo>
                  <a:pt x="682386" y="1107930"/>
                </a:lnTo>
                <a:cubicBezTo>
                  <a:pt x="623629" y="1166687"/>
                  <a:pt x="528367" y="1166687"/>
                  <a:pt x="469610" y="1107930"/>
                </a:cubicBezTo>
                <a:lnTo>
                  <a:pt x="44067" y="682387"/>
                </a:lnTo>
                <a:cubicBezTo>
                  <a:pt x="-14690" y="623630"/>
                  <a:pt x="-14690" y="528367"/>
                  <a:pt x="44067" y="469610"/>
                </a:cubicBezTo>
                <a:lnTo>
                  <a:pt x="469610" y="44068"/>
                </a:lnTo>
                <a:cubicBezTo>
                  <a:pt x="498988" y="14689"/>
                  <a:pt x="537493" y="0"/>
                  <a:pt x="575998"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srgbClr val="FFFFFF"/>
                </a:solidFill>
                <a:effectLst/>
                <a:uLnTx/>
                <a:uFillTx/>
                <a:latin typeface="linea-basic-10" panose="02000509000000000000" pitchFamily="49" charset="0"/>
                <a:cs typeface="+mn-cs"/>
              </a:rPr>
              <a:t>L</a:t>
            </a:r>
          </a:p>
        </p:txBody>
      </p:sp>
      <p:sp>
        <p:nvSpPr>
          <p:cNvPr id="22" name="Freeform 22">
            <a:extLst>
              <a:ext uri="{FF2B5EF4-FFF2-40B4-BE49-F238E27FC236}">
                <a16:creationId xmlns:a16="http://schemas.microsoft.com/office/drawing/2014/main" id="{A30E21E4-70CE-4F3C-BAB9-103FAA674104}"/>
              </a:ext>
            </a:extLst>
          </p:cNvPr>
          <p:cNvSpPr/>
          <p:nvPr/>
        </p:nvSpPr>
        <p:spPr>
          <a:xfrm>
            <a:off x="4669773" y="3336891"/>
            <a:ext cx="1151996" cy="1151997"/>
          </a:xfrm>
          <a:custGeom>
            <a:avLst/>
            <a:gdLst>
              <a:gd name="connsiteX0" fmla="*/ 1399387 w 3529838"/>
              <a:gd name="connsiteY0" fmla="*/ 1474949 h 3656018"/>
              <a:gd name="connsiteX1" fmla="*/ 3529838 w 3529838"/>
              <a:gd name="connsiteY1" fmla="*/ 1474949 h 3656018"/>
              <a:gd name="connsiteX2" fmla="*/ 3529838 w 3529838"/>
              <a:gd name="connsiteY2" fmla="*/ 3656018 h 3656018"/>
              <a:gd name="connsiteX3" fmla="*/ 1399387 w 3529838"/>
              <a:gd name="connsiteY3" fmla="*/ 3656018 h 3656018"/>
              <a:gd name="connsiteX4" fmla="*/ 575998 w 3529838"/>
              <a:gd name="connsiteY4" fmla="*/ 0 h 3656018"/>
              <a:gd name="connsiteX5" fmla="*/ 682386 w 3529838"/>
              <a:gd name="connsiteY5" fmla="*/ 44068 h 3656018"/>
              <a:gd name="connsiteX6" fmla="*/ 1107929 w 3529838"/>
              <a:gd name="connsiteY6" fmla="*/ 469610 h 3656018"/>
              <a:gd name="connsiteX7" fmla="*/ 1107929 w 3529838"/>
              <a:gd name="connsiteY7" fmla="*/ 682387 h 3656018"/>
              <a:gd name="connsiteX8" fmla="*/ 682386 w 3529838"/>
              <a:gd name="connsiteY8" fmla="*/ 1107930 h 3656018"/>
              <a:gd name="connsiteX9" fmla="*/ 469610 w 3529838"/>
              <a:gd name="connsiteY9" fmla="*/ 1107930 h 3656018"/>
              <a:gd name="connsiteX10" fmla="*/ 44067 w 3529838"/>
              <a:gd name="connsiteY10" fmla="*/ 682387 h 3656018"/>
              <a:gd name="connsiteX11" fmla="*/ 44067 w 3529838"/>
              <a:gd name="connsiteY11" fmla="*/ 469610 h 3656018"/>
              <a:gd name="connsiteX12" fmla="*/ 469610 w 3529838"/>
              <a:gd name="connsiteY12" fmla="*/ 44068 h 3656018"/>
              <a:gd name="connsiteX13" fmla="*/ 575998 w 3529838"/>
              <a:gd name="connsiteY13" fmla="*/ 0 h 3656018"/>
              <a:gd name="connsiteX0" fmla="*/ 1399387 w 3529838"/>
              <a:gd name="connsiteY0" fmla="*/ 1474949 h 3656018"/>
              <a:gd name="connsiteX1" fmla="*/ 3529838 w 3529838"/>
              <a:gd name="connsiteY1" fmla="*/ 1474949 h 3656018"/>
              <a:gd name="connsiteX2" fmla="*/ 1399387 w 3529838"/>
              <a:gd name="connsiteY2" fmla="*/ 3656018 h 3656018"/>
              <a:gd name="connsiteX3" fmla="*/ 1399387 w 3529838"/>
              <a:gd name="connsiteY3" fmla="*/ 1474949 h 3656018"/>
              <a:gd name="connsiteX4" fmla="*/ 575998 w 3529838"/>
              <a:gd name="connsiteY4" fmla="*/ 0 h 3656018"/>
              <a:gd name="connsiteX5" fmla="*/ 682386 w 3529838"/>
              <a:gd name="connsiteY5" fmla="*/ 44068 h 3656018"/>
              <a:gd name="connsiteX6" fmla="*/ 1107929 w 3529838"/>
              <a:gd name="connsiteY6" fmla="*/ 469610 h 3656018"/>
              <a:gd name="connsiteX7" fmla="*/ 1107929 w 3529838"/>
              <a:gd name="connsiteY7" fmla="*/ 682387 h 3656018"/>
              <a:gd name="connsiteX8" fmla="*/ 682386 w 3529838"/>
              <a:gd name="connsiteY8" fmla="*/ 1107930 h 3656018"/>
              <a:gd name="connsiteX9" fmla="*/ 469610 w 3529838"/>
              <a:gd name="connsiteY9" fmla="*/ 1107930 h 3656018"/>
              <a:gd name="connsiteX10" fmla="*/ 44067 w 3529838"/>
              <a:gd name="connsiteY10" fmla="*/ 682387 h 3656018"/>
              <a:gd name="connsiteX11" fmla="*/ 44067 w 3529838"/>
              <a:gd name="connsiteY11" fmla="*/ 469610 h 3656018"/>
              <a:gd name="connsiteX12" fmla="*/ 469610 w 3529838"/>
              <a:gd name="connsiteY12" fmla="*/ 44068 h 3656018"/>
              <a:gd name="connsiteX13" fmla="*/ 575998 w 3529838"/>
              <a:gd name="connsiteY13" fmla="*/ 0 h 3656018"/>
              <a:gd name="connsiteX0" fmla="*/ 1399387 w 1399387"/>
              <a:gd name="connsiteY0" fmla="*/ 1474949 h 3656018"/>
              <a:gd name="connsiteX1" fmla="*/ 1399387 w 1399387"/>
              <a:gd name="connsiteY1" fmla="*/ 3656018 h 3656018"/>
              <a:gd name="connsiteX2" fmla="*/ 1399387 w 1399387"/>
              <a:gd name="connsiteY2" fmla="*/ 1474949 h 3656018"/>
              <a:gd name="connsiteX3" fmla="*/ 575998 w 1399387"/>
              <a:gd name="connsiteY3" fmla="*/ 0 h 3656018"/>
              <a:gd name="connsiteX4" fmla="*/ 682386 w 1399387"/>
              <a:gd name="connsiteY4" fmla="*/ 44068 h 3656018"/>
              <a:gd name="connsiteX5" fmla="*/ 1107929 w 1399387"/>
              <a:gd name="connsiteY5" fmla="*/ 469610 h 3656018"/>
              <a:gd name="connsiteX6" fmla="*/ 1107929 w 1399387"/>
              <a:gd name="connsiteY6" fmla="*/ 682387 h 3656018"/>
              <a:gd name="connsiteX7" fmla="*/ 682386 w 1399387"/>
              <a:gd name="connsiteY7" fmla="*/ 1107930 h 3656018"/>
              <a:gd name="connsiteX8" fmla="*/ 469610 w 1399387"/>
              <a:gd name="connsiteY8" fmla="*/ 1107930 h 3656018"/>
              <a:gd name="connsiteX9" fmla="*/ 44067 w 1399387"/>
              <a:gd name="connsiteY9" fmla="*/ 682387 h 3656018"/>
              <a:gd name="connsiteX10" fmla="*/ 44067 w 1399387"/>
              <a:gd name="connsiteY10" fmla="*/ 469610 h 3656018"/>
              <a:gd name="connsiteX11" fmla="*/ 469610 w 1399387"/>
              <a:gd name="connsiteY11" fmla="*/ 44068 h 3656018"/>
              <a:gd name="connsiteX12" fmla="*/ 575998 w 1399387"/>
              <a:gd name="connsiteY12" fmla="*/ 0 h 3656018"/>
              <a:gd name="connsiteX0" fmla="*/ 575998 w 1151996"/>
              <a:gd name="connsiteY0" fmla="*/ 0 h 1151997"/>
              <a:gd name="connsiteX1" fmla="*/ 682386 w 1151996"/>
              <a:gd name="connsiteY1" fmla="*/ 44068 h 1151997"/>
              <a:gd name="connsiteX2" fmla="*/ 1107929 w 1151996"/>
              <a:gd name="connsiteY2" fmla="*/ 469610 h 1151997"/>
              <a:gd name="connsiteX3" fmla="*/ 1107929 w 1151996"/>
              <a:gd name="connsiteY3" fmla="*/ 682387 h 1151997"/>
              <a:gd name="connsiteX4" fmla="*/ 682386 w 1151996"/>
              <a:gd name="connsiteY4" fmla="*/ 1107930 h 1151997"/>
              <a:gd name="connsiteX5" fmla="*/ 469610 w 1151996"/>
              <a:gd name="connsiteY5" fmla="*/ 1107930 h 1151997"/>
              <a:gd name="connsiteX6" fmla="*/ 44067 w 1151996"/>
              <a:gd name="connsiteY6" fmla="*/ 682387 h 1151997"/>
              <a:gd name="connsiteX7" fmla="*/ 44067 w 1151996"/>
              <a:gd name="connsiteY7" fmla="*/ 469610 h 1151997"/>
              <a:gd name="connsiteX8" fmla="*/ 469610 w 1151996"/>
              <a:gd name="connsiteY8" fmla="*/ 44068 h 1151997"/>
              <a:gd name="connsiteX9" fmla="*/ 575998 w 1151996"/>
              <a:gd name="connsiteY9" fmla="*/ 0 h 1151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51996" h="1151997">
                <a:moveTo>
                  <a:pt x="575998" y="0"/>
                </a:moveTo>
                <a:cubicBezTo>
                  <a:pt x="614503" y="0"/>
                  <a:pt x="653008" y="14689"/>
                  <a:pt x="682386" y="44068"/>
                </a:cubicBezTo>
                <a:lnTo>
                  <a:pt x="1107929" y="469610"/>
                </a:lnTo>
                <a:cubicBezTo>
                  <a:pt x="1166686" y="528367"/>
                  <a:pt x="1166686" y="623630"/>
                  <a:pt x="1107929" y="682387"/>
                </a:cubicBezTo>
                <a:lnTo>
                  <a:pt x="682386" y="1107930"/>
                </a:lnTo>
                <a:cubicBezTo>
                  <a:pt x="623629" y="1166687"/>
                  <a:pt x="528367" y="1166687"/>
                  <a:pt x="469610" y="1107930"/>
                </a:cubicBezTo>
                <a:lnTo>
                  <a:pt x="44067" y="682387"/>
                </a:lnTo>
                <a:cubicBezTo>
                  <a:pt x="-14690" y="623630"/>
                  <a:pt x="-14690" y="528367"/>
                  <a:pt x="44067" y="469610"/>
                </a:cubicBezTo>
                <a:lnTo>
                  <a:pt x="469610" y="44068"/>
                </a:lnTo>
                <a:cubicBezTo>
                  <a:pt x="498988" y="14689"/>
                  <a:pt x="537493" y="0"/>
                  <a:pt x="575998"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srgbClr val="FFFFFF"/>
                </a:solidFill>
                <a:effectLst/>
                <a:uLnTx/>
                <a:uFillTx/>
                <a:latin typeface="linea-basic-10" panose="02000509000000000000" pitchFamily="49" charset="0"/>
                <a:cs typeface="+mn-cs"/>
              </a:rPr>
              <a:t>S</a:t>
            </a:r>
          </a:p>
        </p:txBody>
      </p:sp>
      <p:sp>
        <p:nvSpPr>
          <p:cNvPr id="23" name="Freeform 23">
            <a:extLst>
              <a:ext uri="{FF2B5EF4-FFF2-40B4-BE49-F238E27FC236}">
                <a16:creationId xmlns:a16="http://schemas.microsoft.com/office/drawing/2014/main" id="{9D8E6A9C-D5A9-4478-84CD-D2B8D72F9FDA}"/>
              </a:ext>
            </a:extLst>
          </p:cNvPr>
          <p:cNvSpPr/>
          <p:nvPr/>
        </p:nvSpPr>
        <p:spPr>
          <a:xfrm>
            <a:off x="6412591" y="2649217"/>
            <a:ext cx="1151996" cy="1151997"/>
          </a:xfrm>
          <a:custGeom>
            <a:avLst/>
            <a:gdLst>
              <a:gd name="connsiteX0" fmla="*/ 1399387 w 3529838"/>
              <a:gd name="connsiteY0" fmla="*/ 1474949 h 3656018"/>
              <a:gd name="connsiteX1" fmla="*/ 3529838 w 3529838"/>
              <a:gd name="connsiteY1" fmla="*/ 1474949 h 3656018"/>
              <a:gd name="connsiteX2" fmla="*/ 3529838 w 3529838"/>
              <a:gd name="connsiteY2" fmla="*/ 3656018 h 3656018"/>
              <a:gd name="connsiteX3" fmla="*/ 1399387 w 3529838"/>
              <a:gd name="connsiteY3" fmla="*/ 3656018 h 3656018"/>
              <a:gd name="connsiteX4" fmla="*/ 575998 w 3529838"/>
              <a:gd name="connsiteY4" fmla="*/ 0 h 3656018"/>
              <a:gd name="connsiteX5" fmla="*/ 682386 w 3529838"/>
              <a:gd name="connsiteY5" fmla="*/ 44068 h 3656018"/>
              <a:gd name="connsiteX6" fmla="*/ 1107929 w 3529838"/>
              <a:gd name="connsiteY6" fmla="*/ 469610 h 3656018"/>
              <a:gd name="connsiteX7" fmla="*/ 1107929 w 3529838"/>
              <a:gd name="connsiteY7" fmla="*/ 682387 h 3656018"/>
              <a:gd name="connsiteX8" fmla="*/ 682386 w 3529838"/>
              <a:gd name="connsiteY8" fmla="*/ 1107930 h 3656018"/>
              <a:gd name="connsiteX9" fmla="*/ 469610 w 3529838"/>
              <a:gd name="connsiteY9" fmla="*/ 1107930 h 3656018"/>
              <a:gd name="connsiteX10" fmla="*/ 44067 w 3529838"/>
              <a:gd name="connsiteY10" fmla="*/ 682387 h 3656018"/>
              <a:gd name="connsiteX11" fmla="*/ 44067 w 3529838"/>
              <a:gd name="connsiteY11" fmla="*/ 469610 h 3656018"/>
              <a:gd name="connsiteX12" fmla="*/ 469610 w 3529838"/>
              <a:gd name="connsiteY12" fmla="*/ 44068 h 3656018"/>
              <a:gd name="connsiteX13" fmla="*/ 575998 w 3529838"/>
              <a:gd name="connsiteY13" fmla="*/ 0 h 3656018"/>
              <a:gd name="connsiteX0" fmla="*/ 1399387 w 3529838"/>
              <a:gd name="connsiteY0" fmla="*/ 1474949 h 3656018"/>
              <a:gd name="connsiteX1" fmla="*/ 3529838 w 3529838"/>
              <a:gd name="connsiteY1" fmla="*/ 1474949 h 3656018"/>
              <a:gd name="connsiteX2" fmla="*/ 1399387 w 3529838"/>
              <a:gd name="connsiteY2" fmla="*/ 3656018 h 3656018"/>
              <a:gd name="connsiteX3" fmla="*/ 1399387 w 3529838"/>
              <a:gd name="connsiteY3" fmla="*/ 1474949 h 3656018"/>
              <a:gd name="connsiteX4" fmla="*/ 575998 w 3529838"/>
              <a:gd name="connsiteY4" fmla="*/ 0 h 3656018"/>
              <a:gd name="connsiteX5" fmla="*/ 682386 w 3529838"/>
              <a:gd name="connsiteY5" fmla="*/ 44068 h 3656018"/>
              <a:gd name="connsiteX6" fmla="*/ 1107929 w 3529838"/>
              <a:gd name="connsiteY6" fmla="*/ 469610 h 3656018"/>
              <a:gd name="connsiteX7" fmla="*/ 1107929 w 3529838"/>
              <a:gd name="connsiteY7" fmla="*/ 682387 h 3656018"/>
              <a:gd name="connsiteX8" fmla="*/ 682386 w 3529838"/>
              <a:gd name="connsiteY8" fmla="*/ 1107930 h 3656018"/>
              <a:gd name="connsiteX9" fmla="*/ 469610 w 3529838"/>
              <a:gd name="connsiteY9" fmla="*/ 1107930 h 3656018"/>
              <a:gd name="connsiteX10" fmla="*/ 44067 w 3529838"/>
              <a:gd name="connsiteY10" fmla="*/ 682387 h 3656018"/>
              <a:gd name="connsiteX11" fmla="*/ 44067 w 3529838"/>
              <a:gd name="connsiteY11" fmla="*/ 469610 h 3656018"/>
              <a:gd name="connsiteX12" fmla="*/ 469610 w 3529838"/>
              <a:gd name="connsiteY12" fmla="*/ 44068 h 3656018"/>
              <a:gd name="connsiteX13" fmla="*/ 575998 w 3529838"/>
              <a:gd name="connsiteY13" fmla="*/ 0 h 3656018"/>
              <a:gd name="connsiteX0" fmla="*/ 1399387 w 1399387"/>
              <a:gd name="connsiteY0" fmla="*/ 1474949 h 3656018"/>
              <a:gd name="connsiteX1" fmla="*/ 1399387 w 1399387"/>
              <a:gd name="connsiteY1" fmla="*/ 3656018 h 3656018"/>
              <a:gd name="connsiteX2" fmla="*/ 1399387 w 1399387"/>
              <a:gd name="connsiteY2" fmla="*/ 1474949 h 3656018"/>
              <a:gd name="connsiteX3" fmla="*/ 575998 w 1399387"/>
              <a:gd name="connsiteY3" fmla="*/ 0 h 3656018"/>
              <a:gd name="connsiteX4" fmla="*/ 682386 w 1399387"/>
              <a:gd name="connsiteY4" fmla="*/ 44068 h 3656018"/>
              <a:gd name="connsiteX5" fmla="*/ 1107929 w 1399387"/>
              <a:gd name="connsiteY5" fmla="*/ 469610 h 3656018"/>
              <a:gd name="connsiteX6" fmla="*/ 1107929 w 1399387"/>
              <a:gd name="connsiteY6" fmla="*/ 682387 h 3656018"/>
              <a:gd name="connsiteX7" fmla="*/ 682386 w 1399387"/>
              <a:gd name="connsiteY7" fmla="*/ 1107930 h 3656018"/>
              <a:gd name="connsiteX8" fmla="*/ 469610 w 1399387"/>
              <a:gd name="connsiteY8" fmla="*/ 1107930 h 3656018"/>
              <a:gd name="connsiteX9" fmla="*/ 44067 w 1399387"/>
              <a:gd name="connsiteY9" fmla="*/ 682387 h 3656018"/>
              <a:gd name="connsiteX10" fmla="*/ 44067 w 1399387"/>
              <a:gd name="connsiteY10" fmla="*/ 469610 h 3656018"/>
              <a:gd name="connsiteX11" fmla="*/ 469610 w 1399387"/>
              <a:gd name="connsiteY11" fmla="*/ 44068 h 3656018"/>
              <a:gd name="connsiteX12" fmla="*/ 575998 w 1399387"/>
              <a:gd name="connsiteY12" fmla="*/ 0 h 3656018"/>
              <a:gd name="connsiteX0" fmla="*/ 575998 w 1151996"/>
              <a:gd name="connsiteY0" fmla="*/ 0 h 1151997"/>
              <a:gd name="connsiteX1" fmla="*/ 682386 w 1151996"/>
              <a:gd name="connsiteY1" fmla="*/ 44068 h 1151997"/>
              <a:gd name="connsiteX2" fmla="*/ 1107929 w 1151996"/>
              <a:gd name="connsiteY2" fmla="*/ 469610 h 1151997"/>
              <a:gd name="connsiteX3" fmla="*/ 1107929 w 1151996"/>
              <a:gd name="connsiteY3" fmla="*/ 682387 h 1151997"/>
              <a:gd name="connsiteX4" fmla="*/ 682386 w 1151996"/>
              <a:gd name="connsiteY4" fmla="*/ 1107930 h 1151997"/>
              <a:gd name="connsiteX5" fmla="*/ 469610 w 1151996"/>
              <a:gd name="connsiteY5" fmla="*/ 1107930 h 1151997"/>
              <a:gd name="connsiteX6" fmla="*/ 44067 w 1151996"/>
              <a:gd name="connsiteY6" fmla="*/ 682387 h 1151997"/>
              <a:gd name="connsiteX7" fmla="*/ 44067 w 1151996"/>
              <a:gd name="connsiteY7" fmla="*/ 469610 h 1151997"/>
              <a:gd name="connsiteX8" fmla="*/ 469610 w 1151996"/>
              <a:gd name="connsiteY8" fmla="*/ 44068 h 1151997"/>
              <a:gd name="connsiteX9" fmla="*/ 575998 w 1151996"/>
              <a:gd name="connsiteY9" fmla="*/ 0 h 1151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51996" h="1151997">
                <a:moveTo>
                  <a:pt x="575998" y="0"/>
                </a:moveTo>
                <a:cubicBezTo>
                  <a:pt x="614503" y="0"/>
                  <a:pt x="653008" y="14689"/>
                  <a:pt x="682386" y="44068"/>
                </a:cubicBezTo>
                <a:lnTo>
                  <a:pt x="1107929" y="469610"/>
                </a:lnTo>
                <a:cubicBezTo>
                  <a:pt x="1166686" y="528367"/>
                  <a:pt x="1166686" y="623630"/>
                  <a:pt x="1107929" y="682387"/>
                </a:cubicBezTo>
                <a:lnTo>
                  <a:pt x="682386" y="1107930"/>
                </a:lnTo>
                <a:cubicBezTo>
                  <a:pt x="623629" y="1166687"/>
                  <a:pt x="528367" y="1166687"/>
                  <a:pt x="469610" y="1107930"/>
                </a:cubicBezTo>
                <a:lnTo>
                  <a:pt x="44067" y="682387"/>
                </a:lnTo>
                <a:cubicBezTo>
                  <a:pt x="-14690" y="623630"/>
                  <a:pt x="-14690" y="528367"/>
                  <a:pt x="44067" y="469610"/>
                </a:cubicBezTo>
                <a:lnTo>
                  <a:pt x="469610" y="44068"/>
                </a:lnTo>
                <a:cubicBezTo>
                  <a:pt x="498988" y="14689"/>
                  <a:pt x="537493" y="0"/>
                  <a:pt x="575998"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srgbClr val="FFFFFF"/>
                </a:solidFill>
                <a:effectLst/>
                <a:uLnTx/>
                <a:uFillTx/>
                <a:latin typeface="linea-basic-10" panose="02000509000000000000" pitchFamily="49" charset="0"/>
                <a:cs typeface="+mn-cs"/>
              </a:rPr>
              <a:t>J</a:t>
            </a:r>
          </a:p>
        </p:txBody>
      </p:sp>
      <p:sp>
        <p:nvSpPr>
          <p:cNvPr id="24" name="Freeform 24">
            <a:extLst>
              <a:ext uri="{FF2B5EF4-FFF2-40B4-BE49-F238E27FC236}">
                <a16:creationId xmlns:a16="http://schemas.microsoft.com/office/drawing/2014/main" id="{7CDE11AA-A8C9-4DA6-BC1D-11BC7A78A0F0}"/>
              </a:ext>
            </a:extLst>
          </p:cNvPr>
          <p:cNvSpPr/>
          <p:nvPr/>
        </p:nvSpPr>
        <p:spPr>
          <a:xfrm>
            <a:off x="8186276" y="3336891"/>
            <a:ext cx="1151996" cy="1151997"/>
          </a:xfrm>
          <a:custGeom>
            <a:avLst/>
            <a:gdLst>
              <a:gd name="connsiteX0" fmla="*/ 1399387 w 3529838"/>
              <a:gd name="connsiteY0" fmla="*/ 1474949 h 3656018"/>
              <a:gd name="connsiteX1" fmla="*/ 3529838 w 3529838"/>
              <a:gd name="connsiteY1" fmla="*/ 1474949 h 3656018"/>
              <a:gd name="connsiteX2" fmla="*/ 3529838 w 3529838"/>
              <a:gd name="connsiteY2" fmla="*/ 3656018 h 3656018"/>
              <a:gd name="connsiteX3" fmla="*/ 1399387 w 3529838"/>
              <a:gd name="connsiteY3" fmla="*/ 3656018 h 3656018"/>
              <a:gd name="connsiteX4" fmla="*/ 575998 w 3529838"/>
              <a:gd name="connsiteY4" fmla="*/ 0 h 3656018"/>
              <a:gd name="connsiteX5" fmla="*/ 682386 w 3529838"/>
              <a:gd name="connsiteY5" fmla="*/ 44068 h 3656018"/>
              <a:gd name="connsiteX6" fmla="*/ 1107929 w 3529838"/>
              <a:gd name="connsiteY6" fmla="*/ 469610 h 3656018"/>
              <a:gd name="connsiteX7" fmla="*/ 1107929 w 3529838"/>
              <a:gd name="connsiteY7" fmla="*/ 682387 h 3656018"/>
              <a:gd name="connsiteX8" fmla="*/ 682386 w 3529838"/>
              <a:gd name="connsiteY8" fmla="*/ 1107930 h 3656018"/>
              <a:gd name="connsiteX9" fmla="*/ 469610 w 3529838"/>
              <a:gd name="connsiteY9" fmla="*/ 1107930 h 3656018"/>
              <a:gd name="connsiteX10" fmla="*/ 44067 w 3529838"/>
              <a:gd name="connsiteY10" fmla="*/ 682387 h 3656018"/>
              <a:gd name="connsiteX11" fmla="*/ 44067 w 3529838"/>
              <a:gd name="connsiteY11" fmla="*/ 469610 h 3656018"/>
              <a:gd name="connsiteX12" fmla="*/ 469610 w 3529838"/>
              <a:gd name="connsiteY12" fmla="*/ 44068 h 3656018"/>
              <a:gd name="connsiteX13" fmla="*/ 575998 w 3529838"/>
              <a:gd name="connsiteY13" fmla="*/ 0 h 3656018"/>
              <a:gd name="connsiteX0" fmla="*/ 1399387 w 3529838"/>
              <a:gd name="connsiteY0" fmla="*/ 1474949 h 3656018"/>
              <a:gd name="connsiteX1" fmla="*/ 3529838 w 3529838"/>
              <a:gd name="connsiteY1" fmla="*/ 1474949 h 3656018"/>
              <a:gd name="connsiteX2" fmla="*/ 1399387 w 3529838"/>
              <a:gd name="connsiteY2" fmla="*/ 3656018 h 3656018"/>
              <a:gd name="connsiteX3" fmla="*/ 1399387 w 3529838"/>
              <a:gd name="connsiteY3" fmla="*/ 1474949 h 3656018"/>
              <a:gd name="connsiteX4" fmla="*/ 575998 w 3529838"/>
              <a:gd name="connsiteY4" fmla="*/ 0 h 3656018"/>
              <a:gd name="connsiteX5" fmla="*/ 682386 w 3529838"/>
              <a:gd name="connsiteY5" fmla="*/ 44068 h 3656018"/>
              <a:gd name="connsiteX6" fmla="*/ 1107929 w 3529838"/>
              <a:gd name="connsiteY6" fmla="*/ 469610 h 3656018"/>
              <a:gd name="connsiteX7" fmla="*/ 1107929 w 3529838"/>
              <a:gd name="connsiteY7" fmla="*/ 682387 h 3656018"/>
              <a:gd name="connsiteX8" fmla="*/ 682386 w 3529838"/>
              <a:gd name="connsiteY8" fmla="*/ 1107930 h 3656018"/>
              <a:gd name="connsiteX9" fmla="*/ 469610 w 3529838"/>
              <a:gd name="connsiteY9" fmla="*/ 1107930 h 3656018"/>
              <a:gd name="connsiteX10" fmla="*/ 44067 w 3529838"/>
              <a:gd name="connsiteY10" fmla="*/ 682387 h 3656018"/>
              <a:gd name="connsiteX11" fmla="*/ 44067 w 3529838"/>
              <a:gd name="connsiteY11" fmla="*/ 469610 h 3656018"/>
              <a:gd name="connsiteX12" fmla="*/ 469610 w 3529838"/>
              <a:gd name="connsiteY12" fmla="*/ 44068 h 3656018"/>
              <a:gd name="connsiteX13" fmla="*/ 575998 w 3529838"/>
              <a:gd name="connsiteY13" fmla="*/ 0 h 3656018"/>
              <a:gd name="connsiteX0" fmla="*/ 1399387 w 1399387"/>
              <a:gd name="connsiteY0" fmla="*/ 1474949 h 3656018"/>
              <a:gd name="connsiteX1" fmla="*/ 1399387 w 1399387"/>
              <a:gd name="connsiteY1" fmla="*/ 3656018 h 3656018"/>
              <a:gd name="connsiteX2" fmla="*/ 1399387 w 1399387"/>
              <a:gd name="connsiteY2" fmla="*/ 1474949 h 3656018"/>
              <a:gd name="connsiteX3" fmla="*/ 575998 w 1399387"/>
              <a:gd name="connsiteY3" fmla="*/ 0 h 3656018"/>
              <a:gd name="connsiteX4" fmla="*/ 682386 w 1399387"/>
              <a:gd name="connsiteY4" fmla="*/ 44068 h 3656018"/>
              <a:gd name="connsiteX5" fmla="*/ 1107929 w 1399387"/>
              <a:gd name="connsiteY5" fmla="*/ 469610 h 3656018"/>
              <a:gd name="connsiteX6" fmla="*/ 1107929 w 1399387"/>
              <a:gd name="connsiteY6" fmla="*/ 682387 h 3656018"/>
              <a:gd name="connsiteX7" fmla="*/ 682386 w 1399387"/>
              <a:gd name="connsiteY7" fmla="*/ 1107930 h 3656018"/>
              <a:gd name="connsiteX8" fmla="*/ 469610 w 1399387"/>
              <a:gd name="connsiteY8" fmla="*/ 1107930 h 3656018"/>
              <a:gd name="connsiteX9" fmla="*/ 44067 w 1399387"/>
              <a:gd name="connsiteY9" fmla="*/ 682387 h 3656018"/>
              <a:gd name="connsiteX10" fmla="*/ 44067 w 1399387"/>
              <a:gd name="connsiteY10" fmla="*/ 469610 h 3656018"/>
              <a:gd name="connsiteX11" fmla="*/ 469610 w 1399387"/>
              <a:gd name="connsiteY11" fmla="*/ 44068 h 3656018"/>
              <a:gd name="connsiteX12" fmla="*/ 575998 w 1399387"/>
              <a:gd name="connsiteY12" fmla="*/ 0 h 3656018"/>
              <a:gd name="connsiteX0" fmla="*/ 575998 w 1151996"/>
              <a:gd name="connsiteY0" fmla="*/ 0 h 1151997"/>
              <a:gd name="connsiteX1" fmla="*/ 682386 w 1151996"/>
              <a:gd name="connsiteY1" fmla="*/ 44068 h 1151997"/>
              <a:gd name="connsiteX2" fmla="*/ 1107929 w 1151996"/>
              <a:gd name="connsiteY2" fmla="*/ 469610 h 1151997"/>
              <a:gd name="connsiteX3" fmla="*/ 1107929 w 1151996"/>
              <a:gd name="connsiteY3" fmla="*/ 682387 h 1151997"/>
              <a:gd name="connsiteX4" fmla="*/ 682386 w 1151996"/>
              <a:gd name="connsiteY4" fmla="*/ 1107930 h 1151997"/>
              <a:gd name="connsiteX5" fmla="*/ 469610 w 1151996"/>
              <a:gd name="connsiteY5" fmla="*/ 1107930 h 1151997"/>
              <a:gd name="connsiteX6" fmla="*/ 44067 w 1151996"/>
              <a:gd name="connsiteY6" fmla="*/ 682387 h 1151997"/>
              <a:gd name="connsiteX7" fmla="*/ 44067 w 1151996"/>
              <a:gd name="connsiteY7" fmla="*/ 469610 h 1151997"/>
              <a:gd name="connsiteX8" fmla="*/ 469610 w 1151996"/>
              <a:gd name="connsiteY8" fmla="*/ 44068 h 1151997"/>
              <a:gd name="connsiteX9" fmla="*/ 575998 w 1151996"/>
              <a:gd name="connsiteY9" fmla="*/ 0 h 1151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51996" h="1151997">
                <a:moveTo>
                  <a:pt x="575998" y="0"/>
                </a:moveTo>
                <a:cubicBezTo>
                  <a:pt x="614503" y="0"/>
                  <a:pt x="653008" y="14689"/>
                  <a:pt x="682386" y="44068"/>
                </a:cubicBezTo>
                <a:lnTo>
                  <a:pt x="1107929" y="469610"/>
                </a:lnTo>
                <a:cubicBezTo>
                  <a:pt x="1166686" y="528367"/>
                  <a:pt x="1166686" y="623630"/>
                  <a:pt x="1107929" y="682387"/>
                </a:cubicBezTo>
                <a:lnTo>
                  <a:pt x="682386" y="1107930"/>
                </a:lnTo>
                <a:cubicBezTo>
                  <a:pt x="623629" y="1166687"/>
                  <a:pt x="528367" y="1166687"/>
                  <a:pt x="469610" y="1107930"/>
                </a:cubicBezTo>
                <a:lnTo>
                  <a:pt x="44067" y="682387"/>
                </a:lnTo>
                <a:cubicBezTo>
                  <a:pt x="-14690" y="623630"/>
                  <a:pt x="-14690" y="528367"/>
                  <a:pt x="44067" y="469610"/>
                </a:cubicBezTo>
                <a:lnTo>
                  <a:pt x="469610" y="44068"/>
                </a:lnTo>
                <a:cubicBezTo>
                  <a:pt x="498988" y="14689"/>
                  <a:pt x="537493" y="0"/>
                  <a:pt x="575998"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srgbClr val="FFFFFF"/>
                </a:solidFill>
                <a:effectLst/>
                <a:uLnTx/>
                <a:uFillTx/>
                <a:latin typeface="linea-basic-10" panose="02000509000000000000" pitchFamily="49" charset="0"/>
                <a:cs typeface="+mn-cs"/>
              </a:rPr>
              <a:t>D</a:t>
            </a:r>
          </a:p>
        </p:txBody>
      </p:sp>
      <p:sp>
        <p:nvSpPr>
          <p:cNvPr id="25" name="Freeform 25">
            <a:extLst>
              <a:ext uri="{FF2B5EF4-FFF2-40B4-BE49-F238E27FC236}">
                <a16:creationId xmlns:a16="http://schemas.microsoft.com/office/drawing/2014/main" id="{1BF4251E-2843-4529-ABA4-12F0636600BF}"/>
              </a:ext>
            </a:extLst>
          </p:cNvPr>
          <p:cNvSpPr/>
          <p:nvPr/>
        </p:nvSpPr>
        <p:spPr>
          <a:xfrm>
            <a:off x="9929094" y="2649217"/>
            <a:ext cx="1151996" cy="1151997"/>
          </a:xfrm>
          <a:custGeom>
            <a:avLst/>
            <a:gdLst>
              <a:gd name="connsiteX0" fmla="*/ 1399387 w 3529838"/>
              <a:gd name="connsiteY0" fmla="*/ 1474949 h 3656018"/>
              <a:gd name="connsiteX1" fmla="*/ 3529838 w 3529838"/>
              <a:gd name="connsiteY1" fmla="*/ 1474949 h 3656018"/>
              <a:gd name="connsiteX2" fmla="*/ 3529838 w 3529838"/>
              <a:gd name="connsiteY2" fmla="*/ 3656018 h 3656018"/>
              <a:gd name="connsiteX3" fmla="*/ 1399387 w 3529838"/>
              <a:gd name="connsiteY3" fmla="*/ 3656018 h 3656018"/>
              <a:gd name="connsiteX4" fmla="*/ 575998 w 3529838"/>
              <a:gd name="connsiteY4" fmla="*/ 0 h 3656018"/>
              <a:gd name="connsiteX5" fmla="*/ 682386 w 3529838"/>
              <a:gd name="connsiteY5" fmla="*/ 44068 h 3656018"/>
              <a:gd name="connsiteX6" fmla="*/ 1107929 w 3529838"/>
              <a:gd name="connsiteY6" fmla="*/ 469610 h 3656018"/>
              <a:gd name="connsiteX7" fmla="*/ 1107929 w 3529838"/>
              <a:gd name="connsiteY7" fmla="*/ 682387 h 3656018"/>
              <a:gd name="connsiteX8" fmla="*/ 682386 w 3529838"/>
              <a:gd name="connsiteY8" fmla="*/ 1107930 h 3656018"/>
              <a:gd name="connsiteX9" fmla="*/ 469610 w 3529838"/>
              <a:gd name="connsiteY9" fmla="*/ 1107930 h 3656018"/>
              <a:gd name="connsiteX10" fmla="*/ 44067 w 3529838"/>
              <a:gd name="connsiteY10" fmla="*/ 682387 h 3656018"/>
              <a:gd name="connsiteX11" fmla="*/ 44067 w 3529838"/>
              <a:gd name="connsiteY11" fmla="*/ 469610 h 3656018"/>
              <a:gd name="connsiteX12" fmla="*/ 469610 w 3529838"/>
              <a:gd name="connsiteY12" fmla="*/ 44068 h 3656018"/>
              <a:gd name="connsiteX13" fmla="*/ 575998 w 3529838"/>
              <a:gd name="connsiteY13" fmla="*/ 0 h 3656018"/>
              <a:gd name="connsiteX0" fmla="*/ 1399387 w 3529838"/>
              <a:gd name="connsiteY0" fmla="*/ 1474949 h 3656018"/>
              <a:gd name="connsiteX1" fmla="*/ 3529838 w 3529838"/>
              <a:gd name="connsiteY1" fmla="*/ 1474949 h 3656018"/>
              <a:gd name="connsiteX2" fmla="*/ 1399387 w 3529838"/>
              <a:gd name="connsiteY2" fmla="*/ 3656018 h 3656018"/>
              <a:gd name="connsiteX3" fmla="*/ 1399387 w 3529838"/>
              <a:gd name="connsiteY3" fmla="*/ 1474949 h 3656018"/>
              <a:gd name="connsiteX4" fmla="*/ 575998 w 3529838"/>
              <a:gd name="connsiteY4" fmla="*/ 0 h 3656018"/>
              <a:gd name="connsiteX5" fmla="*/ 682386 w 3529838"/>
              <a:gd name="connsiteY5" fmla="*/ 44068 h 3656018"/>
              <a:gd name="connsiteX6" fmla="*/ 1107929 w 3529838"/>
              <a:gd name="connsiteY6" fmla="*/ 469610 h 3656018"/>
              <a:gd name="connsiteX7" fmla="*/ 1107929 w 3529838"/>
              <a:gd name="connsiteY7" fmla="*/ 682387 h 3656018"/>
              <a:gd name="connsiteX8" fmla="*/ 682386 w 3529838"/>
              <a:gd name="connsiteY8" fmla="*/ 1107930 h 3656018"/>
              <a:gd name="connsiteX9" fmla="*/ 469610 w 3529838"/>
              <a:gd name="connsiteY9" fmla="*/ 1107930 h 3656018"/>
              <a:gd name="connsiteX10" fmla="*/ 44067 w 3529838"/>
              <a:gd name="connsiteY10" fmla="*/ 682387 h 3656018"/>
              <a:gd name="connsiteX11" fmla="*/ 44067 w 3529838"/>
              <a:gd name="connsiteY11" fmla="*/ 469610 h 3656018"/>
              <a:gd name="connsiteX12" fmla="*/ 469610 w 3529838"/>
              <a:gd name="connsiteY12" fmla="*/ 44068 h 3656018"/>
              <a:gd name="connsiteX13" fmla="*/ 575998 w 3529838"/>
              <a:gd name="connsiteY13" fmla="*/ 0 h 3656018"/>
              <a:gd name="connsiteX0" fmla="*/ 1399387 w 1399387"/>
              <a:gd name="connsiteY0" fmla="*/ 1474949 h 3656018"/>
              <a:gd name="connsiteX1" fmla="*/ 1399387 w 1399387"/>
              <a:gd name="connsiteY1" fmla="*/ 3656018 h 3656018"/>
              <a:gd name="connsiteX2" fmla="*/ 1399387 w 1399387"/>
              <a:gd name="connsiteY2" fmla="*/ 1474949 h 3656018"/>
              <a:gd name="connsiteX3" fmla="*/ 575998 w 1399387"/>
              <a:gd name="connsiteY3" fmla="*/ 0 h 3656018"/>
              <a:gd name="connsiteX4" fmla="*/ 682386 w 1399387"/>
              <a:gd name="connsiteY4" fmla="*/ 44068 h 3656018"/>
              <a:gd name="connsiteX5" fmla="*/ 1107929 w 1399387"/>
              <a:gd name="connsiteY5" fmla="*/ 469610 h 3656018"/>
              <a:gd name="connsiteX6" fmla="*/ 1107929 w 1399387"/>
              <a:gd name="connsiteY6" fmla="*/ 682387 h 3656018"/>
              <a:gd name="connsiteX7" fmla="*/ 682386 w 1399387"/>
              <a:gd name="connsiteY7" fmla="*/ 1107930 h 3656018"/>
              <a:gd name="connsiteX8" fmla="*/ 469610 w 1399387"/>
              <a:gd name="connsiteY8" fmla="*/ 1107930 h 3656018"/>
              <a:gd name="connsiteX9" fmla="*/ 44067 w 1399387"/>
              <a:gd name="connsiteY9" fmla="*/ 682387 h 3656018"/>
              <a:gd name="connsiteX10" fmla="*/ 44067 w 1399387"/>
              <a:gd name="connsiteY10" fmla="*/ 469610 h 3656018"/>
              <a:gd name="connsiteX11" fmla="*/ 469610 w 1399387"/>
              <a:gd name="connsiteY11" fmla="*/ 44068 h 3656018"/>
              <a:gd name="connsiteX12" fmla="*/ 575998 w 1399387"/>
              <a:gd name="connsiteY12" fmla="*/ 0 h 3656018"/>
              <a:gd name="connsiteX0" fmla="*/ 575998 w 1151996"/>
              <a:gd name="connsiteY0" fmla="*/ 0 h 1151997"/>
              <a:gd name="connsiteX1" fmla="*/ 682386 w 1151996"/>
              <a:gd name="connsiteY1" fmla="*/ 44068 h 1151997"/>
              <a:gd name="connsiteX2" fmla="*/ 1107929 w 1151996"/>
              <a:gd name="connsiteY2" fmla="*/ 469610 h 1151997"/>
              <a:gd name="connsiteX3" fmla="*/ 1107929 w 1151996"/>
              <a:gd name="connsiteY3" fmla="*/ 682387 h 1151997"/>
              <a:gd name="connsiteX4" fmla="*/ 682386 w 1151996"/>
              <a:gd name="connsiteY4" fmla="*/ 1107930 h 1151997"/>
              <a:gd name="connsiteX5" fmla="*/ 469610 w 1151996"/>
              <a:gd name="connsiteY5" fmla="*/ 1107930 h 1151997"/>
              <a:gd name="connsiteX6" fmla="*/ 44067 w 1151996"/>
              <a:gd name="connsiteY6" fmla="*/ 682387 h 1151997"/>
              <a:gd name="connsiteX7" fmla="*/ 44067 w 1151996"/>
              <a:gd name="connsiteY7" fmla="*/ 469610 h 1151997"/>
              <a:gd name="connsiteX8" fmla="*/ 469610 w 1151996"/>
              <a:gd name="connsiteY8" fmla="*/ 44068 h 1151997"/>
              <a:gd name="connsiteX9" fmla="*/ 575998 w 1151996"/>
              <a:gd name="connsiteY9" fmla="*/ 0 h 1151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51996" h="1151997">
                <a:moveTo>
                  <a:pt x="575998" y="0"/>
                </a:moveTo>
                <a:cubicBezTo>
                  <a:pt x="614503" y="0"/>
                  <a:pt x="653008" y="14689"/>
                  <a:pt x="682386" y="44068"/>
                </a:cubicBezTo>
                <a:lnTo>
                  <a:pt x="1107929" y="469610"/>
                </a:lnTo>
                <a:cubicBezTo>
                  <a:pt x="1166686" y="528367"/>
                  <a:pt x="1166686" y="623630"/>
                  <a:pt x="1107929" y="682387"/>
                </a:cubicBezTo>
                <a:lnTo>
                  <a:pt x="682386" y="1107930"/>
                </a:lnTo>
                <a:cubicBezTo>
                  <a:pt x="623629" y="1166687"/>
                  <a:pt x="528367" y="1166687"/>
                  <a:pt x="469610" y="1107930"/>
                </a:cubicBezTo>
                <a:lnTo>
                  <a:pt x="44067" y="682387"/>
                </a:lnTo>
                <a:cubicBezTo>
                  <a:pt x="-14690" y="623630"/>
                  <a:pt x="-14690" y="528367"/>
                  <a:pt x="44067" y="469610"/>
                </a:cubicBezTo>
                <a:lnTo>
                  <a:pt x="469610" y="44068"/>
                </a:lnTo>
                <a:cubicBezTo>
                  <a:pt x="498988" y="14689"/>
                  <a:pt x="537493" y="0"/>
                  <a:pt x="575998"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srgbClr val="FFFFFF"/>
                </a:solidFill>
                <a:effectLst/>
                <a:uLnTx/>
                <a:uFillTx/>
                <a:latin typeface="linea-basic-10" panose="02000509000000000000" pitchFamily="49" charset="0"/>
                <a:cs typeface="+mn-cs"/>
              </a:rPr>
              <a:t>W</a:t>
            </a:r>
          </a:p>
        </p:txBody>
      </p:sp>
      <p:sp>
        <p:nvSpPr>
          <p:cNvPr id="26" name="Freeform 38">
            <a:extLst>
              <a:ext uri="{FF2B5EF4-FFF2-40B4-BE49-F238E27FC236}">
                <a16:creationId xmlns:a16="http://schemas.microsoft.com/office/drawing/2014/main" id="{54168A11-5F73-4AC0-AE44-29F0E4E03A2A}"/>
              </a:ext>
            </a:extLst>
          </p:cNvPr>
          <p:cNvSpPr/>
          <p:nvPr/>
        </p:nvSpPr>
        <p:spPr>
          <a:xfrm>
            <a:off x="1454272" y="4297082"/>
            <a:ext cx="403768" cy="403768"/>
          </a:xfrm>
          <a:custGeom>
            <a:avLst/>
            <a:gdLst>
              <a:gd name="connsiteX0" fmla="*/ 1399387 w 3529838"/>
              <a:gd name="connsiteY0" fmla="*/ 1474949 h 3656018"/>
              <a:gd name="connsiteX1" fmla="*/ 3529838 w 3529838"/>
              <a:gd name="connsiteY1" fmla="*/ 1474949 h 3656018"/>
              <a:gd name="connsiteX2" fmla="*/ 3529838 w 3529838"/>
              <a:gd name="connsiteY2" fmla="*/ 3656018 h 3656018"/>
              <a:gd name="connsiteX3" fmla="*/ 1399387 w 3529838"/>
              <a:gd name="connsiteY3" fmla="*/ 3656018 h 3656018"/>
              <a:gd name="connsiteX4" fmla="*/ 575998 w 3529838"/>
              <a:gd name="connsiteY4" fmla="*/ 0 h 3656018"/>
              <a:gd name="connsiteX5" fmla="*/ 682386 w 3529838"/>
              <a:gd name="connsiteY5" fmla="*/ 44068 h 3656018"/>
              <a:gd name="connsiteX6" fmla="*/ 1107929 w 3529838"/>
              <a:gd name="connsiteY6" fmla="*/ 469610 h 3656018"/>
              <a:gd name="connsiteX7" fmla="*/ 1107929 w 3529838"/>
              <a:gd name="connsiteY7" fmla="*/ 682387 h 3656018"/>
              <a:gd name="connsiteX8" fmla="*/ 682386 w 3529838"/>
              <a:gd name="connsiteY8" fmla="*/ 1107930 h 3656018"/>
              <a:gd name="connsiteX9" fmla="*/ 469610 w 3529838"/>
              <a:gd name="connsiteY9" fmla="*/ 1107930 h 3656018"/>
              <a:gd name="connsiteX10" fmla="*/ 44067 w 3529838"/>
              <a:gd name="connsiteY10" fmla="*/ 682387 h 3656018"/>
              <a:gd name="connsiteX11" fmla="*/ 44067 w 3529838"/>
              <a:gd name="connsiteY11" fmla="*/ 469610 h 3656018"/>
              <a:gd name="connsiteX12" fmla="*/ 469610 w 3529838"/>
              <a:gd name="connsiteY12" fmla="*/ 44068 h 3656018"/>
              <a:gd name="connsiteX13" fmla="*/ 575998 w 3529838"/>
              <a:gd name="connsiteY13" fmla="*/ 0 h 3656018"/>
              <a:gd name="connsiteX0" fmla="*/ 1399387 w 3529838"/>
              <a:gd name="connsiteY0" fmla="*/ 1474949 h 3656018"/>
              <a:gd name="connsiteX1" fmla="*/ 3529838 w 3529838"/>
              <a:gd name="connsiteY1" fmla="*/ 1474949 h 3656018"/>
              <a:gd name="connsiteX2" fmla="*/ 1399387 w 3529838"/>
              <a:gd name="connsiteY2" fmla="*/ 3656018 h 3656018"/>
              <a:gd name="connsiteX3" fmla="*/ 1399387 w 3529838"/>
              <a:gd name="connsiteY3" fmla="*/ 1474949 h 3656018"/>
              <a:gd name="connsiteX4" fmla="*/ 575998 w 3529838"/>
              <a:gd name="connsiteY4" fmla="*/ 0 h 3656018"/>
              <a:gd name="connsiteX5" fmla="*/ 682386 w 3529838"/>
              <a:gd name="connsiteY5" fmla="*/ 44068 h 3656018"/>
              <a:gd name="connsiteX6" fmla="*/ 1107929 w 3529838"/>
              <a:gd name="connsiteY6" fmla="*/ 469610 h 3656018"/>
              <a:gd name="connsiteX7" fmla="*/ 1107929 w 3529838"/>
              <a:gd name="connsiteY7" fmla="*/ 682387 h 3656018"/>
              <a:gd name="connsiteX8" fmla="*/ 682386 w 3529838"/>
              <a:gd name="connsiteY8" fmla="*/ 1107930 h 3656018"/>
              <a:gd name="connsiteX9" fmla="*/ 469610 w 3529838"/>
              <a:gd name="connsiteY9" fmla="*/ 1107930 h 3656018"/>
              <a:gd name="connsiteX10" fmla="*/ 44067 w 3529838"/>
              <a:gd name="connsiteY10" fmla="*/ 682387 h 3656018"/>
              <a:gd name="connsiteX11" fmla="*/ 44067 w 3529838"/>
              <a:gd name="connsiteY11" fmla="*/ 469610 h 3656018"/>
              <a:gd name="connsiteX12" fmla="*/ 469610 w 3529838"/>
              <a:gd name="connsiteY12" fmla="*/ 44068 h 3656018"/>
              <a:gd name="connsiteX13" fmla="*/ 575998 w 3529838"/>
              <a:gd name="connsiteY13" fmla="*/ 0 h 3656018"/>
              <a:gd name="connsiteX0" fmla="*/ 1399387 w 1399387"/>
              <a:gd name="connsiteY0" fmla="*/ 1474949 h 3656018"/>
              <a:gd name="connsiteX1" fmla="*/ 1399387 w 1399387"/>
              <a:gd name="connsiteY1" fmla="*/ 3656018 h 3656018"/>
              <a:gd name="connsiteX2" fmla="*/ 1399387 w 1399387"/>
              <a:gd name="connsiteY2" fmla="*/ 1474949 h 3656018"/>
              <a:gd name="connsiteX3" fmla="*/ 575998 w 1399387"/>
              <a:gd name="connsiteY3" fmla="*/ 0 h 3656018"/>
              <a:gd name="connsiteX4" fmla="*/ 682386 w 1399387"/>
              <a:gd name="connsiteY4" fmla="*/ 44068 h 3656018"/>
              <a:gd name="connsiteX5" fmla="*/ 1107929 w 1399387"/>
              <a:gd name="connsiteY5" fmla="*/ 469610 h 3656018"/>
              <a:gd name="connsiteX6" fmla="*/ 1107929 w 1399387"/>
              <a:gd name="connsiteY6" fmla="*/ 682387 h 3656018"/>
              <a:gd name="connsiteX7" fmla="*/ 682386 w 1399387"/>
              <a:gd name="connsiteY7" fmla="*/ 1107930 h 3656018"/>
              <a:gd name="connsiteX8" fmla="*/ 469610 w 1399387"/>
              <a:gd name="connsiteY8" fmla="*/ 1107930 h 3656018"/>
              <a:gd name="connsiteX9" fmla="*/ 44067 w 1399387"/>
              <a:gd name="connsiteY9" fmla="*/ 682387 h 3656018"/>
              <a:gd name="connsiteX10" fmla="*/ 44067 w 1399387"/>
              <a:gd name="connsiteY10" fmla="*/ 469610 h 3656018"/>
              <a:gd name="connsiteX11" fmla="*/ 469610 w 1399387"/>
              <a:gd name="connsiteY11" fmla="*/ 44068 h 3656018"/>
              <a:gd name="connsiteX12" fmla="*/ 575998 w 1399387"/>
              <a:gd name="connsiteY12" fmla="*/ 0 h 3656018"/>
              <a:gd name="connsiteX0" fmla="*/ 575998 w 1151996"/>
              <a:gd name="connsiteY0" fmla="*/ 0 h 1151997"/>
              <a:gd name="connsiteX1" fmla="*/ 682386 w 1151996"/>
              <a:gd name="connsiteY1" fmla="*/ 44068 h 1151997"/>
              <a:gd name="connsiteX2" fmla="*/ 1107929 w 1151996"/>
              <a:gd name="connsiteY2" fmla="*/ 469610 h 1151997"/>
              <a:gd name="connsiteX3" fmla="*/ 1107929 w 1151996"/>
              <a:gd name="connsiteY3" fmla="*/ 682387 h 1151997"/>
              <a:gd name="connsiteX4" fmla="*/ 682386 w 1151996"/>
              <a:gd name="connsiteY4" fmla="*/ 1107930 h 1151997"/>
              <a:gd name="connsiteX5" fmla="*/ 469610 w 1151996"/>
              <a:gd name="connsiteY5" fmla="*/ 1107930 h 1151997"/>
              <a:gd name="connsiteX6" fmla="*/ 44067 w 1151996"/>
              <a:gd name="connsiteY6" fmla="*/ 682387 h 1151997"/>
              <a:gd name="connsiteX7" fmla="*/ 44067 w 1151996"/>
              <a:gd name="connsiteY7" fmla="*/ 469610 h 1151997"/>
              <a:gd name="connsiteX8" fmla="*/ 469610 w 1151996"/>
              <a:gd name="connsiteY8" fmla="*/ 44068 h 1151997"/>
              <a:gd name="connsiteX9" fmla="*/ 575998 w 1151996"/>
              <a:gd name="connsiteY9" fmla="*/ 0 h 1151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51996" h="1151997">
                <a:moveTo>
                  <a:pt x="575998" y="0"/>
                </a:moveTo>
                <a:cubicBezTo>
                  <a:pt x="614503" y="0"/>
                  <a:pt x="653008" y="14689"/>
                  <a:pt x="682386" y="44068"/>
                </a:cubicBezTo>
                <a:lnTo>
                  <a:pt x="1107929" y="469610"/>
                </a:lnTo>
                <a:cubicBezTo>
                  <a:pt x="1166686" y="528367"/>
                  <a:pt x="1166686" y="623630"/>
                  <a:pt x="1107929" y="682387"/>
                </a:cubicBezTo>
                <a:lnTo>
                  <a:pt x="682386" y="1107930"/>
                </a:lnTo>
                <a:cubicBezTo>
                  <a:pt x="623629" y="1166687"/>
                  <a:pt x="528367" y="1166687"/>
                  <a:pt x="469610" y="1107930"/>
                </a:cubicBezTo>
                <a:lnTo>
                  <a:pt x="44067" y="682387"/>
                </a:lnTo>
                <a:cubicBezTo>
                  <a:pt x="-14690" y="623630"/>
                  <a:pt x="-14690" y="528367"/>
                  <a:pt x="44067" y="469610"/>
                </a:cubicBezTo>
                <a:lnTo>
                  <a:pt x="469610" y="44068"/>
                </a:lnTo>
                <a:cubicBezTo>
                  <a:pt x="498988" y="14689"/>
                  <a:pt x="537493" y="0"/>
                  <a:pt x="575998" y="0"/>
                </a:cubicBez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Source Sans Pro" charset="0"/>
                <a:cs typeface="+mn-cs"/>
              </a:rPr>
              <a:t>01</a:t>
            </a:r>
          </a:p>
        </p:txBody>
      </p:sp>
      <p:sp>
        <p:nvSpPr>
          <p:cNvPr id="27" name="Freeform 39">
            <a:extLst>
              <a:ext uri="{FF2B5EF4-FFF2-40B4-BE49-F238E27FC236}">
                <a16:creationId xmlns:a16="http://schemas.microsoft.com/office/drawing/2014/main" id="{83D0CA0C-17BA-457E-8A53-AD1121F15CEB}"/>
              </a:ext>
            </a:extLst>
          </p:cNvPr>
          <p:cNvSpPr/>
          <p:nvPr/>
        </p:nvSpPr>
        <p:spPr>
          <a:xfrm>
            <a:off x="5038846" y="4297082"/>
            <a:ext cx="403768" cy="403768"/>
          </a:xfrm>
          <a:custGeom>
            <a:avLst/>
            <a:gdLst>
              <a:gd name="connsiteX0" fmla="*/ 1399387 w 3529838"/>
              <a:gd name="connsiteY0" fmla="*/ 1474949 h 3656018"/>
              <a:gd name="connsiteX1" fmla="*/ 3529838 w 3529838"/>
              <a:gd name="connsiteY1" fmla="*/ 1474949 h 3656018"/>
              <a:gd name="connsiteX2" fmla="*/ 3529838 w 3529838"/>
              <a:gd name="connsiteY2" fmla="*/ 3656018 h 3656018"/>
              <a:gd name="connsiteX3" fmla="*/ 1399387 w 3529838"/>
              <a:gd name="connsiteY3" fmla="*/ 3656018 h 3656018"/>
              <a:gd name="connsiteX4" fmla="*/ 575998 w 3529838"/>
              <a:gd name="connsiteY4" fmla="*/ 0 h 3656018"/>
              <a:gd name="connsiteX5" fmla="*/ 682386 w 3529838"/>
              <a:gd name="connsiteY5" fmla="*/ 44068 h 3656018"/>
              <a:gd name="connsiteX6" fmla="*/ 1107929 w 3529838"/>
              <a:gd name="connsiteY6" fmla="*/ 469610 h 3656018"/>
              <a:gd name="connsiteX7" fmla="*/ 1107929 w 3529838"/>
              <a:gd name="connsiteY7" fmla="*/ 682387 h 3656018"/>
              <a:gd name="connsiteX8" fmla="*/ 682386 w 3529838"/>
              <a:gd name="connsiteY8" fmla="*/ 1107930 h 3656018"/>
              <a:gd name="connsiteX9" fmla="*/ 469610 w 3529838"/>
              <a:gd name="connsiteY9" fmla="*/ 1107930 h 3656018"/>
              <a:gd name="connsiteX10" fmla="*/ 44067 w 3529838"/>
              <a:gd name="connsiteY10" fmla="*/ 682387 h 3656018"/>
              <a:gd name="connsiteX11" fmla="*/ 44067 w 3529838"/>
              <a:gd name="connsiteY11" fmla="*/ 469610 h 3656018"/>
              <a:gd name="connsiteX12" fmla="*/ 469610 w 3529838"/>
              <a:gd name="connsiteY12" fmla="*/ 44068 h 3656018"/>
              <a:gd name="connsiteX13" fmla="*/ 575998 w 3529838"/>
              <a:gd name="connsiteY13" fmla="*/ 0 h 3656018"/>
              <a:gd name="connsiteX0" fmla="*/ 1399387 w 3529838"/>
              <a:gd name="connsiteY0" fmla="*/ 1474949 h 3656018"/>
              <a:gd name="connsiteX1" fmla="*/ 3529838 w 3529838"/>
              <a:gd name="connsiteY1" fmla="*/ 1474949 h 3656018"/>
              <a:gd name="connsiteX2" fmla="*/ 1399387 w 3529838"/>
              <a:gd name="connsiteY2" fmla="*/ 3656018 h 3656018"/>
              <a:gd name="connsiteX3" fmla="*/ 1399387 w 3529838"/>
              <a:gd name="connsiteY3" fmla="*/ 1474949 h 3656018"/>
              <a:gd name="connsiteX4" fmla="*/ 575998 w 3529838"/>
              <a:gd name="connsiteY4" fmla="*/ 0 h 3656018"/>
              <a:gd name="connsiteX5" fmla="*/ 682386 w 3529838"/>
              <a:gd name="connsiteY5" fmla="*/ 44068 h 3656018"/>
              <a:gd name="connsiteX6" fmla="*/ 1107929 w 3529838"/>
              <a:gd name="connsiteY6" fmla="*/ 469610 h 3656018"/>
              <a:gd name="connsiteX7" fmla="*/ 1107929 w 3529838"/>
              <a:gd name="connsiteY7" fmla="*/ 682387 h 3656018"/>
              <a:gd name="connsiteX8" fmla="*/ 682386 w 3529838"/>
              <a:gd name="connsiteY8" fmla="*/ 1107930 h 3656018"/>
              <a:gd name="connsiteX9" fmla="*/ 469610 w 3529838"/>
              <a:gd name="connsiteY9" fmla="*/ 1107930 h 3656018"/>
              <a:gd name="connsiteX10" fmla="*/ 44067 w 3529838"/>
              <a:gd name="connsiteY10" fmla="*/ 682387 h 3656018"/>
              <a:gd name="connsiteX11" fmla="*/ 44067 w 3529838"/>
              <a:gd name="connsiteY11" fmla="*/ 469610 h 3656018"/>
              <a:gd name="connsiteX12" fmla="*/ 469610 w 3529838"/>
              <a:gd name="connsiteY12" fmla="*/ 44068 h 3656018"/>
              <a:gd name="connsiteX13" fmla="*/ 575998 w 3529838"/>
              <a:gd name="connsiteY13" fmla="*/ 0 h 3656018"/>
              <a:gd name="connsiteX0" fmla="*/ 1399387 w 1399387"/>
              <a:gd name="connsiteY0" fmla="*/ 1474949 h 3656018"/>
              <a:gd name="connsiteX1" fmla="*/ 1399387 w 1399387"/>
              <a:gd name="connsiteY1" fmla="*/ 3656018 h 3656018"/>
              <a:gd name="connsiteX2" fmla="*/ 1399387 w 1399387"/>
              <a:gd name="connsiteY2" fmla="*/ 1474949 h 3656018"/>
              <a:gd name="connsiteX3" fmla="*/ 575998 w 1399387"/>
              <a:gd name="connsiteY3" fmla="*/ 0 h 3656018"/>
              <a:gd name="connsiteX4" fmla="*/ 682386 w 1399387"/>
              <a:gd name="connsiteY4" fmla="*/ 44068 h 3656018"/>
              <a:gd name="connsiteX5" fmla="*/ 1107929 w 1399387"/>
              <a:gd name="connsiteY5" fmla="*/ 469610 h 3656018"/>
              <a:gd name="connsiteX6" fmla="*/ 1107929 w 1399387"/>
              <a:gd name="connsiteY6" fmla="*/ 682387 h 3656018"/>
              <a:gd name="connsiteX7" fmla="*/ 682386 w 1399387"/>
              <a:gd name="connsiteY7" fmla="*/ 1107930 h 3656018"/>
              <a:gd name="connsiteX8" fmla="*/ 469610 w 1399387"/>
              <a:gd name="connsiteY8" fmla="*/ 1107930 h 3656018"/>
              <a:gd name="connsiteX9" fmla="*/ 44067 w 1399387"/>
              <a:gd name="connsiteY9" fmla="*/ 682387 h 3656018"/>
              <a:gd name="connsiteX10" fmla="*/ 44067 w 1399387"/>
              <a:gd name="connsiteY10" fmla="*/ 469610 h 3656018"/>
              <a:gd name="connsiteX11" fmla="*/ 469610 w 1399387"/>
              <a:gd name="connsiteY11" fmla="*/ 44068 h 3656018"/>
              <a:gd name="connsiteX12" fmla="*/ 575998 w 1399387"/>
              <a:gd name="connsiteY12" fmla="*/ 0 h 3656018"/>
              <a:gd name="connsiteX0" fmla="*/ 575998 w 1151996"/>
              <a:gd name="connsiteY0" fmla="*/ 0 h 1151997"/>
              <a:gd name="connsiteX1" fmla="*/ 682386 w 1151996"/>
              <a:gd name="connsiteY1" fmla="*/ 44068 h 1151997"/>
              <a:gd name="connsiteX2" fmla="*/ 1107929 w 1151996"/>
              <a:gd name="connsiteY2" fmla="*/ 469610 h 1151997"/>
              <a:gd name="connsiteX3" fmla="*/ 1107929 w 1151996"/>
              <a:gd name="connsiteY3" fmla="*/ 682387 h 1151997"/>
              <a:gd name="connsiteX4" fmla="*/ 682386 w 1151996"/>
              <a:gd name="connsiteY4" fmla="*/ 1107930 h 1151997"/>
              <a:gd name="connsiteX5" fmla="*/ 469610 w 1151996"/>
              <a:gd name="connsiteY5" fmla="*/ 1107930 h 1151997"/>
              <a:gd name="connsiteX6" fmla="*/ 44067 w 1151996"/>
              <a:gd name="connsiteY6" fmla="*/ 682387 h 1151997"/>
              <a:gd name="connsiteX7" fmla="*/ 44067 w 1151996"/>
              <a:gd name="connsiteY7" fmla="*/ 469610 h 1151997"/>
              <a:gd name="connsiteX8" fmla="*/ 469610 w 1151996"/>
              <a:gd name="connsiteY8" fmla="*/ 44068 h 1151997"/>
              <a:gd name="connsiteX9" fmla="*/ 575998 w 1151996"/>
              <a:gd name="connsiteY9" fmla="*/ 0 h 1151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51996" h="1151997">
                <a:moveTo>
                  <a:pt x="575998" y="0"/>
                </a:moveTo>
                <a:cubicBezTo>
                  <a:pt x="614503" y="0"/>
                  <a:pt x="653008" y="14689"/>
                  <a:pt x="682386" y="44068"/>
                </a:cubicBezTo>
                <a:lnTo>
                  <a:pt x="1107929" y="469610"/>
                </a:lnTo>
                <a:cubicBezTo>
                  <a:pt x="1166686" y="528367"/>
                  <a:pt x="1166686" y="623630"/>
                  <a:pt x="1107929" y="682387"/>
                </a:cubicBezTo>
                <a:lnTo>
                  <a:pt x="682386" y="1107930"/>
                </a:lnTo>
                <a:cubicBezTo>
                  <a:pt x="623629" y="1166687"/>
                  <a:pt x="528367" y="1166687"/>
                  <a:pt x="469610" y="1107930"/>
                </a:cubicBezTo>
                <a:lnTo>
                  <a:pt x="44067" y="682387"/>
                </a:lnTo>
                <a:cubicBezTo>
                  <a:pt x="-14690" y="623630"/>
                  <a:pt x="-14690" y="528367"/>
                  <a:pt x="44067" y="469610"/>
                </a:cubicBezTo>
                <a:lnTo>
                  <a:pt x="469610" y="44068"/>
                </a:lnTo>
                <a:cubicBezTo>
                  <a:pt x="498988" y="14689"/>
                  <a:pt x="537493" y="0"/>
                  <a:pt x="575998" y="0"/>
                </a:cubicBez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Source Sans Pro" charset="0"/>
                <a:cs typeface="+mn-cs"/>
              </a:rPr>
              <a:t>03</a:t>
            </a:r>
          </a:p>
        </p:txBody>
      </p:sp>
      <p:sp>
        <p:nvSpPr>
          <p:cNvPr id="28" name="Freeform 40">
            <a:extLst>
              <a:ext uri="{FF2B5EF4-FFF2-40B4-BE49-F238E27FC236}">
                <a16:creationId xmlns:a16="http://schemas.microsoft.com/office/drawing/2014/main" id="{64E9C0BC-FBA6-4435-B3D7-02A9A3EEE151}"/>
              </a:ext>
            </a:extLst>
          </p:cNvPr>
          <p:cNvSpPr/>
          <p:nvPr/>
        </p:nvSpPr>
        <p:spPr>
          <a:xfrm>
            <a:off x="8560390" y="4297082"/>
            <a:ext cx="403768" cy="403768"/>
          </a:xfrm>
          <a:custGeom>
            <a:avLst/>
            <a:gdLst>
              <a:gd name="connsiteX0" fmla="*/ 1399387 w 3529838"/>
              <a:gd name="connsiteY0" fmla="*/ 1474949 h 3656018"/>
              <a:gd name="connsiteX1" fmla="*/ 3529838 w 3529838"/>
              <a:gd name="connsiteY1" fmla="*/ 1474949 h 3656018"/>
              <a:gd name="connsiteX2" fmla="*/ 3529838 w 3529838"/>
              <a:gd name="connsiteY2" fmla="*/ 3656018 h 3656018"/>
              <a:gd name="connsiteX3" fmla="*/ 1399387 w 3529838"/>
              <a:gd name="connsiteY3" fmla="*/ 3656018 h 3656018"/>
              <a:gd name="connsiteX4" fmla="*/ 575998 w 3529838"/>
              <a:gd name="connsiteY4" fmla="*/ 0 h 3656018"/>
              <a:gd name="connsiteX5" fmla="*/ 682386 w 3529838"/>
              <a:gd name="connsiteY5" fmla="*/ 44068 h 3656018"/>
              <a:gd name="connsiteX6" fmla="*/ 1107929 w 3529838"/>
              <a:gd name="connsiteY6" fmla="*/ 469610 h 3656018"/>
              <a:gd name="connsiteX7" fmla="*/ 1107929 w 3529838"/>
              <a:gd name="connsiteY7" fmla="*/ 682387 h 3656018"/>
              <a:gd name="connsiteX8" fmla="*/ 682386 w 3529838"/>
              <a:gd name="connsiteY8" fmla="*/ 1107930 h 3656018"/>
              <a:gd name="connsiteX9" fmla="*/ 469610 w 3529838"/>
              <a:gd name="connsiteY9" fmla="*/ 1107930 h 3656018"/>
              <a:gd name="connsiteX10" fmla="*/ 44067 w 3529838"/>
              <a:gd name="connsiteY10" fmla="*/ 682387 h 3656018"/>
              <a:gd name="connsiteX11" fmla="*/ 44067 w 3529838"/>
              <a:gd name="connsiteY11" fmla="*/ 469610 h 3656018"/>
              <a:gd name="connsiteX12" fmla="*/ 469610 w 3529838"/>
              <a:gd name="connsiteY12" fmla="*/ 44068 h 3656018"/>
              <a:gd name="connsiteX13" fmla="*/ 575998 w 3529838"/>
              <a:gd name="connsiteY13" fmla="*/ 0 h 3656018"/>
              <a:gd name="connsiteX0" fmla="*/ 1399387 w 3529838"/>
              <a:gd name="connsiteY0" fmla="*/ 1474949 h 3656018"/>
              <a:gd name="connsiteX1" fmla="*/ 3529838 w 3529838"/>
              <a:gd name="connsiteY1" fmla="*/ 1474949 h 3656018"/>
              <a:gd name="connsiteX2" fmla="*/ 1399387 w 3529838"/>
              <a:gd name="connsiteY2" fmla="*/ 3656018 h 3656018"/>
              <a:gd name="connsiteX3" fmla="*/ 1399387 w 3529838"/>
              <a:gd name="connsiteY3" fmla="*/ 1474949 h 3656018"/>
              <a:gd name="connsiteX4" fmla="*/ 575998 w 3529838"/>
              <a:gd name="connsiteY4" fmla="*/ 0 h 3656018"/>
              <a:gd name="connsiteX5" fmla="*/ 682386 w 3529838"/>
              <a:gd name="connsiteY5" fmla="*/ 44068 h 3656018"/>
              <a:gd name="connsiteX6" fmla="*/ 1107929 w 3529838"/>
              <a:gd name="connsiteY6" fmla="*/ 469610 h 3656018"/>
              <a:gd name="connsiteX7" fmla="*/ 1107929 w 3529838"/>
              <a:gd name="connsiteY7" fmla="*/ 682387 h 3656018"/>
              <a:gd name="connsiteX8" fmla="*/ 682386 w 3529838"/>
              <a:gd name="connsiteY8" fmla="*/ 1107930 h 3656018"/>
              <a:gd name="connsiteX9" fmla="*/ 469610 w 3529838"/>
              <a:gd name="connsiteY9" fmla="*/ 1107930 h 3656018"/>
              <a:gd name="connsiteX10" fmla="*/ 44067 w 3529838"/>
              <a:gd name="connsiteY10" fmla="*/ 682387 h 3656018"/>
              <a:gd name="connsiteX11" fmla="*/ 44067 w 3529838"/>
              <a:gd name="connsiteY11" fmla="*/ 469610 h 3656018"/>
              <a:gd name="connsiteX12" fmla="*/ 469610 w 3529838"/>
              <a:gd name="connsiteY12" fmla="*/ 44068 h 3656018"/>
              <a:gd name="connsiteX13" fmla="*/ 575998 w 3529838"/>
              <a:gd name="connsiteY13" fmla="*/ 0 h 3656018"/>
              <a:gd name="connsiteX0" fmla="*/ 1399387 w 1399387"/>
              <a:gd name="connsiteY0" fmla="*/ 1474949 h 3656018"/>
              <a:gd name="connsiteX1" fmla="*/ 1399387 w 1399387"/>
              <a:gd name="connsiteY1" fmla="*/ 3656018 h 3656018"/>
              <a:gd name="connsiteX2" fmla="*/ 1399387 w 1399387"/>
              <a:gd name="connsiteY2" fmla="*/ 1474949 h 3656018"/>
              <a:gd name="connsiteX3" fmla="*/ 575998 w 1399387"/>
              <a:gd name="connsiteY3" fmla="*/ 0 h 3656018"/>
              <a:gd name="connsiteX4" fmla="*/ 682386 w 1399387"/>
              <a:gd name="connsiteY4" fmla="*/ 44068 h 3656018"/>
              <a:gd name="connsiteX5" fmla="*/ 1107929 w 1399387"/>
              <a:gd name="connsiteY5" fmla="*/ 469610 h 3656018"/>
              <a:gd name="connsiteX6" fmla="*/ 1107929 w 1399387"/>
              <a:gd name="connsiteY6" fmla="*/ 682387 h 3656018"/>
              <a:gd name="connsiteX7" fmla="*/ 682386 w 1399387"/>
              <a:gd name="connsiteY7" fmla="*/ 1107930 h 3656018"/>
              <a:gd name="connsiteX8" fmla="*/ 469610 w 1399387"/>
              <a:gd name="connsiteY8" fmla="*/ 1107930 h 3656018"/>
              <a:gd name="connsiteX9" fmla="*/ 44067 w 1399387"/>
              <a:gd name="connsiteY9" fmla="*/ 682387 h 3656018"/>
              <a:gd name="connsiteX10" fmla="*/ 44067 w 1399387"/>
              <a:gd name="connsiteY10" fmla="*/ 469610 h 3656018"/>
              <a:gd name="connsiteX11" fmla="*/ 469610 w 1399387"/>
              <a:gd name="connsiteY11" fmla="*/ 44068 h 3656018"/>
              <a:gd name="connsiteX12" fmla="*/ 575998 w 1399387"/>
              <a:gd name="connsiteY12" fmla="*/ 0 h 3656018"/>
              <a:gd name="connsiteX0" fmla="*/ 575998 w 1151996"/>
              <a:gd name="connsiteY0" fmla="*/ 0 h 1151997"/>
              <a:gd name="connsiteX1" fmla="*/ 682386 w 1151996"/>
              <a:gd name="connsiteY1" fmla="*/ 44068 h 1151997"/>
              <a:gd name="connsiteX2" fmla="*/ 1107929 w 1151996"/>
              <a:gd name="connsiteY2" fmla="*/ 469610 h 1151997"/>
              <a:gd name="connsiteX3" fmla="*/ 1107929 w 1151996"/>
              <a:gd name="connsiteY3" fmla="*/ 682387 h 1151997"/>
              <a:gd name="connsiteX4" fmla="*/ 682386 w 1151996"/>
              <a:gd name="connsiteY4" fmla="*/ 1107930 h 1151997"/>
              <a:gd name="connsiteX5" fmla="*/ 469610 w 1151996"/>
              <a:gd name="connsiteY5" fmla="*/ 1107930 h 1151997"/>
              <a:gd name="connsiteX6" fmla="*/ 44067 w 1151996"/>
              <a:gd name="connsiteY6" fmla="*/ 682387 h 1151997"/>
              <a:gd name="connsiteX7" fmla="*/ 44067 w 1151996"/>
              <a:gd name="connsiteY7" fmla="*/ 469610 h 1151997"/>
              <a:gd name="connsiteX8" fmla="*/ 469610 w 1151996"/>
              <a:gd name="connsiteY8" fmla="*/ 44068 h 1151997"/>
              <a:gd name="connsiteX9" fmla="*/ 575998 w 1151996"/>
              <a:gd name="connsiteY9" fmla="*/ 0 h 1151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51996" h="1151997">
                <a:moveTo>
                  <a:pt x="575998" y="0"/>
                </a:moveTo>
                <a:cubicBezTo>
                  <a:pt x="614503" y="0"/>
                  <a:pt x="653008" y="14689"/>
                  <a:pt x="682386" y="44068"/>
                </a:cubicBezTo>
                <a:lnTo>
                  <a:pt x="1107929" y="469610"/>
                </a:lnTo>
                <a:cubicBezTo>
                  <a:pt x="1166686" y="528367"/>
                  <a:pt x="1166686" y="623630"/>
                  <a:pt x="1107929" y="682387"/>
                </a:cubicBezTo>
                <a:lnTo>
                  <a:pt x="682386" y="1107930"/>
                </a:lnTo>
                <a:cubicBezTo>
                  <a:pt x="623629" y="1166687"/>
                  <a:pt x="528367" y="1166687"/>
                  <a:pt x="469610" y="1107930"/>
                </a:cubicBezTo>
                <a:lnTo>
                  <a:pt x="44067" y="682387"/>
                </a:lnTo>
                <a:cubicBezTo>
                  <a:pt x="-14690" y="623630"/>
                  <a:pt x="-14690" y="528367"/>
                  <a:pt x="44067" y="469610"/>
                </a:cubicBezTo>
                <a:lnTo>
                  <a:pt x="469610" y="44068"/>
                </a:lnTo>
                <a:cubicBezTo>
                  <a:pt x="498988" y="14689"/>
                  <a:pt x="537493" y="0"/>
                  <a:pt x="575998" y="0"/>
                </a:cubicBez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Source Sans Pro" charset="0"/>
                <a:cs typeface="+mn-cs"/>
              </a:rPr>
              <a:t>05</a:t>
            </a:r>
          </a:p>
        </p:txBody>
      </p:sp>
      <p:sp>
        <p:nvSpPr>
          <p:cNvPr id="29" name="Freeform 41">
            <a:extLst>
              <a:ext uri="{FF2B5EF4-FFF2-40B4-BE49-F238E27FC236}">
                <a16:creationId xmlns:a16="http://schemas.microsoft.com/office/drawing/2014/main" id="{1DE523D3-61A4-42D5-9867-E89826B2A2B5}"/>
              </a:ext>
            </a:extLst>
          </p:cNvPr>
          <p:cNvSpPr/>
          <p:nvPr/>
        </p:nvSpPr>
        <p:spPr>
          <a:xfrm>
            <a:off x="3193385" y="2447333"/>
            <a:ext cx="403768" cy="403768"/>
          </a:xfrm>
          <a:custGeom>
            <a:avLst/>
            <a:gdLst>
              <a:gd name="connsiteX0" fmla="*/ 1399387 w 3529838"/>
              <a:gd name="connsiteY0" fmla="*/ 1474949 h 3656018"/>
              <a:gd name="connsiteX1" fmla="*/ 3529838 w 3529838"/>
              <a:gd name="connsiteY1" fmla="*/ 1474949 h 3656018"/>
              <a:gd name="connsiteX2" fmla="*/ 3529838 w 3529838"/>
              <a:gd name="connsiteY2" fmla="*/ 3656018 h 3656018"/>
              <a:gd name="connsiteX3" fmla="*/ 1399387 w 3529838"/>
              <a:gd name="connsiteY3" fmla="*/ 3656018 h 3656018"/>
              <a:gd name="connsiteX4" fmla="*/ 575998 w 3529838"/>
              <a:gd name="connsiteY4" fmla="*/ 0 h 3656018"/>
              <a:gd name="connsiteX5" fmla="*/ 682386 w 3529838"/>
              <a:gd name="connsiteY5" fmla="*/ 44068 h 3656018"/>
              <a:gd name="connsiteX6" fmla="*/ 1107929 w 3529838"/>
              <a:gd name="connsiteY6" fmla="*/ 469610 h 3656018"/>
              <a:gd name="connsiteX7" fmla="*/ 1107929 w 3529838"/>
              <a:gd name="connsiteY7" fmla="*/ 682387 h 3656018"/>
              <a:gd name="connsiteX8" fmla="*/ 682386 w 3529838"/>
              <a:gd name="connsiteY8" fmla="*/ 1107930 h 3656018"/>
              <a:gd name="connsiteX9" fmla="*/ 469610 w 3529838"/>
              <a:gd name="connsiteY9" fmla="*/ 1107930 h 3656018"/>
              <a:gd name="connsiteX10" fmla="*/ 44067 w 3529838"/>
              <a:gd name="connsiteY10" fmla="*/ 682387 h 3656018"/>
              <a:gd name="connsiteX11" fmla="*/ 44067 w 3529838"/>
              <a:gd name="connsiteY11" fmla="*/ 469610 h 3656018"/>
              <a:gd name="connsiteX12" fmla="*/ 469610 w 3529838"/>
              <a:gd name="connsiteY12" fmla="*/ 44068 h 3656018"/>
              <a:gd name="connsiteX13" fmla="*/ 575998 w 3529838"/>
              <a:gd name="connsiteY13" fmla="*/ 0 h 3656018"/>
              <a:gd name="connsiteX0" fmla="*/ 1399387 w 3529838"/>
              <a:gd name="connsiteY0" fmla="*/ 1474949 h 3656018"/>
              <a:gd name="connsiteX1" fmla="*/ 3529838 w 3529838"/>
              <a:gd name="connsiteY1" fmla="*/ 1474949 h 3656018"/>
              <a:gd name="connsiteX2" fmla="*/ 1399387 w 3529838"/>
              <a:gd name="connsiteY2" fmla="*/ 3656018 h 3656018"/>
              <a:gd name="connsiteX3" fmla="*/ 1399387 w 3529838"/>
              <a:gd name="connsiteY3" fmla="*/ 1474949 h 3656018"/>
              <a:gd name="connsiteX4" fmla="*/ 575998 w 3529838"/>
              <a:gd name="connsiteY4" fmla="*/ 0 h 3656018"/>
              <a:gd name="connsiteX5" fmla="*/ 682386 w 3529838"/>
              <a:gd name="connsiteY5" fmla="*/ 44068 h 3656018"/>
              <a:gd name="connsiteX6" fmla="*/ 1107929 w 3529838"/>
              <a:gd name="connsiteY6" fmla="*/ 469610 h 3656018"/>
              <a:gd name="connsiteX7" fmla="*/ 1107929 w 3529838"/>
              <a:gd name="connsiteY7" fmla="*/ 682387 h 3656018"/>
              <a:gd name="connsiteX8" fmla="*/ 682386 w 3529838"/>
              <a:gd name="connsiteY8" fmla="*/ 1107930 h 3656018"/>
              <a:gd name="connsiteX9" fmla="*/ 469610 w 3529838"/>
              <a:gd name="connsiteY9" fmla="*/ 1107930 h 3656018"/>
              <a:gd name="connsiteX10" fmla="*/ 44067 w 3529838"/>
              <a:gd name="connsiteY10" fmla="*/ 682387 h 3656018"/>
              <a:gd name="connsiteX11" fmla="*/ 44067 w 3529838"/>
              <a:gd name="connsiteY11" fmla="*/ 469610 h 3656018"/>
              <a:gd name="connsiteX12" fmla="*/ 469610 w 3529838"/>
              <a:gd name="connsiteY12" fmla="*/ 44068 h 3656018"/>
              <a:gd name="connsiteX13" fmla="*/ 575998 w 3529838"/>
              <a:gd name="connsiteY13" fmla="*/ 0 h 3656018"/>
              <a:gd name="connsiteX0" fmla="*/ 1399387 w 1399387"/>
              <a:gd name="connsiteY0" fmla="*/ 1474949 h 3656018"/>
              <a:gd name="connsiteX1" fmla="*/ 1399387 w 1399387"/>
              <a:gd name="connsiteY1" fmla="*/ 3656018 h 3656018"/>
              <a:gd name="connsiteX2" fmla="*/ 1399387 w 1399387"/>
              <a:gd name="connsiteY2" fmla="*/ 1474949 h 3656018"/>
              <a:gd name="connsiteX3" fmla="*/ 575998 w 1399387"/>
              <a:gd name="connsiteY3" fmla="*/ 0 h 3656018"/>
              <a:gd name="connsiteX4" fmla="*/ 682386 w 1399387"/>
              <a:gd name="connsiteY4" fmla="*/ 44068 h 3656018"/>
              <a:gd name="connsiteX5" fmla="*/ 1107929 w 1399387"/>
              <a:gd name="connsiteY5" fmla="*/ 469610 h 3656018"/>
              <a:gd name="connsiteX6" fmla="*/ 1107929 w 1399387"/>
              <a:gd name="connsiteY6" fmla="*/ 682387 h 3656018"/>
              <a:gd name="connsiteX7" fmla="*/ 682386 w 1399387"/>
              <a:gd name="connsiteY7" fmla="*/ 1107930 h 3656018"/>
              <a:gd name="connsiteX8" fmla="*/ 469610 w 1399387"/>
              <a:gd name="connsiteY8" fmla="*/ 1107930 h 3656018"/>
              <a:gd name="connsiteX9" fmla="*/ 44067 w 1399387"/>
              <a:gd name="connsiteY9" fmla="*/ 682387 h 3656018"/>
              <a:gd name="connsiteX10" fmla="*/ 44067 w 1399387"/>
              <a:gd name="connsiteY10" fmla="*/ 469610 h 3656018"/>
              <a:gd name="connsiteX11" fmla="*/ 469610 w 1399387"/>
              <a:gd name="connsiteY11" fmla="*/ 44068 h 3656018"/>
              <a:gd name="connsiteX12" fmla="*/ 575998 w 1399387"/>
              <a:gd name="connsiteY12" fmla="*/ 0 h 3656018"/>
              <a:gd name="connsiteX0" fmla="*/ 575998 w 1151996"/>
              <a:gd name="connsiteY0" fmla="*/ 0 h 1151997"/>
              <a:gd name="connsiteX1" fmla="*/ 682386 w 1151996"/>
              <a:gd name="connsiteY1" fmla="*/ 44068 h 1151997"/>
              <a:gd name="connsiteX2" fmla="*/ 1107929 w 1151996"/>
              <a:gd name="connsiteY2" fmla="*/ 469610 h 1151997"/>
              <a:gd name="connsiteX3" fmla="*/ 1107929 w 1151996"/>
              <a:gd name="connsiteY3" fmla="*/ 682387 h 1151997"/>
              <a:gd name="connsiteX4" fmla="*/ 682386 w 1151996"/>
              <a:gd name="connsiteY4" fmla="*/ 1107930 h 1151997"/>
              <a:gd name="connsiteX5" fmla="*/ 469610 w 1151996"/>
              <a:gd name="connsiteY5" fmla="*/ 1107930 h 1151997"/>
              <a:gd name="connsiteX6" fmla="*/ 44067 w 1151996"/>
              <a:gd name="connsiteY6" fmla="*/ 682387 h 1151997"/>
              <a:gd name="connsiteX7" fmla="*/ 44067 w 1151996"/>
              <a:gd name="connsiteY7" fmla="*/ 469610 h 1151997"/>
              <a:gd name="connsiteX8" fmla="*/ 469610 w 1151996"/>
              <a:gd name="connsiteY8" fmla="*/ 44068 h 1151997"/>
              <a:gd name="connsiteX9" fmla="*/ 575998 w 1151996"/>
              <a:gd name="connsiteY9" fmla="*/ 0 h 1151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51996" h="1151997">
                <a:moveTo>
                  <a:pt x="575998" y="0"/>
                </a:moveTo>
                <a:cubicBezTo>
                  <a:pt x="614503" y="0"/>
                  <a:pt x="653008" y="14689"/>
                  <a:pt x="682386" y="44068"/>
                </a:cubicBezTo>
                <a:lnTo>
                  <a:pt x="1107929" y="469610"/>
                </a:lnTo>
                <a:cubicBezTo>
                  <a:pt x="1166686" y="528367"/>
                  <a:pt x="1166686" y="623630"/>
                  <a:pt x="1107929" y="682387"/>
                </a:cubicBezTo>
                <a:lnTo>
                  <a:pt x="682386" y="1107930"/>
                </a:lnTo>
                <a:cubicBezTo>
                  <a:pt x="623629" y="1166687"/>
                  <a:pt x="528367" y="1166687"/>
                  <a:pt x="469610" y="1107930"/>
                </a:cubicBezTo>
                <a:lnTo>
                  <a:pt x="44067" y="682387"/>
                </a:lnTo>
                <a:cubicBezTo>
                  <a:pt x="-14690" y="623630"/>
                  <a:pt x="-14690" y="528367"/>
                  <a:pt x="44067" y="469610"/>
                </a:cubicBezTo>
                <a:lnTo>
                  <a:pt x="469610" y="44068"/>
                </a:lnTo>
                <a:cubicBezTo>
                  <a:pt x="498988" y="14689"/>
                  <a:pt x="537493" y="0"/>
                  <a:pt x="575998" y="0"/>
                </a:cubicBez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Source Sans Pro" charset="0"/>
                <a:cs typeface="+mn-cs"/>
              </a:rPr>
              <a:t>02</a:t>
            </a:r>
          </a:p>
        </p:txBody>
      </p:sp>
      <p:sp>
        <p:nvSpPr>
          <p:cNvPr id="30" name="Freeform 42">
            <a:extLst>
              <a:ext uri="{FF2B5EF4-FFF2-40B4-BE49-F238E27FC236}">
                <a16:creationId xmlns:a16="http://schemas.microsoft.com/office/drawing/2014/main" id="{0B527554-0CFA-434B-B04A-3C5867A8AAE7}"/>
              </a:ext>
            </a:extLst>
          </p:cNvPr>
          <p:cNvSpPr/>
          <p:nvPr/>
        </p:nvSpPr>
        <p:spPr>
          <a:xfrm>
            <a:off x="6786705" y="2447333"/>
            <a:ext cx="403768" cy="403768"/>
          </a:xfrm>
          <a:custGeom>
            <a:avLst/>
            <a:gdLst>
              <a:gd name="connsiteX0" fmla="*/ 1399387 w 3529838"/>
              <a:gd name="connsiteY0" fmla="*/ 1474949 h 3656018"/>
              <a:gd name="connsiteX1" fmla="*/ 3529838 w 3529838"/>
              <a:gd name="connsiteY1" fmla="*/ 1474949 h 3656018"/>
              <a:gd name="connsiteX2" fmla="*/ 3529838 w 3529838"/>
              <a:gd name="connsiteY2" fmla="*/ 3656018 h 3656018"/>
              <a:gd name="connsiteX3" fmla="*/ 1399387 w 3529838"/>
              <a:gd name="connsiteY3" fmla="*/ 3656018 h 3656018"/>
              <a:gd name="connsiteX4" fmla="*/ 575998 w 3529838"/>
              <a:gd name="connsiteY4" fmla="*/ 0 h 3656018"/>
              <a:gd name="connsiteX5" fmla="*/ 682386 w 3529838"/>
              <a:gd name="connsiteY5" fmla="*/ 44068 h 3656018"/>
              <a:gd name="connsiteX6" fmla="*/ 1107929 w 3529838"/>
              <a:gd name="connsiteY6" fmla="*/ 469610 h 3656018"/>
              <a:gd name="connsiteX7" fmla="*/ 1107929 w 3529838"/>
              <a:gd name="connsiteY7" fmla="*/ 682387 h 3656018"/>
              <a:gd name="connsiteX8" fmla="*/ 682386 w 3529838"/>
              <a:gd name="connsiteY8" fmla="*/ 1107930 h 3656018"/>
              <a:gd name="connsiteX9" fmla="*/ 469610 w 3529838"/>
              <a:gd name="connsiteY9" fmla="*/ 1107930 h 3656018"/>
              <a:gd name="connsiteX10" fmla="*/ 44067 w 3529838"/>
              <a:gd name="connsiteY10" fmla="*/ 682387 h 3656018"/>
              <a:gd name="connsiteX11" fmla="*/ 44067 w 3529838"/>
              <a:gd name="connsiteY11" fmla="*/ 469610 h 3656018"/>
              <a:gd name="connsiteX12" fmla="*/ 469610 w 3529838"/>
              <a:gd name="connsiteY12" fmla="*/ 44068 h 3656018"/>
              <a:gd name="connsiteX13" fmla="*/ 575998 w 3529838"/>
              <a:gd name="connsiteY13" fmla="*/ 0 h 3656018"/>
              <a:gd name="connsiteX0" fmla="*/ 1399387 w 3529838"/>
              <a:gd name="connsiteY0" fmla="*/ 1474949 h 3656018"/>
              <a:gd name="connsiteX1" fmla="*/ 3529838 w 3529838"/>
              <a:gd name="connsiteY1" fmla="*/ 1474949 h 3656018"/>
              <a:gd name="connsiteX2" fmla="*/ 1399387 w 3529838"/>
              <a:gd name="connsiteY2" fmla="*/ 3656018 h 3656018"/>
              <a:gd name="connsiteX3" fmla="*/ 1399387 w 3529838"/>
              <a:gd name="connsiteY3" fmla="*/ 1474949 h 3656018"/>
              <a:gd name="connsiteX4" fmla="*/ 575998 w 3529838"/>
              <a:gd name="connsiteY4" fmla="*/ 0 h 3656018"/>
              <a:gd name="connsiteX5" fmla="*/ 682386 w 3529838"/>
              <a:gd name="connsiteY5" fmla="*/ 44068 h 3656018"/>
              <a:gd name="connsiteX6" fmla="*/ 1107929 w 3529838"/>
              <a:gd name="connsiteY6" fmla="*/ 469610 h 3656018"/>
              <a:gd name="connsiteX7" fmla="*/ 1107929 w 3529838"/>
              <a:gd name="connsiteY7" fmla="*/ 682387 h 3656018"/>
              <a:gd name="connsiteX8" fmla="*/ 682386 w 3529838"/>
              <a:gd name="connsiteY8" fmla="*/ 1107930 h 3656018"/>
              <a:gd name="connsiteX9" fmla="*/ 469610 w 3529838"/>
              <a:gd name="connsiteY9" fmla="*/ 1107930 h 3656018"/>
              <a:gd name="connsiteX10" fmla="*/ 44067 w 3529838"/>
              <a:gd name="connsiteY10" fmla="*/ 682387 h 3656018"/>
              <a:gd name="connsiteX11" fmla="*/ 44067 w 3529838"/>
              <a:gd name="connsiteY11" fmla="*/ 469610 h 3656018"/>
              <a:gd name="connsiteX12" fmla="*/ 469610 w 3529838"/>
              <a:gd name="connsiteY12" fmla="*/ 44068 h 3656018"/>
              <a:gd name="connsiteX13" fmla="*/ 575998 w 3529838"/>
              <a:gd name="connsiteY13" fmla="*/ 0 h 3656018"/>
              <a:gd name="connsiteX0" fmla="*/ 1399387 w 1399387"/>
              <a:gd name="connsiteY0" fmla="*/ 1474949 h 3656018"/>
              <a:gd name="connsiteX1" fmla="*/ 1399387 w 1399387"/>
              <a:gd name="connsiteY1" fmla="*/ 3656018 h 3656018"/>
              <a:gd name="connsiteX2" fmla="*/ 1399387 w 1399387"/>
              <a:gd name="connsiteY2" fmla="*/ 1474949 h 3656018"/>
              <a:gd name="connsiteX3" fmla="*/ 575998 w 1399387"/>
              <a:gd name="connsiteY3" fmla="*/ 0 h 3656018"/>
              <a:gd name="connsiteX4" fmla="*/ 682386 w 1399387"/>
              <a:gd name="connsiteY4" fmla="*/ 44068 h 3656018"/>
              <a:gd name="connsiteX5" fmla="*/ 1107929 w 1399387"/>
              <a:gd name="connsiteY5" fmla="*/ 469610 h 3656018"/>
              <a:gd name="connsiteX6" fmla="*/ 1107929 w 1399387"/>
              <a:gd name="connsiteY6" fmla="*/ 682387 h 3656018"/>
              <a:gd name="connsiteX7" fmla="*/ 682386 w 1399387"/>
              <a:gd name="connsiteY7" fmla="*/ 1107930 h 3656018"/>
              <a:gd name="connsiteX8" fmla="*/ 469610 w 1399387"/>
              <a:gd name="connsiteY8" fmla="*/ 1107930 h 3656018"/>
              <a:gd name="connsiteX9" fmla="*/ 44067 w 1399387"/>
              <a:gd name="connsiteY9" fmla="*/ 682387 h 3656018"/>
              <a:gd name="connsiteX10" fmla="*/ 44067 w 1399387"/>
              <a:gd name="connsiteY10" fmla="*/ 469610 h 3656018"/>
              <a:gd name="connsiteX11" fmla="*/ 469610 w 1399387"/>
              <a:gd name="connsiteY11" fmla="*/ 44068 h 3656018"/>
              <a:gd name="connsiteX12" fmla="*/ 575998 w 1399387"/>
              <a:gd name="connsiteY12" fmla="*/ 0 h 3656018"/>
              <a:gd name="connsiteX0" fmla="*/ 575998 w 1151996"/>
              <a:gd name="connsiteY0" fmla="*/ 0 h 1151997"/>
              <a:gd name="connsiteX1" fmla="*/ 682386 w 1151996"/>
              <a:gd name="connsiteY1" fmla="*/ 44068 h 1151997"/>
              <a:gd name="connsiteX2" fmla="*/ 1107929 w 1151996"/>
              <a:gd name="connsiteY2" fmla="*/ 469610 h 1151997"/>
              <a:gd name="connsiteX3" fmla="*/ 1107929 w 1151996"/>
              <a:gd name="connsiteY3" fmla="*/ 682387 h 1151997"/>
              <a:gd name="connsiteX4" fmla="*/ 682386 w 1151996"/>
              <a:gd name="connsiteY4" fmla="*/ 1107930 h 1151997"/>
              <a:gd name="connsiteX5" fmla="*/ 469610 w 1151996"/>
              <a:gd name="connsiteY5" fmla="*/ 1107930 h 1151997"/>
              <a:gd name="connsiteX6" fmla="*/ 44067 w 1151996"/>
              <a:gd name="connsiteY6" fmla="*/ 682387 h 1151997"/>
              <a:gd name="connsiteX7" fmla="*/ 44067 w 1151996"/>
              <a:gd name="connsiteY7" fmla="*/ 469610 h 1151997"/>
              <a:gd name="connsiteX8" fmla="*/ 469610 w 1151996"/>
              <a:gd name="connsiteY8" fmla="*/ 44068 h 1151997"/>
              <a:gd name="connsiteX9" fmla="*/ 575998 w 1151996"/>
              <a:gd name="connsiteY9" fmla="*/ 0 h 1151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51996" h="1151997">
                <a:moveTo>
                  <a:pt x="575998" y="0"/>
                </a:moveTo>
                <a:cubicBezTo>
                  <a:pt x="614503" y="0"/>
                  <a:pt x="653008" y="14689"/>
                  <a:pt x="682386" y="44068"/>
                </a:cubicBezTo>
                <a:lnTo>
                  <a:pt x="1107929" y="469610"/>
                </a:lnTo>
                <a:cubicBezTo>
                  <a:pt x="1166686" y="528367"/>
                  <a:pt x="1166686" y="623630"/>
                  <a:pt x="1107929" y="682387"/>
                </a:cubicBezTo>
                <a:lnTo>
                  <a:pt x="682386" y="1107930"/>
                </a:lnTo>
                <a:cubicBezTo>
                  <a:pt x="623629" y="1166687"/>
                  <a:pt x="528367" y="1166687"/>
                  <a:pt x="469610" y="1107930"/>
                </a:cubicBezTo>
                <a:lnTo>
                  <a:pt x="44067" y="682387"/>
                </a:lnTo>
                <a:cubicBezTo>
                  <a:pt x="-14690" y="623630"/>
                  <a:pt x="-14690" y="528367"/>
                  <a:pt x="44067" y="469610"/>
                </a:cubicBezTo>
                <a:lnTo>
                  <a:pt x="469610" y="44068"/>
                </a:lnTo>
                <a:cubicBezTo>
                  <a:pt x="498988" y="14689"/>
                  <a:pt x="537493" y="0"/>
                  <a:pt x="575998" y="0"/>
                </a:cubicBez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Source Sans Pro" charset="0"/>
                <a:cs typeface="+mn-cs"/>
              </a:rPr>
              <a:t>04</a:t>
            </a:r>
          </a:p>
        </p:txBody>
      </p:sp>
      <p:sp>
        <p:nvSpPr>
          <p:cNvPr id="31" name="Freeform 43">
            <a:extLst>
              <a:ext uri="{FF2B5EF4-FFF2-40B4-BE49-F238E27FC236}">
                <a16:creationId xmlns:a16="http://schemas.microsoft.com/office/drawing/2014/main" id="{AD528A89-E81B-4EF4-844B-52F150A48CF4}"/>
              </a:ext>
            </a:extLst>
          </p:cNvPr>
          <p:cNvSpPr/>
          <p:nvPr/>
        </p:nvSpPr>
        <p:spPr>
          <a:xfrm>
            <a:off x="10319414" y="2447333"/>
            <a:ext cx="403768" cy="403768"/>
          </a:xfrm>
          <a:custGeom>
            <a:avLst/>
            <a:gdLst>
              <a:gd name="connsiteX0" fmla="*/ 1399387 w 3529838"/>
              <a:gd name="connsiteY0" fmla="*/ 1474949 h 3656018"/>
              <a:gd name="connsiteX1" fmla="*/ 3529838 w 3529838"/>
              <a:gd name="connsiteY1" fmla="*/ 1474949 h 3656018"/>
              <a:gd name="connsiteX2" fmla="*/ 3529838 w 3529838"/>
              <a:gd name="connsiteY2" fmla="*/ 3656018 h 3656018"/>
              <a:gd name="connsiteX3" fmla="*/ 1399387 w 3529838"/>
              <a:gd name="connsiteY3" fmla="*/ 3656018 h 3656018"/>
              <a:gd name="connsiteX4" fmla="*/ 575998 w 3529838"/>
              <a:gd name="connsiteY4" fmla="*/ 0 h 3656018"/>
              <a:gd name="connsiteX5" fmla="*/ 682386 w 3529838"/>
              <a:gd name="connsiteY5" fmla="*/ 44068 h 3656018"/>
              <a:gd name="connsiteX6" fmla="*/ 1107929 w 3529838"/>
              <a:gd name="connsiteY6" fmla="*/ 469610 h 3656018"/>
              <a:gd name="connsiteX7" fmla="*/ 1107929 w 3529838"/>
              <a:gd name="connsiteY7" fmla="*/ 682387 h 3656018"/>
              <a:gd name="connsiteX8" fmla="*/ 682386 w 3529838"/>
              <a:gd name="connsiteY8" fmla="*/ 1107930 h 3656018"/>
              <a:gd name="connsiteX9" fmla="*/ 469610 w 3529838"/>
              <a:gd name="connsiteY9" fmla="*/ 1107930 h 3656018"/>
              <a:gd name="connsiteX10" fmla="*/ 44067 w 3529838"/>
              <a:gd name="connsiteY10" fmla="*/ 682387 h 3656018"/>
              <a:gd name="connsiteX11" fmla="*/ 44067 w 3529838"/>
              <a:gd name="connsiteY11" fmla="*/ 469610 h 3656018"/>
              <a:gd name="connsiteX12" fmla="*/ 469610 w 3529838"/>
              <a:gd name="connsiteY12" fmla="*/ 44068 h 3656018"/>
              <a:gd name="connsiteX13" fmla="*/ 575998 w 3529838"/>
              <a:gd name="connsiteY13" fmla="*/ 0 h 3656018"/>
              <a:gd name="connsiteX0" fmla="*/ 1399387 w 3529838"/>
              <a:gd name="connsiteY0" fmla="*/ 1474949 h 3656018"/>
              <a:gd name="connsiteX1" fmla="*/ 3529838 w 3529838"/>
              <a:gd name="connsiteY1" fmla="*/ 1474949 h 3656018"/>
              <a:gd name="connsiteX2" fmla="*/ 1399387 w 3529838"/>
              <a:gd name="connsiteY2" fmla="*/ 3656018 h 3656018"/>
              <a:gd name="connsiteX3" fmla="*/ 1399387 w 3529838"/>
              <a:gd name="connsiteY3" fmla="*/ 1474949 h 3656018"/>
              <a:gd name="connsiteX4" fmla="*/ 575998 w 3529838"/>
              <a:gd name="connsiteY4" fmla="*/ 0 h 3656018"/>
              <a:gd name="connsiteX5" fmla="*/ 682386 w 3529838"/>
              <a:gd name="connsiteY5" fmla="*/ 44068 h 3656018"/>
              <a:gd name="connsiteX6" fmla="*/ 1107929 w 3529838"/>
              <a:gd name="connsiteY6" fmla="*/ 469610 h 3656018"/>
              <a:gd name="connsiteX7" fmla="*/ 1107929 w 3529838"/>
              <a:gd name="connsiteY7" fmla="*/ 682387 h 3656018"/>
              <a:gd name="connsiteX8" fmla="*/ 682386 w 3529838"/>
              <a:gd name="connsiteY8" fmla="*/ 1107930 h 3656018"/>
              <a:gd name="connsiteX9" fmla="*/ 469610 w 3529838"/>
              <a:gd name="connsiteY9" fmla="*/ 1107930 h 3656018"/>
              <a:gd name="connsiteX10" fmla="*/ 44067 w 3529838"/>
              <a:gd name="connsiteY10" fmla="*/ 682387 h 3656018"/>
              <a:gd name="connsiteX11" fmla="*/ 44067 w 3529838"/>
              <a:gd name="connsiteY11" fmla="*/ 469610 h 3656018"/>
              <a:gd name="connsiteX12" fmla="*/ 469610 w 3529838"/>
              <a:gd name="connsiteY12" fmla="*/ 44068 h 3656018"/>
              <a:gd name="connsiteX13" fmla="*/ 575998 w 3529838"/>
              <a:gd name="connsiteY13" fmla="*/ 0 h 3656018"/>
              <a:gd name="connsiteX0" fmla="*/ 1399387 w 1399387"/>
              <a:gd name="connsiteY0" fmla="*/ 1474949 h 3656018"/>
              <a:gd name="connsiteX1" fmla="*/ 1399387 w 1399387"/>
              <a:gd name="connsiteY1" fmla="*/ 3656018 h 3656018"/>
              <a:gd name="connsiteX2" fmla="*/ 1399387 w 1399387"/>
              <a:gd name="connsiteY2" fmla="*/ 1474949 h 3656018"/>
              <a:gd name="connsiteX3" fmla="*/ 575998 w 1399387"/>
              <a:gd name="connsiteY3" fmla="*/ 0 h 3656018"/>
              <a:gd name="connsiteX4" fmla="*/ 682386 w 1399387"/>
              <a:gd name="connsiteY4" fmla="*/ 44068 h 3656018"/>
              <a:gd name="connsiteX5" fmla="*/ 1107929 w 1399387"/>
              <a:gd name="connsiteY5" fmla="*/ 469610 h 3656018"/>
              <a:gd name="connsiteX6" fmla="*/ 1107929 w 1399387"/>
              <a:gd name="connsiteY6" fmla="*/ 682387 h 3656018"/>
              <a:gd name="connsiteX7" fmla="*/ 682386 w 1399387"/>
              <a:gd name="connsiteY7" fmla="*/ 1107930 h 3656018"/>
              <a:gd name="connsiteX8" fmla="*/ 469610 w 1399387"/>
              <a:gd name="connsiteY8" fmla="*/ 1107930 h 3656018"/>
              <a:gd name="connsiteX9" fmla="*/ 44067 w 1399387"/>
              <a:gd name="connsiteY9" fmla="*/ 682387 h 3656018"/>
              <a:gd name="connsiteX10" fmla="*/ 44067 w 1399387"/>
              <a:gd name="connsiteY10" fmla="*/ 469610 h 3656018"/>
              <a:gd name="connsiteX11" fmla="*/ 469610 w 1399387"/>
              <a:gd name="connsiteY11" fmla="*/ 44068 h 3656018"/>
              <a:gd name="connsiteX12" fmla="*/ 575998 w 1399387"/>
              <a:gd name="connsiteY12" fmla="*/ 0 h 3656018"/>
              <a:gd name="connsiteX0" fmla="*/ 575998 w 1151996"/>
              <a:gd name="connsiteY0" fmla="*/ 0 h 1151997"/>
              <a:gd name="connsiteX1" fmla="*/ 682386 w 1151996"/>
              <a:gd name="connsiteY1" fmla="*/ 44068 h 1151997"/>
              <a:gd name="connsiteX2" fmla="*/ 1107929 w 1151996"/>
              <a:gd name="connsiteY2" fmla="*/ 469610 h 1151997"/>
              <a:gd name="connsiteX3" fmla="*/ 1107929 w 1151996"/>
              <a:gd name="connsiteY3" fmla="*/ 682387 h 1151997"/>
              <a:gd name="connsiteX4" fmla="*/ 682386 w 1151996"/>
              <a:gd name="connsiteY4" fmla="*/ 1107930 h 1151997"/>
              <a:gd name="connsiteX5" fmla="*/ 469610 w 1151996"/>
              <a:gd name="connsiteY5" fmla="*/ 1107930 h 1151997"/>
              <a:gd name="connsiteX6" fmla="*/ 44067 w 1151996"/>
              <a:gd name="connsiteY6" fmla="*/ 682387 h 1151997"/>
              <a:gd name="connsiteX7" fmla="*/ 44067 w 1151996"/>
              <a:gd name="connsiteY7" fmla="*/ 469610 h 1151997"/>
              <a:gd name="connsiteX8" fmla="*/ 469610 w 1151996"/>
              <a:gd name="connsiteY8" fmla="*/ 44068 h 1151997"/>
              <a:gd name="connsiteX9" fmla="*/ 575998 w 1151996"/>
              <a:gd name="connsiteY9" fmla="*/ 0 h 1151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51996" h="1151997">
                <a:moveTo>
                  <a:pt x="575998" y="0"/>
                </a:moveTo>
                <a:cubicBezTo>
                  <a:pt x="614503" y="0"/>
                  <a:pt x="653008" y="14689"/>
                  <a:pt x="682386" y="44068"/>
                </a:cubicBezTo>
                <a:lnTo>
                  <a:pt x="1107929" y="469610"/>
                </a:lnTo>
                <a:cubicBezTo>
                  <a:pt x="1166686" y="528367"/>
                  <a:pt x="1166686" y="623630"/>
                  <a:pt x="1107929" y="682387"/>
                </a:cubicBezTo>
                <a:lnTo>
                  <a:pt x="682386" y="1107930"/>
                </a:lnTo>
                <a:cubicBezTo>
                  <a:pt x="623629" y="1166687"/>
                  <a:pt x="528367" y="1166687"/>
                  <a:pt x="469610" y="1107930"/>
                </a:cubicBezTo>
                <a:lnTo>
                  <a:pt x="44067" y="682387"/>
                </a:lnTo>
                <a:cubicBezTo>
                  <a:pt x="-14690" y="623630"/>
                  <a:pt x="-14690" y="528367"/>
                  <a:pt x="44067" y="469610"/>
                </a:cubicBezTo>
                <a:lnTo>
                  <a:pt x="469610" y="44068"/>
                </a:lnTo>
                <a:cubicBezTo>
                  <a:pt x="498988" y="14689"/>
                  <a:pt x="537493" y="0"/>
                  <a:pt x="575998" y="0"/>
                </a:cubicBez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Source Sans Pro" charset="0"/>
                <a:cs typeface="+mn-cs"/>
              </a:rPr>
              <a:t>06</a:t>
            </a:r>
          </a:p>
        </p:txBody>
      </p:sp>
      <p:sp>
        <p:nvSpPr>
          <p:cNvPr id="33" name="TextBox 13">
            <a:extLst>
              <a:ext uri="{FF2B5EF4-FFF2-40B4-BE49-F238E27FC236}">
                <a16:creationId xmlns:a16="http://schemas.microsoft.com/office/drawing/2014/main" id="{4B35BEA7-A9D5-487C-9A38-53CC9EC3F918}"/>
              </a:ext>
            </a:extLst>
          </p:cNvPr>
          <p:cNvSpPr txBox="1"/>
          <p:nvPr/>
        </p:nvSpPr>
        <p:spPr>
          <a:xfrm>
            <a:off x="4075795" y="4799109"/>
            <a:ext cx="2338080" cy="346120"/>
          </a:xfrm>
          <a:prstGeom prst="rect">
            <a:avLst/>
          </a:prstGeom>
          <a:noFill/>
        </p:spPr>
        <p:txBody>
          <a:bodyPr wrap="square" lIns="0" tIns="0" rIns="0" bIns="0" rtlCol="0" anchor="t" anchorCtr="0">
            <a:spAutoFit/>
          </a:bodyPr>
          <a:lstStyle/>
          <a:p>
            <a:pPr marL="0" marR="0" lvl="0" indent="0" algn="ctr" defTabSz="1216817" rtl="0" eaLnBrk="1" fontAlgn="auto" latinLnBrk="0" hangingPunct="1">
              <a:lnSpc>
                <a:spcPct val="120000"/>
              </a:lnSpc>
              <a:spcBef>
                <a:spcPct val="20000"/>
              </a:spcBef>
              <a:spcAft>
                <a:spcPts val="0"/>
              </a:spcAft>
              <a:buClrTx/>
              <a:buSzTx/>
              <a:buFontTx/>
              <a:buNone/>
              <a:tabLst/>
              <a:defRPr/>
            </a:pPr>
            <a:r>
              <a:rPr kumimoji="0" lang="zh-CN" altLang="en-US" sz="2000" b="1" i="0" u="none" strike="noStrike" kern="1200" cap="none" spc="0" normalizeH="0" baseline="0" noProof="0" dirty="0">
                <a:ln>
                  <a:noFill/>
                </a:ln>
                <a:solidFill>
                  <a:schemeClr val="accent1"/>
                </a:solidFill>
                <a:effectLst/>
                <a:uLnTx/>
                <a:uFillTx/>
                <a:latin typeface="Arial" panose="020B0604020202020204" pitchFamily="34" charset="0"/>
                <a:ea typeface="阿里巴巴普惠体 B" panose="00020600040101010101" pitchFamily="18" charset="-122"/>
                <a:cs typeface="+mn-cs"/>
                <a:sym typeface="Arial" panose="020B0604020202020204" pitchFamily="34" charset="0"/>
              </a:rPr>
              <a:t>单击编辑标题</a:t>
            </a:r>
            <a:endParaRPr kumimoji="0" lang="en-US" sz="2000" b="1" i="0" u="none" strike="noStrike" kern="1200" cap="none" spc="0" normalizeH="0" baseline="0" noProof="0" dirty="0">
              <a:ln>
                <a:noFill/>
              </a:ln>
              <a:solidFill>
                <a:schemeClr val="accent1"/>
              </a:solidFill>
              <a:effectLst/>
              <a:uLnTx/>
              <a:uFillTx/>
              <a:latin typeface="Arial" panose="020B0604020202020204" pitchFamily="34" charset="0"/>
              <a:ea typeface="阿里巴巴普惠体 B" panose="00020600040101010101" pitchFamily="18" charset="-122"/>
              <a:cs typeface="+mn-cs"/>
              <a:sym typeface="Arial" panose="020B0604020202020204" pitchFamily="34" charset="0"/>
            </a:endParaRPr>
          </a:p>
        </p:txBody>
      </p:sp>
      <p:sp>
        <p:nvSpPr>
          <p:cNvPr id="34" name="TextBox 13">
            <a:extLst>
              <a:ext uri="{FF2B5EF4-FFF2-40B4-BE49-F238E27FC236}">
                <a16:creationId xmlns:a16="http://schemas.microsoft.com/office/drawing/2014/main" id="{5BF3A2D3-9E56-49AF-8F89-7B2419281AC4}"/>
              </a:ext>
            </a:extLst>
          </p:cNvPr>
          <p:cNvSpPr txBox="1"/>
          <p:nvPr/>
        </p:nvSpPr>
        <p:spPr>
          <a:xfrm>
            <a:off x="4079876" y="5201126"/>
            <a:ext cx="2333999" cy="500843"/>
          </a:xfrm>
          <a:prstGeom prst="rect">
            <a:avLst/>
          </a:prstGeom>
          <a:noFill/>
        </p:spPr>
        <p:txBody>
          <a:bodyPr wrap="square" lIns="0" tIns="0" rIns="0" bIns="0" rtlCol="0" anchor="t" anchorCtr="0">
            <a:spAutoFit/>
          </a:bodyPr>
          <a:lstStyle/>
          <a:p>
            <a:pPr marL="0" marR="0" lvl="0" indent="0" algn="ctr" defTabSz="1216817" rtl="0" eaLnBrk="1" fontAlgn="auto" latinLnBrk="0" hangingPunct="1">
              <a:lnSpc>
                <a:spcPct val="120000"/>
              </a:lnSpc>
              <a:spcBef>
                <a:spcPct val="20000"/>
              </a:spcBef>
              <a:spcAft>
                <a:spcPts val="0"/>
              </a:spcAft>
              <a:buClrTx/>
              <a:buSzTx/>
              <a:buFontTx/>
              <a:buNone/>
              <a:tabLst/>
              <a:defRPr/>
            </a:pPr>
            <a:r>
              <a:rPr kumimoji="0" lang="zh-CN" altLang="en-US" sz="14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Arial" panose="020B0604020202020204" pitchFamily="34" charset="0"/>
              </a:rPr>
              <a:t>单击此处可编辑内容，根据您的需要自由拉伸文本框大小</a:t>
            </a:r>
            <a:endParaRPr kumimoji="0" lang="en-US" altLang="zh-CN" sz="14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Arial" panose="020B0604020202020204" pitchFamily="34" charset="0"/>
            </a:endParaRPr>
          </a:p>
        </p:txBody>
      </p:sp>
      <p:sp>
        <p:nvSpPr>
          <p:cNvPr id="36" name="TextBox 13">
            <a:extLst>
              <a:ext uri="{FF2B5EF4-FFF2-40B4-BE49-F238E27FC236}">
                <a16:creationId xmlns:a16="http://schemas.microsoft.com/office/drawing/2014/main" id="{C0676A19-451D-403F-9064-A5246620FEBE}"/>
              </a:ext>
            </a:extLst>
          </p:cNvPr>
          <p:cNvSpPr txBox="1"/>
          <p:nvPr/>
        </p:nvSpPr>
        <p:spPr>
          <a:xfrm>
            <a:off x="506145" y="4799109"/>
            <a:ext cx="2338080" cy="346120"/>
          </a:xfrm>
          <a:prstGeom prst="rect">
            <a:avLst/>
          </a:prstGeom>
          <a:noFill/>
        </p:spPr>
        <p:txBody>
          <a:bodyPr wrap="square" lIns="0" tIns="0" rIns="0" bIns="0" rtlCol="0" anchor="t" anchorCtr="0">
            <a:spAutoFit/>
          </a:bodyPr>
          <a:lstStyle/>
          <a:p>
            <a:pPr marL="0" marR="0" lvl="0" indent="0" algn="ctr" defTabSz="1216817" rtl="0" eaLnBrk="1" fontAlgn="auto" latinLnBrk="0" hangingPunct="1">
              <a:lnSpc>
                <a:spcPct val="120000"/>
              </a:lnSpc>
              <a:spcBef>
                <a:spcPct val="20000"/>
              </a:spcBef>
              <a:spcAft>
                <a:spcPts val="0"/>
              </a:spcAft>
              <a:buClrTx/>
              <a:buSzTx/>
              <a:buFontTx/>
              <a:buNone/>
              <a:tabLst/>
              <a:defRPr/>
            </a:pPr>
            <a:r>
              <a:rPr kumimoji="0" lang="zh-CN" altLang="en-US" sz="2000" b="1" i="0" u="none" strike="noStrike" kern="1200" cap="none" spc="0" normalizeH="0" baseline="0" noProof="0" dirty="0">
                <a:ln>
                  <a:noFill/>
                </a:ln>
                <a:solidFill>
                  <a:schemeClr val="accent1"/>
                </a:solidFill>
                <a:effectLst/>
                <a:uLnTx/>
                <a:uFillTx/>
                <a:latin typeface="Arial" panose="020B0604020202020204" pitchFamily="34" charset="0"/>
                <a:ea typeface="阿里巴巴普惠体 B" panose="00020600040101010101" pitchFamily="18" charset="-122"/>
                <a:cs typeface="+mn-cs"/>
                <a:sym typeface="Arial" panose="020B0604020202020204" pitchFamily="34" charset="0"/>
              </a:rPr>
              <a:t>单击编辑标题</a:t>
            </a:r>
            <a:endParaRPr kumimoji="0" lang="en-US" sz="2000" b="1" i="0" u="none" strike="noStrike" kern="1200" cap="none" spc="0" normalizeH="0" baseline="0" noProof="0" dirty="0">
              <a:ln>
                <a:noFill/>
              </a:ln>
              <a:solidFill>
                <a:schemeClr val="accent1"/>
              </a:solidFill>
              <a:effectLst/>
              <a:uLnTx/>
              <a:uFillTx/>
              <a:latin typeface="Arial" panose="020B0604020202020204" pitchFamily="34" charset="0"/>
              <a:ea typeface="阿里巴巴普惠体 B" panose="00020600040101010101" pitchFamily="18" charset="-122"/>
              <a:cs typeface="+mn-cs"/>
              <a:sym typeface="Arial" panose="020B0604020202020204" pitchFamily="34" charset="0"/>
            </a:endParaRPr>
          </a:p>
        </p:txBody>
      </p:sp>
      <p:sp>
        <p:nvSpPr>
          <p:cNvPr id="37" name="TextBox 13">
            <a:extLst>
              <a:ext uri="{FF2B5EF4-FFF2-40B4-BE49-F238E27FC236}">
                <a16:creationId xmlns:a16="http://schemas.microsoft.com/office/drawing/2014/main" id="{49624C46-0E73-4F7E-A21D-87817B5E5DCE}"/>
              </a:ext>
            </a:extLst>
          </p:cNvPr>
          <p:cNvSpPr txBox="1"/>
          <p:nvPr/>
        </p:nvSpPr>
        <p:spPr>
          <a:xfrm>
            <a:off x="510226" y="5201126"/>
            <a:ext cx="2333999" cy="500843"/>
          </a:xfrm>
          <a:prstGeom prst="rect">
            <a:avLst/>
          </a:prstGeom>
          <a:noFill/>
        </p:spPr>
        <p:txBody>
          <a:bodyPr wrap="square" lIns="0" tIns="0" rIns="0" bIns="0" rtlCol="0" anchor="t" anchorCtr="0">
            <a:spAutoFit/>
          </a:bodyPr>
          <a:lstStyle/>
          <a:p>
            <a:pPr marL="0" marR="0" lvl="0" indent="0" algn="ctr" defTabSz="1216817" rtl="0" eaLnBrk="1" fontAlgn="auto" latinLnBrk="0" hangingPunct="1">
              <a:lnSpc>
                <a:spcPct val="120000"/>
              </a:lnSpc>
              <a:spcBef>
                <a:spcPct val="20000"/>
              </a:spcBef>
              <a:spcAft>
                <a:spcPts val="0"/>
              </a:spcAft>
              <a:buClrTx/>
              <a:buSzTx/>
              <a:buFontTx/>
              <a:buNone/>
              <a:tabLst/>
              <a:defRPr/>
            </a:pPr>
            <a:r>
              <a:rPr kumimoji="0" lang="zh-CN" altLang="en-US" sz="14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Arial" panose="020B0604020202020204" pitchFamily="34" charset="0"/>
              </a:rPr>
              <a:t>单击此处可编辑内容，根据您的需要自由拉伸文本框大小</a:t>
            </a:r>
            <a:endParaRPr kumimoji="0" lang="en-US" altLang="zh-CN" sz="14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Arial" panose="020B0604020202020204" pitchFamily="34" charset="0"/>
            </a:endParaRPr>
          </a:p>
        </p:txBody>
      </p:sp>
      <p:sp>
        <p:nvSpPr>
          <p:cNvPr id="39" name="TextBox 13">
            <a:extLst>
              <a:ext uri="{FF2B5EF4-FFF2-40B4-BE49-F238E27FC236}">
                <a16:creationId xmlns:a16="http://schemas.microsoft.com/office/drawing/2014/main" id="{C618E0E2-F793-4932-A299-B2898F6F9331}"/>
              </a:ext>
            </a:extLst>
          </p:cNvPr>
          <p:cNvSpPr txBox="1"/>
          <p:nvPr/>
        </p:nvSpPr>
        <p:spPr>
          <a:xfrm>
            <a:off x="7645444" y="4799109"/>
            <a:ext cx="2338080" cy="346120"/>
          </a:xfrm>
          <a:prstGeom prst="rect">
            <a:avLst/>
          </a:prstGeom>
          <a:noFill/>
        </p:spPr>
        <p:txBody>
          <a:bodyPr wrap="square" lIns="0" tIns="0" rIns="0" bIns="0" rtlCol="0" anchor="t" anchorCtr="0">
            <a:spAutoFit/>
          </a:bodyPr>
          <a:lstStyle/>
          <a:p>
            <a:pPr marL="0" marR="0" lvl="0" indent="0" algn="ctr" defTabSz="1216817" rtl="0" eaLnBrk="1" fontAlgn="auto" latinLnBrk="0" hangingPunct="1">
              <a:lnSpc>
                <a:spcPct val="120000"/>
              </a:lnSpc>
              <a:spcBef>
                <a:spcPct val="20000"/>
              </a:spcBef>
              <a:spcAft>
                <a:spcPts val="0"/>
              </a:spcAft>
              <a:buClrTx/>
              <a:buSzTx/>
              <a:buFontTx/>
              <a:buNone/>
              <a:tabLst/>
              <a:defRPr/>
            </a:pPr>
            <a:r>
              <a:rPr kumimoji="0" lang="zh-CN" altLang="en-US" sz="2000" b="1" i="0" u="none" strike="noStrike" kern="1200" cap="none" spc="0" normalizeH="0" baseline="0" noProof="0" dirty="0">
                <a:ln>
                  <a:noFill/>
                </a:ln>
                <a:solidFill>
                  <a:schemeClr val="accent1"/>
                </a:solidFill>
                <a:effectLst/>
                <a:uLnTx/>
                <a:uFillTx/>
                <a:latin typeface="Arial" panose="020B0604020202020204" pitchFamily="34" charset="0"/>
                <a:ea typeface="阿里巴巴普惠体 B" panose="00020600040101010101" pitchFamily="18" charset="-122"/>
                <a:cs typeface="+mn-cs"/>
                <a:sym typeface="Arial" panose="020B0604020202020204" pitchFamily="34" charset="0"/>
              </a:rPr>
              <a:t>单击编辑标题</a:t>
            </a:r>
            <a:endParaRPr kumimoji="0" lang="en-US" sz="2000" b="1" i="0" u="none" strike="noStrike" kern="1200" cap="none" spc="0" normalizeH="0" baseline="0" noProof="0" dirty="0">
              <a:ln>
                <a:noFill/>
              </a:ln>
              <a:solidFill>
                <a:schemeClr val="accent1"/>
              </a:solidFill>
              <a:effectLst/>
              <a:uLnTx/>
              <a:uFillTx/>
              <a:latin typeface="Arial" panose="020B0604020202020204" pitchFamily="34" charset="0"/>
              <a:ea typeface="阿里巴巴普惠体 B" panose="00020600040101010101" pitchFamily="18" charset="-122"/>
              <a:cs typeface="+mn-cs"/>
              <a:sym typeface="Arial" panose="020B0604020202020204" pitchFamily="34" charset="0"/>
            </a:endParaRPr>
          </a:p>
        </p:txBody>
      </p:sp>
      <p:sp>
        <p:nvSpPr>
          <p:cNvPr id="40" name="TextBox 13">
            <a:extLst>
              <a:ext uri="{FF2B5EF4-FFF2-40B4-BE49-F238E27FC236}">
                <a16:creationId xmlns:a16="http://schemas.microsoft.com/office/drawing/2014/main" id="{348774B6-0B5F-43F4-9E3C-6D111C90521D}"/>
              </a:ext>
            </a:extLst>
          </p:cNvPr>
          <p:cNvSpPr txBox="1"/>
          <p:nvPr/>
        </p:nvSpPr>
        <p:spPr>
          <a:xfrm>
            <a:off x="7649525" y="5201126"/>
            <a:ext cx="2333999" cy="500843"/>
          </a:xfrm>
          <a:prstGeom prst="rect">
            <a:avLst/>
          </a:prstGeom>
          <a:noFill/>
        </p:spPr>
        <p:txBody>
          <a:bodyPr wrap="square" lIns="0" tIns="0" rIns="0" bIns="0" rtlCol="0" anchor="t" anchorCtr="0">
            <a:spAutoFit/>
          </a:bodyPr>
          <a:lstStyle/>
          <a:p>
            <a:pPr marL="0" marR="0" lvl="0" indent="0" algn="ctr" defTabSz="1216817" rtl="0" eaLnBrk="1" fontAlgn="auto" latinLnBrk="0" hangingPunct="1">
              <a:lnSpc>
                <a:spcPct val="120000"/>
              </a:lnSpc>
              <a:spcBef>
                <a:spcPct val="20000"/>
              </a:spcBef>
              <a:spcAft>
                <a:spcPts val="0"/>
              </a:spcAft>
              <a:buClrTx/>
              <a:buSzTx/>
              <a:buFontTx/>
              <a:buNone/>
              <a:tabLst/>
              <a:defRPr/>
            </a:pPr>
            <a:r>
              <a:rPr kumimoji="0" lang="zh-CN" altLang="en-US" sz="14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Arial" panose="020B0604020202020204" pitchFamily="34" charset="0"/>
              </a:rPr>
              <a:t>单击此处可编辑内容，根据您的需要自由拉伸文本框大小</a:t>
            </a:r>
            <a:endParaRPr kumimoji="0" lang="en-US" altLang="zh-CN" sz="14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Arial" panose="020B0604020202020204" pitchFamily="34" charset="0"/>
            </a:endParaRPr>
          </a:p>
        </p:txBody>
      </p:sp>
      <p:sp>
        <p:nvSpPr>
          <p:cNvPr id="42" name="TextBox 13">
            <a:extLst>
              <a:ext uri="{FF2B5EF4-FFF2-40B4-BE49-F238E27FC236}">
                <a16:creationId xmlns:a16="http://schemas.microsoft.com/office/drawing/2014/main" id="{220F6AF0-7EFE-4A5C-9FE8-D0D4FE44FB4E}"/>
              </a:ext>
            </a:extLst>
          </p:cNvPr>
          <p:cNvSpPr txBox="1"/>
          <p:nvPr/>
        </p:nvSpPr>
        <p:spPr>
          <a:xfrm>
            <a:off x="5732758" y="1411878"/>
            <a:ext cx="2338080" cy="346120"/>
          </a:xfrm>
          <a:prstGeom prst="rect">
            <a:avLst/>
          </a:prstGeom>
          <a:noFill/>
        </p:spPr>
        <p:txBody>
          <a:bodyPr wrap="square" lIns="0" tIns="0" rIns="0" bIns="0" rtlCol="0" anchor="t" anchorCtr="0">
            <a:spAutoFit/>
          </a:bodyPr>
          <a:lstStyle/>
          <a:p>
            <a:pPr marL="0" marR="0" lvl="0" indent="0" algn="ctr" defTabSz="1216817" rtl="0" eaLnBrk="1" fontAlgn="auto" latinLnBrk="0" hangingPunct="1">
              <a:lnSpc>
                <a:spcPct val="120000"/>
              </a:lnSpc>
              <a:spcBef>
                <a:spcPct val="20000"/>
              </a:spcBef>
              <a:spcAft>
                <a:spcPts val="0"/>
              </a:spcAft>
              <a:buClrTx/>
              <a:buSzTx/>
              <a:buFontTx/>
              <a:buNone/>
              <a:tabLst/>
              <a:defRPr/>
            </a:pPr>
            <a:r>
              <a:rPr kumimoji="0" lang="zh-CN" altLang="en-US" sz="2000" b="1" i="0" u="none" strike="noStrike" kern="1200" cap="none" spc="0" normalizeH="0" baseline="0" noProof="0" dirty="0">
                <a:ln>
                  <a:noFill/>
                </a:ln>
                <a:solidFill>
                  <a:schemeClr val="accent1"/>
                </a:solidFill>
                <a:effectLst/>
                <a:uLnTx/>
                <a:uFillTx/>
                <a:latin typeface="Arial" panose="020B0604020202020204" pitchFamily="34" charset="0"/>
                <a:ea typeface="阿里巴巴普惠体 B" panose="00020600040101010101" pitchFamily="18" charset="-122"/>
                <a:cs typeface="+mn-cs"/>
                <a:sym typeface="Arial" panose="020B0604020202020204" pitchFamily="34" charset="0"/>
              </a:rPr>
              <a:t>单击编辑标题</a:t>
            </a:r>
            <a:endParaRPr kumimoji="0" lang="en-US" sz="2000" b="1" i="0" u="none" strike="noStrike" kern="1200" cap="none" spc="0" normalizeH="0" baseline="0" noProof="0" dirty="0">
              <a:ln>
                <a:noFill/>
              </a:ln>
              <a:solidFill>
                <a:schemeClr val="accent1"/>
              </a:solidFill>
              <a:effectLst/>
              <a:uLnTx/>
              <a:uFillTx/>
              <a:latin typeface="Arial" panose="020B0604020202020204" pitchFamily="34" charset="0"/>
              <a:ea typeface="阿里巴巴普惠体 B" panose="00020600040101010101" pitchFamily="18" charset="-122"/>
              <a:cs typeface="+mn-cs"/>
              <a:sym typeface="Arial" panose="020B0604020202020204" pitchFamily="34" charset="0"/>
            </a:endParaRPr>
          </a:p>
        </p:txBody>
      </p:sp>
      <p:sp>
        <p:nvSpPr>
          <p:cNvPr id="43" name="TextBox 13">
            <a:extLst>
              <a:ext uri="{FF2B5EF4-FFF2-40B4-BE49-F238E27FC236}">
                <a16:creationId xmlns:a16="http://schemas.microsoft.com/office/drawing/2014/main" id="{88848E6B-6944-4E09-87FF-D5118F5682BF}"/>
              </a:ext>
            </a:extLst>
          </p:cNvPr>
          <p:cNvSpPr txBox="1"/>
          <p:nvPr/>
        </p:nvSpPr>
        <p:spPr>
          <a:xfrm>
            <a:off x="5736839" y="1813895"/>
            <a:ext cx="2333999" cy="500843"/>
          </a:xfrm>
          <a:prstGeom prst="rect">
            <a:avLst/>
          </a:prstGeom>
          <a:noFill/>
        </p:spPr>
        <p:txBody>
          <a:bodyPr wrap="square" lIns="0" tIns="0" rIns="0" bIns="0" rtlCol="0" anchor="t" anchorCtr="0">
            <a:spAutoFit/>
          </a:bodyPr>
          <a:lstStyle/>
          <a:p>
            <a:pPr marL="0" marR="0" lvl="0" indent="0" algn="ctr" defTabSz="1216817" rtl="0" eaLnBrk="1" fontAlgn="auto" latinLnBrk="0" hangingPunct="1">
              <a:lnSpc>
                <a:spcPct val="120000"/>
              </a:lnSpc>
              <a:spcBef>
                <a:spcPct val="20000"/>
              </a:spcBef>
              <a:spcAft>
                <a:spcPts val="0"/>
              </a:spcAft>
              <a:buClrTx/>
              <a:buSzTx/>
              <a:buFontTx/>
              <a:buNone/>
              <a:tabLst/>
              <a:defRPr/>
            </a:pPr>
            <a:r>
              <a:rPr kumimoji="0" lang="zh-CN" altLang="en-US" sz="14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Arial" panose="020B0604020202020204" pitchFamily="34" charset="0"/>
              </a:rPr>
              <a:t>单击此处可编辑内容，根据您的需要自由拉伸文本框大小</a:t>
            </a:r>
            <a:endParaRPr kumimoji="0" lang="en-US" altLang="zh-CN" sz="14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Arial" panose="020B0604020202020204" pitchFamily="34" charset="0"/>
            </a:endParaRPr>
          </a:p>
        </p:txBody>
      </p:sp>
      <p:sp>
        <p:nvSpPr>
          <p:cNvPr id="45" name="TextBox 13">
            <a:extLst>
              <a:ext uri="{FF2B5EF4-FFF2-40B4-BE49-F238E27FC236}">
                <a16:creationId xmlns:a16="http://schemas.microsoft.com/office/drawing/2014/main" id="{3D3AFB21-F706-4032-95F4-471F90742ECA}"/>
              </a:ext>
            </a:extLst>
          </p:cNvPr>
          <p:cNvSpPr txBox="1"/>
          <p:nvPr/>
        </p:nvSpPr>
        <p:spPr>
          <a:xfrm>
            <a:off x="2163108" y="1411878"/>
            <a:ext cx="2338080" cy="346120"/>
          </a:xfrm>
          <a:prstGeom prst="rect">
            <a:avLst/>
          </a:prstGeom>
          <a:noFill/>
        </p:spPr>
        <p:txBody>
          <a:bodyPr wrap="square" lIns="0" tIns="0" rIns="0" bIns="0" rtlCol="0" anchor="t" anchorCtr="0">
            <a:spAutoFit/>
          </a:bodyPr>
          <a:lstStyle/>
          <a:p>
            <a:pPr marL="0" marR="0" lvl="0" indent="0" algn="ctr" defTabSz="1216817" rtl="0" eaLnBrk="1" fontAlgn="auto" latinLnBrk="0" hangingPunct="1">
              <a:lnSpc>
                <a:spcPct val="120000"/>
              </a:lnSpc>
              <a:spcBef>
                <a:spcPct val="20000"/>
              </a:spcBef>
              <a:spcAft>
                <a:spcPts val="0"/>
              </a:spcAft>
              <a:buClrTx/>
              <a:buSzTx/>
              <a:buFontTx/>
              <a:buNone/>
              <a:tabLst/>
              <a:defRPr/>
            </a:pPr>
            <a:r>
              <a:rPr kumimoji="0" lang="zh-CN" altLang="en-US" sz="2000" b="1" i="0" u="none" strike="noStrike" kern="1200" cap="none" spc="0" normalizeH="0" baseline="0" noProof="0" dirty="0">
                <a:ln>
                  <a:noFill/>
                </a:ln>
                <a:solidFill>
                  <a:schemeClr val="accent1"/>
                </a:solidFill>
                <a:effectLst/>
                <a:uLnTx/>
                <a:uFillTx/>
                <a:latin typeface="Arial" panose="020B0604020202020204" pitchFamily="34" charset="0"/>
                <a:ea typeface="阿里巴巴普惠体 B" panose="00020600040101010101" pitchFamily="18" charset="-122"/>
                <a:cs typeface="+mn-cs"/>
                <a:sym typeface="Arial" panose="020B0604020202020204" pitchFamily="34" charset="0"/>
              </a:rPr>
              <a:t>单击编辑标题</a:t>
            </a:r>
            <a:endParaRPr kumimoji="0" lang="en-US" sz="2000" b="1" i="0" u="none" strike="noStrike" kern="1200" cap="none" spc="0" normalizeH="0" baseline="0" noProof="0" dirty="0">
              <a:ln>
                <a:noFill/>
              </a:ln>
              <a:solidFill>
                <a:schemeClr val="accent1"/>
              </a:solidFill>
              <a:effectLst/>
              <a:uLnTx/>
              <a:uFillTx/>
              <a:latin typeface="Arial" panose="020B0604020202020204" pitchFamily="34" charset="0"/>
              <a:ea typeface="阿里巴巴普惠体 B" panose="00020600040101010101" pitchFamily="18" charset="-122"/>
              <a:cs typeface="+mn-cs"/>
              <a:sym typeface="Arial" panose="020B0604020202020204" pitchFamily="34" charset="0"/>
            </a:endParaRPr>
          </a:p>
        </p:txBody>
      </p:sp>
      <p:sp>
        <p:nvSpPr>
          <p:cNvPr id="46" name="TextBox 13">
            <a:extLst>
              <a:ext uri="{FF2B5EF4-FFF2-40B4-BE49-F238E27FC236}">
                <a16:creationId xmlns:a16="http://schemas.microsoft.com/office/drawing/2014/main" id="{E6D96A58-A6ED-4124-A350-E93B21826F30}"/>
              </a:ext>
            </a:extLst>
          </p:cNvPr>
          <p:cNvSpPr txBox="1"/>
          <p:nvPr/>
        </p:nvSpPr>
        <p:spPr>
          <a:xfrm>
            <a:off x="2167189" y="1813895"/>
            <a:ext cx="2333999" cy="500843"/>
          </a:xfrm>
          <a:prstGeom prst="rect">
            <a:avLst/>
          </a:prstGeom>
          <a:noFill/>
        </p:spPr>
        <p:txBody>
          <a:bodyPr wrap="square" lIns="0" tIns="0" rIns="0" bIns="0" rtlCol="0" anchor="t" anchorCtr="0">
            <a:spAutoFit/>
          </a:bodyPr>
          <a:lstStyle/>
          <a:p>
            <a:pPr marL="0" marR="0" lvl="0" indent="0" algn="ctr" defTabSz="1216817" rtl="0" eaLnBrk="1" fontAlgn="auto" latinLnBrk="0" hangingPunct="1">
              <a:lnSpc>
                <a:spcPct val="120000"/>
              </a:lnSpc>
              <a:spcBef>
                <a:spcPct val="20000"/>
              </a:spcBef>
              <a:spcAft>
                <a:spcPts val="0"/>
              </a:spcAft>
              <a:buClrTx/>
              <a:buSzTx/>
              <a:buFontTx/>
              <a:buNone/>
              <a:tabLst/>
              <a:defRPr/>
            </a:pPr>
            <a:r>
              <a:rPr kumimoji="0" lang="zh-CN" altLang="en-US" sz="14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Arial" panose="020B0604020202020204" pitchFamily="34" charset="0"/>
              </a:rPr>
              <a:t>单击此处可编辑内容，根据您的需要自由拉伸文本框大小</a:t>
            </a:r>
            <a:endParaRPr kumimoji="0" lang="en-US" altLang="zh-CN" sz="14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Arial" panose="020B0604020202020204" pitchFamily="34" charset="0"/>
            </a:endParaRPr>
          </a:p>
        </p:txBody>
      </p:sp>
      <p:sp>
        <p:nvSpPr>
          <p:cNvPr id="48" name="TextBox 13">
            <a:extLst>
              <a:ext uri="{FF2B5EF4-FFF2-40B4-BE49-F238E27FC236}">
                <a16:creationId xmlns:a16="http://schemas.microsoft.com/office/drawing/2014/main" id="{0FF1B74E-A335-4DC8-8CD9-B0B6F40EF7DB}"/>
              </a:ext>
            </a:extLst>
          </p:cNvPr>
          <p:cNvSpPr txBox="1"/>
          <p:nvPr/>
        </p:nvSpPr>
        <p:spPr>
          <a:xfrm>
            <a:off x="9302407" y="1411878"/>
            <a:ext cx="2338080" cy="346120"/>
          </a:xfrm>
          <a:prstGeom prst="rect">
            <a:avLst/>
          </a:prstGeom>
          <a:noFill/>
        </p:spPr>
        <p:txBody>
          <a:bodyPr wrap="square" lIns="0" tIns="0" rIns="0" bIns="0" rtlCol="0" anchor="t" anchorCtr="0">
            <a:spAutoFit/>
          </a:bodyPr>
          <a:lstStyle/>
          <a:p>
            <a:pPr marL="0" marR="0" lvl="0" indent="0" algn="ctr" defTabSz="1216817" rtl="0" eaLnBrk="1" fontAlgn="auto" latinLnBrk="0" hangingPunct="1">
              <a:lnSpc>
                <a:spcPct val="120000"/>
              </a:lnSpc>
              <a:spcBef>
                <a:spcPct val="20000"/>
              </a:spcBef>
              <a:spcAft>
                <a:spcPts val="0"/>
              </a:spcAft>
              <a:buClrTx/>
              <a:buSzTx/>
              <a:buFontTx/>
              <a:buNone/>
              <a:tabLst/>
              <a:defRPr/>
            </a:pPr>
            <a:r>
              <a:rPr kumimoji="0" lang="zh-CN" altLang="en-US" sz="2000" b="1" i="0" u="none" strike="noStrike" kern="1200" cap="none" spc="0" normalizeH="0" baseline="0" noProof="0" dirty="0">
                <a:ln>
                  <a:noFill/>
                </a:ln>
                <a:solidFill>
                  <a:schemeClr val="accent1"/>
                </a:solidFill>
                <a:effectLst/>
                <a:uLnTx/>
                <a:uFillTx/>
                <a:latin typeface="Arial" panose="020B0604020202020204" pitchFamily="34" charset="0"/>
                <a:ea typeface="阿里巴巴普惠体 B" panose="00020600040101010101" pitchFamily="18" charset="-122"/>
                <a:cs typeface="+mn-cs"/>
                <a:sym typeface="Arial" panose="020B0604020202020204" pitchFamily="34" charset="0"/>
              </a:rPr>
              <a:t>单击编辑标题</a:t>
            </a:r>
            <a:endParaRPr kumimoji="0" lang="en-US" sz="2000" b="1" i="0" u="none" strike="noStrike" kern="1200" cap="none" spc="0" normalizeH="0" baseline="0" noProof="0" dirty="0">
              <a:ln>
                <a:noFill/>
              </a:ln>
              <a:solidFill>
                <a:schemeClr val="accent1"/>
              </a:solidFill>
              <a:effectLst/>
              <a:uLnTx/>
              <a:uFillTx/>
              <a:latin typeface="Arial" panose="020B0604020202020204" pitchFamily="34" charset="0"/>
              <a:ea typeface="阿里巴巴普惠体 B" panose="00020600040101010101" pitchFamily="18" charset="-122"/>
              <a:cs typeface="+mn-cs"/>
              <a:sym typeface="Arial" panose="020B0604020202020204" pitchFamily="34" charset="0"/>
            </a:endParaRPr>
          </a:p>
        </p:txBody>
      </p:sp>
      <p:sp>
        <p:nvSpPr>
          <p:cNvPr id="49" name="TextBox 13">
            <a:extLst>
              <a:ext uri="{FF2B5EF4-FFF2-40B4-BE49-F238E27FC236}">
                <a16:creationId xmlns:a16="http://schemas.microsoft.com/office/drawing/2014/main" id="{6803928B-7E77-4E74-B212-30720BC29135}"/>
              </a:ext>
            </a:extLst>
          </p:cNvPr>
          <p:cNvSpPr txBox="1"/>
          <p:nvPr/>
        </p:nvSpPr>
        <p:spPr>
          <a:xfrm>
            <a:off x="9306488" y="1813895"/>
            <a:ext cx="2333999" cy="500843"/>
          </a:xfrm>
          <a:prstGeom prst="rect">
            <a:avLst/>
          </a:prstGeom>
          <a:noFill/>
        </p:spPr>
        <p:txBody>
          <a:bodyPr wrap="square" lIns="0" tIns="0" rIns="0" bIns="0" rtlCol="0" anchor="t" anchorCtr="0">
            <a:spAutoFit/>
          </a:bodyPr>
          <a:lstStyle/>
          <a:p>
            <a:pPr marL="0" marR="0" lvl="0" indent="0" algn="ctr" defTabSz="1216817" rtl="0" eaLnBrk="1" fontAlgn="auto" latinLnBrk="0" hangingPunct="1">
              <a:lnSpc>
                <a:spcPct val="120000"/>
              </a:lnSpc>
              <a:spcBef>
                <a:spcPct val="20000"/>
              </a:spcBef>
              <a:spcAft>
                <a:spcPts val="0"/>
              </a:spcAft>
              <a:buClrTx/>
              <a:buSzTx/>
              <a:buFontTx/>
              <a:buNone/>
              <a:tabLst/>
              <a:defRPr/>
            </a:pPr>
            <a:r>
              <a:rPr kumimoji="0" lang="zh-CN" altLang="en-US" sz="14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Arial" panose="020B0604020202020204" pitchFamily="34" charset="0"/>
              </a:rPr>
              <a:t>单击此处可编辑内容，根据您的需要自由拉伸文本框大小</a:t>
            </a:r>
            <a:endParaRPr kumimoji="0" lang="en-US" altLang="zh-CN" sz="1400" b="0" i="0" u="none" strike="noStrike" kern="1200" cap="none" spc="0" normalizeH="0" baseline="0" noProof="0" dirty="0">
              <a:ln>
                <a:noFill/>
              </a:ln>
              <a:solidFill>
                <a:srgbClr val="000000"/>
              </a:solidFill>
              <a:effectLst/>
              <a:uLnTx/>
              <a:uFillTx/>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Arial" panose="020B0604020202020204" pitchFamily="34" charset="0"/>
            </a:endParaRPr>
          </a:p>
        </p:txBody>
      </p:sp>
      <p:grpSp>
        <p:nvGrpSpPr>
          <p:cNvPr id="50" name="组合 49">
            <a:extLst>
              <a:ext uri="{FF2B5EF4-FFF2-40B4-BE49-F238E27FC236}">
                <a16:creationId xmlns:a16="http://schemas.microsoft.com/office/drawing/2014/main" id="{4B72FEE9-EF79-4162-8CBD-F6BBA276E313}"/>
              </a:ext>
            </a:extLst>
          </p:cNvPr>
          <p:cNvGrpSpPr/>
          <p:nvPr/>
        </p:nvGrpSpPr>
        <p:grpSpPr>
          <a:xfrm>
            <a:off x="11582193" y="421861"/>
            <a:ext cx="128587" cy="180000"/>
            <a:chOff x="2975429" y="1451429"/>
            <a:chExt cx="128587" cy="180000"/>
          </a:xfrm>
        </p:grpSpPr>
        <p:cxnSp>
          <p:nvCxnSpPr>
            <p:cNvPr id="51" name="直接连接符 50">
              <a:extLst>
                <a:ext uri="{FF2B5EF4-FFF2-40B4-BE49-F238E27FC236}">
                  <a16:creationId xmlns:a16="http://schemas.microsoft.com/office/drawing/2014/main" id="{52F78D64-A4FF-4CFD-AF84-A4C6DC3490C1}"/>
                </a:ext>
              </a:extLst>
            </p:cNvPr>
            <p:cNvCxnSpPr>
              <a:cxnSpLocks/>
            </p:cNvCxnSpPr>
            <p:nvPr/>
          </p:nvCxnSpPr>
          <p:spPr>
            <a:xfrm flipV="1">
              <a:off x="2975429" y="1451429"/>
              <a:ext cx="0" cy="180000"/>
            </a:xfrm>
            <a:prstGeom prst="line">
              <a:avLst/>
            </a:prstGeom>
            <a:ln w="25400">
              <a:solidFill>
                <a:srgbClr val="1622FA"/>
              </a:solidFill>
            </a:ln>
          </p:spPr>
          <p:style>
            <a:lnRef idx="1">
              <a:schemeClr val="accent1"/>
            </a:lnRef>
            <a:fillRef idx="0">
              <a:schemeClr val="accent1"/>
            </a:fillRef>
            <a:effectRef idx="0">
              <a:schemeClr val="accent1"/>
            </a:effectRef>
            <a:fontRef idx="minor">
              <a:schemeClr val="tx1"/>
            </a:fontRef>
          </p:style>
        </p:cxnSp>
        <p:cxnSp>
          <p:nvCxnSpPr>
            <p:cNvPr id="52" name="直接连接符 51">
              <a:extLst>
                <a:ext uri="{FF2B5EF4-FFF2-40B4-BE49-F238E27FC236}">
                  <a16:creationId xmlns:a16="http://schemas.microsoft.com/office/drawing/2014/main" id="{6E4C610B-3501-4B05-A147-64C3E4163EF1}"/>
                </a:ext>
              </a:extLst>
            </p:cNvPr>
            <p:cNvCxnSpPr>
              <a:cxnSpLocks/>
            </p:cNvCxnSpPr>
            <p:nvPr/>
          </p:nvCxnSpPr>
          <p:spPr>
            <a:xfrm flipV="1">
              <a:off x="3039723" y="1451429"/>
              <a:ext cx="0" cy="180000"/>
            </a:xfrm>
            <a:prstGeom prst="line">
              <a:avLst/>
            </a:prstGeom>
            <a:ln w="25400">
              <a:solidFill>
                <a:srgbClr val="1622FA"/>
              </a:solidFill>
            </a:ln>
          </p:spPr>
          <p:style>
            <a:lnRef idx="1">
              <a:schemeClr val="accent1"/>
            </a:lnRef>
            <a:fillRef idx="0">
              <a:schemeClr val="accent1"/>
            </a:fillRef>
            <a:effectRef idx="0">
              <a:schemeClr val="accent1"/>
            </a:effectRef>
            <a:fontRef idx="minor">
              <a:schemeClr val="tx1"/>
            </a:fontRef>
          </p:style>
        </p:cxnSp>
        <p:cxnSp>
          <p:nvCxnSpPr>
            <p:cNvPr id="53" name="直接连接符 52">
              <a:extLst>
                <a:ext uri="{FF2B5EF4-FFF2-40B4-BE49-F238E27FC236}">
                  <a16:creationId xmlns:a16="http://schemas.microsoft.com/office/drawing/2014/main" id="{1A7D9BFE-5CBF-4BED-9703-74D7700B7C39}"/>
                </a:ext>
              </a:extLst>
            </p:cNvPr>
            <p:cNvCxnSpPr>
              <a:cxnSpLocks/>
            </p:cNvCxnSpPr>
            <p:nvPr/>
          </p:nvCxnSpPr>
          <p:spPr>
            <a:xfrm flipV="1">
              <a:off x="3104016" y="1451429"/>
              <a:ext cx="0" cy="180000"/>
            </a:xfrm>
            <a:prstGeom prst="line">
              <a:avLst/>
            </a:prstGeom>
            <a:ln w="25400">
              <a:solidFill>
                <a:srgbClr val="1622FA"/>
              </a:solidFill>
            </a:ln>
          </p:spPr>
          <p:style>
            <a:lnRef idx="1">
              <a:schemeClr val="accent1"/>
            </a:lnRef>
            <a:fillRef idx="0">
              <a:schemeClr val="accent1"/>
            </a:fillRef>
            <a:effectRef idx="0">
              <a:schemeClr val="accent1"/>
            </a:effectRef>
            <a:fontRef idx="minor">
              <a:schemeClr val="tx1"/>
            </a:fontRef>
          </p:style>
        </p:cxnSp>
      </p:grpSp>
      <p:cxnSp>
        <p:nvCxnSpPr>
          <p:cNvPr id="56" name="直接连接符 55">
            <a:extLst>
              <a:ext uri="{FF2B5EF4-FFF2-40B4-BE49-F238E27FC236}">
                <a16:creationId xmlns:a16="http://schemas.microsoft.com/office/drawing/2014/main" id="{013790FF-BA4A-4DDD-A29E-F9E24B8A180F}"/>
              </a:ext>
            </a:extLst>
          </p:cNvPr>
          <p:cNvCxnSpPr>
            <a:cxnSpLocks/>
          </p:cNvCxnSpPr>
          <p:nvPr/>
        </p:nvCxnSpPr>
        <p:spPr>
          <a:xfrm>
            <a:off x="685274" y="367861"/>
            <a:ext cx="0" cy="288000"/>
          </a:xfrm>
          <a:prstGeom prst="line">
            <a:avLst/>
          </a:prstGeom>
          <a:ln w="44450">
            <a:solidFill>
              <a:srgbClr val="1622FA"/>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95357052"/>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4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 name="Circle">
            <a:extLst>
              <a:ext uri="{FF2B5EF4-FFF2-40B4-BE49-F238E27FC236}">
                <a16:creationId xmlns:a16="http://schemas.microsoft.com/office/drawing/2014/main" id="{BAD53751-B162-4925-A3A1-75E90E7AE6C1}"/>
              </a:ext>
            </a:extLst>
          </p:cNvPr>
          <p:cNvSpPr/>
          <p:nvPr/>
        </p:nvSpPr>
        <p:spPr>
          <a:xfrm>
            <a:off x="9027364" y="1312980"/>
            <a:ext cx="253651" cy="253651"/>
          </a:xfrm>
          <a:prstGeom prst="ellipse">
            <a:avLst/>
          </a:prstGeom>
          <a:gradFill>
            <a:gsLst>
              <a:gs pos="73000">
                <a:schemeClr val="accent1"/>
              </a:gs>
              <a:gs pos="31000">
                <a:schemeClr val="accent1">
                  <a:lumMod val="60000"/>
                  <a:lumOff val="40000"/>
                </a:schemeClr>
              </a:gs>
              <a:gs pos="0">
                <a:schemeClr val="accent1">
                  <a:lumMod val="40000"/>
                  <a:lumOff val="60000"/>
                </a:schemeClr>
              </a:gs>
            </a:gsLst>
            <a:path path="circle">
              <a:fillToRect r="100000" b="100000"/>
            </a:path>
          </a:gradFill>
          <a:ln>
            <a:noFill/>
          </a:ln>
          <a:effectLst>
            <a:outerShdw blurRad="444500" dist="317500" dir="5400000" sx="92000" sy="92000" algn="t" rotWithShape="0">
              <a:schemeClr val="accent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white"/>
              </a:solidFill>
              <a:effectLst/>
              <a:uLnTx/>
              <a:uFillTx/>
              <a:latin typeface="HarmonyOS Sans SC"/>
              <a:cs typeface="+mn-cs"/>
              <a:sym typeface="Helvetica Neue Medium"/>
            </a:endParaRPr>
          </a:p>
        </p:txBody>
      </p:sp>
      <p:sp>
        <p:nvSpPr>
          <p:cNvPr id="73" name="Shape">
            <a:extLst>
              <a:ext uri="{FF2B5EF4-FFF2-40B4-BE49-F238E27FC236}">
                <a16:creationId xmlns:a16="http://schemas.microsoft.com/office/drawing/2014/main" id="{DC8F7437-6210-4846-BC56-A8C3590B0CDD}"/>
              </a:ext>
            </a:extLst>
          </p:cNvPr>
          <p:cNvSpPr/>
          <p:nvPr/>
        </p:nvSpPr>
        <p:spPr>
          <a:xfrm>
            <a:off x="9130992" y="1394306"/>
            <a:ext cx="141336" cy="160075"/>
          </a:xfrm>
          <a:custGeom>
            <a:avLst/>
            <a:gdLst/>
            <a:ahLst/>
            <a:cxnLst>
              <a:cxn ang="0">
                <a:pos x="wd2" y="hd2"/>
              </a:cxn>
              <a:cxn ang="5400000">
                <a:pos x="wd2" y="hd2"/>
              </a:cxn>
              <a:cxn ang="10800000">
                <a:pos x="wd2" y="hd2"/>
              </a:cxn>
              <a:cxn ang="16200000">
                <a:pos x="wd2" y="hd2"/>
              </a:cxn>
            </a:cxnLst>
            <a:rect l="0" t="0" r="r" b="b"/>
            <a:pathLst>
              <a:path w="21600" h="21600" extrusionOk="0">
                <a:moveTo>
                  <a:pt x="21600" y="12382"/>
                </a:moveTo>
                <a:lnTo>
                  <a:pt x="7476" y="0"/>
                </a:lnTo>
                <a:lnTo>
                  <a:pt x="1839" y="423"/>
                </a:lnTo>
                <a:lnTo>
                  <a:pt x="0" y="11189"/>
                </a:lnTo>
                <a:lnTo>
                  <a:pt x="11813" y="21600"/>
                </a:lnTo>
                <a:cubicBezTo>
                  <a:pt x="14171" y="20625"/>
                  <a:pt x="16281" y="19239"/>
                  <a:pt x="18017" y="17525"/>
                </a:cubicBezTo>
                <a:cubicBezTo>
                  <a:pt x="19549" y="16013"/>
                  <a:pt x="20762" y="14271"/>
                  <a:pt x="21600" y="12382"/>
                </a:cubicBezTo>
                <a:close/>
              </a:path>
            </a:pathLst>
          </a:custGeom>
          <a:gradFill>
            <a:gsLst>
              <a:gs pos="100000">
                <a:schemeClr val="accent1">
                  <a:lumMod val="75000"/>
                  <a:alpha val="0"/>
                </a:schemeClr>
              </a:gs>
              <a:gs pos="0">
                <a:schemeClr val="accent1">
                  <a:lumMod val="75000"/>
                </a:schemeClr>
              </a:gs>
            </a:gsLst>
            <a:path path="circle">
              <a:fillToRect r="100000" b="100000"/>
            </a:path>
          </a:gradFill>
          <a:ln w="12700">
            <a:miter lim="400000"/>
          </a:ln>
        </p:spPr>
        <p:txBody>
          <a:bodyPr lIns="0" tIns="0" rIns="0" bIns="0" anchor="ctr"/>
          <a:lstStyle/>
          <a:p>
            <a:pPr marL="0" marR="0" lvl="0" indent="0" algn="ctr" defTabSz="412750" rtl="0" eaLnBrk="1" fontAlgn="auto" latinLnBrk="0" hangingPunct="0">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FFFFF"/>
              </a:solidFill>
              <a:effectLst/>
              <a:uLnTx/>
              <a:uFillTx/>
              <a:latin typeface="HarmonyOS Sans SC"/>
              <a:cs typeface="+mn-cs"/>
              <a:sym typeface="Helvetica Neue Medium"/>
            </a:endParaRPr>
          </a:p>
        </p:txBody>
      </p:sp>
      <p:sp>
        <p:nvSpPr>
          <p:cNvPr id="74" name="Shape">
            <a:extLst>
              <a:ext uri="{FF2B5EF4-FFF2-40B4-BE49-F238E27FC236}">
                <a16:creationId xmlns:a16="http://schemas.microsoft.com/office/drawing/2014/main" id="{87F3E714-9D24-4451-8B06-47E92384202A}"/>
              </a:ext>
            </a:extLst>
          </p:cNvPr>
          <p:cNvSpPr/>
          <p:nvPr/>
        </p:nvSpPr>
        <p:spPr>
          <a:xfrm>
            <a:off x="9085521" y="1386068"/>
            <a:ext cx="66141" cy="102401"/>
          </a:xfrm>
          <a:custGeom>
            <a:avLst/>
            <a:gdLst/>
            <a:ahLst/>
            <a:cxnLst>
              <a:cxn ang="0">
                <a:pos x="wd2" y="hd2"/>
              </a:cxn>
              <a:cxn ang="5400000">
                <a:pos x="wd2" y="hd2"/>
              </a:cxn>
              <a:cxn ang="10800000">
                <a:pos x="wd2" y="hd2"/>
              </a:cxn>
              <a:cxn ang="16200000">
                <a:pos x="wd2" y="hd2"/>
              </a:cxn>
            </a:cxnLst>
            <a:rect l="0" t="0" r="r" b="b"/>
            <a:pathLst>
              <a:path w="21513" h="21551" extrusionOk="0">
                <a:moveTo>
                  <a:pt x="10424" y="5"/>
                </a:moveTo>
                <a:cubicBezTo>
                  <a:pt x="9618" y="21"/>
                  <a:pt x="8814" y="85"/>
                  <a:pt x="8018" y="179"/>
                </a:cubicBezTo>
                <a:cubicBezTo>
                  <a:pt x="6661" y="339"/>
                  <a:pt x="5327" y="591"/>
                  <a:pt x="4125" y="1030"/>
                </a:cubicBezTo>
                <a:cubicBezTo>
                  <a:pt x="2985" y="1447"/>
                  <a:pt x="1997" y="2021"/>
                  <a:pt x="1276" y="2728"/>
                </a:cubicBezTo>
                <a:cubicBezTo>
                  <a:pt x="394" y="3592"/>
                  <a:pt x="-48" y="4614"/>
                  <a:pt x="4" y="5649"/>
                </a:cubicBezTo>
                <a:lnTo>
                  <a:pt x="4" y="14717"/>
                </a:lnTo>
                <a:cubicBezTo>
                  <a:pt x="-3" y="15687"/>
                  <a:pt x="285" y="16650"/>
                  <a:pt x="858" y="17546"/>
                </a:cubicBezTo>
                <a:cubicBezTo>
                  <a:pt x="1481" y="18521"/>
                  <a:pt x="2428" y="19401"/>
                  <a:pt x="3704" y="20058"/>
                </a:cubicBezTo>
                <a:cubicBezTo>
                  <a:pt x="4575" y="20507"/>
                  <a:pt x="5575" y="20836"/>
                  <a:pt x="6622" y="21079"/>
                </a:cubicBezTo>
                <a:cubicBezTo>
                  <a:pt x="7623" y="21310"/>
                  <a:pt x="8661" y="21461"/>
                  <a:pt x="9719" y="21521"/>
                </a:cubicBezTo>
                <a:cubicBezTo>
                  <a:pt x="10897" y="21588"/>
                  <a:pt x="12086" y="21541"/>
                  <a:pt x="13248" y="21399"/>
                </a:cubicBezTo>
                <a:cubicBezTo>
                  <a:pt x="14448" y="21252"/>
                  <a:pt x="15615" y="21005"/>
                  <a:pt x="16669" y="20606"/>
                </a:cubicBezTo>
                <a:cubicBezTo>
                  <a:pt x="19055" y="19701"/>
                  <a:pt x="20635" y="18140"/>
                  <a:pt x="21227" y="16389"/>
                </a:cubicBezTo>
                <a:cubicBezTo>
                  <a:pt x="21487" y="15619"/>
                  <a:pt x="21552" y="14831"/>
                  <a:pt x="21492" y="14054"/>
                </a:cubicBezTo>
                <a:cubicBezTo>
                  <a:pt x="21434" y="13306"/>
                  <a:pt x="21258" y="12557"/>
                  <a:pt x="20870" y="11841"/>
                </a:cubicBezTo>
                <a:cubicBezTo>
                  <a:pt x="20239" y="10675"/>
                  <a:pt x="19065" y="9661"/>
                  <a:pt x="17468" y="8984"/>
                </a:cubicBezTo>
                <a:cubicBezTo>
                  <a:pt x="16384" y="8524"/>
                  <a:pt x="15149" y="8240"/>
                  <a:pt x="13877" y="8078"/>
                </a:cubicBezTo>
                <a:cubicBezTo>
                  <a:pt x="12706" y="7929"/>
                  <a:pt x="11506" y="7883"/>
                  <a:pt x="10326" y="8001"/>
                </a:cubicBezTo>
                <a:cubicBezTo>
                  <a:pt x="9678" y="8065"/>
                  <a:pt x="9044" y="8181"/>
                  <a:pt x="8447" y="8358"/>
                </a:cubicBezTo>
                <a:cubicBezTo>
                  <a:pt x="7918" y="8515"/>
                  <a:pt x="7426" y="8719"/>
                  <a:pt x="6986" y="8965"/>
                </a:cubicBezTo>
                <a:cubicBezTo>
                  <a:pt x="6923" y="9009"/>
                  <a:pt x="6826" y="9025"/>
                  <a:pt x="6739" y="9005"/>
                </a:cubicBezTo>
                <a:cubicBezTo>
                  <a:pt x="6648" y="8984"/>
                  <a:pt x="6585" y="8931"/>
                  <a:pt x="6582" y="8868"/>
                </a:cubicBezTo>
                <a:lnTo>
                  <a:pt x="6626" y="5936"/>
                </a:lnTo>
                <a:cubicBezTo>
                  <a:pt x="6608" y="5268"/>
                  <a:pt x="7063" y="4655"/>
                  <a:pt x="7815" y="4245"/>
                </a:cubicBezTo>
                <a:cubicBezTo>
                  <a:pt x="8531" y="3855"/>
                  <a:pt x="9476" y="3670"/>
                  <a:pt x="10464" y="3678"/>
                </a:cubicBezTo>
                <a:cubicBezTo>
                  <a:pt x="11361" y="3685"/>
                  <a:pt x="12222" y="3852"/>
                  <a:pt x="12899" y="4191"/>
                </a:cubicBezTo>
                <a:cubicBezTo>
                  <a:pt x="13668" y="4576"/>
                  <a:pt x="14160" y="5162"/>
                  <a:pt x="14215" y="5816"/>
                </a:cubicBezTo>
                <a:lnTo>
                  <a:pt x="14215" y="6256"/>
                </a:lnTo>
                <a:cubicBezTo>
                  <a:pt x="14199" y="6347"/>
                  <a:pt x="14244" y="6438"/>
                  <a:pt x="14339" y="6507"/>
                </a:cubicBezTo>
                <a:cubicBezTo>
                  <a:pt x="14408" y="6557"/>
                  <a:pt x="14500" y="6593"/>
                  <a:pt x="14601" y="6608"/>
                </a:cubicBezTo>
                <a:lnTo>
                  <a:pt x="20034" y="6608"/>
                </a:lnTo>
                <a:cubicBezTo>
                  <a:pt x="20183" y="6614"/>
                  <a:pt x="20330" y="6580"/>
                  <a:pt x="20441" y="6517"/>
                </a:cubicBezTo>
                <a:cubicBezTo>
                  <a:pt x="20538" y="6462"/>
                  <a:pt x="20601" y="6389"/>
                  <a:pt x="20623" y="6307"/>
                </a:cubicBezTo>
                <a:lnTo>
                  <a:pt x="20623" y="5047"/>
                </a:lnTo>
                <a:cubicBezTo>
                  <a:pt x="20644" y="4063"/>
                  <a:pt x="20135" y="3106"/>
                  <a:pt x="19180" y="2340"/>
                </a:cubicBezTo>
                <a:cubicBezTo>
                  <a:pt x="18414" y="1725"/>
                  <a:pt x="17417" y="1271"/>
                  <a:pt x="16367" y="910"/>
                </a:cubicBezTo>
                <a:cubicBezTo>
                  <a:pt x="15270" y="533"/>
                  <a:pt x="14086" y="249"/>
                  <a:pt x="12834" y="108"/>
                </a:cubicBezTo>
                <a:cubicBezTo>
                  <a:pt x="12036" y="18"/>
                  <a:pt x="11230" y="-12"/>
                  <a:pt x="10424" y="5"/>
                </a:cubicBezTo>
                <a:close/>
                <a:moveTo>
                  <a:pt x="11057" y="11458"/>
                </a:moveTo>
                <a:cubicBezTo>
                  <a:pt x="11968" y="11483"/>
                  <a:pt x="12847" y="11696"/>
                  <a:pt x="13517" y="12107"/>
                </a:cubicBezTo>
                <a:cubicBezTo>
                  <a:pt x="14142" y="12490"/>
                  <a:pt x="14511" y="13005"/>
                  <a:pt x="14728" y="13544"/>
                </a:cubicBezTo>
                <a:cubicBezTo>
                  <a:pt x="14975" y="14157"/>
                  <a:pt x="15028" y="14796"/>
                  <a:pt x="14888" y="15423"/>
                </a:cubicBezTo>
                <a:cubicBezTo>
                  <a:pt x="14785" y="16118"/>
                  <a:pt x="14276" y="16763"/>
                  <a:pt x="13467" y="17224"/>
                </a:cubicBezTo>
                <a:cubicBezTo>
                  <a:pt x="12839" y="17582"/>
                  <a:pt x="12062" y="17809"/>
                  <a:pt x="11231" y="17871"/>
                </a:cubicBezTo>
                <a:cubicBezTo>
                  <a:pt x="10329" y="17938"/>
                  <a:pt x="9422" y="17805"/>
                  <a:pt x="8640" y="17506"/>
                </a:cubicBezTo>
                <a:cubicBezTo>
                  <a:pt x="8025" y="17272"/>
                  <a:pt x="7507" y="16943"/>
                  <a:pt x="7168" y="16538"/>
                </a:cubicBezTo>
                <a:cubicBezTo>
                  <a:pt x="6641" y="15908"/>
                  <a:pt x="6592" y="15175"/>
                  <a:pt x="6651" y="14461"/>
                </a:cubicBezTo>
                <a:cubicBezTo>
                  <a:pt x="6703" y="13834"/>
                  <a:pt x="6841" y="13196"/>
                  <a:pt x="7349" y="12659"/>
                </a:cubicBezTo>
                <a:cubicBezTo>
                  <a:pt x="7956" y="12020"/>
                  <a:pt x="8996" y="11616"/>
                  <a:pt x="10141" y="11493"/>
                </a:cubicBezTo>
                <a:cubicBezTo>
                  <a:pt x="10445" y="11460"/>
                  <a:pt x="10753" y="11449"/>
                  <a:pt x="11057" y="11458"/>
                </a:cubicBezTo>
                <a:close/>
              </a:path>
            </a:pathLst>
          </a:custGeom>
          <a:solidFill>
            <a:srgbClr val="F6F6F7"/>
          </a:solidFill>
          <a:ln w="12700" cap="flat">
            <a:noFill/>
            <a:miter lim="400000"/>
          </a:ln>
          <a:effectLst/>
        </p:spPr>
        <p:txBody>
          <a:bodyPr wrap="square" lIns="0" tIns="0" rIns="0" bIns="0" numCol="1" anchor="ctr">
            <a:noAutofit/>
          </a:bodyPr>
          <a:lstStyle/>
          <a:p>
            <a:pPr marL="0" marR="0" lvl="0" indent="0" algn="ctr" defTabSz="412750" rtl="0" eaLnBrk="1" fontAlgn="auto" latinLnBrk="0" hangingPunct="0">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1600" b="0" i="0" u="none" strike="noStrike" kern="0" cap="none" spc="0" normalizeH="0" baseline="0" noProof="0">
              <a:ln>
                <a:noFill/>
              </a:ln>
              <a:solidFill>
                <a:srgbClr val="FFFFFF"/>
              </a:solidFill>
              <a:effectLst/>
              <a:uLnTx/>
              <a:uFillTx/>
              <a:latin typeface="Helvetica Neue Medium"/>
              <a:cs typeface="+mn-cs"/>
              <a:sym typeface="Helvetica Neue Medium"/>
            </a:endParaRPr>
          </a:p>
        </p:txBody>
      </p:sp>
      <p:sp>
        <p:nvSpPr>
          <p:cNvPr id="69" name="Circle">
            <a:extLst>
              <a:ext uri="{FF2B5EF4-FFF2-40B4-BE49-F238E27FC236}">
                <a16:creationId xmlns:a16="http://schemas.microsoft.com/office/drawing/2014/main" id="{6F954E1E-580F-4AD5-BC2A-B20082B49264}"/>
              </a:ext>
            </a:extLst>
          </p:cNvPr>
          <p:cNvSpPr/>
          <p:nvPr/>
        </p:nvSpPr>
        <p:spPr>
          <a:xfrm>
            <a:off x="9027364" y="2363781"/>
            <a:ext cx="253651" cy="253651"/>
          </a:xfrm>
          <a:prstGeom prst="ellipse">
            <a:avLst/>
          </a:prstGeom>
          <a:gradFill>
            <a:gsLst>
              <a:gs pos="73000">
                <a:schemeClr val="accent1"/>
              </a:gs>
              <a:gs pos="31000">
                <a:schemeClr val="accent1">
                  <a:lumMod val="60000"/>
                  <a:lumOff val="40000"/>
                </a:schemeClr>
              </a:gs>
              <a:gs pos="0">
                <a:schemeClr val="accent1">
                  <a:lumMod val="40000"/>
                  <a:lumOff val="60000"/>
                </a:schemeClr>
              </a:gs>
            </a:gsLst>
            <a:path path="circle">
              <a:fillToRect r="100000" b="100000"/>
            </a:path>
          </a:gradFill>
          <a:ln>
            <a:noFill/>
          </a:ln>
          <a:effectLst>
            <a:outerShdw blurRad="444500" dist="317500" dir="5400000" sx="92000" sy="92000" algn="t" rotWithShape="0">
              <a:schemeClr val="accent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white"/>
              </a:solidFill>
              <a:effectLst/>
              <a:uLnTx/>
              <a:uFillTx/>
              <a:latin typeface="HarmonyOS Sans SC"/>
              <a:cs typeface="+mn-cs"/>
              <a:sym typeface="Helvetica Neue Medium"/>
            </a:endParaRPr>
          </a:p>
        </p:txBody>
      </p:sp>
      <p:sp>
        <p:nvSpPr>
          <p:cNvPr id="70" name="Shape">
            <a:extLst>
              <a:ext uri="{FF2B5EF4-FFF2-40B4-BE49-F238E27FC236}">
                <a16:creationId xmlns:a16="http://schemas.microsoft.com/office/drawing/2014/main" id="{7B4344C1-18EB-4C1A-8E03-0F5E75EEA90E}"/>
              </a:ext>
            </a:extLst>
          </p:cNvPr>
          <p:cNvSpPr/>
          <p:nvPr/>
        </p:nvSpPr>
        <p:spPr>
          <a:xfrm>
            <a:off x="9126821" y="2441588"/>
            <a:ext cx="149066" cy="164695"/>
          </a:xfrm>
          <a:custGeom>
            <a:avLst/>
            <a:gdLst/>
            <a:ahLst/>
            <a:cxnLst>
              <a:cxn ang="0">
                <a:pos x="wd2" y="hd2"/>
              </a:cxn>
              <a:cxn ang="5400000">
                <a:pos x="wd2" y="hd2"/>
              </a:cxn>
              <a:cxn ang="10800000">
                <a:pos x="wd2" y="hd2"/>
              </a:cxn>
              <a:cxn ang="16200000">
                <a:pos x="wd2" y="hd2"/>
              </a:cxn>
            </a:cxnLst>
            <a:rect l="0" t="0" r="r" b="b"/>
            <a:pathLst>
              <a:path w="21600" h="21600" extrusionOk="0">
                <a:moveTo>
                  <a:pt x="21600" y="11035"/>
                </a:moveTo>
                <a:lnTo>
                  <a:pt x="9377" y="0"/>
                </a:lnTo>
                <a:lnTo>
                  <a:pt x="1479" y="1277"/>
                </a:lnTo>
                <a:lnTo>
                  <a:pt x="0" y="3228"/>
                </a:lnTo>
                <a:lnTo>
                  <a:pt x="4875" y="7698"/>
                </a:lnTo>
                <a:lnTo>
                  <a:pt x="1930" y="12899"/>
                </a:lnTo>
                <a:lnTo>
                  <a:pt x="11512" y="21600"/>
                </a:lnTo>
                <a:cubicBezTo>
                  <a:pt x="14086" y="20552"/>
                  <a:pt x="16358" y="18978"/>
                  <a:pt x="18150" y="17003"/>
                </a:cubicBezTo>
                <a:cubicBezTo>
                  <a:pt x="19740" y="15249"/>
                  <a:pt x="20915" y="13218"/>
                  <a:pt x="21600" y="11035"/>
                </a:cubicBezTo>
                <a:close/>
              </a:path>
            </a:pathLst>
          </a:custGeom>
          <a:gradFill>
            <a:gsLst>
              <a:gs pos="100000">
                <a:schemeClr val="accent1">
                  <a:lumMod val="75000"/>
                  <a:alpha val="0"/>
                </a:schemeClr>
              </a:gs>
              <a:gs pos="0">
                <a:schemeClr val="accent1">
                  <a:lumMod val="75000"/>
                </a:schemeClr>
              </a:gs>
            </a:gsLst>
            <a:path path="circle">
              <a:fillToRect r="100000" b="100000"/>
            </a:path>
          </a:gradFill>
          <a:ln w="12700">
            <a:miter lim="400000"/>
          </a:ln>
        </p:spPr>
        <p:txBody>
          <a:bodyPr lIns="0" tIns="0" rIns="0" bIns="0" anchor="ctr"/>
          <a:lstStyle/>
          <a:p>
            <a:pPr marL="0" marR="0" lvl="0" indent="0" algn="ctr" defTabSz="412750" rtl="0" eaLnBrk="1" fontAlgn="auto" latinLnBrk="0" hangingPunct="0">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FFFFF"/>
              </a:solidFill>
              <a:effectLst/>
              <a:uLnTx/>
              <a:uFillTx/>
              <a:latin typeface="HarmonyOS Sans SC"/>
              <a:cs typeface="+mn-cs"/>
              <a:sym typeface="Helvetica Neue Medium"/>
            </a:endParaRPr>
          </a:p>
        </p:txBody>
      </p:sp>
      <p:sp>
        <p:nvSpPr>
          <p:cNvPr id="71" name="Shape">
            <a:extLst>
              <a:ext uri="{FF2B5EF4-FFF2-40B4-BE49-F238E27FC236}">
                <a16:creationId xmlns:a16="http://schemas.microsoft.com/office/drawing/2014/main" id="{7A502321-D3CE-4517-9357-431D44539E29}"/>
              </a:ext>
            </a:extLst>
          </p:cNvPr>
          <p:cNvSpPr/>
          <p:nvPr/>
        </p:nvSpPr>
        <p:spPr>
          <a:xfrm>
            <a:off x="9088058" y="2440585"/>
            <a:ext cx="66028" cy="100042"/>
          </a:xfrm>
          <a:custGeom>
            <a:avLst/>
            <a:gdLst/>
            <a:ahLst/>
            <a:cxnLst>
              <a:cxn ang="0">
                <a:pos x="wd2" y="hd2"/>
              </a:cxn>
              <a:cxn ang="5400000">
                <a:pos x="wd2" y="hd2"/>
              </a:cxn>
              <a:cxn ang="10800000">
                <a:pos x="wd2" y="hd2"/>
              </a:cxn>
              <a:cxn ang="16200000">
                <a:pos x="wd2" y="hd2"/>
              </a:cxn>
            </a:cxnLst>
            <a:rect l="0" t="0" r="r" b="b"/>
            <a:pathLst>
              <a:path w="21583" h="21590" extrusionOk="0">
                <a:moveTo>
                  <a:pt x="4470" y="21065"/>
                </a:moveTo>
                <a:cubicBezTo>
                  <a:pt x="4392" y="21172"/>
                  <a:pt x="4398" y="21296"/>
                  <a:pt x="4483" y="21400"/>
                </a:cubicBezTo>
                <a:cubicBezTo>
                  <a:pt x="4573" y="21509"/>
                  <a:pt x="4741" y="21580"/>
                  <a:pt x="4928" y="21590"/>
                </a:cubicBezTo>
                <a:lnTo>
                  <a:pt x="10486" y="21590"/>
                </a:lnTo>
                <a:cubicBezTo>
                  <a:pt x="10672" y="21592"/>
                  <a:pt x="10854" y="21557"/>
                  <a:pt x="11010" y="21490"/>
                </a:cubicBezTo>
                <a:cubicBezTo>
                  <a:pt x="11184" y="21415"/>
                  <a:pt x="11314" y="21304"/>
                  <a:pt x="11382" y="21174"/>
                </a:cubicBezTo>
                <a:lnTo>
                  <a:pt x="21240" y="4277"/>
                </a:lnTo>
                <a:cubicBezTo>
                  <a:pt x="21341" y="4122"/>
                  <a:pt x="21420" y="3961"/>
                  <a:pt x="21478" y="3796"/>
                </a:cubicBezTo>
                <a:cubicBezTo>
                  <a:pt x="21537" y="3624"/>
                  <a:pt x="21573" y="3448"/>
                  <a:pt x="21583" y="3271"/>
                </a:cubicBezTo>
                <a:lnTo>
                  <a:pt x="21583" y="570"/>
                </a:lnTo>
                <a:cubicBezTo>
                  <a:pt x="21588" y="412"/>
                  <a:pt x="21492" y="260"/>
                  <a:pt x="21318" y="152"/>
                </a:cubicBezTo>
                <a:cubicBezTo>
                  <a:pt x="21157" y="52"/>
                  <a:pt x="20943" y="-2"/>
                  <a:pt x="20722" y="1"/>
                </a:cubicBezTo>
                <a:lnTo>
                  <a:pt x="761" y="1"/>
                </a:lnTo>
                <a:cubicBezTo>
                  <a:pt x="541" y="-8"/>
                  <a:pt x="326" y="50"/>
                  <a:pt x="180" y="159"/>
                </a:cubicBezTo>
                <a:cubicBezTo>
                  <a:pt x="53" y="253"/>
                  <a:pt x="-11" y="377"/>
                  <a:pt x="2" y="503"/>
                </a:cubicBezTo>
                <a:lnTo>
                  <a:pt x="2" y="5163"/>
                </a:lnTo>
                <a:cubicBezTo>
                  <a:pt x="-12" y="5287"/>
                  <a:pt x="46" y="5410"/>
                  <a:pt x="163" y="5507"/>
                </a:cubicBezTo>
                <a:cubicBezTo>
                  <a:pt x="318" y="5636"/>
                  <a:pt x="559" y="5705"/>
                  <a:pt x="806" y="5694"/>
                </a:cubicBezTo>
                <a:lnTo>
                  <a:pt x="4700" y="5694"/>
                </a:lnTo>
                <a:cubicBezTo>
                  <a:pt x="4883" y="5686"/>
                  <a:pt x="5052" y="5627"/>
                  <a:pt x="5165" y="5532"/>
                </a:cubicBezTo>
                <a:cubicBezTo>
                  <a:pt x="5244" y="5465"/>
                  <a:pt x="5291" y="5384"/>
                  <a:pt x="5298" y="5299"/>
                </a:cubicBezTo>
                <a:lnTo>
                  <a:pt x="5298" y="4026"/>
                </a:lnTo>
                <a:cubicBezTo>
                  <a:pt x="5304" y="3956"/>
                  <a:pt x="5348" y="3889"/>
                  <a:pt x="5422" y="3838"/>
                </a:cubicBezTo>
                <a:cubicBezTo>
                  <a:pt x="5500" y="3784"/>
                  <a:pt x="5607" y="3752"/>
                  <a:pt x="5720" y="3747"/>
                </a:cubicBezTo>
                <a:lnTo>
                  <a:pt x="14150" y="3747"/>
                </a:lnTo>
                <a:cubicBezTo>
                  <a:pt x="14260" y="3740"/>
                  <a:pt x="14366" y="3777"/>
                  <a:pt x="14418" y="3842"/>
                </a:cubicBezTo>
                <a:cubicBezTo>
                  <a:pt x="14458" y="3892"/>
                  <a:pt x="14459" y="3952"/>
                  <a:pt x="14420" y="4003"/>
                </a:cubicBezTo>
                <a:lnTo>
                  <a:pt x="4470" y="21065"/>
                </a:lnTo>
                <a:close/>
              </a:path>
            </a:pathLst>
          </a:custGeom>
          <a:solidFill>
            <a:srgbClr val="F6F6F7"/>
          </a:solidFill>
          <a:ln w="12700" cap="flat">
            <a:noFill/>
            <a:miter lim="400000"/>
          </a:ln>
          <a:effectLst/>
        </p:spPr>
        <p:txBody>
          <a:bodyPr wrap="square" lIns="0" tIns="0" rIns="0" bIns="0" numCol="1" anchor="ctr">
            <a:noAutofit/>
          </a:bodyPr>
          <a:lstStyle/>
          <a:p>
            <a:pPr marL="0" marR="0" lvl="0" indent="0" algn="ctr" defTabSz="412750" rtl="0" eaLnBrk="1" fontAlgn="auto" latinLnBrk="0" hangingPunct="0">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1600" b="0" i="0" u="none" strike="noStrike" kern="0" cap="none" spc="0" normalizeH="0" baseline="0" noProof="0">
              <a:ln>
                <a:noFill/>
              </a:ln>
              <a:solidFill>
                <a:srgbClr val="FFFFFF"/>
              </a:solidFill>
              <a:effectLst/>
              <a:uLnTx/>
              <a:uFillTx/>
              <a:latin typeface="Helvetica Neue Medium"/>
              <a:cs typeface="+mn-cs"/>
              <a:sym typeface="Helvetica Neue Medium"/>
            </a:endParaRPr>
          </a:p>
        </p:txBody>
      </p:sp>
      <p:sp>
        <p:nvSpPr>
          <p:cNvPr id="66" name="Circle">
            <a:extLst>
              <a:ext uri="{FF2B5EF4-FFF2-40B4-BE49-F238E27FC236}">
                <a16:creationId xmlns:a16="http://schemas.microsoft.com/office/drawing/2014/main" id="{C8EC29B6-D85A-4D4C-9EA0-748500293F7B}"/>
              </a:ext>
            </a:extLst>
          </p:cNvPr>
          <p:cNvSpPr/>
          <p:nvPr/>
        </p:nvSpPr>
        <p:spPr>
          <a:xfrm>
            <a:off x="9027364" y="3408232"/>
            <a:ext cx="253651" cy="253651"/>
          </a:xfrm>
          <a:prstGeom prst="ellipse">
            <a:avLst/>
          </a:prstGeom>
          <a:gradFill>
            <a:gsLst>
              <a:gs pos="73000">
                <a:schemeClr val="accent1"/>
              </a:gs>
              <a:gs pos="31000">
                <a:schemeClr val="accent1">
                  <a:lumMod val="60000"/>
                  <a:lumOff val="40000"/>
                </a:schemeClr>
              </a:gs>
              <a:gs pos="0">
                <a:schemeClr val="accent1">
                  <a:lumMod val="40000"/>
                  <a:lumOff val="60000"/>
                </a:schemeClr>
              </a:gs>
            </a:gsLst>
            <a:path path="circle">
              <a:fillToRect r="100000" b="100000"/>
            </a:path>
          </a:gradFill>
          <a:ln>
            <a:noFill/>
          </a:ln>
          <a:effectLst>
            <a:outerShdw blurRad="444500" dist="317500" dir="5400000" sx="92000" sy="92000" algn="t" rotWithShape="0">
              <a:schemeClr val="accent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white"/>
              </a:solidFill>
              <a:effectLst/>
              <a:uLnTx/>
              <a:uFillTx/>
              <a:latin typeface="HarmonyOS Sans SC"/>
              <a:cs typeface="+mn-cs"/>
              <a:sym typeface="Helvetica Neue Medium"/>
            </a:endParaRPr>
          </a:p>
        </p:txBody>
      </p:sp>
      <p:sp>
        <p:nvSpPr>
          <p:cNvPr id="67" name="Shape">
            <a:extLst>
              <a:ext uri="{FF2B5EF4-FFF2-40B4-BE49-F238E27FC236}">
                <a16:creationId xmlns:a16="http://schemas.microsoft.com/office/drawing/2014/main" id="{1D98DBE7-6CE0-4412-B961-80413993BAAC}"/>
              </a:ext>
            </a:extLst>
          </p:cNvPr>
          <p:cNvSpPr/>
          <p:nvPr/>
        </p:nvSpPr>
        <p:spPr>
          <a:xfrm>
            <a:off x="9133221" y="3490233"/>
            <a:ext cx="139678" cy="159473"/>
          </a:xfrm>
          <a:custGeom>
            <a:avLst/>
            <a:gdLst/>
            <a:ahLst/>
            <a:cxnLst>
              <a:cxn ang="0">
                <a:pos x="wd2" y="hd2"/>
              </a:cxn>
              <a:cxn ang="5400000">
                <a:pos x="wd2" y="hd2"/>
              </a:cxn>
              <a:cxn ang="10800000">
                <a:pos x="wd2" y="hd2"/>
              </a:cxn>
              <a:cxn ang="16200000">
                <a:pos x="wd2" y="hd2"/>
              </a:cxn>
            </a:cxnLst>
            <a:rect l="0" t="0" r="r" b="b"/>
            <a:pathLst>
              <a:path w="21600" h="21600" extrusionOk="0">
                <a:moveTo>
                  <a:pt x="21600" y="12057"/>
                </a:moveTo>
                <a:lnTo>
                  <a:pt x="7834" y="0"/>
                </a:lnTo>
                <a:lnTo>
                  <a:pt x="2428" y="76"/>
                </a:lnTo>
                <a:lnTo>
                  <a:pt x="1013" y="2102"/>
                </a:lnTo>
                <a:lnTo>
                  <a:pt x="1125" y="6808"/>
                </a:lnTo>
                <a:lnTo>
                  <a:pt x="0" y="11377"/>
                </a:lnTo>
                <a:lnTo>
                  <a:pt x="11661" y="21600"/>
                </a:lnTo>
                <a:cubicBezTo>
                  <a:pt x="14131" y="20578"/>
                  <a:pt x="16326" y="19111"/>
                  <a:pt x="18104" y="17295"/>
                </a:cubicBezTo>
                <a:cubicBezTo>
                  <a:pt x="19619" y="15747"/>
                  <a:pt x="20803" y="13973"/>
                  <a:pt x="21600" y="12057"/>
                </a:cubicBezTo>
                <a:close/>
              </a:path>
            </a:pathLst>
          </a:custGeom>
          <a:gradFill>
            <a:gsLst>
              <a:gs pos="100000">
                <a:schemeClr val="accent1">
                  <a:lumMod val="75000"/>
                  <a:alpha val="0"/>
                </a:schemeClr>
              </a:gs>
              <a:gs pos="0">
                <a:schemeClr val="accent1">
                  <a:lumMod val="75000"/>
                </a:schemeClr>
              </a:gs>
            </a:gsLst>
            <a:path path="circle">
              <a:fillToRect r="100000" b="100000"/>
            </a:path>
          </a:gradFill>
          <a:ln w="12700">
            <a:miter lim="400000"/>
          </a:ln>
        </p:spPr>
        <p:txBody>
          <a:bodyPr lIns="0" tIns="0" rIns="0" bIns="0" anchor="ctr"/>
          <a:lstStyle/>
          <a:p>
            <a:pPr marL="0" marR="0" lvl="0" indent="0" algn="ctr" defTabSz="412750" rtl="0" eaLnBrk="1" fontAlgn="auto" latinLnBrk="0" hangingPunct="0">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FFFFF"/>
              </a:solidFill>
              <a:effectLst/>
              <a:uLnTx/>
              <a:uFillTx/>
              <a:latin typeface="HarmonyOS Sans SC"/>
              <a:cs typeface="+mn-cs"/>
              <a:sym typeface="Helvetica Neue Medium"/>
            </a:endParaRPr>
          </a:p>
        </p:txBody>
      </p:sp>
      <p:sp>
        <p:nvSpPr>
          <p:cNvPr id="68" name="Shape">
            <a:extLst>
              <a:ext uri="{FF2B5EF4-FFF2-40B4-BE49-F238E27FC236}">
                <a16:creationId xmlns:a16="http://schemas.microsoft.com/office/drawing/2014/main" id="{AC004EAE-6DB5-4600-852B-807EB0D1BC10}"/>
              </a:ext>
            </a:extLst>
          </p:cNvPr>
          <p:cNvSpPr/>
          <p:nvPr/>
        </p:nvSpPr>
        <p:spPr>
          <a:xfrm>
            <a:off x="9086983" y="3481038"/>
            <a:ext cx="66410" cy="102965"/>
          </a:xfrm>
          <a:custGeom>
            <a:avLst/>
            <a:gdLst/>
            <a:ahLst/>
            <a:cxnLst>
              <a:cxn ang="0">
                <a:pos x="wd2" y="hd2"/>
              </a:cxn>
              <a:cxn ang="5400000">
                <a:pos x="wd2" y="hd2"/>
              </a:cxn>
              <a:cxn ang="10800000">
                <a:pos x="wd2" y="hd2"/>
              </a:cxn>
              <a:cxn ang="16200000">
                <a:pos x="wd2" y="hd2"/>
              </a:cxn>
            </a:cxnLst>
            <a:rect l="0" t="0" r="r" b="b"/>
            <a:pathLst>
              <a:path w="20928" h="21582" extrusionOk="0">
                <a:moveTo>
                  <a:pt x="10295" y="0"/>
                </a:moveTo>
                <a:cubicBezTo>
                  <a:pt x="8128" y="11"/>
                  <a:pt x="6097" y="332"/>
                  <a:pt x="4424" y="975"/>
                </a:cubicBezTo>
                <a:cubicBezTo>
                  <a:pt x="2828" y="1589"/>
                  <a:pt x="1584" y="2485"/>
                  <a:pt x="843" y="3589"/>
                </a:cubicBezTo>
                <a:cubicBezTo>
                  <a:pt x="-629" y="5782"/>
                  <a:pt x="142" y="8483"/>
                  <a:pt x="3273" y="10124"/>
                </a:cubicBezTo>
                <a:cubicBezTo>
                  <a:pt x="3335" y="10143"/>
                  <a:pt x="3378" y="10182"/>
                  <a:pt x="3385" y="10227"/>
                </a:cubicBezTo>
                <a:cubicBezTo>
                  <a:pt x="3393" y="10271"/>
                  <a:pt x="3366" y="10314"/>
                  <a:pt x="3315" y="10342"/>
                </a:cubicBezTo>
                <a:cubicBezTo>
                  <a:pt x="2644" y="10668"/>
                  <a:pt x="2067" y="11062"/>
                  <a:pt x="1600" y="11506"/>
                </a:cubicBezTo>
                <a:cubicBezTo>
                  <a:pt x="1171" y="11914"/>
                  <a:pt x="835" y="12364"/>
                  <a:pt x="582" y="12832"/>
                </a:cubicBezTo>
                <a:cubicBezTo>
                  <a:pt x="87" y="13749"/>
                  <a:pt x="-92" y="14739"/>
                  <a:pt x="44" y="15734"/>
                </a:cubicBezTo>
                <a:cubicBezTo>
                  <a:pt x="277" y="17449"/>
                  <a:pt x="1359" y="18996"/>
                  <a:pt x="3248" y="20048"/>
                </a:cubicBezTo>
                <a:cubicBezTo>
                  <a:pt x="5154" y="21109"/>
                  <a:pt x="7742" y="21572"/>
                  <a:pt x="10400" y="21582"/>
                </a:cubicBezTo>
                <a:cubicBezTo>
                  <a:pt x="12394" y="21590"/>
                  <a:pt x="14364" y="21340"/>
                  <a:pt x="16063" y="20777"/>
                </a:cubicBezTo>
                <a:cubicBezTo>
                  <a:pt x="17794" y="20202"/>
                  <a:pt x="19240" y="19304"/>
                  <a:pt x="20084" y="18092"/>
                </a:cubicBezTo>
                <a:cubicBezTo>
                  <a:pt x="20623" y="17319"/>
                  <a:pt x="20844" y="16483"/>
                  <a:pt x="20908" y="15649"/>
                </a:cubicBezTo>
                <a:cubicBezTo>
                  <a:pt x="20971" y="14837"/>
                  <a:pt x="20886" y="14010"/>
                  <a:pt x="20563" y="13209"/>
                </a:cubicBezTo>
                <a:cubicBezTo>
                  <a:pt x="20328" y="12624"/>
                  <a:pt x="19972" y="12068"/>
                  <a:pt x="19468" y="11574"/>
                </a:cubicBezTo>
                <a:cubicBezTo>
                  <a:pt x="18952" y="11067"/>
                  <a:pt x="18287" y="10631"/>
                  <a:pt x="17507" y="10292"/>
                </a:cubicBezTo>
                <a:cubicBezTo>
                  <a:pt x="17428" y="10275"/>
                  <a:pt x="17375" y="10225"/>
                  <a:pt x="17380" y="10171"/>
                </a:cubicBezTo>
                <a:cubicBezTo>
                  <a:pt x="17384" y="10120"/>
                  <a:pt x="17434" y="10078"/>
                  <a:pt x="17507" y="10063"/>
                </a:cubicBezTo>
                <a:cubicBezTo>
                  <a:pt x="19114" y="9318"/>
                  <a:pt x="20145" y="8279"/>
                  <a:pt x="20591" y="7154"/>
                </a:cubicBezTo>
                <a:cubicBezTo>
                  <a:pt x="20821" y="6575"/>
                  <a:pt x="20857" y="5986"/>
                  <a:pt x="20753" y="5402"/>
                </a:cubicBezTo>
                <a:cubicBezTo>
                  <a:pt x="20649" y="4813"/>
                  <a:pt x="20405" y="4232"/>
                  <a:pt x="20102" y="3664"/>
                </a:cubicBezTo>
                <a:cubicBezTo>
                  <a:pt x="19445" y="2434"/>
                  <a:pt x="18132" y="1498"/>
                  <a:pt x="16408" y="886"/>
                </a:cubicBezTo>
                <a:cubicBezTo>
                  <a:pt x="14660" y="265"/>
                  <a:pt x="12509" y="-10"/>
                  <a:pt x="10295" y="0"/>
                </a:cubicBezTo>
                <a:close/>
                <a:moveTo>
                  <a:pt x="10523" y="3624"/>
                </a:moveTo>
                <a:cubicBezTo>
                  <a:pt x="11162" y="3616"/>
                  <a:pt x="11789" y="3686"/>
                  <a:pt x="12365" y="3849"/>
                </a:cubicBezTo>
                <a:cubicBezTo>
                  <a:pt x="13110" y="4059"/>
                  <a:pt x="13750" y="4422"/>
                  <a:pt x="14154" y="4908"/>
                </a:cubicBezTo>
                <a:cubicBezTo>
                  <a:pt x="14650" y="5503"/>
                  <a:pt x="14713" y="6184"/>
                  <a:pt x="14566" y="6824"/>
                </a:cubicBezTo>
                <a:cubicBezTo>
                  <a:pt x="14425" y="7437"/>
                  <a:pt x="14125" y="8083"/>
                  <a:pt x="13383" y="8519"/>
                </a:cubicBezTo>
                <a:cubicBezTo>
                  <a:pt x="12138" y="9252"/>
                  <a:pt x="10417" y="9305"/>
                  <a:pt x="8812" y="8915"/>
                </a:cubicBezTo>
                <a:cubicBezTo>
                  <a:pt x="6945" y="8462"/>
                  <a:pt x="6123" y="7081"/>
                  <a:pt x="6414" y="5812"/>
                </a:cubicBezTo>
                <a:cubicBezTo>
                  <a:pt x="6555" y="5196"/>
                  <a:pt x="6999" y="4638"/>
                  <a:pt x="7692" y="4254"/>
                </a:cubicBezTo>
                <a:cubicBezTo>
                  <a:pt x="8299" y="3918"/>
                  <a:pt x="9069" y="3732"/>
                  <a:pt x="9883" y="3659"/>
                </a:cubicBezTo>
                <a:cubicBezTo>
                  <a:pt x="10096" y="3640"/>
                  <a:pt x="10311" y="3627"/>
                  <a:pt x="10523" y="3624"/>
                </a:cubicBezTo>
                <a:close/>
                <a:moveTo>
                  <a:pt x="10228" y="11761"/>
                </a:moveTo>
                <a:cubicBezTo>
                  <a:pt x="11551" y="11697"/>
                  <a:pt x="12862" y="12030"/>
                  <a:pt x="13661" y="12731"/>
                </a:cubicBezTo>
                <a:cubicBezTo>
                  <a:pt x="14298" y="13290"/>
                  <a:pt x="14500" y="13998"/>
                  <a:pt x="14552" y="14698"/>
                </a:cubicBezTo>
                <a:cubicBezTo>
                  <a:pt x="14599" y="15338"/>
                  <a:pt x="14525" y="15989"/>
                  <a:pt x="14112" y="16567"/>
                </a:cubicBezTo>
                <a:cubicBezTo>
                  <a:pt x="13779" y="17034"/>
                  <a:pt x="13243" y="17425"/>
                  <a:pt x="12569" y="17682"/>
                </a:cubicBezTo>
                <a:cubicBezTo>
                  <a:pt x="11862" y="17953"/>
                  <a:pt x="11046" y="18062"/>
                  <a:pt x="10231" y="18034"/>
                </a:cubicBezTo>
                <a:cubicBezTo>
                  <a:pt x="9494" y="18008"/>
                  <a:pt x="8769" y="17868"/>
                  <a:pt x="8164" y="17586"/>
                </a:cubicBezTo>
                <a:cubicBezTo>
                  <a:pt x="7688" y="17365"/>
                  <a:pt x="7308" y="17067"/>
                  <a:pt x="7041" y="16724"/>
                </a:cubicBezTo>
                <a:cubicBezTo>
                  <a:pt x="6685" y="16268"/>
                  <a:pt x="6541" y="15756"/>
                  <a:pt x="6481" y="15244"/>
                </a:cubicBezTo>
                <a:cubicBezTo>
                  <a:pt x="6417" y="14704"/>
                  <a:pt x="6443" y="14157"/>
                  <a:pt x="6685" y="13640"/>
                </a:cubicBezTo>
                <a:cubicBezTo>
                  <a:pt x="6928" y="13120"/>
                  <a:pt x="7364" y="12662"/>
                  <a:pt x="7974" y="12333"/>
                </a:cubicBezTo>
                <a:cubicBezTo>
                  <a:pt x="8600" y="11995"/>
                  <a:pt x="9391" y="11802"/>
                  <a:pt x="10228" y="11761"/>
                </a:cubicBezTo>
                <a:close/>
              </a:path>
            </a:pathLst>
          </a:custGeom>
          <a:solidFill>
            <a:srgbClr val="F6F6F7"/>
          </a:solidFill>
          <a:ln w="12700" cap="flat">
            <a:noFill/>
            <a:miter lim="400000"/>
          </a:ln>
          <a:effectLst/>
        </p:spPr>
        <p:txBody>
          <a:bodyPr wrap="square" lIns="0" tIns="0" rIns="0" bIns="0" numCol="1" anchor="ctr">
            <a:noAutofit/>
          </a:bodyPr>
          <a:lstStyle/>
          <a:p>
            <a:pPr marL="0" marR="0" lvl="0" indent="0" algn="ctr" defTabSz="412750" rtl="0" eaLnBrk="1" fontAlgn="auto" latinLnBrk="0" hangingPunct="0">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1600" b="0" i="0" u="none" strike="noStrike" kern="0" cap="none" spc="0" normalizeH="0" baseline="0" noProof="0">
              <a:ln>
                <a:noFill/>
              </a:ln>
              <a:solidFill>
                <a:srgbClr val="FFFFFF"/>
              </a:solidFill>
              <a:effectLst/>
              <a:uLnTx/>
              <a:uFillTx/>
              <a:latin typeface="Helvetica Neue Medium"/>
              <a:cs typeface="+mn-cs"/>
              <a:sym typeface="Helvetica Neue Medium"/>
            </a:endParaRPr>
          </a:p>
        </p:txBody>
      </p:sp>
      <p:sp>
        <p:nvSpPr>
          <p:cNvPr id="63" name="Circle">
            <a:extLst>
              <a:ext uri="{FF2B5EF4-FFF2-40B4-BE49-F238E27FC236}">
                <a16:creationId xmlns:a16="http://schemas.microsoft.com/office/drawing/2014/main" id="{64F06BC5-BC12-4DD3-8576-1A1075FD5FC2}"/>
              </a:ext>
            </a:extLst>
          </p:cNvPr>
          <p:cNvSpPr/>
          <p:nvPr/>
        </p:nvSpPr>
        <p:spPr>
          <a:xfrm>
            <a:off x="9027364" y="4452506"/>
            <a:ext cx="253651" cy="253651"/>
          </a:xfrm>
          <a:prstGeom prst="ellipse">
            <a:avLst/>
          </a:prstGeom>
          <a:gradFill>
            <a:gsLst>
              <a:gs pos="73000">
                <a:schemeClr val="accent1"/>
              </a:gs>
              <a:gs pos="31000">
                <a:schemeClr val="accent1">
                  <a:lumMod val="60000"/>
                  <a:lumOff val="40000"/>
                </a:schemeClr>
              </a:gs>
              <a:gs pos="0">
                <a:schemeClr val="accent1">
                  <a:lumMod val="40000"/>
                  <a:lumOff val="60000"/>
                </a:schemeClr>
              </a:gs>
            </a:gsLst>
            <a:path path="circle">
              <a:fillToRect r="100000" b="100000"/>
            </a:path>
          </a:gradFill>
          <a:ln>
            <a:noFill/>
          </a:ln>
          <a:effectLst>
            <a:outerShdw blurRad="444500" dist="317500" dir="5400000" sx="92000" sy="92000" algn="t" rotWithShape="0">
              <a:schemeClr val="accent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white"/>
              </a:solidFill>
              <a:effectLst/>
              <a:uLnTx/>
              <a:uFillTx/>
              <a:latin typeface="HarmonyOS Sans SC"/>
              <a:cs typeface="+mn-cs"/>
              <a:sym typeface="Helvetica Neue Medium"/>
            </a:endParaRPr>
          </a:p>
        </p:txBody>
      </p:sp>
      <p:sp>
        <p:nvSpPr>
          <p:cNvPr id="64" name="Shape">
            <a:extLst>
              <a:ext uri="{FF2B5EF4-FFF2-40B4-BE49-F238E27FC236}">
                <a16:creationId xmlns:a16="http://schemas.microsoft.com/office/drawing/2014/main" id="{4D82F08F-D80D-4E75-9210-420BBEA6C57D}"/>
              </a:ext>
            </a:extLst>
          </p:cNvPr>
          <p:cNvSpPr/>
          <p:nvPr/>
        </p:nvSpPr>
        <p:spPr>
          <a:xfrm>
            <a:off x="9131406" y="4531754"/>
            <a:ext cx="141270" cy="161498"/>
          </a:xfrm>
          <a:custGeom>
            <a:avLst/>
            <a:gdLst/>
            <a:ahLst/>
            <a:cxnLst>
              <a:cxn ang="0">
                <a:pos x="wd2" y="hd2"/>
              </a:cxn>
              <a:cxn ang="5400000">
                <a:pos x="wd2" y="hd2"/>
              </a:cxn>
              <a:cxn ang="10800000">
                <a:pos x="wd2" y="hd2"/>
              </a:cxn>
              <a:cxn ang="16200000">
                <a:pos x="wd2" y="hd2"/>
              </a:cxn>
            </a:cxnLst>
            <a:rect l="0" t="0" r="r" b="b"/>
            <a:pathLst>
              <a:path w="21600" h="21600" extrusionOk="0">
                <a:moveTo>
                  <a:pt x="21600" y="12403"/>
                </a:moveTo>
                <a:lnTo>
                  <a:pt x="7458" y="32"/>
                </a:lnTo>
                <a:lnTo>
                  <a:pt x="3114" y="0"/>
                </a:lnTo>
                <a:cubicBezTo>
                  <a:pt x="2369" y="927"/>
                  <a:pt x="1732" y="1918"/>
                  <a:pt x="1214" y="2956"/>
                </a:cubicBezTo>
                <a:cubicBezTo>
                  <a:pt x="677" y="4032"/>
                  <a:pt x="271" y="5153"/>
                  <a:pt x="0" y="6302"/>
                </a:cubicBezTo>
                <a:lnTo>
                  <a:pt x="2181" y="8473"/>
                </a:lnTo>
                <a:lnTo>
                  <a:pt x="185" y="11262"/>
                </a:lnTo>
                <a:lnTo>
                  <a:pt x="12004" y="21600"/>
                </a:lnTo>
                <a:cubicBezTo>
                  <a:pt x="14376" y="20598"/>
                  <a:pt x="16486" y="19178"/>
                  <a:pt x="18203" y="17430"/>
                </a:cubicBezTo>
                <a:cubicBezTo>
                  <a:pt x="19664" y="15942"/>
                  <a:pt x="20814" y="14240"/>
                  <a:pt x="21600" y="12403"/>
                </a:cubicBezTo>
                <a:close/>
              </a:path>
            </a:pathLst>
          </a:custGeom>
          <a:gradFill>
            <a:gsLst>
              <a:gs pos="100000">
                <a:schemeClr val="accent1">
                  <a:lumMod val="75000"/>
                  <a:alpha val="0"/>
                </a:schemeClr>
              </a:gs>
              <a:gs pos="0">
                <a:schemeClr val="accent1">
                  <a:lumMod val="75000"/>
                </a:schemeClr>
              </a:gs>
            </a:gsLst>
            <a:path path="circle">
              <a:fillToRect r="100000" b="100000"/>
            </a:path>
          </a:gradFill>
          <a:ln w="12700">
            <a:miter lim="400000"/>
          </a:ln>
        </p:spPr>
        <p:txBody>
          <a:bodyPr lIns="0" tIns="0" rIns="0" bIns="0" anchor="ctr"/>
          <a:lstStyle/>
          <a:p>
            <a:pPr marL="0" marR="0" lvl="0" indent="0" algn="ctr" defTabSz="412750" rtl="0" eaLnBrk="1" fontAlgn="auto" latinLnBrk="0" hangingPunct="0">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FFFFF"/>
              </a:solidFill>
              <a:effectLst/>
              <a:uLnTx/>
              <a:uFillTx/>
              <a:latin typeface="HarmonyOS Sans SC"/>
              <a:cs typeface="+mn-cs"/>
              <a:sym typeface="Helvetica Neue Medium"/>
            </a:endParaRPr>
          </a:p>
        </p:txBody>
      </p:sp>
      <p:sp>
        <p:nvSpPr>
          <p:cNvPr id="65" name="Shape">
            <a:extLst>
              <a:ext uri="{FF2B5EF4-FFF2-40B4-BE49-F238E27FC236}">
                <a16:creationId xmlns:a16="http://schemas.microsoft.com/office/drawing/2014/main" id="{D3727AF3-AF75-4843-BDF6-B19DE5835E90}"/>
              </a:ext>
            </a:extLst>
          </p:cNvPr>
          <p:cNvSpPr/>
          <p:nvPr/>
        </p:nvSpPr>
        <p:spPr>
          <a:xfrm>
            <a:off x="9085640" y="4523087"/>
            <a:ext cx="65971" cy="102343"/>
          </a:xfrm>
          <a:custGeom>
            <a:avLst/>
            <a:gdLst/>
            <a:ahLst/>
            <a:cxnLst>
              <a:cxn ang="0">
                <a:pos x="wd2" y="hd2"/>
              </a:cxn>
              <a:cxn ang="5400000">
                <a:pos x="wd2" y="hd2"/>
              </a:cxn>
              <a:cxn ang="10800000">
                <a:pos x="wd2" y="hd2"/>
              </a:cxn>
              <a:cxn ang="16200000">
                <a:pos x="wd2" y="hd2"/>
              </a:cxn>
            </a:cxnLst>
            <a:rect l="0" t="0" r="r" b="b"/>
            <a:pathLst>
              <a:path w="21531" h="21417" extrusionOk="0">
                <a:moveTo>
                  <a:pt x="10648" y="1"/>
                </a:moveTo>
                <a:cubicBezTo>
                  <a:pt x="8712" y="15"/>
                  <a:pt x="6759" y="294"/>
                  <a:pt x="5010" y="929"/>
                </a:cubicBezTo>
                <a:cubicBezTo>
                  <a:pt x="3426" y="1504"/>
                  <a:pt x="2149" y="2316"/>
                  <a:pt x="1304" y="3314"/>
                </a:cubicBezTo>
                <a:cubicBezTo>
                  <a:pt x="439" y="4337"/>
                  <a:pt x="57" y="5527"/>
                  <a:pt x="6" y="6728"/>
                </a:cubicBezTo>
                <a:cubicBezTo>
                  <a:pt x="-49" y="8015"/>
                  <a:pt x="270" y="9294"/>
                  <a:pt x="1140" y="10400"/>
                </a:cubicBezTo>
                <a:cubicBezTo>
                  <a:pt x="2032" y="11532"/>
                  <a:pt x="3477" y="12454"/>
                  <a:pt x="5327" y="13012"/>
                </a:cubicBezTo>
                <a:cubicBezTo>
                  <a:pt x="6568" y="13385"/>
                  <a:pt x="7906" y="13561"/>
                  <a:pt x="9244" y="13596"/>
                </a:cubicBezTo>
                <a:cubicBezTo>
                  <a:pt x="10590" y="13631"/>
                  <a:pt x="11961" y="13524"/>
                  <a:pt x="13216" y="13157"/>
                </a:cubicBezTo>
                <a:cubicBezTo>
                  <a:pt x="13734" y="13005"/>
                  <a:pt x="14222" y="12812"/>
                  <a:pt x="14663" y="12581"/>
                </a:cubicBezTo>
                <a:cubicBezTo>
                  <a:pt x="14698" y="12561"/>
                  <a:pt x="14745" y="12551"/>
                  <a:pt x="14791" y="12553"/>
                </a:cubicBezTo>
                <a:cubicBezTo>
                  <a:pt x="14859" y="12557"/>
                  <a:pt x="14916" y="12586"/>
                  <a:pt x="14937" y="12628"/>
                </a:cubicBezTo>
                <a:lnTo>
                  <a:pt x="14941" y="15642"/>
                </a:lnTo>
                <a:cubicBezTo>
                  <a:pt x="14923" y="16257"/>
                  <a:pt x="14501" y="16821"/>
                  <a:pt x="13810" y="17212"/>
                </a:cubicBezTo>
                <a:cubicBezTo>
                  <a:pt x="13184" y="17565"/>
                  <a:pt x="12366" y="17760"/>
                  <a:pt x="11498" y="17815"/>
                </a:cubicBezTo>
                <a:cubicBezTo>
                  <a:pt x="10457" y="17880"/>
                  <a:pt x="9441" y="17744"/>
                  <a:pt x="8649" y="17371"/>
                </a:cubicBezTo>
                <a:cubicBezTo>
                  <a:pt x="7874" y="17004"/>
                  <a:pt x="7359" y="16426"/>
                  <a:pt x="7304" y="15771"/>
                </a:cubicBezTo>
                <a:lnTo>
                  <a:pt x="7245" y="15238"/>
                </a:lnTo>
                <a:cubicBezTo>
                  <a:pt x="7254" y="15173"/>
                  <a:pt x="7228" y="15110"/>
                  <a:pt x="7172" y="15055"/>
                </a:cubicBezTo>
                <a:cubicBezTo>
                  <a:pt x="7110" y="14995"/>
                  <a:pt x="7015" y="14952"/>
                  <a:pt x="6906" y="14934"/>
                </a:cubicBezTo>
                <a:lnTo>
                  <a:pt x="1538" y="14934"/>
                </a:lnTo>
                <a:cubicBezTo>
                  <a:pt x="1353" y="14920"/>
                  <a:pt x="1167" y="14960"/>
                  <a:pt x="1034" y="15044"/>
                </a:cubicBezTo>
                <a:cubicBezTo>
                  <a:pt x="901" y="15127"/>
                  <a:pt x="834" y="15245"/>
                  <a:pt x="852" y="15364"/>
                </a:cubicBezTo>
                <a:lnTo>
                  <a:pt x="852" y="16437"/>
                </a:lnTo>
                <a:cubicBezTo>
                  <a:pt x="889" y="17271"/>
                  <a:pt x="1285" y="18071"/>
                  <a:pt x="1979" y="18757"/>
                </a:cubicBezTo>
                <a:cubicBezTo>
                  <a:pt x="2685" y="19455"/>
                  <a:pt x="3685" y="20017"/>
                  <a:pt x="4831" y="20443"/>
                </a:cubicBezTo>
                <a:cubicBezTo>
                  <a:pt x="7382" y="21392"/>
                  <a:pt x="10405" y="21586"/>
                  <a:pt x="13318" y="21287"/>
                </a:cubicBezTo>
                <a:cubicBezTo>
                  <a:pt x="14563" y="21160"/>
                  <a:pt x="15786" y="20943"/>
                  <a:pt x="16925" y="20595"/>
                </a:cubicBezTo>
                <a:cubicBezTo>
                  <a:pt x="18039" y="20255"/>
                  <a:pt x="19058" y="19792"/>
                  <a:pt x="19842" y="19180"/>
                </a:cubicBezTo>
                <a:cubicBezTo>
                  <a:pt x="20469" y="18692"/>
                  <a:pt x="20927" y="18125"/>
                  <a:pt x="21206" y="17518"/>
                </a:cubicBezTo>
                <a:cubicBezTo>
                  <a:pt x="21447" y="16996"/>
                  <a:pt x="21551" y="16451"/>
                  <a:pt x="21520" y="15907"/>
                </a:cubicBezTo>
                <a:lnTo>
                  <a:pt x="21531" y="6950"/>
                </a:lnTo>
                <a:cubicBezTo>
                  <a:pt x="21497" y="6314"/>
                  <a:pt x="21371" y="5681"/>
                  <a:pt x="21155" y="5063"/>
                </a:cubicBezTo>
                <a:cubicBezTo>
                  <a:pt x="20967" y="4523"/>
                  <a:pt x="20708" y="3991"/>
                  <a:pt x="20327" y="3490"/>
                </a:cubicBezTo>
                <a:cubicBezTo>
                  <a:pt x="19484" y="2378"/>
                  <a:pt x="18093" y="1481"/>
                  <a:pt x="16407" y="882"/>
                </a:cubicBezTo>
                <a:cubicBezTo>
                  <a:pt x="14618" y="248"/>
                  <a:pt x="12621" y="-14"/>
                  <a:pt x="10648" y="1"/>
                </a:cubicBezTo>
                <a:close/>
                <a:moveTo>
                  <a:pt x="10794" y="3604"/>
                </a:moveTo>
                <a:cubicBezTo>
                  <a:pt x="11481" y="3601"/>
                  <a:pt x="12172" y="3711"/>
                  <a:pt x="12800" y="3946"/>
                </a:cubicBezTo>
                <a:cubicBezTo>
                  <a:pt x="14566" y="4606"/>
                  <a:pt x="15203" y="5987"/>
                  <a:pt x="14962" y="7313"/>
                </a:cubicBezTo>
                <a:cubicBezTo>
                  <a:pt x="14773" y="8359"/>
                  <a:pt x="14027" y="9372"/>
                  <a:pt x="12555" y="9813"/>
                </a:cubicBezTo>
                <a:cubicBezTo>
                  <a:pt x="11619" y="10093"/>
                  <a:pt x="10602" y="10089"/>
                  <a:pt x="9638" y="9934"/>
                </a:cubicBezTo>
                <a:cubicBezTo>
                  <a:pt x="9215" y="9866"/>
                  <a:pt x="8790" y="9769"/>
                  <a:pt x="8420" y="9605"/>
                </a:cubicBezTo>
                <a:cubicBezTo>
                  <a:pt x="8011" y="9423"/>
                  <a:pt x="7689" y="9170"/>
                  <a:pt x="7424" y="8889"/>
                </a:cubicBezTo>
                <a:cubicBezTo>
                  <a:pt x="6774" y="8200"/>
                  <a:pt x="6498" y="7405"/>
                  <a:pt x="6523" y="6649"/>
                </a:cubicBezTo>
                <a:cubicBezTo>
                  <a:pt x="6549" y="5879"/>
                  <a:pt x="6892" y="5121"/>
                  <a:pt x="7716" y="4516"/>
                </a:cubicBezTo>
                <a:cubicBezTo>
                  <a:pt x="8517" y="3928"/>
                  <a:pt x="9649" y="3609"/>
                  <a:pt x="10794" y="3604"/>
                </a:cubicBezTo>
                <a:close/>
              </a:path>
            </a:pathLst>
          </a:custGeom>
          <a:solidFill>
            <a:srgbClr val="F6F6F7"/>
          </a:solidFill>
          <a:ln w="12700" cap="flat">
            <a:noFill/>
            <a:miter lim="400000"/>
          </a:ln>
          <a:effectLst/>
        </p:spPr>
        <p:txBody>
          <a:bodyPr wrap="square" lIns="0" tIns="0" rIns="0" bIns="0" numCol="1" anchor="ctr">
            <a:noAutofit/>
          </a:bodyPr>
          <a:lstStyle/>
          <a:p>
            <a:pPr marL="0" marR="0" lvl="0" indent="0" algn="ctr" defTabSz="412750" rtl="0" eaLnBrk="1" fontAlgn="auto" latinLnBrk="0" hangingPunct="0">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1600" b="0" i="0" u="none" strike="noStrike" kern="0" cap="none" spc="0" normalizeH="0" baseline="0" noProof="0">
              <a:ln>
                <a:noFill/>
              </a:ln>
              <a:solidFill>
                <a:srgbClr val="FFFFFF"/>
              </a:solidFill>
              <a:effectLst/>
              <a:uLnTx/>
              <a:uFillTx/>
              <a:latin typeface="Helvetica Neue Medium"/>
              <a:cs typeface="+mn-cs"/>
              <a:sym typeface="Helvetica Neue Medium"/>
            </a:endParaRPr>
          </a:p>
        </p:txBody>
      </p:sp>
      <p:sp>
        <p:nvSpPr>
          <p:cNvPr id="59" name="Circle">
            <a:extLst>
              <a:ext uri="{FF2B5EF4-FFF2-40B4-BE49-F238E27FC236}">
                <a16:creationId xmlns:a16="http://schemas.microsoft.com/office/drawing/2014/main" id="{43F3D456-3D24-4215-A055-D4AFABF4D589}"/>
              </a:ext>
            </a:extLst>
          </p:cNvPr>
          <p:cNvSpPr/>
          <p:nvPr/>
        </p:nvSpPr>
        <p:spPr>
          <a:xfrm>
            <a:off x="9027364" y="5500474"/>
            <a:ext cx="253651" cy="253651"/>
          </a:xfrm>
          <a:prstGeom prst="ellipse">
            <a:avLst/>
          </a:prstGeom>
          <a:gradFill>
            <a:gsLst>
              <a:gs pos="73000">
                <a:schemeClr val="accent1"/>
              </a:gs>
              <a:gs pos="31000">
                <a:schemeClr val="accent1">
                  <a:lumMod val="60000"/>
                  <a:lumOff val="40000"/>
                </a:schemeClr>
              </a:gs>
              <a:gs pos="0">
                <a:schemeClr val="accent1">
                  <a:lumMod val="40000"/>
                  <a:lumOff val="60000"/>
                </a:schemeClr>
              </a:gs>
            </a:gsLst>
            <a:path path="circle">
              <a:fillToRect r="100000" b="100000"/>
            </a:path>
          </a:gradFill>
          <a:ln>
            <a:noFill/>
          </a:ln>
          <a:effectLst>
            <a:outerShdw blurRad="444500" dist="317500" dir="5400000" sx="92000" sy="92000" algn="t" rotWithShape="0">
              <a:schemeClr val="accent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white"/>
              </a:solidFill>
              <a:effectLst/>
              <a:uLnTx/>
              <a:uFillTx/>
              <a:latin typeface="HarmonyOS Sans SC"/>
              <a:cs typeface="+mn-cs"/>
              <a:sym typeface="Helvetica Neue Medium"/>
            </a:endParaRPr>
          </a:p>
        </p:txBody>
      </p:sp>
      <p:sp>
        <p:nvSpPr>
          <p:cNvPr id="60" name="Shape">
            <a:extLst>
              <a:ext uri="{FF2B5EF4-FFF2-40B4-BE49-F238E27FC236}">
                <a16:creationId xmlns:a16="http://schemas.microsoft.com/office/drawing/2014/main" id="{43217426-F71A-43CE-8951-1DA374DF460A}"/>
              </a:ext>
            </a:extLst>
          </p:cNvPr>
          <p:cNvSpPr/>
          <p:nvPr/>
        </p:nvSpPr>
        <p:spPr>
          <a:xfrm>
            <a:off x="9092261" y="5575487"/>
            <a:ext cx="186918" cy="174881"/>
          </a:xfrm>
          <a:custGeom>
            <a:avLst/>
            <a:gdLst/>
            <a:ahLst/>
            <a:cxnLst>
              <a:cxn ang="0">
                <a:pos x="wd2" y="hd2"/>
              </a:cxn>
              <a:cxn ang="5400000">
                <a:pos x="wd2" y="hd2"/>
              </a:cxn>
              <a:cxn ang="10800000">
                <a:pos x="wd2" y="hd2"/>
              </a:cxn>
              <a:cxn ang="16200000">
                <a:pos x="wd2" y="hd2"/>
              </a:cxn>
            </a:cxnLst>
            <a:rect l="0" t="0" r="r" b="b"/>
            <a:pathLst>
              <a:path w="21600" h="21600" extrusionOk="0">
                <a:moveTo>
                  <a:pt x="21600" y="9036"/>
                </a:moveTo>
                <a:lnTo>
                  <a:pt x="13879" y="820"/>
                </a:lnTo>
                <a:lnTo>
                  <a:pt x="10779" y="1006"/>
                </a:lnTo>
                <a:lnTo>
                  <a:pt x="7639" y="3916"/>
                </a:lnTo>
                <a:lnTo>
                  <a:pt x="3975" y="0"/>
                </a:lnTo>
                <a:lnTo>
                  <a:pt x="0" y="2436"/>
                </a:lnTo>
                <a:lnTo>
                  <a:pt x="2787" y="5414"/>
                </a:lnTo>
                <a:lnTo>
                  <a:pt x="1865" y="12132"/>
                </a:lnTo>
                <a:lnTo>
                  <a:pt x="10714" y="21600"/>
                </a:lnTo>
                <a:cubicBezTo>
                  <a:pt x="13745" y="20784"/>
                  <a:pt x="16453" y="18958"/>
                  <a:pt x="18446" y="16385"/>
                </a:cubicBezTo>
                <a:cubicBezTo>
                  <a:pt x="20083" y="14274"/>
                  <a:pt x="21170" y="11739"/>
                  <a:pt x="21600" y="9036"/>
                </a:cubicBezTo>
                <a:close/>
              </a:path>
            </a:pathLst>
          </a:custGeom>
          <a:gradFill>
            <a:gsLst>
              <a:gs pos="100000">
                <a:schemeClr val="accent1">
                  <a:lumMod val="75000"/>
                  <a:alpha val="0"/>
                </a:schemeClr>
              </a:gs>
              <a:gs pos="0">
                <a:schemeClr val="accent1">
                  <a:lumMod val="75000"/>
                </a:schemeClr>
              </a:gs>
            </a:gsLst>
            <a:path path="circle">
              <a:fillToRect r="100000" b="100000"/>
            </a:path>
          </a:gradFill>
          <a:ln w="12700">
            <a:miter lim="400000"/>
          </a:ln>
        </p:spPr>
        <p:txBody>
          <a:bodyPr lIns="0" tIns="0" rIns="0" bIns="0" anchor="ctr"/>
          <a:lstStyle/>
          <a:p>
            <a:pPr marL="0" marR="0" lvl="0" indent="0" algn="ctr" defTabSz="412750" rtl="0" eaLnBrk="1" fontAlgn="auto" latinLnBrk="0" hangingPunct="0">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FFFFF"/>
              </a:solidFill>
              <a:effectLst/>
              <a:uLnTx/>
              <a:uFillTx/>
              <a:latin typeface="HarmonyOS Sans SC"/>
              <a:cs typeface="+mn-cs"/>
              <a:sym typeface="Helvetica Neue Medium"/>
            </a:endParaRPr>
          </a:p>
        </p:txBody>
      </p:sp>
      <p:sp>
        <p:nvSpPr>
          <p:cNvPr id="61" name="Shape">
            <a:extLst>
              <a:ext uri="{FF2B5EF4-FFF2-40B4-BE49-F238E27FC236}">
                <a16:creationId xmlns:a16="http://schemas.microsoft.com/office/drawing/2014/main" id="{4ED86FC9-03A8-457F-9053-0E8AE883BD7E}"/>
              </a:ext>
            </a:extLst>
          </p:cNvPr>
          <p:cNvSpPr/>
          <p:nvPr/>
        </p:nvSpPr>
        <p:spPr>
          <a:xfrm>
            <a:off x="9114977" y="5573309"/>
            <a:ext cx="68102" cy="102907"/>
          </a:xfrm>
          <a:custGeom>
            <a:avLst/>
            <a:gdLst/>
            <a:ahLst/>
            <a:cxnLst>
              <a:cxn ang="0">
                <a:pos x="wd2" y="hd2"/>
              </a:cxn>
              <a:cxn ang="5400000">
                <a:pos x="wd2" y="hd2"/>
              </a:cxn>
              <a:cxn ang="10800000">
                <a:pos x="wd2" y="hd2"/>
              </a:cxn>
              <a:cxn ang="16200000">
                <a:pos x="wd2" y="hd2"/>
              </a:cxn>
            </a:cxnLst>
            <a:rect l="0" t="0" r="r" b="b"/>
            <a:pathLst>
              <a:path w="21503" h="21508" extrusionOk="0">
                <a:moveTo>
                  <a:pt x="10787" y="2"/>
                </a:moveTo>
                <a:cubicBezTo>
                  <a:pt x="10015" y="12"/>
                  <a:pt x="9239" y="62"/>
                  <a:pt x="8473" y="147"/>
                </a:cubicBezTo>
                <a:cubicBezTo>
                  <a:pt x="7235" y="283"/>
                  <a:pt x="6018" y="509"/>
                  <a:pt x="4923" y="892"/>
                </a:cubicBezTo>
                <a:cubicBezTo>
                  <a:pt x="3853" y="1265"/>
                  <a:pt x="2917" y="1781"/>
                  <a:pt x="2143" y="2410"/>
                </a:cubicBezTo>
                <a:cubicBezTo>
                  <a:pt x="673" y="3604"/>
                  <a:pt x="-88" y="5114"/>
                  <a:pt x="8" y="6653"/>
                </a:cubicBezTo>
                <a:lnTo>
                  <a:pt x="5" y="14907"/>
                </a:lnTo>
                <a:cubicBezTo>
                  <a:pt x="-33" y="16951"/>
                  <a:pt x="1371" y="18888"/>
                  <a:pt x="3805" y="20146"/>
                </a:cubicBezTo>
                <a:cubicBezTo>
                  <a:pt x="5341" y="20940"/>
                  <a:pt x="7152" y="21315"/>
                  <a:pt x="9023" y="21444"/>
                </a:cubicBezTo>
                <a:cubicBezTo>
                  <a:pt x="10837" y="21570"/>
                  <a:pt x="12742" y="21518"/>
                  <a:pt x="14481" y="21206"/>
                </a:cubicBezTo>
                <a:cubicBezTo>
                  <a:pt x="16617" y="20824"/>
                  <a:pt x="18391" y="20045"/>
                  <a:pt x="19657" y="18868"/>
                </a:cubicBezTo>
                <a:cubicBezTo>
                  <a:pt x="20252" y="18316"/>
                  <a:pt x="20746" y="17702"/>
                  <a:pt x="21069" y="17044"/>
                </a:cubicBezTo>
                <a:cubicBezTo>
                  <a:pt x="21351" y="16468"/>
                  <a:pt x="21497" y="15863"/>
                  <a:pt x="21503" y="15265"/>
                </a:cubicBezTo>
                <a:lnTo>
                  <a:pt x="21503" y="6137"/>
                </a:lnTo>
                <a:cubicBezTo>
                  <a:pt x="21512" y="5091"/>
                  <a:pt x="21096" y="4063"/>
                  <a:pt x="20300" y="3159"/>
                </a:cubicBezTo>
                <a:cubicBezTo>
                  <a:pt x="19575" y="2337"/>
                  <a:pt x="18560" y="1645"/>
                  <a:pt x="17350" y="1130"/>
                </a:cubicBezTo>
                <a:cubicBezTo>
                  <a:pt x="15392" y="297"/>
                  <a:pt x="13103" y="-30"/>
                  <a:pt x="10787" y="2"/>
                </a:cubicBezTo>
                <a:close/>
                <a:moveTo>
                  <a:pt x="11091" y="3643"/>
                </a:moveTo>
                <a:cubicBezTo>
                  <a:pt x="12161" y="3685"/>
                  <a:pt x="13166" y="3931"/>
                  <a:pt x="13927" y="4381"/>
                </a:cubicBezTo>
                <a:cubicBezTo>
                  <a:pt x="14758" y="4871"/>
                  <a:pt x="15264" y="5580"/>
                  <a:pt x="15268" y="6350"/>
                </a:cubicBezTo>
                <a:lnTo>
                  <a:pt x="15268" y="15101"/>
                </a:lnTo>
                <a:cubicBezTo>
                  <a:pt x="15164" y="16646"/>
                  <a:pt x="13268" y="17873"/>
                  <a:pt x="10932" y="17906"/>
                </a:cubicBezTo>
                <a:cubicBezTo>
                  <a:pt x="8475" y="17941"/>
                  <a:pt x="6437" y="16659"/>
                  <a:pt x="6366" y="15033"/>
                </a:cubicBezTo>
                <a:lnTo>
                  <a:pt x="6366" y="6506"/>
                </a:lnTo>
                <a:cubicBezTo>
                  <a:pt x="6284" y="5631"/>
                  <a:pt x="6852" y="4822"/>
                  <a:pt x="7813" y="4297"/>
                </a:cubicBezTo>
                <a:cubicBezTo>
                  <a:pt x="8696" y="3814"/>
                  <a:pt x="9868" y="3595"/>
                  <a:pt x="11091" y="3643"/>
                </a:cubicBezTo>
                <a:close/>
              </a:path>
            </a:pathLst>
          </a:custGeom>
          <a:solidFill>
            <a:srgbClr val="F6F6F7"/>
          </a:solidFill>
          <a:ln w="12700" cap="flat">
            <a:noFill/>
            <a:miter lim="400000"/>
          </a:ln>
          <a:effectLst/>
        </p:spPr>
        <p:txBody>
          <a:bodyPr wrap="square" lIns="0" tIns="0" rIns="0" bIns="0" numCol="1" anchor="ctr">
            <a:noAutofit/>
          </a:bodyPr>
          <a:lstStyle/>
          <a:p>
            <a:pPr marL="0" marR="0" lvl="0" indent="0" algn="ctr" defTabSz="412750" rtl="0" eaLnBrk="1" fontAlgn="auto" latinLnBrk="0" hangingPunct="0">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1600" b="0" i="0" u="none" strike="noStrike" kern="0" cap="none" spc="0" normalizeH="0" baseline="0" noProof="0">
              <a:ln>
                <a:noFill/>
              </a:ln>
              <a:solidFill>
                <a:srgbClr val="FFFFFF"/>
              </a:solidFill>
              <a:effectLst/>
              <a:uLnTx/>
              <a:uFillTx/>
              <a:latin typeface="Helvetica Neue Medium"/>
              <a:cs typeface="+mn-cs"/>
              <a:sym typeface="Helvetica Neue Medium"/>
            </a:endParaRPr>
          </a:p>
        </p:txBody>
      </p:sp>
      <p:sp>
        <p:nvSpPr>
          <p:cNvPr id="24" name="Line">
            <a:extLst>
              <a:ext uri="{FF2B5EF4-FFF2-40B4-BE49-F238E27FC236}">
                <a16:creationId xmlns:a16="http://schemas.microsoft.com/office/drawing/2014/main" id="{A06649CE-1938-4FA4-8378-3703FE8D4131}"/>
              </a:ext>
            </a:extLst>
          </p:cNvPr>
          <p:cNvSpPr/>
          <p:nvPr/>
        </p:nvSpPr>
        <p:spPr>
          <a:xfrm>
            <a:off x="3664892" y="1333303"/>
            <a:ext cx="4871806" cy="4880183"/>
          </a:xfrm>
          <a:custGeom>
            <a:avLst/>
            <a:gdLst/>
            <a:ahLst/>
            <a:cxnLst>
              <a:cxn ang="0">
                <a:pos x="wd2" y="hd2"/>
              </a:cxn>
              <a:cxn ang="5400000">
                <a:pos x="wd2" y="hd2"/>
              </a:cxn>
              <a:cxn ang="10800000">
                <a:pos x="wd2" y="hd2"/>
              </a:cxn>
              <a:cxn ang="16200000">
                <a:pos x="wd2" y="hd2"/>
              </a:cxn>
            </a:cxnLst>
            <a:rect l="0" t="0" r="r" b="b"/>
            <a:pathLst>
              <a:path w="20515" h="19387" extrusionOk="0">
                <a:moveTo>
                  <a:pt x="6420" y="679"/>
                </a:moveTo>
                <a:cubicBezTo>
                  <a:pt x="8599" y="-107"/>
                  <a:pt x="10771" y="-176"/>
                  <a:pt x="12741" y="295"/>
                </a:cubicBezTo>
                <a:cubicBezTo>
                  <a:pt x="14611" y="742"/>
                  <a:pt x="16301" y="1679"/>
                  <a:pt x="17621" y="2962"/>
                </a:cubicBezTo>
                <a:cubicBezTo>
                  <a:pt x="20313" y="5578"/>
                  <a:pt x="21425" y="9585"/>
                  <a:pt x="19665" y="13533"/>
                </a:cubicBezTo>
                <a:cubicBezTo>
                  <a:pt x="16906" y="19723"/>
                  <a:pt x="8401" y="21424"/>
                  <a:pt x="3112" y="16598"/>
                </a:cubicBezTo>
                <a:cubicBezTo>
                  <a:pt x="1297" y="14943"/>
                  <a:pt x="264" y="12786"/>
                  <a:pt x="45" y="10566"/>
                </a:cubicBezTo>
                <a:cubicBezTo>
                  <a:pt x="-175" y="8346"/>
                  <a:pt x="418" y="6058"/>
                  <a:pt x="1883" y="4118"/>
                </a:cubicBezTo>
              </a:path>
            </a:pathLst>
          </a:custGeom>
          <a:ln w="25400">
            <a:solidFill>
              <a:schemeClr val="accent1">
                <a:lumMod val="20000"/>
                <a:lumOff val="80000"/>
              </a:schemeClr>
            </a:solidFill>
            <a:miter lim="400000"/>
            <a:tailEnd type="triangle"/>
          </a:ln>
        </p:spPr>
        <p:txBody>
          <a:bodyPr lIns="0" tIns="0" rIns="0" bIns="0" anchor="ctr"/>
          <a:lstStyle/>
          <a:p>
            <a:pPr marL="0" marR="0" lvl="0" indent="0" algn="ctr" defTabSz="412750" rtl="0" eaLnBrk="1" fontAlgn="auto" latinLnBrk="0" hangingPunct="0">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1600" b="0" i="0" u="none" strike="noStrike" kern="0" cap="none" spc="0" normalizeH="0" baseline="0" noProof="0">
              <a:ln>
                <a:noFill/>
              </a:ln>
              <a:solidFill>
                <a:srgbClr val="FFFFFF"/>
              </a:solidFill>
              <a:effectLst/>
              <a:uLnTx/>
              <a:uFillTx/>
              <a:latin typeface="HarmonyOS Sans SC Black"/>
              <a:ea typeface="+mj-ea"/>
              <a:cs typeface="+mn-cs"/>
              <a:sym typeface="Helvetica Neue Medium"/>
            </a:endParaRPr>
          </a:p>
        </p:txBody>
      </p:sp>
      <p:sp>
        <p:nvSpPr>
          <p:cNvPr id="36" name="Start Process">
            <a:extLst>
              <a:ext uri="{FF2B5EF4-FFF2-40B4-BE49-F238E27FC236}">
                <a16:creationId xmlns:a16="http://schemas.microsoft.com/office/drawing/2014/main" id="{159CC4C0-311C-4470-A1CC-F4D96C97B53A}"/>
              </a:ext>
            </a:extLst>
          </p:cNvPr>
          <p:cNvSpPr txBox="1"/>
          <p:nvPr/>
        </p:nvSpPr>
        <p:spPr>
          <a:xfrm rot="19249539">
            <a:off x="4032881" y="1672962"/>
            <a:ext cx="1082154" cy="436017"/>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25400" tIns="25400" rIns="25400" bIns="25400">
            <a:spAutoFit/>
          </a:bodyPr>
          <a:lstStyle>
            <a:lvl1pPr>
              <a:defRPr sz="2500" b="0">
                <a:solidFill>
                  <a:srgbClr val="545453"/>
                </a:solidFill>
                <a:latin typeface="Barlow SemiBold"/>
                <a:ea typeface="Barlow SemiBold"/>
                <a:cs typeface="Barlow SemiBold"/>
                <a:sym typeface="Barlow SemiBold"/>
              </a:defRPr>
            </a:lvl1pPr>
          </a:lstStyle>
          <a:p>
            <a:pPr marL="0" marR="0" lvl="0" indent="0" algn="ctr" defTabSz="412750" rtl="0" eaLnBrk="1" fontAlgn="auto" latinLnBrk="0" hangingPunct="0">
              <a:lnSpc>
                <a:spcPct val="100000"/>
              </a:lnSpc>
              <a:spcBef>
                <a:spcPts val="0"/>
              </a:spcBef>
              <a:spcAft>
                <a:spcPts val="0"/>
              </a:spcAft>
              <a:buClrTx/>
              <a:buSzTx/>
              <a:buFontTx/>
              <a:buNone/>
              <a:tabLst/>
              <a:defRPr/>
            </a:pPr>
            <a:r>
              <a:rPr kumimoji="0" sz="1250" b="0" i="0" u="none" strike="noStrike" kern="0" cap="none" spc="0" normalizeH="0" baseline="0" noProof="0" dirty="0">
                <a:ln>
                  <a:noFill/>
                </a:ln>
                <a:solidFill>
                  <a:prstClr val="black">
                    <a:lumMod val="75000"/>
                    <a:lumOff val="25000"/>
                  </a:prstClr>
                </a:solidFill>
                <a:effectLst/>
                <a:uLnTx/>
                <a:uFillTx/>
                <a:latin typeface="HarmonyOS Sans SC Black"/>
                <a:ea typeface="+mj-ea"/>
                <a:sym typeface="Barlow SemiBold"/>
              </a:rPr>
              <a:t>Start Process</a:t>
            </a:r>
          </a:p>
        </p:txBody>
      </p:sp>
      <p:sp>
        <p:nvSpPr>
          <p:cNvPr id="37" name="Finish">
            <a:extLst>
              <a:ext uri="{FF2B5EF4-FFF2-40B4-BE49-F238E27FC236}">
                <a16:creationId xmlns:a16="http://schemas.microsoft.com/office/drawing/2014/main" id="{2DF7ED31-DC65-4888-9FD7-AE5560E25850}"/>
              </a:ext>
            </a:extLst>
          </p:cNvPr>
          <p:cNvSpPr txBox="1"/>
          <p:nvPr/>
        </p:nvSpPr>
        <p:spPr>
          <a:xfrm rot="17957444">
            <a:off x="3361106" y="2375129"/>
            <a:ext cx="679649" cy="24365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25400" tIns="25400" rIns="25400" bIns="25400">
            <a:spAutoFit/>
          </a:bodyPr>
          <a:lstStyle>
            <a:lvl1pPr>
              <a:defRPr sz="2500" b="0">
                <a:solidFill>
                  <a:srgbClr val="545453"/>
                </a:solidFill>
                <a:latin typeface="Barlow SemiBold"/>
                <a:ea typeface="Barlow SemiBold"/>
                <a:cs typeface="Barlow SemiBold"/>
                <a:sym typeface="Barlow SemiBold"/>
              </a:defRPr>
            </a:lvl1pPr>
          </a:lstStyle>
          <a:p>
            <a:pPr marL="0" marR="0" lvl="0" indent="0" algn="ctr" defTabSz="412750" rtl="0" eaLnBrk="1" fontAlgn="auto" latinLnBrk="0" hangingPunct="0">
              <a:lnSpc>
                <a:spcPct val="100000"/>
              </a:lnSpc>
              <a:spcBef>
                <a:spcPts val="0"/>
              </a:spcBef>
              <a:spcAft>
                <a:spcPts val="0"/>
              </a:spcAft>
              <a:buClrTx/>
              <a:buSzTx/>
              <a:buFontTx/>
              <a:buNone/>
              <a:tabLst/>
              <a:defRPr/>
            </a:pPr>
            <a:r>
              <a:rPr kumimoji="0" sz="1250" b="0" i="0" u="none" strike="noStrike" kern="0" cap="none" spc="0" normalizeH="0" baseline="0" noProof="0" dirty="0">
                <a:ln>
                  <a:noFill/>
                </a:ln>
                <a:solidFill>
                  <a:prstClr val="black">
                    <a:lumMod val="75000"/>
                    <a:lumOff val="25000"/>
                  </a:prstClr>
                </a:solidFill>
                <a:effectLst/>
                <a:uLnTx/>
                <a:uFillTx/>
                <a:latin typeface="HarmonyOS Sans SC Black"/>
                <a:ea typeface="+mj-ea"/>
                <a:sym typeface="Barlow SemiBold"/>
              </a:rPr>
              <a:t>Finish</a:t>
            </a:r>
          </a:p>
        </p:txBody>
      </p:sp>
      <p:sp>
        <p:nvSpPr>
          <p:cNvPr id="3" name="Shape">
            <a:extLst>
              <a:ext uri="{FF2B5EF4-FFF2-40B4-BE49-F238E27FC236}">
                <a16:creationId xmlns:a16="http://schemas.microsoft.com/office/drawing/2014/main" id="{B0713C45-E70F-4CE4-B7B4-62879187800A}"/>
              </a:ext>
            </a:extLst>
          </p:cNvPr>
          <p:cNvSpPr/>
          <p:nvPr/>
        </p:nvSpPr>
        <p:spPr>
          <a:xfrm>
            <a:off x="4862009" y="1661049"/>
            <a:ext cx="1240946" cy="1010707"/>
          </a:xfrm>
          <a:custGeom>
            <a:avLst/>
            <a:gdLst/>
            <a:ahLst/>
            <a:cxnLst>
              <a:cxn ang="0">
                <a:pos x="wd2" y="hd2"/>
              </a:cxn>
              <a:cxn ang="5400000">
                <a:pos x="wd2" y="hd2"/>
              </a:cxn>
              <a:cxn ang="10800000">
                <a:pos x="wd2" y="hd2"/>
              </a:cxn>
              <a:cxn ang="16200000">
                <a:pos x="wd2" y="hd2"/>
              </a:cxn>
            </a:cxnLst>
            <a:rect l="0" t="0" r="r" b="b"/>
            <a:pathLst>
              <a:path w="21600" h="21580" extrusionOk="0">
                <a:moveTo>
                  <a:pt x="0" y="8575"/>
                </a:moveTo>
                <a:cubicBezTo>
                  <a:pt x="3041" y="5853"/>
                  <a:pt x="6409" y="3727"/>
                  <a:pt x="9982" y="2273"/>
                </a:cubicBezTo>
                <a:cubicBezTo>
                  <a:pt x="13729" y="747"/>
                  <a:pt x="17653" y="-20"/>
                  <a:pt x="21600" y="1"/>
                </a:cubicBezTo>
                <a:lnTo>
                  <a:pt x="21583" y="16076"/>
                </a:lnTo>
                <a:cubicBezTo>
                  <a:pt x="19068" y="16045"/>
                  <a:pt x="16565" y="16518"/>
                  <a:pt x="14174" y="17476"/>
                </a:cubicBezTo>
                <a:cubicBezTo>
                  <a:pt x="11839" y="18411"/>
                  <a:pt x="9641" y="19797"/>
                  <a:pt x="7662" y="21580"/>
                </a:cubicBezTo>
                <a:lnTo>
                  <a:pt x="0" y="8575"/>
                </a:lnTo>
                <a:close/>
              </a:path>
            </a:pathLst>
          </a:custGeom>
          <a:gradFill>
            <a:gsLst>
              <a:gs pos="73000">
                <a:schemeClr val="accent1"/>
              </a:gs>
              <a:gs pos="31000">
                <a:schemeClr val="accent1">
                  <a:lumMod val="60000"/>
                  <a:lumOff val="40000"/>
                </a:schemeClr>
              </a:gs>
              <a:gs pos="0">
                <a:schemeClr val="accent1">
                  <a:lumMod val="40000"/>
                  <a:lumOff val="60000"/>
                </a:schemeClr>
              </a:gs>
            </a:gsLst>
            <a:path path="circle">
              <a:fillToRect r="100000" b="100000"/>
            </a:path>
          </a:gradFill>
          <a:ln>
            <a:noFill/>
          </a:ln>
          <a:effectLst>
            <a:outerShdw blurRad="444500" dist="317500" dir="5400000" sx="92000" sy="92000" algn="t" rotWithShape="0">
              <a:schemeClr val="accent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white"/>
              </a:solidFill>
              <a:effectLst/>
              <a:uLnTx/>
              <a:uFillTx/>
              <a:latin typeface="HarmonyOS Sans SC Black"/>
              <a:ea typeface="+mj-ea"/>
              <a:cs typeface="+mn-cs"/>
              <a:sym typeface="Helvetica Neue Medium"/>
            </a:endParaRPr>
          </a:p>
        </p:txBody>
      </p:sp>
      <p:sp>
        <p:nvSpPr>
          <p:cNvPr id="4" name="Circle">
            <a:extLst>
              <a:ext uri="{FF2B5EF4-FFF2-40B4-BE49-F238E27FC236}">
                <a16:creationId xmlns:a16="http://schemas.microsoft.com/office/drawing/2014/main" id="{105E165F-0ED9-48D3-A819-FC6A6E195BE1}"/>
              </a:ext>
            </a:extLst>
          </p:cNvPr>
          <p:cNvSpPr/>
          <p:nvPr/>
        </p:nvSpPr>
        <p:spPr>
          <a:xfrm>
            <a:off x="5048734" y="2718572"/>
            <a:ext cx="2105498" cy="2105498"/>
          </a:xfrm>
          <a:prstGeom prst="ellipse">
            <a:avLst/>
          </a:prstGeom>
          <a:noFill/>
          <a:ln>
            <a:gradFill>
              <a:gsLst>
                <a:gs pos="0">
                  <a:schemeClr val="accent1"/>
                </a:gs>
                <a:gs pos="100000">
                  <a:schemeClr val="accent1">
                    <a:lumMod val="60000"/>
                    <a:lumOff val="40000"/>
                  </a:schemeClr>
                </a:gs>
              </a:gsLst>
              <a:lin ang="5400000" scaled="1"/>
            </a:gra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white"/>
              </a:solidFill>
              <a:effectLst/>
              <a:uLnTx/>
              <a:uFillTx/>
              <a:latin typeface="HarmonyOS Sans SC Black"/>
              <a:ea typeface="+mj-ea"/>
              <a:cs typeface="+mn-cs"/>
              <a:sym typeface="Helvetica Neue Medium"/>
            </a:endParaRPr>
          </a:p>
        </p:txBody>
      </p:sp>
      <p:sp>
        <p:nvSpPr>
          <p:cNvPr id="5" name="Shape">
            <a:extLst>
              <a:ext uri="{FF2B5EF4-FFF2-40B4-BE49-F238E27FC236}">
                <a16:creationId xmlns:a16="http://schemas.microsoft.com/office/drawing/2014/main" id="{867FBCA8-55CA-4ED2-8C75-5A9F6F96E617}"/>
              </a:ext>
            </a:extLst>
          </p:cNvPr>
          <p:cNvSpPr/>
          <p:nvPr/>
        </p:nvSpPr>
        <p:spPr>
          <a:xfrm>
            <a:off x="6097481" y="1660280"/>
            <a:ext cx="1244394" cy="1009884"/>
          </a:xfrm>
          <a:custGeom>
            <a:avLst/>
            <a:gdLst/>
            <a:ahLst/>
            <a:cxnLst>
              <a:cxn ang="0">
                <a:pos x="wd2" y="hd2"/>
              </a:cxn>
              <a:cxn ang="5400000">
                <a:pos x="wd2" y="hd2"/>
              </a:cxn>
              <a:cxn ang="10800000">
                <a:pos x="wd2" y="hd2"/>
              </a:cxn>
              <a:cxn ang="16200000">
                <a:pos x="wd2" y="hd2"/>
              </a:cxn>
            </a:cxnLst>
            <a:rect l="0" t="0" r="r" b="b"/>
            <a:pathLst>
              <a:path w="21600" h="21584" extrusionOk="0">
                <a:moveTo>
                  <a:pt x="0" y="16074"/>
                </a:moveTo>
                <a:lnTo>
                  <a:pt x="0" y="0"/>
                </a:lnTo>
                <a:cubicBezTo>
                  <a:pt x="3726" y="-16"/>
                  <a:pt x="7433" y="672"/>
                  <a:pt x="10990" y="2041"/>
                </a:cubicBezTo>
                <a:cubicBezTo>
                  <a:pt x="14795" y="3505"/>
                  <a:pt x="18380" y="5729"/>
                  <a:pt x="21600" y="8623"/>
                </a:cubicBezTo>
                <a:lnTo>
                  <a:pt x="13892" y="21584"/>
                </a:lnTo>
                <a:cubicBezTo>
                  <a:pt x="11803" y="19705"/>
                  <a:pt x="9474" y="18268"/>
                  <a:pt x="7001" y="17333"/>
                </a:cubicBezTo>
                <a:cubicBezTo>
                  <a:pt x="4734" y="16476"/>
                  <a:pt x="2372" y="16051"/>
                  <a:pt x="0" y="16074"/>
                </a:cubicBezTo>
                <a:close/>
              </a:path>
            </a:pathLst>
          </a:custGeom>
          <a:gradFill>
            <a:gsLst>
              <a:gs pos="73000">
                <a:schemeClr val="accent1"/>
              </a:gs>
              <a:gs pos="31000">
                <a:schemeClr val="accent1">
                  <a:lumMod val="60000"/>
                  <a:lumOff val="40000"/>
                </a:schemeClr>
              </a:gs>
              <a:gs pos="0">
                <a:schemeClr val="accent1">
                  <a:lumMod val="40000"/>
                  <a:lumOff val="60000"/>
                </a:schemeClr>
              </a:gs>
            </a:gsLst>
            <a:path path="circle">
              <a:fillToRect r="100000" b="100000"/>
            </a:path>
          </a:gradFill>
          <a:ln>
            <a:noFill/>
          </a:ln>
          <a:effectLst>
            <a:outerShdw blurRad="444500" dist="317500" dir="5400000" sx="92000" sy="92000" algn="t" rotWithShape="0">
              <a:schemeClr val="accent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white"/>
              </a:solidFill>
              <a:effectLst/>
              <a:uLnTx/>
              <a:uFillTx/>
              <a:latin typeface="HarmonyOS Sans SC Black"/>
              <a:ea typeface="+mj-ea"/>
              <a:cs typeface="+mn-cs"/>
              <a:sym typeface="Helvetica Neue Medium"/>
            </a:endParaRPr>
          </a:p>
        </p:txBody>
      </p:sp>
      <p:sp>
        <p:nvSpPr>
          <p:cNvPr id="6" name="Shape">
            <a:extLst>
              <a:ext uri="{FF2B5EF4-FFF2-40B4-BE49-F238E27FC236}">
                <a16:creationId xmlns:a16="http://schemas.microsoft.com/office/drawing/2014/main" id="{BA5C768F-59B9-426B-A2A8-1B3892508FEB}"/>
              </a:ext>
            </a:extLst>
          </p:cNvPr>
          <p:cNvSpPr/>
          <p:nvPr/>
        </p:nvSpPr>
        <p:spPr>
          <a:xfrm>
            <a:off x="6896151" y="2060600"/>
            <a:ext cx="1210445" cy="1281987"/>
          </a:xfrm>
          <a:custGeom>
            <a:avLst/>
            <a:gdLst/>
            <a:ahLst/>
            <a:cxnLst>
              <a:cxn ang="0">
                <a:pos x="wd2" y="hd2"/>
              </a:cxn>
              <a:cxn ang="5400000">
                <a:pos x="wd2" y="hd2"/>
              </a:cxn>
              <a:cxn ang="10800000">
                <a:pos x="wd2" y="hd2"/>
              </a:cxn>
              <a:cxn ang="16200000">
                <a:pos x="wd2" y="hd2"/>
              </a:cxn>
            </a:cxnLst>
            <a:rect l="0" t="0" r="r" b="b"/>
            <a:pathLst>
              <a:path w="21600" h="21600" extrusionOk="0">
                <a:moveTo>
                  <a:pt x="7922" y="0"/>
                </a:moveTo>
                <a:lnTo>
                  <a:pt x="0" y="10256"/>
                </a:lnTo>
                <a:cubicBezTo>
                  <a:pt x="2081" y="11677"/>
                  <a:pt x="3912" y="13399"/>
                  <a:pt x="5424" y="15359"/>
                </a:cubicBezTo>
                <a:cubicBezTo>
                  <a:pt x="6893" y="17262"/>
                  <a:pt x="8045" y="19367"/>
                  <a:pt x="8839" y="21600"/>
                </a:cubicBezTo>
                <a:lnTo>
                  <a:pt x="21600" y="17653"/>
                </a:lnTo>
                <a:cubicBezTo>
                  <a:pt x="20306" y="13993"/>
                  <a:pt x="18395" y="10554"/>
                  <a:pt x="15943" y="7468"/>
                </a:cubicBezTo>
                <a:cubicBezTo>
                  <a:pt x="13677" y="4617"/>
                  <a:pt x="10973" y="2100"/>
                  <a:pt x="7922" y="0"/>
                </a:cubicBezTo>
                <a:close/>
              </a:path>
            </a:pathLst>
          </a:custGeom>
          <a:gradFill>
            <a:gsLst>
              <a:gs pos="73000">
                <a:schemeClr val="accent1"/>
              </a:gs>
              <a:gs pos="31000">
                <a:schemeClr val="accent1">
                  <a:lumMod val="60000"/>
                  <a:lumOff val="40000"/>
                </a:schemeClr>
              </a:gs>
              <a:gs pos="0">
                <a:schemeClr val="accent1">
                  <a:lumMod val="40000"/>
                  <a:lumOff val="60000"/>
                </a:schemeClr>
              </a:gs>
            </a:gsLst>
            <a:path path="circle">
              <a:fillToRect r="100000" b="100000"/>
            </a:path>
          </a:gradFill>
          <a:ln>
            <a:noFill/>
          </a:ln>
          <a:effectLst>
            <a:outerShdw blurRad="444500" dist="317500" dir="5400000" sx="92000" sy="92000" algn="t" rotWithShape="0">
              <a:schemeClr val="accent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white"/>
              </a:solidFill>
              <a:effectLst/>
              <a:uLnTx/>
              <a:uFillTx/>
              <a:latin typeface="HarmonyOS Sans SC Black"/>
              <a:ea typeface="+mj-ea"/>
              <a:cs typeface="+mn-cs"/>
              <a:sym typeface="Helvetica Neue Medium"/>
            </a:endParaRPr>
          </a:p>
        </p:txBody>
      </p:sp>
      <p:sp>
        <p:nvSpPr>
          <p:cNvPr id="7" name="Shape">
            <a:extLst>
              <a:ext uri="{FF2B5EF4-FFF2-40B4-BE49-F238E27FC236}">
                <a16:creationId xmlns:a16="http://schemas.microsoft.com/office/drawing/2014/main" id="{68479005-0987-4CFF-AA93-D7C538E8BF45}"/>
              </a:ext>
            </a:extLst>
          </p:cNvPr>
          <p:cNvSpPr/>
          <p:nvPr/>
        </p:nvSpPr>
        <p:spPr>
          <a:xfrm>
            <a:off x="7388921" y="3105166"/>
            <a:ext cx="822677" cy="1316690"/>
          </a:xfrm>
          <a:custGeom>
            <a:avLst/>
            <a:gdLst/>
            <a:ahLst/>
            <a:cxnLst>
              <a:cxn ang="0">
                <a:pos x="wd2" y="hd2"/>
              </a:cxn>
              <a:cxn ang="5400000">
                <a:pos x="wd2" y="hd2"/>
              </a:cxn>
              <a:cxn ang="10800000">
                <a:pos x="wd2" y="hd2"/>
              </a:cxn>
              <a:cxn ang="16200000">
                <a:pos x="wd2" y="hd2"/>
              </a:cxn>
            </a:cxnLst>
            <a:rect l="0" t="0" r="r" b="b"/>
            <a:pathLst>
              <a:path w="21567" h="21600" extrusionOk="0">
                <a:moveTo>
                  <a:pt x="0" y="3851"/>
                </a:moveTo>
                <a:lnTo>
                  <a:pt x="18782" y="0"/>
                </a:lnTo>
                <a:cubicBezTo>
                  <a:pt x="20593" y="3468"/>
                  <a:pt x="21532" y="7091"/>
                  <a:pt x="21566" y="10740"/>
                </a:cubicBezTo>
                <a:cubicBezTo>
                  <a:pt x="21600" y="14424"/>
                  <a:pt x="20711" y="18088"/>
                  <a:pt x="18932" y="21600"/>
                </a:cubicBezTo>
                <a:lnTo>
                  <a:pt x="170" y="17800"/>
                </a:lnTo>
                <a:cubicBezTo>
                  <a:pt x="1326" y="15557"/>
                  <a:pt x="1904" y="13214"/>
                  <a:pt x="1882" y="10858"/>
                </a:cubicBezTo>
                <a:cubicBezTo>
                  <a:pt x="1860" y="8474"/>
                  <a:pt x="1224" y="6109"/>
                  <a:pt x="0" y="3851"/>
                </a:cubicBezTo>
                <a:close/>
              </a:path>
            </a:pathLst>
          </a:custGeom>
          <a:gradFill>
            <a:gsLst>
              <a:gs pos="73000">
                <a:schemeClr val="accent1"/>
              </a:gs>
              <a:gs pos="31000">
                <a:schemeClr val="accent1">
                  <a:lumMod val="60000"/>
                  <a:lumOff val="40000"/>
                </a:schemeClr>
              </a:gs>
              <a:gs pos="0">
                <a:schemeClr val="accent1">
                  <a:lumMod val="40000"/>
                  <a:lumOff val="60000"/>
                </a:schemeClr>
              </a:gs>
            </a:gsLst>
            <a:path path="circle">
              <a:fillToRect r="100000" b="100000"/>
            </a:path>
          </a:gradFill>
          <a:ln>
            <a:noFill/>
          </a:ln>
          <a:effectLst>
            <a:outerShdw blurRad="444500" dist="317500" dir="5400000" sx="92000" sy="92000" algn="t" rotWithShape="0">
              <a:schemeClr val="accent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white"/>
              </a:solidFill>
              <a:effectLst/>
              <a:uLnTx/>
              <a:uFillTx/>
              <a:latin typeface="HarmonyOS Sans SC Black"/>
              <a:ea typeface="+mj-ea"/>
              <a:cs typeface="+mn-cs"/>
              <a:sym typeface="Helvetica Neue Medium"/>
            </a:endParaRPr>
          </a:p>
        </p:txBody>
      </p:sp>
      <p:sp>
        <p:nvSpPr>
          <p:cNvPr id="8" name="Shape">
            <a:extLst>
              <a:ext uri="{FF2B5EF4-FFF2-40B4-BE49-F238E27FC236}">
                <a16:creationId xmlns:a16="http://schemas.microsoft.com/office/drawing/2014/main" id="{B7D6A97D-D29D-41A3-BBAB-FE36A2DD89C8}"/>
              </a:ext>
            </a:extLst>
          </p:cNvPr>
          <p:cNvSpPr/>
          <p:nvPr/>
        </p:nvSpPr>
        <p:spPr>
          <a:xfrm>
            <a:off x="6894274" y="4185303"/>
            <a:ext cx="1217253" cy="1299212"/>
          </a:xfrm>
          <a:custGeom>
            <a:avLst/>
            <a:gdLst/>
            <a:ahLst/>
            <a:cxnLst>
              <a:cxn ang="0">
                <a:pos x="wd2" y="hd2"/>
              </a:cxn>
              <a:cxn ang="5400000">
                <a:pos x="wd2" y="hd2"/>
              </a:cxn>
              <a:cxn ang="10800000">
                <a:pos x="wd2" y="hd2"/>
              </a:cxn>
              <a:cxn ang="16200000">
                <a:pos x="wd2" y="hd2"/>
              </a:cxn>
            </a:cxnLst>
            <a:rect l="0" t="0" r="r" b="b"/>
            <a:pathLst>
              <a:path w="21600" h="21600" extrusionOk="0">
                <a:moveTo>
                  <a:pt x="8905" y="0"/>
                </a:moveTo>
                <a:cubicBezTo>
                  <a:pt x="8181" y="2114"/>
                  <a:pt x="7129" y="4118"/>
                  <a:pt x="5783" y="5945"/>
                </a:cubicBezTo>
                <a:cubicBezTo>
                  <a:pt x="4208" y="8085"/>
                  <a:pt x="2251" y="9954"/>
                  <a:pt x="0" y="11473"/>
                </a:cubicBezTo>
                <a:lnTo>
                  <a:pt x="7818" y="21600"/>
                </a:lnTo>
                <a:cubicBezTo>
                  <a:pt x="11255" y="19258"/>
                  <a:pt x="14250" y="16394"/>
                  <a:pt x="16680" y="13127"/>
                </a:cubicBezTo>
                <a:cubicBezTo>
                  <a:pt x="18787" y="10292"/>
                  <a:pt x="20445" y="7185"/>
                  <a:pt x="21600" y="3904"/>
                </a:cubicBezTo>
                <a:lnTo>
                  <a:pt x="8905" y="0"/>
                </a:lnTo>
                <a:close/>
              </a:path>
            </a:pathLst>
          </a:custGeom>
          <a:gradFill>
            <a:gsLst>
              <a:gs pos="73000">
                <a:schemeClr val="accent1"/>
              </a:gs>
              <a:gs pos="31000">
                <a:schemeClr val="accent1">
                  <a:lumMod val="60000"/>
                  <a:lumOff val="40000"/>
                </a:schemeClr>
              </a:gs>
              <a:gs pos="0">
                <a:schemeClr val="accent1">
                  <a:lumMod val="40000"/>
                  <a:lumOff val="60000"/>
                </a:schemeClr>
              </a:gs>
            </a:gsLst>
            <a:path path="circle">
              <a:fillToRect r="100000" b="100000"/>
            </a:path>
          </a:gradFill>
          <a:ln>
            <a:noFill/>
          </a:ln>
          <a:effectLst>
            <a:outerShdw blurRad="444500" dist="317500" dir="5400000" sx="92000" sy="92000" algn="t" rotWithShape="0">
              <a:schemeClr val="accent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white"/>
              </a:solidFill>
              <a:effectLst/>
              <a:uLnTx/>
              <a:uFillTx/>
              <a:latin typeface="HarmonyOS Sans SC Black"/>
              <a:ea typeface="+mj-ea"/>
              <a:cs typeface="+mn-cs"/>
              <a:sym typeface="Helvetica Neue Medium"/>
            </a:endParaRPr>
          </a:p>
        </p:txBody>
      </p:sp>
      <p:sp>
        <p:nvSpPr>
          <p:cNvPr id="9" name="Shape">
            <a:extLst>
              <a:ext uri="{FF2B5EF4-FFF2-40B4-BE49-F238E27FC236}">
                <a16:creationId xmlns:a16="http://schemas.microsoft.com/office/drawing/2014/main" id="{7834513E-12B3-4961-9D6F-48C818514910}"/>
              </a:ext>
            </a:extLst>
          </p:cNvPr>
          <p:cNvSpPr/>
          <p:nvPr/>
        </p:nvSpPr>
        <p:spPr>
          <a:xfrm>
            <a:off x="6099970" y="4872178"/>
            <a:ext cx="1238144" cy="1010381"/>
          </a:xfrm>
          <a:custGeom>
            <a:avLst/>
            <a:gdLst/>
            <a:ahLst/>
            <a:cxnLst>
              <a:cxn ang="0">
                <a:pos x="wd2" y="hd2"/>
              </a:cxn>
              <a:cxn ang="5400000">
                <a:pos x="wd2" y="hd2"/>
              </a:cxn>
              <a:cxn ang="10800000">
                <a:pos x="wd2" y="hd2"/>
              </a:cxn>
              <a:cxn ang="16200000">
                <a:pos x="wd2" y="hd2"/>
              </a:cxn>
            </a:cxnLst>
            <a:rect l="0" t="0" r="r" b="b"/>
            <a:pathLst>
              <a:path w="21600" h="21593" extrusionOk="0">
                <a:moveTo>
                  <a:pt x="0" y="5527"/>
                </a:moveTo>
                <a:cubicBezTo>
                  <a:pt x="2423" y="5537"/>
                  <a:pt x="4833" y="5088"/>
                  <a:pt x="7143" y="4193"/>
                </a:cubicBezTo>
                <a:cubicBezTo>
                  <a:pt x="9568" y="3254"/>
                  <a:pt x="11851" y="1838"/>
                  <a:pt x="13905" y="0"/>
                </a:cubicBezTo>
                <a:lnTo>
                  <a:pt x="21600" y="13092"/>
                </a:lnTo>
                <a:cubicBezTo>
                  <a:pt x="18561" y="15770"/>
                  <a:pt x="15207" y="17865"/>
                  <a:pt x="11653" y="19306"/>
                </a:cubicBezTo>
                <a:cubicBezTo>
                  <a:pt x="7898" y="20828"/>
                  <a:pt x="3967" y="21600"/>
                  <a:pt x="11" y="21593"/>
                </a:cubicBezTo>
                <a:lnTo>
                  <a:pt x="0" y="5527"/>
                </a:lnTo>
                <a:close/>
              </a:path>
            </a:pathLst>
          </a:custGeom>
          <a:gradFill>
            <a:gsLst>
              <a:gs pos="73000">
                <a:schemeClr val="accent1"/>
              </a:gs>
              <a:gs pos="31000">
                <a:schemeClr val="accent1">
                  <a:lumMod val="60000"/>
                  <a:lumOff val="40000"/>
                </a:schemeClr>
              </a:gs>
              <a:gs pos="0">
                <a:schemeClr val="accent1">
                  <a:lumMod val="40000"/>
                  <a:lumOff val="60000"/>
                </a:schemeClr>
              </a:gs>
            </a:gsLst>
            <a:path path="circle">
              <a:fillToRect r="100000" b="100000"/>
            </a:path>
          </a:gradFill>
          <a:ln>
            <a:noFill/>
          </a:ln>
          <a:effectLst>
            <a:outerShdw blurRad="444500" dist="317500" dir="5400000" sx="92000" sy="92000" algn="t" rotWithShape="0">
              <a:schemeClr val="accent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white"/>
              </a:solidFill>
              <a:effectLst/>
              <a:uLnTx/>
              <a:uFillTx/>
              <a:latin typeface="HarmonyOS Sans SC Black"/>
              <a:ea typeface="+mj-ea"/>
              <a:cs typeface="+mn-cs"/>
              <a:sym typeface="Helvetica Neue Medium"/>
            </a:endParaRPr>
          </a:p>
        </p:txBody>
      </p:sp>
      <p:sp>
        <p:nvSpPr>
          <p:cNvPr id="10" name="Shape">
            <a:extLst>
              <a:ext uri="{FF2B5EF4-FFF2-40B4-BE49-F238E27FC236}">
                <a16:creationId xmlns:a16="http://schemas.microsoft.com/office/drawing/2014/main" id="{2DC75481-F6F8-46F9-88F1-908C05A0F8CD}"/>
              </a:ext>
            </a:extLst>
          </p:cNvPr>
          <p:cNvSpPr/>
          <p:nvPr/>
        </p:nvSpPr>
        <p:spPr>
          <a:xfrm>
            <a:off x="4852199" y="4865753"/>
            <a:ext cx="1252253" cy="1016748"/>
          </a:xfrm>
          <a:custGeom>
            <a:avLst/>
            <a:gdLst/>
            <a:ahLst/>
            <a:cxnLst>
              <a:cxn ang="0">
                <a:pos x="wd2" y="hd2"/>
              </a:cxn>
              <a:cxn ang="5400000">
                <a:pos x="wd2" y="hd2"/>
              </a:cxn>
              <a:cxn ang="10800000">
                <a:pos x="wd2" y="hd2"/>
              </a:cxn>
              <a:cxn ang="16200000">
                <a:pos x="wd2" y="hd2"/>
              </a:cxn>
            </a:cxnLst>
            <a:rect l="0" t="0" r="r" b="b"/>
            <a:pathLst>
              <a:path w="21600" h="21600" extrusionOk="0">
                <a:moveTo>
                  <a:pt x="7654" y="0"/>
                </a:moveTo>
                <a:cubicBezTo>
                  <a:pt x="9632" y="1799"/>
                  <a:pt x="11829" y="3202"/>
                  <a:pt x="14163" y="4157"/>
                </a:cubicBezTo>
                <a:cubicBezTo>
                  <a:pt x="16561" y="5138"/>
                  <a:pt x="19073" y="5633"/>
                  <a:pt x="21600" y="5623"/>
                </a:cubicBezTo>
                <a:lnTo>
                  <a:pt x="21571" y="21600"/>
                </a:lnTo>
                <a:cubicBezTo>
                  <a:pt x="17587" y="21589"/>
                  <a:pt x="13632" y="20781"/>
                  <a:pt x="9859" y="19207"/>
                </a:cubicBezTo>
                <a:cubicBezTo>
                  <a:pt x="6332" y="17735"/>
                  <a:pt x="3008" y="15612"/>
                  <a:pt x="0" y="12909"/>
                </a:cubicBezTo>
                <a:lnTo>
                  <a:pt x="7654" y="0"/>
                </a:lnTo>
                <a:close/>
              </a:path>
            </a:pathLst>
          </a:custGeom>
          <a:gradFill>
            <a:gsLst>
              <a:gs pos="73000">
                <a:schemeClr val="accent1"/>
              </a:gs>
              <a:gs pos="31000">
                <a:schemeClr val="accent1">
                  <a:lumMod val="60000"/>
                  <a:lumOff val="40000"/>
                </a:schemeClr>
              </a:gs>
              <a:gs pos="0">
                <a:schemeClr val="accent1">
                  <a:lumMod val="40000"/>
                  <a:lumOff val="60000"/>
                </a:schemeClr>
              </a:gs>
            </a:gsLst>
            <a:path path="circle">
              <a:fillToRect r="100000" b="100000"/>
            </a:path>
          </a:gradFill>
          <a:ln>
            <a:noFill/>
          </a:ln>
          <a:effectLst>
            <a:outerShdw blurRad="444500" dist="317500" dir="5400000" sx="92000" sy="92000" algn="t" rotWithShape="0">
              <a:schemeClr val="accent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white"/>
              </a:solidFill>
              <a:effectLst/>
              <a:uLnTx/>
              <a:uFillTx/>
              <a:latin typeface="HarmonyOS Sans SC Black"/>
              <a:ea typeface="+mj-ea"/>
              <a:cs typeface="+mn-cs"/>
              <a:sym typeface="Helvetica Neue Medium"/>
            </a:endParaRPr>
          </a:p>
        </p:txBody>
      </p:sp>
      <p:sp>
        <p:nvSpPr>
          <p:cNvPr id="11" name="Shape">
            <a:extLst>
              <a:ext uri="{FF2B5EF4-FFF2-40B4-BE49-F238E27FC236}">
                <a16:creationId xmlns:a16="http://schemas.microsoft.com/office/drawing/2014/main" id="{4CA0E374-5414-4D88-B47E-072C99876B29}"/>
              </a:ext>
            </a:extLst>
          </p:cNvPr>
          <p:cNvSpPr/>
          <p:nvPr/>
        </p:nvSpPr>
        <p:spPr>
          <a:xfrm>
            <a:off x="4094612" y="4188891"/>
            <a:ext cx="1205366" cy="1285960"/>
          </a:xfrm>
          <a:custGeom>
            <a:avLst/>
            <a:gdLst/>
            <a:ahLst/>
            <a:cxnLst>
              <a:cxn ang="0">
                <a:pos x="wd2" y="hd2"/>
              </a:cxn>
              <a:cxn ang="5400000">
                <a:pos x="wd2" y="hd2"/>
              </a:cxn>
              <a:cxn ang="10800000">
                <a:pos x="wd2" y="hd2"/>
              </a:cxn>
              <a:cxn ang="16200000">
                <a:pos x="wd2" y="hd2"/>
              </a:cxn>
            </a:cxnLst>
            <a:rect l="0" t="0" r="r" b="b"/>
            <a:pathLst>
              <a:path w="21600" h="21600" extrusionOk="0">
                <a:moveTo>
                  <a:pt x="12768" y="0"/>
                </a:moveTo>
                <a:cubicBezTo>
                  <a:pt x="13512" y="2146"/>
                  <a:pt x="14591" y="4177"/>
                  <a:pt x="15969" y="6027"/>
                </a:cubicBezTo>
                <a:cubicBezTo>
                  <a:pt x="17515" y="8102"/>
                  <a:pt x="19418" y="9923"/>
                  <a:pt x="21600" y="11414"/>
                </a:cubicBezTo>
                <a:lnTo>
                  <a:pt x="13648" y="21600"/>
                </a:lnTo>
                <a:cubicBezTo>
                  <a:pt x="10254" y="19295"/>
                  <a:pt x="7299" y="16469"/>
                  <a:pt x="4909" y="13242"/>
                </a:cubicBezTo>
                <a:cubicBezTo>
                  <a:pt x="2781" y="10370"/>
                  <a:pt x="1126" y="7214"/>
                  <a:pt x="0" y="3881"/>
                </a:cubicBezTo>
                <a:lnTo>
                  <a:pt x="12768" y="0"/>
                </a:lnTo>
                <a:close/>
              </a:path>
            </a:pathLst>
          </a:custGeom>
          <a:gradFill>
            <a:gsLst>
              <a:gs pos="73000">
                <a:schemeClr val="accent1"/>
              </a:gs>
              <a:gs pos="31000">
                <a:schemeClr val="accent1">
                  <a:lumMod val="60000"/>
                  <a:lumOff val="40000"/>
                </a:schemeClr>
              </a:gs>
              <a:gs pos="0">
                <a:schemeClr val="accent1">
                  <a:lumMod val="40000"/>
                  <a:lumOff val="60000"/>
                </a:schemeClr>
              </a:gs>
            </a:gsLst>
            <a:path path="circle">
              <a:fillToRect r="100000" b="100000"/>
            </a:path>
          </a:gradFill>
          <a:ln>
            <a:noFill/>
          </a:ln>
          <a:effectLst>
            <a:outerShdw blurRad="444500" dist="317500" dir="5400000" sx="92000" sy="92000" algn="t" rotWithShape="0">
              <a:schemeClr val="accent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white"/>
              </a:solidFill>
              <a:effectLst/>
              <a:uLnTx/>
              <a:uFillTx/>
              <a:latin typeface="HarmonyOS Sans SC Black"/>
              <a:ea typeface="+mj-ea"/>
              <a:cs typeface="+mn-cs"/>
              <a:sym typeface="Helvetica Neue Medium"/>
            </a:endParaRPr>
          </a:p>
        </p:txBody>
      </p:sp>
      <p:sp>
        <p:nvSpPr>
          <p:cNvPr id="12" name="Shape">
            <a:extLst>
              <a:ext uri="{FF2B5EF4-FFF2-40B4-BE49-F238E27FC236}">
                <a16:creationId xmlns:a16="http://schemas.microsoft.com/office/drawing/2014/main" id="{AAFE749C-26E6-4A2F-8B69-C591AF67D049}"/>
              </a:ext>
            </a:extLst>
          </p:cNvPr>
          <p:cNvSpPr/>
          <p:nvPr/>
        </p:nvSpPr>
        <p:spPr>
          <a:xfrm>
            <a:off x="3991810" y="3112103"/>
            <a:ext cx="818103" cy="1310435"/>
          </a:xfrm>
          <a:custGeom>
            <a:avLst/>
            <a:gdLst/>
            <a:ahLst/>
            <a:cxnLst>
              <a:cxn ang="0">
                <a:pos x="wd2" y="hd2"/>
              </a:cxn>
              <a:cxn ang="5400000">
                <a:pos x="wd2" y="hd2"/>
              </a:cxn>
              <a:cxn ang="10800000">
                <a:pos x="wd2" y="hd2"/>
              </a:cxn>
              <a:cxn ang="16200000">
                <a:pos x="wd2" y="hd2"/>
              </a:cxn>
            </a:cxnLst>
            <a:rect l="0" t="0" r="r" b="b"/>
            <a:pathLst>
              <a:path w="21564" h="21600" extrusionOk="0">
                <a:moveTo>
                  <a:pt x="2713" y="0"/>
                </a:moveTo>
                <a:lnTo>
                  <a:pt x="21564" y="3838"/>
                </a:lnTo>
                <a:cubicBezTo>
                  <a:pt x="20396" y="6093"/>
                  <a:pt x="19795" y="8448"/>
                  <a:pt x="19783" y="10819"/>
                </a:cubicBezTo>
                <a:cubicBezTo>
                  <a:pt x="19772" y="13183"/>
                  <a:pt x="20346" y="15534"/>
                  <a:pt x="21486" y="17787"/>
                </a:cubicBezTo>
                <a:lnTo>
                  <a:pt x="2686" y="21600"/>
                </a:lnTo>
                <a:cubicBezTo>
                  <a:pt x="870" y="18046"/>
                  <a:pt x="-36" y="14334"/>
                  <a:pt x="1" y="10603"/>
                </a:cubicBezTo>
                <a:cubicBezTo>
                  <a:pt x="38" y="7003"/>
                  <a:pt x="952" y="3427"/>
                  <a:pt x="2713" y="0"/>
                </a:cubicBezTo>
                <a:close/>
              </a:path>
            </a:pathLst>
          </a:custGeom>
          <a:gradFill>
            <a:gsLst>
              <a:gs pos="73000">
                <a:schemeClr val="accent1"/>
              </a:gs>
              <a:gs pos="31000">
                <a:schemeClr val="accent1">
                  <a:lumMod val="60000"/>
                  <a:lumOff val="40000"/>
                </a:schemeClr>
              </a:gs>
              <a:gs pos="0">
                <a:schemeClr val="accent1">
                  <a:lumMod val="40000"/>
                  <a:lumOff val="60000"/>
                </a:schemeClr>
              </a:gs>
            </a:gsLst>
            <a:path path="circle">
              <a:fillToRect r="100000" b="100000"/>
            </a:path>
          </a:gradFill>
          <a:ln>
            <a:noFill/>
          </a:ln>
          <a:effectLst>
            <a:outerShdw blurRad="444500" dist="317500" dir="5400000" sx="92000" sy="92000" algn="t" rotWithShape="0">
              <a:schemeClr val="accent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white"/>
              </a:solidFill>
              <a:effectLst/>
              <a:uLnTx/>
              <a:uFillTx/>
              <a:latin typeface="HarmonyOS Sans SC Black"/>
              <a:ea typeface="+mj-ea"/>
              <a:cs typeface="+mn-cs"/>
              <a:sym typeface="Helvetica Neue Medium"/>
            </a:endParaRPr>
          </a:p>
        </p:txBody>
      </p:sp>
      <p:sp>
        <p:nvSpPr>
          <p:cNvPr id="13" name="Shape">
            <a:extLst>
              <a:ext uri="{FF2B5EF4-FFF2-40B4-BE49-F238E27FC236}">
                <a16:creationId xmlns:a16="http://schemas.microsoft.com/office/drawing/2014/main" id="{481472A1-3A3E-45F6-96CF-AD18A9FD40E0}"/>
              </a:ext>
            </a:extLst>
          </p:cNvPr>
          <p:cNvSpPr/>
          <p:nvPr/>
        </p:nvSpPr>
        <p:spPr>
          <a:xfrm>
            <a:off x="4095230" y="2059888"/>
            <a:ext cx="1210689" cy="1287218"/>
          </a:xfrm>
          <a:custGeom>
            <a:avLst/>
            <a:gdLst/>
            <a:ahLst/>
            <a:cxnLst>
              <a:cxn ang="0">
                <a:pos x="wd2" y="hd2"/>
              </a:cxn>
              <a:cxn ang="5400000">
                <a:pos x="wd2" y="hd2"/>
              </a:cxn>
              <a:cxn ang="10800000">
                <a:pos x="wd2" y="hd2"/>
              </a:cxn>
              <a:cxn ang="16200000">
                <a:pos x="wd2" y="hd2"/>
              </a:cxn>
            </a:cxnLst>
            <a:rect l="0" t="0" r="r" b="b"/>
            <a:pathLst>
              <a:path w="21600" h="21600" extrusionOk="0">
                <a:moveTo>
                  <a:pt x="13732" y="0"/>
                </a:moveTo>
                <a:cubicBezTo>
                  <a:pt x="10621" y="2129"/>
                  <a:pt x="7873" y="4689"/>
                  <a:pt x="5580" y="7593"/>
                </a:cubicBezTo>
                <a:cubicBezTo>
                  <a:pt x="3157" y="10663"/>
                  <a:pt x="1273" y="14078"/>
                  <a:pt x="0" y="17708"/>
                </a:cubicBezTo>
                <a:lnTo>
                  <a:pt x="12781" y="21600"/>
                </a:lnTo>
                <a:cubicBezTo>
                  <a:pt x="13556" y="19379"/>
                  <a:pt x="14689" y="17282"/>
                  <a:pt x="16139" y="15383"/>
                </a:cubicBezTo>
                <a:cubicBezTo>
                  <a:pt x="17655" y="13398"/>
                  <a:pt x="19498" y="11654"/>
                  <a:pt x="21600" y="10217"/>
                </a:cubicBezTo>
                <a:lnTo>
                  <a:pt x="13732" y="0"/>
                </a:lnTo>
                <a:close/>
              </a:path>
            </a:pathLst>
          </a:custGeom>
          <a:gradFill>
            <a:gsLst>
              <a:gs pos="73000">
                <a:schemeClr val="accent1"/>
              </a:gs>
              <a:gs pos="31000">
                <a:schemeClr val="accent1">
                  <a:lumMod val="60000"/>
                  <a:lumOff val="40000"/>
                </a:schemeClr>
              </a:gs>
              <a:gs pos="0">
                <a:schemeClr val="accent1">
                  <a:lumMod val="40000"/>
                  <a:lumOff val="60000"/>
                </a:schemeClr>
              </a:gs>
            </a:gsLst>
            <a:path path="circle">
              <a:fillToRect r="100000" b="100000"/>
            </a:path>
          </a:gradFill>
          <a:ln>
            <a:noFill/>
          </a:ln>
          <a:effectLst>
            <a:outerShdw blurRad="444500" dist="317500" dir="5400000" sx="92000" sy="92000" algn="t" rotWithShape="0">
              <a:schemeClr val="accent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white"/>
              </a:solidFill>
              <a:effectLst/>
              <a:uLnTx/>
              <a:uFillTx/>
              <a:latin typeface="HarmonyOS Sans SC Black"/>
              <a:ea typeface="+mj-ea"/>
              <a:cs typeface="+mn-cs"/>
              <a:sym typeface="Helvetica Neue Medium"/>
            </a:endParaRPr>
          </a:p>
        </p:txBody>
      </p:sp>
      <p:sp>
        <p:nvSpPr>
          <p:cNvPr id="14" name="Line">
            <a:extLst>
              <a:ext uri="{FF2B5EF4-FFF2-40B4-BE49-F238E27FC236}">
                <a16:creationId xmlns:a16="http://schemas.microsoft.com/office/drawing/2014/main" id="{9D77A0AE-A7F4-4264-B6C7-1AD02809588A}"/>
              </a:ext>
            </a:extLst>
          </p:cNvPr>
          <p:cNvSpPr/>
          <p:nvPr/>
        </p:nvSpPr>
        <p:spPr>
          <a:xfrm>
            <a:off x="5639917" y="2336957"/>
            <a:ext cx="183828" cy="565787"/>
          </a:xfrm>
          <a:prstGeom prst="line">
            <a:avLst/>
          </a:prstGeom>
          <a:ln w="25400">
            <a:solidFill>
              <a:schemeClr val="accent1">
                <a:lumMod val="60000"/>
                <a:lumOff val="40000"/>
              </a:schemeClr>
            </a:solidFill>
            <a:custDash>
              <a:ds d="200000" sp="200000"/>
            </a:custDash>
            <a:miter lim="400000"/>
            <a:headEnd type="triangle"/>
            <a:tailEnd type="triangle"/>
          </a:ln>
        </p:spPr>
        <p:txBody>
          <a:bodyPr lIns="0" tIns="0" rIns="0" bIns="0" anchor="ctr"/>
          <a:lstStyle/>
          <a:p>
            <a:pPr marL="0" marR="0" lvl="0" indent="0" algn="ctr" defTabSz="412750" rtl="0" eaLnBrk="1" fontAlgn="auto" latinLnBrk="0" hangingPunct="0">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1600" b="0" i="0" u="none" strike="noStrike" kern="0" cap="none" spc="0" normalizeH="0" baseline="0" noProof="0">
              <a:ln>
                <a:noFill/>
              </a:ln>
              <a:solidFill>
                <a:srgbClr val="FFFFFF"/>
              </a:solidFill>
              <a:effectLst/>
              <a:uLnTx/>
              <a:uFillTx/>
              <a:latin typeface="HarmonyOS Sans SC Black"/>
              <a:ea typeface="+mj-ea"/>
              <a:cs typeface="+mn-cs"/>
              <a:sym typeface="Helvetica Neue Medium"/>
            </a:endParaRPr>
          </a:p>
        </p:txBody>
      </p:sp>
      <p:sp>
        <p:nvSpPr>
          <p:cNvPr id="15" name="Line">
            <a:extLst>
              <a:ext uri="{FF2B5EF4-FFF2-40B4-BE49-F238E27FC236}">
                <a16:creationId xmlns:a16="http://schemas.microsoft.com/office/drawing/2014/main" id="{6C343A70-2F30-4E12-94D6-6A9FC4FB2120}"/>
              </a:ext>
            </a:extLst>
          </p:cNvPr>
          <p:cNvSpPr/>
          <p:nvPr/>
        </p:nvSpPr>
        <p:spPr>
          <a:xfrm>
            <a:off x="4864374" y="2905059"/>
            <a:ext cx="488281" cy="341528"/>
          </a:xfrm>
          <a:prstGeom prst="line">
            <a:avLst/>
          </a:prstGeom>
          <a:ln w="25400">
            <a:solidFill>
              <a:schemeClr val="accent1">
                <a:lumMod val="60000"/>
                <a:lumOff val="40000"/>
              </a:schemeClr>
            </a:solidFill>
            <a:custDash>
              <a:ds d="200000" sp="200000"/>
            </a:custDash>
            <a:miter lim="400000"/>
            <a:headEnd type="triangle"/>
            <a:tailEnd type="triangle"/>
          </a:ln>
        </p:spPr>
        <p:txBody>
          <a:bodyPr lIns="0" tIns="0" rIns="0" bIns="0" anchor="ctr"/>
          <a:lstStyle/>
          <a:p>
            <a:pPr marL="0" marR="0" lvl="0" indent="0" algn="ctr" defTabSz="412750" rtl="0" eaLnBrk="1" fontAlgn="auto" latinLnBrk="0" hangingPunct="0">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1600" b="0" i="0" u="none" strike="noStrike" kern="0" cap="none" spc="0" normalizeH="0" baseline="0" noProof="0">
              <a:ln>
                <a:noFill/>
              </a:ln>
              <a:solidFill>
                <a:srgbClr val="FFFFFF"/>
              </a:solidFill>
              <a:effectLst/>
              <a:uLnTx/>
              <a:uFillTx/>
              <a:latin typeface="HarmonyOS Sans SC Black"/>
              <a:ea typeface="+mj-ea"/>
              <a:cs typeface="+mn-cs"/>
              <a:sym typeface="Helvetica Neue Medium"/>
            </a:endParaRPr>
          </a:p>
        </p:txBody>
      </p:sp>
      <p:sp>
        <p:nvSpPr>
          <p:cNvPr id="16" name="Line">
            <a:extLst>
              <a:ext uri="{FF2B5EF4-FFF2-40B4-BE49-F238E27FC236}">
                <a16:creationId xmlns:a16="http://schemas.microsoft.com/office/drawing/2014/main" id="{1CBD556B-B966-45E3-83EB-444854152202}"/>
              </a:ext>
            </a:extLst>
          </p:cNvPr>
          <p:cNvSpPr/>
          <p:nvPr/>
        </p:nvSpPr>
        <p:spPr>
          <a:xfrm>
            <a:off x="4588025" y="3774694"/>
            <a:ext cx="597938" cy="1"/>
          </a:xfrm>
          <a:prstGeom prst="line">
            <a:avLst/>
          </a:prstGeom>
          <a:ln w="25400">
            <a:solidFill>
              <a:schemeClr val="accent1">
                <a:lumMod val="60000"/>
                <a:lumOff val="40000"/>
              </a:schemeClr>
            </a:solidFill>
            <a:custDash>
              <a:ds d="200000" sp="200000"/>
            </a:custDash>
            <a:miter lim="400000"/>
            <a:headEnd type="triangle"/>
            <a:tailEnd type="triangle"/>
          </a:ln>
        </p:spPr>
        <p:txBody>
          <a:bodyPr lIns="0" tIns="0" rIns="0" bIns="0" anchor="ctr"/>
          <a:lstStyle/>
          <a:p>
            <a:pPr marL="0" marR="0" lvl="0" indent="0" algn="ctr" defTabSz="412750" rtl="0" eaLnBrk="1" fontAlgn="auto" latinLnBrk="0" hangingPunct="0">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1600" b="0" i="0" u="none" strike="noStrike" kern="0" cap="none" spc="0" normalizeH="0" baseline="0" noProof="0">
              <a:ln>
                <a:noFill/>
              </a:ln>
              <a:solidFill>
                <a:srgbClr val="FFFFFF"/>
              </a:solidFill>
              <a:effectLst/>
              <a:uLnTx/>
              <a:uFillTx/>
              <a:latin typeface="HarmonyOS Sans SC Black"/>
              <a:ea typeface="+mj-ea"/>
              <a:cs typeface="+mn-cs"/>
              <a:sym typeface="Helvetica Neue Medium"/>
            </a:endParaRPr>
          </a:p>
        </p:txBody>
      </p:sp>
      <p:sp>
        <p:nvSpPr>
          <p:cNvPr id="17" name="Line">
            <a:extLst>
              <a:ext uri="{FF2B5EF4-FFF2-40B4-BE49-F238E27FC236}">
                <a16:creationId xmlns:a16="http://schemas.microsoft.com/office/drawing/2014/main" id="{79A3806E-203B-458E-B92E-57586F2B092C}"/>
              </a:ext>
            </a:extLst>
          </p:cNvPr>
          <p:cNvSpPr/>
          <p:nvPr/>
        </p:nvSpPr>
        <p:spPr>
          <a:xfrm flipV="1">
            <a:off x="4855502" y="4295337"/>
            <a:ext cx="493176" cy="340933"/>
          </a:xfrm>
          <a:prstGeom prst="line">
            <a:avLst/>
          </a:prstGeom>
          <a:ln w="25400">
            <a:solidFill>
              <a:schemeClr val="accent1">
                <a:lumMod val="60000"/>
                <a:lumOff val="40000"/>
              </a:schemeClr>
            </a:solidFill>
            <a:custDash>
              <a:ds d="200000" sp="200000"/>
            </a:custDash>
            <a:miter lim="400000"/>
            <a:headEnd type="triangle"/>
            <a:tailEnd type="triangle"/>
          </a:ln>
        </p:spPr>
        <p:txBody>
          <a:bodyPr lIns="0" tIns="0" rIns="0" bIns="0" anchor="ctr"/>
          <a:lstStyle/>
          <a:p>
            <a:pPr marL="0" marR="0" lvl="0" indent="0" algn="ctr" defTabSz="412750" rtl="0" eaLnBrk="1" fontAlgn="auto" latinLnBrk="0" hangingPunct="0">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1600" b="0" i="0" u="none" strike="noStrike" kern="0" cap="none" spc="0" normalizeH="0" baseline="0" noProof="0">
              <a:ln>
                <a:noFill/>
              </a:ln>
              <a:solidFill>
                <a:srgbClr val="FFFFFF"/>
              </a:solidFill>
              <a:effectLst/>
              <a:uLnTx/>
              <a:uFillTx/>
              <a:latin typeface="HarmonyOS Sans SC Black"/>
              <a:ea typeface="+mj-ea"/>
              <a:cs typeface="+mn-cs"/>
              <a:sym typeface="Helvetica Neue Medium"/>
            </a:endParaRPr>
          </a:p>
        </p:txBody>
      </p:sp>
      <p:sp>
        <p:nvSpPr>
          <p:cNvPr id="18" name="Line">
            <a:extLst>
              <a:ext uri="{FF2B5EF4-FFF2-40B4-BE49-F238E27FC236}">
                <a16:creationId xmlns:a16="http://schemas.microsoft.com/office/drawing/2014/main" id="{1B160E6B-0DAE-4180-B0DB-0FBE07C11AF1}"/>
              </a:ext>
            </a:extLst>
          </p:cNvPr>
          <p:cNvSpPr/>
          <p:nvPr/>
        </p:nvSpPr>
        <p:spPr>
          <a:xfrm flipV="1">
            <a:off x="5634989" y="4645686"/>
            <a:ext cx="184945" cy="570451"/>
          </a:xfrm>
          <a:prstGeom prst="line">
            <a:avLst/>
          </a:prstGeom>
          <a:ln w="25400">
            <a:solidFill>
              <a:schemeClr val="accent1">
                <a:lumMod val="60000"/>
                <a:lumOff val="40000"/>
              </a:schemeClr>
            </a:solidFill>
            <a:custDash>
              <a:ds d="200000" sp="200000"/>
            </a:custDash>
            <a:miter lim="400000"/>
            <a:headEnd type="triangle"/>
            <a:tailEnd type="triangle"/>
          </a:ln>
        </p:spPr>
        <p:txBody>
          <a:bodyPr lIns="0" tIns="0" rIns="0" bIns="0" anchor="ctr"/>
          <a:lstStyle/>
          <a:p>
            <a:pPr marL="0" marR="0" lvl="0" indent="0" algn="ctr" defTabSz="412750" rtl="0" eaLnBrk="1" fontAlgn="auto" latinLnBrk="0" hangingPunct="0">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1600" b="0" i="0" u="none" strike="noStrike" kern="0" cap="none" spc="0" normalizeH="0" baseline="0" noProof="0">
              <a:ln>
                <a:noFill/>
              </a:ln>
              <a:solidFill>
                <a:srgbClr val="FFFFFF"/>
              </a:solidFill>
              <a:effectLst/>
              <a:uLnTx/>
              <a:uFillTx/>
              <a:latin typeface="HarmonyOS Sans SC Black"/>
              <a:ea typeface="+mj-ea"/>
              <a:cs typeface="+mn-cs"/>
              <a:sym typeface="Helvetica Neue Medium"/>
            </a:endParaRPr>
          </a:p>
        </p:txBody>
      </p:sp>
      <p:sp>
        <p:nvSpPr>
          <p:cNvPr id="19" name="Line">
            <a:extLst>
              <a:ext uri="{FF2B5EF4-FFF2-40B4-BE49-F238E27FC236}">
                <a16:creationId xmlns:a16="http://schemas.microsoft.com/office/drawing/2014/main" id="{5C008F34-D834-42A5-B366-901736EA5BDA}"/>
              </a:ext>
            </a:extLst>
          </p:cNvPr>
          <p:cNvSpPr/>
          <p:nvPr/>
        </p:nvSpPr>
        <p:spPr>
          <a:xfrm>
            <a:off x="6378353" y="4645827"/>
            <a:ext cx="183440" cy="568094"/>
          </a:xfrm>
          <a:prstGeom prst="line">
            <a:avLst/>
          </a:prstGeom>
          <a:ln w="25400">
            <a:solidFill>
              <a:schemeClr val="accent1">
                <a:lumMod val="60000"/>
                <a:lumOff val="40000"/>
              </a:schemeClr>
            </a:solidFill>
            <a:custDash>
              <a:ds d="200000" sp="200000"/>
            </a:custDash>
            <a:miter lim="400000"/>
            <a:headEnd type="triangle"/>
            <a:tailEnd type="triangle"/>
          </a:ln>
        </p:spPr>
        <p:txBody>
          <a:bodyPr lIns="0" tIns="0" rIns="0" bIns="0" anchor="ctr"/>
          <a:lstStyle/>
          <a:p>
            <a:pPr marL="0" marR="0" lvl="0" indent="0" algn="ctr" defTabSz="412750" rtl="0" eaLnBrk="1" fontAlgn="auto" latinLnBrk="0" hangingPunct="0">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1600" b="0" i="0" u="none" strike="noStrike" kern="0" cap="none" spc="0" normalizeH="0" baseline="0" noProof="0">
              <a:ln>
                <a:noFill/>
              </a:ln>
              <a:solidFill>
                <a:srgbClr val="FFFFFF"/>
              </a:solidFill>
              <a:effectLst/>
              <a:uLnTx/>
              <a:uFillTx/>
              <a:latin typeface="HarmonyOS Sans SC Black"/>
              <a:ea typeface="+mj-ea"/>
              <a:cs typeface="+mn-cs"/>
              <a:sym typeface="Helvetica Neue Medium"/>
            </a:endParaRPr>
          </a:p>
        </p:txBody>
      </p:sp>
      <p:sp>
        <p:nvSpPr>
          <p:cNvPr id="20" name="Line">
            <a:extLst>
              <a:ext uri="{FF2B5EF4-FFF2-40B4-BE49-F238E27FC236}">
                <a16:creationId xmlns:a16="http://schemas.microsoft.com/office/drawing/2014/main" id="{73D8A76A-88AD-488A-9BA2-D839F6762FA2}"/>
              </a:ext>
            </a:extLst>
          </p:cNvPr>
          <p:cNvSpPr/>
          <p:nvPr/>
        </p:nvSpPr>
        <p:spPr>
          <a:xfrm>
            <a:off x="6849609" y="4299297"/>
            <a:ext cx="489910" cy="342678"/>
          </a:xfrm>
          <a:prstGeom prst="line">
            <a:avLst/>
          </a:prstGeom>
          <a:ln w="25400">
            <a:solidFill>
              <a:schemeClr val="accent1">
                <a:lumMod val="60000"/>
                <a:lumOff val="40000"/>
              </a:schemeClr>
            </a:solidFill>
            <a:custDash>
              <a:ds d="200000" sp="200000"/>
            </a:custDash>
            <a:miter lim="400000"/>
            <a:headEnd type="triangle"/>
            <a:tailEnd type="triangle"/>
          </a:ln>
        </p:spPr>
        <p:txBody>
          <a:bodyPr lIns="0" tIns="0" rIns="0" bIns="0" anchor="ctr"/>
          <a:lstStyle/>
          <a:p>
            <a:pPr marL="0" marR="0" lvl="0" indent="0" algn="ctr" defTabSz="412750" rtl="0" eaLnBrk="1" fontAlgn="auto" latinLnBrk="0" hangingPunct="0">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1600" b="0" i="0" u="none" strike="noStrike" kern="0" cap="none" spc="0" normalizeH="0" baseline="0" noProof="0">
              <a:ln>
                <a:noFill/>
              </a:ln>
              <a:solidFill>
                <a:srgbClr val="FFFFFF"/>
              </a:solidFill>
              <a:effectLst/>
              <a:uLnTx/>
              <a:uFillTx/>
              <a:latin typeface="HarmonyOS Sans SC Black"/>
              <a:ea typeface="+mj-ea"/>
              <a:cs typeface="+mn-cs"/>
              <a:sym typeface="Helvetica Neue Medium"/>
            </a:endParaRPr>
          </a:p>
        </p:txBody>
      </p:sp>
      <p:sp>
        <p:nvSpPr>
          <p:cNvPr id="21" name="Line">
            <a:extLst>
              <a:ext uri="{FF2B5EF4-FFF2-40B4-BE49-F238E27FC236}">
                <a16:creationId xmlns:a16="http://schemas.microsoft.com/office/drawing/2014/main" id="{2D370B24-1702-4AF2-90DD-88470D65036C}"/>
              </a:ext>
            </a:extLst>
          </p:cNvPr>
          <p:cNvSpPr/>
          <p:nvPr/>
        </p:nvSpPr>
        <p:spPr>
          <a:xfrm>
            <a:off x="7014875" y="3775827"/>
            <a:ext cx="599728" cy="1"/>
          </a:xfrm>
          <a:prstGeom prst="line">
            <a:avLst/>
          </a:prstGeom>
          <a:ln w="25400">
            <a:solidFill>
              <a:schemeClr val="accent1">
                <a:lumMod val="60000"/>
                <a:lumOff val="40000"/>
              </a:schemeClr>
            </a:solidFill>
            <a:custDash>
              <a:ds d="200000" sp="200000"/>
            </a:custDash>
            <a:miter lim="400000"/>
            <a:headEnd type="triangle"/>
            <a:tailEnd type="triangle"/>
          </a:ln>
        </p:spPr>
        <p:txBody>
          <a:bodyPr lIns="0" tIns="0" rIns="0" bIns="0" anchor="ctr"/>
          <a:lstStyle/>
          <a:p>
            <a:pPr marL="0" marR="0" lvl="0" indent="0" algn="ctr" defTabSz="412750" rtl="0" eaLnBrk="1" fontAlgn="auto" latinLnBrk="0" hangingPunct="0">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1600" b="0" i="0" u="none" strike="noStrike" kern="0" cap="none" spc="0" normalizeH="0" baseline="0" noProof="0">
              <a:ln>
                <a:noFill/>
              </a:ln>
              <a:solidFill>
                <a:srgbClr val="FFFFFF"/>
              </a:solidFill>
              <a:effectLst/>
              <a:uLnTx/>
              <a:uFillTx/>
              <a:latin typeface="HarmonyOS Sans SC Black"/>
              <a:ea typeface="+mj-ea"/>
              <a:cs typeface="+mn-cs"/>
              <a:sym typeface="Helvetica Neue Medium"/>
            </a:endParaRPr>
          </a:p>
        </p:txBody>
      </p:sp>
      <p:sp>
        <p:nvSpPr>
          <p:cNvPr id="22" name="Line">
            <a:extLst>
              <a:ext uri="{FF2B5EF4-FFF2-40B4-BE49-F238E27FC236}">
                <a16:creationId xmlns:a16="http://schemas.microsoft.com/office/drawing/2014/main" id="{E48F14B1-8C85-43AF-B6C3-3FA64188D786}"/>
              </a:ext>
            </a:extLst>
          </p:cNvPr>
          <p:cNvSpPr/>
          <p:nvPr/>
        </p:nvSpPr>
        <p:spPr>
          <a:xfrm flipV="1">
            <a:off x="6852296" y="2916725"/>
            <a:ext cx="494490" cy="341363"/>
          </a:xfrm>
          <a:prstGeom prst="line">
            <a:avLst/>
          </a:prstGeom>
          <a:ln w="25400">
            <a:solidFill>
              <a:schemeClr val="accent1">
                <a:lumMod val="60000"/>
                <a:lumOff val="40000"/>
              </a:schemeClr>
            </a:solidFill>
            <a:custDash>
              <a:ds d="200000" sp="200000"/>
            </a:custDash>
            <a:miter lim="400000"/>
            <a:headEnd type="triangle"/>
            <a:tailEnd type="triangle"/>
          </a:ln>
        </p:spPr>
        <p:txBody>
          <a:bodyPr lIns="0" tIns="0" rIns="0" bIns="0" anchor="ctr"/>
          <a:lstStyle/>
          <a:p>
            <a:pPr marL="0" marR="0" lvl="0" indent="0" algn="ctr" defTabSz="412750" rtl="0" eaLnBrk="1" fontAlgn="auto" latinLnBrk="0" hangingPunct="0">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1600" b="0" i="0" u="none" strike="noStrike" kern="0" cap="none" spc="0" normalizeH="0" baseline="0" noProof="0">
              <a:ln>
                <a:noFill/>
              </a:ln>
              <a:solidFill>
                <a:srgbClr val="FFFFFF"/>
              </a:solidFill>
              <a:effectLst/>
              <a:uLnTx/>
              <a:uFillTx/>
              <a:latin typeface="HarmonyOS Sans SC Black"/>
              <a:ea typeface="+mj-ea"/>
              <a:cs typeface="+mn-cs"/>
              <a:sym typeface="Helvetica Neue Medium"/>
            </a:endParaRPr>
          </a:p>
        </p:txBody>
      </p:sp>
      <p:sp>
        <p:nvSpPr>
          <p:cNvPr id="23" name="Line">
            <a:extLst>
              <a:ext uri="{FF2B5EF4-FFF2-40B4-BE49-F238E27FC236}">
                <a16:creationId xmlns:a16="http://schemas.microsoft.com/office/drawing/2014/main" id="{5C99CDD1-613A-4E07-9C9A-07E40AFB259A}"/>
              </a:ext>
            </a:extLst>
          </p:cNvPr>
          <p:cNvSpPr/>
          <p:nvPr/>
        </p:nvSpPr>
        <p:spPr>
          <a:xfrm flipH="1">
            <a:off x="6379378" y="2335659"/>
            <a:ext cx="180479" cy="568177"/>
          </a:xfrm>
          <a:prstGeom prst="line">
            <a:avLst/>
          </a:prstGeom>
          <a:ln w="25400">
            <a:solidFill>
              <a:schemeClr val="accent1">
                <a:lumMod val="60000"/>
                <a:lumOff val="40000"/>
              </a:schemeClr>
            </a:solidFill>
            <a:custDash>
              <a:ds d="200000" sp="200000"/>
            </a:custDash>
            <a:miter lim="400000"/>
            <a:headEnd type="triangle"/>
            <a:tailEnd type="triangle"/>
          </a:ln>
        </p:spPr>
        <p:txBody>
          <a:bodyPr lIns="0" tIns="0" rIns="0" bIns="0" anchor="ctr"/>
          <a:lstStyle/>
          <a:p>
            <a:pPr marL="0" marR="0" lvl="0" indent="0" algn="ctr" defTabSz="412750" rtl="0" eaLnBrk="1" fontAlgn="auto" latinLnBrk="0" hangingPunct="0">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1600" b="0" i="0" u="none" strike="noStrike" kern="0" cap="none" spc="0" normalizeH="0" baseline="0" noProof="0">
              <a:ln>
                <a:noFill/>
              </a:ln>
              <a:solidFill>
                <a:srgbClr val="FFFFFF"/>
              </a:solidFill>
              <a:effectLst/>
              <a:uLnTx/>
              <a:uFillTx/>
              <a:latin typeface="HarmonyOS Sans SC Black"/>
              <a:ea typeface="+mj-ea"/>
              <a:cs typeface="+mn-cs"/>
              <a:sym typeface="Helvetica Neue Medium"/>
            </a:endParaRPr>
          </a:p>
        </p:txBody>
      </p:sp>
      <p:sp>
        <p:nvSpPr>
          <p:cNvPr id="25" name="This is a sample text">
            <a:extLst>
              <a:ext uri="{FF2B5EF4-FFF2-40B4-BE49-F238E27FC236}">
                <a16:creationId xmlns:a16="http://schemas.microsoft.com/office/drawing/2014/main" id="{5CB84A43-C5B2-4E2C-95E1-DE39B23182A4}"/>
              </a:ext>
            </a:extLst>
          </p:cNvPr>
          <p:cNvSpPr txBox="1"/>
          <p:nvPr/>
        </p:nvSpPr>
        <p:spPr>
          <a:xfrm rot="16200000">
            <a:off x="7401283" y="3583974"/>
            <a:ext cx="862245" cy="35907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25400" tIns="25400" rIns="25400" bIns="25400">
            <a:spAutoFit/>
          </a:bodyPr>
          <a:lstStyle>
            <a:lvl1pPr>
              <a:defRPr sz="2000" b="0">
                <a:solidFill>
                  <a:srgbClr val="F6F6F7"/>
                </a:solidFill>
                <a:latin typeface="Barlow Medium"/>
                <a:ea typeface="Barlow Medium"/>
                <a:cs typeface="Barlow Medium"/>
                <a:sym typeface="Barlow Medium"/>
              </a:defRPr>
            </a:lvl1pPr>
          </a:lstStyle>
          <a:p>
            <a:pPr marL="0" marR="0" lvl="0" indent="0" algn="ctr" defTabSz="412750" rtl="0" eaLnBrk="1" fontAlgn="auto" latinLnBrk="0" hangingPunct="0">
              <a:lnSpc>
                <a:spcPct val="100000"/>
              </a:lnSpc>
              <a:spcBef>
                <a:spcPts val="0"/>
              </a:spcBef>
              <a:spcAft>
                <a:spcPts val="0"/>
              </a:spcAft>
              <a:buClrTx/>
              <a:buSzTx/>
              <a:buFontTx/>
              <a:buNone/>
              <a:tabLst/>
              <a:defRPr/>
            </a:pPr>
            <a:r>
              <a:rPr kumimoji="0" sz="1000" b="0" i="0" u="none" strike="noStrike" kern="0" cap="none" spc="0" normalizeH="0" baseline="0" noProof="0">
                <a:ln>
                  <a:noFill/>
                </a:ln>
                <a:solidFill>
                  <a:srgbClr val="F7F5F7"/>
                </a:solidFill>
                <a:effectLst/>
                <a:uLnTx/>
                <a:uFillTx/>
                <a:latin typeface="HarmonyOS Sans SC Black"/>
                <a:ea typeface="+mj-ea"/>
                <a:sym typeface="Barlow Medium"/>
              </a:rPr>
              <a:t>This is a sample text</a:t>
            </a:r>
          </a:p>
        </p:txBody>
      </p:sp>
      <p:sp>
        <p:nvSpPr>
          <p:cNvPr id="26" name="This is a sample text">
            <a:extLst>
              <a:ext uri="{FF2B5EF4-FFF2-40B4-BE49-F238E27FC236}">
                <a16:creationId xmlns:a16="http://schemas.microsoft.com/office/drawing/2014/main" id="{8BDE932B-0709-48F9-9068-F69BCDD4AF1B}"/>
              </a:ext>
            </a:extLst>
          </p:cNvPr>
          <p:cNvSpPr txBox="1"/>
          <p:nvPr/>
        </p:nvSpPr>
        <p:spPr>
          <a:xfrm rot="16200000">
            <a:off x="3906556" y="3594960"/>
            <a:ext cx="862245" cy="35907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25400" tIns="25400" rIns="25400" bIns="25400">
            <a:spAutoFit/>
          </a:bodyPr>
          <a:lstStyle>
            <a:lvl1pPr>
              <a:defRPr sz="2000" b="0">
                <a:solidFill>
                  <a:srgbClr val="F6F6F7"/>
                </a:solidFill>
                <a:latin typeface="Barlow Medium"/>
                <a:ea typeface="Barlow Medium"/>
                <a:cs typeface="Barlow Medium"/>
                <a:sym typeface="Barlow Medium"/>
              </a:defRPr>
            </a:lvl1pPr>
          </a:lstStyle>
          <a:p>
            <a:pPr marL="0" marR="0" lvl="0" indent="0" algn="ctr" defTabSz="412750" rtl="0" eaLnBrk="1" fontAlgn="auto" latinLnBrk="0" hangingPunct="0">
              <a:lnSpc>
                <a:spcPct val="100000"/>
              </a:lnSpc>
              <a:spcBef>
                <a:spcPts val="0"/>
              </a:spcBef>
              <a:spcAft>
                <a:spcPts val="0"/>
              </a:spcAft>
              <a:buClrTx/>
              <a:buSzTx/>
              <a:buFontTx/>
              <a:buNone/>
              <a:tabLst/>
              <a:defRPr/>
            </a:pPr>
            <a:r>
              <a:rPr kumimoji="0" sz="1000" b="0" i="0" u="none" strike="noStrike" kern="0" cap="none" spc="0" normalizeH="0" baseline="0" noProof="0" dirty="0">
                <a:ln>
                  <a:noFill/>
                </a:ln>
                <a:solidFill>
                  <a:srgbClr val="F7F5F7"/>
                </a:solidFill>
                <a:effectLst/>
                <a:uLnTx/>
                <a:uFillTx/>
                <a:latin typeface="HarmonyOS Sans SC Black"/>
                <a:ea typeface="+mj-ea"/>
                <a:sym typeface="Barlow Medium"/>
              </a:rPr>
              <a:t>This is a sample text</a:t>
            </a:r>
          </a:p>
        </p:txBody>
      </p:sp>
      <p:sp>
        <p:nvSpPr>
          <p:cNvPr id="27" name="This is a sample text">
            <a:extLst>
              <a:ext uri="{FF2B5EF4-FFF2-40B4-BE49-F238E27FC236}">
                <a16:creationId xmlns:a16="http://schemas.microsoft.com/office/drawing/2014/main" id="{C2B2952F-CE6B-42EF-9B52-783B484B9C5C}"/>
              </a:ext>
            </a:extLst>
          </p:cNvPr>
          <p:cNvSpPr txBox="1"/>
          <p:nvPr/>
        </p:nvSpPr>
        <p:spPr>
          <a:xfrm rot="18524564">
            <a:off x="4238268" y="2562560"/>
            <a:ext cx="862245" cy="35907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25400" tIns="25400" rIns="25400" bIns="25400">
            <a:spAutoFit/>
          </a:bodyPr>
          <a:lstStyle>
            <a:lvl1pPr>
              <a:defRPr sz="2000" b="0">
                <a:solidFill>
                  <a:srgbClr val="F6F6F7"/>
                </a:solidFill>
                <a:latin typeface="Barlow Medium"/>
                <a:ea typeface="Barlow Medium"/>
                <a:cs typeface="Barlow Medium"/>
                <a:sym typeface="Barlow Medium"/>
              </a:defRPr>
            </a:lvl1pPr>
          </a:lstStyle>
          <a:p>
            <a:pPr marL="0" marR="0" lvl="0" indent="0" algn="ctr" defTabSz="412750" rtl="0" eaLnBrk="1" fontAlgn="auto" latinLnBrk="0" hangingPunct="0">
              <a:lnSpc>
                <a:spcPct val="100000"/>
              </a:lnSpc>
              <a:spcBef>
                <a:spcPts val="0"/>
              </a:spcBef>
              <a:spcAft>
                <a:spcPts val="0"/>
              </a:spcAft>
              <a:buClrTx/>
              <a:buSzTx/>
              <a:buFontTx/>
              <a:buNone/>
              <a:tabLst/>
              <a:defRPr/>
            </a:pPr>
            <a:r>
              <a:rPr kumimoji="0" sz="1000" b="0" i="0" u="none" strike="noStrike" kern="0" cap="none" spc="0" normalizeH="0" baseline="0" noProof="0">
                <a:ln>
                  <a:noFill/>
                </a:ln>
                <a:solidFill>
                  <a:srgbClr val="F7F5F7"/>
                </a:solidFill>
                <a:effectLst/>
                <a:uLnTx/>
                <a:uFillTx/>
                <a:latin typeface="HarmonyOS Sans SC Black"/>
                <a:ea typeface="+mj-ea"/>
                <a:sym typeface="Barlow Medium"/>
              </a:rPr>
              <a:t>This is a sample text</a:t>
            </a:r>
          </a:p>
        </p:txBody>
      </p:sp>
      <p:sp>
        <p:nvSpPr>
          <p:cNvPr id="28" name="This is a sample text">
            <a:extLst>
              <a:ext uri="{FF2B5EF4-FFF2-40B4-BE49-F238E27FC236}">
                <a16:creationId xmlns:a16="http://schemas.microsoft.com/office/drawing/2014/main" id="{294B397D-705D-4E2F-AC80-2CF69AE4E429}"/>
              </a:ext>
            </a:extLst>
          </p:cNvPr>
          <p:cNvSpPr txBox="1"/>
          <p:nvPr/>
        </p:nvSpPr>
        <p:spPr>
          <a:xfrm rot="20455098">
            <a:off x="5099603" y="1954928"/>
            <a:ext cx="862245" cy="35907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25400" tIns="25400" rIns="25400" bIns="25400">
            <a:spAutoFit/>
          </a:bodyPr>
          <a:lstStyle>
            <a:lvl1pPr>
              <a:defRPr sz="2000" b="0">
                <a:solidFill>
                  <a:srgbClr val="F6F6F7"/>
                </a:solidFill>
                <a:latin typeface="Barlow Medium"/>
                <a:ea typeface="Barlow Medium"/>
                <a:cs typeface="Barlow Medium"/>
                <a:sym typeface="Barlow Medium"/>
              </a:defRPr>
            </a:lvl1pPr>
          </a:lstStyle>
          <a:p>
            <a:pPr marL="0" marR="0" lvl="0" indent="0" algn="ctr" defTabSz="412750" rtl="0" eaLnBrk="1" fontAlgn="auto" latinLnBrk="0" hangingPunct="0">
              <a:lnSpc>
                <a:spcPct val="100000"/>
              </a:lnSpc>
              <a:spcBef>
                <a:spcPts val="0"/>
              </a:spcBef>
              <a:spcAft>
                <a:spcPts val="0"/>
              </a:spcAft>
              <a:buClrTx/>
              <a:buSzTx/>
              <a:buFontTx/>
              <a:buNone/>
              <a:tabLst/>
              <a:defRPr/>
            </a:pPr>
            <a:r>
              <a:rPr kumimoji="0" sz="1000" b="0" i="0" u="none" strike="noStrike" kern="0" cap="none" spc="0" normalizeH="0" baseline="0" noProof="0" dirty="0">
                <a:ln>
                  <a:noFill/>
                </a:ln>
                <a:solidFill>
                  <a:srgbClr val="F7F5F7"/>
                </a:solidFill>
                <a:effectLst/>
                <a:uLnTx/>
                <a:uFillTx/>
                <a:latin typeface="HarmonyOS Sans SC Black"/>
                <a:ea typeface="+mj-ea"/>
                <a:sym typeface="Barlow Medium"/>
              </a:rPr>
              <a:t>This is a sample text</a:t>
            </a:r>
          </a:p>
        </p:txBody>
      </p:sp>
      <p:sp>
        <p:nvSpPr>
          <p:cNvPr id="29" name="This is a sample text">
            <a:extLst>
              <a:ext uri="{FF2B5EF4-FFF2-40B4-BE49-F238E27FC236}">
                <a16:creationId xmlns:a16="http://schemas.microsoft.com/office/drawing/2014/main" id="{E42CBFEE-BA4E-4D2E-91EB-0873E39FE25E}"/>
              </a:ext>
            </a:extLst>
          </p:cNvPr>
          <p:cNvSpPr txBox="1"/>
          <p:nvPr/>
        </p:nvSpPr>
        <p:spPr>
          <a:xfrm rot="1215317">
            <a:off x="6205522" y="1949950"/>
            <a:ext cx="862245" cy="35907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25400" tIns="25400" rIns="25400" bIns="25400">
            <a:spAutoFit/>
          </a:bodyPr>
          <a:lstStyle>
            <a:lvl1pPr>
              <a:defRPr sz="2000" b="0">
                <a:solidFill>
                  <a:srgbClr val="F6F6F7"/>
                </a:solidFill>
                <a:latin typeface="Barlow Medium"/>
                <a:ea typeface="Barlow Medium"/>
                <a:cs typeface="Barlow Medium"/>
                <a:sym typeface="Barlow Medium"/>
              </a:defRPr>
            </a:lvl1pPr>
          </a:lstStyle>
          <a:p>
            <a:pPr marL="0" marR="0" lvl="0" indent="0" algn="ctr" defTabSz="412750" rtl="0" eaLnBrk="1" fontAlgn="auto" latinLnBrk="0" hangingPunct="0">
              <a:lnSpc>
                <a:spcPct val="100000"/>
              </a:lnSpc>
              <a:spcBef>
                <a:spcPts val="0"/>
              </a:spcBef>
              <a:spcAft>
                <a:spcPts val="0"/>
              </a:spcAft>
              <a:buClrTx/>
              <a:buSzTx/>
              <a:buFontTx/>
              <a:buNone/>
              <a:tabLst/>
              <a:defRPr/>
            </a:pPr>
            <a:r>
              <a:rPr kumimoji="0" sz="1000" b="0" i="0" u="none" strike="noStrike" kern="0" cap="none" spc="0" normalizeH="0" baseline="0" noProof="0">
                <a:ln>
                  <a:noFill/>
                </a:ln>
                <a:solidFill>
                  <a:srgbClr val="F7F5F7"/>
                </a:solidFill>
                <a:effectLst/>
                <a:uLnTx/>
                <a:uFillTx/>
                <a:latin typeface="HarmonyOS Sans SC Black"/>
                <a:ea typeface="+mj-ea"/>
                <a:sym typeface="Barlow Medium"/>
              </a:rPr>
              <a:t>This is a sample text</a:t>
            </a:r>
          </a:p>
        </p:txBody>
      </p:sp>
      <p:sp>
        <p:nvSpPr>
          <p:cNvPr id="30" name="This is a sample text">
            <a:extLst>
              <a:ext uri="{FF2B5EF4-FFF2-40B4-BE49-F238E27FC236}">
                <a16:creationId xmlns:a16="http://schemas.microsoft.com/office/drawing/2014/main" id="{7252CF34-184D-4100-B045-32A4D6BCDA5A}"/>
              </a:ext>
            </a:extLst>
          </p:cNvPr>
          <p:cNvSpPr txBox="1"/>
          <p:nvPr/>
        </p:nvSpPr>
        <p:spPr>
          <a:xfrm rot="3164700">
            <a:off x="7056421" y="2567170"/>
            <a:ext cx="862245" cy="35907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25400" tIns="25400" rIns="25400" bIns="25400">
            <a:spAutoFit/>
          </a:bodyPr>
          <a:lstStyle>
            <a:lvl1pPr>
              <a:defRPr sz="2000" b="0">
                <a:solidFill>
                  <a:srgbClr val="F6F6F7"/>
                </a:solidFill>
                <a:latin typeface="Barlow Medium"/>
                <a:ea typeface="Barlow Medium"/>
                <a:cs typeface="Barlow Medium"/>
                <a:sym typeface="Barlow Medium"/>
              </a:defRPr>
            </a:lvl1pPr>
          </a:lstStyle>
          <a:p>
            <a:pPr marL="0" marR="0" lvl="0" indent="0" algn="ctr" defTabSz="412750" rtl="0" eaLnBrk="1" fontAlgn="auto" latinLnBrk="0" hangingPunct="0">
              <a:lnSpc>
                <a:spcPct val="100000"/>
              </a:lnSpc>
              <a:spcBef>
                <a:spcPts val="0"/>
              </a:spcBef>
              <a:spcAft>
                <a:spcPts val="0"/>
              </a:spcAft>
              <a:buClrTx/>
              <a:buSzTx/>
              <a:buFontTx/>
              <a:buNone/>
              <a:tabLst/>
              <a:defRPr/>
            </a:pPr>
            <a:r>
              <a:rPr kumimoji="0" sz="1000" b="0" i="0" u="none" strike="noStrike" kern="0" cap="none" spc="0" normalizeH="0" baseline="0" noProof="0">
                <a:ln>
                  <a:noFill/>
                </a:ln>
                <a:solidFill>
                  <a:srgbClr val="F7F5F7"/>
                </a:solidFill>
                <a:effectLst/>
                <a:uLnTx/>
                <a:uFillTx/>
                <a:latin typeface="HarmonyOS Sans SC Black"/>
                <a:ea typeface="+mj-ea"/>
                <a:sym typeface="Barlow Medium"/>
              </a:rPr>
              <a:t>This is a sample text</a:t>
            </a:r>
          </a:p>
        </p:txBody>
      </p:sp>
      <p:sp>
        <p:nvSpPr>
          <p:cNvPr id="31" name="This is a sample text">
            <a:extLst>
              <a:ext uri="{FF2B5EF4-FFF2-40B4-BE49-F238E27FC236}">
                <a16:creationId xmlns:a16="http://schemas.microsoft.com/office/drawing/2014/main" id="{2D14005D-E5F0-4104-9E1B-83E28BDCBA24}"/>
              </a:ext>
            </a:extLst>
          </p:cNvPr>
          <p:cNvSpPr txBox="1"/>
          <p:nvPr/>
        </p:nvSpPr>
        <p:spPr>
          <a:xfrm rot="18337883">
            <a:off x="7043143" y="4605587"/>
            <a:ext cx="862245" cy="35907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25400" tIns="25400" rIns="25400" bIns="25400">
            <a:spAutoFit/>
          </a:bodyPr>
          <a:lstStyle>
            <a:lvl1pPr>
              <a:defRPr sz="2000" b="0">
                <a:solidFill>
                  <a:srgbClr val="F6F6F7"/>
                </a:solidFill>
                <a:latin typeface="Barlow Medium"/>
                <a:ea typeface="Barlow Medium"/>
                <a:cs typeface="Barlow Medium"/>
                <a:sym typeface="Barlow Medium"/>
              </a:defRPr>
            </a:lvl1pPr>
          </a:lstStyle>
          <a:p>
            <a:pPr marL="0" marR="0" lvl="0" indent="0" algn="ctr" defTabSz="412750" rtl="0" eaLnBrk="1" fontAlgn="auto" latinLnBrk="0" hangingPunct="0">
              <a:lnSpc>
                <a:spcPct val="100000"/>
              </a:lnSpc>
              <a:spcBef>
                <a:spcPts val="0"/>
              </a:spcBef>
              <a:spcAft>
                <a:spcPts val="0"/>
              </a:spcAft>
              <a:buClrTx/>
              <a:buSzTx/>
              <a:buFontTx/>
              <a:buNone/>
              <a:tabLst/>
              <a:defRPr/>
            </a:pPr>
            <a:r>
              <a:rPr kumimoji="0" sz="1000" b="0" i="0" u="none" strike="noStrike" kern="0" cap="none" spc="0" normalizeH="0" baseline="0" noProof="0">
                <a:ln>
                  <a:noFill/>
                </a:ln>
                <a:solidFill>
                  <a:srgbClr val="F7F5F7"/>
                </a:solidFill>
                <a:effectLst/>
                <a:uLnTx/>
                <a:uFillTx/>
                <a:latin typeface="HarmonyOS Sans SC Black"/>
                <a:ea typeface="+mj-ea"/>
                <a:sym typeface="Barlow Medium"/>
              </a:rPr>
              <a:t>This is a sample text</a:t>
            </a:r>
          </a:p>
        </p:txBody>
      </p:sp>
      <p:sp>
        <p:nvSpPr>
          <p:cNvPr id="32" name="This is a sample text">
            <a:extLst>
              <a:ext uri="{FF2B5EF4-FFF2-40B4-BE49-F238E27FC236}">
                <a16:creationId xmlns:a16="http://schemas.microsoft.com/office/drawing/2014/main" id="{5FD82C65-DE9B-4F8F-A137-78F4EE43A6C1}"/>
              </a:ext>
            </a:extLst>
          </p:cNvPr>
          <p:cNvSpPr txBox="1"/>
          <p:nvPr/>
        </p:nvSpPr>
        <p:spPr>
          <a:xfrm rot="20432855">
            <a:off x="6182324" y="5228913"/>
            <a:ext cx="862245" cy="35907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25400" tIns="25400" rIns="25400" bIns="25400">
            <a:spAutoFit/>
          </a:bodyPr>
          <a:lstStyle>
            <a:lvl1pPr>
              <a:defRPr sz="2000" b="0">
                <a:solidFill>
                  <a:srgbClr val="F6F6F7"/>
                </a:solidFill>
                <a:latin typeface="Barlow Medium"/>
                <a:ea typeface="Barlow Medium"/>
                <a:cs typeface="Barlow Medium"/>
                <a:sym typeface="Barlow Medium"/>
              </a:defRPr>
            </a:lvl1pPr>
          </a:lstStyle>
          <a:p>
            <a:pPr marL="0" marR="0" lvl="0" indent="0" algn="ctr" defTabSz="412750" rtl="0" eaLnBrk="1" fontAlgn="auto" latinLnBrk="0" hangingPunct="0">
              <a:lnSpc>
                <a:spcPct val="100000"/>
              </a:lnSpc>
              <a:spcBef>
                <a:spcPts val="0"/>
              </a:spcBef>
              <a:spcAft>
                <a:spcPts val="0"/>
              </a:spcAft>
              <a:buClrTx/>
              <a:buSzTx/>
              <a:buFontTx/>
              <a:buNone/>
              <a:tabLst/>
              <a:defRPr/>
            </a:pPr>
            <a:r>
              <a:rPr kumimoji="0" sz="1000" b="0" i="0" u="none" strike="noStrike" kern="0" cap="none" spc="0" normalizeH="0" baseline="0" noProof="0">
                <a:ln>
                  <a:noFill/>
                </a:ln>
                <a:solidFill>
                  <a:srgbClr val="F7F5F7"/>
                </a:solidFill>
                <a:effectLst/>
                <a:uLnTx/>
                <a:uFillTx/>
                <a:latin typeface="HarmonyOS Sans SC Black"/>
                <a:ea typeface="+mj-ea"/>
                <a:sym typeface="Barlow Medium"/>
              </a:rPr>
              <a:t>This is a sample text</a:t>
            </a:r>
          </a:p>
        </p:txBody>
      </p:sp>
      <p:sp>
        <p:nvSpPr>
          <p:cNvPr id="33" name="This is a sample text">
            <a:extLst>
              <a:ext uri="{FF2B5EF4-FFF2-40B4-BE49-F238E27FC236}">
                <a16:creationId xmlns:a16="http://schemas.microsoft.com/office/drawing/2014/main" id="{8417DD0E-CE6F-4AF5-935D-FD89645FDF9A}"/>
              </a:ext>
            </a:extLst>
          </p:cNvPr>
          <p:cNvSpPr txBox="1"/>
          <p:nvPr/>
        </p:nvSpPr>
        <p:spPr>
          <a:xfrm rot="1146302">
            <a:off x="5148544" y="5231453"/>
            <a:ext cx="862245" cy="35907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25400" tIns="25400" rIns="25400" bIns="25400">
            <a:spAutoFit/>
          </a:bodyPr>
          <a:lstStyle>
            <a:lvl1pPr>
              <a:defRPr sz="2000" b="0">
                <a:solidFill>
                  <a:srgbClr val="F6F6F7"/>
                </a:solidFill>
                <a:latin typeface="Barlow Medium"/>
                <a:ea typeface="Barlow Medium"/>
                <a:cs typeface="Barlow Medium"/>
                <a:sym typeface="Barlow Medium"/>
              </a:defRPr>
            </a:lvl1pPr>
          </a:lstStyle>
          <a:p>
            <a:pPr marL="0" marR="0" lvl="0" indent="0" algn="ctr" defTabSz="412750" rtl="0" eaLnBrk="1" fontAlgn="auto" latinLnBrk="0" hangingPunct="0">
              <a:lnSpc>
                <a:spcPct val="100000"/>
              </a:lnSpc>
              <a:spcBef>
                <a:spcPts val="0"/>
              </a:spcBef>
              <a:spcAft>
                <a:spcPts val="0"/>
              </a:spcAft>
              <a:buClrTx/>
              <a:buSzTx/>
              <a:buFontTx/>
              <a:buNone/>
              <a:tabLst/>
              <a:defRPr/>
            </a:pPr>
            <a:r>
              <a:rPr kumimoji="0" sz="1000" b="0" i="0" u="none" strike="noStrike" kern="0" cap="none" spc="0" normalizeH="0" baseline="0" noProof="0">
                <a:ln>
                  <a:noFill/>
                </a:ln>
                <a:solidFill>
                  <a:srgbClr val="F7F5F7"/>
                </a:solidFill>
                <a:effectLst/>
                <a:uLnTx/>
                <a:uFillTx/>
                <a:latin typeface="HarmonyOS Sans SC Black"/>
                <a:ea typeface="+mj-ea"/>
                <a:sym typeface="Barlow Medium"/>
              </a:rPr>
              <a:t>This is a sample text</a:t>
            </a:r>
          </a:p>
        </p:txBody>
      </p:sp>
      <p:sp>
        <p:nvSpPr>
          <p:cNvPr id="34" name="This is a sample text">
            <a:extLst>
              <a:ext uri="{FF2B5EF4-FFF2-40B4-BE49-F238E27FC236}">
                <a16:creationId xmlns:a16="http://schemas.microsoft.com/office/drawing/2014/main" id="{B3B5CD54-2175-4B28-88C5-7EC6553DB672}"/>
              </a:ext>
            </a:extLst>
          </p:cNvPr>
          <p:cNvSpPr txBox="1"/>
          <p:nvPr/>
        </p:nvSpPr>
        <p:spPr>
          <a:xfrm rot="3131700">
            <a:off x="4223028" y="4590093"/>
            <a:ext cx="862245" cy="35907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25400" tIns="25400" rIns="25400" bIns="25400">
            <a:spAutoFit/>
          </a:bodyPr>
          <a:lstStyle>
            <a:lvl1pPr>
              <a:defRPr sz="2000" b="0">
                <a:solidFill>
                  <a:srgbClr val="F6F6F7"/>
                </a:solidFill>
                <a:latin typeface="Barlow Medium"/>
                <a:ea typeface="Barlow Medium"/>
                <a:cs typeface="Barlow Medium"/>
                <a:sym typeface="Barlow Medium"/>
              </a:defRPr>
            </a:lvl1pPr>
          </a:lstStyle>
          <a:p>
            <a:pPr marL="0" marR="0" lvl="0" indent="0" algn="ctr" defTabSz="412750" rtl="0" eaLnBrk="1" fontAlgn="auto" latinLnBrk="0" hangingPunct="0">
              <a:lnSpc>
                <a:spcPct val="100000"/>
              </a:lnSpc>
              <a:spcBef>
                <a:spcPts val="0"/>
              </a:spcBef>
              <a:spcAft>
                <a:spcPts val="0"/>
              </a:spcAft>
              <a:buClrTx/>
              <a:buSzTx/>
              <a:buFontTx/>
              <a:buNone/>
              <a:tabLst/>
              <a:defRPr/>
            </a:pPr>
            <a:r>
              <a:rPr kumimoji="0" sz="1000" b="0" i="0" u="none" strike="noStrike" kern="0" cap="none" spc="0" normalizeH="0" baseline="0" noProof="0">
                <a:ln>
                  <a:noFill/>
                </a:ln>
                <a:solidFill>
                  <a:srgbClr val="F7F5F7"/>
                </a:solidFill>
                <a:effectLst/>
                <a:uLnTx/>
                <a:uFillTx/>
                <a:latin typeface="HarmonyOS Sans SC Black"/>
                <a:ea typeface="+mj-ea"/>
                <a:sym typeface="Barlow Medium"/>
              </a:rPr>
              <a:t>This is a sample text</a:t>
            </a:r>
          </a:p>
        </p:txBody>
      </p:sp>
      <p:sp>
        <p:nvSpPr>
          <p:cNvPr id="35" name="Process flow diagram">
            <a:extLst>
              <a:ext uri="{FF2B5EF4-FFF2-40B4-BE49-F238E27FC236}">
                <a16:creationId xmlns:a16="http://schemas.microsoft.com/office/drawing/2014/main" id="{D7DE2DDD-787C-4972-BBF7-D476A99EC454}"/>
              </a:ext>
            </a:extLst>
          </p:cNvPr>
          <p:cNvSpPr txBox="1"/>
          <p:nvPr/>
        </p:nvSpPr>
        <p:spPr>
          <a:xfrm>
            <a:off x="5322380" y="3509510"/>
            <a:ext cx="1471040" cy="605294"/>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5400" tIns="25400" rIns="25400" bIns="25400">
            <a:spAutoFit/>
          </a:bodyPr>
          <a:lstStyle>
            <a:lvl1pPr>
              <a:defRPr b="0">
                <a:solidFill>
                  <a:srgbClr val="535454"/>
                </a:solidFill>
                <a:latin typeface="Barlow Bold"/>
                <a:ea typeface="Barlow Bold"/>
                <a:cs typeface="Barlow Bold"/>
                <a:sym typeface="Barlow Bold"/>
              </a:defRPr>
            </a:lvl1pPr>
          </a:lstStyle>
          <a:p>
            <a:pPr marL="0" marR="0" lvl="0" indent="0" algn="ctr" defTabSz="412750" rtl="0" eaLnBrk="1" fontAlgn="auto" latinLnBrk="0" hangingPunct="0">
              <a:lnSpc>
                <a:spcPct val="100000"/>
              </a:lnSpc>
              <a:spcBef>
                <a:spcPts val="0"/>
              </a:spcBef>
              <a:spcAft>
                <a:spcPts val="0"/>
              </a:spcAft>
              <a:buClrTx/>
              <a:buSzTx/>
              <a:buFontTx/>
              <a:buNone/>
              <a:tabLst/>
              <a:defRPr/>
            </a:pPr>
            <a:r>
              <a:rPr kumimoji="0" sz="1800" b="0" i="0" u="none" strike="noStrike" kern="0" cap="none" spc="0" normalizeH="0" baseline="0" noProof="0" dirty="0">
                <a:ln>
                  <a:noFill/>
                </a:ln>
                <a:solidFill>
                  <a:srgbClr val="525455"/>
                </a:solidFill>
                <a:effectLst/>
                <a:uLnTx/>
                <a:uFillTx/>
                <a:latin typeface="HarmonyOS Sans SC Black"/>
                <a:ea typeface="+mj-ea"/>
                <a:sym typeface="Barlow Bold"/>
              </a:rPr>
              <a:t>Process flow diagram</a:t>
            </a:r>
          </a:p>
        </p:txBody>
      </p:sp>
      <p:sp>
        <p:nvSpPr>
          <p:cNvPr id="40" name="Circle">
            <a:extLst>
              <a:ext uri="{FF2B5EF4-FFF2-40B4-BE49-F238E27FC236}">
                <a16:creationId xmlns:a16="http://schemas.microsoft.com/office/drawing/2014/main" id="{38A60987-0BFE-4A38-AEA1-D35B7AB0C1D3}"/>
              </a:ext>
            </a:extLst>
          </p:cNvPr>
          <p:cNvSpPr/>
          <p:nvPr/>
        </p:nvSpPr>
        <p:spPr>
          <a:xfrm>
            <a:off x="3829577" y="2509395"/>
            <a:ext cx="241815" cy="241814"/>
          </a:xfrm>
          <a:prstGeom prst="ellipse">
            <a:avLst/>
          </a:prstGeom>
          <a:gradFill>
            <a:gsLst>
              <a:gs pos="73000">
                <a:schemeClr val="accent1"/>
              </a:gs>
              <a:gs pos="31000">
                <a:schemeClr val="accent1">
                  <a:lumMod val="60000"/>
                  <a:lumOff val="40000"/>
                </a:schemeClr>
              </a:gs>
              <a:gs pos="0">
                <a:schemeClr val="accent1">
                  <a:lumMod val="40000"/>
                  <a:lumOff val="60000"/>
                </a:schemeClr>
              </a:gs>
            </a:gsLst>
            <a:path path="circle">
              <a:fillToRect r="100000" b="100000"/>
            </a:path>
          </a:gradFill>
          <a:ln>
            <a:noFill/>
          </a:ln>
          <a:effectLst>
            <a:outerShdw blurRad="444500" dist="317500" dir="5400000" sx="92000" sy="92000" algn="t" rotWithShape="0">
              <a:schemeClr val="accent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white"/>
              </a:solidFill>
              <a:effectLst/>
              <a:uLnTx/>
              <a:uFillTx/>
              <a:latin typeface="HarmonyOS Sans SC Black"/>
              <a:ea typeface="+mj-ea"/>
              <a:cs typeface="+mn-cs"/>
              <a:sym typeface="Helvetica Neue Medium"/>
            </a:endParaRPr>
          </a:p>
        </p:txBody>
      </p:sp>
      <p:sp>
        <p:nvSpPr>
          <p:cNvPr id="41" name="Shape">
            <a:extLst>
              <a:ext uri="{FF2B5EF4-FFF2-40B4-BE49-F238E27FC236}">
                <a16:creationId xmlns:a16="http://schemas.microsoft.com/office/drawing/2014/main" id="{1C997A3F-871A-4FC8-9EEE-D062EEF6F7BA}"/>
              </a:ext>
            </a:extLst>
          </p:cNvPr>
          <p:cNvSpPr/>
          <p:nvPr/>
        </p:nvSpPr>
        <p:spPr>
          <a:xfrm>
            <a:off x="3889074" y="2575974"/>
            <a:ext cx="181826" cy="175319"/>
          </a:xfrm>
          <a:custGeom>
            <a:avLst/>
            <a:gdLst/>
            <a:ahLst/>
            <a:cxnLst>
              <a:cxn ang="0">
                <a:pos x="wd2" y="hd2"/>
              </a:cxn>
              <a:cxn ang="5400000">
                <a:pos x="wd2" y="hd2"/>
              </a:cxn>
              <a:cxn ang="10800000">
                <a:pos x="wd2" y="hd2"/>
              </a:cxn>
              <a:cxn ang="16200000">
                <a:pos x="wd2" y="hd2"/>
              </a:cxn>
            </a:cxnLst>
            <a:rect l="0" t="0" r="r" b="b"/>
            <a:pathLst>
              <a:path w="21600" h="21600" extrusionOk="0">
                <a:moveTo>
                  <a:pt x="21600" y="7597"/>
                </a:moveTo>
                <a:lnTo>
                  <a:pt x="14275" y="0"/>
                </a:lnTo>
                <a:lnTo>
                  <a:pt x="5530" y="166"/>
                </a:lnTo>
                <a:lnTo>
                  <a:pt x="0" y="4773"/>
                </a:lnTo>
                <a:lnTo>
                  <a:pt x="95" y="13176"/>
                </a:lnTo>
                <a:lnTo>
                  <a:pt x="8038" y="21600"/>
                </a:lnTo>
                <a:cubicBezTo>
                  <a:pt x="11696" y="21383"/>
                  <a:pt x="15137" y="19731"/>
                  <a:pt x="17663" y="16979"/>
                </a:cubicBezTo>
                <a:cubicBezTo>
                  <a:pt x="20001" y="14431"/>
                  <a:pt x="21396" y="11108"/>
                  <a:pt x="21600" y="7597"/>
                </a:cubicBezTo>
                <a:close/>
              </a:path>
            </a:pathLst>
          </a:custGeom>
          <a:gradFill>
            <a:gsLst>
              <a:gs pos="100000">
                <a:schemeClr val="accent1">
                  <a:lumMod val="75000"/>
                  <a:alpha val="0"/>
                </a:schemeClr>
              </a:gs>
              <a:gs pos="0">
                <a:schemeClr val="accent1">
                  <a:lumMod val="75000"/>
                </a:schemeClr>
              </a:gs>
            </a:gsLst>
            <a:path path="circle">
              <a:fillToRect r="100000" b="100000"/>
            </a:path>
          </a:gradFill>
          <a:ln w="12700">
            <a:miter lim="400000"/>
          </a:ln>
        </p:spPr>
        <p:txBody>
          <a:bodyPr lIns="0" tIns="0" rIns="0" bIns="0" anchor="ctr"/>
          <a:lstStyle/>
          <a:p>
            <a:pPr marL="0" marR="0" lvl="0" indent="0" algn="ctr" defTabSz="412750" rtl="0" eaLnBrk="1" fontAlgn="auto" latinLnBrk="0" hangingPunct="0">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FFFFF"/>
              </a:solidFill>
              <a:effectLst/>
              <a:uLnTx/>
              <a:uFillTx/>
              <a:latin typeface="HarmonyOS Sans SC Black"/>
              <a:ea typeface="+mj-ea"/>
              <a:cs typeface="+mn-cs"/>
              <a:sym typeface="Helvetica Neue Medium"/>
            </a:endParaRPr>
          </a:p>
        </p:txBody>
      </p:sp>
      <p:sp>
        <p:nvSpPr>
          <p:cNvPr id="42" name="Graphic 12">
            <a:extLst>
              <a:ext uri="{FF2B5EF4-FFF2-40B4-BE49-F238E27FC236}">
                <a16:creationId xmlns:a16="http://schemas.microsoft.com/office/drawing/2014/main" id="{F4D60E80-86E4-476D-B8B6-2C59D7FC2810}"/>
              </a:ext>
            </a:extLst>
          </p:cNvPr>
          <p:cNvSpPr/>
          <p:nvPr/>
        </p:nvSpPr>
        <p:spPr>
          <a:xfrm>
            <a:off x="3870257" y="2550075"/>
            <a:ext cx="160454" cy="160454"/>
          </a:xfrm>
          <a:custGeom>
            <a:avLst/>
            <a:gdLst/>
            <a:ahLst/>
            <a:cxnLst>
              <a:cxn ang="0">
                <a:pos x="wd2" y="hd2"/>
              </a:cxn>
              <a:cxn ang="5400000">
                <a:pos x="wd2" y="hd2"/>
              </a:cxn>
              <a:cxn ang="10800000">
                <a:pos x="wd2" y="hd2"/>
              </a:cxn>
              <a:cxn ang="16200000">
                <a:pos x="wd2" y="hd2"/>
              </a:cxn>
            </a:cxnLst>
            <a:rect l="0" t="0" r="r" b="b"/>
            <a:pathLst>
              <a:path w="21600" h="21600" extrusionOk="0">
                <a:moveTo>
                  <a:pt x="21600" y="10800"/>
                </a:moveTo>
                <a:cubicBezTo>
                  <a:pt x="21600" y="16765"/>
                  <a:pt x="16765" y="21600"/>
                  <a:pt x="10800" y="21600"/>
                </a:cubicBezTo>
                <a:cubicBezTo>
                  <a:pt x="4835" y="21600"/>
                  <a:pt x="0" y="16765"/>
                  <a:pt x="0" y="10800"/>
                </a:cubicBezTo>
                <a:cubicBezTo>
                  <a:pt x="0" y="4835"/>
                  <a:pt x="4835" y="0"/>
                  <a:pt x="10800" y="0"/>
                </a:cubicBezTo>
                <a:cubicBezTo>
                  <a:pt x="16765" y="0"/>
                  <a:pt x="21600" y="4835"/>
                  <a:pt x="21600" y="10800"/>
                </a:cubicBezTo>
                <a:close/>
                <a:moveTo>
                  <a:pt x="10229" y="15269"/>
                </a:moveTo>
                <a:lnTo>
                  <a:pt x="17069" y="8429"/>
                </a:lnTo>
                <a:cubicBezTo>
                  <a:pt x="17345" y="8143"/>
                  <a:pt x="17337" y="7687"/>
                  <a:pt x="17051" y="7411"/>
                </a:cubicBezTo>
                <a:cubicBezTo>
                  <a:pt x="16772" y="7141"/>
                  <a:pt x="16330" y="7141"/>
                  <a:pt x="16051" y="7411"/>
                </a:cubicBezTo>
                <a:lnTo>
                  <a:pt x="9720" y="13742"/>
                </a:lnTo>
                <a:lnTo>
                  <a:pt x="5549" y="9571"/>
                </a:lnTo>
                <a:cubicBezTo>
                  <a:pt x="5273" y="9285"/>
                  <a:pt x="4817" y="9277"/>
                  <a:pt x="4531" y="9553"/>
                </a:cubicBezTo>
                <a:cubicBezTo>
                  <a:pt x="4245" y="9829"/>
                  <a:pt x="4237" y="10285"/>
                  <a:pt x="4513" y="10571"/>
                </a:cubicBezTo>
                <a:cubicBezTo>
                  <a:pt x="4519" y="10577"/>
                  <a:pt x="4525" y="10583"/>
                  <a:pt x="4531" y="10589"/>
                </a:cubicBezTo>
                <a:lnTo>
                  <a:pt x="9211" y="15269"/>
                </a:lnTo>
                <a:cubicBezTo>
                  <a:pt x="9492" y="15550"/>
                  <a:pt x="9948" y="15550"/>
                  <a:pt x="10229" y="15269"/>
                </a:cubicBezTo>
                <a:close/>
              </a:path>
            </a:pathLst>
          </a:custGeom>
          <a:solidFill>
            <a:srgbClr val="F6F6F7"/>
          </a:solidFill>
          <a:ln w="12700" cap="flat">
            <a:noFill/>
            <a:miter lim="400000"/>
          </a:ln>
          <a:effectLst/>
        </p:spPr>
        <p:txBody>
          <a:bodyPr wrap="square" lIns="22860" tIns="22860" rIns="22860" bIns="22860" numCol="1" anchor="ctr">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800" b="0">
                <a:latin typeface="Calibri"/>
                <a:ea typeface="Calibri"/>
                <a:cs typeface="Calibri"/>
                <a:sym typeface="Calibri"/>
              </a:defRPr>
            </a:pPr>
            <a:endParaRPr kumimoji="0" sz="900" b="0" i="0" u="none" strike="noStrike" kern="0" cap="none" spc="0" normalizeH="0" baseline="0" noProof="0">
              <a:ln>
                <a:noFill/>
              </a:ln>
              <a:solidFill>
                <a:srgbClr val="000000"/>
              </a:solidFill>
              <a:effectLst/>
              <a:uLnTx/>
              <a:uFillTx/>
              <a:latin typeface="HarmonyOS Sans SC Black"/>
              <a:ea typeface="+mj-ea"/>
              <a:cs typeface="Calibri"/>
              <a:sym typeface="Calibri"/>
            </a:endParaRPr>
          </a:p>
        </p:txBody>
      </p:sp>
      <p:sp>
        <p:nvSpPr>
          <p:cNvPr id="39" name="Triangle">
            <a:extLst>
              <a:ext uri="{FF2B5EF4-FFF2-40B4-BE49-F238E27FC236}">
                <a16:creationId xmlns:a16="http://schemas.microsoft.com/office/drawing/2014/main" id="{4B1D64C3-E000-433B-B3D7-6C5BAC66620C}"/>
              </a:ext>
            </a:extLst>
          </p:cNvPr>
          <p:cNvSpPr/>
          <p:nvPr/>
        </p:nvSpPr>
        <p:spPr>
          <a:xfrm rot="3950235">
            <a:off x="5096366" y="1498723"/>
            <a:ext cx="62356" cy="62356"/>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21600" y="21600"/>
                </a:lnTo>
                <a:lnTo>
                  <a:pt x="0" y="21600"/>
                </a:lnTo>
                <a:close/>
              </a:path>
            </a:pathLst>
          </a:custGeom>
          <a:solidFill>
            <a:schemeClr val="accent1">
              <a:lumMod val="20000"/>
              <a:lumOff val="80000"/>
            </a:schemeClr>
          </a:solidFill>
          <a:ln w="12700">
            <a:miter lim="400000"/>
          </a:ln>
        </p:spPr>
        <p:txBody>
          <a:bodyPr lIns="0" tIns="0" rIns="0" bIns="0" anchor="ctr"/>
          <a:lstStyle/>
          <a:p>
            <a:pPr marL="0" marR="0" lvl="0" indent="0" algn="ctr" defTabSz="412750" rtl="0" eaLnBrk="1" fontAlgn="auto" latinLnBrk="0" hangingPunct="0">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1600" b="0" i="0" u="none" strike="noStrike" kern="0" cap="none" spc="0" normalizeH="0" baseline="0" noProof="0">
              <a:ln>
                <a:noFill/>
              </a:ln>
              <a:solidFill>
                <a:srgbClr val="FFFFFF"/>
              </a:solidFill>
              <a:effectLst/>
              <a:uLnTx/>
              <a:uFillTx/>
              <a:latin typeface="HarmonyOS Sans SC Black"/>
              <a:ea typeface="+mj-ea"/>
              <a:cs typeface="+mn-cs"/>
              <a:sym typeface="Helvetica Neue Medium"/>
            </a:endParaRPr>
          </a:p>
        </p:txBody>
      </p:sp>
      <p:sp>
        <p:nvSpPr>
          <p:cNvPr id="62" name="Shape">
            <a:extLst>
              <a:ext uri="{FF2B5EF4-FFF2-40B4-BE49-F238E27FC236}">
                <a16:creationId xmlns:a16="http://schemas.microsoft.com/office/drawing/2014/main" id="{040A0969-B2BD-4EC8-B075-BAAB94CB3511}"/>
              </a:ext>
            </a:extLst>
          </p:cNvPr>
          <p:cNvSpPr/>
          <p:nvPr/>
        </p:nvSpPr>
        <p:spPr>
          <a:xfrm>
            <a:off x="9053045" y="5574906"/>
            <a:ext cx="36465" cy="99712"/>
          </a:xfrm>
          <a:custGeom>
            <a:avLst/>
            <a:gdLst/>
            <a:ahLst/>
            <a:cxnLst>
              <a:cxn ang="0">
                <a:pos x="wd2" y="hd2"/>
              </a:cxn>
              <a:cxn ang="5400000">
                <a:pos x="wd2" y="hd2"/>
              </a:cxn>
              <a:cxn ang="10800000">
                <a:pos x="wd2" y="hd2"/>
              </a:cxn>
              <a:cxn ang="16200000">
                <a:pos x="wd2" y="hd2"/>
              </a:cxn>
            </a:cxnLst>
            <a:rect l="0" t="0" r="r" b="b"/>
            <a:pathLst>
              <a:path w="21599" h="21584" extrusionOk="0">
                <a:moveTo>
                  <a:pt x="0" y="1732"/>
                </a:moveTo>
                <a:cubicBezTo>
                  <a:pt x="-1" y="1616"/>
                  <a:pt x="100" y="1502"/>
                  <a:pt x="287" y="1407"/>
                </a:cubicBezTo>
                <a:cubicBezTo>
                  <a:pt x="489" y="1306"/>
                  <a:pt x="779" y="1232"/>
                  <a:pt x="1111" y="1198"/>
                </a:cubicBezTo>
                <a:lnTo>
                  <a:pt x="8348" y="207"/>
                </a:lnTo>
                <a:cubicBezTo>
                  <a:pt x="8705" y="144"/>
                  <a:pt x="9079" y="94"/>
                  <a:pt x="9464" y="60"/>
                </a:cubicBezTo>
                <a:cubicBezTo>
                  <a:pt x="9886" y="22"/>
                  <a:pt x="10318" y="2"/>
                  <a:pt x="10752" y="1"/>
                </a:cubicBezTo>
                <a:lnTo>
                  <a:pt x="20274" y="1"/>
                </a:lnTo>
                <a:cubicBezTo>
                  <a:pt x="20690" y="-10"/>
                  <a:pt x="21092" y="58"/>
                  <a:pt x="21339" y="180"/>
                </a:cubicBezTo>
                <a:cubicBezTo>
                  <a:pt x="21513" y="267"/>
                  <a:pt x="21593" y="374"/>
                  <a:pt x="21563" y="480"/>
                </a:cubicBezTo>
                <a:lnTo>
                  <a:pt x="21599" y="21163"/>
                </a:lnTo>
                <a:cubicBezTo>
                  <a:pt x="21587" y="21270"/>
                  <a:pt x="21469" y="21371"/>
                  <a:pt x="21266" y="21448"/>
                </a:cubicBezTo>
                <a:cubicBezTo>
                  <a:pt x="21024" y="21540"/>
                  <a:pt x="20684" y="21590"/>
                  <a:pt x="20334" y="21584"/>
                </a:cubicBezTo>
                <a:lnTo>
                  <a:pt x="11015" y="21584"/>
                </a:lnTo>
                <a:cubicBezTo>
                  <a:pt x="10657" y="21590"/>
                  <a:pt x="10311" y="21537"/>
                  <a:pt x="10072" y="21440"/>
                </a:cubicBezTo>
                <a:cubicBezTo>
                  <a:pt x="9891" y="21367"/>
                  <a:pt x="9785" y="21273"/>
                  <a:pt x="9771" y="21174"/>
                </a:cubicBezTo>
                <a:lnTo>
                  <a:pt x="9636" y="4253"/>
                </a:lnTo>
                <a:cubicBezTo>
                  <a:pt x="9639" y="4193"/>
                  <a:pt x="9570" y="4136"/>
                  <a:pt x="9447" y="4098"/>
                </a:cubicBezTo>
                <a:cubicBezTo>
                  <a:pt x="9286" y="4047"/>
                  <a:pt x="9059" y="4034"/>
                  <a:pt x="8864" y="4064"/>
                </a:cubicBezTo>
                <a:lnTo>
                  <a:pt x="1543" y="4572"/>
                </a:lnTo>
                <a:cubicBezTo>
                  <a:pt x="1228" y="4613"/>
                  <a:pt x="880" y="4601"/>
                  <a:pt x="591" y="4541"/>
                </a:cubicBezTo>
                <a:cubicBezTo>
                  <a:pt x="265" y="4472"/>
                  <a:pt x="51" y="4349"/>
                  <a:pt x="19" y="4212"/>
                </a:cubicBezTo>
                <a:lnTo>
                  <a:pt x="0" y="1732"/>
                </a:lnTo>
                <a:close/>
              </a:path>
            </a:pathLst>
          </a:custGeom>
          <a:solidFill>
            <a:srgbClr val="F6F6F7"/>
          </a:solidFill>
          <a:ln w="12700" cap="flat">
            <a:noFill/>
            <a:miter lim="400000"/>
          </a:ln>
          <a:effectLst/>
        </p:spPr>
        <p:txBody>
          <a:bodyPr wrap="square" lIns="0" tIns="0" rIns="0" bIns="0" numCol="1" anchor="ctr">
            <a:noAutofit/>
          </a:bodyPr>
          <a:lstStyle/>
          <a:p>
            <a:pPr marL="0" marR="0" lvl="0" indent="0" algn="ctr" defTabSz="412750" rtl="0" eaLnBrk="1" fontAlgn="auto" latinLnBrk="0" hangingPunct="0">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1600" b="0" i="0" u="none" strike="noStrike" kern="0" cap="none" spc="0" normalizeH="0" baseline="0" noProof="0">
              <a:ln>
                <a:noFill/>
              </a:ln>
              <a:solidFill>
                <a:srgbClr val="FFFFFF"/>
              </a:solidFill>
              <a:effectLst/>
              <a:uLnTx/>
              <a:uFillTx/>
              <a:latin typeface="Helvetica Neue Medium"/>
              <a:cs typeface="+mn-cs"/>
              <a:sym typeface="Helvetica Neue Medium"/>
            </a:endParaRPr>
          </a:p>
        </p:txBody>
      </p:sp>
      <p:sp>
        <p:nvSpPr>
          <p:cNvPr id="49" name="This is a sample text. Insert your description here.">
            <a:extLst>
              <a:ext uri="{FF2B5EF4-FFF2-40B4-BE49-F238E27FC236}">
                <a16:creationId xmlns:a16="http://schemas.microsoft.com/office/drawing/2014/main" id="{6CDF2E4A-8792-468B-BD87-E8B8A187E3AF}"/>
              </a:ext>
            </a:extLst>
          </p:cNvPr>
          <p:cNvSpPr txBox="1"/>
          <p:nvPr/>
        </p:nvSpPr>
        <p:spPr>
          <a:xfrm>
            <a:off x="9310392" y="1599489"/>
            <a:ext cx="2053143" cy="436017"/>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5400" tIns="25400" rIns="25400" bIns="25400" numCol="1" anchor="t">
            <a:spAutoFit/>
          </a:bodyPr>
          <a:lstStyle>
            <a:lvl1pPr algn="l">
              <a:defRPr sz="2500" b="0">
                <a:solidFill>
                  <a:srgbClr val="9E9F9E"/>
                </a:solidFill>
                <a:latin typeface="Barlow Medium"/>
                <a:ea typeface="Barlow Medium"/>
                <a:cs typeface="Barlow Medium"/>
                <a:sym typeface="Barlow Medium"/>
              </a:defRPr>
            </a:lvl1pPr>
          </a:lstStyle>
          <a:p>
            <a:pPr marL="0" marR="0" lvl="0" indent="0" algn="l" defTabSz="412750" rtl="0" eaLnBrk="1" fontAlgn="auto" latinLnBrk="0" hangingPunct="0">
              <a:lnSpc>
                <a:spcPct val="100000"/>
              </a:lnSpc>
              <a:spcBef>
                <a:spcPts val="0"/>
              </a:spcBef>
              <a:spcAft>
                <a:spcPts val="0"/>
              </a:spcAft>
              <a:buClrTx/>
              <a:buSzTx/>
              <a:buFontTx/>
              <a:buNone/>
              <a:tabLst/>
              <a:defRPr/>
            </a:pPr>
            <a:r>
              <a:rPr kumimoji="0" sz="1200" b="0" i="0" u="none" strike="noStrike" kern="0" cap="none" spc="0" normalizeH="0" baseline="0" noProof="0" dirty="0">
                <a:ln>
                  <a:noFill/>
                </a:ln>
                <a:solidFill>
                  <a:prstClr val="black">
                    <a:lumMod val="50000"/>
                    <a:lumOff val="50000"/>
                  </a:prstClr>
                </a:solidFill>
                <a:effectLst/>
                <a:uLnTx/>
                <a:uFillTx/>
                <a:latin typeface="HarmonyOS Sans SC"/>
                <a:ea typeface="+mn-ea"/>
                <a:sym typeface="Barlow Medium"/>
              </a:rPr>
              <a:t>This is a sample text. Insert your description here.</a:t>
            </a:r>
          </a:p>
        </p:txBody>
      </p:sp>
      <p:sp>
        <p:nvSpPr>
          <p:cNvPr id="50" name="This is a sample text.">
            <a:extLst>
              <a:ext uri="{FF2B5EF4-FFF2-40B4-BE49-F238E27FC236}">
                <a16:creationId xmlns:a16="http://schemas.microsoft.com/office/drawing/2014/main" id="{D9B0BAFE-52C4-4F0E-B3B0-86E0F809E1DA}"/>
              </a:ext>
            </a:extLst>
          </p:cNvPr>
          <p:cNvSpPr txBox="1"/>
          <p:nvPr/>
        </p:nvSpPr>
        <p:spPr>
          <a:xfrm>
            <a:off x="9313111" y="1309700"/>
            <a:ext cx="2172659" cy="266740"/>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5400" tIns="25400" rIns="25400" bIns="25400" numCol="1" anchor="t">
            <a:spAutoFit/>
          </a:bodyPr>
          <a:lstStyle>
            <a:lvl1pPr algn="l">
              <a:defRPr sz="2500" b="0">
                <a:solidFill>
                  <a:srgbClr val="545453"/>
                </a:solidFill>
                <a:latin typeface="Barlow SemiBold"/>
                <a:ea typeface="Barlow SemiBold"/>
                <a:cs typeface="Barlow SemiBold"/>
                <a:sym typeface="Barlow SemiBold"/>
              </a:defRPr>
            </a:lvl1pPr>
          </a:lstStyle>
          <a:p>
            <a:pPr marL="0" marR="0" lvl="0" indent="0" algn="l" defTabSz="412750" rtl="0" eaLnBrk="1" fontAlgn="auto" latinLnBrk="0" hangingPunct="0">
              <a:lnSpc>
                <a:spcPct val="100000"/>
              </a:lnSpc>
              <a:spcBef>
                <a:spcPts val="0"/>
              </a:spcBef>
              <a:spcAft>
                <a:spcPts val="0"/>
              </a:spcAft>
              <a:buClrTx/>
              <a:buSzTx/>
              <a:buFontTx/>
              <a:buNone/>
              <a:tabLst/>
              <a:defRPr/>
            </a:pPr>
            <a:r>
              <a:rPr kumimoji="0" sz="1400" b="0" i="0" u="none" strike="noStrike" kern="0" cap="none" spc="0" normalizeH="0" baseline="0" noProof="0" dirty="0">
                <a:ln>
                  <a:noFill/>
                </a:ln>
                <a:solidFill>
                  <a:srgbClr val="525455"/>
                </a:solidFill>
                <a:effectLst/>
                <a:uLnTx/>
                <a:uFillTx/>
                <a:latin typeface="HarmonyOS Sans SC Black"/>
                <a:ea typeface="+mj-ea"/>
                <a:sym typeface="Barlow SemiBold"/>
              </a:rPr>
              <a:t>This is a sample text.</a:t>
            </a:r>
          </a:p>
        </p:txBody>
      </p:sp>
      <p:sp>
        <p:nvSpPr>
          <p:cNvPr id="51" name="This is a sample text. Insert your description here.">
            <a:extLst>
              <a:ext uri="{FF2B5EF4-FFF2-40B4-BE49-F238E27FC236}">
                <a16:creationId xmlns:a16="http://schemas.microsoft.com/office/drawing/2014/main" id="{1D925C4B-1639-45A0-BC70-B5CC99F20E5D}"/>
              </a:ext>
            </a:extLst>
          </p:cNvPr>
          <p:cNvSpPr txBox="1"/>
          <p:nvPr/>
        </p:nvSpPr>
        <p:spPr>
          <a:xfrm>
            <a:off x="9310392" y="2645998"/>
            <a:ext cx="2053143" cy="436017"/>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5400" tIns="25400" rIns="25400" bIns="25400" numCol="1" anchor="t">
            <a:spAutoFit/>
          </a:bodyPr>
          <a:lstStyle>
            <a:lvl1pPr algn="l">
              <a:defRPr sz="2500" b="0">
                <a:solidFill>
                  <a:srgbClr val="9E9F9E"/>
                </a:solidFill>
                <a:latin typeface="Barlow Medium"/>
                <a:ea typeface="Barlow Medium"/>
                <a:cs typeface="Barlow Medium"/>
                <a:sym typeface="Barlow Medium"/>
              </a:defRPr>
            </a:lvl1pPr>
          </a:lstStyle>
          <a:p>
            <a:pPr marL="0" marR="0" lvl="0" indent="0" algn="l" defTabSz="412750" rtl="0" eaLnBrk="1" fontAlgn="auto" latinLnBrk="0" hangingPunct="0">
              <a:lnSpc>
                <a:spcPct val="100000"/>
              </a:lnSpc>
              <a:spcBef>
                <a:spcPts val="0"/>
              </a:spcBef>
              <a:spcAft>
                <a:spcPts val="0"/>
              </a:spcAft>
              <a:buClrTx/>
              <a:buSzTx/>
              <a:buFontTx/>
              <a:buNone/>
              <a:tabLst/>
              <a:defRPr/>
            </a:pPr>
            <a:r>
              <a:rPr kumimoji="0" sz="1200" b="0" i="0" u="none" strike="noStrike" kern="0" cap="none" spc="0" normalizeH="0" baseline="0" noProof="0">
                <a:ln>
                  <a:noFill/>
                </a:ln>
                <a:solidFill>
                  <a:prstClr val="black">
                    <a:lumMod val="50000"/>
                    <a:lumOff val="50000"/>
                  </a:prstClr>
                </a:solidFill>
                <a:effectLst/>
                <a:uLnTx/>
                <a:uFillTx/>
                <a:latin typeface="HarmonyOS Sans SC"/>
                <a:ea typeface="+mn-ea"/>
                <a:sym typeface="Barlow Medium"/>
              </a:rPr>
              <a:t>This is a sample text. Insert your description here.</a:t>
            </a:r>
          </a:p>
        </p:txBody>
      </p:sp>
      <p:sp>
        <p:nvSpPr>
          <p:cNvPr id="52" name="This is a sample text.">
            <a:extLst>
              <a:ext uri="{FF2B5EF4-FFF2-40B4-BE49-F238E27FC236}">
                <a16:creationId xmlns:a16="http://schemas.microsoft.com/office/drawing/2014/main" id="{DB679F06-CFCE-42DF-A5B8-B941B939D964}"/>
              </a:ext>
            </a:extLst>
          </p:cNvPr>
          <p:cNvSpPr txBox="1"/>
          <p:nvPr/>
        </p:nvSpPr>
        <p:spPr>
          <a:xfrm>
            <a:off x="9313111" y="2356209"/>
            <a:ext cx="2172659" cy="266740"/>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5400" tIns="25400" rIns="25400" bIns="25400" numCol="1" anchor="t">
            <a:spAutoFit/>
          </a:bodyPr>
          <a:lstStyle>
            <a:lvl1pPr algn="l">
              <a:defRPr sz="2500" b="0">
                <a:solidFill>
                  <a:srgbClr val="545453"/>
                </a:solidFill>
                <a:latin typeface="Barlow SemiBold"/>
                <a:ea typeface="Barlow SemiBold"/>
                <a:cs typeface="Barlow SemiBold"/>
                <a:sym typeface="Barlow SemiBold"/>
              </a:defRPr>
            </a:lvl1pPr>
          </a:lstStyle>
          <a:p>
            <a:pPr marL="0" marR="0" lvl="0" indent="0" algn="l" defTabSz="412750" rtl="0" eaLnBrk="1" fontAlgn="auto" latinLnBrk="0" hangingPunct="0">
              <a:lnSpc>
                <a:spcPct val="100000"/>
              </a:lnSpc>
              <a:spcBef>
                <a:spcPts val="0"/>
              </a:spcBef>
              <a:spcAft>
                <a:spcPts val="0"/>
              </a:spcAft>
              <a:buClrTx/>
              <a:buSzTx/>
              <a:buFontTx/>
              <a:buNone/>
              <a:tabLst/>
              <a:defRPr/>
            </a:pPr>
            <a:r>
              <a:rPr kumimoji="0" sz="1400" b="0" i="0" u="none" strike="noStrike" kern="0" cap="none" spc="0" normalizeH="0" baseline="0" noProof="0">
                <a:ln>
                  <a:noFill/>
                </a:ln>
                <a:solidFill>
                  <a:srgbClr val="525455"/>
                </a:solidFill>
                <a:effectLst/>
                <a:uLnTx/>
                <a:uFillTx/>
                <a:latin typeface="HarmonyOS Sans SC Black"/>
                <a:ea typeface="+mj-ea"/>
                <a:sym typeface="Barlow SemiBold"/>
              </a:rPr>
              <a:t>This is a sample text.</a:t>
            </a:r>
          </a:p>
        </p:txBody>
      </p:sp>
      <p:sp>
        <p:nvSpPr>
          <p:cNvPr id="53" name="This is a sample text. Insert your description here.">
            <a:extLst>
              <a:ext uri="{FF2B5EF4-FFF2-40B4-BE49-F238E27FC236}">
                <a16:creationId xmlns:a16="http://schemas.microsoft.com/office/drawing/2014/main" id="{C561AA9B-1B8A-417A-A48C-BDE6327E3E65}"/>
              </a:ext>
            </a:extLst>
          </p:cNvPr>
          <p:cNvSpPr txBox="1"/>
          <p:nvPr/>
        </p:nvSpPr>
        <p:spPr>
          <a:xfrm>
            <a:off x="9310392" y="3692506"/>
            <a:ext cx="2053143" cy="436017"/>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5400" tIns="25400" rIns="25400" bIns="25400" numCol="1" anchor="t">
            <a:spAutoFit/>
          </a:bodyPr>
          <a:lstStyle>
            <a:lvl1pPr algn="l">
              <a:defRPr sz="2500" b="0">
                <a:solidFill>
                  <a:srgbClr val="9E9F9E"/>
                </a:solidFill>
                <a:latin typeface="Barlow Medium"/>
                <a:ea typeface="Barlow Medium"/>
                <a:cs typeface="Barlow Medium"/>
                <a:sym typeface="Barlow Medium"/>
              </a:defRPr>
            </a:lvl1pPr>
          </a:lstStyle>
          <a:p>
            <a:pPr marL="0" marR="0" lvl="0" indent="0" algn="l" defTabSz="412750" rtl="0" eaLnBrk="1" fontAlgn="auto" latinLnBrk="0" hangingPunct="0">
              <a:lnSpc>
                <a:spcPct val="100000"/>
              </a:lnSpc>
              <a:spcBef>
                <a:spcPts val="0"/>
              </a:spcBef>
              <a:spcAft>
                <a:spcPts val="0"/>
              </a:spcAft>
              <a:buClrTx/>
              <a:buSzTx/>
              <a:buFontTx/>
              <a:buNone/>
              <a:tabLst/>
              <a:defRPr/>
            </a:pPr>
            <a:r>
              <a:rPr kumimoji="0" sz="1200" b="0" i="0" u="none" strike="noStrike" kern="0" cap="none" spc="0" normalizeH="0" baseline="0" noProof="0" dirty="0">
                <a:ln>
                  <a:noFill/>
                </a:ln>
                <a:solidFill>
                  <a:prstClr val="black">
                    <a:lumMod val="50000"/>
                    <a:lumOff val="50000"/>
                  </a:prstClr>
                </a:solidFill>
                <a:effectLst/>
                <a:uLnTx/>
                <a:uFillTx/>
                <a:latin typeface="HarmonyOS Sans SC"/>
                <a:ea typeface="+mn-ea"/>
                <a:sym typeface="Barlow Medium"/>
              </a:rPr>
              <a:t>This is a sample text. Insert your description here.</a:t>
            </a:r>
          </a:p>
        </p:txBody>
      </p:sp>
      <p:sp>
        <p:nvSpPr>
          <p:cNvPr id="54" name="This is a sample text.">
            <a:extLst>
              <a:ext uri="{FF2B5EF4-FFF2-40B4-BE49-F238E27FC236}">
                <a16:creationId xmlns:a16="http://schemas.microsoft.com/office/drawing/2014/main" id="{20C1BD92-7246-41FF-975B-FEBF79EE18E6}"/>
              </a:ext>
            </a:extLst>
          </p:cNvPr>
          <p:cNvSpPr txBox="1"/>
          <p:nvPr/>
        </p:nvSpPr>
        <p:spPr>
          <a:xfrm>
            <a:off x="9313111" y="3402717"/>
            <a:ext cx="2172659" cy="266740"/>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5400" tIns="25400" rIns="25400" bIns="25400" numCol="1" anchor="t">
            <a:spAutoFit/>
          </a:bodyPr>
          <a:lstStyle>
            <a:lvl1pPr algn="l">
              <a:defRPr sz="2500" b="0">
                <a:solidFill>
                  <a:srgbClr val="545453"/>
                </a:solidFill>
                <a:latin typeface="Barlow SemiBold"/>
                <a:ea typeface="Barlow SemiBold"/>
                <a:cs typeface="Barlow SemiBold"/>
                <a:sym typeface="Barlow SemiBold"/>
              </a:defRPr>
            </a:lvl1pPr>
          </a:lstStyle>
          <a:p>
            <a:pPr marL="0" marR="0" lvl="0" indent="0" algn="l" defTabSz="412750" rtl="0" eaLnBrk="1" fontAlgn="auto" latinLnBrk="0" hangingPunct="0">
              <a:lnSpc>
                <a:spcPct val="100000"/>
              </a:lnSpc>
              <a:spcBef>
                <a:spcPts val="0"/>
              </a:spcBef>
              <a:spcAft>
                <a:spcPts val="0"/>
              </a:spcAft>
              <a:buClrTx/>
              <a:buSzTx/>
              <a:buFontTx/>
              <a:buNone/>
              <a:tabLst/>
              <a:defRPr/>
            </a:pPr>
            <a:r>
              <a:rPr kumimoji="0" sz="1400" b="0" i="0" u="none" strike="noStrike" kern="0" cap="none" spc="0" normalizeH="0" baseline="0" noProof="0">
                <a:ln>
                  <a:noFill/>
                </a:ln>
                <a:solidFill>
                  <a:srgbClr val="525455"/>
                </a:solidFill>
                <a:effectLst/>
                <a:uLnTx/>
                <a:uFillTx/>
                <a:latin typeface="HarmonyOS Sans SC Black"/>
                <a:ea typeface="+mj-ea"/>
                <a:sym typeface="Barlow SemiBold"/>
              </a:rPr>
              <a:t>This is a sample text.</a:t>
            </a:r>
          </a:p>
        </p:txBody>
      </p:sp>
      <p:sp>
        <p:nvSpPr>
          <p:cNvPr id="55" name="This is a sample text. Insert your description here.">
            <a:extLst>
              <a:ext uri="{FF2B5EF4-FFF2-40B4-BE49-F238E27FC236}">
                <a16:creationId xmlns:a16="http://schemas.microsoft.com/office/drawing/2014/main" id="{61EA8FA1-FAAB-4460-9BD2-90B385195BF5}"/>
              </a:ext>
            </a:extLst>
          </p:cNvPr>
          <p:cNvSpPr txBox="1"/>
          <p:nvPr/>
        </p:nvSpPr>
        <p:spPr>
          <a:xfrm>
            <a:off x="9310392" y="4739014"/>
            <a:ext cx="2053143" cy="436017"/>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5400" tIns="25400" rIns="25400" bIns="25400" numCol="1" anchor="t">
            <a:spAutoFit/>
          </a:bodyPr>
          <a:lstStyle>
            <a:lvl1pPr algn="l">
              <a:defRPr sz="2500" b="0">
                <a:solidFill>
                  <a:srgbClr val="9E9F9E"/>
                </a:solidFill>
                <a:latin typeface="Barlow Medium"/>
                <a:ea typeface="Barlow Medium"/>
                <a:cs typeface="Barlow Medium"/>
                <a:sym typeface="Barlow Medium"/>
              </a:defRPr>
            </a:lvl1pPr>
          </a:lstStyle>
          <a:p>
            <a:pPr marL="0" marR="0" lvl="0" indent="0" algn="l" defTabSz="412750" rtl="0" eaLnBrk="1" fontAlgn="auto" latinLnBrk="0" hangingPunct="0">
              <a:lnSpc>
                <a:spcPct val="100000"/>
              </a:lnSpc>
              <a:spcBef>
                <a:spcPts val="0"/>
              </a:spcBef>
              <a:spcAft>
                <a:spcPts val="0"/>
              </a:spcAft>
              <a:buClrTx/>
              <a:buSzTx/>
              <a:buFontTx/>
              <a:buNone/>
              <a:tabLst/>
              <a:defRPr/>
            </a:pPr>
            <a:r>
              <a:rPr kumimoji="0" sz="1200" b="0" i="0" u="none" strike="noStrike" kern="0" cap="none" spc="0" normalizeH="0" baseline="0" noProof="0">
                <a:ln>
                  <a:noFill/>
                </a:ln>
                <a:solidFill>
                  <a:prstClr val="black">
                    <a:lumMod val="50000"/>
                    <a:lumOff val="50000"/>
                  </a:prstClr>
                </a:solidFill>
                <a:effectLst/>
                <a:uLnTx/>
                <a:uFillTx/>
                <a:latin typeface="HarmonyOS Sans SC"/>
                <a:ea typeface="+mn-ea"/>
                <a:sym typeface="Barlow Medium"/>
              </a:rPr>
              <a:t>This is a sample text. Insert your description here.</a:t>
            </a:r>
          </a:p>
        </p:txBody>
      </p:sp>
      <p:sp>
        <p:nvSpPr>
          <p:cNvPr id="56" name="This is a sample text.">
            <a:extLst>
              <a:ext uri="{FF2B5EF4-FFF2-40B4-BE49-F238E27FC236}">
                <a16:creationId xmlns:a16="http://schemas.microsoft.com/office/drawing/2014/main" id="{92A290A3-5FDA-441A-A992-C918B8E3BCBA}"/>
              </a:ext>
            </a:extLst>
          </p:cNvPr>
          <p:cNvSpPr txBox="1"/>
          <p:nvPr/>
        </p:nvSpPr>
        <p:spPr>
          <a:xfrm>
            <a:off x="9313111" y="4449225"/>
            <a:ext cx="2172659" cy="266740"/>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5400" tIns="25400" rIns="25400" bIns="25400" numCol="1" anchor="t">
            <a:spAutoFit/>
          </a:bodyPr>
          <a:lstStyle>
            <a:lvl1pPr algn="l">
              <a:defRPr sz="2500" b="0">
                <a:solidFill>
                  <a:srgbClr val="545453"/>
                </a:solidFill>
                <a:latin typeface="Barlow SemiBold"/>
                <a:ea typeface="Barlow SemiBold"/>
                <a:cs typeface="Barlow SemiBold"/>
                <a:sym typeface="Barlow SemiBold"/>
              </a:defRPr>
            </a:lvl1pPr>
          </a:lstStyle>
          <a:p>
            <a:pPr marL="0" marR="0" lvl="0" indent="0" algn="l" defTabSz="412750" rtl="0" eaLnBrk="1" fontAlgn="auto" latinLnBrk="0" hangingPunct="0">
              <a:lnSpc>
                <a:spcPct val="100000"/>
              </a:lnSpc>
              <a:spcBef>
                <a:spcPts val="0"/>
              </a:spcBef>
              <a:spcAft>
                <a:spcPts val="0"/>
              </a:spcAft>
              <a:buClrTx/>
              <a:buSzTx/>
              <a:buFontTx/>
              <a:buNone/>
              <a:tabLst/>
              <a:defRPr/>
            </a:pPr>
            <a:r>
              <a:rPr kumimoji="0" sz="1400" b="0" i="0" u="none" strike="noStrike" kern="0" cap="none" spc="0" normalizeH="0" baseline="0" noProof="0">
                <a:ln>
                  <a:noFill/>
                </a:ln>
                <a:solidFill>
                  <a:srgbClr val="525455"/>
                </a:solidFill>
                <a:effectLst/>
                <a:uLnTx/>
                <a:uFillTx/>
                <a:latin typeface="HarmonyOS Sans SC Black"/>
                <a:ea typeface="+mj-ea"/>
                <a:sym typeface="Barlow SemiBold"/>
              </a:rPr>
              <a:t>This is a sample text.</a:t>
            </a:r>
          </a:p>
        </p:txBody>
      </p:sp>
      <p:sp>
        <p:nvSpPr>
          <p:cNvPr id="57" name="This is a sample text. Insert your description here.">
            <a:extLst>
              <a:ext uri="{FF2B5EF4-FFF2-40B4-BE49-F238E27FC236}">
                <a16:creationId xmlns:a16="http://schemas.microsoft.com/office/drawing/2014/main" id="{3574A317-AD25-4057-8B40-2361B0A53FCC}"/>
              </a:ext>
            </a:extLst>
          </p:cNvPr>
          <p:cNvSpPr txBox="1"/>
          <p:nvPr/>
        </p:nvSpPr>
        <p:spPr>
          <a:xfrm>
            <a:off x="9310392" y="5785523"/>
            <a:ext cx="2053143" cy="436017"/>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5400" tIns="25400" rIns="25400" bIns="25400" numCol="1" anchor="t">
            <a:spAutoFit/>
          </a:bodyPr>
          <a:lstStyle>
            <a:lvl1pPr algn="l">
              <a:defRPr sz="2500" b="0">
                <a:solidFill>
                  <a:srgbClr val="9E9F9E"/>
                </a:solidFill>
                <a:latin typeface="Barlow Medium"/>
                <a:ea typeface="Barlow Medium"/>
                <a:cs typeface="Barlow Medium"/>
                <a:sym typeface="Barlow Medium"/>
              </a:defRPr>
            </a:lvl1pPr>
          </a:lstStyle>
          <a:p>
            <a:pPr marL="0" marR="0" lvl="0" indent="0" algn="l" defTabSz="412750" rtl="0" eaLnBrk="1" fontAlgn="auto" latinLnBrk="0" hangingPunct="0">
              <a:lnSpc>
                <a:spcPct val="100000"/>
              </a:lnSpc>
              <a:spcBef>
                <a:spcPts val="0"/>
              </a:spcBef>
              <a:spcAft>
                <a:spcPts val="0"/>
              </a:spcAft>
              <a:buClrTx/>
              <a:buSzTx/>
              <a:buFontTx/>
              <a:buNone/>
              <a:tabLst/>
              <a:defRPr/>
            </a:pPr>
            <a:r>
              <a:rPr kumimoji="0" sz="1200" b="0" i="0" u="none" strike="noStrike" kern="0" cap="none" spc="0" normalizeH="0" baseline="0" noProof="0">
                <a:ln>
                  <a:noFill/>
                </a:ln>
                <a:solidFill>
                  <a:prstClr val="black">
                    <a:lumMod val="50000"/>
                    <a:lumOff val="50000"/>
                  </a:prstClr>
                </a:solidFill>
                <a:effectLst/>
                <a:uLnTx/>
                <a:uFillTx/>
                <a:latin typeface="HarmonyOS Sans SC"/>
                <a:ea typeface="+mn-ea"/>
                <a:sym typeface="Barlow Medium"/>
              </a:rPr>
              <a:t>This is a sample text. Insert your description here.</a:t>
            </a:r>
          </a:p>
        </p:txBody>
      </p:sp>
      <p:sp>
        <p:nvSpPr>
          <p:cNvPr id="58" name="This is a sample text.">
            <a:extLst>
              <a:ext uri="{FF2B5EF4-FFF2-40B4-BE49-F238E27FC236}">
                <a16:creationId xmlns:a16="http://schemas.microsoft.com/office/drawing/2014/main" id="{649218EE-FE1B-425F-A9B6-1EC58E9B4283}"/>
              </a:ext>
            </a:extLst>
          </p:cNvPr>
          <p:cNvSpPr txBox="1"/>
          <p:nvPr/>
        </p:nvSpPr>
        <p:spPr>
          <a:xfrm>
            <a:off x="9313111" y="5495734"/>
            <a:ext cx="2172659" cy="266740"/>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5400" tIns="25400" rIns="25400" bIns="25400" numCol="1" anchor="t">
            <a:spAutoFit/>
          </a:bodyPr>
          <a:lstStyle>
            <a:lvl1pPr algn="l">
              <a:defRPr sz="2500" b="0">
                <a:solidFill>
                  <a:srgbClr val="545453"/>
                </a:solidFill>
                <a:latin typeface="Barlow SemiBold"/>
                <a:ea typeface="Barlow SemiBold"/>
                <a:cs typeface="Barlow SemiBold"/>
                <a:sym typeface="Barlow SemiBold"/>
              </a:defRPr>
            </a:lvl1pPr>
          </a:lstStyle>
          <a:p>
            <a:pPr marL="0" marR="0" lvl="0" indent="0" algn="l" defTabSz="412750" rtl="0" eaLnBrk="1" fontAlgn="auto" latinLnBrk="0" hangingPunct="0">
              <a:lnSpc>
                <a:spcPct val="100000"/>
              </a:lnSpc>
              <a:spcBef>
                <a:spcPts val="0"/>
              </a:spcBef>
              <a:spcAft>
                <a:spcPts val="0"/>
              </a:spcAft>
              <a:buClrTx/>
              <a:buSzTx/>
              <a:buFontTx/>
              <a:buNone/>
              <a:tabLst/>
              <a:defRPr/>
            </a:pPr>
            <a:r>
              <a:rPr kumimoji="0" sz="1400" b="0" i="0" u="none" strike="noStrike" kern="0" cap="none" spc="0" normalizeH="0" baseline="0" noProof="0">
                <a:ln>
                  <a:noFill/>
                </a:ln>
                <a:solidFill>
                  <a:srgbClr val="525455"/>
                </a:solidFill>
                <a:effectLst/>
                <a:uLnTx/>
                <a:uFillTx/>
                <a:latin typeface="HarmonyOS Sans SC Black"/>
                <a:ea typeface="+mj-ea"/>
                <a:sym typeface="Barlow SemiBold"/>
              </a:rPr>
              <a:t>This is a sample text.</a:t>
            </a:r>
          </a:p>
        </p:txBody>
      </p:sp>
      <p:sp>
        <p:nvSpPr>
          <p:cNvPr id="76" name="This is a sample text. Insert your description here.">
            <a:extLst>
              <a:ext uri="{FF2B5EF4-FFF2-40B4-BE49-F238E27FC236}">
                <a16:creationId xmlns:a16="http://schemas.microsoft.com/office/drawing/2014/main" id="{BD262471-2E9A-4510-BD5C-78E2FFB03F5F}"/>
              </a:ext>
            </a:extLst>
          </p:cNvPr>
          <p:cNvSpPr txBox="1"/>
          <p:nvPr/>
        </p:nvSpPr>
        <p:spPr>
          <a:xfrm>
            <a:off x="1175543" y="1607299"/>
            <a:ext cx="2053144" cy="436017"/>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5400" tIns="25400" rIns="25400" bIns="25400" numCol="1" anchor="t">
            <a:spAutoFit/>
          </a:bodyPr>
          <a:lstStyle>
            <a:lvl1pPr algn="l">
              <a:defRPr sz="2500" b="0">
                <a:solidFill>
                  <a:srgbClr val="9E9F9E"/>
                </a:solidFill>
                <a:latin typeface="Barlow Medium"/>
                <a:ea typeface="Barlow Medium"/>
                <a:cs typeface="Barlow Medium"/>
                <a:sym typeface="Barlow Medium"/>
              </a:defRPr>
            </a:lvl1pPr>
          </a:lstStyle>
          <a:p>
            <a:pPr marL="0" marR="0" lvl="0" indent="0" algn="l" defTabSz="412750" rtl="0" eaLnBrk="1" fontAlgn="auto" latinLnBrk="0" hangingPunct="0">
              <a:lnSpc>
                <a:spcPct val="100000"/>
              </a:lnSpc>
              <a:spcBef>
                <a:spcPts val="0"/>
              </a:spcBef>
              <a:spcAft>
                <a:spcPts val="0"/>
              </a:spcAft>
              <a:buClrTx/>
              <a:buSzTx/>
              <a:buFontTx/>
              <a:buNone/>
              <a:tabLst/>
              <a:defRPr/>
            </a:pPr>
            <a:r>
              <a:rPr kumimoji="0" sz="1200" b="0" i="0" u="none" strike="noStrike" kern="0" cap="none" spc="0" normalizeH="0" baseline="0" noProof="0" dirty="0">
                <a:ln>
                  <a:noFill/>
                </a:ln>
                <a:solidFill>
                  <a:prstClr val="black">
                    <a:lumMod val="50000"/>
                    <a:lumOff val="50000"/>
                  </a:prstClr>
                </a:solidFill>
                <a:effectLst/>
                <a:uLnTx/>
                <a:uFillTx/>
                <a:latin typeface="HarmonyOS Sans SC"/>
                <a:ea typeface="+mn-ea"/>
                <a:sym typeface="Barlow Medium"/>
              </a:rPr>
              <a:t>This is a sample text. Insert your description here.</a:t>
            </a:r>
          </a:p>
        </p:txBody>
      </p:sp>
      <p:sp>
        <p:nvSpPr>
          <p:cNvPr id="77" name="This is a sample text.">
            <a:extLst>
              <a:ext uri="{FF2B5EF4-FFF2-40B4-BE49-F238E27FC236}">
                <a16:creationId xmlns:a16="http://schemas.microsoft.com/office/drawing/2014/main" id="{F495DC50-7EE4-40F9-A8B1-92DDE7CF2AEA}"/>
              </a:ext>
            </a:extLst>
          </p:cNvPr>
          <p:cNvSpPr txBox="1"/>
          <p:nvPr/>
        </p:nvSpPr>
        <p:spPr>
          <a:xfrm>
            <a:off x="1178262" y="1317510"/>
            <a:ext cx="2172660" cy="266740"/>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5400" tIns="25400" rIns="25400" bIns="25400" numCol="1" anchor="t">
            <a:spAutoFit/>
          </a:bodyPr>
          <a:lstStyle>
            <a:lvl1pPr algn="l">
              <a:defRPr sz="2500" b="0">
                <a:solidFill>
                  <a:srgbClr val="545453"/>
                </a:solidFill>
                <a:latin typeface="Barlow SemiBold"/>
                <a:ea typeface="Barlow SemiBold"/>
                <a:cs typeface="Barlow SemiBold"/>
                <a:sym typeface="Barlow SemiBold"/>
              </a:defRPr>
            </a:lvl1pPr>
          </a:lstStyle>
          <a:p>
            <a:pPr marL="0" marR="0" lvl="0" indent="0" algn="l" defTabSz="412750" rtl="0" eaLnBrk="1" fontAlgn="auto" latinLnBrk="0" hangingPunct="0">
              <a:lnSpc>
                <a:spcPct val="100000"/>
              </a:lnSpc>
              <a:spcBef>
                <a:spcPts val="0"/>
              </a:spcBef>
              <a:spcAft>
                <a:spcPts val="0"/>
              </a:spcAft>
              <a:buClrTx/>
              <a:buSzTx/>
              <a:buFontTx/>
              <a:buNone/>
              <a:tabLst/>
              <a:defRPr/>
            </a:pPr>
            <a:r>
              <a:rPr kumimoji="0" sz="1400" b="0" i="0" u="none" strike="noStrike" kern="0" cap="none" spc="0" normalizeH="0" baseline="0" noProof="0" dirty="0">
                <a:ln>
                  <a:noFill/>
                </a:ln>
                <a:solidFill>
                  <a:srgbClr val="525455"/>
                </a:solidFill>
                <a:effectLst/>
                <a:uLnTx/>
                <a:uFillTx/>
                <a:latin typeface="HarmonyOS Sans SC Black"/>
                <a:ea typeface="+mj-ea"/>
                <a:sym typeface="Barlow SemiBold"/>
              </a:rPr>
              <a:t>This is a sample text.</a:t>
            </a:r>
          </a:p>
        </p:txBody>
      </p:sp>
      <p:sp>
        <p:nvSpPr>
          <p:cNvPr id="103" name="Circle">
            <a:extLst>
              <a:ext uri="{FF2B5EF4-FFF2-40B4-BE49-F238E27FC236}">
                <a16:creationId xmlns:a16="http://schemas.microsoft.com/office/drawing/2014/main" id="{EDA82C85-C4FF-4F39-92D7-F958FAD45468}"/>
              </a:ext>
            </a:extLst>
          </p:cNvPr>
          <p:cNvSpPr/>
          <p:nvPr/>
        </p:nvSpPr>
        <p:spPr>
          <a:xfrm>
            <a:off x="891530" y="1320790"/>
            <a:ext cx="253651" cy="253651"/>
          </a:xfrm>
          <a:prstGeom prst="ellipse">
            <a:avLst/>
          </a:prstGeom>
          <a:gradFill>
            <a:gsLst>
              <a:gs pos="73000">
                <a:schemeClr val="accent1"/>
              </a:gs>
              <a:gs pos="31000">
                <a:schemeClr val="accent1">
                  <a:lumMod val="60000"/>
                  <a:lumOff val="40000"/>
                </a:schemeClr>
              </a:gs>
              <a:gs pos="0">
                <a:schemeClr val="accent1">
                  <a:lumMod val="40000"/>
                  <a:lumOff val="60000"/>
                </a:schemeClr>
              </a:gs>
            </a:gsLst>
            <a:path path="circle">
              <a:fillToRect r="100000" b="100000"/>
            </a:path>
          </a:gradFill>
          <a:ln>
            <a:noFill/>
          </a:ln>
          <a:effectLst>
            <a:outerShdw blurRad="444500" dist="317500" dir="5400000" sx="92000" sy="92000" algn="t" rotWithShape="0">
              <a:schemeClr val="accent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white"/>
              </a:solidFill>
              <a:effectLst/>
              <a:uLnTx/>
              <a:uFillTx/>
              <a:latin typeface="HarmonyOS Sans SC"/>
              <a:cs typeface="+mn-cs"/>
              <a:sym typeface="Helvetica Neue Medium"/>
            </a:endParaRPr>
          </a:p>
        </p:txBody>
      </p:sp>
      <p:sp>
        <p:nvSpPr>
          <p:cNvPr id="104" name="Shape">
            <a:extLst>
              <a:ext uri="{FF2B5EF4-FFF2-40B4-BE49-F238E27FC236}">
                <a16:creationId xmlns:a16="http://schemas.microsoft.com/office/drawing/2014/main" id="{3307082E-874E-4B0C-973A-0C0B20266CEB}"/>
              </a:ext>
            </a:extLst>
          </p:cNvPr>
          <p:cNvSpPr/>
          <p:nvPr/>
        </p:nvSpPr>
        <p:spPr>
          <a:xfrm>
            <a:off x="998297" y="1395503"/>
            <a:ext cx="136571" cy="163206"/>
          </a:xfrm>
          <a:custGeom>
            <a:avLst/>
            <a:gdLst/>
            <a:ahLst/>
            <a:cxnLst>
              <a:cxn ang="0">
                <a:pos x="wd2" y="hd2"/>
              </a:cxn>
              <a:cxn ang="5400000">
                <a:pos x="wd2" y="hd2"/>
              </a:cxn>
              <a:cxn ang="10800000">
                <a:pos x="wd2" y="hd2"/>
              </a:cxn>
              <a:cxn ang="16200000">
                <a:pos x="wd2" y="hd2"/>
              </a:cxn>
            </a:cxnLst>
            <a:rect l="0" t="0" r="r" b="b"/>
            <a:pathLst>
              <a:path w="21600" h="21600" extrusionOk="0">
                <a:moveTo>
                  <a:pt x="21600" y="13450"/>
                </a:moveTo>
                <a:lnTo>
                  <a:pt x="5480" y="0"/>
                </a:lnTo>
                <a:lnTo>
                  <a:pt x="0" y="2690"/>
                </a:lnTo>
                <a:lnTo>
                  <a:pt x="2959" y="5156"/>
                </a:lnTo>
                <a:lnTo>
                  <a:pt x="2623" y="13045"/>
                </a:lnTo>
                <a:lnTo>
                  <a:pt x="12823" y="21600"/>
                </a:lnTo>
                <a:cubicBezTo>
                  <a:pt x="14999" y="20620"/>
                  <a:pt x="16932" y="19301"/>
                  <a:pt x="18520" y="17716"/>
                </a:cubicBezTo>
                <a:cubicBezTo>
                  <a:pt x="19802" y="16435"/>
                  <a:pt x="20841" y="14996"/>
                  <a:pt x="21600" y="13450"/>
                </a:cubicBezTo>
                <a:close/>
              </a:path>
            </a:pathLst>
          </a:custGeom>
          <a:gradFill>
            <a:gsLst>
              <a:gs pos="100000">
                <a:schemeClr val="accent1">
                  <a:lumMod val="75000"/>
                  <a:alpha val="0"/>
                </a:schemeClr>
              </a:gs>
              <a:gs pos="0">
                <a:schemeClr val="accent1">
                  <a:lumMod val="75000"/>
                </a:schemeClr>
              </a:gs>
            </a:gsLst>
            <a:path path="circle">
              <a:fillToRect r="100000" b="100000"/>
            </a:path>
          </a:gradFill>
          <a:ln w="12700">
            <a:miter lim="400000"/>
          </a:ln>
        </p:spPr>
        <p:txBody>
          <a:bodyPr lIns="0" tIns="0" rIns="0" bIns="0" anchor="ctr"/>
          <a:lstStyle/>
          <a:p>
            <a:pPr marL="0" marR="0" lvl="0" indent="0" algn="ctr" defTabSz="412750" rtl="0" eaLnBrk="1" fontAlgn="auto" latinLnBrk="0" hangingPunct="0">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FFFFF"/>
              </a:solidFill>
              <a:effectLst/>
              <a:uLnTx/>
              <a:uFillTx/>
              <a:latin typeface="HarmonyOS Sans SC"/>
              <a:cs typeface="+mn-cs"/>
              <a:sym typeface="Helvetica Neue Medium"/>
            </a:endParaRPr>
          </a:p>
        </p:txBody>
      </p:sp>
      <p:sp>
        <p:nvSpPr>
          <p:cNvPr id="105" name="Shape">
            <a:extLst>
              <a:ext uri="{FF2B5EF4-FFF2-40B4-BE49-F238E27FC236}">
                <a16:creationId xmlns:a16="http://schemas.microsoft.com/office/drawing/2014/main" id="{90C11E9C-0967-4C28-931B-A7FEF03E4818}"/>
              </a:ext>
            </a:extLst>
          </p:cNvPr>
          <p:cNvSpPr/>
          <p:nvPr/>
        </p:nvSpPr>
        <p:spPr>
          <a:xfrm>
            <a:off x="997586" y="1395222"/>
            <a:ext cx="36465" cy="99712"/>
          </a:xfrm>
          <a:custGeom>
            <a:avLst/>
            <a:gdLst/>
            <a:ahLst/>
            <a:cxnLst>
              <a:cxn ang="0">
                <a:pos x="wd2" y="hd2"/>
              </a:cxn>
              <a:cxn ang="5400000">
                <a:pos x="wd2" y="hd2"/>
              </a:cxn>
              <a:cxn ang="10800000">
                <a:pos x="wd2" y="hd2"/>
              </a:cxn>
              <a:cxn ang="16200000">
                <a:pos x="wd2" y="hd2"/>
              </a:cxn>
            </a:cxnLst>
            <a:rect l="0" t="0" r="r" b="b"/>
            <a:pathLst>
              <a:path w="21599" h="21584" extrusionOk="0">
                <a:moveTo>
                  <a:pt x="0" y="1732"/>
                </a:moveTo>
                <a:cubicBezTo>
                  <a:pt x="-1" y="1616"/>
                  <a:pt x="100" y="1502"/>
                  <a:pt x="287" y="1407"/>
                </a:cubicBezTo>
                <a:cubicBezTo>
                  <a:pt x="489" y="1306"/>
                  <a:pt x="779" y="1232"/>
                  <a:pt x="1111" y="1198"/>
                </a:cubicBezTo>
                <a:lnTo>
                  <a:pt x="8348" y="207"/>
                </a:lnTo>
                <a:cubicBezTo>
                  <a:pt x="8705" y="144"/>
                  <a:pt x="9079" y="94"/>
                  <a:pt x="9464" y="60"/>
                </a:cubicBezTo>
                <a:cubicBezTo>
                  <a:pt x="9886" y="22"/>
                  <a:pt x="10318" y="2"/>
                  <a:pt x="10752" y="1"/>
                </a:cubicBezTo>
                <a:lnTo>
                  <a:pt x="20274" y="1"/>
                </a:lnTo>
                <a:cubicBezTo>
                  <a:pt x="20690" y="-10"/>
                  <a:pt x="21092" y="58"/>
                  <a:pt x="21339" y="180"/>
                </a:cubicBezTo>
                <a:cubicBezTo>
                  <a:pt x="21513" y="267"/>
                  <a:pt x="21593" y="374"/>
                  <a:pt x="21563" y="480"/>
                </a:cubicBezTo>
                <a:lnTo>
                  <a:pt x="21599" y="21163"/>
                </a:lnTo>
                <a:cubicBezTo>
                  <a:pt x="21587" y="21270"/>
                  <a:pt x="21469" y="21371"/>
                  <a:pt x="21266" y="21448"/>
                </a:cubicBezTo>
                <a:cubicBezTo>
                  <a:pt x="21024" y="21540"/>
                  <a:pt x="20684" y="21590"/>
                  <a:pt x="20334" y="21584"/>
                </a:cubicBezTo>
                <a:lnTo>
                  <a:pt x="11015" y="21584"/>
                </a:lnTo>
                <a:cubicBezTo>
                  <a:pt x="10657" y="21590"/>
                  <a:pt x="10311" y="21537"/>
                  <a:pt x="10072" y="21440"/>
                </a:cubicBezTo>
                <a:cubicBezTo>
                  <a:pt x="9891" y="21367"/>
                  <a:pt x="9785" y="21273"/>
                  <a:pt x="9771" y="21174"/>
                </a:cubicBezTo>
                <a:lnTo>
                  <a:pt x="9636" y="4253"/>
                </a:lnTo>
                <a:cubicBezTo>
                  <a:pt x="9639" y="4193"/>
                  <a:pt x="9570" y="4136"/>
                  <a:pt x="9447" y="4098"/>
                </a:cubicBezTo>
                <a:cubicBezTo>
                  <a:pt x="9286" y="4047"/>
                  <a:pt x="9059" y="4034"/>
                  <a:pt x="8864" y="4064"/>
                </a:cubicBezTo>
                <a:lnTo>
                  <a:pt x="1543" y="4572"/>
                </a:lnTo>
                <a:cubicBezTo>
                  <a:pt x="1228" y="4613"/>
                  <a:pt x="880" y="4601"/>
                  <a:pt x="591" y="4541"/>
                </a:cubicBezTo>
                <a:cubicBezTo>
                  <a:pt x="265" y="4472"/>
                  <a:pt x="51" y="4349"/>
                  <a:pt x="19" y="4212"/>
                </a:cubicBezTo>
                <a:lnTo>
                  <a:pt x="0" y="1732"/>
                </a:lnTo>
                <a:close/>
              </a:path>
            </a:pathLst>
          </a:custGeom>
          <a:solidFill>
            <a:srgbClr val="F6F6F7"/>
          </a:solidFill>
          <a:ln w="12700" cap="flat">
            <a:noFill/>
            <a:miter lim="400000"/>
          </a:ln>
          <a:effectLst/>
        </p:spPr>
        <p:txBody>
          <a:bodyPr wrap="square" lIns="0" tIns="0" rIns="0" bIns="0" numCol="1" anchor="ctr">
            <a:noAutofit/>
          </a:bodyPr>
          <a:lstStyle/>
          <a:p>
            <a:pPr marL="0" marR="0" lvl="0" indent="0" algn="ctr" defTabSz="412750" rtl="0" eaLnBrk="1" fontAlgn="auto" latinLnBrk="0" hangingPunct="0">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1600" b="0" i="0" u="none" strike="noStrike" kern="0" cap="none" spc="0" normalizeH="0" baseline="0" noProof="0">
              <a:ln>
                <a:noFill/>
              </a:ln>
              <a:solidFill>
                <a:srgbClr val="FFFFFF"/>
              </a:solidFill>
              <a:effectLst/>
              <a:uLnTx/>
              <a:uFillTx/>
              <a:latin typeface="Helvetica Neue Medium"/>
              <a:cs typeface="+mn-cs"/>
              <a:sym typeface="Helvetica Neue Medium"/>
            </a:endParaRPr>
          </a:p>
        </p:txBody>
      </p:sp>
      <p:sp>
        <p:nvSpPr>
          <p:cNvPr id="100" name="Circle">
            <a:extLst>
              <a:ext uri="{FF2B5EF4-FFF2-40B4-BE49-F238E27FC236}">
                <a16:creationId xmlns:a16="http://schemas.microsoft.com/office/drawing/2014/main" id="{8A808122-6E07-4965-8ED0-BBFF6057D4DC}"/>
              </a:ext>
            </a:extLst>
          </p:cNvPr>
          <p:cNvSpPr/>
          <p:nvPr/>
        </p:nvSpPr>
        <p:spPr>
          <a:xfrm>
            <a:off x="887786" y="2370131"/>
            <a:ext cx="253651" cy="253651"/>
          </a:xfrm>
          <a:prstGeom prst="ellipse">
            <a:avLst/>
          </a:prstGeom>
          <a:gradFill>
            <a:gsLst>
              <a:gs pos="73000">
                <a:schemeClr val="accent1"/>
              </a:gs>
              <a:gs pos="31000">
                <a:schemeClr val="accent1">
                  <a:lumMod val="60000"/>
                  <a:lumOff val="40000"/>
                </a:schemeClr>
              </a:gs>
              <a:gs pos="0">
                <a:schemeClr val="accent1">
                  <a:lumMod val="40000"/>
                  <a:lumOff val="60000"/>
                </a:schemeClr>
              </a:gs>
            </a:gsLst>
            <a:path path="circle">
              <a:fillToRect r="100000" b="100000"/>
            </a:path>
          </a:gradFill>
          <a:ln>
            <a:noFill/>
          </a:ln>
          <a:effectLst>
            <a:outerShdw blurRad="444500" dist="317500" dir="5400000" sx="92000" sy="92000" algn="t" rotWithShape="0">
              <a:schemeClr val="accent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white"/>
              </a:solidFill>
              <a:effectLst/>
              <a:uLnTx/>
              <a:uFillTx/>
              <a:latin typeface="HarmonyOS Sans SC"/>
              <a:cs typeface="+mn-cs"/>
              <a:sym typeface="Helvetica Neue Medium"/>
            </a:endParaRPr>
          </a:p>
        </p:txBody>
      </p:sp>
      <p:sp>
        <p:nvSpPr>
          <p:cNvPr id="101" name="Shape">
            <a:extLst>
              <a:ext uri="{FF2B5EF4-FFF2-40B4-BE49-F238E27FC236}">
                <a16:creationId xmlns:a16="http://schemas.microsoft.com/office/drawing/2014/main" id="{784A0191-1C25-42FE-8122-A756AB2E13DB}"/>
              </a:ext>
            </a:extLst>
          </p:cNvPr>
          <p:cNvSpPr/>
          <p:nvPr/>
        </p:nvSpPr>
        <p:spPr>
          <a:xfrm>
            <a:off x="983657" y="2448313"/>
            <a:ext cx="150101" cy="167102"/>
          </a:xfrm>
          <a:custGeom>
            <a:avLst/>
            <a:gdLst/>
            <a:ahLst/>
            <a:cxnLst>
              <a:cxn ang="0">
                <a:pos x="wd2" y="hd2"/>
              </a:cxn>
              <a:cxn ang="5400000">
                <a:pos x="wd2" y="hd2"/>
              </a:cxn>
              <a:cxn ang="10800000">
                <a:pos x="wd2" y="hd2"/>
              </a:cxn>
              <a:cxn ang="16200000">
                <a:pos x="wd2" y="hd2"/>
              </a:cxn>
            </a:cxnLst>
            <a:rect l="0" t="0" r="r" b="b"/>
            <a:pathLst>
              <a:path w="21600" h="21600" extrusionOk="0">
                <a:moveTo>
                  <a:pt x="21600" y="11901"/>
                </a:moveTo>
                <a:lnTo>
                  <a:pt x="8288" y="0"/>
                </a:lnTo>
                <a:lnTo>
                  <a:pt x="2509" y="135"/>
                </a:lnTo>
                <a:lnTo>
                  <a:pt x="0" y="3119"/>
                </a:lnTo>
                <a:lnTo>
                  <a:pt x="4283" y="7078"/>
                </a:lnTo>
                <a:lnTo>
                  <a:pt x="102" y="11743"/>
                </a:lnTo>
                <a:lnTo>
                  <a:pt x="11001" y="21600"/>
                </a:lnTo>
                <a:cubicBezTo>
                  <a:pt x="13575" y="20713"/>
                  <a:pt x="15892" y="19313"/>
                  <a:pt x="17776" y="17505"/>
                </a:cubicBezTo>
                <a:cubicBezTo>
                  <a:pt x="19460" y="15889"/>
                  <a:pt x="20761" y="13982"/>
                  <a:pt x="21600" y="11901"/>
                </a:cubicBezTo>
                <a:close/>
              </a:path>
            </a:pathLst>
          </a:custGeom>
          <a:gradFill>
            <a:gsLst>
              <a:gs pos="100000">
                <a:schemeClr val="accent1">
                  <a:lumMod val="75000"/>
                  <a:alpha val="0"/>
                </a:schemeClr>
              </a:gs>
              <a:gs pos="0">
                <a:schemeClr val="accent1">
                  <a:lumMod val="75000"/>
                </a:schemeClr>
              </a:gs>
            </a:gsLst>
            <a:path path="circle">
              <a:fillToRect r="100000" b="100000"/>
            </a:path>
          </a:gradFill>
          <a:ln w="12700">
            <a:miter lim="400000"/>
          </a:ln>
        </p:spPr>
        <p:txBody>
          <a:bodyPr lIns="0" tIns="0" rIns="0" bIns="0" anchor="ctr"/>
          <a:lstStyle/>
          <a:p>
            <a:pPr marL="0" marR="0" lvl="0" indent="0" algn="ctr" defTabSz="412750" rtl="0" eaLnBrk="1" fontAlgn="auto" latinLnBrk="0" hangingPunct="0">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FFFFF"/>
              </a:solidFill>
              <a:effectLst/>
              <a:uLnTx/>
              <a:uFillTx/>
              <a:latin typeface="HarmonyOS Sans SC"/>
              <a:cs typeface="+mn-cs"/>
              <a:sym typeface="Helvetica Neue Medium"/>
            </a:endParaRPr>
          </a:p>
        </p:txBody>
      </p:sp>
      <p:sp>
        <p:nvSpPr>
          <p:cNvPr id="102" name="Shape">
            <a:extLst>
              <a:ext uri="{FF2B5EF4-FFF2-40B4-BE49-F238E27FC236}">
                <a16:creationId xmlns:a16="http://schemas.microsoft.com/office/drawing/2014/main" id="{795B4479-D82C-4EF7-9DF6-DA8CBA6293A0}"/>
              </a:ext>
            </a:extLst>
          </p:cNvPr>
          <p:cNvSpPr/>
          <p:nvPr/>
        </p:nvSpPr>
        <p:spPr>
          <a:xfrm>
            <a:off x="982969" y="2438889"/>
            <a:ext cx="68358" cy="100915"/>
          </a:xfrm>
          <a:custGeom>
            <a:avLst/>
            <a:gdLst/>
            <a:ahLst/>
            <a:cxnLst>
              <a:cxn ang="0">
                <a:pos x="wd2" y="hd2"/>
              </a:cxn>
              <a:cxn ang="5400000">
                <a:pos x="wd2" y="hd2"/>
              </a:cxn>
              <a:cxn ang="10800000">
                <a:pos x="wd2" y="hd2"/>
              </a:cxn>
              <a:cxn ang="16200000">
                <a:pos x="wd2" y="hd2"/>
              </a:cxn>
            </a:cxnLst>
            <a:rect l="0" t="0" r="r" b="b"/>
            <a:pathLst>
              <a:path w="21596" h="21538" extrusionOk="0">
                <a:moveTo>
                  <a:pt x="6392" y="6090"/>
                </a:moveTo>
                <a:lnTo>
                  <a:pt x="6392" y="6882"/>
                </a:lnTo>
                <a:cubicBezTo>
                  <a:pt x="6396" y="6960"/>
                  <a:pt x="6364" y="7038"/>
                  <a:pt x="6299" y="7103"/>
                </a:cubicBezTo>
                <a:cubicBezTo>
                  <a:pt x="6199" y="7203"/>
                  <a:pt x="6036" y="7265"/>
                  <a:pt x="5859" y="7271"/>
                </a:cubicBezTo>
                <a:lnTo>
                  <a:pt x="664" y="7276"/>
                </a:lnTo>
                <a:cubicBezTo>
                  <a:pt x="513" y="7279"/>
                  <a:pt x="364" y="7246"/>
                  <a:pt x="246" y="7182"/>
                </a:cubicBezTo>
                <a:cubicBezTo>
                  <a:pt x="87" y="7096"/>
                  <a:pt x="-4" y="6966"/>
                  <a:pt x="0" y="6829"/>
                </a:cubicBezTo>
                <a:lnTo>
                  <a:pt x="0" y="5619"/>
                </a:lnTo>
                <a:cubicBezTo>
                  <a:pt x="70" y="4333"/>
                  <a:pt x="814" y="3104"/>
                  <a:pt x="2100" y="2154"/>
                </a:cubicBezTo>
                <a:cubicBezTo>
                  <a:pt x="3421" y="1178"/>
                  <a:pt x="5208" y="568"/>
                  <a:pt x="7110" y="255"/>
                </a:cubicBezTo>
                <a:cubicBezTo>
                  <a:pt x="8638" y="4"/>
                  <a:pt x="10219" y="-53"/>
                  <a:pt x="11785" y="45"/>
                </a:cubicBezTo>
                <a:cubicBezTo>
                  <a:pt x="13407" y="147"/>
                  <a:pt x="15006" y="416"/>
                  <a:pt x="16439" y="941"/>
                </a:cubicBezTo>
                <a:cubicBezTo>
                  <a:pt x="17732" y="1414"/>
                  <a:pt x="18850" y="2083"/>
                  <a:pt x="19663" y="2911"/>
                </a:cubicBezTo>
                <a:cubicBezTo>
                  <a:pt x="20479" y="3743"/>
                  <a:pt x="20958" y="4708"/>
                  <a:pt x="20995" y="5706"/>
                </a:cubicBezTo>
                <a:cubicBezTo>
                  <a:pt x="21032" y="6696"/>
                  <a:pt x="20633" y="7663"/>
                  <a:pt x="20034" y="8566"/>
                </a:cubicBezTo>
                <a:cubicBezTo>
                  <a:pt x="19352" y="9594"/>
                  <a:pt x="18420" y="10534"/>
                  <a:pt x="17385" y="11416"/>
                </a:cubicBezTo>
                <a:cubicBezTo>
                  <a:pt x="16088" y="12522"/>
                  <a:pt x="14633" y="13536"/>
                  <a:pt x="13193" y="14557"/>
                </a:cubicBezTo>
                <a:cubicBezTo>
                  <a:pt x="11732" y="15593"/>
                  <a:pt x="10284" y="16637"/>
                  <a:pt x="8849" y="17689"/>
                </a:cubicBezTo>
                <a:cubicBezTo>
                  <a:pt x="8783" y="17718"/>
                  <a:pt x="8752" y="17772"/>
                  <a:pt x="8771" y="17824"/>
                </a:cubicBezTo>
                <a:cubicBezTo>
                  <a:pt x="8792" y="17880"/>
                  <a:pt x="8867" y="17919"/>
                  <a:pt x="8953" y="17919"/>
                </a:cubicBezTo>
                <a:lnTo>
                  <a:pt x="20829" y="17919"/>
                </a:lnTo>
                <a:cubicBezTo>
                  <a:pt x="21022" y="17905"/>
                  <a:pt x="21215" y="17947"/>
                  <a:pt x="21361" y="18034"/>
                </a:cubicBezTo>
                <a:cubicBezTo>
                  <a:pt x="21510" y="18123"/>
                  <a:pt x="21595" y="18250"/>
                  <a:pt x="21596" y="18384"/>
                </a:cubicBezTo>
                <a:lnTo>
                  <a:pt x="21596" y="21136"/>
                </a:lnTo>
                <a:cubicBezTo>
                  <a:pt x="21581" y="21230"/>
                  <a:pt x="21522" y="21318"/>
                  <a:pt x="21429" y="21387"/>
                </a:cubicBezTo>
                <a:cubicBezTo>
                  <a:pt x="21320" y="21470"/>
                  <a:pt x="21169" y="21522"/>
                  <a:pt x="21007" y="21534"/>
                </a:cubicBezTo>
                <a:lnTo>
                  <a:pt x="979" y="21534"/>
                </a:lnTo>
                <a:cubicBezTo>
                  <a:pt x="819" y="21547"/>
                  <a:pt x="657" y="21521"/>
                  <a:pt x="522" y="21461"/>
                </a:cubicBezTo>
                <a:cubicBezTo>
                  <a:pt x="361" y="21389"/>
                  <a:pt x="252" y="21274"/>
                  <a:pt x="222" y="21146"/>
                </a:cubicBezTo>
                <a:lnTo>
                  <a:pt x="189" y="18578"/>
                </a:lnTo>
                <a:cubicBezTo>
                  <a:pt x="178" y="18441"/>
                  <a:pt x="210" y="18305"/>
                  <a:pt x="282" y="18177"/>
                </a:cubicBezTo>
                <a:cubicBezTo>
                  <a:pt x="350" y="18057"/>
                  <a:pt x="453" y="17948"/>
                  <a:pt x="584" y="17855"/>
                </a:cubicBezTo>
                <a:lnTo>
                  <a:pt x="11394" y="10005"/>
                </a:lnTo>
                <a:cubicBezTo>
                  <a:pt x="11963" y="9497"/>
                  <a:pt x="12527" y="8986"/>
                  <a:pt x="13086" y="8472"/>
                </a:cubicBezTo>
                <a:cubicBezTo>
                  <a:pt x="13627" y="7974"/>
                  <a:pt x="14170" y="7464"/>
                  <a:pt x="14420" y="6868"/>
                </a:cubicBezTo>
                <a:cubicBezTo>
                  <a:pt x="14709" y="6181"/>
                  <a:pt x="14575" y="5464"/>
                  <a:pt x="14044" y="4885"/>
                </a:cubicBezTo>
                <a:cubicBezTo>
                  <a:pt x="13593" y="4393"/>
                  <a:pt x="12875" y="4026"/>
                  <a:pt x="12023" y="3825"/>
                </a:cubicBezTo>
                <a:cubicBezTo>
                  <a:pt x="10659" y="3503"/>
                  <a:pt x="9231" y="3631"/>
                  <a:pt x="8076" y="4087"/>
                </a:cubicBezTo>
                <a:cubicBezTo>
                  <a:pt x="7569" y="4288"/>
                  <a:pt x="7113" y="4553"/>
                  <a:pt x="6802" y="4894"/>
                </a:cubicBezTo>
                <a:cubicBezTo>
                  <a:pt x="6487" y="5241"/>
                  <a:pt x="6333" y="5657"/>
                  <a:pt x="6392" y="6090"/>
                </a:cubicBezTo>
                <a:close/>
              </a:path>
            </a:pathLst>
          </a:custGeom>
          <a:solidFill>
            <a:srgbClr val="F6F6F7"/>
          </a:solidFill>
          <a:ln w="12700" cap="flat">
            <a:noFill/>
            <a:miter lim="400000"/>
          </a:ln>
          <a:effectLst/>
        </p:spPr>
        <p:txBody>
          <a:bodyPr wrap="square" lIns="0" tIns="0" rIns="0" bIns="0" numCol="1" anchor="ctr">
            <a:noAutofit/>
          </a:bodyPr>
          <a:lstStyle/>
          <a:p>
            <a:pPr marL="0" marR="0" lvl="0" indent="0" algn="ctr" defTabSz="412750" rtl="0" eaLnBrk="1" fontAlgn="auto" latinLnBrk="0" hangingPunct="0">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1600" b="0" i="0" u="none" strike="noStrike" kern="0" cap="none" spc="0" normalizeH="0" baseline="0" noProof="0">
              <a:ln>
                <a:noFill/>
              </a:ln>
              <a:solidFill>
                <a:srgbClr val="FFFFFF"/>
              </a:solidFill>
              <a:effectLst/>
              <a:uLnTx/>
              <a:uFillTx/>
              <a:latin typeface="Helvetica Neue Medium"/>
              <a:cs typeface="+mn-cs"/>
              <a:sym typeface="Helvetica Neue Medium"/>
            </a:endParaRPr>
          </a:p>
        </p:txBody>
      </p:sp>
      <p:sp>
        <p:nvSpPr>
          <p:cNvPr id="97" name="Circle">
            <a:extLst>
              <a:ext uri="{FF2B5EF4-FFF2-40B4-BE49-F238E27FC236}">
                <a16:creationId xmlns:a16="http://schemas.microsoft.com/office/drawing/2014/main" id="{03E7799D-601A-4A95-B9D9-C29735E731E5}"/>
              </a:ext>
            </a:extLst>
          </p:cNvPr>
          <p:cNvSpPr/>
          <p:nvPr/>
        </p:nvSpPr>
        <p:spPr>
          <a:xfrm>
            <a:off x="891530" y="3413807"/>
            <a:ext cx="253651" cy="253651"/>
          </a:xfrm>
          <a:prstGeom prst="ellipse">
            <a:avLst/>
          </a:prstGeom>
          <a:gradFill>
            <a:gsLst>
              <a:gs pos="73000">
                <a:schemeClr val="accent1"/>
              </a:gs>
              <a:gs pos="31000">
                <a:schemeClr val="accent1">
                  <a:lumMod val="60000"/>
                  <a:lumOff val="40000"/>
                </a:schemeClr>
              </a:gs>
              <a:gs pos="0">
                <a:schemeClr val="accent1">
                  <a:lumMod val="40000"/>
                  <a:lumOff val="60000"/>
                </a:schemeClr>
              </a:gs>
            </a:gsLst>
            <a:path path="circle">
              <a:fillToRect r="100000" b="100000"/>
            </a:path>
          </a:gradFill>
          <a:ln>
            <a:noFill/>
          </a:ln>
          <a:effectLst>
            <a:outerShdw blurRad="444500" dist="317500" dir="5400000" sx="92000" sy="92000" algn="t" rotWithShape="0">
              <a:schemeClr val="accent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white"/>
              </a:solidFill>
              <a:effectLst/>
              <a:uLnTx/>
              <a:uFillTx/>
              <a:latin typeface="HarmonyOS Sans SC"/>
              <a:cs typeface="+mn-cs"/>
              <a:sym typeface="Helvetica Neue Medium"/>
            </a:endParaRPr>
          </a:p>
        </p:txBody>
      </p:sp>
      <p:sp>
        <p:nvSpPr>
          <p:cNvPr id="98" name="Shape">
            <a:extLst>
              <a:ext uri="{FF2B5EF4-FFF2-40B4-BE49-F238E27FC236}">
                <a16:creationId xmlns:a16="http://schemas.microsoft.com/office/drawing/2014/main" id="{2EA59F30-92F4-4E25-BFF0-08E8E7409D5A}"/>
              </a:ext>
            </a:extLst>
          </p:cNvPr>
          <p:cNvSpPr/>
          <p:nvPr/>
        </p:nvSpPr>
        <p:spPr>
          <a:xfrm>
            <a:off x="990675" y="3490657"/>
            <a:ext cx="148873" cy="165393"/>
          </a:xfrm>
          <a:custGeom>
            <a:avLst/>
            <a:gdLst/>
            <a:ahLst/>
            <a:cxnLst>
              <a:cxn ang="0">
                <a:pos x="wd2" y="hd2"/>
              </a:cxn>
              <a:cxn ang="5400000">
                <a:pos x="wd2" y="hd2"/>
              </a:cxn>
              <a:cxn ang="10800000">
                <a:pos x="wd2" y="hd2"/>
              </a:cxn>
              <a:cxn ang="16200000">
                <a:pos x="wd2" y="hd2"/>
              </a:cxn>
            </a:cxnLst>
            <a:rect l="0" t="0" r="r" b="b"/>
            <a:pathLst>
              <a:path w="21600" h="21600" extrusionOk="0">
                <a:moveTo>
                  <a:pt x="21600" y="11436"/>
                </a:moveTo>
                <a:lnTo>
                  <a:pt x="8875" y="0"/>
                </a:lnTo>
                <a:lnTo>
                  <a:pt x="0" y="2059"/>
                </a:lnTo>
                <a:lnTo>
                  <a:pt x="3454" y="5169"/>
                </a:lnTo>
                <a:lnTo>
                  <a:pt x="3192" y="6850"/>
                </a:lnTo>
                <a:lnTo>
                  <a:pt x="6750" y="10052"/>
                </a:lnTo>
                <a:lnTo>
                  <a:pt x="5490" y="11512"/>
                </a:lnTo>
                <a:lnTo>
                  <a:pt x="2410" y="8864"/>
                </a:lnTo>
                <a:lnTo>
                  <a:pt x="953" y="11886"/>
                </a:lnTo>
                <a:lnTo>
                  <a:pt x="11639" y="21600"/>
                </a:lnTo>
                <a:cubicBezTo>
                  <a:pt x="14159" y="20558"/>
                  <a:pt x="16388" y="19022"/>
                  <a:pt x="18162" y="17104"/>
                </a:cubicBezTo>
                <a:cubicBezTo>
                  <a:pt x="19707" y="15434"/>
                  <a:pt x="20875" y="13509"/>
                  <a:pt x="21600" y="11436"/>
                </a:cubicBezTo>
                <a:close/>
              </a:path>
            </a:pathLst>
          </a:custGeom>
          <a:gradFill>
            <a:gsLst>
              <a:gs pos="100000">
                <a:schemeClr val="accent1">
                  <a:lumMod val="75000"/>
                  <a:alpha val="0"/>
                </a:schemeClr>
              </a:gs>
              <a:gs pos="0">
                <a:schemeClr val="accent1">
                  <a:lumMod val="75000"/>
                </a:schemeClr>
              </a:gs>
            </a:gsLst>
            <a:path path="circle">
              <a:fillToRect r="100000" b="100000"/>
            </a:path>
          </a:gradFill>
          <a:ln w="12700">
            <a:miter lim="400000"/>
          </a:ln>
        </p:spPr>
        <p:txBody>
          <a:bodyPr lIns="0" tIns="0" rIns="0" bIns="0" anchor="ctr"/>
          <a:lstStyle/>
          <a:p>
            <a:pPr marL="0" marR="0" lvl="0" indent="0" algn="ctr" defTabSz="412750" rtl="0" eaLnBrk="1" fontAlgn="auto" latinLnBrk="0" hangingPunct="0">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FFFFF"/>
              </a:solidFill>
              <a:effectLst/>
              <a:uLnTx/>
              <a:uFillTx/>
              <a:latin typeface="HarmonyOS Sans SC"/>
              <a:cs typeface="+mn-cs"/>
              <a:sym typeface="Helvetica Neue Medium"/>
            </a:endParaRPr>
          </a:p>
        </p:txBody>
      </p:sp>
      <p:sp>
        <p:nvSpPr>
          <p:cNvPr id="99" name="Shape">
            <a:extLst>
              <a:ext uri="{FF2B5EF4-FFF2-40B4-BE49-F238E27FC236}">
                <a16:creationId xmlns:a16="http://schemas.microsoft.com/office/drawing/2014/main" id="{EA4D85C8-EB18-484F-BE8C-BBC7064B63B5}"/>
              </a:ext>
            </a:extLst>
          </p:cNvPr>
          <p:cNvSpPr/>
          <p:nvPr/>
        </p:nvSpPr>
        <p:spPr>
          <a:xfrm>
            <a:off x="987824" y="3490005"/>
            <a:ext cx="66135" cy="101255"/>
          </a:xfrm>
          <a:custGeom>
            <a:avLst/>
            <a:gdLst/>
            <a:ahLst/>
            <a:cxnLst>
              <a:cxn ang="0">
                <a:pos x="wd2" y="hd2"/>
              </a:cxn>
              <a:cxn ang="5400000">
                <a:pos x="wd2" y="hd2"/>
              </a:cxn>
              <a:cxn ang="10800000">
                <a:pos x="wd2" y="hd2"/>
              </a:cxn>
              <a:cxn ang="16200000">
                <a:pos x="wd2" y="hd2"/>
              </a:cxn>
            </a:cxnLst>
            <a:rect l="0" t="0" r="r" b="b"/>
            <a:pathLst>
              <a:path w="21513" h="21591" extrusionOk="0">
                <a:moveTo>
                  <a:pt x="12133" y="3705"/>
                </a:moveTo>
                <a:lnTo>
                  <a:pt x="1263" y="3705"/>
                </a:lnTo>
                <a:cubicBezTo>
                  <a:pt x="1093" y="3705"/>
                  <a:pt x="928" y="3666"/>
                  <a:pt x="798" y="3594"/>
                </a:cubicBezTo>
                <a:cubicBezTo>
                  <a:pt x="678" y="3528"/>
                  <a:pt x="594" y="3438"/>
                  <a:pt x="560" y="3337"/>
                </a:cubicBezTo>
                <a:lnTo>
                  <a:pt x="560" y="514"/>
                </a:lnTo>
                <a:cubicBezTo>
                  <a:pt x="555" y="373"/>
                  <a:pt x="640" y="238"/>
                  <a:pt x="793" y="140"/>
                </a:cubicBezTo>
                <a:cubicBezTo>
                  <a:pt x="918" y="60"/>
                  <a:pt x="1081" y="11"/>
                  <a:pt x="1254" y="0"/>
                </a:cubicBezTo>
                <a:lnTo>
                  <a:pt x="20447" y="0"/>
                </a:lnTo>
                <a:cubicBezTo>
                  <a:pt x="20614" y="-2"/>
                  <a:pt x="20776" y="39"/>
                  <a:pt x="20896" y="115"/>
                </a:cubicBezTo>
                <a:cubicBezTo>
                  <a:pt x="21022" y="193"/>
                  <a:pt x="21092" y="302"/>
                  <a:pt x="21092" y="415"/>
                </a:cubicBezTo>
                <a:lnTo>
                  <a:pt x="21092" y="3562"/>
                </a:lnTo>
                <a:cubicBezTo>
                  <a:pt x="21087" y="3658"/>
                  <a:pt x="21056" y="3753"/>
                  <a:pt x="21000" y="3842"/>
                </a:cubicBezTo>
                <a:cubicBezTo>
                  <a:pt x="20947" y="3928"/>
                  <a:pt x="20871" y="4008"/>
                  <a:pt x="20776" y="4078"/>
                </a:cubicBezTo>
                <a:lnTo>
                  <a:pt x="14615" y="7758"/>
                </a:lnTo>
                <a:cubicBezTo>
                  <a:pt x="14538" y="7808"/>
                  <a:pt x="14510" y="7882"/>
                  <a:pt x="14542" y="7950"/>
                </a:cubicBezTo>
                <a:cubicBezTo>
                  <a:pt x="14567" y="8001"/>
                  <a:pt x="14623" y="8042"/>
                  <a:pt x="14697" y="8064"/>
                </a:cubicBezTo>
                <a:cubicBezTo>
                  <a:pt x="15727" y="8167"/>
                  <a:pt x="16712" y="8411"/>
                  <a:pt x="17589" y="8779"/>
                </a:cubicBezTo>
                <a:cubicBezTo>
                  <a:pt x="18597" y="9202"/>
                  <a:pt x="19434" y="9776"/>
                  <a:pt x="20059" y="10445"/>
                </a:cubicBezTo>
                <a:cubicBezTo>
                  <a:pt x="20822" y="11262"/>
                  <a:pt x="21235" y="12169"/>
                  <a:pt x="21412" y="13104"/>
                </a:cubicBezTo>
                <a:cubicBezTo>
                  <a:pt x="21588" y="14039"/>
                  <a:pt x="21528" y="15007"/>
                  <a:pt x="21273" y="15951"/>
                </a:cubicBezTo>
                <a:cubicBezTo>
                  <a:pt x="21068" y="16709"/>
                  <a:pt x="20740" y="17451"/>
                  <a:pt x="20211" y="18132"/>
                </a:cubicBezTo>
                <a:cubicBezTo>
                  <a:pt x="19696" y="18796"/>
                  <a:pt x="18997" y="19394"/>
                  <a:pt x="18143" y="19891"/>
                </a:cubicBezTo>
                <a:cubicBezTo>
                  <a:pt x="16120" y="21069"/>
                  <a:pt x="13441" y="21598"/>
                  <a:pt x="10734" y="21591"/>
                </a:cubicBezTo>
                <a:cubicBezTo>
                  <a:pt x="9081" y="21587"/>
                  <a:pt x="7448" y="21385"/>
                  <a:pt x="5977" y="20953"/>
                </a:cubicBezTo>
                <a:cubicBezTo>
                  <a:pt x="4452" y="20506"/>
                  <a:pt x="3115" y="19817"/>
                  <a:pt x="2073" y="18929"/>
                </a:cubicBezTo>
                <a:cubicBezTo>
                  <a:pt x="862" y="17895"/>
                  <a:pt x="145" y="16650"/>
                  <a:pt x="13" y="15350"/>
                </a:cubicBezTo>
                <a:lnTo>
                  <a:pt x="2" y="14852"/>
                </a:lnTo>
                <a:cubicBezTo>
                  <a:pt x="-12" y="14739"/>
                  <a:pt x="49" y="14627"/>
                  <a:pt x="170" y="14546"/>
                </a:cubicBezTo>
                <a:cubicBezTo>
                  <a:pt x="295" y="14462"/>
                  <a:pt x="469" y="14420"/>
                  <a:pt x="646" y="14429"/>
                </a:cubicBezTo>
                <a:lnTo>
                  <a:pt x="5990" y="14429"/>
                </a:lnTo>
                <a:cubicBezTo>
                  <a:pt x="6127" y="14434"/>
                  <a:pt x="6257" y="14472"/>
                  <a:pt x="6355" y="14535"/>
                </a:cubicBezTo>
                <a:cubicBezTo>
                  <a:pt x="6460" y="14603"/>
                  <a:pt x="6522" y="14695"/>
                  <a:pt x="6526" y="14791"/>
                </a:cubicBezTo>
                <a:cubicBezTo>
                  <a:pt x="6610" y="15121"/>
                  <a:pt x="6718" y="15448"/>
                  <a:pt x="6850" y="15771"/>
                </a:cubicBezTo>
                <a:cubicBezTo>
                  <a:pt x="6942" y="15998"/>
                  <a:pt x="7046" y="16223"/>
                  <a:pt x="7161" y="16445"/>
                </a:cubicBezTo>
                <a:cubicBezTo>
                  <a:pt x="7666" y="17125"/>
                  <a:pt x="8547" y="17608"/>
                  <a:pt x="9568" y="17834"/>
                </a:cubicBezTo>
                <a:cubicBezTo>
                  <a:pt x="10568" y="18055"/>
                  <a:pt x="11702" y="18029"/>
                  <a:pt x="12693" y="17662"/>
                </a:cubicBezTo>
                <a:cubicBezTo>
                  <a:pt x="14380" y="17037"/>
                  <a:pt x="14922" y="15695"/>
                  <a:pt x="14955" y="14403"/>
                </a:cubicBezTo>
                <a:cubicBezTo>
                  <a:pt x="14994" y="12890"/>
                  <a:pt x="14322" y="11313"/>
                  <a:pt x="12282" y="10703"/>
                </a:cubicBezTo>
                <a:cubicBezTo>
                  <a:pt x="11786" y="10554"/>
                  <a:pt x="11242" y="10487"/>
                  <a:pt x="10698" y="10509"/>
                </a:cubicBezTo>
                <a:cubicBezTo>
                  <a:pt x="10298" y="10525"/>
                  <a:pt x="9905" y="10589"/>
                  <a:pt x="9540" y="10698"/>
                </a:cubicBezTo>
                <a:lnTo>
                  <a:pt x="8545" y="11086"/>
                </a:lnTo>
                <a:cubicBezTo>
                  <a:pt x="8397" y="11157"/>
                  <a:pt x="8216" y="11191"/>
                  <a:pt x="8034" y="11182"/>
                </a:cubicBezTo>
                <a:cubicBezTo>
                  <a:pt x="7838" y="11172"/>
                  <a:pt x="7656" y="11114"/>
                  <a:pt x="7523" y="11019"/>
                </a:cubicBezTo>
                <a:lnTo>
                  <a:pt x="4907" y="8740"/>
                </a:lnTo>
                <a:cubicBezTo>
                  <a:pt x="4780" y="8645"/>
                  <a:pt x="4719" y="8520"/>
                  <a:pt x="4739" y="8394"/>
                </a:cubicBezTo>
                <a:cubicBezTo>
                  <a:pt x="4758" y="8276"/>
                  <a:pt x="4847" y="8168"/>
                  <a:pt x="4987" y="8092"/>
                </a:cubicBezTo>
                <a:lnTo>
                  <a:pt x="12302" y="3940"/>
                </a:lnTo>
                <a:cubicBezTo>
                  <a:pt x="12347" y="3901"/>
                  <a:pt x="12360" y="3851"/>
                  <a:pt x="12336" y="3805"/>
                </a:cubicBezTo>
                <a:cubicBezTo>
                  <a:pt x="12306" y="3747"/>
                  <a:pt x="12226" y="3707"/>
                  <a:pt x="12133" y="3705"/>
                </a:cubicBezTo>
                <a:close/>
              </a:path>
            </a:pathLst>
          </a:custGeom>
          <a:solidFill>
            <a:srgbClr val="F6F6F7"/>
          </a:solidFill>
          <a:ln w="12700" cap="flat">
            <a:noFill/>
            <a:miter lim="400000"/>
          </a:ln>
          <a:effectLst/>
        </p:spPr>
        <p:txBody>
          <a:bodyPr wrap="square" lIns="0" tIns="0" rIns="0" bIns="0" numCol="1" anchor="ctr">
            <a:noAutofit/>
          </a:bodyPr>
          <a:lstStyle/>
          <a:p>
            <a:pPr marL="0" marR="0" lvl="0" indent="0" algn="ctr" defTabSz="412750" rtl="0" eaLnBrk="1" fontAlgn="auto" latinLnBrk="0" hangingPunct="0">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1600" b="0" i="0" u="none" strike="noStrike" kern="0" cap="none" spc="0" normalizeH="0" baseline="0" noProof="0">
              <a:ln>
                <a:noFill/>
              </a:ln>
              <a:solidFill>
                <a:srgbClr val="FFFFFF"/>
              </a:solidFill>
              <a:effectLst/>
              <a:uLnTx/>
              <a:uFillTx/>
              <a:latin typeface="Helvetica Neue Medium"/>
              <a:cs typeface="+mn-cs"/>
              <a:sym typeface="Helvetica Neue Medium"/>
            </a:endParaRPr>
          </a:p>
        </p:txBody>
      </p:sp>
      <p:sp>
        <p:nvSpPr>
          <p:cNvPr id="94" name="Circle">
            <a:extLst>
              <a:ext uri="{FF2B5EF4-FFF2-40B4-BE49-F238E27FC236}">
                <a16:creationId xmlns:a16="http://schemas.microsoft.com/office/drawing/2014/main" id="{7703889E-F812-466E-976A-39A242FD8DD0}"/>
              </a:ext>
            </a:extLst>
          </p:cNvPr>
          <p:cNvSpPr/>
          <p:nvPr/>
        </p:nvSpPr>
        <p:spPr>
          <a:xfrm>
            <a:off x="887786" y="4460315"/>
            <a:ext cx="253651" cy="253651"/>
          </a:xfrm>
          <a:prstGeom prst="ellipse">
            <a:avLst/>
          </a:prstGeom>
          <a:gradFill>
            <a:gsLst>
              <a:gs pos="73000">
                <a:schemeClr val="accent1"/>
              </a:gs>
              <a:gs pos="31000">
                <a:schemeClr val="accent1">
                  <a:lumMod val="60000"/>
                  <a:lumOff val="40000"/>
                </a:schemeClr>
              </a:gs>
              <a:gs pos="0">
                <a:schemeClr val="accent1">
                  <a:lumMod val="40000"/>
                  <a:lumOff val="60000"/>
                </a:schemeClr>
              </a:gs>
            </a:gsLst>
            <a:path path="circle">
              <a:fillToRect r="100000" b="100000"/>
            </a:path>
          </a:gradFill>
          <a:ln>
            <a:noFill/>
          </a:ln>
          <a:effectLst>
            <a:outerShdw blurRad="444500" dist="317500" dir="5400000" sx="92000" sy="92000" algn="t" rotWithShape="0">
              <a:schemeClr val="accent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white"/>
              </a:solidFill>
              <a:effectLst/>
              <a:uLnTx/>
              <a:uFillTx/>
              <a:latin typeface="HarmonyOS Sans SC"/>
              <a:cs typeface="+mn-cs"/>
              <a:sym typeface="Helvetica Neue Medium"/>
            </a:endParaRPr>
          </a:p>
        </p:txBody>
      </p:sp>
      <p:sp>
        <p:nvSpPr>
          <p:cNvPr id="95" name="Shape">
            <a:extLst>
              <a:ext uri="{FF2B5EF4-FFF2-40B4-BE49-F238E27FC236}">
                <a16:creationId xmlns:a16="http://schemas.microsoft.com/office/drawing/2014/main" id="{90AFDE31-64EE-4552-9F87-57495A75EA5E}"/>
              </a:ext>
            </a:extLst>
          </p:cNvPr>
          <p:cNvSpPr/>
          <p:nvPr/>
        </p:nvSpPr>
        <p:spPr>
          <a:xfrm>
            <a:off x="979084" y="4532509"/>
            <a:ext cx="151381" cy="167529"/>
          </a:xfrm>
          <a:custGeom>
            <a:avLst/>
            <a:gdLst/>
            <a:ahLst/>
            <a:cxnLst>
              <a:cxn ang="0">
                <a:pos x="wd2" y="hd2"/>
              </a:cxn>
              <a:cxn ang="5400000">
                <a:pos x="wd2" y="hd2"/>
              </a:cxn>
              <a:cxn ang="10800000">
                <a:pos x="wd2" y="hd2"/>
              </a:cxn>
              <a:cxn ang="16200000">
                <a:pos x="wd2" y="hd2"/>
              </a:cxn>
            </a:cxnLst>
            <a:rect l="0" t="0" r="r" b="b"/>
            <a:pathLst>
              <a:path w="21600" h="21600" extrusionOk="0">
                <a:moveTo>
                  <a:pt x="21600" y="13637"/>
                </a:moveTo>
                <a:lnTo>
                  <a:pt x="6509" y="0"/>
                </a:lnTo>
                <a:lnTo>
                  <a:pt x="789" y="6770"/>
                </a:lnTo>
                <a:lnTo>
                  <a:pt x="0" y="9518"/>
                </a:lnTo>
                <a:lnTo>
                  <a:pt x="13371" y="21600"/>
                </a:lnTo>
                <a:cubicBezTo>
                  <a:pt x="15329" y="20693"/>
                  <a:pt x="17084" y="19465"/>
                  <a:pt x="18547" y="17979"/>
                </a:cubicBezTo>
                <a:cubicBezTo>
                  <a:pt x="19816" y="16689"/>
                  <a:pt x="20847" y="15223"/>
                  <a:pt x="21600" y="13637"/>
                </a:cubicBezTo>
                <a:close/>
              </a:path>
            </a:pathLst>
          </a:custGeom>
          <a:gradFill>
            <a:gsLst>
              <a:gs pos="100000">
                <a:schemeClr val="accent1">
                  <a:lumMod val="75000"/>
                  <a:alpha val="0"/>
                </a:schemeClr>
              </a:gs>
              <a:gs pos="0">
                <a:schemeClr val="accent1">
                  <a:lumMod val="75000"/>
                </a:schemeClr>
              </a:gs>
            </a:gsLst>
            <a:path path="circle">
              <a:fillToRect r="100000" b="100000"/>
            </a:path>
          </a:gradFill>
          <a:ln w="12700">
            <a:miter lim="400000"/>
          </a:ln>
        </p:spPr>
        <p:txBody>
          <a:bodyPr lIns="0" tIns="0" rIns="0" bIns="0" anchor="ctr"/>
          <a:lstStyle/>
          <a:p>
            <a:pPr marL="0" marR="0" lvl="0" indent="0" algn="ctr" defTabSz="412750" rtl="0" eaLnBrk="1" fontAlgn="auto" latinLnBrk="0" hangingPunct="0">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FFFFF"/>
              </a:solidFill>
              <a:effectLst/>
              <a:uLnTx/>
              <a:uFillTx/>
              <a:latin typeface="HarmonyOS Sans SC"/>
              <a:cs typeface="+mn-cs"/>
              <a:sym typeface="Helvetica Neue Medium"/>
            </a:endParaRPr>
          </a:p>
        </p:txBody>
      </p:sp>
      <p:sp>
        <p:nvSpPr>
          <p:cNvPr id="96" name="Shape">
            <a:extLst>
              <a:ext uri="{FF2B5EF4-FFF2-40B4-BE49-F238E27FC236}">
                <a16:creationId xmlns:a16="http://schemas.microsoft.com/office/drawing/2014/main" id="{0223D7AB-2A8E-4E09-9CB5-C65F6085B173}"/>
              </a:ext>
            </a:extLst>
          </p:cNvPr>
          <p:cNvSpPr/>
          <p:nvPr/>
        </p:nvSpPr>
        <p:spPr>
          <a:xfrm>
            <a:off x="977896" y="4531982"/>
            <a:ext cx="74893" cy="100171"/>
          </a:xfrm>
          <a:custGeom>
            <a:avLst/>
            <a:gdLst/>
            <a:ahLst/>
            <a:cxnLst>
              <a:cxn ang="0">
                <a:pos x="wd2" y="hd2"/>
              </a:cxn>
              <a:cxn ang="5400000">
                <a:pos x="wd2" y="hd2"/>
              </a:cxn>
              <a:cxn ang="10800000">
                <a:pos x="wd2" y="hd2"/>
              </a:cxn>
              <a:cxn ang="16200000">
                <a:pos x="wd2" y="hd2"/>
              </a:cxn>
            </a:cxnLst>
            <a:rect l="0" t="0" r="r" b="b"/>
            <a:pathLst>
              <a:path w="21591" h="21586" extrusionOk="0">
                <a:moveTo>
                  <a:pt x="13613" y="470"/>
                </a:moveTo>
                <a:cubicBezTo>
                  <a:pt x="13665" y="361"/>
                  <a:pt x="13642" y="239"/>
                  <a:pt x="13550" y="145"/>
                </a:cubicBezTo>
                <a:cubicBezTo>
                  <a:pt x="13448" y="41"/>
                  <a:pt x="13277" y="-14"/>
                  <a:pt x="13105" y="3"/>
                </a:cubicBezTo>
                <a:lnTo>
                  <a:pt x="8290" y="3"/>
                </a:lnTo>
                <a:cubicBezTo>
                  <a:pt x="8122" y="0"/>
                  <a:pt x="7957" y="32"/>
                  <a:pt x="7811" y="95"/>
                </a:cubicBezTo>
                <a:cubicBezTo>
                  <a:pt x="7666" y="158"/>
                  <a:pt x="7546" y="251"/>
                  <a:pt x="7468" y="363"/>
                </a:cubicBezTo>
                <a:lnTo>
                  <a:pt x="259" y="12493"/>
                </a:lnTo>
                <a:cubicBezTo>
                  <a:pt x="159" y="12622"/>
                  <a:pt x="87" y="12762"/>
                  <a:pt x="44" y="12907"/>
                </a:cubicBezTo>
                <a:cubicBezTo>
                  <a:pt x="5" y="13039"/>
                  <a:pt x="-8" y="13175"/>
                  <a:pt x="4" y="13309"/>
                </a:cubicBezTo>
                <a:lnTo>
                  <a:pt x="4" y="15558"/>
                </a:lnTo>
                <a:cubicBezTo>
                  <a:pt x="6" y="15682"/>
                  <a:pt x="72" y="15801"/>
                  <a:pt x="190" y="15888"/>
                </a:cubicBezTo>
                <a:cubicBezTo>
                  <a:pt x="307" y="15976"/>
                  <a:pt x="465" y="16026"/>
                  <a:pt x="631" y="16027"/>
                </a:cubicBezTo>
                <a:lnTo>
                  <a:pt x="13137" y="16027"/>
                </a:lnTo>
                <a:cubicBezTo>
                  <a:pt x="13235" y="16020"/>
                  <a:pt x="13328" y="16058"/>
                  <a:pt x="13373" y="16123"/>
                </a:cubicBezTo>
                <a:cubicBezTo>
                  <a:pt x="13393" y="16151"/>
                  <a:pt x="13402" y="16183"/>
                  <a:pt x="13399" y="16215"/>
                </a:cubicBezTo>
                <a:lnTo>
                  <a:pt x="13399" y="21194"/>
                </a:lnTo>
                <a:cubicBezTo>
                  <a:pt x="13407" y="21292"/>
                  <a:pt x="13461" y="21384"/>
                  <a:pt x="13552" y="21455"/>
                </a:cubicBezTo>
                <a:cubicBezTo>
                  <a:pt x="13657" y="21538"/>
                  <a:pt x="13802" y="21585"/>
                  <a:pt x="13954" y="21586"/>
                </a:cubicBezTo>
                <a:lnTo>
                  <a:pt x="18605" y="21586"/>
                </a:lnTo>
                <a:cubicBezTo>
                  <a:pt x="18737" y="21575"/>
                  <a:pt x="18860" y="21532"/>
                  <a:pt x="18957" y="21465"/>
                </a:cubicBezTo>
                <a:cubicBezTo>
                  <a:pt x="19071" y="21386"/>
                  <a:pt x="19141" y="21278"/>
                  <a:pt x="19154" y="21162"/>
                </a:cubicBezTo>
                <a:lnTo>
                  <a:pt x="19154" y="16255"/>
                </a:lnTo>
                <a:cubicBezTo>
                  <a:pt x="19164" y="16198"/>
                  <a:pt x="19199" y="16146"/>
                  <a:pt x="19254" y="16107"/>
                </a:cubicBezTo>
                <a:cubicBezTo>
                  <a:pt x="19328" y="16054"/>
                  <a:pt x="19431" y="16029"/>
                  <a:pt x="19533" y="16039"/>
                </a:cubicBezTo>
                <a:lnTo>
                  <a:pt x="21016" y="16039"/>
                </a:lnTo>
                <a:cubicBezTo>
                  <a:pt x="21173" y="16029"/>
                  <a:pt x="21320" y="15975"/>
                  <a:pt x="21426" y="15889"/>
                </a:cubicBezTo>
                <a:cubicBezTo>
                  <a:pt x="21529" y="15805"/>
                  <a:pt x="21588" y="15696"/>
                  <a:pt x="21591" y="15582"/>
                </a:cubicBezTo>
                <a:lnTo>
                  <a:pt x="21591" y="12528"/>
                </a:lnTo>
                <a:cubicBezTo>
                  <a:pt x="21592" y="12453"/>
                  <a:pt x="21556" y="12380"/>
                  <a:pt x="21489" y="12323"/>
                </a:cubicBezTo>
                <a:cubicBezTo>
                  <a:pt x="21394" y="12242"/>
                  <a:pt x="21250" y="12203"/>
                  <a:pt x="21108" y="12221"/>
                </a:cubicBezTo>
                <a:lnTo>
                  <a:pt x="19582" y="12221"/>
                </a:lnTo>
                <a:cubicBezTo>
                  <a:pt x="19493" y="12236"/>
                  <a:pt x="19399" y="12223"/>
                  <a:pt x="19323" y="12185"/>
                </a:cubicBezTo>
                <a:cubicBezTo>
                  <a:pt x="19250" y="12148"/>
                  <a:pt x="19200" y="12091"/>
                  <a:pt x="19183" y="12026"/>
                </a:cubicBezTo>
                <a:lnTo>
                  <a:pt x="19183" y="8346"/>
                </a:lnTo>
                <a:cubicBezTo>
                  <a:pt x="19204" y="8201"/>
                  <a:pt x="19129" y="8056"/>
                  <a:pt x="18983" y="7959"/>
                </a:cubicBezTo>
                <a:cubicBezTo>
                  <a:pt x="18855" y="7873"/>
                  <a:pt x="18684" y="7832"/>
                  <a:pt x="18514" y="7846"/>
                </a:cubicBezTo>
                <a:lnTo>
                  <a:pt x="14014" y="7846"/>
                </a:lnTo>
                <a:cubicBezTo>
                  <a:pt x="13824" y="7844"/>
                  <a:pt x="13643" y="7903"/>
                  <a:pt x="13517" y="8008"/>
                </a:cubicBezTo>
                <a:cubicBezTo>
                  <a:pt x="13409" y="8099"/>
                  <a:pt x="13350" y="8218"/>
                  <a:pt x="13353" y="8340"/>
                </a:cubicBezTo>
                <a:lnTo>
                  <a:pt x="13353" y="11989"/>
                </a:lnTo>
                <a:cubicBezTo>
                  <a:pt x="13360" y="12034"/>
                  <a:pt x="13339" y="12078"/>
                  <a:pt x="13297" y="12110"/>
                </a:cubicBezTo>
                <a:cubicBezTo>
                  <a:pt x="13254" y="12142"/>
                  <a:pt x="13194" y="12157"/>
                  <a:pt x="13135" y="12152"/>
                </a:cubicBezTo>
                <a:lnTo>
                  <a:pt x="6897" y="12152"/>
                </a:lnTo>
                <a:cubicBezTo>
                  <a:pt x="6846" y="12154"/>
                  <a:pt x="6798" y="12138"/>
                  <a:pt x="6766" y="12108"/>
                </a:cubicBezTo>
                <a:cubicBezTo>
                  <a:pt x="6723" y="12068"/>
                  <a:pt x="6720" y="12012"/>
                  <a:pt x="6758" y="11969"/>
                </a:cubicBezTo>
                <a:lnTo>
                  <a:pt x="13613" y="470"/>
                </a:lnTo>
                <a:close/>
              </a:path>
            </a:pathLst>
          </a:custGeom>
          <a:solidFill>
            <a:srgbClr val="F6F6F7"/>
          </a:solidFill>
          <a:ln w="12700" cap="flat">
            <a:noFill/>
            <a:miter lim="400000"/>
          </a:ln>
          <a:effectLst/>
        </p:spPr>
        <p:txBody>
          <a:bodyPr wrap="square" lIns="0" tIns="0" rIns="0" bIns="0" numCol="1" anchor="ctr">
            <a:noAutofit/>
          </a:bodyPr>
          <a:lstStyle/>
          <a:p>
            <a:pPr marL="0" marR="0" lvl="0" indent="0" algn="ctr" defTabSz="412750" rtl="0" eaLnBrk="1" fontAlgn="auto" latinLnBrk="0" hangingPunct="0">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1600" b="0" i="0" u="none" strike="noStrike" kern="0" cap="none" spc="0" normalizeH="0" baseline="0" noProof="0">
              <a:ln>
                <a:noFill/>
              </a:ln>
              <a:solidFill>
                <a:srgbClr val="FFFFFF"/>
              </a:solidFill>
              <a:effectLst/>
              <a:uLnTx/>
              <a:uFillTx/>
              <a:latin typeface="Helvetica Neue Medium"/>
              <a:cs typeface="+mn-cs"/>
              <a:sym typeface="Helvetica Neue Medium"/>
            </a:endParaRPr>
          </a:p>
        </p:txBody>
      </p:sp>
      <p:sp>
        <p:nvSpPr>
          <p:cNvPr id="91" name="Circle">
            <a:extLst>
              <a:ext uri="{FF2B5EF4-FFF2-40B4-BE49-F238E27FC236}">
                <a16:creationId xmlns:a16="http://schemas.microsoft.com/office/drawing/2014/main" id="{838B463F-79AD-4DA7-B2E1-7490CD8713F9}"/>
              </a:ext>
            </a:extLst>
          </p:cNvPr>
          <p:cNvSpPr/>
          <p:nvPr/>
        </p:nvSpPr>
        <p:spPr>
          <a:xfrm>
            <a:off x="887786" y="5506824"/>
            <a:ext cx="253651" cy="253651"/>
          </a:xfrm>
          <a:prstGeom prst="ellipse">
            <a:avLst/>
          </a:prstGeom>
          <a:gradFill>
            <a:gsLst>
              <a:gs pos="73000">
                <a:schemeClr val="accent1"/>
              </a:gs>
              <a:gs pos="31000">
                <a:schemeClr val="accent1">
                  <a:lumMod val="60000"/>
                  <a:lumOff val="40000"/>
                </a:schemeClr>
              </a:gs>
              <a:gs pos="0">
                <a:schemeClr val="accent1">
                  <a:lumMod val="40000"/>
                  <a:lumOff val="60000"/>
                </a:schemeClr>
              </a:gs>
            </a:gsLst>
            <a:path path="circle">
              <a:fillToRect r="100000" b="100000"/>
            </a:path>
          </a:gradFill>
          <a:ln>
            <a:noFill/>
          </a:ln>
          <a:effectLst>
            <a:outerShdw blurRad="444500" dist="317500" dir="5400000" sx="92000" sy="92000" algn="t" rotWithShape="0">
              <a:schemeClr val="accent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white"/>
              </a:solidFill>
              <a:effectLst/>
              <a:uLnTx/>
              <a:uFillTx/>
              <a:latin typeface="HarmonyOS Sans SC"/>
              <a:cs typeface="+mn-cs"/>
              <a:sym typeface="Helvetica Neue Medium"/>
            </a:endParaRPr>
          </a:p>
        </p:txBody>
      </p:sp>
      <p:sp>
        <p:nvSpPr>
          <p:cNvPr id="92" name="Shape">
            <a:extLst>
              <a:ext uri="{FF2B5EF4-FFF2-40B4-BE49-F238E27FC236}">
                <a16:creationId xmlns:a16="http://schemas.microsoft.com/office/drawing/2014/main" id="{B39F1247-832C-4E3C-89C3-2E310CF8B5EF}"/>
              </a:ext>
            </a:extLst>
          </p:cNvPr>
          <p:cNvSpPr/>
          <p:nvPr/>
        </p:nvSpPr>
        <p:spPr>
          <a:xfrm>
            <a:off x="987409" y="5581119"/>
            <a:ext cx="149117" cy="166236"/>
          </a:xfrm>
          <a:custGeom>
            <a:avLst/>
            <a:gdLst/>
            <a:ahLst/>
            <a:cxnLst>
              <a:cxn ang="0">
                <a:pos x="wd2" y="hd2"/>
              </a:cxn>
              <a:cxn ang="5400000">
                <a:pos x="wd2" y="hd2"/>
              </a:cxn>
              <a:cxn ang="10800000">
                <a:pos x="wd2" y="hd2"/>
              </a:cxn>
              <a:cxn ang="16200000">
                <a:pos x="wd2" y="hd2"/>
              </a:cxn>
            </a:cxnLst>
            <a:rect l="0" t="0" r="r" b="b"/>
            <a:pathLst>
              <a:path w="21600" h="21600" extrusionOk="0">
                <a:moveTo>
                  <a:pt x="21600" y="11422"/>
                </a:moveTo>
                <a:lnTo>
                  <a:pt x="8867" y="0"/>
                </a:lnTo>
                <a:lnTo>
                  <a:pt x="1873" y="1400"/>
                </a:lnTo>
                <a:lnTo>
                  <a:pt x="0" y="7647"/>
                </a:lnTo>
                <a:lnTo>
                  <a:pt x="2269" y="9825"/>
                </a:lnTo>
                <a:lnTo>
                  <a:pt x="1208" y="11840"/>
                </a:lnTo>
                <a:lnTo>
                  <a:pt x="12014" y="21600"/>
                </a:lnTo>
                <a:cubicBezTo>
                  <a:pt x="14556" y="20498"/>
                  <a:pt x="16779" y="18883"/>
                  <a:pt x="18507" y="16881"/>
                </a:cubicBezTo>
                <a:cubicBezTo>
                  <a:pt x="19912" y="15253"/>
                  <a:pt x="20962" y="13400"/>
                  <a:pt x="21600" y="11422"/>
                </a:cubicBezTo>
                <a:close/>
              </a:path>
            </a:pathLst>
          </a:custGeom>
          <a:gradFill>
            <a:gsLst>
              <a:gs pos="100000">
                <a:schemeClr val="accent1">
                  <a:lumMod val="75000"/>
                  <a:alpha val="0"/>
                </a:schemeClr>
              </a:gs>
              <a:gs pos="0">
                <a:schemeClr val="accent1">
                  <a:lumMod val="75000"/>
                </a:schemeClr>
              </a:gs>
            </a:gsLst>
            <a:path path="circle">
              <a:fillToRect r="100000" b="100000"/>
            </a:path>
          </a:gradFill>
          <a:ln w="12700">
            <a:miter lim="400000"/>
          </a:ln>
        </p:spPr>
        <p:txBody>
          <a:bodyPr lIns="0" tIns="0" rIns="0" bIns="0" anchor="ctr"/>
          <a:lstStyle/>
          <a:p>
            <a:pPr marL="0" marR="0" lvl="0" indent="0" algn="ctr" defTabSz="412750" rtl="0" eaLnBrk="1" fontAlgn="auto" latinLnBrk="0" hangingPunct="0">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FFFFF"/>
              </a:solidFill>
              <a:effectLst/>
              <a:uLnTx/>
              <a:uFillTx/>
              <a:latin typeface="HarmonyOS Sans SC"/>
              <a:cs typeface="+mn-cs"/>
              <a:sym typeface="Helvetica Neue Medium"/>
            </a:endParaRPr>
          </a:p>
        </p:txBody>
      </p:sp>
      <p:sp>
        <p:nvSpPr>
          <p:cNvPr id="93" name="Shape">
            <a:extLst>
              <a:ext uri="{FF2B5EF4-FFF2-40B4-BE49-F238E27FC236}">
                <a16:creationId xmlns:a16="http://schemas.microsoft.com/office/drawing/2014/main" id="{D870323F-98AD-4A31-AC27-35FB2EB00E2A}"/>
              </a:ext>
            </a:extLst>
          </p:cNvPr>
          <p:cNvSpPr/>
          <p:nvPr/>
        </p:nvSpPr>
        <p:spPr>
          <a:xfrm>
            <a:off x="986800" y="5580464"/>
            <a:ext cx="65768" cy="101297"/>
          </a:xfrm>
          <a:custGeom>
            <a:avLst/>
            <a:gdLst/>
            <a:ahLst/>
            <a:cxnLst>
              <a:cxn ang="0">
                <a:pos x="wd2" y="hd2"/>
              </a:cxn>
              <a:cxn ang="5400000">
                <a:pos x="wd2" y="hd2"/>
              </a:cxn>
              <a:cxn ang="10800000">
                <a:pos x="wd2" y="hd2"/>
              </a:cxn>
              <a:cxn ang="16200000">
                <a:pos x="wd2" y="hd2"/>
              </a:cxn>
            </a:cxnLst>
            <a:rect l="0" t="0" r="r" b="b"/>
            <a:pathLst>
              <a:path w="21510" h="21530" extrusionOk="0">
                <a:moveTo>
                  <a:pt x="665" y="0"/>
                </a:moveTo>
                <a:lnTo>
                  <a:pt x="19757" y="0"/>
                </a:lnTo>
                <a:cubicBezTo>
                  <a:pt x="19935" y="5"/>
                  <a:pt x="20102" y="55"/>
                  <a:pt x="20224" y="138"/>
                </a:cubicBezTo>
                <a:cubicBezTo>
                  <a:pt x="20338" y="216"/>
                  <a:pt x="20405" y="318"/>
                  <a:pt x="20412" y="425"/>
                </a:cubicBezTo>
                <a:lnTo>
                  <a:pt x="20412" y="3234"/>
                </a:lnTo>
                <a:cubicBezTo>
                  <a:pt x="20404" y="3356"/>
                  <a:pt x="20323" y="3471"/>
                  <a:pt x="20188" y="3556"/>
                </a:cubicBezTo>
                <a:cubicBezTo>
                  <a:pt x="20059" y="3637"/>
                  <a:pt x="19890" y="3684"/>
                  <a:pt x="19711" y="3689"/>
                </a:cubicBezTo>
                <a:lnTo>
                  <a:pt x="6815" y="3689"/>
                </a:lnTo>
                <a:cubicBezTo>
                  <a:pt x="6714" y="3690"/>
                  <a:pt x="6618" y="3719"/>
                  <a:pt x="6551" y="3769"/>
                </a:cubicBezTo>
                <a:cubicBezTo>
                  <a:pt x="6495" y="3810"/>
                  <a:pt x="6463" y="3864"/>
                  <a:pt x="6462" y="3919"/>
                </a:cubicBezTo>
                <a:lnTo>
                  <a:pt x="6462" y="8251"/>
                </a:lnTo>
                <a:cubicBezTo>
                  <a:pt x="6430" y="8318"/>
                  <a:pt x="6473" y="8391"/>
                  <a:pt x="6566" y="8427"/>
                </a:cubicBezTo>
                <a:cubicBezTo>
                  <a:pt x="6623" y="8450"/>
                  <a:pt x="6692" y="8455"/>
                  <a:pt x="6755" y="8441"/>
                </a:cubicBezTo>
                <a:cubicBezTo>
                  <a:pt x="7650" y="8100"/>
                  <a:pt x="8624" y="7855"/>
                  <a:pt x="9640" y="7716"/>
                </a:cubicBezTo>
                <a:cubicBezTo>
                  <a:pt x="10816" y="7554"/>
                  <a:pt x="12026" y="7536"/>
                  <a:pt x="13216" y="7647"/>
                </a:cubicBezTo>
                <a:cubicBezTo>
                  <a:pt x="14686" y="7782"/>
                  <a:pt x="16101" y="8111"/>
                  <a:pt x="17339" y="8643"/>
                </a:cubicBezTo>
                <a:cubicBezTo>
                  <a:pt x="18521" y="9151"/>
                  <a:pt x="19507" y="9829"/>
                  <a:pt x="20192" y="10635"/>
                </a:cubicBezTo>
                <a:cubicBezTo>
                  <a:pt x="21024" y="11612"/>
                  <a:pt x="21371" y="12722"/>
                  <a:pt x="21476" y="13836"/>
                </a:cubicBezTo>
                <a:cubicBezTo>
                  <a:pt x="21577" y="14902"/>
                  <a:pt x="21459" y="15978"/>
                  <a:pt x="20945" y="16993"/>
                </a:cubicBezTo>
                <a:cubicBezTo>
                  <a:pt x="20345" y="18177"/>
                  <a:pt x="19234" y="19224"/>
                  <a:pt x="17741" y="20007"/>
                </a:cubicBezTo>
                <a:cubicBezTo>
                  <a:pt x="16253" y="20788"/>
                  <a:pt x="14453" y="21272"/>
                  <a:pt x="12560" y="21451"/>
                </a:cubicBezTo>
                <a:cubicBezTo>
                  <a:pt x="10980" y="21600"/>
                  <a:pt x="9372" y="21534"/>
                  <a:pt x="7817" y="21299"/>
                </a:cubicBezTo>
                <a:cubicBezTo>
                  <a:pt x="6239" y="21061"/>
                  <a:pt x="4722" y="20649"/>
                  <a:pt x="3474" y="19975"/>
                </a:cubicBezTo>
                <a:cubicBezTo>
                  <a:pt x="2556" y="19479"/>
                  <a:pt x="1820" y="18859"/>
                  <a:pt x="1246" y="18179"/>
                </a:cubicBezTo>
                <a:cubicBezTo>
                  <a:pt x="748" y="17588"/>
                  <a:pt x="375" y="16956"/>
                  <a:pt x="138" y="16301"/>
                </a:cubicBezTo>
                <a:lnTo>
                  <a:pt x="14" y="15781"/>
                </a:lnTo>
                <a:cubicBezTo>
                  <a:pt x="-23" y="15679"/>
                  <a:pt x="11" y="15571"/>
                  <a:pt x="107" y="15486"/>
                </a:cubicBezTo>
                <a:cubicBezTo>
                  <a:pt x="210" y="15396"/>
                  <a:pt x="372" y="15342"/>
                  <a:pt x="546" y="15341"/>
                </a:cubicBezTo>
                <a:lnTo>
                  <a:pt x="6027" y="15308"/>
                </a:lnTo>
                <a:cubicBezTo>
                  <a:pt x="6179" y="15311"/>
                  <a:pt x="6327" y="15341"/>
                  <a:pt x="6454" y="15395"/>
                </a:cubicBezTo>
                <a:cubicBezTo>
                  <a:pt x="6639" y="15473"/>
                  <a:pt x="6768" y="15596"/>
                  <a:pt x="6814" y="15736"/>
                </a:cubicBezTo>
                <a:cubicBezTo>
                  <a:pt x="6876" y="15903"/>
                  <a:pt x="6955" y="16067"/>
                  <a:pt x="7049" y="16227"/>
                </a:cubicBezTo>
                <a:cubicBezTo>
                  <a:pt x="7143" y="16386"/>
                  <a:pt x="7253" y="16542"/>
                  <a:pt x="7378" y="16692"/>
                </a:cubicBezTo>
                <a:cubicBezTo>
                  <a:pt x="7780" y="17084"/>
                  <a:pt x="8340" y="17397"/>
                  <a:pt x="8998" y="17596"/>
                </a:cubicBezTo>
                <a:cubicBezTo>
                  <a:pt x="9736" y="17819"/>
                  <a:pt x="10562" y="17888"/>
                  <a:pt x="11362" y="17793"/>
                </a:cubicBezTo>
                <a:cubicBezTo>
                  <a:pt x="12107" y="17677"/>
                  <a:pt x="12792" y="17435"/>
                  <a:pt x="13348" y="17091"/>
                </a:cubicBezTo>
                <a:cubicBezTo>
                  <a:pt x="13995" y="16691"/>
                  <a:pt x="14436" y="16174"/>
                  <a:pt x="14667" y="15613"/>
                </a:cubicBezTo>
                <a:cubicBezTo>
                  <a:pt x="14910" y="15022"/>
                  <a:pt x="14915" y="14405"/>
                  <a:pt x="14791" y="13800"/>
                </a:cubicBezTo>
                <a:cubicBezTo>
                  <a:pt x="14668" y="13198"/>
                  <a:pt x="14410" y="12598"/>
                  <a:pt x="13811" y="12132"/>
                </a:cubicBezTo>
                <a:cubicBezTo>
                  <a:pt x="13357" y="11778"/>
                  <a:pt x="12741" y="11532"/>
                  <a:pt x="12065" y="11394"/>
                </a:cubicBezTo>
                <a:cubicBezTo>
                  <a:pt x="11424" y="11264"/>
                  <a:pt x="10745" y="11234"/>
                  <a:pt x="10083" y="11306"/>
                </a:cubicBezTo>
                <a:cubicBezTo>
                  <a:pt x="9487" y="11315"/>
                  <a:pt x="8903" y="11418"/>
                  <a:pt x="8380" y="11605"/>
                </a:cubicBezTo>
                <a:cubicBezTo>
                  <a:pt x="7935" y="11764"/>
                  <a:pt x="7544" y="11981"/>
                  <a:pt x="7233" y="12243"/>
                </a:cubicBezTo>
                <a:cubicBezTo>
                  <a:pt x="7171" y="12301"/>
                  <a:pt x="7110" y="12359"/>
                  <a:pt x="7051" y="12418"/>
                </a:cubicBezTo>
                <a:cubicBezTo>
                  <a:pt x="6992" y="12477"/>
                  <a:pt x="6934" y="12536"/>
                  <a:pt x="6859" y="12586"/>
                </a:cubicBezTo>
                <a:cubicBezTo>
                  <a:pt x="6697" y="12694"/>
                  <a:pt x="6469" y="12749"/>
                  <a:pt x="6238" y="12738"/>
                </a:cubicBezTo>
                <a:lnTo>
                  <a:pt x="663" y="12738"/>
                </a:lnTo>
                <a:cubicBezTo>
                  <a:pt x="495" y="12752"/>
                  <a:pt x="326" y="12714"/>
                  <a:pt x="207" y="12635"/>
                </a:cubicBezTo>
                <a:cubicBezTo>
                  <a:pt x="91" y="12558"/>
                  <a:pt x="35" y="12451"/>
                  <a:pt x="56" y="12344"/>
                </a:cubicBezTo>
                <a:lnTo>
                  <a:pt x="56" y="443"/>
                </a:lnTo>
                <a:cubicBezTo>
                  <a:pt x="40" y="342"/>
                  <a:pt x="84" y="241"/>
                  <a:pt x="179" y="160"/>
                </a:cubicBezTo>
                <a:cubicBezTo>
                  <a:pt x="294" y="61"/>
                  <a:pt x="474" y="2"/>
                  <a:pt x="665" y="0"/>
                </a:cubicBezTo>
                <a:close/>
              </a:path>
            </a:pathLst>
          </a:custGeom>
          <a:solidFill>
            <a:srgbClr val="F6F6F7"/>
          </a:solidFill>
          <a:ln w="12700" cap="flat">
            <a:noFill/>
            <a:miter lim="400000"/>
          </a:ln>
          <a:effectLst/>
        </p:spPr>
        <p:txBody>
          <a:bodyPr wrap="square" lIns="0" tIns="0" rIns="0" bIns="0" numCol="1" anchor="ctr">
            <a:noAutofit/>
          </a:bodyPr>
          <a:lstStyle/>
          <a:p>
            <a:pPr marL="0" marR="0" lvl="0" indent="0" algn="ctr" defTabSz="412750" rtl="0" eaLnBrk="1" fontAlgn="auto" latinLnBrk="0" hangingPunct="0">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1600" b="0" i="0" u="none" strike="noStrike" kern="0" cap="none" spc="0" normalizeH="0" baseline="0" noProof="0">
              <a:ln>
                <a:noFill/>
              </a:ln>
              <a:solidFill>
                <a:srgbClr val="FFFFFF"/>
              </a:solidFill>
              <a:effectLst/>
              <a:uLnTx/>
              <a:uFillTx/>
              <a:latin typeface="Helvetica Neue Medium"/>
              <a:cs typeface="+mn-cs"/>
              <a:sym typeface="Helvetica Neue Medium"/>
            </a:endParaRPr>
          </a:p>
        </p:txBody>
      </p:sp>
      <p:sp>
        <p:nvSpPr>
          <p:cNvPr id="83" name="This is a sample text. Insert your description here.">
            <a:extLst>
              <a:ext uri="{FF2B5EF4-FFF2-40B4-BE49-F238E27FC236}">
                <a16:creationId xmlns:a16="http://schemas.microsoft.com/office/drawing/2014/main" id="{1B838A1A-F590-4C36-BA1D-05D036C37228}"/>
              </a:ext>
            </a:extLst>
          </p:cNvPr>
          <p:cNvSpPr txBox="1"/>
          <p:nvPr/>
        </p:nvSpPr>
        <p:spPr>
          <a:xfrm>
            <a:off x="1175543" y="2653808"/>
            <a:ext cx="2053143" cy="436017"/>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5400" tIns="25400" rIns="25400" bIns="25400" numCol="1" anchor="t">
            <a:spAutoFit/>
          </a:bodyPr>
          <a:lstStyle>
            <a:lvl1pPr algn="l">
              <a:defRPr sz="2500" b="0">
                <a:solidFill>
                  <a:srgbClr val="9E9F9E"/>
                </a:solidFill>
                <a:latin typeface="Barlow Medium"/>
                <a:ea typeface="Barlow Medium"/>
                <a:cs typeface="Barlow Medium"/>
                <a:sym typeface="Barlow Medium"/>
              </a:defRPr>
            </a:lvl1pPr>
          </a:lstStyle>
          <a:p>
            <a:pPr marL="0" marR="0" lvl="0" indent="0" algn="l" defTabSz="412750" rtl="0" eaLnBrk="1" fontAlgn="auto" latinLnBrk="0" hangingPunct="0">
              <a:lnSpc>
                <a:spcPct val="100000"/>
              </a:lnSpc>
              <a:spcBef>
                <a:spcPts val="0"/>
              </a:spcBef>
              <a:spcAft>
                <a:spcPts val="0"/>
              </a:spcAft>
              <a:buClrTx/>
              <a:buSzTx/>
              <a:buFontTx/>
              <a:buNone/>
              <a:tabLst/>
              <a:defRPr/>
            </a:pPr>
            <a:r>
              <a:rPr kumimoji="0" sz="1200" b="0" i="0" u="none" strike="noStrike" kern="0" cap="none" spc="0" normalizeH="0" baseline="0" noProof="0">
                <a:ln>
                  <a:noFill/>
                </a:ln>
                <a:solidFill>
                  <a:prstClr val="black">
                    <a:lumMod val="50000"/>
                    <a:lumOff val="50000"/>
                  </a:prstClr>
                </a:solidFill>
                <a:effectLst/>
                <a:uLnTx/>
                <a:uFillTx/>
                <a:latin typeface="HarmonyOS Sans SC"/>
                <a:ea typeface="+mn-ea"/>
                <a:sym typeface="Barlow Medium"/>
              </a:rPr>
              <a:t>This is a sample text. Insert your description here.</a:t>
            </a:r>
          </a:p>
        </p:txBody>
      </p:sp>
      <p:sp>
        <p:nvSpPr>
          <p:cNvPr id="84" name="This is a sample text.">
            <a:extLst>
              <a:ext uri="{FF2B5EF4-FFF2-40B4-BE49-F238E27FC236}">
                <a16:creationId xmlns:a16="http://schemas.microsoft.com/office/drawing/2014/main" id="{D6D85439-949A-4299-A737-28EC011B0F02}"/>
              </a:ext>
            </a:extLst>
          </p:cNvPr>
          <p:cNvSpPr txBox="1"/>
          <p:nvPr/>
        </p:nvSpPr>
        <p:spPr>
          <a:xfrm>
            <a:off x="1178262" y="2364019"/>
            <a:ext cx="2172660" cy="266740"/>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5400" tIns="25400" rIns="25400" bIns="25400" numCol="1" anchor="t">
            <a:spAutoFit/>
          </a:bodyPr>
          <a:lstStyle>
            <a:lvl1pPr algn="l">
              <a:defRPr sz="2500" b="0">
                <a:solidFill>
                  <a:srgbClr val="545453"/>
                </a:solidFill>
                <a:latin typeface="Barlow SemiBold"/>
                <a:ea typeface="Barlow SemiBold"/>
                <a:cs typeface="Barlow SemiBold"/>
                <a:sym typeface="Barlow SemiBold"/>
              </a:defRPr>
            </a:lvl1pPr>
          </a:lstStyle>
          <a:p>
            <a:pPr marL="0" marR="0" lvl="0" indent="0" algn="l" defTabSz="412750" rtl="0" eaLnBrk="1" fontAlgn="auto" latinLnBrk="0" hangingPunct="0">
              <a:lnSpc>
                <a:spcPct val="100000"/>
              </a:lnSpc>
              <a:spcBef>
                <a:spcPts val="0"/>
              </a:spcBef>
              <a:spcAft>
                <a:spcPts val="0"/>
              </a:spcAft>
              <a:buClrTx/>
              <a:buSzTx/>
              <a:buFontTx/>
              <a:buNone/>
              <a:tabLst/>
              <a:defRPr/>
            </a:pPr>
            <a:r>
              <a:rPr kumimoji="0" sz="1400" b="0" i="0" u="none" strike="noStrike" kern="0" cap="none" spc="0" normalizeH="0" baseline="0" noProof="0" dirty="0">
                <a:ln>
                  <a:noFill/>
                </a:ln>
                <a:solidFill>
                  <a:srgbClr val="525455"/>
                </a:solidFill>
                <a:effectLst/>
                <a:uLnTx/>
                <a:uFillTx/>
                <a:latin typeface="HarmonyOS Sans SC Black"/>
                <a:ea typeface="+mj-ea"/>
                <a:sym typeface="Barlow SemiBold"/>
              </a:rPr>
              <a:t>This is a sample text.</a:t>
            </a:r>
          </a:p>
        </p:txBody>
      </p:sp>
      <p:sp>
        <p:nvSpPr>
          <p:cNvPr id="85" name="This is a sample text. Insert your description here.">
            <a:extLst>
              <a:ext uri="{FF2B5EF4-FFF2-40B4-BE49-F238E27FC236}">
                <a16:creationId xmlns:a16="http://schemas.microsoft.com/office/drawing/2014/main" id="{38D849DF-01F2-4D92-8E99-22BFBB8B3140}"/>
              </a:ext>
            </a:extLst>
          </p:cNvPr>
          <p:cNvSpPr txBox="1"/>
          <p:nvPr/>
        </p:nvSpPr>
        <p:spPr>
          <a:xfrm>
            <a:off x="1175543" y="3700316"/>
            <a:ext cx="2053143" cy="436017"/>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5400" tIns="25400" rIns="25400" bIns="25400" numCol="1" anchor="t">
            <a:spAutoFit/>
          </a:bodyPr>
          <a:lstStyle>
            <a:lvl1pPr algn="l">
              <a:defRPr sz="2500" b="0">
                <a:solidFill>
                  <a:srgbClr val="9E9F9E"/>
                </a:solidFill>
                <a:latin typeface="Barlow Medium"/>
                <a:ea typeface="Barlow Medium"/>
                <a:cs typeface="Barlow Medium"/>
                <a:sym typeface="Barlow Medium"/>
              </a:defRPr>
            </a:lvl1pPr>
          </a:lstStyle>
          <a:p>
            <a:pPr marL="0" marR="0" lvl="0" indent="0" algn="l" defTabSz="412750" rtl="0" eaLnBrk="1" fontAlgn="auto" latinLnBrk="0" hangingPunct="0">
              <a:lnSpc>
                <a:spcPct val="100000"/>
              </a:lnSpc>
              <a:spcBef>
                <a:spcPts val="0"/>
              </a:spcBef>
              <a:spcAft>
                <a:spcPts val="0"/>
              </a:spcAft>
              <a:buClrTx/>
              <a:buSzTx/>
              <a:buFontTx/>
              <a:buNone/>
              <a:tabLst/>
              <a:defRPr/>
            </a:pPr>
            <a:r>
              <a:rPr kumimoji="0" sz="1200" b="0" i="0" u="none" strike="noStrike" kern="0" cap="none" spc="0" normalizeH="0" baseline="0" noProof="0">
                <a:ln>
                  <a:noFill/>
                </a:ln>
                <a:solidFill>
                  <a:prstClr val="black">
                    <a:lumMod val="50000"/>
                    <a:lumOff val="50000"/>
                  </a:prstClr>
                </a:solidFill>
                <a:effectLst/>
                <a:uLnTx/>
                <a:uFillTx/>
                <a:latin typeface="HarmonyOS Sans SC"/>
                <a:ea typeface="+mn-ea"/>
                <a:sym typeface="Barlow Medium"/>
              </a:rPr>
              <a:t>This is a sample text. Insert your description here.</a:t>
            </a:r>
          </a:p>
        </p:txBody>
      </p:sp>
      <p:sp>
        <p:nvSpPr>
          <p:cNvPr id="86" name="This is a sample text.">
            <a:extLst>
              <a:ext uri="{FF2B5EF4-FFF2-40B4-BE49-F238E27FC236}">
                <a16:creationId xmlns:a16="http://schemas.microsoft.com/office/drawing/2014/main" id="{B325DA06-12E2-4D2A-A3CB-CA3D29149353}"/>
              </a:ext>
            </a:extLst>
          </p:cNvPr>
          <p:cNvSpPr txBox="1"/>
          <p:nvPr/>
        </p:nvSpPr>
        <p:spPr>
          <a:xfrm>
            <a:off x="1178262" y="3410527"/>
            <a:ext cx="2172660" cy="266740"/>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5400" tIns="25400" rIns="25400" bIns="25400" numCol="1" anchor="t">
            <a:spAutoFit/>
          </a:bodyPr>
          <a:lstStyle>
            <a:lvl1pPr algn="l">
              <a:defRPr sz="2500" b="0">
                <a:solidFill>
                  <a:srgbClr val="545453"/>
                </a:solidFill>
                <a:latin typeface="Barlow SemiBold"/>
                <a:ea typeface="Barlow SemiBold"/>
                <a:cs typeface="Barlow SemiBold"/>
                <a:sym typeface="Barlow SemiBold"/>
              </a:defRPr>
            </a:lvl1pPr>
          </a:lstStyle>
          <a:p>
            <a:pPr marL="0" marR="0" lvl="0" indent="0" algn="l" defTabSz="412750" rtl="0" eaLnBrk="1" fontAlgn="auto" latinLnBrk="0" hangingPunct="0">
              <a:lnSpc>
                <a:spcPct val="100000"/>
              </a:lnSpc>
              <a:spcBef>
                <a:spcPts val="0"/>
              </a:spcBef>
              <a:spcAft>
                <a:spcPts val="0"/>
              </a:spcAft>
              <a:buClrTx/>
              <a:buSzTx/>
              <a:buFontTx/>
              <a:buNone/>
              <a:tabLst/>
              <a:defRPr/>
            </a:pPr>
            <a:r>
              <a:rPr kumimoji="0" sz="1400" b="0" i="0" u="none" strike="noStrike" kern="0" cap="none" spc="0" normalizeH="0" baseline="0" noProof="0">
                <a:ln>
                  <a:noFill/>
                </a:ln>
                <a:solidFill>
                  <a:srgbClr val="525455"/>
                </a:solidFill>
                <a:effectLst/>
                <a:uLnTx/>
                <a:uFillTx/>
                <a:latin typeface="HarmonyOS Sans SC Black"/>
                <a:ea typeface="+mj-ea"/>
                <a:sym typeface="Barlow SemiBold"/>
              </a:rPr>
              <a:t>This is a sample text.</a:t>
            </a:r>
          </a:p>
        </p:txBody>
      </p:sp>
      <p:sp>
        <p:nvSpPr>
          <p:cNvPr id="87" name="This is a sample text. Insert your description here.">
            <a:extLst>
              <a:ext uri="{FF2B5EF4-FFF2-40B4-BE49-F238E27FC236}">
                <a16:creationId xmlns:a16="http://schemas.microsoft.com/office/drawing/2014/main" id="{B04A1037-7D65-42FA-AFC4-8C874E6F972D}"/>
              </a:ext>
            </a:extLst>
          </p:cNvPr>
          <p:cNvSpPr txBox="1"/>
          <p:nvPr/>
        </p:nvSpPr>
        <p:spPr>
          <a:xfrm>
            <a:off x="1175543" y="4746824"/>
            <a:ext cx="2053143" cy="436017"/>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5400" tIns="25400" rIns="25400" bIns="25400" numCol="1" anchor="t">
            <a:spAutoFit/>
          </a:bodyPr>
          <a:lstStyle>
            <a:lvl1pPr algn="l">
              <a:defRPr sz="2500" b="0">
                <a:solidFill>
                  <a:srgbClr val="9E9F9E"/>
                </a:solidFill>
                <a:latin typeface="Barlow Medium"/>
                <a:ea typeface="Barlow Medium"/>
                <a:cs typeface="Barlow Medium"/>
                <a:sym typeface="Barlow Medium"/>
              </a:defRPr>
            </a:lvl1pPr>
          </a:lstStyle>
          <a:p>
            <a:pPr marL="0" marR="0" lvl="0" indent="0" algn="l" defTabSz="412750" rtl="0" eaLnBrk="1" fontAlgn="auto" latinLnBrk="0" hangingPunct="0">
              <a:lnSpc>
                <a:spcPct val="100000"/>
              </a:lnSpc>
              <a:spcBef>
                <a:spcPts val="0"/>
              </a:spcBef>
              <a:spcAft>
                <a:spcPts val="0"/>
              </a:spcAft>
              <a:buClrTx/>
              <a:buSzTx/>
              <a:buFontTx/>
              <a:buNone/>
              <a:tabLst/>
              <a:defRPr/>
            </a:pPr>
            <a:r>
              <a:rPr kumimoji="0" sz="1200" b="0" i="0" u="none" strike="noStrike" kern="0" cap="none" spc="0" normalizeH="0" baseline="0" noProof="0">
                <a:ln>
                  <a:noFill/>
                </a:ln>
                <a:solidFill>
                  <a:prstClr val="black">
                    <a:lumMod val="50000"/>
                    <a:lumOff val="50000"/>
                  </a:prstClr>
                </a:solidFill>
                <a:effectLst/>
                <a:uLnTx/>
                <a:uFillTx/>
                <a:latin typeface="HarmonyOS Sans SC"/>
                <a:ea typeface="+mn-ea"/>
                <a:sym typeface="Barlow Medium"/>
              </a:rPr>
              <a:t>This is a sample text. Insert your description here.</a:t>
            </a:r>
          </a:p>
        </p:txBody>
      </p:sp>
      <p:sp>
        <p:nvSpPr>
          <p:cNvPr id="88" name="This is a sample text.">
            <a:extLst>
              <a:ext uri="{FF2B5EF4-FFF2-40B4-BE49-F238E27FC236}">
                <a16:creationId xmlns:a16="http://schemas.microsoft.com/office/drawing/2014/main" id="{3EAD4B84-CE00-441C-9E48-75443F1645C4}"/>
              </a:ext>
            </a:extLst>
          </p:cNvPr>
          <p:cNvSpPr txBox="1"/>
          <p:nvPr/>
        </p:nvSpPr>
        <p:spPr>
          <a:xfrm>
            <a:off x="1178262" y="4457035"/>
            <a:ext cx="2172660" cy="266740"/>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5400" tIns="25400" rIns="25400" bIns="25400" numCol="1" anchor="t">
            <a:spAutoFit/>
          </a:bodyPr>
          <a:lstStyle>
            <a:lvl1pPr algn="l">
              <a:defRPr sz="2500" b="0">
                <a:solidFill>
                  <a:srgbClr val="545453"/>
                </a:solidFill>
                <a:latin typeface="Barlow SemiBold"/>
                <a:ea typeface="Barlow SemiBold"/>
                <a:cs typeface="Barlow SemiBold"/>
                <a:sym typeface="Barlow SemiBold"/>
              </a:defRPr>
            </a:lvl1pPr>
          </a:lstStyle>
          <a:p>
            <a:pPr marL="0" marR="0" lvl="0" indent="0" algn="l" defTabSz="412750" rtl="0" eaLnBrk="1" fontAlgn="auto" latinLnBrk="0" hangingPunct="0">
              <a:lnSpc>
                <a:spcPct val="100000"/>
              </a:lnSpc>
              <a:spcBef>
                <a:spcPts val="0"/>
              </a:spcBef>
              <a:spcAft>
                <a:spcPts val="0"/>
              </a:spcAft>
              <a:buClrTx/>
              <a:buSzTx/>
              <a:buFontTx/>
              <a:buNone/>
              <a:tabLst/>
              <a:defRPr/>
            </a:pPr>
            <a:r>
              <a:rPr kumimoji="0" sz="1400" b="0" i="0" u="none" strike="noStrike" kern="0" cap="none" spc="0" normalizeH="0" baseline="0" noProof="0" dirty="0">
                <a:ln>
                  <a:noFill/>
                </a:ln>
                <a:solidFill>
                  <a:srgbClr val="525455"/>
                </a:solidFill>
                <a:effectLst/>
                <a:uLnTx/>
                <a:uFillTx/>
                <a:latin typeface="HarmonyOS Sans SC Black"/>
                <a:ea typeface="+mj-ea"/>
                <a:sym typeface="Barlow SemiBold"/>
              </a:rPr>
              <a:t>This is a sample text.</a:t>
            </a:r>
          </a:p>
        </p:txBody>
      </p:sp>
      <p:sp>
        <p:nvSpPr>
          <p:cNvPr id="89" name="This is a sample text. Insert your description here.">
            <a:extLst>
              <a:ext uri="{FF2B5EF4-FFF2-40B4-BE49-F238E27FC236}">
                <a16:creationId xmlns:a16="http://schemas.microsoft.com/office/drawing/2014/main" id="{E8FE3F34-8BAD-410B-8BC2-E4D630D5926B}"/>
              </a:ext>
            </a:extLst>
          </p:cNvPr>
          <p:cNvSpPr txBox="1"/>
          <p:nvPr/>
        </p:nvSpPr>
        <p:spPr>
          <a:xfrm>
            <a:off x="1175543" y="5793333"/>
            <a:ext cx="2053143" cy="436017"/>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5400" tIns="25400" rIns="25400" bIns="25400" numCol="1" anchor="t">
            <a:spAutoFit/>
          </a:bodyPr>
          <a:lstStyle>
            <a:lvl1pPr algn="l">
              <a:defRPr sz="2500" b="0">
                <a:solidFill>
                  <a:srgbClr val="9E9F9E"/>
                </a:solidFill>
                <a:latin typeface="Barlow Medium"/>
                <a:ea typeface="Barlow Medium"/>
                <a:cs typeface="Barlow Medium"/>
                <a:sym typeface="Barlow Medium"/>
              </a:defRPr>
            </a:lvl1pPr>
          </a:lstStyle>
          <a:p>
            <a:pPr marL="0" marR="0" lvl="0" indent="0" algn="l" defTabSz="412750" rtl="0" eaLnBrk="1" fontAlgn="auto" latinLnBrk="0" hangingPunct="0">
              <a:lnSpc>
                <a:spcPct val="100000"/>
              </a:lnSpc>
              <a:spcBef>
                <a:spcPts val="0"/>
              </a:spcBef>
              <a:spcAft>
                <a:spcPts val="0"/>
              </a:spcAft>
              <a:buClrTx/>
              <a:buSzTx/>
              <a:buFontTx/>
              <a:buNone/>
              <a:tabLst/>
              <a:defRPr/>
            </a:pPr>
            <a:r>
              <a:rPr kumimoji="0" sz="1200" b="0" i="0" u="none" strike="noStrike" kern="0" cap="none" spc="0" normalizeH="0" baseline="0" noProof="0">
                <a:ln>
                  <a:noFill/>
                </a:ln>
                <a:solidFill>
                  <a:prstClr val="black">
                    <a:lumMod val="50000"/>
                    <a:lumOff val="50000"/>
                  </a:prstClr>
                </a:solidFill>
                <a:effectLst/>
                <a:uLnTx/>
                <a:uFillTx/>
                <a:latin typeface="HarmonyOS Sans SC"/>
                <a:ea typeface="+mn-ea"/>
                <a:sym typeface="Barlow Medium"/>
              </a:rPr>
              <a:t>This is a sample text. Insert your description here.</a:t>
            </a:r>
          </a:p>
        </p:txBody>
      </p:sp>
      <p:sp>
        <p:nvSpPr>
          <p:cNvPr id="90" name="This is a sample text.">
            <a:extLst>
              <a:ext uri="{FF2B5EF4-FFF2-40B4-BE49-F238E27FC236}">
                <a16:creationId xmlns:a16="http://schemas.microsoft.com/office/drawing/2014/main" id="{FBFA07F9-C8B5-41E3-9FDD-5573642D6264}"/>
              </a:ext>
            </a:extLst>
          </p:cNvPr>
          <p:cNvSpPr txBox="1"/>
          <p:nvPr/>
        </p:nvSpPr>
        <p:spPr>
          <a:xfrm>
            <a:off x="1178262" y="5503544"/>
            <a:ext cx="2172660" cy="266740"/>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5400" tIns="25400" rIns="25400" bIns="25400" numCol="1" anchor="t">
            <a:spAutoFit/>
          </a:bodyPr>
          <a:lstStyle>
            <a:lvl1pPr algn="l">
              <a:defRPr sz="2500" b="0">
                <a:solidFill>
                  <a:srgbClr val="545453"/>
                </a:solidFill>
                <a:latin typeface="Barlow SemiBold"/>
                <a:ea typeface="Barlow SemiBold"/>
                <a:cs typeface="Barlow SemiBold"/>
                <a:sym typeface="Barlow SemiBold"/>
              </a:defRPr>
            </a:lvl1pPr>
          </a:lstStyle>
          <a:p>
            <a:pPr marL="0" marR="0" lvl="0" indent="0" algn="l" defTabSz="412750" rtl="0" eaLnBrk="1" fontAlgn="auto" latinLnBrk="0" hangingPunct="0">
              <a:lnSpc>
                <a:spcPct val="100000"/>
              </a:lnSpc>
              <a:spcBef>
                <a:spcPts val="0"/>
              </a:spcBef>
              <a:spcAft>
                <a:spcPts val="0"/>
              </a:spcAft>
              <a:buClrTx/>
              <a:buSzTx/>
              <a:buFontTx/>
              <a:buNone/>
              <a:tabLst/>
              <a:defRPr/>
            </a:pPr>
            <a:r>
              <a:rPr kumimoji="0" sz="1400" b="0" i="0" u="none" strike="noStrike" kern="0" cap="none" spc="0" normalizeH="0" baseline="0" noProof="0">
                <a:ln>
                  <a:noFill/>
                </a:ln>
                <a:solidFill>
                  <a:srgbClr val="525455"/>
                </a:solidFill>
                <a:effectLst/>
                <a:uLnTx/>
                <a:uFillTx/>
                <a:latin typeface="HarmonyOS Sans SC Black"/>
                <a:ea typeface="+mj-ea"/>
                <a:sym typeface="Barlow SemiBold"/>
              </a:rPr>
              <a:t>This is a sample text.</a:t>
            </a:r>
          </a:p>
        </p:txBody>
      </p:sp>
    </p:spTree>
    <p:extLst>
      <p:ext uri="{BB962C8B-B14F-4D97-AF65-F5344CB8AC3E}">
        <p14:creationId xmlns:p14="http://schemas.microsoft.com/office/powerpoint/2010/main" val="1765881819"/>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4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7" name="Group 85">
            <a:extLst>
              <a:ext uri="{FF2B5EF4-FFF2-40B4-BE49-F238E27FC236}">
                <a16:creationId xmlns:a16="http://schemas.microsoft.com/office/drawing/2014/main" id="{6924B24E-17DC-427D-BB74-30B048CA1B65}"/>
              </a:ext>
            </a:extLst>
          </p:cNvPr>
          <p:cNvGrpSpPr/>
          <p:nvPr/>
        </p:nvGrpSpPr>
        <p:grpSpPr>
          <a:xfrm>
            <a:off x="7644672" y="3277608"/>
            <a:ext cx="1369370" cy="272835"/>
            <a:chOff x="7538618" y="3277608"/>
            <a:chExt cx="1369370" cy="272835"/>
          </a:xfrm>
        </p:grpSpPr>
        <p:cxnSp>
          <p:nvCxnSpPr>
            <p:cNvPr id="71" name="Straight Connector 81">
              <a:extLst>
                <a:ext uri="{FF2B5EF4-FFF2-40B4-BE49-F238E27FC236}">
                  <a16:creationId xmlns:a16="http://schemas.microsoft.com/office/drawing/2014/main" id="{EFAE605F-1354-4A45-AFAA-F15A94399CE5}"/>
                </a:ext>
              </a:extLst>
            </p:cNvPr>
            <p:cNvCxnSpPr>
              <a:cxnSpLocks/>
            </p:cNvCxnSpPr>
            <p:nvPr/>
          </p:nvCxnSpPr>
          <p:spPr>
            <a:xfrm flipH="1">
              <a:off x="7973527" y="3278346"/>
              <a:ext cx="934461" cy="0"/>
            </a:xfrm>
            <a:prstGeom prst="line">
              <a:avLst/>
            </a:prstGeom>
            <a:ln w="12700">
              <a:solidFill>
                <a:schemeClr val="accent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72" name="Straight Connector 82">
              <a:extLst>
                <a:ext uri="{FF2B5EF4-FFF2-40B4-BE49-F238E27FC236}">
                  <a16:creationId xmlns:a16="http://schemas.microsoft.com/office/drawing/2014/main" id="{315183F4-2FD5-453D-B068-F63C393CD986}"/>
                </a:ext>
              </a:extLst>
            </p:cNvPr>
            <p:cNvCxnSpPr>
              <a:cxnSpLocks/>
            </p:cNvCxnSpPr>
            <p:nvPr/>
          </p:nvCxnSpPr>
          <p:spPr>
            <a:xfrm flipH="1">
              <a:off x="7538618" y="3277608"/>
              <a:ext cx="434909" cy="272835"/>
            </a:xfrm>
            <a:prstGeom prst="line">
              <a:avLst/>
            </a:prstGeom>
            <a:ln w="12700">
              <a:solidFill>
                <a:schemeClr val="accent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grpSp>
      <p:cxnSp>
        <p:nvCxnSpPr>
          <p:cNvPr id="74" name="Straight Connector 93">
            <a:extLst>
              <a:ext uri="{FF2B5EF4-FFF2-40B4-BE49-F238E27FC236}">
                <a16:creationId xmlns:a16="http://schemas.microsoft.com/office/drawing/2014/main" id="{F10C1ECD-8C1B-4AC0-9F0D-AAF7D9268363}"/>
              </a:ext>
            </a:extLst>
          </p:cNvPr>
          <p:cNvCxnSpPr>
            <a:cxnSpLocks/>
          </p:cNvCxnSpPr>
          <p:nvPr/>
        </p:nvCxnSpPr>
        <p:spPr>
          <a:xfrm flipH="1">
            <a:off x="6888856" y="1633556"/>
            <a:ext cx="734441" cy="532261"/>
          </a:xfrm>
          <a:prstGeom prst="line">
            <a:avLst/>
          </a:prstGeom>
          <a:ln>
            <a:solidFill>
              <a:schemeClr val="accent3">
                <a:alpha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76" name="Straight Connector 105">
            <a:extLst>
              <a:ext uri="{FF2B5EF4-FFF2-40B4-BE49-F238E27FC236}">
                <a16:creationId xmlns:a16="http://schemas.microsoft.com/office/drawing/2014/main" id="{F325496A-BE6C-4CC6-8C7C-45C3B5A2DBDF}"/>
              </a:ext>
            </a:extLst>
          </p:cNvPr>
          <p:cNvCxnSpPr>
            <a:cxnSpLocks/>
          </p:cNvCxnSpPr>
          <p:nvPr/>
        </p:nvCxnSpPr>
        <p:spPr>
          <a:xfrm>
            <a:off x="7623396" y="1470177"/>
            <a:ext cx="0" cy="165453"/>
          </a:xfrm>
          <a:prstGeom prst="line">
            <a:avLst/>
          </a:prstGeom>
          <a:ln w="12700">
            <a:solidFill>
              <a:schemeClr val="accent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grpSp>
        <p:nvGrpSpPr>
          <p:cNvPr id="80" name="Group 107">
            <a:extLst>
              <a:ext uri="{FF2B5EF4-FFF2-40B4-BE49-F238E27FC236}">
                <a16:creationId xmlns:a16="http://schemas.microsoft.com/office/drawing/2014/main" id="{AC5A991D-0E74-4C0F-B7B6-2F33DB028EC9}"/>
              </a:ext>
            </a:extLst>
          </p:cNvPr>
          <p:cNvGrpSpPr/>
          <p:nvPr/>
        </p:nvGrpSpPr>
        <p:grpSpPr>
          <a:xfrm>
            <a:off x="6902374" y="4860131"/>
            <a:ext cx="593883" cy="338284"/>
            <a:chOff x="8314106" y="2940062"/>
            <a:chExt cx="593883" cy="338284"/>
          </a:xfrm>
        </p:grpSpPr>
        <p:cxnSp>
          <p:nvCxnSpPr>
            <p:cNvPr id="84" name="Straight Connector 111">
              <a:extLst>
                <a:ext uri="{FF2B5EF4-FFF2-40B4-BE49-F238E27FC236}">
                  <a16:creationId xmlns:a16="http://schemas.microsoft.com/office/drawing/2014/main" id="{BCEF74C7-D106-4B73-B00C-E8AE74B60BDB}"/>
                </a:ext>
              </a:extLst>
            </p:cNvPr>
            <p:cNvCxnSpPr>
              <a:cxnSpLocks/>
            </p:cNvCxnSpPr>
            <p:nvPr/>
          </p:nvCxnSpPr>
          <p:spPr>
            <a:xfrm flipH="1">
              <a:off x="8783409" y="3278346"/>
              <a:ext cx="124580" cy="0"/>
            </a:xfrm>
            <a:prstGeom prst="line">
              <a:avLst/>
            </a:prstGeom>
            <a:ln w="12700">
              <a:solidFill>
                <a:schemeClr val="accent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85" name="Straight Connector 112">
              <a:extLst>
                <a:ext uri="{FF2B5EF4-FFF2-40B4-BE49-F238E27FC236}">
                  <a16:creationId xmlns:a16="http://schemas.microsoft.com/office/drawing/2014/main" id="{A8A8C602-A9F7-417A-A764-557B5F80D32F}"/>
                </a:ext>
              </a:extLst>
            </p:cNvPr>
            <p:cNvCxnSpPr>
              <a:cxnSpLocks/>
            </p:cNvCxnSpPr>
            <p:nvPr/>
          </p:nvCxnSpPr>
          <p:spPr>
            <a:xfrm flipH="1" flipV="1">
              <a:off x="8314106" y="2940062"/>
              <a:ext cx="469303" cy="338284"/>
            </a:xfrm>
            <a:prstGeom prst="line">
              <a:avLst/>
            </a:prstGeom>
            <a:ln w="12700">
              <a:solidFill>
                <a:schemeClr val="accent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grpSp>
      <p:grpSp>
        <p:nvGrpSpPr>
          <p:cNvPr id="87" name="Group 119">
            <a:extLst>
              <a:ext uri="{FF2B5EF4-FFF2-40B4-BE49-F238E27FC236}">
                <a16:creationId xmlns:a16="http://schemas.microsoft.com/office/drawing/2014/main" id="{02E00071-87FC-4EF7-8116-CC2360239F31}"/>
              </a:ext>
            </a:extLst>
          </p:cNvPr>
          <p:cNvGrpSpPr/>
          <p:nvPr/>
        </p:nvGrpSpPr>
        <p:grpSpPr>
          <a:xfrm flipH="1">
            <a:off x="4679241" y="4881563"/>
            <a:ext cx="620337" cy="574550"/>
            <a:chOff x="8334681" y="2703796"/>
            <a:chExt cx="620337" cy="574550"/>
          </a:xfrm>
        </p:grpSpPr>
        <p:cxnSp>
          <p:nvCxnSpPr>
            <p:cNvPr id="91" name="Straight Connector 123">
              <a:extLst>
                <a:ext uri="{FF2B5EF4-FFF2-40B4-BE49-F238E27FC236}">
                  <a16:creationId xmlns:a16="http://schemas.microsoft.com/office/drawing/2014/main" id="{011D7A91-8C3E-4608-80EF-B26D3DC83AEA}"/>
                </a:ext>
              </a:extLst>
            </p:cNvPr>
            <p:cNvCxnSpPr>
              <a:cxnSpLocks/>
            </p:cNvCxnSpPr>
            <p:nvPr/>
          </p:nvCxnSpPr>
          <p:spPr>
            <a:xfrm flipH="1">
              <a:off x="8783409" y="3278346"/>
              <a:ext cx="171609" cy="0"/>
            </a:xfrm>
            <a:prstGeom prst="line">
              <a:avLst/>
            </a:prstGeom>
            <a:ln w="12700">
              <a:solidFill>
                <a:schemeClr val="accent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92" name="Straight Connector 124">
              <a:extLst>
                <a:ext uri="{FF2B5EF4-FFF2-40B4-BE49-F238E27FC236}">
                  <a16:creationId xmlns:a16="http://schemas.microsoft.com/office/drawing/2014/main" id="{D3AE20B5-06B7-483B-952A-A0CD13786522}"/>
                </a:ext>
              </a:extLst>
            </p:cNvPr>
            <p:cNvCxnSpPr>
              <a:cxnSpLocks/>
            </p:cNvCxnSpPr>
            <p:nvPr/>
          </p:nvCxnSpPr>
          <p:spPr>
            <a:xfrm flipH="1" flipV="1">
              <a:off x="8334681" y="2703796"/>
              <a:ext cx="448728" cy="574550"/>
            </a:xfrm>
            <a:prstGeom prst="line">
              <a:avLst/>
            </a:prstGeom>
            <a:ln w="12700">
              <a:solidFill>
                <a:schemeClr val="accent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grpSp>
      <p:grpSp>
        <p:nvGrpSpPr>
          <p:cNvPr id="94" name="Group 127">
            <a:extLst>
              <a:ext uri="{FF2B5EF4-FFF2-40B4-BE49-F238E27FC236}">
                <a16:creationId xmlns:a16="http://schemas.microsoft.com/office/drawing/2014/main" id="{E2DD6C3E-5485-4394-8A38-8CF82C33D4F3}"/>
              </a:ext>
            </a:extLst>
          </p:cNvPr>
          <p:cNvGrpSpPr/>
          <p:nvPr/>
        </p:nvGrpSpPr>
        <p:grpSpPr>
          <a:xfrm flipH="1">
            <a:off x="3183731" y="3275965"/>
            <a:ext cx="1355225" cy="324485"/>
            <a:chOff x="7573625" y="3275965"/>
            <a:chExt cx="1355225" cy="324485"/>
          </a:xfrm>
        </p:grpSpPr>
        <p:cxnSp>
          <p:nvCxnSpPr>
            <p:cNvPr id="98" name="Straight Connector 131">
              <a:extLst>
                <a:ext uri="{FF2B5EF4-FFF2-40B4-BE49-F238E27FC236}">
                  <a16:creationId xmlns:a16="http://schemas.microsoft.com/office/drawing/2014/main" id="{30DAD96C-7015-4317-81E1-4041C07C1EE3}"/>
                </a:ext>
              </a:extLst>
            </p:cNvPr>
            <p:cNvCxnSpPr>
              <a:cxnSpLocks/>
            </p:cNvCxnSpPr>
            <p:nvPr/>
          </p:nvCxnSpPr>
          <p:spPr>
            <a:xfrm flipH="1">
              <a:off x="8072651" y="3275965"/>
              <a:ext cx="856199" cy="0"/>
            </a:xfrm>
            <a:prstGeom prst="line">
              <a:avLst/>
            </a:prstGeom>
            <a:ln>
              <a:solidFill>
                <a:schemeClr val="accent3">
                  <a:alpha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99" name="Straight Connector 132">
              <a:extLst>
                <a:ext uri="{FF2B5EF4-FFF2-40B4-BE49-F238E27FC236}">
                  <a16:creationId xmlns:a16="http://schemas.microsoft.com/office/drawing/2014/main" id="{3E099905-2CCA-485A-A4BF-BD733816146C}"/>
                </a:ext>
              </a:extLst>
            </p:cNvPr>
            <p:cNvCxnSpPr>
              <a:cxnSpLocks/>
            </p:cNvCxnSpPr>
            <p:nvPr/>
          </p:nvCxnSpPr>
          <p:spPr>
            <a:xfrm flipH="1">
              <a:off x="7573625" y="3277608"/>
              <a:ext cx="499026" cy="322842"/>
            </a:xfrm>
            <a:prstGeom prst="line">
              <a:avLst/>
            </a:prstGeom>
            <a:ln>
              <a:solidFill>
                <a:schemeClr val="accent3">
                  <a:alpha val="50000"/>
                </a:schemeClr>
              </a:solidFill>
              <a:prstDash val="dash"/>
            </a:ln>
          </p:spPr>
          <p:style>
            <a:lnRef idx="1">
              <a:schemeClr val="accent1"/>
            </a:lnRef>
            <a:fillRef idx="0">
              <a:schemeClr val="accent1"/>
            </a:fillRef>
            <a:effectRef idx="0">
              <a:schemeClr val="accent1"/>
            </a:effectRef>
            <a:fontRef idx="minor">
              <a:schemeClr val="tx1"/>
            </a:fontRef>
          </p:style>
        </p:cxnSp>
      </p:grpSp>
      <p:grpSp>
        <p:nvGrpSpPr>
          <p:cNvPr id="101" name="Group 135">
            <a:extLst>
              <a:ext uri="{FF2B5EF4-FFF2-40B4-BE49-F238E27FC236}">
                <a16:creationId xmlns:a16="http://schemas.microsoft.com/office/drawing/2014/main" id="{77C54660-B6B8-4276-ABBE-5F8B2B87F7F8}"/>
              </a:ext>
            </a:extLst>
          </p:cNvPr>
          <p:cNvGrpSpPr/>
          <p:nvPr/>
        </p:nvGrpSpPr>
        <p:grpSpPr>
          <a:xfrm flipH="1">
            <a:off x="4679704" y="1707779"/>
            <a:ext cx="628442" cy="342374"/>
            <a:chOff x="8313914" y="3277608"/>
            <a:chExt cx="628442" cy="342374"/>
          </a:xfrm>
        </p:grpSpPr>
        <p:cxnSp>
          <p:nvCxnSpPr>
            <p:cNvPr id="105" name="Straight Connector 139">
              <a:extLst>
                <a:ext uri="{FF2B5EF4-FFF2-40B4-BE49-F238E27FC236}">
                  <a16:creationId xmlns:a16="http://schemas.microsoft.com/office/drawing/2014/main" id="{F6C758A8-76B8-4C9D-8611-E0E789BA3DAC}"/>
                </a:ext>
              </a:extLst>
            </p:cNvPr>
            <p:cNvCxnSpPr>
              <a:cxnSpLocks/>
            </p:cNvCxnSpPr>
            <p:nvPr/>
          </p:nvCxnSpPr>
          <p:spPr>
            <a:xfrm flipH="1">
              <a:off x="8850461" y="3278346"/>
              <a:ext cx="91895" cy="0"/>
            </a:xfrm>
            <a:prstGeom prst="line">
              <a:avLst/>
            </a:prstGeom>
            <a:ln w="12700">
              <a:solidFill>
                <a:schemeClr val="accent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6" name="Straight Connector 140">
              <a:extLst>
                <a:ext uri="{FF2B5EF4-FFF2-40B4-BE49-F238E27FC236}">
                  <a16:creationId xmlns:a16="http://schemas.microsoft.com/office/drawing/2014/main" id="{89813001-5730-47B1-8D94-D726638F55FC}"/>
                </a:ext>
              </a:extLst>
            </p:cNvPr>
            <p:cNvCxnSpPr>
              <a:cxnSpLocks/>
            </p:cNvCxnSpPr>
            <p:nvPr/>
          </p:nvCxnSpPr>
          <p:spPr>
            <a:xfrm flipH="1">
              <a:off x="8313914" y="3277608"/>
              <a:ext cx="522802" cy="342374"/>
            </a:xfrm>
            <a:prstGeom prst="line">
              <a:avLst/>
            </a:prstGeom>
            <a:ln w="12700">
              <a:solidFill>
                <a:schemeClr val="accent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grpSp>
      <p:grpSp>
        <p:nvGrpSpPr>
          <p:cNvPr id="107" name="组合 106">
            <a:extLst>
              <a:ext uri="{FF2B5EF4-FFF2-40B4-BE49-F238E27FC236}">
                <a16:creationId xmlns:a16="http://schemas.microsoft.com/office/drawing/2014/main" id="{51C52B25-566C-44F1-B476-96AC96ED9B58}"/>
              </a:ext>
            </a:extLst>
          </p:cNvPr>
          <p:cNvGrpSpPr/>
          <p:nvPr/>
        </p:nvGrpSpPr>
        <p:grpSpPr>
          <a:xfrm>
            <a:off x="2486217" y="1504398"/>
            <a:ext cx="1812046" cy="846145"/>
            <a:chOff x="5154634" y="1949395"/>
            <a:chExt cx="1812046" cy="846145"/>
          </a:xfrm>
        </p:grpSpPr>
        <p:sp>
          <p:nvSpPr>
            <p:cNvPr id="108" name="TextBox 65">
              <a:extLst>
                <a:ext uri="{FF2B5EF4-FFF2-40B4-BE49-F238E27FC236}">
                  <a16:creationId xmlns:a16="http://schemas.microsoft.com/office/drawing/2014/main" id="{6B081232-EB65-40FE-98DF-FE58CCEC029F}"/>
                </a:ext>
              </a:extLst>
            </p:cNvPr>
            <p:cNvSpPr txBox="1"/>
            <p:nvPr/>
          </p:nvSpPr>
          <p:spPr>
            <a:xfrm>
              <a:off x="5427752" y="1949395"/>
              <a:ext cx="1538928" cy="345598"/>
            </a:xfrm>
            <a:prstGeom prst="rect">
              <a:avLst/>
            </a:prstGeom>
            <a:noFill/>
          </p:spPr>
          <p:txBody>
            <a:bodyPr wrap="square" lIns="0" tIns="36000" rIns="0" bIns="36000" rtlCol="0">
              <a:spAutoFit/>
            </a:bodyPr>
            <a:lstStyle/>
            <a:p>
              <a:pPr marL="0" marR="0" lvl="0" indent="0" algn="r" defTabSz="914400" rtl="0" eaLnBrk="1" fontAlgn="auto" latinLnBrk="0" hangingPunct="1">
                <a:lnSpc>
                  <a:spcPct val="120000"/>
                </a:lnSpc>
                <a:spcBef>
                  <a:spcPts val="600"/>
                </a:spcBef>
                <a:spcAft>
                  <a:spcPts val="0"/>
                </a:spcAft>
                <a:buClrTx/>
                <a:buSzTx/>
                <a:buFontTx/>
                <a:buNone/>
                <a:tabLst/>
                <a:defRPr/>
              </a:pPr>
              <a:r>
                <a:rPr kumimoji="0" lang="en-US" sz="1600" b="0" i="0" u="none" strike="noStrike" kern="1200" cap="none" spc="0" normalizeH="0" baseline="0" noProof="0" dirty="0">
                  <a:ln>
                    <a:noFill/>
                  </a:ln>
                  <a:solidFill>
                    <a:schemeClr val="accent1"/>
                  </a:solidFill>
                  <a:effectLst/>
                  <a:uLnTx/>
                  <a:uFillTx/>
                  <a:latin typeface="HarmonyOS Sans SC Black"/>
                  <a:ea typeface="+mj-ea"/>
                  <a:cs typeface="+mn-cs"/>
                </a:rPr>
                <a:t>Hash</a:t>
              </a:r>
            </a:p>
          </p:txBody>
        </p:sp>
        <p:sp>
          <p:nvSpPr>
            <p:cNvPr id="109" name="TextBox 65">
              <a:extLst>
                <a:ext uri="{FF2B5EF4-FFF2-40B4-BE49-F238E27FC236}">
                  <a16:creationId xmlns:a16="http://schemas.microsoft.com/office/drawing/2014/main" id="{BF1369CB-F60C-48BE-849D-B81DE5C355CF}"/>
                </a:ext>
              </a:extLst>
            </p:cNvPr>
            <p:cNvSpPr txBox="1"/>
            <p:nvPr/>
          </p:nvSpPr>
          <p:spPr>
            <a:xfrm>
              <a:off x="5154634" y="2332794"/>
              <a:ext cx="1812046" cy="462746"/>
            </a:xfrm>
            <a:prstGeom prst="rect">
              <a:avLst/>
            </a:prstGeom>
            <a:noFill/>
          </p:spPr>
          <p:txBody>
            <a:bodyPr wrap="square" lIns="0" tIns="36000" rIns="0" bIns="36000" rtlCol="0">
              <a:spAutoFit/>
            </a:bodyPr>
            <a:lstStyle/>
            <a:p>
              <a:pPr marL="0" marR="0" lvl="0" indent="0" algn="r" defTabSz="914400" rtl="0" eaLnBrk="1" fontAlgn="auto" latinLnBrk="0" hangingPunct="1">
                <a:lnSpc>
                  <a:spcPct val="120000"/>
                </a:lnSpc>
                <a:spcBef>
                  <a:spcPts val="600"/>
                </a:spcBef>
                <a:spcAft>
                  <a:spcPts val="0"/>
                </a:spcAft>
                <a:buClrTx/>
                <a:buSzTx/>
                <a:buFontTx/>
                <a:buNone/>
                <a:tabLst/>
                <a:defRPr/>
              </a:pPr>
              <a:r>
                <a:rPr kumimoji="0" lang="en-US" sz="1100" b="0" i="0" u="none" strike="noStrike" kern="1200" cap="none" spc="0" normalizeH="0" baseline="0" noProof="0" dirty="0">
                  <a:ln>
                    <a:noFill/>
                  </a:ln>
                  <a:solidFill>
                    <a:schemeClr val="tx1">
                      <a:lumMod val="75000"/>
                      <a:lumOff val="25000"/>
                    </a:schemeClr>
                  </a:solidFill>
                  <a:effectLst/>
                  <a:uLnTx/>
                  <a:uFillTx/>
                  <a:latin typeface="HarmonyOS Sans SC"/>
                  <a:cs typeface="+mn-cs"/>
                </a:rPr>
                <a:t>The first people you’ll meet are our experts in business.</a:t>
              </a:r>
            </a:p>
          </p:txBody>
        </p:sp>
      </p:grpSp>
      <p:grpSp>
        <p:nvGrpSpPr>
          <p:cNvPr id="116" name="组合 115">
            <a:extLst>
              <a:ext uri="{FF2B5EF4-FFF2-40B4-BE49-F238E27FC236}">
                <a16:creationId xmlns:a16="http://schemas.microsoft.com/office/drawing/2014/main" id="{415B1FD8-275B-4A00-8B7F-F261D0B9BBD2}"/>
              </a:ext>
            </a:extLst>
          </p:cNvPr>
          <p:cNvGrpSpPr/>
          <p:nvPr/>
        </p:nvGrpSpPr>
        <p:grpSpPr>
          <a:xfrm>
            <a:off x="1093118" y="3078771"/>
            <a:ext cx="1812046" cy="846145"/>
            <a:chOff x="5154634" y="1949395"/>
            <a:chExt cx="1812046" cy="846145"/>
          </a:xfrm>
        </p:grpSpPr>
        <p:sp>
          <p:nvSpPr>
            <p:cNvPr id="117" name="TextBox 65">
              <a:extLst>
                <a:ext uri="{FF2B5EF4-FFF2-40B4-BE49-F238E27FC236}">
                  <a16:creationId xmlns:a16="http://schemas.microsoft.com/office/drawing/2014/main" id="{CC963632-A18F-44BE-874E-F7947AE7C928}"/>
                </a:ext>
              </a:extLst>
            </p:cNvPr>
            <p:cNvSpPr txBox="1"/>
            <p:nvPr/>
          </p:nvSpPr>
          <p:spPr>
            <a:xfrm>
              <a:off x="5427752" y="1949395"/>
              <a:ext cx="1538928" cy="345598"/>
            </a:xfrm>
            <a:prstGeom prst="rect">
              <a:avLst/>
            </a:prstGeom>
            <a:noFill/>
          </p:spPr>
          <p:txBody>
            <a:bodyPr wrap="square" lIns="0" tIns="36000" rIns="0" bIns="36000" rtlCol="0">
              <a:spAutoFit/>
            </a:bodyPr>
            <a:lstStyle>
              <a:defPPr>
                <a:defRPr lang="zh-CN"/>
              </a:defPPr>
              <a:lvl1pPr marR="0" lvl="0" indent="0" algn="r" fontAlgn="auto">
                <a:lnSpc>
                  <a:spcPct val="120000"/>
                </a:lnSpc>
                <a:spcBef>
                  <a:spcPts val="600"/>
                </a:spcBef>
                <a:spcAft>
                  <a:spcPts val="0"/>
                </a:spcAft>
                <a:buClrTx/>
                <a:buSzTx/>
                <a:buFontTx/>
                <a:buNone/>
                <a:tabLst/>
                <a:defRPr kumimoji="0" sz="1600" b="0" i="0" u="none" strike="noStrike" cap="none" spc="0" normalizeH="0" baseline="0">
                  <a:ln>
                    <a:noFill/>
                  </a:ln>
                  <a:solidFill>
                    <a:schemeClr val="accent1"/>
                  </a:solidFill>
                  <a:effectLst/>
                  <a:uLnTx/>
                  <a:uFillTx/>
                  <a:latin typeface="HarmonyOS Sans SC Black"/>
                  <a:ea typeface="+mj-ea"/>
                </a:defRPr>
              </a:lvl1pPr>
            </a:lstStyle>
            <a:p>
              <a:r>
                <a:rPr lang="en-US" dirty="0"/>
                <a:t>Reward</a:t>
              </a:r>
            </a:p>
          </p:txBody>
        </p:sp>
        <p:sp>
          <p:nvSpPr>
            <p:cNvPr id="118" name="TextBox 65">
              <a:extLst>
                <a:ext uri="{FF2B5EF4-FFF2-40B4-BE49-F238E27FC236}">
                  <a16:creationId xmlns:a16="http://schemas.microsoft.com/office/drawing/2014/main" id="{4E626BD1-FC0A-4600-AE16-EE6CAAAA5F41}"/>
                </a:ext>
              </a:extLst>
            </p:cNvPr>
            <p:cNvSpPr txBox="1"/>
            <p:nvPr/>
          </p:nvSpPr>
          <p:spPr>
            <a:xfrm>
              <a:off x="5154634" y="2332794"/>
              <a:ext cx="1812046" cy="462746"/>
            </a:xfrm>
            <a:prstGeom prst="rect">
              <a:avLst/>
            </a:prstGeom>
            <a:noFill/>
          </p:spPr>
          <p:txBody>
            <a:bodyPr wrap="square" lIns="0" tIns="36000" rIns="0" bIns="36000" rtlCol="0">
              <a:spAutoFit/>
            </a:bodyPr>
            <a:lstStyle>
              <a:defPPr>
                <a:defRPr lang="zh-CN"/>
              </a:defPPr>
              <a:lvl1pPr marR="0" lvl="0" indent="0" algn="r" fontAlgn="auto">
                <a:lnSpc>
                  <a:spcPct val="120000"/>
                </a:lnSpc>
                <a:spcBef>
                  <a:spcPts val="600"/>
                </a:spcBef>
                <a:spcAft>
                  <a:spcPts val="0"/>
                </a:spcAft>
                <a:buClrTx/>
                <a:buSzTx/>
                <a:buFontTx/>
                <a:buNone/>
                <a:tabLst/>
                <a:defRPr kumimoji="0" sz="1100" b="0" i="0" u="none" strike="noStrike" cap="none" spc="0" normalizeH="0" baseline="0">
                  <a:ln>
                    <a:noFill/>
                  </a:ln>
                  <a:solidFill>
                    <a:schemeClr val="tx1">
                      <a:lumMod val="75000"/>
                      <a:lumOff val="25000"/>
                    </a:schemeClr>
                  </a:solidFill>
                  <a:effectLst/>
                  <a:uLnTx/>
                  <a:uFillTx/>
                  <a:latin typeface="HarmonyOS Sans SC"/>
                </a:defRPr>
              </a:lvl1pPr>
            </a:lstStyle>
            <a:p>
              <a:r>
                <a:rPr lang="en-US" dirty="0"/>
                <a:t>The first people you’ll meet are our experts in business.</a:t>
              </a:r>
            </a:p>
          </p:txBody>
        </p:sp>
      </p:grpSp>
      <p:grpSp>
        <p:nvGrpSpPr>
          <p:cNvPr id="119" name="组合 118">
            <a:extLst>
              <a:ext uri="{FF2B5EF4-FFF2-40B4-BE49-F238E27FC236}">
                <a16:creationId xmlns:a16="http://schemas.microsoft.com/office/drawing/2014/main" id="{662EF312-9F63-43FE-8F83-21BB3A0D9E4E}"/>
              </a:ext>
            </a:extLst>
          </p:cNvPr>
          <p:cNvGrpSpPr/>
          <p:nvPr/>
        </p:nvGrpSpPr>
        <p:grpSpPr>
          <a:xfrm>
            <a:off x="2499881" y="5272087"/>
            <a:ext cx="1812046" cy="846145"/>
            <a:chOff x="5154634" y="1949395"/>
            <a:chExt cx="1812046" cy="846145"/>
          </a:xfrm>
        </p:grpSpPr>
        <p:sp>
          <p:nvSpPr>
            <p:cNvPr id="120" name="TextBox 65">
              <a:extLst>
                <a:ext uri="{FF2B5EF4-FFF2-40B4-BE49-F238E27FC236}">
                  <a16:creationId xmlns:a16="http://schemas.microsoft.com/office/drawing/2014/main" id="{B1BBA542-34F2-447A-9119-85444BD4919A}"/>
                </a:ext>
              </a:extLst>
            </p:cNvPr>
            <p:cNvSpPr txBox="1"/>
            <p:nvPr/>
          </p:nvSpPr>
          <p:spPr>
            <a:xfrm>
              <a:off x="5427752" y="1949395"/>
              <a:ext cx="1538928" cy="345598"/>
            </a:xfrm>
            <a:prstGeom prst="rect">
              <a:avLst/>
            </a:prstGeom>
            <a:noFill/>
          </p:spPr>
          <p:txBody>
            <a:bodyPr wrap="square" lIns="0" tIns="36000" rIns="0" bIns="36000" rtlCol="0">
              <a:spAutoFit/>
            </a:bodyPr>
            <a:lstStyle>
              <a:defPPr>
                <a:defRPr lang="zh-CN"/>
              </a:defPPr>
              <a:lvl1pPr marR="0" lvl="0" indent="0" algn="r" fontAlgn="auto">
                <a:lnSpc>
                  <a:spcPct val="120000"/>
                </a:lnSpc>
                <a:spcBef>
                  <a:spcPts val="600"/>
                </a:spcBef>
                <a:spcAft>
                  <a:spcPts val="0"/>
                </a:spcAft>
                <a:buClrTx/>
                <a:buSzTx/>
                <a:buFontTx/>
                <a:buNone/>
                <a:tabLst/>
                <a:defRPr kumimoji="0" sz="1600" b="0" i="0" u="none" strike="noStrike" cap="none" spc="0" normalizeH="0" baseline="0">
                  <a:ln>
                    <a:noFill/>
                  </a:ln>
                  <a:solidFill>
                    <a:schemeClr val="accent1"/>
                  </a:solidFill>
                  <a:effectLst/>
                  <a:uLnTx/>
                  <a:uFillTx/>
                  <a:latin typeface="HarmonyOS Sans SC Black"/>
                  <a:ea typeface="+mj-ea"/>
                </a:defRPr>
              </a:lvl1pPr>
            </a:lstStyle>
            <a:p>
              <a:r>
                <a:rPr lang="en-US" dirty="0"/>
                <a:t>Transaction</a:t>
              </a:r>
            </a:p>
          </p:txBody>
        </p:sp>
        <p:sp>
          <p:nvSpPr>
            <p:cNvPr id="121" name="TextBox 65">
              <a:extLst>
                <a:ext uri="{FF2B5EF4-FFF2-40B4-BE49-F238E27FC236}">
                  <a16:creationId xmlns:a16="http://schemas.microsoft.com/office/drawing/2014/main" id="{1FA75AD1-EC47-4489-B51B-0FEDB5DB3DEF}"/>
                </a:ext>
              </a:extLst>
            </p:cNvPr>
            <p:cNvSpPr txBox="1"/>
            <p:nvPr/>
          </p:nvSpPr>
          <p:spPr>
            <a:xfrm>
              <a:off x="5154634" y="2332794"/>
              <a:ext cx="1812046" cy="462746"/>
            </a:xfrm>
            <a:prstGeom prst="rect">
              <a:avLst/>
            </a:prstGeom>
            <a:noFill/>
          </p:spPr>
          <p:txBody>
            <a:bodyPr wrap="square" lIns="0" tIns="36000" rIns="0" bIns="36000" rtlCol="0">
              <a:spAutoFit/>
            </a:bodyPr>
            <a:lstStyle>
              <a:defPPr>
                <a:defRPr lang="zh-CN"/>
              </a:defPPr>
              <a:lvl1pPr marR="0" lvl="0" indent="0" algn="r" fontAlgn="auto">
                <a:lnSpc>
                  <a:spcPct val="120000"/>
                </a:lnSpc>
                <a:spcBef>
                  <a:spcPts val="600"/>
                </a:spcBef>
                <a:spcAft>
                  <a:spcPts val="0"/>
                </a:spcAft>
                <a:buClrTx/>
                <a:buSzTx/>
                <a:buFontTx/>
                <a:buNone/>
                <a:tabLst/>
                <a:defRPr kumimoji="0" sz="1100" b="0" i="0" u="none" strike="noStrike" cap="none" spc="0" normalizeH="0" baseline="0">
                  <a:ln>
                    <a:noFill/>
                  </a:ln>
                  <a:solidFill>
                    <a:schemeClr val="tx1">
                      <a:lumMod val="75000"/>
                      <a:lumOff val="25000"/>
                    </a:schemeClr>
                  </a:solidFill>
                  <a:effectLst/>
                  <a:uLnTx/>
                  <a:uFillTx/>
                  <a:latin typeface="HarmonyOS Sans SC"/>
                </a:defRPr>
              </a:lvl1pPr>
            </a:lstStyle>
            <a:p>
              <a:r>
                <a:rPr lang="en-US" dirty="0"/>
                <a:t>The first people you’ll meet are our experts in business.</a:t>
              </a:r>
            </a:p>
          </p:txBody>
        </p:sp>
      </p:grpSp>
      <p:grpSp>
        <p:nvGrpSpPr>
          <p:cNvPr id="122" name="组合 121">
            <a:extLst>
              <a:ext uri="{FF2B5EF4-FFF2-40B4-BE49-F238E27FC236}">
                <a16:creationId xmlns:a16="http://schemas.microsoft.com/office/drawing/2014/main" id="{B31DFB70-D461-4AC2-B8BA-01B9C8A125D1}"/>
              </a:ext>
            </a:extLst>
          </p:cNvPr>
          <p:cNvGrpSpPr/>
          <p:nvPr/>
        </p:nvGrpSpPr>
        <p:grpSpPr>
          <a:xfrm>
            <a:off x="7891186" y="1160485"/>
            <a:ext cx="1812046" cy="846145"/>
            <a:chOff x="5154634" y="1949395"/>
            <a:chExt cx="1812046" cy="846145"/>
          </a:xfrm>
        </p:grpSpPr>
        <p:sp>
          <p:nvSpPr>
            <p:cNvPr id="123" name="TextBox 65">
              <a:extLst>
                <a:ext uri="{FF2B5EF4-FFF2-40B4-BE49-F238E27FC236}">
                  <a16:creationId xmlns:a16="http://schemas.microsoft.com/office/drawing/2014/main" id="{61A0C76A-8713-4950-B145-B7B06C3E8889}"/>
                </a:ext>
              </a:extLst>
            </p:cNvPr>
            <p:cNvSpPr txBox="1"/>
            <p:nvPr/>
          </p:nvSpPr>
          <p:spPr>
            <a:xfrm>
              <a:off x="5154634" y="1949395"/>
              <a:ext cx="1538928" cy="345598"/>
            </a:xfrm>
            <a:prstGeom prst="rect">
              <a:avLst/>
            </a:prstGeom>
            <a:noFill/>
          </p:spPr>
          <p:txBody>
            <a:bodyPr wrap="square" lIns="0" tIns="36000" rIns="0" bIns="36000" rtlCol="0">
              <a:spAutoFit/>
            </a:bodyPr>
            <a:lstStyle>
              <a:defPPr>
                <a:defRPr lang="zh-CN"/>
              </a:defPPr>
              <a:lvl1pPr marR="0" lvl="0" indent="0" algn="r" fontAlgn="auto">
                <a:lnSpc>
                  <a:spcPct val="120000"/>
                </a:lnSpc>
                <a:spcBef>
                  <a:spcPts val="600"/>
                </a:spcBef>
                <a:spcAft>
                  <a:spcPts val="0"/>
                </a:spcAft>
                <a:buClrTx/>
                <a:buSzTx/>
                <a:buFontTx/>
                <a:buNone/>
                <a:tabLst/>
                <a:defRPr kumimoji="0" sz="1600" b="0" i="0" u="none" strike="noStrike" cap="none" spc="0" normalizeH="0" baseline="0">
                  <a:ln>
                    <a:noFill/>
                  </a:ln>
                  <a:solidFill>
                    <a:schemeClr val="accent1"/>
                  </a:solidFill>
                  <a:effectLst/>
                  <a:uLnTx/>
                  <a:uFillTx/>
                  <a:latin typeface="HarmonyOS Sans SC Black"/>
                  <a:ea typeface="+mj-ea"/>
                </a:defRPr>
              </a:lvl1pPr>
            </a:lstStyle>
            <a:p>
              <a:r>
                <a:rPr lang="en-US" dirty="0"/>
                <a:t>Block</a:t>
              </a:r>
            </a:p>
          </p:txBody>
        </p:sp>
        <p:sp>
          <p:nvSpPr>
            <p:cNvPr id="124" name="TextBox 65">
              <a:extLst>
                <a:ext uri="{FF2B5EF4-FFF2-40B4-BE49-F238E27FC236}">
                  <a16:creationId xmlns:a16="http://schemas.microsoft.com/office/drawing/2014/main" id="{E5DE987F-93CF-4A52-A185-1A7EAFC34A28}"/>
                </a:ext>
              </a:extLst>
            </p:cNvPr>
            <p:cNvSpPr txBox="1"/>
            <p:nvPr/>
          </p:nvSpPr>
          <p:spPr>
            <a:xfrm>
              <a:off x="5154634" y="2332794"/>
              <a:ext cx="1812046" cy="462746"/>
            </a:xfrm>
            <a:prstGeom prst="rect">
              <a:avLst/>
            </a:prstGeom>
            <a:noFill/>
          </p:spPr>
          <p:txBody>
            <a:bodyPr wrap="square" lIns="0" tIns="36000" rIns="0" bIns="36000" rtlCol="0">
              <a:spAutoFit/>
            </a:bodyPr>
            <a:lstStyle>
              <a:defPPr>
                <a:defRPr lang="zh-CN"/>
              </a:defPPr>
              <a:lvl1pPr marR="0" lvl="0" indent="0" algn="r" fontAlgn="auto">
                <a:lnSpc>
                  <a:spcPct val="120000"/>
                </a:lnSpc>
                <a:spcBef>
                  <a:spcPts val="600"/>
                </a:spcBef>
                <a:spcAft>
                  <a:spcPts val="0"/>
                </a:spcAft>
                <a:buClrTx/>
                <a:buSzTx/>
                <a:buFontTx/>
                <a:buNone/>
                <a:tabLst/>
                <a:defRPr kumimoji="0" sz="1100" b="0" i="0" u="none" strike="noStrike" cap="none" spc="0" normalizeH="0" baseline="0">
                  <a:ln>
                    <a:noFill/>
                  </a:ln>
                  <a:solidFill>
                    <a:schemeClr val="tx1">
                      <a:lumMod val="75000"/>
                      <a:lumOff val="25000"/>
                    </a:schemeClr>
                  </a:solidFill>
                  <a:effectLst/>
                  <a:uLnTx/>
                  <a:uFillTx/>
                  <a:latin typeface="HarmonyOS Sans SC"/>
                </a:defRPr>
              </a:lvl1pPr>
            </a:lstStyle>
            <a:p>
              <a:r>
                <a:rPr lang="en-US" dirty="0"/>
                <a:t>As the minuteness of the parts formed a great.</a:t>
              </a:r>
            </a:p>
          </p:txBody>
        </p:sp>
      </p:grpSp>
      <p:grpSp>
        <p:nvGrpSpPr>
          <p:cNvPr id="125" name="组合 124">
            <a:extLst>
              <a:ext uri="{FF2B5EF4-FFF2-40B4-BE49-F238E27FC236}">
                <a16:creationId xmlns:a16="http://schemas.microsoft.com/office/drawing/2014/main" id="{BB8B145E-4E9F-460D-A26E-3C9767D2FB35}"/>
              </a:ext>
            </a:extLst>
          </p:cNvPr>
          <p:cNvGrpSpPr/>
          <p:nvPr/>
        </p:nvGrpSpPr>
        <p:grpSpPr>
          <a:xfrm>
            <a:off x="9413638" y="3082390"/>
            <a:ext cx="1812046" cy="846145"/>
            <a:chOff x="5154634" y="1949395"/>
            <a:chExt cx="1812046" cy="846145"/>
          </a:xfrm>
        </p:grpSpPr>
        <p:sp>
          <p:nvSpPr>
            <p:cNvPr id="126" name="TextBox 65">
              <a:extLst>
                <a:ext uri="{FF2B5EF4-FFF2-40B4-BE49-F238E27FC236}">
                  <a16:creationId xmlns:a16="http://schemas.microsoft.com/office/drawing/2014/main" id="{070C975F-BBF0-4650-B283-715670DD3C33}"/>
                </a:ext>
              </a:extLst>
            </p:cNvPr>
            <p:cNvSpPr txBox="1"/>
            <p:nvPr/>
          </p:nvSpPr>
          <p:spPr>
            <a:xfrm>
              <a:off x="5154634" y="1949395"/>
              <a:ext cx="1538928" cy="345598"/>
            </a:xfrm>
            <a:prstGeom prst="rect">
              <a:avLst/>
            </a:prstGeom>
            <a:noFill/>
          </p:spPr>
          <p:txBody>
            <a:bodyPr wrap="square" lIns="0" tIns="36000" rIns="0" bIns="36000" rtlCol="0">
              <a:spAutoFit/>
            </a:bodyPr>
            <a:lstStyle>
              <a:defPPr>
                <a:defRPr lang="zh-CN"/>
              </a:defPPr>
              <a:lvl1pPr marR="0" lvl="0" indent="0" algn="r" fontAlgn="auto">
                <a:lnSpc>
                  <a:spcPct val="120000"/>
                </a:lnSpc>
                <a:spcBef>
                  <a:spcPts val="600"/>
                </a:spcBef>
                <a:spcAft>
                  <a:spcPts val="0"/>
                </a:spcAft>
                <a:buClrTx/>
                <a:buSzTx/>
                <a:buFontTx/>
                <a:buNone/>
                <a:tabLst/>
                <a:defRPr kumimoji="0" sz="1600" b="0" i="0" u="none" strike="noStrike" cap="none" spc="0" normalizeH="0" baseline="0">
                  <a:ln>
                    <a:noFill/>
                  </a:ln>
                  <a:solidFill>
                    <a:schemeClr val="accent1"/>
                  </a:solidFill>
                  <a:effectLst/>
                  <a:uLnTx/>
                  <a:uFillTx/>
                  <a:latin typeface="HarmonyOS Sans SC Black"/>
                  <a:ea typeface="+mj-ea"/>
                </a:defRPr>
              </a:lvl1pPr>
            </a:lstStyle>
            <a:p>
              <a:r>
                <a:rPr lang="en-US" dirty="0"/>
                <a:t>Node</a:t>
              </a:r>
            </a:p>
          </p:txBody>
        </p:sp>
        <p:sp>
          <p:nvSpPr>
            <p:cNvPr id="127" name="TextBox 65">
              <a:extLst>
                <a:ext uri="{FF2B5EF4-FFF2-40B4-BE49-F238E27FC236}">
                  <a16:creationId xmlns:a16="http://schemas.microsoft.com/office/drawing/2014/main" id="{9A781860-D147-4339-A90F-8BFA80E944A3}"/>
                </a:ext>
              </a:extLst>
            </p:cNvPr>
            <p:cNvSpPr txBox="1"/>
            <p:nvPr/>
          </p:nvSpPr>
          <p:spPr>
            <a:xfrm>
              <a:off x="5154634" y="2332794"/>
              <a:ext cx="1812046" cy="462746"/>
            </a:xfrm>
            <a:prstGeom prst="rect">
              <a:avLst/>
            </a:prstGeom>
            <a:noFill/>
          </p:spPr>
          <p:txBody>
            <a:bodyPr wrap="square" lIns="0" tIns="36000" rIns="0" bIns="36000" rtlCol="0">
              <a:spAutoFit/>
            </a:bodyPr>
            <a:lstStyle>
              <a:defPPr>
                <a:defRPr lang="zh-CN"/>
              </a:defPPr>
              <a:lvl1pPr marR="0" lvl="0" indent="0" algn="r" fontAlgn="auto">
                <a:lnSpc>
                  <a:spcPct val="120000"/>
                </a:lnSpc>
                <a:spcBef>
                  <a:spcPts val="600"/>
                </a:spcBef>
                <a:spcAft>
                  <a:spcPts val="0"/>
                </a:spcAft>
                <a:buClrTx/>
                <a:buSzTx/>
                <a:buFontTx/>
                <a:buNone/>
                <a:tabLst/>
                <a:defRPr kumimoji="0" sz="1100" b="0" i="0" u="none" strike="noStrike" cap="none" spc="0" normalizeH="0" baseline="0">
                  <a:ln>
                    <a:noFill/>
                  </a:ln>
                  <a:solidFill>
                    <a:schemeClr val="tx1">
                      <a:lumMod val="75000"/>
                      <a:lumOff val="25000"/>
                    </a:schemeClr>
                  </a:solidFill>
                  <a:effectLst/>
                  <a:uLnTx/>
                  <a:uFillTx/>
                  <a:latin typeface="HarmonyOS Sans SC"/>
                </a:defRPr>
              </a:lvl1pPr>
            </a:lstStyle>
            <a:p>
              <a:r>
                <a:rPr lang="en-US" dirty="0"/>
                <a:t>As the minuteness of the parts formed a great.</a:t>
              </a:r>
            </a:p>
          </p:txBody>
        </p:sp>
      </p:grpSp>
      <p:grpSp>
        <p:nvGrpSpPr>
          <p:cNvPr id="128" name="组合 127">
            <a:extLst>
              <a:ext uri="{FF2B5EF4-FFF2-40B4-BE49-F238E27FC236}">
                <a16:creationId xmlns:a16="http://schemas.microsoft.com/office/drawing/2014/main" id="{1107DBBD-C5C8-4AE8-B947-7707BCF0EEC5}"/>
              </a:ext>
            </a:extLst>
          </p:cNvPr>
          <p:cNvGrpSpPr/>
          <p:nvPr/>
        </p:nvGrpSpPr>
        <p:grpSpPr>
          <a:xfrm>
            <a:off x="7880073" y="5021813"/>
            <a:ext cx="1812046" cy="846145"/>
            <a:chOff x="5154634" y="1949395"/>
            <a:chExt cx="1812046" cy="846145"/>
          </a:xfrm>
        </p:grpSpPr>
        <p:sp>
          <p:nvSpPr>
            <p:cNvPr id="129" name="TextBox 65">
              <a:extLst>
                <a:ext uri="{FF2B5EF4-FFF2-40B4-BE49-F238E27FC236}">
                  <a16:creationId xmlns:a16="http://schemas.microsoft.com/office/drawing/2014/main" id="{1B5D0EE4-4014-4C6A-85B5-329FDD4A53B8}"/>
                </a:ext>
              </a:extLst>
            </p:cNvPr>
            <p:cNvSpPr txBox="1"/>
            <p:nvPr/>
          </p:nvSpPr>
          <p:spPr>
            <a:xfrm>
              <a:off x="5154634" y="1949395"/>
              <a:ext cx="1538928" cy="345598"/>
            </a:xfrm>
            <a:prstGeom prst="rect">
              <a:avLst/>
            </a:prstGeom>
            <a:noFill/>
          </p:spPr>
          <p:txBody>
            <a:bodyPr wrap="square" lIns="0" tIns="36000" rIns="0" bIns="36000" rtlCol="0">
              <a:spAutoFit/>
            </a:bodyPr>
            <a:lstStyle>
              <a:defPPr>
                <a:defRPr lang="zh-CN"/>
              </a:defPPr>
              <a:lvl1pPr marR="0" lvl="0" indent="0" algn="r" fontAlgn="auto">
                <a:lnSpc>
                  <a:spcPct val="120000"/>
                </a:lnSpc>
                <a:spcBef>
                  <a:spcPts val="600"/>
                </a:spcBef>
                <a:spcAft>
                  <a:spcPts val="0"/>
                </a:spcAft>
                <a:buClrTx/>
                <a:buSzTx/>
                <a:buFontTx/>
                <a:buNone/>
                <a:tabLst/>
                <a:defRPr kumimoji="0" sz="1600" b="0" i="0" u="none" strike="noStrike" cap="none" spc="0" normalizeH="0" baseline="0">
                  <a:ln>
                    <a:noFill/>
                  </a:ln>
                  <a:solidFill>
                    <a:schemeClr val="accent1"/>
                  </a:solidFill>
                  <a:effectLst/>
                  <a:uLnTx/>
                  <a:uFillTx/>
                  <a:latin typeface="HarmonyOS Sans SC Black"/>
                  <a:ea typeface="+mj-ea"/>
                </a:defRPr>
              </a:lvl1pPr>
            </a:lstStyle>
            <a:p>
              <a:r>
                <a:rPr lang="en-US" dirty="0"/>
                <a:t>Miner</a:t>
              </a:r>
            </a:p>
          </p:txBody>
        </p:sp>
        <p:sp>
          <p:nvSpPr>
            <p:cNvPr id="130" name="TextBox 65">
              <a:extLst>
                <a:ext uri="{FF2B5EF4-FFF2-40B4-BE49-F238E27FC236}">
                  <a16:creationId xmlns:a16="http://schemas.microsoft.com/office/drawing/2014/main" id="{8B1BA514-48A7-4B97-8911-AC1127F5AFC4}"/>
                </a:ext>
              </a:extLst>
            </p:cNvPr>
            <p:cNvSpPr txBox="1"/>
            <p:nvPr/>
          </p:nvSpPr>
          <p:spPr>
            <a:xfrm>
              <a:off x="5154634" y="2332794"/>
              <a:ext cx="1812046" cy="462746"/>
            </a:xfrm>
            <a:prstGeom prst="rect">
              <a:avLst/>
            </a:prstGeom>
            <a:noFill/>
          </p:spPr>
          <p:txBody>
            <a:bodyPr wrap="square" lIns="0" tIns="36000" rIns="0" bIns="36000" rtlCol="0">
              <a:spAutoFit/>
            </a:bodyPr>
            <a:lstStyle>
              <a:defPPr>
                <a:defRPr lang="zh-CN"/>
              </a:defPPr>
              <a:lvl1pPr marR="0" lvl="0" indent="0" algn="r" fontAlgn="auto">
                <a:lnSpc>
                  <a:spcPct val="120000"/>
                </a:lnSpc>
                <a:spcBef>
                  <a:spcPts val="600"/>
                </a:spcBef>
                <a:spcAft>
                  <a:spcPts val="0"/>
                </a:spcAft>
                <a:buClrTx/>
                <a:buSzTx/>
                <a:buFontTx/>
                <a:buNone/>
                <a:tabLst/>
                <a:defRPr kumimoji="0" sz="1100" b="0" i="0" u="none" strike="noStrike" cap="none" spc="0" normalizeH="0" baseline="0">
                  <a:ln>
                    <a:noFill/>
                  </a:ln>
                  <a:solidFill>
                    <a:schemeClr val="tx1">
                      <a:lumMod val="75000"/>
                      <a:lumOff val="25000"/>
                    </a:schemeClr>
                  </a:solidFill>
                  <a:effectLst/>
                  <a:uLnTx/>
                  <a:uFillTx/>
                  <a:latin typeface="HarmonyOS Sans SC"/>
                </a:defRPr>
              </a:lvl1pPr>
            </a:lstStyle>
            <a:p>
              <a:r>
                <a:rPr lang="en-US" dirty="0"/>
                <a:t>As the minuteness of the parts formed a great.</a:t>
              </a:r>
            </a:p>
          </p:txBody>
        </p:sp>
      </p:grpSp>
      <p:grpSp>
        <p:nvGrpSpPr>
          <p:cNvPr id="150" name="组合 149">
            <a:extLst>
              <a:ext uri="{FF2B5EF4-FFF2-40B4-BE49-F238E27FC236}">
                <a16:creationId xmlns:a16="http://schemas.microsoft.com/office/drawing/2014/main" id="{F7049E7B-BD52-405E-8C8D-A6980C012A03}"/>
              </a:ext>
            </a:extLst>
          </p:cNvPr>
          <p:cNvGrpSpPr/>
          <p:nvPr/>
        </p:nvGrpSpPr>
        <p:grpSpPr>
          <a:xfrm>
            <a:off x="4469691" y="1606474"/>
            <a:ext cx="209550" cy="209550"/>
            <a:chOff x="5585550" y="2229291"/>
            <a:chExt cx="209550" cy="209550"/>
          </a:xfrm>
        </p:grpSpPr>
        <p:sp>
          <p:nvSpPr>
            <p:cNvPr id="151" name="Oval 69">
              <a:extLst>
                <a:ext uri="{FF2B5EF4-FFF2-40B4-BE49-F238E27FC236}">
                  <a16:creationId xmlns:a16="http://schemas.microsoft.com/office/drawing/2014/main" id="{0251E157-525B-4545-BE18-4D74B29526ED}"/>
                </a:ext>
              </a:extLst>
            </p:cNvPr>
            <p:cNvSpPr/>
            <p:nvPr/>
          </p:nvSpPr>
          <p:spPr>
            <a:xfrm flipH="1">
              <a:off x="5585550" y="2229291"/>
              <a:ext cx="209550" cy="209550"/>
            </a:xfrm>
            <a:prstGeom prst="ellipse">
              <a:avLst/>
            </a:prstGeom>
            <a:solidFill>
              <a:schemeClr val="accent1">
                <a:lumMod val="20000"/>
                <a:lumOff val="80000"/>
                <a:alpha val="5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800" b="0" i="0" u="none" strike="noStrike" kern="1200" cap="none" spc="0" normalizeH="0" baseline="0" noProof="0">
                <a:ln>
                  <a:noFill/>
                </a:ln>
                <a:solidFill>
                  <a:prstClr val="black">
                    <a:lumMod val="50000"/>
                    <a:lumOff val="50000"/>
                  </a:prstClr>
                </a:solidFill>
                <a:effectLst/>
                <a:uLnTx/>
                <a:uFillTx/>
                <a:latin typeface="HarmonyOS Sans SC"/>
                <a:cs typeface="+mn-cs"/>
              </a:endParaRPr>
            </a:p>
          </p:txBody>
        </p:sp>
        <p:sp>
          <p:nvSpPr>
            <p:cNvPr id="152" name="Oval 70">
              <a:extLst>
                <a:ext uri="{FF2B5EF4-FFF2-40B4-BE49-F238E27FC236}">
                  <a16:creationId xmlns:a16="http://schemas.microsoft.com/office/drawing/2014/main" id="{6252A355-FA88-4E7B-93DE-18F0DF5C08CF}"/>
                </a:ext>
              </a:extLst>
            </p:cNvPr>
            <p:cNvSpPr/>
            <p:nvPr/>
          </p:nvSpPr>
          <p:spPr>
            <a:xfrm flipH="1" flipV="1">
              <a:off x="5654983" y="2298724"/>
              <a:ext cx="70684" cy="70684"/>
            </a:xfrm>
            <a:prstGeom prst="ellipse">
              <a:avLst/>
            </a:prstGeom>
            <a:gradFill>
              <a:gsLst>
                <a:gs pos="73000">
                  <a:schemeClr val="accent1"/>
                </a:gs>
                <a:gs pos="31000">
                  <a:schemeClr val="accent1">
                    <a:lumMod val="60000"/>
                    <a:lumOff val="40000"/>
                  </a:schemeClr>
                </a:gs>
                <a:gs pos="0">
                  <a:schemeClr val="accent1">
                    <a:lumMod val="40000"/>
                    <a:lumOff val="60000"/>
                  </a:schemeClr>
                </a:gs>
              </a:gsLst>
              <a:lin ang="2700000" scaled="1"/>
            </a:gra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800" b="0" i="0" u="none" strike="noStrike" kern="1200" cap="none" spc="0" normalizeH="0" baseline="0" noProof="0">
                <a:ln>
                  <a:noFill/>
                </a:ln>
                <a:solidFill>
                  <a:prstClr val="black">
                    <a:lumMod val="50000"/>
                    <a:lumOff val="50000"/>
                  </a:prstClr>
                </a:solidFill>
                <a:effectLst/>
                <a:uLnTx/>
                <a:uFillTx/>
                <a:latin typeface="HarmonyOS Sans SC"/>
                <a:cs typeface="+mn-cs"/>
              </a:endParaRPr>
            </a:p>
          </p:txBody>
        </p:sp>
      </p:grpSp>
      <p:grpSp>
        <p:nvGrpSpPr>
          <p:cNvPr id="153" name="组合 152">
            <a:extLst>
              <a:ext uri="{FF2B5EF4-FFF2-40B4-BE49-F238E27FC236}">
                <a16:creationId xmlns:a16="http://schemas.microsoft.com/office/drawing/2014/main" id="{30E2CA8A-7005-40D7-95AE-63EE67A68C75}"/>
              </a:ext>
            </a:extLst>
          </p:cNvPr>
          <p:cNvGrpSpPr/>
          <p:nvPr/>
        </p:nvGrpSpPr>
        <p:grpSpPr>
          <a:xfrm>
            <a:off x="2951807" y="3181760"/>
            <a:ext cx="209550" cy="209550"/>
            <a:chOff x="5585550" y="2229291"/>
            <a:chExt cx="209550" cy="209550"/>
          </a:xfrm>
        </p:grpSpPr>
        <p:sp>
          <p:nvSpPr>
            <p:cNvPr id="154" name="Oval 69">
              <a:extLst>
                <a:ext uri="{FF2B5EF4-FFF2-40B4-BE49-F238E27FC236}">
                  <a16:creationId xmlns:a16="http://schemas.microsoft.com/office/drawing/2014/main" id="{4EFED30F-7AB3-47C7-AD5E-3AC301EA72D7}"/>
                </a:ext>
              </a:extLst>
            </p:cNvPr>
            <p:cNvSpPr/>
            <p:nvPr/>
          </p:nvSpPr>
          <p:spPr>
            <a:xfrm flipH="1">
              <a:off x="5585550" y="2229291"/>
              <a:ext cx="209550" cy="209550"/>
            </a:xfrm>
            <a:prstGeom prst="ellipse">
              <a:avLst/>
            </a:prstGeom>
            <a:solidFill>
              <a:schemeClr val="accent1">
                <a:lumMod val="20000"/>
                <a:lumOff val="80000"/>
                <a:alpha val="5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800" b="0" i="0" u="none" strike="noStrike" kern="1200" cap="none" spc="0" normalizeH="0" baseline="0" noProof="0">
                <a:ln>
                  <a:noFill/>
                </a:ln>
                <a:solidFill>
                  <a:prstClr val="black">
                    <a:lumMod val="50000"/>
                    <a:lumOff val="50000"/>
                  </a:prstClr>
                </a:solidFill>
                <a:effectLst/>
                <a:uLnTx/>
                <a:uFillTx/>
                <a:latin typeface="HarmonyOS Sans SC"/>
                <a:cs typeface="+mn-cs"/>
              </a:endParaRPr>
            </a:p>
          </p:txBody>
        </p:sp>
        <p:sp>
          <p:nvSpPr>
            <p:cNvPr id="155" name="Oval 70">
              <a:extLst>
                <a:ext uri="{FF2B5EF4-FFF2-40B4-BE49-F238E27FC236}">
                  <a16:creationId xmlns:a16="http://schemas.microsoft.com/office/drawing/2014/main" id="{F6B3C9B7-48DE-4C9E-985E-135A29D6D284}"/>
                </a:ext>
              </a:extLst>
            </p:cNvPr>
            <p:cNvSpPr/>
            <p:nvPr/>
          </p:nvSpPr>
          <p:spPr>
            <a:xfrm flipH="1" flipV="1">
              <a:off x="5654983" y="2298724"/>
              <a:ext cx="70684" cy="70684"/>
            </a:xfrm>
            <a:prstGeom prst="ellipse">
              <a:avLst/>
            </a:prstGeom>
            <a:gradFill>
              <a:gsLst>
                <a:gs pos="73000">
                  <a:schemeClr val="accent1"/>
                </a:gs>
                <a:gs pos="31000">
                  <a:schemeClr val="accent1">
                    <a:lumMod val="60000"/>
                    <a:lumOff val="40000"/>
                  </a:schemeClr>
                </a:gs>
                <a:gs pos="0">
                  <a:schemeClr val="accent1">
                    <a:lumMod val="40000"/>
                    <a:lumOff val="60000"/>
                  </a:schemeClr>
                </a:gs>
              </a:gsLst>
              <a:lin ang="2700000" scaled="1"/>
            </a:gra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800" b="0" i="0" u="none" strike="noStrike" kern="1200" cap="none" spc="0" normalizeH="0" baseline="0" noProof="0">
                <a:ln>
                  <a:noFill/>
                </a:ln>
                <a:solidFill>
                  <a:prstClr val="black">
                    <a:lumMod val="50000"/>
                    <a:lumOff val="50000"/>
                  </a:prstClr>
                </a:solidFill>
                <a:effectLst/>
                <a:uLnTx/>
                <a:uFillTx/>
                <a:latin typeface="HarmonyOS Sans SC"/>
                <a:cs typeface="+mn-cs"/>
              </a:endParaRPr>
            </a:p>
          </p:txBody>
        </p:sp>
      </p:grpSp>
      <p:grpSp>
        <p:nvGrpSpPr>
          <p:cNvPr id="156" name="组合 155">
            <a:extLst>
              <a:ext uri="{FF2B5EF4-FFF2-40B4-BE49-F238E27FC236}">
                <a16:creationId xmlns:a16="http://schemas.microsoft.com/office/drawing/2014/main" id="{516A33F2-06B2-456F-9292-34415F3EFEFF}"/>
              </a:ext>
            </a:extLst>
          </p:cNvPr>
          <p:cNvGrpSpPr/>
          <p:nvPr/>
        </p:nvGrpSpPr>
        <p:grpSpPr>
          <a:xfrm>
            <a:off x="4461814" y="5340111"/>
            <a:ext cx="209550" cy="209550"/>
            <a:chOff x="5585550" y="2229291"/>
            <a:chExt cx="209550" cy="209550"/>
          </a:xfrm>
        </p:grpSpPr>
        <p:sp>
          <p:nvSpPr>
            <p:cNvPr id="157" name="Oval 69">
              <a:extLst>
                <a:ext uri="{FF2B5EF4-FFF2-40B4-BE49-F238E27FC236}">
                  <a16:creationId xmlns:a16="http://schemas.microsoft.com/office/drawing/2014/main" id="{26111E9D-6C6D-4455-A4B0-842CE2DF6513}"/>
                </a:ext>
              </a:extLst>
            </p:cNvPr>
            <p:cNvSpPr/>
            <p:nvPr/>
          </p:nvSpPr>
          <p:spPr>
            <a:xfrm flipH="1">
              <a:off x="5585550" y="2229291"/>
              <a:ext cx="209550" cy="209550"/>
            </a:xfrm>
            <a:prstGeom prst="ellipse">
              <a:avLst/>
            </a:prstGeom>
            <a:solidFill>
              <a:schemeClr val="accent1">
                <a:lumMod val="20000"/>
                <a:lumOff val="80000"/>
                <a:alpha val="5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800" b="0" i="0" u="none" strike="noStrike" kern="1200" cap="none" spc="0" normalizeH="0" baseline="0" noProof="0">
                <a:ln>
                  <a:noFill/>
                </a:ln>
                <a:solidFill>
                  <a:prstClr val="black">
                    <a:lumMod val="50000"/>
                    <a:lumOff val="50000"/>
                  </a:prstClr>
                </a:solidFill>
                <a:effectLst/>
                <a:uLnTx/>
                <a:uFillTx/>
                <a:latin typeface="HarmonyOS Sans SC"/>
                <a:cs typeface="+mn-cs"/>
              </a:endParaRPr>
            </a:p>
          </p:txBody>
        </p:sp>
        <p:sp>
          <p:nvSpPr>
            <p:cNvPr id="158" name="Oval 70">
              <a:extLst>
                <a:ext uri="{FF2B5EF4-FFF2-40B4-BE49-F238E27FC236}">
                  <a16:creationId xmlns:a16="http://schemas.microsoft.com/office/drawing/2014/main" id="{96ECD89E-6FAC-484B-B5A7-727CE564B02C}"/>
                </a:ext>
              </a:extLst>
            </p:cNvPr>
            <p:cNvSpPr/>
            <p:nvPr/>
          </p:nvSpPr>
          <p:spPr>
            <a:xfrm flipH="1" flipV="1">
              <a:off x="5654983" y="2298724"/>
              <a:ext cx="70684" cy="70684"/>
            </a:xfrm>
            <a:prstGeom prst="ellipse">
              <a:avLst/>
            </a:prstGeom>
            <a:gradFill>
              <a:gsLst>
                <a:gs pos="73000">
                  <a:schemeClr val="accent1"/>
                </a:gs>
                <a:gs pos="31000">
                  <a:schemeClr val="accent1">
                    <a:lumMod val="60000"/>
                    <a:lumOff val="40000"/>
                  </a:schemeClr>
                </a:gs>
                <a:gs pos="0">
                  <a:schemeClr val="accent1">
                    <a:lumMod val="40000"/>
                    <a:lumOff val="60000"/>
                  </a:schemeClr>
                </a:gs>
              </a:gsLst>
              <a:lin ang="2700000" scaled="1"/>
            </a:gra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800" b="0" i="0" u="none" strike="noStrike" kern="1200" cap="none" spc="0" normalizeH="0" baseline="0" noProof="0">
                <a:ln>
                  <a:noFill/>
                </a:ln>
                <a:solidFill>
                  <a:prstClr val="black">
                    <a:lumMod val="50000"/>
                    <a:lumOff val="50000"/>
                  </a:prstClr>
                </a:solidFill>
                <a:effectLst/>
                <a:uLnTx/>
                <a:uFillTx/>
                <a:latin typeface="HarmonyOS Sans SC"/>
                <a:cs typeface="+mn-cs"/>
              </a:endParaRPr>
            </a:p>
          </p:txBody>
        </p:sp>
      </p:grpSp>
      <p:grpSp>
        <p:nvGrpSpPr>
          <p:cNvPr id="159" name="组合 158">
            <a:extLst>
              <a:ext uri="{FF2B5EF4-FFF2-40B4-BE49-F238E27FC236}">
                <a16:creationId xmlns:a16="http://schemas.microsoft.com/office/drawing/2014/main" id="{BDFB4470-2EDE-43D9-A7F5-4E190AF763AB}"/>
              </a:ext>
            </a:extLst>
          </p:cNvPr>
          <p:cNvGrpSpPr/>
          <p:nvPr/>
        </p:nvGrpSpPr>
        <p:grpSpPr>
          <a:xfrm>
            <a:off x="7518521" y="5092421"/>
            <a:ext cx="209550" cy="209550"/>
            <a:chOff x="5585550" y="2229291"/>
            <a:chExt cx="209550" cy="209550"/>
          </a:xfrm>
        </p:grpSpPr>
        <p:sp>
          <p:nvSpPr>
            <p:cNvPr id="160" name="Oval 69">
              <a:extLst>
                <a:ext uri="{FF2B5EF4-FFF2-40B4-BE49-F238E27FC236}">
                  <a16:creationId xmlns:a16="http://schemas.microsoft.com/office/drawing/2014/main" id="{31995860-78E9-4F8C-A3B3-D8510B5C547A}"/>
                </a:ext>
              </a:extLst>
            </p:cNvPr>
            <p:cNvSpPr/>
            <p:nvPr/>
          </p:nvSpPr>
          <p:spPr>
            <a:xfrm flipH="1">
              <a:off x="5585550" y="2229291"/>
              <a:ext cx="209550" cy="209550"/>
            </a:xfrm>
            <a:prstGeom prst="ellipse">
              <a:avLst/>
            </a:prstGeom>
            <a:solidFill>
              <a:schemeClr val="accent1">
                <a:lumMod val="20000"/>
                <a:lumOff val="80000"/>
                <a:alpha val="5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800" b="0" i="0" u="none" strike="noStrike" kern="1200" cap="none" spc="0" normalizeH="0" baseline="0" noProof="0">
                <a:ln>
                  <a:noFill/>
                </a:ln>
                <a:solidFill>
                  <a:prstClr val="black">
                    <a:lumMod val="50000"/>
                    <a:lumOff val="50000"/>
                  </a:prstClr>
                </a:solidFill>
                <a:effectLst/>
                <a:uLnTx/>
                <a:uFillTx/>
                <a:latin typeface="HarmonyOS Sans SC"/>
                <a:cs typeface="+mn-cs"/>
              </a:endParaRPr>
            </a:p>
          </p:txBody>
        </p:sp>
        <p:sp>
          <p:nvSpPr>
            <p:cNvPr id="161" name="Oval 70">
              <a:extLst>
                <a:ext uri="{FF2B5EF4-FFF2-40B4-BE49-F238E27FC236}">
                  <a16:creationId xmlns:a16="http://schemas.microsoft.com/office/drawing/2014/main" id="{E108B246-B05B-458A-B1C7-EE5310276853}"/>
                </a:ext>
              </a:extLst>
            </p:cNvPr>
            <p:cNvSpPr/>
            <p:nvPr/>
          </p:nvSpPr>
          <p:spPr>
            <a:xfrm flipH="1" flipV="1">
              <a:off x="5654983" y="2298724"/>
              <a:ext cx="70684" cy="70684"/>
            </a:xfrm>
            <a:prstGeom prst="ellipse">
              <a:avLst/>
            </a:prstGeom>
            <a:gradFill>
              <a:gsLst>
                <a:gs pos="73000">
                  <a:schemeClr val="accent1"/>
                </a:gs>
                <a:gs pos="31000">
                  <a:schemeClr val="accent1">
                    <a:lumMod val="60000"/>
                    <a:lumOff val="40000"/>
                  </a:schemeClr>
                </a:gs>
                <a:gs pos="0">
                  <a:schemeClr val="accent1">
                    <a:lumMod val="40000"/>
                    <a:lumOff val="60000"/>
                  </a:schemeClr>
                </a:gs>
              </a:gsLst>
              <a:lin ang="2700000" scaled="1"/>
            </a:gra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800" b="0" i="0" u="none" strike="noStrike" kern="1200" cap="none" spc="0" normalizeH="0" baseline="0" noProof="0">
                <a:ln>
                  <a:noFill/>
                </a:ln>
                <a:solidFill>
                  <a:prstClr val="black">
                    <a:lumMod val="50000"/>
                    <a:lumOff val="50000"/>
                  </a:prstClr>
                </a:solidFill>
                <a:effectLst/>
                <a:uLnTx/>
                <a:uFillTx/>
                <a:latin typeface="HarmonyOS Sans SC"/>
                <a:cs typeface="+mn-cs"/>
              </a:endParaRPr>
            </a:p>
          </p:txBody>
        </p:sp>
      </p:grpSp>
      <p:grpSp>
        <p:nvGrpSpPr>
          <p:cNvPr id="162" name="组合 161">
            <a:extLst>
              <a:ext uri="{FF2B5EF4-FFF2-40B4-BE49-F238E27FC236}">
                <a16:creationId xmlns:a16="http://schemas.microsoft.com/office/drawing/2014/main" id="{B360343A-B6AC-4D36-847D-C401B098E5EA}"/>
              </a:ext>
            </a:extLst>
          </p:cNvPr>
          <p:cNvGrpSpPr/>
          <p:nvPr/>
        </p:nvGrpSpPr>
        <p:grpSpPr>
          <a:xfrm>
            <a:off x="9053162" y="3181760"/>
            <a:ext cx="209550" cy="209550"/>
            <a:chOff x="5585550" y="2229291"/>
            <a:chExt cx="209550" cy="209550"/>
          </a:xfrm>
        </p:grpSpPr>
        <p:sp>
          <p:nvSpPr>
            <p:cNvPr id="163" name="Oval 69">
              <a:extLst>
                <a:ext uri="{FF2B5EF4-FFF2-40B4-BE49-F238E27FC236}">
                  <a16:creationId xmlns:a16="http://schemas.microsoft.com/office/drawing/2014/main" id="{14E478BF-1767-4E33-8B49-1960EE3BB876}"/>
                </a:ext>
              </a:extLst>
            </p:cNvPr>
            <p:cNvSpPr/>
            <p:nvPr/>
          </p:nvSpPr>
          <p:spPr>
            <a:xfrm flipH="1">
              <a:off x="5585550" y="2229291"/>
              <a:ext cx="209550" cy="209550"/>
            </a:xfrm>
            <a:prstGeom prst="ellipse">
              <a:avLst/>
            </a:prstGeom>
            <a:solidFill>
              <a:schemeClr val="accent1">
                <a:lumMod val="20000"/>
                <a:lumOff val="80000"/>
                <a:alpha val="5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800" b="0" i="0" u="none" strike="noStrike" kern="1200" cap="none" spc="0" normalizeH="0" baseline="0" noProof="0">
                <a:ln>
                  <a:noFill/>
                </a:ln>
                <a:solidFill>
                  <a:prstClr val="black">
                    <a:lumMod val="50000"/>
                    <a:lumOff val="50000"/>
                  </a:prstClr>
                </a:solidFill>
                <a:effectLst/>
                <a:uLnTx/>
                <a:uFillTx/>
                <a:latin typeface="HarmonyOS Sans SC"/>
                <a:cs typeface="+mn-cs"/>
              </a:endParaRPr>
            </a:p>
          </p:txBody>
        </p:sp>
        <p:sp>
          <p:nvSpPr>
            <p:cNvPr id="164" name="Oval 70">
              <a:extLst>
                <a:ext uri="{FF2B5EF4-FFF2-40B4-BE49-F238E27FC236}">
                  <a16:creationId xmlns:a16="http://schemas.microsoft.com/office/drawing/2014/main" id="{7A26F09F-A674-4142-9ED4-3E6830BE7913}"/>
                </a:ext>
              </a:extLst>
            </p:cNvPr>
            <p:cNvSpPr/>
            <p:nvPr/>
          </p:nvSpPr>
          <p:spPr>
            <a:xfrm flipH="1" flipV="1">
              <a:off x="5654983" y="2298724"/>
              <a:ext cx="70684" cy="70684"/>
            </a:xfrm>
            <a:prstGeom prst="ellipse">
              <a:avLst/>
            </a:prstGeom>
            <a:gradFill>
              <a:gsLst>
                <a:gs pos="73000">
                  <a:schemeClr val="accent1"/>
                </a:gs>
                <a:gs pos="31000">
                  <a:schemeClr val="accent1">
                    <a:lumMod val="60000"/>
                    <a:lumOff val="40000"/>
                  </a:schemeClr>
                </a:gs>
                <a:gs pos="0">
                  <a:schemeClr val="accent1">
                    <a:lumMod val="40000"/>
                    <a:lumOff val="60000"/>
                  </a:schemeClr>
                </a:gs>
              </a:gsLst>
              <a:lin ang="2700000" scaled="1"/>
            </a:gra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800" b="0" i="0" u="none" strike="noStrike" kern="1200" cap="none" spc="0" normalizeH="0" baseline="0" noProof="0">
                <a:ln>
                  <a:noFill/>
                </a:ln>
                <a:solidFill>
                  <a:prstClr val="black">
                    <a:lumMod val="50000"/>
                    <a:lumOff val="50000"/>
                  </a:prstClr>
                </a:solidFill>
                <a:effectLst/>
                <a:uLnTx/>
                <a:uFillTx/>
                <a:latin typeface="HarmonyOS Sans SC"/>
                <a:cs typeface="+mn-cs"/>
              </a:endParaRPr>
            </a:p>
          </p:txBody>
        </p:sp>
      </p:grpSp>
      <p:grpSp>
        <p:nvGrpSpPr>
          <p:cNvPr id="165" name="组合 164">
            <a:extLst>
              <a:ext uri="{FF2B5EF4-FFF2-40B4-BE49-F238E27FC236}">
                <a16:creationId xmlns:a16="http://schemas.microsoft.com/office/drawing/2014/main" id="{67401C8A-52DB-4423-83EF-C431738487F9}"/>
              </a:ext>
            </a:extLst>
          </p:cNvPr>
          <p:cNvGrpSpPr/>
          <p:nvPr/>
        </p:nvGrpSpPr>
        <p:grpSpPr>
          <a:xfrm>
            <a:off x="7518521" y="1257603"/>
            <a:ext cx="209550" cy="209550"/>
            <a:chOff x="5585550" y="2229291"/>
            <a:chExt cx="209550" cy="209550"/>
          </a:xfrm>
        </p:grpSpPr>
        <p:sp>
          <p:nvSpPr>
            <p:cNvPr id="166" name="Oval 69">
              <a:extLst>
                <a:ext uri="{FF2B5EF4-FFF2-40B4-BE49-F238E27FC236}">
                  <a16:creationId xmlns:a16="http://schemas.microsoft.com/office/drawing/2014/main" id="{189C694C-75BC-4126-AAC1-3A57D5014347}"/>
                </a:ext>
              </a:extLst>
            </p:cNvPr>
            <p:cNvSpPr/>
            <p:nvPr/>
          </p:nvSpPr>
          <p:spPr>
            <a:xfrm flipH="1">
              <a:off x="5585550" y="2229291"/>
              <a:ext cx="209550" cy="209550"/>
            </a:xfrm>
            <a:prstGeom prst="ellipse">
              <a:avLst/>
            </a:prstGeom>
            <a:solidFill>
              <a:schemeClr val="accent1">
                <a:lumMod val="20000"/>
                <a:lumOff val="80000"/>
                <a:alpha val="5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800" b="0" i="0" u="none" strike="noStrike" kern="1200" cap="none" spc="0" normalizeH="0" baseline="0" noProof="0">
                <a:ln>
                  <a:noFill/>
                </a:ln>
                <a:solidFill>
                  <a:prstClr val="black">
                    <a:lumMod val="50000"/>
                    <a:lumOff val="50000"/>
                  </a:prstClr>
                </a:solidFill>
                <a:effectLst/>
                <a:uLnTx/>
                <a:uFillTx/>
                <a:latin typeface="HarmonyOS Sans SC"/>
                <a:cs typeface="+mn-cs"/>
              </a:endParaRPr>
            </a:p>
          </p:txBody>
        </p:sp>
        <p:sp>
          <p:nvSpPr>
            <p:cNvPr id="167" name="Oval 70">
              <a:extLst>
                <a:ext uri="{FF2B5EF4-FFF2-40B4-BE49-F238E27FC236}">
                  <a16:creationId xmlns:a16="http://schemas.microsoft.com/office/drawing/2014/main" id="{FF52544C-3B08-4EF3-BF16-EEA3C5BCD0A3}"/>
                </a:ext>
              </a:extLst>
            </p:cNvPr>
            <p:cNvSpPr/>
            <p:nvPr/>
          </p:nvSpPr>
          <p:spPr>
            <a:xfrm flipH="1" flipV="1">
              <a:off x="5654983" y="2298724"/>
              <a:ext cx="70684" cy="70684"/>
            </a:xfrm>
            <a:prstGeom prst="ellipse">
              <a:avLst/>
            </a:prstGeom>
            <a:gradFill>
              <a:gsLst>
                <a:gs pos="73000">
                  <a:schemeClr val="accent1"/>
                </a:gs>
                <a:gs pos="31000">
                  <a:schemeClr val="accent1">
                    <a:lumMod val="60000"/>
                    <a:lumOff val="40000"/>
                  </a:schemeClr>
                </a:gs>
                <a:gs pos="0">
                  <a:schemeClr val="accent1">
                    <a:lumMod val="40000"/>
                    <a:lumOff val="60000"/>
                  </a:schemeClr>
                </a:gs>
              </a:gsLst>
              <a:lin ang="2700000" scaled="1"/>
            </a:gra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800" b="0" i="0" u="none" strike="noStrike" kern="1200" cap="none" spc="0" normalizeH="0" baseline="0" noProof="0">
                <a:ln>
                  <a:noFill/>
                </a:ln>
                <a:solidFill>
                  <a:prstClr val="black">
                    <a:lumMod val="50000"/>
                    <a:lumOff val="50000"/>
                  </a:prstClr>
                </a:solidFill>
                <a:effectLst/>
                <a:uLnTx/>
                <a:uFillTx/>
                <a:latin typeface="HarmonyOS Sans SC"/>
                <a:cs typeface="+mn-cs"/>
              </a:endParaRPr>
            </a:p>
          </p:txBody>
        </p:sp>
      </p:grpSp>
      <p:cxnSp>
        <p:nvCxnSpPr>
          <p:cNvPr id="169" name="Straight Connector 93">
            <a:extLst>
              <a:ext uri="{FF2B5EF4-FFF2-40B4-BE49-F238E27FC236}">
                <a16:creationId xmlns:a16="http://schemas.microsoft.com/office/drawing/2014/main" id="{42089361-440B-4D1E-8F52-E22AF6ACDC36}"/>
              </a:ext>
            </a:extLst>
          </p:cNvPr>
          <p:cNvCxnSpPr>
            <a:cxnSpLocks/>
          </p:cNvCxnSpPr>
          <p:nvPr/>
        </p:nvCxnSpPr>
        <p:spPr>
          <a:xfrm flipH="1">
            <a:off x="6888856" y="1633556"/>
            <a:ext cx="734441" cy="532261"/>
          </a:xfrm>
          <a:prstGeom prst="line">
            <a:avLst/>
          </a:prstGeom>
          <a:ln w="12700">
            <a:solidFill>
              <a:schemeClr val="accent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71" name="Straight Connector 105">
            <a:extLst>
              <a:ext uri="{FF2B5EF4-FFF2-40B4-BE49-F238E27FC236}">
                <a16:creationId xmlns:a16="http://schemas.microsoft.com/office/drawing/2014/main" id="{0A39CA54-D7CB-4ECD-810C-4148F9AF36D1}"/>
              </a:ext>
            </a:extLst>
          </p:cNvPr>
          <p:cNvCxnSpPr>
            <a:cxnSpLocks/>
          </p:cNvCxnSpPr>
          <p:nvPr/>
        </p:nvCxnSpPr>
        <p:spPr>
          <a:xfrm>
            <a:off x="6953690" y="911377"/>
            <a:ext cx="0" cy="165453"/>
          </a:xfrm>
          <a:prstGeom prst="line">
            <a:avLst/>
          </a:prstGeom>
          <a:ln>
            <a:solidFill>
              <a:schemeClr val="accent3">
                <a:alpha val="50000"/>
              </a:schemeClr>
            </a:solidFill>
            <a:prstDash val="dash"/>
          </a:ln>
        </p:spPr>
        <p:style>
          <a:lnRef idx="1">
            <a:schemeClr val="accent1"/>
          </a:lnRef>
          <a:fillRef idx="0">
            <a:schemeClr val="accent1"/>
          </a:fillRef>
          <a:effectRef idx="0">
            <a:schemeClr val="accent1"/>
          </a:effectRef>
          <a:fontRef idx="minor">
            <a:schemeClr val="tx1"/>
          </a:fontRef>
        </p:style>
      </p:cxnSp>
      <p:grpSp>
        <p:nvGrpSpPr>
          <p:cNvPr id="175" name="Group 127">
            <a:extLst>
              <a:ext uri="{FF2B5EF4-FFF2-40B4-BE49-F238E27FC236}">
                <a16:creationId xmlns:a16="http://schemas.microsoft.com/office/drawing/2014/main" id="{8ACF0F71-EC02-4AC7-BA17-848ABFCDD87E}"/>
              </a:ext>
            </a:extLst>
          </p:cNvPr>
          <p:cNvGrpSpPr/>
          <p:nvPr/>
        </p:nvGrpSpPr>
        <p:grpSpPr>
          <a:xfrm flipH="1">
            <a:off x="3183731" y="3275965"/>
            <a:ext cx="1355225" cy="324485"/>
            <a:chOff x="7573625" y="3275965"/>
            <a:chExt cx="1355225" cy="324485"/>
          </a:xfrm>
        </p:grpSpPr>
        <p:cxnSp>
          <p:nvCxnSpPr>
            <p:cNvPr id="179" name="Straight Connector 131">
              <a:extLst>
                <a:ext uri="{FF2B5EF4-FFF2-40B4-BE49-F238E27FC236}">
                  <a16:creationId xmlns:a16="http://schemas.microsoft.com/office/drawing/2014/main" id="{3853A5E3-CCA9-4D66-8073-6FFCCD755B38}"/>
                </a:ext>
              </a:extLst>
            </p:cNvPr>
            <p:cNvCxnSpPr>
              <a:cxnSpLocks/>
            </p:cNvCxnSpPr>
            <p:nvPr/>
          </p:nvCxnSpPr>
          <p:spPr>
            <a:xfrm flipH="1">
              <a:off x="8072651" y="3275965"/>
              <a:ext cx="856199" cy="0"/>
            </a:xfrm>
            <a:prstGeom prst="line">
              <a:avLst/>
            </a:prstGeom>
            <a:ln w="12700">
              <a:solidFill>
                <a:schemeClr val="accent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80" name="Straight Connector 132">
              <a:extLst>
                <a:ext uri="{FF2B5EF4-FFF2-40B4-BE49-F238E27FC236}">
                  <a16:creationId xmlns:a16="http://schemas.microsoft.com/office/drawing/2014/main" id="{EC8D63CA-9149-4E49-B6B8-AD86975CCF0B}"/>
                </a:ext>
              </a:extLst>
            </p:cNvPr>
            <p:cNvCxnSpPr>
              <a:cxnSpLocks/>
            </p:cNvCxnSpPr>
            <p:nvPr/>
          </p:nvCxnSpPr>
          <p:spPr>
            <a:xfrm flipH="1">
              <a:off x="7573625" y="3277608"/>
              <a:ext cx="499026" cy="322842"/>
            </a:xfrm>
            <a:prstGeom prst="line">
              <a:avLst/>
            </a:prstGeom>
            <a:ln w="12700">
              <a:solidFill>
                <a:schemeClr val="accent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grpSp>
      <p:sp>
        <p:nvSpPr>
          <p:cNvPr id="182" name="Freeform 5">
            <a:extLst>
              <a:ext uri="{FF2B5EF4-FFF2-40B4-BE49-F238E27FC236}">
                <a16:creationId xmlns:a16="http://schemas.microsoft.com/office/drawing/2014/main" id="{B4F4097A-39C9-41D9-ABE5-ACAD5CC51E66}"/>
              </a:ext>
            </a:extLst>
          </p:cNvPr>
          <p:cNvSpPr>
            <a:spLocks/>
          </p:cNvSpPr>
          <p:nvPr/>
        </p:nvSpPr>
        <p:spPr bwMode="auto">
          <a:xfrm>
            <a:off x="5613894" y="2016734"/>
            <a:ext cx="487082" cy="864226"/>
          </a:xfrm>
          <a:custGeom>
            <a:avLst/>
            <a:gdLst>
              <a:gd name="T0" fmla="*/ 319 w 319"/>
              <a:gd name="T1" fmla="*/ 566 h 566"/>
              <a:gd name="T2" fmla="*/ 0 w 319"/>
              <a:gd name="T3" fmla="*/ 378 h 566"/>
              <a:gd name="T4" fmla="*/ 0 w 319"/>
              <a:gd name="T5" fmla="*/ 0 h 566"/>
              <a:gd name="T6" fmla="*/ 319 w 319"/>
              <a:gd name="T7" fmla="*/ 188 h 566"/>
              <a:gd name="T8" fmla="*/ 319 w 319"/>
              <a:gd name="T9" fmla="*/ 566 h 566"/>
            </a:gdLst>
            <a:ahLst/>
            <a:cxnLst>
              <a:cxn ang="0">
                <a:pos x="T0" y="T1"/>
              </a:cxn>
              <a:cxn ang="0">
                <a:pos x="T2" y="T3"/>
              </a:cxn>
              <a:cxn ang="0">
                <a:pos x="T4" y="T5"/>
              </a:cxn>
              <a:cxn ang="0">
                <a:pos x="T6" y="T7"/>
              </a:cxn>
              <a:cxn ang="0">
                <a:pos x="T8" y="T9"/>
              </a:cxn>
            </a:cxnLst>
            <a:rect l="0" t="0" r="r" b="b"/>
            <a:pathLst>
              <a:path w="319" h="566">
                <a:moveTo>
                  <a:pt x="319" y="566"/>
                </a:moveTo>
                <a:lnTo>
                  <a:pt x="0" y="378"/>
                </a:lnTo>
                <a:lnTo>
                  <a:pt x="0" y="0"/>
                </a:lnTo>
                <a:lnTo>
                  <a:pt x="319" y="188"/>
                </a:lnTo>
                <a:lnTo>
                  <a:pt x="319" y="566"/>
                </a:lnTo>
                <a:close/>
              </a:path>
            </a:pathLst>
          </a:custGeom>
          <a:solidFill>
            <a:schemeClr val="accent1">
              <a:lumMod val="60000"/>
              <a:lumOff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0F0F0"/>
              </a:solidFill>
              <a:effectLst/>
              <a:uLnTx/>
              <a:uFillTx/>
              <a:latin typeface="Inter"/>
              <a:cs typeface="+mn-cs"/>
            </a:endParaRPr>
          </a:p>
        </p:txBody>
      </p:sp>
      <p:sp>
        <p:nvSpPr>
          <p:cNvPr id="183" name="Freeform 6">
            <a:extLst>
              <a:ext uri="{FF2B5EF4-FFF2-40B4-BE49-F238E27FC236}">
                <a16:creationId xmlns:a16="http://schemas.microsoft.com/office/drawing/2014/main" id="{5B57E158-4650-4402-819D-2234519F09EA}"/>
              </a:ext>
            </a:extLst>
          </p:cNvPr>
          <p:cNvSpPr>
            <a:spLocks/>
          </p:cNvSpPr>
          <p:nvPr/>
        </p:nvSpPr>
        <p:spPr bwMode="auto">
          <a:xfrm>
            <a:off x="6100976" y="2024369"/>
            <a:ext cx="487082" cy="856592"/>
          </a:xfrm>
          <a:custGeom>
            <a:avLst/>
            <a:gdLst>
              <a:gd name="T0" fmla="*/ 0 w 319"/>
              <a:gd name="T1" fmla="*/ 561 h 561"/>
              <a:gd name="T2" fmla="*/ 319 w 319"/>
              <a:gd name="T3" fmla="*/ 378 h 561"/>
              <a:gd name="T4" fmla="*/ 319 w 319"/>
              <a:gd name="T5" fmla="*/ 0 h 561"/>
              <a:gd name="T6" fmla="*/ 0 w 319"/>
              <a:gd name="T7" fmla="*/ 183 h 561"/>
              <a:gd name="T8" fmla="*/ 0 w 319"/>
              <a:gd name="T9" fmla="*/ 561 h 561"/>
            </a:gdLst>
            <a:ahLst/>
            <a:cxnLst>
              <a:cxn ang="0">
                <a:pos x="T0" y="T1"/>
              </a:cxn>
              <a:cxn ang="0">
                <a:pos x="T2" y="T3"/>
              </a:cxn>
              <a:cxn ang="0">
                <a:pos x="T4" y="T5"/>
              </a:cxn>
              <a:cxn ang="0">
                <a:pos x="T6" y="T7"/>
              </a:cxn>
              <a:cxn ang="0">
                <a:pos x="T8" y="T9"/>
              </a:cxn>
            </a:cxnLst>
            <a:rect l="0" t="0" r="r" b="b"/>
            <a:pathLst>
              <a:path w="319" h="561">
                <a:moveTo>
                  <a:pt x="0" y="561"/>
                </a:moveTo>
                <a:lnTo>
                  <a:pt x="319" y="378"/>
                </a:lnTo>
                <a:lnTo>
                  <a:pt x="319" y="0"/>
                </a:lnTo>
                <a:lnTo>
                  <a:pt x="0" y="183"/>
                </a:lnTo>
                <a:lnTo>
                  <a:pt x="0" y="561"/>
                </a:lnTo>
                <a:close/>
              </a:path>
            </a:pathLst>
          </a:custGeom>
          <a:solidFill>
            <a:schemeClr val="accent1">
              <a:lumMod val="60000"/>
              <a:lumOff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0F0F0"/>
              </a:solidFill>
              <a:effectLst/>
              <a:uLnTx/>
              <a:uFillTx/>
              <a:latin typeface="Inter"/>
              <a:cs typeface="+mn-cs"/>
            </a:endParaRPr>
          </a:p>
        </p:txBody>
      </p:sp>
      <p:sp>
        <p:nvSpPr>
          <p:cNvPr id="184" name="Freeform 7">
            <a:extLst>
              <a:ext uri="{FF2B5EF4-FFF2-40B4-BE49-F238E27FC236}">
                <a16:creationId xmlns:a16="http://schemas.microsoft.com/office/drawing/2014/main" id="{5BADC0C0-84F0-4126-9E2A-7EB50CBDE4F0}"/>
              </a:ext>
            </a:extLst>
          </p:cNvPr>
          <p:cNvSpPr>
            <a:spLocks/>
          </p:cNvSpPr>
          <p:nvPr/>
        </p:nvSpPr>
        <p:spPr bwMode="auto">
          <a:xfrm>
            <a:off x="5613894" y="1732730"/>
            <a:ext cx="974163" cy="571061"/>
          </a:xfrm>
          <a:custGeom>
            <a:avLst/>
            <a:gdLst>
              <a:gd name="T0" fmla="*/ 0 w 638"/>
              <a:gd name="T1" fmla="*/ 186 h 374"/>
              <a:gd name="T2" fmla="*/ 319 w 638"/>
              <a:gd name="T3" fmla="*/ 0 h 374"/>
              <a:gd name="T4" fmla="*/ 638 w 638"/>
              <a:gd name="T5" fmla="*/ 191 h 374"/>
              <a:gd name="T6" fmla="*/ 319 w 638"/>
              <a:gd name="T7" fmla="*/ 374 h 374"/>
              <a:gd name="T8" fmla="*/ 0 w 638"/>
              <a:gd name="T9" fmla="*/ 186 h 374"/>
            </a:gdLst>
            <a:ahLst/>
            <a:cxnLst>
              <a:cxn ang="0">
                <a:pos x="T0" y="T1"/>
              </a:cxn>
              <a:cxn ang="0">
                <a:pos x="T2" y="T3"/>
              </a:cxn>
              <a:cxn ang="0">
                <a:pos x="T4" y="T5"/>
              </a:cxn>
              <a:cxn ang="0">
                <a:pos x="T6" y="T7"/>
              </a:cxn>
              <a:cxn ang="0">
                <a:pos x="T8" y="T9"/>
              </a:cxn>
            </a:cxnLst>
            <a:rect l="0" t="0" r="r" b="b"/>
            <a:pathLst>
              <a:path w="638" h="374">
                <a:moveTo>
                  <a:pt x="0" y="186"/>
                </a:moveTo>
                <a:lnTo>
                  <a:pt x="319" y="0"/>
                </a:lnTo>
                <a:lnTo>
                  <a:pt x="638" y="191"/>
                </a:lnTo>
                <a:lnTo>
                  <a:pt x="319" y="374"/>
                </a:lnTo>
                <a:lnTo>
                  <a:pt x="0" y="186"/>
                </a:lnTo>
                <a:close/>
              </a:path>
            </a:pathLst>
          </a:custGeom>
          <a:gradFill>
            <a:gsLst>
              <a:gs pos="0">
                <a:schemeClr val="accent1">
                  <a:lumMod val="40000"/>
                  <a:lumOff val="60000"/>
                </a:schemeClr>
              </a:gs>
              <a:gs pos="100000">
                <a:schemeClr val="accent1">
                  <a:lumMod val="60000"/>
                  <a:lumOff val="40000"/>
                </a:schemeClr>
              </a:gs>
            </a:gsLst>
            <a:lin ang="5400000" scaled="1"/>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0F0F0"/>
              </a:solidFill>
              <a:effectLst/>
              <a:uLnTx/>
              <a:uFillTx/>
              <a:latin typeface="Inter"/>
              <a:cs typeface="+mn-cs"/>
            </a:endParaRPr>
          </a:p>
        </p:txBody>
      </p:sp>
      <p:sp>
        <p:nvSpPr>
          <p:cNvPr id="185" name="Freeform 8">
            <a:extLst>
              <a:ext uri="{FF2B5EF4-FFF2-40B4-BE49-F238E27FC236}">
                <a16:creationId xmlns:a16="http://schemas.microsoft.com/office/drawing/2014/main" id="{CBBBEFF7-BDE6-4F89-A5AD-E1D0513F806B}"/>
              </a:ext>
            </a:extLst>
          </p:cNvPr>
          <p:cNvSpPr>
            <a:spLocks/>
          </p:cNvSpPr>
          <p:nvPr/>
        </p:nvSpPr>
        <p:spPr bwMode="auto">
          <a:xfrm>
            <a:off x="6617069" y="2313074"/>
            <a:ext cx="490136" cy="871861"/>
          </a:xfrm>
          <a:custGeom>
            <a:avLst/>
            <a:gdLst>
              <a:gd name="T0" fmla="*/ 0 w 321"/>
              <a:gd name="T1" fmla="*/ 571 h 571"/>
              <a:gd name="T2" fmla="*/ 321 w 321"/>
              <a:gd name="T3" fmla="*/ 381 h 571"/>
              <a:gd name="T4" fmla="*/ 321 w 321"/>
              <a:gd name="T5" fmla="*/ 0 h 571"/>
              <a:gd name="T6" fmla="*/ 0 w 321"/>
              <a:gd name="T7" fmla="*/ 191 h 571"/>
              <a:gd name="T8" fmla="*/ 0 w 321"/>
              <a:gd name="T9" fmla="*/ 571 h 571"/>
            </a:gdLst>
            <a:ahLst/>
            <a:cxnLst>
              <a:cxn ang="0">
                <a:pos x="T0" y="T1"/>
              </a:cxn>
              <a:cxn ang="0">
                <a:pos x="T2" y="T3"/>
              </a:cxn>
              <a:cxn ang="0">
                <a:pos x="T4" y="T5"/>
              </a:cxn>
              <a:cxn ang="0">
                <a:pos x="T6" y="T7"/>
              </a:cxn>
              <a:cxn ang="0">
                <a:pos x="T8" y="T9"/>
              </a:cxn>
            </a:cxnLst>
            <a:rect l="0" t="0" r="r" b="b"/>
            <a:pathLst>
              <a:path w="321" h="571">
                <a:moveTo>
                  <a:pt x="0" y="571"/>
                </a:moveTo>
                <a:lnTo>
                  <a:pt x="321" y="381"/>
                </a:lnTo>
                <a:lnTo>
                  <a:pt x="321" y="0"/>
                </a:lnTo>
                <a:lnTo>
                  <a:pt x="0" y="191"/>
                </a:lnTo>
                <a:lnTo>
                  <a:pt x="0" y="571"/>
                </a:ln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0F0F0"/>
              </a:solidFill>
              <a:effectLst/>
              <a:uLnTx/>
              <a:uFillTx/>
              <a:latin typeface="Inter"/>
              <a:cs typeface="+mn-cs"/>
            </a:endParaRPr>
          </a:p>
        </p:txBody>
      </p:sp>
      <p:sp>
        <p:nvSpPr>
          <p:cNvPr id="186" name="Freeform 9">
            <a:extLst>
              <a:ext uri="{FF2B5EF4-FFF2-40B4-BE49-F238E27FC236}">
                <a16:creationId xmlns:a16="http://schemas.microsoft.com/office/drawing/2014/main" id="{0335CA40-E303-48D7-A63C-9C8173F9D337}"/>
              </a:ext>
            </a:extLst>
          </p:cNvPr>
          <p:cNvSpPr>
            <a:spLocks/>
          </p:cNvSpPr>
          <p:nvPr/>
        </p:nvSpPr>
        <p:spPr bwMode="auto">
          <a:xfrm>
            <a:off x="6129987" y="2322114"/>
            <a:ext cx="487082" cy="859646"/>
          </a:xfrm>
          <a:custGeom>
            <a:avLst/>
            <a:gdLst>
              <a:gd name="T0" fmla="*/ 319 w 319"/>
              <a:gd name="T1" fmla="*/ 563 h 563"/>
              <a:gd name="T2" fmla="*/ 0 w 319"/>
              <a:gd name="T3" fmla="*/ 378 h 563"/>
              <a:gd name="T4" fmla="*/ 0 w 319"/>
              <a:gd name="T5" fmla="*/ 0 h 563"/>
              <a:gd name="T6" fmla="*/ 319 w 319"/>
              <a:gd name="T7" fmla="*/ 183 h 563"/>
              <a:gd name="T8" fmla="*/ 319 w 319"/>
              <a:gd name="T9" fmla="*/ 563 h 563"/>
            </a:gdLst>
            <a:ahLst/>
            <a:cxnLst>
              <a:cxn ang="0">
                <a:pos x="T0" y="T1"/>
              </a:cxn>
              <a:cxn ang="0">
                <a:pos x="T2" y="T3"/>
              </a:cxn>
              <a:cxn ang="0">
                <a:pos x="T4" y="T5"/>
              </a:cxn>
              <a:cxn ang="0">
                <a:pos x="T6" y="T7"/>
              </a:cxn>
              <a:cxn ang="0">
                <a:pos x="T8" y="T9"/>
              </a:cxn>
            </a:cxnLst>
            <a:rect l="0" t="0" r="r" b="b"/>
            <a:pathLst>
              <a:path w="319" h="563">
                <a:moveTo>
                  <a:pt x="319" y="563"/>
                </a:moveTo>
                <a:lnTo>
                  <a:pt x="0" y="378"/>
                </a:lnTo>
                <a:lnTo>
                  <a:pt x="0" y="0"/>
                </a:lnTo>
                <a:lnTo>
                  <a:pt x="319" y="183"/>
                </a:lnTo>
                <a:lnTo>
                  <a:pt x="319" y="563"/>
                </a:ln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0F0F0"/>
              </a:solidFill>
              <a:effectLst/>
              <a:uLnTx/>
              <a:uFillTx/>
              <a:latin typeface="Inter"/>
              <a:cs typeface="+mn-cs"/>
            </a:endParaRPr>
          </a:p>
        </p:txBody>
      </p:sp>
      <p:sp>
        <p:nvSpPr>
          <p:cNvPr id="187" name="Freeform 10">
            <a:extLst>
              <a:ext uri="{FF2B5EF4-FFF2-40B4-BE49-F238E27FC236}">
                <a16:creationId xmlns:a16="http://schemas.microsoft.com/office/drawing/2014/main" id="{CCAF786B-FB21-4340-AC1A-DCBD1DBF8BDE}"/>
              </a:ext>
            </a:extLst>
          </p:cNvPr>
          <p:cNvSpPr>
            <a:spLocks/>
          </p:cNvSpPr>
          <p:nvPr/>
        </p:nvSpPr>
        <p:spPr bwMode="auto">
          <a:xfrm>
            <a:off x="6129987" y="2033651"/>
            <a:ext cx="974163" cy="571061"/>
          </a:xfrm>
          <a:custGeom>
            <a:avLst/>
            <a:gdLst>
              <a:gd name="T0" fmla="*/ 638 w 638"/>
              <a:gd name="T1" fmla="*/ 186 h 374"/>
              <a:gd name="T2" fmla="*/ 321 w 638"/>
              <a:gd name="T3" fmla="*/ 0 h 374"/>
              <a:gd name="T4" fmla="*/ 0 w 638"/>
              <a:gd name="T5" fmla="*/ 191 h 374"/>
              <a:gd name="T6" fmla="*/ 319 w 638"/>
              <a:gd name="T7" fmla="*/ 374 h 374"/>
              <a:gd name="T8" fmla="*/ 638 w 638"/>
              <a:gd name="T9" fmla="*/ 186 h 374"/>
            </a:gdLst>
            <a:ahLst/>
            <a:cxnLst>
              <a:cxn ang="0">
                <a:pos x="T0" y="T1"/>
              </a:cxn>
              <a:cxn ang="0">
                <a:pos x="T2" y="T3"/>
              </a:cxn>
              <a:cxn ang="0">
                <a:pos x="T4" y="T5"/>
              </a:cxn>
              <a:cxn ang="0">
                <a:pos x="T6" y="T7"/>
              </a:cxn>
              <a:cxn ang="0">
                <a:pos x="T8" y="T9"/>
              </a:cxn>
            </a:cxnLst>
            <a:rect l="0" t="0" r="r" b="b"/>
            <a:pathLst>
              <a:path w="638" h="374">
                <a:moveTo>
                  <a:pt x="638" y="186"/>
                </a:moveTo>
                <a:lnTo>
                  <a:pt x="321" y="0"/>
                </a:lnTo>
                <a:lnTo>
                  <a:pt x="0" y="191"/>
                </a:lnTo>
                <a:lnTo>
                  <a:pt x="319" y="374"/>
                </a:lnTo>
                <a:lnTo>
                  <a:pt x="638" y="186"/>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0F0F0"/>
              </a:solidFill>
              <a:effectLst/>
              <a:uLnTx/>
              <a:uFillTx/>
              <a:latin typeface="Inter"/>
              <a:cs typeface="+mn-cs"/>
            </a:endParaRPr>
          </a:p>
        </p:txBody>
      </p:sp>
      <p:sp>
        <p:nvSpPr>
          <p:cNvPr id="188" name="Freeform 11">
            <a:extLst>
              <a:ext uri="{FF2B5EF4-FFF2-40B4-BE49-F238E27FC236}">
                <a16:creationId xmlns:a16="http://schemas.microsoft.com/office/drawing/2014/main" id="{D424996F-47FD-4776-A99D-4D833AEEC53B}"/>
              </a:ext>
            </a:extLst>
          </p:cNvPr>
          <p:cNvSpPr>
            <a:spLocks/>
          </p:cNvSpPr>
          <p:nvPr/>
        </p:nvSpPr>
        <p:spPr bwMode="auto">
          <a:xfrm>
            <a:off x="5097801" y="2303791"/>
            <a:ext cx="487082" cy="867280"/>
          </a:xfrm>
          <a:custGeom>
            <a:avLst/>
            <a:gdLst>
              <a:gd name="T0" fmla="*/ 319 w 319"/>
              <a:gd name="T1" fmla="*/ 568 h 568"/>
              <a:gd name="T2" fmla="*/ 0 w 319"/>
              <a:gd name="T3" fmla="*/ 380 h 568"/>
              <a:gd name="T4" fmla="*/ 0 w 319"/>
              <a:gd name="T5" fmla="*/ 0 h 568"/>
              <a:gd name="T6" fmla="*/ 319 w 319"/>
              <a:gd name="T7" fmla="*/ 187 h 568"/>
              <a:gd name="T8" fmla="*/ 319 w 319"/>
              <a:gd name="T9" fmla="*/ 568 h 568"/>
            </a:gdLst>
            <a:ahLst/>
            <a:cxnLst>
              <a:cxn ang="0">
                <a:pos x="T0" y="T1"/>
              </a:cxn>
              <a:cxn ang="0">
                <a:pos x="T2" y="T3"/>
              </a:cxn>
              <a:cxn ang="0">
                <a:pos x="T4" y="T5"/>
              </a:cxn>
              <a:cxn ang="0">
                <a:pos x="T6" y="T7"/>
              </a:cxn>
              <a:cxn ang="0">
                <a:pos x="T8" y="T9"/>
              </a:cxn>
            </a:cxnLst>
            <a:rect l="0" t="0" r="r" b="b"/>
            <a:pathLst>
              <a:path w="319" h="568">
                <a:moveTo>
                  <a:pt x="319" y="568"/>
                </a:moveTo>
                <a:lnTo>
                  <a:pt x="0" y="380"/>
                </a:lnTo>
                <a:lnTo>
                  <a:pt x="0" y="0"/>
                </a:lnTo>
                <a:lnTo>
                  <a:pt x="319" y="187"/>
                </a:lnTo>
                <a:lnTo>
                  <a:pt x="319" y="568"/>
                </a:ln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0F0F0"/>
              </a:solidFill>
              <a:effectLst/>
              <a:uLnTx/>
              <a:uFillTx/>
              <a:latin typeface="Inter"/>
              <a:cs typeface="+mn-cs"/>
            </a:endParaRPr>
          </a:p>
        </p:txBody>
      </p:sp>
      <p:sp>
        <p:nvSpPr>
          <p:cNvPr id="189" name="Freeform 12">
            <a:extLst>
              <a:ext uri="{FF2B5EF4-FFF2-40B4-BE49-F238E27FC236}">
                <a16:creationId xmlns:a16="http://schemas.microsoft.com/office/drawing/2014/main" id="{CEE3FB53-431E-4F07-930E-6CDE37DB163A}"/>
              </a:ext>
            </a:extLst>
          </p:cNvPr>
          <p:cNvSpPr>
            <a:spLocks/>
          </p:cNvSpPr>
          <p:nvPr/>
        </p:nvSpPr>
        <p:spPr bwMode="auto">
          <a:xfrm>
            <a:off x="5584883" y="2309899"/>
            <a:ext cx="487082" cy="861172"/>
          </a:xfrm>
          <a:custGeom>
            <a:avLst/>
            <a:gdLst>
              <a:gd name="T0" fmla="*/ 0 w 319"/>
              <a:gd name="T1" fmla="*/ 564 h 564"/>
              <a:gd name="T2" fmla="*/ 319 w 319"/>
              <a:gd name="T3" fmla="*/ 381 h 564"/>
              <a:gd name="T4" fmla="*/ 319 w 319"/>
              <a:gd name="T5" fmla="*/ 0 h 564"/>
              <a:gd name="T6" fmla="*/ 0 w 319"/>
              <a:gd name="T7" fmla="*/ 183 h 564"/>
              <a:gd name="T8" fmla="*/ 0 w 319"/>
              <a:gd name="T9" fmla="*/ 564 h 564"/>
            </a:gdLst>
            <a:ahLst/>
            <a:cxnLst>
              <a:cxn ang="0">
                <a:pos x="T0" y="T1"/>
              </a:cxn>
              <a:cxn ang="0">
                <a:pos x="T2" y="T3"/>
              </a:cxn>
              <a:cxn ang="0">
                <a:pos x="T4" y="T5"/>
              </a:cxn>
              <a:cxn ang="0">
                <a:pos x="T6" y="T7"/>
              </a:cxn>
              <a:cxn ang="0">
                <a:pos x="T8" y="T9"/>
              </a:cxn>
            </a:cxnLst>
            <a:rect l="0" t="0" r="r" b="b"/>
            <a:pathLst>
              <a:path w="319" h="564">
                <a:moveTo>
                  <a:pt x="0" y="564"/>
                </a:moveTo>
                <a:lnTo>
                  <a:pt x="319" y="381"/>
                </a:lnTo>
                <a:lnTo>
                  <a:pt x="319" y="0"/>
                </a:lnTo>
                <a:lnTo>
                  <a:pt x="0" y="183"/>
                </a:lnTo>
                <a:lnTo>
                  <a:pt x="0" y="564"/>
                </a:ln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0F0F0"/>
              </a:solidFill>
              <a:effectLst/>
              <a:uLnTx/>
              <a:uFillTx/>
              <a:latin typeface="Inter"/>
              <a:cs typeface="+mn-cs"/>
            </a:endParaRPr>
          </a:p>
        </p:txBody>
      </p:sp>
      <p:sp>
        <p:nvSpPr>
          <p:cNvPr id="190" name="Freeform 13">
            <a:extLst>
              <a:ext uri="{FF2B5EF4-FFF2-40B4-BE49-F238E27FC236}">
                <a16:creationId xmlns:a16="http://schemas.microsoft.com/office/drawing/2014/main" id="{DA82E5BF-791C-4078-AC6B-CB2FA45DDAF4}"/>
              </a:ext>
            </a:extLst>
          </p:cNvPr>
          <p:cNvSpPr>
            <a:spLocks/>
          </p:cNvSpPr>
          <p:nvPr/>
        </p:nvSpPr>
        <p:spPr bwMode="auto">
          <a:xfrm>
            <a:off x="5097801" y="2024369"/>
            <a:ext cx="974163" cy="564953"/>
          </a:xfrm>
          <a:custGeom>
            <a:avLst/>
            <a:gdLst>
              <a:gd name="T0" fmla="*/ 0 w 638"/>
              <a:gd name="T1" fmla="*/ 185 h 370"/>
              <a:gd name="T2" fmla="*/ 319 w 638"/>
              <a:gd name="T3" fmla="*/ 0 h 370"/>
              <a:gd name="T4" fmla="*/ 638 w 638"/>
              <a:gd name="T5" fmla="*/ 187 h 370"/>
              <a:gd name="T6" fmla="*/ 319 w 638"/>
              <a:gd name="T7" fmla="*/ 370 h 370"/>
              <a:gd name="T8" fmla="*/ 0 w 638"/>
              <a:gd name="T9" fmla="*/ 185 h 370"/>
            </a:gdLst>
            <a:ahLst/>
            <a:cxnLst>
              <a:cxn ang="0">
                <a:pos x="T0" y="T1"/>
              </a:cxn>
              <a:cxn ang="0">
                <a:pos x="T2" y="T3"/>
              </a:cxn>
              <a:cxn ang="0">
                <a:pos x="T4" y="T5"/>
              </a:cxn>
              <a:cxn ang="0">
                <a:pos x="T6" y="T7"/>
              </a:cxn>
              <a:cxn ang="0">
                <a:pos x="T8" y="T9"/>
              </a:cxn>
            </a:cxnLst>
            <a:rect l="0" t="0" r="r" b="b"/>
            <a:pathLst>
              <a:path w="638" h="370">
                <a:moveTo>
                  <a:pt x="0" y="185"/>
                </a:moveTo>
                <a:lnTo>
                  <a:pt x="319" y="0"/>
                </a:lnTo>
                <a:lnTo>
                  <a:pt x="638" y="187"/>
                </a:lnTo>
                <a:lnTo>
                  <a:pt x="319" y="370"/>
                </a:lnTo>
                <a:lnTo>
                  <a:pt x="0" y="185"/>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0F0F0"/>
              </a:solidFill>
              <a:effectLst/>
              <a:uLnTx/>
              <a:uFillTx/>
              <a:latin typeface="Inter"/>
              <a:cs typeface="+mn-cs"/>
            </a:endParaRPr>
          </a:p>
        </p:txBody>
      </p:sp>
      <p:sp>
        <p:nvSpPr>
          <p:cNvPr id="191" name="Freeform 14">
            <a:extLst>
              <a:ext uri="{FF2B5EF4-FFF2-40B4-BE49-F238E27FC236}">
                <a16:creationId xmlns:a16="http://schemas.microsoft.com/office/drawing/2014/main" id="{9633A362-DEDF-4AF2-94EF-0564AA2CEB0E}"/>
              </a:ext>
            </a:extLst>
          </p:cNvPr>
          <p:cNvSpPr>
            <a:spLocks/>
          </p:cNvSpPr>
          <p:nvPr/>
        </p:nvSpPr>
        <p:spPr bwMode="auto">
          <a:xfrm>
            <a:off x="5613894" y="2615279"/>
            <a:ext cx="487082" cy="867280"/>
          </a:xfrm>
          <a:custGeom>
            <a:avLst/>
            <a:gdLst>
              <a:gd name="T0" fmla="*/ 319 w 319"/>
              <a:gd name="T1" fmla="*/ 568 h 568"/>
              <a:gd name="T2" fmla="*/ 0 w 319"/>
              <a:gd name="T3" fmla="*/ 381 h 568"/>
              <a:gd name="T4" fmla="*/ 0 w 319"/>
              <a:gd name="T5" fmla="*/ 0 h 568"/>
              <a:gd name="T6" fmla="*/ 319 w 319"/>
              <a:gd name="T7" fmla="*/ 190 h 568"/>
              <a:gd name="T8" fmla="*/ 319 w 319"/>
              <a:gd name="T9" fmla="*/ 568 h 568"/>
            </a:gdLst>
            <a:ahLst/>
            <a:cxnLst>
              <a:cxn ang="0">
                <a:pos x="T0" y="T1"/>
              </a:cxn>
              <a:cxn ang="0">
                <a:pos x="T2" y="T3"/>
              </a:cxn>
              <a:cxn ang="0">
                <a:pos x="T4" y="T5"/>
              </a:cxn>
              <a:cxn ang="0">
                <a:pos x="T6" y="T7"/>
              </a:cxn>
              <a:cxn ang="0">
                <a:pos x="T8" y="T9"/>
              </a:cxn>
            </a:cxnLst>
            <a:rect l="0" t="0" r="r" b="b"/>
            <a:pathLst>
              <a:path w="319" h="568">
                <a:moveTo>
                  <a:pt x="319" y="568"/>
                </a:moveTo>
                <a:lnTo>
                  <a:pt x="0" y="381"/>
                </a:lnTo>
                <a:lnTo>
                  <a:pt x="0" y="0"/>
                </a:lnTo>
                <a:lnTo>
                  <a:pt x="319" y="190"/>
                </a:lnTo>
                <a:lnTo>
                  <a:pt x="319" y="568"/>
                </a:lnTo>
                <a:close/>
              </a:path>
            </a:pathLst>
          </a:custGeom>
          <a:solidFill>
            <a:schemeClr val="accent1">
              <a:lumMod val="60000"/>
              <a:lumOff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0F0F0"/>
              </a:solidFill>
              <a:effectLst/>
              <a:uLnTx/>
              <a:uFillTx/>
              <a:latin typeface="Inter"/>
              <a:cs typeface="+mn-cs"/>
            </a:endParaRPr>
          </a:p>
        </p:txBody>
      </p:sp>
      <p:sp>
        <p:nvSpPr>
          <p:cNvPr id="192" name="Freeform 15">
            <a:extLst>
              <a:ext uri="{FF2B5EF4-FFF2-40B4-BE49-F238E27FC236}">
                <a16:creationId xmlns:a16="http://schemas.microsoft.com/office/drawing/2014/main" id="{EEC0F01F-D2CC-4AC3-9EE2-01F86BDBED32}"/>
              </a:ext>
            </a:extLst>
          </p:cNvPr>
          <p:cNvSpPr>
            <a:spLocks/>
          </p:cNvSpPr>
          <p:nvPr/>
        </p:nvSpPr>
        <p:spPr bwMode="auto">
          <a:xfrm>
            <a:off x="6100976" y="2622914"/>
            <a:ext cx="487082" cy="859646"/>
          </a:xfrm>
          <a:custGeom>
            <a:avLst/>
            <a:gdLst>
              <a:gd name="T0" fmla="*/ 0 w 319"/>
              <a:gd name="T1" fmla="*/ 563 h 563"/>
              <a:gd name="T2" fmla="*/ 319 w 319"/>
              <a:gd name="T3" fmla="*/ 380 h 563"/>
              <a:gd name="T4" fmla="*/ 319 w 319"/>
              <a:gd name="T5" fmla="*/ 0 h 563"/>
              <a:gd name="T6" fmla="*/ 0 w 319"/>
              <a:gd name="T7" fmla="*/ 185 h 563"/>
              <a:gd name="T8" fmla="*/ 0 w 319"/>
              <a:gd name="T9" fmla="*/ 563 h 563"/>
            </a:gdLst>
            <a:ahLst/>
            <a:cxnLst>
              <a:cxn ang="0">
                <a:pos x="T0" y="T1"/>
              </a:cxn>
              <a:cxn ang="0">
                <a:pos x="T2" y="T3"/>
              </a:cxn>
              <a:cxn ang="0">
                <a:pos x="T4" y="T5"/>
              </a:cxn>
              <a:cxn ang="0">
                <a:pos x="T6" y="T7"/>
              </a:cxn>
              <a:cxn ang="0">
                <a:pos x="T8" y="T9"/>
              </a:cxn>
            </a:cxnLst>
            <a:rect l="0" t="0" r="r" b="b"/>
            <a:pathLst>
              <a:path w="319" h="563">
                <a:moveTo>
                  <a:pt x="0" y="563"/>
                </a:moveTo>
                <a:lnTo>
                  <a:pt x="319" y="380"/>
                </a:lnTo>
                <a:lnTo>
                  <a:pt x="319" y="0"/>
                </a:lnTo>
                <a:lnTo>
                  <a:pt x="0" y="185"/>
                </a:lnTo>
                <a:lnTo>
                  <a:pt x="0" y="563"/>
                </a:lnTo>
                <a:close/>
              </a:path>
            </a:pathLst>
          </a:custGeom>
          <a:solidFill>
            <a:schemeClr val="accent1">
              <a:lumMod val="60000"/>
              <a:lumOff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0F0F0"/>
              </a:solidFill>
              <a:effectLst/>
              <a:uLnTx/>
              <a:uFillTx/>
              <a:latin typeface="Inter"/>
              <a:cs typeface="+mn-cs"/>
            </a:endParaRPr>
          </a:p>
        </p:txBody>
      </p:sp>
      <p:sp>
        <p:nvSpPr>
          <p:cNvPr id="193" name="Freeform 16">
            <a:extLst>
              <a:ext uri="{FF2B5EF4-FFF2-40B4-BE49-F238E27FC236}">
                <a16:creationId xmlns:a16="http://schemas.microsoft.com/office/drawing/2014/main" id="{BCF58A65-863C-444A-8D4D-7EA7529458E7}"/>
              </a:ext>
            </a:extLst>
          </p:cNvPr>
          <p:cNvSpPr>
            <a:spLocks/>
          </p:cNvSpPr>
          <p:nvPr/>
        </p:nvSpPr>
        <p:spPr bwMode="auto">
          <a:xfrm>
            <a:off x="5613894" y="2335856"/>
            <a:ext cx="974163" cy="569535"/>
          </a:xfrm>
          <a:custGeom>
            <a:avLst/>
            <a:gdLst>
              <a:gd name="T0" fmla="*/ 0 w 638"/>
              <a:gd name="T1" fmla="*/ 186 h 373"/>
              <a:gd name="T2" fmla="*/ 319 w 638"/>
              <a:gd name="T3" fmla="*/ 0 h 373"/>
              <a:gd name="T4" fmla="*/ 638 w 638"/>
              <a:gd name="T5" fmla="*/ 188 h 373"/>
              <a:gd name="T6" fmla="*/ 319 w 638"/>
              <a:gd name="T7" fmla="*/ 373 h 373"/>
              <a:gd name="T8" fmla="*/ 0 w 638"/>
              <a:gd name="T9" fmla="*/ 186 h 373"/>
            </a:gdLst>
            <a:ahLst/>
            <a:cxnLst>
              <a:cxn ang="0">
                <a:pos x="T0" y="T1"/>
              </a:cxn>
              <a:cxn ang="0">
                <a:pos x="T2" y="T3"/>
              </a:cxn>
              <a:cxn ang="0">
                <a:pos x="T4" y="T5"/>
              </a:cxn>
              <a:cxn ang="0">
                <a:pos x="T6" y="T7"/>
              </a:cxn>
              <a:cxn ang="0">
                <a:pos x="T8" y="T9"/>
              </a:cxn>
            </a:cxnLst>
            <a:rect l="0" t="0" r="r" b="b"/>
            <a:pathLst>
              <a:path w="638" h="373">
                <a:moveTo>
                  <a:pt x="0" y="186"/>
                </a:moveTo>
                <a:lnTo>
                  <a:pt x="319" y="0"/>
                </a:lnTo>
                <a:lnTo>
                  <a:pt x="638" y="188"/>
                </a:lnTo>
                <a:lnTo>
                  <a:pt x="319" y="373"/>
                </a:lnTo>
                <a:lnTo>
                  <a:pt x="0" y="186"/>
                </a:lnTo>
                <a:close/>
              </a:path>
            </a:pathLst>
          </a:custGeom>
          <a:gradFill>
            <a:gsLst>
              <a:gs pos="0">
                <a:schemeClr val="accent1">
                  <a:lumMod val="40000"/>
                  <a:lumOff val="60000"/>
                </a:schemeClr>
              </a:gs>
              <a:gs pos="100000">
                <a:schemeClr val="accent1">
                  <a:lumMod val="60000"/>
                  <a:lumOff val="40000"/>
                </a:schemeClr>
              </a:gs>
            </a:gsLst>
            <a:lin ang="5400000" scaled="1"/>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0F0F0"/>
              </a:solidFill>
              <a:effectLst/>
              <a:uLnTx/>
              <a:uFillTx/>
              <a:latin typeface="Inter"/>
              <a:cs typeface="+mn-cs"/>
            </a:endParaRPr>
          </a:p>
        </p:txBody>
      </p:sp>
      <p:sp>
        <p:nvSpPr>
          <p:cNvPr id="194" name="Freeform 17">
            <a:extLst>
              <a:ext uri="{FF2B5EF4-FFF2-40B4-BE49-F238E27FC236}">
                <a16:creationId xmlns:a16="http://schemas.microsoft.com/office/drawing/2014/main" id="{A119AA14-1AA1-40E1-8ED3-4AEC2C0ACAA5}"/>
              </a:ext>
            </a:extLst>
          </p:cNvPr>
          <p:cNvSpPr>
            <a:spLocks/>
          </p:cNvSpPr>
          <p:nvPr/>
        </p:nvSpPr>
        <p:spPr bwMode="auto">
          <a:xfrm>
            <a:off x="7128580" y="3806262"/>
            <a:ext cx="497770" cy="864226"/>
          </a:xfrm>
          <a:custGeom>
            <a:avLst/>
            <a:gdLst>
              <a:gd name="T0" fmla="*/ 0 w 326"/>
              <a:gd name="T1" fmla="*/ 566 h 566"/>
              <a:gd name="T2" fmla="*/ 326 w 326"/>
              <a:gd name="T3" fmla="*/ 378 h 566"/>
              <a:gd name="T4" fmla="*/ 326 w 326"/>
              <a:gd name="T5" fmla="*/ 0 h 566"/>
              <a:gd name="T6" fmla="*/ 0 w 326"/>
              <a:gd name="T7" fmla="*/ 188 h 566"/>
              <a:gd name="T8" fmla="*/ 0 w 326"/>
              <a:gd name="T9" fmla="*/ 566 h 566"/>
            </a:gdLst>
            <a:ahLst/>
            <a:cxnLst>
              <a:cxn ang="0">
                <a:pos x="T0" y="T1"/>
              </a:cxn>
              <a:cxn ang="0">
                <a:pos x="T2" y="T3"/>
              </a:cxn>
              <a:cxn ang="0">
                <a:pos x="T4" y="T5"/>
              </a:cxn>
              <a:cxn ang="0">
                <a:pos x="T6" y="T7"/>
              </a:cxn>
              <a:cxn ang="0">
                <a:pos x="T8" y="T9"/>
              </a:cxn>
            </a:cxnLst>
            <a:rect l="0" t="0" r="r" b="b"/>
            <a:pathLst>
              <a:path w="326" h="566">
                <a:moveTo>
                  <a:pt x="0" y="566"/>
                </a:moveTo>
                <a:lnTo>
                  <a:pt x="326" y="378"/>
                </a:lnTo>
                <a:lnTo>
                  <a:pt x="326" y="0"/>
                </a:lnTo>
                <a:lnTo>
                  <a:pt x="0" y="188"/>
                </a:lnTo>
                <a:lnTo>
                  <a:pt x="0" y="566"/>
                </a:lnTo>
                <a:close/>
              </a:path>
            </a:pathLst>
          </a:custGeom>
          <a:gradFill flip="none" rotWithShape="1">
            <a:gsLst>
              <a:gs pos="0">
                <a:schemeClr val="accent1">
                  <a:lumMod val="60000"/>
                  <a:lumOff val="40000"/>
                </a:schemeClr>
              </a:gs>
              <a:gs pos="100000">
                <a:schemeClr val="accent1"/>
              </a:gs>
            </a:gsLst>
            <a:lin ang="270000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0F0F0"/>
              </a:solidFill>
              <a:effectLst/>
              <a:uLnTx/>
              <a:uFillTx/>
              <a:latin typeface="Inter"/>
              <a:cs typeface="+mn-cs"/>
            </a:endParaRPr>
          </a:p>
        </p:txBody>
      </p:sp>
      <p:sp>
        <p:nvSpPr>
          <p:cNvPr id="195" name="Freeform 18">
            <a:extLst>
              <a:ext uri="{FF2B5EF4-FFF2-40B4-BE49-F238E27FC236}">
                <a16:creationId xmlns:a16="http://schemas.microsoft.com/office/drawing/2014/main" id="{3F0A3B33-C7FD-4BC5-A785-56960B7DD65F}"/>
              </a:ext>
            </a:extLst>
          </p:cNvPr>
          <p:cNvSpPr>
            <a:spLocks/>
          </p:cNvSpPr>
          <p:nvPr/>
        </p:nvSpPr>
        <p:spPr bwMode="auto">
          <a:xfrm>
            <a:off x="6649133" y="3813897"/>
            <a:ext cx="479447" cy="856592"/>
          </a:xfrm>
          <a:custGeom>
            <a:avLst/>
            <a:gdLst>
              <a:gd name="T0" fmla="*/ 314 w 314"/>
              <a:gd name="T1" fmla="*/ 561 h 561"/>
              <a:gd name="T2" fmla="*/ 0 w 314"/>
              <a:gd name="T3" fmla="*/ 378 h 561"/>
              <a:gd name="T4" fmla="*/ 0 w 314"/>
              <a:gd name="T5" fmla="*/ 0 h 561"/>
              <a:gd name="T6" fmla="*/ 314 w 314"/>
              <a:gd name="T7" fmla="*/ 183 h 561"/>
              <a:gd name="T8" fmla="*/ 314 w 314"/>
              <a:gd name="T9" fmla="*/ 561 h 561"/>
            </a:gdLst>
            <a:ahLst/>
            <a:cxnLst>
              <a:cxn ang="0">
                <a:pos x="T0" y="T1"/>
              </a:cxn>
              <a:cxn ang="0">
                <a:pos x="T2" y="T3"/>
              </a:cxn>
              <a:cxn ang="0">
                <a:pos x="T4" y="T5"/>
              </a:cxn>
              <a:cxn ang="0">
                <a:pos x="T6" y="T7"/>
              </a:cxn>
              <a:cxn ang="0">
                <a:pos x="T8" y="T9"/>
              </a:cxn>
            </a:cxnLst>
            <a:rect l="0" t="0" r="r" b="b"/>
            <a:pathLst>
              <a:path w="314" h="561">
                <a:moveTo>
                  <a:pt x="314" y="561"/>
                </a:moveTo>
                <a:lnTo>
                  <a:pt x="0" y="378"/>
                </a:lnTo>
                <a:lnTo>
                  <a:pt x="0" y="0"/>
                </a:lnTo>
                <a:lnTo>
                  <a:pt x="314" y="183"/>
                </a:lnTo>
                <a:lnTo>
                  <a:pt x="314" y="561"/>
                </a:lnTo>
                <a:close/>
              </a:path>
            </a:pathLst>
          </a:custGeom>
          <a:solidFill>
            <a:schemeClr val="accent1">
              <a:lumMod val="60000"/>
              <a:lumOff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0F0F0"/>
              </a:solidFill>
              <a:effectLst/>
              <a:uLnTx/>
              <a:uFillTx/>
              <a:latin typeface="Inter"/>
              <a:cs typeface="+mn-cs"/>
            </a:endParaRPr>
          </a:p>
        </p:txBody>
      </p:sp>
      <p:sp>
        <p:nvSpPr>
          <p:cNvPr id="196" name="Freeform 19">
            <a:extLst>
              <a:ext uri="{FF2B5EF4-FFF2-40B4-BE49-F238E27FC236}">
                <a16:creationId xmlns:a16="http://schemas.microsoft.com/office/drawing/2014/main" id="{DCA5E1D2-D1D0-4970-9BBA-9F5904F708F9}"/>
              </a:ext>
            </a:extLst>
          </p:cNvPr>
          <p:cNvSpPr>
            <a:spLocks/>
          </p:cNvSpPr>
          <p:nvPr/>
        </p:nvSpPr>
        <p:spPr bwMode="auto">
          <a:xfrm>
            <a:off x="6649133" y="3526839"/>
            <a:ext cx="974163" cy="566481"/>
          </a:xfrm>
          <a:custGeom>
            <a:avLst/>
            <a:gdLst>
              <a:gd name="T0" fmla="*/ 638 w 638"/>
              <a:gd name="T1" fmla="*/ 183 h 371"/>
              <a:gd name="T2" fmla="*/ 319 w 638"/>
              <a:gd name="T3" fmla="*/ 0 h 371"/>
              <a:gd name="T4" fmla="*/ 0 w 638"/>
              <a:gd name="T5" fmla="*/ 188 h 371"/>
              <a:gd name="T6" fmla="*/ 314 w 638"/>
              <a:gd name="T7" fmla="*/ 371 h 371"/>
              <a:gd name="T8" fmla="*/ 638 w 638"/>
              <a:gd name="T9" fmla="*/ 183 h 371"/>
            </a:gdLst>
            <a:ahLst/>
            <a:cxnLst>
              <a:cxn ang="0">
                <a:pos x="T0" y="T1"/>
              </a:cxn>
              <a:cxn ang="0">
                <a:pos x="T2" y="T3"/>
              </a:cxn>
              <a:cxn ang="0">
                <a:pos x="T4" y="T5"/>
              </a:cxn>
              <a:cxn ang="0">
                <a:pos x="T6" y="T7"/>
              </a:cxn>
              <a:cxn ang="0">
                <a:pos x="T8" y="T9"/>
              </a:cxn>
            </a:cxnLst>
            <a:rect l="0" t="0" r="r" b="b"/>
            <a:pathLst>
              <a:path w="638" h="371">
                <a:moveTo>
                  <a:pt x="638" y="183"/>
                </a:moveTo>
                <a:lnTo>
                  <a:pt x="319" y="0"/>
                </a:lnTo>
                <a:lnTo>
                  <a:pt x="0" y="188"/>
                </a:lnTo>
                <a:lnTo>
                  <a:pt x="314" y="371"/>
                </a:lnTo>
                <a:lnTo>
                  <a:pt x="638" y="183"/>
                </a:lnTo>
                <a:close/>
              </a:path>
            </a:pathLst>
          </a:custGeom>
          <a:solidFill>
            <a:schemeClr val="accent1">
              <a:lumMod val="60000"/>
              <a:lumOff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0F0F0"/>
              </a:solidFill>
              <a:effectLst/>
              <a:uLnTx/>
              <a:uFillTx/>
              <a:latin typeface="Inter"/>
              <a:cs typeface="+mn-cs"/>
            </a:endParaRPr>
          </a:p>
        </p:txBody>
      </p:sp>
      <p:sp>
        <p:nvSpPr>
          <p:cNvPr id="197" name="Freeform 20">
            <a:extLst>
              <a:ext uri="{FF2B5EF4-FFF2-40B4-BE49-F238E27FC236}">
                <a16:creationId xmlns:a16="http://schemas.microsoft.com/office/drawing/2014/main" id="{942D0298-075E-48D2-B73F-98F628751E91}"/>
              </a:ext>
            </a:extLst>
          </p:cNvPr>
          <p:cNvSpPr>
            <a:spLocks/>
          </p:cNvSpPr>
          <p:nvPr/>
        </p:nvSpPr>
        <p:spPr bwMode="auto">
          <a:xfrm>
            <a:off x="6609434" y="4107062"/>
            <a:ext cx="497770" cy="868807"/>
          </a:xfrm>
          <a:custGeom>
            <a:avLst/>
            <a:gdLst>
              <a:gd name="T0" fmla="*/ 0 w 326"/>
              <a:gd name="T1" fmla="*/ 569 h 569"/>
              <a:gd name="T2" fmla="*/ 326 w 326"/>
              <a:gd name="T3" fmla="*/ 381 h 569"/>
              <a:gd name="T4" fmla="*/ 326 w 326"/>
              <a:gd name="T5" fmla="*/ 0 h 569"/>
              <a:gd name="T6" fmla="*/ 0 w 326"/>
              <a:gd name="T7" fmla="*/ 188 h 569"/>
              <a:gd name="T8" fmla="*/ 0 w 326"/>
              <a:gd name="T9" fmla="*/ 569 h 569"/>
            </a:gdLst>
            <a:ahLst/>
            <a:cxnLst>
              <a:cxn ang="0">
                <a:pos x="T0" y="T1"/>
              </a:cxn>
              <a:cxn ang="0">
                <a:pos x="T2" y="T3"/>
              </a:cxn>
              <a:cxn ang="0">
                <a:pos x="T4" y="T5"/>
              </a:cxn>
              <a:cxn ang="0">
                <a:pos x="T6" y="T7"/>
              </a:cxn>
              <a:cxn ang="0">
                <a:pos x="T8" y="T9"/>
              </a:cxn>
            </a:cxnLst>
            <a:rect l="0" t="0" r="r" b="b"/>
            <a:pathLst>
              <a:path w="326" h="569">
                <a:moveTo>
                  <a:pt x="0" y="569"/>
                </a:moveTo>
                <a:lnTo>
                  <a:pt x="326" y="381"/>
                </a:lnTo>
                <a:lnTo>
                  <a:pt x="326" y="0"/>
                </a:lnTo>
                <a:lnTo>
                  <a:pt x="0" y="188"/>
                </a:lnTo>
                <a:lnTo>
                  <a:pt x="0" y="569"/>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0F0F0"/>
              </a:solidFill>
              <a:effectLst/>
              <a:uLnTx/>
              <a:uFillTx/>
              <a:latin typeface="Inter"/>
              <a:cs typeface="+mn-cs"/>
            </a:endParaRPr>
          </a:p>
        </p:txBody>
      </p:sp>
      <p:sp>
        <p:nvSpPr>
          <p:cNvPr id="198" name="Freeform 21">
            <a:extLst>
              <a:ext uri="{FF2B5EF4-FFF2-40B4-BE49-F238E27FC236}">
                <a16:creationId xmlns:a16="http://schemas.microsoft.com/office/drawing/2014/main" id="{9865D617-CBF6-401B-B8AE-C9531F14750B}"/>
              </a:ext>
            </a:extLst>
          </p:cNvPr>
          <p:cNvSpPr>
            <a:spLocks/>
          </p:cNvSpPr>
          <p:nvPr/>
        </p:nvSpPr>
        <p:spPr bwMode="auto">
          <a:xfrm>
            <a:off x="6129987" y="4114696"/>
            <a:ext cx="479447" cy="861172"/>
          </a:xfrm>
          <a:custGeom>
            <a:avLst/>
            <a:gdLst>
              <a:gd name="T0" fmla="*/ 314 w 314"/>
              <a:gd name="T1" fmla="*/ 564 h 564"/>
              <a:gd name="T2" fmla="*/ 0 w 314"/>
              <a:gd name="T3" fmla="*/ 380 h 564"/>
              <a:gd name="T4" fmla="*/ 0 w 314"/>
              <a:gd name="T5" fmla="*/ 0 h 564"/>
              <a:gd name="T6" fmla="*/ 314 w 314"/>
              <a:gd name="T7" fmla="*/ 183 h 564"/>
              <a:gd name="T8" fmla="*/ 314 w 314"/>
              <a:gd name="T9" fmla="*/ 564 h 564"/>
            </a:gdLst>
            <a:ahLst/>
            <a:cxnLst>
              <a:cxn ang="0">
                <a:pos x="T0" y="T1"/>
              </a:cxn>
              <a:cxn ang="0">
                <a:pos x="T2" y="T3"/>
              </a:cxn>
              <a:cxn ang="0">
                <a:pos x="T4" y="T5"/>
              </a:cxn>
              <a:cxn ang="0">
                <a:pos x="T6" y="T7"/>
              </a:cxn>
              <a:cxn ang="0">
                <a:pos x="T8" y="T9"/>
              </a:cxn>
            </a:cxnLst>
            <a:rect l="0" t="0" r="r" b="b"/>
            <a:pathLst>
              <a:path w="314" h="564">
                <a:moveTo>
                  <a:pt x="314" y="564"/>
                </a:moveTo>
                <a:lnTo>
                  <a:pt x="0" y="380"/>
                </a:lnTo>
                <a:lnTo>
                  <a:pt x="0" y="0"/>
                </a:lnTo>
                <a:lnTo>
                  <a:pt x="314" y="183"/>
                </a:lnTo>
                <a:lnTo>
                  <a:pt x="314" y="564"/>
                </a:ln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0F0F0"/>
              </a:solidFill>
              <a:effectLst/>
              <a:uLnTx/>
              <a:uFillTx/>
              <a:latin typeface="Inter"/>
              <a:cs typeface="+mn-cs"/>
            </a:endParaRPr>
          </a:p>
        </p:txBody>
      </p:sp>
      <p:sp>
        <p:nvSpPr>
          <p:cNvPr id="199" name="Freeform 22">
            <a:extLst>
              <a:ext uri="{FF2B5EF4-FFF2-40B4-BE49-F238E27FC236}">
                <a16:creationId xmlns:a16="http://schemas.microsoft.com/office/drawing/2014/main" id="{A6D7CB9C-D63A-4B56-B6BC-F34216764A45}"/>
              </a:ext>
            </a:extLst>
          </p:cNvPr>
          <p:cNvSpPr>
            <a:spLocks/>
          </p:cNvSpPr>
          <p:nvPr/>
        </p:nvSpPr>
        <p:spPr bwMode="auto">
          <a:xfrm>
            <a:off x="6129987" y="3827638"/>
            <a:ext cx="974163" cy="566481"/>
          </a:xfrm>
          <a:custGeom>
            <a:avLst/>
            <a:gdLst>
              <a:gd name="T0" fmla="*/ 638 w 638"/>
              <a:gd name="T1" fmla="*/ 186 h 371"/>
              <a:gd name="T2" fmla="*/ 321 w 638"/>
              <a:gd name="T3" fmla="*/ 0 h 371"/>
              <a:gd name="T4" fmla="*/ 0 w 638"/>
              <a:gd name="T5" fmla="*/ 188 h 371"/>
              <a:gd name="T6" fmla="*/ 314 w 638"/>
              <a:gd name="T7" fmla="*/ 371 h 371"/>
              <a:gd name="T8" fmla="*/ 638 w 638"/>
              <a:gd name="T9" fmla="*/ 186 h 371"/>
            </a:gdLst>
            <a:ahLst/>
            <a:cxnLst>
              <a:cxn ang="0">
                <a:pos x="T0" y="T1"/>
              </a:cxn>
              <a:cxn ang="0">
                <a:pos x="T2" y="T3"/>
              </a:cxn>
              <a:cxn ang="0">
                <a:pos x="T4" y="T5"/>
              </a:cxn>
              <a:cxn ang="0">
                <a:pos x="T6" y="T7"/>
              </a:cxn>
              <a:cxn ang="0">
                <a:pos x="T8" y="T9"/>
              </a:cxn>
            </a:cxnLst>
            <a:rect l="0" t="0" r="r" b="b"/>
            <a:pathLst>
              <a:path w="638" h="371">
                <a:moveTo>
                  <a:pt x="638" y="186"/>
                </a:moveTo>
                <a:lnTo>
                  <a:pt x="321" y="0"/>
                </a:lnTo>
                <a:lnTo>
                  <a:pt x="0" y="188"/>
                </a:lnTo>
                <a:lnTo>
                  <a:pt x="314" y="371"/>
                </a:lnTo>
                <a:lnTo>
                  <a:pt x="638" y="186"/>
                </a:ln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0F0F0"/>
              </a:solidFill>
              <a:effectLst/>
              <a:uLnTx/>
              <a:uFillTx/>
              <a:latin typeface="Inter"/>
              <a:cs typeface="+mn-cs"/>
            </a:endParaRPr>
          </a:p>
        </p:txBody>
      </p:sp>
      <p:sp>
        <p:nvSpPr>
          <p:cNvPr id="200" name="Freeform 23">
            <a:extLst>
              <a:ext uri="{FF2B5EF4-FFF2-40B4-BE49-F238E27FC236}">
                <a16:creationId xmlns:a16="http://schemas.microsoft.com/office/drawing/2014/main" id="{440346C0-D2F5-4095-AFD4-0F2121D29FD9}"/>
              </a:ext>
            </a:extLst>
          </p:cNvPr>
          <p:cNvSpPr>
            <a:spLocks/>
          </p:cNvSpPr>
          <p:nvPr/>
        </p:nvSpPr>
        <p:spPr bwMode="auto">
          <a:xfrm>
            <a:off x="4578655" y="3798628"/>
            <a:ext cx="497770" cy="864226"/>
          </a:xfrm>
          <a:custGeom>
            <a:avLst/>
            <a:gdLst>
              <a:gd name="T0" fmla="*/ 326 w 326"/>
              <a:gd name="T1" fmla="*/ 566 h 566"/>
              <a:gd name="T2" fmla="*/ 0 w 326"/>
              <a:gd name="T3" fmla="*/ 378 h 566"/>
              <a:gd name="T4" fmla="*/ 0 w 326"/>
              <a:gd name="T5" fmla="*/ 0 h 566"/>
              <a:gd name="T6" fmla="*/ 326 w 326"/>
              <a:gd name="T7" fmla="*/ 188 h 566"/>
              <a:gd name="T8" fmla="*/ 326 w 326"/>
              <a:gd name="T9" fmla="*/ 566 h 566"/>
            </a:gdLst>
            <a:ahLst/>
            <a:cxnLst>
              <a:cxn ang="0">
                <a:pos x="T0" y="T1"/>
              </a:cxn>
              <a:cxn ang="0">
                <a:pos x="T2" y="T3"/>
              </a:cxn>
              <a:cxn ang="0">
                <a:pos x="T4" y="T5"/>
              </a:cxn>
              <a:cxn ang="0">
                <a:pos x="T6" y="T7"/>
              </a:cxn>
              <a:cxn ang="0">
                <a:pos x="T8" y="T9"/>
              </a:cxn>
            </a:cxnLst>
            <a:rect l="0" t="0" r="r" b="b"/>
            <a:pathLst>
              <a:path w="326" h="566">
                <a:moveTo>
                  <a:pt x="326" y="566"/>
                </a:moveTo>
                <a:lnTo>
                  <a:pt x="0" y="378"/>
                </a:lnTo>
                <a:lnTo>
                  <a:pt x="0" y="0"/>
                </a:lnTo>
                <a:lnTo>
                  <a:pt x="326" y="188"/>
                </a:lnTo>
                <a:lnTo>
                  <a:pt x="326" y="566"/>
                </a:lnTo>
                <a:close/>
              </a:path>
            </a:pathLst>
          </a:custGeom>
          <a:gradFill>
            <a:gsLst>
              <a:gs pos="0">
                <a:schemeClr val="accent1">
                  <a:lumMod val="14000"/>
                  <a:lumOff val="86000"/>
                </a:schemeClr>
              </a:gs>
              <a:gs pos="100000">
                <a:schemeClr val="accent1">
                  <a:lumMod val="29000"/>
                  <a:lumOff val="71000"/>
                </a:schemeClr>
              </a:gs>
            </a:gsLst>
            <a:lin ang="5400000" scaled="1"/>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0F0F0"/>
              </a:solidFill>
              <a:effectLst/>
              <a:uLnTx/>
              <a:uFillTx/>
              <a:latin typeface="Inter"/>
              <a:cs typeface="+mn-cs"/>
            </a:endParaRPr>
          </a:p>
        </p:txBody>
      </p:sp>
      <p:sp>
        <p:nvSpPr>
          <p:cNvPr id="201" name="Freeform 24">
            <a:extLst>
              <a:ext uri="{FF2B5EF4-FFF2-40B4-BE49-F238E27FC236}">
                <a16:creationId xmlns:a16="http://schemas.microsoft.com/office/drawing/2014/main" id="{3D8979E0-3227-481D-B9E3-A3D605644185}"/>
              </a:ext>
            </a:extLst>
          </p:cNvPr>
          <p:cNvSpPr>
            <a:spLocks/>
          </p:cNvSpPr>
          <p:nvPr/>
        </p:nvSpPr>
        <p:spPr bwMode="auto">
          <a:xfrm>
            <a:off x="5076425" y="3806262"/>
            <a:ext cx="474867" cy="856592"/>
          </a:xfrm>
          <a:custGeom>
            <a:avLst/>
            <a:gdLst>
              <a:gd name="T0" fmla="*/ 0 w 311"/>
              <a:gd name="T1" fmla="*/ 561 h 561"/>
              <a:gd name="T2" fmla="*/ 311 w 311"/>
              <a:gd name="T3" fmla="*/ 378 h 561"/>
              <a:gd name="T4" fmla="*/ 311 w 311"/>
              <a:gd name="T5" fmla="*/ 0 h 561"/>
              <a:gd name="T6" fmla="*/ 0 w 311"/>
              <a:gd name="T7" fmla="*/ 183 h 561"/>
              <a:gd name="T8" fmla="*/ 0 w 311"/>
              <a:gd name="T9" fmla="*/ 561 h 561"/>
            </a:gdLst>
            <a:ahLst/>
            <a:cxnLst>
              <a:cxn ang="0">
                <a:pos x="T0" y="T1"/>
              </a:cxn>
              <a:cxn ang="0">
                <a:pos x="T2" y="T3"/>
              </a:cxn>
              <a:cxn ang="0">
                <a:pos x="T4" y="T5"/>
              </a:cxn>
              <a:cxn ang="0">
                <a:pos x="T6" y="T7"/>
              </a:cxn>
              <a:cxn ang="0">
                <a:pos x="T8" y="T9"/>
              </a:cxn>
            </a:cxnLst>
            <a:rect l="0" t="0" r="r" b="b"/>
            <a:pathLst>
              <a:path w="311" h="561">
                <a:moveTo>
                  <a:pt x="0" y="561"/>
                </a:moveTo>
                <a:lnTo>
                  <a:pt x="311" y="378"/>
                </a:lnTo>
                <a:lnTo>
                  <a:pt x="311" y="0"/>
                </a:lnTo>
                <a:lnTo>
                  <a:pt x="0" y="183"/>
                </a:lnTo>
                <a:lnTo>
                  <a:pt x="0" y="561"/>
                </a:lnTo>
                <a:close/>
              </a:path>
            </a:pathLst>
          </a:custGeom>
          <a:solidFill>
            <a:schemeClr val="accent1">
              <a:lumMod val="60000"/>
              <a:lumOff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0F0F0"/>
              </a:solidFill>
              <a:effectLst/>
              <a:uLnTx/>
              <a:uFillTx/>
              <a:latin typeface="Inter"/>
              <a:cs typeface="+mn-cs"/>
            </a:endParaRPr>
          </a:p>
        </p:txBody>
      </p:sp>
      <p:sp>
        <p:nvSpPr>
          <p:cNvPr id="202" name="Freeform 25">
            <a:extLst>
              <a:ext uri="{FF2B5EF4-FFF2-40B4-BE49-F238E27FC236}">
                <a16:creationId xmlns:a16="http://schemas.microsoft.com/office/drawing/2014/main" id="{AEB6FAA4-AFFD-44D8-999E-42EF93718C43}"/>
              </a:ext>
            </a:extLst>
          </p:cNvPr>
          <p:cNvSpPr>
            <a:spLocks/>
          </p:cNvSpPr>
          <p:nvPr/>
        </p:nvSpPr>
        <p:spPr bwMode="auto">
          <a:xfrm>
            <a:off x="4578655" y="3519204"/>
            <a:ext cx="972637" cy="566481"/>
          </a:xfrm>
          <a:custGeom>
            <a:avLst/>
            <a:gdLst>
              <a:gd name="T0" fmla="*/ 0 w 637"/>
              <a:gd name="T1" fmla="*/ 183 h 371"/>
              <a:gd name="T2" fmla="*/ 318 w 637"/>
              <a:gd name="T3" fmla="*/ 0 h 371"/>
              <a:gd name="T4" fmla="*/ 637 w 637"/>
              <a:gd name="T5" fmla="*/ 188 h 371"/>
              <a:gd name="T6" fmla="*/ 326 w 637"/>
              <a:gd name="T7" fmla="*/ 371 h 371"/>
              <a:gd name="T8" fmla="*/ 0 w 637"/>
              <a:gd name="T9" fmla="*/ 183 h 371"/>
            </a:gdLst>
            <a:ahLst/>
            <a:cxnLst>
              <a:cxn ang="0">
                <a:pos x="T0" y="T1"/>
              </a:cxn>
              <a:cxn ang="0">
                <a:pos x="T2" y="T3"/>
              </a:cxn>
              <a:cxn ang="0">
                <a:pos x="T4" y="T5"/>
              </a:cxn>
              <a:cxn ang="0">
                <a:pos x="T6" y="T7"/>
              </a:cxn>
              <a:cxn ang="0">
                <a:pos x="T8" y="T9"/>
              </a:cxn>
            </a:cxnLst>
            <a:rect l="0" t="0" r="r" b="b"/>
            <a:pathLst>
              <a:path w="637" h="371">
                <a:moveTo>
                  <a:pt x="0" y="183"/>
                </a:moveTo>
                <a:lnTo>
                  <a:pt x="318" y="0"/>
                </a:lnTo>
                <a:lnTo>
                  <a:pt x="637" y="188"/>
                </a:lnTo>
                <a:lnTo>
                  <a:pt x="326" y="371"/>
                </a:lnTo>
                <a:lnTo>
                  <a:pt x="0" y="183"/>
                </a:lnTo>
                <a:close/>
              </a:path>
            </a:pathLst>
          </a:custGeom>
          <a:solidFill>
            <a:schemeClr val="accent1">
              <a:lumMod val="60000"/>
              <a:lumOff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0F0F0"/>
              </a:solidFill>
              <a:effectLst/>
              <a:uLnTx/>
              <a:uFillTx/>
              <a:latin typeface="Inter"/>
              <a:cs typeface="+mn-cs"/>
            </a:endParaRPr>
          </a:p>
        </p:txBody>
      </p:sp>
      <p:sp>
        <p:nvSpPr>
          <p:cNvPr id="203" name="Freeform 26">
            <a:extLst>
              <a:ext uri="{FF2B5EF4-FFF2-40B4-BE49-F238E27FC236}">
                <a16:creationId xmlns:a16="http://schemas.microsoft.com/office/drawing/2014/main" id="{2424B353-5CD8-4242-938C-15088696D8F1}"/>
              </a:ext>
            </a:extLst>
          </p:cNvPr>
          <p:cNvSpPr>
            <a:spLocks/>
          </p:cNvSpPr>
          <p:nvPr/>
        </p:nvSpPr>
        <p:spPr bwMode="auto">
          <a:xfrm>
            <a:off x="5095420" y="4103335"/>
            <a:ext cx="494716" cy="867280"/>
          </a:xfrm>
          <a:custGeom>
            <a:avLst/>
            <a:gdLst>
              <a:gd name="T0" fmla="*/ 324 w 324"/>
              <a:gd name="T1" fmla="*/ 568 h 568"/>
              <a:gd name="T2" fmla="*/ 0 w 324"/>
              <a:gd name="T3" fmla="*/ 380 h 568"/>
              <a:gd name="T4" fmla="*/ 0 w 324"/>
              <a:gd name="T5" fmla="*/ 0 h 568"/>
              <a:gd name="T6" fmla="*/ 324 w 324"/>
              <a:gd name="T7" fmla="*/ 187 h 568"/>
              <a:gd name="T8" fmla="*/ 324 w 324"/>
              <a:gd name="T9" fmla="*/ 568 h 568"/>
            </a:gdLst>
            <a:ahLst/>
            <a:cxnLst>
              <a:cxn ang="0">
                <a:pos x="T0" y="T1"/>
              </a:cxn>
              <a:cxn ang="0">
                <a:pos x="T2" y="T3"/>
              </a:cxn>
              <a:cxn ang="0">
                <a:pos x="T4" y="T5"/>
              </a:cxn>
              <a:cxn ang="0">
                <a:pos x="T6" y="T7"/>
              </a:cxn>
              <a:cxn ang="0">
                <a:pos x="T8" y="T9"/>
              </a:cxn>
            </a:cxnLst>
            <a:rect l="0" t="0" r="r" b="b"/>
            <a:pathLst>
              <a:path w="324" h="568">
                <a:moveTo>
                  <a:pt x="324" y="568"/>
                </a:moveTo>
                <a:lnTo>
                  <a:pt x="0" y="380"/>
                </a:lnTo>
                <a:lnTo>
                  <a:pt x="0" y="0"/>
                </a:lnTo>
                <a:lnTo>
                  <a:pt x="324" y="187"/>
                </a:lnTo>
                <a:lnTo>
                  <a:pt x="324" y="568"/>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0F0F0"/>
              </a:solidFill>
              <a:effectLst/>
              <a:uLnTx/>
              <a:uFillTx/>
              <a:latin typeface="Inter"/>
              <a:cs typeface="+mn-cs"/>
            </a:endParaRPr>
          </a:p>
        </p:txBody>
      </p:sp>
      <p:sp>
        <p:nvSpPr>
          <p:cNvPr id="204" name="Freeform 27">
            <a:extLst>
              <a:ext uri="{FF2B5EF4-FFF2-40B4-BE49-F238E27FC236}">
                <a16:creationId xmlns:a16="http://schemas.microsoft.com/office/drawing/2014/main" id="{CD8A9952-1A58-4B75-AC07-743CF8A46537}"/>
              </a:ext>
            </a:extLst>
          </p:cNvPr>
          <p:cNvSpPr>
            <a:spLocks/>
          </p:cNvSpPr>
          <p:nvPr/>
        </p:nvSpPr>
        <p:spPr bwMode="auto">
          <a:xfrm>
            <a:off x="5590136" y="4109443"/>
            <a:ext cx="479447" cy="861172"/>
          </a:xfrm>
          <a:custGeom>
            <a:avLst/>
            <a:gdLst>
              <a:gd name="T0" fmla="*/ 0 w 314"/>
              <a:gd name="T1" fmla="*/ 564 h 564"/>
              <a:gd name="T2" fmla="*/ 314 w 314"/>
              <a:gd name="T3" fmla="*/ 381 h 564"/>
              <a:gd name="T4" fmla="*/ 314 w 314"/>
              <a:gd name="T5" fmla="*/ 0 h 564"/>
              <a:gd name="T6" fmla="*/ 0 w 314"/>
              <a:gd name="T7" fmla="*/ 183 h 564"/>
              <a:gd name="T8" fmla="*/ 0 w 314"/>
              <a:gd name="T9" fmla="*/ 564 h 564"/>
            </a:gdLst>
            <a:ahLst/>
            <a:cxnLst>
              <a:cxn ang="0">
                <a:pos x="T0" y="T1"/>
              </a:cxn>
              <a:cxn ang="0">
                <a:pos x="T2" y="T3"/>
              </a:cxn>
              <a:cxn ang="0">
                <a:pos x="T4" y="T5"/>
              </a:cxn>
              <a:cxn ang="0">
                <a:pos x="T6" y="T7"/>
              </a:cxn>
              <a:cxn ang="0">
                <a:pos x="T8" y="T9"/>
              </a:cxn>
            </a:cxnLst>
            <a:rect l="0" t="0" r="r" b="b"/>
            <a:pathLst>
              <a:path w="314" h="564">
                <a:moveTo>
                  <a:pt x="0" y="564"/>
                </a:moveTo>
                <a:lnTo>
                  <a:pt x="314" y="381"/>
                </a:lnTo>
                <a:lnTo>
                  <a:pt x="314" y="0"/>
                </a:lnTo>
                <a:lnTo>
                  <a:pt x="0" y="183"/>
                </a:lnTo>
                <a:lnTo>
                  <a:pt x="0" y="564"/>
                </a:ln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0F0F0"/>
              </a:solidFill>
              <a:effectLst/>
              <a:uLnTx/>
              <a:uFillTx/>
              <a:latin typeface="Inter"/>
              <a:cs typeface="+mn-cs"/>
            </a:endParaRPr>
          </a:p>
        </p:txBody>
      </p:sp>
      <p:sp>
        <p:nvSpPr>
          <p:cNvPr id="205" name="Freeform 28">
            <a:extLst>
              <a:ext uri="{FF2B5EF4-FFF2-40B4-BE49-F238E27FC236}">
                <a16:creationId xmlns:a16="http://schemas.microsoft.com/office/drawing/2014/main" id="{34C8A836-6B14-4159-B611-6620D0B24EEC}"/>
              </a:ext>
            </a:extLst>
          </p:cNvPr>
          <p:cNvSpPr>
            <a:spLocks/>
          </p:cNvSpPr>
          <p:nvPr/>
        </p:nvSpPr>
        <p:spPr bwMode="auto">
          <a:xfrm>
            <a:off x="5095420" y="3822385"/>
            <a:ext cx="974163" cy="566481"/>
          </a:xfrm>
          <a:custGeom>
            <a:avLst/>
            <a:gdLst>
              <a:gd name="T0" fmla="*/ 0 w 638"/>
              <a:gd name="T1" fmla="*/ 184 h 371"/>
              <a:gd name="T2" fmla="*/ 319 w 638"/>
              <a:gd name="T3" fmla="*/ 0 h 371"/>
              <a:gd name="T4" fmla="*/ 638 w 638"/>
              <a:gd name="T5" fmla="*/ 188 h 371"/>
              <a:gd name="T6" fmla="*/ 324 w 638"/>
              <a:gd name="T7" fmla="*/ 371 h 371"/>
              <a:gd name="T8" fmla="*/ 0 w 638"/>
              <a:gd name="T9" fmla="*/ 184 h 371"/>
            </a:gdLst>
            <a:ahLst/>
            <a:cxnLst>
              <a:cxn ang="0">
                <a:pos x="T0" y="T1"/>
              </a:cxn>
              <a:cxn ang="0">
                <a:pos x="T2" y="T3"/>
              </a:cxn>
              <a:cxn ang="0">
                <a:pos x="T4" y="T5"/>
              </a:cxn>
              <a:cxn ang="0">
                <a:pos x="T6" y="T7"/>
              </a:cxn>
              <a:cxn ang="0">
                <a:pos x="T8" y="T9"/>
              </a:cxn>
            </a:cxnLst>
            <a:rect l="0" t="0" r="r" b="b"/>
            <a:pathLst>
              <a:path w="638" h="371">
                <a:moveTo>
                  <a:pt x="0" y="184"/>
                </a:moveTo>
                <a:lnTo>
                  <a:pt x="319" y="0"/>
                </a:lnTo>
                <a:lnTo>
                  <a:pt x="638" y="188"/>
                </a:lnTo>
                <a:lnTo>
                  <a:pt x="324" y="371"/>
                </a:lnTo>
                <a:lnTo>
                  <a:pt x="0" y="184"/>
                </a:ln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0F0F0"/>
              </a:solidFill>
              <a:effectLst/>
              <a:uLnTx/>
              <a:uFillTx/>
              <a:latin typeface="Inter"/>
              <a:cs typeface="+mn-cs"/>
            </a:endParaRPr>
          </a:p>
        </p:txBody>
      </p:sp>
      <p:sp>
        <p:nvSpPr>
          <p:cNvPr id="206" name="Freeform 29">
            <a:extLst>
              <a:ext uri="{FF2B5EF4-FFF2-40B4-BE49-F238E27FC236}">
                <a16:creationId xmlns:a16="http://schemas.microsoft.com/office/drawing/2014/main" id="{97FBD6B0-B82A-4762-BD3B-A55165AAEAF1}"/>
              </a:ext>
            </a:extLst>
          </p:cNvPr>
          <p:cNvSpPr>
            <a:spLocks/>
          </p:cNvSpPr>
          <p:nvPr/>
        </p:nvSpPr>
        <p:spPr bwMode="auto">
          <a:xfrm>
            <a:off x="5613894" y="4404807"/>
            <a:ext cx="487082" cy="867280"/>
          </a:xfrm>
          <a:custGeom>
            <a:avLst/>
            <a:gdLst>
              <a:gd name="T0" fmla="*/ 319 w 319"/>
              <a:gd name="T1" fmla="*/ 568 h 568"/>
              <a:gd name="T2" fmla="*/ 0 w 319"/>
              <a:gd name="T3" fmla="*/ 381 h 568"/>
              <a:gd name="T4" fmla="*/ 0 w 319"/>
              <a:gd name="T5" fmla="*/ 0 h 568"/>
              <a:gd name="T6" fmla="*/ 319 w 319"/>
              <a:gd name="T7" fmla="*/ 188 h 568"/>
              <a:gd name="T8" fmla="*/ 319 w 319"/>
              <a:gd name="T9" fmla="*/ 568 h 568"/>
            </a:gdLst>
            <a:ahLst/>
            <a:cxnLst>
              <a:cxn ang="0">
                <a:pos x="T0" y="T1"/>
              </a:cxn>
              <a:cxn ang="0">
                <a:pos x="T2" y="T3"/>
              </a:cxn>
              <a:cxn ang="0">
                <a:pos x="T4" y="T5"/>
              </a:cxn>
              <a:cxn ang="0">
                <a:pos x="T6" y="T7"/>
              </a:cxn>
              <a:cxn ang="0">
                <a:pos x="T8" y="T9"/>
              </a:cxn>
            </a:cxnLst>
            <a:rect l="0" t="0" r="r" b="b"/>
            <a:pathLst>
              <a:path w="319" h="568">
                <a:moveTo>
                  <a:pt x="319" y="568"/>
                </a:moveTo>
                <a:lnTo>
                  <a:pt x="0" y="381"/>
                </a:lnTo>
                <a:lnTo>
                  <a:pt x="0" y="0"/>
                </a:lnTo>
                <a:lnTo>
                  <a:pt x="319" y="188"/>
                </a:lnTo>
                <a:lnTo>
                  <a:pt x="319" y="568"/>
                </a:lnTo>
                <a:close/>
              </a:path>
            </a:pathLst>
          </a:custGeom>
          <a:gradFill>
            <a:gsLst>
              <a:gs pos="0">
                <a:schemeClr val="accent1">
                  <a:lumMod val="14000"/>
                  <a:lumOff val="86000"/>
                </a:schemeClr>
              </a:gs>
              <a:gs pos="100000">
                <a:schemeClr val="accent1">
                  <a:lumMod val="29000"/>
                  <a:lumOff val="71000"/>
                </a:schemeClr>
              </a:gs>
            </a:gsLst>
            <a:lin ang="5400000" scaled="1"/>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0F0F0"/>
              </a:solidFill>
              <a:effectLst/>
              <a:uLnTx/>
              <a:uFillTx/>
              <a:latin typeface="Inter"/>
              <a:cs typeface="+mn-cs"/>
            </a:endParaRPr>
          </a:p>
        </p:txBody>
      </p:sp>
      <p:sp>
        <p:nvSpPr>
          <p:cNvPr id="207" name="Freeform 30">
            <a:extLst>
              <a:ext uri="{FF2B5EF4-FFF2-40B4-BE49-F238E27FC236}">
                <a16:creationId xmlns:a16="http://schemas.microsoft.com/office/drawing/2014/main" id="{352737D0-380E-4678-AD8B-458FF517382D}"/>
              </a:ext>
            </a:extLst>
          </p:cNvPr>
          <p:cNvSpPr>
            <a:spLocks/>
          </p:cNvSpPr>
          <p:nvPr/>
        </p:nvSpPr>
        <p:spPr bwMode="auto">
          <a:xfrm>
            <a:off x="6100976" y="4412442"/>
            <a:ext cx="487082" cy="859646"/>
          </a:xfrm>
          <a:custGeom>
            <a:avLst/>
            <a:gdLst>
              <a:gd name="T0" fmla="*/ 0 w 319"/>
              <a:gd name="T1" fmla="*/ 563 h 563"/>
              <a:gd name="T2" fmla="*/ 319 w 319"/>
              <a:gd name="T3" fmla="*/ 380 h 563"/>
              <a:gd name="T4" fmla="*/ 319 w 319"/>
              <a:gd name="T5" fmla="*/ 0 h 563"/>
              <a:gd name="T6" fmla="*/ 0 w 319"/>
              <a:gd name="T7" fmla="*/ 183 h 563"/>
              <a:gd name="T8" fmla="*/ 0 w 319"/>
              <a:gd name="T9" fmla="*/ 563 h 563"/>
            </a:gdLst>
            <a:ahLst/>
            <a:cxnLst>
              <a:cxn ang="0">
                <a:pos x="T0" y="T1"/>
              </a:cxn>
              <a:cxn ang="0">
                <a:pos x="T2" y="T3"/>
              </a:cxn>
              <a:cxn ang="0">
                <a:pos x="T4" y="T5"/>
              </a:cxn>
              <a:cxn ang="0">
                <a:pos x="T6" y="T7"/>
              </a:cxn>
              <a:cxn ang="0">
                <a:pos x="T8" y="T9"/>
              </a:cxn>
            </a:cxnLst>
            <a:rect l="0" t="0" r="r" b="b"/>
            <a:pathLst>
              <a:path w="319" h="563">
                <a:moveTo>
                  <a:pt x="0" y="563"/>
                </a:moveTo>
                <a:lnTo>
                  <a:pt x="319" y="380"/>
                </a:lnTo>
                <a:lnTo>
                  <a:pt x="319" y="0"/>
                </a:lnTo>
                <a:lnTo>
                  <a:pt x="0" y="183"/>
                </a:lnTo>
                <a:lnTo>
                  <a:pt x="0" y="563"/>
                </a:lnTo>
                <a:close/>
              </a:path>
            </a:pathLst>
          </a:custGeom>
          <a:gradFill flip="none" rotWithShape="1">
            <a:gsLst>
              <a:gs pos="0">
                <a:schemeClr val="accent1">
                  <a:lumMod val="60000"/>
                  <a:lumOff val="40000"/>
                </a:schemeClr>
              </a:gs>
              <a:gs pos="100000">
                <a:schemeClr val="accent1"/>
              </a:gs>
            </a:gsLst>
            <a:lin ang="270000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0F0F0"/>
              </a:solidFill>
              <a:effectLst/>
              <a:uLnTx/>
              <a:uFillTx/>
              <a:latin typeface="Inter"/>
              <a:cs typeface="+mn-cs"/>
            </a:endParaRPr>
          </a:p>
        </p:txBody>
      </p:sp>
      <p:sp>
        <p:nvSpPr>
          <p:cNvPr id="208" name="Freeform 31">
            <a:extLst>
              <a:ext uri="{FF2B5EF4-FFF2-40B4-BE49-F238E27FC236}">
                <a16:creationId xmlns:a16="http://schemas.microsoft.com/office/drawing/2014/main" id="{DE28910F-20F1-4277-AF65-E9953FC07CB5}"/>
              </a:ext>
            </a:extLst>
          </p:cNvPr>
          <p:cNvSpPr>
            <a:spLocks/>
          </p:cNvSpPr>
          <p:nvPr/>
        </p:nvSpPr>
        <p:spPr bwMode="auto">
          <a:xfrm>
            <a:off x="5613894" y="4125385"/>
            <a:ext cx="974163" cy="566481"/>
          </a:xfrm>
          <a:custGeom>
            <a:avLst/>
            <a:gdLst>
              <a:gd name="T0" fmla="*/ 0 w 638"/>
              <a:gd name="T1" fmla="*/ 186 h 371"/>
              <a:gd name="T2" fmla="*/ 319 w 638"/>
              <a:gd name="T3" fmla="*/ 0 h 371"/>
              <a:gd name="T4" fmla="*/ 638 w 638"/>
              <a:gd name="T5" fmla="*/ 188 h 371"/>
              <a:gd name="T6" fmla="*/ 319 w 638"/>
              <a:gd name="T7" fmla="*/ 371 h 371"/>
              <a:gd name="T8" fmla="*/ 0 w 638"/>
              <a:gd name="T9" fmla="*/ 186 h 371"/>
            </a:gdLst>
            <a:ahLst/>
            <a:cxnLst>
              <a:cxn ang="0">
                <a:pos x="T0" y="T1"/>
              </a:cxn>
              <a:cxn ang="0">
                <a:pos x="T2" y="T3"/>
              </a:cxn>
              <a:cxn ang="0">
                <a:pos x="T4" y="T5"/>
              </a:cxn>
              <a:cxn ang="0">
                <a:pos x="T6" y="T7"/>
              </a:cxn>
              <a:cxn ang="0">
                <a:pos x="T8" y="T9"/>
              </a:cxn>
            </a:cxnLst>
            <a:rect l="0" t="0" r="r" b="b"/>
            <a:pathLst>
              <a:path w="638" h="371">
                <a:moveTo>
                  <a:pt x="0" y="186"/>
                </a:moveTo>
                <a:lnTo>
                  <a:pt x="319" y="0"/>
                </a:lnTo>
                <a:lnTo>
                  <a:pt x="638" y="188"/>
                </a:lnTo>
                <a:lnTo>
                  <a:pt x="319" y="371"/>
                </a:lnTo>
                <a:lnTo>
                  <a:pt x="0" y="186"/>
                </a:lnTo>
                <a:close/>
              </a:path>
            </a:pathLst>
          </a:custGeom>
          <a:solidFill>
            <a:schemeClr val="accent1">
              <a:lumMod val="60000"/>
              <a:lumOff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0F0F0"/>
              </a:solidFill>
              <a:effectLst/>
              <a:uLnTx/>
              <a:uFillTx/>
              <a:latin typeface="Inter"/>
              <a:cs typeface="+mn-cs"/>
            </a:endParaRPr>
          </a:p>
        </p:txBody>
      </p:sp>
      <p:sp>
        <p:nvSpPr>
          <p:cNvPr id="209" name="Freeform 32">
            <a:extLst>
              <a:ext uri="{FF2B5EF4-FFF2-40B4-BE49-F238E27FC236}">
                <a16:creationId xmlns:a16="http://schemas.microsoft.com/office/drawing/2014/main" id="{374FAF7B-878D-49C9-98BA-7157525304B0}"/>
              </a:ext>
            </a:extLst>
          </p:cNvPr>
          <p:cNvSpPr>
            <a:spLocks/>
          </p:cNvSpPr>
          <p:nvPr/>
        </p:nvSpPr>
        <p:spPr bwMode="auto">
          <a:xfrm>
            <a:off x="7128580" y="3202954"/>
            <a:ext cx="497770" cy="867280"/>
          </a:xfrm>
          <a:custGeom>
            <a:avLst/>
            <a:gdLst>
              <a:gd name="T0" fmla="*/ 0 w 326"/>
              <a:gd name="T1" fmla="*/ 568 h 568"/>
              <a:gd name="T2" fmla="*/ 326 w 326"/>
              <a:gd name="T3" fmla="*/ 380 h 568"/>
              <a:gd name="T4" fmla="*/ 326 w 326"/>
              <a:gd name="T5" fmla="*/ 0 h 568"/>
              <a:gd name="T6" fmla="*/ 0 w 326"/>
              <a:gd name="T7" fmla="*/ 187 h 568"/>
              <a:gd name="T8" fmla="*/ 0 w 326"/>
              <a:gd name="T9" fmla="*/ 568 h 568"/>
            </a:gdLst>
            <a:ahLst/>
            <a:cxnLst>
              <a:cxn ang="0">
                <a:pos x="T0" y="T1"/>
              </a:cxn>
              <a:cxn ang="0">
                <a:pos x="T2" y="T3"/>
              </a:cxn>
              <a:cxn ang="0">
                <a:pos x="T4" y="T5"/>
              </a:cxn>
              <a:cxn ang="0">
                <a:pos x="T6" y="T7"/>
              </a:cxn>
              <a:cxn ang="0">
                <a:pos x="T8" y="T9"/>
              </a:cxn>
            </a:cxnLst>
            <a:rect l="0" t="0" r="r" b="b"/>
            <a:pathLst>
              <a:path w="326" h="568">
                <a:moveTo>
                  <a:pt x="0" y="568"/>
                </a:moveTo>
                <a:lnTo>
                  <a:pt x="326" y="380"/>
                </a:lnTo>
                <a:lnTo>
                  <a:pt x="326" y="0"/>
                </a:lnTo>
                <a:lnTo>
                  <a:pt x="0" y="187"/>
                </a:lnTo>
                <a:lnTo>
                  <a:pt x="0" y="568"/>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0F0F0"/>
              </a:solidFill>
              <a:effectLst/>
              <a:uLnTx/>
              <a:uFillTx/>
              <a:latin typeface="Inter"/>
              <a:cs typeface="+mn-cs"/>
            </a:endParaRPr>
          </a:p>
        </p:txBody>
      </p:sp>
      <p:sp>
        <p:nvSpPr>
          <p:cNvPr id="210" name="Freeform 33">
            <a:extLst>
              <a:ext uri="{FF2B5EF4-FFF2-40B4-BE49-F238E27FC236}">
                <a16:creationId xmlns:a16="http://schemas.microsoft.com/office/drawing/2014/main" id="{EFC1EC90-951A-4B07-B0EE-458F7D702541}"/>
              </a:ext>
            </a:extLst>
          </p:cNvPr>
          <p:cNvSpPr>
            <a:spLocks/>
          </p:cNvSpPr>
          <p:nvPr/>
        </p:nvSpPr>
        <p:spPr bwMode="auto">
          <a:xfrm>
            <a:off x="6649133" y="3209061"/>
            <a:ext cx="479447" cy="861172"/>
          </a:xfrm>
          <a:custGeom>
            <a:avLst/>
            <a:gdLst>
              <a:gd name="T0" fmla="*/ 314 w 314"/>
              <a:gd name="T1" fmla="*/ 564 h 564"/>
              <a:gd name="T2" fmla="*/ 0 w 314"/>
              <a:gd name="T3" fmla="*/ 381 h 564"/>
              <a:gd name="T4" fmla="*/ 0 w 314"/>
              <a:gd name="T5" fmla="*/ 0 h 564"/>
              <a:gd name="T6" fmla="*/ 314 w 314"/>
              <a:gd name="T7" fmla="*/ 183 h 564"/>
              <a:gd name="T8" fmla="*/ 314 w 314"/>
              <a:gd name="T9" fmla="*/ 564 h 564"/>
            </a:gdLst>
            <a:ahLst/>
            <a:cxnLst>
              <a:cxn ang="0">
                <a:pos x="T0" y="T1"/>
              </a:cxn>
              <a:cxn ang="0">
                <a:pos x="T2" y="T3"/>
              </a:cxn>
              <a:cxn ang="0">
                <a:pos x="T4" y="T5"/>
              </a:cxn>
              <a:cxn ang="0">
                <a:pos x="T6" y="T7"/>
              </a:cxn>
              <a:cxn ang="0">
                <a:pos x="T8" y="T9"/>
              </a:cxn>
            </a:cxnLst>
            <a:rect l="0" t="0" r="r" b="b"/>
            <a:pathLst>
              <a:path w="314" h="564">
                <a:moveTo>
                  <a:pt x="314" y="564"/>
                </a:moveTo>
                <a:lnTo>
                  <a:pt x="0" y="381"/>
                </a:lnTo>
                <a:lnTo>
                  <a:pt x="0" y="0"/>
                </a:lnTo>
                <a:lnTo>
                  <a:pt x="314" y="183"/>
                </a:lnTo>
                <a:lnTo>
                  <a:pt x="314" y="564"/>
                </a:ln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0F0F0"/>
              </a:solidFill>
              <a:effectLst/>
              <a:uLnTx/>
              <a:uFillTx/>
              <a:latin typeface="Inter"/>
              <a:cs typeface="+mn-cs"/>
            </a:endParaRPr>
          </a:p>
        </p:txBody>
      </p:sp>
      <p:sp>
        <p:nvSpPr>
          <p:cNvPr id="211" name="Freeform 34">
            <a:extLst>
              <a:ext uri="{FF2B5EF4-FFF2-40B4-BE49-F238E27FC236}">
                <a16:creationId xmlns:a16="http://schemas.microsoft.com/office/drawing/2014/main" id="{2CB8ADC4-02AA-47CA-896F-4EF957CBA6F3}"/>
              </a:ext>
            </a:extLst>
          </p:cNvPr>
          <p:cNvSpPr>
            <a:spLocks/>
          </p:cNvSpPr>
          <p:nvPr/>
        </p:nvSpPr>
        <p:spPr bwMode="auto">
          <a:xfrm>
            <a:off x="6649133" y="2928294"/>
            <a:ext cx="974163" cy="564953"/>
          </a:xfrm>
          <a:custGeom>
            <a:avLst/>
            <a:gdLst>
              <a:gd name="T0" fmla="*/ 638 w 638"/>
              <a:gd name="T1" fmla="*/ 185 h 370"/>
              <a:gd name="T2" fmla="*/ 319 w 638"/>
              <a:gd name="T3" fmla="*/ 0 h 370"/>
              <a:gd name="T4" fmla="*/ 0 w 638"/>
              <a:gd name="T5" fmla="*/ 187 h 370"/>
              <a:gd name="T6" fmla="*/ 314 w 638"/>
              <a:gd name="T7" fmla="*/ 370 h 370"/>
              <a:gd name="T8" fmla="*/ 638 w 638"/>
              <a:gd name="T9" fmla="*/ 185 h 370"/>
            </a:gdLst>
            <a:ahLst/>
            <a:cxnLst>
              <a:cxn ang="0">
                <a:pos x="T0" y="T1"/>
              </a:cxn>
              <a:cxn ang="0">
                <a:pos x="T2" y="T3"/>
              </a:cxn>
              <a:cxn ang="0">
                <a:pos x="T4" y="T5"/>
              </a:cxn>
              <a:cxn ang="0">
                <a:pos x="T6" y="T7"/>
              </a:cxn>
              <a:cxn ang="0">
                <a:pos x="T8" y="T9"/>
              </a:cxn>
            </a:cxnLst>
            <a:rect l="0" t="0" r="r" b="b"/>
            <a:pathLst>
              <a:path w="638" h="370">
                <a:moveTo>
                  <a:pt x="638" y="185"/>
                </a:moveTo>
                <a:lnTo>
                  <a:pt x="319" y="0"/>
                </a:lnTo>
                <a:lnTo>
                  <a:pt x="0" y="187"/>
                </a:lnTo>
                <a:lnTo>
                  <a:pt x="314" y="370"/>
                </a:lnTo>
                <a:lnTo>
                  <a:pt x="638" y="185"/>
                </a:ln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0F0F0"/>
              </a:solidFill>
              <a:effectLst/>
              <a:uLnTx/>
              <a:uFillTx/>
              <a:latin typeface="Inter"/>
              <a:cs typeface="+mn-cs"/>
            </a:endParaRPr>
          </a:p>
        </p:txBody>
      </p:sp>
      <p:sp>
        <p:nvSpPr>
          <p:cNvPr id="212" name="Freeform 35">
            <a:extLst>
              <a:ext uri="{FF2B5EF4-FFF2-40B4-BE49-F238E27FC236}">
                <a16:creationId xmlns:a16="http://schemas.microsoft.com/office/drawing/2014/main" id="{5FE8B83A-C3CF-47A2-9986-930728C5AC05}"/>
              </a:ext>
            </a:extLst>
          </p:cNvPr>
          <p:cNvSpPr>
            <a:spLocks/>
          </p:cNvSpPr>
          <p:nvPr/>
        </p:nvSpPr>
        <p:spPr bwMode="auto">
          <a:xfrm>
            <a:off x="6609434" y="3511570"/>
            <a:ext cx="497770" cy="864226"/>
          </a:xfrm>
          <a:custGeom>
            <a:avLst/>
            <a:gdLst>
              <a:gd name="T0" fmla="*/ 0 w 326"/>
              <a:gd name="T1" fmla="*/ 566 h 566"/>
              <a:gd name="T2" fmla="*/ 326 w 326"/>
              <a:gd name="T3" fmla="*/ 378 h 566"/>
              <a:gd name="T4" fmla="*/ 326 w 326"/>
              <a:gd name="T5" fmla="*/ 0 h 566"/>
              <a:gd name="T6" fmla="*/ 0 w 326"/>
              <a:gd name="T7" fmla="*/ 188 h 566"/>
              <a:gd name="T8" fmla="*/ 0 w 326"/>
              <a:gd name="T9" fmla="*/ 566 h 566"/>
            </a:gdLst>
            <a:ahLst/>
            <a:cxnLst>
              <a:cxn ang="0">
                <a:pos x="T0" y="T1"/>
              </a:cxn>
              <a:cxn ang="0">
                <a:pos x="T2" y="T3"/>
              </a:cxn>
              <a:cxn ang="0">
                <a:pos x="T4" y="T5"/>
              </a:cxn>
              <a:cxn ang="0">
                <a:pos x="T6" y="T7"/>
              </a:cxn>
              <a:cxn ang="0">
                <a:pos x="T8" y="T9"/>
              </a:cxn>
            </a:cxnLst>
            <a:rect l="0" t="0" r="r" b="b"/>
            <a:pathLst>
              <a:path w="326" h="566">
                <a:moveTo>
                  <a:pt x="0" y="566"/>
                </a:moveTo>
                <a:lnTo>
                  <a:pt x="326" y="378"/>
                </a:lnTo>
                <a:lnTo>
                  <a:pt x="326" y="0"/>
                </a:lnTo>
                <a:lnTo>
                  <a:pt x="0" y="188"/>
                </a:lnTo>
                <a:lnTo>
                  <a:pt x="0" y="566"/>
                </a:lnTo>
                <a:close/>
              </a:path>
            </a:pathLst>
          </a:custGeom>
          <a:gradFill flip="none" rotWithShape="1">
            <a:gsLst>
              <a:gs pos="0">
                <a:schemeClr val="accent1">
                  <a:lumMod val="60000"/>
                  <a:lumOff val="40000"/>
                </a:schemeClr>
              </a:gs>
              <a:gs pos="100000">
                <a:schemeClr val="accent1"/>
              </a:gs>
            </a:gsLst>
            <a:lin ang="270000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0F0F0"/>
              </a:solidFill>
              <a:effectLst/>
              <a:uLnTx/>
              <a:uFillTx/>
              <a:latin typeface="Inter"/>
              <a:cs typeface="+mn-cs"/>
            </a:endParaRPr>
          </a:p>
        </p:txBody>
      </p:sp>
      <p:sp>
        <p:nvSpPr>
          <p:cNvPr id="213" name="Freeform 36">
            <a:extLst>
              <a:ext uri="{FF2B5EF4-FFF2-40B4-BE49-F238E27FC236}">
                <a16:creationId xmlns:a16="http://schemas.microsoft.com/office/drawing/2014/main" id="{2C95FC3A-206F-4FF7-9DCF-B2DAA0717563}"/>
              </a:ext>
            </a:extLst>
          </p:cNvPr>
          <p:cNvSpPr>
            <a:spLocks/>
          </p:cNvSpPr>
          <p:nvPr/>
        </p:nvSpPr>
        <p:spPr bwMode="auto">
          <a:xfrm>
            <a:off x="6129987" y="3519204"/>
            <a:ext cx="479447" cy="856592"/>
          </a:xfrm>
          <a:custGeom>
            <a:avLst/>
            <a:gdLst>
              <a:gd name="T0" fmla="*/ 314 w 314"/>
              <a:gd name="T1" fmla="*/ 561 h 561"/>
              <a:gd name="T2" fmla="*/ 0 w 314"/>
              <a:gd name="T3" fmla="*/ 378 h 561"/>
              <a:gd name="T4" fmla="*/ 0 w 314"/>
              <a:gd name="T5" fmla="*/ 0 h 561"/>
              <a:gd name="T6" fmla="*/ 314 w 314"/>
              <a:gd name="T7" fmla="*/ 183 h 561"/>
              <a:gd name="T8" fmla="*/ 314 w 314"/>
              <a:gd name="T9" fmla="*/ 561 h 561"/>
            </a:gdLst>
            <a:ahLst/>
            <a:cxnLst>
              <a:cxn ang="0">
                <a:pos x="T0" y="T1"/>
              </a:cxn>
              <a:cxn ang="0">
                <a:pos x="T2" y="T3"/>
              </a:cxn>
              <a:cxn ang="0">
                <a:pos x="T4" y="T5"/>
              </a:cxn>
              <a:cxn ang="0">
                <a:pos x="T6" y="T7"/>
              </a:cxn>
              <a:cxn ang="0">
                <a:pos x="T8" y="T9"/>
              </a:cxn>
            </a:cxnLst>
            <a:rect l="0" t="0" r="r" b="b"/>
            <a:pathLst>
              <a:path w="314" h="561">
                <a:moveTo>
                  <a:pt x="314" y="561"/>
                </a:moveTo>
                <a:lnTo>
                  <a:pt x="0" y="378"/>
                </a:lnTo>
                <a:lnTo>
                  <a:pt x="0" y="0"/>
                </a:lnTo>
                <a:lnTo>
                  <a:pt x="314" y="183"/>
                </a:lnTo>
                <a:lnTo>
                  <a:pt x="314" y="561"/>
                </a:lnTo>
                <a:close/>
              </a:path>
            </a:pathLst>
          </a:custGeom>
          <a:solidFill>
            <a:schemeClr val="accent1">
              <a:lumMod val="60000"/>
              <a:lumOff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0F0F0"/>
              </a:solidFill>
              <a:effectLst/>
              <a:uLnTx/>
              <a:uFillTx/>
              <a:latin typeface="Inter"/>
              <a:cs typeface="+mn-cs"/>
            </a:endParaRPr>
          </a:p>
        </p:txBody>
      </p:sp>
      <p:sp>
        <p:nvSpPr>
          <p:cNvPr id="214" name="Freeform 37">
            <a:extLst>
              <a:ext uri="{FF2B5EF4-FFF2-40B4-BE49-F238E27FC236}">
                <a16:creationId xmlns:a16="http://schemas.microsoft.com/office/drawing/2014/main" id="{7D64652B-CA10-46ED-9721-72EB9FF48831}"/>
              </a:ext>
            </a:extLst>
          </p:cNvPr>
          <p:cNvSpPr>
            <a:spLocks/>
          </p:cNvSpPr>
          <p:nvPr/>
        </p:nvSpPr>
        <p:spPr bwMode="auto">
          <a:xfrm>
            <a:off x="6129987" y="3236909"/>
            <a:ext cx="974163" cy="566481"/>
          </a:xfrm>
          <a:custGeom>
            <a:avLst/>
            <a:gdLst>
              <a:gd name="T0" fmla="*/ 638 w 638"/>
              <a:gd name="T1" fmla="*/ 183 h 371"/>
              <a:gd name="T2" fmla="*/ 321 w 638"/>
              <a:gd name="T3" fmla="*/ 0 h 371"/>
              <a:gd name="T4" fmla="*/ 0 w 638"/>
              <a:gd name="T5" fmla="*/ 188 h 371"/>
              <a:gd name="T6" fmla="*/ 314 w 638"/>
              <a:gd name="T7" fmla="*/ 371 h 371"/>
              <a:gd name="T8" fmla="*/ 638 w 638"/>
              <a:gd name="T9" fmla="*/ 183 h 371"/>
            </a:gdLst>
            <a:ahLst/>
            <a:cxnLst>
              <a:cxn ang="0">
                <a:pos x="T0" y="T1"/>
              </a:cxn>
              <a:cxn ang="0">
                <a:pos x="T2" y="T3"/>
              </a:cxn>
              <a:cxn ang="0">
                <a:pos x="T4" y="T5"/>
              </a:cxn>
              <a:cxn ang="0">
                <a:pos x="T6" y="T7"/>
              </a:cxn>
              <a:cxn ang="0">
                <a:pos x="T8" y="T9"/>
              </a:cxn>
            </a:cxnLst>
            <a:rect l="0" t="0" r="r" b="b"/>
            <a:pathLst>
              <a:path w="638" h="371">
                <a:moveTo>
                  <a:pt x="638" y="183"/>
                </a:moveTo>
                <a:lnTo>
                  <a:pt x="321" y="0"/>
                </a:lnTo>
                <a:lnTo>
                  <a:pt x="0" y="188"/>
                </a:lnTo>
                <a:lnTo>
                  <a:pt x="314" y="371"/>
                </a:lnTo>
                <a:lnTo>
                  <a:pt x="638" y="183"/>
                </a:lnTo>
                <a:close/>
              </a:path>
            </a:pathLst>
          </a:custGeom>
          <a:solidFill>
            <a:schemeClr val="accent1">
              <a:lumMod val="60000"/>
              <a:lumOff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0F0F0"/>
              </a:solidFill>
              <a:effectLst/>
              <a:uLnTx/>
              <a:uFillTx/>
              <a:latin typeface="Inter"/>
              <a:cs typeface="+mn-cs"/>
            </a:endParaRPr>
          </a:p>
        </p:txBody>
      </p:sp>
      <p:sp>
        <p:nvSpPr>
          <p:cNvPr id="215" name="Freeform 38">
            <a:extLst>
              <a:ext uri="{FF2B5EF4-FFF2-40B4-BE49-F238E27FC236}">
                <a16:creationId xmlns:a16="http://schemas.microsoft.com/office/drawing/2014/main" id="{9F75AC57-B20C-46A2-BEF1-1096B1BE5F87}"/>
              </a:ext>
            </a:extLst>
          </p:cNvPr>
          <p:cNvSpPr>
            <a:spLocks/>
          </p:cNvSpPr>
          <p:nvPr/>
        </p:nvSpPr>
        <p:spPr bwMode="auto">
          <a:xfrm>
            <a:off x="4578655" y="3198495"/>
            <a:ext cx="497770" cy="867280"/>
          </a:xfrm>
          <a:custGeom>
            <a:avLst/>
            <a:gdLst>
              <a:gd name="T0" fmla="*/ 326 w 326"/>
              <a:gd name="T1" fmla="*/ 568 h 568"/>
              <a:gd name="T2" fmla="*/ 0 w 326"/>
              <a:gd name="T3" fmla="*/ 380 h 568"/>
              <a:gd name="T4" fmla="*/ 0 w 326"/>
              <a:gd name="T5" fmla="*/ 0 h 568"/>
              <a:gd name="T6" fmla="*/ 326 w 326"/>
              <a:gd name="T7" fmla="*/ 188 h 568"/>
              <a:gd name="T8" fmla="*/ 326 w 326"/>
              <a:gd name="T9" fmla="*/ 568 h 568"/>
            </a:gdLst>
            <a:ahLst/>
            <a:cxnLst>
              <a:cxn ang="0">
                <a:pos x="T0" y="T1"/>
              </a:cxn>
              <a:cxn ang="0">
                <a:pos x="T2" y="T3"/>
              </a:cxn>
              <a:cxn ang="0">
                <a:pos x="T4" y="T5"/>
              </a:cxn>
              <a:cxn ang="0">
                <a:pos x="T6" y="T7"/>
              </a:cxn>
              <a:cxn ang="0">
                <a:pos x="T8" y="T9"/>
              </a:cxn>
            </a:cxnLst>
            <a:rect l="0" t="0" r="r" b="b"/>
            <a:pathLst>
              <a:path w="326" h="568">
                <a:moveTo>
                  <a:pt x="326" y="568"/>
                </a:moveTo>
                <a:lnTo>
                  <a:pt x="0" y="380"/>
                </a:lnTo>
                <a:lnTo>
                  <a:pt x="0" y="0"/>
                </a:lnTo>
                <a:lnTo>
                  <a:pt x="326" y="188"/>
                </a:lnTo>
                <a:lnTo>
                  <a:pt x="326" y="568"/>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0F0F0"/>
              </a:solidFill>
              <a:effectLst/>
              <a:uLnTx/>
              <a:uFillTx/>
              <a:latin typeface="Inter"/>
              <a:cs typeface="+mn-cs"/>
            </a:endParaRPr>
          </a:p>
        </p:txBody>
      </p:sp>
      <p:sp>
        <p:nvSpPr>
          <p:cNvPr id="216" name="Freeform 39">
            <a:extLst>
              <a:ext uri="{FF2B5EF4-FFF2-40B4-BE49-F238E27FC236}">
                <a16:creationId xmlns:a16="http://schemas.microsoft.com/office/drawing/2014/main" id="{524D2BA8-2B82-420E-82A1-B7D58B4075CE}"/>
              </a:ext>
            </a:extLst>
          </p:cNvPr>
          <p:cNvSpPr>
            <a:spLocks/>
          </p:cNvSpPr>
          <p:nvPr/>
        </p:nvSpPr>
        <p:spPr bwMode="auto">
          <a:xfrm>
            <a:off x="5076425" y="3207717"/>
            <a:ext cx="474867" cy="859646"/>
          </a:xfrm>
          <a:custGeom>
            <a:avLst/>
            <a:gdLst>
              <a:gd name="T0" fmla="*/ 0 w 311"/>
              <a:gd name="T1" fmla="*/ 563 h 563"/>
              <a:gd name="T2" fmla="*/ 311 w 311"/>
              <a:gd name="T3" fmla="*/ 380 h 563"/>
              <a:gd name="T4" fmla="*/ 311 w 311"/>
              <a:gd name="T5" fmla="*/ 0 h 563"/>
              <a:gd name="T6" fmla="*/ 0 w 311"/>
              <a:gd name="T7" fmla="*/ 183 h 563"/>
              <a:gd name="T8" fmla="*/ 0 w 311"/>
              <a:gd name="T9" fmla="*/ 563 h 563"/>
            </a:gdLst>
            <a:ahLst/>
            <a:cxnLst>
              <a:cxn ang="0">
                <a:pos x="T0" y="T1"/>
              </a:cxn>
              <a:cxn ang="0">
                <a:pos x="T2" y="T3"/>
              </a:cxn>
              <a:cxn ang="0">
                <a:pos x="T4" y="T5"/>
              </a:cxn>
              <a:cxn ang="0">
                <a:pos x="T6" y="T7"/>
              </a:cxn>
              <a:cxn ang="0">
                <a:pos x="T8" y="T9"/>
              </a:cxn>
            </a:cxnLst>
            <a:rect l="0" t="0" r="r" b="b"/>
            <a:pathLst>
              <a:path w="311" h="563">
                <a:moveTo>
                  <a:pt x="0" y="563"/>
                </a:moveTo>
                <a:lnTo>
                  <a:pt x="311" y="380"/>
                </a:lnTo>
                <a:lnTo>
                  <a:pt x="311" y="0"/>
                </a:lnTo>
                <a:lnTo>
                  <a:pt x="0" y="183"/>
                </a:lnTo>
                <a:lnTo>
                  <a:pt x="0" y="563"/>
                </a:ln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0F0F0"/>
              </a:solidFill>
              <a:effectLst/>
              <a:uLnTx/>
              <a:uFillTx/>
              <a:latin typeface="Inter"/>
              <a:cs typeface="+mn-cs"/>
            </a:endParaRPr>
          </a:p>
        </p:txBody>
      </p:sp>
      <p:sp>
        <p:nvSpPr>
          <p:cNvPr id="217" name="Freeform 40">
            <a:extLst>
              <a:ext uri="{FF2B5EF4-FFF2-40B4-BE49-F238E27FC236}">
                <a16:creationId xmlns:a16="http://schemas.microsoft.com/office/drawing/2014/main" id="{BA0B5A6A-43C9-4B41-8A82-D1A7B707E198}"/>
              </a:ext>
            </a:extLst>
          </p:cNvPr>
          <p:cNvSpPr>
            <a:spLocks/>
          </p:cNvSpPr>
          <p:nvPr/>
        </p:nvSpPr>
        <p:spPr bwMode="auto">
          <a:xfrm>
            <a:off x="4578655" y="2925421"/>
            <a:ext cx="972637" cy="566481"/>
          </a:xfrm>
          <a:custGeom>
            <a:avLst/>
            <a:gdLst>
              <a:gd name="T0" fmla="*/ 0 w 637"/>
              <a:gd name="T1" fmla="*/ 183 h 371"/>
              <a:gd name="T2" fmla="*/ 318 w 637"/>
              <a:gd name="T3" fmla="*/ 0 h 371"/>
              <a:gd name="T4" fmla="*/ 637 w 637"/>
              <a:gd name="T5" fmla="*/ 188 h 371"/>
              <a:gd name="T6" fmla="*/ 326 w 637"/>
              <a:gd name="T7" fmla="*/ 371 h 371"/>
              <a:gd name="T8" fmla="*/ 0 w 637"/>
              <a:gd name="T9" fmla="*/ 183 h 371"/>
            </a:gdLst>
            <a:ahLst/>
            <a:cxnLst>
              <a:cxn ang="0">
                <a:pos x="T0" y="T1"/>
              </a:cxn>
              <a:cxn ang="0">
                <a:pos x="T2" y="T3"/>
              </a:cxn>
              <a:cxn ang="0">
                <a:pos x="T4" y="T5"/>
              </a:cxn>
              <a:cxn ang="0">
                <a:pos x="T6" y="T7"/>
              </a:cxn>
              <a:cxn ang="0">
                <a:pos x="T8" y="T9"/>
              </a:cxn>
            </a:cxnLst>
            <a:rect l="0" t="0" r="r" b="b"/>
            <a:pathLst>
              <a:path w="637" h="371">
                <a:moveTo>
                  <a:pt x="0" y="183"/>
                </a:moveTo>
                <a:lnTo>
                  <a:pt x="318" y="0"/>
                </a:lnTo>
                <a:lnTo>
                  <a:pt x="637" y="188"/>
                </a:lnTo>
                <a:lnTo>
                  <a:pt x="326" y="371"/>
                </a:lnTo>
                <a:lnTo>
                  <a:pt x="0" y="183"/>
                </a:ln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0F0F0"/>
              </a:solidFill>
              <a:effectLst/>
              <a:uLnTx/>
              <a:uFillTx/>
              <a:latin typeface="Inter"/>
              <a:cs typeface="+mn-cs"/>
            </a:endParaRPr>
          </a:p>
        </p:txBody>
      </p:sp>
      <p:sp>
        <p:nvSpPr>
          <p:cNvPr id="218" name="Freeform 41">
            <a:extLst>
              <a:ext uri="{FF2B5EF4-FFF2-40B4-BE49-F238E27FC236}">
                <a16:creationId xmlns:a16="http://schemas.microsoft.com/office/drawing/2014/main" id="{9EC804FD-4D2D-4492-A4AB-29C26947273C}"/>
              </a:ext>
            </a:extLst>
          </p:cNvPr>
          <p:cNvSpPr>
            <a:spLocks/>
          </p:cNvSpPr>
          <p:nvPr/>
        </p:nvSpPr>
        <p:spPr bwMode="auto">
          <a:xfrm>
            <a:off x="5097801" y="3505463"/>
            <a:ext cx="494716" cy="862700"/>
          </a:xfrm>
          <a:custGeom>
            <a:avLst/>
            <a:gdLst>
              <a:gd name="T0" fmla="*/ 324 w 324"/>
              <a:gd name="T1" fmla="*/ 565 h 565"/>
              <a:gd name="T2" fmla="*/ 0 w 324"/>
              <a:gd name="T3" fmla="*/ 378 h 565"/>
              <a:gd name="T4" fmla="*/ 0 w 324"/>
              <a:gd name="T5" fmla="*/ 0 h 565"/>
              <a:gd name="T6" fmla="*/ 324 w 324"/>
              <a:gd name="T7" fmla="*/ 187 h 565"/>
              <a:gd name="T8" fmla="*/ 324 w 324"/>
              <a:gd name="T9" fmla="*/ 565 h 565"/>
            </a:gdLst>
            <a:ahLst/>
            <a:cxnLst>
              <a:cxn ang="0">
                <a:pos x="T0" y="T1"/>
              </a:cxn>
              <a:cxn ang="0">
                <a:pos x="T2" y="T3"/>
              </a:cxn>
              <a:cxn ang="0">
                <a:pos x="T4" y="T5"/>
              </a:cxn>
              <a:cxn ang="0">
                <a:pos x="T6" y="T7"/>
              </a:cxn>
              <a:cxn ang="0">
                <a:pos x="T8" y="T9"/>
              </a:cxn>
            </a:cxnLst>
            <a:rect l="0" t="0" r="r" b="b"/>
            <a:pathLst>
              <a:path w="324" h="565">
                <a:moveTo>
                  <a:pt x="324" y="565"/>
                </a:moveTo>
                <a:lnTo>
                  <a:pt x="0" y="378"/>
                </a:lnTo>
                <a:lnTo>
                  <a:pt x="0" y="0"/>
                </a:lnTo>
                <a:lnTo>
                  <a:pt x="324" y="187"/>
                </a:lnTo>
                <a:lnTo>
                  <a:pt x="324" y="565"/>
                </a:lnTo>
                <a:close/>
              </a:path>
            </a:pathLst>
          </a:custGeom>
          <a:gradFill>
            <a:gsLst>
              <a:gs pos="0">
                <a:schemeClr val="accent1">
                  <a:lumMod val="14000"/>
                  <a:lumOff val="86000"/>
                </a:schemeClr>
              </a:gs>
              <a:gs pos="100000">
                <a:schemeClr val="accent1">
                  <a:lumMod val="29000"/>
                  <a:lumOff val="71000"/>
                </a:schemeClr>
              </a:gs>
            </a:gsLst>
            <a:lin ang="5400000" scaled="1"/>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0F0F0"/>
              </a:solidFill>
              <a:effectLst/>
              <a:uLnTx/>
              <a:uFillTx/>
              <a:latin typeface="Inter"/>
              <a:cs typeface="+mn-cs"/>
            </a:endParaRPr>
          </a:p>
        </p:txBody>
      </p:sp>
      <p:sp>
        <p:nvSpPr>
          <p:cNvPr id="219" name="Freeform 42">
            <a:extLst>
              <a:ext uri="{FF2B5EF4-FFF2-40B4-BE49-F238E27FC236}">
                <a16:creationId xmlns:a16="http://schemas.microsoft.com/office/drawing/2014/main" id="{175B15D5-BB72-4969-95A4-0A8EB4BD184D}"/>
              </a:ext>
            </a:extLst>
          </p:cNvPr>
          <p:cNvSpPr>
            <a:spLocks/>
          </p:cNvSpPr>
          <p:nvPr/>
        </p:nvSpPr>
        <p:spPr bwMode="auto">
          <a:xfrm>
            <a:off x="5592517" y="3511570"/>
            <a:ext cx="479447" cy="856592"/>
          </a:xfrm>
          <a:custGeom>
            <a:avLst/>
            <a:gdLst>
              <a:gd name="T0" fmla="*/ 0 w 314"/>
              <a:gd name="T1" fmla="*/ 561 h 561"/>
              <a:gd name="T2" fmla="*/ 314 w 314"/>
              <a:gd name="T3" fmla="*/ 378 h 561"/>
              <a:gd name="T4" fmla="*/ 314 w 314"/>
              <a:gd name="T5" fmla="*/ 0 h 561"/>
              <a:gd name="T6" fmla="*/ 0 w 314"/>
              <a:gd name="T7" fmla="*/ 183 h 561"/>
              <a:gd name="T8" fmla="*/ 0 w 314"/>
              <a:gd name="T9" fmla="*/ 561 h 561"/>
            </a:gdLst>
            <a:ahLst/>
            <a:cxnLst>
              <a:cxn ang="0">
                <a:pos x="T0" y="T1"/>
              </a:cxn>
              <a:cxn ang="0">
                <a:pos x="T2" y="T3"/>
              </a:cxn>
              <a:cxn ang="0">
                <a:pos x="T4" y="T5"/>
              </a:cxn>
              <a:cxn ang="0">
                <a:pos x="T6" y="T7"/>
              </a:cxn>
              <a:cxn ang="0">
                <a:pos x="T8" y="T9"/>
              </a:cxn>
            </a:cxnLst>
            <a:rect l="0" t="0" r="r" b="b"/>
            <a:pathLst>
              <a:path w="314" h="561">
                <a:moveTo>
                  <a:pt x="0" y="561"/>
                </a:moveTo>
                <a:lnTo>
                  <a:pt x="314" y="378"/>
                </a:lnTo>
                <a:lnTo>
                  <a:pt x="314" y="0"/>
                </a:lnTo>
                <a:lnTo>
                  <a:pt x="0" y="183"/>
                </a:lnTo>
                <a:lnTo>
                  <a:pt x="0" y="561"/>
                </a:lnTo>
                <a:close/>
              </a:path>
            </a:pathLst>
          </a:custGeom>
          <a:solidFill>
            <a:schemeClr val="accent1">
              <a:lumMod val="60000"/>
              <a:lumOff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0F0F0"/>
              </a:solidFill>
              <a:effectLst/>
              <a:uLnTx/>
              <a:uFillTx/>
              <a:latin typeface="Inter"/>
              <a:cs typeface="+mn-cs"/>
            </a:endParaRPr>
          </a:p>
        </p:txBody>
      </p:sp>
      <p:sp>
        <p:nvSpPr>
          <p:cNvPr id="220" name="Freeform 43">
            <a:extLst>
              <a:ext uri="{FF2B5EF4-FFF2-40B4-BE49-F238E27FC236}">
                <a16:creationId xmlns:a16="http://schemas.microsoft.com/office/drawing/2014/main" id="{E9A3082F-7588-4ADA-BAF4-E3BE312299E7}"/>
              </a:ext>
            </a:extLst>
          </p:cNvPr>
          <p:cNvSpPr>
            <a:spLocks/>
          </p:cNvSpPr>
          <p:nvPr/>
        </p:nvSpPr>
        <p:spPr bwMode="auto">
          <a:xfrm>
            <a:off x="5097801" y="3226039"/>
            <a:ext cx="974163" cy="564953"/>
          </a:xfrm>
          <a:custGeom>
            <a:avLst/>
            <a:gdLst>
              <a:gd name="T0" fmla="*/ 0 w 638"/>
              <a:gd name="T1" fmla="*/ 183 h 370"/>
              <a:gd name="T2" fmla="*/ 319 w 638"/>
              <a:gd name="T3" fmla="*/ 0 h 370"/>
              <a:gd name="T4" fmla="*/ 638 w 638"/>
              <a:gd name="T5" fmla="*/ 187 h 370"/>
              <a:gd name="T6" fmla="*/ 324 w 638"/>
              <a:gd name="T7" fmla="*/ 370 h 370"/>
              <a:gd name="T8" fmla="*/ 0 w 638"/>
              <a:gd name="T9" fmla="*/ 183 h 370"/>
            </a:gdLst>
            <a:ahLst/>
            <a:cxnLst>
              <a:cxn ang="0">
                <a:pos x="T0" y="T1"/>
              </a:cxn>
              <a:cxn ang="0">
                <a:pos x="T2" y="T3"/>
              </a:cxn>
              <a:cxn ang="0">
                <a:pos x="T4" y="T5"/>
              </a:cxn>
              <a:cxn ang="0">
                <a:pos x="T6" y="T7"/>
              </a:cxn>
              <a:cxn ang="0">
                <a:pos x="T8" y="T9"/>
              </a:cxn>
            </a:cxnLst>
            <a:rect l="0" t="0" r="r" b="b"/>
            <a:pathLst>
              <a:path w="638" h="370">
                <a:moveTo>
                  <a:pt x="0" y="183"/>
                </a:moveTo>
                <a:lnTo>
                  <a:pt x="319" y="0"/>
                </a:lnTo>
                <a:lnTo>
                  <a:pt x="638" y="187"/>
                </a:lnTo>
                <a:lnTo>
                  <a:pt x="324" y="370"/>
                </a:lnTo>
                <a:lnTo>
                  <a:pt x="0" y="183"/>
                </a:lnTo>
                <a:close/>
              </a:path>
            </a:pathLst>
          </a:custGeom>
          <a:solidFill>
            <a:schemeClr val="accent1">
              <a:lumMod val="60000"/>
              <a:lumOff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0F0F0"/>
              </a:solidFill>
              <a:effectLst/>
              <a:uLnTx/>
              <a:uFillTx/>
              <a:latin typeface="Inter"/>
              <a:cs typeface="+mn-cs"/>
            </a:endParaRPr>
          </a:p>
        </p:txBody>
      </p:sp>
      <p:sp>
        <p:nvSpPr>
          <p:cNvPr id="221" name="Freeform 44">
            <a:extLst>
              <a:ext uri="{FF2B5EF4-FFF2-40B4-BE49-F238E27FC236}">
                <a16:creationId xmlns:a16="http://schemas.microsoft.com/office/drawing/2014/main" id="{D6F7E9A1-C323-4D24-9421-615BFF08137A}"/>
              </a:ext>
            </a:extLst>
          </p:cNvPr>
          <p:cNvSpPr>
            <a:spLocks/>
          </p:cNvSpPr>
          <p:nvPr/>
        </p:nvSpPr>
        <p:spPr bwMode="auto">
          <a:xfrm>
            <a:off x="5613894" y="3809316"/>
            <a:ext cx="487082" cy="864226"/>
          </a:xfrm>
          <a:custGeom>
            <a:avLst/>
            <a:gdLst>
              <a:gd name="T0" fmla="*/ 319 w 319"/>
              <a:gd name="T1" fmla="*/ 566 h 566"/>
              <a:gd name="T2" fmla="*/ 0 w 319"/>
              <a:gd name="T3" fmla="*/ 378 h 566"/>
              <a:gd name="T4" fmla="*/ 0 w 319"/>
              <a:gd name="T5" fmla="*/ 0 h 566"/>
              <a:gd name="T6" fmla="*/ 319 w 319"/>
              <a:gd name="T7" fmla="*/ 188 h 566"/>
              <a:gd name="T8" fmla="*/ 319 w 319"/>
              <a:gd name="T9" fmla="*/ 566 h 566"/>
            </a:gdLst>
            <a:ahLst/>
            <a:cxnLst>
              <a:cxn ang="0">
                <a:pos x="T0" y="T1"/>
              </a:cxn>
              <a:cxn ang="0">
                <a:pos x="T2" y="T3"/>
              </a:cxn>
              <a:cxn ang="0">
                <a:pos x="T4" y="T5"/>
              </a:cxn>
              <a:cxn ang="0">
                <a:pos x="T6" y="T7"/>
              </a:cxn>
              <a:cxn ang="0">
                <a:pos x="T8" y="T9"/>
              </a:cxn>
            </a:cxnLst>
            <a:rect l="0" t="0" r="r" b="b"/>
            <a:pathLst>
              <a:path w="319" h="566">
                <a:moveTo>
                  <a:pt x="319" y="566"/>
                </a:moveTo>
                <a:lnTo>
                  <a:pt x="0" y="378"/>
                </a:lnTo>
                <a:lnTo>
                  <a:pt x="0" y="0"/>
                </a:lnTo>
                <a:lnTo>
                  <a:pt x="319" y="188"/>
                </a:lnTo>
                <a:lnTo>
                  <a:pt x="319" y="566"/>
                </a:lnTo>
                <a:close/>
              </a:path>
            </a:pathLst>
          </a:custGeom>
          <a:gradFill>
            <a:gsLst>
              <a:gs pos="0">
                <a:schemeClr val="accent1">
                  <a:lumMod val="14000"/>
                  <a:lumOff val="86000"/>
                </a:schemeClr>
              </a:gs>
              <a:gs pos="100000">
                <a:schemeClr val="accent1">
                  <a:lumMod val="29000"/>
                  <a:lumOff val="71000"/>
                </a:schemeClr>
              </a:gs>
            </a:gsLst>
            <a:lin ang="5400000" scaled="1"/>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0F0F0"/>
              </a:solidFill>
              <a:effectLst/>
              <a:uLnTx/>
              <a:uFillTx/>
              <a:latin typeface="Inter"/>
              <a:cs typeface="+mn-cs"/>
            </a:endParaRPr>
          </a:p>
        </p:txBody>
      </p:sp>
      <p:sp>
        <p:nvSpPr>
          <p:cNvPr id="222" name="Freeform 45">
            <a:extLst>
              <a:ext uri="{FF2B5EF4-FFF2-40B4-BE49-F238E27FC236}">
                <a16:creationId xmlns:a16="http://schemas.microsoft.com/office/drawing/2014/main" id="{71224A68-E806-42F3-95DD-7B8C573DA9C0}"/>
              </a:ext>
            </a:extLst>
          </p:cNvPr>
          <p:cNvSpPr>
            <a:spLocks/>
          </p:cNvSpPr>
          <p:nvPr/>
        </p:nvSpPr>
        <p:spPr bwMode="auto">
          <a:xfrm>
            <a:off x="6100976" y="3816951"/>
            <a:ext cx="487082" cy="856592"/>
          </a:xfrm>
          <a:custGeom>
            <a:avLst/>
            <a:gdLst>
              <a:gd name="T0" fmla="*/ 0 w 319"/>
              <a:gd name="T1" fmla="*/ 561 h 561"/>
              <a:gd name="T2" fmla="*/ 319 w 319"/>
              <a:gd name="T3" fmla="*/ 378 h 561"/>
              <a:gd name="T4" fmla="*/ 319 w 319"/>
              <a:gd name="T5" fmla="*/ 0 h 561"/>
              <a:gd name="T6" fmla="*/ 0 w 319"/>
              <a:gd name="T7" fmla="*/ 183 h 561"/>
              <a:gd name="T8" fmla="*/ 0 w 319"/>
              <a:gd name="T9" fmla="*/ 561 h 561"/>
            </a:gdLst>
            <a:ahLst/>
            <a:cxnLst>
              <a:cxn ang="0">
                <a:pos x="T0" y="T1"/>
              </a:cxn>
              <a:cxn ang="0">
                <a:pos x="T2" y="T3"/>
              </a:cxn>
              <a:cxn ang="0">
                <a:pos x="T4" y="T5"/>
              </a:cxn>
              <a:cxn ang="0">
                <a:pos x="T6" y="T7"/>
              </a:cxn>
              <a:cxn ang="0">
                <a:pos x="T8" y="T9"/>
              </a:cxn>
            </a:cxnLst>
            <a:rect l="0" t="0" r="r" b="b"/>
            <a:pathLst>
              <a:path w="319" h="561">
                <a:moveTo>
                  <a:pt x="0" y="561"/>
                </a:moveTo>
                <a:lnTo>
                  <a:pt x="319" y="378"/>
                </a:lnTo>
                <a:lnTo>
                  <a:pt x="319" y="0"/>
                </a:lnTo>
                <a:lnTo>
                  <a:pt x="0" y="183"/>
                </a:lnTo>
                <a:lnTo>
                  <a:pt x="0" y="561"/>
                </a:lnTo>
                <a:close/>
              </a:path>
            </a:pathLst>
          </a:custGeom>
          <a:gradFill flip="none" rotWithShape="1">
            <a:gsLst>
              <a:gs pos="0">
                <a:schemeClr val="accent1">
                  <a:lumMod val="60000"/>
                  <a:lumOff val="40000"/>
                </a:schemeClr>
              </a:gs>
              <a:gs pos="100000">
                <a:schemeClr val="accent1"/>
              </a:gs>
            </a:gsLst>
            <a:lin ang="270000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0F0F0"/>
              </a:solidFill>
              <a:effectLst/>
              <a:uLnTx/>
              <a:uFillTx/>
              <a:latin typeface="Inter"/>
              <a:cs typeface="+mn-cs"/>
            </a:endParaRPr>
          </a:p>
        </p:txBody>
      </p:sp>
      <p:sp>
        <p:nvSpPr>
          <p:cNvPr id="223" name="Freeform 46">
            <a:extLst>
              <a:ext uri="{FF2B5EF4-FFF2-40B4-BE49-F238E27FC236}">
                <a16:creationId xmlns:a16="http://schemas.microsoft.com/office/drawing/2014/main" id="{7DAD8BF2-762B-40A2-B580-E8A539134F65}"/>
              </a:ext>
            </a:extLst>
          </p:cNvPr>
          <p:cNvSpPr>
            <a:spLocks/>
          </p:cNvSpPr>
          <p:nvPr/>
        </p:nvSpPr>
        <p:spPr bwMode="auto">
          <a:xfrm>
            <a:off x="5613894" y="3529893"/>
            <a:ext cx="974163" cy="566481"/>
          </a:xfrm>
          <a:custGeom>
            <a:avLst/>
            <a:gdLst>
              <a:gd name="T0" fmla="*/ 0 w 638"/>
              <a:gd name="T1" fmla="*/ 183 h 371"/>
              <a:gd name="T2" fmla="*/ 319 w 638"/>
              <a:gd name="T3" fmla="*/ 0 h 371"/>
              <a:gd name="T4" fmla="*/ 638 w 638"/>
              <a:gd name="T5" fmla="*/ 188 h 371"/>
              <a:gd name="T6" fmla="*/ 319 w 638"/>
              <a:gd name="T7" fmla="*/ 371 h 371"/>
              <a:gd name="T8" fmla="*/ 0 w 638"/>
              <a:gd name="T9" fmla="*/ 183 h 371"/>
            </a:gdLst>
            <a:ahLst/>
            <a:cxnLst>
              <a:cxn ang="0">
                <a:pos x="T0" y="T1"/>
              </a:cxn>
              <a:cxn ang="0">
                <a:pos x="T2" y="T3"/>
              </a:cxn>
              <a:cxn ang="0">
                <a:pos x="T4" y="T5"/>
              </a:cxn>
              <a:cxn ang="0">
                <a:pos x="T6" y="T7"/>
              </a:cxn>
              <a:cxn ang="0">
                <a:pos x="T8" y="T9"/>
              </a:cxn>
            </a:cxnLst>
            <a:rect l="0" t="0" r="r" b="b"/>
            <a:pathLst>
              <a:path w="638" h="371">
                <a:moveTo>
                  <a:pt x="0" y="183"/>
                </a:moveTo>
                <a:lnTo>
                  <a:pt x="319" y="0"/>
                </a:lnTo>
                <a:lnTo>
                  <a:pt x="638" y="188"/>
                </a:lnTo>
                <a:lnTo>
                  <a:pt x="319" y="371"/>
                </a:lnTo>
                <a:lnTo>
                  <a:pt x="0" y="183"/>
                </a:lnTo>
                <a:close/>
              </a:path>
            </a:pathLst>
          </a:custGeom>
          <a:solidFill>
            <a:schemeClr val="accent1">
              <a:lumMod val="60000"/>
              <a:lumOff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0F0F0"/>
              </a:solidFill>
              <a:effectLst/>
              <a:uLnTx/>
              <a:uFillTx/>
              <a:latin typeface="Inter"/>
              <a:cs typeface="+mn-cs"/>
            </a:endParaRPr>
          </a:p>
        </p:txBody>
      </p:sp>
      <p:sp>
        <p:nvSpPr>
          <p:cNvPr id="224" name="Freeform 47">
            <a:extLst>
              <a:ext uri="{FF2B5EF4-FFF2-40B4-BE49-F238E27FC236}">
                <a16:creationId xmlns:a16="http://schemas.microsoft.com/office/drawing/2014/main" id="{E946ECA2-41C5-44F6-8EDB-537411378556}"/>
              </a:ext>
            </a:extLst>
          </p:cNvPr>
          <p:cNvSpPr>
            <a:spLocks/>
          </p:cNvSpPr>
          <p:nvPr/>
        </p:nvSpPr>
        <p:spPr bwMode="auto">
          <a:xfrm>
            <a:off x="7128580" y="2612225"/>
            <a:ext cx="497770" cy="864226"/>
          </a:xfrm>
          <a:custGeom>
            <a:avLst/>
            <a:gdLst>
              <a:gd name="T0" fmla="*/ 0 w 326"/>
              <a:gd name="T1" fmla="*/ 566 h 566"/>
              <a:gd name="T2" fmla="*/ 326 w 326"/>
              <a:gd name="T3" fmla="*/ 378 h 566"/>
              <a:gd name="T4" fmla="*/ 326 w 326"/>
              <a:gd name="T5" fmla="*/ 0 h 566"/>
              <a:gd name="T6" fmla="*/ 0 w 326"/>
              <a:gd name="T7" fmla="*/ 188 h 566"/>
              <a:gd name="T8" fmla="*/ 0 w 326"/>
              <a:gd name="T9" fmla="*/ 566 h 566"/>
            </a:gdLst>
            <a:ahLst/>
            <a:cxnLst>
              <a:cxn ang="0">
                <a:pos x="T0" y="T1"/>
              </a:cxn>
              <a:cxn ang="0">
                <a:pos x="T2" y="T3"/>
              </a:cxn>
              <a:cxn ang="0">
                <a:pos x="T4" y="T5"/>
              </a:cxn>
              <a:cxn ang="0">
                <a:pos x="T6" y="T7"/>
              </a:cxn>
              <a:cxn ang="0">
                <a:pos x="T8" y="T9"/>
              </a:cxn>
            </a:cxnLst>
            <a:rect l="0" t="0" r="r" b="b"/>
            <a:pathLst>
              <a:path w="326" h="566">
                <a:moveTo>
                  <a:pt x="0" y="566"/>
                </a:moveTo>
                <a:lnTo>
                  <a:pt x="326" y="378"/>
                </a:lnTo>
                <a:lnTo>
                  <a:pt x="326" y="0"/>
                </a:lnTo>
                <a:lnTo>
                  <a:pt x="0" y="188"/>
                </a:lnTo>
                <a:lnTo>
                  <a:pt x="0" y="566"/>
                </a:lnTo>
                <a:close/>
              </a:path>
            </a:pathLst>
          </a:custGeom>
          <a:gradFill flip="none" rotWithShape="1">
            <a:gsLst>
              <a:gs pos="0">
                <a:schemeClr val="accent1">
                  <a:lumMod val="60000"/>
                  <a:lumOff val="40000"/>
                </a:schemeClr>
              </a:gs>
              <a:gs pos="100000">
                <a:schemeClr val="accent1"/>
              </a:gs>
            </a:gsLst>
            <a:lin ang="270000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0F0F0"/>
              </a:solidFill>
              <a:effectLst/>
              <a:uLnTx/>
              <a:uFillTx/>
              <a:latin typeface="Inter"/>
              <a:cs typeface="+mn-cs"/>
            </a:endParaRPr>
          </a:p>
        </p:txBody>
      </p:sp>
      <p:sp>
        <p:nvSpPr>
          <p:cNvPr id="225" name="Freeform 48">
            <a:extLst>
              <a:ext uri="{FF2B5EF4-FFF2-40B4-BE49-F238E27FC236}">
                <a16:creationId xmlns:a16="http://schemas.microsoft.com/office/drawing/2014/main" id="{E0B0FA47-446B-4FD9-88C0-384EA5DE072C}"/>
              </a:ext>
            </a:extLst>
          </p:cNvPr>
          <p:cNvSpPr>
            <a:spLocks/>
          </p:cNvSpPr>
          <p:nvPr/>
        </p:nvSpPr>
        <p:spPr bwMode="auto">
          <a:xfrm>
            <a:off x="6649133" y="2619860"/>
            <a:ext cx="479447" cy="856592"/>
          </a:xfrm>
          <a:custGeom>
            <a:avLst/>
            <a:gdLst>
              <a:gd name="T0" fmla="*/ 314 w 314"/>
              <a:gd name="T1" fmla="*/ 561 h 561"/>
              <a:gd name="T2" fmla="*/ 0 w 314"/>
              <a:gd name="T3" fmla="*/ 378 h 561"/>
              <a:gd name="T4" fmla="*/ 0 w 314"/>
              <a:gd name="T5" fmla="*/ 0 h 561"/>
              <a:gd name="T6" fmla="*/ 314 w 314"/>
              <a:gd name="T7" fmla="*/ 183 h 561"/>
              <a:gd name="T8" fmla="*/ 314 w 314"/>
              <a:gd name="T9" fmla="*/ 561 h 561"/>
            </a:gdLst>
            <a:ahLst/>
            <a:cxnLst>
              <a:cxn ang="0">
                <a:pos x="T0" y="T1"/>
              </a:cxn>
              <a:cxn ang="0">
                <a:pos x="T2" y="T3"/>
              </a:cxn>
              <a:cxn ang="0">
                <a:pos x="T4" y="T5"/>
              </a:cxn>
              <a:cxn ang="0">
                <a:pos x="T6" y="T7"/>
              </a:cxn>
              <a:cxn ang="0">
                <a:pos x="T8" y="T9"/>
              </a:cxn>
            </a:cxnLst>
            <a:rect l="0" t="0" r="r" b="b"/>
            <a:pathLst>
              <a:path w="314" h="561">
                <a:moveTo>
                  <a:pt x="314" y="561"/>
                </a:moveTo>
                <a:lnTo>
                  <a:pt x="0" y="378"/>
                </a:lnTo>
                <a:lnTo>
                  <a:pt x="0" y="0"/>
                </a:lnTo>
                <a:lnTo>
                  <a:pt x="314" y="183"/>
                </a:lnTo>
                <a:lnTo>
                  <a:pt x="314" y="561"/>
                </a:lnTo>
                <a:close/>
              </a:path>
            </a:pathLst>
          </a:custGeom>
          <a:solidFill>
            <a:schemeClr val="accent1">
              <a:lumMod val="60000"/>
              <a:lumOff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0F0F0"/>
              </a:solidFill>
              <a:effectLst/>
              <a:uLnTx/>
              <a:uFillTx/>
              <a:latin typeface="Inter"/>
              <a:cs typeface="+mn-cs"/>
            </a:endParaRPr>
          </a:p>
        </p:txBody>
      </p:sp>
      <p:sp>
        <p:nvSpPr>
          <p:cNvPr id="226" name="Freeform 49">
            <a:extLst>
              <a:ext uri="{FF2B5EF4-FFF2-40B4-BE49-F238E27FC236}">
                <a16:creationId xmlns:a16="http://schemas.microsoft.com/office/drawing/2014/main" id="{180A1025-4CCE-4C6F-8835-1F654D087707}"/>
              </a:ext>
            </a:extLst>
          </p:cNvPr>
          <p:cNvSpPr>
            <a:spLocks/>
          </p:cNvSpPr>
          <p:nvPr/>
        </p:nvSpPr>
        <p:spPr bwMode="auto">
          <a:xfrm>
            <a:off x="6649133" y="2332803"/>
            <a:ext cx="974163" cy="566481"/>
          </a:xfrm>
          <a:custGeom>
            <a:avLst/>
            <a:gdLst>
              <a:gd name="T0" fmla="*/ 638 w 638"/>
              <a:gd name="T1" fmla="*/ 183 h 371"/>
              <a:gd name="T2" fmla="*/ 319 w 638"/>
              <a:gd name="T3" fmla="*/ 0 h 371"/>
              <a:gd name="T4" fmla="*/ 0 w 638"/>
              <a:gd name="T5" fmla="*/ 188 h 371"/>
              <a:gd name="T6" fmla="*/ 314 w 638"/>
              <a:gd name="T7" fmla="*/ 371 h 371"/>
              <a:gd name="T8" fmla="*/ 638 w 638"/>
              <a:gd name="T9" fmla="*/ 183 h 371"/>
            </a:gdLst>
            <a:ahLst/>
            <a:cxnLst>
              <a:cxn ang="0">
                <a:pos x="T0" y="T1"/>
              </a:cxn>
              <a:cxn ang="0">
                <a:pos x="T2" y="T3"/>
              </a:cxn>
              <a:cxn ang="0">
                <a:pos x="T4" y="T5"/>
              </a:cxn>
              <a:cxn ang="0">
                <a:pos x="T6" y="T7"/>
              </a:cxn>
              <a:cxn ang="0">
                <a:pos x="T8" y="T9"/>
              </a:cxn>
            </a:cxnLst>
            <a:rect l="0" t="0" r="r" b="b"/>
            <a:pathLst>
              <a:path w="638" h="371">
                <a:moveTo>
                  <a:pt x="638" y="183"/>
                </a:moveTo>
                <a:lnTo>
                  <a:pt x="319" y="0"/>
                </a:lnTo>
                <a:lnTo>
                  <a:pt x="0" y="188"/>
                </a:lnTo>
                <a:lnTo>
                  <a:pt x="314" y="371"/>
                </a:lnTo>
                <a:lnTo>
                  <a:pt x="638" y="183"/>
                </a:lnTo>
                <a:close/>
              </a:path>
            </a:pathLst>
          </a:custGeom>
          <a:gradFill>
            <a:gsLst>
              <a:gs pos="0">
                <a:schemeClr val="accent1">
                  <a:lumMod val="40000"/>
                  <a:lumOff val="60000"/>
                </a:schemeClr>
              </a:gs>
              <a:gs pos="100000">
                <a:schemeClr val="accent1">
                  <a:lumMod val="60000"/>
                  <a:lumOff val="40000"/>
                </a:schemeClr>
              </a:gs>
            </a:gsLst>
            <a:lin ang="5400000" scaled="1"/>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0F0F0"/>
              </a:solidFill>
              <a:effectLst/>
              <a:uLnTx/>
              <a:uFillTx/>
              <a:latin typeface="Inter"/>
              <a:cs typeface="+mn-cs"/>
            </a:endParaRPr>
          </a:p>
        </p:txBody>
      </p:sp>
      <p:sp>
        <p:nvSpPr>
          <p:cNvPr id="227" name="Freeform 50">
            <a:extLst>
              <a:ext uri="{FF2B5EF4-FFF2-40B4-BE49-F238E27FC236}">
                <a16:creationId xmlns:a16="http://schemas.microsoft.com/office/drawing/2014/main" id="{193E829F-8472-4E1B-B72F-EC00401424F9}"/>
              </a:ext>
            </a:extLst>
          </p:cNvPr>
          <p:cNvSpPr>
            <a:spLocks/>
          </p:cNvSpPr>
          <p:nvPr/>
        </p:nvSpPr>
        <p:spPr bwMode="auto">
          <a:xfrm>
            <a:off x="6609434" y="2913025"/>
            <a:ext cx="497770" cy="867280"/>
          </a:xfrm>
          <a:custGeom>
            <a:avLst/>
            <a:gdLst>
              <a:gd name="T0" fmla="*/ 0 w 326"/>
              <a:gd name="T1" fmla="*/ 568 h 568"/>
              <a:gd name="T2" fmla="*/ 326 w 326"/>
              <a:gd name="T3" fmla="*/ 380 h 568"/>
              <a:gd name="T4" fmla="*/ 326 w 326"/>
              <a:gd name="T5" fmla="*/ 0 h 568"/>
              <a:gd name="T6" fmla="*/ 0 w 326"/>
              <a:gd name="T7" fmla="*/ 188 h 568"/>
              <a:gd name="T8" fmla="*/ 0 w 326"/>
              <a:gd name="T9" fmla="*/ 568 h 568"/>
            </a:gdLst>
            <a:ahLst/>
            <a:cxnLst>
              <a:cxn ang="0">
                <a:pos x="T0" y="T1"/>
              </a:cxn>
              <a:cxn ang="0">
                <a:pos x="T2" y="T3"/>
              </a:cxn>
              <a:cxn ang="0">
                <a:pos x="T4" y="T5"/>
              </a:cxn>
              <a:cxn ang="0">
                <a:pos x="T6" y="T7"/>
              </a:cxn>
              <a:cxn ang="0">
                <a:pos x="T8" y="T9"/>
              </a:cxn>
            </a:cxnLst>
            <a:rect l="0" t="0" r="r" b="b"/>
            <a:pathLst>
              <a:path w="326" h="568">
                <a:moveTo>
                  <a:pt x="0" y="568"/>
                </a:moveTo>
                <a:lnTo>
                  <a:pt x="326" y="380"/>
                </a:lnTo>
                <a:lnTo>
                  <a:pt x="326" y="0"/>
                </a:lnTo>
                <a:lnTo>
                  <a:pt x="0" y="188"/>
                </a:lnTo>
                <a:lnTo>
                  <a:pt x="0" y="568"/>
                </a:lnTo>
                <a:close/>
              </a:path>
            </a:pathLst>
          </a:custGeom>
          <a:gradFill flip="none" rotWithShape="1">
            <a:gsLst>
              <a:gs pos="0">
                <a:schemeClr val="accent1">
                  <a:lumMod val="60000"/>
                  <a:lumOff val="40000"/>
                </a:schemeClr>
              </a:gs>
              <a:gs pos="100000">
                <a:schemeClr val="accent1"/>
              </a:gs>
            </a:gsLst>
            <a:lin ang="270000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0F0F0"/>
              </a:solidFill>
              <a:effectLst/>
              <a:uLnTx/>
              <a:uFillTx/>
              <a:latin typeface="Inter"/>
              <a:cs typeface="+mn-cs"/>
            </a:endParaRPr>
          </a:p>
        </p:txBody>
      </p:sp>
      <p:sp>
        <p:nvSpPr>
          <p:cNvPr id="228" name="Freeform 51">
            <a:extLst>
              <a:ext uri="{FF2B5EF4-FFF2-40B4-BE49-F238E27FC236}">
                <a16:creationId xmlns:a16="http://schemas.microsoft.com/office/drawing/2014/main" id="{1FA60176-4C21-49EF-8736-91C2C7540E78}"/>
              </a:ext>
            </a:extLst>
          </p:cNvPr>
          <p:cNvSpPr>
            <a:spLocks/>
          </p:cNvSpPr>
          <p:nvPr/>
        </p:nvSpPr>
        <p:spPr bwMode="auto">
          <a:xfrm>
            <a:off x="6129987" y="2920659"/>
            <a:ext cx="479447" cy="859646"/>
          </a:xfrm>
          <a:custGeom>
            <a:avLst/>
            <a:gdLst>
              <a:gd name="T0" fmla="*/ 314 w 314"/>
              <a:gd name="T1" fmla="*/ 563 h 563"/>
              <a:gd name="T2" fmla="*/ 0 w 314"/>
              <a:gd name="T3" fmla="*/ 380 h 563"/>
              <a:gd name="T4" fmla="*/ 0 w 314"/>
              <a:gd name="T5" fmla="*/ 0 h 563"/>
              <a:gd name="T6" fmla="*/ 314 w 314"/>
              <a:gd name="T7" fmla="*/ 183 h 563"/>
              <a:gd name="T8" fmla="*/ 314 w 314"/>
              <a:gd name="T9" fmla="*/ 563 h 563"/>
            </a:gdLst>
            <a:ahLst/>
            <a:cxnLst>
              <a:cxn ang="0">
                <a:pos x="T0" y="T1"/>
              </a:cxn>
              <a:cxn ang="0">
                <a:pos x="T2" y="T3"/>
              </a:cxn>
              <a:cxn ang="0">
                <a:pos x="T4" y="T5"/>
              </a:cxn>
              <a:cxn ang="0">
                <a:pos x="T6" y="T7"/>
              </a:cxn>
              <a:cxn ang="0">
                <a:pos x="T8" y="T9"/>
              </a:cxn>
            </a:cxnLst>
            <a:rect l="0" t="0" r="r" b="b"/>
            <a:pathLst>
              <a:path w="314" h="563">
                <a:moveTo>
                  <a:pt x="314" y="563"/>
                </a:moveTo>
                <a:lnTo>
                  <a:pt x="0" y="380"/>
                </a:lnTo>
                <a:lnTo>
                  <a:pt x="0" y="0"/>
                </a:lnTo>
                <a:lnTo>
                  <a:pt x="314" y="183"/>
                </a:lnTo>
                <a:lnTo>
                  <a:pt x="314" y="563"/>
                </a:lnTo>
                <a:close/>
              </a:path>
            </a:pathLst>
          </a:custGeom>
          <a:solidFill>
            <a:schemeClr val="accent1">
              <a:lumMod val="60000"/>
              <a:lumOff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0F0F0"/>
              </a:solidFill>
              <a:effectLst/>
              <a:uLnTx/>
              <a:uFillTx/>
              <a:latin typeface="Inter"/>
              <a:cs typeface="+mn-cs"/>
            </a:endParaRPr>
          </a:p>
        </p:txBody>
      </p:sp>
      <p:sp>
        <p:nvSpPr>
          <p:cNvPr id="229" name="Freeform 52">
            <a:extLst>
              <a:ext uri="{FF2B5EF4-FFF2-40B4-BE49-F238E27FC236}">
                <a16:creationId xmlns:a16="http://schemas.microsoft.com/office/drawing/2014/main" id="{48144E72-56E3-418B-89AA-1F45E626FF19}"/>
              </a:ext>
            </a:extLst>
          </p:cNvPr>
          <p:cNvSpPr>
            <a:spLocks/>
          </p:cNvSpPr>
          <p:nvPr/>
        </p:nvSpPr>
        <p:spPr bwMode="auto">
          <a:xfrm>
            <a:off x="6129987" y="2633602"/>
            <a:ext cx="974163" cy="566481"/>
          </a:xfrm>
          <a:custGeom>
            <a:avLst/>
            <a:gdLst>
              <a:gd name="T0" fmla="*/ 638 w 638"/>
              <a:gd name="T1" fmla="*/ 183 h 371"/>
              <a:gd name="T2" fmla="*/ 321 w 638"/>
              <a:gd name="T3" fmla="*/ 0 h 371"/>
              <a:gd name="T4" fmla="*/ 0 w 638"/>
              <a:gd name="T5" fmla="*/ 188 h 371"/>
              <a:gd name="T6" fmla="*/ 314 w 638"/>
              <a:gd name="T7" fmla="*/ 371 h 371"/>
              <a:gd name="T8" fmla="*/ 638 w 638"/>
              <a:gd name="T9" fmla="*/ 183 h 371"/>
            </a:gdLst>
            <a:ahLst/>
            <a:cxnLst>
              <a:cxn ang="0">
                <a:pos x="T0" y="T1"/>
              </a:cxn>
              <a:cxn ang="0">
                <a:pos x="T2" y="T3"/>
              </a:cxn>
              <a:cxn ang="0">
                <a:pos x="T4" y="T5"/>
              </a:cxn>
              <a:cxn ang="0">
                <a:pos x="T6" y="T7"/>
              </a:cxn>
              <a:cxn ang="0">
                <a:pos x="T8" y="T9"/>
              </a:cxn>
            </a:cxnLst>
            <a:rect l="0" t="0" r="r" b="b"/>
            <a:pathLst>
              <a:path w="638" h="371">
                <a:moveTo>
                  <a:pt x="638" y="183"/>
                </a:moveTo>
                <a:lnTo>
                  <a:pt x="321" y="0"/>
                </a:lnTo>
                <a:lnTo>
                  <a:pt x="0" y="188"/>
                </a:lnTo>
                <a:lnTo>
                  <a:pt x="314" y="371"/>
                </a:lnTo>
                <a:lnTo>
                  <a:pt x="638" y="183"/>
                </a:lnTo>
                <a:close/>
              </a:path>
            </a:pathLst>
          </a:custGeom>
          <a:gradFill>
            <a:gsLst>
              <a:gs pos="0">
                <a:schemeClr val="accent1">
                  <a:lumMod val="40000"/>
                  <a:lumOff val="60000"/>
                </a:schemeClr>
              </a:gs>
              <a:gs pos="100000">
                <a:schemeClr val="accent1">
                  <a:lumMod val="60000"/>
                  <a:lumOff val="40000"/>
                </a:schemeClr>
              </a:gs>
            </a:gsLst>
            <a:lin ang="5400000" scaled="1"/>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0F0F0"/>
              </a:solidFill>
              <a:effectLst/>
              <a:uLnTx/>
              <a:uFillTx/>
              <a:latin typeface="Inter"/>
              <a:cs typeface="+mn-cs"/>
            </a:endParaRPr>
          </a:p>
        </p:txBody>
      </p:sp>
      <p:sp>
        <p:nvSpPr>
          <p:cNvPr id="230" name="Freeform 53">
            <a:extLst>
              <a:ext uri="{FF2B5EF4-FFF2-40B4-BE49-F238E27FC236}">
                <a16:creationId xmlns:a16="http://schemas.microsoft.com/office/drawing/2014/main" id="{2F067279-F4D7-44D0-ACD3-1294C42935CD}"/>
              </a:ext>
            </a:extLst>
          </p:cNvPr>
          <p:cNvSpPr>
            <a:spLocks/>
          </p:cNvSpPr>
          <p:nvPr/>
        </p:nvSpPr>
        <p:spPr bwMode="auto">
          <a:xfrm>
            <a:off x="4578655" y="2604591"/>
            <a:ext cx="497770" cy="864226"/>
          </a:xfrm>
          <a:custGeom>
            <a:avLst/>
            <a:gdLst>
              <a:gd name="T0" fmla="*/ 326 w 326"/>
              <a:gd name="T1" fmla="*/ 566 h 566"/>
              <a:gd name="T2" fmla="*/ 0 w 326"/>
              <a:gd name="T3" fmla="*/ 378 h 566"/>
              <a:gd name="T4" fmla="*/ 0 w 326"/>
              <a:gd name="T5" fmla="*/ 0 h 566"/>
              <a:gd name="T6" fmla="*/ 326 w 326"/>
              <a:gd name="T7" fmla="*/ 188 h 566"/>
              <a:gd name="T8" fmla="*/ 326 w 326"/>
              <a:gd name="T9" fmla="*/ 566 h 566"/>
            </a:gdLst>
            <a:ahLst/>
            <a:cxnLst>
              <a:cxn ang="0">
                <a:pos x="T0" y="T1"/>
              </a:cxn>
              <a:cxn ang="0">
                <a:pos x="T2" y="T3"/>
              </a:cxn>
              <a:cxn ang="0">
                <a:pos x="T4" y="T5"/>
              </a:cxn>
              <a:cxn ang="0">
                <a:pos x="T6" y="T7"/>
              </a:cxn>
              <a:cxn ang="0">
                <a:pos x="T8" y="T9"/>
              </a:cxn>
            </a:cxnLst>
            <a:rect l="0" t="0" r="r" b="b"/>
            <a:pathLst>
              <a:path w="326" h="566">
                <a:moveTo>
                  <a:pt x="326" y="566"/>
                </a:moveTo>
                <a:lnTo>
                  <a:pt x="0" y="378"/>
                </a:lnTo>
                <a:lnTo>
                  <a:pt x="0" y="0"/>
                </a:lnTo>
                <a:lnTo>
                  <a:pt x="326" y="188"/>
                </a:lnTo>
                <a:lnTo>
                  <a:pt x="326" y="566"/>
                </a:lnTo>
                <a:close/>
              </a:path>
            </a:pathLst>
          </a:custGeom>
          <a:gradFill>
            <a:gsLst>
              <a:gs pos="0">
                <a:schemeClr val="accent1">
                  <a:lumMod val="14000"/>
                  <a:lumOff val="86000"/>
                </a:schemeClr>
              </a:gs>
              <a:gs pos="100000">
                <a:schemeClr val="accent1">
                  <a:lumMod val="29000"/>
                  <a:lumOff val="71000"/>
                </a:schemeClr>
              </a:gs>
            </a:gsLst>
            <a:lin ang="5400000" scaled="1"/>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0F0F0"/>
              </a:solidFill>
              <a:effectLst/>
              <a:uLnTx/>
              <a:uFillTx/>
              <a:latin typeface="Inter"/>
              <a:cs typeface="+mn-cs"/>
            </a:endParaRPr>
          </a:p>
        </p:txBody>
      </p:sp>
      <p:sp>
        <p:nvSpPr>
          <p:cNvPr id="231" name="Freeform 54">
            <a:extLst>
              <a:ext uri="{FF2B5EF4-FFF2-40B4-BE49-F238E27FC236}">
                <a16:creationId xmlns:a16="http://schemas.microsoft.com/office/drawing/2014/main" id="{1F051371-8834-40F4-9B3D-9457F2ADD97C}"/>
              </a:ext>
            </a:extLst>
          </p:cNvPr>
          <p:cNvSpPr>
            <a:spLocks/>
          </p:cNvSpPr>
          <p:nvPr/>
        </p:nvSpPr>
        <p:spPr bwMode="auto">
          <a:xfrm>
            <a:off x="5076425" y="2612225"/>
            <a:ext cx="474867" cy="856592"/>
          </a:xfrm>
          <a:custGeom>
            <a:avLst/>
            <a:gdLst>
              <a:gd name="T0" fmla="*/ 0 w 311"/>
              <a:gd name="T1" fmla="*/ 561 h 561"/>
              <a:gd name="T2" fmla="*/ 311 w 311"/>
              <a:gd name="T3" fmla="*/ 378 h 561"/>
              <a:gd name="T4" fmla="*/ 311 w 311"/>
              <a:gd name="T5" fmla="*/ 0 h 561"/>
              <a:gd name="T6" fmla="*/ 0 w 311"/>
              <a:gd name="T7" fmla="*/ 183 h 561"/>
              <a:gd name="T8" fmla="*/ 0 w 311"/>
              <a:gd name="T9" fmla="*/ 561 h 561"/>
            </a:gdLst>
            <a:ahLst/>
            <a:cxnLst>
              <a:cxn ang="0">
                <a:pos x="T0" y="T1"/>
              </a:cxn>
              <a:cxn ang="0">
                <a:pos x="T2" y="T3"/>
              </a:cxn>
              <a:cxn ang="0">
                <a:pos x="T4" y="T5"/>
              </a:cxn>
              <a:cxn ang="0">
                <a:pos x="T6" y="T7"/>
              </a:cxn>
              <a:cxn ang="0">
                <a:pos x="T8" y="T9"/>
              </a:cxn>
            </a:cxnLst>
            <a:rect l="0" t="0" r="r" b="b"/>
            <a:pathLst>
              <a:path w="311" h="561">
                <a:moveTo>
                  <a:pt x="0" y="561"/>
                </a:moveTo>
                <a:lnTo>
                  <a:pt x="311" y="378"/>
                </a:lnTo>
                <a:lnTo>
                  <a:pt x="311" y="0"/>
                </a:lnTo>
                <a:lnTo>
                  <a:pt x="0" y="183"/>
                </a:lnTo>
                <a:lnTo>
                  <a:pt x="0" y="561"/>
                </a:lnTo>
                <a:close/>
              </a:path>
            </a:pathLst>
          </a:custGeom>
          <a:solidFill>
            <a:schemeClr val="accent1">
              <a:lumMod val="60000"/>
              <a:lumOff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0F0F0"/>
              </a:solidFill>
              <a:effectLst/>
              <a:uLnTx/>
              <a:uFillTx/>
              <a:latin typeface="Inter"/>
              <a:cs typeface="+mn-cs"/>
            </a:endParaRPr>
          </a:p>
        </p:txBody>
      </p:sp>
      <p:sp>
        <p:nvSpPr>
          <p:cNvPr id="232" name="Freeform 55">
            <a:extLst>
              <a:ext uri="{FF2B5EF4-FFF2-40B4-BE49-F238E27FC236}">
                <a16:creationId xmlns:a16="http://schemas.microsoft.com/office/drawing/2014/main" id="{97DC2251-EC1C-472D-A95C-EAA8B7524363}"/>
              </a:ext>
            </a:extLst>
          </p:cNvPr>
          <p:cNvSpPr>
            <a:spLocks/>
          </p:cNvSpPr>
          <p:nvPr/>
        </p:nvSpPr>
        <p:spPr bwMode="auto">
          <a:xfrm>
            <a:off x="4578655" y="2325168"/>
            <a:ext cx="972637" cy="566481"/>
          </a:xfrm>
          <a:custGeom>
            <a:avLst/>
            <a:gdLst>
              <a:gd name="T0" fmla="*/ 0 w 637"/>
              <a:gd name="T1" fmla="*/ 183 h 371"/>
              <a:gd name="T2" fmla="*/ 318 w 637"/>
              <a:gd name="T3" fmla="*/ 0 h 371"/>
              <a:gd name="T4" fmla="*/ 637 w 637"/>
              <a:gd name="T5" fmla="*/ 188 h 371"/>
              <a:gd name="T6" fmla="*/ 326 w 637"/>
              <a:gd name="T7" fmla="*/ 371 h 371"/>
              <a:gd name="T8" fmla="*/ 0 w 637"/>
              <a:gd name="T9" fmla="*/ 183 h 371"/>
            </a:gdLst>
            <a:ahLst/>
            <a:cxnLst>
              <a:cxn ang="0">
                <a:pos x="T0" y="T1"/>
              </a:cxn>
              <a:cxn ang="0">
                <a:pos x="T2" y="T3"/>
              </a:cxn>
              <a:cxn ang="0">
                <a:pos x="T4" y="T5"/>
              </a:cxn>
              <a:cxn ang="0">
                <a:pos x="T6" y="T7"/>
              </a:cxn>
              <a:cxn ang="0">
                <a:pos x="T8" y="T9"/>
              </a:cxn>
            </a:cxnLst>
            <a:rect l="0" t="0" r="r" b="b"/>
            <a:pathLst>
              <a:path w="637" h="371">
                <a:moveTo>
                  <a:pt x="0" y="183"/>
                </a:moveTo>
                <a:lnTo>
                  <a:pt x="318" y="0"/>
                </a:lnTo>
                <a:lnTo>
                  <a:pt x="637" y="188"/>
                </a:lnTo>
                <a:lnTo>
                  <a:pt x="326" y="371"/>
                </a:lnTo>
                <a:lnTo>
                  <a:pt x="0" y="183"/>
                </a:lnTo>
                <a:close/>
              </a:path>
            </a:pathLst>
          </a:custGeom>
          <a:gradFill>
            <a:gsLst>
              <a:gs pos="0">
                <a:schemeClr val="accent1">
                  <a:lumMod val="40000"/>
                  <a:lumOff val="60000"/>
                </a:schemeClr>
              </a:gs>
              <a:gs pos="100000">
                <a:schemeClr val="accent1">
                  <a:lumMod val="60000"/>
                  <a:lumOff val="40000"/>
                </a:schemeClr>
              </a:gs>
            </a:gsLst>
            <a:lin ang="5400000" scaled="1"/>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0F0F0"/>
              </a:solidFill>
              <a:effectLst/>
              <a:uLnTx/>
              <a:uFillTx/>
              <a:latin typeface="Inter"/>
              <a:cs typeface="+mn-cs"/>
            </a:endParaRPr>
          </a:p>
        </p:txBody>
      </p:sp>
      <p:sp>
        <p:nvSpPr>
          <p:cNvPr id="233" name="Freeform 56">
            <a:extLst>
              <a:ext uri="{FF2B5EF4-FFF2-40B4-BE49-F238E27FC236}">
                <a16:creationId xmlns:a16="http://schemas.microsoft.com/office/drawing/2014/main" id="{59A28D70-FAED-4A4D-85CD-71C79623C0AF}"/>
              </a:ext>
            </a:extLst>
          </p:cNvPr>
          <p:cNvSpPr>
            <a:spLocks/>
          </p:cNvSpPr>
          <p:nvPr/>
        </p:nvSpPr>
        <p:spPr bwMode="auto">
          <a:xfrm>
            <a:off x="5097801" y="2905390"/>
            <a:ext cx="494716" cy="868807"/>
          </a:xfrm>
          <a:custGeom>
            <a:avLst/>
            <a:gdLst>
              <a:gd name="T0" fmla="*/ 324 w 324"/>
              <a:gd name="T1" fmla="*/ 569 h 569"/>
              <a:gd name="T2" fmla="*/ 0 w 324"/>
              <a:gd name="T3" fmla="*/ 378 h 569"/>
              <a:gd name="T4" fmla="*/ 0 w 324"/>
              <a:gd name="T5" fmla="*/ 0 h 569"/>
              <a:gd name="T6" fmla="*/ 324 w 324"/>
              <a:gd name="T7" fmla="*/ 188 h 569"/>
              <a:gd name="T8" fmla="*/ 324 w 324"/>
              <a:gd name="T9" fmla="*/ 569 h 569"/>
            </a:gdLst>
            <a:ahLst/>
            <a:cxnLst>
              <a:cxn ang="0">
                <a:pos x="T0" y="T1"/>
              </a:cxn>
              <a:cxn ang="0">
                <a:pos x="T2" y="T3"/>
              </a:cxn>
              <a:cxn ang="0">
                <a:pos x="T4" y="T5"/>
              </a:cxn>
              <a:cxn ang="0">
                <a:pos x="T6" y="T7"/>
              </a:cxn>
              <a:cxn ang="0">
                <a:pos x="T8" y="T9"/>
              </a:cxn>
            </a:cxnLst>
            <a:rect l="0" t="0" r="r" b="b"/>
            <a:pathLst>
              <a:path w="324" h="569">
                <a:moveTo>
                  <a:pt x="324" y="569"/>
                </a:moveTo>
                <a:lnTo>
                  <a:pt x="0" y="378"/>
                </a:lnTo>
                <a:lnTo>
                  <a:pt x="0" y="0"/>
                </a:lnTo>
                <a:lnTo>
                  <a:pt x="324" y="188"/>
                </a:lnTo>
                <a:lnTo>
                  <a:pt x="324" y="569"/>
                </a:lnTo>
                <a:close/>
              </a:path>
            </a:pathLst>
          </a:custGeom>
          <a:gradFill>
            <a:gsLst>
              <a:gs pos="0">
                <a:schemeClr val="accent1">
                  <a:lumMod val="14000"/>
                  <a:lumOff val="86000"/>
                </a:schemeClr>
              </a:gs>
              <a:gs pos="100000">
                <a:schemeClr val="accent1">
                  <a:lumMod val="29000"/>
                  <a:lumOff val="71000"/>
                </a:schemeClr>
              </a:gs>
            </a:gsLst>
            <a:lin ang="5400000" scaled="1"/>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0F0F0"/>
              </a:solidFill>
              <a:effectLst/>
              <a:uLnTx/>
              <a:uFillTx/>
              <a:latin typeface="Inter"/>
              <a:cs typeface="+mn-cs"/>
            </a:endParaRPr>
          </a:p>
        </p:txBody>
      </p:sp>
      <p:sp>
        <p:nvSpPr>
          <p:cNvPr id="234" name="Freeform 57">
            <a:extLst>
              <a:ext uri="{FF2B5EF4-FFF2-40B4-BE49-F238E27FC236}">
                <a16:creationId xmlns:a16="http://schemas.microsoft.com/office/drawing/2014/main" id="{3864F943-A8E0-4444-BEAD-F7D21D5D467D}"/>
              </a:ext>
            </a:extLst>
          </p:cNvPr>
          <p:cNvSpPr>
            <a:spLocks/>
          </p:cNvSpPr>
          <p:nvPr/>
        </p:nvSpPr>
        <p:spPr bwMode="auto">
          <a:xfrm>
            <a:off x="5592517" y="2913025"/>
            <a:ext cx="479447" cy="861172"/>
          </a:xfrm>
          <a:custGeom>
            <a:avLst/>
            <a:gdLst>
              <a:gd name="T0" fmla="*/ 0 w 314"/>
              <a:gd name="T1" fmla="*/ 564 h 564"/>
              <a:gd name="T2" fmla="*/ 314 w 314"/>
              <a:gd name="T3" fmla="*/ 380 h 564"/>
              <a:gd name="T4" fmla="*/ 314 w 314"/>
              <a:gd name="T5" fmla="*/ 0 h 564"/>
              <a:gd name="T6" fmla="*/ 0 w 314"/>
              <a:gd name="T7" fmla="*/ 183 h 564"/>
              <a:gd name="T8" fmla="*/ 0 w 314"/>
              <a:gd name="T9" fmla="*/ 564 h 564"/>
            </a:gdLst>
            <a:ahLst/>
            <a:cxnLst>
              <a:cxn ang="0">
                <a:pos x="T0" y="T1"/>
              </a:cxn>
              <a:cxn ang="0">
                <a:pos x="T2" y="T3"/>
              </a:cxn>
              <a:cxn ang="0">
                <a:pos x="T4" y="T5"/>
              </a:cxn>
              <a:cxn ang="0">
                <a:pos x="T6" y="T7"/>
              </a:cxn>
              <a:cxn ang="0">
                <a:pos x="T8" y="T9"/>
              </a:cxn>
            </a:cxnLst>
            <a:rect l="0" t="0" r="r" b="b"/>
            <a:pathLst>
              <a:path w="314" h="564">
                <a:moveTo>
                  <a:pt x="0" y="564"/>
                </a:moveTo>
                <a:lnTo>
                  <a:pt x="314" y="380"/>
                </a:lnTo>
                <a:lnTo>
                  <a:pt x="314" y="0"/>
                </a:lnTo>
                <a:lnTo>
                  <a:pt x="0" y="183"/>
                </a:lnTo>
                <a:lnTo>
                  <a:pt x="0" y="564"/>
                </a:lnTo>
                <a:close/>
              </a:path>
            </a:pathLst>
          </a:custGeom>
          <a:solidFill>
            <a:schemeClr val="accent1">
              <a:lumMod val="60000"/>
              <a:lumOff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0F0F0"/>
              </a:solidFill>
              <a:effectLst/>
              <a:uLnTx/>
              <a:uFillTx/>
              <a:latin typeface="Inter"/>
              <a:cs typeface="+mn-cs"/>
            </a:endParaRPr>
          </a:p>
        </p:txBody>
      </p:sp>
      <p:sp>
        <p:nvSpPr>
          <p:cNvPr id="235" name="Freeform 58">
            <a:extLst>
              <a:ext uri="{FF2B5EF4-FFF2-40B4-BE49-F238E27FC236}">
                <a16:creationId xmlns:a16="http://schemas.microsoft.com/office/drawing/2014/main" id="{75D2BE31-0B9E-4D75-BF3B-061C211E784F}"/>
              </a:ext>
            </a:extLst>
          </p:cNvPr>
          <p:cNvSpPr>
            <a:spLocks/>
          </p:cNvSpPr>
          <p:nvPr/>
        </p:nvSpPr>
        <p:spPr bwMode="auto">
          <a:xfrm>
            <a:off x="5097801" y="2625968"/>
            <a:ext cx="974163" cy="566481"/>
          </a:xfrm>
          <a:custGeom>
            <a:avLst/>
            <a:gdLst>
              <a:gd name="T0" fmla="*/ 0 w 638"/>
              <a:gd name="T1" fmla="*/ 183 h 371"/>
              <a:gd name="T2" fmla="*/ 319 w 638"/>
              <a:gd name="T3" fmla="*/ 0 h 371"/>
              <a:gd name="T4" fmla="*/ 638 w 638"/>
              <a:gd name="T5" fmla="*/ 188 h 371"/>
              <a:gd name="T6" fmla="*/ 324 w 638"/>
              <a:gd name="T7" fmla="*/ 371 h 371"/>
              <a:gd name="T8" fmla="*/ 0 w 638"/>
              <a:gd name="T9" fmla="*/ 183 h 371"/>
            </a:gdLst>
            <a:ahLst/>
            <a:cxnLst>
              <a:cxn ang="0">
                <a:pos x="T0" y="T1"/>
              </a:cxn>
              <a:cxn ang="0">
                <a:pos x="T2" y="T3"/>
              </a:cxn>
              <a:cxn ang="0">
                <a:pos x="T4" y="T5"/>
              </a:cxn>
              <a:cxn ang="0">
                <a:pos x="T6" y="T7"/>
              </a:cxn>
              <a:cxn ang="0">
                <a:pos x="T8" y="T9"/>
              </a:cxn>
            </a:cxnLst>
            <a:rect l="0" t="0" r="r" b="b"/>
            <a:pathLst>
              <a:path w="638" h="371">
                <a:moveTo>
                  <a:pt x="0" y="183"/>
                </a:moveTo>
                <a:lnTo>
                  <a:pt x="319" y="0"/>
                </a:lnTo>
                <a:lnTo>
                  <a:pt x="638" y="188"/>
                </a:lnTo>
                <a:lnTo>
                  <a:pt x="324" y="371"/>
                </a:lnTo>
                <a:lnTo>
                  <a:pt x="0" y="183"/>
                </a:lnTo>
                <a:close/>
              </a:path>
            </a:pathLst>
          </a:custGeom>
          <a:gradFill>
            <a:gsLst>
              <a:gs pos="0">
                <a:schemeClr val="accent1">
                  <a:lumMod val="40000"/>
                  <a:lumOff val="60000"/>
                </a:schemeClr>
              </a:gs>
              <a:gs pos="100000">
                <a:schemeClr val="accent1">
                  <a:lumMod val="60000"/>
                  <a:lumOff val="40000"/>
                </a:schemeClr>
              </a:gs>
            </a:gsLst>
            <a:lin ang="5400000" scaled="1"/>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0F0F0"/>
              </a:solidFill>
              <a:effectLst/>
              <a:uLnTx/>
              <a:uFillTx/>
              <a:latin typeface="Inter"/>
              <a:cs typeface="+mn-cs"/>
            </a:endParaRPr>
          </a:p>
        </p:txBody>
      </p:sp>
      <p:sp>
        <p:nvSpPr>
          <p:cNvPr id="236" name="Freeform 59">
            <a:extLst>
              <a:ext uri="{FF2B5EF4-FFF2-40B4-BE49-F238E27FC236}">
                <a16:creationId xmlns:a16="http://schemas.microsoft.com/office/drawing/2014/main" id="{7803F438-C751-4894-91D9-3C5867C71241}"/>
              </a:ext>
            </a:extLst>
          </p:cNvPr>
          <p:cNvSpPr>
            <a:spLocks/>
          </p:cNvSpPr>
          <p:nvPr/>
        </p:nvSpPr>
        <p:spPr bwMode="auto">
          <a:xfrm>
            <a:off x="5613894" y="3210770"/>
            <a:ext cx="487082" cy="867280"/>
          </a:xfrm>
          <a:custGeom>
            <a:avLst/>
            <a:gdLst>
              <a:gd name="T0" fmla="*/ 319 w 319"/>
              <a:gd name="T1" fmla="*/ 568 h 568"/>
              <a:gd name="T2" fmla="*/ 0 w 319"/>
              <a:gd name="T3" fmla="*/ 380 h 568"/>
              <a:gd name="T4" fmla="*/ 0 w 319"/>
              <a:gd name="T5" fmla="*/ 0 h 568"/>
              <a:gd name="T6" fmla="*/ 319 w 319"/>
              <a:gd name="T7" fmla="*/ 188 h 568"/>
              <a:gd name="T8" fmla="*/ 319 w 319"/>
              <a:gd name="T9" fmla="*/ 568 h 568"/>
            </a:gdLst>
            <a:ahLst/>
            <a:cxnLst>
              <a:cxn ang="0">
                <a:pos x="T0" y="T1"/>
              </a:cxn>
              <a:cxn ang="0">
                <a:pos x="T2" y="T3"/>
              </a:cxn>
              <a:cxn ang="0">
                <a:pos x="T4" y="T5"/>
              </a:cxn>
              <a:cxn ang="0">
                <a:pos x="T6" y="T7"/>
              </a:cxn>
              <a:cxn ang="0">
                <a:pos x="T8" y="T9"/>
              </a:cxn>
            </a:cxnLst>
            <a:rect l="0" t="0" r="r" b="b"/>
            <a:pathLst>
              <a:path w="319" h="568">
                <a:moveTo>
                  <a:pt x="319" y="568"/>
                </a:moveTo>
                <a:lnTo>
                  <a:pt x="0" y="380"/>
                </a:lnTo>
                <a:lnTo>
                  <a:pt x="0" y="0"/>
                </a:lnTo>
                <a:lnTo>
                  <a:pt x="319" y="188"/>
                </a:lnTo>
                <a:lnTo>
                  <a:pt x="319" y="568"/>
                </a:lnTo>
                <a:close/>
              </a:path>
            </a:pathLst>
          </a:custGeom>
          <a:gradFill>
            <a:gsLst>
              <a:gs pos="0">
                <a:schemeClr val="accent1">
                  <a:lumMod val="14000"/>
                  <a:lumOff val="86000"/>
                </a:schemeClr>
              </a:gs>
              <a:gs pos="100000">
                <a:schemeClr val="accent1">
                  <a:lumMod val="29000"/>
                  <a:lumOff val="71000"/>
                </a:schemeClr>
              </a:gs>
            </a:gsLst>
            <a:lin ang="5400000" scaled="1"/>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0F0F0"/>
              </a:solidFill>
              <a:effectLst/>
              <a:uLnTx/>
              <a:uFillTx/>
              <a:latin typeface="Inter"/>
              <a:cs typeface="+mn-cs"/>
            </a:endParaRPr>
          </a:p>
        </p:txBody>
      </p:sp>
      <p:sp>
        <p:nvSpPr>
          <p:cNvPr id="237" name="Freeform 60">
            <a:extLst>
              <a:ext uri="{FF2B5EF4-FFF2-40B4-BE49-F238E27FC236}">
                <a16:creationId xmlns:a16="http://schemas.microsoft.com/office/drawing/2014/main" id="{27472E67-EBF0-4FE4-A2E8-5FC54792C2CD}"/>
              </a:ext>
            </a:extLst>
          </p:cNvPr>
          <p:cNvSpPr>
            <a:spLocks/>
          </p:cNvSpPr>
          <p:nvPr/>
        </p:nvSpPr>
        <p:spPr bwMode="auto">
          <a:xfrm>
            <a:off x="6100976" y="3218405"/>
            <a:ext cx="487082" cy="859646"/>
          </a:xfrm>
          <a:custGeom>
            <a:avLst/>
            <a:gdLst>
              <a:gd name="T0" fmla="*/ 0 w 319"/>
              <a:gd name="T1" fmla="*/ 563 h 563"/>
              <a:gd name="T2" fmla="*/ 319 w 319"/>
              <a:gd name="T3" fmla="*/ 380 h 563"/>
              <a:gd name="T4" fmla="*/ 319 w 319"/>
              <a:gd name="T5" fmla="*/ 0 h 563"/>
              <a:gd name="T6" fmla="*/ 0 w 319"/>
              <a:gd name="T7" fmla="*/ 183 h 563"/>
              <a:gd name="T8" fmla="*/ 0 w 319"/>
              <a:gd name="T9" fmla="*/ 563 h 563"/>
            </a:gdLst>
            <a:ahLst/>
            <a:cxnLst>
              <a:cxn ang="0">
                <a:pos x="T0" y="T1"/>
              </a:cxn>
              <a:cxn ang="0">
                <a:pos x="T2" y="T3"/>
              </a:cxn>
              <a:cxn ang="0">
                <a:pos x="T4" y="T5"/>
              </a:cxn>
              <a:cxn ang="0">
                <a:pos x="T6" y="T7"/>
              </a:cxn>
              <a:cxn ang="0">
                <a:pos x="T8" y="T9"/>
              </a:cxn>
            </a:cxnLst>
            <a:rect l="0" t="0" r="r" b="b"/>
            <a:pathLst>
              <a:path w="319" h="563">
                <a:moveTo>
                  <a:pt x="0" y="563"/>
                </a:moveTo>
                <a:lnTo>
                  <a:pt x="319" y="380"/>
                </a:lnTo>
                <a:lnTo>
                  <a:pt x="319" y="0"/>
                </a:lnTo>
                <a:lnTo>
                  <a:pt x="0" y="183"/>
                </a:lnTo>
                <a:lnTo>
                  <a:pt x="0" y="563"/>
                </a:lnTo>
                <a:close/>
              </a:path>
            </a:pathLst>
          </a:custGeom>
          <a:gradFill flip="none" rotWithShape="1">
            <a:gsLst>
              <a:gs pos="0">
                <a:schemeClr val="accent1">
                  <a:lumMod val="60000"/>
                  <a:lumOff val="40000"/>
                </a:schemeClr>
              </a:gs>
              <a:gs pos="100000">
                <a:schemeClr val="accent1"/>
              </a:gs>
            </a:gsLst>
            <a:lin ang="270000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0F0F0"/>
              </a:solidFill>
              <a:effectLst/>
              <a:uLnTx/>
              <a:uFillTx/>
              <a:latin typeface="Inter"/>
              <a:cs typeface="+mn-cs"/>
            </a:endParaRPr>
          </a:p>
        </p:txBody>
      </p:sp>
      <p:sp>
        <p:nvSpPr>
          <p:cNvPr id="238" name="Freeform 61">
            <a:extLst>
              <a:ext uri="{FF2B5EF4-FFF2-40B4-BE49-F238E27FC236}">
                <a16:creationId xmlns:a16="http://schemas.microsoft.com/office/drawing/2014/main" id="{84574EFD-A608-49CE-A8A4-F87095CFBF09}"/>
              </a:ext>
            </a:extLst>
          </p:cNvPr>
          <p:cNvSpPr>
            <a:spLocks/>
          </p:cNvSpPr>
          <p:nvPr/>
        </p:nvSpPr>
        <p:spPr bwMode="auto">
          <a:xfrm>
            <a:off x="5613894" y="2931348"/>
            <a:ext cx="974163" cy="566481"/>
          </a:xfrm>
          <a:custGeom>
            <a:avLst/>
            <a:gdLst>
              <a:gd name="T0" fmla="*/ 0 w 638"/>
              <a:gd name="T1" fmla="*/ 183 h 371"/>
              <a:gd name="T2" fmla="*/ 319 w 638"/>
              <a:gd name="T3" fmla="*/ 0 h 371"/>
              <a:gd name="T4" fmla="*/ 638 w 638"/>
              <a:gd name="T5" fmla="*/ 188 h 371"/>
              <a:gd name="T6" fmla="*/ 319 w 638"/>
              <a:gd name="T7" fmla="*/ 371 h 371"/>
              <a:gd name="T8" fmla="*/ 0 w 638"/>
              <a:gd name="T9" fmla="*/ 183 h 371"/>
            </a:gdLst>
            <a:ahLst/>
            <a:cxnLst>
              <a:cxn ang="0">
                <a:pos x="T0" y="T1"/>
              </a:cxn>
              <a:cxn ang="0">
                <a:pos x="T2" y="T3"/>
              </a:cxn>
              <a:cxn ang="0">
                <a:pos x="T4" y="T5"/>
              </a:cxn>
              <a:cxn ang="0">
                <a:pos x="T6" y="T7"/>
              </a:cxn>
              <a:cxn ang="0">
                <a:pos x="T8" y="T9"/>
              </a:cxn>
            </a:cxnLst>
            <a:rect l="0" t="0" r="r" b="b"/>
            <a:pathLst>
              <a:path w="638" h="371">
                <a:moveTo>
                  <a:pt x="0" y="183"/>
                </a:moveTo>
                <a:lnTo>
                  <a:pt x="319" y="0"/>
                </a:lnTo>
                <a:lnTo>
                  <a:pt x="638" y="188"/>
                </a:lnTo>
                <a:lnTo>
                  <a:pt x="319" y="371"/>
                </a:lnTo>
                <a:lnTo>
                  <a:pt x="0" y="183"/>
                </a:lnTo>
                <a:close/>
              </a:path>
            </a:pathLst>
          </a:custGeom>
          <a:gradFill>
            <a:gsLst>
              <a:gs pos="0">
                <a:schemeClr val="accent1">
                  <a:lumMod val="40000"/>
                  <a:lumOff val="60000"/>
                </a:schemeClr>
              </a:gs>
              <a:gs pos="100000">
                <a:schemeClr val="accent1">
                  <a:lumMod val="60000"/>
                  <a:lumOff val="40000"/>
                </a:schemeClr>
              </a:gs>
            </a:gsLst>
            <a:lin ang="5400000" scaled="1"/>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0F0F0"/>
              </a:solidFill>
              <a:effectLst/>
              <a:uLnTx/>
              <a:uFillTx/>
              <a:latin typeface="Inter"/>
              <a:cs typeface="+mn-cs"/>
            </a:endParaRPr>
          </a:p>
        </p:txBody>
      </p:sp>
    </p:spTree>
    <p:extLst>
      <p:ext uri="{BB962C8B-B14F-4D97-AF65-F5344CB8AC3E}">
        <p14:creationId xmlns:p14="http://schemas.microsoft.com/office/powerpoint/2010/main" val="3264643101"/>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4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文本框 22">
            <a:extLst>
              <a:ext uri="{FF2B5EF4-FFF2-40B4-BE49-F238E27FC236}">
                <a16:creationId xmlns:a16="http://schemas.microsoft.com/office/drawing/2014/main" id="{0CD3D885-A7F2-403E-879F-40806189CBF8}"/>
              </a:ext>
            </a:extLst>
          </p:cNvPr>
          <p:cNvSpPr txBox="1"/>
          <p:nvPr/>
        </p:nvSpPr>
        <p:spPr>
          <a:xfrm>
            <a:off x="4449556" y="918105"/>
            <a:ext cx="3292889" cy="52322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2800" b="0" i="0" u="none" strike="noStrike" kern="1200" cap="none" spc="0" normalizeH="0" baseline="0" noProof="0" dirty="0">
                <a:ln>
                  <a:noFill/>
                </a:ln>
                <a:solidFill>
                  <a:prstClr val="black"/>
                </a:solidFill>
                <a:effectLst/>
                <a:uLnTx/>
                <a:uFillTx/>
                <a:latin typeface="HarmonyOS Sans Black"/>
                <a:ea typeface="+mj-ea"/>
                <a:cs typeface="+mn-cs"/>
              </a:rPr>
              <a:t>Circle </a:t>
            </a:r>
            <a:r>
              <a:rPr kumimoji="0" lang="en-US" altLang="zh-CN" sz="2800" b="0" i="0" u="none" strike="noStrike" kern="1200" cap="none" spc="0" normalizeH="0" baseline="0" noProof="0" dirty="0">
                <a:ln>
                  <a:noFill/>
                </a:ln>
                <a:solidFill>
                  <a:schemeClr val="accent1"/>
                </a:solidFill>
                <a:effectLst/>
                <a:uLnTx/>
                <a:uFillTx/>
                <a:latin typeface="HarmonyOS Sans Black"/>
                <a:ea typeface="+mj-ea"/>
                <a:cs typeface="+mn-cs"/>
              </a:rPr>
              <a:t>infographic</a:t>
            </a:r>
          </a:p>
        </p:txBody>
      </p:sp>
      <p:sp>
        <p:nvSpPr>
          <p:cNvPr id="4" name="Freeform 14">
            <a:extLst>
              <a:ext uri="{FF2B5EF4-FFF2-40B4-BE49-F238E27FC236}">
                <a16:creationId xmlns:a16="http://schemas.microsoft.com/office/drawing/2014/main" id="{5076ADB2-E5F1-47EA-BF7A-A60940C34C42}"/>
              </a:ext>
            </a:extLst>
          </p:cNvPr>
          <p:cNvSpPr>
            <a:spLocks/>
          </p:cNvSpPr>
          <p:nvPr/>
        </p:nvSpPr>
        <p:spPr bwMode="auto">
          <a:xfrm>
            <a:off x="2517965" y="2887539"/>
            <a:ext cx="999035" cy="930007"/>
          </a:xfrm>
          <a:custGeom>
            <a:avLst/>
            <a:gdLst>
              <a:gd name="T0" fmla="*/ 174 w 174"/>
              <a:gd name="T1" fmla="*/ 119 h 119"/>
              <a:gd name="T2" fmla="*/ 174 w 174"/>
              <a:gd name="T3" fmla="*/ 60 h 119"/>
              <a:gd name="T4" fmla="*/ 174 w 174"/>
              <a:gd name="T5" fmla="*/ 0 h 119"/>
              <a:gd name="T6" fmla="*/ 148 w 174"/>
              <a:gd name="T7" fmla="*/ 18 h 119"/>
              <a:gd name="T8" fmla="*/ 29 w 174"/>
              <a:gd name="T9" fmla="*/ 19 h 119"/>
              <a:gd name="T10" fmla="*/ 0 w 174"/>
              <a:gd name="T11" fmla="*/ 0 h 119"/>
              <a:gd name="T12" fmla="*/ 0 w 174"/>
              <a:gd name="T13" fmla="*/ 60 h 119"/>
              <a:gd name="T14" fmla="*/ 0 w 174"/>
              <a:gd name="T15" fmla="*/ 119 h 119"/>
              <a:gd name="T16" fmla="*/ 29 w 174"/>
              <a:gd name="T17" fmla="*/ 100 h 119"/>
              <a:gd name="T18" fmla="*/ 148 w 174"/>
              <a:gd name="T19" fmla="*/ 101 h 119"/>
              <a:gd name="T20" fmla="*/ 174 w 174"/>
              <a:gd name="T21" fmla="*/ 11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4" h="119">
                <a:moveTo>
                  <a:pt x="174" y="119"/>
                </a:moveTo>
                <a:cubicBezTo>
                  <a:pt x="174" y="60"/>
                  <a:pt x="174" y="60"/>
                  <a:pt x="174" y="60"/>
                </a:cubicBezTo>
                <a:cubicBezTo>
                  <a:pt x="174" y="0"/>
                  <a:pt x="174" y="0"/>
                  <a:pt x="174" y="0"/>
                </a:cubicBezTo>
                <a:cubicBezTo>
                  <a:pt x="148" y="18"/>
                  <a:pt x="148" y="18"/>
                  <a:pt x="148" y="18"/>
                </a:cubicBezTo>
                <a:cubicBezTo>
                  <a:pt x="115" y="41"/>
                  <a:pt x="63" y="41"/>
                  <a:pt x="29" y="19"/>
                </a:cubicBezTo>
                <a:cubicBezTo>
                  <a:pt x="0" y="0"/>
                  <a:pt x="0" y="0"/>
                  <a:pt x="0" y="0"/>
                </a:cubicBezTo>
                <a:cubicBezTo>
                  <a:pt x="0" y="60"/>
                  <a:pt x="0" y="60"/>
                  <a:pt x="0" y="60"/>
                </a:cubicBezTo>
                <a:cubicBezTo>
                  <a:pt x="0" y="119"/>
                  <a:pt x="0" y="119"/>
                  <a:pt x="0" y="119"/>
                </a:cubicBezTo>
                <a:cubicBezTo>
                  <a:pt x="29" y="100"/>
                  <a:pt x="29" y="100"/>
                  <a:pt x="29" y="100"/>
                </a:cubicBezTo>
                <a:cubicBezTo>
                  <a:pt x="63" y="78"/>
                  <a:pt x="115" y="78"/>
                  <a:pt x="148" y="101"/>
                </a:cubicBezTo>
                <a:lnTo>
                  <a:pt x="174" y="119"/>
                </a:lnTo>
                <a:close/>
              </a:path>
            </a:pathLst>
          </a:custGeom>
          <a:solidFill>
            <a:schemeClr val="accent1">
              <a:lumMod val="40000"/>
              <a:lumOff val="60000"/>
              <a:alpha val="54000"/>
            </a:schemeClr>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Open Sans"/>
              <a:cs typeface="+mn-cs"/>
            </a:endParaRPr>
          </a:p>
        </p:txBody>
      </p:sp>
      <p:sp>
        <p:nvSpPr>
          <p:cNvPr id="6" name="Freeform 14">
            <a:extLst>
              <a:ext uri="{FF2B5EF4-FFF2-40B4-BE49-F238E27FC236}">
                <a16:creationId xmlns:a16="http://schemas.microsoft.com/office/drawing/2014/main" id="{3CF6FE60-5188-42BA-8407-D747C7F3CC66}"/>
              </a:ext>
            </a:extLst>
          </p:cNvPr>
          <p:cNvSpPr>
            <a:spLocks/>
          </p:cNvSpPr>
          <p:nvPr/>
        </p:nvSpPr>
        <p:spPr bwMode="auto">
          <a:xfrm>
            <a:off x="4569977" y="2887539"/>
            <a:ext cx="999035" cy="930007"/>
          </a:xfrm>
          <a:custGeom>
            <a:avLst/>
            <a:gdLst>
              <a:gd name="T0" fmla="*/ 174 w 174"/>
              <a:gd name="T1" fmla="*/ 119 h 119"/>
              <a:gd name="T2" fmla="*/ 174 w 174"/>
              <a:gd name="T3" fmla="*/ 60 h 119"/>
              <a:gd name="T4" fmla="*/ 174 w 174"/>
              <a:gd name="T5" fmla="*/ 0 h 119"/>
              <a:gd name="T6" fmla="*/ 148 w 174"/>
              <a:gd name="T7" fmla="*/ 18 h 119"/>
              <a:gd name="T8" fmla="*/ 29 w 174"/>
              <a:gd name="T9" fmla="*/ 19 h 119"/>
              <a:gd name="T10" fmla="*/ 0 w 174"/>
              <a:gd name="T11" fmla="*/ 0 h 119"/>
              <a:gd name="T12" fmla="*/ 0 w 174"/>
              <a:gd name="T13" fmla="*/ 60 h 119"/>
              <a:gd name="T14" fmla="*/ 0 w 174"/>
              <a:gd name="T15" fmla="*/ 119 h 119"/>
              <a:gd name="T16" fmla="*/ 29 w 174"/>
              <a:gd name="T17" fmla="*/ 100 h 119"/>
              <a:gd name="T18" fmla="*/ 148 w 174"/>
              <a:gd name="T19" fmla="*/ 101 h 119"/>
              <a:gd name="T20" fmla="*/ 174 w 174"/>
              <a:gd name="T21" fmla="*/ 11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4" h="119">
                <a:moveTo>
                  <a:pt x="174" y="119"/>
                </a:moveTo>
                <a:cubicBezTo>
                  <a:pt x="174" y="60"/>
                  <a:pt x="174" y="60"/>
                  <a:pt x="174" y="60"/>
                </a:cubicBezTo>
                <a:cubicBezTo>
                  <a:pt x="174" y="0"/>
                  <a:pt x="174" y="0"/>
                  <a:pt x="174" y="0"/>
                </a:cubicBezTo>
                <a:cubicBezTo>
                  <a:pt x="148" y="18"/>
                  <a:pt x="148" y="18"/>
                  <a:pt x="148" y="18"/>
                </a:cubicBezTo>
                <a:cubicBezTo>
                  <a:pt x="115" y="41"/>
                  <a:pt x="63" y="41"/>
                  <a:pt x="29" y="19"/>
                </a:cubicBezTo>
                <a:cubicBezTo>
                  <a:pt x="0" y="0"/>
                  <a:pt x="0" y="0"/>
                  <a:pt x="0" y="0"/>
                </a:cubicBezTo>
                <a:cubicBezTo>
                  <a:pt x="0" y="60"/>
                  <a:pt x="0" y="60"/>
                  <a:pt x="0" y="60"/>
                </a:cubicBezTo>
                <a:cubicBezTo>
                  <a:pt x="0" y="119"/>
                  <a:pt x="0" y="119"/>
                  <a:pt x="0" y="119"/>
                </a:cubicBezTo>
                <a:cubicBezTo>
                  <a:pt x="29" y="100"/>
                  <a:pt x="29" y="100"/>
                  <a:pt x="29" y="100"/>
                </a:cubicBezTo>
                <a:cubicBezTo>
                  <a:pt x="63" y="78"/>
                  <a:pt x="115" y="78"/>
                  <a:pt x="148" y="101"/>
                </a:cubicBezTo>
                <a:lnTo>
                  <a:pt x="174" y="119"/>
                </a:lnTo>
                <a:close/>
              </a:path>
            </a:pathLst>
          </a:custGeom>
          <a:solidFill>
            <a:schemeClr val="accent1">
              <a:lumMod val="40000"/>
              <a:lumOff val="60000"/>
              <a:alpha val="54000"/>
            </a:schemeClr>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Open Sans"/>
              <a:cs typeface="+mn-cs"/>
            </a:endParaRPr>
          </a:p>
        </p:txBody>
      </p:sp>
      <p:sp>
        <p:nvSpPr>
          <p:cNvPr id="9" name="Freeform 14">
            <a:extLst>
              <a:ext uri="{FF2B5EF4-FFF2-40B4-BE49-F238E27FC236}">
                <a16:creationId xmlns:a16="http://schemas.microsoft.com/office/drawing/2014/main" id="{76CE589D-E2B1-4607-8D5D-F2C9F6DBDD70}"/>
              </a:ext>
            </a:extLst>
          </p:cNvPr>
          <p:cNvSpPr>
            <a:spLocks/>
          </p:cNvSpPr>
          <p:nvPr/>
        </p:nvSpPr>
        <p:spPr bwMode="auto">
          <a:xfrm>
            <a:off x="6621988" y="2887539"/>
            <a:ext cx="999035" cy="930007"/>
          </a:xfrm>
          <a:custGeom>
            <a:avLst/>
            <a:gdLst>
              <a:gd name="T0" fmla="*/ 174 w 174"/>
              <a:gd name="T1" fmla="*/ 119 h 119"/>
              <a:gd name="T2" fmla="*/ 174 w 174"/>
              <a:gd name="T3" fmla="*/ 60 h 119"/>
              <a:gd name="T4" fmla="*/ 174 w 174"/>
              <a:gd name="T5" fmla="*/ 0 h 119"/>
              <a:gd name="T6" fmla="*/ 148 w 174"/>
              <a:gd name="T7" fmla="*/ 18 h 119"/>
              <a:gd name="T8" fmla="*/ 29 w 174"/>
              <a:gd name="T9" fmla="*/ 19 h 119"/>
              <a:gd name="T10" fmla="*/ 0 w 174"/>
              <a:gd name="T11" fmla="*/ 0 h 119"/>
              <a:gd name="T12" fmla="*/ 0 w 174"/>
              <a:gd name="T13" fmla="*/ 60 h 119"/>
              <a:gd name="T14" fmla="*/ 0 w 174"/>
              <a:gd name="T15" fmla="*/ 119 h 119"/>
              <a:gd name="T16" fmla="*/ 29 w 174"/>
              <a:gd name="T17" fmla="*/ 100 h 119"/>
              <a:gd name="T18" fmla="*/ 148 w 174"/>
              <a:gd name="T19" fmla="*/ 101 h 119"/>
              <a:gd name="T20" fmla="*/ 174 w 174"/>
              <a:gd name="T21" fmla="*/ 11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4" h="119">
                <a:moveTo>
                  <a:pt x="174" y="119"/>
                </a:moveTo>
                <a:cubicBezTo>
                  <a:pt x="174" y="60"/>
                  <a:pt x="174" y="60"/>
                  <a:pt x="174" y="60"/>
                </a:cubicBezTo>
                <a:cubicBezTo>
                  <a:pt x="174" y="0"/>
                  <a:pt x="174" y="0"/>
                  <a:pt x="174" y="0"/>
                </a:cubicBezTo>
                <a:cubicBezTo>
                  <a:pt x="148" y="18"/>
                  <a:pt x="148" y="18"/>
                  <a:pt x="148" y="18"/>
                </a:cubicBezTo>
                <a:cubicBezTo>
                  <a:pt x="115" y="41"/>
                  <a:pt x="63" y="41"/>
                  <a:pt x="29" y="19"/>
                </a:cubicBezTo>
                <a:cubicBezTo>
                  <a:pt x="0" y="0"/>
                  <a:pt x="0" y="0"/>
                  <a:pt x="0" y="0"/>
                </a:cubicBezTo>
                <a:cubicBezTo>
                  <a:pt x="0" y="60"/>
                  <a:pt x="0" y="60"/>
                  <a:pt x="0" y="60"/>
                </a:cubicBezTo>
                <a:cubicBezTo>
                  <a:pt x="0" y="119"/>
                  <a:pt x="0" y="119"/>
                  <a:pt x="0" y="119"/>
                </a:cubicBezTo>
                <a:cubicBezTo>
                  <a:pt x="29" y="100"/>
                  <a:pt x="29" y="100"/>
                  <a:pt x="29" y="100"/>
                </a:cubicBezTo>
                <a:cubicBezTo>
                  <a:pt x="63" y="78"/>
                  <a:pt x="115" y="78"/>
                  <a:pt x="148" y="101"/>
                </a:cubicBezTo>
                <a:lnTo>
                  <a:pt x="174" y="119"/>
                </a:lnTo>
                <a:close/>
              </a:path>
            </a:pathLst>
          </a:custGeom>
          <a:solidFill>
            <a:schemeClr val="accent1">
              <a:lumMod val="40000"/>
              <a:lumOff val="60000"/>
              <a:alpha val="54000"/>
            </a:schemeClr>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Open Sans"/>
              <a:cs typeface="+mn-cs"/>
            </a:endParaRPr>
          </a:p>
        </p:txBody>
      </p:sp>
      <p:sp>
        <p:nvSpPr>
          <p:cNvPr id="10" name="Freeform 14">
            <a:extLst>
              <a:ext uri="{FF2B5EF4-FFF2-40B4-BE49-F238E27FC236}">
                <a16:creationId xmlns:a16="http://schemas.microsoft.com/office/drawing/2014/main" id="{E3227C97-134D-42F7-85D1-F973E2204BE1}"/>
              </a:ext>
            </a:extLst>
          </p:cNvPr>
          <p:cNvSpPr>
            <a:spLocks/>
          </p:cNvSpPr>
          <p:nvPr/>
        </p:nvSpPr>
        <p:spPr bwMode="auto">
          <a:xfrm>
            <a:off x="8698418" y="2887539"/>
            <a:ext cx="999035" cy="930007"/>
          </a:xfrm>
          <a:custGeom>
            <a:avLst/>
            <a:gdLst>
              <a:gd name="T0" fmla="*/ 174 w 174"/>
              <a:gd name="T1" fmla="*/ 119 h 119"/>
              <a:gd name="T2" fmla="*/ 174 w 174"/>
              <a:gd name="T3" fmla="*/ 60 h 119"/>
              <a:gd name="T4" fmla="*/ 174 w 174"/>
              <a:gd name="T5" fmla="*/ 0 h 119"/>
              <a:gd name="T6" fmla="*/ 148 w 174"/>
              <a:gd name="T7" fmla="*/ 18 h 119"/>
              <a:gd name="T8" fmla="*/ 29 w 174"/>
              <a:gd name="T9" fmla="*/ 19 h 119"/>
              <a:gd name="T10" fmla="*/ 0 w 174"/>
              <a:gd name="T11" fmla="*/ 0 h 119"/>
              <a:gd name="T12" fmla="*/ 0 w 174"/>
              <a:gd name="T13" fmla="*/ 60 h 119"/>
              <a:gd name="T14" fmla="*/ 0 w 174"/>
              <a:gd name="T15" fmla="*/ 119 h 119"/>
              <a:gd name="T16" fmla="*/ 29 w 174"/>
              <a:gd name="T17" fmla="*/ 100 h 119"/>
              <a:gd name="T18" fmla="*/ 148 w 174"/>
              <a:gd name="T19" fmla="*/ 101 h 119"/>
              <a:gd name="T20" fmla="*/ 174 w 174"/>
              <a:gd name="T21" fmla="*/ 11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4" h="119">
                <a:moveTo>
                  <a:pt x="174" y="119"/>
                </a:moveTo>
                <a:cubicBezTo>
                  <a:pt x="174" y="60"/>
                  <a:pt x="174" y="60"/>
                  <a:pt x="174" y="60"/>
                </a:cubicBezTo>
                <a:cubicBezTo>
                  <a:pt x="174" y="0"/>
                  <a:pt x="174" y="0"/>
                  <a:pt x="174" y="0"/>
                </a:cubicBezTo>
                <a:cubicBezTo>
                  <a:pt x="148" y="18"/>
                  <a:pt x="148" y="18"/>
                  <a:pt x="148" y="18"/>
                </a:cubicBezTo>
                <a:cubicBezTo>
                  <a:pt x="115" y="41"/>
                  <a:pt x="63" y="41"/>
                  <a:pt x="29" y="19"/>
                </a:cubicBezTo>
                <a:cubicBezTo>
                  <a:pt x="0" y="0"/>
                  <a:pt x="0" y="0"/>
                  <a:pt x="0" y="0"/>
                </a:cubicBezTo>
                <a:cubicBezTo>
                  <a:pt x="0" y="60"/>
                  <a:pt x="0" y="60"/>
                  <a:pt x="0" y="60"/>
                </a:cubicBezTo>
                <a:cubicBezTo>
                  <a:pt x="0" y="119"/>
                  <a:pt x="0" y="119"/>
                  <a:pt x="0" y="119"/>
                </a:cubicBezTo>
                <a:cubicBezTo>
                  <a:pt x="29" y="100"/>
                  <a:pt x="29" y="100"/>
                  <a:pt x="29" y="100"/>
                </a:cubicBezTo>
                <a:cubicBezTo>
                  <a:pt x="63" y="78"/>
                  <a:pt x="115" y="78"/>
                  <a:pt x="148" y="101"/>
                </a:cubicBezTo>
                <a:lnTo>
                  <a:pt x="174" y="119"/>
                </a:lnTo>
                <a:close/>
              </a:path>
            </a:pathLst>
          </a:custGeom>
          <a:solidFill>
            <a:schemeClr val="accent1">
              <a:lumMod val="40000"/>
              <a:lumOff val="60000"/>
              <a:alpha val="54000"/>
            </a:schemeClr>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Open Sans"/>
              <a:cs typeface="+mn-cs"/>
            </a:endParaRPr>
          </a:p>
        </p:txBody>
      </p:sp>
      <p:sp>
        <p:nvSpPr>
          <p:cNvPr id="5" name="Freeform 15">
            <a:extLst>
              <a:ext uri="{FF2B5EF4-FFF2-40B4-BE49-F238E27FC236}">
                <a16:creationId xmlns:a16="http://schemas.microsoft.com/office/drawing/2014/main" id="{4F456790-B153-4439-9053-528E9E76E493}"/>
              </a:ext>
            </a:extLst>
          </p:cNvPr>
          <p:cNvSpPr>
            <a:spLocks/>
          </p:cNvSpPr>
          <p:nvPr/>
        </p:nvSpPr>
        <p:spPr bwMode="auto">
          <a:xfrm>
            <a:off x="1208048" y="2605450"/>
            <a:ext cx="1517938" cy="1463955"/>
          </a:xfrm>
          <a:custGeom>
            <a:avLst/>
            <a:gdLst>
              <a:gd name="T0" fmla="*/ 148 w 295"/>
              <a:gd name="T1" fmla="*/ 0 h 283"/>
              <a:gd name="T2" fmla="*/ 148 w 295"/>
              <a:gd name="T3" fmla="*/ 0 h 283"/>
              <a:gd name="T4" fmla="*/ 25 w 295"/>
              <a:gd name="T5" fmla="*/ 71 h 283"/>
              <a:gd name="T6" fmla="*/ 25 w 295"/>
              <a:gd name="T7" fmla="*/ 71 h 283"/>
              <a:gd name="T8" fmla="*/ 25 w 295"/>
              <a:gd name="T9" fmla="*/ 212 h 283"/>
              <a:gd name="T10" fmla="*/ 25 w 295"/>
              <a:gd name="T11" fmla="*/ 212 h 283"/>
              <a:gd name="T12" fmla="*/ 148 w 295"/>
              <a:gd name="T13" fmla="*/ 283 h 283"/>
              <a:gd name="T14" fmla="*/ 148 w 295"/>
              <a:gd name="T15" fmla="*/ 283 h 283"/>
              <a:gd name="T16" fmla="*/ 270 w 295"/>
              <a:gd name="T17" fmla="*/ 212 h 283"/>
              <a:gd name="T18" fmla="*/ 270 w 295"/>
              <a:gd name="T19" fmla="*/ 212 h 283"/>
              <a:gd name="T20" fmla="*/ 270 w 295"/>
              <a:gd name="T21" fmla="*/ 71 h 283"/>
              <a:gd name="T22" fmla="*/ 270 w 295"/>
              <a:gd name="T23" fmla="*/ 71 h 283"/>
              <a:gd name="T24" fmla="*/ 148 w 295"/>
              <a:gd name="T25" fmla="*/ 0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95" h="283">
                <a:moveTo>
                  <a:pt x="148" y="0"/>
                </a:moveTo>
                <a:cubicBezTo>
                  <a:pt x="148" y="0"/>
                  <a:pt x="148" y="0"/>
                  <a:pt x="148" y="0"/>
                </a:cubicBezTo>
                <a:cubicBezTo>
                  <a:pt x="97" y="0"/>
                  <a:pt x="50" y="27"/>
                  <a:pt x="25" y="71"/>
                </a:cubicBezTo>
                <a:cubicBezTo>
                  <a:pt x="25" y="71"/>
                  <a:pt x="25" y="71"/>
                  <a:pt x="25" y="71"/>
                </a:cubicBezTo>
                <a:cubicBezTo>
                  <a:pt x="0" y="115"/>
                  <a:pt x="0" y="168"/>
                  <a:pt x="25" y="212"/>
                </a:cubicBezTo>
                <a:cubicBezTo>
                  <a:pt x="25" y="212"/>
                  <a:pt x="25" y="212"/>
                  <a:pt x="25" y="212"/>
                </a:cubicBezTo>
                <a:cubicBezTo>
                  <a:pt x="50" y="256"/>
                  <a:pt x="97" y="283"/>
                  <a:pt x="148" y="283"/>
                </a:cubicBezTo>
                <a:cubicBezTo>
                  <a:pt x="148" y="283"/>
                  <a:pt x="148" y="283"/>
                  <a:pt x="148" y="283"/>
                </a:cubicBezTo>
                <a:cubicBezTo>
                  <a:pt x="198" y="283"/>
                  <a:pt x="245" y="256"/>
                  <a:pt x="270" y="212"/>
                </a:cubicBezTo>
                <a:cubicBezTo>
                  <a:pt x="270" y="212"/>
                  <a:pt x="270" y="212"/>
                  <a:pt x="270" y="212"/>
                </a:cubicBezTo>
                <a:cubicBezTo>
                  <a:pt x="295" y="168"/>
                  <a:pt x="295" y="115"/>
                  <a:pt x="270" y="71"/>
                </a:cubicBezTo>
                <a:cubicBezTo>
                  <a:pt x="270" y="71"/>
                  <a:pt x="270" y="71"/>
                  <a:pt x="270" y="71"/>
                </a:cubicBezTo>
                <a:cubicBezTo>
                  <a:pt x="245" y="27"/>
                  <a:pt x="198" y="0"/>
                  <a:pt x="148" y="0"/>
                </a:cubicBezTo>
                <a:close/>
              </a:path>
            </a:pathLst>
          </a:custGeom>
          <a:gradFill>
            <a:gsLst>
              <a:gs pos="73000">
                <a:schemeClr val="accent1"/>
              </a:gs>
              <a:gs pos="31000">
                <a:schemeClr val="accent1">
                  <a:lumMod val="60000"/>
                  <a:lumOff val="40000"/>
                </a:schemeClr>
              </a:gs>
              <a:gs pos="0">
                <a:schemeClr val="accent1">
                  <a:lumMod val="40000"/>
                  <a:lumOff val="60000"/>
                </a:schemeClr>
              </a:gs>
            </a:gsLst>
            <a:path path="circle">
              <a:fillToRect r="100000" b="100000"/>
            </a:path>
          </a:gradFill>
          <a:ln>
            <a:noFill/>
          </a:ln>
          <a:effectLst>
            <a:outerShdw blurRad="444500" dist="317500" dir="5400000" sx="92000" sy="92000" algn="t" rotWithShape="0">
              <a:schemeClr val="accent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7" name="Freeform 16">
            <a:extLst>
              <a:ext uri="{FF2B5EF4-FFF2-40B4-BE49-F238E27FC236}">
                <a16:creationId xmlns:a16="http://schemas.microsoft.com/office/drawing/2014/main" id="{6BE18E2C-4CA9-4A2E-982E-85BF1E8C1542}"/>
              </a:ext>
            </a:extLst>
          </p:cNvPr>
          <p:cNvSpPr>
            <a:spLocks/>
          </p:cNvSpPr>
          <p:nvPr/>
        </p:nvSpPr>
        <p:spPr bwMode="auto">
          <a:xfrm>
            <a:off x="3274429" y="2605450"/>
            <a:ext cx="1515779" cy="1463955"/>
          </a:xfrm>
          <a:custGeom>
            <a:avLst/>
            <a:gdLst>
              <a:gd name="T0" fmla="*/ 148 w 295"/>
              <a:gd name="T1" fmla="*/ 0 h 283"/>
              <a:gd name="T2" fmla="*/ 148 w 295"/>
              <a:gd name="T3" fmla="*/ 0 h 283"/>
              <a:gd name="T4" fmla="*/ 25 w 295"/>
              <a:gd name="T5" fmla="*/ 71 h 283"/>
              <a:gd name="T6" fmla="*/ 25 w 295"/>
              <a:gd name="T7" fmla="*/ 71 h 283"/>
              <a:gd name="T8" fmla="*/ 25 w 295"/>
              <a:gd name="T9" fmla="*/ 212 h 283"/>
              <a:gd name="T10" fmla="*/ 25 w 295"/>
              <a:gd name="T11" fmla="*/ 212 h 283"/>
              <a:gd name="T12" fmla="*/ 148 w 295"/>
              <a:gd name="T13" fmla="*/ 283 h 283"/>
              <a:gd name="T14" fmla="*/ 148 w 295"/>
              <a:gd name="T15" fmla="*/ 283 h 283"/>
              <a:gd name="T16" fmla="*/ 270 w 295"/>
              <a:gd name="T17" fmla="*/ 212 h 283"/>
              <a:gd name="T18" fmla="*/ 270 w 295"/>
              <a:gd name="T19" fmla="*/ 212 h 283"/>
              <a:gd name="T20" fmla="*/ 270 w 295"/>
              <a:gd name="T21" fmla="*/ 71 h 283"/>
              <a:gd name="T22" fmla="*/ 270 w 295"/>
              <a:gd name="T23" fmla="*/ 71 h 283"/>
              <a:gd name="T24" fmla="*/ 148 w 295"/>
              <a:gd name="T25" fmla="*/ 0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95" h="283">
                <a:moveTo>
                  <a:pt x="148" y="0"/>
                </a:moveTo>
                <a:cubicBezTo>
                  <a:pt x="148" y="0"/>
                  <a:pt x="148" y="0"/>
                  <a:pt x="148" y="0"/>
                </a:cubicBezTo>
                <a:cubicBezTo>
                  <a:pt x="97" y="0"/>
                  <a:pt x="50" y="27"/>
                  <a:pt x="25" y="71"/>
                </a:cubicBezTo>
                <a:cubicBezTo>
                  <a:pt x="25" y="71"/>
                  <a:pt x="25" y="71"/>
                  <a:pt x="25" y="71"/>
                </a:cubicBezTo>
                <a:cubicBezTo>
                  <a:pt x="0" y="115"/>
                  <a:pt x="0" y="168"/>
                  <a:pt x="25" y="212"/>
                </a:cubicBezTo>
                <a:cubicBezTo>
                  <a:pt x="25" y="212"/>
                  <a:pt x="25" y="212"/>
                  <a:pt x="25" y="212"/>
                </a:cubicBezTo>
                <a:cubicBezTo>
                  <a:pt x="50" y="256"/>
                  <a:pt x="97" y="283"/>
                  <a:pt x="148" y="283"/>
                </a:cubicBezTo>
                <a:cubicBezTo>
                  <a:pt x="148" y="283"/>
                  <a:pt x="148" y="283"/>
                  <a:pt x="148" y="283"/>
                </a:cubicBezTo>
                <a:cubicBezTo>
                  <a:pt x="198" y="283"/>
                  <a:pt x="245" y="256"/>
                  <a:pt x="270" y="212"/>
                </a:cubicBezTo>
                <a:cubicBezTo>
                  <a:pt x="270" y="212"/>
                  <a:pt x="270" y="212"/>
                  <a:pt x="270" y="212"/>
                </a:cubicBezTo>
                <a:cubicBezTo>
                  <a:pt x="295" y="168"/>
                  <a:pt x="295" y="115"/>
                  <a:pt x="270" y="71"/>
                </a:cubicBezTo>
                <a:cubicBezTo>
                  <a:pt x="270" y="71"/>
                  <a:pt x="270" y="71"/>
                  <a:pt x="270" y="71"/>
                </a:cubicBezTo>
                <a:cubicBezTo>
                  <a:pt x="245" y="27"/>
                  <a:pt x="198" y="0"/>
                  <a:pt x="148" y="0"/>
                </a:cubicBezTo>
                <a:close/>
              </a:path>
            </a:pathLst>
          </a:custGeom>
          <a:gradFill>
            <a:gsLst>
              <a:gs pos="73000">
                <a:schemeClr val="accent1"/>
              </a:gs>
              <a:gs pos="31000">
                <a:schemeClr val="accent1">
                  <a:lumMod val="60000"/>
                  <a:lumOff val="40000"/>
                </a:schemeClr>
              </a:gs>
              <a:gs pos="0">
                <a:schemeClr val="accent1">
                  <a:lumMod val="40000"/>
                  <a:lumOff val="60000"/>
                </a:schemeClr>
              </a:gs>
            </a:gsLst>
            <a:path path="circle">
              <a:fillToRect r="100000" b="100000"/>
            </a:path>
          </a:gradFill>
          <a:ln>
            <a:noFill/>
          </a:ln>
          <a:effectLst>
            <a:outerShdw blurRad="444500" dist="317500" dir="5400000" sx="92000" sy="92000" algn="t" rotWithShape="0">
              <a:schemeClr val="accent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HarmonyOS Sans SC"/>
              <a:cs typeface="+mn-cs"/>
            </a:endParaRPr>
          </a:p>
        </p:txBody>
      </p:sp>
      <p:sp>
        <p:nvSpPr>
          <p:cNvPr id="8" name="Freeform 16">
            <a:extLst>
              <a:ext uri="{FF2B5EF4-FFF2-40B4-BE49-F238E27FC236}">
                <a16:creationId xmlns:a16="http://schemas.microsoft.com/office/drawing/2014/main" id="{86510FDF-2094-4BCB-B474-8F93E3DF164E}"/>
              </a:ext>
            </a:extLst>
          </p:cNvPr>
          <p:cNvSpPr>
            <a:spLocks/>
          </p:cNvSpPr>
          <p:nvPr/>
        </p:nvSpPr>
        <p:spPr bwMode="auto">
          <a:xfrm>
            <a:off x="5338651" y="2605450"/>
            <a:ext cx="1515779" cy="1463955"/>
          </a:xfrm>
          <a:custGeom>
            <a:avLst/>
            <a:gdLst>
              <a:gd name="T0" fmla="*/ 148 w 295"/>
              <a:gd name="T1" fmla="*/ 0 h 283"/>
              <a:gd name="T2" fmla="*/ 148 w 295"/>
              <a:gd name="T3" fmla="*/ 0 h 283"/>
              <a:gd name="T4" fmla="*/ 25 w 295"/>
              <a:gd name="T5" fmla="*/ 71 h 283"/>
              <a:gd name="T6" fmla="*/ 25 w 295"/>
              <a:gd name="T7" fmla="*/ 71 h 283"/>
              <a:gd name="T8" fmla="*/ 25 w 295"/>
              <a:gd name="T9" fmla="*/ 212 h 283"/>
              <a:gd name="T10" fmla="*/ 25 w 295"/>
              <a:gd name="T11" fmla="*/ 212 h 283"/>
              <a:gd name="T12" fmla="*/ 148 w 295"/>
              <a:gd name="T13" fmla="*/ 283 h 283"/>
              <a:gd name="T14" fmla="*/ 148 w 295"/>
              <a:gd name="T15" fmla="*/ 283 h 283"/>
              <a:gd name="T16" fmla="*/ 270 w 295"/>
              <a:gd name="T17" fmla="*/ 212 h 283"/>
              <a:gd name="T18" fmla="*/ 270 w 295"/>
              <a:gd name="T19" fmla="*/ 212 h 283"/>
              <a:gd name="T20" fmla="*/ 270 w 295"/>
              <a:gd name="T21" fmla="*/ 71 h 283"/>
              <a:gd name="T22" fmla="*/ 270 w 295"/>
              <a:gd name="T23" fmla="*/ 71 h 283"/>
              <a:gd name="T24" fmla="*/ 148 w 295"/>
              <a:gd name="T25" fmla="*/ 0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95" h="283">
                <a:moveTo>
                  <a:pt x="148" y="0"/>
                </a:moveTo>
                <a:cubicBezTo>
                  <a:pt x="148" y="0"/>
                  <a:pt x="148" y="0"/>
                  <a:pt x="148" y="0"/>
                </a:cubicBezTo>
                <a:cubicBezTo>
                  <a:pt x="97" y="0"/>
                  <a:pt x="50" y="27"/>
                  <a:pt x="25" y="71"/>
                </a:cubicBezTo>
                <a:cubicBezTo>
                  <a:pt x="25" y="71"/>
                  <a:pt x="25" y="71"/>
                  <a:pt x="25" y="71"/>
                </a:cubicBezTo>
                <a:cubicBezTo>
                  <a:pt x="0" y="115"/>
                  <a:pt x="0" y="168"/>
                  <a:pt x="25" y="212"/>
                </a:cubicBezTo>
                <a:cubicBezTo>
                  <a:pt x="25" y="212"/>
                  <a:pt x="25" y="212"/>
                  <a:pt x="25" y="212"/>
                </a:cubicBezTo>
                <a:cubicBezTo>
                  <a:pt x="50" y="256"/>
                  <a:pt x="97" y="283"/>
                  <a:pt x="148" y="283"/>
                </a:cubicBezTo>
                <a:cubicBezTo>
                  <a:pt x="148" y="283"/>
                  <a:pt x="148" y="283"/>
                  <a:pt x="148" y="283"/>
                </a:cubicBezTo>
                <a:cubicBezTo>
                  <a:pt x="198" y="283"/>
                  <a:pt x="245" y="256"/>
                  <a:pt x="270" y="212"/>
                </a:cubicBezTo>
                <a:cubicBezTo>
                  <a:pt x="270" y="212"/>
                  <a:pt x="270" y="212"/>
                  <a:pt x="270" y="212"/>
                </a:cubicBezTo>
                <a:cubicBezTo>
                  <a:pt x="295" y="168"/>
                  <a:pt x="295" y="115"/>
                  <a:pt x="270" y="71"/>
                </a:cubicBezTo>
                <a:cubicBezTo>
                  <a:pt x="270" y="71"/>
                  <a:pt x="270" y="71"/>
                  <a:pt x="270" y="71"/>
                </a:cubicBezTo>
                <a:cubicBezTo>
                  <a:pt x="245" y="27"/>
                  <a:pt x="198" y="0"/>
                  <a:pt x="148" y="0"/>
                </a:cubicBezTo>
                <a:close/>
              </a:path>
            </a:pathLst>
          </a:custGeom>
          <a:gradFill>
            <a:gsLst>
              <a:gs pos="73000">
                <a:schemeClr val="accent1"/>
              </a:gs>
              <a:gs pos="31000">
                <a:schemeClr val="accent1">
                  <a:lumMod val="60000"/>
                  <a:lumOff val="40000"/>
                </a:schemeClr>
              </a:gs>
              <a:gs pos="0">
                <a:schemeClr val="accent1">
                  <a:lumMod val="40000"/>
                  <a:lumOff val="60000"/>
                </a:schemeClr>
              </a:gs>
            </a:gsLst>
            <a:path path="circle">
              <a:fillToRect r="100000" b="100000"/>
            </a:path>
          </a:gradFill>
          <a:ln>
            <a:noFill/>
          </a:ln>
          <a:effectLst>
            <a:outerShdw blurRad="444500" dist="317500" dir="5400000" sx="92000" sy="92000" algn="t" rotWithShape="0">
              <a:schemeClr val="accent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HarmonyOS Sans SC"/>
              <a:cs typeface="+mn-cs"/>
            </a:endParaRPr>
          </a:p>
        </p:txBody>
      </p:sp>
      <p:sp>
        <p:nvSpPr>
          <p:cNvPr id="11" name="Freeform 16">
            <a:extLst>
              <a:ext uri="{FF2B5EF4-FFF2-40B4-BE49-F238E27FC236}">
                <a16:creationId xmlns:a16="http://schemas.microsoft.com/office/drawing/2014/main" id="{E80216B8-C42A-4E8C-ADE3-2DD38F5D96F0}"/>
              </a:ext>
            </a:extLst>
          </p:cNvPr>
          <p:cNvSpPr>
            <a:spLocks/>
          </p:cNvSpPr>
          <p:nvPr/>
        </p:nvSpPr>
        <p:spPr bwMode="auto">
          <a:xfrm>
            <a:off x="7402872" y="2605450"/>
            <a:ext cx="1515779" cy="1463955"/>
          </a:xfrm>
          <a:custGeom>
            <a:avLst/>
            <a:gdLst>
              <a:gd name="T0" fmla="*/ 148 w 295"/>
              <a:gd name="T1" fmla="*/ 0 h 283"/>
              <a:gd name="T2" fmla="*/ 148 w 295"/>
              <a:gd name="T3" fmla="*/ 0 h 283"/>
              <a:gd name="T4" fmla="*/ 25 w 295"/>
              <a:gd name="T5" fmla="*/ 71 h 283"/>
              <a:gd name="T6" fmla="*/ 25 w 295"/>
              <a:gd name="T7" fmla="*/ 71 h 283"/>
              <a:gd name="T8" fmla="*/ 25 w 295"/>
              <a:gd name="T9" fmla="*/ 212 h 283"/>
              <a:gd name="T10" fmla="*/ 25 w 295"/>
              <a:gd name="T11" fmla="*/ 212 h 283"/>
              <a:gd name="T12" fmla="*/ 148 w 295"/>
              <a:gd name="T13" fmla="*/ 283 h 283"/>
              <a:gd name="T14" fmla="*/ 148 w 295"/>
              <a:gd name="T15" fmla="*/ 283 h 283"/>
              <a:gd name="T16" fmla="*/ 270 w 295"/>
              <a:gd name="T17" fmla="*/ 212 h 283"/>
              <a:gd name="T18" fmla="*/ 270 w 295"/>
              <a:gd name="T19" fmla="*/ 212 h 283"/>
              <a:gd name="T20" fmla="*/ 270 w 295"/>
              <a:gd name="T21" fmla="*/ 71 h 283"/>
              <a:gd name="T22" fmla="*/ 270 w 295"/>
              <a:gd name="T23" fmla="*/ 71 h 283"/>
              <a:gd name="T24" fmla="*/ 148 w 295"/>
              <a:gd name="T25" fmla="*/ 0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95" h="283">
                <a:moveTo>
                  <a:pt x="148" y="0"/>
                </a:moveTo>
                <a:cubicBezTo>
                  <a:pt x="148" y="0"/>
                  <a:pt x="148" y="0"/>
                  <a:pt x="148" y="0"/>
                </a:cubicBezTo>
                <a:cubicBezTo>
                  <a:pt x="97" y="0"/>
                  <a:pt x="50" y="27"/>
                  <a:pt x="25" y="71"/>
                </a:cubicBezTo>
                <a:cubicBezTo>
                  <a:pt x="25" y="71"/>
                  <a:pt x="25" y="71"/>
                  <a:pt x="25" y="71"/>
                </a:cubicBezTo>
                <a:cubicBezTo>
                  <a:pt x="0" y="115"/>
                  <a:pt x="0" y="168"/>
                  <a:pt x="25" y="212"/>
                </a:cubicBezTo>
                <a:cubicBezTo>
                  <a:pt x="25" y="212"/>
                  <a:pt x="25" y="212"/>
                  <a:pt x="25" y="212"/>
                </a:cubicBezTo>
                <a:cubicBezTo>
                  <a:pt x="50" y="256"/>
                  <a:pt x="97" y="283"/>
                  <a:pt x="148" y="283"/>
                </a:cubicBezTo>
                <a:cubicBezTo>
                  <a:pt x="148" y="283"/>
                  <a:pt x="148" y="283"/>
                  <a:pt x="148" y="283"/>
                </a:cubicBezTo>
                <a:cubicBezTo>
                  <a:pt x="198" y="283"/>
                  <a:pt x="245" y="256"/>
                  <a:pt x="270" y="212"/>
                </a:cubicBezTo>
                <a:cubicBezTo>
                  <a:pt x="270" y="212"/>
                  <a:pt x="270" y="212"/>
                  <a:pt x="270" y="212"/>
                </a:cubicBezTo>
                <a:cubicBezTo>
                  <a:pt x="295" y="168"/>
                  <a:pt x="295" y="115"/>
                  <a:pt x="270" y="71"/>
                </a:cubicBezTo>
                <a:cubicBezTo>
                  <a:pt x="270" y="71"/>
                  <a:pt x="270" y="71"/>
                  <a:pt x="270" y="71"/>
                </a:cubicBezTo>
                <a:cubicBezTo>
                  <a:pt x="245" y="27"/>
                  <a:pt x="198" y="0"/>
                  <a:pt x="148" y="0"/>
                </a:cubicBezTo>
                <a:close/>
              </a:path>
            </a:pathLst>
          </a:custGeom>
          <a:gradFill>
            <a:gsLst>
              <a:gs pos="73000">
                <a:schemeClr val="accent1"/>
              </a:gs>
              <a:gs pos="31000">
                <a:schemeClr val="accent1">
                  <a:lumMod val="60000"/>
                  <a:lumOff val="40000"/>
                </a:schemeClr>
              </a:gs>
              <a:gs pos="0">
                <a:schemeClr val="accent1">
                  <a:lumMod val="40000"/>
                  <a:lumOff val="60000"/>
                </a:schemeClr>
              </a:gs>
            </a:gsLst>
            <a:path path="circle">
              <a:fillToRect r="100000" b="100000"/>
            </a:path>
          </a:gradFill>
          <a:ln>
            <a:noFill/>
          </a:ln>
          <a:effectLst>
            <a:outerShdw blurRad="444500" dist="317500" dir="5400000" sx="92000" sy="92000" algn="t" rotWithShape="0">
              <a:schemeClr val="accent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HarmonyOS Sans SC"/>
              <a:cs typeface="+mn-cs"/>
            </a:endParaRPr>
          </a:p>
        </p:txBody>
      </p:sp>
      <p:sp>
        <p:nvSpPr>
          <p:cNvPr id="12" name="Freeform 16">
            <a:extLst>
              <a:ext uri="{FF2B5EF4-FFF2-40B4-BE49-F238E27FC236}">
                <a16:creationId xmlns:a16="http://schemas.microsoft.com/office/drawing/2014/main" id="{694C315C-B6F4-4295-B79C-CFF622E46C98}"/>
              </a:ext>
            </a:extLst>
          </p:cNvPr>
          <p:cNvSpPr>
            <a:spLocks/>
          </p:cNvSpPr>
          <p:nvPr/>
        </p:nvSpPr>
        <p:spPr bwMode="auto">
          <a:xfrm>
            <a:off x="9467092" y="2605450"/>
            <a:ext cx="1515779" cy="1463955"/>
          </a:xfrm>
          <a:custGeom>
            <a:avLst/>
            <a:gdLst>
              <a:gd name="T0" fmla="*/ 148 w 295"/>
              <a:gd name="T1" fmla="*/ 0 h 283"/>
              <a:gd name="T2" fmla="*/ 148 w 295"/>
              <a:gd name="T3" fmla="*/ 0 h 283"/>
              <a:gd name="T4" fmla="*/ 25 w 295"/>
              <a:gd name="T5" fmla="*/ 71 h 283"/>
              <a:gd name="T6" fmla="*/ 25 w 295"/>
              <a:gd name="T7" fmla="*/ 71 h 283"/>
              <a:gd name="T8" fmla="*/ 25 w 295"/>
              <a:gd name="T9" fmla="*/ 212 h 283"/>
              <a:gd name="T10" fmla="*/ 25 w 295"/>
              <a:gd name="T11" fmla="*/ 212 h 283"/>
              <a:gd name="T12" fmla="*/ 148 w 295"/>
              <a:gd name="T13" fmla="*/ 283 h 283"/>
              <a:gd name="T14" fmla="*/ 148 w 295"/>
              <a:gd name="T15" fmla="*/ 283 h 283"/>
              <a:gd name="T16" fmla="*/ 270 w 295"/>
              <a:gd name="T17" fmla="*/ 212 h 283"/>
              <a:gd name="T18" fmla="*/ 270 w 295"/>
              <a:gd name="T19" fmla="*/ 212 h 283"/>
              <a:gd name="T20" fmla="*/ 270 w 295"/>
              <a:gd name="T21" fmla="*/ 71 h 283"/>
              <a:gd name="T22" fmla="*/ 270 w 295"/>
              <a:gd name="T23" fmla="*/ 71 h 283"/>
              <a:gd name="T24" fmla="*/ 148 w 295"/>
              <a:gd name="T25" fmla="*/ 0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95" h="283">
                <a:moveTo>
                  <a:pt x="148" y="0"/>
                </a:moveTo>
                <a:cubicBezTo>
                  <a:pt x="148" y="0"/>
                  <a:pt x="148" y="0"/>
                  <a:pt x="148" y="0"/>
                </a:cubicBezTo>
                <a:cubicBezTo>
                  <a:pt x="97" y="0"/>
                  <a:pt x="50" y="27"/>
                  <a:pt x="25" y="71"/>
                </a:cubicBezTo>
                <a:cubicBezTo>
                  <a:pt x="25" y="71"/>
                  <a:pt x="25" y="71"/>
                  <a:pt x="25" y="71"/>
                </a:cubicBezTo>
                <a:cubicBezTo>
                  <a:pt x="0" y="115"/>
                  <a:pt x="0" y="168"/>
                  <a:pt x="25" y="212"/>
                </a:cubicBezTo>
                <a:cubicBezTo>
                  <a:pt x="25" y="212"/>
                  <a:pt x="25" y="212"/>
                  <a:pt x="25" y="212"/>
                </a:cubicBezTo>
                <a:cubicBezTo>
                  <a:pt x="50" y="256"/>
                  <a:pt x="97" y="283"/>
                  <a:pt x="148" y="283"/>
                </a:cubicBezTo>
                <a:cubicBezTo>
                  <a:pt x="148" y="283"/>
                  <a:pt x="148" y="283"/>
                  <a:pt x="148" y="283"/>
                </a:cubicBezTo>
                <a:cubicBezTo>
                  <a:pt x="198" y="283"/>
                  <a:pt x="245" y="256"/>
                  <a:pt x="270" y="212"/>
                </a:cubicBezTo>
                <a:cubicBezTo>
                  <a:pt x="270" y="212"/>
                  <a:pt x="270" y="212"/>
                  <a:pt x="270" y="212"/>
                </a:cubicBezTo>
                <a:cubicBezTo>
                  <a:pt x="295" y="168"/>
                  <a:pt x="295" y="115"/>
                  <a:pt x="270" y="71"/>
                </a:cubicBezTo>
                <a:cubicBezTo>
                  <a:pt x="270" y="71"/>
                  <a:pt x="270" y="71"/>
                  <a:pt x="270" y="71"/>
                </a:cubicBezTo>
                <a:cubicBezTo>
                  <a:pt x="245" y="27"/>
                  <a:pt x="198" y="0"/>
                  <a:pt x="148" y="0"/>
                </a:cubicBezTo>
                <a:close/>
              </a:path>
            </a:pathLst>
          </a:custGeom>
          <a:gradFill>
            <a:gsLst>
              <a:gs pos="73000">
                <a:schemeClr val="accent1"/>
              </a:gs>
              <a:gs pos="31000">
                <a:schemeClr val="accent1">
                  <a:lumMod val="60000"/>
                  <a:lumOff val="40000"/>
                </a:schemeClr>
              </a:gs>
              <a:gs pos="0">
                <a:schemeClr val="accent1">
                  <a:lumMod val="40000"/>
                  <a:lumOff val="60000"/>
                </a:schemeClr>
              </a:gs>
            </a:gsLst>
            <a:path path="circle">
              <a:fillToRect r="100000" b="100000"/>
            </a:path>
          </a:gradFill>
          <a:ln>
            <a:noFill/>
          </a:ln>
          <a:effectLst>
            <a:outerShdw blurRad="444500" dist="317500" dir="5400000" sx="92000" sy="92000" algn="t" rotWithShape="0">
              <a:schemeClr val="accent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HarmonyOS Sans SC"/>
              <a:cs typeface="+mn-cs"/>
            </a:endParaRPr>
          </a:p>
        </p:txBody>
      </p:sp>
      <p:sp>
        <p:nvSpPr>
          <p:cNvPr id="13" name="Freeform 65">
            <a:extLst>
              <a:ext uri="{FF2B5EF4-FFF2-40B4-BE49-F238E27FC236}">
                <a16:creationId xmlns:a16="http://schemas.microsoft.com/office/drawing/2014/main" id="{B202F57B-5134-42A1-A4AD-E044CA5732D2}"/>
              </a:ext>
            </a:extLst>
          </p:cNvPr>
          <p:cNvSpPr>
            <a:spLocks noEditPoints="1"/>
          </p:cNvSpPr>
          <p:nvPr/>
        </p:nvSpPr>
        <p:spPr bwMode="auto">
          <a:xfrm>
            <a:off x="1624920" y="3025242"/>
            <a:ext cx="617847" cy="625048"/>
          </a:xfrm>
          <a:custGeom>
            <a:avLst/>
            <a:gdLst>
              <a:gd name="T0" fmla="*/ 537707 w 160"/>
              <a:gd name="T1" fmla="*/ 6886 h 160"/>
              <a:gd name="T2" fmla="*/ 517287 w 160"/>
              <a:gd name="T3" fmla="*/ 0 h 160"/>
              <a:gd name="T4" fmla="*/ 183773 w 160"/>
              <a:gd name="T5" fmla="*/ 55086 h 160"/>
              <a:gd name="T6" fmla="*/ 166757 w 160"/>
              <a:gd name="T7" fmla="*/ 79187 h 160"/>
              <a:gd name="T8" fmla="*/ 166757 w 160"/>
              <a:gd name="T9" fmla="*/ 392490 h 160"/>
              <a:gd name="T10" fmla="*/ 78274 w 160"/>
              <a:gd name="T11" fmla="*/ 392490 h 160"/>
              <a:gd name="T12" fmla="*/ 0 w 160"/>
              <a:gd name="T13" fmla="*/ 471676 h 160"/>
              <a:gd name="T14" fmla="*/ 78274 w 160"/>
              <a:gd name="T15" fmla="*/ 550863 h 160"/>
              <a:gd name="T16" fmla="*/ 132725 w 160"/>
              <a:gd name="T17" fmla="*/ 550863 h 160"/>
              <a:gd name="T18" fmla="*/ 210999 w 160"/>
              <a:gd name="T19" fmla="*/ 471676 h 160"/>
              <a:gd name="T20" fmla="*/ 210999 w 160"/>
              <a:gd name="T21" fmla="*/ 416590 h 160"/>
              <a:gd name="T22" fmla="*/ 210999 w 160"/>
              <a:gd name="T23" fmla="*/ 96401 h 160"/>
              <a:gd name="T24" fmla="*/ 500271 w 160"/>
              <a:gd name="T25" fmla="*/ 48201 h 160"/>
              <a:gd name="T26" fmla="*/ 500271 w 160"/>
              <a:gd name="T27" fmla="*/ 337404 h 160"/>
              <a:gd name="T28" fmla="*/ 411788 w 160"/>
              <a:gd name="T29" fmla="*/ 337404 h 160"/>
              <a:gd name="T30" fmla="*/ 333514 w 160"/>
              <a:gd name="T31" fmla="*/ 416590 h 160"/>
              <a:gd name="T32" fmla="*/ 411788 w 160"/>
              <a:gd name="T33" fmla="*/ 495777 h 160"/>
              <a:gd name="T34" fmla="*/ 466239 w 160"/>
              <a:gd name="T35" fmla="*/ 495777 h 160"/>
              <a:gd name="T36" fmla="*/ 544513 w 160"/>
              <a:gd name="T37" fmla="*/ 416590 h 160"/>
              <a:gd name="T38" fmla="*/ 544513 w 160"/>
              <a:gd name="T39" fmla="*/ 361504 h 160"/>
              <a:gd name="T40" fmla="*/ 544513 w 160"/>
              <a:gd name="T41" fmla="*/ 20657 h 160"/>
              <a:gd name="T42" fmla="*/ 537707 w 160"/>
              <a:gd name="T43" fmla="*/ 6886 h 160"/>
              <a:gd name="T44" fmla="*/ 166757 w 160"/>
              <a:gd name="T45" fmla="*/ 471676 h 160"/>
              <a:gd name="T46" fmla="*/ 132725 w 160"/>
              <a:gd name="T47" fmla="*/ 506105 h 160"/>
              <a:gd name="T48" fmla="*/ 78274 w 160"/>
              <a:gd name="T49" fmla="*/ 506105 h 160"/>
              <a:gd name="T50" fmla="*/ 44242 w 160"/>
              <a:gd name="T51" fmla="*/ 471676 h 160"/>
              <a:gd name="T52" fmla="*/ 78274 w 160"/>
              <a:gd name="T53" fmla="*/ 437248 h 160"/>
              <a:gd name="T54" fmla="*/ 166757 w 160"/>
              <a:gd name="T55" fmla="*/ 437248 h 160"/>
              <a:gd name="T56" fmla="*/ 166757 w 160"/>
              <a:gd name="T57" fmla="*/ 471676 h 160"/>
              <a:gd name="T58" fmla="*/ 500271 w 160"/>
              <a:gd name="T59" fmla="*/ 416590 h 160"/>
              <a:gd name="T60" fmla="*/ 466239 w 160"/>
              <a:gd name="T61" fmla="*/ 451019 h 160"/>
              <a:gd name="T62" fmla="*/ 411788 w 160"/>
              <a:gd name="T63" fmla="*/ 451019 h 160"/>
              <a:gd name="T64" fmla="*/ 377756 w 160"/>
              <a:gd name="T65" fmla="*/ 416590 h 160"/>
              <a:gd name="T66" fmla="*/ 411788 w 160"/>
              <a:gd name="T67" fmla="*/ 382161 h 160"/>
              <a:gd name="T68" fmla="*/ 500271 w 160"/>
              <a:gd name="T69" fmla="*/ 382161 h 160"/>
              <a:gd name="T70" fmla="*/ 500271 w 160"/>
              <a:gd name="T71" fmla="*/ 416590 h 160"/>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160" h="160">
                <a:moveTo>
                  <a:pt x="158" y="2"/>
                </a:moveTo>
                <a:cubicBezTo>
                  <a:pt x="156" y="0"/>
                  <a:pt x="154" y="0"/>
                  <a:pt x="152" y="0"/>
                </a:cubicBezTo>
                <a:cubicBezTo>
                  <a:pt x="54" y="16"/>
                  <a:pt x="54" y="16"/>
                  <a:pt x="54" y="16"/>
                </a:cubicBezTo>
                <a:cubicBezTo>
                  <a:pt x="51" y="17"/>
                  <a:pt x="49" y="20"/>
                  <a:pt x="49" y="23"/>
                </a:cubicBezTo>
                <a:cubicBezTo>
                  <a:pt x="49" y="114"/>
                  <a:pt x="49" y="114"/>
                  <a:pt x="49" y="114"/>
                </a:cubicBezTo>
                <a:cubicBezTo>
                  <a:pt x="23" y="114"/>
                  <a:pt x="23" y="114"/>
                  <a:pt x="23" y="114"/>
                </a:cubicBezTo>
                <a:cubicBezTo>
                  <a:pt x="10" y="114"/>
                  <a:pt x="0" y="125"/>
                  <a:pt x="0" y="137"/>
                </a:cubicBezTo>
                <a:cubicBezTo>
                  <a:pt x="0" y="150"/>
                  <a:pt x="10" y="160"/>
                  <a:pt x="23" y="160"/>
                </a:cubicBezTo>
                <a:cubicBezTo>
                  <a:pt x="39" y="160"/>
                  <a:pt x="39" y="160"/>
                  <a:pt x="39" y="160"/>
                </a:cubicBezTo>
                <a:cubicBezTo>
                  <a:pt x="52" y="160"/>
                  <a:pt x="62" y="150"/>
                  <a:pt x="62" y="137"/>
                </a:cubicBezTo>
                <a:cubicBezTo>
                  <a:pt x="62" y="121"/>
                  <a:pt x="62" y="121"/>
                  <a:pt x="62" y="121"/>
                </a:cubicBezTo>
                <a:cubicBezTo>
                  <a:pt x="62" y="28"/>
                  <a:pt x="62" y="28"/>
                  <a:pt x="62" y="28"/>
                </a:cubicBezTo>
                <a:cubicBezTo>
                  <a:pt x="147" y="14"/>
                  <a:pt x="147" y="14"/>
                  <a:pt x="147" y="14"/>
                </a:cubicBezTo>
                <a:cubicBezTo>
                  <a:pt x="147" y="98"/>
                  <a:pt x="147" y="98"/>
                  <a:pt x="147" y="98"/>
                </a:cubicBezTo>
                <a:cubicBezTo>
                  <a:pt x="121" y="98"/>
                  <a:pt x="121" y="98"/>
                  <a:pt x="121" y="98"/>
                </a:cubicBezTo>
                <a:cubicBezTo>
                  <a:pt x="108" y="98"/>
                  <a:pt x="98" y="108"/>
                  <a:pt x="98" y="121"/>
                </a:cubicBezTo>
                <a:cubicBezTo>
                  <a:pt x="98" y="133"/>
                  <a:pt x="108" y="144"/>
                  <a:pt x="121" y="144"/>
                </a:cubicBezTo>
                <a:cubicBezTo>
                  <a:pt x="137" y="144"/>
                  <a:pt x="137" y="144"/>
                  <a:pt x="137" y="144"/>
                </a:cubicBezTo>
                <a:cubicBezTo>
                  <a:pt x="150" y="144"/>
                  <a:pt x="160" y="133"/>
                  <a:pt x="160" y="121"/>
                </a:cubicBezTo>
                <a:cubicBezTo>
                  <a:pt x="160" y="105"/>
                  <a:pt x="160" y="105"/>
                  <a:pt x="160" y="105"/>
                </a:cubicBezTo>
                <a:cubicBezTo>
                  <a:pt x="160" y="6"/>
                  <a:pt x="160" y="6"/>
                  <a:pt x="160" y="6"/>
                </a:cubicBezTo>
                <a:cubicBezTo>
                  <a:pt x="160" y="5"/>
                  <a:pt x="159" y="3"/>
                  <a:pt x="158" y="2"/>
                </a:cubicBezTo>
                <a:close/>
                <a:moveTo>
                  <a:pt x="49" y="137"/>
                </a:moveTo>
                <a:cubicBezTo>
                  <a:pt x="49" y="143"/>
                  <a:pt x="45" y="147"/>
                  <a:pt x="39" y="147"/>
                </a:cubicBezTo>
                <a:cubicBezTo>
                  <a:pt x="23" y="147"/>
                  <a:pt x="23" y="147"/>
                  <a:pt x="23" y="147"/>
                </a:cubicBezTo>
                <a:cubicBezTo>
                  <a:pt x="17" y="147"/>
                  <a:pt x="13" y="143"/>
                  <a:pt x="13" y="137"/>
                </a:cubicBezTo>
                <a:cubicBezTo>
                  <a:pt x="13" y="132"/>
                  <a:pt x="17" y="127"/>
                  <a:pt x="23" y="127"/>
                </a:cubicBezTo>
                <a:cubicBezTo>
                  <a:pt x="49" y="127"/>
                  <a:pt x="49" y="127"/>
                  <a:pt x="49" y="127"/>
                </a:cubicBezTo>
                <a:lnTo>
                  <a:pt x="49" y="137"/>
                </a:lnTo>
                <a:close/>
                <a:moveTo>
                  <a:pt x="147" y="121"/>
                </a:moveTo>
                <a:cubicBezTo>
                  <a:pt x="147" y="126"/>
                  <a:pt x="143" y="131"/>
                  <a:pt x="137" y="131"/>
                </a:cubicBezTo>
                <a:cubicBezTo>
                  <a:pt x="121" y="131"/>
                  <a:pt x="121" y="131"/>
                  <a:pt x="121" y="131"/>
                </a:cubicBezTo>
                <a:cubicBezTo>
                  <a:pt x="115" y="131"/>
                  <a:pt x="111" y="126"/>
                  <a:pt x="111" y="121"/>
                </a:cubicBezTo>
                <a:cubicBezTo>
                  <a:pt x="111" y="115"/>
                  <a:pt x="115" y="111"/>
                  <a:pt x="121" y="111"/>
                </a:cubicBezTo>
                <a:cubicBezTo>
                  <a:pt x="147" y="111"/>
                  <a:pt x="147" y="111"/>
                  <a:pt x="147" y="111"/>
                </a:cubicBezTo>
                <a:lnTo>
                  <a:pt x="147" y="121"/>
                </a:lnTo>
                <a:close/>
              </a:path>
            </a:pathLst>
          </a:custGeom>
          <a:solidFill>
            <a:srgbClr val="FFFFFF"/>
          </a:solidFill>
          <a:ln>
            <a:noFill/>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sp>
        <p:nvSpPr>
          <p:cNvPr id="14" name="Freeform 75">
            <a:extLst>
              <a:ext uri="{FF2B5EF4-FFF2-40B4-BE49-F238E27FC236}">
                <a16:creationId xmlns:a16="http://schemas.microsoft.com/office/drawing/2014/main" id="{612C2115-CB06-4413-BA7A-3A4E41764BDD}"/>
              </a:ext>
            </a:extLst>
          </p:cNvPr>
          <p:cNvSpPr>
            <a:spLocks noEditPoints="1"/>
          </p:cNvSpPr>
          <p:nvPr/>
        </p:nvSpPr>
        <p:spPr bwMode="auto">
          <a:xfrm>
            <a:off x="3752012" y="3024339"/>
            <a:ext cx="626858" cy="626854"/>
          </a:xfrm>
          <a:custGeom>
            <a:avLst/>
            <a:gdLst>
              <a:gd name="T0" fmla="*/ 409222 w 162"/>
              <a:gd name="T1" fmla="*/ 380882 h 161"/>
              <a:gd name="T2" fmla="*/ 402402 w 162"/>
              <a:gd name="T3" fmla="*/ 374019 h 161"/>
              <a:gd name="T4" fmla="*/ 341019 w 162"/>
              <a:gd name="T5" fmla="*/ 312254 h 161"/>
              <a:gd name="T6" fmla="*/ 225072 w 162"/>
              <a:gd name="T7" fmla="*/ 192157 h 161"/>
              <a:gd name="T8" fmla="*/ 40922 w 162"/>
              <a:gd name="T9" fmla="*/ 10294 h 161"/>
              <a:gd name="T10" fmla="*/ 10231 w 162"/>
              <a:gd name="T11" fmla="*/ 41176 h 161"/>
              <a:gd name="T12" fmla="*/ 184150 w 162"/>
              <a:gd name="T13" fmla="*/ 277941 h 161"/>
              <a:gd name="T14" fmla="*/ 276225 w 162"/>
              <a:gd name="T15" fmla="*/ 370588 h 161"/>
              <a:gd name="T16" fmla="*/ 323968 w 162"/>
              <a:gd name="T17" fmla="*/ 356862 h 161"/>
              <a:gd name="T18" fmla="*/ 283045 w 162"/>
              <a:gd name="T19" fmla="*/ 418627 h 161"/>
              <a:gd name="T20" fmla="*/ 269405 w 162"/>
              <a:gd name="T21" fmla="*/ 418627 h 161"/>
              <a:gd name="T22" fmla="*/ 139818 w 162"/>
              <a:gd name="T23" fmla="*/ 277941 h 161"/>
              <a:gd name="T24" fmla="*/ 139818 w 162"/>
              <a:gd name="T25" fmla="*/ 233333 h 161"/>
              <a:gd name="T26" fmla="*/ 95485 w 162"/>
              <a:gd name="T27" fmla="*/ 233333 h 161"/>
              <a:gd name="T28" fmla="*/ 150048 w 162"/>
              <a:gd name="T29" fmla="*/ 408333 h 161"/>
              <a:gd name="T30" fmla="*/ 255764 w 162"/>
              <a:gd name="T31" fmla="*/ 507842 h 161"/>
              <a:gd name="T32" fmla="*/ 163689 w 162"/>
              <a:gd name="T33" fmla="*/ 531862 h 161"/>
              <a:gd name="T34" fmla="*/ 368300 w 162"/>
              <a:gd name="T35" fmla="*/ 552450 h 161"/>
              <a:gd name="T36" fmla="*/ 368300 w 162"/>
              <a:gd name="T37" fmla="*/ 507842 h 161"/>
              <a:gd name="T38" fmla="*/ 296686 w 162"/>
              <a:gd name="T39" fmla="*/ 459803 h 161"/>
              <a:gd name="T40" fmla="*/ 511528 w 162"/>
              <a:gd name="T41" fmla="*/ 545587 h 161"/>
              <a:gd name="T42" fmla="*/ 542219 w 162"/>
              <a:gd name="T43" fmla="*/ 545587 h 161"/>
              <a:gd name="T44" fmla="*/ 276225 w 162"/>
              <a:gd name="T45" fmla="*/ 325980 h 161"/>
              <a:gd name="T46" fmla="*/ 242123 w 162"/>
              <a:gd name="T47" fmla="*/ 312254 h 161"/>
              <a:gd name="T48" fmla="*/ 228482 w 162"/>
              <a:gd name="T49" fmla="*/ 264215 h 161"/>
              <a:gd name="T50" fmla="*/ 276225 w 162"/>
              <a:gd name="T51" fmla="*/ 325980 h 161"/>
              <a:gd name="T52" fmla="*/ 276225 w 162"/>
              <a:gd name="T53" fmla="*/ 3431 h 161"/>
              <a:gd name="T54" fmla="*/ 341019 w 162"/>
              <a:gd name="T55" fmla="*/ 30882 h 161"/>
              <a:gd name="T56" fmla="*/ 368300 w 162"/>
              <a:gd name="T57" fmla="*/ 216176 h 161"/>
              <a:gd name="T58" fmla="*/ 323968 w 162"/>
              <a:gd name="T59" fmla="*/ 216176 h 161"/>
              <a:gd name="T60" fmla="*/ 310327 w 162"/>
              <a:gd name="T61" fmla="*/ 61765 h 161"/>
              <a:gd name="T62" fmla="*/ 276225 w 162"/>
              <a:gd name="T63" fmla="*/ 48039 h 161"/>
              <a:gd name="T64" fmla="*/ 204611 w 162"/>
              <a:gd name="T65" fmla="*/ 102941 h 161"/>
              <a:gd name="T66" fmla="*/ 412632 w 162"/>
              <a:gd name="T67" fmla="*/ 301960 h 161"/>
              <a:gd name="T68" fmla="*/ 412632 w 162"/>
              <a:gd name="T69" fmla="*/ 233333 h 161"/>
              <a:gd name="T70" fmla="*/ 456965 w 162"/>
              <a:gd name="T71" fmla="*/ 233333 h 161"/>
              <a:gd name="T72" fmla="*/ 453555 w 162"/>
              <a:gd name="T73" fmla="*/ 308823 h 161"/>
              <a:gd name="T74" fmla="*/ 429683 w 162"/>
              <a:gd name="T75" fmla="*/ 329411 h 161"/>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162" h="161">
                <a:moveTo>
                  <a:pt x="159" y="150"/>
                </a:moveTo>
                <a:cubicBezTo>
                  <a:pt x="120" y="111"/>
                  <a:pt x="120" y="111"/>
                  <a:pt x="120" y="111"/>
                </a:cubicBezTo>
                <a:cubicBezTo>
                  <a:pt x="120" y="110"/>
                  <a:pt x="119" y="110"/>
                  <a:pt x="119" y="109"/>
                </a:cubicBezTo>
                <a:cubicBezTo>
                  <a:pt x="119" y="109"/>
                  <a:pt x="118" y="109"/>
                  <a:pt x="118" y="109"/>
                </a:cubicBezTo>
                <a:cubicBezTo>
                  <a:pt x="100" y="91"/>
                  <a:pt x="100" y="91"/>
                  <a:pt x="100" y="91"/>
                </a:cubicBezTo>
                <a:cubicBezTo>
                  <a:pt x="100" y="91"/>
                  <a:pt x="100" y="91"/>
                  <a:pt x="100" y="91"/>
                </a:cubicBezTo>
                <a:cubicBezTo>
                  <a:pt x="100" y="91"/>
                  <a:pt x="100" y="91"/>
                  <a:pt x="100" y="91"/>
                </a:cubicBezTo>
                <a:cubicBezTo>
                  <a:pt x="66" y="56"/>
                  <a:pt x="66" y="56"/>
                  <a:pt x="66" y="56"/>
                </a:cubicBezTo>
                <a:cubicBezTo>
                  <a:pt x="66" y="56"/>
                  <a:pt x="66" y="56"/>
                  <a:pt x="65" y="56"/>
                </a:cubicBezTo>
                <a:cubicBezTo>
                  <a:pt x="12" y="3"/>
                  <a:pt x="12" y="3"/>
                  <a:pt x="12" y="3"/>
                </a:cubicBezTo>
                <a:cubicBezTo>
                  <a:pt x="10" y="0"/>
                  <a:pt x="5" y="0"/>
                  <a:pt x="3" y="3"/>
                </a:cubicBezTo>
                <a:cubicBezTo>
                  <a:pt x="0" y="5"/>
                  <a:pt x="0" y="10"/>
                  <a:pt x="3" y="12"/>
                </a:cubicBezTo>
                <a:cubicBezTo>
                  <a:pt x="54" y="64"/>
                  <a:pt x="54" y="64"/>
                  <a:pt x="54" y="64"/>
                </a:cubicBezTo>
                <a:cubicBezTo>
                  <a:pt x="54" y="81"/>
                  <a:pt x="54" y="81"/>
                  <a:pt x="54" y="81"/>
                </a:cubicBezTo>
                <a:cubicBezTo>
                  <a:pt x="54" y="88"/>
                  <a:pt x="57" y="95"/>
                  <a:pt x="62" y="100"/>
                </a:cubicBezTo>
                <a:cubicBezTo>
                  <a:pt x="67" y="105"/>
                  <a:pt x="74" y="108"/>
                  <a:pt x="81" y="108"/>
                </a:cubicBezTo>
                <a:cubicBezTo>
                  <a:pt x="81" y="108"/>
                  <a:pt x="81" y="108"/>
                  <a:pt x="81" y="108"/>
                </a:cubicBezTo>
                <a:cubicBezTo>
                  <a:pt x="86" y="108"/>
                  <a:pt x="91" y="106"/>
                  <a:pt x="95" y="104"/>
                </a:cubicBezTo>
                <a:cubicBezTo>
                  <a:pt x="105" y="114"/>
                  <a:pt x="105" y="114"/>
                  <a:pt x="105" y="114"/>
                </a:cubicBezTo>
                <a:cubicBezTo>
                  <a:pt x="98" y="119"/>
                  <a:pt x="90" y="121"/>
                  <a:pt x="83" y="122"/>
                </a:cubicBezTo>
                <a:cubicBezTo>
                  <a:pt x="82" y="121"/>
                  <a:pt x="82" y="121"/>
                  <a:pt x="81" y="121"/>
                </a:cubicBezTo>
                <a:cubicBezTo>
                  <a:pt x="80" y="121"/>
                  <a:pt x="80" y="121"/>
                  <a:pt x="79" y="122"/>
                </a:cubicBezTo>
                <a:cubicBezTo>
                  <a:pt x="70" y="121"/>
                  <a:pt x="60" y="117"/>
                  <a:pt x="53" y="110"/>
                </a:cubicBezTo>
                <a:cubicBezTo>
                  <a:pt x="45" y="103"/>
                  <a:pt x="41" y="92"/>
                  <a:pt x="41" y="81"/>
                </a:cubicBezTo>
                <a:cubicBezTo>
                  <a:pt x="41" y="81"/>
                  <a:pt x="41" y="81"/>
                  <a:pt x="41" y="81"/>
                </a:cubicBezTo>
                <a:cubicBezTo>
                  <a:pt x="41" y="68"/>
                  <a:pt x="41" y="68"/>
                  <a:pt x="41" y="68"/>
                </a:cubicBezTo>
                <a:cubicBezTo>
                  <a:pt x="41" y="64"/>
                  <a:pt x="38" y="61"/>
                  <a:pt x="34" y="61"/>
                </a:cubicBezTo>
                <a:cubicBezTo>
                  <a:pt x="31" y="61"/>
                  <a:pt x="28" y="64"/>
                  <a:pt x="28" y="68"/>
                </a:cubicBezTo>
                <a:cubicBezTo>
                  <a:pt x="28" y="81"/>
                  <a:pt x="28" y="81"/>
                  <a:pt x="28" y="81"/>
                </a:cubicBezTo>
                <a:cubicBezTo>
                  <a:pt x="28" y="95"/>
                  <a:pt x="33" y="109"/>
                  <a:pt x="44" y="119"/>
                </a:cubicBezTo>
                <a:cubicBezTo>
                  <a:pt x="52" y="128"/>
                  <a:pt x="63" y="133"/>
                  <a:pt x="75" y="134"/>
                </a:cubicBezTo>
                <a:cubicBezTo>
                  <a:pt x="75" y="148"/>
                  <a:pt x="75" y="148"/>
                  <a:pt x="75" y="148"/>
                </a:cubicBezTo>
                <a:cubicBezTo>
                  <a:pt x="54" y="148"/>
                  <a:pt x="54" y="148"/>
                  <a:pt x="54" y="148"/>
                </a:cubicBezTo>
                <a:cubicBezTo>
                  <a:pt x="51" y="148"/>
                  <a:pt x="48" y="151"/>
                  <a:pt x="48" y="155"/>
                </a:cubicBezTo>
                <a:cubicBezTo>
                  <a:pt x="48" y="158"/>
                  <a:pt x="51" y="161"/>
                  <a:pt x="54" y="161"/>
                </a:cubicBezTo>
                <a:cubicBezTo>
                  <a:pt x="108" y="161"/>
                  <a:pt x="108" y="161"/>
                  <a:pt x="108" y="161"/>
                </a:cubicBezTo>
                <a:cubicBezTo>
                  <a:pt x="111" y="161"/>
                  <a:pt x="114" y="158"/>
                  <a:pt x="114" y="155"/>
                </a:cubicBezTo>
                <a:cubicBezTo>
                  <a:pt x="114" y="151"/>
                  <a:pt x="111" y="148"/>
                  <a:pt x="108" y="148"/>
                </a:cubicBezTo>
                <a:cubicBezTo>
                  <a:pt x="87" y="148"/>
                  <a:pt x="87" y="148"/>
                  <a:pt x="87" y="148"/>
                </a:cubicBezTo>
                <a:cubicBezTo>
                  <a:pt x="87" y="134"/>
                  <a:pt x="87" y="134"/>
                  <a:pt x="87" y="134"/>
                </a:cubicBezTo>
                <a:cubicBezTo>
                  <a:pt x="97" y="133"/>
                  <a:pt x="106" y="129"/>
                  <a:pt x="114" y="123"/>
                </a:cubicBezTo>
                <a:cubicBezTo>
                  <a:pt x="150" y="159"/>
                  <a:pt x="150" y="159"/>
                  <a:pt x="150" y="159"/>
                </a:cubicBezTo>
                <a:cubicBezTo>
                  <a:pt x="151" y="160"/>
                  <a:pt x="153" y="161"/>
                  <a:pt x="155" y="161"/>
                </a:cubicBezTo>
                <a:cubicBezTo>
                  <a:pt x="156" y="161"/>
                  <a:pt x="158" y="160"/>
                  <a:pt x="159" y="159"/>
                </a:cubicBezTo>
                <a:cubicBezTo>
                  <a:pt x="162" y="157"/>
                  <a:pt x="162" y="152"/>
                  <a:pt x="159" y="150"/>
                </a:cubicBezTo>
                <a:close/>
                <a:moveTo>
                  <a:pt x="81" y="95"/>
                </a:moveTo>
                <a:cubicBezTo>
                  <a:pt x="81" y="95"/>
                  <a:pt x="81" y="95"/>
                  <a:pt x="81" y="95"/>
                </a:cubicBezTo>
                <a:cubicBezTo>
                  <a:pt x="77" y="95"/>
                  <a:pt x="74" y="93"/>
                  <a:pt x="71" y="91"/>
                </a:cubicBezTo>
                <a:cubicBezTo>
                  <a:pt x="69" y="88"/>
                  <a:pt x="67" y="85"/>
                  <a:pt x="67" y="81"/>
                </a:cubicBezTo>
                <a:cubicBezTo>
                  <a:pt x="67" y="77"/>
                  <a:pt x="67" y="77"/>
                  <a:pt x="67" y="77"/>
                </a:cubicBezTo>
                <a:cubicBezTo>
                  <a:pt x="85" y="94"/>
                  <a:pt x="85" y="94"/>
                  <a:pt x="85" y="94"/>
                </a:cubicBezTo>
                <a:cubicBezTo>
                  <a:pt x="84" y="94"/>
                  <a:pt x="82" y="95"/>
                  <a:pt x="81" y="95"/>
                </a:cubicBezTo>
                <a:close/>
                <a:moveTo>
                  <a:pt x="55" y="22"/>
                </a:moveTo>
                <a:cubicBezTo>
                  <a:pt x="58" y="10"/>
                  <a:pt x="68" y="1"/>
                  <a:pt x="81" y="1"/>
                </a:cubicBezTo>
                <a:cubicBezTo>
                  <a:pt x="81" y="1"/>
                  <a:pt x="81" y="1"/>
                  <a:pt x="81" y="1"/>
                </a:cubicBezTo>
                <a:cubicBezTo>
                  <a:pt x="88" y="1"/>
                  <a:pt x="95" y="4"/>
                  <a:pt x="100" y="9"/>
                </a:cubicBezTo>
                <a:cubicBezTo>
                  <a:pt x="105" y="14"/>
                  <a:pt x="108" y="20"/>
                  <a:pt x="108" y="28"/>
                </a:cubicBezTo>
                <a:cubicBezTo>
                  <a:pt x="108" y="63"/>
                  <a:pt x="108" y="63"/>
                  <a:pt x="108" y="63"/>
                </a:cubicBezTo>
                <a:cubicBezTo>
                  <a:pt x="108" y="67"/>
                  <a:pt x="105" y="70"/>
                  <a:pt x="101" y="70"/>
                </a:cubicBezTo>
                <a:cubicBezTo>
                  <a:pt x="97" y="70"/>
                  <a:pt x="95" y="67"/>
                  <a:pt x="95" y="63"/>
                </a:cubicBezTo>
                <a:cubicBezTo>
                  <a:pt x="95" y="28"/>
                  <a:pt x="95" y="28"/>
                  <a:pt x="95" y="28"/>
                </a:cubicBezTo>
                <a:cubicBezTo>
                  <a:pt x="95" y="24"/>
                  <a:pt x="93" y="20"/>
                  <a:pt x="91" y="18"/>
                </a:cubicBezTo>
                <a:cubicBezTo>
                  <a:pt x="88" y="15"/>
                  <a:pt x="85" y="14"/>
                  <a:pt x="81" y="14"/>
                </a:cubicBezTo>
                <a:cubicBezTo>
                  <a:pt x="81" y="14"/>
                  <a:pt x="81" y="14"/>
                  <a:pt x="81" y="14"/>
                </a:cubicBezTo>
                <a:cubicBezTo>
                  <a:pt x="75" y="14"/>
                  <a:pt x="69" y="19"/>
                  <a:pt x="68" y="25"/>
                </a:cubicBezTo>
                <a:cubicBezTo>
                  <a:pt x="67" y="28"/>
                  <a:pt x="64" y="31"/>
                  <a:pt x="60" y="30"/>
                </a:cubicBezTo>
                <a:cubicBezTo>
                  <a:pt x="57" y="29"/>
                  <a:pt x="54" y="26"/>
                  <a:pt x="55" y="22"/>
                </a:cubicBezTo>
                <a:close/>
                <a:moveTo>
                  <a:pt x="121" y="88"/>
                </a:moveTo>
                <a:cubicBezTo>
                  <a:pt x="121" y="86"/>
                  <a:pt x="121" y="83"/>
                  <a:pt x="121" y="81"/>
                </a:cubicBezTo>
                <a:cubicBezTo>
                  <a:pt x="121" y="68"/>
                  <a:pt x="121" y="68"/>
                  <a:pt x="121" y="68"/>
                </a:cubicBezTo>
                <a:cubicBezTo>
                  <a:pt x="121" y="64"/>
                  <a:pt x="124" y="61"/>
                  <a:pt x="128" y="61"/>
                </a:cubicBezTo>
                <a:cubicBezTo>
                  <a:pt x="131" y="61"/>
                  <a:pt x="134" y="64"/>
                  <a:pt x="134" y="68"/>
                </a:cubicBezTo>
                <a:cubicBezTo>
                  <a:pt x="134" y="81"/>
                  <a:pt x="134" y="81"/>
                  <a:pt x="134" y="81"/>
                </a:cubicBezTo>
                <a:cubicBezTo>
                  <a:pt x="134" y="84"/>
                  <a:pt x="134" y="87"/>
                  <a:pt x="133" y="90"/>
                </a:cubicBezTo>
                <a:cubicBezTo>
                  <a:pt x="133" y="94"/>
                  <a:pt x="130" y="96"/>
                  <a:pt x="127" y="96"/>
                </a:cubicBezTo>
                <a:cubicBezTo>
                  <a:pt x="127" y="96"/>
                  <a:pt x="126" y="96"/>
                  <a:pt x="126" y="96"/>
                </a:cubicBezTo>
                <a:cubicBezTo>
                  <a:pt x="122" y="95"/>
                  <a:pt x="120" y="92"/>
                  <a:pt x="121" y="88"/>
                </a:cubicBezTo>
                <a:close/>
              </a:path>
            </a:pathLst>
          </a:custGeom>
          <a:solidFill>
            <a:srgbClr val="FFFFFF"/>
          </a:solidFill>
          <a:ln>
            <a:noFill/>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sp>
        <p:nvSpPr>
          <p:cNvPr id="15" name="Freeform 61">
            <a:extLst>
              <a:ext uri="{FF2B5EF4-FFF2-40B4-BE49-F238E27FC236}">
                <a16:creationId xmlns:a16="http://schemas.microsoft.com/office/drawing/2014/main" id="{4F10792B-E283-46F5-8D55-41B29D801AE0}"/>
              </a:ext>
            </a:extLst>
          </p:cNvPr>
          <p:cNvSpPr>
            <a:spLocks noEditPoints="1"/>
          </p:cNvSpPr>
          <p:nvPr/>
        </p:nvSpPr>
        <p:spPr bwMode="auto">
          <a:xfrm>
            <a:off x="5809075" y="3043127"/>
            <a:ext cx="583530" cy="588601"/>
          </a:xfrm>
          <a:custGeom>
            <a:avLst/>
            <a:gdLst>
              <a:gd name="T0" fmla="*/ 540884 w 161"/>
              <a:gd name="T1" fmla="*/ 137255 h 161"/>
              <a:gd name="T2" fmla="*/ 445634 w 161"/>
              <a:gd name="T3" fmla="*/ 233333 h 161"/>
              <a:gd name="T4" fmla="*/ 415018 w 161"/>
              <a:gd name="T5" fmla="*/ 233333 h 161"/>
              <a:gd name="T6" fmla="*/ 472849 w 161"/>
              <a:gd name="T7" fmla="*/ 144117 h 161"/>
              <a:gd name="T8" fmla="*/ 312965 w 161"/>
              <a:gd name="T9" fmla="*/ 123529 h 161"/>
              <a:gd name="T10" fmla="*/ 472849 w 161"/>
              <a:gd name="T11" fmla="*/ 99510 h 161"/>
              <a:gd name="T12" fmla="*/ 415018 w 161"/>
              <a:gd name="T13" fmla="*/ 10294 h 161"/>
              <a:gd name="T14" fmla="*/ 540884 w 161"/>
              <a:gd name="T15" fmla="*/ 106372 h 161"/>
              <a:gd name="T16" fmla="*/ 544286 w 161"/>
              <a:gd name="T17" fmla="*/ 109804 h 161"/>
              <a:gd name="T18" fmla="*/ 544286 w 161"/>
              <a:gd name="T19" fmla="*/ 116666 h 161"/>
              <a:gd name="T20" fmla="*/ 547688 w 161"/>
              <a:gd name="T21" fmla="*/ 123529 h 161"/>
              <a:gd name="T22" fmla="*/ 547688 w 161"/>
              <a:gd name="T23" fmla="*/ 123529 h 161"/>
              <a:gd name="T24" fmla="*/ 547688 w 161"/>
              <a:gd name="T25" fmla="*/ 126961 h 161"/>
              <a:gd name="T26" fmla="*/ 544286 w 161"/>
              <a:gd name="T27" fmla="*/ 130392 h 161"/>
              <a:gd name="T28" fmla="*/ 544286 w 161"/>
              <a:gd name="T29" fmla="*/ 133823 h 161"/>
              <a:gd name="T30" fmla="*/ 523875 w 161"/>
              <a:gd name="T31" fmla="*/ 480391 h 161"/>
              <a:gd name="T32" fmla="*/ 452438 w 161"/>
              <a:gd name="T33" fmla="*/ 552450 h 161"/>
              <a:gd name="T34" fmla="*/ 445634 w 161"/>
              <a:gd name="T35" fmla="*/ 552450 h 161"/>
              <a:gd name="T36" fmla="*/ 81643 w 161"/>
              <a:gd name="T37" fmla="*/ 322548 h 161"/>
              <a:gd name="T38" fmla="*/ 3402 w 161"/>
              <a:gd name="T39" fmla="*/ 102941 h 161"/>
              <a:gd name="T40" fmla="*/ 74839 w 161"/>
              <a:gd name="T41" fmla="*/ 27451 h 161"/>
              <a:gd name="T42" fmla="*/ 214313 w 161"/>
              <a:gd name="T43" fmla="*/ 89216 h 161"/>
              <a:gd name="T44" fmla="*/ 231322 w 161"/>
              <a:gd name="T45" fmla="*/ 150980 h 161"/>
              <a:gd name="T46" fmla="*/ 214313 w 161"/>
              <a:gd name="T47" fmla="*/ 226470 h 161"/>
              <a:gd name="T48" fmla="*/ 309563 w 161"/>
              <a:gd name="T49" fmla="*/ 356862 h 161"/>
              <a:gd name="T50" fmla="*/ 326572 w 161"/>
              <a:gd name="T51" fmla="*/ 339705 h 161"/>
              <a:gd name="T52" fmla="*/ 462643 w 161"/>
              <a:gd name="T53" fmla="*/ 339705 h 161"/>
              <a:gd name="T54" fmla="*/ 523875 w 161"/>
              <a:gd name="T55" fmla="*/ 408333 h 161"/>
              <a:gd name="T56" fmla="*/ 455840 w 161"/>
              <a:gd name="T57" fmla="*/ 380882 h 161"/>
              <a:gd name="T58" fmla="*/ 357188 w 161"/>
              <a:gd name="T59" fmla="*/ 370588 h 161"/>
              <a:gd name="T60" fmla="*/ 299357 w 161"/>
              <a:gd name="T61" fmla="*/ 404901 h 161"/>
              <a:gd name="T62" fmla="*/ 153080 w 161"/>
              <a:gd name="T63" fmla="*/ 226470 h 161"/>
              <a:gd name="T64" fmla="*/ 190500 w 161"/>
              <a:gd name="T65" fmla="*/ 168137 h 161"/>
              <a:gd name="T66" fmla="*/ 146277 w 161"/>
              <a:gd name="T67" fmla="*/ 72059 h 161"/>
              <a:gd name="T68" fmla="*/ 74839 w 161"/>
              <a:gd name="T69" fmla="*/ 72059 h 161"/>
              <a:gd name="T70" fmla="*/ 47625 w 161"/>
              <a:gd name="T71" fmla="*/ 99510 h 161"/>
              <a:gd name="T72" fmla="*/ 119063 w 161"/>
              <a:gd name="T73" fmla="*/ 298529 h 161"/>
              <a:gd name="T74" fmla="*/ 255134 w 161"/>
              <a:gd name="T75" fmla="*/ 435784 h 161"/>
              <a:gd name="T76" fmla="*/ 452438 w 161"/>
              <a:gd name="T77" fmla="*/ 507842 h 161"/>
              <a:gd name="T78" fmla="*/ 479652 w 161"/>
              <a:gd name="T79" fmla="*/ 408333 h 161"/>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161" h="161">
                <a:moveTo>
                  <a:pt x="160" y="39"/>
                </a:moveTo>
                <a:cubicBezTo>
                  <a:pt x="159" y="39"/>
                  <a:pt x="159" y="40"/>
                  <a:pt x="159" y="40"/>
                </a:cubicBezTo>
                <a:cubicBezTo>
                  <a:pt x="159" y="40"/>
                  <a:pt x="159" y="40"/>
                  <a:pt x="159" y="40"/>
                </a:cubicBezTo>
                <a:cubicBezTo>
                  <a:pt x="131" y="68"/>
                  <a:pt x="131" y="68"/>
                  <a:pt x="131" y="68"/>
                </a:cubicBezTo>
                <a:cubicBezTo>
                  <a:pt x="129" y="70"/>
                  <a:pt x="128" y="70"/>
                  <a:pt x="126" y="70"/>
                </a:cubicBezTo>
                <a:cubicBezTo>
                  <a:pt x="124" y="70"/>
                  <a:pt x="123" y="70"/>
                  <a:pt x="122" y="68"/>
                </a:cubicBezTo>
                <a:cubicBezTo>
                  <a:pt x="119" y="66"/>
                  <a:pt x="119" y="62"/>
                  <a:pt x="122" y="59"/>
                </a:cubicBezTo>
                <a:cubicBezTo>
                  <a:pt x="139" y="42"/>
                  <a:pt x="139" y="42"/>
                  <a:pt x="139" y="42"/>
                </a:cubicBezTo>
                <a:cubicBezTo>
                  <a:pt x="98" y="42"/>
                  <a:pt x="98" y="42"/>
                  <a:pt x="98" y="42"/>
                </a:cubicBezTo>
                <a:cubicBezTo>
                  <a:pt x="94" y="42"/>
                  <a:pt x="92" y="39"/>
                  <a:pt x="92" y="36"/>
                </a:cubicBezTo>
                <a:cubicBezTo>
                  <a:pt x="92" y="32"/>
                  <a:pt x="94" y="29"/>
                  <a:pt x="98" y="29"/>
                </a:cubicBezTo>
                <a:cubicBezTo>
                  <a:pt x="139" y="29"/>
                  <a:pt x="139" y="29"/>
                  <a:pt x="139" y="29"/>
                </a:cubicBezTo>
                <a:cubicBezTo>
                  <a:pt x="122" y="12"/>
                  <a:pt x="122" y="12"/>
                  <a:pt x="122" y="12"/>
                </a:cubicBezTo>
                <a:cubicBezTo>
                  <a:pt x="119" y="10"/>
                  <a:pt x="119" y="5"/>
                  <a:pt x="122" y="3"/>
                </a:cubicBezTo>
                <a:cubicBezTo>
                  <a:pt x="124" y="0"/>
                  <a:pt x="128" y="0"/>
                  <a:pt x="131" y="3"/>
                </a:cubicBezTo>
                <a:cubicBezTo>
                  <a:pt x="159" y="31"/>
                  <a:pt x="159" y="31"/>
                  <a:pt x="159" y="31"/>
                </a:cubicBezTo>
                <a:cubicBezTo>
                  <a:pt x="159" y="31"/>
                  <a:pt x="159" y="32"/>
                  <a:pt x="160" y="32"/>
                </a:cubicBezTo>
                <a:cubicBezTo>
                  <a:pt x="160" y="32"/>
                  <a:pt x="160" y="32"/>
                  <a:pt x="160" y="32"/>
                </a:cubicBezTo>
                <a:cubicBezTo>
                  <a:pt x="160" y="33"/>
                  <a:pt x="160" y="33"/>
                  <a:pt x="160" y="33"/>
                </a:cubicBezTo>
                <a:cubicBezTo>
                  <a:pt x="160" y="33"/>
                  <a:pt x="160" y="33"/>
                  <a:pt x="160" y="34"/>
                </a:cubicBezTo>
                <a:cubicBezTo>
                  <a:pt x="160" y="34"/>
                  <a:pt x="161" y="34"/>
                  <a:pt x="161" y="34"/>
                </a:cubicBezTo>
                <a:cubicBezTo>
                  <a:pt x="161" y="35"/>
                  <a:pt x="161" y="35"/>
                  <a:pt x="161" y="36"/>
                </a:cubicBezTo>
                <a:cubicBezTo>
                  <a:pt x="161" y="36"/>
                  <a:pt x="161" y="36"/>
                  <a:pt x="161" y="36"/>
                </a:cubicBezTo>
                <a:cubicBezTo>
                  <a:pt x="161" y="36"/>
                  <a:pt x="161" y="36"/>
                  <a:pt x="161" y="36"/>
                </a:cubicBezTo>
                <a:cubicBezTo>
                  <a:pt x="161" y="36"/>
                  <a:pt x="161" y="36"/>
                  <a:pt x="161" y="36"/>
                </a:cubicBezTo>
                <a:cubicBezTo>
                  <a:pt x="161" y="36"/>
                  <a:pt x="161" y="36"/>
                  <a:pt x="161" y="37"/>
                </a:cubicBezTo>
                <a:cubicBezTo>
                  <a:pt x="161" y="37"/>
                  <a:pt x="160" y="37"/>
                  <a:pt x="160" y="38"/>
                </a:cubicBezTo>
                <a:cubicBezTo>
                  <a:pt x="160" y="38"/>
                  <a:pt x="160" y="38"/>
                  <a:pt x="160" y="38"/>
                </a:cubicBezTo>
                <a:cubicBezTo>
                  <a:pt x="160" y="38"/>
                  <a:pt x="160" y="39"/>
                  <a:pt x="160" y="39"/>
                </a:cubicBezTo>
                <a:cubicBezTo>
                  <a:pt x="160" y="39"/>
                  <a:pt x="160" y="39"/>
                  <a:pt x="160" y="39"/>
                </a:cubicBezTo>
                <a:close/>
                <a:moveTo>
                  <a:pt x="154" y="119"/>
                </a:moveTo>
                <a:cubicBezTo>
                  <a:pt x="154" y="140"/>
                  <a:pt x="154" y="140"/>
                  <a:pt x="154" y="140"/>
                </a:cubicBezTo>
                <a:cubicBezTo>
                  <a:pt x="154" y="152"/>
                  <a:pt x="145" y="161"/>
                  <a:pt x="133" y="161"/>
                </a:cubicBezTo>
                <a:cubicBezTo>
                  <a:pt x="133" y="161"/>
                  <a:pt x="133" y="161"/>
                  <a:pt x="133" y="161"/>
                </a:cubicBezTo>
                <a:cubicBezTo>
                  <a:pt x="133" y="161"/>
                  <a:pt x="132" y="161"/>
                  <a:pt x="131" y="161"/>
                </a:cubicBezTo>
                <a:cubicBezTo>
                  <a:pt x="131" y="161"/>
                  <a:pt x="131" y="161"/>
                  <a:pt x="131" y="161"/>
                </a:cubicBezTo>
                <a:cubicBezTo>
                  <a:pt x="109" y="158"/>
                  <a:pt x="87" y="151"/>
                  <a:pt x="68" y="138"/>
                </a:cubicBezTo>
                <a:cubicBezTo>
                  <a:pt x="50" y="127"/>
                  <a:pt x="35" y="112"/>
                  <a:pt x="24" y="94"/>
                </a:cubicBezTo>
                <a:cubicBezTo>
                  <a:pt x="11" y="75"/>
                  <a:pt x="3" y="53"/>
                  <a:pt x="1" y="30"/>
                </a:cubicBezTo>
                <a:cubicBezTo>
                  <a:pt x="1" y="30"/>
                  <a:pt x="1" y="30"/>
                  <a:pt x="1" y="30"/>
                </a:cubicBezTo>
                <a:cubicBezTo>
                  <a:pt x="0" y="19"/>
                  <a:pt x="8" y="9"/>
                  <a:pt x="20" y="8"/>
                </a:cubicBezTo>
                <a:cubicBezTo>
                  <a:pt x="20" y="8"/>
                  <a:pt x="21" y="8"/>
                  <a:pt x="22" y="8"/>
                </a:cubicBezTo>
                <a:cubicBezTo>
                  <a:pt x="43" y="8"/>
                  <a:pt x="43" y="8"/>
                  <a:pt x="43" y="8"/>
                </a:cubicBezTo>
                <a:cubicBezTo>
                  <a:pt x="53" y="8"/>
                  <a:pt x="62" y="16"/>
                  <a:pt x="63" y="26"/>
                </a:cubicBezTo>
                <a:cubicBezTo>
                  <a:pt x="63" y="26"/>
                  <a:pt x="63" y="26"/>
                  <a:pt x="63" y="26"/>
                </a:cubicBezTo>
                <a:cubicBezTo>
                  <a:pt x="64" y="32"/>
                  <a:pt x="65" y="38"/>
                  <a:pt x="68" y="44"/>
                </a:cubicBezTo>
                <a:cubicBezTo>
                  <a:pt x="70" y="52"/>
                  <a:pt x="69" y="60"/>
                  <a:pt x="63" y="66"/>
                </a:cubicBezTo>
                <a:cubicBezTo>
                  <a:pt x="63" y="66"/>
                  <a:pt x="63" y="66"/>
                  <a:pt x="63" y="66"/>
                </a:cubicBezTo>
                <a:cubicBezTo>
                  <a:pt x="58" y="71"/>
                  <a:pt x="58" y="71"/>
                  <a:pt x="58" y="71"/>
                </a:cubicBezTo>
                <a:cubicBezTo>
                  <a:pt x="66" y="84"/>
                  <a:pt x="77" y="96"/>
                  <a:pt x="91" y="104"/>
                </a:cubicBezTo>
                <a:cubicBezTo>
                  <a:pt x="96" y="99"/>
                  <a:pt x="96" y="99"/>
                  <a:pt x="96" y="99"/>
                </a:cubicBezTo>
                <a:cubicBezTo>
                  <a:pt x="96" y="99"/>
                  <a:pt x="96" y="99"/>
                  <a:pt x="96" y="99"/>
                </a:cubicBezTo>
                <a:cubicBezTo>
                  <a:pt x="102" y="93"/>
                  <a:pt x="110" y="91"/>
                  <a:pt x="118" y="94"/>
                </a:cubicBezTo>
                <a:cubicBezTo>
                  <a:pt x="124" y="96"/>
                  <a:pt x="130" y="98"/>
                  <a:pt x="136" y="99"/>
                </a:cubicBezTo>
                <a:cubicBezTo>
                  <a:pt x="136" y="99"/>
                  <a:pt x="136" y="99"/>
                  <a:pt x="136" y="99"/>
                </a:cubicBezTo>
                <a:cubicBezTo>
                  <a:pt x="146" y="100"/>
                  <a:pt x="154" y="109"/>
                  <a:pt x="154" y="119"/>
                </a:cubicBezTo>
                <a:close/>
                <a:moveTo>
                  <a:pt x="141" y="119"/>
                </a:moveTo>
                <a:cubicBezTo>
                  <a:pt x="141" y="115"/>
                  <a:pt x="138" y="112"/>
                  <a:pt x="134" y="111"/>
                </a:cubicBezTo>
                <a:cubicBezTo>
                  <a:pt x="127" y="111"/>
                  <a:pt x="120" y="109"/>
                  <a:pt x="113" y="106"/>
                </a:cubicBezTo>
                <a:cubicBezTo>
                  <a:pt x="110" y="105"/>
                  <a:pt x="107" y="106"/>
                  <a:pt x="105" y="108"/>
                </a:cubicBezTo>
                <a:cubicBezTo>
                  <a:pt x="96" y="117"/>
                  <a:pt x="96" y="117"/>
                  <a:pt x="96" y="117"/>
                </a:cubicBezTo>
                <a:cubicBezTo>
                  <a:pt x="94" y="119"/>
                  <a:pt x="91" y="119"/>
                  <a:pt x="88" y="118"/>
                </a:cubicBezTo>
                <a:cubicBezTo>
                  <a:pt x="70" y="107"/>
                  <a:pt x="54" y="92"/>
                  <a:pt x="44" y="73"/>
                </a:cubicBezTo>
                <a:cubicBezTo>
                  <a:pt x="42" y="71"/>
                  <a:pt x="43" y="68"/>
                  <a:pt x="45" y="66"/>
                </a:cubicBezTo>
                <a:cubicBezTo>
                  <a:pt x="54" y="57"/>
                  <a:pt x="54" y="57"/>
                  <a:pt x="54" y="57"/>
                </a:cubicBezTo>
                <a:cubicBezTo>
                  <a:pt x="56" y="54"/>
                  <a:pt x="57" y="51"/>
                  <a:pt x="56" y="49"/>
                </a:cubicBezTo>
                <a:cubicBezTo>
                  <a:pt x="53" y="42"/>
                  <a:pt x="51" y="35"/>
                  <a:pt x="50" y="27"/>
                </a:cubicBezTo>
                <a:cubicBezTo>
                  <a:pt x="50" y="24"/>
                  <a:pt x="46" y="21"/>
                  <a:pt x="43" y="21"/>
                </a:cubicBezTo>
                <a:cubicBezTo>
                  <a:pt x="43" y="21"/>
                  <a:pt x="43" y="21"/>
                  <a:pt x="43" y="21"/>
                </a:cubicBezTo>
                <a:cubicBezTo>
                  <a:pt x="22" y="21"/>
                  <a:pt x="22" y="21"/>
                  <a:pt x="22" y="21"/>
                </a:cubicBezTo>
                <a:cubicBezTo>
                  <a:pt x="21" y="21"/>
                  <a:pt x="21" y="21"/>
                  <a:pt x="21" y="21"/>
                </a:cubicBezTo>
                <a:cubicBezTo>
                  <a:pt x="17" y="21"/>
                  <a:pt x="14" y="25"/>
                  <a:pt x="14" y="29"/>
                </a:cubicBezTo>
                <a:cubicBezTo>
                  <a:pt x="16" y="50"/>
                  <a:pt x="23" y="70"/>
                  <a:pt x="35" y="87"/>
                </a:cubicBezTo>
                <a:cubicBezTo>
                  <a:pt x="35" y="87"/>
                  <a:pt x="35" y="87"/>
                  <a:pt x="35" y="87"/>
                </a:cubicBezTo>
                <a:cubicBezTo>
                  <a:pt x="45" y="103"/>
                  <a:pt x="59" y="117"/>
                  <a:pt x="75" y="127"/>
                </a:cubicBezTo>
                <a:cubicBezTo>
                  <a:pt x="75" y="127"/>
                  <a:pt x="75" y="127"/>
                  <a:pt x="75" y="127"/>
                </a:cubicBezTo>
                <a:cubicBezTo>
                  <a:pt x="92" y="139"/>
                  <a:pt x="112" y="146"/>
                  <a:pt x="133" y="148"/>
                </a:cubicBezTo>
                <a:cubicBezTo>
                  <a:pt x="133" y="148"/>
                  <a:pt x="133" y="148"/>
                  <a:pt x="133" y="148"/>
                </a:cubicBezTo>
                <a:cubicBezTo>
                  <a:pt x="137" y="148"/>
                  <a:pt x="141" y="145"/>
                  <a:pt x="141" y="140"/>
                </a:cubicBezTo>
                <a:cubicBezTo>
                  <a:pt x="141" y="119"/>
                  <a:pt x="141" y="119"/>
                  <a:pt x="141" y="119"/>
                </a:cubicBezTo>
                <a:cubicBezTo>
                  <a:pt x="141" y="119"/>
                  <a:pt x="141" y="119"/>
                  <a:pt x="141" y="119"/>
                </a:cubicBezTo>
                <a:close/>
              </a:path>
            </a:pathLst>
          </a:custGeom>
          <a:solidFill>
            <a:srgbClr val="FFFFFF"/>
          </a:solidFill>
          <a:ln>
            <a:noFill/>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Open Sans"/>
              <a:ea typeface="+mn-ea"/>
              <a:cs typeface="+mn-cs"/>
            </a:endParaRPr>
          </a:p>
        </p:txBody>
      </p:sp>
      <p:sp>
        <p:nvSpPr>
          <p:cNvPr id="16" name="Freeform 101">
            <a:extLst>
              <a:ext uri="{FF2B5EF4-FFF2-40B4-BE49-F238E27FC236}">
                <a16:creationId xmlns:a16="http://schemas.microsoft.com/office/drawing/2014/main" id="{8DCDBE5F-1788-4178-B96D-4C30B2E5B1B4}"/>
              </a:ext>
            </a:extLst>
          </p:cNvPr>
          <p:cNvSpPr>
            <a:spLocks noEditPoints="1"/>
          </p:cNvSpPr>
          <p:nvPr/>
        </p:nvSpPr>
        <p:spPr bwMode="auto">
          <a:xfrm>
            <a:off x="7867112" y="3044820"/>
            <a:ext cx="585221" cy="585217"/>
          </a:xfrm>
          <a:custGeom>
            <a:avLst/>
            <a:gdLst>
              <a:gd name="T0" fmla="*/ 498100 w 161"/>
              <a:gd name="T1" fmla="*/ 51495 h 160"/>
              <a:gd name="T2" fmla="*/ 375281 w 161"/>
              <a:gd name="T3" fmla="*/ 0 h 160"/>
              <a:gd name="T4" fmla="*/ 255873 w 161"/>
              <a:gd name="T5" fmla="*/ 51495 h 160"/>
              <a:gd name="T6" fmla="*/ 85291 w 161"/>
              <a:gd name="T7" fmla="*/ 219710 h 160"/>
              <a:gd name="T8" fmla="*/ 78468 w 161"/>
              <a:gd name="T9" fmla="*/ 236875 h 160"/>
              <a:gd name="T10" fmla="*/ 78468 w 161"/>
              <a:gd name="T11" fmla="*/ 442853 h 160"/>
              <a:gd name="T12" fmla="*/ 10235 w 161"/>
              <a:gd name="T13" fmla="*/ 511512 h 160"/>
              <a:gd name="T14" fmla="*/ 10235 w 161"/>
              <a:gd name="T15" fmla="*/ 542409 h 160"/>
              <a:gd name="T16" fmla="*/ 23882 w 161"/>
              <a:gd name="T17" fmla="*/ 549275 h 160"/>
              <a:gd name="T18" fmla="*/ 40940 w 161"/>
              <a:gd name="T19" fmla="*/ 542409 h 160"/>
              <a:gd name="T20" fmla="*/ 109173 w 161"/>
              <a:gd name="T21" fmla="*/ 473750 h 160"/>
              <a:gd name="T22" fmla="*/ 313871 w 161"/>
              <a:gd name="T23" fmla="*/ 473750 h 160"/>
              <a:gd name="T24" fmla="*/ 330930 w 161"/>
              <a:gd name="T25" fmla="*/ 466884 h 160"/>
              <a:gd name="T26" fmla="*/ 498100 w 161"/>
              <a:gd name="T27" fmla="*/ 295235 h 160"/>
              <a:gd name="T28" fmla="*/ 549275 w 161"/>
              <a:gd name="T29" fmla="*/ 175081 h 160"/>
              <a:gd name="T30" fmla="*/ 498100 w 161"/>
              <a:gd name="T31" fmla="*/ 51495 h 160"/>
              <a:gd name="T32" fmla="*/ 303636 w 161"/>
              <a:gd name="T33" fmla="*/ 429121 h 160"/>
              <a:gd name="T34" fmla="*/ 153524 w 161"/>
              <a:gd name="T35" fmla="*/ 429121 h 160"/>
              <a:gd name="T36" fmla="*/ 211522 w 161"/>
              <a:gd name="T37" fmla="*/ 374194 h 160"/>
              <a:gd name="T38" fmla="*/ 361634 w 161"/>
              <a:gd name="T39" fmla="*/ 374194 h 160"/>
              <a:gd name="T40" fmla="*/ 303636 w 161"/>
              <a:gd name="T41" fmla="*/ 429121 h 160"/>
              <a:gd name="T42" fmla="*/ 467395 w 161"/>
              <a:gd name="T43" fmla="*/ 264339 h 160"/>
              <a:gd name="T44" fmla="*/ 467395 w 161"/>
              <a:gd name="T45" fmla="*/ 264339 h 160"/>
              <a:gd name="T46" fmla="*/ 405986 w 161"/>
              <a:gd name="T47" fmla="*/ 329565 h 160"/>
              <a:gd name="T48" fmla="*/ 402574 w 161"/>
              <a:gd name="T49" fmla="*/ 329565 h 160"/>
              <a:gd name="T50" fmla="*/ 255873 w 161"/>
              <a:gd name="T51" fmla="*/ 329565 h 160"/>
              <a:gd name="T52" fmla="*/ 392339 w 161"/>
              <a:gd name="T53" fmla="*/ 188813 h 160"/>
              <a:gd name="T54" fmla="*/ 392339 w 161"/>
              <a:gd name="T55" fmla="*/ 157917 h 160"/>
              <a:gd name="T56" fmla="*/ 361634 w 161"/>
              <a:gd name="T57" fmla="*/ 157917 h 160"/>
              <a:gd name="T58" fmla="*/ 184229 w 161"/>
              <a:gd name="T59" fmla="*/ 332998 h 160"/>
              <a:gd name="T60" fmla="*/ 184229 w 161"/>
              <a:gd name="T61" fmla="*/ 336431 h 160"/>
              <a:gd name="T62" fmla="*/ 122819 w 161"/>
              <a:gd name="T63" fmla="*/ 398224 h 160"/>
              <a:gd name="T64" fmla="*/ 122819 w 161"/>
              <a:gd name="T65" fmla="*/ 247174 h 160"/>
              <a:gd name="T66" fmla="*/ 286578 w 161"/>
              <a:gd name="T67" fmla="*/ 82391 h 160"/>
              <a:gd name="T68" fmla="*/ 375281 w 161"/>
              <a:gd name="T69" fmla="*/ 44629 h 160"/>
              <a:gd name="T70" fmla="*/ 467395 w 161"/>
              <a:gd name="T71" fmla="*/ 82391 h 160"/>
              <a:gd name="T72" fmla="*/ 504924 w 161"/>
              <a:gd name="T73" fmla="*/ 175081 h 160"/>
              <a:gd name="T74" fmla="*/ 467395 w 161"/>
              <a:gd name="T75" fmla="*/ 264339 h 160"/>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161" h="160">
                <a:moveTo>
                  <a:pt x="146" y="15"/>
                </a:moveTo>
                <a:cubicBezTo>
                  <a:pt x="137" y="5"/>
                  <a:pt x="124" y="0"/>
                  <a:pt x="110" y="0"/>
                </a:cubicBezTo>
                <a:cubicBezTo>
                  <a:pt x="97" y="0"/>
                  <a:pt x="84" y="5"/>
                  <a:pt x="75" y="15"/>
                </a:cubicBezTo>
                <a:cubicBezTo>
                  <a:pt x="25" y="64"/>
                  <a:pt x="25" y="64"/>
                  <a:pt x="25" y="64"/>
                </a:cubicBezTo>
                <a:cubicBezTo>
                  <a:pt x="24" y="66"/>
                  <a:pt x="23" y="67"/>
                  <a:pt x="23" y="69"/>
                </a:cubicBezTo>
                <a:cubicBezTo>
                  <a:pt x="23" y="129"/>
                  <a:pt x="23" y="129"/>
                  <a:pt x="23" y="129"/>
                </a:cubicBezTo>
                <a:cubicBezTo>
                  <a:pt x="3" y="149"/>
                  <a:pt x="3" y="149"/>
                  <a:pt x="3" y="149"/>
                </a:cubicBezTo>
                <a:cubicBezTo>
                  <a:pt x="0" y="151"/>
                  <a:pt x="0" y="156"/>
                  <a:pt x="3" y="158"/>
                </a:cubicBezTo>
                <a:cubicBezTo>
                  <a:pt x="4" y="159"/>
                  <a:pt x="6" y="160"/>
                  <a:pt x="7" y="160"/>
                </a:cubicBezTo>
                <a:cubicBezTo>
                  <a:pt x="9" y="160"/>
                  <a:pt x="11" y="159"/>
                  <a:pt x="12" y="158"/>
                </a:cubicBezTo>
                <a:cubicBezTo>
                  <a:pt x="32" y="138"/>
                  <a:pt x="32" y="138"/>
                  <a:pt x="32" y="138"/>
                </a:cubicBezTo>
                <a:cubicBezTo>
                  <a:pt x="92" y="138"/>
                  <a:pt x="92" y="138"/>
                  <a:pt x="92" y="138"/>
                </a:cubicBezTo>
                <a:cubicBezTo>
                  <a:pt x="94" y="138"/>
                  <a:pt x="95" y="137"/>
                  <a:pt x="97" y="136"/>
                </a:cubicBezTo>
                <a:cubicBezTo>
                  <a:pt x="146" y="86"/>
                  <a:pt x="146" y="86"/>
                  <a:pt x="146" y="86"/>
                </a:cubicBezTo>
                <a:cubicBezTo>
                  <a:pt x="156" y="77"/>
                  <a:pt x="161" y="64"/>
                  <a:pt x="161" y="51"/>
                </a:cubicBezTo>
                <a:cubicBezTo>
                  <a:pt x="161" y="37"/>
                  <a:pt x="156" y="24"/>
                  <a:pt x="146" y="15"/>
                </a:cubicBezTo>
                <a:close/>
                <a:moveTo>
                  <a:pt x="89" y="125"/>
                </a:moveTo>
                <a:cubicBezTo>
                  <a:pt x="45" y="125"/>
                  <a:pt x="45" y="125"/>
                  <a:pt x="45" y="125"/>
                </a:cubicBezTo>
                <a:cubicBezTo>
                  <a:pt x="62" y="109"/>
                  <a:pt x="62" y="109"/>
                  <a:pt x="62" y="109"/>
                </a:cubicBezTo>
                <a:cubicBezTo>
                  <a:pt x="106" y="109"/>
                  <a:pt x="106" y="109"/>
                  <a:pt x="106" y="109"/>
                </a:cubicBezTo>
                <a:lnTo>
                  <a:pt x="89" y="125"/>
                </a:lnTo>
                <a:close/>
                <a:moveTo>
                  <a:pt x="137" y="77"/>
                </a:moveTo>
                <a:cubicBezTo>
                  <a:pt x="137" y="77"/>
                  <a:pt x="137" y="77"/>
                  <a:pt x="137" y="77"/>
                </a:cubicBezTo>
                <a:cubicBezTo>
                  <a:pt x="119" y="96"/>
                  <a:pt x="119" y="96"/>
                  <a:pt x="119" y="96"/>
                </a:cubicBezTo>
                <a:cubicBezTo>
                  <a:pt x="118" y="96"/>
                  <a:pt x="118" y="96"/>
                  <a:pt x="118" y="96"/>
                </a:cubicBezTo>
                <a:cubicBezTo>
                  <a:pt x="75" y="96"/>
                  <a:pt x="75" y="96"/>
                  <a:pt x="75" y="96"/>
                </a:cubicBezTo>
                <a:cubicBezTo>
                  <a:pt x="115" y="55"/>
                  <a:pt x="115" y="55"/>
                  <a:pt x="115" y="55"/>
                </a:cubicBezTo>
                <a:cubicBezTo>
                  <a:pt x="117" y="53"/>
                  <a:pt x="117" y="49"/>
                  <a:pt x="115" y="46"/>
                </a:cubicBezTo>
                <a:cubicBezTo>
                  <a:pt x="112" y="44"/>
                  <a:pt x="108" y="44"/>
                  <a:pt x="106" y="46"/>
                </a:cubicBezTo>
                <a:cubicBezTo>
                  <a:pt x="54" y="97"/>
                  <a:pt x="54" y="97"/>
                  <a:pt x="54" y="97"/>
                </a:cubicBezTo>
                <a:cubicBezTo>
                  <a:pt x="54" y="98"/>
                  <a:pt x="54" y="98"/>
                  <a:pt x="54" y="98"/>
                </a:cubicBezTo>
                <a:cubicBezTo>
                  <a:pt x="36" y="116"/>
                  <a:pt x="36" y="116"/>
                  <a:pt x="36" y="116"/>
                </a:cubicBezTo>
                <a:cubicBezTo>
                  <a:pt x="36" y="72"/>
                  <a:pt x="36" y="72"/>
                  <a:pt x="36" y="72"/>
                </a:cubicBezTo>
                <a:cubicBezTo>
                  <a:pt x="84" y="24"/>
                  <a:pt x="84" y="24"/>
                  <a:pt x="84" y="24"/>
                </a:cubicBezTo>
                <a:cubicBezTo>
                  <a:pt x="91" y="17"/>
                  <a:pt x="100" y="13"/>
                  <a:pt x="110" y="13"/>
                </a:cubicBezTo>
                <a:cubicBezTo>
                  <a:pt x="120" y="13"/>
                  <a:pt x="130" y="17"/>
                  <a:pt x="137" y="24"/>
                </a:cubicBezTo>
                <a:cubicBezTo>
                  <a:pt x="144" y="31"/>
                  <a:pt x="148" y="41"/>
                  <a:pt x="148" y="51"/>
                </a:cubicBezTo>
                <a:cubicBezTo>
                  <a:pt x="148" y="61"/>
                  <a:pt x="144" y="70"/>
                  <a:pt x="137" y="77"/>
                </a:cubicBezTo>
                <a:close/>
              </a:path>
            </a:pathLst>
          </a:custGeom>
          <a:solidFill>
            <a:srgbClr val="FFFFFF"/>
          </a:solidFill>
          <a:ln>
            <a:noFill/>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sp>
        <p:nvSpPr>
          <p:cNvPr id="17" name="Freeform 74">
            <a:extLst>
              <a:ext uri="{FF2B5EF4-FFF2-40B4-BE49-F238E27FC236}">
                <a16:creationId xmlns:a16="http://schemas.microsoft.com/office/drawing/2014/main" id="{070863CA-FF65-4CB9-A6E5-6871DE0B155E}"/>
              </a:ext>
            </a:extLst>
          </p:cNvPr>
          <p:cNvSpPr>
            <a:spLocks noEditPoints="1"/>
          </p:cNvSpPr>
          <p:nvPr/>
        </p:nvSpPr>
        <p:spPr bwMode="auto">
          <a:xfrm>
            <a:off x="10018453" y="3028252"/>
            <a:ext cx="413058" cy="621375"/>
          </a:xfrm>
          <a:custGeom>
            <a:avLst/>
            <a:gdLst>
              <a:gd name="T0" fmla="*/ 180856 w 107"/>
              <a:gd name="T1" fmla="*/ 367328 h 160"/>
              <a:gd name="T2" fmla="*/ 272991 w 107"/>
              <a:gd name="T3" fmla="*/ 274638 h 160"/>
              <a:gd name="T4" fmla="*/ 272991 w 107"/>
              <a:gd name="T5" fmla="*/ 92690 h 160"/>
              <a:gd name="T6" fmla="*/ 180856 w 107"/>
              <a:gd name="T7" fmla="*/ 0 h 160"/>
              <a:gd name="T8" fmla="*/ 92134 w 107"/>
              <a:gd name="T9" fmla="*/ 92690 h 160"/>
              <a:gd name="T10" fmla="*/ 92134 w 107"/>
              <a:gd name="T11" fmla="*/ 274638 h 160"/>
              <a:gd name="T12" fmla="*/ 180856 w 107"/>
              <a:gd name="T13" fmla="*/ 367328 h 160"/>
              <a:gd name="T14" fmla="*/ 136495 w 107"/>
              <a:gd name="T15" fmla="*/ 92690 h 160"/>
              <a:gd name="T16" fmla="*/ 180856 w 107"/>
              <a:gd name="T17" fmla="*/ 44629 h 160"/>
              <a:gd name="T18" fmla="*/ 228630 w 107"/>
              <a:gd name="T19" fmla="*/ 92690 h 160"/>
              <a:gd name="T20" fmla="*/ 228630 w 107"/>
              <a:gd name="T21" fmla="*/ 274638 h 160"/>
              <a:gd name="T22" fmla="*/ 180856 w 107"/>
              <a:gd name="T23" fmla="*/ 322699 h 160"/>
              <a:gd name="T24" fmla="*/ 136495 w 107"/>
              <a:gd name="T25" fmla="*/ 274638 h 160"/>
              <a:gd name="T26" fmla="*/ 136495 w 107"/>
              <a:gd name="T27" fmla="*/ 92690 h 160"/>
              <a:gd name="T28" fmla="*/ 365125 w 107"/>
              <a:gd name="T29" fmla="*/ 230009 h 160"/>
              <a:gd name="T30" fmla="*/ 365125 w 107"/>
              <a:gd name="T31" fmla="*/ 274638 h 160"/>
              <a:gd name="T32" fmla="*/ 204743 w 107"/>
              <a:gd name="T33" fmla="*/ 456585 h 160"/>
              <a:gd name="T34" fmla="*/ 204743 w 107"/>
              <a:gd name="T35" fmla="*/ 504646 h 160"/>
              <a:gd name="T36" fmla="*/ 272991 w 107"/>
              <a:gd name="T37" fmla="*/ 504646 h 160"/>
              <a:gd name="T38" fmla="*/ 293465 w 107"/>
              <a:gd name="T39" fmla="*/ 528677 h 160"/>
              <a:gd name="T40" fmla="*/ 272991 w 107"/>
              <a:gd name="T41" fmla="*/ 549275 h 160"/>
              <a:gd name="T42" fmla="*/ 92134 w 107"/>
              <a:gd name="T43" fmla="*/ 549275 h 160"/>
              <a:gd name="T44" fmla="*/ 68248 w 107"/>
              <a:gd name="T45" fmla="*/ 528677 h 160"/>
              <a:gd name="T46" fmla="*/ 92134 w 107"/>
              <a:gd name="T47" fmla="*/ 504646 h 160"/>
              <a:gd name="T48" fmla="*/ 160382 w 107"/>
              <a:gd name="T49" fmla="*/ 504646 h 160"/>
              <a:gd name="T50" fmla="*/ 160382 w 107"/>
              <a:gd name="T51" fmla="*/ 456585 h 160"/>
              <a:gd name="T52" fmla="*/ 0 w 107"/>
              <a:gd name="T53" fmla="*/ 274638 h 160"/>
              <a:gd name="T54" fmla="*/ 0 w 107"/>
              <a:gd name="T55" fmla="*/ 230009 h 160"/>
              <a:gd name="T56" fmla="*/ 20474 w 107"/>
              <a:gd name="T57" fmla="*/ 205978 h 160"/>
              <a:gd name="T58" fmla="*/ 44361 w 107"/>
              <a:gd name="T59" fmla="*/ 230009 h 160"/>
              <a:gd name="T60" fmla="*/ 44361 w 107"/>
              <a:gd name="T61" fmla="*/ 274638 h 160"/>
              <a:gd name="T62" fmla="*/ 180856 w 107"/>
              <a:gd name="T63" fmla="*/ 411956 h 160"/>
              <a:gd name="T64" fmla="*/ 320764 w 107"/>
              <a:gd name="T65" fmla="*/ 274638 h 160"/>
              <a:gd name="T66" fmla="*/ 320764 w 107"/>
              <a:gd name="T67" fmla="*/ 230009 h 160"/>
              <a:gd name="T68" fmla="*/ 341238 w 107"/>
              <a:gd name="T69" fmla="*/ 205978 h 160"/>
              <a:gd name="T70" fmla="*/ 365125 w 107"/>
              <a:gd name="T71" fmla="*/ 230009 h 160"/>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107" h="160">
                <a:moveTo>
                  <a:pt x="53" y="107"/>
                </a:moveTo>
                <a:cubicBezTo>
                  <a:pt x="68" y="107"/>
                  <a:pt x="80" y="95"/>
                  <a:pt x="80" y="80"/>
                </a:cubicBezTo>
                <a:cubicBezTo>
                  <a:pt x="80" y="27"/>
                  <a:pt x="80" y="27"/>
                  <a:pt x="80" y="27"/>
                </a:cubicBezTo>
                <a:cubicBezTo>
                  <a:pt x="80" y="12"/>
                  <a:pt x="68" y="0"/>
                  <a:pt x="53" y="0"/>
                </a:cubicBezTo>
                <a:cubicBezTo>
                  <a:pt x="39" y="0"/>
                  <a:pt x="27" y="12"/>
                  <a:pt x="27" y="27"/>
                </a:cubicBezTo>
                <a:cubicBezTo>
                  <a:pt x="27" y="80"/>
                  <a:pt x="27" y="80"/>
                  <a:pt x="27" y="80"/>
                </a:cubicBezTo>
                <a:cubicBezTo>
                  <a:pt x="27" y="95"/>
                  <a:pt x="39" y="107"/>
                  <a:pt x="53" y="107"/>
                </a:cubicBezTo>
                <a:close/>
                <a:moveTo>
                  <a:pt x="40" y="27"/>
                </a:moveTo>
                <a:cubicBezTo>
                  <a:pt x="40" y="19"/>
                  <a:pt x="46" y="13"/>
                  <a:pt x="53" y="13"/>
                </a:cubicBezTo>
                <a:cubicBezTo>
                  <a:pt x="61" y="13"/>
                  <a:pt x="67" y="19"/>
                  <a:pt x="67" y="27"/>
                </a:cubicBezTo>
                <a:cubicBezTo>
                  <a:pt x="67" y="80"/>
                  <a:pt x="67" y="80"/>
                  <a:pt x="67" y="80"/>
                </a:cubicBezTo>
                <a:cubicBezTo>
                  <a:pt x="67" y="87"/>
                  <a:pt x="61" y="94"/>
                  <a:pt x="53" y="94"/>
                </a:cubicBezTo>
                <a:cubicBezTo>
                  <a:pt x="46" y="94"/>
                  <a:pt x="40" y="87"/>
                  <a:pt x="40" y="80"/>
                </a:cubicBezTo>
                <a:lnTo>
                  <a:pt x="40" y="27"/>
                </a:lnTo>
                <a:close/>
                <a:moveTo>
                  <a:pt x="107" y="67"/>
                </a:moveTo>
                <a:cubicBezTo>
                  <a:pt x="107" y="80"/>
                  <a:pt x="107" y="80"/>
                  <a:pt x="107" y="80"/>
                </a:cubicBezTo>
                <a:cubicBezTo>
                  <a:pt x="107" y="107"/>
                  <a:pt x="86" y="130"/>
                  <a:pt x="60" y="133"/>
                </a:cubicBezTo>
                <a:cubicBezTo>
                  <a:pt x="60" y="147"/>
                  <a:pt x="60" y="147"/>
                  <a:pt x="60" y="147"/>
                </a:cubicBezTo>
                <a:cubicBezTo>
                  <a:pt x="80" y="147"/>
                  <a:pt x="80" y="147"/>
                  <a:pt x="80" y="147"/>
                </a:cubicBezTo>
                <a:cubicBezTo>
                  <a:pt x="84" y="147"/>
                  <a:pt x="86" y="150"/>
                  <a:pt x="86" y="154"/>
                </a:cubicBezTo>
                <a:cubicBezTo>
                  <a:pt x="86" y="157"/>
                  <a:pt x="84" y="160"/>
                  <a:pt x="80" y="160"/>
                </a:cubicBezTo>
                <a:cubicBezTo>
                  <a:pt x="27" y="160"/>
                  <a:pt x="27" y="160"/>
                  <a:pt x="27" y="160"/>
                </a:cubicBezTo>
                <a:cubicBezTo>
                  <a:pt x="23" y="160"/>
                  <a:pt x="20" y="157"/>
                  <a:pt x="20" y="154"/>
                </a:cubicBezTo>
                <a:cubicBezTo>
                  <a:pt x="20" y="150"/>
                  <a:pt x="23" y="147"/>
                  <a:pt x="27" y="147"/>
                </a:cubicBezTo>
                <a:cubicBezTo>
                  <a:pt x="47" y="147"/>
                  <a:pt x="47" y="147"/>
                  <a:pt x="47" y="147"/>
                </a:cubicBezTo>
                <a:cubicBezTo>
                  <a:pt x="47" y="133"/>
                  <a:pt x="47" y="133"/>
                  <a:pt x="47" y="133"/>
                </a:cubicBezTo>
                <a:cubicBezTo>
                  <a:pt x="20" y="130"/>
                  <a:pt x="0" y="107"/>
                  <a:pt x="0" y="80"/>
                </a:cubicBezTo>
                <a:cubicBezTo>
                  <a:pt x="0" y="67"/>
                  <a:pt x="0" y="67"/>
                  <a:pt x="0" y="67"/>
                </a:cubicBezTo>
                <a:cubicBezTo>
                  <a:pt x="0" y="63"/>
                  <a:pt x="3" y="60"/>
                  <a:pt x="6" y="60"/>
                </a:cubicBezTo>
                <a:cubicBezTo>
                  <a:pt x="10" y="60"/>
                  <a:pt x="13" y="63"/>
                  <a:pt x="13" y="67"/>
                </a:cubicBezTo>
                <a:cubicBezTo>
                  <a:pt x="13" y="80"/>
                  <a:pt x="13" y="80"/>
                  <a:pt x="13" y="80"/>
                </a:cubicBezTo>
                <a:cubicBezTo>
                  <a:pt x="13" y="102"/>
                  <a:pt x="31" y="120"/>
                  <a:pt x="53" y="120"/>
                </a:cubicBezTo>
                <a:cubicBezTo>
                  <a:pt x="75" y="120"/>
                  <a:pt x="94" y="102"/>
                  <a:pt x="94" y="80"/>
                </a:cubicBezTo>
                <a:cubicBezTo>
                  <a:pt x="94" y="67"/>
                  <a:pt x="94" y="67"/>
                  <a:pt x="94" y="67"/>
                </a:cubicBezTo>
                <a:cubicBezTo>
                  <a:pt x="94" y="63"/>
                  <a:pt x="96" y="60"/>
                  <a:pt x="100" y="60"/>
                </a:cubicBezTo>
                <a:cubicBezTo>
                  <a:pt x="104" y="60"/>
                  <a:pt x="107" y="63"/>
                  <a:pt x="107" y="67"/>
                </a:cubicBezTo>
                <a:close/>
              </a:path>
            </a:pathLst>
          </a:custGeom>
          <a:solidFill>
            <a:srgbClr val="FFFFFF"/>
          </a:solidFill>
          <a:ln>
            <a:noFill/>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grpSp>
        <p:nvGrpSpPr>
          <p:cNvPr id="40" name="组合 39">
            <a:extLst>
              <a:ext uri="{FF2B5EF4-FFF2-40B4-BE49-F238E27FC236}">
                <a16:creationId xmlns:a16="http://schemas.microsoft.com/office/drawing/2014/main" id="{DD8289D7-B0A9-4256-A22D-AAB41F335BE1}"/>
              </a:ext>
            </a:extLst>
          </p:cNvPr>
          <p:cNvGrpSpPr/>
          <p:nvPr/>
        </p:nvGrpSpPr>
        <p:grpSpPr>
          <a:xfrm>
            <a:off x="876300" y="4237341"/>
            <a:ext cx="2181434" cy="851723"/>
            <a:chOff x="1175303" y="4094711"/>
            <a:chExt cx="2056261" cy="802850"/>
          </a:xfrm>
        </p:grpSpPr>
        <p:sp>
          <p:nvSpPr>
            <p:cNvPr id="26" name="TextBox 65">
              <a:extLst>
                <a:ext uri="{FF2B5EF4-FFF2-40B4-BE49-F238E27FC236}">
                  <a16:creationId xmlns:a16="http://schemas.microsoft.com/office/drawing/2014/main" id="{BA7DE9A1-E25A-4207-BB2D-707E426D1C83}"/>
                </a:ext>
              </a:extLst>
            </p:cNvPr>
            <p:cNvSpPr txBox="1"/>
            <p:nvPr/>
          </p:nvSpPr>
          <p:spPr>
            <a:xfrm>
              <a:off x="1175303" y="4094711"/>
              <a:ext cx="2056261" cy="299355"/>
            </a:xfrm>
            <a:prstGeom prst="rect">
              <a:avLst/>
            </a:prstGeom>
            <a:noFill/>
          </p:spPr>
          <p:txBody>
            <a:bodyPr wrap="square" lIns="0" tIns="36000" rIns="0" bIns="36000" rtlCol="0">
              <a:spAutoFit/>
            </a:bodyPr>
            <a:lstStyle/>
            <a:p>
              <a:pPr marL="0" marR="0" lvl="0" indent="0" algn="ctr" defTabSz="914400" rtl="0" eaLnBrk="1" fontAlgn="auto" latinLnBrk="0" hangingPunct="1">
                <a:lnSpc>
                  <a:spcPct val="120000"/>
                </a:lnSpc>
                <a:spcBef>
                  <a:spcPts val="600"/>
                </a:spcBef>
                <a:spcAft>
                  <a:spcPts val="0"/>
                </a:spcAft>
                <a:buClrTx/>
                <a:buSzTx/>
                <a:buFontTx/>
                <a:buNone/>
                <a:tabLst/>
                <a:defRPr/>
              </a:pPr>
              <a:r>
                <a:rPr kumimoji="0" lang="zh-CN" altLang="en-US" sz="1400" b="0" i="0" u="none" strike="noStrike" kern="1200" cap="none" spc="0" normalizeH="0" baseline="0" noProof="0" dirty="0">
                  <a:ln>
                    <a:noFill/>
                  </a:ln>
                  <a:solidFill>
                    <a:schemeClr val="accent1"/>
                  </a:solidFill>
                  <a:effectLst/>
                  <a:uLnTx/>
                  <a:uFillTx/>
                  <a:latin typeface="HarmonyOS Sans SC Black"/>
                  <a:ea typeface="+mj-ea"/>
                  <a:cs typeface="+mn-cs"/>
                </a:rPr>
                <a:t>关键词标题</a:t>
              </a:r>
              <a:endParaRPr kumimoji="0" lang="en-US" sz="1400" b="0" i="0" u="none" strike="noStrike" kern="1200" cap="none" spc="0" normalizeH="0" baseline="0" noProof="0" dirty="0">
                <a:ln>
                  <a:noFill/>
                </a:ln>
                <a:solidFill>
                  <a:schemeClr val="accent1"/>
                </a:solidFill>
                <a:effectLst/>
                <a:uLnTx/>
                <a:uFillTx/>
                <a:latin typeface="HarmonyOS Sans SC Black"/>
                <a:ea typeface="+mj-ea"/>
                <a:cs typeface="+mn-cs"/>
              </a:endParaRPr>
            </a:p>
          </p:txBody>
        </p:sp>
        <p:sp>
          <p:nvSpPr>
            <p:cNvPr id="27" name="TextBox 65">
              <a:extLst>
                <a:ext uri="{FF2B5EF4-FFF2-40B4-BE49-F238E27FC236}">
                  <a16:creationId xmlns:a16="http://schemas.microsoft.com/office/drawing/2014/main" id="{8771EC5C-5EBE-480F-934D-C2AC0E959506}"/>
                </a:ext>
              </a:extLst>
            </p:cNvPr>
            <p:cNvSpPr txBox="1"/>
            <p:nvPr/>
          </p:nvSpPr>
          <p:spPr>
            <a:xfrm>
              <a:off x="1276550" y="4478110"/>
              <a:ext cx="1853768" cy="419451"/>
            </a:xfrm>
            <a:prstGeom prst="rect">
              <a:avLst/>
            </a:prstGeom>
            <a:noFill/>
          </p:spPr>
          <p:txBody>
            <a:bodyPr wrap="square" lIns="0" tIns="36000" rIns="0" bIns="36000" rtlCol="0">
              <a:spAutoFit/>
            </a:bodyPr>
            <a:lstStyle/>
            <a:p>
              <a:pPr marL="0" marR="0" lvl="0" indent="0" algn="ctr" defTabSz="914400" rtl="0" eaLnBrk="1" fontAlgn="auto" latinLnBrk="0" hangingPunct="1">
                <a:lnSpc>
                  <a:spcPct val="120000"/>
                </a:lnSpc>
                <a:spcBef>
                  <a:spcPts val="600"/>
                </a:spcBef>
                <a:spcAft>
                  <a:spcPts val="0"/>
                </a:spcAft>
                <a:buClrTx/>
                <a:buSzTx/>
                <a:buFontTx/>
                <a:buNone/>
                <a:tabLst/>
                <a:defRPr/>
              </a:pPr>
              <a:r>
                <a:rPr kumimoji="0" lang="en-US" sz="1050" b="0" i="0" u="none" strike="noStrike" kern="1200" cap="none" spc="0" normalizeH="0" baseline="0" noProof="0" dirty="0">
                  <a:ln>
                    <a:noFill/>
                  </a:ln>
                  <a:solidFill>
                    <a:schemeClr val="tx1">
                      <a:lumMod val="75000"/>
                      <a:lumOff val="25000"/>
                    </a:schemeClr>
                  </a:solidFill>
                  <a:effectLst/>
                  <a:uLnTx/>
                  <a:uFillTx/>
                  <a:latin typeface="HarmonyOS Sans SC"/>
                  <a:cs typeface="+mn-cs"/>
                </a:rPr>
                <a:t>Apparently we had reached a great height in the.</a:t>
              </a:r>
            </a:p>
          </p:txBody>
        </p:sp>
      </p:grpSp>
      <p:grpSp>
        <p:nvGrpSpPr>
          <p:cNvPr id="39" name="组合 38">
            <a:extLst>
              <a:ext uri="{FF2B5EF4-FFF2-40B4-BE49-F238E27FC236}">
                <a16:creationId xmlns:a16="http://schemas.microsoft.com/office/drawing/2014/main" id="{3345EECA-14BD-4C50-89AB-B64F4ADFF4FC}"/>
              </a:ext>
            </a:extLst>
          </p:cNvPr>
          <p:cNvGrpSpPr/>
          <p:nvPr/>
        </p:nvGrpSpPr>
        <p:grpSpPr>
          <a:xfrm>
            <a:off x="2940792" y="4237339"/>
            <a:ext cx="2181434" cy="878811"/>
            <a:chOff x="3076575" y="4094711"/>
            <a:chExt cx="2056261" cy="828384"/>
          </a:xfrm>
        </p:grpSpPr>
        <p:sp>
          <p:nvSpPr>
            <p:cNvPr id="28" name="TextBox 65">
              <a:extLst>
                <a:ext uri="{FF2B5EF4-FFF2-40B4-BE49-F238E27FC236}">
                  <a16:creationId xmlns:a16="http://schemas.microsoft.com/office/drawing/2014/main" id="{4C446EC5-6422-4780-BB6C-773A414913A3}"/>
                </a:ext>
              </a:extLst>
            </p:cNvPr>
            <p:cNvSpPr txBox="1"/>
            <p:nvPr/>
          </p:nvSpPr>
          <p:spPr>
            <a:xfrm>
              <a:off x="3076575" y="4094711"/>
              <a:ext cx="2056261" cy="299355"/>
            </a:xfrm>
            <a:prstGeom prst="rect">
              <a:avLst/>
            </a:prstGeom>
            <a:noFill/>
          </p:spPr>
          <p:txBody>
            <a:bodyPr wrap="square" lIns="0" tIns="36000" rIns="0" bIns="36000" rtlCol="0">
              <a:spAutoFit/>
            </a:bodyPr>
            <a:lstStyle>
              <a:defPPr>
                <a:defRPr lang="zh-CN"/>
              </a:defPPr>
              <a:lvl1pPr marR="0" lvl="0" indent="0" algn="ctr" fontAlgn="auto">
                <a:lnSpc>
                  <a:spcPct val="120000"/>
                </a:lnSpc>
                <a:spcBef>
                  <a:spcPts val="600"/>
                </a:spcBef>
                <a:spcAft>
                  <a:spcPts val="0"/>
                </a:spcAft>
                <a:buClrTx/>
                <a:buSzTx/>
                <a:buFontTx/>
                <a:buNone/>
                <a:tabLst/>
                <a:defRPr kumimoji="0" sz="1400" b="0" i="0" u="none" strike="noStrike" cap="none" spc="0" normalizeH="0" baseline="0">
                  <a:ln>
                    <a:noFill/>
                  </a:ln>
                  <a:solidFill>
                    <a:schemeClr val="accent1"/>
                  </a:solidFill>
                  <a:effectLst/>
                  <a:uLnTx/>
                  <a:uFillTx/>
                  <a:latin typeface="HarmonyOS Sans SC Black"/>
                  <a:ea typeface="+mj-ea"/>
                </a:defRPr>
              </a:lvl1pPr>
            </a:lstStyle>
            <a:p>
              <a:r>
                <a:rPr lang="zh-CN" altLang="en-US" dirty="0"/>
                <a:t>关键词标题</a:t>
              </a:r>
              <a:endParaRPr lang="en-US" dirty="0"/>
            </a:p>
          </p:txBody>
        </p:sp>
        <p:sp>
          <p:nvSpPr>
            <p:cNvPr id="29" name="TextBox 65">
              <a:extLst>
                <a:ext uri="{FF2B5EF4-FFF2-40B4-BE49-F238E27FC236}">
                  <a16:creationId xmlns:a16="http://schemas.microsoft.com/office/drawing/2014/main" id="{4A22862A-B835-4791-A6E6-64B5D4FF28B2}"/>
                </a:ext>
              </a:extLst>
            </p:cNvPr>
            <p:cNvSpPr txBox="1"/>
            <p:nvPr/>
          </p:nvSpPr>
          <p:spPr>
            <a:xfrm>
              <a:off x="3177822" y="4478110"/>
              <a:ext cx="1853768" cy="444985"/>
            </a:xfrm>
            <a:prstGeom prst="rect">
              <a:avLst/>
            </a:prstGeom>
            <a:noFill/>
          </p:spPr>
          <p:txBody>
            <a:bodyPr wrap="square" lIns="0" tIns="36000" rIns="0" bIns="36000" rtlCol="0">
              <a:spAutoFit/>
            </a:bodyPr>
            <a:lstStyle>
              <a:defPPr>
                <a:defRPr lang="zh-CN"/>
              </a:defPPr>
              <a:lvl1pPr marR="0" lvl="0" indent="0" algn="ctr" fontAlgn="auto">
                <a:lnSpc>
                  <a:spcPct val="120000"/>
                </a:lnSpc>
                <a:spcBef>
                  <a:spcPts val="600"/>
                </a:spcBef>
                <a:spcAft>
                  <a:spcPts val="0"/>
                </a:spcAft>
                <a:buClrTx/>
                <a:buSzTx/>
                <a:buFontTx/>
                <a:buNone/>
                <a:tabLst/>
                <a:defRPr kumimoji="0" sz="1050" b="0" i="0" u="none" strike="noStrike" cap="none" spc="0" normalizeH="0" baseline="0">
                  <a:ln>
                    <a:noFill/>
                  </a:ln>
                  <a:solidFill>
                    <a:schemeClr val="tx1">
                      <a:lumMod val="75000"/>
                      <a:lumOff val="25000"/>
                    </a:schemeClr>
                  </a:solidFill>
                  <a:effectLst/>
                  <a:uLnTx/>
                  <a:uFillTx/>
                  <a:latin typeface="HarmonyOS Sans SC"/>
                </a:defRPr>
              </a:lvl1pPr>
            </a:lstStyle>
            <a:p>
              <a:r>
                <a:rPr lang="en-US"/>
                <a:t>Apparently</a:t>
              </a:r>
              <a:r>
                <a:rPr lang="en-US" dirty="0"/>
                <a:t> we had reached a great height in the.</a:t>
              </a:r>
            </a:p>
          </p:txBody>
        </p:sp>
      </p:grpSp>
      <p:grpSp>
        <p:nvGrpSpPr>
          <p:cNvPr id="38" name="组合 37">
            <a:extLst>
              <a:ext uri="{FF2B5EF4-FFF2-40B4-BE49-F238E27FC236}">
                <a16:creationId xmlns:a16="http://schemas.microsoft.com/office/drawing/2014/main" id="{7D519C60-31B1-4952-82F0-3B37373F7B11}"/>
              </a:ext>
            </a:extLst>
          </p:cNvPr>
          <p:cNvGrpSpPr/>
          <p:nvPr/>
        </p:nvGrpSpPr>
        <p:grpSpPr>
          <a:xfrm>
            <a:off x="5005284" y="4237339"/>
            <a:ext cx="2181434" cy="878811"/>
            <a:chOff x="4977847" y="4094711"/>
            <a:chExt cx="2056261" cy="828384"/>
          </a:xfrm>
        </p:grpSpPr>
        <p:sp>
          <p:nvSpPr>
            <p:cNvPr id="30" name="TextBox 65">
              <a:extLst>
                <a:ext uri="{FF2B5EF4-FFF2-40B4-BE49-F238E27FC236}">
                  <a16:creationId xmlns:a16="http://schemas.microsoft.com/office/drawing/2014/main" id="{9EB6C42C-0668-4025-BB5A-813D26B2CF81}"/>
                </a:ext>
              </a:extLst>
            </p:cNvPr>
            <p:cNvSpPr txBox="1"/>
            <p:nvPr/>
          </p:nvSpPr>
          <p:spPr>
            <a:xfrm>
              <a:off x="4977847" y="4094711"/>
              <a:ext cx="2056261" cy="299355"/>
            </a:xfrm>
            <a:prstGeom prst="rect">
              <a:avLst/>
            </a:prstGeom>
            <a:noFill/>
          </p:spPr>
          <p:txBody>
            <a:bodyPr wrap="square" lIns="0" tIns="36000" rIns="0" bIns="36000" rtlCol="0">
              <a:spAutoFit/>
            </a:bodyPr>
            <a:lstStyle>
              <a:defPPr>
                <a:defRPr lang="zh-CN"/>
              </a:defPPr>
              <a:lvl1pPr marR="0" lvl="0" indent="0" algn="ctr" fontAlgn="auto">
                <a:lnSpc>
                  <a:spcPct val="120000"/>
                </a:lnSpc>
                <a:spcBef>
                  <a:spcPts val="600"/>
                </a:spcBef>
                <a:spcAft>
                  <a:spcPts val="0"/>
                </a:spcAft>
                <a:buClrTx/>
                <a:buSzTx/>
                <a:buFontTx/>
                <a:buNone/>
                <a:tabLst/>
                <a:defRPr kumimoji="0" sz="1400" b="0" i="0" u="none" strike="noStrike" cap="none" spc="0" normalizeH="0" baseline="0">
                  <a:ln>
                    <a:noFill/>
                  </a:ln>
                  <a:solidFill>
                    <a:schemeClr val="accent1"/>
                  </a:solidFill>
                  <a:effectLst/>
                  <a:uLnTx/>
                  <a:uFillTx/>
                  <a:latin typeface="HarmonyOS Sans SC Black"/>
                  <a:ea typeface="+mj-ea"/>
                </a:defRPr>
              </a:lvl1pPr>
            </a:lstStyle>
            <a:p>
              <a:r>
                <a:rPr lang="zh-CN" altLang="en-US" dirty="0"/>
                <a:t>关键词标题</a:t>
              </a:r>
              <a:endParaRPr lang="en-US" dirty="0"/>
            </a:p>
          </p:txBody>
        </p:sp>
        <p:sp>
          <p:nvSpPr>
            <p:cNvPr id="31" name="TextBox 65">
              <a:extLst>
                <a:ext uri="{FF2B5EF4-FFF2-40B4-BE49-F238E27FC236}">
                  <a16:creationId xmlns:a16="http://schemas.microsoft.com/office/drawing/2014/main" id="{78E2C6B9-020D-4A99-8697-24548B9D6748}"/>
                </a:ext>
              </a:extLst>
            </p:cNvPr>
            <p:cNvSpPr txBox="1"/>
            <p:nvPr/>
          </p:nvSpPr>
          <p:spPr>
            <a:xfrm>
              <a:off x="5079094" y="4478110"/>
              <a:ext cx="1853768" cy="444985"/>
            </a:xfrm>
            <a:prstGeom prst="rect">
              <a:avLst/>
            </a:prstGeom>
            <a:noFill/>
          </p:spPr>
          <p:txBody>
            <a:bodyPr wrap="square" lIns="0" tIns="36000" rIns="0" bIns="36000" rtlCol="0">
              <a:spAutoFit/>
            </a:bodyPr>
            <a:lstStyle>
              <a:defPPr>
                <a:defRPr lang="zh-CN"/>
              </a:defPPr>
              <a:lvl1pPr marR="0" lvl="0" indent="0" algn="ctr" fontAlgn="auto">
                <a:lnSpc>
                  <a:spcPct val="120000"/>
                </a:lnSpc>
                <a:spcBef>
                  <a:spcPts val="600"/>
                </a:spcBef>
                <a:spcAft>
                  <a:spcPts val="0"/>
                </a:spcAft>
                <a:buClrTx/>
                <a:buSzTx/>
                <a:buFontTx/>
                <a:buNone/>
                <a:tabLst/>
                <a:defRPr kumimoji="0" sz="1050" b="0" i="0" u="none" strike="noStrike" cap="none" spc="0" normalizeH="0" baseline="0">
                  <a:ln>
                    <a:noFill/>
                  </a:ln>
                  <a:solidFill>
                    <a:schemeClr val="tx1">
                      <a:lumMod val="75000"/>
                      <a:lumOff val="25000"/>
                    </a:schemeClr>
                  </a:solidFill>
                  <a:effectLst/>
                  <a:uLnTx/>
                  <a:uFillTx/>
                  <a:latin typeface="HarmonyOS Sans SC"/>
                </a:defRPr>
              </a:lvl1pPr>
            </a:lstStyle>
            <a:p>
              <a:r>
                <a:rPr lang="en-US"/>
                <a:t>Apparently</a:t>
              </a:r>
              <a:r>
                <a:rPr lang="en-US" dirty="0"/>
                <a:t> we had reached a great height in the.</a:t>
              </a:r>
            </a:p>
          </p:txBody>
        </p:sp>
      </p:grpSp>
      <p:grpSp>
        <p:nvGrpSpPr>
          <p:cNvPr id="37" name="组合 36">
            <a:extLst>
              <a:ext uri="{FF2B5EF4-FFF2-40B4-BE49-F238E27FC236}">
                <a16:creationId xmlns:a16="http://schemas.microsoft.com/office/drawing/2014/main" id="{8CAA3668-4064-4956-801B-7B6EECFD928A}"/>
              </a:ext>
            </a:extLst>
          </p:cNvPr>
          <p:cNvGrpSpPr/>
          <p:nvPr/>
        </p:nvGrpSpPr>
        <p:grpSpPr>
          <a:xfrm>
            <a:off x="7069776" y="4237339"/>
            <a:ext cx="2181434" cy="878811"/>
            <a:chOff x="6879119" y="4094711"/>
            <a:chExt cx="2056261" cy="828384"/>
          </a:xfrm>
        </p:grpSpPr>
        <p:sp>
          <p:nvSpPr>
            <p:cNvPr id="32" name="TextBox 65">
              <a:extLst>
                <a:ext uri="{FF2B5EF4-FFF2-40B4-BE49-F238E27FC236}">
                  <a16:creationId xmlns:a16="http://schemas.microsoft.com/office/drawing/2014/main" id="{6987916D-B026-4AF3-B09E-35C3CA32BF25}"/>
                </a:ext>
              </a:extLst>
            </p:cNvPr>
            <p:cNvSpPr txBox="1"/>
            <p:nvPr/>
          </p:nvSpPr>
          <p:spPr>
            <a:xfrm>
              <a:off x="6879119" y="4094711"/>
              <a:ext cx="2056261" cy="299355"/>
            </a:xfrm>
            <a:prstGeom prst="rect">
              <a:avLst/>
            </a:prstGeom>
            <a:noFill/>
          </p:spPr>
          <p:txBody>
            <a:bodyPr wrap="square" lIns="0" tIns="36000" rIns="0" bIns="36000" rtlCol="0">
              <a:spAutoFit/>
            </a:bodyPr>
            <a:lstStyle>
              <a:defPPr>
                <a:defRPr lang="zh-CN"/>
              </a:defPPr>
              <a:lvl1pPr marR="0" lvl="0" indent="0" algn="ctr" fontAlgn="auto">
                <a:lnSpc>
                  <a:spcPct val="120000"/>
                </a:lnSpc>
                <a:spcBef>
                  <a:spcPts val="600"/>
                </a:spcBef>
                <a:spcAft>
                  <a:spcPts val="0"/>
                </a:spcAft>
                <a:buClrTx/>
                <a:buSzTx/>
                <a:buFontTx/>
                <a:buNone/>
                <a:tabLst/>
                <a:defRPr kumimoji="0" sz="1400" b="0" i="0" u="none" strike="noStrike" cap="none" spc="0" normalizeH="0" baseline="0">
                  <a:ln>
                    <a:noFill/>
                  </a:ln>
                  <a:solidFill>
                    <a:schemeClr val="accent1"/>
                  </a:solidFill>
                  <a:effectLst/>
                  <a:uLnTx/>
                  <a:uFillTx/>
                  <a:latin typeface="HarmonyOS Sans SC Black"/>
                  <a:ea typeface="+mj-ea"/>
                </a:defRPr>
              </a:lvl1pPr>
            </a:lstStyle>
            <a:p>
              <a:r>
                <a:rPr lang="zh-CN" altLang="en-US" dirty="0"/>
                <a:t>关键词标题</a:t>
              </a:r>
              <a:endParaRPr lang="en-US" dirty="0"/>
            </a:p>
          </p:txBody>
        </p:sp>
        <p:sp>
          <p:nvSpPr>
            <p:cNvPr id="33" name="TextBox 65">
              <a:extLst>
                <a:ext uri="{FF2B5EF4-FFF2-40B4-BE49-F238E27FC236}">
                  <a16:creationId xmlns:a16="http://schemas.microsoft.com/office/drawing/2014/main" id="{78F6AEAE-113D-4136-A085-BF32F157BC56}"/>
                </a:ext>
              </a:extLst>
            </p:cNvPr>
            <p:cNvSpPr txBox="1"/>
            <p:nvPr/>
          </p:nvSpPr>
          <p:spPr>
            <a:xfrm>
              <a:off x="6980366" y="4478110"/>
              <a:ext cx="1853768" cy="444985"/>
            </a:xfrm>
            <a:prstGeom prst="rect">
              <a:avLst/>
            </a:prstGeom>
            <a:noFill/>
          </p:spPr>
          <p:txBody>
            <a:bodyPr wrap="square" lIns="0" tIns="36000" rIns="0" bIns="36000" rtlCol="0">
              <a:spAutoFit/>
            </a:bodyPr>
            <a:lstStyle>
              <a:defPPr>
                <a:defRPr lang="zh-CN"/>
              </a:defPPr>
              <a:lvl1pPr marR="0" lvl="0" indent="0" algn="ctr" fontAlgn="auto">
                <a:lnSpc>
                  <a:spcPct val="120000"/>
                </a:lnSpc>
                <a:spcBef>
                  <a:spcPts val="600"/>
                </a:spcBef>
                <a:spcAft>
                  <a:spcPts val="0"/>
                </a:spcAft>
                <a:buClrTx/>
                <a:buSzTx/>
                <a:buFontTx/>
                <a:buNone/>
                <a:tabLst/>
                <a:defRPr kumimoji="0" sz="1050" b="0" i="0" u="none" strike="noStrike" cap="none" spc="0" normalizeH="0" baseline="0">
                  <a:ln>
                    <a:noFill/>
                  </a:ln>
                  <a:solidFill>
                    <a:schemeClr val="tx1">
                      <a:lumMod val="75000"/>
                      <a:lumOff val="25000"/>
                    </a:schemeClr>
                  </a:solidFill>
                  <a:effectLst/>
                  <a:uLnTx/>
                  <a:uFillTx/>
                  <a:latin typeface="HarmonyOS Sans SC"/>
                </a:defRPr>
              </a:lvl1pPr>
            </a:lstStyle>
            <a:p>
              <a:r>
                <a:rPr lang="en-US"/>
                <a:t>Apparently</a:t>
              </a:r>
              <a:r>
                <a:rPr lang="en-US" dirty="0"/>
                <a:t> we had reached a great height in the.</a:t>
              </a:r>
            </a:p>
          </p:txBody>
        </p:sp>
      </p:grpSp>
      <p:grpSp>
        <p:nvGrpSpPr>
          <p:cNvPr id="36" name="组合 35">
            <a:extLst>
              <a:ext uri="{FF2B5EF4-FFF2-40B4-BE49-F238E27FC236}">
                <a16:creationId xmlns:a16="http://schemas.microsoft.com/office/drawing/2014/main" id="{B00D3229-7C33-48A0-9CEE-0B23E81714B3}"/>
              </a:ext>
            </a:extLst>
          </p:cNvPr>
          <p:cNvGrpSpPr/>
          <p:nvPr/>
        </p:nvGrpSpPr>
        <p:grpSpPr>
          <a:xfrm>
            <a:off x="9134266" y="4237339"/>
            <a:ext cx="2181434" cy="878811"/>
            <a:chOff x="8935380" y="4094711"/>
            <a:chExt cx="2056261" cy="828384"/>
          </a:xfrm>
        </p:grpSpPr>
        <p:sp>
          <p:nvSpPr>
            <p:cNvPr id="34" name="TextBox 65">
              <a:extLst>
                <a:ext uri="{FF2B5EF4-FFF2-40B4-BE49-F238E27FC236}">
                  <a16:creationId xmlns:a16="http://schemas.microsoft.com/office/drawing/2014/main" id="{F897BFC7-570B-4C06-82F6-BA43BDDB6997}"/>
                </a:ext>
              </a:extLst>
            </p:cNvPr>
            <p:cNvSpPr txBox="1"/>
            <p:nvPr/>
          </p:nvSpPr>
          <p:spPr>
            <a:xfrm>
              <a:off x="8935380" y="4094711"/>
              <a:ext cx="2056261" cy="299355"/>
            </a:xfrm>
            <a:prstGeom prst="rect">
              <a:avLst/>
            </a:prstGeom>
            <a:noFill/>
          </p:spPr>
          <p:txBody>
            <a:bodyPr wrap="square" lIns="0" tIns="36000" rIns="0" bIns="36000" rtlCol="0">
              <a:spAutoFit/>
            </a:bodyPr>
            <a:lstStyle>
              <a:defPPr>
                <a:defRPr lang="zh-CN"/>
              </a:defPPr>
              <a:lvl1pPr marR="0" lvl="0" indent="0" algn="ctr" fontAlgn="auto">
                <a:lnSpc>
                  <a:spcPct val="120000"/>
                </a:lnSpc>
                <a:spcBef>
                  <a:spcPts val="600"/>
                </a:spcBef>
                <a:spcAft>
                  <a:spcPts val="0"/>
                </a:spcAft>
                <a:buClrTx/>
                <a:buSzTx/>
                <a:buFontTx/>
                <a:buNone/>
                <a:tabLst/>
                <a:defRPr kumimoji="0" sz="1400" b="0" i="0" u="none" strike="noStrike" cap="none" spc="0" normalizeH="0" baseline="0">
                  <a:ln>
                    <a:noFill/>
                  </a:ln>
                  <a:solidFill>
                    <a:schemeClr val="accent1"/>
                  </a:solidFill>
                  <a:effectLst/>
                  <a:uLnTx/>
                  <a:uFillTx/>
                  <a:latin typeface="HarmonyOS Sans SC Black"/>
                  <a:ea typeface="+mj-ea"/>
                </a:defRPr>
              </a:lvl1pPr>
            </a:lstStyle>
            <a:p>
              <a:r>
                <a:rPr lang="zh-CN" altLang="en-US" dirty="0"/>
                <a:t>关键词标题</a:t>
              </a:r>
              <a:endParaRPr lang="en-US" dirty="0"/>
            </a:p>
          </p:txBody>
        </p:sp>
        <p:sp>
          <p:nvSpPr>
            <p:cNvPr id="35" name="TextBox 65">
              <a:extLst>
                <a:ext uri="{FF2B5EF4-FFF2-40B4-BE49-F238E27FC236}">
                  <a16:creationId xmlns:a16="http://schemas.microsoft.com/office/drawing/2014/main" id="{7E6C5353-0CFD-4F0F-9D33-329BDC49E3C3}"/>
                </a:ext>
              </a:extLst>
            </p:cNvPr>
            <p:cNvSpPr txBox="1"/>
            <p:nvPr/>
          </p:nvSpPr>
          <p:spPr>
            <a:xfrm>
              <a:off x="9036627" y="4478110"/>
              <a:ext cx="1853768" cy="444985"/>
            </a:xfrm>
            <a:prstGeom prst="rect">
              <a:avLst/>
            </a:prstGeom>
            <a:noFill/>
          </p:spPr>
          <p:txBody>
            <a:bodyPr wrap="square" lIns="0" tIns="36000" rIns="0" bIns="36000" rtlCol="0">
              <a:spAutoFit/>
            </a:bodyPr>
            <a:lstStyle>
              <a:defPPr>
                <a:defRPr lang="zh-CN"/>
              </a:defPPr>
              <a:lvl1pPr marR="0" lvl="0" indent="0" algn="ctr" fontAlgn="auto">
                <a:lnSpc>
                  <a:spcPct val="120000"/>
                </a:lnSpc>
                <a:spcBef>
                  <a:spcPts val="600"/>
                </a:spcBef>
                <a:spcAft>
                  <a:spcPts val="0"/>
                </a:spcAft>
                <a:buClrTx/>
                <a:buSzTx/>
                <a:buFontTx/>
                <a:buNone/>
                <a:tabLst/>
                <a:defRPr kumimoji="0" sz="1050" b="0" i="0" u="none" strike="noStrike" cap="none" spc="0" normalizeH="0" baseline="0">
                  <a:ln>
                    <a:noFill/>
                  </a:ln>
                  <a:solidFill>
                    <a:schemeClr val="tx1">
                      <a:lumMod val="75000"/>
                      <a:lumOff val="25000"/>
                    </a:schemeClr>
                  </a:solidFill>
                  <a:effectLst/>
                  <a:uLnTx/>
                  <a:uFillTx/>
                  <a:latin typeface="HarmonyOS Sans SC"/>
                </a:defRPr>
              </a:lvl1pPr>
            </a:lstStyle>
            <a:p>
              <a:r>
                <a:rPr lang="en-US"/>
                <a:t>Apparently</a:t>
              </a:r>
              <a:r>
                <a:rPr lang="en-US" dirty="0"/>
                <a:t> we had reached a great height in the.</a:t>
              </a:r>
            </a:p>
          </p:txBody>
        </p:sp>
      </p:grpSp>
    </p:spTree>
    <p:extLst>
      <p:ext uri="{BB962C8B-B14F-4D97-AF65-F5344CB8AC3E}">
        <p14:creationId xmlns:p14="http://schemas.microsoft.com/office/powerpoint/2010/main" val="2684451077"/>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4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70">
            <a:extLst>
              <a:ext uri="{FF2B5EF4-FFF2-40B4-BE49-F238E27FC236}">
                <a16:creationId xmlns:a16="http://schemas.microsoft.com/office/drawing/2014/main" id="{F013E7DB-18F8-46D3-BA16-6EC1AE3D2386}"/>
              </a:ext>
            </a:extLst>
          </p:cNvPr>
          <p:cNvSpPr/>
          <p:nvPr/>
        </p:nvSpPr>
        <p:spPr>
          <a:xfrm>
            <a:off x="9136387" y="2034995"/>
            <a:ext cx="1666836" cy="310983"/>
          </a:xfrm>
          <a:prstGeom prst="rect">
            <a:avLst/>
          </a:prstGeom>
        </p:spPr>
        <p:txBody>
          <a:bodyPr wrap="square">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zh-CN" altLang="en-US" sz="1250" b="0" i="0" u="none" strike="noStrike" kern="1200" cap="none" spc="0" normalizeH="0" baseline="0" noProof="0" dirty="0">
                <a:ln>
                  <a:noFill/>
                </a:ln>
                <a:solidFill>
                  <a:prstClr val="black"/>
                </a:solidFill>
                <a:effectLst/>
                <a:uLnTx/>
                <a:uFillTx/>
                <a:latin typeface="HarmonyOS Sans SC Black"/>
                <a:ea typeface="+mj-ea"/>
                <a:cs typeface="Segoe UI" panose="020B0502040204020203" pitchFamily="34" charset="0"/>
              </a:rPr>
              <a:t>关键词标题</a:t>
            </a:r>
            <a:endParaRPr kumimoji="0" lang="en-US" sz="1250" b="0" i="0" u="none" strike="noStrike" kern="1200" cap="none" spc="0" normalizeH="0" baseline="0" noProof="0" dirty="0">
              <a:ln>
                <a:noFill/>
              </a:ln>
              <a:solidFill>
                <a:prstClr val="black"/>
              </a:solidFill>
              <a:effectLst/>
              <a:uLnTx/>
              <a:uFillTx/>
              <a:latin typeface="HarmonyOS Sans SC Black"/>
              <a:ea typeface="+mj-ea"/>
              <a:cs typeface="Segoe UI" panose="020B0502040204020203" pitchFamily="34" charset="0"/>
            </a:endParaRPr>
          </a:p>
        </p:txBody>
      </p:sp>
      <p:sp>
        <p:nvSpPr>
          <p:cNvPr id="3" name="Rectangle 71">
            <a:extLst>
              <a:ext uri="{FF2B5EF4-FFF2-40B4-BE49-F238E27FC236}">
                <a16:creationId xmlns:a16="http://schemas.microsoft.com/office/drawing/2014/main" id="{2DC5B492-836E-4A0C-A9D6-11A9933A0B66}"/>
              </a:ext>
            </a:extLst>
          </p:cNvPr>
          <p:cNvSpPr/>
          <p:nvPr/>
        </p:nvSpPr>
        <p:spPr>
          <a:xfrm>
            <a:off x="9136387" y="2313799"/>
            <a:ext cx="2347584" cy="461665"/>
          </a:xfrm>
          <a:prstGeom prst="rect">
            <a:avLst/>
          </a:prstGeom>
        </p:spPr>
        <p:txBody>
          <a:bodyPr wrap="square">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id-ID" sz="1000" b="0" i="0" u="none" strike="noStrike" kern="1200" cap="none" spc="0" normalizeH="0" baseline="0" noProof="0" dirty="0">
                <a:ln>
                  <a:noFill/>
                </a:ln>
                <a:solidFill>
                  <a:prstClr val="black">
                    <a:lumMod val="50000"/>
                    <a:lumOff val="50000"/>
                  </a:prstClr>
                </a:solidFill>
                <a:effectLst/>
                <a:uLnTx/>
                <a:uFillTx/>
                <a:latin typeface="HarmonyOS Sans SC"/>
                <a:cs typeface="Segoe UI Light" panose="020B0502040204020203" pitchFamily="34" charset="0"/>
              </a:rPr>
              <a:t>Vivamus quam dolor, tempor ac gravida sit amet, porta fermentum</a:t>
            </a:r>
            <a:r>
              <a:rPr kumimoji="0" lang="en-US" sz="1000" b="0" i="0" u="none" strike="noStrike" kern="1200" cap="none" spc="0" normalizeH="0" baseline="0" noProof="0" dirty="0">
                <a:ln>
                  <a:noFill/>
                </a:ln>
                <a:solidFill>
                  <a:prstClr val="black">
                    <a:lumMod val="50000"/>
                    <a:lumOff val="50000"/>
                  </a:prstClr>
                </a:solidFill>
                <a:effectLst/>
                <a:uLnTx/>
                <a:uFillTx/>
                <a:latin typeface="HarmonyOS Sans SC"/>
                <a:cs typeface="Segoe UI Light" panose="020B0502040204020203" pitchFamily="34" charset="0"/>
              </a:rPr>
              <a:t>.</a:t>
            </a:r>
          </a:p>
        </p:txBody>
      </p:sp>
      <p:sp>
        <p:nvSpPr>
          <p:cNvPr id="4" name="Rectangle 72">
            <a:extLst>
              <a:ext uri="{FF2B5EF4-FFF2-40B4-BE49-F238E27FC236}">
                <a16:creationId xmlns:a16="http://schemas.microsoft.com/office/drawing/2014/main" id="{588129B2-F569-4531-A9FB-96F75E895269}"/>
              </a:ext>
            </a:extLst>
          </p:cNvPr>
          <p:cNvSpPr/>
          <p:nvPr/>
        </p:nvSpPr>
        <p:spPr>
          <a:xfrm>
            <a:off x="9136387" y="3434666"/>
            <a:ext cx="1666836" cy="310983"/>
          </a:xfrm>
          <a:prstGeom prst="rect">
            <a:avLst/>
          </a:prstGeom>
        </p:spPr>
        <p:txBody>
          <a:bodyPr wrap="square">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zh-CN" altLang="en-US" sz="1250" b="0" i="0" u="none" strike="noStrike" kern="1200" cap="none" spc="0" normalizeH="0" baseline="0" noProof="0" dirty="0">
                <a:ln>
                  <a:noFill/>
                </a:ln>
                <a:solidFill>
                  <a:prstClr val="black"/>
                </a:solidFill>
                <a:effectLst/>
                <a:uLnTx/>
                <a:uFillTx/>
                <a:latin typeface="HarmonyOS Sans SC Black"/>
                <a:ea typeface="+mj-ea"/>
                <a:cs typeface="Segoe UI" panose="020B0502040204020203" pitchFamily="34" charset="0"/>
              </a:rPr>
              <a:t>关键词标题</a:t>
            </a:r>
            <a:endParaRPr kumimoji="0" lang="en-US" sz="1250" b="0" i="0" u="none" strike="noStrike" kern="1200" cap="none" spc="0" normalizeH="0" baseline="0" noProof="0" dirty="0">
              <a:ln>
                <a:noFill/>
              </a:ln>
              <a:solidFill>
                <a:prstClr val="black"/>
              </a:solidFill>
              <a:effectLst/>
              <a:uLnTx/>
              <a:uFillTx/>
              <a:latin typeface="HarmonyOS Sans SC Black"/>
              <a:ea typeface="+mj-ea"/>
              <a:cs typeface="Segoe UI" panose="020B0502040204020203" pitchFamily="34" charset="0"/>
            </a:endParaRPr>
          </a:p>
        </p:txBody>
      </p:sp>
      <p:sp>
        <p:nvSpPr>
          <p:cNvPr id="5" name="Rectangle 73">
            <a:extLst>
              <a:ext uri="{FF2B5EF4-FFF2-40B4-BE49-F238E27FC236}">
                <a16:creationId xmlns:a16="http://schemas.microsoft.com/office/drawing/2014/main" id="{6D5A2AF2-C0F9-45A0-BF1D-4CAAF83BF183}"/>
              </a:ext>
            </a:extLst>
          </p:cNvPr>
          <p:cNvSpPr/>
          <p:nvPr/>
        </p:nvSpPr>
        <p:spPr>
          <a:xfrm>
            <a:off x="9136387" y="3713469"/>
            <a:ext cx="2347584" cy="461665"/>
          </a:xfrm>
          <a:prstGeom prst="rect">
            <a:avLst/>
          </a:prstGeom>
        </p:spPr>
        <p:txBody>
          <a:bodyPr wrap="square">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id-ID" sz="1000" b="0" i="0" u="none" strike="noStrike" kern="1200" cap="none" spc="0" normalizeH="0" baseline="0" noProof="0" dirty="0">
                <a:ln>
                  <a:noFill/>
                </a:ln>
                <a:solidFill>
                  <a:prstClr val="black">
                    <a:lumMod val="50000"/>
                    <a:lumOff val="50000"/>
                  </a:prstClr>
                </a:solidFill>
                <a:effectLst/>
                <a:uLnTx/>
                <a:uFillTx/>
                <a:latin typeface="HarmonyOS Sans SC"/>
                <a:cs typeface="Segoe UI Light" panose="020B0502040204020203" pitchFamily="34" charset="0"/>
              </a:rPr>
              <a:t>Vivamus quam dolor, tempor ac gravida sit amet, porta fermentum</a:t>
            </a:r>
            <a:r>
              <a:rPr kumimoji="0" lang="en-US" sz="1000" b="0" i="0" u="none" strike="noStrike" kern="1200" cap="none" spc="0" normalizeH="0" baseline="0" noProof="0" dirty="0">
                <a:ln>
                  <a:noFill/>
                </a:ln>
                <a:solidFill>
                  <a:prstClr val="black">
                    <a:lumMod val="50000"/>
                    <a:lumOff val="50000"/>
                  </a:prstClr>
                </a:solidFill>
                <a:effectLst/>
                <a:uLnTx/>
                <a:uFillTx/>
                <a:latin typeface="HarmonyOS Sans SC"/>
                <a:cs typeface="Segoe UI Light" panose="020B0502040204020203" pitchFamily="34" charset="0"/>
              </a:rPr>
              <a:t>.</a:t>
            </a:r>
          </a:p>
        </p:txBody>
      </p:sp>
      <p:sp>
        <p:nvSpPr>
          <p:cNvPr id="6" name="Rectangle 74">
            <a:extLst>
              <a:ext uri="{FF2B5EF4-FFF2-40B4-BE49-F238E27FC236}">
                <a16:creationId xmlns:a16="http://schemas.microsoft.com/office/drawing/2014/main" id="{90A9FB93-5AB0-4359-9179-E2806A4B70AB}"/>
              </a:ext>
            </a:extLst>
          </p:cNvPr>
          <p:cNvSpPr/>
          <p:nvPr/>
        </p:nvSpPr>
        <p:spPr>
          <a:xfrm>
            <a:off x="9136387" y="4977240"/>
            <a:ext cx="1666836" cy="310983"/>
          </a:xfrm>
          <a:prstGeom prst="rect">
            <a:avLst/>
          </a:prstGeom>
        </p:spPr>
        <p:txBody>
          <a:bodyPr wrap="square">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zh-CN" altLang="en-US" sz="1250" b="0" i="0" u="none" strike="noStrike" kern="1200" cap="none" spc="0" normalizeH="0" baseline="0" noProof="0" dirty="0">
                <a:ln>
                  <a:noFill/>
                </a:ln>
                <a:solidFill>
                  <a:prstClr val="black"/>
                </a:solidFill>
                <a:effectLst/>
                <a:uLnTx/>
                <a:uFillTx/>
                <a:latin typeface="HarmonyOS Sans SC Black"/>
                <a:ea typeface="+mj-ea"/>
                <a:cs typeface="Segoe UI" panose="020B0502040204020203" pitchFamily="34" charset="0"/>
              </a:rPr>
              <a:t>关键词标题</a:t>
            </a:r>
            <a:endParaRPr kumimoji="0" lang="en-US" sz="1250" b="0" i="0" u="none" strike="noStrike" kern="1200" cap="none" spc="0" normalizeH="0" baseline="0" noProof="0" dirty="0">
              <a:ln>
                <a:noFill/>
              </a:ln>
              <a:solidFill>
                <a:prstClr val="black"/>
              </a:solidFill>
              <a:effectLst/>
              <a:uLnTx/>
              <a:uFillTx/>
              <a:latin typeface="HarmonyOS Sans SC Black"/>
              <a:ea typeface="+mj-ea"/>
              <a:cs typeface="Segoe UI" panose="020B0502040204020203" pitchFamily="34" charset="0"/>
            </a:endParaRPr>
          </a:p>
        </p:txBody>
      </p:sp>
      <p:sp>
        <p:nvSpPr>
          <p:cNvPr id="7" name="Rectangle 75">
            <a:extLst>
              <a:ext uri="{FF2B5EF4-FFF2-40B4-BE49-F238E27FC236}">
                <a16:creationId xmlns:a16="http://schemas.microsoft.com/office/drawing/2014/main" id="{69C2B15E-B332-4DC4-B8D9-2FAFD4E8EEF5}"/>
              </a:ext>
            </a:extLst>
          </p:cNvPr>
          <p:cNvSpPr/>
          <p:nvPr/>
        </p:nvSpPr>
        <p:spPr>
          <a:xfrm>
            <a:off x="9136387" y="5256043"/>
            <a:ext cx="2347584" cy="461665"/>
          </a:xfrm>
          <a:prstGeom prst="rect">
            <a:avLst/>
          </a:prstGeom>
        </p:spPr>
        <p:txBody>
          <a:bodyPr wrap="square">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id-ID" sz="1000" b="0" i="0" u="none" strike="noStrike" kern="1200" cap="none" spc="0" normalizeH="0" baseline="0" noProof="0" dirty="0">
                <a:ln>
                  <a:noFill/>
                </a:ln>
                <a:solidFill>
                  <a:prstClr val="black">
                    <a:lumMod val="50000"/>
                    <a:lumOff val="50000"/>
                  </a:prstClr>
                </a:solidFill>
                <a:effectLst/>
                <a:uLnTx/>
                <a:uFillTx/>
                <a:latin typeface="HarmonyOS Sans SC"/>
                <a:cs typeface="Segoe UI Light" panose="020B0502040204020203" pitchFamily="34" charset="0"/>
              </a:rPr>
              <a:t>Vivamus quam dolor, tempor ac gravida sit amet, porta fermentum</a:t>
            </a:r>
            <a:r>
              <a:rPr kumimoji="0" lang="en-US" sz="1000" b="0" i="0" u="none" strike="noStrike" kern="1200" cap="none" spc="0" normalizeH="0" baseline="0" noProof="0" dirty="0">
                <a:ln>
                  <a:noFill/>
                </a:ln>
                <a:solidFill>
                  <a:prstClr val="black">
                    <a:lumMod val="50000"/>
                    <a:lumOff val="50000"/>
                  </a:prstClr>
                </a:solidFill>
                <a:effectLst/>
                <a:uLnTx/>
                <a:uFillTx/>
                <a:latin typeface="HarmonyOS Sans SC"/>
                <a:cs typeface="Segoe UI Light" panose="020B0502040204020203" pitchFamily="34" charset="0"/>
              </a:rPr>
              <a:t>.</a:t>
            </a:r>
          </a:p>
        </p:txBody>
      </p:sp>
      <p:sp>
        <p:nvSpPr>
          <p:cNvPr id="8" name="Rectangle 76">
            <a:extLst>
              <a:ext uri="{FF2B5EF4-FFF2-40B4-BE49-F238E27FC236}">
                <a16:creationId xmlns:a16="http://schemas.microsoft.com/office/drawing/2014/main" id="{5D02FFBB-EB27-4592-ABD3-24E202E6DF07}"/>
              </a:ext>
            </a:extLst>
          </p:cNvPr>
          <p:cNvSpPr/>
          <p:nvPr/>
        </p:nvSpPr>
        <p:spPr>
          <a:xfrm>
            <a:off x="1325533" y="2034995"/>
            <a:ext cx="1666836" cy="310983"/>
          </a:xfrm>
          <a:prstGeom prst="rect">
            <a:avLst/>
          </a:prstGeom>
        </p:spPr>
        <p:txBody>
          <a:bodyPr wrap="square">
            <a:spAutoFit/>
          </a:bodyPr>
          <a:lstStyle/>
          <a:p>
            <a:pPr marL="0" marR="0" lvl="0" indent="0" algn="r" defTabSz="914400" rtl="0" eaLnBrk="1" fontAlgn="auto" latinLnBrk="0" hangingPunct="1">
              <a:lnSpc>
                <a:spcPct val="120000"/>
              </a:lnSpc>
              <a:spcBef>
                <a:spcPts val="0"/>
              </a:spcBef>
              <a:spcAft>
                <a:spcPts val="0"/>
              </a:spcAft>
              <a:buClrTx/>
              <a:buSzTx/>
              <a:buFontTx/>
              <a:buNone/>
              <a:tabLst/>
              <a:defRPr/>
            </a:pPr>
            <a:r>
              <a:rPr kumimoji="0" lang="zh-CN" altLang="en-US" sz="1250" b="0" i="0" u="none" strike="noStrike" kern="1200" cap="none" spc="0" normalizeH="0" baseline="0" noProof="0" dirty="0">
                <a:ln>
                  <a:noFill/>
                </a:ln>
                <a:solidFill>
                  <a:prstClr val="black"/>
                </a:solidFill>
                <a:effectLst/>
                <a:uLnTx/>
                <a:uFillTx/>
                <a:latin typeface="HarmonyOS Sans SC Black"/>
                <a:ea typeface="+mj-ea"/>
                <a:cs typeface="Segoe UI" panose="020B0502040204020203" pitchFamily="34" charset="0"/>
              </a:rPr>
              <a:t>关键词标题</a:t>
            </a:r>
            <a:endParaRPr kumimoji="0" lang="en-US" sz="1250" b="0" i="0" u="none" strike="noStrike" kern="1200" cap="none" spc="0" normalizeH="0" baseline="0" noProof="0" dirty="0">
              <a:ln>
                <a:noFill/>
              </a:ln>
              <a:solidFill>
                <a:prstClr val="black"/>
              </a:solidFill>
              <a:effectLst/>
              <a:uLnTx/>
              <a:uFillTx/>
              <a:latin typeface="HarmonyOS Sans SC Black"/>
              <a:ea typeface="+mj-ea"/>
              <a:cs typeface="Segoe UI" panose="020B0502040204020203" pitchFamily="34" charset="0"/>
            </a:endParaRPr>
          </a:p>
        </p:txBody>
      </p:sp>
      <p:sp>
        <p:nvSpPr>
          <p:cNvPr id="9" name="Rectangle 77">
            <a:extLst>
              <a:ext uri="{FF2B5EF4-FFF2-40B4-BE49-F238E27FC236}">
                <a16:creationId xmlns:a16="http://schemas.microsoft.com/office/drawing/2014/main" id="{D3CC8C5E-67C3-4F96-9C4A-53F292012062}"/>
              </a:ext>
            </a:extLst>
          </p:cNvPr>
          <p:cNvSpPr/>
          <p:nvPr/>
        </p:nvSpPr>
        <p:spPr>
          <a:xfrm>
            <a:off x="644786" y="2313799"/>
            <a:ext cx="2347584" cy="461665"/>
          </a:xfrm>
          <a:prstGeom prst="rect">
            <a:avLst/>
          </a:prstGeom>
        </p:spPr>
        <p:txBody>
          <a:bodyPr wrap="square">
            <a:spAutoFit/>
          </a:bodyPr>
          <a:lstStyle/>
          <a:p>
            <a:pPr marL="0" marR="0" lvl="0" indent="0" algn="r" defTabSz="914400" rtl="0" eaLnBrk="1" fontAlgn="auto" latinLnBrk="0" hangingPunct="1">
              <a:lnSpc>
                <a:spcPct val="120000"/>
              </a:lnSpc>
              <a:spcBef>
                <a:spcPts val="0"/>
              </a:spcBef>
              <a:spcAft>
                <a:spcPts val="0"/>
              </a:spcAft>
              <a:buClrTx/>
              <a:buSzTx/>
              <a:buFontTx/>
              <a:buNone/>
              <a:tabLst/>
              <a:defRPr/>
            </a:pPr>
            <a:r>
              <a:rPr kumimoji="0" lang="id-ID" sz="1000" b="0" i="0" u="none" strike="noStrike" kern="1200" cap="none" spc="0" normalizeH="0" baseline="0" noProof="0" dirty="0">
                <a:ln>
                  <a:noFill/>
                </a:ln>
                <a:solidFill>
                  <a:prstClr val="black">
                    <a:lumMod val="50000"/>
                    <a:lumOff val="50000"/>
                  </a:prstClr>
                </a:solidFill>
                <a:effectLst/>
                <a:uLnTx/>
                <a:uFillTx/>
                <a:latin typeface="HarmonyOS Sans SC"/>
                <a:cs typeface="Segoe UI Light" panose="020B0502040204020203" pitchFamily="34" charset="0"/>
              </a:rPr>
              <a:t>Vivamus quam dolor, tempor ac gravida sit amet, porta fermentum</a:t>
            </a:r>
            <a:r>
              <a:rPr kumimoji="0" lang="en-US" sz="1000" b="0" i="0" u="none" strike="noStrike" kern="1200" cap="none" spc="0" normalizeH="0" baseline="0" noProof="0" dirty="0">
                <a:ln>
                  <a:noFill/>
                </a:ln>
                <a:solidFill>
                  <a:prstClr val="black">
                    <a:lumMod val="50000"/>
                    <a:lumOff val="50000"/>
                  </a:prstClr>
                </a:solidFill>
                <a:effectLst/>
                <a:uLnTx/>
                <a:uFillTx/>
                <a:latin typeface="HarmonyOS Sans SC"/>
                <a:cs typeface="Segoe UI Light" panose="020B0502040204020203" pitchFamily="34" charset="0"/>
              </a:rPr>
              <a:t>.</a:t>
            </a:r>
          </a:p>
        </p:txBody>
      </p:sp>
      <p:sp>
        <p:nvSpPr>
          <p:cNvPr id="10" name="Rectangle 78">
            <a:extLst>
              <a:ext uri="{FF2B5EF4-FFF2-40B4-BE49-F238E27FC236}">
                <a16:creationId xmlns:a16="http://schemas.microsoft.com/office/drawing/2014/main" id="{AA2C2220-F5B0-4827-B617-C5A9B7CAE831}"/>
              </a:ext>
            </a:extLst>
          </p:cNvPr>
          <p:cNvSpPr/>
          <p:nvPr/>
        </p:nvSpPr>
        <p:spPr>
          <a:xfrm>
            <a:off x="1325533" y="3434666"/>
            <a:ext cx="1666836" cy="310983"/>
          </a:xfrm>
          <a:prstGeom prst="rect">
            <a:avLst/>
          </a:prstGeom>
        </p:spPr>
        <p:txBody>
          <a:bodyPr wrap="square">
            <a:spAutoFit/>
          </a:bodyPr>
          <a:lstStyle/>
          <a:p>
            <a:pPr marL="0" marR="0" lvl="0" indent="0" algn="r" defTabSz="914400" rtl="0" eaLnBrk="1" fontAlgn="auto" latinLnBrk="0" hangingPunct="1">
              <a:lnSpc>
                <a:spcPct val="120000"/>
              </a:lnSpc>
              <a:spcBef>
                <a:spcPts val="0"/>
              </a:spcBef>
              <a:spcAft>
                <a:spcPts val="0"/>
              </a:spcAft>
              <a:buClrTx/>
              <a:buSzTx/>
              <a:buFontTx/>
              <a:buNone/>
              <a:tabLst/>
              <a:defRPr/>
            </a:pPr>
            <a:r>
              <a:rPr kumimoji="0" lang="zh-CN" altLang="en-US" sz="1250" b="0" i="0" u="none" strike="noStrike" kern="1200" cap="none" spc="0" normalizeH="0" baseline="0" noProof="0" dirty="0">
                <a:ln>
                  <a:noFill/>
                </a:ln>
                <a:solidFill>
                  <a:prstClr val="black"/>
                </a:solidFill>
                <a:effectLst/>
                <a:uLnTx/>
                <a:uFillTx/>
                <a:latin typeface="HarmonyOS Sans SC Black"/>
                <a:ea typeface="+mj-ea"/>
                <a:cs typeface="Segoe UI" panose="020B0502040204020203" pitchFamily="34" charset="0"/>
              </a:rPr>
              <a:t>关键词标题</a:t>
            </a:r>
            <a:endParaRPr kumimoji="0" lang="en-US" sz="1250" b="0" i="0" u="none" strike="noStrike" kern="1200" cap="none" spc="0" normalizeH="0" baseline="0" noProof="0" dirty="0">
              <a:ln>
                <a:noFill/>
              </a:ln>
              <a:solidFill>
                <a:prstClr val="black"/>
              </a:solidFill>
              <a:effectLst/>
              <a:uLnTx/>
              <a:uFillTx/>
              <a:latin typeface="HarmonyOS Sans SC Black"/>
              <a:ea typeface="+mj-ea"/>
              <a:cs typeface="Segoe UI" panose="020B0502040204020203" pitchFamily="34" charset="0"/>
            </a:endParaRPr>
          </a:p>
        </p:txBody>
      </p:sp>
      <p:sp>
        <p:nvSpPr>
          <p:cNvPr id="11" name="Rectangle 79">
            <a:extLst>
              <a:ext uri="{FF2B5EF4-FFF2-40B4-BE49-F238E27FC236}">
                <a16:creationId xmlns:a16="http://schemas.microsoft.com/office/drawing/2014/main" id="{16BD65DD-1E4C-4DCB-835E-172E6DAE829C}"/>
              </a:ext>
            </a:extLst>
          </p:cNvPr>
          <p:cNvSpPr/>
          <p:nvPr/>
        </p:nvSpPr>
        <p:spPr>
          <a:xfrm>
            <a:off x="644786" y="3713469"/>
            <a:ext cx="2347584" cy="461665"/>
          </a:xfrm>
          <a:prstGeom prst="rect">
            <a:avLst/>
          </a:prstGeom>
        </p:spPr>
        <p:txBody>
          <a:bodyPr wrap="square">
            <a:spAutoFit/>
          </a:bodyPr>
          <a:lstStyle/>
          <a:p>
            <a:pPr marL="0" marR="0" lvl="0" indent="0" algn="r" defTabSz="914400" rtl="0" eaLnBrk="1" fontAlgn="auto" latinLnBrk="0" hangingPunct="1">
              <a:lnSpc>
                <a:spcPct val="120000"/>
              </a:lnSpc>
              <a:spcBef>
                <a:spcPts val="0"/>
              </a:spcBef>
              <a:spcAft>
                <a:spcPts val="0"/>
              </a:spcAft>
              <a:buClrTx/>
              <a:buSzTx/>
              <a:buFontTx/>
              <a:buNone/>
              <a:tabLst/>
              <a:defRPr/>
            </a:pPr>
            <a:r>
              <a:rPr kumimoji="0" lang="id-ID" sz="1000" b="0" i="0" u="none" strike="noStrike" kern="1200" cap="none" spc="0" normalizeH="0" baseline="0" noProof="0" dirty="0">
                <a:ln>
                  <a:noFill/>
                </a:ln>
                <a:solidFill>
                  <a:prstClr val="black">
                    <a:lumMod val="50000"/>
                    <a:lumOff val="50000"/>
                  </a:prstClr>
                </a:solidFill>
                <a:effectLst/>
                <a:uLnTx/>
                <a:uFillTx/>
                <a:latin typeface="HarmonyOS Sans SC"/>
                <a:cs typeface="Segoe UI Light" panose="020B0502040204020203" pitchFamily="34" charset="0"/>
              </a:rPr>
              <a:t>Vivamus quam dolor, tempor ac gravida sit amet, porta fermentum</a:t>
            </a:r>
            <a:r>
              <a:rPr kumimoji="0" lang="en-US" sz="1000" b="0" i="0" u="none" strike="noStrike" kern="1200" cap="none" spc="0" normalizeH="0" baseline="0" noProof="0" dirty="0">
                <a:ln>
                  <a:noFill/>
                </a:ln>
                <a:solidFill>
                  <a:prstClr val="black">
                    <a:lumMod val="50000"/>
                    <a:lumOff val="50000"/>
                  </a:prstClr>
                </a:solidFill>
                <a:effectLst/>
                <a:uLnTx/>
                <a:uFillTx/>
                <a:latin typeface="HarmonyOS Sans SC"/>
                <a:cs typeface="Segoe UI Light" panose="020B0502040204020203" pitchFamily="34" charset="0"/>
              </a:rPr>
              <a:t>.</a:t>
            </a:r>
          </a:p>
        </p:txBody>
      </p:sp>
      <p:sp>
        <p:nvSpPr>
          <p:cNvPr id="12" name="Rectangle 80">
            <a:extLst>
              <a:ext uri="{FF2B5EF4-FFF2-40B4-BE49-F238E27FC236}">
                <a16:creationId xmlns:a16="http://schemas.microsoft.com/office/drawing/2014/main" id="{DCE7613D-F602-42D2-931C-E219A91F0ABB}"/>
              </a:ext>
            </a:extLst>
          </p:cNvPr>
          <p:cNvSpPr/>
          <p:nvPr/>
        </p:nvSpPr>
        <p:spPr>
          <a:xfrm>
            <a:off x="1325533" y="4977240"/>
            <a:ext cx="1666836" cy="310983"/>
          </a:xfrm>
          <a:prstGeom prst="rect">
            <a:avLst/>
          </a:prstGeom>
        </p:spPr>
        <p:txBody>
          <a:bodyPr wrap="square">
            <a:spAutoFit/>
          </a:bodyPr>
          <a:lstStyle/>
          <a:p>
            <a:pPr marL="0" marR="0" lvl="0" indent="0" algn="r" defTabSz="914400" rtl="0" eaLnBrk="1" fontAlgn="auto" latinLnBrk="0" hangingPunct="1">
              <a:lnSpc>
                <a:spcPct val="120000"/>
              </a:lnSpc>
              <a:spcBef>
                <a:spcPts val="0"/>
              </a:spcBef>
              <a:spcAft>
                <a:spcPts val="0"/>
              </a:spcAft>
              <a:buClrTx/>
              <a:buSzTx/>
              <a:buFontTx/>
              <a:buNone/>
              <a:tabLst/>
              <a:defRPr/>
            </a:pPr>
            <a:r>
              <a:rPr kumimoji="0" lang="zh-CN" altLang="en-US" sz="1250" b="0" i="0" u="none" strike="noStrike" kern="1200" cap="none" spc="0" normalizeH="0" baseline="0" noProof="0" dirty="0">
                <a:ln>
                  <a:noFill/>
                </a:ln>
                <a:solidFill>
                  <a:prstClr val="black"/>
                </a:solidFill>
                <a:effectLst/>
                <a:uLnTx/>
                <a:uFillTx/>
                <a:latin typeface="HarmonyOS Sans SC Black"/>
                <a:ea typeface="+mj-ea"/>
                <a:cs typeface="Segoe UI" panose="020B0502040204020203" pitchFamily="34" charset="0"/>
              </a:rPr>
              <a:t>关键词标题</a:t>
            </a:r>
            <a:endParaRPr kumimoji="0" lang="en-US" sz="1250" b="0" i="0" u="none" strike="noStrike" kern="1200" cap="none" spc="0" normalizeH="0" baseline="0" noProof="0" dirty="0">
              <a:ln>
                <a:noFill/>
              </a:ln>
              <a:solidFill>
                <a:prstClr val="black"/>
              </a:solidFill>
              <a:effectLst/>
              <a:uLnTx/>
              <a:uFillTx/>
              <a:latin typeface="HarmonyOS Sans SC Black"/>
              <a:ea typeface="+mj-ea"/>
              <a:cs typeface="Segoe UI" panose="020B0502040204020203" pitchFamily="34" charset="0"/>
            </a:endParaRPr>
          </a:p>
        </p:txBody>
      </p:sp>
      <p:sp>
        <p:nvSpPr>
          <p:cNvPr id="13" name="Rectangle 81">
            <a:extLst>
              <a:ext uri="{FF2B5EF4-FFF2-40B4-BE49-F238E27FC236}">
                <a16:creationId xmlns:a16="http://schemas.microsoft.com/office/drawing/2014/main" id="{BEDD8FE4-6881-4E78-9B83-5F47B928C518}"/>
              </a:ext>
            </a:extLst>
          </p:cNvPr>
          <p:cNvSpPr/>
          <p:nvPr/>
        </p:nvSpPr>
        <p:spPr>
          <a:xfrm>
            <a:off x="644786" y="5256043"/>
            <a:ext cx="2347584" cy="461665"/>
          </a:xfrm>
          <a:prstGeom prst="rect">
            <a:avLst/>
          </a:prstGeom>
        </p:spPr>
        <p:txBody>
          <a:bodyPr wrap="square">
            <a:spAutoFit/>
          </a:bodyPr>
          <a:lstStyle/>
          <a:p>
            <a:pPr marL="0" marR="0" lvl="0" indent="0" algn="r" defTabSz="914400" rtl="0" eaLnBrk="1" fontAlgn="auto" latinLnBrk="0" hangingPunct="1">
              <a:lnSpc>
                <a:spcPct val="120000"/>
              </a:lnSpc>
              <a:spcBef>
                <a:spcPts val="0"/>
              </a:spcBef>
              <a:spcAft>
                <a:spcPts val="0"/>
              </a:spcAft>
              <a:buClrTx/>
              <a:buSzTx/>
              <a:buFontTx/>
              <a:buNone/>
              <a:tabLst/>
              <a:defRPr/>
            </a:pPr>
            <a:r>
              <a:rPr kumimoji="0" lang="id-ID" sz="1000" b="0" i="0" u="none" strike="noStrike" kern="1200" cap="none" spc="0" normalizeH="0" baseline="0" noProof="0" dirty="0">
                <a:ln>
                  <a:noFill/>
                </a:ln>
                <a:solidFill>
                  <a:prstClr val="black">
                    <a:lumMod val="50000"/>
                    <a:lumOff val="50000"/>
                  </a:prstClr>
                </a:solidFill>
                <a:effectLst/>
                <a:uLnTx/>
                <a:uFillTx/>
                <a:latin typeface="HarmonyOS Sans SC"/>
                <a:cs typeface="Segoe UI Light" panose="020B0502040204020203" pitchFamily="34" charset="0"/>
              </a:rPr>
              <a:t>Vivamus quam dolor, tempor ac gravida sit amet, porta fermentum</a:t>
            </a:r>
            <a:r>
              <a:rPr kumimoji="0" lang="en-US" sz="1000" b="0" i="0" u="none" strike="noStrike" kern="1200" cap="none" spc="0" normalizeH="0" baseline="0" noProof="0" dirty="0">
                <a:ln>
                  <a:noFill/>
                </a:ln>
                <a:solidFill>
                  <a:prstClr val="black">
                    <a:lumMod val="50000"/>
                    <a:lumOff val="50000"/>
                  </a:prstClr>
                </a:solidFill>
                <a:effectLst/>
                <a:uLnTx/>
                <a:uFillTx/>
                <a:latin typeface="HarmonyOS Sans SC"/>
                <a:cs typeface="Segoe UI Light" panose="020B0502040204020203" pitchFamily="34" charset="0"/>
              </a:rPr>
              <a:t>.</a:t>
            </a:r>
          </a:p>
        </p:txBody>
      </p:sp>
      <p:sp>
        <p:nvSpPr>
          <p:cNvPr id="15" name="Shape 27602">
            <a:extLst>
              <a:ext uri="{FF2B5EF4-FFF2-40B4-BE49-F238E27FC236}">
                <a16:creationId xmlns:a16="http://schemas.microsoft.com/office/drawing/2014/main" id="{BAA9A6E1-C8D0-412E-98E4-85928F11250A}"/>
              </a:ext>
            </a:extLst>
          </p:cNvPr>
          <p:cNvSpPr/>
          <p:nvPr/>
        </p:nvSpPr>
        <p:spPr>
          <a:xfrm flipV="1">
            <a:off x="3221519" y="1983043"/>
            <a:ext cx="2875633" cy="4874957"/>
          </a:xfrm>
          <a:custGeom>
            <a:avLst/>
            <a:gdLst/>
            <a:ahLst/>
            <a:cxnLst>
              <a:cxn ang="0">
                <a:pos x="wd2" y="hd2"/>
              </a:cxn>
              <a:cxn ang="5400000">
                <a:pos x="wd2" y="hd2"/>
              </a:cxn>
              <a:cxn ang="10800000">
                <a:pos x="wd2" y="hd2"/>
              </a:cxn>
              <a:cxn ang="16200000">
                <a:pos x="wd2" y="hd2"/>
              </a:cxn>
            </a:cxnLst>
            <a:rect l="0" t="0" r="r" b="b"/>
            <a:pathLst>
              <a:path w="21600" h="21600" extrusionOk="0">
                <a:moveTo>
                  <a:pt x="2869" y="18130"/>
                </a:moveTo>
                <a:cubicBezTo>
                  <a:pt x="4251" y="18130"/>
                  <a:pt x="5371" y="18791"/>
                  <a:pt x="5371" y="19606"/>
                </a:cubicBezTo>
                <a:cubicBezTo>
                  <a:pt x="5371" y="20421"/>
                  <a:pt x="4251" y="21081"/>
                  <a:pt x="2869" y="21081"/>
                </a:cubicBezTo>
                <a:cubicBezTo>
                  <a:pt x="1487" y="21081"/>
                  <a:pt x="367" y="20421"/>
                  <a:pt x="367" y="19606"/>
                </a:cubicBezTo>
                <a:cubicBezTo>
                  <a:pt x="367" y="18791"/>
                  <a:pt x="1487" y="18130"/>
                  <a:pt x="2869" y="18130"/>
                </a:cubicBezTo>
                <a:close/>
                <a:moveTo>
                  <a:pt x="21118" y="0"/>
                </a:moveTo>
                <a:lnTo>
                  <a:pt x="18580" y="0"/>
                </a:lnTo>
                <a:lnTo>
                  <a:pt x="18581" y="1"/>
                </a:lnTo>
                <a:lnTo>
                  <a:pt x="18574" y="0"/>
                </a:lnTo>
                <a:lnTo>
                  <a:pt x="18574" y="17227"/>
                </a:lnTo>
                <a:cubicBezTo>
                  <a:pt x="18574" y="18224"/>
                  <a:pt x="18408" y="18877"/>
                  <a:pt x="16183" y="18877"/>
                </a:cubicBezTo>
                <a:lnTo>
                  <a:pt x="5459" y="18877"/>
                </a:lnTo>
                <a:cubicBezTo>
                  <a:pt x="4998" y="18307"/>
                  <a:pt x="4011" y="17913"/>
                  <a:pt x="2869" y="17913"/>
                </a:cubicBezTo>
                <a:cubicBezTo>
                  <a:pt x="1284" y="17913"/>
                  <a:pt x="0" y="18671"/>
                  <a:pt x="0" y="19606"/>
                </a:cubicBezTo>
                <a:cubicBezTo>
                  <a:pt x="0" y="19657"/>
                  <a:pt x="4" y="19707"/>
                  <a:pt x="12" y="19757"/>
                </a:cubicBezTo>
                <a:cubicBezTo>
                  <a:pt x="4" y="19806"/>
                  <a:pt x="0" y="19857"/>
                  <a:pt x="0" y="19908"/>
                </a:cubicBezTo>
                <a:cubicBezTo>
                  <a:pt x="0" y="20842"/>
                  <a:pt x="1284" y="21600"/>
                  <a:pt x="2869" y="21600"/>
                </a:cubicBezTo>
                <a:cubicBezTo>
                  <a:pt x="3985" y="21600"/>
                  <a:pt x="4951" y="21224"/>
                  <a:pt x="5425" y="20676"/>
                </a:cubicBezTo>
                <a:lnTo>
                  <a:pt x="16671" y="20676"/>
                </a:lnTo>
                <a:cubicBezTo>
                  <a:pt x="19263" y="20676"/>
                  <a:pt x="20450" y="19975"/>
                  <a:pt x="20989" y="19387"/>
                </a:cubicBezTo>
                <a:cubicBezTo>
                  <a:pt x="21600" y="18722"/>
                  <a:pt x="21600" y="17975"/>
                  <a:pt x="21600" y="17529"/>
                </a:cubicBezTo>
                <a:lnTo>
                  <a:pt x="21600" y="17227"/>
                </a:lnTo>
                <a:lnTo>
                  <a:pt x="21600" y="259"/>
                </a:lnTo>
                <a:cubicBezTo>
                  <a:pt x="21600" y="259"/>
                  <a:pt x="21118" y="0"/>
                  <a:pt x="21118" y="0"/>
                </a:cubicBezTo>
                <a:close/>
              </a:path>
            </a:pathLst>
          </a:custGeom>
          <a:gradFill flip="none" rotWithShape="1">
            <a:gsLst>
              <a:gs pos="100000">
                <a:schemeClr val="accent1"/>
              </a:gs>
              <a:gs pos="21000">
                <a:schemeClr val="accent1">
                  <a:lumMod val="60000"/>
                  <a:lumOff val="40000"/>
                </a:schemeClr>
              </a:gs>
              <a:gs pos="0">
                <a:schemeClr val="accent1">
                  <a:lumMod val="40000"/>
                  <a:lumOff val="60000"/>
                </a:schemeClr>
              </a:gs>
            </a:gsLst>
            <a:lin ang="16200000" scaled="1"/>
            <a:tileRect/>
          </a:gradFill>
          <a:ln w="12700" cap="flat">
            <a:noFill/>
            <a:miter lim="400000"/>
          </a:ln>
          <a:effectLst/>
        </p:spPr>
        <p:txBody>
          <a:bodyPr wrap="square" lIns="19021" tIns="19021" rIns="19021" bIns="19021" numCol="1" anchor="ctr">
            <a:noAutofit/>
          </a:bodyPr>
          <a:lstStyle/>
          <a:p>
            <a:pPr marL="0" marR="0" lvl="0" indent="0" algn="l" defTabSz="228238" rtl="0" eaLnBrk="1" fontAlgn="auto" latinLnBrk="0" hangingPunct="1">
              <a:lnSpc>
                <a:spcPct val="100000"/>
              </a:lnSpc>
              <a:spcBef>
                <a:spcPts val="0"/>
              </a:spcBef>
              <a:spcAft>
                <a:spcPts val="0"/>
              </a:spcAft>
              <a:buClrTx/>
              <a:buSzTx/>
              <a:buFontTx/>
              <a:buNone/>
              <a:tabLst/>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sz="1498" b="0" i="0" u="none" strike="noStrike" kern="1200" cap="none" spc="0" normalizeH="0" baseline="0" noProof="0">
              <a:ln>
                <a:noFill/>
              </a:ln>
              <a:solidFill>
                <a:srgbClr val="FFFFFF"/>
              </a:solidFill>
              <a:effectLst>
                <a:outerShdw blurRad="38100" dist="12700" dir="5400000" rotWithShape="0">
                  <a:srgbClr val="000000">
                    <a:alpha val="50000"/>
                  </a:srgbClr>
                </a:outerShdw>
              </a:effectLst>
              <a:uLnTx/>
              <a:uFillTx/>
              <a:latin typeface="HarmonyOS Sans SC"/>
              <a:sym typeface="Gill Sans"/>
            </a:endParaRPr>
          </a:p>
        </p:txBody>
      </p:sp>
      <p:sp>
        <p:nvSpPr>
          <p:cNvPr id="16" name="Shape 27608">
            <a:extLst>
              <a:ext uri="{FF2B5EF4-FFF2-40B4-BE49-F238E27FC236}">
                <a16:creationId xmlns:a16="http://schemas.microsoft.com/office/drawing/2014/main" id="{FFB49256-8564-47DD-AD1F-644ED5FB965C}"/>
              </a:ext>
            </a:extLst>
          </p:cNvPr>
          <p:cNvSpPr/>
          <p:nvPr/>
        </p:nvSpPr>
        <p:spPr>
          <a:xfrm flipV="1">
            <a:off x="3221520" y="3440883"/>
            <a:ext cx="2472857" cy="3417116"/>
          </a:xfrm>
          <a:custGeom>
            <a:avLst/>
            <a:gdLst/>
            <a:ahLst/>
            <a:cxnLst>
              <a:cxn ang="0">
                <a:pos x="wd2" y="hd2"/>
              </a:cxn>
              <a:cxn ang="5400000">
                <a:pos x="wd2" y="hd2"/>
              </a:cxn>
              <a:cxn ang="10800000">
                <a:pos x="wd2" y="hd2"/>
              </a:cxn>
              <a:cxn ang="16200000">
                <a:pos x="wd2" y="hd2"/>
              </a:cxn>
            </a:cxnLst>
            <a:rect l="0" t="0" r="r" b="b"/>
            <a:pathLst>
              <a:path w="21600" h="21600" extrusionOk="0">
                <a:moveTo>
                  <a:pt x="3336" y="16649"/>
                </a:moveTo>
                <a:cubicBezTo>
                  <a:pt x="4943" y="16649"/>
                  <a:pt x="6246" y="17592"/>
                  <a:pt x="6246" y="18755"/>
                </a:cubicBezTo>
                <a:cubicBezTo>
                  <a:pt x="6246" y="19918"/>
                  <a:pt x="4943" y="20860"/>
                  <a:pt x="3336" y="20860"/>
                </a:cubicBezTo>
                <a:cubicBezTo>
                  <a:pt x="1730" y="20860"/>
                  <a:pt x="427" y="19918"/>
                  <a:pt x="427" y="18755"/>
                </a:cubicBezTo>
                <a:cubicBezTo>
                  <a:pt x="427" y="17592"/>
                  <a:pt x="1730" y="16649"/>
                  <a:pt x="3336" y="16649"/>
                </a:cubicBezTo>
                <a:close/>
                <a:moveTo>
                  <a:pt x="21039" y="0"/>
                </a:moveTo>
                <a:lnTo>
                  <a:pt x="18088" y="0"/>
                </a:lnTo>
                <a:lnTo>
                  <a:pt x="18090" y="1"/>
                </a:lnTo>
                <a:lnTo>
                  <a:pt x="18081" y="0"/>
                </a:lnTo>
                <a:lnTo>
                  <a:pt x="18081" y="15361"/>
                </a:lnTo>
                <a:cubicBezTo>
                  <a:pt x="18081" y="16783"/>
                  <a:pt x="17888" y="17715"/>
                  <a:pt x="15301" y="17715"/>
                </a:cubicBezTo>
                <a:lnTo>
                  <a:pt x="6348" y="17715"/>
                </a:lnTo>
                <a:cubicBezTo>
                  <a:pt x="5812" y="16902"/>
                  <a:pt x="4665" y="16340"/>
                  <a:pt x="3336" y="16340"/>
                </a:cubicBezTo>
                <a:cubicBezTo>
                  <a:pt x="1494" y="16340"/>
                  <a:pt x="0" y="17421"/>
                  <a:pt x="0" y="18755"/>
                </a:cubicBezTo>
                <a:cubicBezTo>
                  <a:pt x="0" y="18828"/>
                  <a:pt x="5" y="18899"/>
                  <a:pt x="14" y="18970"/>
                </a:cubicBezTo>
                <a:cubicBezTo>
                  <a:pt x="5" y="19041"/>
                  <a:pt x="0" y="19113"/>
                  <a:pt x="0" y="19186"/>
                </a:cubicBezTo>
                <a:cubicBezTo>
                  <a:pt x="0" y="20519"/>
                  <a:pt x="1494" y="21600"/>
                  <a:pt x="3336" y="21600"/>
                </a:cubicBezTo>
                <a:cubicBezTo>
                  <a:pt x="4634" y="21600"/>
                  <a:pt x="5757" y="21064"/>
                  <a:pt x="6309" y="20282"/>
                </a:cubicBezTo>
                <a:lnTo>
                  <a:pt x="15868" y="20282"/>
                </a:lnTo>
                <a:cubicBezTo>
                  <a:pt x="18882" y="20282"/>
                  <a:pt x="20263" y="19282"/>
                  <a:pt x="20890" y="18443"/>
                </a:cubicBezTo>
                <a:cubicBezTo>
                  <a:pt x="21600" y="17494"/>
                  <a:pt x="21600" y="16429"/>
                  <a:pt x="21600" y="15792"/>
                </a:cubicBezTo>
                <a:lnTo>
                  <a:pt x="21600" y="15361"/>
                </a:lnTo>
                <a:lnTo>
                  <a:pt x="21600" y="370"/>
                </a:lnTo>
                <a:cubicBezTo>
                  <a:pt x="21600" y="370"/>
                  <a:pt x="21039" y="0"/>
                  <a:pt x="21039" y="0"/>
                </a:cubicBezTo>
                <a:close/>
              </a:path>
            </a:pathLst>
          </a:custGeom>
          <a:gradFill flip="none" rotWithShape="1">
            <a:gsLst>
              <a:gs pos="100000">
                <a:schemeClr val="accent1"/>
              </a:gs>
              <a:gs pos="21000">
                <a:schemeClr val="accent1">
                  <a:lumMod val="60000"/>
                  <a:lumOff val="40000"/>
                </a:schemeClr>
              </a:gs>
              <a:gs pos="0">
                <a:schemeClr val="accent1">
                  <a:lumMod val="40000"/>
                  <a:lumOff val="60000"/>
                </a:schemeClr>
              </a:gs>
            </a:gsLst>
            <a:lin ang="16200000" scaled="1"/>
            <a:tileRect/>
          </a:gradFill>
          <a:ln w="12700" cap="flat">
            <a:noFill/>
            <a:miter lim="400000"/>
          </a:ln>
          <a:effectLst/>
        </p:spPr>
        <p:txBody>
          <a:bodyPr wrap="square" lIns="19021" tIns="19021" rIns="19021" bIns="19021" numCol="1" anchor="ctr">
            <a:noAutofit/>
          </a:bodyPr>
          <a:lstStyle/>
          <a:p>
            <a:pPr marL="0" marR="0" lvl="0" indent="0" algn="l" defTabSz="228238" rtl="0" eaLnBrk="1" fontAlgn="auto" latinLnBrk="0" hangingPunct="1">
              <a:lnSpc>
                <a:spcPct val="100000"/>
              </a:lnSpc>
              <a:spcBef>
                <a:spcPts val="0"/>
              </a:spcBef>
              <a:spcAft>
                <a:spcPts val="0"/>
              </a:spcAft>
              <a:buClrTx/>
              <a:buSzTx/>
              <a:buFontTx/>
              <a:buNone/>
              <a:tabLst/>
              <a:defRPr/>
            </a:pPr>
            <a:endParaRPr kumimoji="0" sz="1498" b="0" i="0" u="none" strike="noStrike" kern="1200" cap="none" spc="0" normalizeH="0" baseline="0" noProof="0" dirty="0">
              <a:ln>
                <a:noFill/>
              </a:ln>
              <a:solidFill>
                <a:srgbClr val="FFFFFF"/>
              </a:solidFill>
              <a:effectLst>
                <a:outerShdw blurRad="38100" dist="12700" dir="5400000" rotWithShape="0">
                  <a:srgbClr val="000000">
                    <a:alpha val="50000"/>
                  </a:srgbClr>
                </a:outerShdw>
              </a:effectLst>
              <a:uLnTx/>
              <a:uFillTx/>
              <a:latin typeface="HarmonyOS Sans SC"/>
              <a:cs typeface="+mn-cs"/>
              <a:sym typeface="Gill Sans"/>
            </a:endParaRPr>
          </a:p>
        </p:txBody>
      </p:sp>
      <p:sp>
        <p:nvSpPr>
          <p:cNvPr id="17" name="Shape 27614">
            <a:extLst>
              <a:ext uri="{FF2B5EF4-FFF2-40B4-BE49-F238E27FC236}">
                <a16:creationId xmlns:a16="http://schemas.microsoft.com/office/drawing/2014/main" id="{B0E3E2EC-AB6B-4132-B8D1-595DAF4FBA72}"/>
              </a:ext>
            </a:extLst>
          </p:cNvPr>
          <p:cNvSpPr/>
          <p:nvPr/>
        </p:nvSpPr>
        <p:spPr>
          <a:xfrm flipV="1">
            <a:off x="3221520" y="4966850"/>
            <a:ext cx="2073108" cy="1891150"/>
          </a:xfrm>
          <a:custGeom>
            <a:avLst/>
            <a:gdLst/>
            <a:ahLst/>
            <a:cxnLst>
              <a:cxn ang="0">
                <a:pos x="wd2" y="hd2"/>
              </a:cxn>
              <a:cxn ang="5400000">
                <a:pos x="wd2" y="hd2"/>
              </a:cxn>
              <a:cxn ang="10800000">
                <a:pos x="wd2" y="hd2"/>
              </a:cxn>
              <a:cxn ang="16200000">
                <a:pos x="wd2" y="hd2"/>
              </a:cxn>
            </a:cxnLst>
            <a:rect l="0" t="0" r="r" b="b"/>
            <a:pathLst>
              <a:path w="21600" h="21600" extrusionOk="0">
                <a:moveTo>
                  <a:pt x="3980" y="21041"/>
                </a:moveTo>
                <a:cubicBezTo>
                  <a:pt x="2063" y="21041"/>
                  <a:pt x="510" y="19338"/>
                  <a:pt x="510" y="17237"/>
                </a:cubicBezTo>
                <a:cubicBezTo>
                  <a:pt x="510" y="15136"/>
                  <a:pt x="2063" y="13433"/>
                  <a:pt x="3980" y="13433"/>
                </a:cubicBezTo>
                <a:cubicBezTo>
                  <a:pt x="5896" y="13433"/>
                  <a:pt x="7450" y="15136"/>
                  <a:pt x="7450" y="17237"/>
                </a:cubicBezTo>
                <a:cubicBezTo>
                  <a:pt x="7450" y="19338"/>
                  <a:pt x="5896" y="21041"/>
                  <a:pt x="3980" y="21041"/>
                </a:cubicBezTo>
                <a:close/>
                <a:moveTo>
                  <a:pt x="20931" y="0"/>
                </a:moveTo>
                <a:lnTo>
                  <a:pt x="17411" y="0"/>
                </a:lnTo>
                <a:lnTo>
                  <a:pt x="17413" y="2"/>
                </a:lnTo>
                <a:lnTo>
                  <a:pt x="17403" y="0"/>
                </a:lnTo>
                <a:lnTo>
                  <a:pt x="17403" y="11106"/>
                </a:lnTo>
                <a:cubicBezTo>
                  <a:pt x="17403" y="13675"/>
                  <a:pt x="17172" y="15359"/>
                  <a:pt x="14086" y="15359"/>
                </a:cubicBezTo>
                <a:lnTo>
                  <a:pt x="7573" y="15359"/>
                </a:lnTo>
                <a:cubicBezTo>
                  <a:pt x="6932" y="13890"/>
                  <a:pt x="5564" y="12874"/>
                  <a:pt x="3980" y="12874"/>
                </a:cubicBezTo>
                <a:cubicBezTo>
                  <a:pt x="1782" y="12874"/>
                  <a:pt x="0" y="14828"/>
                  <a:pt x="0" y="17237"/>
                </a:cubicBezTo>
                <a:cubicBezTo>
                  <a:pt x="0" y="17369"/>
                  <a:pt x="6" y="17498"/>
                  <a:pt x="17" y="17627"/>
                </a:cubicBezTo>
                <a:cubicBezTo>
                  <a:pt x="17" y="17626"/>
                  <a:pt x="17" y="17626"/>
                  <a:pt x="17" y="17626"/>
                </a:cubicBezTo>
                <a:cubicBezTo>
                  <a:pt x="17" y="17627"/>
                  <a:pt x="17" y="17627"/>
                  <a:pt x="17" y="17627"/>
                </a:cubicBezTo>
                <a:cubicBezTo>
                  <a:pt x="17" y="17627"/>
                  <a:pt x="17" y="17627"/>
                  <a:pt x="17" y="17628"/>
                </a:cubicBezTo>
                <a:cubicBezTo>
                  <a:pt x="111" y="18797"/>
                  <a:pt x="626" y="19613"/>
                  <a:pt x="1396" y="20334"/>
                </a:cubicBezTo>
                <a:cubicBezTo>
                  <a:pt x="1988" y="21058"/>
                  <a:pt x="2829" y="21532"/>
                  <a:pt x="3772" y="21593"/>
                </a:cubicBezTo>
                <a:cubicBezTo>
                  <a:pt x="3830" y="21596"/>
                  <a:pt x="3888" y="21598"/>
                  <a:pt x="3946" y="21599"/>
                </a:cubicBezTo>
                <a:cubicBezTo>
                  <a:pt x="3957" y="21599"/>
                  <a:pt x="3968" y="21600"/>
                  <a:pt x="3980" y="21600"/>
                </a:cubicBezTo>
                <a:cubicBezTo>
                  <a:pt x="4041" y="21600"/>
                  <a:pt x="4101" y="21598"/>
                  <a:pt x="4162" y="21595"/>
                </a:cubicBezTo>
                <a:cubicBezTo>
                  <a:pt x="4170" y="21594"/>
                  <a:pt x="4179" y="21593"/>
                  <a:pt x="4187" y="21593"/>
                </a:cubicBezTo>
                <a:cubicBezTo>
                  <a:pt x="5131" y="21532"/>
                  <a:pt x="5973" y="21057"/>
                  <a:pt x="6565" y="20333"/>
                </a:cubicBezTo>
                <a:cubicBezTo>
                  <a:pt x="6960" y="19962"/>
                  <a:pt x="7287" y="19729"/>
                  <a:pt x="7526" y="19218"/>
                </a:cubicBezTo>
                <a:lnTo>
                  <a:pt x="14763" y="19218"/>
                </a:lnTo>
                <a:cubicBezTo>
                  <a:pt x="18358" y="19218"/>
                  <a:pt x="20005" y="17411"/>
                  <a:pt x="20753" y="15896"/>
                </a:cubicBezTo>
                <a:cubicBezTo>
                  <a:pt x="21600" y="14181"/>
                  <a:pt x="21600" y="12256"/>
                  <a:pt x="21600" y="11106"/>
                </a:cubicBezTo>
                <a:lnTo>
                  <a:pt x="21600" y="668"/>
                </a:lnTo>
                <a:cubicBezTo>
                  <a:pt x="21600" y="668"/>
                  <a:pt x="20931" y="0"/>
                  <a:pt x="20931" y="0"/>
                </a:cubicBezTo>
                <a:close/>
              </a:path>
            </a:pathLst>
          </a:custGeom>
          <a:gradFill flip="none" rotWithShape="1">
            <a:gsLst>
              <a:gs pos="100000">
                <a:schemeClr val="accent1"/>
              </a:gs>
              <a:gs pos="21000">
                <a:schemeClr val="accent1">
                  <a:lumMod val="60000"/>
                  <a:lumOff val="40000"/>
                </a:schemeClr>
              </a:gs>
              <a:gs pos="0">
                <a:schemeClr val="accent1">
                  <a:lumMod val="40000"/>
                  <a:lumOff val="60000"/>
                </a:schemeClr>
              </a:gs>
            </a:gsLst>
            <a:lin ang="16200000" scaled="1"/>
            <a:tileRect/>
          </a:gradFill>
          <a:ln w="12700" cap="flat">
            <a:noFill/>
            <a:miter lim="400000"/>
          </a:ln>
          <a:effectLst/>
        </p:spPr>
        <p:txBody>
          <a:bodyPr wrap="square" lIns="19021" tIns="19021" rIns="19021" bIns="19021" numCol="1" anchor="ctr">
            <a:noAutofit/>
          </a:bodyPr>
          <a:lstStyle/>
          <a:p>
            <a:pPr marL="0" marR="0" lvl="0" indent="0" algn="l" defTabSz="228238" rtl="0" eaLnBrk="1" fontAlgn="auto" latinLnBrk="0" hangingPunct="1">
              <a:lnSpc>
                <a:spcPct val="100000"/>
              </a:lnSpc>
              <a:spcBef>
                <a:spcPts val="0"/>
              </a:spcBef>
              <a:spcAft>
                <a:spcPts val="0"/>
              </a:spcAft>
              <a:buClrTx/>
              <a:buSzTx/>
              <a:buFontTx/>
              <a:buNone/>
              <a:tabLst/>
              <a:defRPr/>
            </a:pPr>
            <a:endParaRPr kumimoji="0" sz="1498" b="0" i="0" u="none" strike="noStrike" kern="1200" cap="none" spc="0" normalizeH="0" baseline="0" noProof="0">
              <a:ln>
                <a:noFill/>
              </a:ln>
              <a:solidFill>
                <a:srgbClr val="FFFFFF"/>
              </a:solidFill>
              <a:effectLst>
                <a:outerShdw blurRad="38100" dist="12700" dir="5400000" rotWithShape="0">
                  <a:srgbClr val="000000">
                    <a:alpha val="50000"/>
                  </a:srgbClr>
                </a:outerShdw>
              </a:effectLst>
              <a:uLnTx/>
              <a:uFillTx/>
              <a:latin typeface="HarmonyOS Sans SC"/>
              <a:cs typeface="+mn-cs"/>
              <a:sym typeface="Gill Sans"/>
            </a:endParaRPr>
          </a:p>
        </p:txBody>
      </p:sp>
      <p:sp>
        <p:nvSpPr>
          <p:cNvPr id="18" name="Shape 27602">
            <a:extLst>
              <a:ext uri="{FF2B5EF4-FFF2-40B4-BE49-F238E27FC236}">
                <a16:creationId xmlns:a16="http://schemas.microsoft.com/office/drawing/2014/main" id="{CA8671D1-BC83-435D-9D92-272E82C3D8E6}"/>
              </a:ext>
            </a:extLst>
          </p:cNvPr>
          <p:cNvSpPr/>
          <p:nvPr/>
        </p:nvSpPr>
        <p:spPr>
          <a:xfrm flipH="1" flipV="1">
            <a:off x="6105804" y="1983042"/>
            <a:ext cx="2875633" cy="4874957"/>
          </a:xfrm>
          <a:custGeom>
            <a:avLst/>
            <a:gdLst/>
            <a:ahLst/>
            <a:cxnLst>
              <a:cxn ang="0">
                <a:pos x="wd2" y="hd2"/>
              </a:cxn>
              <a:cxn ang="5400000">
                <a:pos x="wd2" y="hd2"/>
              </a:cxn>
              <a:cxn ang="10800000">
                <a:pos x="wd2" y="hd2"/>
              </a:cxn>
              <a:cxn ang="16200000">
                <a:pos x="wd2" y="hd2"/>
              </a:cxn>
            </a:cxnLst>
            <a:rect l="0" t="0" r="r" b="b"/>
            <a:pathLst>
              <a:path w="21600" h="21600" extrusionOk="0">
                <a:moveTo>
                  <a:pt x="2869" y="18130"/>
                </a:moveTo>
                <a:cubicBezTo>
                  <a:pt x="4251" y="18130"/>
                  <a:pt x="5371" y="18791"/>
                  <a:pt x="5371" y="19606"/>
                </a:cubicBezTo>
                <a:cubicBezTo>
                  <a:pt x="5371" y="20421"/>
                  <a:pt x="4251" y="21081"/>
                  <a:pt x="2869" y="21081"/>
                </a:cubicBezTo>
                <a:cubicBezTo>
                  <a:pt x="1487" y="21081"/>
                  <a:pt x="367" y="20421"/>
                  <a:pt x="367" y="19606"/>
                </a:cubicBezTo>
                <a:cubicBezTo>
                  <a:pt x="367" y="18791"/>
                  <a:pt x="1487" y="18130"/>
                  <a:pt x="2869" y="18130"/>
                </a:cubicBezTo>
                <a:close/>
                <a:moveTo>
                  <a:pt x="21118" y="0"/>
                </a:moveTo>
                <a:lnTo>
                  <a:pt x="18580" y="0"/>
                </a:lnTo>
                <a:lnTo>
                  <a:pt x="18581" y="1"/>
                </a:lnTo>
                <a:lnTo>
                  <a:pt x="18574" y="0"/>
                </a:lnTo>
                <a:lnTo>
                  <a:pt x="18574" y="17227"/>
                </a:lnTo>
                <a:cubicBezTo>
                  <a:pt x="18574" y="18224"/>
                  <a:pt x="18408" y="18877"/>
                  <a:pt x="16183" y="18877"/>
                </a:cubicBezTo>
                <a:lnTo>
                  <a:pt x="5459" y="18877"/>
                </a:lnTo>
                <a:cubicBezTo>
                  <a:pt x="4998" y="18307"/>
                  <a:pt x="4011" y="17913"/>
                  <a:pt x="2869" y="17913"/>
                </a:cubicBezTo>
                <a:cubicBezTo>
                  <a:pt x="1284" y="17913"/>
                  <a:pt x="0" y="18671"/>
                  <a:pt x="0" y="19606"/>
                </a:cubicBezTo>
                <a:cubicBezTo>
                  <a:pt x="0" y="19657"/>
                  <a:pt x="4" y="19707"/>
                  <a:pt x="12" y="19757"/>
                </a:cubicBezTo>
                <a:cubicBezTo>
                  <a:pt x="4" y="19806"/>
                  <a:pt x="0" y="19857"/>
                  <a:pt x="0" y="19908"/>
                </a:cubicBezTo>
                <a:cubicBezTo>
                  <a:pt x="0" y="20842"/>
                  <a:pt x="1284" y="21600"/>
                  <a:pt x="2869" y="21600"/>
                </a:cubicBezTo>
                <a:cubicBezTo>
                  <a:pt x="3985" y="21600"/>
                  <a:pt x="4951" y="21224"/>
                  <a:pt x="5425" y="20676"/>
                </a:cubicBezTo>
                <a:lnTo>
                  <a:pt x="16671" y="20676"/>
                </a:lnTo>
                <a:cubicBezTo>
                  <a:pt x="19263" y="20676"/>
                  <a:pt x="20450" y="19975"/>
                  <a:pt x="20989" y="19387"/>
                </a:cubicBezTo>
                <a:cubicBezTo>
                  <a:pt x="21600" y="18722"/>
                  <a:pt x="21600" y="17975"/>
                  <a:pt x="21600" y="17529"/>
                </a:cubicBezTo>
                <a:lnTo>
                  <a:pt x="21600" y="17227"/>
                </a:lnTo>
                <a:lnTo>
                  <a:pt x="21600" y="259"/>
                </a:lnTo>
                <a:cubicBezTo>
                  <a:pt x="21600" y="259"/>
                  <a:pt x="21118" y="0"/>
                  <a:pt x="21118" y="0"/>
                </a:cubicBezTo>
                <a:close/>
              </a:path>
            </a:pathLst>
          </a:custGeom>
          <a:gradFill flip="none" rotWithShape="1">
            <a:gsLst>
              <a:gs pos="100000">
                <a:schemeClr val="accent1"/>
              </a:gs>
              <a:gs pos="21000">
                <a:schemeClr val="accent1">
                  <a:lumMod val="60000"/>
                  <a:lumOff val="40000"/>
                </a:schemeClr>
              </a:gs>
              <a:gs pos="0">
                <a:schemeClr val="accent1">
                  <a:lumMod val="40000"/>
                  <a:lumOff val="60000"/>
                </a:schemeClr>
              </a:gs>
            </a:gsLst>
            <a:lin ang="16200000" scaled="1"/>
            <a:tileRect/>
          </a:gradFill>
          <a:ln w="12700" cap="flat">
            <a:noFill/>
            <a:miter lim="400000"/>
          </a:ln>
          <a:effectLst/>
        </p:spPr>
        <p:txBody>
          <a:bodyPr wrap="square" lIns="19021" tIns="19021" rIns="19021" bIns="19021" numCol="1" anchor="ctr">
            <a:noAutofit/>
          </a:bodyPr>
          <a:lstStyle/>
          <a:p>
            <a:pPr marL="0" marR="0" lvl="0" indent="0" algn="l" defTabSz="228238" rtl="0" eaLnBrk="1" fontAlgn="auto" latinLnBrk="0" hangingPunct="1">
              <a:lnSpc>
                <a:spcPct val="100000"/>
              </a:lnSpc>
              <a:spcBef>
                <a:spcPts val="0"/>
              </a:spcBef>
              <a:spcAft>
                <a:spcPts val="0"/>
              </a:spcAft>
              <a:buClrTx/>
              <a:buSzTx/>
              <a:buFontTx/>
              <a:buNone/>
              <a:tabLst/>
              <a:defRPr/>
            </a:pPr>
            <a:endParaRPr kumimoji="0" sz="1498" b="0" i="0" u="none" strike="noStrike" kern="1200" cap="none" spc="0" normalizeH="0" baseline="0" noProof="0">
              <a:ln>
                <a:noFill/>
              </a:ln>
              <a:solidFill>
                <a:srgbClr val="FFFFFF"/>
              </a:solidFill>
              <a:effectLst>
                <a:outerShdw blurRad="38100" dist="12700" dir="5400000" rotWithShape="0">
                  <a:srgbClr val="000000">
                    <a:alpha val="50000"/>
                  </a:srgbClr>
                </a:outerShdw>
              </a:effectLst>
              <a:uLnTx/>
              <a:uFillTx/>
              <a:latin typeface="HarmonyOS Sans SC"/>
              <a:cs typeface="+mn-cs"/>
              <a:sym typeface="Gill Sans"/>
            </a:endParaRPr>
          </a:p>
        </p:txBody>
      </p:sp>
      <p:sp>
        <p:nvSpPr>
          <p:cNvPr id="19" name="Shape 27608">
            <a:extLst>
              <a:ext uri="{FF2B5EF4-FFF2-40B4-BE49-F238E27FC236}">
                <a16:creationId xmlns:a16="http://schemas.microsoft.com/office/drawing/2014/main" id="{EC2D2A50-EA87-4887-949E-2A88105F253C}"/>
              </a:ext>
            </a:extLst>
          </p:cNvPr>
          <p:cNvSpPr/>
          <p:nvPr/>
        </p:nvSpPr>
        <p:spPr>
          <a:xfrm flipH="1" flipV="1">
            <a:off x="6508579" y="3440883"/>
            <a:ext cx="2472857" cy="3417116"/>
          </a:xfrm>
          <a:custGeom>
            <a:avLst/>
            <a:gdLst/>
            <a:ahLst/>
            <a:cxnLst>
              <a:cxn ang="0">
                <a:pos x="wd2" y="hd2"/>
              </a:cxn>
              <a:cxn ang="5400000">
                <a:pos x="wd2" y="hd2"/>
              </a:cxn>
              <a:cxn ang="10800000">
                <a:pos x="wd2" y="hd2"/>
              </a:cxn>
              <a:cxn ang="16200000">
                <a:pos x="wd2" y="hd2"/>
              </a:cxn>
            </a:cxnLst>
            <a:rect l="0" t="0" r="r" b="b"/>
            <a:pathLst>
              <a:path w="21600" h="21600" extrusionOk="0">
                <a:moveTo>
                  <a:pt x="3336" y="16649"/>
                </a:moveTo>
                <a:cubicBezTo>
                  <a:pt x="4943" y="16649"/>
                  <a:pt x="6246" y="17592"/>
                  <a:pt x="6246" y="18755"/>
                </a:cubicBezTo>
                <a:cubicBezTo>
                  <a:pt x="6246" y="19918"/>
                  <a:pt x="4943" y="20860"/>
                  <a:pt x="3336" y="20860"/>
                </a:cubicBezTo>
                <a:cubicBezTo>
                  <a:pt x="1730" y="20860"/>
                  <a:pt x="427" y="19918"/>
                  <a:pt x="427" y="18755"/>
                </a:cubicBezTo>
                <a:cubicBezTo>
                  <a:pt x="427" y="17592"/>
                  <a:pt x="1730" y="16649"/>
                  <a:pt x="3336" y="16649"/>
                </a:cubicBezTo>
                <a:close/>
                <a:moveTo>
                  <a:pt x="21039" y="0"/>
                </a:moveTo>
                <a:lnTo>
                  <a:pt x="18088" y="0"/>
                </a:lnTo>
                <a:lnTo>
                  <a:pt x="18090" y="1"/>
                </a:lnTo>
                <a:lnTo>
                  <a:pt x="18081" y="0"/>
                </a:lnTo>
                <a:lnTo>
                  <a:pt x="18081" y="15361"/>
                </a:lnTo>
                <a:cubicBezTo>
                  <a:pt x="18081" y="16783"/>
                  <a:pt x="17888" y="17715"/>
                  <a:pt x="15301" y="17715"/>
                </a:cubicBezTo>
                <a:lnTo>
                  <a:pt x="6348" y="17715"/>
                </a:lnTo>
                <a:cubicBezTo>
                  <a:pt x="5812" y="16902"/>
                  <a:pt x="4665" y="16340"/>
                  <a:pt x="3336" y="16340"/>
                </a:cubicBezTo>
                <a:cubicBezTo>
                  <a:pt x="1494" y="16340"/>
                  <a:pt x="0" y="17421"/>
                  <a:pt x="0" y="18755"/>
                </a:cubicBezTo>
                <a:cubicBezTo>
                  <a:pt x="0" y="18828"/>
                  <a:pt x="5" y="18899"/>
                  <a:pt x="14" y="18970"/>
                </a:cubicBezTo>
                <a:cubicBezTo>
                  <a:pt x="5" y="19041"/>
                  <a:pt x="0" y="19113"/>
                  <a:pt x="0" y="19186"/>
                </a:cubicBezTo>
                <a:cubicBezTo>
                  <a:pt x="0" y="20519"/>
                  <a:pt x="1494" y="21600"/>
                  <a:pt x="3336" y="21600"/>
                </a:cubicBezTo>
                <a:cubicBezTo>
                  <a:pt x="4634" y="21600"/>
                  <a:pt x="5757" y="21064"/>
                  <a:pt x="6309" y="20282"/>
                </a:cubicBezTo>
                <a:lnTo>
                  <a:pt x="15868" y="20282"/>
                </a:lnTo>
                <a:cubicBezTo>
                  <a:pt x="18882" y="20282"/>
                  <a:pt x="20263" y="19282"/>
                  <a:pt x="20890" y="18443"/>
                </a:cubicBezTo>
                <a:cubicBezTo>
                  <a:pt x="21600" y="17494"/>
                  <a:pt x="21600" y="16429"/>
                  <a:pt x="21600" y="15792"/>
                </a:cubicBezTo>
                <a:lnTo>
                  <a:pt x="21600" y="15361"/>
                </a:lnTo>
                <a:lnTo>
                  <a:pt x="21600" y="370"/>
                </a:lnTo>
                <a:cubicBezTo>
                  <a:pt x="21600" y="370"/>
                  <a:pt x="21039" y="0"/>
                  <a:pt x="21039" y="0"/>
                </a:cubicBezTo>
                <a:close/>
              </a:path>
            </a:pathLst>
          </a:custGeom>
          <a:gradFill flip="none" rotWithShape="1">
            <a:gsLst>
              <a:gs pos="100000">
                <a:schemeClr val="accent1"/>
              </a:gs>
              <a:gs pos="21000">
                <a:schemeClr val="accent1">
                  <a:lumMod val="60000"/>
                  <a:lumOff val="40000"/>
                </a:schemeClr>
              </a:gs>
              <a:gs pos="0">
                <a:schemeClr val="accent1">
                  <a:lumMod val="40000"/>
                  <a:lumOff val="60000"/>
                </a:schemeClr>
              </a:gs>
            </a:gsLst>
            <a:lin ang="16200000" scaled="1"/>
            <a:tileRect/>
          </a:gradFill>
          <a:ln w="12700" cap="flat">
            <a:noFill/>
            <a:miter lim="400000"/>
          </a:ln>
          <a:effectLst/>
        </p:spPr>
        <p:txBody>
          <a:bodyPr wrap="square" lIns="19021" tIns="19021" rIns="19021" bIns="19021" numCol="1" anchor="ctr">
            <a:noAutofit/>
          </a:bodyPr>
          <a:lstStyle/>
          <a:p>
            <a:pPr marL="0" marR="0" lvl="0" indent="0" algn="l" defTabSz="228238" rtl="0" eaLnBrk="1" fontAlgn="auto" latinLnBrk="0" hangingPunct="1">
              <a:lnSpc>
                <a:spcPct val="100000"/>
              </a:lnSpc>
              <a:spcBef>
                <a:spcPts val="0"/>
              </a:spcBef>
              <a:spcAft>
                <a:spcPts val="0"/>
              </a:spcAft>
              <a:buClrTx/>
              <a:buSzTx/>
              <a:buFontTx/>
              <a:buNone/>
              <a:tabLst/>
              <a:defRPr/>
            </a:pPr>
            <a:endParaRPr kumimoji="0" sz="1498" b="0" i="0" u="none" strike="noStrike" kern="1200" cap="none" spc="0" normalizeH="0" baseline="0" noProof="0">
              <a:ln>
                <a:noFill/>
              </a:ln>
              <a:solidFill>
                <a:srgbClr val="FFFFFF"/>
              </a:solidFill>
              <a:effectLst>
                <a:outerShdw blurRad="38100" dist="12700" dir="5400000" rotWithShape="0">
                  <a:srgbClr val="000000">
                    <a:alpha val="50000"/>
                  </a:srgbClr>
                </a:outerShdw>
              </a:effectLst>
              <a:uLnTx/>
              <a:uFillTx/>
              <a:latin typeface="HarmonyOS Sans SC"/>
              <a:cs typeface="+mn-cs"/>
              <a:sym typeface="Gill Sans"/>
            </a:endParaRPr>
          </a:p>
        </p:txBody>
      </p:sp>
      <p:sp>
        <p:nvSpPr>
          <p:cNvPr id="20" name="Shape 27614">
            <a:extLst>
              <a:ext uri="{FF2B5EF4-FFF2-40B4-BE49-F238E27FC236}">
                <a16:creationId xmlns:a16="http://schemas.microsoft.com/office/drawing/2014/main" id="{7A6EFB81-C3DE-4D18-BB8C-D7359382187E}"/>
              </a:ext>
            </a:extLst>
          </p:cNvPr>
          <p:cNvSpPr/>
          <p:nvPr/>
        </p:nvSpPr>
        <p:spPr>
          <a:xfrm flipH="1" flipV="1">
            <a:off x="6908329" y="4966849"/>
            <a:ext cx="2073108" cy="1891150"/>
          </a:xfrm>
          <a:custGeom>
            <a:avLst/>
            <a:gdLst/>
            <a:ahLst/>
            <a:cxnLst>
              <a:cxn ang="0">
                <a:pos x="wd2" y="hd2"/>
              </a:cxn>
              <a:cxn ang="5400000">
                <a:pos x="wd2" y="hd2"/>
              </a:cxn>
              <a:cxn ang="10800000">
                <a:pos x="wd2" y="hd2"/>
              </a:cxn>
              <a:cxn ang="16200000">
                <a:pos x="wd2" y="hd2"/>
              </a:cxn>
            </a:cxnLst>
            <a:rect l="0" t="0" r="r" b="b"/>
            <a:pathLst>
              <a:path w="21600" h="21600" extrusionOk="0">
                <a:moveTo>
                  <a:pt x="3980" y="21041"/>
                </a:moveTo>
                <a:cubicBezTo>
                  <a:pt x="2063" y="21041"/>
                  <a:pt x="510" y="19338"/>
                  <a:pt x="510" y="17237"/>
                </a:cubicBezTo>
                <a:cubicBezTo>
                  <a:pt x="510" y="15136"/>
                  <a:pt x="2063" y="13433"/>
                  <a:pt x="3980" y="13433"/>
                </a:cubicBezTo>
                <a:cubicBezTo>
                  <a:pt x="5896" y="13433"/>
                  <a:pt x="7450" y="15136"/>
                  <a:pt x="7450" y="17237"/>
                </a:cubicBezTo>
                <a:cubicBezTo>
                  <a:pt x="7450" y="19338"/>
                  <a:pt x="5896" y="21041"/>
                  <a:pt x="3980" y="21041"/>
                </a:cubicBezTo>
                <a:close/>
                <a:moveTo>
                  <a:pt x="20931" y="0"/>
                </a:moveTo>
                <a:lnTo>
                  <a:pt x="17411" y="0"/>
                </a:lnTo>
                <a:lnTo>
                  <a:pt x="17413" y="2"/>
                </a:lnTo>
                <a:lnTo>
                  <a:pt x="17403" y="0"/>
                </a:lnTo>
                <a:lnTo>
                  <a:pt x="17403" y="11106"/>
                </a:lnTo>
                <a:cubicBezTo>
                  <a:pt x="17403" y="13675"/>
                  <a:pt x="17172" y="15359"/>
                  <a:pt x="14086" y="15359"/>
                </a:cubicBezTo>
                <a:lnTo>
                  <a:pt x="7573" y="15359"/>
                </a:lnTo>
                <a:cubicBezTo>
                  <a:pt x="6932" y="13890"/>
                  <a:pt x="5564" y="12874"/>
                  <a:pt x="3980" y="12874"/>
                </a:cubicBezTo>
                <a:cubicBezTo>
                  <a:pt x="1782" y="12874"/>
                  <a:pt x="0" y="14828"/>
                  <a:pt x="0" y="17237"/>
                </a:cubicBezTo>
                <a:cubicBezTo>
                  <a:pt x="0" y="17369"/>
                  <a:pt x="6" y="17498"/>
                  <a:pt x="17" y="17627"/>
                </a:cubicBezTo>
                <a:cubicBezTo>
                  <a:pt x="17" y="17626"/>
                  <a:pt x="17" y="17626"/>
                  <a:pt x="17" y="17626"/>
                </a:cubicBezTo>
                <a:cubicBezTo>
                  <a:pt x="17" y="17627"/>
                  <a:pt x="17" y="17627"/>
                  <a:pt x="17" y="17627"/>
                </a:cubicBezTo>
                <a:cubicBezTo>
                  <a:pt x="17" y="17627"/>
                  <a:pt x="17" y="17627"/>
                  <a:pt x="17" y="17628"/>
                </a:cubicBezTo>
                <a:cubicBezTo>
                  <a:pt x="111" y="18797"/>
                  <a:pt x="626" y="19613"/>
                  <a:pt x="1396" y="20334"/>
                </a:cubicBezTo>
                <a:cubicBezTo>
                  <a:pt x="1988" y="21058"/>
                  <a:pt x="2829" y="21532"/>
                  <a:pt x="3772" y="21593"/>
                </a:cubicBezTo>
                <a:cubicBezTo>
                  <a:pt x="3830" y="21596"/>
                  <a:pt x="3888" y="21598"/>
                  <a:pt x="3946" y="21599"/>
                </a:cubicBezTo>
                <a:cubicBezTo>
                  <a:pt x="3957" y="21599"/>
                  <a:pt x="3968" y="21600"/>
                  <a:pt x="3980" y="21600"/>
                </a:cubicBezTo>
                <a:cubicBezTo>
                  <a:pt x="4041" y="21600"/>
                  <a:pt x="4101" y="21598"/>
                  <a:pt x="4162" y="21595"/>
                </a:cubicBezTo>
                <a:cubicBezTo>
                  <a:pt x="4170" y="21594"/>
                  <a:pt x="4179" y="21593"/>
                  <a:pt x="4187" y="21593"/>
                </a:cubicBezTo>
                <a:cubicBezTo>
                  <a:pt x="5131" y="21532"/>
                  <a:pt x="5973" y="21057"/>
                  <a:pt x="6565" y="20333"/>
                </a:cubicBezTo>
                <a:cubicBezTo>
                  <a:pt x="6960" y="19962"/>
                  <a:pt x="7287" y="19729"/>
                  <a:pt x="7526" y="19218"/>
                </a:cubicBezTo>
                <a:lnTo>
                  <a:pt x="14763" y="19218"/>
                </a:lnTo>
                <a:cubicBezTo>
                  <a:pt x="18358" y="19218"/>
                  <a:pt x="20005" y="17411"/>
                  <a:pt x="20753" y="15896"/>
                </a:cubicBezTo>
                <a:cubicBezTo>
                  <a:pt x="21600" y="14181"/>
                  <a:pt x="21600" y="12256"/>
                  <a:pt x="21600" y="11106"/>
                </a:cubicBezTo>
                <a:lnTo>
                  <a:pt x="21600" y="668"/>
                </a:lnTo>
                <a:cubicBezTo>
                  <a:pt x="21600" y="668"/>
                  <a:pt x="20931" y="0"/>
                  <a:pt x="20931" y="0"/>
                </a:cubicBezTo>
                <a:close/>
              </a:path>
            </a:pathLst>
          </a:custGeom>
          <a:gradFill flip="none" rotWithShape="1">
            <a:gsLst>
              <a:gs pos="100000">
                <a:schemeClr val="accent1"/>
              </a:gs>
              <a:gs pos="21000">
                <a:schemeClr val="accent1">
                  <a:lumMod val="60000"/>
                  <a:lumOff val="40000"/>
                </a:schemeClr>
              </a:gs>
              <a:gs pos="0">
                <a:schemeClr val="accent1">
                  <a:lumMod val="40000"/>
                  <a:lumOff val="60000"/>
                </a:schemeClr>
              </a:gs>
            </a:gsLst>
            <a:lin ang="16200000" scaled="1"/>
            <a:tileRect/>
          </a:gradFill>
          <a:ln w="12700" cap="flat">
            <a:noFill/>
            <a:miter lim="400000"/>
          </a:ln>
          <a:effectLst/>
        </p:spPr>
        <p:txBody>
          <a:bodyPr wrap="square" lIns="19021" tIns="19021" rIns="19021" bIns="19021" numCol="1" anchor="ctr">
            <a:noAutofit/>
          </a:bodyPr>
          <a:lstStyle/>
          <a:p>
            <a:pPr marL="0" marR="0" lvl="0" indent="0" algn="l" defTabSz="228238" rtl="0" eaLnBrk="1" fontAlgn="auto" latinLnBrk="0" hangingPunct="1">
              <a:lnSpc>
                <a:spcPct val="100000"/>
              </a:lnSpc>
              <a:spcBef>
                <a:spcPts val="0"/>
              </a:spcBef>
              <a:spcAft>
                <a:spcPts val="0"/>
              </a:spcAft>
              <a:buClrTx/>
              <a:buSzTx/>
              <a:buFontTx/>
              <a:buNone/>
              <a:tabLst/>
              <a:defRPr/>
            </a:pPr>
            <a:endParaRPr kumimoji="0" sz="1498" b="0" i="0" u="none" strike="noStrike" kern="1200" cap="none" spc="0" normalizeH="0" baseline="0" noProof="0">
              <a:ln>
                <a:noFill/>
              </a:ln>
              <a:solidFill>
                <a:srgbClr val="FFFFFF"/>
              </a:solidFill>
              <a:effectLst>
                <a:outerShdw blurRad="38100" dist="12700" dir="5400000" rotWithShape="0">
                  <a:srgbClr val="000000">
                    <a:alpha val="50000"/>
                  </a:srgbClr>
                </a:outerShdw>
              </a:effectLst>
              <a:uLnTx/>
              <a:uFillTx/>
              <a:latin typeface="HarmonyOS Sans SC"/>
              <a:cs typeface="+mn-cs"/>
              <a:sym typeface="Gill Sans"/>
            </a:endParaRPr>
          </a:p>
        </p:txBody>
      </p:sp>
      <p:sp>
        <p:nvSpPr>
          <p:cNvPr id="21" name="Freeform 83">
            <a:extLst>
              <a:ext uri="{FF2B5EF4-FFF2-40B4-BE49-F238E27FC236}">
                <a16:creationId xmlns:a16="http://schemas.microsoft.com/office/drawing/2014/main" id="{0264298F-37FF-4C61-ADC4-56736808807B}"/>
              </a:ext>
            </a:extLst>
          </p:cNvPr>
          <p:cNvSpPr>
            <a:spLocks noEditPoints="1"/>
          </p:cNvSpPr>
          <p:nvPr/>
        </p:nvSpPr>
        <p:spPr bwMode="auto">
          <a:xfrm>
            <a:off x="8485737" y="2326273"/>
            <a:ext cx="252889" cy="244461"/>
          </a:xfrm>
          <a:custGeom>
            <a:avLst/>
            <a:gdLst>
              <a:gd name="T0" fmla="*/ 597 w 631"/>
              <a:gd name="T1" fmla="*/ 0 h 605"/>
              <a:gd name="T2" fmla="*/ 34 w 631"/>
              <a:gd name="T3" fmla="*/ 0 h 605"/>
              <a:gd name="T4" fmla="*/ 0 w 631"/>
              <a:gd name="T5" fmla="*/ 37 h 605"/>
              <a:gd name="T6" fmla="*/ 0 w 631"/>
              <a:gd name="T7" fmla="*/ 417 h 605"/>
              <a:gd name="T8" fmla="*/ 34 w 631"/>
              <a:gd name="T9" fmla="*/ 454 h 605"/>
              <a:gd name="T10" fmla="*/ 597 w 631"/>
              <a:gd name="T11" fmla="*/ 454 h 605"/>
              <a:gd name="T12" fmla="*/ 631 w 631"/>
              <a:gd name="T13" fmla="*/ 417 h 605"/>
              <a:gd name="T14" fmla="*/ 631 w 631"/>
              <a:gd name="T15" fmla="*/ 37 h 605"/>
              <a:gd name="T16" fmla="*/ 597 w 631"/>
              <a:gd name="T17" fmla="*/ 0 h 605"/>
              <a:gd name="T18" fmla="*/ 454 w 631"/>
              <a:gd name="T19" fmla="*/ 565 h 605"/>
              <a:gd name="T20" fmla="*/ 414 w 631"/>
              <a:gd name="T21" fmla="*/ 565 h 605"/>
              <a:gd name="T22" fmla="*/ 375 w 631"/>
              <a:gd name="T23" fmla="*/ 526 h 605"/>
              <a:gd name="T24" fmla="*/ 375 w 631"/>
              <a:gd name="T25" fmla="*/ 466 h 605"/>
              <a:gd name="T26" fmla="*/ 256 w 631"/>
              <a:gd name="T27" fmla="*/ 466 h 605"/>
              <a:gd name="T28" fmla="*/ 256 w 631"/>
              <a:gd name="T29" fmla="*/ 526 h 605"/>
              <a:gd name="T30" fmla="*/ 217 w 631"/>
              <a:gd name="T31" fmla="*/ 565 h 605"/>
              <a:gd name="T32" fmla="*/ 177 w 631"/>
              <a:gd name="T33" fmla="*/ 565 h 605"/>
              <a:gd name="T34" fmla="*/ 158 w 631"/>
              <a:gd name="T35" fmla="*/ 585 h 605"/>
              <a:gd name="T36" fmla="*/ 177 w 631"/>
              <a:gd name="T37" fmla="*/ 605 h 605"/>
              <a:gd name="T38" fmla="*/ 454 w 631"/>
              <a:gd name="T39" fmla="*/ 605 h 605"/>
              <a:gd name="T40" fmla="*/ 473 w 631"/>
              <a:gd name="T41" fmla="*/ 585 h 605"/>
              <a:gd name="T42" fmla="*/ 454 w 631"/>
              <a:gd name="T43" fmla="*/ 565 h 605"/>
              <a:gd name="T44" fmla="*/ 592 w 631"/>
              <a:gd name="T45" fmla="*/ 414 h 605"/>
              <a:gd name="T46" fmla="*/ 39 w 631"/>
              <a:gd name="T47" fmla="*/ 414 h 605"/>
              <a:gd name="T48" fmla="*/ 39 w 631"/>
              <a:gd name="T49" fmla="*/ 39 h 605"/>
              <a:gd name="T50" fmla="*/ 592 w 631"/>
              <a:gd name="T51" fmla="*/ 39 h 605"/>
              <a:gd name="T52" fmla="*/ 592 w 631"/>
              <a:gd name="T53" fmla="*/ 414 h 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31" h="605">
                <a:moveTo>
                  <a:pt x="597" y="0"/>
                </a:moveTo>
                <a:lnTo>
                  <a:pt x="34" y="0"/>
                </a:lnTo>
                <a:cubicBezTo>
                  <a:pt x="15" y="0"/>
                  <a:pt x="0" y="16"/>
                  <a:pt x="0" y="37"/>
                </a:cubicBezTo>
                <a:lnTo>
                  <a:pt x="0" y="417"/>
                </a:lnTo>
                <a:cubicBezTo>
                  <a:pt x="0" y="437"/>
                  <a:pt x="15" y="454"/>
                  <a:pt x="34" y="454"/>
                </a:cubicBezTo>
                <a:lnTo>
                  <a:pt x="597" y="454"/>
                </a:lnTo>
                <a:cubicBezTo>
                  <a:pt x="616" y="454"/>
                  <a:pt x="631" y="437"/>
                  <a:pt x="631" y="417"/>
                </a:cubicBezTo>
                <a:lnTo>
                  <a:pt x="631" y="37"/>
                </a:lnTo>
                <a:cubicBezTo>
                  <a:pt x="631" y="16"/>
                  <a:pt x="616" y="0"/>
                  <a:pt x="597" y="0"/>
                </a:cubicBezTo>
                <a:close/>
                <a:moveTo>
                  <a:pt x="454" y="565"/>
                </a:moveTo>
                <a:lnTo>
                  <a:pt x="414" y="565"/>
                </a:lnTo>
                <a:cubicBezTo>
                  <a:pt x="392" y="565"/>
                  <a:pt x="375" y="548"/>
                  <a:pt x="375" y="526"/>
                </a:cubicBezTo>
                <a:lnTo>
                  <a:pt x="375" y="466"/>
                </a:lnTo>
                <a:lnTo>
                  <a:pt x="256" y="466"/>
                </a:lnTo>
                <a:lnTo>
                  <a:pt x="256" y="526"/>
                </a:lnTo>
                <a:cubicBezTo>
                  <a:pt x="256" y="548"/>
                  <a:pt x="239" y="565"/>
                  <a:pt x="217" y="565"/>
                </a:cubicBezTo>
                <a:lnTo>
                  <a:pt x="177" y="565"/>
                </a:lnTo>
                <a:cubicBezTo>
                  <a:pt x="166" y="565"/>
                  <a:pt x="158" y="574"/>
                  <a:pt x="158" y="585"/>
                </a:cubicBezTo>
                <a:cubicBezTo>
                  <a:pt x="158" y="596"/>
                  <a:pt x="166" y="605"/>
                  <a:pt x="177" y="605"/>
                </a:cubicBezTo>
                <a:lnTo>
                  <a:pt x="454" y="605"/>
                </a:lnTo>
                <a:cubicBezTo>
                  <a:pt x="465" y="605"/>
                  <a:pt x="473" y="596"/>
                  <a:pt x="473" y="585"/>
                </a:cubicBezTo>
                <a:cubicBezTo>
                  <a:pt x="473" y="574"/>
                  <a:pt x="465" y="565"/>
                  <a:pt x="454" y="565"/>
                </a:cubicBezTo>
                <a:close/>
                <a:moveTo>
                  <a:pt x="592" y="414"/>
                </a:moveTo>
                <a:lnTo>
                  <a:pt x="39" y="414"/>
                </a:lnTo>
                <a:lnTo>
                  <a:pt x="39" y="39"/>
                </a:lnTo>
                <a:lnTo>
                  <a:pt x="592" y="39"/>
                </a:lnTo>
                <a:lnTo>
                  <a:pt x="592" y="414"/>
                </a:lnTo>
                <a:close/>
              </a:path>
            </a:pathLst>
          </a:custGeom>
          <a:solidFill>
            <a:schemeClr val="accent1"/>
          </a:solidFill>
          <a:ln>
            <a:noFill/>
          </a:ln>
        </p:spPr>
        <p:txBody>
          <a:bodyPr vert="horz" wrap="square" lIns="91299" tIns="45649" rIns="91299" bIns="4564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98" b="0" i="0" u="none" strike="noStrike" kern="1200" cap="none" spc="0" normalizeH="0" baseline="0" noProof="0">
              <a:ln>
                <a:noFill/>
              </a:ln>
              <a:solidFill>
                <a:srgbClr val="3F3F3F"/>
              </a:solidFill>
              <a:effectLst/>
              <a:uLnTx/>
              <a:uFillTx/>
              <a:latin typeface="HarmonyOS Sans SC"/>
              <a:cs typeface="+mn-cs"/>
            </a:endParaRPr>
          </a:p>
        </p:txBody>
      </p:sp>
      <p:sp>
        <p:nvSpPr>
          <p:cNvPr id="22" name="Freeform 84">
            <a:extLst>
              <a:ext uri="{FF2B5EF4-FFF2-40B4-BE49-F238E27FC236}">
                <a16:creationId xmlns:a16="http://schemas.microsoft.com/office/drawing/2014/main" id="{CB09B5BF-1ADA-4221-A7B7-3086813B8911}"/>
              </a:ext>
            </a:extLst>
          </p:cNvPr>
          <p:cNvSpPr>
            <a:spLocks noEditPoints="1"/>
          </p:cNvSpPr>
          <p:nvPr/>
        </p:nvSpPr>
        <p:spPr bwMode="auto">
          <a:xfrm>
            <a:off x="8456399" y="3781101"/>
            <a:ext cx="292931" cy="233921"/>
          </a:xfrm>
          <a:custGeom>
            <a:avLst/>
            <a:gdLst>
              <a:gd name="T0" fmla="*/ 50 w 732"/>
              <a:gd name="T1" fmla="*/ 398 h 581"/>
              <a:gd name="T2" fmla="*/ 129 w 732"/>
              <a:gd name="T3" fmla="*/ 398 h 581"/>
              <a:gd name="T4" fmla="*/ 129 w 732"/>
              <a:gd name="T5" fmla="*/ 203 h 581"/>
              <a:gd name="T6" fmla="*/ 50 w 732"/>
              <a:gd name="T7" fmla="*/ 398 h 581"/>
              <a:gd name="T8" fmla="*/ 229 w 732"/>
              <a:gd name="T9" fmla="*/ 398 h 581"/>
              <a:gd name="T10" fmla="*/ 151 w 732"/>
              <a:gd name="T11" fmla="*/ 203 h 581"/>
              <a:gd name="T12" fmla="*/ 151 w 732"/>
              <a:gd name="T13" fmla="*/ 398 h 581"/>
              <a:gd name="T14" fmla="*/ 229 w 732"/>
              <a:gd name="T15" fmla="*/ 398 h 581"/>
              <a:gd name="T16" fmla="*/ 502 w 732"/>
              <a:gd name="T17" fmla="*/ 398 h 581"/>
              <a:gd name="T18" fmla="*/ 581 w 732"/>
              <a:gd name="T19" fmla="*/ 398 h 581"/>
              <a:gd name="T20" fmla="*/ 581 w 732"/>
              <a:gd name="T21" fmla="*/ 203 h 581"/>
              <a:gd name="T22" fmla="*/ 502 w 732"/>
              <a:gd name="T23" fmla="*/ 398 h 581"/>
              <a:gd name="T24" fmla="*/ 682 w 732"/>
              <a:gd name="T25" fmla="*/ 398 h 581"/>
              <a:gd name="T26" fmla="*/ 603 w 732"/>
              <a:gd name="T27" fmla="*/ 203 h 581"/>
              <a:gd name="T28" fmla="*/ 603 w 732"/>
              <a:gd name="T29" fmla="*/ 398 h 581"/>
              <a:gd name="T30" fmla="*/ 682 w 732"/>
              <a:gd name="T31" fmla="*/ 398 h 581"/>
              <a:gd name="T32" fmla="*/ 377 w 732"/>
              <a:gd name="T33" fmla="*/ 0 h 581"/>
              <a:gd name="T34" fmla="*/ 398 w 732"/>
              <a:gd name="T35" fmla="*/ 43 h 581"/>
              <a:gd name="T36" fmla="*/ 400 w 732"/>
              <a:gd name="T37" fmla="*/ 86 h 581"/>
              <a:gd name="T38" fmla="*/ 646 w 732"/>
              <a:gd name="T39" fmla="*/ 86 h 581"/>
              <a:gd name="T40" fmla="*/ 646 w 732"/>
              <a:gd name="T41" fmla="*/ 129 h 581"/>
              <a:gd name="T42" fmla="*/ 618 w 732"/>
              <a:gd name="T43" fmla="*/ 129 h 581"/>
              <a:gd name="T44" fmla="*/ 732 w 732"/>
              <a:gd name="T45" fmla="*/ 398 h 581"/>
              <a:gd name="T46" fmla="*/ 592 w 732"/>
              <a:gd name="T47" fmla="*/ 473 h 581"/>
              <a:gd name="T48" fmla="*/ 452 w 732"/>
              <a:gd name="T49" fmla="*/ 398 h 581"/>
              <a:gd name="T50" fmla="*/ 566 w 732"/>
              <a:gd name="T51" fmla="*/ 129 h 581"/>
              <a:gd name="T52" fmla="*/ 401 w 732"/>
              <a:gd name="T53" fmla="*/ 129 h 581"/>
              <a:gd name="T54" fmla="*/ 414 w 732"/>
              <a:gd name="T55" fmla="*/ 518 h 581"/>
              <a:gd name="T56" fmla="*/ 560 w 732"/>
              <a:gd name="T57" fmla="*/ 581 h 581"/>
              <a:gd name="T58" fmla="*/ 194 w 732"/>
              <a:gd name="T59" fmla="*/ 581 h 581"/>
              <a:gd name="T60" fmla="*/ 339 w 732"/>
              <a:gd name="T61" fmla="*/ 518 h 581"/>
              <a:gd name="T62" fmla="*/ 352 w 732"/>
              <a:gd name="T63" fmla="*/ 129 h 581"/>
              <a:gd name="T64" fmla="*/ 166 w 732"/>
              <a:gd name="T65" fmla="*/ 129 h 581"/>
              <a:gd name="T66" fmla="*/ 280 w 732"/>
              <a:gd name="T67" fmla="*/ 398 h 581"/>
              <a:gd name="T68" fmla="*/ 140 w 732"/>
              <a:gd name="T69" fmla="*/ 473 h 581"/>
              <a:gd name="T70" fmla="*/ 0 w 732"/>
              <a:gd name="T71" fmla="*/ 398 h 581"/>
              <a:gd name="T72" fmla="*/ 114 w 732"/>
              <a:gd name="T73" fmla="*/ 129 h 581"/>
              <a:gd name="T74" fmla="*/ 86 w 732"/>
              <a:gd name="T75" fmla="*/ 129 h 581"/>
              <a:gd name="T76" fmla="*/ 86 w 732"/>
              <a:gd name="T77" fmla="*/ 86 h 581"/>
              <a:gd name="T78" fmla="*/ 354 w 732"/>
              <a:gd name="T79" fmla="*/ 86 h 581"/>
              <a:gd name="T80" fmla="*/ 355 w 732"/>
              <a:gd name="T81" fmla="*/ 43 h 581"/>
              <a:gd name="T82" fmla="*/ 377 w 732"/>
              <a:gd name="T83" fmla="*/ 0 h 5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732" h="581">
                <a:moveTo>
                  <a:pt x="50" y="398"/>
                </a:moveTo>
                <a:lnTo>
                  <a:pt x="129" y="398"/>
                </a:lnTo>
                <a:lnTo>
                  <a:pt x="129" y="203"/>
                </a:lnTo>
                <a:lnTo>
                  <a:pt x="50" y="398"/>
                </a:lnTo>
                <a:close/>
                <a:moveTo>
                  <a:pt x="229" y="398"/>
                </a:moveTo>
                <a:lnTo>
                  <a:pt x="151" y="203"/>
                </a:lnTo>
                <a:lnTo>
                  <a:pt x="151" y="398"/>
                </a:lnTo>
                <a:lnTo>
                  <a:pt x="229" y="398"/>
                </a:lnTo>
                <a:close/>
                <a:moveTo>
                  <a:pt x="502" y="398"/>
                </a:moveTo>
                <a:lnTo>
                  <a:pt x="581" y="398"/>
                </a:lnTo>
                <a:lnTo>
                  <a:pt x="581" y="203"/>
                </a:lnTo>
                <a:lnTo>
                  <a:pt x="502" y="398"/>
                </a:lnTo>
                <a:close/>
                <a:moveTo>
                  <a:pt x="682" y="398"/>
                </a:moveTo>
                <a:lnTo>
                  <a:pt x="603" y="203"/>
                </a:lnTo>
                <a:lnTo>
                  <a:pt x="603" y="398"/>
                </a:lnTo>
                <a:lnTo>
                  <a:pt x="682" y="398"/>
                </a:lnTo>
                <a:close/>
                <a:moveTo>
                  <a:pt x="377" y="0"/>
                </a:moveTo>
                <a:cubicBezTo>
                  <a:pt x="400" y="0"/>
                  <a:pt x="398" y="19"/>
                  <a:pt x="398" y="43"/>
                </a:cubicBezTo>
                <a:lnTo>
                  <a:pt x="400" y="86"/>
                </a:lnTo>
                <a:lnTo>
                  <a:pt x="646" y="86"/>
                </a:lnTo>
                <a:lnTo>
                  <a:pt x="646" y="129"/>
                </a:lnTo>
                <a:lnTo>
                  <a:pt x="618" y="129"/>
                </a:lnTo>
                <a:lnTo>
                  <a:pt x="732" y="398"/>
                </a:lnTo>
                <a:cubicBezTo>
                  <a:pt x="732" y="439"/>
                  <a:pt x="663" y="473"/>
                  <a:pt x="592" y="473"/>
                </a:cubicBezTo>
                <a:cubicBezTo>
                  <a:pt x="521" y="473"/>
                  <a:pt x="452" y="439"/>
                  <a:pt x="452" y="398"/>
                </a:cubicBezTo>
                <a:lnTo>
                  <a:pt x="566" y="129"/>
                </a:lnTo>
                <a:lnTo>
                  <a:pt x="401" y="129"/>
                </a:lnTo>
                <a:lnTo>
                  <a:pt x="414" y="518"/>
                </a:lnTo>
                <a:cubicBezTo>
                  <a:pt x="497" y="524"/>
                  <a:pt x="560" y="550"/>
                  <a:pt x="560" y="581"/>
                </a:cubicBezTo>
                <a:lnTo>
                  <a:pt x="194" y="581"/>
                </a:lnTo>
                <a:cubicBezTo>
                  <a:pt x="194" y="550"/>
                  <a:pt x="256" y="524"/>
                  <a:pt x="339" y="518"/>
                </a:cubicBezTo>
                <a:lnTo>
                  <a:pt x="352" y="129"/>
                </a:lnTo>
                <a:lnTo>
                  <a:pt x="166" y="129"/>
                </a:lnTo>
                <a:lnTo>
                  <a:pt x="280" y="398"/>
                </a:lnTo>
                <a:cubicBezTo>
                  <a:pt x="280" y="439"/>
                  <a:pt x="211" y="473"/>
                  <a:pt x="140" y="473"/>
                </a:cubicBezTo>
                <a:cubicBezTo>
                  <a:pt x="69" y="473"/>
                  <a:pt x="0" y="439"/>
                  <a:pt x="0" y="398"/>
                </a:cubicBezTo>
                <a:lnTo>
                  <a:pt x="114" y="129"/>
                </a:lnTo>
                <a:lnTo>
                  <a:pt x="86" y="129"/>
                </a:lnTo>
                <a:lnTo>
                  <a:pt x="86" y="86"/>
                </a:lnTo>
                <a:lnTo>
                  <a:pt x="354" y="86"/>
                </a:lnTo>
                <a:lnTo>
                  <a:pt x="355" y="43"/>
                </a:lnTo>
                <a:cubicBezTo>
                  <a:pt x="355" y="19"/>
                  <a:pt x="353" y="0"/>
                  <a:pt x="377" y="0"/>
                </a:cubicBezTo>
                <a:close/>
              </a:path>
            </a:pathLst>
          </a:custGeom>
          <a:solidFill>
            <a:schemeClr val="accent1"/>
          </a:solidFill>
          <a:ln>
            <a:noFill/>
          </a:ln>
        </p:spPr>
        <p:txBody>
          <a:bodyPr vert="horz" wrap="square" lIns="91299" tIns="45649" rIns="91299" bIns="4564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98" b="0" i="0" u="none" strike="noStrike" kern="1200" cap="none" spc="0" normalizeH="0" baseline="0" noProof="0">
              <a:ln>
                <a:noFill/>
              </a:ln>
              <a:solidFill>
                <a:srgbClr val="3F3F3F"/>
              </a:solidFill>
              <a:effectLst/>
              <a:uLnTx/>
              <a:uFillTx/>
              <a:latin typeface="HarmonyOS Sans SC"/>
              <a:cs typeface="+mn-cs"/>
            </a:endParaRPr>
          </a:p>
        </p:txBody>
      </p:sp>
      <p:sp>
        <p:nvSpPr>
          <p:cNvPr id="23" name="Freeform 85">
            <a:extLst>
              <a:ext uri="{FF2B5EF4-FFF2-40B4-BE49-F238E27FC236}">
                <a16:creationId xmlns:a16="http://schemas.microsoft.com/office/drawing/2014/main" id="{458F8382-5A3F-4488-9375-ADF50EF3ACCC}"/>
              </a:ext>
            </a:extLst>
          </p:cNvPr>
          <p:cNvSpPr>
            <a:spLocks noEditPoints="1"/>
          </p:cNvSpPr>
          <p:nvPr/>
        </p:nvSpPr>
        <p:spPr bwMode="auto">
          <a:xfrm>
            <a:off x="3459329" y="5234847"/>
            <a:ext cx="257104" cy="252889"/>
          </a:xfrm>
          <a:custGeom>
            <a:avLst/>
            <a:gdLst>
              <a:gd name="T0" fmla="*/ 424 w 643"/>
              <a:gd name="T1" fmla="*/ 314 h 629"/>
              <a:gd name="T2" fmla="*/ 321 w 643"/>
              <a:gd name="T3" fmla="*/ 415 h 629"/>
              <a:gd name="T4" fmla="*/ 218 w 643"/>
              <a:gd name="T5" fmla="*/ 314 h 629"/>
              <a:gd name="T6" fmla="*/ 321 w 643"/>
              <a:gd name="T7" fmla="*/ 213 h 629"/>
              <a:gd name="T8" fmla="*/ 424 w 643"/>
              <a:gd name="T9" fmla="*/ 314 h 629"/>
              <a:gd name="T10" fmla="*/ 554 w 643"/>
              <a:gd name="T11" fmla="*/ 242 h 629"/>
              <a:gd name="T12" fmla="*/ 538 w 643"/>
              <a:gd name="T13" fmla="*/ 204 h 629"/>
              <a:gd name="T14" fmla="*/ 572 w 643"/>
              <a:gd name="T15" fmla="*/ 115 h 629"/>
              <a:gd name="T16" fmla="*/ 522 w 643"/>
              <a:gd name="T17" fmla="*/ 66 h 629"/>
              <a:gd name="T18" fmla="*/ 434 w 643"/>
              <a:gd name="T19" fmla="*/ 102 h 629"/>
              <a:gd name="T20" fmla="*/ 395 w 643"/>
              <a:gd name="T21" fmla="*/ 86 h 629"/>
              <a:gd name="T22" fmla="*/ 355 w 643"/>
              <a:gd name="T23" fmla="*/ 0 h 629"/>
              <a:gd name="T24" fmla="*/ 285 w 643"/>
              <a:gd name="T25" fmla="*/ 0 h 629"/>
              <a:gd name="T26" fmla="*/ 248 w 643"/>
              <a:gd name="T27" fmla="*/ 86 h 629"/>
              <a:gd name="T28" fmla="*/ 208 w 643"/>
              <a:gd name="T29" fmla="*/ 102 h 629"/>
              <a:gd name="T30" fmla="*/ 118 w 643"/>
              <a:gd name="T31" fmla="*/ 68 h 629"/>
              <a:gd name="T32" fmla="*/ 68 w 643"/>
              <a:gd name="T33" fmla="*/ 117 h 629"/>
              <a:gd name="T34" fmla="*/ 104 w 643"/>
              <a:gd name="T35" fmla="*/ 204 h 629"/>
              <a:gd name="T36" fmla="*/ 88 w 643"/>
              <a:gd name="T37" fmla="*/ 243 h 629"/>
              <a:gd name="T38" fmla="*/ 0 w 643"/>
              <a:gd name="T39" fmla="*/ 281 h 629"/>
              <a:gd name="T40" fmla="*/ 0 w 643"/>
              <a:gd name="T41" fmla="*/ 350 h 629"/>
              <a:gd name="T42" fmla="*/ 88 w 643"/>
              <a:gd name="T43" fmla="*/ 386 h 629"/>
              <a:gd name="T44" fmla="*/ 105 w 643"/>
              <a:gd name="T45" fmla="*/ 425 h 629"/>
              <a:gd name="T46" fmla="*/ 70 w 643"/>
              <a:gd name="T47" fmla="*/ 513 h 629"/>
              <a:gd name="T48" fmla="*/ 120 w 643"/>
              <a:gd name="T49" fmla="*/ 562 h 629"/>
              <a:gd name="T50" fmla="*/ 209 w 643"/>
              <a:gd name="T51" fmla="*/ 527 h 629"/>
              <a:gd name="T52" fmla="*/ 248 w 643"/>
              <a:gd name="T53" fmla="*/ 543 h 629"/>
              <a:gd name="T54" fmla="*/ 288 w 643"/>
              <a:gd name="T55" fmla="*/ 629 h 629"/>
              <a:gd name="T56" fmla="*/ 358 w 643"/>
              <a:gd name="T57" fmla="*/ 629 h 629"/>
              <a:gd name="T58" fmla="*/ 395 w 643"/>
              <a:gd name="T59" fmla="*/ 542 h 629"/>
              <a:gd name="T60" fmla="*/ 434 w 643"/>
              <a:gd name="T61" fmla="*/ 526 h 629"/>
              <a:gd name="T62" fmla="*/ 525 w 643"/>
              <a:gd name="T63" fmla="*/ 560 h 629"/>
              <a:gd name="T64" fmla="*/ 574 w 643"/>
              <a:gd name="T65" fmla="*/ 511 h 629"/>
              <a:gd name="T66" fmla="*/ 538 w 643"/>
              <a:gd name="T67" fmla="*/ 424 h 629"/>
              <a:gd name="T68" fmla="*/ 554 w 643"/>
              <a:gd name="T69" fmla="*/ 386 h 629"/>
              <a:gd name="T70" fmla="*/ 643 w 643"/>
              <a:gd name="T71" fmla="*/ 347 h 629"/>
              <a:gd name="T72" fmla="*/ 643 w 643"/>
              <a:gd name="T73" fmla="*/ 278 h 629"/>
              <a:gd name="T74" fmla="*/ 554 w 643"/>
              <a:gd name="T75" fmla="*/ 242 h 6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43" h="629">
                <a:moveTo>
                  <a:pt x="424" y="314"/>
                </a:moveTo>
                <a:cubicBezTo>
                  <a:pt x="424" y="370"/>
                  <a:pt x="378" y="415"/>
                  <a:pt x="321" y="415"/>
                </a:cubicBezTo>
                <a:cubicBezTo>
                  <a:pt x="265" y="415"/>
                  <a:pt x="218" y="370"/>
                  <a:pt x="218" y="314"/>
                </a:cubicBezTo>
                <a:cubicBezTo>
                  <a:pt x="218" y="259"/>
                  <a:pt x="265" y="213"/>
                  <a:pt x="321" y="213"/>
                </a:cubicBezTo>
                <a:cubicBezTo>
                  <a:pt x="378" y="213"/>
                  <a:pt x="424" y="259"/>
                  <a:pt x="424" y="314"/>
                </a:cubicBezTo>
                <a:close/>
                <a:moveTo>
                  <a:pt x="554" y="242"/>
                </a:moveTo>
                <a:lnTo>
                  <a:pt x="538" y="204"/>
                </a:lnTo>
                <a:cubicBezTo>
                  <a:pt x="538" y="204"/>
                  <a:pt x="576" y="118"/>
                  <a:pt x="572" y="115"/>
                </a:cubicBezTo>
                <a:lnTo>
                  <a:pt x="522" y="66"/>
                </a:lnTo>
                <a:cubicBezTo>
                  <a:pt x="519" y="63"/>
                  <a:pt x="434" y="102"/>
                  <a:pt x="434" y="102"/>
                </a:cubicBezTo>
                <a:lnTo>
                  <a:pt x="395" y="86"/>
                </a:lnTo>
                <a:cubicBezTo>
                  <a:pt x="395" y="86"/>
                  <a:pt x="360" y="0"/>
                  <a:pt x="355" y="0"/>
                </a:cubicBezTo>
                <a:lnTo>
                  <a:pt x="285" y="0"/>
                </a:lnTo>
                <a:cubicBezTo>
                  <a:pt x="280" y="0"/>
                  <a:pt x="248" y="86"/>
                  <a:pt x="248" y="86"/>
                </a:cubicBezTo>
                <a:lnTo>
                  <a:pt x="208" y="102"/>
                </a:lnTo>
                <a:cubicBezTo>
                  <a:pt x="208" y="102"/>
                  <a:pt x="121" y="65"/>
                  <a:pt x="118" y="68"/>
                </a:cubicBezTo>
                <a:lnTo>
                  <a:pt x="68" y="117"/>
                </a:lnTo>
                <a:cubicBezTo>
                  <a:pt x="65" y="121"/>
                  <a:pt x="104" y="204"/>
                  <a:pt x="104" y="204"/>
                </a:cubicBezTo>
                <a:lnTo>
                  <a:pt x="88" y="243"/>
                </a:lnTo>
                <a:cubicBezTo>
                  <a:pt x="88" y="243"/>
                  <a:pt x="0" y="276"/>
                  <a:pt x="0" y="281"/>
                </a:cubicBezTo>
                <a:lnTo>
                  <a:pt x="0" y="350"/>
                </a:lnTo>
                <a:cubicBezTo>
                  <a:pt x="0" y="355"/>
                  <a:pt x="88" y="386"/>
                  <a:pt x="88" y="386"/>
                </a:cubicBezTo>
                <a:lnTo>
                  <a:pt x="105" y="425"/>
                </a:lnTo>
                <a:cubicBezTo>
                  <a:pt x="105" y="425"/>
                  <a:pt x="67" y="510"/>
                  <a:pt x="70" y="513"/>
                </a:cubicBezTo>
                <a:lnTo>
                  <a:pt x="120" y="562"/>
                </a:lnTo>
                <a:cubicBezTo>
                  <a:pt x="123" y="565"/>
                  <a:pt x="209" y="527"/>
                  <a:pt x="209" y="527"/>
                </a:cubicBezTo>
                <a:lnTo>
                  <a:pt x="248" y="543"/>
                </a:lnTo>
                <a:cubicBezTo>
                  <a:pt x="248" y="543"/>
                  <a:pt x="283" y="629"/>
                  <a:pt x="288" y="629"/>
                </a:cubicBezTo>
                <a:lnTo>
                  <a:pt x="358" y="629"/>
                </a:lnTo>
                <a:cubicBezTo>
                  <a:pt x="363" y="629"/>
                  <a:pt x="395" y="542"/>
                  <a:pt x="395" y="542"/>
                </a:cubicBezTo>
                <a:lnTo>
                  <a:pt x="434" y="526"/>
                </a:lnTo>
                <a:cubicBezTo>
                  <a:pt x="434" y="526"/>
                  <a:pt x="521" y="563"/>
                  <a:pt x="525" y="560"/>
                </a:cubicBezTo>
                <a:lnTo>
                  <a:pt x="574" y="511"/>
                </a:lnTo>
                <a:cubicBezTo>
                  <a:pt x="578" y="508"/>
                  <a:pt x="538" y="424"/>
                  <a:pt x="538" y="424"/>
                </a:cubicBezTo>
                <a:lnTo>
                  <a:pt x="554" y="386"/>
                </a:lnTo>
                <a:cubicBezTo>
                  <a:pt x="554" y="386"/>
                  <a:pt x="643" y="352"/>
                  <a:pt x="643" y="347"/>
                </a:cubicBezTo>
                <a:lnTo>
                  <a:pt x="643" y="278"/>
                </a:lnTo>
                <a:cubicBezTo>
                  <a:pt x="643" y="273"/>
                  <a:pt x="554" y="242"/>
                  <a:pt x="554" y="242"/>
                </a:cubicBezTo>
                <a:close/>
              </a:path>
            </a:pathLst>
          </a:custGeom>
          <a:solidFill>
            <a:schemeClr val="accent1"/>
          </a:solidFill>
          <a:ln>
            <a:noFill/>
          </a:ln>
        </p:spPr>
        <p:txBody>
          <a:bodyPr vert="horz" wrap="square" lIns="91299" tIns="45649" rIns="91299" bIns="4564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98" b="0" i="0" u="none" strike="noStrike" kern="1200" cap="none" spc="0" normalizeH="0" baseline="0" noProof="0">
              <a:ln>
                <a:noFill/>
              </a:ln>
              <a:solidFill>
                <a:srgbClr val="3F3F3F"/>
              </a:solidFill>
              <a:effectLst/>
              <a:uLnTx/>
              <a:uFillTx/>
              <a:latin typeface="HarmonyOS Sans SC"/>
              <a:cs typeface="+mn-cs"/>
            </a:endParaRPr>
          </a:p>
        </p:txBody>
      </p:sp>
      <p:sp>
        <p:nvSpPr>
          <p:cNvPr id="24" name="Freeform 86">
            <a:extLst>
              <a:ext uri="{FF2B5EF4-FFF2-40B4-BE49-F238E27FC236}">
                <a16:creationId xmlns:a16="http://schemas.microsoft.com/office/drawing/2014/main" id="{FBE7DCF0-81AA-4396-B065-F46F1393DADA}"/>
              </a:ext>
            </a:extLst>
          </p:cNvPr>
          <p:cNvSpPr>
            <a:spLocks noEditPoints="1"/>
          </p:cNvSpPr>
          <p:nvPr/>
        </p:nvSpPr>
        <p:spPr bwMode="auto">
          <a:xfrm>
            <a:off x="3415220" y="3781101"/>
            <a:ext cx="324541" cy="236029"/>
          </a:xfrm>
          <a:custGeom>
            <a:avLst/>
            <a:gdLst>
              <a:gd name="T0" fmla="*/ 241 w 805"/>
              <a:gd name="T1" fmla="*/ 415 h 588"/>
              <a:gd name="T2" fmla="*/ 277 w 805"/>
              <a:gd name="T3" fmla="*/ 415 h 588"/>
              <a:gd name="T4" fmla="*/ 476 w 805"/>
              <a:gd name="T5" fmla="*/ 109 h 588"/>
              <a:gd name="T6" fmla="*/ 37 w 805"/>
              <a:gd name="T7" fmla="*/ 376 h 588"/>
              <a:gd name="T8" fmla="*/ 476 w 805"/>
              <a:gd name="T9" fmla="*/ 376 h 588"/>
              <a:gd name="T10" fmla="*/ 288 w 805"/>
              <a:gd name="T11" fmla="*/ 415 h 588"/>
              <a:gd name="T12" fmla="*/ 229 w 805"/>
              <a:gd name="T13" fmla="*/ 415 h 588"/>
              <a:gd name="T14" fmla="*/ 288 w 805"/>
              <a:gd name="T15" fmla="*/ 415 h 588"/>
              <a:gd name="T16" fmla="*/ 513 w 805"/>
              <a:gd name="T17" fmla="*/ 423 h 588"/>
              <a:gd name="T18" fmla="*/ 308 w 805"/>
              <a:gd name="T19" fmla="*/ 458 h 588"/>
              <a:gd name="T20" fmla="*/ 360 w 805"/>
              <a:gd name="T21" fmla="*/ 561 h 588"/>
              <a:gd name="T22" fmla="*/ 205 w 805"/>
              <a:gd name="T23" fmla="*/ 561 h 588"/>
              <a:gd name="T24" fmla="*/ 153 w 805"/>
              <a:gd name="T25" fmla="*/ 527 h 588"/>
              <a:gd name="T26" fmla="*/ 34 w 805"/>
              <a:gd name="T27" fmla="*/ 458 h 588"/>
              <a:gd name="T28" fmla="*/ 0 w 805"/>
              <a:gd name="T29" fmla="*/ 107 h 588"/>
              <a:gd name="T30" fmla="*/ 479 w 805"/>
              <a:gd name="T31" fmla="*/ 73 h 588"/>
              <a:gd name="T32" fmla="*/ 714 w 805"/>
              <a:gd name="T33" fmla="*/ 393 h 588"/>
              <a:gd name="T34" fmla="*/ 651 w 805"/>
              <a:gd name="T35" fmla="*/ 393 h 588"/>
              <a:gd name="T36" fmla="*/ 714 w 805"/>
              <a:gd name="T37" fmla="*/ 393 h 588"/>
              <a:gd name="T38" fmla="*/ 682 w 805"/>
              <a:gd name="T39" fmla="*/ 442 h 588"/>
              <a:gd name="T40" fmla="*/ 682 w 805"/>
              <a:gd name="T41" fmla="*/ 344 h 588"/>
              <a:gd name="T42" fmla="*/ 756 w 805"/>
              <a:gd name="T43" fmla="*/ 218 h 588"/>
              <a:gd name="T44" fmla="*/ 603 w 805"/>
              <a:gd name="T45" fmla="*/ 241 h 588"/>
              <a:gd name="T46" fmla="*/ 756 w 805"/>
              <a:gd name="T47" fmla="*/ 218 h 588"/>
              <a:gd name="T48" fmla="*/ 585 w 805"/>
              <a:gd name="T49" fmla="*/ 31 h 588"/>
              <a:gd name="T50" fmla="*/ 774 w 805"/>
              <a:gd name="T51" fmla="*/ 558 h 588"/>
              <a:gd name="T52" fmla="*/ 805 w 805"/>
              <a:gd name="T53" fmla="*/ 16 h 588"/>
              <a:gd name="T54" fmla="*/ 790 w 805"/>
              <a:gd name="T55" fmla="*/ 588 h 588"/>
              <a:gd name="T56" fmla="*/ 555 w 805"/>
              <a:gd name="T57" fmla="*/ 573 h 588"/>
              <a:gd name="T58" fmla="*/ 570 w 805"/>
              <a:gd name="T59" fmla="*/ 0 h 588"/>
              <a:gd name="T60" fmla="*/ 805 w 805"/>
              <a:gd name="T61" fmla="*/ 16 h 588"/>
              <a:gd name="T62" fmla="*/ 603 w 805"/>
              <a:gd name="T63" fmla="*/ 71 h 588"/>
              <a:gd name="T64" fmla="*/ 756 w 805"/>
              <a:gd name="T65" fmla="*/ 123 h 588"/>
              <a:gd name="T66" fmla="*/ 756 w 805"/>
              <a:gd name="T67" fmla="*/ 179 h 588"/>
              <a:gd name="T68" fmla="*/ 603 w 805"/>
              <a:gd name="T69" fmla="*/ 202 h 588"/>
              <a:gd name="T70" fmla="*/ 756 w 805"/>
              <a:gd name="T71" fmla="*/ 179 h 588"/>
              <a:gd name="T72" fmla="*/ 603 w 805"/>
              <a:gd name="T73" fmla="*/ 163 h 588"/>
              <a:gd name="T74" fmla="*/ 756 w 805"/>
              <a:gd name="T75" fmla="*/ 140 h 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05" h="588">
                <a:moveTo>
                  <a:pt x="259" y="397"/>
                </a:moveTo>
                <a:cubicBezTo>
                  <a:pt x="249" y="397"/>
                  <a:pt x="241" y="405"/>
                  <a:pt x="241" y="415"/>
                </a:cubicBezTo>
                <a:cubicBezTo>
                  <a:pt x="241" y="425"/>
                  <a:pt x="249" y="434"/>
                  <a:pt x="259" y="434"/>
                </a:cubicBezTo>
                <a:cubicBezTo>
                  <a:pt x="269" y="434"/>
                  <a:pt x="277" y="425"/>
                  <a:pt x="277" y="415"/>
                </a:cubicBezTo>
                <a:cubicBezTo>
                  <a:pt x="277" y="405"/>
                  <a:pt x="269" y="397"/>
                  <a:pt x="259" y="397"/>
                </a:cubicBezTo>
                <a:close/>
                <a:moveTo>
                  <a:pt x="476" y="109"/>
                </a:moveTo>
                <a:lnTo>
                  <a:pt x="37" y="109"/>
                </a:lnTo>
                <a:lnTo>
                  <a:pt x="37" y="376"/>
                </a:lnTo>
                <a:lnTo>
                  <a:pt x="476" y="376"/>
                </a:lnTo>
                <a:lnTo>
                  <a:pt x="476" y="376"/>
                </a:lnTo>
                <a:lnTo>
                  <a:pt x="476" y="109"/>
                </a:lnTo>
                <a:close/>
                <a:moveTo>
                  <a:pt x="288" y="415"/>
                </a:moveTo>
                <a:cubicBezTo>
                  <a:pt x="288" y="399"/>
                  <a:pt x="275" y="386"/>
                  <a:pt x="259" y="386"/>
                </a:cubicBezTo>
                <a:cubicBezTo>
                  <a:pt x="242" y="386"/>
                  <a:pt x="229" y="399"/>
                  <a:pt x="229" y="415"/>
                </a:cubicBezTo>
                <a:cubicBezTo>
                  <a:pt x="229" y="432"/>
                  <a:pt x="242" y="445"/>
                  <a:pt x="259" y="445"/>
                </a:cubicBezTo>
                <a:cubicBezTo>
                  <a:pt x="275" y="445"/>
                  <a:pt x="288" y="432"/>
                  <a:pt x="288" y="415"/>
                </a:cubicBezTo>
                <a:close/>
                <a:moveTo>
                  <a:pt x="513" y="107"/>
                </a:moveTo>
                <a:lnTo>
                  <a:pt x="513" y="423"/>
                </a:lnTo>
                <a:cubicBezTo>
                  <a:pt x="513" y="442"/>
                  <a:pt x="498" y="458"/>
                  <a:pt x="479" y="458"/>
                </a:cubicBezTo>
                <a:lnTo>
                  <a:pt x="308" y="458"/>
                </a:lnTo>
                <a:cubicBezTo>
                  <a:pt x="308" y="458"/>
                  <a:pt x="298" y="527"/>
                  <a:pt x="360" y="527"/>
                </a:cubicBezTo>
                <a:lnTo>
                  <a:pt x="360" y="561"/>
                </a:lnTo>
                <a:lnTo>
                  <a:pt x="308" y="561"/>
                </a:lnTo>
                <a:lnTo>
                  <a:pt x="205" y="561"/>
                </a:lnTo>
                <a:lnTo>
                  <a:pt x="153" y="561"/>
                </a:lnTo>
                <a:lnTo>
                  <a:pt x="153" y="527"/>
                </a:lnTo>
                <a:cubicBezTo>
                  <a:pt x="212" y="527"/>
                  <a:pt x="205" y="458"/>
                  <a:pt x="205" y="458"/>
                </a:cubicBezTo>
                <a:lnTo>
                  <a:pt x="34" y="458"/>
                </a:lnTo>
                <a:cubicBezTo>
                  <a:pt x="15" y="458"/>
                  <a:pt x="0" y="442"/>
                  <a:pt x="0" y="423"/>
                </a:cubicBezTo>
                <a:lnTo>
                  <a:pt x="0" y="107"/>
                </a:lnTo>
                <a:cubicBezTo>
                  <a:pt x="0" y="88"/>
                  <a:pt x="15" y="73"/>
                  <a:pt x="34" y="73"/>
                </a:cubicBezTo>
                <a:lnTo>
                  <a:pt x="479" y="73"/>
                </a:lnTo>
                <a:cubicBezTo>
                  <a:pt x="498" y="73"/>
                  <a:pt x="513" y="88"/>
                  <a:pt x="513" y="107"/>
                </a:cubicBezTo>
                <a:close/>
                <a:moveTo>
                  <a:pt x="714" y="393"/>
                </a:moveTo>
                <a:cubicBezTo>
                  <a:pt x="714" y="376"/>
                  <a:pt x="699" y="362"/>
                  <a:pt x="682" y="362"/>
                </a:cubicBezTo>
                <a:cubicBezTo>
                  <a:pt x="665" y="362"/>
                  <a:pt x="651" y="376"/>
                  <a:pt x="651" y="393"/>
                </a:cubicBezTo>
                <a:cubicBezTo>
                  <a:pt x="651" y="411"/>
                  <a:pt x="665" y="425"/>
                  <a:pt x="682" y="425"/>
                </a:cubicBezTo>
                <a:cubicBezTo>
                  <a:pt x="699" y="425"/>
                  <a:pt x="714" y="411"/>
                  <a:pt x="714" y="393"/>
                </a:cubicBezTo>
                <a:close/>
                <a:moveTo>
                  <a:pt x="731" y="393"/>
                </a:moveTo>
                <a:cubicBezTo>
                  <a:pt x="731" y="421"/>
                  <a:pt x="709" y="442"/>
                  <a:pt x="682" y="442"/>
                </a:cubicBezTo>
                <a:cubicBezTo>
                  <a:pt x="655" y="442"/>
                  <a:pt x="633" y="421"/>
                  <a:pt x="633" y="393"/>
                </a:cubicBezTo>
                <a:cubicBezTo>
                  <a:pt x="633" y="366"/>
                  <a:pt x="655" y="344"/>
                  <a:pt x="682" y="344"/>
                </a:cubicBezTo>
                <a:cubicBezTo>
                  <a:pt x="709" y="344"/>
                  <a:pt x="731" y="366"/>
                  <a:pt x="731" y="393"/>
                </a:cubicBezTo>
                <a:close/>
                <a:moveTo>
                  <a:pt x="756" y="218"/>
                </a:moveTo>
                <a:lnTo>
                  <a:pt x="603" y="218"/>
                </a:lnTo>
                <a:lnTo>
                  <a:pt x="603" y="241"/>
                </a:lnTo>
                <a:lnTo>
                  <a:pt x="756" y="241"/>
                </a:lnTo>
                <a:lnTo>
                  <a:pt x="756" y="218"/>
                </a:lnTo>
                <a:close/>
                <a:moveTo>
                  <a:pt x="774" y="31"/>
                </a:moveTo>
                <a:lnTo>
                  <a:pt x="585" y="31"/>
                </a:lnTo>
                <a:lnTo>
                  <a:pt x="585" y="558"/>
                </a:lnTo>
                <a:lnTo>
                  <a:pt x="774" y="558"/>
                </a:lnTo>
                <a:lnTo>
                  <a:pt x="774" y="31"/>
                </a:lnTo>
                <a:close/>
                <a:moveTo>
                  <a:pt x="805" y="16"/>
                </a:moveTo>
                <a:lnTo>
                  <a:pt x="805" y="573"/>
                </a:lnTo>
                <a:cubicBezTo>
                  <a:pt x="805" y="581"/>
                  <a:pt x="798" y="588"/>
                  <a:pt x="790" y="588"/>
                </a:cubicBezTo>
                <a:lnTo>
                  <a:pt x="570" y="588"/>
                </a:lnTo>
                <a:cubicBezTo>
                  <a:pt x="561" y="588"/>
                  <a:pt x="555" y="581"/>
                  <a:pt x="555" y="573"/>
                </a:cubicBezTo>
                <a:lnTo>
                  <a:pt x="555" y="16"/>
                </a:lnTo>
                <a:cubicBezTo>
                  <a:pt x="555" y="7"/>
                  <a:pt x="561" y="0"/>
                  <a:pt x="570" y="0"/>
                </a:cubicBezTo>
                <a:lnTo>
                  <a:pt x="790" y="0"/>
                </a:lnTo>
                <a:cubicBezTo>
                  <a:pt x="798" y="0"/>
                  <a:pt x="805" y="7"/>
                  <a:pt x="805" y="16"/>
                </a:cubicBezTo>
                <a:close/>
                <a:moveTo>
                  <a:pt x="756" y="71"/>
                </a:moveTo>
                <a:lnTo>
                  <a:pt x="603" y="71"/>
                </a:lnTo>
                <a:lnTo>
                  <a:pt x="603" y="123"/>
                </a:lnTo>
                <a:lnTo>
                  <a:pt x="756" y="123"/>
                </a:lnTo>
                <a:lnTo>
                  <a:pt x="756" y="71"/>
                </a:lnTo>
                <a:close/>
                <a:moveTo>
                  <a:pt x="756" y="179"/>
                </a:moveTo>
                <a:lnTo>
                  <a:pt x="603" y="179"/>
                </a:lnTo>
                <a:lnTo>
                  <a:pt x="603" y="202"/>
                </a:lnTo>
                <a:lnTo>
                  <a:pt x="756" y="202"/>
                </a:lnTo>
                <a:lnTo>
                  <a:pt x="756" y="179"/>
                </a:lnTo>
                <a:close/>
                <a:moveTo>
                  <a:pt x="756" y="163"/>
                </a:moveTo>
                <a:lnTo>
                  <a:pt x="603" y="163"/>
                </a:lnTo>
                <a:lnTo>
                  <a:pt x="603" y="140"/>
                </a:lnTo>
                <a:lnTo>
                  <a:pt x="756" y="140"/>
                </a:lnTo>
                <a:lnTo>
                  <a:pt x="756" y="163"/>
                </a:lnTo>
                <a:close/>
              </a:path>
            </a:pathLst>
          </a:custGeom>
          <a:solidFill>
            <a:schemeClr val="accent1"/>
          </a:solidFill>
          <a:ln>
            <a:noFill/>
          </a:ln>
        </p:spPr>
        <p:txBody>
          <a:bodyPr vert="horz" wrap="square" lIns="91299" tIns="45649" rIns="91299" bIns="4564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98" b="0" i="0" u="none" strike="noStrike" kern="1200" cap="none" spc="0" normalizeH="0" baseline="0" noProof="0">
              <a:ln>
                <a:noFill/>
              </a:ln>
              <a:solidFill>
                <a:srgbClr val="3F3F3F"/>
              </a:solidFill>
              <a:effectLst/>
              <a:uLnTx/>
              <a:uFillTx/>
              <a:latin typeface="HarmonyOS Sans SC"/>
              <a:cs typeface="+mn-cs"/>
            </a:endParaRPr>
          </a:p>
        </p:txBody>
      </p:sp>
      <p:sp>
        <p:nvSpPr>
          <p:cNvPr id="25" name="Freeform 87">
            <a:extLst>
              <a:ext uri="{FF2B5EF4-FFF2-40B4-BE49-F238E27FC236}">
                <a16:creationId xmlns:a16="http://schemas.microsoft.com/office/drawing/2014/main" id="{5C1FC786-DECF-4370-BB62-D1EF6B4387F7}"/>
              </a:ext>
            </a:extLst>
          </p:cNvPr>
          <p:cNvSpPr>
            <a:spLocks noEditPoints="1"/>
          </p:cNvSpPr>
          <p:nvPr/>
        </p:nvSpPr>
        <p:spPr bwMode="auto">
          <a:xfrm>
            <a:off x="8511191" y="5214273"/>
            <a:ext cx="183344" cy="276071"/>
          </a:xfrm>
          <a:custGeom>
            <a:avLst/>
            <a:gdLst>
              <a:gd name="T0" fmla="*/ 170 w 457"/>
              <a:gd name="T1" fmla="*/ 560 h 688"/>
              <a:gd name="T2" fmla="*/ 64 w 457"/>
              <a:gd name="T3" fmla="*/ 560 h 688"/>
              <a:gd name="T4" fmla="*/ 38 w 457"/>
              <a:gd name="T5" fmla="*/ 560 h 688"/>
              <a:gd name="T6" fmla="*/ 38 w 457"/>
              <a:gd name="T7" fmla="*/ 371 h 688"/>
              <a:gd name="T8" fmla="*/ 38 w 457"/>
              <a:gd name="T9" fmla="*/ 239 h 688"/>
              <a:gd name="T10" fmla="*/ 38 w 457"/>
              <a:gd name="T11" fmla="*/ 124 h 688"/>
              <a:gd name="T12" fmla="*/ 38 w 457"/>
              <a:gd name="T13" fmla="*/ 87 h 688"/>
              <a:gd name="T14" fmla="*/ 218 w 457"/>
              <a:gd name="T15" fmla="*/ 85 h 688"/>
              <a:gd name="T16" fmla="*/ 326 w 457"/>
              <a:gd name="T17" fmla="*/ 85 h 688"/>
              <a:gd name="T18" fmla="*/ 352 w 457"/>
              <a:gd name="T19" fmla="*/ 85 h 688"/>
              <a:gd name="T20" fmla="*/ 352 w 457"/>
              <a:gd name="T21" fmla="*/ 162 h 688"/>
              <a:gd name="T22" fmla="*/ 352 w 457"/>
              <a:gd name="T23" fmla="*/ 186 h 688"/>
              <a:gd name="T24" fmla="*/ 388 w 457"/>
              <a:gd name="T25" fmla="*/ 186 h 688"/>
              <a:gd name="T26" fmla="*/ 390 w 457"/>
              <a:gd name="T27" fmla="*/ 109 h 688"/>
              <a:gd name="T28" fmla="*/ 390 w 457"/>
              <a:gd name="T29" fmla="*/ 60 h 688"/>
              <a:gd name="T30" fmla="*/ 384 w 457"/>
              <a:gd name="T31" fmla="*/ 34 h 688"/>
              <a:gd name="T32" fmla="*/ 335 w 457"/>
              <a:gd name="T33" fmla="*/ 0 h 688"/>
              <a:gd name="T34" fmla="*/ 141 w 457"/>
              <a:gd name="T35" fmla="*/ 0 h 688"/>
              <a:gd name="T36" fmla="*/ 62 w 457"/>
              <a:gd name="T37" fmla="*/ 0 h 688"/>
              <a:gd name="T38" fmla="*/ 38 w 457"/>
              <a:gd name="T39" fmla="*/ 0 h 688"/>
              <a:gd name="T40" fmla="*/ 0 w 457"/>
              <a:gd name="T41" fmla="*/ 43 h 688"/>
              <a:gd name="T42" fmla="*/ 0 w 457"/>
              <a:gd name="T43" fmla="*/ 246 h 688"/>
              <a:gd name="T44" fmla="*/ 0 w 457"/>
              <a:gd name="T45" fmla="*/ 421 h 688"/>
              <a:gd name="T46" fmla="*/ 0 w 457"/>
              <a:gd name="T47" fmla="*/ 536 h 688"/>
              <a:gd name="T48" fmla="*/ 0 w 457"/>
              <a:gd name="T49" fmla="*/ 622 h 688"/>
              <a:gd name="T50" fmla="*/ 0 w 457"/>
              <a:gd name="T51" fmla="*/ 649 h 688"/>
              <a:gd name="T52" fmla="*/ 47 w 457"/>
              <a:gd name="T53" fmla="*/ 688 h 688"/>
              <a:gd name="T54" fmla="*/ 243 w 457"/>
              <a:gd name="T55" fmla="*/ 688 h 688"/>
              <a:gd name="T56" fmla="*/ 320 w 457"/>
              <a:gd name="T57" fmla="*/ 688 h 688"/>
              <a:gd name="T58" fmla="*/ 346 w 457"/>
              <a:gd name="T59" fmla="*/ 686 h 688"/>
              <a:gd name="T60" fmla="*/ 390 w 457"/>
              <a:gd name="T61" fmla="*/ 639 h 688"/>
              <a:gd name="T62" fmla="*/ 390 w 457"/>
              <a:gd name="T63" fmla="*/ 493 h 688"/>
              <a:gd name="T64" fmla="*/ 390 w 457"/>
              <a:gd name="T65" fmla="*/ 433 h 688"/>
              <a:gd name="T66" fmla="*/ 376 w 457"/>
              <a:gd name="T67" fmla="*/ 421 h 688"/>
              <a:gd name="T68" fmla="*/ 352 w 457"/>
              <a:gd name="T69" fmla="*/ 421 h 688"/>
              <a:gd name="T70" fmla="*/ 264 w 457"/>
              <a:gd name="T71" fmla="*/ 399 h 688"/>
              <a:gd name="T72" fmla="*/ 303 w 457"/>
              <a:gd name="T73" fmla="*/ 32 h 688"/>
              <a:gd name="T74" fmla="*/ 318 w 457"/>
              <a:gd name="T75" fmla="*/ 51 h 688"/>
              <a:gd name="T76" fmla="*/ 297 w 457"/>
              <a:gd name="T77" fmla="*/ 55 h 688"/>
              <a:gd name="T78" fmla="*/ 299 w 457"/>
              <a:gd name="T79" fmla="*/ 32 h 688"/>
              <a:gd name="T80" fmla="*/ 190 w 457"/>
              <a:gd name="T81" fmla="*/ 38 h 688"/>
              <a:gd name="T82" fmla="*/ 245 w 457"/>
              <a:gd name="T83" fmla="*/ 38 h 688"/>
              <a:gd name="T84" fmla="*/ 262 w 457"/>
              <a:gd name="T85" fmla="*/ 47 h 688"/>
              <a:gd name="T86" fmla="*/ 217 w 457"/>
              <a:gd name="T87" fmla="*/ 53 h 688"/>
              <a:gd name="T88" fmla="*/ 151 w 457"/>
              <a:gd name="T89" fmla="*/ 53 h 688"/>
              <a:gd name="T90" fmla="*/ 128 w 457"/>
              <a:gd name="T91" fmla="*/ 53 h 688"/>
              <a:gd name="T92" fmla="*/ 200 w 457"/>
              <a:gd name="T93" fmla="*/ 634 h 688"/>
              <a:gd name="T94" fmla="*/ 139 w 457"/>
              <a:gd name="T95" fmla="*/ 634 h 688"/>
              <a:gd name="T96" fmla="*/ 134 w 457"/>
              <a:gd name="T97" fmla="*/ 613 h 688"/>
              <a:gd name="T98" fmla="*/ 155 w 457"/>
              <a:gd name="T99" fmla="*/ 598 h 688"/>
              <a:gd name="T100" fmla="*/ 226 w 457"/>
              <a:gd name="T101" fmla="*/ 598 h 688"/>
              <a:gd name="T102" fmla="*/ 256 w 457"/>
              <a:gd name="T103" fmla="*/ 598 h 6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57" h="688">
                <a:moveTo>
                  <a:pt x="352" y="560"/>
                </a:moveTo>
                <a:lnTo>
                  <a:pt x="296" y="560"/>
                </a:lnTo>
                <a:lnTo>
                  <a:pt x="249" y="560"/>
                </a:lnTo>
                <a:lnTo>
                  <a:pt x="205" y="560"/>
                </a:lnTo>
                <a:lnTo>
                  <a:pt x="170" y="560"/>
                </a:lnTo>
                <a:lnTo>
                  <a:pt x="139" y="560"/>
                </a:lnTo>
                <a:lnTo>
                  <a:pt x="113" y="560"/>
                </a:lnTo>
                <a:lnTo>
                  <a:pt x="92" y="560"/>
                </a:lnTo>
                <a:lnTo>
                  <a:pt x="77" y="560"/>
                </a:lnTo>
                <a:lnTo>
                  <a:pt x="64" y="560"/>
                </a:lnTo>
                <a:lnTo>
                  <a:pt x="53" y="560"/>
                </a:lnTo>
                <a:lnTo>
                  <a:pt x="47" y="560"/>
                </a:lnTo>
                <a:lnTo>
                  <a:pt x="42" y="560"/>
                </a:lnTo>
                <a:lnTo>
                  <a:pt x="38" y="560"/>
                </a:lnTo>
                <a:lnTo>
                  <a:pt x="38" y="560"/>
                </a:lnTo>
                <a:lnTo>
                  <a:pt x="38" y="517"/>
                </a:lnTo>
                <a:lnTo>
                  <a:pt x="38" y="476"/>
                </a:lnTo>
                <a:lnTo>
                  <a:pt x="38" y="438"/>
                </a:lnTo>
                <a:lnTo>
                  <a:pt x="38" y="402"/>
                </a:lnTo>
                <a:lnTo>
                  <a:pt x="38" y="371"/>
                </a:lnTo>
                <a:lnTo>
                  <a:pt x="38" y="340"/>
                </a:lnTo>
                <a:lnTo>
                  <a:pt x="38" y="312"/>
                </a:lnTo>
                <a:lnTo>
                  <a:pt x="38" y="286"/>
                </a:lnTo>
                <a:lnTo>
                  <a:pt x="38" y="261"/>
                </a:lnTo>
                <a:lnTo>
                  <a:pt x="38" y="239"/>
                </a:lnTo>
                <a:lnTo>
                  <a:pt x="38" y="220"/>
                </a:lnTo>
                <a:lnTo>
                  <a:pt x="38" y="201"/>
                </a:lnTo>
                <a:lnTo>
                  <a:pt x="38" y="169"/>
                </a:lnTo>
                <a:lnTo>
                  <a:pt x="38" y="145"/>
                </a:lnTo>
                <a:lnTo>
                  <a:pt x="38" y="124"/>
                </a:lnTo>
                <a:lnTo>
                  <a:pt x="38" y="109"/>
                </a:lnTo>
                <a:lnTo>
                  <a:pt x="38" y="100"/>
                </a:lnTo>
                <a:lnTo>
                  <a:pt x="38" y="92"/>
                </a:lnTo>
                <a:lnTo>
                  <a:pt x="38" y="89"/>
                </a:lnTo>
                <a:lnTo>
                  <a:pt x="38" y="87"/>
                </a:lnTo>
                <a:lnTo>
                  <a:pt x="38" y="85"/>
                </a:lnTo>
                <a:lnTo>
                  <a:pt x="92" y="85"/>
                </a:lnTo>
                <a:lnTo>
                  <a:pt x="141" y="85"/>
                </a:lnTo>
                <a:lnTo>
                  <a:pt x="183" y="85"/>
                </a:lnTo>
                <a:lnTo>
                  <a:pt x="218" y="85"/>
                </a:lnTo>
                <a:lnTo>
                  <a:pt x="250" y="85"/>
                </a:lnTo>
                <a:lnTo>
                  <a:pt x="275" y="85"/>
                </a:lnTo>
                <a:lnTo>
                  <a:pt x="296" y="85"/>
                </a:lnTo>
                <a:lnTo>
                  <a:pt x="312" y="85"/>
                </a:lnTo>
                <a:lnTo>
                  <a:pt x="326" y="85"/>
                </a:lnTo>
                <a:lnTo>
                  <a:pt x="335" y="85"/>
                </a:lnTo>
                <a:lnTo>
                  <a:pt x="343" y="85"/>
                </a:lnTo>
                <a:lnTo>
                  <a:pt x="346" y="85"/>
                </a:lnTo>
                <a:lnTo>
                  <a:pt x="352" y="85"/>
                </a:lnTo>
                <a:lnTo>
                  <a:pt x="352" y="85"/>
                </a:lnTo>
                <a:lnTo>
                  <a:pt x="352" y="104"/>
                </a:lnTo>
                <a:lnTo>
                  <a:pt x="352" y="119"/>
                </a:lnTo>
                <a:lnTo>
                  <a:pt x="352" y="132"/>
                </a:lnTo>
                <a:lnTo>
                  <a:pt x="352" y="143"/>
                </a:lnTo>
                <a:lnTo>
                  <a:pt x="352" y="162"/>
                </a:lnTo>
                <a:lnTo>
                  <a:pt x="352" y="173"/>
                </a:lnTo>
                <a:lnTo>
                  <a:pt x="352" y="181"/>
                </a:lnTo>
                <a:lnTo>
                  <a:pt x="352" y="184"/>
                </a:lnTo>
                <a:lnTo>
                  <a:pt x="352" y="186"/>
                </a:lnTo>
                <a:lnTo>
                  <a:pt x="352" y="186"/>
                </a:lnTo>
                <a:lnTo>
                  <a:pt x="363" y="186"/>
                </a:lnTo>
                <a:lnTo>
                  <a:pt x="373" y="186"/>
                </a:lnTo>
                <a:lnTo>
                  <a:pt x="380" y="186"/>
                </a:lnTo>
                <a:lnTo>
                  <a:pt x="384" y="186"/>
                </a:lnTo>
                <a:lnTo>
                  <a:pt x="388" y="186"/>
                </a:lnTo>
                <a:lnTo>
                  <a:pt x="390" y="186"/>
                </a:lnTo>
                <a:lnTo>
                  <a:pt x="390" y="164"/>
                </a:lnTo>
                <a:lnTo>
                  <a:pt x="390" y="143"/>
                </a:lnTo>
                <a:lnTo>
                  <a:pt x="390" y="124"/>
                </a:lnTo>
                <a:lnTo>
                  <a:pt x="390" y="109"/>
                </a:lnTo>
                <a:lnTo>
                  <a:pt x="390" y="96"/>
                </a:lnTo>
                <a:lnTo>
                  <a:pt x="390" y="85"/>
                </a:lnTo>
                <a:lnTo>
                  <a:pt x="390" y="77"/>
                </a:lnTo>
                <a:lnTo>
                  <a:pt x="390" y="70"/>
                </a:lnTo>
                <a:lnTo>
                  <a:pt x="390" y="60"/>
                </a:lnTo>
                <a:lnTo>
                  <a:pt x="390" y="55"/>
                </a:lnTo>
                <a:lnTo>
                  <a:pt x="390" y="53"/>
                </a:lnTo>
                <a:lnTo>
                  <a:pt x="390" y="53"/>
                </a:lnTo>
                <a:lnTo>
                  <a:pt x="388" y="43"/>
                </a:lnTo>
                <a:lnTo>
                  <a:pt x="384" y="34"/>
                </a:lnTo>
                <a:lnTo>
                  <a:pt x="373" y="17"/>
                </a:lnTo>
                <a:lnTo>
                  <a:pt x="365" y="10"/>
                </a:lnTo>
                <a:lnTo>
                  <a:pt x="356" y="4"/>
                </a:lnTo>
                <a:lnTo>
                  <a:pt x="346" y="0"/>
                </a:lnTo>
                <a:lnTo>
                  <a:pt x="335" y="0"/>
                </a:lnTo>
                <a:lnTo>
                  <a:pt x="284" y="0"/>
                </a:lnTo>
                <a:lnTo>
                  <a:pt x="241" y="0"/>
                </a:lnTo>
                <a:lnTo>
                  <a:pt x="202" y="0"/>
                </a:lnTo>
                <a:lnTo>
                  <a:pt x="170" y="0"/>
                </a:lnTo>
                <a:lnTo>
                  <a:pt x="141" y="0"/>
                </a:lnTo>
                <a:lnTo>
                  <a:pt x="119" y="0"/>
                </a:lnTo>
                <a:lnTo>
                  <a:pt x="100" y="0"/>
                </a:lnTo>
                <a:lnTo>
                  <a:pt x="85" y="0"/>
                </a:lnTo>
                <a:lnTo>
                  <a:pt x="72" y="0"/>
                </a:lnTo>
                <a:lnTo>
                  <a:pt x="62" y="0"/>
                </a:lnTo>
                <a:lnTo>
                  <a:pt x="57" y="0"/>
                </a:lnTo>
                <a:lnTo>
                  <a:pt x="53" y="0"/>
                </a:lnTo>
                <a:lnTo>
                  <a:pt x="49" y="0"/>
                </a:lnTo>
                <a:lnTo>
                  <a:pt x="47" y="0"/>
                </a:lnTo>
                <a:lnTo>
                  <a:pt x="38" y="0"/>
                </a:lnTo>
                <a:lnTo>
                  <a:pt x="29" y="4"/>
                </a:lnTo>
                <a:lnTo>
                  <a:pt x="21" y="10"/>
                </a:lnTo>
                <a:lnTo>
                  <a:pt x="14" y="17"/>
                </a:lnTo>
                <a:lnTo>
                  <a:pt x="4" y="34"/>
                </a:lnTo>
                <a:lnTo>
                  <a:pt x="0" y="43"/>
                </a:lnTo>
                <a:lnTo>
                  <a:pt x="0" y="53"/>
                </a:lnTo>
                <a:lnTo>
                  <a:pt x="0" y="107"/>
                </a:lnTo>
                <a:lnTo>
                  <a:pt x="0" y="156"/>
                </a:lnTo>
                <a:lnTo>
                  <a:pt x="0" y="203"/>
                </a:lnTo>
                <a:lnTo>
                  <a:pt x="0" y="246"/>
                </a:lnTo>
                <a:lnTo>
                  <a:pt x="0" y="288"/>
                </a:lnTo>
                <a:lnTo>
                  <a:pt x="0" y="325"/>
                </a:lnTo>
                <a:lnTo>
                  <a:pt x="0" y="359"/>
                </a:lnTo>
                <a:lnTo>
                  <a:pt x="0" y="393"/>
                </a:lnTo>
                <a:lnTo>
                  <a:pt x="0" y="421"/>
                </a:lnTo>
                <a:lnTo>
                  <a:pt x="0" y="449"/>
                </a:lnTo>
                <a:lnTo>
                  <a:pt x="0" y="474"/>
                </a:lnTo>
                <a:lnTo>
                  <a:pt x="0" y="496"/>
                </a:lnTo>
                <a:lnTo>
                  <a:pt x="0" y="517"/>
                </a:lnTo>
                <a:lnTo>
                  <a:pt x="0" y="536"/>
                </a:lnTo>
                <a:lnTo>
                  <a:pt x="0" y="551"/>
                </a:lnTo>
                <a:lnTo>
                  <a:pt x="0" y="566"/>
                </a:lnTo>
                <a:lnTo>
                  <a:pt x="0" y="590"/>
                </a:lnTo>
                <a:lnTo>
                  <a:pt x="0" y="609"/>
                </a:lnTo>
                <a:lnTo>
                  <a:pt x="0" y="622"/>
                </a:lnTo>
                <a:lnTo>
                  <a:pt x="0" y="630"/>
                </a:lnTo>
                <a:lnTo>
                  <a:pt x="0" y="636"/>
                </a:lnTo>
                <a:lnTo>
                  <a:pt x="0" y="639"/>
                </a:lnTo>
                <a:lnTo>
                  <a:pt x="0" y="639"/>
                </a:lnTo>
                <a:lnTo>
                  <a:pt x="0" y="649"/>
                </a:lnTo>
                <a:lnTo>
                  <a:pt x="4" y="658"/>
                </a:lnTo>
                <a:lnTo>
                  <a:pt x="14" y="673"/>
                </a:lnTo>
                <a:lnTo>
                  <a:pt x="29" y="685"/>
                </a:lnTo>
                <a:lnTo>
                  <a:pt x="38" y="686"/>
                </a:lnTo>
                <a:lnTo>
                  <a:pt x="47" y="688"/>
                </a:lnTo>
                <a:lnTo>
                  <a:pt x="98" y="688"/>
                </a:lnTo>
                <a:lnTo>
                  <a:pt x="143" y="688"/>
                </a:lnTo>
                <a:lnTo>
                  <a:pt x="181" y="688"/>
                </a:lnTo>
                <a:lnTo>
                  <a:pt x="215" y="688"/>
                </a:lnTo>
                <a:lnTo>
                  <a:pt x="243" y="688"/>
                </a:lnTo>
                <a:lnTo>
                  <a:pt x="265" y="688"/>
                </a:lnTo>
                <a:lnTo>
                  <a:pt x="284" y="688"/>
                </a:lnTo>
                <a:lnTo>
                  <a:pt x="299" y="688"/>
                </a:lnTo>
                <a:lnTo>
                  <a:pt x="312" y="688"/>
                </a:lnTo>
                <a:lnTo>
                  <a:pt x="320" y="688"/>
                </a:lnTo>
                <a:lnTo>
                  <a:pt x="327" y="688"/>
                </a:lnTo>
                <a:lnTo>
                  <a:pt x="331" y="688"/>
                </a:lnTo>
                <a:lnTo>
                  <a:pt x="335" y="688"/>
                </a:lnTo>
                <a:lnTo>
                  <a:pt x="335" y="688"/>
                </a:lnTo>
                <a:lnTo>
                  <a:pt x="346" y="686"/>
                </a:lnTo>
                <a:lnTo>
                  <a:pt x="356" y="685"/>
                </a:lnTo>
                <a:lnTo>
                  <a:pt x="373" y="673"/>
                </a:lnTo>
                <a:lnTo>
                  <a:pt x="384" y="658"/>
                </a:lnTo>
                <a:lnTo>
                  <a:pt x="388" y="649"/>
                </a:lnTo>
                <a:lnTo>
                  <a:pt x="390" y="639"/>
                </a:lnTo>
                <a:lnTo>
                  <a:pt x="390" y="602"/>
                </a:lnTo>
                <a:lnTo>
                  <a:pt x="390" y="568"/>
                </a:lnTo>
                <a:lnTo>
                  <a:pt x="390" y="538"/>
                </a:lnTo>
                <a:lnTo>
                  <a:pt x="390" y="513"/>
                </a:lnTo>
                <a:lnTo>
                  <a:pt x="390" y="493"/>
                </a:lnTo>
                <a:lnTo>
                  <a:pt x="390" y="474"/>
                </a:lnTo>
                <a:lnTo>
                  <a:pt x="390" y="461"/>
                </a:lnTo>
                <a:lnTo>
                  <a:pt x="390" y="448"/>
                </a:lnTo>
                <a:lnTo>
                  <a:pt x="390" y="440"/>
                </a:lnTo>
                <a:lnTo>
                  <a:pt x="390" y="433"/>
                </a:lnTo>
                <a:lnTo>
                  <a:pt x="390" y="427"/>
                </a:lnTo>
                <a:lnTo>
                  <a:pt x="390" y="425"/>
                </a:lnTo>
                <a:lnTo>
                  <a:pt x="390" y="421"/>
                </a:lnTo>
                <a:lnTo>
                  <a:pt x="390" y="421"/>
                </a:lnTo>
                <a:lnTo>
                  <a:pt x="376" y="421"/>
                </a:lnTo>
                <a:lnTo>
                  <a:pt x="367" y="421"/>
                </a:lnTo>
                <a:lnTo>
                  <a:pt x="361" y="421"/>
                </a:lnTo>
                <a:lnTo>
                  <a:pt x="356" y="421"/>
                </a:lnTo>
                <a:lnTo>
                  <a:pt x="352" y="421"/>
                </a:lnTo>
                <a:lnTo>
                  <a:pt x="352" y="421"/>
                </a:lnTo>
                <a:lnTo>
                  <a:pt x="352" y="560"/>
                </a:lnTo>
                <a:close/>
                <a:moveTo>
                  <a:pt x="166" y="399"/>
                </a:moveTo>
                <a:lnTo>
                  <a:pt x="202" y="399"/>
                </a:lnTo>
                <a:lnTo>
                  <a:pt x="166" y="480"/>
                </a:lnTo>
                <a:lnTo>
                  <a:pt x="264" y="399"/>
                </a:lnTo>
                <a:lnTo>
                  <a:pt x="457" y="399"/>
                </a:lnTo>
                <a:lnTo>
                  <a:pt x="457" y="201"/>
                </a:lnTo>
                <a:lnTo>
                  <a:pt x="166" y="201"/>
                </a:lnTo>
                <a:lnTo>
                  <a:pt x="166" y="399"/>
                </a:lnTo>
                <a:close/>
                <a:moveTo>
                  <a:pt x="303" y="32"/>
                </a:moveTo>
                <a:lnTo>
                  <a:pt x="309" y="32"/>
                </a:lnTo>
                <a:lnTo>
                  <a:pt x="314" y="36"/>
                </a:lnTo>
                <a:lnTo>
                  <a:pt x="318" y="42"/>
                </a:lnTo>
                <a:lnTo>
                  <a:pt x="320" y="47"/>
                </a:lnTo>
                <a:lnTo>
                  <a:pt x="318" y="51"/>
                </a:lnTo>
                <a:lnTo>
                  <a:pt x="314" y="55"/>
                </a:lnTo>
                <a:lnTo>
                  <a:pt x="309" y="57"/>
                </a:lnTo>
                <a:lnTo>
                  <a:pt x="303" y="58"/>
                </a:lnTo>
                <a:lnTo>
                  <a:pt x="299" y="57"/>
                </a:lnTo>
                <a:lnTo>
                  <a:pt x="297" y="55"/>
                </a:lnTo>
                <a:lnTo>
                  <a:pt x="294" y="51"/>
                </a:lnTo>
                <a:lnTo>
                  <a:pt x="294" y="47"/>
                </a:lnTo>
                <a:lnTo>
                  <a:pt x="294" y="42"/>
                </a:lnTo>
                <a:lnTo>
                  <a:pt x="297" y="36"/>
                </a:lnTo>
                <a:lnTo>
                  <a:pt x="299" y="32"/>
                </a:lnTo>
                <a:lnTo>
                  <a:pt x="303" y="32"/>
                </a:lnTo>
                <a:close/>
                <a:moveTo>
                  <a:pt x="128" y="38"/>
                </a:moveTo>
                <a:lnTo>
                  <a:pt x="151" y="38"/>
                </a:lnTo>
                <a:lnTo>
                  <a:pt x="171" y="38"/>
                </a:lnTo>
                <a:lnTo>
                  <a:pt x="190" y="38"/>
                </a:lnTo>
                <a:lnTo>
                  <a:pt x="205" y="38"/>
                </a:lnTo>
                <a:lnTo>
                  <a:pt x="218" y="38"/>
                </a:lnTo>
                <a:lnTo>
                  <a:pt x="228" y="38"/>
                </a:lnTo>
                <a:lnTo>
                  <a:pt x="237" y="38"/>
                </a:lnTo>
                <a:lnTo>
                  <a:pt x="245" y="38"/>
                </a:lnTo>
                <a:lnTo>
                  <a:pt x="254" y="38"/>
                </a:lnTo>
                <a:lnTo>
                  <a:pt x="260" y="38"/>
                </a:lnTo>
                <a:lnTo>
                  <a:pt x="262" y="38"/>
                </a:lnTo>
                <a:lnTo>
                  <a:pt x="262" y="38"/>
                </a:lnTo>
                <a:lnTo>
                  <a:pt x="262" y="47"/>
                </a:lnTo>
                <a:lnTo>
                  <a:pt x="262" y="51"/>
                </a:lnTo>
                <a:lnTo>
                  <a:pt x="262" y="53"/>
                </a:lnTo>
                <a:lnTo>
                  <a:pt x="262" y="53"/>
                </a:lnTo>
                <a:lnTo>
                  <a:pt x="237" y="53"/>
                </a:lnTo>
                <a:lnTo>
                  <a:pt x="217" y="53"/>
                </a:lnTo>
                <a:lnTo>
                  <a:pt x="200" y="53"/>
                </a:lnTo>
                <a:lnTo>
                  <a:pt x="185" y="53"/>
                </a:lnTo>
                <a:lnTo>
                  <a:pt x="171" y="53"/>
                </a:lnTo>
                <a:lnTo>
                  <a:pt x="160" y="53"/>
                </a:lnTo>
                <a:lnTo>
                  <a:pt x="151" y="53"/>
                </a:lnTo>
                <a:lnTo>
                  <a:pt x="145" y="53"/>
                </a:lnTo>
                <a:lnTo>
                  <a:pt x="136" y="53"/>
                </a:lnTo>
                <a:lnTo>
                  <a:pt x="130" y="53"/>
                </a:lnTo>
                <a:lnTo>
                  <a:pt x="128" y="53"/>
                </a:lnTo>
                <a:lnTo>
                  <a:pt x="128" y="53"/>
                </a:lnTo>
                <a:lnTo>
                  <a:pt x="128" y="38"/>
                </a:lnTo>
                <a:close/>
                <a:moveTo>
                  <a:pt x="256" y="634"/>
                </a:moveTo>
                <a:lnTo>
                  <a:pt x="233" y="634"/>
                </a:lnTo>
                <a:lnTo>
                  <a:pt x="215" y="634"/>
                </a:lnTo>
                <a:lnTo>
                  <a:pt x="200" y="634"/>
                </a:lnTo>
                <a:lnTo>
                  <a:pt x="185" y="634"/>
                </a:lnTo>
                <a:lnTo>
                  <a:pt x="173" y="634"/>
                </a:lnTo>
                <a:lnTo>
                  <a:pt x="164" y="634"/>
                </a:lnTo>
                <a:lnTo>
                  <a:pt x="149" y="634"/>
                </a:lnTo>
                <a:lnTo>
                  <a:pt x="139" y="634"/>
                </a:lnTo>
                <a:lnTo>
                  <a:pt x="136" y="634"/>
                </a:lnTo>
                <a:lnTo>
                  <a:pt x="134" y="634"/>
                </a:lnTo>
                <a:lnTo>
                  <a:pt x="134" y="634"/>
                </a:lnTo>
                <a:lnTo>
                  <a:pt x="134" y="622"/>
                </a:lnTo>
                <a:lnTo>
                  <a:pt x="134" y="613"/>
                </a:lnTo>
                <a:lnTo>
                  <a:pt x="134" y="606"/>
                </a:lnTo>
                <a:lnTo>
                  <a:pt x="134" y="602"/>
                </a:lnTo>
                <a:lnTo>
                  <a:pt x="134" y="598"/>
                </a:lnTo>
                <a:lnTo>
                  <a:pt x="134" y="598"/>
                </a:lnTo>
                <a:lnTo>
                  <a:pt x="155" y="598"/>
                </a:lnTo>
                <a:lnTo>
                  <a:pt x="173" y="598"/>
                </a:lnTo>
                <a:lnTo>
                  <a:pt x="190" y="598"/>
                </a:lnTo>
                <a:lnTo>
                  <a:pt x="203" y="598"/>
                </a:lnTo>
                <a:lnTo>
                  <a:pt x="217" y="598"/>
                </a:lnTo>
                <a:lnTo>
                  <a:pt x="226" y="598"/>
                </a:lnTo>
                <a:lnTo>
                  <a:pt x="241" y="598"/>
                </a:lnTo>
                <a:lnTo>
                  <a:pt x="249" y="598"/>
                </a:lnTo>
                <a:lnTo>
                  <a:pt x="254" y="598"/>
                </a:lnTo>
                <a:lnTo>
                  <a:pt x="256" y="598"/>
                </a:lnTo>
                <a:lnTo>
                  <a:pt x="256" y="598"/>
                </a:lnTo>
                <a:lnTo>
                  <a:pt x="256" y="634"/>
                </a:lnTo>
                <a:close/>
              </a:path>
            </a:pathLst>
          </a:custGeom>
          <a:solidFill>
            <a:schemeClr val="accent1"/>
          </a:solidFill>
          <a:ln>
            <a:noFill/>
          </a:ln>
        </p:spPr>
        <p:txBody>
          <a:bodyPr vert="horz" wrap="square" lIns="91299" tIns="45649" rIns="91299" bIns="4564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98" b="0" i="0" u="none" strike="noStrike" kern="1200" cap="none" spc="0" normalizeH="0" baseline="0" noProof="0">
              <a:ln>
                <a:noFill/>
              </a:ln>
              <a:solidFill>
                <a:srgbClr val="3F3F3F"/>
              </a:solidFill>
              <a:effectLst/>
              <a:uLnTx/>
              <a:uFillTx/>
              <a:latin typeface="HarmonyOS Sans SC"/>
              <a:cs typeface="+mn-cs"/>
            </a:endParaRPr>
          </a:p>
        </p:txBody>
      </p:sp>
      <p:sp>
        <p:nvSpPr>
          <p:cNvPr id="26" name="Freeform 357">
            <a:extLst>
              <a:ext uri="{FF2B5EF4-FFF2-40B4-BE49-F238E27FC236}">
                <a16:creationId xmlns:a16="http://schemas.microsoft.com/office/drawing/2014/main" id="{6C22838F-D60F-4712-84D3-932EBB2B46EE}"/>
              </a:ext>
            </a:extLst>
          </p:cNvPr>
          <p:cNvSpPr>
            <a:spLocks noEditPoints="1"/>
          </p:cNvSpPr>
          <p:nvPr/>
        </p:nvSpPr>
        <p:spPr bwMode="auto">
          <a:xfrm>
            <a:off x="3484910" y="2324189"/>
            <a:ext cx="244461" cy="246566"/>
          </a:xfrm>
          <a:custGeom>
            <a:avLst/>
            <a:gdLst>
              <a:gd name="T0" fmla="*/ 497 w 612"/>
              <a:gd name="T1" fmla="*/ 249 h 612"/>
              <a:gd name="T2" fmla="*/ 497 w 612"/>
              <a:gd name="T3" fmla="*/ 220 h 612"/>
              <a:gd name="T4" fmla="*/ 497 w 612"/>
              <a:gd name="T5" fmla="*/ 115 h 612"/>
              <a:gd name="T6" fmla="*/ 114 w 612"/>
              <a:gd name="T7" fmla="*/ 115 h 612"/>
              <a:gd name="T8" fmla="*/ 114 w 612"/>
              <a:gd name="T9" fmla="*/ 220 h 612"/>
              <a:gd name="T10" fmla="*/ 114 w 612"/>
              <a:gd name="T11" fmla="*/ 249 h 612"/>
              <a:gd name="T12" fmla="*/ 114 w 612"/>
              <a:gd name="T13" fmla="*/ 411 h 612"/>
              <a:gd name="T14" fmla="*/ 497 w 612"/>
              <a:gd name="T15" fmla="*/ 411 h 612"/>
              <a:gd name="T16" fmla="*/ 497 w 612"/>
              <a:gd name="T17" fmla="*/ 249 h 612"/>
              <a:gd name="T18" fmla="*/ 583 w 612"/>
              <a:gd name="T19" fmla="*/ 115 h 612"/>
              <a:gd name="T20" fmla="*/ 554 w 612"/>
              <a:gd name="T21" fmla="*/ 115 h 612"/>
              <a:gd name="T22" fmla="*/ 554 w 612"/>
              <a:gd name="T23" fmla="*/ 278 h 612"/>
              <a:gd name="T24" fmla="*/ 554 w 612"/>
              <a:gd name="T25" fmla="*/ 411 h 612"/>
              <a:gd name="T26" fmla="*/ 554 w 612"/>
              <a:gd name="T27" fmla="*/ 440 h 612"/>
              <a:gd name="T28" fmla="*/ 526 w 612"/>
              <a:gd name="T29" fmla="*/ 469 h 612"/>
              <a:gd name="T30" fmla="*/ 375 w 612"/>
              <a:gd name="T31" fmla="*/ 469 h 612"/>
              <a:gd name="T32" fmla="*/ 469 w 612"/>
              <a:gd name="T33" fmla="*/ 563 h 612"/>
              <a:gd name="T34" fmla="*/ 478 w 612"/>
              <a:gd name="T35" fmla="*/ 584 h 612"/>
              <a:gd name="T36" fmla="*/ 449 w 612"/>
              <a:gd name="T37" fmla="*/ 612 h 612"/>
              <a:gd name="T38" fmla="*/ 429 w 612"/>
              <a:gd name="T39" fmla="*/ 604 h 612"/>
              <a:gd name="T40" fmla="*/ 334 w 612"/>
              <a:gd name="T41" fmla="*/ 509 h 612"/>
              <a:gd name="T42" fmla="*/ 334 w 612"/>
              <a:gd name="T43" fmla="*/ 584 h 612"/>
              <a:gd name="T44" fmla="*/ 306 w 612"/>
              <a:gd name="T45" fmla="*/ 612 h 612"/>
              <a:gd name="T46" fmla="*/ 277 w 612"/>
              <a:gd name="T47" fmla="*/ 584 h 612"/>
              <a:gd name="T48" fmla="*/ 277 w 612"/>
              <a:gd name="T49" fmla="*/ 509 h 612"/>
              <a:gd name="T50" fmla="*/ 182 w 612"/>
              <a:gd name="T51" fmla="*/ 604 h 612"/>
              <a:gd name="T52" fmla="*/ 162 w 612"/>
              <a:gd name="T53" fmla="*/ 612 h 612"/>
              <a:gd name="T54" fmla="*/ 133 w 612"/>
              <a:gd name="T55" fmla="*/ 584 h 612"/>
              <a:gd name="T56" fmla="*/ 142 w 612"/>
              <a:gd name="T57" fmla="*/ 563 h 612"/>
              <a:gd name="T58" fmla="*/ 236 w 612"/>
              <a:gd name="T59" fmla="*/ 469 h 612"/>
              <a:gd name="T60" fmla="*/ 86 w 612"/>
              <a:gd name="T61" fmla="*/ 469 h 612"/>
              <a:gd name="T62" fmla="*/ 57 w 612"/>
              <a:gd name="T63" fmla="*/ 440 h 612"/>
              <a:gd name="T64" fmla="*/ 57 w 612"/>
              <a:gd name="T65" fmla="*/ 411 h 612"/>
              <a:gd name="T66" fmla="*/ 57 w 612"/>
              <a:gd name="T67" fmla="*/ 278 h 612"/>
              <a:gd name="T68" fmla="*/ 57 w 612"/>
              <a:gd name="T69" fmla="*/ 115 h 612"/>
              <a:gd name="T70" fmla="*/ 28 w 612"/>
              <a:gd name="T71" fmla="*/ 115 h 612"/>
              <a:gd name="T72" fmla="*/ 0 w 612"/>
              <a:gd name="T73" fmla="*/ 86 h 612"/>
              <a:gd name="T74" fmla="*/ 28 w 612"/>
              <a:gd name="T75" fmla="*/ 57 h 612"/>
              <a:gd name="T76" fmla="*/ 277 w 612"/>
              <a:gd name="T77" fmla="*/ 57 h 612"/>
              <a:gd name="T78" fmla="*/ 277 w 612"/>
              <a:gd name="T79" fmla="*/ 29 h 612"/>
              <a:gd name="T80" fmla="*/ 306 w 612"/>
              <a:gd name="T81" fmla="*/ 0 h 612"/>
              <a:gd name="T82" fmla="*/ 334 w 612"/>
              <a:gd name="T83" fmla="*/ 29 h 612"/>
              <a:gd name="T84" fmla="*/ 334 w 612"/>
              <a:gd name="T85" fmla="*/ 57 h 612"/>
              <a:gd name="T86" fmla="*/ 583 w 612"/>
              <a:gd name="T87" fmla="*/ 57 h 612"/>
              <a:gd name="T88" fmla="*/ 612 w 612"/>
              <a:gd name="T89" fmla="*/ 86 h 612"/>
              <a:gd name="T90" fmla="*/ 583 w 612"/>
              <a:gd name="T91" fmla="*/ 115 h 6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612" h="612">
                <a:moveTo>
                  <a:pt x="497" y="249"/>
                </a:moveTo>
                <a:lnTo>
                  <a:pt x="497" y="220"/>
                </a:lnTo>
                <a:lnTo>
                  <a:pt x="497" y="115"/>
                </a:lnTo>
                <a:lnTo>
                  <a:pt x="114" y="115"/>
                </a:lnTo>
                <a:lnTo>
                  <a:pt x="114" y="220"/>
                </a:lnTo>
                <a:lnTo>
                  <a:pt x="114" y="249"/>
                </a:lnTo>
                <a:lnTo>
                  <a:pt x="114" y="411"/>
                </a:lnTo>
                <a:lnTo>
                  <a:pt x="497" y="411"/>
                </a:lnTo>
                <a:lnTo>
                  <a:pt x="497" y="249"/>
                </a:lnTo>
                <a:close/>
                <a:moveTo>
                  <a:pt x="583" y="115"/>
                </a:moveTo>
                <a:lnTo>
                  <a:pt x="554" y="115"/>
                </a:lnTo>
                <a:lnTo>
                  <a:pt x="554" y="278"/>
                </a:lnTo>
                <a:lnTo>
                  <a:pt x="554" y="411"/>
                </a:lnTo>
                <a:lnTo>
                  <a:pt x="554" y="440"/>
                </a:lnTo>
                <a:cubicBezTo>
                  <a:pt x="554" y="456"/>
                  <a:pt x="541" y="469"/>
                  <a:pt x="526" y="469"/>
                </a:cubicBezTo>
                <a:lnTo>
                  <a:pt x="375" y="469"/>
                </a:lnTo>
                <a:lnTo>
                  <a:pt x="469" y="563"/>
                </a:lnTo>
                <a:cubicBezTo>
                  <a:pt x="475" y="569"/>
                  <a:pt x="478" y="576"/>
                  <a:pt x="478" y="584"/>
                </a:cubicBezTo>
                <a:cubicBezTo>
                  <a:pt x="478" y="600"/>
                  <a:pt x="465" y="612"/>
                  <a:pt x="449" y="612"/>
                </a:cubicBezTo>
                <a:cubicBezTo>
                  <a:pt x="441" y="612"/>
                  <a:pt x="434" y="609"/>
                  <a:pt x="429" y="604"/>
                </a:cubicBezTo>
                <a:lnTo>
                  <a:pt x="334" y="509"/>
                </a:lnTo>
                <a:lnTo>
                  <a:pt x="334" y="584"/>
                </a:lnTo>
                <a:cubicBezTo>
                  <a:pt x="334" y="600"/>
                  <a:pt x="321" y="612"/>
                  <a:pt x="306" y="612"/>
                </a:cubicBezTo>
                <a:cubicBezTo>
                  <a:pt x="290" y="612"/>
                  <a:pt x="277" y="600"/>
                  <a:pt x="277" y="584"/>
                </a:cubicBezTo>
                <a:lnTo>
                  <a:pt x="277" y="509"/>
                </a:lnTo>
                <a:lnTo>
                  <a:pt x="182" y="604"/>
                </a:lnTo>
                <a:cubicBezTo>
                  <a:pt x="177" y="609"/>
                  <a:pt x="170" y="612"/>
                  <a:pt x="162" y="612"/>
                </a:cubicBezTo>
                <a:cubicBezTo>
                  <a:pt x="146" y="612"/>
                  <a:pt x="133" y="600"/>
                  <a:pt x="133" y="584"/>
                </a:cubicBezTo>
                <a:cubicBezTo>
                  <a:pt x="133" y="576"/>
                  <a:pt x="137" y="569"/>
                  <a:pt x="142" y="563"/>
                </a:cubicBezTo>
                <a:lnTo>
                  <a:pt x="236" y="469"/>
                </a:lnTo>
                <a:lnTo>
                  <a:pt x="86" y="469"/>
                </a:lnTo>
                <a:cubicBezTo>
                  <a:pt x="70" y="469"/>
                  <a:pt x="57" y="456"/>
                  <a:pt x="57" y="440"/>
                </a:cubicBezTo>
                <a:lnTo>
                  <a:pt x="57" y="411"/>
                </a:lnTo>
                <a:lnTo>
                  <a:pt x="57" y="278"/>
                </a:lnTo>
                <a:lnTo>
                  <a:pt x="57" y="115"/>
                </a:lnTo>
                <a:lnTo>
                  <a:pt x="28" y="115"/>
                </a:lnTo>
                <a:cubicBezTo>
                  <a:pt x="12" y="115"/>
                  <a:pt x="0" y="102"/>
                  <a:pt x="0" y="86"/>
                </a:cubicBezTo>
                <a:cubicBezTo>
                  <a:pt x="0" y="70"/>
                  <a:pt x="12" y="57"/>
                  <a:pt x="28" y="57"/>
                </a:cubicBezTo>
                <a:lnTo>
                  <a:pt x="277" y="57"/>
                </a:lnTo>
                <a:lnTo>
                  <a:pt x="277" y="29"/>
                </a:lnTo>
                <a:cubicBezTo>
                  <a:pt x="277" y="13"/>
                  <a:pt x="290" y="0"/>
                  <a:pt x="306" y="0"/>
                </a:cubicBezTo>
                <a:cubicBezTo>
                  <a:pt x="321" y="0"/>
                  <a:pt x="334" y="13"/>
                  <a:pt x="334" y="29"/>
                </a:cubicBezTo>
                <a:lnTo>
                  <a:pt x="334" y="57"/>
                </a:lnTo>
                <a:lnTo>
                  <a:pt x="583" y="57"/>
                </a:lnTo>
                <a:cubicBezTo>
                  <a:pt x="599" y="57"/>
                  <a:pt x="612" y="70"/>
                  <a:pt x="612" y="86"/>
                </a:cubicBezTo>
                <a:cubicBezTo>
                  <a:pt x="612" y="102"/>
                  <a:pt x="599" y="115"/>
                  <a:pt x="583" y="115"/>
                </a:cubicBezTo>
                <a:close/>
              </a:path>
            </a:pathLst>
          </a:custGeom>
          <a:solidFill>
            <a:schemeClr val="accent1"/>
          </a:solidFill>
          <a:ln>
            <a:noFill/>
          </a:ln>
        </p:spPr>
        <p:txBody>
          <a:bodyPr vert="horz" wrap="square" lIns="91299" tIns="45649" rIns="91299" bIns="4564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98" b="0" i="0" u="none" strike="noStrike" kern="1200" cap="none" spc="0" normalizeH="0" baseline="0" noProof="0">
              <a:ln>
                <a:noFill/>
              </a:ln>
              <a:solidFill>
                <a:srgbClr val="3F3F3F"/>
              </a:solidFill>
              <a:effectLst/>
              <a:uLnTx/>
              <a:uFillTx/>
              <a:latin typeface="HarmonyOS Sans SC"/>
              <a:cs typeface="+mn-cs"/>
            </a:endParaRPr>
          </a:p>
        </p:txBody>
      </p:sp>
      <p:sp>
        <p:nvSpPr>
          <p:cNvPr id="33" name="文本框 32">
            <a:extLst>
              <a:ext uri="{FF2B5EF4-FFF2-40B4-BE49-F238E27FC236}">
                <a16:creationId xmlns:a16="http://schemas.microsoft.com/office/drawing/2014/main" id="{7714165D-211A-4F23-9DE0-D891A7582AF2}"/>
              </a:ext>
            </a:extLst>
          </p:cNvPr>
          <p:cNvSpPr txBox="1"/>
          <p:nvPr/>
        </p:nvSpPr>
        <p:spPr>
          <a:xfrm>
            <a:off x="4608253" y="918105"/>
            <a:ext cx="2975495" cy="52322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2800" b="0" i="0" u="none" strike="noStrike" kern="1200" cap="none" spc="0" normalizeH="0" baseline="0" noProof="0" dirty="0">
                <a:ln>
                  <a:noFill/>
                </a:ln>
                <a:solidFill>
                  <a:prstClr val="black"/>
                </a:solidFill>
                <a:effectLst/>
                <a:uLnTx/>
                <a:uFillTx/>
                <a:latin typeface="HarmonyOS Sans SC Black"/>
                <a:ea typeface="+mj-ea"/>
                <a:cs typeface="+mn-cs"/>
              </a:rPr>
              <a:t>Our </a:t>
            </a:r>
            <a:r>
              <a:rPr kumimoji="0" lang="en-US" altLang="zh-CN" sz="2800" b="0" i="0" u="none" strike="noStrike" kern="1200" cap="none" spc="0" normalizeH="0" baseline="0" noProof="0" dirty="0">
                <a:ln>
                  <a:noFill/>
                </a:ln>
                <a:solidFill>
                  <a:schemeClr val="accent1"/>
                </a:solidFill>
                <a:effectLst/>
                <a:uLnTx/>
                <a:uFillTx/>
                <a:latin typeface="HarmonyOS Sans SC Black"/>
                <a:ea typeface="+mj-ea"/>
                <a:cs typeface="+mn-cs"/>
              </a:rPr>
              <a:t>Infographic</a:t>
            </a:r>
          </a:p>
        </p:txBody>
      </p:sp>
      <p:sp>
        <p:nvSpPr>
          <p:cNvPr id="34" name="TextBox 26">
            <a:extLst>
              <a:ext uri="{FF2B5EF4-FFF2-40B4-BE49-F238E27FC236}">
                <a16:creationId xmlns:a16="http://schemas.microsoft.com/office/drawing/2014/main" id="{3DA78741-1946-44AD-8F15-4305A6174B38}"/>
              </a:ext>
            </a:extLst>
          </p:cNvPr>
          <p:cNvSpPr txBox="1"/>
          <p:nvPr/>
        </p:nvSpPr>
        <p:spPr>
          <a:xfrm>
            <a:off x="3486150" y="1427611"/>
            <a:ext cx="5219700" cy="254163"/>
          </a:xfrm>
          <a:prstGeom prst="rect">
            <a:avLst/>
          </a:prstGeom>
          <a:noFill/>
        </p:spPr>
        <p:txBody>
          <a:bodyPr wrap="square" lIns="0" tIns="36000" rIns="0" bIns="36000" rtlCol="0">
            <a:spAutoFit/>
          </a:bodyPr>
          <a:lstStyle/>
          <a:p>
            <a:pPr marL="0" marR="0" lvl="0" indent="0" algn="ctr" defTabSz="914400" rtl="0" eaLnBrk="1" fontAlgn="auto" latinLnBrk="0" hangingPunct="1">
              <a:lnSpc>
                <a:spcPct val="130000"/>
              </a:lnSpc>
              <a:spcBef>
                <a:spcPts val="100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alpha val="70000"/>
                  </a:prstClr>
                </a:solidFill>
                <a:effectLst/>
                <a:uLnTx/>
                <a:uFillTx/>
                <a:latin typeface="HarmonyOS Sans SC"/>
                <a:cs typeface="+mn-cs"/>
              </a:rPr>
              <a:t>There Are Many Variations Of Passages Of </a:t>
            </a:r>
          </a:p>
        </p:txBody>
      </p:sp>
    </p:spTree>
    <p:extLst>
      <p:ext uri="{BB962C8B-B14F-4D97-AF65-F5344CB8AC3E}">
        <p14:creationId xmlns:p14="http://schemas.microsoft.com/office/powerpoint/2010/main" val="2458251326"/>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4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6">
            <a:extLst>
              <a:ext uri="{FF2B5EF4-FFF2-40B4-BE49-F238E27FC236}">
                <a16:creationId xmlns:a16="http://schemas.microsoft.com/office/drawing/2014/main" id="{3D3CF40C-F70B-4E68-BD8F-1D6EBACFD612}"/>
              </a:ext>
            </a:extLst>
          </p:cNvPr>
          <p:cNvSpPr>
            <a:spLocks noEditPoints="1"/>
          </p:cNvSpPr>
          <p:nvPr/>
        </p:nvSpPr>
        <p:spPr bwMode="auto">
          <a:xfrm>
            <a:off x="2983682" y="3607370"/>
            <a:ext cx="2724677" cy="2724677"/>
          </a:xfrm>
          <a:custGeom>
            <a:avLst/>
            <a:gdLst>
              <a:gd name="T0" fmla="*/ 335 w 670"/>
              <a:gd name="T1" fmla="*/ 670 h 670"/>
              <a:gd name="T2" fmla="*/ 0 w 670"/>
              <a:gd name="T3" fmla="*/ 335 h 670"/>
              <a:gd name="T4" fmla="*/ 335 w 670"/>
              <a:gd name="T5" fmla="*/ 0 h 670"/>
              <a:gd name="T6" fmla="*/ 670 w 670"/>
              <a:gd name="T7" fmla="*/ 335 h 670"/>
              <a:gd name="T8" fmla="*/ 335 w 670"/>
              <a:gd name="T9" fmla="*/ 670 h 670"/>
              <a:gd name="T10" fmla="*/ 335 w 670"/>
              <a:gd name="T11" fmla="*/ 22 h 670"/>
              <a:gd name="T12" fmla="*/ 22 w 670"/>
              <a:gd name="T13" fmla="*/ 335 h 670"/>
              <a:gd name="T14" fmla="*/ 335 w 670"/>
              <a:gd name="T15" fmla="*/ 648 h 670"/>
              <a:gd name="T16" fmla="*/ 648 w 670"/>
              <a:gd name="T17" fmla="*/ 335 h 670"/>
              <a:gd name="T18" fmla="*/ 335 w 670"/>
              <a:gd name="T19" fmla="*/ 22 h 6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70" h="670">
                <a:moveTo>
                  <a:pt x="335" y="670"/>
                </a:moveTo>
                <a:cubicBezTo>
                  <a:pt x="150" y="670"/>
                  <a:pt x="0" y="520"/>
                  <a:pt x="0" y="335"/>
                </a:cubicBezTo>
                <a:cubicBezTo>
                  <a:pt x="0" y="150"/>
                  <a:pt x="150" y="0"/>
                  <a:pt x="335" y="0"/>
                </a:cubicBezTo>
                <a:cubicBezTo>
                  <a:pt x="520" y="0"/>
                  <a:pt x="670" y="150"/>
                  <a:pt x="670" y="335"/>
                </a:cubicBezTo>
                <a:cubicBezTo>
                  <a:pt x="670" y="520"/>
                  <a:pt x="520" y="670"/>
                  <a:pt x="335" y="670"/>
                </a:cubicBezTo>
                <a:close/>
                <a:moveTo>
                  <a:pt x="335" y="22"/>
                </a:moveTo>
                <a:cubicBezTo>
                  <a:pt x="162" y="22"/>
                  <a:pt x="22" y="162"/>
                  <a:pt x="22" y="335"/>
                </a:cubicBezTo>
                <a:cubicBezTo>
                  <a:pt x="22" y="507"/>
                  <a:pt x="162" y="648"/>
                  <a:pt x="335" y="648"/>
                </a:cubicBezTo>
                <a:cubicBezTo>
                  <a:pt x="508" y="648"/>
                  <a:pt x="648" y="507"/>
                  <a:pt x="648" y="335"/>
                </a:cubicBezTo>
                <a:cubicBezTo>
                  <a:pt x="648" y="162"/>
                  <a:pt x="508" y="22"/>
                  <a:pt x="335" y="22"/>
                </a:cubicBezTo>
                <a:close/>
              </a:path>
            </a:pathLst>
          </a:custGeom>
          <a:gradFill>
            <a:gsLst>
              <a:gs pos="0">
                <a:schemeClr val="accent1"/>
              </a:gs>
              <a:gs pos="100000">
                <a:schemeClr val="accent1">
                  <a:lumMod val="40000"/>
                  <a:lumOff val="60000"/>
                </a:schemeClr>
              </a:gs>
              <a:gs pos="56000">
                <a:schemeClr val="accent1">
                  <a:lumMod val="60000"/>
                  <a:lumOff val="40000"/>
                </a:schemeClr>
              </a:gs>
            </a:gsLst>
            <a:lin ang="13500000" scaled="1"/>
          </a:gra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3" name="Freeform 6">
            <a:extLst>
              <a:ext uri="{FF2B5EF4-FFF2-40B4-BE49-F238E27FC236}">
                <a16:creationId xmlns:a16="http://schemas.microsoft.com/office/drawing/2014/main" id="{5AFEBF15-3B7D-46A7-9532-52F47EEFAEB7}"/>
              </a:ext>
            </a:extLst>
          </p:cNvPr>
          <p:cNvSpPr>
            <a:spLocks noEditPoints="1"/>
          </p:cNvSpPr>
          <p:nvPr/>
        </p:nvSpPr>
        <p:spPr bwMode="auto">
          <a:xfrm>
            <a:off x="6504139" y="3607370"/>
            <a:ext cx="2724677" cy="2724677"/>
          </a:xfrm>
          <a:custGeom>
            <a:avLst/>
            <a:gdLst>
              <a:gd name="T0" fmla="*/ 335 w 670"/>
              <a:gd name="T1" fmla="*/ 670 h 670"/>
              <a:gd name="T2" fmla="*/ 0 w 670"/>
              <a:gd name="T3" fmla="*/ 335 h 670"/>
              <a:gd name="T4" fmla="*/ 335 w 670"/>
              <a:gd name="T5" fmla="*/ 0 h 670"/>
              <a:gd name="T6" fmla="*/ 670 w 670"/>
              <a:gd name="T7" fmla="*/ 335 h 670"/>
              <a:gd name="T8" fmla="*/ 335 w 670"/>
              <a:gd name="T9" fmla="*/ 670 h 670"/>
              <a:gd name="T10" fmla="*/ 335 w 670"/>
              <a:gd name="T11" fmla="*/ 22 h 670"/>
              <a:gd name="T12" fmla="*/ 22 w 670"/>
              <a:gd name="T13" fmla="*/ 335 h 670"/>
              <a:gd name="T14" fmla="*/ 335 w 670"/>
              <a:gd name="T15" fmla="*/ 648 h 670"/>
              <a:gd name="T16" fmla="*/ 648 w 670"/>
              <a:gd name="T17" fmla="*/ 335 h 670"/>
              <a:gd name="T18" fmla="*/ 335 w 670"/>
              <a:gd name="T19" fmla="*/ 22 h 6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70" h="670">
                <a:moveTo>
                  <a:pt x="335" y="670"/>
                </a:moveTo>
                <a:cubicBezTo>
                  <a:pt x="150" y="670"/>
                  <a:pt x="0" y="520"/>
                  <a:pt x="0" y="335"/>
                </a:cubicBezTo>
                <a:cubicBezTo>
                  <a:pt x="0" y="150"/>
                  <a:pt x="150" y="0"/>
                  <a:pt x="335" y="0"/>
                </a:cubicBezTo>
                <a:cubicBezTo>
                  <a:pt x="520" y="0"/>
                  <a:pt x="670" y="150"/>
                  <a:pt x="670" y="335"/>
                </a:cubicBezTo>
                <a:cubicBezTo>
                  <a:pt x="670" y="520"/>
                  <a:pt x="520" y="670"/>
                  <a:pt x="335" y="670"/>
                </a:cubicBezTo>
                <a:close/>
                <a:moveTo>
                  <a:pt x="335" y="22"/>
                </a:moveTo>
                <a:cubicBezTo>
                  <a:pt x="162" y="22"/>
                  <a:pt x="22" y="162"/>
                  <a:pt x="22" y="335"/>
                </a:cubicBezTo>
                <a:cubicBezTo>
                  <a:pt x="22" y="507"/>
                  <a:pt x="162" y="648"/>
                  <a:pt x="335" y="648"/>
                </a:cubicBezTo>
                <a:cubicBezTo>
                  <a:pt x="508" y="648"/>
                  <a:pt x="648" y="507"/>
                  <a:pt x="648" y="335"/>
                </a:cubicBezTo>
                <a:cubicBezTo>
                  <a:pt x="648" y="162"/>
                  <a:pt x="508" y="22"/>
                  <a:pt x="335" y="22"/>
                </a:cubicBezTo>
                <a:close/>
              </a:path>
            </a:pathLst>
          </a:custGeom>
          <a:gradFill>
            <a:gsLst>
              <a:gs pos="0">
                <a:schemeClr val="accent1"/>
              </a:gs>
              <a:gs pos="100000">
                <a:schemeClr val="accent1">
                  <a:lumMod val="40000"/>
                  <a:lumOff val="60000"/>
                </a:schemeClr>
              </a:gs>
              <a:gs pos="56000">
                <a:schemeClr val="accent1">
                  <a:lumMod val="60000"/>
                  <a:lumOff val="40000"/>
                </a:schemeClr>
              </a:gs>
            </a:gsLst>
            <a:lin ang="13500000" scaled="1"/>
          </a:gra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4" name="Freeform 6">
            <a:extLst>
              <a:ext uri="{FF2B5EF4-FFF2-40B4-BE49-F238E27FC236}">
                <a16:creationId xmlns:a16="http://schemas.microsoft.com/office/drawing/2014/main" id="{21014B3B-CCE7-4392-99DF-57F55A386B75}"/>
              </a:ext>
            </a:extLst>
          </p:cNvPr>
          <p:cNvSpPr>
            <a:spLocks noEditPoints="1"/>
          </p:cNvSpPr>
          <p:nvPr/>
        </p:nvSpPr>
        <p:spPr bwMode="auto">
          <a:xfrm>
            <a:off x="8219548" y="1106979"/>
            <a:ext cx="2724677" cy="2724677"/>
          </a:xfrm>
          <a:custGeom>
            <a:avLst/>
            <a:gdLst>
              <a:gd name="T0" fmla="*/ 335 w 670"/>
              <a:gd name="T1" fmla="*/ 670 h 670"/>
              <a:gd name="T2" fmla="*/ 0 w 670"/>
              <a:gd name="T3" fmla="*/ 335 h 670"/>
              <a:gd name="T4" fmla="*/ 335 w 670"/>
              <a:gd name="T5" fmla="*/ 0 h 670"/>
              <a:gd name="T6" fmla="*/ 670 w 670"/>
              <a:gd name="T7" fmla="*/ 335 h 670"/>
              <a:gd name="T8" fmla="*/ 335 w 670"/>
              <a:gd name="T9" fmla="*/ 670 h 670"/>
              <a:gd name="T10" fmla="*/ 335 w 670"/>
              <a:gd name="T11" fmla="*/ 22 h 670"/>
              <a:gd name="T12" fmla="*/ 22 w 670"/>
              <a:gd name="T13" fmla="*/ 335 h 670"/>
              <a:gd name="T14" fmla="*/ 335 w 670"/>
              <a:gd name="T15" fmla="*/ 648 h 670"/>
              <a:gd name="T16" fmla="*/ 648 w 670"/>
              <a:gd name="T17" fmla="*/ 335 h 670"/>
              <a:gd name="T18" fmla="*/ 335 w 670"/>
              <a:gd name="T19" fmla="*/ 22 h 6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70" h="670">
                <a:moveTo>
                  <a:pt x="335" y="670"/>
                </a:moveTo>
                <a:cubicBezTo>
                  <a:pt x="150" y="670"/>
                  <a:pt x="0" y="520"/>
                  <a:pt x="0" y="335"/>
                </a:cubicBezTo>
                <a:cubicBezTo>
                  <a:pt x="0" y="150"/>
                  <a:pt x="150" y="0"/>
                  <a:pt x="335" y="0"/>
                </a:cubicBezTo>
                <a:cubicBezTo>
                  <a:pt x="520" y="0"/>
                  <a:pt x="670" y="150"/>
                  <a:pt x="670" y="335"/>
                </a:cubicBezTo>
                <a:cubicBezTo>
                  <a:pt x="670" y="520"/>
                  <a:pt x="520" y="670"/>
                  <a:pt x="335" y="670"/>
                </a:cubicBezTo>
                <a:close/>
                <a:moveTo>
                  <a:pt x="335" y="22"/>
                </a:moveTo>
                <a:cubicBezTo>
                  <a:pt x="162" y="22"/>
                  <a:pt x="22" y="162"/>
                  <a:pt x="22" y="335"/>
                </a:cubicBezTo>
                <a:cubicBezTo>
                  <a:pt x="22" y="507"/>
                  <a:pt x="162" y="648"/>
                  <a:pt x="335" y="648"/>
                </a:cubicBezTo>
                <a:cubicBezTo>
                  <a:pt x="508" y="648"/>
                  <a:pt x="648" y="507"/>
                  <a:pt x="648" y="335"/>
                </a:cubicBezTo>
                <a:cubicBezTo>
                  <a:pt x="648" y="162"/>
                  <a:pt x="508" y="22"/>
                  <a:pt x="335" y="22"/>
                </a:cubicBezTo>
                <a:close/>
              </a:path>
            </a:pathLst>
          </a:custGeom>
          <a:gradFill>
            <a:gsLst>
              <a:gs pos="0">
                <a:schemeClr val="accent1"/>
              </a:gs>
              <a:gs pos="100000">
                <a:schemeClr val="accent1">
                  <a:lumMod val="40000"/>
                  <a:lumOff val="60000"/>
                </a:schemeClr>
              </a:gs>
              <a:gs pos="56000">
                <a:schemeClr val="accent1">
                  <a:lumMod val="60000"/>
                  <a:lumOff val="40000"/>
                </a:schemeClr>
              </a:gs>
            </a:gsLst>
            <a:lin ang="13500000" scaled="1"/>
          </a:gra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5" name="Freeform 6">
            <a:extLst>
              <a:ext uri="{FF2B5EF4-FFF2-40B4-BE49-F238E27FC236}">
                <a16:creationId xmlns:a16="http://schemas.microsoft.com/office/drawing/2014/main" id="{0470F9EF-B10C-4888-882F-920B86FD65BF}"/>
              </a:ext>
            </a:extLst>
          </p:cNvPr>
          <p:cNvSpPr>
            <a:spLocks noEditPoints="1"/>
          </p:cNvSpPr>
          <p:nvPr/>
        </p:nvSpPr>
        <p:spPr bwMode="auto">
          <a:xfrm>
            <a:off x="1247775" y="1106979"/>
            <a:ext cx="2724677" cy="2724677"/>
          </a:xfrm>
          <a:custGeom>
            <a:avLst/>
            <a:gdLst>
              <a:gd name="T0" fmla="*/ 335 w 670"/>
              <a:gd name="T1" fmla="*/ 670 h 670"/>
              <a:gd name="T2" fmla="*/ 0 w 670"/>
              <a:gd name="T3" fmla="*/ 335 h 670"/>
              <a:gd name="T4" fmla="*/ 335 w 670"/>
              <a:gd name="T5" fmla="*/ 0 h 670"/>
              <a:gd name="T6" fmla="*/ 670 w 670"/>
              <a:gd name="T7" fmla="*/ 335 h 670"/>
              <a:gd name="T8" fmla="*/ 335 w 670"/>
              <a:gd name="T9" fmla="*/ 670 h 670"/>
              <a:gd name="T10" fmla="*/ 335 w 670"/>
              <a:gd name="T11" fmla="*/ 22 h 670"/>
              <a:gd name="T12" fmla="*/ 22 w 670"/>
              <a:gd name="T13" fmla="*/ 335 h 670"/>
              <a:gd name="T14" fmla="*/ 335 w 670"/>
              <a:gd name="T15" fmla="*/ 648 h 670"/>
              <a:gd name="T16" fmla="*/ 648 w 670"/>
              <a:gd name="T17" fmla="*/ 335 h 670"/>
              <a:gd name="T18" fmla="*/ 335 w 670"/>
              <a:gd name="T19" fmla="*/ 22 h 6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70" h="670">
                <a:moveTo>
                  <a:pt x="335" y="670"/>
                </a:moveTo>
                <a:cubicBezTo>
                  <a:pt x="150" y="670"/>
                  <a:pt x="0" y="520"/>
                  <a:pt x="0" y="335"/>
                </a:cubicBezTo>
                <a:cubicBezTo>
                  <a:pt x="0" y="150"/>
                  <a:pt x="150" y="0"/>
                  <a:pt x="335" y="0"/>
                </a:cubicBezTo>
                <a:cubicBezTo>
                  <a:pt x="520" y="0"/>
                  <a:pt x="670" y="150"/>
                  <a:pt x="670" y="335"/>
                </a:cubicBezTo>
                <a:cubicBezTo>
                  <a:pt x="670" y="520"/>
                  <a:pt x="520" y="670"/>
                  <a:pt x="335" y="670"/>
                </a:cubicBezTo>
                <a:close/>
                <a:moveTo>
                  <a:pt x="335" y="22"/>
                </a:moveTo>
                <a:cubicBezTo>
                  <a:pt x="162" y="22"/>
                  <a:pt x="22" y="162"/>
                  <a:pt x="22" y="335"/>
                </a:cubicBezTo>
                <a:cubicBezTo>
                  <a:pt x="22" y="507"/>
                  <a:pt x="162" y="648"/>
                  <a:pt x="335" y="648"/>
                </a:cubicBezTo>
                <a:cubicBezTo>
                  <a:pt x="508" y="648"/>
                  <a:pt x="648" y="507"/>
                  <a:pt x="648" y="335"/>
                </a:cubicBezTo>
                <a:cubicBezTo>
                  <a:pt x="648" y="162"/>
                  <a:pt x="508" y="22"/>
                  <a:pt x="335" y="22"/>
                </a:cubicBezTo>
                <a:close/>
              </a:path>
            </a:pathLst>
          </a:custGeom>
          <a:gradFill>
            <a:gsLst>
              <a:gs pos="0">
                <a:schemeClr val="accent1"/>
              </a:gs>
              <a:gs pos="100000">
                <a:schemeClr val="accent1">
                  <a:lumMod val="40000"/>
                  <a:lumOff val="60000"/>
                </a:schemeClr>
              </a:gs>
              <a:gs pos="56000">
                <a:schemeClr val="accent1">
                  <a:lumMod val="60000"/>
                  <a:lumOff val="40000"/>
                </a:schemeClr>
              </a:gs>
            </a:gsLst>
            <a:lin ang="13500000" scaled="1"/>
          </a:gra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6" name="Freeform 6">
            <a:extLst>
              <a:ext uri="{FF2B5EF4-FFF2-40B4-BE49-F238E27FC236}">
                <a16:creationId xmlns:a16="http://schemas.microsoft.com/office/drawing/2014/main" id="{016F9FEC-A057-47FB-85EF-4842702D889A}"/>
              </a:ext>
            </a:extLst>
          </p:cNvPr>
          <p:cNvSpPr>
            <a:spLocks noEditPoints="1"/>
          </p:cNvSpPr>
          <p:nvPr/>
        </p:nvSpPr>
        <p:spPr bwMode="auto">
          <a:xfrm>
            <a:off x="4724168" y="1106979"/>
            <a:ext cx="2724677" cy="2724677"/>
          </a:xfrm>
          <a:custGeom>
            <a:avLst/>
            <a:gdLst>
              <a:gd name="T0" fmla="*/ 335 w 670"/>
              <a:gd name="T1" fmla="*/ 670 h 670"/>
              <a:gd name="T2" fmla="*/ 0 w 670"/>
              <a:gd name="T3" fmla="*/ 335 h 670"/>
              <a:gd name="T4" fmla="*/ 335 w 670"/>
              <a:gd name="T5" fmla="*/ 0 h 670"/>
              <a:gd name="T6" fmla="*/ 670 w 670"/>
              <a:gd name="T7" fmla="*/ 335 h 670"/>
              <a:gd name="T8" fmla="*/ 335 w 670"/>
              <a:gd name="T9" fmla="*/ 670 h 670"/>
              <a:gd name="T10" fmla="*/ 335 w 670"/>
              <a:gd name="T11" fmla="*/ 22 h 670"/>
              <a:gd name="T12" fmla="*/ 22 w 670"/>
              <a:gd name="T13" fmla="*/ 335 h 670"/>
              <a:gd name="T14" fmla="*/ 335 w 670"/>
              <a:gd name="T15" fmla="*/ 648 h 670"/>
              <a:gd name="T16" fmla="*/ 648 w 670"/>
              <a:gd name="T17" fmla="*/ 335 h 670"/>
              <a:gd name="T18" fmla="*/ 335 w 670"/>
              <a:gd name="T19" fmla="*/ 22 h 6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70" h="670">
                <a:moveTo>
                  <a:pt x="335" y="670"/>
                </a:moveTo>
                <a:cubicBezTo>
                  <a:pt x="150" y="670"/>
                  <a:pt x="0" y="520"/>
                  <a:pt x="0" y="335"/>
                </a:cubicBezTo>
                <a:cubicBezTo>
                  <a:pt x="0" y="150"/>
                  <a:pt x="150" y="0"/>
                  <a:pt x="335" y="0"/>
                </a:cubicBezTo>
                <a:cubicBezTo>
                  <a:pt x="520" y="0"/>
                  <a:pt x="670" y="150"/>
                  <a:pt x="670" y="335"/>
                </a:cubicBezTo>
                <a:cubicBezTo>
                  <a:pt x="670" y="520"/>
                  <a:pt x="520" y="670"/>
                  <a:pt x="335" y="670"/>
                </a:cubicBezTo>
                <a:close/>
                <a:moveTo>
                  <a:pt x="335" y="22"/>
                </a:moveTo>
                <a:cubicBezTo>
                  <a:pt x="162" y="22"/>
                  <a:pt x="22" y="162"/>
                  <a:pt x="22" y="335"/>
                </a:cubicBezTo>
                <a:cubicBezTo>
                  <a:pt x="22" y="507"/>
                  <a:pt x="162" y="648"/>
                  <a:pt x="335" y="648"/>
                </a:cubicBezTo>
                <a:cubicBezTo>
                  <a:pt x="508" y="648"/>
                  <a:pt x="648" y="507"/>
                  <a:pt x="648" y="335"/>
                </a:cubicBezTo>
                <a:cubicBezTo>
                  <a:pt x="648" y="162"/>
                  <a:pt x="508" y="22"/>
                  <a:pt x="335" y="22"/>
                </a:cubicBezTo>
                <a:close/>
              </a:path>
            </a:pathLst>
          </a:custGeom>
          <a:gradFill>
            <a:gsLst>
              <a:gs pos="0">
                <a:schemeClr val="accent1"/>
              </a:gs>
              <a:gs pos="100000">
                <a:schemeClr val="accent1">
                  <a:lumMod val="40000"/>
                  <a:lumOff val="60000"/>
                </a:schemeClr>
              </a:gs>
              <a:gs pos="56000">
                <a:schemeClr val="accent1">
                  <a:lumMod val="60000"/>
                  <a:lumOff val="40000"/>
                </a:schemeClr>
              </a:gs>
            </a:gsLst>
            <a:lin ang="13500000" scaled="1"/>
          </a:gra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7" name="Freeform 21">
            <a:extLst>
              <a:ext uri="{FF2B5EF4-FFF2-40B4-BE49-F238E27FC236}">
                <a16:creationId xmlns:a16="http://schemas.microsoft.com/office/drawing/2014/main" id="{FDA6BA0E-CC4F-443C-811B-CD55E44ECE21}"/>
              </a:ext>
            </a:extLst>
          </p:cNvPr>
          <p:cNvSpPr>
            <a:spLocks/>
          </p:cNvSpPr>
          <p:nvPr/>
        </p:nvSpPr>
        <p:spPr bwMode="auto">
          <a:xfrm>
            <a:off x="1429006" y="1271716"/>
            <a:ext cx="9375322" cy="4931175"/>
          </a:xfrm>
          <a:custGeom>
            <a:avLst/>
            <a:gdLst>
              <a:gd name="T0" fmla="*/ 1994 w 2302"/>
              <a:gd name="T1" fmla="*/ 9 h 1211"/>
              <a:gd name="T2" fmla="*/ 1721 w 2302"/>
              <a:gd name="T3" fmla="*/ 283 h 1211"/>
              <a:gd name="T4" fmla="*/ 1769 w 2302"/>
              <a:gd name="T5" fmla="*/ 454 h 1211"/>
              <a:gd name="T6" fmla="*/ 1768 w 2302"/>
              <a:gd name="T7" fmla="*/ 584 h 1211"/>
              <a:gd name="T8" fmla="*/ 1765 w 2302"/>
              <a:gd name="T9" fmla="*/ 589 h 1211"/>
              <a:gd name="T10" fmla="*/ 1643 w 2302"/>
              <a:gd name="T11" fmla="*/ 635 h 1211"/>
              <a:gd name="T12" fmla="*/ 1579 w 2302"/>
              <a:gd name="T13" fmla="*/ 628 h 1211"/>
              <a:gd name="T14" fmla="*/ 1516 w 2302"/>
              <a:gd name="T15" fmla="*/ 635 h 1211"/>
              <a:gd name="T16" fmla="*/ 1394 w 2302"/>
              <a:gd name="T17" fmla="*/ 589 h 1211"/>
              <a:gd name="T18" fmla="*/ 1391 w 2302"/>
              <a:gd name="T19" fmla="*/ 584 h 1211"/>
              <a:gd name="T20" fmla="*/ 1390 w 2302"/>
              <a:gd name="T21" fmla="*/ 454 h 1211"/>
              <a:gd name="T22" fmla="*/ 1438 w 2302"/>
              <a:gd name="T23" fmla="*/ 283 h 1211"/>
              <a:gd name="T24" fmla="*/ 1167 w 2302"/>
              <a:gd name="T25" fmla="*/ 9 h 1211"/>
              <a:gd name="T26" fmla="*/ 864 w 2302"/>
              <a:gd name="T27" fmla="*/ 296 h 1211"/>
              <a:gd name="T28" fmla="*/ 911 w 2302"/>
              <a:gd name="T29" fmla="*/ 454 h 1211"/>
              <a:gd name="T30" fmla="*/ 911 w 2302"/>
              <a:gd name="T31" fmla="*/ 585 h 1211"/>
              <a:gd name="T32" fmla="*/ 908 w 2302"/>
              <a:gd name="T33" fmla="*/ 589 h 1211"/>
              <a:gd name="T34" fmla="*/ 786 w 2302"/>
              <a:gd name="T35" fmla="*/ 635 h 1211"/>
              <a:gd name="T36" fmla="*/ 723 w 2302"/>
              <a:gd name="T37" fmla="*/ 628 h 1211"/>
              <a:gd name="T38" fmla="*/ 659 w 2302"/>
              <a:gd name="T39" fmla="*/ 635 h 1211"/>
              <a:gd name="T40" fmla="*/ 537 w 2302"/>
              <a:gd name="T41" fmla="*/ 589 h 1211"/>
              <a:gd name="T42" fmla="*/ 534 w 2302"/>
              <a:gd name="T43" fmla="*/ 584 h 1211"/>
              <a:gd name="T44" fmla="*/ 533 w 2302"/>
              <a:gd name="T45" fmla="*/ 454 h 1211"/>
              <a:gd name="T46" fmla="*/ 581 w 2302"/>
              <a:gd name="T47" fmla="*/ 283 h 1211"/>
              <a:gd name="T48" fmla="*/ 308 w 2302"/>
              <a:gd name="T49" fmla="*/ 9 h 1211"/>
              <a:gd name="T50" fmla="*/ 7 w 2302"/>
              <a:gd name="T51" fmla="*/ 309 h 1211"/>
              <a:gd name="T52" fmla="*/ 274 w 2302"/>
              <a:gd name="T53" fmla="*/ 582 h 1211"/>
              <a:gd name="T54" fmla="*/ 359 w 2302"/>
              <a:gd name="T55" fmla="*/ 575 h 1211"/>
              <a:gd name="T56" fmla="*/ 480 w 2302"/>
              <a:gd name="T57" fmla="*/ 623 h 1211"/>
              <a:gd name="T58" fmla="*/ 483 w 2302"/>
              <a:gd name="T59" fmla="*/ 627 h 1211"/>
              <a:gd name="T60" fmla="*/ 483 w 2302"/>
              <a:gd name="T61" fmla="*/ 757 h 1211"/>
              <a:gd name="T62" fmla="*/ 436 w 2302"/>
              <a:gd name="T63" fmla="*/ 929 h 1211"/>
              <a:gd name="T64" fmla="*/ 707 w 2302"/>
              <a:gd name="T65" fmla="*/ 1202 h 1211"/>
              <a:gd name="T66" fmla="*/ 1010 w 2302"/>
              <a:gd name="T67" fmla="*/ 915 h 1211"/>
              <a:gd name="T68" fmla="*/ 962 w 2302"/>
              <a:gd name="T69" fmla="*/ 758 h 1211"/>
              <a:gd name="T70" fmla="*/ 963 w 2302"/>
              <a:gd name="T71" fmla="*/ 626 h 1211"/>
              <a:gd name="T72" fmla="*/ 965 w 2302"/>
              <a:gd name="T73" fmla="*/ 623 h 1211"/>
              <a:gd name="T74" fmla="*/ 1088 w 2302"/>
              <a:gd name="T75" fmla="*/ 576 h 1211"/>
              <a:gd name="T76" fmla="*/ 1151 w 2302"/>
              <a:gd name="T77" fmla="*/ 583 h 1211"/>
              <a:gd name="T78" fmla="*/ 1214 w 2302"/>
              <a:gd name="T79" fmla="*/ 576 h 1211"/>
              <a:gd name="T80" fmla="*/ 1337 w 2302"/>
              <a:gd name="T81" fmla="*/ 623 h 1211"/>
              <a:gd name="T82" fmla="*/ 1340 w 2302"/>
              <a:gd name="T83" fmla="*/ 627 h 1211"/>
              <a:gd name="T84" fmla="*/ 1340 w 2302"/>
              <a:gd name="T85" fmla="*/ 757 h 1211"/>
              <a:gd name="T86" fmla="*/ 1293 w 2302"/>
              <a:gd name="T87" fmla="*/ 929 h 1211"/>
              <a:gd name="T88" fmla="*/ 1564 w 2302"/>
              <a:gd name="T89" fmla="*/ 1202 h 1211"/>
              <a:gd name="T90" fmla="*/ 1867 w 2302"/>
              <a:gd name="T91" fmla="*/ 915 h 1211"/>
              <a:gd name="T92" fmla="*/ 1819 w 2302"/>
              <a:gd name="T93" fmla="*/ 758 h 1211"/>
              <a:gd name="T94" fmla="*/ 1820 w 2302"/>
              <a:gd name="T95" fmla="*/ 626 h 1211"/>
              <a:gd name="T96" fmla="*/ 1822 w 2302"/>
              <a:gd name="T97" fmla="*/ 623 h 1211"/>
              <a:gd name="T98" fmla="*/ 1943 w 2302"/>
              <a:gd name="T99" fmla="*/ 575 h 1211"/>
              <a:gd name="T100" fmla="*/ 2028 w 2302"/>
              <a:gd name="T101" fmla="*/ 582 h 1211"/>
              <a:gd name="T102" fmla="*/ 2295 w 2302"/>
              <a:gd name="T103" fmla="*/ 309 h 1211"/>
              <a:gd name="T104" fmla="*/ 1994 w 2302"/>
              <a:gd name="T105" fmla="*/ 9 h 1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302" h="1211">
                <a:moveTo>
                  <a:pt x="1994" y="9"/>
                </a:moveTo>
                <a:cubicBezTo>
                  <a:pt x="1847" y="16"/>
                  <a:pt x="1728" y="135"/>
                  <a:pt x="1721" y="283"/>
                </a:cubicBezTo>
                <a:cubicBezTo>
                  <a:pt x="1718" y="346"/>
                  <a:pt x="1736" y="405"/>
                  <a:pt x="1769" y="454"/>
                </a:cubicBezTo>
                <a:cubicBezTo>
                  <a:pt x="1795" y="494"/>
                  <a:pt x="1795" y="545"/>
                  <a:pt x="1768" y="584"/>
                </a:cubicBezTo>
                <a:cubicBezTo>
                  <a:pt x="1765" y="589"/>
                  <a:pt x="1765" y="589"/>
                  <a:pt x="1765" y="589"/>
                </a:cubicBezTo>
                <a:cubicBezTo>
                  <a:pt x="1738" y="628"/>
                  <a:pt x="1689" y="646"/>
                  <a:pt x="1643" y="635"/>
                </a:cubicBezTo>
                <a:cubicBezTo>
                  <a:pt x="1622" y="631"/>
                  <a:pt x="1601" y="628"/>
                  <a:pt x="1579" y="628"/>
                </a:cubicBezTo>
                <a:cubicBezTo>
                  <a:pt x="1558" y="628"/>
                  <a:pt x="1537" y="631"/>
                  <a:pt x="1516" y="635"/>
                </a:cubicBezTo>
                <a:cubicBezTo>
                  <a:pt x="1470" y="646"/>
                  <a:pt x="1421" y="628"/>
                  <a:pt x="1394" y="589"/>
                </a:cubicBezTo>
                <a:cubicBezTo>
                  <a:pt x="1391" y="584"/>
                  <a:pt x="1391" y="584"/>
                  <a:pt x="1391" y="584"/>
                </a:cubicBezTo>
                <a:cubicBezTo>
                  <a:pt x="1364" y="545"/>
                  <a:pt x="1364" y="494"/>
                  <a:pt x="1390" y="454"/>
                </a:cubicBezTo>
                <a:cubicBezTo>
                  <a:pt x="1423" y="405"/>
                  <a:pt x="1441" y="346"/>
                  <a:pt x="1438" y="283"/>
                </a:cubicBezTo>
                <a:cubicBezTo>
                  <a:pt x="1431" y="136"/>
                  <a:pt x="1313" y="17"/>
                  <a:pt x="1167" y="9"/>
                </a:cubicBezTo>
                <a:cubicBezTo>
                  <a:pt x="1001" y="0"/>
                  <a:pt x="864" y="132"/>
                  <a:pt x="864" y="296"/>
                </a:cubicBezTo>
                <a:cubicBezTo>
                  <a:pt x="864" y="354"/>
                  <a:pt x="881" y="408"/>
                  <a:pt x="911" y="454"/>
                </a:cubicBezTo>
                <a:cubicBezTo>
                  <a:pt x="938" y="494"/>
                  <a:pt x="938" y="545"/>
                  <a:pt x="911" y="585"/>
                </a:cubicBezTo>
                <a:cubicBezTo>
                  <a:pt x="908" y="589"/>
                  <a:pt x="908" y="589"/>
                  <a:pt x="908" y="589"/>
                </a:cubicBezTo>
                <a:cubicBezTo>
                  <a:pt x="881" y="628"/>
                  <a:pt x="832" y="646"/>
                  <a:pt x="786" y="635"/>
                </a:cubicBezTo>
                <a:cubicBezTo>
                  <a:pt x="765" y="631"/>
                  <a:pt x="744" y="628"/>
                  <a:pt x="723" y="628"/>
                </a:cubicBezTo>
                <a:cubicBezTo>
                  <a:pt x="701" y="628"/>
                  <a:pt x="680" y="631"/>
                  <a:pt x="659" y="635"/>
                </a:cubicBezTo>
                <a:cubicBezTo>
                  <a:pt x="613" y="646"/>
                  <a:pt x="564" y="628"/>
                  <a:pt x="537" y="589"/>
                </a:cubicBezTo>
                <a:cubicBezTo>
                  <a:pt x="534" y="584"/>
                  <a:pt x="534" y="584"/>
                  <a:pt x="534" y="584"/>
                </a:cubicBezTo>
                <a:cubicBezTo>
                  <a:pt x="507" y="545"/>
                  <a:pt x="507" y="494"/>
                  <a:pt x="533" y="454"/>
                </a:cubicBezTo>
                <a:cubicBezTo>
                  <a:pt x="566" y="405"/>
                  <a:pt x="584" y="346"/>
                  <a:pt x="581" y="283"/>
                </a:cubicBezTo>
                <a:cubicBezTo>
                  <a:pt x="574" y="135"/>
                  <a:pt x="455" y="16"/>
                  <a:pt x="308" y="9"/>
                </a:cubicBezTo>
                <a:cubicBezTo>
                  <a:pt x="139" y="1"/>
                  <a:pt x="0" y="140"/>
                  <a:pt x="7" y="309"/>
                </a:cubicBezTo>
                <a:cubicBezTo>
                  <a:pt x="14" y="454"/>
                  <a:pt x="130" y="573"/>
                  <a:pt x="274" y="582"/>
                </a:cubicBezTo>
                <a:cubicBezTo>
                  <a:pt x="304" y="584"/>
                  <a:pt x="332" y="582"/>
                  <a:pt x="359" y="575"/>
                </a:cubicBezTo>
                <a:cubicBezTo>
                  <a:pt x="405" y="565"/>
                  <a:pt x="453" y="584"/>
                  <a:pt x="480" y="623"/>
                </a:cubicBezTo>
                <a:cubicBezTo>
                  <a:pt x="483" y="627"/>
                  <a:pt x="483" y="627"/>
                  <a:pt x="483" y="627"/>
                </a:cubicBezTo>
                <a:cubicBezTo>
                  <a:pt x="510" y="666"/>
                  <a:pt x="509" y="718"/>
                  <a:pt x="483" y="757"/>
                </a:cubicBezTo>
                <a:cubicBezTo>
                  <a:pt x="451" y="806"/>
                  <a:pt x="433" y="865"/>
                  <a:pt x="436" y="929"/>
                </a:cubicBezTo>
                <a:cubicBezTo>
                  <a:pt x="442" y="1075"/>
                  <a:pt x="560" y="1194"/>
                  <a:pt x="707" y="1202"/>
                </a:cubicBezTo>
                <a:cubicBezTo>
                  <a:pt x="872" y="1211"/>
                  <a:pt x="1010" y="1079"/>
                  <a:pt x="1010" y="915"/>
                </a:cubicBezTo>
                <a:cubicBezTo>
                  <a:pt x="1010" y="857"/>
                  <a:pt x="992" y="803"/>
                  <a:pt x="962" y="758"/>
                </a:cubicBezTo>
                <a:cubicBezTo>
                  <a:pt x="936" y="718"/>
                  <a:pt x="935" y="666"/>
                  <a:pt x="963" y="626"/>
                </a:cubicBezTo>
                <a:cubicBezTo>
                  <a:pt x="965" y="623"/>
                  <a:pt x="965" y="623"/>
                  <a:pt x="965" y="623"/>
                </a:cubicBezTo>
                <a:cubicBezTo>
                  <a:pt x="993" y="583"/>
                  <a:pt x="1041" y="565"/>
                  <a:pt x="1088" y="576"/>
                </a:cubicBezTo>
                <a:cubicBezTo>
                  <a:pt x="1108" y="581"/>
                  <a:pt x="1129" y="583"/>
                  <a:pt x="1151" y="583"/>
                </a:cubicBezTo>
                <a:cubicBezTo>
                  <a:pt x="1173" y="583"/>
                  <a:pt x="1194" y="581"/>
                  <a:pt x="1214" y="576"/>
                </a:cubicBezTo>
                <a:cubicBezTo>
                  <a:pt x="1261" y="565"/>
                  <a:pt x="1309" y="583"/>
                  <a:pt x="1337" y="623"/>
                </a:cubicBezTo>
                <a:cubicBezTo>
                  <a:pt x="1340" y="627"/>
                  <a:pt x="1340" y="627"/>
                  <a:pt x="1340" y="627"/>
                </a:cubicBezTo>
                <a:cubicBezTo>
                  <a:pt x="1367" y="666"/>
                  <a:pt x="1366" y="718"/>
                  <a:pt x="1340" y="757"/>
                </a:cubicBezTo>
                <a:cubicBezTo>
                  <a:pt x="1308" y="806"/>
                  <a:pt x="1290" y="865"/>
                  <a:pt x="1293" y="929"/>
                </a:cubicBezTo>
                <a:cubicBezTo>
                  <a:pt x="1299" y="1075"/>
                  <a:pt x="1417" y="1194"/>
                  <a:pt x="1564" y="1202"/>
                </a:cubicBezTo>
                <a:cubicBezTo>
                  <a:pt x="1729" y="1211"/>
                  <a:pt x="1867" y="1079"/>
                  <a:pt x="1867" y="915"/>
                </a:cubicBezTo>
                <a:cubicBezTo>
                  <a:pt x="1867" y="857"/>
                  <a:pt x="1849" y="803"/>
                  <a:pt x="1819" y="758"/>
                </a:cubicBezTo>
                <a:cubicBezTo>
                  <a:pt x="1793" y="718"/>
                  <a:pt x="1792" y="666"/>
                  <a:pt x="1820" y="626"/>
                </a:cubicBezTo>
                <a:cubicBezTo>
                  <a:pt x="1822" y="623"/>
                  <a:pt x="1822" y="623"/>
                  <a:pt x="1822" y="623"/>
                </a:cubicBezTo>
                <a:cubicBezTo>
                  <a:pt x="1849" y="584"/>
                  <a:pt x="1897" y="565"/>
                  <a:pt x="1943" y="575"/>
                </a:cubicBezTo>
                <a:cubicBezTo>
                  <a:pt x="1970" y="582"/>
                  <a:pt x="1998" y="584"/>
                  <a:pt x="2028" y="582"/>
                </a:cubicBezTo>
                <a:cubicBezTo>
                  <a:pt x="2172" y="573"/>
                  <a:pt x="2288" y="454"/>
                  <a:pt x="2295" y="309"/>
                </a:cubicBezTo>
                <a:cubicBezTo>
                  <a:pt x="2302" y="140"/>
                  <a:pt x="2163" y="1"/>
                  <a:pt x="1994" y="9"/>
                </a:cubicBezTo>
                <a:close/>
              </a:path>
            </a:pathLst>
          </a:custGeom>
          <a:solidFill>
            <a:schemeClr val="bg1"/>
          </a:solidFill>
          <a:ln w="25400">
            <a:gradFill>
              <a:gsLst>
                <a:gs pos="0">
                  <a:schemeClr val="accent1">
                    <a:lumMod val="60000"/>
                    <a:lumOff val="40000"/>
                  </a:schemeClr>
                </a:gs>
                <a:gs pos="100000">
                  <a:schemeClr val="accent1"/>
                </a:gs>
              </a:gsLst>
              <a:lin ang="5400000" scaled="1"/>
            </a:gradFill>
            <a:round/>
            <a:headEnd/>
            <a:tailEnd/>
          </a:ln>
          <a:effectLst>
            <a:outerShdw blurRad="825500" sx="102000" sy="102000" algn="ctr" rotWithShape="0">
              <a:schemeClr val="accent1">
                <a:lumMod val="60000"/>
                <a:lumOff val="40000"/>
                <a:alpha val="19000"/>
              </a:schemeClr>
            </a:outerShdw>
          </a:effec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grpSp>
        <p:nvGrpSpPr>
          <p:cNvPr id="28" name="组合 27">
            <a:extLst>
              <a:ext uri="{FF2B5EF4-FFF2-40B4-BE49-F238E27FC236}">
                <a16:creationId xmlns:a16="http://schemas.microsoft.com/office/drawing/2014/main" id="{2A971846-DBA8-4D73-8384-17B671F55086}"/>
              </a:ext>
            </a:extLst>
          </p:cNvPr>
          <p:cNvGrpSpPr/>
          <p:nvPr/>
        </p:nvGrpSpPr>
        <p:grpSpPr>
          <a:xfrm>
            <a:off x="1512349" y="1982484"/>
            <a:ext cx="2299208" cy="926901"/>
            <a:chOff x="8924793" y="1788672"/>
            <a:chExt cx="2056261" cy="828960"/>
          </a:xfrm>
        </p:grpSpPr>
        <p:sp>
          <p:nvSpPr>
            <p:cNvPr id="29" name="TextBox 65">
              <a:extLst>
                <a:ext uri="{FF2B5EF4-FFF2-40B4-BE49-F238E27FC236}">
                  <a16:creationId xmlns:a16="http://schemas.microsoft.com/office/drawing/2014/main" id="{BF0D7B1C-6638-48B8-9615-248A28545D37}"/>
                </a:ext>
              </a:extLst>
            </p:cNvPr>
            <p:cNvSpPr txBox="1"/>
            <p:nvPr/>
          </p:nvSpPr>
          <p:spPr>
            <a:xfrm flipH="1">
              <a:off x="8924793" y="1788672"/>
              <a:ext cx="2056261" cy="346642"/>
            </a:xfrm>
            <a:prstGeom prst="rect">
              <a:avLst/>
            </a:prstGeom>
            <a:noFill/>
          </p:spPr>
          <p:txBody>
            <a:bodyPr wrap="square" lIns="0" tIns="36000" rIns="0" bIns="36000" rtlCol="0">
              <a:spAutoFit/>
            </a:bodyPr>
            <a:lstStyle/>
            <a:p>
              <a:pPr marL="0" marR="0" lvl="0" indent="0" algn="ctr" defTabSz="914400" rtl="0" eaLnBrk="1" fontAlgn="auto" latinLnBrk="0" hangingPunct="1">
                <a:lnSpc>
                  <a:spcPct val="120000"/>
                </a:lnSpc>
                <a:spcBef>
                  <a:spcPts val="600"/>
                </a:spcBef>
                <a:spcAft>
                  <a:spcPts val="0"/>
                </a:spcAft>
                <a:buClrTx/>
                <a:buSzTx/>
                <a:buFontTx/>
                <a:buNone/>
                <a:tabLst/>
                <a:defRPr/>
              </a:pPr>
              <a:r>
                <a:rPr kumimoji="0" lang="zh-CN" altLang="en-US" sz="1800" b="0" i="0" u="none" strike="noStrike" kern="1200" cap="none" spc="0" normalizeH="0" baseline="0" noProof="0" dirty="0">
                  <a:ln>
                    <a:noFill/>
                  </a:ln>
                  <a:solidFill>
                    <a:schemeClr val="accent1"/>
                  </a:solidFill>
                  <a:effectLst/>
                  <a:uLnTx/>
                  <a:uFillTx/>
                  <a:latin typeface="HarmonyOS Sans SC Black"/>
                  <a:ea typeface="+mj-ea"/>
                  <a:cs typeface="+mn-cs"/>
                </a:rPr>
                <a:t>关键词标题</a:t>
              </a:r>
              <a:endParaRPr kumimoji="0" lang="en-US" sz="1800" b="0" i="0" u="none" strike="noStrike" kern="1200" cap="none" spc="0" normalizeH="0" baseline="0" noProof="0" dirty="0">
                <a:ln>
                  <a:noFill/>
                </a:ln>
                <a:solidFill>
                  <a:schemeClr val="accent1"/>
                </a:solidFill>
                <a:effectLst/>
                <a:uLnTx/>
                <a:uFillTx/>
                <a:latin typeface="HarmonyOS Sans SC Black"/>
                <a:ea typeface="+mj-ea"/>
                <a:cs typeface="+mn-cs"/>
              </a:endParaRPr>
            </a:p>
          </p:txBody>
        </p:sp>
        <p:sp>
          <p:nvSpPr>
            <p:cNvPr id="30" name="TextBox 65">
              <a:extLst>
                <a:ext uri="{FF2B5EF4-FFF2-40B4-BE49-F238E27FC236}">
                  <a16:creationId xmlns:a16="http://schemas.microsoft.com/office/drawing/2014/main" id="{5DC3256C-FDC8-4311-8665-C6123122972C}"/>
                </a:ext>
              </a:extLst>
            </p:cNvPr>
            <p:cNvSpPr txBox="1"/>
            <p:nvPr/>
          </p:nvSpPr>
          <p:spPr>
            <a:xfrm flipH="1">
              <a:off x="8958967" y="2172071"/>
              <a:ext cx="1987912" cy="445561"/>
            </a:xfrm>
            <a:prstGeom prst="rect">
              <a:avLst/>
            </a:prstGeom>
            <a:noFill/>
          </p:spPr>
          <p:txBody>
            <a:bodyPr wrap="square" lIns="0" tIns="36000" rIns="0" bIns="36000" rtlCol="0">
              <a:spAutoFit/>
            </a:bodyPr>
            <a:lstStyle/>
            <a:p>
              <a:pPr marL="0" marR="0" lvl="0" indent="0" algn="ctr" defTabSz="914400" rtl="0" eaLnBrk="1" fontAlgn="auto" latinLnBrk="0" hangingPunct="1">
                <a:lnSpc>
                  <a:spcPct val="120000"/>
                </a:lnSpc>
                <a:spcBef>
                  <a:spcPts val="600"/>
                </a:spcBef>
                <a:spcAft>
                  <a:spcPts val="0"/>
                </a:spcAft>
                <a:buClrTx/>
                <a:buSzTx/>
                <a:buFontTx/>
                <a:buNone/>
                <a:tabLst/>
                <a:defRPr/>
              </a:pPr>
              <a:r>
                <a:rPr kumimoji="0" lang="en-US" sz="1200" b="0" i="0" u="none" strike="noStrike" kern="1200" cap="none" spc="0" normalizeH="0" baseline="0" noProof="0" dirty="0">
                  <a:ln>
                    <a:noFill/>
                  </a:ln>
                  <a:solidFill>
                    <a:schemeClr val="tx1">
                      <a:lumMod val="75000"/>
                      <a:lumOff val="25000"/>
                    </a:schemeClr>
                  </a:solidFill>
                  <a:effectLst/>
                  <a:uLnTx/>
                  <a:uFillTx/>
                  <a:latin typeface="HarmonyOS Sans SC"/>
                  <a:cs typeface="+mn-cs"/>
                </a:rPr>
                <a:t>Apparently we had reached a great height in the.</a:t>
              </a:r>
            </a:p>
          </p:txBody>
        </p:sp>
      </p:grpSp>
      <p:grpSp>
        <p:nvGrpSpPr>
          <p:cNvPr id="31" name="组合 30">
            <a:extLst>
              <a:ext uri="{FF2B5EF4-FFF2-40B4-BE49-F238E27FC236}">
                <a16:creationId xmlns:a16="http://schemas.microsoft.com/office/drawing/2014/main" id="{842BE0D8-FEA0-4270-B192-350BDD867153}"/>
              </a:ext>
            </a:extLst>
          </p:cNvPr>
          <p:cNvGrpSpPr/>
          <p:nvPr/>
        </p:nvGrpSpPr>
        <p:grpSpPr>
          <a:xfrm>
            <a:off x="4967062" y="1982485"/>
            <a:ext cx="2299208" cy="985764"/>
            <a:chOff x="8924792" y="1788672"/>
            <a:chExt cx="2056261" cy="881603"/>
          </a:xfrm>
        </p:grpSpPr>
        <p:sp>
          <p:nvSpPr>
            <p:cNvPr id="32" name="TextBox 65">
              <a:extLst>
                <a:ext uri="{FF2B5EF4-FFF2-40B4-BE49-F238E27FC236}">
                  <a16:creationId xmlns:a16="http://schemas.microsoft.com/office/drawing/2014/main" id="{5A6B035F-339A-4723-B5CE-207C1CC4B6B6}"/>
                </a:ext>
              </a:extLst>
            </p:cNvPr>
            <p:cNvSpPr txBox="1"/>
            <p:nvPr/>
          </p:nvSpPr>
          <p:spPr>
            <a:xfrm flipH="1">
              <a:off x="8924792" y="1788672"/>
              <a:ext cx="2056261" cy="346642"/>
            </a:xfrm>
            <a:prstGeom prst="rect">
              <a:avLst/>
            </a:prstGeom>
            <a:noFill/>
          </p:spPr>
          <p:txBody>
            <a:bodyPr wrap="square" lIns="0" tIns="36000" rIns="0" bIns="36000" rtlCol="0">
              <a:spAutoFit/>
            </a:bodyPr>
            <a:lstStyle>
              <a:defPPr>
                <a:defRPr lang="zh-CN"/>
              </a:defPPr>
              <a:lvl1pPr marR="0" lvl="0" indent="0" algn="ctr" fontAlgn="auto">
                <a:lnSpc>
                  <a:spcPct val="120000"/>
                </a:lnSpc>
                <a:spcBef>
                  <a:spcPts val="600"/>
                </a:spcBef>
                <a:spcAft>
                  <a:spcPts val="0"/>
                </a:spcAft>
                <a:buClrTx/>
                <a:buSzTx/>
                <a:buFontTx/>
                <a:buNone/>
                <a:tabLst/>
                <a:defRPr kumimoji="0" b="0" i="0" u="none" strike="noStrike" cap="none" spc="0" normalizeH="0" baseline="0">
                  <a:ln>
                    <a:noFill/>
                  </a:ln>
                  <a:solidFill>
                    <a:schemeClr val="accent1"/>
                  </a:solidFill>
                  <a:effectLst/>
                  <a:uLnTx/>
                  <a:uFillTx/>
                  <a:latin typeface="HarmonyOS Sans SC Black"/>
                  <a:ea typeface="+mj-ea"/>
                </a:defRPr>
              </a:lvl1pPr>
            </a:lstStyle>
            <a:p>
              <a:r>
                <a:rPr lang="zh-CN" altLang="en-US" dirty="0"/>
                <a:t>关键词标题</a:t>
              </a:r>
              <a:endParaRPr lang="en-US" dirty="0"/>
            </a:p>
          </p:txBody>
        </p:sp>
        <p:sp>
          <p:nvSpPr>
            <p:cNvPr id="33" name="TextBox 65">
              <a:extLst>
                <a:ext uri="{FF2B5EF4-FFF2-40B4-BE49-F238E27FC236}">
                  <a16:creationId xmlns:a16="http://schemas.microsoft.com/office/drawing/2014/main" id="{839F88A1-BCF0-47B6-AC42-60A5ABAFDBC2}"/>
                </a:ext>
              </a:extLst>
            </p:cNvPr>
            <p:cNvSpPr txBox="1"/>
            <p:nvPr/>
          </p:nvSpPr>
          <p:spPr>
            <a:xfrm flipH="1">
              <a:off x="8958968" y="2172071"/>
              <a:ext cx="1987912" cy="498204"/>
            </a:xfrm>
            <a:prstGeom prst="rect">
              <a:avLst/>
            </a:prstGeom>
            <a:noFill/>
          </p:spPr>
          <p:txBody>
            <a:bodyPr wrap="square" lIns="0" tIns="36000" rIns="0" bIns="36000" rtlCol="0">
              <a:spAutoFit/>
            </a:bodyPr>
            <a:lstStyle>
              <a:defPPr>
                <a:defRPr lang="zh-CN"/>
              </a:defPPr>
              <a:lvl1pPr marR="0" lvl="0" indent="0" algn="ctr" fontAlgn="auto">
                <a:lnSpc>
                  <a:spcPct val="120000"/>
                </a:lnSpc>
                <a:spcBef>
                  <a:spcPts val="600"/>
                </a:spcBef>
                <a:spcAft>
                  <a:spcPts val="0"/>
                </a:spcAft>
                <a:buClrTx/>
                <a:buSzTx/>
                <a:buFontTx/>
                <a:buNone/>
                <a:tabLst/>
                <a:defRPr kumimoji="0" sz="1200" b="0" i="0" u="none" strike="noStrike" cap="none" spc="0" normalizeH="0" baseline="0">
                  <a:ln>
                    <a:noFill/>
                  </a:ln>
                  <a:solidFill>
                    <a:schemeClr val="tx1">
                      <a:lumMod val="75000"/>
                      <a:lumOff val="25000"/>
                    </a:schemeClr>
                  </a:solidFill>
                  <a:effectLst/>
                  <a:uLnTx/>
                  <a:uFillTx/>
                  <a:latin typeface="HarmonyOS Sans SC"/>
                </a:defRPr>
              </a:lvl1pPr>
            </a:lstStyle>
            <a:p>
              <a:r>
                <a:rPr lang="en-US"/>
                <a:t>Apparently</a:t>
              </a:r>
              <a:r>
                <a:rPr lang="en-US" dirty="0"/>
                <a:t> we had reached a great height in the.</a:t>
              </a:r>
            </a:p>
          </p:txBody>
        </p:sp>
      </p:grpSp>
      <p:grpSp>
        <p:nvGrpSpPr>
          <p:cNvPr id="34" name="组合 33">
            <a:extLst>
              <a:ext uri="{FF2B5EF4-FFF2-40B4-BE49-F238E27FC236}">
                <a16:creationId xmlns:a16="http://schemas.microsoft.com/office/drawing/2014/main" id="{9936D172-817C-4D70-86A4-517805EB7DDF}"/>
              </a:ext>
            </a:extLst>
          </p:cNvPr>
          <p:cNvGrpSpPr/>
          <p:nvPr/>
        </p:nvGrpSpPr>
        <p:grpSpPr>
          <a:xfrm>
            <a:off x="8421777" y="1982485"/>
            <a:ext cx="2299208" cy="985764"/>
            <a:chOff x="8924793" y="1788672"/>
            <a:chExt cx="2056261" cy="881603"/>
          </a:xfrm>
        </p:grpSpPr>
        <p:sp>
          <p:nvSpPr>
            <p:cNvPr id="35" name="TextBox 65">
              <a:extLst>
                <a:ext uri="{FF2B5EF4-FFF2-40B4-BE49-F238E27FC236}">
                  <a16:creationId xmlns:a16="http://schemas.microsoft.com/office/drawing/2014/main" id="{77F48D3F-54C0-4E0B-B2B4-362219DCC39A}"/>
                </a:ext>
              </a:extLst>
            </p:cNvPr>
            <p:cNvSpPr txBox="1"/>
            <p:nvPr/>
          </p:nvSpPr>
          <p:spPr>
            <a:xfrm flipH="1">
              <a:off x="8924793" y="1788672"/>
              <a:ext cx="2056261" cy="346642"/>
            </a:xfrm>
            <a:prstGeom prst="rect">
              <a:avLst/>
            </a:prstGeom>
            <a:noFill/>
          </p:spPr>
          <p:txBody>
            <a:bodyPr wrap="square" lIns="0" tIns="36000" rIns="0" bIns="36000" rtlCol="0">
              <a:spAutoFit/>
            </a:bodyPr>
            <a:lstStyle>
              <a:defPPr>
                <a:defRPr lang="zh-CN"/>
              </a:defPPr>
              <a:lvl1pPr marR="0" lvl="0" indent="0" algn="ctr" fontAlgn="auto">
                <a:lnSpc>
                  <a:spcPct val="120000"/>
                </a:lnSpc>
                <a:spcBef>
                  <a:spcPts val="600"/>
                </a:spcBef>
                <a:spcAft>
                  <a:spcPts val="0"/>
                </a:spcAft>
                <a:buClrTx/>
                <a:buSzTx/>
                <a:buFontTx/>
                <a:buNone/>
                <a:tabLst/>
                <a:defRPr kumimoji="0" b="0" i="0" u="none" strike="noStrike" cap="none" spc="0" normalizeH="0" baseline="0">
                  <a:ln>
                    <a:noFill/>
                  </a:ln>
                  <a:solidFill>
                    <a:schemeClr val="accent1"/>
                  </a:solidFill>
                  <a:effectLst/>
                  <a:uLnTx/>
                  <a:uFillTx/>
                  <a:latin typeface="HarmonyOS Sans SC Black"/>
                  <a:ea typeface="+mj-ea"/>
                </a:defRPr>
              </a:lvl1pPr>
            </a:lstStyle>
            <a:p>
              <a:r>
                <a:rPr lang="zh-CN" altLang="en-US" dirty="0"/>
                <a:t>关键词标题</a:t>
              </a:r>
              <a:endParaRPr lang="en-US" dirty="0"/>
            </a:p>
          </p:txBody>
        </p:sp>
        <p:sp>
          <p:nvSpPr>
            <p:cNvPr id="36" name="TextBox 65">
              <a:extLst>
                <a:ext uri="{FF2B5EF4-FFF2-40B4-BE49-F238E27FC236}">
                  <a16:creationId xmlns:a16="http://schemas.microsoft.com/office/drawing/2014/main" id="{A23AEFFC-0C18-4D2C-9236-685BD0A65EF3}"/>
                </a:ext>
              </a:extLst>
            </p:cNvPr>
            <p:cNvSpPr txBox="1"/>
            <p:nvPr/>
          </p:nvSpPr>
          <p:spPr>
            <a:xfrm flipH="1">
              <a:off x="8958967" y="2172071"/>
              <a:ext cx="1987912" cy="498204"/>
            </a:xfrm>
            <a:prstGeom prst="rect">
              <a:avLst/>
            </a:prstGeom>
            <a:noFill/>
          </p:spPr>
          <p:txBody>
            <a:bodyPr wrap="square" lIns="0" tIns="36000" rIns="0" bIns="36000" rtlCol="0">
              <a:spAutoFit/>
            </a:bodyPr>
            <a:lstStyle>
              <a:defPPr>
                <a:defRPr lang="zh-CN"/>
              </a:defPPr>
              <a:lvl1pPr marR="0" lvl="0" indent="0" algn="ctr" fontAlgn="auto">
                <a:lnSpc>
                  <a:spcPct val="120000"/>
                </a:lnSpc>
                <a:spcBef>
                  <a:spcPts val="600"/>
                </a:spcBef>
                <a:spcAft>
                  <a:spcPts val="0"/>
                </a:spcAft>
                <a:buClrTx/>
                <a:buSzTx/>
                <a:buFontTx/>
                <a:buNone/>
                <a:tabLst/>
                <a:defRPr kumimoji="0" sz="1200" b="0" i="0" u="none" strike="noStrike" cap="none" spc="0" normalizeH="0" baseline="0">
                  <a:ln>
                    <a:noFill/>
                  </a:ln>
                  <a:solidFill>
                    <a:schemeClr val="tx1">
                      <a:lumMod val="75000"/>
                      <a:lumOff val="25000"/>
                    </a:schemeClr>
                  </a:solidFill>
                  <a:effectLst/>
                  <a:uLnTx/>
                  <a:uFillTx/>
                  <a:latin typeface="HarmonyOS Sans SC"/>
                </a:defRPr>
              </a:lvl1pPr>
            </a:lstStyle>
            <a:p>
              <a:r>
                <a:rPr lang="en-US"/>
                <a:t>Apparently</a:t>
              </a:r>
              <a:r>
                <a:rPr lang="en-US" dirty="0"/>
                <a:t> we had reached a great height in the.</a:t>
              </a:r>
            </a:p>
          </p:txBody>
        </p:sp>
      </p:grpSp>
      <p:grpSp>
        <p:nvGrpSpPr>
          <p:cNvPr id="37" name="组合 36">
            <a:extLst>
              <a:ext uri="{FF2B5EF4-FFF2-40B4-BE49-F238E27FC236}">
                <a16:creationId xmlns:a16="http://schemas.microsoft.com/office/drawing/2014/main" id="{29919219-BA30-4258-A89A-D5B1E9F7947D}"/>
              </a:ext>
            </a:extLst>
          </p:cNvPr>
          <p:cNvGrpSpPr/>
          <p:nvPr/>
        </p:nvGrpSpPr>
        <p:grpSpPr>
          <a:xfrm>
            <a:off x="3298504" y="4529950"/>
            <a:ext cx="2299208" cy="985764"/>
            <a:chOff x="8924793" y="1788672"/>
            <a:chExt cx="2056261" cy="881603"/>
          </a:xfrm>
        </p:grpSpPr>
        <p:sp>
          <p:nvSpPr>
            <p:cNvPr id="38" name="TextBox 65">
              <a:extLst>
                <a:ext uri="{FF2B5EF4-FFF2-40B4-BE49-F238E27FC236}">
                  <a16:creationId xmlns:a16="http://schemas.microsoft.com/office/drawing/2014/main" id="{1E28CCCC-7B72-4D67-9CC8-3B0DCCFC35B4}"/>
                </a:ext>
              </a:extLst>
            </p:cNvPr>
            <p:cNvSpPr txBox="1"/>
            <p:nvPr/>
          </p:nvSpPr>
          <p:spPr>
            <a:xfrm flipH="1">
              <a:off x="8924793" y="1788672"/>
              <a:ext cx="2056261" cy="346642"/>
            </a:xfrm>
            <a:prstGeom prst="rect">
              <a:avLst/>
            </a:prstGeom>
            <a:noFill/>
          </p:spPr>
          <p:txBody>
            <a:bodyPr wrap="square" lIns="0" tIns="36000" rIns="0" bIns="36000" rtlCol="0">
              <a:spAutoFit/>
            </a:bodyPr>
            <a:lstStyle>
              <a:defPPr>
                <a:defRPr lang="zh-CN"/>
              </a:defPPr>
              <a:lvl1pPr marR="0" lvl="0" indent="0" algn="ctr" fontAlgn="auto">
                <a:lnSpc>
                  <a:spcPct val="120000"/>
                </a:lnSpc>
                <a:spcBef>
                  <a:spcPts val="600"/>
                </a:spcBef>
                <a:spcAft>
                  <a:spcPts val="0"/>
                </a:spcAft>
                <a:buClrTx/>
                <a:buSzTx/>
                <a:buFontTx/>
                <a:buNone/>
                <a:tabLst/>
                <a:defRPr kumimoji="0" b="0" i="0" u="none" strike="noStrike" cap="none" spc="0" normalizeH="0" baseline="0">
                  <a:ln>
                    <a:noFill/>
                  </a:ln>
                  <a:solidFill>
                    <a:schemeClr val="accent1"/>
                  </a:solidFill>
                  <a:effectLst/>
                  <a:uLnTx/>
                  <a:uFillTx/>
                  <a:latin typeface="HarmonyOS Sans SC Black"/>
                  <a:ea typeface="+mj-ea"/>
                </a:defRPr>
              </a:lvl1pPr>
            </a:lstStyle>
            <a:p>
              <a:r>
                <a:rPr lang="zh-CN" altLang="en-US" dirty="0"/>
                <a:t>关键词标题</a:t>
              </a:r>
              <a:endParaRPr lang="en-US" dirty="0"/>
            </a:p>
          </p:txBody>
        </p:sp>
        <p:sp>
          <p:nvSpPr>
            <p:cNvPr id="39" name="TextBox 65">
              <a:extLst>
                <a:ext uri="{FF2B5EF4-FFF2-40B4-BE49-F238E27FC236}">
                  <a16:creationId xmlns:a16="http://schemas.microsoft.com/office/drawing/2014/main" id="{A4020CEF-3C55-4AF7-826C-C958989BB70A}"/>
                </a:ext>
              </a:extLst>
            </p:cNvPr>
            <p:cNvSpPr txBox="1"/>
            <p:nvPr/>
          </p:nvSpPr>
          <p:spPr>
            <a:xfrm flipH="1">
              <a:off x="8958967" y="2172071"/>
              <a:ext cx="1987912" cy="498204"/>
            </a:xfrm>
            <a:prstGeom prst="rect">
              <a:avLst/>
            </a:prstGeom>
            <a:noFill/>
          </p:spPr>
          <p:txBody>
            <a:bodyPr wrap="square" lIns="0" tIns="36000" rIns="0" bIns="36000" rtlCol="0">
              <a:spAutoFit/>
            </a:bodyPr>
            <a:lstStyle>
              <a:defPPr>
                <a:defRPr lang="zh-CN"/>
              </a:defPPr>
              <a:lvl1pPr marR="0" lvl="0" indent="0" algn="ctr" fontAlgn="auto">
                <a:lnSpc>
                  <a:spcPct val="120000"/>
                </a:lnSpc>
                <a:spcBef>
                  <a:spcPts val="600"/>
                </a:spcBef>
                <a:spcAft>
                  <a:spcPts val="0"/>
                </a:spcAft>
                <a:buClrTx/>
                <a:buSzTx/>
                <a:buFontTx/>
                <a:buNone/>
                <a:tabLst/>
                <a:defRPr kumimoji="0" sz="1200" b="0" i="0" u="none" strike="noStrike" cap="none" spc="0" normalizeH="0" baseline="0">
                  <a:ln>
                    <a:noFill/>
                  </a:ln>
                  <a:solidFill>
                    <a:schemeClr val="tx1">
                      <a:lumMod val="75000"/>
                      <a:lumOff val="25000"/>
                    </a:schemeClr>
                  </a:solidFill>
                  <a:effectLst/>
                  <a:uLnTx/>
                  <a:uFillTx/>
                  <a:latin typeface="HarmonyOS Sans SC"/>
                </a:defRPr>
              </a:lvl1pPr>
            </a:lstStyle>
            <a:p>
              <a:r>
                <a:rPr lang="en-US"/>
                <a:t>Apparently</a:t>
              </a:r>
              <a:r>
                <a:rPr lang="en-US" dirty="0"/>
                <a:t> we had reached a great height in the.</a:t>
              </a:r>
            </a:p>
          </p:txBody>
        </p:sp>
      </p:grpSp>
      <p:grpSp>
        <p:nvGrpSpPr>
          <p:cNvPr id="40" name="组合 39">
            <a:extLst>
              <a:ext uri="{FF2B5EF4-FFF2-40B4-BE49-F238E27FC236}">
                <a16:creationId xmlns:a16="http://schemas.microsoft.com/office/drawing/2014/main" id="{B343DDC4-111D-47D6-BE0D-2AF79A61B147}"/>
              </a:ext>
            </a:extLst>
          </p:cNvPr>
          <p:cNvGrpSpPr/>
          <p:nvPr/>
        </p:nvGrpSpPr>
        <p:grpSpPr>
          <a:xfrm>
            <a:off x="6753218" y="4529950"/>
            <a:ext cx="2299208" cy="985764"/>
            <a:chOff x="8924793" y="1788672"/>
            <a:chExt cx="2056261" cy="881603"/>
          </a:xfrm>
        </p:grpSpPr>
        <p:sp>
          <p:nvSpPr>
            <p:cNvPr id="41" name="TextBox 65">
              <a:extLst>
                <a:ext uri="{FF2B5EF4-FFF2-40B4-BE49-F238E27FC236}">
                  <a16:creationId xmlns:a16="http://schemas.microsoft.com/office/drawing/2014/main" id="{004E3088-AF65-44C6-97AF-2A2967D5AEED}"/>
                </a:ext>
              </a:extLst>
            </p:cNvPr>
            <p:cNvSpPr txBox="1"/>
            <p:nvPr/>
          </p:nvSpPr>
          <p:spPr>
            <a:xfrm flipH="1">
              <a:off x="8924793" y="1788672"/>
              <a:ext cx="2056261" cy="346642"/>
            </a:xfrm>
            <a:prstGeom prst="rect">
              <a:avLst/>
            </a:prstGeom>
            <a:noFill/>
          </p:spPr>
          <p:txBody>
            <a:bodyPr wrap="square" lIns="0" tIns="36000" rIns="0" bIns="36000" rtlCol="0">
              <a:spAutoFit/>
            </a:bodyPr>
            <a:lstStyle>
              <a:defPPr>
                <a:defRPr lang="zh-CN"/>
              </a:defPPr>
              <a:lvl1pPr marR="0" lvl="0" indent="0" algn="ctr" fontAlgn="auto">
                <a:lnSpc>
                  <a:spcPct val="120000"/>
                </a:lnSpc>
                <a:spcBef>
                  <a:spcPts val="600"/>
                </a:spcBef>
                <a:spcAft>
                  <a:spcPts val="0"/>
                </a:spcAft>
                <a:buClrTx/>
                <a:buSzTx/>
                <a:buFontTx/>
                <a:buNone/>
                <a:tabLst/>
                <a:defRPr kumimoji="0" b="0" i="0" u="none" strike="noStrike" cap="none" spc="0" normalizeH="0" baseline="0">
                  <a:ln>
                    <a:noFill/>
                  </a:ln>
                  <a:solidFill>
                    <a:schemeClr val="accent1"/>
                  </a:solidFill>
                  <a:effectLst/>
                  <a:uLnTx/>
                  <a:uFillTx/>
                  <a:latin typeface="HarmonyOS Sans SC Black"/>
                  <a:ea typeface="+mj-ea"/>
                </a:defRPr>
              </a:lvl1pPr>
            </a:lstStyle>
            <a:p>
              <a:r>
                <a:rPr lang="zh-CN" altLang="en-US" dirty="0"/>
                <a:t>关键词标题</a:t>
              </a:r>
              <a:endParaRPr lang="en-US" dirty="0"/>
            </a:p>
          </p:txBody>
        </p:sp>
        <p:sp>
          <p:nvSpPr>
            <p:cNvPr id="42" name="TextBox 65">
              <a:extLst>
                <a:ext uri="{FF2B5EF4-FFF2-40B4-BE49-F238E27FC236}">
                  <a16:creationId xmlns:a16="http://schemas.microsoft.com/office/drawing/2014/main" id="{B389D25D-558D-4CFB-B932-7DF216B3D1BE}"/>
                </a:ext>
              </a:extLst>
            </p:cNvPr>
            <p:cNvSpPr txBox="1"/>
            <p:nvPr/>
          </p:nvSpPr>
          <p:spPr>
            <a:xfrm flipH="1">
              <a:off x="8958967" y="2172071"/>
              <a:ext cx="1987912" cy="498204"/>
            </a:xfrm>
            <a:prstGeom prst="rect">
              <a:avLst/>
            </a:prstGeom>
            <a:noFill/>
          </p:spPr>
          <p:txBody>
            <a:bodyPr wrap="square" lIns="0" tIns="36000" rIns="0" bIns="36000" rtlCol="0">
              <a:spAutoFit/>
            </a:bodyPr>
            <a:lstStyle>
              <a:defPPr>
                <a:defRPr lang="zh-CN"/>
              </a:defPPr>
              <a:lvl1pPr marR="0" lvl="0" indent="0" algn="ctr" fontAlgn="auto">
                <a:lnSpc>
                  <a:spcPct val="120000"/>
                </a:lnSpc>
                <a:spcBef>
                  <a:spcPts val="600"/>
                </a:spcBef>
                <a:spcAft>
                  <a:spcPts val="0"/>
                </a:spcAft>
                <a:buClrTx/>
                <a:buSzTx/>
                <a:buFontTx/>
                <a:buNone/>
                <a:tabLst/>
                <a:defRPr kumimoji="0" sz="1200" b="0" i="0" u="none" strike="noStrike" cap="none" spc="0" normalizeH="0" baseline="0">
                  <a:ln>
                    <a:noFill/>
                  </a:ln>
                  <a:solidFill>
                    <a:schemeClr val="tx1">
                      <a:lumMod val="75000"/>
                      <a:lumOff val="25000"/>
                    </a:schemeClr>
                  </a:solidFill>
                  <a:effectLst/>
                  <a:uLnTx/>
                  <a:uFillTx/>
                  <a:latin typeface="HarmonyOS Sans SC"/>
                </a:defRPr>
              </a:lvl1pPr>
            </a:lstStyle>
            <a:p>
              <a:r>
                <a:rPr lang="en-US"/>
                <a:t>Apparently</a:t>
              </a:r>
              <a:r>
                <a:rPr lang="en-US" dirty="0"/>
                <a:t> we had reached a great height in the.</a:t>
              </a:r>
            </a:p>
          </p:txBody>
        </p:sp>
      </p:grpSp>
    </p:spTree>
    <p:extLst>
      <p:ext uri="{BB962C8B-B14F-4D97-AF65-F5344CB8AC3E}">
        <p14:creationId xmlns:p14="http://schemas.microsoft.com/office/powerpoint/2010/main" val="2068125628"/>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矩形 21">
            <a:extLst>
              <a:ext uri="{FF2B5EF4-FFF2-40B4-BE49-F238E27FC236}">
                <a16:creationId xmlns:a16="http://schemas.microsoft.com/office/drawing/2014/main" id="{2DC04403-7B51-483C-AF9A-235DA781F69C}"/>
              </a:ext>
            </a:extLst>
          </p:cNvPr>
          <p:cNvSpPr/>
          <p:nvPr/>
        </p:nvSpPr>
        <p:spPr>
          <a:xfrm>
            <a:off x="-1" y="1876425"/>
            <a:ext cx="2968061" cy="3105150"/>
          </a:xfrm>
          <a:prstGeom prst="rect">
            <a:avLst/>
          </a:prstGeom>
          <a:solidFill>
            <a:schemeClr val="accent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p>
        </p:txBody>
      </p:sp>
      <p:sp>
        <p:nvSpPr>
          <p:cNvPr id="2" name="矩形 1">
            <a:extLst>
              <a:ext uri="{FF2B5EF4-FFF2-40B4-BE49-F238E27FC236}">
                <a16:creationId xmlns:a16="http://schemas.microsoft.com/office/drawing/2014/main" id="{F682F9CF-E3FB-4D92-9D66-55D5787E1B96}"/>
              </a:ext>
            </a:extLst>
          </p:cNvPr>
          <p:cNvSpPr/>
          <p:nvPr/>
        </p:nvSpPr>
        <p:spPr>
          <a:xfrm>
            <a:off x="2733676" y="1876425"/>
            <a:ext cx="9458324" cy="31051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p>
        </p:txBody>
      </p:sp>
      <p:grpSp>
        <p:nvGrpSpPr>
          <p:cNvPr id="6" name="组合 5">
            <a:extLst>
              <a:ext uri="{FF2B5EF4-FFF2-40B4-BE49-F238E27FC236}">
                <a16:creationId xmlns:a16="http://schemas.microsoft.com/office/drawing/2014/main" id="{BB090D6E-ECF5-4E0A-8657-9AE1E6A87463}"/>
              </a:ext>
            </a:extLst>
          </p:cNvPr>
          <p:cNvGrpSpPr/>
          <p:nvPr/>
        </p:nvGrpSpPr>
        <p:grpSpPr>
          <a:xfrm>
            <a:off x="3583799" y="2510656"/>
            <a:ext cx="7751686" cy="2047110"/>
            <a:chOff x="3304658" y="2437427"/>
            <a:chExt cx="8309967" cy="2194544"/>
          </a:xfrm>
        </p:grpSpPr>
        <p:sp>
          <p:nvSpPr>
            <p:cNvPr id="11" name="文本框 10">
              <a:extLst>
                <a:ext uri="{FF2B5EF4-FFF2-40B4-BE49-F238E27FC236}">
                  <a16:creationId xmlns:a16="http://schemas.microsoft.com/office/drawing/2014/main" id="{E4393356-E9A7-46D9-B5F5-0D21EC991A29}"/>
                </a:ext>
              </a:extLst>
            </p:cNvPr>
            <p:cNvSpPr txBox="1"/>
            <p:nvPr/>
          </p:nvSpPr>
          <p:spPr>
            <a:xfrm>
              <a:off x="3304658" y="2945543"/>
              <a:ext cx="8309967" cy="1107996"/>
            </a:xfrm>
            <a:prstGeom prst="rect">
              <a:avLst/>
            </a:prstGeom>
            <a:noFill/>
          </p:spPr>
          <p:txBody>
            <a:bodyPr wrap="none" lIns="0" tIns="0" rIns="0" bIns="0" rtlCol="0" anchor="t">
              <a:spAutoFit/>
            </a:bodyPr>
            <a:lstStyle/>
            <a:p>
              <a:pPr algn="ctr"/>
              <a:r>
                <a:rPr lang="zh-CN" altLang="en-US" sz="6600" dirty="0">
                  <a:solidFill>
                    <a:schemeClr val="bg1"/>
                  </a:solidFill>
                  <a:latin typeface="+mj-ea"/>
                  <a:ea typeface="+mj-ea"/>
                </a:rPr>
                <a:t>输入你的封面大标题</a:t>
              </a:r>
            </a:p>
          </p:txBody>
        </p:sp>
        <p:sp>
          <p:nvSpPr>
            <p:cNvPr id="12" name="文本框 11">
              <a:extLst>
                <a:ext uri="{FF2B5EF4-FFF2-40B4-BE49-F238E27FC236}">
                  <a16:creationId xmlns:a16="http://schemas.microsoft.com/office/drawing/2014/main" id="{08D1ED60-C0E7-408E-A5AA-59B489440FCB}"/>
                </a:ext>
              </a:extLst>
            </p:cNvPr>
            <p:cNvSpPr txBox="1"/>
            <p:nvPr/>
          </p:nvSpPr>
          <p:spPr>
            <a:xfrm>
              <a:off x="5493730" y="2437427"/>
              <a:ext cx="3931819" cy="362937"/>
            </a:xfrm>
            <a:prstGeom prst="rect">
              <a:avLst/>
            </a:prstGeom>
            <a:noFill/>
          </p:spPr>
          <p:txBody>
            <a:bodyPr wrap="none" lIns="0" tIns="0" rIns="0" bIns="0" rtlCol="0" anchor="t">
              <a:spAutoFit/>
            </a:bodyPr>
            <a:lstStyle/>
            <a:p>
              <a:pPr algn="ctr"/>
              <a:r>
                <a:rPr lang="zh-CN" altLang="en-US" sz="2200" dirty="0">
                  <a:solidFill>
                    <a:schemeClr val="bg1"/>
                  </a:solidFill>
                  <a:latin typeface="+mn-ea"/>
                </a:rPr>
                <a:t>输入你的副标题或大标题英文</a:t>
              </a:r>
            </a:p>
          </p:txBody>
        </p:sp>
        <p:cxnSp>
          <p:nvCxnSpPr>
            <p:cNvPr id="14" name="直接连接符 13">
              <a:extLst>
                <a:ext uri="{FF2B5EF4-FFF2-40B4-BE49-F238E27FC236}">
                  <a16:creationId xmlns:a16="http://schemas.microsoft.com/office/drawing/2014/main" id="{99FDF5DC-EAFA-4C3B-B052-660243EB047F}"/>
                </a:ext>
              </a:extLst>
            </p:cNvPr>
            <p:cNvCxnSpPr/>
            <p:nvPr/>
          </p:nvCxnSpPr>
          <p:spPr>
            <a:xfrm flipH="1">
              <a:off x="3393609" y="2598071"/>
              <a:ext cx="1901952"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 name="直接连接符 14">
              <a:extLst>
                <a:ext uri="{FF2B5EF4-FFF2-40B4-BE49-F238E27FC236}">
                  <a16:creationId xmlns:a16="http://schemas.microsoft.com/office/drawing/2014/main" id="{C6CC629A-E754-4728-BB95-563C56597B63}"/>
                </a:ext>
              </a:extLst>
            </p:cNvPr>
            <p:cNvCxnSpPr/>
            <p:nvPr/>
          </p:nvCxnSpPr>
          <p:spPr>
            <a:xfrm flipH="1">
              <a:off x="9648105" y="2598071"/>
              <a:ext cx="1901952"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grpSp>
          <p:nvGrpSpPr>
            <p:cNvPr id="18" name="组合 17">
              <a:extLst>
                <a:ext uri="{FF2B5EF4-FFF2-40B4-BE49-F238E27FC236}">
                  <a16:creationId xmlns:a16="http://schemas.microsoft.com/office/drawing/2014/main" id="{FC799265-AC15-410F-82A2-679AB60B288F}"/>
                </a:ext>
              </a:extLst>
            </p:cNvPr>
            <p:cNvGrpSpPr/>
            <p:nvPr/>
          </p:nvGrpSpPr>
          <p:grpSpPr>
            <a:xfrm>
              <a:off x="5695343" y="4401010"/>
              <a:ext cx="1402535" cy="230961"/>
              <a:chOff x="4095451" y="4640913"/>
              <a:chExt cx="1402535" cy="230961"/>
            </a:xfrm>
          </p:grpSpPr>
          <p:sp>
            <p:nvSpPr>
              <p:cNvPr id="16" name="矩形 15">
                <a:extLst>
                  <a:ext uri="{FF2B5EF4-FFF2-40B4-BE49-F238E27FC236}">
                    <a16:creationId xmlns:a16="http://schemas.microsoft.com/office/drawing/2014/main" id="{74C493E7-1B47-4349-BC5B-BF3163490795}"/>
                  </a:ext>
                </a:extLst>
              </p:cNvPr>
              <p:cNvSpPr/>
              <p:nvPr/>
            </p:nvSpPr>
            <p:spPr>
              <a:xfrm>
                <a:off x="4095451" y="4672584"/>
                <a:ext cx="164592" cy="1645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5400" dirty="0">
                  <a:solidFill>
                    <a:schemeClr val="bg1"/>
                  </a:solidFill>
                </a:endParaRPr>
              </a:p>
            </p:txBody>
          </p:sp>
          <p:sp>
            <p:nvSpPr>
              <p:cNvPr id="17" name="文本框 16">
                <a:extLst>
                  <a:ext uri="{FF2B5EF4-FFF2-40B4-BE49-F238E27FC236}">
                    <a16:creationId xmlns:a16="http://schemas.microsoft.com/office/drawing/2014/main" id="{B804F6AA-7656-4EF8-84F0-3B3FB5CF0922}"/>
                  </a:ext>
                </a:extLst>
              </p:cNvPr>
              <p:cNvSpPr txBox="1"/>
              <p:nvPr/>
            </p:nvSpPr>
            <p:spPr>
              <a:xfrm>
                <a:off x="4408487" y="4640913"/>
                <a:ext cx="1089499" cy="230961"/>
              </a:xfrm>
              <a:prstGeom prst="rect">
                <a:avLst/>
              </a:prstGeom>
              <a:noFill/>
            </p:spPr>
            <p:txBody>
              <a:bodyPr wrap="none" lIns="0" tIns="0" rIns="0" bIns="0" rtlCol="0" anchor="t">
                <a:spAutoFit/>
              </a:bodyPr>
              <a:lstStyle/>
              <a:p>
                <a:r>
                  <a:rPr lang="zh-CN" altLang="en-US" sz="1400" dirty="0">
                    <a:solidFill>
                      <a:schemeClr val="bg1"/>
                    </a:solidFill>
                    <a:latin typeface="+mn-ea"/>
                  </a:rPr>
                  <a:t>汇报人：</a:t>
                </a:r>
                <a:r>
                  <a:rPr lang="en-US" altLang="zh-CN" sz="1400" dirty="0">
                    <a:solidFill>
                      <a:schemeClr val="bg1"/>
                    </a:solidFill>
                    <a:latin typeface="+mn-ea"/>
                  </a:rPr>
                  <a:t>xxx</a:t>
                </a:r>
                <a:endParaRPr lang="zh-CN" altLang="en-US" sz="1400" dirty="0">
                  <a:solidFill>
                    <a:schemeClr val="bg1"/>
                  </a:solidFill>
                  <a:latin typeface="+mn-ea"/>
                </a:endParaRPr>
              </a:p>
            </p:txBody>
          </p:sp>
        </p:grpSp>
        <p:grpSp>
          <p:nvGrpSpPr>
            <p:cNvPr id="19" name="组合 18">
              <a:extLst>
                <a:ext uri="{FF2B5EF4-FFF2-40B4-BE49-F238E27FC236}">
                  <a16:creationId xmlns:a16="http://schemas.microsoft.com/office/drawing/2014/main" id="{482B1619-178E-45D1-BC39-C5F4314075B6}"/>
                </a:ext>
              </a:extLst>
            </p:cNvPr>
            <p:cNvGrpSpPr/>
            <p:nvPr/>
          </p:nvGrpSpPr>
          <p:grpSpPr>
            <a:xfrm>
              <a:off x="7953911" y="4401010"/>
              <a:ext cx="1210068" cy="230961"/>
              <a:chOff x="4095451" y="4640913"/>
              <a:chExt cx="1210068" cy="230961"/>
            </a:xfrm>
          </p:grpSpPr>
          <p:sp>
            <p:nvSpPr>
              <p:cNvPr id="20" name="矩形 19">
                <a:extLst>
                  <a:ext uri="{FF2B5EF4-FFF2-40B4-BE49-F238E27FC236}">
                    <a16:creationId xmlns:a16="http://schemas.microsoft.com/office/drawing/2014/main" id="{3A1AE345-38CE-49BE-9E58-2C20078777A3}"/>
                  </a:ext>
                </a:extLst>
              </p:cNvPr>
              <p:cNvSpPr/>
              <p:nvPr/>
            </p:nvSpPr>
            <p:spPr>
              <a:xfrm>
                <a:off x="4095451" y="4672584"/>
                <a:ext cx="164592" cy="1645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5400" dirty="0">
                  <a:solidFill>
                    <a:schemeClr val="bg1"/>
                  </a:solidFill>
                </a:endParaRPr>
              </a:p>
            </p:txBody>
          </p:sp>
          <p:sp>
            <p:nvSpPr>
              <p:cNvPr id="21" name="文本框 20">
                <a:extLst>
                  <a:ext uri="{FF2B5EF4-FFF2-40B4-BE49-F238E27FC236}">
                    <a16:creationId xmlns:a16="http://schemas.microsoft.com/office/drawing/2014/main" id="{FCC3031D-C171-43E7-B549-82FC96054817}"/>
                  </a:ext>
                </a:extLst>
              </p:cNvPr>
              <p:cNvSpPr txBox="1"/>
              <p:nvPr/>
            </p:nvSpPr>
            <p:spPr>
              <a:xfrm>
                <a:off x="4408487" y="4640913"/>
                <a:ext cx="897032" cy="230961"/>
              </a:xfrm>
              <a:prstGeom prst="rect">
                <a:avLst/>
              </a:prstGeom>
              <a:noFill/>
            </p:spPr>
            <p:txBody>
              <a:bodyPr wrap="none" lIns="0" tIns="0" rIns="0" bIns="0" rtlCol="0" anchor="t">
                <a:spAutoFit/>
              </a:bodyPr>
              <a:lstStyle/>
              <a:p>
                <a:r>
                  <a:rPr lang="zh-CN" altLang="en-US" sz="1400" dirty="0">
                    <a:solidFill>
                      <a:schemeClr val="bg1"/>
                    </a:solidFill>
                    <a:latin typeface="+mn-ea"/>
                  </a:rPr>
                  <a:t>单位：</a:t>
                </a:r>
                <a:r>
                  <a:rPr lang="en-US" altLang="zh-CN" sz="1400" dirty="0">
                    <a:solidFill>
                      <a:schemeClr val="bg1"/>
                    </a:solidFill>
                    <a:latin typeface="+mn-ea"/>
                  </a:rPr>
                  <a:t>xxx</a:t>
                </a:r>
                <a:endParaRPr lang="zh-CN" altLang="en-US" sz="1400" dirty="0">
                  <a:solidFill>
                    <a:schemeClr val="bg1"/>
                  </a:solidFill>
                  <a:latin typeface="+mn-ea"/>
                </a:endParaRPr>
              </a:p>
            </p:txBody>
          </p:sp>
        </p:grpSp>
        <p:cxnSp>
          <p:nvCxnSpPr>
            <p:cNvPr id="23" name="直接连接符 22">
              <a:extLst>
                <a:ext uri="{FF2B5EF4-FFF2-40B4-BE49-F238E27FC236}">
                  <a16:creationId xmlns:a16="http://schemas.microsoft.com/office/drawing/2014/main" id="{CE4614EF-B88F-4347-B526-58ECE7F96194}"/>
                </a:ext>
              </a:extLst>
            </p:cNvPr>
            <p:cNvCxnSpPr>
              <a:cxnSpLocks/>
            </p:cNvCxnSpPr>
            <p:nvPr/>
          </p:nvCxnSpPr>
          <p:spPr>
            <a:xfrm flipH="1">
              <a:off x="3393609" y="4122071"/>
              <a:ext cx="8156448"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25" name="任意多边形: 形状 24">
            <a:extLst>
              <a:ext uri="{FF2B5EF4-FFF2-40B4-BE49-F238E27FC236}">
                <a16:creationId xmlns:a16="http://schemas.microsoft.com/office/drawing/2014/main" id="{0138FCBA-FB73-4CEE-B5D0-F9016855BA21}"/>
              </a:ext>
            </a:extLst>
          </p:cNvPr>
          <p:cNvSpPr/>
          <p:nvPr/>
        </p:nvSpPr>
        <p:spPr>
          <a:xfrm>
            <a:off x="723679" y="2818432"/>
            <a:ext cx="1331826" cy="1221507"/>
          </a:xfrm>
          <a:custGeom>
            <a:avLst/>
            <a:gdLst>
              <a:gd name="connsiteX0" fmla="*/ 1006264 w 1331826"/>
              <a:gd name="connsiteY0" fmla="*/ 238125 h 1221507"/>
              <a:gd name="connsiteX1" fmla="*/ 1123466 w 1331826"/>
              <a:gd name="connsiteY1" fmla="*/ 355327 h 1221507"/>
              <a:gd name="connsiteX2" fmla="*/ 1006264 w 1331826"/>
              <a:gd name="connsiteY2" fmla="*/ 472529 h 1221507"/>
              <a:gd name="connsiteX3" fmla="*/ 889062 w 1331826"/>
              <a:gd name="connsiteY3" fmla="*/ 355327 h 1221507"/>
              <a:gd name="connsiteX4" fmla="*/ 1006264 w 1331826"/>
              <a:gd name="connsiteY4" fmla="*/ 238125 h 1221507"/>
              <a:gd name="connsiteX5" fmla="*/ 172827 w 1331826"/>
              <a:gd name="connsiteY5" fmla="*/ 104180 h 1221507"/>
              <a:gd name="connsiteX6" fmla="*/ 105482 w 1331826"/>
              <a:gd name="connsiteY6" fmla="*/ 171152 h 1221507"/>
              <a:gd name="connsiteX7" fmla="*/ 105482 w 1331826"/>
              <a:gd name="connsiteY7" fmla="*/ 726281 h 1221507"/>
              <a:gd name="connsiteX8" fmla="*/ 179152 w 1331826"/>
              <a:gd name="connsiteY8" fmla="*/ 599777 h 1221507"/>
              <a:gd name="connsiteX9" fmla="*/ 303795 w 1331826"/>
              <a:gd name="connsiteY9" fmla="*/ 490761 h 1221507"/>
              <a:gd name="connsiteX10" fmla="*/ 414300 w 1331826"/>
              <a:gd name="connsiteY10" fmla="*/ 507504 h 1221507"/>
              <a:gd name="connsiteX11" fmla="*/ 731676 w 1331826"/>
              <a:gd name="connsiteY11" fmla="*/ 856878 h 1221507"/>
              <a:gd name="connsiteX12" fmla="*/ 780790 w 1331826"/>
              <a:gd name="connsiteY12" fmla="*/ 791022 h 1221507"/>
              <a:gd name="connsiteX13" fmla="*/ 988777 w 1331826"/>
              <a:gd name="connsiteY13" fmla="*/ 633264 h 1221507"/>
              <a:gd name="connsiteX14" fmla="*/ 1093329 w 1331826"/>
              <a:gd name="connsiteY14" fmla="*/ 666006 h 1221507"/>
              <a:gd name="connsiteX15" fmla="*/ 1227646 w 1331826"/>
              <a:gd name="connsiteY15" fmla="*/ 821159 h 1221507"/>
              <a:gd name="connsiteX16" fmla="*/ 1227646 w 1331826"/>
              <a:gd name="connsiteY16" fmla="*/ 171152 h 1221507"/>
              <a:gd name="connsiteX17" fmla="*/ 1160673 w 1331826"/>
              <a:gd name="connsiteY17" fmla="*/ 104180 h 1221507"/>
              <a:gd name="connsiteX18" fmla="*/ 172827 w 1331826"/>
              <a:gd name="connsiteY18" fmla="*/ 0 h 1221507"/>
              <a:gd name="connsiteX19" fmla="*/ 1160673 w 1331826"/>
              <a:gd name="connsiteY19" fmla="*/ 0 h 1221507"/>
              <a:gd name="connsiteX20" fmla="*/ 1331826 w 1331826"/>
              <a:gd name="connsiteY20" fmla="*/ 171152 h 1221507"/>
              <a:gd name="connsiteX21" fmla="*/ 1331826 w 1331826"/>
              <a:gd name="connsiteY21" fmla="*/ 1050355 h 1221507"/>
              <a:gd name="connsiteX22" fmla="*/ 1160673 w 1331826"/>
              <a:gd name="connsiteY22" fmla="*/ 1221507 h 1221507"/>
              <a:gd name="connsiteX23" fmla="*/ 172827 w 1331826"/>
              <a:gd name="connsiteY23" fmla="*/ 1221507 h 1221507"/>
              <a:gd name="connsiteX24" fmla="*/ 1674 w 1331826"/>
              <a:gd name="connsiteY24" fmla="*/ 1050355 h 1221507"/>
              <a:gd name="connsiteX25" fmla="*/ 1674 w 1331826"/>
              <a:gd name="connsiteY25" fmla="*/ 1006450 h 1221507"/>
              <a:gd name="connsiteX26" fmla="*/ 1674 w 1331826"/>
              <a:gd name="connsiteY26" fmla="*/ 980405 h 1221507"/>
              <a:gd name="connsiteX27" fmla="*/ 1674 w 1331826"/>
              <a:gd name="connsiteY27" fmla="*/ 171152 h 1221507"/>
              <a:gd name="connsiteX28" fmla="*/ 172827 w 1331826"/>
              <a:gd name="connsiteY28" fmla="*/ 0 h 1221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31826" h="1221507">
                <a:moveTo>
                  <a:pt x="1006264" y="238125"/>
                </a:moveTo>
                <a:cubicBezTo>
                  <a:pt x="1070993" y="238125"/>
                  <a:pt x="1123466" y="290598"/>
                  <a:pt x="1123466" y="355327"/>
                </a:cubicBezTo>
                <a:cubicBezTo>
                  <a:pt x="1123466" y="420056"/>
                  <a:pt x="1070993" y="472529"/>
                  <a:pt x="1006264" y="472529"/>
                </a:cubicBezTo>
                <a:cubicBezTo>
                  <a:pt x="941535" y="472529"/>
                  <a:pt x="889062" y="420056"/>
                  <a:pt x="889062" y="355327"/>
                </a:cubicBezTo>
                <a:cubicBezTo>
                  <a:pt x="889062" y="290598"/>
                  <a:pt x="941535" y="238125"/>
                  <a:pt x="1006264" y="238125"/>
                </a:cubicBezTo>
                <a:close/>
                <a:moveTo>
                  <a:pt x="172827" y="104180"/>
                </a:moveTo>
                <a:cubicBezTo>
                  <a:pt x="135620" y="104180"/>
                  <a:pt x="105854" y="133945"/>
                  <a:pt x="105482" y="171152"/>
                </a:cubicBezTo>
                <a:lnTo>
                  <a:pt x="105482" y="726281"/>
                </a:lnTo>
                <a:cubicBezTo>
                  <a:pt x="130411" y="676424"/>
                  <a:pt x="154967" y="634008"/>
                  <a:pt x="179152" y="599777"/>
                </a:cubicBezTo>
                <a:cubicBezTo>
                  <a:pt x="220824" y="540246"/>
                  <a:pt x="261751" y="504527"/>
                  <a:pt x="303795" y="490761"/>
                </a:cubicBezTo>
                <a:cubicBezTo>
                  <a:pt x="342491" y="478110"/>
                  <a:pt x="380442" y="483691"/>
                  <a:pt x="414300" y="507504"/>
                </a:cubicBezTo>
                <a:cubicBezTo>
                  <a:pt x="528526" y="587871"/>
                  <a:pt x="663215" y="762372"/>
                  <a:pt x="731676" y="856878"/>
                </a:cubicBezTo>
                <a:cubicBezTo>
                  <a:pt x="745443" y="837158"/>
                  <a:pt x="762186" y="814090"/>
                  <a:pt x="780790" y="791022"/>
                </a:cubicBezTo>
                <a:cubicBezTo>
                  <a:pt x="858552" y="693911"/>
                  <a:pt x="926641" y="642193"/>
                  <a:pt x="988777" y="633264"/>
                </a:cubicBezTo>
                <a:cubicBezTo>
                  <a:pt x="1028216" y="627683"/>
                  <a:pt x="1064307" y="638845"/>
                  <a:pt x="1093329" y="666006"/>
                </a:cubicBezTo>
                <a:cubicBezTo>
                  <a:pt x="1142070" y="711398"/>
                  <a:pt x="1188951" y="768697"/>
                  <a:pt x="1227646" y="821159"/>
                </a:cubicBezTo>
                <a:lnTo>
                  <a:pt x="1227646" y="171152"/>
                </a:lnTo>
                <a:cubicBezTo>
                  <a:pt x="1227646" y="134317"/>
                  <a:pt x="1197508" y="104180"/>
                  <a:pt x="1160673" y="104180"/>
                </a:cubicBezTo>
                <a:close/>
                <a:moveTo>
                  <a:pt x="172827" y="0"/>
                </a:moveTo>
                <a:lnTo>
                  <a:pt x="1160673" y="0"/>
                </a:lnTo>
                <a:cubicBezTo>
                  <a:pt x="1255179" y="0"/>
                  <a:pt x="1331826" y="76646"/>
                  <a:pt x="1331826" y="171152"/>
                </a:cubicBezTo>
                <a:lnTo>
                  <a:pt x="1331826" y="1050355"/>
                </a:lnTo>
                <a:cubicBezTo>
                  <a:pt x="1331826" y="1144860"/>
                  <a:pt x="1255179" y="1221507"/>
                  <a:pt x="1160673" y="1221507"/>
                </a:cubicBezTo>
                <a:lnTo>
                  <a:pt x="172827" y="1221507"/>
                </a:lnTo>
                <a:cubicBezTo>
                  <a:pt x="78321" y="1221507"/>
                  <a:pt x="1674" y="1144860"/>
                  <a:pt x="1674" y="1050355"/>
                </a:cubicBezTo>
                <a:lnTo>
                  <a:pt x="1674" y="1006450"/>
                </a:lnTo>
                <a:cubicBezTo>
                  <a:pt x="-558" y="997893"/>
                  <a:pt x="-558" y="989335"/>
                  <a:pt x="1674" y="980405"/>
                </a:cubicBezTo>
                <a:lnTo>
                  <a:pt x="1674" y="171152"/>
                </a:lnTo>
                <a:cubicBezTo>
                  <a:pt x="1674" y="76646"/>
                  <a:pt x="78321" y="0"/>
                  <a:pt x="172827" y="0"/>
                </a:cubicBezTo>
                <a:close/>
              </a:path>
            </a:pathLst>
          </a:custGeom>
          <a:solidFill>
            <a:schemeClr val="bg1"/>
          </a:solidFill>
          <a:ln w="1860" cap="flat">
            <a:noFill/>
            <a:prstDash val="solid"/>
            <a:miter/>
          </a:ln>
        </p:spPr>
        <p:txBody>
          <a:bodyPr rtlCol="0" anchor="ctr"/>
          <a:lstStyle/>
          <a:p>
            <a:endParaRPr lang="zh-CN" altLang="en-US"/>
          </a:p>
        </p:txBody>
      </p:sp>
    </p:spTree>
    <p:extLst>
      <p:ext uri="{BB962C8B-B14F-4D97-AF65-F5344CB8AC3E}">
        <p14:creationId xmlns:p14="http://schemas.microsoft.com/office/powerpoint/2010/main" val="4063841070"/>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4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5">
            <a:extLst>
              <a:ext uri="{FF2B5EF4-FFF2-40B4-BE49-F238E27FC236}">
                <a16:creationId xmlns:a16="http://schemas.microsoft.com/office/drawing/2014/main" id="{02A597BF-7760-46B6-A4B2-4DF434EA1DE7}"/>
              </a:ext>
            </a:extLst>
          </p:cNvPr>
          <p:cNvSpPr>
            <a:spLocks/>
          </p:cNvSpPr>
          <p:nvPr/>
        </p:nvSpPr>
        <p:spPr bwMode="auto">
          <a:xfrm>
            <a:off x="7210571" y="2137353"/>
            <a:ext cx="3986213" cy="4168775"/>
          </a:xfrm>
          <a:custGeom>
            <a:avLst/>
            <a:gdLst>
              <a:gd name="T0" fmla="*/ 435 w 1252"/>
              <a:gd name="T1" fmla="*/ 647 h 1304"/>
              <a:gd name="T2" fmla="*/ 406 w 1252"/>
              <a:gd name="T3" fmla="*/ 663 h 1304"/>
              <a:gd name="T4" fmla="*/ 175 w 1252"/>
              <a:gd name="T5" fmla="*/ 663 h 1304"/>
              <a:gd name="T6" fmla="*/ 146 w 1252"/>
              <a:gd name="T7" fmla="*/ 647 h 1304"/>
              <a:gd name="T8" fmla="*/ 64 w 1252"/>
              <a:gd name="T9" fmla="*/ 505 h 1304"/>
              <a:gd name="T10" fmla="*/ 6 w 1252"/>
              <a:gd name="T11" fmla="*/ 505 h 1304"/>
              <a:gd name="T12" fmla="*/ 6 w 1252"/>
              <a:gd name="T13" fmla="*/ 505 h 1304"/>
              <a:gd name="T14" fmla="*/ 6 w 1252"/>
              <a:gd name="T15" fmla="*/ 539 h 1304"/>
              <a:gd name="T16" fmla="*/ 107 w 1252"/>
              <a:gd name="T17" fmla="*/ 714 h 1304"/>
              <a:gd name="T18" fmla="*/ 136 w 1252"/>
              <a:gd name="T19" fmla="*/ 731 h 1304"/>
              <a:gd name="T20" fmla="*/ 445 w 1252"/>
              <a:gd name="T21" fmla="*/ 731 h 1304"/>
              <a:gd name="T22" fmla="*/ 474 w 1252"/>
              <a:gd name="T23" fmla="*/ 714 h 1304"/>
              <a:gd name="T24" fmla="*/ 763 w 1252"/>
              <a:gd name="T25" fmla="*/ 213 h 1304"/>
              <a:gd name="T26" fmla="*/ 792 w 1252"/>
              <a:gd name="T27" fmla="*/ 196 h 1304"/>
              <a:gd name="T28" fmla="*/ 1023 w 1252"/>
              <a:gd name="T29" fmla="*/ 196 h 1304"/>
              <a:gd name="T30" fmla="*/ 1052 w 1252"/>
              <a:gd name="T31" fmla="*/ 213 h 1304"/>
              <a:gd name="T32" fmla="*/ 1168 w 1252"/>
              <a:gd name="T33" fmla="*/ 413 h 1304"/>
              <a:gd name="T34" fmla="*/ 1168 w 1252"/>
              <a:gd name="T35" fmla="*/ 446 h 1304"/>
              <a:gd name="T36" fmla="*/ 1052 w 1252"/>
              <a:gd name="T37" fmla="*/ 647 h 1304"/>
              <a:gd name="T38" fmla="*/ 1023 w 1252"/>
              <a:gd name="T39" fmla="*/ 663 h 1304"/>
              <a:gd name="T40" fmla="*/ 792 w 1252"/>
              <a:gd name="T41" fmla="*/ 663 h 1304"/>
              <a:gd name="T42" fmla="*/ 763 w 1252"/>
              <a:gd name="T43" fmla="*/ 647 h 1304"/>
              <a:gd name="T44" fmla="*/ 682 w 1252"/>
              <a:gd name="T45" fmla="*/ 506 h 1304"/>
              <a:gd name="T46" fmla="*/ 623 w 1252"/>
              <a:gd name="T47" fmla="*/ 506 h 1304"/>
              <a:gd name="T48" fmla="*/ 623 w 1252"/>
              <a:gd name="T49" fmla="*/ 506 h 1304"/>
              <a:gd name="T50" fmla="*/ 623 w 1252"/>
              <a:gd name="T51" fmla="*/ 539 h 1304"/>
              <a:gd name="T52" fmla="*/ 724 w 1252"/>
              <a:gd name="T53" fmla="*/ 714 h 1304"/>
              <a:gd name="T54" fmla="*/ 753 w 1252"/>
              <a:gd name="T55" fmla="*/ 731 h 1304"/>
              <a:gd name="T56" fmla="*/ 1062 w 1252"/>
              <a:gd name="T57" fmla="*/ 731 h 1304"/>
              <a:gd name="T58" fmla="*/ 1091 w 1252"/>
              <a:gd name="T59" fmla="*/ 714 h 1304"/>
              <a:gd name="T60" fmla="*/ 1246 w 1252"/>
              <a:gd name="T61" fmla="*/ 446 h 1304"/>
              <a:gd name="T62" fmla="*/ 1246 w 1252"/>
              <a:gd name="T63" fmla="*/ 413 h 1304"/>
              <a:gd name="T64" fmla="*/ 1091 w 1252"/>
              <a:gd name="T65" fmla="*/ 145 h 1304"/>
              <a:gd name="T66" fmla="*/ 1062 w 1252"/>
              <a:gd name="T67" fmla="*/ 129 h 1304"/>
              <a:gd name="T68" fmla="*/ 753 w 1252"/>
              <a:gd name="T69" fmla="*/ 129 h 1304"/>
              <a:gd name="T70" fmla="*/ 724 w 1252"/>
              <a:gd name="T71" fmla="*/ 145 h 1304"/>
              <a:gd name="T72" fmla="*/ 435 w 1252"/>
              <a:gd name="T73" fmla="*/ 647 h 1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52" h="1304">
                <a:moveTo>
                  <a:pt x="435" y="647"/>
                </a:moveTo>
                <a:cubicBezTo>
                  <a:pt x="429" y="657"/>
                  <a:pt x="418" y="663"/>
                  <a:pt x="406" y="663"/>
                </a:cubicBezTo>
                <a:cubicBezTo>
                  <a:pt x="175" y="663"/>
                  <a:pt x="175" y="663"/>
                  <a:pt x="175" y="663"/>
                </a:cubicBezTo>
                <a:cubicBezTo>
                  <a:pt x="163" y="663"/>
                  <a:pt x="152" y="657"/>
                  <a:pt x="146" y="647"/>
                </a:cubicBezTo>
                <a:cubicBezTo>
                  <a:pt x="64" y="505"/>
                  <a:pt x="64" y="505"/>
                  <a:pt x="64" y="505"/>
                </a:cubicBezTo>
                <a:cubicBezTo>
                  <a:pt x="51" y="483"/>
                  <a:pt x="19" y="483"/>
                  <a:pt x="6" y="505"/>
                </a:cubicBezTo>
                <a:cubicBezTo>
                  <a:pt x="6" y="505"/>
                  <a:pt x="6" y="505"/>
                  <a:pt x="6" y="505"/>
                </a:cubicBezTo>
                <a:cubicBezTo>
                  <a:pt x="0" y="516"/>
                  <a:pt x="0" y="528"/>
                  <a:pt x="6" y="539"/>
                </a:cubicBezTo>
                <a:cubicBezTo>
                  <a:pt x="107" y="714"/>
                  <a:pt x="107" y="714"/>
                  <a:pt x="107" y="714"/>
                </a:cubicBezTo>
                <a:cubicBezTo>
                  <a:pt x="113" y="724"/>
                  <a:pt x="124" y="731"/>
                  <a:pt x="136" y="731"/>
                </a:cubicBezTo>
                <a:cubicBezTo>
                  <a:pt x="445" y="731"/>
                  <a:pt x="445" y="731"/>
                  <a:pt x="445" y="731"/>
                </a:cubicBezTo>
                <a:cubicBezTo>
                  <a:pt x="457" y="731"/>
                  <a:pt x="468" y="724"/>
                  <a:pt x="474" y="714"/>
                </a:cubicBezTo>
                <a:cubicBezTo>
                  <a:pt x="664" y="384"/>
                  <a:pt x="614" y="471"/>
                  <a:pt x="763" y="213"/>
                </a:cubicBezTo>
                <a:cubicBezTo>
                  <a:pt x="769" y="202"/>
                  <a:pt x="780" y="196"/>
                  <a:pt x="792" y="196"/>
                </a:cubicBezTo>
                <a:cubicBezTo>
                  <a:pt x="1023" y="196"/>
                  <a:pt x="1023" y="196"/>
                  <a:pt x="1023" y="196"/>
                </a:cubicBezTo>
                <a:cubicBezTo>
                  <a:pt x="1035" y="196"/>
                  <a:pt x="1046" y="202"/>
                  <a:pt x="1052" y="213"/>
                </a:cubicBezTo>
                <a:cubicBezTo>
                  <a:pt x="1168" y="413"/>
                  <a:pt x="1168" y="413"/>
                  <a:pt x="1168" y="413"/>
                </a:cubicBezTo>
                <a:cubicBezTo>
                  <a:pt x="1174" y="423"/>
                  <a:pt x="1174" y="436"/>
                  <a:pt x="1168" y="446"/>
                </a:cubicBezTo>
                <a:cubicBezTo>
                  <a:pt x="1052" y="647"/>
                  <a:pt x="1052" y="647"/>
                  <a:pt x="1052" y="647"/>
                </a:cubicBezTo>
                <a:cubicBezTo>
                  <a:pt x="1046" y="657"/>
                  <a:pt x="1035" y="663"/>
                  <a:pt x="1023" y="663"/>
                </a:cubicBezTo>
                <a:cubicBezTo>
                  <a:pt x="792" y="663"/>
                  <a:pt x="792" y="663"/>
                  <a:pt x="792" y="663"/>
                </a:cubicBezTo>
                <a:cubicBezTo>
                  <a:pt x="780" y="663"/>
                  <a:pt x="769" y="657"/>
                  <a:pt x="763" y="647"/>
                </a:cubicBezTo>
                <a:cubicBezTo>
                  <a:pt x="682" y="506"/>
                  <a:pt x="682" y="506"/>
                  <a:pt x="682" y="506"/>
                </a:cubicBezTo>
                <a:cubicBezTo>
                  <a:pt x="669" y="483"/>
                  <a:pt x="636" y="483"/>
                  <a:pt x="623" y="506"/>
                </a:cubicBezTo>
                <a:cubicBezTo>
                  <a:pt x="623" y="506"/>
                  <a:pt x="623" y="506"/>
                  <a:pt x="623" y="506"/>
                </a:cubicBezTo>
                <a:cubicBezTo>
                  <a:pt x="617" y="516"/>
                  <a:pt x="617" y="529"/>
                  <a:pt x="623" y="539"/>
                </a:cubicBezTo>
                <a:cubicBezTo>
                  <a:pt x="724" y="714"/>
                  <a:pt x="724" y="714"/>
                  <a:pt x="724" y="714"/>
                </a:cubicBezTo>
                <a:cubicBezTo>
                  <a:pt x="730" y="724"/>
                  <a:pt x="741" y="731"/>
                  <a:pt x="753" y="731"/>
                </a:cubicBezTo>
                <a:cubicBezTo>
                  <a:pt x="1062" y="731"/>
                  <a:pt x="1062" y="731"/>
                  <a:pt x="1062" y="731"/>
                </a:cubicBezTo>
                <a:cubicBezTo>
                  <a:pt x="1074" y="731"/>
                  <a:pt x="1085" y="724"/>
                  <a:pt x="1091" y="714"/>
                </a:cubicBezTo>
                <a:cubicBezTo>
                  <a:pt x="1246" y="446"/>
                  <a:pt x="1246" y="446"/>
                  <a:pt x="1246" y="446"/>
                </a:cubicBezTo>
                <a:cubicBezTo>
                  <a:pt x="1252" y="436"/>
                  <a:pt x="1252" y="423"/>
                  <a:pt x="1246" y="413"/>
                </a:cubicBezTo>
                <a:cubicBezTo>
                  <a:pt x="1091" y="145"/>
                  <a:pt x="1091" y="145"/>
                  <a:pt x="1091" y="145"/>
                </a:cubicBezTo>
                <a:cubicBezTo>
                  <a:pt x="1085" y="135"/>
                  <a:pt x="1074" y="129"/>
                  <a:pt x="1062" y="129"/>
                </a:cubicBezTo>
                <a:cubicBezTo>
                  <a:pt x="753" y="129"/>
                  <a:pt x="753" y="129"/>
                  <a:pt x="753" y="129"/>
                </a:cubicBezTo>
                <a:cubicBezTo>
                  <a:pt x="741" y="129"/>
                  <a:pt x="730" y="135"/>
                  <a:pt x="724" y="145"/>
                </a:cubicBezTo>
                <a:cubicBezTo>
                  <a:pt x="55" y="1304"/>
                  <a:pt x="808" y="0"/>
                  <a:pt x="435" y="647"/>
                </a:cubicBezTo>
                <a:close/>
              </a:path>
            </a:pathLst>
          </a:custGeom>
          <a:gradFill flip="none" rotWithShape="1">
            <a:gsLst>
              <a:gs pos="57000">
                <a:schemeClr val="accent1">
                  <a:lumMod val="60000"/>
                  <a:lumOff val="40000"/>
                </a:schemeClr>
              </a:gs>
              <a:gs pos="0">
                <a:schemeClr val="accent1"/>
              </a:gs>
              <a:gs pos="100000">
                <a:schemeClr val="accent1">
                  <a:lumMod val="40000"/>
                  <a:lumOff val="60000"/>
                </a:schemeClr>
              </a:gs>
            </a:gsLst>
            <a:lin ang="1080000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Open Sans"/>
              <a:cs typeface="+mn-cs"/>
            </a:endParaRPr>
          </a:p>
        </p:txBody>
      </p:sp>
      <p:sp>
        <p:nvSpPr>
          <p:cNvPr id="3" name="Freeform 6">
            <a:extLst>
              <a:ext uri="{FF2B5EF4-FFF2-40B4-BE49-F238E27FC236}">
                <a16:creationId xmlns:a16="http://schemas.microsoft.com/office/drawing/2014/main" id="{4509BD9A-E4FE-46F6-9F89-F17488064F5C}"/>
              </a:ext>
            </a:extLst>
          </p:cNvPr>
          <p:cNvSpPr>
            <a:spLocks/>
          </p:cNvSpPr>
          <p:nvPr/>
        </p:nvSpPr>
        <p:spPr bwMode="auto">
          <a:xfrm>
            <a:off x="5207145" y="2550102"/>
            <a:ext cx="3830638" cy="1924050"/>
          </a:xfrm>
          <a:custGeom>
            <a:avLst/>
            <a:gdLst>
              <a:gd name="T0" fmla="*/ 474 w 1203"/>
              <a:gd name="T1" fmla="*/ 585 h 602"/>
              <a:gd name="T2" fmla="*/ 445 w 1203"/>
              <a:gd name="T3" fmla="*/ 602 h 602"/>
              <a:gd name="T4" fmla="*/ 137 w 1203"/>
              <a:gd name="T5" fmla="*/ 602 h 602"/>
              <a:gd name="T6" fmla="*/ 107 w 1203"/>
              <a:gd name="T7" fmla="*/ 585 h 602"/>
              <a:gd name="T8" fmla="*/ 6 w 1203"/>
              <a:gd name="T9" fmla="*/ 410 h 602"/>
              <a:gd name="T10" fmla="*/ 6 w 1203"/>
              <a:gd name="T11" fmla="*/ 376 h 602"/>
              <a:gd name="T12" fmla="*/ 6 w 1203"/>
              <a:gd name="T13" fmla="*/ 376 h 602"/>
              <a:gd name="T14" fmla="*/ 65 w 1203"/>
              <a:gd name="T15" fmla="*/ 376 h 602"/>
              <a:gd name="T16" fmla="*/ 146 w 1203"/>
              <a:gd name="T17" fmla="*/ 518 h 602"/>
              <a:gd name="T18" fmla="*/ 175 w 1203"/>
              <a:gd name="T19" fmla="*/ 534 h 602"/>
              <a:gd name="T20" fmla="*/ 407 w 1203"/>
              <a:gd name="T21" fmla="*/ 534 h 602"/>
              <a:gd name="T22" fmla="*/ 436 w 1203"/>
              <a:gd name="T23" fmla="*/ 518 h 602"/>
              <a:gd name="T24" fmla="*/ 725 w 1203"/>
              <a:gd name="T25" fmla="*/ 16 h 602"/>
              <a:gd name="T26" fmla="*/ 754 w 1203"/>
              <a:gd name="T27" fmla="*/ 0 h 602"/>
              <a:gd name="T28" fmla="*/ 1063 w 1203"/>
              <a:gd name="T29" fmla="*/ 0 h 602"/>
              <a:gd name="T30" fmla="*/ 1092 w 1203"/>
              <a:gd name="T31" fmla="*/ 16 h 602"/>
              <a:gd name="T32" fmla="*/ 1194 w 1203"/>
              <a:gd name="T33" fmla="*/ 193 h 602"/>
              <a:gd name="T34" fmla="*/ 1181 w 1203"/>
              <a:gd name="T35" fmla="*/ 239 h 602"/>
              <a:gd name="T36" fmla="*/ 1181 w 1203"/>
              <a:gd name="T37" fmla="*/ 239 h 602"/>
              <a:gd name="T38" fmla="*/ 1135 w 1203"/>
              <a:gd name="T39" fmla="*/ 226 h 602"/>
              <a:gd name="T40" fmla="*/ 1053 w 1203"/>
              <a:gd name="T41" fmla="*/ 84 h 602"/>
              <a:gd name="T42" fmla="*/ 1024 w 1203"/>
              <a:gd name="T43" fmla="*/ 67 h 602"/>
              <a:gd name="T44" fmla="*/ 793 w 1203"/>
              <a:gd name="T45" fmla="*/ 67 h 602"/>
              <a:gd name="T46" fmla="*/ 764 w 1203"/>
              <a:gd name="T47" fmla="*/ 84 h 602"/>
              <a:gd name="T48" fmla="*/ 474 w 1203"/>
              <a:gd name="T49" fmla="*/ 585 h 6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03" h="602">
                <a:moveTo>
                  <a:pt x="474" y="585"/>
                </a:moveTo>
                <a:cubicBezTo>
                  <a:pt x="468" y="595"/>
                  <a:pt x="457" y="602"/>
                  <a:pt x="445" y="602"/>
                </a:cubicBezTo>
                <a:cubicBezTo>
                  <a:pt x="137" y="602"/>
                  <a:pt x="137" y="602"/>
                  <a:pt x="137" y="602"/>
                </a:cubicBezTo>
                <a:cubicBezTo>
                  <a:pt x="125" y="602"/>
                  <a:pt x="113" y="595"/>
                  <a:pt x="107" y="585"/>
                </a:cubicBezTo>
                <a:cubicBezTo>
                  <a:pt x="6" y="410"/>
                  <a:pt x="6" y="410"/>
                  <a:pt x="6" y="410"/>
                </a:cubicBezTo>
                <a:cubicBezTo>
                  <a:pt x="0" y="399"/>
                  <a:pt x="0" y="387"/>
                  <a:pt x="6" y="376"/>
                </a:cubicBezTo>
                <a:cubicBezTo>
                  <a:pt x="6" y="376"/>
                  <a:pt x="6" y="376"/>
                  <a:pt x="6" y="376"/>
                </a:cubicBezTo>
                <a:cubicBezTo>
                  <a:pt x="19" y="354"/>
                  <a:pt x="52" y="354"/>
                  <a:pt x="65" y="376"/>
                </a:cubicBezTo>
                <a:cubicBezTo>
                  <a:pt x="146" y="518"/>
                  <a:pt x="146" y="518"/>
                  <a:pt x="146" y="518"/>
                </a:cubicBezTo>
                <a:cubicBezTo>
                  <a:pt x="152" y="528"/>
                  <a:pt x="163" y="534"/>
                  <a:pt x="175" y="534"/>
                </a:cubicBezTo>
                <a:cubicBezTo>
                  <a:pt x="407" y="534"/>
                  <a:pt x="407" y="534"/>
                  <a:pt x="407" y="534"/>
                </a:cubicBezTo>
                <a:cubicBezTo>
                  <a:pt x="419" y="534"/>
                  <a:pt x="430" y="528"/>
                  <a:pt x="436" y="518"/>
                </a:cubicBezTo>
                <a:cubicBezTo>
                  <a:pt x="436" y="516"/>
                  <a:pt x="724" y="18"/>
                  <a:pt x="725" y="16"/>
                </a:cubicBezTo>
                <a:cubicBezTo>
                  <a:pt x="731" y="6"/>
                  <a:pt x="742" y="0"/>
                  <a:pt x="754" y="0"/>
                </a:cubicBezTo>
                <a:cubicBezTo>
                  <a:pt x="1063" y="0"/>
                  <a:pt x="1063" y="0"/>
                  <a:pt x="1063" y="0"/>
                </a:cubicBezTo>
                <a:cubicBezTo>
                  <a:pt x="1075" y="0"/>
                  <a:pt x="1086" y="6"/>
                  <a:pt x="1092" y="16"/>
                </a:cubicBezTo>
                <a:cubicBezTo>
                  <a:pt x="1194" y="193"/>
                  <a:pt x="1194" y="193"/>
                  <a:pt x="1194" y="193"/>
                </a:cubicBezTo>
                <a:cubicBezTo>
                  <a:pt x="1203" y="209"/>
                  <a:pt x="1197" y="230"/>
                  <a:pt x="1181" y="239"/>
                </a:cubicBezTo>
                <a:cubicBezTo>
                  <a:pt x="1181" y="239"/>
                  <a:pt x="1181" y="239"/>
                  <a:pt x="1181" y="239"/>
                </a:cubicBezTo>
                <a:cubicBezTo>
                  <a:pt x="1165" y="248"/>
                  <a:pt x="1144" y="242"/>
                  <a:pt x="1135" y="226"/>
                </a:cubicBezTo>
                <a:cubicBezTo>
                  <a:pt x="1053" y="84"/>
                  <a:pt x="1053" y="84"/>
                  <a:pt x="1053" y="84"/>
                </a:cubicBezTo>
                <a:cubicBezTo>
                  <a:pt x="1047" y="73"/>
                  <a:pt x="1036" y="67"/>
                  <a:pt x="1024" y="67"/>
                </a:cubicBezTo>
                <a:cubicBezTo>
                  <a:pt x="793" y="67"/>
                  <a:pt x="793" y="67"/>
                  <a:pt x="793" y="67"/>
                </a:cubicBezTo>
                <a:cubicBezTo>
                  <a:pt x="781" y="67"/>
                  <a:pt x="770" y="73"/>
                  <a:pt x="764" y="84"/>
                </a:cubicBezTo>
                <a:cubicBezTo>
                  <a:pt x="764" y="84"/>
                  <a:pt x="596" y="375"/>
                  <a:pt x="474" y="585"/>
                </a:cubicBezTo>
                <a:close/>
              </a:path>
            </a:pathLst>
          </a:custGeom>
          <a:gradFill flip="none" rotWithShape="1">
            <a:gsLst>
              <a:gs pos="57000">
                <a:schemeClr val="accent1">
                  <a:lumMod val="60000"/>
                  <a:lumOff val="40000"/>
                </a:schemeClr>
              </a:gs>
              <a:gs pos="0">
                <a:schemeClr val="accent1"/>
              </a:gs>
              <a:gs pos="100000">
                <a:schemeClr val="accent1">
                  <a:lumMod val="40000"/>
                  <a:lumOff val="60000"/>
                </a:schemeClr>
              </a:gs>
            </a:gsLst>
            <a:lin ang="1080000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cs typeface="+mn-cs"/>
            </a:endParaRPr>
          </a:p>
        </p:txBody>
      </p:sp>
      <p:sp>
        <p:nvSpPr>
          <p:cNvPr id="4" name="Freeform 7">
            <a:extLst>
              <a:ext uri="{FF2B5EF4-FFF2-40B4-BE49-F238E27FC236}">
                <a16:creationId xmlns:a16="http://schemas.microsoft.com/office/drawing/2014/main" id="{BBB16BED-FAFB-4C1A-9B12-5E05E659DFA8}"/>
              </a:ext>
            </a:extLst>
          </p:cNvPr>
          <p:cNvSpPr>
            <a:spLocks/>
          </p:cNvSpPr>
          <p:nvPr/>
        </p:nvSpPr>
        <p:spPr bwMode="auto">
          <a:xfrm>
            <a:off x="3224357" y="2550102"/>
            <a:ext cx="3830638" cy="1924050"/>
          </a:xfrm>
          <a:custGeom>
            <a:avLst/>
            <a:gdLst>
              <a:gd name="T0" fmla="*/ 474 w 1203"/>
              <a:gd name="T1" fmla="*/ 585 h 602"/>
              <a:gd name="T2" fmla="*/ 445 w 1203"/>
              <a:gd name="T3" fmla="*/ 602 h 602"/>
              <a:gd name="T4" fmla="*/ 136 w 1203"/>
              <a:gd name="T5" fmla="*/ 602 h 602"/>
              <a:gd name="T6" fmla="*/ 107 w 1203"/>
              <a:gd name="T7" fmla="*/ 585 h 602"/>
              <a:gd name="T8" fmla="*/ 6 w 1203"/>
              <a:gd name="T9" fmla="*/ 410 h 602"/>
              <a:gd name="T10" fmla="*/ 6 w 1203"/>
              <a:gd name="T11" fmla="*/ 376 h 602"/>
              <a:gd name="T12" fmla="*/ 6 w 1203"/>
              <a:gd name="T13" fmla="*/ 376 h 602"/>
              <a:gd name="T14" fmla="*/ 65 w 1203"/>
              <a:gd name="T15" fmla="*/ 376 h 602"/>
              <a:gd name="T16" fmla="*/ 146 w 1203"/>
              <a:gd name="T17" fmla="*/ 518 h 602"/>
              <a:gd name="T18" fmla="*/ 175 w 1203"/>
              <a:gd name="T19" fmla="*/ 534 h 602"/>
              <a:gd name="T20" fmla="*/ 406 w 1203"/>
              <a:gd name="T21" fmla="*/ 534 h 602"/>
              <a:gd name="T22" fmla="*/ 436 w 1203"/>
              <a:gd name="T23" fmla="*/ 518 h 602"/>
              <a:gd name="T24" fmla="*/ 725 w 1203"/>
              <a:gd name="T25" fmla="*/ 16 h 602"/>
              <a:gd name="T26" fmla="*/ 754 w 1203"/>
              <a:gd name="T27" fmla="*/ 0 h 602"/>
              <a:gd name="T28" fmla="*/ 1063 w 1203"/>
              <a:gd name="T29" fmla="*/ 0 h 602"/>
              <a:gd name="T30" fmla="*/ 1092 w 1203"/>
              <a:gd name="T31" fmla="*/ 16 h 602"/>
              <a:gd name="T32" fmla="*/ 1193 w 1203"/>
              <a:gd name="T33" fmla="*/ 193 h 602"/>
              <a:gd name="T34" fmla="*/ 1181 w 1203"/>
              <a:gd name="T35" fmla="*/ 239 h 602"/>
              <a:gd name="T36" fmla="*/ 1181 w 1203"/>
              <a:gd name="T37" fmla="*/ 239 h 602"/>
              <a:gd name="T38" fmla="*/ 1135 w 1203"/>
              <a:gd name="T39" fmla="*/ 226 h 602"/>
              <a:gd name="T40" fmla="*/ 1053 w 1203"/>
              <a:gd name="T41" fmla="*/ 84 h 602"/>
              <a:gd name="T42" fmla="*/ 1024 w 1203"/>
              <a:gd name="T43" fmla="*/ 67 h 602"/>
              <a:gd name="T44" fmla="*/ 793 w 1203"/>
              <a:gd name="T45" fmla="*/ 67 h 602"/>
              <a:gd name="T46" fmla="*/ 764 w 1203"/>
              <a:gd name="T47" fmla="*/ 84 h 602"/>
              <a:gd name="T48" fmla="*/ 474 w 1203"/>
              <a:gd name="T49" fmla="*/ 585 h 6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03" h="602">
                <a:moveTo>
                  <a:pt x="474" y="585"/>
                </a:moveTo>
                <a:cubicBezTo>
                  <a:pt x="468" y="595"/>
                  <a:pt x="457" y="602"/>
                  <a:pt x="445" y="602"/>
                </a:cubicBezTo>
                <a:cubicBezTo>
                  <a:pt x="136" y="602"/>
                  <a:pt x="136" y="602"/>
                  <a:pt x="136" y="602"/>
                </a:cubicBezTo>
                <a:cubicBezTo>
                  <a:pt x="125" y="602"/>
                  <a:pt x="113" y="595"/>
                  <a:pt x="107" y="585"/>
                </a:cubicBezTo>
                <a:cubicBezTo>
                  <a:pt x="6" y="410"/>
                  <a:pt x="6" y="410"/>
                  <a:pt x="6" y="410"/>
                </a:cubicBezTo>
                <a:cubicBezTo>
                  <a:pt x="0" y="399"/>
                  <a:pt x="0" y="387"/>
                  <a:pt x="6" y="376"/>
                </a:cubicBezTo>
                <a:cubicBezTo>
                  <a:pt x="6" y="376"/>
                  <a:pt x="6" y="376"/>
                  <a:pt x="6" y="376"/>
                </a:cubicBezTo>
                <a:cubicBezTo>
                  <a:pt x="19" y="354"/>
                  <a:pt x="52" y="354"/>
                  <a:pt x="65" y="376"/>
                </a:cubicBezTo>
                <a:cubicBezTo>
                  <a:pt x="146" y="518"/>
                  <a:pt x="146" y="518"/>
                  <a:pt x="146" y="518"/>
                </a:cubicBezTo>
                <a:cubicBezTo>
                  <a:pt x="152" y="528"/>
                  <a:pt x="163" y="534"/>
                  <a:pt x="175" y="534"/>
                </a:cubicBezTo>
                <a:cubicBezTo>
                  <a:pt x="406" y="534"/>
                  <a:pt x="406" y="534"/>
                  <a:pt x="406" y="534"/>
                </a:cubicBezTo>
                <a:cubicBezTo>
                  <a:pt x="418" y="534"/>
                  <a:pt x="430" y="528"/>
                  <a:pt x="436" y="518"/>
                </a:cubicBezTo>
                <a:cubicBezTo>
                  <a:pt x="553" y="314"/>
                  <a:pt x="598" y="236"/>
                  <a:pt x="725" y="16"/>
                </a:cubicBezTo>
                <a:cubicBezTo>
                  <a:pt x="731" y="6"/>
                  <a:pt x="742" y="0"/>
                  <a:pt x="754" y="0"/>
                </a:cubicBezTo>
                <a:cubicBezTo>
                  <a:pt x="1063" y="0"/>
                  <a:pt x="1063" y="0"/>
                  <a:pt x="1063" y="0"/>
                </a:cubicBezTo>
                <a:cubicBezTo>
                  <a:pt x="1075" y="0"/>
                  <a:pt x="1086" y="6"/>
                  <a:pt x="1092" y="16"/>
                </a:cubicBezTo>
                <a:cubicBezTo>
                  <a:pt x="1193" y="193"/>
                  <a:pt x="1193" y="193"/>
                  <a:pt x="1193" y="193"/>
                </a:cubicBezTo>
                <a:cubicBezTo>
                  <a:pt x="1203" y="209"/>
                  <a:pt x="1197" y="230"/>
                  <a:pt x="1181" y="239"/>
                </a:cubicBezTo>
                <a:cubicBezTo>
                  <a:pt x="1181" y="239"/>
                  <a:pt x="1181" y="239"/>
                  <a:pt x="1181" y="239"/>
                </a:cubicBezTo>
                <a:cubicBezTo>
                  <a:pt x="1165" y="248"/>
                  <a:pt x="1144" y="242"/>
                  <a:pt x="1135" y="226"/>
                </a:cubicBezTo>
                <a:cubicBezTo>
                  <a:pt x="1053" y="84"/>
                  <a:pt x="1053" y="84"/>
                  <a:pt x="1053" y="84"/>
                </a:cubicBezTo>
                <a:cubicBezTo>
                  <a:pt x="1047" y="73"/>
                  <a:pt x="1036" y="67"/>
                  <a:pt x="1024" y="67"/>
                </a:cubicBezTo>
                <a:cubicBezTo>
                  <a:pt x="793" y="67"/>
                  <a:pt x="793" y="67"/>
                  <a:pt x="793" y="67"/>
                </a:cubicBezTo>
                <a:cubicBezTo>
                  <a:pt x="781" y="67"/>
                  <a:pt x="770" y="73"/>
                  <a:pt x="764" y="84"/>
                </a:cubicBezTo>
                <a:cubicBezTo>
                  <a:pt x="764" y="84"/>
                  <a:pt x="589" y="386"/>
                  <a:pt x="474" y="585"/>
                </a:cubicBezTo>
                <a:close/>
              </a:path>
            </a:pathLst>
          </a:custGeom>
          <a:gradFill flip="none" rotWithShape="1">
            <a:gsLst>
              <a:gs pos="57000">
                <a:schemeClr val="accent1">
                  <a:lumMod val="60000"/>
                  <a:lumOff val="40000"/>
                </a:schemeClr>
              </a:gs>
              <a:gs pos="0">
                <a:schemeClr val="accent1"/>
              </a:gs>
              <a:gs pos="100000">
                <a:schemeClr val="accent1">
                  <a:lumMod val="40000"/>
                  <a:lumOff val="60000"/>
                </a:schemeClr>
              </a:gs>
            </a:gsLst>
            <a:lin ang="1080000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cs typeface="+mn-cs"/>
            </a:endParaRPr>
          </a:p>
        </p:txBody>
      </p:sp>
      <p:sp>
        <p:nvSpPr>
          <p:cNvPr id="5" name="Freeform 8">
            <a:extLst>
              <a:ext uri="{FF2B5EF4-FFF2-40B4-BE49-F238E27FC236}">
                <a16:creationId xmlns:a16="http://schemas.microsoft.com/office/drawing/2014/main" id="{0D7F62DB-A4CB-4A7E-A4E0-EC526C00DC4F}"/>
              </a:ext>
            </a:extLst>
          </p:cNvPr>
          <p:cNvSpPr>
            <a:spLocks/>
          </p:cNvSpPr>
          <p:nvPr/>
        </p:nvSpPr>
        <p:spPr bwMode="auto">
          <a:xfrm>
            <a:off x="1090757" y="2550102"/>
            <a:ext cx="3983038" cy="1924050"/>
          </a:xfrm>
          <a:custGeom>
            <a:avLst/>
            <a:gdLst>
              <a:gd name="T0" fmla="*/ 816 w 1251"/>
              <a:gd name="T1" fmla="*/ 84 h 602"/>
              <a:gd name="T2" fmla="*/ 845 w 1251"/>
              <a:gd name="T3" fmla="*/ 67 h 602"/>
              <a:gd name="T4" fmla="*/ 1076 w 1251"/>
              <a:gd name="T5" fmla="*/ 67 h 602"/>
              <a:gd name="T6" fmla="*/ 1106 w 1251"/>
              <a:gd name="T7" fmla="*/ 84 h 602"/>
              <a:gd name="T8" fmla="*/ 1187 w 1251"/>
              <a:gd name="T9" fmla="*/ 225 h 602"/>
              <a:gd name="T10" fmla="*/ 1245 w 1251"/>
              <a:gd name="T11" fmla="*/ 225 h 602"/>
              <a:gd name="T12" fmla="*/ 1245 w 1251"/>
              <a:gd name="T13" fmla="*/ 225 h 602"/>
              <a:gd name="T14" fmla="*/ 1245 w 1251"/>
              <a:gd name="T15" fmla="*/ 191 h 602"/>
              <a:gd name="T16" fmla="*/ 1144 w 1251"/>
              <a:gd name="T17" fmla="*/ 16 h 602"/>
              <a:gd name="T18" fmla="*/ 1115 w 1251"/>
              <a:gd name="T19" fmla="*/ 0 h 602"/>
              <a:gd name="T20" fmla="*/ 807 w 1251"/>
              <a:gd name="T21" fmla="*/ 0 h 602"/>
              <a:gd name="T22" fmla="*/ 777 w 1251"/>
              <a:gd name="T23" fmla="*/ 16 h 602"/>
              <a:gd name="T24" fmla="*/ 488 w 1251"/>
              <a:gd name="T25" fmla="*/ 518 h 602"/>
              <a:gd name="T26" fmla="*/ 459 w 1251"/>
              <a:gd name="T27" fmla="*/ 534 h 602"/>
              <a:gd name="T28" fmla="*/ 228 w 1251"/>
              <a:gd name="T29" fmla="*/ 534 h 602"/>
              <a:gd name="T30" fmla="*/ 199 w 1251"/>
              <a:gd name="T31" fmla="*/ 518 h 602"/>
              <a:gd name="T32" fmla="*/ 83 w 1251"/>
              <a:gd name="T33" fmla="*/ 317 h 602"/>
              <a:gd name="T34" fmla="*/ 83 w 1251"/>
              <a:gd name="T35" fmla="*/ 284 h 602"/>
              <a:gd name="T36" fmla="*/ 199 w 1251"/>
              <a:gd name="T37" fmla="*/ 84 h 602"/>
              <a:gd name="T38" fmla="*/ 228 w 1251"/>
              <a:gd name="T39" fmla="*/ 67 h 602"/>
              <a:gd name="T40" fmla="*/ 459 w 1251"/>
              <a:gd name="T41" fmla="*/ 67 h 602"/>
              <a:gd name="T42" fmla="*/ 488 w 1251"/>
              <a:gd name="T43" fmla="*/ 84 h 602"/>
              <a:gd name="T44" fmla="*/ 570 w 1251"/>
              <a:gd name="T45" fmla="*/ 225 h 602"/>
              <a:gd name="T46" fmla="*/ 628 w 1251"/>
              <a:gd name="T47" fmla="*/ 225 h 602"/>
              <a:gd name="T48" fmla="*/ 628 w 1251"/>
              <a:gd name="T49" fmla="*/ 225 h 602"/>
              <a:gd name="T50" fmla="*/ 628 w 1251"/>
              <a:gd name="T51" fmla="*/ 191 h 602"/>
              <a:gd name="T52" fmla="*/ 527 w 1251"/>
              <a:gd name="T53" fmla="*/ 16 h 602"/>
              <a:gd name="T54" fmla="*/ 498 w 1251"/>
              <a:gd name="T55" fmla="*/ 0 h 602"/>
              <a:gd name="T56" fmla="*/ 189 w 1251"/>
              <a:gd name="T57" fmla="*/ 0 h 602"/>
              <a:gd name="T58" fmla="*/ 160 w 1251"/>
              <a:gd name="T59" fmla="*/ 16 h 602"/>
              <a:gd name="T60" fmla="*/ 6 w 1251"/>
              <a:gd name="T61" fmla="*/ 284 h 602"/>
              <a:gd name="T62" fmla="*/ 6 w 1251"/>
              <a:gd name="T63" fmla="*/ 317 h 602"/>
              <a:gd name="T64" fmla="*/ 160 w 1251"/>
              <a:gd name="T65" fmla="*/ 585 h 602"/>
              <a:gd name="T66" fmla="*/ 189 w 1251"/>
              <a:gd name="T67" fmla="*/ 602 h 602"/>
              <a:gd name="T68" fmla="*/ 498 w 1251"/>
              <a:gd name="T69" fmla="*/ 602 h 602"/>
              <a:gd name="T70" fmla="*/ 527 w 1251"/>
              <a:gd name="T71" fmla="*/ 585 h 602"/>
              <a:gd name="T72" fmla="*/ 816 w 1251"/>
              <a:gd name="T73" fmla="*/ 84 h 6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51" h="602">
                <a:moveTo>
                  <a:pt x="816" y="84"/>
                </a:moveTo>
                <a:cubicBezTo>
                  <a:pt x="822" y="73"/>
                  <a:pt x="833" y="67"/>
                  <a:pt x="845" y="67"/>
                </a:cubicBezTo>
                <a:cubicBezTo>
                  <a:pt x="1076" y="67"/>
                  <a:pt x="1076" y="67"/>
                  <a:pt x="1076" y="67"/>
                </a:cubicBezTo>
                <a:cubicBezTo>
                  <a:pt x="1088" y="67"/>
                  <a:pt x="1100" y="73"/>
                  <a:pt x="1106" y="84"/>
                </a:cubicBezTo>
                <a:cubicBezTo>
                  <a:pt x="1187" y="225"/>
                  <a:pt x="1187" y="225"/>
                  <a:pt x="1187" y="225"/>
                </a:cubicBezTo>
                <a:cubicBezTo>
                  <a:pt x="1200" y="247"/>
                  <a:pt x="1233" y="247"/>
                  <a:pt x="1245" y="225"/>
                </a:cubicBezTo>
                <a:cubicBezTo>
                  <a:pt x="1245" y="225"/>
                  <a:pt x="1245" y="225"/>
                  <a:pt x="1245" y="225"/>
                </a:cubicBezTo>
                <a:cubicBezTo>
                  <a:pt x="1251" y="215"/>
                  <a:pt x="1251" y="202"/>
                  <a:pt x="1245" y="191"/>
                </a:cubicBezTo>
                <a:cubicBezTo>
                  <a:pt x="1144" y="16"/>
                  <a:pt x="1144" y="16"/>
                  <a:pt x="1144" y="16"/>
                </a:cubicBezTo>
                <a:cubicBezTo>
                  <a:pt x="1138" y="6"/>
                  <a:pt x="1127" y="0"/>
                  <a:pt x="1115" y="0"/>
                </a:cubicBezTo>
                <a:cubicBezTo>
                  <a:pt x="807" y="0"/>
                  <a:pt x="807" y="0"/>
                  <a:pt x="807" y="0"/>
                </a:cubicBezTo>
                <a:cubicBezTo>
                  <a:pt x="795" y="0"/>
                  <a:pt x="783" y="6"/>
                  <a:pt x="777" y="16"/>
                </a:cubicBezTo>
                <a:cubicBezTo>
                  <a:pt x="777" y="16"/>
                  <a:pt x="557" y="399"/>
                  <a:pt x="488" y="518"/>
                </a:cubicBezTo>
                <a:cubicBezTo>
                  <a:pt x="482" y="528"/>
                  <a:pt x="471" y="534"/>
                  <a:pt x="459" y="534"/>
                </a:cubicBezTo>
                <a:cubicBezTo>
                  <a:pt x="228" y="534"/>
                  <a:pt x="228" y="534"/>
                  <a:pt x="228" y="534"/>
                </a:cubicBezTo>
                <a:cubicBezTo>
                  <a:pt x="216" y="534"/>
                  <a:pt x="205" y="528"/>
                  <a:pt x="199" y="518"/>
                </a:cubicBezTo>
                <a:cubicBezTo>
                  <a:pt x="83" y="317"/>
                  <a:pt x="83" y="317"/>
                  <a:pt x="83" y="317"/>
                </a:cubicBezTo>
                <a:cubicBezTo>
                  <a:pt x="77" y="307"/>
                  <a:pt x="77" y="294"/>
                  <a:pt x="83" y="284"/>
                </a:cubicBezTo>
                <a:cubicBezTo>
                  <a:pt x="199" y="84"/>
                  <a:pt x="199" y="84"/>
                  <a:pt x="199" y="84"/>
                </a:cubicBezTo>
                <a:cubicBezTo>
                  <a:pt x="205" y="73"/>
                  <a:pt x="216" y="67"/>
                  <a:pt x="228" y="67"/>
                </a:cubicBezTo>
                <a:cubicBezTo>
                  <a:pt x="459" y="67"/>
                  <a:pt x="459" y="67"/>
                  <a:pt x="459" y="67"/>
                </a:cubicBezTo>
                <a:cubicBezTo>
                  <a:pt x="471" y="67"/>
                  <a:pt x="482" y="73"/>
                  <a:pt x="488" y="84"/>
                </a:cubicBezTo>
                <a:cubicBezTo>
                  <a:pt x="570" y="225"/>
                  <a:pt x="570" y="225"/>
                  <a:pt x="570" y="225"/>
                </a:cubicBezTo>
                <a:cubicBezTo>
                  <a:pt x="582" y="247"/>
                  <a:pt x="615" y="247"/>
                  <a:pt x="628" y="225"/>
                </a:cubicBezTo>
                <a:cubicBezTo>
                  <a:pt x="628" y="225"/>
                  <a:pt x="628" y="225"/>
                  <a:pt x="628" y="225"/>
                </a:cubicBezTo>
                <a:cubicBezTo>
                  <a:pt x="634" y="214"/>
                  <a:pt x="634" y="201"/>
                  <a:pt x="628" y="191"/>
                </a:cubicBezTo>
                <a:cubicBezTo>
                  <a:pt x="527" y="16"/>
                  <a:pt x="527" y="16"/>
                  <a:pt x="527" y="16"/>
                </a:cubicBezTo>
                <a:cubicBezTo>
                  <a:pt x="521" y="6"/>
                  <a:pt x="510" y="0"/>
                  <a:pt x="498" y="0"/>
                </a:cubicBezTo>
                <a:cubicBezTo>
                  <a:pt x="189" y="0"/>
                  <a:pt x="189" y="0"/>
                  <a:pt x="189" y="0"/>
                </a:cubicBezTo>
                <a:cubicBezTo>
                  <a:pt x="177" y="0"/>
                  <a:pt x="166" y="6"/>
                  <a:pt x="160" y="16"/>
                </a:cubicBezTo>
                <a:cubicBezTo>
                  <a:pt x="6" y="284"/>
                  <a:pt x="6" y="284"/>
                  <a:pt x="6" y="284"/>
                </a:cubicBezTo>
                <a:cubicBezTo>
                  <a:pt x="0" y="294"/>
                  <a:pt x="0" y="307"/>
                  <a:pt x="6" y="317"/>
                </a:cubicBezTo>
                <a:cubicBezTo>
                  <a:pt x="160" y="585"/>
                  <a:pt x="160" y="585"/>
                  <a:pt x="160" y="585"/>
                </a:cubicBezTo>
                <a:cubicBezTo>
                  <a:pt x="166" y="595"/>
                  <a:pt x="177" y="602"/>
                  <a:pt x="189" y="602"/>
                </a:cubicBezTo>
                <a:cubicBezTo>
                  <a:pt x="498" y="602"/>
                  <a:pt x="498" y="602"/>
                  <a:pt x="498" y="602"/>
                </a:cubicBezTo>
                <a:cubicBezTo>
                  <a:pt x="510" y="602"/>
                  <a:pt x="521" y="595"/>
                  <a:pt x="527" y="585"/>
                </a:cubicBezTo>
                <a:cubicBezTo>
                  <a:pt x="558" y="530"/>
                  <a:pt x="585" y="485"/>
                  <a:pt x="816" y="84"/>
                </a:cubicBezTo>
                <a:close/>
              </a:path>
            </a:pathLst>
          </a:custGeom>
          <a:gradFill flip="none" rotWithShape="1">
            <a:gsLst>
              <a:gs pos="57000">
                <a:schemeClr val="accent1">
                  <a:lumMod val="60000"/>
                  <a:lumOff val="40000"/>
                </a:schemeClr>
              </a:gs>
              <a:gs pos="0">
                <a:schemeClr val="accent1"/>
              </a:gs>
              <a:gs pos="100000">
                <a:schemeClr val="accent1">
                  <a:lumMod val="40000"/>
                  <a:lumOff val="60000"/>
                </a:schemeClr>
              </a:gs>
            </a:gsLst>
            <a:lin ang="1080000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sp>
        <p:nvSpPr>
          <p:cNvPr id="6" name="Freeform 12">
            <a:extLst>
              <a:ext uri="{FF2B5EF4-FFF2-40B4-BE49-F238E27FC236}">
                <a16:creationId xmlns:a16="http://schemas.microsoft.com/office/drawing/2014/main" id="{D0889853-70C8-480E-8DF9-FFE259924765}"/>
              </a:ext>
            </a:extLst>
          </p:cNvPr>
          <p:cNvSpPr>
            <a:spLocks noEditPoints="1"/>
          </p:cNvSpPr>
          <p:nvPr/>
        </p:nvSpPr>
        <p:spPr bwMode="auto">
          <a:xfrm>
            <a:off x="1913082" y="3232727"/>
            <a:ext cx="485775" cy="558800"/>
          </a:xfrm>
          <a:custGeom>
            <a:avLst/>
            <a:gdLst>
              <a:gd name="T0" fmla="*/ 103 w 150"/>
              <a:gd name="T1" fmla="*/ 104 h 173"/>
              <a:gd name="T2" fmla="*/ 137 w 150"/>
              <a:gd name="T3" fmla="*/ 51 h 173"/>
              <a:gd name="T4" fmla="*/ 121 w 150"/>
              <a:gd name="T5" fmla="*/ 48 h 173"/>
              <a:gd name="T6" fmla="*/ 87 w 150"/>
              <a:gd name="T7" fmla="*/ 18 h 173"/>
              <a:gd name="T8" fmla="*/ 62 w 150"/>
              <a:gd name="T9" fmla="*/ 31 h 173"/>
              <a:gd name="T10" fmla="*/ 22 w 150"/>
              <a:gd name="T11" fmla="*/ 42 h 173"/>
              <a:gd name="T12" fmla="*/ 18 w 150"/>
              <a:gd name="T13" fmla="*/ 57 h 173"/>
              <a:gd name="T14" fmla="*/ 146 w 150"/>
              <a:gd name="T15" fmla="*/ 101 h 173"/>
              <a:gd name="T16" fmla="*/ 137 w 150"/>
              <a:gd name="T17" fmla="*/ 51 h 173"/>
              <a:gd name="T18" fmla="*/ 74 w 150"/>
              <a:gd name="T19" fmla="*/ 166 h 173"/>
              <a:gd name="T20" fmla="*/ 149 w 150"/>
              <a:gd name="T21" fmla="*/ 43 h 173"/>
              <a:gd name="T22" fmla="*/ 140 w 150"/>
              <a:gd name="T23" fmla="*/ 52 h 173"/>
              <a:gd name="T24" fmla="*/ 134 w 150"/>
              <a:gd name="T25" fmla="*/ 30 h 173"/>
              <a:gd name="T26" fmla="*/ 1 w 150"/>
              <a:gd name="T27" fmla="*/ 44 h 173"/>
              <a:gd name="T28" fmla="*/ 22 w 150"/>
              <a:gd name="T29" fmla="*/ 36 h 173"/>
              <a:gd name="T30" fmla="*/ 7 w 150"/>
              <a:gd name="T31" fmla="*/ 52 h 173"/>
              <a:gd name="T32" fmla="*/ 52 w 150"/>
              <a:gd name="T33" fmla="*/ 0 h 173"/>
              <a:gd name="T34" fmla="*/ 99 w 150"/>
              <a:gd name="T35" fmla="*/ 14 h 173"/>
              <a:gd name="T36" fmla="*/ 50 w 150"/>
              <a:gd name="T37" fmla="*/ 14 h 173"/>
              <a:gd name="T38" fmla="*/ 65 w 150"/>
              <a:gd name="T39" fmla="*/ 100 h 173"/>
              <a:gd name="T40" fmla="*/ 75 w 150"/>
              <a:gd name="T41" fmla="*/ 92 h 173"/>
              <a:gd name="T42" fmla="*/ 22 w 150"/>
              <a:gd name="T43" fmla="*/ 91 h 173"/>
              <a:gd name="T44" fmla="*/ 21 w 150"/>
              <a:gd name="T45" fmla="*/ 101 h 173"/>
              <a:gd name="T46" fmla="*/ 25 w 150"/>
              <a:gd name="T47" fmla="*/ 119 h 173"/>
              <a:gd name="T48" fmla="*/ 29 w 150"/>
              <a:gd name="T49" fmla="*/ 128 h 173"/>
              <a:gd name="T50" fmla="*/ 40 w 150"/>
              <a:gd name="T51" fmla="*/ 142 h 173"/>
              <a:gd name="T52" fmla="*/ 48 w 150"/>
              <a:gd name="T53" fmla="*/ 147 h 173"/>
              <a:gd name="T54" fmla="*/ 65 w 150"/>
              <a:gd name="T55" fmla="*/ 153 h 173"/>
              <a:gd name="T56" fmla="*/ 75 w 150"/>
              <a:gd name="T57" fmla="*/ 154 h 173"/>
              <a:gd name="T58" fmla="*/ 93 w 150"/>
              <a:gd name="T59" fmla="*/ 151 h 173"/>
              <a:gd name="T60" fmla="*/ 102 w 150"/>
              <a:gd name="T61" fmla="*/ 147 h 173"/>
              <a:gd name="T62" fmla="*/ 116 w 150"/>
              <a:gd name="T63" fmla="*/ 135 h 173"/>
              <a:gd name="T64" fmla="*/ 121 w 150"/>
              <a:gd name="T65" fmla="*/ 127 h 173"/>
              <a:gd name="T66" fmla="*/ 127 w 150"/>
              <a:gd name="T67" fmla="*/ 110 h 173"/>
              <a:gd name="T68" fmla="*/ 128 w 150"/>
              <a:gd name="T69" fmla="*/ 100 h 173"/>
              <a:gd name="T70" fmla="*/ 125 w 150"/>
              <a:gd name="T71" fmla="*/ 82 h 173"/>
              <a:gd name="T72" fmla="*/ 121 w 150"/>
              <a:gd name="T73" fmla="*/ 74 h 173"/>
              <a:gd name="T74" fmla="*/ 109 w 150"/>
              <a:gd name="T75" fmla="*/ 60 h 173"/>
              <a:gd name="T76" fmla="*/ 101 w 150"/>
              <a:gd name="T77" fmla="*/ 54 h 173"/>
              <a:gd name="T78" fmla="*/ 84 w 150"/>
              <a:gd name="T79" fmla="*/ 48 h 173"/>
              <a:gd name="T80" fmla="*/ 74 w 150"/>
              <a:gd name="T81" fmla="*/ 47 h 173"/>
              <a:gd name="T82" fmla="*/ 56 w 150"/>
              <a:gd name="T83" fmla="*/ 51 h 173"/>
              <a:gd name="T84" fmla="*/ 48 w 150"/>
              <a:gd name="T85" fmla="*/ 55 h 173"/>
              <a:gd name="T86" fmla="*/ 34 w 150"/>
              <a:gd name="T87" fmla="*/ 66 h 173"/>
              <a:gd name="T88" fmla="*/ 28 w 150"/>
              <a:gd name="T89" fmla="*/ 74 h 173"/>
              <a:gd name="T90" fmla="*/ 41 w 150"/>
              <a:gd name="T91" fmla="*/ 98 h 173"/>
              <a:gd name="T92" fmla="*/ 78 w 150"/>
              <a:gd name="T93" fmla="*/ 67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50" h="173">
                <a:moveTo>
                  <a:pt x="46" y="99"/>
                </a:moveTo>
                <a:cubicBezTo>
                  <a:pt x="48" y="83"/>
                  <a:pt x="62" y="71"/>
                  <a:pt x="77" y="73"/>
                </a:cubicBezTo>
                <a:cubicBezTo>
                  <a:pt x="93" y="74"/>
                  <a:pt x="105" y="88"/>
                  <a:pt x="103" y="104"/>
                </a:cubicBezTo>
                <a:cubicBezTo>
                  <a:pt x="102" y="119"/>
                  <a:pt x="88" y="131"/>
                  <a:pt x="72" y="130"/>
                </a:cubicBezTo>
                <a:cubicBezTo>
                  <a:pt x="57" y="128"/>
                  <a:pt x="45" y="114"/>
                  <a:pt x="46" y="99"/>
                </a:cubicBezTo>
                <a:close/>
                <a:moveTo>
                  <a:pt x="137" y="51"/>
                </a:moveTo>
                <a:cubicBezTo>
                  <a:pt x="128" y="42"/>
                  <a:pt x="128" y="42"/>
                  <a:pt x="128" y="42"/>
                </a:cubicBezTo>
                <a:cubicBezTo>
                  <a:pt x="128" y="42"/>
                  <a:pt x="128" y="42"/>
                  <a:pt x="128" y="42"/>
                </a:cubicBezTo>
                <a:cubicBezTo>
                  <a:pt x="121" y="48"/>
                  <a:pt x="121" y="48"/>
                  <a:pt x="121" y="48"/>
                </a:cubicBezTo>
                <a:cubicBezTo>
                  <a:pt x="112" y="39"/>
                  <a:pt x="101" y="34"/>
                  <a:pt x="88" y="31"/>
                </a:cubicBezTo>
                <a:cubicBezTo>
                  <a:pt x="88" y="19"/>
                  <a:pt x="88" y="19"/>
                  <a:pt x="88" y="19"/>
                </a:cubicBezTo>
                <a:cubicBezTo>
                  <a:pt x="88" y="18"/>
                  <a:pt x="88" y="18"/>
                  <a:pt x="87" y="18"/>
                </a:cubicBezTo>
                <a:cubicBezTo>
                  <a:pt x="63" y="18"/>
                  <a:pt x="63" y="18"/>
                  <a:pt x="63" y="18"/>
                </a:cubicBezTo>
                <a:cubicBezTo>
                  <a:pt x="62" y="18"/>
                  <a:pt x="62" y="18"/>
                  <a:pt x="62" y="19"/>
                </a:cubicBezTo>
                <a:cubicBezTo>
                  <a:pt x="62" y="31"/>
                  <a:pt x="62" y="31"/>
                  <a:pt x="62" y="31"/>
                </a:cubicBezTo>
                <a:cubicBezTo>
                  <a:pt x="49" y="33"/>
                  <a:pt x="37" y="39"/>
                  <a:pt x="28" y="47"/>
                </a:cubicBezTo>
                <a:cubicBezTo>
                  <a:pt x="22" y="42"/>
                  <a:pt x="22" y="42"/>
                  <a:pt x="22" y="42"/>
                </a:cubicBezTo>
                <a:cubicBezTo>
                  <a:pt x="22" y="42"/>
                  <a:pt x="22" y="42"/>
                  <a:pt x="22" y="42"/>
                </a:cubicBezTo>
                <a:cubicBezTo>
                  <a:pt x="13" y="51"/>
                  <a:pt x="13" y="51"/>
                  <a:pt x="13" y="51"/>
                </a:cubicBezTo>
                <a:cubicBezTo>
                  <a:pt x="13" y="52"/>
                  <a:pt x="13" y="52"/>
                  <a:pt x="13" y="52"/>
                </a:cubicBezTo>
                <a:cubicBezTo>
                  <a:pt x="18" y="57"/>
                  <a:pt x="18" y="57"/>
                  <a:pt x="18" y="57"/>
                </a:cubicBezTo>
                <a:cubicBezTo>
                  <a:pt x="8" y="69"/>
                  <a:pt x="3" y="84"/>
                  <a:pt x="3" y="101"/>
                </a:cubicBezTo>
                <a:cubicBezTo>
                  <a:pt x="3" y="141"/>
                  <a:pt x="35" y="173"/>
                  <a:pt x="74" y="173"/>
                </a:cubicBezTo>
                <a:cubicBezTo>
                  <a:pt x="114" y="173"/>
                  <a:pt x="146" y="141"/>
                  <a:pt x="146" y="101"/>
                </a:cubicBezTo>
                <a:cubicBezTo>
                  <a:pt x="146" y="85"/>
                  <a:pt x="140" y="69"/>
                  <a:pt x="131" y="57"/>
                </a:cubicBezTo>
                <a:cubicBezTo>
                  <a:pt x="137" y="51"/>
                  <a:pt x="137" y="51"/>
                  <a:pt x="137" y="51"/>
                </a:cubicBezTo>
                <a:cubicBezTo>
                  <a:pt x="137" y="51"/>
                  <a:pt x="137" y="51"/>
                  <a:pt x="137" y="51"/>
                </a:cubicBezTo>
                <a:close/>
                <a:moveTo>
                  <a:pt x="74" y="36"/>
                </a:moveTo>
                <a:cubicBezTo>
                  <a:pt x="38" y="36"/>
                  <a:pt x="9" y="65"/>
                  <a:pt x="9" y="101"/>
                </a:cubicBezTo>
                <a:cubicBezTo>
                  <a:pt x="9" y="137"/>
                  <a:pt x="38" y="166"/>
                  <a:pt x="74" y="166"/>
                </a:cubicBezTo>
                <a:cubicBezTo>
                  <a:pt x="110" y="166"/>
                  <a:pt x="139" y="137"/>
                  <a:pt x="139" y="101"/>
                </a:cubicBezTo>
                <a:cubicBezTo>
                  <a:pt x="139" y="65"/>
                  <a:pt x="110" y="36"/>
                  <a:pt x="74" y="36"/>
                </a:cubicBezTo>
                <a:close/>
                <a:moveTo>
                  <a:pt x="149" y="43"/>
                </a:moveTo>
                <a:cubicBezTo>
                  <a:pt x="150" y="44"/>
                  <a:pt x="150" y="45"/>
                  <a:pt x="149" y="46"/>
                </a:cubicBezTo>
                <a:cubicBezTo>
                  <a:pt x="143" y="52"/>
                  <a:pt x="143" y="52"/>
                  <a:pt x="143" y="52"/>
                </a:cubicBezTo>
                <a:cubicBezTo>
                  <a:pt x="142" y="53"/>
                  <a:pt x="141" y="53"/>
                  <a:pt x="140" y="52"/>
                </a:cubicBezTo>
                <a:cubicBezTo>
                  <a:pt x="128" y="39"/>
                  <a:pt x="128" y="39"/>
                  <a:pt x="128" y="39"/>
                </a:cubicBezTo>
                <a:cubicBezTo>
                  <a:pt x="127" y="38"/>
                  <a:pt x="127" y="37"/>
                  <a:pt x="128" y="36"/>
                </a:cubicBezTo>
                <a:cubicBezTo>
                  <a:pt x="134" y="30"/>
                  <a:pt x="134" y="30"/>
                  <a:pt x="134" y="30"/>
                </a:cubicBezTo>
                <a:cubicBezTo>
                  <a:pt x="135" y="29"/>
                  <a:pt x="136" y="29"/>
                  <a:pt x="137" y="30"/>
                </a:cubicBezTo>
                <a:cubicBezTo>
                  <a:pt x="149" y="43"/>
                  <a:pt x="149" y="43"/>
                  <a:pt x="149" y="43"/>
                </a:cubicBezTo>
                <a:close/>
                <a:moveTo>
                  <a:pt x="1" y="44"/>
                </a:moveTo>
                <a:cubicBezTo>
                  <a:pt x="13" y="31"/>
                  <a:pt x="13" y="31"/>
                  <a:pt x="13" y="31"/>
                </a:cubicBezTo>
                <a:cubicBezTo>
                  <a:pt x="14" y="30"/>
                  <a:pt x="15" y="30"/>
                  <a:pt x="16" y="31"/>
                </a:cubicBezTo>
                <a:cubicBezTo>
                  <a:pt x="22" y="36"/>
                  <a:pt x="22" y="36"/>
                  <a:pt x="22" y="36"/>
                </a:cubicBezTo>
                <a:cubicBezTo>
                  <a:pt x="23" y="37"/>
                  <a:pt x="23" y="38"/>
                  <a:pt x="22" y="39"/>
                </a:cubicBezTo>
                <a:cubicBezTo>
                  <a:pt x="10" y="52"/>
                  <a:pt x="10" y="52"/>
                  <a:pt x="10" y="52"/>
                </a:cubicBezTo>
                <a:cubicBezTo>
                  <a:pt x="10" y="53"/>
                  <a:pt x="8" y="53"/>
                  <a:pt x="7" y="52"/>
                </a:cubicBezTo>
                <a:cubicBezTo>
                  <a:pt x="1" y="46"/>
                  <a:pt x="1" y="46"/>
                  <a:pt x="1" y="46"/>
                </a:cubicBezTo>
                <a:cubicBezTo>
                  <a:pt x="0" y="46"/>
                  <a:pt x="0" y="44"/>
                  <a:pt x="1" y="44"/>
                </a:cubicBezTo>
                <a:close/>
                <a:moveTo>
                  <a:pt x="52" y="0"/>
                </a:moveTo>
                <a:cubicBezTo>
                  <a:pt x="97" y="0"/>
                  <a:pt x="97" y="0"/>
                  <a:pt x="97" y="0"/>
                </a:cubicBezTo>
                <a:cubicBezTo>
                  <a:pt x="99" y="0"/>
                  <a:pt x="99" y="0"/>
                  <a:pt x="99" y="2"/>
                </a:cubicBezTo>
                <a:cubicBezTo>
                  <a:pt x="99" y="14"/>
                  <a:pt x="99" y="14"/>
                  <a:pt x="99" y="14"/>
                </a:cubicBezTo>
                <a:cubicBezTo>
                  <a:pt x="99" y="15"/>
                  <a:pt x="99" y="16"/>
                  <a:pt x="97" y="16"/>
                </a:cubicBezTo>
                <a:cubicBezTo>
                  <a:pt x="52" y="16"/>
                  <a:pt x="52" y="16"/>
                  <a:pt x="52" y="16"/>
                </a:cubicBezTo>
                <a:cubicBezTo>
                  <a:pt x="51" y="16"/>
                  <a:pt x="50" y="15"/>
                  <a:pt x="50" y="14"/>
                </a:cubicBezTo>
                <a:cubicBezTo>
                  <a:pt x="50" y="2"/>
                  <a:pt x="50" y="2"/>
                  <a:pt x="50" y="2"/>
                </a:cubicBezTo>
                <a:cubicBezTo>
                  <a:pt x="50" y="0"/>
                  <a:pt x="51" y="0"/>
                  <a:pt x="52" y="0"/>
                </a:cubicBezTo>
                <a:close/>
                <a:moveTo>
                  <a:pt x="65" y="100"/>
                </a:moveTo>
                <a:cubicBezTo>
                  <a:pt x="65" y="105"/>
                  <a:pt x="69" y="109"/>
                  <a:pt x="74" y="110"/>
                </a:cubicBezTo>
                <a:cubicBezTo>
                  <a:pt x="79" y="110"/>
                  <a:pt x="83" y="107"/>
                  <a:pt x="83" y="102"/>
                </a:cubicBezTo>
                <a:cubicBezTo>
                  <a:pt x="84" y="97"/>
                  <a:pt x="80" y="92"/>
                  <a:pt x="75" y="92"/>
                </a:cubicBezTo>
                <a:cubicBezTo>
                  <a:pt x="70" y="92"/>
                  <a:pt x="66" y="95"/>
                  <a:pt x="65" y="100"/>
                </a:cubicBezTo>
                <a:close/>
                <a:moveTo>
                  <a:pt x="29" y="90"/>
                </a:moveTo>
                <a:cubicBezTo>
                  <a:pt x="22" y="91"/>
                  <a:pt x="22" y="91"/>
                  <a:pt x="22" y="91"/>
                </a:cubicBezTo>
                <a:cubicBezTo>
                  <a:pt x="22" y="91"/>
                  <a:pt x="21" y="92"/>
                  <a:pt x="21" y="92"/>
                </a:cubicBezTo>
                <a:cubicBezTo>
                  <a:pt x="21" y="100"/>
                  <a:pt x="21" y="100"/>
                  <a:pt x="21" y="100"/>
                </a:cubicBezTo>
                <a:cubicBezTo>
                  <a:pt x="21" y="101"/>
                  <a:pt x="21" y="101"/>
                  <a:pt x="21" y="101"/>
                </a:cubicBezTo>
                <a:cubicBezTo>
                  <a:pt x="28" y="103"/>
                  <a:pt x="28" y="103"/>
                  <a:pt x="28" y="103"/>
                </a:cubicBezTo>
                <a:cubicBezTo>
                  <a:pt x="28" y="107"/>
                  <a:pt x="29" y="111"/>
                  <a:pt x="30" y="115"/>
                </a:cubicBezTo>
                <a:cubicBezTo>
                  <a:pt x="25" y="119"/>
                  <a:pt x="25" y="119"/>
                  <a:pt x="25" y="119"/>
                </a:cubicBezTo>
                <a:cubicBezTo>
                  <a:pt x="24" y="119"/>
                  <a:pt x="24" y="120"/>
                  <a:pt x="24" y="120"/>
                </a:cubicBezTo>
                <a:cubicBezTo>
                  <a:pt x="28" y="127"/>
                  <a:pt x="28" y="127"/>
                  <a:pt x="28" y="127"/>
                </a:cubicBezTo>
                <a:cubicBezTo>
                  <a:pt x="28" y="128"/>
                  <a:pt x="28" y="128"/>
                  <a:pt x="29" y="128"/>
                </a:cubicBezTo>
                <a:cubicBezTo>
                  <a:pt x="36" y="126"/>
                  <a:pt x="36" y="126"/>
                  <a:pt x="36" y="126"/>
                </a:cubicBezTo>
                <a:cubicBezTo>
                  <a:pt x="38" y="130"/>
                  <a:pt x="40" y="132"/>
                  <a:pt x="43" y="135"/>
                </a:cubicBezTo>
                <a:cubicBezTo>
                  <a:pt x="40" y="142"/>
                  <a:pt x="40" y="142"/>
                  <a:pt x="40" y="142"/>
                </a:cubicBezTo>
                <a:cubicBezTo>
                  <a:pt x="40" y="142"/>
                  <a:pt x="40" y="142"/>
                  <a:pt x="41" y="143"/>
                </a:cubicBezTo>
                <a:cubicBezTo>
                  <a:pt x="47" y="147"/>
                  <a:pt x="47" y="147"/>
                  <a:pt x="47" y="147"/>
                </a:cubicBezTo>
                <a:cubicBezTo>
                  <a:pt x="48" y="147"/>
                  <a:pt x="48" y="147"/>
                  <a:pt x="48" y="147"/>
                </a:cubicBezTo>
                <a:cubicBezTo>
                  <a:pt x="54" y="143"/>
                  <a:pt x="54" y="143"/>
                  <a:pt x="54" y="143"/>
                </a:cubicBezTo>
                <a:cubicBezTo>
                  <a:pt x="57" y="144"/>
                  <a:pt x="61" y="146"/>
                  <a:pt x="64" y="146"/>
                </a:cubicBezTo>
                <a:cubicBezTo>
                  <a:pt x="65" y="153"/>
                  <a:pt x="65" y="153"/>
                  <a:pt x="65" y="153"/>
                </a:cubicBezTo>
                <a:cubicBezTo>
                  <a:pt x="66" y="154"/>
                  <a:pt x="66" y="154"/>
                  <a:pt x="66" y="154"/>
                </a:cubicBezTo>
                <a:cubicBezTo>
                  <a:pt x="74" y="155"/>
                  <a:pt x="74" y="155"/>
                  <a:pt x="74" y="155"/>
                </a:cubicBezTo>
                <a:cubicBezTo>
                  <a:pt x="75" y="155"/>
                  <a:pt x="75" y="154"/>
                  <a:pt x="75" y="154"/>
                </a:cubicBezTo>
                <a:cubicBezTo>
                  <a:pt x="77" y="148"/>
                  <a:pt x="77" y="148"/>
                  <a:pt x="77" y="148"/>
                </a:cubicBezTo>
                <a:cubicBezTo>
                  <a:pt x="81" y="147"/>
                  <a:pt x="85" y="147"/>
                  <a:pt x="89" y="146"/>
                </a:cubicBezTo>
                <a:cubicBezTo>
                  <a:pt x="93" y="151"/>
                  <a:pt x="93" y="151"/>
                  <a:pt x="93" y="151"/>
                </a:cubicBezTo>
                <a:cubicBezTo>
                  <a:pt x="93" y="151"/>
                  <a:pt x="94" y="151"/>
                  <a:pt x="94" y="151"/>
                </a:cubicBezTo>
                <a:cubicBezTo>
                  <a:pt x="101" y="148"/>
                  <a:pt x="101" y="148"/>
                  <a:pt x="101" y="148"/>
                </a:cubicBezTo>
                <a:cubicBezTo>
                  <a:pt x="102" y="147"/>
                  <a:pt x="102" y="147"/>
                  <a:pt x="102" y="147"/>
                </a:cubicBezTo>
                <a:cubicBezTo>
                  <a:pt x="100" y="140"/>
                  <a:pt x="100" y="140"/>
                  <a:pt x="100" y="140"/>
                </a:cubicBezTo>
                <a:cubicBezTo>
                  <a:pt x="104" y="138"/>
                  <a:pt x="107" y="135"/>
                  <a:pt x="109" y="132"/>
                </a:cubicBezTo>
                <a:cubicBezTo>
                  <a:pt x="116" y="135"/>
                  <a:pt x="116" y="135"/>
                  <a:pt x="116" y="135"/>
                </a:cubicBezTo>
                <a:cubicBezTo>
                  <a:pt x="116" y="135"/>
                  <a:pt x="116" y="135"/>
                  <a:pt x="117" y="135"/>
                </a:cubicBezTo>
                <a:cubicBezTo>
                  <a:pt x="121" y="128"/>
                  <a:pt x="121" y="128"/>
                  <a:pt x="121" y="128"/>
                </a:cubicBezTo>
                <a:cubicBezTo>
                  <a:pt x="121" y="128"/>
                  <a:pt x="121" y="127"/>
                  <a:pt x="121" y="127"/>
                </a:cubicBezTo>
                <a:cubicBezTo>
                  <a:pt x="117" y="122"/>
                  <a:pt x="117" y="122"/>
                  <a:pt x="117" y="122"/>
                </a:cubicBezTo>
                <a:cubicBezTo>
                  <a:pt x="118" y="118"/>
                  <a:pt x="120" y="115"/>
                  <a:pt x="120" y="111"/>
                </a:cubicBezTo>
                <a:cubicBezTo>
                  <a:pt x="127" y="110"/>
                  <a:pt x="127" y="110"/>
                  <a:pt x="127" y="110"/>
                </a:cubicBezTo>
                <a:cubicBezTo>
                  <a:pt x="128" y="110"/>
                  <a:pt x="128" y="110"/>
                  <a:pt x="128" y="109"/>
                </a:cubicBezTo>
                <a:cubicBezTo>
                  <a:pt x="129" y="101"/>
                  <a:pt x="129" y="101"/>
                  <a:pt x="129" y="101"/>
                </a:cubicBezTo>
                <a:cubicBezTo>
                  <a:pt x="129" y="101"/>
                  <a:pt x="128" y="100"/>
                  <a:pt x="128" y="100"/>
                </a:cubicBezTo>
                <a:cubicBezTo>
                  <a:pt x="121" y="98"/>
                  <a:pt x="121" y="98"/>
                  <a:pt x="121" y="98"/>
                </a:cubicBezTo>
                <a:cubicBezTo>
                  <a:pt x="121" y="94"/>
                  <a:pt x="120" y="90"/>
                  <a:pt x="119" y="87"/>
                </a:cubicBezTo>
                <a:cubicBezTo>
                  <a:pt x="125" y="82"/>
                  <a:pt x="125" y="82"/>
                  <a:pt x="125" y="82"/>
                </a:cubicBezTo>
                <a:cubicBezTo>
                  <a:pt x="125" y="82"/>
                  <a:pt x="125" y="82"/>
                  <a:pt x="125" y="81"/>
                </a:cubicBezTo>
                <a:cubicBezTo>
                  <a:pt x="122" y="74"/>
                  <a:pt x="122" y="74"/>
                  <a:pt x="122" y="74"/>
                </a:cubicBezTo>
                <a:cubicBezTo>
                  <a:pt x="121" y="74"/>
                  <a:pt x="121" y="73"/>
                  <a:pt x="121" y="74"/>
                </a:cubicBezTo>
                <a:cubicBezTo>
                  <a:pt x="113" y="75"/>
                  <a:pt x="113" y="75"/>
                  <a:pt x="113" y="75"/>
                </a:cubicBezTo>
                <a:cubicBezTo>
                  <a:pt x="111" y="72"/>
                  <a:pt x="109" y="69"/>
                  <a:pt x="106" y="67"/>
                </a:cubicBezTo>
                <a:cubicBezTo>
                  <a:pt x="109" y="60"/>
                  <a:pt x="109" y="60"/>
                  <a:pt x="109" y="60"/>
                </a:cubicBezTo>
                <a:cubicBezTo>
                  <a:pt x="109" y="59"/>
                  <a:pt x="109" y="59"/>
                  <a:pt x="109" y="59"/>
                </a:cubicBezTo>
                <a:cubicBezTo>
                  <a:pt x="102" y="54"/>
                  <a:pt x="102" y="54"/>
                  <a:pt x="102" y="54"/>
                </a:cubicBezTo>
                <a:cubicBezTo>
                  <a:pt x="102" y="54"/>
                  <a:pt x="101" y="54"/>
                  <a:pt x="101" y="54"/>
                </a:cubicBezTo>
                <a:cubicBezTo>
                  <a:pt x="95" y="59"/>
                  <a:pt x="95" y="59"/>
                  <a:pt x="95" y="59"/>
                </a:cubicBezTo>
                <a:cubicBezTo>
                  <a:pt x="92" y="58"/>
                  <a:pt x="89" y="56"/>
                  <a:pt x="85" y="56"/>
                </a:cubicBezTo>
                <a:cubicBezTo>
                  <a:pt x="84" y="48"/>
                  <a:pt x="84" y="48"/>
                  <a:pt x="84" y="48"/>
                </a:cubicBezTo>
                <a:cubicBezTo>
                  <a:pt x="84" y="48"/>
                  <a:pt x="84" y="47"/>
                  <a:pt x="83" y="47"/>
                </a:cubicBezTo>
                <a:cubicBezTo>
                  <a:pt x="75" y="47"/>
                  <a:pt x="75" y="47"/>
                  <a:pt x="75" y="47"/>
                </a:cubicBezTo>
                <a:cubicBezTo>
                  <a:pt x="75" y="47"/>
                  <a:pt x="74" y="47"/>
                  <a:pt x="74" y="47"/>
                </a:cubicBezTo>
                <a:cubicBezTo>
                  <a:pt x="72" y="55"/>
                  <a:pt x="72" y="55"/>
                  <a:pt x="72" y="55"/>
                </a:cubicBezTo>
                <a:cubicBezTo>
                  <a:pt x="68" y="55"/>
                  <a:pt x="65" y="55"/>
                  <a:pt x="61" y="56"/>
                </a:cubicBezTo>
                <a:cubicBezTo>
                  <a:pt x="56" y="51"/>
                  <a:pt x="56" y="51"/>
                  <a:pt x="56" y="51"/>
                </a:cubicBezTo>
                <a:cubicBezTo>
                  <a:pt x="56" y="50"/>
                  <a:pt x="56" y="50"/>
                  <a:pt x="55" y="50"/>
                </a:cubicBezTo>
                <a:cubicBezTo>
                  <a:pt x="48" y="54"/>
                  <a:pt x="48" y="54"/>
                  <a:pt x="48" y="54"/>
                </a:cubicBezTo>
                <a:cubicBezTo>
                  <a:pt x="48" y="54"/>
                  <a:pt x="47" y="54"/>
                  <a:pt x="48" y="55"/>
                </a:cubicBezTo>
                <a:cubicBezTo>
                  <a:pt x="49" y="62"/>
                  <a:pt x="49" y="62"/>
                  <a:pt x="49" y="62"/>
                </a:cubicBezTo>
                <a:cubicBezTo>
                  <a:pt x="46" y="64"/>
                  <a:pt x="43" y="66"/>
                  <a:pt x="41" y="69"/>
                </a:cubicBezTo>
                <a:cubicBezTo>
                  <a:pt x="34" y="66"/>
                  <a:pt x="34" y="66"/>
                  <a:pt x="34" y="66"/>
                </a:cubicBezTo>
                <a:cubicBezTo>
                  <a:pt x="33" y="66"/>
                  <a:pt x="33" y="66"/>
                  <a:pt x="33" y="67"/>
                </a:cubicBezTo>
                <a:cubicBezTo>
                  <a:pt x="28" y="73"/>
                  <a:pt x="28" y="73"/>
                  <a:pt x="28" y="73"/>
                </a:cubicBezTo>
                <a:cubicBezTo>
                  <a:pt x="28" y="74"/>
                  <a:pt x="28" y="74"/>
                  <a:pt x="28" y="74"/>
                </a:cubicBezTo>
                <a:cubicBezTo>
                  <a:pt x="33" y="80"/>
                  <a:pt x="33" y="80"/>
                  <a:pt x="33" y="80"/>
                </a:cubicBezTo>
                <a:cubicBezTo>
                  <a:pt x="32" y="83"/>
                  <a:pt x="30" y="87"/>
                  <a:pt x="29" y="90"/>
                </a:cubicBezTo>
                <a:close/>
                <a:moveTo>
                  <a:pt x="41" y="98"/>
                </a:moveTo>
                <a:cubicBezTo>
                  <a:pt x="39" y="117"/>
                  <a:pt x="53" y="133"/>
                  <a:pt x="72" y="135"/>
                </a:cubicBezTo>
                <a:cubicBezTo>
                  <a:pt x="91" y="136"/>
                  <a:pt x="107" y="123"/>
                  <a:pt x="108" y="104"/>
                </a:cubicBezTo>
                <a:cubicBezTo>
                  <a:pt x="110" y="85"/>
                  <a:pt x="96" y="69"/>
                  <a:pt x="78" y="67"/>
                </a:cubicBezTo>
                <a:cubicBezTo>
                  <a:pt x="59" y="66"/>
                  <a:pt x="43" y="80"/>
                  <a:pt x="41" y="98"/>
                </a:cubicBezTo>
                <a:close/>
              </a:path>
            </a:pathLst>
          </a:custGeom>
          <a:gradFill>
            <a:gsLst>
              <a:gs pos="57000">
                <a:schemeClr val="accent1">
                  <a:lumMod val="60000"/>
                  <a:lumOff val="40000"/>
                </a:schemeClr>
              </a:gs>
              <a:gs pos="0">
                <a:schemeClr val="accent1"/>
              </a:gs>
              <a:gs pos="100000">
                <a:schemeClr val="accent1">
                  <a:lumMod val="40000"/>
                  <a:lumOff val="60000"/>
                </a:schemeClr>
              </a:gs>
            </a:gsLst>
            <a:lin ang="10800000" scaled="1"/>
          </a:gra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sp>
        <p:nvSpPr>
          <p:cNvPr id="7" name="Freeform 16">
            <a:extLst>
              <a:ext uri="{FF2B5EF4-FFF2-40B4-BE49-F238E27FC236}">
                <a16:creationId xmlns:a16="http://schemas.microsoft.com/office/drawing/2014/main" id="{4830E10B-079D-4FDF-8B69-E9D3B5B1F45F}"/>
              </a:ext>
            </a:extLst>
          </p:cNvPr>
          <p:cNvSpPr>
            <a:spLocks noEditPoints="1"/>
          </p:cNvSpPr>
          <p:nvPr/>
        </p:nvSpPr>
        <p:spPr bwMode="auto">
          <a:xfrm>
            <a:off x="3856182" y="3226377"/>
            <a:ext cx="546100" cy="571500"/>
          </a:xfrm>
          <a:custGeom>
            <a:avLst/>
            <a:gdLst>
              <a:gd name="T0" fmla="*/ 128 w 169"/>
              <a:gd name="T1" fmla="*/ 18 h 177"/>
              <a:gd name="T2" fmla="*/ 150 w 169"/>
              <a:gd name="T3" fmla="*/ 1 h 177"/>
              <a:gd name="T4" fmla="*/ 144 w 169"/>
              <a:gd name="T5" fmla="*/ 28 h 177"/>
              <a:gd name="T6" fmla="*/ 107 w 169"/>
              <a:gd name="T7" fmla="*/ 77 h 177"/>
              <a:gd name="T8" fmla="*/ 127 w 169"/>
              <a:gd name="T9" fmla="*/ 18 h 177"/>
              <a:gd name="T10" fmla="*/ 88 w 169"/>
              <a:gd name="T11" fmla="*/ 91 h 177"/>
              <a:gd name="T12" fmla="*/ 107 w 169"/>
              <a:gd name="T13" fmla="*/ 77 h 177"/>
              <a:gd name="T14" fmla="*/ 150 w 169"/>
              <a:gd name="T15" fmla="*/ 148 h 177"/>
              <a:gd name="T16" fmla="*/ 153 w 169"/>
              <a:gd name="T17" fmla="*/ 176 h 177"/>
              <a:gd name="T18" fmla="*/ 133 w 169"/>
              <a:gd name="T19" fmla="*/ 157 h 177"/>
              <a:gd name="T20" fmla="*/ 110 w 169"/>
              <a:gd name="T21" fmla="*/ 101 h 177"/>
              <a:gd name="T22" fmla="*/ 151 w 169"/>
              <a:gd name="T23" fmla="*/ 147 h 177"/>
              <a:gd name="T24" fmla="*/ 146 w 169"/>
              <a:gd name="T25" fmla="*/ 130 h 177"/>
              <a:gd name="T26" fmla="*/ 138 w 169"/>
              <a:gd name="T27" fmla="*/ 130 h 177"/>
              <a:gd name="T28" fmla="*/ 129 w 169"/>
              <a:gd name="T29" fmla="*/ 135 h 177"/>
              <a:gd name="T30" fmla="*/ 129 w 169"/>
              <a:gd name="T31" fmla="*/ 125 h 177"/>
              <a:gd name="T32" fmla="*/ 129 w 169"/>
              <a:gd name="T33" fmla="*/ 135 h 177"/>
              <a:gd name="T34" fmla="*/ 121 w 169"/>
              <a:gd name="T35" fmla="*/ 130 h 177"/>
              <a:gd name="T36" fmla="*/ 112 w 169"/>
              <a:gd name="T37" fmla="*/ 130 h 177"/>
              <a:gd name="T38" fmla="*/ 27 w 169"/>
              <a:gd name="T39" fmla="*/ 103 h 177"/>
              <a:gd name="T40" fmla="*/ 88 w 169"/>
              <a:gd name="T41" fmla="*/ 91 h 177"/>
              <a:gd name="T42" fmla="*/ 28 w 169"/>
              <a:gd name="T43" fmla="*/ 84 h 177"/>
              <a:gd name="T44" fmla="*/ 1 w 169"/>
              <a:gd name="T45" fmla="*/ 91 h 177"/>
              <a:gd name="T46" fmla="*/ 27 w 169"/>
              <a:gd name="T47" fmla="*/ 102 h 177"/>
              <a:gd name="T48" fmla="*/ 60 w 169"/>
              <a:gd name="T49" fmla="*/ 101 h 177"/>
              <a:gd name="T50" fmla="*/ 60 w 169"/>
              <a:gd name="T51" fmla="*/ 84 h 177"/>
              <a:gd name="T52" fmla="*/ 49 w 169"/>
              <a:gd name="T53" fmla="*/ 76 h 177"/>
              <a:gd name="T54" fmla="*/ 60 w 169"/>
              <a:gd name="T55" fmla="*/ 101 h 177"/>
              <a:gd name="T56" fmla="*/ 52 w 169"/>
              <a:gd name="T57" fmla="*/ 109 h 177"/>
              <a:gd name="T58" fmla="*/ 61 w 169"/>
              <a:gd name="T59" fmla="*/ 109 h 177"/>
              <a:gd name="T60" fmla="*/ 111 w 169"/>
              <a:gd name="T61" fmla="*/ 26 h 177"/>
              <a:gd name="T62" fmla="*/ 118 w 169"/>
              <a:gd name="T63" fmla="*/ 53 h 177"/>
              <a:gd name="T64" fmla="*/ 111 w 169"/>
              <a:gd name="T65" fmla="*/ 26 h 177"/>
              <a:gd name="T66" fmla="*/ 120 w 169"/>
              <a:gd name="T67" fmla="*/ 61 h 177"/>
              <a:gd name="T68" fmla="*/ 111 w 169"/>
              <a:gd name="T69" fmla="*/ 61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69" h="177">
                <a:moveTo>
                  <a:pt x="127" y="18"/>
                </a:moveTo>
                <a:cubicBezTo>
                  <a:pt x="127" y="18"/>
                  <a:pt x="128" y="18"/>
                  <a:pt x="128" y="18"/>
                </a:cubicBezTo>
                <a:cubicBezTo>
                  <a:pt x="149" y="0"/>
                  <a:pt x="149" y="0"/>
                  <a:pt x="149" y="0"/>
                </a:cubicBezTo>
                <a:cubicBezTo>
                  <a:pt x="150" y="0"/>
                  <a:pt x="151" y="1"/>
                  <a:pt x="150" y="1"/>
                </a:cubicBezTo>
                <a:cubicBezTo>
                  <a:pt x="144" y="28"/>
                  <a:pt x="144" y="28"/>
                  <a:pt x="144" y="28"/>
                </a:cubicBezTo>
                <a:cubicBezTo>
                  <a:pt x="143" y="28"/>
                  <a:pt x="144" y="28"/>
                  <a:pt x="144" y="28"/>
                </a:cubicBezTo>
                <a:cubicBezTo>
                  <a:pt x="159" y="43"/>
                  <a:pt x="161" y="66"/>
                  <a:pt x="149" y="83"/>
                </a:cubicBezTo>
                <a:cubicBezTo>
                  <a:pt x="137" y="74"/>
                  <a:pt x="121" y="71"/>
                  <a:pt x="107" y="77"/>
                </a:cubicBezTo>
                <a:cubicBezTo>
                  <a:pt x="101" y="63"/>
                  <a:pt x="88" y="54"/>
                  <a:pt x="73" y="52"/>
                </a:cubicBezTo>
                <a:cubicBezTo>
                  <a:pt x="77" y="26"/>
                  <a:pt x="103" y="11"/>
                  <a:pt x="127" y="18"/>
                </a:cubicBezTo>
                <a:close/>
                <a:moveTo>
                  <a:pt x="107" y="77"/>
                </a:moveTo>
                <a:cubicBezTo>
                  <a:pt x="99" y="80"/>
                  <a:pt x="93" y="85"/>
                  <a:pt x="88" y="91"/>
                </a:cubicBezTo>
                <a:cubicBezTo>
                  <a:pt x="94" y="96"/>
                  <a:pt x="102" y="100"/>
                  <a:pt x="110" y="100"/>
                </a:cubicBezTo>
                <a:cubicBezTo>
                  <a:pt x="111" y="92"/>
                  <a:pt x="110" y="84"/>
                  <a:pt x="107" y="77"/>
                </a:cubicBezTo>
                <a:close/>
                <a:moveTo>
                  <a:pt x="151" y="147"/>
                </a:moveTo>
                <a:cubicBezTo>
                  <a:pt x="150" y="147"/>
                  <a:pt x="150" y="148"/>
                  <a:pt x="150" y="148"/>
                </a:cubicBezTo>
                <a:cubicBezTo>
                  <a:pt x="155" y="175"/>
                  <a:pt x="155" y="175"/>
                  <a:pt x="155" y="175"/>
                </a:cubicBezTo>
                <a:cubicBezTo>
                  <a:pt x="155" y="176"/>
                  <a:pt x="154" y="177"/>
                  <a:pt x="153" y="176"/>
                </a:cubicBezTo>
                <a:cubicBezTo>
                  <a:pt x="134" y="157"/>
                  <a:pt x="134" y="157"/>
                  <a:pt x="134" y="157"/>
                </a:cubicBezTo>
                <a:cubicBezTo>
                  <a:pt x="134" y="157"/>
                  <a:pt x="134" y="157"/>
                  <a:pt x="133" y="157"/>
                </a:cubicBezTo>
                <a:cubicBezTo>
                  <a:pt x="113" y="162"/>
                  <a:pt x="92" y="152"/>
                  <a:pt x="84" y="133"/>
                </a:cubicBezTo>
                <a:cubicBezTo>
                  <a:pt x="98" y="128"/>
                  <a:pt x="108" y="115"/>
                  <a:pt x="110" y="101"/>
                </a:cubicBezTo>
                <a:cubicBezTo>
                  <a:pt x="125" y="102"/>
                  <a:pt x="140" y="96"/>
                  <a:pt x="149" y="83"/>
                </a:cubicBezTo>
                <a:cubicBezTo>
                  <a:pt x="169" y="100"/>
                  <a:pt x="169" y="130"/>
                  <a:pt x="151" y="147"/>
                </a:cubicBezTo>
                <a:close/>
                <a:moveTo>
                  <a:pt x="142" y="134"/>
                </a:moveTo>
                <a:cubicBezTo>
                  <a:pt x="145" y="134"/>
                  <a:pt x="146" y="133"/>
                  <a:pt x="146" y="130"/>
                </a:cubicBezTo>
                <a:cubicBezTo>
                  <a:pt x="146" y="127"/>
                  <a:pt x="145" y="125"/>
                  <a:pt x="142" y="125"/>
                </a:cubicBezTo>
                <a:cubicBezTo>
                  <a:pt x="140" y="125"/>
                  <a:pt x="138" y="127"/>
                  <a:pt x="138" y="130"/>
                </a:cubicBezTo>
                <a:cubicBezTo>
                  <a:pt x="138" y="132"/>
                  <a:pt x="139" y="134"/>
                  <a:pt x="142" y="134"/>
                </a:cubicBezTo>
                <a:close/>
                <a:moveTo>
                  <a:pt x="129" y="135"/>
                </a:moveTo>
                <a:cubicBezTo>
                  <a:pt x="132" y="135"/>
                  <a:pt x="134" y="133"/>
                  <a:pt x="134" y="130"/>
                </a:cubicBezTo>
                <a:cubicBezTo>
                  <a:pt x="134" y="127"/>
                  <a:pt x="132" y="125"/>
                  <a:pt x="129" y="125"/>
                </a:cubicBezTo>
                <a:cubicBezTo>
                  <a:pt x="127" y="125"/>
                  <a:pt x="125" y="127"/>
                  <a:pt x="125" y="130"/>
                </a:cubicBezTo>
                <a:cubicBezTo>
                  <a:pt x="125" y="133"/>
                  <a:pt x="127" y="135"/>
                  <a:pt x="129" y="135"/>
                </a:cubicBezTo>
                <a:close/>
                <a:moveTo>
                  <a:pt x="117" y="135"/>
                </a:moveTo>
                <a:cubicBezTo>
                  <a:pt x="120" y="135"/>
                  <a:pt x="121" y="133"/>
                  <a:pt x="121" y="130"/>
                </a:cubicBezTo>
                <a:cubicBezTo>
                  <a:pt x="121" y="127"/>
                  <a:pt x="119" y="126"/>
                  <a:pt x="117" y="126"/>
                </a:cubicBezTo>
                <a:cubicBezTo>
                  <a:pt x="114" y="126"/>
                  <a:pt x="112" y="127"/>
                  <a:pt x="112" y="130"/>
                </a:cubicBezTo>
                <a:cubicBezTo>
                  <a:pt x="112" y="133"/>
                  <a:pt x="114" y="135"/>
                  <a:pt x="117" y="135"/>
                </a:cubicBezTo>
                <a:close/>
                <a:moveTo>
                  <a:pt x="27" y="103"/>
                </a:moveTo>
                <a:cubicBezTo>
                  <a:pt x="33" y="128"/>
                  <a:pt x="59" y="143"/>
                  <a:pt x="83" y="133"/>
                </a:cubicBezTo>
                <a:cubicBezTo>
                  <a:pt x="77" y="120"/>
                  <a:pt x="79" y="104"/>
                  <a:pt x="88" y="91"/>
                </a:cubicBezTo>
                <a:cubicBezTo>
                  <a:pt x="76" y="82"/>
                  <a:pt x="70" y="67"/>
                  <a:pt x="72" y="52"/>
                </a:cubicBezTo>
                <a:cubicBezTo>
                  <a:pt x="52" y="50"/>
                  <a:pt x="33" y="63"/>
                  <a:pt x="28" y="84"/>
                </a:cubicBezTo>
                <a:cubicBezTo>
                  <a:pt x="27" y="84"/>
                  <a:pt x="27" y="84"/>
                  <a:pt x="27" y="84"/>
                </a:cubicBezTo>
                <a:cubicBezTo>
                  <a:pt x="1" y="91"/>
                  <a:pt x="1" y="91"/>
                  <a:pt x="1" y="91"/>
                </a:cubicBezTo>
                <a:cubicBezTo>
                  <a:pt x="0" y="92"/>
                  <a:pt x="0" y="93"/>
                  <a:pt x="1" y="93"/>
                </a:cubicBezTo>
                <a:cubicBezTo>
                  <a:pt x="27" y="102"/>
                  <a:pt x="27" y="102"/>
                  <a:pt x="27" y="102"/>
                </a:cubicBezTo>
                <a:cubicBezTo>
                  <a:pt x="27" y="103"/>
                  <a:pt x="27" y="103"/>
                  <a:pt x="27" y="103"/>
                </a:cubicBezTo>
                <a:close/>
                <a:moveTo>
                  <a:pt x="60" y="101"/>
                </a:moveTo>
                <a:cubicBezTo>
                  <a:pt x="53" y="101"/>
                  <a:pt x="53" y="101"/>
                  <a:pt x="53" y="101"/>
                </a:cubicBezTo>
                <a:cubicBezTo>
                  <a:pt x="53" y="91"/>
                  <a:pt x="60" y="89"/>
                  <a:pt x="60" y="84"/>
                </a:cubicBezTo>
                <a:cubicBezTo>
                  <a:pt x="60" y="79"/>
                  <a:pt x="53" y="79"/>
                  <a:pt x="50" y="81"/>
                </a:cubicBezTo>
                <a:cubicBezTo>
                  <a:pt x="49" y="76"/>
                  <a:pt x="49" y="76"/>
                  <a:pt x="49" y="76"/>
                </a:cubicBezTo>
                <a:cubicBezTo>
                  <a:pt x="55" y="72"/>
                  <a:pt x="67" y="73"/>
                  <a:pt x="67" y="83"/>
                </a:cubicBezTo>
                <a:cubicBezTo>
                  <a:pt x="67" y="91"/>
                  <a:pt x="60" y="91"/>
                  <a:pt x="60" y="101"/>
                </a:cubicBezTo>
                <a:close/>
                <a:moveTo>
                  <a:pt x="56" y="114"/>
                </a:moveTo>
                <a:cubicBezTo>
                  <a:pt x="54" y="114"/>
                  <a:pt x="52" y="112"/>
                  <a:pt x="52" y="109"/>
                </a:cubicBezTo>
                <a:cubicBezTo>
                  <a:pt x="52" y="106"/>
                  <a:pt x="54" y="104"/>
                  <a:pt x="56" y="104"/>
                </a:cubicBezTo>
                <a:cubicBezTo>
                  <a:pt x="59" y="104"/>
                  <a:pt x="61" y="106"/>
                  <a:pt x="61" y="109"/>
                </a:cubicBezTo>
                <a:cubicBezTo>
                  <a:pt x="61" y="112"/>
                  <a:pt x="59" y="114"/>
                  <a:pt x="56" y="114"/>
                </a:cubicBezTo>
                <a:close/>
                <a:moveTo>
                  <a:pt x="111" y="26"/>
                </a:moveTo>
                <a:cubicBezTo>
                  <a:pt x="112" y="53"/>
                  <a:pt x="112" y="53"/>
                  <a:pt x="112" y="53"/>
                </a:cubicBezTo>
                <a:cubicBezTo>
                  <a:pt x="118" y="53"/>
                  <a:pt x="118" y="53"/>
                  <a:pt x="118" y="53"/>
                </a:cubicBezTo>
                <a:cubicBezTo>
                  <a:pt x="119" y="26"/>
                  <a:pt x="119" y="26"/>
                  <a:pt x="119" y="26"/>
                </a:cubicBezTo>
                <a:cubicBezTo>
                  <a:pt x="111" y="26"/>
                  <a:pt x="111" y="26"/>
                  <a:pt x="111" y="26"/>
                </a:cubicBezTo>
                <a:close/>
                <a:moveTo>
                  <a:pt x="115" y="66"/>
                </a:moveTo>
                <a:cubicBezTo>
                  <a:pt x="118" y="66"/>
                  <a:pt x="120" y="64"/>
                  <a:pt x="120" y="61"/>
                </a:cubicBezTo>
                <a:cubicBezTo>
                  <a:pt x="120" y="59"/>
                  <a:pt x="118" y="57"/>
                  <a:pt x="115" y="57"/>
                </a:cubicBezTo>
                <a:cubicBezTo>
                  <a:pt x="113" y="57"/>
                  <a:pt x="111" y="59"/>
                  <a:pt x="111" y="61"/>
                </a:cubicBezTo>
                <a:cubicBezTo>
                  <a:pt x="111" y="64"/>
                  <a:pt x="113" y="66"/>
                  <a:pt x="115" y="66"/>
                </a:cubicBezTo>
                <a:close/>
              </a:path>
            </a:pathLst>
          </a:custGeom>
          <a:gradFill>
            <a:gsLst>
              <a:gs pos="57000">
                <a:schemeClr val="accent1">
                  <a:lumMod val="60000"/>
                  <a:lumOff val="40000"/>
                </a:schemeClr>
              </a:gs>
              <a:gs pos="0">
                <a:schemeClr val="accent1"/>
              </a:gs>
              <a:gs pos="100000">
                <a:schemeClr val="accent1">
                  <a:lumMod val="40000"/>
                  <a:lumOff val="60000"/>
                </a:schemeClr>
              </a:gs>
            </a:gsLst>
            <a:lin ang="10800000" scaled="1"/>
          </a:gra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grpSp>
        <p:nvGrpSpPr>
          <p:cNvPr id="47" name="Graphic 16">
            <a:extLst>
              <a:ext uri="{FF2B5EF4-FFF2-40B4-BE49-F238E27FC236}">
                <a16:creationId xmlns:a16="http://schemas.microsoft.com/office/drawing/2014/main" id="{470FB04A-9FA3-44C0-810D-C5E5FE1BEDA1}"/>
              </a:ext>
            </a:extLst>
          </p:cNvPr>
          <p:cNvGrpSpPr/>
          <p:nvPr/>
        </p:nvGrpSpPr>
        <p:grpSpPr>
          <a:xfrm>
            <a:off x="5859607" y="3245427"/>
            <a:ext cx="540848" cy="541245"/>
            <a:chOff x="5859607" y="3245427"/>
            <a:chExt cx="540848" cy="541245"/>
          </a:xfrm>
          <a:gradFill>
            <a:gsLst>
              <a:gs pos="57000">
                <a:schemeClr val="accent1">
                  <a:lumMod val="60000"/>
                  <a:lumOff val="40000"/>
                </a:schemeClr>
              </a:gs>
              <a:gs pos="0">
                <a:schemeClr val="accent1"/>
              </a:gs>
              <a:gs pos="100000">
                <a:schemeClr val="accent1">
                  <a:lumMod val="40000"/>
                  <a:lumOff val="60000"/>
                </a:schemeClr>
              </a:gs>
            </a:gsLst>
            <a:lin ang="10800000" scaled="1"/>
          </a:gradFill>
        </p:grpSpPr>
        <p:sp>
          <p:nvSpPr>
            <p:cNvPr id="48" name="任意多边形: 形状 47">
              <a:extLst>
                <a:ext uri="{FF2B5EF4-FFF2-40B4-BE49-F238E27FC236}">
                  <a16:creationId xmlns:a16="http://schemas.microsoft.com/office/drawing/2014/main" id="{4A7C0B58-12A9-4595-B3DB-055C6EE04C32}"/>
                </a:ext>
              </a:extLst>
            </p:cNvPr>
            <p:cNvSpPr/>
            <p:nvPr/>
          </p:nvSpPr>
          <p:spPr>
            <a:xfrm>
              <a:off x="5859607" y="3245427"/>
              <a:ext cx="540848" cy="541245"/>
            </a:xfrm>
            <a:custGeom>
              <a:avLst/>
              <a:gdLst>
                <a:gd name="connsiteX0" fmla="*/ 528908 w 540848"/>
                <a:gd name="connsiteY0" fmla="*/ 470051 h 541245"/>
                <a:gd name="connsiteX1" fmla="*/ 417463 w 540848"/>
                <a:gd name="connsiteY1" fmla="*/ 358606 h 541245"/>
                <a:gd name="connsiteX2" fmla="*/ 457713 w 540848"/>
                <a:gd name="connsiteY2" fmla="*/ 228957 h 541245"/>
                <a:gd name="connsiteX3" fmla="*/ 439712 w 540848"/>
                <a:gd name="connsiteY3" fmla="*/ 139963 h 541245"/>
                <a:gd name="connsiteX4" fmla="*/ 390967 w 540848"/>
                <a:gd name="connsiteY4" fmla="*/ 66746 h 541245"/>
                <a:gd name="connsiteX5" fmla="*/ 317749 w 540848"/>
                <a:gd name="connsiteY5" fmla="*/ 18001 h 541245"/>
                <a:gd name="connsiteX6" fmla="*/ 228957 w 540848"/>
                <a:gd name="connsiteY6" fmla="*/ 0 h 541245"/>
                <a:gd name="connsiteX7" fmla="*/ 139963 w 540848"/>
                <a:gd name="connsiteY7" fmla="*/ 18001 h 541245"/>
                <a:gd name="connsiteX8" fmla="*/ 66746 w 540848"/>
                <a:gd name="connsiteY8" fmla="*/ 66746 h 541245"/>
                <a:gd name="connsiteX9" fmla="*/ 18001 w 540848"/>
                <a:gd name="connsiteY9" fmla="*/ 139963 h 541245"/>
                <a:gd name="connsiteX10" fmla="*/ 0 w 540848"/>
                <a:gd name="connsiteY10" fmla="*/ 228957 h 541245"/>
                <a:gd name="connsiteX11" fmla="*/ 18001 w 540848"/>
                <a:gd name="connsiteY11" fmla="*/ 317952 h 541245"/>
                <a:gd name="connsiteX12" fmla="*/ 66746 w 540848"/>
                <a:gd name="connsiteY12" fmla="*/ 391169 h 541245"/>
                <a:gd name="connsiteX13" fmla="*/ 139963 w 540848"/>
                <a:gd name="connsiteY13" fmla="*/ 439914 h 541245"/>
                <a:gd name="connsiteX14" fmla="*/ 228957 w 540848"/>
                <a:gd name="connsiteY14" fmla="*/ 457915 h 541245"/>
                <a:gd name="connsiteX15" fmla="*/ 358606 w 540848"/>
                <a:gd name="connsiteY15" fmla="*/ 417665 h 541245"/>
                <a:gd name="connsiteX16" fmla="*/ 470051 w 540848"/>
                <a:gd name="connsiteY16" fmla="*/ 528908 h 541245"/>
                <a:gd name="connsiteX17" fmla="*/ 499378 w 540848"/>
                <a:gd name="connsiteY17" fmla="*/ 541246 h 541245"/>
                <a:gd name="connsiteX18" fmla="*/ 528706 w 540848"/>
                <a:gd name="connsiteY18" fmla="*/ 529110 h 541245"/>
                <a:gd name="connsiteX19" fmla="*/ 540841 w 540848"/>
                <a:gd name="connsiteY19" fmla="*/ 499783 h 541245"/>
                <a:gd name="connsiteX20" fmla="*/ 528908 w 540848"/>
                <a:gd name="connsiteY20" fmla="*/ 470051 h 541245"/>
                <a:gd name="connsiteX21" fmla="*/ 331705 w 540848"/>
                <a:gd name="connsiteY21" fmla="*/ 331705 h 541245"/>
                <a:gd name="connsiteX22" fmla="*/ 228755 w 540848"/>
                <a:gd name="connsiteY22" fmla="*/ 374382 h 541245"/>
                <a:gd name="connsiteX23" fmla="*/ 125805 w 540848"/>
                <a:gd name="connsiteY23" fmla="*/ 331705 h 541245"/>
                <a:gd name="connsiteX24" fmla="*/ 83129 w 540848"/>
                <a:gd name="connsiteY24" fmla="*/ 228755 h 541245"/>
                <a:gd name="connsiteX25" fmla="*/ 125805 w 540848"/>
                <a:gd name="connsiteY25" fmla="*/ 125805 h 541245"/>
                <a:gd name="connsiteX26" fmla="*/ 228755 w 540848"/>
                <a:gd name="connsiteY26" fmla="*/ 83129 h 541245"/>
                <a:gd name="connsiteX27" fmla="*/ 331705 w 540848"/>
                <a:gd name="connsiteY27" fmla="*/ 125805 h 541245"/>
                <a:gd name="connsiteX28" fmla="*/ 374382 w 540848"/>
                <a:gd name="connsiteY28" fmla="*/ 228755 h 541245"/>
                <a:gd name="connsiteX29" fmla="*/ 331705 w 540848"/>
                <a:gd name="connsiteY29" fmla="*/ 331705 h 541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40848" h="541245">
                  <a:moveTo>
                    <a:pt x="528908" y="470051"/>
                  </a:moveTo>
                  <a:lnTo>
                    <a:pt x="417463" y="358606"/>
                  </a:lnTo>
                  <a:cubicBezTo>
                    <a:pt x="444364" y="319772"/>
                    <a:pt x="457713" y="276488"/>
                    <a:pt x="457713" y="228957"/>
                  </a:cubicBezTo>
                  <a:cubicBezTo>
                    <a:pt x="457713" y="198012"/>
                    <a:pt x="451645" y="168280"/>
                    <a:pt x="439712" y="139963"/>
                  </a:cubicBezTo>
                  <a:cubicBezTo>
                    <a:pt x="427778" y="111647"/>
                    <a:pt x="411395" y="87376"/>
                    <a:pt x="390967" y="66746"/>
                  </a:cubicBezTo>
                  <a:cubicBezTo>
                    <a:pt x="370539" y="46317"/>
                    <a:pt x="346066" y="29934"/>
                    <a:pt x="317749" y="18001"/>
                  </a:cubicBezTo>
                  <a:cubicBezTo>
                    <a:pt x="289433" y="6068"/>
                    <a:pt x="259903" y="0"/>
                    <a:pt x="228957" y="0"/>
                  </a:cubicBezTo>
                  <a:cubicBezTo>
                    <a:pt x="198012" y="0"/>
                    <a:pt x="168280" y="6068"/>
                    <a:pt x="139963" y="18001"/>
                  </a:cubicBezTo>
                  <a:cubicBezTo>
                    <a:pt x="111647" y="29934"/>
                    <a:pt x="87376" y="46317"/>
                    <a:pt x="66746" y="66746"/>
                  </a:cubicBezTo>
                  <a:cubicBezTo>
                    <a:pt x="46317" y="87376"/>
                    <a:pt x="30137" y="111647"/>
                    <a:pt x="18001" y="139963"/>
                  </a:cubicBezTo>
                  <a:cubicBezTo>
                    <a:pt x="6068" y="168280"/>
                    <a:pt x="0" y="197810"/>
                    <a:pt x="0" y="228957"/>
                  </a:cubicBezTo>
                  <a:cubicBezTo>
                    <a:pt x="0" y="259903"/>
                    <a:pt x="6068" y="289635"/>
                    <a:pt x="18001" y="317952"/>
                  </a:cubicBezTo>
                  <a:cubicBezTo>
                    <a:pt x="29934" y="346268"/>
                    <a:pt x="46317" y="370539"/>
                    <a:pt x="66746" y="391169"/>
                  </a:cubicBezTo>
                  <a:cubicBezTo>
                    <a:pt x="87174" y="411598"/>
                    <a:pt x="111647" y="427981"/>
                    <a:pt x="139963" y="439914"/>
                  </a:cubicBezTo>
                  <a:cubicBezTo>
                    <a:pt x="168280" y="451847"/>
                    <a:pt x="197810" y="457915"/>
                    <a:pt x="228957" y="457915"/>
                  </a:cubicBezTo>
                  <a:cubicBezTo>
                    <a:pt x="276691" y="457915"/>
                    <a:pt x="319974" y="444364"/>
                    <a:pt x="358606" y="417665"/>
                  </a:cubicBezTo>
                  <a:lnTo>
                    <a:pt x="470051" y="528908"/>
                  </a:lnTo>
                  <a:cubicBezTo>
                    <a:pt x="477939" y="537201"/>
                    <a:pt x="487647" y="541246"/>
                    <a:pt x="499378" y="541246"/>
                  </a:cubicBezTo>
                  <a:cubicBezTo>
                    <a:pt x="510907" y="541246"/>
                    <a:pt x="520615" y="537201"/>
                    <a:pt x="528706" y="529110"/>
                  </a:cubicBezTo>
                  <a:cubicBezTo>
                    <a:pt x="536796" y="521020"/>
                    <a:pt x="540841" y="511109"/>
                    <a:pt x="540841" y="499783"/>
                  </a:cubicBezTo>
                  <a:cubicBezTo>
                    <a:pt x="541044" y="487849"/>
                    <a:pt x="536998" y="478141"/>
                    <a:pt x="528908" y="470051"/>
                  </a:cubicBezTo>
                  <a:close/>
                  <a:moveTo>
                    <a:pt x="331705" y="331705"/>
                  </a:moveTo>
                  <a:cubicBezTo>
                    <a:pt x="303187" y="360224"/>
                    <a:pt x="268803" y="374382"/>
                    <a:pt x="228755" y="374382"/>
                  </a:cubicBezTo>
                  <a:cubicBezTo>
                    <a:pt x="188708" y="374382"/>
                    <a:pt x="154324" y="360224"/>
                    <a:pt x="125805" y="331705"/>
                  </a:cubicBezTo>
                  <a:cubicBezTo>
                    <a:pt x="97287" y="303187"/>
                    <a:pt x="83129" y="268803"/>
                    <a:pt x="83129" y="228755"/>
                  </a:cubicBezTo>
                  <a:cubicBezTo>
                    <a:pt x="83129" y="188708"/>
                    <a:pt x="97287" y="154324"/>
                    <a:pt x="125805" y="125805"/>
                  </a:cubicBezTo>
                  <a:cubicBezTo>
                    <a:pt x="154324" y="97287"/>
                    <a:pt x="188506" y="83129"/>
                    <a:pt x="228755" y="83129"/>
                  </a:cubicBezTo>
                  <a:cubicBezTo>
                    <a:pt x="268803" y="83129"/>
                    <a:pt x="303187" y="97489"/>
                    <a:pt x="331705" y="125805"/>
                  </a:cubicBezTo>
                  <a:cubicBezTo>
                    <a:pt x="360224" y="154324"/>
                    <a:pt x="374382" y="188708"/>
                    <a:pt x="374382" y="228755"/>
                  </a:cubicBezTo>
                  <a:cubicBezTo>
                    <a:pt x="374382" y="268803"/>
                    <a:pt x="360224" y="303187"/>
                    <a:pt x="331705" y="331705"/>
                  </a:cubicBezTo>
                  <a:close/>
                </a:path>
              </a:pathLst>
            </a:custGeom>
            <a:grpFill/>
            <a:ln w="2010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black"/>
                </a:solidFill>
                <a:effectLst/>
                <a:uLnTx/>
                <a:uFillTx/>
                <a:latin typeface="HarmonyOS Sans SC"/>
                <a:cs typeface="+mn-cs"/>
              </a:endParaRPr>
            </a:p>
          </p:txBody>
        </p:sp>
        <p:sp>
          <p:nvSpPr>
            <p:cNvPr id="49" name="任意多边形: 形状 48">
              <a:extLst>
                <a:ext uri="{FF2B5EF4-FFF2-40B4-BE49-F238E27FC236}">
                  <a16:creationId xmlns:a16="http://schemas.microsoft.com/office/drawing/2014/main" id="{8CD546AE-7C71-42EB-896E-3FDA4EB1E58B}"/>
                </a:ext>
              </a:extLst>
            </p:cNvPr>
            <p:cNvSpPr/>
            <p:nvPr/>
          </p:nvSpPr>
          <p:spPr>
            <a:xfrm>
              <a:off x="5984603" y="3370423"/>
              <a:ext cx="207720" cy="207720"/>
            </a:xfrm>
            <a:custGeom>
              <a:avLst/>
              <a:gdLst>
                <a:gd name="connsiteX0" fmla="*/ 197607 w 207720"/>
                <a:gd name="connsiteY0" fmla="*/ 83129 h 207720"/>
                <a:gd name="connsiteX1" fmla="*/ 124794 w 207720"/>
                <a:gd name="connsiteY1" fmla="*/ 83129 h 207720"/>
                <a:gd name="connsiteX2" fmla="*/ 124794 w 207720"/>
                <a:gd name="connsiteY2" fmla="*/ 10315 h 207720"/>
                <a:gd name="connsiteX3" fmla="*/ 121760 w 207720"/>
                <a:gd name="connsiteY3" fmla="*/ 3034 h 207720"/>
                <a:gd name="connsiteX4" fmla="*/ 114479 w 207720"/>
                <a:gd name="connsiteY4" fmla="*/ 0 h 207720"/>
                <a:gd name="connsiteX5" fmla="*/ 93444 w 207720"/>
                <a:gd name="connsiteY5" fmla="*/ 0 h 207720"/>
                <a:gd name="connsiteX6" fmla="*/ 86162 w 207720"/>
                <a:gd name="connsiteY6" fmla="*/ 3034 h 207720"/>
                <a:gd name="connsiteX7" fmla="*/ 83129 w 207720"/>
                <a:gd name="connsiteY7" fmla="*/ 10315 h 207720"/>
                <a:gd name="connsiteX8" fmla="*/ 83129 w 207720"/>
                <a:gd name="connsiteY8" fmla="*/ 83129 h 207720"/>
                <a:gd name="connsiteX9" fmla="*/ 10315 w 207720"/>
                <a:gd name="connsiteY9" fmla="*/ 83129 h 207720"/>
                <a:gd name="connsiteX10" fmla="*/ 3034 w 207720"/>
                <a:gd name="connsiteY10" fmla="*/ 86162 h 207720"/>
                <a:gd name="connsiteX11" fmla="*/ 0 w 207720"/>
                <a:gd name="connsiteY11" fmla="*/ 93444 h 207720"/>
                <a:gd name="connsiteX12" fmla="*/ 0 w 207720"/>
                <a:gd name="connsiteY12" fmla="*/ 114276 h 207720"/>
                <a:gd name="connsiteX13" fmla="*/ 3034 w 207720"/>
                <a:gd name="connsiteY13" fmla="*/ 121558 h 207720"/>
                <a:gd name="connsiteX14" fmla="*/ 10315 w 207720"/>
                <a:gd name="connsiteY14" fmla="*/ 124592 h 207720"/>
                <a:gd name="connsiteX15" fmla="*/ 83129 w 207720"/>
                <a:gd name="connsiteY15" fmla="*/ 124592 h 207720"/>
                <a:gd name="connsiteX16" fmla="*/ 83129 w 207720"/>
                <a:gd name="connsiteY16" fmla="*/ 197405 h 207720"/>
                <a:gd name="connsiteX17" fmla="*/ 86162 w 207720"/>
                <a:gd name="connsiteY17" fmla="*/ 204686 h 207720"/>
                <a:gd name="connsiteX18" fmla="*/ 93444 w 207720"/>
                <a:gd name="connsiteY18" fmla="*/ 207720 h 207720"/>
                <a:gd name="connsiteX19" fmla="*/ 114276 w 207720"/>
                <a:gd name="connsiteY19" fmla="*/ 207720 h 207720"/>
                <a:gd name="connsiteX20" fmla="*/ 121558 w 207720"/>
                <a:gd name="connsiteY20" fmla="*/ 204686 h 207720"/>
                <a:gd name="connsiteX21" fmla="*/ 124592 w 207720"/>
                <a:gd name="connsiteY21" fmla="*/ 197405 h 207720"/>
                <a:gd name="connsiteX22" fmla="*/ 124592 w 207720"/>
                <a:gd name="connsiteY22" fmla="*/ 124592 h 207720"/>
                <a:gd name="connsiteX23" fmla="*/ 197405 w 207720"/>
                <a:gd name="connsiteY23" fmla="*/ 124592 h 207720"/>
                <a:gd name="connsiteX24" fmla="*/ 204686 w 207720"/>
                <a:gd name="connsiteY24" fmla="*/ 121558 h 207720"/>
                <a:gd name="connsiteX25" fmla="*/ 207720 w 207720"/>
                <a:gd name="connsiteY25" fmla="*/ 114276 h 207720"/>
                <a:gd name="connsiteX26" fmla="*/ 207720 w 207720"/>
                <a:gd name="connsiteY26" fmla="*/ 93444 h 207720"/>
                <a:gd name="connsiteX27" fmla="*/ 204686 w 207720"/>
                <a:gd name="connsiteY27" fmla="*/ 86162 h 207720"/>
                <a:gd name="connsiteX28" fmla="*/ 197607 w 207720"/>
                <a:gd name="connsiteY28" fmla="*/ 83129 h 207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07720" h="207720">
                  <a:moveTo>
                    <a:pt x="197607" y="83129"/>
                  </a:moveTo>
                  <a:lnTo>
                    <a:pt x="124794" y="83129"/>
                  </a:lnTo>
                  <a:lnTo>
                    <a:pt x="124794" y="10315"/>
                  </a:lnTo>
                  <a:cubicBezTo>
                    <a:pt x="124794" y="7484"/>
                    <a:pt x="123783" y="5056"/>
                    <a:pt x="121760" y="3034"/>
                  </a:cubicBezTo>
                  <a:cubicBezTo>
                    <a:pt x="119737" y="1011"/>
                    <a:pt x="117310" y="0"/>
                    <a:pt x="114479" y="0"/>
                  </a:cubicBezTo>
                  <a:lnTo>
                    <a:pt x="93444" y="0"/>
                  </a:lnTo>
                  <a:cubicBezTo>
                    <a:pt x="90612" y="0"/>
                    <a:pt x="88185" y="1011"/>
                    <a:pt x="86162" y="3034"/>
                  </a:cubicBezTo>
                  <a:cubicBezTo>
                    <a:pt x="84140" y="5056"/>
                    <a:pt x="83129" y="7484"/>
                    <a:pt x="83129" y="10315"/>
                  </a:cubicBezTo>
                  <a:lnTo>
                    <a:pt x="83129" y="83129"/>
                  </a:lnTo>
                  <a:lnTo>
                    <a:pt x="10315" y="83129"/>
                  </a:lnTo>
                  <a:cubicBezTo>
                    <a:pt x="7484" y="83129"/>
                    <a:pt x="5056" y="84140"/>
                    <a:pt x="3034" y="86162"/>
                  </a:cubicBezTo>
                  <a:cubicBezTo>
                    <a:pt x="1011" y="88185"/>
                    <a:pt x="0" y="90612"/>
                    <a:pt x="0" y="93444"/>
                  </a:cubicBezTo>
                  <a:lnTo>
                    <a:pt x="0" y="114276"/>
                  </a:lnTo>
                  <a:cubicBezTo>
                    <a:pt x="0" y="117108"/>
                    <a:pt x="1011" y="119535"/>
                    <a:pt x="3034" y="121558"/>
                  </a:cubicBezTo>
                  <a:cubicBezTo>
                    <a:pt x="5056" y="123580"/>
                    <a:pt x="7484" y="124592"/>
                    <a:pt x="10315" y="124592"/>
                  </a:cubicBezTo>
                  <a:lnTo>
                    <a:pt x="83129" y="124592"/>
                  </a:lnTo>
                  <a:lnTo>
                    <a:pt x="83129" y="197405"/>
                  </a:lnTo>
                  <a:cubicBezTo>
                    <a:pt x="83129" y="200237"/>
                    <a:pt x="84140" y="202664"/>
                    <a:pt x="86162" y="204686"/>
                  </a:cubicBezTo>
                  <a:cubicBezTo>
                    <a:pt x="88185" y="206709"/>
                    <a:pt x="90612" y="207720"/>
                    <a:pt x="93444" y="207720"/>
                  </a:cubicBezTo>
                  <a:lnTo>
                    <a:pt x="114276" y="207720"/>
                  </a:lnTo>
                  <a:cubicBezTo>
                    <a:pt x="117108" y="207720"/>
                    <a:pt x="119535" y="206709"/>
                    <a:pt x="121558" y="204686"/>
                  </a:cubicBezTo>
                  <a:cubicBezTo>
                    <a:pt x="123580" y="202664"/>
                    <a:pt x="124592" y="200237"/>
                    <a:pt x="124592" y="197405"/>
                  </a:cubicBezTo>
                  <a:lnTo>
                    <a:pt x="124592" y="124592"/>
                  </a:lnTo>
                  <a:lnTo>
                    <a:pt x="197405" y="124592"/>
                  </a:lnTo>
                  <a:cubicBezTo>
                    <a:pt x="200237" y="124592"/>
                    <a:pt x="202664" y="123580"/>
                    <a:pt x="204686" y="121558"/>
                  </a:cubicBezTo>
                  <a:cubicBezTo>
                    <a:pt x="206709" y="119535"/>
                    <a:pt x="207720" y="117108"/>
                    <a:pt x="207720" y="114276"/>
                  </a:cubicBezTo>
                  <a:lnTo>
                    <a:pt x="207720" y="93444"/>
                  </a:lnTo>
                  <a:cubicBezTo>
                    <a:pt x="207720" y="90612"/>
                    <a:pt x="206709" y="88185"/>
                    <a:pt x="204686" y="86162"/>
                  </a:cubicBezTo>
                  <a:cubicBezTo>
                    <a:pt x="202664" y="84140"/>
                    <a:pt x="200237" y="83129"/>
                    <a:pt x="197607" y="83129"/>
                  </a:cubicBezTo>
                  <a:close/>
                </a:path>
              </a:pathLst>
            </a:custGeom>
            <a:grpFill/>
            <a:ln w="2010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black"/>
                </a:solidFill>
                <a:effectLst/>
                <a:uLnTx/>
                <a:uFillTx/>
                <a:latin typeface="HarmonyOS Sans SC"/>
                <a:cs typeface="+mn-cs"/>
              </a:endParaRPr>
            </a:p>
          </p:txBody>
        </p:sp>
      </p:grpSp>
      <p:sp>
        <p:nvSpPr>
          <p:cNvPr id="50" name="Graphic 17">
            <a:extLst>
              <a:ext uri="{FF2B5EF4-FFF2-40B4-BE49-F238E27FC236}">
                <a16:creationId xmlns:a16="http://schemas.microsoft.com/office/drawing/2014/main" id="{42C34137-E2DB-4346-81D0-C3E55911579A}"/>
              </a:ext>
            </a:extLst>
          </p:cNvPr>
          <p:cNvSpPr/>
          <p:nvPr/>
        </p:nvSpPr>
        <p:spPr>
          <a:xfrm>
            <a:off x="7795492" y="3286176"/>
            <a:ext cx="613641" cy="505892"/>
          </a:xfrm>
          <a:custGeom>
            <a:avLst/>
            <a:gdLst>
              <a:gd name="connsiteX0" fmla="*/ 556609 w 613641"/>
              <a:gd name="connsiteY0" fmla="*/ 166585 h 505892"/>
              <a:gd name="connsiteX1" fmla="*/ 521775 w 613641"/>
              <a:gd name="connsiteY1" fmla="*/ 201238 h 505892"/>
              <a:gd name="connsiteX2" fmla="*/ 556609 w 613641"/>
              <a:gd name="connsiteY2" fmla="*/ 235891 h 505892"/>
              <a:gd name="connsiteX3" fmla="*/ 591261 w 613641"/>
              <a:gd name="connsiteY3" fmla="*/ 201238 h 505892"/>
              <a:gd name="connsiteX4" fmla="*/ 556609 w 613641"/>
              <a:gd name="connsiteY4" fmla="*/ 166585 h 505892"/>
              <a:gd name="connsiteX5" fmla="*/ 57033 w 613641"/>
              <a:gd name="connsiteY5" fmla="*/ 166585 h 505892"/>
              <a:gd name="connsiteX6" fmla="*/ 22199 w 613641"/>
              <a:gd name="connsiteY6" fmla="*/ 201238 h 505892"/>
              <a:gd name="connsiteX7" fmla="*/ 57033 w 613641"/>
              <a:gd name="connsiteY7" fmla="*/ 235891 h 505892"/>
              <a:gd name="connsiteX8" fmla="*/ 91866 w 613641"/>
              <a:gd name="connsiteY8" fmla="*/ 201238 h 505892"/>
              <a:gd name="connsiteX9" fmla="*/ 57033 w 613641"/>
              <a:gd name="connsiteY9" fmla="*/ 166585 h 505892"/>
              <a:gd name="connsiteX10" fmla="*/ 453192 w 613641"/>
              <a:gd name="connsiteY10" fmla="*/ 103416 h 505892"/>
              <a:gd name="connsiteX11" fmla="*/ 401574 w 613641"/>
              <a:gd name="connsiteY11" fmla="*/ 155215 h 505892"/>
              <a:gd name="connsiteX12" fmla="*/ 453192 w 613641"/>
              <a:gd name="connsiteY12" fmla="*/ 206833 h 505892"/>
              <a:gd name="connsiteX13" fmla="*/ 504990 w 613641"/>
              <a:gd name="connsiteY13" fmla="*/ 155215 h 505892"/>
              <a:gd name="connsiteX14" fmla="*/ 453192 w 613641"/>
              <a:gd name="connsiteY14" fmla="*/ 103416 h 505892"/>
              <a:gd name="connsiteX15" fmla="*/ 613641 w 613641"/>
              <a:gd name="connsiteY15" fmla="*/ 417637 h 505892"/>
              <a:gd name="connsiteX16" fmla="*/ 554804 w 613641"/>
              <a:gd name="connsiteY16" fmla="*/ 417637 h 505892"/>
              <a:gd name="connsiteX17" fmla="*/ 554804 w 613641"/>
              <a:gd name="connsiteY17" fmla="*/ 309167 h 505892"/>
              <a:gd name="connsiteX18" fmla="*/ 540546 w 613641"/>
              <a:gd name="connsiteY18" fmla="*/ 258270 h 505892"/>
              <a:gd name="connsiteX19" fmla="*/ 556609 w 613641"/>
              <a:gd name="connsiteY19" fmla="*/ 255744 h 505892"/>
              <a:gd name="connsiteX20" fmla="*/ 613641 w 613641"/>
              <a:gd name="connsiteY20" fmla="*/ 312957 h 505892"/>
              <a:gd name="connsiteX21" fmla="*/ 613641 w 613641"/>
              <a:gd name="connsiteY21" fmla="*/ 417637 h 505892"/>
              <a:gd name="connsiteX22" fmla="*/ 160449 w 613641"/>
              <a:gd name="connsiteY22" fmla="*/ 103416 h 505892"/>
              <a:gd name="connsiteX23" fmla="*/ 108651 w 613641"/>
              <a:gd name="connsiteY23" fmla="*/ 155215 h 505892"/>
              <a:gd name="connsiteX24" fmla="*/ 160449 w 613641"/>
              <a:gd name="connsiteY24" fmla="*/ 206833 h 505892"/>
              <a:gd name="connsiteX25" fmla="*/ 212067 w 613641"/>
              <a:gd name="connsiteY25" fmla="*/ 155215 h 505892"/>
              <a:gd name="connsiteX26" fmla="*/ 160449 w 613641"/>
              <a:gd name="connsiteY26" fmla="*/ 103416 h 505892"/>
              <a:gd name="connsiteX27" fmla="*/ 57033 w 613641"/>
              <a:gd name="connsiteY27" fmla="*/ 255744 h 505892"/>
              <a:gd name="connsiteX28" fmla="*/ 73095 w 613641"/>
              <a:gd name="connsiteY28" fmla="*/ 258270 h 505892"/>
              <a:gd name="connsiteX29" fmla="*/ 58837 w 613641"/>
              <a:gd name="connsiteY29" fmla="*/ 309167 h 505892"/>
              <a:gd name="connsiteX30" fmla="*/ 58837 w 613641"/>
              <a:gd name="connsiteY30" fmla="*/ 417637 h 505892"/>
              <a:gd name="connsiteX31" fmla="*/ 0 w 613641"/>
              <a:gd name="connsiteY31" fmla="*/ 417637 h 505892"/>
              <a:gd name="connsiteX32" fmla="*/ 0 w 613641"/>
              <a:gd name="connsiteY32" fmla="*/ 312776 h 505892"/>
              <a:gd name="connsiteX33" fmla="*/ 57033 w 613641"/>
              <a:gd name="connsiteY33" fmla="*/ 255744 h 505892"/>
              <a:gd name="connsiteX34" fmla="*/ 306821 w 613641"/>
              <a:gd name="connsiteY34" fmla="*/ 0 h 505892"/>
              <a:gd name="connsiteX35" fmla="*/ 230296 w 613641"/>
              <a:gd name="connsiteY35" fmla="*/ 76344 h 505892"/>
              <a:gd name="connsiteX36" fmla="*/ 306821 w 613641"/>
              <a:gd name="connsiteY36" fmla="*/ 152869 h 505892"/>
              <a:gd name="connsiteX37" fmla="*/ 383345 w 613641"/>
              <a:gd name="connsiteY37" fmla="*/ 76344 h 505892"/>
              <a:gd name="connsiteX38" fmla="*/ 306821 w 613641"/>
              <a:gd name="connsiteY38" fmla="*/ 0 h 505892"/>
              <a:gd name="connsiteX39" fmla="*/ 535853 w 613641"/>
              <a:gd name="connsiteY39" fmla="*/ 458065 h 505892"/>
              <a:gd name="connsiteX40" fmla="*/ 445612 w 613641"/>
              <a:gd name="connsiteY40" fmla="*/ 458065 h 505892"/>
              <a:gd name="connsiteX41" fmla="*/ 445612 w 613641"/>
              <a:gd name="connsiteY41" fmla="*/ 293104 h 505892"/>
              <a:gd name="connsiteX42" fmla="*/ 429910 w 613641"/>
              <a:gd name="connsiteY42" fmla="*/ 230476 h 505892"/>
              <a:gd name="connsiteX43" fmla="*/ 453192 w 613641"/>
              <a:gd name="connsiteY43" fmla="*/ 226686 h 505892"/>
              <a:gd name="connsiteX44" fmla="*/ 535853 w 613641"/>
              <a:gd name="connsiteY44" fmla="*/ 309347 h 505892"/>
              <a:gd name="connsiteX45" fmla="*/ 535853 w 613641"/>
              <a:gd name="connsiteY45" fmla="*/ 458065 h 505892"/>
              <a:gd name="connsiteX46" fmla="*/ 168029 w 613641"/>
              <a:gd name="connsiteY46" fmla="*/ 293104 h 505892"/>
              <a:gd name="connsiteX47" fmla="*/ 168029 w 613641"/>
              <a:gd name="connsiteY47" fmla="*/ 458065 h 505892"/>
              <a:gd name="connsiteX48" fmla="*/ 77788 w 613641"/>
              <a:gd name="connsiteY48" fmla="*/ 458065 h 505892"/>
              <a:gd name="connsiteX49" fmla="*/ 77788 w 613641"/>
              <a:gd name="connsiteY49" fmla="*/ 309347 h 505892"/>
              <a:gd name="connsiteX50" fmla="*/ 160449 w 613641"/>
              <a:gd name="connsiteY50" fmla="*/ 226686 h 505892"/>
              <a:gd name="connsiteX51" fmla="*/ 183551 w 613641"/>
              <a:gd name="connsiteY51" fmla="*/ 230476 h 505892"/>
              <a:gd name="connsiteX52" fmla="*/ 168029 w 613641"/>
              <a:gd name="connsiteY52" fmla="*/ 293104 h 505892"/>
              <a:gd name="connsiteX53" fmla="*/ 186980 w 613641"/>
              <a:gd name="connsiteY53" fmla="*/ 505892 h 505892"/>
              <a:gd name="connsiteX54" fmla="*/ 426661 w 613641"/>
              <a:gd name="connsiteY54" fmla="*/ 505892 h 505892"/>
              <a:gd name="connsiteX55" fmla="*/ 426661 w 613641"/>
              <a:gd name="connsiteY55" fmla="*/ 293104 h 505892"/>
              <a:gd name="connsiteX56" fmla="*/ 306821 w 613641"/>
              <a:gd name="connsiteY56" fmla="*/ 173263 h 505892"/>
              <a:gd name="connsiteX57" fmla="*/ 186980 w 613641"/>
              <a:gd name="connsiteY57" fmla="*/ 293104 h 505892"/>
              <a:gd name="connsiteX58" fmla="*/ 186980 w 613641"/>
              <a:gd name="connsiteY58" fmla="*/ 505892 h 505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613641" h="505892">
                <a:moveTo>
                  <a:pt x="556609" y="166585"/>
                </a:moveTo>
                <a:cubicBezTo>
                  <a:pt x="537477" y="166585"/>
                  <a:pt x="521775" y="182107"/>
                  <a:pt x="521775" y="201238"/>
                </a:cubicBezTo>
                <a:cubicBezTo>
                  <a:pt x="521775" y="220369"/>
                  <a:pt x="537297" y="235891"/>
                  <a:pt x="556609" y="235891"/>
                </a:cubicBezTo>
                <a:cubicBezTo>
                  <a:pt x="575740" y="235891"/>
                  <a:pt x="591261" y="220369"/>
                  <a:pt x="591261" y="201238"/>
                </a:cubicBezTo>
                <a:cubicBezTo>
                  <a:pt x="591261" y="182107"/>
                  <a:pt x="575740" y="166585"/>
                  <a:pt x="556609" y="166585"/>
                </a:cubicBezTo>
                <a:close/>
                <a:moveTo>
                  <a:pt x="57033" y="166585"/>
                </a:moveTo>
                <a:cubicBezTo>
                  <a:pt x="37901" y="166585"/>
                  <a:pt x="22199" y="182107"/>
                  <a:pt x="22199" y="201238"/>
                </a:cubicBezTo>
                <a:cubicBezTo>
                  <a:pt x="22199" y="220369"/>
                  <a:pt x="37721" y="235891"/>
                  <a:pt x="57033" y="235891"/>
                </a:cubicBezTo>
                <a:cubicBezTo>
                  <a:pt x="76164" y="235891"/>
                  <a:pt x="91866" y="220369"/>
                  <a:pt x="91866" y="201238"/>
                </a:cubicBezTo>
                <a:cubicBezTo>
                  <a:pt x="91866" y="182107"/>
                  <a:pt x="76344" y="166585"/>
                  <a:pt x="57033" y="166585"/>
                </a:cubicBezTo>
                <a:close/>
                <a:moveTo>
                  <a:pt x="453192" y="103416"/>
                </a:moveTo>
                <a:cubicBezTo>
                  <a:pt x="424676" y="103416"/>
                  <a:pt x="401574" y="126518"/>
                  <a:pt x="401574" y="155215"/>
                </a:cubicBezTo>
                <a:cubicBezTo>
                  <a:pt x="401574" y="183731"/>
                  <a:pt x="424676" y="206833"/>
                  <a:pt x="453192" y="206833"/>
                </a:cubicBezTo>
                <a:cubicBezTo>
                  <a:pt x="481708" y="206833"/>
                  <a:pt x="504990" y="183731"/>
                  <a:pt x="504990" y="155215"/>
                </a:cubicBezTo>
                <a:cubicBezTo>
                  <a:pt x="504990" y="126518"/>
                  <a:pt x="481708" y="103416"/>
                  <a:pt x="453192" y="103416"/>
                </a:cubicBezTo>
                <a:close/>
                <a:moveTo>
                  <a:pt x="613641" y="417637"/>
                </a:moveTo>
                <a:lnTo>
                  <a:pt x="554804" y="417637"/>
                </a:lnTo>
                <a:lnTo>
                  <a:pt x="554804" y="309167"/>
                </a:lnTo>
                <a:cubicBezTo>
                  <a:pt x="554804" y="290577"/>
                  <a:pt x="549209" y="273251"/>
                  <a:pt x="540546" y="258270"/>
                </a:cubicBezTo>
                <a:cubicBezTo>
                  <a:pt x="545780" y="256827"/>
                  <a:pt x="551014" y="255744"/>
                  <a:pt x="556609" y="255744"/>
                </a:cubicBezTo>
                <a:cubicBezTo>
                  <a:pt x="588013" y="255744"/>
                  <a:pt x="613641" y="281372"/>
                  <a:pt x="613641" y="312957"/>
                </a:cubicBezTo>
                <a:lnTo>
                  <a:pt x="613641" y="417637"/>
                </a:lnTo>
                <a:close/>
                <a:moveTo>
                  <a:pt x="160449" y="103416"/>
                </a:moveTo>
                <a:cubicBezTo>
                  <a:pt x="131933" y="103416"/>
                  <a:pt x="108651" y="126518"/>
                  <a:pt x="108651" y="155215"/>
                </a:cubicBezTo>
                <a:cubicBezTo>
                  <a:pt x="108651" y="183731"/>
                  <a:pt x="131933" y="206833"/>
                  <a:pt x="160449" y="206833"/>
                </a:cubicBezTo>
                <a:cubicBezTo>
                  <a:pt x="188965" y="206833"/>
                  <a:pt x="212067" y="183731"/>
                  <a:pt x="212067" y="155215"/>
                </a:cubicBezTo>
                <a:cubicBezTo>
                  <a:pt x="212067" y="126518"/>
                  <a:pt x="188965" y="103416"/>
                  <a:pt x="160449" y="103416"/>
                </a:cubicBezTo>
                <a:close/>
                <a:moveTo>
                  <a:pt x="57033" y="255744"/>
                </a:moveTo>
                <a:cubicBezTo>
                  <a:pt x="62627" y="255744"/>
                  <a:pt x="67861" y="256827"/>
                  <a:pt x="73095" y="258270"/>
                </a:cubicBezTo>
                <a:cubicBezTo>
                  <a:pt x="64252" y="273251"/>
                  <a:pt x="58837" y="290577"/>
                  <a:pt x="58837" y="309167"/>
                </a:cubicBezTo>
                <a:lnTo>
                  <a:pt x="58837" y="417637"/>
                </a:lnTo>
                <a:lnTo>
                  <a:pt x="0" y="417637"/>
                </a:lnTo>
                <a:lnTo>
                  <a:pt x="0" y="312776"/>
                </a:lnTo>
                <a:cubicBezTo>
                  <a:pt x="0" y="281372"/>
                  <a:pt x="25629" y="255744"/>
                  <a:pt x="57033" y="255744"/>
                </a:cubicBezTo>
                <a:close/>
                <a:moveTo>
                  <a:pt x="306821" y="0"/>
                </a:moveTo>
                <a:cubicBezTo>
                  <a:pt x="264768" y="0"/>
                  <a:pt x="230296" y="34292"/>
                  <a:pt x="230296" y="76344"/>
                </a:cubicBezTo>
                <a:cubicBezTo>
                  <a:pt x="230296" y="118577"/>
                  <a:pt x="264588" y="152869"/>
                  <a:pt x="306821" y="152869"/>
                </a:cubicBezTo>
                <a:cubicBezTo>
                  <a:pt x="349053" y="152869"/>
                  <a:pt x="383345" y="118577"/>
                  <a:pt x="383345" y="76344"/>
                </a:cubicBezTo>
                <a:cubicBezTo>
                  <a:pt x="383345" y="34292"/>
                  <a:pt x="348873" y="0"/>
                  <a:pt x="306821" y="0"/>
                </a:cubicBezTo>
                <a:close/>
                <a:moveTo>
                  <a:pt x="535853" y="458065"/>
                </a:moveTo>
                <a:lnTo>
                  <a:pt x="445612" y="458065"/>
                </a:lnTo>
                <a:lnTo>
                  <a:pt x="445612" y="293104"/>
                </a:lnTo>
                <a:cubicBezTo>
                  <a:pt x="445612" y="270363"/>
                  <a:pt x="439656" y="249246"/>
                  <a:pt x="429910" y="230476"/>
                </a:cubicBezTo>
                <a:cubicBezTo>
                  <a:pt x="437309" y="228310"/>
                  <a:pt x="445070" y="226686"/>
                  <a:pt x="453192" y="226686"/>
                </a:cubicBezTo>
                <a:cubicBezTo>
                  <a:pt x="498674" y="226686"/>
                  <a:pt x="535853" y="263685"/>
                  <a:pt x="535853" y="309347"/>
                </a:cubicBezTo>
                <a:lnTo>
                  <a:pt x="535853" y="458065"/>
                </a:lnTo>
                <a:close/>
                <a:moveTo>
                  <a:pt x="168029" y="293104"/>
                </a:moveTo>
                <a:lnTo>
                  <a:pt x="168029" y="458065"/>
                </a:lnTo>
                <a:lnTo>
                  <a:pt x="77788" y="458065"/>
                </a:lnTo>
                <a:lnTo>
                  <a:pt x="77788" y="309347"/>
                </a:lnTo>
                <a:cubicBezTo>
                  <a:pt x="77788" y="263865"/>
                  <a:pt x="114787" y="226686"/>
                  <a:pt x="160449" y="226686"/>
                </a:cubicBezTo>
                <a:cubicBezTo>
                  <a:pt x="168571" y="226686"/>
                  <a:pt x="176332" y="228310"/>
                  <a:pt x="183551" y="230476"/>
                </a:cubicBezTo>
                <a:cubicBezTo>
                  <a:pt x="173985" y="249246"/>
                  <a:pt x="168029" y="270363"/>
                  <a:pt x="168029" y="293104"/>
                </a:cubicBezTo>
                <a:close/>
                <a:moveTo>
                  <a:pt x="186980" y="505892"/>
                </a:moveTo>
                <a:lnTo>
                  <a:pt x="426661" y="505892"/>
                </a:lnTo>
                <a:lnTo>
                  <a:pt x="426661" y="293104"/>
                </a:lnTo>
                <a:cubicBezTo>
                  <a:pt x="426661" y="227047"/>
                  <a:pt x="372877" y="173263"/>
                  <a:pt x="306821" y="173263"/>
                </a:cubicBezTo>
                <a:cubicBezTo>
                  <a:pt x="240764" y="173263"/>
                  <a:pt x="186980" y="227047"/>
                  <a:pt x="186980" y="293104"/>
                </a:cubicBezTo>
                <a:lnTo>
                  <a:pt x="186980" y="505892"/>
                </a:lnTo>
                <a:close/>
              </a:path>
            </a:pathLst>
          </a:custGeom>
          <a:gradFill>
            <a:gsLst>
              <a:gs pos="57000">
                <a:schemeClr val="accent1">
                  <a:lumMod val="60000"/>
                  <a:lumOff val="40000"/>
                </a:schemeClr>
              </a:gs>
              <a:gs pos="0">
                <a:schemeClr val="accent1"/>
              </a:gs>
              <a:gs pos="100000">
                <a:schemeClr val="accent1">
                  <a:lumMod val="40000"/>
                  <a:lumOff val="60000"/>
                </a:schemeClr>
              </a:gs>
            </a:gsLst>
            <a:lin ang="10800000" scaled="1"/>
          </a:gradFill>
          <a:ln w="1792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black"/>
              </a:solidFill>
              <a:effectLst/>
              <a:uLnTx/>
              <a:uFillTx/>
              <a:latin typeface="HarmonyOS Sans SC"/>
              <a:cs typeface="+mn-cs"/>
            </a:endParaRPr>
          </a:p>
        </p:txBody>
      </p:sp>
      <p:sp>
        <p:nvSpPr>
          <p:cNvPr id="10" name="Freeform 95">
            <a:extLst>
              <a:ext uri="{FF2B5EF4-FFF2-40B4-BE49-F238E27FC236}">
                <a16:creationId xmlns:a16="http://schemas.microsoft.com/office/drawing/2014/main" id="{01B6B47E-FA8C-4830-833C-40E83E834874}"/>
              </a:ext>
            </a:extLst>
          </p:cNvPr>
          <p:cNvSpPr>
            <a:spLocks/>
          </p:cNvSpPr>
          <p:nvPr/>
        </p:nvSpPr>
        <p:spPr bwMode="auto">
          <a:xfrm>
            <a:off x="9887714" y="3286176"/>
            <a:ext cx="459138" cy="505351"/>
          </a:xfrm>
          <a:custGeom>
            <a:avLst/>
            <a:gdLst>
              <a:gd name="T0" fmla="*/ 84 w 130"/>
              <a:gd name="T1" fmla="*/ 71 h 143"/>
              <a:gd name="T2" fmla="*/ 102 w 130"/>
              <a:gd name="T3" fmla="*/ 37 h 143"/>
              <a:gd name="T4" fmla="*/ 66 w 130"/>
              <a:gd name="T5" fmla="*/ 1 h 143"/>
              <a:gd name="T6" fmla="*/ 26 w 130"/>
              <a:gd name="T7" fmla="*/ 39 h 143"/>
              <a:gd name="T8" fmla="*/ 45 w 130"/>
              <a:gd name="T9" fmla="*/ 71 h 143"/>
              <a:gd name="T10" fmla="*/ 0 w 130"/>
              <a:gd name="T11" fmla="*/ 126 h 143"/>
              <a:gd name="T12" fmla="*/ 0 w 130"/>
              <a:gd name="T13" fmla="*/ 126 h 143"/>
              <a:gd name="T14" fmla="*/ 17 w 130"/>
              <a:gd name="T15" fmla="*/ 143 h 143"/>
              <a:gd name="T16" fmla="*/ 114 w 130"/>
              <a:gd name="T17" fmla="*/ 143 h 143"/>
              <a:gd name="T18" fmla="*/ 130 w 130"/>
              <a:gd name="T19" fmla="*/ 126 h 143"/>
              <a:gd name="T20" fmla="*/ 130 w 130"/>
              <a:gd name="T21" fmla="*/ 126 h 143"/>
              <a:gd name="T22" fmla="*/ 84 w 130"/>
              <a:gd name="T23" fmla="*/ 71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0" h="143">
                <a:moveTo>
                  <a:pt x="84" y="71"/>
                </a:moveTo>
                <a:cubicBezTo>
                  <a:pt x="95" y="64"/>
                  <a:pt x="102" y="52"/>
                  <a:pt x="102" y="37"/>
                </a:cubicBezTo>
                <a:cubicBezTo>
                  <a:pt x="101" y="18"/>
                  <a:pt x="85" y="1"/>
                  <a:pt x="66" y="1"/>
                </a:cubicBezTo>
                <a:cubicBezTo>
                  <a:pt x="44" y="0"/>
                  <a:pt x="26" y="17"/>
                  <a:pt x="26" y="39"/>
                </a:cubicBezTo>
                <a:cubicBezTo>
                  <a:pt x="26" y="53"/>
                  <a:pt x="34" y="65"/>
                  <a:pt x="45" y="71"/>
                </a:cubicBezTo>
                <a:cubicBezTo>
                  <a:pt x="19" y="77"/>
                  <a:pt x="0" y="99"/>
                  <a:pt x="0" y="126"/>
                </a:cubicBezTo>
                <a:cubicBezTo>
                  <a:pt x="0" y="126"/>
                  <a:pt x="0" y="126"/>
                  <a:pt x="0" y="126"/>
                </a:cubicBezTo>
                <a:cubicBezTo>
                  <a:pt x="0" y="135"/>
                  <a:pt x="7" y="143"/>
                  <a:pt x="17" y="143"/>
                </a:cubicBezTo>
                <a:cubicBezTo>
                  <a:pt x="114" y="143"/>
                  <a:pt x="114" y="143"/>
                  <a:pt x="114" y="143"/>
                </a:cubicBezTo>
                <a:cubicBezTo>
                  <a:pt x="123" y="143"/>
                  <a:pt x="130" y="135"/>
                  <a:pt x="130" y="126"/>
                </a:cubicBezTo>
                <a:cubicBezTo>
                  <a:pt x="130" y="126"/>
                  <a:pt x="130" y="126"/>
                  <a:pt x="130" y="126"/>
                </a:cubicBezTo>
                <a:cubicBezTo>
                  <a:pt x="130" y="99"/>
                  <a:pt x="110" y="76"/>
                  <a:pt x="84" y="71"/>
                </a:cubicBezTo>
                <a:close/>
              </a:path>
            </a:pathLst>
          </a:custGeom>
          <a:gradFill>
            <a:gsLst>
              <a:gs pos="57000">
                <a:schemeClr val="accent1">
                  <a:lumMod val="60000"/>
                  <a:lumOff val="40000"/>
                </a:schemeClr>
              </a:gs>
              <a:gs pos="0">
                <a:schemeClr val="accent1"/>
              </a:gs>
              <a:gs pos="100000">
                <a:schemeClr val="accent1">
                  <a:lumMod val="40000"/>
                  <a:lumOff val="60000"/>
                </a:schemeClr>
              </a:gs>
            </a:gsLst>
            <a:lin ang="10800000" scaled="1"/>
          </a:gra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grpSp>
        <p:nvGrpSpPr>
          <p:cNvPr id="32" name="组合 31">
            <a:extLst>
              <a:ext uri="{FF2B5EF4-FFF2-40B4-BE49-F238E27FC236}">
                <a16:creationId xmlns:a16="http://schemas.microsoft.com/office/drawing/2014/main" id="{6C0DF251-DA10-4B37-A213-997CFF84EBED}"/>
              </a:ext>
            </a:extLst>
          </p:cNvPr>
          <p:cNvGrpSpPr/>
          <p:nvPr/>
        </p:nvGrpSpPr>
        <p:grpSpPr>
          <a:xfrm>
            <a:off x="2979628" y="1285063"/>
            <a:ext cx="2299208" cy="926901"/>
            <a:chOff x="8924793" y="1788672"/>
            <a:chExt cx="2056261" cy="828960"/>
          </a:xfrm>
        </p:grpSpPr>
        <p:sp>
          <p:nvSpPr>
            <p:cNvPr id="33" name="TextBox 65">
              <a:extLst>
                <a:ext uri="{FF2B5EF4-FFF2-40B4-BE49-F238E27FC236}">
                  <a16:creationId xmlns:a16="http://schemas.microsoft.com/office/drawing/2014/main" id="{6333CBA1-D2F3-41CA-B223-AB42409879E1}"/>
                </a:ext>
              </a:extLst>
            </p:cNvPr>
            <p:cNvSpPr txBox="1"/>
            <p:nvPr/>
          </p:nvSpPr>
          <p:spPr>
            <a:xfrm flipH="1">
              <a:off x="8924793" y="1788672"/>
              <a:ext cx="2056261" cy="339532"/>
            </a:xfrm>
            <a:prstGeom prst="rect">
              <a:avLst/>
            </a:prstGeom>
            <a:noFill/>
          </p:spPr>
          <p:txBody>
            <a:bodyPr wrap="square" lIns="0" tIns="36000" rIns="0" bIns="36000" rtlCol="0">
              <a:spAutoFit/>
            </a:bodyPr>
            <a:lstStyle>
              <a:defPPr>
                <a:defRPr lang="zh-CN"/>
              </a:defPPr>
              <a:lvl1pPr marR="0" lvl="0" indent="0" algn="ctr" fontAlgn="auto">
                <a:lnSpc>
                  <a:spcPct val="120000"/>
                </a:lnSpc>
                <a:spcBef>
                  <a:spcPts val="600"/>
                </a:spcBef>
                <a:spcAft>
                  <a:spcPts val="0"/>
                </a:spcAft>
                <a:buClrTx/>
                <a:buSzTx/>
                <a:buFontTx/>
                <a:buNone/>
                <a:tabLst/>
                <a:defRPr kumimoji="0" b="0" i="0" u="none" strike="noStrike" cap="none" spc="0" normalizeH="0" baseline="0">
                  <a:ln>
                    <a:noFill/>
                  </a:ln>
                  <a:solidFill>
                    <a:schemeClr val="accent1"/>
                  </a:solidFill>
                  <a:effectLst/>
                  <a:uLnTx/>
                  <a:uFillTx/>
                  <a:latin typeface="HarmonyOS Sans SC Black"/>
                  <a:ea typeface="+mj-ea"/>
                </a:defRPr>
              </a:lvl1pPr>
            </a:lstStyle>
            <a:p>
              <a:r>
                <a:rPr lang="en-US" dirty="0"/>
                <a:t>Your subtitle here</a:t>
              </a:r>
            </a:p>
          </p:txBody>
        </p:sp>
        <p:sp>
          <p:nvSpPr>
            <p:cNvPr id="34" name="TextBox 65">
              <a:extLst>
                <a:ext uri="{FF2B5EF4-FFF2-40B4-BE49-F238E27FC236}">
                  <a16:creationId xmlns:a16="http://schemas.microsoft.com/office/drawing/2014/main" id="{4BA7865E-D402-4480-8EAF-9EB804B6DB24}"/>
                </a:ext>
              </a:extLst>
            </p:cNvPr>
            <p:cNvSpPr txBox="1"/>
            <p:nvPr/>
          </p:nvSpPr>
          <p:spPr>
            <a:xfrm flipH="1">
              <a:off x="8958967" y="2172071"/>
              <a:ext cx="1987912" cy="445561"/>
            </a:xfrm>
            <a:prstGeom prst="rect">
              <a:avLst/>
            </a:prstGeom>
            <a:noFill/>
          </p:spPr>
          <p:txBody>
            <a:bodyPr wrap="square" lIns="0" tIns="36000" rIns="0" bIns="36000" rtlCol="0">
              <a:spAutoFit/>
            </a:bodyPr>
            <a:lstStyle>
              <a:defPPr>
                <a:defRPr lang="zh-CN"/>
              </a:defPPr>
              <a:lvl1pPr marR="0" lvl="0" indent="0" algn="ctr" fontAlgn="auto">
                <a:lnSpc>
                  <a:spcPct val="120000"/>
                </a:lnSpc>
                <a:spcBef>
                  <a:spcPts val="600"/>
                </a:spcBef>
                <a:spcAft>
                  <a:spcPts val="0"/>
                </a:spcAft>
                <a:buClrTx/>
                <a:buSzTx/>
                <a:buFontTx/>
                <a:buNone/>
                <a:tabLst/>
                <a:defRPr kumimoji="0" sz="1200" b="0" i="0" u="none" strike="noStrike" cap="none" spc="0" normalizeH="0" baseline="0">
                  <a:ln>
                    <a:noFill/>
                  </a:ln>
                  <a:solidFill>
                    <a:prstClr val="black">
                      <a:lumMod val="50000"/>
                      <a:lumOff val="50000"/>
                    </a:prstClr>
                  </a:solidFill>
                  <a:effectLst/>
                  <a:uLnTx/>
                  <a:uFillTx/>
                  <a:latin typeface="HarmonyOS Sans SC"/>
                </a:defRPr>
              </a:lvl1pPr>
            </a:lstStyle>
            <a:p>
              <a:r>
                <a:rPr lang="en-US"/>
                <a:t>Apparently</a:t>
              </a:r>
              <a:r>
                <a:rPr lang="en-US" dirty="0"/>
                <a:t> we had reached a great height in the atmosphere.</a:t>
              </a:r>
            </a:p>
          </p:txBody>
        </p:sp>
      </p:grpSp>
      <p:grpSp>
        <p:nvGrpSpPr>
          <p:cNvPr id="35" name="组合 34">
            <a:extLst>
              <a:ext uri="{FF2B5EF4-FFF2-40B4-BE49-F238E27FC236}">
                <a16:creationId xmlns:a16="http://schemas.microsoft.com/office/drawing/2014/main" id="{DFA2E8C2-EAB7-4805-B973-104B7C264027}"/>
              </a:ext>
            </a:extLst>
          </p:cNvPr>
          <p:cNvGrpSpPr/>
          <p:nvPr/>
        </p:nvGrpSpPr>
        <p:grpSpPr>
          <a:xfrm>
            <a:off x="6952708" y="1285063"/>
            <a:ext cx="2299208" cy="926901"/>
            <a:chOff x="8924793" y="1788672"/>
            <a:chExt cx="2056261" cy="828960"/>
          </a:xfrm>
        </p:grpSpPr>
        <p:sp>
          <p:nvSpPr>
            <p:cNvPr id="36" name="TextBox 65">
              <a:extLst>
                <a:ext uri="{FF2B5EF4-FFF2-40B4-BE49-F238E27FC236}">
                  <a16:creationId xmlns:a16="http://schemas.microsoft.com/office/drawing/2014/main" id="{E96CF53C-2131-4A27-979D-9C2D375F6240}"/>
                </a:ext>
              </a:extLst>
            </p:cNvPr>
            <p:cNvSpPr txBox="1"/>
            <p:nvPr/>
          </p:nvSpPr>
          <p:spPr>
            <a:xfrm flipH="1">
              <a:off x="8924793" y="1788672"/>
              <a:ext cx="2056261" cy="339532"/>
            </a:xfrm>
            <a:prstGeom prst="rect">
              <a:avLst/>
            </a:prstGeom>
            <a:noFill/>
          </p:spPr>
          <p:txBody>
            <a:bodyPr wrap="square" lIns="0" tIns="36000" rIns="0" bIns="36000" rtlCol="0">
              <a:spAutoFit/>
            </a:bodyPr>
            <a:lstStyle>
              <a:defPPr>
                <a:defRPr lang="zh-CN"/>
              </a:defPPr>
              <a:lvl1pPr marR="0" lvl="0" indent="0" algn="ctr" fontAlgn="auto">
                <a:lnSpc>
                  <a:spcPct val="120000"/>
                </a:lnSpc>
                <a:spcBef>
                  <a:spcPts val="600"/>
                </a:spcBef>
                <a:spcAft>
                  <a:spcPts val="0"/>
                </a:spcAft>
                <a:buClrTx/>
                <a:buSzTx/>
                <a:buFontTx/>
                <a:buNone/>
                <a:tabLst/>
                <a:defRPr kumimoji="0" b="0" i="0" u="none" strike="noStrike" cap="none" spc="0" normalizeH="0" baseline="0">
                  <a:ln>
                    <a:noFill/>
                  </a:ln>
                  <a:solidFill>
                    <a:schemeClr val="accent1"/>
                  </a:solidFill>
                  <a:effectLst/>
                  <a:uLnTx/>
                  <a:uFillTx/>
                  <a:latin typeface="HarmonyOS Sans SC Black"/>
                  <a:ea typeface="+mj-ea"/>
                </a:defRPr>
              </a:lvl1pPr>
            </a:lstStyle>
            <a:p>
              <a:r>
                <a:rPr lang="en-US" dirty="0"/>
                <a:t>Your subtitle here</a:t>
              </a:r>
            </a:p>
          </p:txBody>
        </p:sp>
        <p:sp>
          <p:nvSpPr>
            <p:cNvPr id="37" name="TextBox 65">
              <a:extLst>
                <a:ext uri="{FF2B5EF4-FFF2-40B4-BE49-F238E27FC236}">
                  <a16:creationId xmlns:a16="http://schemas.microsoft.com/office/drawing/2014/main" id="{1D0D7B6F-EC93-4193-8378-8B62C3A0F0F7}"/>
                </a:ext>
              </a:extLst>
            </p:cNvPr>
            <p:cNvSpPr txBox="1"/>
            <p:nvPr/>
          </p:nvSpPr>
          <p:spPr>
            <a:xfrm flipH="1">
              <a:off x="8958967" y="2172071"/>
              <a:ext cx="1987912" cy="445561"/>
            </a:xfrm>
            <a:prstGeom prst="rect">
              <a:avLst/>
            </a:prstGeom>
            <a:noFill/>
          </p:spPr>
          <p:txBody>
            <a:bodyPr wrap="square" lIns="0" tIns="36000" rIns="0" bIns="36000" rtlCol="0">
              <a:spAutoFit/>
            </a:bodyPr>
            <a:lstStyle>
              <a:defPPr>
                <a:defRPr lang="zh-CN"/>
              </a:defPPr>
              <a:lvl1pPr marR="0" lvl="0" indent="0" algn="ctr" fontAlgn="auto">
                <a:lnSpc>
                  <a:spcPct val="120000"/>
                </a:lnSpc>
                <a:spcBef>
                  <a:spcPts val="600"/>
                </a:spcBef>
                <a:spcAft>
                  <a:spcPts val="0"/>
                </a:spcAft>
                <a:buClrTx/>
                <a:buSzTx/>
                <a:buFontTx/>
                <a:buNone/>
                <a:tabLst/>
                <a:defRPr kumimoji="0" sz="1200" b="0" i="0" u="none" strike="noStrike" cap="none" spc="0" normalizeH="0" baseline="0">
                  <a:ln>
                    <a:noFill/>
                  </a:ln>
                  <a:solidFill>
                    <a:prstClr val="black">
                      <a:lumMod val="50000"/>
                      <a:lumOff val="50000"/>
                    </a:prstClr>
                  </a:solidFill>
                  <a:effectLst/>
                  <a:uLnTx/>
                  <a:uFillTx/>
                  <a:latin typeface="HarmonyOS Sans SC"/>
                </a:defRPr>
              </a:lvl1pPr>
            </a:lstStyle>
            <a:p>
              <a:r>
                <a:rPr lang="en-US"/>
                <a:t>Apparently</a:t>
              </a:r>
              <a:r>
                <a:rPr lang="en-US" dirty="0"/>
                <a:t> we had reached a great height in the atmosphere.</a:t>
              </a:r>
            </a:p>
          </p:txBody>
        </p:sp>
      </p:grpSp>
      <p:grpSp>
        <p:nvGrpSpPr>
          <p:cNvPr id="38" name="组合 37">
            <a:extLst>
              <a:ext uri="{FF2B5EF4-FFF2-40B4-BE49-F238E27FC236}">
                <a16:creationId xmlns:a16="http://schemas.microsoft.com/office/drawing/2014/main" id="{D1892439-173F-4B4D-84FF-44BD126DC936}"/>
              </a:ext>
            </a:extLst>
          </p:cNvPr>
          <p:cNvGrpSpPr/>
          <p:nvPr/>
        </p:nvGrpSpPr>
        <p:grpSpPr>
          <a:xfrm>
            <a:off x="1013825" y="4842211"/>
            <a:ext cx="2299208" cy="926901"/>
            <a:chOff x="8924793" y="1788672"/>
            <a:chExt cx="2056261" cy="828960"/>
          </a:xfrm>
        </p:grpSpPr>
        <p:sp>
          <p:nvSpPr>
            <p:cNvPr id="39" name="TextBox 65">
              <a:extLst>
                <a:ext uri="{FF2B5EF4-FFF2-40B4-BE49-F238E27FC236}">
                  <a16:creationId xmlns:a16="http://schemas.microsoft.com/office/drawing/2014/main" id="{5E907C91-C174-4F30-8E37-F4D5EC59E4D0}"/>
                </a:ext>
              </a:extLst>
            </p:cNvPr>
            <p:cNvSpPr txBox="1"/>
            <p:nvPr/>
          </p:nvSpPr>
          <p:spPr>
            <a:xfrm flipH="1">
              <a:off x="8924793" y="1788672"/>
              <a:ext cx="2056261" cy="339532"/>
            </a:xfrm>
            <a:prstGeom prst="rect">
              <a:avLst/>
            </a:prstGeom>
            <a:noFill/>
          </p:spPr>
          <p:txBody>
            <a:bodyPr wrap="square" lIns="0" tIns="36000" rIns="0" bIns="36000" rtlCol="0">
              <a:spAutoFit/>
            </a:bodyPr>
            <a:lstStyle/>
            <a:p>
              <a:pPr marL="0" marR="0" lvl="0" indent="0" algn="ctr" defTabSz="914400" rtl="0" eaLnBrk="1" fontAlgn="auto" latinLnBrk="0" hangingPunct="1">
                <a:lnSpc>
                  <a:spcPct val="120000"/>
                </a:lnSpc>
                <a:spcBef>
                  <a:spcPts val="600"/>
                </a:spcBef>
                <a:spcAft>
                  <a:spcPts val="0"/>
                </a:spcAft>
                <a:buClrTx/>
                <a:buSzTx/>
                <a:buFontTx/>
                <a:buNone/>
                <a:tabLst/>
                <a:defRPr/>
              </a:pPr>
              <a:r>
                <a:rPr kumimoji="0" lang="en-US" sz="1800" b="0" i="0" u="none" strike="noStrike" kern="1200" cap="none" spc="0" normalizeH="0" baseline="0" noProof="0" dirty="0">
                  <a:ln>
                    <a:noFill/>
                  </a:ln>
                  <a:solidFill>
                    <a:schemeClr val="accent1"/>
                  </a:solidFill>
                  <a:effectLst/>
                  <a:uLnTx/>
                  <a:uFillTx/>
                  <a:latin typeface="HarmonyOS Sans SC Black"/>
                  <a:ea typeface="+mj-ea"/>
                  <a:cs typeface="+mn-cs"/>
                </a:rPr>
                <a:t>Your subtitle here</a:t>
              </a:r>
            </a:p>
          </p:txBody>
        </p:sp>
        <p:sp>
          <p:nvSpPr>
            <p:cNvPr id="40" name="TextBox 65">
              <a:extLst>
                <a:ext uri="{FF2B5EF4-FFF2-40B4-BE49-F238E27FC236}">
                  <a16:creationId xmlns:a16="http://schemas.microsoft.com/office/drawing/2014/main" id="{0474E5AD-079C-45AC-92B9-17C92856A289}"/>
                </a:ext>
              </a:extLst>
            </p:cNvPr>
            <p:cNvSpPr txBox="1"/>
            <p:nvPr/>
          </p:nvSpPr>
          <p:spPr>
            <a:xfrm flipH="1">
              <a:off x="8958967" y="2172071"/>
              <a:ext cx="1987912" cy="445561"/>
            </a:xfrm>
            <a:prstGeom prst="rect">
              <a:avLst/>
            </a:prstGeom>
            <a:noFill/>
          </p:spPr>
          <p:txBody>
            <a:bodyPr wrap="square" lIns="0" tIns="36000" rIns="0" bIns="36000" rtlCol="0">
              <a:spAutoFit/>
            </a:bodyPr>
            <a:lstStyle/>
            <a:p>
              <a:pPr marL="0" marR="0" lvl="0" indent="0" algn="ctr" defTabSz="914400" rtl="0" eaLnBrk="1" fontAlgn="auto" latinLnBrk="0" hangingPunct="1">
                <a:lnSpc>
                  <a:spcPct val="120000"/>
                </a:lnSpc>
                <a:spcBef>
                  <a:spcPts val="600"/>
                </a:spcBef>
                <a:spcAft>
                  <a:spcPts val="0"/>
                </a:spcAft>
                <a:buClrTx/>
                <a:buSzTx/>
                <a:buFontTx/>
                <a:buNone/>
                <a:tabLst/>
                <a:defRPr/>
              </a:pPr>
              <a:r>
                <a:rPr kumimoji="0" lang="en-US" sz="1200" b="0" i="0" u="none" strike="noStrike" kern="1200" cap="none" spc="0" normalizeH="0" baseline="0" noProof="0" dirty="0">
                  <a:ln>
                    <a:noFill/>
                  </a:ln>
                  <a:solidFill>
                    <a:prstClr val="black">
                      <a:lumMod val="50000"/>
                      <a:lumOff val="50000"/>
                    </a:prstClr>
                  </a:solidFill>
                  <a:effectLst/>
                  <a:uLnTx/>
                  <a:uFillTx/>
                  <a:latin typeface="HarmonyOS Sans SC"/>
                  <a:cs typeface="+mn-cs"/>
                </a:rPr>
                <a:t>Apparently we had reached a great height in the atmosphere.</a:t>
              </a:r>
            </a:p>
          </p:txBody>
        </p:sp>
      </p:grpSp>
      <p:grpSp>
        <p:nvGrpSpPr>
          <p:cNvPr id="41" name="组合 40">
            <a:extLst>
              <a:ext uri="{FF2B5EF4-FFF2-40B4-BE49-F238E27FC236}">
                <a16:creationId xmlns:a16="http://schemas.microsoft.com/office/drawing/2014/main" id="{0623C9AF-FD79-41AE-8FA3-11CD6E726777}"/>
              </a:ext>
            </a:extLst>
          </p:cNvPr>
          <p:cNvGrpSpPr/>
          <p:nvPr/>
        </p:nvGrpSpPr>
        <p:grpSpPr>
          <a:xfrm>
            <a:off x="4946396" y="4842211"/>
            <a:ext cx="2299208" cy="926901"/>
            <a:chOff x="8924793" y="1788672"/>
            <a:chExt cx="2056261" cy="828960"/>
          </a:xfrm>
        </p:grpSpPr>
        <p:sp>
          <p:nvSpPr>
            <p:cNvPr id="42" name="TextBox 65">
              <a:extLst>
                <a:ext uri="{FF2B5EF4-FFF2-40B4-BE49-F238E27FC236}">
                  <a16:creationId xmlns:a16="http://schemas.microsoft.com/office/drawing/2014/main" id="{DE45D3A5-057C-4E81-8D79-1C3F731AFF4B}"/>
                </a:ext>
              </a:extLst>
            </p:cNvPr>
            <p:cNvSpPr txBox="1"/>
            <p:nvPr/>
          </p:nvSpPr>
          <p:spPr>
            <a:xfrm flipH="1">
              <a:off x="8924793" y="1788672"/>
              <a:ext cx="2056261" cy="339532"/>
            </a:xfrm>
            <a:prstGeom prst="rect">
              <a:avLst/>
            </a:prstGeom>
            <a:noFill/>
          </p:spPr>
          <p:txBody>
            <a:bodyPr wrap="square" lIns="0" tIns="36000" rIns="0" bIns="36000" rtlCol="0">
              <a:spAutoFit/>
            </a:bodyPr>
            <a:lstStyle>
              <a:defPPr>
                <a:defRPr lang="zh-CN"/>
              </a:defPPr>
              <a:lvl1pPr marR="0" lvl="0" indent="0" algn="ctr" fontAlgn="auto">
                <a:lnSpc>
                  <a:spcPct val="120000"/>
                </a:lnSpc>
                <a:spcBef>
                  <a:spcPts val="600"/>
                </a:spcBef>
                <a:spcAft>
                  <a:spcPts val="0"/>
                </a:spcAft>
                <a:buClrTx/>
                <a:buSzTx/>
                <a:buFontTx/>
                <a:buNone/>
                <a:tabLst/>
                <a:defRPr kumimoji="0" b="0" i="0" u="none" strike="noStrike" cap="none" spc="0" normalizeH="0" baseline="0">
                  <a:ln>
                    <a:noFill/>
                  </a:ln>
                  <a:solidFill>
                    <a:schemeClr val="accent1"/>
                  </a:solidFill>
                  <a:effectLst/>
                  <a:uLnTx/>
                  <a:uFillTx/>
                  <a:latin typeface="HarmonyOS Sans SC Black"/>
                  <a:ea typeface="+mj-ea"/>
                </a:defRPr>
              </a:lvl1pPr>
            </a:lstStyle>
            <a:p>
              <a:r>
                <a:rPr lang="en-US" dirty="0"/>
                <a:t>Your subtitle here</a:t>
              </a:r>
            </a:p>
          </p:txBody>
        </p:sp>
        <p:sp>
          <p:nvSpPr>
            <p:cNvPr id="43" name="TextBox 65">
              <a:extLst>
                <a:ext uri="{FF2B5EF4-FFF2-40B4-BE49-F238E27FC236}">
                  <a16:creationId xmlns:a16="http://schemas.microsoft.com/office/drawing/2014/main" id="{59E4CF9E-0082-4EB7-84E6-8647E27EE802}"/>
                </a:ext>
              </a:extLst>
            </p:cNvPr>
            <p:cNvSpPr txBox="1"/>
            <p:nvPr/>
          </p:nvSpPr>
          <p:spPr>
            <a:xfrm flipH="1">
              <a:off x="8958967" y="2172071"/>
              <a:ext cx="1987912" cy="445561"/>
            </a:xfrm>
            <a:prstGeom prst="rect">
              <a:avLst/>
            </a:prstGeom>
            <a:noFill/>
          </p:spPr>
          <p:txBody>
            <a:bodyPr wrap="square" lIns="0" tIns="36000" rIns="0" bIns="36000" rtlCol="0">
              <a:spAutoFit/>
            </a:bodyPr>
            <a:lstStyle>
              <a:defPPr>
                <a:defRPr lang="zh-CN"/>
              </a:defPPr>
              <a:lvl1pPr marR="0" lvl="0" indent="0" algn="ctr" fontAlgn="auto">
                <a:lnSpc>
                  <a:spcPct val="120000"/>
                </a:lnSpc>
                <a:spcBef>
                  <a:spcPts val="600"/>
                </a:spcBef>
                <a:spcAft>
                  <a:spcPts val="0"/>
                </a:spcAft>
                <a:buClrTx/>
                <a:buSzTx/>
                <a:buFontTx/>
                <a:buNone/>
                <a:tabLst/>
                <a:defRPr kumimoji="0" sz="1200" b="0" i="0" u="none" strike="noStrike" cap="none" spc="0" normalizeH="0" baseline="0">
                  <a:ln>
                    <a:noFill/>
                  </a:ln>
                  <a:solidFill>
                    <a:prstClr val="black">
                      <a:lumMod val="50000"/>
                      <a:lumOff val="50000"/>
                    </a:prstClr>
                  </a:solidFill>
                  <a:effectLst/>
                  <a:uLnTx/>
                  <a:uFillTx/>
                  <a:latin typeface="HarmonyOS Sans SC"/>
                </a:defRPr>
              </a:lvl1pPr>
            </a:lstStyle>
            <a:p>
              <a:r>
                <a:rPr lang="en-US"/>
                <a:t>Apparently</a:t>
              </a:r>
              <a:r>
                <a:rPr lang="en-US" dirty="0"/>
                <a:t> we had reached a great height in the atmosphere.</a:t>
              </a:r>
            </a:p>
          </p:txBody>
        </p:sp>
      </p:grpSp>
      <p:grpSp>
        <p:nvGrpSpPr>
          <p:cNvPr id="44" name="组合 43">
            <a:extLst>
              <a:ext uri="{FF2B5EF4-FFF2-40B4-BE49-F238E27FC236}">
                <a16:creationId xmlns:a16="http://schemas.microsoft.com/office/drawing/2014/main" id="{DE3C7578-ED7B-4E52-B1CE-31C0EAAD60FA}"/>
              </a:ext>
            </a:extLst>
          </p:cNvPr>
          <p:cNvGrpSpPr/>
          <p:nvPr/>
        </p:nvGrpSpPr>
        <p:grpSpPr>
          <a:xfrm>
            <a:off x="8917179" y="4842211"/>
            <a:ext cx="2299208" cy="926901"/>
            <a:chOff x="8924793" y="1788672"/>
            <a:chExt cx="2056261" cy="828960"/>
          </a:xfrm>
        </p:grpSpPr>
        <p:sp>
          <p:nvSpPr>
            <p:cNvPr id="45" name="TextBox 65">
              <a:extLst>
                <a:ext uri="{FF2B5EF4-FFF2-40B4-BE49-F238E27FC236}">
                  <a16:creationId xmlns:a16="http://schemas.microsoft.com/office/drawing/2014/main" id="{45A46814-809B-4DBB-BBB9-8D39773BDC8A}"/>
                </a:ext>
              </a:extLst>
            </p:cNvPr>
            <p:cNvSpPr txBox="1"/>
            <p:nvPr/>
          </p:nvSpPr>
          <p:spPr>
            <a:xfrm flipH="1">
              <a:off x="8924793" y="1788672"/>
              <a:ext cx="2056261" cy="339532"/>
            </a:xfrm>
            <a:prstGeom prst="rect">
              <a:avLst/>
            </a:prstGeom>
            <a:noFill/>
          </p:spPr>
          <p:txBody>
            <a:bodyPr wrap="square" lIns="0" tIns="36000" rIns="0" bIns="36000" rtlCol="0">
              <a:spAutoFit/>
            </a:bodyPr>
            <a:lstStyle>
              <a:defPPr>
                <a:defRPr lang="zh-CN"/>
              </a:defPPr>
              <a:lvl1pPr marR="0" lvl="0" indent="0" algn="ctr" fontAlgn="auto">
                <a:lnSpc>
                  <a:spcPct val="120000"/>
                </a:lnSpc>
                <a:spcBef>
                  <a:spcPts val="600"/>
                </a:spcBef>
                <a:spcAft>
                  <a:spcPts val="0"/>
                </a:spcAft>
                <a:buClrTx/>
                <a:buSzTx/>
                <a:buFontTx/>
                <a:buNone/>
                <a:tabLst/>
                <a:defRPr kumimoji="0" b="0" i="0" u="none" strike="noStrike" cap="none" spc="0" normalizeH="0" baseline="0">
                  <a:ln>
                    <a:noFill/>
                  </a:ln>
                  <a:solidFill>
                    <a:schemeClr val="accent1"/>
                  </a:solidFill>
                  <a:effectLst/>
                  <a:uLnTx/>
                  <a:uFillTx/>
                  <a:latin typeface="HarmonyOS Sans SC Black"/>
                  <a:ea typeface="+mj-ea"/>
                </a:defRPr>
              </a:lvl1pPr>
            </a:lstStyle>
            <a:p>
              <a:r>
                <a:rPr lang="en-US" dirty="0"/>
                <a:t>Your subtitle here</a:t>
              </a:r>
            </a:p>
          </p:txBody>
        </p:sp>
        <p:sp>
          <p:nvSpPr>
            <p:cNvPr id="46" name="TextBox 65">
              <a:extLst>
                <a:ext uri="{FF2B5EF4-FFF2-40B4-BE49-F238E27FC236}">
                  <a16:creationId xmlns:a16="http://schemas.microsoft.com/office/drawing/2014/main" id="{7B2E1C06-E98C-4169-A9F9-550750480C20}"/>
                </a:ext>
              </a:extLst>
            </p:cNvPr>
            <p:cNvSpPr txBox="1"/>
            <p:nvPr/>
          </p:nvSpPr>
          <p:spPr>
            <a:xfrm flipH="1">
              <a:off x="8958967" y="2172071"/>
              <a:ext cx="1987912" cy="445561"/>
            </a:xfrm>
            <a:prstGeom prst="rect">
              <a:avLst/>
            </a:prstGeom>
            <a:noFill/>
          </p:spPr>
          <p:txBody>
            <a:bodyPr wrap="square" lIns="0" tIns="36000" rIns="0" bIns="36000" rtlCol="0">
              <a:spAutoFit/>
            </a:bodyPr>
            <a:lstStyle>
              <a:defPPr>
                <a:defRPr lang="zh-CN"/>
              </a:defPPr>
              <a:lvl1pPr marR="0" lvl="0" indent="0" algn="ctr" fontAlgn="auto">
                <a:lnSpc>
                  <a:spcPct val="120000"/>
                </a:lnSpc>
                <a:spcBef>
                  <a:spcPts val="600"/>
                </a:spcBef>
                <a:spcAft>
                  <a:spcPts val="0"/>
                </a:spcAft>
                <a:buClrTx/>
                <a:buSzTx/>
                <a:buFontTx/>
                <a:buNone/>
                <a:tabLst/>
                <a:defRPr kumimoji="0" sz="1200" b="0" i="0" u="none" strike="noStrike" cap="none" spc="0" normalizeH="0" baseline="0">
                  <a:ln>
                    <a:noFill/>
                  </a:ln>
                  <a:solidFill>
                    <a:prstClr val="black">
                      <a:lumMod val="50000"/>
                      <a:lumOff val="50000"/>
                    </a:prstClr>
                  </a:solidFill>
                  <a:effectLst/>
                  <a:uLnTx/>
                  <a:uFillTx/>
                  <a:latin typeface="HarmonyOS Sans SC"/>
                </a:defRPr>
              </a:lvl1pPr>
            </a:lstStyle>
            <a:p>
              <a:r>
                <a:rPr lang="en-US"/>
                <a:t>Apparently</a:t>
              </a:r>
              <a:r>
                <a:rPr lang="en-US" dirty="0"/>
                <a:t> we had reached a great height in the atmosphere.</a:t>
              </a:r>
            </a:p>
          </p:txBody>
        </p:sp>
      </p:grpSp>
    </p:spTree>
    <p:extLst>
      <p:ext uri="{BB962C8B-B14F-4D97-AF65-F5344CB8AC3E}">
        <p14:creationId xmlns:p14="http://schemas.microsoft.com/office/powerpoint/2010/main" val="1681252750"/>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4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文本框 23">
            <a:extLst>
              <a:ext uri="{FF2B5EF4-FFF2-40B4-BE49-F238E27FC236}">
                <a16:creationId xmlns:a16="http://schemas.microsoft.com/office/drawing/2014/main" id="{CBC82410-19A0-48FD-A265-2F4A50CA0368}"/>
              </a:ext>
            </a:extLst>
          </p:cNvPr>
          <p:cNvSpPr txBox="1"/>
          <p:nvPr/>
        </p:nvSpPr>
        <p:spPr>
          <a:xfrm>
            <a:off x="4449556" y="918105"/>
            <a:ext cx="3292889" cy="52322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2800" b="0" i="0" u="none" strike="noStrike" kern="1200" cap="none" spc="0" normalizeH="0" baseline="0" noProof="0" dirty="0">
                <a:ln>
                  <a:noFill/>
                </a:ln>
                <a:solidFill>
                  <a:prstClr val="black"/>
                </a:solidFill>
                <a:effectLst/>
                <a:uLnTx/>
                <a:uFillTx/>
                <a:latin typeface="HarmonyOS Sans Black"/>
                <a:ea typeface="+mj-ea"/>
                <a:cs typeface="+mn-cs"/>
              </a:rPr>
              <a:t>Circle </a:t>
            </a:r>
            <a:r>
              <a:rPr kumimoji="0" lang="en-US" altLang="zh-CN" sz="2800" b="0" i="0" u="none" strike="noStrike" kern="1200" cap="none" spc="0" normalizeH="0" baseline="0" noProof="0" dirty="0">
                <a:ln>
                  <a:noFill/>
                </a:ln>
                <a:solidFill>
                  <a:schemeClr val="accent1"/>
                </a:solidFill>
                <a:effectLst/>
                <a:uLnTx/>
                <a:uFillTx/>
                <a:latin typeface="HarmonyOS Sans Black"/>
                <a:ea typeface="+mj-ea"/>
                <a:cs typeface="+mn-cs"/>
              </a:rPr>
              <a:t>infographic</a:t>
            </a:r>
          </a:p>
        </p:txBody>
      </p:sp>
      <p:sp>
        <p:nvSpPr>
          <p:cNvPr id="4" name="Freeform 6">
            <a:extLst>
              <a:ext uri="{FF2B5EF4-FFF2-40B4-BE49-F238E27FC236}">
                <a16:creationId xmlns:a16="http://schemas.microsoft.com/office/drawing/2014/main" id="{1C9E164E-0CF2-45C8-81E2-8088B6A968E2}"/>
              </a:ext>
            </a:extLst>
          </p:cNvPr>
          <p:cNvSpPr>
            <a:spLocks/>
          </p:cNvSpPr>
          <p:nvPr/>
        </p:nvSpPr>
        <p:spPr bwMode="auto">
          <a:xfrm>
            <a:off x="2877245" y="2829084"/>
            <a:ext cx="2217135" cy="2237498"/>
          </a:xfrm>
          <a:custGeom>
            <a:avLst/>
            <a:gdLst>
              <a:gd name="T0" fmla="*/ 127 w 314"/>
              <a:gd name="T1" fmla="*/ 0 h 315"/>
              <a:gd name="T2" fmla="*/ 314 w 314"/>
              <a:gd name="T3" fmla="*/ 189 h 315"/>
              <a:gd name="T4" fmla="*/ 187 w 314"/>
              <a:gd name="T5" fmla="*/ 315 h 315"/>
              <a:gd name="T6" fmla="*/ 0 w 314"/>
              <a:gd name="T7" fmla="*/ 125 h 315"/>
              <a:gd name="T8" fmla="*/ 127 w 314"/>
              <a:gd name="T9" fmla="*/ 0 h 315"/>
            </a:gdLst>
            <a:ahLst/>
            <a:cxnLst>
              <a:cxn ang="0">
                <a:pos x="T0" y="T1"/>
              </a:cxn>
              <a:cxn ang="0">
                <a:pos x="T2" y="T3"/>
              </a:cxn>
              <a:cxn ang="0">
                <a:pos x="T4" y="T5"/>
              </a:cxn>
              <a:cxn ang="0">
                <a:pos x="T6" y="T7"/>
              </a:cxn>
              <a:cxn ang="0">
                <a:pos x="T8" y="T9"/>
              </a:cxn>
            </a:cxnLst>
            <a:rect l="0" t="0" r="r" b="b"/>
            <a:pathLst>
              <a:path w="314" h="315">
                <a:moveTo>
                  <a:pt x="127" y="0"/>
                </a:moveTo>
                <a:cubicBezTo>
                  <a:pt x="141" y="97"/>
                  <a:pt x="217" y="174"/>
                  <a:pt x="314" y="189"/>
                </a:cubicBezTo>
                <a:cubicBezTo>
                  <a:pt x="187" y="315"/>
                  <a:pt x="187" y="315"/>
                  <a:pt x="187" y="315"/>
                </a:cubicBezTo>
                <a:cubicBezTo>
                  <a:pt x="173" y="217"/>
                  <a:pt x="97" y="140"/>
                  <a:pt x="0" y="125"/>
                </a:cubicBezTo>
                <a:lnTo>
                  <a:pt x="127" y="0"/>
                </a:lnTo>
                <a:close/>
              </a:path>
            </a:pathLst>
          </a:custGeom>
          <a:solidFill>
            <a:schemeClr val="accent1">
              <a:lumMod val="40000"/>
              <a:lumOff val="60000"/>
              <a:alpha val="54000"/>
            </a:schemeClr>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cs typeface="+mn-cs"/>
            </a:endParaRPr>
          </a:p>
        </p:txBody>
      </p:sp>
      <p:sp>
        <p:nvSpPr>
          <p:cNvPr id="5" name="Freeform 7">
            <a:extLst>
              <a:ext uri="{FF2B5EF4-FFF2-40B4-BE49-F238E27FC236}">
                <a16:creationId xmlns:a16="http://schemas.microsoft.com/office/drawing/2014/main" id="{084A89AC-1D2E-4DAE-8DE7-E03181B41FC5}"/>
              </a:ext>
            </a:extLst>
          </p:cNvPr>
          <p:cNvSpPr>
            <a:spLocks/>
          </p:cNvSpPr>
          <p:nvPr/>
        </p:nvSpPr>
        <p:spPr bwMode="auto">
          <a:xfrm>
            <a:off x="4895831" y="2821449"/>
            <a:ext cx="2265499" cy="2245133"/>
          </a:xfrm>
          <a:custGeom>
            <a:avLst/>
            <a:gdLst>
              <a:gd name="T0" fmla="*/ 0 w 321"/>
              <a:gd name="T1" fmla="*/ 189 h 316"/>
              <a:gd name="T2" fmla="*/ 201 w 321"/>
              <a:gd name="T3" fmla="*/ 0 h 316"/>
              <a:gd name="T4" fmla="*/ 321 w 321"/>
              <a:gd name="T5" fmla="*/ 127 h 316"/>
              <a:gd name="T6" fmla="*/ 120 w 321"/>
              <a:gd name="T7" fmla="*/ 316 h 316"/>
              <a:gd name="T8" fmla="*/ 0 w 321"/>
              <a:gd name="T9" fmla="*/ 189 h 316"/>
            </a:gdLst>
            <a:ahLst/>
            <a:cxnLst>
              <a:cxn ang="0">
                <a:pos x="T0" y="T1"/>
              </a:cxn>
              <a:cxn ang="0">
                <a:pos x="T2" y="T3"/>
              </a:cxn>
              <a:cxn ang="0">
                <a:pos x="T4" y="T5"/>
              </a:cxn>
              <a:cxn ang="0">
                <a:pos x="T6" y="T7"/>
              </a:cxn>
              <a:cxn ang="0">
                <a:pos x="T8" y="T9"/>
              </a:cxn>
            </a:cxnLst>
            <a:rect l="0" t="0" r="r" b="b"/>
            <a:pathLst>
              <a:path w="321" h="316">
                <a:moveTo>
                  <a:pt x="0" y="189"/>
                </a:moveTo>
                <a:cubicBezTo>
                  <a:pt x="102" y="179"/>
                  <a:pt x="185" y="101"/>
                  <a:pt x="201" y="0"/>
                </a:cubicBezTo>
                <a:cubicBezTo>
                  <a:pt x="321" y="127"/>
                  <a:pt x="321" y="127"/>
                  <a:pt x="321" y="127"/>
                </a:cubicBezTo>
                <a:cubicBezTo>
                  <a:pt x="218" y="137"/>
                  <a:pt x="136" y="215"/>
                  <a:pt x="120" y="316"/>
                </a:cubicBezTo>
                <a:lnTo>
                  <a:pt x="0" y="189"/>
                </a:lnTo>
                <a:close/>
              </a:path>
            </a:pathLst>
          </a:custGeom>
          <a:solidFill>
            <a:schemeClr val="accent1">
              <a:lumMod val="40000"/>
              <a:lumOff val="60000"/>
              <a:alpha val="54000"/>
            </a:schemeClr>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cs typeface="+mn-cs"/>
            </a:endParaRPr>
          </a:p>
        </p:txBody>
      </p:sp>
      <p:sp>
        <p:nvSpPr>
          <p:cNvPr id="6" name="Freeform 8">
            <a:extLst>
              <a:ext uri="{FF2B5EF4-FFF2-40B4-BE49-F238E27FC236}">
                <a16:creationId xmlns:a16="http://schemas.microsoft.com/office/drawing/2014/main" id="{474EB3A0-5B82-4F0F-8046-77A43841AEBB}"/>
              </a:ext>
            </a:extLst>
          </p:cNvPr>
          <p:cNvSpPr>
            <a:spLocks/>
          </p:cNvSpPr>
          <p:nvPr/>
        </p:nvSpPr>
        <p:spPr bwMode="auto">
          <a:xfrm>
            <a:off x="6970415" y="2821449"/>
            <a:ext cx="2229861" cy="2245133"/>
          </a:xfrm>
          <a:custGeom>
            <a:avLst/>
            <a:gdLst>
              <a:gd name="T0" fmla="*/ 126 w 316"/>
              <a:gd name="T1" fmla="*/ 0 h 316"/>
              <a:gd name="T2" fmla="*/ 316 w 316"/>
              <a:gd name="T3" fmla="*/ 190 h 316"/>
              <a:gd name="T4" fmla="*/ 191 w 316"/>
              <a:gd name="T5" fmla="*/ 316 h 316"/>
              <a:gd name="T6" fmla="*/ 0 w 316"/>
              <a:gd name="T7" fmla="*/ 126 h 316"/>
              <a:gd name="T8" fmla="*/ 126 w 316"/>
              <a:gd name="T9" fmla="*/ 0 h 316"/>
            </a:gdLst>
            <a:ahLst/>
            <a:cxnLst>
              <a:cxn ang="0">
                <a:pos x="T0" y="T1"/>
              </a:cxn>
              <a:cxn ang="0">
                <a:pos x="T2" y="T3"/>
              </a:cxn>
              <a:cxn ang="0">
                <a:pos x="T4" y="T5"/>
              </a:cxn>
              <a:cxn ang="0">
                <a:pos x="T6" y="T7"/>
              </a:cxn>
              <a:cxn ang="0">
                <a:pos x="T8" y="T9"/>
              </a:cxn>
            </a:cxnLst>
            <a:rect l="0" t="0" r="r" b="b"/>
            <a:pathLst>
              <a:path w="316" h="316">
                <a:moveTo>
                  <a:pt x="126" y="0"/>
                </a:moveTo>
                <a:cubicBezTo>
                  <a:pt x="140" y="99"/>
                  <a:pt x="218" y="176"/>
                  <a:pt x="316" y="190"/>
                </a:cubicBezTo>
                <a:cubicBezTo>
                  <a:pt x="191" y="316"/>
                  <a:pt x="191" y="316"/>
                  <a:pt x="191" y="316"/>
                </a:cubicBezTo>
                <a:cubicBezTo>
                  <a:pt x="176" y="217"/>
                  <a:pt x="99" y="140"/>
                  <a:pt x="0" y="126"/>
                </a:cubicBezTo>
                <a:lnTo>
                  <a:pt x="126" y="0"/>
                </a:lnTo>
                <a:close/>
              </a:path>
            </a:pathLst>
          </a:custGeom>
          <a:solidFill>
            <a:schemeClr val="accent1">
              <a:lumMod val="40000"/>
              <a:lumOff val="60000"/>
              <a:alpha val="54000"/>
            </a:schemeClr>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cs typeface="+mn-cs"/>
            </a:endParaRPr>
          </a:p>
        </p:txBody>
      </p:sp>
      <p:sp>
        <p:nvSpPr>
          <p:cNvPr id="7" name="Oval 36">
            <a:extLst>
              <a:ext uri="{FF2B5EF4-FFF2-40B4-BE49-F238E27FC236}">
                <a16:creationId xmlns:a16="http://schemas.microsoft.com/office/drawing/2014/main" id="{4B4E0098-2F5C-4E87-BE5C-E16FCF43BE70}"/>
              </a:ext>
            </a:extLst>
          </p:cNvPr>
          <p:cNvSpPr/>
          <p:nvPr/>
        </p:nvSpPr>
        <p:spPr>
          <a:xfrm>
            <a:off x="2191523" y="2136441"/>
            <a:ext cx="1591922" cy="1591918"/>
          </a:xfrm>
          <a:prstGeom prst="ellipse">
            <a:avLst/>
          </a:prstGeom>
          <a:gradFill>
            <a:gsLst>
              <a:gs pos="73000">
                <a:schemeClr val="accent1"/>
              </a:gs>
              <a:gs pos="31000">
                <a:schemeClr val="accent1">
                  <a:lumMod val="60000"/>
                  <a:lumOff val="40000"/>
                </a:schemeClr>
              </a:gs>
              <a:gs pos="0">
                <a:schemeClr val="accent1">
                  <a:lumMod val="40000"/>
                  <a:lumOff val="60000"/>
                </a:schemeClr>
              </a:gs>
            </a:gsLst>
            <a:path path="circle">
              <a:fillToRect r="100000" b="100000"/>
            </a:path>
          </a:gradFill>
          <a:ln>
            <a:noFill/>
          </a:ln>
          <a:effectLst>
            <a:outerShdw blurRad="444500" dist="317500" dir="5400000" sx="92000" sy="92000" algn="t" rotWithShape="0">
              <a:schemeClr val="accent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HarmonyOS Sans SC"/>
              <a:cs typeface="+mn-cs"/>
            </a:endParaRPr>
          </a:p>
        </p:txBody>
      </p:sp>
      <p:sp>
        <p:nvSpPr>
          <p:cNvPr id="8" name="Oval 37">
            <a:extLst>
              <a:ext uri="{FF2B5EF4-FFF2-40B4-BE49-F238E27FC236}">
                <a16:creationId xmlns:a16="http://schemas.microsoft.com/office/drawing/2014/main" id="{BC0154BF-88BD-45F4-BAA7-328C518D6345}"/>
              </a:ext>
            </a:extLst>
          </p:cNvPr>
          <p:cNvSpPr/>
          <p:nvPr/>
        </p:nvSpPr>
        <p:spPr>
          <a:xfrm>
            <a:off x="6277059" y="2136441"/>
            <a:ext cx="1591922" cy="1591918"/>
          </a:xfrm>
          <a:prstGeom prst="ellipse">
            <a:avLst/>
          </a:prstGeom>
          <a:gradFill>
            <a:gsLst>
              <a:gs pos="73000">
                <a:schemeClr val="accent1"/>
              </a:gs>
              <a:gs pos="31000">
                <a:schemeClr val="accent1">
                  <a:lumMod val="60000"/>
                  <a:lumOff val="40000"/>
                </a:schemeClr>
              </a:gs>
              <a:gs pos="0">
                <a:schemeClr val="accent1">
                  <a:lumMod val="40000"/>
                  <a:lumOff val="60000"/>
                </a:schemeClr>
              </a:gs>
            </a:gsLst>
            <a:path path="circle">
              <a:fillToRect r="100000" b="100000"/>
            </a:path>
          </a:gradFill>
          <a:ln>
            <a:noFill/>
          </a:ln>
          <a:effectLst>
            <a:outerShdw blurRad="444500" dist="317500" dir="5400000" sx="92000" sy="92000" algn="t" rotWithShape="0">
              <a:schemeClr val="accent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HarmonyOS Sans SC"/>
              <a:cs typeface="+mn-cs"/>
            </a:endParaRPr>
          </a:p>
        </p:txBody>
      </p:sp>
      <p:sp>
        <p:nvSpPr>
          <p:cNvPr id="9" name="Oval 42">
            <a:extLst>
              <a:ext uri="{FF2B5EF4-FFF2-40B4-BE49-F238E27FC236}">
                <a16:creationId xmlns:a16="http://schemas.microsoft.com/office/drawing/2014/main" id="{6279CB72-20A1-41E4-B254-F8BD16DD930B}"/>
              </a:ext>
            </a:extLst>
          </p:cNvPr>
          <p:cNvSpPr/>
          <p:nvPr/>
        </p:nvSpPr>
        <p:spPr>
          <a:xfrm>
            <a:off x="8309348" y="4157833"/>
            <a:ext cx="1591922" cy="1591918"/>
          </a:xfrm>
          <a:prstGeom prst="ellipse">
            <a:avLst/>
          </a:prstGeom>
          <a:gradFill>
            <a:gsLst>
              <a:gs pos="73000">
                <a:schemeClr val="accent1"/>
              </a:gs>
              <a:gs pos="31000">
                <a:schemeClr val="accent1">
                  <a:lumMod val="60000"/>
                  <a:lumOff val="40000"/>
                </a:schemeClr>
              </a:gs>
              <a:gs pos="0">
                <a:schemeClr val="accent1">
                  <a:lumMod val="40000"/>
                  <a:lumOff val="60000"/>
                </a:schemeClr>
              </a:gs>
            </a:gsLst>
            <a:path path="circle">
              <a:fillToRect r="100000" b="100000"/>
            </a:path>
          </a:gradFill>
          <a:ln>
            <a:noFill/>
          </a:ln>
          <a:effectLst>
            <a:outerShdw blurRad="444500" dist="317500" dir="5400000" sx="92000" sy="92000" algn="t" rotWithShape="0">
              <a:schemeClr val="accent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HarmonyOS Sans SC"/>
              <a:cs typeface="+mn-cs"/>
            </a:endParaRPr>
          </a:p>
        </p:txBody>
      </p:sp>
      <p:sp>
        <p:nvSpPr>
          <p:cNvPr id="10" name="Oval 43">
            <a:extLst>
              <a:ext uri="{FF2B5EF4-FFF2-40B4-BE49-F238E27FC236}">
                <a16:creationId xmlns:a16="http://schemas.microsoft.com/office/drawing/2014/main" id="{9EE674EF-79F5-4976-88D6-5A647BD494EE}"/>
              </a:ext>
            </a:extLst>
          </p:cNvPr>
          <p:cNvSpPr/>
          <p:nvPr/>
        </p:nvSpPr>
        <p:spPr>
          <a:xfrm>
            <a:off x="4176432" y="4157833"/>
            <a:ext cx="1591922" cy="1591918"/>
          </a:xfrm>
          <a:prstGeom prst="ellipse">
            <a:avLst/>
          </a:prstGeom>
          <a:gradFill>
            <a:gsLst>
              <a:gs pos="73000">
                <a:schemeClr val="accent1"/>
              </a:gs>
              <a:gs pos="31000">
                <a:schemeClr val="accent1">
                  <a:lumMod val="60000"/>
                  <a:lumOff val="40000"/>
                </a:schemeClr>
              </a:gs>
              <a:gs pos="0">
                <a:schemeClr val="accent1">
                  <a:lumMod val="40000"/>
                  <a:lumOff val="60000"/>
                </a:schemeClr>
              </a:gs>
            </a:gsLst>
            <a:path path="circle">
              <a:fillToRect r="100000" b="100000"/>
            </a:path>
          </a:gradFill>
          <a:ln>
            <a:noFill/>
          </a:ln>
          <a:effectLst>
            <a:outerShdw blurRad="444500" dist="317500" dir="5400000" sx="92000" sy="92000" algn="t" rotWithShape="0">
              <a:schemeClr val="accent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HarmonyOS Sans SC"/>
              <a:cs typeface="+mn-cs"/>
            </a:endParaRPr>
          </a:p>
        </p:txBody>
      </p:sp>
      <p:sp>
        <p:nvSpPr>
          <p:cNvPr id="11" name="Freeform 5">
            <a:extLst>
              <a:ext uri="{FF2B5EF4-FFF2-40B4-BE49-F238E27FC236}">
                <a16:creationId xmlns:a16="http://schemas.microsoft.com/office/drawing/2014/main" id="{557A68D1-D9B7-4B38-B3A1-1C9AACE021C2}"/>
              </a:ext>
            </a:extLst>
          </p:cNvPr>
          <p:cNvSpPr>
            <a:spLocks noEditPoints="1"/>
          </p:cNvSpPr>
          <p:nvPr/>
        </p:nvSpPr>
        <p:spPr bwMode="auto">
          <a:xfrm>
            <a:off x="6770889" y="2626613"/>
            <a:ext cx="604261" cy="604257"/>
          </a:xfrm>
          <a:custGeom>
            <a:avLst/>
            <a:gdLst>
              <a:gd name="T0" fmla="*/ 1024 w 2048"/>
              <a:gd name="T1" fmla="*/ 0 h 2048"/>
              <a:gd name="T2" fmla="*/ 0 w 2048"/>
              <a:gd name="T3" fmla="*/ 1024 h 2048"/>
              <a:gd name="T4" fmla="*/ 1024 w 2048"/>
              <a:gd name="T5" fmla="*/ 2048 h 2048"/>
              <a:gd name="T6" fmla="*/ 2048 w 2048"/>
              <a:gd name="T7" fmla="*/ 1024 h 2048"/>
              <a:gd name="T8" fmla="*/ 1024 w 2048"/>
              <a:gd name="T9" fmla="*/ 0 h 2048"/>
              <a:gd name="T10" fmla="*/ 1499 w 2048"/>
              <a:gd name="T11" fmla="*/ 1134 h 2048"/>
              <a:gd name="T12" fmla="*/ 1024 w 2048"/>
              <a:gd name="T13" fmla="*/ 1134 h 2048"/>
              <a:gd name="T14" fmla="*/ 914 w 2048"/>
              <a:gd name="T15" fmla="*/ 1024 h 2048"/>
              <a:gd name="T16" fmla="*/ 914 w 2048"/>
              <a:gd name="T17" fmla="*/ 549 h 2048"/>
              <a:gd name="T18" fmla="*/ 1024 w 2048"/>
              <a:gd name="T19" fmla="*/ 439 h 2048"/>
              <a:gd name="T20" fmla="*/ 1134 w 2048"/>
              <a:gd name="T21" fmla="*/ 549 h 2048"/>
              <a:gd name="T22" fmla="*/ 1134 w 2048"/>
              <a:gd name="T23" fmla="*/ 915 h 2048"/>
              <a:gd name="T24" fmla="*/ 1499 w 2048"/>
              <a:gd name="T25" fmla="*/ 915 h 2048"/>
              <a:gd name="T26" fmla="*/ 1609 w 2048"/>
              <a:gd name="T27" fmla="*/ 1024 h 2048"/>
              <a:gd name="T28" fmla="*/ 1499 w 2048"/>
              <a:gd name="T29" fmla="*/ 1134 h 20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48" h="2048">
                <a:moveTo>
                  <a:pt x="1024" y="0"/>
                </a:moveTo>
                <a:cubicBezTo>
                  <a:pt x="459" y="0"/>
                  <a:pt x="0" y="459"/>
                  <a:pt x="0" y="1024"/>
                </a:cubicBezTo>
                <a:cubicBezTo>
                  <a:pt x="0" y="1589"/>
                  <a:pt x="459" y="2048"/>
                  <a:pt x="1024" y="2048"/>
                </a:cubicBezTo>
                <a:cubicBezTo>
                  <a:pt x="1589" y="2048"/>
                  <a:pt x="2048" y="1589"/>
                  <a:pt x="2048" y="1024"/>
                </a:cubicBezTo>
                <a:cubicBezTo>
                  <a:pt x="2048" y="459"/>
                  <a:pt x="1589" y="0"/>
                  <a:pt x="1024" y="0"/>
                </a:cubicBezTo>
                <a:close/>
                <a:moveTo>
                  <a:pt x="1499" y="1134"/>
                </a:moveTo>
                <a:cubicBezTo>
                  <a:pt x="1024" y="1134"/>
                  <a:pt x="1024" y="1134"/>
                  <a:pt x="1024" y="1134"/>
                </a:cubicBezTo>
                <a:cubicBezTo>
                  <a:pt x="963" y="1134"/>
                  <a:pt x="914" y="1085"/>
                  <a:pt x="914" y="1024"/>
                </a:cubicBezTo>
                <a:cubicBezTo>
                  <a:pt x="914" y="549"/>
                  <a:pt x="914" y="549"/>
                  <a:pt x="914" y="549"/>
                </a:cubicBezTo>
                <a:cubicBezTo>
                  <a:pt x="914" y="489"/>
                  <a:pt x="963" y="439"/>
                  <a:pt x="1024" y="439"/>
                </a:cubicBezTo>
                <a:cubicBezTo>
                  <a:pt x="1085" y="439"/>
                  <a:pt x="1134" y="489"/>
                  <a:pt x="1134" y="549"/>
                </a:cubicBezTo>
                <a:cubicBezTo>
                  <a:pt x="1134" y="915"/>
                  <a:pt x="1134" y="915"/>
                  <a:pt x="1134" y="915"/>
                </a:cubicBezTo>
                <a:cubicBezTo>
                  <a:pt x="1499" y="915"/>
                  <a:pt x="1499" y="915"/>
                  <a:pt x="1499" y="915"/>
                </a:cubicBezTo>
                <a:cubicBezTo>
                  <a:pt x="1560" y="915"/>
                  <a:pt x="1609" y="964"/>
                  <a:pt x="1609" y="1024"/>
                </a:cubicBezTo>
                <a:cubicBezTo>
                  <a:pt x="1609" y="1085"/>
                  <a:pt x="1560" y="1134"/>
                  <a:pt x="1499" y="1134"/>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Open Sans"/>
              <a:ea typeface="+mn-ea"/>
              <a:cs typeface="+mn-cs"/>
            </a:endParaRPr>
          </a:p>
        </p:txBody>
      </p:sp>
      <p:grpSp>
        <p:nvGrpSpPr>
          <p:cNvPr id="12" name="Group 45">
            <a:extLst>
              <a:ext uri="{FF2B5EF4-FFF2-40B4-BE49-F238E27FC236}">
                <a16:creationId xmlns:a16="http://schemas.microsoft.com/office/drawing/2014/main" id="{9821A1A5-AB34-4ECE-909C-872EB47C5764}"/>
              </a:ext>
            </a:extLst>
          </p:cNvPr>
          <p:cNvGrpSpPr/>
          <p:nvPr/>
        </p:nvGrpSpPr>
        <p:grpSpPr>
          <a:xfrm>
            <a:off x="2723885" y="2616045"/>
            <a:ext cx="492278" cy="612348"/>
            <a:chOff x="4862513" y="3505200"/>
            <a:chExt cx="260350" cy="323851"/>
          </a:xfrm>
          <a:solidFill>
            <a:srgbClr val="FFFFFF"/>
          </a:solidFill>
        </p:grpSpPr>
        <p:sp>
          <p:nvSpPr>
            <p:cNvPr id="13" name="Freeform 9">
              <a:extLst>
                <a:ext uri="{FF2B5EF4-FFF2-40B4-BE49-F238E27FC236}">
                  <a16:creationId xmlns:a16="http://schemas.microsoft.com/office/drawing/2014/main" id="{28A10CBA-4E0C-4B69-A5D7-1E44BDEC25B0}"/>
                </a:ext>
              </a:extLst>
            </p:cNvPr>
            <p:cNvSpPr>
              <a:spLocks/>
            </p:cNvSpPr>
            <p:nvPr/>
          </p:nvSpPr>
          <p:spPr bwMode="auto">
            <a:xfrm>
              <a:off x="4870451" y="3505200"/>
              <a:ext cx="220663" cy="234950"/>
            </a:xfrm>
            <a:custGeom>
              <a:avLst/>
              <a:gdLst>
                <a:gd name="T0" fmla="*/ 761 w 1393"/>
                <a:gd name="T1" fmla="*/ 0 h 1489"/>
                <a:gd name="T2" fmla="*/ 240 w 1393"/>
                <a:gd name="T3" fmla="*/ 0 h 1489"/>
                <a:gd name="T4" fmla="*/ 93 w 1393"/>
                <a:gd name="T5" fmla="*/ 0 h 1489"/>
                <a:gd name="T6" fmla="*/ 0 w 1393"/>
                <a:gd name="T7" fmla="*/ 93 h 1489"/>
                <a:gd name="T8" fmla="*/ 93 w 1393"/>
                <a:gd name="T9" fmla="*/ 186 h 1489"/>
                <a:gd name="T10" fmla="*/ 147 w 1393"/>
                <a:gd name="T11" fmla="*/ 186 h 1489"/>
                <a:gd name="T12" fmla="*/ 147 w 1393"/>
                <a:gd name="T13" fmla="*/ 938 h 1489"/>
                <a:gd name="T14" fmla="*/ 240 w 1393"/>
                <a:gd name="T15" fmla="*/ 1031 h 1489"/>
                <a:gd name="T16" fmla="*/ 397 w 1393"/>
                <a:gd name="T17" fmla="*/ 1031 h 1489"/>
                <a:gd name="T18" fmla="*/ 462 w 1393"/>
                <a:gd name="T19" fmla="*/ 1004 h 1489"/>
                <a:gd name="T20" fmla="*/ 591 w 1393"/>
                <a:gd name="T21" fmla="*/ 876 h 1489"/>
                <a:gd name="T22" fmla="*/ 591 w 1393"/>
                <a:gd name="T23" fmla="*/ 1100 h 1489"/>
                <a:gd name="T24" fmla="*/ 201 w 1393"/>
                <a:gd name="T25" fmla="*/ 1489 h 1489"/>
                <a:gd name="T26" fmla="*/ 1393 w 1393"/>
                <a:gd name="T27" fmla="*/ 1489 h 1489"/>
                <a:gd name="T28" fmla="*/ 1393 w 1393"/>
                <a:gd name="T29" fmla="*/ 633 h 1489"/>
                <a:gd name="T30" fmla="*/ 761 w 1393"/>
                <a:gd name="T31" fmla="*/ 0 h 14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93" h="1489">
                  <a:moveTo>
                    <a:pt x="761" y="0"/>
                  </a:moveTo>
                  <a:cubicBezTo>
                    <a:pt x="240" y="0"/>
                    <a:pt x="240" y="0"/>
                    <a:pt x="240" y="0"/>
                  </a:cubicBezTo>
                  <a:cubicBezTo>
                    <a:pt x="93" y="0"/>
                    <a:pt x="93" y="0"/>
                    <a:pt x="93" y="0"/>
                  </a:cubicBezTo>
                  <a:cubicBezTo>
                    <a:pt x="41" y="0"/>
                    <a:pt x="0" y="42"/>
                    <a:pt x="0" y="93"/>
                  </a:cubicBezTo>
                  <a:cubicBezTo>
                    <a:pt x="0" y="145"/>
                    <a:pt x="41" y="186"/>
                    <a:pt x="93" y="186"/>
                  </a:cubicBezTo>
                  <a:cubicBezTo>
                    <a:pt x="147" y="186"/>
                    <a:pt x="147" y="186"/>
                    <a:pt x="147" y="186"/>
                  </a:cubicBezTo>
                  <a:cubicBezTo>
                    <a:pt x="147" y="938"/>
                    <a:pt x="147" y="938"/>
                    <a:pt x="147" y="938"/>
                  </a:cubicBezTo>
                  <a:cubicBezTo>
                    <a:pt x="147" y="990"/>
                    <a:pt x="188" y="1031"/>
                    <a:pt x="240" y="1031"/>
                  </a:cubicBezTo>
                  <a:cubicBezTo>
                    <a:pt x="397" y="1031"/>
                    <a:pt x="397" y="1031"/>
                    <a:pt x="397" y="1031"/>
                  </a:cubicBezTo>
                  <a:cubicBezTo>
                    <a:pt x="421" y="1031"/>
                    <a:pt x="445" y="1021"/>
                    <a:pt x="462" y="1004"/>
                  </a:cubicBezTo>
                  <a:cubicBezTo>
                    <a:pt x="591" y="876"/>
                    <a:pt x="591" y="876"/>
                    <a:pt x="591" y="876"/>
                  </a:cubicBezTo>
                  <a:cubicBezTo>
                    <a:pt x="591" y="1100"/>
                    <a:pt x="591" y="1100"/>
                    <a:pt x="591" y="1100"/>
                  </a:cubicBezTo>
                  <a:cubicBezTo>
                    <a:pt x="201" y="1489"/>
                    <a:pt x="201" y="1489"/>
                    <a:pt x="201" y="1489"/>
                  </a:cubicBezTo>
                  <a:cubicBezTo>
                    <a:pt x="1393" y="1489"/>
                    <a:pt x="1393" y="1489"/>
                    <a:pt x="1393" y="1489"/>
                  </a:cubicBezTo>
                  <a:cubicBezTo>
                    <a:pt x="1393" y="633"/>
                    <a:pt x="1393" y="633"/>
                    <a:pt x="1393" y="633"/>
                  </a:cubicBezTo>
                  <a:cubicBezTo>
                    <a:pt x="1393" y="284"/>
                    <a:pt x="1109" y="0"/>
                    <a:pt x="76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sp>
          <p:nvSpPr>
            <p:cNvPr id="14" name="Freeform 10">
              <a:extLst>
                <a:ext uri="{FF2B5EF4-FFF2-40B4-BE49-F238E27FC236}">
                  <a16:creationId xmlns:a16="http://schemas.microsoft.com/office/drawing/2014/main" id="{F899F3B8-7F6A-424D-88A8-0001CEF94910}"/>
                </a:ext>
              </a:extLst>
            </p:cNvPr>
            <p:cNvSpPr>
              <a:spLocks/>
            </p:cNvSpPr>
            <p:nvPr/>
          </p:nvSpPr>
          <p:spPr bwMode="auto">
            <a:xfrm>
              <a:off x="4862513" y="3770313"/>
              <a:ext cx="260350" cy="58738"/>
            </a:xfrm>
            <a:custGeom>
              <a:avLst/>
              <a:gdLst>
                <a:gd name="T0" fmla="*/ 0 w 1646"/>
                <a:gd name="T1" fmla="*/ 0 h 372"/>
                <a:gd name="T2" fmla="*/ 0 w 1646"/>
                <a:gd name="T3" fmla="*/ 279 h 372"/>
                <a:gd name="T4" fmla="*/ 93 w 1646"/>
                <a:gd name="T5" fmla="*/ 372 h 372"/>
                <a:gd name="T6" fmla="*/ 1553 w 1646"/>
                <a:gd name="T7" fmla="*/ 372 h 372"/>
                <a:gd name="T8" fmla="*/ 1646 w 1646"/>
                <a:gd name="T9" fmla="*/ 279 h 372"/>
                <a:gd name="T10" fmla="*/ 1646 w 1646"/>
                <a:gd name="T11" fmla="*/ 0 h 372"/>
                <a:gd name="T12" fmla="*/ 0 w 1646"/>
                <a:gd name="T13" fmla="*/ 0 h 372"/>
              </a:gdLst>
              <a:ahLst/>
              <a:cxnLst>
                <a:cxn ang="0">
                  <a:pos x="T0" y="T1"/>
                </a:cxn>
                <a:cxn ang="0">
                  <a:pos x="T2" y="T3"/>
                </a:cxn>
                <a:cxn ang="0">
                  <a:pos x="T4" y="T5"/>
                </a:cxn>
                <a:cxn ang="0">
                  <a:pos x="T6" y="T7"/>
                </a:cxn>
                <a:cxn ang="0">
                  <a:pos x="T8" y="T9"/>
                </a:cxn>
                <a:cxn ang="0">
                  <a:pos x="T10" y="T11"/>
                </a:cxn>
                <a:cxn ang="0">
                  <a:pos x="T12" y="T13"/>
                </a:cxn>
              </a:cxnLst>
              <a:rect l="0" t="0" r="r" b="b"/>
              <a:pathLst>
                <a:path w="1646" h="372">
                  <a:moveTo>
                    <a:pt x="0" y="0"/>
                  </a:moveTo>
                  <a:cubicBezTo>
                    <a:pt x="0" y="279"/>
                    <a:pt x="0" y="279"/>
                    <a:pt x="0" y="279"/>
                  </a:cubicBezTo>
                  <a:cubicBezTo>
                    <a:pt x="0" y="330"/>
                    <a:pt x="42" y="372"/>
                    <a:pt x="93" y="372"/>
                  </a:cubicBezTo>
                  <a:cubicBezTo>
                    <a:pt x="1553" y="372"/>
                    <a:pt x="1553" y="372"/>
                    <a:pt x="1553" y="372"/>
                  </a:cubicBezTo>
                  <a:cubicBezTo>
                    <a:pt x="1604" y="372"/>
                    <a:pt x="1646" y="330"/>
                    <a:pt x="1646" y="279"/>
                  </a:cubicBezTo>
                  <a:cubicBezTo>
                    <a:pt x="1646" y="0"/>
                    <a:pt x="1646" y="0"/>
                    <a:pt x="1646" y="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grpSp>
      <p:sp>
        <p:nvSpPr>
          <p:cNvPr id="15" name="Freeform 14">
            <a:extLst>
              <a:ext uri="{FF2B5EF4-FFF2-40B4-BE49-F238E27FC236}">
                <a16:creationId xmlns:a16="http://schemas.microsoft.com/office/drawing/2014/main" id="{471AEEBE-E4B1-42D4-9649-D3EAB0C75F92}"/>
              </a:ext>
            </a:extLst>
          </p:cNvPr>
          <p:cNvSpPr>
            <a:spLocks noEditPoints="1"/>
          </p:cNvSpPr>
          <p:nvPr/>
        </p:nvSpPr>
        <p:spPr bwMode="auto">
          <a:xfrm>
            <a:off x="8746901" y="4569978"/>
            <a:ext cx="745371" cy="724471"/>
          </a:xfrm>
          <a:custGeom>
            <a:avLst/>
            <a:gdLst>
              <a:gd name="T0" fmla="*/ 2119 w 2125"/>
              <a:gd name="T1" fmla="*/ 400 h 2053"/>
              <a:gd name="T2" fmla="*/ 2061 w 2125"/>
              <a:gd name="T3" fmla="*/ 337 h 2053"/>
              <a:gd name="T4" fmla="*/ 1857 w 2125"/>
              <a:gd name="T5" fmla="*/ 269 h 2053"/>
              <a:gd name="T6" fmla="*/ 1789 w 2125"/>
              <a:gd name="T7" fmla="*/ 64 h 2053"/>
              <a:gd name="T8" fmla="*/ 1726 w 2125"/>
              <a:gd name="T9" fmla="*/ 7 h 2053"/>
              <a:gd name="T10" fmla="*/ 1645 w 2125"/>
              <a:gd name="T11" fmla="*/ 30 h 2053"/>
              <a:gd name="T12" fmla="*/ 1399 w 2125"/>
              <a:gd name="T13" fmla="*/ 276 h 2053"/>
              <a:gd name="T14" fmla="*/ 1378 w 2125"/>
              <a:gd name="T15" fmla="*/ 365 h 2053"/>
              <a:gd name="T16" fmla="*/ 1443 w 2125"/>
              <a:gd name="T17" fmla="*/ 560 h 2053"/>
              <a:gd name="T18" fmla="*/ 1293 w 2125"/>
              <a:gd name="T19" fmla="*/ 710 h 2053"/>
              <a:gd name="T20" fmla="*/ 826 w 2125"/>
              <a:gd name="T21" fmla="*/ 547 h 2053"/>
              <a:gd name="T22" fmla="*/ 293 w 2125"/>
              <a:gd name="T23" fmla="*/ 768 h 2053"/>
              <a:gd name="T24" fmla="*/ 293 w 2125"/>
              <a:gd name="T25" fmla="*/ 1832 h 2053"/>
              <a:gd name="T26" fmla="*/ 826 w 2125"/>
              <a:gd name="T27" fmla="*/ 2053 h 2053"/>
              <a:gd name="T28" fmla="*/ 1358 w 2125"/>
              <a:gd name="T29" fmla="*/ 1832 h 2053"/>
              <a:gd name="T30" fmla="*/ 1416 w 2125"/>
              <a:gd name="T31" fmla="*/ 833 h 2053"/>
              <a:gd name="T32" fmla="*/ 1566 w 2125"/>
              <a:gd name="T33" fmla="*/ 683 h 2053"/>
              <a:gd name="T34" fmla="*/ 1761 w 2125"/>
              <a:gd name="T35" fmla="*/ 748 h 2053"/>
              <a:gd name="T36" fmla="*/ 1788 w 2125"/>
              <a:gd name="T37" fmla="*/ 752 h 2053"/>
              <a:gd name="T38" fmla="*/ 1850 w 2125"/>
              <a:gd name="T39" fmla="*/ 727 h 2053"/>
              <a:gd name="T40" fmla="*/ 2095 w 2125"/>
              <a:gd name="T41" fmla="*/ 481 h 2053"/>
              <a:gd name="T42" fmla="*/ 2119 w 2125"/>
              <a:gd name="T43" fmla="*/ 400 h 2053"/>
              <a:gd name="T44" fmla="*/ 1235 w 2125"/>
              <a:gd name="T45" fmla="*/ 1710 h 2053"/>
              <a:gd name="T46" fmla="*/ 826 w 2125"/>
              <a:gd name="T47" fmla="*/ 1879 h 2053"/>
              <a:gd name="T48" fmla="*/ 416 w 2125"/>
              <a:gd name="T49" fmla="*/ 1710 h 2053"/>
              <a:gd name="T50" fmla="*/ 416 w 2125"/>
              <a:gd name="T51" fmla="*/ 890 h 2053"/>
              <a:gd name="T52" fmla="*/ 826 w 2125"/>
              <a:gd name="T53" fmla="*/ 721 h 2053"/>
              <a:gd name="T54" fmla="*/ 1169 w 2125"/>
              <a:gd name="T55" fmla="*/ 834 h 2053"/>
              <a:gd name="T56" fmla="*/ 1044 w 2125"/>
              <a:gd name="T57" fmla="*/ 959 h 2053"/>
              <a:gd name="T58" fmla="*/ 826 w 2125"/>
              <a:gd name="T59" fmla="*/ 895 h 2053"/>
              <a:gd name="T60" fmla="*/ 539 w 2125"/>
              <a:gd name="T61" fmla="*/ 1013 h 2053"/>
              <a:gd name="T62" fmla="*/ 420 w 2125"/>
              <a:gd name="T63" fmla="*/ 1300 h 2053"/>
              <a:gd name="T64" fmla="*/ 539 w 2125"/>
              <a:gd name="T65" fmla="*/ 1587 h 2053"/>
              <a:gd name="T66" fmla="*/ 826 w 2125"/>
              <a:gd name="T67" fmla="*/ 1705 h 2053"/>
              <a:gd name="T68" fmla="*/ 1112 w 2125"/>
              <a:gd name="T69" fmla="*/ 1587 h 2053"/>
              <a:gd name="T70" fmla="*/ 1167 w 2125"/>
              <a:gd name="T71" fmla="*/ 1081 h 2053"/>
              <a:gd name="T72" fmla="*/ 1292 w 2125"/>
              <a:gd name="T73" fmla="*/ 957 h 2053"/>
              <a:gd name="T74" fmla="*/ 1235 w 2125"/>
              <a:gd name="T75" fmla="*/ 1710 h 2053"/>
              <a:gd name="T76" fmla="*/ 764 w 2125"/>
              <a:gd name="T77" fmla="*/ 1361 h 2053"/>
              <a:gd name="T78" fmla="*/ 826 w 2125"/>
              <a:gd name="T79" fmla="*/ 1387 h 2053"/>
              <a:gd name="T80" fmla="*/ 887 w 2125"/>
              <a:gd name="T81" fmla="*/ 1361 h 2053"/>
              <a:gd name="T82" fmla="*/ 1039 w 2125"/>
              <a:gd name="T83" fmla="*/ 1210 h 2053"/>
              <a:gd name="T84" fmla="*/ 990 w 2125"/>
              <a:gd name="T85" fmla="*/ 1464 h 2053"/>
              <a:gd name="T86" fmla="*/ 826 w 2125"/>
              <a:gd name="T87" fmla="*/ 1532 h 2053"/>
              <a:gd name="T88" fmla="*/ 662 w 2125"/>
              <a:gd name="T89" fmla="*/ 1464 h 2053"/>
              <a:gd name="T90" fmla="*/ 594 w 2125"/>
              <a:gd name="T91" fmla="*/ 1300 h 2053"/>
              <a:gd name="T92" fmla="*/ 662 w 2125"/>
              <a:gd name="T93" fmla="*/ 1136 h 2053"/>
              <a:gd name="T94" fmla="*/ 826 w 2125"/>
              <a:gd name="T95" fmla="*/ 1068 h 2053"/>
              <a:gd name="T96" fmla="*/ 916 w 2125"/>
              <a:gd name="T97" fmla="*/ 1087 h 2053"/>
              <a:gd name="T98" fmla="*/ 764 w 2125"/>
              <a:gd name="T99" fmla="*/ 1239 h 2053"/>
              <a:gd name="T100" fmla="*/ 764 w 2125"/>
              <a:gd name="T101" fmla="*/ 1361 h 20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125" h="2053">
                <a:moveTo>
                  <a:pt x="2119" y="400"/>
                </a:moveTo>
                <a:cubicBezTo>
                  <a:pt x="2112" y="370"/>
                  <a:pt x="2090" y="347"/>
                  <a:pt x="2061" y="337"/>
                </a:cubicBezTo>
                <a:cubicBezTo>
                  <a:pt x="1857" y="269"/>
                  <a:pt x="1857" y="269"/>
                  <a:pt x="1857" y="269"/>
                </a:cubicBezTo>
                <a:cubicBezTo>
                  <a:pt x="1789" y="64"/>
                  <a:pt x="1789" y="64"/>
                  <a:pt x="1789" y="64"/>
                </a:cubicBezTo>
                <a:cubicBezTo>
                  <a:pt x="1779" y="36"/>
                  <a:pt x="1756" y="14"/>
                  <a:pt x="1726" y="7"/>
                </a:cubicBezTo>
                <a:cubicBezTo>
                  <a:pt x="1697" y="0"/>
                  <a:pt x="1666" y="9"/>
                  <a:pt x="1645" y="30"/>
                </a:cubicBezTo>
                <a:cubicBezTo>
                  <a:pt x="1399" y="276"/>
                  <a:pt x="1399" y="276"/>
                  <a:pt x="1399" y="276"/>
                </a:cubicBezTo>
                <a:cubicBezTo>
                  <a:pt x="1376" y="299"/>
                  <a:pt x="1368" y="334"/>
                  <a:pt x="1378" y="365"/>
                </a:cubicBezTo>
                <a:cubicBezTo>
                  <a:pt x="1443" y="560"/>
                  <a:pt x="1443" y="560"/>
                  <a:pt x="1443" y="560"/>
                </a:cubicBezTo>
                <a:cubicBezTo>
                  <a:pt x="1293" y="710"/>
                  <a:pt x="1293" y="710"/>
                  <a:pt x="1293" y="710"/>
                </a:cubicBezTo>
                <a:cubicBezTo>
                  <a:pt x="1161" y="604"/>
                  <a:pt x="998" y="547"/>
                  <a:pt x="826" y="547"/>
                </a:cubicBezTo>
                <a:cubicBezTo>
                  <a:pt x="625" y="547"/>
                  <a:pt x="436" y="625"/>
                  <a:pt x="293" y="768"/>
                </a:cubicBezTo>
                <a:cubicBezTo>
                  <a:pt x="0" y="1061"/>
                  <a:pt x="0" y="1539"/>
                  <a:pt x="293" y="1832"/>
                </a:cubicBezTo>
                <a:cubicBezTo>
                  <a:pt x="436" y="1975"/>
                  <a:pt x="625" y="2053"/>
                  <a:pt x="826" y="2053"/>
                </a:cubicBezTo>
                <a:cubicBezTo>
                  <a:pt x="1027" y="2053"/>
                  <a:pt x="1216" y="1975"/>
                  <a:pt x="1358" y="1832"/>
                </a:cubicBezTo>
                <a:cubicBezTo>
                  <a:pt x="1631" y="1560"/>
                  <a:pt x="1650" y="1128"/>
                  <a:pt x="1416" y="833"/>
                </a:cubicBezTo>
                <a:cubicBezTo>
                  <a:pt x="1566" y="683"/>
                  <a:pt x="1566" y="683"/>
                  <a:pt x="1566" y="683"/>
                </a:cubicBezTo>
                <a:cubicBezTo>
                  <a:pt x="1761" y="748"/>
                  <a:pt x="1761" y="748"/>
                  <a:pt x="1761" y="748"/>
                </a:cubicBezTo>
                <a:cubicBezTo>
                  <a:pt x="1770" y="751"/>
                  <a:pt x="1779" y="752"/>
                  <a:pt x="1788" y="752"/>
                </a:cubicBezTo>
                <a:cubicBezTo>
                  <a:pt x="1811" y="752"/>
                  <a:pt x="1833" y="743"/>
                  <a:pt x="1850" y="727"/>
                </a:cubicBezTo>
                <a:cubicBezTo>
                  <a:pt x="2095" y="481"/>
                  <a:pt x="2095" y="481"/>
                  <a:pt x="2095" y="481"/>
                </a:cubicBezTo>
                <a:cubicBezTo>
                  <a:pt x="2117" y="460"/>
                  <a:pt x="2125" y="429"/>
                  <a:pt x="2119" y="400"/>
                </a:cubicBezTo>
                <a:close/>
                <a:moveTo>
                  <a:pt x="1235" y="1710"/>
                </a:moveTo>
                <a:cubicBezTo>
                  <a:pt x="1126" y="1819"/>
                  <a:pt x="980" y="1879"/>
                  <a:pt x="826" y="1879"/>
                </a:cubicBezTo>
                <a:cubicBezTo>
                  <a:pt x="671" y="1879"/>
                  <a:pt x="526" y="1819"/>
                  <a:pt x="416" y="1710"/>
                </a:cubicBezTo>
                <a:cubicBezTo>
                  <a:pt x="190" y="1484"/>
                  <a:pt x="190" y="1116"/>
                  <a:pt x="416" y="890"/>
                </a:cubicBezTo>
                <a:cubicBezTo>
                  <a:pt x="526" y="781"/>
                  <a:pt x="671" y="721"/>
                  <a:pt x="826" y="721"/>
                </a:cubicBezTo>
                <a:cubicBezTo>
                  <a:pt x="951" y="721"/>
                  <a:pt x="1070" y="760"/>
                  <a:pt x="1169" y="834"/>
                </a:cubicBezTo>
                <a:cubicBezTo>
                  <a:pt x="1044" y="959"/>
                  <a:pt x="1044" y="959"/>
                  <a:pt x="1044" y="959"/>
                </a:cubicBezTo>
                <a:cubicBezTo>
                  <a:pt x="980" y="917"/>
                  <a:pt x="904" y="895"/>
                  <a:pt x="826" y="895"/>
                </a:cubicBezTo>
                <a:cubicBezTo>
                  <a:pt x="717" y="895"/>
                  <a:pt x="616" y="937"/>
                  <a:pt x="539" y="1013"/>
                </a:cubicBezTo>
                <a:cubicBezTo>
                  <a:pt x="463" y="1090"/>
                  <a:pt x="420" y="1192"/>
                  <a:pt x="420" y="1300"/>
                </a:cubicBezTo>
                <a:cubicBezTo>
                  <a:pt x="420" y="1408"/>
                  <a:pt x="463" y="1510"/>
                  <a:pt x="539" y="1587"/>
                </a:cubicBezTo>
                <a:cubicBezTo>
                  <a:pt x="616" y="1663"/>
                  <a:pt x="717" y="1705"/>
                  <a:pt x="826" y="1705"/>
                </a:cubicBezTo>
                <a:cubicBezTo>
                  <a:pt x="934" y="1705"/>
                  <a:pt x="1036" y="1663"/>
                  <a:pt x="1112" y="1587"/>
                </a:cubicBezTo>
                <a:cubicBezTo>
                  <a:pt x="1249" y="1450"/>
                  <a:pt x="1268" y="1238"/>
                  <a:pt x="1167" y="1081"/>
                </a:cubicBezTo>
                <a:cubicBezTo>
                  <a:pt x="1292" y="957"/>
                  <a:pt x="1292" y="957"/>
                  <a:pt x="1292" y="957"/>
                </a:cubicBezTo>
                <a:cubicBezTo>
                  <a:pt x="1459" y="1183"/>
                  <a:pt x="1440" y="1505"/>
                  <a:pt x="1235" y="1710"/>
                </a:cubicBezTo>
                <a:close/>
                <a:moveTo>
                  <a:pt x="764" y="1361"/>
                </a:moveTo>
                <a:cubicBezTo>
                  <a:pt x="781" y="1378"/>
                  <a:pt x="804" y="1387"/>
                  <a:pt x="826" y="1387"/>
                </a:cubicBezTo>
                <a:cubicBezTo>
                  <a:pt x="848" y="1387"/>
                  <a:pt x="870" y="1378"/>
                  <a:pt x="887" y="1361"/>
                </a:cubicBezTo>
                <a:cubicBezTo>
                  <a:pt x="1039" y="1210"/>
                  <a:pt x="1039" y="1210"/>
                  <a:pt x="1039" y="1210"/>
                </a:cubicBezTo>
                <a:cubicBezTo>
                  <a:pt x="1075" y="1294"/>
                  <a:pt x="1058" y="1395"/>
                  <a:pt x="990" y="1464"/>
                </a:cubicBezTo>
                <a:cubicBezTo>
                  <a:pt x="946" y="1508"/>
                  <a:pt x="888" y="1532"/>
                  <a:pt x="826" y="1532"/>
                </a:cubicBezTo>
                <a:cubicBezTo>
                  <a:pt x="764" y="1532"/>
                  <a:pt x="706" y="1508"/>
                  <a:pt x="662" y="1464"/>
                </a:cubicBezTo>
                <a:cubicBezTo>
                  <a:pt x="618" y="1420"/>
                  <a:pt x="594" y="1362"/>
                  <a:pt x="594" y="1300"/>
                </a:cubicBezTo>
                <a:cubicBezTo>
                  <a:pt x="594" y="1238"/>
                  <a:pt x="618" y="1180"/>
                  <a:pt x="662" y="1136"/>
                </a:cubicBezTo>
                <a:cubicBezTo>
                  <a:pt x="706" y="1092"/>
                  <a:pt x="764" y="1068"/>
                  <a:pt x="826" y="1068"/>
                </a:cubicBezTo>
                <a:cubicBezTo>
                  <a:pt x="857" y="1068"/>
                  <a:pt x="888" y="1075"/>
                  <a:pt x="916" y="1087"/>
                </a:cubicBezTo>
                <a:cubicBezTo>
                  <a:pt x="764" y="1239"/>
                  <a:pt x="764" y="1239"/>
                  <a:pt x="764" y="1239"/>
                </a:cubicBezTo>
                <a:cubicBezTo>
                  <a:pt x="730" y="1273"/>
                  <a:pt x="730" y="1328"/>
                  <a:pt x="764" y="1361"/>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grpSp>
        <p:nvGrpSpPr>
          <p:cNvPr id="16" name="Group 57">
            <a:extLst>
              <a:ext uri="{FF2B5EF4-FFF2-40B4-BE49-F238E27FC236}">
                <a16:creationId xmlns:a16="http://schemas.microsoft.com/office/drawing/2014/main" id="{E6768EA2-CD50-4985-A3D3-10F4BF40763C}"/>
              </a:ext>
            </a:extLst>
          </p:cNvPr>
          <p:cNvGrpSpPr/>
          <p:nvPr/>
        </p:nvGrpSpPr>
        <p:grpSpPr>
          <a:xfrm>
            <a:off x="4696859" y="4621092"/>
            <a:ext cx="606852" cy="670245"/>
            <a:chOff x="5153025" y="2384426"/>
            <a:chExt cx="1884363" cy="2081213"/>
          </a:xfrm>
          <a:solidFill>
            <a:srgbClr val="FFFFFF"/>
          </a:solidFill>
        </p:grpSpPr>
        <p:sp>
          <p:nvSpPr>
            <p:cNvPr id="17" name="Freeform 5">
              <a:extLst>
                <a:ext uri="{FF2B5EF4-FFF2-40B4-BE49-F238E27FC236}">
                  <a16:creationId xmlns:a16="http://schemas.microsoft.com/office/drawing/2014/main" id="{2C8E1334-B4EB-41E3-A7FA-6492D122ED6A}"/>
                </a:ext>
              </a:extLst>
            </p:cNvPr>
            <p:cNvSpPr>
              <a:spLocks/>
            </p:cNvSpPr>
            <p:nvPr/>
          </p:nvSpPr>
          <p:spPr bwMode="auto">
            <a:xfrm>
              <a:off x="5529263" y="2384426"/>
              <a:ext cx="377825" cy="763588"/>
            </a:xfrm>
            <a:custGeom>
              <a:avLst/>
              <a:gdLst>
                <a:gd name="T0" fmla="*/ 252 w 373"/>
                <a:gd name="T1" fmla="*/ 409 h 754"/>
                <a:gd name="T2" fmla="*/ 187 w 373"/>
                <a:gd name="T3" fmla="*/ 288 h 754"/>
                <a:gd name="T4" fmla="*/ 252 w 373"/>
                <a:gd name="T5" fmla="*/ 168 h 754"/>
                <a:gd name="T6" fmla="*/ 252 w 373"/>
                <a:gd name="T7" fmla="*/ 36 h 754"/>
                <a:gd name="T8" fmla="*/ 121 w 373"/>
                <a:gd name="T9" fmla="*/ 36 h 754"/>
                <a:gd name="T10" fmla="*/ 0 w 373"/>
                <a:gd name="T11" fmla="*/ 288 h 754"/>
                <a:gd name="T12" fmla="*/ 121 w 373"/>
                <a:gd name="T13" fmla="*/ 540 h 754"/>
                <a:gd name="T14" fmla="*/ 187 w 373"/>
                <a:gd name="T15" fmla="*/ 661 h 754"/>
                <a:gd name="T16" fmla="*/ 280 w 373"/>
                <a:gd name="T17" fmla="*/ 754 h 754"/>
                <a:gd name="T18" fmla="*/ 373 w 373"/>
                <a:gd name="T19" fmla="*/ 661 h 754"/>
                <a:gd name="T20" fmla="*/ 252 w 373"/>
                <a:gd name="T21" fmla="*/ 409 h 7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3" h="754">
                  <a:moveTo>
                    <a:pt x="252" y="409"/>
                  </a:moveTo>
                  <a:cubicBezTo>
                    <a:pt x="207" y="363"/>
                    <a:pt x="187" y="341"/>
                    <a:pt x="187" y="288"/>
                  </a:cubicBezTo>
                  <a:cubicBezTo>
                    <a:pt x="187" y="236"/>
                    <a:pt x="207" y="214"/>
                    <a:pt x="252" y="168"/>
                  </a:cubicBezTo>
                  <a:cubicBezTo>
                    <a:pt x="289" y="132"/>
                    <a:pt x="289" y="73"/>
                    <a:pt x="252" y="36"/>
                  </a:cubicBezTo>
                  <a:cubicBezTo>
                    <a:pt x="216" y="0"/>
                    <a:pt x="157" y="0"/>
                    <a:pt x="121" y="36"/>
                  </a:cubicBezTo>
                  <a:cubicBezTo>
                    <a:pt x="70" y="87"/>
                    <a:pt x="0" y="157"/>
                    <a:pt x="0" y="288"/>
                  </a:cubicBezTo>
                  <a:cubicBezTo>
                    <a:pt x="0" y="420"/>
                    <a:pt x="70" y="489"/>
                    <a:pt x="121" y="540"/>
                  </a:cubicBezTo>
                  <a:cubicBezTo>
                    <a:pt x="166" y="586"/>
                    <a:pt x="187" y="608"/>
                    <a:pt x="187" y="661"/>
                  </a:cubicBezTo>
                  <a:cubicBezTo>
                    <a:pt x="187" y="712"/>
                    <a:pt x="228" y="754"/>
                    <a:pt x="280" y="754"/>
                  </a:cubicBezTo>
                  <a:cubicBezTo>
                    <a:pt x="331" y="754"/>
                    <a:pt x="373" y="712"/>
                    <a:pt x="373" y="661"/>
                  </a:cubicBezTo>
                  <a:cubicBezTo>
                    <a:pt x="373" y="529"/>
                    <a:pt x="303" y="459"/>
                    <a:pt x="252" y="40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sp>
          <p:nvSpPr>
            <p:cNvPr id="18" name="Freeform 6">
              <a:extLst>
                <a:ext uri="{FF2B5EF4-FFF2-40B4-BE49-F238E27FC236}">
                  <a16:creationId xmlns:a16="http://schemas.microsoft.com/office/drawing/2014/main" id="{51DD3F34-4D95-4DDA-B98C-B4FFCCDF34F4}"/>
                </a:ext>
              </a:extLst>
            </p:cNvPr>
            <p:cNvSpPr>
              <a:spLocks/>
            </p:cNvSpPr>
            <p:nvPr/>
          </p:nvSpPr>
          <p:spPr bwMode="auto">
            <a:xfrm>
              <a:off x="5970588" y="2384426"/>
              <a:ext cx="376238" cy="763588"/>
            </a:xfrm>
            <a:custGeom>
              <a:avLst/>
              <a:gdLst>
                <a:gd name="T0" fmla="*/ 252 w 372"/>
                <a:gd name="T1" fmla="*/ 409 h 754"/>
                <a:gd name="T2" fmla="*/ 186 w 372"/>
                <a:gd name="T3" fmla="*/ 288 h 754"/>
                <a:gd name="T4" fmla="*/ 252 w 372"/>
                <a:gd name="T5" fmla="*/ 168 h 754"/>
                <a:gd name="T6" fmla="*/ 252 w 372"/>
                <a:gd name="T7" fmla="*/ 36 h 754"/>
                <a:gd name="T8" fmla="*/ 120 w 372"/>
                <a:gd name="T9" fmla="*/ 36 h 754"/>
                <a:gd name="T10" fmla="*/ 0 w 372"/>
                <a:gd name="T11" fmla="*/ 288 h 754"/>
                <a:gd name="T12" fmla="*/ 120 w 372"/>
                <a:gd name="T13" fmla="*/ 540 h 754"/>
                <a:gd name="T14" fmla="*/ 186 w 372"/>
                <a:gd name="T15" fmla="*/ 661 h 754"/>
                <a:gd name="T16" fmla="*/ 279 w 372"/>
                <a:gd name="T17" fmla="*/ 754 h 754"/>
                <a:gd name="T18" fmla="*/ 372 w 372"/>
                <a:gd name="T19" fmla="*/ 661 h 754"/>
                <a:gd name="T20" fmla="*/ 252 w 372"/>
                <a:gd name="T21" fmla="*/ 409 h 7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2" h="754">
                  <a:moveTo>
                    <a:pt x="252" y="409"/>
                  </a:moveTo>
                  <a:cubicBezTo>
                    <a:pt x="206" y="363"/>
                    <a:pt x="186" y="341"/>
                    <a:pt x="186" y="288"/>
                  </a:cubicBezTo>
                  <a:cubicBezTo>
                    <a:pt x="186" y="236"/>
                    <a:pt x="206" y="214"/>
                    <a:pt x="252" y="168"/>
                  </a:cubicBezTo>
                  <a:cubicBezTo>
                    <a:pt x="288" y="132"/>
                    <a:pt x="288" y="73"/>
                    <a:pt x="252" y="36"/>
                  </a:cubicBezTo>
                  <a:cubicBezTo>
                    <a:pt x="216" y="0"/>
                    <a:pt x="157" y="0"/>
                    <a:pt x="120" y="36"/>
                  </a:cubicBezTo>
                  <a:cubicBezTo>
                    <a:pt x="69" y="87"/>
                    <a:pt x="0" y="157"/>
                    <a:pt x="0" y="288"/>
                  </a:cubicBezTo>
                  <a:cubicBezTo>
                    <a:pt x="0" y="420"/>
                    <a:pt x="69" y="489"/>
                    <a:pt x="120" y="540"/>
                  </a:cubicBezTo>
                  <a:cubicBezTo>
                    <a:pt x="166" y="586"/>
                    <a:pt x="186" y="608"/>
                    <a:pt x="186" y="661"/>
                  </a:cubicBezTo>
                  <a:cubicBezTo>
                    <a:pt x="186" y="712"/>
                    <a:pt x="228" y="754"/>
                    <a:pt x="279" y="754"/>
                  </a:cubicBezTo>
                  <a:cubicBezTo>
                    <a:pt x="331" y="754"/>
                    <a:pt x="372" y="712"/>
                    <a:pt x="372" y="661"/>
                  </a:cubicBezTo>
                  <a:cubicBezTo>
                    <a:pt x="372" y="529"/>
                    <a:pt x="303" y="459"/>
                    <a:pt x="252" y="40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sp>
          <p:nvSpPr>
            <p:cNvPr id="19" name="Freeform 7">
              <a:extLst>
                <a:ext uri="{FF2B5EF4-FFF2-40B4-BE49-F238E27FC236}">
                  <a16:creationId xmlns:a16="http://schemas.microsoft.com/office/drawing/2014/main" id="{8DEF2A7C-05B7-4F78-9D66-C134B03F6A78}"/>
                </a:ext>
              </a:extLst>
            </p:cNvPr>
            <p:cNvSpPr>
              <a:spLocks noEditPoints="1"/>
            </p:cNvSpPr>
            <p:nvPr/>
          </p:nvSpPr>
          <p:spPr bwMode="auto">
            <a:xfrm>
              <a:off x="5153025" y="3335340"/>
              <a:ext cx="1884363" cy="1130299"/>
            </a:xfrm>
            <a:custGeom>
              <a:avLst/>
              <a:gdLst>
                <a:gd name="T0" fmla="*/ 1433 w 1862"/>
                <a:gd name="T1" fmla="*/ 683 h 1117"/>
                <a:gd name="T2" fmla="*/ 1521 w 1862"/>
                <a:gd name="T3" fmla="*/ 683 h 1117"/>
                <a:gd name="T4" fmla="*/ 1521 w 1862"/>
                <a:gd name="T5" fmla="*/ 683 h 1117"/>
                <a:gd name="T6" fmla="*/ 1862 w 1862"/>
                <a:gd name="T7" fmla="*/ 341 h 1117"/>
                <a:gd name="T8" fmla="*/ 1521 w 1862"/>
                <a:gd name="T9" fmla="*/ 0 h 1117"/>
                <a:gd name="T10" fmla="*/ 1396 w 1862"/>
                <a:gd name="T11" fmla="*/ 0 h 1117"/>
                <a:gd name="T12" fmla="*/ 155 w 1862"/>
                <a:gd name="T13" fmla="*/ 0 h 1117"/>
                <a:gd name="T14" fmla="*/ 62 w 1862"/>
                <a:gd name="T15" fmla="*/ 93 h 1117"/>
                <a:gd name="T16" fmla="*/ 62 w 1862"/>
                <a:gd name="T17" fmla="*/ 403 h 1117"/>
                <a:gd name="T18" fmla="*/ 296 w 1862"/>
                <a:gd name="T19" fmla="*/ 931 h 1117"/>
                <a:gd name="T20" fmla="*/ 93 w 1862"/>
                <a:gd name="T21" fmla="*/ 931 h 1117"/>
                <a:gd name="T22" fmla="*/ 0 w 1862"/>
                <a:gd name="T23" fmla="*/ 1024 h 1117"/>
                <a:gd name="T24" fmla="*/ 93 w 1862"/>
                <a:gd name="T25" fmla="*/ 1117 h 1117"/>
                <a:gd name="T26" fmla="*/ 776 w 1862"/>
                <a:gd name="T27" fmla="*/ 1117 h 1117"/>
                <a:gd name="T28" fmla="*/ 1459 w 1862"/>
                <a:gd name="T29" fmla="*/ 1117 h 1117"/>
                <a:gd name="T30" fmla="*/ 1552 w 1862"/>
                <a:gd name="T31" fmla="*/ 1024 h 1117"/>
                <a:gd name="T32" fmla="*/ 1459 w 1862"/>
                <a:gd name="T33" fmla="*/ 931 h 1117"/>
                <a:gd name="T34" fmla="*/ 1256 w 1862"/>
                <a:gd name="T35" fmla="*/ 931 h 1117"/>
                <a:gd name="T36" fmla="*/ 1433 w 1862"/>
                <a:gd name="T37" fmla="*/ 683 h 1117"/>
                <a:gd name="T38" fmla="*/ 1490 w 1862"/>
                <a:gd name="T39" fmla="*/ 403 h 1117"/>
                <a:gd name="T40" fmla="*/ 1490 w 1862"/>
                <a:gd name="T41" fmla="*/ 186 h 1117"/>
                <a:gd name="T42" fmla="*/ 1521 w 1862"/>
                <a:gd name="T43" fmla="*/ 186 h 1117"/>
                <a:gd name="T44" fmla="*/ 1676 w 1862"/>
                <a:gd name="T45" fmla="*/ 341 h 1117"/>
                <a:gd name="T46" fmla="*/ 1521 w 1862"/>
                <a:gd name="T47" fmla="*/ 496 h 1117"/>
                <a:gd name="T48" fmla="*/ 1520 w 1862"/>
                <a:gd name="T49" fmla="*/ 496 h 1117"/>
                <a:gd name="T50" fmla="*/ 1483 w 1862"/>
                <a:gd name="T51" fmla="*/ 496 h 1117"/>
                <a:gd name="T52" fmla="*/ 1490 w 1862"/>
                <a:gd name="T53" fmla="*/ 403 h 1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62" h="1117">
                  <a:moveTo>
                    <a:pt x="1433" y="683"/>
                  </a:moveTo>
                  <a:cubicBezTo>
                    <a:pt x="1521" y="683"/>
                    <a:pt x="1521" y="683"/>
                    <a:pt x="1521" y="683"/>
                  </a:cubicBezTo>
                  <a:cubicBezTo>
                    <a:pt x="1521" y="683"/>
                    <a:pt x="1521" y="683"/>
                    <a:pt x="1521" y="683"/>
                  </a:cubicBezTo>
                  <a:cubicBezTo>
                    <a:pt x="1709" y="682"/>
                    <a:pt x="1862" y="529"/>
                    <a:pt x="1862" y="341"/>
                  </a:cubicBezTo>
                  <a:cubicBezTo>
                    <a:pt x="1862" y="153"/>
                    <a:pt x="1709" y="0"/>
                    <a:pt x="1521" y="0"/>
                  </a:cubicBezTo>
                  <a:cubicBezTo>
                    <a:pt x="1396" y="0"/>
                    <a:pt x="1396" y="0"/>
                    <a:pt x="1396" y="0"/>
                  </a:cubicBezTo>
                  <a:cubicBezTo>
                    <a:pt x="155" y="0"/>
                    <a:pt x="155" y="0"/>
                    <a:pt x="155" y="0"/>
                  </a:cubicBezTo>
                  <a:cubicBezTo>
                    <a:pt x="104" y="0"/>
                    <a:pt x="62" y="42"/>
                    <a:pt x="62" y="93"/>
                  </a:cubicBezTo>
                  <a:cubicBezTo>
                    <a:pt x="62" y="403"/>
                    <a:pt x="62" y="403"/>
                    <a:pt x="62" y="403"/>
                  </a:cubicBezTo>
                  <a:cubicBezTo>
                    <a:pt x="62" y="612"/>
                    <a:pt x="152" y="800"/>
                    <a:pt x="296" y="931"/>
                  </a:cubicBezTo>
                  <a:cubicBezTo>
                    <a:pt x="93" y="931"/>
                    <a:pt x="93" y="931"/>
                    <a:pt x="93" y="931"/>
                  </a:cubicBezTo>
                  <a:cubicBezTo>
                    <a:pt x="42" y="931"/>
                    <a:pt x="0" y="972"/>
                    <a:pt x="0" y="1024"/>
                  </a:cubicBezTo>
                  <a:cubicBezTo>
                    <a:pt x="0" y="1075"/>
                    <a:pt x="42" y="1117"/>
                    <a:pt x="93" y="1117"/>
                  </a:cubicBezTo>
                  <a:cubicBezTo>
                    <a:pt x="776" y="1117"/>
                    <a:pt x="776" y="1117"/>
                    <a:pt x="776" y="1117"/>
                  </a:cubicBezTo>
                  <a:cubicBezTo>
                    <a:pt x="1459" y="1117"/>
                    <a:pt x="1459" y="1117"/>
                    <a:pt x="1459" y="1117"/>
                  </a:cubicBezTo>
                  <a:cubicBezTo>
                    <a:pt x="1510" y="1117"/>
                    <a:pt x="1552" y="1075"/>
                    <a:pt x="1552" y="1024"/>
                  </a:cubicBezTo>
                  <a:cubicBezTo>
                    <a:pt x="1552" y="972"/>
                    <a:pt x="1510" y="931"/>
                    <a:pt x="1459" y="931"/>
                  </a:cubicBezTo>
                  <a:cubicBezTo>
                    <a:pt x="1256" y="931"/>
                    <a:pt x="1256" y="931"/>
                    <a:pt x="1256" y="931"/>
                  </a:cubicBezTo>
                  <a:cubicBezTo>
                    <a:pt x="1331" y="862"/>
                    <a:pt x="1392" y="778"/>
                    <a:pt x="1433" y="683"/>
                  </a:cubicBezTo>
                  <a:close/>
                  <a:moveTo>
                    <a:pt x="1490" y="403"/>
                  </a:moveTo>
                  <a:cubicBezTo>
                    <a:pt x="1490" y="186"/>
                    <a:pt x="1490" y="186"/>
                    <a:pt x="1490" y="186"/>
                  </a:cubicBezTo>
                  <a:cubicBezTo>
                    <a:pt x="1521" y="186"/>
                    <a:pt x="1521" y="186"/>
                    <a:pt x="1521" y="186"/>
                  </a:cubicBezTo>
                  <a:cubicBezTo>
                    <a:pt x="1606" y="186"/>
                    <a:pt x="1676" y="256"/>
                    <a:pt x="1676" y="341"/>
                  </a:cubicBezTo>
                  <a:cubicBezTo>
                    <a:pt x="1676" y="427"/>
                    <a:pt x="1606" y="496"/>
                    <a:pt x="1521" y="496"/>
                  </a:cubicBezTo>
                  <a:cubicBezTo>
                    <a:pt x="1521" y="496"/>
                    <a:pt x="1521" y="496"/>
                    <a:pt x="1520" y="496"/>
                  </a:cubicBezTo>
                  <a:cubicBezTo>
                    <a:pt x="1483" y="496"/>
                    <a:pt x="1483" y="496"/>
                    <a:pt x="1483" y="496"/>
                  </a:cubicBezTo>
                  <a:cubicBezTo>
                    <a:pt x="1487" y="466"/>
                    <a:pt x="1490" y="435"/>
                    <a:pt x="1490" y="4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Open Sans"/>
                <a:ea typeface="+mn-ea"/>
                <a:cs typeface="+mn-cs"/>
              </a:endParaRPr>
            </a:p>
          </p:txBody>
        </p:sp>
      </p:grpSp>
      <p:grpSp>
        <p:nvGrpSpPr>
          <p:cNvPr id="39" name="组合 38">
            <a:extLst>
              <a:ext uri="{FF2B5EF4-FFF2-40B4-BE49-F238E27FC236}">
                <a16:creationId xmlns:a16="http://schemas.microsoft.com/office/drawing/2014/main" id="{0B63BA72-8A64-4B0F-B614-0D915621DACC}"/>
              </a:ext>
            </a:extLst>
          </p:cNvPr>
          <p:cNvGrpSpPr/>
          <p:nvPr/>
        </p:nvGrpSpPr>
        <p:grpSpPr>
          <a:xfrm>
            <a:off x="3765466" y="2309130"/>
            <a:ext cx="2533403" cy="940625"/>
            <a:chOff x="950419" y="2199246"/>
            <a:chExt cx="2056261" cy="763467"/>
          </a:xfrm>
        </p:grpSpPr>
        <p:sp>
          <p:nvSpPr>
            <p:cNvPr id="40" name="TextBox 65">
              <a:extLst>
                <a:ext uri="{FF2B5EF4-FFF2-40B4-BE49-F238E27FC236}">
                  <a16:creationId xmlns:a16="http://schemas.microsoft.com/office/drawing/2014/main" id="{6D037864-A9C6-4FD4-A0DF-4A8252E3DF4F}"/>
                </a:ext>
              </a:extLst>
            </p:cNvPr>
            <p:cNvSpPr txBox="1"/>
            <p:nvPr/>
          </p:nvSpPr>
          <p:spPr>
            <a:xfrm>
              <a:off x="950419" y="2199246"/>
              <a:ext cx="2056261" cy="286181"/>
            </a:xfrm>
            <a:prstGeom prst="rect">
              <a:avLst/>
            </a:prstGeom>
            <a:noFill/>
          </p:spPr>
          <p:txBody>
            <a:bodyPr wrap="square" lIns="0" tIns="36000" rIns="0" bIns="36000" rtlCol="0">
              <a:spAutoFit/>
            </a:bodyPr>
            <a:lstStyle>
              <a:defPPr>
                <a:defRPr lang="zh-CN"/>
              </a:defPPr>
              <a:lvl1pPr marR="0" lvl="0" indent="0" algn="ctr" fontAlgn="auto">
                <a:lnSpc>
                  <a:spcPct val="120000"/>
                </a:lnSpc>
                <a:spcBef>
                  <a:spcPts val="600"/>
                </a:spcBef>
                <a:spcAft>
                  <a:spcPts val="0"/>
                </a:spcAft>
                <a:buClrTx/>
                <a:buSzTx/>
                <a:buFontTx/>
                <a:buNone/>
                <a:tabLst/>
                <a:defRPr kumimoji="0" sz="1600" b="0" i="0" u="none" strike="noStrike" cap="none" spc="0" normalizeH="0" baseline="0">
                  <a:ln>
                    <a:noFill/>
                  </a:ln>
                  <a:solidFill>
                    <a:schemeClr val="accent1"/>
                  </a:solidFill>
                  <a:effectLst/>
                  <a:uLnTx/>
                  <a:uFillTx/>
                  <a:latin typeface="HarmonyOS Sans SC Black"/>
                  <a:ea typeface="+mj-ea"/>
                </a:defRPr>
              </a:lvl1pPr>
            </a:lstStyle>
            <a:p>
              <a:r>
                <a:rPr lang="zh-CN" altLang="en-US" dirty="0"/>
                <a:t>关键词标题</a:t>
              </a:r>
              <a:endParaRPr lang="en-US" dirty="0"/>
            </a:p>
          </p:txBody>
        </p:sp>
        <p:sp>
          <p:nvSpPr>
            <p:cNvPr id="41" name="TextBox 65">
              <a:extLst>
                <a:ext uri="{FF2B5EF4-FFF2-40B4-BE49-F238E27FC236}">
                  <a16:creationId xmlns:a16="http://schemas.microsoft.com/office/drawing/2014/main" id="{88AE53F6-4C4F-44CE-B6AF-AD81AC095467}"/>
                </a:ext>
              </a:extLst>
            </p:cNvPr>
            <p:cNvSpPr txBox="1"/>
            <p:nvPr/>
          </p:nvSpPr>
          <p:spPr>
            <a:xfrm>
              <a:off x="1096851" y="2582645"/>
              <a:ext cx="1763396" cy="380068"/>
            </a:xfrm>
            <a:prstGeom prst="rect">
              <a:avLst/>
            </a:prstGeom>
            <a:noFill/>
          </p:spPr>
          <p:txBody>
            <a:bodyPr wrap="square" lIns="0" tIns="36000" rIns="0" bIns="36000" rtlCol="0">
              <a:spAutoFit/>
            </a:bodyPr>
            <a:lstStyle>
              <a:defPPr>
                <a:defRPr lang="zh-CN"/>
              </a:defPPr>
              <a:lvl1pPr marR="0" lvl="0" indent="0" algn="ctr" fontAlgn="auto">
                <a:lnSpc>
                  <a:spcPct val="120000"/>
                </a:lnSpc>
                <a:spcBef>
                  <a:spcPts val="600"/>
                </a:spcBef>
                <a:spcAft>
                  <a:spcPts val="0"/>
                </a:spcAft>
                <a:buClrTx/>
                <a:buSzTx/>
                <a:buFontTx/>
                <a:buNone/>
                <a:tabLst/>
                <a:defRPr kumimoji="0" sz="1100" b="0" i="0" u="none" strike="noStrike" cap="none" spc="0" normalizeH="0" baseline="0">
                  <a:ln>
                    <a:noFill/>
                  </a:ln>
                  <a:solidFill>
                    <a:prstClr val="black">
                      <a:lumMod val="50000"/>
                      <a:lumOff val="50000"/>
                    </a:prstClr>
                  </a:solidFill>
                  <a:effectLst/>
                  <a:uLnTx/>
                  <a:uFillTx/>
                  <a:latin typeface="HarmonyOS Sans SC"/>
                </a:defRPr>
              </a:lvl1pPr>
            </a:lstStyle>
            <a:p>
              <a:r>
                <a:rPr lang="zh-CN" altLang="en-US" dirty="0"/>
                <a:t>在这里输入你的正文，阐述与关键词标题相关的具体内容</a:t>
              </a:r>
              <a:endParaRPr lang="en-US" dirty="0"/>
            </a:p>
          </p:txBody>
        </p:sp>
      </p:grpSp>
      <p:grpSp>
        <p:nvGrpSpPr>
          <p:cNvPr id="42" name="组合 41">
            <a:extLst>
              <a:ext uri="{FF2B5EF4-FFF2-40B4-BE49-F238E27FC236}">
                <a16:creationId xmlns:a16="http://schemas.microsoft.com/office/drawing/2014/main" id="{CF480E69-7A60-45C4-909A-8F03CF47D163}"/>
              </a:ext>
            </a:extLst>
          </p:cNvPr>
          <p:cNvGrpSpPr/>
          <p:nvPr/>
        </p:nvGrpSpPr>
        <p:grpSpPr>
          <a:xfrm>
            <a:off x="1475224" y="4602369"/>
            <a:ext cx="2533403" cy="940625"/>
            <a:chOff x="950419" y="2199246"/>
            <a:chExt cx="2056261" cy="763468"/>
          </a:xfrm>
        </p:grpSpPr>
        <p:sp>
          <p:nvSpPr>
            <p:cNvPr id="43" name="TextBox 65">
              <a:extLst>
                <a:ext uri="{FF2B5EF4-FFF2-40B4-BE49-F238E27FC236}">
                  <a16:creationId xmlns:a16="http://schemas.microsoft.com/office/drawing/2014/main" id="{05E12F30-9FBB-449D-8301-8A791B003CC6}"/>
                </a:ext>
              </a:extLst>
            </p:cNvPr>
            <p:cNvSpPr txBox="1"/>
            <p:nvPr/>
          </p:nvSpPr>
          <p:spPr>
            <a:xfrm>
              <a:off x="950419" y="2199246"/>
              <a:ext cx="2056261" cy="286182"/>
            </a:xfrm>
            <a:prstGeom prst="rect">
              <a:avLst/>
            </a:prstGeom>
            <a:noFill/>
          </p:spPr>
          <p:txBody>
            <a:bodyPr wrap="square" lIns="0" tIns="36000" rIns="0" bIns="36000" rtlCol="0">
              <a:spAutoFit/>
            </a:bodyPr>
            <a:lstStyle/>
            <a:p>
              <a:pPr marL="0" marR="0" lvl="0" indent="0" algn="ctr" defTabSz="914400" rtl="0" eaLnBrk="1" fontAlgn="auto" latinLnBrk="0" hangingPunct="1">
                <a:lnSpc>
                  <a:spcPct val="120000"/>
                </a:lnSpc>
                <a:spcBef>
                  <a:spcPts val="600"/>
                </a:spcBef>
                <a:spcAft>
                  <a:spcPts val="0"/>
                </a:spcAft>
                <a:buClrTx/>
                <a:buSzTx/>
                <a:buFontTx/>
                <a:buNone/>
                <a:tabLst/>
                <a:defRPr/>
              </a:pPr>
              <a:r>
                <a:rPr kumimoji="0" lang="zh-CN" altLang="en-US" sz="1600" b="0" i="0" u="none" strike="noStrike" kern="1200" cap="none" spc="0" normalizeH="0" baseline="0" noProof="0" dirty="0">
                  <a:ln>
                    <a:noFill/>
                  </a:ln>
                  <a:solidFill>
                    <a:schemeClr val="accent1"/>
                  </a:solidFill>
                  <a:effectLst/>
                  <a:uLnTx/>
                  <a:uFillTx/>
                  <a:latin typeface="HarmonyOS Sans SC Black"/>
                  <a:ea typeface="+mj-ea"/>
                  <a:cs typeface="+mn-cs"/>
                </a:rPr>
                <a:t>关键词标题</a:t>
              </a:r>
              <a:endParaRPr kumimoji="0" lang="en-US" sz="1600" b="0" i="0" u="none" strike="noStrike" kern="1200" cap="none" spc="0" normalizeH="0" baseline="0" noProof="0" dirty="0">
                <a:ln>
                  <a:noFill/>
                </a:ln>
                <a:solidFill>
                  <a:schemeClr val="accent1"/>
                </a:solidFill>
                <a:effectLst/>
                <a:uLnTx/>
                <a:uFillTx/>
                <a:latin typeface="HarmonyOS Sans SC Black"/>
                <a:ea typeface="+mj-ea"/>
                <a:cs typeface="+mn-cs"/>
              </a:endParaRPr>
            </a:p>
          </p:txBody>
        </p:sp>
        <p:sp>
          <p:nvSpPr>
            <p:cNvPr id="44" name="TextBox 65">
              <a:extLst>
                <a:ext uri="{FF2B5EF4-FFF2-40B4-BE49-F238E27FC236}">
                  <a16:creationId xmlns:a16="http://schemas.microsoft.com/office/drawing/2014/main" id="{08A9FCCA-9F55-4CB2-90D4-8E0C263BC0EC}"/>
                </a:ext>
              </a:extLst>
            </p:cNvPr>
            <p:cNvSpPr txBox="1"/>
            <p:nvPr/>
          </p:nvSpPr>
          <p:spPr>
            <a:xfrm>
              <a:off x="1096851" y="2582645"/>
              <a:ext cx="1763396" cy="380069"/>
            </a:xfrm>
            <a:prstGeom prst="rect">
              <a:avLst/>
            </a:prstGeom>
            <a:noFill/>
          </p:spPr>
          <p:txBody>
            <a:bodyPr wrap="square" lIns="0" tIns="36000" rIns="0" bIns="36000" rtlCol="0">
              <a:spAutoFit/>
            </a:bodyPr>
            <a:lstStyle/>
            <a:p>
              <a:pPr marL="0" marR="0" lvl="0" indent="0" algn="ctr" defTabSz="914400" rtl="0" eaLnBrk="1" fontAlgn="auto" latinLnBrk="0" hangingPunct="1">
                <a:lnSpc>
                  <a:spcPct val="120000"/>
                </a:lnSpc>
                <a:spcBef>
                  <a:spcPts val="600"/>
                </a:spcBef>
                <a:spcAft>
                  <a:spcPts val="0"/>
                </a:spcAft>
                <a:buClrTx/>
                <a:buSzTx/>
                <a:buFontTx/>
                <a:buNone/>
                <a:tabLst/>
                <a:defRPr/>
              </a:pPr>
              <a:r>
                <a:rPr kumimoji="0" lang="zh-CN" altLang="en-US" sz="1100" b="0" i="0" u="none" strike="noStrike" kern="1200" cap="none" spc="0" normalizeH="0" baseline="0" noProof="0" dirty="0">
                  <a:ln>
                    <a:noFill/>
                  </a:ln>
                  <a:solidFill>
                    <a:prstClr val="black">
                      <a:lumMod val="50000"/>
                      <a:lumOff val="50000"/>
                    </a:prstClr>
                  </a:solidFill>
                  <a:effectLst/>
                  <a:uLnTx/>
                  <a:uFillTx/>
                  <a:latin typeface="HarmonyOS Sans SC"/>
                  <a:cs typeface="+mn-cs"/>
                </a:rPr>
                <a:t>在这里输入你的正文，阐述与关键词标题相关的具体内容</a:t>
              </a:r>
              <a:endParaRPr kumimoji="0" lang="en-US" sz="1100" b="0" i="0" u="none" strike="noStrike" kern="1200" cap="none" spc="0" normalizeH="0" baseline="0" noProof="0" dirty="0">
                <a:ln>
                  <a:noFill/>
                </a:ln>
                <a:solidFill>
                  <a:prstClr val="black">
                    <a:lumMod val="50000"/>
                    <a:lumOff val="50000"/>
                  </a:prstClr>
                </a:solidFill>
                <a:effectLst/>
                <a:uLnTx/>
                <a:uFillTx/>
                <a:latin typeface="HarmonyOS Sans SC"/>
                <a:cs typeface="+mn-cs"/>
              </a:endParaRPr>
            </a:p>
          </p:txBody>
        </p:sp>
      </p:grpSp>
      <p:grpSp>
        <p:nvGrpSpPr>
          <p:cNvPr id="45" name="组合 44">
            <a:extLst>
              <a:ext uri="{FF2B5EF4-FFF2-40B4-BE49-F238E27FC236}">
                <a16:creationId xmlns:a16="http://schemas.microsoft.com/office/drawing/2014/main" id="{C923BD5D-05E7-43A7-8BCC-7EFF74B0307C}"/>
              </a:ext>
            </a:extLst>
          </p:cNvPr>
          <p:cNvGrpSpPr/>
          <p:nvPr/>
        </p:nvGrpSpPr>
        <p:grpSpPr>
          <a:xfrm>
            <a:off x="5813779" y="4602372"/>
            <a:ext cx="2533403" cy="940625"/>
            <a:chOff x="950419" y="2199246"/>
            <a:chExt cx="2056261" cy="763467"/>
          </a:xfrm>
        </p:grpSpPr>
        <p:sp>
          <p:nvSpPr>
            <p:cNvPr id="46" name="TextBox 65">
              <a:extLst>
                <a:ext uri="{FF2B5EF4-FFF2-40B4-BE49-F238E27FC236}">
                  <a16:creationId xmlns:a16="http://schemas.microsoft.com/office/drawing/2014/main" id="{1DD3C280-0A43-448D-841F-193898DF3CC1}"/>
                </a:ext>
              </a:extLst>
            </p:cNvPr>
            <p:cNvSpPr txBox="1"/>
            <p:nvPr/>
          </p:nvSpPr>
          <p:spPr>
            <a:xfrm>
              <a:off x="950419" y="2199246"/>
              <a:ext cx="2056261" cy="286181"/>
            </a:xfrm>
            <a:prstGeom prst="rect">
              <a:avLst/>
            </a:prstGeom>
            <a:noFill/>
          </p:spPr>
          <p:txBody>
            <a:bodyPr wrap="square" lIns="0" tIns="36000" rIns="0" bIns="36000" rtlCol="0">
              <a:spAutoFit/>
            </a:bodyPr>
            <a:lstStyle>
              <a:defPPr>
                <a:defRPr lang="zh-CN"/>
              </a:defPPr>
              <a:lvl1pPr marR="0" lvl="0" indent="0" algn="ctr" fontAlgn="auto">
                <a:lnSpc>
                  <a:spcPct val="120000"/>
                </a:lnSpc>
                <a:spcBef>
                  <a:spcPts val="600"/>
                </a:spcBef>
                <a:spcAft>
                  <a:spcPts val="0"/>
                </a:spcAft>
                <a:buClrTx/>
                <a:buSzTx/>
                <a:buFontTx/>
                <a:buNone/>
                <a:tabLst/>
                <a:defRPr kumimoji="0" sz="1600" b="0" i="0" u="none" strike="noStrike" cap="none" spc="0" normalizeH="0" baseline="0">
                  <a:ln>
                    <a:noFill/>
                  </a:ln>
                  <a:solidFill>
                    <a:schemeClr val="accent1"/>
                  </a:solidFill>
                  <a:effectLst/>
                  <a:uLnTx/>
                  <a:uFillTx/>
                  <a:latin typeface="HarmonyOS Sans SC Black"/>
                  <a:ea typeface="+mj-ea"/>
                </a:defRPr>
              </a:lvl1pPr>
            </a:lstStyle>
            <a:p>
              <a:r>
                <a:rPr lang="zh-CN" altLang="en-US" dirty="0"/>
                <a:t>关键词标题</a:t>
              </a:r>
              <a:endParaRPr lang="en-US" dirty="0"/>
            </a:p>
          </p:txBody>
        </p:sp>
        <p:sp>
          <p:nvSpPr>
            <p:cNvPr id="47" name="TextBox 65">
              <a:extLst>
                <a:ext uri="{FF2B5EF4-FFF2-40B4-BE49-F238E27FC236}">
                  <a16:creationId xmlns:a16="http://schemas.microsoft.com/office/drawing/2014/main" id="{B0BA43D8-D99B-41AA-B46A-D8904C7EBFC7}"/>
                </a:ext>
              </a:extLst>
            </p:cNvPr>
            <p:cNvSpPr txBox="1"/>
            <p:nvPr/>
          </p:nvSpPr>
          <p:spPr>
            <a:xfrm>
              <a:off x="1096851" y="2582645"/>
              <a:ext cx="1763396" cy="380068"/>
            </a:xfrm>
            <a:prstGeom prst="rect">
              <a:avLst/>
            </a:prstGeom>
            <a:noFill/>
          </p:spPr>
          <p:txBody>
            <a:bodyPr wrap="square" lIns="0" tIns="36000" rIns="0" bIns="36000" rtlCol="0">
              <a:spAutoFit/>
            </a:bodyPr>
            <a:lstStyle>
              <a:defPPr>
                <a:defRPr lang="zh-CN"/>
              </a:defPPr>
              <a:lvl1pPr marR="0" lvl="0" indent="0" algn="ctr" fontAlgn="auto">
                <a:lnSpc>
                  <a:spcPct val="120000"/>
                </a:lnSpc>
                <a:spcBef>
                  <a:spcPts val="600"/>
                </a:spcBef>
                <a:spcAft>
                  <a:spcPts val="0"/>
                </a:spcAft>
                <a:buClrTx/>
                <a:buSzTx/>
                <a:buFontTx/>
                <a:buNone/>
                <a:tabLst/>
                <a:defRPr kumimoji="0" sz="1100" b="0" i="0" u="none" strike="noStrike" cap="none" spc="0" normalizeH="0" baseline="0">
                  <a:ln>
                    <a:noFill/>
                  </a:ln>
                  <a:solidFill>
                    <a:prstClr val="black">
                      <a:lumMod val="50000"/>
                      <a:lumOff val="50000"/>
                    </a:prstClr>
                  </a:solidFill>
                  <a:effectLst/>
                  <a:uLnTx/>
                  <a:uFillTx/>
                  <a:latin typeface="HarmonyOS Sans SC"/>
                </a:defRPr>
              </a:lvl1pPr>
            </a:lstStyle>
            <a:p>
              <a:r>
                <a:rPr lang="zh-CN" altLang="en-US" dirty="0"/>
                <a:t>在这里输入你的正文，阐述与关键词标题相关的具体内容</a:t>
              </a:r>
              <a:endParaRPr lang="en-US" dirty="0"/>
            </a:p>
          </p:txBody>
        </p:sp>
      </p:grpSp>
      <p:grpSp>
        <p:nvGrpSpPr>
          <p:cNvPr id="48" name="组合 47">
            <a:extLst>
              <a:ext uri="{FF2B5EF4-FFF2-40B4-BE49-F238E27FC236}">
                <a16:creationId xmlns:a16="http://schemas.microsoft.com/office/drawing/2014/main" id="{966BDE22-EC66-4124-979A-40A3D4138FEB}"/>
              </a:ext>
            </a:extLst>
          </p:cNvPr>
          <p:cNvGrpSpPr/>
          <p:nvPr/>
        </p:nvGrpSpPr>
        <p:grpSpPr>
          <a:xfrm>
            <a:off x="7989817" y="2309130"/>
            <a:ext cx="2533403" cy="940625"/>
            <a:chOff x="950419" y="2199246"/>
            <a:chExt cx="2056261" cy="763467"/>
          </a:xfrm>
        </p:grpSpPr>
        <p:sp>
          <p:nvSpPr>
            <p:cNvPr id="49" name="TextBox 65">
              <a:extLst>
                <a:ext uri="{FF2B5EF4-FFF2-40B4-BE49-F238E27FC236}">
                  <a16:creationId xmlns:a16="http://schemas.microsoft.com/office/drawing/2014/main" id="{7ACEFB38-7987-472F-90BA-B53336E63C1E}"/>
                </a:ext>
              </a:extLst>
            </p:cNvPr>
            <p:cNvSpPr txBox="1"/>
            <p:nvPr/>
          </p:nvSpPr>
          <p:spPr>
            <a:xfrm>
              <a:off x="950419" y="2199246"/>
              <a:ext cx="2056261" cy="286181"/>
            </a:xfrm>
            <a:prstGeom prst="rect">
              <a:avLst/>
            </a:prstGeom>
            <a:noFill/>
          </p:spPr>
          <p:txBody>
            <a:bodyPr wrap="square" lIns="0" tIns="36000" rIns="0" bIns="36000" rtlCol="0">
              <a:spAutoFit/>
            </a:bodyPr>
            <a:lstStyle>
              <a:defPPr>
                <a:defRPr lang="zh-CN"/>
              </a:defPPr>
              <a:lvl1pPr marR="0" lvl="0" indent="0" algn="ctr" fontAlgn="auto">
                <a:lnSpc>
                  <a:spcPct val="120000"/>
                </a:lnSpc>
                <a:spcBef>
                  <a:spcPts val="600"/>
                </a:spcBef>
                <a:spcAft>
                  <a:spcPts val="0"/>
                </a:spcAft>
                <a:buClrTx/>
                <a:buSzTx/>
                <a:buFontTx/>
                <a:buNone/>
                <a:tabLst/>
                <a:defRPr kumimoji="0" sz="1600" b="0" i="0" u="none" strike="noStrike" cap="none" spc="0" normalizeH="0" baseline="0">
                  <a:ln>
                    <a:noFill/>
                  </a:ln>
                  <a:solidFill>
                    <a:schemeClr val="accent1"/>
                  </a:solidFill>
                  <a:effectLst/>
                  <a:uLnTx/>
                  <a:uFillTx/>
                  <a:latin typeface="HarmonyOS Sans SC Black"/>
                  <a:ea typeface="+mj-ea"/>
                </a:defRPr>
              </a:lvl1pPr>
            </a:lstStyle>
            <a:p>
              <a:r>
                <a:rPr lang="zh-CN" altLang="en-US" dirty="0"/>
                <a:t>关键词标题</a:t>
              </a:r>
              <a:endParaRPr lang="en-US" dirty="0"/>
            </a:p>
          </p:txBody>
        </p:sp>
        <p:sp>
          <p:nvSpPr>
            <p:cNvPr id="50" name="TextBox 65">
              <a:extLst>
                <a:ext uri="{FF2B5EF4-FFF2-40B4-BE49-F238E27FC236}">
                  <a16:creationId xmlns:a16="http://schemas.microsoft.com/office/drawing/2014/main" id="{D835CCD5-DE69-46A7-AC27-B4C590C3923E}"/>
                </a:ext>
              </a:extLst>
            </p:cNvPr>
            <p:cNvSpPr txBox="1"/>
            <p:nvPr/>
          </p:nvSpPr>
          <p:spPr>
            <a:xfrm>
              <a:off x="1096851" y="2582645"/>
              <a:ext cx="1763396" cy="380068"/>
            </a:xfrm>
            <a:prstGeom prst="rect">
              <a:avLst/>
            </a:prstGeom>
            <a:noFill/>
          </p:spPr>
          <p:txBody>
            <a:bodyPr wrap="square" lIns="0" tIns="36000" rIns="0" bIns="36000" rtlCol="0">
              <a:spAutoFit/>
            </a:bodyPr>
            <a:lstStyle>
              <a:defPPr>
                <a:defRPr lang="zh-CN"/>
              </a:defPPr>
              <a:lvl1pPr marR="0" lvl="0" indent="0" algn="ctr" fontAlgn="auto">
                <a:lnSpc>
                  <a:spcPct val="120000"/>
                </a:lnSpc>
                <a:spcBef>
                  <a:spcPts val="600"/>
                </a:spcBef>
                <a:spcAft>
                  <a:spcPts val="0"/>
                </a:spcAft>
                <a:buClrTx/>
                <a:buSzTx/>
                <a:buFontTx/>
                <a:buNone/>
                <a:tabLst/>
                <a:defRPr kumimoji="0" sz="1100" b="0" i="0" u="none" strike="noStrike" cap="none" spc="0" normalizeH="0" baseline="0">
                  <a:ln>
                    <a:noFill/>
                  </a:ln>
                  <a:solidFill>
                    <a:prstClr val="black">
                      <a:lumMod val="50000"/>
                      <a:lumOff val="50000"/>
                    </a:prstClr>
                  </a:solidFill>
                  <a:effectLst/>
                  <a:uLnTx/>
                  <a:uFillTx/>
                  <a:latin typeface="HarmonyOS Sans SC"/>
                </a:defRPr>
              </a:lvl1pPr>
            </a:lstStyle>
            <a:p>
              <a:r>
                <a:rPr lang="zh-CN" altLang="en-US" dirty="0"/>
                <a:t>在这里输入你的正文，阐述与关键词标题相关的具体内容</a:t>
              </a:r>
              <a:endParaRPr lang="en-US" dirty="0"/>
            </a:p>
          </p:txBody>
        </p:sp>
      </p:grpSp>
    </p:spTree>
    <p:extLst>
      <p:ext uri="{BB962C8B-B14F-4D97-AF65-F5344CB8AC3E}">
        <p14:creationId xmlns:p14="http://schemas.microsoft.com/office/powerpoint/2010/main" val="853576878"/>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42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0" name="文本框 29">
            <a:extLst>
              <a:ext uri="{FF2B5EF4-FFF2-40B4-BE49-F238E27FC236}">
                <a16:creationId xmlns:a16="http://schemas.microsoft.com/office/drawing/2014/main" id="{1F942F0A-53BB-4356-B4E0-3A7F3C2871FD}"/>
              </a:ext>
            </a:extLst>
          </p:cNvPr>
          <p:cNvSpPr txBox="1"/>
          <p:nvPr/>
        </p:nvSpPr>
        <p:spPr>
          <a:xfrm>
            <a:off x="5105985" y="918105"/>
            <a:ext cx="1980029" cy="52322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2800" b="0" i="0" u="none" strike="noStrike" kern="1200" cap="none" spc="0" normalizeH="0" baseline="0" noProof="0" dirty="0">
                <a:ln>
                  <a:noFill/>
                </a:ln>
                <a:solidFill>
                  <a:prstClr val="black"/>
                </a:solidFill>
                <a:effectLst/>
                <a:uLnTx/>
                <a:uFillTx/>
                <a:latin typeface="HarmonyOS Sans Black"/>
                <a:ea typeface="+mj-ea"/>
                <a:cs typeface="+mn-cs"/>
              </a:rPr>
              <a:t>请输入标题</a:t>
            </a:r>
            <a:endParaRPr kumimoji="0" lang="en-US" altLang="zh-CN" sz="2800" b="0" i="0" u="none" strike="noStrike" kern="1200" cap="none" spc="0" normalizeH="0" baseline="0" noProof="0" dirty="0">
              <a:ln>
                <a:noFill/>
              </a:ln>
              <a:solidFill>
                <a:schemeClr val="accent1"/>
              </a:solidFill>
              <a:effectLst/>
              <a:uLnTx/>
              <a:uFillTx/>
              <a:latin typeface="HarmonyOS Sans Black"/>
              <a:ea typeface="+mj-ea"/>
              <a:cs typeface="+mn-cs"/>
            </a:endParaRPr>
          </a:p>
        </p:txBody>
      </p:sp>
      <p:sp>
        <p:nvSpPr>
          <p:cNvPr id="3" name="Freeform 5">
            <a:extLst>
              <a:ext uri="{FF2B5EF4-FFF2-40B4-BE49-F238E27FC236}">
                <a16:creationId xmlns:a16="http://schemas.microsoft.com/office/drawing/2014/main" id="{50EA3157-66B6-4902-93DE-D2453C1A24F6}"/>
              </a:ext>
            </a:extLst>
          </p:cNvPr>
          <p:cNvSpPr>
            <a:spLocks/>
          </p:cNvSpPr>
          <p:nvPr/>
        </p:nvSpPr>
        <p:spPr bwMode="auto">
          <a:xfrm>
            <a:off x="7841524" y="2906834"/>
            <a:ext cx="1978189" cy="1967036"/>
          </a:xfrm>
          <a:custGeom>
            <a:avLst/>
            <a:gdLst>
              <a:gd name="T0" fmla="*/ 0 w 320"/>
              <a:gd name="T1" fmla="*/ 189 h 316"/>
              <a:gd name="T2" fmla="*/ 200 w 320"/>
              <a:gd name="T3" fmla="*/ 0 h 316"/>
              <a:gd name="T4" fmla="*/ 320 w 320"/>
              <a:gd name="T5" fmla="*/ 127 h 316"/>
              <a:gd name="T6" fmla="*/ 120 w 320"/>
              <a:gd name="T7" fmla="*/ 316 h 316"/>
              <a:gd name="T8" fmla="*/ 0 w 320"/>
              <a:gd name="T9" fmla="*/ 189 h 316"/>
            </a:gdLst>
            <a:ahLst/>
            <a:cxnLst>
              <a:cxn ang="0">
                <a:pos x="T0" y="T1"/>
              </a:cxn>
              <a:cxn ang="0">
                <a:pos x="T2" y="T3"/>
              </a:cxn>
              <a:cxn ang="0">
                <a:pos x="T4" y="T5"/>
              </a:cxn>
              <a:cxn ang="0">
                <a:pos x="T6" y="T7"/>
              </a:cxn>
              <a:cxn ang="0">
                <a:pos x="T8" y="T9"/>
              </a:cxn>
            </a:cxnLst>
            <a:rect l="0" t="0" r="r" b="b"/>
            <a:pathLst>
              <a:path w="320" h="316">
                <a:moveTo>
                  <a:pt x="0" y="189"/>
                </a:moveTo>
                <a:cubicBezTo>
                  <a:pt x="102" y="179"/>
                  <a:pt x="185" y="101"/>
                  <a:pt x="200" y="0"/>
                </a:cubicBezTo>
                <a:cubicBezTo>
                  <a:pt x="320" y="127"/>
                  <a:pt x="320" y="127"/>
                  <a:pt x="320" y="127"/>
                </a:cubicBezTo>
                <a:cubicBezTo>
                  <a:pt x="218" y="137"/>
                  <a:pt x="135" y="215"/>
                  <a:pt x="120" y="316"/>
                </a:cubicBezTo>
                <a:lnTo>
                  <a:pt x="0" y="189"/>
                </a:lnTo>
                <a:close/>
              </a:path>
            </a:pathLst>
          </a:custGeom>
          <a:solidFill>
            <a:schemeClr val="accent1">
              <a:lumMod val="40000"/>
              <a:lumOff val="60000"/>
              <a:alpha val="54000"/>
            </a:schemeClr>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cs typeface="+mn-cs"/>
            </a:endParaRPr>
          </a:p>
        </p:txBody>
      </p:sp>
      <p:sp>
        <p:nvSpPr>
          <p:cNvPr id="4" name="Freeform 6">
            <a:extLst>
              <a:ext uri="{FF2B5EF4-FFF2-40B4-BE49-F238E27FC236}">
                <a16:creationId xmlns:a16="http://schemas.microsoft.com/office/drawing/2014/main" id="{B38F5C5D-CABF-4761-A364-1D424D93DE45}"/>
              </a:ext>
            </a:extLst>
          </p:cNvPr>
          <p:cNvSpPr>
            <a:spLocks/>
          </p:cNvSpPr>
          <p:nvPr/>
        </p:nvSpPr>
        <p:spPr bwMode="auto">
          <a:xfrm>
            <a:off x="2462277" y="2913523"/>
            <a:ext cx="1942507" cy="1960347"/>
          </a:xfrm>
          <a:custGeom>
            <a:avLst/>
            <a:gdLst>
              <a:gd name="T0" fmla="*/ 127 w 314"/>
              <a:gd name="T1" fmla="*/ 0 h 315"/>
              <a:gd name="T2" fmla="*/ 314 w 314"/>
              <a:gd name="T3" fmla="*/ 189 h 315"/>
              <a:gd name="T4" fmla="*/ 187 w 314"/>
              <a:gd name="T5" fmla="*/ 315 h 315"/>
              <a:gd name="T6" fmla="*/ 0 w 314"/>
              <a:gd name="T7" fmla="*/ 125 h 315"/>
              <a:gd name="T8" fmla="*/ 127 w 314"/>
              <a:gd name="T9" fmla="*/ 0 h 315"/>
            </a:gdLst>
            <a:ahLst/>
            <a:cxnLst>
              <a:cxn ang="0">
                <a:pos x="T0" y="T1"/>
              </a:cxn>
              <a:cxn ang="0">
                <a:pos x="T2" y="T3"/>
              </a:cxn>
              <a:cxn ang="0">
                <a:pos x="T4" y="T5"/>
              </a:cxn>
              <a:cxn ang="0">
                <a:pos x="T6" y="T7"/>
              </a:cxn>
              <a:cxn ang="0">
                <a:pos x="T8" y="T9"/>
              </a:cxn>
            </a:cxnLst>
            <a:rect l="0" t="0" r="r" b="b"/>
            <a:pathLst>
              <a:path w="314" h="315">
                <a:moveTo>
                  <a:pt x="127" y="0"/>
                </a:moveTo>
                <a:cubicBezTo>
                  <a:pt x="141" y="97"/>
                  <a:pt x="217" y="174"/>
                  <a:pt x="314" y="189"/>
                </a:cubicBezTo>
                <a:cubicBezTo>
                  <a:pt x="187" y="315"/>
                  <a:pt x="187" y="315"/>
                  <a:pt x="187" y="315"/>
                </a:cubicBezTo>
                <a:cubicBezTo>
                  <a:pt x="173" y="217"/>
                  <a:pt x="97" y="140"/>
                  <a:pt x="0" y="125"/>
                </a:cubicBezTo>
                <a:lnTo>
                  <a:pt x="127" y="0"/>
                </a:lnTo>
                <a:close/>
              </a:path>
            </a:pathLst>
          </a:custGeom>
          <a:solidFill>
            <a:schemeClr val="accent1">
              <a:lumMod val="40000"/>
              <a:lumOff val="60000"/>
              <a:alpha val="54000"/>
            </a:schemeClr>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cs typeface="+mn-cs"/>
            </a:endParaRPr>
          </a:p>
        </p:txBody>
      </p:sp>
      <p:sp>
        <p:nvSpPr>
          <p:cNvPr id="5" name="Freeform 7">
            <a:extLst>
              <a:ext uri="{FF2B5EF4-FFF2-40B4-BE49-F238E27FC236}">
                <a16:creationId xmlns:a16="http://schemas.microsoft.com/office/drawing/2014/main" id="{AA467F7A-163A-4B95-BDA2-D1C0E98C0CE2}"/>
              </a:ext>
            </a:extLst>
          </p:cNvPr>
          <p:cNvSpPr>
            <a:spLocks/>
          </p:cNvSpPr>
          <p:nvPr/>
        </p:nvSpPr>
        <p:spPr bwMode="auto">
          <a:xfrm>
            <a:off x="4230828" y="2906834"/>
            <a:ext cx="1984880" cy="1967036"/>
          </a:xfrm>
          <a:custGeom>
            <a:avLst/>
            <a:gdLst>
              <a:gd name="T0" fmla="*/ 0 w 321"/>
              <a:gd name="T1" fmla="*/ 189 h 316"/>
              <a:gd name="T2" fmla="*/ 201 w 321"/>
              <a:gd name="T3" fmla="*/ 0 h 316"/>
              <a:gd name="T4" fmla="*/ 321 w 321"/>
              <a:gd name="T5" fmla="*/ 127 h 316"/>
              <a:gd name="T6" fmla="*/ 120 w 321"/>
              <a:gd name="T7" fmla="*/ 316 h 316"/>
              <a:gd name="T8" fmla="*/ 0 w 321"/>
              <a:gd name="T9" fmla="*/ 189 h 316"/>
            </a:gdLst>
            <a:ahLst/>
            <a:cxnLst>
              <a:cxn ang="0">
                <a:pos x="T0" y="T1"/>
              </a:cxn>
              <a:cxn ang="0">
                <a:pos x="T2" y="T3"/>
              </a:cxn>
              <a:cxn ang="0">
                <a:pos x="T4" y="T5"/>
              </a:cxn>
              <a:cxn ang="0">
                <a:pos x="T6" y="T7"/>
              </a:cxn>
              <a:cxn ang="0">
                <a:pos x="T8" y="T9"/>
              </a:cxn>
            </a:cxnLst>
            <a:rect l="0" t="0" r="r" b="b"/>
            <a:pathLst>
              <a:path w="321" h="316">
                <a:moveTo>
                  <a:pt x="0" y="189"/>
                </a:moveTo>
                <a:cubicBezTo>
                  <a:pt x="102" y="179"/>
                  <a:pt x="185" y="101"/>
                  <a:pt x="201" y="0"/>
                </a:cubicBezTo>
                <a:cubicBezTo>
                  <a:pt x="321" y="127"/>
                  <a:pt x="321" y="127"/>
                  <a:pt x="321" y="127"/>
                </a:cubicBezTo>
                <a:cubicBezTo>
                  <a:pt x="218" y="137"/>
                  <a:pt x="136" y="215"/>
                  <a:pt x="120" y="316"/>
                </a:cubicBezTo>
                <a:lnTo>
                  <a:pt x="0" y="189"/>
                </a:lnTo>
                <a:close/>
              </a:path>
            </a:pathLst>
          </a:custGeom>
          <a:solidFill>
            <a:schemeClr val="accent1">
              <a:lumMod val="40000"/>
              <a:lumOff val="60000"/>
              <a:alpha val="54000"/>
            </a:schemeClr>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cs typeface="+mn-cs"/>
            </a:endParaRPr>
          </a:p>
        </p:txBody>
      </p:sp>
      <p:sp>
        <p:nvSpPr>
          <p:cNvPr id="6" name="Freeform 8">
            <a:extLst>
              <a:ext uri="{FF2B5EF4-FFF2-40B4-BE49-F238E27FC236}">
                <a16:creationId xmlns:a16="http://schemas.microsoft.com/office/drawing/2014/main" id="{ACED0F4A-02DA-4D48-9023-28460C949F3F}"/>
              </a:ext>
            </a:extLst>
          </p:cNvPr>
          <p:cNvSpPr>
            <a:spLocks/>
          </p:cNvSpPr>
          <p:nvPr/>
        </p:nvSpPr>
        <p:spPr bwMode="auto">
          <a:xfrm>
            <a:off x="6048441" y="2906834"/>
            <a:ext cx="1953656" cy="1967036"/>
          </a:xfrm>
          <a:custGeom>
            <a:avLst/>
            <a:gdLst>
              <a:gd name="T0" fmla="*/ 126 w 316"/>
              <a:gd name="T1" fmla="*/ 0 h 316"/>
              <a:gd name="T2" fmla="*/ 316 w 316"/>
              <a:gd name="T3" fmla="*/ 190 h 316"/>
              <a:gd name="T4" fmla="*/ 191 w 316"/>
              <a:gd name="T5" fmla="*/ 316 h 316"/>
              <a:gd name="T6" fmla="*/ 0 w 316"/>
              <a:gd name="T7" fmla="*/ 126 h 316"/>
              <a:gd name="T8" fmla="*/ 126 w 316"/>
              <a:gd name="T9" fmla="*/ 0 h 316"/>
            </a:gdLst>
            <a:ahLst/>
            <a:cxnLst>
              <a:cxn ang="0">
                <a:pos x="T0" y="T1"/>
              </a:cxn>
              <a:cxn ang="0">
                <a:pos x="T2" y="T3"/>
              </a:cxn>
              <a:cxn ang="0">
                <a:pos x="T4" y="T5"/>
              </a:cxn>
              <a:cxn ang="0">
                <a:pos x="T6" y="T7"/>
              </a:cxn>
              <a:cxn ang="0">
                <a:pos x="T8" y="T9"/>
              </a:cxn>
            </a:cxnLst>
            <a:rect l="0" t="0" r="r" b="b"/>
            <a:pathLst>
              <a:path w="316" h="316">
                <a:moveTo>
                  <a:pt x="126" y="0"/>
                </a:moveTo>
                <a:cubicBezTo>
                  <a:pt x="140" y="99"/>
                  <a:pt x="218" y="176"/>
                  <a:pt x="316" y="190"/>
                </a:cubicBezTo>
                <a:cubicBezTo>
                  <a:pt x="191" y="316"/>
                  <a:pt x="191" y="316"/>
                  <a:pt x="191" y="316"/>
                </a:cubicBezTo>
                <a:cubicBezTo>
                  <a:pt x="176" y="217"/>
                  <a:pt x="99" y="140"/>
                  <a:pt x="0" y="126"/>
                </a:cubicBezTo>
                <a:lnTo>
                  <a:pt x="126" y="0"/>
                </a:lnTo>
                <a:close/>
              </a:path>
            </a:pathLst>
          </a:custGeom>
          <a:solidFill>
            <a:schemeClr val="accent1">
              <a:lumMod val="40000"/>
              <a:lumOff val="60000"/>
              <a:alpha val="54000"/>
            </a:schemeClr>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cs typeface="+mn-cs"/>
            </a:endParaRPr>
          </a:p>
        </p:txBody>
      </p:sp>
      <p:sp>
        <p:nvSpPr>
          <p:cNvPr id="7" name="Oval 36">
            <a:extLst>
              <a:ext uri="{FF2B5EF4-FFF2-40B4-BE49-F238E27FC236}">
                <a16:creationId xmlns:a16="http://schemas.microsoft.com/office/drawing/2014/main" id="{19A7FC1E-2945-4C6A-BC8C-7D21E1B4477A}"/>
              </a:ext>
            </a:extLst>
          </p:cNvPr>
          <p:cNvSpPr/>
          <p:nvPr/>
        </p:nvSpPr>
        <p:spPr>
          <a:xfrm>
            <a:off x="1861493" y="2306676"/>
            <a:ext cx="1394737" cy="1394733"/>
          </a:xfrm>
          <a:prstGeom prst="ellipse">
            <a:avLst/>
          </a:prstGeom>
          <a:gradFill>
            <a:gsLst>
              <a:gs pos="73000">
                <a:schemeClr val="accent1"/>
              </a:gs>
              <a:gs pos="31000">
                <a:schemeClr val="accent1">
                  <a:lumMod val="60000"/>
                  <a:lumOff val="40000"/>
                </a:schemeClr>
              </a:gs>
              <a:gs pos="0">
                <a:schemeClr val="accent1">
                  <a:lumMod val="40000"/>
                  <a:lumOff val="60000"/>
                </a:schemeClr>
              </a:gs>
            </a:gsLst>
            <a:path path="circle">
              <a:fillToRect r="100000" b="100000"/>
            </a:path>
          </a:gradFill>
          <a:ln>
            <a:noFill/>
          </a:ln>
          <a:effectLst>
            <a:outerShdw blurRad="444500" dist="317500" dir="5400000" sx="92000" sy="92000" algn="t" rotWithShape="0">
              <a:schemeClr val="accent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HarmonyOS Sans SC"/>
              <a:cs typeface="+mn-cs"/>
            </a:endParaRPr>
          </a:p>
        </p:txBody>
      </p:sp>
      <p:sp>
        <p:nvSpPr>
          <p:cNvPr id="8" name="Oval 37">
            <a:extLst>
              <a:ext uri="{FF2B5EF4-FFF2-40B4-BE49-F238E27FC236}">
                <a16:creationId xmlns:a16="http://schemas.microsoft.com/office/drawing/2014/main" id="{95E8F1E4-EC26-47BD-B5AB-747DE18465EE}"/>
              </a:ext>
            </a:extLst>
          </p:cNvPr>
          <p:cNvSpPr/>
          <p:nvPr/>
        </p:nvSpPr>
        <p:spPr>
          <a:xfrm>
            <a:off x="5440969" y="2306676"/>
            <a:ext cx="1394737" cy="1394733"/>
          </a:xfrm>
          <a:prstGeom prst="ellipse">
            <a:avLst/>
          </a:prstGeom>
          <a:gradFill>
            <a:gsLst>
              <a:gs pos="73000">
                <a:schemeClr val="accent1"/>
              </a:gs>
              <a:gs pos="31000">
                <a:schemeClr val="accent1">
                  <a:lumMod val="60000"/>
                  <a:lumOff val="40000"/>
                </a:schemeClr>
              </a:gs>
              <a:gs pos="0">
                <a:schemeClr val="accent1">
                  <a:lumMod val="40000"/>
                  <a:lumOff val="60000"/>
                </a:schemeClr>
              </a:gs>
            </a:gsLst>
            <a:path path="circle">
              <a:fillToRect r="100000" b="100000"/>
            </a:path>
          </a:gradFill>
          <a:ln>
            <a:noFill/>
          </a:ln>
          <a:effectLst>
            <a:outerShdw blurRad="444500" dist="317500" dir="5400000" sx="92000" sy="92000" algn="t" rotWithShape="0">
              <a:schemeClr val="accent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HarmonyOS Sans SC"/>
              <a:cs typeface="+mn-cs"/>
            </a:endParaRPr>
          </a:p>
        </p:txBody>
      </p:sp>
      <p:sp>
        <p:nvSpPr>
          <p:cNvPr id="9" name="Oval 39">
            <a:extLst>
              <a:ext uri="{FF2B5EF4-FFF2-40B4-BE49-F238E27FC236}">
                <a16:creationId xmlns:a16="http://schemas.microsoft.com/office/drawing/2014/main" id="{FDE09FCE-EAC4-48A7-A1E1-1069B8E7D603}"/>
              </a:ext>
            </a:extLst>
          </p:cNvPr>
          <p:cNvSpPr/>
          <p:nvPr/>
        </p:nvSpPr>
        <p:spPr>
          <a:xfrm>
            <a:off x="9068647" y="2306676"/>
            <a:ext cx="1394737" cy="1394733"/>
          </a:xfrm>
          <a:prstGeom prst="ellipse">
            <a:avLst/>
          </a:prstGeom>
          <a:gradFill>
            <a:gsLst>
              <a:gs pos="73000">
                <a:schemeClr val="accent1"/>
              </a:gs>
              <a:gs pos="31000">
                <a:schemeClr val="accent1">
                  <a:lumMod val="60000"/>
                  <a:lumOff val="40000"/>
                </a:schemeClr>
              </a:gs>
              <a:gs pos="0">
                <a:schemeClr val="accent1">
                  <a:lumMod val="40000"/>
                  <a:lumOff val="60000"/>
                </a:schemeClr>
              </a:gs>
            </a:gsLst>
            <a:path path="circle">
              <a:fillToRect r="100000" b="100000"/>
            </a:path>
          </a:gradFill>
          <a:ln>
            <a:noFill/>
          </a:ln>
          <a:effectLst>
            <a:outerShdw blurRad="444500" dist="317500" dir="5400000" sx="92000" sy="92000" algn="t" rotWithShape="0">
              <a:schemeClr val="accent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HarmonyOS Sans SC"/>
              <a:cs typeface="+mn-cs"/>
            </a:endParaRPr>
          </a:p>
        </p:txBody>
      </p:sp>
      <p:sp>
        <p:nvSpPr>
          <p:cNvPr id="10" name="Oval 42">
            <a:extLst>
              <a:ext uri="{FF2B5EF4-FFF2-40B4-BE49-F238E27FC236}">
                <a16:creationId xmlns:a16="http://schemas.microsoft.com/office/drawing/2014/main" id="{DF54D8D2-4B25-484B-942C-34CF2DE002F3}"/>
              </a:ext>
            </a:extLst>
          </p:cNvPr>
          <p:cNvSpPr/>
          <p:nvPr/>
        </p:nvSpPr>
        <p:spPr>
          <a:xfrm>
            <a:off x="7221525" y="4077685"/>
            <a:ext cx="1394737" cy="1394733"/>
          </a:xfrm>
          <a:prstGeom prst="ellipse">
            <a:avLst/>
          </a:prstGeom>
          <a:gradFill>
            <a:gsLst>
              <a:gs pos="73000">
                <a:schemeClr val="accent1"/>
              </a:gs>
              <a:gs pos="31000">
                <a:schemeClr val="accent1">
                  <a:lumMod val="60000"/>
                  <a:lumOff val="40000"/>
                </a:schemeClr>
              </a:gs>
              <a:gs pos="0">
                <a:schemeClr val="accent1">
                  <a:lumMod val="40000"/>
                  <a:lumOff val="60000"/>
                </a:schemeClr>
              </a:gs>
            </a:gsLst>
            <a:path path="circle">
              <a:fillToRect r="100000" b="100000"/>
            </a:path>
          </a:gradFill>
          <a:ln>
            <a:noFill/>
          </a:ln>
          <a:effectLst>
            <a:outerShdw blurRad="444500" dist="317500" dir="5400000" sx="92000" sy="92000" algn="t" rotWithShape="0">
              <a:schemeClr val="accent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HarmonyOS Sans SC"/>
              <a:cs typeface="+mn-cs"/>
            </a:endParaRPr>
          </a:p>
        </p:txBody>
      </p:sp>
      <p:sp>
        <p:nvSpPr>
          <p:cNvPr id="11" name="Oval 43">
            <a:extLst>
              <a:ext uri="{FF2B5EF4-FFF2-40B4-BE49-F238E27FC236}">
                <a16:creationId xmlns:a16="http://schemas.microsoft.com/office/drawing/2014/main" id="{C3D1B0BE-060D-4615-B720-ECAE096B5185}"/>
              </a:ext>
            </a:extLst>
          </p:cNvPr>
          <p:cNvSpPr/>
          <p:nvPr/>
        </p:nvSpPr>
        <p:spPr>
          <a:xfrm>
            <a:off x="3600539" y="4077685"/>
            <a:ext cx="1394737" cy="1394733"/>
          </a:xfrm>
          <a:prstGeom prst="ellipse">
            <a:avLst/>
          </a:prstGeom>
          <a:gradFill>
            <a:gsLst>
              <a:gs pos="73000">
                <a:schemeClr val="accent1"/>
              </a:gs>
              <a:gs pos="31000">
                <a:schemeClr val="accent1">
                  <a:lumMod val="60000"/>
                  <a:lumOff val="40000"/>
                </a:schemeClr>
              </a:gs>
              <a:gs pos="0">
                <a:schemeClr val="accent1">
                  <a:lumMod val="40000"/>
                  <a:lumOff val="60000"/>
                </a:schemeClr>
              </a:gs>
            </a:gsLst>
            <a:path path="circle">
              <a:fillToRect r="100000" b="100000"/>
            </a:path>
          </a:gradFill>
          <a:ln>
            <a:noFill/>
          </a:ln>
          <a:effectLst>
            <a:outerShdw blurRad="444500" dist="317500" dir="5400000" sx="92000" sy="92000" algn="t" rotWithShape="0">
              <a:schemeClr val="accent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HarmonyOS Sans SC"/>
              <a:cs typeface="+mn-cs"/>
            </a:endParaRPr>
          </a:p>
        </p:txBody>
      </p:sp>
      <p:sp>
        <p:nvSpPr>
          <p:cNvPr id="12" name="Freeform 5">
            <a:extLst>
              <a:ext uri="{FF2B5EF4-FFF2-40B4-BE49-F238E27FC236}">
                <a16:creationId xmlns:a16="http://schemas.microsoft.com/office/drawing/2014/main" id="{C4CCB9C7-9D42-41E0-99F3-95E5BBB1854A}"/>
              </a:ext>
            </a:extLst>
          </p:cNvPr>
          <p:cNvSpPr>
            <a:spLocks noEditPoints="1"/>
          </p:cNvSpPr>
          <p:nvPr/>
        </p:nvSpPr>
        <p:spPr bwMode="auto">
          <a:xfrm>
            <a:off x="5873630" y="2736132"/>
            <a:ext cx="529413" cy="529410"/>
          </a:xfrm>
          <a:custGeom>
            <a:avLst/>
            <a:gdLst>
              <a:gd name="T0" fmla="*/ 1024 w 2048"/>
              <a:gd name="T1" fmla="*/ 0 h 2048"/>
              <a:gd name="T2" fmla="*/ 0 w 2048"/>
              <a:gd name="T3" fmla="*/ 1024 h 2048"/>
              <a:gd name="T4" fmla="*/ 1024 w 2048"/>
              <a:gd name="T5" fmla="*/ 2048 h 2048"/>
              <a:gd name="T6" fmla="*/ 2048 w 2048"/>
              <a:gd name="T7" fmla="*/ 1024 h 2048"/>
              <a:gd name="T8" fmla="*/ 1024 w 2048"/>
              <a:gd name="T9" fmla="*/ 0 h 2048"/>
              <a:gd name="T10" fmla="*/ 1499 w 2048"/>
              <a:gd name="T11" fmla="*/ 1134 h 2048"/>
              <a:gd name="T12" fmla="*/ 1024 w 2048"/>
              <a:gd name="T13" fmla="*/ 1134 h 2048"/>
              <a:gd name="T14" fmla="*/ 914 w 2048"/>
              <a:gd name="T15" fmla="*/ 1024 h 2048"/>
              <a:gd name="T16" fmla="*/ 914 w 2048"/>
              <a:gd name="T17" fmla="*/ 549 h 2048"/>
              <a:gd name="T18" fmla="*/ 1024 w 2048"/>
              <a:gd name="T19" fmla="*/ 439 h 2048"/>
              <a:gd name="T20" fmla="*/ 1134 w 2048"/>
              <a:gd name="T21" fmla="*/ 549 h 2048"/>
              <a:gd name="T22" fmla="*/ 1134 w 2048"/>
              <a:gd name="T23" fmla="*/ 915 h 2048"/>
              <a:gd name="T24" fmla="*/ 1499 w 2048"/>
              <a:gd name="T25" fmla="*/ 915 h 2048"/>
              <a:gd name="T26" fmla="*/ 1609 w 2048"/>
              <a:gd name="T27" fmla="*/ 1024 h 2048"/>
              <a:gd name="T28" fmla="*/ 1499 w 2048"/>
              <a:gd name="T29" fmla="*/ 1134 h 20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48" h="2048">
                <a:moveTo>
                  <a:pt x="1024" y="0"/>
                </a:moveTo>
                <a:cubicBezTo>
                  <a:pt x="459" y="0"/>
                  <a:pt x="0" y="459"/>
                  <a:pt x="0" y="1024"/>
                </a:cubicBezTo>
                <a:cubicBezTo>
                  <a:pt x="0" y="1589"/>
                  <a:pt x="459" y="2048"/>
                  <a:pt x="1024" y="2048"/>
                </a:cubicBezTo>
                <a:cubicBezTo>
                  <a:pt x="1589" y="2048"/>
                  <a:pt x="2048" y="1589"/>
                  <a:pt x="2048" y="1024"/>
                </a:cubicBezTo>
                <a:cubicBezTo>
                  <a:pt x="2048" y="459"/>
                  <a:pt x="1589" y="0"/>
                  <a:pt x="1024" y="0"/>
                </a:cubicBezTo>
                <a:close/>
                <a:moveTo>
                  <a:pt x="1499" y="1134"/>
                </a:moveTo>
                <a:cubicBezTo>
                  <a:pt x="1024" y="1134"/>
                  <a:pt x="1024" y="1134"/>
                  <a:pt x="1024" y="1134"/>
                </a:cubicBezTo>
                <a:cubicBezTo>
                  <a:pt x="963" y="1134"/>
                  <a:pt x="914" y="1085"/>
                  <a:pt x="914" y="1024"/>
                </a:cubicBezTo>
                <a:cubicBezTo>
                  <a:pt x="914" y="549"/>
                  <a:pt x="914" y="549"/>
                  <a:pt x="914" y="549"/>
                </a:cubicBezTo>
                <a:cubicBezTo>
                  <a:pt x="914" y="489"/>
                  <a:pt x="963" y="439"/>
                  <a:pt x="1024" y="439"/>
                </a:cubicBezTo>
                <a:cubicBezTo>
                  <a:pt x="1085" y="439"/>
                  <a:pt x="1134" y="489"/>
                  <a:pt x="1134" y="549"/>
                </a:cubicBezTo>
                <a:cubicBezTo>
                  <a:pt x="1134" y="915"/>
                  <a:pt x="1134" y="915"/>
                  <a:pt x="1134" y="915"/>
                </a:cubicBezTo>
                <a:cubicBezTo>
                  <a:pt x="1499" y="915"/>
                  <a:pt x="1499" y="915"/>
                  <a:pt x="1499" y="915"/>
                </a:cubicBezTo>
                <a:cubicBezTo>
                  <a:pt x="1560" y="915"/>
                  <a:pt x="1609" y="964"/>
                  <a:pt x="1609" y="1024"/>
                </a:cubicBezTo>
                <a:cubicBezTo>
                  <a:pt x="1609" y="1085"/>
                  <a:pt x="1560" y="1134"/>
                  <a:pt x="1499" y="1134"/>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Open Sans"/>
              <a:ea typeface="+mn-ea"/>
              <a:cs typeface="+mn-cs"/>
            </a:endParaRPr>
          </a:p>
        </p:txBody>
      </p:sp>
      <p:grpSp>
        <p:nvGrpSpPr>
          <p:cNvPr id="13" name="Group 45">
            <a:extLst>
              <a:ext uri="{FF2B5EF4-FFF2-40B4-BE49-F238E27FC236}">
                <a16:creationId xmlns:a16="http://schemas.microsoft.com/office/drawing/2014/main" id="{EA83D2FE-7940-46E4-ACD0-EA61BC51F240}"/>
              </a:ext>
            </a:extLst>
          </p:cNvPr>
          <p:cNvGrpSpPr/>
          <p:nvPr/>
        </p:nvGrpSpPr>
        <p:grpSpPr>
          <a:xfrm>
            <a:off x="2327913" y="2726873"/>
            <a:ext cx="431301" cy="536498"/>
            <a:chOff x="4862513" y="3505200"/>
            <a:chExt cx="260350" cy="323851"/>
          </a:xfrm>
          <a:solidFill>
            <a:srgbClr val="FFFFFF"/>
          </a:solidFill>
        </p:grpSpPr>
        <p:sp>
          <p:nvSpPr>
            <p:cNvPr id="14" name="Freeform 9">
              <a:extLst>
                <a:ext uri="{FF2B5EF4-FFF2-40B4-BE49-F238E27FC236}">
                  <a16:creationId xmlns:a16="http://schemas.microsoft.com/office/drawing/2014/main" id="{1FADC65E-BCDF-48EE-8DC8-5003EA7608AE}"/>
                </a:ext>
              </a:extLst>
            </p:cNvPr>
            <p:cNvSpPr>
              <a:spLocks/>
            </p:cNvSpPr>
            <p:nvPr/>
          </p:nvSpPr>
          <p:spPr bwMode="auto">
            <a:xfrm>
              <a:off x="4870451" y="3505200"/>
              <a:ext cx="220663" cy="234950"/>
            </a:xfrm>
            <a:custGeom>
              <a:avLst/>
              <a:gdLst>
                <a:gd name="T0" fmla="*/ 761 w 1393"/>
                <a:gd name="T1" fmla="*/ 0 h 1489"/>
                <a:gd name="T2" fmla="*/ 240 w 1393"/>
                <a:gd name="T3" fmla="*/ 0 h 1489"/>
                <a:gd name="T4" fmla="*/ 93 w 1393"/>
                <a:gd name="T5" fmla="*/ 0 h 1489"/>
                <a:gd name="T6" fmla="*/ 0 w 1393"/>
                <a:gd name="T7" fmla="*/ 93 h 1489"/>
                <a:gd name="T8" fmla="*/ 93 w 1393"/>
                <a:gd name="T9" fmla="*/ 186 h 1489"/>
                <a:gd name="T10" fmla="*/ 147 w 1393"/>
                <a:gd name="T11" fmla="*/ 186 h 1489"/>
                <a:gd name="T12" fmla="*/ 147 w 1393"/>
                <a:gd name="T13" fmla="*/ 938 h 1489"/>
                <a:gd name="T14" fmla="*/ 240 w 1393"/>
                <a:gd name="T15" fmla="*/ 1031 h 1489"/>
                <a:gd name="T16" fmla="*/ 397 w 1393"/>
                <a:gd name="T17" fmla="*/ 1031 h 1489"/>
                <a:gd name="T18" fmla="*/ 462 w 1393"/>
                <a:gd name="T19" fmla="*/ 1004 h 1489"/>
                <a:gd name="T20" fmla="*/ 591 w 1393"/>
                <a:gd name="T21" fmla="*/ 876 h 1489"/>
                <a:gd name="T22" fmla="*/ 591 w 1393"/>
                <a:gd name="T23" fmla="*/ 1100 h 1489"/>
                <a:gd name="T24" fmla="*/ 201 w 1393"/>
                <a:gd name="T25" fmla="*/ 1489 h 1489"/>
                <a:gd name="T26" fmla="*/ 1393 w 1393"/>
                <a:gd name="T27" fmla="*/ 1489 h 1489"/>
                <a:gd name="T28" fmla="*/ 1393 w 1393"/>
                <a:gd name="T29" fmla="*/ 633 h 1489"/>
                <a:gd name="T30" fmla="*/ 761 w 1393"/>
                <a:gd name="T31" fmla="*/ 0 h 14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93" h="1489">
                  <a:moveTo>
                    <a:pt x="761" y="0"/>
                  </a:moveTo>
                  <a:cubicBezTo>
                    <a:pt x="240" y="0"/>
                    <a:pt x="240" y="0"/>
                    <a:pt x="240" y="0"/>
                  </a:cubicBezTo>
                  <a:cubicBezTo>
                    <a:pt x="93" y="0"/>
                    <a:pt x="93" y="0"/>
                    <a:pt x="93" y="0"/>
                  </a:cubicBezTo>
                  <a:cubicBezTo>
                    <a:pt x="41" y="0"/>
                    <a:pt x="0" y="42"/>
                    <a:pt x="0" y="93"/>
                  </a:cubicBezTo>
                  <a:cubicBezTo>
                    <a:pt x="0" y="145"/>
                    <a:pt x="41" y="186"/>
                    <a:pt x="93" y="186"/>
                  </a:cubicBezTo>
                  <a:cubicBezTo>
                    <a:pt x="147" y="186"/>
                    <a:pt x="147" y="186"/>
                    <a:pt x="147" y="186"/>
                  </a:cubicBezTo>
                  <a:cubicBezTo>
                    <a:pt x="147" y="938"/>
                    <a:pt x="147" y="938"/>
                    <a:pt x="147" y="938"/>
                  </a:cubicBezTo>
                  <a:cubicBezTo>
                    <a:pt x="147" y="990"/>
                    <a:pt x="188" y="1031"/>
                    <a:pt x="240" y="1031"/>
                  </a:cubicBezTo>
                  <a:cubicBezTo>
                    <a:pt x="397" y="1031"/>
                    <a:pt x="397" y="1031"/>
                    <a:pt x="397" y="1031"/>
                  </a:cubicBezTo>
                  <a:cubicBezTo>
                    <a:pt x="421" y="1031"/>
                    <a:pt x="445" y="1021"/>
                    <a:pt x="462" y="1004"/>
                  </a:cubicBezTo>
                  <a:cubicBezTo>
                    <a:pt x="591" y="876"/>
                    <a:pt x="591" y="876"/>
                    <a:pt x="591" y="876"/>
                  </a:cubicBezTo>
                  <a:cubicBezTo>
                    <a:pt x="591" y="1100"/>
                    <a:pt x="591" y="1100"/>
                    <a:pt x="591" y="1100"/>
                  </a:cubicBezTo>
                  <a:cubicBezTo>
                    <a:pt x="201" y="1489"/>
                    <a:pt x="201" y="1489"/>
                    <a:pt x="201" y="1489"/>
                  </a:cubicBezTo>
                  <a:cubicBezTo>
                    <a:pt x="1393" y="1489"/>
                    <a:pt x="1393" y="1489"/>
                    <a:pt x="1393" y="1489"/>
                  </a:cubicBezTo>
                  <a:cubicBezTo>
                    <a:pt x="1393" y="633"/>
                    <a:pt x="1393" y="633"/>
                    <a:pt x="1393" y="633"/>
                  </a:cubicBezTo>
                  <a:cubicBezTo>
                    <a:pt x="1393" y="284"/>
                    <a:pt x="1109" y="0"/>
                    <a:pt x="76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sp>
          <p:nvSpPr>
            <p:cNvPr id="15" name="Freeform 10">
              <a:extLst>
                <a:ext uri="{FF2B5EF4-FFF2-40B4-BE49-F238E27FC236}">
                  <a16:creationId xmlns:a16="http://schemas.microsoft.com/office/drawing/2014/main" id="{DE0E3848-6AFF-430E-83E0-2E3DE9A8F626}"/>
                </a:ext>
              </a:extLst>
            </p:cNvPr>
            <p:cNvSpPr>
              <a:spLocks/>
            </p:cNvSpPr>
            <p:nvPr/>
          </p:nvSpPr>
          <p:spPr bwMode="auto">
            <a:xfrm>
              <a:off x="4862513" y="3770313"/>
              <a:ext cx="260350" cy="58738"/>
            </a:xfrm>
            <a:custGeom>
              <a:avLst/>
              <a:gdLst>
                <a:gd name="T0" fmla="*/ 0 w 1646"/>
                <a:gd name="T1" fmla="*/ 0 h 372"/>
                <a:gd name="T2" fmla="*/ 0 w 1646"/>
                <a:gd name="T3" fmla="*/ 279 h 372"/>
                <a:gd name="T4" fmla="*/ 93 w 1646"/>
                <a:gd name="T5" fmla="*/ 372 h 372"/>
                <a:gd name="T6" fmla="*/ 1553 w 1646"/>
                <a:gd name="T7" fmla="*/ 372 h 372"/>
                <a:gd name="T8" fmla="*/ 1646 w 1646"/>
                <a:gd name="T9" fmla="*/ 279 h 372"/>
                <a:gd name="T10" fmla="*/ 1646 w 1646"/>
                <a:gd name="T11" fmla="*/ 0 h 372"/>
                <a:gd name="T12" fmla="*/ 0 w 1646"/>
                <a:gd name="T13" fmla="*/ 0 h 372"/>
              </a:gdLst>
              <a:ahLst/>
              <a:cxnLst>
                <a:cxn ang="0">
                  <a:pos x="T0" y="T1"/>
                </a:cxn>
                <a:cxn ang="0">
                  <a:pos x="T2" y="T3"/>
                </a:cxn>
                <a:cxn ang="0">
                  <a:pos x="T4" y="T5"/>
                </a:cxn>
                <a:cxn ang="0">
                  <a:pos x="T6" y="T7"/>
                </a:cxn>
                <a:cxn ang="0">
                  <a:pos x="T8" y="T9"/>
                </a:cxn>
                <a:cxn ang="0">
                  <a:pos x="T10" y="T11"/>
                </a:cxn>
                <a:cxn ang="0">
                  <a:pos x="T12" y="T13"/>
                </a:cxn>
              </a:cxnLst>
              <a:rect l="0" t="0" r="r" b="b"/>
              <a:pathLst>
                <a:path w="1646" h="372">
                  <a:moveTo>
                    <a:pt x="0" y="0"/>
                  </a:moveTo>
                  <a:cubicBezTo>
                    <a:pt x="0" y="279"/>
                    <a:pt x="0" y="279"/>
                    <a:pt x="0" y="279"/>
                  </a:cubicBezTo>
                  <a:cubicBezTo>
                    <a:pt x="0" y="330"/>
                    <a:pt x="42" y="372"/>
                    <a:pt x="93" y="372"/>
                  </a:cubicBezTo>
                  <a:cubicBezTo>
                    <a:pt x="1553" y="372"/>
                    <a:pt x="1553" y="372"/>
                    <a:pt x="1553" y="372"/>
                  </a:cubicBezTo>
                  <a:cubicBezTo>
                    <a:pt x="1604" y="372"/>
                    <a:pt x="1646" y="330"/>
                    <a:pt x="1646" y="279"/>
                  </a:cubicBezTo>
                  <a:cubicBezTo>
                    <a:pt x="1646" y="0"/>
                    <a:pt x="1646" y="0"/>
                    <a:pt x="1646" y="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grpSp>
      <p:sp>
        <p:nvSpPr>
          <p:cNvPr id="16" name="Freeform 14">
            <a:extLst>
              <a:ext uri="{FF2B5EF4-FFF2-40B4-BE49-F238E27FC236}">
                <a16:creationId xmlns:a16="http://schemas.microsoft.com/office/drawing/2014/main" id="{F849AA25-DAB7-4C61-923A-EB993684E2B3}"/>
              </a:ext>
            </a:extLst>
          </p:cNvPr>
          <p:cNvSpPr>
            <a:spLocks noEditPoints="1"/>
          </p:cNvSpPr>
          <p:nvPr/>
        </p:nvSpPr>
        <p:spPr bwMode="auto">
          <a:xfrm>
            <a:off x="7604880" y="4438779"/>
            <a:ext cx="653045" cy="634733"/>
          </a:xfrm>
          <a:custGeom>
            <a:avLst/>
            <a:gdLst>
              <a:gd name="T0" fmla="*/ 2119 w 2125"/>
              <a:gd name="T1" fmla="*/ 400 h 2053"/>
              <a:gd name="T2" fmla="*/ 2061 w 2125"/>
              <a:gd name="T3" fmla="*/ 337 h 2053"/>
              <a:gd name="T4" fmla="*/ 1857 w 2125"/>
              <a:gd name="T5" fmla="*/ 269 h 2053"/>
              <a:gd name="T6" fmla="*/ 1789 w 2125"/>
              <a:gd name="T7" fmla="*/ 64 h 2053"/>
              <a:gd name="T8" fmla="*/ 1726 w 2125"/>
              <a:gd name="T9" fmla="*/ 7 h 2053"/>
              <a:gd name="T10" fmla="*/ 1645 w 2125"/>
              <a:gd name="T11" fmla="*/ 30 h 2053"/>
              <a:gd name="T12" fmla="*/ 1399 w 2125"/>
              <a:gd name="T13" fmla="*/ 276 h 2053"/>
              <a:gd name="T14" fmla="*/ 1378 w 2125"/>
              <a:gd name="T15" fmla="*/ 365 h 2053"/>
              <a:gd name="T16" fmla="*/ 1443 w 2125"/>
              <a:gd name="T17" fmla="*/ 560 h 2053"/>
              <a:gd name="T18" fmla="*/ 1293 w 2125"/>
              <a:gd name="T19" fmla="*/ 710 h 2053"/>
              <a:gd name="T20" fmla="*/ 826 w 2125"/>
              <a:gd name="T21" fmla="*/ 547 h 2053"/>
              <a:gd name="T22" fmla="*/ 293 w 2125"/>
              <a:gd name="T23" fmla="*/ 768 h 2053"/>
              <a:gd name="T24" fmla="*/ 293 w 2125"/>
              <a:gd name="T25" fmla="*/ 1832 h 2053"/>
              <a:gd name="T26" fmla="*/ 826 w 2125"/>
              <a:gd name="T27" fmla="*/ 2053 h 2053"/>
              <a:gd name="T28" fmla="*/ 1358 w 2125"/>
              <a:gd name="T29" fmla="*/ 1832 h 2053"/>
              <a:gd name="T30" fmla="*/ 1416 w 2125"/>
              <a:gd name="T31" fmla="*/ 833 h 2053"/>
              <a:gd name="T32" fmla="*/ 1566 w 2125"/>
              <a:gd name="T33" fmla="*/ 683 h 2053"/>
              <a:gd name="T34" fmla="*/ 1761 w 2125"/>
              <a:gd name="T35" fmla="*/ 748 h 2053"/>
              <a:gd name="T36" fmla="*/ 1788 w 2125"/>
              <a:gd name="T37" fmla="*/ 752 h 2053"/>
              <a:gd name="T38" fmla="*/ 1850 w 2125"/>
              <a:gd name="T39" fmla="*/ 727 h 2053"/>
              <a:gd name="T40" fmla="*/ 2095 w 2125"/>
              <a:gd name="T41" fmla="*/ 481 h 2053"/>
              <a:gd name="T42" fmla="*/ 2119 w 2125"/>
              <a:gd name="T43" fmla="*/ 400 h 2053"/>
              <a:gd name="T44" fmla="*/ 1235 w 2125"/>
              <a:gd name="T45" fmla="*/ 1710 h 2053"/>
              <a:gd name="T46" fmla="*/ 826 w 2125"/>
              <a:gd name="T47" fmla="*/ 1879 h 2053"/>
              <a:gd name="T48" fmla="*/ 416 w 2125"/>
              <a:gd name="T49" fmla="*/ 1710 h 2053"/>
              <a:gd name="T50" fmla="*/ 416 w 2125"/>
              <a:gd name="T51" fmla="*/ 890 h 2053"/>
              <a:gd name="T52" fmla="*/ 826 w 2125"/>
              <a:gd name="T53" fmla="*/ 721 h 2053"/>
              <a:gd name="T54" fmla="*/ 1169 w 2125"/>
              <a:gd name="T55" fmla="*/ 834 h 2053"/>
              <a:gd name="T56" fmla="*/ 1044 w 2125"/>
              <a:gd name="T57" fmla="*/ 959 h 2053"/>
              <a:gd name="T58" fmla="*/ 826 w 2125"/>
              <a:gd name="T59" fmla="*/ 895 h 2053"/>
              <a:gd name="T60" fmla="*/ 539 w 2125"/>
              <a:gd name="T61" fmla="*/ 1013 h 2053"/>
              <a:gd name="T62" fmla="*/ 420 w 2125"/>
              <a:gd name="T63" fmla="*/ 1300 h 2053"/>
              <a:gd name="T64" fmla="*/ 539 w 2125"/>
              <a:gd name="T65" fmla="*/ 1587 h 2053"/>
              <a:gd name="T66" fmla="*/ 826 w 2125"/>
              <a:gd name="T67" fmla="*/ 1705 h 2053"/>
              <a:gd name="T68" fmla="*/ 1112 w 2125"/>
              <a:gd name="T69" fmla="*/ 1587 h 2053"/>
              <a:gd name="T70" fmla="*/ 1167 w 2125"/>
              <a:gd name="T71" fmla="*/ 1081 h 2053"/>
              <a:gd name="T72" fmla="*/ 1292 w 2125"/>
              <a:gd name="T73" fmla="*/ 957 h 2053"/>
              <a:gd name="T74" fmla="*/ 1235 w 2125"/>
              <a:gd name="T75" fmla="*/ 1710 h 2053"/>
              <a:gd name="T76" fmla="*/ 764 w 2125"/>
              <a:gd name="T77" fmla="*/ 1361 h 2053"/>
              <a:gd name="T78" fmla="*/ 826 w 2125"/>
              <a:gd name="T79" fmla="*/ 1387 h 2053"/>
              <a:gd name="T80" fmla="*/ 887 w 2125"/>
              <a:gd name="T81" fmla="*/ 1361 h 2053"/>
              <a:gd name="T82" fmla="*/ 1039 w 2125"/>
              <a:gd name="T83" fmla="*/ 1210 h 2053"/>
              <a:gd name="T84" fmla="*/ 990 w 2125"/>
              <a:gd name="T85" fmla="*/ 1464 h 2053"/>
              <a:gd name="T86" fmla="*/ 826 w 2125"/>
              <a:gd name="T87" fmla="*/ 1532 h 2053"/>
              <a:gd name="T88" fmla="*/ 662 w 2125"/>
              <a:gd name="T89" fmla="*/ 1464 h 2053"/>
              <a:gd name="T90" fmla="*/ 594 w 2125"/>
              <a:gd name="T91" fmla="*/ 1300 h 2053"/>
              <a:gd name="T92" fmla="*/ 662 w 2125"/>
              <a:gd name="T93" fmla="*/ 1136 h 2053"/>
              <a:gd name="T94" fmla="*/ 826 w 2125"/>
              <a:gd name="T95" fmla="*/ 1068 h 2053"/>
              <a:gd name="T96" fmla="*/ 916 w 2125"/>
              <a:gd name="T97" fmla="*/ 1087 h 2053"/>
              <a:gd name="T98" fmla="*/ 764 w 2125"/>
              <a:gd name="T99" fmla="*/ 1239 h 2053"/>
              <a:gd name="T100" fmla="*/ 764 w 2125"/>
              <a:gd name="T101" fmla="*/ 1361 h 20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125" h="2053">
                <a:moveTo>
                  <a:pt x="2119" y="400"/>
                </a:moveTo>
                <a:cubicBezTo>
                  <a:pt x="2112" y="370"/>
                  <a:pt x="2090" y="347"/>
                  <a:pt x="2061" y="337"/>
                </a:cubicBezTo>
                <a:cubicBezTo>
                  <a:pt x="1857" y="269"/>
                  <a:pt x="1857" y="269"/>
                  <a:pt x="1857" y="269"/>
                </a:cubicBezTo>
                <a:cubicBezTo>
                  <a:pt x="1789" y="64"/>
                  <a:pt x="1789" y="64"/>
                  <a:pt x="1789" y="64"/>
                </a:cubicBezTo>
                <a:cubicBezTo>
                  <a:pt x="1779" y="36"/>
                  <a:pt x="1756" y="14"/>
                  <a:pt x="1726" y="7"/>
                </a:cubicBezTo>
                <a:cubicBezTo>
                  <a:pt x="1697" y="0"/>
                  <a:pt x="1666" y="9"/>
                  <a:pt x="1645" y="30"/>
                </a:cubicBezTo>
                <a:cubicBezTo>
                  <a:pt x="1399" y="276"/>
                  <a:pt x="1399" y="276"/>
                  <a:pt x="1399" y="276"/>
                </a:cubicBezTo>
                <a:cubicBezTo>
                  <a:pt x="1376" y="299"/>
                  <a:pt x="1368" y="334"/>
                  <a:pt x="1378" y="365"/>
                </a:cubicBezTo>
                <a:cubicBezTo>
                  <a:pt x="1443" y="560"/>
                  <a:pt x="1443" y="560"/>
                  <a:pt x="1443" y="560"/>
                </a:cubicBezTo>
                <a:cubicBezTo>
                  <a:pt x="1293" y="710"/>
                  <a:pt x="1293" y="710"/>
                  <a:pt x="1293" y="710"/>
                </a:cubicBezTo>
                <a:cubicBezTo>
                  <a:pt x="1161" y="604"/>
                  <a:pt x="998" y="547"/>
                  <a:pt x="826" y="547"/>
                </a:cubicBezTo>
                <a:cubicBezTo>
                  <a:pt x="625" y="547"/>
                  <a:pt x="436" y="625"/>
                  <a:pt x="293" y="768"/>
                </a:cubicBezTo>
                <a:cubicBezTo>
                  <a:pt x="0" y="1061"/>
                  <a:pt x="0" y="1539"/>
                  <a:pt x="293" y="1832"/>
                </a:cubicBezTo>
                <a:cubicBezTo>
                  <a:pt x="436" y="1975"/>
                  <a:pt x="625" y="2053"/>
                  <a:pt x="826" y="2053"/>
                </a:cubicBezTo>
                <a:cubicBezTo>
                  <a:pt x="1027" y="2053"/>
                  <a:pt x="1216" y="1975"/>
                  <a:pt x="1358" y="1832"/>
                </a:cubicBezTo>
                <a:cubicBezTo>
                  <a:pt x="1631" y="1560"/>
                  <a:pt x="1650" y="1128"/>
                  <a:pt x="1416" y="833"/>
                </a:cubicBezTo>
                <a:cubicBezTo>
                  <a:pt x="1566" y="683"/>
                  <a:pt x="1566" y="683"/>
                  <a:pt x="1566" y="683"/>
                </a:cubicBezTo>
                <a:cubicBezTo>
                  <a:pt x="1761" y="748"/>
                  <a:pt x="1761" y="748"/>
                  <a:pt x="1761" y="748"/>
                </a:cubicBezTo>
                <a:cubicBezTo>
                  <a:pt x="1770" y="751"/>
                  <a:pt x="1779" y="752"/>
                  <a:pt x="1788" y="752"/>
                </a:cubicBezTo>
                <a:cubicBezTo>
                  <a:pt x="1811" y="752"/>
                  <a:pt x="1833" y="743"/>
                  <a:pt x="1850" y="727"/>
                </a:cubicBezTo>
                <a:cubicBezTo>
                  <a:pt x="2095" y="481"/>
                  <a:pt x="2095" y="481"/>
                  <a:pt x="2095" y="481"/>
                </a:cubicBezTo>
                <a:cubicBezTo>
                  <a:pt x="2117" y="460"/>
                  <a:pt x="2125" y="429"/>
                  <a:pt x="2119" y="400"/>
                </a:cubicBezTo>
                <a:close/>
                <a:moveTo>
                  <a:pt x="1235" y="1710"/>
                </a:moveTo>
                <a:cubicBezTo>
                  <a:pt x="1126" y="1819"/>
                  <a:pt x="980" y="1879"/>
                  <a:pt x="826" y="1879"/>
                </a:cubicBezTo>
                <a:cubicBezTo>
                  <a:pt x="671" y="1879"/>
                  <a:pt x="526" y="1819"/>
                  <a:pt x="416" y="1710"/>
                </a:cubicBezTo>
                <a:cubicBezTo>
                  <a:pt x="190" y="1484"/>
                  <a:pt x="190" y="1116"/>
                  <a:pt x="416" y="890"/>
                </a:cubicBezTo>
                <a:cubicBezTo>
                  <a:pt x="526" y="781"/>
                  <a:pt x="671" y="721"/>
                  <a:pt x="826" y="721"/>
                </a:cubicBezTo>
                <a:cubicBezTo>
                  <a:pt x="951" y="721"/>
                  <a:pt x="1070" y="760"/>
                  <a:pt x="1169" y="834"/>
                </a:cubicBezTo>
                <a:cubicBezTo>
                  <a:pt x="1044" y="959"/>
                  <a:pt x="1044" y="959"/>
                  <a:pt x="1044" y="959"/>
                </a:cubicBezTo>
                <a:cubicBezTo>
                  <a:pt x="980" y="917"/>
                  <a:pt x="904" y="895"/>
                  <a:pt x="826" y="895"/>
                </a:cubicBezTo>
                <a:cubicBezTo>
                  <a:pt x="717" y="895"/>
                  <a:pt x="616" y="937"/>
                  <a:pt x="539" y="1013"/>
                </a:cubicBezTo>
                <a:cubicBezTo>
                  <a:pt x="463" y="1090"/>
                  <a:pt x="420" y="1192"/>
                  <a:pt x="420" y="1300"/>
                </a:cubicBezTo>
                <a:cubicBezTo>
                  <a:pt x="420" y="1408"/>
                  <a:pt x="463" y="1510"/>
                  <a:pt x="539" y="1587"/>
                </a:cubicBezTo>
                <a:cubicBezTo>
                  <a:pt x="616" y="1663"/>
                  <a:pt x="717" y="1705"/>
                  <a:pt x="826" y="1705"/>
                </a:cubicBezTo>
                <a:cubicBezTo>
                  <a:pt x="934" y="1705"/>
                  <a:pt x="1036" y="1663"/>
                  <a:pt x="1112" y="1587"/>
                </a:cubicBezTo>
                <a:cubicBezTo>
                  <a:pt x="1249" y="1450"/>
                  <a:pt x="1268" y="1238"/>
                  <a:pt x="1167" y="1081"/>
                </a:cubicBezTo>
                <a:cubicBezTo>
                  <a:pt x="1292" y="957"/>
                  <a:pt x="1292" y="957"/>
                  <a:pt x="1292" y="957"/>
                </a:cubicBezTo>
                <a:cubicBezTo>
                  <a:pt x="1459" y="1183"/>
                  <a:pt x="1440" y="1505"/>
                  <a:pt x="1235" y="1710"/>
                </a:cubicBezTo>
                <a:close/>
                <a:moveTo>
                  <a:pt x="764" y="1361"/>
                </a:moveTo>
                <a:cubicBezTo>
                  <a:pt x="781" y="1378"/>
                  <a:pt x="804" y="1387"/>
                  <a:pt x="826" y="1387"/>
                </a:cubicBezTo>
                <a:cubicBezTo>
                  <a:pt x="848" y="1387"/>
                  <a:pt x="870" y="1378"/>
                  <a:pt x="887" y="1361"/>
                </a:cubicBezTo>
                <a:cubicBezTo>
                  <a:pt x="1039" y="1210"/>
                  <a:pt x="1039" y="1210"/>
                  <a:pt x="1039" y="1210"/>
                </a:cubicBezTo>
                <a:cubicBezTo>
                  <a:pt x="1075" y="1294"/>
                  <a:pt x="1058" y="1395"/>
                  <a:pt x="990" y="1464"/>
                </a:cubicBezTo>
                <a:cubicBezTo>
                  <a:pt x="946" y="1508"/>
                  <a:pt x="888" y="1532"/>
                  <a:pt x="826" y="1532"/>
                </a:cubicBezTo>
                <a:cubicBezTo>
                  <a:pt x="764" y="1532"/>
                  <a:pt x="706" y="1508"/>
                  <a:pt x="662" y="1464"/>
                </a:cubicBezTo>
                <a:cubicBezTo>
                  <a:pt x="618" y="1420"/>
                  <a:pt x="594" y="1362"/>
                  <a:pt x="594" y="1300"/>
                </a:cubicBezTo>
                <a:cubicBezTo>
                  <a:pt x="594" y="1238"/>
                  <a:pt x="618" y="1180"/>
                  <a:pt x="662" y="1136"/>
                </a:cubicBezTo>
                <a:cubicBezTo>
                  <a:pt x="706" y="1092"/>
                  <a:pt x="764" y="1068"/>
                  <a:pt x="826" y="1068"/>
                </a:cubicBezTo>
                <a:cubicBezTo>
                  <a:pt x="857" y="1068"/>
                  <a:pt x="888" y="1075"/>
                  <a:pt x="916" y="1087"/>
                </a:cubicBezTo>
                <a:cubicBezTo>
                  <a:pt x="764" y="1239"/>
                  <a:pt x="764" y="1239"/>
                  <a:pt x="764" y="1239"/>
                </a:cubicBezTo>
                <a:cubicBezTo>
                  <a:pt x="730" y="1273"/>
                  <a:pt x="730" y="1328"/>
                  <a:pt x="764" y="1361"/>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grpSp>
        <p:nvGrpSpPr>
          <p:cNvPr id="17" name="Group 49">
            <a:extLst>
              <a:ext uri="{FF2B5EF4-FFF2-40B4-BE49-F238E27FC236}">
                <a16:creationId xmlns:a16="http://schemas.microsoft.com/office/drawing/2014/main" id="{22DA1902-3AE0-4B8E-8758-F00F36CE21BB}"/>
              </a:ext>
            </a:extLst>
          </p:cNvPr>
          <p:cNvGrpSpPr/>
          <p:nvPr/>
        </p:nvGrpSpPr>
        <p:grpSpPr>
          <a:xfrm>
            <a:off x="9522507" y="2756294"/>
            <a:ext cx="487017" cy="484727"/>
            <a:chOff x="9682163" y="3494088"/>
            <a:chExt cx="338137" cy="336551"/>
          </a:xfrm>
          <a:solidFill>
            <a:srgbClr val="FFFFFF"/>
          </a:solidFill>
        </p:grpSpPr>
        <p:sp>
          <p:nvSpPr>
            <p:cNvPr id="18" name="Rectangle 18">
              <a:extLst>
                <a:ext uri="{FF2B5EF4-FFF2-40B4-BE49-F238E27FC236}">
                  <a16:creationId xmlns:a16="http://schemas.microsoft.com/office/drawing/2014/main" id="{48FB4CF1-4C16-4564-824D-B89D26766DA7}"/>
                </a:ext>
              </a:extLst>
            </p:cNvPr>
            <p:cNvSpPr>
              <a:spLocks noChangeArrowheads="1"/>
            </p:cNvSpPr>
            <p:nvPr/>
          </p:nvSpPr>
          <p:spPr bwMode="auto">
            <a:xfrm>
              <a:off x="9836150" y="3687763"/>
              <a:ext cx="30162" cy="301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sp>
          <p:nvSpPr>
            <p:cNvPr id="19" name="Freeform 19">
              <a:extLst>
                <a:ext uri="{FF2B5EF4-FFF2-40B4-BE49-F238E27FC236}">
                  <a16:creationId xmlns:a16="http://schemas.microsoft.com/office/drawing/2014/main" id="{3E10A3ED-E730-4C55-9CD4-F3C9E19437FB}"/>
                </a:ext>
              </a:extLst>
            </p:cNvPr>
            <p:cNvSpPr>
              <a:spLocks noEditPoints="1"/>
            </p:cNvSpPr>
            <p:nvPr/>
          </p:nvSpPr>
          <p:spPr bwMode="auto">
            <a:xfrm>
              <a:off x="9682163" y="3494088"/>
              <a:ext cx="338137" cy="163513"/>
            </a:xfrm>
            <a:custGeom>
              <a:avLst/>
              <a:gdLst>
                <a:gd name="T0" fmla="*/ 1955 w 2048"/>
                <a:gd name="T1" fmla="*/ 372 h 993"/>
                <a:gd name="T2" fmla="*/ 1427 w 2048"/>
                <a:gd name="T3" fmla="*/ 372 h 993"/>
                <a:gd name="T4" fmla="*/ 1427 w 2048"/>
                <a:gd name="T5" fmla="*/ 93 h 993"/>
                <a:gd name="T6" fmla="*/ 1334 w 2048"/>
                <a:gd name="T7" fmla="*/ 0 h 993"/>
                <a:gd name="T8" fmla="*/ 714 w 2048"/>
                <a:gd name="T9" fmla="*/ 0 h 993"/>
                <a:gd name="T10" fmla="*/ 621 w 2048"/>
                <a:gd name="T11" fmla="*/ 93 h 993"/>
                <a:gd name="T12" fmla="*/ 621 w 2048"/>
                <a:gd name="T13" fmla="*/ 372 h 993"/>
                <a:gd name="T14" fmla="*/ 93 w 2048"/>
                <a:gd name="T15" fmla="*/ 372 h 993"/>
                <a:gd name="T16" fmla="*/ 0 w 2048"/>
                <a:gd name="T17" fmla="*/ 465 h 993"/>
                <a:gd name="T18" fmla="*/ 0 w 2048"/>
                <a:gd name="T19" fmla="*/ 781 h 993"/>
                <a:gd name="T20" fmla="*/ 93 w 2048"/>
                <a:gd name="T21" fmla="*/ 804 h 993"/>
                <a:gd name="T22" fmla="*/ 186 w 2048"/>
                <a:gd name="T23" fmla="*/ 827 h 993"/>
                <a:gd name="T24" fmla="*/ 849 w 2048"/>
                <a:gd name="T25" fmla="*/ 993 h 993"/>
                <a:gd name="T26" fmla="*/ 1199 w 2048"/>
                <a:gd name="T27" fmla="*/ 993 h 993"/>
                <a:gd name="T28" fmla="*/ 1862 w 2048"/>
                <a:gd name="T29" fmla="*/ 827 h 993"/>
                <a:gd name="T30" fmla="*/ 1955 w 2048"/>
                <a:gd name="T31" fmla="*/ 804 h 993"/>
                <a:gd name="T32" fmla="*/ 2048 w 2048"/>
                <a:gd name="T33" fmla="*/ 781 h 993"/>
                <a:gd name="T34" fmla="*/ 2048 w 2048"/>
                <a:gd name="T35" fmla="*/ 465 h 993"/>
                <a:gd name="T36" fmla="*/ 1955 w 2048"/>
                <a:gd name="T37" fmla="*/ 372 h 993"/>
                <a:gd name="T38" fmla="*/ 1241 w 2048"/>
                <a:gd name="T39" fmla="*/ 372 h 993"/>
                <a:gd name="T40" fmla="*/ 807 w 2048"/>
                <a:gd name="T41" fmla="*/ 372 h 993"/>
                <a:gd name="T42" fmla="*/ 807 w 2048"/>
                <a:gd name="T43" fmla="*/ 186 h 993"/>
                <a:gd name="T44" fmla="*/ 1241 w 2048"/>
                <a:gd name="T45" fmla="*/ 186 h 993"/>
                <a:gd name="T46" fmla="*/ 1241 w 2048"/>
                <a:gd name="T47" fmla="*/ 372 h 9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048" h="993">
                  <a:moveTo>
                    <a:pt x="1955" y="372"/>
                  </a:moveTo>
                  <a:cubicBezTo>
                    <a:pt x="1427" y="372"/>
                    <a:pt x="1427" y="372"/>
                    <a:pt x="1427" y="372"/>
                  </a:cubicBezTo>
                  <a:cubicBezTo>
                    <a:pt x="1427" y="93"/>
                    <a:pt x="1427" y="93"/>
                    <a:pt x="1427" y="93"/>
                  </a:cubicBezTo>
                  <a:cubicBezTo>
                    <a:pt x="1427" y="42"/>
                    <a:pt x="1386" y="0"/>
                    <a:pt x="1334" y="0"/>
                  </a:cubicBezTo>
                  <a:cubicBezTo>
                    <a:pt x="714" y="0"/>
                    <a:pt x="714" y="0"/>
                    <a:pt x="714" y="0"/>
                  </a:cubicBezTo>
                  <a:cubicBezTo>
                    <a:pt x="662" y="0"/>
                    <a:pt x="621" y="42"/>
                    <a:pt x="621" y="93"/>
                  </a:cubicBezTo>
                  <a:cubicBezTo>
                    <a:pt x="621" y="372"/>
                    <a:pt x="621" y="372"/>
                    <a:pt x="621" y="372"/>
                  </a:cubicBezTo>
                  <a:cubicBezTo>
                    <a:pt x="93" y="372"/>
                    <a:pt x="93" y="372"/>
                    <a:pt x="93" y="372"/>
                  </a:cubicBezTo>
                  <a:cubicBezTo>
                    <a:pt x="42" y="372"/>
                    <a:pt x="0" y="414"/>
                    <a:pt x="0" y="465"/>
                  </a:cubicBezTo>
                  <a:cubicBezTo>
                    <a:pt x="0" y="781"/>
                    <a:pt x="0" y="781"/>
                    <a:pt x="0" y="781"/>
                  </a:cubicBezTo>
                  <a:cubicBezTo>
                    <a:pt x="93" y="804"/>
                    <a:pt x="93" y="804"/>
                    <a:pt x="93" y="804"/>
                  </a:cubicBezTo>
                  <a:cubicBezTo>
                    <a:pt x="186" y="827"/>
                    <a:pt x="186" y="827"/>
                    <a:pt x="186" y="827"/>
                  </a:cubicBezTo>
                  <a:cubicBezTo>
                    <a:pt x="849" y="993"/>
                    <a:pt x="849" y="993"/>
                    <a:pt x="849" y="993"/>
                  </a:cubicBezTo>
                  <a:cubicBezTo>
                    <a:pt x="1199" y="993"/>
                    <a:pt x="1199" y="993"/>
                    <a:pt x="1199" y="993"/>
                  </a:cubicBezTo>
                  <a:cubicBezTo>
                    <a:pt x="1862" y="827"/>
                    <a:pt x="1862" y="827"/>
                    <a:pt x="1862" y="827"/>
                  </a:cubicBezTo>
                  <a:cubicBezTo>
                    <a:pt x="1955" y="804"/>
                    <a:pt x="1955" y="804"/>
                    <a:pt x="1955" y="804"/>
                  </a:cubicBezTo>
                  <a:cubicBezTo>
                    <a:pt x="2048" y="781"/>
                    <a:pt x="2048" y="781"/>
                    <a:pt x="2048" y="781"/>
                  </a:cubicBezTo>
                  <a:cubicBezTo>
                    <a:pt x="2048" y="465"/>
                    <a:pt x="2048" y="465"/>
                    <a:pt x="2048" y="465"/>
                  </a:cubicBezTo>
                  <a:cubicBezTo>
                    <a:pt x="2048" y="414"/>
                    <a:pt x="2006" y="372"/>
                    <a:pt x="1955" y="372"/>
                  </a:cubicBezTo>
                  <a:close/>
                  <a:moveTo>
                    <a:pt x="1241" y="372"/>
                  </a:moveTo>
                  <a:cubicBezTo>
                    <a:pt x="807" y="372"/>
                    <a:pt x="807" y="372"/>
                    <a:pt x="807" y="372"/>
                  </a:cubicBezTo>
                  <a:cubicBezTo>
                    <a:pt x="807" y="186"/>
                    <a:pt x="807" y="186"/>
                    <a:pt x="807" y="186"/>
                  </a:cubicBezTo>
                  <a:cubicBezTo>
                    <a:pt x="1241" y="186"/>
                    <a:pt x="1241" y="186"/>
                    <a:pt x="1241" y="186"/>
                  </a:cubicBezTo>
                  <a:lnTo>
                    <a:pt x="1241" y="3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sp>
          <p:nvSpPr>
            <p:cNvPr id="20" name="Freeform 20">
              <a:extLst>
                <a:ext uri="{FF2B5EF4-FFF2-40B4-BE49-F238E27FC236}">
                  <a16:creationId xmlns:a16="http://schemas.microsoft.com/office/drawing/2014/main" id="{B4B1F123-AC19-4506-B75C-4C5C9888DA28}"/>
                </a:ext>
              </a:extLst>
            </p:cNvPr>
            <p:cNvSpPr>
              <a:spLocks/>
            </p:cNvSpPr>
            <p:nvPr/>
          </p:nvSpPr>
          <p:spPr bwMode="auto">
            <a:xfrm>
              <a:off x="9682163" y="3654426"/>
              <a:ext cx="338137" cy="176213"/>
            </a:xfrm>
            <a:custGeom>
              <a:avLst/>
              <a:gdLst>
                <a:gd name="T0" fmla="*/ 1955 w 2048"/>
                <a:gd name="T1" fmla="*/ 23 h 1075"/>
                <a:gd name="T2" fmla="*/ 1862 w 2048"/>
                <a:gd name="T3" fmla="*/ 46 h 1075"/>
                <a:gd name="T4" fmla="*/ 1303 w 2048"/>
                <a:gd name="T5" fmla="*/ 186 h 1075"/>
                <a:gd name="T6" fmla="*/ 1303 w 2048"/>
                <a:gd name="T7" fmla="*/ 485 h 1075"/>
                <a:gd name="T8" fmla="*/ 1210 w 2048"/>
                <a:gd name="T9" fmla="*/ 579 h 1075"/>
                <a:gd name="T10" fmla="*/ 838 w 2048"/>
                <a:gd name="T11" fmla="*/ 579 h 1075"/>
                <a:gd name="T12" fmla="*/ 745 w 2048"/>
                <a:gd name="T13" fmla="*/ 485 h 1075"/>
                <a:gd name="T14" fmla="*/ 745 w 2048"/>
                <a:gd name="T15" fmla="*/ 186 h 1075"/>
                <a:gd name="T16" fmla="*/ 186 w 2048"/>
                <a:gd name="T17" fmla="*/ 46 h 1075"/>
                <a:gd name="T18" fmla="*/ 93 w 2048"/>
                <a:gd name="T19" fmla="*/ 23 h 1075"/>
                <a:gd name="T20" fmla="*/ 0 w 2048"/>
                <a:gd name="T21" fmla="*/ 0 h 1075"/>
                <a:gd name="T22" fmla="*/ 0 w 2048"/>
                <a:gd name="T23" fmla="*/ 982 h 1075"/>
                <a:gd name="T24" fmla="*/ 93 w 2048"/>
                <a:gd name="T25" fmla="*/ 1075 h 1075"/>
                <a:gd name="T26" fmla="*/ 1955 w 2048"/>
                <a:gd name="T27" fmla="*/ 1075 h 1075"/>
                <a:gd name="T28" fmla="*/ 2048 w 2048"/>
                <a:gd name="T29" fmla="*/ 982 h 1075"/>
                <a:gd name="T30" fmla="*/ 2048 w 2048"/>
                <a:gd name="T31" fmla="*/ 0 h 1075"/>
                <a:gd name="T32" fmla="*/ 1955 w 2048"/>
                <a:gd name="T33" fmla="*/ 23 h 10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48" h="1075">
                  <a:moveTo>
                    <a:pt x="1955" y="23"/>
                  </a:moveTo>
                  <a:cubicBezTo>
                    <a:pt x="1862" y="46"/>
                    <a:pt x="1862" y="46"/>
                    <a:pt x="1862" y="46"/>
                  </a:cubicBezTo>
                  <a:cubicBezTo>
                    <a:pt x="1303" y="186"/>
                    <a:pt x="1303" y="186"/>
                    <a:pt x="1303" y="186"/>
                  </a:cubicBezTo>
                  <a:cubicBezTo>
                    <a:pt x="1303" y="485"/>
                    <a:pt x="1303" y="485"/>
                    <a:pt x="1303" y="485"/>
                  </a:cubicBezTo>
                  <a:cubicBezTo>
                    <a:pt x="1303" y="537"/>
                    <a:pt x="1262" y="579"/>
                    <a:pt x="1210" y="579"/>
                  </a:cubicBezTo>
                  <a:cubicBezTo>
                    <a:pt x="838" y="579"/>
                    <a:pt x="838" y="579"/>
                    <a:pt x="838" y="579"/>
                  </a:cubicBezTo>
                  <a:cubicBezTo>
                    <a:pt x="786" y="579"/>
                    <a:pt x="745" y="537"/>
                    <a:pt x="745" y="485"/>
                  </a:cubicBezTo>
                  <a:cubicBezTo>
                    <a:pt x="745" y="186"/>
                    <a:pt x="745" y="186"/>
                    <a:pt x="745" y="186"/>
                  </a:cubicBezTo>
                  <a:cubicBezTo>
                    <a:pt x="186" y="46"/>
                    <a:pt x="186" y="46"/>
                    <a:pt x="186" y="46"/>
                  </a:cubicBezTo>
                  <a:cubicBezTo>
                    <a:pt x="93" y="23"/>
                    <a:pt x="93" y="23"/>
                    <a:pt x="93" y="23"/>
                  </a:cubicBezTo>
                  <a:cubicBezTo>
                    <a:pt x="0" y="0"/>
                    <a:pt x="0" y="0"/>
                    <a:pt x="0" y="0"/>
                  </a:cubicBezTo>
                  <a:cubicBezTo>
                    <a:pt x="0" y="982"/>
                    <a:pt x="0" y="982"/>
                    <a:pt x="0" y="982"/>
                  </a:cubicBezTo>
                  <a:cubicBezTo>
                    <a:pt x="0" y="1033"/>
                    <a:pt x="42" y="1075"/>
                    <a:pt x="93" y="1075"/>
                  </a:cubicBezTo>
                  <a:cubicBezTo>
                    <a:pt x="1955" y="1075"/>
                    <a:pt x="1955" y="1075"/>
                    <a:pt x="1955" y="1075"/>
                  </a:cubicBezTo>
                  <a:cubicBezTo>
                    <a:pt x="2006" y="1075"/>
                    <a:pt x="2048" y="1033"/>
                    <a:pt x="2048" y="982"/>
                  </a:cubicBezTo>
                  <a:cubicBezTo>
                    <a:pt x="2048" y="0"/>
                    <a:pt x="2048" y="0"/>
                    <a:pt x="2048" y="0"/>
                  </a:cubicBezTo>
                  <a:lnTo>
                    <a:pt x="1955" y="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Open Sans"/>
                <a:ea typeface="+mn-ea"/>
                <a:cs typeface="+mn-cs"/>
              </a:endParaRPr>
            </a:p>
          </p:txBody>
        </p:sp>
      </p:grpSp>
      <p:grpSp>
        <p:nvGrpSpPr>
          <p:cNvPr id="21" name="Group 57">
            <a:extLst>
              <a:ext uri="{FF2B5EF4-FFF2-40B4-BE49-F238E27FC236}">
                <a16:creationId xmlns:a16="http://schemas.microsoft.com/office/drawing/2014/main" id="{91B9D638-BFE2-4CDE-8423-97B13C380AE4}"/>
              </a:ext>
            </a:extLst>
          </p:cNvPr>
          <p:cNvGrpSpPr/>
          <p:nvPr/>
        </p:nvGrpSpPr>
        <p:grpSpPr>
          <a:xfrm>
            <a:off x="4056502" y="4483562"/>
            <a:ext cx="531683" cy="587224"/>
            <a:chOff x="5153025" y="2384426"/>
            <a:chExt cx="1884363" cy="2081213"/>
          </a:xfrm>
          <a:solidFill>
            <a:srgbClr val="FFFFFF"/>
          </a:solidFill>
        </p:grpSpPr>
        <p:sp>
          <p:nvSpPr>
            <p:cNvPr id="22" name="Freeform 5">
              <a:extLst>
                <a:ext uri="{FF2B5EF4-FFF2-40B4-BE49-F238E27FC236}">
                  <a16:creationId xmlns:a16="http://schemas.microsoft.com/office/drawing/2014/main" id="{D02CAFC5-C752-4B61-A80D-8CB56725A4E3}"/>
                </a:ext>
              </a:extLst>
            </p:cNvPr>
            <p:cNvSpPr>
              <a:spLocks/>
            </p:cNvSpPr>
            <p:nvPr/>
          </p:nvSpPr>
          <p:spPr bwMode="auto">
            <a:xfrm>
              <a:off x="5529263" y="2384426"/>
              <a:ext cx="377825" cy="763588"/>
            </a:xfrm>
            <a:custGeom>
              <a:avLst/>
              <a:gdLst>
                <a:gd name="T0" fmla="*/ 252 w 373"/>
                <a:gd name="T1" fmla="*/ 409 h 754"/>
                <a:gd name="T2" fmla="*/ 187 w 373"/>
                <a:gd name="T3" fmla="*/ 288 h 754"/>
                <a:gd name="T4" fmla="*/ 252 w 373"/>
                <a:gd name="T5" fmla="*/ 168 h 754"/>
                <a:gd name="T6" fmla="*/ 252 w 373"/>
                <a:gd name="T7" fmla="*/ 36 h 754"/>
                <a:gd name="T8" fmla="*/ 121 w 373"/>
                <a:gd name="T9" fmla="*/ 36 h 754"/>
                <a:gd name="T10" fmla="*/ 0 w 373"/>
                <a:gd name="T11" fmla="*/ 288 h 754"/>
                <a:gd name="T12" fmla="*/ 121 w 373"/>
                <a:gd name="T13" fmla="*/ 540 h 754"/>
                <a:gd name="T14" fmla="*/ 187 w 373"/>
                <a:gd name="T15" fmla="*/ 661 h 754"/>
                <a:gd name="T16" fmla="*/ 280 w 373"/>
                <a:gd name="T17" fmla="*/ 754 h 754"/>
                <a:gd name="T18" fmla="*/ 373 w 373"/>
                <a:gd name="T19" fmla="*/ 661 h 754"/>
                <a:gd name="T20" fmla="*/ 252 w 373"/>
                <a:gd name="T21" fmla="*/ 409 h 7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3" h="754">
                  <a:moveTo>
                    <a:pt x="252" y="409"/>
                  </a:moveTo>
                  <a:cubicBezTo>
                    <a:pt x="207" y="363"/>
                    <a:pt x="187" y="341"/>
                    <a:pt x="187" y="288"/>
                  </a:cubicBezTo>
                  <a:cubicBezTo>
                    <a:pt x="187" y="236"/>
                    <a:pt x="207" y="214"/>
                    <a:pt x="252" y="168"/>
                  </a:cubicBezTo>
                  <a:cubicBezTo>
                    <a:pt x="289" y="132"/>
                    <a:pt x="289" y="73"/>
                    <a:pt x="252" y="36"/>
                  </a:cubicBezTo>
                  <a:cubicBezTo>
                    <a:pt x="216" y="0"/>
                    <a:pt x="157" y="0"/>
                    <a:pt x="121" y="36"/>
                  </a:cubicBezTo>
                  <a:cubicBezTo>
                    <a:pt x="70" y="87"/>
                    <a:pt x="0" y="157"/>
                    <a:pt x="0" y="288"/>
                  </a:cubicBezTo>
                  <a:cubicBezTo>
                    <a:pt x="0" y="420"/>
                    <a:pt x="70" y="489"/>
                    <a:pt x="121" y="540"/>
                  </a:cubicBezTo>
                  <a:cubicBezTo>
                    <a:pt x="166" y="586"/>
                    <a:pt x="187" y="608"/>
                    <a:pt x="187" y="661"/>
                  </a:cubicBezTo>
                  <a:cubicBezTo>
                    <a:pt x="187" y="712"/>
                    <a:pt x="228" y="754"/>
                    <a:pt x="280" y="754"/>
                  </a:cubicBezTo>
                  <a:cubicBezTo>
                    <a:pt x="331" y="754"/>
                    <a:pt x="373" y="712"/>
                    <a:pt x="373" y="661"/>
                  </a:cubicBezTo>
                  <a:cubicBezTo>
                    <a:pt x="373" y="529"/>
                    <a:pt x="303" y="459"/>
                    <a:pt x="252" y="40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sp>
          <p:nvSpPr>
            <p:cNvPr id="23" name="Freeform 6">
              <a:extLst>
                <a:ext uri="{FF2B5EF4-FFF2-40B4-BE49-F238E27FC236}">
                  <a16:creationId xmlns:a16="http://schemas.microsoft.com/office/drawing/2014/main" id="{C368E8F1-5CA4-4992-92F7-A3EDFFDEBCE1}"/>
                </a:ext>
              </a:extLst>
            </p:cNvPr>
            <p:cNvSpPr>
              <a:spLocks/>
            </p:cNvSpPr>
            <p:nvPr/>
          </p:nvSpPr>
          <p:spPr bwMode="auto">
            <a:xfrm>
              <a:off x="5970588" y="2384426"/>
              <a:ext cx="376238" cy="763588"/>
            </a:xfrm>
            <a:custGeom>
              <a:avLst/>
              <a:gdLst>
                <a:gd name="T0" fmla="*/ 252 w 372"/>
                <a:gd name="T1" fmla="*/ 409 h 754"/>
                <a:gd name="T2" fmla="*/ 186 w 372"/>
                <a:gd name="T3" fmla="*/ 288 h 754"/>
                <a:gd name="T4" fmla="*/ 252 w 372"/>
                <a:gd name="T5" fmla="*/ 168 h 754"/>
                <a:gd name="T6" fmla="*/ 252 w 372"/>
                <a:gd name="T7" fmla="*/ 36 h 754"/>
                <a:gd name="T8" fmla="*/ 120 w 372"/>
                <a:gd name="T9" fmla="*/ 36 h 754"/>
                <a:gd name="T10" fmla="*/ 0 w 372"/>
                <a:gd name="T11" fmla="*/ 288 h 754"/>
                <a:gd name="T12" fmla="*/ 120 w 372"/>
                <a:gd name="T13" fmla="*/ 540 h 754"/>
                <a:gd name="T14" fmla="*/ 186 w 372"/>
                <a:gd name="T15" fmla="*/ 661 h 754"/>
                <a:gd name="T16" fmla="*/ 279 w 372"/>
                <a:gd name="T17" fmla="*/ 754 h 754"/>
                <a:gd name="T18" fmla="*/ 372 w 372"/>
                <a:gd name="T19" fmla="*/ 661 h 754"/>
                <a:gd name="T20" fmla="*/ 252 w 372"/>
                <a:gd name="T21" fmla="*/ 409 h 7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2" h="754">
                  <a:moveTo>
                    <a:pt x="252" y="409"/>
                  </a:moveTo>
                  <a:cubicBezTo>
                    <a:pt x="206" y="363"/>
                    <a:pt x="186" y="341"/>
                    <a:pt x="186" y="288"/>
                  </a:cubicBezTo>
                  <a:cubicBezTo>
                    <a:pt x="186" y="236"/>
                    <a:pt x="206" y="214"/>
                    <a:pt x="252" y="168"/>
                  </a:cubicBezTo>
                  <a:cubicBezTo>
                    <a:pt x="288" y="132"/>
                    <a:pt x="288" y="73"/>
                    <a:pt x="252" y="36"/>
                  </a:cubicBezTo>
                  <a:cubicBezTo>
                    <a:pt x="216" y="0"/>
                    <a:pt x="157" y="0"/>
                    <a:pt x="120" y="36"/>
                  </a:cubicBezTo>
                  <a:cubicBezTo>
                    <a:pt x="69" y="87"/>
                    <a:pt x="0" y="157"/>
                    <a:pt x="0" y="288"/>
                  </a:cubicBezTo>
                  <a:cubicBezTo>
                    <a:pt x="0" y="420"/>
                    <a:pt x="69" y="489"/>
                    <a:pt x="120" y="540"/>
                  </a:cubicBezTo>
                  <a:cubicBezTo>
                    <a:pt x="166" y="586"/>
                    <a:pt x="186" y="608"/>
                    <a:pt x="186" y="661"/>
                  </a:cubicBezTo>
                  <a:cubicBezTo>
                    <a:pt x="186" y="712"/>
                    <a:pt x="228" y="754"/>
                    <a:pt x="279" y="754"/>
                  </a:cubicBezTo>
                  <a:cubicBezTo>
                    <a:pt x="331" y="754"/>
                    <a:pt x="372" y="712"/>
                    <a:pt x="372" y="661"/>
                  </a:cubicBezTo>
                  <a:cubicBezTo>
                    <a:pt x="372" y="529"/>
                    <a:pt x="303" y="459"/>
                    <a:pt x="252" y="40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sp>
          <p:nvSpPr>
            <p:cNvPr id="24" name="Freeform 7">
              <a:extLst>
                <a:ext uri="{FF2B5EF4-FFF2-40B4-BE49-F238E27FC236}">
                  <a16:creationId xmlns:a16="http://schemas.microsoft.com/office/drawing/2014/main" id="{848B33A6-3326-4595-8FCB-4155A3A83644}"/>
                </a:ext>
              </a:extLst>
            </p:cNvPr>
            <p:cNvSpPr>
              <a:spLocks noEditPoints="1"/>
            </p:cNvSpPr>
            <p:nvPr/>
          </p:nvSpPr>
          <p:spPr bwMode="auto">
            <a:xfrm>
              <a:off x="5153025" y="3335340"/>
              <a:ext cx="1884363" cy="1130299"/>
            </a:xfrm>
            <a:custGeom>
              <a:avLst/>
              <a:gdLst>
                <a:gd name="T0" fmla="*/ 1433 w 1862"/>
                <a:gd name="T1" fmla="*/ 683 h 1117"/>
                <a:gd name="T2" fmla="*/ 1521 w 1862"/>
                <a:gd name="T3" fmla="*/ 683 h 1117"/>
                <a:gd name="T4" fmla="*/ 1521 w 1862"/>
                <a:gd name="T5" fmla="*/ 683 h 1117"/>
                <a:gd name="T6" fmla="*/ 1862 w 1862"/>
                <a:gd name="T7" fmla="*/ 341 h 1117"/>
                <a:gd name="T8" fmla="*/ 1521 w 1862"/>
                <a:gd name="T9" fmla="*/ 0 h 1117"/>
                <a:gd name="T10" fmla="*/ 1396 w 1862"/>
                <a:gd name="T11" fmla="*/ 0 h 1117"/>
                <a:gd name="T12" fmla="*/ 155 w 1862"/>
                <a:gd name="T13" fmla="*/ 0 h 1117"/>
                <a:gd name="T14" fmla="*/ 62 w 1862"/>
                <a:gd name="T15" fmla="*/ 93 h 1117"/>
                <a:gd name="T16" fmla="*/ 62 w 1862"/>
                <a:gd name="T17" fmla="*/ 403 h 1117"/>
                <a:gd name="T18" fmla="*/ 296 w 1862"/>
                <a:gd name="T19" fmla="*/ 931 h 1117"/>
                <a:gd name="T20" fmla="*/ 93 w 1862"/>
                <a:gd name="T21" fmla="*/ 931 h 1117"/>
                <a:gd name="T22" fmla="*/ 0 w 1862"/>
                <a:gd name="T23" fmla="*/ 1024 h 1117"/>
                <a:gd name="T24" fmla="*/ 93 w 1862"/>
                <a:gd name="T25" fmla="*/ 1117 h 1117"/>
                <a:gd name="T26" fmla="*/ 776 w 1862"/>
                <a:gd name="T27" fmla="*/ 1117 h 1117"/>
                <a:gd name="T28" fmla="*/ 1459 w 1862"/>
                <a:gd name="T29" fmla="*/ 1117 h 1117"/>
                <a:gd name="T30" fmla="*/ 1552 w 1862"/>
                <a:gd name="T31" fmla="*/ 1024 h 1117"/>
                <a:gd name="T32" fmla="*/ 1459 w 1862"/>
                <a:gd name="T33" fmla="*/ 931 h 1117"/>
                <a:gd name="T34" fmla="*/ 1256 w 1862"/>
                <a:gd name="T35" fmla="*/ 931 h 1117"/>
                <a:gd name="T36" fmla="*/ 1433 w 1862"/>
                <a:gd name="T37" fmla="*/ 683 h 1117"/>
                <a:gd name="T38" fmla="*/ 1490 w 1862"/>
                <a:gd name="T39" fmla="*/ 403 h 1117"/>
                <a:gd name="T40" fmla="*/ 1490 w 1862"/>
                <a:gd name="T41" fmla="*/ 186 h 1117"/>
                <a:gd name="T42" fmla="*/ 1521 w 1862"/>
                <a:gd name="T43" fmla="*/ 186 h 1117"/>
                <a:gd name="T44" fmla="*/ 1676 w 1862"/>
                <a:gd name="T45" fmla="*/ 341 h 1117"/>
                <a:gd name="T46" fmla="*/ 1521 w 1862"/>
                <a:gd name="T47" fmla="*/ 496 h 1117"/>
                <a:gd name="T48" fmla="*/ 1520 w 1862"/>
                <a:gd name="T49" fmla="*/ 496 h 1117"/>
                <a:gd name="T50" fmla="*/ 1483 w 1862"/>
                <a:gd name="T51" fmla="*/ 496 h 1117"/>
                <a:gd name="T52" fmla="*/ 1490 w 1862"/>
                <a:gd name="T53" fmla="*/ 403 h 1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62" h="1117">
                  <a:moveTo>
                    <a:pt x="1433" y="683"/>
                  </a:moveTo>
                  <a:cubicBezTo>
                    <a:pt x="1521" y="683"/>
                    <a:pt x="1521" y="683"/>
                    <a:pt x="1521" y="683"/>
                  </a:cubicBezTo>
                  <a:cubicBezTo>
                    <a:pt x="1521" y="683"/>
                    <a:pt x="1521" y="683"/>
                    <a:pt x="1521" y="683"/>
                  </a:cubicBezTo>
                  <a:cubicBezTo>
                    <a:pt x="1709" y="682"/>
                    <a:pt x="1862" y="529"/>
                    <a:pt x="1862" y="341"/>
                  </a:cubicBezTo>
                  <a:cubicBezTo>
                    <a:pt x="1862" y="153"/>
                    <a:pt x="1709" y="0"/>
                    <a:pt x="1521" y="0"/>
                  </a:cubicBezTo>
                  <a:cubicBezTo>
                    <a:pt x="1396" y="0"/>
                    <a:pt x="1396" y="0"/>
                    <a:pt x="1396" y="0"/>
                  </a:cubicBezTo>
                  <a:cubicBezTo>
                    <a:pt x="155" y="0"/>
                    <a:pt x="155" y="0"/>
                    <a:pt x="155" y="0"/>
                  </a:cubicBezTo>
                  <a:cubicBezTo>
                    <a:pt x="104" y="0"/>
                    <a:pt x="62" y="42"/>
                    <a:pt x="62" y="93"/>
                  </a:cubicBezTo>
                  <a:cubicBezTo>
                    <a:pt x="62" y="403"/>
                    <a:pt x="62" y="403"/>
                    <a:pt x="62" y="403"/>
                  </a:cubicBezTo>
                  <a:cubicBezTo>
                    <a:pt x="62" y="612"/>
                    <a:pt x="152" y="800"/>
                    <a:pt x="296" y="931"/>
                  </a:cubicBezTo>
                  <a:cubicBezTo>
                    <a:pt x="93" y="931"/>
                    <a:pt x="93" y="931"/>
                    <a:pt x="93" y="931"/>
                  </a:cubicBezTo>
                  <a:cubicBezTo>
                    <a:pt x="42" y="931"/>
                    <a:pt x="0" y="972"/>
                    <a:pt x="0" y="1024"/>
                  </a:cubicBezTo>
                  <a:cubicBezTo>
                    <a:pt x="0" y="1075"/>
                    <a:pt x="42" y="1117"/>
                    <a:pt x="93" y="1117"/>
                  </a:cubicBezTo>
                  <a:cubicBezTo>
                    <a:pt x="776" y="1117"/>
                    <a:pt x="776" y="1117"/>
                    <a:pt x="776" y="1117"/>
                  </a:cubicBezTo>
                  <a:cubicBezTo>
                    <a:pt x="1459" y="1117"/>
                    <a:pt x="1459" y="1117"/>
                    <a:pt x="1459" y="1117"/>
                  </a:cubicBezTo>
                  <a:cubicBezTo>
                    <a:pt x="1510" y="1117"/>
                    <a:pt x="1552" y="1075"/>
                    <a:pt x="1552" y="1024"/>
                  </a:cubicBezTo>
                  <a:cubicBezTo>
                    <a:pt x="1552" y="972"/>
                    <a:pt x="1510" y="931"/>
                    <a:pt x="1459" y="931"/>
                  </a:cubicBezTo>
                  <a:cubicBezTo>
                    <a:pt x="1256" y="931"/>
                    <a:pt x="1256" y="931"/>
                    <a:pt x="1256" y="931"/>
                  </a:cubicBezTo>
                  <a:cubicBezTo>
                    <a:pt x="1331" y="862"/>
                    <a:pt x="1392" y="778"/>
                    <a:pt x="1433" y="683"/>
                  </a:cubicBezTo>
                  <a:close/>
                  <a:moveTo>
                    <a:pt x="1490" y="403"/>
                  </a:moveTo>
                  <a:cubicBezTo>
                    <a:pt x="1490" y="186"/>
                    <a:pt x="1490" y="186"/>
                    <a:pt x="1490" y="186"/>
                  </a:cubicBezTo>
                  <a:cubicBezTo>
                    <a:pt x="1521" y="186"/>
                    <a:pt x="1521" y="186"/>
                    <a:pt x="1521" y="186"/>
                  </a:cubicBezTo>
                  <a:cubicBezTo>
                    <a:pt x="1606" y="186"/>
                    <a:pt x="1676" y="256"/>
                    <a:pt x="1676" y="341"/>
                  </a:cubicBezTo>
                  <a:cubicBezTo>
                    <a:pt x="1676" y="427"/>
                    <a:pt x="1606" y="496"/>
                    <a:pt x="1521" y="496"/>
                  </a:cubicBezTo>
                  <a:cubicBezTo>
                    <a:pt x="1521" y="496"/>
                    <a:pt x="1521" y="496"/>
                    <a:pt x="1520" y="496"/>
                  </a:cubicBezTo>
                  <a:cubicBezTo>
                    <a:pt x="1483" y="496"/>
                    <a:pt x="1483" y="496"/>
                    <a:pt x="1483" y="496"/>
                  </a:cubicBezTo>
                  <a:cubicBezTo>
                    <a:pt x="1487" y="466"/>
                    <a:pt x="1490" y="435"/>
                    <a:pt x="1490" y="4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Open Sans"/>
                <a:ea typeface="+mn-ea"/>
                <a:cs typeface="+mn-cs"/>
              </a:endParaRPr>
            </a:p>
          </p:txBody>
        </p:sp>
      </p:grpSp>
      <p:sp>
        <p:nvSpPr>
          <p:cNvPr id="49" name="TextBox 65">
            <a:extLst>
              <a:ext uri="{FF2B5EF4-FFF2-40B4-BE49-F238E27FC236}">
                <a16:creationId xmlns:a16="http://schemas.microsoft.com/office/drawing/2014/main" id="{1509D741-C46C-4DF1-8D3E-6B5439413EF6}"/>
              </a:ext>
            </a:extLst>
          </p:cNvPr>
          <p:cNvSpPr txBox="1"/>
          <p:nvPr/>
        </p:nvSpPr>
        <p:spPr>
          <a:xfrm>
            <a:off x="972415" y="4508137"/>
            <a:ext cx="2734643" cy="352588"/>
          </a:xfrm>
          <a:prstGeom prst="rect">
            <a:avLst/>
          </a:prstGeom>
          <a:noFill/>
        </p:spPr>
        <p:txBody>
          <a:bodyPr wrap="square" lIns="0" tIns="36000" rIns="0" bIns="36000" rtlCol="0">
            <a:spAutoFit/>
          </a:bodyPr>
          <a:lstStyle/>
          <a:p>
            <a:pPr marL="0" marR="0" lvl="0" indent="0" algn="ctr" defTabSz="914400" rtl="0" eaLnBrk="1" fontAlgn="auto" latinLnBrk="0" hangingPunct="1">
              <a:lnSpc>
                <a:spcPct val="120000"/>
              </a:lnSpc>
              <a:spcBef>
                <a:spcPts val="600"/>
              </a:spcBef>
              <a:spcAft>
                <a:spcPts val="0"/>
              </a:spcAft>
              <a:buClrTx/>
              <a:buSzTx/>
              <a:buFontTx/>
              <a:buNone/>
              <a:tabLst/>
              <a:defRPr/>
            </a:pPr>
            <a:r>
              <a:rPr kumimoji="0" lang="zh-CN" altLang="en-US" sz="1600" b="0" i="0" u="none" strike="noStrike" kern="1200" cap="none" spc="0" normalizeH="0" baseline="0" noProof="0" dirty="0">
                <a:ln>
                  <a:noFill/>
                </a:ln>
                <a:solidFill>
                  <a:schemeClr val="accent1"/>
                </a:solidFill>
                <a:effectLst/>
                <a:uLnTx/>
                <a:uFillTx/>
                <a:latin typeface="HarmonyOS Sans SC Black"/>
                <a:ea typeface="+mj-ea"/>
                <a:cs typeface="+mn-cs"/>
              </a:rPr>
              <a:t>关键词标题</a:t>
            </a:r>
            <a:endParaRPr kumimoji="0" lang="en-US" sz="1600" b="0" i="0" u="none" strike="noStrike" kern="1200" cap="none" spc="0" normalizeH="0" baseline="0" noProof="0" dirty="0">
              <a:ln>
                <a:noFill/>
              </a:ln>
              <a:solidFill>
                <a:schemeClr val="accent1"/>
              </a:solidFill>
              <a:effectLst/>
              <a:uLnTx/>
              <a:uFillTx/>
              <a:latin typeface="HarmonyOS Sans SC Black"/>
              <a:ea typeface="+mj-ea"/>
              <a:cs typeface="+mn-cs"/>
            </a:endParaRPr>
          </a:p>
        </p:txBody>
      </p:sp>
      <p:sp>
        <p:nvSpPr>
          <p:cNvPr id="50" name="TextBox 65">
            <a:extLst>
              <a:ext uri="{FF2B5EF4-FFF2-40B4-BE49-F238E27FC236}">
                <a16:creationId xmlns:a16="http://schemas.microsoft.com/office/drawing/2014/main" id="{A7A9E192-5E6C-48BD-8F67-D894B825E0A4}"/>
              </a:ext>
            </a:extLst>
          </p:cNvPr>
          <p:cNvSpPr txBox="1"/>
          <p:nvPr/>
        </p:nvSpPr>
        <p:spPr>
          <a:xfrm>
            <a:off x="1167156" y="5018023"/>
            <a:ext cx="2345159" cy="468261"/>
          </a:xfrm>
          <a:prstGeom prst="rect">
            <a:avLst/>
          </a:prstGeom>
          <a:noFill/>
        </p:spPr>
        <p:txBody>
          <a:bodyPr wrap="square" lIns="0" tIns="36000" rIns="0" bIns="36000" rtlCol="0">
            <a:spAutoFit/>
          </a:bodyPr>
          <a:lstStyle/>
          <a:p>
            <a:pPr marL="0" marR="0" lvl="0" indent="0" algn="ctr" defTabSz="914400" rtl="0" eaLnBrk="1" fontAlgn="auto" latinLnBrk="0" hangingPunct="1">
              <a:lnSpc>
                <a:spcPct val="120000"/>
              </a:lnSpc>
              <a:spcBef>
                <a:spcPts val="600"/>
              </a:spcBef>
              <a:spcAft>
                <a:spcPts val="0"/>
              </a:spcAft>
              <a:buClrTx/>
              <a:buSzTx/>
              <a:buFontTx/>
              <a:buNone/>
              <a:tabLst/>
              <a:defRPr/>
            </a:pPr>
            <a:r>
              <a:rPr kumimoji="0" lang="zh-CN" altLang="en-US" sz="1100" b="0" i="0" u="none" strike="noStrike" kern="1200" cap="none" spc="0" normalizeH="0" baseline="0" noProof="0" dirty="0">
                <a:ln>
                  <a:noFill/>
                </a:ln>
                <a:solidFill>
                  <a:prstClr val="black">
                    <a:lumMod val="50000"/>
                    <a:lumOff val="50000"/>
                  </a:prstClr>
                </a:solidFill>
                <a:effectLst/>
                <a:uLnTx/>
                <a:uFillTx/>
                <a:latin typeface="HarmonyOS Sans SC"/>
                <a:cs typeface="+mn-cs"/>
              </a:rPr>
              <a:t>在这里输入你的正文，阐述与关键词标题相关的具体内容</a:t>
            </a:r>
            <a:endParaRPr kumimoji="0" lang="en-US" sz="1100" b="0" i="0" u="none" strike="noStrike" kern="1200" cap="none" spc="0" normalizeH="0" baseline="0" noProof="0" dirty="0">
              <a:ln>
                <a:noFill/>
              </a:ln>
              <a:solidFill>
                <a:prstClr val="black">
                  <a:lumMod val="50000"/>
                  <a:lumOff val="50000"/>
                </a:prstClr>
              </a:solidFill>
              <a:effectLst/>
              <a:uLnTx/>
              <a:uFillTx/>
              <a:latin typeface="HarmonyOS Sans SC"/>
              <a:cs typeface="+mn-cs"/>
            </a:endParaRPr>
          </a:p>
        </p:txBody>
      </p:sp>
      <p:sp>
        <p:nvSpPr>
          <p:cNvPr id="52" name="TextBox 65">
            <a:extLst>
              <a:ext uri="{FF2B5EF4-FFF2-40B4-BE49-F238E27FC236}">
                <a16:creationId xmlns:a16="http://schemas.microsoft.com/office/drawing/2014/main" id="{EECB5539-8A7E-4C6F-B770-12A879935FD0}"/>
              </a:ext>
            </a:extLst>
          </p:cNvPr>
          <p:cNvSpPr txBox="1"/>
          <p:nvPr/>
        </p:nvSpPr>
        <p:spPr>
          <a:xfrm>
            <a:off x="4757686" y="4508137"/>
            <a:ext cx="2734643" cy="352588"/>
          </a:xfrm>
          <a:prstGeom prst="rect">
            <a:avLst/>
          </a:prstGeom>
          <a:noFill/>
        </p:spPr>
        <p:txBody>
          <a:bodyPr wrap="square" lIns="0" tIns="36000" rIns="0" bIns="36000" rtlCol="0">
            <a:spAutoFit/>
          </a:bodyPr>
          <a:lstStyle>
            <a:defPPr>
              <a:defRPr lang="zh-CN"/>
            </a:defPPr>
            <a:lvl1pPr marR="0" lvl="0" indent="0" algn="ctr" fontAlgn="auto">
              <a:lnSpc>
                <a:spcPct val="120000"/>
              </a:lnSpc>
              <a:spcBef>
                <a:spcPts val="600"/>
              </a:spcBef>
              <a:spcAft>
                <a:spcPts val="0"/>
              </a:spcAft>
              <a:buClrTx/>
              <a:buSzTx/>
              <a:buFontTx/>
              <a:buNone/>
              <a:tabLst/>
              <a:defRPr kumimoji="0" sz="1600" b="0" i="0" u="none" strike="noStrike" cap="none" spc="0" normalizeH="0" baseline="0">
                <a:ln>
                  <a:noFill/>
                </a:ln>
                <a:solidFill>
                  <a:schemeClr val="accent1"/>
                </a:solidFill>
                <a:effectLst/>
                <a:uLnTx/>
                <a:uFillTx/>
                <a:latin typeface="HarmonyOS Sans SC Black"/>
                <a:ea typeface="+mj-ea"/>
              </a:defRPr>
            </a:lvl1pPr>
          </a:lstStyle>
          <a:p>
            <a:r>
              <a:rPr lang="zh-CN" altLang="en-US" dirty="0"/>
              <a:t>关键词标题</a:t>
            </a:r>
            <a:endParaRPr lang="en-US" dirty="0"/>
          </a:p>
        </p:txBody>
      </p:sp>
      <p:sp>
        <p:nvSpPr>
          <p:cNvPr id="53" name="TextBox 65">
            <a:extLst>
              <a:ext uri="{FF2B5EF4-FFF2-40B4-BE49-F238E27FC236}">
                <a16:creationId xmlns:a16="http://schemas.microsoft.com/office/drawing/2014/main" id="{51D9F950-6288-4916-9E83-2051C5B73F99}"/>
              </a:ext>
            </a:extLst>
          </p:cNvPr>
          <p:cNvSpPr txBox="1"/>
          <p:nvPr/>
        </p:nvSpPr>
        <p:spPr>
          <a:xfrm>
            <a:off x="4952427" y="5018023"/>
            <a:ext cx="2345159" cy="468261"/>
          </a:xfrm>
          <a:prstGeom prst="rect">
            <a:avLst/>
          </a:prstGeom>
          <a:noFill/>
        </p:spPr>
        <p:txBody>
          <a:bodyPr wrap="square" lIns="0" tIns="36000" rIns="0" bIns="36000" rtlCol="0">
            <a:spAutoFit/>
          </a:bodyPr>
          <a:lstStyle>
            <a:defPPr>
              <a:defRPr lang="zh-CN"/>
            </a:defPPr>
            <a:lvl1pPr marR="0" lvl="0" indent="0" algn="ctr" fontAlgn="auto">
              <a:lnSpc>
                <a:spcPct val="120000"/>
              </a:lnSpc>
              <a:spcBef>
                <a:spcPts val="600"/>
              </a:spcBef>
              <a:spcAft>
                <a:spcPts val="0"/>
              </a:spcAft>
              <a:buClrTx/>
              <a:buSzTx/>
              <a:buFontTx/>
              <a:buNone/>
              <a:tabLst/>
              <a:defRPr kumimoji="0" sz="1100" b="0" i="0" u="none" strike="noStrike" cap="none" spc="0" normalizeH="0" baseline="0">
                <a:ln>
                  <a:noFill/>
                </a:ln>
                <a:solidFill>
                  <a:prstClr val="black">
                    <a:lumMod val="50000"/>
                    <a:lumOff val="50000"/>
                  </a:prstClr>
                </a:solidFill>
                <a:effectLst/>
                <a:uLnTx/>
                <a:uFillTx/>
                <a:latin typeface="HarmonyOS Sans SC"/>
              </a:defRPr>
            </a:lvl1pPr>
          </a:lstStyle>
          <a:p>
            <a:r>
              <a:rPr lang="zh-CN" altLang="en-US" dirty="0"/>
              <a:t>在这里输入你的正文，阐述与关键词标题相关的具体内容</a:t>
            </a:r>
            <a:endParaRPr lang="en-US" dirty="0"/>
          </a:p>
        </p:txBody>
      </p:sp>
      <p:sp>
        <p:nvSpPr>
          <p:cNvPr id="55" name="TextBox 65">
            <a:extLst>
              <a:ext uri="{FF2B5EF4-FFF2-40B4-BE49-F238E27FC236}">
                <a16:creationId xmlns:a16="http://schemas.microsoft.com/office/drawing/2014/main" id="{4C1934ED-DDE7-4F1D-971F-88470D70DB5D}"/>
              </a:ext>
            </a:extLst>
          </p:cNvPr>
          <p:cNvSpPr txBox="1"/>
          <p:nvPr/>
        </p:nvSpPr>
        <p:spPr>
          <a:xfrm>
            <a:off x="8542958" y="4508137"/>
            <a:ext cx="2734643" cy="352588"/>
          </a:xfrm>
          <a:prstGeom prst="rect">
            <a:avLst/>
          </a:prstGeom>
          <a:noFill/>
        </p:spPr>
        <p:txBody>
          <a:bodyPr wrap="square" lIns="0" tIns="36000" rIns="0" bIns="36000" rtlCol="0">
            <a:spAutoFit/>
          </a:bodyPr>
          <a:lstStyle>
            <a:defPPr>
              <a:defRPr lang="zh-CN"/>
            </a:defPPr>
            <a:lvl1pPr marR="0" lvl="0" indent="0" algn="ctr" fontAlgn="auto">
              <a:lnSpc>
                <a:spcPct val="120000"/>
              </a:lnSpc>
              <a:spcBef>
                <a:spcPts val="600"/>
              </a:spcBef>
              <a:spcAft>
                <a:spcPts val="0"/>
              </a:spcAft>
              <a:buClrTx/>
              <a:buSzTx/>
              <a:buFontTx/>
              <a:buNone/>
              <a:tabLst/>
              <a:defRPr kumimoji="0" sz="1600" b="0" i="0" u="none" strike="noStrike" cap="none" spc="0" normalizeH="0" baseline="0">
                <a:ln>
                  <a:noFill/>
                </a:ln>
                <a:solidFill>
                  <a:schemeClr val="accent1"/>
                </a:solidFill>
                <a:effectLst/>
                <a:uLnTx/>
                <a:uFillTx/>
                <a:latin typeface="HarmonyOS Sans SC Black"/>
                <a:ea typeface="+mj-ea"/>
              </a:defRPr>
            </a:lvl1pPr>
          </a:lstStyle>
          <a:p>
            <a:r>
              <a:rPr lang="zh-CN" altLang="en-US" dirty="0"/>
              <a:t>关键词标题</a:t>
            </a:r>
            <a:endParaRPr lang="en-US" dirty="0"/>
          </a:p>
        </p:txBody>
      </p:sp>
      <p:sp>
        <p:nvSpPr>
          <p:cNvPr id="56" name="TextBox 65">
            <a:extLst>
              <a:ext uri="{FF2B5EF4-FFF2-40B4-BE49-F238E27FC236}">
                <a16:creationId xmlns:a16="http://schemas.microsoft.com/office/drawing/2014/main" id="{CED91B28-C443-44FD-A622-10BA715BC09F}"/>
              </a:ext>
            </a:extLst>
          </p:cNvPr>
          <p:cNvSpPr txBox="1"/>
          <p:nvPr/>
        </p:nvSpPr>
        <p:spPr>
          <a:xfrm>
            <a:off x="8737699" y="5018023"/>
            <a:ext cx="2345159" cy="468261"/>
          </a:xfrm>
          <a:prstGeom prst="rect">
            <a:avLst/>
          </a:prstGeom>
          <a:noFill/>
        </p:spPr>
        <p:txBody>
          <a:bodyPr wrap="square" lIns="0" tIns="36000" rIns="0" bIns="36000" rtlCol="0">
            <a:spAutoFit/>
          </a:bodyPr>
          <a:lstStyle>
            <a:defPPr>
              <a:defRPr lang="zh-CN"/>
            </a:defPPr>
            <a:lvl1pPr marR="0" lvl="0" indent="0" algn="ctr" fontAlgn="auto">
              <a:lnSpc>
                <a:spcPct val="120000"/>
              </a:lnSpc>
              <a:spcBef>
                <a:spcPts val="600"/>
              </a:spcBef>
              <a:spcAft>
                <a:spcPts val="0"/>
              </a:spcAft>
              <a:buClrTx/>
              <a:buSzTx/>
              <a:buFontTx/>
              <a:buNone/>
              <a:tabLst/>
              <a:defRPr kumimoji="0" sz="1100" b="0" i="0" u="none" strike="noStrike" cap="none" spc="0" normalizeH="0" baseline="0">
                <a:ln>
                  <a:noFill/>
                </a:ln>
                <a:solidFill>
                  <a:prstClr val="black">
                    <a:lumMod val="50000"/>
                    <a:lumOff val="50000"/>
                  </a:prstClr>
                </a:solidFill>
                <a:effectLst/>
                <a:uLnTx/>
                <a:uFillTx/>
                <a:latin typeface="HarmonyOS Sans SC"/>
              </a:defRPr>
            </a:lvl1pPr>
          </a:lstStyle>
          <a:p>
            <a:r>
              <a:rPr lang="zh-CN" altLang="en-US" dirty="0"/>
              <a:t>在这里输入你的正文，阐述与关键词标题相关的具体内容</a:t>
            </a:r>
            <a:endParaRPr lang="en-US" dirty="0"/>
          </a:p>
        </p:txBody>
      </p:sp>
      <p:sp>
        <p:nvSpPr>
          <p:cNvPr id="58" name="TextBox 65">
            <a:extLst>
              <a:ext uri="{FF2B5EF4-FFF2-40B4-BE49-F238E27FC236}">
                <a16:creationId xmlns:a16="http://schemas.microsoft.com/office/drawing/2014/main" id="{53025DBD-2E19-4CAE-B62F-C5B81848B40F}"/>
              </a:ext>
            </a:extLst>
          </p:cNvPr>
          <p:cNvSpPr txBox="1"/>
          <p:nvPr/>
        </p:nvSpPr>
        <p:spPr>
          <a:xfrm>
            <a:off x="2995858" y="2436972"/>
            <a:ext cx="2734643" cy="352588"/>
          </a:xfrm>
          <a:prstGeom prst="rect">
            <a:avLst/>
          </a:prstGeom>
          <a:noFill/>
        </p:spPr>
        <p:txBody>
          <a:bodyPr wrap="square" lIns="0" tIns="36000" rIns="0" bIns="36000" rtlCol="0">
            <a:spAutoFit/>
          </a:bodyPr>
          <a:lstStyle>
            <a:defPPr>
              <a:defRPr lang="zh-CN"/>
            </a:defPPr>
            <a:lvl1pPr marR="0" lvl="0" indent="0" algn="ctr" fontAlgn="auto">
              <a:lnSpc>
                <a:spcPct val="120000"/>
              </a:lnSpc>
              <a:spcBef>
                <a:spcPts val="600"/>
              </a:spcBef>
              <a:spcAft>
                <a:spcPts val="0"/>
              </a:spcAft>
              <a:buClrTx/>
              <a:buSzTx/>
              <a:buFontTx/>
              <a:buNone/>
              <a:tabLst/>
              <a:defRPr kumimoji="0" sz="1600" b="0" i="0" u="none" strike="noStrike" cap="none" spc="0" normalizeH="0" baseline="0">
                <a:ln>
                  <a:noFill/>
                </a:ln>
                <a:solidFill>
                  <a:schemeClr val="accent1"/>
                </a:solidFill>
                <a:effectLst/>
                <a:uLnTx/>
                <a:uFillTx/>
                <a:latin typeface="HarmonyOS Sans SC Black"/>
                <a:ea typeface="+mj-ea"/>
              </a:defRPr>
            </a:lvl1pPr>
          </a:lstStyle>
          <a:p>
            <a:r>
              <a:rPr lang="zh-CN" altLang="en-US" dirty="0"/>
              <a:t>关键词标题</a:t>
            </a:r>
            <a:endParaRPr lang="en-US" dirty="0"/>
          </a:p>
        </p:txBody>
      </p:sp>
      <p:sp>
        <p:nvSpPr>
          <p:cNvPr id="59" name="TextBox 65">
            <a:extLst>
              <a:ext uri="{FF2B5EF4-FFF2-40B4-BE49-F238E27FC236}">
                <a16:creationId xmlns:a16="http://schemas.microsoft.com/office/drawing/2014/main" id="{D25CE723-F8F3-4E43-840F-54A5E1D41040}"/>
              </a:ext>
            </a:extLst>
          </p:cNvPr>
          <p:cNvSpPr txBox="1"/>
          <p:nvPr/>
        </p:nvSpPr>
        <p:spPr>
          <a:xfrm>
            <a:off x="3358139" y="2946859"/>
            <a:ext cx="2010080" cy="468261"/>
          </a:xfrm>
          <a:prstGeom prst="rect">
            <a:avLst/>
          </a:prstGeom>
          <a:noFill/>
        </p:spPr>
        <p:txBody>
          <a:bodyPr wrap="square" lIns="0" tIns="36000" rIns="0" bIns="36000" rtlCol="0">
            <a:spAutoFit/>
          </a:bodyPr>
          <a:lstStyle>
            <a:defPPr>
              <a:defRPr lang="zh-CN"/>
            </a:defPPr>
            <a:lvl1pPr marR="0" lvl="0" indent="0" algn="ctr" fontAlgn="auto">
              <a:lnSpc>
                <a:spcPct val="120000"/>
              </a:lnSpc>
              <a:spcBef>
                <a:spcPts val="600"/>
              </a:spcBef>
              <a:spcAft>
                <a:spcPts val="0"/>
              </a:spcAft>
              <a:buClrTx/>
              <a:buSzTx/>
              <a:buFontTx/>
              <a:buNone/>
              <a:tabLst/>
              <a:defRPr kumimoji="0" sz="1100" b="0" i="0" u="none" strike="noStrike" cap="none" spc="0" normalizeH="0" baseline="0">
                <a:ln>
                  <a:noFill/>
                </a:ln>
                <a:solidFill>
                  <a:prstClr val="black">
                    <a:lumMod val="50000"/>
                    <a:lumOff val="50000"/>
                  </a:prstClr>
                </a:solidFill>
                <a:effectLst/>
                <a:uLnTx/>
                <a:uFillTx/>
                <a:latin typeface="HarmonyOS Sans SC"/>
              </a:defRPr>
            </a:lvl1pPr>
          </a:lstStyle>
          <a:p>
            <a:r>
              <a:rPr lang="zh-CN" altLang="en-US" dirty="0"/>
              <a:t>在这里输入你的正文，阐述与关键词标题相关的具体内容</a:t>
            </a:r>
            <a:endParaRPr lang="en-US" dirty="0"/>
          </a:p>
        </p:txBody>
      </p:sp>
      <p:sp>
        <p:nvSpPr>
          <p:cNvPr id="61" name="TextBox 65">
            <a:extLst>
              <a:ext uri="{FF2B5EF4-FFF2-40B4-BE49-F238E27FC236}">
                <a16:creationId xmlns:a16="http://schemas.microsoft.com/office/drawing/2014/main" id="{6A0E6A79-FFFF-4BCA-B604-2D6546C4E506}"/>
              </a:ext>
            </a:extLst>
          </p:cNvPr>
          <p:cNvSpPr txBox="1"/>
          <p:nvPr/>
        </p:nvSpPr>
        <p:spPr>
          <a:xfrm>
            <a:off x="6624830" y="2436972"/>
            <a:ext cx="2734643" cy="352588"/>
          </a:xfrm>
          <a:prstGeom prst="rect">
            <a:avLst/>
          </a:prstGeom>
          <a:noFill/>
        </p:spPr>
        <p:txBody>
          <a:bodyPr wrap="square" lIns="0" tIns="36000" rIns="0" bIns="36000" rtlCol="0">
            <a:spAutoFit/>
          </a:bodyPr>
          <a:lstStyle>
            <a:defPPr>
              <a:defRPr lang="zh-CN"/>
            </a:defPPr>
            <a:lvl1pPr marR="0" lvl="0" indent="0" algn="ctr" fontAlgn="auto">
              <a:lnSpc>
                <a:spcPct val="120000"/>
              </a:lnSpc>
              <a:spcBef>
                <a:spcPts val="600"/>
              </a:spcBef>
              <a:spcAft>
                <a:spcPts val="0"/>
              </a:spcAft>
              <a:buClrTx/>
              <a:buSzTx/>
              <a:buFontTx/>
              <a:buNone/>
              <a:tabLst/>
              <a:defRPr kumimoji="0" sz="1600" b="0" i="0" u="none" strike="noStrike" cap="none" spc="0" normalizeH="0" baseline="0">
                <a:ln>
                  <a:noFill/>
                </a:ln>
                <a:solidFill>
                  <a:schemeClr val="accent1"/>
                </a:solidFill>
                <a:effectLst/>
                <a:uLnTx/>
                <a:uFillTx/>
                <a:latin typeface="HarmonyOS Sans SC Black"/>
                <a:ea typeface="+mj-ea"/>
              </a:defRPr>
            </a:lvl1pPr>
          </a:lstStyle>
          <a:p>
            <a:r>
              <a:rPr lang="zh-CN" altLang="en-US" dirty="0"/>
              <a:t>关键词标题</a:t>
            </a:r>
            <a:endParaRPr lang="en-US" dirty="0"/>
          </a:p>
        </p:txBody>
      </p:sp>
      <p:sp>
        <p:nvSpPr>
          <p:cNvPr id="62" name="TextBox 65">
            <a:extLst>
              <a:ext uri="{FF2B5EF4-FFF2-40B4-BE49-F238E27FC236}">
                <a16:creationId xmlns:a16="http://schemas.microsoft.com/office/drawing/2014/main" id="{D3548BC6-A33E-4C81-A77D-DEDECF1FD9EE}"/>
              </a:ext>
            </a:extLst>
          </p:cNvPr>
          <p:cNvSpPr txBox="1"/>
          <p:nvPr/>
        </p:nvSpPr>
        <p:spPr>
          <a:xfrm>
            <a:off x="6949607" y="2946859"/>
            <a:ext cx="2085085" cy="468261"/>
          </a:xfrm>
          <a:prstGeom prst="rect">
            <a:avLst/>
          </a:prstGeom>
          <a:noFill/>
        </p:spPr>
        <p:txBody>
          <a:bodyPr wrap="square" lIns="0" tIns="36000" rIns="0" bIns="36000" rtlCol="0">
            <a:spAutoFit/>
          </a:bodyPr>
          <a:lstStyle>
            <a:defPPr>
              <a:defRPr lang="zh-CN"/>
            </a:defPPr>
            <a:lvl1pPr marR="0" lvl="0" indent="0" algn="ctr" fontAlgn="auto">
              <a:lnSpc>
                <a:spcPct val="120000"/>
              </a:lnSpc>
              <a:spcBef>
                <a:spcPts val="600"/>
              </a:spcBef>
              <a:spcAft>
                <a:spcPts val="0"/>
              </a:spcAft>
              <a:buClrTx/>
              <a:buSzTx/>
              <a:buFontTx/>
              <a:buNone/>
              <a:tabLst/>
              <a:defRPr kumimoji="0" sz="1100" b="0" i="0" u="none" strike="noStrike" cap="none" spc="0" normalizeH="0" baseline="0">
                <a:ln>
                  <a:noFill/>
                </a:ln>
                <a:solidFill>
                  <a:prstClr val="black">
                    <a:lumMod val="50000"/>
                    <a:lumOff val="50000"/>
                  </a:prstClr>
                </a:solidFill>
                <a:effectLst/>
                <a:uLnTx/>
                <a:uFillTx/>
                <a:latin typeface="HarmonyOS Sans SC"/>
              </a:defRPr>
            </a:lvl1pPr>
          </a:lstStyle>
          <a:p>
            <a:r>
              <a:rPr lang="zh-CN" altLang="en-US" dirty="0"/>
              <a:t>在这里输入你的正文，阐述与关键词标题相关的具体内容</a:t>
            </a:r>
            <a:endParaRPr lang="en-US" dirty="0"/>
          </a:p>
        </p:txBody>
      </p:sp>
    </p:spTree>
    <p:extLst>
      <p:ext uri="{BB962C8B-B14F-4D97-AF65-F5344CB8AC3E}">
        <p14:creationId xmlns:p14="http://schemas.microsoft.com/office/powerpoint/2010/main" val="1983333333"/>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4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9">
            <a:extLst>
              <a:ext uri="{FF2B5EF4-FFF2-40B4-BE49-F238E27FC236}">
                <a16:creationId xmlns:a16="http://schemas.microsoft.com/office/drawing/2014/main" id="{C5DE3AEE-205F-4836-BA4F-8E53D2138134}"/>
              </a:ext>
            </a:extLst>
          </p:cNvPr>
          <p:cNvSpPr>
            <a:spLocks/>
          </p:cNvSpPr>
          <p:nvPr/>
        </p:nvSpPr>
        <p:spPr bwMode="auto">
          <a:xfrm>
            <a:off x="2091675" y="2193693"/>
            <a:ext cx="8003672" cy="2968381"/>
          </a:xfrm>
          <a:custGeom>
            <a:avLst/>
            <a:gdLst>
              <a:gd name="T0" fmla="*/ 4685 w 14130"/>
              <a:gd name="T1" fmla="*/ 4685 h 5216"/>
              <a:gd name="T2" fmla="*/ 2758 w 14130"/>
              <a:gd name="T3" fmla="*/ 4685 h 5216"/>
              <a:gd name="T4" fmla="*/ 2103 w 14130"/>
              <a:gd name="T5" fmla="*/ 3114 h 5216"/>
              <a:gd name="T6" fmla="*/ 1508 w 14130"/>
              <a:gd name="T7" fmla="*/ 2854 h 5216"/>
              <a:gd name="T8" fmla="*/ 532 w 14130"/>
              <a:gd name="T9" fmla="*/ 532 h 5216"/>
              <a:gd name="T10" fmla="*/ 2854 w 14130"/>
              <a:gd name="T11" fmla="*/ 1508 h 5216"/>
              <a:gd name="T12" fmla="*/ 3114 w 14130"/>
              <a:gd name="T13" fmla="*/ 2103 h 5216"/>
              <a:gd name="T14" fmla="*/ 3708 w 14130"/>
              <a:gd name="T15" fmla="*/ 2363 h 5216"/>
              <a:gd name="T16" fmla="*/ 3735 w 14130"/>
              <a:gd name="T17" fmla="*/ 2363 h 5216"/>
              <a:gd name="T18" fmla="*/ 4329 w 14130"/>
              <a:gd name="T19" fmla="*/ 2103 h 5216"/>
              <a:gd name="T20" fmla="*/ 4590 w 14130"/>
              <a:gd name="T21" fmla="*/ 1508 h 5216"/>
              <a:gd name="T22" fmla="*/ 5951 w 14130"/>
              <a:gd name="T23" fmla="*/ 133 h 5216"/>
              <a:gd name="T24" fmla="*/ 7312 w 14130"/>
              <a:gd name="T25" fmla="*/ 1508 h 5216"/>
              <a:gd name="T26" fmla="*/ 7572 w 14130"/>
              <a:gd name="T27" fmla="*/ 2103 h 5216"/>
              <a:gd name="T28" fmla="*/ 8167 w 14130"/>
              <a:gd name="T29" fmla="*/ 2363 h 5216"/>
              <a:gd name="T30" fmla="*/ 8193 w 14130"/>
              <a:gd name="T31" fmla="*/ 2363 h 5216"/>
              <a:gd name="T32" fmla="*/ 8788 w 14130"/>
              <a:gd name="T33" fmla="*/ 2103 h 5216"/>
              <a:gd name="T34" fmla="*/ 9048 w 14130"/>
              <a:gd name="T35" fmla="*/ 1509 h 5216"/>
              <a:gd name="T36" fmla="*/ 10376 w 14130"/>
              <a:gd name="T37" fmla="*/ 133 h 5216"/>
              <a:gd name="T38" fmla="*/ 10408 w 14130"/>
              <a:gd name="T39" fmla="*/ 133 h 5216"/>
              <a:gd name="T40" fmla="*/ 11370 w 14130"/>
              <a:gd name="T41" fmla="*/ 532 h 5216"/>
              <a:gd name="T42" fmla="*/ 11769 w 14130"/>
              <a:gd name="T43" fmla="*/ 1509 h 5216"/>
              <a:gd name="T44" fmla="*/ 12622 w 14130"/>
              <a:gd name="T45" fmla="*/ 2362 h 5216"/>
              <a:gd name="T46" fmla="*/ 13599 w 14130"/>
              <a:gd name="T47" fmla="*/ 2761 h 5216"/>
              <a:gd name="T48" fmla="*/ 11675 w 14130"/>
              <a:gd name="T49" fmla="*/ 4685 h 5216"/>
              <a:gd name="T50" fmla="*/ 11277 w 14130"/>
              <a:gd name="T51" fmla="*/ 3708 h 5216"/>
              <a:gd name="T52" fmla="*/ 10423 w 14130"/>
              <a:gd name="T53" fmla="*/ 2854 h 5216"/>
              <a:gd name="T54" fmla="*/ 10418 w 14130"/>
              <a:gd name="T55" fmla="*/ 2854 h 5216"/>
              <a:gd name="T56" fmla="*/ 10398 w 14130"/>
              <a:gd name="T57" fmla="*/ 2854 h 5216"/>
              <a:gd name="T58" fmla="*/ 10393 w 14130"/>
              <a:gd name="T59" fmla="*/ 2854 h 5216"/>
              <a:gd name="T60" fmla="*/ 9541 w 14130"/>
              <a:gd name="T61" fmla="*/ 3677 h 5216"/>
              <a:gd name="T62" fmla="*/ 8180 w 14130"/>
              <a:gd name="T63" fmla="*/ 5083 h 5216"/>
              <a:gd name="T64" fmla="*/ 6819 w 14130"/>
              <a:gd name="T65" fmla="*/ 3677 h 5216"/>
              <a:gd name="T66" fmla="*/ 5967 w 14130"/>
              <a:gd name="T67" fmla="*/ 2854 h 5216"/>
              <a:gd name="T68" fmla="*/ 5955 w 14130"/>
              <a:gd name="T69" fmla="*/ 2854 h 5216"/>
              <a:gd name="T70" fmla="*/ 5950 w 14130"/>
              <a:gd name="T71" fmla="*/ 2854 h 5216"/>
              <a:gd name="T72" fmla="*/ 5935 w 14130"/>
              <a:gd name="T73" fmla="*/ 2854 h 5216"/>
              <a:gd name="T74" fmla="*/ 5340 w 14130"/>
              <a:gd name="T75" fmla="*/ 3114 h 5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130" h="5216">
                <a:moveTo>
                  <a:pt x="5083" y="3677"/>
                </a:moveTo>
                <a:cubicBezTo>
                  <a:pt x="5095" y="4040"/>
                  <a:pt x="4962" y="4408"/>
                  <a:pt x="4685" y="4685"/>
                </a:cubicBezTo>
                <a:cubicBezTo>
                  <a:pt x="4419" y="4951"/>
                  <a:pt x="4070" y="5084"/>
                  <a:pt x="3722" y="5083"/>
                </a:cubicBezTo>
                <a:cubicBezTo>
                  <a:pt x="3373" y="5084"/>
                  <a:pt x="3024" y="4951"/>
                  <a:pt x="2758" y="4685"/>
                </a:cubicBezTo>
                <a:cubicBezTo>
                  <a:pt x="2481" y="4408"/>
                  <a:pt x="2349" y="4040"/>
                  <a:pt x="2361" y="3677"/>
                </a:cubicBezTo>
                <a:cubicBezTo>
                  <a:pt x="2346" y="3472"/>
                  <a:pt x="2260" y="3271"/>
                  <a:pt x="2103" y="3114"/>
                </a:cubicBezTo>
                <a:cubicBezTo>
                  <a:pt x="1938" y="2949"/>
                  <a:pt x="1725" y="2862"/>
                  <a:pt x="1509" y="2854"/>
                </a:cubicBezTo>
                <a:lnTo>
                  <a:pt x="1508" y="2854"/>
                </a:lnTo>
                <a:cubicBezTo>
                  <a:pt x="1155" y="2858"/>
                  <a:pt x="801" y="2725"/>
                  <a:pt x="532" y="2455"/>
                </a:cubicBezTo>
                <a:cubicBezTo>
                  <a:pt x="0" y="1924"/>
                  <a:pt x="0" y="1063"/>
                  <a:pt x="532" y="532"/>
                </a:cubicBezTo>
                <a:cubicBezTo>
                  <a:pt x="1063" y="0"/>
                  <a:pt x="1924" y="0"/>
                  <a:pt x="2455" y="532"/>
                </a:cubicBezTo>
                <a:cubicBezTo>
                  <a:pt x="2725" y="801"/>
                  <a:pt x="2858" y="1155"/>
                  <a:pt x="2854" y="1508"/>
                </a:cubicBezTo>
                <a:lnTo>
                  <a:pt x="2855" y="1509"/>
                </a:lnTo>
                <a:cubicBezTo>
                  <a:pt x="2863" y="1725"/>
                  <a:pt x="2949" y="1938"/>
                  <a:pt x="3114" y="2103"/>
                </a:cubicBezTo>
                <a:cubicBezTo>
                  <a:pt x="3279" y="2268"/>
                  <a:pt x="3492" y="2354"/>
                  <a:pt x="3708" y="2362"/>
                </a:cubicBezTo>
                <a:lnTo>
                  <a:pt x="3708" y="2363"/>
                </a:lnTo>
                <a:lnTo>
                  <a:pt x="3722" y="2363"/>
                </a:lnTo>
                <a:lnTo>
                  <a:pt x="3735" y="2363"/>
                </a:lnTo>
                <a:lnTo>
                  <a:pt x="3736" y="2362"/>
                </a:lnTo>
                <a:cubicBezTo>
                  <a:pt x="3951" y="2354"/>
                  <a:pt x="4165" y="2268"/>
                  <a:pt x="4329" y="2103"/>
                </a:cubicBezTo>
                <a:cubicBezTo>
                  <a:pt x="4494" y="1938"/>
                  <a:pt x="4581" y="1725"/>
                  <a:pt x="4589" y="1509"/>
                </a:cubicBezTo>
                <a:lnTo>
                  <a:pt x="4590" y="1508"/>
                </a:lnTo>
                <a:cubicBezTo>
                  <a:pt x="4586" y="1155"/>
                  <a:pt x="4719" y="801"/>
                  <a:pt x="4988" y="532"/>
                </a:cubicBezTo>
                <a:cubicBezTo>
                  <a:pt x="5254" y="266"/>
                  <a:pt x="5602" y="133"/>
                  <a:pt x="5951" y="133"/>
                </a:cubicBezTo>
                <a:cubicBezTo>
                  <a:pt x="6299" y="133"/>
                  <a:pt x="6648" y="266"/>
                  <a:pt x="6914" y="532"/>
                </a:cubicBezTo>
                <a:cubicBezTo>
                  <a:pt x="7183" y="801"/>
                  <a:pt x="7316" y="1155"/>
                  <a:pt x="7312" y="1508"/>
                </a:cubicBezTo>
                <a:lnTo>
                  <a:pt x="7313" y="1509"/>
                </a:lnTo>
                <a:cubicBezTo>
                  <a:pt x="7321" y="1725"/>
                  <a:pt x="7408" y="1938"/>
                  <a:pt x="7572" y="2103"/>
                </a:cubicBezTo>
                <a:cubicBezTo>
                  <a:pt x="7737" y="2268"/>
                  <a:pt x="7950" y="2354"/>
                  <a:pt x="8166" y="2362"/>
                </a:cubicBezTo>
                <a:lnTo>
                  <a:pt x="8167" y="2363"/>
                </a:lnTo>
                <a:lnTo>
                  <a:pt x="8180" y="2363"/>
                </a:lnTo>
                <a:lnTo>
                  <a:pt x="8193" y="2363"/>
                </a:lnTo>
                <a:lnTo>
                  <a:pt x="8194" y="2362"/>
                </a:lnTo>
                <a:cubicBezTo>
                  <a:pt x="8410" y="2354"/>
                  <a:pt x="8623" y="2268"/>
                  <a:pt x="8788" y="2103"/>
                </a:cubicBezTo>
                <a:cubicBezTo>
                  <a:pt x="8952" y="1938"/>
                  <a:pt x="9039" y="1725"/>
                  <a:pt x="9047" y="1509"/>
                </a:cubicBezTo>
                <a:lnTo>
                  <a:pt x="9048" y="1509"/>
                </a:lnTo>
                <a:cubicBezTo>
                  <a:pt x="9044" y="1155"/>
                  <a:pt x="9176" y="801"/>
                  <a:pt x="9446" y="532"/>
                </a:cubicBezTo>
                <a:cubicBezTo>
                  <a:pt x="9703" y="274"/>
                  <a:pt x="10038" y="141"/>
                  <a:pt x="10376" y="133"/>
                </a:cubicBezTo>
                <a:cubicBezTo>
                  <a:pt x="10386" y="133"/>
                  <a:pt x="10397" y="133"/>
                  <a:pt x="10408" y="133"/>
                </a:cubicBezTo>
                <a:lnTo>
                  <a:pt x="10408" y="133"/>
                </a:lnTo>
                <a:cubicBezTo>
                  <a:pt x="10419" y="133"/>
                  <a:pt x="10430" y="133"/>
                  <a:pt x="10440" y="133"/>
                </a:cubicBezTo>
                <a:cubicBezTo>
                  <a:pt x="10778" y="141"/>
                  <a:pt x="11113" y="274"/>
                  <a:pt x="11370" y="532"/>
                </a:cubicBezTo>
                <a:cubicBezTo>
                  <a:pt x="11640" y="801"/>
                  <a:pt x="11772" y="1155"/>
                  <a:pt x="11768" y="1509"/>
                </a:cubicBezTo>
                <a:lnTo>
                  <a:pt x="11769" y="1509"/>
                </a:lnTo>
                <a:cubicBezTo>
                  <a:pt x="11777" y="1725"/>
                  <a:pt x="11864" y="1938"/>
                  <a:pt x="12028" y="2103"/>
                </a:cubicBezTo>
                <a:cubicBezTo>
                  <a:pt x="12193" y="2268"/>
                  <a:pt x="12406" y="2354"/>
                  <a:pt x="12622" y="2362"/>
                </a:cubicBezTo>
                <a:lnTo>
                  <a:pt x="12623" y="2363"/>
                </a:lnTo>
                <a:cubicBezTo>
                  <a:pt x="12976" y="2359"/>
                  <a:pt x="13330" y="2492"/>
                  <a:pt x="13599" y="2761"/>
                </a:cubicBezTo>
                <a:cubicBezTo>
                  <a:pt x="14130" y="3292"/>
                  <a:pt x="14130" y="4154"/>
                  <a:pt x="13599" y="4685"/>
                </a:cubicBezTo>
                <a:cubicBezTo>
                  <a:pt x="13068" y="5216"/>
                  <a:pt x="12207" y="5216"/>
                  <a:pt x="11675" y="4685"/>
                </a:cubicBezTo>
                <a:cubicBezTo>
                  <a:pt x="11406" y="4416"/>
                  <a:pt x="11273" y="4061"/>
                  <a:pt x="11277" y="3708"/>
                </a:cubicBezTo>
                <a:lnTo>
                  <a:pt x="11277" y="3708"/>
                </a:lnTo>
                <a:cubicBezTo>
                  <a:pt x="11269" y="3492"/>
                  <a:pt x="11182" y="3279"/>
                  <a:pt x="11018" y="3114"/>
                </a:cubicBezTo>
                <a:cubicBezTo>
                  <a:pt x="10853" y="2949"/>
                  <a:pt x="10639" y="2862"/>
                  <a:pt x="10423" y="2854"/>
                </a:cubicBezTo>
                <a:lnTo>
                  <a:pt x="10422" y="2854"/>
                </a:lnTo>
                <a:lnTo>
                  <a:pt x="10418" y="2854"/>
                </a:lnTo>
                <a:lnTo>
                  <a:pt x="10408" y="2854"/>
                </a:lnTo>
                <a:lnTo>
                  <a:pt x="10398" y="2854"/>
                </a:lnTo>
                <a:lnTo>
                  <a:pt x="10393" y="2854"/>
                </a:lnTo>
                <a:lnTo>
                  <a:pt x="10393" y="2854"/>
                </a:lnTo>
                <a:cubicBezTo>
                  <a:pt x="10177" y="2862"/>
                  <a:pt x="9963" y="2949"/>
                  <a:pt x="9798" y="3114"/>
                </a:cubicBezTo>
                <a:cubicBezTo>
                  <a:pt x="9641" y="3271"/>
                  <a:pt x="9556" y="3472"/>
                  <a:pt x="9541" y="3677"/>
                </a:cubicBezTo>
                <a:cubicBezTo>
                  <a:pt x="9553" y="4040"/>
                  <a:pt x="9421" y="4408"/>
                  <a:pt x="9143" y="4685"/>
                </a:cubicBezTo>
                <a:cubicBezTo>
                  <a:pt x="8877" y="4951"/>
                  <a:pt x="8529" y="5084"/>
                  <a:pt x="8180" y="5083"/>
                </a:cubicBezTo>
                <a:cubicBezTo>
                  <a:pt x="7831" y="5084"/>
                  <a:pt x="7483" y="4951"/>
                  <a:pt x="7217" y="4685"/>
                </a:cubicBezTo>
                <a:cubicBezTo>
                  <a:pt x="6939" y="4408"/>
                  <a:pt x="6807" y="4040"/>
                  <a:pt x="6819" y="3677"/>
                </a:cubicBezTo>
                <a:cubicBezTo>
                  <a:pt x="6804" y="3472"/>
                  <a:pt x="6718" y="3271"/>
                  <a:pt x="6562" y="3114"/>
                </a:cubicBezTo>
                <a:cubicBezTo>
                  <a:pt x="6397" y="2949"/>
                  <a:pt x="6183" y="2862"/>
                  <a:pt x="5967" y="2854"/>
                </a:cubicBezTo>
                <a:lnTo>
                  <a:pt x="5966" y="2854"/>
                </a:lnTo>
                <a:lnTo>
                  <a:pt x="5955" y="2854"/>
                </a:lnTo>
                <a:lnTo>
                  <a:pt x="5952" y="2854"/>
                </a:lnTo>
                <a:lnTo>
                  <a:pt x="5950" y="2854"/>
                </a:lnTo>
                <a:lnTo>
                  <a:pt x="5946" y="2854"/>
                </a:lnTo>
                <a:lnTo>
                  <a:pt x="5935" y="2854"/>
                </a:lnTo>
                <a:lnTo>
                  <a:pt x="5935" y="2854"/>
                </a:lnTo>
                <a:cubicBezTo>
                  <a:pt x="5719" y="2862"/>
                  <a:pt x="5505" y="2949"/>
                  <a:pt x="5340" y="3114"/>
                </a:cubicBezTo>
                <a:cubicBezTo>
                  <a:pt x="5183" y="3271"/>
                  <a:pt x="5097" y="3472"/>
                  <a:pt x="5083" y="3677"/>
                </a:cubicBezTo>
                <a:close/>
              </a:path>
            </a:pathLst>
          </a:custGeom>
          <a:solidFill>
            <a:schemeClr val="accent1">
              <a:lumMod val="40000"/>
              <a:lumOff val="60000"/>
              <a:alpha val="54000"/>
            </a:schemeClr>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3" name="Oval 10">
            <a:extLst>
              <a:ext uri="{FF2B5EF4-FFF2-40B4-BE49-F238E27FC236}">
                <a16:creationId xmlns:a16="http://schemas.microsoft.com/office/drawing/2014/main" id="{884FCDA4-67E7-4448-9A7E-CF51D1E89F21}"/>
              </a:ext>
            </a:extLst>
          </p:cNvPr>
          <p:cNvSpPr>
            <a:spLocks noChangeArrowheads="1"/>
          </p:cNvSpPr>
          <p:nvPr/>
        </p:nvSpPr>
        <p:spPr bwMode="auto">
          <a:xfrm>
            <a:off x="2318287" y="2410345"/>
            <a:ext cx="1245126" cy="1252598"/>
          </a:xfrm>
          <a:prstGeom prst="ellipse">
            <a:avLst/>
          </a:prstGeom>
          <a:gradFill>
            <a:gsLst>
              <a:gs pos="73000">
                <a:schemeClr val="accent1"/>
              </a:gs>
              <a:gs pos="31000">
                <a:schemeClr val="accent1">
                  <a:lumMod val="60000"/>
                  <a:lumOff val="40000"/>
                </a:schemeClr>
              </a:gs>
              <a:gs pos="0">
                <a:schemeClr val="accent1">
                  <a:lumMod val="40000"/>
                  <a:lumOff val="60000"/>
                </a:schemeClr>
              </a:gs>
            </a:gsLst>
            <a:path path="circle">
              <a:fillToRect r="100000" b="100000"/>
            </a:path>
          </a:gradFill>
          <a:ln>
            <a:noFill/>
          </a:ln>
          <a:effectLst>
            <a:outerShdw blurRad="444500" dist="317500" dir="5400000" sx="92000" sy="92000" algn="t" rotWithShape="0">
              <a:schemeClr val="accent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4" name="Oval 11">
            <a:extLst>
              <a:ext uri="{FF2B5EF4-FFF2-40B4-BE49-F238E27FC236}">
                <a16:creationId xmlns:a16="http://schemas.microsoft.com/office/drawing/2014/main" id="{2D6C90E8-B052-43DA-9C38-1B9646CC2C58}"/>
              </a:ext>
            </a:extLst>
          </p:cNvPr>
          <p:cNvSpPr>
            <a:spLocks noChangeArrowheads="1"/>
          </p:cNvSpPr>
          <p:nvPr/>
        </p:nvSpPr>
        <p:spPr bwMode="auto">
          <a:xfrm>
            <a:off x="4845894" y="2410345"/>
            <a:ext cx="1247617" cy="1252598"/>
          </a:xfrm>
          <a:prstGeom prst="ellipse">
            <a:avLst/>
          </a:prstGeom>
          <a:gradFill>
            <a:gsLst>
              <a:gs pos="73000">
                <a:schemeClr val="accent1"/>
              </a:gs>
              <a:gs pos="31000">
                <a:schemeClr val="accent1">
                  <a:lumMod val="60000"/>
                  <a:lumOff val="40000"/>
                </a:schemeClr>
              </a:gs>
              <a:gs pos="0">
                <a:schemeClr val="accent1">
                  <a:lumMod val="40000"/>
                  <a:lumOff val="60000"/>
                </a:schemeClr>
              </a:gs>
            </a:gsLst>
            <a:path path="circle">
              <a:fillToRect r="100000" b="100000"/>
            </a:path>
          </a:gradFill>
          <a:ln>
            <a:noFill/>
          </a:ln>
          <a:effectLst>
            <a:outerShdw blurRad="444500" dist="317500" dir="5400000" sx="92000" sy="92000" algn="t" rotWithShape="0">
              <a:schemeClr val="accent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5" name="Oval 12">
            <a:extLst>
              <a:ext uri="{FF2B5EF4-FFF2-40B4-BE49-F238E27FC236}">
                <a16:creationId xmlns:a16="http://schemas.microsoft.com/office/drawing/2014/main" id="{B514E1E0-89D7-46EF-8C8F-560F0D4DE2DE}"/>
              </a:ext>
            </a:extLst>
          </p:cNvPr>
          <p:cNvSpPr>
            <a:spLocks noChangeArrowheads="1"/>
          </p:cNvSpPr>
          <p:nvPr/>
        </p:nvSpPr>
        <p:spPr bwMode="auto">
          <a:xfrm>
            <a:off x="7375992" y="2410345"/>
            <a:ext cx="1245126" cy="1252598"/>
          </a:xfrm>
          <a:prstGeom prst="ellipse">
            <a:avLst/>
          </a:prstGeom>
          <a:gradFill>
            <a:gsLst>
              <a:gs pos="73000">
                <a:schemeClr val="accent1"/>
              </a:gs>
              <a:gs pos="31000">
                <a:schemeClr val="accent1">
                  <a:lumMod val="60000"/>
                  <a:lumOff val="40000"/>
                </a:schemeClr>
              </a:gs>
              <a:gs pos="0">
                <a:schemeClr val="accent1">
                  <a:lumMod val="40000"/>
                  <a:lumOff val="60000"/>
                </a:schemeClr>
              </a:gs>
            </a:gsLst>
            <a:path path="circle">
              <a:fillToRect r="100000" b="100000"/>
            </a:path>
          </a:gradFill>
          <a:ln>
            <a:noFill/>
          </a:ln>
          <a:effectLst>
            <a:outerShdw blurRad="444500" dist="317500" dir="5400000" sx="92000" sy="92000" algn="t" rotWithShape="0">
              <a:schemeClr val="accent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6" name="Oval 13">
            <a:extLst>
              <a:ext uri="{FF2B5EF4-FFF2-40B4-BE49-F238E27FC236}">
                <a16:creationId xmlns:a16="http://schemas.microsoft.com/office/drawing/2014/main" id="{99A55A24-2481-4B60-A126-2FF52618305E}"/>
              </a:ext>
            </a:extLst>
          </p:cNvPr>
          <p:cNvSpPr>
            <a:spLocks noChangeArrowheads="1"/>
          </p:cNvSpPr>
          <p:nvPr/>
        </p:nvSpPr>
        <p:spPr bwMode="auto">
          <a:xfrm>
            <a:off x="3570885" y="3677884"/>
            <a:ext cx="1247617" cy="1252598"/>
          </a:xfrm>
          <a:prstGeom prst="ellipse">
            <a:avLst/>
          </a:prstGeom>
          <a:gradFill>
            <a:gsLst>
              <a:gs pos="73000">
                <a:schemeClr val="accent1"/>
              </a:gs>
              <a:gs pos="31000">
                <a:schemeClr val="accent1">
                  <a:lumMod val="60000"/>
                  <a:lumOff val="40000"/>
                </a:schemeClr>
              </a:gs>
              <a:gs pos="0">
                <a:schemeClr val="accent1">
                  <a:lumMod val="40000"/>
                  <a:lumOff val="60000"/>
                </a:schemeClr>
              </a:gs>
            </a:gsLst>
            <a:path path="circle">
              <a:fillToRect r="100000" b="100000"/>
            </a:path>
          </a:gradFill>
          <a:ln>
            <a:noFill/>
          </a:ln>
          <a:effectLst>
            <a:outerShdw blurRad="444500" dist="317500" dir="5400000" sx="92000" sy="92000" algn="t" rotWithShape="0">
              <a:schemeClr val="accent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7" name="Oval 14">
            <a:extLst>
              <a:ext uri="{FF2B5EF4-FFF2-40B4-BE49-F238E27FC236}">
                <a16:creationId xmlns:a16="http://schemas.microsoft.com/office/drawing/2014/main" id="{96C9B095-F64E-4C90-8995-29E8E9DFCEBF}"/>
              </a:ext>
            </a:extLst>
          </p:cNvPr>
          <p:cNvSpPr>
            <a:spLocks noChangeArrowheads="1"/>
          </p:cNvSpPr>
          <p:nvPr/>
        </p:nvSpPr>
        <p:spPr bwMode="auto">
          <a:xfrm>
            <a:off x="6100981" y="3677884"/>
            <a:ext cx="1245126" cy="1252598"/>
          </a:xfrm>
          <a:prstGeom prst="ellipse">
            <a:avLst/>
          </a:prstGeom>
          <a:gradFill>
            <a:gsLst>
              <a:gs pos="73000">
                <a:schemeClr val="accent1"/>
              </a:gs>
              <a:gs pos="31000">
                <a:schemeClr val="accent1">
                  <a:lumMod val="60000"/>
                  <a:lumOff val="40000"/>
                </a:schemeClr>
              </a:gs>
              <a:gs pos="0">
                <a:schemeClr val="accent1">
                  <a:lumMod val="40000"/>
                  <a:lumOff val="60000"/>
                </a:schemeClr>
              </a:gs>
            </a:gsLst>
            <a:path path="circle">
              <a:fillToRect r="100000" b="100000"/>
            </a:path>
          </a:gradFill>
          <a:ln>
            <a:noFill/>
          </a:ln>
          <a:effectLst>
            <a:outerShdw blurRad="444500" dist="317500" dir="5400000" sx="92000" sy="92000" algn="t" rotWithShape="0">
              <a:schemeClr val="accent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8" name="Oval 15">
            <a:extLst>
              <a:ext uri="{FF2B5EF4-FFF2-40B4-BE49-F238E27FC236}">
                <a16:creationId xmlns:a16="http://schemas.microsoft.com/office/drawing/2014/main" id="{435487AD-AEA1-45C1-A35C-AE5208954F7F}"/>
              </a:ext>
            </a:extLst>
          </p:cNvPr>
          <p:cNvSpPr>
            <a:spLocks noChangeArrowheads="1"/>
          </p:cNvSpPr>
          <p:nvPr/>
        </p:nvSpPr>
        <p:spPr bwMode="auto">
          <a:xfrm>
            <a:off x="8628588" y="3677884"/>
            <a:ext cx="1245126" cy="1252598"/>
          </a:xfrm>
          <a:prstGeom prst="ellipse">
            <a:avLst/>
          </a:prstGeom>
          <a:gradFill>
            <a:gsLst>
              <a:gs pos="73000">
                <a:schemeClr val="accent1"/>
              </a:gs>
              <a:gs pos="31000">
                <a:schemeClr val="accent1">
                  <a:lumMod val="60000"/>
                  <a:lumOff val="40000"/>
                </a:schemeClr>
              </a:gs>
              <a:gs pos="0">
                <a:schemeClr val="accent1">
                  <a:lumMod val="40000"/>
                  <a:lumOff val="60000"/>
                </a:schemeClr>
              </a:gs>
            </a:gsLst>
            <a:path path="circle">
              <a:fillToRect r="100000" b="100000"/>
            </a:path>
          </a:gradFill>
          <a:ln>
            <a:noFill/>
          </a:ln>
          <a:effectLst>
            <a:outerShdw blurRad="444500" dist="317500" dir="5400000" sx="92000" sy="92000" algn="t" rotWithShape="0">
              <a:schemeClr val="accent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15" name="Freeform 5">
            <a:extLst>
              <a:ext uri="{FF2B5EF4-FFF2-40B4-BE49-F238E27FC236}">
                <a16:creationId xmlns:a16="http://schemas.microsoft.com/office/drawing/2014/main" id="{E477FE91-00CC-4329-A430-C1EBBD9E38DB}"/>
              </a:ext>
            </a:extLst>
          </p:cNvPr>
          <p:cNvSpPr>
            <a:spLocks noEditPoints="1"/>
          </p:cNvSpPr>
          <p:nvPr/>
        </p:nvSpPr>
        <p:spPr bwMode="auto">
          <a:xfrm>
            <a:off x="2624887" y="2726905"/>
            <a:ext cx="619480" cy="619478"/>
          </a:xfrm>
          <a:custGeom>
            <a:avLst/>
            <a:gdLst>
              <a:gd name="T0" fmla="*/ 1024 w 2048"/>
              <a:gd name="T1" fmla="*/ 0 h 2048"/>
              <a:gd name="T2" fmla="*/ 0 w 2048"/>
              <a:gd name="T3" fmla="*/ 1024 h 2048"/>
              <a:gd name="T4" fmla="*/ 1024 w 2048"/>
              <a:gd name="T5" fmla="*/ 2048 h 2048"/>
              <a:gd name="T6" fmla="*/ 2048 w 2048"/>
              <a:gd name="T7" fmla="*/ 1024 h 2048"/>
              <a:gd name="T8" fmla="*/ 1024 w 2048"/>
              <a:gd name="T9" fmla="*/ 0 h 2048"/>
              <a:gd name="T10" fmla="*/ 1499 w 2048"/>
              <a:gd name="T11" fmla="*/ 1134 h 2048"/>
              <a:gd name="T12" fmla="*/ 1024 w 2048"/>
              <a:gd name="T13" fmla="*/ 1134 h 2048"/>
              <a:gd name="T14" fmla="*/ 914 w 2048"/>
              <a:gd name="T15" fmla="*/ 1024 h 2048"/>
              <a:gd name="T16" fmla="*/ 914 w 2048"/>
              <a:gd name="T17" fmla="*/ 549 h 2048"/>
              <a:gd name="T18" fmla="*/ 1024 w 2048"/>
              <a:gd name="T19" fmla="*/ 439 h 2048"/>
              <a:gd name="T20" fmla="*/ 1134 w 2048"/>
              <a:gd name="T21" fmla="*/ 549 h 2048"/>
              <a:gd name="T22" fmla="*/ 1134 w 2048"/>
              <a:gd name="T23" fmla="*/ 915 h 2048"/>
              <a:gd name="T24" fmla="*/ 1499 w 2048"/>
              <a:gd name="T25" fmla="*/ 915 h 2048"/>
              <a:gd name="T26" fmla="*/ 1609 w 2048"/>
              <a:gd name="T27" fmla="*/ 1024 h 2048"/>
              <a:gd name="T28" fmla="*/ 1499 w 2048"/>
              <a:gd name="T29" fmla="*/ 1134 h 20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48" h="2048">
                <a:moveTo>
                  <a:pt x="1024" y="0"/>
                </a:moveTo>
                <a:cubicBezTo>
                  <a:pt x="459" y="0"/>
                  <a:pt x="0" y="459"/>
                  <a:pt x="0" y="1024"/>
                </a:cubicBezTo>
                <a:cubicBezTo>
                  <a:pt x="0" y="1589"/>
                  <a:pt x="459" y="2048"/>
                  <a:pt x="1024" y="2048"/>
                </a:cubicBezTo>
                <a:cubicBezTo>
                  <a:pt x="1589" y="2048"/>
                  <a:pt x="2048" y="1589"/>
                  <a:pt x="2048" y="1024"/>
                </a:cubicBezTo>
                <a:cubicBezTo>
                  <a:pt x="2048" y="459"/>
                  <a:pt x="1589" y="0"/>
                  <a:pt x="1024" y="0"/>
                </a:cubicBezTo>
                <a:close/>
                <a:moveTo>
                  <a:pt x="1499" y="1134"/>
                </a:moveTo>
                <a:cubicBezTo>
                  <a:pt x="1024" y="1134"/>
                  <a:pt x="1024" y="1134"/>
                  <a:pt x="1024" y="1134"/>
                </a:cubicBezTo>
                <a:cubicBezTo>
                  <a:pt x="963" y="1134"/>
                  <a:pt x="914" y="1085"/>
                  <a:pt x="914" y="1024"/>
                </a:cubicBezTo>
                <a:cubicBezTo>
                  <a:pt x="914" y="549"/>
                  <a:pt x="914" y="549"/>
                  <a:pt x="914" y="549"/>
                </a:cubicBezTo>
                <a:cubicBezTo>
                  <a:pt x="914" y="489"/>
                  <a:pt x="963" y="439"/>
                  <a:pt x="1024" y="439"/>
                </a:cubicBezTo>
                <a:cubicBezTo>
                  <a:pt x="1085" y="439"/>
                  <a:pt x="1134" y="489"/>
                  <a:pt x="1134" y="549"/>
                </a:cubicBezTo>
                <a:cubicBezTo>
                  <a:pt x="1134" y="915"/>
                  <a:pt x="1134" y="915"/>
                  <a:pt x="1134" y="915"/>
                </a:cubicBezTo>
                <a:cubicBezTo>
                  <a:pt x="1499" y="915"/>
                  <a:pt x="1499" y="915"/>
                  <a:pt x="1499" y="915"/>
                </a:cubicBezTo>
                <a:cubicBezTo>
                  <a:pt x="1560" y="915"/>
                  <a:pt x="1609" y="964"/>
                  <a:pt x="1609" y="1024"/>
                </a:cubicBezTo>
                <a:cubicBezTo>
                  <a:pt x="1609" y="1085"/>
                  <a:pt x="1560" y="1134"/>
                  <a:pt x="1499" y="1134"/>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HarmonyOS Sans SC"/>
              <a:cs typeface="+mn-cs"/>
            </a:endParaRPr>
          </a:p>
        </p:txBody>
      </p:sp>
      <p:grpSp>
        <p:nvGrpSpPr>
          <p:cNvPr id="16" name="Group 30">
            <a:extLst>
              <a:ext uri="{FF2B5EF4-FFF2-40B4-BE49-F238E27FC236}">
                <a16:creationId xmlns:a16="http://schemas.microsoft.com/office/drawing/2014/main" id="{978A837A-6CB7-45CD-85BF-8A2B1385D1CA}"/>
              </a:ext>
            </a:extLst>
          </p:cNvPr>
          <p:cNvGrpSpPr/>
          <p:nvPr/>
        </p:nvGrpSpPr>
        <p:grpSpPr>
          <a:xfrm>
            <a:off x="3976430" y="4034118"/>
            <a:ext cx="436526" cy="542994"/>
            <a:chOff x="4862513" y="3505200"/>
            <a:chExt cx="260350" cy="323851"/>
          </a:xfrm>
          <a:solidFill>
            <a:srgbClr val="FFFFFF"/>
          </a:solidFill>
        </p:grpSpPr>
        <p:sp>
          <p:nvSpPr>
            <p:cNvPr id="17" name="Freeform 9">
              <a:extLst>
                <a:ext uri="{FF2B5EF4-FFF2-40B4-BE49-F238E27FC236}">
                  <a16:creationId xmlns:a16="http://schemas.microsoft.com/office/drawing/2014/main" id="{D4990911-DE52-4FF7-AB6F-17291E0277F1}"/>
                </a:ext>
              </a:extLst>
            </p:cNvPr>
            <p:cNvSpPr>
              <a:spLocks/>
            </p:cNvSpPr>
            <p:nvPr/>
          </p:nvSpPr>
          <p:spPr bwMode="auto">
            <a:xfrm>
              <a:off x="4870451" y="3505200"/>
              <a:ext cx="220663" cy="234950"/>
            </a:xfrm>
            <a:custGeom>
              <a:avLst/>
              <a:gdLst>
                <a:gd name="T0" fmla="*/ 761 w 1393"/>
                <a:gd name="T1" fmla="*/ 0 h 1489"/>
                <a:gd name="T2" fmla="*/ 240 w 1393"/>
                <a:gd name="T3" fmla="*/ 0 h 1489"/>
                <a:gd name="T4" fmla="*/ 93 w 1393"/>
                <a:gd name="T5" fmla="*/ 0 h 1489"/>
                <a:gd name="T6" fmla="*/ 0 w 1393"/>
                <a:gd name="T7" fmla="*/ 93 h 1489"/>
                <a:gd name="T8" fmla="*/ 93 w 1393"/>
                <a:gd name="T9" fmla="*/ 186 h 1489"/>
                <a:gd name="T10" fmla="*/ 147 w 1393"/>
                <a:gd name="T11" fmla="*/ 186 h 1489"/>
                <a:gd name="T12" fmla="*/ 147 w 1393"/>
                <a:gd name="T13" fmla="*/ 938 h 1489"/>
                <a:gd name="T14" fmla="*/ 240 w 1393"/>
                <a:gd name="T15" fmla="*/ 1031 h 1489"/>
                <a:gd name="T16" fmla="*/ 397 w 1393"/>
                <a:gd name="T17" fmla="*/ 1031 h 1489"/>
                <a:gd name="T18" fmla="*/ 462 w 1393"/>
                <a:gd name="T19" fmla="*/ 1004 h 1489"/>
                <a:gd name="T20" fmla="*/ 591 w 1393"/>
                <a:gd name="T21" fmla="*/ 876 h 1489"/>
                <a:gd name="T22" fmla="*/ 591 w 1393"/>
                <a:gd name="T23" fmla="*/ 1100 h 1489"/>
                <a:gd name="T24" fmla="*/ 201 w 1393"/>
                <a:gd name="T25" fmla="*/ 1489 h 1489"/>
                <a:gd name="T26" fmla="*/ 1393 w 1393"/>
                <a:gd name="T27" fmla="*/ 1489 h 1489"/>
                <a:gd name="T28" fmla="*/ 1393 w 1393"/>
                <a:gd name="T29" fmla="*/ 633 h 1489"/>
                <a:gd name="T30" fmla="*/ 761 w 1393"/>
                <a:gd name="T31" fmla="*/ 0 h 14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93" h="1489">
                  <a:moveTo>
                    <a:pt x="761" y="0"/>
                  </a:moveTo>
                  <a:cubicBezTo>
                    <a:pt x="240" y="0"/>
                    <a:pt x="240" y="0"/>
                    <a:pt x="240" y="0"/>
                  </a:cubicBezTo>
                  <a:cubicBezTo>
                    <a:pt x="93" y="0"/>
                    <a:pt x="93" y="0"/>
                    <a:pt x="93" y="0"/>
                  </a:cubicBezTo>
                  <a:cubicBezTo>
                    <a:pt x="41" y="0"/>
                    <a:pt x="0" y="42"/>
                    <a:pt x="0" y="93"/>
                  </a:cubicBezTo>
                  <a:cubicBezTo>
                    <a:pt x="0" y="145"/>
                    <a:pt x="41" y="186"/>
                    <a:pt x="93" y="186"/>
                  </a:cubicBezTo>
                  <a:cubicBezTo>
                    <a:pt x="147" y="186"/>
                    <a:pt x="147" y="186"/>
                    <a:pt x="147" y="186"/>
                  </a:cubicBezTo>
                  <a:cubicBezTo>
                    <a:pt x="147" y="938"/>
                    <a:pt x="147" y="938"/>
                    <a:pt x="147" y="938"/>
                  </a:cubicBezTo>
                  <a:cubicBezTo>
                    <a:pt x="147" y="990"/>
                    <a:pt x="188" y="1031"/>
                    <a:pt x="240" y="1031"/>
                  </a:cubicBezTo>
                  <a:cubicBezTo>
                    <a:pt x="397" y="1031"/>
                    <a:pt x="397" y="1031"/>
                    <a:pt x="397" y="1031"/>
                  </a:cubicBezTo>
                  <a:cubicBezTo>
                    <a:pt x="421" y="1031"/>
                    <a:pt x="445" y="1021"/>
                    <a:pt x="462" y="1004"/>
                  </a:cubicBezTo>
                  <a:cubicBezTo>
                    <a:pt x="591" y="876"/>
                    <a:pt x="591" y="876"/>
                    <a:pt x="591" y="876"/>
                  </a:cubicBezTo>
                  <a:cubicBezTo>
                    <a:pt x="591" y="1100"/>
                    <a:pt x="591" y="1100"/>
                    <a:pt x="591" y="1100"/>
                  </a:cubicBezTo>
                  <a:cubicBezTo>
                    <a:pt x="201" y="1489"/>
                    <a:pt x="201" y="1489"/>
                    <a:pt x="201" y="1489"/>
                  </a:cubicBezTo>
                  <a:cubicBezTo>
                    <a:pt x="1393" y="1489"/>
                    <a:pt x="1393" y="1489"/>
                    <a:pt x="1393" y="1489"/>
                  </a:cubicBezTo>
                  <a:cubicBezTo>
                    <a:pt x="1393" y="633"/>
                    <a:pt x="1393" y="633"/>
                    <a:pt x="1393" y="633"/>
                  </a:cubicBezTo>
                  <a:cubicBezTo>
                    <a:pt x="1393" y="284"/>
                    <a:pt x="1109" y="0"/>
                    <a:pt x="76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18" name="Freeform 10">
              <a:extLst>
                <a:ext uri="{FF2B5EF4-FFF2-40B4-BE49-F238E27FC236}">
                  <a16:creationId xmlns:a16="http://schemas.microsoft.com/office/drawing/2014/main" id="{467AF84A-A65F-434E-8365-B13221640C26}"/>
                </a:ext>
              </a:extLst>
            </p:cNvPr>
            <p:cNvSpPr>
              <a:spLocks/>
            </p:cNvSpPr>
            <p:nvPr/>
          </p:nvSpPr>
          <p:spPr bwMode="auto">
            <a:xfrm>
              <a:off x="4862513" y="3770313"/>
              <a:ext cx="260350" cy="58738"/>
            </a:xfrm>
            <a:custGeom>
              <a:avLst/>
              <a:gdLst>
                <a:gd name="T0" fmla="*/ 0 w 1646"/>
                <a:gd name="T1" fmla="*/ 0 h 372"/>
                <a:gd name="T2" fmla="*/ 0 w 1646"/>
                <a:gd name="T3" fmla="*/ 279 h 372"/>
                <a:gd name="T4" fmla="*/ 93 w 1646"/>
                <a:gd name="T5" fmla="*/ 372 h 372"/>
                <a:gd name="T6" fmla="*/ 1553 w 1646"/>
                <a:gd name="T7" fmla="*/ 372 h 372"/>
                <a:gd name="T8" fmla="*/ 1646 w 1646"/>
                <a:gd name="T9" fmla="*/ 279 h 372"/>
                <a:gd name="T10" fmla="*/ 1646 w 1646"/>
                <a:gd name="T11" fmla="*/ 0 h 372"/>
                <a:gd name="T12" fmla="*/ 0 w 1646"/>
                <a:gd name="T13" fmla="*/ 0 h 372"/>
              </a:gdLst>
              <a:ahLst/>
              <a:cxnLst>
                <a:cxn ang="0">
                  <a:pos x="T0" y="T1"/>
                </a:cxn>
                <a:cxn ang="0">
                  <a:pos x="T2" y="T3"/>
                </a:cxn>
                <a:cxn ang="0">
                  <a:pos x="T4" y="T5"/>
                </a:cxn>
                <a:cxn ang="0">
                  <a:pos x="T6" y="T7"/>
                </a:cxn>
                <a:cxn ang="0">
                  <a:pos x="T8" y="T9"/>
                </a:cxn>
                <a:cxn ang="0">
                  <a:pos x="T10" y="T11"/>
                </a:cxn>
                <a:cxn ang="0">
                  <a:pos x="T12" y="T13"/>
                </a:cxn>
              </a:cxnLst>
              <a:rect l="0" t="0" r="r" b="b"/>
              <a:pathLst>
                <a:path w="1646" h="372">
                  <a:moveTo>
                    <a:pt x="0" y="0"/>
                  </a:moveTo>
                  <a:cubicBezTo>
                    <a:pt x="0" y="279"/>
                    <a:pt x="0" y="279"/>
                    <a:pt x="0" y="279"/>
                  </a:cubicBezTo>
                  <a:cubicBezTo>
                    <a:pt x="0" y="330"/>
                    <a:pt x="42" y="372"/>
                    <a:pt x="93" y="372"/>
                  </a:cubicBezTo>
                  <a:cubicBezTo>
                    <a:pt x="1553" y="372"/>
                    <a:pt x="1553" y="372"/>
                    <a:pt x="1553" y="372"/>
                  </a:cubicBezTo>
                  <a:cubicBezTo>
                    <a:pt x="1604" y="372"/>
                    <a:pt x="1646" y="330"/>
                    <a:pt x="1646" y="279"/>
                  </a:cubicBezTo>
                  <a:cubicBezTo>
                    <a:pt x="1646" y="0"/>
                    <a:pt x="1646" y="0"/>
                    <a:pt x="1646" y="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grpSp>
      <p:sp>
        <p:nvSpPr>
          <p:cNvPr id="19" name="Freeform 14">
            <a:extLst>
              <a:ext uri="{FF2B5EF4-FFF2-40B4-BE49-F238E27FC236}">
                <a16:creationId xmlns:a16="http://schemas.microsoft.com/office/drawing/2014/main" id="{E75D72CD-B2D3-4A6F-A4BC-EE1B520FF725}"/>
              </a:ext>
            </a:extLst>
          </p:cNvPr>
          <p:cNvSpPr>
            <a:spLocks noEditPoints="1"/>
          </p:cNvSpPr>
          <p:nvPr/>
        </p:nvSpPr>
        <p:spPr bwMode="auto">
          <a:xfrm>
            <a:off x="5136112" y="2699298"/>
            <a:ext cx="660956" cy="642420"/>
          </a:xfrm>
          <a:custGeom>
            <a:avLst/>
            <a:gdLst>
              <a:gd name="T0" fmla="*/ 2119 w 2125"/>
              <a:gd name="T1" fmla="*/ 400 h 2053"/>
              <a:gd name="T2" fmla="*/ 2061 w 2125"/>
              <a:gd name="T3" fmla="*/ 337 h 2053"/>
              <a:gd name="T4" fmla="*/ 1857 w 2125"/>
              <a:gd name="T5" fmla="*/ 269 h 2053"/>
              <a:gd name="T6" fmla="*/ 1789 w 2125"/>
              <a:gd name="T7" fmla="*/ 64 h 2053"/>
              <a:gd name="T8" fmla="*/ 1726 w 2125"/>
              <a:gd name="T9" fmla="*/ 7 h 2053"/>
              <a:gd name="T10" fmla="*/ 1645 w 2125"/>
              <a:gd name="T11" fmla="*/ 30 h 2053"/>
              <a:gd name="T12" fmla="*/ 1399 w 2125"/>
              <a:gd name="T13" fmla="*/ 276 h 2053"/>
              <a:gd name="T14" fmla="*/ 1378 w 2125"/>
              <a:gd name="T15" fmla="*/ 365 h 2053"/>
              <a:gd name="T16" fmla="*/ 1443 w 2125"/>
              <a:gd name="T17" fmla="*/ 560 h 2053"/>
              <a:gd name="T18" fmla="*/ 1293 w 2125"/>
              <a:gd name="T19" fmla="*/ 710 h 2053"/>
              <a:gd name="T20" fmla="*/ 826 w 2125"/>
              <a:gd name="T21" fmla="*/ 547 h 2053"/>
              <a:gd name="T22" fmla="*/ 293 w 2125"/>
              <a:gd name="T23" fmla="*/ 768 h 2053"/>
              <a:gd name="T24" fmla="*/ 293 w 2125"/>
              <a:gd name="T25" fmla="*/ 1832 h 2053"/>
              <a:gd name="T26" fmla="*/ 826 w 2125"/>
              <a:gd name="T27" fmla="*/ 2053 h 2053"/>
              <a:gd name="T28" fmla="*/ 1358 w 2125"/>
              <a:gd name="T29" fmla="*/ 1832 h 2053"/>
              <a:gd name="T30" fmla="*/ 1416 w 2125"/>
              <a:gd name="T31" fmla="*/ 833 h 2053"/>
              <a:gd name="T32" fmla="*/ 1566 w 2125"/>
              <a:gd name="T33" fmla="*/ 683 h 2053"/>
              <a:gd name="T34" fmla="*/ 1761 w 2125"/>
              <a:gd name="T35" fmla="*/ 748 h 2053"/>
              <a:gd name="T36" fmla="*/ 1788 w 2125"/>
              <a:gd name="T37" fmla="*/ 752 h 2053"/>
              <a:gd name="T38" fmla="*/ 1850 w 2125"/>
              <a:gd name="T39" fmla="*/ 727 h 2053"/>
              <a:gd name="T40" fmla="*/ 2095 w 2125"/>
              <a:gd name="T41" fmla="*/ 481 h 2053"/>
              <a:gd name="T42" fmla="*/ 2119 w 2125"/>
              <a:gd name="T43" fmla="*/ 400 h 2053"/>
              <a:gd name="T44" fmla="*/ 1235 w 2125"/>
              <a:gd name="T45" fmla="*/ 1710 h 2053"/>
              <a:gd name="T46" fmla="*/ 826 w 2125"/>
              <a:gd name="T47" fmla="*/ 1879 h 2053"/>
              <a:gd name="T48" fmla="*/ 416 w 2125"/>
              <a:gd name="T49" fmla="*/ 1710 h 2053"/>
              <a:gd name="T50" fmla="*/ 416 w 2125"/>
              <a:gd name="T51" fmla="*/ 890 h 2053"/>
              <a:gd name="T52" fmla="*/ 826 w 2125"/>
              <a:gd name="T53" fmla="*/ 721 h 2053"/>
              <a:gd name="T54" fmla="*/ 1169 w 2125"/>
              <a:gd name="T55" fmla="*/ 834 h 2053"/>
              <a:gd name="T56" fmla="*/ 1044 w 2125"/>
              <a:gd name="T57" fmla="*/ 959 h 2053"/>
              <a:gd name="T58" fmla="*/ 826 w 2125"/>
              <a:gd name="T59" fmla="*/ 895 h 2053"/>
              <a:gd name="T60" fmla="*/ 539 w 2125"/>
              <a:gd name="T61" fmla="*/ 1013 h 2053"/>
              <a:gd name="T62" fmla="*/ 420 w 2125"/>
              <a:gd name="T63" fmla="*/ 1300 h 2053"/>
              <a:gd name="T64" fmla="*/ 539 w 2125"/>
              <a:gd name="T65" fmla="*/ 1587 h 2053"/>
              <a:gd name="T66" fmla="*/ 826 w 2125"/>
              <a:gd name="T67" fmla="*/ 1705 h 2053"/>
              <a:gd name="T68" fmla="*/ 1112 w 2125"/>
              <a:gd name="T69" fmla="*/ 1587 h 2053"/>
              <a:gd name="T70" fmla="*/ 1167 w 2125"/>
              <a:gd name="T71" fmla="*/ 1081 h 2053"/>
              <a:gd name="T72" fmla="*/ 1292 w 2125"/>
              <a:gd name="T73" fmla="*/ 957 h 2053"/>
              <a:gd name="T74" fmla="*/ 1235 w 2125"/>
              <a:gd name="T75" fmla="*/ 1710 h 2053"/>
              <a:gd name="T76" fmla="*/ 764 w 2125"/>
              <a:gd name="T77" fmla="*/ 1361 h 2053"/>
              <a:gd name="T78" fmla="*/ 826 w 2125"/>
              <a:gd name="T79" fmla="*/ 1387 h 2053"/>
              <a:gd name="T80" fmla="*/ 887 w 2125"/>
              <a:gd name="T81" fmla="*/ 1361 h 2053"/>
              <a:gd name="T82" fmla="*/ 1039 w 2125"/>
              <a:gd name="T83" fmla="*/ 1210 h 2053"/>
              <a:gd name="T84" fmla="*/ 990 w 2125"/>
              <a:gd name="T85" fmla="*/ 1464 h 2053"/>
              <a:gd name="T86" fmla="*/ 826 w 2125"/>
              <a:gd name="T87" fmla="*/ 1532 h 2053"/>
              <a:gd name="T88" fmla="*/ 662 w 2125"/>
              <a:gd name="T89" fmla="*/ 1464 h 2053"/>
              <a:gd name="T90" fmla="*/ 594 w 2125"/>
              <a:gd name="T91" fmla="*/ 1300 h 2053"/>
              <a:gd name="T92" fmla="*/ 662 w 2125"/>
              <a:gd name="T93" fmla="*/ 1136 h 2053"/>
              <a:gd name="T94" fmla="*/ 826 w 2125"/>
              <a:gd name="T95" fmla="*/ 1068 h 2053"/>
              <a:gd name="T96" fmla="*/ 916 w 2125"/>
              <a:gd name="T97" fmla="*/ 1087 h 2053"/>
              <a:gd name="T98" fmla="*/ 764 w 2125"/>
              <a:gd name="T99" fmla="*/ 1239 h 2053"/>
              <a:gd name="T100" fmla="*/ 764 w 2125"/>
              <a:gd name="T101" fmla="*/ 1361 h 20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125" h="2053">
                <a:moveTo>
                  <a:pt x="2119" y="400"/>
                </a:moveTo>
                <a:cubicBezTo>
                  <a:pt x="2112" y="370"/>
                  <a:pt x="2090" y="347"/>
                  <a:pt x="2061" y="337"/>
                </a:cubicBezTo>
                <a:cubicBezTo>
                  <a:pt x="1857" y="269"/>
                  <a:pt x="1857" y="269"/>
                  <a:pt x="1857" y="269"/>
                </a:cubicBezTo>
                <a:cubicBezTo>
                  <a:pt x="1789" y="64"/>
                  <a:pt x="1789" y="64"/>
                  <a:pt x="1789" y="64"/>
                </a:cubicBezTo>
                <a:cubicBezTo>
                  <a:pt x="1779" y="36"/>
                  <a:pt x="1756" y="14"/>
                  <a:pt x="1726" y="7"/>
                </a:cubicBezTo>
                <a:cubicBezTo>
                  <a:pt x="1697" y="0"/>
                  <a:pt x="1666" y="9"/>
                  <a:pt x="1645" y="30"/>
                </a:cubicBezTo>
                <a:cubicBezTo>
                  <a:pt x="1399" y="276"/>
                  <a:pt x="1399" y="276"/>
                  <a:pt x="1399" y="276"/>
                </a:cubicBezTo>
                <a:cubicBezTo>
                  <a:pt x="1376" y="299"/>
                  <a:pt x="1368" y="334"/>
                  <a:pt x="1378" y="365"/>
                </a:cubicBezTo>
                <a:cubicBezTo>
                  <a:pt x="1443" y="560"/>
                  <a:pt x="1443" y="560"/>
                  <a:pt x="1443" y="560"/>
                </a:cubicBezTo>
                <a:cubicBezTo>
                  <a:pt x="1293" y="710"/>
                  <a:pt x="1293" y="710"/>
                  <a:pt x="1293" y="710"/>
                </a:cubicBezTo>
                <a:cubicBezTo>
                  <a:pt x="1161" y="604"/>
                  <a:pt x="998" y="547"/>
                  <a:pt x="826" y="547"/>
                </a:cubicBezTo>
                <a:cubicBezTo>
                  <a:pt x="625" y="547"/>
                  <a:pt x="436" y="625"/>
                  <a:pt x="293" y="768"/>
                </a:cubicBezTo>
                <a:cubicBezTo>
                  <a:pt x="0" y="1061"/>
                  <a:pt x="0" y="1539"/>
                  <a:pt x="293" y="1832"/>
                </a:cubicBezTo>
                <a:cubicBezTo>
                  <a:pt x="436" y="1975"/>
                  <a:pt x="625" y="2053"/>
                  <a:pt x="826" y="2053"/>
                </a:cubicBezTo>
                <a:cubicBezTo>
                  <a:pt x="1027" y="2053"/>
                  <a:pt x="1216" y="1975"/>
                  <a:pt x="1358" y="1832"/>
                </a:cubicBezTo>
                <a:cubicBezTo>
                  <a:pt x="1631" y="1560"/>
                  <a:pt x="1650" y="1128"/>
                  <a:pt x="1416" y="833"/>
                </a:cubicBezTo>
                <a:cubicBezTo>
                  <a:pt x="1566" y="683"/>
                  <a:pt x="1566" y="683"/>
                  <a:pt x="1566" y="683"/>
                </a:cubicBezTo>
                <a:cubicBezTo>
                  <a:pt x="1761" y="748"/>
                  <a:pt x="1761" y="748"/>
                  <a:pt x="1761" y="748"/>
                </a:cubicBezTo>
                <a:cubicBezTo>
                  <a:pt x="1770" y="751"/>
                  <a:pt x="1779" y="752"/>
                  <a:pt x="1788" y="752"/>
                </a:cubicBezTo>
                <a:cubicBezTo>
                  <a:pt x="1811" y="752"/>
                  <a:pt x="1833" y="743"/>
                  <a:pt x="1850" y="727"/>
                </a:cubicBezTo>
                <a:cubicBezTo>
                  <a:pt x="2095" y="481"/>
                  <a:pt x="2095" y="481"/>
                  <a:pt x="2095" y="481"/>
                </a:cubicBezTo>
                <a:cubicBezTo>
                  <a:pt x="2117" y="460"/>
                  <a:pt x="2125" y="429"/>
                  <a:pt x="2119" y="400"/>
                </a:cubicBezTo>
                <a:close/>
                <a:moveTo>
                  <a:pt x="1235" y="1710"/>
                </a:moveTo>
                <a:cubicBezTo>
                  <a:pt x="1126" y="1819"/>
                  <a:pt x="980" y="1879"/>
                  <a:pt x="826" y="1879"/>
                </a:cubicBezTo>
                <a:cubicBezTo>
                  <a:pt x="671" y="1879"/>
                  <a:pt x="526" y="1819"/>
                  <a:pt x="416" y="1710"/>
                </a:cubicBezTo>
                <a:cubicBezTo>
                  <a:pt x="190" y="1484"/>
                  <a:pt x="190" y="1116"/>
                  <a:pt x="416" y="890"/>
                </a:cubicBezTo>
                <a:cubicBezTo>
                  <a:pt x="526" y="781"/>
                  <a:pt x="671" y="721"/>
                  <a:pt x="826" y="721"/>
                </a:cubicBezTo>
                <a:cubicBezTo>
                  <a:pt x="951" y="721"/>
                  <a:pt x="1070" y="760"/>
                  <a:pt x="1169" y="834"/>
                </a:cubicBezTo>
                <a:cubicBezTo>
                  <a:pt x="1044" y="959"/>
                  <a:pt x="1044" y="959"/>
                  <a:pt x="1044" y="959"/>
                </a:cubicBezTo>
                <a:cubicBezTo>
                  <a:pt x="980" y="917"/>
                  <a:pt x="904" y="895"/>
                  <a:pt x="826" y="895"/>
                </a:cubicBezTo>
                <a:cubicBezTo>
                  <a:pt x="717" y="895"/>
                  <a:pt x="616" y="937"/>
                  <a:pt x="539" y="1013"/>
                </a:cubicBezTo>
                <a:cubicBezTo>
                  <a:pt x="463" y="1090"/>
                  <a:pt x="420" y="1192"/>
                  <a:pt x="420" y="1300"/>
                </a:cubicBezTo>
                <a:cubicBezTo>
                  <a:pt x="420" y="1408"/>
                  <a:pt x="463" y="1510"/>
                  <a:pt x="539" y="1587"/>
                </a:cubicBezTo>
                <a:cubicBezTo>
                  <a:pt x="616" y="1663"/>
                  <a:pt x="717" y="1705"/>
                  <a:pt x="826" y="1705"/>
                </a:cubicBezTo>
                <a:cubicBezTo>
                  <a:pt x="934" y="1705"/>
                  <a:pt x="1036" y="1663"/>
                  <a:pt x="1112" y="1587"/>
                </a:cubicBezTo>
                <a:cubicBezTo>
                  <a:pt x="1249" y="1450"/>
                  <a:pt x="1268" y="1238"/>
                  <a:pt x="1167" y="1081"/>
                </a:cubicBezTo>
                <a:cubicBezTo>
                  <a:pt x="1292" y="957"/>
                  <a:pt x="1292" y="957"/>
                  <a:pt x="1292" y="957"/>
                </a:cubicBezTo>
                <a:cubicBezTo>
                  <a:pt x="1459" y="1183"/>
                  <a:pt x="1440" y="1505"/>
                  <a:pt x="1235" y="1710"/>
                </a:cubicBezTo>
                <a:close/>
                <a:moveTo>
                  <a:pt x="764" y="1361"/>
                </a:moveTo>
                <a:cubicBezTo>
                  <a:pt x="781" y="1378"/>
                  <a:pt x="804" y="1387"/>
                  <a:pt x="826" y="1387"/>
                </a:cubicBezTo>
                <a:cubicBezTo>
                  <a:pt x="848" y="1387"/>
                  <a:pt x="870" y="1378"/>
                  <a:pt x="887" y="1361"/>
                </a:cubicBezTo>
                <a:cubicBezTo>
                  <a:pt x="1039" y="1210"/>
                  <a:pt x="1039" y="1210"/>
                  <a:pt x="1039" y="1210"/>
                </a:cubicBezTo>
                <a:cubicBezTo>
                  <a:pt x="1075" y="1294"/>
                  <a:pt x="1058" y="1395"/>
                  <a:pt x="990" y="1464"/>
                </a:cubicBezTo>
                <a:cubicBezTo>
                  <a:pt x="946" y="1508"/>
                  <a:pt x="888" y="1532"/>
                  <a:pt x="826" y="1532"/>
                </a:cubicBezTo>
                <a:cubicBezTo>
                  <a:pt x="764" y="1532"/>
                  <a:pt x="706" y="1508"/>
                  <a:pt x="662" y="1464"/>
                </a:cubicBezTo>
                <a:cubicBezTo>
                  <a:pt x="618" y="1420"/>
                  <a:pt x="594" y="1362"/>
                  <a:pt x="594" y="1300"/>
                </a:cubicBezTo>
                <a:cubicBezTo>
                  <a:pt x="594" y="1238"/>
                  <a:pt x="618" y="1180"/>
                  <a:pt x="662" y="1136"/>
                </a:cubicBezTo>
                <a:cubicBezTo>
                  <a:pt x="706" y="1092"/>
                  <a:pt x="764" y="1068"/>
                  <a:pt x="826" y="1068"/>
                </a:cubicBezTo>
                <a:cubicBezTo>
                  <a:pt x="857" y="1068"/>
                  <a:pt x="888" y="1075"/>
                  <a:pt x="916" y="1087"/>
                </a:cubicBezTo>
                <a:cubicBezTo>
                  <a:pt x="764" y="1239"/>
                  <a:pt x="764" y="1239"/>
                  <a:pt x="764" y="1239"/>
                </a:cubicBezTo>
                <a:cubicBezTo>
                  <a:pt x="730" y="1273"/>
                  <a:pt x="730" y="1328"/>
                  <a:pt x="764" y="1361"/>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grpSp>
        <p:nvGrpSpPr>
          <p:cNvPr id="20" name="Group 34">
            <a:extLst>
              <a:ext uri="{FF2B5EF4-FFF2-40B4-BE49-F238E27FC236}">
                <a16:creationId xmlns:a16="http://schemas.microsoft.com/office/drawing/2014/main" id="{A307CB26-C0C1-419E-BFE1-3B60C62B24A2}"/>
              </a:ext>
            </a:extLst>
          </p:cNvPr>
          <p:cNvGrpSpPr/>
          <p:nvPr/>
        </p:nvGrpSpPr>
        <p:grpSpPr>
          <a:xfrm>
            <a:off x="6460340" y="4042215"/>
            <a:ext cx="526408" cy="523935"/>
            <a:chOff x="9682163" y="3494088"/>
            <a:chExt cx="338137" cy="336551"/>
          </a:xfrm>
          <a:solidFill>
            <a:srgbClr val="FFFFFF"/>
          </a:solidFill>
        </p:grpSpPr>
        <p:sp>
          <p:nvSpPr>
            <p:cNvPr id="21" name="Rectangle 18">
              <a:extLst>
                <a:ext uri="{FF2B5EF4-FFF2-40B4-BE49-F238E27FC236}">
                  <a16:creationId xmlns:a16="http://schemas.microsoft.com/office/drawing/2014/main" id="{AE96BBAC-E152-4E75-A69D-DE3FD59F9300}"/>
                </a:ext>
              </a:extLst>
            </p:cNvPr>
            <p:cNvSpPr>
              <a:spLocks noChangeArrowheads="1"/>
            </p:cNvSpPr>
            <p:nvPr/>
          </p:nvSpPr>
          <p:spPr bwMode="auto">
            <a:xfrm>
              <a:off x="9836150" y="3687763"/>
              <a:ext cx="30162" cy="301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22" name="Freeform 19">
              <a:extLst>
                <a:ext uri="{FF2B5EF4-FFF2-40B4-BE49-F238E27FC236}">
                  <a16:creationId xmlns:a16="http://schemas.microsoft.com/office/drawing/2014/main" id="{1FF83C33-D870-425F-851A-A541A6E36780}"/>
                </a:ext>
              </a:extLst>
            </p:cNvPr>
            <p:cNvSpPr>
              <a:spLocks noEditPoints="1"/>
            </p:cNvSpPr>
            <p:nvPr/>
          </p:nvSpPr>
          <p:spPr bwMode="auto">
            <a:xfrm>
              <a:off x="9682163" y="3494088"/>
              <a:ext cx="338137" cy="163513"/>
            </a:xfrm>
            <a:custGeom>
              <a:avLst/>
              <a:gdLst>
                <a:gd name="T0" fmla="*/ 1955 w 2048"/>
                <a:gd name="T1" fmla="*/ 372 h 993"/>
                <a:gd name="T2" fmla="*/ 1427 w 2048"/>
                <a:gd name="T3" fmla="*/ 372 h 993"/>
                <a:gd name="T4" fmla="*/ 1427 w 2048"/>
                <a:gd name="T5" fmla="*/ 93 h 993"/>
                <a:gd name="T6" fmla="*/ 1334 w 2048"/>
                <a:gd name="T7" fmla="*/ 0 h 993"/>
                <a:gd name="T8" fmla="*/ 714 w 2048"/>
                <a:gd name="T9" fmla="*/ 0 h 993"/>
                <a:gd name="T10" fmla="*/ 621 w 2048"/>
                <a:gd name="T11" fmla="*/ 93 h 993"/>
                <a:gd name="T12" fmla="*/ 621 w 2048"/>
                <a:gd name="T13" fmla="*/ 372 h 993"/>
                <a:gd name="T14" fmla="*/ 93 w 2048"/>
                <a:gd name="T15" fmla="*/ 372 h 993"/>
                <a:gd name="T16" fmla="*/ 0 w 2048"/>
                <a:gd name="T17" fmla="*/ 465 h 993"/>
                <a:gd name="T18" fmla="*/ 0 w 2048"/>
                <a:gd name="T19" fmla="*/ 781 h 993"/>
                <a:gd name="T20" fmla="*/ 93 w 2048"/>
                <a:gd name="T21" fmla="*/ 804 h 993"/>
                <a:gd name="T22" fmla="*/ 186 w 2048"/>
                <a:gd name="T23" fmla="*/ 827 h 993"/>
                <a:gd name="T24" fmla="*/ 849 w 2048"/>
                <a:gd name="T25" fmla="*/ 993 h 993"/>
                <a:gd name="T26" fmla="*/ 1199 w 2048"/>
                <a:gd name="T27" fmla="*/ 993 h 993"/>
                <a:gd name="T28" fmla="*/ 1862 w 2048"/>
                <a:gd name="T29" fmla="*/ 827 h 993"/>
                <a:gd name="T30" fmla="*/ 1955 w 2048"/>
                <a:gd name="T31" fmla="*/ 804 h 993"/>
                <a:gd name="T32" fmla="*/ 2048 w 2048"/>
                <a:gd name="T33" fmla="*/ 781 h 993"/>
                <a:gd name="T34" fmla="*/ 2048 w 2048"/>
                <a:gd name="T35" fmla="*/ 465 h 993"/>
                <a:gd name="T36" fmla="*/ 1955 w 2048"/>
                <a:gd name="T37" fmla="*/ 372 h 993"/>
                <a:gd name="T38" fmla="*/ 1241 w 2048"/>
                <a:gd name="T39" fmla="*/ 372 h 993"/>
                <a:gd name="T40" fmla="*/ 807 w 2048"/>
                <a:gd name="T41" fmla="*/ 372 h 993"/>
                <a:gd name="T42" fmla="*/ 807 w 2048"/>
                <a:gd name="T43" fmla="*/ 186 h 993"/>
                <a:gd name="T44" fmla="*/ 1241 w 2048"/>
                <a:gd name="T45" fmla="*/ 186 h 993"/>
                <a:gd name="T46" fmla="*/ 1241 w 2048"/>
                <a:gd name="T47" fmla="*/ 372 h 9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048" h="993">
                  <a:moveTo>
                    <a:pt x="1955" y="372"/>
                  </a:moveTo>
                  <a:cubicBezTo>
                    <a:pt x="1427" y="372"/>
                    <a:pt x="1427" y="372"/>
                    <a:pt x="1427" y="372"/>
                  </a:cubicBezTo>
                  <a:cubicBezTo>
                    <a:pt x="1427" y="93"/>
                    <a:pt x="1427" y="93"/>
                    <a:pt x="1427" y="93"/>
                  </a:cubicBezTo>
                  <a:cubicBezTo>
                    <a:pt x="1427" y="42"/>
                    <a:pt x="1386" y="0"/>
                    <a:pt x="1334" y="0"/>
                  </a:cubicBezTo>
                  <a:cubicBezTo>
                    <a:pt x="714" y="0"/>
                    <a:pt x="714" y="0"/>
                    <a:pt x="714" y="0"/>
                  </a:cubicBezTo>
                  <a:cubicBezTo>
                    <a:pt x="662" y="0"/>
                    <a:pt x="621" y="42"/>
                    <a:pt x="621" y="93"/>
                  </a:cubicBezTo>
                  <a:cubicBezTo>
                    <a:pt x="621" y="372"/>
                    <a:pt x="621" y="372"/>
                    <a:pt x="621" y="372"/>
                  </a:cubicBezTo>
                  <a:cubicBezTo>
                    <a:pt x="93" y="372"/>
                    <a:pt x="93" y="372"/>
                    <a:pt x="93" y="372"/>
                  </a:cubicBezTo>
                  <a:cubicBezTo>
                    <a:pt x="42" y="372"/>
                    <a:pt x="0" y="414"/>
                    <a:pt x="0" y="465"/>
                  </a:cubicBezTo>
                  <a:cubicBezTo>
                    <a:pt x="0" y="781"/>
                    <a:pt x="0" y="781"/>
                    <a:pt x="0" y="781"/>
                  </a:cubicBezTo>
                  <a:cubicBezTo>
                    <a:pt x="93" y="804"/>
                    <a:pt x="93" y="804"/>
                    <a:pt x="93" y="804"/>
                  </a:cubicBezTo>
                  <a:cubicBezTo>
                    <a:pt x="186" y="827"/>
                    <a:pt x="186" y="827"/>
                    <a:pt x="186" y="827"/>
                  </a:cubicBezTo>
                  <a:cubicBezTo>
                    <a:pt x="849" y="993"/>
                    <a:pt x="849" y="993"/>
                    <a:pt x="849" y="993"/>
                  </a:cubicBezTo>
                  <a:cubicBezTo>
                    <a:pt x="1199" y="993"/>
                    <a:pt x="1199" y="993"/>
                    <a:pt x="1199" y="993"/>
                  </a:cubicBezTo>
                  <a:cubicBezTo>
                    <a:pt x="1862" y="827"/>
                    <a:pt x="1862" y="827"/>
                    <a:pt x="1862" y="827"/>
                  </a:cubicBezTo>
                  <a:cubicBezTo>
                    <a:pt x="1955" y="804"/>
                    <a:pt x="1955" y="804"/>
                    <a:pt x="1955" y="804"/>
                  </a:cubicBezTo>
                  <a:cubicBezTo>
                    <a:pt x="2048" y="781"/>
                    <a:pt x="2048" y="781"/>
                    <a:pt x="2048" y="781"/>
                  </a:cubicBezTo>
                  <a:cubicBezTo>
                    <a:pt x="2048" y="465"/>
                    <a:pt x="2048" y="465"/>
                    <a:pt x="2048" y="465"/>
                  </a:cubicBezTo>
                  <a:cubicBezTo>
                    <a:pt x="2048" y="414"/>
                    <a:pt x="2006" y="372"/>
                    <a:pt x="1955" y="372"/>
                  </a:cubicBezTo>
                  <a:close/>
                  <a:moveTo>
                    <a:pt x="1241" y="372"/>
                  </a:moveTo>
                  <a:cubicBezTo>
                    <a:pt x="807" y="372"/>
                    <a:pt x="807" y="372"/>
                    <a:pt x="807" y="372"/>
                  </a:cubicBezTo>
                  <a:cubicBezTo>
                    <a:pt x="807" y="186"/>
                    <a:pt x="807" y="186"/>
                    <a:pt x="807" y="186"/>
                  </a:cubicBezTo>
                  <a:cubicBezTo>
                    <a:pt x="1241" y="186"/>
                    <a:pt x="1241" y="186"/>
                    <a:pt x="1241" y="186"/>
                  </a:cubicBezTo>
                  <a:lnTo>
                    <a:pt x="1241" y="3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23" name="Freeform 20">
              <a:extLst>
                <a:ext uri="{FF2B5EF4-FFF2-40B4-BE49-F238E27FC236}">
                  <a16:creationId xmlns:a16="http://schemas.microsoft.com/office/drawing/2014/main" id="{7C2FF46D-1CE5-473F-92A9-E0CC3C2E7F29}"/>
                </a:ext>
              </a:extLst>
            </p:cNvPr>
            <p:cNvSpPr>
              <a:spLocks/>
            </p:cNvSpPr>
            <p:nvPr/>
          </p:nvSpPr>
          <p:spPr bwMode="auto">
            <a:xfrm>
              <a:off x="9682163" y="3654426"/>
              <a:ext cx="338137" cy="176213"/>
            </a:xfrm>
            <a:custGeom>
              <a:avLst/>
              <a:gdLst>
                <a:gd name="T0" fmla="*/ 1955 w 2048"/>
                <a:gd name="T1" fmla="*/ 23 h 1075"/>
                <a:gd name="T2" fmla="*/ 1862 w 2048"/>
                <a:gd name="T3" fmla="*/ 46 h 1075"/>
                <a:gd name="T4" fmla="*/ 1303 w 2048"/>
                <a:gd name="T5" fmla="*/ 186 h 1075"/>
                <a:gd name="T6" fmla="*/ 1303 w 2048"/>
                <a:gd name="T7" fmla="*/ 485 h 1075"/>
                <a:gd name="T8" fmla="*/ 1210 w 2048"/>
                <a:gd name="T9" fmla="*/ 579 h 1075"/>
                <a:gd name="T10" fmla="*/ 838 w 2048"/>
                <a:gd name="T11" fmla="*/ 579 h 1075"/>
                <a:gd name="T12" fmla="*/ 745 w 2048"/>
                <a:gd name="T13" fmla="*/ 485 h 1075"/>
                <a:gd name="T14" fmla="*/ 745 w 2048"/>
                <a:gd name="T15" fmla="*/ 186 h 1075"/>
                <a:gd name="T16" fmla="*/ 186 w 2048"/>
                <a:gd name="T17" fmla="*/ 46 h 1075"/>
                <a:gd name="T18" fmla="*/ 93 w 2048"/>
                <a:gd name="T19" fmla="*/ 23 h 1075"/>
                <a:gd name="T20" fmla="*/ 0 w 2048"/>
                <a:gd name="T21" fmla="*/ 0 h 1075"/>
                <a:gd name="T22" fmla="*/ 0 w 2048"/>
                <a:gd name="T23" fmla="*/ 982 h 1075"/>
                <a:gd name="T24" fmla="*/ 93 w 2048"/>
                <a:gd name="T25" fmla="*/ 1075 h 1075"/>
                <a:gd name="T26" fmla="*/ 1955 w 2048"/>
                <a:gd name="T27" fmla="*/ 1075 h 1075"/>
                <a:gd name="T28" fmla="*/ 2048 w 2048"/>
                <a:gd name="T29" fmla="*/ 982 h 1075"/>
                <a:gd name="T30" fmla="*/ 2048 w 2048"/>
                <a:gd name="T31" fmla="*/ 0 h 1075"/>
                <a:gd name="T32" fmla="*/ 1955 w 2048"/>
                <a:gd name="T33" fmla="*/ 23 h 10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48" h="1075">
                  <a:moveTo>
                    <a:pt x="1955" y="23"/>
                  </a:moveTo>
                  <a:cubicBezTo>
                    <a:pt x="1862" y="46"/>
                    <a:pt x="1862" y="46"/>
                    <a:pt x="1862" y="46"/>
                  </a:cubicBezTo>
                  <a:cubicBezTo>
                    <a:pt x="1303" y="186"/>
                    <a:pt x="1303" y="186"/>
                    <a:pt x="1303" y="186"/>
                  </a:cubicBezTo>
                  <a:cubicBezTo>
                    <a:pt x="1303" y="485"/>
                    <a:pt x="1303" y="485"/>
                    <a:pt x="1303" y="485"/>
                  </a:cubicBezTo>
                  <a:cubicBezTo>
                    <a:pt x="1303" y="537"/>
                    <a:pt x="1262" y="579"/>
                    <a:pt x="1210" y="579"/>
                  </a:cubicBezTo>
                  <a:cubicBezTo>
                    <a:pt x="838" y="579"/>
                    <a:pt x="838" y="579"/>
                    <a:pt x="838" y="579"/>
                  </a:cubicBezTo>
                  <a:cubicBezTo>
                    <a:pt x="786" y="579"/>
                    <a:pt x="745" y="537"/>
                    <a:pt x="745" y="485"/>
                  </a:cubicBezTo>
                  <a:cubicBezTo>
                    <a:pt x="745" y="186"/>
                    <a:pt x="745" y="186"/>
                    <a:pt x="745" y="186"/>
                  </a:cubicBezTo>
                  <a:cubicBezTo>
                    <a:pt x="186" y="46"/>
                    <a:pt x="186" y="46"/>
                    <a:pt x="186" y="46"/>
                  </a:cubicBezTo>
                  <a:cubicBezTo>
                    <a:pt x="93" y="23"/>
                    <a:pt x="93" y="23"/>
                    <a:pt x="93" y="23"/>
                  </a:cubicBezTo>
                  <a:cubicBezTo>
                    <a:pt x="0" y="0"/>
                    <a:pt x="0" y="0"/>
                    <a:pt x="0" y="0"/>
                  </a:cubicBezTo>
                  <a:cubicBezTo>
                    <a:pt x="0" y="982"/>
                    <a:pt x="0" y="982"/>
                    <a:pt x="0" y="982"/>
                  </a:cubicBezTo>
                  <a:cubicBezTo>
                    <a:pt x="0" y="1033"/>
                    <a:pt x="42" y="1075"/>
                    <a:pt x="93" y="1075"/>
                  </a:cubicBezTo>
                  <a:cubicBezTo>
                    <a:pt x="1955" y="1075"/>
                    <a:pt x="1955" y="1075"/>
                    <a:pt x="1955" y="1075"/>
                  </a:cubicBezTo>
                  <a:cubicBezTo>
                    <a:pt x="2006" y="1075"/>
                    <a:pt x="2048" y="1033"/>
                    <a:pt x="2048" y="982"/>
                  </a:cubicBezTo>
                  <a:cubicBezTo>
                    <a:pt x="2048" y="0"/>
                    <a:pt x="2048" y="0"/>
                    <a:pt x="2048" y="0"/>
                  </a:cubicBezTo>
                  <a:lnTo>
                    <a:pt x="1955" y="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HarmonyOS Sans SC"/>
                <a:cs typeface="+mn-cs"/>
              </a:endParaRPr>
            </a:p>
          </p:txBody>
        </p:sp>
      </p:grpSp>
      <p:grpSp>
        <p:nvGrpSpPr>
          <p:cNvPr id="24" name="Group 38">
            <a:extLst>
              <a:ext uri="{FF2B5EF4-FFF2-40B4-BE49-F238E27FC236}">
                <a16:creationId xmlns:a16="http://schemas.microsoft.com/office/drawing/2014/main" id="{497F8477-ABBF-41D8-A7EF-284D92319B75}"/>
              </a:ext>
            </a:extLst>
          </p:cNvPr>
          <p:cNvGrpSpPr/>
          <p:nvPr/>
        </p:nvGrpSpPr>
        <p:grpSpPr>
          <a:xfrm>
            <a:off x="9016806" y="3967083"/>
            <a:ext cx="538124" cy="594338"/>
            <a:chOff x="5153025" y="2384426"/>
            <a:chExt cx="1884363" cy="2081213"/>
          </a:xfrm>
          <a:solidFill>
            <a:srgbClr val="FFFFFF"/>
          </a:solidFill>
        </p:grpSpPr>
        <p:sp>
          <p:nvSpPr>
            <p:cNvPr id="25" name="Freeform 5">
              <a:extLst>
                <a:ext uri="{FF2B5EF4-FFF2-40B4-BE49-F238E27FC236}">
                  <a16:creationId xmlns:a16="http://schemas.microsoft.com/office/drawing/2014/main" id="{AB2EF2D4-724B-47E7-83FC-85C9DD62F445}"/>
                </a:ext>
              </a:extLst>
            </p:cNvPr>
            <p:cNvSpPr>
              <a:spLocks/>
            </p:cNvSpPr>
            <p:nvPr/>
          </p:nvSpPr>
          <p:spPr bwMode="auto">
            <a:xfrm>
              <a:off x="5529263" y="2384426"/>
              <a:ext cx="377825" cy="763588"/>
            </a:xfrm>
            <a:custGeom>
              <a:avLst/>
              <a:gdLst>
                <a:gd name="T0" fmla="*/ 252 w 373"/>
                <a:gd name="T1" fmla="*/ 409 h 754"/>
                <a:gd name="T2" fmla="*/ 187 w 373"/>
                <a:gd name="T3" fmla="*/ 288 h 754"/>
                <a:gd name="T4" fmla="*/ 252 w 373"/>
                <a:gd name="T5" fmla="*/ 168 h 754"/>
                <a:gd name="T6" fmla="*/ 252 w 373"/>
                <a:gd name="T7" fmla="*/ 36 h 754"/>
                <a:gd name="T8" fmla="*/ 121 w 373"/>
                <a:gd name="T9" fmla="*/ 36 h 754"/>
                <a:gd name="T10" fmla="*/ 0 w 373"/>
                <a:gd name="T11" fmla="*/ 288 h 754"/>
                <a:gd name="T12" fmla="*/ 121 w 373"/>
                <a:gd name="T13" fmla="*/ 540 h 754"/>
                <a:gd name="T14" fmla="*/ 187 w 373"/>
                <a:gd name="T15" fmla="*/ 661 h 754"/>
                <a:gd name="T16" fmla="*/ 280 w 373"/>
                <a:gd name="T17" fmla="*/ 754 h 754"/>
                <a:gd name="T18" fmla="*/ 373 w 373"/>
                <a:gd name="T19" fmla="*/ 661 h 754"/>
                <a:gd name="T20" fmla="*/ 252 w 373"/>
                <a:gd name="T21" fmla="*/ 409 h 7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3" h="754">
                  <a:moveTo>
                    <a:pt x="252" y="409"/>
                  </a:moveTo>
                  <a:cubicBezTo>
                    <a:pt x="207" y="363"/>
                    <a:pt x="187" y="341"/>
                    <a:pt x="187" y="288"/>
                  </a:cubicBezTo>
                  <a:cubicBezTo>
                    <a:pt x="187" y="236"/>
                    <a:pt x="207" y="214"/>
                    <a:pt x="252" y="168"/>
                  </a:cubicBezTo>
                  <a:cubicBezTo>
                    <a:pt x="289" y="132"/>
                    <a:pt x="289" y="73"/>
                    <a:pt x="252" y="36"/>
                  </a:cubicBezTo>
                  <a:cubicBezTo>
                    <a:pt x="216" y="0"/>
                    <a:pt x="157" y="0"/>
                    <a:pt x="121" y="36"/>
                  </a:cubicBezTo>
                  <a:cubicBezTo>
                    <a:pt x="70" y="87"/>
                    <a:pt x="0" y="157"/>
                    <a:pt x="0" y="288"/>
                  </a:cubicBezTo>
                  <a:cubicBezTo>
                    <a:pt x="0" y="420"/>
                    <a:pt x="70" y="489"/>
                    <a:pt x="121" y="540"/>
                  </a:cubicBezTo>
                  <a:cubicBezTo>
                    <a:pt x="166" y="586"/>
                    <a:pt x="187" y="608"/>
                    <a:pt x="187" y="661"/>
                  </a:cubicBezTo>
                  <a:cubicBezTo>
                    <a:pt x="187" y="712"/>
                    <a:pt x="228" y="754"/>
                    <a:pt x="280" y="754"/>
                  </a:cubicBezTo>
                  <a:cubicBezTo>
                    <a:pt x="331" y="754"/>
                    <a:pt x="373" y="712"/>
                    <a:pt x="373" y="661"/>
                  </a:cubicBezTo>
                  <a:cubicBezTo>
                    <a:pt x="373" y="529"/>
                    <a:pt x="303" y="459"/>
                    <a:pt x="252" y="40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26" name="Freeform 6">
              <a:extLst>
                <a:ext uri="{FF2B5EF4-FFF2-40B4-BE49-F238E27FC236}">
                  <a16:creationId xmlns:a16="http://schemas.microsoft.com/office/drawing/2014/main" id="{C3E7CD3D-6FD0-4BEA-A58D-30892821610D}"/>
                </a:ext>
              </a:extLst>
            </p:cNvPr>
            <p:cNvSpPr>
              <a:spLocks/>
            </p:cNvSpPr>
            <p:nvPr/>
          </p:nvSpPr>
          <p:spPr bwMode="auto">
            <a:xfrm>
              <a:off x="5970588" y="2384426"/>
              <a:ext cx="376238" cy="763588"/>
            </a:xfrm>
            <a:custGeom>
              <a:avLst/>
              <a:gdLst>
                <a:gd name="T0" fmla="*/ 252 w 372"/>
                <a:gd name="T1" fmla="*/ 409 h 754"/>
                <a:gd name="T2" fmla="*/ 186 w 372"/>
                <a:gd name="T3" fmla="*/ 288 h 754"/>
                <a:gd name="T4" fmla="*/ 252 w 372"/>
                <a:gd name="T5" fmla="*/ 168 h 754"/>
                <a:gd name="T6" fmla="*/ 252 w 372"/>
                <a:gd name="T7" fmla="*/ 36 h 754"/>
                <a:gd name="T8" fmla="*/ 120 w 372"/>
                <a:gd name="T9" fmla="*/ 36 h 754"/>
                <a:gd name="T10" fmla="*/ 0 w 372"/>
                <a:gd name="T11" fmla="*/ 288 h 754"/>
                <a:gd name="T12" fmla="*/ 120 w 372"/>
                <a:gd name="T13" fmla="*/ 540 h 754"/>
                <a:gd name="T14" fmla="*/ 186 w 372"/>
                <a:gd name="T15" fmla="*/ 661 h 754"/>
                <a:gd name="T16" fmla="*/ 279 w 372"/>
                <a:gd name="T17" fmla="*/ 754 h 754"/>
                <a:gd name="T18" fmla="*/ 372 w 372"/>
                <a:gd name="T19" fmla="*/ 661 h 754"/>
                <a:gd name="T20" fmla="*/ 252 w 372"/>
                <a:gd name="T21" fmla="*/ 409 h 7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2" h="754">
                  <a:moveTo>
                    <a:pt x="252" y="409"/>
                  </a:moveTo>
                  <a:cubicBezTo>
                    <a:pt x="206" y="363"/>
                    <a:pt x="186" y="341"/>
                    <a:pt x="186" y="288"/>
                  </a:cubicBezTo>
                  <a:cubicBezTo>
                    <a:pt x="186" y="236"/>
                    <a:pt x="206" y="214"/>
                    <a:pt x="252" y="168"/>
                  </a:cubicBezTo>
                  <a:cubicBezTo>
                    <a:pt x="288" y="132"/>
                    <a:pt x="288" y="73"/>
                    <a:pt x="252" y="36"/>
                  </a:cubicBezTo>
                  <a:cubicBezTo>
                    <a:pt x="216" y="0"/>
                    <a:pt x="157" y="0"/>
                    <a:pt x="120" y="36"/>
                  </a:cubicBezTo>
                  <a:cubicBezTo>
                    <a:pt x="69" y="87"/>
                    <a:pt x="0" y="157"/>
                    <a:pt x="0" y="288"/>
                  </a:cubicBezTo>
                  <a:cubicBezTo>
                    <a:pt x="0" y="420"/>
                    <a:pt x="69" y="489"/>
                    <a:pt x="120" y="540"/>
                  </a:cubicBezTo>
                  <a:cubicBezTo>
                    <a:pt x="166" y="586"/>
                    <a:pt x="186" y="608"/>
                    <a:pt x="186" y="661"/>
                  </a:cubicBezTo>
                  <a:cubicBezTo>
                    <a:pt x="186" y="712"/>
                    <a:pt x="228" y="754"/>
                    <a:pt x="279" y="754"/>
                  </a:cubicBezTo>
                  <a:cubicBezTo>
                    <a:pt x="331" y="754"/>
                    <a:pt x="372" y="712"/>
                    <a:pt x="372" y="661"/>
                  </a:cubicBezTo>
                  <a:cubicBezTo>
                    <a:pt x="372" y="529"/>
                    <a:pt x="303" y="459"/>
                    <a:pt x="252" y="40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27" name="Freeform 7">
              <a:extLst>
                <a:ext uri="{FF2B5EF4-FFF2-40B4-BE49-F238E27FC236}">
                  <a16:creationId xmlns:a16="http://schemas.microsoft.com/office/drawing/2014/main" id="{13341294-C2B2-422E-86B2-6B08AA5C05AD}"/>
                </a:ext>
              </a:extLst>
            </p:cNvPr>
            <p:cNvSpPr>
              <a:spLocks noEditPoints="1"/>
            </p:cNvSpPr>
            <p:nvPr/>
          </p:nvSpPr>
          <p:spPr bwMode="auto">
            <a:xfrm>
              <a:off x="5153025" y="3335340"/>
              <a:ext cx="1884363" cy="1130299"/>
            </a:xfrm>
            <a:custGeom>
              <a:avLst/>
              <a:gdLst>
                <a:gd name="T0" fmla="*/ 1433 w 1862"/>
                <a:gd name="T1" fmla="*/ 683 h 1117"/>
                <a:gd name="T2" fmla="*/ 1521 w 1862"/>
                <a:gd name="T3" fmla="*/ 683 h 1117"/>
                <a:gd name="T4" fmla="*/ 1521 w 1862"/>
                <a:gd name="T5" fmla="*/ 683 h 1117"/>
                <a:gd name="T6" fmla="*/ 1862 w 1862"/>
                <a:gd name="T7" fmla="*/ 341 h 1117"/>
                <a:gd name="T8" fmla="*/ 1521 w 1862"/>
                <a:gd name="T9" fmla="*/ 0 h 1117"/>
                <a:gd name="T10" fmla="*/ 1396 w 1862"/>
                <a:gd name="T11" fmla="*/ 0 h 1117"/>
                <a:gd name="T12" fmla="*/ 155 w 1862"/>
                <a:gd name="T13" fmla="*/ 0 h 1117"/>
                <a:gd name="T14" fmla="*/ 62 w 1862"/>
                <a:gd name="T15" fmla="*/ 93 h 1117"/>
                <a:gd name="T16" fmla="*/ 62 w 1862"/>
                <a:gd name="T17" fmla="*/ 403 h 1117"/>
                <a:gd name="T18" fmla="*/ 296 w 1862"/>
                <a:gd name="T19" fmla="*/ 931 h 1117"/>
                <a:gd name="T20" fmla="*/ 93 w 1862"/>
                <a:gd name="T21" fmla="*/ 931 h 1117"/>
                <a:gd name="T22" fmla="*/ 0 w 1862"/>
                <a:gd name="T23" fmla="*/ 1024 h 1117"/>
                <a:gd name="T24" fmla="*/ 93 w 1862"/>
                <a:gd name="T25" fmla="*/ 1117 h 1117"/>
                <a:gd name="T26" fmla="*/ 776 w 1862"/>
                <a:gd name="T27" fmla="*/ 1117 h 1117"/>
                <a:gd name="T28" fmla="*/ 1459 w 1862"/>
                <a:gd name="T29" fmla="*/ 1117 h 1117"/>
                <a:gd name="T30" fmla="*/ 1552 w 1862"/>
                <a:gd name="T31" fmla="*/ 1024 h 1117"/>
                <a:gd name="T32" fmla="*/ 1459 w 1862"/>
                <a:gd name="T33" fmla="*/ 931 h 1117"/>
                <a:gd name="T34" fmla="*/ 1256 w 1862"/>
                <a:gd name="T35" fmla="*/ 931 h 1117"/>
                <a:gd name="T36" fmla="*/ 1433 w 1862"/>
                <a:gd name="T37" fmla="*/ 683 h 1117"/>
                <a:gd name="T38" fmla="*/ 1490 w 1862"/>
                <a:gd name="T39" fmla="*/ 403 h 1117"/>
                <a:gd name="T40" fmla="*/ 1490 w 1862"/>
                <a:gd name="T41" fmla="*/ 186 h 1117"/>
                <a:gd name="T42" fmla="*/ 1521 w 1862"/>
                <a:gd name="T43" fmla="*/ 186 h 1117"/>
                <a:gd name="T44" fmla="*/ 1676 w 1862"/>
                <a:gd name="T45" fmla="*/ 341 h 1117"/>
                <a:gd name="T46" fmla="*/ 1521 w 1862"/>
                <a:gd name="T47" fmla="*/ 496 h 1117"/>
                <a:gd name="T48" fmla="*/ 1520 w 1862"/>
                <a:gd name="T49" fmla="*/ 496 h 1117"/>
                <a:gd name="T50" fmla="*/ 1483 w 1862"/>
                <a:gd name="T51" fmla="*/ 496 h 1117"/>
                <a:gd name="T52" fmla="*/ 1490 w 1862"/>
                <a:gd name="T53" fmla="*/ 403 h 1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62" h="1117">
                  <a:moveTo>
                    <a:pt x="1433" y="683"/>
                  </a:moveTo>
                  <a:cubicBezTo>
                    <a:pt x="1521" y="683"/>
                    <a:pt x="1521" y="683"/>
                    <a:pt x="1521" y="683"/>
                  </a:cubicBezTo>
                  <a:cubicBezTo>
                    <a:pt x="1521" y="683"/>
                    <a:pt x="1521" y="683"/>
                    <a:pt x="1521" y="683"/>
                  </a:cubicBezTo>
                  <a:cubicBezTo>
                    <a:pt x="1709" y="682"/>
                    <a:pt x="1862" y="529"/>
                    <a:pt x="1862" y="341"/>
                  </a:cubicBezTo>
                  <a:cubicBezTo>
                    <a:pt x="1862" y="153"/>
                    <a:pt x="1709" y="0"/>
                    <a:pt x="1521" y="0"/>
                  </a:cubicBezTo>
                  <a:cubicBezTo>
                    <a:pt x="1396" y="0"/>
                    <a:pt x="1396" y="0"/>
                    <a:pt x="1396" y="0"/>
                  </a:cubicBezTo>
                  <a:cubicBezTo>
                    <a:pt x="155" y="0"/>
                    <a:pt x="155" y="0"/>
                    <a:pt x="155" y="0"/>
                  </a:cubicBezTo>
                  <a:cubicBezTo>
                    <a:pt x="104" y="0"/>
                    <a:pt x="62" y="42"/>
                    <a:pt x="62" y="93"/>
                  </a:cubicBezTo>
                  <a:cubicBezTo>
                    <a:pt x="62" y="403"/>
                    <a:pt x="62" y="403"/>
                    <a:pt x="62" y="403"/>
                  </a:cubicBezTo>
                  <a:cubicBezTo>
                    <a:pt x="62" y="612"/>
                    <a:pt x="152" y="800"/>
                    <a:pt x="296" y="931"/>
                  </a:cubicBezTo>
                  <a:cubicBezTo>
                    <a:pt x="93" y="931"/>
                    <a:pt x="93" y="931"/>
                    <a:pt x="93" y="931"/>
                  </a:cubicBezTo>
                  <a:cubicBezTo>
                    <a:pt x="42" y="931"/>
                    <a:pt x="0" y="972"/>
                    <a:pt x="0" y="1024"/>
                  </a:cubicBezTo>
                  <a:cubicBezTo>
                    <a:pt x="0" y="1075"/>
                    <a:pt x="42" y="1117"/>
                    <a:pt x="93" y="1117"/>
                  </a:cubicBezTo>
                  <a:cubicBezTo>
                    <a:pt x="776" y="1117"/>
                    <a:pt x="776" y="1117"/>
                    <a:pt x="776" y="1117"/>
                  </a:cubicBezTo>
                  <a:cubicBezTo>
                    <a:pt x="1459" y="1117"/>
                    <a:pt x="1459" y="1117"/>
                    <a:pt x="1459" y="1117"/>
                  </a:cubicBezTo>
                  <a:cubicBezTo>
                    <a:pt x="1510" y="1117"/>
                    <a:pt x="1552" y="1075"/>
                    <a:pt x="1552" y="1024"/>
                  </a:cubicBezTo>
                  <a:cubicBezTo>
                    <a:pt x="1552" y="972"/>
                    <a:pt x="1510" y="931"/>
                    <a:pt x="1459" y="931"/>
                  </a:cubicBezTo>
                  <a:cubicBezTo>
                    <a:pt x="1256" y="931"/>
                    <a:pt x="1256" y="931"/>
                    <a:pt x="1256" y="931"/>
                  </a:cubicBezTo>
                  <a:cubicBezTo>
                    <a:pt x="1331" y="862"/>
                    <a:pt x="1392" y="778"/>
                    <a:pt x="1433" y="683"/>
                  </a:cubicBezTo>
                  <a:close/>
                  <a:moveTo>
                    <a:pt x="1490" y="403"/>
                  </a:moveTo>
                  <a:cubicBezTo>
                    <a:pt x="1490" y="186"/>
                    <a:pt x="1490" y="186"/>
                    <a:pt x="1490" y="186"/>
                  </a:cubicBezTo>
                  <a:cubicBezTo>
                    <a:pt x="1521" y="186"/>
                    <a:pt x="1521" y="186"/>
                    <a:pt x="1521" y="186"/>
                  </a:cubicBezTo>
                  <a:cubicBezTo>
                    <a:pt x="1606" y="186"/>
                    <a:pt x="1676" y="256"/>
                    <a:pt x="1676" y="341"/>
                  </a:cubicBezTo>
                  <a:cubicBezTo>
                    <a:pt x="1676" y="427"/>
                    <a:pt x="1606" y="496"/>
                    <a:pt x="1521" y="496"/>
                  </a:cubicBezTo>
                  <a:cubicBezTo>
                    <a:pt x="1521" y="496"/>
                    <a:pt x="1521" y="496"/>
                    <a:pt x="1520" y="496"/>
                  </a:cubicBezTo>
                  <a:cubicBezTo>
                    <a:pt x="1483" y="496"/>
                    <a:pt x="1483" y="496"/>
                    <a:pt x="1483" y="496"/>
                  </a:cubicBezTo>
                  <a:cubicBezTo>
                    <a:pt x="1487" y="466"/>
                    <a:pt x="1490" y="435"/>
                    <a:pt x="1490" y="4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HarmonyOS Sans SC"/>
                <a:cs typeface="+mn-cs"/>
              </a:endParaRPr>
            </a:p>
          </p:txBody>
        </p:sp>
      </p:grpSp>
      <p:grpSp>
        <p:nvGrpSpPr>
          <p:cNvPr id="28" name="Group 42">
            <a:extLst>
              <a:ext uri="{FF2B5EF4-FFF2-40B4-BE49-F238E27FC236}">
                <a16:creationId xmlns:a16="http://schemas.microsoft.com/office/drawing/2014/main" id="{E4DA0BEE-AA2A-48C4-8F06-03738704EF36}"/>
              </a:ext>
            </a:extLst>
          </p:cNvPr>
          <p:cNvGrpSpPr/>
          <p:nvPr/>
        </p:nvGrpSpPr>
        <p:grpSpPr>
          <a:xfrm>
            <a:off x="7657655" y="2717100"/>
            <a:ext cx="681798" cy="542988"/>
            <a:chOff x="5168900" y="2687638"/>
            <a:chExt cx="1855788" cy="1477963"/>
          </a:xfrm>
          <a:solidFill>
            <a:srgbClr val="FFFFFF"/>
          </a:solidFill>
        </p:grpSpPr>
        <p:sp>
          <p:nvSpPr>
            <p:cNvPr id="29" name="Freeform 15">
              <a:extLst>
                <a:ext uri="{FF2B5EF4-FFF2-40B4-BE49-F238E27FC236}">
                  <a16:creationId xmlns:a16="http://schemas.microsoft.com/office/drawing/2014/main" id="{78257DBF-1DF1-4BDF-9866-389A4C5C20B9}"/>
                </a:ext>
              </a:extLst>
            </p:cNvPr>
            <p:cNvSpPr>
              <a:spLocks/>
            </p:cNvSpPr>
            <p:nvPr/>
          </p:nvSpPr>
          <p:spPr bwMode="auto">
            <a:xfrm>
              <a:off x="5430838" y="2687638"/>
              <a:ext cx="642938" cy="714375"/>
            </a:xfrm>
            <a:custGeom>
              <a:avLst/>
              <a:gdLst>
                <a:gd name="T0" fmla="*/ 337 w 678"/>
                <a:gd name="T1" fmla="*/ 754 h 754"/>
                <a:gd name="T2" fmla="*/ 337 w 678"/>
                <a:gd name="T3" fmla="*/ 754 h 754"/>
                <a:gd name="T4" fmla="*/ 339 w 678"/>
                <a:gd name="T5" fmla="*/ 754 h 754"/>
                <a:gd name="T6" fmla="*/ 341 w 678"/>
                <a:gd name="T7" fmla="*/ 754 h 754"/>
                <a:gd name="T8" fmla="*/ 341 w 678"/>
                <a:gd name="T9" fmla="*/ 754 h 754"/>
                <a:gd name="T10" fmla="*/ 629 w 678"/>
                <a:gd name="T11" fmla="*/ 301 h 754"/>
                <a:gd name="T12" fmla="*/ 339 w 678"/>
                <a:gd name="T13" fmla="*/ 4 h 754"/>
                <a:gd name="T14" fmla="*/ 49 w 678"/>
                <a:gd name="T15" fmla="*/ 301 h 754"/>
                <a:gd name="T16" fmla="*/ 337 w 678"/>
                <a:gd name="T17" fmla="*/ 754 h 7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78" h="754">
                  <a:moveTo>
                    <a:pt x="337" y="754"/>
                  </a:moveTo>
                  <a:cubicBezTo>
                    <a:pt x="337" y="754"/>
                    <a:pt x="337" y="754"/>
                    <a:pt x="337" y="754"/>
                  </a:cubicBezTo>
                  <a:cubicBezTo>
                    <a:pt x="338" y="754"/>
                    <a:pt x="338" y="754"/>
                    <a:pt x="339" y="754"/>
                  </a:cubicBezTo>
                  <a:cubicBezTo>
                    <a:pt x="340" y="754"/>
                    <a:pt x="340" y="754"/>
                    <a:pt x="341" y="754"/>
                  </a:cubicBezTo>
                  <a:cubicBezTo>
                    <a:pt x="341" y="754"/>
                    <a:pt x="341" y="754"/>
                    <a:pt x="341" y="754"/>
                  </a:cubicBezTo>
                  <a:cubicBezTo>
                    <a:pt x="678" y="751"/>
                    <a:pt x="629" y="301"/>
                    <a:pt x="629" y="301"/>
                  </a:cubicBezTo>
                  <a:cubicBezTo>
                    <a:pt x="615" y="1"/>
                    <a:pt x="364" y="3"/>
                    <a:pt x="339" y="4"/>
                  </a:cubicBezTo>
                  <a:cubicBezTo>
                    <a:pt x="314" y="3"/>
                    <a:pt x="63" y="0"/>
                    <a:pt x="49" y="301"/>
                  </a:cubicBezTo>
                  <a:cubicBezTo>
                    <a:pt x="49" y="301"/>
                    <a:pt x="0" y="751"/>
                    <a:pt x="337" y="7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HarmonyOS Sans SC"/>
                <a:cs typeface="+mn-cs"/>
              </a:endParaRPr>
            </a:p>
          </p:txBody>
        </p:sp>
        <p:sp>
          <p:nvSpPr>
            <p:cNvPr id="30" name="Freeform 16">
              <a:extLst>
                <a:ext uri="{FF2B5EF4-FFF2-40B4-BE49-F238E27FC236}">
                  <a16:creationId xmlns:a16="http://schemas.microsoft.com/office/drawing/2014/main" id="{E66D5E42-786A-44D6-9CD5-5AB2D9119415}"/>
                </a:ext>
              </a:extLst>
            </p:cNvPr>
            <p:cNvSpPr>
              <a:spLocks/>
            </p:cNvSpPr>
            <p:nvPr/>
          </p:nvSpPr>
          <p:spPr bwMode="auto">
            <a:xfrm>
              <a:off x="5168900" y="3481388"/>
              <a:ext cx="1052513" cy="671513"/>
            </a:xfrm>
            <a:custGeom>
              <a:avLst/>
              <a:gdLst>
                <a:gd name="T0" fmla="*/ 834 w 1111"/>
                <a:gd name="T1" fmla="*/ 0 h 708"/>
                <a:gd name="T2" fmla="*/ 717 w 1111"/>
                <a:gd name="T3" fmla="*/ 370 h 708"/>
                <a:gd name="T4" fmla="*/ 648 w 1111"/>
                <a:gd name="T5" fmla="*/ 176 h 708"/>
                <a:gd name="T6" fmla="*/ 617 w 1111"/>
                <a:gd name="T7" fmla="*/ 0 h 708"/>
                <a:gd name="T8" fmla="*/ 617 w 1111"/>
                <a:gd name="T9" fmla="*/ 0 h 708"/>
                <a:gd name="T10" fmla="*/ 616 w 1111"/>
                <a:gd name="T11" fmla="*/ 0 h 708"/>
                <a:gd name="T12" fmla="*/ 616 w 1111"/>
                <a:gd name="T13" fmla="*/ 0 h 708"/>
                <a:gd name="T14" fmla="*/ 616 w 1111"/>
                <a:gd name="T15" fmla="*/ 0 h 708"/>
                <a:gd name="T16" fmla="*/ 584 w 1111"/>
                <a:gd name="T17" fmla="*/ 176 h 708"/>
                <a:gd name="T18" fmla="*/ 516 w 1111"/>
                <a:gd name="T19" fmla="*/ 370 h 708"/>
                <a:gd name="T20" fmla="*/ 399 w 1111"/>
                <a:gd name="T21" fmla="*/ 0 h 708"/>
                <a:gd name="T22" fmla="*/ 121 w 1111"/>
                <a:gd name="T23" fmla="*/ 154 h 708"/>
                <a:gd name="T24" fmla="*/ 0 w 1111"/>
                <a:gd name="T25" fmla="*/ 381 h 708"/>
                <a:gd name="T26" fmla="*/ 0 w 1111"/>
                <a:gd name="T27" fmla="*/ 708 h 708"/>
                <a:gd name="T28" fmla="*/ 617 w 1111"/>
                <a:gd name="T29" fmla="*/ 708 h 708"/>
                <a:gd name="T30" fmla="*/ 811 w 1111"/>
                <a:gd name="T31" fmla="*/ 708 h 708"/>
                <a:gd name="T32" fmla="*/ 808 w 1111"/>
                <a:gd name="T33" fmla="*/ 683 h 708"/>
                <a:gd name="T34" fmla="*/ 808 w 1111"/>
                <a:gd name="T35" fmla="*/ 380 h 708"/>
                <a:gd name="T36" fmla="*/ 900 w 1111"/>
                <a:gd name="T37" fmla="*/ 288 h 708"/>
                <a:gd name="T38" fmla="*/ 1014 w 1111"/>
                <a:gd name="T39" fmla="*/ 288 h 708"/>
                <a:gd name="T40" fmla="*/ 1038 w 1111"/>
                <a:gd name="T41" fmla="*/ 291 h 708"/>
                <a:gd name="T42" fmla="*/ 1038 w 1111"/>
                <a:gd name="T43" fmla="*/ 243 h 708"/>
                <a:gd name="T44" fmla="*/ 1111 w 1111"/>
                <a:gd name="T45" fmla="*/ 153 h 708"/>
                <a:gd name="T46" fmla="*/ 834 w 1111"/>
                <a:gd name="T47" fmla="*/ 0 h 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11" h="708">
                  <a:moveTo>
                    <a:pt x="834" y="0"/>
                  </a:moveTo>
                  <a:cubicBezTo>
                    <a:pt x="717" y="370"/>
                    <a:pt x="717" y="370"/>
                    <a:pt x="717" y="370"/>
                  </a:cubicBezTo>
                  <a:cubicBezTo>
                    <a:pt x="648" y="176"/>
                    <a:pt x="648" y="176"/>
                    <a:pt x="648" y="176"/>
                  </a:cubicBezTo>
                  <a:cubicBezTo>
                    <a:pt x="768" y="9"/>
                    <a:pt x="640" y="1"/>
                    <a:pt x="617" y="0"/>
                  </a:cubicBezTo>
                  <a:cubicBezTo>
                    <a:pt x="617" y="0"/>
                    <a:pt x="617" y="0"/>
                    <a:pt x="617" y="0"/>
                  </a:cubicBezTo>
                  <a:cubicBezTo>
                    <a:pt x="617" y="0"/>
                    <a:pt x="617" y="0"/>
                    <a:pt x="616" y="0"/>
                  </a:cubicBezTo>
                  <a:cubicBezTo>
                    <a:pt x="616" y="0"/>
                    <a:pt x="616" y="0"/>
                    <a:pt x="616" y="0"/>
                  </a:cubicBezTo>
                  <a:cubicBezTo>
                    <a:pt x="616" y="0"/>
                    <a:pt x="616" y="0"/>
                    <a:pt x="616" y="0"/>
                  </a:cubicBezTo>
                  <a:cubicBezTo>
                    <a:pt x="593" y="1"/>
                    <a:pt x="464" y="9"/>
                    <a:pt x="584" y="176"/>
                  </a:cubicBezTo>
                  <a:cubicBezTo>
                    <a:pt x="516" y="370"/>
                    <a:pt x="516" y="370"/>
                    <a:pt x="516" y="370"/>
                  </a:cubicBezTo>
                  <a:cubicBezTo>
                    <a:pt x="399" y="0"/>
                    <a:pt x="399" y="0"/>
                    <a:pt x="399" y="0"/>
                  </a:cubicBezTo>
                  <a:cubicBezTo>
                    <a:pt x="399" y="0"/>
                    <a:pt x="252" y="71"/>
                    <a:pt x="121" y="154"/>
                  </a:cubicBezTo>
                  <a:cubicBezTo>
                    <a:pt x="22" y="217"/>
                    <a:pt x="3" y="283"/>
                    <a:pt x="0" y="381"/>
                  </a:cubicBezTo>
                  <a:cubicBezTo>
                    <a:pt x="0" y="708"/>
                    <a:pt x="0" y="708"/>
                    <a:pt x="0" y="708"/>
                  </a:cubicBezTo>
                  <a:cubicBezTo>
                    <a:pt x="617" y="708"/>
                    <a:pt x="617" y="708"/>
                    <a:pt x="617" y="708"/>
                  </a:cubicBezTo>
                  <a:cubicBezTo>
                    <a:pt x="811" y="708"/>
                    <a:pt x="811" y="708"/>
                    <a:pt x="811" y="708"/>
                  </a:cubicBezTo>
                  <a:cubicBezTo>
                    <a:pt x="809" y="700"/>
                    <a:pt x="808" y="692"/>
                    <a:pt x="808" y="683"/>
                  </a:cubicBezTo>
                  <a:cubicBezTo>
                    <a:pt x="808" y="380"/>
                    <a:pt x="808" y="380"/>
                    <a:pt x="808" y="380"/>
                  </a:cubicBezTo>
                  <a:cubicBezTo>
                    <a:pt x="808" y="329"/>
                    <a:pt x="849" y="288"/>
                    <a:pt x="900" y="288"/>
                  </a:cubicBezTo>
                  <a:cubicBezTo>
                    <a:pt x="1014" y="288"/>
                    <a:pt x="1014" y="288"/>
                    <a:pt x="1014" y="288"/>
                  </a:cubicBezTo>
                  <a:cubicBezTo>
                    <a:pt x="1022" y="288"/>
                    <a:pt x="1030" y="289"/>
                    <a:pt x="1038" y="291"/>
                  </a:cubicBezTo>
                  <a:cubicBezTo>
                    <a:pt x="1038" y="243"/>
                    <a:pt x="1038" y="243"/>
                    <a:pt x="1038" y="243"/>
                  </a:cubicBezTo>
                  <a:cubicBezTo>
                    <a:pt x="1038" y="199"/>
                    <a:pt x="1069" y="162"/>
                    <a:pt x="1111" y="153"/>
                  </a:cubicBezTo>
                  <a:cubicBezTo>
                    <a:pt x="980" y="71"/>
                    <a:pt x="834" y="0"/>
                    <a:pt x="83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31" name="Freeform 17">
              <a:extLst>
                <a:ext uri="{FF2B5EF4-FFF2-40B4-BE49-F238E27FC236}">
                  <a16:creationId xmlns:a16="http://schemas.microsoft.com/office/drawing/2014/main" id="{0D2B0965-7658-4F3E-9BC3-1E8C243BCFA0}"/>
                </a:ext>
              </a:extLst>
            </p:cNvPr>
            <p:cNvSpPr>
              <a:spLocks/>
            </p:cNvSpPr>
            <p:nvPr/>
          </p:nvSpPr>
          <p:spPr bwMode="auto">
            <a:xfrm>
              <a:off x="5999163" y="3817938"/>
              <a:ext cx="153988" cy="334963"/>
            </a:xfrm>
            <a:custGeom>
              <a:avLst/>
              <a:gdLst>
                <a:gd name="T0" fmla="*/ 138 w 163"/>
                <a:gd name="T1" fmla="*/ 0 h 352"/>
                <a:gd name="T2" fmla="*/ 24 w 163"/>
                <a:gd name="T3" fmla="*/ 0 h 352"/>
                <a:gd name="T4" fmla="*/ 0 w 163"/>
                <a:gd name="T5" fmla="*/ 25 h 352"/>
                <a:gd name="T6" fmla="*/ 0 w 163"/>
                <a:gd name="T7" fmla="*/ 72 h 352"/>
                <a:gd name="T8" fmla="*/ 0 w 163"/>
                <a:gd name="T9" fmla="*/ 281 h 352"/>
                <a:gd name="T10" fmla="*/ 0 w 163"/>
                <a:gd name="T11" fmla="*/ 328 h 352"/>
                <a:gd name="T12" fmla="*/ 24 w 163"/>
                <a:gd name="T13" fmla="*/ 352 h 352"/>
                <a:gd name="T14" fmla="*/ 138 w 163"/>
                <a:gd name="T15" fmla="*/ 352 h 352"/>
                <a:gd name="T16" fmla="*/ 162 w 163"/>
                <a:gd name="T17" fmla="*/ 328 h 352"/>
                <a:gd name="T18" fmla="*/ 162 w 163"/>
                <a:gd name="T19" fmla="*/ 281 h 352"/>
                <a:gd name="T20" fmla="*/ 162 w 163"/>
                <a:gd name="T21" fmla="*/ 72 h 352"/>
                <a:gd name="T22" fmla="*/ 162 w 163"/>
                <a:gd name="T23" fmla="*/ 25 h 352"/>
                <a:gd name="T24" fmla="*/ 138 w 163"/>
                <a:gd name="T25" fmla="*/ 0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3" h="352">
                  <a:moveTo>
                    <a:pt x="138" y="0"/>
                  </a:moveTo>
                  <a:cubicBezTo>
                    <a:pt x="24" y="0"/>
                    <a:pt x="24" y="0"/>
                    <a:pt x="24" y="0"/>
                  </a:cubicBezTo>
                  <a:cubicBezTo>
                    <a:pt x="10" y="0"/>
                    <a:pt x="0" y="12"/>
                    <a:pt x="0" y="25"/>
                  </a:cubicBezTo>
                  <a:cubicBezTo>
                    <a:pt x="0" y="72"/>
                    <a:pt x="0" y="72"/>
                    <a:pt x="0" y="72"/>
                  </a:cubicBezTo>
                  <a:cubicBezTo>
                    <a:pt x="0" y="281"/>
                    <a:pt x="0" y="281"/>
                    <a:pt x="0" y="281"/>
                  </a:cubicBezTo>
                  <a:cubicBezTo>
                    <a:pt x="0" y="328"/>
                    <a:pt x="0" y="328"/>
                    <a:pt x="0" y="328"/>
                  </a:cubicBezTo>
                  <a:cubicBezTo>
                    <a:pt x="0" y="342"/>
                    <a:pt x="11" y="352"/>
                    <a:pt x="24" y="352"/>
                  </a:cubicBezTo>
                  <a:cubicBezTo>
                    <a:pt x="138" y="352"/>
                    <a:pt x="138" y="352"/>
                    <a:pt x="138" y="352"/>
                  </a:cubicBezTo>
                  <a:cubicBezTo>
                    <a:pt x="152" y="352"/>
                    <a:pt x="162" y="341"/>
                    <a:pt x="162" y="328"/>
                  </a:cubicBezTo>
                  <a:cubicBezTo>
                    <a:pt x="162" y="281"/>
                    <a:pt x="162" y="281"/>
                    <a:pt x="162" y="281"/>
                  </a:cubicBezTo>
                  <a:cubicBezTo>
                    <a:pt x="162" y="72"/>
                    <a:pt x="162" y="72"/>
                    <a:pt x="162" y="72"/>
                  </a:cubicBezTo>
                  <a:cubicBezTo>
                    <a:pt x="162" y="25"/>
                    <a:pt x="162" y="25"/>
                    <a:pt x="162" y="25"/>
                  </a:cubicBezTo>
                  <a:cubicBezTo>
                    <a:pt x="163" y="12"/>
                    <a:pt x="152" y="0"/>
                    <a:pt x="13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32" name="Freeform 18">
              <a:extLst>
                <a:ext uri="{FF2B5EF4-FFF2-40B4-BE49-F238E27FC236}">
                  <a16:creationId xmlns:a16="http://schemas.microsoft.com/office/drawing/2014/main" id="{DE0F9623-760A-4B23-97B9-BC1200E4F8FA}"/>
                </a:ext>
              </a:extLst>
            </p:cNvPr>
            <p:cNvSpPr>
              <a:spLocks/>
            </p:cNvSpPr>
            <p:nvPr/>
          </p:nvSpPr>
          <p:spPr bwMode="auto">
            <a:xfrm>
              <a:off x="6216650" y="3689350"/>
              <a:ext cx="155575" cy="463550"/>
            </a:xfrm>
            <a:custGeom>
              <a:avLst/>
              <a:gdLst>
                <a:gd name="T0" fmla="*/ 138 w 163"/>
                <a:gd name="T1" fmla="*/ 0 h 488"/>
                <a:gd name="T2" fmla="*/ 24 w 163"/>
                <a:gd name="T3" fmla="*/ 0 h 488"/>
                <a:gd name="T4" fmla="*/ 0 w 163"/>
                <a:gd name="T5" fmla="*/ 24 h 488"/>
                <a:gd name="T6" fmla="*/ 0 w 163"/>
                <a:gd name="T7" fmla="*/ 208 h 488"/>
                <a:gd name="T8" fmla="*/ 0 w 163"/>
                <a:gd name="T9" fmla="*/ 280 h 488"/>
                <a:gd name="T10" fmla="*/ 0 w 163"/>
                <a:gd name="T11" fmla="*/ 464 h 488"/>
                <a:gd name="T12" fmla="*/ 24 w 163"/>
                <a:gd name="T13" fmla="*/ 488 h 488"/>
                <a:gd name="T14" fmla="*/ 138 w 163"/>
                <a:gd name="T15" fmla="*/ 488 h 488"/>
                <a:gd name="T16" fmla="*/ 163 w 163"/>
                <a:gd name="T17" fmla="*/ 464 h 488"/>
                <a:gd name="T18" fmla="*/ 163 w 163"/>
                <a:gd name="T19" fmla="*/ 280 h 488"/>
                <a:gd name="T20" fmla="*/ 163 w 163"/>
                <a:gd name="T21" fmla="*/ 208 h 488"/>
                <a:gd name="T22" fmla="*/ 163 w 163"/>
                <a:gd name="T23" fmla="*/ 25 h 488"/>
                <a:gd name="T24" fmla="*/ 138 w 163"/>
                <a:gd name="T25" fmla="*/ 0 h 4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3" h="488">
                  <a:moveTo>
                    <a:pt x="138" y="0"/>
                  </a:moveTo>
                  <a:cubicBezTo>
                    <a:pt x="24" y="0"/>
                    <a:pt x="24" y="0"/>
                    <a:pt x="24" y="0"/>
                  </a:cubicBezTo>
                  <a:cubicBezTo>
                    <a:pt x="11" y="0"/>
                    <a:pt x="0" y="11"/>
                    <a:pt x="0" y="24"/>
                  </a:cubicBezTo>
                  <a:cubicBezTo>
                    <a:pt x="0" y="208"/>
                    <a:pt x="0" y="208"/>
                    <a:pt x="0" y="208"/>
                  </a:cubicBezTo>
                  <a:cubicBezTo>
                    <a:pt x="0" y="280"/>
                    <a:pt x="0" y="280"/>
                    <a:pt x="0" y="280"/>
                  </a:cubicBezTo>
                  <a:cubicBezTo>
                    <a:pt x="0" y="464"/>
                    <a:pt x="0" y="464"/>
                    <a:pt x="0" y="464"/>
                  </a:cubicBezTo>
                  <a:cubicBezTo>
                    <a:pt x="0" y="478"/>
                    <a:pt x="11" y="488"/>
                    <a:pt x="24" y="488"/>
                  </a:cubicBezTo>
                  <a:cubicBezTo>
                    <a:pt x="138" y="488"/>
                    <a:pt x="138" y="488"/>
                    <a:pt x="138" y="488"/>
                  </a:cubicBezTo>
                  <a:cubicBezTo>
                    <a:pt x="152" y="488"/>
                    <a:pt x="163" y="477"/>
                    <a:pt x="163" y="464"/>
                  </a:cubicBezTo>
                  <a:cubicBezTo>
                    <a:pt x="163" y="280"/>
                    <a:pt x="163" y="280"/>
                    <a:pt x="163" y="280"/>
                  </a:cubicBezTo>
                  <a:cubicBezTo>
                    <a:pt x="163" y="208"/>
                    <a:pt x="163" y="208"/>
                    <a:pt x="163" y="208"/>
                  </a:cubicBezTo>
                  <a:cubicBezTo>
                    <a:pt x="163" y="25"/>
                    <a:pt x="163" y="25"/>
                    <a:pt x="163" y="25"/>
                  </a:cubicBezTo>
                  <a:cubicBezTo>
                    <a:pt x="163" y="11"/>
                    <a:pt x="152" y="0"/>
                    <a:pt x="13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33" name="Freeform 19">
              <a:extLst>
                <a:ext uri="{FF2B5EF4-FFF2-40B4-BE49-F238E27FC236}">
                  <a16:creationId xmlns:a16="http://schemas.microsoft.com/office/drawing/2014/main" id="{1FA84777-F2C4-4AE7-9F99-B66D606BE754}"/>
                </a:ext>
              </a:extLst>
            </p:cNvPr>
            <p:cNvSpPr>
              <a:spLocks/>
            </p:cNvSpPr>
            <p:nvPr/>
          </p:nvSpPr>
          <p:spPr bwMode="auto">
            <a:xfrm>
              <a:off x="6338888" y="3284538"/>
              <a:ext cx="349250" cy="868363"/>
            </a:xfrm>
            <a:custGeom>
              <a:avLst/>
              <a:gdLst>
                <a:gd name="T0" fmla="*/ 266 w 368"/>
                <a:gd name="T1" fmla="*/ 501 h 916"/>
                <a:gd name="T2" fmla="*/ 266 w 368"/>
                <a:gd name="T3" fmla="*/ 298 h 916"/>
                <a:gd name="T4" fmla="*/ 344 w 368"/>
                <a:gd name="T5" fmla="*/ 298 h 916"/>
                <a:gd name="T6" fmla="*/ 360 w 368"/>
                <a:gd name="T7" fmla="*/ 270 h 916"/>
                <a:gd name="T8" fmla="*/ 200 w 368"/>
                <a:gd name="T9" fmla="*/ 12 h 916"/>
                <a:gd name="T10" fmla="*/ 168 w 368"/>
                <a:gd name="T11" fmla="*/ 12 h 916"/>
                <a:gd name="T12" fmla="*/ 8 w 368"/>
                <a:gd name="T13" fmla="*/ 270 h 916"/>
                <a:gd name="T14" fmla="*/ 23 w 368"/>
                <a:gd name="T15" fmla="*/ 298 h 916"/>
                <a:gd name="T16" fmla="*/ 102 w 368"/>
                <a:gd name="T17" fmla="*/ 298 h 916"/>
                <a:gd name="T18" fmla="*/ 102 w 368"/>
                <a:gd name="T19" fmla="*/ 892 h 916"/>
                <a:gd name="T20" fmla="*/ 126 w 368"/>
                <a:gd name="T21" fmla="*/ 916 h 916"/>
                <a:gd name="T22" fmla="*/ 241 w 368"/>
                <a:gd name="T23" fmla="*/ 916 h 916"/>
                <a:gd name="T24" fmla="*/ 265 w 368"/>
                <a:gd name="T25" fmla="*/ 892 h 916"/>
                <a:gd name="T26" fmla="*/ 192 w 368"/>
                <a:gd name="T27" fmla="*/ 696 h 916"/>
                <a:gd name="T28" fmla="*/ 266 w 368"/>
                <a:gd name="T29" fmla="*/ 501 h 9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8" h="916">
                  <a:moveTo>
                    <a:pt x="266" y="501"/>
                  </a:moveTo>
                  <a:cubicBezTo>
                    <a:pt x="266" y="298"/>
                    <a:pt x="266" y="298"/>
                    <a:pt x="266" y="298"/>
                  </a:cubicBezTo>
                  <a:cubicBezTo>
                    <a:pt x="344" y="298"/>
                    <a:pt x="344" y="298"/>
                    <a:pt x="344" y="298"/>
                  </a:cubicBezTo>
                  <a:cubicBezTo>
                    <a:pt x="359" y="298"/>
                    <a:pt x="368" y="282"/>
                    <a:pt x="360" y="270"/>
                  </a:cubicBezTo>
                  <a:cubicBezTo>
                    <a:pt x="200" y="12"/>
                    <a:pt x="200" y="12"/>
                    <a:pt x="200" y="12"/>
                  </a:cubicBezTo>
                  <a:cubicBezTo>
                    <a:pt x="192" y="0"/>
                    <a:pt x="175" y="0"/>
                    <a:pt x="168" y="12"/>
                  </a:cubicBezTo>
                  <a:cubicBezTo>
                    <a:pt x="8" y="270"/>
                    <a:pt x="8" y="270"/>
                    <a:pt x="8" y="270"/>
                  </a:cubicBezTo>
                  <a:cubicBezTo>
                    <a:pt x="0" y="282"/>
                    <a:pt x="9" y="298"/>
                    <a:pt x="23" y="298"/>
                  </a:cubicBezTo>
                  <a:cubicBezTo>
                    <a:pt x="102" y="298"/>
                    <a:pt x="102" y="298"/>
                    <a:pt x="102" y="298"/>
                  </a:cubicBezTo>
                  <a:cubicBezTo>
                    <a:pt x="102" y="892"/>
                    <a:pt x="102" y="892"/>
                    <a:pt x="102" y="892"/>
                  </a:cubicBezTo>
                  <a:cubicBezTo>
                    <a:pt x="102" y="906"/>
                    <a:pt x="113" y="916"/>
                    <a:pt x="126" y="916"/>
                  </a:cubicBezTo>
                  <a:cubicBezTo>
                    <a:pt x="241" y="916"/>
                    <a:pt x="241" y="916"/>
                    <a:pt x="241" y="916"/>
                  </a:cubicBezTo>
                  <a:cubicBezTo>
                    <a:pt x="254" y="916"/>
                    <a:pt x="265" y="906"/>
                    <a:pt x="265" y="892"/>
                  </a:cubicBezTo>
                  <a:cubicBezTo>
                    <a:pt x="219" y="840"/>
                    <a:pt x="192" y="771"/>
                    <a:pt x="192" y="696"/>
                  </a:cubicBezTo>
                  <a:cubicBezTo>
                    <a:pt x="192" y="622"/>
                    <a:pt x="220" y="553"/>
                    <a:pt x="266" y="5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34" name="Freeform 20">
              <a:extLst>
                <a:ext uri="{FF2B5EF4-FFF2-40B4-BE49-F238E27FC236}">
                  <a16:creationId xmlns:a16="http://schemas.microsoft.com/office/drawing/2014/main" id="{2FFE01DB-676E-49EE-ACBC-05BF1B5EF003}"/>
                </a:ext>
              </a:extLst>
            </p:cNvPr>
            <p:cNvSpPr>
              <a:spLocks noEditPoints="1"/>
            </p:cNvSpPr>
            <p:nvPr/>
          </p:nvSpPr>
          <p:spPr bwMode="auto">
            <a:xfrm>
              <a:off x="6581775" y="3722688"/>
              <a:ext cx="442913" cy="442913"/>
            </a:xfrm>
            <a:custGeom>
              <a:avLst/>
              <a:gdLst>
                <a:gd name="T0" fmla="*/ 234 w 467"/>
                <a:gd name="T1" fmla="*/ 0 h 467"/>
                <a:gd name="T2" fmla="*/ 0 w 467"/>
                <a:gd name="T3" fmla="*/ 233 h 467"/>
                <a:gd name="T4" fmla="*/ 234 w 467"/>
                <a:gd name="T5" fmla="*/ 467 h 467"/>
                <a:gd name="T6" fmla="*/ 467 w 467"/>
                <a:gd name="T7" fmla="*/ 233 h 467"/>
                <a:gd name="T8" fmla="*/ 234 w 467"/>
                <a:gd name="T9" fmla="*/ 0 h 467"/>
                <a:gd name="T10" fmla="*/ 301 w 467"/>
                <a:gd name="T11" fmla="*/ 326 h 467"/>
                <a:gd name="T12" fmla="*/ 262 w 467"/>
                <a:gd name="T13" fmla="*/ 351 h 467"/>
                <a:gd name="T14" fmla="*/ 252 w 467"/>
                <a:gd name="T15" fmla="*/ 363 h 467"/>
                <a:gd name="T16" fmla="*/ 252 w 467"/>
                <a:gd name="T17" fmla="*/ 384 h 467"/>
                <a:gd name="T18" fmla="*/ 243 w 467"/>
                <a:gd name="T19" fmla="*/ 393 h 467"/>
                <a:gd name="T20" fmla="*/ 221 w 467"/>
                <a:gd name="T21" fmla="*/ 393 h 467"/>
                <a:gd name="T22" fmla="*/ 211 w 467"/>
                <a:gd name="T23" fmla="*/ 383 h 467"/>
                <a:gd name="T24" fmla="*/ 211 w 467"/>
                <a:gd name="T25" fmla="*/ 368 h 467"/>
                <a:gd name="T26" fmla="*/ 200 w 467"/>
                <a:gd name="T27" fmla="*/ 355 h 467"/>
                <a:gd name="T28" fmla="*/ 160 w 467"/>
                <a:gd name="T29" fmla="*/ 344 h 467"/>
                <a:gd name="T30" fmla="*/ 152 w 467"/>
                <a:gd name="T31" fmla="*/ 326 h 467"/>
                <a:gd name="T32" fmla="*/ 159 w 467"/>
                <a:gd name="T33" fmla="*/ 303 h 467"/>
                <a:gd name="T34" fmla="*/ 172 w 467"/>
                <a:gd name="T35" fmla="*/ 298 h 467"/>
                <a:gd name="T36" fmla="*/ 216 w 467"/>
                <a:gd name="T37" fmla="*/ 311 h 467"/>
                <a:gd name="T38" fmla="*/ 245 w 467"/>
                <a:gd name="T39" fmla="*/ 307 h 467"/>
                <a:gd name="T40" fmla="*/ 250 w 467"/>
                <a:gd name="T41" fmla="*/ 268 h 467"/>
                <a:gd name="T42" fmla="*/ 234 w 467"/>
                <a:gd name="T43" fmla="*/ 259 h 467"/>
                <a:gd name="T44" fmla="*/ 189 w 467"/>
                <a:gd name="T45" fmla="*/ 239 h 467"/>
                <a:gd name="T46" fmla="*/ 153 w 467"/>
                <a:gd name="T47" fmla="*/ 178 h 467"/>
                <a:gd name="T48" fmla="*/ 202 w 467"/>
                <a:gd name="T49" fmla="*/ 116 h 467"/>
                <a:gd name="T50" fmla="*/ 214 w 467"/>
                <a:gd name="T51" fmla="*/ 99 h 467"/>
                <a:gd name="T52" fmla="*/ 214 w 467"/>
                <a:gd name="T53" fmla="*/ 86 h 467"/>
                <a:gd name="T54" fmla="*/ 225 w 467"/>
                <a:gd name="T55" fmla="*/ 75 h 467"/>
                <a:gd name="T56" fmla="*/ 234 w 467"/>
                <a:gd name="T57" fmla="*/ 75 h 467"/>
                <a:gd name="T58" fmla="*/ 254 w 467"/>
                <a:gd name="T59" fmla="*/ 95 h 467"/>
                <a:gd name="T60" fmla="*/ 268 w 467"/>
                <a:gd name="T61" fmla="*/ 111 h 467"/>
                <a:gd name="T62" fmla="*/ 299 w 467"/>
                <a:gd name="T63" fmla="*/ 121 h 467"/>
                <a:gd name="T64" fmla="*/ 305 w 467"/>
                <a:gd name="T65" fmla="*/ 133 h 467"/>
                <a:gd name="T66" fmla="*/ 297 w 467"/>
                <a:gd name="T67" fmla="*/ 159 h 467"/>
                <a:gd name="T68" fmla="*/ 284 w 467"/>
                <a:gd name="T69" fmla="*/ 164 h 467"/>
                <a:gd name="T70" fmla="*/ 234 w 467"/>
                <a:gd name="T71" fmla="*/ 155 h 467"/>
                <a:gd name="T72" fmla="*/ 221 w 467"/>
                <a:gd name="T73" fmla="*/ 157 h 467"/>
                <a:gd name="T74" fmla="*/ 216 w 467"/>
                <a:gd name="T75" fmla="*/ 191 h 467"/>
                <a:gd name="T76" fmla="*/ 238 w 467"/>
                <a:gd name="T77" fmla="*/ 203 h 467"/>
                <a:gd name="T78" fmla="*/ 277 w 467"/>
                <a:gd name="T79" fmla="*/ 220 h 467"/>
                <a:gd name="T80" fmla="*/ 301 w 467"/>
                <a:gd name="T81" fmla="*/ 326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67" h="467">
                  <a:moveTo>
                    <a:pt x="234" y="0"/>
                  </a:moveTo>
                  <a:cubicBezTo>
                    <a:pt x="104" y="0"/>
                    <a:pt x="0" y="104"/>
                    <a:pt x="0" y="233"/>
                  </a:cubicBezTo>
                  <a:cubicBezTo>
                    <a:pt x="0" y="363"/>
                    <a:pt x="104" y="467"/>
                    <a:pt x="234" y="467"/>
                  </a:cubicBezTo>
                  <a:cubicBezTo>
                    <a:pt x="363" y="467"/>
                    <a:pt x="467" y="363"/>
                    <a:pt x="467" y="233"/>
                  </a:cubicBezTo>
                  <a:cubicBezTo>
                    <a:pt x="467" y="104"/>
                    <a:pt x="363" y="0"/>
                    <a:pt x="234" y="0"/>
                  </a:cubicBezTo>
                  <a:close/>
                  <a:moveTo>
                    <a:pt x="301" y="326"/>
                  </a:moveTo>
                  <a:cubicBezTo>
                    <a:pt x="291" y="338"/>
                    <a:pt x="277" y="347"/>
                    <a:pt x="262" y="351"/>
                  </a:cubicBezTo>
                  <a:cubicBezTo>
                    <a:pt x="255" y="353"/>
                    <a:pt x="252" y="356"/>
                    <a:pt x="252" y="363"/>
                  </a:cubicBezTo>
                  <a:cubicBezTo>
                    <a:pt x="253" y="370"/>
                    <a:pt x="252" y="377"/>
                    <a:pt x="252" y="384"/>
                  </a:cubicBezTo>
                  <a:cubicBezTo>
                    <a:pt x="252" y="390"/>
                    <a:pt x="249" y="393"/>
                    <a:pt x="243" y="393"/>
                  </a:cubicBezTo>
                  <a:cubicBezTo>
                    <a:pt x="236" y="393"/>
                    <a:pt x="228" y="393"/>
                    <a:pt x="221" y="393"/>
                  </a:cubicBezTo>
                  <a:cubicBezTo>
                    <a:pt x="214" y="393"/>
                    <a:pt x="211" y="389"/>
                    <a:pt x="211" y="383"/>
                  </a:cubicBezTo>
                  <a:cubicBezTo>
                    <a:pt x="211" y="378"/>
                    <a:pt x="211" y="373"/>
                    <a:pt x="211" y="368"/>
                  </a:cubicBezTo>
                  <a:cubicBezTo>
                    <a:pt x="211" y="357"/>
                    <a:pt x="211" y="357"/>
                    <a:pt x="200" y="355"/>
                  </a:cubicBezTo>
                  <a:cubicBezTo>
                    <a:pt x="186" y="353"/>
                    <a:pt x="173" y="350"/>
                    <a:pt x="160" y="344"/>
                  </a:cubicBezTo>
                  <a:cubicBezTo>
                    <a:pt x="150" y="339"/>
                    <a:pt x="150" y="337"/>
                    <a:pt x="152" y="326"/>
                  </a:cubicBezTo>
                  <a:cubicBezTo>
                    <a:pt x="154" y="319"/>
                    <a:pt x="157" y="311"/>
                    <a:pt x="159" y="303"/>
                  </a:cubicBezTo>
                  <a:cubicBezTo>
                    <a:pt x="162" y="295"/>
                    <a:pt x="164" y="293"/>
                    <a:pt x="172" y="298"/>
                  </a:cubicBezTo>
                  <a:cubicBezTo>
                    <a:pt x="186" y="305"/>
                    <a:pt x="200" y="309"/>
                    <a:pt x="216" y="311"/>
                  </a:cubicBezTo>
                  <a:cubicBezTo>
                    <a:pt x="226" y="312"/>
                    <a:pt x="236" y="311"/>
                    <a:pt x="245" y="307"/>
                  </a:cubicBezTo>
                  <a:cubicBezTo>
                    <a:pt x="262" y="300"/>
                    <a:pt x="265" y="280"/>
                    <a:pt x="250" y="268"/>
                  </a:cubicBezTo>
                  <a:cubicBezTo>
                    <a:pt x="245" y="264"/>
                    <a:pt x="240" y="261"/>
                    <a:pt x="234" y="259"/>
                  </a:cubicBezTo>
                  <a:cubicBezTo>
                    <a:pt x="218" y="252"/>
                    <a:pt x="203" y="247"/>
                    <a:pt x="189" y="239"/>
                  </a:cubicBezTo>
                  <a:cubicBezTo>
                    <a:pt x="166" y="225"/>
                    <a:pt x="151" y="206"/>
                    <a:pt x="153" y="178"/>
                  </a:cubicBezTo>
                  <a:cubicBezTo>
                    <a:pt x="155" y="146"/>
                    <a:pt x="173" y="126"/>
                    <a:pt x="202" y="116"/>
                  </a:cubicBezTo>
                  <a:cubicBezTo>
                    <a:pt x="214" y="111"/>
                    <a:pt x="214" y="112"/>
                    <a:pt x="214" y="99"/>
                  </a:cubicBezTo>
                  <a:cubicBezTo>
                    <a:pt x="214" y="95"/>
                    <a:pt x="214" y="91"/>
                    <a:pt x="214" y="86"/>
                  </a:cubicBezTo>
                  <a:cubicBezTo>
                    <a:pt x="214" y="77"/>
                    <a:pt x="216" y="75"/>
                    <a:pt x="225" y="75"/>
                  </a:cubicBezTo>
                  <a:cubicBezTo>
                    <a:pt x="228" y="75"/>
                    <a:pt x="231" y="75"/>
                    <a:pt x="234" y="75"/>
                  </a:cubicBezTo>
                  <a:cubicBezTo>
                    <a:pt x="254" y="75"/>
                    <a:pt x="254" y="75"/>
                    <a:pt x="254" y="95"/>
                  </a:cubicBezTo>
                  <a:cubicBezTo>
                    <a:pt x="254" y="109"/>
                    <a:pt x="254" y="109"/>
                    <a:pt x="268" y="111"/>
                  </a:cubicBezTo>
                  <a:cubicBezTo>
                    <a:pt x="278" y="113"/>
                    <a:pt x="289" y="116"/>
                    <a:pt x="299" y="121"/>
                  </a:cubicBezTo>
                  <a:cubicBezTo>
                    <a:pt x="304" y="123"/>
                    <a:pt x="306" y="127"/>
                    <a:pt x="305" y="133"/>
                  </a:cubicBezTo>
                  <a:cubicBezTo>
                    <a:pt x="302" y="141"/>
                    <a:pt x="300" y="150"/>
                    <a:pt x="297" y="159"/>
                  </a:cubicBezTo>
                  <a:cubicBezTo>
                    <a:pt x="294" y="167"/>
                    <a:pt x="292" y="168"/>
                    <a:pt x="284" y="164"/>
                  </a:cubicBezTo>
                  <a:cubicBezTo>
                    <a:pt x="268" y="157"/>
                    <a:pt x="252" y="153"/>
                    <a:pt x="234" y="155"/>
                  </a:cubicBezTo>
                  <a:cubicBezTo>
                    <a:pt x="230" y="155"/>
                    <a:pt x="226" y="155"/>
                    <a:pt x="221" y="157"/>
                  </a:cubicBezTo>
                  <a:cubicBezTo>
                    <a:pt x="206" y="164"/>
                    <a:pt x="204" y="181"/>
                    <a:pt x="216" y="191"/>
                  </a:cubicBezTo>
                  <a:cubicBezTo>
                    <a:pt x="223" y="196"/>
                    <a:pt x="230" y="199"/>
                    <a:pt x="238" y="203"/>
                  </a:cubicBezTo>
                  <a:cubicBezTo>
                    <a:pt x="251" y="208"/>
                    <a:pt x="264" y="213"/>
                    <a:pt x="277" y="220"/>
                  </a:cubicBezTo>
                  <a:cubicBezTo>
                    <a:pt x="318" y="241"/>
                    <a:pt x="329" y="291"/>
                    <a:pt x="301" y="3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grpSp>
      <p:grpSp>
        <p:nvGrpSpPr>
          <p:cNvPr id="46" name="组合 45">
            <a:extLst>
              <a:ext uri="{FF2B5EF4-FFF2-40B4-BE49-F238E27FC236}">
                <a16:creationId xmlns:a16="http://schemas.microsoft.com/office/drawing/2014/main" id="{C44C806A-3634-4201-86EB-F24B0623554A}"/>
              </a:ext>
            </a:extLst>
          </p:cNvPr>
          <p:cNvGrpSpPr/>
          <p:nvPr/>
        </p:nvGrpSpPr>
        <p:grpSpPr>
          <a:xfrm>
            <a:off x="1674149" y="1004897"/>
            <a:ext cx="2533403" cy="940625"/>
            <a:chOff x="950419" y="2199246"/>
            <a:chExt cx="2056261" cy="763467"/>
          </a:xfrm>
        </p:grpSpPr>
        <p:sp>
          <p:nvSpPr>
            <p:cNvPr id="47" name="TextBox 65">
              <a:extLst>
                <a:ext uri="{FF2B5EF4-FFF2-40B4-BE49-F238E27FC236}">
                  <a16:creationId xmlns:a16="http://schemas.microsoft.com/office/drawing/2014/main" id="{01F1DBAE-00D3-4A32-92DF-8FCB271F5855}"/>
                </a:ext>
              </a:extLst>
            </p:cNvPr>
            <p:cNvSpPr txBox="1"/>
            <p:nvPr/>
          </p:nvSpPr>
          <p:spPr>
            <a:xfrm>
              <a:off x="950419" y="2199246"/>
              <a:ext cx="2056261" cy="286181"/>
            </a:xfrm>
            <a:prstGeom prst="rect">
              <a:avLst/>
            </a:prstGeom>
            <a:noFill/>
          </p:spPr>
          <p:txBody>
            <a:bodyPr wrap="square" lIns="0" tIns="36000" rIns="0" bIns="36000" rtlCol="0">
              <a:spAutoFit/>
            </a:bodyPr>
            <a:lstStyle>
              <a:defPPr>
                <a:defRPr lang="zh-CN"/>
              </a:defPPr>
              <a:lvl1pPr marR="0" lvl="0" indent="0" algn="ctr" fontAlgn="auto">
                <a:lnSpc>
                  <a:spcPct val="120000"/>
                </a:lnSpc>
                <a:spcBef>
                  <a:spcPts val="600"/>
                </a:spcBef>
                <a:spcAft>
                  <a:spcPts val="0"/>
                </a:spcAft>
                <a:buClrTx/>
                <a:buSzTx/>
                <a:buFontTx/>
                <a:buNone/>
                <a:tabLst/>
                <a:defRPr kumimoji="0" sz="1600" b="0" i="0" u="none" strike="noStrike" cap="none" spc="0" normalizeH="0" baseline="0">
                  <a:ln>
                    <a:noFill/>
                  </a:ln>
                  <a:solidFill>
                    <a:schemeClr val="accent1"/>
                  </a:solidFill>
                  <a:effectLst/>
                  <a:uLnTx/>
                  <a:uFillTx/>
                  <a:latin typeface="HarmonyOS Sans SC Black"/>
                  <a:ea typeface="+mj-ea"/>
                </a:defRPr>
              </a:lvl1pPr>
            </a:lstStyle>
            <a:p>
              <a:r>
                <a:rPr lang="zh-CN" altLang="en-US" dirty="0"/>
                <a:t>关键词标题</a:t>
              </a:r>
              <a:endParaRPr lang="en-US" dirty="0"/>
            </a:p>
          </p:txBody>
        </p:sp>
        <p:sp>
          <p:nvSpPr>
            <p:cNvPr id="48" name="TextBox 65">
              <a:extLst>
                <a:ext uri="{FF2B5EF4-FFF2-40B4-BE49-F238E27FC236}">
                  <a16:creationId xmlns:a16="http://schemas.microsoft.com/office/drawing/2014/main" id="{162010EC-2C29-4F2A-97B6-D6EA87CE8FE4}"/>
                </a:ext>
              </a:extLst>
            </p:cNvPr>
            <p:cNvSpPr txBox="1"/>
            <p:nvPr/>
          </p:nvSpPr>
          <p:spPr>
            <a:xfrm>
              <a:off x="1096851" y="2582645"/>
              <a:ext cx="1763396" cy="380068"/>
            </a:xfrm>
            <a:prstGeom prst="rect">
              <a:avLst/>
            </a:prstGeom>
            <a:noFill/>
          </p:spPr>
          <p:txBody>
            <a:bodyPr wrap="square" lIns="0" tIns="36000" rIns="0" bIns="36000" rtlCol="0">
              <a:spAutoFit/>
            </a:bodyPr>
            <a:lstStyle>
              <a:defPPr>
                <a:defRPr lang="zh-CN"/>
              </a:defPPr>
              <a:lvl1pPr marR="0" lvl="0" indent="0" algn="ctr" fontAlgn="auto">
                <a:lnSpc>
                  <a:spcPct val="120000"/>
                </a:lnSpc>
                <a:spcBef>
                  <a:spcPts val="600"/>
                </a:spcBef>
                <a:spcAft>
                  <a:spcPts val="0"/>
                </a:spcAft>
                <a:buClrTx/>
                <a:buSzTx/>
                <a:buFontTx/>
                <a:buNone/>
                <a:tabLst/>
                <a:defRPr kumimoji="0" sz="1100" b="0" i="0" u="none" strike="noStrike" cap="none" spc="0" normalizeH="0" baseline="0">
                  <a:ln>
                    <a:noFill/>
                  </a:ln>
                  <a:solidFill>
                    <a:prstClr val="black">
                      <a:lumMod val="50000"/>
                      <a:lumOff val="50000"/>
                    </a:prstClr>
                  </a:solidFill>
                  <a:effectLst/>
                  <a:uLnTx/>
                  <a:uFillTx/>
                  <a:latin typeface="HarmonyOS Sans SC"/>
                </a:defRPr>
              </a:lvl1pPr>
            </a:lstStyle>
            <a:p>
              <a:r>
                <a:rPr lang="zh-CN" altLang="en-US" dirty="0"/>
                <a:t>在这里输入你的正文，阐述与关键词标题相关的具体内容</a:t>
              </a:r>
              <a:endParaRPr lang="en-US" dirty="0"/>
            </a:p>
          </p:txBody>
        </p:sp>
      </p:grpSp>
      <p:grpSp>
        <p:nvGrpSpPr>
          <p:cNvPr id="49" name="组合 48">
            <a:extLst>
              <a:ext uri="{FF2B5EF4-FFF2-40B4-BE49-F238E27FC236}">
                <a16:creationId xmlns:a16="http://schemas.microsoft.com/office/drawing/2014/main" id="{3175AF04-6BB9-4300-9757-BF860DD9E9DD}"/>
              </a:ext>
            </a:extLst>
          </p:cNvPr>
          <p:cNvGrpSpPr/>
          <p:nvPr/>
        </p:nvGrpSpPr>
        <p:grpSpPr>
          <a:xfrm>
            <a:off x="4203001" y="1004897"/>
            <a:ext cx="2533403" cy="940625"/>
            <a:chOff x="950419" y="2199246"/>
            <a:chExt cx="2056261" cy="763467"/>
          </a:xfrm>
        </p:grpSpPr>
        <p:sp>
          <p:nvSpPr>
            <p:cNvPr id="50" name="TextBox 65">
              <a:extLst>
                <a:ext uri="{FF2B5EF4-FFF2-40B4-BE49-F238E27FC236}">
                  <a16:creationId xmlns:a16="http://schemas.microsoft.com/office/drawing/2014/main" id="{55F0AB0E-31FC-44DE-A94A-10C167EFCCD5}"/>
                </a:ext>
              </a:extLst>
            </p:cNvPr>
            <p:cNvSpPr txBox="1"/>
            <p:nvPr/>
          </p:nvSpPr>
          <p:spPr>
            <a:xfrm>
              <a:off x="950419" y="2199246"/>
              <a:ext cx="2056261" cy="286181"/>
            </a:xfrm>
            <a:prstGeom prst="rect">
              <a:avLst/>
            </a:prstGeom>
            <a:noFill/>
          </p:spPr>
          <p:txBody>
            <a:bodyPr wrap="square" lIns="0" tIns="36000" rIns="0" bIns="36000" rtlCol="0">
              <a:spAutoFit/>
            </a:bodyPr>
            <a:lstStyle>
              <a:defPPr>
                <a:defRPr lang="zh-CN"/>
              </a:defPPr>
              <a:lvl1pPr marR="0" lvl="0" indent="0" algn="ctr" fontAlgn="auto">
                <a:lnSpc>
                  <a:spcPct val="120000"/>
                </a:lnSpc>
                <a:spcBef>
                  <a:spcPts val="600"/>
                </a:spcBef>
                <a:spcAft>
                  <a:spcPts val="0"/>
                </a:spcAft>
                <a:buClrTx/>
                <a:buSzTx/>
                <a:buFontTx/>
                <a:buNone/>
                <a:tabLst/>
                <a:defRPr kumimoji="0" sz="1600" b="0" i="0" u="none" strike="noStrike" cap="none" spc="0" normalizeH="0" baseline="0">
                  <a:ln>
                    <a:noFill/>
                  </a:ln>
                  <a:solidFill>
                    <a:schemeClr val="accent1"/>
                  </a:solidFill>
                  <a:effectLst/>
                  <a:uLnTx/>
                  <a:uFillTx/>
                  <a:latin typeface="HarmonyOS Sans SC Black"/>
                  <a:ea typeface="+mj-ea"/>
                </a:defRPr>
              </a:lvl1pPr>
            </a:lstStyle>
            <a:p>
              <a:r>
                <a:rPr lang="zh-CN" altLang="en-US" dirty="0"/>
                <a:t>关键词标题</a:t>
              </a:r>
              <a:endParaRPr lang="en-US" dirty="0"/>
            </a:p>
          </p:txBody>
        </p:sp>
        <p:sp>
          <p:nvSpPr>
            <p:cNvPr id="51" name="TextBox 65">
              <a:extLst>
                <a:ext uri="{FF2B5EF4-FFF2-40B4-BE49-F238E27FC236}">
                  <a16:creationId xmlns:a16="http://schemas.microsoft.com/office/drawing/2014/main" id="{93DBBE3F-BCDD-4A8E-A711-BE4F1119AB54}"/>
                </a:ext>
              </a:extLst>
            </p:cNvPr>
            <p:cNvSpPr txBox="1"/>
            <p:nvPr/>
          </p:nvSpPr>
          <p:spPr>
            <a:xfrm>
              <a:off x="1096851" y="2582645"/>
              <a:ext cx="1763396" cy="380068"/>
            </a:xfrm>
            <a:prstGeom prst="rect">
              <a:avLst/>
            </a:prstGeom>
            <a:noFill/>
          </p:spPr>
          <p:txBody>
            <a:bodyPr wrap="square" lIns="0" tIns="36000" rIns="0" bIns="36000" rtlCol="0">
              <a:spAutoFit/>
            </a:bodyPr>
            <a:lstStyle>
              <a:defPPr>
                <a:defRPr lang="zh-CN"/>
              </a:defPPr>
              <a:lvl1pPr marR="0" lvl="0" indent="0" algn="ctr" fontAlgn="auto">
                <a:lnSpc>
                  <a:spcPct val="120000"/>
                </a:lnSpc>
                <a:spcBef>
                  <a:spcPts val="600"/>
                </a:spcBef>
                <a:spcAft>
                  <a:spcPts val="0"/>
                </a:spcAft>
                <a:buClrTx/>
                <a:buSzTx/>
                <a:buFontTx/>
                <a:buNone/>
                <a:tabLst/>
                <a:defRPr kumimoji="0" sz="1100" b="0" i="0" u="none" strike="noStrike" cap="none" spc="0" normalizeH="0" baseline="0">
                  <a:ln>
                    <a:noFill/>
                  </a:ln>
                  <a:solidFill>
                    <a:prstClr val="black">
                      <a:lumMod val="50000"/>
                      <a:lumOff val="50000"/>
                    </a:prstClr>
                  </a:solidFill>
                  <a:effectLst/>
                  <a:uLnTx/>
                  <a:uFillTx/>
                  <a:latin typeface="HarmonyOS Sans SC"/>
                </a:defRPr>
              </a:lvl1pPr>
            </a:lstStyle>
            <a:p>
              <a:r>
                <a:rPr lang="zh-CN" altLang="en-US" dirty="0"/>
                <a:t>在这里输入你的正文，阐述与关键词标题相关的具体内容</a:t>
              </a:r>
              <a:endParaRPr lang="en-US" dirty="0"/>
            </a:p>
          </p:txBody>
        </p:sp>
      </p:grpSp>
      <p:grpSp>
        <p:nvGrpSpPr>
          <p:cNvPr id="52" name="组合 51">
            <a:extLst>
              <a:ext uri="{FF2B5EF4-FFF2-40B4-BE49-F238E27FC236}">
                <a16:creationId xmlns:a16="http://schemas.microsoft.com/office/drawing/2014/main" id="{747E7C53-DA67-4406-95D1-6D651E7D55DB}"/>
              </a:ext>
            </a:extLst>
          </p:cNvPr>
          <p:cNvGrpSpPr/>
          <p:nvPr/>
        </p:nvGrpSpPr>
        <p:grpSpPr>
          <a:xfrm>
            <a:off x="6731853" y="1004897"/>
            <a:ext cx="2533403" cy="940625"/>
            <a:chOff x="950419" y="2199246"/>
            <a:chExt cx="2056261" cy="763467"/>
          </a:xfrm>
        </p:grpSpPr>
        <p:sp>
          <p:nvSpPr>
            <p:cNvPr id="53" name="TextBox 65">
              <a:extLst>
                <a:ext uri="{FF2B5EF4-FFF2-40B4-BE49-F238E27FC236}">
                  <a16:creationId xmlns:a16="http://schemas.microsoft.com/office/drawing/2014/main" id="{7CD67529-A703-4469-978D-A12FB186EED2}"/>
                </a:ext>
              </a:extLst>
            </p:cNvPr>
            <p:cNvSpPr txBox="1"/>
            <p:nvPr/>
          </p:nvSpPr>
          <p:spPr>
            <a:xfrm>
              <a:off x="950419" y="2199246"/>
              <a:ext cx="2056261" cy="286181"/>
            </a:xfrm>
            <a:prstGeom prst="rect">
              <a:avLst/>
            </a:prstGeom>
            <a:noFill/>
          </p:spPr>
          <p:txBody>
            <a:bodyPr wrap="square" lIns="0" tIns="36000" rIns="0" bIns="36000" rtlCol="0">
              <a:spAutoFit/>
            </a:bodyPr>
            <a:lstStyle>
              <a:defPPr>
                <a:defRPr lang="zh-CN"/>
              </a:defPPr>
              <a:lvl1pPr marR="0" lvl="0" indent="0" algn="ctr" fontAlgn="auto">
                <a:lnSpc>
                  <a:spcPct val="120000"/>
                </a:lnSpc>
                <a:spcBef>
                  <a:spcPts val="600"/>
                </a:spcBef>
                <a:spcAft>
                  <a:spcPts val="0"/>
                </a:spcAft>
                <a:buClrTx/>
                <a:buSzTx/>
                <a:buFontTx/>
                <a:buNone/>
                <a:tabLst/>
                <a:defRPr kumimoji="0" sz="1600" b="0" i="0" u="none" strike="noStrike" cap="none" spc="0" normalizeH="0" baseline="0">
                  <a:ln>
                    <a:noFill/>
                  </a:ln>
                  <a:solidFill>
                    <a:schemeClr val="accent1"/>
                  </a:solidFill>
                  <a:effectLst/>
                  <a:uLnTx/>
                  <a:uFillTx/>
                  <a:latin typeface="HarmonyOS Sans SC Black"/>
                  <a:ea typeface="+mj-ea"/>
                </a:defRPr>
              </a:lvl1pPr>
            </a:lstStyle>
            <a:p>
              <a:r>
                <a:rPr lang="zh-CN" altLang="en-US" dirty="0"/>
                <a:t>关键词标题</a:t>
              </a:r>
              <a:endParaRPr lang="en-US" dirty="0"/>
            </a:p>
          </p:txBody>
        </p:sp>
        <p:sp>
          <p:nvSpPr>
            <p:cNvPr id="54" name="TextBox 65">
              <a:extLst>
                <a:ext uri="{FF2B5EF4-FFF2-40B4-BE49-F238E27FC236}">
                  <a16:creationId xmlns:a16="http://schemas.microsoft.com/office/drawing/2014/main" id="{56B1FD44-71B4-4469-9437-BADEA8E68461}"/>
                </a:ext>
              </a:extLst>
            </p:cNvPr>
            <p:cNvSpPr txBox="1"/>
            <p:nvPr/>
          </p:nvSpPr>
          <p:spPr>
            <a:xfrm>
              <a:off x="1096851" y="2582645"/>
              <a:ext cx="1763396" cy="380068"/>
            </a:xfrm>
            <a:prstGeom prst="rect">
              <a:avLst/>
            </a:prstGeom>
            <a:noFill/>
          </p:spPr>
          <p:txBody>
            <a:bodyPr wrap="square" lIns="0" tIns="36000" rIns="0" bIns="36000" rtlCol="0">
              <a:spAutoFit/>
            </a:bodyPr>
            <a:lstStyle>
              <a:defPPr>
                <a:defRPr lang="zh-CN"/>
              </a:defPPr>
              <a:lvl1pPr marR="0" lvl="0" indent="0" algn="ctr" fontAlgn="auto">
                <a:lnSpc>
                  <a:spcPct val="120000"/>
                </a:lnSpc>
                <a:spcBef>
                  <a:spcPts val="600"/>
                </a:spcBef>
                <a:spcAft>
                  <a:spcPts val="0"/>
                </a:spcAft>
                <a:buClrTx/>
                <a:buSzTx/>
                <a:buFontTx/>
                <a:buNone/>
                <a:tabLst/>
                <a:defRPr kumimoji="0" sz="1100" b="0" i="0" u="none" strike="noStrike" cap="none" spc="0" normalizeH="0" baseline="0">
                  <a:ln>
                    <a:noFill/>
                  </a:ln>
                  <a:solidFill>
                    <a:prstClr val="black">
                      <a:lumMod val="50000"/>
                      <a:lumOff val="50000"/>
                    </a:prstClr>
                  </a:solidFill>
                  <a:effectLst/>
                  <a:uLnTx/>
                  <a:uFillTx/>
                  <a:latin typeface="HarmonyOS Sans SC"/>
                </a:defRPr>
              </a:lvl1pPr>
            </a:lstStyle>
            <a:p>
              <a:r>
                <a:rPr lang="zh-CN" altLang="en-US" dirty="0"/>
                <a:t>在这里输入你的正文，阐述与关键词标题相关的具体内容</a:t>
              </a:r>
              <a:endParaRPr lang="en-US" dirty="0"/>
            </a:p>
          </p:txBody>
        </p:sp>
      </p:grpSp>
      <p:grpSp>
        <p:nvGrpSpPr>
          <p:cNvPr id="64" name="组合 63">
            <a:extLst>
              <a:ext uri="{FF2B5EF4-FFF2-40B4-BE49-F238E27FC236}">
                <a16:creationId xmlns:a16="http://schemas.microsoft.com/office/drawing/2014/main" id="{CFCF72E7-43D2-4843-80CD-2BA8B31C408E}"/>
              </a:ext>
            </a:extLst>
          </p:cNvPr>
          <p:cNvGrpSpPr/>
          <p:nvPr/>
        </p:nvGrpSpPr>
        <p:grpSpPr>
          <a:xfrm>
            <a:off x="2927992" y="5294812"/>
            <a:ext cx="2533403" cy="940625"/>
            <a:chOff x="950419" y="2199246"/>
            <a:chExt cx="2056261" cy="763468"/>
          </a:xfrm>
        </p:grpSpPr>
        <p:sp>
          <p:nvSpPr>
            <p:cNvPr id="65" name="TextBox 65">
              <a:extLst>
                <a:ext uri="{FF2B5EF4-FFF2-40B4-BE49-F238E27FC236}">
                  <a16:creationId xmlns:a16="http://schemas.microsoft.com/office/drawing/2014/main" id="{8734C14B-3DF3-47A7-903A-DDDB90547413}"/>
                </a:ext>
              </a:extLst>
            </p:cNvPr>
            <p:cNvSpPr txBox="1"/>
            <p:nvPr/>
          </p:nvSpPr>
          <p:spPr>
            <a:xfrm>
              <a:off x="950419" y="2199246"/>
              <a:ext cx="2056261" cy="286182"/>
            </a:xfrm>
            <a:prstGeom prst="rect">
              <a:avLst/>
            </a:prstGeom>
            <a:noFill/>
          </p:spPr>
          <p:txBody>
            <a:bodyPr wrap="square" lIns="0" tIns="36000" rIns="0" bIns="36000" rtlCol="0">
              <a:spAutoFit/>
            </a:bodyPr>
            <a:lstStyle/>
            <a:p>
              <a:pPr marL="0" marR="0" lvl="0" indent="0" algn="ctr" defTabSz="914400" rtl="0" eaLnBrk="1" fontAlgn="auto" latinLnBrk="0" hangingPunct="1">
                <a:lnSpc>
                  <a:spcPct val="120000"/>
                </a:lnSpc>
                <a:spcBef>
                  <a:spcPts val="600"/>
                </a:spcBef>
                <a:spcAft>
                  <a:spcPts val="0"/>
                </a:spcAft>
                <a:buClrTx/>
                <a:buSzTx/>
                <a:buFontTx/>
                <a:buNone/>
                <a:tabLst/>
                <a:defRPr/>
              </a:pPr>
              <a:r>
                <a:rPr kumimoji="0" lang="zh-CN" altLang="en-US" sz="1600" b="0" i="0" u="none" strike="noStrike" kern="1200" cap="none" spc="0" normalizeH="0" baseline="0" noProof="0" dirty="0">
                  <a:ln>
                    <a:noFill/>
                  </a:ln>
                  <a:solidFill>
                    <a:schemeClr val="accent1"/>
                  </a:solidFill>
                  <a:effectLst/>
                  <a:uLnTx/>
                  <a:uFillTx/>
                  <a:latin typeface="HarmonyOS Sans SC Black"/>
                  <a:ea typeface="+mj-ea"/>
                  <a:cs typeface="+mn-cs"/>
                </a:rPr>
                <a:t>关键词标题</a:t>
              </a:r>
              <a:endParaRPr kumimoji="0" lang="en-US" sz="1600" b="0" i="0" u="none" strike="noStrike" kern="1200" cap="none" spc="0" normalizeH="0" baseline="0" noProof="0" dirty="0">
                <a:ln>
                  <a:noFill/>
                </a:ln>
                <a:solidFill>
                  <a:schemeClr val="accent1"/>
                </a:solidFill>
                <a:effectLst/>
                <a:uLnTx/>
                <a:uFillTx/>
                <a:latin typeface="HarmonyOS Sans SC Black"/>
                <a:ea typeface="+mj-ea"/>
                <a:cs typeface="+mn-cs"/>
              </a:endParaRPr>
            </a:p>
          </p:txBody>
        </p:sp>
        <p:sp>
          <p:nvSpPr>
            <p:cNvPr id="66" name="TextBox 65">
              <a:extLst>
                <a:ext uri="{FF2B5EF4-FFF2-40B4-BE49-F238E27FC236}">
                  <a16:creationId xmlns:a16="http://schemas.microsoft.com/office/drawing/2014/main" id="{14CDC613-E5C2-4E2F-8D2D-33262101871B}"/>
                </a:ext>
              </a:extLst>
            </p:cNvPr>
            <p:cNvSpPr txBox="1"/>
            <p:nvPr/>
          </p:nvSpPr>
          <p:spPr>
            <a:xfrm>
              <a:off x="1096851" y="2582645"/>
              <a:ext cx="1763396" cy="380069"/>
            </a:xfrm>
            <a:prstGeom prst="rect">
              <a:avLst/>
            </a:prstGeom>
            <a:noFill/>
          </p:spPr>
          <p:txBody>
            <a:bodyPr wrap="square" lIns="0" tIns="36000" rIns="0" bIns="36000" rtlCol="0">
              <a:spAutoFit/>
            </a:bodyPr>
            <a:lstStyle/>
            <a:p>
              <a:pPr marL="0" marR="0" lvl="0" indent="0" algn="ctr" defTabSz="914400" rtl="0" eaLnBrk="1" fontAlgn="auto" latinLnBrk="0" hangingPunct="1">
                <a:lnSpc>
                  <a:spcPct val="120000"/>
                </a:lnSpc>
                <a:spcBef>
                  <a:spcPts val="600"/>
                </a:spcBef>
                <a:spcAft>
                  <a:spcPts val="0"/>
                </a:spcAft>
                <a:buClrTx/>
                <a:buSzTx/>
                <a:buFontTx/>
                <a:buNone/>
                <a:tabLst/>
                <a:defRPr/>
              </a:pPr>
              <a:r>
                <a:rPr kumimoji="0" lang="zh-CN" altLang="en-US" sz="1100" b="0" i="0" u="none" strike="noStrike" kern="1200" cap="none" spc="0" normalizeH="0" baseline="0" noProof="0" dirty="0">
                  <a:ln>
                    <a:noFill/>
                  </a:ln>
                  <a:solidFill>
                    <a:prstClr val="black">
                      <a:lumMod val="50000"/>
                      <a:lumOff val="50000"/>
                    </a:prstClr>
                  </a:solidFill>
                  <a:effectLst/>
                  <a:uLnTx/>
                  <a:uFillTx/>
                  <a:latin typeface="HarmonyOS Sans SC"/>
                  <a:cs typeface="+mn-cs"/>
                </a:rPr>
                <a:t>在这里输入你的正文，阐述与关键词标题相关的具体内容</a:t>
              </a:r>
              <a:endParaRPr kumimoji="0" lang="en-US" sz="1100" b="0" i="0" u="none" strike="noStrike" kern="1200" cap="none" spc="0" normalizeH="0" baseline="0" noProof="0" dirty="0">
                <a:ln>
                  <a:noFill/>
                </a:ln>
                <a:solidFill>
                  <a:prstClr val="black">
                    <a:lumMod val="50000"/>
                    <a:lumOff val="50000"/>
                  </a:prstClr>
                </a:solidFill>
                <a:effectLst/>
                <a:uLnTx/>
                <a:uFillTx/>
                <a:latin typeface="HarmonyOS Sans SC"/>
                <a:cs typeface="+mn-cs"/>
              </a:endParaRPr>
            </a:p>
          </p:txBody>
        </p:sp>
      </p:grpSp>
      <p:grpSp>
        <p:nvGrpSpPr>
          <p:cNvPr id="67" name="组合 66">
            <a:extLst>
              <a:ext uri="{FF2B5EF4-FFF2-40B4-BE49-F238E27FC236}">
                <a16:creationId xmlns:a16="http://schemas.microsoft.com/office/drawing/2014/main" id="{8C28704D-4BED-45FA-A4C1-67C2A1FA17C8}"/>
              </a:ext>
            </a:extLst>
          </p:cNvPr>
          <p:cNvGrpSpPr/>
          <p:nvPr/>
        </p:nvGrpSpPr>
        <p:grpSpPr>
          <a:xfrm>
            <a:off x="5456220" y="5294815"/>
            <a:ext cx="2533403" cy="940625"/>
            <a:chOff x="950419" y="2199246"/>
            <a:chExt cx="2056261" cy="763467"/>
          </a:xfrm>
        </p:grpSpPr>
        <p:sp>
          <p:nvSpPr>
            <p:cNvPr id="68" name="TextBox 65">
              <a:extLst>
                <a:ext uri="{FF2B5EF4-FFF2-40B4-BE49-F238E27FC236}">
                  <a16:creationId xmlns:a16="http://schemas.microsoft.com/office/drawing/2014/main" id="{3ADC2042-909D-4A61-833A-AC7E2284DB7C}"/>
                </a:ext>
              </a:extLst>
            </p:cNvPr>
            <p:cNvSpPr txBox="1"/>
            <p:nvPr/>
          </p:nvSpPr>
          <p:spPr>
            <a:xfrm>
              <a:off x="950419" y="2199246"/>
              <a:ext cx="2056261" cy="286181"/>
            </a:xfrm>
            <a:prstGeom prst="rect">
              <a:avLst/>
            </a:prstGeom>
            <a:noFill/>
          </p:spPr>
          <p:txBody>
            <a:bodyPr wrap="square" lIns="0" tIns="36000" rIns="0" bIns="36000" rtlCol="0">
              <a:spAutoFit/>
            </a:bodyPr>
            <a:lstStyle>
              <a:defPPr>
                <a:defRPr lang="zh-CN"/>
              </a:defPPr>
              <a:lvl1pPr marR="0" lvl="0" indent="0" algn="ctr" fontAlgn="auto">
                <a:lnSpc>
                  <a:spcPct val="120000"/>
                </a:lnSpc>
                <a:spcBef>
                  <a:spcPts val="600"/>
                </a:spcBef>
                <a:spcAft>
                  <a:spcPts val="0"/>
                </a:spcAft>
                <a:buClrTx/>
                <a:buSzTx/>
                <a:buFontTx/>
                <a:buNone/>
                <a:tabLst/>
                <a:defRPr kumimoji="0" sz="1600" b="0" i="0" u="none" strike="noStrike" cap="none" spc="0" normalizeH="0" baseline="0">
                  <a:ln>
                    <a:noFill/>
                  </a:ln>
                  <a:solidFill>
                    <a:schemeClr val="accent1"/>
                  </a:solidFill>
                  <a:effectLst/>
                  <a:uLnTx/>
                  <a:uFillTx/>
                  <a:latin typeface="HarmonyOS Sans SC Black"/>
                  <a:ea typeface="+mj-ea"/>
                </a:defRPr>
              </a:lvl1pPr>
            </a:lstStyle>
            <a:p>
              <a:r>
                <a:rPr lang="zh-CN" altLang="en-US" dirty="0"/>
                <a:t>关键词标题</a:t>
              </a:r>
              <a:endParaRPr lang="en-US" dirty="0"/>
            </a:p>
          </p:txBody>
        </p:sp>
        <p:sp>
          <p:nvSpPr>
            <p:cNvPr id="69" name="TextBox 65">
              <a:extLst>
                <a:ext uri="{FF2B5EF4-FFF2-40B4-BE49-F238E27FC236}">
                  <a16:creationId xmlns:a16="http://schemas.microsoft.com/office/drawing/2014/main" id="{F9BFB53D-AB41-4DF6-8960-0BE91F25F847}"/>
                </a:ext>
              </a:extLst>
            </p:cNvPr>
            <p:cNvSpPr txBox="1"/>
            <p:nvPr/>
          </p:nvSpPr>
          <p:spPr>
            <a:xfrm>
              <a:off x="1096851" y="2582645"/>
              <a:ext cx="1763396" cy="380068"/>
            </a:xfrm>
            <a:prstGeom prst="rect">
              <a:avLst/>
            </a:prstGeom>
            <a:noFill/>
          </p:spPr>
          <p:txBody>
            <a:bodyPr wrap="square" lIns="0" tIns="36000" rIns="0" bIns="36000" rtlCol="0">
              <a:spAutoFit/>
            </a:bodyPr>
            <a:lstStyle>
              <a:defPPr>
                <a:defRPr lang="zh-CN"/>
              </a:defPPr>
              <a:lvl1pPr marR="0" lvl="0" indent="0" algn="ctr" fontAlgn="auto">
                <a:lnSpc>
                  <a:spcPct val="120000"/>
                </a:lnSpc>
                <a:spcBef>
                  <a:spcPts val="600"/>
                </a:spcBef>
                <a:spcAft>
                  <a:spcPts val="0"/>
                </a:spcAft>
                <a:buClrTx/>
                <a:buSzTx/>
                <a:buFontTx/>
                <a:buNone/>
                <a:tabLst/>
                <a:defRPr kumimoji="0" sz="1100" b="0" i="0" u="none" strike="noStrike" cap="none" spc="0" normalizeH="0" baseline="0">
                  <a:ln>
                    <a:noFill/>
                  </a:ln>
                  <a:solidFill>
                    <a:prstClr val="black">
                      <a:lumMod val="50000"/>
                      <a:lumOff val="50000"/>
                    </a:prstClr>
                  </a:solidFill>
                  <a:effectLst/>
                  <a:uLnTx/>
                  <a:uFillTx/>
                  <a:latin typeface="HarmonyOS Sans SC"/>
                </a:defRPr>
              </a:lvl1pPr>
            </a:lstStyle>
            <a:p>
              <a:r>
                <a:rPr lang="zh-CN" altLang="en-US" dirty="0"/>
                <a:t>在这里输入你的正文，阐述与关键词标题相关的具体内容</a:t>
              </a:r>
              <a:endParaRPr lang="en-US" dirty="0"/>
            </a:p>
          </p:txBody>
        </p:sp>
      </p:grpSp>
      <p:grpSp>
        <p:nvGrpSpPr>
          <p:cNvPr id="70" name="组合 69">
            <a:extLst>
              <a:ext uri="{FF2B5EF4-FFF2-40B4-BE49-F238E27FC236}">
                <a16:creationId xmlns:a16="http://schemas.microsoft.com/office/drawing/2014/main" id="{6AE3C0E4-BDC7-4050-A1CB-13C89297A8B7}"/>
              </a:ext>
            </a:extLst>
          </p:cNvPr>
          <p:cNvGrpSpPr/>
          <p:nvPr/>
        </p:nvGrpSpPr>
        <p:grpSpPr>
          <a:xfrm>
            <a:off x="7984449" y="5294815"/>
            <a:ext cx="2533403" cy="940625"/>
            <a:chOff x="950419" y="2199246"/>
            <a:chExt cx="2056261" cy="763467"/>
          </a:xfrm>
        </p:grpSpPr>
        <p:sp>
          <p:nvSpPr>
            <p:cNvPr id="71" name="TextBox 65">
              <a:extLst>
                <a:ext uri="{FF2B5EF4-FFF2-40B4-BE49-F238E27FC236}">
                  <a16:creationId xmlns:a16="http://schemas.microsoft.com/office/drawing/2014/main" id="{89DE426D-05BA-4147-90A8-1E5872DA155E}"/>
                </a:ext>
              </a:extLst>
            </p:cNvPr>
            <p:cNvSpPr txBox="1"/>
            <p:nvPr/>
          </p:nvSpPr>
          <p:spPr>
            <a:xfrm>
              <a:off x="950419" y="2199246"/>
              <a:ext cx="2056261" cy="286181"/>
            </a:xfrm>
            <a:prstGeom prst="rect">
              <a:avLst/>
            </a:prstGeom>
            <a:noFill/>
          </p:spPr>
          <p:txBody>
            <a:bodyPr wrap="square" lIns="0" tIns="36000" rIns="0" bIns="36000" rtlCol="0">
              <a:spAutoFit/>
            </a:bodyPr>
            <a:lstStyle>
              <a:defPPr>
                <a:defRPr lang="zh-CN"/>
              </a:defPPr>
              <a:lvl1pPr marR="0" lvl="0" indent="0" algn="ctr" fontAlgn="auto">
                <a:lnSpc>
                  <a:spcPct val="120000"/>
                </a:lnSpc>
                <a:spcBef>
                  <a:spcPts val="600"/>
                </a:spcBef>
                <a:spcAft>
                  <a:spcPts val="0"/>
                </a:spcAft>
                <a:buClrTx/>
                <a:buSzTx/>
                <a:buFontTx/>
                <a:buNone/>
                <a:tabLst/>
                <a:defRPr kumimoji="0" sz="1600" b="0" i="0" u="none" strike="noStrike" cap="none" spc="0" normalizeH="0" baseline="0">
                  <a:ln>
                    <a:noFill/>
                  </a:ln>
                  <a:solidFill>
                    <a:schemeClr val="accent1"/>
                  </a:solidFill>
                  <a:effectLst/>
                  <a:uLnTx/>
                  <a:uFillTx/>
                  <a:latin typeface="HarmonyOS Sans SC Black"/>
                  <a:ea typeface="+mj-ea"/>
                </a:defRPr>
              </a:lvl1pPr>
            </a:lstStyle>
            <a:p>
              <a:r>
                <a:rPr lang="zh-CN" altLang="en-US" dirty="0"/>
                <a:t>关键词标题</a:t>
              </a:r>
              <a:endParaRPr lang="en-US" dirty="0"/>
            </a:p>
          </p:txBody>
        </p:sp>
        <p:sp>
          <p:nvSpPr>
            <p:cNvPr id="72" name="TextBox 65">
              <a:extLst>
                <a:ext uri="{FF2B5EF4-FFF2-40B4-BE49-F238E27FC236}">
                  <a16:creationId xmlns:a16="http://schemas.microsoft.com/office/drawing/2014/main" id="{60AA190B-7DA4-4C58-BE90-C0062B837071}"/>
                </a:ext>
              </a:extLst>
            </p:cNvPr>
            <p:cNvSpPr txBox="1"/>
            <p:nvPr/>
          </p:nvSpPr>
          <p:spPr>
            <a:xfrm>
              <a:off x="1096851" y="2582645"/>
              <a:ext cx="1763396" cy="380068"/>
            </a:xfrm>
            <a:prstGeom prst="rect">
              <a:avLst/>
            </a:prstGeom>
            <a:noFill/>
          </p:spPr>
          <p:txBody>
            <a:bodyPr wrap="square" lIns="0" tIns="36000" rIns="0" bIns="36000" rtlCol="0">
              <a:spAutoFit/>
            </a:bodyPr>
            <a:lstStyle>
              <a:defPPr>
                <a:defRPr lang="zh-CN"/>
              </a:defPPr>
              <a:lvl1pPr marR="0" lvl="0" indent="0" algn="ctr" fontAlgn="auto">
                <a:lnSpc>
                  <a:spcPct val="120000"/>
                </a:lnSpc>
                <a:spcBef>
                  <a:spcPts val="600"/>
                </a:spcBef>
                <a:spcAft>
                  <a:spcPts val="0"/>
                </a:spcAft>
                <a:buClrTx/>
                <a:buSzTx/>
                <a:buFontTx/>
                <a:buNone/>
                <a:tabLst/>
                <a:defRPr kumimoji="0" sz="1100" b="0" i="0" u="none" strike="noStrike" cap="none" spc="0" normalizeH="0" baseline="0">
                  <a:ln>
                    <a:noFill/>
                  </a:ln>
                  <a:solidFill>
                    <a:prstClr val="black">
                      <a:lumMod val="50000"/>
                      <a:lumOff val="50000"/>
                    </a:prstClr>
                  </a:solidFill>
                  <a:effectLst/>
                  <a:uLnTx/>
                  <a:uFillTx/>
                  <a:latin typeface="HarmonyOS Sans SC"/>
                </a:defRPr>
              </a:lvl1pPr>
            </a:lstStyle>
            <a:p>
              <a:r>
                <a:rPr lang="zh-CN" altLang="en-US" dirty="0"/>
                <a:t>在这里输入你的正文，阐述与关键词标题相关的具体内容</a:t>
              </a:r>
              <a:endParaRPr lang="en-US" dirty="0"/>
            </a:p>
          </p:txBody>
        </p:sp>
      </p:grpSp>
    </p:spTree>
    <p:extLst>
      <p:ext uri="{BB962C8B-B14F-4D97-AF65-F5344CB8AC3E}">
        <p14:creationId xmlns:p14="http://schemas.microsoft.com/office/powerpoint/2010/main" val="3487100511"/>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4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ight Triangle 61">
            <a:extLst>
              <a:ext uri="{FF2B5EF4-FFF2-40B4-BE49-F238E27FC236}">
                <a16:creationId xmlns:a16="http://schemas.microsoft.com/office/drawing/2014/main" id="{D00ABC43-0BCD-4046-B030-1DB4D85220C3}"/>
              </a:ext>
            </a:extLst>
          </p:cNvPr>
          <p:cNvSpPr/>
          <p:nvPr/>
        </p:nvSpPr>
        <p:spPr>
          <a:xfrm flipV="1">
            <a:off x="1055689" y="803583"/>
            <a:ext cx="72580" cy="72177"/>
          </a:xfrm>
          <a:prstGeom prst="r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HarmonyOS Sans SC"/>
              <a:cs typeface="+mn-cs"/>
            </a:endParaRPr>
          </a:p>
        </p:txBody>
      </p:sp>
      <p:sp>
        <p:nvSpPr>
          <p:cNvPr id="5" name="文本框 4">
            <a:extLst>
              <a:ext uri="{FF2B5EF4-FFF2-40B4-BE49-F238E27FC236}">
                <a16:creationId xmlns:a16="http://schemas.microsoft.com/office/drawing/2014/main" id="{82D9EF9F-4960-4391-8A25-76EBC23BAA4D}"/>
              </a:ext>
            </a:extLst>
          </p:cNvPr>
          <p:cNvSpPr txBox="1"/>
          <p:nvPr/>
        </p:nvSpPr>
        <p:spPr>
          <a:xfrm>
            <a:off x="941388" y="918105"/>
            <a:ext cx="4203395"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2800" b="0" i="0" u="none" strike="noStrike" kern="1200" cap="none" spc="0" normalizeH="0" baseline="0" noProof="0" dirty="0">
                <a:ln>
                  <a:noFill/>
                </a:ln>
                <a:solidFill>
                  <a:prstClr val="black"/>
                </a:solidFill>
                <a:effectLst/>
                <a:uLnTx/>
                <a:uFillTx/>
                <a:latin typeface="HarmonyOS Sans Black"/>
                <a:ea typeface="+mj-ea"/>
                <a:cs typeface="+mn-cs"/>
              </a:rPr>
              <a:t>Blockchain </a:t>
            </a:r>
            <a:r>
              <a:rPr kumimoji="0" lang="en-US" altLang="zh-CN" sz="2800" b="0" i="0" u="none" strike="noStrike" kern="1200" cap="none" spc="0" normalizeH="0" baseline="0" noProof="0" dirty="0">
                <a:ln>
                  <a:noFill/>
                </a:ln>
                <a:solidFill>
                  <a:srgbClr val="5CE0CE"/>
                </a:solidFill>
                <a:effectLst/>
                <a:uLnTx/>
                <a:uFillTx/>
                <a:latin typeface="HarmonyOS Sans Black"/>
                <a:ea typeface="+mj-ea"/>
                <a:cs typeface="+mn-cs"/>
              </a:rPr>
              <a:t>Infographic</a:t>
            </a:r>
          </a:p>
        </p:txBody>
      </p:sp>
      <p:sp>
        <p:nvSpPr>
          <p:cNvPr id="6" name="AutoShape 3">
            <a:extLst>
              <a:ext uri="{FF2B5EF4-FFF2-40B4-BE49-F238E27FC236}">
                <a16:creationId xmlns:a16="http://schemas.microsoft.com/office/drawing/2014/main" id="{A3E0285D-EC71-4411-B231-2F801A2563AA}"/>
              </a:ext>
            </a:extLst>
          </p:cNvPr>
          <p:cNvSpPr>
            <a:spLocks noChangeAspect="1" noChangeArrowheads="1" noTextEdit="1"/>
          </p:cNvSpPr>
          <p:nvPr/>
        </p:nvSpPr>
        <p:spPr bwMode="auto">
          <a:xfrm>
            <a:off x="1057275" y="2922441"/>
            <a:ext cx="2016866" cy="22682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22222"/>
              </a:solidFill>
              <a:effectLst/>
              <a:uLnTx/>
              <a:uFillTx/>
              <a:latin typeface="Inter"/>
              <a:ea typeface="+mn-ea"/>
              <a:cs typeface="+mn-cs"/>
            </a:endParaRPr>
          </a:p>
        </p:txBody>
      </p:sp>
      <p:sp>
        <p:nvSpPr>
          <p:cNvPr id="8" name="Freeform 8">
            <a:extLst>
              <a:ext uri="{FF2B5EF4-FFF2-40B4-BE49-F238E27FC236}">
                <a16:creationId xmlns:a16="http://schemas.microsoft.com/office/drawing/2014/main" id="{2F08FBB8-2FB2-4719-87AF-C18DC7E2D0A5}"/>
              </a:ext>
            </a:extLst>
          </p:cNvPr>
          <p:cNvSpPr>
            <a:spLocks/>
          </p:cNvSpPr>
          <p:nvPr/>
        </p:nvSpPr>
        <p:spPr bwMode="auto">
          <a:xfrm>
            <a:off x="1057275" y="3518732"/>
            <a:ext cx="1008433" cy="1677797"/>
          </a:xfrm>
          <a:custGeom>
            <a:avLst/>
            <a:gdLst>
              <a:gd name="T0" fmla="*/ 345 w 345"/>
              <a:gd name="T1" fmla="*/ 574 h 574"/>
              <a:gd name="T2" fmla="*/ 0 w 345"/>
              <a:gd name="T3" fmla="*/ 364 h 574"/>
              <a:gd name="T4" fmla="*/ 0 w 345"/>
              <a:gd name="T5" fmla="*/ 0 h 574"/>
              <a:gd name="T6" fmla="*/ 345 w 345"/>
              <a:gd name="T7" fmla="*/ 198 h 574"/>
              <a:gd name="T8" fmla="*/ 345 w 345"/>
              <a:gd name="T9" fmla="*/ 574 h 574"/>
            </a:gdLst>
            <a:ahLst/>
            <a:cxnLst>
              <a:cxn ang="0">
                <a:pos x="T0" y="T1"/>
              </a:cxn>
              <a:cxn ang="0">
                <a:pos x="T2" y="T3"/>
              </a:cxn>
              <a:cxn ang="0">
                <a:pos x="T4" y="T5"/>
              </a:cxn>
              <a:cxn ang="0">
                <a:pos x="T6" y="T7"/>
              </a:cxn>
              <a:cxn ang="0">
                <a:pos x="T8" y="T9"/>
              </a:cxn>
            </a:cxnLst>
            <a:rect l="0" t="0" r="r" b="b"/>
            <a:pathLst>
              <a:path w="345" h="574">
                <a:moveTo>
                  <a:pt x="345" y="574"/>
                </a:moveTo>
                <a:lnTo>
                  <a:pt x="0" y="364"/>
                </a:lnTo>
                <a:lnTo>
                  <a:pt x="0" y="0"/>
                </a:lnTo>
                <a:lnTo>
                  <a:pt x="345" y="198"/>
                </a:lnTo>
                <a:lnTo>
                  <a:pt x="345" y="574"/>
                </a:lnTo>
                <a:close/>
              </a:path>
            </a:pathLst>
          </a:custGeom>
          <a:gradFill flip="none" rotWithShape="1">
            <a:gsLst>
              <a:gs pos="24000">
                <a:schemeClr val="accent1"/>
              </a:gs>
              <a:gs pos="100000">
                <a:schemeClr val="accent1">
                  <a:lumMod val="60000"/>
                  <a:lumOff val="40000"/>
                </a:schemeClr>
              </a:gs>
            </a:gsLst>
            <a:lin ang="1350000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22222"/>
              </a:solidFill>
              <a:effectLst/>
              <a:uLnTx/>
              <a:uFillTx/>
              <a:latin typeface="Inter"/>
              <a:ea typeface="+mn-ea"/>
              <a:cs typeface="+mn-cs"/>
            </a:endParaRPr>
          </a:p>
        </p:txBody>
      </p:sp>
      <p:sp>
        <p:nvSpPr>
          <p:cNvPr id="9" name="Freeform 9">
            <a:extLst>
              <a:ext uri="{FF2B5EF4-FFF2-40B4-BE49-F238E27FC236}">
                <a16:creationId xmlns:a16="http://schemas.microsoft.com/office/drawing/2014/main" id="{DB554604-1FE1-41B4-82FC-D69B86F39044}"/>
              </a:ext>
            </a:extLst>
          </p:cNvPr>
          <p:cNvSpPr>
            <a:spLocks/>
          </p:cNvSpPr>
          <p:nvPr/>
        </p:nvSpPr>
        <p:spPr bwMode="auto">
          <a:xfrm>
            <a:off x="2065708" y="3518732"/>
            <a:ext cx="1014280" cy="1677797"/>
          </a:xfrm>
          <a:custGeom>
            <a:avLst/>
            <a:gdLst>
              <a:gd name="T0" fmla="*/ 0 w 347"/>
              <a:gd name="T1" fmla="*/ 574 h 574"/>
              <a:gd name="T2" fmla="*/ 347 w 347"/>
              <a:gd name="T3" fmla="*/ 364 h 574"/>
              <a:gd name="T4" fmla="*/ 347 w 347"/>
              <a:gd name="T5" fmla="*/ 0 h 574"/>
              <a:gd name="T6" fmla="*/ 0 w 347"/>
              <a:gd name="T7" fmla="*/ 198 h 574"/>
              <a:gd name="T8" fmla="*/ 0 w 347"/>
              <a:gd name="T9" fmla="*/ 574 h 574"/>
            </a:gdLst>
            <a:ahLst/>
            <a:cxnLst>
              <a:cxn ang="0">
                <a:pos x="T0" y="T1"/>
              </a:cxn>
              <a:cxn ang="0">
                <a:pos x="T2" y="T3"/>
              </a:cxn>
              <a:cxn ang="0">
                <a:pos x="T4" y="T5"/>
              </a:cxn>
              <a:cxn ang="0">
                <a:pos x="T6" y="T7"/>
              </a:cxn>
              <a:cxn ang="0">
                <a:pos x="T8" y="T9"/>
              </a:cxn>
            </a:cxnLst>
            <a:rect l="0" t="0" r="r" b="b"/>
            <a:pathLst>
              <a:path w="347" h="574">
                <a:moveTo>
                  <a:pt x="0" y="574"/>
                </a:moveTo>
                <a:lnTo>
                  <a:pt x="347" y="364"/>
                </a:lnTo>
                <a:lnTo>
                  <a:pt x="347" y="0"/>
                </a:lnTo>
                <a:lnTo>
                  <a:pt x="0" y="198"/>
                </a:lnTo>
                <a:lnTo>
                  <a:pt x="0" y="574"/>
                </a:lnTo>
                <a:close/>
              </a:path>
            </a:pathLst>
          </a:custGeom>
          <a:gradFill flip="none" rotWithShape="1">
            <a:gsLst>
              <a:gs pos="0">
                <a:schemeClr val="accent1"/>
              </a:gs>
              <a:gs pos="92000">
                <a:schemeClr val="accent1">
                  <a:lumMod val="60000"/>
                  <a:lumOff val="40000"/>
                </a:schemeClr>
              </a:gs>
            </a:gsLst>
            <a:lin ang="1350000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22222"/>
              </a:solidFill>
              <a:effectLst/>
              <a:uLnTx/>
              <a:uFillTx/>
              <a:latin typeface="Inter"/>
              <a:cs typeface="+mn-cs"/>
            </a:endParaRPr>
          </a:p>
        </p:txBody>
      </p:sp>
      <p:sp>
        <p:nvSpPr>
          <p:cNvPr id="10" name="Freeform 10">
            <a:extLst>
              <a:ext uri="{FF2B5EF4-FFF2-40B4-BE49-F238E27FC236}">
                <a16:creationId xmlns:a16="http://schemas.microsoft.com/office/drawing/2014/main" id="{09EC1845-661C-40B4-9625-E26DB01D0ECE}"/>
              </a:ext>
            </a:extLst>
          </p:cNvPr>
          <p:cNvSpPr>
            <a:spLocks/>
          </p:cNvSpPr>
          <p:nvPr/>
        </p:nvSpPr>
        <p:spPr bwMode="auto">
          <a:xfrm>
            <a:off x="1057275" y="2928288"/>
            <a:ext cx="2022712" cy="1169197"/>
          </a:xfrm>
          <a:custGeom>
            <a:avLst/>
            <a:gdLst>
              <a:gd name="T0" fmla="*/ 345 w 692"/>
              <a:gd name="T1" fmla="*/ 0 h 400"/>
              <a:gd name="T2" fmla="*/ 0 w 692"/>
              <a:gd name="T3" fmla="*/ 202 h 400"/>
              <a:gd name="T4" fmla="*/ 345 w 692"/>
              <a:gd name="T5" fmla="*/ 400 h 400"/>
              <a:gd name="T6" fmla="*/ 692 w 692"/>
              <a:gd name="T7" fmla="*/ 202 h 400"/>
              <a:gd name="T8" fmla="*/ 345 w 692"/>
              <a:gd name="T9" fmla="*/ 0 h 400"/>
            </a:gdLst>
            <a:ahLst/>
            <a:cxnLst>
              <a:cxn ang="0">
                <a:pos x="T0" y="T1"/>
              </a:cxn>
              <a:cxn ang="0">
                <a:pos x="T2" y="T3"/>
              </a:cxn>
              <a:cxn ang="0">
                <a:pos x="T4" y="T5"/>
              </a:cxn>
              <a:cxn ang="0">
                <a:pos x="T6" y="T7"/>
              </a:cxn>
              <a:cxn ang="0">
                <a:pos x="T8" y="T9"/>
              </a:cxn>
            </a:cxnLst>
            <a:rect l="0" t="0" r="r" b="b"/>
            <a:pathLst>
              <a:path w="692" h="400">
                <a:moveTo>
                  <a:pt x="345" y="0"/>
                </a:moveTo>
                <a:lnTo>
                  <a:pt x="0" y="202"/>
                </a:lnTo>
                <a:lnTo>
                  <a:pt x="345" y="400"/>
                </a:lnTo>
                <a:lnTo>
                  <a:pt x="692" y="202"/>
                </a:lnTo>
                <a:lnTo>
                  <a:pt x="345" y="0"/>
                </a:lnTo>
                <a:close/>
              </a:path>
            </a:pathLst>
          </a:custGeom>
          <a:gradFill flip="none" rotWithShape="1">
            <a:gsLst>
              <a:gs pos="0">
                <a:schemeClr val="accent1"/>
              </a:gs>
              <a:gs pos="94690">
                <a:schemeClr val="accent1">
                  <a:lumMod val="40000"/>
                  <a:lumOff val="60000"/>
                </a:schemeClr>
              </a:gs>
              <a:gs pos="50000">
                <a:schemeClr val="accent1">
                  <a:lumMod val="60000"/>
                  <a:lumOff val="40000"/>
                </a:schemeClr>
              </a:gs>
            </a:gsLst>
            <a:lin ang="1350000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22222"/>
              </a:solidFill>
              <a:effectLst/>
              <a:uLnTx/>
              <a:uFillTx/>
              <a:latin typeface="Inter"/>
              <a:ea typeface="+mn-ea"/>
              <a:cs typeface="+mn-cs"/>
            </a:endParaRPr>
          </a:p>
        </p:txBody>
      </p:sp>
      <p:sp>
        <p:nvSpPr>
          <p:cNvPr id="17" name="Freeform 8">
            <a:extLst>
              <a:ext uri="{FF2B5EF4-FFF2-40B4-BE49-F238E27FC236}">
                <a16:creationId xmlns:a16="http://schemas.microsoft.com/office/drawing/2014/main" id="{F478A686-5A61-4EFE-BCF9-20AFAD497448}"/>
              </a:ext>
            </a:extLst>
          </p:cNvPr>
          <p:cNvSpPr>
            <a:spLocks/>
          </p:cNvSpPr>
          <p:nvPr/>
        </p:nvSpPr>
        <p:spPr bwMode="auto">
          <a:xfrm>
            <a:off x="3073682" y="3518732"/>
            <a:ext cx="1008433" cy="1677797"/>
          </a:xfrm>
          <a:custGeom>
            <a:avLst/>
            <a:gdLst>
              <a:gd name="T0" fmla="*/ 345 w 345"/>
              <a:gd name="T1" fmla="*/ 574 h 574"/>
              <a:gd name="T2" fmla="*/ 0 w 345"/>
              <a:gd name="T3" fmla="*/ 364 h 574"/>
              <a:gd name="T4" fmla="*/ 0 w 345"/>
              <a:gd name="T5" fmla="*/ 0 h 574"/>
              <a:gd name="T6" fmla="*/ 345 w 345"/>
              <a:gd name="T7" fmla="*/ 198 h 574"/>
              <a:gd name="T8" fmla="*/ 345 w 345"/>
              <a:gd name="T9" fmla="*/ 574 h 574"/>
            </a:gdLst>
            <a:ahLst/>
            <a:cxnLst>
              <a:cxn ang="0">
                <a:pos x="T0" y="T1"/>
              </a:cxn>
              <a:cxn ang="0">
                <a:pos x="T2" y="T3"/>
              </a:cxn>
              <a:cxn ang="0">
                <a:pos x="T4" y="T5"/>
              </a:cxn>
              <a:cxn ang="0">
                <a:pos x="T6" y="T7"/>
              </a:cxn>
              <a:cxn ang="0">
                <a:pos x="T8" y="T9"/>
              </a:cxn>
            </a:cxnLst>
            <a:rect l="0" t="0" r="r" b="b"/>
            <a:pathLst>
              <a:path w="345" h="574">
                <a:moveTo>
                  <a:pt x="345" y="574"/>
                </a:moveTo>
                <a:lnTo>
                  <a:pt x="0" y="364"/>
                </a:lnTo>
                <a:lnTo>
                  <a:pt x="0" y="0"/>
                </a:lnTo>
                <a:lnTo>
                  <a:pt x="345" y="198"/>
                </a:lnTo>
                <a:lnTo>
                  <a:pt x="345" y="574"/>
                </a:lnTo>
                <a:close/>
              </a:path>
            </a:pathLst>
          </a:custGeom>
          <a:gradFill flip="none" rotWithShape="1">
            <a:gsLst>
              <a:gs pos="24000">
                <a:schemeClr val="accent1"/>
              </a:gs>
              <a:gs pos="100000">
                <a:schemeClr val="accent1">
                  <a:lumMod val="60000"/>
                  <a:lumOff val="40000"/>
                </a:schemeClr>
              </a:gs>
            </a:gsLst>
            <a:lin ang="1350000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22222"/>
              </a:solidFill>
              <a:effectLst/>
              <a:uLnTx/>
              <a:uFillTx/>
              <a:latin typeface="Inter"/>
              <a:ea typeface="+mn-ea"/>
              <a:cs typeface="+mn-cs"/>
            </a:endParaRPr>
          </a:p>
        </p:txBody>
      </p:sp>
      <p:sp>
        <p:nvSpPr>
          <p:cNvPr id="18" name="Freeform 9">
            <a:extLst>
              <a:ext uri="{FF2B5EF4-FFF2-40B4-BE49-F238E27FC236}">
                <a16:creationId xmlns:a16="http://schemas.microsoft.com/office/drawing/2014/main" id="{FD3CF333-6F7C-4546-A066-53B3F5BC9F6B}"/>
              </a:ext>
            </a:extLst>
          </p:cNvPr>
          <p:cNvSpPr>
            <a:spLocks/>
          </p:cNvSpPr>
          <p:nvPr/>
        </p:nvSpPr>
        <p:spPr bwMode="auto">
          <a:xfrm>
            <a:off x="4082115" y="3518732"/>
            <a:ext cx="1014280" cy="1677797"/>
          </a:xfrm>
          <a:custGeom>
            <a:avLst/>
            <a:gdLst>
              <a:gd name="T0" fmla="*/ 0 w 347"/>
              <a:gd name="T1" fmla="*/ 574 h 574"/>
              <a:gd name="T2" fmla="*/ 347 w 347"/>
              <a:gd name="T3" fmla="*/ 364 h 574"/>
              <a:gd name="T4" fmla="*/ 347 w 347"/>
              <a:gd name="T5" fmla="*/ 0 h 574"/>
              <a:gd name="T6" fmla="*/ 0 w 347"/>
              <a:gd name="T7" fmla="*/ 198 h 574"/>
              <a:gd name="T8" fmla="*/ 0 w 347"/>
              <a:gd name="T9" fmla="*/ 574 h 574"/>
            </a:gdLst>
            <a:ahLst/>
            <a:cxnLst>
              <a:cxn ang="0">
                <a:pos x="T0" y="T1"/>
              </a:cxn>
              <a:cxn ang="0">
                <a:pos x="T2" y="T3"/>
              </a:cxn>
              <a:cxn ang="0">
                <a:pos x="T4" y="T5"/>
              </a:cxn>
              <a:cxn ang="0">
                <a:pos x="T6" y="T7"/>
              </a:cxn>
              <a:cxn ang="0">
                <a:pos x="T8" y="T9"/>
              </a:cxn>
            </a:cxnLst>
            <a:rect l="0" t="0" r="r" b="b"/>
            <a:pathLst>
              <a:path w="347" h="574">
                <a:moveTo>
                  <a:pt x="0" y="574"/>
                </a:moveTo>
                <a:lnTo>
                  <a:pt x="347" y="364"/>
                </a:lnTo>
                <a:lnTo>
                  <a:pt x="347" y="0"/>
                </a:lnTo>
                <a:lnTo>
                  <a:pt x="0" y="198"/>
                </a:lnTo>
                <a:lnTo>
                  <a:pt x="0" y="574"/>
                </a:lnTo>
                <a:close/>
              </a:path>
            </a:pathLst>
          </a:custGeom>
          <a:gradFill flip="none" rotWithShape="1">
            <a:gsLst>
              <a:gs pos="0">
                <a:schemeClr val="accent1"/>
              </a:gs>
              <a:gs pos="92000">
                <a:schemeClr val="accent1">
                  <a:lumMod val="60000"/>
                  <a:lumOff val="40000"/>
                </a:schemeClr>
              </a:gs>
            </a:gsLst>
            <a:lin ang="1350000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22222"/>
              </a:solidFill>
              <a:effectLst/>
              <a:uLnTx/>
              <a:uFillTx/>
              <a:latin typeface="Inter"/>
              <a:cs typeface="+mn-cs"/>
            </a:endParaRPr>
          </a:p>
        </p:txBody>
      </p:sp>
      <p:sp>
        <p:nvSpPr>
          <p:cNvPr id="19" name="Freeform 10">
            <a:extLst>
              <a:ext uri="{FF2B5EF4-FFF2-40B4-BE49-F238E27FC236}">
                <a16:creationId xmlns:a16="http://schemas.microsoft.com/office/drawing/2014/main" id="{118158A5-B469-4ADE-AF19-A8512B4D5E79}"/>
              </a:ext>
            </a:extLst>
          </p:cNvPr>
          <p:cNvSpPr>
            <a:spLocks/>
          </p:cNvSpPr>
          <p:nvPr/>
        </p:nvSpPr>
        <p:spPr bwMode="auto">
          <a:xfrm>
            <a:off x="3073682" y="2928288"/>
            <a:ext cx="2022712" cy="1169197"/>
          </a:xfrm>
          <a:custGeom>
            <a:avLst/>
            <a:gdLst>
              <a:gd name="T0" fmla="*/ 345 w 692"/>
              <a:gd name="T1" fmla="*/ 0 h 400"/>
              <a:gd name="T2" fmla="*/ 0 w 692"/>
              <a:gd name="T3" fmla="*/ 202 h 400"/>
              <a:gd name="T4" fmla="*/ 345 w 692"/>
              <a:gd name="T5" fmla="*/ 400 h 400"/>
              <a:gd name="T6" fmla="*/ 692 w 692"/>
              <a:gd name="T7" fmla="*/ 202 h 400"/>
              <a:gd name="T8" fmla="*/ 345 w 692"/>
              <a:gd name="T9" fmla="*/ 0 h 400"/>
            </a:gdLst>
            <a:ahLst/>
            <a:cxnLst>
              <a:cxn ang="0">
                <a:pos x="T0" y="T1"/>
              </a:cxn>
              <a:cxn ang="0">
                <a:pos x="T2" y="T3"/>
              </a:cxn>
              <a:cxn ang="0">
                <a:pos x="T4" y="T5"/>
              </a:cxn>
              <a:cxn ang="0">
                <a:pos x="T6" y="T7"/>
              </a:cxn>
              <a:cxn ang="0">
                <a:pos x="T8" y="T9"/>
              </a:cxn>
            </a:cxnLst>
            <a:rect l="0" t="0" r="r" b="b"/>
            <a:pathLst>
              <a:path w="692" h="400">
                <a:moveTo>
                  <a:pt x="345" y="0"/>
                </a:moveTo>
                <a:lnTo>
                  <a:pt x="0" y="202"/>
                </a:lnTo>
                <a:lnTo>
                  <a:pt x="345" y="400"/>
                </a:lnTo>
                <a:lnTo>
                  <a:pt x="692" y="202"/>
                </a:lnTo>
                <a:lnTo>
                  <a:pt x="345" y="0"/>
                </a:lnTo>
                <a:close/>
              </a:path>
            </a:pathLst>
          </a:custGeom>
          <a:gradFill flip="none" rotWithShape="1">
            <a:gsLst>
              <a:gs pos="0">
                <a:schemeClr val="accent1"/>
              </a:gs>
              <a:gs pos="94690">
                <a:schemeClr val="accent1">
                  <a:lumMod val="40000"/>
                  <a:lumOff val="60000"/>
                </a:schemeClr>
              </a:gs>
              <a:gs pos="50000">
                <a:schemeClr val="accent1">
                  <a:lumMod val="60000"/>
                  <a:lumOff val="40000"/>
                </a:schemeClr>
              </a:gs>
            </a:gsLst>
            <a:lin ang="1350000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22222"/>
              </a:solidFill>
              <a:effectLst/>
              <a:uLnTx/>
              <a:uFillTx/>
              <a:latin typeface="Inter"/>
              <a:ea typeface="+mn-ea"/>
              <a:cs typeface="+mn-cs"/>
            </a:endParaRPr>
          </a:p>
        </p:txBody>
      </p:sp>
      <p:sp>
        <p:nvSpPr>
          <p:cNvPr id="21" name="Freeform 8">
            <a:extLst>
              <a:ext uri="{FF2B5EF4-FFF2-40B4-BE49-F238E27FC236}">
                <a16:creationId xmlns:a16="http://schemas.microsoft.com/office/drawing/2014/main" id="{7D474006-3DA0-4687-B3F8-90CBDE132B05}"/>
              </a:ext>
            </a:extLst>
          </p:cNvPr>
          <p:cNvSpPr>
            <a:spLocks/>
          </p:cNvSpPr>
          <p:nvPr/>
        </p:nvSpPr>
        <p:spPr bwMode="auto">
          <a:xfrm>
            <a:off x="5084644" y="3518732"/>
            <a:ext cx="1008433" cy="1677797"/>
          </a:xfrm>
          <a:custGeom>
            <a:avLst/>
            <a:gdLst>
              <a:gd name="T0" fmla="*/ 345 w 345"/>
              <a:gd name="T1" fmla="*/ 574 h 574"/>
              <a:gd name="T2" fmla="*/ 0 w 345"/>
              <a:gd name="T3" fmla="*/ 364 h 574"/>
              <a:gd name="T4" fmla="*/ 0 w 345"/>
              <a:gd name="T5" fmla="*/ 0 h 574"/>
              <a:gd name="T6" fmla="*/ 345 w 345"/>
              <a:gd name="T7" fmla="*/ 198 h 574"/>
              <a:gd name="T8" fmla="*/ 345 w 345"/>
              <a:gd name="T9" fmla="*/ 574 h 574"/>
            </a:gdLst>
            <a:ahLst/>
            <a:cxnLst>
              <a:cxn ang="0">
                <a:pos x="T0" y="T1"/>
              </a:cxn>
              <a:cxn ang="0">
                <a:pos x="T2" y="T3"/>
              </a:cxn>
              <a:cxn ang="0">
                <a:pos x="T4" y="T5"/>
              </a:cxn>
              <a:cxn ang="0">
                <a:pos x="T6" y="T7"/>
              </a:cxn>
              <a:cxn ang="0">
                <a:pos x="T8" y="T9"/>
              </a:cxn>
            </a:cxnLst>
            <a:rect l="0" t="0" r="r" b="b"/>
            <a:pathLst>
              <a:path w="345" h="574">
                <a:moveTo>
                  <a:pt x="345" y="574"/>
                </a:moveTo>
                <a:lnTo>
                  <a:pt x="0" y="364"/>
                </a:lnTo>
                <a:lnTo>
                  <a:pt x="0" y="0"/>
                </a:lnTo>
                <a:lnTo>
                  <a:pt x="345" y="198"/>
                </a:lnTo>
                <a:lnTo>
                  <a:pt x="345" y="574"/>
                </a:lnTo>
                <a:close/>
              </a:path>
            </a:pathLst>
          </a:custGeom>
          <a:gradFill flip="none" rotWithShape="1">
            <a:gsLst>
              <a:gs pos="24000">
                <a:schemeClr val="accent1"/>
              </a:gs>
              <a:gs pos="100000">
                <a:schemeClr val="accent1">
                  <a:lumMod val="60000"/>
                  <a:lumOff val="40000"/>
                </a:schemeClr>
              </a:gs>
            </a:gsLst>
            <a:lin ang="1350000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22222"/>
              </a:solidFill>
              <a:effectLst/>
              <a:uLnTx/>
              <a:uFillTx/>
              <a:latin typeface="Inter"/>
              <a:ea typeface="+mn-ea"/>
              <a:cs typeface="+mn-cs"/>
            </a:endParaRPr>
          </a:p>
        </p:txBody>
      </p:sp>
      <p:sp>
        <p:nvSpPr>
          <p:cNvPr id="22" name="Freeform 9">
            <a:extLst>
              <a:ext uri="{FF2B5EF4-FFF2-40B4-BE49-F238E27FC236}">
                <a16:creationId xmlns:a16="http://schemas.microsoft.com/office/drawing/2014/main" id="{E98B9824-BEC5-430A-B9B2-FCB1BF78CB2D}"/>
              </a:ext>
            </a:extLst>
          </p:cNvPr>
          <p:cNvSpPr>
            <a:spLocks/>
          </p:cNvSpPr>
          <p:nvPr/>
        </p:nvSpPr>
        <p:spPr bwMode="auto">
          <a:xfrm>
            <a:off x="6093077" y="3518732"/>
            <a:ext cx="1014280" cy="1677797"/>
          </a:xfrm>
          <a:custGeom>
            <a:avLst/>
            <a:gdLst>
              <a:gd name="T0" fmla="*/ 0 w 347"/>
              <a:gd name="T1" fmla="*/ 574 h 574"/>
              <a:gd name="T2" fmla="*/ 347 w 347"/>
              <a:gd name="T3" fmla="*/ 364 h 574"/>
              <a:gd name="T4" fmla="*/ 347 w 347"/>
              <a:gd name="T5" fmla="*/ 0 h 574"/>
              <a:gd name="T6" fmla="*/ 0 w 347"/>
              <a:gd name="T7" fmla="*/ 198 h 574"/>
              <a:gd name="T8" fmla="*/ 0 w 347"/>
              <a:gd name="T9" fmla="*/ 574 h 574"/>
            </a:gdLst>
            <a:ahLst/>
            <a:cxnLst>
              <a:cxn ang="0">
                <a:pos x="T0" y="T1"/>
              </a:cxn>
              <a:cxn ang="0">
                <a:pos x="T2" y="T3"/>
              </a:cxn>
              <a:cxn ang="0">
                <a:pos x="T4" y="T5"/>
              </a:cxn>
              <a:cxn ang="0">
                <a:pos x="T6" y="T7"/>
              </a:cxn>
              <a:cxn ang="0">
                <a:pos x="T8" y="T9"/>
              </a:cxn>
            </a:cxnLst>
            <a:rect l="0" t="0" r="r" b="b"/>
            <a:pathLst>
              <a:path w="347" h="574">
                <a:moveTo>
                  <a:pt x="0" y="574"/>
                </a:moveTo>
                <a:lnTo>
                  <a:pt x="347" y="364"/>
                </a:lnTo>
                <a:lnTo>
                  <a:pt x="347" y="0"/>
                </a:lnTo>
                <a:lnTo>
                  <a:pt x="0" y="198"/>
                </a:lnTo>
                <a:lnTo>
                  <a:pt x="0" y="574"/>
                </a:lnTo>
                <a:close/>
              </a:path>
            </a:pathLst>
          </a:custGeom>
          <a:gradFill flip="none" rotWithShape="1">
            <a:gsLst>
              <a:gs pos="0">
                <a:schemeClr val="accent1"/>
              </a:gs>
              <a:gs pos="92000">
                <a:schemeClr val="accent1">
                  <a:lumMod val="60000"/>
                  <a:lumOff val="40000"/>
                </a:schemeClr>
              </a:gs>
            </a:gsLst>
            <a:lin ang="1350000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22222"/>
              </a:solidFill>
              <a:effectLst/>
              <a:uLnTx/>
              <a:uFillTx/>
              <a:latin typeface="Inter"/>
              <a:cs typeface="+mn-cs"/>
            </a:endParaRPr>
          </a:p>
        </p:txBody>
      </p:sp>
      <p:sp>
        <p:nvSpPr>
          <p:cNvPr id="23" name="Freeform 10">
            <a:extLst>
              <a:ext uri="{FF2B5EF4-FFF2-40B4-BE49-F238E27FC236}">
                <a16:creationId xmlns:a16="http://schemas.microsoft.com/office/drawing/2014/main" id="{AF9D0F7F-5825-46C5-AC91-3E8EA118373A}"/>
              </a:ext>
            </a:extLst>
          </p:cNvPr>
          <p:cNvSpPr>
            <a:spLocks/>
          </p:cNvSpPr>
          <p:nvPr/>
        </p:nvSpPr>
        <p:spPr bwMode="auto">
          <a:xfrm>
            <a:off x="5084644" y="2928288"/>
            <a:ext cx="2022712" cy="1169197"/>
          </a:xfrm>
          <a:custGeom>
            <a:avLst/>
            <a:gdLst>
              <a:gd name="T0" fmla="*/ 345 w 692"/>
              <a:gd name="T1" fmla="*/ 0 h 400"/>
              <a:gd name="T2" fmla="*/ 0 w 692"/>
              <a:gd name="T3" fmla="*/ 202 h 400"/>
              <a:gd name="T4" fmla="*/ 345 w 692"/>
              <a:gd name="T5" fmla="*/ 400 h 400"/>
              <a:gd name="T6" fmla="*/ 692 w 692"/>
              <a:gd name="T7" fmla="*/ 202 h 400"/>
              <a:gd name="T8" fmla="*/ 345 w 692"/>
              <a:gd name="T9" fmla="*/ 0 h 400"/>
            </a:gdLst>
            <a:ahLst/>
            <a:cxnLst>
              <a:cxn ang="0">
                <a:pos x="T0" y="T1"/>
              </a:cxn>
              <a:cxn ang="0">
                <a:pos x="T2" y="T3"/>
              </a:cxn>
              <a:cxn ang="0">
                <a:pos x="T4" y="T5"/>
              </a:cxn>
              <a:cxn ang="0">
                <a:pos x="T6" y="T7"/>
              </a:cxn>
              <a:cxn ang="0">
                <a:pos x="T8" y="T9"/>
              </a:cxn>
            </a:cxnLst>
            <a:rect l="0" t="0" r="r" b="b"/>
            <a:pathLst>
              <a:path w="692" h="400">
                <a:moveTo>
                  <a:pt x="345" y="0"/>
                </a:moveTo>
                <a:lnTo>
                  <a:pt x="0" y="202"/>
                </a:lnTo>
                <a:lnTo>
                  <a:pt x="345" y="400"/>
                </a:lnTo>
                <a:lnTo>
                  <a:pt x="692" y="202"/>
                </a:lnTo>
                <a:lnTo>
                  <a:pt x="345" y="0"/>
                </a:lnTo>
                <a:close/>
              </a:path>
            </a:pathLst>
          </a:custGeom>
          <a:gradFill flip="none" rotWithShape="1">
            <a:gsLst>
              <a:gs pos="0">
                <a:schemeClr val="accent1"/>
              </a:gs>
              <a:gs pos="94690">
                <a:schemeClr val="accent1">
                  <a:lumMod val="40000"/>
                  <a:lumOff val="60000"/>
                </a:schemeClr>
              </a:gs>
              <a:gs pos="50000">
                <a:schemeClr val="accent1">
                  <a:lumMod val="60000"/>
                  <a:lumOff val="40000"/>
                </a:schemeClr>
              </a:gs>
            </a:gsLst>
            <a:lin ang="1350000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22222"/>
              </a:solidFill>
              <a:effectLst/>
              <a:uLnTx/>
              <a:uFillTx/>
              <a:latin typeface="Inter"/>
              <a:ea typeface="+mn-ea"/>
              <a:cs typeface="+mn-cs"/>
            </a:endParaRPr>
          </a:p>
        </p:txBody>
      </p:sp>
      <p:sp>
        <p:nvSpPr>
          <p:cNvPr id="25" name="Freeform 8">
            <a:extLst>
              <a:ext uri="{FF2B5EF4-FFF2-40B4-BE49-F238E27FC236}">
                <a16:creationId xmlns:a16="http://schemas.microsoft.com/office/drawing/2014/main" id="{3B8D38D1-10FB-4B75-AA86-0E12FE9D9917}"/>
              </a:ext>
            </a:extLst>
          </p:cNvPr>
          <p:cNvSpPr>
            <a:spLocks/>
          </p:cNvSpPr>
          <p:nvPr/>
        </p:nvSpPr>
        <p:spPr bwMode="auto">
          <a:xfrm>
            <a:off x="7107751" y="3518732"/>
            <a:ext cx="1008433" cy="1677797"/>
          </a:xfrm>
          <a:custGeom>
            <a:avLst/>
            <a:gdLst>
              <a:gd name="T0" fmla="*/ 345 w 345"/>
              <a:gd name="T1" fmla="*/ 574 h 574"/>
              <a:gd name="T2" fmla="*/ 0 w 345"/>
              <a:gd name="T3" fmla="*/ 364 h 574"/>
              <a:gd name="T4" fmla="*/ 0 w 345"/>
              <a:gd name="T5" fmla="*/ 0 h 574"/>
              <a:gd name="T6" fmla="*/ 345 w 345"/>
              <a:gd name="T7" fmla="*/ 198 h 574"/>
              <a:gd name="T8" fmla="*/ 345 w 345"/>
              <a:gd name="T9" fmla="*/ 574 h 574"/>
            </a:gdLst>
            <a:ahLst/>
            <a:cxnLst>
              <a:cxn ang="0">
                <a:pos x="T0" y="T1"/>
              </a:cxn>
              <a:cxn ang="0">
                <a:pos x="T2" y="T3"/>
              </a:cxn>
              <a:cxn ang="0">
                <a:pos x="T4" y="T5"/>
              </a:cxn>
              <a:cxn ang="0">
                <a:pos x="T6" y="T7"/>
              </a:cxn>
              <a:cxn ang="0">
                <a:pos x="T8" y="T9"/>
              </a:cxn>
            </a:cxnLst>
            <a:rect l="0" t="0" r="r" b="b"/>
            <a:pathLst>
              <a:path w="345" h="574">
                <a:moveTo>
                  <a:pt x="345" y="574"/>
                </a:moveTo>
                <a:lnTo>
                  <a:pt x="0" y="364"/>
                </a:lnTo>
                <a:lnTo>
                  <a:pt x="0" y="0"/>
                </a:lnTo>
                <a:lnTo>
                  <a:pt x="345" y="198"/>
                </a:lnTo>
                <a:lnTo>
                  <a:pt x="345" y="574"/>
                </a:lnTo>
                <a:close/>
              </a:path>
            </a:pathLst>
          </a:custGeom>
          <a:gradFill flip="none" rotWithShape="1">
            <a:gsLst>
              <a:gs pos="24000">
                <a:schemeClr val="accent1"/>
              </a:gs>
              <a:gs pos="100000">
                <a:schemeClr val="accent1">
                  <a:lumMod val="60000"/>
                  <a:lumOff val="40000"/>
                </a:schemeClr>
              </a:gs>
            </a:gsLst>
            <a:lin ang="1350000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22222"/>
              </a:solidFill>
              <a:effectLst/>
              <a:uLnTx/>
              <a:uFillTx/>
              <a:latin typeface="Inter"/>
              <a:ea typeface="+mn-ea"/>
              <a:cs typeface="+mn-cs"/>
            </a:endParaRPr>
          </a:p>
        </p:txBody>
      </p:sp>
      <p:sp>
        <p:nvSpPr>
          <p:cNvPr id="26" name="Freeform 9">
            <a:extLst>
              <a:ext uri="{FF2B5EF4-FFF2-40B4-BE49-F238E27FC236}">
                <a16:creationId xmlns:a16="http://schemas.microsoft.com/office/drawing/2014/main" id="{8DCF6111-B647-4522-833C-548956674E2B}"/>
              </a:ext>
            </a:extLst>
          </p:cNvPr>
          <p:cNvSpPr>
            <a:spLocks/>
          </p:cNvSpPr>
          <p:nvPr/>
        </p:nvSpPr>
        <p:spPr bwMode="auto">
          <a:xfrm>
            <a:off x="8116184" y="3518732"/>
            <a:ext cx="1014280" cy="1677797"/>
          </a:xfrm>
          <a:custGeom>
            <a:avLst/>
            <a:gdLst>
              <a:gd name="T0" fmla="*/ 0 w 347"/>
              <a:gd name="T1" fmla="*/ 574 h 574"/>
              <a:gd name="T2" fmla="*/ 347 w 347"/>
              <a:gd name="T3" fmla="*/ 364 h 574"/>
              <a:gd name="T4" fmla="*/ 347 w 347"/>
              <a:gd name="T5" fmla="*/ 0 h 574"/>
              <a:gd name="T6" fmla="*/ 0 w 347"/>
              <a:gd name="T7" fmla="*/ 198 h 574"/>
              <a:gd name="T8" fmla="*/ 0 w 347"/>
              <a:gd name="T9" fmla="*/ 574 h 574"/>
            </a:gdLst>
            <a:ahLst/>
            <a:cxnLst>
              <a:cxn ang="0">
                <a:pos x="T0" y="T1"/>
              </a:cxn>
              <a:cxn ang="0">
                <a:pos x="T2" y="T3"/>
              </a:cxn>
              <a:cxn ang="0">
                <a:pos x="T4" y="T5"/>
              </a:cxn>
              <a:cxn ang="0">
                <a:pos x="T6" y="T7"/>
              </a:cxn>
              <a:cxn ang="0">
                <a:pos x="T8" y="T9"/>
              </a:cxn>
            </a:cxnLst>
            <a:rect l="0" t="0" r="r" b="b"/>
            <a:pathLst>
              <a:path w="347" h="574">
                <a:moveTo>
                  <a:pt x="0" y="574"/>
                </a:moveTo>
                <a:lnTo>
                  <a:pt x="347" y="364"/>
                </a:lnTo>
                <a:lnTo>
                  <a:pt x="347" y="0"/>
                </a:lnTo>
                <a:lnTo>
                  <a:pt x="0" y="198"/>
                </a:lnTo>
                <a:lnTo>
                  <a:pt x="0" y="574"/>
                </a:lnTo>
                <a:close/>
              </a:path>
            </a:pathLst>
          </a:custGeom>
          <a:gradFill flip="none" rotWithShape="1">
            <a:gsLst>
              <a:gs pos="0">
                <a:schemeClr val="accent1"/>
              </a:gs>
              <a:gs pos="92000">
                <a:schemeClr val="accent1">
                  <a:lumMod val="60000"/>
                  <a:lumOff val="40000"/>
                </a:schemeClr>
              </a:gs>
            </a:gsLst>
            <a:lin ang="1350000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22222"/>
              </a:solidFill>
              <a:effectLst/>
              <a:uLnTx/>
              <a:uFillTx/>
              <a:latin typeface="Inter"/>
              <a:cs typeface="+mn-cs"/>
            </a:endParaRPr>
          </a:p>
        </p:txBody>
      </p:sp>
      <p:sp>
        <p:nvSpPr>
          <p:cNvPr id="27" name="Freeform 10">
            <a:extLst>
              <a:ext uri="{FF2B5EF4-FFF2-40B4-BE49-F238E27FC236}">
                <a16:creationId xmlns:a16="http://schemas.microsoft.com/office/drawing/2014/main" id="{7187A0B6-AD49-43B2-9135-6099E871F173}"/>
              </a:ext>
            </a:extLst>
          </p:cNvPr>
          <p:cNvSpPr>
            <a:spLocks/>
          </p:cNvSpPr>
          <p:nvPr/>
        </p:nvSpPr>
        <p:spPr bwMode="auto">
          <a:xfrm>
            <a:off x="7107751" y="2928288"/>
            <a:ext cx="2022712" cy="1169197"/>
          </a:xfrm>
          <a:custGeom>
            <a:avLst/>
            <a:gdLst>
              <a:gd name="T0" fmla="*/ 345 w 692"/>
              <a:gd name="T1" fmla="*/ 0 h 400"/>
              <a:gd name="T2" fmla="*/ 0 w 692"/>
              <a:gd name="T3" fmla="*/ 202 h 400"/>
              <a:gd name="T4" fmla="*/ 345 w 692"/>
              <a:gd name="T5" fmla="*/ 400 h 400"/>
              <a:gd name="T6" fmla="*/ 692 w 692"/>
              <a:gd name="T7" fmla="*/ 202 h 400"/>
              <a:gd name="T8" fmla="*/ 345 w 692"/>
              <a:gd name="T9" fmla="*/ 0 h 400"/>
            </a:gdLst>
            <a:ahLst/>
            <a:cxnLst>
              <a:cxn ang="0">
                <a:pos x="T0" y="T1"/>
              </a:cxn>
              <a:cxn ang="0">
                <a:pos x="T2" y="T3"/>
              </a:cxn>
              <a:cxn ang="0">
                <a:pos x="T4" y="T5"/>
              </a:cxn>
              <a:cxn ang="0">
                <a:pos x="T6" y="T7"/>
              </a:cxn>
              <a:cxn ang="0">
                <a:pos x="T8" y="T9"/>
              </a:cxn>
            </a:cxnLst>
            <a:rect l="0" t="0" r="r" b="b"/>
            <a:pathLst>
              <a:path w="692" h="400">
                <a:moveTo>
                  <a:pt x="345" y="0"/>
                </a:moveTo>
                <a:lnTo>
                  <a:pt x="0" y="202"/>
                </a:lnTo>
                <a:lnTo>
                  <a:pt x="345" y="400"/>
                </a:lnTo>
                <a:lnTo>
                  <a:pt x="692" y="202"/>
                </a:lnTo>
                <a:lnTo>
                  <a:pt x="345" y="0"/>
                </a:lnTo>
                <a:close/>
              </a:path>
            </a:pathLst>
          </a:custGeom>
          <a:gradFill flip="none" rotWithShape="1">
            <a:gsLst>
              <a:gs pos="0">
                <a:schemeClr val="accent1"/>
              </a:gs>
              <a:gs pos="94690">
                <a:schemeClr val="accent1">
                  <a:lumMod val="40000"/>
                  <a:lumOff val="60000"/>
                </a:schemeClr>
              </a:gs>
              <a:gs pos="50000">
                <a:schemeClr val="accent1">
                  <a:lumMod val="60000"/>
                  <a:lumOff val="40000"/>
                </a:schemeClr>
              </a:gs>
            </a:gsLst>
            <a:lin ang="1350000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22222"/>
              </a:solidFill>
              <a:effectLst/>
              <a:uLnTx/>
              <a:uFillTx/>
              <a:latin typeface="Inter"/>
              <a:ea typeface="+mn-ea"/>
              <a:cs typeface="+mn-cs"/>
            </a:endParaRPr>
          </a:p>
        </p:txBody>
      </p:sp>
      <p:sp>
        <p:nvSpPr>
          <p:cNvPr id="29" name="Freeform 851">
            <a:extLst>
              <a:ext uri="{FF2B5EF4-FFF2-40B4-BE49-F238E27FC236}">
                <a16:creationId xmlns:a16="http://schemas.microsoft.com/office/drawing/2014/main" id="{887E3E99-9A9C-4999-A33B-F9D9F9D5E6E3}"/>
              </a:ext>
            </a:extLst>
          </p:cNvPr>
          <p:cNvSpPr>
            <a:spLocks noEditPoints="1"/>
          </p:cNvSpPr>
          <p:nvPr/>
        </p:nvSpPr>
        <p:spPr bwMode="auto">
          <a:xfrm>
            <a:off x="7904498" y="3282806"/>
            <a:ext cx="434839" cy="497983"/>
          </a:xfrm>
          <a:custGeom>
            <a:avLst/>
            <a:gdLst>
              <a:gd name="T0" fmla="*/ 119 w 141"/>
              <a:gd name="T1" fmla="*/ 84 h 160"/>
              <a:gd name="T2" fmla="*/ 95 w 141"/>
              <a:gd name="T3" fmla="*/ 20 h 160"/>
              <a:gd name="T4" fmla="*/ 84 w 141"/>
              <a:gd name="T5" fmla="*/ 15 h 160"/>
              <a:gd name="T6" fmla="*/ 55 w 141"/>
              <a:gd name="T7" fmla="*/ 15 h 160"/>
              <a:gd name="T8" fmla="*/ 46 w 141"/>
              <a:gd name="T9" fmla="*/ 20 h 160"/>
              <a:gd name="T10" fmla="*/ 20 w 141"/>
              <a:gd name="T11" fmla="*/ 84 h 160"/>
              <a:gd name="T12" fmla="*/ 0 w 141"/>
              <a:gd name="T13" fmla="*/ 135 h 160"/>
              <a:gd name="T14" fmla="*/ 30 w 141"/>
              <a:gd name="T15" fmla="*/ 141 h 160"/>
              <a:gd name="T16" fmla="*/ 70 w 141"/>
              <a:gd name="T17" fmla="*/ 160 h 160"/>
              <a:gd name="T18" fmla="*/ 111 w 141"/>
              <a:gd name="T19" fmla="*/ 141 h 160"/>
              <a:gd name="T20" fmla="*/ 140 w 141"/>
              <a:gd name="T21" fmla="*/ 135 h 160"/>
              <a:gd name="T22" fmla="*/ 61 w 141"/>
              <a:gd name="T23" fmla="*/ 15 h 160"/>
              <a:gd name="T24" fmla="*/ 79 w 141"/>
              <a:gd name="T25" fmla="*/ 15 h 160"/>
              <a:gd name="T26" fmla="*/ 61 w 141"/>
              <a:gd name="T27" fmla="*/ 15 h 160"/>
              <a:gd name="T28" fmla="*/ 52 w 141"/>
              <a:gd name="T29" fmla="*/ 145 h 160"/>
              <a:gd name="T30" fmla="*/ 89 w 141"/>
              <a:gd name="T31" fmla="*/ 145 h 160"/>
              <a:gd name="T32" fmla="*/ 110 w 141"/>
              <a:gd name="T33" fmla="*/ 136 h 160"/>
              <a:gd name="T34" fmla="*/ 94 w 141"/>
              <a:gd name="T35" fmla="*/ 138 h 160"/>
              <a:gd name="T36" fmla="*/ 88 w 141"/>
              <a:gd name="T37" fmla="*/ 139 h 160"/>
              <a:gd name="T38" fmla="*/ 81 w 141"/>
              <a:gd name="T39" fmla="*/ 139 h 160"/>
              <a:gd name="T40" fmla="*/ 76 w 141"/>
              <a:gd name="T41" fmla="*/ 140 h 160"/>
              <a:gd name="T42" fmla="*/ 64 w 141"/>
              <a:gd name="T43" fmla="*/ 140 h 160"/>
              <a:gd name="T44" fmla="*/ 58 w 141"/>
              <a:gd name="T45" fmla="*/ 139 h 160"/>
              <a:gd name="T46" fmla="*/ 53 w 141"/>
              <a:gd name="T47" fmla="*/ 139 h 160"/>
              <a:gd name="T48" fmla="*/ 47 w 141"/>
              <a:gd name="T49" fmla="*/ 138 h 160"/>
              <a:gd name="T50" fmla="*/ 9 w 141"/>
              <a:gd name="T51" fmla="*/ 132 h 160"/>
              <a:gd name="T52" fmla="*/ 26 w 141"/>
              <a:gd name="T53" fmla="*/ 58 h 160"/>
              <a:gd name="T54" fmla="*/ 59 w 141"/>
              <a:gd name="T55" fmla="*/ 22 h 160"/>
              <a:gd name="T56" fmla="*/ 81 w 141"/>
              <a:gd name="T57" fmla="*/ 21 h 160"/>
              <a:gd name="T58" fmla="*/ 92 w 141"/>
              <a:gd name="T59" fmla="*/ 25 h 160"/>
              <a:gd name="T60" fmla="*/ 114 w 141"/>
              <a:gd name="T61" fmla="*/ 84 h 160"/>
              <a:gd name="T62" fmla="*/ 110 w 141"/>
              <a:gd name="T63" fmla="*/ 136 h 160"/>
              <a:gd name="T64" fmla="*/ 86 w 141"/>
              <a:gd name="T65" fmla="*/ 38 h 160"/>
              <a:gd name="T66" fmla="*/ 41 w 141"/>
              <a:gd name="T67" fmla="*/ 58 h 160"/>
              <a:gd name="T68" fmla="*/ 38 w 141"/>
              <a:gd name="T69" fmla="*/ 61 h 160"/>
              <a:gd name="T70" fmla="*/ 52 w 141"/>
              <a:gd name="T71" fmla="*/ 33 h 160"/>
              <a:gd name="T72" fmla="*/ 90 w 141"/>
              <a:gd name="T73" fmla="*/ 37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41" h="160">
                <a:moveTo>
                  <a:pt x="140" y="132"/>
                </a:moveTo>
                <a:cubicBezTo>
                  <a:pt x="126" y="118"/>
                  <a:pt x="119" y="102"/>
                  <a:pt x="119" y="84"/>
                </a:cubicBezTo>
                <a:cubicBezTo>
                  <a:pt x="119" y="58"/>
                  <a:pt x="119" y="58"/>
                  <a:pt x="119" y="58"/>
                </a:cubicBezTo>
                <a:cubicBezTo>
                  <a:pt x="119" y="38"/>
                  <a:pt x="106" y="25"/>
                  <a:pt x="95" y="20"/>
                </a:cubicBezTo>
                <a:cubicBezTo>
                  <a:pt x="91" y="18"/>
                  <a:pt x="88" y="17"/>
                  <a:pt x="84" y="16"/>
                </a:cubicBezTo>
                <a:cubicBezTo>
                  <a:pt x="84" y="15"/>
                  <a:pt x="84" y="15"/>
                  <a:pt x="84" y="15"/>
                </a:cubicBezTo>
                <a:cubicBezTo>
                  <a:pt x="84" y="7"/>
                  <a:pt x="78" y="0"/>
                  <a:pt x="70" y="0"/>
                </a:cubicBezTo>
                <a:cubicBezTo>
                  <a:pt x="62" y="0"/>
                  <a:pt x="55" y="7"/>
                  <a:pt x="55" y="15"/>
                </a:cubicBezTo>
                <a:cubicBezTo>
                  <a:pt x="55" y="16"/>
                  <a:pt x="55" y="16"/>
                  <a:pt x="55" y="16"/>
                </a:cubicBezTo>
                <a:cubicBezTo>
                  <a:pt x="52" y="17"/>
                  <a:pt x="49" y="18"/>
                  <a:pt x="46" y="20"/>
                </a:cubicBezTo>
                <a:cubicBezTo>
                  <a:pt x="33" y="26"/>
                  <a:pt x="20" y="40"/>
                  <a:pt x="20" y="58"/>
                </a:cubicBezTo>
                <a:cubicBezTo>
                  <a:pt x="20" y="84"/>
                  <a:pt x="20" y="84"/>
                  <a:pt x="20" y="84"/>
                </a:cubicBezTo>
                <a:cubicBezTo>
                  <a:pt x="20" y="103"/>
                  <a:pt x="14" y="119"/>
                  <a:pt x="1" y="132"/>
                </a:cubicBezTo>
                <a:cubicBezTo>
                  <a:pt x="0" y="133"/>
                  <a:pt x="0" y="134"/>
                  <a:pt x="0" y="135"/>
                </a:cubicBezTo>
                <a:cubicBezTo>
                  <a:pt x="0" y="136"/>
                  <a:pt x="1" y="137"/>
                  <a:pt x="2" y="137"/>
                </a:cubicBezTo>
                <a:cubicBezTo>
                  <a:pt x="30" y="141"/>
                  <a:pt x="30" y="141"/>
                  <a:pt x="30" y="141"/>
                </a:cubicBezTo>
                <a:cubicBezTo>
                  <a:pt x="35" y="142"/>
                  <a:pt x="40" y="143"/>
                  <a:pt x="44" y="144"/>
                </a:cubicBezTo>
                <a:cubicBezTo>
                  <a:pt x="49" y="154"/>
                  <a:pt x="59" y="160"/>
                  <a:pt x="70" y="160"/>
                </a:cubicBezTo>
                <a:cubicBezTo>
                  <a:pt x="81" y="160"/>
                  <a:pt x="91" y="154"/>
                  <a:pt x="96" y="144"/>
                </a:cubicBezTo>
                <a:cubicBezTo>
                  <a:pt x="101" y="143"/>
                  <a:pt x="105" y="142"/>
                  <a:pt x="111" y="141"/>
                </a:cubicBezTo>
                <a:cubicBezTo>
                  <a:pt x="138" y="137"/>
                  <a:pt x="138" y="137"/>
                  <a:pt x="138" y="137"/>
                </a:cubicBezTo>
                <a:cubicBezTo>
                  <a:pt x="139" y="137"/>
                  <a:pt x="140" y="136"/>
                  <a:pt x="140" y="135"/>
                </a:cubicBezTo>
                <a:cubicBezTo>
                  <a:pt x="141" y="134"/>
                  <a:pt x="141" y="133"/>
                  <a:pt x="140" y="132"/>
                </a:cubicBezTo>
                <a:close/>
                <a:moveTo>
                  <a:pt x="61" y="15"/>
                </a:moveTo>
                <a:cubicBezTo>
                  <a:pt x="61" y="10"/>
                  <a:pt x="65" y="6"/>
                  <a:pt x="70" y="6"/>
                </a:cubicBezTo>
                <a:cubicBezTo>
                  <a:pt x="75" y="6"/>
                  <a:pt x="79" y="10"/>
                  <a:pt x="79" y="15"/>
                </a:cubicBezTo>
                <a:cubicBezTo>
                  <a:pt x="79" y="15"/>
                  <a:pt x="79" y="15"/>
                  <a:pt x="79" y="15"/>
                </a:cubicBezTo>
                <a:cubicBezTo>
                  <a:pt x="73" y="14"/>
                  <a:pt x="67" y="14"/>
                  <a:pt x="61" y="15"/>
                </a:cubicBezTo>
                <a:close/>
                <a:moveTo>
                  <a:pt x="70" y="154"/>
                </a:moveTo>
                <a:cubicBezTo>
                  <a:pt x="63" y="154"/>
                  <a:pt x="56" y="151"/>
                  <a:pt x="52" y="145"/>
                </a:cubicBezTo>
                <a:cubicBezTo>
                  <a:pt x="58" y="145"/>
                  <a:pt x="64" y="146"/>
                  <a:pt x="70" y="146"/>
                </a:cubicBezTo>
                <a:cubicBezTo>
                  <a:pt x="76" y="146"/>
                  <a:pt x="82" y="145"/>
                  <a:pt x="89" y="145"/>
                </a:cubicBezTo>
                <a:cubicBezTo>
                  <a:pt x="85" y="151"/>
                  <a:pt x="78" y="154"/>
                  <a:pt x="70" y="154"/>
                </a:cubicBezTo>
                <a:close/>
                <a:moveTo>
                  <a:pt x="110" y="136"/>
                </a:moveTo>
                <a:cubicBezTo>
                  <a:pt x="104" y="137"/>
                  <a:pt x="99" y="137"/>
                  <a:pt x="94" y="138"/>
                </a:cubicBezTo>
                <a:cubicBezTo>
                  <a:pt x="94" y="138"/>
                  <a:pt x="94" y="138"/>
                  <a:pt x="94" y="138"/>
                </a:cubicBezTo>
                <a:cubicBezTo>
                  <a:pt x="92" y="138"/>
                  <a:pt x="90" y="139"/>
                  <a:pt x="88" y="139"/>
                </a:cubicBezTo>
                <a:cubicBezTo>
                  <a:pt x="88" y="139"/>
                  <a:pt x="88" y="139"/>
                  <a:pt x="88" y="139"/>
                </a:cubicBezTo>
                <a:cubicBezTo>
                  <a:pt x="86" y="139"/>
                  <a:pt x="84" y="139"/>
                  <a:pt x="82" y="139"/>
                </a:cubicBezTo>
                <a:cubicBezTo>
                  <a:pt x="82" y="139"/>
                  <a:pt x="82" y="139"/>
                  <a:pt x="81" y="139"/>
                </a:cubicBezTo>
                <a:cubicBezTo>
                  <a:pt x="80" y="139"/>
                  <a:pt x="78" y="140"/>
                  <a:pt x="77" y="140"/>
                </a:cubicBezTo>
                <a:cubicBezTo>
                  <a:pt x="76" y="140"/>
                  <a:pt x="76" y="140"/>
                  <a:pt x="76" y="140"/>
                </a:cubicBezTo>
                <a:cubicBezTo>
                  <a:pt x="72" y="140"/>
                  <a:pt x="69" y="140"/>
                  <a:pt x="65" y="140"/>
                </a:cubicBezTo>
                <a:cubicBezTo>
                  <a:pt x="65" y="140"/>
                  <a:pt x="64" y="140"/>
                  <a:pt x="64" y="140"/>
                </a:cubicBezTo>
                <a:cubicBezTo>
                  <a:pt x="62" y="140"/>
                  <a:pt x="61" y="139"/>
                  <a:pt x="59" y="139"/>
                </a:cubicBezTo>
                <a:cubicBezTo>
                  <a:pt x="59" y="139"/>
                  <a:pt x="59" y="139"/>
                  <a:pt x="58" y="139"/>
                </a:cubicBezTo>
                <a:cubicBezTo>
                  <a:pt x="57" y="139"/>
                  <a:pt x="55" y="139"/>
                  <a:pt x="53" y="139"/>
                </a:cubicBezTo>
                <a:cubicBezTo>
                  <a:pt x="53" y="139"/>
                  <a:pt x="53" y="139"/>
                  <a:pt x="53" y="139"/>
                </a:cubicBezTo>
                <a:cubicBezTo>
                  <a:pt x="51" y="139"/>
                  <a:pt x="49" y="138"/>
                  <a:pt x="47" y="138"/>
                </a:cubicBezTo>
                <a:cubicBezTo>
                  <a:pt x="47" y="138"/>
                  <a:pt x="47" y="138"/>
                  <a:pt x="47" y="138"/>
                </a:cubicBezTo>
                <a:cubicBezTo>
                  <a:pt x="42" y="137"/>
                  <a:pt x="37" y="137"/>
                  <a:pt x="31" y="136"/>
                </a:cubicBezTo>
                <a:cubicBezTo>
                  <a:pt x="9" y="132"/>
                  <a:pt x="9" y="132"/>
                  <a:pt x="9" y="132"/>
                </a:cubicBezTo>
                <a:cubicBezTo>
                  <a:pt x="20" y="119"/>
                  <a:pt x="26" y="103"/>
                  <a:pt x="26" y="84"/>
                </a:cubicBezTo>
                <a:cubicBezTo>
                  <a:pt x="26" y="58"/>
                  <a:pt x="26" y="58"/>
                  <a:pt x="26" y="58"/>
                </a:cubicBezTo>
                <a:cubicBezTo>
                  <a:pt x="26" y="42"/>
                  <a:pt x="37" y="30"/>
                  <a:pt x="49" y="25"/>
                </a:cubicBezTo>
                <a:cubicBezTo>
                  <a:pt x="52" y="24"/>
                  <a:pt x="55" y="22"/>
                  <a:pt x="59" y="22"/>
                </a:cubicBezTo>
                <a:cubicBezTo>
                  <a:pt x="59" y="22"/>
                  <a:pt x="59" y="22"/>
                  <a:pt x="59" y="22"/>
                </a:cubicBezTo>
                <a:cubicBezTo>
                  <a:pt x="66" y="20"/>
                  <a:pt x="74" y="20"/>
                  <a:pt x="81" y="21"/>
                </a:cubicBezTo>
                <a:cubicBezTo>
                  <a:pt x="81" y="21"/>
                  <a:pt x="81" y="21"/>
                  <a:pt x="81" y="21"/>
                </a:cubicBezTo>
                <a:cubicBezTo>
                  <a:pt x="85" y="22"/>
                  <a:pt x="89" y="23"/>
                  <a:pt x="92" y="25"/>
                </a:cubicBezTo>
                <a:cubicBezTo>
                  <a:pt x="103" y="30"/>
                  <a:pt x="114" y="42"/>
                  <a:pt x="114" y="58"/>
                </a:cubicBezTo>
                <a:cubicBezTo>
                  <a:pt x="114" y="84"/>
                  <a:pt x="114" y="84"/>
                  <a:pt x="114" y="84"/>
                </a:cubicBezTo>
                <a:cubicBezTo>
                  <a:pt x="114" y="102"/>
                  <a:pt x="120" y="118"/>
                  <a:pt x="132" y="132"/>
                </a:cubicBezTo>
                <a:lnTo>
                  <a:pt x="110" y="136"/>
                </a:lnTo>
                <a:close/>
                <a:moveTo>
                  <a:pt x="90" y="37"/>
                </a:moveTo>
                <a:cubicBezTo>
                  <a:pt x="89" y="38"/>
                  <a:pt x="88" y="39"/>
                  <a:pt x="86" y="38"/>
                </a:cubicBezTo>
                <a:cubicBezTo>
                  <a:pt x="76" y="34"/>
                  <a:pt x="64" y="34"/>
                  <a:pt x="55" y="38"/>
                </a:cubicBezTo>
                <a:cubicBezTo>
                  <a:pt x="50" y="41"/>
                  <a:pt x="41" y="48"/>
                  <a:pt x="41" y="58"/>
                </a:cubicBezTo>
                <a:cubicBezTo>
                  <a:pt x="41" y="60"/>
                  <a:pt x="39" y="61"/>
                  <a:pt x="38" y="61"/>
                </a:cubicBezTo>
                <a:cubicBezTo>
                  <a:pt x="38" y="61"/>
                  <a:pt x="38" y="61"/>
                  <a:pt x="38" y="61"/>
                </a:cubicBezTo>
                <a:cubicBezTo>
                  <a:pt x="36" y="61"/>
                  <a:pt x="35" y="60"/>
                  <a:pt x="35" y="58"/>
                </a:cubicBezTo>
                <a:cubicBezTo>
                  <a:pt x="35" y="45"/>
                  <a:pt x="46" y="36"/>
                  <a:pt x="52" y="33"/>
                </a:cubicBezTo>
                <a:cubicBezTo>
                  <a:pt x="63" y="28"/>
                  <a:pt x="77" y="28"/>
                  <a:pt x="88" y="33"/>
                </a:cubicBezTo>
                <a:cubicBezTo>
                  <a:pt x="90" y="34"/>
                  <a:pt x="91" y="35"/>
                  <a:pt x="90" y="37"/>
                </a:cubicBezTo>
                <a:close/>
              </a:path>
            </a:pathLst>
          </a:custGeom>
          <a:solidFill>
            <a:srgbClr val="FFFFFF"/>
          </a:solidFill>
          <a:ln>
            <a:noFill/>
          </a:ln>
          <a:scene3d>
            <a:camera prst="perspectiveRelaxed"/>
            <a:lightRig rig="threePt" dir="t"/>
          </a:scene3d>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22222"/>
              </a:solidFill>
              <a:effectLst/>
              <a:uLnTx/>
              <a:uFillTx/>
              <a:latin typeface="Inter"/>
              <a:ea typeface="+mn-ea"/>
              <a:cs typeface="+mn-cs"/>
            </a:endParaRPr>
          </a:p>
        </p:txBody>
      </p:sp>
      <p:sp>
        <p:nvSpPr>
          <p:cNvPr id="30" name="Freeform 1050">
            <a:extLst>
              <a:ext uri="{FF2B5EF4-FFF2-40B4-BE49-F238E27FC236}">
                <a16:creationId xmlns:a16="http://schemas.microsoft.com/office/drawing/2014/main" id="{88202C4B-E329-4703-8BDE-C280D411086D}"/>
              </a:ext>
            </a:extLst>
          </p:cNvPr>
          <p:cNvSpPr>
            <a:spLocks noEditPoints="1"/>
          </p:cNvSpPr>
          <p:nvPr/>
        </p:nvSpPr>
        <p:spPr bwMode="auto">
          <a:xfrm>
            <a:off x="1830345" y="3307921"/>
            <a:ext cx="493679" cy="447752"/>
          </a:xfrm>
          <a:custGeom>
            <a:avLst/>
            <a:gdLst>
              <a:gd name="T0" fmla="*/ 115 w 160"/>
              <a:gd name="T1" fmla="*/ 0 h 144"/>
              <a:gd name="T2" fmla="*/ 89 w 160"/>
              <a:gd name="T3" fmla="*/ 37 h 144"/>
              <a:gd name="T4" fmla="*/ 63 w 160"/>
              <a:gd name="T5" fmla="*/ 7 h 144"/>
              <a:gd name="T6" fmla="*/ 4 w 160"/>
              <a:gd name="T7" fmla="*/ 91 h 144"/>
              <a:gd name="T8" fmla="*/ 71 w 160"/>
              <a:gd name="T9" fmla="*/ 110 h 144"/>
              <a:gd name="T10" fmla="*/ 71 w 160"/>
              <a:gd name="T11" fmla="*/ 82 h 144"/>
              <a:gd name="T12" fmla="*/ 89 w 160"/>
              <a:gd name="T13" fmla="*/ 110 h 144"/>
              <a:gd name="T14" fmla="*/ 160 w 160"/>
              <a:gd name="T15" fmla="*/ 109 h 144"/>
              <a:gd name="T16" fmla="*/ 6 w 160"/>
              <a:gd name="T17" fmla="*/ 109 h 144"/>
              <a:gd name="T18" fmla="*/ 12 w 160"/>
              <a:gd name="T19" fmla="*/ 90 h 144"/>
              <a:gd name="T20" fmla="*/ 20 w 160"/>
              <a:gd name="T21" fmla="*/ 83 h 144"/>
              <a:gd name="T22" fmla="*/ 28 w 160"/>
              <a:gd name="T23" fmla="*/ 80 h 144"/>
              <a:gd name="T24" fmla="*/ 36 w 160"/>
              <a:gd name="T25" fmla="*/ 79 h 144"/>
              <a:gd name="T26" fmla="*/ 65 w 160"/>
              <a:gd name="T27" fmla="*/ 110 h 144"/>
              <a:gd name="T28" fmla="*/ 63 w 160"/>
              <a:gd name="T29" fmla="*/ 86 h 144"/>
              <a:gd name="T30" fmla="*/ 59 w 160"/>
              <a:gd name="T31" fmla="*/ 82 h 144"/>
              <a:gd name="T32" fmla="*/ 53 w 160"/>
              <a:gd name="T33" fmla="*/ 78 h 144"/>
              <a:gd name="T34" fmla="*/ 48 w 160"/>
              <a:gd name="T35" fmla="*/ 75 h 144"/>
              <a:gd name="T36" fmla="*/ 41 w 160"/>
              <a:gd name="T37" fmla="*/ 73 h 144"/>
              <a:gd name="T38" fmla="*/ 32 w 160"/>
              <a:gd name="T39" fmla="*/ 73 h 144"/>
              <a:gd name="T40" fmla="*/ 27 w 160"/>
              <a:gd name="T41" fmla="*/ 74 h 144"/>
              <a:gd name="T42" fmla="*/ 23 w 160"/>
              <a:gd name="T43" fmla="*/ 75 h 144"/>
              <a:gd name="T44" fmla="*/ 18 w 160"/>
              <a:gd name="T45" fmla="*/ 78 h 144"/>
              <a:gd name="T46" fmla="*/ 15 w 160"/>
              <a:gd name="T47" fmla="*/ 80 h 144"/>
              <a:gd name="T48" fmla="*/ 45 w 160"/>
              <a:gd name="T49" fmla="*/ 6 h 144"/>
              <a:gd name="T50" fmla="*/ 65 w 160"/>
              <a:gd name="T51" fmla="*/ 40 h 144"/>
              <a:gd name="T52" fmla="*/ 65 w 160"/>
              <a:gd name="T53" fmla="*/ 89 h 144"/>
              <a:gd name="T54" fmla="*/ 71 w 160"/>
              <a:gd name="T55" fmla="*/ 43 h 144"/>
              <a:gd name="T56" fmla="*/ 71 w 160"/>
              <a:gd name="T57" fmla="*/ 76 h 144"/>
              <a:gd name="T58" fmla="*/ 95 w 160"/>
              <a:gd name="T59" fmla="*/ 40 h 144"/>
              <a:gd name="T60" fmla="*/ 114 w 160"/>
              <a:gd name="T61" fmla="*/ 6 h 144"/>
              <a:gd name="T62" fmla="*/ 147 w 160"/>
              <a:gd name="T63" fmla="*/ 81 h 144"/>
              <a:gd name="T64" fmla="*/ 140 w 160"/>
              <a:gd name="T65" fmla="*/ 77 h 144"/>
              <a:gd name="T66" fmla="*/ 136 w 160"/>
              <a:gd name="T67" fmla="*/ 75 h 144"/>
              <a:gd name="T68" fmla="*/ 131 w 160"/>
              <a:gd name="T69" fmla="*/ 74 h 144"/>
              <a:gd name="T70" fmla="*/ 124 w 160"/>
              <a:gd name="T71" fmla="*/ 73 h 144"/>
              <a:gd name="T72" fmla="*/ 116 w 160"/>
              <a:gd name="T73" fmla="*/ 74 h 144"/>
              <a:gd name="T74" fmla="*/ 111 w 160"/>
              <a:gd name="T75" fmla="*/ 76 h 144"/>
              <a:gd name="T76" fmla="*/ 104 w 160"/>
              <a:gd name="T77" fmla="*/ 79 h 144"/>
              <a:gd name="T78" fmla="*/ 100 w 160"/>
              <a:gd name="T79" fmla="*/ 83 h 144"/>
              <a:gd name="T80" fmla="*/ 95 w 160"/>
              <a:gd name="T81" fmla="*/ 89 h 144"/>
              <a:gd name="T82" fmla="*/ 95 w 160"/>
              <a:gd name="T83" fmla="*/ 110 h 144"/>
              <a:gd name="T84" fmla="*/ 95 w 160"/>
              <a:gd name="T85" fmla="*/ 109 h 144"/>
              <a:gd name="T86" fmla="*/ 129 w 160"/>
              <a:gd name="T87" fmla="*/ 79 h 144"/>
              <a:gd name="T88" fmla="*/ 139 w 160"/>
              <a:gd name="T89" fmla="*/ 83 h 144"/>
              <a:gd name="T90" fmla="*/ 143 w 160"/>
              <a:gd name="T91" fmla="*/ 85 h 144"/>
              <a:gd name="T92" fmla="*/ 150 w 160"/>
              <a:gd name="T93" fmla="*/ 9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60" h="144">
                <a:moveTo>
                  <a:pt x="156" y="91"/>
                </a:moveTo>
                <a:cubicBezTo>
                  <a:pt x="138" y="20"/>
                  <a:pt x="138" y="20"/>
                  <a:pt x="138" y="20"/>
                </a:cubicBezTo>
                <a:cubicBezTo>
                  <a:pt x="135" y="9"/>
                  <a:pt x="126" y="1"/>
                  <a:pt x="115" y="0"/>
                </a:cubicBezTo>
                <a:cubicBezTo>
                  <a:pt x="108" y="0"/>
                  <a:pt x="102" y="2"/>
                  <a:pt x="97" y="7"/>
                </a:cubicBezTo>
                <a:cubicBezTo>
                  <a:pt x="92" y="12"/>
                  <a:pt x="89" y="18"/>
                  <a:pt x="89" y="25"/>
                </a:cubicBezTo>
                <a:cubicBezTo>
                  <a:pt x="89" y="37"/>
                  <a:pt x="89" y="37"/>
                  <a:pt x="89" y="37"/>
                </a:cubicBezTo>
                <a:cubicBezTo>
                  <a:pt x="71" y="37"/>
                  <a:pt x="71" y="37"/>
                  <a:pt x="71" y="37"/>
                </a:cubicBezTo>
                <a:cubicBezTo>
                  <a:pt x="71" y="25"/>
                  <a:pt x="71" y="25"/>
                  <a:pt x="71" y="25"/>
                </a:cubicBezTo>
                <a:cubicBezTo>
                  <a:pt x="71" y="18"/>
                  <a:pt x="68" y="12"/>
                  <a:pt x="63" y="7"/>
                </a:cubicBezTo>
                <a:cubicBezTo>
                  <a:pt x="58" y="2"/>
                  <a:pt x="52" y="0"/>
                  <a:pt x="45" y="0"/>
                </a:cubicBezTo>
                <a:cubicBezTo>
                  <a:pt x="34" y="1"/>
                  <a:pt x="25" y="9"/>
                  <a:pt x="22" y="20"/>
                </a:cubicBezTo>
                <a:cubicBezTo>
                  <a:pt x="4" y="91"/>
                  <a:pt x="4" y="91"/>
                  <a:pt x="4" y="91"/>
                </a:cubicBezTo>
                <a:cubicBezTo>
                  <a:pt x="2" y="97"/>
                  <a:pt x="0" y="102"/>
                  <a:pt x="0" y="109"/>
                </a:cubicBezTo>
                <a:cubicBezTo>
                  <a:pt x="0" y="128"/>
                  <a:pt x="16" y="144"/>
                  <a:pt x="36" y="144"/>
                </a:cubicBezTo>
                <a:cubicBezTo>
                  <a:pt x="55" y="144"/>
                  <a:pt x="70" y="129"/>
                  <a:pt x="71" y="110"/>
                </a:cubicBezTo>
                <a:cubicBezTo>
                  <a:pt x="71" y="110"/>
                  <a:pt x="71" y="110"/>
                  <a:pt x="71" y="110"/>
                </a:cubicBezTo>
                <a:cubicBezTo>
                  <a:pt x="71" y="109"/>
                  <a:pt x="71" y="109"/>
                  <a:pt x="71" y="109"/>
                </a:cubicBezTo>
                <a:cubicBezTo>
                  <a:pt x="71" y="82"/>
                  <a:pt x="71" y="82"/>
                  <a:pt x="71" y="82"/>
                </a:cubicBezTo>
                <a:cubicBezTo>
                  <a:pt x="89" y="82"/>
                  <a:pt x="89" y="82"/>
                  <a:pt x="89" y="82"/>
                </a:cubicBezTo>
                <a:cubicBezTo>
                  <a:pt x="89" y="109"/>
                  <a:pt x="89" y="109"/>
                  <a:pt x="89" y="109"/>
                </a:cubicBezTo>
                <a:cubicBezTo>
                  <a:pt x="89" y="110"/>
                  <a:pt x="89" y="110"/>
                  <a:pt x="89" y="110"/>
                </a:cubicBezTo>
                <a:cubicBezTo>
                  <a:pt x="89" y="110"/>
                  <a:pt x="89" y="110"/>
                  <a:pt x="89" y="110"/>
                </a:cubicBezTo>
                <a:cubicBezTo>
                  <a:pt x="90" y="129"/>
                  <a:pt x="105" y="144"/>
                  <a:pt x="124" y="144"/>
                </a:cubicBezTo>
                <a:cubicBezTo>
                  <a:pt x="144" y="144"/>
                  <a:pt x="160" y="128"/>
                  <a:pt x="160" y="109"/>
                </a:cubicBezTo>
                <a:cubicBezTo>
                  <a:pt x="160" y="102"/>
                  <a:pt x="158" y="97"/>
                  <a:pt x="156" y="91"/>
                </a:cubicBezTo>
                <a:close/>
                <a:moveTo>
                  <a:pt x="36" y="138"/>
                </a:moveTo>
                <a:cubicBezTo>
                  <a:pt x="19" y="138"/>
                  <a:pt x="6" y="125"/>
                  <a:pt x="6" y="109"/>
                </a:cubicBezTo>
                <a:cubicBezTo>
                  <a:pt x="6" y="103"/>
                  <a:pt x="7" y="98"/>
                  <a:pt x="10" y="94"/>
                </a:cubicBezTo>
                <a:cubicBezTo>
                  <a:pt x="10" y="93"/>
                  <a:pt x="11" y="92"/>
                  <a:pt x="12" y="91"/>
                </a:cubicBezTo>
                <a:cubicBezTo>
                  <a:pt x="12" y="91"/>
                  <a:pt x="12" y="91"/>
                  <a:pt x="12" y="90"/>
                </a:cubicBezTo>
                <a:cubicBezTo>
                  <a:pt x="14" y="89"/>
                  <a:pt x="15" y="87"/>
                  <a:pt x="17" y="85"/>
                </a:cubicBezTo>
                <a:cubicBezTo>
                  <a:pt x="17" y="85"/>
                  <a:pt x="18" y="85"/>
                  <a:pt x="18" y="85"/>
                </a:cubicBezTo>
                <a:cubicBezTo>
                  <a:pt x="19" y="84"/>
                  <a:pt x="19" y="84"/>
                  <a:pt x="20" y="83"/>
                </a:cubicBezTo>
                <a:cubicBezTo>
                  <a:pt x="21" y="83"/>
                  <a:pt x="21" y="83"/>
                  <a:pt x="21" y="83"/>
                </a:cubicBezTo>
                <a:cubicBezTo>
                  <a:pt x="23" y="82"/>
                  <a:pt x="25" y="81"/>
                  <a:pt x="28" y="80"/>
                </a:cubicBezTo>
                <a:cubicBezTo>
                  <a:pt x="28" y="80"/>
                  <a:pt x="28" y="80"/>
                  <a:pt x="28" y="80"/>
                </a:cubicBezTo>
                <a:cubicBezTo>
                  <a:pt x="29" y="80"/>
                  <a:pt x="30" y="79"/>
                  <a:pt x="31" y="79"/>
                </a:cubicBezTo>
                <a:cubicBezTo>
                  <a:pt x="31" y="79"/>
                  <a:pt x="32" y="79"/>
                  <a:pt x="32" y="79"/>
                </a:cubicBezTo>
                <a:cubicBezTo>
                  <a:pt x="33" y="79"/>
                  <a:pt x="34" y="79"/>
                  <a:pt x="36" y="79"/>
                </a:cubicBezTo>
                <a:cubicBezTo>
                  <a:pt x="52" y="79"/>
                  <a:pt x="65" y="92"/>
                  <a:pt x="65" y="109"/>
                </a:cubicBezTo>
                <a:cubicBezTo>
                  <a:pt x="65" y="109"/>
                  <a:pt x="65" y="109"/>
                  <a:pt x="65" y="109"/>
                </a:cubicBezTo>
                <a:cubicBezTo>
                  <a:pt x="65" y="110"/>
                  <a:pt x="65" y="110"/>
                  <a:pt x="65" y="110"/>
                </a:cubicBezTo>
                <a:cubicBezTo>
                  <a:pt x="65" y="110"/>
                  <a:pt x="65" y="110"/>
                  <a:pt x="65" y="110"/>
                </a:cubicBezTo>
                <a:cubicBezTo>
                  <a:pt x="64" y="126"/>
                  <a:pt x="51" y="138"/>
                  <a:pt x="36" y="138"/>
                </a:cubicBezTo>
                <a:close/>
                <a:moveTo>
                  <a:pt x="63" y="86"/>
                </a:moveTo>
                <a:cubicBezTo>
                  <a:pt x="63" y="85"/>
                  <a:pt x="62" y="85"/>
                  <a:pt x="62" y="85"/>
                </a:cubicBezTo>
                <a:cubicBezTo>
                  <a:pt x="61" y="84"/>
                  <a:pt x="61" y="83"/>
                  <a:pt x="60" y="83"/>
                </a:cubicBezTo>
                <a:cubicBezTo>
                  <a:pt x="60" y="83"/>
                  <a:pt x="59" y="82"/>
                  <a:pt x="59" y="82"/>
                </a:cubicBezTo>
                <a:cubicBezTo>
                  <a:pt x="58" y="81"/>
                  <a:pt x="58" y="81"/>
                  <a:pt x="57" y="80"/>
                </a:cubicBezTo>
                <a:cubicBezTo>
                  <a:pt x="57" y="80"/>
                  <a:pt x="56" y="80"/>
                  <a:pt x="56" y="79"/>
                </a:cubicBezTo>
                <a:cubicBezTo>
                  <a:pt x="55" y="79"/>
                  <a:pt x="54" y="78"/>
                  <a:pt x="53" y="78"/>
                </a:cubicBezTo>
                <a:cubicBezTo>
                  <a:pt x="53" y="78"/>
                  <a:pt x="53" y="77"/>
                  <a:pt x="53" y="77"/>
                </a:cubicBezTo>
                <a:cubicBezTo>
                  <a:pt x="51" y="77"/>
                  <a:pt x="50" y="76"/>
                  <a:pt x="49" y="76"/>
                </a:cubicBezTo>
                <a:cubicBezTo>
                  <a:pt x="49" y="76"/>
                  <a:pt x="48" y="75"/>
                  <a:pt x="48" y="75"/>
                </a:cubicBezTo>
                <a:cubicBezTo>
                  <a:pt x="47" y="75"/>
                  <a:pt x="46" y="75"/>
                  <a:pt x="45" y="74"/>
                </a:cubicBezTo>
                <a:cubicBezTo>
                  <a:pt x="45" y="74"/>
                  <a:pt x="44" y="74"/>
                  <a:pt x="44" y="74"/>
                </a:cubicBezTo>
                <a:cubicBezTo>
                  <a:pt x="43" y="74"/>
                  <a:pt x="42" y="74"/>
                  <a:pt x="41" y="73"/>
                </a:cubicBezTo>
                <a:cubicBezTo>
                  <a:pt x="41" y="73"/>
                  <a:pt x="40" y="73"/>
                  <a:pt x="40" y="73"/>
                </a:cubicBezTo>
                <a:cubicBezTo>
                  <a:pt x="38" y="73"/>
                  <a:pt x="37" y="73"/>
                  <a:pt x="36" y="73"/>
                </a:cubicBezTo>
                <a:cubicBezTo>
                  <a:pt x="34" y="73"/>
                  <a:pt x="33" y="73"/>
                  <a:pt x="32" y="73"/>
                </a:cubicBezTo>
                <a:cubicBezTo>
                  <a:pt x="32" y="73"/>
                  <a:pt x="31" y="73"/>
                  <a:pt x="31" y="73"/>
                </a:cubicBezTo>
                <a:cubicBezTo>
                  <a:pt x="30" y="73"/>
                  <a:pt x="30" y="74"/>
                  <a:pt x="29" y="74"/>
                </a:cubicBezTo>
                <a:cubicBezTo>
                  <a:pt x="28" y="74"/>
                  <a:pt x="28" y="74"/>
                  <a:pt x="27" y="74"/>
                </a:cubicBezTo>
                <a:cubicBezTo>
                  <a:pt x="27" y="74"/>
                  <a:pt x="26" y="74"/>
                  <a:pt x="26" y="74"/>
                </a:cubicBezTo>
                <a:cubicBezTo>
                  <a:pt x="25" y="75"/>
                  <a:pt x="25" y="75"/>
                  <a:pt x="24" y="75"/>
                </a:cubicBezTo>
                <a:cubicBezTo>
                  <a:pt x="24" y="75"/>
                  <a:pt x="23" y="75"/>
                  <a:pt x="23" y="75"/>
                </a:cubicBezTo>
                <a:cubicBezTo>
                  <a:pt x="22" y="76"/>
                  <a:pt x="22" y="76"/>
                  <a:pt x="21" y="76"/>
                </a:cubicBezTo>
                <a:cubicBezTo>
                  <a:pt x="21" y="76"/>
                  <a:pt x="20" y="76"/>
                  <a:pt x="20" y="77"/>
                </a:cubicBezTo>
                <a:cubicBezTo>
                  <a:pt x="19" y="77"/>
                  <a:pt x="19" y="77"/>
                  <a:pt x="18" y="78"/>
                </a:cubicBezTo>
                <a:cubicBezTo>
                  <a:pt x="18" y="78"/>
                  <a:pt x="18" y="78"/>
                  <a:pt x="17" y="78"/>
                </a:cubicBezTo>
                <a:cubicBezTo>
                  <a:pt x="17" y="79"/>
                  <a:pt x="16" y="79"/>
                  <a:pt x="15" y="79"/>
                </a:cubicBezTo>
                <a:cubicBezTo>
                  <a:pt x="15" y="79"/>
                  <a:pt x="15" y="79"/>
                  <a:pt x="15" y="80"/>
                </a:cubicBezTo>
                <a:cubicBezTo>
                  <a:pt x="14" y="80"/>
                  <a:pt x="14" y="81"/>
                  <a:pt x="13" y="81"/>
                </a:cubicBezTo>
                <a:cubicBezTo>
                  <a:pt x="28" y="21"/>
                  <a:pt x="28" y="21"/>
                  <a:pt x="28" y="21"/>
                </a:cubicBezTo>
                <a:cubicBezTo>
                  <a:pt x="30" y="13"/>
                  <a:pt x="37" y="6"/>
                  <a:pt x="45" y="6"/>
                </a:cubicBezTo>
                <a:cubicBezTo>
                  <a:pt x="51" y="6"/>
                  <a:pt x="56" y="8"/>
                  <a:pt x="59" y="11"/>
                </a:cubicBezTo>
                <a:cubicBezTo>
                  <a:pt x="63" y="15"/>
                  <a:pt x="65" y="20"/>
                  <a:pt x="65" y="25"/>
                </a:cubicBezTo>
                <a:cubicBezTo>
                  <a:pt x="65" y="40"/>
                  <a:pt x="65" y="40"/>
                  <a:pt x="65" y="40"/>
                </a:cubicBezTo>
                <a:cubicBezTo>
                  <a:pt x="65" y="79"/>
                  <a:pt x="65" y="79"/>
                  <a:pt x="65" y="79"/>
                </a:cubicBezTo>
                <a:cubicBezTo>
                  <a:pt x="65" y="89"/>
                  <a:pt x="65" y="89"/>
                  <a:pt x="65" y="89"/>
                </a:cubicBezTo>
                <a:cubicBezTo>
                  <a:pt x="65" y="89"/>
                  <a:pt x="65" y="89"/>
                  <a:pt x="65" y="89"/>
                </a:cubicBezTo>
                <a:cubicBezTo>
                  <a:pt x="64" y="88"/>
                  <a:pt x="64" y="87"/>
                  <a:pt x="63" y="86"/>
                </a:cubicBezTo>
                <a:close/>
                <a:moveTo>
                  <a:pt x="71" y="76"/>
                </a:moveTo>
                <a:cubicBezTo>
                  <a:pt x="71" y="43"/>
                  <a:pt x="71" y="43"/>
                  <a:pt x="71" y="43"/>
                </a:cubicBezTo>
                <a:cubicBezTo>
                  <a:pt x="89" y="43"/>
                  <a:pt x="89" y="43"/>
                  <a:pt x="89" y="43"/>
                </a:cubicBezTo>
                <a:cubicBezTo>
                  <a:pt x="89" y="76"/>
                  <a:pt x="89" y="76"/>
                  <a:pt x="89" y="76"/>
                </a:cubicBezTo>
                <a:lnTo>
                  <a:pt x="71" y="76"/>
                </a:lnTo>
                <a:close/>
                <a:moveTo>
                  <a:pt x="95" y="89"/>
                </a:moveTo>
                <a:cubicBezTo>
                  <a:pt x="95" y="79"/>
                  <a:pt x="95" y="79"/>
                  <a:pt x="95" y="79"/>
                </a:cubicBezTo>
                <a:cubicBezTo>
                  <a:pt x="95" y="40"/>
                  <a:pt x="95" y="40"/>
                  <a:pt x="95" y="40"/>
                </a:cubicBezTo>
                <a:cubicBezTo>
                  <a:pt x="95" y="25"/>
                  <a:pt x="95" y="25"/>
                  <a:pt x="95" y="25"/>
                </a:cubicBezTo>
                <a:cubicBezTo>
                  <a:pt x="95" y="20"/>
                  <a:pt x="97" y="15"/>
                  <a:pt x="101" y="11"/>
                </a:cubicBezTo>
                <a:cubicBezTo>
                  <a:pt x="104" y="8"/>
                  <a:pt x="109" y="6"/>
                  <a:pt x="114" y="6"/>
                </a:cubicBezTo>
                <a:cubicBezTo>
                  <a:pt x="114" y="6"/>
                  <a:pt x="114" y="6"/>
                  <a:pt x="115" y="6"/>
                </a:cubicBezTo>
                <a:cubicBezTo>
                  <a:pt x="123" y="6"/>
                  <a:pt x="130" y="13"/>
                  <a:pt x="132" y="21"/>
                </a:cubicBezTo>
                <a:cubicBezTo>
                  <a:pt x="147" y="81"/>
                  <a:pt x="147" y="81"/>
                  <a:pt x="147" y="81"/>
                </a:cubicBezTo>
                <a:cubicBezTo>
                  <a:pt x="146" y="80"/>
                  <a:pt x="144" y="79"/>
                  <a:pt x="143" y="78"/>
                </a:cubicBezTo>
                <a:cubicBezTo>
                  <a:pt x="142" y="78"/>
                  <a:pt x="142" y="78"/>
                  <a:pt x="142" y="78"/>
                </a:cubicBezTo>
                <a:cubicBezTo>
                  <a:pt x="141" y="77"/>
                  <a:pt x="141" y="77"/>
                  <a:pt x="140" y="77"/>
                </a:cubicBezTo>
                <a:cubicBezTo>
                  <a:pt x="140" y="76"/>
                  <a:pt x="139" y="76"/>
                  <a:pt x="139" y="76"/>
                </a:cubicBezTo>
                <a:cubicBezTo>
                  <a:pt x="138" y="76"/>
                  <a:pt x="138" y="76"/>
                  <a:pt x="137" y="75"/>
                </a:cubicBezTo>
                <a:cubicBezTo>
                  <a:pt x="137" y="75"/>
                  <a:pt x="136" y="75"/>
                  <a:pt x="136" y="75"/>
                </a:cubicBezTo>
                <a:cubicBezTo>
                  <a:pt x="135" y="75"/>
                  <a:pt x="135" y="75"/>
                  <a:pt x="134" y="74"/>
                </a:cubicBezTo>
                <a:cubicBezTo>
                  <a:pt x="134" y="74"/>
                  <a:pt x="133" y="74"/>
                  <a:pt x="133" y="74"/>
                </a:cubicBezTo>
                <a:cubicBezTo>
                  <a:pt x="132" y="74"/>
                  <a:pt x="132" y="74"/>
                  <a:pt x="131" y="74"/>
                </a:cubicBezTo>
                <a:cubicBezTo>
                  <a:pt x="130" y="74"/>
                  <a:pt x="130" y="73"/>
                  <a:pt x="129" y="73"/>
                </a:cubicBezTo>
                <a:cubicBezTo>
                  <a:pt x="129" y="73"/>
                  <a:pt x="128" y="73"/>
                  <a:pt x="128" y="73"/>
                </a:cubicBezTo>
                <a:cubicBezTo>
                  <a:pt x="127" y="73"/>
                  <a:pt x="126" y="73"/>
                  <a:pt x="124" y="73"/>
                </a:cubicBezTo>
                <a:cubicBezTo>
                  <a:pt x="123" y="73"/>
                  <a:pt x="122" y="73"/>
                  <a:pt x="120" y="73"/>
                </a:cubicBezTo>
                <a:cubicBezTo>
                  <a:pt x="120" y="73"/>
                  <a:pt x="119" y="73"/>
                  <a:pt x="119" y="73"/>
                </a:cubicBezTo>
                <a:cubicBezTo>
                  <a:pt x="118" y="74"/>
                  <a:pt x="117" y="74"/>
                  <a:pt x="116" y="74"/>
                </a:cubicBezTo>
                <a:cubicBezTo>
                  <a:pt x="116" y="74"/>
                  <a:pt x="115" y="74"/>
                  <a:pt x="115" y="74"/>
                </a:cubicBezTo>
                <a:cubicBezTo>
                  <a:pt x="114" y="75"/>
                  <a:pt x="113" y="75"/>
                  <a:pt x="112" y="75"/>
                </a:cubicBezTo>
                <a:cubicBezTo>
                  <a:pt x="112" y="75"/>
                  <a:pt x="111" y="76"/>
                  <a:pt x="111" y="76"/>
                </a:cubicBezTo>
                <a:cubicBezTo>
                  <a:pt x="110" y="76"/>
                  <a:pt x="109" y="77"/>
                  <a:pt x="107" y="77"/>
                </a:cubicBezTo>
                <a:cubicBezTo>
                  <a:pt x="107" y="77"/>
                  <a:pt x="107" y="78"/>
                  <a:pt x="107" y="78"/>
                </a:cubicBezTo>
                <a:cubicBezTo>
                  <a:pt x="106" y="78"/>
                  <a:pt x="105" y="79"/>
                  <a:pt x="104" y="79"/>
                </a:cubicBezTo>
                <a:cubicBezTo>
                  <a:pt x="104" y="80"/>
                  <a:pt x="103" y="80"/>
                  <a:pt x="103" y="80"/>
                </a:cubicBezTo>
                <a:cubicBezTo>
                  <a:pt x="102" y="81"/>
                  <a:pt x="102" y="81"/>
                  <a:pt x="101" y="82"/>
                </a:cubicBezTo>
                <a:cubicBezTo>
                  <a:pt x="101" y="82"/>
                  <a:pt x="100" y="83"/>
                  <a:pt x="100" y="83"/>
                </a:cubicBezTo>
                <a:cubicBezTo>
                  <a:pt x="99" y="83"/>
                  <a:pt x="99" y="84"/>
                  <a:pt x="98" y="85"/>
                </a:cubicBezTo>
                <a:cubicBezTo>
                  <a:pt x="98" y="85"/>
                  <a:pt x="97" y="85"/>
                  <a:pt x="97" y="86"/>
                </a:cubicBezTo>
                <a:cubicBezTo>
                  <a:pt x="96" y="87"/>
                  <a:pt x="96" y="88"/>
                  <a:pt x="95" y="89"/>
                </a:cubicBezTo>
                <a:cubicBezTo>
                  <a:pt x="95" y="89"/>
                  <a:pt x="95" y="89"/>
                  <a:pt x="95" y="89"/>
                </a:cubicBezTo>
                <a:close/>
                <a:moveTo>
                  <a:pt x="124" y="138"/>
                </a:moveTo>
                <a:cubicBezTo>
                  <a:pt x="109" y="138"/>
                  <a:pt x="96" y="126"/>
                  <a:pt x="95" y="110"/>
                </a:cubicBezTo>
                <a:cubicBezTo>
                  <a:pt x="95" y="110"/>
                  <a:pt x="95" y="110"/>
                  <a:pt x="95" y="110"/>
                </a:cubicBezTo>
                <a:cubicBezTo>
                  <a:pt x="95" y="109"/>
                  <a:pt x="95" y="109"/>
                  <a:pt x="95" y="109"/>
                </a:cubicBezTo>
                <a:cubicBezTo>
                  <a:pt x="95" y="109"/>
                  <a:pt x="95" y="109"/>
                  <a:pt x="95" y="109"/>
                </a:cubicBezTo>
                <a:cubicBezTo>
                  <a:pt x="95" y="92"/>
                  <a:pt x="108" y="79"/>
                  <a:pt x="124" y="79"/>
                </a:cubicBezTo>
                <a:cubicBezTo>
                  <a:pt x="126" y="79"/>
                  <a:pt x="127" y="79"/>
                  <a:pt x="128" y="79"/>
                </a:cubicBezTo>
                <a:cubicBezTo>
                  <a:pt x="128" y="79"/>
                  <a:pt x="129" y="79"/>
                  <a:pt x="129" y="79"/>
                </a:cubicBezTo>
                <a:cubicBezTo>
                  <a:pt x="130" y="79"/>
                  <a:pt x="131" y="80"/>
                  <a:pt x="132" y="80"/>
                </a:cubicBezTo>
                <a:cubicBezTo>
                  <a:pt x="132" y="80"/>
                  <a:pt x="132" y="80"/>
                  <a:pt x="132" y="80"/>
                </a:cubicBezTo>
                <a:cubicBezTo>
                  <a:pt x="135" y="81"/>
                  <a:pt x="137" y="82"/>
                  <a:pt x="139" y="83"/>
                </a:cubicBezTo>
                <a:cubicBezTo>
                  <a:pt x="139" y="83"/>
                  <a:pt x="139" y="83"/>
                  <a:pt x="140" y="83"/>
                </a:cubicBezTo>
                <a:cubicBezTo>
                  <a:pt x="141" y="84"/>
                  <a:pt x="141" y="84"/>
                  <a:pt x="142" y="85"/>
                </a:cubicBezTo>
                <a:cubicBezTo>
                  <a:pt x="142" y="85"/>
                  <a:pt x="143" y="85"/>
                  <a:pt x="143" y="85"/>
                </a:cubicBezTo>
                <a:cubicBezTo>
                  <a:pt x="145" y="87"/>
                  <a:pt x="146" y="89"/>
                  <a:pt x="148" y="90"/>
                </a:cubicBezTo>
                <a:cubicBezTo>
                  <a:pt x="148" y="91"/>
                  <a:pt x="148" y="91"/>
                  <a:pt x="148" y="91"/>
                </a:cubicBezTo>
                <a:cubicBezTo>
                  <a:pt x="149" y="92"/>
                  <a:pt x="150" y="93"/>
                  <a:pt x="150" y="94"/>
                </a:cubicBezTo>
                <a:cubicBezTo>
                  <a:pt x="153" y="98"/>
                  <a:pt x="154" y="103"/>
                  <a:pt x="154" y="109"/>
                </a:cubicBezTo>
                <a:cubicBezTo>
                  <a:pt x="154" y="125"/>
                  <a:pt x="141" y="138"/>
                  <a:pt x="124" y="138"/>
                </a:cubicBezTo>
                <a:close/>
              </a:path>
            </a:pathLst>
          </a:custGeom>
          <a:solidFill>
            <a:srgbClr val="FFFFFF"/>
          </a:solidFill>
          <a:ln>
            <a:noFill/>
          </a:ln>
          <a:scene3d>
            <a:camera prst="perspectiveRelaxed"/>
            <a:lightRig rig="threePt" dir="t"/>
          </a:scene3d>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22222"/>
              </a:solidFill>
              <a:effectLst/>
              <a:uLnTx/>
              <a:uFillTx/>
              <a:latin typeface="Inter"/>
              <a:ea typeface="+mn-ea"/>
              <a:cs typeface="+mn-cs"/>
            </a:endParaRPr>
          </a:p>
        </p:txBody>
      </p:sp>
      <p:sp>
        <p:nvSpPr>
          <p:cNvPr id="31" name="Freeform 1137">
            <a:extLst>
              <a:ext uri="{FF2B5EF4-FFF2-40B4-BE49-F238E27FC236}">
                <a16:creationId xmlns:a16="http://schemas.microsoft.com/office/drawing/2014/main" id="{710FA6FF-A381-4C6D-983A-B874F80E2411}"/>
              </a:ext>
            </a:extLst>
          </p:cNvPr>
          <p:cNvSpPr>
            <a:spLocks noEditPoints="1"/>
          </p:cNvSpPr>
          <p:nvPr/>
        </p:nvSpPr>
        <p:spPr bwMode="auto">
          <a:xfrm>
            <a:off x="5867226" y="3307921"/>
            <a:ext cx="493679" cy="447752"/>
          </a:xfrm>
          <a:custGeom>
            <a:avLst/>
            <a:gdLst>
              <a:gd name="T0" fmla="*/ 160 w 160"/>
              <a:gd name="T1" fmla="*/ 45 h 144"/>
              <a:gd name="T2" fmla="*/ 160 w 160"/>
              <a:gd name="T3" fmla="*/ 45 h 144"/>
              <a:gd name="T4" fmla="*/ 160 w 160"/>
              <a:gd name="T5" fmla="*/ 44 h 144"/>
              <a:gd name="T6" fmla="*/ 160 w 160"/>
              <a:gd name="T7" fmla="*/ 44 h 144"/>
              <a:gd name="T8" fmla="*/ 133 w 160"/>
              <a:gd name="T9" fmla="*/ 1 h 144"/>
              <a:gd name="T10" fmla="*/ 132 w 160"/>
              <a:gd name="T11" fmla="*/ 0 h 144"/>
              <a:gd name="T12" fmla="*/ 132 w 160"/>
              <a:gd name="T13" fmla="*/ 0 h 144"/>
              <a:gd name="T14" fmla="*/ 29 w 160"/>
              <a:gd name="T15" fmla="*/ 0 h 144"/>
              <a:gd name="T16" fmla="*/ 28 w 160"/>
              <a:gd name="T17" fmla="*/ 0 h 144"/>
              <a:gd name="T18" fmla="*/ 28 w 160"/>
              <a:gd name="T19" fmla="*/ 1 h 144"/>
              <a:gd name="T20" fmla="*/ 27 w 160"/>
              <a:gd name="T21" fmla="*/ 1 h 144"/>
              <a:gd name="T22" fmla="*/ 0 w 160"/>
              <a:gd name="T23" fmla="*/ 44 h 144"/>
              <a:gd name="T24" fmla="*/ 0 w 160"/>
              <a:gd name="T25" fmla="*/ 44 h 144"/>
              <a:gd name="T26" fmla="*/ 0 w 160"/>
              <a:gd name="T27" fmla="*/ 45 h 144"/>
              <a:gd name="T28" fmla="*/ 0 w 160"/>
              <a:gd name="T29" fmla="*/ 46 h 144"/>
              <a:gd name="T30" fmla="*/ 0 w 160"/>
              <a:gd name="T31" fmla="*/ 46 h 144"/>
              <a:gd name="T32" fmla="*/ 0 w 160"/>
              <a:gd name="T33" fmla="*/ 47 h 144"/>
              <a:gd name="T34" fmla="*/ 78 w 160"/>
              <a:gd name="T35" fmla="*/ 143 h 144"/>
              <a:gd name="T36" fmla="*/ 78 w 160"/>
              <a:gd name="T37" fmla="*/ 143 h 144"/>
              <a:gd name="T38" fmla="*/ 79 w 160"/>
              <a:gd name="T39" fmla="*/ 144 h 144"/>
              <a:gd name="T40" fmla="*/ 80 w 160"/>
              <a:gd name="T41" fmla="*/ 144 h 144"/>
              <a:gd name="T42" fmla="*/ 81 w 160"/>
              <a:gd name="T43" fmla="*/ 144 h 144"/>
              <a:gd name="T44" fmla="*/ 82 w 160"/>
              <a:gd name="T45" fmla="*/ 143 h 144"/>
              <a:gd name="T46" fmla="*/ 159 w 160"/>
              <a:gd name="T47" fmla="*/ 47 h 144"/>
              <a:gd name="T48" fmla="*/ 160 w 160"/>
              <a:gd name="T49" fmla="*/ 47 h 144"/>
              <a:gd name="T50" fmla="*/ 160 w 160"/>
              <a:gd name="T51" fmla="*/ 46 h 144"/>
              <a:gd name="T52" fmla="*/ 86 w 160"/>
              <a:gd name="T53" fmla="*/ 5 h 144"/>
              <a:gd name="T54" fmla="*/ 114 w 160"/>
              <a:gd name="T55" fmla="*/ 40 h 144"/>
              <a:gd name="T56" fmla="*/ 109 w 160"/>
              <a:gd name="T57" fmla="*/ 43 h 144"/>
              <a:gd name="T58" fmla="*/ 80 w 160"/>
              <a:gd name="T59" fmla="*/ 7 h 144"/>
              <a:gd name="T60" fmla="*/ 46 w 160"/>
              <a:gd name="T61" fmla="*/ 40 h 144"/>
              <a:gd name="T62" fmla="*/ 74 w 160"/>
              <a:gd name="T63" fmla="*/ 5 h 144"/>
              <a:gd name="T64" fmla="*/ 111 w 160"/>
              <a:gd name="T65" fmla="*/ 48 h 144"/>
              <a:gd name="T66" fmla="*/ 49 w 160"/>
              <a:gd name="T67" fmla="*/ 48 h 144"/>
              <a:gd name="T68" fmla="*/ 131 w 160"/>
              <a:gd name="T69" fmla="*/ 9 h 144"/>
              <a:gd name="T70" fmla="*/ 119 w 160"/>
              <a:gd name="T71" fmla="*/ 43 h 144"/>
              <a:gd name="T72" fmla="*/ 29 w 160"/>
              <a:gd name="T73" fmla="*/ 9 h 144"/>
              <a:gd name="T74" fmla="*/ 7 w 160"/>
              <a:gd name="T75" fmla="*/ 43 h 144"/>
              <a:gd name="T76" fmla="*/ 43 w 160"/>
              <a:gd name="T77" fmla="*/ 48 h 144"/>
              <a:gd name="T78" fmla="*/ 8 w 160"/>
              <a:gd name="T79" fmla="*/ 48 h 144"/>
              <a:gd name="T80" fmla="*/ 86 w 160"/>
              <a:gd name="T81" fmla="*/ 129 h 144"/>
              <a:gd name="T82" fmla="*/ 152 w 160"/>
              <a:gd name="T83" fmla="*/ 48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60" h="144">
                <a:moveTo>
                  <a:pt x="160" y="46"/>
                </a:moveTo>
                <a:cubicBezTo>
                  <a:pt x="160" y="46"/>
                  <a:pt x="160" y="46"/>
                  <a:pt x="160" y="45"/>
                </a:cubicBezTo>
                <a:cubicBezTo>
                  <a:pt x="160" y="45"/>
                  <a:pt x="160" y="45"/>
                  <a:pt x="160" y="45"/>
                </a:cubicBezTo>
                <a:cubicBezTo>
                  <a:pt x="160" y="45"/>
                  <a:pt x="160" y="45"/>
                  <a:pt x="160" y="45"/>
                </a:cubicBezTo>
                <a:cubicBezTo>
                  <a:pt x="160" y="45"/>
                  <a:pt x="160" y="45"/>
                  <a:pt x="160" y="44"/>
                </a:cubicBezTo>
                <a:cubicBezTo>
                  <a:pt x="160" y="44"/>
                  <a:pt x="160" y="44"/>
                  <a:pt x="160" y="44"/>
                </a:cubicBezTo>
                <a:cubicBezTo>
                  <a:pt x="160" y="44"/>
                  <a:pt x="160" y="44"/>
                  <a:pt x="160" y="44"/>
                </a:cubicBezTo>
                <a:cubicBezTo>
                  <a:pt x="160" y="44"/>
                  <a:pt x="160" y="44"/>
                  <a:pt x="160" y="44"/>
                </a:cubicBezTo>
                <a:cubicBezTo>
                  <a:pt x="133" y="1"/>
                  <a:pt x="133" y="1"/>
                  <a:pt x="133" y="1"/>
                </a:cubicBezTo>
                <a:cubicBezTo>
                  <a:pt x="133" y="1"/>
                  <a:pt x="133" y="1"/>
                  <a:pt x="133" y="1"/>
                </a:cubicBezTo>
                <a:cubicBezTo>
                  <a:pt x="133" y="1"/>
                  <a:pt x="133" y="1"/>
                  <a:pt x="133" y="1"/>
                </a:cubicBezTo>
                <a:cubicBezTo>
                  <a:pt x="132" y="1"/>
                  <a:pt x="132" y="0"/>
                  <a:pt x="132" y="0"/>
                </a:cubicBezTo>
                <a:cubicBezTo>
                  <a:pt x="132" y="0"/>
                  <a:pt x="132" y="0"/>
                  <a:pt x="132" y="0"/>
                </a:cubicBezTo>
                <a:cubicBezTo>
                  <a:pt x="132" y="0"/>
                  <a:pt x="132" y="0"/>
                  <a:pt x="132" y="0"/>
                </a:cubicBezTo>
                <a:cubicBezTo>
                  <a:pt x="131" y="0"/>
                  <a:pt x="131" y="0"/>
                  <a:pt x="131" y="0"/>
                </a:cubicBezTo>
                <a:cubicBezTo>
                  <a:pt x="29" y="0"/>
                  <a:pt x="29" y="0"/>
                  <a:pt x="29" y="0"/>
                </a:cubicBezTo>
                <a:cubicBezTo>
                  <a:pt x="29" y="0"/>
                  <a:pt x="29" y="0"/>
                  <a:pt x="29" y="0"/>
                </a:cubicBezTo>
                <a:cubicBezTo>
                  <a:pt x="28" y="0"/>
                  <a:pt x="28" y="0"/>
                  <a:pt x="28" y="0"/>
                </a:cubicBezTo>
                <a:cubicBezTo>
                  <a:pt x="28" y="0"/>
                  <a:pt x="28" y="0"/>
                  <a:pt x="28" y="0"/>
                </a:cubicBezTo>
                <a:cubicBezTo>
                  <a:pt x="28" y="0"/>
                  <a:pt x="28" y="0"/>
                  <a:pt x="28" y="1"/>
                </a:cubicBezTo>
                <a:cubicBezTo>
                  <a:pt x="28" y="1"/>
                  <a:pt x="28" y="1"/>
                  <a:pt x="28" y="1"/>
                </a:cubicBezTo>
                <a:cubicBezTo>
                  <a:pt x="27" y="1"/>
                  <a:pt x="27" y="1"/>
                  <a:pt x="27" y="1"/>
                </a:cubicBezTo>
                <a:cubicBezTo>
                  <a:pt x="0" y="44"/>
                  <a:pt x="0" y="44"/>
                  <a:pt x="0" y="44"/>
                </a:cubicBezTo>
                <a:cubicBezTo>
                  <a:pt x="0" y="44"/>
                  <a:pt x="0" y="44"/>
                  <a:pt x="0" y="44"/>
                </a:cubicBezTo>
                <a:cubicBezTo>
                  <a:pt x="0" y="44"/>
                  <a:pt x="0" y="44"/>
                  <a:pt x="0" y="44"/>
                </a:cubicBezTo>
                <a:cubicBezTo>
                  <a:pt x="0" y="44"/>
                  <a:pt x="0" y="44"/>
                  <a:pt x="0" y="44"/>
                </a:cubicBezTo>
                <a:cubicBezTo>
                  <a:pt x="0" y="45"/>
                  <a:pt x="0" y="45"/>
                  <a:pt x="0" y="45"/>
                </a:cubicBezTo>
                <a:cubicBezTo>
                  <a:pt x="0" y="45"/>
                  <a:pt x="0" y="45"/>
                  <a:pt x="0" y="45"/>
                </a:cubicBezTo>
                <a:cubicBezTo>
                  <a:pt x="0" y="45"/>
                  <a:pt x="0" y="45"/>
                  <a:pt x="0" y="45"/>
                </a:cubicBezTo>
                <a:cubicBezTo>
                  <a:pt x="0" y="46"/>
                  <a:pt x="0" y="46"/>
                  <a:pt x="0" y="46"/>
                </a:cubicBezTo>
                <a:cubicBezTo>
                  <a:pt x="0" y="46"/>
                  <a:pt x="0" y="46"/>
                  <a:pt x="0" y="46"/>
                </a:cubicBezTo>
                <a:cubicBezTo>
                  <a:pt x="0" y="46"/>
                  <a:pt x="0" y="46"/>
                  <a:pt x="0" y="46"/>
                </a:cubicBezTo>
                <a:cubicBezTo>
                  <a:pt x="0" y="47"/>
                  <a:pt x="0" y="47"/>
                  <a:pt x="0" y="47"/>
                </a:cubicBezTo>
                <a:cubicBezTo>
                  <a:pt x="0" y="47"/>
                  <a:pt x="0" y="47"/>
                  <a:pt x="0" y="47"/>
                </a:cubicBezTo>
                <a:cubicBezTo>
                  <a:pt x="1" y="47"/>
                  <a:pt x="1" y="47"/>
                  <a:pt x="1" y="47"/>
                </a:cubicBezTo>
                <a:cubicBezTo>
                  <a:pt x="78" y="143"/>
                  <a:pt x="78" y="143"/>
                  <a:pt x="78" y="143"/>
                </a:cubicBezTo>
                <a:cubicBezTo>
                  <a:pt x="78" y="143"/>
                  <a:pt x="78" y="143"/>
                  <a:pt x="78" y="143"/>
                </a:cubicBezTo>
                <a:cubicBezTo>
                  <a:pt x="78" y="143"/>
                  <a:pt x="78" y="143"/>
                  <a:pt x="78" y="143"/>
                </a:cubicBezTo>
                <a:cubicBezTo>
                  <a:pt x="78" y="143"/>
                  <a:pt x="78" y="143"/>
                  <a:pt x="78" y="143"/>
                </a:cubicBezTo>
                <a:cubicBezTo>
                  <a:pt x="78" y="143"/>
                  <a:pt x="78" y="144"/>
                  <a:pt x="79" y="144"/>
                </a:cubicBezTo>
                <a:cubicBezTo>
                  <a:pt x="79" y="144"/>
                  <a:pt x="79" y="144"/>
                  <a:pt x="79" y="144"/>
                </a:cubicBezTo>
                <a:cubicBezTo>
                  <a:pt x="79" y="144"/>
                  <a:pt x="80" y="144"/>
                  <a:pt x="80" y="144"/>
                </a:cubicBezTo>
                <a:cubicBezTo>
                  <a:pt x="80" y="144"/>
                  <a:pt x="81" y="144"/>
                  <a:pt x="81" y="144"/>
                </a:cubicBezTo>
                <a:cubicBezTo>
                  <a:pt x="81" y="144"/>
                  <a:pt x="81" y="144"/>
                  <a:pt x="81" y="144"/>
                </a:cubicBezTo>
                <a:cubicBezTo>
                  <a:pt x="81" y="144"/>
                  <a:pt x="81" y="144"/>
                  <a:pt x="81" y="144"/>
                </a:cubicBezTo>
                <a:cubicBezTo>
                  <a:pt x="82" y="143"/>
                  <a:pt x="82" y="143"/>
                  <a:pt x="82" y="143"/>
                </a:cubicBezTo>
                <a:cubicBezTo>
                  <a:pt x="82" y="143"/>
                  <a:pt x="82" y="143"/>
                  <a:pt x="82" y="143"/>
                </a:cubicBezTo>
                <a:cubicBezTo>
                  <a:pt x="159" y="47"/>
                  <a:pt x="159" y="47"/>
                  <a:pt x="159" y="47"/>
                </a:cubicBezTo>
                <a:cubicBezTo>
                  <a:pt x="159" y="47"/>
                  <a:pt x="159" y="47"/>
                  <a:pt x="160" y="47"/>
                </a:cubicBezTo>
                <a:cubicBezTo>
                  <a:pt x="160" y="47"/>
                  <a:pt x="160" y="47"/>
                  <a:pt x="160" y="47"/>
                </a:cubicBezTo>
                <a:cubicBezTo>
                  <a:pt x="160" y="47"/>
                  <a:pt x="160" y="47"/>
                  <a:pt x="160" y="46"/>
                </a:cubicBezTo>
                <a:cubicBezTo>
                  <a:pt x="160" y="46"/>
                  <a:pt x="160" y="46"/>
                  <a:pt x="160" y="46"/>
                </a:cubicBezTo>
                <a:cubicBezTo>
                  <a:pt x="160" y="46"/>
                  <a:pt x="160" y="46"/>
                  <a:pt x="160" y="46"/>
                </a:cubicBezTo>
                <a:close/>
                <a:moveTo>
                  <a:pt x="86" y="5"/>
                </a:moveTo>
                <a:cubicBezTo>
                  <a:pt x="127" y="5"/>
                  <a:pt x="127" y="5"/>
                  <a:pt x="127" y="5"/>
                </a:cubicBezTo>
                <a:cubicBezTo>
                  <a:pt x="114" y="40"/>
                  <a:pt x="114" y="40"/>
                  <a:pt x="114" y="40"/>
                </a:cubicBezTo>
                <a:lnTo>
                  <a:pt x="86" y="5"/>
                </a:lnTo>
                <a:close/>
                <a:moveTo>
                  <a:pt x="109" y="43"/>
                </a:moveTo>
                <a:cubicBezTo>
                  <a:pt x="51" y="43"/>
                  <a:pt x="51" y="43"/>
                  <a:pt x="51" y="43"/>
                </a:cubicBezTo>
                <a:cubicBezTo>
                  <a:pt x="80" y="7"/>
                  <a:pt x="80" y="7"/>
                  <a:pt x="80" y="7"/>
                </a:cubicBezTo>
                <a:lnTo>
                  <a:pt x="109" y="43"/>
                </a:lnTo>
                <a:close/>
                <a:moveTo>
                  <a:pt x="46" y="40"/>
                </a:moveTo>
                <a:cubicBezTo>
                  <a:pt x="33" y="5"/>
                  <a:pt x="33" y="5"/>
                  <a:pt x="33" y="5"/>
                </a:cubicBezTo>
                <a:cubicBezTo>
                  <a:pt x="74" y="5"/>
                  <a:pt x="74" y="5"/>
                  <a:pt x="74" y="5"/>
                </a:cubicBezTo>
                <a:lnTo>
                  <a:pt x="46" y="40"/>
                </a:lnTo>
                <a:close/>
                <a:moveTo>
                  <a:pt x="111" y="48"/>
                </a:moveTo>
                <a:cubicBezTo>
                  <a:pt x="80" y="132"/>
                  <a:pt x="80" y="132"/>
                  <a:pt x="80" y="132"/>
                </a:cubicBezTo>
                <a:cubicBezTo>
                  <a:pt x="49" y="48"/>
                  <a:pt x="49" y="48"/>
                  <a:pt x="49" y="48"/>
                </a:cubicBezTo>
                <a:lnTo>
                  <a:pt x="111" y="48"/>
                </a:lnTo>
                <a:close/>
                <a:moveTo>
                  <a:pt x="131" y="9"/>
                </a:moveTo>
                <a:cubicBezTo>
                  <a:pt x="153" y="43"/>
                  <a:pt x="153" y="43"/>
                  <a:pt x="153" y="43"/>
                </a:cubicBezTo>
                <a:cubicBezTo>
                  <a:pt x="119" y="43"/>
                  <a:pt x="119" y="43"/>
                  <a:pt x="119" y="43"/>
                </a:cubicBezTo>
                <a:lnTo>
                  <a:pt x="131" y="9"/>
                </a:lnTo>
                <a:close/>
                <a:moveTo>
                  <a:pt x="29" y="9"/>
                </a:moveTo>
                <a:cubicBezTo>
                  <a:pt x="41" y="43"/>
                  <a:pt x="41" y="43"/>
                  <a:pt x="41" y="43"/>
                </a:cubicBezTo>
                <a:cubicBezTo>
                  <a:pt x="7" y="43"/>
                  <a:pt x="7" y="43"/>
                  <a:pt x="7" y="43"/>
                </a:cubicBezTo>
                <a:lnTo>
                  <a:pt x="29" y="9"/>
                </a:lnTo>
                <a:close/>
                <a:moveTo>
                  <a:pt x="43" y="48"/>
                </a:moveTo>
                <a:cubicBezTo>
                  <a:pt x="72" y="127"/>
                  <a:pt x="72" y="127"/>
                  <a:pt x="72" y="127"/>
                </a:cubicBezTo>
                <a:cubicBezTo>
                  <a:pt x="8" y="48"/>
                  <a:pt x="8" y="48"/>
                  <a:pt x="8" y="48"/>
                </a:cubicBezTo>
                <a:lnTo>
                  <a:pt x="43" y="48"/>
                </a:lnTo>
                <a:close/>
                <a:moveTo>
                  <a:pt x="86" y="129"/>
                </a:moveTo>
                <a:cubicBezTo>
                  <a:pt x="117" y="48"/>
                  <a:pt x="117" y="48"/>
                  <a:pt x="117" y="48"/>
                </a:cubicBezTo>
                <a:cubicBezTo>
                  <a:pt x="152" y="48"/>
                  <a:pt x="152" y="48"/>
                  <a:pt x="152" y="48"/>
                </a:cubicBezTo>
                <a:lnTo>
                  <a:pt x="86" y="129"/>
                </a:lnTo>
                <a:close/>
              </a:path>
            </a:pathLst>
          </a:custGeom>
          <a:solidFill>
            <a:srgbClr val="FFFFFF"/>
          </a:solidFill>
          <a:ln>
            <a:noFill/>
          </a:ln>
          <a:scene3d>
            <a:camera prst="perspectiveRelaxed"/>
            <a:lightRig rig="threePt" dir="t"/>
          </a:scene3d>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22222"/>
              </a:solidFill>
              <a:effectLst/>
              <a:uLnTx/>
              <a:uFillTx/>
              <a:latin typeface="Inter"/>
              <a:ea typeface="+mn-ea"/>
              <a:cs typeface="+mn-cs"/>
            </a:endParaRPr>
          </a:p>
        </p:txBody>
      </p:sp>
      <p:sp>
        <p:nvSpPr>
          <p:cNvPr id="32" name="Freeform 1147">
            <a:extLst>
              <a:ext uri="{FF2B5EF4-FFF2-40B4-BE49-F238E27FC236}">
                <a16:creationId xmlns:a16="http://schemas.microsoft.com/office/drawing/2014/main" id="{2E2078D3-0039-44B1-B358-04DEEB31E352}"/>
              </a:ext>
            </a:extLst>
          </p:cNvPr>
          <p:cNvSpPr>
            <a:spLocks noEditPoints="1"/>
          </p:cNvSpPr>
          <p:nvPr/>
        </p:nvSpPr>
        <p:spPr bwMode="auto">
          <a:xfrm>
            <a:off x="3847210" y="3278501"/>
            <a:ext cx="503723" cy="506593"/>
          </a:xfrm>
          <a:custGeom>
            <a:avLst/>
            <a:gdLst>
              <a:gd name="T0" fmla="*/ 116 w 163"/>
              <a:gd name="T1" fmla="*/ 11 h 163"/>
              <a:gd name="T2" fmla="*/ 11 w 163"/>
              <a:gd name="T3" fmla="*/ 115 h 163"/>
              <a:gd name="T4" fmla="*/ 10 w 163"/>
              <a:gd name="T5" fmla="*/ 116 h 163"/>
              <a:gd name="T6" fmla="*/ 10 w 163"/>
              <a:gd name="T7" fmla="*/ 116 h 163"/>
              <a:gd name="T8" fmla="*/ 0 w 163"/>
              <a:gd name="T9" fmla="*/ 160 h 163"/>
              <a:gd name="T10" fmla="*/ 0 w 163"/>
              <a:gd name="T11" fmla="*/ 161 h 163"/>
              <a:gd name="T12" fmla="*/ 1 w 163"/>
              <a:gd name="T13" fmla="*/ 162 h 163"/>
              <a:gd name="T14" fmla="*/ 3 w 163"/>
              <a:gd name="T15" fmla="*/ 163 h 163"/>
              <a:gd name="T16" fmla="*/ 47 w 163"/>
              <a:gd name="T17" fmla="*/ 153 h 163"/>
              <a:gd name="T18" fmla="*/ 47 w 163"/>
              <a:gd name="T19" fmla="*/ 152 h 163"/>
              <a:gd name="T20" fmla="*/ 48 w 163"/>
              <a:gd name="T21" fmla="*/ 152 h 163"/>
              <a:gd name="T22" fmla="*/ 152 w 163"/>
              <a:gd name="T23" fmla="*/ 47 h 163"/>
              <a:gd name="T24" fmla="*/ 148 w 163"/>
              <a:gd name="T25" fmla="*/ 15 h 163"/>
              <a:gd name="T26" fmla="*/ 122 w 163"/>
              <a:gd name="T27" fmla="*/ 13 h 163"/>
              <a:gd name="T28" fmla="*/ 134 w 163"/>
              <a:gd name="T29" fmla="*/ 58 h 163"/>
              <a:gd name="T30" fmla="*/ 109 w 163"/>
              <a:gd name="T31" fmla="*/ 25 h 163"/>
              <a:gd name="T32" fmla="*/ 134 w 163"/>
              <a:gd name="T33" fmla="*/ 58 h 163"/>
              <a:gd name="T34" fmla="*/ 10 w 163"/>
              <a:gd name="T35" fmla="*/ 149 h 163"/>
              <a:gd name="T36" fmla="*/ 15 w 163"/>
              <a:gd name="T37" fmla="*/ 120 h 163"/>
              <a:gd name="T38" fmla="*/ 27 w 163"/>
              <a:gd name="T39" fmla="*/ 133 h 163"/>
              <a:gd name="T40" fmla="*/ 27 w 163"/>
              <a:gd name="T41" fmla="*/ 134 h 163"/>
              <a:gd name="T42" fmla="*/ 27 w 163"/>
              <a:gd name="T43" fmla="*/ 135 h 163"/>
              <a:gd name="T44" fmla="*/ 27 w 163"/>
              <a:gd name="T45" fmla="*/ 135 h 163"/>
              <a:gd name="T46" fmla="*/ 28 w 163"/>
              <a:gd name="T47" fmla="*/ 136 h 163"/>
              <a:gd name="T48" fmla="*/ 29 w 163"/>
              <a:gd name="T49" fmla="*/ 136 h 163"/>
              <a:gd name="T50" fmla="*/ 30 w 163"/>
              <a:gd name="T51" fmla="*/ 136 h 163"/>
              <a:gd name="T52" fmla="*/ 30 w 163"/>
              <a:gd name="T53" fmla="*/ 136 h 163"/>
              <a:gd name="T54" fmla="*/ 30 w 163"/>
              <a:gd name="T55" fmla="*/ 136 h 163"/>
              <a:gd name="T56" fmla="*/ 43 w 163"/>
              <a:gd name="T57" fmla="*/ 148 h 163"/>
              <a:gd name="T58" fmla="*/ 14 w 163"/>
              <a:gd name="T59" fmla="*/ 153 h 163"/>
              <a:gd name="T60" fmla="*/ 51 w 163"/>
              <a:gd name="T61" fmla="*/ 133 h 163"/>
              <a:gd name="T62" fmla="*/ 116 w 163"/>
              <a:gd name="T63" fmla="*/ 64 h 163"/>
              <a:gd name="T64" fmla="*/ 47 w 163"/>
              <a:gd name="T65" fmla="*/ 129 h 163"/>
              <a:gd name="T66" fmla="*/ 34 w 163"/>
              <a:gd name="T67" fmla="*/ 116 h 163"/>
              <a:gd name="T68" fmla="*/ 99 w 163"/>
              <a:gd name="T69" fmla="*/ 47 h 163"/>
              <a:gd name="T70" fmla="*/ 30 w 163"/>
              <a:gd name="T71" fmla="*/ 112 h 163"/>
              <a:gd name="T72" fmla="*/ 101 w 163"/>
              <a:gd name="T73" fmla="*/ 33 h 163"/>
              <a:gd name="T74" fmla="*/ 50 w 163"/>
              <a:gd name="T75" fmla="*/ 142 h 163"/>
              <a:gd name="T76" fmla="*/ 142 w 163"/>
              <a:gd name="T77" fmla="*/ 50 h 163"/>
              <a:gd name="T78" fmla="*/ 118 w 163"/>
              <a:gd name="T79" fmla="*/ 17 h 163"/>
              <a:gd name="T80" fmla="*/ 142 w 163"/>
              <a:gd name="T81" fmla="*/ 50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3" h="163">
                <a:moveTo>
                  <a:pt x="152" y="11"/>
                </a:moveTo>
                <a:cubicBezTo>
                  <a:pt x="142" y="0"/>
                  <a:pt x="126" y="0"/>
                  <a:pt x="116" y="11"/>
                </a:cubicBezTo>
                <a:cubicBezTo>
                  <a:pt x="11" y="115"/>
                  <a:pt x="11" y="115"/>
                  <a:pt x="11" y="115"/>
                </a:cubicBezTo>
                <a:cubicBezTo>
                  <a:pt x="11" y="115"/>
                  <a:pt x="11" y="115"/>
                  <a:pt x="11" y="115"/>
                </a:cubicBezTo>
                <a:cubicBezTo>
                  <a:pt x="11" y="115"/>
                  <a:pt x="11" y="115"/>
                  <a:pt x="11" y="115"/>
                </a:cubicBezTo>
                <a:cubicBezTo>
                  <a:pt x="11" y="116"/>
                  <a:pt x="11" y="116"/>
                  <a:pt x="10" y="116"/>
                </a:cubicBezTo>
                <a:cubicBezTo>
                  <a:pt x="10" y="116"/>
                  <a:pt x="10" y="116"/>
                  <a:pt x="10" y="116"/>
                </a:cubicBezTo>
                <a:cubicBezTo>
                  <a:pt x="10" y="116"/>
                  <a:pt x="10" y="116"/>
                  <a:pt x="10" y="116"/>
                </a:cubicBezTo>
                <a:cubicBezTo>
                  <a:pt x="0" y="159"/>
                  <a:pt x="0" y="159"/>
                  <a:pt x="0" y="159"/>
                </a:cubicBezTo>
                <a:cubicBezTo>
                  <a:pt x="0" y="160"/>
                  <a:pt x="0" y="160"/>
                  <a:pt x="0" y="160"/>
                </a:cubicBezTo>
                <a:cubicBezTo>
                  <a:pt x="0" y="160"/>
                  <a:pt x="0" y="160"/>
                  <a:pt x="0" y="160"/>
                </a:cubicBezTo>
                <a:cubicBezTo>
                  <a:pt x="0" y="160"/>
                  <a:pt x="0" y="161"/>
                  <a:pt x="0" y="161"/>
                </a:cubicBezTo>
                <a:cubicBezTo>
                  <a:pt x="0" y="161"/>
                  <a:pt x="0" y="161"/>
                  <a:pt x="0" y="161"/>
                </a:cubicBezTo>
                <a:cubicBezTo>
                  <a:pt x="0" y="162"/>
                  <a:pt x="1" y="162"/>
                  <a:pt x="1" y="162"/>
                </a:cubicBezTo>
                <a:cubicBezTo>
                  <a:pt x="1" y="162"/>
                  <a:pt x="1" y="163"/>
                  <a:pt x="2" y="163"/>
                </a:cubicBezTo>
                <a:cubicBezTo>
                  <a:pt x="2" y="163"/>
                  <a:pt x="3" y="163"/>
                  <a:pt x="3" y="163"/>
                </a:cubicBezTo>
                <a:cubicBezTo>
                  <a:pt x="3" y="163"/>
                  <a:pt x="3" y="163"/>
                  <a:pt x="4" y="163"/>
                </a:cubicBezTo>
                <a:cubicBezTo>
                  <a:pt x="47" y="153"/>
                  <a:pt x="47" y="153"/>
                  <a:pt x="47" y="153"/>
                </a:cubicBezTo>
                <a:cubicBezTo>
                  <a:pt x="47" y="153"/>
                  <a:pt x="47" y="153"/>
                  <a:pt x="47" y="153"/>
                </a:cubicBezTo>
                <a:cubicBezTo>
                  <a:pt x="47" y="153"/>
                  <a:pt x="47" y="153"/>
                  <a:pt x="47" y="152"/>
                </a:cubicBezTo>
                <a:cubicBezTo>
                  <a:pt x="47" y="152"/>
                  <a:pt x="47" y="152"/>
                  <a:pt x="48" y="152"/>
                </a:cubicBezTo>
                <a:cubicBezTo>
                  <a:pt x="48" y="152"/>
                  <a:pt x="48" y="152"/>
                  <a:pt x="48" y="152"/>
                </a:cubicBezTo>
                <a:cubicBezTo>
                  <a:pt x="48" y="152"/>
                  <a:pt x="48" y="152"/>
                  <a:pt x="48" y="152"/>
                </a:cubicBezTo>
                <a:cubicBezTo>
                  <a:pt x="152" y="47"/>
                  <a:pt x="152" y="47"/>
                  <a:pt x="152" y="47"/>
                </a:cubicBezTo>
                <a:cubicBezTo>
                  <a:pt x="163" y="37"/>
                  <a:pt x="163" y="21"/>
                  <a:pt x="152" y="11"/>
                </a:cubicBezTo>
                <a:close/>
                <a:moveTo>
                  <a:pt x="148" y="15"/>
                </a:moveTo>
                <a:cubicBezTo>
                  <a:pt x="155" y="22"/>
                  <a:pt x="156" y="33"/>
                  <a:pt x="150" y="41"/>
                </a:cubicBezTo>
                <a:cubicBezTo>
                  <a:pt x="122" y="13"/>
                  <a:pt x="122" y="13"/>
                  <a:pt x="122" y="13"/>
                </a:cubicBezTo>
                <a:cubicBezTo>
                  <a:pt x="130" y="7"/>
                  <a:pt x="141" y="8"/>
                  <a:pt x="148" y="15"/>
                </a:cubicBezTo>
                <a:close/>
                <a:moveTo>
                  <a:pt x="134" y="58"/>
                </a:moveTo>
                <a:cubicBezTo>
                  <a:pt x="105" y="29"/>
                  <a:pt x="105" y="29"/>
                  <a:pt x="105" y="29"/>
                </a:cubicBezTo>
                <a:cubicBezTo>
                  <a:pt x="109" y="25"/>
                  <a:pt x="109" y="25"/>
                  <a:pt x="109" y="25"/>
                </a:cubicBezTo>
                <a:cubicBezTo>
                  <a:pt x="138" y="54"/>
                  <a:pt x="138" y="54"/>
                  <a:pt x="138" y="54"/>
                </a:cubicBezTo>
                <a:lnTo>
                  <a:pt x="134" y="58"/>
                </a:lnTo>
                <a:close/>
                <a:moveTo>
                  <a:pt x="14" y="149"/>
                </a:moveTo>
                <a:cubicBezTo>
                  <a:pt x="13" y="148"/>
                  <a:pt x="11" y="148"/>
                  <a:pt x="10" y="149"/>
                </a:cubicBezTo>
                <a:cubicBezTo>
                  <a:pt x="8" y="151"/>
                  <a:pt x="8" y="151"/>
                  <a:pt x="8" y="151"/>
                </a:cubicBezTo>
                <a:cubicBezTo>
                  <a:pt x="15" y="120"/>
                  <a:pt x="15" y="120"/>
                  <a:pt x="15" y="120"/>
                </a:cubicBezTo>
                <a:cubicBezTo>
                  <a:pt x="28" y="118"/>
                  <a:pt x="28" y="118"/>
                  <a:pt x="28" y="118"/>
                </a:cubicBezTo>
                <a:cubicBezTo>
                  <a:pt x="27" y="133"/>
                  <a:pt x="27" y="133"/>
                  <a:pt x="27" y="133"/>
                </a:cubicBezTo>
                <a:cubicBezTo>
                  <a:pt x="27" y="133"/>
                  <a:pt x="27" y="133"/>
                  <a:pt x="27" y="133"/>
                </a:cubicBezTo>
                <a:cubicBezTo>
                  <a:pt x="27" y="134"/>
                  <a:pt x="27" y="134"/>
                  <a:pt x="27" y="134"/>
                </a:cubicBezTo>
                <a:cubicBezTo>
                  <a:pt x="27" y="134"/>
                  <a:pt x="27" y="134"/>
                  <a:pt x="27" y="134"/>
                </a:cubicBezTo>
                <a:cubicBezTo>
                  <a:pt x="27" y="134"/>
                  <a:pt x="27" y="134"/>
                  <a:pt x="27" y="135"/>
                </a:cubicBezTo>
                <a:cubicBezTo>
                  <a:pt x="27" y="135"/>
                  <a:pt x="27" y="135"/>
                  <a:pt x="27" y="135"/>
                </a:cubicBezTo>
                <a:cubicBezTo>
                  <a:pt x="27" y="135"/>
                  <a:pt x="27" y="135"/>
                  <a:pt x="27" y="135"/>
                </a:cubicBezTo>
                <a:cubicBezTo>
                  <a:pt x="28" y="136"/>
                  <a:pt x="28" y="136"/>
                  <a:pt x="28" y="136"/>
                </a:cubicBezTo>
                <a:cubicBezTo>
                  <a:pt x="28" y="136"/>
                  <a:pt x="28" y="136"/>
                  <a:pt x="28" y="136"/>
                </a:cubicBezTo>
                <a:cubicBezTo>
                  <a:pt x="28" y="136"/>
                  <a:pt x="29" y="136"/>
                  <a:pt x="29" y="136"/>
                </a:cubicBezTo>
                <a:cubicBezTo>
                  <a:pt x="29" y="136"/>
                  <a:pt x="29" y="136"/>
                  <a:pt x="29" y="136"/>
                </a:cubicBezTo>
                <a:cubicBezTo>
                  <a:pt x="29" y="136"/>
                  <a:pt x="29" y="136"/>
                  <a:pt x="30" y="136"/>
                </a:cubicBezTo>
                <a:cubicBezTo>
                  <a:pt x="30" y="136"/>
                  <a:pt x="30" y="136"/>
                  <a:pt x="30" y="136"/>
                </a:cubicBezTo>
                <a:cubicBezTo>
                  <a:pt x="30" y="136"/>
                  <a:pt x="30" y="136"/>
                  <a:pt x="30" y="136"/>
                </a:cubicBezTo>
                <a:cubicBezTo>
                  <a:pt x="30" y="136"/>
                  <a:pt x="30" y="136"/>
                  <a:pt x="30" y="136"/>
                </a:cubicBezTo>
                <a:cubicBezTo>
                  <a:pt x="30" y="136"/>
                  <a:pt x="30" y="136"/>
                  <a:pt x="30" y="136"/>
                </a:cubicBezTo>
                <a:cubicBezTo>
                  <a:pt x="30" y="136"/>
                  <a:pt x="30" y="136"/>
                  <a:pt x="30" y="136"/>
                </a:cubicBezTo>
                <a:cubicBezTo>
                  <a:pt x="45" y="135"/>
                  <a:pt x="45" y="135"/>
                  <a:pt x="45" y="135"/>
                </a:cubicBezTo>
                <a:cubicBezTo>
                  <a:pt x="43" y="148"/>
                  <a:pt x="43" y="148"/>
                  <a:pt x="43" y="148"/>
                </a:cubicBezTo>
                <a:cubicBezTo>
                  <a:pt x="12" y="155"/>
                  <a:pt x="12" y="155"/>
                  <a:pt x="12" y="155"/>
                </a:cubicBezTo>
                <a:cubicBezTo>
                  <a:pt x="14" y="153"/>
                  <a:pt x="14" y="153"/>
                  <a:pt x="14" y="153"/>
                </a:cubicBezTo>
                <a:cubicBezTo>
                  <a:pt x="15" y="152"/>
                  <a:pt x="15" y="150"/>
                  <a:pt x="14" y="149"/>
                </a:cubicBezTo>
                <a:close/>
                <a:moveTo>
                  <a:pt x="51" y="133"/>
                </a:moveTo>
                <a:cubicBezTo>
                  <a:pt x="116" y="68"/>
                  <a:pt x="116" y="68"/>
                  <a:pt x="116" y="68"/>
                </a:cubicBezTo>
                <a:cubicBezTo>
                  <a:pt x="117" y="67"/>
                  <a:pt x="117" y="65"/>
                  <a:pt x="116" y="64"/>
                </a:cubicBezTo>
                <a:cubicBezTo>
                  <a:pt x="114" y="63"/>
                  <a:pt x="113" y="63"/>
                  <a:pt x="111" y="64"/>
                </a:cubicBezTo>
                <a:cubicBezTo>
                  <a:pt x="47" y="129"/>
                  <a:pt x="47" y="129"/>
                  <a:pt x="47" y="129"/>
                </a:cubicBezTo>
                <a:cubicBezTo>
                  <a:pt x="33" y="130"/>
                  <a:pt x="33" y="130"/>
                  <a:pt x="33" y="130"/>
                </a:cubicBezTo>
                <a:cubicBezTo>
                  <a:pt x="34" y="116"/>
                  <a:pt x="34" y="116"/>
                  <a:pt x="34" y="116"/>
                </a:cubicBezTo>
                <a:cubicBezTo>
                  <a:pt x="99" y="52"/>
                  <a:pt x="99" y="52"/>
                  <a:pt x="99" y="52"/>
                </a:cubicBezTo>
                <a:cubicBezTo>
                  <a:pt x="100" y="50"/>
                  <a:pt x="100" y="49"/>
                  <a:pt x="99" y="47"/>
                </a:cubicBezTo>
                <a:cubicBezTo>
                  <a:pt x="98" y="46"/>
                  <a:pt x="96" y="46"/>
                  <a:pt x="95" y="47"/>
                </a:cubicBezTo>
                <a:cubicBezTo>
                  <a:pt x="30" y="112"/>
                  <a:pt x="30" y="112"/>
                  <a:pt x="30" y="112"/>
                </a:cubicBezTo>
                <a:cubicBezTo>
                  <a:pt x="21" y="113"/>
                  <a:pt x="21" y="113"/>
                  <a:pt x="21" y="113"/>
                </a:cubicBezTo>
                <a:cubicBezTo>
                  <a:pt x="101" y="33"/>
                  <a:pt x="101" y="33"/>
                  <a:pt x="101" y="33"/>
                </a:cubicBezTo>
                <a:cubicBezTo>
                  <a:pt x="130" y="62"/>
                  <a:pt x="130" y="62"/>
                  <a:pt x="130" y="62"/>
                </a:cubicBezTo>
                <a:cubicBezTo>
                  <a:pt x="50" y="142"/>
                  <a:pt x="50" y="142"/>
                  <a:pt x="50" y="142"/>
                </a:cubicBezTo>
                <a:lnTo>
                  <a:pt x="51" y="133"/>
                </a:lnTo>
                <a:close/>
                <a:moveTo>
                  <a:pt x="142" y="50"/>
                </a:moveTo>
                <a:cubicBezTo>
                  <a:pt x="113" y="21"/>
                  <a:pt x="113" y="21"/>
                  <a:pt x="113" y="21"/>
                </a:cubicBezTo>
                <a:cubicBezTo>
                  <a:pt x="118" y="17"/>
                  <a:pt x="118" y="17"/>
                  <a:pt x="118" y="17"/>
                </a:cubicBezTo>
                <a:cubicBezTo>
                  <a:pt x="146" y="45"/>
                  <a:pt x="146" y="45"/>
                  <a:pt x="146" y="45"/>
                </a:cubicBezTo>
                <a:lnTo>
                  <a:pt x="142" y="50"/>
                </a:lnTo>
                <a:close/>
              </a:path>
            </a:pathLst>
          </a:custGeom>
          <a:solidFill>
            <a:srgbClr val="FFFFFF"/>
          </a:solidFill>
          <a:ln>
            <a:noFill/>
          </a:ln>
          <a:scene3d>
            <a:camera prst="perspectiveRelaxed"/>
            <a:lightRig rig="threePt" dir="t"/>
          </a:scene3d>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22222"/>
              </a:solidFill>
              <a:effectLst/>
              <a:uLnTx/>
              <a:uFillTx/>
              <a:latin typeface="Inter"/>
              <a:ea typeface="+mn-ea"/>
              <a:cs typeface="+mn-cs"/>
            </a:endParaRPr>
          </a:p>
        </p:txBody>
      </p:sp>
      <p:sp>
        <p:nvSpPr>
          <p:cNvPr id="34" name="Freeform 8">
            <a:extLst>
              <a:ext uri="{FF2B5EF4-FFF2-40B4-BE49-F238E27FC236}">
                <a16:creationId xmlns:a16="http://schemas.microsoft.com/office/drawing/2014/main" id="{C3BF140E-D35A-4845-BBCF-C06C8B110D84}"/>
              </a:ext>
            </a:extLst>
          </p:cNvPr>
          <p:cNvSpPr>
            <a:spLocks/>
          </p:cNvSpPr>
          <p:nvPr/>
        </p:nvSpPr>
        <p:spPr bwMode="auto">
          <a:xfrm>
            <a:off x="9112012" y="3518732"/>
            <a:ext cx="1008433" cy="1677797"/>
          </a:xfrm>
          <a:custGeom>
            <a:avLst/>
            <a:gdLst>
              <a:gd name="T0" fmla="*/ 345 w 345"/>
              <a:gd name="T1" fmla="*/ 574 h 574"/>
              <a:gd name="T2" fmla="*/ 0 w 345"/>
              <a:gd name="T3" fmla="*/ 364 h 574"/>
              <a:gd name="T4" fmla="*/ 0 w 345"/>
              <a:gd name="T5" fmla="*/ 0 h 574"/>
              <a:gd name="T6" fmla="*/ 345 w 345"/>
              <a:gd name="T7" fmla="*/ 198 h 574"/>
              <a:gd name="T8" fmla="*/ 345 w 345"/>
              <a:gd name="T9" fmla="*/ 574 h 574"/>
            </a:gdLst>
            <a:ahLst/>
            <a:cxnLst>
              <a:cxn ang="0">
                <a:pos x="T0" y="T1"/>
              </a:cxn>
              <a:cxn ang="0">
                <a:pos x="T2" y="T3"/>
              </a:cxn>
              <a:cxn ang="0">
                <a:pos x="T4" y="T5"/>
              </a:cxn>
              <a:cxn ang="0">
                <a:pos x="T6" y="T7"/>
              </a:cxn>
              <a:cxn ang="0">
                <a:pos x="T8" y="T9"/>
              </a:cxn>
            </a:cxnLst>
            <a:rect l="0" t="0" r="r" b="b"/>
            <a:pathLst>
              <a:path w="345" h="574">
                <a:moveTo>
                  <a:pt x="345" y="574"/>
                </a:moveTo>
                <a:lnTo>
                  <a:pt x="0" y="364"/>
                </a:lnTo>
                <a:lnTo>
                  <a:pt x="0" y="0"/>
                </a:lnTo>
                <a:lnTo>
                  <a:pt x="345" y="198"/>
                </a:lnTo>
                <a:lnTo>
                  <a:pt x="345" y="574"/>
                </a:lnTo>
                <a:close/>
              </a:path>
            </a:pathLst>
          </a:custGeom>
          <a:gradFill flip="none" rotWithShape="1">
            <a:gsLst>
              <a:gs pos="24000">
                <a:schemeClr val="accent1"/>
              </a:gs>
              <a:gs pos="100000">
                <a:schemeClr val="accent1">
                  <a:lumMod val="60000"/>
                  <a:lumOff val="40000"/>
                </a:schemeClr>
              </a:gs>
            </a:gsLst>
            <a:lin ang="1350000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22222"/>
              </a:solidFill>
              <a:effectLst/>
              <a:uLnTx/>
              <a:uFillTx/>
              <a:latin typeface="Inter"/>
              <a:ea typeface="+mn-ea"/>
              <a:cs typeface="+mn-cs"/>
            </a:endParaRPr>
          </a:p>
        </p:txBody>
      </p:sp>
      <p:sp>
        <p:nvSpPr>
          <p:cNvPr id="35" name="Freeform 9">
            <a:extLst>
              <a:ext uri="{FF2B5EF4-FFF2-40B4-BE49-F238E27FC236}">
                <a16:creationId xmlns:a16="http://schemas.microsoft.com/office/drawing/2014/main" id="{FCD42058-02D6-4E41-B092-E3722F4F371F}"/>
              </a:ext>
            </a:extLst>
          </p:cNvPr>
          <p:cNvSpPr>
            <a:spLocks/>
          </p:cNvSpPr>
          <p:nvPr/>
        </p:nvSpPr>
        <p:spPr bwMode="auto">
          <a:xfrm>
            <a:off x="10120445" y="3518732"/>
            <a:ext cx="1014280" cy="1677797"/>
          </a:xfrm>
          <a:custGeom>
            <a:avLst/>
            <a:gdLst>
              <a:gd name="T0" fmla="*/ 0 w 347"/>
              <a:gd name="T1" fmla="*/ 574 h 574"/>
              <a:gd name="T2" fmla="*/ 347 w 347"/>
              <a:gd name="T3" fmla="*/ 364 h 574"/>
              <a:gd name="T4" fmla="*/ 347 w 347"/>
              <a:gd name="T5" fmla="*/ 0 h 574"/>
              <a:gd name="T6" fmla="*/ 0 w 347"/>
              <a:gd name="T7" fmla="*/ 198 h 574"/>
              <a:gd name="T8" fmla="*/ 0 w 347"/>
              <a:gd name="T9" fmla="*/ 574 h 574"/>
            </a:gdLst>
            <a:ahLst/>
            <a:cxnLst>
              <a:cxn ang="0">
                <a:pos x="T0" y="T1"/>
              </a:cxn>
              <a:cxn ang="0">
                <a:pos x="T2" y="T3"/>
              </a:cxn>
              <a:cxn ang="0">
                <a:pos x="T4" y="T5"/>
              </a:cxn>
              <a:cxn ang="0">
                <a:pos x="T6" y="T7"/>
              </a:cxn>
              <a:cxn ang="0">
                <a:pos x="T8" y="T9"/>
              </a:cxn>
            </a:cxnLst>
            <a:rect l="0" t="0" r="r" b="b"/>
            <a:pathLst>
              <a:path w="347" h="574">
                <a:moveTo>
                  <a:pt x="0" y="574"/>
                </a:moveTo>
                <a:lnTo>
                  <a:pt x="347" y="364"/>
                </a:lnTo>
                <a:lnTo>
                  <a:pt x="347" y="0"/>
                </a:lnTo>
                <a:lnTo>
                  <a:pt x="0" y="198"/>
                </a:lnTo>
                <a:lnTo>
                  <a:pt x="0" y="574"/>
                </a:lnTo>
                <a:close/>
              </a:path>
            </a:pathLst>
          </a:custGeom>
          <a:gradFill flip="none" rotWithShape="1">
            <a:gsLst>
              <a:gs pos="0">
                <a:schemeClr val="accent1"/>
              </a:gs>
              <a:gs pos="92000">
                <a:schemeClr val="accent1">
                  <a:lumMod val="60000"/>
                  <a:lumOff val="40000"/>
                </a:schemeClr>
              </a:gs>
            </a:gsLst>
            <a:lin ang="1350000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22222"/>
              </a:solidFill>
              <a:effectLst/>
              <a:uLnTx/>
              <a:uFillTx/>
              <a:latin typeface="Inter"/>
              <a:cs typeface="+mn-cs"/>
            </a:endParaRPr>
          </a:p>
        </p:txBody>
      </p:sp>
      <p:sp>
        <p:nvSpPr>
          <p:cNvPr id="36" name="Freeform 10">
            <a:extLst>
              <a:ext uri="{FF2B5EF4-FFF2-40B4-BE49-F238E27FC236}">
                <a16:creationId xmlns:a16="http://schemas.microsoft.com/office/drawing/2014/main" id="{86CEA33A-3D37-4DFF-B10F-0E78CD906145}"/>
              </a:ext>
            </a:extLst>
          </p:cNvPr>
          <p:cNvSpPr>
            <a:spLocks/>
          </p:cNvSpPr>
          <p:nvPr/>
        </p:nvSpPr>
        <p:spPr bwMode="auto">
          <a:xfrm>
            <a:off x="9112012" y="2928288"/>
            <a:ext cx="2022712" cy="1169197"/>
          </a:xfrm>
          <a:custGeom>
            <a:avLst/>
            <a:gdLst>
              <a:gd name="T0" fmla="*/ 345 w 692"/>
              <a:gd name="T1" fmla="*/ 0 h 400"/>
              <a:gd name="T2" fmla="*/ 0 w 692"/>
              <a:gd name="T3" fmla="*/ 202 h 400"/>
              <a:gd name="T4" fmla="*/ 345 w 692"/>
              <a:gd name="T5" fmla="*/ 400 h 400"/>
              <a:gd name="T6" fmla="*/ 692 w 692"/>
              <a:gd name="T7" fmla="*/ 202 h 400"/>
              <a:gd name="T8" fmla="*/ 345 w 692"/>
              <a:gd name="T9" fmla="*/ 0 h 400"/>
            </a:gdLst>
            <a:ahLst/>
            <a:cxnLst>
              <a:cxn ang="0">
                <a:pos x="T0" y="T1"/>
              </a:cxn>
              <a:cxn ang="0">
                <a:pos x="T2" y="T3"/>
              </a:cxn>
              <a:cxn ang="0">
                <a:pos x="T4" y="T5"/>
              </a:cxn>
              <a:cxn ang="0">
                <a:pos x="T6" y="T7"/>
              </a:cxn>
              <a:cxn ang="0">
                <a:pos x="T8" y="T9"/>
              </a:cxn>
            </a:cxnLst>
            <a:rect l="0" t="0" r="r" b="b"/>
            <a:pathLst>
              <a:path w="692" h="400">
                <a:moveTo>
                  <a:pt x="345" y="0"/>
                </a:moveTo>
                <a:lnTo>
                  <a:pt x="0" y="202"/>
                </a:lnTo>
                <a:lnTo>
                  <a:pt x="345" y="400"/>
                </a:lnTo>
                <a:lnTo>
                  <a:pt x="692" y="202"/>
                </a:lnTo>
                <a:lnTo>
                  <a:pt x="345" y="0"/>
                </a:lnTo>
                <a:close/>
              </a:path>
            </a:pathLst>
          </a:custGeom>
          <a:gradFill flip="none" rotWithShape="1">
            <a:gsLst>
              <a:gs pos="0">
                <a:schemeClr val="accent1"/>
              </a:gs>
              <a:gs pos="94690">
                <a:schemeClr val="accent1">
                  <a:lumMod val="40000"/>
                  <a:lumOff val="60000"/>
                </a:schemeClr>
              </a:gs>
              <a:gs pos="50000">
                <a:schemeClr val="accent1">
                  <a:lumMod val="60000"/>
                  <a:lumOff val="40000"/>
                </a:schemeClr>
              </a:gs>
            </a:gsLst>
            <a:lin ang="1350000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22222"/>
              </a:solidFill>
              <a:effectLst/>
              <a:uLnTx/>
              <a:uFillTx/>
              <a:latin typeface="Inter"/>
              <a:ea typeface="+mn-ea"/>
              <a:cs typeface="+mn-cs"/>
            </a:endParaRPr>
          </a:p>
        </p:txBody>
      </p:sp>
      <p:sp>
        <p:nvSpPr>
          <p:cNvPr id="37" name="Freeform 2123">
            <a:extLst>
              <a:ext uri="{FF2B5EF4-FFF2-40B4-BE49-F238E27FC236}">
                <a16:creationId xmlns:a16="http://schemas.microsoft.com/office/drawing/2014/main" id="{75AE2EF4-CC4B-4BF1-9364-C52010166FD6}"/>
              </a:ext>
            </a:extLst>
          </p:cNvPr>
          <p:cNvSpPr>
            <a:spLocks noEditPoints="1"/>
          </p:cNvSpPr>
          <p:nvPr/>
        </p:nvSpPr>
        <p:spPr bwMode="auto">
          <a:xfrm>
            <a:off x="9921591" y="3283524"/>
            <a:ext cx="456365" cy="496547"/>
          </a:xfrm>
          <a:custGeom>
            <a:avLst/>
            <a:gdLst>
              <a:gd name="T0" fmla="*/ 24 w 148"/>
              <a:gd name="T1" fmla="*/ 74 h 160"/>
              <a:gd name="T2" fmla="*/ 56 w 148"/>
              <a:gd name="T3" fmla="*/ 148 h 160"/>
              <a:gd name="T4" fmla="*/ 62 w 148"/>
              <a:gd name="T5" fmla="*/ 151 h 160"/>
              <a:gd name="T6" fmla="*/ 65 w 148"/>
              <a:gd name="T7" fmla="*/ 160 h 160"/>
              <a:gd name="T8" fmla="*/ 86 w 148"/>
              <a:gd name="T9" fmla="*/ 157 h 160"/>
              <a:gd name="T10" fmla="*/ 89 w 148"/>
              <a:gd name="T11" fmla="*/ 151 h 160"/>
              <a:gd name="T12" fmla="*/ 92 w 148"/>
              <a:gd name="T13" fmla="*/ 121 h 160"/>
              <a:gd name="T14" fmla="*/ 74 w 148"/>
              <a:gd name="T15" fmla="*/ 24 h 160"/>
              <a:gd name="T16" fmla="*/ 80 w 148"/>
              <a:gd name="T17" fmla="*/ 148 h 160"/>
              <a:gd name="T18" fmla="*/ 68 w 148"/>
              <a:gd name="T19" fmla="*/ 154 h 160"/>
              <a:gd name="T20" fmla="*/ 65 w 148"/>
              <a:gd name="T21" fmla="*/ 145 h 160"/>
              <a:gd name="T22" fmla="*/ 62 w 148"/>
              <a:gd name="T23" fmla="*/ 130 h 160"/>
              <a:gd name="T24" fmla="*/ 86 w 148"/>
              <a:gd name="T25" fmla="*/ 145 h 160"/>
              <a:gd name="T26" fmla="*/ 88 w 148"/>
              <a:gd name="T27" fmla="*/ 116 h 160"/>
              <a:gd name="T28" fmla="*/ 86 w 148"/>
              <a:gd name="T29" fmla="*/ 124 h 160"/>
              <a:gd name="T30" fmla="*/ 62 w 148"/>
              <a:gd name="T31" fmla="*/ 119 h 160"/>
              <a:gd name="T32" fmla="*/ 30 w 148"/>
              <a:gd name="T33" fmla="*/ 74 h 160"/>
              <a:gd name="T34" fmla="*/ 119 w 148"/>
              <a:gd name="T35" fmla="*/ 74 h 160"/>
              <a:gd name="T36" fmla="*/ 71 w 148"/>
              <a:gd name="T37" fmla="*/ 15 h 160"/>
              <a:gd name="T38" fmla="*/ 74 w 148"/>
              <a:gd name="T39" fmla="*/ 0 h 160"/>
              <a:gd name="T40" fmla="*/ 77 w 148"/>
              <a:gd name="T41" fmla="*/ 15 h 160"/>
              <a:gd name="T42" fmla="*/ 71 w 148"/>
              <a:gd name="T43" fmla="*/ 15 h 160"/>
              <a:gd name="T44" fmla="*/ 145 w 148"/>
              <a:gd name="T45" fmla="*/ 77 h 160"/>
              <a:gd name="T46" fmla="*/ 130 w 148"/>
              <a:gd name="T47" fmla="*/ 74 h 160"/>
              <a:gd name="T48" fmla="*/ 145 w 148"/>
              <a:gd name="T49" fmla="*/ 71 h 160"/>
              <a:gd name="T50" fmla="*/ 18 w 148"/>
              <a:gd name="T51" fmla="*/ 74 h 160"/>
              <a:gd name="T52" fmla="*/ 3 w 148"/>
              <a:gd name="T53" fmla="*/ 77 h 160"/>
              <a:gd name="T54" fmla="*/ 3 w 148"/>
              <a:gd name="T55" fmla="*/ 71 h 160"/>
              <a:gd name="T56" fmla="*/ 18 w 148"/>
              <a:gd name="T57" fmla="*/ 74 h 160"/>
              <a:gd name="T58" fmla="*/ 126 w 148"/>
              <a:gd name="T59" fmla="*/ 26 h 160"/>
              <a:gd name="T60" fmla="*/ 116 w 148"/>
              <a:gd name="T61" fmla="*/ 35 h 160"/>
              <a:gd name="T62" fmla="*/ 114 w 148"/>
              <a:gd name="T63" fmla="*/ 30 h 160"/>
              <a:gd name="T64" fmla="*/ 126 w 148"/>
              <a:gd name="T65" fmla="*/ 22 h 160"/>
              <a:gd name="T66" fmla="*/ 34 w 148"/>
              <a:gd name="T67" fmla="*/ 118 h 160"/>
              <a:gd name="T68" fmla="*/ 24 w 148"/>
              <a:gd name="T69" fmla="*/ 127 h 160"/>
              <a:gd name="T70" fmla="*/ 22 w 148"/>
              <a:gd name="T71" fmla="*/ 122 h 160"/>
              <a:gd name="T72" fmla="*/ 34 w 148"/>
              <a:gd name="T73" fmla="*/ 114 h 160"/>
              <a:gd name="T74" fmla="*/ 126 w 148"/>
              <a:gd name="T75" fmla="*/ 126 h 160"/>
              <a:gd name="T76" fmla="*/ 122 w 148"/>
              <a:gd name="T77" fmla="*/ 126 h 160"/>
              <a:gd name="T78" fmla="*/ 114 w 148"/>
              <a:gd name="T79" fmla="*/ 114 h 160"/>
              <a:gd name="T80" fmla="*/ 126 w 148"/>
              <a:gd name="T81" fmla="*/ 122 h 160"/>
              <a:gd name="T82" fmla="*/ 22 w 148"/>
              <a:gd name="T83" fmla="*/ 22 h 160"/>
              <a:gd name="T84" fmla="*/ 34 w 148"/>
              <a:gd name="T85" fmla="*/ 30 h 160"/>
              <a:gd name="T86" fmla="*/ 32 w 148"/>
              <a:gd name="T87" fmla="*/ 35 h 160"/>
              <a:gd name="T88" fmla="*/ 22 w 148"/>
              <a:gd name="T89" fmla="*/ 26 h 160"/>
              <a:gd name="T90" fmla="*/ 74 w 148"/>
              <a:gd name="T91" fmla="*/ 44 h 160"/>
              <a:gd name="T92" fmla="*/ 41 w 148"/>
              <a:gd name="T93" fmla="*/ 77 h 160"/>
              <a:gd name="T94" fmla="*/ 74 w 148"/>
              <a:gd name="T95" fmla="*/ 39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48" h="160">
                <a:moveTo>
                  <a:pt x="74" y="24"/>
                </a:moveTo>
                <a:cubicBezTo>
                  <a:pt x="46" y="24"/>
                  <a:pt x="24" y="46"/>
                  <a:pt x="24" y="74"/>
                </a:cubicBezTo>
                <a:cubicBezTo>
                  <a:pt x="24" y="95"/>
                  <a:pt x="37" y="114"/>
                  <a:pt x="56" y="121"/>
                </a:cubicBezTo>
                <a:cubicBezTo>
                  <a:pt x="56" y="148"/>
                  <a:pt x="56" y="148"/>
                  <a:pt x="56" y="148"/>
                </a:cubicBezTo>
                <a:cubicBezTo>
                  <a:pt x="56" y="150"/>
                  <a:pt x="58" y="151"/>
                  <a:pt x="59" y="151"/>
                </a:cubicBezTo>
                <a:cubicBezTo>
                  <a:pt x="62" y="151"/>
                  <a:pt x="62" y="151"/>
                  <a:pt x="62" y="151"/>
                </a:cubicBezTo>
                <a:cubicBezTo>
                  <a:pt x="62" y="157"/>
                  <a:pt x="62" y="157"/>
                  <a:pt x="62" y="157"/>
                </a:cubicBezTo>
                <a:cubicBezTo>
                  <a:pt x="62" y="159"/>
                  <a:pt x="64" y="160"/>
                  <a:pt x="65" y="160"/>
                </a:cubicBezTo>
                <a:cubicBezTo>
                  <a:pt x="83" y="160"/>
                  <a:pt x="83" y="160"/>
                  <a:pt x="83" y="160"/>
                </a:cubicBezTo>
                <a:cubicBezTo>
                  <a:pt x="85" y="160"/>
                  <a:pt x="86" y="159"/>
                  <a:pt x="86" y="157"/>
                </a:cubicBezTo>
                <a:cubicBezTo>
                  <a:pt x="86" y="151"/>
                  <a:pt x="86" y="151"/>
                  <a:pt x="86" y="151"/>
                </a:cubicBezTo>
                <a:cubicBezTo>
                  <a:pt x="89" y="151"/>
                  <a:pt x="89" y="151"/>
                  <a:pt x="89" y="151"/>
                </a:cubicBezTo>
                <a:cubicBezTo>
                  <a:pt x="91" y="151"/>
                  <a:pt x="92" y="150"/>
                  <a:pt x="92" y="148"/>
                </a:cubicBezTo>
                <a:cubicBezTo>
                  <a:pt x="92" y="121"/>
                  <a:pt x="92" y="121"/>
                  <a:pt x="92" y="121"/>
                </a:cubicBezTo>
                <a:cubicBezTo>
                  <a:pt x="111" y="114"/>
                  <a:pt x="124" y="95"/>
                  <a:pt x="124" y="74"/>
                </a:cubicBezTo>
                <a:cubicBezTo>
                  <a:pt x="124" y="46"/>
                  <a:pt x="102" y="24"/>
                  <a:pt x="74" y="24"/>
                </a:cubicBezTo>
                <a:close/>
                <a:moveTo>
                  <a:pt x="83" y="145"/>
                </a:moveTo>
                <a:cubicBezTo>
                  <a:pt x="81" y="145"/>
                  <a:pt x="80" y="147"/>
                  <a:pt x="80" y="148"/>
                </a:cubicBezTo>
                <a:cubicBezTo>
                  <a:pt x="80" y="154"/>
                  <a:pt x="80" y="154"/>
                  <a:pt x="80" y="154"/>
                </a:cubicBezTo>
                <a:cubicBezTo>
                  <a:pt x="68" y="154"/>
                  <a:pt x="68" y="154"/>
                  <a:pt x="68" y="154"/>
                </a:cubicBezTo>
                <a:cubicBezTo>
                  <a:pt x="68" y="148"/>
                  <a:pt x="68" y="148"/>
                  <a:pt x="68" y="148"/>
                </a:cubicBezTo>
                <a:cubicBezTo>
                  <a:pt x="68" y="147"/>
                  <a:pt x="67" y="145"/>
                  <a:pt x="65" y="145"/>
                </a:cubicBezTo>
                <a:cubicBezTo>
                  <a:pt x="62" y="145"/>
                  <a:pt x="62" y="145"/>
                  <a:pt x="62" y="145"/>
                </a:cubicBezTo>
                <a:cubicBezTo>
                  <a:pt x="62" y="130"/>
                  <a:pt x="62" y="130"/>
                  <a:pt x="62" y="130"/>
                </a:cubicBezTo>
                <a:cubicBezTo>
                  <a:pt x="86" y="130"/>
                  <a:pt x="86" y="130"/>
                  <a:pt x="86" y="130"/>
                </a:cubicBezTo>
                <a:cubicBezTo>
                  <a:pt x="86" y="145"/>
                  <a:pt x="86" y="145"/>
                  <a:pt x="86" y="145"/>
                </a:cubicBezTo>
                <a:lnTo>
                  <a:pt x="83" y="145"/>
                </a:lnTo>
                <a:close/>
                <a:moveTo>
                  <a:pt x="88" y="116"/>
                </a:moveTo>
                <a:cubicBezTo>
                  <a:pt x="87" y="117"/>
                  <a:pt x="86" y="118"/>
                  <a:pt x="86" y="119"/>
                </a:cubicBezTo>
                <a:cubicBezTo>
                  <a:pt x="86" y="124"/>
                  <a:pt x="86" y="124"/>
                  <a:pt x="86" y="124"/>
                </a:cubicBezTo>
                <a:cubicBezTo>
                  <a:pt x="62" y="124"/>
                  <a:pt x="62" y="124"/>
                  <a:pt x="62" y="124"/>
                </a:cubicBezTo>
                <a:cubicBezTo>
                  <a:pt x="62" y="119"/>
                  <a:pt x="62" y="119"/>
                  <a:pt x="62" y="119"/>
                </a:cubicBezTo>
                <a:cubicBezTo>
                  <a:pt x="62" y="118"/>
                  <a:pt x="61" y="117"/>
                  <a:pt x="60" y="116"/>
                </a:cubicBezTo>
                <a:cubicBezTo>
                  <a:pt x="42" y="110"/>
                  <a:pt x="30" y="93"/>
                  <a:pt x="30" y="74"/>
                </a:cubicBezTo>
                <a:cubicBezTo>
                  <a:pt x="30" y="50"/>
                  <a:pt x="50" y="30"/>
                  <a:pt x="74" y="30"/>
                </a:cubicBezTo>
                <a:cubicBezTo>
                  <a:pt x="99" y="30"/>
                  <a:pt x="119" y="50"/>
                  <a:pt x="119" y="74"/>
                </a:cubicBezTo>
                <a:cubicBezTo>
                  <a:pt x="119" y="93"/>
                  <a:pt x="106" y="110"/>
                  <a:pt x="88" y="116"/>
                </a:cubicBezTo>
                <a:close/>
                <a:moveTo>
                  <a:pt x="71" y="15"/>
                </a:moveTo>
                <a:cubicBezTo>
                  <a:pt x="71" y="3"/>
                  <a:pt x="71" y="3"/>
                  <a:pt x="71" y="3"/>
                </a:cubicBezTo>
                <a:cubicBezTo>
                  <a:pt x="71" y="1"/>
                  <a:pt x="72" y="0"/>
                  <a:pt x="74" y="0"/>
                </a:cubicBezTo>
                <a:cubicBezTo>
                  <a:pt x="76" y="0"/>
                  <a:pt x="77" y="1"/>
                  <a:pt x="77" y="3"/>
                </a:cubicBezTo>
                <a:cubicBezTo>
                  <a:pt x="77" y="15"/>
                  <a:pt x="77" y="15"/>
                  <a:pt x="77" y="15"/>
                </a:cubicBezTo>
                <a:cubicBezTo>
                  <a:pt x="77" y="16"/>
                  <a:pt x="76" y="18"/>
                  <a:pt x="74" y="18"/>
                </a:cubicBezTo>
                <a:cubicBezTo>
                  <a:pt x="72" y="18"/>
                  <a:pt x="71" y="16"/>
                  <a:pt x="71" y="15"/>
                </a:cubicBezTo>
                <a:close/>
                <a:moveTo>
                  <a:pt x="148" y="74"/>
                </a:moveTo>
                <a:cubicBezTo>
                  <a:pt x="148" y="76"/>
                  <a:pt x="147" y="77"/>
                  <a:pt x="145" y="77"/>
                </a:cubicBezTo>
                <a:cubicBezTo>
                  <a:pt x="133" y="77"/>
                  <a:pt x="133" y="77"/>
                  <a:pt x="133" y="77"/>
                </a:cubicBezTo>
                <a:cubicBezTo>
                  <a:pt x="132" y="77"/>
                  <a:pt x="130" y="76"/>
                  <a:pt x="130" y="74"/>
                </a:cubicBezTo>
                <a:cubicBezTo>
                  <a:pt x="130" y="72"/>
                  <a:pt x="132" y="71"/>
                  <a:pt x="133" y="71"/>
                </a:cubicBezTo>
                <a:cubicBezTo>
                  <a:pt x="145" y="71"/>
                  <a:pt x="145" y="71"/>
                  <a:pt x="145" y="71"/>
                </a:cubicBezTo>
                <a:cubicBezTo>
                  <a:pt x="147" y="71"/>
                  <a:pt x="148" y="72"/>
                  <a:pt x="148" y="74"/>
                </a:cubicBezTo>
                <a:close/>
                <a:moveTo>
                  <a:pt x="18" y="74"/>
                </a:moveTo>
                <a:cubicBezTo>
                  <a:pt x="18" y="76"/>
                  <a:pt x="16" y="77"/>
                  <a:pt x="15" y="77"/>
                </a:cubicBezTo>
                <a:cubicBezTo>
                  <a:pt x="3" y="77"/>
                  <a:pt x="3" y="77"/>
                  <a:pt x="3" y="77"/>
                </a:cubicBezTo>
                <a:cubicBezTo>
                  <a:pt x="1" y="77"/>
                  <a:pt x="0" y="76"/>
                  <a:pt x="0" y="74"/>
                </a:cubicBezTo>
                <a:cubicBezTo>
                  <a:pt x="0" y="72"/>
                  <a:pt x="1" y="71"/>
                  <a:pt x="3" y="71"/>
                </a:cubicBezTo>
                <a:cubicBezTo>
                  <a:pt x="15" y="71"/>
                  <a:pt x="15" y="71"/>
                  <a:pt x="15" y="71"/>
                </a:cubicBezTo>
                <a:cubicBezTo>
                  <a:pt x="16" y="71"/>
                  <a:pt x="18" y="72"/>
                  <a:pt x="18" y="74"/>
                </a:cubicBezTo>
                <a:close/>
                <a:moveTo>
                  <a:pt x="126" y="22"/>
                </a:moveTo>
                <a:cubicBezTo>
                  <a:pt x="128" y="23"/>
                  <a:pt x="128" y="25"/>
                  <a:pt x="126" y="26"/>
                </a:cubicBezTo>
                <a:cubicBezTo>
                  <a:pt x="118" y="34"/>
                  <a:pt x="118" y="34"/>
                  <a:pt x="118" y="34"/>
                </a:cubicBezTo>
                <a:cubicBezTo>
                  <a:pt x="117" y="35"/>
                  <a:pt x="117" y="35"/>
                  <a:pt x="116" y="35"/>
                </a:cubicBezTo>
                <a:cubicBezTo>
                  <a:pt x="115" y="35"/>
                  <a:pt x="114" y="35"/>
                  <a:pt x="114" y="34"/>
                </a:cubicBezTo>
                <a:cubicBezTo>
                  <a:pt x="113" y="33"/>
                  <a:pt x="113" y="31"/>
                  <a:pt x="114" y="30"/>
                </a:cubicBezTo>
                <a:cubicBezTo>
                  <a:pt x="122" y="22"/>
                  <a:pt x="122" y="22"/>
                  <a:pt x="122" y="22"/>
                </a:cubicBezTo>
                <a:cubicBezTo>
                  <a:pt x="123" y="21"/>
                  <a:pt x="125" y="21"/>
                  <a:pt x="126" y="22"/>
                </a:cubicBezTo>
                <a:close/>
                <a:moveTo>
                  <a:pt x="34" y="114"/>
                </a:moveTo>
                <a:cubicBezTo>
                  <a:pt x="35" y="115"/>
                  <a:pt x="35" y="117"/>
                  <a:pt x="34" y="118"/>
                </a:cubicBezTo>
                <a:cubicBezTo>
                  <a:pt x="26" y="126"/>
                  <a:pt x="26" y="126"/>
                  <a:pt x="26" y="126"/>
                </a:cubicBezTo>
                <a:cubicBezTo>
                  <a:pt x="25" y="127"/>
                  <a:pt x="25" y="127"/>
                  <a:pt x="24" y="127"/>
                </a:cubicBezTo>
                <a:cubicBezTo>
                  <a:pt x="23" y="127"/>
                  <a:pt x="22" y="127"/>
                  <a:pt x="22" y="126"/>
                </a:cubicBezTo>
                <a:cubicBezTo>
                  <a:pt x="21" y="125"/>
                  <a:pt x="21" y="123"/>
                  <a:pt x="22" y="122"/>
                </a:cubicBezTo>
                <a:cubicBezTo>
                  <a:pt x="30" y="114"/>
                  <a:pt x="30" y="114"/>
                  <a:pt x="30" y="114"/>
                </a:cubicBezTo>
                <a:cubicBezTo>
                  <a:pt x="31" y="113"/>
                  <a:pt x="33" y="113"/>
                  <a:pt x="34" y="114"/>
                </a:cubicBezTo>
                <a:close/>
                <a:moveTo>
                  <a:pt x="126" y="122"/>
                </a:moveTo>
                <a:cubicBezTo>
                  <a:pt x="128" y="123"/>
                  <a:pt x="128" y="125"/>
                  <a:pt x="126" y="126"/>
                </a:cubicBezTo>
                <a:cubicBezTo>
                  <a:pt x="126" y="127"/>
                  <a:pt x="125" y="127"/>
                  <a:pt x="124" y="127"/>
                </a:cubicBezTo>
                <a:cubicBezTo>
                  <a:pt x="124" y="127"/>
                  <a:pt x="123" y="127"/>
                  <a:pt x="122" y="126"/>
                </a:cubicBezTo>
                <a:cubicBezTo>
                  <a:pt x="114" y="118"/>
                  <a:pt x="114" y="118"/>
                  <a:pt x="114" y="118"/>
                </a:cubicBezTo>
                <a:cubicBezTo>
                  <a:pt x="113" y="117"/>
                  <a:pt x="113" y="115"/>
                  <a:pt x="114" y="114"/>
                </a:cubicBezTo>
                <a:cubicBezTo>
                  <a:pt x="115" y="113"/>
                  <a:pt x="117" y="113"/>
                  <a:pt x="118" y="114"/>
                </a:cubicBezTo>
                <a:lnTo>
                  <a:pt x="126" y="122"/>
                </a:lnTo>
                <a:close/>
                <a:moveTo>
                  <a:pt x="22" y="26"/>
                </a:moveTo>
                <a:cubicBezTo>
                  <a:pt x="21" y="25"/>
                  <a:pt x="21" y="23"/>
                  <a:pt x="22" y="22"/>
                </a:cubicBezTo>
                <a:cubicBezTo>
                  <a:pt x="23" y="21"/>
                  <a:pt x="25" y="21"/>
                  <a:pt x="26" y="22"/>
                </a:cubicBezTo>
                <a:cubicBezTo>
                  <a:pt x="34" y="30"/>
                  <a:pt x="34" y="30"/>
                  <a:pt x="34" y="30"/>
                </a:cubicBezTo>
                <a:cubicBezTo>
                  <a:pt x="35" y="31"/>
                  <a:pt x="35" y="33"/>
                  <a:pt x="34" y="34"/>
                </a:cubicBezTo>
                <a:cubicBezTo>
                  <a:pt x="34" y="35"/>
                  <a:pt x="33" y="35"/>
                  <a:pt x="32" y="35"/>
                </a:cubicBezTo>
                <a:cubicBezTo>
                  <a:pt x="31" y="35"/>
                  <a:pt x="31" y="35"/>
                  <a:pt x="30" y="34"/>
                </a:cubicBezTo>
                <a:lnTo>
                  <a:pt x="22" y="26"/>
                </a:lnTo>
                <a:close/>
                <a:moveTo>
                  <a:pt x="77" y="41"/>
                </a:moveTo>
                <a:cubicBezTo>
                  <a:pt x="77" y="43"/>
                  <a:pt x="76" y="44"/>
                  <a:pt x="74" y="44"/>
                </a:cubicBezTo>
                <a:cubicBezTo>
                  <a:pt x="58" y="44"/>
                  <a:pt x="44" y="58"/>
                  <a:pt x="44" y="74"/>
                </a:cubicBezTo>
                <a:cubicBezTo>
                  <a:pt x="44" y="76"/>
                  <a:pt x="43" y="77"/>
                  <a:pt x="41" y="77"/>
                </a:cubicBezTo>
                <a:cubicBezTo>
                  <a:pt x="40" y="77"/>
                  <a:pt x="39" y="76"/>
                  <a:pt x="39" y="74"/>
                </a:cubicBezTo>
                <a:cubicBezTo>
                  <a:pt x="39" y="54"/>
                  <a:pt x="54" y="39"/>
                  <a:pt x="74" y="39"/>
                </a:cubicBezTo>
                <a:cubicBezTo>
                  <a:pt x="76" y="39"/>
                  <a:pt x="77" y="40"/>
                  <a:pt x="77" y="41"/>
                </a:cubicBezTo>
                <a:close/>
              </a:path>
            </a:pathLst>
          </a:custGeom>
          <a:solidFill>
            <a:srgbClr val="FFFFFF"/>
          </a:solidFill>
          <a:ln>
            <a:noFill/>
          </a:ln>
          <a:scene3d>
            <a:camera prst="perspectiveRelaxed"/>
            <a:lightRig rig="threePt" dir="t"/>
          </a:scene3d>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22222"/>
              </a:solidFill>
              <a:effectLst/>
              <a:uLnTx/>
              <a:uFillTx/>
              <a:latin typeface="Inter"/>
              <a:ea typeface="+mn-ea"/>
              <a:cs typeface="+mn-cs"/>
            </a:endParaRPr>
          </a:p>
        </p:txBody>
      </p:sp>
      <p:sp>
        <p:nvSpPr>
          <p:cNvPr id="40" name="TextBox 26">
            <a:extLst>
              <a:ext uri="{FF2B5EF4-FFF2-40B4-BE49-F238E27FC236}">
                <a16:creationId xmlns:a16="http://schemas.microsoft.com/office/drawing/2014/main" id="{B60AB71E-F053-4E52-B0B9-49FEB51C216B}"/>
              </a:ext>
            </a:extLst>
          </p:cNvPr>
          <p:cNvSpPr txBox="1"/>
          <p:nvPr/>
        </p:nvSpPr>
        <p:spPr>
          <a:xfrm>
            <a:off x="1055689" y="5731861"/>
            <a:ext cx="1296319" cy="416067"/>
          </a:xfrm>
          <a:prstGeom prst="rect">
            <a:avLst/>
          </a:prstGeom>
          <a:noFill/>
        </p:spPr>
        <p:txBody>
          <a:bodyPr wrap="square" lIns="0" tIns="36000" rIns="0" bIns="36000" rtlCol="0">
            <a:spAutoFit/>
          </a:bodyPr>
          <a:lstStyle/>
          <a:p>
            <a:pPr marL="0" marR="0" lvl="0" indent="0" algn="l" defTabSz="914400" rtl="0" eaLnBrk="1" fontAlgn="auto" latinLnBrk="0" hangingPunct="1">
              <a:lnSpc>
                <a:spcPct val="130000"/>
              </a:lnSpc>
              <a:spcBef>
                <a:spcPts val="1000"/>
              </a:spcBef>
              <a:spcAft>
                <a:spcPts val="0"/>
              </a:spcAft>
              <a:buClrTx/>
              <a:buSzTx/>
              <a:buFontTx/>
              <a:buNone/>
              <a:tabLst/>
              <a:defRPr/>
            </a:pPr>
            <a:r>
              <a:rPr kumimoji="0" lang="en-US" sz="900" b="0" i="0" u="none" strike="noStrike" kern="1200" cap="none" spc="0" normalizeH="0" baseline="0" noProof="0" dirty="0">
                <a:ln>
                  <a:noFill/>
                </a:ln>
                <a:solidFill>
                  <a:prstClr val="black">
                    <a:lumMod val="50000"/>
                    <a:lumOff val="50000"/>
                  </a:prstClr>
                </a:solidFill>
                <a:effectLst/>
                <a:uLnTx/>
                <a:uFillTx/>
                <a:latin typeface="HarmonyOS Sans SC"/>
                <a:cs typeface="+mn-cs"/>
              </a:rPr>
              <a:t>A peep at some distant orb has power.</a:t>
            </a:r>
          </a:p>
        </p:txBody>
      </p:sp>
      <p:sp>
        <p:nvSpPr>
          <p:cNvPr id="41" name="TextBox 27">
            <a:extLst>
              <a:ext uri="{FF2B5EF4-FFF2-40B4-BE49-F238E27FC236}">
                <a16:creationId xmlns:a16="http://schemas.microsoft.com/office/drawing/2014/main" id="{8FD4224A-47C3-4A68-961F-4C131A27CE20}"/>
              </a:ext>
            </a:extLst>
          </p:cNvPr>
          <p:cNvSpPr txBox="1"/>
          <p:nvPr/>
        </p:nvSpPr>
        <p:spPr>
          <a:xfrm>
            <a:off x="1055688" y="5369364"/>
            <a:ext cx="1758283" cy="288147"/>
          </a:xfrm>
          <a:prstGeom prst="rect">
            <a:avLst/>
          </a:prstGeom>
          <a:noFill/>
        </p:spPr>
        <p:txBody>
          <a:bodyPr wrap="square" lIns="0" tIns="36000" rIns="0" bIns="36000" rtlCol="0">
            <a:spAutoFit/>
          </a:bodyPr>
          <a:lstStyle/>
          <a:p>
            <a:pPr marL="0" marR="0" lvl="0" indent="0" algn="l" defTabSz="914400" rtl="0" eaLnBrk="1" fontAlgn="auto" latinLnBrk="0" hangingPunct="1">
              <a:lnSpc>
                <a:spcPct val="100000"/>
              </a:lnSpc>
              <a:spcBef>
                <a:spcPts val="1000"/>
              </a:spcBef>
              <a:spcAft>
                <a:spcPts val="0"/>
              </a:spcAft>
              <a:buClrTx/>
              <a:buSzTx/>
              <a:buFontTx/>
              <a:buNone/>
              <a:tabLst/>
              <a:defRPr/>
            </a:pPr>
            <a:r>
              <a:rPr kumimoji="0" lang="en-US" sz="1400" b="1" i="0" u="none" strike="noStrike" kern="1200" cap="none" spc="0" normalizeH="0" baseline="0" noProof="0" dirty="0">
                <a:ln>
                  <a:noFill/>
                </a:ln>
                <a:solidFill>
                  <a:prstClr val="black">
                    <a:lumMod val="75000"/>
                    <a:lumOff val="25000"/>
                  </a:prstClr>
                </a:solidFill>
                <a:effectLst/>
                <a:uLnTx/>
                <a:uFillTx/>
                <a:latin typeface="HarmonyOS Sans SC Black"/>
                <a:ea typeface="+mj-ea"/>
                <a:cs typeface="+mn-cs"/>
              </a:rPr>
              <a:t>Block</a:t>
            </a:r>
          </a:p>
        </p:txBody>
      </p:sp>
      <p:sp>
        <p:nvSpPr>
          <p:cNvPr id="42" name="TextBox 26">
            <a:extLst>
              <a:ext uri="{FF2B5EF4-FFF2-40B4-BE49-F238E27FC236}">
                <a16:creationId xmlns:a16="http://schemas.microsoft.com/office/drawing/2014/main" id="{2A6D4206-A6CF-4D07-A550-5395568BBD9C}"/>
              </a:ext>
            </a:extLst>
          </p:cNvPr>
          <p:cNvSpPr txBox="1"/>
          <p:nvPr/>
        </p:nvSpPr>
        <p:spPr>
          <a:xfrm>
            <a:off x="3069770" y="2329052"/>
            <a:ext cx="1296319" cy="416067"/>
          </a:xfrm>
          <a:prstGeom prst="rect">
            <a:avLst/>
          </a:prstGeom>
          <a:noFill/>
        </p:spPr>
        <p:txBody>
          <a:bodyPr wrap="square" lIns="0" tIns="36000" rIns="0" bIns="36000" rtlCol="0">
            <a:spAutoFit/>
          </a:bodyPr>
          <a:lstStyle/>
          <a:p>
            <a:pPr marL="0" marR="0" lvl="0" indent="0" algn="l" defTabSz="914400" rtl="0" eaLnBrk="1" fontAlgn="auto" latinLnBrk="0" hangingPunct="1">
              <a:lnSpc>
                <a:spcPct val="130000"/>
              </a:lnSpc>
              <a:spcBef>
                <a:spcPts val="1000"/>
              </a:spcBef>
              <a:spcAft>
                <a:spcPts val="0"/>
              </a:spcAft>
              <a:buClrTx/>
              <a:buSzTx/>
              <a:buFontTx/>
              <a:buNone/>
              <a:tabLst/>
              <a:defRPr/>
            </a:pPr>
            <a:r>
              <a:rPr kumimoji="0" lang="en-US" sz="900" b="0" i="0" u="none" strike="noStrike" kern="1200" cap="none" spc="0" normalizeH="0" baseline="0" noProof="0" dirty="0">
                <a:ln>
                  <a:noFill/>
                </a:ln>
                <a:solidFill>
                  <a:prstClr val="black">
                    <a:lumMod val="50000"/>
                    <a:lumOff val="50000"/>
                  </a:prstClr>
                </a:solidFill>
                <a:effectLst/>
                <a:uLnTx/>
                <a:uFillTx/>
                <a:latin typeface="HarmonyOS Sans SC"/>
                <a:cs typeface="+mn-cs"/>
              </a:rPr>
              <a:t>A peep at some distant orb has power.</a:t>
            </a:r>
          </a:p>
        </p:txBody>
      </p:sp>
      <p:sp>
        <p:nvSpPr>
          <p:cNvPr id="43" name="TextBox 27">
            <a:extLst>
              <a:ext uri="{FF2B5EF4-FFF2-40B4-BE49-F238E27FC236}">
                <a16:creationId xmlns:a16="http://schemas.microsoft.com/office/drawing/2014/main" id="{7805B2A1-B73F-400F-BB25-FC332F8EC63C}"/>
              </a:ext>
            </a:extLst>
          </p:cNvPr>
          <p:cNvSpPr txBox="1"/>
          <p:nvPr/>
        </p:nvSpPr>
        <p:spPr>
          <a:xfrm>
            <a:off x="3069769" y="1966555"/>
            <a:ext cx="1758283" cy="288147"/>
          </a:xfrm>
          <a:prstGeom prst="rect">
            <a:avLst/>
          </a:prstGeom>
          <a:noFill/>
        </p:spPr>
        <p:txBody>
          <a:bodyPr wrap="square" lIns="0" tIns="36000" rIns="0" bIns="36000" rtlCol="0">
            <a:spAutoFit/>
          </a:bodyPr>
          <a:lstStyle/>
          <a:p>
            <a:pPr marL="0" marR="0" lvl="0" indent="0" algn="l" defTabSz="914400" rtl="0" eaLnBrk="1" fontAlgn="auto" latinLnBrk="0" hangingPunct="1">
              <a:lnSpc>
                <a:spcPct val="100000"/>
              </a:lnSpc>
              <a:spcBef>
                <a:spcPts val="1000"/>
              </a:spcBef>
              <a:spcAft>
                <a:spcPts val="0"/>
              </a:spcAft>
              <a:buClrTx/>
              <a:buSzTx/>
              <a:buFontTx/>
              <a:buNone/>
              <a:tabLst/>
              <a:defRPr/>
            </a:pPr>
            <a:r>
              <a:rPr kumimoji="0" lang="en-US" sz="1400" b="1" i="0" u="none" strike="noStrike" kern="1200" cap="none" spc="0" normalizeH="0" baseline="0" noProof="0" dirty="0">
                <a:ln>
                  <a:noFill/>
                </a:ln>
                <a:solidFill>
                  <a:prstClr val="black">
                    <a:lumMod val="75000"/>
                    <a:lumOff val="25000"/>
                  </a:prstClr>
                </a:solidFill>
                <a:effectLst/>
                <a:uLnTx/>
                <a:uFillTx/>
                <a:latin typeface="HarmonyOS Sans SC Black"/>
                <a:ea typeface="+mj-ea"/>
                <a:cs typeface="+mn-cs"/>
              </a:rPr>
              <a:t>Node</a:t>
            </a:r>
          </a:p>
        </p:txBody>
      </p:sp>
      <p:sp>
        <p:nvSpPr>
          <p:cNvPr id="44" name="TextBox 26">
            <a:extLst>
              <a:ext uri="{FF2B5EF4-FFF2-40B4-BE49-F238E27FC236}">
                <a16:creationId xmlns:a16="http://schemas.microsoft.com/office/drawing/2014/main" id="{B9DAE4A8-FE9C-4EC6-BCD8-A9BF9B867A11}"/>
              </a:ext>
            </a:extLst>
          </p:cNvPr>
          <p:cNvSpPr txBox="1"/>
          <p:nvPr/>
        </p:nvSpPr>
        <p:spPr>
          <a:xfrm>
            <a:off x="5083851" y="5731861"/>
            <a:ext cx="1296319" cy="416067"/>
          </a:xfrm>
          <a:prstGeom prst="rect">
            <a:avLst/>
          </a:prstGeom>
          <a:noFill/>
        </p:spPr>
        <p:txBody>
          <a:bodyPr wrap="square" lIns="0" tIns="36000" rIns="0" bIns="36000" rtlCol="0">
            <a:spAutoFit/>
          </a:bodyPr>
          <a:lstStyle/>
          <a:p>
            <a:pPr marL="0" marR="0" lvl="0" indent="0" algn="l" defTabSz="914400" rtl="0" eaLnBrk="1" fontAlgn="auto" latinLnBrk="0" hangingPunct="1">
              <a:lnSpc>
                <a:spcPct val="130000"/>
              </a:lnSpc>
              <a:spcBef>
                <a:spcPts val="1000"/>
              </a:spcBef>
              <a:spcAft>
                <a:spcPts val="0"/>
              </a:spcAft>
              <a:buClrTx/>
              <a:buSzTx/>
              <a:buFontTx/>
              <a:buNone/>
              <a:tabLst/>
              <a:defRPr/>
            </a:pPr>
            <a:r>
              <a:rPr kumimoji="0" lang="en-US" sz="900" b="0" i="0" u="none" strike="noStrike" kern="1200" cap="none" spc="0" normalizeH="0" baseline="0" noProof="0" dirty="0">
                <a:ln>
                  <a:noFill/>
                </a:ln>
                <a:solidFill>
                  <a:prstClr val="black">
                    <a:lumMod val="50000"/>
                    <a:lumOff val="50000"/>
                  </a:prstClr>
                </a:solidFill>
                <a:effectLst/>
                <a:uLnTx/>
                <a:uFillTx/>
                <a:latin typeface="HarmonyOS Sans SC"/>
                <a:cs typeface="+mn-cs"/>
              </a:rPr>
              <a:t>A peep at some distant orb has power.</a:t>
            </a:r>
          </a:p>
        </p:txBody>
      </p:sp>
      <p:sp>
        <p:nvSpPr>
          <p:cNvPr id="45" name="TextBox 27">
            <a:extLst>
              <a:ext uri="{FF2B5EF4-FFF2-40B4-BE49-F238E27FC236}">
                <a16:creationId xmlns:a16="http://schemas.microsoft.com/office/drawing/2014/main" id="{D4017AB4-0949-4DA2-A4F8-F3E323AC8653}"/>
              </a:ext>
            </a:extLst>
          </p:cNvPr>
          <p:cNvSpPr txBox="1"/>
          <p:nvPr/>
        </p:nvSpPr>
        <p:spPr>
          <a:xfrm>
            <a:off x="5083850" y="5369364"/>
            <a:ext cx="1758283" cy="288147"/>
          </a:xfrm>
          <a:prstGeom prst="rect">
            <a:avLst/>
          </a:prstGeom>
          <a:noFill/>
        </p:spPr>
        <p:txBody>
          <a:bodyPr wrap="square" lIns="0" tIns="36000" rIns="0" bIns="36000" rtlCol="0">
            <a:spAutoFit/>
          </a:bodyPr>
          <a:lstStyle/>
          <a:p>
            <a:pPr marL="0" marR="0" lvl="0" indent="0" algn="l" defTabSz="914400" rtl="0" eaLnBrk="1" fontAlgn="auto" latinLnBrk="0" hangingPunct="1">
              <a:lnSpc>
                <a:spcPct val="100000"/>
              </a:lnSpc>
              <a:spcBef>
                <a:spcPts val="1000"/>
              </a:spcBef>
              <a:spcAft>
                <a:spcPts val="0"/>
              </a:spcAft>
              <a:buClrTx/>
              <a:buSzTx/>
              <a:buFontTx/>
              <a:buNone/>
              <a:tabLst/>
              <a:defRPr/>
            </a:pPr>
            <a:r>
              <a:rPr kumimoji="0" lang="en-US" sz="1400" b="1" i="0" u="none" strike="noStrike" kern="1200" cap="none" spc="0" normalizeH="0" baseline="0" noProof="0" dirty="0">
                <a:ln>
                  <a:noFill/>
                </a:ln>
                <a:solidFill>
                  <a:prstClr val="black">
                    <a:lumMod val="75000"/>
                    <a:lumOff val="25000"/>
                  </a:prstClr>
                </a:solidFill>
                <a:effectLst/>
                <a:uLnTx/>
                <a:uFillTx/>
                <a:latin typeface="HarmonyOS Sans SC Black"/>
                <a:ea typeface="+mj-ea"/>
                <a:cs typeface="+mn-cs"/>
              </a:rPr>
              <a:t>Reward</a:t>
            </a:r>
          </a:p>
        </p:txBody>
      </p:sp>
      <p:sp>
        <p:nvSpPr>
          <p:cNvPr id="46" name="TextBox 26">
            <a:extLst>
              <a:ext uri="{FF2B5EF4-FFF2-40B4-BE49-F238E27FC236}">
                <a16:creationId xmlns:a16="http://schemas.microsoft.com/office/drawing/2014/main" id="{8A4E4A8E-F139-4ADE-AF84-D9395E30A984}"/>
              </a:ext>
            </a:extLst>
          </p:cNvPr>
          <p:cNvSpPr txBox="1"/>
          <p:nvPr/>
        </p:nvSpPr>
        <p:spPr>
          <a:xfrm>
            <a:off x="7097932" y="2329052"/>
            <a:ext cx="1296319" cy="416067"/>
          </a:xfrm>
          <a:prstGeom prst="rect">
            <a:avLst/>
          </a:prstGeom>
          <a:noFill/>
        </p:spPr>
        <p:txBody>
          <a:bodyPr wrap="square" lIns="0" tIns="36000" rIns="0" bIns="36000" rtlCol="0">
            <a:spAutoFit/>
          </a:bodyPr>
          <a:lstStyle/>
          <a:p>
            <a:pPr marL="0" marR="0" lvl="0" indent="0" algn="l" defTabSz="914400" rtl="0" eaLnBrk="1" fontAlgn="auto" latinLnBrk="0" hangingPunct="1">
              <a:lnSpc>
                <a:spcPct val="130000"/>
              </a:lnSpc>
              <a:spcBef>
                <a:spcPts val="1000"/>
              </a:spcBef>
              <a:spcAft>
                <a:spcPts val="0"/>
              </a:spcAft>
              <a:buClrTx/>
              <a:buSzTx/>
              <a:buFontTx/>
              <a:buNone/>
              <a:tabLst/>
              <a:defRPr/>
            </a:pPr>
            <a:r>
              <a:rPr kumimoji="0" lang="en-US" sz="900" b="0" i="0" u="none" strike="noStrike" kern="1200" cap="none" spc="0" normalizeH="0" baseline="0" noProof="0" dirty="0">
                <a:ln>
                  <a:noFill/>
                </a:ln>
                <a:solidFill>
                  <a:prstClr val="black">
                    <a:lumMod val="50000"/>
                    <a:lumOff val="50000"/>
                  </a:prstClr>
                </a:solidFill>
                <a:effectLst/>
                <a:uLnTx/>
                <a:uFillTx/>
                <a:latin typeface="HarmonyOS Sans SC"/>
                <a:cs typeface="+mn-cs"/>
              </a:rPr>
              <a:t>A peep at some distant orb has power.</a:t>
            </a:r>
          </a:p>
        </p:txBody>
      </p:sp>
      <p:sp>
        <p:nvSpPr>
          <p:cNvPr id="47" name="TextBox 27">
            <a:extLst>
              <a:ext uri="{FF2B5EF4-FFF2-40B4-BE49-F238E27FC236}">
                <a16:creationId xmlns:a16="http://schemas.microsoft.com/office/drawing/2014/main" id="{B12D4916-C73F-4546-92AA-92AF099CA0FD}"/>
              </a:ext>
            </a:extLst>
          </p:cNvPr>
          <p:cNvSpPr txBox="1"/>
          <p:nvPr/>
        </p:nvSpPr>
        <p:spPr>
          <a:xfrm>
            <a:off x="7097931" y="1966555"/>
            <a:ext cx="1758283" cy="288147"/>
          </a:xfrm>
          <a:prstGeom prst="rect">
            <a:avLst/>
          </a:prstGeom>
          <a:noFill/>
        </p:spPr>
        <p:txBody>
          <a:bodyPr wrap="square" lIns="0" tIns="36000" rIns="0" bIns="36000" rtlCol="0">
            <a:spAutoFit/>
          </a:bodyPr>
          <a:lstStyle/>
          <a:p>
            <a:pPr marL="0" marR="0" lvl="0" indent="0" algn="l" defTabSz="914400" rtl="0" eaLnBrk="1" fontAlgn="auto" latinLnBrk="0" hangingPunct="1">
              <a:lnSpc>
                <a:spcPct val="100000"/>
              </a:lnSpc>
              <a:spcBef>
                <a:spcPts val="1000"/>
              </a:spcBef>
              <a:spcAft>
                <a:spcPts val="0"/>
              </a:spcAft>
              <a:buClrTx/>
              <a:buSzTx/>
              <a:buFontTx/>
              <a:buNone/>
              <a:tabLst/>
              <a:defRPr/>
            </a:pPr>
            <a:r>
              <a:rPr kumimoji="0" lang="en-US" sz="1400" b="1" i="0" u="none" strike="noStrike" kern="1200" cap="none" spc="0" normalizeH="0" baseline="0" noProof="0" dirty="0">
                <a:ln>
                  <a:noFill/>
                </a:ln>
                <a:solidFill>
                  <a:prstClr val="black">
                    <a:lumMod val="75000"/>
                    <a:lumOff val="25000"/>
                  </a:prstClr>
                </a:solidFill>
                <a:effectLst/>
                <a:uLnTx/>
                <a:uFillTx/>
                <a:latin typeface="HarmonyOS Sans SC Black"/>
                <a:ea typeface="+mj-ea"/>
                <a:cs typeface="+mn-cs"/>
              </a:rPr>
              <a:t>Confirmation</a:t>
            </a:r>
          </a:p>
        </p:txBody>
      </p:sp>
      <p:sp>
        <p:nvSpPr>
          <p:cNvPr id="48" name="TextBox 26">
            <a:extLst>
              <a:ext uri="{FF2B5EF4-FFF2-40B4-BE49-F238E27FC236}">
                <a16:creationId xmlns:a16="http://schemas.microsoft.com/office/drawing/2014/main" id="{5569A1A6-3717-402C-A49F-8591C433D0BC}"/>
              </a:ext>
            </a:extLst>
          </p:cNvPr>
          <p:cNvSpPr txBox="1"/>
          <p:nvPr/>
        </p:nvSpPr>
        <p:spPr>
          <a:xfrm>
            <a:off x="9112013" y="5731861"/>
            <a:ext cx="1296319" cy="416067"/>
          </a:xfrm>
          <a:prstGeom prst="rect">
            <a:avLst/>
          </a:prstGeom>
          <a:noFill/>
        </p:spPr>
        <p:txBody>
          <a:bodyPr wrap="square" lIns="0" tIns="36000" rIns="0" bIns="36000" rtlCol="0">
            <a:spAutoFit/>
          </a:bodyPr>
          <a:lstStyle/>
          <a:p>
            <a:pPr marL="0" marR="0" lvl="0" indent="0" algn="l" defTabSz="914400" rtl="0" eaLnBrk="1" fontAlgn="auto" latinLnBrk="0" hangingPunct="1">
              <a:lnSpc>
                <a:spcPct val="130000"/>
              </a:lnSpc>
              <a:spcBef>
                <a:spcPts val="1000"/>
              </a:spcBef>
              <a:spcAft>
                <a:spcPts val="0"/>
              </a:spcAft>
              <a:buClrTx/>
              <a:buSzTx/>
              <a:buFontTx/>
              <a:buNone/>
              <a:tabLst/>
              <a:defRPr/>
            </a:pPr>
            <a:r>
              <a:rPr kumimoji="0" lang="en-US" sz="900" b="0" i="0" u="none" strike="noStrike" kern="1200" cap="none" spc="0" normalizeH="0" baseline="0" noProof="0" dirty="0">
                <a:ln>
                  <a:noFill/>
                </a:ln>
                <a:solidFill>
                  <a:prstClr val="black">
                    <a:lumMod val="50000"/>
                    <a:lumOff val="50000"/>
                  </a:prstClr>
                </a:solidFill>
                <a:effectLst/>
                <a:uLnTx/>
                <a:uFillTx/>
                <a:latin typeface="HarmonyOS Sans SC"/>
                <a:cs typeface="+mn-cs"/>
              </a:rPr>
              <a:t>A peep at some distant orb has power.</a:t>
            </a:r>
          </a:p>
        </p:txBody>
      </p:sp>
      <p:sp>
        <p:nvSpPr>
          <p:cNvPr id="49" name="TextBox 27">
            <a:extLst>
              <a:ext uri="{FF2B5EF4-FFF2-40B4-BE49-F238E27FC236}">
                <a16:creationId xmlns:a16="http://schemas.microsoft.com/office/drawing/2014/main" id="{D055E458-629A-4B9F-88F9-6C2986D8B38E}"/>
              </a:ext>
            </a:extLst>
          </p:cNvPr>
          <p:cNvSpPr txBox="1"/>
          <p:nvPr/>
        </p:nvSpPr>
        <p:spPr>
          <a:xfrm>
            <a:off x="9112012" y="5369364"/>
            <a:ext cx="1758283" cy="288147"/>
          </a:xfrm>
          <a:prstGeom prst="rect">
            <a:avLst/>
          </a:prstGeom>
          <a:noFill/>
        </p:spPr>
        <p:txBody>
          <a:bodyPr wrap="square" lIns="0" tIns="36000" rIns="0" bIns="36000" rtlCol="0">
            <a:spAutoFit/>
          </a:bodyPr>
          <a:lstStyle/>
          <a:p>
            <a:pPr marL="0" marR="0" lvl="0" indent="0" algn="l" defTabSz="914400" rtl="0" eaLnBrk="1" fontAlgn="auto" latinLnBrk="0" hangingPunct="1">
              <a:lnSpc>
                <a:spcPct val="100000"/>
              </a:lnSpc>
              <a:spcBef>
                <a:spcPts val="1000"/>
              </a:spcBef>
              <a:spcAft>
                <a:spcPts val="0"/>
              </a:spcAft>
              <a:buClrTx/>
              <a:buSzTx/>
              <a:buFontTx/>
              <a:buNone/>
              <a:tabLst/>
              <a:defRPr/>
            </a:pPr>
            <a:r>
              <a:rPr kumimoji="0" lang="en-US" sz="1400" b="1" i="0" u="none" strike="noStrike" kern="1200" cap="none" spc="0" normalizeH="0" baseline="0" noProof="0" dirty="0">
                <a:ln>
                  <a:noFill/>
                </a:ln>
                <a:solidFill>
                  <a:prstClr val="black">
                    <a:lumMod val="75000"/>
                    <a:lumOff val="25000"/>
                  </a:prstClr>
                </a:solidFill>
                <a:effectLst/>
                <a:uLnTx/>
                <a:uFillTx/>
                <a:latin typeface="HarmonyOS Sans SC Black"/>
                <a:ea typeface="+mj-ea"/>
                <a:cs typeface="+mn-cs"/>
              </a:rPr>
              <a:t>Total</a:t>
            </a:r>
          </a:p>
        </p:txBody>
      </p:sp>
    </p:spTree>
    <p:extLst>
      <p:ext uri="{BB962C8B-B14F-4D97-AF65-F5344CB8AC3E}">
        <p14:creationId xmlns:p14="http://schemas.microsoft.com/office/powerpoint/2010/main" val="2744746659"/>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4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Shape 7">
            <a:extLst>
              <a:ext uri="{FF2B5EF4-FFF2-40B4-BE49-F238E27FC236}">
                <a16:creationId xmlns:a16="http://schemas.microsoft.com/office/drawing/2014/main" id="{1200D069-4C93-460B-8882-8114BB1037EC}"/>
              </a:ext>
            </a:extLst>
          </p:cNvPr>
          <p:cNvSpPr>
            <a:spLocks noChangeAspect="1"/>
          </p:cNvSpPr>
          <p:nvPr/>
        </p:nvSpPr>
        <p:spPr>
          <a:xfrm rot="14400000">
            <a:off x="4275804" y="3790970"/>
            <a:ext cx="3075144" cy="1539240"/>
          </a:xfrm>
          <a:custGeom>
            <a:avLst/>
            <a:gdLst>
              <a:gd name="connsiteX0" fmla="*/ 2551297 w 2553868"/>
              <a:gd name="connsiteY0" fmla="*/ 1226015 h 1276933"/>
              <a:gd name="connsiteX1" fmla="*/ 2532113 w 2553868"/>
              <a:gd name="connsiteY1" fmla="*/ 1111685 h 1276933"/>
              <a:gd name="connsiteX2" fmla="*/ 2339583 w 2553868"/>
              <a:gd name="connsiteY2" fmla="*/ 799574 h 1276933"/>
              <a:gd name="connsiteX3" fmla="*/ 2234634 w 2553868"/>
              <a:gd name="connsiteY3" fmla="*/ 724004 h 1276933"/>
              <a:gd name="connsiteX4" fmla="*/ 2234634 w 2553868"/>
              <a:gd name="connsiteY4" fmla="*/ 724004 h 1276933"/>
              <a:gd name="connsiteX5" fmla="*/ 2118271 w 2553868"/>
              <a:gd name="connsiteY5" fmla="*/ 664434 h 1276933"/>
              <a:gd name="connsiteX6" fmla="*/ 490311 w 2553868"/>
              <a:gd name="connsiteY6" fmla="*/ 1191394 h 1276933"/>
              <a:gd name="connsiteX7" fmla="*/ 446522 w 2553868"/>
              <a:gd name="connsiteY7" fmla="*/ 1276933 h 1276933"/>
              <a:gd name="connsiteX8" fmla="*/ 0 w 2553868"/>
              <a:gd name="connsiteY8" fmla="*/ 1276933 h 1276933"/>
              <a:gd name="connsiteX9" fmla="*/ 1276934 w 2553868"/>
              <a:gd name="connsiteY9" fmla="*/ 0 h 1276933"/>
              <a:gd name="connsiteX10" fmla="*/ 2547275 w 2553868"/>
              <a:gd name="connsiteY10" fmla="*/ 1146374 h 1276933"/>
              <a:gd name="connsiteX11" fmla="*/ 2553868 w 2553868"/>
              <a:gd name="connsiteY11" fmla="*/ 1276933 h 1276933"/>
              <a:gd name="connsiteX12" fmla="*/ 2551215 w 2553868"/>
              <a:gd name="connsiteY12" fmla="*/ 1276933 h 1276933"/>
              <a:gd name="connsiteX13" fmla="*/ 2552124 w 2553868"/>
              <a:gd name="connsiteY13" fmla="*/ 1242398 h 12769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53868" h="1276933">
                <a:moveTo>
                  <a:pt x="2551297" y="1226015"/>
                </a:moveTo>
                <a:lnTo>
                  <a:pt x="2532113" y="1111685"/>
                </a:lnTo>
                <a:cubicBezTo>
                  <a:pt x="2500395" y="993312"/>
                  <a:pt x="2434809" y="884014"/>
                  <a:pt x="2339583" y="799574"/>
                </a:cubicBezTo>
                <a:lnTo>
                  <a:pt x="2234634" y="724004"/>
                </a:lnTo>
                <a:lnTo>
                  <a:pt x="2234634" y="724004"/>
                </a:lnTo>
                <a:lnTo>
                  <a:pt x="2118271" y="664434"/>
                </a:lnTo>
                <a:cubicBezTo>
                  <a:pt x="1527940" y="399114"/>
                  <a:pt x="820888" y="618818"/>
                  <a:pt x="490311" y="1191394"/>
                </a:cubicBezTo>
                <a:lnTo>
                  <a:pt x="446522" y="1276933"/>
                </a:lnTo>
                <a:lnTo>
                  <a:pt x="0" y="1276933"/>
                </a:lnTo>
                <a:cubicBezTo>
                  <a:pt x="0" y="571703"/>
                  <a:pt x="571703" y="0"/>
                  <a:pt x="1276934" y="0"/>
                </a:cubicBezTo>
                <a:cubicBezTo>
                  <a:pt x="1938088" y="0"/>
                  <a:pt x="2481883" y="502474"/>
                  <a:pt x="2547275" y="1146374"/>
                </a:cubicBezTo>
                <a:close/>
                <a:moveTo>
                  <a:pt x="2553868" y="1276933"/>
                </a:moveTo>
                <a:lnTo>
                  <a:pt x="2551215" y="1276933"/>
                </a:lnTo>
                <a:lnTo>
                  <a:pt x="2552124" y="1242398"/>
                </a:lnTo>
                <a:close/>
              </a:path>
            </a:pathLst>
          </a:custGeom>
          <a:gradFill flip="none" rotWithShape="1">
            <a:gsLst>
              <a:gs pos="2247">
                <a:schemeClr val="accent1">
                  <a:lumMod val="20000"/>
                  <a:lumOff val="80000"/>
                </a:schemeClr>
              </a:gs>
              <a:gs pos="16854">
                <a:schemeClr val="accent1">
                  <a:lumMod val="40000"/>
                  <a:lumOff val="60000"/>
                </a:schemeClr>
              </a:gs>
              <a:gs pos="52000">
                <a:schemeClr val="accent1">
                  <a:lumMod val="60000"/>
                  <a:lumOff val="40000"/>
                </a:schemeClr>
              </a:gs>
              <a:gs pos="77000">
                <a:schemeClr val="accent1"/>
              </a:gs>
            </a:gsLst>
            <a:lin ang="135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3" name="Freeform: Shape 8">
            <a:extLst>
              <a:ext uri="{FF2B5EF4-FFF2-40B4-BE49-F238E27FC236}">
                <a16:creationId xmlns:a16="http://schemas.microsoft.com/office/drawing/2014/main" id="{62C55A0F-8F57-476E-8192-7275C8F85902}"/>
              </a:ext>
            </a:extLst>
          </p:cNvPr>
          <p:cNvSpPr>
            <a:spLocks noChangeAspect="1"/>
          </p:cNvSpPr>
          <p:nvPr/>
        </p:nvSpPr>
        <p:spPr>
          <a:xfrm rot="10800000">
            <a:off x="5329428" y="3510411"/>
            <a:ext cx="3074507" cy="1537571"/>
          </a:xfrm>
          <a:custGeom>
            <a:avLst/>
            <a:gdLst>
              <a:gd name="connsiteX0" fmla="*/ 2044074 w 2550571"/>
              <a:gd name="connsiteY0" fmla="*/ 651438 h 1276933"/>
              <a:gd name="connsiteX1" fmla="*/ 1927946 w 2550571"/>
              <a:gd name="connsiteY1" fmla="*/ 639731 h 1276933"/>
              <a:gd name="connsiteX2" fmla="*/ 1927946 w 2550571"/>
              <a:gd name="connsiteY2" fmla="*/ 639731 h 1276933"/>
              <a:gd name="connsiteX3" fmla="*/ 446520 w 2550571"/>
              <a:gd name="connsiteY3" fmla="*/ 1276933 h 1276933"/>
              <a:gd name="connsiteX4" fmla="*/ 0 w 2550571"/>
              <a:gd name="connsiteY4" fmla="*/ 1276933 h 1276933"/>
              <a:gd name="connsiteX5" fmla="*/ 1276934 w 2550571"/>
              <a:gd name="connsiteY5" fmla="*/ 0 h 1276933"/>
              <a:gd name="connsiteX6" fmla="*/ 2547274 w 2550571"/>
              <a:gd name="connsiteY6" fmla="*/ 1146375 h 1276933"/>
              <a:gd name="connsiteX7" fmla="*/ 2550571 w 2550571"/>
              <a:gd name="connsiteY7" fmla="*/ 1211653 h 1276933"/>
              <a:gd name="connsiteX8" fmla="*/ 2540896 w 2550571"/>
              <a:gd name="connsiteY8" fmla="*/ 1148260 h 1276933"/>
              <a:gd name="connsiteX9" fmla="*/ 2272374 w 2550571"/>
              <a:gd name="connsiteY9" fmla="*/ 747507 h 1276933"/>
              <a:gd name="connsiteX10" fmla="*/ 2233307 w 2550571"/>
              <a:gd name="connsiteY10" fmla="*/ 726303 h 1276933"/>
              <a:gd name="connsiteX11" fmla="*/ 2234634 w 2550571"/>
              <a:gd name="connsiteY11" fmla="*/ 724005 h 1276933"/>
              <a:gd name="connsiteX12" fmla="*/ 490310 w 2550571"/>
              <a:gd name="connsiteY12" fmla="*/ 1191395 h 1276933"/>
              <a:gd name="connsiteX0" fmla="*/ 2044074 w 2550571"/>
              <a:gd name="connsiteY0" fmla="*/ 651438 h 1276933"/>
              <a:gd name="connsiteX1" fmla="*/ 1927946 w 2550571"/>
              <a:gd name="connsiteY1" fmla="*/ 639731 h 1276933"/>
              <a:gd name="connsiteX2" fmla="*/ 2044074 w 2550571"/>
              <a:gd name="connsiteY2" fmla="*/ 651438 h 1276933"/>
              <a:gd name="connsiteX3" fmla="*/ 446520 w 2550571"/>
              <a:gd name="connsiteY3" fmla="*/ 1276933 h 1276933"/>
              <a:gd name="connsiteX4" fmla="*/ 0 w 2550571"/>
              <a:gd name="connsiteY4" fmla="*/ 1276933 h 1276933"/>
              <a:gd name="connsiteX5" fmla="*/ 1276934 w 2550571"/>
              <a:gd name="connsiteY5" fmla="*/ 0 h 1276933"/>
              <a:gd name="connsiteX6" fmla="*/ 2547274 w 2550571"/>
              <a:gd name="connsiteY6" fmla="*/ 1146375 h 1276933"/>
              <a:gd name="connsiteX7" fmla="*/ 2550571 w 2550571"/>
              <a:gd name="connsiteY7" fmla="*/ 1211653 h 1276933"/>
              <a:gd name="connsiteX8" fmla="*/ 2540896 w 2550571"/>
              <a:gd name="connsiteY8" fmla="*/ 1148260 h 1276933"/>
              <a:gd name="connsiteX9" fmla="*/ 2272374 w 2550571"/>
              <a:gd name="connsiteY9" fmla="*/ 747507 h 1276933"/>
              <a:gd name="connsiteX10" fmla="*/ 2233307 w 2550571"/>
              <a:gd name="connsiteY10" fmla="*/ 726303 h 1276933"/>
              <a:gd name="connsiteX11" fmla="*/ 2234634 w 2550571"/>
              <a:gd name="connsiteY11" fmla="*/ 724005 h 1276933"/>
              <a:gd name="connsiteX12" fmla="*/ 490310 w 2550571"/>
              <a:gd name="connsiteY12" fmla="*/ 1191395 h 1276933"/>
              <a:gd name="connsiteX13" fmla="*/ 446520 w 2550571"/>
              <a:gd name="connsiteY13" fmla="*/ 1276933 h 1276933"/>
              <a:gd name="connsiteX0" fmla="*/ 446520 w 2550571"/>
              <a:gd name="connsiteY0" fmla="*/ 1276933 h 1276933"/>
              <a:gd name="connsiteX1" fmla="*/ 0 w 2550571"/>
              <a:gd name="connsiteY1" fmla="*/ 1276933 h 1276933"/>
              <a:gd name="connsiteX2" fmla="*/ 1276934 w 2550571"/>
              <a:gd name="connsiteY2" fmla="*/ 0 h 1276933"/>
              <a:gd name="connsiteX3" fmla="*/ 2547274 w 2550571"/>
              <a:gd name="connsiteY3" fmla="*/ 1146375 h 1276933"/>
              <a:gd name="connsiteX4" fmla="*/ 2550571 w 2550571"/>
              <a:gd name="connsiteY4" fmla="*/ 1211653 h 1276933"/>
              <a:gd name="connsiteX5" fmla="*/ 2540896 w 2550571"/>
              <a:gd name="connsiteY5" fmla="*/ 1148260 h 1276933"/>
              <a:gd name="connsiteX6" fmla="*/ 2272374 w 2550571"/>
              <a:gd name="connsiteY6" fmla="*/ 747507 h 1276933"/>
              <a:gd name="connsiteX7" fmla="*/ 2233307 w 2550571"/>
              <a:gd name="connsiteY7" fmla="*/ 726303 h 1276933"/>
              <a:gd name="connsiteX8" fmla="*/ 2234634 w 2550571"/>
              <a:gd name="connsiteY8" fmla="*/ 724005 h 1276933"/>
              <a:gd name="connsiteX9" fmla="*/ 490310 w 2550571"/>
              <a:gd name="connsiteY9" fmla="*/ 1191395 h 1276933"/>
              <a:gd name="connsiteX10" fmla="*/ 446520 w 2550571"/>
              <a:gd name="connsiteY10" fmla="*/ 1276933 h 12769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550571" h="1276933">
                <a:moveTo>
                  <a:pt x="446520" y="1276933"/>
                </a:moveTo>
                <a:lnTo>
                  <a:pt x="0" y="1276933"/>
                </a:lnTo>
                <a:cubicBezTo>
                  <a:pt x="0" y="571703"/>
                  <a:pt x="571703" y="0"/>
                  <a:pt x="1276934" y="0"/>
                </a:cubicBezTo>
                <a:cubicBezTo>
                  <a:pt x="1938088" y="0"/>
                  <a:pt x="2481883" y="502474"/>
                  <a:pt x="2547274" y="1146375"/>
                </a:cubicBezTo>
                <a:lnTo>
                  <a:pt x="2550571" y="1211653"/>
                </a:lnTo>
                <a:lnTo>
                  <a:pt x="2540896" y="1148260"/>
                </a:lnTo>
                <a:cubicBezTo>
                  <a:pt x="2506876" y="982010"/>
                  <a:pt x="2408240" y="839296"/>
                  <a:pt x="2272374" y="747507"/>
                </a:cubicBezTo>
                <a:lnTo>
                  <a:pt x="2233307" y="726303"/>
                </a:lnTo>
                <a:lnTo>
                  <a:pt x="2234634" y="724005"/>
                </a:lnTo>
                <a:cubicBezTo>
                  <a:pt x="1623887" y="371390"/>
                  <a:pt x="842926" y="580648"/>
                  <a:pt x="490310" y="1191395"/>
                </a:cubicBezTo>
                <a:lnTo>
                  <a:pt x="446520" y="1276933"/>
                </a:lnTo>
                <a:close/>
              </a:path>
            </a:pathLst>
          </a:custGeom>
          <a:gradFill flip="none" rotWithShape="1">
            <a:gsLst>
              <a:gs pos="2247">
                <a:schemeClr val="accent1">
                  <a:lumMod val="20000"/>
                  <a:lumOff val="80000"/>
                </a:schemeClr>
              </a:gs>
              <a:gs pos="16854">
                <a:schemeClr val="accent1">
                  <a:lumMod val="40000"/>
                  <a:lumOff val="60000"/>
                </a:schemeClr>
              </a:gs>
              <a:gs pos="52000">
                <a:schemeClr val="accent1">
                  <a:lumMod val="60000"/>
                  <a:lumOff val="40000"/>
                </a:schemeClr>
              </a:gs>
              <a:gs pos="77000">
                <a:schemeClr val="accent1"/>
              </a:gs>
            </a:gsLst>
            <a:lin ang="135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4" name="Freeform: Shape 9">
            <a:extLst>
              <a:ext uri="{FF2B5EF4-FFF2-40B4-BE49-F238E27FC236}">
                <a16:creationId xmlns:a16="http://schemas.microsoft.com/office/drawing/2014/main" id="{00023998-6DD6-4451-8087-65C1F2E7EBFF}"/>
              </a:ext>
            </a:extLst>
          </p:cNvPr>
          <p:cNvSpPr>
            <a:spLocks noChangeAspect="1"/>
          </p:cNvSpPr>
          <p:nvPr/>
        </p:nvSpPr>
        <p:spPr>
          <a:xfrm rot="7200000">
            <a:off x="5608824" y="2459396"/>
            <a:ext cx="3075143" cy="1539240"/>
          </a:xfrm>
          <a:custGeom>
            <a:avLst/>
            <a:gdLst>
              <a:gd name="connsiteX0" fmla="*/ 2205014 w 2553867"/>
              <a:gd name="connsiteY0" fmla="*/ 708960 h 1276933"/>
              <a:gd name="connsiteX1" fmla="*/ 2233307 w 2553867"/>
              <a:gd name="connsiteY1" fmla="*/ 726303 h 1276933"/>
              <a:gd name="connsiteX2" fmla="*/ 2233307 w 2553867"/>
              <a:gd name="connsiteY2" fmla="*/ 726303 h 1276933"/>
              <a:gd name="connsiteX3" fmla="*/ 1972040 w 2553867"/>
              <a:gd name="connsiteY3" fmla="*/ 641999 h 1276933"/>
              <a:gd name="connsiteX4" fmla="*/ 1990413 w 2553867"/>
              <a:gd name="connsiteY4" fmla="*/ 642851 h 1276933"/>
              <a:gd name="connsiteX5" fmla="*/ 2080632 w 2553867"/>
              <a:gd name="connsiteY5" fmla="*/ 660219 h 1276933"/>
              <a:gd name="connsiteX6" fmla="*/ 0 w 2553867"/>
              <a:gd name="connsiteY6" fmla="*/ 1276933 h 1276933"/>
              <a:gd name="connsiteX7" fmla="*/ 1276934 w 2553867"/>
              <a:gd name="connsiteY7" fmla="*/ 0 h 1276933"/>
              <a:gd name="connsiteX8" fmla="*/ 2553867 w 2553867"/>
              <a:gd name="connsiteY8" fmla="*/ 1276933 h 1276933"/>
              <a:gd name="connsiteX9" fmla="*/ 2551214 w 2553867"/>
              <a:gd name="connsiteY9" fmla="*/ 1276933 h 1276933"/>
              <a:gd name="connsiteX10" fmla="*/ 2549137 w 2553867"/>
              <a:gd name="connsiteY10" fmla="*/ 1198012 h 1276933"/>
              <a:gd name="connsiteX11" fmla="*/ 2468329 w 2553867"/>
              <a:gd name="connsiteY11" fmla="*/ 957701 h 1276933"/>
              <a:gd name="connsiteX12" fmla="*/ 2300617 w 2553867"/>
              <a:gd name="connsiteY12" fmla="*/ 767563 h 1276933"/>
              <a:gd name="connsiteX13" fmla="*/ 2233307 w 2553867"/>
              <a:gd name="connsiteY13" fmla="*/ 726303 h 1276933"/>
              <a:gd name="connsiteX14" fmla="*/ 2234634 w 2553867"/>
              <a:gd name="connsiteY14" fmla="*/ 724005 h 1276933"/>
              <a:gd name="connsiteX15" fmla="*/ 2203844 w 2553867"/>
              <a:gd name="connsiteY15" fmla="*/ 708243 h 1276933"/>
              <a:gd name="connsiteX16" fmla="*/ 2195411 w 2553867"/>
              <a:gd name="connsiteY16" fmla="*/ 703073 h 1276933"/>
              <a:gd name="connsiteX17" fmla="*/ 2189257 w 2553867"/>
              <a:gd name="connsiteY17" fmla="*/ 700775 h 1276933"/>
              <a:gd name="connsiteX18" fmla="*/ 2118270 w 2553867"/>
              <a:gd name="connsiteY18" fmla="*/ 664435 h 1276933"/>
              <a:gd name="connsiteX19" fmla="*/ 490310 w 2553867"/>
              <a:gd name="connsiteY19" fmla="*/ 1191395 h 1276933"/>
              <a:gd name="connsiteX20" fmla="*/ 448532 w 2553867"/>
              <a:gd name="connsiteY20" fmla="*/ 1276933 h 1276933"/>
              <a:gd name="connsiteX0" fmla="*/ 2205014 w 2553867"/>
              <a:gd name="connsiteY0" fmla="*/ 708960 h 1276933"/>
              <a:gd name="connsiteX1" fmla="*/ 2233307 w 2553867"/>
              <a:gd name="connsiteY1" fmla="*/ 726303 h 1276933"/>
              <a:gd name="connsiteX2" fmla="*/ 2233307 w 2553867"/>
              <a:gd name="connsiteY2" fmla="*/ 726303 h 1276933"/>
              <a:gd name="connsiteX3" fmla="*/ 2205014 w 2553867"/>
              <a:gd name="connsiteY3" fmla="*/ 708960 h 1276933"/>
              <a:gd name="connsiteX4" fmla="*/ 2080632 w 2553867"/>
              <a:gd name="connsiteY4" fmla="*/ 660219 h 1276933"/>
              <a:gd name="connsiteX5" fmla="*/ 1990413 w 2553867"/>
              <a:gd name="connsiteY5" fmla="*/ 642851 h 1276933"/>
              <a:gd name="connsiteX6" fmla="*/ 2080632 w 2553867"/>
              <a:gd name="connsiteY6" fmla="*/ 660219 h 1276933"/>
              <a:gd name="connsiteX7" fmla="*/ 0 w 2553867"/>
              <a:gd name="connsiteY7" fmla="*/ 1276933 h 1276933"/>
              <a:gd name="connsiteX8" fmla="*/ 1276934 w 2553867"/>
              <a:gd name="connsiteY8" fmla="*/ 0 h 1276933"/>
              <a:gd name="connsiteX9" fmla="*/ 2553867 w 2553867"/>
              <a:gd name="connsiteY9" fmla="*/ 1276933 h 1276933"/>
              <a:gd name="connsiteX10" fmla="*/ 2551214 w 2553867"/>
              <a:gd name="connsiteY10" fmla="*/ 1276933 h 1276933"/>
              <a:gd name="connsiteX11" fmla="*/ 2549137 w 2553867"/>
              <a:gd name="connsiteY11" fmla="*/ 1198012 h 1276933"/>
              <a:gd name="connsiteX12" fmla="*/ 2468329 w 2553867"/>
              <a:gd name="connsiteY12" fmla="*/ 957701 h 1276933"/>
              <a:gd name="connsiteX13" fmla="*/ 2300617 w 2553867"/>
              <a:gd name="connsiteY13" fmla="*/ 767563 h 1276933"/>
              <a:gd name="connsiteX14" fmla="*/ 2233307 w 2553867"/>
              <a:gd name="connsiteY14" fmla="*/ 726303 h 1276933"/>
              <a:gd name="connsiteX15" fmla="*/ 2234634 w 2553867"/>
              <a:gd name="connsiteY15" fmla="*/ 724005 h 1276933"/>
              <a:gd name="connsiteX16" fmla="*/ 2203844 w 2553867"/>
              <a:gd name="connsiteY16" fmla="*/ 708243 h 1276933"/>
              <a:gd name="connsiteX17" fmla="*/ 2195411 w 2553867"/>
              <a:gd name="connsiteY17" fmla="*/ 703073 h 1276933"/>
              <a:gd name="connsiteX18" fmla="*/ 2189257 w 2553867"/>
              <a:gd name="connsiteY18" fmla="*/ 700775 h 1276933"/>
              <a:gd name="connsiteX19" fmla="*/ 2118270 w 2553867"/>
              <a:gd name="connsiteY19" fmla="*/ 664435 h 1276933"/>
              <a:gd name="connsiteX20" fmla="*/ 490310 w 2553867"/>
              <a:gd name="connsiteY20" fmla="*/ 1191395 h 1276933"/>
              <a:gd name="connsiteX21" fmla="*/ 448532 w 2553867"/>
              <a:gd name="connsiteY21" fmla="*/ 1276933 h 1276933"/>
              <a:gd name="connsiteX22" fmla="*/ 0 w 2553867"/>
              <a:gd name="connsiteY22" fmla="*/ 1276933 h 1276933"/>
              <a:gd name="connsiteX0" fmla="*/ 2205014 w 2553867"/>
              <a:gd name="connsiteY0" fmla="*/ 708960 h 1276933"/>
              <a:gd name="connsiteX1" fmla="*/ 2233307 w 2553867"/>
              <a:gd name="connsiteY1" fmla="*/ 726303 h 1276933"/>
              <a:gd name="connsiteX2" fmla="*/ 2233307 w 2553867"/>
              <a:gd name="connsiteY2" fmla="*/ 726303 h 1276933"/>
              <a:gd name="connsiteX3" fmla="*/ 2205014 w 2553867"/>
              <a:gd name="connsiteY3" fmla="*/ 708960 h 1276933"/>
              <a:gd name="connsiteX4" fmla="*/ 0 w 2553867"/>
              <a:gd name="connsiteY4" fmla="*/ 1276933 h 1276933"/>
              <a:gd name="connsiteX5" fmla="*/ 1276934 w 2553867"/>
              <a:gd name="connsiteY5" fmla="*/ 0 h 1276933"/>
              <a:gd name="connsiteX6" fmla="*/ 2553867 w 2553867"/>
              <a:gd name="connsiteY6" fmla="*/ 1276933 h 1276933"/>
              <a:gd name="connsiteX7" fmla="*/ 2551214 w 2553867"/>
              <a:gd name="connsiteY7" fmla="*/ 1276933 h 1276933"/>
              <a:gd name="connsiteX8" fmla="*/ 2549137 w 2553867"/>
              <a:gd name="connsiteY8" fmla="*/ 1198012 h 1276933"/>
              <a:gd name="connsiteX9" fmla="*/ 2468329 w 2553867"/>
              <a:gd name="connsiteY9" fmla="*/ 957701 h 1276933"/>
              <a:gd name="connsiteX10" fmla="*/ 2300617 w 2553867"/>
              <a:gd name="connsiteY10" fmla="*/ 767563 h 1276933"/>
              <a:gd name="connsiteX11" fmla="*/ 2233307 w 2553867"/>
              <a:gd name="connsiteY11" fmla="*/ 726303 h 1276933"/>
              <a:gd name="connsiteX12" fmla="*/ 2234634 w 2553867"/>
              <a:gd name="connsiteY12" fmla="*/ 724005 h 1276933"/>
              <a:gd name="connsiteX13" fmla="*/ 2203844 w 2553867"/>
              <a:gd name="connsiteY13" fmla="*/ 708243 h 1276933"/>
              <a:gd name="connsiteX14" fmla="*/ 2195411 w 2553867"/>
              <a:gd name="connsiteY14" fmla="*/ 703073 h 1276933"/>
              <a:gd name="connsiteX15" fmla="*/ 2189257 w 2553867"/>
              <a:gd name="connsiteY15" fmla="*/ 700775 h 1276933"/>
              <a:gd name="connsiteX16" fmla="*/ 2118270 w 2553867"/>
              <a:gd name="connsiteY16" fmla="*/ 664435 h 1276933"/>
              <a:gd name="connsiteX17" fmla="*/ 490310 w 2553867"/>
              <a:gd name="connsiteY17" fmla="*/ 1191395 h 1276933"/>
              <a:gd name="connsiteX18" fmla="*/ 448532 w 2553867"/>
              <a:gd name="connsiteY18" fmla="*/ 1276933 h 1276933"/>
              <a:gd name="connsiteX19" fmla="*/ 0 w 2553867"/>
              <a:gd name="connsiteY19" fmla="*/ 1276933 h 12769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553867" h="1276933">
                <a:moveTo>
                  <a:pt x="2205014" y="708960"/>
                </a:moveTo>
                <a:lnTo>
                  <a:pt x="2233307" y="726303"/>
                </a:lnTo>
                <a:lnTo>
                  <a:pt x="2233307" y="726303"/>
                </a:lnTo>
                <a:lnTo>
                  <a:pt x="2205014" y="708960"/>
                </a:lnTo>
                <a:close/>
                <a:moveTo>
                  <a:pt x="0" y="1276933"/>
                </a:moveTo>
                <a:cubicBezTo>
                  <a:pt x="0" y="571703"/>
                  <a:pt x="571703" y="0"/>
                  <a:pt x="1276934" y="0"/>
                </a:cubicBezTo>
                <a:cubicBezTo>
                  <a:pt x="1982164" y="0"/>
                  <a:pt x="2553867" y="571703"/>
                  <a:pt x="2553867" y="1276933"/>
                </a:cubicBezTo>
                <a:lnTo>
                  <a:pt x="2551214" y="1276933"/>
                </a:lnTo>
                <a:cubicBezTo>
                  <a:pt x="2550522" y="1250626"/>
                  <a:pt x="2549829" y="1224319"/>
                  <a:pt x="2549137" y="1198012"/>
                </a:cubicBezTo>
                <a:cubicBezTo>
                  <a:pt x="2538924" y="1115706"/>
                  <a:pt x="2512406" y="1034043"/>
                  <a:pt x="2468329" y="957701"/>
                </a:cubicBezTo>
                <a:cubicBezTo>
                  <a:pt x="2424252" y="881357"/>
                  <a:pt x="2366789" y="817560"/>
                  <a:pt x="2300617" y="767563"/>
                </a:cubicBezTo>
                <a:lnTo>
                  <a:pt x="2233307" y="726303"/>
                </a:lnTo>
                <a:lnTo>
                  <a:pt x="2234634" y="724005"/>
                </a:lnTo>
                <a:lnTo>
                  <a:pt x="2203844" y="708243"/>
                </a:lnTo>
                <a:lnTo>
                  <a:pt x="2195411" y="703073"/>
                </a:lnTo>
                <a:lnTo>
                  <a:pt x="2189257" y="700775"/>
                </a:lnTo>
                <a:lnTo>
                  <a:pt x="2118270" y="664435"/>
                </a:lnTo>
                <a:cubicBezTo>
                  <a:pt x="1527939" y="399116"/>
                  <a:pt x="820887" y="618819"/>
                  <a:pt x="490310" y="1191395"/>
                </a:cubicBezTo>
                <a:lnTo>
                  <a:pt x="448532" y="1276933"/>
                </a:lnTo>
                <a:lnTo>
                  <a:pt x="0" y="1276933"/>
                </a:lnTo>
                <a:close/>
              </a:path>
            </a:pathLst>
          </a:custGeom>
          <a:gradFill flip="none" rotWithShape="1">
            <a:gsLst>
              <a:gs pos="2247">
                <a:schemeClr val="accent1">
                  <a:lumMod val="20000"/>
                  <a:lumOff val="80000"/>
                </a:schemeClr>
              </a:gs>
              <a:gs pos="16854">
                <a:schemeClr val="accent1">
                  <a:lumMod val="40000"/>
                  <a:lumOff val="60000"/>
                </a:schemeClr>
              </a:gs>
              <a:gs pos="52000">
                <a:schemeClr val="accent1">
                  <a:lumMod val="60000"/>
                  <a:lumOff val="40000"/>
                </a:schemeClr>
              </a:gs>
              <a:gs pos="77000">
                <a:schemeClr val="accent1"/>
              </a:gs>
            </a:gsLst>
            <a:lin ang="135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5" name="Freeform: Shape 10">
            <a:extLst>
              <a:ext uri="{FF2B5EF4-FFF2-40B4-BE49-F238E27FC236}">
                <a16:creationId xmlns:a16="http://schemas.microsoft.com/office/drawing/2014/main" id="{17223DBC-5CA0-4AEE-80CE-FD9118827542}"/>
              </a:ext>
            </a:extLst>
          </p:cNvPr>
          <p:cNvSpPr>
            <a:spLocks noChangeAspect="1"/>
          </p:cNvSpPr>
          <p:nvPr/>
        </p:nvSpPr>
        <p:spPr>
          <a:xfrm rot="18000000">
            <a:off x="3506182" y="3022186"/>
            <a:ext cx="3075144" cy="1539240"/>
          </a:xfrm>
          <a:custGeom>
            <a:avLst/>
            <a:gdLst>
              <a:gd name="connsiteX0" fmla="*/ 2080623 w 2553868"/>
              <a:gd name="connsiteY0" fmla="*/ 660218 h 1276933"/>
              <a:gd name="connsiteX1" fmla="*/ 1972040 w 2553868"/>
              <a:gd name="connsiteY1" fmla="*/ 641998 h 1276933"/>
              <a:gd name="connsiteX2" fmla="*/ 1990413 w 2553868"/>
              <a:gd name="connsiteY2" fmla="*/ 642850 h 1276933"/>
              <a:gd name="connsiteX3" fmla="*/ 2210189 w 2553868"/>
              <a:gd name="connsiteY3" fmla="*/ 712132 h 1276933"/>
              <a:gd name="connsiteX4" fmla="*/ 2203856 w 2553868"/>
              <a:gd name="connsiteY4" fmla="*/ 708249 h 1276933"/>
              <a:gd name="connsiteX5" fmla="*/ 2203856 w 2553868"/>
              <a:gd name="connsiteY5" fmla="*/ 708250 h 1276933"/>
              <a:gd name="connsiteX6" fmla="*/ 2549313 w 2553868"/>
              <a:gd name="connsiteY6" fmla="*/ 1204735 h 1276933"/>
              <a:gd name="connsiteX7" fmla="*/ 2553868 w 2553868"/>
              <a:gd name="connsiteY7" fmla="*/ 1276933 h 1276933"/>
              <a:gd name="connsiteX8" fmla="*/ 2551214 w 2553868"/>
              <a:gd name="connsiteY8" fmla="*/ 1276933 h 1276933"/>
              <a:gd name="connsiteX9" fmla="*/ 2548794 w 2553868"/>
              <a:gd name="connsiteY9" fmla="*/ 1196498 h 1276933"/>
              <a:gd name="connsiteX10" fmla="*/ 2549137 w 2553868"/>
              <a:gd name="connsiteY10" fmla="*/ 1198012 h 1276933"/>
              <a:gd name="connsiteX11" fmla="*/ 2549313 w 2553868"/>
              <a:gd name="connsiteY11" fmla="*/ 1204735 h 1276933"/>
              <a:gd name="connsiteX12" fmla="*/ 2399749 w 2553868"/>
              <a:gd name="connsiteY12" fmla="*/ 668271 h 1276933"/>
              <a:gd name="connsiteX13" fmla="*/ 2543609 w 2553868"/>
              <a:gd name="connsiteY13" fmla="*/ 1114299 h 1276933"/>
              <a:gd name="connsiteX14" fmla="*/ 2548794 w 2553868"/>
              <a:gd name="connsiteY14" fmla="*/ 1196498 h 1276933"/>
              <a:gd name="connsiteX15" fmla="*/ 2521432 w 2553868"/>
              <a:gd name="connsiteY15" fmla="*/ 1075620 h 1276933"/>
              <a:gd name="connsiteX16" fmla="*/ 2468328 w 2553868"/>
              <a:gd name="connsiteY16" fmla="*/ 957700 h 1276933"/>
              <a:gd name="connsiteX17" fmla="*/ 2300616 w 2553868"/>
              <a:gd name="connsiteY17" fmla="*/ 767562 h 1276933"/>
              <a:gd name="connsiteX18" fmla="*/ 2233308 w 2553868"/>
              <a:gd name="connsiteY18" fmla="*/ 726303 h 1276933"/>
              <a:gd name="connsiteX19" fmla="*/ 2234634 w 2553868"/>
              <a:gd name="connsiteY19" fmla="*/ 724005 h 1276933"/>
              <a:gd name="connsiteX20" fmla="*/ 2203856 w 2553868"/>
              <a:gd name="connsiteY20" fmla="*/ 708250 h 1276933"/>
              <a:gd name="connsiteX21" fmla="*/ 2203855 w 2553868"/>
              <a:gd name="connsiteY21" fmla="*/ 708249 h 1276933"/>
              <a:gd name="connsiteX22" fmla="*/ 2203856 w 2553868"/>
              <a:gd name="connsiteY22" fmla="*/ 708249 h 1276933"/>
              <a:gd name="connsiteX23" fmla="*/ 2195411 w 2553868"/>
              <a:gd name="connsiteY23" fmla="*/ 703073 h 1276933"/>
              <a:gd name="connsiteX24" fmla="*/ 2183409 w 2553868"/>
              <a:gd name="connsiteY24" fmla="*/ 698592 h 1276933"/>
              <a:gd name="connsiteX25" fmla="*/ 2189252 w 2553868"/>
              <a:gd name="connsiteY25" fmla="*/ 700773 h 1276933"/>
              <a:gd name="connsiteX26" fmla="*/ 2118271 w 2553868"/>
              <a:gd name="connsiteY26" fmla="*/ 664436 h 1276933"/>
              <a:gd name="connsiteX27" fmla="*/ 490309 w 2553868"/>
              <a:gd name="connsiteY27" fmla="*/ 1191397 h 1276933"/>
              <a:gd name="connsiteX28" fmla="*/ 446522 w 2553868"/>
              <a:gd name="connsiteY28" fmla="*/ 1276933 h 1276933"/>
              <a:gd name="connsiteX29" fmla="*/ 0 w 2553868"/>
              <a:gd name="connsiteY29" fmla="*/ 1276933 h 1276933"/>
              <a:gd name="connsiteX30" fmla="*/ 1276934 w 2553868"/>
              <a:gd name="connsiteY30" fmla="*/ 0 h 1276933"/>
              <a:gd name="connsiteX31" fmla="*/ 2399749 w 2553868"/>
              <a:gd name="connsiteY31" fmla="*/ 668271 h 1276933"/>
              <a:gd name="connsiteX0" fmla="*/ 2080623 w 2553868"/>
              <a:gd name="connsiteY0" fmla="*/ 660218 h 1276933"/>
              <a:gd name="connsiteX1" fmla="*/ 1990413 w 2553868"/>
              <a:gd name="connsiteY1" fmla="*/ 642850 h 1276933"/>
              <a:gd name="connsiteX2" fmla="*/ 2080623 w 2553868"/>
              <a:gd name="connsiteY2" fmla="*/ 660218 h 1276933"/>
              <a:gd name="connsiteX3" fmla="*/ 2210189 w 2553868"/>
              <a:gd name="connsiteY3" fmla="*/ 712132 h 1276933"/>
              <a:gd name="connsiteX4" fmla="*/ 2203856 w 2553868"/>
              <a:gd name="connsiteY4" fmla="*/ 708249 h 1276933"/>
              <a:gd name="connsiteX5" fmla="*/ 2203856 w 2553868"/>
              <a:gd name="connsiteY5" fmla="*/ 708250 h 1276933"/>
              <a:gd name="connsiteX6" fmla="*/ 2210189 w 2553868"/>
              <a:gd name="connsiteY6" fmla="*/ 712132 h 1276933"/>
              <a:gd name="connsiteX7" fmla="*/ 2549313 w 2553868"/>
              <a:gd name="connsiteY7" fmla="*/ 1204735 h 1276933"/>
              <a:gd name="connsiteX8" fmla="*/ 2553868 w 2553868"/>
              <a:gd name="connsiteY8" fmla="*/ 1276933 h 1276933"/>
              <a:gd name="connsiteX9" fmla="*/ 2551214 w 2553868"/>
              <a:gd name="connsiteY9" fmla="*/ 1276933 h 1276933"/>
              <a:gd name="connsiteX10" fmla="*/ 2549313 w 2553868"/>
              <a:gd name="connsiteY10" fmla="*/ 1204735 h 1276933"/>
              <a:gd name="connsiteX11" fmla="*/ 2548794 w 2553868"/>
              <a:gd name="connsiteY11" fmla="*/ 1196498 h 1276933"/>
              <a:gd name="connsiteX12" fmla="*/ 2549137 w 2553868"/>
              <a:gd name="connsiteY12" fmla="*/ 1198012 h 1276933"/>
              <a:gd name="connsiteX13" fmla="*/ 2549313 w 2553868"/>
              <a:gd name="connsiteY13" fmla="*/ 1204735 h 1276933"/>
              <a:gd name="connsiteX14" fmla="*/ 2548794 w 2553868"/>
              <a:gd name="connsiteY14" fmla="*/ 1196498 h 1276933"/>
              <a:gd name="connsiteX15" fmla="*/ 2399749 w 2553868"/>
              <a:gd name="connsiteY15" fmla="*/ 668271 h 1276933"/>
              <a:gd name="connsiteX16" fmla="*/ 2543609 w 2553868"/>
              <a:gd name="connsiteY16" fmla="*/ 1114299 h 1276933"/>
              <a:gd name="connsiteX17" fmla="*/ 2548794 w 2553868"/>
              <a:gd name="connsiteY17" fmla="*/ 1196498 h 1276933"/>
              <a:gd name="connsiteX18" fmla="*/ 2521432 w 2553868"/>
              <a:gd name="connsiteY18" fmla="*/ 1075620 h 1276933"/>
              <a:gd name="connsiteX19" fmla="*/ 2468328 w 2553868"/>
              <a:gd name="connsiteY19" fmla="*/ 957700 h 1276933"/>
              <a:gd name="connsiteX20" fmla="*/ 2300616 w 2553868"/>
              <a:gd name="connsiteY20" fmla="*/ 767562 h 1276933"/>
              <a:gd name="connsiteX21" fmla="*/ 2233308 w 2553868"/>
              <a:gd name="connsiteY21" fmla="*/ 726303 h 1276933"/>
              <a:gd name="connsiteX22" fmla="*/ 2234634 w 2553868"/>
              <a:gd name="connsiteY22" fmla="*/ 724005 h 1276933"/>
              <a:gd name="connsiteX23" fmla="*/ 2203856 w 2553868"/>
              <a:gd name="connsiteY23" fmla="*/ 708250 h 1276933"/>
              <a:gd name="connsiteX24" fmla="*/ 2203855 w 2553868"/>
              <a:gd name="connsiteY24" fmla="*/ 708249 h 1276933"/>
              <a:gd name="connsiteX25" fmla="*/ 2203856 w 2553868"/>
              <a:gd name="connsiteY25" fmla="*/ 708249 h 1276933"/>
              <a:gd name="connsiteX26" fmla="*/ 2195411 w 2553868"/>
              <a:gd name="connsiteY26" fmla="*/ 703073 h 1276933"/>
              <a:gd name="connsiteX27" fmla="*/ 2183409 w 2553868"/>
              <a:gd name="connsiteY27" fmla="*/ 698592 h 1276933"/>
              <a:gd name="connsiteX28" fmla="*/ 2189252 w 2553868"/>
              <a:gd name="connsiteY28" fmla="*/ 700773 h 1276933"/>
              <a:gd name="connsiteX29" fmla="*/ 2118271 w 2553868"/>
              <a:gd name="connsiteY29" fmla="*/ 664436 h 1276933"/>
              <a:gd name="connsiteX30" fmla="*/ 490309 w 2553868"/>
              <a:gd name="connsiteY30" fmla="*/ 1191397 h 1276933"/>
              <a:gd name="connsiteX31" fmla="*/ 446522 w 2553868"/>
              <a:gd name="connsiteY31" fmla="*/ 1276933 h 1276933"/>
              <a:gd name="connsiteX32" fmla="*/ 0 w 2553868"/>
              <a:gd name="connsiteY32" fmla="*/ 1276933 h 1276933"/>
              <a:gd name="connsiteX33" fmla="*/ 1276934 w 2553868"/>
              <a:gd name="connsiteY33" fmla="*/ 0 h 1276933"/>
              <a:gd name="connsiteX34" fmla="*/ 2399749 w 2553868"/>
              <a:gd name="connsiteY34" fmla="*/ 668271 h 1276933"/>
              <a:gd name="connsiteX0" fmla="*/ 2210189 w 2553868"/>
              <a:gd name="connsiteY0" fmla="*/ 712132 h 1276933"/>
              <a:gd name="connsiteX1" fmla="*/ 2203856 w 2553868"/>
              <a:gd name="connsiteY1" fmla="*/ 708249 h 1276933"/>
              <a:gd name="connsiteX2" fmla="*/ 2203856 w 2553868"/>
              <a:gd name="connsiteY2" fmla="*/ 708250 h 1276933"/>
              <a:gd name="connsiteX3" fmla="*/ 2210189 w 2553868"/>
              <a:gd name="connsiteY3" fmla="*/ 712132 h 1276933"/>
              <a:gd name="connsiteX4" fmla="*/ 2549313 w 2553868"/>
              <a:gd name="connsiteY4" fmla="*/ 1204735 h 1276933"/>
              <a:gd name="connsiteX5" fmla="*/ 2553868 w 2553868"/>
              <a:gd name="connsiteY5" fmla="*/ 1276933 h 1276933"/>
              <a:gd name="connsiteX6" fmla="*/ 2551214 w 2553868"/>
              <a:gd name="connsiteY6" fmla="*/ 1276933 h 1276933"/>
              <a:gd name="connsiteX7" fmla="*/ 2549313 w 2553868"/>
              <a:gd name="connsiteY7" fmla="*/ 1204735 h 1276933"/>
              <a:gd name="connsiteX8" fmla="*/ 2548794 w 2553868"/>
              <a:gd name="connsiteY8" fmla="*/ 1196498 h 1276933"/>
              <a:gd name="connsiteX9" fmla="*/ 2549137 w 2553868"/>
              <a:gd name="connsiteY9" fmla="*/ 1198012 h 1276933"/>
              <a:gd name="connsiteX10" fmla="*/ 2549313 w 2553868"/>
              <a:gd name="connsiteY10" fmla="*/ 1204735 h 1276933"/>
              <a:gd name="connsiteX11" fmla="*/ 2548794 w 2553868"/>
              <a:gd name="connsiteY11" fmla="*/ 1196498 h 1276933"/>
              <a:gd name="connsiteX12" fmla="*/ 2399749 w 2553868"/>
              <a:gd name="connsiteY12" fmla="*/ 668271 h 1276933"/>
              <a:gd name="connsiteX13" fmla="*/ 2543609 w 2553868"/>
              <a:gd name="connsiteY13" fmla="*/ 1114299 h 1276933"/>
              <a:gd name="connsiteX14" fmla="*/ 2548794 w 2553868"/>
              <a:gd name="connsiteY14" fmla="*/ 1196498 h 1276933"/>
              <a:gd name="connsiteX15" fmla="*/ 2521432 w 2553868"/>
              <a:gd name="connsiteY15" fmla="*/ 1075620 h 1276933"/>
              <a:gd name="connsiteX16" fmla="*/ 2468328 w 2553868"/>
              <a:gd name="connsiteY16" fmla="*/ 957700 h 1276933"/>
              <a:gd name="connsiteX17" fmla="*/ 2300616 w 2553868"/>
              <a:gd name="connsiteY17" fmla="*/ 767562 h 1276933"/>
              <a:gd name="connsiteX18" fmla="*/ 2233308 w 2553868"/>
              <a:gd name="connsiteY18" fmla="*/ 726303 h 1276933"/>
              <a:gd name="connsiteX19" fmla="*/ 2234634 w 2553868"/>
              <a:gd name="connsiteY19" fmla="*/ 724005 h 1276933"/>
              <a:gd name="connsiteX20" fmla="*/ 2203856 w 2553868"/>
              <a:gd name="connsiteY20" fmla="*/ 708250 h 1276933"/>
              <a:gd name="connsiteX21" fmla="*/ 2203855 w 2553868"/>
              <a:gd name="connsiteY21" fmla="*/ 708249 h 1276933"/>
              <a:gd name="connsiteX22" fmla="*/ 2203856 w 2553868"/>
              <a:gd name="connsiteY22" fmla="*/ 708249 h 1276933"/>
              <a:gd name="connsiteX23" fmla="*/ 2195411 w 2553868"/>
              <a:gd name="connsiteY23" fmla="*/ 703073 h 1276933"/>
              <a:gd name="connsiteX24" fmla="*/ 2183409 w 2553868"/>
              <a:gd name="connsiteY24" fmla="*/ 698592 h 1276933"/>
              <a:gd name="connsiteX25" fmla="*/ 2189252 w 2553868"/>
              <a:gd name="connsiteY25" fmla="*/ 700773 h 1276933"/>
              <a:gd name="connsiteX26" fmla="*/ 2118271 w 2553868"/>
              <a:gd name="connsiteY26" fmla="*/ 664436 h 1276933"/>
              <a:gd name="connsiteX27" fmla="*/ 490309 w 2553868"/>
              <a:gd name="connsiteY27" fmla="*/ 1191397 h 1276933"/>
              <a:gd name="connsiteX28" fmla="*/ 446522 w 2553868"/>
              <a:gd name="connsiteY28" fmla="*/ 1276933 h 1276933"/>
              <a:gd name="connsiteX29" fmla="*/ 0 w 2553868"/>
              <a:gd name="connsiteY29" fmla="*/ 1276933 h 1276933"/>
              <a:gd name="connsiteX30" fmla="*/ 1276934 w 2553868"/>
              <a:gd name="connsiteY30" fmla="*/ 0 h 1276933"/>
              <a:gd name="connsiteX31" fmla="*/ 2399749 w 2553868"/>
              <a:gd name="connsiteY31" fmla="*/ 668271 h 12769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553868" h="1276933">
                <a:moveTo>
                  <a:pt x="2210189" y="712132"/>
                </a:moveTo>
                <a:lnTo>
                  <a:pt x="2203856" y="708249"/>
                </a:lnTo>
                <a:lnTo>
                  <a:pt x="2203856" y="708250"/>
                </a:lnTo>
                <a:lnTo>
                  <a:pt x="2210189" y="712132"/>
                </a:lnTo>
                <a:close/>
                <a:moveTo>
                  <a:pt x="2549313" y="1204735"/>
                </a:moveTo>
                <a:lnTo>
                  <a:pt x="2553868" y="1276933"/>
                </a:lnTo>
                <a:lnTo>
                  <a:pt x="2551214" y="1276933"/>
                </a:lnTo>
                <a:cubicBezTo>
                  <a:pt x="2550580" y="1252867"/>
                  <a:pt x="2549947" y="1228801"/>
                  <a:pt x="2549313" y="1204735"/>
                </a:cubicBezTo>
                <a:close/>
                <a:moveTo>
                  <a:pt x="2548794" y="1196498"/>
                </a:moveTo>
                <a:cubicBezTo>
                  <a:pt x="2548908" y="1197003"/>
                  <a:pt x="2549023" y="1197507"/>
                  <a:pt x="2549137" y="1198012"/>
                </a:cubicBezTo>
                <a:cubicBezTo>
                  <a:pt x="2549196" y="1200253"/>
                  <a:pt x="2549254" y="1202494"/>
                  <a:pt x="2549313" y="1204735"/>
                </a:cubicBezTo>
                <a:lnTo>
                  <a:pt x="2548794" y="1196498"/>
                </a:lnTo>
                <a:close/>
                <a:moveTo>
                  <a:pt x="2399749" y="668271"/>
                </a:moveTo>
                <a:cubicBezTo>
                  <a:pt x="2473466" y="803971"/>
                  <a:pt x="2523299" y="954527"/>
                  <a:pt x="2543609" y="1114299"/>
                </a:cubicBezTo>
                <a:lnTo>
                  <a:pt x="2548794" y="1196498"/>
                </a:lnTo>
                <a:lnTo>
                  <a:pt x="2521432" y="1075620"/>
                </a:lnTo>
                <a:cubicBezTo>
                  <a:pt x="2508016" y="1035372"/>
                  <a:pt x="2490367" y="995871"/>
                  <a:pt x="2468328" y="957700"/>
                </a:cubicBezTo>
                <a:cubicBezTo>
                  <a:pt x="2424251" y="881356"/>
                  <a:pt x="2366788" y="817560"/>
                  <a:pt x="2300616" y="767562"/>
                </a:cubicBezTo>
                <a:lnTo>
                  <a:pt x="2233308" y="726303"/>
                </a:lnTo>
                <a:lnTo>
                  <a:pt x="2234634" y="724005"/>
                </a:lnTo>
                <a:lnTo>
                  <a:pt x="2203856" y="708250"/>
                </a:lnTo>
                <a:lnTo>
                  <a:pt x="2203855" y="708249"/>
                </a:lnTo>
                <a:lnTo>
                  <a:pt x="2203856" y="708249"/>
                </a:lnTo>
                <a:lnTo>
                  <a:pt x="2195411" y="703073"/>
                </a:lnTo>
                <a:lnTo>
                  <a:pt x="2183409" y="698592"/>
                </a:lnTo>
                <a:lnTo>
                  <a:pt x="2189252" y="700773"/>
                </a:lnTo>
                <a:lnTo>
                  <a:pt x="2118271" y="664436"/>
                </a:lnTo>
                <a:cubicBezTo>
                  <a:pt x="1527940" y="399116"/>
                  <a:pt x="820887" y="618820"/>
                  <a:pt x="490309" y="1191397"/>
                </a:cubicBezTo>
                <a:lnTo>
                  <a:pt x="446522" y="1276933"/>
                </a:lnTo>
                <a:lnTo>
                  <a:pt x="0" y="1276933"/>
                </a:lnTo>
                <a:cubicBezTo>
                  <a:pt x="0" y="571703"/>
                  <a:pt x="571703" y="0"/>
                  <a:pt x="1276934" y="0"/>
                </a:cubicBezTo>
                <a:cubicBezTo>
                  <a:pt x="1761781" y="0"/>
                  <a:pt x="2183514" y="270219"/>
                  <a:pt x="2399749" y="668271"/>
                </a:cubicBezTo>
                <a:close/>
              </a:path>
            </a:pathLst>
          </a:custGeom>
          <a:gradFill flip="none" rotWithShape="1">
            <a:gsLst>
              <a:gs pos="2247">
                <a:schemeClr val="accent1">
                  <a:lumMod val="20000"/>
                  <a:lumOff val="80000"/>
                </a:schemeClr>
              </a:gs>
              <a:gs pos="16854">
                <a:schemeClr val="accent1">
                  <a:lumMod val="40000"/>
                  <a:lumOff val="60000"/>
                </a:schemeClr>
              </a:gs>
              <a:gs pos="52000">
                <a:schemeClr val="accent1">
                  <a:lumMod val="60000"/>
                  <a:lumOff val="40000"/>
                </a:schemeClr>
              </a:gs>
              <a:gs pos="77000">
                <a:schemeClr val="accent1"/>
              </a:gs>
            </a:gsLst>
            <a:lin ang="135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6" name="Freeform: Shape 11">
            <a:extLst>
              <a:ext uri="{FF2B5EF4-FFF2-40B4-BE49-F238E27FC236}">
                <a16:creationId xmlns:a16="http://schemas.microsoft.com/office/drawing/2014/main" id="{58A4B966-8369-4272-AACC-862BFEF3F580}"/>
              </a:ext>
            </a:extLst>
          </p:cNvPr>
          <p:cNvSpPr>
            <a:spLocks noChangeAspect="1"/>
          </p:cNvSpPr>
          <p:nvPr/>
        </p:nvSpPr>
        <p:spPr>
          <a:xfrm>
            <a:off x="3786215" y="1972840"/>
            <a:ext cx="3078480" cy="1537571"/>
          </a:xfrm>
          <a:custGeom>
            <a:avLst/>
            <a:gdLst>
              <a:gd name="connsiteX0" fmla="*/ 1276934 w 2553867"/>
              <a:gd name="connsiteY0" fmla="*/ 0 h 1276933"/>
              <a:gd name="connsiteX1" fmla="*/ 2553867 w 2553867"/>
              <a:gd name="connsiteY1" fmla="*/ 1276933 h 1276933"/>
              <a:gd name="connsiteX2" fmla="*/ 2553866 w 2553867"/>
              <a:gd name="connsiteY2" fmla="*/ 1276933 h 1276933"/>
              <a:gd name="connsiteX3" fmla="*/ 2272373 w 2553867"/>
              <a:gd name="connsiteY3" fmla="*/ 747507 h 1276933"/>
              <a:gd name="connsiteX4" fmla="*/ 2233307 w 2553867"/>
              <a:gd name="connsiteY4" fmla="*/ 726303 h 1276933"/>
              <a:gd name="connsiteX5" fmla="*/ 2234634 w 2553867"/>
              <a:gd name="connsiteY5" fmla="*/ 724004 h 1276933"/>
              <a:gd name="connsiteX6" fmla="*/ 2169837 w 2553867"/>
              <a:gd name="connsiteY6" fmla="*/ 691853 h 1276933"/>
              <a:gd name="connsiteX7" fmla="*/ 2163920 w 2553867"/>
              <a:gd name="connsiteY7" fmla="*/ 688641 h 1276933"/>
              <a:gd name="connsiteX8" fmla="*/ 2162436 w 2553867"/>
              <a:gd name="connsiteY8" fmla="*/ 688180 h 1276933"/>
              <a:gd name="connsiteX9" fmla="*/ 2088659 w 2553867"/>
              <a:gd name="connsiteY9" fmla="*/ 651571 h 1276933"/>
              <a:gd name="connsiteX10" fmla="*/ 1630457 w 2553867"/>
              <a:gd name="connsiteY10" fmla="*/ 553144 h 1276933"/>
              <a:gd name="connsiteX11" fmla="*/ 490310 w 2553867"/>
              <a:gd name="connsiteY11" fmla="*/ 1191395 h 1276933"/>
              <a:gd name="connsiteX12" fmla="*/ 446521 w 2553867"/>
              <a:gd name="connsiteY12" fmla="*/ 1276933 h 1276933"/>
              <a:gd name="connsiteX13" fmla="*/ 0 w 2553867"/>
              <a:gd name="connsiteY13" fmla="*/ 1276933 h 1276933"/>
              <a:gd name="connsiteX14" fmla="*/ 1276934 w 2553867"/>
              <a:gd name="connsiteY14" fmla="*/ 0 h 12769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553867" h="1276933">
                <a:moveTo>
                  <a:pt x="1276934" y="0"/>
                </a:moveTo>
                <a:cubicBezTo>
                  <a:pt x="1982164" y="0"/>
                  <a:pt x="2553867" y="571703"/>
                  <a:pt x="2553867" y="1276933"/>
                </a:cubicBezTo>
                <a:lnTo>
                  <a:pt x="2553866" y="1276933"/>
                </a:lnTo>
                <a:cubicBezTo>
                  <a:pt x="2553866" y="1056549"/>
                  <a:pt x="2442206" y="862244"/>
                  <a:pt x="2272373" y="747507"/>
                </a:cubicBezTo>
                <a:lnTo>
                  <a:pt x="2233307" y="726303"/>
                </a:lnTo>
                <a:lnTo>
                  <a:pt x="2234634" y="724004"/>
                </a:lnTo>
                <a:lnTo>
                  <a:pt x="2169837" y="691853"/>
                </a:lnTo>
                <a:lnTo>
                  <a:pt x="2163920" y="688641"/>
                </a:lnTo>
                <a:lnTo>
                  <a:pt x="2162436" y="688180"/>
                </a:lnTo>
                <a:lnTo>
                  <a:pt x="2088659" y="651571"/>
                </a:lnTo>
                <a:cubicBezTo>
                  <a:pt x="1940138" y="589274"/>
                  <a:pt x="1784835" y="557154"/>
                  <a:pt x="1630457" y="553144"/>
                </a:cubicBezTo>
                <a:cubicBezTo>
                  <a:pt x="1177617" y="541383"/>
                  <a:pt x="732734" y="771505"/>
                  <a:pt x="490310" y="1191395"/>
                </a:cubicBezTo>
                <a:lnTo>
                  <a:pt x="446521" y="1276933"/>
                </a:lnTo>
                <a:lnTo>
                  <a:pt x="0" y="1276933"/>
                </a:lnTo>
                <a:cubicBezTo>
                  <a:pt x="0" y="571703"/>
                  <a:pt x="571703" y="0"/>
                  <a:pt x="1276934" y="0"/>
                </a:cubicBezTo>
                <a:close/>
              </a:path>
            </a:pathLst>
          </a:custGeom>
          <a:gradFill flip="none" rotWithShape="1">
            <a:gsLst>
              <a:gs pos="2247">
                <a:schemeClr val="accent1">
                  <a:lumMod val="20000"/>
                  <a:lumOff val="80000"/>
                </a:schemeClr>
              </a:gs>
              <a:gs pos="16854">
                <a:schemeClr val="accent1">
                  <a:lumMod val="40000"/>
                  <a:lumOff val="60000"/>
                </a:schemeClr>
              </a:gs>
              <a:gs pos="52000">
                <a:schemeClr val="accent1">
                  <a:lumMod val="60000"/>
                  <a:lumOff val="40000"/>
                </a:schemeClr>
              </a:gs>
              <a:gs pos="77000">
                <a:schemeClr val="accent1"/>
              </a:gs>
            </a:gsLst>
            <a:lin ang="135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7" name="Freeform: Shape 12">
            <a:extLst>
              <a:ext uri="{FF2B5EF4-FFF2-40B4-BE49-F238E27FC236}">
                <a16:creationId xmlns:a16="http://schemas.microsoft.com/office/drawing/2014/main" id="{62B3C52A-0DAD-4422-B603-F3C9989C8ADC}"/>
              </a:ext>
            </a:extLst>
          </p:cNvPr>
          <p:cNvSpPr>
            <a:spLocks noChangeAspect="1"/>
          </p:cNvSpPr>
          <p:nvPr/>
        </p:nvSpPr>
        <p:spPr>
          <a:xfrm rot="3600000">
            <a:off x="4839205" y="1690611"/>
            <a:ext cx="3075144" cy="1539240"/>
          </a:xfrm>
          <a:custGeom>
            <a:avLst/>
            <a:gdLst>
              <a:gd name="connsiteX0" fmla="*/ 2552124 w 2553868"/>
              <a:gd name="connsiteY0" fmla="*/ 1242388 h 1276933"/>
              <a:gd name="connsiteX1" fmla="*/ 2553868 w 2553868"/>
              <a:gd name="connsiteY1" fmla="*/ 1276933 h 1276933"/>
              <a:gd name="connsiteX2" fmla="*/ 2551215 w 2553868"/>
              <a:gd name="connsiteY2" fmla="*/ 1276933 h 1276933"/>
              <a:gd name="connsiteX3" fmla="*/ 2129055 w 2553868"/>
              <a:gd name="connsiteY3" fmla="*/ 676459 h 1276933"/>
              <a:gd name="connsiteX4" fmla="*/ 2161647 w 2553868"/>
              <a:gd name="connsiteY4" fmla="*/ 687789 h 1276933"/>
              <a:gd name="connsiteX5" fmla="*/ 2234634 w 2553868"/>
              <a:gd name="connsiteY5" fmla="*/ 724005 h 1276933"/>
              <a:gd name="connsiteX6" fmla="*/ 1999796 w 2553868"/>
              <a:gd name="connsiteY6" fmla="*/ 644437 h 1276933"/>
              <a:gd name="connsiteX7" fmla="*/ 2009746 w 2553868"/>
              <a:gd name="connsiteY7" fmla="*/ 645303 h 1276933"/>
              <a:gd name="connsiteX8" fmla="*/ 2086399 w 2553868"/>
              <a:gd name="connsiteY8" fmla="*/ 661632 h 1276933"/>
              <a:gd name="connsiteX9" fmla="*/ 2106260 w 2553868"/>
              <a:gd name="connsiteY9" fmla="*/ 668536 h 1276933"/>
              <a:gd name="connsiteX10" fmla="*/ 1883174 w 2553868"/>
              <a:gd name="connsiteY10" fmla="*/ 640272 h 1276933"/>
              <a:gd name="connsiteX11" fmla="*/ 1932547 w 2553868"/>
              <a:gd name="connsiteY11" fmla="*/ 638575 h 1276933"/>
              <a:gd name="connsiteX12" fmla="*/ 1981796 w 2553868"/>
              <a:gd name="connsiteY12" fmla="*/ 642867 h 1276933"/>
              <a:gd name="connsiteX13" fmla="*/ 1845787 w 2553868"/>
              <a:gd name="connsiteY13" fmla="*/ 642753 h 1276933"/>
              <a:gd name="connsiteX14" fmla="*/ 1855654 w 2553868"/>
              <a:gd name="connsiteY14" fmla="*/ 641218 h 1276933"/>
              <a:gd name="connsiteX15" fmla="*/ 1865414 w 2553868"/>
              <a:gd name="connsiteY15" fmla="*/ 640882 h 1276933"/>
              <a:gd name="connsiteX16" fmla="*/ 1853116 w 2553868"/>
              <a:gd name="connsiteY16" fmla="*/ 642946 h 1276933"/>
              <a:gd name="connsiteX17" fmla="*/ 154119 w 2553868"/>
              <a:gd name="connsiteY17" fmla="*/ 668271 h 1276933"/>
              <a:gd name="connsiteX18" fmla="*/ 1276934 w 2553868"/>
              <a:gd name="connsiteY18" fmla="*/ 0 h 1276933"/>
              <a:gd name="connsiteX19" fmla="*/ 2547275 w 2553868"/>
              <a:gd name="connsiteY19" fmla="*/ 1146374 h 1276933"/>
              <a:gd name="connsiteX20" fmla="*/ 2551297 w 2553868"/>
              <a:gd name="connsiteY20" fmla="*/ 1226023 h 1276933"/>
              <a:gd name="connsiteX21" fmla="*/ 2532112 w 2553868"/>
              <a:gd name="connsiteY21" fmla="*/ 1111686 h 1276933"/>
              <a:gd name="connsiteX22" fmla="*/ 2339583 w 2553868"/>
              <a:gd name="connsiteY22" fmla="*/ 799576 h 1276933"/>
              <a:gd name="connsiteX23" fmla="*/ 2234634 w 2553868"/>
              <a:gd name="connsiteY23" fmla="*/ 724005 h 1276933"/>
              <a:gd name="connsiteX24" fmla="*/ 2234634 w 2553868"/>
              <a:gd name="connsiteY24" fmla="*/ 724005 h 1276933"/>
              <a:gd name="connsiteX25" fmla="*/ 490311 w 2553868"/>
              <a:gd name="connsiteY25" fmla="*/ 1191395 h 1276933"/>
              <a:gd name="connsiteX26" fmla="*/ 446522 w 2553868"/>
              <a:gd name="connsiteY26" fmla="*/ 1276933 h 1276933"/>
              <a:gd name="connsiteX27" fmla="*/ 0 w 2553868"/>
              <a:gd name="connsiteY27" fmla="*/ 1276933 h 1276933"/>
              <a:gd name="connsiteX28" fmla="*/ 154119 w 2553868"/>
              <a:gd name="connsiteY28" fmla="*/ 668271 h 1276933"/>
              <a:gd name="connsiteX0" fmla="*/ 2552124 w 2553868"/>
              <a:gd name="connsiteY0" fmla="*/ 1242388 h 1276933"/>
              <a:gd name="connsiteX1" fmla="*/ 2553868 w 2553868"/>
              <a:gd name="connsiteY1" fmla="*/ 1276933 h 1276933"/>
              <a:gd name="connsiteX2" fmla="*/ 2551215 w 2553868"/>
              <a:gd name="connsiteY2" fmla="*/ 1276933 h 1276933"/>
              <a:gd name="connsiteX3" fmla="*/ 2552124 w 2553868"/>
              <a:gd name="connsiteY3" fmla="*/ 1242388 h 1276933"/>
              <a:gd name="connsiteX4" fmla="*/ 2129055 w 2553868"/>
              <a:gd name="connsiteY4" fmla="*/ 676459 h 1276933"/>
              <a:gd name="connsiteX5" fmla="*/ 2161647 w 2553868"/>
              <a:gd name="connsiteY5" fmla="*/ 687789 h 1276933"/>
              <a:gd name="connsiteX6" fmla="*/ 2234634 w 2553868"/>
              <a:gd name="connsiteY6" fmla="*/ 724005 h 1276933"/>
              <a:gd name="connsiteX7" fmla="*/ 2129055 w 2553868"/>
              <a:gd name="connsiteY7" fmla="*/ 676459 h 1276933"/>
              <a:gd name="connsiteX8" fmla="*/ 1999796 w 2553868"/>
              <a:gd name="connsiteY8" fmla="*/ 644437 h 1276933"/>
              <a:gd name="connsiteX9" fmla="*/ 2009746 w 2553868"/>
              <a:gd name="connsiteY9" fmla="*/ 645303 h 1276933"/>
              <a:gd name="connsiteX10" fmla="*/ 2086399 w 2553868"/>
              <a:gd name="connsiteY10" fmla="*/ 661632 h 1276933"/>
              <a:gd name="connsiteX11" fmla="*/ 1999796 w 2553868"/>
              <a:gd name="connsiteY11" fmla="*/ 644437 h 1276933"/>
              <a:gd name="connsiteX12" fmla="*/ 1883174 w 2553868"/>
              <a:gd name="connsiteY12" fmla="*/ 640272 h 1276933"/>
              <a:gd name="connsiteX13" fmla="*/ 1932547 w 2553868"/>
              <a:gd name="connsiteY13" fmla="*/ 638575 h 1276933"/>
              <a:gd name="connsiteX14" fmla="*/ 1981796 w 2553868"/>
              <a:gd name="connsiteY14" fmla="*/ 642867 h 1276933"/>
              <a:gd name="connsiteX15" fmla="*/ 1883174 w 2553868"/>
              <a:gd name="connsiteY15" fmla="*/ 640272 h 1276933"/>
              <a:gd name="connsiteX16" fmla="*/ 1845787 w 2553868"/>
              <a:gd name="connsiteY16" fmla="*/ 642753 h 1276933"/>
              <a:gd name="connsiteX17" fmla="*/ 1855654 w 2553868"/>
              <a:gd name="connsiteY17" fmla="*/ 641218 h 1276933"/>
              <a:gd name="connsiteX18" fmla="*/ 1865414 w 2553868"/>
              <a:gd name="connsiteY18" fmla="*/ 640882 h 1276933"/>
              <a:gd name="connsiteX19" fmla="*/ 1853116 w 2553868"/>
              <a:gd name="connsiteY19" fmla="*/ 642946 h 1276933"/>
              <a:gd name="connsiteX20" fmla="*/ 1845787 w 2553868"/>
              <a:gd name="connsiteY20" fmla="*/ 642753 h 1276933"/>
              <a:gd name="connsiteX21" fmla="*/ 154119 w 2553868"/>
              <a:gd name="connsiteY21" fmla="*/ 668271 h 1276933"/>
              <a:gd name="connsiteX22" fmla="*/ 1276934 w 2553868"/>
              <a:gd name="connsiteY22" fmla="*/ 0 h 1276933"/>
              <a:gd name="connsiteX23" fmla="*/ 2547275 w 2553868"/>
              <a:gd name="connsiteY23" fmla="*/ 1146374 h 1276933"/>
              <a:gd name="connsiteX24" fmla="*/ 2551297 w 2553868"/>
              <a:gd name="connsiteY24" fmla="*/ 1226023 h 1276933"/>
              <a:gd name="connsiteX25" fmla="*/ 2532112 w 2553868"/>
              <a:gd name="connsiteY25" fmla="*/ 1111686 h 1276933"/>
              <a:gd name="connsiteX26" fmla="*/ 2339583 w 2553868"/>
              <a:gd name="connsiteY26" fmla="*/ 799576 h 1276933"/>
              <a:gd name="connsiteX27" fmla="*/ 2234634 w 2553868"/>
              <a:gd name="connsiteY27" fmla="*/ 724005 h 1276933"/>
              <a:gd name="connsiteX28" fmla="*/ 2234634 w 2553868"/>
              <a:gd name="connsiteY28" fmla="*/ 724005 h 1276933"/>
              <a:gd name="connsiteX29" fmla="*/ 490311 w 2553868"/>
              <a:gd name="connsiteY29" fmla="*/ 1191395 h 1276933"/>
              <a:gd name="connsiteX30" fmla="*/ 446522 w 2553868"/>
              <a:gd name="connsiteY30" fmla="*/ 1276933 h 1276933"/>
              <a:gd name="connsiteX31" fmla="*/ 0 w 2553868"/>
              <a:gd name="connsiteY31" fmla="*/ 1276933 h 1276933"/>
              <a:gd name="connsiteX32" fmla="*/ 154119 w 2553868"/>
              <a:gd name="connsiteY32" fmla="*/ 668271 h 1276933"/>
              <a:gd name="connsiteX0" fmla="*/ 2552124 w 2553868"/>
              <a:gd name="connsiteY0" fmla="*/ 1242388 h 1276933"/>
              <a:gd name="connsiteX1" fmla="*/ 2553868 w 2553868"/>
              <a:gd name="connsiteY1" fmla="*/ 1276933 h 1276933"/>
              <a:gd name="connsiteX2" fmla="*/ 2551215 w 2553868"/>
              <a:gd name="connsiteY2" fmla="*/ 1276933 h 1276933"/>
              <a:gd name="connsiteX3" fmla="*/ 2552124 w 2553868"/>
              <a:gd name="connsiteY3" fmla="*/ 1242388 h 1276933"/>
              <a:gd name="connsiteX4" fmla="*/ 2129055 w 2553868"/>
              <a:gd name="connsiteY4" fmla="*/ 676459 h 1276933"/>
              <a:gd name="connsiteX5" fmla="*/ 2161647 w 2553868"/>
              <a:gd name="connsiteY5" fmla="*/ 687789 h 1276933"/>
              <a:gd name="connsiteX6" fmla="*/ 2234634 w 2553868"/>
              <a:gd name="connsiteY6" fmla="*/ 724005 h 1276933"/>
              <a:gd name="connsiteX7" fmla="*/ 2129055 w 2553868"/>
              <a:gd name="connsiteY7" fmla="*/ 676459 h 1276933"/>
              <a:gd name="connsiteX8" fmla="*/ 2086399 w 2553868"/>
              <a:gd name="connsiteY8" fmla="*/ 661632 h 1276933"/>
              <a:gd name="connsiteX9" fmla="*/ 2009746 w 2553868"/>
              <a:gd name="connsiteY9" fmla="*/ 645303 h 1276933"/>
              <a:gd name="connsiteX10" fmla="*/ 2086399 w 2553868"/>
              <a:gd name="connsiteY10" fmla="*/ 661632 h 1276933"/>
              <a:gd name="connsiteX11" fmla="*/ 1883174 w 2553868"/>
              <a:gd name="connsiteY11" fmla="*/ 640272 h 1276933"/>
              <a:gd name="connsiteX12" fmla="*/ 1932547 w 2553868"/>
              <a:gd name="connsiteY12" fmla="*/ 638575 h 1276933"/>
              <a:gd name="connsiteX13" fmla="*/ 1981796 w 2553868"/>
              <a:gd name="connsiteY13" fmla="*/ 642867 h 1276933"/>
              <a:gd name="connsiteX14" fmla="*/ 1883174 w 2553868"/>
              <a:gd name="connsiteY14" fmla="*/ 640272 h 1276933"/>
              <a:gd name="connsiteX15" fmla="*/ 1845787 w 2553868"/>
              <a:gd name="connsiteY15" fmla="*/ 642753 h 1276933"/>
              <a:gd name="connsiteX16" fmla="*/ 1855654 w 2553868"/>
              <a:gd name="connsiteY16" fmla="*/ 641218 h 1276933"/>
              <a:gd name="connsiteX17" fmla="*/ 1865414 w 2553868"/>
              <a:gd name="connsiteY17" fmla="*/ 640882 h 1276933"/>
              <a:gd name="connsiteX18" fmla="*/ 1853116 w 2553868"/>
              <a:gd name="connsiteY18" fmla="*/ 642946 h 1276933"/>
              <a:gd name="connsiteX19" fmla="*/ 1845787 w 2553868"/>
              <a:gd name="connsiteY19" fmla="*/ 642753 h 1276933"/>
              <a:gd name="connsiteX20" fmla="*/ 154119 w 2553868"/>
              <a:gd name="connsiteY20" fmla="*/ 668271 h 1276933"/>
              <a:gd name="connsiteX21" fmla="*/ 1276934 w 2553868"/>
              <a:gd name="connsiteY21" fmla="*/ 0 h 1276933"/>
              <a:gd name="connsiteX22" fmla="*/ 2547275 w 2553868"/>
              <a:gd name="connsiteY22" fmla="*/ 1146374 h 1276933"/>
              <a:gd name="connsiteX23" fmla="*/ 2551297 w 2553868"/>
              <a:gd name="connsiteY23" fmla="*/ 1226023 h 1276933"/>
              <a:gd name="connsiteX24" fmla="*/ 2532112 w 2553868"/>
              <a:gd name="connsiteY24" fmla="*/ 1111686 h 1276933"/>
              <a:gd name="connsiteX25" fmla="*/ 2339583 w 2553868"/>
              <a:gd name="connsiteY25" fmla="*/ 799576 h 1276933"/>
              <a:gd name="connsiteX26" fmla="*/ 2234634 w 2553868"/>
              <a:gd name="connsiteY26" fmla="*/ 724005 h 1276933"/>
              <a:gd name="connsiteX27" fmla="*/ 2234634 w 2553868"/>
              <a:gd name="connsiteY27" fmla="*/ 724005 h 1276933"/>
              <a:gd name="connsiteX28" fmla="*/ 490311 w 2553868"/>
              <a:gd name="connsiteY28" fmla="*/ 1191395 h 1276933"/>
              <a:gd name="connsiteX29" fmla="*/ 446522 w 2553868"/>
              <a:gd name="connsiteY29" fmla="*/ 1276933 h 1276933"/>
              <a:gd name="connsiteX30" fmla="*/ 0 w 2553868"/>
              <a:gd name="connsiteY30" fmla="*/ 1276933 h 1276933"/>
              <a:gd name="connsiteX31" fmla="*/ 154119 w 2553868"/>
              <a:gd name="connsiteY31" fmla="*/ 668271 h 1276933"/>
              <a:gd name="connsiteX0" fmla="*/ 2552124 w 2553868"/>
              <a:gd name="connsiteY0" fmla="*/ 1242388 h 1276933"/>
              <a:gd name="connsiteX1" fmla="*/ 2553868 w 2553868"/>
              <a:gd name="connsiteY1" fmla="*/ 1276933 h 1276933"/>
              <a:gd name="connsiteX2" fmla="*/ 2551215 w 2553868"/>
              <a:gd name="connsiteY2" fmla="*/ 1276933 h 1276933"/>
              <a:gd name="connsiteX3" fmla="*/ 2552124 w 2553868"/>
              <a:gd name="connsiteY3" fmla="*/ 1242388 h 1276933"/>
              <a:gd name="connsiteX4" fmla="*/ 2129055 w 2553868"/>
              <a:gd name="connsiteY4" fmla="*/ 676459 h 1276933"/>
              <a:gd name="connsiteX5" fmla="*/ 2161647 w 2553868"/>
              <a:gd name="connsiteY5" fmla="*/ 687789 h 1276933"/>
              <a:gd name="connsiteX6" fmla="*/ 2234634 w 2553868"/>
              <a:gd name="connsiteY6" fmla="*/ 724005 h 1276933"/>
              <a:gd name="connsiteX7" fmla="*/ 2129055 w 2553868"/>
              <a:gd name="connsiteY7" fmla="*/ 676459 h 1276933"/>
              <a:gd name="connsiteX8" fmla="*/ 1883174 w 2553868"/>
              <a:gd name="connsiteY8" fmla="*/ 640272 h 1276933"/>
              <a:gd name="connsiteX9" fmla="*/ 1932547 w 2553868"/>
              <a:gd name="connsiteY9" fmla="*/ 638575 h 1276933"/>
              <a:gd name="connsiteX10" fmla="*/ 1981796 w 2553868"/>
              <a:gd name="connsiteY10" fmla="*/ 642867 h 1276933"/>
              <a:gd name="connsiteX11" fmla="*/ 1883174 w 2553868"/>
              <a:gd name="connsiteY11" fmla="*/ 640272 h 1276933"/>
              <a:gd name="connsiteX12" fmla="*/ 1845787 w 2553868"/>
              <a:gd name="connsiteY12" fmla="*/ 642753 h 1276933"/>
              <a:gd name="connsiteX13" fmla="*/ 1855654 w 2553868"/>
              <a:gd name="connsiteY13" fmla="*/ 641218 h 1276933"/>
              <a:gd name="connsiteX14" fmla="*/ 1865414 w 2553868"/>
              <a:gd name="connsiteY14" fmla="*/ 640882 h 1276933"/>
              <a:gd name="connsiteX15" fmla="*/ 1853116 w 2553868"/>
              <a:gd name="connsiteY15" fmla="*/ 642946 h 1276933"/>
              <a:gd name="connsiteX16" fmla="*/ 1845787 w 2553868"/>
              <a:gd name="connsiteY16" fmla="*/ 642753 h 1276933"/>
              <a:gd name="connsiteX17" fmla="*/ 154119 w 2553868"/>
              <a:gd name="connsiteY17" fmla="*/ 668271 h 1276933"/>
              <a:gd name="connsiteX18" fmla="*/ 1276934 w 2553868"/>
              <a:gd name="connsiteY18" fmla="*/ 0 h 1276933"/>
              <a:gd name="connsiteX19" fmla="*/ 2547275 w 2553868"/>
              <a:gd name="connsiteY19" fmla="*/ 1146374 h 1276933"/>
              <a:gd name="connsiteX20" fmla="*/ 2551297 w 2553868"/>
              <a:gd name="connsiteY20" fmla="*/ 1226023 h 1276933"/>
              <a:gd name="connsiteX21" fmla="*/ 2532112 w 2553868"/>
              <a:gd name="connsiteY21" fmla="*/ 1111686 h 1276933"/>
              <a:gd name="connsiteX22" fmla="*/ 2339583 w 2553868"/>
              <a:gd name="connsiteY22" fmla="*/ 799576 h 1276933"/>
              <a:gd name="connsiteX23" fmla="*/ 2234634 w 2553868"/>
              <a:gd name="connsiteY23" fmla="*/ 724005 h 1276933"/>
              <a:gd name="connsiteX24" fmla="*/ 2234634 w 2553868"/>
              <a:gd name="connsiteY24" fmla="*/ 724005 h 1276933"/>
              <a:gd name="connsiteX25" fmla="*/ 490311 w 2553868"/>
              <a:gd name="connsiteY25" fmla="*/ 1191395 h 1276933"/>
              <a:gd name="connsiteX26" fmla="*/ 446522 w 2553868"/>
              <a:gd name="connsiteY26" fmla="*/ 1276933 h 1276933"/>
              <a:gd name="connsiteX27" fmla="*/ 0 w 2553868"/>
              <a:gd name="connsiteY27" fmla="*/ 1276933 h 1276933"/>
              <a:gd name="connsiteX28" fmla="*/ 154119 w 2553868"/>
              <a:gd name="connsiteY28" fmla="*/ 668271 h 1276933"/>
              <a:gd name="connsiteX0" fmla="*/ 2552124 w 2553868"/>
              <a:gd name="connsiteY0" fmla="*/ 1242388 h 1276933"/>
              <a:gd name="connsiteX1" fmla="*/ 2553868 w 2553868"/>
              <a:gd name="connsiteY1" fmla="*/ 1276933 h 1276933"/>
              <a:gd name="connsiteX2" fmla="*/ 2551215 w 2553868"/>
              <a:gd name="connsiteY2" fmla="*/ 1276933 h 1276933"/>
              <a:gd name="connsiteX3" fmla="*/ 2552124 w 2553868"/>
              <a:gd name="connsiteY3" fmla="*/ 1242388 h 1276933"/>
              <a:gd name="connsiteX4" fmla="*/ 2129055 w 2553868"/>
              <a:gd name="connsiteY4" fmla="*/ 676459 h 1276933"/>
              <a:gd name="connsiteX5" fmla="*/ 2161647 w 2553868"/>
              <a:gd name="connsiteY5" fmla="*/ 687789 h 1276933"/>
              <a:gd name="connsiteX6" fmla="*/ 2234634 w 2553868"/>
              <a:gd name="connsiteY6" fmla="*/ 724005 h 1276933"/>
              <a:gd name="connsiteX7" fmla="*/ 2129055 w 2553868"/>
              <a:gd name="connsiteY7" fmla="*/ 676459 h 1276933"/>
              <a:gd name="connsiteX8" fmla="*/ 1883174 w 2553868"/>
              <a:gd name="connsiteY8" fmla="*/ 640272 h 1276933"/>
              <a:gd name="connsiteX9" fmla="*/ 1932547 w 2553868"/>
              <a:gd name="connsiteY9" fmla="*/ 638575 h 1276933"/>
              <a:gd name="connsiteX10" fmla="*/ 1883174 w 2553868"/>
              <a:gd name="connsiteY10" fmla="*/ 640272 h 1276933"/>
              <a:gd name="connsiteX11" fmla="*/ 1845787 w 2553868"/>
              <a:gd name="connsiteY11" fmla="*/ 642753 h 1276933"/>
              <a:gd name="connsiteX12" fmla="*/ 1855654 w 2553868"/>
              <a:gd name="connsiteY12" fmla="*/ 641218 h 1276933"/>
              <a:gd name="connsiteX13" fmla="*/ 1865414 w 2553868"/>
              <a:gd name="connsiteY13" fmla="*/ 640882 h 1276933"/>
              <a:gd name="connsiteX14" fmla="*/ 1853116 w 2553868"/>
              <a:gd name="connsiteY14" fmla="*/ 642946 h 1276933"/>
              <a:gd name="connsiteX15" fmla="*/ 1845787 w 2553868"/>
              <a:gd name="connsiteY15" fmla="*/ 642753 h 1276933"/>
              <a:gd name="connsiteX16" fmla="*/ 154119 w 2553868"/>
              <a:gd name="connsiteY16" fmla="*/ 668271 h 1276933"/>
              <a:gd name="connsiteX17" fmla="*/ 1276934 w 2553868"/>
              <a:gd name="connsiteY17" fmla="*/ 0 h 1276933"/>
              <a:gd name="connsiteX18" fmla="*/ 2547275 w 2553868"/>
              <a:gd name="connsiteY18" fmla="*/ 1146374 h 1276933"/>
              <a:gd name="connsiteX19" fmla="*/ 2551297 w 2553868"/>
              <a:gd name="connsiteY19" fmla="*/ 1226023 h 1276933"/>
              <a:gd name="connsiteX20" fmla="*/ 2532112 w 2553868"/>
              <a:gd name="connsiteY20" fmla="*/ 1111686 h 1276933"/>
              <a:gd name="connsiteX21" fmla="*/ 2339583 w 2553868"/>
              <a:gd name="connsiteY21" fmla="*/ 799576 h 1276933"/>
              <a:gd name="connsiteX22" fmla="*/ 2234634 w 2553868"/>
              <a:gd name="connsiteY22" fmla="*/ 724005 h 1276933"/>
              <a:gd name="connsiteX23" fmla="*/ 2234634 w 2553868"/>
              <a:gd name="connsiteY23" fmla="*/ 724005 h 1276933"/>
              <a:gd name="connsiteX24" fmla="*/ 490311 w 2553868"/>
              <a:gd name="connsiteY24" fmla="*/ 1191395 h 1276933"/>
              <a:gd name="connsiteX25" fmla="*/ 446522 w 2553868"/>
              <a:gd name="connsiteY25" fmla="*/ 1276933 h 1276933"/>
              <a:gd name="connsiteX26" fmla="*/ 0 w 2553868"/>
              <a:gd name="connsiteY26" fmla="*/ 1276933 h 1276933"/>
              <a:gd name="connsiteX27" fmla="*/ 154119 w 2553868"/>
              <a:gd name="connsiteY27" fmla="*/ 668271 h 1276933"/>
              <a:gd name="connsiteX0" fmla="*/ 2552124 w 2553868"/>
              <a:gd name="connsiteY0" fmla="*/ 1242388 h 1276933"/>
              <a:gd name="connsiteX1" fmla="*/ 2553868 w 2553868"/>
              <a:gd name="connsiteY1" fmla="*/ 1276933 h 1276933"/>
              <a:gd name="connsiteX2" fmla="*/ 2551215 w 2553868"/>
              <a:gd name="connsiteY2" fmla="*/ 1276933 h 1276933"/>
              <a:gd name="connsiteX3" fmla="*/ 2552124 w 2553868"/>
              <a:gd name="connsiteY3" fmla="*/ 1242388 h 1276933"/>
              <a:gd name="connsiteX4" fmla="*/ 2129055 w 2553868"/>
              <a:gd name="connsiteY4" fmla="*/ 676459 h 1276933"/>
              <a:gd name="connsiteX5" fmla="*/ 2161647 w 2553868"/>
              <a:gd name="connsiteY5" fmla="*/ 687789 h 1276933"/>
              <a:gd name="connsiteX6" fmla="*/ 2234634 w 2553868"/>
              <a:gd name="connsiteY6" fmla="*/ 724005 h 1276933"/>
              <a:gd name="connsiteX7" fmla="*/ 2129055 w 2553868"/>
              <a:gd name="connsiteY7" fmla="*/ 676459 h 1276933"/>
              <a:gd name="connsiteX8" fmla="*/ 1845787 w 2553868"/>
              <a:gd name="connsiteY8" fmla="*/ 642753 h 1276933"/>
              <a:gd name="connsiteX9" fmla="*/ 1855654 w 2553868"/>
              <a:gd name="connsiteY9" fmla="*/ 641218 h 1276933"/>
              <a:gd name="connsiteX10" fmla="*/ 1865414 w 2553868"/>
              <a:gd name="connsiteY10" fmla="*/ 640882 h 1276933"/>
              <a:gd name="connsiteX11" fmla="*/ 1853116 w 2553868"/>
              <a:gd name="connsiteY11" fmla="*/ 642946 h 1276933"/>
              <a:gd name="connsiteX12" fmla="*/ 1845787 w 2553868"/>
              <a:gd name="connsiteY12" fmla="*/ 642753 h 1276933"/>
              <a:gd name="connsiteX13" fmla="*/ 154119 w 2553868"/>
              <a:gd name="connsiteY13" fmla="*/ 668271 h 1276933"/>
              <a:gd name="connsiteX14" fmla="*/ 1276934 w 2553868"/>
              <a:gd name="connsiteY14" fmla="*/ 0 h 1276933"/>
              <a:gd name="connsiteX15" fmla="*/ 2547275 w 2553868"/>
              <a:gd name="connsiteY15" fmla="*/ 1146374 h 1276933"/>
              <a:gd name="connsiteX16" fmla="*/ 2551297 w 2553868"/>
              <a:gd name="connsiteY16" fmla="*/ 1226023 h 1276933"/>
              <a:gd name="connsiteX17" fmla="*/ 2532112 w 2553868"/>
              <a:gd name="connsiteY17" fmla="*/ 1111686 h 1276933"/>
              <a:gd name="connsiteX18" fmla="*/ 2339583 w 2553868"/>
              <a:gd name="connsiteY18" fmla="*/ 799576 h 1276933"/>
              <a:gd name="connsiteX19" fmla="*/ 2234634 w 2553868"/>
              <a:gd name="connsiteY19" fmla="*/ 724005 h 1276933"/>
              <a:gd name="connsiteX20" fmla="*/ 2234634 w 2553868"/>
              <a:gd name="connsiteY20" fmla="*/ 724005 h 1276933"/>
              <a:gd name="connsiteX21" fmla="*/ 490311 w 2553868"/>
              <a:gd name="connsiteY21" fmla="*/ 1191395 h 1276933"/>
              <a:gd name="connsiteX22" fmla="*/ 446522 w 2553868"/>
              <a:gd name="connsiteY22" fmla="*/ 1276933 h 1276933"/>
              <a:gd name="connsiteX23" fmla="*/ 0 w 2553868"/>
              <a:gd name="connsiteY23" fmla="*/ 1276933 h 1276933"/>
              <a:gd name="connsiteX24" fmla="*/ 154119 w 2553868"/>
              <a:gd name="connsiteY24" fmla="*/ 668271 h 1276933"/>
              <a:gd name="connsiteX0" fmla="*/ 2552124 w 2553868"/>
              <a:gd name="connsiteY0" fmla="*/ 1242388 h 1276933"/>
              <a:gd name="connsiteX1" fmla="*/ 2553868 w 2553868"/>
              <a:gd name="connsiteY1" fmla="*/ 1276933 h 1276933"/>
              <a:gd name="connsiteX2" fmla="*/ 2551215 w 2553868"/>
              <a:gd name="connsiteY2" fmla="*/ 1276933 h 1276933"/>
              <a:gd name="connsiteX3" fmla="*/ 2552124 w 2553868"/>
              <a:gd name="connsiteY3" fmla="*/ 1242388 h 1276933"/>
              <a:gd name="connsiteX4" fmla="*/ 2129055 w 2553868"/>
              <a:gd name="connsiteY4" fmla="*/ 676459 h 1276933"/>
              <a:gd name="connsiteX5" fmla="*/ 2161647 w 2553868"/>
              <a:gd name="connsiteY5" fmla="*/ 687789 h 1276933"/>
              <a:gd name="connsiteX6" fmla="*/ 2234634 w 2553868"/>
              <a:gd name="connsiteY6" fmla="*/ 724005 h 1276933"/>
              <a:gd name="connsiteX7" fmla="*/ 2129055 w 2553868"/>
              <a:gd name="connsiteY7" fmla="*/ 676459 h 1276933"/>
              <a:gd name="connsiteX8" fmla="*/ 1845787 w 2553868"/>
              <a:gd name="connsiteY8" fmla="*/ 642753 h 1276933"/>
              <a:gd name="connsiteX9" fmla="*/ 1855654 w 2553868"/>
              <a:gd name="connsiteY9" fmla="*/ 641218 h 1276933"/>
              <a:gd name="connsiteX10" fmla="*/ 1865414 w 2553868"/>
              <a:gd name="connsiteY10" fmla="*/ 640882 h 1276933"/>
              <a:gd name="connsiteX11" fmla="*/ 1845787 w 2553868"/>
              <a:gd name="connsiteY11" fmla="*/ 642753 h 1276933"/>
              <a:gd name="connsiteX12" fmla="*/ 154119 w 2553868"/>
              <a:gd name="connsiteY12" fmla="*/ 668271 h 1276933"/>
              <a:gd name="connsiteX13" fmla="*/ 1276934 w 2553868"/>
              <a:gd name="connsiteY13" fmla="*/ 0 h 1276933"/>
              <a:gd name="connsiteX14" fmla="*/ 2547275 w 2553868"/>
              <a:gd name="connsiteY14" fmla="*/ 1146374 h 1276933"/>
              <a:gd name="connsiteX15" fmla="*/ 2551297 w 2553868"/>
              <a:gd name="connsiteY15" fmla="*/ 1226023 h 1276933"/>
              <a:gd name="connsiteX16" fmla="*/ 2532112 w 2553868"/>
              <a:gd name="connsiteY16" fmla="*/ 1111686 h 1276933"/>
              <a:gd name="connsiteX17" fmla="*/ 2339583 w 2553868"/>
              <a:gd name="connsiteY17" fmla="*/ 799576 h 1276933"/>
              <a:gd name="connsiteX18" fmla="*/ 2234634 w 2553868"/>
              <a:gd name="connsiteY18" fmla="*/ 724005 h 1276933"/>
              <a:gd name="connsiteX19" fmla="*/ 2234634 w 2553868"/>
              <a:gd name="connsiteY19" fmla="*/ 724005 h 1276933"/>
              <a:gd name="connsiteX20" fmla="*/ 490311 w 2553868"/>
              <a:gd name="connsiteY20" fmla="*/ 1191395 h 1276933"/>
              <a:gd name="connsiteX21" fmla="*/ 446522 w 2553868"/>
              <a:gd name="connsiteY21" fmla="*/ 1276933 h 1276933"/>
              <a:gd name="connsiteX22" fmla="*/ 0 w 2553868"/>
              <a:gd name="connsiteY22" fmla="*/ 1276933 h 1276933"/>
              <a:gd name="connsiteX23" fmla="*/ 154119 w 2553868"/>
              <a:gd name="connsiteY23" fmla="*/ 668271 h 1276933"/>
              <a:gd name="connsiteX0" fmla="*/ 2552124 w 2553868"/>
              <a:gd name="connsiteY0" fmla="*/ 1242388 h 1276933"/>
              <a:gd name="connsiteX1" fmla="*/ 2553868 w 2553868"/>
              <a:gd name="connsiteY1" fmla="*/ 1276933 h 1276933"/>
              <a:gd name="connsiteX2" fmla="*/ 2551215 w 2553868"/>
              <a:gd name="connsiteY2" fmla="*/ 1276933 h 1276933"/>
              <a:gd name="connsiteX3" fmla="*/ 2552124 w 2553868"/>
              <a:gd name="connsiteY3" fmla="*/ 1242388 h 1276933"/>
              <a:gd name="connsiteX4" fmla="*/ 2129055 w 2553868"/>
              <a:gd name="connsiteY4" fmla="*/ 676459 h 1276933"/>
              <a:gd name="connsiteX5" fmla="*/ 2161647 w 2553868"/>
              <a:gd name="connsiteY5" fmla="*/ 687789 h 1276933"/>
              <a:gd name="connsiteX6" fmla="*/ 2234634 w 2553868"/>
              <a:gd name="connsiteY6" fmla="*/ 724005 h 1276933"/>
              <a:gd name="connsiteX7" fmla="*/ 2129055 w 2553868"/>
              <a:gd name="connsiteY7" fmla="*/ 676459 h 1276933"/>
              <a:gd name="connsiteX8" fmla="*/ 1845787 w 2553868"/>
              <a:gd name="connsiteY8" fmla="*/ 642753 h 1276933"/>
              <a:gd name="connsiteX9" fmla="*/ 1855654 w 2553868"/>
              <a:gd name="connsiteY9" fmla="*/ 641218 h 1276933"/>
              <a:gd name="connsiteX10" fmla="*/ 1845787 w 2553868"/>
              <a:gd name="connsiteY10" fmla="*/ 642753 h 1276933"/>
              <a:gd name="connsiteX11" fmla="*/ 154119 w 2553868"/>
              <a:gd name="connsiteY11" fmla="*/ 668271 h 1276933"/>
              <a:gd name="connsiteX12" fmla="*/ 1276934 w 2553868"/>
              <a:gd name="connsiteY12" fmla="*/ 0 h 1276933"/>
              <a:gd name="connsiteX13" fmla="*/ 2547275 w 2553868"/>
              <a:gd name="connsiteY13" fmla="*/ 1146374 h 1276933"/>
              <a:gd name="connsiteX14" fmla="*/ 2551297 w 2553868"/>
              <a:gd name="connsiteY14" fmla="*/ 1226023 h 1276933"/>
              <a:gd name="connsiteX15" fmla="*/ 2532112 w 2553868"/>
              <a:gd name="connsiteY15" fmla="*/ 1111686 h 1276933"/>
              <a:gd name="connsiteX16" fmla="*/ 2339583 w 2553868"/>
              <a:gd name="connsiteY16" fmla="*/ 799576 h 1276933"/>
              <a:gd name="connsiteX17" fmla="*/ 2234634 w 2553868"/>
              <a:gd name="connsiteY17" fmla="*/ 724005 h 1276933"/>
              <a:gd name="connsiteX18" fmla="*/ 2234634 w 2553868"/>
              <a:gd name="connsiteY18" fmla="*/ 724005 h 1276933"/>
              <a:gd name="connsiteX19" fmla="*/ 490311 w 2553868"/>
              <a:gd name="connsiteY19" fmla="*/ 1191395 h 1276933"/>
              <a:gd name="connsiteX20" fmla="*/ 446522 w 2553868"/>
              <a:gd name="connsiteY20" fmla="*/ 1276933 h 1276933"/>
              <a:gd name="connsiteX21" fmla="*/ 0 w 2553868"/>
              <a:gd name="connsiteY21" fmla="*/ 1276933 h 1276933"/>
              <a:gd name="connsiteX22" fmla="*/ 154119 w 2553868"/>
              <a:gd name="connsiteY22" fmla="*/ 668271 h 1276933"/>
              <a:gd name="connsiteX0" fmla="*/ 2552124 w 2553868"/>
              <a:gd name="connsiteY0" fmla="*/ 1242388 h 1276933"/>
              <a:gd name="connsiteX1" fmla="*/ 2553868 w 2553868"/>
              <a:gd name="connsiteY1" fmla="*/ 1276933 h 1276933"/>
              <a:gd name="connsiteX2" fmla="*/ 2551215 w 2553868"/>
              <a:gd name="connsiteY2" fmla="*/ 1276933 h 1276933"/>
              <a:gd name="connsiteX3" fmla="*/ 2552124 w 2553868"/>
              <a:gd name="connsiteY3" fmla="*/ 1242388 h 1276933"/>
              <a:gd name="connsiteX4" fmla="*/ 2129055 w 2553868"/>
              <a:gd name="connsiteY4" fmla="*/ 676459 h 1276933"/>
              <a:gd name="connsiteX5" fmla="*/ 2161647 w 2553868"/>
              <a:gd name="connsiteY5" fmla="*/ 687789 h 1276933"/>
              <a:gd name="connsiteX6" fmla="*/ 2234634 w 2553868"/>
              <a:gd name="connsiteY6" fmla="*/ 724005 h 1276933"/>
              <a:gd name="connsiteX7" fmla="*/ 2129055 w 2553868"/>
              <a:gd name="connsiteY7" fmla="*/ 676459 h 1276933"/>
              <a:gd name="connsiteX8" fmla="*/ 154119 w 2553868"/>
              <a:gd name="connsiteY8" fmla="*/ 668271 h 1276933"/>
              <a:gd name="connsiteX9" fmla="*/ 1276934 w 2553868"/>
              <a:gd name="connsiteY9" fmla="*/ 0 h 1276933"/>
              <a:gd name="connsiteX10" fmla="*/ 2547275 w 2553868"/>
              <a:gd name="connsiteY10" fmla="*/ 1146374 h 1276933"/>
              <a:gd name="connsiteX11" fmla="*/ 2551297 w 2553868"/>
              <a:gd name="connsiteY11" fmla="*/ 1226023 h 1276933"/>
              <a:gd name="connsiteX12" fmla="*/ 2532112 w 2553868"/>
              <a:gd name="connsiteY12" fmla="*/ 1111686 h 1276933"/>
              <a:gd name="connsiteX13" fmla="*/ 2339583 w 2553868"/>
              <a:gd name="connsiteY13" fmla="*/ 799576 h 1276933"/>
              <a:gd name="connsiteX14" fmla="*/ 2234634 w 2553868"/>
              <a:gd name="connsiteY14" fmla="*/ 724005 h 1276933"/>
              <a:gd name="connsiteX15" fmla="*/ 2234634 w 2553868"/>
              <a:gd name="connsiteY15" fmla="*/ 724005 h 1276933"/>
              <a:gd name="connsiteX16" fmla="*/ 490311 w 2553868"/>
              <a:gd name="connsiteY16" fmla="*/ 1191395 h 1276933"/>
              <a:gd name="connsiteX17" fmla="*/ 446522 w 2553868"/>
              <a:gd name="connsiteY17" fmla="*/ 1276933 h 1276933"/>
              <a:gd name="connsiteX18" fmla="*/ 0 w 2553868"/>
              <a:gd name="connsiteY18" fmla="*/ 1276933 h 1276933"/>
              <a:gd name="connsiteX19" fmla="*/ 154119 w 2553868"/>
              <a:gd name="connsiteY19" fmla="*/ 668271 h 1276933"/>
              <a:gd name="connsiteX0" fmla="*/ 2552124 w 2553868"/>
              <a:gd name="connsiteY0" fmla="*/ 1242388 h 1276933"/>
              <a:gd name="connsiteX1" fmla="*/ 2553868 w 2553868"/>
              <a:gd name="connsiteY1" fmla="*/ 1276933 h 1276933"/>
              <a:gd name="connsiteX2" fmla="*/ 2551215 w 2553868"/>
              <a:gd name="connsiteY2" fmla="*/ 1276933 h 1276933"/>
              <a:gd name="connsiteX3" fmla="*/ 2552124 w 2553868"/>
              <a:gd name="connsiteY3" fmla="*/ 1242388 h 1276933"/>
              <a:gd name="connsiteX4" fmla="*/ 2234634 w 2553868"/>
              <a:gd name="connsiteY4" fmla="*/ 724005 h 1276933"/>
              <a:gd name="connsiteX5" fmla="*/ 2161647 w 2553868"/>
              <a:gd name="connsiteY5" fmla="*/ 687789 h 1276933"/>
              <a:gd name="connsiteX6" fmla="*/ 2234634 w 2553868"/>
              <a:gd name="connsiteY6" fmla="*/ 724005 h 1276933"/>
              <a:gd name="connsiteX7" fmla="*/ 154119 w 2553868"/>
              <a:gd name="connsiteY7" fmla="*/ 668271 h 1276933"/>
              <a:gd name="connsiteX8" fmla="*/ 1276934 w 2553868"/>
              <a:gd name="connsiteY8" fmla="*/ 0 h 1276933"/>
              <a:gd name="connsiteX9" fmla="*/ 2547275 w 2553868"/>
              <a:gd name="connsiteY9" fmla="*/ 1146374 h 1276933"/>
              <a:gd name="connsiteX10" fmla="*/ 2551297 w 2553868"/>
              <a:gd name="connsiteY10" fmla="*/ 1226023 h 1276933"/>
              <a:gd name="connsiteX11" fmla="*/ 2532112 w 2553868"/>
              <a:gd name="connsiteY11" fmla="*/ 1111686 h 1276933"/>
              <a:gd name="connsiteX12" fmla="*/ 2339583 w 2553868"/>
              <a:gd name="connsiteY12" fmla="*/ 799576 h 1276933"/>
              <a:gd name="connsiteX13" fmla="*/ 2234634 w 2553868"/>
              <a:gd name="connsiteY13" fmla="*/ 724005 h 1276933"/>
              <a:gd name="connsiteX14" fmla="*/ 2234634 w 2553868"/>
              <a:gd name="connsiteY14" fmla="*/ 724005 h 1276933"/>
              <a:gd name="connsiteX15" fmla="*/ 490311 w 2553868"/>
              <a:gd name="connsiteY15" fmla="*/ 1191395 h 1276933"/>
              <a:gd name="connsiteX16" fmla="*/ 446522 w 2553868"/>
              <a:gd name="connsiteY16" fmla="*/ 1276933 h 1276933"/>
              <a:gd name="connsiteX17" fmla="*/ 0 w 2553868"/>
              <a:gd name="connsiteY17" fmla="*/ 1276933 h 1276933"/>
              <a:gd name="connsiteX18" fmla="*/ 154119 w 2553868"/>
              <a:gd name="connsiteY18" fmla="*/ 668271 h 12769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553868" h="1276933">
                <a:moveTo>
                  <a:pt x="2552124" y="1242388"/>
                </a:moveTo>
                <a:lnTo>
                  <a:pt x="2553868" y="1276933"/>
                </a:lnTo>
                <a:lnTo>
                  <a:pt x="2551215" y="1276933"/>
                </a:lnTo>
                <a:lnTo>
                  <a:pt x="2552124" y="1242388"/>
                </a:lnTo>
                <a:close/>
                <a:moveTo>
                  <a:pt x="2234634" y="724005"/>
                </a:moveTo>
                <a:lnTo>
                  <a:pt x="2161647" y="687789"/>
                </a:lnTo>
                <a:lnTo>
                  <a:pt x="2234634" y="724005"/>
                </a:lnTo>
                <a:close/>
                <a:moveTo>
                  <a:pt x="154119" y="668271"/>
                </a:moveTo>
                <a:cubicBezTo>
                  <a:pt x="370354" y="270219"/>
                  <a:pt x="792087" y="0"/>
                  <a:pt x="1276934" y="0"/>
                </a:cubicBezTo>
                <a:cubicBezTo>
                  <a:pt x="1938088" y="0"/>
                  <a:pt x="2481883" y="502474"/>
                  <a:pt x="2547275" y="1146374"/>
                </a:cubicBezTo>
                <a:lnTo>
                  <a:pt x="2551297" y="1226023"/>
                </a:lnTo>
                <a:lnTo>
                  <a:pt x="2532112" y="1111686"/>
                </a:lnTo>
                <a:cubicBezTo>
                  <a:pt x="2500394" y="993314"/>
                  <a:pt x="2434808" y="884016"/>
                  <a:pt x="2339583" y="799576"/>
                </a:cubicBezTo>
                <a:lnTo>
                  <a:pt x="2234634" y="724005"/>
                </a:lnTo>
                <a:lnTo>
                  <a:pt x="2234634" y="724005"/>
                </a:lnTo>
                <a:cubicBezTo>
                  <a:pt x="1623887" y="371390"/>
                  <a:pt x="842926" y="580648"/>
                  <a:pt x="490311" y="1191395"/>
                </a:cubicBezTo>
                <a:lnTo>
                  <a:pt x="446522" y="1276933"/>
                </a:lnTo>
                <a:lnTo>
                  <a:pt x="0" y="1276933"/>
                </a:lnTo>
                <a:cubicBezTo>
                  <a:pt x="0" y="1056549"/>
                  <a:pt x="55830" y="849204"/>
                  <a:pt x="154119" y="668271"/>
                </a:cubicBezTo>
                <a:close/>
              </a:path>
            </a:pathLst>
          </a:custGeom>
          <a:gradFill flip="none" rotWithShape="1">
            <a:gsLst>
              <a:gs pos="2247">
                <a:schemeClr val="accent1">
                  <a:lumMod val="20000"/>
                  <a:lumOff val="80000"/>
                </a:schemeClr>
              </a:gs>
              <a:gs pos="16854">
                <a:schemeClr val="accent1">
                  <a:lumMod val="40000"/>
                  <a:lumOff val="60000"/>
                </a:schemeClr>
              </a:gs>
              <a:gs pos="52000">
                <a:schemeClr val="accent1">
                  <a:lumMod val="60000"/>
                  <a:lumOff val="40000"/>
                </a:schemeClr>
              </a:gs>
              <a:gs pos="77000">
                <a:schemeClr val="accent1"/>
              </a:gs>
            </a:gsLst>
            <a:lin ang="135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8" name="Rectangle 14">
            <a:extLst>
              <a:ext uri="{FF2B5EF4-FFF2-40B4-BE49-F238E27FC236}">
                <a16:creationId xmlns:a16="http://schemas.microsoft.com/office/drawing/2014/main" id="{F49CBC36-CCA2-42EA-9BB1-24AAE71E32B0}"/>
              </a:ext>
            </a:extLst>
          </p:cNvPr>
          <p:cNvSpPr/>
          <p:nvPr/>
        </p:nvSpPr>
        <p:spPr>
          <a:xfrm rot="19800000">
            <a:off x="4217228" y="2285623"/>
            <a:ext cx="2195438" cy="2193058"/>
          </a:xfrm>
          <a:prstGeom prst="rect">
            <a:avLst/>
          </a:prstGeom>
          <a:noFill/>
        </p:spPr>
        <p:txBody>
          <a:bodyPr spcFirstLastPara="1" wrap="none" lIns="68580" tIns="34290" rIns="68580" bIns="34290" numCol="1">
            <a:prstTxWarp prst="textArchUp">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w="0"/>
                <a:solidFill>
                  <a:prstClr val="white"/>
                </a:solidFill>
                <a:effectLst/>
                <a:uLnTx/>
                <a:uFillTx/>
                <a:latin typeface="HarmonyOS Sans SC"/>
                <a:cs typeface="+mn-cs"/>
              </a:rPr>
              <a:t>Train Duration</a:t>
            </a:r>
          </a:p>
        </p:txBody>
      </p:sp>
      <p:sp>
        <p:nvSpPr>
          <p:cNvPr id="9" name="Rectangle 15">
            <a:extLst>
              <a:ext uri="{FF2B5EF4-FFF2-40B4-BE49-F238E27FC236}">
                <a16:creationId xmlns:a16="http://schemas.microsoft.com/office/drawing/2014/main" id="{8562767F-084C-4A88-BC1C-F160CA873C76}"/>
              </a:ext>
            </a:extLst>
          </p:cNvPr>
          <p:cNvSpPr/>
          <p:nvPr/>
        </p:nvSpPr>
        <p:spPr>
          <a:xfrm rot="1800000">
            <a:off x="4686421" y="1562849"/>
            <a:ext cx="2195438" cy="2193058"/>
          </a:xfrm>
          <a:prstGeom prst="rect">
            <a:avLst/>
          </a:prstGeom>
          <a:noFill/>
        </p:spPr>
        <p:txBody>
          <a:bodyPr spcFirstLastPara="1" wrap="none" lIns="68580" tIns="34290" rIns="68580" bIns="34290" numCol="1">
            <a:prstTxWarp prst="textArchUp">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w="0"/>
                <a:solidFill>
                  <a:prstClr val="white"/>
                </a:solidFill>
                <a:effectLst/>
                <a:uLnTx/>
                <a:uFillTx/>
                <a:latin typeface="HarmonyOS Sans SC"/>
                <a:cs typeface="+mn-cs"/>
              </a:rPr>
              <a:t>Endurance Class</a:t>
            </a:r>
          </a:p>
        </p:txBody>
      </p:sp>
      <p:sp>
        <p:nvSpPr>
          <p:cNvPr id="10" name="Rectangle 16">
            <a:extLst>
              <a:ext uri="{FF2B5EF4-FFF2-40B4-BE49-F238E27FC236}">
                <a16:creationId xmlns:a16="http://schemas.microsoft.com/office/drawing/2014/main" id="{84C68F9F-769D-47AF-AE0D-EC48F3808D19}"/>
              </a:ext>
            </a:extLst>
          </p:cNvPr>
          <p:cNvSpPr/>
          <p:nvPr/>
        </p:nvSpPr>
        <p:spPr>
          <a:xfrm rot="4500000">
            <a:off x="5550643" y="1738883"/>
            <a:ext cx="2193058" cy="2195438"/>
          </a:xfrm>
          <a:prstGeom prst="rect">
            <a:avLst/>
          </a:prstGeom>
          <a:noFill/>
        </p:spPr>
        <p:txBody>
          <a:bodyPr spcFirstLastPara="1" wrap="none" lIns="68580" tIns="34290" rIns="68580" bIns="34290" numCol="1">
            <a:prstTxWarp prst="textArchUp">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w="0"/>
                <a:solidFill>
                  <a:prstClr val="white"/>
                </a:solidFill>
                <a:effectLst/>
                <a:uLnTx/>
                <a:uFillTx/>
                <a:latin typeface="HarmonyOS Sans SC"/>
                <a:cs typeface="+mn-cs"/>
              </a:rPr>
              <a:t>Equipment Kit</a:t>
            </a:r>
          </a:p>
        </p:txBody>
      </p:sp>
      <p:sp>
        <p:nvSpPr>
          <p:cNvPr id="11" name="Rectangle 17">
            <a:extLst>
              <a:ext uri="{FF2B5EF4-FFF2-40B4-BE49-F238E27FC236}">
                <a16:creationId xmlns:a16="http://schemas.microsoft.com/office/drawing/2014/main" id="{BABD3882-E9FB-4FE8-A3FD-946503B520DD}"/>
              </a:ext>
            </a:extLst>
          </p:cNvPr>
          <p:cNvSpPr/>
          <p:nvPr/>
        </p:nvSpPr>
        <p:spPr>
          <a:xfrm rot="900000">
            <a:off x="5348051" y="3301508"/>
            <a:ext cx="2195438" cy="2193058"/>
          </a:xfrm>
          <a:prstGeom prst="rect">
            <a:avLst/>
          </a:prstGeom>
          <a:noFill/>
        </p:spPr>
        <p:txBody>
          <a:bodyPr spcFirstLastPara="1" wrap="none" lIns="68580" tIns="34290" rIns="68580" bIns="34290" numCol="1">
            <a:prstTxWarp prst="textArchDown">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w="0"/>
                <a:solidFill>
                  <a:prstClr val="white"/>
                </a:solidFill>
                <a:effectLst/>
                <a:uLnTx/>
                <a:uFillTx/>
                <a:latin typeface="HarmonyOS Sans SC"/>
                <a:cs typeface="+mn-cs"/>
              </a:rPr>
              <a:t>Outfit Class</a:t>
            </a:r>
          </a:p>
        </p:txBody>
      </p:sp>
      <p:sp>
        <p:nvSpPr>
          <p:cNvPr id="12" name="Rectangle 18">
            <a:extLst>
              <a:ext uri="{FF2B5EF4-FFF2-40B4-BE49-F238E27FC236}">
                <a16:creationId xmlns:a16="http://schemas.microsoft.com/office/drawing/2014/main" id="{F3F72D1D-4DD0-4E95-85E6-DF9B9959406E}"/>
              </a:ext>
            </a:extLst>
          </p:cNvPr>
          <p:cNvSpPr/>
          <p:nvPr/>
        </p:nvSpPr>
        <p:spPr>
          <a:xfrm rot="18900000">
            <a:off x="5918091" y="2587969"/>
            <a:ext cx="2195438" cy="2193058"/>
          </a:xfrm>
          <a:prstGeom prst="rect">
            <a:avLst/>
          </a:prstGeom>
          <a:noFill/>
        </p:spPr>
        <p:txBody>
          <a:bodyPr spcFirstLastPara="1" wrap="none" lIns="68580" tIns="34290" rIns="68580" bIns="34290" numCol="1">
            <a:prstTxWarp prst="textArchDown">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w="0"/>
                <a:solidFill>
                  <a:prstClr val="white"/>
                </a:solidFill>
                <a:effectLst/>
                <a:uLnTx/>
                <a:uFillTx/>
                <a:latin typeface="HarmonyOS Sans SC"/>
                <a:cs typeface="+mn-cs"/>
              </a:rPr>
              <a:t>Supplement Pills</a:t>
            </a:r>
          </a:p>
        </p:txBody>
      </p:sp>
      <p:sp>
        <p:nvSpPr>
          <p:cNvPr id="13" name="Rectangle 19">
            <a:extLst>
              <a:ext uri="{FF2B5EF4-FFF2-40B4-BE49-F238E27FC236}">
                <a16:creationId xmlns:a16="http://schemas.microsoft.com/office/drawing/2014/main" id="{94578268-A7EC-4A88-BC22-7931D37C17D6}"/>
              </a:ext>
            </a:extLst>
          </p:cNvPr>
          <p:cNvSpPr/>
          <p:nvPr/>
        </p:nvSpPr>
        <p:spPr>
          <a:xfrm rot="4500000">
            <a:off x="4423742" y="3146872"/>
            <a:ext cx="2193058" cy="2195438"/>
          </a:xfrm>
          <a:prstGeom prst="rect">
            <a:avLst/>
          </a:prstGeom>
          <a:noFill/>
        </p:spPr>
        <p:txBody>
          <a:bodyPr spcFirstLastPara="1" wrap="none" lIns="68580" tIns="34290" rIns="68580" bIns="34290" numCol="1">
            <a:prstTxWarp prst="textArchDown">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w="0"/>
                <a:solidFill>
                  <a:prstClr val="white"/>
                </a:solidFill>
                <a:effectLst/>
                <a:uLnTx/>
                <a:uFillTx/>
                <a:latin typeface="HarmonyOS Sans SC"/>
                <a:cs typeface="+mn-cs"/>
              </a:rPr>
              <a:t>Gear Effect</a:t>
            </a:r>
          </a:p>
        </p:txBody>
      </p:sp>
      <p:grpSp>
        <p:nvGrpSpPr>
          <p:cNvPr id="14" name="Group 41">
            <a:extLst>
              <a:ext uri="{FF2B5EF4-FFF2-40B4-BE49-F238E27FC236}">
                <a16:creationId xmlns:a16="http://schemas.microsoft.com/office/drawing/2014/main" id="{B458FD84-B7D3-4132-8A61-7ED325B36A9B}"/>
              </a:ext>
            </a:extLst>
          </p:cNvPr>
          <p:cNvGrpSpPr/>
          <p:nvPr/>
        </p:nvGrpSpPr>
        <p:grpSpPr>
          <a:xfrm>
            <a:off x="5744323" y="2185146"/>
            <a:ext cx="285266" cy="347632"/>
            <a:chOff x="4300538" y="2333626"/>
            <a:chExt cx="392113" cy="477838"/>
          </a:xfrm>
          <a:solidFill>
            <a:schemeClr val="bg1"/>
          </a:solidFill>
        </p:grpSpPr>
        <p:sp>
          <p:nvSpPr>
            <p:cNvPr id="15" name="Freeform 30">
              <a:extLst>
                <a:ext uri="{FF2B5EF4-FFF2-40B4-BE49-F238E27FC236}">
                  <a16:creationId xmlns:a16="http://schemas.microsoft.com/office/drawing/2014/main" id="{C88AA8CA-CF19-4D6E-85FD-DBA6E32CA24A}"/>
                </a:ext>
              </a:extLst>
            </p:cNvPr>
            <p:cNvSpPr>
              <a:spLocks noEditPoints="1"/>
            </p:cNvSpPr>
            <p:nvPr/>
          </p:nvSpPr>
          <p:spPr bwMode="auto">
            <a:xfrm>
              <a:off x="4300538" y="2393951"/>
              <a:ext cx="392113" cy="417513"/>
            </a:xfrm>
            <a:custGeom>
              <a:avLst/>
              <a:gdLst>
                <a:gd name="T0" fmla="*/ 2209 w 2476"/>
                <a:gd name="T1" fmla="*/ 632 h 2638"/>
                <a:gd name="T2" fmla="*/ 2396 w 2476"/>
                <a:gd name="T3" fmla="*/ 367 h 2638"/>
                <a:gd name="T4" fmla="*/ 2370 w 2476"/>
                <a:gd name="T5" fmla="*/ 221 h 2638"/>
                <a:gd name="T6" fmla="*/ 2104 w 2476"/>
                <a:gd name="T7" fmla="*/ 34 h 2638"/>
                <a:gd name="T8" fmla="*/ 1958 w 2476"/>
                <a:gd name="T9" fmla="*/ 59 h 2638"/>
                <a:gd name="T10" fmla="*/ 1793 w 2476"/>
                <a:gd name="T11" fmla="*/ 293 h 2638"/>
                <a:gd name="T12" fmla="*/ 1238 w 2476"/>
                <a:gd name="T13" fmla="*/ 157 h 2638"/>
                <a:gd name="T14" fmla="*/ 683 w 2476"/>
                <a:gd name="T15" fmla="*/ 293 h 2638"/>
                <a:gd name="T16" fmla="*/ 518 w 2476"/>
                <a:gd name="T17" fmla="*/ 59 h 2638"/>
                <a:gd name="T18" fmla="*/ 372 w 2476"/>
                <a:gd name="T19" fmla="*/ 34 h 2638"/>
                <a:gd name="T20" fmla="*/ 106 w 2476"/>
                <a:gd name="T21" fmla="*/ 221 h 2638"/>
                <a:gd name="T22" fmla="*/ 81 w 2476"/>
                <a:gd name="T23" fmla="*/ 367 h 2638"/>
                <a:gd name="T24" fmla="*/ 267 w 2476"/>
                <a:gd name="T25" fmla="*/ 632 h 2638"/>
                <a:gd name="T26" fmla="*/ 0 w 2476"/>
                <a:gd name="T27" fmla="*/ 1399 h 2638"/>
                <a:gd name="T28" fmla="*/ 1238 w 2476"/>
                <a:gd name="T29" fmla="*/ 2638 h 2638"/>
                <a:gd name="T30" fmla="*/ 2476 w 2476"/>
                <a:gd name="T31" fmla="*/ 1399 h 2638"/>
                <a:gd name="T32" fmla="*/ 2209 w 2476"/>
                <a:gd name="T33" fmla="*/ 632 h 2638"/>
                <a:gd name="T34" fmla="*/ 1238 w 2476"/>
                <a:gd name="T35" fmla="*/ 1574 h 2638"/>
                <a:gd name="T36" fmla="*/ 1063 w 2476"/>
                <a:gd name="T37" fmla="*/ 1399 h 2638"/>
                <a:gd name="T38" fmla="*/ 1133 w 2476"/>
                <a:gd name="T39" fmla="*/ 1259 h 2638"/>
                <a:gd name="T40" fmla="*/ 1133 w 2476"/>
                <a:gd name="T41" fmla="*/ 646 h 2638"/>
                <a:gd name="T42" fmla="*/ 1238 w 2476"/>
                <a:gd name="T43" fmla="*/ 541 h 2638"/>
                <a:gd name="T44" fmla="*/ 1343 w 2476"/>
                <a:gd name="T45" fmla="*/ 646 h 2638"/>
                <a:gd name="T46" fmla="*/ 1343 w 2476"/>
                <a:gd name="T47" fmla="*/ 1259 h 2638"/>
                <a:gd name="T48" fmla="*/ 1413 w 2476"/>
                <a:gd name="T49" fmla="*/ 1399 h 2638"/>
                <a:gd name="T50" fmla="*/ 1238 w 2476"/>
                <a:gd name="T51" fmla="*/ 1574 h 26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476" h="2638">
                  <a:moveTo>
                    <a:pt x="2209" y="632"/>
                  </a:moveTo>
                  <a:lnTo>
                    <a:pt x="2396" y="367"/>
                  </a:lnTo>
                  <a:cubicBezTo>
                    <a:pt x="2429" y="320"/>
                    <a:pt x="2418" y="254"/>
                    <a:pt x="2370" y="221"/>
                  </a:cubicBezTo>
                  <a:lnTo>
                    <a:pt x="2104" y="34"/>
                  </a:lnTo>
                  <a:cubicBezTo>
                    <a:pt x="2057" y="0"/>
                    <a:pt x="1992" y="11"/>
                    <a:pt x="1958" y="59"/>
                  </a:cubicBezTo>
                  <a:lnTo>
                    <a:pt x="1793" y="293"/>
                  </a:lnTo>
                  <a:cubicBezTo>
                    <a:pt x="1716" y="254"/>
                    <a:pt x="1540" y="157"/>
                    <a:pt x="1238" y="157"/>
                  </a:cubicBezTo>
                  <a:cubicBezTo>
                    <a:pt x="940" y="157"/>
                    <a:pt x="760" y="254"/>
                    <a:pt x="683" y="293"/>
                  </a:cubicBezTo>
                  <a:lnTo>
                    <a:pt x="518" y="59"/>
                  </a:lnTo>
                  <a:cubicBezTo>
                    <a:pt x="484" y="11"/>
                    <a:pt x="419" y="0"/>
                    <a:pt x="372" y="34"/>
                  </a:cubicBezTo>
                  <a:lnTo>
                    <a:pt x="106" y="221"/>
                  </a:lnTo>
                  <a:cubicBezTo>
                    <a:pt x="58" y="254"/>
                    <a:pt x="47" y="320"/>
                    <a:pt x="81" y="367"/>
                  </a:cubicBezTo>
                  <a:lnTo>
                    <a:pt x="267" y="632"/>
                  </a:lnTo>
                  <a:cubicBezTo>
                    <a:pt x="100" y="843"/>
                    <a:pt x="0" y="1110"/>
                    <a:pt x="0" y="1399"/>
                  </a:cubicBezTo>
                  <a:cubicBezTo>
                    <a:pt x="0" y="2082"/>
                    <a:pt x="555" y="2638"/>
                    <a:pt x="1238" y="2638"/>
                  </a:cubicBezTo>
                  <a:cubicBezTo>
                    <a:pt x="1921" y="2638"/>
                    <a:pt x="2476" y="2082"/>
                    <a:pt x="2476" y="1399"/>
                  </a:cubicBezTo>
                  <a:cubicBezTo>
                    <a:pt x="2476" y="1110"/>
                    <a:pt x="2376" y="843"/>
                    <a:pt x="2209" y="632"/>
                  </a:cubicBezTo>
                  <a:close/>
                  <a:moveTo>
                    <a:pt x="1238" y="1574"/>
                  </a:moveTo>
                  <a:cubicBezTo>
                    <a:pt x="1141" y="1574"/>
                    <a:pt x="1063" y="1496"/>
                    <a:pt x="1063" y="1399"/>
                  </a:cubicBezTo>
                  <a:cubicBezTo>
                    <a:pt x="1063" y="1342"/>
                    <a:pt x="1091" y="1291"/>
                    <a:pt x="1133" y="1259"/>
                  </a:cubicBezTo>
                  <a:lnTo>
                    <a:pt x="1133" y="646"/>
                  </a:lnTo>
                  <a:cubicBezTo>
                    <a:pt x="1133" y="588"/>
                    <a:pt x="1180" y="541"/>
                    <a:pt x="1238" y="541"/>
                  </a:cubicBezTo>
                  <a:cubicBezTo>
                    <a:pt x="1296" y="541"/>
                    <a:pt x="1343" y="588"/>
                    <a:pt x="1343" y="646"/>
                  </a:cubicBezTo>
                  <a:lnTo>
                    <a:pt x="1343" y="1259"/>
                  </a:lnTo>
                  <a:cubicBezTo>
                    <a:pt x="1385" y="1291"/>
                    <a:pt x="1413" y="1342"/>
                    <a:pt x="1413" y="1399"/>
                  </a:cubicBezTo>
                  <a:cubicBezTo>
                    <a:pt x="1413" y="1496"/>
                    <a:pt x="1335" y="1574"/>
                    <a:pt x="1238" y="157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armonyOS Sans SC"/>
                <a:cs typeface="+mn-cs"/>
              </a:endParaRPr>
            </a:p>
          </p:txBody>
        </p:sp>
        <p:sp>
          <p:nvSpPr>
            <p:cNvPr id="16" name="Freeform 31">
              <a:extLst>
                <a:ext uri="{FF2B5EF4-FFF2-40B4-BE49-F238E27FC236}">
                  <a16:creationId xmlns:a16="http://schemas.microsoft.com/office/drawing/2014/main" id="{6402EAE4-C125-4A6C-BD74-CC89C9DAFC2E}"/>
                </a:ext>
              </a:extLst>
            </p:cNvPr>
            <p:cNvSpPr>
              <a:spLocks/>
            </p:cNvSpPr>
            <p:nvPr/>
          </p:nvSpPr>
          <p:spPr bwMode="auto">
            <a:xfrm>
              <a:off x="4406900" y="2333626"/>
              <a:ext cx="179388" cy="58738"/>
            </a:xfrm>
            <a:custGeom>
              <a:avLst/>
              <a:gdLst>
                <a:gd name="T0" fmla="*/ 1028 w 1133"/>
                <a:gd name="T1" fmla="*/ 0 h 379"/>
                <a:gd name="T2" fmla="*/ 104 w 1133"/>
                <a:gd name="T3" fmla="*/ 0 h 379"/>
                <a:gd name="T4" fmla="*/ 0 w 1133"/>
                <a:gd name="T5" fmla="*/ 105 h 379"/>
                <a:gd name="T6" fmla="*/ 104 w 1133"/>
                <a:gd name="T7" fmla="*/ 210 h 379"/>
                <a:gd name="T8" fmla="*/ 257 w 1133"/>
                <a:gd name="T9" fmla="*/ 210 h 379"/>
                <a:gd name="T10" fmla="*/ 257 w 1133"/>
                <a:gd name="T11" fmla="*/ 379 h 379"/>
                <a:gd name="T12" fmla="*/ 566 w 1133"/>
                <a:gd name="T13" fmla="*/ 345 h 379"/>
                <a:gd name="T14" fmla="*/ 876 w 1133"/>
                <a:gd name="T15" fmla="*/ 379 h 379"/>
                <a:gd name="T16" fmla="*/ 876 w 1133"/>
                <a:gd name="T17" fmla="*/ 210 h 379"/>
                <a:gd name="T18" fmla="*/ 1028 w 1133"/>
                <a:gd name="T19" fmla="*/ 210 h 379"/>
                <a:gd name="T20" fmla="*/ 1133 w 1133"/>
                <a:gd name="T21" fmla="*/ 105 h 379"/>
                <a:gd name="T22" fmla="*/ 1028 w 1133"/>
                <a:gd name="T23" fmla="*/ 0 h 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33" h="379">
                  <a:moveTo>
                    <a:pt x="1028" y="0"/>
                  </a:moveTo>
                  <a:cubicBezTo>
                    <a:pt x="997" y="0"/>
                    <a:pt x="143" y="0"/>
                    <a:pt x="104" y="0"/>
                  </a:cubicBezTo>
                  <a:cubicBezTo>
                    <a:pt x="46" y="0"/>
                    <a:pt x="0" y="47"/>
                    <a:pt x="0" y="105"/>
                  </a:cubicBezTo>
                  <a:cubicBezTo>
                    <a:pt x="0" y="163"/>
                    <a:pt x="46" y="210"/>
                    <a:pt x="104" y="210"/>
                  </a:cubicBezTo>
                  <a:lnTo>
                    <a:pt x="257" y="210"/>
                  </a:lnTo>
                  <a:lnTo>
                    <a:pt x="257" y="379"/>
                  </a:lnTo>
                  <a:cubicBezTo>
                    <a:pt x="357" y="357"/>
                    <a:pt x="461" y="345"/>
                    <a:pt x="566" y="345"/>
                  </a:cubicBezTo>
                  <a:cubicBezTo>
                    <a:pt x="671" y="345"/>
                    <a:pt x="775" y="357"/>
                    <a:pt x="876" y="379"/>
                  </a:cubicBezTo>
                  <a:lnTo>
                    <a:pt x="876" y="210"/>
                  </a:lnTo>
                  <a:lnTo>
                    <a:pt x="1028" y="210"/>
                  </a:lnTo>
                  <a:cubicBezTo>
                    <a:pt x="1086" y="210"/>
                    <a:pt x="1133" y="163"/>
                    <a:pt x="1133" y="105"/>
                  </a:cubicBezTo>
                  <a:cubicBezTo>
                    <a:pt x="1133" y="47"/>
                    <a:pt x="1086" y="0"/>
                    <a:pt x="102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armonyOS Sans SC"/>
                <a:cs typeface="+mn-cs"/>
              </a:endParaRPr>
            </a:p>
          </p:txBody>
        </p:sp>
      </p:grpSp>
      <p:grpSp>
        <p:nvGrpSpPr>
          <p:cNvPr id="17" name="Group 44">
            <a:extLst>
              <a:ext uri="{FF2B5EF4-FFF2-40B4-BE49-F238E27FC236}">
                <a16:creationId xmlns:a16="http://schemas.microsoft.com/office/drawing/2014/main" id="{35F1E86D-D08A-43F6-96CD-96D28AC1BF38}"/>
              </a:ext>
            </a:extLst>
          </p:cNvPr>
          <p:cNvGrpSpPr/>
          <p:nvPr/>
        </p:nvGrpSpPr>
        <p:grpSpPr>
          <a:xfrm>
            <a:off x="6744249" y="2401725"/>
            <a:ext cx="351096" cy="340702"/>
            <a:chOff x="2074863" y="842963"/>
            <a:chExt cx="482600" cy="468313"/>
          </a:xfrm>
          <a:solidFill>
            <a:schemeClr val="bg1"/>
          </a:solidFill>
        </p:grpSpPr>
        <p:sp>
          <p:nvSpPr>
            <p:cNvPr id="18" name="Freeform 5">
              <a:extLst>
                <a:ext uri="{FF2B5EF4-FFF2-40B4-BE49-F238E27FC236}">
                  <a16:creationId xmlns:a16="http://schemas.microsoft.com/office/drawing/2014/main" id="{FCEF72EA-7DD2-4546-86E3-3A60F6B5EDD9}"/>
                </a:ext>
              </a:extLst>
            </p:cNvPr>
            <p:cNvSpPr>
              <a:spLocks/>
            </p:cNvSpPr>
            <p:nvPr/>
          </p:nvSpPr>
          <p:spPr bwMode="auto">
            <a:xfrm>
              <a:off x="2362200" y="989013"/>
              <a:ext cx="195263" cy="322263"/>
            </a:xfrm>
            <a:custGeom>
              <a:avLst/>
              <a:gdLst>
                <a:gd name="T0" fmla="*/ 1215 w 1232"/>
                <a:gd name="T1" fmla="*/ 1723 h 2036"/>
                <a:gd name="T2" fmla="*/ 751 w 1232"/>
                <a:gd name="T3" fmla="*/ 244 h 2036"/>
                <a:gd name="T4" fmla="*/ 624 w 1232"/>
                <a:gd name="T5" fmla="*/ 178 h 2036"/>
                <a:gd name="T6" fmla="*/ 450 w 1232"/>
                <a:gd name="T7" fmla="*/ 232 h 2036"/>
                <a:gd name="T8" fmla="*/ 378 w 1232"/>
                <a:gd name="T9" fmla="*/ 0 h 2036"/>
                <a:gd name="T10" fmla="*/ 241 w 1232"/>
                <a:gd name="T11" fmla="*/ 187 h 2036"/>
                <a:gd name="T12" fmla="*/ 228 w 1232"/>
                <a:gd name="T13" fmla="*/ 199 h 2036"/>
                <a:gd name="T14" fmla="*/ 257 w 1232"/>
                <a:gd name="T15" fmla="*/ 293 h 2036"/>
                <a:gd name="T16" fmla="*/ 83 w 1232"/>
                <a:gd name="T17" fmla="*/ 347 h 2036"/>
                <a:gd name="T18" fmla="*/ 17 w 1232"/>
                <a:gd name="T19" fmla="*/ 474 h 2036"/>
                <a:gd name="T20" fmla="*/ 481 w 1232"/>
                <a:gd name="T21" fmla="*/ 1953 h 2036"/>
                <a:gd name="T22" fmla="*/ 608 w 1232"/>
                <a:gd name="T23" fmla="*/ 2019 h 2036"/>
                <a:gd name="T24" fmla="*/ 1149 w 1232"/>
                <a:gd name="T25" fmla="*/ 1850 h 2036"/>
                <a:gd name="T26" fmla="*/ 1215 w 1232"/>
                <a:gd name="T27" fmla="*/ 1723 h 20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32" h="2036">
                  <a:moveTo>
                    <a:pt x="1215" y="1723"/>
                  </a:moveTo>
                  <a:lnTo>
                    <a:pt x="751" y="244"/>
                  </a:lnTo>
                  <a:cubicBezTo>
                    <a:pt x="735" y="191"/>
                    <a:pt x="678" y="161"/>
                    <a:pt x="624" y="178"/>
                  </a:cubicBezTo>
                  <a:lnTo>
                    <a:pt x="450" y="232"/>
                  </a:lnTo>
                  <a:lnTo>
                    <a:pt x="378" y="0"/>
                  </a:lnTo>
                  <a:cubicBezTo>
                    <a:pt x="342" y="68"/>
                    <a:pt x="296" y="131"/>
                    <a:pt x="241" y="187"/>
                  </a:cubicBezTo>
                  <a:cubicBezTo>
                    <a:pt x="236" y="191"/>
                    <a:pt x="232" y="195"/>
                    <a:pt x="228" y="199"/>
                  </a:cubicBezTo>
                  <a:lnTo>
                    <a:pt x="257" y="293"/>
                  </a:lnTo>
                  <a:lnTo>
                    <a:pt x="83" y="347"/>
                  </a:lnTo>
                  <a:cubicBezTo>
                    <a:pt x="30" y="364"/>
                    <a:pt x="0" y="421"/>
                    <a:pt x="17" y="474"/>
                  </a:cubicBezTo>
                  <a:lnTo>
                    <a:pt x="481" y="1953"/>
                  </a:lnTo>
                  <a:cubicBezTo>
                    <a:pt x="498" y="2007"/>
                    <a:pt x="555" y="2036"/>
                    <a:pt x="608" y="2019"/>
                  </a:cubicBezTo>
                  <a:lnTo>
                    <a:pt x="1149" y="1850"/>
                  </a:lnTo>
                  <a:cubicBezTo>
                    <a:pt x="1202" y="1833"/>
                    <a:pt x="1232" y="1776"/>
                    <a:pt x="1215" y="17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armonyOS Sans SC"/>
                <a:cs typeface="+mn-cs"/>
              </a:endParaRPr>
            </a:p>
          </p:txBody>
        </p:sp>
        <p:sp>
          <p:nvSpPr>
            <p:cNvPr id="19" name="Freeform 6">
              <a:extLst>
                <a:ext uri="{FF2B5EF4-FFF2-40B4-BE49-F238E27FC236}">
                  <a16:creationId xmlns:a16="http://schemas.microsoft.com/office/drawing/2014/main" id="{68C3E477-6D62-4416-B394-063C1CDF4BA9}"/>
                </a:ext>
              </a:extLst>
            </p:cNvPr>
            <p:cNvSpPr>
              <a:spLocks noEditPoints="1"/>
            </p:cNvSpPr>
            <p:nvPr/>
          </p:nvSpPr>
          <p:spPr bwMode="auto">
            <a:xfrm>
              <a:off x="2074863" y="842963"/>
              <a:ext cx="330200" cy="468313"/>
            </a:xfrm>
            <a:custGeom>
              <a:avLst/>
              <a:gdLst>
                <a:gd name="T0" fmla="*/ 1520 w 2094"/>
                <a:gd name="T1" fmla="*/ 0 h 2957"/>
                <a:gd name="T2" fmla="*/ 947 w 2094"/>
                <a:gd name="T3" fmla="*/ 574 h 2957"/>
                <a:gd name="T4" fmla="*/ 949 w 2094"/>
                <a:gd name="T5" fmla="*/ 621 h 2957"/>
                <a:gd name="T6" fmla="*/ 782 w 2094"/>
                <a:gd name="T7" fmla="*/ 1153 h 2957"/>
                <a:gd name="T8" fmla="*/ 608 w 2094"/>
                <a:gd name="T9" fmla="*/ 1099 h 2957"/>
                <a:gd name="T10" fmla="*/ 481 w 2094"/>
                <a:gd name="T11" fmla="*/ 1165 h 2957"/>
                <a:gd name="T12" fmla="*/ 17 w 2094"/>
                <a:gd name="T13" fmla="*/ 2644 h 2957"/>
                <a:gd name="T14" fmla="*/ 83 w 2094"/>
                <a:gd name="T15" fmla="*/ 2771 h 2957"/>
                <a:gd name="T16" fmla="*/ 625 w 2094"/>
                <a:gd name="T17" fmla="*/ 2940 h 2957"/>
                <a:gd name="T18" fmla="*/ 751 w 2094"/>
                <a:gd name="T19" fmla="*/ 2874 h 2957"/>
                <a:gd name="T20" fmla="*/ 1215 w 2094"/>
                <a:gd name="T21" fmla="*/ 1395 h 2957"/>
                <a:gd name="T22" fmla="*/ 1149 w 2094"/>
                <a:gd name="T23" fmla="*/ 1268 h 2957"/>
                <a:gd name="T24" fmla="*/ 975 w 2094"/>
                <a:gd name="T25" fmla="*/ 1214 h 2957"/>
                <a:gd name="T26" fmla="*/ 1066 w 2094"/>
                <a:gd name="T27" fmla="*/ 924 h 2957"/>
                <a:gd name="T28" fmla="*/ 1520 w 2094"/>
                <a:gd name="T29" fmla="*/ 1147 h 2957"/>
                <a:gd name="T30" fmla="*/ 2094 w 2094"/>
                <a:gd name="T31" fmla="*/ 574 h 2957"/>
                <a:gd name="T32" fmla="*/ 1520 w 2094"/>
                <a:gd name="T33" fmla="*/ 0 h 2957"/>
                <a:gd name="T34" fmla="*/ 1524 w 2094"/>
                <a:gd name="T35" fmla="*/ 925 h 2957"/>
                <a:gd name="T36" fmla="*/ 1173 w 2094"/>
                <a:gd name="T37" fmla="*/ 574 h 2957"/>
                <a:gd name="T38" fmla="*/ 1524 w 2094"/>
                <a:gd name="T39" fmla="*/ 223 h 2957"/>
                <a:gd name="T40" fmla="*/ 1875 w 2094"/>
                <a:gd name="T41" fmla="*/ 574 h 2957"/>
                <a:gd name="T42" fmla="*/ 1524 w 2094"/>
                <a:gd name="T43" fmla="*/ 925 h 29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094" h="2957">
                  <a:moveTo>
                    <a:pt x="1520" y="0"/>
                  </a:moveTo>
                  <a:cubicBezTo>
                    <a:pt x="1204" y="0"/>
                    <a:pt x="947" y="257"/>
                    <a:pt x="947" y="574"/>
                  </a:cubicBezTo>
                  <a:cubicBezTo>
                    <a:pt x="947" y="590"/>
                    <a:pt x="948" y="605"/>
                    <a:pt x="949" y="621"/>
                  </a:cubicBezTo>
                  <a:lnTo>
                    <a:pt x="782" y="1153"/>
                  </a:lnTo>
                  <a:lnTo>
                    <a:pt x="608" y="1099"/>
                  </a:lnTo>
                  <a:cubicBezTo>
                    <a:pt x="555" y="1082"/>
                    <a:pt x="498" y="1112"/>
                    <a:pt x="481" y="1165"/>
                  </a:cubicBezTo>
                  <a:lnTo>
                    <a:pt x="17" y="2644"/>
                  </a:lnTo>
                  <a:cubicBezTo>
                    <a:pt x="0" y="2697"/>
                    <a:pt x="30" y="2754"/>
                    <a:pt x="83" y="2771"/>
                  </a:cubicBezTo>
                  <a:lnTo>
                    <a:pt x="625" y="2940"/>
                  </a:lnTo>
                  <a:cubicBezTo>
                    <a:pt x="678" y="2957"/>
                    <a:pt x="735" y="2928"/>
                    <a:pt x="751" y="2874"/>
                  </a:cubicBezTo>
                  <a:lnTo>
                    <a:pt x="1215" y="1395"/>
                  </a:lnTo>
                  <a:cubicBezTo>
                    <a:pt x="1232" y="1342"/>
                    <a:pt x="1202" y="1285"/>
                    <a:pt x="1149" y="1268"/>
                  </a:cubicBezTo>
                  <a:lnTo>
                    <a:pt x="975" y="1214"/>
                  </a:lnTo>
                  <a:lnTo>
                    <a:pt x="1066" y="924"/>
                  </a:lnTo>
                  <a:cubicBezTo>
                    <a:pt x="1171" y="1060"/>
                    <a:pt x="1335" y="1147"/>
                    <a:pt x="1520" y="1147"/>
                  </a:cubicBezTo>
                  <a:cubicBezTo>
                    <a:pt x="1837" y="1147"/>
                    <a:pt x="2094" y="891"/>
                    <a:pt x="2094" y="574"/>
                  </a:cubicBezTo>
                  <a:cubicBezTo>
                    <a:pt x="2094" y="257"/>
                    <a:pt x="1837" y="0"/>
                    <a:pt x="1520" y="0"/>
                  </a:cubicBezTo>
                  <a:close/>
                  <a:moveTo>
                    <a:pt x="1524" y="925"/>
                  </a:moveTo>
                  <a:cubicBezTo>
                    <a:pt x="1330" y="925"/>
                    <a:pt x="1173" y="767"/>
                    <a:pt x="1173" y="574"/>
                  </a:cubicBezTo>
                  <a:cubicBezTo>
                    <a:pt x="1173" y="380"/>
                    <a:pt x="1330" y="223"/>
                    <a:pt x="1524" y="223"/>
                  </a:cubicBezTo>
                  <a:cubicBezTo>
                    <a:pt x="1717" y="223"/>
                    <a:pt x="1875" y="380"/>
                    <a:pt x="1875" y="574"/>
                  </a:cubicBezTo>
                  <a:cubicBezTo>
                    <a:pt x="1875" y="767"/>
                    <a:pt x="1717" y="925"/>
                    <a:pt x="1524" y="9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armonyOS Sans SC"/>
                <a:cs typeface="+mn-cs"/>
              </a:endParaRPr>
            </a:p>
          </p:txBody>
        </p:sp>
      </p:grpSp>
      <p:sp>
        <p:nvSpPr>
          <p:cNvPr id="20" name="Freeform 84">
            <a:extLst>
              <a:ext uri="{FF2B5EF4-FFF2-40B4-BE49-F238E27FC236}">
                <a16:creationId xmlns:a16="http://schemas.microsoft.com/office/drawing/2014/main" id="{5FFAE027-C053-4E3B-9BDB-FAD4BCC6F211}"/>
              </a:ext>
            </a:extLst>
          </p:cNvPr>
          <p:cNvSpPr>
            <a:spLocks noEditPoints="1"/>
          </p:cNvSpPr>
          <p:nvPr/>
        </p:nvSpPr>
        <p:spPr bwMode="auto">
          <a:xfrm>
            <a:off x="7209097" y="3476804"/>
            <a:ext cx="301435" cy="348786"/>
          </a:xfrm>
          <a:custGeom>
            <a:avLst/>
            <a:gdLst>
              <a:gd name="T0" fmla="*/ 2583 w 2608"/>
              <a:gd name="T1" fmla="*/ 1366 h 3024"/>
              <a:gd name="T2" fmla="*/ 2271 w 2608"/>
              <a:gd name="T3" fmla="*/ 1064 h 3024"/>
              <a:gd name="T4" fmla="*/ 2182 w 2608"/>
              <a:gd name="T5" fmla="*/ 1066 h 3024"/>
              <a:gd name="T6" fmla="*/ 1976 w 2608"/>
              <a:gd name="T7" fmla="*/ 1279 h 3024"/>
              <a:gd name="T8" fmla="*/ 2090 w 2608"/>
              <a:gd name="T9" fmla="*/ 168 h 3024"/>
              <a:gd name="T10" fmla="*/ 2035 w 2608"/>
              <a:gd name="T11" fmla="*/ 100 h 3024"/>
              <a:gd name="T12" fmla="*/ 1672 w 2608"/>
              <a:gd name="T13" fmla="*/ 53 h 3024"/>
              <a:gd name="T14" fmla="*/ 1603 w 2608"/>
              <a:gd name="T15" fmla="*/ 107 h 3024"/>
              <a:gd name="T16" fmla="*/ 1525 w 2608"/>
              <a:gd name="T17" fmla="*/ 714 h 3024"/>
              <a:gd name="T18" fmla="*/ 1525 w 2608"/>
              <a:gd name="T19" fmla="*/ 63 h 3024"/>
              <a:gd name="T20" fmla="*/ 1462 w 2608"/>
              <a:gd name="T21" fmla="*/ 0 h 3024"/>
              <a:gd name="T22" fmla="*/ 1098 w 2608"/>
              <a:gd name="T23" fmla="*/ 0 h 3024"/>
              <a:gd name="T24" fmla="*/ 1036 w 2608"/>
              <a:gd name="T25" fmla="*/ 63 h 3024"/>
              <a:gd name="T26" fmla="*/ 1036 w 2608"/>
              <a:gd name="T27" fmla="*/ 750 h 3024"/>
              <a:gd name="T28" fmla="*/ 943 w 2608"/>
              <a:gd name="T29" fmla="*/ 104 h 3024"/>
              <a:gd name="T30" fmla="*/ 873 w 2608"/>
              <a:gd name="T31" fmla="*/ 51 h 3024"/>
              <a:gd name="T32" fmla="*/ 512 w 2608"/>
              <a:gd name="T33" fmla="*/ 102 h 3024"/>
              <a:gd name="T34" fmla="*/ 459 w 2608"/>
              <a:gd name="T35" fmla="*/ 173 h 3024"/>
              <a:gd name="T36" fmla="*/ 531 w 2608"/>
              <a:gd name="T37" fmla="*/ 679 h 3024"/>
              <a:gd name="T38" fmla="*/ 408 w 2608"/>
              <a:gd name="T39" fmla="*/ 314 h 3024"/>
              <a:gd name="T40" fmla="*/ 329 w 2608"/>
              <a:gd name="T41" fmla="*/ 274 h 3024"/>
              <a:gd name="T42" fmla="*/ 50 w 2608"/>
              <a:gd name="T43" fmla="*/ 368 h 3024"/>
              <a:gd name="T44" fmla="*/ 11 w 2608"/>
              <a:gd name="T45" fmla="*/ 447 h 3024"/>
              <a:gd name="T46" fmla="*/ 156 w 2608"/>
              <a:gd name="T47" fmla="*/ 879 h 3024"/>
              <a:gd name="T48" fmla="*/ 203 w 2608"/>
              <a:gd name="T49" fmla="*/ 1086 h 3024"/>
              <a:gd name="T50" fmla="*/ 394 w 2608"/>
              <a:gd name="T51" fmla="*/ 2643 h 3024"/>
              <a:gd name="T52" fmla="*/ 394 w 2608"/>
              <a:gd name="T53" fmla="*/ 2860 h 3024"/>
              <a:gd name="T54" fmla="*/ 558 w 2608"/>
              <a:gd name="T55" fmla="*/ 3024 h 3024"/>
              <a:gd name="T56" fmla="*/ 1657 w 2608"/>
              <a:gd name="T57" fmla="*/ 3024 h 3024"/>
              <a:gd name="T58" fmla="*/ 1820 w 2608"/>
              <a:gd name="T59" fmla="*/ 2860 h 3024"/>
              <a:gd name="T60" fmla="*/ 1820 w 2608"/>
              <a:gd name="T61" fmla="*/ 2643 h 3024"/>
              <a:gd name="T62" fmla="*/ 1904 w 2608"/>
              <a:gd name="T63" fmla="*/ 2343 h 3024"/>
              <a:gd name="T64" fmla="*/ 2163 w 2608"/>
              <a:gd name="T65" fmla="*/ 1890 h 3024"/>
              <a:gd name="T66" fmla="*/ 2584 w 2608"/>
              <a:gd name="T67" fmla="*/ 1454 h 3024"/>
              <a:gd name="T68" fmla="*/ 2583 w 2608"/>
              <a:gd name="T69" fmla="*/ 1366 h 3024"/>
              <a:gd name="T70" fmla="*/ 1540 w 2608"/>
              <a:gd name="T71" fmla="*/ 2643 h 3024"/>
              <a:gd name="T72" fmla="*/ 711 w 2608"/>
              <a:gd name="T73" fmla="*/ 2643 h 3024"/>
              <a:gd name="T74" fmla="*/ 711 w 2608"/>
              <a:gd name="T75" fmla="*/ 2390 h 3024"/>
              <a:gd name="T76" fmla="*/ 944 w 2608"/>
              <a:gd name="T77" fmla="*/ 2157 h 3024"/>
              <a:gd name="T78" fmla="*/ 1307 w 2608"/>
              <a:gd name="T79" fmla="*/ 2157 h 3024"/>
              <a:gd name="T80" fmla="*/ 1540 w 2608"/>
              <a:gd name="T81" fmla="*/ 2390 h 3024"/>
              <a:gd name="T82" fmla="*/ 1540 w 2608"/>
              <a:gd name="T83" fmla="*/ 2643 h 30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608" h="3024">
                <a:moveTo>
                  <a:pt x="2583" y="1366"/>
                </a:moveTo>
                <a:lnTo>
                  <a:pt x="2271" y="1064"/>
                </a:lnTo>
                <a:cubicBezTo>
                  <a:pt x="2246" y="1040"/>
                  <a:pt x="2206" y="1041"/>
                  <a:pt x="2182" y="1066"/>
                </a:cubicBezTo>
                <a:lnTo>
                  <a:pt x="1976" y="1279"/>
                </a:lnTo>
                <a:lnTo>
                  <a:pt x="2090" y="168"/>
                </a:lnTo>
                <a:cubicBezTo>
                  <a:pt x="2093" y="134"/>
                  <a:pt x="2069" y="104"/>
                  <a:pt x="2035" y="100"/>
                </a:cubicBezTo>
                <a:lnTo>
                  <a:pt x="1672" y="53"/>
                </a:lnTo>
                <a:cubicBezTo>
                  <a:pt x="1638" y="49"/>
                  <a:pt x="1607" y="73"/>
                  <a:pt x="1603" y="107"/>
                </a:cubicBezTo>
                <a:lnTo>
                  <a:pt x="1525" y="714"/>
                </a:lnTo>
                <a:lnTo>
                  <a:pt x="1525" y="63"/>
                </a:lnTo>
                <a:cubicBezTo>
                  <a:pt x="1525" y="28"/>
                  <a:pt x="1497" y="0"/>
                  <a:pt x="1462" y="0"/>
                </a:cubicBezTo>
                <a:lnTo>
                  <a:pt x="1098" y="0"/>
                </a:lnTo>
                <a:cubicBezTo>
                  <a:pt x="1063" y="0"/>
                  <a:pt x="1036" y="28"/>
                  <a:pt x="1036" y="63"/>
                </a:cubicBezTo>
                <a:lnTo>
                  <a:pt x="1036" y="750"/>
                </a:lnTo>
                <a:lnTo>
                  <a:pt x="943" y="104"/>
                </a:lnTo>
                <a:cubicBezTo>
                  <a:pt x="938" y="70"/>
                  <a:pt x="907" y="46"/>
                  <a:pt x="873" y="51"/>
                </a:cubicBezTo>
                <a:lnTo>
                  <a:pt x="512" y="102"/>
                </a:lnTo>
                <a:cubicBezTo>
                  <a:pt x="478" y="107"/>
                  <a:pt x="454" y="139"/>
                  <a:pt x="459" y="173"/>
                </a:cubicBezTo>
                <a:lnTo>
                  <a:pt x="531" y="679"/>
                </a:lnTo>
                <a:lnTo>
                  <a:pt x="408" y="314"/>
                </a:lnTo>
                <a:cubicBezTo>
                  <a:pt x="397" y="281"/>
                  <a:pt x="362" y="263"/>
                  <a:pt x="329" y="274"/>
                </a:cubicBezTo>
                <a:lnTo>
                  <a:pt x="50" y="368"/>
                </a:lnTo>
                <a:cubicBezTo>
                  <a:pt x="17" y="379"/>
                  <a:pt x="0" y="414"/>
                  <a:pt x="11" y="447"/>
                </a:cubicBezTo>
                <a:lnTo>
                  <a:pt x="156" y="879"/>
                </a:lnTo>
                <a:cubicBezTo>
                  <a:pt x="178" y="946"/>
                  <a:pt x="194" y="1016"/>
                  <a:pt x="203" y="1086"/>
                </a:cubicBezTo>
                <a:lnTo>
                  <a:pt x="394" y="2643"/>
                </a:lnTo>
                <a:lnTo>
                  <a:pt x="394" y="2860"/>
                </a:lnTo>
                <a:cubicBezTo>
                  <a:pt x="394" y="2951"/>
                  <a:pt x="467" y="3024"/>
                  <a:pt x="558" y="3024"/>
                </a:cubicBezTo>
                <a:lnTo>
                  <a:pt x="1657" y="3024"/>
                </a:lnTo>
                <a:cubicBezTo>
                  <a:pt x="1747" y="3024"/>
                  <a:pt x="1820" y="2951"/>
                  <a:pt x="1820" y="2860"/>
                </a:cubicBezTo>
                <a:lnTo>
                  <a:pt x="1820" y="2643"/>
                </a:lnTo>
                <a:lnTo>
                  <a:pt x="1904" y="2343"/>
                </a:lnTo>
                <a:cubicBezTo>
                  <a:pt x="1951" y="2173"/>
                  <a:pt x="2040" y="2017"/>
                  <a:pt x="2163" y="1890"/>
                </a:cubicBezTo>
                <a:lnTo>
                  <a:pt x="2584" y="1454"/>
                </a:lnTo>
                <a:cubicBezTo>
                  <a:pt x="2608" y="1430"/>
                  <a:pt x="2608" y="1390"/>
                  <a:pt x="2583" y="1366"/>
                </a:cubicBezTo>
                <a:close/>
                <a:moveTo>
                  <a:pt x="1540" y="2643"/>
                </a:moveTo>
                <a:lnTo>
                  <a:pt x="711" y="2643"/>
                </a:lnTo>
                <a:lnTo>
                  <a:pt x="711" y="2390"/>
                </a:lnTo>
                <a:cubicBezTo>
                  <a:pt x="711" y="2261"/>
                  <a:pt x="816" y="2157"/>
                  <a:pt x="944" y="2157"/>
                </a:cubicBezTo>
                <a:lnTo>
                  <a:pt x="1307" y="2157"/>
                </a:lnTo>
                <a:cubicBezTo>
                  <a:pt x="1436" y="2157"/>
                  <a:pt x="1540" y="2261"/>
                  <a:pt x="1540" y="2390"/>
                </a:cubicBezTo>
                <a:lnTo>
                  <a:pt x="1540" y="264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armonyOS Sans SC"/>
              <a:cs typeface="+mn-cs"/>
            </a:endParaRPr>
          </a:p>
        </p:txBody>
      </p:sp>
      <p:grpSp>
        <p:nvGrpSpPr>
          <p:cNvPr id="21" name="Group 48">
            <a:extLst>
              <a:ext uri="{FF2B5EF4-FFF2-40B4-BE49-F238E27FC236}">
                <a16:creationId xmlns:a16="http://schemas.microsoft.com/office/drawing/2014/main" id="{76C02367-E2C4-4481-8A40-59C920297E89}"/>
              </a:ext>
            </a:extLst>
          </p:cNvPr>
          <p:cNvGrpSpPr/>
          <p:nvPr/>
        </p:nvGrpSpPr>
        <p:grpSpPr>
          <a:xfrm>
            <a:off x="6510632" y="4547658"/>
            <a:ext cx="279491" cy="348786"/>
            <a:chOff x="7504113" y="3990976"/>
            <a:chExt cx="384175" cy="479425"/>
          </a:xfrm>
          <a:solidFill>
            <a:schemeClr val="bg1"/>
          </a:solidFill>
        </p:grpSpPr>
        <p:sp>
          <p:nvSpPr>
            <p:cNvPr id="22" name="Freeform 17">
              <a:extLst>
                <a:ext uri="{FF2B5EF4-FFF2-40B4-BE49-F238E27FC236}">
                  <a16:creationId xmlns:a16="http://schemas.microsoft.com/office/drawing/2014/main" id="{B4593C51-F317-4F10-9B86-55EFBF1270A4}"/>
                </a:ext>
              </a:extLst>
            </p:cNvPr>
            <p:cNvSpPr>
              <a:spLocks/>
            </p:cNvSpPr>
            <p:nvPr/>
          </p:nvSpPr>
          <p:spPr bwMode="auto">
            <a:xfrm>
              <a:off x="7504113" y="3990976"/>
              <a:ext cx="384175" cy="119063"/>
            </a:xfrm>
            <a:custGeom>
              <a:avLst/>
              <a:gdLst>
                <a:gd name="T0" fmla="*/ 2325 w 2429"/>
                <a:gd name="T1" fmla="*/ 0 h 748"/>
                <a:gd name="T2" fmla="*/ 104 w 2429"/>
                <a:gd name="T3" fmla="*/ 0 h 748"/>
                <a:gd name="T4" fmla="*/ 0 w 2429"/>
                <a:gd name="T5" fmla="*/ 105 h 748"/>
                <a:gd name="T6" fmla="*/ 0 w 2429"/>
                <a:gd name="T7" fmla="*/ 644 h 748"/>
                <a:gd name="T8" fmla="*/ 104 w 2429"/>
                <a:gd name="T9" fmla="*/ 748 h 748"/>
                <a:gd name="T10" fmla="*/ 2325 w 2429"/>
                <a:gd name="T11" fmla="*/ 748 h 748"/>
                <a:gd name="T12" fmla="*/ 2429 w 2429"/>
                <a:gd name="T13" fmla="*/ 644 h 748"/>
                <a:gd name="T14" fmla="*/ 2429 w 2429"/>
                <a:gd name="T15" fmla="*/ 105 h 748"/>
                <a:gd name="T16" fmla="*/ 2325 w 2429"/>
                <a:gd name="T17" fmla="*/ 0 h 7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29" h="748">
                  <a:moveTo>
                    <a:pt x="2325" y="0"/>
                  </a:moveTo>
                  <a:lnTo>
                    <a:pt x="104" y="0"/>
                  </a:lnTo>
                  <a:cubicBezTo>
                    <a:pt x="46" y="0"/>
                    <a:pt x="0" y="47"/>
                    <a:pt x="0" y="105"/>
                  </a:cubicBezTo>
                  <a:lnTo>
                    <a:pt x="0" y="644"/>
                  </a:lnTo>
                  <a:cubicBezTo>
                    <a:pt x="0" y="701"/>
                    <a:pt x="46" y="748"/>
                    <a:pt x="104" y="748"/>
                  </a:cubicBezTo>
                  <a:lnTo>
                    <a:pt x="2325" y="748"/>
                  </a:lnTo>
                  <a:cubicBezTo>
                    <a:pt x="2383" y="748"/>
                    <a:pt x="2429" y="701"/>
                    <a:pt x="2429" y="644"/>
                  </a:cubicBezTo>
                  <a:lnTo>
                    <a:pt x="2429" y="105"/>
                  </a:lnTo>
                  <a:cubicBezTo>
                    <a:pt x="2429" y="47"/>
                    <a:pt x="2383" y="0"/>
                    <a:pt x="232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armonyOS Sans SC"/>
                <a:cs typeface="+mn-cs"/>
              </a:endParaRPr>
            </a:p>
          </p:txBody>
        </p:sp>
        <p:sp>
          <p:nvSpPr>
            <p:cNvPr id="23" name="Freeform 18">
              <a:extLst>
                <a:ext uri="{FF2B5EF4-FFF2-40B4-BE49-F238E27FC236}">
                  <a16:creationId xmlns:a16="http://schemas.microsoft.com/office/drawing/2014/main" id="{005087D4-509D-4D5F-9C8B-57822007D332}"/>
                </a:ext>
              </a:extLst>
            </p:cNvPr>
            <p:cNvSpPr>
              <a:spLocks noEditPoints="1"/>
            </p:cNvSpPr>
            <p:nvPr/>
          </p:nvSpPr>
          <p:spPr bwMode="auto">
            <a:xfrm>
              <a:off x="7527925" y="4146551"/>
              <a:ext cx="338138" cy="323850"/>
            </a:xfrm>
            <a:custGeom>
              <a:avLst/>
              <a:gdLst>
                <a:gd name="T0" fmla="*/ 0 w 2135"/>
                <a:gd name="T1" fmla="*/ 0 h 2040"/>
                <a:gd name="T2" fmla="*/ 0 w 2135"/>
                <a:gd name="T3" fmla="*/ 1587 h 2040"/>
                <a:gd name="T4" fmla="*/ 453 w 2135"/>
                <a:gd name="T5" fmla="*/ 2040 h 2040"/>
                <a:gd name="T6" fmla="*/ 1682 w 2135"/>
                <a:gd name="T7" fmla="*/ 2040 h 2040"/>
                <a:gd name="T8" fmla="*/ 2135 w 2135"/>
                <a:gd name="T9" fmla="*/ 1587 h 2040"/>
                <a:gd name="T10" fmla="*/ 2135 w 2135"/>
                <a:gd name="T11" fmla="*/ 0 h 2040"/>
                <a:gd name="T12" fmla="*/ 0 w 2135"/>
                <a:gd name="T13" fmla="*/ 0 h 2040"/>
                <a:gd name="T14" fmla="*/ 1802 w 2135"/>
                <a:gd name="T15" fmla="*/ 1526 h 2040"/>
                <a:gd name="T16" fmla="*/ 1686 w 2135"/>
                <a:gd name="T17" fmla="*/ 1643 h 2040"/>
                <a:gd name="T18" fmla="*/ 449 w 2135"/>
                <a:gd name="T19" fmla="*/ 1643 h 2040"/>
                <a:gd name="T20" fmla="*/ 332 w 2135"/>
                <a:gd name="T21" fmla="*/ 1526 h 2040"/>
                <a:gd name="T22" fmla="*/ 332 w 2135"/>
                <a:gd name="T23" fmla="*/ 528 h 2040"/>
                <a:gd name="T24" fmla="*/ 449 w 2135"/>
                <a:gd name="T25" fmla="*/ 411 h 2040"/>
                <a:gd name="T26" fmla="*/ 1686 w 2135"/>
                <a:gd name="T27" fmla="*/ 411 h 2040"/>
                <a:gd name="T28" fmla="*/ 1802 w 2135"/>
                <a:gd name="T29" fmla="*/ 528 h 2040"/>
                <a:gd name="T30" fmla="*/ 1802 w 2135"/>
                <a:gd name="T31" fmla="*/ 1526 h 20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135" h="2040">
                  <a:moveTo>
                    <a:pt x="0" y="0"/>
                  </a:moveTo>
                  <a:lnTo>
                    <a:pt x="0" y="1587"/>
                  </a:lnTo>
                  <a:cubicBezTo>
                    <a:pt x="0" y="1836"/>
                    <a:pt x="203" y="2040"/>
                    <a:pt x="453" y="2040"/>
                  </a:cubicBezTo>
                  <a:lnTo>
                    <a:pt x="1682" y="2040"/>
                  </a:lnTo>
                  <a:cubicBezTo>
                    <a:pt x="1931" y="2040"/>
                    <a:pt x="2135" y="1836"/>
                    <a:pt x="2135" y="1587"/>
                  </a:cubicBezTo>
                  <a:lnTo>
                    <a:pt x="2135" y="0"/>
                  </a:lnTo>
                  <a:lnTo>
                    <a:pt x="0" y="0"/>
                  </a:lnTo>
                  <a:close/>
                  <a:moveTo>
                    <a:pt x="1802" y="1526"/>
                  </a:moveTo>
                  <a:cubicBezTo>
                    <a:pt x="1802" y="1590"/>
                    <a:pt x="1750" y="1643"/>
                    <a:pt x="1686" y="1643"/>
                  </a:cubicBezTo>
                  <a:lnTo>
                    <a:pt x="449" y="1643"/>
                  </a:lnTo>
                  <a:cubicBezTo>
                    <a:pt x="384" y="1643"/>
                    <a:pt x="332" y="1590"/>
                    <a:pt x="332" y="1526"/>
                  </a:cubicBezTo>
                  <a:lnTo>
                    <a:pt x="332" y="528"/>
                  </a:lnTo>
                  <a:cubicBezTo>
                    <a:pt x="332" y="464"/>
                    <a:pt x="384" y="411"/>
                    <a:pt x="449" y="411"/>
                  </a:cubicBezTo>
                  <a:lnTo>
                    <a:pt x="1686" y="411"/>
                  </a:lnTo>
                  <a:cubicBezTo>
                    <a:pt x="1750" y="411"/>
                    <a:pt x="1802" y="464"/>
                    <a:pt x="1802" y="528"/>
                  </a:cubicBezTo>
                  <a:lnTo>
                    <a:pt x="1802" y="15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armonyOS Sans SC"/>
                <a:cs typeface="+mn-cs"/>
              </a:endParaRPr>
            </a:p>
          </p:txBody>
        </p:sp>
        <p:sp>
          <p:nvSpPr>
            <p:cNvPr id="24" name="Freeform 19">
              <a:extLst>
                <a:ext uri="{FF2B5EF4-FFF2-40B4-BE49-F238E27FC236}">
                  <a16:creationId xmlns:a16="http://schemas.microsoft.com/office/drawing/2014/main" id="{90C25468-55B7-4FB8-BBA1-4ED09E1C53A5}"/>
                </a:ext>
              </a:extLst>
            </p:cNvPr>
            <p:cNvSpPr>
              <a:spLocks/>
            </p:cNvSpPr>
            <p:nvPr/>
          </p:nvSpPr>
          <p:spPr bwMode="auto">
            <a:xfrm>
              <a:off x="7629525" y="4241801"/>
              <a:ext cx="133350" cy="134938"/>
            </a:xfrm>
            <a:custGeom>
              <a:avLst/>
              <a:gdLst>
                <a:gd name="T0" fmla="*/ 739 w 845"/>
                <a:gd name="T1" fmla="*/ 317 h 845"/>
                <a:gd name="T2" fmla="*/ 529 w 845"/>
                <a:gd name="T3" fmla="*/ 317 h 845"/>
                <a:gd name="T4" fmla="*/ 529 w 845"/>
                <a:gd name="T5" fmla="*/ 107 h 845"/>
                <a:gd name="T6" fmla="*/ 422 w 845"/>
                <a:gd name="T7" fmla="*/ 0 h 845"/>
                <a:gd name="T8" fmla="*/ 316 w 845"/>
                <a:gd name="T9" fmla="*/ 107 h 845"/>
                <a:gd name="T10" fmla="*/ 316 w 845"/>
                <a:gd name="T11" fmla="*/ 317 h 845"/>
                <a:gd name="T12" fmla="*/ 106 w 845"/>
                <a:gd name="T13" fmla="*/ 317 h 845"/>
                <a:gd name="T14" fmla="*/ 0 w 845"/>
                <a:gd name="T15" fmla="*/ 423 h 845"/>
                <a:gd name="T16" fmla="*/ 106 w 845"/>
                <a:gd name="T17" fmla="*/ 529 h 845"/>
                <a:gd name="T18" fmla="*/ 316 w 845"/>
                <a:gd name="T19" fmla="*/ 529 h 845"/>
                <a:gd name="T20" fmla="*/ 316 w 845"/>
                <a:gd name="T21" fmla="*/ 739 h 845"/>
                <a:gd name="T22" fmla="*/ 422 w 845"/>
                <a:gd name="T23" fmla="*/ 845 h 845"/>
                <a:gd name="T24" fmla="*/ 529 w 845"/>
                <a:gd name="T25" fmla="*/ 739 h 845"/>
                <a:gd name="T26" fmla="*/ 529 w 845"/>
                <a:gd name="T27" fmla="*/ 529 h 845"/>
                <a:gd name="T28" fmla="*/ 739 w 845"/>
                <a:gd name="T29" fmla="*/ 529 h 845"/>
                <a:gd name="T30" fmla="*/ 845 w 845"/>
                <a:gd name="T31" fmla="*/ 423 h 845"/>
                <a:gd name="T32" fmla="*/ 739 w 845"/>
                <a:gd name="T33" fmla="*/ 317 h 8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45" h="845">
                  <a:moveTo>
                    <a:pt x="739" y="317"/>
                  </a:moveTo>
                  <a:lnTo>
                    <a:pt x="529" y="317"/>
                  </a:lnTo>
                  <a:lnTo>
                    <a:pt x="529" y="107"/>
                  </a:lnTo>
                  <a:cubicBezTo>
                    <a:pt x="529" y="48"/>
                    <a:pt x="481" y="0"/>
                    <a:pt x="422" y="0"/>
                  </a:cubicBezTo>
                  <a:cubicBezTo>
                    <a:pt x="364" y="0"/>
                    <a:pt x="316" y="48"/>
                    <a:pt x="316" y="107"/>
                  </a:cubicBezTo>
                  <a:lnTo>
                    <a:pt x="316" y="317"/>
                  </a:lnTo>
                  <a:lnTo>
                    <a:pt x="106" y="317"/>
                  </a:lnTo>
                  <a:cubicBezTo>
                    <a:pt x="47" y="317"/>
                    <a:pt x="0" y="364"/>
                    <a:pt x="0" y="423"/>
                  </a:cubicBezTo>
                  <a:cubicBezTo>
                    <a:pt x="0" y="482"/>
                    <a:pt x="47" y="529"/>
                    <a:pt x="106" y="529"/>
                  </a:cubicBezTo>
                  <a:lnTo>
                    <a:pt x="316" y="529"/>
                  </a:lnTo>
                  <a:lnTo>
                    <a:pt x="316" y="739"/>
                  </a:lnTo>
                  <a:cubicBezTo>
                    <a:pt x="316" y="798"/>
                    <a:pt x="364" y="845"/>
                    <a:pt x="422" y="845"/>
                  </a:cubicBezTo>
                  <a:cubicBezTo>
                    <a:pt x="481" y="845"/>
                    <a:pt x="529" y="798"/>
                    <a:pt x="529" y="739"/>
                  </a:cubicBezTo>
                  <a:lnTo>
                    <a:pt x="529" y="529"/>
                  </a:lnTo>
                  <a:lnTo>
                    <a:pt x="739" y="529"/>
                  </a:lnTo>
                  <a:cubicBezTo>
                    <a:pt x="797" y="529"/>
                    <a:pt x="845" y="482"/>
                    <a:pt x="845" y="423"/>
                  </a:cubicBezTo>
                  <a:cubicBezTo>
                    <a:pt x="845" y="364"/>
                    <a:pt x="797" y="317"/>
                    <a:pt x="739" y="3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armonyOS Sans SC"/>
                <a:cs typeface="+mn-cs"/>
              </a:endParaRPr>
            </a:p>
          </p:txBody>
        </p:sp>
      </p:grpSp>
      <p:grpSp>
        <p:nvGrpSpPr>
          <p:cNvPr id="25" name="Group 52">
            <a:extLst>
              <a:ext uri="{FF2B5EF4-FFF2-40B4-BE49-F238E27FC236}">
                <a16:creationId xmlns:a16="http://schemas.microsoft.com/office/drawing/2014/main" id="{3584A9A8-8464-4682-87C8-BBC428981C8B}"/>
              </a:ext>
            </a:extLst>
          </p:cNvPr>
          <p:cNvGrpSpPr/>
          <p:nvPr/>
        </p:nvGrpSpPr>
        <p:grpSpPr>
          <a:xfrm>
            <a:off x="5195318" y="4424681"/>
            <a:ext cx="349941" cy="338392"/>
            <a:chOff x="4259263" y="5549901"/>
            <a:chExt cx="481013" cy="465138"/>
          </a:xfrm>
          <a:solidFill>
            <a:schemeClr val="bg1"/>
          </a:solidFill>
        </p:grpSpPr>
        <p:sp>
          <p:nvSpPr>
            <p:cNvPr id="26" name="Freeform 74">
              <a:extLst>
                <a:ext uri="{FF2B5EF4-FFF2-40B4-BE49-F238E27FC236}">
                  <a16:creationId xmlns:a16="http://schemas.microsoft.com/office/drawing/2014/main" id="{BCAC6F17-6B49-4C62-BC27-F6D705BEC43C}"/>
                </a:ext>
              </a:extLst>
            </p:cNvPr>
            <p:cNvSpPr>
              <a:spLocks/>
            </p:cNvSpPr>
            <p:nvPr/>
          </p:nvSpPr>
          <p:spPr bwMode="auto">
            <a:xfrm>
              <a:off x="4259263" y="5549901"/>
              <a:ext cx="481013" cy="387350"/>
            </a:xfrm>
            <a:custGeom>
              <a:avLst/>
              <a:gdLst>
                <a:gd name="T0" fmla="*/ 2948 w 3037"/>
                <a:gd name="T1" fmla="*/ 1269 h 2445"/>
                <a:gd name="T2" fmla="*/ 2603 w 3037"/>
                <a:gd name="T3" fmla="*/ 157 h 2445"/>
                <a:gd name="T4" fmla="*/ 2483 w 3037"/>
                <a:gd name="T5" fmla="*/ 0 h 2445"/>
                <a:gd name="T6" fmla="*/ 2162 w 3037"/>
                <a:gd name="T7" fmla="*/ 0 h 2445"/>
                <a:gd name="T8" fmla="*/ 2037 w 3037"/>
                <a:gd name="T9" fmla="*/ 125 h 2445"/>
                <a:gd name="T10" fmla="*/ 1519 w 3037"/>
                <a:gd name="T11" fmla="*/ 644 h 2445"/>
                <a:gd name="T12" fmla="*/ 1000 w 3037"/>
                <a:gd name="T13" fmla="*/ 125 h 2445"/>
                <a:gd name="T14" fmla="*/ 875 w 3037"/>
                <a:gd name="T15" fmla="*/ 0 h 2445"/>
                <a:gd name="T16" fmla="*/ 555 w 3037"/>
                <a:gd name="T17" fmla="*/ 0 h 2445"/>
                <a:gd name="T18" fmla="*/ 434 w 3037"/>
                <a:gd name="T19" fmla="*/ 157 h 2445"/>
                <a:gd name="T20" fmla="*/ 89 w 3037"/>
                <a:gd name="T21" fmla="*/ 1269 h 2445"/>
                <a:gd name="T22" fmla="*/ 9 w 3037"/>
                <a:gd name="T23" fmla="*/ 1405 h 2445"/>
                <a:gd name="T24" fmla="*/ 150 w 3037"/>
                <a:gd name="T25" fmla="*/ 2339 h 2445"/>
                <a:gd name="T26" fmla="*/ 274 w 3037"/>
                <a:gd name="T27" fmla="*/ 2445 h 2445"/>
                <a:gd name="T28" fmla="*/ 2789 w 3037"/>
                <a:gd name="T29" fmla="*/ 2445 h 2445"/>
                <a:gd name="T30" fmla="*/ 2913 w 3037"/>
                <a:gd name="T31" fmla="*/ 2336 h 2445"/>
                <a:gd name="T32" fmla="*/ 3029 w 3037"/>
                <a:gd name="T33" fmla="*/ 1402 h 2445"/>
                <a:gd name="T34" fmla="*/ 2948 w 3037"/>
                <a:gd name="T35" fmla="*/ 1269 h 2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37" h="2445">
                  <a:moveTo>
                    <a:pt x="2948" y="1269"/>
                  </a:moveTo>
                  <a:cubicBezTo>
                    <a:pt x="2631" y="1153"/>
                    <a:pt x="2470" y="657"/>
                    <a:pt x="2603" y="157"/>
                  </a:cubicBezTo>
                  <a:cubicBezTo>
                    <a:pt x="2624" y="78"/>
                    <a:pt x="2565" y="0"/>
                    <a:pt x="2483" y="0"/>
                  </a:cubicBezTo>
                  <a:lnTo>
                    <a:pt x="2162" y="0"/>
                  </a:lnTo>
                  <a:cubicBezTo>
                    <a:pt x="2093" y="0"/>
                    <a:pt x="2037" y="56"/>
                    <a:pt x="2037" y="125"/>
                  </a:cubicBezTo>
                  <a:cubicBezTo>
                    <a:pt x="2037" y="411"/>
                    <a:pt x="1805" y="644"/>
                    <a:pt x="1519" y="644"/>
                  </a:cubicBezTo>
                  <a:cubicBezTo>
                    <a:pt x="1233" y="644"/>
                    <a:pt x="1000" y="411"/>
                    <a:pt x="1000" y="125"/>
                  </a:cubicBezTo>
                  <a:cubicBezTo>
                    <a:pt x="1000" y="56"/>
                    <a:pt x="944" y="0"/>
                    <a:pt x="875" y="0"/>
                  </a:cubicBezTo>
                  <a:lnTo>
                    <a:pt x="555" y="0"/>
                  </a:lnTo>
                  <a:cubicBezTo>
                    <a:pt x="473" y="0"/>
                    <a:pt x="413" y="78"/>
                    <a:pt x="434" y="157"/>
                  </a:cubicBezTo>
                  <a:cubicBezTo>
                    <a:pt x="568" y="657"/>
                    <a:pt x="407" y="1153"/>
                    <a:pt x="89" y="1269"/>
                  </a:cubicBezTo>
                  <a:cubicBezTo>
                    <a:pt x="33" y="1290"/>
                    <a:pt x="0" y="1347"/>
                    <a:pt x="9" y="1405"/>
                  </a:cubicBezTo>
                  <a:lnTo>
                    <a:pt x="150" y="2339"/>
                  </a:lnTo>
                  <a:cubicBezTo>
                    <a:pt x="160" y="2400"/>
                    <a:pt x="212" y="2445"/>
                    <a:pt x="274" y="2445"/>
                  </a:cubicBezTo>
                  <a:lnTo>
                    <a:pt x="2789" y="2445"/>
                  </a:lnTo>
                  <a:cubicBezTo>
                    <a:pt x="2852" y="2445"/>
                    <a:pt x="2905" y="2398"/>
                    <a:pt x="2913" y="2336"/>
                  </a:cubicBezTo>
                  <a:lnTo>
                    <a:pt x="3029" y="1402"/>
                  </a:lnTo>
                  <a:cubicBezTo>
                    <a:pt x="3037" y="1344"/>
                    <a:pt x="3003" y="1289"/>
                    <a:pt x="2948" y="12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armonyOS Sans SC"/>
                <a:cs typeface="+mn-cs"/>
              </a:endParaRPr>
            </a:p>
          </p:txBody>
        </p:sp>
        <p:sp>
          <p:nvSpPr>
            <p:cNvPr id="27" name="Freeform 75">
              <a:extLst>
                <a:ext uri="{FF2B5EF4-FFF2-40B4-BE49-F238E27FC236}">
                  <a16:creationId xmlns:a16="http://schemas.microsoft.com/office/drawing/2014/main" id="{11E48A59-3C4B-4DEA-854F-8C82A942FE69}"/>
                </a:ext>
              </a:extLst>
            </p:cNvPr>
            <p:cNvSpPr>
              <a:spLocks/>
            </p:cNvSpPr>
            <p:nvPr/>
          </p:nvSpPr>
          <p:spPr bwMode="auto">
            <a:xfrm>
              <a:off x="4278313" y="5975351"/>
              <a:ext cx="442913" cy="39688"/>
            </a:xfrm>
            <a:custGeom>
              <a:avLst/>
              <a:gdLst>
                <a:gd name="T0" fmla="*/ 2674 w 2799"/>
                <a:gd name="T1" fmla="*/ 0 h 250"/>
                <a:gd name="T2" fmla="*/ 125 w 2799"/>
                <a:gd name="T3" fmla="*/ 0 h 250"/>
                <a:gd name="T4" fmla="*/ 0 w 2799"/>
                <a:gd name="T5" fmla="*/ 125 h 250"/>
                <a:gd name="T6" fmla="*/ 125 w 2799"/>
                <a:gd name="T7" fmla="*/ 250 h 250"/>
                <a:gd name="T8" fmla="*/ 2674 w 2799"/>
                <a:gd name="T9" fmla="*/ 250 h 250"/>
                <a:gd name="T10" fmla="*/ 2799 w 2799"/>
                <a:gd name="T11" fmla="*/ 125 h 250"/>
                <a:gd name="T12" fmla="*/ 2674 w 2799"/>
                <a:gd name="T13" fmla="*/ 0 h 250"/>
              </a:gdLst>
              <a:ahLst/>
              <a:cxnLst>
                <a:cxn ang="0">
                  <a:pos x="T0" y="T1"/>
                </a:cxn>
                <a:cxn ang="0">
                  <a:pos x="T2" y="T3"/>
                </a:cxn>
                <a:cxn ang="0">
                  <a:pos x="T4" y="T5"/>
                </a:cxn>
                <a:cxn ang="0">
                  <a:pos x="T6" y="T7"/>
                </a:cxn>
                <a:cxn ang="0">
                  <a:pos x="T8" y="T9"/>
                </a:cxn>
                <a:cxn ang="0">
                  <a:pos x="T10" y="T11"/>
                </a:cxn>
                <a:cxn ang="0">
                  <a:pos x="T12" y="T13"/>
                </a:cxn>
              </a:cxnLst>
              <a:rect l="0" t="0" r="r" b="b"/>
              <a:pathLst>
                <a:path w="2799" h="250">
                  <a:moveTo>
                    <a:pt x="2674" y="0"/>
                  </a:moveTo>
                  <a:lnTo>
                    <a:pt x="125" y="0"/>
                  </a:lnTo>
                  <a:cubicBezTo>
                    <a:pt x="56" y="0"/>
                    <a:pt x="0" y="56"/>
                    <a:pt x="0" y="125"/>
                  </a:cubicBezTo>
                  <a:cubicBezTo>
                    <a:pt x="0" y="194"/>
                    <a:pt x="56" y="250"/>
                    <a:pt x="125" y="250"/>
                  </a:cubicBezTo>
                  <a:lnTo>
                    <a:pt x="2674" y="250"/>
                  </a:lnTo>
                  <a:cubicBezTo>
                    <a:pt x="2743" y="250"/>
                    <a:pt x="2799" y="194"/>
                    <a:pt x="2799" y="125"/>
                  </a:cubicBezTo>
                  <a:cubicBezTo>
                    <a:pt x="2799" y="56"/>
                    <a:pt x="2743" y="0"/>
                    <a:pt x="267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armonyOS Sans SC"/>
                <a:cs typeface="+mn-cs"/>
              </a:endParaRPr>
            </a:p>
          </p:txBody>
        </p:sp>
      </p:grpSp>
      <p:sp>
        <p:nvSpPr>
          <p:cNvPr id="28" name="Freeform 7">
            <a:extLst>
              <a:ext uri="{FF2B5EF4-FFF2-40B4-BE49-F238E27FC236}">
                <a16:creationId xmlns:a16="http://schemas.microsoft.com/office/drawing/2014/main" id="{58FD66A5-F6C3-47F7-BCDB-70A9137E1399}"/>
              </a:ext>
            </a:extLst>
          </p:cNvPr>
          <p:cNvSpPr>
            <a:spLocks noEditPoints="1"/>
          </p:cNvSpPr>
          <p:nvPr/>
        </p:nvSpPr>
        <p:spPr bwMode="auto">
          <a:xfrm>
            <a:off x="4679663" y="3224256"/>
            <a:ext cx="285266" cy="348786"/>
          </a:xfrm>
          <a:custGeom>
            <a:avLst/>
            <a:gdLst>
              <a:gd name="T0" fmla="*/ 2473 w 2473"/>
              <a:gd name="T1" fmla="*/ 408 h 3024"/>
              <a:gd name="T2" fmla="*/ 2473 w 2473"/>
              <a:gd name="T3" fmla="*/ 408 h 3024"/>
              <a:gd name="T4" fmla="*/ 2065 w 2473"/>
              <a:gd name="T5" fmla="*/ 0 h 3024"/>
              <a:gd name="T6" fmla="*/ 408 w 2473"/>
              <a:gd name="T7" fmla="*/ 0 h 3024"/>
              <a:gd name="T8" fmla="*/ 0 w 2473"/>
              <a:gd name="T9" fmla="*/ 408 h 3024"/>
              <a:gd name="T10" fmla="*/ 0 w 2473"/>
              <a:gd name="T11" fmla="*/ 1497 h 3024"/>
              <a:gd name="T12" fmla="*/ 0 w 2473"/>
              <a:gd name="T13" fmla="*/ 1497 h 3024"/>
              <a:gd name="T14" fmla="*/ 0 w 2473"/>
              <a:gd name="T15" fmla="*/ 1512 h 3024"/>
              <a:gd name="T16" fmla="*/ 1236 w 2473"/>
              <a:gd name="T17" fmla="*/ 3024 h 3024"/>
              <a:gd name="T18" fmla="*/ 2473 w 2473"/>
              <a:gd name="T19" fmla="*/ 1512 h 3024"/>
              <a:gd name="T20" fmla="*/ 2473 w 2473"/>
              <a:gd name="T21" fmla="*/ 1497 h 3024"/>
              <a:gd name="T22" fmla="*/ 2473 w 2473"/>
              <a:gd name="T23" fmla="*/ 1497 h 3024"/>
              <a:gd name="T24" fmla="*/ 2473 w 2473"/>
              <a:gd name="T25" fmla="*/ 408 h 3024"/>
              <a:gd name="T26" fmla="*/ 2019 w 2473"/>
              <a:gd name="T27" fmla="*/ 1455 h 3024"/>
              <a:gd name="T28" fmla="*/ 2019 w 2473"/>
              <a:gd name="T29" fmla="*/ 1455 h 3024"/>
              <a:gd name="T30" fmla="*/ 1773 w 2473"/>
              <a:gd name="T31" fmla="*/ 1702 h 3024"/>
              <a:gd name="T32" fmla="*/ 1523 w 2473"/>
              <a:gd name="T33" fmla="*/ 1951 h 3024"/>
              <a:gd name="T34" fmla="*/ 1523 w 2473"/>
              <a:gd name="T35" fmla="*/ 2127 h 3024"/>
              <a:gd name="T36" fmla="*/ 1773 w 2473"/>
              <a:gd name="T37" fmla="*/ 2376 h 3024"/>
              <a:gd name="T38" fmla="*/ 1810 w 2473"/>
              <a:gd name="T39" fmla="*/ 2453 h 3024"/>
              <a:gd name="T40" fmla="*/ 662 w 2473"/>
              <a:gd name="T41" fmla="*/ 2453 h 3024"/>
              <a:gd name="T42" fmla="*/ 700 w 2473"/>
              <a:gd name="T43" fmla="*/ 2376 h 3024"/>
              <a:gd name="T44" fmla="*/ 949 w 2473"/>
              <a:gd name="T45" fmla="*/ 2127 h 3024"/>
              <a:gd name="T46" fmla="*/ 949 w 2473"/>
              <a:gd name="T47" fmla="*/ 1951 h 3024"/>
              <a:gd name="T48" fmla="*/ 700 w 2473"/>
              <a:gd name="T49" fmla="*/ 1702 h 3024"/>
              <a:gd name="T50" fmla="*/ 453 w 2473"/>
              <a:gd name="T51" fmla="*/ 1455 h 3024"/>
              <a:gd name="T52" fmla="*/ 453 w 2473"/>
              <a:gd name="T53" fmla="*/ 1103 h 3024"/>
              <a:gd name="T54" fmla="*/ 712 w 2473"/>
              <a:gd name="T55" fmla="*/ 845 h 3024"/>
              <a:gd name="T56" fmla="*/ 1761 w 2473"/>
              <a:gd name="T57" fmla="*/ 845 h 3024"/>
              <a:gd name="T58" fmla="*/ 2019 w 2473"/>
              <a:gd name="T59" fmla="*/ 1103 h 3024"/>
              <a:gd name="T60" fmla="*/ 2019 w 2473"/>
              <a:gd name="T61" fmla="*/ 1455 h 30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473" h="3024">
                <a:moveTo>
                  <a:pt x="2473" y="408"/>
                </a:moveTo>
                <a:lnTo>
                  <a:pt x="2473" y="408"/>
                </a:lnTo>
                <a:cubicBezTo>
                  <a:pt x="2473" y="183"/>
                  <a:pt x="2290" y="0"/>
                  <a:pt x="2065" y="0"/>
                </a:cubicBezTo>
                <a:cubicBezTo>
                  <a:pt x="1992" y="0"/>
                  <a:pt x="480" y="0"/>
                  <a:pt x="408" y="0"/>
                </a:cubicBezTo>
                <a:cubicBezTo>
                  <a:pt x="182" y="0"/>
                  <a:pt x="0" y="183"/>
                  <a:pt x="0" y="408"/>
                </a:cubicBezTo>
                <a:lnTo>
                  <a:pt x="0" y="1497"/>
                </a:lnTo>
                <a:lnTo>
                  <a:pt x="0" y="1497"/>
                </a:lnTo>
                <a:cubicBezTo>
                  <a:pt x="0" y="1502"/>
                  <a:pt x="0" y="1507"/>
                  <a:pt x="0" y="1512"/>
                </a:cubicBezTo>
                <a:cubicBezTo>
                  <a:pt x="0" y="2347"/>
                  <a:pt x="553" y="3024"/>
                  <a:pt x="1236" y="3024"/>
                </a:cubicBezTo>
                <a:cubicBezTo>
                  <a:pt x="1919" y="3024"/>
                  <a:pt x="2473" y="2347"/>
                  <a:pt x="2473" y="1512"/>
                </a:cubicBezTo>
                <a:cubicBezTo>
                  <a:pt x="2473" y="1507"/>
                  <a:pt x="2473" y="1502"/>
                  <a:pt x="2473" y="1497"/>
                </a:cubicBezTo>
                <a:lnTo>
                  <a:pt x="2473" y="1497"/>
                </a:lnTo>
                <a:lnTo>
                  <a:pt x="2473" y="408"/>
                </a:lnTo>
                <a:close/>
                <a:moveTo>
                  <a:pt x="2019" y="1455"/>
                </a:moveTo>
                <a:lnTo>
                  <a:pt x="2019" y="1455"/>
                </a:lnTo>
                <a:cubicBezTo>
                  <a:pt x="2019" y="1591"/>
                  <a:pt x="1909" y="1702"/>
                  <a:pt x="1773" y="1702"/>
                </a:cubicBezTo>
                <a:cubicBezTo>
                  <a:pt x="1635" y="1702"/>
                  <a:pt x="1523" y="1813"/>
                  <a:pt x="1523" y="1951"/>
                </a:cubicBezTo>
                <a:lnTo>
                  <a:pt x="1523" y="2127"/>
                </a:lnTo>
                <a:cubicBezTo>
                  <a:pt x="1523" y="2265"/>
                  <a:pt x="1635" y="2376"/>
                  <a:pt x="1773" y="2376"/>
                </a:cubicBezTo>
                <a:cubicBezTo>
                  <a:pt x="1812" y="2376"/>
                  <a:pt x="1834" y="2421"/>
                  <a:pt x="1810" y="2453"/>
                </a:cubicBezTo>
                <a:cubicBezTo>
                  <a:pt x="1501" y="2861"/>
                  <a:pt x="972" y="2861"/>
                  <a:pt x="662" y="2453"/>
                </a:cubicBezTo>
                <a:cubicBezTo>
                  <a:pt x="639" y="2421"/>
                  <a:pt x="661" y="2376"/>
                  <a:pt x="700" y="2376"/>
                </a:cubicBezTo>
                <a:cubicBezTo>
                  <a:pt x="838" y="2376"/>
                  <a:pt x="949" y="2265"/>
                  <a:pt x="949" y="2127"/>
                </a:cubicBezTo>
                <a:lnTo>
                  <a:pt x="949" y="1951"/>
                </a:lnTo>
                <a:cubicBezTo>
                  <a:pt x="949" y="1813"/>
                  <a:pt x="838" y="1702"/>
                  <a:pt x="700" y="1702"/>
                </a:cubicBezTo>
                <a:cubicBezTo>
                  <a:pt x="564" y="1702"/>
                  <a:pt x="453" y="1591"/>
                  <a:pt x="453" y="1455"/>
                </a:cubicBezTo>
                <a:lnTo>
                  <a:pt x="453" y="1103"/>
                </a:lnTo>
                <a:cubicBezTo>
                  <a:pt x="453" y="960"/>
                  <a:pt x="569" y="845"/>
                  <a:pt x="712" y="845"/>
                </a:cubicBezTo>
                <a:cubicBezTo>
                  <a:pt x="758" y="845"/>
                  <a:pt x="1715" y="845"/>
                  <a:pt x="1761" y="845"/>
                </a:cubicBezTo>
                <a:cubicBezTo>
                  <a:pt x="1904" y="845"/>
                  <a:pt x="2019" y="960"/>
                  <a:pt x="2019" y="1103"/>
                </a:cubicBezTo>
                <a:lnTo>
                  <a:pt x="2019" y="1455"/>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armonyOS Sans SC"/>
              <a:cs typeface="+mn-cs"/>
            </a:endParaRPr>
          </a:p>
        </p:txBody>
      </p:sp>
      <p:grpSp>
        <p:nvGrpSpPr>
          <p:cNvPr id="51" name="组合 50">
            <a:extLst>
              <a:ext uri="{FF2B5EF4-FFF2-40B4-BE49-F238E27FC236}">
                <a16:creationId xmlns:a16="http://schemas.microsoft.com/office/drawing/2014/main" id="{2AFD1B9E-FCE0-44BF-AABE-3ADBD7127BE3}"/>
              </a:ext>
            </a:extLst>
          </p:cNvPr>
          <p:cNvGrpSpPr/>
          <p:nvPr/>
        </p:nvGrpSpPr>
        <p:grpSpPr>
          <a:xfrm>
            <a:off x="8565123" y="3267277"/>
            <a:ext cx="2594749" cy="762296"/>
            <a:chOff x="8565124" y="3145683"/>
            <a:chExt cx="2594749" cy="762296"/>
          </a:xfrm>
        </p:grpSpPr>
        <p:sp>
          <p:nvSpPr>
            <p:cNvPr id="29" name="TextBox 56">
              <a:extLst>
                <a:ext uri="{FF2B5EF4-FFF2-40B4-BE49-F238E27FC236}">
                  <a16:creationId xmlns:a16="http://schemas.microsoft.com/office/drawing/2014/main" id="{9EABE89E-DEB4-4AE8-BB8D-D0FF24B78BF0}"/>
                </a:ext>
              </a:extLst>
            </p:cNvPr>
            <p:cNvSpPr txBox="1"/>
            <p:nvPr/>
          </p:nvSpPr>
          <p:spPr>
            <a:xfrm>
              <a:off x="8565124" y="3145683"/>
              <a:ext cx="2405238" cy="338554"/>
            </a:xfrm>
            <a:prstGeom prst="rect">
              <a:avLst/>
            </a:prstGeom>
            <a:noFill/>
          </p:spPr>
          <p:txBody>
            <a:bodyPr wrap="square" lIns="0" r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chemeClr val="accent1"/>
                  </a:solidFill>
                  <a:effectLst/>
                  <a:uLnTx/>
                  <a:uFillTx/>
                  <a:latin typeface="HarmonyOS Sans SC Black"/>
                  <a:ea typeface="+mj-ea"/>
                  <a:cs typeface="+mn-cs"/>
                </a:rPr>
                <a:t>Supplement Pills</a:t>
              </a:r>
              <a:endParaRPr kumimoji="0" lang="en-US" sz="2400" b="0" i="0" u="none" strike="noStrike" kern="1200" cap="none" spc="0" normalizeH="0" baseline="0" noProof="0" dirty="0">
                <a:ln>
                  <a:noFill/>
                </a:ln>
                <a:solidFill>
                  <a:schemeClr val="accent1"/>
                </a:solidFill>
                <a:effectLst/>
                <a:uLnTx/>
                <a:uFillTx/>
                <a:latin typeface="HarmonyOS Sans SC Black"/>
                <a:ea typeface="+mj-ea"/>
                <a:cs typeface="+mn-cs"/>
              </a:endParaRPr>
            </a:p>
          </p:txBody>
        </p:sp>
        <p:sp>
          <p:nvSpPr>
            <p:cNvPr id="30" name="TextBox 57">
              <a:extLst>
                <a:ext uri="{FF2B5EF4-FFF2-40B4-BE49-F238E27FC236}">
                  <a16:creationId xmlns:a16="http://schemas.microsoft.com/office/drawing/2014/main" id="{E02D6268-767F-4B3C-9B46-E16CB5712B8D}"/>
                </a:ext>
              </a:extLst>
            </p:cNvPr>
            <p:cNvSpPr txBox="1"/>
            <p:nvPr/>
          </p:nvSpPr>
          <p:spPr>
            <a:xfrm>
              <a:off x="8565124" y="3423807"/>
              <a:ext cx="2594749" cy="484172"/>
            </a:xfrm>
            <a:prstGeom prst="rect">
              <a:avLst/>
            </a:prstGeom>
            <a:noFill/>
          </p:spPr>
          <p:txBody>
            <a:bodyPr wrap="square" lIns="0" rIns="0" rtlCol="0" anchor="t">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900" b="0" i="0" u="none" strike="noStrike" kern="1200" cap="none" spc="0" normalizeH="0" baseline="0" noProof="0" dirty="0">
                  <a:ln>
                    <a:noFill/>
                  </a:ln>
                  <a:solidFill>
                    <a:schemeClr val="accent1"/>
                  </a:solidFill>
                  <a:effectLst/>
                  <a:uLnTx/>
                  <a:uFillTx/>
                  <a:latin typeface="HarmonyOS Sans SC"/>
                  <a:cs typeface="+mn-cs"/>
                </a:rPr>
                <a:t>Lorem ipsum dolor sit </a:t>
              </a:r>
              <a:r>
                <a:rPr kumimoji="0" lang="en-US" sz="900" b="0" i="0" u="none" strike="noStrike" kern="1200" cap="none" spc="0" normalizeH="0" baseline="0" noProof="0" dirty="0" err="1">
                  <a:ln>
                    <a:noFill/>
                  </a:ln>
                  <a:solidFill>
                    <a:schemeClr val="accent1"/>
                  </a:solidFill>
                  <a:effectLst/>
                  <a:uLnTx/>
                  <a:uFillTx/>
                  <a:latin typeface="HarmonyOS Sans SC"/>
                  <a:cs typeface="+mn-cs"/>
                </a:rPr>
                <a:t>amet</a:t>
              </a:r>
              <a:r>
                <a:rPr kumimoji="0" lang="en-US" sz="900" b="0" i="0" u="none" strike="noStrike" kern="1200" cap="none" spc="0" normalizeH="0" baseline="0" noProof="0" dirty="0">
                  <a:ln>
                    <a:noFill/>
                  </a:ln>
                  <a:solidFill>
                    <a:schemeClr val="accent1"/>
                  </a:solidFill>
                  <a:effectLst/>
                  <a:uLnTx/>
                  <a:uFillTx/>
                  <a:latin typeface="HarmonyOS Sans SC"/>
                  <a:cs typeface="+mn-cs"/>
                </a:rPr>
                <a:t>, </a:t>
              </a:r>
              <a:r>
                <a:rPr kumimoji="0" lang="en-US" sz="900" b="0" i="0" u="none" strike="noStrike" kern="1200" cap="none" spc="0" normalizeH="0" baseline="0" noProof="0" dirty="0" err="1">
                  <a:ln>
                    <a:noFill/>
                  </a:ln>
                  <a:solidFill>
                    <a:schemeClr val="accent1"/>
                  </a:solidFill>
                  <a:effectLst/>
                  <a:uLnTx/>
                  <a:uFillTx/>
                  <a:latin typeface="HarmonyOS Sans SC"/>
                  <a:cs typeface="+mn-cs"/>
                </a:rPr>
                <a:t>nibh</a:t>
              </a:r>
              <a:r>
                <a:rPr kumimoji="0" lang="en-US" sz="900" b="0" i="0" u="none" strike="noStrike" kern="1200" cap="none" spc="0" normalizeH="0" baseline="0" noProof="0" dirty="0">
                  <a:ln>
                    <a:noFill/>
                  </a:ln>
                  <a:solidFill>
                    <a:schemeClr val="accent1"/>
                  </a:solidFill>
                  <a:effectLst/>
                  <a:uLnTx/>
                  <a:uFillTx/>
                  <a:latin typeface="HarmonyOS Sans SC"/>
                  <a:cs typeface="+mn-cs"/>
                </a:rPr>
                <a:t> est. A magna </a:t>
              </a:r>
              <a:r>
                <a:rPr kumimoji="0" lang="en-US" sz="900" b="0" i="0" u="none" strike="noStrike" kern="1200" cap="none" spc="0" normalizeH="0" baseline="0" noProof="0" dirty="0" err="1">
                  <a:ln>
                    <a:noFill/>
                  </a:ln>
                  <a:solidFill>
                    <a:schemeClr val="accent1"/>
                  </a:solidFill>
                  <a:effectLst/>
                  <a:uLnTx/>
                  <a:uFillTx/>
                  <a:latin typeface="HarmonyOS Sans SC"/>
                  <a:cs typeface="+mn-cs"/>
                </a:rPr>
                <a:t>maecenas</a:t>
              </a:r>
              <a:r>
                <a:rPr kumimoji="0" lang="en-US" sz="900" b="0" i="0" u="none" strike="noStrike" kern="1200" cap="none" spc="0" normalizeH="0" baseline="0" noProof="0" dirty="0">
                  <a:ln>
                    <a:noFill/>
                  </a:ln>
                  <a:solidFill>
                    <a:schemeClr val="accent1"/>
                  </a:solidFill>
                  <a:effectLst/>
                  <a:uLnTx/>
                  <a:uFillTx/>
                  <a:latin typeface="HarmonyOS Sans SC"/>
                  <a:cs typeface="+mn-cs"/>
                </a:rPr>
                <a:t>, </a:t>
              </a:r>
              <a:r>
                <a:rPr kumimoji="0" lang="en-US" sz="900" b="0" i="0" u="none" strike="noStrike" kern="1200" cap="none" spc="0" normalizeH="0" baseline="0" noProof="0" dirty="0" err="1">
                  <a:ln>
                    <a:noFill/>
                  </a:ln>
                  <a:solidFill>
                    <a:schemeClr val="accent1"/>
                  </a:solidFill>
                  <a:effectLst/>
                  <a:uLnTx/>
                  <a:uFillTx/>
                  <a:latin typeface="HarmonyOS Sans SC"/>
                  <a:cs typeface="+mn-cs"/>
                </a:rPr>
                <a:t>quam</a:t>
              </a:r>
              <a:r>
                <a:rPr kumimoji="0" lang="en-US" sz="900" b="0" i="0" u="none" strike="noStrike" kern="1200" cap="none" spc="0" normalizeH="0" baseline="0" noProof="0" dirty="0">
                  <a:ln>
                    <a:noFill/>
                  </a:ln>
                  <a:solidFill>
                    <a:schemeClr val="accent1"/>
                  </a:solidFill>
                  <a:effectLst/>
                  <a:uLnTx/>
                  <a:uFillTx/>
                  <a:latin typeface="HarmonyOS Sans SC"/>
                  <a:cs typeface="+mn-cs"/>
                </a:rPr>
                <a:t> magna.</a:t>
              </a:r>
            </a:p>
          </p:txBody>
        </p:sp>
      </p:grpSp>
      <p:grpSp>
        <p:nvGrpSpPr>
          <p:cNvPr id="50" name="组合 49">
            <a:extLst>
              <a:ext uri="{FF2B5EF4-FFF2-40B4-BE49-F238E27FC236}">
                <a16:creationId xmlns:a16="http://schemas.microsoft.com/office/drawing/2014/main" id="{97D51948-396F-49B5-A151-263B6672BFA0}"/>
              </a:ext>
            </a:extLst>
          </p:cNvPr>
          <p:cNvGrpSpPr/>
          <p:nvPr/>
        </p:nvGrpSpPr>
        <p:grpSpPr>
          <a:xfrm>
            <a:off x="8565123" y="1826650"/>
            <a:ext cx="2594749" cy="762296"/>
            <a:chOff x="8565124" y="1750450"/>
            <a:chExt cx="2594749" cy="762296"/>
          </a:xfrm>
        </p:grpSpPr>
        <p:sp>
          <p:nvSpPr>
            <p:cNvPr id="31" name="TextBox 58">
              <a:extLst>
                <a:ext uri="{FF2B5EF4-FFF2-40B4-BE49-F238E27FC236}">
                  <a16:creationId xmlns:a16="http://schemas.microsoft.com/office/drawing/2014/main" id="{A94C4495-545C-4623-BBE7-404B329BBBF2}"/>
                </a:ext>
              </a:extLst>
            </p:cNvPr>
            <p:cNvSpPr txBox="1"/>
            <p:nvPr/>
          </p:nvSpPr>
          <p:spPr>
            <a:xfrm>
              <a:off x="8565124" y="1750450"/>
              <a:ext cx="2405238" cy="338554"/>
            </a:xfrm>
            <a:prstGeom prst="rect">
              <a:avLst/>
            </a:prstGeom>
            <a:noFill/>
          </p:spPr>
          <p:txBody>
            <a:bodyPr wrap="square" lIns="0" r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chemeClr val="accent1"/>
                  </a:solidFill>
                  <a:effectLst/>
                  <a:uLnTx/>
                  <a:uFillTx/>
                  <a:latin typeface="HarmonyOS Sans SC Black"/>
                  <a:ea typeface="+mj-ea"/>
                  <a:cs typeface="+mn-cs"/>
                </a:rPr>
                <a:t>Equipment Kit</a:t>
              </a:r>
              <a:endParaRPr kumimoji="0" lang="en-US" sz="2400" b="0" i="0" u="none" strike="noStrike" kern="1200" cap="none" spc="0" normalizeH="0" baseline="0" noProof="0" dirty="0">
                <a:ln>
                  <a:noFill/>
                </a:ln>
                <a:solidFill>
                  <a:schemeClr val="accent1"/>
                </a:solidFill>
                <a:effectLst/>
                <a:uLnTx/>
                <a:uFillTx/>
                <a:latin typeface="HarmonyOS Sans SC Black"/>
                <a:ea typeface="+mj-ea"/>
                <a:cs typeface="+mn-cs"/>
              </a:endParaRPr>
            </a:p>
          </p:txBody>
        </p:sp>
        <p:sp>
          <p:nvSpPr>
            <p:cNvPr id="32" name="TextBox 59">
              <a:extLst>
                <a:ext uri="{FF2B5EF4-FFF2-40B4-BE49-F238E27FC236}">
                  <a16:creationId xmlns:a16="http://schemas.microsoft.com/office/drawing/2014/main" id="{364F4FD0-40FE-45F8-9377-949001074F6B}"/>
                </a:ext>
              </a:extLst>
            </p:cNvPr>
            <p:cNvSpPr txBox="1"/>
            <p:nvPr/>
          </p:nvSpPr>
          <p:spPr>
            <a:xfrm>
              <a:off x="8565124" y="2028574"/>
              <a:ext cx="2594749" cy="484172"/>
            </a:xfrm>
            <a:prstGeom prst="rect">
              <a:avLst/>
            </a:prstGeom>
            <a:noFill/>
          </p:spPr>
          <p:txBody>
            <a:bodyPr wrap="square" lIns="0" rIns="0" rtlCol="0" anchor="t">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900" b="0" i="0" u="none" strike="noStrike" kern="1200" cap="none" spc="0" normalizeH="0" baseline="0" noProof="0" dirty="0">
                  <a:ln>
                    <a:noFill/>
                  </a:ln>
                  <a:solidFill>
                    <a:schemeClr val="accent1"/>
                  </a:solidFill>
                  <a:effectLst/>
                  <a:uLnTx/>
                  <a:uFillTx/>
                  <a:latin typeface="HarmonyOS Sans SC"/>
                  <a:cs typeface="+mn-cs"/>
                </a:rPr>
                <a:t>A magna </a:t>
              </a:r>
              <a:r>
                <a:rPr kumimoji="0" lang="en-US" sz="900" b="0" i="0" u="none" strike="noStrike" kern="1200" cap="none" spc="0" normalizeH="0" baseline="0" noProof="0" dirty="0" err="1">
                  <a:ln>
                    <a:noFill/>
                  </a:ln>
                  <a:solidFill>
                    <a:schemeClr val="accent1"/>
                  </a:solidFill>
                  <a:effectLst/>
                  <a:uLnTx/>
                  <a:uFillTx/>
                  <a:latin typeface="HarmonyOS Sans SC"/>
                  <a:cs typeface="+mn-cs"/>
                </a:rPr>
                <a:t>maecenas</a:t>
              </a:r>
              <a:r>
                <a:rPr kumimoji="0" lang="en-US" sz="900" b="0" i="0" u="none" strike="noStrike" kern="1200" cap="none" spc="0" normalizeH="0" baseline="0" noProof="0" dirty="0">
                  <a:ln>
                    <a:noFill/>
                  </a:ln>
                  <a:solidFill>
                    <a:schemeClr val="accent1"/>
                  </a:solidFill>
                  <a:effectLst/>
                  <a:uLnTx/>
                  <a:uFillTx/>
                  <a:latin typeface="HarmonyOS Sans SC"/>
                  <a:cs typeface="+mn-cs"/>
                </a:rPr>
                <a:t>, </a:t>
              </a:r>
              <a:r>
                <a:rPr kumimoji="0" lang="en-US" sz="900" b="0" i="0" u="none" strike="noStrike" kern="1200" cap="none" spc="0" normalizeH="0" baseline="0" noProof="0" dirty="0" err="1">
                  <a:ln>
                    <a:noFill/>
                  </a:ln>
                  <a:solidFill>
                    <a:schemeClr val="accent1"/>
                  </a:solidFill>
                  <a:effectLst/>
                  <a:uLnTx/>
                  <a:uFillTx/>
                  <a:latin typeface="HarmonyOS Sans SC"/>
                  <a:cs typeface="+mn-cs"/>
                </a:rPr>
                <a:t>quam</a:t>
              </a:r>
              <a:r>
                <a:rPr kumimoji="0" lang="en-US" sz="900" b="0" i="0" u="none" strike="noStrike" kern="1200" cap="none" spc="0" normalizeH="0" baseline="0" noProof="0" dirty="0">
                  <a:ln>
                    <a:noFill/>
                  </a:ln>
                  <a:solidFill>
                    <a:schemeClr val="accent1"/>
                  </a:solidFill>
                  <a:effectLst/>
                  <a:uLnTx/>
                  <a:uFillTx/>
                  <a:latin typeface="HarmonyOS Sans SC"/>
                  <a:cs typeface="+mn-cs"/>
                </a:rPr>
                <a:t> magna </a:t>
              </a:r>
              <a:r>
                <a:rPr kumimoji="0" lang="en-US" sz="900" b="0" i="0" u="none" strike="noStrike" kern="1200" cap="none" spc="0" normalizeH="0" baseline="0" noProof="0" dirty="0" err="1">
                  <a:ln>
                    <a:noFill/>
                  </a:ln>
                  <a:solidFill>
                    <a:schemeClr val="accent1"/>
                  </a:solidFill>
                  <a:effectLst/>
                  <a:uLnTx/>
                  <a:uFillTx/>
                  <a:latin typeface="HarmonyOS Sans SC"/>
                  <a:cs typeface="+mn-cs"/>
                </a:rPr>
                <a:t>nec</a:t>
              </a:r>
              <a:r>
                <a:rPr kumimoji="0" lang="en-US" sz="900" b="0" i="0" u="none" strike="noStrike" kern="1200" cap="none" spc="0" normalizeH="0" baseline="0" noProof="0" dirty="0">
                  <a:ln>
                    <a:noFill/>
                  </a:ln>
                  <a:solidFill>
                    <a:schemeClr val="accent1"/>
                  </a:solidFill>
                  <a:effectLst/>
                  <a:uLnTx/>
                  <a:uFillTx/>
                  <a:latin typeface="HarmonyOS Sans SC"/>
                  <a:cs typeface="+mn-cs"/>
                </a:rPr>
                <a:t> </a:t>
              </a:r>
              <a:r>
                <a:rPr kumimoji="0" lang="en-US" sz="900" b="0" i="0" u="none" strike="noStrike" kern="1200" cap="none" spc="0" normalizeH="0" baseline="0" noProof="0" dirty="0" err="1">
                  <a:ln>
                    <a:noFill/>
                  </a:ln>
                  <a:solidFill>
                    <a:schemeClr val="accent1"/>
                  </a:solidFill>
                  <a:effectLst/>
                  <a:uLnTx/>
                  <a:uFillTx/>
                  <a:latin typeface="HarmonyOS Sans SC"/>
                  <a:cs typeface="+mn-cs"/>
                </a:rPr>
                <a:t>quis</a:t>
              </a:r>
              <a:r>
                <a:rPr kumimoji="0" lang="en-US" sz="900" b="0" i="0" u="none" strike="noStrike" kern="1200" cap="none" spc="0" normalizeH="0" baseline="0" noProof="0" dirty="0">
                  <a:ln>
                    <a:noFill/>
                  </a:ln>
                  <a:solidFill>
                    <a:schemeClr val="accent1"/>
                  </a:solidFill>
                  <a:effectLst/>
                  <a:uLnTx/>
                  <a:uFillTx/>
                  <a:latin typeface="HarmonyOS Sans SC"/>
                  <a:cs typeface="+mn-cs"/>
                </a:rPr>
                <a:t>, lorem </a:t>
              </a:r>
              <a:r>
                <a:rPr kumimoji="0" lang="en-US" sz="900" b="0" i="0" u="none" strike="noStrike" kern="1200" cap="none" spc="0" normalizeH="0" baseline="0" noProof="0" dirty="0" err="1">
                  <a:ln>
                    <a:noFill/>
                  </a:ln>
                  <a:solidFill>
                    <a:schemeClr val="accent1"/>
                  </a:solidFill>
                  <a:effectLst/>
                  <a:uLnTx/>
                  <a:uFillTx/>
                  <a:latin typeface="HarmonyOS Sans SC"/>
                  <a:cs typeface="+mn-cs"/>
                </a:rPr>
                <a:t>nunc</a:t>
              </a:r>
              <a:r>
                <a:rPr kumimoji="0" lang="en-US" sz="900" b="0" i="0" u="none" strike="noStrike" kern="1200" cap="none" spc="0" normalizeH="0" baseline="0" noProof="0" dirty="0">
                  <a:ln>
                    <a:noFill/>
                  </a:ln>
                  <a:solidFill>
                    <a:schemeClr val="accent1"/>
                  </a:solidFill>
                  <a:effectLst/>
                  <a:uLnTx/>
                  <a:uFillTx/>
                  <a:latin typeface="HarmonyOS Sans SC"/>
                  <a:cs typeface="+mn-cs"/>
                </a:rPr>
                <a:t>. </a:t>
              </a:r>
              <a:r>
                <a:rPr kumimoji="0" lang="en-US" sz="900" b="0" i="0" u="none" strike="noStrike" kern="1200" cap="none" spc="0" normalizeH="0" baseline="0" noProof="0" dirty="0" err="1">
                  <a:ln>
                    <a:noFill/>
                  </a:ln>
                  <a:solidFill>
                    <a:schemeClr val="accent1"/>
                  </a:solidFill>
                  <a:effectLst/>
                  <a:uLnTx/>
                  <a:uFillTx/>
                  <a:latin typeface="HarmonyOS Sans SC"/>
                  <a:cs typeface="+mn-cs"/>
                </a:rPr>
                <a:t>Suspendisse</a:t>
              </a:r>
              <a:r>
                <a:rPr kumimoji="0" lang="en-US" sz="900" b="0" i="0" u="none" strike="noStrike" kern="1200" cap="none" spc="0" normalizeH="0" baseline="0" noProof="0" dirty="0">
                  <a:ln>
                    <a:noFill/>
                  </a:ln>
                  <a:solidFill>
                    <a:schemeClr val="accent1"/>
                  </a:solidFill>
                  <a:effectLst/>
                  <a:uLnTx/>
                  <a:uFillTx/>
                  <a:latin typeface="HarmonyOS Sans SC"/>
                  <a:cs typeface="+mn-cs"/>
                </a:rPr>
                <a:t> </a:t>
              </a:r>
              <a:r>
                <a:rPr kumimoji="0" lang="en-US" sz="900" b="0" i="0" u="none" strike="noStrike" kern="1200" cap="none" spc="0" normalizeH="0" baseline="0" noProof="0" dirty="0" err="1">
                  <a:ln>
                    <a:noFill/>
                  </a:ln>
                  <a:solidFill>
                    <a:schemeClr val="accent1"/>
                  </a:solidFill>
                  <a:effectLst/>
                  <a:uLnTx/>
                  <a:uFillTx/>
                  <a:latin typeface="HarmonyOS Sans SC"/>
                  <a:cs typeface="+mn-cs"/>
                </a:rPr>
                <a:t>viverra</a:t>
              </a:r>
              <a:r>
                <a:rPr kumimoji="0" lang="en-US" sz="900" b="0" i="0" u="none" strike="noStrike" kern="1200" cap="none" spc="0" normalizeH="0" baseline="0" noProof="0" dirty="0">
                  <a:ln>
                    <a:noFill/>
                  </a:ln>
                  <a:solidFill>
                    <a:schemeClr val="accent1"/>
                  </a:solidFill>
                  <a:effectLst/>
                  <a:uLnTx/>
                  <a:uFillTx/>
                  <a:latin typeface="HarmonyOS Sans SC"/>
                  <a:cs typeface="+mn-cs"/>
                </a:rPr>
                <a:t> </a:t>
              </a:r>
              <a:r>
                <a:rPr kumimoji="0" lang="en-US" sz="900" b="0" i="0" u="none" strike="noStrike" kern="1200" cap="none" spc="0" normalizeH="0" baseline="0" noProof="0" dirty="0" err="1">
                  <a:ln>
                    <a:noFill/>
                  </a:ln>
                  <a:solidFill>
                    <a:schemeClr val="accent1"/>
                  </a:solidFill>
                  <a:effectLst/>
                  <a:uLnTx/>
                  <a:uFillTx/>
                  <a:latin typeface="HarmonyOS Sans SC"/>
                  <a:cs typeface="+mn-cs"/>
                </a:rPr>
                <a:t>sodales</a:t>
              </a:r>
              <a:r>
                <a:rPr kumimoji="0" lang="en-US" sz="900" b="0" i="0" u="none" strike="noStrike" kern="1200" cap="none" spc="0" normalizeH="0" baseline="0" noProof="0" dirty="0">
                  <a:ln>
                    <a:noFill/>
                  </a:ln>
                  <a:solidFill>
                    <a:schemeClr val="accent1"/>
                  </a:solidFill>
                  <a:effectLst/>
                  <a:uLnTx/>
                  <a:uFillTx/>
                  <a:latin typeface="HarmonyOS Sans SC"/>
                  <a:cs typeface="+mn-cs"/>
                </a:rPr>
                <a:t> </a:t>
              </a:r>
              <a:r>
                <a:rPr kumimoji="0" lang="en-US" sz="900" b="0" i="0" u="none" strike="noStrike" kern="1200" cap="none" spc="0" normalizeH="0" baseline="0" noProof="0" dirty="0" err="1">
                  <a:ln>
                    <a:noFill/>
                  </a:ln>
                  <a:solidFill>
                    <a:schemeClr val="accent1"/>
                  </a:solidFill>
                  <a:effectLst/>
                  <a:uLnTx/>
                  <a:uFillTx/>
                  <a:latin typeface="HarmonyOS Sans SC"/>
                  <a:cs typeface="+mn-cs"/>
                </a:rPr>
                <a:t>mauris</a:t>
              </a:r>
              <a:r>
                <a:rPr kumimoji="0" lang="en-US" sz="900" b="0" i="0" u="none" strike="noStrike" kern="1200" cap="none" spc="0" normalizeH="0" baseline="0" noProof="0" dirty="0">
                  <a:ln>
                    <a:noFill/>
                  </a:ln>
                  <a:solidFill>
                    <a:schemeClr val="accent1"/>
                  </a:solidFill>
                  <a:effectLst/>
                  <a:uLnTx/>
                  <a:uFillTx/>
                  <a:latin typeface="HarmonyOS Sans SC"/>
                  <a:cs typeface="+mn-cs"/>
                </a:rPr>
                <a:t>.</a:t>
              </a:r>
            </a:p>
          </p:txBody>
        </p:sp>
      </p:grpSp>
      <p:grpSp>
        <p:nvGrpSpPr>
          <p:cNvPr id="46" name="组合 45">
            <a:extLst>
              <a:ext uri="{FF2B5EF4-FFF2-40B4-BE49-F238E27FC236}">
                <a16:creationId xmlns:a16="http://schemas.microsoft.com/office/drawing/2014/main" id="{6573A165-722F-4B14-B98F-CD6E7063F886}"/>
              </a:ext>
            </a:extLst>
          </p:cNvPr>
          <p:cNvGrpSpPr/>
          <p:nvPr/>
        </p:nvGrpSpPr>
        <p:grpSpPr>
          <a:xfrm>
            <a:off x="8565123" y="4707903"/>
            <a:ext cx="2594749" cy="762296"/>
            <a:chOff x="8565124" y="4631703"/>
            <a:chExt cx="2594749" cy="762296"/>
          </a:xfrm>
        </p:grpSpPr>
        <p:sp>
          <p:nvSpPr>
            <p:cNvPr id="33" name="TextBox 60">
              <a:extLst>
                <a:ext uri="{FF2B5EF4-FFF2-40B4-BE49-F238E27FC236}">
                  <a16:creationId xmlns:a16="http://schemas.microsoft.com/office/drawing/2014/main" id="{AA1741B4-C3F7-41E8-825C-8115265AEF78}"/>
                </a:ext>
              </a:extLst>
            </p:cNvPr>
            <p:cNvSpPr txBox="1"/>
            <p:nvPr/>
          </p:nvSpPr>
          <p:spPr>
            <a:xfrm>
              <a:off x="8565124" y="4631703"/>
              <a:ext cx="2405238" cy="338554"/>
            </a:xfrm>
            <a:prstGeom prst="rect">
              <a:avLst/>
            </a:prstGeom>
            <a:noFill/>
          </p:spPr>
          <p:txBody>
            <a:bodyPr wrap="square" lIns="0" r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chemeClr val="accent1"/>
                  </a:solidFill>
                  <a:effectLst/>
                  <a:uLnTx/>
                  <a:uFillTx/>
                  <a:latin typeface="HarmonyOS Sans SC Black"/>
                  <a:ea typeface="+mj-ea"/>
                  <a:cs typeface="+mn-cs"/>
                </a:rPr>
                <a:t>Outfit Class</a:t>
              </a:r>
              <a:endParaRPr kumimoji="0" lang="en-US" sz="2400" b="0" i="0" u="none" strike="noStrike" kern="1200" cap="none" spc="0" normalizeH="0" baseline="0" noProof="0" dirty="0">
                <a:ln>
                  <a:noFill/>
                </a:ln>
                <a:solidFill>
                  <a:schemeClr val="accent1"/>
                </a:solidFill>
                <a:effectLst/>
                <a:uLnTx/>
                <a:uFillTx/>
                <a:latin typeface="HarmonyOS Sans SC Black"/>
                <a:ea typeface="+mj-ea"/>
                <a:cs typeface="+mn-cs"/>
              </a:endParaRPr>
            </a:p>
          </p:txBody>
        </p:sp>
        <p:sp>
          <p:nvSpPr>
            <p:cNvPr id="34" name="TextBox 61">
              <a:extLst>
                <a:ext uri="{FF2B5EF4-FFF2-40B4-BE49-F238E27FC236}">
                  <a16:creationId xmlns:a16="http://schemas.microsoft.com/office/drawing/2014/main" id="{2AA5E2C4-33A7-46FC-AABE-F8D12451CEA9}"/>
                </a:ext>
              </a:extLst>
            </p:cNvPr>
            <p:cNvSpPr txBox="1"/>
            <p:nvPr/>
          </p:nvSpPr>
          <p:spPr>
            <a:xfrm>
              <a:off x="8565124" y="4909827"/>
              <a:ext cx="2594749" cy="484172"/>
            </a:xfrm>
            <a:prstGeom prst="rect">
              <a:avLst/>
            </a:prstGeom>
            <a:noFill/>
          </p:spPr>
          <p:txBody>
            <a:bodyPr wrap="square" lIns="0" rIns="0" rtlCol="0" anchor="t">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900" b="0" i="0" u="none" strike="noStrike" kern="1200" cap="none" spc="0" normalizeH="0" baseline="0" noProof="0" dirty="0">
                  <a:ln>
                    <a:noFill/>
                  </a:ln>
                  <a:solidFill>
                    <a:schemeClr val="accent1"/>
                  </a:solidFill>
                  <a:effectLst/>
                  <a:uLnTx/>
                  <a:uFillTx/>
                  <a:latin typeface="HarmonyOS Sans SC"/>
                  <a:cs typeface="+mn-cs"/>
                </a:rPr>
                <a:t>A magna </a:t>
              </a:r>
              <a:r>
                <a:rPr kumimoji="0" lang="en-US" sz="900" b="0" i="0" u="none" strike="noStrike" kern="1200" cap="none" spc="0" normalizeH="0" baseline="0" noProof="0" dirty="0" err="1">
                  <a:ln>
                    <a:noFill/>
                  </a:ln>
                  <a:solidFill>
                    <a:schemeClr val="accent1"/>
                  </a:solidFill>
                  <a:effectLst/>
                  <a:uLnTx/>
                  <a:uFillTx/>
                  <a:latin typeface="HarmonyOS Sans SC"/>
                  <a:cs typeface="+mn-cs"/>
                </a:rPr>
                <a:t>maecenas</a:t>
              </a:r>
              <a:r>
                <a:rPr kumimoji="0" lang="en-US" sz="900" b="0" i="0" u="none" strike="noStrike" kern="1200" cap="none" spc="0" normalizeH="0" baseline="0" noProof="0" dirty="0">
                  <a:ln>
                    <a:noFill/>
                  </a:ln>
                  <a:solidFill>
                    <a:schemeClr val="accent1"/>
                  </a:solidFill>
                  <a:effectLst/>
                  <a:uLnTx/>
                  <a:uFillTx/>
                  <a:latin typeface="HarmonyOS Sans SC"/>
                  <a:cs typeface="+mn-cs"/>
                </a:rPr>
                <a:t>, </a:t>
              </a:r>
              <a:r>
                <a:rPr kumimoji="0" lang="en-US" sz="900" b="0" i="0" u="none" strike="noStrike" kern="1200" cap="none" spc="0" normalizeH="0" baseline="0" noProof="0" dirty="0" err="1">
                  <a:ln>
                    <a:noFill/>
                  </a:ln>
                  <a:solidFill>
                    <a:schemeClr val="accent1"/>
                  </a:solidFill>
                  <a:effectLst/>
                  <a:uLnTx/>
                  <a:uFillTx/>
                  <a:latin typeface="HarmonyOS Sans SC"/>
                  <a:cs typeface="+mn-cs"/>
                </a:rPr>
                <a:t>quam</a:t>
              </a:r>
              <a:r>
                <a:rPr kumimoji="0" lang="en-US" sz="900" b="0" i="0" u="none" strike="noStrike" kern="1200" cap="none" spc="0" normalizeH="0" baseline="0" noProof="0" dirty="0">
                  <a:ln>
                    <a:noFill/>
                  </a:ln>
                  <a:solidFill>
                    <a:schemeClr val="accent1"/>
                  </a:solidFill>
                  <a:effectLst/>
                  <a:uLnTx/>
                  <a:uFillTx/>
                  <a:latin typeface="HarmonyOS Sans SC"/>
                  <a:cs typeface="+mn-cs"/>
                </a:rPr>
                <a:t> magna </a:t>
              </a:r>
              <a:r>
                <a:rPr kumimoji="0" lang="en-US" sz="900" b="0" i="0" u="none" strike="noStrike" kern="1200" cap="none" spc="0" normalizeH="0" baseline="0" noProof="0" dirty="0" err="1">
                  <a:ln>
                    <a:noFill/>
                  </a:ln>
                  <a:solidFill>
                    <a:schemeClr val="accent1"/>
                  </a:solidFill>
                  <a:effectLst/>
                  <a:uLnTx/>
                  <a:uFillTx/>
                  <a:latin typeface="HarmonyOS Sans SC"/>
                  <a:cs typeface="+mn-cs"/>
                </a:rPr>
                <a:t>nec</a:t>
              </a:r>
              <a:r>
                <a:rPr kumimoji="0" lang="en-US" sz="900" b="0" i="0" u="none" strike="noStrike" kern="1200" cap="none" spc="0" normalizeH="0" baseline="0" noProof="0" dirty="0">
                  <a:ln>
                    <a:noFill/>
                  </a:ln>
                  <a:solidFill>
                    <a:schemeClr val="accent1"/>
                  </a:solidFill>
                  <a:effectLst/>
                  <a:uLnTx/>
                  <a:uFillTx/>
                  <a:latin typeface="HarmonyOS Sans SC"/>
                  <a:cs typeface="+mn-cs"/>
                </a:rPr>
                <a:t> </a:t>
              </a:r>
              <a:r>
                <a:rPr kumimoji="0" lang="en-US" sz="900" b="0" i="0" u="none" strike="noStrike" kern="1200" cap="none" spc="0" normalizeH="0" baseline="0" noProof="0" dirty="0" err="1">
                  <a:ln>
                    <a:noFill/>
                  </a:ln>
                  <a:solidFill>
                    <a:schemeClr val="accent1"/>
                  </a:solidFill>
                  <a:effectLst/>
                  <a:uLnTx/>
                  <a:uFillTx/>
                  <a:latin typeface="HarmonyOS Sans SC"/>
                  <a:cs typeface="+mn-cs"/>
                </a:rPr>
                <a:t>quis</a:t>
              </a:r>
              <a:r>
                <a:rPr kumimoji="0" lang="en-US" sz="900" b="0" i="0" u="none" strike="noStrike" kern="1200" cap="none" spc="0" normalizeH="0" baseline="0" noProof="0" dirty="0">
                  <a:ln>
                    <a:noFill/>
                  </a:ln>
                  <a:solidFill>
                    <a:schemeClr val="accent1"/>
                  </a:solidFill>
                  <a:effectLst/>
                  <a:uLnTx/>
                  <a:uFillTx/>
                  <a:latin typeface="HarmonyOS Sans SC"/>
                  <a:cs typeface="+mn-cs"/>
                </a:rPr>
                <a:t>, lorem </a:t>
              </a:r>
              <a:r>
                <a:rPr kumimoji="0" lang="en-US" sz="900" b="0" i="0" u="none" strike="noStrike" kern="1200" cap="none" spc="0" normalizeH="0" baseline="0" noProof="0" dirty="0" err="1">
                  <a:ln>
                    <a:noFill/>
                  </a:ln>
                  <a:solidFill>
                    <a:schemeClr val="accent1"/>
                  </a:solidFill>
                  <a:effectLst/>
                  <a:uLnTx/>
                  <a:uFillTx/>
                  <a:latin typeface="HarmonyOS Sans SC"/>
                  <a:cs typeface="+mn-cs"/>
                </a:rPr>
                <a:t>nunc</a:t>
              </a:r>
              <a:r>
                <a:rPr kumimoji="0" lang="en-US" sz="900" b="0" i="0" u="none" strike="noStrike" kern="1200" cap="none" spc="0" normalizeH="0" baseline="0" noProof="0" dirty="0">
                  <a:ln>
                    <a:noFill/>
                  </a:ln>
                  <a:solidFill>
                    <a:schemeClr val="accent1"/>
                  </a:solidFill>
                  <a:effectLst/>
                  <a:uLnTx/>
                  <a:uFillTx/>
                  <a:latin typeface="HarmonyOS Sans SC"/>
                  <a:cs typeface="+mn-cs"/>
                </a:rPr>
                <a:t>. </a:t>
              </a:r>
              <a:r>
                <a:rPr kumimoji="0" lang="en-US" sz="900" b="0" i="0" u="none" strike="noStrike" kern="1200" cap="none" spc="0" normalizeH="0" baseline="0" noProof="0" dirty="0" err="1">
                  <a:ln>
                    <a:noFill/>
                  </a:ln>
                  <a:solidFill>
                    <a:schemeClr val="accent1"/>
                  </a:solidFill>
                  <a:effectLst/>
                  <a:uLnTx/>
                  <a:uFillTx/>
                  <a:latin typeface="HarmonyOS Sans SC"/>
                  <a:cs typeface="+mn-cs"/>
                </a:rPr>
                <a:t>suspendisse</a:t>
              </a:r>
              <a:r>
                <a:rPr kumimoji="0" lang="en-US" sz="900" b="0" i="0" u="none" strike="noStrike" kern="1200" cap="none" spc="0" normalizeH="0" baseline="0" noProof="0" dirty="0">
                  <a:ln>
                    <a:noFill/>
                  </a:ln>
                  <a:solidFill>
                    <a:schemeClr val="accent1"/>
                  </a:solidFill>
                  <a:effectLst/>
                  <a:uLnTx/>
                  <a:uFillTx/>
                  <a:latin typeface="HarmonyOS Sans SC"/>
                  <a:cs typeface="+mn-cs"/>
                </a:rPr>
                <a:t>.</a:t>
              </a:r>
            </a:p>
          </p:txBody>
        </p:sp>
      </p:grpSp>
      <p:grpSp>
        <p:nvGrpSpPr>
          <p:cNvPr id="48" name="组合 47">
            <a:extLst>
              <a:ext uri="{FF2B5EF4-FFF2-40B4-BE49-F238E27FC236}">
                <a16:creationId xmlns:a16="http://schemas.microsoft.com/office/drawing/2014/main" id="{202F3380-A439-4973-AD3E-116AF825788C}"/>
              </a:ext>
            </a:extLst>
          </p:cNvPr>
          <p:cNvGrpSpPr/>
          <p:nvPr/>
        </p:nvGrpSpPr>
        <p:grpSpPr>
          <a:xfrm>
            <a:off x="886494" y="3267277"/>
            <a:ext cx="2601136" cy="762296"/>
            <a:chOff x="886495" y="3145683"/>
            <a:chExt cx="2601136" cy="762296"/>
          </a:xfrm>
        </p:grpSpPr>
        <p:sp>
          <p:nvSpPr>
            <p:cNvPr id="35" name="TextBox 62">
              <a:extLst>
                <a:ext uri="{FF2B5EF4-FFF2-40B4-BE49-F238E27FC236}">
                  <a16:creationId xmlns:a16="http://schemas.microsoft.com/office/drawing/2014/main" id="{33411D94-1968-450B-9C68-781297D6F78F}"/>
                </a:ext>
              </a:extLst>
            </p:cNvPr>
            <p:cNvSpPr txBox="1"/>
            <p:nvPr/>
          </p:nvSpPr>
          <p:spPr>
            <a:xfrm>
              <a:off x="1082393" y="3145683"/>
              <a:ext cx="2405238" cy="338554"/>
            </a:xfrm>
            <a:prstGeom prst="rect">
              <a:avLst/>
            </a:prstGeom>
            <a:noFill/>
          </p:spPr>
          <p:txBody>
            <a:bodyPr wrap="square" lIns="0" r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chemeClr val="accent1"/>
                  </a:solidFill>
                  <a:effectLst/>
                  <a:uLnTx/>
                  <a:uFillTx/>
                  <a:latin typeface="HarmonyOS Sans SC Black"/>
                  <a:ea typeface="+mj-ea"/>
                  <a:cs typeface="+mn-cs"/>
                </a:rPr>
                <a:t>Gear Effect</a:t>
              </a:r>
              <a:endParaRPr kumimoji="0" lang="en-US" sz="2400" b="0" i="0" u="none" strike="noStrike" kern="1200" cap="none" spc="0" normalizeH="0" baseline="0" noProof="0" dirty="0">
                <a:ln>
                  <a:noFill/>
                </a:ln>
                <a:solidFill>
                  <a:schemeClr val="accent1"/>
                </a:solidFill>
                <a:effectLst/>
                <a:uLnTx/>
                <a:uFillTx/>
                <a:latin typeface="HarmonyOS Sans SC Black"/>
                <a:ea typeface="+mj-ea"/>
                <a:cs typeface="+mn-cs"/>
              </a:endParaRPr>
            </a:p>
          </p:txBody>
        </p:sp>
        <p:sp>
          <p:nvSpPr>
            <p:cNvPr id="36" name="TextBox 63">
              <a:extLst>
                <a:ext uri="{FF2B5EF4-FFF2-40B4-BE49-F238E27FC236}">
                  <a16:creationId xmlns:a16="http://schemas.microsoft.com/office/drawing/2014/main" id="{0758D916-64F2-44B5-BA01-374873C6932A}"/>
                </a:ext>
              </a:extLst>
            </p:cNvPr>
            <p:cNvSpPr txBox="1"/>
            <p:nvPr/>
          </p:nvSpPr>
          <p:spPr>
            <a:xfrm>
              <a:off x="886495" y="3423807"/>
              <a:ext cx="2601136" cy="484172"/>
            </a:xfrm>
            <a:prstGeom prst="rect">
              <a:avLst/>
            </a:prstGeom>
            <a:noFill/>
          </p:spPr>
          <p:txBody>
            <a:bodyPr wrap="square" lIns="0" rIns="0" rtlCol="0" anchor="t">
              <a:spAutoFit/>
            </a:bodyPr>
            <a:lstStyle/>
            <a:p>
              <a:pPr marL="0" marR="0" lvl="0" indent="0" algn="r" defTabSz="914400" rtl="0" eaLnBrk="1" fontAlgn="auto" latinLnBrk="0" hangingPunct="1">
                <a:lnSpc>
                  <a:spcPct val="150000"/>
                </a:lnSpc>
                <a:spcBef>
                  <a:spcPts val="0"/>
                </a:spcBef>
                <a:spcAft>
                  <a:spcPts val="0"/>
                </a:spcAft>
                <a:buClrTx/>
                <a:buSzTx/>
                <a:buFontTx/>
                <a:buNone/>
                <a:tabLst/>
                <a:defRPr/>
              </a:pPr>
              <a:r>
                <a:rPr kumimoji="0" lang="en-US" sz="900" b="0" i="0" u="none" strike="noStrike" kern="1200" cap="none" spc="0" normalizeH="0" baseline="0" noProof="0" dirty="0">
                  <a:ln>
                    <a:noFill/>
                  </a:ln>
                  <a:solidFill>
                    <a:schemeClr val="accent1"/>
                  </a:solidFill>
                  <a:effectLst/>
                  <a:uLnTx/>
                  <a:uFillTx/>
                  <a:latin typeface="HarmonyOS Sans SC"/>
                  <a:cs typeface="+mn-cs"/>
                </a:rPr>
                <a:t>A magna </a:t>
              </a:r>
              <a:r>
                <a:rPr kumimoji="0" lang="en-US" sz="900" b="0" i="0" u="none" strike="noStrike" kern="1200" cap="none" spc="0" normalizeH="0" baseline="0" noProof="0" dirty="0" err="1">
                  <a:ln>
                    <a:noFill/>
                  </a:ln>
                  <a:solidFill>
                    <a:schemeClr val="accent1"/>
                  </a:solidFill>
                  <a:effectLst/>
                  <a:uLnTx/>
                  <a:uFillTx/>
                  <a:latin typeface="HarmonyOS Sans SC"/>
                  <a:cs typeface="+mn-cs"/>
                </a:rPr>
                <a:t>maecenas</a:t>
              </a:r>
              <a:r>
                <a:rPr kumimoji="0" lang="en-US" sz="900" b="0" i="0" u="none" strike="noStrike" kern="1200" cap="none" spc="0" normalizeH="0" baseline="0" noProof="0" dirty="0">
                  <a:ln>
                    <a:noFill/>
                  </a:ln>
                  <a:solidFill>
                    <a:schemeClr val="accent1"/>
                  </a:solidFill>
                  <a:effectLst/>
                  <a:uLnTx/>
                  <a:uFillTx/>
                  <a:latin typeface="HarmonyOS Sans SC"/>
                  <a:cs typeface="+mn-cs"/>
                </a:rPr>
                <a:t>, </a:t>
              </a:r>
              <a:r>
                <a:rPr kumimoji="0" lang="en-US" sz="900" b="0" i="0" u="none" strike="noStrike" kern="1200" cap="none" spc="0" normalizeH="0" baseline="0" noProof="0" dirty="0" err="1">
                  <a:ln>
                    <a:noFill/>
                  </a:ln>
                  <a:solidFill>
                    <a:schemeClr val="accent1"/>
                  </a:solidFill>
                  <a:effectLst/>
                  <a:uLnTx/>
                  <a:uFillTx/>
                  <a:latin typeface="HarmonyOS Sans SC"/>
                  <a:cs typeface="+mn-cs"/>
                </a:rPr>
                <a:t>quam</a:t>
              </a:r>
              <a:r>
                <a:rPr kumimoji="0" lang="en-US" sz="900" b="0" i="0" u="none" strike="noStrike" kern="1200" cap="none" spc="0" normalizeH="0" baseline="0" noProof="0" dirty="0">
                  <a:ln>
                    <a:noFill/>
                  </a:ln>
                  <a:solidFill>
                    <a:schemeClr val="accent1"/>
                  </a:solidFill>
                  <a:effectLst/>
                  <a:uLnTx/>
                  <a:uFillTx/>
                  <a:latin typeface="HarmonyOS Sans SC"/>
                  <a:cs typeface="+mn-cs"/>
                </a:rPr>
                <a:t> magna </a:t>
              </a:r>
              <a:r>
                <a:rPr kumimoji="0" lang="en-US" sz="900" b="0" i="0" u="none" strike="noStrike" kern="1200" cap="none" spc="0" normalizeH="0" baseline="0" noProof="0" dirty="0" err="1">
                  <a:ln>
                    <a:noFill/>
                  </a:ln>
                  <a:solidFill>
                    <a:schemeClr val="accent1"/>
                  </a:solidFill>
                  <a:effectLst/>
                  <a:uLnTx/>
                  <a:uFillTx/>
                  <a:latin typeface="HarmonyOS Sans SC"/>
                  <a:cs typeface="+mn-cs"/>
                </a:rPr>
                <a:t>nec</a:t>
              </a:r>
              <a:r>
                <a:rPr kumimoji="0" lang="en-US" sz="900" b="0" i="0" u="none" strike="noStrike" kern="1200" cap="none" spc="0" normalizeH="0" baseline="0" noProof="0" dirty="0">
                  <a:ln>
                    <a:noFill/>
                  </a:ln>
                  <a:solidFill>
                    <a:schemeClr val="accent1"/>
                  </a:solidFill>
                  <a:effectLst/>
                  <a:uLnTx/>
                  <a:uFillTx/>
                  <a:latin typeface="HarmonyOS Sans SC"/>
                  <a:cs typeface="+mn-cs"/>
                </a:rPr>
                <a:t> </a:t>
              </a:r>
              <a:r>
                <a:rPr kumimoji="0" lang="en-US" sz="900" b="0" i="0" u="none" strike="noStrike" kern="1200" cap="none" spc="0" normalizeH="0" baseline="0" noProof="0" dirty="0" err="1">
                  <a:ln>
                    <a:noFill/>
                  </a:ln>
                  <a:solidFill>
                    <a:schemeClr val="accent1"/>
                  </a:solidFill>
                  <a:effectLst/>
                  <a:uLnTx/>
                  <a:uFillTx/>
                  <a:latin typeface="HarmonyOS Sans SC"/>
                  <a:cs typeface="+mn-cs"/>
                </a:rPr>
                <a:t>quis</a:t>
              </a:r>
              <a:r>
                <a:rPr kumimoji="0" lang="en-US" sz="900" b="0" i="0" u="none" strike="noStrike" kern="1200" cap="none" spc="0" normalizeH="0" baseline="0" noProof="0" dirty="0">
                  <a:ln>
                    <a:noFill/>
                  </a:ln>
                  <a:solidFill>
                    <a:schemeClr val="accent1"/>
                  </a:solidFill>
                  <a:effectLst/>
                  <a:uLnTx/>
                  <a:uFillTx/>
                  <a:latin typeface="HarmonyOS Sans SC"/>
                  <a:cs typeface="+mn-cs"/>
                </a:rPr>
                <a:t>, lorem </a:t>
              </a:r>
              <a:r>
                <a:rPr kumimoji="0" lang="en-US" sz="900" b="0" i="0" u="none" strike="noStrike" kern="1200" cap="none" spc="0" normalizeH="0" baseline="0" noProof="0" dirty="0" err="1">
                  <a:ln>
                    <a:noFill/>
                  </a:ln>
                  <a:solidFill>
                    <a:schemeClr val="accent1"/>
                  </a:solidFill>
                  <a:effectLst/>
                  <a:uLnTx/>
                  <a:uFillTx/>
                  <a:latin typeface="HarmonyOS Sans SC"/>
                  <a:cs typeface="+mn-cs"/>
                </a:rPr>
                <a:t>nunc</a:t>
              </a:r>
              <a:r>
                <a:rPr kumimoji="0" lang="en-US" sz="900" b="0" i="0" u="none" strike="noStrike" kern="1200" cap="none" spc="0" normalizeH="0" baseline="0" noProof="0" dirty="0">
                  <a:ln>
                    <a:noFill/>
                  </a:ln>
                  <a:solidFill>
                    <a:schemeClr val="accent1"/>
                  </a:solidFill>
                  <a:effectLst/>
                  <a:uLnTx/>
                  <a:uFillTx/>
                  <a:latin typeface="HarmonyOS Sans SC"/>
                  <a:cs typeface="+mn-cs"/>
                </a:rPr>
                <a:t>. </a:t>
              </a:r>
              <a:r>
                <a:rPr kumimoji="0" lang="en-US" sz="900" b="0" i="0" u="none" strike="noStrike" kern="1200" cap="none" spc="0" normalizeH="0" baseline="0" noProof="0" dirty="0" err="1">
                  <a:ln>
                    <a:noFill/>
                  </a:ln>
                  <a:solidFill>
                    <a:schemeClr val="accent1"/>
                  </a:solidFill>
                  <a:effectLst/>
                  <a:uLnTx/>
                  <a:uFillTx/>
                  <a:latin typeface="HarmonyOS Sans SC"/>
                  <a:cs typeface="+mn-cs"/>
                </a:rPr>
                <a:t>Suspendisse</a:t>
              </a:r>
              <a:r>
                <a:rPr kumimoji="0" lang="en-US" sz="900" b="0" i="0" u="none" strike="noStrike" kern="1200" cap="none" spc="0" normalizeH="0" baseline="0" noProof="0" dirty="0">
                  <a:ln>
                    <a:noFill/>
                  </a:ln>
                  <a:solidFill>
                    <a:schemeClr val="accent1"/>
                  </a:solidFill>
                  <a:effectLst/>
                  <a:uLnTx/>
                  <a:uFillTx/>
                  <a:latin typeface="HarmonyOS Sans SC"/>
                  <a:cs typeface="+mn-cs"/>
                </a:rPr>
                <a:t> </a:t>
              </a:r>
              <a:r>
                <a:rPr kumimoji="0" lang="en-US" sz="900" b="0" i="0" u="none" strike="noStrike" kern="1200" cap="none" spc="0" normalizeH="0" baseline="0" noProof="0" dirty="0" err="1">
                  <a:ln>
                    <a:noFill/>
                  </a:ln>
                  <a:solidFill>
                    <a:schemeClr val="accent1"/>
                  </a:solidFill>
                  <a:effectLst/>
                  <a:uLnTx/>
                  <a:uFillTx/>
                  <a:latin typeface="HarmonyOS Sans SC"/>
                  <a:cs typeface="+mn-cs"/>
                </a:rPr>
                <a:t>viverra</a:t>
              </a:r>
              <a:r>
                <a:rPr kumimoji="0" lang="en-US" sz="900" b="0" i="0" u="none" strike="noStrike" kern="1200" cap="none" spc="0" normalizeH="0" baseline="0" noProof="0" dirty="0">
                  <a:ln>
                    <a:noFill/>
                  </a:ln>
                  <a:solidFill>
                    <a:schemeClr val="accent1"/>
                  </a:solidFill>
                  <a:effectLst/>
                  <a:uLnTx/>
                  <a:uFillTx/>
                  <a:latin typeface="HarmonyOS Sans SC"/>
                  <a:cs typeface="+mn-cs"/>
                </a:rPr>
                <a:t> </a:t>
              </a:r>
              <a:r>
                <a:rPr kumimoji="0" lang="en-US" sz="900" b="0" i="0" u="none" strike="noStrike" kern="1200" cap="none" spc="0" normalizeH="0" baseline="0" noProof="0" dirty="0" err="1">
                  <a:ln>
                    <a:noFill/>
                  </a:ln>
                  <a:solidFill>
                    <a:schemeClr val="accent1"/>
                  </a:solidFill>
                  <a:effectLst/>
                  <a:uLnTx/>
                  <a:uFillTx/>
                  <a:latin typeface="HarmonyOS Sans SC"/>
                  <a:cs typeface="+mn-cs"/>
                </a:rPr>
                <a:t>sodales</a:t>
              </a:r>
              <a:r>
                <a:rPr kumimoji="0" lang="en-US" sz="900" b="0" i="0" u="none" strike="noStrike" kern="1200" cap="none" spc="0" normalizeH="0" baseline="0" noProof="0" dirty="0">
                  <a:ln>
                    <a:noFill/>
                  </a:ln>
                  <a:solidFill>
                    <a:schemeClr val="accent1"/>
                  </a:solidFill>
                  <a:effectLst/>
                  <a:uLnTx/>
                  <a:uFillTx/>
                  <a:latin typeface="HarmonyOS Sans SC"/>
                  <a:cs typeface="+mn-cs"/>
                </a:rPr>
                <a:t> </a:t>
              </a:r>
              <a:r>
                <a:rPr kumimoji="0" lang="en-US" sz="900" b="0" i="0" u="none" strike="noStrike" kern="1200" cap="none" spc="0" normalizeH="0" baseline="0" noProof="0" dirty="0" err="1">
                  <a:ln>
                    <a:noFill/>
                  </a:ln>
                  <a:solidFill>
                    <a:schemeClr val="accent1"/>
                  </a:solidFill>
                  <a:effectLst/>
                  <a:uLnTx/>
                  <a:uFillTx/>
                  <a:latin typeface="HarmonyOS Sans SC"/>
                  <a:cs typeface="+mn-cs"/>
                </a:rPr>
                <a:t>mauris</a:t>
              </a:r>
              <a:r>
                <a:rPr kumimoji="0" lang="en-US" sz="900" b="0" i="0" u="none" strike="noStrike" kern="1200" cap="none" spc="0" normalizeH="0" baseline="0" noProof="0" dirty="0">
                  <a:ln>
                    <a:noFill/>
                  </a:ln>
                  <a:solidFill>
                    <a:schemeClr val="accent1"/>
                  </a:solidFill>
                  <a:effectLst/>
                  <a:uLnTx/>
                  <a:uFillTx/>
                  <a:latin typeface="HarmonyOS Sans SC"/>
                  <a:cs typeface="+mn-cs"/>
                </a:rPr>
                <a:t>.</a:t>
              </a:r>
            </a:p>
          </p:txBody>
        </p:sp>
      </p:grpSp>
      <p:grpSp>
        <p:nvGrpSpPr>
          <p:cNvPr id="49" name="组合 48">
            <a:extLst>
              <a:ext uri="{FF2B5EF4-FFF2-40B4-BE49-F238E27FC236}">
                <a16:creationId xmlns:a16="http://schemas.microsoft.com/office/drawing/2014/main" id="{94FE03AF-002C-49B2-9B9B-03D947363757}"/>
              </a:ext>
            </a:extLst>
          </p:cNvPr>
          <p:cNvGrpSpPr/>
          <p:nvPr/>
        </p:nvGrpSpPr>
        <p:grpSpPr>
          <a:xfrm>
            <a:off x="886494" y="1826650"/>
            <a:ext cx="2601136" cy="762296"/>
            <a:chOff x="886495" y="1750450"/>
            <a:chExt cx="2601136" cy="762296"/>
          </a:xfrm>
        </p:grpSpPr>
        <p:sp>
          <p:nvSpPr>
            <p:cNvPr id="37" name="TextBox 64">
              <a:extLst>
                <a:ext uri="{FF2B5EF4-FFF2-40B4-BE49-F238E27FC236}">
                  <a16:creationId xmlns:a16="http://schemas.microsoft.com/office/drawing/2014/main" id="{DB8B78D7-1466-481D-A202-AE477CCD5B6E}"/>
                </a:ext>
              </a:extLst>
            </p:cNvPr>
            <p:cNvSpPr txBox="1"/>
            <p:nvPr/>
          </p:nvSpPr>
          <p:spPr>
            <a:xfrm>
              <a:off x="1082393" y="1750450"/>
              <a:ext cx="2405238" cy="338554"/>
            </a:xfrm>
            <a:prstGeom prst="rect">
              <a:avLst/>
            </a:prstGeom>
            <a:noFill/>
          </p:spPr>
          <p:txBody>
            <a:bodyPr wrap="square" lIns="0" r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chemeClr val="accent1"/>
                  </a:solidFill>
                  <a:effectLst/>
                  <a:uLnTx/>
                  <a:uFillTx/>
                  <a:latin typeface="HarmonyOS Sans SC Black"/>
                  <a:ea typeface="+mj-ea"/>
                  <a:cs typeface="+mn-cs"/>
                </a:rPr>
                <a:t>Train Duration</a:t>
              </a:r>
              <a:endParaRPr kumimoji="0" lang="en-US" sz="2400" b="0" i="0" u="none" strike="noStrike" kern="1200" cap="none" spc="0" normalizeH="0" baseline="0" noProof="0" dirty="0">
                <a:ln>
                  <a:noFill/>
                </a:ln>
                <a:solidFill>
                  <a:schemeClr val="accent1"/>
                </a:solidFill>
                <a:effectLst/>
                <a:uLnTx/>
                <a:uFillTx/>
                <a:latin typeface="HarmonyOS Sans SC Black"/>
                <a:ea typeface="+mj-ea"/>
                <a:cs typeface="+mn-cs"/>
              </a:endParaRPr>
            </a:p>
          </p:txBody>
        </p:sp>
        <p:sp>
          <p:nvSpPr>
            <p:cNvPr id="38" name="TextBox 65">
              <a:extLst>
                <a:ext uri="{FF2B5EF4-FFF2-40B4-BE49-F238E27FC236}">
                  <a16:creationId xmlns:a16="http://schemas.microsoft.com/office/drawing/2014/main" id="{0F529C28-BFD7-4F4E-AEAE-FA1516347A5F}"/>
                </a:ext>
              </a:extLst>
            </p:cNvPr>
            <p:cNvSpPr txBox="1"/>
            <p:nvPr/>
          </p:nvSpPr>
          <p:spPr>
            <a:xfrm>
              <a:off x="886495" y="2028574"/>
              <a:ext cx="2601136" cy="484172"/>
            </a:xfrm>
            <a:prstGeom prst="rect">
              <a:avLst/>
            </a:prstGeom>
            <a:noFill/>
          </p:spPr>
          <p:txBody>
            <a:bodyPr wrap="square" lIns="0" rIns="0" rtlCol="0" anchor="t">
              <a:spAutoFit/>
            </a:bodyPr>
            <a:lstStyle/>
            <a:p>
              <a:pPr marL="0" marR="0" lvl="0" indent="0" algn="r" defTabSz="914400" rtl="0" eaLnBrk="1" fontAlgn="auto" latinLnBrk="0" hangingPunct="1">
                <a:lnSpc>
                  <a:spcPct val="150000"/>
                </a:lnSpc>
                <a:spcBef>
                  <a:spcPts val="0"/>
                </a:spcBef>
                <a:spcAft>
                  <a:spcPts val="0"/>
                </a:spcAft>
                <a:buClrTx/>
                <a:buSzTx/>
                <a:buFontTx/>
                <a:buNone/>
                <a:tabLst/>
                <a:defRPr/>
              </a:pPr>
              <a:r>
                <a:rPr kumimoji="0" lang="en-US" sz="900" b="0" i="0" u="none" strike="noStrike" kern="1200" cap="none" spc="0" normalizeH="0" baseline="0" noProof="0" dirty="0">
                  <a:ln>
                    <a:noFill/>
                  </a:ln>
                  <a:solidFill>
                    <a:schemeClr val="accent1"/>
                  </a:solidFill>
                  <a:effectLst/>
                  <a:uLnTx/>
                  <a:uFillTx/>
                  <a:latin typeface="HarmonyOS Sans SC"/>
                  <a:cs typeface="+mn-cs"/>
                </a:rPr>
                <a:t>Lorem ipsum dolor sit </a:t>
              </a:r>
              <a:r>
                <a:rPr kumimoji="0" lang="en-US" sz="900" b="0" i="0" u="none" strike="noStrike" kern="1200" cap="none" spc="0" normalizeH="0" baseline="0" noProof="0" dirty="0" err="1">
                  <a:ln>
                    <a:noFill/>
                  </a:ln>
                  <a:solidFill>
                    <a:schemeClr val="accent1"/>
                  </a:solidFill>
                  <a:effectLst/>
                  <a:uLnTx/>
                  <a:uFillTx/>
                  <a:latin typeface="HarmonyOS Sans SC"/>
                  <a:cs typeface="+mn-cs"/>
                </a:rPr>
                <a:t>amet</a:t>
              </a:r>
              <a:r>
                <a:rPr kumimoji="0" lang="en-US" sz="900" b="0" i="0" u="none" strike="noStrike" kern="1200" cap="none" spc="0" normalizeH="0" baseline="0" noProof="0" dirty="0">
                  <a:ln>
                    <a:noFill/>
                  </a:ln>
                  <a:solidFill>
                    <a:schemeClr val="accent1"/>
                  </a:solidFill>
                  <a:effectLst/>
                  <a:uLnTx/>
                  <a:uFillTx/>
                  <a:latin typeface="HarmonyOS Sans SC"/>
                  <a:cs typeface="+mn-cs"/>
                </a:rPr>
                <a:t>, </a:t>
              </a:r>
              <a:r>
                <a:rPr kumimoji="0" lang="en-US" sz="900" b="0" i="0" u="none" strike="noStrike" kern="1200" cap="none" spc="0" normalizeH="0" baseline="0" noProof="0" dirty="0" err="1">
                  <a:ln>
                    <a:noFill/>
                  </a:ln>
                  <a:solidFill>
                    <a:schemeClr val="accent1"/>
                  </a:solidFill>
                  <a:effectLst/>
                  <a:uLnTx/>
                  <a:uFillTx/>
                  <a:latin typeface="HarmonyOS Sans SC"/>
                  <a:cs typeface="+mn-cs"/>
                </a:rPr>
                <a:t>nibh</a:t>
              </a:r>
              <a:r>
                <a:rPr kumimoji="0" lang="en-US" sz="900" b="0" i="0" u="none" strike="noStrike" kern="1200" cap="none" spc="0" normalizeH="0" baseline="0" noProof="0" dirty="0">
                  <a:ln>
                    <a:noFill/>
                  </a:ln>
                  <a:solidFill>
                    <a:schemeClr val="accent1"/>
                  </a:solidFill>
                  <a:effectLst/>
                  <a:uLnTx/>
                  <a:uFillTx/>
                  <a:latin typeface="HarmonyOS Sans SC"/>
                  <a:cs typeface="+mn-cs"/>
                </a:rPr>
                <a:t> est. A magna </a:t>
              </a:r>
              <a:r>
                <a:rPr kumimoji="0" lang="en-US" sz="900" b="0" i="0" u="none" strike="noStrike" kern="1200" cap="none" spc="0" normalizeH="0" baseline="0" noProof="0" dirty="0" err="1">
                  <a:ln>
                    <a:noFill/>
                  </a:ln>
                  <a:solidFill>
                    <a:schemeClr val="accent1"/>
                  </a:solidFill>
                  <a:effectLst/>
                  <a:uLnTx/>
                  <a:uFillTx/>
                  <a:latin typeface="HarmonyOS Sans SC"/>
                  <a:cs typeface="+mn-cs"/>
                </a:rPr>
                <a:t>maecenas</a:t>
              </a:r>
              <a:r>
                <a:rPr kumimoji="0" lang="en-US" sz="900" b="0" i="0" u="none" strike="noStrike" kern="1200" cap="none" spc="0" normalizeH="0" baseline="0" noProof="0" dirty="0">
                  <a:ln>
                    <a:noFill/>
                  </a:ln>
                  <a:solidFill>
                    <a:schemeClr val="accent1"/>
                  </a:solidFill>
                  <a:effectLst/>
                  <a:uLnTx/>
                  <a:uFillTx/>
                  <a:latin typeface="HarmonyOS Sans SC"/>
                  <a:cs typeface="+mn-cs"/>
                </a:rPr>
                <a:t>, </a:t>
              </a:r>
              <a:r>
                <a:rPr kumimoji="0" lang="en-US" sz="900" b="0" i="0" u="none" strike="noStrike" kern="1200" cap="none" spc="0" normalizeH="0" baseline="0" noProof="0" dirty="0" err="1">
                  <a:ln>
                    <a:noFill/>
                  </a:ln>
                  <a:solidFill>
                    <a:schemeClr val="accent1"/>
                  </a:solidFill>
                  <a:effectLst/>
                  <a:uLnTx/>
                  <a:uFillTx/>
                  <a:latin typeface="HarmonyOS Sans SC"/>
                  <a:cs typeface="+mn-cs"/>
                </a:rPr>
                <a:t>quam</a:t>
              </a:r>
              <a:r>
                <a:rPr kumimoji="0" lang="en-US" sz="900" b="0" i="0" u="none" strike="noStrike" kern="1200" cap="none" spc="0" normalizeH="0" baseline="0" noProof="0" dirty="0">
                  <a:ln>
                    <a:noFill/>
                  </a:ln>
                  <a:solidFill>
                    <a:schemeClr val="accent1"/>
                  </a:solidFill>
                  <a:effectLst/>
                  <a:uLnTx/>
                  <a:uFillTx/>
                  <a:latin typeface="HarmonyOS Sans SC"/>
                  <a:cs typeface="+mn-cs"/>
                </a:rPr>
                <a:t> magna </a:t>
              </a:r>
              <a:r>
                <a:rPr kumimoji="0" lang="en-US" sz="900" b="0" i="0" u="none" strike="noStrike" kern="1200" cap="none" spc="0" normalizeH="0" baseline="0" noProof="0" dirty="0" err="1">
                  <a:ln>
                    <a:noFill/>
                  </a:ln>
                  <a:solidFill>
                    <a:schemeClr val="accent1"/>
                  </a:solidFill>
                  <a:effectLst/>
                  <a:uLnTx/>
                  <a:uFillTx/>
                  <a:latin typeface="HarmonyOS Sans SC"/>
                  <a:cs typeface="+mn-cs"/>
                </a:rPr>
                <a:t>nec</a:t>
              </a:r>
              <a:r>
                <a:rPr kumimoji="0" lang="en-US" sz="900" b="0" i="0" u="none" strike="noStrike" kern="1200" cap="none" spc="0" normalizeH="0" baseline="0" noProof="0" dirty="0">
                  <a:ln>
                    <a:noFill/>
                  </a:ln>
                  <a:solidFill>
                    <a:schemeClr val="accent1"/>
                  </a:solidFill>
                  <a:effectLst/>
                  <a:uLnTx/>
                  <a:uFillTx/>
                  <a:latin typeface="HarmonyOS Sans SC"/>
                  <a:cs typeface="+mn-cs"/>
                </a:rPr>
                <a:t> </a:t>
              </a:r>
              <a:r>
                <a:rPr kumimoji="0" lang="en-US" sz="900" b="0" i="0" u="none" strike="noStrike" kern="1200" cap="none" spc="0" normalizeH="0" baseline="0" noProof="0" dirty="0" err="1">
                  <a:ln>
                    <a:noFill/>
                  </a:ln>
                  <a:solidFill>
                    <a:schemeClr val="accent1"/>
                  </a:solidFill>
                  <a:effectLst/>
                  <a:uLnTx/>
                  <a:uFillTx/>
                  <a:latin typeface="HarmonyOS Sans SC"/>
                  <a:cs typeface="+mn-cs"/>
                </a:rPr>
                <a:t>quis</a:t>
              </a:r>
              <a:r>
                <a:rPr kumimoji="0" lang="en-US" sz="900" b="0" i="0" u="none" strike="noStrike" kern="1200" cap="none" spc="0" normalizeH="0" baseline="0" noProof="0" dirty="0">
                  <a:ln>
                    <a:noFill/>
                  </a:ln>
                  <a:solidFill>
                    <a:schemeClr val="accent1"/>
                  </a:solidFill>
                  <a:effectLst/>
                  <a:uLnTx/>
                  <a:uFillTx/>
                  <a:latin typeface="HarmonyOS Sans SC"/>
                  <a:cs typeface="+mn-cs"/>
                </a:rPr>
                <a:t>.</a:t>
              </a:r>
            </a:p>
          </p:txBody>
        </p:sp>
      </p:grpSp>
      <p:grpSp>
        <p:nvGrpSpPr>
          <p:cNvPr id="47" name="组合 46">
            <a:extLst>
              <a:ext uri="{FF2B5EF4-FFF2-40B4-BE49-F238E27FC236}">
                <a16:creationId xmlns:a16="http://schemas.microsoft.com/office/drawing/2014/main" id="{19735658-48D5-42ED-A9C3-C846DAEF3877}"/>
              </a:ext>
            </a:extLst>
          </p:cNvPr>
          <p:cNvGrpSpPr/>
          <p:nvPr/>
        </p:nvGrpSpPr>
        <p:grpSpPr>
          <a:xfrm>
            <a:off x="886494" y="4707903"/>
            <a:ext cx="2601136" cy="762296"/>
            <a:chOff x="886495" y="4631703"/>
            <a:chExt cx="2601136" cy="762296"/>
          </a:xfrm>
        </p:grpSpPr>
        <p:sp>
          <p:nvSpPr>
            <p:cNvPr id="39" name="TextBox 66">
              <a:extLst>
                <a:ext uri="{FF2B5EF4-FFF2-40B4-BE49-F238E27FC236}">
                  <a16:creationId xmlns:a16="http://schemas.microsoft.com/office/drawing/2014/main" id="{F61AF751-3185-48BE-9B7C-375229AE1C27}"/>
                </a:ext>
              </a:extLst>
            </p:cNvPr>
            <p:cNvSpPr txBox="1"/>
            <p:nvPr/>
          </p:nvSpPr>
          <p:spPr>
            <a:xfrm>
              <a:off x="1082393" y="4631703"/>
              <a:ext cx="2405238" cy="338554"/>
            </a:xfrm>
            <a:prstGeom prst="rect">
              <a:avLst/>
            </a:prstGeom>
            <a:noFill/>
          </p:spPr>
          <p:txBody>
            <a:bodyPr wrap="square" lIns="0" r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chemeClr val="accent1"/>
                  </a:solidFill>
                  <a:effectLst/>
                  <a:uLnTx/>
                  <a:uFillTx/>
                  <a:latin typeface="HarmonyOS Sans SC Black"/>
                  <a:ea typeface="+mj-ea"/>
                  <a:cs typeface="+mn-cs"/>
                </a:rPr>
                <a:t>Outfit Class</a:t>
              </a:r>
              <a:endParaRPr kumimoji="0" lang="en-US" sz="2400" b="0" i="0" u="none" strike="noStrike" kern="1200" cap="none" spc="0" normalizeH="0" baseline="0" noProof="0" dirty="0">
                <a:ln>
                  <a:noFill/>
                </a:ln>
                <a:solidFill>
                  <a:schemeClr val="accent1"/>
                </a:solidFill>
                <a:effectLst/>
                <a:uLnTx/>
                <a:uFillTx/>
                <a:latin typeface="HarmonyOS Sans SC Black"/>
                <a:ea typeface="+mj-ea"/>
                <a:cs typeface="+mn-cs"/>
              </a:endParaRPr>
            </a:p>
          </p:txBody>
        </p:sp>
        <p:sp>
          <p:nvSpPr>
            <p:cNvPr id="40" name="TextBox 67">
              <a:extLst>
                <a:ext uri="{FF2B5EF4-FFF2-40B4-BE49-F238E27FC236}">
                  <a16:creationId xmlns:a16="http://schemas.microsoft.com/office/drawing/2014/main" id="{E6934FA4-F380-4F26-9305-9B837098D14C}"/>
                </a:ext>
              </a:extLst>
            </p:cNvPr>
            <p:cNvSpPr txBox="1"/>
            <p:nvPr/>
          </p:nvSpPr>
          <p:spPr>
            <a:xfrm>
              <a:off x="886495" y="4909827"/>
              <a:ext cx="2601136" cy="484172"/>
            </a:xfrm>
            <a:prstGeom prst="rect">
              <a:avLst/>
            </a:prstGeom>
            <a:noFill/>
          </p:spPr>
          <p:txBody>
            <a:bodyPr wrap="square" lIns="0" rIns="0" rtlCol="0" anchor="t">
              <a:spAutoFit/>
            </a:bodyPr>
            <a:lstStyle/>
            <a:p>
              <a:pPr marL="0" marR="0" lvl="0" indent="0" algn="r" defTabSz="914400" rtl="0" eaLnBrk="1" fontAlgn="auto" latinLnBrk="0" hangingPunct="1">
                <a:lnSpc>
                  <a:spcPct val="150000"/>
                </a:lnSpc>
                <a:spcBef>
                  <a:spcPts val="0"/>
                </a:spcBef>
                <a:spcAft>
                  <a:spcPts val="0"/>
                </a:spcAft>
                <a:buClrTx/>
                <a:buSzTx/>
                <a:buFontTx/>
                <a:buNone/>
                <a:tabLst/>
                <a:defRPr/>
              </a:pPr>
              <a:r>
                <a:rPr kumimoji="0" lang="en-US" sz="900" b="0" i="0" u="none" strike="noStrike" kern="1200" cap="none" spc="0" normalizeH="0" baseline="0" noProof="0" dirty="0" err="1">
                  <a:ln>
                    <a:noFill/>
                  </a:ln>
                  <a:solidFill>
                    <a:schemeClr val="accent1"/>
                  </a:solidFill>
                  <a:effectLst/>
                  <a:uLnTx/>
                  <a:uFillTx/>
                  <a:latin typeface="HarmonyOS Sans SC"/>
                  <a:cs typeface="+mn-cs"/>
                </a:rPr>
                <a:t>Suspendisse</a:t>
              </a:r>
              <a:r>
                <a:rPr kumimoji="0" lang="en-US" sz="900" b="0" i="0" u="none" strike="noStrike" kern="1200" cap="none" spc="0" normalizeH="0" baseline="0" noProof="0" dirty="0">
                  <a:ln>
                    <a:noFill/>
                  </a:ln>
                  <a:solidFill>
                    <a:schemeClr val="accent1"/>
                  </a:solidFill>
                  <a:effectLst/>
                  <a:uLnTx/>
                  <a:uFillTx/>
                  <a:latin typeface="HarmonyOS Sans SC"/>
                  <a:cs typeface="+mn-cs"/>
                </a:rPr>
                <a:t> </a:t>
              </a:r>
              <a:r>
                <a:rPr kumimoji="0" lang="en-US" sz="900" b="0" i="0" u="none" strike="noStrike" kern="1200" cap="none" spc="0" normalizeH="0" baseline="0" noProof="0" dirty="0" err="1">
                  <a:ln>
                    <a:noFill/>
                  </a:ln>
                  <a:solidFill>
                    <a:schemeClr val="accent1"/>
                  </a:solidFill>
                  <a:effectLst/>
                  <a:uLnTx/>
                  <a:uFillTx/>
                  <a:latin typeface="HarmonyOS Sans SC"/>
                  <a:cs typeface="+mn-cs"/>
                </a:rPr>
                <a:t>viverra</a:t>
              </a:r>
              <a:r>
                <a:rPr kumimoji="0" lang="en-US" sz="900" b="0" i="0" u="none" strike="noStrike" kern="1200" cap="none" spc="0" normalizeH="0" baseline="0" noProof="0" dirty="0">
                  <a:ln>
                    <a:noFill/>
                  </a:ln>
                  <a:solidFill>
                    <a:schemeClr val="accent1"/>
                  </a:solidFill>
                  <a:effectLst/>
                  <a:uLnTx/>
                  <a:uFillTx/>
                  <a:latin typeface="HarmonyOS Sans SC"/>
                  <a:cs typeface="+mn-cs"/>
                </a:rPr>
                <a:t> </a:t>
              </a:r>
              <a:r>
                <a:rPr kumimoji="0" lang="en-US" sz="900" b="0" i="0" u="none" strike="noStrike" kern="1200" cap="none" spc="0" normalizeH="0" baseline="0" noProof="0" dirty="0" err="1">
                  <a:ln>
                    <a:noFill/>
                  </a:ln>
                  <a:solidFill>
                    <a:schemeClr val="accent1"/>
                  </a:solidFill>
                  <a:effectLst/>
                  <a:uLnTx/>
                  <a:uFillTx/>
                  <a:latin typeface="HarmonyOS Sans SC"/>
                  <a:cs typeface="+mn-cs"/>
                </a:rPr>
                <a:t>sodales</a:t>
              </a:r>
              <a:r>
                <a:rPr kumimoji="0" lang="en-US" sz="900" b="0" i="0" u="none" strike="noStrike" kern="1200" cap="none" spc="0" normalizeH="0" baseline="0" noProof="0" dirty="0">
                  <a:ln>
                    <a:noFill/>
                  </a:ln>
                  <a:solidFill>
                    <a:schemeClr val="accent1"/>
                  </a:solidFill>
                  <a:effectLst/>
                  <a:uLnTx/>
                  <a:uFillTx/>
                  <a:latin typeface="HarmonyOS Sans SC"/>
                  <a:cs typeface="+mn-cs"/>
                </a:rPr>
                <a:t> </a:t>
              </a:r>
              <a:r>
                <a:rPr kumimoji="0" lang="en-US" sz="900" b="0" i="0" u="none" strike="noStrike" kern="1200" cap="none" spc="0" normalizeH="0" baseline="0" noProof="0" dirty="0" err="1">
                  <a:ln>
                    <a:noFill/>
                  </a:ln>
                  <a:solidFill>
                    <a:schemeClr val="accent1"/>
                  </a:solidFill>
                  <a:effectLst/>
                  <a:uLnTx/>
                  <a:uFillTx/>
                  <a:latin typeface="HarmonyOS Sans SC"/>
                  <a:cs typeface="+mn-cs"/>
                </a:rPr>
                <a:t>mauris</a:t>
              </a:r>
              <a:r>
                <a:rPr kumimoji="0" lang="en-US" sz="900" b="0" i="0" u="none" strike="noStrike" kern="1200" cap="none" spc="0" normalizeH="0" baseline="0" noProof="0" dirty="0">
                  <a:ln>
                    <a:noFill/>
                  </a:ln>
                  <a:solidFill>
                    <a:schemeClr val="accent1"/>
                  </a:solidFill>
                  <a:effectLst/>
                  <a:uLnTx/>
                  <a:uFillTx/>
                  <a:latin typeface="HarmonyOS Sans SC"/>
                  <a:cs typeface="+mn-cs"/>
                </a:rPr>
                <a:t>, </a:t>
              </a:r>
              <a:r>
                <a:rPr kumimoji="0" lang="en-US" sz="900" b="0" i="0" u="none" strike="noStrike" kern="1200" cap="none" spc="0" normalizeH="0" baseline="0" noProof="0" dirty="0" err="1">
                  <a:ln>
                    <a:noFill/>
                  </a:ln>
                  <a:solidFill>
                    <a:schemeClr val="accent1"/>
                  </a:solidFill>
                  <a:effectLst/>
                  <a:uLnTx/>
                  <a:uFillTx/>
                  <a:latin typeface="HarmonyOS Sans SC"/>
                  <a:cs typeface="+mn-cs"/>
                </a:rPr>
                <a:t>cras</a:t>
              </a:r>
              <a:r>
                <a:rPr kumimoji="0" lang="en-US" sz="900" b="0" i="0" u="none" strike="noStrike" kern="1200" cap="none" spc="0" normalizeH="0" baseline="0" noProof="0" dirty="0">
                  <a:ln>
                    <a:noFill/>
                  </a:ln>
                  <a:solidFill>
                    <a:schemeClr val="accent1"/>
                  </a:solidFill>
                  <a:effectLst/>
                  <a:uLnTx/>
                  <a:uFillTx/>
                  <a:latin typeface="HarmonyOS Sans SC"/>
                  <a:cs typeface="+mn-cs"/>
                </a:rPr>
                <a:t> pharetra </a:t>
              </a:r>
              <a:r>
                <a:rPr kumimoji="0" lang="en-US" sz="900" b="0" i="0" u="none" strike="noStrike" kern="1200" cap="none" spc="0" normalizeH="0" baseline="0" noProof="0" dirty="0" err="1">
                  <a:ln>
                    <a:noFill/>
                  </a:ln>
                  <a:solidFill>
                    <a:schemeClr val="accent1"/>
                  </a:solidFill>
                  <a:effectLst/>
                  <a:uLnTx/>
                  <a:uFillTx/>
                  <a:latin typeface="HarmonyOS Sans SC"/>
                  <a:cs typeface="+mn-cs"/>
                </a:rPr>
                <a:t>proin</a:t>
              </a:r>
              <a:r>
                <a:rPr kumimoji="0" lang="en-US" sz="900" b="0" i="0" u="none" strike="noStrike" kern="1200" cap="none" spc="0" normalizeH="0" baseline="0" noProof="0" dirty="0">
                  <a:ln>
                    <a:noFill/>
                  </a:ln>
                  <a:solidFill>
                    <a:schemeClr val="accent1"/>
                  </a:solidFill>
                  <a:effectLst/>
                  <a:uLnTx/>
                  <a:uFillTx/>
                  <a:latin typeface="HarmonyOS Sans SC"/>
                  <a:cs typeface="+mn-cs"/>
                </a:rPr>
                <a:t> </a:t>
              </a:r>
              <a:r>
                <a:rPr kumimoji="0" lang="en-US" sz="900" b="0" i="0" u="none" strike="noStrike" kern="1200" cap="none" spc="0" normalizeH="0" baseline="0" noProof="0" dirty="0" err="1">
                  <a:ln>
                    <a:noFill/>
                  </a:ln>
                  <a:solidFill>
                    <a:schemeClr val="accent1"/>
                  </a:solidFill>
                  <a:effectLst/>
                  <a:uLnTx/>
                  <a:uFillTx/>
                  <a:latin typeface="HarmonyOS Sans SC"/>
                  <a:cs typeface="+mn-cs"/>
                </a:rPr>
                <a:t>egestas</a:t>
              </a:r>
              <a:r>
                <a:rPr kumimoji="0" lang="en-US" sz="900" b="0" i="0" u="none" strike="noStrike" kern="1200" cap="none" spc="0" normalizeH="0" baseline="0" noProof="0" dirty="0">
                  <a:ln>
                    <a:noFill/>
                  </a:ln>
                  <a:solidFill>
                    <a:schemeClr val="accent1"/>
                  </a:solidFill>
                  <a:effectLst/>
                  <a:uLnTx/>
                  <a:uFillTx/>
                  <a:latin typeface="HarmonyOS Sans SC"/>
                  <a:cs typeface="+mn-cs"/>
                </a:rPr>
                <a:t> </a:t>
              </a:r>
              <a:r>
                <a:rPr kumimoji="0" lang="en-US" sz="900" b="0" i="0" u="none" strike="noStrike" kern="1200" cap="none" spc="0" normalizeH="0" baseline="0" noProof="0" dirty="0" err="1">
                  <a:ln>
                    <a:noFill/>
                  </a:ln>
                  <a:solidFill>
                    <a:schemeClr val="accent1"/>
                  </a:solidFill>
                  <a:effectLst/>
                  <a:uLnTx/>
                  <a:uFillTx/>
                  <a:latin typeface="HarmonyOS Sans SC"/>
                  <a:cs typeface="+mn-cs"/>
                </a:rPr>
                <a:t>arcu</a:t>
              </a:r>
              <a:r>
                <a:rPr kumimoji="0" lang="en-US" sz="900" b="0" i="0" u="none" strike="noStrike" kern="1200" cap="none" spc="0" normalizeH="0" baseline="0" noProof="0" dirty="0">
                  <a:ln>
                    <a:noFill/>
                  </a:ln>
                  <a:solidFill>
                    <a:schemeClr val="accent1"/>
                  </a:solidFill>
                  <a:effectLst/>
                  <a:uLnTx/>
                  <a:uFillTx/>
                  <a:latin typeface="HarmonyOS Sans SC"/>
                  <a:cs typeface="+mn-cs"/>
                </a:rPr>
                <a:t> </a:t>
              </a:r>
              <a:r>
                <a:rPr kumimoji="0" lang="en-US" sz="900" b="0" i="0" u="none" strike="noStrike" kern="1200" cap="none" spc="0" normalizeH="0" baseline="0" noProof="0" dirty="0" err="1">
                  <a:ln>
                    <a:noFill/>
                  </a:ln>
                  <a:solidFill>
                    <a:schemeClr val="accent1"/>
                  </a:solidFill>
                  <a:effectLst/>
                  <a:uLnTx/>
                  <a:uFillTx/>
                  <a:latin typeface="HarmonyOS Sans SC"/>
                  <a:cs typeface="+mn-cs"/>
                </a:rPr>
                <a:t>erat</a:t>
              </a:r>
              <a:r>
                <a:rPr kumimoji="0" lang="en-US" sz="900" b="0" i="0" u="none" strike="noStrike" kern="1200" cap="none" spc="0" normalizeH="0" baseline="0" noProof="0" dirty="0">
                  <a:ln>
                    <a:noFill/>
                  </a:ln>
                  <a:solidFill>
                    <a:schemeClr val="accent1"/>
                  </a:solidFill>
                  <a:effectLst/>
                  <a:uLnTx/>
                  <a:uFillTx/>
                  <a:latin typeface="HarmonyOS Sans SC"/>
                  <a:cs typeface="+mn-cs"/>
                </a:rPr>
                <a:t> dolor, at </a:t>
              </a:r>
              <a:r>
                <a:rPr kumimoji="0" lang="en-US" sz="900" b="0" i="0" u="none" strike="noStrike" kern="1200" cap="none" spc="0" normalizeH="0" baseline="0" noProof="0" dirty="0" err="1">
                  <a:ln>
                    <a:noFill/>
                  </a:ln>
                  <a:solidFill>
                    <a:schemeClr val="accent1"/>
                  </a:solidFill>
                  <a:effectLst/>
                  <a:uLnTx/>
                  <a:uFillTx/>
                  <a:latin typeface="HarmonyOS Sans SC"/>
                  <a:cs typeface="+mn-cs"/>
                </a:rPr>
                <a:t>amet</a:t>
              </a:r>
              <a:r>
                <a:rPr kumimoji="0" lang="en-US" sz="900" b="0" i="0" u="none" strike="noStrike" kern="1200" cap="none" spc="0" normalizeH="0" baseline="0" noProof="0" dirty="0">
                  <a:ln>
                    <a:noFill/>
                  </a:ln>
                  <a:solidFill>
                    <a:schemeClr val="accent1"/>
                  </a:solidFill>
                  <a:effectLst/>
                  <a:uLnTx/>
                  <a:uFillTx/>
                  <a:latin typeface="HarmonyOS Sans SC"/>
                  <a:cs typeface="+mn-cs"/>
                </a:rPr>
                <a:t>. </a:t>
              </a:r>
            </a:p>
          </p:txBody>
        </p:sp>
      </p:grpSp>
    </p:spTree>
    <p:extLst>
      <p:ext uri="{BB962C8B-B14F-4D97-AF65-F5344CB8AC3E}">
        <p14:creationId xmlns:p14="http://schemas.microsoft.com/office/powerpoint/2010/main" val="3641448851"/>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4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88">
            <a:extLst>
              <a:ext uri="{FF2B5EF4-FFF2-40B4-BE49-F238E27FC236}">
                <a16:creationId xmlns:a16="http://schemas.microsoft.com/office/drawing/2014/main" id="{0A9DD834-5AF8-4DA4-AEDF-C8D434C3BBC8}"/>
              </a:ext>
            </a:extLst>
          </p:cNvPr>
          <p:cNvSpPr>
            <a:spLocks/>
          </p:cNvSpPr>
          <p:nvPr/>
        </p:nvSpPr>
        <p:spPr bwMode="auto">
          <a:xfrm>
            <a:off x="2349502" y="4251308"/>
            <a:ext cx="7501979" cy="1336706"/>
          </a:xfrm>
          <a:custGeom>
            <a:avLst/>
            <a:gdLst>
              <a:gd name="T0" fmla="*/ 4799 w 4799"/>
              <a:gd name="T1" fmla="*/ 639 h 839"/>
              <a:gd name="T2" fmla="*/ 3379 w 4799"/>
              <a:gd name="T3" fmla="*/ 0 h 839"/>
              <a:gd name="T4" fmla="*/ 2400 w 4799"/>
              <a:gd name="T5" fmla="*/ 441 h 839"/>
              <a:gd name="T6" fmla="*/ 1421 w 4799"/>
              <a:gd name="T7" fmla="*/ 0 h 839"/>
              <a:gd name="T8" fmla="*/ 0 w 4799"/>
              <a:gd name="T9" fmla="*/ 639 h 839"/>
              <a:gd name="T10" fmla="*/ 442 w 4799"/>
              <a:gd name="T11" fmla="*/ 839 h 839"/>
              <a:gd name="T12" fmla="*/ 1421 w 4799"/>
              <a:gd name="T13" fmla="*/ 397 h 839"/>
              <a:gd name="T14" fmla="*/ 1421 w 4799"/>
              <a:gd name="T15" fmla="*/ 397 h 839"/>
              <a:gd name="T16" fmla="*/ 1421 w 4799"/>
              <a:gd name="T17" fmla="*/ 397 h 839"/>
              <a:gd name="T18" fmla="*/ 2400 w 4799"/>
              <a:gd name="T19" fmla="*/ 839 h 839"/>
              <a:gd name="T20" fmla="*/ 3379 w 4799"/>
              <a:gd name="T21" fmla="*/ 397 h 839"/>
              <a:gd name="T22" fmla="*/ 4358 w 4799"/>
              <a:gd name="T23" fmla="*/ 839 h 839"/>
              <a:gd name="T24" fmla="*/ 4799 w 4799"/>
              <a:gd name="T25" fmla="*/ 639 h 839"/>
              <a:gd name="connsiteX0" fmla="*/ 10000 w 10000"/>
              <a:gd name="connsiteY0" fmla="*/ 7616 h 10036"/>
              <a:gd name="connsiteX1" fmla="*/ 7041 w 10000"/>
              <a:gd name="connsiteY1" fmla="*/ 0 h 10036"/>
              <a:gd name="connsiteX2" fmla="*/ 5001 w 10000"/>
              <a:gd name="connsiteY2" fmla="*/ 5256 h 10036"/>
              <a:gd name="connsiteX3" fmla="*/ 2961 w 10000"/>
              <a:gd name="connsiteY3" fmla="*/ 0 h 10036"/>
              <a:gd name="connsiteX4" fmla="*/ 0 w 10000"/>
              <a:gd name="connsiteY4" fmla="*/ 7616 h 10036"/>
              <a:gd name="connsiteX5" fmla="*/ 921 w 10000"/>
              <a:gd name="connsiteY5" fmla="*/ 10000 h 10036"/>
              <a:gd name="connsiteX6" fmla="*/ 2961 w 10000"/>
              <a:gd name="connsiteY6" fmla="*/ 4732 h 10036"/>
              <a:gd name="connsiteX7" fmla="*/ 2961 w 10000"/>
              <a:gd name="connsiteY7" fmla="*/ 4732 h 10036"/>
              <a:gd name="connsiteX8" fmla="*/ 2961 w 10000"/>
              <a:gd name="connsiteY8" fmla="*/ 4732 h 10036"/>
              <a:gd name="connsiteX9" fmla="*/ 5011 w 10000"/>
              <a:gd name="connsiteY9" fmla="*/ 10036 h 10036"/>
              <a:gd name="connsiteX10" fmla="*/ 7041 w 10000"/>
              <a:gd name="connsiteY10" fmla="*/ 4732 h 10036"/>
              <a:gd name="connsiteX11" fmla="*/ 9081 w 10000"/>
              <a:gd name="connsiteY11" fmla="*/ 10000 h 10036"/>
              <a:gd name="connsiteX12" fmla="*/ 10000 w 10000"/>
              <a:gd name="connsiteY12" fmla="*/ 7616 h 10036"/>
              <a:gd name="connsiteX0" fmla="*/ 10000 w 10000"/>
              <a:gd name="connsiteY0" fmla="*/ 7616 h 10036"/>
              <a:gd name="connsiteX1" fmla="*/ 7041 w 10000"/>
              <a:gd name="connsiteY1" fmla="*/ 0 h 10036"/>
              <a:gd name="connsiteX2" fmla="*/ 5001 w 10000"/>
              <a:gd name="connsiteY2" fmla="*/ 5256 h 10036"/>
              <a:gd name="connsiteX3" fmla="*/ 2961 w 10000"/>
              <a:gd name="connsiteY3" fmla="*/ 0 h 10036"/>
              <a:gd name="connsiteX4" fmla="*/ 0 w 10000"/>
              <a:gd name="connsiteY4" fmla="*/ 7616 h 10036"/>
              <a:gd name="connsiteX5" fmla="*/ 921 w 10000"/>
              <a:gd name="connsiteY5" fmla="*/ 10000 h 10036"/>
              <a:gd name="connsiteX6" fmla="*/ 2961 w 10000"/>
              <a:gd name="connsiteY6" fmla="*/ 4732 h 10036"/>
              <a:gd name="connsiteX7" fmla="*/ 2961 w 10000"/>
              <a:gd name="connsiteY7" fmla="*/ 4732 h 10036"/>
              <a:gd name="connsiteX8" fmla="*/ 2961 w 10000"/>
              <a:gd name="connsiteY8" fmla="*/ 4732 h 10036"/>
              <a:gd name="connsiteX9" fmla="*/ 5011 w 10000"/>
              <a:gd name="connsiteY9" fmla="*/ 10036 h 10036"/>
              <a:gd name="connsiteX10" fmla="*/ 7057 w 10000"/>
              <a:gd name="connsiteY10" fmla="*/ 4750 h 10036"/>
              <a:gd name="connsiteX11" fmla="*/ 9081 w 10000"/>
              <a:gd name="connsiteY11" fmla="*/ 10000 h 10036"/>
              <a:gd name="connsiteX12" fmla="*/ 10000 w 10000"/>
              <a:gd name="connsiteY12" fmla="*/ 7616 h 10036"/>
              <a:gd name="connsiteX0" fmla="*/ 10000 w 10000"/>
              <a:gd name="connsiteY0" fmla="*/ 7634 h 10054"/>
              <a:gd name="connsiteX1" fmla="*/ 7057 w 10000"/>
              <a:gd name="connsiteY1" fmla="*/ 0 h 10054"/>
              <a:gd name="connsiteX2" fmla="*/ 5001 w 10000"/>
              <a:gd name="connsiteY2" fmla="*/ 5274 h 10054"/>
              <a:gd name="connsiteX3" fmla="*/ 2961 w 10000"/>
              <a:gd name="connsiteY3" fmla="*/ 18 h 10054"/>
              <a:gd name="connsiteX4" fmla="*/ 0 w 10000"/>
              <a:gd name="connsiteY4" fmla="*/ 7634 h 10054"/>
              <a:gd name="connsiteX5" fmla="*/ 921 w 10000"/>
              <a:gd name="connsiteY5" fmla="*/ 10018 h 10054"/>
              <a:gd name="connsiteX6" fmla="*/ 2961 w 10000"/>
              <a:gd name="connsiteY6" fmla="*/ 4750 h 10054"/>
              <a:gd name="connsiteX7" fmla="*/ 2961 w 10000"/>
              <a:gd name="connsiteY7" fmla="*/ 4750 h 10054"/>
              <a:gd name="connsiteX8" fmla="*/ 2961 w 10000"/>
              <a:gd name="connsiteY8" fmla="*/ 4750 h 10054"/>
              <a:gd name="connsiteX9" fmla="*/ 5011 w 10000"/>
              <a:gd name="connsiteY9" fmla="*/ 10054 h 10054"/>
              <a:gd name="connsiteX10" fmla="*/ 7057 w 10000"/>
              <a:gd name="connsiteY10" fmla="*/ 4768 h 10054"/>
              <a:gd name="connsiteX11" fmla="*/ 9081 w 10000"/>
              <a:gd name="connsiteY11" fmla="*/ 10018 h 10054"/>
              <a:gd name="connsiteX12" fmla="*/ 10000 w 10000"/>
              <a:gd name="connsiteY12" fmla="*/ 7634 h 10054"/>
              <a:gd name="connsiteX0" fmla="*/ 10000 w 10000"/>
              <a:gd name="connsiteY0" fmla="*/ 7634 h 10054"/>
              <a:gd name="connsiteX1" fmla="*/ 7057 w 10000"/>
              <a:gd name="connsiteY1" fmla="*/ 0 h 10054"/>
              <a:gd name="connsiteX2" fmla="*/ 5001 w 10000"/>
              <a:gd name="connsiteY2" fmla="*/ 5274 h 10054"/>
              <a:gd name="connsiteX3" fmla="*/ 2961 w 10000"/>
              <a:gd name="connsiteY3" fmla="*/ 18 h 10054"/>
              <a:gd name="connsiteX4" fmla="*/ 0 w 10000"/>
              <a:gd name="connsiteY4" fmla="*/ 7634 h 10054"/>
              <a:gd name="connsiteX5" fmla="*/ 921 w 10000"/>
              <a:gd name="connsiteY5" fmla="*/ 10018 h 10054"/>
              <a:gd name="connsiteX6" fmla="*/ 2961 w 10000"/>
              <a:gd name="connsiteY6" fmla="*/ 4750 h 10054"/>
              <a:gd name="connsiteX7" fmla="*/ 2961 w 10000"/>
              <a:gd name="connsiteY7" fmla="*/ 4750 h 10054"/>
              <a:gd name="connsiteX8" fmla="*/ 2967 w 10000"/>
              <a:gd name="connsiteY8" fmla="*/ 4750 h 10054"/>
              <a:gd name="connsiteX9" fmla="*/ 5011 w 10000"/>
              <a:gd name="connsiteY9" fmla="*/ 10054 h 10054"/>
              <a:gd name="connsiteX10" fmla="*/ 7057 w 10000"/>
              <a:gd name="connsiteY10" fmla="*/ 4768 h 10054"/>
              <a:gd name="connsiteX11" fmla="*/ 9081 w 10000"/>
              <a:gd name="connsiteY11" fmla="*/ 10018 h 10054"/>
              <a:gd name="connsiteX12" fmla="*/ 10000 w 10000"/>
              <a:gd name="connsiteY12" fmla="*/ 7634 h 10054"/>
              <a:gd name="connsiteX0" fmla="*/ 10000 w 10000"/>
              <a:gd name="connsiteY0" fmla="*/ 7634 h 10054"/>
              <a:gd name="connsiteX1" fmla="*/ 7057 w 10000"/>
              <a:gd name="connsiteY1" fmla="*/ 0 h 10054"/>
              <a:gd name="connsiteX2" fmla="*/ 5001 w 10000"/>
              <a:gd name="connsiteY2" fmla="*/ 5274 h 10054"/>
              <a:gd name="connsiteX3" fmla="*/ 2961 w 10000"/>
              <a:gd name="connsiteY3" fmla="*/ 18 h 10054"/>
              <a:gd name="connsiteX4" fmla="*/ 0 w 10000"/>
              <a:gd name="connsiteY4" fmla="*/ 7634 h 10054"/>
              <a:gd name="connsiteX5" fmla="*/ 934 w 10000"/>
              <a:gd name="connsiteY5" fmla="*/ 10036 h 10054"/>
              <a:gd name="connsiteX6" fmla="*/ 2961 w 10000"/>
              <a:gd name="connsiteY6" fmla="*/ 4750 h 10054"/>
              <a:gd name="connsiteX7" fmla="*/ 2961 w 10000"/>
              <a:gd name="connsiteY7" fmla="*/ 4750 h 10054"/>
              <a:gd name="connsiteX8" fmla="*/ 2967 w 10000"/>
              <a:gd name="connsiteY8" fmla="*/ 4750 h 10054"/>
              <a:gd name="connsiteX9" fmla="*/ 5011 w 10000"/>
              <a:gd name="connsiteY9" fmla="*/ 10054 h 10054"/>
              <a:gd name="connsiteX10" fmla="*/ 7057 w 10000"/>
              <a:gd name="connsiteY10" fmla="*/ 4768 h 10054"/>
              <a:gd name="connsiteX11" fmla="*/ 9081 w 10000"/>
              <a:gd name="connsiteY11" fmla="*/ 10018 h 10054"/>
              <a:gd name="connsiteX12" fmla="*/ 10000 w 10000"/>
              <a:gd name="connsiteY12" fmla="*/ 7634 h 10054"/>
              <a:gd name="connsiteX0" fmla="*/ 10029 w 10029"/>
              <a:gd name="connsiteY0" fmla="*/ 7688 h 10054"/>
              <a:gd name="connsiteX1" fmla="*/ 7057 w 10029"/>
              <a:gd name="connsiteY1" fmla="*/ 0 h 10054"/>
              <a:gd name="connsiteX2" fmla="*/ 5001 w 10029"/>
              <a:gd name="connsiteY2" fmla="*/ 5274 h 10054"/>
              <a:gd name="connsiteX3" fmla="*/ 2961 w 10029"/>
              <a:gd name="connsiteY3" fmla="*/ 18 h 10054"/>
              <a:gd name="connsiteX4" fmla="*/ 0 w 10029"/>
              <a:gd name="connsiteY4" fmla="*/ 7634 h 10054"/>
              <a:gd name="connsiteX5" fmla="*/ 934 w 10029"/>
              <a:gd name="connsiteY5" fmla="*/ 10036 h 10054"/>
              <a:gd name="connsiteX6" fmla="*/ 2961 w 10029"/>
              <a:gd name="connsiteY6" fmla="*/ 4750 h 10054"/>
              <a:gd name="connsiteX7" fmla="*/ 2961 w 10029"/>
              <a:gd name="connsiteY7" fmla="*/ 4750 h 10054"/>
              <a:gd name="connsiteX8" fmla="*/ 2967 w 10029"/>
              <a:gd name="connsiteY8" fmla="*/ 4750 h 10054"/>
              <a:gd name="connsiteX9" fmla="*/ 5011 w 10029"/>
              <a:gd name="connsiteY9" fmla="*/ 10054 h 10054"/>
              <a:gd name="connsiteX10" fmla="*/ 7057 w 10029"/>
              <a:gd name="connsiteY10" fmla="*/ 4768 h 10054"/>
              <a:gd name="connsiteX11" fmla="*/ 9081 w 10029"/>
              <a:gd name="connsiteY11" fmla="*/ 10018 h 10054"/>
              <a:gd name="connsiteX12" fmla="*/ 10029 w 10029"/>
              <a:gd name="connsiteY12" fmla="*/ 7688 h 10054"/>
              <a:gd name="connsiteX0" fmla="*/ 10029 w 10029"/>
              <a:gd name="connsiteY0" fmla="*/ 7688 h 10054"/>
              <a:gd name="connsiteX1" fmla="*/ 7057 w 10029"/>
              <a:gd name="connsiteY1" fmla="*/ 0 h 10054"/>
              <a:gd name="connsiteX2" fmla="*/ 5001 w 10029"/>
              <a:gd name="connsiteY2" fmla="*/ 5274 h 10054"/>
              <a:gd name="connsiteX3" fmla="*/ 2961 w 10029"/>
              <a:gd name="connsiteY3" fmla="*/ 18 h 10054"/>
              <a:gd name="connsiteX4" fmla="*/ 0 w 10029"/>
              <a:gd name="connsiteY4" fmla="*/ 7634 h 10054"/>
              <a:gd name="connsiteX5" fmla="*/ 934 w 10029"/>
              <a:gd name="connsiteY5" fmla="*/ 10036 h 10054"/>
              <a:gd name="connsiteX6" fmla="*/ 2961 w 10029"/>
              <a:gd name="connsiteY6" fmla="*/ 4750 h 10054"/>
              <a:gd name="connsiteX7" fmla="*/ 2961 w 10029"/>
              <a:gd name="connsiteY7" fmla="*/ 4750 h 10054"/>
              <a:gd name="connsiteX8" fmla="*/ 2967 w 10029"/>
              <a:gd name="connsiteY8" fmla="*/ 4750 h 10054"/>
              <a:gd name="connsiteX9" fmla="*/ 5011 w 10029"/>
              <a:gd name="connsiteY9" fmla="*/ 10054 h 10054"/>
              <a:gd name="connsiteX10" fmla="*/ 7057 w 10029"/>
              <a:gd name="connsiteY10" fmla="*/ 4768 h 10054"/>
              <a:gd name="connsiteX11" fmla="*/ 9091 w 10029"/>
              <a:gd name="connsiteY11" fmla="*/ 10018 h 10054"/>
              <a:gd name="connsiteX12" fmla="*/ 10029 w 10029"/>
              <a:gd name="connsiteY12" fmla="*/ 7688 h 10054"/>
              <a:gd name="connsiteX0" fmla="*/ 10029 w 10029"/>
              <a:gd name="connsiteY0" fmla="*/ 7688 h 10036"/>
              <a:gd name="connsiteX1" fmla="*/ 7057 w 10029"/>
              <a:gd name="connsiteY1" fmla="*/ 0 h 10036"/>
              <a:gd name="connsiteX2" fmla="*/ 5001 w 10029"/>
              <a:gd name="connsiteY2" fmla="*/ 5274 h 10036"/>
              <a:gd name="connsiteX3" fmla="*/ 2961 w 10029"/>
              <a:gd name="connsiteY3" fmla="*/ 18 h 10036"/>
              <a:gd name="connsiteX4" fmla="*/ 0 w 10029"/>
              <a:gd name="connsiteY4" fmla="*/ 7634 h 10036"/>
              <a:gd name="connsiteX5" fmla="*/ 934 w 10029"/>
              <a:gd name="connsiteY5" fmla="*/ 10036 h 10036"/>
              <a:gd name="connsiteX6" fmla="*/ 2961 w 10029"/>
              <a:gd name="connsiteY6" fmla="*/ 4750 h 10036"/>
              <a:gd name="connsiteX7" fmla="*/ 2961 w 10029"/>
              <a:gd name="connsiteY7" fmla="*/ 4750 h 10036"/>
              <a:gd name="connsiteX8" fmla="*/ 2967 w 10029"/>
              <a:gd name="connsiteY8" fmla="*/ 4750 h 10036"/>
              <a:gd name="connsiteX9" fmla="*/ 5021 w 10029"/>
              <a:gd name="connsiteY9" fmla="*/ 10036 h 10036"/>
              <a:gd name="connsiteX10" fmla="*/ 7057 w 10029"/>
              <a:gd name="connsiteY10" fmla="*/ 4768 h 10036"/>
              <a:gd name="connsiteX11" fmla="*/ 9091 w 10029"/>
              <a:gd name="connsiteY11" fmla="*/ 10018 h 10036"/>
              <a:gd name="connsiteX12" fmla="*/ 10029 w 10029"/>
              <a:gd name="connsiteY12" fmla="*/ 7688 h 10036"/>
              <a:gd name="connsiteX0" fmla="*/ 10029 w 10029"/>
              <a:gd name="connsiteY0" fmla="*/ 7688 h 10036"/>
              <a:gd name="connsiteX1" fmla="*/ 7057 w 10029"/>
              <a:gd name="connsiteY1" fmla="*/ 0 h 10036"/>
              <a:gd name="connsiteX2" fmla="*/ 5001 w 10029"/>
              <a:gd name="connsiteY2" fmla="*/ 5274 h 10036"/>
              <a:gd name="connsiteX3" fmla="*/ 2961 w 10029"/>
              <a:gd name="connsiteY3" fmla="*/ 18 h 10036"/>
              <a:gd name="connsiteX4" fmla="*/ 0 w 10029"/>
              <a:gd name="connsiteY4" fmla="*/ 7634 h 10036"/>
              <a:gd name="connsiteX5" fmla="*/ 934 w 10029"/>
              <a:gd name="connsiteY5" fmla="*/ 10036 h 10036"/>
              <a:gd name="connsiteX6" fmla="*/ 2961 w 10029"/>
              <a:gd name="connsiteY6" fmla="*/ 4750 h 10036"/>
              <a:gd name="connsiteX7" fmla="*/ 2961 w 10029"/>
              <a:gd name="connsiteY7" fmla="*/ 4750 h 10036"/>
              <a:gd name="connsiteX8" fmla="*/ 2967 w 10029"/>
              <a:gd name="connsiteY8" fmla="*/ 4750 h 10036"/>
              <a:gd name="connsiteX9" fmla="*/ 5021 w 10029"/>
              <a:gd name="connsiteY9" fmla="*/ 10036 h 10036"/>
              <a:gd name="connsiteX10" fmla="*/ 7057 w 10029"/>
              <a:gd name="connsiteY10" fmla="*/ 4714 h 10036"/>
              <a:gd name="connsiteX11" fmla="*/ 9091 w 10029"/>
              <a:gd name="connsiteY11" fmla="*/ 10018 h 10036"/>
              <a:gd name="connsiteX12" fmla="*/ 10029 w 10029"/>
              <a:gd name="connsiteY12" fmla="*/ 7688 h 10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029" h="10036">
                <a:moveTo>
                  <a:pt x="10029" y="7688"/>
                </a:moveTo>
                <a:lnTo>
                  <a:pt x="7057" y="0"/>
                </a:lnTo>
                <a:lnTo>
                  <a:pt x="5001" y="5274"/>
                </a:lnTo>
                <a:lnTo>
                  <a:pt x="2961" y="18"/>
                </a:lnTo>
                <a:lnTo>
                  <a:pt x="0" y="7634"/>
                </a:lnTo>
                <a:lnTo>
                  <a:pt x="934" y="10036"/>
                </a:lnTo>
                <a:lnTo>
                  <a:pt x="2961" y="4750"/>
                </a:lnTo>
                <a:lnTo>
                  <a:pt x="2961" y="4750"/>
                </a:lnTo>
                <a:lnTo>
                  <a:pt x="2967" y="4750"/>
                </a:lnTo>
                <a:lnTo>
                  <a:pt x="5021" y="10036"/>
                </a:lnTo>
                <a:lnTo>
                  <a:pt x="7057" y="4714"/>
                </a:lnTo>
                <a:lnTo>
                  <a:pt x="9091" y="10018"/>
                </a:lnTo>
                <a:lnTo>
                  <a:pt x="10029" y="7688"/>
                </a:lnTo>
                <a:close/>
              </a:path>
            </a:pathLst>
          </a:custGeom>
          <a:solidFill>
            <a:schemeClr val="accent1">
              <a:lumMod val="20000"/>
              <a:lumOff val="80000"/>
              <a:alpha val="52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HarmonyOS Sans SC"/>
              <a:cs typeface="+mn-cs"/>
            </a:endParaRPr>
          </a:p>
        </p:txBody>
      </p:sp>
      <p:sp>
        <p:nvSpPr>
          <p:cNvPr id="8" name="Rectangle 1">
            <a:extLst>
              <a:ext uri="{FF2B5EF4-FFF2-40B4-BE49-F238E27FC236}">
                <a16:creationId xmlns:a16="http://schemas.microsoft.com/office/drawing/2014/main" id="{1D6116BF-40CB-4C95-B4D1-2F72D22FA2A8}"/>
              </a:ext>
            </a:extLst>
          </p:cNvPr>
          <p:cNvSpPr/>
          <p:nvPr/>
        </p:nvSpPr>
        <p:spPr>
          <a:xfrm>
            <a:off x="2703496" y="4348161"/>
            <a:ext cx="692149" cy="692150"/>
          </a:xfrm>
          <a:prstGeom prst="rect">
            <a:avLst/>
          </a:prstGeom>
          <a:solidFill>
            <a:schemeClr val="accent1">
              <a:lumMod val="20000"/>
              <a:lumOff val="80000"/>
              <a:alpha val="45000"/>
            </a:schemeClr>
          </a:solidFill>
          <a:ln>
            <a:solidFill>
              <a:schemeClr val="accent1">
                <a:lumMod val="20000"/>
                <a:lumOff val="80000"/>
              </a:schemeClr>
            </a:solidFill>
          </a:ln>
          <a:scene3d>
            <a:camera prst="isometricTopUp">
              <a:rot lat="19334324" lon="18553891" rev="3806095"/>
            </a:camera>
            <a:lightRig rig="contrasting" dir="t"/>
          </a:scene3d>
          <a:sp3d prstMaterial="matte">
            <a:bevelT w="0" h="762000" prst="coolSlan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HarmonyOS Sans SC"/>
              <a:cs typeface="+mn-cs"/>
            </a:endParaRPr>
          </a:p>
        </p:txBody>
      </p:sp>
      <p:sp>
        <p:nvSpPr>
          <p:cNvPr id="9" name="Rectangle 53">
            <a:extLst>
              <a:ext uri="{FF2B5EF4-FFF2-40B4-BE49-F238E27FC236}">
                <a16:creationId xmlns:a16="http://schemas.microsoft.com/office/drawing/2014/main" id="{14A01CB0-CB4F-479C-9B59-A37AB6FA9AA8}"/>
              </a:ext>
            </a:extLst>
          </p:cNvPr>
          <p:cNvSpPr/>
          <p:nvPr/>
        </p:nvSpPr>
        <p:spPr>
          <a:xfrm>
            <a:off x="2766801" y="3703105"/>
            <a:ext cx="579985" cy="579985"/>
          </a:xfrm>
          <a:prstGeom prst="rect">
            <a:avLst/>
          </a:prstGeom>
          <a:gradFill>
            <a:gsLst>
              <a:gs pos="28000">
                <a:schemeClr val="accent1"/>
              </a:gs>
              <a:gs pos="100000">
                <a:schemeClr val="accent1">
                  <a:lumMod val="60000"/>
                  <a:lumOff val="40000"/>
                  <a:alpha val="70000"/>
                </a:schemeClr>
              </a:gs>
            </a:gsLst>
            <a:lin ang="13500000" scaled="1"/>
          </a:gradFill>
          <a:ln>
            <a:gradFill>
              <a:gsLst>
                <a:gs pos="0">
                  <a:schemeClr val="accent1">
                    <a:lumMod val="60000"/>
                    <a:lumOff val="40000"/>
                  </a:schemeClr>
                </a:gs>
                <a:gs pos="100000">
                  <a:schemeClr val="accent1">
                    <a:alpha val="40000"/>
                  </a:schemeClr>
                </a:gs>
              </a:gsLst>
              <a:lin ang="5400000" scaled="1"/>
            </a:gradFill>
          </a:ln>
          <a:scene3d>
            <a:camera prst="isometricTopUp">
              <a:rot lat="19332000" lon="18552000" rev="3804000"/>
            </a:camera>
            <a:lightRig rig="contrasting" dir="t"/>
          </a:scene3d>
          <a:sp3d extrusionH="7620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0F0F0"/>
                </a:solidFill>
                <a:effectLst/>
                <a:uLnTx/>
                <a:uFillTx/>
                <a:latin typeface="HarmonyOS Sans SC Black"/>
                <a:ea typeface="+mj-ea"/>
                <a:cs typeface="+mn-cs"/>
              </a:rPr>
              <a:t>A</a:t>
            </a:r>
          </a:p>
        </p:txBody>
      </p:sp>
      <p:sp>
        <p:nvSpPr>
          <p:cNvPr id="10" name="Rectangle 56">
            <a:extLst>
              <a:ext uri="{FF2B5EF4-FFF2-40B4-BE49-F238E27FC236}">
                <a16:creationId xmlns:a16="http://schemas.microsoft.com/office/drawing/2014/main" id="{1C7FA409-BD9D-4BC9-B052-9BD840CA085F}"/>
              </a:ext>
            </a:extLst>
          </p:cNvPr>
          <p:cNvSpPr/>
          <p:nvPr/>
        </p:nvSpPr>
        <p:spPr>
          <a:xfrm>
            <a:off x="4216527" y="3187140"/>
            <a:ext cx="692149" cy="692150"/>
          </a:xfrm>
          <a:prstGeom prst="rect">
            <a:avLst/>
          </a:prstGeom>
          <a:solidFill>
            <a:schemeClr val="accent1">
              <a:lumMod val="20000"/>
              <a:lumOff val="80000"/>
              <a:alpha val="45000"/>
            </a:schemeClr>
          </a:solidFill>
          <a:ln>
            <a:solidFill>
              <a:schemeClr val="accent1">
                <a:lumMod val="20000"/>
                <a:lumOff val="80000"/>
              </a:schemeClr>
            </a:solidFill>
          </a:ln>
          <a:scene3d>
            <a:camera prst="isometricTopUp">
              <a:rot lat="19334324" lon="18553891" rev="3806095"/>
            </a:camera>
            <a:lightRig rig="contrasting" dir="t"/>
          </a:scene3d>
          <a:sp3d prstMaterial="matte">
            <a:bevelT w="0" h="1270000" prst="coolSlan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HarmonyOS Sans SC"/>
              <a:cs typeface="+mn-cs"/>
            </a:endParaRPr>
          </a:p>
        </p:txBody>
      </p:sp>
      <p:sp>
        <p:nvSpPr>
          <p:cNvPr id="11" name="Rectangle 57">
            <a:extLst>
              <a:ext uri="{FF2B5EF4-FFF2-40B4-BE49-F238E27FC236}">
                <a16:creationId xmlns:a16="http://schemas.microsoft.com/office/drawing/2014/main" id="{A7AC210E-CAA4-448F-B3B8-C146F8505555}"/>
              </a:ext>
            </a:extLst>
          </p:cNvPr>
          <p:cNvSpPr/>
          <p:nvPr/>
        </p:nvSpPr>
        <p:spPr>
          <a:xfrm>
            <a:off x="4279832" y="1774163"/>
            <a:ext cx="579985" cy="579985"/>
          </a:xfrm>
          <a:prstGeom prst="rect">
            <a:avLst/>
          </a:prstGeom>
          <a:gradFill>
            <a:gsLst>
              <a:gs pos="28000">
                <a:schemeClr val="accent1"/>
              </a:gs>
              <a:gs pos="100000">
                <a:schemeClr val="accent1">
                  <a:lumMod val="60000"/>
                  <a:lumOff val="40000"/>
                  <a:alpha val="70000"/>
                </a:schemeClr>
              </a:gs>
            </a:gsLst>
            <a:lin ang="13500000" scaled="1"/>
          </a:gradFill>
          <a:ln>
            <a:gradFill>
              <a:gsLst>
                <a:gs pos="0">
                  <a:schemeClr val="accent1">
                    <a:lumMod val="60000"/>
                    <a:lumOff val="40000"/>
                  </a:schemeClr>
                </a:gs>
                <a:gs pos="100000">
                  <a:schemeClr val="accent1">
                    <a:alpha val="40000"/>
                  </a:schemeClr>
                </a:gs>
              </a:gsLst>
              <a:lin ang="5400000" scaled="1"/>
            </a:gradFill>
          </a:ln>
          <a:scene3d>
            <a:camera prst="isometricTopUp">
              <a:rot lat="19332000" lon="18552000" rev="3804000"/>
            </a:camera>
            <a:lightRig rig="contrasting" dir="t"/>
          </a:scene3d>
          <a:sp3d extrusionH="16510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0F0F0"/>
                </a:solidFill>
                <a:effectLst/>
                <a:uLnTx/>
                <a:uFillTx/>
                <a:latin typeface="HarmonyOS Sans SC Black"/>
                <a:ea typeface="+mj-ea"/>
                <a:cs typeface="+mn-cs"/>
              </a:rPr>
              <a:t>B</a:t>
            </a:r>
          </a:p>
        </p:txBody>
      </p:sp>
      <p:sp>
        <p:nvSpPr>
          <p:cNvPr id="12" name="Rectangle 58">
            <a:extLst>
              <a:ext uri="{FF2B5EF4-FFF2-40B4-BE49-F238E27FC236}">
                <a16:creationId xmlns:a16="http://schemas.microsoft.com/office/drawing/2014/main" id="{13C4B409-8078-4EEC-8059-26A081079D68}"/>
              </a:ext>
            </a:extLst>
          </p:cNvPr>
          <p:cNvSpPr/>
          <p:nvPr/>
        </p:nvSpPr>
        <p:spPr>
          <a:xfrm>
            <a:off x="5758340" y="3577632"/>
            <a:ext cx="692149" cy="692150"/>
          </a:xfrm>
          <a:prstGeom prst="rect">
            <a:avLst/>
          </a:prstGeom>
          <a:solidFill>
            <a:schemeClr val="accent1">
              <a:lumMod val="20000"/>
              <a:lumOff val="80000"/>
              <a:alpha val="45000"/>
            </a:schemeClr>
          </a:solidFill>
          <a:ln>
            <a:solidFill>
              <a:schemeClr val="accent1">
                <a:lumMod val="20000"/>
                <a:lumOff val="80000"/>
              </a:schemeClr>
            </a:solidFill>
          </a:ln>
          <a:scene3d>
            <a:camera prst="isometricTopUp">
              <a:rot lat="19334324" lon="18553891" rev="3806095"/>
            </a:camera>
            <a:lightRig rig="contrasting" dir="t"/>
          </a:scene3d>
          <a:sp3d prstMaterial="matte">
            <a:bevelT w="0" h="1651000" prst="coolSlan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HarmonyOS Sans SC"/>
              <a:cs typeface="+mn-cs"/>
            </a:endParaRPr>
          </a:p>
        </p:txBody>
      </p:sp>
      <p:sp>
        <p:nvSpPr>
          <p:cNvPr id="13" name="Rectangle 59">
            <a:extLst>
              <a:ext uri="{FF2B5EF4-FFF2-40B4-BE49-F238E27FC236}">
                <a16:creationId xmlns:a16="http://schemas.microsoft.com/office/drawing/2014/main" id="{DDD25F61-C3CE-4F0D-81FE-36C3A573AA22}"/>
              </a:ext>
            </a:extLst>
          </p:cNvPr>
          <p:cNvSpPr/>
          <p:nvPr/>
        </p:nvSpPr>
        <p:spPr>
          <a:xfrm>
            <a:off x="5821644" y="1616702"/>
            <a:ext cx="579985" cy="579985"/>
          </a:xfrm>
          <a:prstGeom prst="rect">
            <a:avLst/>
          </a:prstGeom>
          <a:gradFill>
            <a:gsLst>
              <a:gs pos="28000">
                <a:schemeClr val="accent1"/>
              </a:gs>
              <a:gs pos="100000">
                <a:schemeClr val="accent1">
                  <a:lumMod val="60000"/>
                  <a:lumOff val="40000"/>
                  <a:alpha val="70000"/>
                </a:schemeClr>
              </a:gs>
            </a:gsLst>
            <a:lin ang="13500000" scaled="1"/>
          </a:gradFill>
          <a:ln>
            <a:gradFill>
              <a:gsLst>
                <a:gs pos="0">
                  <a:schemeClr val="accent1">
                    <a:lumMod val="60000"/>
                    <a:lumOff val="40000"/>
                  </a:schemeClr>
                </a:gs>
                <a:gs pos="100000">
                  <a:schemeClr val="accent1">
                    <a:alpha val="40000"/>
                  </a:schemeClr>
                </a:gs>
              </a:gsLst>
              <a:lin ang="5400000" scaled="1"/>
            </a:gradFill>
          </a:ln>
          <a:scene3d>
            <a:camera prst="isometricTopUp">
              <a:rot lat="19332000" lon="18552000" rev="3804000"/>
            </a:camera>
            <a:lightRig rig="contrasting" dir="t"/>
          </a:scene3d>
          <a:sp3d extrusionH="22860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0F0F0"/>
                </a:solidFill>
                <a:effectLst/>
                <a:uLnTx/>
                <a:uFillTx/>
                <a:latin typeface="HarmonyOS Sans SC Black"/>
                <a:ea typeface="+mj-ea"/>
                <a:cs typeface="+mn-cs"/>
              </a:rPr>
              <a:t>C</a:t>
            </a:r>
          </a:p>
        </p:txBody>
      </p:sp>
      <p:sp>
        <p:nvSpPr>
          <p:cNvPr id="14" name="Rectangle 60">
            <a:extLst>
              <a:ext uri="{FF2B5EF4-FFF2-40B4-BE49-F238E27FC236}">
                <a16:creationId xmlns:a16="http://schemas.microsoft.com/office/drawing/2014/main" id="{168E948C-42C7-4996-AABA-3CFE90E9837B}"/>
              </a:ext>
            </a:extLst>
          </p:cNvPr>
          <p:cNvSpPr/>
          <p:nvPr/>
        </p:nvSpPr>
        <p:spPr>
          <a:xfrm>
            <a:off x="7277293" y="3403427"/>
            <a:ext cx="692149" cy="692150"/>
          </a:xfrm>
          <a:prstGeom prst="rect">
            <a:avLst/>
          </a:prstGeom>
          <a:solidFill>
            <a:schemeClr val="accent1">
              <a:lumMod val="20000"/>
              <a:lumOff val="80000"/>
              <a:alpha val="45000"/>
            </a:schemeClr>
          </a:solidFill>
          <a:ln>
            <a:solidFill>
              <a:schemeClr val="accent1">
                <a:lumMod val="20000"/>
                <a:lumOff val="80000"/>
              </a:schemeClr>
            </a:solidFill>
          </a:ln>
          <a:scene3d>
            <a:camera prst="isometricTopUp">
              <a:rot lat="19334324" lon="18553891" rev="3806095"/>
            </a:camera>
            <a:lightRig rig="contrasting" dir="t"/>
          </a:scene3d>
          <a:sp3d prstMaterial="matte">
            <a:bevelT w="0" h="1016000" prst="coolSlan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HarmonyOS Sans SC"/>
              <a:cs typeface="+mn-cs"/>
            </a:endParaRPr>
          </a:p>
        </p:txBody>
      </p:sp>
      <p:sp>
        <p:nvSpPr>
          <p:cNvPr id="15" name="Rectangle 61">
            <a:extLst>
              <a:ext uri="{FF2B5EF4-FFF2-40B4-BE49-F238E27FC236}">
                <a16:creationId xmlns:a16="http://schemas.microsoft.com/office/drawing/2014/main" id="{A90726E0-9A53-45D7-95BB-F07DA1E052BA}"/>
              </a:ext>
            </a:extLst>
          </p:cNvPr>
          <p:cNvSpPr/>
          <p:nvPr/>
        </p:nvSpPr>
        <p:spPr>
          <a:xfrm>
            <a:off x="7340599" y="2486603"/>
            <a:ext cx="579985" cy="579985"/>
          </a:xfrm>
          <a:prstGeom prst="rect">
            <a:avLst/>
          </a:prstGeom>
          <a:gradFill>
            <a:gsLst>
              <a:gs pos="28000">
                <a:schemeClr val="accent1"/>
              </a:gs>
              <a:gs pos="100000">
                <a:schemeClr val="accent1">
                  <a:lumMod val="60000"/>
                  <a:lumOff val="40000"/>
                  <a:alpha val="70000"/>
                </a:schemeClr>
              </a:gs>
            </a:gsLst>
            <a:lin ang="13500000" scaled="1"/>
          </a:gradFill>
          <a:ln>
            <a:gradFill>
              <a:gsLst>
                <a:gs pos="0">
                  <a:schemeClr val="accent1">
                    <a:lumMod val="60000"/>
                    <a:lumOff val="40000"/>
                  </a:schemeClr>
                </a:gs>
                <a:gs pos="100000">
                  <a:schemeClr val="accent1">
                    <a:alpha val="40000"/>
                  </a:schemeClr>
                </a:gs>
              </a:gsLst>
              <a:lin ang="5400000" scaled="1"/>
            </a:gradFill>
          </a:ln>
          <a:scene3d>
            <a:camera prst="isometricTopUp">
              <a:rot lat="19332000" lon="18552000" rev="3804000"/>
            </a:camera>
            <a:lightRig rig="contrasting" dir="t"/>
          </a:scene3d>
          <a:sp3d extrusionH="10795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0F0F0"/>
                </a:solidFill>
                <a:effectLst/>
                <a:uLnTx/>
                <a:uFillTx/>
                <a:latin typeface="HarmonyOS Sans SC Black"/>
                <a:ea typeface="+mj-ea"/>
                <a:cs typeface="+mn-cs"/>
              </a:rPr>
              <a:t>D</a:t>
            </a:r>
          </a:p>
        </p:txBody>
      </p:sp>
      <p:sp>
        <p:nvSpPr>
          <p:cNvPr id="16" name="Rectangle 62">
            <a:extLst>
              <a:ext uri="{FF2B5EF4-FFF2-40B4-BE49-F238E27FC236}">
                <a16:creationId xmlns:a16="http://schemas.microsoft.com/office/drawing/2014/main" id="{18C3F768-AF71-462F-AC0B-B7E58AAB23C5}"/>
              </a:ext>
            </a:extLst>
          </p:cNvPr>
          <p:cNvSpPr/>
          <p:nvPr/>
        </p:nvSpPr>
        <p:spPr>
          <a:xfrm>
            <a:off x="8805986" y="3684588"/>
            <a:ext cx="692149" cy="692150"/>
          </a:xfrm>
          <a:prstGeom prst="rect">
            <a:avLst/>
          </a:prstGeom>
          <a:solidFill>
            <a:schemeClr val="accent1">
              <a:lumMod val="20000"/>
              <a:lumOff val="80000"/>
              <a:alpha val="45000"/>
            </a:schemeClr>
          </a:solidFill>
          <a:ln>
            <a:solidFill>
              <a:schemeClr val="accent1">
                <a:lumMod val="20000"/>
                <a:lumOff val="80000"/>
              </a:schemeClr>
            </a:solidFill>
          </a:ln>
          <a:scene3d>
            <a:camera prst="isometricTopUp">
              <a:rot lat="19334324" lon="18553891" rev="3806095"/>
            </a:camera>
            <a:lightRig rig="contrasting" dir="t"/>
          </a:scene3d>
          <a:sp3d prstMaterial="matte">
            <a:bevelT w="0" h="1524000" prst="coolSlan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HarmonyOS Sans SC"/>
              <a:cs typeface="+mn-cs"/>
            </a:endParaRPr>
          </a:p>
        </p:txBody>
      </p:sp>
      <p:sp>
        <p:nvSpPr>
          <p:cNvPr id="17" name="Rectangle 63">
            <a:extLst>
              <a:ext uri="{FF2B5EF4-FFF2-40B4-BE49-F238E27FC236}">
                <a16:creationId xmlns:a16="http://schemas.microsoft.com/office/drawing/2014/main" id="{D720E0B9-AC56-4BD0-B9BB-B58D756F9636}"/>
              </a:ext>
            </a:extLst>
          </p:cNvPr>
          <p:cNvSpPr/>
          <p:nvPr/>
        </p:nvSpPr>
        <p:spPr>
          <a:xfrm>
            <a:off x="8869292" y="2390445"/>
            <a:ext cx="579985" cy="579985"/>
          </a:xfrm>
          <a:prstGeom prst="rect">
            <a:avLst/>
          </a:prstGeom>
          <a:gradFill>
            <a:gsLst>
              <a:gs pos="28000">
                <a:schemeClr val="accent1"/>
              </a:gs>
              <a:gs pos="100000">
                <a:schemeClr val="accent1">
                  <a:lumMod val="60000"/>
                  <a:lumOff val="40000"/>
                  <a:alpha val="70000"/>
                </a:schemeClr>
              </a:gs>
            </a:gsLst>
            <a:lin ang="13500000" scaled="1"/>
          </a:gradFill>
          <a:ln>
            <a:gradFill>
              <a:gsLst>
                <a:gs pos="0">
                  <a:schemeClr val="accent1">
                    <a:lumMod val="60000"/>
                    <a:lumOff val="40000"/>
                  </a:schemeClr>
                </a:gs>
                <a:gs pos="100000">
                  <a:schemeClr val="accent1">
                    <a:alpha val="40000"/>
                  </a:schemeClr>
                </a:gs>
              </a:gsLst>
              <a:lin ang="5400000" scaled="1"/>
            </a:gradFill>
          </a:ln>
          <a:scene3d>
            <a:camera prst="isometricTopUp">
              <a:rot lat="19332000" lon="18552000" rev="3804000"/>
            </a:camera>
            <a:lightRig rig="contrasting" dir="t"/>
          </a:scene3d>
          <a:sp3d extrusionH="15240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0F0F0"/>
                </a:solidFill>
                <a:effectLst/>
                <a:uLnTx/>
                <a:uFillTx/>
                <a:latin typeface="HarmonyOS Sans SC Black"/>
                <a:ea typeface="+mj-ea"/>
                <a:cs typeface="+mn-cs"/>
              </a:rPr>
              <a:t>E</a:t>
            </a:r>
          </a:p>
        </p:txBody>
      </p:sp>
      <p:grpSp>
        <p:nvGrpSpPr>
          <p:cNvPr id="62" name="组合 61">
            <a:extLst>
              <a:ext uri="{FF2B5EF4-FFF2-40B4-BE49-F238E27FC236}">
                <a16:creationId xmlns:a16="http://schemas.microsoft.com/office/drawing/2014/main" id="{DC9542D8-92DD-4C5F-897E-7ED2705D87EF}"/>
              </a:ext>
            </a:extLst>
          </p:cNvPr>
          <p:cNvGrpSpPr/>
          <p:nvPr/>
        </p:nvGrpSpPr>
        <p:grpSpPr>
          <a:xfrm>
            <a:off x="2601217" y="1477036"/>
            <a:ext cx="1981200" cy="846145"/>
            <a:chOff x="5271631" y="5531206"/>
            <a:chExt cx="1981200" cy="846145"/>
          </a:xfrm>
        </p:grpSpPr>
        <p:sp>
          <p:nvSpPr>
            <p:cNvPr id="63" name="TextBox 65">
              <a:extLst>
                <a:ext uri="{FF2B5EF4-FFF2-40B4-BE49-F238E27FC236}">
                  <a16:creationId xmlns:a16="http://schemas.microsoft.com/office/drawing/2014/main" id="{D1654AAF-8997-4456-B6D1-BA9C2AF79307}"/>
                </a:ext>
              </a:extLst>
            </p:cNvPr>
            <p:cNvSpPr txBox="1"/>
            <p:nvPr/>
          </p:nvSpPr>
          <p:spPr>
            <a:xfrm>
              <a:off x="5492767" y="5531206"/>
              <a:ext cx="1538928" cy="345598"/>
            </a:xfrm>
            <a:prstGeom prst="rect">
              <a:avLst/>
            </a:prstGeom>
            <a:noFill/>
          </p:spPr>
          <p:txBody>
            <a:bodyPr wrap="square" lIns="0" tIns="36000" rIns="0" bIns="36000" rtlCol="0">
              <a:spAutoFit/>
            </a:bodyPr>
            <a:lstStyle/>
            <a:p>
              <a:pPr marL="0" marR="0" lvl="0" indent="0" algn="ctr" defTabSz="914400" rtl="0" eaLnBrk="1" fontAlgn="auto" latinLnBrk="0" hangingPunct="1">
                <a:lnSpc>
                  <a:spcPct val="120000"/>
                </a:lnSpc>
                <a:spcBef>
                  <a:spcPts val="600"/>
                </a:spcBef>
                <a:spcAft>
                  <a:spcPts val="0"/>
                </a:spcAft>
                <a:buClrTx/>
                <a:buSzTx/>
                <a:buFontTx/>
                <a:buNone/>
                <a:tabLst/>
                <a:defRPr/>
              </a:pPr>
              <a:r>
                <a:rPr kumimoji="0" lang="en-US" sz="1600" b="0" i="0" u="none" strike="noStrike" kern="1200" cap="none" spc="0" normalizeH="0" baseline="0" noProof="0" dirty="0">
                  <a:ln>
                    <a:noFill/>
                  </a:ln>
                  <a:solidFill>
                    <a:schemeClr val="accent1"/>
                  </a:solidFill>
                  <a:effectLst/>
                  <a:uLnTx/>
                  <a:uFillTx/>
                  <a:latin typeface="HarmonyOS Sans SC Black"/>
                  <a:ea typeface="+mj-ea"/>
                  <a:cs typeface="+mn-cs"/>
                </a:rPr>
                <a:t>Step - A</a:t>
              </a:r>
            </a:p>
          </p:txBody>
        </p:sp>
        <p:sp>
          <p:nvSpPr>
            <p:cNvPr id="64" name="TextBox 65">
              <a:extLst>
                <a:ext uri="{FF2B5EF4-FFF2-40B4-BE49-F238E27FC236}">
                  <a16:creationId xmlns:a16="http://schemas.microsoft.com/office/drawing/2014/main" id="{7871FC85-7FD9-4B65-BDF6-79755EC15617}"/>
                </a:ext>
              </a:extLst>
            </p:cNvPr>
            <p:cNvSpPr txBox="1"/>
            <p:nvPr/>
          </p:nvSpPr>
          <p:spPr>
            <a:xfrm>
              <a:off x="5271631" y="5914605"/>
              <a:ext cx="1981200" cy="462746"/>
            </a:xfrm>
            <a:prstGeom prst="rect">
              <a:avLst/>
            </a:prstGeom>
            <a:noFill/>
          </p:spPr>
          <p:txBody>
            <a:bodyPr wrap="square" lIns="0" tIns="36000" rIns="0" bIns="36000" rtlCol="0">
              <a:spAutoFit/>
            </a:bodyPr>
            <a:lstStyle/>
            <a:p>
              <a:pPr marL="0" marR="0" lvl="0" indent="0" algn="ctr" defTabSz="914400" rtl="0" eaLnBrk="1" fontAlgn="auto" latinLnBrk="0" hangingPunct="1">
                <a:lnSpc>
                  <a:spcPct val="120000"/>
                </a:lnSpc>
                <a:spcBef>
                  <a:spcPts val="600"/>
                </a:spcBef>
                <a:spcAft>
                  <a:spcPts val="0"/>
                </a:spcAft>
                <a:buClrTx/>
                <a:buSzTx/>
                <a:buFontTx/>
                <a:buNone/>
                <a:tabLst/>
                <a:defRPr/>
              </a:pPr>
              <a:r>
                <a:rPr kumimoji="0" lang="en-US" sz="1100" b="0" i="0" u="none" strike="noStrike" kern="1200" cap="none" spc="0" normalizeH="0" baseline="0" noProof="0" dirty="0">
                  <a:ln>
                    <a:noFill/>
                  </a:ln>
                  <a:solidFill>
                    <a:prstClr val="black">
                      <a:lumMod val="50000"/>
                      <a:lumOff val="50000"/>
                    </a:prstClr>
                  </a:solidFill>
                  <a:effectLst/>
                  <a:uLnTx/>
                  <a:uFillTx/>
                  <a:latin typeface="HarmonyOS Sans SC"/>
                  <a:cs typeface="+mn-cs"/>
                </a:rPr>
                <a:t>A peep at some distant orb has power.</a:t>
              </a:r>
            </a:p>
          </p:txBody>
        </p:sp>
      </p:grpSp>
      <p:grpSp>
        <p:nvGrpSpPr>
          <p:cNvPr id="65" name="组合 64">
            <a:extLst>
              <a:ext uri="{FF2B5EF4-FFF2-40B4-BE49-F238E27FC236}">
                <a16:creationId xmlns:a16="http://schemas.microsoft.com/office/drawing/2014/main" id="{6FAD2D0C-49DA-471D-84A3-A8E86C088AF1}"/>
              </a:ext>
            </a:extLst>
          </p:cNvPr>
          <p:cNvGrpSpPr/>
          <p:nvPr/>
        </p:nvGrpSpPr>
        <p:grpSpPr>
          <a:xfrm>
            <a:off x="5117438" y="846913"/>
            <a:ext cx="1981200" cy="846145"/>
            <a:chOff x="5271631" y="5531206"/>
            <a:chExt cx="1981200" cy="846145"/>
          </a:xfrm>
        </p:grpSpPr>
        <p:sp>
          <p:nvSpPr>
            <p:cNvPr id="66" name="TextBox 65">
              <a:extLst>
                <a:ext uri="{FF2B5EF4-FFF2-40B4-BE49-F238E27FC236}">
                  <a16:creationId xmlns:a16="http://schemas.microsoft.com/office/drawing/2014/main" id="{D958CE30-70F1-4909-B675-FFBA61446280}"/>
                </a:ext>
              </a:extLst>
            </p:cNvPr>
            <p:cNvSpPr txBox="1"/>
            <p:nvPr/>
          </p:nvSpPr>
          <p:spPr>
            <a:xfrm>
              <a:off x="5492767" y="5531206"/>
              <a:ext cx="1538928" cy="345598"/>
            </a:xfrm>
            <a:prstGeom prst="rect">
              <a:avLst/>
            </a:prstGeom>
            <a:noFill/>
          </p:spPr>
          <p:txBody>
            <a:bodyPr wrap="square" lIns="0" tIns="36000" rIns="0" bIns="36000" rtlCol="0">
              <a:spAutoFit/>
            </a:bodyPr>
            <a:lstStyle/>
            <a:p>
              <a:pPr marL="0" marR="0" lvl="0" indent="0" algn="ctr" defTabSz="914400" rtl="0" eaLnBrk="1" fontAlgn="auto" latinLnBrk="0" hangingPunct="1">
                <a:lnSpc>
                  <a:spcPct val="120000"/>
                </a:lnSpc>
                <a:spcBef>
                  <a:spcPts val="600"/>
                </a:spcBef>
                <a:spcAft>
                  <a:spcPts val="0"/>
                </a:spcAft>
                <a:buClrTx/>
                <a:buSzTx/>
                <a:buFontTx/>
                <a:buNone/>
                <a:tabLst/>
                <a:defRPr/>
              </a:pPr>
              <a:r>
                <a:rPr kumimoji="0" lang="en-US" sz="1600" b="0" i="0" u="none" strike="noStrike" kern="1200" cap="none" spc="0" normalizeH="0" baseline="0" noProof="0" dirty="0">
                  <a:ln>
                    <a:noFill/>
                  </a:ln>
                  <a:solidFill>
                    <a:schemeClr val="accent1"/>
                  </a:solidFill>
                  <a:effectLst/>
                  <a:uLnTx/>
                  <a:uFillTx/>
                  <a:latin typeface="HarmonyOS Sans SC Black"/>
                  <a:ea typeface="+mj-ea"/>
                  <a:cs typeface="+mn-cs"/>
                </a:rPr>
                <a:t>Step - C</a:t>
              </a:r>
            </a:p>
          </p:txBody>
        </p:sp>
        <p:sp>
          <p:nvSpPr>
            <p:cNvPr id="67" name="TextBox 65">
              <a:extLst>
                <a:ext uri="{FF2B5EF4-FFF2-40B4-BE49-F238E27FC236}">
                  <a16:creationId xmlns:a16="http://schemas.microsoft.com/office/drawing/2014/main" id="{358F36B5-0343-4877-A533-63076505B7FC}"/>
                </a:ext>
              </a:extLst>
            </p:cNvPr>
            <p:cNvSpPr txBox="1"/>
            <p:nvPr/>
          </p:nvSpPr>
          <p:spPr>
            <a:xfrm>
              <a:off x="5271631" y="5914605"/>
              <a:ext cx="1981200" cy="462746"/>
            </a:xfrm>
            <a:prstGeom prst="rect">
              <a:avLst/>
            </a:prstGeom>
            <a:noFill/>
          </p:spPr>
          <p:txBody>
            <a:bodyPr wrap="square" lIns="0" tIns="36000" rIns="0" bIns="36000" rtlCol="0">
              <a:spAutoFit/>
            </a:bodyPr>
            <a:lstStyle/>
            <a:p>
              <a:pPr marL="0" marR="0" lvl="0" indent="0" algn="ctr" defTabSz="914400" rtl="0" eaLnBrk="1" fontAlgn="auto" latinLnBrk="0" hangingPunct="1">
                <a:lnSpc>
                  <a:spcPct val="120000"/>
                </a:lnSpc>
                <a:spcBef>
                  <a:spcPts val="600"/>
                </a:spcBef>
                <a:spcAft>
                  <a:spcPts val="0"/>
                </a:spcAft>
                <a:buClrTx/>
                <a:buSzTx/>
                <a:buFontTx/>
                <a:buNone/>
                <a:tabLst/>
                <a:defRPr/>
              </a:pPr>
              <a:r>
                <a:rPr kumimoji="0" lang="en-US" sz="1100" b="0" i="0" u="none" strike="noStrike" kern="1200" cap="none" spc="0" normalizeH="0" baseline="0" noProof="0" dirty="0">
                  <a:ln>
                    <a:noFill/>
                  </a:ln>
                  <a:solidFill>
                    <a:prstClr val="black">
                      <a:lumMod val="50000"/>
                      <a:lumOff val="50000"/>
                    </a:prstClr>
                  </a:solidFill>
                  <a:effectLst/>
                  <a:uLnTx/>
                  <a:uFillTx/>
                  <a:latin typeface="HarmonyOS Sans SC"/>
                  <a:cs typeface="+mn-cs"/>
                </a:rPr>
                <a:t>A peep at some distant orb has power.</a:t>
              </a:r>
            </a:p>
          </p:txBody>
        </p:sp>
      </p:grpSp>
      <p:grpSp>
        <p:nvGrpSpPr>
          <p:cNvPr id="68" name="组合 67">
            <a:extLst>
              <a:ext uri="{FF2B5EF4-FFF2-40B4-BE49-F238E27FC236}">
                <a16:creationId xmlns:a16="http://schemas.microsoft.com/office/drawing/2014/main" id="{EDBE9FAA-2F82-4864-B223-76A3309692E4}"/>
              </a:ext>
            </a:extLst>
          </p:cNvPr>
          <p:cNvGrpSpPr/>
          <p:nvPr/>
        </p:nvGrpSpPr>
        <p:grpSpPr>
          <a:xfrm>
            <a:off x="8168684" y="846913"/>
            <a:ext cx="1981200" cy="846145"/>
            <a:chOff x="5271631" y="5531206"/>
            <a:chExt cx="1981200" cy="846145"/>
          </a:xfrm>
        </p:grpSpPr>
        <p:sp>
          <p:nvSpPr>
            <p:cNvPr id="69" name="TextBox 65">
              <a:extLst>
                <a:ext uri="{FF2B5EF4-FFF2-40B4-BE49-F238E27FC236}">
                  <a16:creationId xmlns:a16="http://schemas.microsoft.com/office/drawing/2014/main" id="{0ADACDAD-9964-44DD-BE10-3ADB1630A2C4}"/>
                </a:ext>
              </a:extLst>
            </p:cNvPr>
            <p:cNvSpPr txBox="1"/>
            <p:nvPr/>
          </p:nvSpPr>
          <p:spPr>
            <a:xfrm>
              <a:off x="5492767" y="5531206"/>
              <a:ext cx="1538928" cy="345598"/>
            </a:xfrm>
            <a:prstGeom prst="rect">
              <a:avLst/>
            </a:prstGeom>
            <a:noFill/>
          </p:spPr>
          <p:txBody>
            <a:bodyPr wrap="square" lIns="0" tIns="36000" rIns="0" bIns="36000" rtlCol="0">
              <a:spAutoFit/>
            </a:bodyPr>
            <a:lstStyle/>
            <a:p>
              <a:pPr marL="0" marR="0" lvl="0" indent="0" algn="ctr" defTabSz="914400" rtl="0" eaLnBrk="1" fontAlgn="auto" latinLnBrk="0" hangingPunct="1">
                <a:lnSpc>
                  <a:spcPct val="120000"/>
                </a:lnSpc>
                <a:spcBef>
                  <a:spcPts val="600"/>
                </a:spcBef>
                <a:spcAft>
                  <a:spcPts val="0"/>
                </a:spcAft>
                <a:buClrTx/>
                <a:buSzTx/>
                <a:buFontTx/>
                <a:buNone/>
                <a:tabLst/>
                <a:defRPr/>
              </a:pPr>
              <a:r>
                <a:rPr kumimoji="0" lang="en-US" sz="1600" b="0" i="0" u="none" strike="noStrike" kern="1200" cap="none" spc="0" normalizeH="0" baseline="0" noProof="0" dirty="0">
                  <a:ln>
                    <a:noFill/>
                  </a:ln>
                  <a:solidFill>
                    <a:schemeClr val="accent1"/>
                  </a:solidFill>
                  <a:effectLst/>
                  <a:uLnTx/>
                  <a:uFillTx/>
                  <a:latin typeface="HarmonyOS Sans SC Black"/>
                  <a:ea typeface="+mj-ea"/>
                  <a:cs typeface="+mn-cs"/>
                </a:rPr>
                <a:t>Step - E</a:t>
              </a:r>
            </a:p>
          </p:txBody>
        </p:sp>
        <p:sp>
          <p:nvSpPr>
            <p:cNvPr id="70" name="TextBox 65">
              <a:extLst>
                <a:ext uri="{FF2B5EF4-FFF2-40B4-BE49-F238E27FC236}">
                  <a16:creationId xmlns:a16="http://schemas.microsoft.com/office/drawing/2014/main" id="{B1B92355-F52A-42AF-85A3-B8FEB9C70E52}"/>
                </a:ext>
              </a:extLst>
            </p:cNvPr>
            <p:cNvSpPr txBox="1"/>
            <p:nvPr/>
          </p:nvSpPr>
          <p:spPr>
            <a:xfrm>
              <a:off x="5271631" y="5914605"/>
              <a:ext cx="1981200" cy="462746"/>
            </a:xfrm>
            <a:prstGeom prst="rect">
              <a:avLst/>
            </a:prstGeom>
            <a:noFill/>
          </p:spPr>
          <p:txBody>
            <a:bodyPr wrap="square" lIns="0" tIns="36000" rIns="0" bIns="36000" rtlCol="0">
              <a:spAutoFit/>
            </a:bodyPr>
            <a:lstStyle/>
            <a:p>
              <a:pPr marL="0" marR="0" lvl="0" indent="0" algn="ctr" defTabSz="914400" rtl="0" eaLnBrk="1" fontAlgn="auto" latinLnBrk="0" hangingPunct="1">
                <a:lnSpc>
                  <a:spcPct val="120000"/>
                </a:lnSpc>
                <a:spcBef>
                  <a:spcPts val="600"/>
                </a:spcBef>
                <a:spcAft>
                  <a:spcPts val="0"/>
                </a:spcAft>
                <a:buClrTx/>
                <a:buSzTx/>
                <a:buFontTx/>
                <a:buNone/>
                <a:tabLst/>
                <a:defRPr/>
              </a:pPr>
              <a:r>
                <a:rPr kumimoji="0" lang="en-US" sz="1100" b="0" i="0" u="none" strike="noStrike" kern="1200" cap="none" spc="0" normalizeH="0" baseline="0" noProof="0" dirty="0">
                  <a:ln>
                    <a:noFill/>
                  </a:ln>
                  <a:solidFill>
                    <a:prstClr val="black">
                      <a:lumMod val="50000"/>
                      <a:lumOff val="50000"/>
                    </a:prstClr>
                  </a:solidFill>
                  <a:effectLst/>
                  <a:uLnTx/>
                  <a:uFillTx/>
                  <a:latin typeface="HarmonyOS Sans SC"/>
                  <a:cs typeface="+mn-cs"/>
                </a:rPr>
                <a:t>A peep at some distant orb has power.</a:t>
              </a:r>
            </a:p>
          </p:txBody>
        </p:sp>
      </p:grpSp>
      <p:grpSp>
        <p:nvGrpSpPr>
          <p:cNvPr id="71" name="组合 70">
            <a:extLst>
              <a:ext uri="{FF2B5EF4-FFF2-40B4-BE49-F238E27FC236}">
                <a16:creationId xmlns:a16="http://schemas.microsoft.com/office/drawing/2014/main" id="{EA5AA861-DCBC-4F64-91C6-096577E95010}"/>
              </a:ext>
            </a:extLst>
          </p:cNvPr>
          <p:cNvGrpSpPr/>
          <p:nvPr/>
        </p:nvGrpSpPr>
        <p:grpSpPr>
          <a:xfrm>
            <a:off x="3591817" y="5320675"/>
            <a:ext cx="1981200" cy="846145"/>
            <a:chOff x="5271631" y="5531206"/>
            <a:chExt cx="1981200" cy="846145"/>
          </a:xfrm>
        </p:grpSpPr>
        <p:sp>
          <p:nvSpPr>
            <p:cNvPr id="72" name="TextBox 65">
              <a:extLst>
                <a:ext uri="{FF2B5EF4-FFF2-40B4-BE49-F238E27FC236}">
                  <a16:creationId xmlns:a16="http://schemas.microsoft.com/office/drawing/2014/main" id="{A462BA1F-AEB4-4757-9604-2FFCF506CDA7}"/>
                </a:ext>
              </a:extLst>
            </p:cNvPr>
            <p:cNvSpPr txBox="1"/>
            <p:nvPr/>
          </p:nvSpPr>
          <p:spPr>
            <a:xfrm>
              <a:off x="5492767" y="5531206"/>
              <a:ext cx="1538928" cy="345598"/>
            </a:xfrm>
            <a:prstGeom prst="rect">
              <a:avLst/>
            </a:prstGeom>
            <a:noFill/>
          </p:spPr>
          <p:txBody>
            <a:bodyPr wrap="square" lIns="0" tIns="36000" rIns="0" bIns="36000" rtlCol="0">
              <a:spAutoFit/>
            </a:bodyPr>
            <a:lstStyle/>
            <a:p>
              <a:pPr marL="0" marR="0" lvl="0" indent="0" algn="ctr" defTabSz="914400" rtl="0" eaLnBrk="1" fontAlgn="auto" latinLnBrk="0" hangingPunct="1">
                <a:lnSpc>
                  <a:spcPct val="120000"/>
                </a:lnSpc>
                <a:spcBef>
                  <a:spcPts val="600"/>
                </a:spcBef>
                <a:spcAft>
                  <a:spcPts val="0"/>
                </a:spcAft>
                <a:buClrTx/>
                <a:buSzTx/>
                <a:buFontTx/>
                <a:buNone/>
                <a:tabLst/>
                <a:defRPr/>
              </a:pPr>
              <a:r>
                <a:rPr kumimoji="0" lang="en-US" sz="1600" b="0" i="0" u="none" strike="noStrike" kern="1200" cap="none" spc="0" normalizeH="0" baseline="0" noProof="0" dirty="0">
                  <a:ln>
                    <a:noFill/>
                  </a:ln>
                  <a:solidFill>
                    <a:schemeClr val="accent1"/>
                  </a:solidFill>
                  <a:effectLst/>
                  <a:uLnTx/>
                  <a:uFillTx/>
                  <a:latin typeface="HarmonyOS Sans SC Black"/>
                  <a:ea typeface="+mj-ea"/>
                  <a:cs typeface="+mn-cs"/>
                </a:rPr>
                <a:t>Step - B</a:t>
              </a:r>
            </a:p>
          </p:txBody>
        </p:sp>
        <p:sp>
          <p:nvSpPr>
            <p:cNvPr id="73" name="TextBox 65">
              <a:extLst>
                <a:ext uri="{FF2B5EF4-FFF2-40B4-BE49-F238E27FC236}">
                  <a16:creationId xmlns:a16="http://schemas.microsoft.com/office/drawing/2014/main" id="{19D5B73A-7063-4CFA-A992-EBFAA0F4FDA9}"/>
                </a:ext>
              </a:extLst>
            </p:cNvPr>
            <p:cNvSpPr txBox="1"/>
            <p:nvPr/>
          </p:nvSpPr>
          <p:spPr>
            <a:xfrm>
              <a:off x="5271631" y="5914605"/>
              <a:ext cx="1981200" cy="462746"/>
            </a:xfrm>
            <a:prstGeom prst="rect">
              <a:avLst/>
            </a:prstGeom>
            <a:noFill/>
          </p:spPr>
          <p:txBody>
            <a:bodyPr wrap="square" lIns="0" tIns="36000" rIns="0" bIns="36000" rtlCol="0">
              <a:spAutoFit/>
            </a:bodyPr>
            <a:lstStyle/>
            <a:p>
              <a:pPr marL="0" marR="0" lvl="0" indent="0" algn="ctr" defTabSz="914400" rtl="0" eaLnBrk="1" fontAlgn="auto" latinLnBrk="0" hangingPunct="1">
                <a:lnSpc>
                  <a:spcPct val="120000"/>
                </a:lnSpc>
                <a:spcBef>
                  <a:spcPts val="600"/>
                </a:spcBef>
                <a:spcAft>
                  <a:spcPts val="0"/>
                </a:spcAft>
                <a:buClrTx/>
                <a:buSzTx/>
                <a:buFontTx/>
                <a:buNone/>
                <a:tabLst/>
                <a:defRPr/>
              </a:pPr>
              <a:r>
                <a:rPr kumimoji="0" lang="en-US" sz="1100" b="0" i="0" u="none" strike="noStrike" kern="1200" cap="none" spc="0" normalizeH="0" baseline="0" noProof="0" dirty="0">
                  <a:ln>
                    <a:noFill/>
                  </a:ln>
                  <a:solidFill>
                    <a:prstClr val="black">
                      <a:lumMod val="50000"/>
                      <a:lumOff val="50000"/>
                    </a:prstClr>
                  </a:solidFill>
                  <a:effectLst/>
                  <a:uLnTx/>
                  <a:uFillTx/>
                  <a:latin typeface="HarmonyOS Sans SC"/>
                  <a:cs typeface="+mn-cs"/>
                </a:rPr>
                <a:t>A peep at some distant orb has power.</a:t>
              </a:r>
            </a:p>
          </p:txBody>
        </p:sp>
      </p:grpSp>
      <p:grpSp>
        <p:nvGrpSpPr>
          <p:cNvPr id="74" name="组合 73">
            <a:extLst>
              <a:ext uri="{FF2B5EF4-FFF2-40B4-BE49-F238E27FC236}">
                <a16:creationId xmlns:a16="http://schemas.microsoft.com/office/drawing/2014/main" id="{EA55EDEB-2E2B-41B3-A967-6791AE408C2D}"/>
              </a:ext>
            </a:extLst>
          </p:cNvPr>
          <p:cNvGrpSpPr/>
          <p:nvPr/>
        </p:nvGrpSpPr>
        <p:grpSpPr>
          <a:xfrm>
            <a:off x="6643061" y="5320673"/>
            <a:ext cx="1981200" cy="846145"/>
            <a:chOff x="5271631" y="5531206"/>
            <a:chExt cx="1981200" cy="846145"/>
          </a:xfrm>
        </p:grpSpPr>
        <p:sp>
          <p:nvSpPr>
            <p:cNvPr id="75" name="TextBox 65">
              <a:extLst>
                <a:ext uri="{FF2B5EF4-FFF2-40B4-BE49-F238E27FC236}">
                  <a16:creationId xmlns:a16="http://schemas.microsoft.com/office/drawing/2014/main" id="{B2812BF3-E098-456C-B9E1-D6EF4CC4AAAE}"/>
                </a:ext>
              </a:extLst>
            </p:cNvPr>
            <p:cNvSpPr txBox="1"/>
            <p:nvPr/>
          </p:nvSpPr>
          <p:spPr>
            <a:xfrm>
              <a:off x="5492767" y="5531206"/>
              <a:ext cx="1538928" cy="345598"/>
            </a:xfrm>
            <a:prstGeom prst="rect">
              <a:avLst/>
            </a:prstGeom>
            <a:noFill/>
          </p:spPr>
          <p:txBody>
            <a:bodyPr wrap="square" lIns="0" tIns="36000" rIns="0" bIns="36000" rtlCol="0">
              <a:spAutoFit/>
            </a:bodyPr>
            <a:lstStyle/>
            <a:p>
              <a:pPr marL="0" marR="0" lvl="0" indent="0" algn="ctr" defTabSz="914400" rtl="0" eaLnBrk="1" fontAlgn="auto" latinLnBrk="0" hangingPunct="1">
                <a:lnSpc>
                  <a:spcPct val="120000"/>
                </a:lnSpc>
                <a:spcBef>
                  <a:spcPts val="600"/>
                </a:spcBef>
                <a:spcAft>
                  <a:spcPts val="0"/>
                </a:spcAft>
                <a:buClrTx/>
                <a:buSzTx/>
                <a:buFontTx/>
                <a:buNone/>
                <a:tabLst/>
                <a:defRPr/>
              </a:pPr>
              <a:r>
                <a:rPr kumimoji="0" lang="en-US" sz="1600" b="0" i="0" u="none" strike="noStrike" kern="1200" cap="none" spc="0" normalizeH="0" baseline="0" noProof="0" dirty="0">
                  <a:ln>
                    <a:noFill/>
                  </a:ln>
                  <a:solidFill>
                    <a:schemeClr val="accent1"/>
                  </a:solidFill>
                  <a:effectLst/>
                  <a:uLnTx/>
                  <a:uFillTx/>
                  <a:latin typeface="HarmonyOS Sans SC Black"/>
                  <a:ea typeface="+mj-ea"/>
                  <a:cs typeface="+mn-cs"/>
                </a:rPr>
                <a:t>Step - D</a:t>
              </a:r>
            </a:p>
          </p:txBody>
        </p:sp>
        <p:sp>
          <p:nvSpPr>
            <p:cNvPr id="76" name="TextBox 65">
              <a:extLst>
                <a:ext uri="{FF2B5EF4-FFF2-40B4-BE49-F238E27FC236}">
                  <a16:creationId xmlns:a16="http://schemas.microsoft.com/office/drawing/2014/main" id="{CC3E7AD8-7B43-48ED-90DC-7DF613B1382A}"/>
                </a:ext>
              </a:extLst>
            </p:cNvPr>
            <p:cNvSpPr txBox="1"/>
            <p:nvPr/>
          </p:nvSpPr>
          <p:spPr>
            <a:xfrm>
              <a:off x="5271631" y="5914605"/>
              <a:ext cx="1981200" cy="462746"/>
            </a:xfrm>
            <a:prstGeom prst="rect">
              <a:avLst/>
            </a:prstGeom>
            <a:noFill/>
          </p:spPr>
          <p:txBody>
            <a:bodyPr wrap="square" lIns="0" tIns="36000" rIns="0" bIns="36000" rtlCol="0">
              <a:spAutoFit/>
            </a:bodyPr>
            <a:lstStyle/>
            <a:p>
              <a:pPr marL="0" marR="0" lvl="0" indent="0" algn="ctr" defTabSz="914400" rtl="0" eaLnBrk="1" fontAlgn="auto" latinLnBrk="0" hangingPunct="1">
                <a:lnSpc>
                  <a:spcPct val="120000"/>
                </a:lnSpc>
                <a:spcBef>
                  <a:spcPts val="600"/>
                </a:spcBef>
                <a:spcAft>
                  <a:spcPts val="0"/>
                </a:spcAft>
                <a:buClrTx/>
                <a:buSzTx/>
                <a:buFontTx/>
                <a:buNone/>
                <a:tabLst/>
                <a:defRPr/>
              </a:pPr>
              <a:r>
                <a:rPr kumimoji="0" lang="en-US" sz="1100" b="0" i="0" u="none" strike="noStrike" kern="1200" cap="none" spc="0" normalizeH="0" baseline="0" noProof="0" dirty="0">
                  <a:ln>
                    <a:noFill/>
                  </a:ln>
                  <a:solidFill>
                    <a:prstClr val="black">
                      <a:lumMod val="50000"/>
                      <a:lumOff val="50000"/>
                    </a:prstClr>
                  </a:solidFill>
                  <a:effectLst/>
                  <a:uLnTx/>
                  <a:uFillTx/>
                  <a:latin typeface="HarmonyOS Sans SC"/>
                  <a:cs typeface="+mn-cs"/>
                </a:rPr>
                <a:t>A peep at some distant orb has power.</a:t>
              </a:r>
            </a:p>
          </p:txBody>
        </p:sp>
      </p:grpSp>
    </p:spTree>
    <p:extLst>
      <p:ext uri="{BB962C8B-B14F-4D97-AF65-F5344CB8AC3E}">
        <p14:creationId xmlns:p14="http://schemas.microsoft.com/office/powerpoint/2010/main" val="4229706787"/>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4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102">
            <a:extLst>
              <a:ext uri="{FF2B5EF4-FFF2-40B4-BE49-F238E27FC236}">
                <a16:creationId xmlns:a16="http://schemas.microsoft.com/office/drawing/2014/main" id="{A29A9E9E-D16B-40C9-9B95-6A43F119966F}"/>
              </a:ext>
            </a:extLst>
          </p:cNvPr>
          <p:cNvSpPr>
            <a:spLocks noChangeArrowheads="1"/>
          </p:cNvSpPr>
          <p:nvPr/>
        </p:nvSpPr>
        <p:spPr bwMode="auto">
          <a:xfrm>
            <a:off x="6470789" y="1166578"/>
            <a:ext cx="4197209" cy="781900"/>
          </a:xfrm>
          <a:prstGeom prst="rect">
            <a:avLst/>
          </a:prstGeom>
          <a:gradFill flip="none" rotWithShape="1">
            <a:gsLst>
              <a:gs pos="0">
                <a:schemeClr val="accent1">
                  <a:lumMod val="60000"/>
                  <a:lumOff val="40000"/>
                </a:schemeClr>
              </a:gs>
              <a:gs pos="100000">
                <a:schemeClr val="accent1"/>
              </a:gs>
            </a:gsLst>
            <a:lin ang="0" scaled="1"/>
            <a:tileRect/>
          </a:gradFill>
          <a:ln w="25400">
            <a:noFill/>
            <a:miter lim="800000"/>
          </a:ln>
        </p:spPr>
        <p:txBody>
          <a:bodyPr vert="horz" wrap="square" lIns="640080" tIns="45720" rIns="91440" bIns="45720" numCol="1" anchor="ctr" anchorCtr="0" compatLnSpc="1">
            <a:prstTxWarp prst="textNoShape">
              <a:avLst/>
            </a:prstTxWarp>
          </a:bodyPr>
          <a:lstStyle/>
          <a:p>
            <a:pPr marL="0" marR="0" lvl="0" indent="0" algn="l" defTabSz="914400" rtl="0" eaLnBrk="1" fontAlgn="auto" latinLnBrk="0" hangingPunct="1">
              <a:lnSpc>
                <a:spcPct val="120000"/>
              </a:lnSpc>
              <a:spcBef>
                <a:spcPts val="60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HarmonyOS Sans SC Black"/>
                <a:ea typeface="+mj-ea"/>
                <a:cs typeface="+mn-cs"/>
              </a:rPr>
              <a:t>Write title here</a:t>
            </a:r>
          </a:p>
          <a:p>
            <a:pPr marL="0" marR="0" lvl="0" indent="0" algn="l" defTabSz="914400" rtl="0" eaLnBrk="1" fontAlgn="auto" latinLnBrk="0" hangingPunct="1">
              <a:lnSpc>
                <a:spcPct val="120000"/>
              </a:lnSpc>
              <a:spcBef>
                <a:spcPts val="60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HarmonyOS Sans SC"/>
                <a:cs typeface="+mn-cs"/>
              </a:rPr>
              <a:t>A peep at some distant orb has power.</a:t>
            </a:r>
          </a:p>
        </p:txBody>
      </p:sp>
      <p:sp>
        <p:nvSpPr>
          <p:cNvPr id="7" name="Freeform 103">
            <a:extLst>
              <a:ext uri="{FF2B5EF4-FFF2-40B4-BE49-F238E27FC236}">
                <a16:creationId xmlns:a16="http://schemas.microsoft.com/office/drawing/2014/main" id="{6814CC6D-B205-4AE2-9DC4-F1A8E531678D}"/>
              </a:ext>
            </a:extLst>
          </p:cNvPr>
          <p:cNvSpPr>
            <a:spLocks/>
          </p:cNvSpPr>
          <p:nvPr/>
        </p:nvSpPr>
        <p:spPr bwMode="auto">
          <a:xfrm>
            <a:off x="10667998" y="1152806"/>
            <a:ext cx="1524002" cy="1201161"/>
          </a:xfrm>
          <a:custGeom>
            <a:avLst/>
            <a:gdLst>
              <a:gd name="T0" fmla="*/ 0 w 152"/>
              <a:gd name="T1" fmla="*/ 116 h 175"/>
              <a:gd name="T2" fmla="*/ 152 w 152"/>
              <a:gd name="T3" fmla="*/ 175 h 175"/>
              <a:gd name="T4" fmla="*/ 152 w 152"/>
              <a:gd name="T5" fmla="*/ 90 h 175"/>
              <a:gd name="T6" fmla="*/ 0 w 152"/>
              <a:gd name="T7" fmla="*/ 0 h 175"/>
              <a:gd name="T8" fmla="*/ 0 w 152"/>
              <a:gd name="T9" fmla="*/ 116 h 175"/>
              <a:gd name="connsiteX0" fmla="*/ 0 w 10000"/>
              <a:gd name="connsiteY0" fmla="*/ 6629 h 9895"/>
              <a:gd name="connsiteX1" fmla="*/ 10000 w 10000"/>
              <a:gd name="connsiteY1" fmla="*/ 9895 h 9895"/>
              <a:gd name="connsiteX2" fmla="*/ 10000 w 10000"/>
              <a:gd name="connsiteY2" fmla="*/ 5143 h 9895"/>
              <a:gd name="connsiteX3" fmla="*/ 0 w 10000"/>
              <a:gd name="connsiteY3" fmla="*/ 0 h 9895"/>
              <a:gd name="connsiteX4" fmla="*/ 0 w 10000"/>
              <a:gd name="connsiteY4" fmla="*/ 6629 h 98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9895">
                <a:moveTo>
                  <a:pt x="0" y="6629"/>
                </a:moveTo>
                <a:cubicBezTo>
                  <a:pt x="3355" y="7771"/>
                  <a:pt x="6645" y="8752"/>
                  <a:pt x="10000" y="9895"/>
                </a:cubicBezTo>
                <a:lnTo>
                  <a:pt x="10000" y="5143"/>
                </a:lnTo>
                <a:lnTo>
                  <a:pt x="0" y="0"/>
                </a:lnTo>
                <a:lnTo>
                  <a:pt x="0" y="6629"/>
                </a:lnTo>
                <a:close/>
              </a:path>
            </a:pathLst>
          </a:custGeom>
          <a:gradFill flip="none" rotWithShape="1">
            <a:gsLst>
              <a:gs pos="0">
                <a:schemeClr val="accent1">
                  <a:lumMod val="60000"/>
                  <a:lumOff val="40000"/>
                </a:schemeClr>
              </a:gs>
              <a:gs pos="100000">
                <a:schemeClr val="accent1"/>
              </a:gs>
            </a:gsLst>
            <a:lin ang="0" scaled="1"/>
            <a:tileRect/>
          </a:gradFill>
          <a:ln w="25400">
            <a:noFill/>
            <a:miter lim="800000"/>
          </a:ln>
        </p:spPr>
        <p:txBody>
          <a:bodyPr vert="horz" wrap="square" lIns="640080" tIns="45720" rIns="91440" bIns="45720" numCol="1" anchor="ctr" anchorCtr="0" compatLnSpc="1">
            <a:prstTxWarp prst="textNoShape">
              <a:avLst/>
            </a:prstTxWarp>
          </a:bodyPr>
          <a:lstStyle/>
          <a:p>
            <a:pPr marL="0" marR="0" lvl="0" indent="0" algn="l" defTabSz="914400" rtl="0" eaLnBrk="1" fontAlgn="auto" latinLnBrk="0" hangingPunct="1">
              <a:lnSpc>
                <a:spcPct val="120000"/>
              </a:lnSpc>
              <a:spcBef>
                <a:spcPts val="600"/>
              </a:spcBef>
              <a:spcAft>
                <a:spcPts val="0"/>
              </a:spcAft>
              <a:buClrTx/>
              <a:buSzTx/>
              <a:buFontTx/>
              <a:buNone/>
              <a:tabLst/>
              <a:defRPr/>
            </a:pPr>
            <a:endParaRPr kumimoji="0" lang="en-US" sz="1200" b="1" i="0" u="none" strike="noStrike" kern="1200" cap="none" spc="0" normalizeH="0" baseline="0" noProof="0" dirty="0">
              <a:ln>
                <a:noFill/>
              </a:ln>
              <a:solidFill>
                <a:srgbClr val="FFFFFF"/>
              </a:solidFill>
              <a:effectLst/>
              <a:uLnTx/>
              <a:uFillTx/>
              <a:latin typeface="HarmonyOS Sans SC"/>
              <a:cs typeface="+mn-cs"/>
            </a:endParaRPr>
          </a:p>
        </p:txBody>
      </p:sp>
      <p:sp>
        <p:nvSpPr>
          <p:cNvPr id="5" name="Oval 8">
            <a:extLst>
              <a:ext uri="{FF2B5EF4-FFF2-40B4-BE49-F238E27FC236}">
                <a16:creationId xmlns:a16="http://schemas.microsoft.com/office/drawing/2014/main" id="{9B08099D-AFBA-446F-B6D0-0ED1C7D92470}"/>
              </a:ext>
            </a:extLst>
          </p:cNvPr>
          <p:cNvSpPr/>
          <p:nvPr/>
        </p:nvSpPr>
        <p:spPr>
          <a:xfrm>
            <a:off x="6098335" y="1164772"/>
            <a:ext cx="793996" cy="793996"/>
          </a:xfrm>
          <a:prstGeom prst="ellipse">
            <a:avLst/>
          </a:prstGeom>
          <a:solidFill>
            <a:schemeClr val="bg1"/>
          </a:solidFill>
          <a:ln w="25400">
            <a:gradFill flip="none" rotWithShape="1">
              <a:gsLst>
                <a:gs pos="0">
                  <a:schemeClr val="accent1">
                    <a:lumMod val="60000"/>
                    <a:lumOff val="40000"/>
                  </a:schemeClr>
                </a:gs>
                <a:gs pos="100000">
                  <a:schemeClr val="accent1"/>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8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0F0F0"/>
              </a:solidFill>
              <a:effectLst/>
              <a:uLnTx/>
              <a:uFillTx/>
              <a:latin typeface="HarmonyOS Sans SC"/>
              <a:cs typeface="+mn-cs"/>
            </a:endParaRPr>
          </a:p>
        </p:txBody>
      </p:sp>
      <p:sp>
        <p:nvSpPr>
          <p:cNvPr id="11" name="Rectangle 107">
            <a:extLst>
              <a:ext uri="{FF2B5EF4-FFF2-40B4-BE49-F238E27FC236}">
                <a16:creationId xmlns:a16="http://schemas.microsoft.com/office/drawing/2014/main" id="{C0C41DD2-60AD-44C9-B703-797AE6DA6692}"/>
              </a:ext>
            </a:extLst>
          </p:cNvPr>
          <p:cNvSpPr>
            <a:spLocks noChangeArrowheads="1"/>
          </p:cNvSpPr>
          <p:nvPr/>
        </p:nvSpPr>
        <p:spPr bwMode="auto">
          <a:xfrm>
            <a:off x="6470789" y="2216812"/>
            <a:ext cx="4197209" cy="781900"/>
          </a:xfrm>
          <a:prstGeom prst="rect">
            <a:avLst/>
          </a:prstGeom>
          <a:gradFill flip="none" rotWithShape="1">
            <a:gsLst>
              <a:gs pos="0">
                <a:schemeClr val="accent1">
                  <a:lumMod val="60000"/>
                  <a:lumOff val="40000"/>
                </a:schemeClr>
              </a:gs>
              <a:gs pos="100000">
                <a:schemeClr val="accent1"/>
              </a:gs>
            </a:gsLst>
            <a:lin ang="0" scaled="1"/>
            <a:tileRect/>
          </a:gradFill>
          <a:ln w="25400">
            <a:noFill/>
            <a:miter lim="800000"/>
          </a:ln>
        </p:spPr>
        <p:txBody>
          <a:bodyPr vert="horz" wrap="square" lIns="640080" tIns="45720" rIns="91440" bIns="45720" numCol="1" anchor="ctr" anchorCtr="0" compatLnSpc="1">
            <a:prstTxWarp prst="textNoShape">
              <a:avLst/>
            </a:prstTxWarp>
          </a:bodyPr>
          <a:lstStyle/>
          <a:p>
            <a:pPr marL="0" marR="0" lvl="0" indent="0" algn="l" defTabSz="914400" rtl="0" eaLnBrk="1" fontAlgn="auto" latinLnBrk="0" hangingPunct="1">
              <a:lnSpc>
                <a:spcPct val="120000"/>
              </a:lnSpc>
              <a:spcBef>
                <a:spcPts val="60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HarmonyOS Sans SC Black"/>
                <a:ea typeface="+mj-ea"/>
                <a:cs typeface="+mn-cs"/>
              </a:rPr>
              <a:t>Write title here</a:t>
            </a:r>
          </a:p>
          <a:p>
            <a:pPr marL="0" marR="0" lvl="0" indent="0" algn="l" defTabSz="914400" rtl="0" eaLnBrk="1" fontAlgn="auto" latinLnBrk="0" hangingPunct="1">
              <a:lnSpc>
                <a:spcPct val="120000"/>
              </a:lnSpc>
              <a:spcBef>
                <a:spcPts val="60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HarmonyOS Sans SC"/>
                <a:cs typeface="+mn-cs"/>
              </a:rPr>
              <a:t>A peep at some distant orb has power to raise</a:t>
            </a:r>
          </a:p>
        </p:txBody>
      </p:sp>
      <p:sp>
        <p:nvSpPr>
          <p:cNvPr id="12" name="Freeform 108">
            <a:extLst>
              <a:ext uri="{FF2B5EF4-FFF2-40B4-BE49-F238E27FC236}">
                <a16:creationId xmlns:a16="http://schemas.microsoft.com/office/drawing/2014/main" id="{364C551C-F6F9-4395-9269-B6DEFF62D4AA}"/>
              </a:ext>
            </a:extLst>
          </p:cNvPr>
          <p:cNvSpPr>
            <a:spLocks/>
          </p:cNvSpPr>
          <p:nvPr/>
        </p:nvSpPr>
        <p:spPr bwMode="auto">
          <a:xfrm>
            <a:off x="10669773" y="2219040"/>
            <a:ext cx="1522227" cy="929751"/>
          </a:xfrm>
          <a:custGeom>
            <a:avLst/>
            <a:gdLst>
              <a:gd name="T0" fmla="*/ 0 w 152"/>
              <a:gd name="T1" fmla="*/ 116 h 138"/>
              <a:gd name="T2" fmla="*/ 152 w 152"/>
              <a:gd name="T3" fmla="*/ 138 h 138"/>
              <a:gd name="T4" fmla="*/ 152 w 152"/>
              <a:gd name="T5" fmla="*/ 52 h 138"/>
              <a:gd name="T6" fmla="*/ 0 w 152"/>
              <a:gd name="T7" fmla="*/ 0 h 138"/>
              <a:gd name="T8" fmla="*/ 0 w 152"/>
              <a:gd name="T9" fmla="*/ 116 h 138"/>
            </a:gdLst>
            <a:ahLst/>
            <a:cxnLst>
              <a:cxn ang="0">
                <a:pos x="T0" y="T1"/>
              </a:cxn>
              <a:cxn ang="0">
                <a:pos x="T2" y="T3"/>
              </a:cxn>
              <a:cxn ang="0">
                <a:pos x="T4" y="T5"/>
              </a:cxn>
              <a:cxn ang="0">
                <a:pos x="T6" y="T7"/>
              </a:cxn>
              <a:cxn ang="0">
                <a:pos x="T8" y="T9"/>
              </a:cxn>
            </a:cxnLst>
            <a:rect l="0" t="0" r="r" b="b"/>
            <a:pathLst>
              <a:path w="152" h="138">
                <a:moveTo>
                  <a:pt x="0" y="116"/>
                </a:moveTo>
                <a:cubicBezTo>
                  <a:pt x="51" y="123"/>
                  <a:pt x="101" y="131"/>
                  <a:pt x="152" y="138"/>
                </a:cubicBezTo>
                <a:cubicBezTo>
                  <a:pt x="152" y="109"/>
                  <a:pt x="152" y="81"/>
                  <a:pt x="152" y="52"/>
                </a:cubicBezTo>
                <a:cubicBezTo>
                  <a:pt x="101" y="35"/>
                  <a:pt x="51" y="18"/>
                  <a:pt x="0" y="0"/>
                </a:cubicBezTo>
                <a:cubicBezTo>
                  <a:pt x="0" y="39"/>
                  <a:pt x="0" y="77"/>
                  <a:pt x="0" y="116"/>
                </a:cubicBezTo>
                <a:close/>
              </a:path>
            </a:pathLst>
          </a:custGeom>
          <a:gradFill flip="none" rotWithShape="1">
            <a:gsLst>
              <a:gs pos="0">
                <a:schemeClr val="accent1">
                  <a:lumMod val="60000"/>
                  <a:lumOff val="40000"/>
                </a:schemeClr>
              </a:gs>
              <a:gs pos="100000">
                <a:schemeClr val="accent1"/>
              </a:gs>
            </a:gsLst>
            <a:lin ang="0" scaled="1"/>
            <a:tileRect/>
          </a:gradFill>
          <a:ln w="25400">
            <a:noFill/>
            <a:miter lim="800000"/>
          </a:ln>
        </p:spPr>
        <p:txBody>
          <a:bodyPr vert="horz" wrap="square" lIns="640080" tIns="45720" rIns="91440" bIns="45720" numCol="1" anchor="ctr" anchorCtr="0" compatLnSpc="1">
            <a:prstTxWarp prst="textNoShape">
              <a:avLst/>
            </a:prstTxWarp>
          </a:bodyPr>
          <a:lstStyle/>
          <a:p>
            <a:pPr marL="0" marR="0" lvl="0" indent="0" algn="l" defTabSz="914400" rtl="0" eaLnBrk="1" fontAlgn="auto" latinLnBrk="0" hangingPunct="1">
              <a:lnSpc>
                <a:spcPct val="120000"/>
              </a:lnSpc>
              <a:spcBef>
                <a:spcPts val="600"/>
              </a:spcBef>
              <a:spcAft>
                <a:spcPts val="0"/>
              </a:spcAft>
              <a:buClrTx/>
              <a:buSzTx/>
              <a:buFontTx/>
              <a:buNone/>
              <a:tabLst/>
              <a:defRPr/>
            </a:pPr>
            <a:endParaRPr kumimoji="0" lang="en-US" sz="1200" b="1" i="0" u="none" strike="noStrike" kern="1200" cap="none" spc="0" normalizeH="0" baseline="0" noProof="0" dirty="0">
              <a:ln>
                <a:noFill/>
              </a:ln>
              <a:solidFill>
                <a:srgbClr val="FFFFFF"/>
              </a:solidFill>
              <a:effectLst/>
              <a:uLnTx/>
              <a:uFillTx/>
              <a:latin typeface="HarmonyOS Sans SC"/>
              <a:cs typeface="+mn-cs"/>
            </a:endParaRPr>
          </a:p>
        </p:txBody>
      </p:sp>
      <p:sp>
        <p:nvSpPr>
          <p:cNvPr id="10" name="Oval 13">
            <a:extLst>
              <a:ext uri="{FF2B5EF4-FFF2-40B4-BE49-F238E27FC236}">
                <a16:creationId xmlns:a16="http://schemas.microsoft.com/office/drawing/2014/main" id="{F459CBFA-A30D-4C25-918F-93F1BFD06A64}"/>
              </a:ext>
            </a:extLst>
          </p:cNvPr>
          <p:cNvSpPr/>
          <p:nvPr/>
        </p:nvSpPr>
        <p:spPr>
          <a:xfrm>
            <a:off x="6098335" y="2215578"/>
            <a:ext cx="793996" cy="793996"/>
          </a:xfrm>
          <a:prstGeom prst="ellipse">
            <a:avLst/>
          </a:prstGeom>
          <a:solidFill>
            <a:schemeClr val="bg1"/>
          </a:solidFill>
          <a:ln w="25400">
            <a:gradFill flip="none" rotWithShape="1">
              <a:gsLst>
                <a:gs pos="0">
                  <a:schemeClr val="accent1">
                    <a:lumMod val="60000"/>
                    <a:lumOff val="40000"/>
                  </a:schemeClr>
                </a:gs>
                <a:gs pos="100000">
                  <a:schemeClr val="accent1"/>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8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0F0F0"/>
              </a:solidFill>
              <a:effectLst/>
              <a:uLnTx/>
              <a:uFillTx/>
              <a:latin typeface="HarmonyOS Sans SC"/>
              <a:cs typeface="+mn-cs"/>
            </a:endParaRPr>
          </a:p>
        </p:txBody>
      </p:sp>
      <p:sp>
        <p:nvSpPr>
          <p:cNvPr id="16" name="Rectangle 112">
            <a:extLst>
              <a:ext uri="{FF2B5EF4-FFF2-40B4-BE49-F238E27FC236}">
                <a16:creationId xmlns:a16="http://schemas.microsoft.com/office/drawing/2014/main" id="{58269C49-22F8-4EF0-947C-8D1D1E7D5D3C}"/>
              </a:ext>
            </a:extLst>
          </p:cNvPr>
          <p:cNvSpPr>
            <a:spLocks noChangeArrowheads="1"/>
          </p:cNvSpPr>
          <p:nvPr/>
        </p:nvSpPr>
        <p:spPr bwMode="auto">
          <a:xfrm>
            <a:off x="6470789" y="3267047"/>
            <a:ext cx="4197209" cy="781900"/>
          </a:xfrm>
          <a:prstGeom prst="rect">
            <a:avLst/>
          </a:prstGeom>
          <a:gradFill flip="none" rotWithShape="1">
            <a:gsLst>
              <a:gs pos="0">
                <a:schemeClr val="accent1">
                  <a:lumMod val="60000"/>
                  <a:lumOff val="40000"/>
                </a:schemeClr>
              </a:gs>
              <a:gs pos="100000">
                <a:schemeClr val="accent1"/>
              </a:gs>
            </a:gsLst>
            <a:lin ang="0" scaled="1"/>
            <a:tileRect/>
          </a:gradFill>
          <a:ln w="25400">
            <a:noFill/>
            <a:miter lim="800000"/>
          </a:ln>
        </p:spPr>
        <p:txBody>
          <a:bodyPr vert="horz" wrap="square" lIns="640080" tIns="45720" rIns="91440" bIns="45720" numCol="1" anchor="ctr" anchorCtr="0" compatLnSpc="1">
            <a:prstTxWarp prst="textNoShape">
              <a:avLst/>
            </a:prstTxWarp>
          </a:bodyPr>
          <a:lstStyle/>
          <a:p>
            <a:pPr marL="0" marR="0" lvl="0" indent="0" algn="l" defTabSz="914400" rtl="0" eaLnBrk="1" fontAlgn="auto" latinLnBrk="0" hangingPunct="1">
              <a:lnSpc>
                <a:spcPct val="120000"/>
              </a:lnSpc>
              <a:spcBef>
                <a:spcPts val="60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HarmonyOS Sans SC Black"/>
                <a:ea typeface="+mj-ea"/>
                <a:cs typeface="+mn-cs"/>
              </a:rPr>
              <a:t>Write title here</a:t>
            </a:r>
          </a:p>
          <a:p>
            <a:pPr marL="0" marR="0" lvl="0" indent="0" algn="l" defTabSz="914400" rtl="0" eaLnBrk="1" fontAlgn="auto" latinLnBrk="0" hangingPunct="1">
              <a:lnSpc>
                <a:spcPct val="120000"/>
              </a:lnSpc>
              <a:spcBef>
                <a:spcPts val="60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HarmonyOS Sans SC"/>
                <a:cs typeface="+mn-cs"/>
              </a:rPr>
              <a:t>A peep at some distant orb has power.</a:t>
            </a:r>
          </a:p>
        </p:txBody>
      </p:sp>
      <p:sp>
        <p:nvSpPr>
          <p:cNvPr id="17" name="Freeform 113">
            <a:extLst>
              <a:ext uri="{FF2B5EF4-FFF2-40B4-BE49-F238E27FC236}">
                <a16:creationId xmlns:a16="http://schemas.microsoft.com/office/drawing/2014/main" id="{FAAA4E60-62A9-4CC9-BBBE-60EC64F4D4D8}"/>
              </a:ext>
            </a:extLst>
          </p:cNvPr>
          <p:cNvSpPr>
            <a:spLocks/>
          </p:cNvSpPr>
          <p:nvPr/>
        </p:nvSpPr>
        <p:spPr bwMode="auto">
          <a:xfrm>
            <a:off x="10669773" y="3268281"/>
            <a:ext cx="1522227" cy="781900"/>
          </a:xfrm>
          <a:custGeom>
            <a:avLst/>
            <a:gdLst>
              <a:gd name="T0" fmla="*/ 0 w 152"/>
              <a:gd name="T1" fmla="*/ 116 h 116"/>
              <a:gd name="T2" fmla="*/ 152 w 152"/>
              <a:gd name="T3" fmla="*/ 101 h 116"/>
              <a:gd name="T4" fmla="*/ 152 w 152"/>
              <a:gd name="T5" fmla="*/ 15 h 116"/>
              <a:gd name="T6" fmla="*/ 0 w 152"/>
              <a:gd name="T7" fmla="*/ 0 h 116"/>
              <a:gd name="T8" fmla="*/ 0 w 152"/>
              <a:gd name="T9" fmla="*/ 116 h 116"/>
            </a:gdLst>
            <a:ahLst/>
            <a:cxnLst>
              <a:cxn ang="0">
                <a:pos x="T0" y="T1"/>
              </a:cxn>
              <a:cxn ang="0">
                <a:pos x="T2" y="T3"/>
              </a:cxn>
              <a:cxn ang="0">
                <a:pos x="T4" y="T5"/>
              </a:cxn>
              <a:cxn ang="0">
                <a:pos x="T6" y="T7"/>
              </a:cxn>
              <a:cxn ang="0">
                <a:pos x="T8" y="T9"/>
              </a:cxn>
            </a:cxnLst>
            <a:rect l="0" t="0" r="r" b="b"/>
            <a:pathLst>
              <a:path w="152" h="116">
                <a:moveTo>
                  <a:pt x="0" y="116"/>
                </a:moveTo>
                <a:cubicBezTo>
                  <a:pt x="51" y="111"/>
                  <a:pt x="101" y="106"/>
                  <a:pt x="152" y="101"/>
                </a:cubicBezTo>
                <a:cubicBezTo>
                  <a:pt x="152" y="72"/>
                  <a:pt x="152" y="44"/>
                  <a:pt x="152" y="15"/>
                </a:cubicBezTo>
                <a:cubicBezTo>
                  <a:pt x="101" y="10"/>
                  <a:pt x="51" y="5"/>
                  <a:pt x="0" y="0"/>
                </a:cubicBezTo>
                <a:cubicBezTo>
                  <a:pt x="0" y="39"/>
                  <a:pt x="0" y="77"/>
                  <a:pt x="0" y="116"/>
                </a:cubicBezTo>
                <a:close/>
              </a:path>
            </a:pathLst>
          </a:custGeom>
          <a:gradFill flip="none" rotWithShape="1">
            <a:gsLst>
              <a:gs pos="0">
                <a:schemeClr val="accent1">
                  <a:lumMod val="60000"/>
                  <a:lumOff val="40000"/>
                </a:schemeClr>
              </a:gs>
              <a:gs pos="100000">
                <a:schemeClr val="accent1"/>
              </a:gs>
            </a:gsLst>
            <a:lin ang="0" scaled="1"/>
            <a:tileRect/>
          </a:gradFill>
          <a:ln w="25400">
            <a:noFill/>
            <a:miter lim="800000"/>
          </a:ln>
        </p:spPr>
        <p:txBody>
          <a:bodyPr vert="horz" wrap="square" lIns="640080" tIns="45720" rIns="91440" bIns="45720" numCol="1" anchor="ctr" anchorCtr="0" compatLnSpc="1">
            <a:prstTxWarp prst="textNoShape">
              <a:avLst/>
            </a:prstTxWarp>
          </a:bodyPr>
          <a:lstStyle/>
          <a:p>
            <a:pPr marL="0" marR="0" lvl="0" indent="0" algn="l" defTabSz="914400" rtl="0" eaLnBrk="1" fontAlgn="auto" latinLnBrk="0" hangingPunct="1">
              <a:lnSpc>
                <a:spcPct val="120000"/>
              </a:lnSpc>
              <a:spcBef>
                <a:spcPts val="600"/>
              </a:spcBef>
              <a:spcAft>
                <a:spcPts val="0"/>
              </a:spcAft>
              <a:buClrTx/>
              <a:buSzTx/>
              <a:buFontTx/>
              <a:buNone/>
              <a:tabLst/>
              <a:defRPr/>
            </a:pPr>
            <a:endParaRPr kumimoji="0" lang="en-US" sz="1200" b="1" i="0" u="none" strike="noStrike" kern="1200" cap="none" spc="0" normalizeH="0" baseline="0" noProof="0" dirty="0">
              <a:ln>
                <a:noFill/>
              </a:ln>
              <a:solidFill>
                <a:srgbClr val="FFFFFF"/>
              </a:solidFill>
              <a:effectLst/>
              <a:uLnTx/>
              <a:uFillTx/>
              <a:latin typeface="HarmonyOS Sans SC"/>
              <a:cs typeface="+mn-cs"/>
            </a:endParaRPr>
          </a:p>
        </p:txBody>
      </p:sp>
      <p:sp>
        <p:nvSpPr>
          <p:cNvPr id="15" name="Oval 18">
            <a:extLst>
              <a:ext uri="{FF2B5EF4-FFF2-40B4-BE49-F238E27FC236}">
                <a16:creationId xmlns:a16="http://schemas.microsoft.com/office/drawing/2014/main" id="{FD7D44F8-6ABD-40B2-BC31-9AA95A058DFA}"/>
              </a:ext>
            </a:extLst>
          </p:cNvPr>
          <p:cNvSpPr/>
          <p:nvPr/>
        </p:nvSpPr>
        <p:spPr>
          <a:xfrm>
            <a:off x="6098335" y="3257994"/>
            <a:ext cx="793996" cy="793996"/>
          </a:xfrm>
          <a:prstGeom prst="ellipse">
            <a:avLst/>
          </a:prstGeom>
          <a:solidFill>
            <a:schemeClr val="bg1"/>
          </a:solidFill>
          <a:ln w="25400">
            <a:gradFill flip="none" rotWithShape="1">
              <a:gsLst>
                <a:gs pos="0">
                  <a:schemeClr val="accent1">
                    <a:lumMod val="60000"/>
                    <a:lumOff val="40000"/>
                  </a:schemeClr>
                </a:gs>
                <a:gs pos="100000">
                  <a:schemeClr val="accent1"/>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8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0F0F0"/>
              </a:solidFill>
              <a:effectLst/>
              <a:uLnTx/>
              <a:uFillTx/>
              <a:latin typeface="HarmonyOS Sans SC"/>
              <a:cs typeface="+mn-cs"/>
            </a:endParaRPr>
          </a:p>
        </p:txBody>
      </p:sp>
      <p:sp>
        <p:nvSpPr>
          <p:cNvPr id="21" name="Rectangle 117">
            <a:extLst>
              <a:ext uri="{FF2B5EF4-FFF2-40B4-BE49-F238E27FC236}">
                <a16:creationId xmlns:a16="http://schemas.microsoft.com/office/drawing/2014/main" id="{57098F5A-A590-4F0F-AC01-5D865B53667E}"/>
              </a:ext>
            </a:extLst>
          </p:cNvPr>
          <p:cNvSpPr>
            <a:spLocks noChangeArrowheads="1"/>
          </p:cNvSpPr>
          <p:nvPr/>
        </p:nvSpPr>
        <p:spPr bwMode="auto">
          <a:xfrm>
            <a:off x="6470789" y="4317282"/>
            <a:ext cx="4197209" cy="781900"/>
          </a:xfrm>
          <a:prstGeom prst="rect">
            <a:avLst/>
          </a:prstGeom>
          <a:gradFill flip="none" rotWithShape="1">
            <a:gsLst>
              <a:gs pos="0">
                <a:schemeClr val="accent1">
                  <a:lumMod val="60000"/>
                  <a:lumOff val="40000"/>
                </a:schemeClr>
              </a:gs>
              <a:gs pos="100000">
                <a:schemeClr val="accent1"/>
              </a:gs>
            </a:gsLst>
            <a:lin ang="0" scaled="1"/>
            <a:tileRect/>
          </a:gradFill>
          <a:ln w="25400">
            <a:noFill/>
            <a:miter lim="800000"/>
          </a:ln>
        </p:spPr>
        <p:txBody>
          <a:bodyPr vert="horz" wrap="square" lIns="640080" tIns="45720" rIns="91440" bIns="45720" numCol="1" anchor="ctr" anchorCtr="0" compatLnSpc="1">
            <a:prstTxWarp prst="textNoShape">
              <a:avLst/>
            </a:prstTxWarp>
          </a:bodyPr>
          <a:lstStyle/>
          <a:p>
            <a:pPr marL="0" marR="0" lvl="0" indent="0" algn="l" defTabSz="914400" rtl="0" eaLnBrk="1" fontAlgn="auto" latinLnBrk="0" hangingPunct="1">
              <a:lnSpc>
                <a:spcPct val="120000"/>
              </a:lnSpc>
              <a:spcBef>
                <a:spcPts val="60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HarmonyOS Sans SC Black"/>
                <a:ea typeface="+mj-ea"/>
                <a:cs typeface="+mn-cs"/>
              </a:rPr>
              <a:t>Write title here</a:t>
            </a:r>
          </a:p>
          <a:p>
            <a:pPr marL="0" marR="0" lvl="0" indent="0" algn="l" defTabSz="914400" rtl="0" eaLnBrk="1" fontAlgn="auto" latinLnBrk="0" hangingPunct="1">
              <a:lnSpc>
                <a:spcPct val="120000"/>
              </a:lnSpc>
              <a:spcBef>
                <a:spcPts val="60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HarmonyOS Sans SC"/>
                <a:cs typeface="+mn-cs"/>
              </a:rPr>
              <a:t>Some distant orb has power to raise and purify.</a:t>
            </a:r>
          </a:p>
        </p:txBody>
      </p:sp>
      <p:sp>
        <p:nvSpPr>
          <p:cNvPr id="22" name="Freeform 118">
            <a:extLst>
              <a:ext uri="{FF2B5EF4-FFF2-40B4-BE49-F238E27FC236}">
                <a16:creationId xmlns:a16="http://schemas.microsoft.com/office/drawing/2014/main" id="{FD6747D4-F533-4EA6-9FF6-748DFB6BD2E6}"/>
              </a:ext>
            </a:extLst>
          </p:cNvPr>
          <p:cNvSpPr>
            <a:spLocks/>
          </p:cNvSpPr>
          <p:nvPr/>
        </p:nvSpPr>
        <p:spPr bwMode="auto">
          <a:xfrm>
            <a:off x="10669773" y="4169431"/>
            <a:ext cx="1522227" cy="929751"/>
          </a:xfrm>
          <a:custGeom>
            <a:avLst/>
            <a:gdLst>
              <a:gd name="T0" fmla="*/ 0 w 152"/>
              <a:gd name="T1" fmla="*/ 138 h 138"/>
              <a:gd name="T2" fmla="*/ 152 w 152"/>
              <a:gd name="T3" fmla="*/ 86 h 138"/>
              <a:gd name="T4" fmla="*/ 152 w 152"/>
              <a:gd name="T5" fmla="*/ 0 h 138"/>
              <a:gd name="T6" fmla="*/ 0 w 152"/>
              <a:gd name="T7" fmla="*/ 22 h 138"/>
              <a:gd name="T8" fmla="*/ 0 w 152"/>
              <a:gd name="T9" fmla="*/ 138 h 138"/>
            </a:gdLst>
            <a:ahLst/>
            <a:cxnLst>
              <a:cxn ang="0">
                <a:pos x="T0" y="T1"/>
              </a:cxn>
              <a:cxn ang="0">
                <a:pos x="T2" y="T3"/>
              </a:cxn>
              <a:cxn ang="0">
                <a:pos x="T4" y="T5"/>
              </a:cxn>
              <a:cxn ang="0">
                <a:pos x="T6" y="T7"/>
              </a:cxn>
              <a:cxn ang="0">
                <a:pos x="T8" y="T9"/>
              </a:cxn>
            </a:cxnLst>
            <a:rect l="0" t="0" r="r" b="b"/>
            <a:pathLst>
              <a:path w="152" h="138">
                <a:moveTo>
                  <a:pt x="0" y="138"/>
                </a:moveTo>
                <a:cubicBezTo>
                  <a:pt x="51" y="121"/>
                  <a:pt x="101" y="103"/>
                  <a:pt x="152" y="86"/>
                </a:cubicBezTo>
                <a:cubicBezTo>
                  <a:pt x="152" y="57"/>
                  <a:pt x="152" y="29"/>
                  <a:pt x="152" y="0"/>
                </a:cubicBezTo>
                <a:cubicBezTo>
                  <a:pt x="101" y="8"/>
                  <a:pt x="51" y="15"/>
                  <a:pt x="0" y="22"/>
                </a:cubicBezTo>
                <a:cubicBezTo>
                  <a:pt x="0" y="61"/>
                  <a:pt x="0" y="99"/>
                  <a:pt x="0" y="138"/>
                </a:cubicBezTo>
                <a:close/>
              </a:path>
            </a:pathLst>
          </a:custGeom>
          <a:gradFill flip="none" rotWithShape="1">
            <a:gsLst>
              <a:gs pos="0">
                <a:schemeClr val="accent1">
                  <a:lumMod val="60000"/>
                  <a:lumOff val="40000"/>
                </a:schemeClr>
              </a:gs>
              <a:gs pos="100000">
                <a:schemeClr val="accent1"/>
              </a:gs>
            </a:gsLst>
            <a:lin ang="0" scaled="1"/>
            <a:tileRect/>
          </a:gradFill>
          <a:ln w="25400">
            <a:noFill/>
            <a:miter lim="800000"/>
          </a:ln>
        </p:spPr>
        <p:txBody>
          <a:bodyPr vert="horz" wrap="square" lIns="640080" tIns="45720" rIns="91440" bIns="45720" numCol="1" anchor="ctr" anchorCtr="0" compatLnSpc="1">
            <a:prstTxWarp prst="textNoShape">
              <a:avLst/>
            </a:prstTxWarp>
          </a:bodyPr>
          <a:lstStyle/>
          <a:p>
            <a:pPr marL="0" marR="0" lvl="0" indent="0" algn="l" defTabSz="914400" rtl="0" eaLnBrk="1" fontAlgn="auto" latinLnBrk="0" hangingPunct="1">
              <a:lnSpc>
                <a:spcPct val="120000"/>
              </a:lnSpc>
              <a:spcBef>
                <a:spcPts val="600"/>
              </a:spcBef>
              <a:spcAft>
                <a:spcPts val="0"/>
              </a:spcAft>
              <a:buClrTx/>
              <a:buSzTx/>
              <a:buFontTx/>
              <a:buNone/>
              <a:tabLst/>
              <a:defRPr/>
            </a:pPr>
            <a:endParaRPr kumimoji="0" lang="en-US" sz="1200" b="1" i="0" u="none" strike="noStrike" kern="1200" cap="none" spc="0" normalizeH="0" baseline="0" noProof="0" dirty="0">
              <a:ln>
                <a:noFill/>
              </a:ln>
              <a:solidFill>
                <a:srgbClr val="FFFFFF"/>
              </a:solidFill>
              <a:effectLst/>
              <a:uLnTx/>
              <a:uFillTx/>
              <a:latin typeface="HarmonyOS Sans SC"/>
              <a:cs typeface="+mn-cs"/>
            </a:endParaRPr>
          </a:p>
        </p:txBody>
      </p:sp>
      <p:sp>
        <p:nvSpPr>
          <p:cNvPr id="20" name="Oval 23">
            <a:extLst>
              <a:ext uri="{FF2B5EF4-FFF2-40B4-BE49-F238E27FC236}">
                <a16:creationId xmlns:a16="http://schemas.microsoft.com/office/drawing/2014/main" id="{F0BD8C80-0DEF-49E5-8B1E-DB23808800B6}"/>
              </a:ext>
            </a:extLst>
          </p:cNvPr>
          <p:cNvSpPr/>
          <p:nvPr/>
        </p:nvSpPr>
        <p:spPr>
          <a:xfrm>
            <a:off x="6098335" y="4311234"/>
            <a:ext cx="793996" cy="793996"/>
          </a:xfrm>
          <a:prstGeom prst="ellipse">
            <a:avLst/>
          </a:prstGeom>
          <a:solidFill>
            <a:schemeClr val="bg1"/>
          </a:solidFill>
          <a:ln w="25400">
            <a:gradFill flip="none" rotWithShape="1">
              <a:gsLst>
                <a:gs pos="0">
                  <a:schemeClr val="accent1">
                    <a:lumMod val="60000"/>
                    <a:lumOff val="40000"/>
                  </a:schemeClr>
                </a:gs>
                <a:gs pos="100000">
                  <a:schemeClr val="accent1"/>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8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0F0F0"/>
              </a:solidFill>
              <a:effectLst/>
              <a:uLnTx/>
              <a:uFillTx/>
              <a:latin typeface="HarmonyOS Sans SC"/>
              <a:cs typeface="+mn-cs"/>
            </a:endParaRPr>
          </a:p>
        </p:txBody>
      </p:sp>
      <p:sp>
        <p:nvSpPr>
          <p:cNvPr id="26" name="Rectangle 122">
            <a:extLst>
              <a:ext uri="{FF2B5EF4-FFF2-40B4-BE49-F238E27FC236}">
                <a16:creationId xmlns:a16="http://schemas.microsoft.com/office/drawing/2014/main" id="{7CE3CD9C-640F-487F-A9FE-294DCFE7A019}"/>
              </a:ext>
            </a:extLst>
          </p:cNvPr>
          <p:cNvSpPr>
            <a:spLocks noChangeArrowheads="1"/>
          </p:cNvSpPr>
          <p:nvPr/>
        </p:nvSpPr>
        <p:spPr bwMode="auto">
          <a:xfrm>
            <a:off x="6470789" y="5367516"/>
            <a:ext cx="4197209" cy="781900"/>
          </a:xfrm>
          <a:prstGeom prst="rect">
            <a:avLst/>
          </a:prstGeom>
          <a:gradFill flip="none" rotWithShape="1">
            <a:gsLst>
              <a:gs pos="0">
                <a:schemeClr val="accent1">
                  <a:lumMod val="60000"/>
                  <a:lumOff val="40000"/>
                </a:schemeClr>
              </a:gs>
              <a:gs pos="100000">
                <a:schemeClr val="accent1"/>
              </a:gs>
            </a:gsLst>
            <a:lin ang="0" scaled="1"/>
            <a:tileRect/>
          </a:gradFill>
          <a:ln w="25400">
            <a:noFill/>
            <a:miter lim="800000"/>
          </a:ln>
        </p:spPr>
        <p:txBody>
          <a:bodyPr vert="horz" wrap="square" lIns="640080" tIns="45720" rIns="91440" bIns="45720" numCol="1" anchor="ctr" anchorCtr="0" compatLnSpc="1">
            <a:prstTxWarp prst="textNoShape">
              <a:avLst/>
            </a:prstTxWarp>
          </a:bodyPr>
          <a:lstStyle/>
          <a:p>
            <a:pPr marL="0" marR="0" lvl="0" indent="0" algn="l" defTabSz="914400" rtl="0" eaLnBrk="1" fontAlgn="auto" latinLnBrk="0" hangingPunct="1">
              <a:lnSpc>
                <a:spcPct val="120000"/>
              </a:lnSpc>
              <a:spcBef>
                <a:spcPts val="60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HarmonyOS Sans SC Black"/>
                <a:ea typeface="+mj-ea"/>
                <a:cs typeface="+mn-cs"/>
              </a:rPr>
              <a:t>Write title here</a:t>
            </a:r>
          </a:p>
          <a:p>
            <a:pPr marL="0" marR="0" lvl="0" indent="0" algn="l" defTabSz="914400" rtl="0" eaLnBrk="1" fontAlgn="auto" latinLnBrk="0" hangingPunct="1">
              <a:lnSpc>
                <a:spcPct val="120000"/>
              </a:lnSpc>
              <a:spcBef>
                <a:spcPts val="60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HarmonyOS Sans SC"/>
                <a:cs typeface="+mn-cs"/>
              </a:rPr>
              <a:t>A peep at some distant orb has power to.</a:t>
            </a:r>
          </a:p>
        </p:txBody>
      </p:sp>
      <p:sp>
        <p:nvSpPr>
          <p:cNvPr id="27" name="Freeform 123">
            <a:extLst>
              <a:ext uri="{FF2B5EF4-FFF2-40B4-BE49-F238E27FC236}">
                <a16:creationId xmlns:a16="http://schemas.microsoft.com/office/drawing/2014/main" id="{F7A1F255-BF41-4CB3-B3F7-2F3B2C4CF340}"/>
              </a:ext>
            </a:extLst>
          </p:cNvPr>
          <p:cNvSpPr>
            <a:spLocks/>
          </p:cNvSpPr>
          <p:nvPr/>
        </p:nvSpPr>
        <p:spPr bwMode="auto">
          <a:xfrm>
            <a:off x="10669773" y="4969457"/>
            <a:ext cx="1522227" cy="1179959"/>
          </a:xfrm>
          <a:custGeom>
            <a:avLst/>
            <a:gdLst>
              <a:gd name="T0" fmla="*/ 0 w 152"/>
              <a:gd name="T1" fmla="*/ 175 h 175"/>
              <a:gd name="T2" fmla="*/ 152 w 152"/>
              <a:gd name="T3" fmla="*/ 86 h 175"/>
              <a:gd name="T4" fmla="*/ 152 w 152"/>
              <a:gd name="T5" fmla="*/ 0 h 175"/>
              <a:gd name="T6" fmla="*/ 0 w 152"/>
              <a:gd name="T7" fmla="*/ 59 h 175"/>
              <a:gd name="T8" fmla="*/ 0 w 152"/>
              <a:gd name="T9" fmla="*/ 175 h 175"/>
            </a:gdLst>
            <a:ahLst/>
            <a:cxnLst>
              <a:cxn ang="0">
                <a:pos x="T0" y="T1"/>
              </a:cxn>
              <a:cxn ang="0">
                <a:pos x="T2" y="T3"/>
              </a:cxn>
              <a:cxn ang="0">
                <a:pos x="T4" y="T5"/>
              </a:cxn>
              <a:cxn ang="0">
                <a:pos x="T6" y="T7"/>
              </a:cxn>
              <a:cxn ang="0">
                <a:pos x="T8" y="T9"/>
              </a:cxn>
            </a:cxnLst>
            <a:rect l="0" t="0" r="r" b="b"/>
            <a:pathLst>
              <a:path w="152" h="175">
                <a:moveTo>
                  <a:pt x="0" y="175"/>
                </a:moveTo>
                <a:cubicBezTo>
                  <a:pt x="51" y="145"/>
                  <a:pt x="101" y="116"/>
                  <a:pt x="152" y="86"/>
                </a:cubicBezTo>
                <a:cubicBezTo>
                  <a:pt x="152" y="57"/>
                  <a:pt x="152" y="29"/>
                  <a:pt x="152" y="0"/>
                </a:cubicBezTo>
                <a:cubicBezTo>
                  <a:pt x="101" y="20"/>
                  <a:pt x="51" y="40"/>
                  <a:pt x="0" y="59"/>
                </a:cubicBezTo>
                <a:cubicBezTo>
                  <a:pt x="0" y="98"/>
                  <a:pt x="0" y="136"/>
                  <a:pt x="0" y="175"/>
                </a:cubicBezTo>
                <a:close/>
              </a:path>
            </a:pathLst>
          </a:custGeom>
          <a:gradFill flip="none" rotWithShape="1">
            <a:gsLst>
              <a:gs pos="0">
                <a:schemeClr val="accent1">
                  <a:lumMod val="60000"/>
                  <a:lumOff val="40000"/>
                </a:schemeClr>
              </a:gs>
              <a:gs pos="100000">
                <a:schemeClr val="accent1"/>
              </a:gs>
            </a:gsLst>
            <a:lin ang="0" scaled="1"/>
            <a:tileRect/>
          </a:gradFill>
          <a:ln w="25400">
            <a:noFill/>
            <a:miter lim="800000"/>
          </a:ln>
        </p:spPr>
        <p:txBody>
          <a:bodyPr vert="horz" wrap="square" lIns="640080" tIns="45720" rIns="91440" bIns="45720" numCol="1" anchor="ctr" anchorCtr="0" compatLnSpc="1">
            <a:prstTxWarp prst="textNoShape">
              <a:avLst/>
            </a:prstTxWarp>
          </a:bodyPr>
          <a:lstStyle/>
          <a:p>
            <a:pPr marL="0" marR="0" lvl="0" indent="0" algn="l" defTabSz="914400" rtl="0" eaLnBrk="1" fontAlgn="auto" latinLnBrk="0" hangingPunct="1">
              <a:lnSpc>
                <a:spcPct val="120000"/>
              </a:lnSpc>
              <a:spcBef>
                <a:spcPts val="600"/>
              </a:spcBef>
              <a:spcAft>
                <a:spcPts val="0"/>
              </a:spcAft>
              <a:buClrTx/>
              <a:buSzTx/>
              <a:buFontTx/>
              <a:buNone/>
              <a:tabLst/>
              <a:defRPr/>
            </a:pPr>
            <a:endParaRPr kumimoji="0" lang="en-US" sz="1200" b="1" i="0" u="none" strike="noStrike" kern="1200" cap="none" spc="0" normalizeH="0" baseline="0" noProof="0" dirty="0">
              <a:ln>
                <a:noFill/>
              </a:ln>
              <a:solidFill>
                <a:srgbClr val="FFFFFF"/>
              </a:solidFill>
              <a:effectLst/>
              <a:uLnTx/>
              <a:uFillTx/>
              <a:latin typeface="HarmonyOS Sans SC"/>
              <a:cs typeface="+mn-cs"/>
            </a:endParaRPr>
          </a:p>
        </p:txBody>
      </p:sp>
      <p:sp>
        <p:nvSpPr>
          <p:cNvPr id="25" name="Oval 28">
            <a:extLst>
              <a:ext uri="{FF2B5EF4-FFF2-40B4-BE49-F238E27FC236}">
                <a16:creationId xmlns:a16="http://schemas.microsoft.com/office/drawing/2014/main" id="{4304E323-63A3-4AAD-9A36-587EEE4E8523}"/>
              </a:ext>
            </a:extLst>
          </p:cNvPr>
          <p:cNvSpPr/>
          <p:nvPr/>
        </p:nvSpPr>
        <p:spPr>
          <a:xfrm>
            <a:off x="6098335" y="5361580"/>
            <a:ext cx="793996" cy="793996"/>
          </a:xfrm>
          <a:prstGeom prst="ellipse">
            <a:avLst/>
          </a:prstGeom>
          <a:solidFill>
            <a:schemeClr val="bg1"/>
          </a:solidFill>
          <a:ln w="25400">
            <a:gradFill flip="none" rotWithShape="1">
              <a:gsLst>
                <a:gs pos="0">
                  <a:schemeClr val="accent1">
                    <a:lumMod val="60000"/>
                    <a:lumOff val="40000"/>
                  </a:schemeClr>
                </a:gs>
                <a:gs pos="100000">
                  <a:schemeClr val="accent1"/>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8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0F0F0"/>
              </a:solidFill>
              <a:effectLst/>
              <a:uLnTx/>
              <a:uFillTx/>
              <a:latin typeface="HarmonyOS Sans SC"/>
              <a:cs typeface="+mn-cs"/>
            </a:endParaRPr>
          </a:p>
        </p:txBody>
      </p:sp>
      <p:sp>
        <p:nvSpPr>
          <p:cNvPr id="28" name="Freeform 851">
            <a:extLst>
              <a:ext uri="{FF2B5EF4-FFF2-40B4-BE49-F238E27FC236}">
                <a16:creationId xmlns:a16="http://schemas.microsoft.com/office/drawing/2014/main" id="{EEFDA238-F7D7-46ED-9719-7D0DFD1B1E03}"/>
              </a:ext>
            </a:extLst>
          </p:cNvPr>
          <p:cNvSpPr>
            <a:spLocks noEditPoints="1"/>
          </p:cNvSpPr>
          <p:nvPr/>
        </p:nvSpPr>
        <p:spPr bwMode="auto">
          <a:xfrm>
            <a:off x="6327126" y="4505318"/>
            <a:ext cx="328539" cy="376247"/>
          </a:xfrm>
          <a:custGeom>
            <a:avLst/>
            <a:gdLst>
              <a:gd name="T0" fmla="*/ 119 w 141"/>
              <a:gd name="T1" fmla="*/ 84 h 160"/>
              <a:gd name="T2" fmla="*/ 95 w 141"/>
              <a:gd name="T3" fmla="*/ 20 h 160"/>
              <a:gd name="T4" fmla="*/ 84 w 141"/>
              <a:gd name="T5" fmla="*/ 15 h 160"/>
              <a:gd name="T6" fmla="*/ 55 w 141"/>
              <a:gd name="T7" fmla="*/ 15 h 160"/>
              <a:gd name="T8" fmla="*/ 46 w 141"/>
              <a:gd name="T9" fmla="*/ 20 h 160"/>
              <a:gd name="T10" fmla="*/ 20 w 141"/>
              <a:gd name="T11" fmla="*/ 84 h 160"/>
              <a:gd name="T12" fmla="*/ 0 w 141"/>
              <a:gd name="T13" fmla="*/ 135 h 160"/>
              <a:gd name="T14" fmla="*/ 30 w 141"/>
              <a:gd name="T15" fmla="*/ 141 h 160"/>
              <a:gd name="T16" fmla="*/ 70 w 141"/>
              <a:gd name="T17" fmla="*/ 160 h 160"/>
              <a:gd name="T18" fmla="*/ 111 w 141"/>
              <a:gd name="T19" fmla="*/ 141 h 160"/>
              <a:gd name="T20" fmla="*/ 140 w 141"/>
              <a:gd name="T21" fmla="*/ 135 h 160"/>
              <a:gd name="T22" fmla="*/ 61 w 141"/>
              <a:gd name="T23" fmla="*/ 15 h 160"/>
              <a:gd name="T24" fmla="*/ 79 w 141"/>
              <a:gd name="T25" fmla="*/ 15 h 160"/>
              <a:gd name="T26" fmla="*/ 61 w 141"/>
              <a:gd name="T27" fmla="*/ 15 h 160"/>
              <a:gd name="T28" fmla="*/ 52 w 141"/>
              <a:gd name="T29" fmla="*/ 145 h 160"/>
              <a:gd name="T30" fmla="*/ 89 w 141"/>
              <a:gd name="T31" fmla="*/ 145 h 160"/>
              <a:gd name="T32" fmla="*/ 110 w 141"/>
              <a:gd name="T33" fmla="*/ 136 h 160"/>
              <a:gd name="T34" fmla="*/ 94 w 141"/>
              <a:gd name="T35" fmla="*/ 138 h 160"/>
              <a:gd name="T36" fmla="*/ 88 w 141"/>
              <a:gd name="T37" fmla="*/ 139 h 160"/>
              <a:gd name="T38" fmla="*/ 81 w 141"/>
              <a:gd name="T39" fmla="*/ 139 h 160"/>
              <a:gd name="T40" fmla="*/ 76 w 141"/>
              <a:gd name="T41" fmla="*/ 140 h 160"/>
              <a:gd name="T42" fmla="*/ 64 w 141"/>
              <a:gd name="T43" fmla="*/ 140 h 160"/>
              <a:gd name="T44" fmla="*/ 58 w 141"/>
              <a:gd name="T45" fmla="*/ 139 h 160"/>
              <a:gd name="T46" fmla="*/ 53 w 141"/>
              <a:gd name="T47" fmla="*/ 139 h 160"/>
              <a:gd name="T48" fmla="*/ 47 w 141"/>
              <a:gd name="T49" fmla="*/ 138 h 160"/>
              <a:gd name="T50" fmla="*/ 9 w 141"/>
              <a:gd name="T51" fmla="*/ 132 h 160"/>
              <a:gd name="T52" fmla="*/ 26 w 141"/>
              <a:gd name="T53" fmla="*/ 58 h 160"/>
              <a:gd name="T54" fmla="*/ 59 w 141"/>
              <a:gd name="T55" fmla="*/ 22 h 160"/>
              <a:gd name="T56" fmla="*/ 81 w 141"/>
              <a:gd name="T57" fmla="*/ 21 h 160"/>
              <a:gd name="T58" fmla="*/ 92 w 141"/>
              <a:gd name="T59" fmla="*/ 25 h 160"/>
              <a:gd name="T60" fmla="*/ 114 w 141"/>
              <a:gd name="T61" fmla="*/ 84 h 160"/>
              <a:gd name="T62" fmla="*/ 110 w 141"/>
              <a:gd name="T63" fmla="*/ 136 h 160"/>
              <a:gd name="T64" fmla="*/ 86 w 141"/>
              <a:gd name="T65" fmla="*/ 38 h 160"/>
              <a:gd name="T66" fmla="*/ 41 w 141"/>
              <a:gd name="T67" fmla="*/ 58 h 160"/>
              <a:gd name="T68" fmla="*/ 38 w 141"/>
              <a:gd name="T69" fmla="*/ 61 h 160"/>
              <a:gd name="T70" fmla="*/ 52 w 141"/>
              <a:gd name="T71" fmla="*/ 33 h 160"/>
              <a:gd name="T72" fmla="*/ 90 w 141"/>
              <a:gd name="T73" fmla="*/ 37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41" h="160">
                <a:moveTo>
                  <a:pt x="140" y="132"/>
                </a:moveTo>
                <a:cubicBezTo>
                  <a:pt x="126" y="118"/>
                  <a:pt x="119" y="102"/>
                  <a:pt x="119" y="84"/>
                </a:cubicBezTo>
                <a:cubicBezTo>
                  <a:pt x="119" y="58"/>
                  <a:pt x="119" y="58"/>
                  <a:pt x="119" y="58"/>
                </a:cubicBezTo>
                <a:cubicBezTo>
                  <a:pt x="119" y="38"/>
                  <a:pt x="106" y="25"/>
                  <a:pt x="95" y="20"/>
                </a:cubicBezTo>
                <a:cubicBezTo>
                  <a:pt x="91" y="18"/>
                  <a:pt x="88" y="17"/>
                  <a:pt x="84" y="16"/>
                </a:cubicBezTo>
                <a:cubicBezTo>
                  <a:pt x="84" y="15"/>
                  <a:pt x="84" y="15"/>
                  <a:pt x="84" y="15"/>
                </a:cubicBezTo>
                <a:cubicBezTo>
                  <a:pt x="84" y="7"/>
                  <a:pt x="78" y="0"/>
                  <a:pt x="70" y="0"/>
                </a:cubicBezTo>
                <a:cubicBezTo>
                  <a:pt x="62" y="0"/>
                  <a:pt x="55" y="7"/>
                  <a:pt x="55" y="15"/>
                </a:cubicBezTo>
                <a:cubicBezTo>
                  <a:pt x="55" y="16"/>
                  <a:pt x="55" y="16"/>
                  <a:pt x="55" y="16"/>
                </a:cubicBezTo>
                <a:cubicBezTo>
                  <a:pt x="52" y="17"/>
                  <a:pt x="49" y="18"/>
                  <a:pt x="46" y="20"/>
                </a:cubicBezTo>
                <a:cubicBezTo>
                  <a:pt x="33" y="26"/>
                  <a:pt x="20" y="40"/>
                  <a:pt x="20" y="58"/>
                </a:cubicBezTo>
                <a:cubicBezTo>
                  <a:pt x="20" y="84"/>
                  <a:pt x="20" y="84"/>
                  <a:pt x="20" y="84"/>
                </a:cubicBezTo>
                <a:cubicBezTo>
                  <a:pt x="20" y="103"/>
                  <a:pt x="14" y="119"/>
                  <a:pt x="1" y="132"/>
                </a:cubicBezTo>
                <a:cubicBezTo>
                  <a:pt x="0" y="133"/>
                  <a:pt x="0" y="134"/>
                  <a:pt x="0" y="135"/>
                </a:cubicBezTo>
                <a:cubicBezTo>
                  <a:pt x="0" y="136"/>
                  <a:pt x="1" y="137"/>
                  <a:pt x="2" y="137"/>
                </a:cubicBezTo>
                <a:cubicBezTo>
                  <a:pt x="30" y="141"/>
                  <a:pt x="30" y="141"/>
                  <a:pt x="30" y="141"/>
                </a:cubicBezTo>
                <a:cubicBezTo>
                  <a:pt x="35" y="142"/>
                  <a:pt x="40" y="143"/>
                  <a:pt x="44" y="144"/>
                </a:cubicBezTo>
                <a:cubicBezTo>
                  <a:pt x="49" y="154"/>
                  <a:pt x="59" y="160"/>
                  <a:pt x="70" y="160"/>
                </a:cubicBezTo>
                <a:cubicBezTo>
                  <a:pt x="81" y="160"/>
                  <a:pt x="91" y="154"/>
                  <a:pt x="96" y="144"/>
                </a:cubicBezTo>
                <a:cubicBezTo>
                  <a:pt x="101" y="143"/>
                  <a:pt x="105" y="142"/>
                  <a:pt x="111" y="141"/>
                </a:cubicBezTo>
                <a:cubicBezTo>
                  <a:pt x="138" y="137"/>
                  <a:pt x="138" y="137"/>
                  <a:pt x="138" y="137"/>
                </a:cubicBezTo>
                <a:cubicBezTo>
                  <a:pt x="139" y="137"/>
                  <a:pt x="140" y="136"/>
                  <a:pt x="140" y="135"/>
                </a:cubicBezTo>
                <a:cubicBezTo>
                  <a:pt x="141" y="134"/>
                  <a:pt x="141" y="133"/>
                  <a:pt x="140" y="132"/>
                </a:cubicBezTo>
                <a:close/>
                <a:moveTo>
                  <a:pt x="61" y="15"/>
                </a:moveTo>
                <a:cubicBezTo>
                  <a:pt x="61" y="10"/>
                  <a:pt x="65" y="6"/>
                  <a:pt x="70" y="6"/>
                </a:cubicBezTo>
                <a:cubicBezTo>
                  <a:pt x="75" y="6"/>
                  <a:pt x="79" y="10"/>
                  <a:pt x="79" y="15"/>
                </a:cubicBezTo>
                <a:cubicBezTo>
                  <a:pt x="79" y="15"/>
                  <a:pt x="79" y="15"/>
                  <a:pt x="79" y="15"/>
                </a:cubicBezTo>
                <a:cubicBezTo>
                  <a:pt x="73" y="14"/>
                  <a:pt x="67" y="14"/>
                  <a:pt x="61" y="15"/>
                </a:cubicBezTo>
                <a:close/>
                <a:moveTo>
                  <a:pt x="70" y="154"/>
                </a:moveTo>
                <a:cubicBezTo>
                  <a:pt x="63" y="154"/>
                  <a:pt x="56" y="151"/>
                  <a:pt x="52" y="145"/>
                </a:cubicBezTo>
                <a:cubicBezTo>
                  <a:pt x="58" y="145"/>
                  <a:pt x="64" y="146"/>
                  <a:pt x="70" y="146"/>
                </a:cubicBezTo>
                <a:cubicBezTo>
                  <a:pt x="76" y="146"/>
                  <a:pt x="82" y="145"/>
                  <a:pt x="89" y="145"/>
                </a:cubicBezTo>
                <a:cubicBezTo>
                  <a:pt x="85" y="151"/>
                  <a:pt x="78" y="154"/>
                  <a:pt x="70" y="154"/>
                </a:cubicBezTo>
                <a:close/>
                <a:moveTo>
                  <a:pt x="110" y="136"/>
                </a:moveTo>
                <a:cubicBezTo>
                  <a:pt x="104" y="137"/>
                  <a:pt x="99" y="137"/>
                  <a:pt x="94" y="138"/>
                </a:cubicBezTo>
                <a:cubicBezTo>
                  <a:pt x="94" y="138"/>
                  <a:pt x="94" y="138"/>
                  <a:pt x="94" y="138"/>
                </a:cubicBezTo>
                <a:cubicBezTo>
                  <a:pt x="92" y="138"/>
                  <a:pt x="90" y="139"/>
                  <a:pt x="88" y="139"/>
                </a:cubicBezTo>
                <a:cubicBezTo>
                  <a:pt x="88" y="139"/>
                  <a:pt x="88" y="139"/>
                  <a:pt x="88" y="139"/>
                </a:cubicBezTo>
                <a:cubicBezTo>
                  <a:pt x="86" y="139"/>
                  <a:pt x="84" y="139"/>
                  <a:pt x="82" y="139"/>
                </a:cubicBezTo>
                <a:cubicBezTo>
                  <a:pt x="82" y="139"/>
                  <a:pt x="82" y="139"/>
                  <a:pt x="81" y="139"/>
                </a:cubicBezTo>
                <a:cubicBezTo>
                  <a:pt x="80" y="139"/>
                  <a:pt x="78" y="140"/>
                  <a:pt x="77" y="140"/>
                </a:cubicBezTo>
                <a:cubicBezTo>
                  <a:pt x="76" y="140"/>
                  <a:pt x="76" y="140"/>
                  <a:pt x="76" y="140"/>
                </a:cubicBezTo>
                <a:cubicBezTo>
                  <a:pt x="72" y="140"/>
                  <a:pt x="69" y="140"/>
                  <a:pt x="65" y="140"/>
                </a:cubicBezTo>
                <a:cubicBezTo>
                  <a:pt x="65" y="140"/>
                  <a:pt x="64" y="140"/>
                  <a:pt x="64" y="140"/>
                </a:cubicBezTo>
                <a:cubicBezTo>
                  <a:pt x="62" y="140"/>
                  <a:pt x="61" y="139"/>
                  <a:pt x="59" y="139"/>
                </a:cubicBezTo>
                <a:cubicBezTo>
                  <a:pt x="59" y="139"/>
                  <a:pt x="59" y="139"/>
                  <a:pt x="58" y="139"/>
                </a:cubicBezTo>
                <a:cubicBezTo>
                  <a:pt x="57" y="139"/>
                  <a:pt x="55" y="139"/>
                  <a:pt x="53" y="139"/>
                </a:cubicBezTo>
                <a:cubicBezTo>
                  <a:pt x="53" y="139"/>
                  <a:pt x="53" y="139"/>
                  <a:pt x="53" y="139"/>
                </a:cubicBezTo>
                <a:cubicBezTo>
                  <a:pt x="51" y="139"/>
                  <a:pt x="49" y="138"/>
                  <a:pt x="47" y="138"/>
                </a:cubicBezTo>
                <a:cubicBezTo>
                  <a:pt x="47" y="138"/>
                  <a:pt x="47" y="138"/>
                  <a:pt x="47" y="138"/>
                </a:cubicBezTo>
                <a:cubicBezTo>
                  <a:pt x="42" y="137"/>
                  <a:pt x="37" y="137"/>
                  <a:pt x="31" y="136"/>
                </a:cubicBezTo>
                <a:cubicBezTo>
                  <a:pt x="9" y="132"/>
                  <a:pt x="9" y="132"/>
                  <a:pt x="9" y="132"/>
                </a:cubicBezTo>
                <a:cubicBezTo>
                  <a:pt x="20" y="119"/>
                  <a:pt x="26" y="103"/>
                  <a:pt x="26" y="84"/>
                </a:cubicBezTo>
                <a:cubicBezTo>
                  <a:pt x="26" y="58"/>
                  <a:pt x="26" y="58"/>
                  <a:pt x="26" y="58"/>
                </a:cubicBezTo>
                <a:cubicBezTo>
                  <a:pt x="26" y="42"/>
                  <a:pt x="37" y="30"/>
                  <a:pt x="49" y="25"/>
                </a:cubicBezTo>
                <a:cubicBezTo>
                  <a:pt x="52" y="24"/>
                  <a:pt x="55" y="22"/>
                  <a:pt x="59" y="22"/>
                </a:cubicBezTo>
                <a:cubicBezTo>
                  <a:pt x="59" y="22"/>
                  <a:pt x="59" y="22"/>
                  <a:pt x="59" y="22"/>
                </a:cubicBezTo>
                <a:cubicBezTo>
                  <a:pt x="66" y="20"/>
                  <a:pt x="74" y="20"/>
                  <a:pt x="81" y="21"/>
                </a:cubicBezTo>
                <a:cubicBezTo>
                  <a:pt x="81" y="21"/>
                  <a:pt x="81" y="21"/>
                  <a:pt x="81" y="21"/>
                </a:cubicBezTo>
                <a:cubicBezTo>
                  <a:pt x="85" y="22"/>
                  <a:pt x="89" y="23"/>
                  <a:pt x="92" y="25"/>
                </a:cubicBezTo>
                <a:cubicBezTo>
                  <a:pt x="103" y="30"/>
                  <a:pt x="114" y="42"/>
                  <a:pt x="114" y="58"/>
                </a:cubicBezTo>
                <a:cubicBezTo>
                  <a:pt x="114" y="84"/>
                  <a:pt x="114" y="84"/>
                  <a:pt x="114" y="84"/>
                </a:cubicBezTo>
                <a:cubicBezTo>
                  <a:pt x="114" y="102"/>
                  <a:pt x="120" y="118"/>
                  <a:pt x="132" y="132"/>
                </a:cubicBezTo>
                <a:lnTo>
                  <a:pt x="110" y="136"/>
                </a:lnTo>
                <a:close/>
                <a:moveTo>
                  <a:pt x="90" y="37"/>
                </a:moveTo>
                <a:cubicBezTo>
                  <a:pt x="89" y="38"/>
                  <a:pt x="88" y="39"/>
                  <a:pt x="86" y="38"/>
                </a:cubicBezTo>
                <a:cubicBezTo>
                  <a:pt x="76" y="34"/>
                  <a:pt x="64" y="34"/>
                  <a:pt x="55" y="38"/>
                </a:cubicBezTo>
                <a:cubicBezTo>
                  <a:pt x="50" y="41"/>
                  <a:pt x="41" y="48"/>
                  <a:pt x="41" y="58"/>
                </a:cubicBezTo>
                <a:cubicBezTo>
                  <a:pt x="41" y="60"/>
                  <a:pt x="39" y="61"/>
                  <a:pt x="38" y="61"/>
                </a:cubicBezTo>
                <a:cubicBezTo>
                  <a:pt x="38" y="61"/>
                  <a:pt x="38" y="61"/>
                  <a:pt x="38" y="61"/>
                </a:cubicBezTo>
                <a:cubicBezTo>
                  <a:pt x="36" y="61"/>
                  <a:pt x="35" y="60"/>
                  <a:pt x="35" y="58"/>
                </a:cubicBezTo>
                <a:cubicBezTo>
                  <a:pt x="35" y="45"/>
                  <a:pt x="46" y="36"/>
                  <a:pt x="52" y="33"/>
                </a:cubicBezTo>
                <a:cubicBezTo>
                  <a:pt x="63" y="28"/>
                  <a:pt x="77" y="28"/>
                  <a:pt x="88" y="33"/>
                </a:cubicBezTo>
                <a:cubicBezTo>
                  <a:pt x="90" y="34"/>
                  <a:pt x="91" y="35"/>
                  <a:pt x="90" y="37"/>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CE0CE"/>
              </a:solidFill>
              <a:effectLst/>
              <a:uLnTx/>
              <a:uFillTx/>
              <a:latin typeface="HarmonyOS Sans SC"/>
              <a:cs typeface="+mn-cs"/>
            </a:endParaRPr>
          </a:p>
        </p:txBody>
      </p:sp>
      <p:sp>
        <p:nvSpPr>
          <p:cNvPr id="29" name="Freeform 1050">
            <a:extLst>
              <a:ext uri="{FF2B5EF4-FFF2-40B4-BE49-F238E27FC236}">
                <a16:creationId xmlns:a16="http://schemas.microsoft.com/office/drawing/2014/main" id="{CEA5BCD6-F883-4F40-A59D-BC0939A67415}"/>
              </a:ext>
            </a:extLst>
          </p:cNvPr>
          <p:cNvSpPr>
            <a:spLocks noEditPoints="1"/>
          </p:cNvSpPr>
          <p:nvPr/>
        </p:nvSpPr>
        <p:spPr bwMode="auto">
          <a:xfrm>
            <a:off x="6308836" y="1387733"/>
            <a:ext cx="372995" cy="338296"/>
          </a:xfrm>
          <a:custGeom>
            <a:avLst/>
            <a:gdLst>
              <a:gd name="T0" fmla="*/ 115 w 160"/>
              <a:gd name="T1" fmla="*/ 0 h 144"/>
              <a:gd name="T2" fmla="*/ 89 w 160"/>
              <a:gd name="T3" fmla="*/ 37 h 144"/>
              <a:gd name="T4" fmla="*/ 63 w 160"/>
              <a:gd name="T5" fmla="*/ 7 h 144"/>
              <a:gd name="T6" fmla="*/ 4 w 160"/>
              <a:gd name="T7" fmla="*/ 91 h 144"/>
              <a:gd name="T8" fmla="*/ 71 w 160"/>
              <a:gd name="T9" fmla="*/ 110 h 144"/>
              <a:gd name="T10" fmla="*/ 71 w 160"/>
              <a:gd name="T11" fmla="*/ 82 h 144"/>
              <a:gd name="T12" fmla="*/ 89 w 160"/>
              <a:gd name="T13" fmla="*/ 110 h 144"/>
              <a:gd name="T14" fmla="*/ 160 w 160"/>
              <a:gd name="T15" fmla="*/ 109 h 144"/>
              <a:gd name="T16" fmla="*/ 6 w 160"/>
              <a:gd name="T17" fmla="*/ 109 h 144"/>
              <a:gd name="T18" fmla="*/ 12 w 160"/>
              <a:gd name="T19" fmla="*/ 90 h 144"/>
              <a:gd name="T20" fmla="*/ 20 w 160"/>
              <a:gd name="T21" fmla="*/ 83 h 144"/>
              <a:gd name="T22" fmla="*/ 28 w 160"/>
              <a:gd name="T23" fmla="*/ 80 h 144"/>
              <a:gd name="T24" fmla="*/ 36 w 160"/>
              <a:gd name="T25" fmla="*/ 79 h 144"/>
              <a:gd name="T26" fmla="*/ 65 w 160"/>
              <a:gd name="T27" fmla="*/ 110 h 144"/>
              <a:gd name="T28" fmla="*/ 63 w 160"/>
              <a:gd name="T29" fmla="*/ 86 h 144"/>
              <a:gd name="T30" fmla="*/ 59 w 160"/>
              <a:gd name="T31" fmla="*/ 82 h 144"/>
              <a:gd name="T32" fmla="*/ 53 w 160"/>
              <a:gd name="T33" fmla="*/ 78 h 144"/>
              <a:gd name="T34" fmla="*/ 48 w 160"/>
              <a:gd name="T35" fmla="*/ 75 h 144"/>
              <a:gd name="T36" fmla="*/ 41 w 160"/>
              <a:gd name="T37" fmla="*/ 73 h 144"/>
              <a:gd name="T38" fmla="*/ 32 w 160"/>
              <a:gd name="T39" fmla="*/ 73 h 144"/>
              <a:gd name="T40" fmla="*/ 27 w 160"/>
              <a:gd name="T41" fmla="*/ 74 h 144"/>
              <a:gd name="T42" fmla="*/ 23 w 160"/>
              <a:gd name="T43" fmla="*/ 75 h 144"/>
              <a:gd name="T44" fmla="*/ 18 w 160"/>
              <a:gd name="T45" fmla="*/ 78 h 144"/>
              <a:gd name="T46" fmla="*/ 15 w 160"/>
              <a:gd name="T47" fmla="*/ 80 h 144"/>
              <a:gd name="T48" fmla="*/ 45 w 160"/>
              <a:gd name="T49" fmla="*/ 6 h 144"/>
              <a:gd name="T50" fmla="*/ 65 w 160"/>
              <a:gd name="T51" fmla="*/ 40 h 144"/>
              <a:gd name="T52" fmla="*/ 65 w 160"/>
              <a:gd name="T53" fmla="*/ 89 h 144"/>
              <a:gd name="T54" fmla="*/ 71 w 160"/>
              <a:gd name="T55" fmla="*/ 43 h 144"/>
              <a:gd name="T56" fmla="*/ 71 w 160"/>
              <a:gd name="T57" fmla="*/ 76 h 144"/>
              <a:gd name="T58" fmla="*/ 95 w 160"/>
              <a:gd name="T59" fmla="*/ 40 h 144"/>
              <a:gd name="T60" fmla="*/ 114 w 160"/>
              <a:gd name="T61" fmla="*/ 6 h 144"/>
              <a:gd name="T62" fmla="*/ 147 w 160"/>
              <a:gd name="T63" fmla="*/ 81 h 144"/>
              <a:gd name="T64" fmla="*/ 140 w 160"/>
              <a:gd name="T65" fmla="*/ 77 h 144"/>
              <a:gd name="T66" fmla="*/ 136 w 160"/>
              <a:gd name="T67" fmla="*/ 75 h 144"/>
              <a:gd name="T68" fmla="*/ 131 w 160"/>
              <a:gd name="T69" fmla="*/ 74 h 144"/>
              <a:gd name="T70" fmla="*/ 124 w 160"/>
              <a:gd name="T71" fmla="*/ 73 h 144"/>
              <a:gd name="T72" fmla="*/ 116 w 160"/>
              <a:gd name="T73" fmla="*/ 74 h 144"/>
              <a:gd name="T74" fmla="*/ 111 w 160"/>
              <a:gd name="T75" fmla="*/ 76 h 144"/>
              <a:gd name="T76" fmla="*/ 104 w 160"/>
              <a:gd name="T77" fmla="*/ 79 h 144"/>
              <a:gd name="T78" fmla="*/ 100 w 160"/>
              <a:gd name="T79" fmla="*/ 83 h 144"/>
              <a:gd name="T80" fmla="*/ 95 w 160"/>
              <a:gd name="T81" fmla="*/ 89 h 144"/>
              <a:gd name="T82" fmla="*/ 95 w 160"/>
              <a:gd name="T83" fmla="*/ 110 h 144"/>
              <a:gd name="T84" fmla="*/ 95 w 160"/>
              <a:gd name="T85" fmla="*/ 109 h 144"/>
              <a:gd name="T86" fmla="*/ 129 w 160"/>
              <a:gd name="T87" fmla="*/ 79 h 144"/>
              <a:gd name="T88" fmla="*/ 139 w 160"/>
              <a:gd name="T89" fmla="*/ 83 h 144"/>
              <a:gd name="T90" fmla="*/ 143 w 160"/>
              <a:gd name="T91" fmla="*/ 85 h 144"/>
              <a:gd name="T92" fmla="*/ 150 w 160"/>
              <a:gd name="T93" fmla="*/ 9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60" h="144">
                <a:moveTo>
                  <a:pt x="156" y="91"/>
                </a:moveTo>
                <a:cubicBezTo>
                  <a:pt x="138" y="20"/>
                  <a:pt x="138" y="20"/>
                  <a:pt x="138" y="20"/>
                </a:cubicBezTo>
                <a:cubicBezTo>
                  <a:pt x="135" y="9"/>
                  <a:pt x="126" y="1"/>
                  <a:pt x="115" y="0"/>
                </a:cubicBezTo>
                <a:cubicBezTo>
                  <a:pt x="108" y="0"/>
                  <a:pt x="102" y="2"/>
                  <a:pt x="97" y="7"/>
                </a:cubicBezTo>
                <a:cubicBezTo>
                  <a:pt x="92" y="12"/>
                  <a:pt x="89" y="18"/>
                  <a:pt x="89" y="25"/>
                </a:cubicBezTo>
                <a:cubicBezTo>
                  <a:pt x="89" y="37"/>
                  <a:pt x="89" y="37"/>
                  <a:pt x="89" y="37"/>
                </a:cubicBezTo>
                <a:cubicBezTo>
                  <a:pt x="71" y="37"/>
                  <a:pt x="71" y="37"/>
                  <a:pt x="71" y="37"/>
                </a:cubicBezTo>
                <a:cubicBezTo>
                  <a:pt x="71" y="25"/>
                  <a:pt x="71" y="25"/>
                  <a:pt x="71" y="25"/>
                </a:cubicBezTo>
                <a:cubicBezTo>
                  <a:pt x="71" y="18"/>
                  <a:pt x="68" y="12"/>
                  <a:pt x="63" y="7"/>
                </a:cubicBezTo>
                <a:cubicBezTo>
                  <a:pt x="58" y="2"/>
                  <a:pt x="52" y="0"/>
                  <a:pt x="45" y="0"/>
                </a:cubicBezTo>
                <a:cubicBezTo>
                  <a:pt x="34" y="1"/>
                  <a:pt x="25" y="9"/>
                  <a:pt x="22" y="20"/>
                </a:cubicBezTo>
                <a:cubicBezTo>
                  <a:pt x="4" y="91"/>
                  <a:pt x="4" y="91"/>
                  <a:pt x="4" y="91"/>
                </a:cubicBezTo>
                <a:cubicBezTo>
                  <a:pt x="2" y="97"/>
                  <a:pt x="0" y="102"/>
                  <a:pt x="0" y="109"/>
                </a:cubicBezTo>
                <a:cubicBezTo>
                  <a:pt x="0" y="128"/>
                  <a:pt x="16" y="144"/>
                  <a:pt x="36" y="144"/>
                </a:cubicBezTo>
                <a:cubicBezTo>
                  <a:pt x="55" y="144"/>
                  <a:pt x="70" y="129"/>
                  <a:pt x="71" y="110"/>
                </a:cubicBezTo>
                <a:cubicBezTo>
                  <a:pt x="71" y="110"/>
                  <a:pt x="71" y="110"/>
                  <a:pt x="71" y="110"/>
                </a:cubicBezTo>
                <a:cubicBezTo>
                  <a:pt x="71" y="109"/>
                  <a:pt x="71" y="109"/>
                  <a:pt x="71" y="109"/>
                </a:cubicBezTo>
                <a:cubicBezTo>
                  <a:pt x="71" y="82"/>
                  <a:pt x="71" y="82"/>
                  <a:pt x="71" y="82"/>
                </a:cubicBezTo>
                <a:cubicBezTo>
                  <a:pt x="89" y="82"/>
                  <a:pt x="89" y="82"/>
                  <a:pt x="89" y="82"/>
                </a:cubicBezTo>
                <a:cubicBezTo>
                  <a:pt x="89" y="109"/>
                  <a:pt x="89" y="109"/>
                  <a:pt x="89" y="109"/>
                </a:cubicBezTo>
                <a:cubicBezTo>
                  <a:pt x="89" y="110"/>
                  <a:pt x="89" y="110"/>
                  <a:pt x="89" y="110"/>
                </a:cubicBezTo>
                <a:cubicBezTo>
                  <a:pt x="89" y="110"/>
                  <a:pt x="89" y="110"/>
                  <a:pt x="89" y="110"/>
                </a:cubicBezTo>
                <a:cubicBezTo>
                  <a:pt x="90" y="129"/>
                  <a:pt x="105" y="144"/>
                  <a:pt x="124" y="144"/>
                </a:cubicBezTo>
                <a:cubicBezTo>
                  <a:pt x="144" y="144"/>
                  <a:pt x="160" y="128"/>
                  <a:pt x="160" y="109"/>
                </a:cubicBezTo>
                <a:cubicBezTo>
                  <a:pt x="160" y="102"/>
                  <a:pt x="158" y="97"/>
                  <a:pt x="156" y="91"/>
                </a:cubicBezTo>
                <a:close/>
                <a:moveTo>
                  <a:pt x="36" y="138"/>
                </a:moveTo>
                <a:cubicBezTo>
                  <a:pt x="19" y="138"/>
                  <a:pt x="6" y="125"/>
                  <a:pt x="6" y="109"/>
                </a:cubicBezTo>
                <a:cubicBezTo>
                  <a:pt x="6" y="103"/>
                  <a:pt x="7" y="98"/>
                  <a:pt x="10" y="94"/>
                </a:cubicBezTo>
                <a:cubicBezTo>
                  <a:pt x="10" y="93"/>
                  <a:pt x="11" y="92"/>
                  <a:pt x="12" y="91"/>
                </a:cubicBezTo>
                <a:cubicBezTo>
                  <a:pt x="12" y="91"/>
                  <a:pt x="12" y="91"/>
                  <a:pt x="12" y="90"/>
                </a:cubicBezTo>
                <a:cubicBezTo>
                  <a:pt x="14" y="89"/>
                  <a:pt x="15" y="87"/>
                  <a:pt x="17" y="85"/>
                </a:cubicBezTo>
                <a:cubicBezTo>
                  <a:pt x="17" y="85"/>
                  <a:pt x="18" y="85"/>
                  <a:pt x="18" y="85"/>
                </a:cubicBezTo>
                <a:cubicBezTo>
                  <a:pt x="19" y="84"/>
                  <a:pt x="19" y="84"/>
                  <a:pt x="20" y="83"/>
                </a:cubicBezTo>
                <a:cubicBezTo>
                  <a:pt x="21" y="83"/>
                  <a:pt x="21" y="83"/>
                  <a:pt x="21" y="83"/>
                </a:cubicBezTo>
                <a:cubicBezTo>
                  <a:pt x="23" y="82"/>
                  <a:pt x="25" y="81"/>
                  <a:pt x="28" y="80"/>
                </a:cubicBezTo>
                <a:cubicBezTo>
                  <a:pt x="28" y="80"/>
                  <a:pt x="28" y="80"/>
                  <a:pt x="28" y="80"/>
                </a:cubicBezTo>
                <a:cubicBezTo>
                  <a:pt x="29" y="80"/>
                  <a:pt x="30" y="79"/>
                  <a:pt x="31" y="79"/>
                </a:cubicBezTo>
                <a:cubicBezTo>
                  <a:pt x="31" y="79"/>
                  <a:pt x="32" y="79"/>
                  <a:pt x="32" y="79"/>
                </a:cubicBezTo>
                <a:cubicBezTo>
                  <a:pt x="33" y="79"/>
                  <a:pt x="34" y="79"/>
                  <a:pt x="36" y="79"/>
                </a:cubicBezTo>
                <a:cubicBezTo>
                  <a:pt x="52" y="79"/>
                  <a:pt x="65" y="92"/>
                  <a:pt x="65" y="109"/>
                </a:cubicBezTo>
                <a:cubicBezTo>
                  <a:pt x="65" y="109"/>
                  <a:pt x="65" y="109"/>
                  <a:pt x="65" y="109"/>
                </a:cubicBezTo>
                <a:cubicBezTo>
                  <a:pt x="65" y="110"/>
                  <a:pt x="65" y="110"/>
                  <a:pt x="65" y="110"/>
                </a:cubicBezTo>
                <a:cubicBezTo>
                  <a:pt x="65" y="110"/>
                  <a:pt x="65" y="110"/>
                  <a:pt x="65" y="110"/>
                </a:cubicBezTo>
                <a:cubicBezTo>
                  <a:pt x="64" y="126"/>
                  <a:pt x="51" y="138"/>
                  <a:pt x="36" y="138"/>
                </a:cubicBezTo>
                <a:close/>
                <a:moveTo>
                  <a:pt x="63" y="86"/>
                </a:moveTo>
                <a:cubicBezTo>
                  <a:pt x="63" y="85"/>
                  <a:pt x="62" y="85"/>
                  <a:pt x="62" y="85"/>
                </a:cubicBezTo>
                <a:cubicBezTo>
                  <a:pt x="61" y="84"/>
                  <a:pt x="61" y="83"/>
                  <a:pt x="60" y="83"/>
                </a:cubicBezTo>
                <a:cubicBezTo>
                  <a:pt x="60" y="83"/>
                  <a:pt x="59" y="82"/>
                  <a:pt x="59" y="82"/>
                </a:cubicBezTo>
                <a:cubicBezTo>
                  <a:pt x="58" y="81"/>
                  <a:pt x="58" y="81"/>
                  <a:pt x="57" y="80"/>
                </a:cubicBezTo>
                <a:cubicBezTo>
                  <a:pt x="57" y="80"/>
                  <a:pt x="56" y="80"/>
                  <a:pt x="56" y="79"/>
                </a:cubicBezTo>
                <a:cubicBezTo>
                  <a:pt x="55" y="79"/>
                  <a:pt x="54" y="78"/>
                  <a:pt x="53" y="78"/>
                </a:cubicBezTo>
                <a:cubicBezTo>
                  <a:pt x="53" y="78"/>
                  <a:pt x="53" y="77"/>
                  <a:pt x="53" y="77"/>
                </a:cubicBezTo>
                <a:cubicBezTo>
                  <a:pt x="51" y="77"/>
                  <a:pt x="50" y="76"/>
                  <a:pt x="49" y="76"/>
                </a:cubicBezTo>
                <a:cubicBezTo>
                  <a:pt x="49" y="76"/>
                  <a:pt x="48" y="75"/>
                  <a:pt x="48" y="75"/>
                </a:cubicBezTo>
                <a:cubicBezTo>
                  <a:pt x="47" y="75"/>
                  <a:pt x="46" y="75"/>
                  <a:pt x="45" y="74"/>
                </a:cubicBezTo>
                <a:cubicBezTo>
                  <a:pt x="45" y="74"/>
                  <a:pt x="44" y="74"/>
                  <a:pt x="44" y="74"/>
                </a:cubicBezTo>
                <a:cubicBezTo>
                  <a:pt x="43" y="74"/>
                  <a:pt x="42" y="74"/>
                  <a:pt x="41" y="73"/>
                </a:cubicBezTo>
                <a:cubicBezTo>
                  <a:pt x="41" y="73"/>
                  <a:pt x="40" y="73"/>
                  <a:pt x="40" y="73"/>
                </a:cubicBezTo>
                <a:cubicBezTo>
                  <a:pt x="38" y="73"/>
                  <a:pt x="37" y="73"/>
                  <a:pt x="36" y="73"/>
                </a:cubicBezTo>
                <a:cubicBezTo>
                  <a:pt x="34" y="73"/>
                  <a:pt x="33" y="73"/>
                  <a:pt x="32" y="73"/>
                </a:cubicBezTo>
                <a:cubicBezTo>
                  <a:pt x="32" y="73"/>
                  <a:pt x="31" y="73"/>
                  <a:pt x="31" y="73"/>
                </a:cubicBezTo>
                <a:cubicBezTo>
                  <a:pt x="30" y="73"/>
                  <a:pt x="30" y="74"/>
                  <a:pt x="29" y="74"/>
                </a:cubicBezTo>
                <a:cubicBezTo>
                  <a:pt x="28" y="74"/>
                  <a:pt x="28" y="74"/>
                  <a:pt x="27" y="74"/>
                </a:cubicBezTo>
                <a:cubicBezTo>
                  <a:pt x="27" y="74"/>
                  <a:pt x="26" y="74"/>
                  <a:pt x="26" y="74"/>
                </a:cubicBezTo>
                <a:cubicBezTo>
                  <a:pt x="25" y="75"/>
                  <a:pt x="25" y="75"/>
                  <a:pt x="24" y="75"/>
                </a:cubicBezTo>
                <a:cubicBezTo>
                  <a:pt x="24" y="75"/>
                  <a:pt x="23" y="75"/>
                  <a:pt x="23" y="75"/>
                </a:cubicBezTo>
                <a:cubicBezTo>
                  <a:pt x="22" y="76"/>
                  <a:pt x="22" y="76"/>
                  <a:pt x="21" y="76"/>
                </a:cubicBezTo>
                <a:cubicBezTo>
                  <a:pt x="21" y="76"/>
                  <a:pt x="20" y="76"/>
                  <a:pt x="20" y="77"/>
                </a:cubicBezTo>
                <a:cubicBezTo>
                  <a:pt x="19" y="77"/>
                  <a:pt x="19" y="77"/>
                  <a:pt x="18" y="78"/>
                </a:cubicBezTo>
                <a:cubicBezTo>
                  <a:pt x="18" y="78"/>
                  <a:pt x="18" y="78"/>
                  <a:pt x="17" y="78"/>
                </a:cubicBezTo>
                <a:cubicBezTo>
                  <a:pt x="17" y="79"/>
                  <a:pt x="16" y="79"/>
                  <a:pt x="15" y="79"/>
                </a:cubicBezTo>
                <a:cubicBezTo>
                  <a:pt x="15" y="79"/>
                  <a:pt x="15" y="79"/>
                  <a:pt x="15" y="80"/>
                </a:cubicBezTo>
                <a:cubicBezTo>
                  <a:pt x="14" y="80"/>
                  <a:pt x="14" y="81"/>
                  <a:pt x="13" y="81"/>
                </a:cubicBezTo>
                <a:cubicBezTo>
                  <a:pt x="28" y="21"/>
                  <a:pt x="28" y="21"/>
                  <a:pt x="28" y="21"/>
                </a:cubicBezTo>
                <a:cubicBezTo>
                  <a:pt x="30" y="13"/>
                  <a:pt x="37" y="6"/>
                  <a:pt x="45" y="6"/>
                </a:cubicBezTo>
                <a:cubicBezTo>
                  <a:pt x="51" y="6"/>
                  <a:pt x="56" y="8"/>
                  <a:pt x="59" y="11"/>
                </a:cubicBezTo>
                <a:cubicBezTo>
                  <a:pt x="63" y="15"/>
                  <a:pt x="65" y="20"/>
                  <a:pt x="65" y="25"/>
                </a:cubicBezTo>
                <a:cubicBezTo>
                  <a:pt x="65" y="40"/>
                  <a:pt x="65" y="40"/>
                  <a:pt x="65" y="40"/>
                </a:cubicBezTo>
                <a:cubicBezTo>
                  <a:pt x="65" y="79"/>
                  <a:pt x="65" y="79"/>
                  <a:pt x="65" y="79"/>
                </a:cubicBezTo>
                <a:cubicBezTo>
                  <a:pt x="65" y="89"/>
                  <a:pt x="65" y="89"/>
                  <a:pt x="65" y="89"/>
                </a:cubicBezTo>
                <a:cubicBezTo>
                  <a:pt x="65" y="89"/>
                  <a:pt x="65" y="89"/>
                  <a:pt x="65" y="89"/>
                </a:cubicBezTo>
                <a:cubicBezTo>
                  <a:pt x="64" y="88"/>
                  <a:pt x="64" y="87"/>
                  <a:pt x="63" y="86"/>
                </a:cubicBezTo>
                <a:close/>
                <a:moveTo>
                  <a:pt x="71" y="76"/>
                </a:moveTo>
                <a:cubicBezTo>
                  <a:pt x="71" y="43"/>
                  <a:pt x="71" y="43"/>
                  <a:pt x="71" y="43"/>
                </a:cubicBezTo>
                <a:cubicBezTo>
                  <a:pt x="89" y="43"/>
                  <a:pt x="89" y="43"/>
                  <a:pt x="89" y="43"/>
                </a:cubicBezTo>
                <a:cubicBezTo>
                  <a:pt x="89" y="76"/>
                  <a:pt x="89" y="76"/>
                  <a:pt x="89" y="76"/>
                </a:cubicBezTo>
                <a:lnTo>
                  <a:pt x="71" y="76"/>
                </a:lnTo>
                <a:close/>
                <a:moveTo>
                  <a:pt x="95" y="89"/>
                </a:moveTo>
                <a:cubicBezTo>
                  <a:pt x="95" y="79"/>
                  <a:pt x="95" y="79"/>
                  <a:pt x="95" y="79"/>
                </a:cubicBezTo>
                <a:cubicBezTo>
                  <a:pt x="95" y="40"/>
                  <a:pt x="95" y="40"/>
                  <a:pt x="95" y="40"/>
                </a:cubicBezTo>
                <a:cubicBezTo>
                  <a:pt x="95" y="25"/>
                  <a:pt x="95" y="25"/>
                  <a:pt x="95" y="25"/>
                </a:cubicBezTo>
                <a:cubicBezTo>
                  <a:pt x="95" y="20"/>
                  <a:pt x="97" y="15"/>
                  <a:pt x="101" y="11"/>
                </a:cubicBezTo>
                <a:cubicBezTo>
                  <a:pt x="104" y="8"/>
                  <a:pt x="109" y="6"/>
                  <a:pt x="114" y="6"/>
                </a:cubicBezTo>
                <a:cubicBezTo>
                  <a:pt x="114" y="6"/>
                  <a:pt x="114" y="6"/>
                  <a:pt x="115" y="6"/>
                </a:cubicBezTo>
                <a:cubicBezTo>
                  <a:pt x="123" y="6"/>
                  <a:pt x="130" y="13"/>
                  <a:pt x="132" y="21"/>
                </a:cubicBezTo>
                <a:cubicBezTo>
                  <a:pt x="147" y="81"/>
                  <a:pt x="147" y="81"/>
                  <a:pt x="147" y="81"/>
                </a:cubicBezTo>
                <a:cubicBezTo>
                  <a:pt x="146" y="80"/>
                  <a:pt x="144" y="79"/>
                  <a:pt x="143" y="78"/>
                </a:cubicBezTo>
                <a:cubicBezTo>
                  <a:pt x="142" y="78"/>
                  <a:pt x="142" y="78"/>
                  <a:pt x="142" y="78"/>
                </a:cubicBezTo>
                <a:cubicBezTo>
                  <a:pt x="141" y="77"/>
                  <a:pt x="141" y="77"/>
                  <a:pt x="140" y="77"/>
                </a:cubicBezTo>
                <a:cubicBezTo>
                  <a:pt x="140" y="76"/>
                  <a:pt x="139" y="76"/>
                  <a:pt x="139" y="76"/>
                </a:cubicBezTo>
                <a:cubicBezTo>
                  <a:pt x="138" y="76"/>
                  <a:pt x="138" y="76"/>
                  <a:pt x="137" y="75"/>
                </a:cubicBezTo>
                <a:cubicBezTo>
                  <a:pt x="137" y="75"/>
                  <a:pt x="136" y="75"/>
                  <a:pt x="136" y="75"/>
                </a:cubicBezTo>
                <a:cubicBezTo>
                  <a:pt x="135" y="75"/>
                  <a:pt x="135" y="75"/>
                  <a:pt x="134" y="74"/>
                </a:cubicBezTo>
                <a:cubicBezTo>
                  <a:pt x="134" y="74"/>
                  <a:pt x="133" y="74"/>
                  <a:pt x="133" y="74"/>
                </a:cubicBezTo>
                <a:cubicBezTo>
                  <a:pt x="132" y="74"/>
                  <a:pt x="132" y="74"/>
                  <a:pt x="131" y="74"/>
                </a:cubicBezTo>
                <a:cubicBezTo>
                  <a:pt x="130" y="74"/>
                  <a:pt x="130" y="73"/>
                  <a:pt x="129" y="73"/>
                </a:cubicBezTo>
                <a:cubicBezTo>
                  <a:pt x="129" y="73"/>
                  <a:pt x="128" y="73"/>
                  <a:pt x="128" y="73"/>
                </a:cubicBezTo>
                <a:cubicBezTo>
                  <a:pt x="127" y="73"/>
                  <a:pt x="126" y="73"/>
                  <a:pt x="124" y="73"/>
                </a:cubicBezTo>
                <a:cubicBezTo>
                  <a:pt x="123" y="73"/>
                  <a:pt x="122" y="73"/>
                  <a:pt x="120" y="73"/>
                </a:cubicBezTo>
                <a:cubicBezTo>
                  <a:pt x="120" y="73"/>
                  <a:pt x="119" y="73"/>
                  <a:pt x="119" y="73"/>
                </a:cubicBezTo>
                <a:cubicBezTo>
                  <a:pt x="118" y="74"/>
                  <a:pt x="117" y="74"/>
                  <a:pt x="116" y="74"/>
                </a:cubicBezTo>
                <a:cubicBezTo>
                  <a:pt x="116" y="74"/>
                  <a:pt x="115" y="74"/>
                  <a:pt x="115" y="74"/>
                </a:cubicBezTo>
                <a:cubicBezTo>
                  <a:pt x="114" y="75"/>
                  <a:pt x="113" y="75"/>
                  <a:pt x="112" y="75"/>
                </a:cubicBezTo>
                <a:cubicBezTo>
                  <a:pt x="112" y="75"/>
                  <a:pt x="111" y="76"/>
                  <a:pt x="111" y="76"/>
                </a:cubicBezTo>
                <a:cubicBezTo>
                  <a:pt x="110" y="76"/>
                  <a:pt x="109" y="77"/>
                  <a:pt x="107" y="77"/>
                </a:cubicBezTo>
                <a:cubicBezTo>
                  <a:pt x="107" y="77"/>
                  <a:pt x="107" y="78"/>
                  <a:pt x="107" y="78"/>
                </a:cubicBezTo>
                <a:cubicBezTo>
                  <a:pt x="106" y="78"/>
                  <a:pt x="105" y="79"/>
                  <a:pt x="104" y="79"/>
                </a:cubicBezTo>
                <a:cubicBezTo>
                  <a:pt x="104" y="80"/>
                  <a:pt x="103" y="80"/>
                  <a:pt x="103" y="80"/>
                </a:cubicBezTo>
                <a:cubicBezTo>
                  <a:pt x="102" y="81"/>
                  <a:pt x="102" y="81"/>
                  <a:pt x="101" y="82"/>
                </a:cubicBezTo>
                <a:cubicBezTo>
                  <a:pt x="101" y="82"/>
                  <a:pt x="100" y="83"/>
                  <a:pt x="100" y="83"/>
                </a:cubicBezTo>
                <a:cubicBezTo>
                  <a:pt x="99" y="83"/>
                  <a:pt x="99" y="84"/>
                  <a:pt x="98" y="85"/>
                </a:cubicBezTo>
                <a:cubicBezTo>
                  <a:pt x="98" y="85"/>
                  <a:pt x="97" y="85"/>
                  <a:pt x="97" y="86"/>
                </a:cubicBezTo>
                <a:cubicBezTo>
                  <a:pt x="96" y="87"/>
                  <a:pt x="96" y="88"/>
                  <a:pt x="95" y="89"/>
                </a:cubicBezTo>
                <a:cubicBezTo>
                  <a:pt x="95" y="89"/>
                  <a:pt x="95" y="89"/>
                  <a:pt x="95" y="89"/>
                </a:cubicBezTo>
                <a:close/>
                <a:moveTo>
                  <a:pt x="124" y="138"/>
                </a:moveTo>
                <a:cubicBezTo>
                  <a:pt x="109" y="138"/>
                  <a:pt x="96" y="126"/>
                  <a:pt x="95" y="110"/>
                </a:cubicBezTo>
                <a:cubicBezTo>
                  <a:pt x="95" y="110"/>
                  <a:pt x="95" y="110"/>
                  <a:pt x="95" y="110"/>
                </a:cubicBezTo>
                <a:cubicBezTo>
                  <a:pt x="95" y="109"/>
                  <a:pt x="95" y="109"/>
                  <a:pt x="95" y="109"/>
                </a:cubicBezTo>
                <a:cubicBezTo>
                  <a:pt x="95" y="109"/>
                  <a:pt x="95" y="109"/>
                  <a:pt x="95" y="109"/>
                </a:cubicBezTo>
                <a:cubicBezTo>
                  <a:pt x="95" y="92"/>
                  <a:pt x="108" y="79"/>
                  <a:pt x="124" y="79"/>
                </a:cubicBezTo>
                <a:cubicBezTo>
                  <a:pt x="126" y="79"/>
                  <a:pt x="127" y="79"/>
                  <a:pt x="128" y="79"/>
                </a:cubicBezTo>
                <a:cubicBezTo>
                  <a:pt x="128" y="79"/>
                  <a:pt x="129" y="79"/>
                  <a:pt x="129" y="79"/>
                </a:cubicBezTo>
                <a:cubicBezTo>
                  <a:pt x="130" y="79"/>
                  <a:pt x="131" y="80"/>
                  <a:pt x="132" y="80"/>
                </a:cubicBezTo>
                <a:cubicBezTo>
                  <a:pt x="132" y="80"/>
                  <a:pt x="132" y="80"/>
                  <a:pt x="132" y="80"/>
                </a:cubicBezTo>
                <a:cubicBezTo>
                  <a:pt x="135" y="81"/>
                  <a:pt x="137" y="82"/>
                  <a:pt x="139" y="83"/>
                </a:cubicBezTo>
                <a:cubicBezTo>
                  <a:pt x="139" y="83"/>
                  <a:pt x="139" y="83"/>
                  <a:pt x="140" y="83"/>
                </a:cubicBezTo>
                <a:cubicBezTo>
                  <a:pt x="141" y="84"/>
                  <a:pt x="141" y="84"/>
                  <a:pt x="142" y="85"/>
                </a:cubicBezTo>
                <a:cubicBezTo>
                  <a:pt x="142" y="85"/>
                  <a:pt x="143" y="85"/>
                  <a:pt x="143" y="85"/>
                </a:cubicBezTo>
                <a:cubicBezTo>
                  <a:pt x="145" y="87"/>
                  <a:pt x="146" y="89"/>
                  <a:pt x="148" y="90"/>
                </a:cubicBezTo>
                <a:cubicBezTo>
                  <a:pt x="148" y="91"/>
                  <a:pt x="148" y="91"/>
                  <a:pt x="148" y="91"/>
                </a:cubicBezTo>
                <a:cubicBezTo>
                  <a:pt x="149" y="92"/>
                  <a:pt x="150" y="93"/>
                  <a:pt x="150" y="94"/>
                </a:cubicBezTo>
                <a:cubicBezTo>
                  <a:pt x="153" y="98"/>
                  <a:pt x="154" y="103"/>
                  <a:pt x="154" y="109"/>
                </a:cubicBezTo>
                <a:cubicBezTo>
                  <a:pt x="154" y="125"/>
                  <a:pt x="141" y="138"/>
                  <a:pt x="124" y="138"/>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CE0CE"/>
              </a:solidFill>
              <a:effectLst/>
              <a:uLnTx/>
              <a:uFillTx/>
              <a:latin typeface="HarmonyOS Sans SC"/>
              <a:cs typeface="+mn-cs"/>
            </a:endParaRPr>
          </a:p>
        </p:txBody>
      </p:sp>
      <p:sp>
        <p:nvSpPr>
          <p:cNvPr id="30" name="Freeform 1137">
            <a:extLst>
              <a:ext uri="{FF2B5EF4-FFF2-40B4-BE49-F238E27FC236}">
                <a16:creationId xmlns:a16="http://schemas.microsoft.com/office/drawing/2014/main" id="{262358DA-60A0-42AF-B24A-35993B874157}"/>
              </a:ext>
            </a:extLst>
          </p:cNvPr>
          <p:cNvSpPr>
            <a:spLocks noEditPoints="1"/>
          </p:cNvSpPr>
          <p:nvPr/>
        </p:nvSpPr>
        <p:spPr bwMode="auto">
          <a:xfrm>
            <a:off x="6308836" y="3518352"/>
            <a:ext cx="372995" cy="338296"/>
          </a:xfrm>
          <a:custGeom>
            <a:avLst/>
            <a:gdLst>
              <a:gd name="T0" fmla="*/ 160 w 160"/>
              <a:gd name="T1" fmla="*/ 45 h 144"/>
              <a:gd name="T2" fmla="*/ 160 w 160"/>
              <a:gd name="T3" fmla="*/ 45 h 144"/>
              <a:gd name="T4" fmla="*/ 160 w 160"/>
              <a:gd name="T5" fmla="*/ 44 h 144"/>
              <a:gd name="T6" fmla="*/ 160 w 160"/>
              <a:gd name="T7" fmla="*/ 44 h 144"/>
              <a:gd name="T8" fmla="*/ 133 w 160"/>
              <a:gd name="T9" fmla="*/ 1 h 144"/>
              <a:gd name="T10" fmla="*/ 132 w 160"/>
              <a:gd name="T11" fmla="*/ 0 h 144"/>
              <a:gd name="T12" fmla="*/ 132 w 160"/>
              <a:gd name="T13" fmla="*/ 0 h 144"/>
              <a:gd name="T14" fmla="*/ 29 w 160"/>
              <a:gd name="T15" fmla="*/ 0 h 144"/>
              <a:gd name="T16" fmla="*/ 28 w 160"/>
              <a:gd name="T17" fmla="*/ 0 h 144"/>
              <a:gd name="T18" fmla="*/ 28 w 160"/>
              <a:gd name="T19" fmla="*/ 1 h 144"/>
              <a:gd name="T20" fmla="*/ 27 w 160"/>
              <a:gd name="T21" fmla="*/ 1 h 144"/>
              <a:gd name="T22" fmla="*/ 0 w 160"/>
              <a:gd name="T23" fmla="*/ 44 h 144"/>
              <a:gd name="T24" fmla="*/ 0 w 160"/>
              <a:gd name="T25" fmla="*/ 44 h 144"/>
              <a:gd name="T26" fmla="*/ 0 w 160"/>
              <a:gd name="T27" fmla="*/ 45 h 144"/>
              <a:gd name="T28" fmla="*/ 0 w 160"/>
              <a:gd name="T29" fmla="*/ 46 h 144"/>
              <a:gd name="T30" fmla="*/ 0 w 160"/>
              <a:gd name="T31" fmla="*/ 46 h 144"/>
              <a:gd name="T32" fmla="*/ 0 w 160"/>
              <a:gd name="T33" fmla="*/ 47 h 144"/>
              <a:gd name="T34" fmla="*/ 78 w 160"/>
              <a:gd name="T35" fmla="*/ 143 h 144"/>
              <a:gd name="T36" fmla="*/ 78 w 160"/>
              <a:gd name="T37" fmla="*/ 143 h 144"/>
              <a:gd name="T38" fmla="*/ 79 w 160"/>
              <a:gd name="T39" fmla="*/ 144 h 144"/>
              <a:gd name="T40" fmla="*/ 80 w 160"/>
              <a:gd name="T41" fmla="*/ 144 h 144"/>
              <a:gd name="T42" fmla="*/ 81 w 160"/>
              <a:gd name="T43" fmla="*/ 144 h 144"/>
              <a:gd name="T44" fmla="*/ 82 w 160"/>
              <a:gd name="T45" fmla="*/ 143 h 144"/>
              <a:gd name="T46" fmla="*/ 159 w 160"/>
              <a:gd name="T47" fmla="*/ 47 h 144"/>
              <a:gd name="T48" fmla="*/ 160 w 160"/>
              <a:gd name="T49" fmla="*/ 47 h 144"/>
              <a:gd name="T50" fmla="*/ 160 w 160"/>
              <a:gd name="T51" fmla="*/ 46 h 144"/>
              <a:gd name="T52" fmla="*/ 86 w 160"/>
              <a:gd name="T53" fmla="*/ 5 h 144"/>
              <a:gd name="T54" fmla="*/ 114 w 160"/>
              <a:gd name="T55" fmla="*/ 40 h 144"/>
              <a:gd name="T56" fmla="*/ 109 w 160"/>
              <a:gd name="T57" fmla="*/ 43 h 144"/>
              <a:gd name="T58" fmla="*/ 80 w 160"/>
              <a:gd name="T59" fmla="*/ 7 h 144"/>
              <a:gd name="T60" fmla="*/ 46 w 160"/>
              <a:gd name="T61" fmla="*/ 40 h 144"/>
              <a:gd name="T62" fmla="*/ 74 w 160"/>
              <a:gd name="T63" fmla="*/ 5 h 144"/>
              <a:gd name="T64" fmla="*/ 111 w 160"/>
              <a:gd name="T65" fmla="*/ 48 h 144"/>
              <a:gd name="T66" fmla="*/ 49 w 160"/>
              <a:gd name="T67" fmla="*/ 48 h 144"/>
              <a:gd name="T68" fmla="*/ 131 w 160"/>
              <a:gd name="T69" fmla="*/ 9 h 144"/>
              <a:gd name="T70" fmla="*/ 119 w 160"/>
              <a:gd name="T71" fmla="*/ 43 h 144"/>
              <a:gd name="T72" fmla="*/ 29 w 160"/>
              <a:gd name="T73" fmla="*/ 9 h 144"/>
              <a:gd name="T74" fmla="*/ 7 w 160"/>
              <a:gd name="T75" fmla="*/ 43 h 144"/>
              <a:gd name="T76" fmla="*/ 43 w 160"/>
              <a:gd name="T77" fmla="*/ 48 h 144"/>
              <a:gd name="T78" fmla="*/ 8 w 160"/>
              <a:gd name="T79" fmla="*/ 48 h 144"/>
              <a:gd name="T80" fmla="*/ 86 w 160"/>
              <a:gd name="T81" fmla="*/ 129 h 144"/>
              <a:gd name="T82" fmla="*/ 152 w 160"/>
              <a:gd name="T83" fmla="*/ 48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60" h="144">
                <a:moveTo>
                  <a:pt x="160" y="46"/>
                </a:moveTo>
                <a:cubicBezTo>
                  <a:pt x="160" y="46"/>
                  <a:pt x="160" y="46"/>
                  <a:pt x="160" y="45"/>
                </a:cubicBezTo>
                <a:cubicBezTo>
                  <a:pt x="160" y="45"/>
                  <a:pt x="160" y="45"/>
                  <a:pt x="160" y="45"/>
                </a:cubicBezTo>
                <a:cubicBezTo>
                  <a:pt x="160" y="45"/>
                  <a:pt x="160" y="45"/>
                  <a:pt x="160" y="45"/>
                </a:cubicBezTo>
                <a:cubicBezTo>
                  <a:pt x="160" y="45"/>
                  <a:pt x="160" y="45"/>
                  <a:pt x="160" y="44"/>
                </a:cubicBezTo>
                <a:cubicBezTo>
                  <a:pt x="160" y="44"/>
                  <a:pt x="160" y="44"/>
                  <a:pt x="160" y="44"/>
                </a:cubicBezTo>
                <a:cubicBezTo>
                  <a:pt x="160" y="44"/>
                  <a:pt x="160" y="44"/>
                  <a:pt x="160" y="44"/>
                </a:cubicBezTo>
                <a:cubicBezTo>
                  <a:pt x="160" y="44"/>
                  <a:pt x="160" y="44"/>
                  <a:pt x="160" y="44"/>
                </a:cubicBezTo>
                <a:cubicBezTo>
                  <a:pt x="133" y="1"/>
                  <a:pt x="133" y="1"/>
                  <a:pt x="133" y="1"/>
                </a:cubicBezTo>
                <a:cubicBezTo>
                  <a:pt x="133" y="1"/>
                  <a:pt x="133" y="1"/>
                  <a:pt x="133" y="1"/>
                </a:cubicBezTo>
                <a:cubicBezTo>
                  <a:pt x="133" y="1"/>
                  <a:pt x="133" y="1"/>
                  <a:pt x="133" y="1"/>
                </a:cubicBezTo>
                <a:cubicBezTo>
                  <a:pt x="132" y="1"/>
                  <a:pt x="132" y="0"/>
                  <a:pt x="132" y="0"/>
                </a:cubicBezTo>
                <a:cubicBezTo>
                  <a:pt x="132" y="0"/>
                  <a:pt x="132" y="0"/>
                  <a:pt x="132" y="0"/>
                </a:cubicBezTo>
                <a:cubicBezTo>
                  <a:pt x="132" y="0"/>
                  <a:pt x="132" y="0"/>
                  <a:pt x="132" y="0"/>
                </a:cubicBezTo>
                <a:cubicBezTo>
                  <a:pt x="131" y="0"/>
                  <a:pt x="131" y="0"/>
                  <a:pt x="131" y="0"/>
                </a:cubicBezTo>
                <a:cubicBezTo>
                  <a:pt x="29" y="0"/>
                  <a:pt x="29" y="0"/>
                  <a:pt x="29" y="0"/>
                </a:cubicBezTo>
                <a:cubicBezTo>
                  <a:pt x="29" y="0"/>
                  <a:pt x="29" y="0"/>
                  <a:pt x="29" y="0"/>
                </a:cubicBezTo>
                <a:cubicBezTo>
                  <a:pt x="28" y="0"/>
                  <a:pt x="28" y="0"/>
                  <a:pt x="28" y="0"/>
                </a:cubicBezTo>
                <a:cubicBezTo>
                  <a:pt x="28" y="0"/>
                  <a:pt x="28" y="0"/>
                  <a:pt x="28" y="0"/>
                </a:cubicBezTo>
                <a:cubicBezTo>
                  <a:pt x="28" y="0"/>
                  <a:pt x="28" y="0"/>
                  <a:pt x="28" y="1"/>
                </a:cubicBezTo>
                <a:cubicBezTo>
                  <a:pt x="28" y="1"/>
                  <a:pt x="28" y="1"/>
                  <a:pt x="28" y="1"/>
                </a:cubicBezTo>
                <a:cubicBezTo>
                  <a:pt x="27" y="1"/>
                  <a:pt x="27" y="1"/>
                  <a:pt x="27" y="1"/>
                </a:cubicBezTo>
                <a:cubicBezTo>
                  <a:pt x="0" y="44"/>
                  <a:pt x="0" y="44"/>
                  <a:pt x="0" y="44"/>
                </a:cubicBezTo>
                <a:cubicBezTo>
                  <a:pt x="0" y="44"/>
                  <a:pt x="0" y="44"/>
                  <a:pt x="0" y="44"/>
                </a:cubicBezTo>
                <a:cubicBezTo>
                  <a:pt x="0" y="44"/>
                  <a:pt x="0" y="44"/>
                  <a:pt x="0" y="44"/>
                </a:cubicBezTo>
                <a:cubicBezTo>
                  <a:pt x="0" y="44"/>
                  <a:pt x="0" y="44"/>
                  <a:pt x="0" y="44"/>
                </a:cubicBezTo>
                <a:cubicBezTo>
                  <a:pt x="0" y="45"/>
                  <a:pt x="0" y="45"/>
                  <a:pt x="0" y="45"/>
                </a:cubicBezTo>
                <a:cubicBezTo>
                  <a:pt x="0" y="45"/>
                  <a:pt x="0" y="45"/>
                  <a:pt x="0" y="45"/>
                </a:cubicBezTo>
                <a:cubicBezTo>
                  <a:pt x="0" y="45"/>
                  <a:pt x="0" y="45"/>
                  <a:pt x="0" y="45"/>
                </a:cubicBezTo>
                <a:cubicBezTo>
                  <a:pt x="0" y="46"/>
                  <a:pt x="0" y="46"/>
                  <a:pt x="0" y="46"/>
                </a:cubicBezTo>
                <a:cubicBezTo>
                  <a:pt x="0" y="46"/>
                  <a:pt x="0" y="46"/>
                  <a:pt x="0" y="46"/>
                </a:cubicBezTo>
                <a:cubicBezTo>
                  <a:pt x="0" y="46"/>
                  <a:pt x="0" y="46"/>
                  <a:pt x="0" y="46"/>
                </a:cubicBezTo>
                <a:cubicBezTo>
                  <a:pt x="0" y="47"/>
                  <a:pt x="0" y="47"/>
                  <a:pt x="0" y="47"/>
                </a:cubicBezTo>
                <a:cubicBezTo>
                  <a:pt x="0" y="47"/>
                  <a:pt x="0" y="47"/>
                  <a:pt x="0" y="47"/>
                </a:cubicBezTo>
                <a:cubicBezTo>
                  <a:pt x="1" y="47"/>
                  <a:pt x="1" y="47"/>
                  <a:pt x="1" y="47"/>
                </a:cubicBezTo>
                <a:cubicBezTo>
                  <a:pt x="78" y="143"/>
                  <a:pt x="78" y="143"/>
                  <a:pt x="78" y="143"/>
                </a:cubicBezTo>
                <a:cubicBezTo>
                  <a:pt x="78" y="143"/>
                  <a:pt x="78" y="143"/>
                  <a:pt x="78" y="143"/>
                </a:cubicBezTo>
                <a:cubicBezTo>
                  <a:pt x="78" y="143"/>
                  <a:pt x="78" y="143"/>
                  <a:pt x="78" y="143"/>
                </a:cubicBezTo>
                <a:cubicBezTo>
                  <a:pt x="78" y="143"/>
                  <a:pt x="78" y="143"/>
                  <a:pt x="78" y="143"/>
                </a:cubicBezTo>
                <a:cubicBezTo>
                  <a:pt x="78" y="143"/>
                  <a:pt x="78" y="144"/>
                  <a:pt x="79" y="144"/>
                </a:cubicBezTo>
                <a:cubicBezTo>
                  <a:pt x="79" y="144"/>
                  <a:pt x="79" y="144"/>
                  <a:pt x="79" y="144"/>
                </a:cubicBezTo>
                <a:cubicBezTo>
                  <a:pt x="79" y="144"/>
                  <a:pt x="80" y="144"/>
                  <a:pt x="80" y="144"/>
                </a:cubicBezTo>
                <a:cubicBezTo>
                  <a:pt x="80" y="144"/>
                  <a:pt x="81" y="144"/>
                  <a:pt x="81" y="144"/>
                </a:cubicBezTo>
                <a:cubicBezTo>
                  <a:pt x="81" y="144"/>
                  <a:pt x="81" y="144"/>
                  <a:pt x="81" y="144"/>
                </a:cubicBezTo>
                <a:cubicBezTo>
                  <a:pt x="81" y="144"/>
                  <a:pt x="81" y="144"/>
                  <a:pt x="81" y="144"/>
                </a:cubicBezTo>
                <a:cubicBezTo>
                  <a:pt x="82" y="143"/>
                  <a:pt x="82" y="143"/>
                  <a:pt x="82" y="143"/>
                </a:cubicBezTo>
                <a:cubicBezTo>
                  <a:pt x="82" y="143"/>
                  <a:pt x="82" y="143"/>
                  <a:pt x="82" y="143"/>
                </a:cubicBezTo>
                <a:cubicBezTo>
                  <a:pt x="159" y="47"/>
                  <a:pt x="159" y="47"/>
                  <a:pt x="159" y="47"/>
                </a:cubicBezTo>
                <a:cubicBezTo>
                  <a:pt x="159" y="47"/>
                  <a:pt x="159" y="47"/>
                  <a:pt x="160" y="47"/>
                </a:cubicBezTo>
                <a:cubicBezTo>
                  <a:pt x="160" y="47"/>
                  <a:pt x="160" y="47"/>
                  <a:pt x="160" y="47"/>
                </a:cubicBezTo>
                <a:cubicBezTo>
                  <a:pt x="160" y="47"/>
                  <a:pt x="160" y="47"/>
                  <a:pt x="160" y="46"/>
                </a:cubicBezTo>
                <a:cubicBezTo>
                  <a:pt x="160" y="46"/>
                  <a:pt x="160" y="46"/>
                  <a:pt x="160" y="46"/>
                </a:cubicBezTo>
                <a:cubicBezTo>
                  <a:pt x="160" y="46"/>
                  <a:pt x="160" y="46"/>
                  <a:pt x="160" y="46"/>
                </a:cubicBezTo>
                <a:close/>
                <a:moveTo>
                  <a:pt x="86" y="5"/>
                </a:moveTo>
                <a:cubicBezTo>
                  <a:pt x="127" y="5"/>
                  <a:pt x="127" y="5"/>
                  <a:pt x="127" y="5"/>
                </a:cubicBezTo>
                <a:cubicBezTo>
                  <a:pt x="114" y="40"/>
                  <a:pt x="114" y="40"/>
                  <a:pt x="114" y="40"/>
                </a:cubicBezTo>
                <a:lnTo>
                  <a:pt x="86" y="5"/>
                </a:lnTo>
                <a:close/>
                <a:moveTo>
                  <a:pt x="109" y="43"/>
                </a:moveTo>
                <a:cubicBezTo>
                  <a:pt x="51" y="43"/>
                  <a:pt x="51" y="43"/>
                  <a:pt x="51" y="43"/>
                </a:cubicBezTo>
                <a:cubicBezTo>
                  <a:pt x="80" y="7"/>
                  <a:pt x="80" y="7"/>
                  <a:pt x="80" y="7"/>
                </a:cubicBezTo>
                <a:lnTo>
                  <a:pt x="109" y="43"/>
                </a:lnTo>
                <a:close/>
                <a:moveTo>
                  <a:pt x="46" y="40"/>
                </a:moveTo>
                <a:cubicBezTo>
                  <a:pt x="33" y="5"/>
                  <a:pt x="33" y="5"/>
                  <a:pt x="33" y="5"/>
                </a:cubicBezTo>
                <a:cubicBezTo>
                  <a:pt x="74" y="5"/>
                  <a:pt x="74" y="5"/>
                  <a:pt x="74" y="5"/>
                </a:cubicBezTo>
                <a:lnTo>
                  <a:pt x="46" y="40"/>
                </a:lnTo>
                <a:close/>
                <a:moveTo>
                  <a:pt x="111" y="48"/>
                </a:moveTo>
                <a:cubicBezTo>
                  <a:pt x="80" y="132"/>
                  <a:pt x="80" y="132"/>
                  <a:pt x="80" y="132"/>
                </a:cubicBezTo>
                <a:cubicBezTo>
                  <a:pt x="49" y="48"/>
                  <a:pt x="49" y="48"/>
                  <a:pt x="49" y="48"/>
                </a:cubicBezTo>
                <a:lnTo>
                  <a:pt x="111" y="48"/>
                </a:lnTo>
                <a:close/>
                <a:moveTo>
                  <a:pt x="131" y="9"/>
                </a:moveTo>
                <a:cubicBezTo>
                  <a:pt x="153" y="43"/>
                  <a:pt x="153" y="43"/>
                  <a:pt x="153" y="43"/>
                </a:cubicBezTo>
                <a:cubicBezTo>
                  <a:pt x="119" y="43"/>
                  <a:pt x="119" y="43"/>
                  <a:pt x="119" y="43"/>
                </a:cubicBezTo>
                <a:lnTo>
                  <a:pt x="131" y="9"/>
                </a:lnTo>
                <a:close/>
                <a:moveTo>
                  <a:pt x="29" y="9"/>
                </a:moveTo>
                <a:cubicBezTo>
                  <a:pt x="41" y="43"/>
                  <a:pt x="41" y="43"/>
                  <a:pt x="41" y="43"/>
                </a:cubicBezTo>
                <a:cubicBezTo>
                  <a:pt x="7" y="43"/>
                  <a:pt x="7" y="43"/>
                  <a:pt x="7" y="43"/>
                </a:cubicBezTo>
                <a:lnTo>
                  <a:pt x="29" y="9"/>
                </a:lnTo>
                <a:close/>
                <a:moveTo>
                  <a:pt x="43" y="48"/>
                </a:moveTo>
                <a:cubicBezTo>
                  <a:pt x="72" y="127"/>
                  <a:pt x="72" y="127"/>
                  <a:pt x="72" y="127"/>
                </a:cubicBezTo>
                <a:cubicBezTo>
                  <a:pt x="8" y="48"/>
                  <a:pt x="8" y="48"/>
                  <a:pt x="8" y="48"/>
                </a:cubicBezTo>
                <a:lnTo>
                  <a:pt x="43" y="48"/>
                </a:lnTo>
                <a:close/>
                <a:moveTo>
                  <a:pt x="86" y="129"/>
                </a:moveTo>
                <a:cubicBezTo>
                  <a:pt x="117" y="48"/>
                  <a:pt x="117" y="48"/>
                  <a:pt x="117" y="48"/>
                </a:cubicBezTo>
                <a:cubicBezTo>
                  <a:pt x="152" y="48"/>
                  <a:pt x="152" y="48"/>
                  <a:pt x="152" y="48"/>
                </a:cubicBezTo>
                <a:lnTo>
                  <a:pt x="86" y="129"/>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CE0CE"/>
              </a:solidFill>
              <a:effectLst/>
              <a:uLnTx/>
              <a:uFillTx/>
              <a:latin typeface="HarmonyOS Sans SC"/>
              <a:cs typeface="+mn-cs"/>
            </a:endParaRPr>
          </a:p>
        </p:txBody>
      </p:sp>
      <p:sp>
        <p:nvSpPr>
          <p:cNvPr id="31" name="Freeform 1147">
            <a:extLst>
              <a:ext uri="{FF2B5EF4-FFF2-40B4-BE49-F238E27FC236}">
                <a16:creationId xmlns:a16="http://schemas.microsoft.com/office/drawing/2014/main" id="{84C77E36-7B81-4014-8912-B55A961205F6}"/>
              </a:ext>
            </a:extLst>
          </p:cNvPr>
          <p:cNvSpPr>
            <a:spLocks noEditPoints="1"/>
          </p:cNvSpPr>
          <p:nvPr/>
        </p:nvSpPr>
        <p:spPr bwMode="auto">
          <a:xfrm>
            <a:off x="6303652" y="2419014"/>
            <a:ext cx="380584" cy="382753"/>
          </a:xfrm>
          <a:custGeom>
            <a:avLst/>
            <a:gdLst>
              <a:gd name="T0" fmla="*/ 116 w 163"/>
              <a:gd name="T1" fmla="*/ 11 h 163"/>
              <a:gd name="T2" fmla="*/ 11 w 163"/>
              <a:gd name="T3" fmla="*/ 115 h 163"/>
              <a:gd name="T4" fmla="*/ 10 w 163"/>
              <a:gd name="T5" fmla="*/ 116 h 163"/>
              <a:gd name="T6" fmla="*/ 10 w 163"/>
              <a:gd name="T7" fmla="*/ 116 h 163"/>
              <a:gd name="T8" fmla="*/ 0 w 163"/>
              <a:gd name="T9" fmla="*/ 160 h 163"/>
              <a:gd name="T10" fmla="*/ 0 w 163"/>
              <a:gd name="T11" fmla="*/ 161 h 163"/>
              <a:gd name="T12" fmla="*/ 1 w 163"/>
              <a:gd name="T13" fmla="*/ 162 h 163"/>
              <a:gd name="T14" fmla="*/ 3 w 163"/>
              <a:gd name="T15" fmla="*/ 163 h 163"/>
              <a:gd name="T16" fmla="*/ 47 w 163"/>
              <a:gd name="T17" fmla="*/ 153 h 163"/>
              <a:gd name="T18" fmla="*/ 47 w 163"/>
              <a:gd name="T19" fmla="*/ 152 h 163"/>
              <a:gd name="T20" fmla="*/ 48 w 163"/>
              <a:gd name="T21" fmla="*/ 152 h 163"/>
              <a:gd name="T22" fmla="*/ 152 w 163"/>
              <a:gd name="T23" fmla="*/ 47 h 163"/>
              <a:gd name="T24" fmla="*/ 148 w 163"/>
              <a:gd name="T25" fmla="*/ 15 h 163"/>
              <a:gd name="T26" fmla="*/ 122 w 163"/>
              <a:gd name="T27" fmla="*/ 13 h 163"/>
              <a:gd name="T28" fmla="*/ 134 w 163"/>
              <a:gd name="T29" fmla="*/ 58 h 163"/>
              <a:gd name="T30" fmla="*/ 109 w 163"/>
              <a:gd name="T31" fmla="*/ 25 h 163"/>
              <a:gd name="T32" fmla="*/ 134 w 163"/>
              <a:gd name="T33" fmla="*/ 58 h 163"/>
              <a:gd name="T34" fmla="*/ 10 w 163"/>
              <a:gd name="T35" fmla="*/ 149 h 163"/>
              <a:gd name="T36" fmla="*/ 15 w 163"/>
              <a:gd name="T37" fmla="*/ 120 h 163"/>
              <a:gd name="T38" fmla="*/ 27 w 163"/>
              <a:gd name="T39" fmla="*/ 133 h 163"/>
              <a:gd name="T40" fmla="*/ 27 w 163"/>
              <a:gd name="T41" fmla="*/ 134 h 163"/>
              <a:gd name="T42" fmla="*/ 27 w 163"/>
              <a:gd name="T43" fmla="*/ 135 h 163"/>
              <a:gd name="T44" fmla="*/ 27 w 163"/>
              <a:gd name="T45" fmla="*/ 135 h 163"/>
              <a:gd name="T46" fmla="*/ 28 w 163"/>
              <a:gd name="T47" fmla="*/ 136 h 163"/>
              <a:gd name="T48" fmla="*/ 29 w 163"/>
              <a:gd name="T49" fmla="*/ 136 h 163"/>
              <a:gd name="T50" fmla="*/ 30 w 163"/>
              <a:gd name="T51" fmla="*/ 136 h 163"/>
              <a:gd name="T52" fmla="*/ 30 w 163"/>
              <a:gd name="T53" fmla="*/ 136 h 163"/>
              <a:gd name="T54" fmla="*/ 30 w 163"/>
              <a:gd name="T55" fmla="*/ 136 h 163"/>
              <a:gd name="T56" fmla="*/ 43 w 163"/>
              <a:gd name="T57" fmla="*/ 148 h 163"/>
              <a:gd name="T58" fmla="*/ 14 w 163"/>
              <a:gd name="T59" fmla="*/ 153 h 163"/>
              <a:gd name="T60" fmla="*/ 51 w 163"/>
              <a:gd name="T61" fmla="*/ 133 h 163"/>
              <a:gd name="T62" fmla="*/ 116 w 163"/>
              <a:gd name="T63" fmla="*/ 64 h 163"/>
              <a:gd name="T64" fmla="*/ 47 w 163"/>
              <a:gd name="T65" fmla="*/ 129 h 163"/>
              <a:gd name="T66" fmla="*/ 34 w 163"/>
              <a:gd name="T67" fmla="*/ 116 h 163"/>
              <a:gd name="T68" fmla="*/ 99 w 163"/>
              <a:gd name="T69" fmla="*/ 47 h 163"/>
              <a:gd name="T70" fmla="*/ 30 w 163"/>
              <a:gd name="T71" fmla="*/ 112 h 163"/>
              <a:gd name="T72" fmla="*/ 101 w 163"/>
              <a:gd name="T73" fmla="*/ 33 h 163"/>
              <a:gd name="T74" fmla="*/ 50 w 163"/>
              <a:gd name="T75" fmla="*/ 142 h 163"/>
              <a:gd name="T76" fmla="*/ 142 w 163"/>
              <a:gd name="T77" fmla="*/ 50 h 163"/>
              <a:gd name="T78" fmla="*/ 118 w 163"/>
              <a:gd name="T79" fmla="*/ 17 h 163"/>
              <a:gd name="T80" fmla="*/ 142 w 163"/>
              <a:gd name="T81" fmla="*/ 50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3" h="163">
                <a:moveTo>
                  <a:pt x="152" y="11"/>
                </a:moveTo>
                <a:cubicBezTo>
                  <a:pt x="142" y="0"/>
                  <a:pt x="126" y="0"/>
                  <a:pt x="116" y="11"/>
                </a:cubicBezTo>
                <a:cubicBezTo>
                  <a:pt x="11" y="115"/>
                  <a:pt x="11" y="115"/>
                  <a:pt x="11" y="115"/>
                </a:cubicBezTo>
                <a:cubicBezTo>
                  <a:pt x="11" y="115"/>
                  <a:pt x="11" y="115"/>
                  <a:pt x="11" y="115"/>
                </a:cubicBezTo>
                <a:cubicBezTo>
                  <a:pt x="11" y="115"/>
                  <a:pt x="11" y="115"/>
                  <a:pt x="11" y="115"/>
                </a:cubicBezTo>
                <a:cubicBezTo>
                  <a:pt x="11" y="116"/>
                  <a:pt x="11" y="116"/>
                  <a:pt x="10" y="116"/>
                </a:cubicBezTo>
                <a:cubicBezTo>
                  <a:pt x="10" y="116"/>
                  <a:pt x="10" y="116"/>
                  <a:pt x="10" y="116"/>
                </a:cubicBezTo>
                <a:cubicBezTo>
                  <a:pt x="10" y="116"/>
                  <a:pt x="10" y="116"/>
                  <a:pt x="10" y="116"/>
                </a:cubicBezTo>
                <a:cubicBezTo>
                  <a:pt x="0" y="159"/>
                  <a:pt x="0" y="159"/>
                  <a:pt x="0" y="159"/>
                </a:cubicBezTo>
                <a:cubicBezTo>
                  <a:pt x="0" y="160"/>
                  <a:pt x="0" y="160"/>
                  <a:pt x="0" y="160"/>
                </a:cubicBezTo>
                <a:cubicBezTo>
                  <a:pt x="0" y="160"/>
                  <a:pt x="0" y="160"/>
                  <a:pt x="0" y="160"/>
                </a:cubicBezTo>
                <a:cubicBezTo>
                  <a:pt x="0" y="160"/>
                  <a:pt x="0" y="161"/>
                  <a:pt x="0" y="161"/>
                </a:cubicBezTo>
                <a:cubicBezTo>
                  <a:pt x="0" y="161"/>
                  <a:pt x="0" y="161"/>
                  <a:pt x="0" y="161"/>
                </a:cubicBezTo>
                <a:cubicBezTo>
                  <a:pt x="0" y="162"/>
                  <a:pt x="1" y="162"/>
                  <a:pt x="1" y="162"/>
                </a:cubicBezTo>
                <a:cubicBezTo>
                  <a:pt x="1" y="162"/>
                  <a:pt x="1" y="163"/>
                  <a:pt x="2" y="163"/>
                </a:cubicBezTo>
                <a:cubicBezTo>
                  <a:pt x="2" y="163"/>
                  <a:pt x="3" y="163"/>
                  <a:pt x="3" y="163"/>
                </a:cubicBezTo>
                <a:cubicBezTo>
                  <a:pt x="3" y="163"/>
                  <a:pt x="3" y="163"/>
                  <a:pt x="4" y="163"/>
                </a:cubicBezTo>
                <a:cubicBezTo>
                  <a:pt x="47" y="153"/>
                  <a:pt x="47" y="153"/>
                  <a:pt x="47" y="153"/>
                </a:cubicBezTo>
                <a:cubicBezTo>
                  <a:pt x="47" y="153"/>
                  <a:pt x="47" y="153"/>
                  <a:pt x="47" y="153"/>
                </a:cubicBezTo>
                <a:cubicBezTo>
                  <a:pt x="47" y="153"/>
                  <a:pt x="47" y="153"/>
                  <a:pt x="47" y="152"/>
                </a:cubicBezTo>
                <a:cubicBezTo>
                  <a:pt x="47" y="152"/>
                  <a:pt x="47" y="152"/>
                  <a:pt x="48" y="152"/>
                </a:cubicBezTo>
                <a:cubicBezTo>
                  <a:pt x="48" y="152"/>
                  <a:pt x="48" y="152"/>
                  <a:pt x="48" y="152"/>
                </a:cubicBezTo>
                <a:cubicBezTo>
                  <a:pt x="48" y="152"/>
                  <a:pt x="48" y="152"/>
                  <a:pt x="48" y="152"/>
                </a:cubicBezTo>
                <a:cubicBezTo>
                  <a:pt x="152" y="47"/>
                  <a:pt x="152" y="47"/>
                  <a:pt x="152" y="47"/>
                </a:cubicBezTo>
                <a:cubicBezTo>
                  <a:pt x="163" y="37"/>
                  <a:pt x="163" y="21"/>
                  <a:pt x="152" y="11"/>
                </a:cubicBezTo>
                <a:close/>
                <a:moveTo>
                  <a:pt x="148" y="15"/>
                </a:moveTo>
                <a:cubicBezTo>
                  <a:pt x="155" y="22"/>
                  <a:pt x="156" y="33"/>
                  <a:pt x="150" y="41"/>
                </a:cubicBezTo>
                <a:cubicBezTo>
                  <a:pt x="122" y="13"/>
                  <a:pt x="122" y="13"/>
                  <a:pt x="122" y="13"/>
                </a:cubicBezTo>
                <a:cubicBezTo>
                  <a:pt x="130" y="7"/>
                  <a:pt x="141" y="8"/>
                  <a:pt x="148" y="15"/>
                </a:cubicBezTo>
                <a:close/>
                <a:moveTo>
                  <a:pt x="134" y="58"/>
                </a:moveTo>
                <a:cubicBezTo>
                  <a:pt x="105" y="29"/>
                  <a:pt x="105" y="29"/>
                  <a:pt x="105" y="29"/>
                </a:cubicBezTo>
                <a:cubicBezTo>
                  <a:pt x="109" y="25"/>
                  <a:pt x="109" y="25"/>
                  <a:pt x="109" y="25"/>
                </a:cubicBezTo>
                <a:cubicBezTo>
                  <a:pt x="138" y="54"/>
                  <a:pt x="138" y="54"/>
                  <a:pt x="138" y="54"/>
                </a:cubicBezTo>
                <a:lnTo>
                  <a:pt x="134" y="58"/>
                </a:lnTo>
                <a:close/>
                <a:moveTo>
                  <a:pt x="14" y="149"/>
                </a:moveTo>
                <a:cubicBezTo>
                  <a:pt x="13" y="148"/>
                  <a:pt x="11" y="148"/>
                  <a:pt x="10" y="149"/>
                </a:cubicBezTo>
                <a:cubicBezTo>
                  <a:pt x="8" y="151"/>
                  <a:pt x="8" y="151"/>
                  <a:pt x="8" y="151"/>
                </a:cubicBezTo>
                <a:cubicBezTo>
                  <a:pt x="15" y="120"/>
                  <a:pt x="15" y="120"/>
                  <a:pt x="15" y="120"/>
                </a:cubicBezTo>
                <a:cubicBezTo>
                  <a:pt x="28" y="118"/>
                  <a:pt x="28" y="118"/>
                  <a:pt x="28" y="118"/>
                </a:cubicBezTo>
                <a:cubicBezTo>
                  <a:pt x="27" y="133"/>
                  <a:pt x="27" y="133"/>
                  <a:pt x="27" y="133"/>
                </a:cubicBezTo>
                <a:cubicBezTo>
                  <a:pt x="27" y="133"/>
                  <a:pt x="27" y="133"/>
                  <a:pt x="27" y="133"/>
                </a:cubicBezTo>
                <a:cubicBezTo>
                  <a:pt x="27" y="134"/>
                  <a:pt x="27" y="134"/>
                  <a:pt x="27" y="134"/>
                </a:cubicBezTo>
                <a:cubicBezTo>
                  <a:pt x="27" y="134"/>
                  <a:pt x="27" y="134"/>
                  <a:pt x="27" y="134"/>
                </a:cubicBezTo>
                <a:cubicBezTo>
                  <a:pt x="27" y="134"/>
                  <a:pt x="27" y="134"/>
                  <a:pt x="27" y="135"/>
                </a:cubicBezTo>
                <a:cubicBezTo>
                  <a:pt x="27" y="135"/>
                  <a:pt x="27" y="135"/>
                  <a:pt x="27" y="135"/>
                </a:cubicBezTo>
                <a:cubicBezTo>
                  <a:pt x="27" y="135"/>
                  <a:pt x="27" y="135"/>
                  <a:pt x="27" y="135"/>
                </a:cubicBezTo>
                <a:cubicBezTo>
                  <a:pt x="28" y="136"/>
                  <a:pt x="28" y="136"/>
                  <a:pt x="28" y="136"/>
                </a:cubicBezTo>
                <a:cubicBezTo>
                  <a:pt x="28" y="136"/>
                  <a:pt x="28" y="136"/>
                  <a:pt x="28" y="136"/>
                </a:cubicBezTo>
                <a:cubicBezTo>
                  <a:pt x="28" y="136"/>
                  <a:pt x="29" y="136"/>
                  <a:pt x="29" y="136"/>
                </a:cubicBezTo>
                <a:cubicBezTo>
                  <a:pt x="29" y="136"/>
                  <a:pt x="29" y="136"/>
                  <a:pt x="29" y="136"/>
                </a:cubicBezTo>
                <a:cubicBezTo>
                  <a:pt x="29" y="136"/>
                  <a:pt x="29" y="136"/>
                  <a:pt x="30" y="136"/>
                </a:cubicBezTo>
                <a:cubicBezTo>
                  <a:pt x="30" y="136"/>
                  <a:pt x="30" y="136"/>
                  <a:pt x="30" y="136"/>
                </a:cubicBezTo>
                <a:cubicBezTo>
                  <a:pt x="30" y="136"/>
                  <a:pt x="30" y="136"/>
                  <a:pt x="30" y="136"/>
                </a:cubicBezTo>
                <a:cubicBezTo>
                  <a:pt x="30" y="136"/>
                  <a:pt x="30" y="136"/>
                  <a:pt x="30" y="136"/>
                </a:cubicBezTo>
                <a:cubicBezTo>
                  <a:pt x="30" y="136"/>
                  <a:pt x="30" y="136"/>
                  <a:pt x="30" y="136"/>
                </a:cubicBezTo>
                <a:cubicBezTo>
                  <a:pt x="30" y="136"/>
                  <a:pt x="30" y="136"/>
                  <a:pt x="30" y="136"/>
                </a:cubicBezTo>
                <a:cubicBezTo>
                  <a:pt x="45" y="135"/>
                  <a:pt x="45" y="135"/>
                  <a:pt x="45" y="135"/>
                </a:cubicBezTo>
                <a:cubicBezTo>
                  <a:pt x="43" y="148"/>
                  <a:pt x="43" y="148"/>
                  <a:pt x="43" y="148"/>
                </a:cubicBezTo>
                <a:cubicBezTo>
                  <a:pt x="12" y="155"/>
                  <a:pt x="12" y="155"/>
                  <a:pt x="12" y="155"/>
                </a:cubicBezTo>
                <a:cubicBezTo>
                  <a:pt x="14" y="153"/>
                  <a:pt x="14" y="153"/>
                  <a:pt x="14" y="153"/>
                </a:cubicBezTo>
                <a:cubicBezTo>
                  <a:pt x="15" y="152"/>
                  <a:pt x="15" y="150"/>
                  <a:pt x="14" y="149"/>
                </a:cubicBezTo>
                <a:close/>
                <a:moveTo>
                  <a:pt x="51" y="133"/>
                </a:moveTo>
                <a:cubicBezTo>
                  <a:pt x="116" y="68"/>
                  <a:pt x="116" y="68"/>
                  <a:pt x="116" y="68"/>
                </a:cubicBezTo>
                <a:cubicBezTo>
                  <a:pt x="117" y="67"/>
                  <a:pt x="117" y="65"/>
                  <a:pt x="116" y="64"/>
                </a:cubicBezTo>
                <a:cubicBezTo>
                  <a:pt x="114" y="63"/>
                  <a:pt x="113" y="63"/>
                  <a:pt x="111" y="64"/>
                </a:cubicBezTo>
                <a:cubicBezTo>
                  <a:pt x="47" y="129"/>
                  <a:pt x="47" y="129"/>
                  <a:pt x="47" y="129"/>
                </a:cubicBezTo>
                <a:cubicBezTo>
                  <a:pt x="33" y="130"/>
                  <a:pt x="33" y="130"/>
                  <a:pt x="33" y="130"/>
                </a:cubicBezTo>
                <a:cubicBezTo>
                  <a:pt x="34" y="116"/>
                  <a:pt x="34" y="116"/>
                  <a:pt x="34" y="116"/>
                </a:cubicBezTo>
                <a:cubicBezTo>
                  <a:pt x="99" y="52"/>
                  <a:pt x="99" y="52"/>
                  <a:pt x="99" y="52"/>
                </a:cubicBezTo>
                <a:cubicBezTo>
                  <a:pt x="100" y="50"/>
                  <a:pt x="100" y="49"/>
                  <a:pt x="99" y="47"/>
                </a:cubicBezTo>
                <a:cubicBezTo>
                  <a:pt x="98" y="46"/>
                  <a:pt x="96" y="46"/>
                  <a:pt x="95" y="47"/>
                </a:cubicBezTo>
                <a:cubicBezTo>
                  <a:pt x="30" y="112"/>
                  <a:pt x="30" y="112"/>
                  <a:pt x="30" y="112"/>
                </a:cubicBezTo>
                <a:cubicBezTo>
                  <a:pt x="21" y="113"/>
                  <a:pt x="21" y="113"/>
                  <a:pt x="21" y="113"/>
                </a:cubicBezTo>
                <a:cubicBezTo>
                  <a:pt x="101" y="33"/>
                  <a:pt x="101" y="33"/>
                  <a:pt x="101" y="33"/>
                </a:cubicBezTo>
                <a:cubicBezTo>
                  <a:pt x="130" y="62"/>
                  <a:pt x="130" y="62"/>
                  <a:pt x="130" y="62"/>
                </a:cubicBezTo>
                <a:cubicBezTo>
                  <a:pt x="50" y="142"/>
                  <a:pt x="50" y="142"/>
                  <a:pt x="50" y="142"/>
                </a:cubicBezTo>
                <a:lnTo>
                  <a:pt x="51" y="133"/>
                </a:lnTo>
                <a:close/>
                <a:moveTo>
                  <a:pt x="142" y="50"/>
                </a:moveTo>
                <a:cubicBezTo>
                  <a:pt x="113" y="21"/>
                  <a:pt x="113" y="21"/>
                  <a:pt x="113" y="21"/>
                </a:cubicBezTo>
                <a:cubicBezTo>
                  <a:pt x="118" y="17"/>
                  <a:pt x="118" y="17"/>
                  <a:pt x="118" y="17"/>
                </a:cubicBezTo>
                <a:cubicBezTo>
                  <a:pt x="146" y="45"/>
                  <a:pt x="146" y="45"/>
                  <a:pt x="146" y="45"/>
                </a:cubicBezTo>
                <a:lnTo>
                  <a:pt x="142" y="5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CE0CE"/>
              </a:solidFill>
              <a:effectLst/>
              <a:uLnTx/>
              <a:uFillTx/>
              <a:latin typeface="HarmonyOS Sans SC"/>
              <a:cs typeface="+mn-cs"/>
            </a:endParaRPr>
          </a:p>
        </p:txBody>
      </p:sp>
      <p:sp>
        <p:nvSpPr>
          <p:cNvPr id="32" name="Freeform 2123">
            <a:extLst>
              <a:ext uri="{FF2B5EF4-FFF2-40B4-BE49-F238E27FC236}">
                <a16:creationId xmlns:a16="http://schemas.microsoft.com/office/drawing/2014/main" id="{73A83858-387B-4232-9E98-43D17B3D581C}"/>
              </a:ext>
            </a:extLst>
          </p:cNvPr>
          <p:cNvSpPr>
            <a:spLocks noEditPoints="1"/>
          </p:cNvSpPr>
          <p:nvPr/>
        </p:nvSpPr>
        <p:spPr bwMode="auto">
          <a:xfrm>
            <a:off x="6318993" y="5569777"/>
            <a:ext cx="344803" cy="375162"/>
          </a:xfrm>
          <a:custGeom>
            <a:avLst/>
            <a:gdLst>
              <a:gd name="T0" fmla="*/ 24 w 148"/>
              <a:gd name="T1" fmla="*/ 74 h 160"/>
              <a:gd name="T2" fmla="*/ 56 w 148"/>
              <a:gd name="T3" fmla="*/ 148 h 160"/>
              <a:gd name="T4" fmla="*/ 62 w 148"/>
              <a:gd name="T5" fmla="*/ 151 h 160"/>
              <a:gd name="T6" fmla="*/ 65 w 148"/>
              <a:gd name="T7" fmla="*/ 160 h 160"/>
              <a:gd name="T8" fmla="*/ 86 w 148"/>
              <a:gd name="T9" fmla="*/ 157 h 160"/>
              <a:gd name="T10" fmla="*/ 89 w 148"/>
              <a:gd name="T11" fmla="*/ 151 h 160"/>
              <a:gd name="T12" fmla="*/ 92 w 148"/>
              <a:gd name="T13" fmla="*/ 121 h 160"/>
              <a:gd name="T14" fmla="*/ 74 w 148"/>
              <a:gd name="T15" fmla="*/ 24 h 160"/>
              <a:gd name="T16" fmla="*/ 80 w 148"/>
              <a:gd name="T17" fmla="*/ 148 h 160"/>
              <a:gd name="T18" fmla="*/ 68 w 148"/>
              <a:gd name="T19" fmla="*/ 154 h 160"/>
              <a:gd name="T20" fmla="*/ 65 w 148"/>
              <a:gd name="T21" fmla="*/ 145 h 160"/>
              <a:gd name="T22" fmla="*/ 62 w 148"/>
              <a:gd name="T23" fmla="*/ 130 h 160"/>
              <a:gd name="T24" fmla="*/ 86 w 148"/>
              <a:gd name="T25" fmla="*/ 145 h 160"/>
              <a:gd name="T26" fmla="*/ 88 w 148"/>
              <a:gd name="T27" fmla="*/ 116 h 160"/>
              <a:gd name="T28" fmla="*/ 86 w 148"/>
              <a:gd name="T29" fmla="*/ 124 h 160"/>
              <a:gd name="T30" fmla="*/ 62 w 148"/>
              <a:gd name="T31" fmla="*/ 119 h 160"/>
              <a:gd name="T32" fmla="*/ 30 w 148"/>
              <a:gd name="T33" fmla="*/ 74 h 160"/>
              <a:gd name="T34" fmla="*/ 119 w 148"/>
              <a:gd name="T35" fmla="*/ 74 h 160"/>
              <a:gd name="T36" fmla="*/ 71 w 148"/>
              <a:gd name="T37" fmla="*/ 15 h 160"/>
              <a:gd name="T38" fmla="*/ 74 w 148"/>
              <a:gd name="T39" fmla="*/ 0 h 160"/>
              <a:gd name="T40" fmla="*/ 77 w 148"/>
              <a:gd name="T41" fmla="*/ 15 h 160"/>
              <a:gd name="T42" fmla="*/ 71 w 148"/>
              <a:gd name="T43" fmla="*/ 15 h 160"/>
              <a:gd name="T44" fmla="*/ 145 w 148"/>
              <a:gd name="T45" fmla="*/ 77 h 160"/>
              <a:gd name="T46" fmla="*/ 130 w 148"/>
              <a:gd name="T47" fmla="*/ 74 h 160"/>
              <a:gd name="T48" fmla="*/ 145 w 148"/>
              <a:gd name="T49" fmla="*/ 71 h 160"/>
              <a:gd name="T50" fmla="*/ 18 w 148"/>
              <a:gd name="T51" fmla="*/ 74 h 160"/>
              <a:gd name="T52" fmla="*/ 3 w 148"/>
              <a:gd name="T53" fmla="*/ 77 h 160"/>
              <a:gd name="T54" fmla="*/ 3 w 148"/>
              <a:gd name="T55" fmla="*/ 71 h 160"/>
              <a:gd name="T56" fmla="*/ 18 w 148"/>
              <a:gd name="T57" fmla="*/ 74 h 160"/>
              <a:gd name="T58" fmla="*/ 126 w 148"/>
              <a:gd name="T59" fmla="*/ 26 h 160"/>
              <a:gd name="T60" fmla="*/ 116 w 148"/>
              <a:gd name="T61" fmla="*/ 35 h 160"/>
              <a:gd name="T62" fmla="*/ 114 w 148"/>
              <a:gd name="T63" fmla="*/ 30 h 160"/>
              <a:gd name="T64" fmla="*/ 126 w 148"/>
              <a:gd name="T65" fmla="*/ 22 h 160"/>
              <a:gd name="T66" fmla="*/ 34 w 148"/>
              <a:gd name="T67" fmla="*/ 118 h 160"/>
              <a:gd name="T68" fmla="*/ 24 w 148"/>
              <a:gd name="T69" fmla="*/ 127 h 160"/>
              <a:gd name="T70" fmla="*/ 22 w 148"/>
              <a:gd name="T71" fmla="*/ 122 h 160"/>
              <a:gd name="T72" fmla="*/ 34 w 148"/>
              <a:gd name="T73" fmla="*/ 114 h 160"/>
              <a:gd name="T74" fmla="*/ 126 w 148"/>
              <a:gd name="T75" fmla="*/ 126 h 160"/>
              <a:gd name="T76" fmla="*/ 122 w 148"/>
              <a:gd name="T77" fmla="*/ 126 h 160"/>
              <a:gd name="T78" fmla="*/ 114 w 148"/>
              <a:gd name="T79" fmla="*/ 114 h 160"/>
              <a:gd name="T80" fmla="*/ 126 w 148"/>
              <a:gd name="T81" fmla="*/ 122 h 160"/>
              <a:gd name="T82" fmla="*/ 22 w 148"/>
              <a:gd name="T83" fmla="*/ 22 h 160"/>
              <a:gd name="T84" fmla="*/ 34 w 148"/>
              <a:gd name="T85" fmla="*/ 30 h 160"/>
              <a:gd name="T86" fmla="*/ 32 w 148"/>
              <a:gd name="T87" fmla="*/ 35 h 160"/>
              <a:gd name="T88" fmla="*/ 22 w 148"/>
              <a:gd name="T89" fmla="*/ 26 h 160"/>
              <a:gd name="T90" fmla="*/ 74 w 148"/>
              <a:gd name="T91" fmla="*/ 44 h 160"/>
              <a:gd name="T92" fmla="*/ 41 w 148"/>
              <a:gd name="T93" fmla="*/ 77 h 160"/>
              <a:gd name="T94" fmla="*/ 74 w 148"/>
              <a:gd name="T95" fmla="*/ 39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48" h="160">
                <a:moveTo>
                  <a:pt x="74" y="24"/>
                </a:moveTo>
                <a:cubicBezTo>
                  <a:pt x="46" y="24"/>
                  <a:pt x="24" y="46"/>
                  <a:pt x="24" y="74"/>
                </a:cubicBezTo>
                <a:cubicBezTo>
                  <a:pt x="24" y="95"/>
                  <a:pt x="37" y="114"/>
                  <a:pt x="56" y="121"/>
                </a:cubicBezTo>
                <a:cubicBezTo>
                  <a:pt x="56" y="148"/>
                  <a:pt x="56" y="148"/>
                  <a:pt x="56" y="148"/>
                </a:cubicBezTo>
                <a:cubicBezTo>
                  <a:pt x="56" y="150"/>
                  <a:pt x="58" y="151"/>
                  <a:pt x="59" y="151"/>
                </a:cubicBezTo>
                <a:cubicBezTo>
                  <a:pt x="62" y="151"/>
                  <a:pt x="62" y="151"/>
                  <a:pt x="62" y="151"/>
                </a:cubicBezTo>
                <a:cubicBezTo>
                  <a:pt x="62" y="157"/>
                  <a:pt x="62" y="157"/>
                  <a:pt x="62" y="157"/>
                </a:cubicBezTo>
                <a:cubicBezTo>
                  <a:pt x="62" y="159"/>
                  <a:pt x="64" y="160"/>
                  <a:pt x="65" y="160"/>
                </a:cubicBezTo>
                <a:cubicBezTo>
                  <a:pt x="83" y="160"/>
                  <a:pt x="83" y="160"/>
                  <a:pt x="83" y="160"/>
                </a:cubicBezTo>
                <a:cubicBezTo>
                  <a:pt x="85" y="160"/>
                  <a:pt x="86" y="159"/>
                  <a:pt x="86" y="157"/>
                </a:cubicBezTo>
                <a:cubicBezTo>
                  <a:pt x="86" y="151"/>
                  <a:pt x="86" y="151"/>
                  <a:pt x="86" y="151"/>
                </a:cubicBezTo>
                <a:cubicBezTo>
                  <a:pt x="89" y="151"/>
                  <a:pt x="89" y="151"/>
                  <a:pt x="89" y="151"/>
                </a:cubicBezTo>
                <a:cubicBezTo>
                  <a:pt x="91" y="151"/>
                  <a:pt x="92" y="150"/>
                  <a:pt x="92" y="148"/>
                </a:cubicBezTo>
                <a:cubicBezTo>
                  <a:pt x="92" y="121"/>
                  <a:pt x="92" y="121"/>
                  <a:pt x="92" y="121"/>
                </a:cubicBezTo>
                <a:cubicBezTo>
                  <a:pt x="111" y="114"/>
                  <a:pt x="124" y="95"/>
                  <a:pt x="124" y="74"/>
                </a:cubicBezTo>
                <a:cubicBezTo>
                  <a:pt x="124" y="46"/>
                  <a:pt x="102" y="24"/>
                  <a:pt x="74" y="24"/>
                </a:cubicBezTo>
                <a:close/>
                <a:moveTo>
                  <a:pt x="83" y="145"/>
                </a:moveTo>
                <a:cubicBezTo>
                  <a:pt x="81" y="145"/>
                  <a:pt x="80" y="147"/>
                  <a:pt x="80" y="148"/>
                </a:cubicBezTo>
                <a:cubicBezTo>
                  <a:pt x="80" y="154"/>
                  <a:pt x="80" y="154"/>
                  <a:pt x="80" y="154"/>
                </a:cubicBezTo>
                <a:cubicBezTo>
                  <a:pt x="68" y="154"/>
                  <a:pt x="68" y="154"/>
                  <a:pt x="68" y="154"/>
                </a:cubicBezTo>
                <a:cubicBezTo>
                  <a:pt x="68" y="148"/>
                  <a:pt x="68" y="148"/>
                  <a:pt x="68" y="148"/>
                </a:cubicBezTo>
                <a:cubicBezTo>
                  <a:pt x="68" y="147"/>
                  <a:pt x="67" y="145"/>
                  <a:pt x="65" y="145"/>
                </a:cubicBezTo>
                <a:cubicBezTo>
                  <a:pt x="62" y="145"/>
                  <a:pt x="62" y="145"/>
                  <a:pt x="62" y="145"/>
                </a:cubicBezTo>
                <a:cubicBezTo>
                  <a:pt x="62" y="130"/>
                  <a:pt x="62" y="130"/>
                  <a:pt x="62" y="130"/>
                </a:cubicBezTo>
                <a:cubicBezTo>
                  <a:pt x="86" y="130"/>
                  <a:pt x="86" y="130"/>
                  <a:pt x="86" y="130"/>
                </a:cubicBezTo>
                <a:cubicBezTo>
                  <a:pt x="86" y="145"/>
                  <a:pt x="86" y="145"/>
                  <a:pt x="86" y="145"/>
                </a:cubicBezTo>
                <a:lnTo>
                  <a:pt x="83" y="145"/>
                </a:lnTo>
                <a:close/>
                <a:moveTo>
                  <a:pt x="88" y="116"/>
                </a:moveTo>
                <a:cubicBezTo>
                  <a:pt x="87" y="117"/>
                  <a:pt x="86" y="118"/>
                  <a:pt x="86" y="119"/>
                </a:cubicBezTo>
                <a:cubicBezTo>
                  <a:pt x="86" y="124"/>
                  <a:pt x="86" y="124"/>
                  <a:pt x="86" y="124"/>
                </a:cubicBezTo>
                <a:cubicBezTo>
                  <a:pt x="62" y="124"/>
                  <a:pt x="62" y="124"/>
                  <a:pt x="62" y="124"/>
                </a:cubicBezTo>
                <a:cubicBezTo>
                  <a:pt x="62" y="119"/>
                  <a:pt x="62" y="119"/>
                  <a:pt x="62" y="119"/>
                </a:cubicBezTo>
                <a:cubicBezTo>
                  <a:pt x="62" y="118"/>
                  <a:pt x="61" y="117"/>
                  <a:pt x="60" y="116"/>
                </a:cubicBezTo>
                <a:cubicBezTo>
                  <a:pt x="42" y="110"/>
                  <a:pt x="30" y="93"/>
                  <a:pt x="30" y="74"/>
                </a:cubicBezTo>
                <a:cubicBezTo>
                  <a:pt x="30" y="50"/>
                  <a:pt x="50" y="30"/>
                  <a:pt x="74" y="30"/>
                </a:cubicBezTo>
                <a:cubicBezTo>
                  <a:pt x="99" y="30"/>
                  <a:pt x="119" y="50"/>
                  <a:pt x="119" y="74"/>
                </a:cubicBezTo>
                <a:cubicBezTo>
                  <a:pt x="119" y="93"/>
                  <a:pt x="106" y="110"/>
                  <a:pt x="88" y="116"/>
                </a:cubicBezTo>
                <a:close/>
                <a:moveTo>
                  <a:pt x="71" y="15"/>
                </a:moveTo>
                <a:cubicBezTo>
                  <a:pt x="71" y="3"/>
                  <a:pt x="71" y="3"/>
                  <a:pt x="71" y="3"/>
                </a:cubicBezTo>
                <a:cubicBezTo>
                  <a:pt x="71" y="1"/>
                  <a:pt x="72" y="0"/>
                  <a:pt x="74" y="0"/>
                </a:cubicBezTo>
                <a:cubicBezTo>
                  <a:pt x="76" y="0"/>
                  <a:pt x="77" y="1"/>
                  <a:pt x="77" y="3"/>
                </a:cubicBezTo>
                <a:cubicBezTo>
                  <a:pt x="77" y="15"/>
                  <a:pt x="77" y="15"/>
                  <a:pt x="77" y="15"/>
                </a:cubicBezTo>
                <a:cubicBezTo>
                  <a:pt x="77" y="16"/>
                  <a:pt x="76" y="18"/>
                  <a:pt x="74" y="18"/>
                </a:cubicBezTo>
                <a:cubicBezTo>
                  <a:pt x="72" y="18"/>
                  <a:pt x="71" y="16"/>
                  <a:pt x="71" y="15"/>
                </a:cubicBezTo>
                <a:close/>
                <a:moveTo>
                  <a:pt x="148" y="74"/>
                </a:moveTo>
                <a:cubicBezTo>
                  <a:pt x="148" y="76"/>
                  <a:pt x="147" y="77"/>
                  <a:pt x="145" y="77"/>
                </a:cubicBezTo>
                <a:cubicBezTo>
                  <a:pt x="133" y="77"/>
                  <a:pt x="133" y="77"/>
                  <a:pt x="133" y="77"/>
                </a:cubicBezTo>
                <a:cubicBezTo>
                  <a:pt x="132" y="77"/>
                  <a:pt x="130" y="76"/>
                  <a:pt x="130" y="74"/>
                </a:cubicBezTo>
                <a:cubicBezTo>
                  <a:pt x="130" y="72"/>
                  <a:pt x="132" y="71"/>
                  <a:pt x="133" y="71"/>
                </a:cubicBezTo>
                <a:cubicBezTo>
                  <a:pt x="145" y="71"/>
                  <a:pt x="145" y="71"/>
                  <a:pt x="145" y="71"/>
                </a:cubicBezTo>
                <a:cubicBezTo>
                  <a:pt x="147" y="71"/>
                  <a:pt x="148" y="72"/>
                  <a:pt x="148" y="74"/>
                </a:cubicBezTo>
                <a:close/>
                <a:moveTo>
                  <a:pt x="18" y="74"/>
                </a:moveTo>
                <a:cubicBezTo>
                  <a:pt x="18" y="76"/>
                  <a:pt x="16" y="77"/>
                  <a:pt x="15" y="77"/>
                </a:cubicBezTo>
                <a:cubicBezTo>
                  <a:pt x="3" y="77"/>
                  <a:pt x="3" y="77"/>
                  <a:pt x="3" y="77"/>
                </a:cubicBezTo>
                <a:cubicBezTo>
                  <a:pt x="1" y="77"/>
                  <a:pt x="0" y="76"/>
                  <a:pt x="0" y="74"/>
                </a:cubicBezTo>
                <a:cubicBezTo>
                  <a:pt x="0" y="72"/>
                  <a:pt x="1" y="71"/>
                  <a:pt x="3" y="71"/>
                </a:cubicBezTo>
                <a:cubicBezTo>
                  <a:pt x="15" y="71"/>
                  <a:pt x="15" y="71"/>
                  <a:pt x="15" y="71"/>
                </a:cubicBezTo>
                <a:cubicBezTo>
                  <a:pt x="16" y="71"/>
                  <a:pt x="18" y="72"/>
                  <a:pt x="18" y="74"/>
                </a:cubicBezTo>
                <a:close/>
                <a:moveTo>
                  <a:pt x="126" y="22"/>
                </a:moveTo>
                <a:cubicBezTo>
                  <a:pt x="128" y="23"/>
                  <a:pt x="128" y="25"/>
                  <a:pt x="126" y="26"/>
                </a:cubicBezTo>
                <a:cubicBezTo>
                  <a:pt x="118" y="34"/>
                  <a:pt x="118" y="34"/>
                  <a:pt x="118" y="34"/>
                </a:cubicBezTo>
                <a:cubicBezTo>
                  <a:pt x="117" y="35"/>
                  <a:pt x="117" y="35"/>
                  <a:pt x="116" y="35"/>
                </a:cubicBezTo>
                <a:cubicBezTo>
                  <a:pt x="115" y="35"/>
                  <a:pt x="114" y="35"/>
                  <a:pt x="114" y="34"/>
                </a:cubicBezTo>
                <a:cubicBezTo>
                  <a:pt x="113" y="33"/>
                  <a:pt x="113" y="31"/>
                  <a:pt x="114" y="30"/>
                </a:cubicBezTo>
                <a:cubicBezTo>
                  <a:pt x="122" y="22"/>
                  <a:pt x="122" y="22"/>
                  <a:pt x="122" y="22"/>
                </a:cubicBezTo>
                <a:cubicBezTo>
                  <a:pt x="123" y="21"/>
                  <a:pt x="125" y="21"/>
                  <a:pt x="126" y="22"/>
                </a:cubicBezTo>
                <a:close/>
                <a:moveTo>
                  <a:pt x="34" y="114"/>
                </a:moveTo>
                <a:cubicBezTo>
                  <a:pt x="35" y="115"/>
                  <a:pt x="35" y="117"/>
                  <a:pt x="34" y="118"/>
                </a:cubicBezTo>
                <a:cubicBezTo>
                  <a:pt x="26" y="126"/>
                  <a:pt x="26" y="126"/>
                  <a:pt x="26" y="126"/>
                </a:cubicBezTo>
                <a:cubicBezTo>
                  <a:pt x="25" y="127"/>
                  <a:pt x="25" y="127"/>
                  <a:pt x="24" y="127"/>
                </a:cubicBezTo>
                <a:cubicBezTo>
                  <a:pt x="23" y="127"/>
                  <a:pt x="22" y="127"/>
                  <a:pt x="22" y="126"/>
                </a:cubicBezTo>
                <a:cubicBezTo>
                  <a:pt x="21" y="125"/>
                  <a:pt x="21" y="123"/>
                  <a:pt x="22" y="122"/>
                </a:cubicBezTo>
                <a:cubicBezTo>
                  <a:pt x="30" y="114"/>
                  <a:pt x="30" y="114"/>
                  <a:pt x="30" y="114"/>
                </a:cubicBezTo>
                <a:cubicBezTo>
                  <a:pt x="31" y="113"/>
                  <a:pt x="33" y="113"/>
                  <a:pt x="34" y="114"/>
                </a:cubicBezTo>
                <a:close/>
                <a:moveTo>
                  <a:pt x="126" y="122"/>
                </a:moveTo>
                <a:cubicBezTo>
                  <a:pt x="128" y="123"/>
                  <a:pt x="128" y="125"/>
                  <a:pt x="126" y="126"/>
                </a:cubicBezTo>
                <a:cubicBezTo>
                  <a:pt x="126" y="127"/>
                  <a:pt x="125" y="127"/>
                  <a:pt x="124" y="127"/>
                </a:cubicBezTo>
                <a:cubicBezTo>
                  <a:pt x="124" y="127"/>
                  <a:pt x="123" y="127"/>
                  <a:pt x="122" y="126"/>
                </a:cubicBezTo>
                <a:cubicBezTo>
                  <a:pt x="114" y="118"/>
                  <a:pt x="114" y="118"/>
                  <a:pt x="114" y="118"/>
                </a:cubicBezTo>
                <a:cubicBezTo>
                  <a:pt x="113" y="117"/>
                  <a:pt x="113" y="115"/>
                  <a:pt x="114" y="114"/>
                </a:cubicBezTo>
                <a:cubicBezTo>
                  <a:pt x="115" y="113"/>
                  <a:pt x="117" y="113"/>
                  <a:pt x="118" y="114"/>
                </a:cubicBezTo>
                <a:lnTo>
                  <a:pt x="126" y="122"/>
                </a:lnTo>
                <a:close/>
                <a:moveTo>
                  <a:pt x="22" y="26"/>
                </a:moveTo>
                <a:cubicBezTo>
                  <a:pt x="21" y="25"/>
                  <a:pt x="21" y="23"/>
                  <a:pt x="22" y="22"/>
                </a:cubicBezTo>
                <a:cubicBezTo>
                  <a:pt x="23" y="21"/>
                  <a:pt x="25" y="21"/>
                  <a:pt x="26" y="22"/>
                </a:cubicBezTo>
                <a:cubicBezTo>
                  <a:pt x="34" y="30"/>
                  <a:pt x="34" y="30"/>
                  <a:pt x="34" y="30"/>
                </a:cubicBezTo>
                <a:cubicBezTo>
                  <a:pt x="35" y="31"/>
                  <a:pt x="35" y="33"/>
                  <a:pt x="34" y="34"/>
                </a:cubicBezTo>
                <a:cubicBezTo>
                  <a:pt x="34" y="35"/>
                  <a:pt x="33" y="35"/>
                  <a:pt x="32" y="35"/>
                </a:cubicBezTo>
                <a:cubicBezTo>
                  <a:pt x="31" y="35"/>
                  <a:pt x="31" y="35"/>
                  <a:pt x="30" y="34"/>
                </a:cubicBezTo>
                <a:lnTo>
                  <a:pt x="22" y="26"/>
                </a:lnTo>
                <a:close/>
                <a:moveTo>
                  <a:pt x="77" y="41"/>
                </a:moveTo>
                <a:cubicBezTo>
                  <a:pt x="77" y="43"/>
                  <a:pt x="76" y="44"/>
                  <a:pt x="74" y="44"/>
                </a:cubicBezTo>
                <a:cubicBezTo>
                  <a:pt x="58" y="44"/>
                  <a:pt x="44" y="58"/>
                  <a:pt x="44" y="74"/>
                </a:cubicBezTo>
                <a:cubicBezTo>
                  <a:pt x="44" y="76"/>
                  <a:pt x="43" y="77"/>
                  <a:pt x="41" y="77"/>
                </a:cubicBezTo>
                <a:cubicBezTo>
                  <a:pt x="40" y="77"/>
                  <a:pt x="39" y="76"/>
                  <a:pt x="39" y="74"/>
                </a:cubicBezTo>
                <a:cubicBezTo>
                  <a:pt x="39" y="54"/>
                  <a:pt x="54" y="39"/>
                  <a:pt x="74" y="39"/>
                </a:cubicBezTo>
                <a:cubicBezTo>
                  <a:pt x="76" y="39"/>
                  <a:pt x="77" y="40"/>
                  <a:pt x="77" y="41"/>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CE0CE"/>
              </a:solidFill>
              <a:effectLst/>
              <a:uLnTx/>
              <a:uFillTx/>
              <a:latin typeface="HarmonyOS Sans SC"/>
              <a:cs typeface="+mn-cs"/>
            </a:endParaRPr>
          </a:p>
        </p:txBody>
      </p:sp>
      <p:sp>
        <p:nvSpPr>
          <p:cNvPr id="40" name="Right Triangle 61">
            <a:extLst>
              <a:ext uri="{FF2B5EF4-FFF2-40B4-BE49-F238E27FC236}">
                <a16:creationId xmlns:a16="http://schemas.microsoft.com/office/drawing/2014/main" id="{6A87BB31-C6F6-4704-8167-206B2C5F08DE}"/>
              </a:ext>
            </a:extLst>
          </p:cNvPr>
          <p:cNvSpPr/>
          <p:nvPr/>
        </p:nvSpPr>
        <p:spPr>
          <a:xfrm flipV="1">
            <a:off x="1055689" y="803583"/>
            <a:ext cx="72580" cy="72177"/>
          </a:xfrm>
          <a:prstGeom prst="r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HarmonyOS Sans SC"/>
              <a:cs typeface="+mn-cs"/>
            </a:endParaRPr>
          </a:p>
        </p:txBody>
      </p:sp>
      <p:sp>
        <p:nvSpPr>
          <p:cNvPr id="41" name="文本框 40">
            <a:extLst>
              <a:ext uri="{FF2B5EF4-FFF2-40B4-BE49-F238E27FC236}">
                <a16:creationId xmlns:a16="http://schemas.microsoft.com/office/drawing/2014/main" id="{706F5790-CDCD-487A-8E13-8C4F39A385AC}"/>
              </a:ext>
            </a:extLst>
          </p:cNvPr>
          <p:cNvSpPr txBox="1"/>
          <p:nvPr/>
        </p:nvSpPr>
        <p:spPr>
          <a:xfrm>
            <a:off x="941388" y="918105"/>
            <a:ext cx="2364750"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2800" b="0" i="0" u="none" strike="noStrike" kern="1200" cap="none" spc="0" normalizeH="0" baseline="0" noProof="0" dirty="0">
                <a:ln>
                  <a:noFill/>
                </a:ln>
                <a:solidFill>
                  <a:prstClr val="black"/>
                </a:solidFill>
                <a:effectLst/>
                <a:uLnTx/>
                <a:uFillTx/>
                <a:latin typeface="HarmonyOS Sans Black"/>
                <a:ea typeface="+mj-ea"/>
                <a:cs typeface="+mn-cs"/>
              </a:rPr>
              <a:t>Arrow</a:t>
            </a:r>
            <a:r>
              <a:rPr kumimoji="0" lang="en-US" altLang="zh-CN" sz="1800" b="0" i="0" u="none" strike="noStrike" kern="1200" cap="none" spc="0" normalizeH="0" baseline="0" noProof="0" dirty="0">
                <a:ln>
                  <a:noFill/>
                </a:ln>
                <a:solidFill>
                  <a:prstClr val="black"/>
                </a:solidFill>
                <a:effectLst/>
                <a:uLnTx/>
                <a:uFillTx/>
                <a:latin typeface="HarmonyOS Sans SC"/>
                <a:cs typeface="+mn-cs"/>
              </a:rPr>
              <a:t> </a:t>
            </a:r>
            <a:r>
              <a:rPr kumimoji="0" lang="en-US" altLang="zh-CN" sz="2800" b="0" i="0" u="none" strike="noStrike" kern="1200" cap="none" spc="0" normalizeH="0" baseline="0" noProof="0" dirty="0">
                <a:ln>
                  <a:noFill/>
                </a:ln>
                <a:solidFill>
                  <a:schemeClr val="accent1"/>
                </a:solidFill>
                <a:effectLst/>
                <a:uLnTx/>
                <a:uFillTx/>
                <a:latin typeface="HarmonyOS Sans Black"/>
                <a:ea typeface="+mj-ea"/>
                <a:cs typeface="+mn-cs"/>
              </a:rPr>
              <a:t>Chart</a:t>
            </a:r>
          </a:p>
        </p:txBody>
      </p:sp>
      <p:cxnSp>
        <p:nvCxnSpPr>
          <p:cNvPr id="42" name="Straight Connector 17">
            <a:extLst>
              <a:ext uri="{FF2B5EF4-FFF2-40B4-BE49-F238E27FC236}">
                <a16:creationId xmlns:a16="http://schemas.microsoft.com/office/drawing/2014/main" id="{C3F38AA8-80BF-4A2D-B81D-D7A7302A4D1A}"/>
              </a:ext>
            </a:extLst>
          </p:cNvPr>
          <p:cNvCxnSpPr/>
          <p:nvPr/>
        </p:nvCxnSpPr>
        <p:spPr>
          <a:xfrm>
            <a:off x="1055688" y="2555357"/>
            <a:ext cx="970082" cy="0"/>
          </a:xfrm>
          <a:prstGeom prst="line">
            <a:avLst/>
          </a:prstGeom>
          <a:ln w="50800">
            <a:solidFill>
              <a:schemeClr val="accent1"/>
            </a:solidFill>
          </a:ln>
        </p:spPr>
        <p:style>
          <a:lnRef idx="1">
            <a:schemeClr val="accent1"/>
          </a:lnRef>
          <a:fillRef idx="0">
            <a:schemeClr val="accent1"/>
          </a:fillRef>
          <a:effectRef idx="0">
            <a:schemeClr val="accent1"/>
          </a:effectRef>
          <a:fontRef idx="minor">
            <a:schemeClr val="tx1"/>
          </a:fontRef>
        </p:style>
      </p:cxnSp>
      <p:sp>
        <p:nvSpPr>
          <p:cNvPr id="43" name="TextBox 18">
            <a:extLst>
              <a:ext uri="{FF2B5EF4-FFF2-40B4-BE49-F238E27FC236}">
                <a16:creationId xmlns:a16="http://schemas.microsoft.com/office/drawing/2014/main" id="{BE3CEDDB-F423-4D2D-A51F-4DE277CE1562}"/>
              </a:ext>
            </a:extLst>
          </p:cNvPr>
          <p:cNvSpPr txBox="1"/>
          <p:nvPr/>
        </p:nvSpPr>
        <p:spPr>
          <a:xfrm>
            <a:off x="1055687" y="2966254"/>
            <a:ext cx="4249737" cy="1583053"/>
          </a:xfrm>
          <a:prstGeom prst="rect">
            <a:avLst/>
          </a:prstGeom>
          <a:noFill/>
        </p:spPr>
        <p:txBody>
          <a:bodyPr wrap="square" lIns="0" tIns="36000" rIns="216000" bIns="36000" rtlCol="0">
            <a:spAutoFit/>
          </a:bodyPr>
          <a:lstStyle/>
          <a:p>
            <a:pPr marL="0" marR="0" lvl="0" indent="0" algn="l" defTabSz="914400" rtl="0" eaLnBrk="1" fontAlgn="auto" latinLnBrk="0" hangingPunct="1">
              <a:lnSpc>
                <a:spcPct val="120000"/>
              </a:lnSpc>
              <a:spcBef>
                <a:spcPts val="1200"/>
              </a:spcBef>
              <a:spcAft>
                <a:spcPts val="0"/>
              </a:spcAft>
              <a:buClr>
                <a:srgbClr val="5CE0CE"/>
              </a:buClr>
              <a:buSzTx/>
              <a:buFontTx/>
              <a:buNone/>
              <a:tabLst/>
              <a:defRPr/>
            </a:pPr>
            <a:r>
              <a:rPr kumimoji="0" lang="en-US" sz="1100" b="0" i="0" u="none" strike="noStrike" kern="1200" cap="none" spc="0" normalizeH="0" baseline="0" noProof="0" dirty="0">
                <a:ln>
                  <a:noFill/>
                </a:ln>
                <a:solidFill>
                  <a:prstClr val="black">
                    <a:lumMod val="50000"/>
                    <a:lumOff val="50000"/>
                  </a:prstClr>
                </a:solidFill>
                <a:effectLst/>
                <a:uLnTx/>
                <a:uFillTx/>
                <a:latin typeface="HarmonyOS Sans SC"/>
                <a:cs typeface="+mn-cs"/>
              </a:rPr>
              <a:t>Excellence in Service</a:t>
            </a:r>
          </a:p>
          <a:p>
            <a:pPr marL="0" marR="0" lvl="0" indent="0" algn="l" defTabSz="914400" rtl="0" eaLnBrk="1" fontAlgn="auto" latinLnBrk="0" hangingPunct="1">
              <a:lnSpc>
                <a:spcPct val="120000"/>
              </a:lnSpc>
              <a:spcBef>
                <a:spcPts val="1200"/>
              </a:spcBef>
              <a:spcAft>
                <a:spcPts val="0"/>
              </a:spcAft>
              <a:buClr>
                <a:srgbClr val="5CE0CE"/>
              </a:buClr>
              <a:buSzTx/>
              <a:buFontTx/>
              <a:buNone/>
              <a:tabLst/>
              <a:defRPr/>
            </a:pPr>
            <a:r>
              <a:rPr kumimoji="0" lang="en-US" sz="1100" b="0" i="0" u="none" strike="noStrike" kern="1200" cap="none" spc="0" normalizeH="0" baseline="0" noProof="0" dirty="0">
                <a:ln>
                  <a:noFill/>
                </a:ln>
                <a:solidFill>
                  <a:prstClr val="black">
                    <a:lumMod val="50000"/>
                    <a:lumOff val="50000"/>
                  </a:prstClr>
                </a:solidFill>
                <a:effectLst/>
                <a:uLnTx/>
                <a:uFillTx/>
                <a:latin typeface="HarmonyOS Sans SC"/>
                <a:cs typeface="+mn-cs"/>
              </a:rPr>
              <a:t>Apparently we had reached a great height in the atmosphere, for the sky was a dead black, and the stars had.</a:t>
            </a:r>
          </a:p>
          <a:p>
            <a:pPr marL="0" marR="0" lvl="0" indent="0" algn="l" defTabSz="914400" rtl="0" eaLnBrk="1" fontAlgn="auto" latinLnBrk="0" hangingPunct="1">
              <a:lnSpc>
                <a:spcPct val="120000"/>
              </a:lnSpc>
              <a:spcBef>
                <a:spcPts val="1200"/>
              </a:spcBef>
              <a:spcAft>
                <a:spcPts val="0"/>
              </a:spcAft>
              <a:buClr>
                <a:srgbClr val="5CE0CE"/>
              </a:buClr>
              <a:buSzTx/>
              <a:buFontTx/>
              <a:buNone/>
              <a:tabLst/>
              <a:defRPr/>
            </a:pPr>
            <a:r>
              <a:rPr kumimoji="0" lang="en-US" sz="1100" b="0" i="0" u="none" strike="noStrike" kern="1200" cap="none" spc="0" normalizeH="0" baseline="0" noProof="0" dirty="0">
                <a:ln>
                  <a:noFill/>
                </a:ln>
                <a:solidFill>
                  <a:prstClr val="black">
                    <a:lumMod val="50000"/>
                    <a:lumOff val="50000"/>
                  </a:prstClr>
                </a:solidFill>
                <a:effectLst/>
                <a:uLnTx/>
                <a:uFillTx/>
                <a:latin typeface="HarmonyOS Sans SC"/>
                <a:cs typeface="+mn-cs"/>
              </a:rPr>
              <a:t>Ceased to twinkle. By the same illusion which lifts the horizon of the sea to the level of the spectator on a hillside, the sable cloud beneath was dished out.</a:t>
            </a:r>
          </a:p>
        </p:txBody>
      </p:sp>
    </p:spTree>
    <p:extLst>
      <p:ext uri="{BB962C8B-B14F-4D97-AF65-F5344CB8AC3E}">
        <p14:creationId xmlns:p14="http://schemas.microsoft.com/office/powerpoint/2010/main" val="2682713583"/>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4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Arrow: Pentagon 83">
            <a:extLst>
              <a:ext uri="{FF2B5EF4-FFF2-40B4-BE49-F238E27FC236}">
                <a16:creationId xmlns:a16="http://schemas.microsoft.com/office/drawing/2014/main" id="{41479DCF-72E2-47AE-B73F-A7B64778142E}"/>
              </a:ext>
            </a:extLst>
          </p:cNvPr>
          <p:cNvSpPr/>
          <p:nvPr/>
        </p:nvSpPr>
        <p:spPr>
          <a:xfrm rot="16200000">
            <a:off x="6431364" y="4844759"/>
            <a:ext cx="2376826" cy="758270"/>
          </a:xfrm>
          <a:prstGeom prst="homePlate">
            <a:avLst>
              <a:gd name="adj" fmla="val 38782"/>
            </a:avLst>
          </a:prstGeom>
          <a:gradFill flip="none" rotWithShape="1">
            <a:gsLst>
              <a:gs pos="73000">
                <a:schemeClr val="accent1"/>
              </a:gs>
              <a:gs pos="31000">
                <a:schemeClr val="accent1">
                  <a:lumMod val="60000"/>
                  <a:lumOff val="40000"/>
                </a:schemeClr>
              </a:gs>
              <a:gs pos="0">
                <a:schemeClr val="accent1">
                  <a:lumMod val="40000"/>
                  <a:lumOff val="60000"/>
                </a:schemeClr>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vert="vert" lIns="0" tIns="0" rIns="457200" bIns="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0F0F0"/>
              </a:solidFill>
              <a:effectLst/>
              <a:uLnTx/>
              <a:uFillTx/>
              <a:latin typeface="HarmonyOS Sans SC"/>
              <a:cs typeface="+mn-cs"/>
            </a:endParaRPr>
          </a:p>
        </p:txBody>
      </p:sp>
      <p:sp>
        <p:nvSpPr>
          <p:cNvPr id="4" name="Freeform: Shape 85">
            <a:extLst>
              <a:ext uri="{FF2B5EF4-FFF2-40B4-BE49-F238E27FC236}">
                <a16:creationId xmlns:a16="http://schemas.microsoft.com/office/drawing/2014/main" id="{294DED23-C961-4ADB-84E1-C0A7F3C616EB}"/>
              </a:ext>
            </a:extLst>
          </p:cNvPr>
          <p:cNvSpPr>
            <a:spLocks/>
          </p:cNvSpPr>
          <p:nvPr/>
        </p:nvSpPr>
        <p:spPr bwMode="auto">
          <a:xfrm>
            <a:off x="7246691" y="6412190"/>
            <a:ext cx="1155228" cy="445810"/>
          </a:xfrm>
          <a:custGeom>
            <a:avLst/>
            <a:gdLst>
              <a:gd name="connsiteX0" fmla="*/ 0 w 1155228"/>
              <a:gd name="connsiteY0" fmla="*/ 0 h 445810"/>
              <a:gd name="connsiteX1" fmla="*/ 766774 w 1155228"/>
              <a:gd name="connsiteY1" fmla="*/ 0 h 445810"/>
              <a:gd name="connsiteX2" fmla="*/ 1155228 w 1155228"/>
              <a:gd name="connsiteY2" fmla="*/ 445810 h 445810"/>
              <a:gd name="connsiteX3" fmla="*/ 232030 w 1155228"/>
              <a:gd name="connsiteY3" fmla="*/ 445810 h 445810"/>
            </a:gdLst>
            <a:ahLst/>
            <a:cxnLst>
              <a:cxn ang="0">
                <a:pos x="connsiteX0" y="connsiteY0"/>
              </a:cxn>
              <a:cxn ang="0">
                <a:pos x="connsiteX1" y="connsiteY1"/>
              </a:cxn>
              <a:cxn ang="0">
                <a:pos x="connsiteX2" y="connsiteY2"/>
              </a:cxn>
              <a:cxn ang="0">
                <a:pos x="connsiteX3" y="connsiteY3"/>
              </a:cxn>
            </a:cxnLst>
            <a:rect l="l" t="t" r="r" b="b"/>
            <a:pathLst>
              <a:path w="1155228" h="445810">
                <a:moveTo>
                  <a:pt x="0" y="0"/>
                </a:moveTo>
                <a:lnTo>
                  <a:pt x="766774" y="0"/>
                </a:lnTo>
                <a:lnTo>
                  <a:pt x="1155228" y="445810"/>
                </a:lnTo>
                <a:lnTo>
                  <a:pt x="232030" y="445810"/>
                </a:lnTo>
                <a:close/>
              </a:path>
            </a:pathLst>
          </a:custGeom>
          <a:gradFill flip="none" rotWithShape="1">
            <a:gsLst>
              <a:gs pos="73000">
                <a:schemeClr val="accent1"/>
              </a:gs>
              <a:gs pos="31000">
                <a:schemeClr val="accent1">
                  <a:lumMod val="60000"/>
                  <a:lumOff val="40000"/>
                </a:schemeClr>
              </a:gs>
              <a:gs pos="0">
                <a:schemeClr val="accent1">
                  <a:lumMod val="40000"/>
                  <a:lumOff val="60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vert="vert" lIns="0" tIns="0" rIns="457200" bIns="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0F0F0"/>
              </a:solidFill>
              <a:effectLst/>
              <a:uLnTx/>
              <a:uFillTx/>
              <a:latin typeface="HarmonyOS Sans SC"/>
              <a:cs typeface="+mn-cs"/>
            </a:endParaRPr>
          </a:p>
        </p:txBody>
      </p:sp>
      <p:sp>
        <p:nvSpPr>
          <p:cNvPr id="6" name="Arrow: Pentagon 72">
            <a:extLst>
              <a:ext uri="{FF2B5EF4-FFF2-40B4-BE49-F238E27FC236}">
                <a16:creationId xmlns:a16="http://schemas.microsoft.com/office/drawing/2014/main" id="{40B1A6D9-FF9F-4F1F-9257-C42A0CC11229}"/>
              </a:ext>
            </a:extLst>
          </p:cNvPr>
          <p:cNvSpPr/>
          <p:nvPr/>
        </p:nvSpPr>
        <p:spPr>
          <a:xfrm rot="16200000">
            <a:off x="3396089" y="4844759"/>
            <a:ext cx="2376826" cy="758270"/>
          </a:xfrm>
          <a:prstGeom prst="homePlate">
            <a:avLst>
              <a:gd name="adj" fmla="val 38782"/>
            </a:avLst>
          </a:prstGeom>
          <a:gradFill flip="none" rotWithShape="1">
            <a:gsLst>
              <a:gs pos="73000">
                <a:schemeClr val="accent1"/>
              </a:gs>
              <a:gs pos="31000">
                <a:schemeClr val="accent1">
                  <a:lumMod val="60000"/>
                  <a:lumOff val="40000"/>
                </a:schemeClr>
              </a:gs>
              <a:gs pos="0">
                <a:schemeClr val="accent1">
                  <a:lumMod val="40000"/>
                  <a:lumOff val="60000"/>
                </a:schemeClr>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vert="vert" lIns="0" tIns="0" rIns="457200" bIns="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0F0F0"/>
              </a:solidFill>
              <a:effectLst/>
              <a:uLnTx/>
              <a:uFillTx/>
              <a:latin typeface="HarmonyOS Sans SC"/>
              <a:cs typeface="+mn-cs"/>
            </a:endParaRPr>
          </a:p>
        </p:txBody>
      </p:sp>
      <p:sp>
        <p:nvSpPr>
          <p:cNvPr id="7" name="Freeform: Shape 77">
            <a:extLst>
              <a:ext uri="{FF2B5EF4-FFF2-40B4-BE49-F238E27FC236}">
                <a16:creationId xmlns:a16="http://schemas.microsoft.com/office/drawing/2014/main" id="{0C95E554-57DB-4A30-9CAA-A71052C0594D}"/>
              </a:ext>
            </a:extLst>
          </p:cNvPr>
          <p:cNvSpPr>
            <a:spLocks/>
          </p:cNvSpPr>
          <p:nvPr/>
        </p:nvSpPr>
        <p:spPr bwMode="auto">
          <a:xfrm>
            <a:off x="3819145" y="6412190"/>
            <a:ext cx="1146727" cy="445810"/>
          </a:xfrm>
          <a:custGeom>
            <a:avLst/>
            <a:gdLst>
              <a:gd name="connsiteX0" fmla="*/ 388455 w 1146727"/>
              <a:gd name="connsiteY0" fmla="*/ 0 h 445810"/>
              <a:gd name="connsiteX1" fmla="*/ 1146727 w 1146727"/>
              <a:gd name="connsiteY1" fmla="*/ 0 h 445810"/>
              <a:gd name="connsiteX2" fmla="*/ 914697 w 1146727"/>
              <a:gd name="connsiteY2" fmla="*/ 445810 h 445810"/>
              <a:gd name="connsiteX3" fmla="*/ 0 w 1146727"/>
              <a:gd name="connsiteY3" fmla="*/ 445810 h 445810"/>
            </a:gdLst>
            <a:ahLst/>
            <a:cxnLst>
              <a:cxn ang="0">
                <a:pos x="connsiteX0" y="connsiteY0"/>
              </a:cxn>
              <a:cxn ang="0">
                <a:pos x="connsiteX1" y="connsiteY1"/>
              </a:cxn>
              <a:cxn ang="0">
                <a:pos x="connsiteX2" y="connsiteY2"/>
              </a:cxn>
              <a:cxn ang="0">
                <a:pos x="connsiteX3" y="connsiteY3"/>
              </a:cxn>
            </a:cxnLst>
            <a:rect l="l" t="t" r="r" b="b"/>
            <a:pathLst>
              <a:path w="1146727" h="445810">
                <a:moveTo>
                  <a:pt x="388455" y="0"/>
                </a:moveTo>
                <a:lnTo>
                  <a:pt x="1146727" y="0"/>
                </a:lnTo>
                <a:lnTo>
                  <a:pt x="914697" y="445810"/>
                </a:lnTo>
                <a:lnTo>
                  <a:pt x="0" y="445810"/>
                </a:lnTo>
                <a:close/>
              </a:path>
            </a:pathLst>
          </a:custGeom>
          <a:gradFill flip="none" rotWithShape="1">
            <a:gsLst>
              <a:gs pos="73000">
                <a:schemeClr val="accent1"/>
              </a:gs>
              <a:gs pos="31000">
                <a:schemeClr val="accent1">
                  <a:lumMod val="60000"/>
                  <a:lumOff val="40000"/>
                </a:schemeClr>
              </a:gs>
              <a:gs pos="0">
                <a:schemeClr val="accent1">
                  <a:lumMod val="40000"/>
                  <a:lumOff val="60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vert="vert" lIns="0" tIns="0" rIns="457200" bIns="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0F0F0"/>
              </a:solidFill>
              <a:effectLst/>
              <a:uLnTx/>
              <a:uFillTx/>
              <a:latin typeface="HarmonyOS Sans SC"/>
              <a:cs typeface="+mn-cs"/>
            </a:endParaRPr>
          </a:p>
        </p:txBody>
      </p:sp>
      <p:sp>
        <p:nvSpPr>
          <p:cNvPr id="9" name="Arrow: Pentagon 74">
            <a:extLst>
              <a:ext uri="{FF2B5EF4-FFF2-40B4-BE49-F238E27FC236}">
                <a16:creationId xmlns:a16="http://schemas.microsoft.com/office/drawing/2014/main" id="{264BC43D-9948-446A-B15A-C7C568BB4DE0}"/>
              </a:ext>
            </a:extLst>
          </p:cNvPr>
          <p:cNvSpPr/>
          <p:nvPr/>
        </p:nvSpPr>
        <p:spPr>
          <a:xfrm rot="16200000">
            <a:off x="3867150" y="4553824"/>
            <a:ext cx="2950191" cy="766775"/>
          </a:xfrm>
          <a:prstGeom prst="homePlate">
            <a:avLst>
              <a:gd name="adj" fmla="val 38782"/>
            </a:avLst>
          </a:prstGeom>
          <a:gradFill flip="none" rotWithShape="1">
            <a:gsLst>
              <a:gs pos="73000">
                <a:schemeClr val="accent1"/>
              </a:gs>
              <a:gs pos="31000">
                <a:schemeClr val="accent1">
                  <a:lumMod val="60000"/>
                  <a:lumOff val="40000"/>
                </a:schemeClr>
              </a:gs>
              <a:gs pos="0">
                <a:schemeClr val="accent1">
                  <a:lumMod val="40000"/>
                  <a:lumOff val="60000"/>
                </a:schemeClr>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vert="vert" lIns="0" tIns="0" rIns="457200" bIns="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0F0F0"/>
              </a:solidFill>
              <a:effectLst/>
              <a:uLnTx/>
              <a:uFillTx/>
              <a:latin typeface="HarmonyOS Sans SC"/>
              <a:cs typeface="+mn-cs"/>
            </a:endParaRPr>
          </a:p>
        </p:txBody>
      </p:sp>
      <p:sp>
        <p:nvSpPr>
          <p:cNvPr id="10" name="Freeform: Shape 80">
            <a:extLst>
              <a:ext uri="{FF2B5EF4-FFF2-40B4-BE49-F238E27FC236}">
                <a16:creationId xmlns:a16="http://schemas.microsoft.com/office/drawing/2014/main" id="{6638CB10-0875-40DF-90C4-E649B7B7C896}"/>
              </a:ext>
            </a:extLst>
          </p:cNvPr>
          <p:cNvSpPr>
            <a:spLocks/>
          </p:cNvSpPr>
          <p:nvPr/>
        </p:nvSpPr>
        <p:spPr bwMode="auto">
          <a:xfrm>
            <a:off x="4727492" y="6412190"/>
            <a:ext cx="998804" cy="445810"/>
          </a:xfrm>
          <a:custGeom>
            <a:avLst/>
            <a:gdLst>
              <a:gd name="connsiteX0" fmla="*/ 232030 w 998804"/>
              <a:gd name="connsiteY0" fmla="*/ 0 h 445810"/>
              <a:gd name="connsiteX1" fmla="*/ 998804 w 998804"/>
              <a:gd name="connsiteY1" fmla="*/ 0 h 445810"/>
              <a:gd name="connsiteX2" fmla="*/ 917985 w 998804"/>
              <a:gd name="connsiteY2" fmla="*/ 445810 h 445810"/>
              <a:gd name="connsiteX3" fmla="*/ 0 w 998804"/>
              <a:gd name="connsiteY3" fmla="*/ 445810 h 445810"/>
            </a:gdLst>
            <a:ahLst/>
            <a:cxnLst>
              <a:cxn ang="0">
                <a:pos x="connsiteX0" y="connsiteY0"/>
              </a:cxn>
              <a:cxn ang="0">
                <a:pos x="connsiteX1" y="connsiteY1"/>
              </a:cxn>
              <a:cxn ang="0">
                <a:pos x="connsiteX2" y="connsiteY2"/>
              </a:cxn>
              <a:cxn ang="0">
                <a:pos x="connsiteX3" y="connsiteY3"/>
              </a:cxn>
            </a:cxnLst>
            <a:rect l="l" t="t" r="r" b="b"/>
            <a:pathLst>
              <a:path w="998804" h="445810">
                <a:moveTo>
                  <a:pt x="232030" y="0"/>
                </a:moveTo>
                <a:lnTo>
                  <a:pt x="998804" y="0"/>
                </a:lnTo>
                <a:lnTo>
                  <a:pt x="917985" y="445810"/>
                </a:lnTo>
                <a:lnTo>
                  <a:pt x="0" y="445810"/>
                </a:lnTo>
                <a:close/>
              </a:path>
            </a:pathLst>
          </a:custGeom>
          <a:gradFill flip="none" rotWithShape="1">
            <a:gsLst>
              <a:gs pos="73000">
                <a:schemeClr val="accent1"/>
              </a:gs>
              <a:gs pos="31000">
                <a:schemeClr val="accent1">
                  <a:lumMod val="60000"/>
                  <a:lumOff val="40000"/>
                </a:schemeClr>
              </a:gs>
              <a:gs pos="0">
                <a:schemeClr val="accent1">
                  <a:lumMod val="40000"/>
                  <a:lumOff val="60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vert="vert" lIns="0" tIns="0" rIns="457200" bIns="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0F0F0"/>
              </a:solidFill>
              <a:effectLst/>
              <a:uLnTx/>
              <a:uFillTx/>
              <a:latin typeface="HarmonyOS Sans SC"/>
              <a:cs typeface="+mn-cs"/>
            </a:endParaRPr>
          </a:p>
        </p:txBody>
      </p:sp>
      <p:sp>
        <p:nvSpPr>
          <p:cNvPr id="12" name="Arrow: Pentagon 79">
            <a:extLst>
              <a:ext uri="{FF2B5EF4-FFF2-40B4-BE49-F238E27FC236}">
                <a16:creationId xmlns:a16="http://schemas.microsoft.com/office/drawing/2014/main" id="{87C50206-56C2-4504-AE5F-3419A44BABAE}"/>
              </a:ext>
            </a:extLst>
          </p:cNvPr>
          <p:cNvSpPr/>
          <p:nvPr/>
        </p:nvSpPr>
        <p:spPr>
          <a:xfrm rot="16200000">
            <a:off x="5391608" y="4553824"/>
            <a:ext cx="2950191" cy="766775"/>
          </a:xfrm>
          <a:prstGeom prst="homePlate">
            <a:avLst>
              <a:gd name="adj" fmla="val 38782"/>
            </a:avLst>
          </a:prstGeom>
          <a:gradFill flip="none" rotWithShape="1">
            <a:gsLst>
              <a:gs pos="73000">
                <a:schemeClr val="accent1"/>
              </a:gs>
              <a:gs pos="31000">
                <a:schemeClr val="accent1">
                  <a:lumMod val="60000"/>
                  <a:lumOff val="40000"/>
                </a:schemeClr>
              </a:gs>
              <a:gs pos="0">
                <a:schemeClr val="accent1">
                  <a:lumMod val="40000"/>
                  <a:lumOff val="60000"/>
                </a:schemeClr>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vert="vert" lIns="0" tIns="0" rIns="457200" bIns="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0F0F0"/>
              </a:solidFill>
              <a:effectLst/>
              <a:uLnTx/>
              <a:uFillTx/>
              <a:latin typeface="HarmonyOS Sans SC"/>
              <a:cs typeface="+mn-cs"/>
            </a:endParaRPr>
          </a:p>
        </p:txBody>
      </p:sp>
      <p:sp>
        <p:nvSpPr>
          <p:cNvPr id="13" name="Freeform: Shape 84">
            <a:extLst>
              <a:ext uri="{FF2B5EF4-FFF2-40B4-BE49-F238E27FC236}">
                <a16:creationId xmlns:a16="http://schemas.microsoft.com/office/drawing/2014/main" id="{1A8165EA-B7DF-4785-AC59-0C145D27585C}"/>
              </a:ext>
            </a:extLst>
          </p:cNvPr>
          <p:cNvSpPr>
            <a:spLocks/>
          </p:cNvSpPr>
          <p:nvPr/>
        </p:nvSpPr>
        <p:spPr bwMode="auto">
          <a:xfrm>
            <a:off x="6486719" y="6412190"/>
            <a:ext cx="992003" cy="445810"/>
          </a:xfrm>
          <a:custGeom>
            <a:avLst/>
            <a:gdLst>
              <a:gd name="connsiteX0" fmla="*/ 0 w 992003"/>
              <a:gd name="connsiteY0" fmla="*/ 0 h 445810"/>
              <a:gd name="connsiteX1" fmla="*/ 759973 w 992003"/>
              <a:gd name="connsiteY1" fmla="*/ 0 h 445810"/>
              <a:gd name="connsiteX2" fmla="*/ 992003 w 992003"/>
              <a:gd name="connsiteY2" fmla="*/ 445810 h 445810"/>
              <a:gd name="connsiteX3" fmla="*/ 75606 w 992003"/>
              <a:gd name="connsiteY3" fmla="*/ 445810 h 445810"/>
            </a:gdLst>
            <a:ahLst/>
            <a:cxnLst>
              <a:cxn ang="0">
                <a:pos x="connsiteX0" y="connsiteY0"/>
              </a:cxn>
              <a:cxn ang="0">
                <a:pos x="connsiteX1" y="connsiteY1"/>
              </a:cxn>
              <a:cxn ang="0">
                <a:pos x="connsiteX2" y="connsiteY2"/>
              </a:cxn>
              <a:cxn ang="0">
                <a:pos x="connsiteX3" y="connsiteY3"/>
              </a:cxn>
            </a:cxnLst>
            <a:rect l="l" t="t" r="r" b="b"/>
            <a:pathLst>
              <a:path w="992003" h="445810">
                <a:moveTo>
                  <a:pt x="0" y="0"/>
                </a:moveTo>
                <a:lnTo>
                  <a:pt x="759973" y="0"/>
                </a:lnTo>
                <a:lnTo>
                  <a:pt x="992003" y="445810"/>
                </a:lnTo>
                <a:lnTo>
                  <a:pt x="75606" y="445810"/>
                </a:lnTo>
                <a:close/>
              </a:path>
            </a:pathLst>
          </a:custGeom>
          <a:gradFill flip="none" rotWithShape="1">
            <a:gsLst>
              <a:gs pos="73000">
                <a:schemeClr val="accent1"/>
              </a:gs>
              <a:gs pos="31000">
                <a:schemeClr val="accent1">
                  <a:lumMod val="60000"/>
                  <a:lumOff val="40000"/>
                </a:schemeClr>
              </a:gs>
              <a:gs pos="0">
                <a:schemeClr val="accent1">
                  <a:lumMod val="40000"/>
                  <a:lumOff val="60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vert="vert" lIns="0" tIns="0" rIns="457200" bIns="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0F0F0"/>
              </a:solidFill>
              <a:effectLst/>
              <a:uLnTx/>
              <a:uFillTx/>
              <a:latin typeface="HarmonyOS Sans SC"/>
              <a:cs typeface="+mn-cs"/>
            </a:endParaRPr>
          </a:p>
        </p:txBody>
      </p:sp>
      <p:sp>
        <p:nvSpPr>
          <p:cNvPr id="15" name="Arrow: Pentagon 76">
            <a:extLst>
              <a:ext uri="{FF2B5EF4-FFF2-40B4-BE49-F238E27FC236}">
                <a16:creationId xmlns:a16="http://schemas.microsoft.com/office/drawing/2014/main" id="{2493B73C-2CD1-4852-ADC2-A45F2F540149}"/>
              </a:ext>
            </a:extLst>
          </p:cNvPr>
          <p:cNvSpPr/>
          <p:nvPr/>
        </p:nvSpPr>
        <p:spPr>
          <a:xfrm rot="16200000">
            <a:off x="4347006" y="4272593"/>
            <a:ext cx="3512652" cy="766775"/>
          </a:xfrm>
          <a:prstGeom prst="homePlate">
            <a:avLst>
              <a:gd name="adj" fmla="val 38782"/>
            </a:avLst>
          </a:prstGeom>
          <a:gradFill flip="none" rotWithShape="1">
            <a:gsLst>
              <a:gs pos="73000">
                <a:schemeClr val="accent1"/>
              </a:gs>
              <a:gs pos="31000">
                <a:schemeClr val="accent1">
                  <a:lumMod val="60000"/>
                  <a:lumOff val="40000"/>
                </a:schemeClr>
              </a:gs>
              <a:gs pos="0">
                <a:schemeClr val="accent1">
                  <a:lumMod val="40000"/>
                  <a:lumOff val="60000"/>
                </a:schemeClr>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vert="vert" lIns="0" tIns="0" rIns="457200" bIns="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0F0F0"/>
              </a:solidFill>
              <a:effectLst/>
              <a:uLnTx/>
              <a:uFillTx/>
              <a:latin typeface="HarmonyOS Sans SC"/>
              <a:cs typeface="+mn-cs"/>
            </a:endParaRPr>
          </a:p>
        </p:txBody>
      </p:sp>
      <p:sp>
        <p:nvSpPr>
          <p:cNvPr id="16" name="Freeform: Shape 82">
            <a:extLst>
              <a:ext uri="{FF2B5EF4-FFF2-40B4-BE49-F238E27FC236}">
                <a16:creationId xmlns:a16="http://schemas.microsoft.com/office/drawing/2014/main" id="{F4AEC046-2989-4F79-BBB3-90F17B6AB281}"/>
              </a:ext>
            </a:extLst>
          </p:cNvPr>
          <p:cNvSpPr>
            <a:spLocks/>
          </p:cNvSpPr>
          <p:nvPr/>
        </p:nvSpPr>
        <p:spPr bwMode="auto">
          <a:xfrm>
            <a:off x="5645476" y="6412190"/>
            <a:ext cx="923198" cy="445810"/>
          </a:xfrm>
          <a:custGeom>
            <a:avLst/>
            <a:gdLst>
              <a:gd name="connsiteX0" fmla="*/ 80819 w 923198"/>
              <a:gd name="connsiteY0" fmla="*/ 0 h 445810"/>
              <a:gd name="connsiteX1" fmla="*/ 847593 w 923198"/>
              <a:gd name="connsiteY1" fmla="*/ 0 h 445810"/>
              <a:gd name="connsiteX2" fmla="*/ 923198 w 923198"/>
              <a:gd name="connsiteY2" fmla="*/ 445810 h 445810"/>
              <a:gd name="connsiteX3" fmla="*/ 0 w 923198"/>
              <a:gd name="connsiteY3" fmla="*/ 445810 h 445810"/>
            </a:gdLst>
            <a:ahLst/>
            <a:cxnLst>
              <a:cxn ang="0">
                <a:pos x="connsiteX0" y="connsiteY0"/>
              </a:cxn>
              <a:cxn ang="0">
                <a:pos x="connsiteX1" y="connsiteY1"/>
              </a:cxn>
              <a:cxn ang="0">
                <a:pos x="connsiteX2" y="connsiteY2"/>
              </a:cxn>
              <a:cxn ang="0">
                <a:pos x="connsiteX3" y="connsiteY3"/>
              </a:cxn>
            </a:cxnLst>
            <a:rect l="l" t="t" r="r" b="b"/>
            <a:pathLst>
              <a:path w="923198" h="445810">
                <a:moveTo>
                  <a:pt x="80819" y="0"/>
                </a:moveTo>
                <a:lnTo>
                  <a:pt x="847593" y="0"/>
                </a:lnTo>
                <a:lnTo>
                  <a:pt x="923198" y="445810"/>
                </a:lnTo>
                <a:lnTo>
                  <a:pt x="0" y="445810"/>
                </a:lnTo>
                <a:close/>
              </a:path>
            </a:pathLst>
          </a:custGeom>
          <a:gradFill flip="none" rotWithShape="1">
            <a:gsLst>
              <a:gs pos="73000">
                <a:schemeClr val="accent1"/>
              </a:gs>
              <a:gs pos="31000">
                <a:schemeClr val="accent1">
                  <a:lumMod val="60000"/>
                  <a:lumOff val="40000"/>
                </a:schemeClr>
              </a:gs>
              <a:gs pos="0">
                <a:schemeClr val="accent1">
                  <a:lumMod val="40000"/>
                  <a:lumOff val="60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vert="vert" lIns="0" tIns="0" rIns="457200" bIns="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0F0F0"/>
              </a:solidFill>
              <a:effectLst/>
              <a:uLnTx/>
              <a:uFillTx/>
              <a:latin typeface="HarmonyOS Sans SC"/>
              <a:cs typeface="+mn-cs"/>
            </a:endParaRPr>
          </a:p>
        </p:txBody>
      </p:sp>
      <p:cxnSp>
        <p:nvCxnSpPr>
          <p:cNvPr id="20" name="Straight Connector 19">
            <a:extLst>
              <a:ext uri="{FF2B5EF4-FFF2-40B4-BE49-F238E27FC236}">
                <a16:creationId xmlns:a16="http://schemas.microsoft.com/office/drawing/2014/main" id="{A9B1FBA8-D541-4CC4-B9C1-0F68E4DCAB2B}"/>
              </a:ext>
            </a:extLst>
          </p:cNvPr>
          <p:cNvCxnSpPr>
            <a:cxnSpLocks/>
          </p:cNvCxnSpPr>
          <p:nvPr/>
        </p:nvCxnSpPr>
        <p:spPr>
          <a:xfrm>
            <a:off x="4083947" y="3660390"/>
            <a:ext cx="539220" cy="0"/>
          </a:xfrm>
          <a:prstGeom prst="line">
            <a:avLst/>
          </a:prstGeom>
          <a:ln w="12700">
            <a:solidFill>
              <a:schemeClr val="accent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14401644-D936-4E3D-9992-041492852982}"/>
              </a:ext>
            </a:extLst>
          </p:cNvPr>
          <p:cNvCxnSpPr>
            <a:cxnSpLocks/>
          </p:cNvCxnSpPr>
          <p:nvPr/>
        </p:nvCxnSpPr>
        <p:spPr>
          <a:xfrm flipH="1">
            <a:off x="7579595" y="3660389"/>
            <a:ext cx="545230" cy="0"/>
          </a:xfrm>
          <a:prstGeom prst="line">
            <a:avLst/>
          </a:prstGeom>
          <a:ln w="12700">
            <a:solidFill>
              <a:schemeClr val="accent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4559CF8A-5163-4891-8EA9-259BAA3EA78B}"/>
              </a:ext>
            </a:extLst>
          </p:cNvPr>
          <p:cNvCxnSpPr>
            <a:cxnSpLocks/>
          </p:cNvCxnSpPr>
          <p:nvPr/>
        </p:nvCxnSpPr>
        <p:spPr>
          <a:xfrm flipH="1">
            <a:off x="6172863" y="2240096"/>
            <a:ext cx="798708" cy="427565"/>
          </a:xfrm>
          <a:prstGeom prst="line">
            <a:avLst/>
          </a:prstGeom>
          <a:ln w="12700">
            <a:solidFill>
              <a:schemeClr val="accent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EA651893-3A35-45FD-94B5-89A3F7497C7A}"/>
              </a:ext>
            </a:extLst>
          </p:cNvPr>
          <p:cNvCxnSpPr>
            <a:cxnSpLocks/>
          </p:cNvCxnSpPr>
          <p:nvPr/>
        </p:nvCxnSpPr>
        <p:spPr>
          <a:xfrm>
            <a:off x="6971571" y="2240096"/>
            <a:ext cx="608024" cy="0"/>
          </a:xfrm>
          <a:prstGeom prst="line">
            <a:avLst/>
          </a:prstGeom>
          <a:ln w="12700">
            <a:solidFill>
              <a:schemeClr val="accent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grpSp>
        <p:nvGrpSpPr>
          <p:cNvPr id="41" name="Group 27">
            <a:extLst>
              <a:ext uri="{FF2B5EF4-FFF2-40B4-BE49-F238E27FC236}">
                <a16:creationId xmlns:a16="http://schemas.microsoft.com/office/drawing/2014/main" id="{C7D28ED1-492B-465D-9A58-46F3CFF3ACCB}"/>
              </a:ext>
            </a:extLst>
          </p:cNvPr>
          <p:cNvGrpSpPr>
            <a:grpSpLocks noChangeAspect="1"/>
          </p:cNvGrpSpPr>
          <p:nvPr/>
        </p:nvGrpSpPr>
        <p:grpSpPr bwMode="auto">
          <a:xfrm>
            <a:off x="4460833" y="5783647"/>
            <a:ext cx="243894" cy="287253"/>
            <a:chOff x="2081" y="3223"/>
            <a:chExt cx="315" cy="371"/>
          </a:xfrm>
        </p:grpSpPr>
        <p:sp>
          <p:nvSpPr>
            <p:cNvPr id="42" name="Freeform 28">
              <a:extLst>
                <a:ext uri="{FF2B5EF4-FFF2-40B4-BE49-F238E27FC236}">
                  <a16:creationId xmlns:a16="http://schemas.microsoft.com/office/drawing/2014/main" id="{53D6806B-ED47-4C6F-85A6-E28F34B3D3D9}"/>
                </a:ext>
              </a:extLst>
            </p:cNvPr>
            <p:cNvSpPr>
              <a:spLocks noEditPoints="1"/>
            </p:cNvSpPr>
            <p:nvPr/>
          </p:nvSpPr>
          <p:spPr bwMode="auto">
            <a:xfrm>
              <a:off x="2081" y="3223"/>
              <a:ext cx="311" cy="371"/>
            </a:xfrm>
            <a:custGeom>
              <a:avLst/>
              <a:gdLst>
                <a:gd name="T0" fmla="*/ 98 w 147"/>
                <a:gd name="T1" fmla="*/ 73 h 176"/>
                <a:gd name="T2" fmla="*/ 73 w 147"/>
                <a:gd name="T3" fmla="*/ 99 h 176"/>
                <a:gd name="T4" fmla="*/ 48 w 147"/>
                <a:gd name="T5" fmla="*/ 73 h 176"/>
                <a:gd name="T6" fmla="*/ 73 w 147"/>
                <a:gd name="T7" fmla="*/ 47 h 176"/>
                <a:gd name="T8" fmla="*/ 77 w 147"/>
                <a:gd name="T9" fmla="*/ 48 h 176"/>
                <a:gd name="T10" fmla="*/ 91 w 147"/>
                <a:gd name="T11" fmla="*/ 33 h 176"/>
                <a:gd name="T12" fmla="*/ 73 w 147"/>
                <a:gd name="T13" fmla="*/ 29 h 176"/>
                <a:gd name="T14" fmla="*/ 30 w 147"/>
                <a:gd name="T15" fmla="*/ 73 h 176"/>
                <a:gd name="T16" fmla="*/ 73 w 147"/>
                <a:gd name="T17" fmla="*/ 117 h 176"/>
                <a:gd name="T18" fmla="*/ 117 w 147"/>
                <a:gd name="T19" fmla="*/ 73 h 176"/>
                <a:gd name="T20" fmla="*/ 113 w 147"/>
                <a:gd name="T21" fmla="*/ 56 h 176"/>
                <a:gd name="T22" fmla="*/ 98 w 147"/>
                <a:gd name="T23" fmla="*/ 71 h 176"/>
                <a:gd name="T24" fmla="*/ 98 w 147"/>
                <a:gd name="T25" fmla="*/ 73 h 176"/>
                <a:gd name="T26" fmla="*/ 118 w 147"/>
                <a:gd name="T27" fmla="*/ 132 h 176"/>
                <a:gd name="T28" fmla="*/ 147 w 147"/>
                <a:gd name="T29" fmla="*/ 73 h 176"/>
                <a:gd name="T30" fmla="*/ 143 w 147"/>
                <a:gd name="T31" fmla="*/ 50 h 176"/>
                <a:gd name="T32" fmla="*/ 139 w 147"/>
                <a:gd name="T33" fmla="*/ 54 h 176"/>
                <a:gd name="T34" fmla="*/ 128 w 147"/>
                <a:gd name="T35" fmla="*/ 59 h 176"/>
                <a:gd name="T36" fmla="*/ 127 w 147"/>
                <a:gd name="T37" fmla="*/ 59 h 176"/>
                <a:gd name="T38" fmla="*/ 129 w 147"/>
                <a:gd name="T39" fmla="*/ 73 h 176"/>
                <a:gd name="T40" fmla="*/ 73 w 147"/>
                <a:gd name="T41" fmla="*/ 129 h 176"/>
                <a:gd name="T42" fmla="*/ 18 w 147"/>
                <a:gd name="T43" fmla="*/ 73 h 176"/>
                <a:gd name="T44" fmla="*/ 73 w 147"/>
                <a:gd name="T45" fmla="*/ 18 h 176"/>
                <a:gd name="T46" fmla="*/ 90 w 147"/>
                <a:gd name="T47" fmla="*/ 20 h 176"/>
                <a:gd name="T48" fmla="*/ 95 w 147"/>
                <a:gd name="T49" fmla="*/ 10 h 176"/>
                <a:gd name="T50" fmla="*/ 100 w 147"/>
                <a:gd name="T51" fmla="*/ 5 h 176"/>
                <a:gd name="T52" fmla="*/ 73 w 147"/>
                <a:gd name="T53" fmla="*/ 0 h 176"/>
                <a:gd name="T54" fmla="*/ 0 w 147"/>
                <a:gd name="T55" fmla="*/ 73 h 176"/>
                <a:gd name="T56" fmla="*/ 32 w 147"/>
                <a:gd name="T57" fmla="*/ 134 h 176"/>
                <a:gd name="T58" fmla="*/ 20 w 147"/>
                <a:gd name="T59" fmla="*/ 167 h 176"/>
                <a:gd name="T60" fmla="*/ 24 w 147"/>
                <a:gd name="T61" fmla="*/ 175 h 176"/>
                <a:gd name="T62" fmla="*/ 26 w 147"/>
                <a:gd name="T63" fmla="*/ 176 h 176"/>
                <a:gd name="T64" fmla="*/ 32 w 147"/>
                <a:gd name="T65" fmla="*/ 171 h 176"/>
                <a:gd name="T66" fmla="*/ 44 w 147"/>
                <a:gd name="T67" fmla="*/ 141 h 176"/>
                <a:gd name="T68" fmla="*/ 69 w 147"/>
                <a:gd name="T69" fmla="*/ 147 h 176"/>
                <a:gd name="T70" fmla="*/ 69 w 147"/>
                <a:gd name="T71" fmla="*/ 169 h 176"/>
                <a:gd name="T72" fmla="*/ 76 w 147"/>
                <a:gd name="T73" fmla="*/ 176 h 176"/>
                <a:gd name="T74" fmla="*/ 82 w 147"/>
                <a:gd name="T75" fmla="*/ 169 h 176"/>
                <a:gd name="T76" fmla="*/ 82 w 147"/>
                <a:gd name="T77" fmla="*/ 146 h 176"/>
                <a:gd name="T78" fmla="*/ 107 w 147"/>
                <a:gd name="T79" fmla="*/ 139 h 176"/>
                <a:gd name="T80" fmla="*/ 119 w 147"/>
                <a:gd name="T81" fmla="*/ 171 h 176"/>
                <a:gd name="T82" fmla="*/ 125 w 147"/>
                <a:gd name="T83" fmla="*/ 176 h 176"/>
                <a:gd name="T84" fmla="*/ 128 w 147"/>
                <a:gd name="T85" fmla="*/ 175 h 176"/>
                <a:gd name="T86" fmla="*/ 132 w 147"/>
                <a:gd name="T87" fmla="*/ 167 h 176"/>
                <a:gd name="T88" fmla="*/ 118 w 147"/>
                <a:gd name="T89" fmla="*/ 132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47" h="176">
                  <a:moveTo>
                    <a:pt x="98" y="73"/>
                  </a:moveTo>
                  <a:cubicBezTo>
                    <a:pt x="98" y="88"/>
                    <a:pt x="87" y="99"/>
                    <a:pt x="73" y="99"/>
                  </a:cubicBezTo>
                  <a:cubicBezTo>
                    <a:pt x="60" y="99"/>
                    <a:pt x="48" y="88"/>
                    <a:pt x="48" y="73"/>
                  </a:cubicBezTo>
                  <a:cubicBezTo>
                    <a:pt x="48" y="59"/>
                    <a:pt x="60" y="47"/>
                    <a:pt x="73" y="47"/>
                  </a:cubicBezTo>
                  <a:cubicBezTo>
                    <a:pt x="75" y="47"/>
                    <a:pt x="76" y="48"/>
                    <a:pt x="77" y="48"/>
                  </a:cubicBezTo>
                  <a:cubicBezTo>
                    <a:pt x="91" y="33"/>
                    <a:pt x="91" y="33"/>
                    <a:pt x="91" y="33"/>
                  </a:cubicBezTo>
                  <a:cubicBezTo>
                    <a:pt x="86" y="31"/>
                    <a:pt x="80" y="29"/>
                    <a:pt x="73" y="29"/>
                  </a:cubicBezTo>
                  <a:cubicBezTo>
                    <a:pt x="50" y="29"/>
                    <a:pt x="30" y="49"/>
                    <a:pt x="30" y="73"/>
                  </a:cubicBezTo>
                  <a:cubicBezTo>
                    <a:pt x="30" y="98"/>
                    <a:pt x="50" y="117"/>
                    <a:pt x="73" y="117"/>
                  </a:cubicBezTo>
                  <a:cubicBezTo>
                    <a:pt x="97" y="117"/>
                    <a:pt x="117" y="98"/>
                    <a:pt x="117" y="73"/>
                  </a:cubicBezTo>
                  <a:cubicBezTo>
                    <a:pt x="117" y="67"/>
                    <a:pt x="115" y="61"/>
                    <a:pt x="113" y="56"/>
                  </a:cubicBezTo>
                  <a:cubicBezTo>
                    <a:pt x="98" y="71"/>
                    <a:pt x="98" y="71"/>
                    <a:pt x="98" y="71"/>
                  </a:cubicBezTo>
                  <a:cubicBezTo>
                    <a:pt x="98" y="72"/>
                    <a:pt x="98" y="73"/>
                    <a:pt x="98" y="73"/>
                  </a:cubicBezTo>
                  <a:close/>
                  <a:moveTo>
                    <a:pt x="118" y="132"/>
                  </a:moveTo>
                  <a:cubicBezTo>
                    <a:pt x="136" y="118"/>
                    <a:pt x="147" y="97"/>
                    <a:pt x="147" y="73"/>
                  </a:cubicBezTo>
                  <a:cubicBezTo>
                    <a:pt x="147" y="65"/>
                    <a:pt x="146" y="58"/>
                    <a:pt x="143" y="50"/>
                  </a:cubicBezTo>
                  <a:cubicBezTo>
                    <a:pt x="139" y="54"/>
                    <a:pt x="139" y="54"/>
                    <a:pt x="139" y="54"/>
                  </a:cubicBezTo>
                  <a:cubicBezTo>
                    <a:pt x="136" y="57"/>
                    <a:pt x="132" y="59"/>
                    <a:pt x="128" y="59"/>
                  </a:cubicBezTo>
                  <a:cubicBezTo>
                    <a:pt x="128" y="59"/>
                    <a:pt x="127" y="59"/>
                    <a:pt x="127" y="59"/>
                  </a:cubicBezTo>
                  <a:cubicBezTo>
                    <a:pt x="128" y="63"/>
                    <a:pt x="129" y="68"/>
                    <a:pt x="129" y="73"/>
                  </a:cubicBezTo>
                  <a:cubicBezTo>
                    <a:pt x="129" y="104"/>
                    <a:pt x="104" y="129"/>
                    <a:pt x="73" y="129"/>
                  </a:cubicBezTo>
                  <a:cubicBezTo>
                    <a:pt x="43" y="129"/>
                    <a:pt x="18" y="104"/>
                    <a:pt x="18" y="73"/>
                  </a:cubicBezTo>
                  <a:cubicBezTo>
                    <a:pt x="18" y="43"/>
                    <a:pt x="43" y="18"/>
                    <a:pt x="73" y="18"/>
                  </a:cubicBezTo>
                  <a:cubicBezTo>
                    <a:pt x="79" y="18"/>
                    <a:pt x="85" y="19"/>
                    <a:pt x="90" y="20"/>
                  </a:cubicBezTo>
                  <a:cubicBezTo>
                    <a:pt x="90" y="16"/>
                    <a:pt x="92" y="13"/>
                    <a:pt x="95" y="10"/>
                  </a:cubicBezTo>
                  <a:cubicBezTo>
                    <a:pt x="100" y="5"/>
                    <a:pt x="100" y="5"/>
                    <a:pt x="100" y="5"/>
                  </a:cubicBezTo>
                  <a:cubicBezTo>
                    <a:pt x="92" y="2"/>
                    <a:pt x="83" y="0"/>
                    <a:pt x="73" y="0"/>
                  </a:cubicBezTo>
                  <a:cubicBezTo>
                    <a:pt x="33" y="0"/>
                    <a:pt x="0" y="33"/>
                    <a:pt x="0" y="73"/>
                  </a:cubicBezTo>
                  <a:cubicBezTo>
                    <a:pt x="0" y="99"/>
                    <a:pt x="12" y="121"/>
                    <a:pt x="32" y="134"/>
                  </a:cubicBezTo>
                  <a:cubicBezTo>
                    <a:pt x="20" y="167"/>
                    <a:pt x="20" y="167"/>
                    <a:pt x="20" y="167"/>
                  </a:cubicBezTo>
                  <a:cubicBezTo>
                    <a:pt x="18" y="170"/>
                    <a:pt x="20" y="174"/>
                    <a:pt x="24" y="175"/>
                  </a:cubicBezTo>
                  <a:cubicBezTo>
                    <a:pt x="24" y="176"/>
                    <a:pt x="25" y="176"/>
                    <a:pt x="26" y="176"/>
                  </a:cubicBezTo>
                  <a:cubicBezTo>
                    <a:pt x="29" y="176"/>
                    <a:pt x="31" y="174"/>
                    <a:pt x="32" y="171"/>
                  </a:cubicBezTo>
                  <a:cubicBezTo>
                    <a:pt x="44" y="141"/>
                    <a:pt x="44" y="141"/>
                    <a:pt x="44" y="141"/>
                  </a:cubicBezTo>
                  <a:cubicBezTo>
                    <a:pt x="52" y="144"/>
                    <a:pt x="60" y="146"/>
                    <a:pt x="69" y="147"/>
                  </a:cubicBezTo>
                  <a:cubicBezTo>
                    <a:pt x="69" y="169"/>
                    <a:pt x="69" y="169"/>
                    <a:pt x="69" y="169"/>
                  </a:cubicBezTo>
                  <a:cubicBezTo>
                    <a:pt x="69" y="173"/>
                    <a:pt x="72" y="176"/>
                    <a:pt x="76" y="176"/>
                  </a:cubicBezTo>
                  <a:cubicBezTo>
                    <a:pt x="79" y="176"/>
                    <a:pt x="82" y="173"/>
                    <a:pt x="82" y="169"/>
                  </a:cubicBezTo>
                  <a:cubicBezTo>
                    <a:pt x="82" y="146"/>
                    <a:pt x="82" y="146"/>
                    <a:pt x="82" y="146"/>
                  </a:cubicBezTo>
                  <a:cubicBezTo>
                    <a:pt x="91" y="145"/>
                    <a:pt x="99" y="143"/>
                    <a:pt x="107" y="139"/>
                  </a:cubicBezTo>
                  <a:cubicBezTo>
                    <a:pt x="119" y="171"/>
                    <a:pt x="119" y="171"/>
                    <a:pt x="119" y="171"/>
                  </a:cubicBezTo>
                  <a:cubicBezTo>
                    <a:pt x="120" y="174"/>
                    <a:pt x="122" y="176"/>
                    <a:pt x="125" y="176"/>
                  </a:cubicBezTo>
                  <a:cubicBezTo>
                    <a:pt x="126" y="176"/>
                    <a:pt x="127" y="176"/>
                    <a:pt x="128" y="175"/>
                  </a:cubicBezTo>
                  <a:cubicBezTo>
                    <a:pt x="131" y="174"/>
                    <a:pt x="133" y="170"/>
                    <a:pt x="132" y="167"/>
                  </a:cubicBezTo>
                  <a:lnTo>
                    <a:pt x="118" y="13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Inter"/>
                <a:ea typeface="+mn-ea"/>
                <a:cs typeface="+mn-cs"/>
              </a:endParaRPr>
            </a:p>
          </p:txBody>
        </p:sp>
        <p:sp>
          <p:nvSpPr>
            <p:cNvPr id="43" name="Freeform 29">
              <a:extLst>
                <a:ext uri="{FF2B5EF4-FFF2-40B4-BE49-F238E27FC236}">
                  <a16:creationId xmlns:a16="http://schemas.microsoft.com/office/drawing/2014/main" id="{34EBCC7E-C9F7-4083-8BC2-2683D1160E59}"/>
                </a:ext>
              </a:extLst>
            </p:cNvPr>
            <p:cNvSpPr>
              <a:spLocks/>
            </p:cNvSpPr>
            <p:nvPr/>
          </p:nvSpPr>
          <p:spPr bwMode="auto">
            <a:xfrm>
              <a:off x="2206" y="3225"/>
              <a:ext cx="190" cy="184"/>
            </a:xfrm>
            <a:custGeom>
              <a:avLst/>
              <a:gdLst>
                <a:gd name="T0" fmla="*/ 87 w 90"/>
                <a:gd name="T1" fmla="*/ 23 h 87"/>
                <a:gd name="T2" fmla="*/ 74 w 90"/>
                <a:gd name="T3" fmla="*/ 18 h 87"/>
                <a:gd name="T4" fmla="*/ 71 w 90"/>
                <a:gd name="T5" fmla="*/ 15 h 87"/>
                <a:gd name="T6" fmla="*/ 66 w 90"/>
                <a:gd name="T7" fmla="*/ 2 h 87"/>
                <a:gd name="T8" fmla="*/ 62 w 90"/>
                <a:gd name="T9" fmla="*/ 0 h 87"/>
                <a:gd name="T10" fmla="*/ 59 w 90"/>
                <a:gd name="T11" fmla="*/ 1 h 87"/>
                <a:gd name="T12" fmla="*/ 44 w 90"/>
                <a:gd name="T13" fmla="*/ 17 h 87"/>
                <a:gd name="T14" fmla="*/ 43 w 90"/>
                <a:gd name="T15" fmla="*/ 21 h 87"/>
                <a:gd name="T16" fmla="*/ 47 w 90"/>
                <a:gd name="T17" fmla="*/ 32 h 87"/>
                <a:gd name="T18" fmla="*/ 20 w 90"/>
                <a:gd name="T19" fmla="*/ 59 h 87"/>
                <a:gd name="T20" fmla="*/ 14 w 90"/>
                <a:gd name="T21" fmla="*/ 58 h 87"/>
                <a:gd name="T22" fmla="*/ 0 w 90"/>
                <a:gd name="T23" fmla="*/ 72 h 87"/>
                <a:gd name="T24" fmla="*/ 14 w 90"/>
                <a:gd name="T25" fmla="*/ 87 h 87"/>
                <a:gd name="T26" fmla="*/ 29 w 90"/>
                <a:gd name="T27" fmla="*/ 72 h 87"/>
                <a:gd name="T28" fmla="*/ 28 w 90"/>
                <a:gd name="T29" fmla="*/ 67 h 87"/>
                <a:gd name="T30" fmla="*/ 54 w 90"/>
                <a:gd name="T31" fmla="*/ 41 h 87"/>
                <a:gd name="T32" fmla="*/ 68 w 90"/>
                <a:gd name="T33" fmla="*/ 46 h 87"/>
                <a:gd name="T34" fmla="*/ 69 w 90"/>
                <a:gd name="T35" fmla="*/ 47 h 87"/>
                <a:gd name="T36" fmla="*/ 72 w 90"/>
                <a:gd name="T37" fmla="*/ 45 h 87"/>
                <a:gd name="T38" fmla="*/ 88 w 90"/>
                <a:gd name="T39" fmla="*/ 30 h 87"/>
                <a:gd name="T40" fmla="*/ 87 w 90"/>
                <a:gd name="T41" fmla="*/ 23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0" h="87">
                  <a:moveTo>
                    <a:pt x="87" y="23"/>
                  </a:moveTo>
                  <a:cubicBezTo>
                    <a:pt x="74" y="18"/>
                    <a:pt x="74" y="18"/>
                    <a:pt x="74" y="18"/>
                  </a:cubicBezTo>
                  <a:cubicBezTo>
                    <a:pt x="73" y="17"/>
                    <a:pt x="72" y="16"/>
                    <a:pt x="71" y="15"/>
                  </a:cubicBezTo>
                  <a:cubicBezTo>
                    <a:pt x="66" y="2"/>
                    <a:pt x="66" y="2"/>
                    <a:pt x="66" y="2"/>
                  </a:cubicBezTo>
                  <a:cubicBezTo>
                    <a:pt x="66" y="1"/>
                    <a:pt x="64" y="0"/>
                    <a:pt x="62" y="0"/>
                  </a:cubicBezTo>
                  <a:cubicBezTo>
                    <a:pt x="61" y="0"/>
                    <a:pt x="60" y="0"/>
                    <a:pt x="59" y="1"/>
                  </a:cubicBezTo>
                  <a:cubicBezTo>
                    <a:pt x="44" y="17"/>
                    <a:pt x="44" y="17"/>
                    <a:pt x="44" y="17"/>
                  </a:cubicBezTo>
                  <a:cubicBezTo>
                    <a:pt x="42" y="18"/>
                    <a:pt x="42" y="20"/>
                    <a:pt x="43" y="21"/>
                  </a:cubicBezTo>
                  <a:cubicBezTo>
                    <a:pt x="47" y="32"/>
                    <a:pt x="47" y="32"/>
                    <a:pt x="47" y="32"/>
                  </a:cubicBezTo>
                  <a:cubicBezTo>
                    <a:pt x="20" y="59"/>
                    <a:pt x="20" y="59"/>
                    <a:pt x="20" y="59"/>
                  </a:cubicBezTo>
                  <a:cubicBezTo>
                    <a:pt x="18" y="58"/>
                    <a:pt x="16" y="58"/>
                    <a:pt x="14" y="58"/>
                  </a:cubicBezTo>
                  <a:cubicBezTo>
                    <a:pt x="6" y="58"/>
                    <a:pt x="0" y="64"/>
                    <a:pt x="0" y="72"/>
                  </a:cubicBezTo>
                  <a:cubicBezTo>
                    <a:pt x="0" y="80"/>
                    <a:pt x="6" y="87"/>
                    <a:pt x="14" y="87"/>
                  </a:cubicBezTo>
                  <a:cubicBezTo>
                    <a:pt x="22" y="87"/>
                    <a:pt x="29" y="80"/>
                    <a:pt x="29" y="72"/>
                  </a:cubicBezTo>
                  <a:cubicBezTo>
                    <a:pt x="29" y="70"/>
                    <a:pt x="28" y="69"/>
                    <a:pt x="28" y="67"/>
                  </a:cubicBezTo>
                  <a:cubicBezTo>
                    <a:pt x="54" y="41"/>
                    <a:pt x="54" y="41"/>
                    <a:pt x="54" y="41"/>
                  </a:cubicBezTo>
                  <a:cubicBezTo>
                    <a:pt x="68" y="46"/>
                    <a:pt x="68" y="46"/>
                    <a:pt x="68" y="46"/>
                  </a:cubicBezTo>
                  <a:cubicBezTo>
                    <a:pt x="68" y="47"/>
                    <a:pt x="69" y="47"/>
                    <a:pt x="69" y="47"/>
                  </a:cubicBezTo>
                  <a:cubicBezTo>
                    <a:pt x="70" y="47"/>
                    <a:pt x="72" y="46"/>
                    <a:pt x="72" y="45"/>
                  </a:cubicBezTo>
                  <a:cubicBezTo>
                    <a:pt x="88" y="30"/>
                    <a:pt x="88" y="30"/>
                    <a:pt x="88" y="30"/>
                  </a:cubicBezTo>
                  <a:cubicBezTo>
                    <a:pt x="90" y="28"/>
                    <a:pt x="89" y="24"/>
                    <a:pt x="87" y="2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Inter"/>
                <a:ea typeface="+mn-ea"/>
                <a:cs typeface="+mn-cs"/>
              </a:endParaRPr>
            </a:p>
          </p:txBody>
        </p:sp>
      </p:grpSp>
      <p:grpSp>
        <p:nvGrpSpPr>
          <p:cNvPr id="44" name="Group 32">
            <a:extLst>
              <a:ext uri="{FF2B5EF4-FFF2-40B4-BE49-F238E27FC236}">
                <a16:creationId xmlns:a16="http://schemas.microsoft.com/office/drawing/2014/main" id="{7FF27B22-1E8C-4FCE-8614-E07E004C5F61}"/>
              </a:ext>
            </a:extLst>
          </p:cNvPr>
          <p:cNvGrpSpPr>
            <a:grpSpLocks noChangeAspect="1"/>
          </p:cNvGrpSpPr>
          <p:nvPr/>
        </p:nvGrpSpPr>
        <p:grpSpPr bwMode="auto">
          <a:xfrm>
            <a:off x="5213799" y="5793172"/>
            <a:ext cx="238716" cy="262589"/>
            <a:chOff x="3824" y="2857"/>
            <a:chExt cx="320" cy="352"/>
          </a:xfrm>
        </p:grpSpPr>
        <p:sp>
          <p:nvSpPr>
            <p:cNvPr id="45" name="Freeform 33">
              <a:extLst>
                <a:ext uri="{FF2B5EF4-FFF2-40B4-BE49-F238E27FC236}">
                  <a16:creationId xmlns:a16="http://schemas.microsoft.com/office/drawing/2014/main" id="{6A421449-114A-4D73-9D5C-E81847DA1D37}"/>
                </a:ext>
              </a:extLst>
            </p:cNvPr>
            <p:cNvSpPr>
              <a:spLocks/>
            </p:cNvSpPr>
            <p:nvPr/>
          </p:nvSpPr>
          <p:spPr bwMode="auto">
            <a:xfrm>
              <a:off x="3824" y="2857"/>
              <a:ext cx="320" cy="215"/>
            </a:xfrm>
            <a:custGeom>
              <a:avLst/>
              <a:gdLst>
                <a:gd name="T0" fmla="*/ 139 w 151"/>
                <a:gd name="T1" fmla="*/ 49 h 102"/>
                <a:gd name="T2" fmla="*/ 137 w 151"/>
                <a:gd name="T3" fmla="*/ 49 h 102"/>
                <a:gd name="T4" fmla="*/ 75 w 151"/>
                <a:gd name="T5" fmla="*/ 0 h 102"/>
                <a:gd name="T6" fmla="*/ 14 w 151"/>
                <a:gd name="T7" fmla="*/ 49 h 102"/>
                <a:gd name="T8" fmla="*/ 12 w 151"/>
                <a:gd name="T9" fmla="*/ 49 h 102"/>
                <a:gd name="T10" fmla="*/ 0 w 151"/>
                <a:gd name="T11" fmla="*/ 61 h 102"/>
                <a:gd name="T12" fmla="*/ 0 w 151"/>
                <a:gd name="T13" fmla="*/ 75 h 102"/>
                <a:gd name="T14" fmla="*/ 12 w 151"/>
                <a:gd name="T15" fmla="*/ 87 h 102"/>
                <a:gd name="T16" fmla="*/ 16 w 151"/>
                <a:gd name="T17" fmla="*/ 87 h 102"/>
                <a:gd name="T18" fmla="*/ 38 w 151"/>
                <a:gd name="T19" fmla="*/ 102 h 102"/>
                <a:gd name="T20" fmla="*/ 43 w 151"/>
                <a:gd name="T21" fmla="*/ 97 h 102"/>
                <a:gd name="T22" fmla="*/ 38 w 151"/>
                <a:gd name="T23" fmla="*/ 92 h 102"/>
                <a:gd name="T24" fmla="*/ 24 w 151"/>
                <a:gd name="T25" fmla="*/ 78 h 102"/>
                <a:gd name="T26" fmla="*/ 24 w 151"/>
                <a:gd name="T27" fmla="*/ 63 h 102"/>
                <a:gd name="T28" fmla="*/ 75 w 151"/>
                <a:gd name="T29" fmla="*/ 12 h 102"/>
                <a:gd name="T30" fmla="*/ 127 w 151"/>
                <a:gd name="T31" fmla="*/ 65 h 102"/>
                <a:gd name="T32" fmla="*/ 127 w 151"/>
                <a:gd name="T33" fmla="*/ 65 h 102"/>
                <a:gd name="T34" fmla="*/ 127 w 151"/>
                <a:gd name="T35" fmla="*/ 75 h 102"/>
                <a:gd name="T36" fmla="*/ 139 w 151"/>
                <a:gd name="T37" fmla="*/ 87 h 102"/>
                <a:gd name="T38" fmla="*/ 151 w 151"/>
                <a:gd name="T39" fmla="*/ 75 h 102"/>
                <a:gd name="T40" fmla="*/ 151 w 151"/>
                <a:gd name="T41" fmla="*/ 61 h 102"/>
                <a:gd name="T42" fmla="*/ 139 w 151"/>
                <a:gd name="T43" fmla="*/ 49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51" h="102">
                  <a:moveTo>
                    <a:pt x="139" y="49"/>
                  </a:moveTo>
                  <a:cubicBezTo>
                    <a:pt x="138" y="49"/>
                    <a:pt x="138" y="49"/>
                    <a:pt x="137" y="49"/>
                  </a:cubicBezTo>
                  <a:cubicBezTo>
                    <a:pt x="130" y="21"/>
                    <a:pt x="105" y="0"/>
                    <a:pt x="75" y="0"/>
                  </a:cubicBezTo>
                  <a:cubicBezTo>
                    <a:pt x="46" y="0"/>
                    <a:pt x="21" y="21"/>
                    <a:pt x="14" y="49"/>
                  </a:cubicBezTo>
                  <a:cubicBezTo>
                    <a:pt x="13" y="49"/>
                    <a:pt x="13" y="49"/>
                    <a:pt x="12" y="49"/>
                  </a:cubicBezTo>
                  <a:cubicBezTo>
                    <a:pt x="6" y="49"/>
                    <a:pt x="0" y="54"/>
                    <a:pt x="0" y="61"/>
                  </a:cubicBezTo>
                  <a:cubicBezTo>
                    <a:pt x="0" y="75"/>
                    <a:pt x="0" y="75"/>
                    <a:pt x="0" y="75"/>
                  </a:cubicBezTo>
                  <a:cubicBezTo>
                    <a:pt x="0" y="82"/>
                    <a:pt x="6" y="87"/>
                    <a:pt x="12" y="87"/>
                  </a:cubicBezTo>
                  <a:cubicBezTo>
                    <a:pt x="14" y="87"/>
                    <a:pt x="15" y="87"/>
                    <a:pt x="16" y="87"/>
                  </a:cubicBezTo>
                  <a:cubicBezTo>
                    <a:pt x="20" y="95"/>
                    <a:pt x="28" y="102"/>
                    <a:pt x="38" y="102"/>
                  </a:cubicBezTo>
                  <a:cubicBezTo>
                    <a:pt x="41" y="102"/>
                    <a:pt x="43" y="100"/>
                    <a:pt x="43" y="97"/>
                  </a:cubicBezTo>
                  <a:cubicBezTo>
                    <a:pt x="43" y="94"/>
                    <a:pt x="41" y="92"/>
                    <a:pt x="38" y="92"/>
                  </a:cubicBezTo>
                  <a:cubicBezTo>
                    <a:pt x="31" y="92"/>
                    <a:pt x="24" y="86"/>
                    <a:pt x="24" y="78"/>
                  </a:cubicBezTo>
                  <a:cubicBezTo>
                    <a:pt x="24" y="63"/>
                    <a:pt x="24" y="63"/>
                    <a:pt x="24" y="63"/>
                  </a:cubicBezTo>
                  <a:cubicBezTo>
                    <a:pt x="25" y="35"/>
                    <a:pt x="48" y="12"/>
                    <a:pt x="75" y="12"/>
                  </a:cubicBezTo>
                  <a:cubicBezTo>
                    <a:pt x="104" y="12"/>
                    <a:pt x="127" y="36"/>
                    <a:pt x="127" y="65"/>
                  </a:cubicBezTo>
                  <a:cubicBezTo>
                    <a:pt x="127" y="65"/>
                    <a:pt x="127" y="65"/>
                    <a:pt x="127" y="65"/>
                  </a:cubicBezTo>
                  <a:cubicBezTo>
                    <a:pt x="127" y="75"/>
                    <a:pt x="127" y="75"/>
                    <a:pt x="127" y="75"/>
                  </a:cubicBezTo>
                  <a:cubicBezTo>
                    <a:pt x="127" y="82"/>
                    <a:pt x="132" y="87"/>
                    <a:pt x="139" y="87"/>
                  </a:cubicBezTo>
                  <a:cubicBezTo>
                    <a:pt x="146" y="87"/>
                    <a:pt x="151" y="82"/>
                    <a:pt x="151" y="75"/>
                  </a:cubicBezTo>
                  <a:cubicBezTo>
                    <a:pt x="151" y="61"/>
                    <a:pt x="151" y="61"/>
                    <a:pt x="151" y="61"/>
                  </a:cubicBezTo>
                  <a:cubicBezTo>
                    <a:pt x="151" y="54"/>
                    <a:pt x="146" y="49"/>
                    <a:pt x="139" y="4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Inter"/>
                <a:ea typeface="+mn-ea"/>
                <a:cs typeface="+mn-cs"/>
              </a:endParaRPr>
            </a:p>
          </p:txBody>
        </p:sp>
        <p:sp>
          <p:nvSpPr>
            <p:cNvPr id="46" name="Freeform 34">
              <a:extLst>
                <a:ext uri="{FF2B5EF4-FFF2-40B4-BE49-F238E27FC236}">
                  <a16:creationId xmlns:a16="http://schemas.microsoft.com/office/drawing/2014/main" id="{FFB6BCDF-A445-44F9-A8F1-3320D812C388}"/>
                </a:ext>
              </a:extLst>
            </p:cNvPr>
            <p:cNvSpPr>
              <a:spLocks noEditPoints="1"/>
            </p:cNvSpPr>
            <p:nvPr/>
          </p:nvSpPr>
          <p:spPr bwMode="auto">
            <a:xfrm>
              <a:off x="3832" y="2910"/>
              <a:ext cx="304" cy="299"/>
            </a:xfrm>
            <a:custGeom>
              <a:avLst/>
              <a:gdLst>
                <a:gd name="T0" fmla="*/ 111 w 143"/>
                <a:gd name="T1" fmla="*/ 91 h 142"/>
                <a:gd name="T2" fmla="*/ 97 w 143"/>
                <a:gd name="T3" fmla="*/ 91 h 142"/>
                <a:gd name="T4" fmla="*/ 89 w 143"/>
                <a:gd name="T5" fmla="*/ 95 h 142"/>
                <a:gd name="T6" fmla="*/ 79 w 143"/>
                <a:gd name="T7" fmla="*/ 109 h 142"/>
                <a:gd name="T8" fmla="*/ 63 w 143"/>
                <a:gd name="T9" fmla="*/ 109 h 142"/>
                <a:gd name="T10" fmla="*/ 54 w 143"/>
                <a:gd name="T11" fmla="*/ 95 h 142"/>
                <a:gd name="T12" fmla="*/ 46 w 143"/>
                <a:gd name="T13" fmla="*/ 91 h 142"/>
                <a:gd name="T14" fmla="*/ 32 w 143"/>
                <a:gd name="T15" fmla="*/ 91 h 142"/>
                <a:gd name="T16" fmla="*/ 0 w 143"/>
                <a:gd name="T17" fmla="*/ 123 h 142"/>
                <a:gd name="T18" fmla="*/ 0 w 143"/>
                <a:gd name="T19" fmla="*/ 137 h 142"/>
                <a:gd name="T20" fmla="*/ 5 w 143"/>
                <a:gd name="T21" fmla="*/ 142 h 142"/>
                <a:gd name="T22" fmla="*/ 138 w 143"/>
                <a:gd name="T23" fmla="*/ 142 h 142"/>
                <a:gd name="T24" fmla="*/ 143 w 143"/>
                <a:gd name="T25" fmla="*/ 137 h 142"/>
                <a:gd name="T26" fmla="*/ 143 w 143"/>
                <a:gd name="T27" fmla="*/ 123 h 142"/>
                <a:gd name="T28" fmla="*/ 111 w 143"/>
                <a:gd name="T29" fmla="*/ 91 h 142"/>
                <a:gd name="T30" fmla="*/ 71 w 143"/>
                <a:gd name="T31" fmla="*/ 79 h 142"/>
                <a:gd name="T32" fmla="*/ 111 w 143"/>
                <a:gd name="T33" fmla="*/ 40 h 142"/>
                <a:gd name="T34" fmla="*/ 71 w 143"/>
                <a:gd name="T35" fmla="*/ 0 h 142"/>
                <a:gd name="T36" fmla="*/ 32 w 143"/>
                <a:gd name="T37" fmla="*/ 40 h 142"/>
                <a:gd name="T38" fmla="*/ 71 w 143"/>
                <a:gd name="T39" fmla="*/ 79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3" h="142">
                  <a:moveTo>
                    <a:pt x="111" y="91"/>
                  </a:moveTo>
                  <a:cubicBezTo>
                    <a:pt x="97" y="91"/>
                    <a:pt x="97" y="91"/>
                    <a:pt x="97" y="91"/>
                  </a:cubicBezTo>
                  <a:cubicBezTo>
                    <a:pt x="94" y="91"/>
                    <a:pt x="91" y="93"/>
                    <a:pt x="89" y="95"/>
                  </a:cubicBezTo>
                  <a:cubicBezTo>
                    <a:pt x="79" y="109"/>
                    <a:pt x="79" y="109"/>
                    <a:pt x="79" y="109"/>
                  </a:cubicBezTo>
                  <a:cubicBezTo>
                    <a:pt x="75" y="115"/>
                    <a:pt x="67" y="115"/>
                    <a:pt x="63" y="109"/>
                  </a:cubicBezTo>
                  <a:cubicBezTo>
                    <a:pt x="54" y="95"/>
                    <a:pt x="54" y="95"/>
                    <a:pt x="54" y="95"/>
                  </a:cubicBezTo>
                  <a:cubicBezTo>
                    <a:pt x="52" y="93"/>
                    <a:pt x="49" y="91"/>
                    <a:pt x="46" y="91"/>
                  </a:cubicBezTo>
                  <a:cubicBezTo>
                    <a:pt x="32" y="91"/>
                    <a:pt x="32" y="91"/>
                    <a:pt x="32" y="91"/>
                  </a:cubicBezTo>
                  <a:cubicBezTo>
                    <a:pt x="14" y="91"/>
                    <a:pt x="0" y="105"/>
                    <a:pt x="0" y="123"/>
                  </a:cubicBezTo>
                  <a:cubicBezTo>
                    <a:pt x="0" y="137"/>
                    <a:pt x="0" y="137"/>
                    <a:pt x="0" y="137"/>
                  </a:cubicBezTo>
                  <a:cubicBezTo>
                    <a:pt x="0" y="140"/>
                    <a:pt x="2" y="142"/>
                    <a:pt x="5" y="142"/>
                  </a:cubicBezTo>
                  <a:cubicBezTo>
                    <a:pt x="138" y="142"/>
                    <a:pt x="138" y="142"/>
                    <a:pt x="138" y="142"/>
                  </a:cubicBezTo>
                  <a:cubicBezTo>
                    <a:pt x="141" y="142"/>
                    <a:pt x="143" y="140"/>
                    <a:pt x="143" y="137"/>
                  </a:cubicBezTo>
                  <a:cubicBezTo>
                    <a:pt x="143" y="123"/>
                    <a:pt x="143" y="123"/>
                    <a:pt x="143" y="123"/>
                  </a:cubicBezTo>
                  <a:cubicBezTo>
                    <a:pt x="143" y="105"/>
                    <a:pt x="129" y="91"/>
                    <a:pt x="111" y="91"/>
                  </a:cubicBezTo>
                  <a:close/>
                  <a:moveTo>
                    <a:pt x="71" y="79"/>
                  </a:moveTo>
                  <a:cubicBezTo>
                    <a:pt x="93" y="79"/>
                    <a:pt x="111" y="61"/>
                    <a:pt x="111" y="40"/>
                  </a:cubicBezTo>
                  <a:cubicBezTo>
                    <a:pt x="111" y="18"/>
                    <a:pt x="93" y="0"/>
                    <a:pt x="71" y="0"/>
                  </a:cubicBezTo>
                  <a:cubicBezTo>
                    <a:pt x="50" y="0"/>
                    <a:pt x="32" y="18"/>
                    <a:pt x="32" y="40"/>
                  </a:cubicBezTo>
                  <a:cubicBezTo>
                    <a:pt x="32" y="61"/>
                    <a:pt x="50" y="79"/>
                    <a:pt x="71" y="7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Inter"/>
                <a:ea typeface="+mn-ea"/>
                <a:cs typeface="+mn-cs"/>
              </a:endParaRPr>
            </a:p>
          </p:txBody>
        </p:sp>
      </p:grpSp>
      <p:grpSp>
        <p:nvGrpSpPr>
          <p:cNvPr id="47" name="Group 37">
            <a:extLst>
              <a:ext uri="{FF2B5EF4-FFF2-40B4-BE49-F238E27FC236}">
                <a16:creationId xmlns:a16="http://schemas.microsoft.com/office/drawing/2014/main" id="{1FEA670F-1AF1-4CC8-B3F8-B79A79D86398}"/>
              </a:ext>
            </a:extLst>
          </p:cNvPr>
          <p:cNvGrpSpPr>
            <a:grpSpLocks noChangeAspect="1"/>
          </p:cNvGrpSpPr>
          <p:nvPr/>
        </p:nvGrpSpPr>
        <p:grpSpPr bwMode="auto">
          <a:xfrm>
            <a:off x="5988448" y="5780386"/>
            <a:ext cx="216916" cy="275375"/>
            <a:chOff x="3883" y="2889"/>
            <a:chExt cx="282" cy="358"/>
          </a:xfrm>
        </p:grpSpPr>
        <p:sp>
          <p:nvSpPr>
            <p:cNvPr id="48" name="Freeform 38">
              <a:extLst>
                <a:ext uri="{FF2B5EF4-FFF2-40B4-BE49-F238E27FC236}">
                  <a16:creationId xmlns:a16="http://schemas.microsoft.com/office/drawing/2014/main" id="{FD5212D3-D5BA-44F9-959F-B4E781BA448C}"/>
                </a:ext>
              </a:extLst>
            </p:cNvPr>
            <p:cNvSpPr>
              <a:spLocks noEditPoints="1"/>
            </p:cNvSpPr>
            <p:nvPr/>
          </p:nvSpPr>
          <p:spPr bwMode="auto">
            <a:xfrm>
              <a:off x="3906" y="2889"/>
              <a:ext cx="232" cy="286"/>
            </a:xfrm>
            <a:custGeom>
              <a:avLst/>
              <a:gdLst>
                <a:gd name="T0" fmla="*/ 50 w 109"/>
                <a:gd name="T1" fmla="*/ 3 h 136"/>
                <a:gd name="T2" fmla="*/ 3 w 109"/>
                <a:gd name="T3" fmla="*/ 62 h 136"/>
                <a:gd name="T4" fmla="*/ 52 w 109"/>
                <a:gd name="T5" fmla="*/ 135 h 136"/>
                <a:gd name="T6" fmla="*/ 59 w 109"/>
                <a:gd name="T7" fmla="*/ 135 h 136"/>
                <a:gd name="T8" fmla="*/ 109 w 109"/>
                <a:gd name="T9" fmla="*/ 56 h 136"/>
                <a:gd name="T10" fmla="*/ 50 w 109"/>
                <a:gd name="T11" fmla="*/ 3 h 136"/>
                <a:gd name="T12" fmla="*/ 55 w 109"/>
                <a:gd name="T13" fmla="*/ 77 h 136"/>
                <a:gd name="T14" fmla="*/ 34 w 109"/>
                <a:gd name="T15" fmla="*/ 56 h 136"/>
                <a:gd name="T16" fmla="*/ 55 w 109"/>
                <a:gd name="T17" fmla="*/ 35 h 136"/>
                <a:gd name="T18" fmla="*/ 77 w 109"/>
                <a:gd name="T19" fmla="*/ 56 h 136"/>
                <a:gd name="T20" fmla="*/ 55 w 109"/>
                <a:gd name="T21" fmla="*/ 77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9" h="136">
                  <a:moveTo>
                    <a:pt x="50" y="3"/>
                  </a:moveTo>
                  <a:cubicBezTo>
                    <a:pt x="21" y="6"/>
                    <a:pt x="0" y="33"/>
                    <a:pt x="3" y="62"/>
                  </a:cubicBezTo>
                  <a:cubicBezTo>
                    <a:pt x="6" y="99"/>
                    <a:pt x="40" y="126"/>
                    <a:pt x="52" y="135"/>
                  </a:cubicBezTo>
                  <a:cubicBezTo>
                    <a:pt x="54" y="136"/>
                    <a:pt x="57" y="136"/>
                    <a:pt x="59" y="135"/>
                  </a:cubicBezTo>
                  <a:cubicBezTo>
                    <a:pt x="71" y="125"/>
                    <a:pt x="109" y="93"/>
                    <a:pt x="109" y="56"/>
                  </a:cubicBezTo>
                  <a:cubicBezTo>
                    <a:pt x="109" y="25"/>
                    <a:pt x="82" y="0"/>
                    <a:pt x="50" y="3"/>
                  </a:cubicBezTo>
                  <a:close/>
                  <a:moveTo>
                    <a:pt x="55" y="77"/>
                  </a:moveTo>
                  <a:cubicBezTo>
                    <a:pt x="44" y="77"/>
                    <a:pt x="34" y="68"/>
                    <a:pt x="34" y="56"/>
                  </a:cubicBezTo>
                  <a:cubicBezTo>
                    <a:pt x="34" y="44"/>
                    <a:pt x="44" y="35"/>
                    <a:pt x="55" y="35"/>
                  </a:cubicBezTo>
                  <a:cubicBezTo>
                    <a:pt x="67" y="35"/>
                    <a:pt x="77" y="44"/>
                    <a:pt x="77" y="56"/>
                  </a:cubicBezTo>
                  <a:cubicBezTo>
                    <a:pt x="77" y="68"/>
                    <a:pt x="67" y="77"/>
                    <a:pt x="55" y="7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Inter"/>
                <a:ea typeface="+mn-ea"/>
                <a:cs typeface="+mn-cs"/>
              </a:endParaRPr>
            </a:p>
          </p:txBody>
        </p:sp>
        <p:sp>
          <p:nvSpPr>
            <p:cNvPr id="49" name="Freeform 39">
              <a:extLst>
                <a:ext uri="{FF2B5EF4-FFF2-40B4-BE49-F238E27FC236}">
                  <a16:creationId xmlns:a16="http://schemas.microsoft.com/office/drawing/2014/main" id="{A5349230-8DEE-4B88-A9DC-2754B16E2DC3}"/>
                </a:ext>
              </a:extLst>
            </p:cNvPr>
            <p:cNvSpPr>
              <a:spLocks/>
            </p:cNvSpPr>
            <p:nvPr/>
          </p:nvSpPr>
          <p:spPr bwMode="auto">
            <a:xfrm>
              <a:off x="3883" y="3123"/>
              <a:ext cx="282" cy="124"/>
            </a:xfrm>
            <a:custGeom>
              <a:avLst/>
              <a:gdLst>
                <a:gd name="T0" fmla="*/ 131 w 133"/>
                <a:gd name="T1" fmla="*/ 47 h 59"/>
                <a:gd name="T2" fmla="*/ 123 w 133"/>
                <a:gd name="T3" fmla="*/ 8 h 59"/>
                <a:gd name="T4" fmla="*/ 113 w 133"/>
                <a:gd name="T5" fmla="*/ 0 h 59"/>
                <a:gd name="T6" fmla="*/ 110 w 133"/>
                <a:gd name="T7" fmla="*/ 0 h 59"/>
                <a:gd name="T8" fmla="*/ 78 w 133"/>
                <a:gd name="T9" fmla="*/ 33 h 59"/>
                <a:gd name="T10" fmla="*/ 66 w 133"/>
                <a:gd name="T11" fmla="*/ 37 h 59"/>
                <a:gd name="T12" fmla="*/ 56 w 133"/>
                <a:gd name="T13" fmla="*/ 33 h 59"/>
                <a:gd name="T14" fmla="*/ 22 w 133"/>
                <a:gd name="T15" fmla="*/ 0 h 59"/>
                <a:gd name="T16" fmla="*/ 20 w 133"/>
                <a:gd name="T17" fmla="*/ 0 h 59"/>
                <a:gd name="T18" fmla="*/ 10 w 133"/>
                <a:gd name="T19" fmla="*/ 8 h 59"/>
                <a:gd name="T20" fmla="*/ 1 w 133"/>
                <a:gd name="T21" fmla="*/ 47 h 59"/>
                <a:gd name="T22" fmla="*/ 11 w 133"/>
                <a:gd name="T23" fmla="*/ 59 h 59"/>
                <a:gd name="T24" fmla="*/ 122 w 133"/>
                <a:gd name="T25" fmla="*/ 59 h 59"/>
                <a:gd name="T26" fmla="*/ 131 w 133"/>
                <a:gd name="T27" fmla="*/ 4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3" h="59">
                  <a:moveTo>
                    <a:pt x="131" y="47"/>
                  </a:moveTo>
                  <a:cubicBezTo>
                    <a:pt x="123" y="8"/>
                    <a:pt x="123" y="8"/>
                    <a:pt x="123" y="8"/>
                  </a:cubicBezTo>
                  <a:cubicBezTo>
                    <a:pt x="122" y="3"/>
                    <a:pt x="118" y="0"/>
                    <a:pt x="113" y="0"/>
                  </a:cubicBezTo>
                  <a:cubicBezTo>
                    <a:pt x="110" y="0"/>
                    <a:pt x="110" y="0"/>
                    <a:pt x="110" y="0"/>
                  </a:cubicBezTo>
                  <a:cubicBezTo>
                    <a:pt x="103" y="11"/>
                    <a:pt x="92" y="22"/>
                    <a:pt x="78" y="33"/>
                  </a:cubicBezTo>
                  <a:cubicBezTo>
                    <a:pt x="74" y="35"/>
                    <a:pt x="70" y="37"/>
                    <a:pt x="66" y="37"/>
                  </a:cubicBezTo>
                  <a:cubicBezTo>
                    <a:pt x="62" y="37"/>
                    <a:pt x="59" y="36"/>
                    <a:pt x="56" y="33"/>
                  </a:cubicBezTo>
                  <a:cubicBezTo>
                    <a:pt x="47" y="28"/>
                    <a:pt x="33" y="16"/>
                    <a:pt x="22" y="0"/>
                  </a:cubicBezTo>
                  <a:cubicBezTo>
                    <a:pt x="20" y="0"/>
                    <a:pt x="20" y="0"/>
                    <a:pt x="20" y="0"/>
                  </a:cubicBezTo>
                  <a:cubicBezTo>
                    <a:pt x="15" y="0"/>
                    <a:pt x="11" y="4"/>
                    <a:pt x="10" y="8"/>
                  </a:cubicBezTo>
                  <a:cubicBezTo>
                    <a:pt x="1" y="47"/>
                    <a:pt x="1" y="47"/>
                    <a:pt x="1" y="47"/>
                  </a:cubicBezTo>
                  <a:cubicBezTo>
                    <a:pt x="0" y="54"/>
                    <a:pt x="5" y="59"/>
                    <a:pt x="11" y="59"/>
                  </a:cubicBezTo>
                  <a:cubicBezTo>
                    <a:pt x="122" y="59"/>
                    <a:pt x="122" y="59"/>
                    <a:pt x="122" y="59"/>
                  </a:cubicBezTo>
                  <a:cubicBezTo>
                    <a:pt x="128" y="59"/>
                    <a:pt x="133" y="54"/>
                    <a:pt x="131" y="4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Inter"/>
                <a:ea typeface="+mn-ea"/>
                <a:cs typeface="+mn-cs"/>
              </a:endParaRPr>
            </a:p>
          </p:txBody>
        </p:sp>
      </p:grpSp>
      <p:grpSp>
        <p:nvGrpSpPr>
          <p:cNvPr id="50" name="Group 42">
            <a:extLst>
              <a:ext uri="{FF2B5EF4-FFF2-40B4-BE49-F238E27FC236}">
                <a16:creationId xmlns:a16="http://schemas.microsoft.com/office/drawing/2014/main" id="{3D2A38C8-D22E-4B86-8736-26B0272DD4EE}"/>
              </a:ext>
            </a:extLst>
          </p:cNvPr>
          <p:cNvGrpSpPr>
            <a:grpSpLocks noChangeAspect="1"/>
          </p:cNvGrpSpPr>
          <p:nvPr/>
        </p:nvGrpSpPr>
        <p:grpSpPr bwMode="auto">
          <a:xfrm>
            <a:off x="6738451" y="5797506"/>
            <a:ext cx="256506" cy="257989"/>
            <a:chOff x="4690" y="2991"/>
            <a:chExt cx="346" cy="348"/>
          </a:xfrm>
        </p:grpSpPr>
        <p:sp>
          <p:nvSpPr>
            <p:cNvPr id="51" name="Freeform 43">
              <a:extLst>
                <a:ext uri="{FF2B5EF4-FFF2-40B4-BE49-F238E27FC236}">
                  <a16:creationId xmlns:a16="http://schemas.microsoft.com/office/drawing/2014/main" id="{EC188A01-5E0A-4654-85FF-12A7F046D6AC}"/>
                </a:ext>
              </a:extLst>
            </p:cNvPr>
            <p:cNvSpPr>
              <a:spLocks noEditPoints="1"/>
            </p:cNvSpPr>
            <p:nvPr/>
          </p:nvSpPr>
          <p:spPr bwMode="auto">
            <a:xfrm>
              <a:off x="4690" y="3124"/>
              <a:ext cx="346" cy="215"/>
            </a:xfrm>
            <a:custGeom>
              <a:avLst/>
              <a:gdLst>
                <a:gd name="T0" fmla="*/ 94 w 164"/>
                <a:gd name="T1" fmla="*/ 5 h 102"/>
                <a:gd name="T2" fmla="*/ 89 w 164"/>
                <a:gd name="T3" fmla="*/ 0 h 102"/>
                <a:gd name="T4" fmla="*/ 69 w 164"/>
                <a:gd name="T5" fmla="*/ 0 h 102"/>
                <a:gd name="T6" fmla="*/ 64 w 164"/>
                <a:gd name="T7" fmla="*/ 5 h 102"/>
                <a:gd name="T8" fmla="*/ 64 w 164"/>
                <a:gd name="T9" fmla="*/ 74 h 102"/>
                <a:gd name="T10" fmla="*/ 94 w 164"/>
                <a:gd name="T11" fmla="*/ 74 h 102"/>
                <a:gd name="T12" fmla="*/ 94 w 164"/>
                <a:gd name="T13" fmla="*/ 5 h 102"/>
                <a:gd name="T14" fmla="*/ 137 w 164"/>
                <a:gd name="T15" fmla="*/ 15 h 102"/>
                <a:gd name="T16" fmla="*/ 132 w 164"/>
                <a:gd name="T17" fmla="*/ 10 h 102"/>
                <a:gd name="T18" fmla="*/ 112 w 164"/>
                <a:gd name="T19" fmla="*/ 10 h 102"/>
                <a:gd name="T20" fmla="*/ 107 w 164"/>
                <a:gd name="T21" fmla="*/ 15 h 102"/>
                <a:gd name="T22" fmla="*/ 107 w 164"/>
                <a:gd name="T23" fmla="*/ 74 h 102"/>
                <a:gd name="T24" fmla="*/ 137 w 164"/>
                <a:gd name="T25" fmla="*/ 74 h 102"/>
                <a:gd name="T26" fmla="*/ 137 w 164"/>
                <a:gd name="T27" fmla="*/ 15 h 102"/>
                <a:gd name="T28" fmla="*/ 156 w 164"/>
                <a:gd name="T29" fmla="*/ 87 h 102"/>
                <a:gd name="T30" fmla="*/ 7 w 164"/>
                <a:gd name="T31" fmla="*/ 87 h 102"/>
                <a:gd name="T32" fmla="*/ 0 w 164"/>
                <a:gd name="T33" fmla="*/ 94 h 102"/>
                <a:gd name="T34" fmla="*/ 7 w 164"/>
                <a:gd name="T35" fmla="*/ 102 h 102"/>
                <a:gd name="T36" fmla="*/ 156 w 164"/>
                <a:gd name="T37" fmla="*/ 102 h 102"/>
                <a:gd name="T38" fmla="*/ 164 w 164"/>
                <a:gd name="T39" fmla="*/ 94 h 102"/>
                <a:gd name="T40" fmla="*/ 156 w 164"/>
                <a:gd name="T41" fmla="*/ 87 h 102"/>
                <a:gd name="T42" fmla="*/ 52 w 164"/>
                <a:gd name="T43" fmla="*/ 30 h 102"/>
                <a:gd name="T44" fmla="*/ 47 w 164"/>
                <a:gd name="T45" fmla="*/ 25 h 102"/>
                <a:gd name="T46" fmla="*/ 27 w 164"/>
                <a:gd name="T47" fmla="*/ 25 h 102"/>
                <a:gd name="T48" fmla="*/ 22 w 164"/>
                <a:gd name="T49" fmla="*/ 30 h 102"/>
                <a:gd name="T50" fmla="*/ 22 w 164"/>
                <a:gd name="T51" fmla="*/ 74 h 102"/>
                <a:gd name="T52" fmla="*/ 52 w 164"/>
                <a:gd name="T53" fmla="*/ 74 h 102"/>
                <a:gd name="T54" fmla="*/ 52 w 164"/>
                <a:gd name="T55" fmla="*/ 3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64" h="102">
                  <a:moveTo>
                    <a:pt x="94" y="5"/>
                  </a:moveTo>
                  <a:cubicBezTo>
                    <a:pt x="94" y="2"/>
                    <a:pt x="92" y="0"/>
                    <a:pt x="89" y="0"/>
                  </a:cubicBezTo>
                  <a:cubicBezTo>
                    <a:pt x="69" y="0"/>
                    <a:pt x="69" y="0"/>
                    <a:pt x="69" y="0"/>
                  </a:cubicBezTo>
                  <a:cubicBezTo>
                    <a:pt x="67" y="0"/>
                    <a:pt x="64" y="2"/>
                    <a:pt x="64" y="5"/>
                  </a:cubicBezTo>
                  <a:cubicBezTo>
                    <a:pt x="64" y="74"/>
                    <a:pt x="64" y="74"/>
                    <a:pt x="64" y="74"/>
                  </a:cubicBezTo>
                  <a:cubicBezTo>
                    <a:pt x="94" y="74"/>
                    <a:pt x="94" y="74"/>
                    <a:pt x="94" y="74"/>
                  </a:cubicBezTo>
                  <a:lnTo>
                    <a:pt x="94" y="5"/>
                  </a:lnTo>
                  <a:close/>
                  <a:moveTo>
                    <a:pt x="137" y="15"/>
                  </a:moveTo>
                  <a:cubicBezTo>
                    <a:pt x="137" y="12"/>
                    <a:pt x="134" y="10"/>
                    <a:pt x="132" y="10"/>
                  </a:cubicBezTo>
                  <a:cubicBezTo>
                    <a:pt x="112" y="10"/>
                    <a:pt x="112" y="10"/>
                    <a:pt x="112" y="10"/>
                  </a:cubicBezTo>
                  <a:cubicBezTo>
                    <a:pt x="109" y="10"/>
                    <a:pt x="107" y="12"/>
                    <a:pt x="107" y="15"/>
                  </a:cubicBezTo>
                  <a:cubicBezTo>
                    <a:pt x="107" y="74"/>
                    <a:pt x="107" y="74"/>
                    <a:pt x="107" y="74"/>
                  </a:cubicBezTo>
                  <a:cubicBezTo>
                    <a:pt x="137" y="74"/>
                    <a:pt x="137" y="74"/>
                    <a:pt x="137" y="74"/>
                  </a:cubicBezTo>
                  <a:lnTo>
                    <a:pt x="137" y="15"/>
                  </a:lnTo>
                  <a:close/>
                  <a:moveTo>
                    <a:pt x="156" y="87"/>
                  </a:moveTo>
                  <a:cubicBezTo>
                    <a:pt x="7" y="87"/>
                    <a:pt x="7" y="87"/>
                    <a:pt x="7" y="87"/>
                  </a:cubicBezTo>
                  <a:cubicBezTo>
                    <a:pt x="3" y="87"/>
                    <a:pt x="0" y="90"/>
                    <a:pt x="0" y="94"/>
                  </a:cubicBezTo>
                  <a:cubicBezTo>
                    <a:pt x="0" y="98"/>
                    <a:pt x="3" y="102"/>
                    <a:pt x="7" y="102"/>
                  </a:cubicBezTo>
                  <a:cubicBezTo>
                    <a:pt x="156" y="102"/>
                    <a:pt x="156" y="102"/>
                    <a:pt x="156" y="102"/>
                  </a:cubicBezTo>
                  <a:cubicBezTo>
                    <a:pt x="161" y="102"/>
                    <a:pt x="164" y="98"/>
                    <a:pt x="164" y="94"/>
                  </a:cubicBezTo>
                  <a:cubicBezTo>
                    <a:pt x="164" y="90"/>
                    <a:pt x="161" y="87"/>
                    <a:pt x="156" y="87"/>
                  </a:cubicBezTo>
                  <a:close/>
                  <a:moveTo>
                    <a:pt x="52" y="30"/>
                  </a:moveTo>
                  <a:cubicBezTo>
                    <a:pt x="52" y="27"/>
                    <a:pt x="50" y="25"/>
                    <a:pt x="47" y="25"/>
                  </a:cubicBezTo>
                  <a:cubicBezTo>
                    <a:pt x="27" y="25"/>
                    <a:pt x="27" y="25"/>
                    <a:pt x="27" y="25"/>
                  </a:cubicBezTo>
                  <a:cubicBezTo>
                    <a:pt x="24" y="25"/>
                    <a:pt x="22" y="27"/>
                    <a:pt x="22" y="30"/>
                  </a:cubicBezTo>
                  <a:cubicBezTo>
                    <a:pt x="22" y="74"/>
                    <a:pt x="22" y="74"/>
                    <a:pt x="22" y="74"/>
                  </a:cubicBezTo>
                  <a:cubicBezTo>
                    <a:pt x="52" y="74"/>
                    <a:pt x="52" y="74"/>
                    <a:pt x="52" y="74"/>
                  </a:cubicBezTo>
                  <a:lnTo>
                    <a:pt x="52"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Inter"/>
                <a:ea typeface="+mn-ea"/>
                <a:cs typeface="+mn-cs"/>
              </a:endParaRPr>
            </a:p>
          </p:txBody>
        </p:sp>
        <p:sp>
          <p:nvSpPr>
            <p:cNvPr id="52" name="Freeform 44">
              <a:extLst>
                <a:ext uri="{FF2B5EF4-FFF2-40B4-BE49-F238E27FC236}">
                  <a16:creationId xmlns:a16="http://schemas.microsoft.com/office/drawing/2014/main" id="{7ACA5111-A01E-486F-822A-17BD5D86727D}"/>
                </a:ext>
              </a:extLst>
            </p:cNvPr>
            <p:cNvSpPr>
              <a:spLocks/>
            </p:cNvSpPr>
            <p:nvPr/>
          </p:nvSpPr>
          <p:spPr bwMode="auto">
            <a:xfrm>
              <a:off x="4724" y="2991"/>
              <a:ext cx="280" cy="135"/>
            </a:xfrm>
            <a:custGeom>
              <a:avLst/>
              <a:gdLst>
                <a:gd name="T0" fmla="*/ 128 w 133"/>
                <a:gd name="T1" fmla="*/ 1 h 64"/>
                <a:gd name="T2" fmla="*/ 105 w 133"/>
                <a:gd name="T3" fmla="*/ 4 h 64"/>
                <a:gd name="T4" fmla="*/ 103 w 133"/>
                <a:gd name="T5" fmla="*/ 11 h 64"/>
                <a:gd name="T6" fmla="*/ 108 w 133"/>
                <a:gd name="T7" fmla="*/ 16 h 64"/>
                <a:gd name="T8" fmla="*/ 90 w 133"/>
                <a:gd name="T9" fmla="*/ 35 h 64"/>
                <a:gd name="T10" fmla="*/ 60 w 133"/>
                <a:gd name="T11" fmla="*/ 12 h 64"/>
                <a:gd name="T12" fmla="*/ 51 w 133"/>
                <a:gd name="T13" fmla="*/ 12 h 64"/>
                <a:gd name="T14" fmla="*/ 4 w 133"/>
                <a:gd name="T15" fmla="*/ 51 h 64"/>
                <a:gd name="T16" fmla="*/ 3 w 133"/>
                <a:gd name="T17" fmla="*/ 62 h 64"/>
                <a:gd name="T18" fmla="*/ 9 w 133"/>
                <a:gd name="T19" fmla="*/ 64 h 64"/>
                <a:gd name="T20" fmla="*/ 13 w 133"/>
                <a:gd name="T21" fmla="*/ 63 h 64"/>
                <a:gd name="T22" fmla="*/ 56 w 133"/>
                <a:gd name="T23" fmla="*/ 27 h 64"/>
                <a:gd name="T24" fmla="*/ 86 w 133"/>
                <a:gd name="T25" fmla="*/ 50 h 64"/>
                <a:gd name="T26" fmla="*/ 96 w 133"/>
                <a:gd name="T27" fmla="*/ 50 h 64"/>
                <a:gd name="T28" fmla="*/ 119 w 133"/>
                <a:gd name="T29" fmla="*/ 27 h 64"/>
                <a:gd name="T30" fmla="*/ 122 w 133"/>
                <a:gd name="T31" fmla="*/ 30 h 64"/>
                <a:gd name="T32" fmla="*/ 130 w 133"/>
                <a:gd name="T33" fmla="*/ 28 h 64"/>
                <a:gd name="T34" fmla="*/ 133 w 133"/>
                <a:gd name="T35" fmla="*/ 6 h 64"/>
                <a:gd name="T36" fmla="*/ 128 w 133"/>
                <a:gd name="T37" fmla="*/ 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3" h="64">
                  <a:moveTo>
                    <a:pt x="128" y="1"/>
                  </a:moveTo>
                  <a:cubicBezTo>
                    <a:pt x="105" y="4"/>
                    <a:pt x="105" y="4"/>
                    <a:pt x="105" y="4"/>
                  </a:cubicBezTo>
                  <a:cubicBezTo>
                    <a:pt x="102" y="4"/>
                    <a:pt x="100" y="9"/>
                    <a:pt x="103" y="11"/>
                  </a:cubicBezTo>
                  <a:cubicBezTo>
                    <a:pt x="108" y="16"/>
                    <a:pt x="108" y="16"/>
                    <a:pt x="108" y="16"/>
                  </a:cubicBezTo>
                  <a:cubicBezTo>
                    <a:pt x="90" y="35"/>
                    <a:pt x="90" y="35"/>
                    <a:pt x="90" y="35"/>
                  </a:cubicBezTo>
                  <a:cubicBezTo>
                    <a:pt x="60" y="12"/>
                    <a:pt x="60" y="12"/>
                    <a:pt x="60" y="12"/>
                  </a:cubicBezTo>
                  <a:cubicBezTo>
                    <a:pt x="58" y="10"/>
                    <a:pt x="54" y="10"/>
                    <a:pt x="51" y="12"/>
                  </a:cubicBezTo>
                  <a:cubicBezTo>
                    <a:pt x="4" y="51"/>
                    <a:pt x="4" y="51"/>
                    <a:pt x="4" y="51"/>
                  </a:cubicBezTo>
                  <a:cubicBezTo>
                    <a:pt x="1" y="54"/>
                    <a:pt x="0" y="58"/>
                    <a:pt x="3" y="62"/>
                  </a:cubicBezTo>
                  <a:cubicBezTo>
                    <a:pt x="4" y="63"/>
                    <a:pt x="7" y="64"/>
                    <a:pt x="9" y="64"/>
                  </a:cubicBezTo>
                  <a:cubicBezTo>
                    <a:pt x="10" y="64"/>
                    <a:pt x="12" y="64"/>
                    <a:pt x="13" y="63"/>
                  </a:cubicBezTo>
                  <a:cubicBezTo>
                    <a:pt x="56" y="27"/>
                    <a:pt x="56" y="27"/>
                    <a:pt x="56" y="27"/>
                  </a:cubicBezTo>
                  <a:cubicBezTo>
                    <a:pt x="86" y="50"/>
                    <a:pt x="86" y="50"/>
                    <a:pt x="86" y="50"/>
                  </a:cubicBezTo>
                  <a:cubicBezTo>
                    <a:pt x="89" y="53"/>
                    <a:pt x="93" y="52"/>
                    <a:pt x="96" y="50"/>
                  </a:cubicBezTo>
                  <a:cubicBezTo>
                    <a:pt x="119" y="27"/>
                    <a:pt x="119" y="27"/>
                    <a:pt x="119" y="27"/>
                  </a:cubicBezTo>
                  <a:cubicBezTo>
                    <a:pt x="122" y="30"/>
                    <a:pt x="122" y="30"/>
                    <a:pt x="122" y="30"/>
                  </a:cubicBezTo>
                  <a:cubicBezTo>
                    <a:pt x="125" y="33"/>
                    <a:pt x="129" y="32"/>
                    <a:pt x="130" y="28"/>
                  </a:cubicBezTo>
                  <a:cubicBezTo>
                    <a:pt x="133" y="6"/>
                    <a:pt x="133" y="6"/>
                    <a:pt x="133" y="6"/>
                  </a:cubicBezTo>
                  <a:cubicBezTo>
                    <a:pt x="133" y="3"/>
                    <a:pt x="131" y="0"/>
                    <a:pt x="128" y="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Inter"/>
                <a:ea typeface="+mn-ea"/>
                <a:cs typeface="+mn-cs"/>
              </a:endParaRPr>
            </a:p>
          </p:txBody>
        </p:sp>
      </p:grpSp>
      <p:grpSp>
        <p:nvGrpSpPr>
          <p:cNvPr id="53" name="Group 18">
            <a:extLst>
              <a:ext uri="{FF2B5EF4-FFF2-40B4-BE49-F238E27FC236}">
                <a16:creationId xmlns:a16="http://schemas.microsoft.com/office/drawing/2014/main" id="{86684E19-5C69-4C04-A60A-5211F963F60D}"/>
              </a:ext>
            </a:extLst>
          </p:cNvPr>
          <p:cNvGrpSpPr>
            <a:grpSpLocks noChangeAspect="1"/>
          </p:cNvGrpSpPr>
          <p:nvPr/>
        </p:nvGrpSpPr>
        <p:grpSpPr bwMode="auto">
          <a:xfrm>
            <a:off x="7533997" y="5775402"/>
            <a:ext cx="192162" cy="290840"/>
            <a:chOff x="3655" y="3030"/>
            <a:chExt cx="259" cy="392"/>
          </a:xfrm>
        </p:grpSpPr>
        <p:sp>
          <p:nvSpPr>
            <p:cNvPr id="54" name="Freeform 19">
              <a:extLst>
                <a:ext uri="{FF2B5EF4-FFF2-40B4-BE49-F238E27FC236}">
                  <a16:creationId xmlns:a16="http://schemas.microsoft.com/office/drawing/2014/main" id="{5B0C02EB-A0C4-49B1-ABB0-174A54B631DD}"/>
                </a:ext>
              </a:extLst>
            </p:cNvPr>
            <p:cNvSpPr>
              <a:spLocks/>
            </p:cNvSpPr>
            <p:nvPr/>
          </p:nvSpPr>
          <p:spPr bwMode="auto">
            <a:xfrm>
              <a:off x="3723" y="3355"/>
              <a:ext cx="127" cy="67"/>
            </a:xfrm>
            <a:custGeom>
              <a:avLst/>
              <a:gdLst>
                <a:gd name="T0" fmla="*/ 52 w 60"/>
                <a:gd name="T1" fmla="*/ 0 h 32"/>
                <a:gd name="T2" fmla="*/ 7 w 60"/>
                <a:gd name="T3" fmla="*/ 0 h 32"/>
                <a:gd name="T4" fmla="*/ 0 w 60"/>
                <a:gd name="T5" fmla="*/ 7 h 32"/>
                <a:gd name="T6" fmla="*/ 0 w 60"/>
                <a:gd name="T7" fmla="*/ 8 h 32"/>
                <a:gd name="T8" fmla="*/ 7 w 60"/>
                <a:gd name="T9" fmla="*/ 16 h 32"/>
                <a:gd name="T10" fmla="*/ 15 w 60"/>
                <a:gd name="T11" fmla="*/ 16 h 32"/>
                <a:gd name="T12" fmla="*/ 15 w 60"/>
                <a:gd name="T13" fmla="*/ 18 h 32"/>
                <a:gd name="T14" fmla="*/ 29 w 60"/>
                <a:gd name="T15" fmla="*/ 32 h 32"/>
                <a:gd name="T16" fmla="*/ 31 w 60"/>
                <a:gd name="T17" fmla="*/ 32 h 32"/>
                <a:gd name="T18" fmla="*/ 45 w 60"/>
                <a:gd name="T19" fmla="*/ 18 h 32"/>
                <a:gd name="T20" fmla="*/ 45 w 60"/>
                <a:gd name="T21" fmla="*/ 16 h 32"/>
                <a:gd name="T22" fmla="*/ 52 w 60"/>
                <a:gd name="T23" fmla="*/ 16 h 32"/>
                <a:gd name="T24" fmla="*/ 60 w 60"/>
                <a:gd name="T25" fmla="*/ 8 h 32"/>
                <a:gd name="T26" fmla="*/ 60 w 60"/>
                <a:gd name="T27" fmla="*/ 7 h 32"/>
                <a:gd name="T28" fmla="*/ 52 w 60"/>
                <a:gd name="T29"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0" h="32">
                  <a:moveTo>
                    <a:pt x="52" y="0"/>
                  </a:moveTo>
                  <a:cubicBezTo>
                    <a:pt x="7" y="0"/>
                    <a:pt x="7" y="0"/>
                    <a:pt x="7" y="0"/>
                  </a:cubicBezTo>
                  <a:cubicBezTo>
                    <a:pt x="3" y="0"/>
                    <a:pt x="0" y="3"/>
                    <a:pt x="0" y="7"/>
                  </a:cubicBezTo>
                  <a:cubicBezTo>
                    <a:pt x="0" y="8"/>
                    <a:pt x="0" y="8"/>
                    <a:pt x="0" y="8"/>
                  </a:cubicBezTo>
                  <a:cubicBezTo>
                    <a:pt x="0" y="13"/>
                    <a:pt x="3" y="16"/>
                    <a:pt x="7" y="16"/>
                  </a:cubicBezTo>
                  <a:cubicBezTo>
                    <a:pt x="15" y="16"/>
                    <a:pt x="15" y="16"/>
                    <a:pt x="15" y="16"/>
                  </a:cubicBezTo>
                  <a:cubicBezTo>
                    <a:pt x="15" y="18"/>
                    <a:pt x="15" y="18"/>
                    <a:pt x="15" y="18"/>
                  </a:cubicBezTo>
                  <a:cubicBezTo>
                    <a:pt x="15" y="26"/>
                    <a:pt x="21" y="32"/>
                    <a:pt x="29" y="32"/>
                  </a:cubicBezTo>
                  <a:cubicBezTo>
                    <a:pt x="31" y="32"/>
                    <a:pt x="31" y="32"/>
                    <a:pt x="31" y="32"/>
                  </a:cubicBezTo>
                  <a:cubicBezTo>
                    <a:pt x="38" y="32"/>
                    <a:pt x="45" y="26"/>
                    <a:pt x="45" y="18"/>
                  </a:cubicBezTo>
                  <a:cubicBezTo>
                    <a:pt x="45" y="16"/>
                    <a:pt x="45" y="16"/>
                    <a:pt x="45" y="16"/>
                  </a:cubicBezTo>
                  <a:cubicBezTo>
                    <a:pt x="52" y="16"/>
                    <a:pt x="52" y="16"/>
                    <a:pt x="52" y="16"/>
                  </a:cubicBezTo>
                  <a:cubicBezTo>
                    <a:pt x="56" y="16"/>
                    <a:pt x="60" y="13"/>
                    <a:pt x="60" y="8"/>
                  </a:cubicBezTo>
                  <a:cubicBezTo>
                    <a:pt x="60" y="7"/>
                    <a:pt x="60" y="7"/>
                    <a:pt x="60" y="7"/>
                  </a:cubicBezTo>
                  <a:cubicBezTo>
                    <a:pt x="60" y="3"/>
                    <a:pt x="56" y="0"/>
                    <a:pt x="52"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Inter"/>
                <a:ea typeface="+mn-ea"/>
                <a:cs typeface="+mn-cs"/>
              </a:endParaRPr>
            </a:p>
          </p:txBody>
        </p:sp>
        <p:sp>
          <p:nvSpPr>
            <p:cNvPr id="55" name="Freeform 20">
              <a:extLst>
                <a:ext uri="{FF2B5EF4-FFF2-40B4-BE49-F238E27FC236}">
                  <a16:creationId xmlns:a16="http://schemas.microsoft.com/office/drawing/2014/main" id="{EA364324-6429-4695-A93F-FEB8F54E1739}"/>
                </a:ext>
              </a:extLst>
            </p:cNvPr>
            <p:cNvSpPr>
              <a:spLocks noEditPoints="1"/>
            </p:cNvSpPr>
            <p:nvPr/>
          </p:nvSpPr>
          <p:spPr bwMode="auto">
            <a:xfrm>
              <a:off x="3655" y="3030"/>
              <a:ext cx="259" cy="297"/>
            </a:xfrm>
            <a:custGeom>
              <a:avLst/>
              <a:gdLst>
                <a:gd name="T0" fmla="*/ 55 w 122"/>
                <a:gd name="T1" fmla="*/ 4 h 141"/>
                <a:gd name="T2" fmla="*/ 2 w 122"/>
                <a:gd name="T3" fmla="*/ 56 h 141"/>
                <a:gd name="T4" fmla="*/ 19 w 122"/>
                <a:gd name="T5" fmla="*/ 105 h 141"/>
                <a:gd name="T6" fmla="*/ 29 w 122"/>
                <a:gd name="T7" fmla="*/ 132 h 141"/>
                <a:gd name="T8" fmla="*/ 29 w 122"/>
                <a:gd name="T9" fmla="*/ 132 h 141"/>
                <a:gd name="T10" fmla="*/ 39 w 122"/>
                <a:gd name="T11" fmla="*/ 141 h 141"/>
                <a:gd name="T12" fmla="*/ 85 w 122"/>
                <a:gd name="T13" fmla="*/ 141 h 141"/>
                <a:gd name="T14" fmla="*/ 94 w 122"/>
                <a:gd name="T15" fmla="*/ 132 h 141"/>
                <a:gd name="T16" fmla="*/ 105 w 122"/>
                <a:gd name="T17" fmla="*/ 105 h 141"/>
                <a:gd name="T18" fmla="*/ 122 w 122"/>
                <a:gd name="T19" fmla="*/ 63 h 141"/>
                <a:gd name="T20" fmla="*/ 55 w 122"/>
                <a:gd name="T21" fmla="*/ 4 h 141"/>
                <a:gd name="T22" fmla="*/ 56 w 122"/>
                <a:gd name="T23" fmla="*/ 118 h 141"/>
                <a:gd name="T24" fmla="*/ 50 w 122"/>
                <a:gd name="T25" fmla="*/ 124 h 141"/>
                <a:gd name="T26" fmla="*/ 44 w 122"/>
                <a:gd name="T27" fmla="*/ 118 h 141"/>
                <a:gd name="T28" fmla="*/ 44 w 122"/>
                <a:gd name="T29" fmla="*/ 93 h 141"/>
                <a:gd name="T30" fmla="*/ 30 w 122"/>
                <a:gd name="T31" fmla="*/ 78 h 141"/>
                <a:gd name="T32" fmla="*/ 24 w 122"/>
                <a:gd name="T33" fmla="*/ 72 h 141"/>
                <a:gd name="T34" fmla="*/ 30 w 122"/>
                <a:gd name="T35" fmla="*/ 67 h 141"/>
                <a:gd name="T36" fmla="*/ 56 w 122"/>
                <a:gd name="T37" fmla="*/ 93 h 141"/>
                <a:gd name="T38" fmla="*/ 56 w 122"/>
                <a:gd name="T39" fmla="*/ 118 h 141"/>
                <a:gd name="T40" fmla="*/ 94 w 122"/>
                <a:gd name="T41" fmla="*/ 78 h 141"/>
                <a:gd name="T42" fmla="*/ 79 w 122"/>
                <a:gd name="T43" fmla="*/ 93 h 141"/>
                <a:gd name="T44" fmla="*/ 79 w 122"/>
                <a:gd name="T45" fmla="*/ 118 h 141"/>
                <a:gd name="T46" fmla="*/ 73 w 122"/>
                <a:gd name="T47" fmla="*/ 124 h 141"/>
                <a:gd name="T48" fmla="*/ 67 w 122"/>
                <a:gd name="T49" fmla="*/ 118 h 141"/>
                <a:gd name="T50" fmla="*/ 67 w 122"/>
                <a:gd name="T51" fmla="*/ 93 h 141"/>
                <a:gd name="T52" fmla="*/ 94 w 122"/>
                <a:gd name="T53" fmla="*/ 67 h 141"/>
                <a:gd name="T54" fmla="*/ 99 w 122"/>
                <a:gd name="T55" fmla="*/ 72 h 141"/>
                <a:gd name="T56" fmla="*/ 94 w 122"/>
                <a:gd name="T57" fmla="*/ 78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22" h="141">
                  <a:moveTo>
                    <a:pt x="55" y="4"/>
                  </a:moveTo>
                  <a:cubicBezTo>
                    <a:pt x="29" y="7"/>
                    <a:pt x="5" y="31"/>
                    <a:pt x="2" y="56"/>
                  </a:cubicBezTo>
                  <a:cubicBezTo>
                    <a:pt x="0" y="75"/>
                    <a:pt x="7" y="93"/>
                    <a:pt x="19" y="105"/>
                  </a:cubicBezTo>
                  <a:cubicBezTo>
                    <a:pt x="26" y="112"/>
                    <a:pt x="29" y="122"/>
                    <a:pt x="29" y="132"/>
                  </a:cubicBezTo>
                  <a:cubicBezTo>
                    <a:pt x="29" y="132"/>
                    <a:pt x="29" y="132"/>
                    <a:pt x="29" y="132"/>
                  </a:cubicBezTo>
                  <a:cubicBezTo>
                    <a:pt x="29" y="137"/>
                    <a:pt x="33" y="141"/>
                    <a:pt x="39" y="141"/>
                  </a:cubicBezTo>
                  <a:cubicBezTo>
                    <a:pt x="85" y="141"/>
                    <a:pt x="85" y="141"/>
                    <a:pt x="85" y="141"/>
                  </a:cubicBezTo>
                  <a:cubicBezTo>
                    <a:pt x="90" y="141"/>
                    <a:pt x="94" y="137"/>
                    <a:pt x="94" y="132"/>
                  </a:cubicBezTo>
                  <a:cubicBezTo>
                    <a:pt x="94" y="122"/>
                    <a:pt x="98" y="112"/>
                    <a:pt x="105" y="105"/>
                  </a:cubicBezTo>
                  <a:cubicBezTo>
                    <a:pt x="115" y="95"/>
                    <a:pt x="122" y="80"/>
                    <a:pt x="122" y="63"/>
                  </a:cubicBezTo>
                  <a:cubicBezTo>
                    <a:pt x="122" y="28"/>
                    <a:pt x="91" y="0"/>
                    <a:pt x="55" y="4"/>
                  </a:cubicBezTo>
                  <a:close/>
                  <a:moveTo>
                    <a:pt x="56" y="118"/>
                  </a:moveTo>
                  <a:cubicBezTo>
                    <a:pt x="56" y="121"/>
                    <a:pt x="53" y="124"/>
                    <a:pt x="50" y="124"/>
                  </a:cubicBezTo>
                  <a:cubicBezTo>
                    <a:pt x="47" y="124"/>
                    <a:pt x="44" y="121"/>
                    <a:pt x="44" y="118"/>
                  </a:cubicBezTo>
                  <a:cubicBezTo>
                    <a:pt x="44" y="93"/>
                    <a:pt x="44" y="93"/>
                    <a:pt x="44" y="93"/>
                  </a:cubicBezTo>
                  <a:cubicBezTo>
                    <a:pt x="44" y="85"/>
                    <a:pt x="38" y="78"/>
                    <a:pt x="30" y="78"/>
                  </a:cubicBezTo>
                  <a:cubicBezTo>
                    <a:pt x="26" y="78"/>
                    <a:pt x="24" y="76"/>
                    <a:pt x="24" y="72"/>
                  </a:cubicBezTo>
                  <a:cubicBezTo>
                    <a:pt x="24" y="69"/>
                    <a:pt x="26" y="67"/>
                    <a:pt x="30" y="67"/>
                  </a:cubicBezTo>
                  <a:cubicBezTo>
                    <a:pt x="44" y="67"/>
                    <a:pt x="56" y="78"/>
                    <a:pt x="56" y="93"/>
                  </a:cubicBezTo>
                  <a:lnTo>
                    <a:pt x="56" y="118"/>
                  </a:lnTo>
                  <a:close/>
                  <a:moveTo>
                    <a:pt x="94" y="78"/>
                  </a:moveTo>
                  <a:cubicBezTo>
                    <a:pt x="86" y="78"/>
                    <a:pt x="79" y="85"/>
                    <a:pt x="79" y="93"/>
                  </a:cubicBezTo>
                  <a:cubicBezTo>
                    <a:pt x="79" y="118"/>
                    <a:pt x="79" y="118"/>
                    <a:pt x="79" y="118"/>
                  </a:cubicBezTo>
                  <a:cubicBezTo>
                    <a:pt x="79" y="121"/>
                    <a:pt x="77" y="124"/>
                    <a:pt x="73" y="124"/>
                  </a:cubicBezTo>
                  <a:cubicBezTo>
                    <a:pt x="70" y="124"/>
                    <a:pt x="67" y="121"/>
                    <a:pt x="67" y="118"/>
                  </a:cubicBezTo>
                  <a:cubicBezTo>
                    <a:pt x="67" y="93"/>
                    <a:pt x="67" y="93"/>
                    <a:pt x="67" y="93"/>
                  </a:cubicBezTo>
                  <a:cubicBezTo>
                    <a:pt x="67" y="78"/>
                    <a:pt x="79" y="67"/>
                    <a:pt x="94" y="67"/>
                  </a:cubicBezTo>
                  <a:cubicBezTo>
                    <a:pt x="97" y="67"/>
                    <a:pt x="99" y="69"/>
                    <a:pt x="99" y="72"/>
                  </a:cubicBezTo>
                  <a:cubicBezTo>
                    <a:pt x="99" y="76"/>
                    <a:pt x="97" y="78"/>
                    <a:pt x="94" y="7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Inter"/>
                <a:ea typeface="+mn-ea"/>
                <a:cs typeface="+mn-cs"/>
              </a:endParaRPr>
            </a:p>
          </p:txBody>
        </p:sp>
      </p:grpSp>
      <p:grpSp>
        <p:nvGrpSpPr>
          <p:cNvPr id="56" name="Group 23">
            <a:extLst>
              <a:ext uri="{FF2B5EF4-FFF2-40B4-BE49-F238E27FC236}">
                <a16:creationId xmlns:a16="http://schemas.microsoft.com/office/drawing/2014/main" id="{E0BBF77F-0658-42A9-A9F6-689E84B6A68C}"/>
              </a:ext>
            </a:extLst>
          </p:cNvPr>
          <p:cNvGrpSpPr>
            <a:grpSpLocks noChangeAspect="1"/>
          </p:cNvGrpSpPr>
          <p:nvPr/>
        </p:nvGrpSpPr>
        <p:grpSpPr bwMode="auto">
          <a:xfrm>
            <a:off x="5991474" y="3331947"/>
            <a:ext cx="216108" cy="377006"/>
            <a:chOff x="3774" y="2550"/>
            <a:chExt cx="274" cy="478"/>
          </a:xfrm>
        </p:grpSpPr>
        <p:sp>
          <p:nvSpPr>
            <p:cNvPr id="57" name="Freeform 24">
              <a:extLst>
                <a:ext uri="{FF2B5EF4-FFF2-40B4-BE49-F238E27FC236}">
                  <a16:creationId xmlns:a16="http://schemas.microsoft.com/office/drawing/2014/main" id="{982EF4A6-5320-4376-8873-36B265FB75E9}"/>
                </a:ext>
              </a:extLst>
            </p:cNvPr>
            <p:cNvSpPr>
              <a:spLocks/>
            </p:cNvSpPr>
            <p:nvPr/>
          </p:nvSpPr>
          <p:spPr bwMode="auto">
            <a:xfrm>
              <a:off x="3774" y="2550"/>
              <a:ext cx="274" cy="159"/>
            </a:xfrm>
            <a:custGeom>
              <a:avLst/>
              <a:gdLst>
                <a:gd name="T0" fmla="*/ 65 w 129"/>
                <a:gd name="T1" fmla="*/ 0 h 76"/>
                <a:gd name="T2" fmla="*/ 65 w 129"/>
                <a:gd name="T3" fmla="*/ 0 h 76"/>
                <a:gd name="T4" fmla="*/ 60 w 129"/>
                <a:gd name="T5" fmla="*/ 2 h 76"/>
                <a:gd name="T6" fmla="*/ 2 w 129"/>
                <a:gd name="T7" fmla="*/ 60 h 76"/>
                <a:gd name="T8" fmla="*/ 2 w 129"/>
                <a:gd name="T9" fmla="*/ 70 h 76"/>
                <a:gd name="T10" fmla="*/ 7 w 129"/>
                <a:gd name="T11" fmla="*/ 74 h 76"/>
                <a:gd name="T12" fmla="*/ 12 w 129"/>
                <a:gd name="T13" fmla="*/ 76 h 76"/>
                <a:gd name="T14" fmla="*/ 17 w 129"/>
                <a:gd name="T15" fmla="*/ 74 h 76"/>
                <a:gd name="T16" fmla="*/ 65 w 129"/>
                <a:gd name="T17" fmla="*/ 26 h 76"/>
                <a:gd name="T18" fmla="*/ 113 w 129"/>
                <a:gd name="T19" fmla="*/ 74 h 76"/>
                <a:gd name="T20" fmla="*/ 118 w 129"/>
                <a:gd name="T21" fmla="*/ 76 h 76"/>
                <a:gd name="T22" fmla="*/ 123 w 129"/>
                <a:gd name="T23" fmla="*/ 74 h 76"/>
                <a:gd name="T24" fmla="*/ 127 w 129"/>
                <a:gd name="T25" fmla="*/ 70 h 76"/>
                <a:gd name="T26" fmla="*/ 129 w 129"/>
                <a:gd name="T27" fmla="*/ 65 h 76"/>
                <a:gd name="T28" fmla="*/ 127 w 129"/>
                <a:gd name="T29" fmla="*/ 60 h 76"/>
                <a:gd name="T30" fmla="*/ 70 w 129"/>
                <a:gd name="T31" fmla="*/ 2 h 76"/>
                <a:gd name="T32" fmla="*/ 65 w 129"/>
                <a:gd name="T33"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9" h="76">
                  <a:moveTo>
                    <a:pt x="65" y="0"/>
                  </a:moveTo>
                  <a:cubicBezTo>
                    <a:pt x="65" y="0"/>
                    <a:pt x="65" y="0"/>
                    <a:pt x="65" y="0"/>
                  </a:cubicBezTo>
                  <a:cubicBezTo>
                    <a:pt x="63" y="0"/>
                    <a:pt x="61" y="1"/>
                    <a:pt x="60" y="2"/>
                  </a:cubicBezTo>
                  <a:cubicBezTo>
                    <a:pt x="2" y="60"/>
                    <a:pt x="2" y="60"/>
                    <a:pt x="2" y="60"/>
                  </a:cubicBezTo>
                  <a:cubicBezTo>
                    <a:pt x="0" y="63"/>
                    <a:pt x="0" y="67"/>
                    <a:pt x="2" y="70"/>
                  </a:cubicBezTo>
                  <a:cubicBezTo>
                    <a:pt x="7" y="74"/>
                    <a:pt x="7" y="74"/>
                    <a:pt x="7" y="74"/>
                  </a:cubicBezTo>
                  <a:cubicBezTo>
                    <a:pt x="8" y="75"/>
                    <a:pt x="10" y="76"/>
                    <a:pt x="12" y="76"/>
                  </a:cubicBezTo>
                  <a:cubicBezTo>
                    <a:pt x="14" y="76"/>
                    <a:pt x="15" y="75"/>
                    <a:pt x="17" y="74"/>
                  </a:cubicBezTo>
                  <a:cubicBezTo>
                    <a:pt x="65" y="26"/>
                    <a:pt x="65" y="26"/>
                    <a:pt x="65" y="26"/>
                  </a:cubicBezTo>
                  <a:cubicBezTo>
                    <a:pt x="113" y="74"/>
                    <a:pt x="113" y="74"/>
                    <a:pt x="113" y="74"/>
                  </a:cubicBezTo>
                  <a:cubicBezTo>
                    <a:pt x="114" y="75"/>
                    <a:pt x="116" y="76"/>
                    <a:pt x="118" y="76"/>
                  </a:cubicBezTo>
                  <a:cubicBezTo>
                    <a:pt x="120" y="76"/>
                    <a:pt x="121" y="75"/>
                    <a:pt x="123" y="74"/>
                  </a:cubicBezTo>
                  <a:cubicBezTo>
                    <a:pt x="127" y="70"/>
                    <a:pt x="127" y="70"/>
                    <a:pt x="127" y="70"/>
                  </a:cubicBezTo>
                  <a:cubicBezTo>
                    <a:pt x="128" y="68"/>
                    <a:pt x="129" y="67"/>
                    <a:pt x="129" y="65"/>
                  </a:cubicBezTo>
                  <a:cubicBezTo>
                    <a:pt x="129" y="63"/>
                    <a:pt x="128" y="61"/>
                    <a:pt x="127" y="60"/>
                  </a:cubicBezTo>
                  <a:cubicBezTo>
                    <a:pt x="70" y="2"/>
                    <a:pt x="70" y="2"/>
                    <a:pt x="70" y="2"/>
                  </a:cubicBezTo>
                  <a:cubicBezTo>
                    <a:pt x="68" y="1"/>
                    <a:pt x="67" y="0"/>
                    <a:pt x="65" y="0"/>
                  </a:cubicBezTo>
                </a:path>
              </a:pathLst>
            </a:custGeom>
            <a:solidFill>
              <a:srgbClr val="FFFFFF">
                <a:alpha val="7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Inter"/>
                <a:ea typeface="+mn-ea"/>
                <a:cs typeface="+mn-cs"/>
              </a:endParaRPr>
            </a:p>
          </p:txBody>
        </p:sp>
        <p:sp>
          <p:nvSpPr>
            <p:cNvPr id="58" name="Freeform 25">
              <a:extLst>
                <a:ext uri="{FF2B5EF4-FFF2-40B4-BE49-F238E27FC236}">
                  <a16:creationId xmlns:a16="http://schemas.microsoft.com/office/drawing/2014/main" id="{8B3BD2CB-E948-4A1E-90AB-946CC8439EEF}"/>
                </a:ext>
              </a:extLst>
            </p:cNvPr>
            <p:cNvSpPr>
              <a:spLocks/>
            </p:cNvSpPr>
            <p:nvPr/>
          </p:nvSpPr>
          <p:spPr bwMode="auto">
            <a:xfrm>
              <a:off x="3774" y="2709"/>
              <a:ext cx="274" cy="160"/>
            </a:xfrm>
            <a:custGeom>
              <a:avLst/>
              <a:gdLst>
                <a:gd name="T0" fmla="*/ 127 w 129"/>
                <a:gd name="T1" fmla="*/ 70 h 76"/>
                <a:gd name="T2" fmla="*/ 123 w 129"/>
                <a:gd name="T3" fmla="*/ 74 h 76"/>
                <a:gd name="T4" fmla="*/ 118 w 129"/>
                <a:gd name="T5" fmla="*/ 76 h 76"/>
                <a:gd name="T6" fmla="*/ 113 w 129"/>
                <a:gd name="T7" fmla="*/ 74 h 76"/>
                <a:gd name="T8" fmla="*/ 65 w 129"/>
                <a:gd name="T9" fmla="*/ 26 h 76"/>
                <a:gd name="T10" fmla="*/ 17 w 129"/>
                <a:gd name="T11" fmla="*/ 74 h 76"/>
                <a:gd name="T12" fmla="*/ 12 w 129"/>
                <a:gd name="T13" fmla="*/ 76 h 76"/>
                <a:gd name="T14" fmla="*/ 7 w 129"/>
                <a:gd name="T15" fmla="*/ 74 h 76"/>
                <a:gd name="T16" fmla="*/ 2 w 129"/>
                <a:gd name="T17" fmla="*/ 70 h 76"/>
                <a:gd name="T18" fmla="*/ 2 w 129"/>
                <a:gd name="T19" fmla="*/ 60 h 76"/>
                <a:gd name="T20" fmla="*/ 60 w 129"/>
                <a:gd name="T21" fmla="*/ 2 h 76"/>
                <a:gd name="T22" fmla="*/ 65 w 129"/>
                <a:gd name="T23" fmla="*/ 0 h 76"/>
                <a:gd name="T24" fmla="*/ 65 w 129"/>
                <a:gd name="T25" fmla="*/ 0 h 76"/>
                <a:gd name="T26" fmla="*/ 70 w 129"/>
                <a:gd name="T27" fmla="*/ 2 h 76"/>
                <a:gd name="T28" fmla="*/ 127 w 129"/>
                <a:gd name="T29" fmla="*/ 60 h 76"/>
                <a:gd name="T30" fmla="*/ 129 w 129"/>
                <a:gd name="T31" fmla="*/ 65 h 76"/>
                <a:gd name="T32" fmla="*/ 127 w 129"/>
                <a:gd name="T33" fmla="*/ 7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9" h="76">
                  <a:moveTo>
                    <a:pt x="127" y="70"/>
                  </a:moveTo>
                  <a:cubicBezTo>
                    <a:pt x="123" y="74"/>
                    <a:pt x="123" y="74"/>
                    <a:pt x="123" y="74"/>
                  </a:cubicBezTo>
                  <a:cubicBezTo>
                    <a:pt x="121" y="75"/>
                    <a:pt x="120" y="76"/>
                    <a:pt x="118" y="76"/>
                  </a:cubicBezTo>
                  <a:cubicBezTo>
                    <a:pt x="116" y="76"/>
                    <a:pt x="114" y="75"/>
                    <a:pt x="113" y="74"/>
                  </a:cubicBezTo>
                  <a:cubicBezTo>
                    <a:pt x="65" y="26"/>
                    <a:pt x="65" y="26"/>
                    <a:pt x="65" y="26"/>
                  </a:cubicBezTo>
                  <a:cubicBezTo>
                    <a:pt x="17" y="74"/>
                    <a:pt x="17" y="74"/>
                    <a:pt x="17" y="74"/>
                  </a:cubicBezTo>
                  <a:cubicBezTo>
                    <a:pt x="15" y="75"/>
                    <a:pt x="14" y="76"/>
                    <a:pt x="12" y="76"/>
                  </a:cubicBezTo>
                  <a:cubicBezTo>
                    <a:pt x="10" y="76"/>
                    <a:pt x="8" y="75"/>
                    <a:pt x="7" y="74"/>
                  </a:cubicBezTo>
                  <a:cubicBezTo>
                    <a:pt x="2" y="70"/>
                    <a:pt x="2" y="70"/>
                    <a:pt x="2" y="70"/>
                  </a:cubicBezTo>
                  <a:cubicBezTo>
                    <a:pt x="0" y="67"/>
                    <a:pt x="0" y="63"/>
                    <a:pt x="2" y="60"/>
                  </a:cubicBezTo>
                  <a:cubicBezTo>
                    <a:pt x="60" y="2"/>
                    <a:pt x="60" y="2"/>
                    <a:pt x="60" y="2"/>
                  </a:cubicBezTo>
                  <a:cubicBezTo>
                    <a:pt x="61" y="1"/>
                    <a:pt x="63" y="0"/>
                    <a:pt x="65" y="0"/>
                  </a:cubicBezTo>
                  <a:cubicBezTo>
                    <a:pt x="65" y="0"/>
                    <a:pt x="65" y="0"/>
                    <a:pt x="65" y="0"/>
                  </a:cubicBezTo>
                  <a:cubicBezTo>
                    <a:pt x="67" y="0"/>
                    <a:pt x="68" y="1"/>
                    <a:pt x="70" y="2"/>
                  </a:cubicBezTo>
                  <a:cubicBezTo>
                    <a:pt x="127" y="60"/>
                    <a:pt x="127" y="60"/>
                    <a:pt x="127" y="60"/>
                  </a:cubicBezTo>
                  <a:cubicBezTo>
                    <a:pt x="128" y="61"/>
                    <a:pt x="129" y="63"/>
                    <a:pt x="129" y="65"/>
                  </a:cubicBezTo>
                  <a:cubicBezTo>
                    <a:pt x="129" y="67"/>
                    <a:pt x="128" y="68"/>
                    <a:pt x="127" y="70"/>
                  </a:cubicBezTo>
                  <a:close/>
                </a:path>
              </a:pathLst>
            </a:custGeom>
            <a:solidFill>
              <a:srgbClr val="FFFFFF">
                <a:alpha val="4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Inter"/>
                <a:ea typeface="+mn-ea"/>
                <a:cs typeface="+mn-cs"/>
              </a:endParaRPr>
            </a:p>
          </p:txBody>
        </p:sp>
        <p:sp>
          <p:nvSpPr>
            <p:cNvPr id="59" name="Freeform 26">
              <a:extLst>
                <a:ext uri="{FF2B5EF4-FFF2-40B4-BE49-F238E27FC236}">
                  <a16:creationId xmlns:a16="http://schemas.microsoft.com/office/drawing/2014/main" id="{6FBB2699-21A5-44D6-B7BB-0F9F0355BF65}"/>
                </a:ext>
              </a:extLst>
            </p:cNvPr>
            <p:cNvSpPr>
              <a:spLocks/>
            </p:cNvSpPr>
            <p:nvPr/>
          </p:nvSpPr>
          <p:spPr bwMode="auto">
            <a:xfrm>
              <a:off x="3774" y="2869"/>
              <a:ext cx="274" cy="159"/>
            </a:xfrm>
            <a:custGeom>
              <a:avLst/>
              <a:gdLst>
                <a:gd name="T0" fmla="*/ 127 w 129"/>
                <a:gd name="T1" fmla="*/ 70 h 76"/>
                <a:gd name="T2" fmla="*/ 123 w 129"/>
                <a:gd name="T3" fmla="*/ 74 h 76"/>
                <a:gd name="T4" fmla="*/ 118 w 129"/>
                <a:gd name="T5" fmla="*/ 76 h 76"/>
                <a:gd name="T6" fmla="*/ 113 w 129"/>
                <a:gd name="T7" fmla="*/ 74 h 76"/>
                <a:gd name="T8" fmla="*/ 65 w 129"/>
                <a:gd name="T9" fmla="*/ 26 h 76"/>
                <a:gd name="T10" fmla="*/ 17 w 129"/>
                <a:gd name="T11" fmla="*/ 74 h 76"/>
                <a:gd name="T12" fmla="*/ 12 w 129"/>
                <a:gd name="T13" fmla="*/ 76 h 76"/>
                <a:gd name="T14" fmla="*/ 7 w 129"/>
                <a:gd name="T15" fmla="*/ 74 h 76"/>
                <a:gd name="T16" fmla="*/ 2 w 129"/>
                <a:gd name="T17" fmla="*/ 70 h 76"/>
                <a:gd name="T18" fmla="*/ 2 w 129"/>
                <a:gd name="T19" fmla="*/ 60 h 76"/>
                <a:gd name="T20" fmla="*/ 60 w 129"/>
                <a:gd name="T21" fmla="*/ 2 h 76"/>
                <a:gd name="T22" fmla="*/ 65 w 129"/>
                <a:gd name="T23" fmla="*/ 0 h 76"/>
                <a:gd name="T24" fmla="*/ 65 w 129"/>
                <a:gd name="T25" fmla="*/ 0 h 76"/>
                <a:gd name="T26" fmla="*/ 70 w 129"/>
                <a:gd name="T27" fmla="*/ 2 h 76"/>
                <a:gd name="T28" fmla="*/ 127 w 129"/>
                <a:gd name="T29" fmla="*/ 60 h 76"/>
                <a:gd name="T30" fmla="*/ 129 w 129"/>
                <a:gd name="T31" fmla="*/ 65 h 76"/>
                <a:gd name="T32" fmla="*/ 127 w 129"/>
                <a:gd name="T33" fmla="*/ 7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9" h="76">
                  <a:moveTo>
                    <a:pt x="127" y="70"/>
                  </a:moveTo>
                  <a:cubicBezTo>
                    <a:pt x="123" y="74"/>
                    <a:pt x="123" y="74"/>
                    <a:pt x="123" y="74"/>
                  </a:cubicBezTo>
                  <a:cubicBezTo>
                    <a:pt x="121" y="75"/>
                    <a:pt x="120" y="76"/>
                    <a:pt x="118" y="76"/>
                  </a:cubicBezTo>
                  <a:cubicBezTo>
                    <a:pt x="116" y="76"/>
                    <a:pt x="114" y="75"/>
                    <a:pt x="113" y="74"/>
                  </a:cubicBezTo>
                  <a:cubicBezTo>
                    <a:pt x="65" y="26"/>
                    <a:pt x="65" y="26"/>
                    <a:pt x="65" y="26"/>
                  </a:cubicBezTo>
                  <a:cubicBezTo>
                    <a:pt x="17" y="74"/>
                    <a:pt x="17" y="74"/>
                    <a:pt x="17" y="74"/>
                  </a:cubicBezTo>
                  <a:cubicBezTo>
                    <a:pt x="15" y="75"/>
                    <a:pt x="14" y="76"/>
                    <a:pt x="12" y="76"/>
                  </a:cubicBezTo>
                  <a:cubicBezTo>
                    <a:pt x="10" y="76"/>
                    <a:pt x="8" y="75"/>
                    <a:pt x="7" y="74"/>
                  </a:cubicBezTo>
                  <a:cubicBezTo>
                    <a:pt x="2" y="70"/>
                    <a:pt x="2" y="70"/>
                    <a:pt x="2" y="70"/>
                  </a:cubicBezTo>
                  <a:cubicBezTo>
                    <a:pt x="0" y="67"/>
                    <a:pt x="0" y="63"/>
                    <a:pt x="2" y="60"/>
                  </a:cubicBezTo>
                  <a:cubicBezTo>
                    <a:pt x="60" y="2"/>
                    <a:pt x="60" y="2"/>
                    <a:pt x="60" y="2"/>
                  </a:cubicBezTo>
                  <a:cubicBezTo>
                    <a:pt x="61" y="1"/>
                    <a:pt x="63" y="0"/>
                    <a:pt x="65" y="0"/>
                  </a:cubicBezTo>
                  <a:cubicBezTo>
                    <a:pt x="65" y="0"/>
                    <a:pt x="65" y="0"/>
                    <a:pt x="65" y="0"/>
                  </a:cubicBezTo>
                  <a:cubicBezTo>
                    <a:pt x="67" y="0"/>
                    <a:pt x="68" y="1"/>
                    <a:pt x="70" y="2"/>
                  </a:cubicBezTo>
                  <a:cubicBezTo>
                    <a:pt x="127" y="60"/>
                    <a:pt x="127" y="60"/>
                    <a:pt x="127" y="60"/>
                  </a:cubicBezTo>
                  <a:cubicBezTo>
                    <a:pt x="128" y="61"/>
                    <a:pt x="129" y="63"/>
                    <a:pt x="129" y="65"/>
                  </a:cubicBezTo>
                  <a:cubicBezTo>
                    <a:pt x="129" y="67"/>
                    <a:pt x="128" y="68"/>
                    <a:pt x="127" y="70"/>
                  </a:cubicBezTo>
                  <a:close/>
                </a:path>
              </a:pathLst>
            </a:custGeom>
            <a:solidFill>
              <a:srgbClr val="FFFFFF">
                <a:alpha val="1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Inter"/>
                <a:ea typeface="+mn-ea"/>
                <a:cs typeface="+mn-cs"/>
              </a:endParaRPr>
            </a:p>
          </p:txBody>
        </p:sp>
      </p:grpSp>
      <p:sp>
        <p:nvSpPr>
          <p:cNvPr id="66" name="Right Triangle 61">
            <a:extLst>
              <a:ext uri="{FF2B5EF4-FFF2-40B4-BE49-F238E27FC236}">
                <a16:creationId xmlns:a16="http://schemas.microsoft.com/office/drawing/2014/main" id="{C3D45BB6-FB8D-49D8-B072-9C9300055623}"/>
              </a:ext>
            </a:extLst>
          </p:cNvPr>
          <p:cNvSpPr/>
          <p:nvPr/>
        </p:nvSpPr>
        <p:spPr>
          <a:xfrm flipV="1">
            <a:off x="1055689" y="803583"/>
            <a:ext cx="72580" cy="72177"/>
          </a:xfrm>
          <a:prstGeom prst="r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HarmonyOS Sans SC"/>
              <a:cs typeface="+mn-cs"/>
            </a:endParaRPr>
          </a:p>
        </p:txBody>
      </p:sp>
      <p:sp>
        <p:nvSpPr>
          <p:cNvPr id="67" name="文本框 66">
            <a:extLst>
              <a:ext uri="{FF2B5EF4-FFF2-40B4-BE49-F238E27FC236}">
                <a16:creationId xmlns:a16="http://schemas.microsoft.com/office/drawing/2014/main" id="{9569B902-32DB-4652-8AC9-8572D70C4387}"/>
              </a:ext>
            </a:extLst>
          </p:cNvPr>
          <p:cNvSpPr txBox="1"/>
          <p:nvPr/>
        </p:nvSpPr>
        <p:spPr>
          <a:xfrm>
            <a:off x="941388" y="918105"/>
            <a:ext cx="3411511"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2800" b="0" i="0" u="none" strike="noStrike" kern="1200" cap="none" spc="0" normalizeH="0" baseline="0" noProof="0" dirty="0">
                <a:ln>
                  <a:noFill/>
                </a:ln>
                <a:solidFill>
                  <a:prstClr val="black"/>
                </a:solidFill>
                <a:effectLst/>
                <a:uLnTx/>
                <a:uFillTx/>
                <a:latin typeface="HarmonyOS Sans Black"/>
                <a:ea typeface="+mj-ea"/>
                <a:cs typeface="+mn-cs"/>
              </a:rPr>
              <a:t>Arrow </a:t>
            </a:r>
            <a:r>
              <a:rPr kumimoji="0" lang="en-US" altLang="zh-CN" sz="2800" b="0" i="0" u="none" strike="noStrike" kern="1200" cap="none" spc="0" normalizeH="0" baseline="0" noProof="0" dirty="0">
                <a:ln>
                  <a:noFill/>
                </a:ln>
                <a:solidFill>
                  <a:schemeClr val="accent1"/>
                </a:solidFill>
                <a:effectLst/>
                <a:uLnTx/>
                <a:uFillTx/>
                <a:latin typeface="HarmonyOS Sans Black"/>
                <a:ea typeface="+mj-ea"/>
                <a:cs typeface="+mn-cs"/>
              </a:rPr>
              <a:t>infographic</a:t>
            </a:r>
          </a:p>
        </p:txBody>
      </p:sp>
      <p:grpSp>
        <p:nvGrpSpPr>
          <p:cNvPr id="88" name="组合 87">
            <a:extLst>
              <a:ext uri="{FF2B5EF4-FFF2-40B4-BE49-F238E27FC236}">
                <a16:creationId xmlns:a16="http://schemas.microsoft.com/office/drawing/2014/main" id="{21FC527C-FFF2-4B35-8B8B-205CB691017D}"/>
              </a:ext>
            </a:extLst>
          </p:cNvPr>
          <p:cNvGrpSpPr/>
          <p:nvPr/>
        </p:nvGrpSpPr>
        <p:grpSpPr>
          <a:xfrm>
            <a:off x="2208831" y="3464276"/>
            <a:ext cx="1812046" cy="846145"/>
            <a:chOff x="5154634" y="1949395"/>
            <a:chExt cx="1812046" cy="846145"/>
          </a:xfrm>
        </p:grpSpPr>
        <p:sp>
          <p:nvSpPr>
            <p:cNvPr id="89" name="TextBox 65">
              <a:extLst>
                <a:ext uri="{FF2B5EF4-FFF2-40B4-BE49-F238E27FC236}">
                  <a16:creationId xmlns:a16="http://schemas.microsoft.com/office/drawing/2014/main" id="{83AB3898-4E72-4E93-81D5-7E4AC5E44EE8}"/>
                </a:ext>
              </a:extLst>
            </p:cNvPr>
            <p:cNvSpPr txBox="1"/>
            <p:nvPr/>
          </p:nvSpPr>
          <p:spPr>
            <a:xfrm>
              <a:off x="5427752" y="1949395"/>
              <a:ext cx="1538928" cy="345598"/>
            </a:xfrm>
            <a:prstGeom prst="rect">
              <a:avLst/>
            </a:prstGeom>
            <a:noFill/>
          </p:spPr>
          <p:txBody>
            <a:bodyPr wrap="square" lIns="0" tIns="36000" rIns="0" bIns="36000" rtlCol="0">
              <a:spAutoFit/>
            </a:bodyPr>
            <a:lstStyle/>
            <a:p>
              <a:pPr marL="0" marR="0" lvl="0" indent="0" algn="r" defTabSz="914400" rtl="0" eaLnBrk="1" fontAlgn="auto" latinLnBrk="0" hangingPunct="1">
                <a:lnSpc>
                  <a:spcPct val="120000"/>
                </a:lnSpc>
                <a:spcBef>
                  <a:spcPts val="600"/>
                </a:spcBef>
                <a:spcAft>
                  <a:spcPts val="0"/>
                </a:spcAft>
                <a:buClrTx/>
                <a:buSzTx/>
                <a:buFontTx/>
                <a:buNone/>
                <a:tabLst/>
                <a:defRPr/>
              </a:pPr>
              <a:r>
                <a:rPr kumimoji="0" lang="en-US" sz="1600" b="0" i="0" u="none" strike="noStrike" kern="1200" cap="none" spc="0" normalizeH="0" baseline="0" noProof="0" dirty="0">
                  <a:ln>
                    <a:noFill/>
                  </a:ln>
                  <a:solidFill>
                    <a:schemeClr val="accent1"/>
                  </a:solidFill>
                  <a:effectLst/>
                  <a:uLnTx/>
                  <a:uFillTx/>
                  <a:latin typeface="HarmonyOS Sans SC Black"/>
                  <a:ea typeface="+mj-ea"/>
                  <a:cs typeface="+mn-cs"/>
                </a:rPr>
                <a:t>Subtitle Here</a:t>
              </a:r>
              <a:endParaRPr kumimoji="0" lang="en-US" sz="1100" b="0" i="0" u="none" strike="noStrike" kern="1200" cap="none" spc="0" normalizeH="0" baseline="0" noProof="0" dirty="0">
                <a:ln>
                  <a:noFill/>
                </a:ln>
                <a:solidFill>
                  <a:schemeClr val="accent1"/>
                </a:solidFill>
                <a:effectLst/>
                <a:uLnTx/>
                <a:uFillTx/>
                <a:latin typeface="HarmonyOS Sans SC Black"/>
                <a:ea typeface="+mj-ea"/>
                <a:cs typeface="+mn-cs"/>
              </a:endParaRPr>
            </a:p>
          </p:txBody>
        </p:sp>
        <p:sp>
          <p:nvSpPr>
            <p:cNvPr id="90" name="TextBox 65">
              <a:extLst>
                <a:ext uri="{FF2B5EF4-FFF2-40B4-BE49-F238E27FC236}">
                  <a16:creationId xmlns:a16="http://schemas.microsoft.com/office/drawing/2014/main" id="{00112775-92FA-4DBF-BB3A-DAF2ECCB495B}"/>
                </a:ext>
              </a:extLst>
            </p:cNvPr>
            <p:cNvSpPr txBox="1"/>
            <p:nvPr/>
          </p:nvSpPr>
          <p:spPr>
            <a:xfrm>
              <a:off x="5154634" y="2332794"/>
              <a:ext cx="1812046" cy="462746"/>
            </a:xfrm>
            <a:prstGeom prst="rect">
              <a:avLst/>
            </a:prstGeom>
            <a:noFill/>
          </p:spPr>
          <p:txBody>
            <a:bodyPr wrap="square" lIns="0" tIns="36000" rIns="0" bIns="36000" rtlCol="0">
              <a:spAutoFit/>
            </a:bodyPr>
            <a:lstStyle/>
            <a:p>
              <a:pPr marL="0" marR="0" lvl="0" indent="0" algn="r" defTabSz="914400" rtl="0" eaLnBrk="1" fontAlgn="auto" latinLnBrk="0" hangingPunct="1">
                <a:lnSpc>
                  <a:spcPct val="120000"/>
                </a:lnSpc>
                <a:spcBef>
                  <a:spcPts val="600"/>
                </a:spcBef>
                <a:spcAft>
                  <a:spcPts val="0"/>
                </a:spcAft>
                <a:buClrTx/>
                <a:buSzTx/>
                <a:buFontTx/>
                <a:buNone/>
                <a:tabLst/>
                <a:defRPr/>
              </a:pPr>
              <a:r>
                <a:rPr kumimoji="0" lang="en-US" sz="1100" b="0" i="0" u="none" strike="noStrike" kern="1200" cap="none" spc="0" normalizeH="0" baseline="0" noProof="0" dirty="0">
                  <a:ln>
                    <a:noFill/>
                  </a:ln>
                  <a:solidFill>
                    <a:prstClr val="black">
                      <a:lumMod val="50000"/>
                      <a:lumOff val="50000"/>
                    </a:prstClr>
                  </a:solidFill>
                  <a:effectLst/>
                  <a:uLnTx/>
                  <a:uFillTx/>
                  <a:latin typeface="HarmonyOS Sans SC"/>
                  <a:cs typeface="+mn-cs"/>
                </a:rPr>
                <a:t>As the minuteness of the parts formed a great.</a:t>
              </a:r>
            </a:p>
          </p:txBody>
        </p:sp>
      </p:grpSp>
      <p:grpSp>
        <p:nvGrpSpPr>
          <p:cNvPr id="91" name="组合 90">
            <a:extLst>
              <a:ext uri="{FF2B5EF4-FFF2-40B4-BE49-F238E27FC236}">
                <a16:creationId xmlns:a16="http://schemas.microsoft.com/office/drawing/2014/main" id="{0010A6F6-A4F1-4EED-AFAC-705A822ADCAB}"/>
              </a:ext>
            </a:extLst>
          </p:cNvPr>
          <p:cNvGrpSpPr/>
          <p:nvPr/>
        </p:nvGrpSpPr>
        <p:grpSpPr>
          <a:xfrm>
            <a:off x="7619777" y="2053509"/>
            <a:ext cx="1812046" cy="846145"/>
            <a:chOff x="5154634" y="1949395"/>
            <a:chExt cx="1812046" cy="846145"/>
          </a:xfrm>
        </p:grpSpPr>
        <p:sp>
          <p:nvSpPr>
            <p:cNvPr id="92" name="TextBox 65">
              <a:extLst>
                <a:ext uri="{FF2B5EF4-FFF2-40B4-BE49-F238E27FC236}">
                  <a16:creationId xmlns:a16="http://schemas.microsoft.com/office/drawing/2014/main" id="{64203392-E712-4C0A-8121-A0183DC66233}"/>
                </a:ext>
              </a:extLst>
            </p:cNvPr>
            <p:cNvSpPr txBox="1"/>
            <p:nvPr/>
          </p:nvSpPr>
          <p:spPr>
            <a:xfrm>
              <a:off x="5154634" y="1949395"/>
              <a:ext cx="1538928" cy="345598"/>
            </a:xfrm>
            <a:prstGeom prst="rect">
              <a:avLst/>
            </a:prstGeom>
            <a:noFill/>
          </p:spPr>
          <p:txBody>
            <a:bodyPr wrap="square" lIns="0" tIns="36000" rIns="0" bIns="36000" rtlCol="0">
              <a:spAutoFit/>
            </a:bodyPr>
            <a:lstStyle/>
            <a:p>
              <a:pPr marL="0" marR="0" lvl="0" indent="0" algn="l" defTabSz="914400" rtl="0" eaLnBrk="1" fontAlgn="auto" latinLnBrk="0" hangingPunct="1">
                <a:lnSpc>
                  <a:spcPct val="120000"/>
                </a:lnSpc>
                <a:spcBef>
                  <a:spcPts val="600"/>
                </a:spcBef>
                <a:spcAft>
                  <a:spcPts val="0"/>
                </a:spcAft>
                <a:buClrTx/>
                <a:buSzTx/>
                <a:buFontTx/>
                <a:buNone/>
                <a:tabLst/>
                <a:defRPr/>
              </a:pPr>
              <a:r>
                <a:rPr kumimoji="0" lang="en-US" sz="1600" b="0" i="0" u="none" strike="noStrike" kern="1200" cap="none" spc="0" normalizeH="0" baseline="0" noProof="0" dirty="0">
                  <a:ln>
                    <a:noFill/>
                  </a:ln>
                  <a:solidFill>
                    <a:schemeClr val="accent1"/>
                  </a:solidFill>
                  <a:effectLst/>
                  <a:uLnTx/>
                  <a:uFillTx/>
                  <a:latin typeface="HarmonyOS Sans SC Black"/>
                  <a:ea typeface="+mj-ea"/>
                  <a:cs typeface="+mn-cs"/>
                </a:rPr>
                <a:t>Subtitle Here</a:t>
              </a:r>
              <a:endParaRPr kumimoji="0" lang="en-US" sz="1100" b="0" i="0" u="none" strike="noStrike" kern="1200" cap="none" spc="0" normalizeH="0" baseline="0" noProof="0" dirty="0">
                <a:ln>
                  <a:noFill/>
                </a:ln>
                <a:solidFill>
                  <a:schemeClr val="accent1"/>
                </a:solidFill>
                <a:effectLst/>
                <a:uLnTx/>
                <a:uFillTx/>
                <a:latin typeface="HarmonyOS Sans SC Black"/>
                <a:ea typeface="+mj-ea"/>
                <a:cs typeface="+mn-cs"/>
              </a:endParaRPr>
            </a:p>
          </p:txBody>
        </p:sp>
        <p:sp>
          <p:nvSpPr>
            <p:cNvPr id="93" name="TextBox 65">
              <a:extLst>
                <a:ext uri="{FF2B5EF4-FFF2-40B4-BE49-F238E27FC236}">
                  <a16:creationId xmlns:a16="http://schemas.microsoft.com/office/drawing/2014/main" id="{5AFB1000-9A0F-4E41-83FF-8DD518CE9CC2}"/>
                </a:ext>
              </a:extLst>
            </p:cNvPr>
            <p:cNvSpPr txBox="1"/>
            <p:nvPr/>
          </p:nvSpPr>
          <p:spPr>
            <a:xfrm>
              <a:off x="5154634" y="2332794"/>
              <a:ext cx="1812046" cy="462746"/>
            </a:xfrm>
            <a:prstGeom prst="rect">
              <a:avLst/>
            </a:prstGeom>
            <a:noFill/>
          </p:spPr>
          <p:txBody>
            <a:bodyPr wrap="square" lIns="0" tIns="36000" rIns="0" bIns="36000" rtlCol="0">
              <a:spAutoFit/>
            </a:bodyPr>
            <a:lstStyle/>
            <a:p>
              <a:pPr marL="0" marR="0" lvl="0" indent="0" algn="l" defTabSz="914400" rtl="0" eaLnBrk="1" fontAlgn="auto" latinLnBrk="0" hangingPunct="1">
                <a:lnSpc>
                  <a:spcPct val="120000"/>
                </a:lnSpc>
                <a:spcBef>
                  <a:spcPts val="600"/>
                </a:spcBef>
                <a:spcAft>
                  <a:spcPts val="0"/>
                </a:spcAft>
                <a:buClrTx/>
                <a:buSzTx/>
                <a:buFontTx/>
                <a:buNone/>
                <a:tabLst/>
                <a:defRPr/>
              </a:pPr>
              <a:r>
                <a:rPr kumimoji="0" lang="en-US" sz="1100" b="0" i="0" u="none" strike="noStrike" kern="1200" cap="none" spc="0" normalizeH="0" baseline="0" noProof="0" dirty="0">
                  <a:ln>
                    <a:noFill/>
                  </a:ln>
                  <a:solidFill>
                    <a:prstClr val="black">
                      <a:lumMod val="50000"/>
                      <a:lumOff val="50000"/>
                    </a:prstClr>
                  </a:solidFill>
                  <a:effectLst/>
                  <a:uLnTx/>
                  <a:uFillTx/>
                  <a:latin typeface="HarmonyOS Sans SC"/>
                  <a:cs typeface="+mn-cs"/>
                </a:rPr>
                <a:t>As the minuteness of the parts formed a great.</a:t>
              </a:r>
            </a:p>
          </p:txBody>
        </p:sp>
      </p:grpSp>
      <p:grpSp>
        <p:nvGrpSpPr>
          <p:cNvPr id="94" name="组合 93">
            <a:extLst>
              <a:ext uri="{FF2B5EF4-FFF2-40B4-BE49-F238E27FC236}">
                <a16:creationId xmlns:a16="http://schemas.microsoft.com/office/drawing/2014/main" id="{16F740E5-49E6-4F32-AA8D-D4BDE7FDFA80}"/>
              </a:ext>
            </a:extLst>
          </p:cNvPr>
          <p:cNvGrpSpPr/>
          <p:nvPr/>
        </p:nvGrpSpPr>
        <p:grpSpPr>
          <a:xfrm>
            <a:off x="8218833" y="3457353"/>
            <a:ext cx="1812046" cy="846145"/>
            <a:chOff x="5154634" y="1949395"/>
            <a:chExt cx="1812046" cy="846145"/>
          </a:xfrm>
        </p:grpSpPr>
        <p:sp>
          <p:nvSpPr>
            <p:cNvPr id="95" name="TextBox 65">
              <a:extLst>
                <a:ext uri="{FF2B5EF4-FFF2-40B4-BE49-F238E27FC236}">
                  <a16:creationId xmlns:a16="http://schemas.microsoft.com/office/drawing/2014/main" id="{F41F6844-C805-477D-B3D0-1333626963B5}"/>
                </a:ext>
              </a:extLst>
            </p:cNvPr>
            <p:cNvSpPr txBox="1"/>
            <p:nvPr/>
          </p:nvSpPr>
          <p:spPr>
            <a:xfrm>
              <a:off x="5154634" y="1949395"/>
              <a:ext cx="1538928" cy="345598"/>
            </a:xfrm>
            <a:prstGeom prst="rect">
              <a:avLst/>
            </a:prstGeom>
            <a:noFill/>
          </p:spPr>
          <p:txBody>
            <a:bodyPr wrap="square" lIns="0" tIns="36000" rIns="0" bIns="36000" rtlCol="0">
              <a:spAutoFit/>
            </a:bodyPr>
            <a:lstStyle/>
            <a:p>
              <a:pPr marL="0" marR="0" lvl="0" indent="0" algn="l" defTabSz="914400" rtl="0" eaLnBrk="1" fontAlgn="auto" latinLnBrk="0" hangingPunct="1">
                <a:lnSpc>
                  <a:spcPct val="120000"/>
                </a:lnSpc>
                <a:spcBef>
                  <a:spcPts val="600"/>
                </a:spcBef>
                <a:spcAft>
                  <a:spcPts val="0"/>
                </a:spcAft>
                <a:buClrTx/>
                <a:buSzTx/>
                <a:buFontTx/>
                <a:buNone/>
                <a:tabLst/>
                <a:defRPr/>
              </a:pPr>
              <a:r>
                <a:rPr kumimoji="0" lang="en-US" sz="1600" b="0" i="0" u="none" strike="noStrike" kern="1200" cap="none" spc="0" normalizeH="0" baseline="0" noProof="0" dirty="0">
                  <a:ln>
                    <a:noFill/>
                  </a:ln>
                  <a:solidFill>
                    <a:schemeClr val="accent1"/>
                  </a:solidFill>
                  <a:effectLst/>
                  <a:uLnTx/>
                  <a:uFillTx/>
                  <a:latin typeface="HarmonyOS Sans SC Black"/>
                  <a:ea typeface="+mj-ea"/>
                  <a:cs typeface="+mn-cs"/>
                </a:rPr>
                <a:t>Subtitle Here</a:t>
              </a:r>
              <a:endParaRPr kumimoji="0" lang="en-US" sz="1100" b="0" i="0" u="none" strike="noStrike" kern="1200" cap="none" spc="0" normalizeH="0" baseline="0" noProof="0" dirty="0">
                <a:ln>
                  <a:noFill/>
                </a:ln>
                <a:solidFill>
                  <a:schemeClr val="accent1"/>
                </a:solidFill>
                <a:effectLst/>
                <a:uLnTx/>
                <a:uFillTx/>
                <a:latin typeface="HarmonyOS Sans SC Black"/>
                <a:ea typeface="+mj-ea"/>
                <a:cs typeface="+mn-cs"/>
              </a:endParaRPr>
            </a:p>
          </p:txBody>
        </p:sp>
        <p:sp>
          <p:nvSpPr>
            <p:cNvPr id="96" name="TextBox 65">
              <a:extLst>
                <a:ext uri="{FF2B5EF4-FFF2-40B4-BE49-F238E27FC236}">
                  <a16:creationId xmlns:a16="http://schemas.microsoft.com/office/drawing/2014/main" id="{F05A315D-C074-4D66-B405-CB2EE05C33E1}"/>
                </a:ext>
              </a:extLst>
            </p:cNvPr>
            <p:cNvSpPr txBox="1"/>
            <p:nvPr/>
          </p:nvSpPr>
          <p:spPr>
            <a:xfrm>
              <a:off x="5154634" y="2332794"/>
              <a:ext cx="1812046" cy="462746"/>
            </a:xfrm>
            <a:prstGeom prst="rect">
              <a:avLst/>
            </a:prstGeom>
            <a:noFill/>
          </p:spPr>
          <p:txBody>
            <a:bodyPr wrap="square" lIns="0" tIns="36000" rIns="0" bIns="36000" rtlCol="0">
              <a:spAutoFit/>
            </a:bodyPr>
            <a:lstStyle/>
            <a:p>
              <a:pPr marL="0" marR="0" lvl="0" indent="0" algn="l" defTabSz="914400" rtl="0" eaLnBrk="1" fontAlgn="auto" latinLnBrk="0" hangingPunct="1">
                <a:lnSpc>
                  <a:spcPct val="120000"/>
                </a:lnSpc>
                <a:spcBef>
                  <a:spcPts val="600"/>
                </a:spcBef>
                <a:spcAft>
                  <a:spcPts val="0"/>
                </a:spcAft>
                <a:buClrTx/>
                <a:buSzTx/>
                <a:buFontTx/>
                <a:buNone/>
                <a:tabLst/>
                <a:defRPr/>
              </a:pPr>
              <a:r>
                <a:rPr kumimoji="0" lang="en-US" sz="1100" b="0" i="0" u="none" strike="noStrike" kern="1200" cap="none" spc="0" normalizeH="0" baseline="0" noProof="0" dirty="0">
                  <a:ln>
                    <a:noFill/>
                  </a:ln>
                  <a:solidFill>
                    <a:prstClr val="black">
                      <a:lumMod val="50000"/>
                      <a:lumOff val="50000"/>
                    </a:prstClr>
                  </a:solidFill>
                  <a:effectLst/>
                  <a:uLnTx/>
                  <a:uFillTx/>
                  <a:latin typeface="HarmonyOS Sans SC"/>
                  <a:cs typeface="+mn-cs"/>
                </a:rPr>
                <a:t>As the minuteness of the parts formed a great.</a:t>
              </a:r>
            </a:p>
          </p:txBody>
        </p:sp>
      </p:grpSp>
      <p:grpSp>
        <p:nvGrpSpPr>
          <p:cNvPr id="97" name="组合 96">
            <a:extLst>
              <a:ext uri="{FF2B5EF4-FFF2-40B4-BE49-F238E27FC236}">
                <a16:creationId xmlns:a16="http://schemas.microsoft.com/office/drawing/2014/main" id="{6FDB723F-0A15-4588-B0D6-179011E55B34}"/>
              </a:ext>
            </a:extLst>
          </p:cNvPr>
          <p:cNvGrpSpPr/>
          <p:nvPr/>
        </p:nvGrpSpPr>
        <p:grpSpPr>
          <a:xfrm>
            <a:off x="9158705" y="4655980"/>
            <a:ext cx="1812046" cy="846145"/>
            <a:chOff x="5154634" y="1949395"/>
            <a:chExt cx="1812046" cy="846145"/>
          </a:xfrm>
        </p:grpSpPr>
        <p:sp>
          <p:nvSpPr>
            <p:cNvPr id="98" name="TextBox 65">
              <a:extLst>
                <a:ext uri="{FF2B5EF4-FFF2-40B4-BE49-F238E27FC236}">
                  <a16:creationId xmlns:a16="http://schemas.microsoft.com/office/drawing/2014/main" id="{187977CB-EDED-4E50-93E7-65AC3FE80363}"/>
                </a:ext>
              </a:extLst>
            </p:cNvPr>
            <p:cNvSpPr txBox="1"/>
            <p:nvPr/>
          </p:nvSpPr>
          <p:spPr>
            <a:xfrm>
              <a:off x="5154634" y="1949395"/>
              <a:ext cx="1538928" cy="345598"/>
            </a:xfrm>
            <a:prstGeom prst="rect">
              <a:avLst/>
            </a:prstGeom>
            <a:noFill/>
          </p:spPr>
          <p:txBody>
            <a:bodyPr wrap="square" lIns="0" tIns="36000" rIns="0" bIns="36000" rtlCol="0">
              <a:spAutoFit/>
            </a:bodyPr>
            <a:lstStyle/>
            <a:p>
              <a:pPr marL="0" marR="0" lvl="0" indent="0" algn="l" defTabSz="914400" rtl="0" eaLnBrk="1" fontAlgn="auto" latinLnBrk="0" hangingPunct="1">
                <a:lnSpc>
                  <a:spcPct val="120000"/>
                </a:lnSpc>
                <a:spcBef>
                  <a:spcPts val="600"/>
                </a:spcBef>
                <a:spcAft>
                  <a:spcPts val="0"/>
                </a:spcAft>
                <a:buClrTx/>
                <a:buSzTx/>
                <a:buFontTx/>
                <a:buNone/>
                <a:tabLst/>
                <a:defRPr/>
              </a:pPr>
              <a:r>
                <a:rPr kumimoji="0" lang="en-US" sz="1600" b="0" i="0" u="none" strike="noStrike" kern="1200" cap="none" spc="0" normalizeH="0" baseline="0" noProof="0" dirty="0">
                  <a:ln>
                    <a:noFill/>
                  </a:ln>
                  <a:solidFill>
                    <a:schemeClr val="accent1"/>
                  </a:solidFill>
                  <a:effectLst/>
                  <a:uLnTx/>
                  <a:uFillTx/>
                  <a:latin typeface="HarmonyOS Sans SC Black"/>
                  <a:ea typeface="+mj-ea"/>
                  <a:cs typeface="+mn-cs"/>
                </a:rPr>
                <a:t>Subtitle Here</a:t>
              </a:r>
              <a:endParaRPr kumimoji="0" lang="en-US" sz="1100" b="0" i="0" u="none" strike="noStrike" kern="1200" cap="none" spc="0" normalizeH="0" baseline="0" noProof="0" dirty="0">
                <a:ln>
                  <a:noFill/>
                </a:ln>
                <a:solidFill>
                  <a:schemeClr val="accent1"/>
                </a:solidFill>
                <a:effectLst/>
                <a:uLnTx/>
                <a:uFillTx/>
                <a:latin typeface="HarmonyOS Sans SC Black"/>
                <a:ea typeface="+mj-ea"/>
                <a:cs typeface="+mn-cs"/>
              </a:endParaRPr>
            </a:p>
          </p:txBody>
        </p:sp>
        <p:sp>
          <p:nvSpPr>
            <p:cNvPr id="99" name="TextBox 65">
              <a:extLst>
                <a:ext uri="{FF2B5EF4-FFF2-40B4-BE49-F238E27FC236}">
                  <a16:creationId xmlns:a16="http://schemas.microsoft.com/office/drawing/2014/main" id="{76103471-295F-42F1-8B88-51F04C4355EE}"/>
                </a:ext>
              </a:extLst>
            </p:cNvPr>
            <p:cNvSpPr txBox="1"/>
            <p:nvPr/>
          </p:nvSpPr>
          <p:spPr>
            <a:xfrm>
              <a:off x="5154634" y="2332794"/>
              <a:ext cx="1812046" cy="462746"/>
            </a:xfrm>
            <a:prstGeom prst="rect">
              <a:avLst/>
            </a:prstGeom>
            <a:noFill/>
          </p:spPr>
          <p:txBody>
            <a:bodyPr wrap="square" lIns="0" tIns="36000" rIns="0" bIns="36000" rtlCol="0">
              <a:spAutoFit/>
            </a:bodyPr>
            <a:lstStyle/>
            <a:p>
              <a:pPr marL="0" marR="0" lvl="0" indent="0" algn="l" defTabSz="914400" rtl="0" eaLnBrk="1" fontAlgn="auto" latinLnBrk="0" hangingPunct="1">
                <a:lnSpc>
                  <a:spcPct val="120000"/>
                </a:lnSpc>
                <a:spcBef>
                  <a:spcPts val="600"/>
                </a:spcBef>
                <a:spcAft>
                  <a:spcPts val="0"/>
                </a:spcAft>
                <a:buClrTx/>
                <a:buSzTx/>
                <a:buFontTx/>
                <a:buNone/>
                <a:tabLst/>
                <a:defRPr/>
              </a:pPr>
              <a:r>
                <a:rPr kumimoji="0" lang="en-US" sz="1100" b="0" i="0" u="none" strike="noStrike" kern="1200" cap="none" spc="0" normalizeH="0" baseline="0" noProof="0" dirty="0">
                  <a:ln>
                    <a:noFill/>
                  </a:ln>
                  <a:solidFill>
                    <a:prstClr val="black">
                      <a:lumMod val="50000"/>
                      <a:lumOff val="50000"/>
                    </a:prstClr>
                  </a:solidFill>
                  <a:effectLst/>
                  <a:uLnTx/>
                  <a:uFillTx/>
                  <a:latin typeface="HarmonyOS Sans SC"/>
                  <a:cs typeface="+mn-cs"/>
                </a:rPr>
                <a:t>As the minuteness of the parts formed a great.</a:t>
              </a:r>
            </a:p>
          </p:txBody>
        </p:sp>
      </p:grpSp>
      <p:grpSp>
        <p:nvGrpSpPr>
          <p:cNvPr id="100" name="组合 99">
            <a:extLst>
              <a:ext uri="{FF2B5EF4-FFF2-40B4-BE49-F238E27FC236}">
                <a16:creationId xmlns:a16="http://schemas.microsoft.com/office/drawing/2014/main" id="{87C25A19-4F09-4B57-9E7F-AE3219ED79F4}"/>
              </a:ext>
            </a:extLst>
          </p:cNvPr>
          <p:cNvGrpSpPr/>
          <p:nvPr/>
        </p:nvGrpSpPr>
        <p:grpSpPr>
          <a:xfrm>
            <a:off x="1221105" y="4653334"/>
            <a:ext cx="1812046" cy="846145"/>
            <a:chOff x="5154634" y="1949395"/>
            <a:chExt cx="1812046" cy="846145"/>
          </a:xfrm>
        </p:grpSpPr>
        <p:sp>
          <p:nvSpPr>
            <p:cNvPr id="101" name="TextBox 65">
              <a:extLst>
                <a:ext uri="{FF2B5EF4-FFF2-40B4-BE49-F238E27FC236}">
                  <a16:creationId xmlns:a16="http://schemas.microsoft.com/office/drawing/2014/main" id="{84777B35-BC98-4A9A-B0CE-48B3B14B0014}"/>
                </a:ext>
              </a:extLst>
            </p:cNvPr>
            <p:cNvSpPr txBox="1"/>
            <p:nvPr/>
          </p:nvSpPr>
          <p:spPr>
            <a:xfrm>
              <a:off x="5427752" y="1949395"/>
              <a:ext cx="1538928" cy="345598"/>
            </a:xfrm>
            <a:prstGeom prst="rect">
              <a:avLst/>
            </a:prstGeom>
            <a:noFill/>
          </p:spPr>
          <p:txBody>
            <a:bodyPr wrap="square" lIns="0" tIns="36000" rIns="0" bIns="36000" rtlCol="0">
              <a:spAutoFit/>
            </a:bodyPr>
            <a:lstStyle/>
            <a:p>
              <a:pPr marL="0" marR="0" lvl="0" indent="0" algn="r" defTabSz="914400" rtl="0" eaLnBrk="1" fontAlgn="auto" latinLnBrk="0" hangingPunct="1">
                <a:lnSpc>
                  <a:spcPct val="120000"/>
                </a:lnSpc>
                <a:spcBef>
                  <a:spcPts val="600"/>
                </a:spcBef>
                <a:spcAft>
                  <a:spcPts val="0"/>
                </a:spcAft>
                <a:buClrTx/>
                <a:buSzTx/>
                <a:buFontTx/>
                <a:buNone/>
                <a:tabLst/>
                <a:defRPr/>
              </a:pPr>
              <a:r>
                <a:rPr kumimoji="0" lang="en-US" sz="1600" b="0" i="0" u="none" strike="noStrike" kern="1200" cap="none" spc="0" normalizeH="0" baseline="0" noProof="0" dirty="0">
                  <a:ln>
                    <a:noFill/>
                  </a:ln>
                  <a:solidFill>
                    <a:schemeClr val="accent1"/>
                  </a:solidFill>
                  <a:effectLst/>
                  <a:uLnTx/>
                  <a:uFillTx/>
                  <a:latin typeface="HarmonyOS Sans SC Black"/>
                  <a:ea typeface="+mj-ea"/>
                  <a:cs typeface="+mn-cs"/>
                </a:rPr>
                <a:t>Subtitle Here</a:t>
              </a:r>
              <a:endParaRPr kumimoji="0" lang="en-US" sz="1100" b="0" i="0" u="none" strike="noStrike" kern="1200" cap="none" spc="0" normalizeH="0" baseline="0" noProof="0" dirty="0">
                <a:ln>
                  <a:noFill/>
                </a:ln>
                <a:solidFill>
                  <a:schemeClr val="accent1"/>
                </a:solidFill>
                <a:effectLst/>
                <a:uLnTx/>
                <a:uFillTx/>
                <a:latin typeface="HarmonyOS Sans SC Black"/>
                <a:ea typeface="+mj-ea"/>
                <a:cs typeface="+mn-cs"/>
              </a:endParaRPr>
            </a:p>
          </p:txBody>
        </p:sp>
        <p:sp>
          <p:nvSpPr>
            <p:cNvPr id="102" name="TextBox 65">
              <a:extLst>
                <a:ext uri="{FF2B5EF4-FFF2-40B4-BE49-F238E27FC236}">
                  <a16:creationId xmlns:a16="http://schemas.microsoft.com/office/drawing/2014/main" id="{15EA428B-6D6A-430A-994A-C2548F16F980}"/>
                </a:ext>
              </a:extLst>
            </p:cNvPr>
            <p:cNvSpPr txBox="1"/>
            <p:nvPr/>
          </p:nvSpPr>
          <p:spPr>
            <a:xfrm>
              <a:off x="5154634" y="2332794"/>
              <a:ext cx="1812046" cy="462746"/>
            </a:xfrm>
            <a:prstGeom prst="rect">
              <a:avLst/>
            </a:prstGeom>
            <a:noFill/>
          </p:spPr>
          <p:txBody>
            <a:bodyPr wrap="square" lIns="0" tIns="36000" rIns="0" bIns="36000" rtlCol="0">
              <a:spAutoFit/>
            </a:bodyPr>
            <a:lstStyle/>
            <a:p>
              <a:pPr marL="0" marR="0" lvl="0" indent="0" algn="r" defTabSz="914400" rtl="0" eaLnBrk="1" fontAlgn="auto" latinLnBrk="0" hangingPunct="1">
                <a:lnSpc>
                  <a:spcPct val="120000"/>
                </a:lnSpc>
                <a:spcBef>
                  <a:spcPts val="600"/>
                </a:spcBef>
                <a:spcAft>
                  <a:spcPts val="0"/>
                </a:spcAft>
                <a:buClrTx/>
                <a:buSzTx/>
                <a:buFontTx/>
                <a:buNone/>
                <a:tabLst/>
                <a:defRPr/>
              </a:pPr>
              <a:r>
                <a:rPr kumimoji="0" lang="en-US" sz="1100" b="0" i="0" u="none" strike="noStrike" kern="1200" cap="none" spc="0" normalizeH="0" baseline="0" noProof="0" dirty="0">
                  <a:ln>
                    <a:noFill/>
                  </a:ln>
                  <a:solidFill>
                    <a:prstClr val="black">
                      <a:lumMod val="50000"/>
                      <a:lumOff val="50000"/>
                    </a:prstClr>
                  </a:solidFill>
                  <a:effectLst/>
                  <a:uLnTx/>
                  <a:uFillTx/>
                  <a:latin typeface="HarmonyOS Sans SC"/>
                  <a:cs typeface="+mn-cs"/>
                </a:rPr>
                <a:t>As the minuteness of the parts formed a great.</a:t>
              </a:r>
            </a:p>
          </p:txBody>
        </p:sp>
      </p:grpSp>
      <p:grpSp>
        <p:nvGrpSpPr>
          <p:cNvPr id="113" name="组合 112">
            <a:extLst>
              <a:ext uri="{FF2B5EF4-FFF2-40B4-BE49-F238E27FC236}">
                <a16:creationId xmlns:a16="http://schemas.microsoft.com/office/drawing/2014/main" id="{74758555-5B1C-486C-BA10-80E4C2CA5E56}"/>
              </a:ext>
            </a:extLst>
          </p:cNvPr>
          <p:cNvGrpSpPr/>
          <p:nvPr/>
        </p:nvGrpSpPr>
        <p:grpSpPr>
          <a:xfrm>
            <a:off x="5995077" y="2634721"/>
            <a:ext cx="209550" cy="209550"/>
            <a:chOff x="5585550" y="2229291"/>
            <a:chExt cx="209550" cy="209550"/>
          </a:xfrm>
        </p:grpSpPr>
        <p:sp>
          <p:nvSpPr>
            <p:cNvPr id="114" name="Oval 69">
              <a:extLst>
                <a:ext uri="{FF2B5EF4-FFF2-40B4-BE49-F238E27FC236}">
                  <a16:creationId xmlns:a16="http://schemas.microsoft.com/office/drawing/2014/main" id="{244C6955-7BF9-49B1-B78F-681F0D6C8C2C}"/>
                </a:ext>
              </a:extLst>
            </p:cNvPr>
            <p:cNvSpPr/>
            <p:nvPr/>
          </p:nvSpPr>
          <p:spPr>
            <a:xfrm flipH="1">
              <a:off x="5585550" y="2229291"/>
              <a:ext cx="209550" cy="209550"/>
            </a:xfrm>
            <a:prstGeom prst="ellipse">
              <a:avLst/>
            </a:prstGeom>
            <a:solidFill>
              <a:schemeClr val="accent1">
                <a:lumMod val="20000"/>
                <a:lumOff val="80000"/>
                <a:alpha val="5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800" b="0" i="0" u="none" strike="noStrike" kern="1200" cap="none" spc="0" normalizeH="0" baseline="0" noProof="0">
                <a:ln>
                  <a:noFill/>
                </a:ln>
                <a:solidFill>
                  <a:prstClr val="black">
                    <a:lumMod val="50000"/>
                    <a:lumOff val="50000"/>
                  </a:prstClr>
                </a:solidFill>
                <a:effectLst/>
                <a:uLnTx/>
                <a:uFillTx/>
                <a:latin typeface="HarmonyOS Sans SC"/>
                <a:cs typeface="+mn-cs"/>
              </a:endParaRPr>
            </a:p>
          </p:txBody>
        </p:sp>
        <p:sp>
          <p:nvSpPr>
            <p:cNvPr id="115" name="Oval 70">
              <a:extLst>
                <a:ext uri="{FF2B5EF4-FFF2-40B4-BE49-F238E27FC236}">
                  <a16:creationId xmlns:a16="http://schemas.microsoft.com/office/drawing/2014/main" id="{98B8A253-6B25-47E9-B65D-462DACA0D5BD}"/>
                </a:ext>
              </a:extLst>
            </p:cNvPr>
            <p:cNvSpPr/>
            <p:nvPr/>
          </p:nvSpPr>
          <p:spPr>
            <a:xfrm flipH="1" flipV="1">
              <a:off x="5654983" y="2298724"/>
              <a:ext cx="70684" cy="70684"/>
            </a:xfrm>
            <a:prstGeom prst="ellipse">
              <a:avLst/>
            </a:prstGeom>
            <a:gradFill>
              <a:gsLst>
                <a:gs pos="73000">
                  <a:schemeClr val="accent1"/>
                </a:gs>
                <a:gs pos="31000">
                  <a:schemeClr val="accent1">
                    <a:lumMod val="60000"/>
                    <a:lumOff val="40000"/>
                  </a:schemeClr>
                </a:gs>
                <a:gs pos="0">
                  <a:schemeClr val="accent1">
                    <a:lumMod val="40000"/>
                    <a:lumOff val="60000"/>
                  </a:schemeClr>
                </a:gs>
              </a:gsLst>
              <a:lin ang="2700000" scaled="1"/>
            </a:gra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800" b="0" i="0" u="none" strike="noStrike" kern="1200" cap="none" spc="0" normalizeH="0" baseline="0" noProof="0">
                <a:ln>
                  <a:noFill/>
                </a:ln>
                <a:solidFill>
                  <a:prstClr val="black">
                    <a:lumMod val="50000"/>
                    <a:lumOff val="50000"/>
                  </a:prstClr>
                </a:solidFill>
                <a:effectLst/>
                <a:uLnTx/>
                <a:uFillTx/>
                <a:latin typeface="HarmonyOS Sans SC"/>
                <a:cs typeface="+mn-cs"/>
              </a:endParaRPr>
            </a:p>
          </p:txBody>
        </p:sp>
      </p:grpSp>
      <p:grpSp>
        <p:nvGrpSpPr>
          <p:cNvPr id="116" name="组合 115">
            <a:extLst>
              <a:ext uri="{FF2B5EF4-FFF2-40B4-BE49-F238E27FC236}">
                <a16:creationId xmlns:a16="http://schemas.microsoft.com/office/drawing/2014/main" id="{DA4EAF5E-D368-48FA-ABE0-A27BA8D7765F}"/>
              </a:ext>
            </a:extLst>
          </p:cNvPr>
          <p:cNvGrpSpPr/>
          <p:nvPr/>
        </p:nvGrpSpPr>
        <p:grpSpPr>
          <a:xfrm>
            <a:off x="7370045" y="3555614"/>
            <a:ext cx="209550" cy="209550"/>
            <a:chOff x="5585550" y="2229291"/>
            <a:chExt cx="209550" cy="209550"/>
          </a:xfrm>
        </p:grpSpPr>
        <p:sp>
          <p:nvSpPr>
            <p:cNvPr id="117" name="Oval 69">
              <a:extLst>
                <a:ext uri="{FF2B5EF4-FFF2-40B4-BE49-F238E27FC236}">
                  <a16:creationId xmlns:a16="http://schemas.microsoft.com/office/drawing/2014/main" id="{56872E62-BFA3-447B-A0D1-A7E11C1F97CA}"/>
                </a:ext>
              </a:extLst>
            </p:cNvPr>
            <p:cNvSpPr/>
            <p:nvPr/>
          </p:nvSpPr>
          <p:spPr>
            <a:xfrm flipH="1">
              <a:off x="5585550" y="2229291"/>
              <a:ext cx="209550" cy="209550"/>
            </a:xfrm>
            <a:prstGeom prst="ellipse">
              <a:avLst/>
            </a:prstGeom>
            <a:solidFill>
              <a:schemeClr val="accent1">
                <a:lumMod val="20000"/>
                <a:lumOff val="80000"/>
                <a:alpha val="5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800" b="0" i="0" u="none" strike="noStrike" kern="1200" cap="none" spc="0" normalizeH="0" baseline="0" noProof="0">
                <a:ln>
                  <a:noFill/>
                </a:ln>
                <a:solidFill>
                  <a:prstClr val="black">
                    <a:lumMod val="50000"/>
                    <a:lumOff val="50000"/>
                  </a:prstClr>
                </a:solidFill>
                <a:effectLst/>
                <a:uLnTx/>
                <a:uFillTx/>
                <a:latin typeface="HarmonyOS Sans SC"/>
                <a:cs typeface="+mn-cs"/>
              </a:endParaRPr>
            </a:p>
          </p:txBody>
        </p:sp>
        <p:sp>
          <p:nvSpPr>
            <p:cNvPr id="118" name="Oval 70">
              <a:extLst>
                <a:ext uri="{FF2B5EF4-FFF2-40B4-BE49-F238E27FC236}">
                  <a16:creationId xmlns:a16="http://schemas.microsoft.com/office/drawing/2014/main" id="{DB07EBD0-8735-4F84-B078-09A0E7999099}"/>
                </a:ext>
              </a:extLst>
            </p:cNvPr>
            <p:cNvSpPr/>
            <p:nvPr/>
          </p:nvSpPr>
          <p:spPr>
            <a:xfrm flipH="1" flipV="1">
              <a:off x="5654983" y="2298724"/>
              <a:ext cx="70684" cy="70684"/>
            </a:xfrm>
            <a:prstGeom prst="ellipse">
              <a:avLst/>
            </a:prstGeom>
            <a:gradFill>
              <a:gsLst>
                <a:gs pos="73000">
                  <a:schemeClr val="accent1"/>
                </a:gs>
                <a:gs pos="31000">
                  <a:schemeClr val="accent1">
                    <a:lumMod val="60000"/>
                    <a:lumOff val="40000"/>
                  </a:schemeClr>
                </a:gs>
                <a:gs pos="0">
                  <a:schemeClr val="accent1">
                    <a:lumMod val="40000"/>
                    <a:lumOff val="60000"/>
                  </a:schemeClr>
                </a:gs>
              </a:gsLst>
              <a:lin ang="2700000" scaled="1"/>
            </a:gra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800" b="0" i="0" u="none" strike="noStrike" kern="1200" cap="none" spc="0" normalizeH="0" baseline="0" noProof="0">
                <a:ln>
                  <a:noFill/>
                </a:ln>
                <a:solidFill>
                  <a:prstClr val="black">
                    <a:lumMod val="50000"/>
                    <a:lumOff val="50000"/>
                  </a:prstClr>
                </a:solidFill>
                <a:effectLst/>
                <a:uLnTx/>
                <a:uFillTx/>
                <a:latin typeface="HarmonyOS Sans SC"/>
                <a:cs typeface="+mn-cs"/>
              </a:endParaRPr>
            </a:p>
          </p:txBody>
        </p:sp>
      </p:grpSp>
      <p:grpSp>
        <p:nvGrpSpPr>
          <p:cNvPr id="119" name="组合 118">
            <a:extLst>
              <a:ext uri="{FF2B5EF4-FFF2-40B4-BE49-F238E27FC236}">
                <a16:creationId xmlns:a16="http://schemas.microsoft.com/office/drawing/2014/main" id="{60778C39-8AE1-41AC-BEA7-452E4DCA7393}"/>
              </a:ext>
            </a:extLst>
          </p:cNvPr>
          <p:cNvGrpSpPr/>
          <p:nvPr/>
        </p:nvGrpSpPr>
        <p:grpSpPr>
          <a:xfrm>
            <a:off x="4620694" y="3555614"/>
            <a:ext cx="209550" cy="209550"/>
            <a:chOff x="5585550" y="2229291"/>
            <a:chExt cx="209550" cy="209550"/>
          </a:xfrm>
        </p:grpSpPr>
        <p:sp>
          <p:nvSpPr>
            <p:cNvPr id="120" name="Oval 69">
              <a:extLst>
                <a:ext uri="{FF2B5EF4-FFF2-40B4-BE49-F238E27FC236}">
                  <a16:creationId xmlns:a16="http://schemas.microsoft.com/office/drawing/2014/main" id="{5BC38673-BB30-499D-87A4-6A3DC240347E}"/>
                </a:ext>
              </a:extLst>
            </p:cNvPr>
            <p:cNvSpPr/>
            <p:nvPr/>
          </p:nvSpPr>
          <p:spPr>
            <a:xfrm flipH="1">
              <a:off x="5585550" y="2229291"/>
              <a:ext cx="209550" cy="209550"/>
            </a:xfrm>
            <a:prstGeom prst="ellipse">
              <a:avLst/>
            </a:prstGeom>
            <a:solidFill>
              <a:schemeClr val="accent1">
                <a:lumMod val="20000"/>
                <a:lumOff val="80000"/>
                <a:alpha val="5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800" b="0" i="0" u="none" strike="noStrike" kern="1200" cap="none" spc="0" normalizeH="0" baseline="0" noProof="0">
                <a:ln>
                  <a:noFill/>
                </a:ln>
                <a:solidFill>
                  <a:prstClr val="black">
                    <a:lumMod val="50000"/>
                    <a:lumOff val="50000"/>
                  </a:prstClr>
                </a:solidFill>
                <a:effectLst/>
                <a:uLnTx/>
                <a:uFillTx/>
                <a:latin typeface="HarmonyOS Sans SC"/>
                <a:cs typeface="+mn-cs"/>
              </a:endParaRPr>
            </a:p>
          </p:txBody>
        </p:sp>
        <p:sp>
          <p:nvSpPr>
            <p:cNvPr id="121" name="Oval 70">
              <a:extLst>
                <a:ext uri="{FF2B5EF4-FFF2-40B4-BE49-F238E27FC236}">
                  <a16:creationId xmlns:a16="http://schemas.microsoft.com/office/drawing/2014/main" id="{F5FC277B-3B50-4CDD-9DB5-8DAB0778C841}"/>
                </a:ext>
              </a:extLst>
            </p:cNvPr>
            <p:cNvSpPr/>
            <p:nvPr/>
          </p:nvSpPr>
          <p:spPr>
            <a:xfrm flipH="1" flipV="1">
              <a:off x="5654983" y="2298724"/>
              <a:ext cx="70684" cy="70684"/>
            </a:xfrm>
            <a:prstGeom prst="ellipse">
              <a:avLst/>
            </a:prstGeom>
            <a:gradFill>
              <a:gsLst>
                <a:gs pos="73000">
                  <a:schemeClr val="accent1"/>
                </a:gs>
                <a:gs pos="31000">
                  <a:schemeClr val="accent1">
                    <a:lumMod val="60000"/>
                    <a:lumOff val="40000"/>
                  </a:schemeClr>
                </a:gs>
                <a:gs pos="0">
                  <a:schemeClr val="accent1">
                    <a:lumMod val="40000"/>
                    <a:lumOff val="60000"/>
                  </a:schemeClr>
                </a:gs>
              </a:gsLst>
              <a:lin ang="2700000" scaled="1"/>
            </a:gra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800" b="0" i="0" u="none" strike="noStrike" kern="1200" cap="none" spc="0" normalizeH="0" baseline="0" noProof="0">
                <a:ln>
                  <a:noFill/>
                </a:ln>
                <a:solidFill>
                  <a:prstClr val="black">
                    <a:lumMod val="50000"/>
                    <a:lumOff val="50000"/>
                  </a:prstClr>
                </a:solidFill>
                <a:effectLst/>
                <a:uLnTx/>
                <a:uFillTx/>
                <a:latin typeface="HarmonyOS Sans SC"/>
                <a:cs typeface="+mn-cs"/>
              </a:endParaRPr>
            </a:p>
          </p:txBody>
        </p:sp>
      </p:grpSp>
    </p:spTree>
    <p:extLst>
      <p:ext uri="{BB962C8B-B14F-4D97-AF65-F5344CB8AC3E}">
        <p14:creationId xmlns:p14="http://schemas.microsoft.com/office/powerpoint/2010/main" val="3452727615"/>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4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 name="任意多边形: 形状 67">
            <a:extLst>
              <a:ext uri="{FF2B5EF4-FFF2-40B4-BE49-F238E27FC236}">
                <a16:creationId xmlns:a16="http://schemas.microsoft.com/office/drawing/2014/main" id="{AE387A6D-C485-475F-A7AE-BA4B464DA366}"/>
              </a:ext>
            </a:extLst>
          </p:cNvPr>
          <p:cNvSpPr>
            <a:spLocks/>
          </p:cNvSpPr>
          <p:nvPr/>
        </p:nvSpPr>
        <p:spPr bwMode="auto">
          <a:xfrm>
            <a:off x="5107727" y="5144996"/>
            <a:ext cx="669979" cy="1710861"/>
          </a:xfrm>
          <a:custGeom>
            <a:avLst/>
            <a:gdLst>
              <a:gd name="connsiteX0" fmla="*/ 0 w 669979"/>
              <a:gd name="connsiteY0" fmla="*/ 0 h 1710861"/>
              <a:gd name="connsiteX1" fmla="*/ 7516 w 669979"/>
              <a:gd name="connsiteY1" fmla="*/ 7473 h 1710861"/>
              <a:gd name="connsiteX2" fmla="*/ 666599 w 669979"/>
              <a:gd name="connsiteY2" fmla="*/ 7473 h 1710861"/>
              <a:gd name="connsiteX3" fmla="*/ 666599 w 669979"/>
              <a:gd name="connsiteY3" fmla="*/ 662795 h 1710861"/>
              <a:gd name="connsiteX4" fmla="*/ 669979 w 669979"/>
              <a:gd name="connsiteY4" fmla="*/ 666155 h 1710861"/>
              <a:gd name="connsiteX5" fmla="*/ 666599 w 669979"/>
              <a:gd name="connsiteY5" fmla="*/ 662922 h 1710861"/>
              <a:gd name="connsiteX6" fmla="*/ 666599 w 669979"/>
              <a:gd name="connsiteY6" fmla="*/ 1710861 h 1710861"/>
              <a:gd name="connsiteX7" fmla="*/ 3024 w 669979"/>
              <a:gd name="connsiteY7" fmla="*/ 1710861 h 1710861"/>
              <a:gd name="connsiteX8" fmla="*/ 3024 w 669979"/>
              <a:gd name="connsiteY8" fmla="*/ 28132 h 1710861"/>
              <a:gd name="connsiteX9" fmla="*/ 0 w 669979"/>
              <a:gd name="connsiteY9" fmla="*/ 25239 h 1710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69979" h="1710861">
                <a:moveTo>
                  <a:pt x="0" y="0"/>
                </a:moveTo>
                <a:lnTo>
                  <a:pt x="7516" y="7473"/>
                </a:lnTo>
                <a:lnTo>
                  <a:pt x="666599" y="7473"/>
                </a:lnTo>
                <a:lnTo>
                  <a:pt x="666599" y="662795"/>
                </a:lnTo>
                <a:lnTo>
                  <a:pt x="669979" y="666155"/>
                </a:lnTo>
                <a:lnTo>
                  <a:pt x="666599" y="662922"/>
                </a:lnTo>
                <a:lnTo>
                  <a:pt x="666599" y="1710861"/>
                </a:lnTo>
                <a:lnTo>
                  <a:pt x="3024" y="1710861"/>
                </a:lnTo>
                <a:lnTo>
                  <a:pt x="3024" y="28132"/>
                </a:lnTo>
                <a:lnTo>
                  <a:pt x="0" y="25239"/>
                </a:lnTo>
                <a:close/>
              </a:path>
            </a:pathLst>
          </a:custGeom>
          <a:gradFill flip="none" rotWithShape="1">
            <a:gsLst>
              <a:gs pos="73000">
                <a:schemeClr val="accent1"/>
              </a:gs>
              <a:gs pos="31000">
                <a:schemeClr val="accent1">
                  <a:lumMod val="60000"/>
                  <a:lumOff val="40000"/>
                </a:schemeClr>
              </a:gs>
              <a:gs pos="0">
                <a:schemeClr val="accent1">
                  <a:lumMod val="40000"/>
                  <a:lumOff val="60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vert="vert" wrap="square" lIns="0" tIns="0" rIns="457200" bIns="0" rtlCol="0" anchor="t"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0F0F0"/>
              </a:solidFill>
              <a:effectLst/>
              <a:uLnTx/>
              <a:uFillTx/>
              <a:latin typeface="HarmonyOS Sans SC"/>
              <a:cs typeface="+mn-cs"/>
            </a:endParaRPr>
          </a:p>
        </p:txBody>
      </p:sp>
      <p:sp>
        <p:nvSpPr>
          <p:cNvPr id="67" name="任意多边形: 形状 66">
            <a:extLst>
              <a:ext uri="{FF2B5EF4-FFF2-40B4-BE49-F238E27FC236}">
                <a16:creationId xmlns:a16="http://schemas.microsoft.com/office/drawing/2014/main" id="{589EEF6C-D3E1-44E0-8941-2A18E053C40E}"/>
              </a:ext>
            </a:extLst>
          </p:cNvPr>
          <p:cNvSpPr>
            <a:spLocks/>
          </p:cNvSpPr>
          <p:nvPr/>
        </p:nvSpPr>
        <p:spPr bwMode="auto">
          <a:xfrm>
            <a:off x="6428866" y="5152469"/>
            <a:ext cx="665390" cy="1703388"/>
          </a:xfrm>
          <a:custGeom>
            <a:avLst/>
            <a:gdLst>
              <a:gd name="connsiteX0" fmla="*/ 2685 w 665390"/>
              <a:gd name="connsiteY0" fmla="*/ 0 h 1703388"/>
              <a:gd name="connsiteX1" fmla="*/ 659910 w 665390"/>
              <a:gd name="connsiteY1" fmla="*/ 0 h 1703388"/>
              <a:gd name="connsiteX2" fmla="*/ 659910 w 665390"/>
              <a:gd name="connsiteY2" fmla="*/ 6583 h 1703388"/>
              <a:gd name="connsiteX3" fmla="*/ 665390 w 665390"/>
              <a:gd name="connsiteY3" fmla="*/ 1122 h 1703388"/>
              <a:gd name="connsiteX4" fmla="*/ 665390 w 665390"/>
              <a:gd name="connsiteY4" fmla="*/ 31715 h 1703388"/>
              <a:gd name="connsiteX5" fmla="*/ 659910 w 665390"/>
              <a:gd name="connsiteY5" fmla="*/ 36924 h 1703388"/>
              <a:gd name="connsiteX6" fmla="*/ 659910 w 665390"/>
              <a:gd name="connsiteY6" fmla="*/ 1703388 h 1703388"/>
              <a:gd name="connsiteX7" fmla="*/ 2685 w 665390"/>
              <a:gd name="connsiteY7" fmla="*/ 1703388 h 1703388"/>
              <a:gd name="connsiteX8" fmla="*/ 2685 w 665390"/>
              <a:gd name="connsiteY8" fmla="*/ 661666 h 1703388"/>
              <a:gd name="connsiteX9" fmla="*/ 0 w 665390"/>
              <a:gd name="connsiteY9" fmla="*/ 664218 h 1703388"/>
              <a:gd name="connsiteX10" fmla="*/ 2685 w 665390"/>
              <a:gd name="connsiteY10" fmla="*/ 661543 h 1703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65390" h="1703388">
                <a:moveTo>
                  <a:pt x="2685" y="0"/>
                </a:moveTo>
                <a:lnTo>
                  <a:pt x="659910" y="0"/>
                </a:lnTo>
                <a:lnTo>
                  <a:pt x="659910" y="6583"/>
                </a:lnTo>
                <a:lnTo>
                  <a:pt x="665390" y="1122"/>
                </a:lnTo>
                <a:lnTo>
                  <a:pt x="665390" y="31715"/>
                </a:lnTo>
                <a:lnTo>
                  <a:pt x="659910" y="36924"/>
                </a:lnTo>
                <a:lnTo>
                  <a:pt x="659910" y="1703388"/>
                </a:lnTo>
                <a:lnTo>
                  <a:pt x="2685" y="1703388"/>
                </a:lnTo>
                <a:lnTo>
                  <a:pt x="2685" y="661666"/>
                </a:lnTo>
                <a:lnTo>
                  <a:pt x="0" y="664218"/>
                </a:lnTo>
                <a:lnTo>
                  <a:pt x="2685" y="661543"/>
                </a:lnTo>
                <a:close/>
              </a:path>
            </a:pathLst>
          </a:custGeom>
          <a:gradFill flip="none" rotWithShape="1">
            <a:gsLst>
              <a:gs pos="73000">
                <a:schemeClr val="accent1"/>
              </a:gs>
              <a:gs pos="31000">
                <a:schemeClr val="accent1">
                  <a:lumMod val="60000"/>
                  <a:lumOff val="40000"/>
                </a:schemeClr>
              </a:gs>
              <a:gs pos="0">
                <a:schemeClr val="accent1">
                  <a:lumMod val="40000"/>
                  <a:lumOff val="60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vert="vert" wrap="square" lIns="0" tIns="0" rIns="457200" bIns="0" rtlCol="0" anchor="t"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0F0F0"/>
              </a:solidFill>
              <a:effectLst/>
              <a:uLnTx/>
              <a:uFillTx/>
              <a:latin typeface="HarmonyOS Sans SC"/>
              <a:cs typeface="+mn-cs"/>
            </a:endParaRPr>
          </a:p>
        </p:txBody>
      </p:sp>
      <p:sp>
        <p:nvSpPr>
          <p:cNvPr id="62" name="任意多边形: 形状 61">
            <a:extLst>
              <a:ext uri="{FF2B5EF4-FFF2-40B4-BE49-F238E27FC236}">
                <a16:creationId xmlns:a16="http://schemas.microsoft.com/office/drawing/2014/main" id="{D1CE5F3B-8794-47E9-8B99-BA8195570215}"/>
              </a:ext>
            </a:extLst>
          </p:cNvPr>
          <p:cNvSpPr>
            <a:spLocks/>
          </p:cNvSpPr>
          <p:nvPr/>
        </p:nvSpPr>
        <p:spPr bwMode="auto">
          <a:xfrm>
            <a:off x="7088776" y="5810350"/>
            <a:ext cx="661988" cy="1045507"/>
          </a:xfrm>
          <a:custGeom>
            <a:avLst/>
            <a:gdLst>
              <a:gd name="connsiteX0" fmla="*/ 661761 w 661988"/>
              <a:gd name="connsiteY0" fmla="*/ 0 h 1045507"/>
              <a:gd name="connsiteX1" fmla="*/ 661761 w 661988"/>
              <a:gd name="connsiteY1" fmla="*/ 5694 h 1045507"/>
              <a:gd name="connsiteX2" fmla="*/ 661988 w 661988"/>
              <a:gd name="connsiteY2" fmla="*/ 5694 h 1045507"/>
              <a:gd name="connsiteX3" fmla="*/ 661988 w 661988"/>
              <a:gd name="connsiteY3" fmla="*/ 1045507 h 1045507"/>
              <a:gd name="connsiteX4" fmla="*/ 0 w 661988"/>
              <a:gd name="connsiteY4" fmla="*/ 1045507 h 1045507"/>
              <a:gd name="connsiteX5" fmla="*/ 0 w 661988"/>
              <a:gd name="connsiteY5" fmla="*/ 5694 h 1045507"/>
              <a:gd name="connsiteX6" fmla="*/ 43154 w 661988"/>
              <a:gd name="connsiteY6" fmla="*/ 5694 h 1045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61988" h="1045507">
                <a:moveTo>
                  <a:pt x="661761" y="0"/>
                </a:moveTo>
                <a:lnTo>
                  <a:pt x="661761" y="5694"/>
                </a:lnTo>
                <a:lnTo>
                  <a:pt x="661988" y="5694"/>
                </a:lnTo>
                <a:lnTo>
                  <a:pt x="661988" y="1045507"/>
                </a:lnTo>
                <a:lnTo>
                  <a:pt x="0" y="1045507"/>
                </a:lnTo>
                <a:lnTo>
                  <a:pt x="0" y="5694"/>
                </a:lnTo>
                <a:lnTo>
                  <a:pt x="43154" y="5694"/>
                </a:lnTo>
                <a:close/>
              </a:path>
            </a:pathLst>
          </a:custGeom>
          <a:gradFill flip="none" rotWithShape="1">
            <a:gsLst>
              <a:gs pos="73000">
                <a:schemeClr val="accent1"/>
              </a:gs>
              <a:gs pos="31000">
                <a:schemeClr val="accent1">
                  <a:lumMod val="60000"/>
                  <a:lumOff val="40000"/>
                </a:schemeClr>
              </a:gs>
              <a:gs pos="0">
                <a:schemeClr val="accent1">
                  <a:lumMod val="40000"/>
                  <a:lumOff val="60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vert="vert" wrap="square" lIns="0" tIns="0" rIns="457200" bIns="0" rtlCol="0" anchor="t"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0F0F0"/>
              </a:solidFill>
              <a:effectLst/>
              <a:uLnTx/>
              <a:uFillTx/>
              <a:latin typeface="HarmonyOS Sans SC"/>
              <a:cs typeface="+mn-cs"/>
            </a:endParaRPr>
          </a:p>
        </p:txBody>
      </p:sp>
      <p:sp>
        <p:nvSpPr>
          <p:cNvPr id="65" name="任意多边形: 形状 64">
            <a:extLst>
              <a:ext uri="{FF2B5EF4-FFF2-40B4-BE49-F238E27FC236}">
                <a16:creationId xmlns:a16="http://schemas.microsoft.com/office/drawing/2014/main" id="{D63CA581-A84C-48DB-9194-7D7DB4EE557F}"/>
              </a:ext>
            </a:extLst>
          </p:cNvPr>
          <p:cNvSpPr/>
          <p:nvPr/>
        </p:nvSpPr>
        <p:spPr>
          <a:xfrm>
            <a:off x="7096105" y="5154330"/>
            <a:ext cx="1511528" cy="660890"/>
          </a:xfrm>
          <a:custGeom>
            <a:avLst/>
            <a:gdLst>
              <a:gd name="connsiteX0" fmla="*/ 1255222 w 1511528"/>
              <a:gd name="connsiteY0" fmla="*/ 0 h 660890"/>
              <a:gd name="connsiteX1" fmla="*/ 660890 w 1511528"/>
              <a:gd name="connsiteY1" fmla="*/ 0 h 660890"/>
              <a:gd name="connsiteX2" fmla="*/ 659353 w 1511528"/>
              <a:gd name="connsiteY2" fmla="*/ 0 h 660890"/>
              <a:gd name="connsiteX3" fmla="*/ 659353 w 1511528"/>
              <a:gd name="connsiteY3" fmla="*/ 1537 h 660890"/>
              <a:gd name="connsiteX4" fmla="*/ 0 w 1511528"/>
              <a:gd name="connsiteY4" fmla="*/ 660890 h 660890"/>
              <a:gd name="connsiteX5" fmla="*/ 659353 w 1511528"/>
              <a:gd name="connsiteY5" fmla="*/ 660890 h 660890"/>
              <a:gd name="connsiteX6" fmla="*/ 660890 w 1511528"/>
              <a:gd name="connsiteY6" fmla="*/ 660890 h 660890"/>
              <a:gd name="connsiteX7" fmla="*/ 1255222 w 1511528"/>
              <a:gd name="connsiteY7" fmla="*/ 660890 h 660890"/>
              <a:gd name="connsiteX8" fmla="*/ 1511528 w 1511528"/>
              <a:gd name="connsiteY8" fmla="*/ 330445 h 66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11528" h="660890">
                <a:moveTo>
                  <a:pt x="1255222" y="0"/>
                </a:moveTo>
                <a:lnTo>
                  <a:pt x="660890" y="0"/>
                </a:lnTo>
                <a:lnTo>
                  <a:pt x="659353" y="0"/>
                </a:lnTo>
                <a:lnTo>
                  <a:pt x="659353" y="1537"/>
                </a:lnTo>
                <a:lnTo>
                  <a:pt x="0" y="660890"/>
                </a:lnTo>
                <a:lnTo>
                  <a:pt x="659353" y="660890"/>
                </a:lnTo>
                <a:lnTo>
                  <a:pt x="660890" y="660890"/>
                </a:lnTo>
                <a:lnTo>
                  <a:pt x="1255222" y="660890"/>
                </a:lnTo>
                <a:lnTo>
                  <a:pt x="1511528" y="330445"/>
                </a:lnTo>
                <a:close/>
              </a:path>
            </a:pathLst>
          </a:custGeom>
          <a:gradFill flip="none" rotWithShape="1">
            <a:gsLst>
              <a:gs pos="73000">
                <a:schemeClr val="accent1"/>
              </a:gs>
              <a:gs pos="31000">
                <a:schemeClr val="accent1">
                  <a:lumMod val="60000"/>
                  <a:lumOff val="40000"/>
                </a:schemeClr>
              </a:gs>
              <a:gs pos="0">
                <a:schemeClr val="accent1">
                  <a:lumMod val="40000"/>
                  <a:lumOff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vert="vert" wrap="square" lIns="0" tIns="0" rIns="457200" bIns="0" rtlCol="0" anchor="t"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0F0F0"/>
              </a:solidFill>
              <a:effectLst/>
              <a:uLnTx/>
              <a:uFillTx/>
              <a:latin typeface="HarmonyOS Sans SC"/>
              <a:cs typeface="+mn-cs"/>
            </a:endParaRPr>
          </a:p>
        </p:txBody>
      </p:sp>
      <p:sp>
        <p:nvSpPr>
          <p:cNvPr id="59" name="任意多边形: 形状 58">
            <a:extLst>
              <a:ext uri="{FF2B5EF4-FFF2-40B4-BE49-F238E27FC236}">
                <a16:creationId xmlns:a16="http://schemas.microsoft.com/office/drawing/2014/main" id="{19B9CCFF-4C1A-46C2-BB89-26E09ACD6D5E}"/>
              </a:ext>
            </a:extLst>
          </p:cNvPr>
          <p:cNvSpPr/>
          <p:nvPr/>
        </p:nvSpPr>
        <p:spPr>
          <a:xfrm flipH="1">
            <a:off x="3598189" y="5154330"/>
            <a:ext cx="1511528" cy="660890"/>
          </a:xfrm>
          <a:custGeom>
            <a:avLst/>
            <a:gdLst>
              <a:gd name="connsiteX0" fmla="*/ 1255222 w 1511528"/>
              <a:gd name="connsiteY0" fmla="*/ 0 h 660890"/>
              <a:gd name="connsiteX1" fmla="*/ 660890 w 1511528"/>
              <a:gd name="connsiteY1" fmla="*/ 0 h 660890"/>
              <a:gd name="connsiteX2" fmla="*/ 659353 w 1511528"/>
              <a:gd name="connsiteY2" fmla="*/ 0 h 660890"/>
              <a:gd name="connsiteX3" fmla="*/ 659353 w 1511528"/>
              <a:gd name="connsiteY3" fmla="*/ 1537 h 660890"/>
              <a:gd name="connsiteX4" fmla="*/ 0 w 1511528"/>
              <a:gd name="connsiteY4" fmla="*/ 660890 h 660890"/>
              <a:gd name="connsiteX5" fmla="*/ 659353 w 1511528"/>
              <a:gd name="connsiteY5" fmla="*/ 660890 h 660890"/>
              <a:gd name="connsiteX6" fmla="*/ 660890 w 1511528"/>
              <a:gd name="connsiteY6" fmla="*/ 660890 h 660890"/>
              <a:gd name="connsiteX7" fmla="*/ 1255222 w 1511528"/>
              <a:gd name="connsiteY7" fmla="*/ 660890 h 660890"/>
              <a:gd name="connsiteX8" fmla="*/ 1511528 w 1511528"/>
              <a:gd name="connsiteY8" fmla="*/ 330445 h 66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11528" h="660890">
                <a:moveTo>
                  <a:pt x="1255222" y="0"/>
                </a:moveTo>
                <a:lnTo>
                  <a:pt x="660890" y="0"/>
                </a:lnTo>
                <a:lnTo>
                  <a:pt x="659353" y="0"/>
                </a:lnTo>
                <a:lnTo>
                  <a:pt x="659353" y="1537"/>
                </a:lnTo>
                <a:lnTo>
                  <a:pt x="0" y="660890"/>
                </a:lnTo>
                <a:lnTo>
                  <a:pt x="659353" y="660890"/>
                </a:lnTo>
                <a:lnTo>
                  <a:pt x="660890" y="660890"/>
                </a:lnTo>
                <a:lnTo>
                  <a:pt x="1255222" y="660890"/>
                </a:lnTo>
                <a:lnTo>
                  <a:pt x="1511528" y="330445"/>
                </a:lnTo>
                <a:close/>
              </a:path>
            </a:pathLst>
          </a:custGeom>
          <a:gradFill flip="none" rotWithShape="1">
            <a:gsLst>
              <a:gs pos="73000">
                <a:schemeClr val="accent1"/>
              </a:gs>
              <a:gs pos="31000">
                <a:schemeClr val="accent1">
                  <a:lumMod val="60000"/>
                  <a:lumOff val="40000"/>
                </a:schemeClr>
              </a:gs>
              <a:gs pos="0">
                <a:schemeClr val="accent1">
                  <a:lumMod val="40000"/>
                  <a:lumOff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vert="vert" wrap="square" lIns="0" tIns="0" rIns="457200" bIns="0" rtlCol="0" anchor="t"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0F0F0"/>
              </a:solidFill>
              <a:effectLst/>
              <a:uLnTx/>
              <a:uFillTx/>
              <a:latin typeface="HarmonyOS Sans SC"/>
              <a:cs typeface="+mn-cs"/>
            </a:endParaRPr>
          </a:p>
        </p:txBody>
      </p:sp>
      <p:sp>
        <p:nvSpPr>
          <p:cNvPr id="61" name="任意多边形: 形状 60">
            <a:extLst>
              <a:ext uri="{FF2B5EF4-FFF2-40B4-BE49-F238E27FC236}">
                <a16:creationId xmlns:a16="http://schemas.microsoft.com/office/drawing/2014/main" id="{53C3223F-25F1-4407-B12B-49F3A019EA1D}"/>
              </a:ext>
            </a:extLst>
          </p:cNvPr>
          <p:cNvSpPr>
            <a:spLocks/>
          </p:cNvSpPr>
          <p:nvPr/>
        </p:nvSpPr>
        <p:spPr bwMode="auto">
          <a:xfrm>
            <a:off x="4455112" y="5815112"/>
            <a:ext cx="655638" cy="1040745"/>
          </a:xfrm>
          <a:custGeom>
            <a:avLst/>
            <a:gdLst>
              <a:gd name="connsiteX0" fmla="*/ 2100 w 655638"/>
              <a:gd name="connsiteY0" fmla="*/ 0 h 1040745"/>
              <a:gd name="connsiteX1" fmla="*/ 103355 w 655638"/>
              <a:gd name="connsiteY1" fmla="*/ 932 h 1040745"/>
              <a:gd name="connsiteX2" fmla="*/ 655638 w 655638"/>
              <a:gd name="connsiteY2" fmla="*/ 932 h 1040745"/>
              <a:gd name="connsiteX3" fmla="*/ 655638 w 655638"/>
              <a:gd name="connsiteY3" fmla="*/ 1040745 h 1040745"/>
              <a:gd name="connsiteX4" fmla="*/ 0 w 655638"/>
              <a:gd name="connsiteY4" fmla="*/ 1040745 h 1040745"/>
              <a:gd name="connsiteX5" fmla="*/ 0 w 655638"/>
              <a:gd name="connsiteY5" fmla="*/ 932 h 1040745"/>
              <a:gd name="connsiteX6" fmla="*/ 2100 w 655638"/>
              <a:gd name="connsiteY6" fmla="*/ 932 h 1040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5638" h="1040745">
                <a:moveTo>
                  <a:pt x="2100" y="0"/>
                </a:moveTo>
                <a:lnTo>
                  <a:pt x="103355" y="932"/>
                </a:lnTo>
                <a:lnTo>
                  <a:pt x="655638" y="932"/>
                </a:lnTo>
                <a:lnTo>
                  <a:pt x="655638" y="1040745"/>
                </a:lnTo>
                <a:lnTo>
                  <a:pt x="0" y="1040745"/>
                </a:lnTo>
                <a:lnTo>
                  <a:pt x="0" y="932"/>
                </a:lnTo>
                <a:lnTo>
                  <a:pt x="2100" y="932"/>
                </a:lnTo>
                <a:close/>
              </a:path>
            </a:pathLst>
          </a:custGeom>
          <a:gradFill flip="none" rotWithShape="1">
            <a:gsLst>
              <a:gs pos="73000">
                <a:schemeClr val="accent1"/>
              </a:gs>
              <a:gs pos="31000">
                <a:schemeClr val="accent1">
                  <a:lumMod val="60000"/>
                  <a:lumOff val="40000"/>
                </a:schemeClr>
              </a:gs>
              <a:gs pos="0">
                <a:schemeClr val="accent1">
                  <a:lumMod val="40000"/>
                  <a:lumOff val="60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vert="vert" wrap="square" lIns="0" tIns="0" rIns="457200" bIns="0" rtlCol="0" anchor="t"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0F0F0"/>
              </a:solidFill>
              <a:effectLst/>
              <a:uLnTx/>
              <a:uFillTx/>
              <a:latin typeface="HarmonyOS Sans SC"/>
              <a:cs typeface="+mn-cs"/>
            </a:endParaRPr>
          </a:p>
        </p:txBody>
      </p:sp>
      <p:sp>
        <p:nvSpPr>
          <p:cNvPr id="17" name="Arrow: Pentagon 59">
            <a:extLst>
              <a:ext uri="{FF2B5EF4-FFF2-40B4-BE49-F238E27FC236}">
                <a16:creationId xmlns:a16="http://schemas.microsoft.com/office/drawing/2014/main" id="{AD4E8B26-5CC0-4D1A-9F21-1B07B98D2591}"/>
              </a:ext>
            </a:extLst>
          </p:cNvPr>
          <p:cNvSpPr/>
          <p:nvPr/>
        </p:nvSpPr>
        <p:spPr>
          <a:xfrm rot="18900000">
            <a:off x="5876450" y="4523156"/>
            <a:ext cx="2113297" cy="660890"/>
          </a:xfrm>
          <a:prstGeom prst="homePlate">
            <a:avLst>
              <a:gd name="adj" fmla="val 38782"/>
            </a:avLst>
          </a:prstGeom>
          <a:gradFill flip="none" rotWithShape="1">
            <a:gsLst>
              <a:gs pos="73000">
                <a:schemeClr val="accent1"/>
              </a:gs>
              <a:gs pos="31000">
                <a:schemeClr val="accent1">
                  <a:lumMod val="60000"/>
                  <a:lumOff val="40000"/>
                </a:schemeClr>
              </a:gs>
              <a:gs pos="0">
                <a:schemeClr val="accent1">
                  <a:lumMod val="40000"/>
                  <a:lumOff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vert="vert" wrap="square" lIns="0" tIns="0" rIns="457200" bIns="0" rtlCol="0" anchor="t"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0F0F0"/>
              </a:solidFill>
              <a:effectLst/>
              <a:uLnTx/>
              <a:uFillTx/>
              <a:latin typeface="HarmonyOS Sans SC"/>
              <a:cs typeface="+mn-cs"/>
            </a:endParaRPr>
          </a:p>
        </p:txBody>
      </p:sp>
      <p:sp>
        <p:nvSpPr>
          <p:cNvPr id="20" name="Arrow: Pentagon 69">
            <a:extLst>
              <a:ext uri="{FF2B5EF4-FFF2-40B4-BE49-F238E27FC236}">
                <a16:creationId xmlns:a16="http://schemas.microsoft.com/office/drawing/2014/main" id="{B0E9C6A9-D543-4F2D-91C8-6994B62210C0}"/>
              </a:ext>
            </a:extLst>
          </p:cNvPr>
          <p:cNvSpPr/>
          <p:nvPr/>
        </p:nvSpPr>
        <p:spPr>
          <a:xfrm rot="2700000" flipH="1">
            <a:off x="4225714" y="4523155"/>
            <a:ext cx="2113297" cy="660890"/>
          </a:xfrm>
          <a:prstGeom prst="homePlate">
            <a:avLst>
              <a:gd name="adj" fmla="val 38782"/>
            </a:avLst>
          </a:prstGeom>
          <a:gradFill flip="none" rotWithShape="1">
            <a:gsLst>
              <a:gs pos="73000">
                <a:schemeClr val="accent1"/>
              </a:gs>
              <a:gs pos="31000">
                <a:schemeClr val="accent1">
                  <a:lumMod val="60000"/>
                  <a:lumOff val="40000"/>
                </a:schemeClr>
              </a:gs>
              <a:gs pos="0">
                <a:schemeClr val="accent1">
                  <a:lumMod val="40000"/>
                  <a:lumOff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vert="vert" wrap="square" lIns="0" tIns="0" rIns="457200" bIns="0" rtlCol="0" anchor="t"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0F0F0"/>
              </a:solidFill>
              <a:effectLst/>
              <a:uLnTx/>
              <a:uFillTx/>
              <a:latin typeface="HarmonyOS Sans SC"/>
              <a:cs typeface="+mn-cs"/>
            </a:endParaRPr>
          </a:p>
        </p:txBody>
      </p:sp>
      <p:grpSp>
        <p:nvGrpSpPr>
          <p:cNvPr id="22" name="Group 13">
            <a:extLst>
              <a:ext uri="{FF2B5EF4-FFF2-40B4-BE49-F238E27FC236}">
                <a16:creationId xmlns:a16="http://schemas.microsoft.com/office/drawing/2014/main" id="{E6D786FC-6A90-468F-ACD7-BA2D63AA00F4}"/>
              </a:ext>
            </a:extLst>
          </p:cNvPr>
          <p:cNvGrpSpPr>
            <a:grpSpLocks noChangeAspect="1"/>
          </p:cNvGrpSpPr>
          <p:nvPr/>
        </p:nvGrpSpPr>
        <p:grpSpPr bwMode="auto">
          <a:xfrm>
            <a:off x="7955689" y="5349046"/>
            <a:ext cx="281725" cy="261934"/>
            <a:chOff x="6486" y="2404"/>
            <a:chExt cx="484" cy="450"/>
          </a:xfrm>
        </p:grpSpPr>
        <p:sp>
          <p:nvSpPr>
            <p:cNvPr id="23" name="Freeform 14">
              <a:extLst>
                <a:ext uri="{FF2B5EF4-FFF2-40B4-BE49-F238E27FC236}">
                  <a16:creationId xmlns:a16="http://schemas.microsoft.com/office/drawing/2014/main" id="{13E58619-5BB7-4F2A-8D5F-34B345A09B5F}"/>
                </a:ext>
              </a:extLst>
            </p:cNvPr>
            <p:cNvSpPr>
              <a:spLocks/>
            </p:cNvSpPr>
            <p:nvPr/>
          </p:nvSpPr>
          <p:spPr bwMode="auto">
            <a:xfrm>
              <a:off x="6610" y="2404"/>
              <a:ext cx="238" cy="74"/>
            </a:xfrm>
            <a:custGeom>
              <a:avLst/>
              <a:gdLst>
                <a:gd name="T0" fmla="*/ 93 w 113"/>
                <a:gd name="T1" fmla="*/ 0 h 35"/>
                <a:gd name="T2" fmla="*/ 20 w 113"/>
                <a:gd name="T3" fmla="*/ 0 h 35"/>
                <a:gd name="T4" fmla="*/ 0 w 113"/>
                <a:gd name="T5" fmla="*/ 20 h 35"/>
                <a:gd name="T6" fmla="*/ 0 w 113"/>
                <a:gd name="T7" fmla="*/ 35 h 35"/>
                <a:gd name="T8" fmla="*/ 20 w 113"/>
                <a:gd name="T9" fmla="*/ 35 h 35"/>
                <a:gd name="T10" fmla="*/ 20 w 113"/>
                <a:gd name="T11" fmla="*/ 20 h 35"/>
                <a:gd name="T12" fmla="*/ 93 w 113"/>
                <a:gd name="T13" fmla="*/ 20 h 35"/>
                <a:gd name="T14" fmla="*/ 93 w 113"/>
                <a:gd name="T15" fmla="*/ 35 h 35"/>
                <a:gd name="T16" fmla="*/ 113 w 113"/>
                <a:gd name="T17" fmla="*/ 35 h 35"/>
                <a:gd name="T18" fmla="*/ 113 w 113"/>
                <a:gd name="T19" fmla="*/ 20 h 35"/>
                <a:gd name="T20" fmla="*/ 93 w 113"/>
                <a:gd name="T21"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3" h="35">
                  <a:moveTo>
                    <a:pt x="93" y="0"/>
                  </a:moveTo>
                  <a:cubicBezTo>
                    <a:pt x="20" y="0"/>
                    <a:pt x="20" y="0"/>
                    <a:pt x="20" y="0"/>
                  </a:cubicBezTo>
                  <a:cubicBezTo>
                    <a:pt x="9" y="0"/>
                    <a:pt x="0" y="9"/>
                    <a:pt x="0" y="20"/>
                  </a:cubicBezTo>
                  <a:cubicBezTo>
                    <a:pt x="0" y="35"/>
                    <a:pt x="0" y="35"/>
                    <a:pt x="0" y="35"/>
                  </a:cubicBezTo>
                  <a:cubicBezTo>
                    <a:pt x="20" y="35"/>
                    <a:pt x="20" y="35"/>
                    <a:pt x="20" y="35"/>
                  </a:cubicBezTo>
                  <a:cubicBezTo>
                    <a:pt x="20" y="20"/>
                    <a:pt x="20" y="20"/>
                    <a:pt x="20" y="20"/>
                  </a:cubicBezTo>
                  <a:cubicBezTo>
                    <a:pt x="93" y="20"/>
                    <a:pt x="93" y="20"/>
                    <a:pt x="93" y="20"/>
                  </a:cubicBezTo>
                  <a:cubicBezTo>
                    <a:pt x="93" y="35"/>
                    <a:pt x="93" y="35"/>
                    <a:pt x="93" y="35"/>
                  </a:cubicBezTo>
                  <a:cubicBezTo>
                    <a:pt x="113" y="35"/>
                    <a:pt x="113" y="35"/>
                    <a:pt x="113" y="35"/>
                  </a:cubicBezTo>
                  <a:cubicBezTo>
                    <a:pt x="113" y="20"/>
                    <a:pt x="113" y="20"/>
                    <a:pt x="113" y="20"/>
                  </a:cubicBezTo>
                  <a:cubicBezTo>
                    <a:pt x="113" y="9"/>
                    <a:pt x="104" y="0"/>
                    <a:pt x="93"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Inter"/>
                <a:ea typeface="+mn-ea"/>
                <a:cs typeface="+mn-cs"/>
              </a:endParaRPr>
            </a:p>
          </p:txBody>
        </p:sp>
        <p:sp>
          <p:nvSpPr>
            <p:cNvPr id="24" name="Freeform 15">
              <a:extLst>
                <a:ext uri="{FF2B5EF4-FFF2-40B4-BE49-F238E27FC236}">
                  <a16:creationId xmlns:a16="http://schemas.microsoft.com/office/drawing/2014/main" id="{599DD372-CBB3-42AD-BEE9-FDBA90749E4D}"/>
                </a:ext>
              </a:extLst>
            </p:cNvPr>
            <p:cNvSpPr>
              <a:spLocks noEditPoints="1"/>
            </p:cNvSpPr>
            <p:nvPr/>
          </p:nvSpPr>
          <p:spPr bwMode="auto">
            <a:xfrm>
              <a:off x="6486" y="2511"/>
              <a:ext cx="484" cy="343"/>
            </a:xfrm>
            <a:custGeom>
              <a:avLst/>
              <a:gdLst>
                <a:gd name="T0" fmla="*/ 124 w 230"/>
                <a:gd name="T1" fmla="*/ 111 h 163"/>
                <a:gd name="T2" fmla="*/ 124 w 230"/>
                <a:gd name="T3" fmla="*/ 116 h 163"/>
                <a:gd name="T4" fmla="*/ 115 w 230"/>
                <a:gd name="T5" fmla="*/ 125 h 163"/>
                <a:gd name="T6" fmla="*/ 106 w 230"/>
                <a:gd name="T7" fmla="*/ 116 h 163"/>
                <a:gd name="T8" fmla="*/ 106 w 230"/>
                <a:gd name="T9" fmla="*/ 111 h 163"/>
                <a:gd name="T10" fmla="*/ 25 w 230"/>
                <a:gd name="T11" fmla="*/ 111 h 163"/>
                <a:gd name="T12" fmla="*/ 13 w 230"/>
                <a:gd name="T13" fmla="*/ 110 h 163"/>
                <a:gd name="T14" fmla="*/ 13 w 230"/>
                <a:gd name="T15" fmla="*/ 151 h 163"/>
                <a:gd name="T16" fmla="*/ 25 w 230"/>
                <a:gd name="T17" fmla="*/ 163 h 163"/>
                <a:gd name="T18" fmla="*/ 206 w 230"/>
                <a:gd name="T19" fmla="*/ 163 h 163"/>
                <a:gd name="T20" fmla="*/ 218 w 230"/>
                <a:gd name="T21" fmla="*/ 151 h 163"/>
                <a:gd name="T22" fmla="*/ 218 w 230"/>
                <a:gd name="T23" fmla="*/ 110 h 163"/>
                <a:gd name="T24" fmla="*/ 206 w 230"/>
                <a:gd name="T25" fmla="*/ 111 h 163"/>
                <a:gd name="T26" fmla="*/ 124 w 230"/>
                <a:gd name="T27" fmla="*/ 111 h 163"/>
                <a:gd name="T28" fmla="*/ 218 w 230"/>
                <a:gd name="T29" fmla="*/ 0 h 163"/>
                <a:gd name="T30" fmla="*/ 13 w 230"/>
                <a:gd name="T31" fmla="*/ 0 h 163"/>
                <a:gd name="T32" fmla="*/ 0 w 230"/>
                <a:gd name="T33" fmla="*/ 12 h 163"/>
                <a:gd name="T34" fmla="*/ 0 w 230"/>
                <a:gd name="T35" fmla="*/ 72 h 163"/>
                <a:gd name="T36" fmla="*/ 25 w 230"/>
                <a:gd name="T37" fmla="*/ 96 h 163"/>
                <a:gd name="T38" fmla="*/ 106 w 230"/>
                <a:gd name="T39" fmla="*/ 96 h 163"/>
                <a:gd name="T40" fmla="*/ 106 w 230"/>
                <a:gd name="T41" fmla="*/ 89 h 163"/>
                <a:gd name="T42" fmla="*/ 115 w 230"/>
                <a:gd name="T43" fmla="*/ 80 h 163"/>
                <a:gd name="T44" fmla="*/ 124 w 230"/>
                <a:gd name="T45" fmla="*/ 89 h 163"/>
                <a:gd name="T46" fmla="*/ 124 w 230"/>
                <a:gd name="T47" fmla="*/ 96 h 163"/>
                <a:gd name="T48" fmla="*/ 206 w 230"/>
                <a:gd name="T49" fmla="*/ 96 h 163"/>
                <a:gd name="T50" fmla="*/ 230 w 230"/>
                <a:gd name="T51" fmla="*/ 72 h 163"/>
                <a:gd name="T52" fmla="*/ 230 w 230"/>
                <a:gd name="T53" fmla="*/ 12 h 163"/>
                <a:gd name="T54" fmla="*/ 218 w 230"/>
                <a:gd name="T55" fmla="*/ 0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30" h="163">
                  <a:moveTo>
                    <a:pt x="124" y="111"/>
                  </a:moveTo>
                  <a:cubicBezTo>
                    <a:pt x="124" y="116"/>
                    <a:pt x="124" y="116"/>
                    <a:pt x="124" y="116"/>
                  </a:cubicBezTo>
                  <a:cubicBezTo>
                    <a:pt x="124" y="121"/>
                    <a:pt x="120" y="125"/>
                    <a:pt x="115" y="125"/>
                  </a:cubicBezTo>
                  <a:cubicBezTo>
                    <a:pt x="110" y="125"/>
                    <a:pt x="106" y="121"/>
                    <a:pt x="106" y="116"/>
                  </a:cubicBezTo>
                  <a:cubicBezTo>
                    <a:pt x="106" y="111"/>
                    <a:pt x="106" y="111"/>
                    <a:pt x="106" y="111"/>
                  </a:cubicBezTo>
                  <a:cubicBezTo>
                    <a:pt x="25" y="111"/>
                    <a:pt x="25" y="111"/>
                    <a:pt x="25" y="111"/>
                  </a:cubicBezTo>
                  <a:cubicBezTo>
                    <a:pt x="20" y="111"/>
                    <a:pt x="16" y="111"/>
                    <a:pt x="13" y="110"/>
                  </a:cubicBezTo>
                  <a:cubicBezTo>
                    <a:pt x="13" y="151"/>
                    <a:pt x="13" y="151"/>
                    <a:pt x="13" y="151"/>
                  </a:cubicBezTo>
                  <a:cubicBezTo>
                    <a:pt x="13" y="157"/>
                    <a:pt x="18" y="163"/>
                    <a:pt x="25" y="163"/>
                  </a:cubicBezTo>
                  <a:cubicBezTo>
                    <a:pt x="206" y="163"/>
                    <a:pt x="206" y="163"/>
                    <a:pt x="206" y="163"/>
                  </a:cubicBezTo>
                  <a:cubicBezTo>
                    <a:pt x="213" y="163"/>
                    <a:pt x="218" y="157"/>
                    <a:pt x="218" y="151"/>
                  </a:cubicBezTo>
                  <a:cubicBezTo>
                    <a:pt x="218" y="110"/>
                    <a:pt x="218" y="110"/>
                    <a:pt x="218" y="110"/>
                  </a:cubicBezTo>
                  <a:cubicBezTo>
                    <a:pt x="214" y="111"/>
                    <a:pt x="210" y="111"/>
                    <a:pt x="206" y="111"/>
                  </a:cubicBezTo>
                  <a:lnTo>
                    <a:pt x="124" y="111"/>
                  </a:lnTo>
                  <a:close/>
                  <a:moveTo>
                    <a:pt x="218" y="0"/>
                  </a:moveTo>
                  <a:cubicBezTo>
                    <a:pt x="13" y="0"/>
                    <a:pt x="13" y="0"/>
                    <a:pt x="13" y="0"/>
                  </a:cubicBezTo>
                  <a:cubicBezTo>
                    <a:pt x="6" y="0"/>
                    <a:pt x="0" y="5"/>
                    <a:pt x="0" y="12"/>
                  </a:cubicBezTo>
                  <a:cubicBezTo>
                    <a:pt x="0" y="72"/>
                    <a:pt x="0" y="72"/>
                    <a:pt x="0" y="72"/>
                  </a:cubicBezTo>
                  <a:cubicBezTo>
                    <a:pt x="0" y="85"/>
                    <a:pt x="11" y="96"/>
                    <a:pt x="25" y="96"/>
                  </a:cubicBezTo>
                  <a:cubicBezTo>
                    <a:pt x="106" y="96"/>
                    <a:pt x="106" y="96"/>
                    <a:pt x="106" y="96"/>
                  </a:cubicBezTo>
                  <a:cubicBezTo>
                    <a:pt x="106" y="89"/>
                    <a:pt x="106" y="89"/>
                    <a:pt x="106" y="89"/>
                  </a:cubicBezTo>
                  <a:cubicBezTo>
                    <a:pt x="106" y="84"/>
                    <a:pt x="110" y="80"/>
                    <a:pt x="115" y="80"/>
                  </a:cubicBezTo>
                  <a:cubicBezTo>
                    <a:pt x="120" y="80"/>
                    <a:pt x="124" y="84"/>
                    <a:pt x="124" y="89"/>
                  </a:cubicBezTo>
                  <a:cubicBezTo>
                    <a:pt x="124" y="96"/>
                    <a:pt x="124" y="96"/>
                    <a:pt x="124" y="96"/>
                  </a:cubicBezTo>
                  <a:cubicBezTo>
                    <a:pt x="206" y="96"/>
                    <a:pt x="206" y="96"/>
                    <a:pt x="206" y="96"/>
                  </a:cubicBezTo>
                  <a:cubicBezTo>
                    <a:pt x="219" y="96"/>
                    <a:pt x="230" y="85"/>
                    <a:pt x="230" y="72"/>
                  </a:cubicBezTo>
                  <a:cubicBezTo>
                    <a:pt x="230" y="12"/>
                    <a:pt x="230" y="12"/>
                    <a:pt x="230" y="12"/>
                  </a:cubicBezTo>
                  <a:cubicBezTo>
                    <a:pt x="230" y="5"/>
                    <a:pt x="225" y="0"/>
                    <a:pt x="218"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Inter"/>
                <a:ea typeface="+mn-ea"/>
                <a:cs typeface="+mn-cs"/>
              </a:endParaRPr>
            </a:p>
          </p:txBody>
        </p:sp>
      </p:grpSp>
      <p:grpSp>
        <p:nvGrpSpPr>
          <p:cNvPr id="25" name="Group 26">
            <a:extLst>
              <a:ext uri="{FF2B5EF4-FFF2-40B4-BE49-F238E27FC236}">
                <a16:creationId xmlns:a16="http://schemas.microsoft.com/office/drawing/2014/main" id="{EFDE258C-BB79-46D8-81C0-4BD50FA24EAF}"/>
              </a:ext>
            </a:extLst>
          </p:cNvPr>
          <p:cNvGrpSpPr>
            <a:grpSpLocks noChangeAspect="1"/>
          </p:cNvGrpSpPr>
          <p:nvPr/>
        </p:nvGrpSpPr>
        <p:grpSpPr bwMode="auto">
          <a:xfrm>
            <a:off x="7249704" y="4254059"/>
            <a:ext cx="281454" cy="281454"/>
            <a:chOff x="5516" y="2532"/>
            <a:chExt cx="628" cy="628"/>
          </a:xfrm>
        </p:grpSpPr>
        <p:sp>
          <p:nvSpPr>
            <p:cNvPr id="26" name="Freeform 27">
              <a:extLst>
                <a:ext uri="{FF2B5EF4-FFF2-40B4-BE49-F238E27FC236}">
                  <a16:creationId xmlns:a16="http://schemas.microsoft.com/office/drawing/2014/main" id="{3C67BA19-F07D-401D-998A-83628C34E1E3}"/>
                </a:ext>
              </a:extLst>
            </p:cNvPr>
            <p:cNvSpPr>
              <a:spLocks noEditPoints="1"/>
            </p:cNvSpPr>
            <p:nvPr/>
          </p:nvSpPr>
          <p:spPr bwMode="auto">
            <a:xfrm>
              <a:off x="5516" y="2532"/>
              <a:ext cx="628" cy="628"/>
            </a:xfrm>
            <a:custGeom>
              <a:avLst/>
              <a:gdLst>
                <a:gd name="T0" fmla="*/ 291 w 300"/>
                <a:gd name="T1" fmla="*/ 122 h 300"/>
                <a:gd name="T2" fmla="*/ 268 w 300"/>
                <a:gd name="T3" fmla="*/ 113 h 300"/>
                <a:gd name="T4" fmla="*/ 258 w 300"/>
                <a:gd name="T5" fmla="*/ 81 h 300"/>
                <a:gd name="T6" fmla="*/ 270 w 300"/>
                <a:gd name="T7" fmla="*/ 61 h 300"/>
                <a:gd name="T8" fmla="*/ 231 w 300"/>
                <a:gd name="T9" fmla="*/ 31 h 300"/>
                <a:gd name="T10" fmla="*/ 211 w 300"/>
                <a:gd name="T11" fmla="*/ 43 h 300"/>
                <a:gd name="T12" fmla="*/ 177 w 300"/>
                <a:gd name="T13" fmla="*/ 30 h 300"/>
                <a:gd name="T14" fmla="*/ 171 w 300"/>
                <a:gd name="T15" fmla="*/ 2 h 300"/>
                <a:gd name="T16" fmla="*/ 128 w 300"/>
                <a:gd name="T17" fmla="*/ 2 h 300"/>
                <a:gd name="T18" fmla="*/ 122 w 300"/>
                <a:gd name="T19" fmla="*/ 30 h 300"/>
                <a:gd name="T20" fmla="*/ 88 w 300"/>
                <a:gd name="T21" fmla="*/ 43 h 300"/>
                <a:gd name="T22" fmla="*/ 69 w 300"/>
                <a:gd name="T23" fmla="*/ 31 h 300"/>
                <a:gd name="T24" fmla="*/ 29 w 300"/>
                <a:gd name="T25" fmla="*/ 61 h 300"/>
                <a:gd name="T26" fmla="*/ 41 w 300"/>
                <a:gd name="T27" fmla="*/ 81 h 300"/>
                <a:gd name="T28" fmla="*/ 32 w 300"/>
                <a:gd name="T29" fmla="*/ 113 h 300"/>
                <a:gd name="T30" fmla="*/ 8 w 300"/>
                <a:gd name="T31" fmla="*/ 122 h 300"/>
                <a:gd name="T32" fmla="*/ 0 w 300"/>
                <a:gd name="T33" fmla="*/ 150 h 300"/>
                <a:gd name="T34" fmla="*/ 8 w 300"/>
                <a:gd name="T35" fmla="*/ 178 h 300"/>
                <a:gd name="T36" fmla="*/ 32 w 300"/>
                <a:gd name="T37" fmla="*/ 187 h 300"/>
                <a:gd name="T38" fmla="*/ 41 w 300"/>
                <a:gd name="T39" fmla="*/ 219 h 300"/>
                <a:gd name="T40" fmla="*/ 29 w 300"/>
                <a:gd name="T41" fmla="*/ 240 h 300"/>
                <a:gd name="T42" fmla="*/ 69 w 300"/>
                <a:gd name="T43" fmla="*/ 270 h 300"/>
                <a:gd name="T44" fmla="*/ 88 w 300"/>
                <a:gd name="T45" fmla="*/ 257 h 300"/>
                <a:gd name="T46" fmla="*/ 122 w 300"/>
                <a:gd name="T47" fmla="*/ 270 h 300"/>
                <a:gd name="T48" fmla="*/ 128 w 300"/>
                <a:gd name="T49" fmla="*/ 299 h 300"/>
                <a:gd name="T50" fmla="*/ 171 w 300"/>
                <a:gd name="T51" fmla="*/ 299 h 300"/>
                <a:gd name="T52" fmla="*/ 177 w 300"/>
                <a:gd name="T53" fmla="*/ 270 h 300"/>
                <a:gd name="T54" fmla="*/ 211 w 300"/>
                <a:gd name="T55" fmla="*/ 257 h 300"/>
                <a:gd name="T56" fmla="*/ 231 w 300"/>
                <a:gd name="T57" fmla="*/ 270 h 300"/>
                <a:gd name="T58" fmla="*/ 270 w 300"/>
                <a:gd name="T59" fmla="*/ 240 h 300"/>
                <a:gd name="T60" fmla="*/ 258 w 300"/>
                <a:gd name="T61" fmla="*/ 219 h 300"/>
                <a:gd name="T62" fmla="*/ 268 w 300"/>
                <a:gd name="T63" fmla="*/ 187 h 300"/>
                <a:gd name="T64" fmla="*/ 291 w 300"/>
                <a:gd name="T65" fmla="*/ 178 h 300"/>
                <a:gd name="T66" fmla="*/ 300 w 300"/>
                <a:gd name="T67" fmla="*/ 150 h 300"/>
                <a:gd name="T68" fmla="*/ 230 w 300"/>
                <a:gd name="T69" fmla="*/ 163 h 300"/>
                <a:gd name="T70" fmla="*/ 69 w 300"/>
                <a:gd name="T71" fmla="*/ 137 h 300"/>
                <a:gd name="T72" fmla="*/ 230 w 300"/>
                <a:gd name="T73" fmla="*/ 163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00" h="300">
                  <a:moveTo>
                    <a:pt x="298" y="128"/>
                  </a:moveTo>
                  <a:cubicBezTo>
                    <a:pt x="298" y="125"/>
                    <a:pt x="295" y="122"/>
                    <a:pt x="291" y="122"/>
                  </a:cubicBezTo>
                  <a:cubicBezTo>
                    <a:pt x="277" y="122"/>
                    <a:pt x="277" y="122"/>
                    <a:pt x="277" y="122"/>
                  </a:cubicBezTo>
                  <a:cubicBezTo>
                    <a:pt x="273" y="121"/>
                    <a:pt x="269" y="118"/>
                    <a:pt x="268" y="113"/>
                  </a:cubicBezTo>
                  <a:cubicBezTo>
                    <a:pt x="265" y="105"/>
                    <a:pt x="261" y="97"/>
                    <a:pt x="257" y="89"/>
                  </a:cubicBezTo>
                  <a:cubicBezTo>
                    <a:pt x="256" y="86"/>
                    <a:pt x="256" y="83"/>
                    <a:pt x="258" y="81"/>
                  </a:cubicBezTo>
                  <a:cubicBezTo>
                    <a:pt x="270" y="70"/>
                    <a:pt x="270" y="70"/>
                    <a:pt x="270" y="70"/>
                  </a:cubicBezTo>
                  <a:cubicBezTo>
                    <a:pt x="272" y="67"/>
                    <a:pt x="272" y="63"/>
                    <a:pt x="270" y="61"/>
                  </a:cubicBezTo>
                  <a:cubicBezTo>
                    <a:pt x="262" y="49"/>
                    <a:pt x="251" y="39"/>
                    <a:pt x="240" y="30"/>
                  </a:cubicBezTo>
                  <a:cubicBezTo>
                    <a:pt x="237" y="28"/>
                    <a:pt x="233" y="28"/>
                    <a:pt x="231" y="31"/>
                  </a:cubicBezTo>
                  <a:cubicBezTo>
                    <a:pt x="219" y="42"/>
                    <a:pt x="219" y="42"/>
                    <a:pt x="219" y="42"/>
                  </a:cubicBezTo>
                  <a:cubicBezTo>
                    <a:pt x="217" y="44"/>
                    <a:pt x="214" y="45"/>
                    <a:pt x="211" y="43"/>
                  </a:cubicBezTo>
                  <a:cubicBezTo>
                    <a:pt x="201" y="37"/>
                    <a:pt x="189" y="33"/>
                    <a:pt x="177" y="30"/>
                  </a:cubicBezTo>
                  <a:cubicBezTo>
                    <a:pt x="177" y="30"/>
                    <a:pt x="177" y="30"/>
                    <a:pt x="177" y="30"/>
                  </a:cubicBezTo>
                  <a:cubicBezTo>
                    <a:pt x="177" y="9"/>
                    <a:pt x="177" y="9"/>
                    <a:pt x="177" y="9"/>
                  </a:cubicBezTo>
                  <a:cubicBezTo>
                    <a:pt x="177" y="5"/>
                    <a:pt x="175" y="2"/>
                    <a:pt x="171" y="2"/>
                  </a:cubicBezTo>
                  <a:cubicBezTo>
                    <a:pt x="164" y="1"/>
                    <a:pt x="157" y="0"/>
                    <a:pt x="150" y="0"/>
                  </a:cubicBezTo>
                  <a:cubicBezTo>
                    <a:pt x="142" y="0"/>
                    <a:pt x="135" y="1"/>
                    <a:pt x="128" y="2"/>
                  </a:cubicBezTo>
                  <a:cubicBezTo>
                    <a:pt x="125" y="2"/>
                    <a:pt x="122" y="5"/>
                    <a:pt x="122" y="9"/>
                  </a:cubicBezTo>
                  <a:cubicBezTo>
                    <a:pt x="122" y="30"/>
                    <a:pt x="122" y="30"/>
                    <a:pt x="122" y="30"/>
                  </a:cubicBezTo>
                  <a:cubicBezTo>
                    <a:pt x="122" y="30"/>
                    <a:pt x="122" y="30"/>
                    <a:pt x="122" y="30"/>
                  </a:cubicBezTo>
                  <a:cubicBezTo>
                    <a:pt x="110" y="33"/>
                    <a:pt x="99" y="37"/>
                    <a:pt x="88" y="43"/>
                  </a:cubicBezTo>
                  <a:cubicBezTo>
                    <a:pt x="86" y="45"/>
                    <a:pt x="82" y="44"/>
                    <a:pt x="80" y="42"/>
                  </a:cubicBezTo>
                  <a:cubicBezTo>
                    <a:pt x="69" y="31"/>
                    <a:pt x="69" y="31"/>
                    <a:pt x="69" y="31"/>
                  </a:cubicBezTo>
                  <a:cubicBezTo>
                    <a:pt x="66" y="28"/>
                    <a:pt x="63" y="28"/>
                    <a:pt x="60" y="30"/>
                  </a:cubicBezTo>
                  <a:cubicBezTo>
                    <a:pt x="48" y="39"/>
                    <a:pt x="38" y="49"/>
                    <a:pt x="29" y="61"/>
                  </a:cubicBezTo>
                  <a:cubicBezTo>
                    <a:pt x="27" y="63"/>
                    <a:pt x="28" y="67"/>
                    <a:pt x="30" y="70"/>
                  </a:cubicBezTo>
                  <a:cubicBezTo>
                    <a:pt x="41" y="81"/>
                    <a:pt x="41" y="81"/>
                    <a:pt x="41" y="81"/>
                  </a:cubicBezTo>
                  <a:cubicBezTo>
                    <a:pt x="43" y="83"/>
                    <a:pt x="44" y="86"/>
                    <a:pt x="42" y="89"/>
                  </a:cubicBezTo>
                  <a:cubicBezTo>
                    <a:pt x="38" y="97"/>
                    <a:pt x="35" y="105"/>
                    <a:pt x="32" y="113"/>
                  </a:cubicBezTo>
                  <a:cubicBezTo>
                    <a:pt x="30" y="118"/>
                    <a:pt x="27" y="121"/>
                    <a:pt x="22" y="122"/>
                  </a:cubicBezTo>
                  <a:cubicBezTo>
                    <a:pt x="8" y="122"/>
                    <a:pt x="8" y="122"/>
                    <a:pt x="8" y="122"/>
                  </a:cubicBezTo>
                  <a:cubicBezTo>
                    <a:pt x="5" y="122"/>
                    <a:pt x="2" y="125"/>
                    <a:pt x="1" y="128"/>
                  </a:cubicBezTo>
                  <a:cubicBezTo>
                    <a:pt x="0" y="135"/>
                    <a:pt x="0" y="143"/>
                    <a:pt x="0" y="150"/>
                  </a:cubicBezTo>
                  <a:cubicBezTo>
                    <a:pt x="0" y="158"/>
                    <a:pt x="0" y="165"/>
                    <a:pt x="1" y="172"/>
                  </a:cubicBezTo>
                  <a:cubicBezTo>
                    <a:pt x="2" y="176"/>
                    <a:pt x="5" y="178"/>
                    <a:pt x="8" y="178"/>
                  </a:cubicBezTo>
                  <a:cubicBezTo>
                    <a:pt x="22" y="178"/>
                    <a:pt x="22" y="178"/>
                    <a:pt x="22" y="178"/>
                  </a:cubicBezTo>
                  <a:cubicBezTo>
                    <a:pt x="27" y="179"/>
                    <a:pt x="30" y="183"/>
                    <a:pt x="32" y="187"/>
                  </a:cubicBezTo>
                  <a:cubicBezTo>
                    <a:pt x="35" y="196"/>
                    <a:pt x="38" y="204"/>
                    <a:pt x="42" y="211"/>
                  </a:cubicBezTo>
                  <a:cubicBezTo>
                    <a:pt x="44" y="214"/>
                    <a:pt x="43" y="217"/>
                    <a:pt x="41" y="219"/>
                  </a:cubicBezTo>
                  <a:cubicBezTo>
                    <a:pt x="30" y="231"/>
                    <a:pt x="30" y="231"/>
                    <a:pt x="30" y="231"/>
                  </a:cubicBezTo>
                  <a:cubicBezTo>
                    <a:pt x="28" y="233"/>
                    <a:pt x="27" y="237"/>
                    <a:pt x="29" y="240"/>
                  </a:cubicBezTo>
                  <a:cubicBezTo>
                    <a:pt x="38" y="251"/>
                    <a:pt x="48" y="262"/>
                    <a:pt x="60" y="270"/>
                  </a:cubicBezTo>
                  <a:cubicBezTo>
                    <a:pt x="63" y="272"/>
                    <a:pt x="66" y="272"/>
                    <a:pt x="69" y="270"/>
                  </a:cubicBezTo>
                  <a:cubicBezTo>
                    <a:pt x="80" y="258"/>
                    <a:pt x="80" y="258"/>
                    <a:pt x="80" y="258"/>
                  </a:cubicBezTo>
                  <a:cubicBezTo>
                    <a:pt x="82" y="256"/>
                    <a:pt x="86" y="256"/>
                    <a:pt x="88" y="257"/>
                  </a:cubicBezTo>
                  <a:cubicBezTo>
                    <a:pt x="99" y="263"/>
                    <a:pt x="110" y="268"/>
                    <a:pt x="122" y="270"/>
                  </a:cubicBezTo>
                  <a:cubicBezTo>
                    <a:pt x="122" y="270"/>
                    <a:pt x="122" y="270"/>
                    <a:pt x="122" y="270"/>
                  </a:cubicBezTo>
                  <a:cubicBezTo>
                    <a:pt x="122" y="292"/>
                    <a:pt x="122" y="292"/>
                    <a:pt x="122" y="292"/>
                  </a:cubicBezTo>
                  <a:cubicBezTo>
                    <a:pt x="122" y="295"/>
                    <a:pt x="125" y="298"/>
                    <a:pt x="128" y="299"/>
                  </a:cubicBezTo>
                  <a:cubicBezTo>
                    <a:pt x="135" y="300"/>
                    <a:pt x="142" y="300"/>
                    <a:pt x="150" y="300"/>
                  </a:cubicBezTo>
                  <a:cubicBezTo>
                    <a:pt x="157" y="300"/>
                    <a:pt x="164" y="300"/>
                    <a:pt x="171" y="299"/>
                  </a:cubicBezTo>
                  <a:cubicBezTo>
                    <a:pt x="175" y="298"/>
                    <a:pt x="177" y="295"/>
                    <a:pt x="177" y="292"/>
                  </a:cubicBezTo>
                  <a:cubicBezTo>
                    <a:pt x="177" y="270"/>
                    <a:pt x="177" y="270"/>
                    <a:pt x="177" y="270"/>
                  </a:cubicBezTo>
                  <a:cubicBezTo>
                    <a:pt x="177" y="270"/>
                    <a:pt x="177" y="270"/>
                    <a:pt x="177" y="270"/>
                  </a:cubicBezTo>
                  <a:cubicBezTo>
                    <a:pt x="189" y="268"/>
                    <a:pt x="201" y="263"/>
                    <a:pt x="211" y="257"/>
                  </a:cubicBezTo>
                  <a:cubicBezTo>
                    <a:pt x="214" y="256"/>
                    <a:pt x="217" y="256"/>
                    <a:pt x="219" y="258"/>
                  </a:cubicBezTo>
                  <a:cubicBezTo>
                    <a:pt x="231" y="270"/>
                    <a:pt x="231" y="270"/>
                    <a:pt x="231" y="270"/>
                  </a:cubicBezTo>
                  <a:cubicBezTo>
                    <a:pt x="233" y="272"/>
                    <a:pt x="237" y="272"/>
                    <a:pt x="240" y="270"/>
                  </a:cubicBezTo>
                  <a:cubicBezTo>
                    <a:pt x="251" y="262"/>
                    <a:pt x="262" y="251"/>
                    <a:pt x="270" y="240"/>
                  </a:cubicBezTo>
                  <a:cubicBezTo>
                    <a:pt x="272" y="237"/>
                    <a:pt x="272" y="233"/>
                    <a:pt x="270" y="231"/>
                  </a:cubicBezTo>
                  <a:cubicBezTo>
                    <a:pt x="258" y="219"/>
                    <a:pt x="258" y="219"/>
                    <a:pt x="258" y="219"/>
                  </a:cubicBezTo>
                  <a:cubicBezTo>
                    <a:pt x="256" y="217"/>
                    <a:pt x="256" y="214"/>
                    <a:pt x="257" y="211"/>
                  </a:cubicBezTo>
                  <a:cubicBezTo>
                    <a:pt x="261" y="204"/>
                    <a:pt x="265" y="196"/>
                    <a:pt x="268" y="187"/>
                  </a:cubicBezTo>
                  <a:cubicBezTo>
                    <a:pt x="269" y="183"/>
                    <a:pt x="273" y="179"/>
                    <a:pt x="277" y="178"/>
                  </a:cubicBezTo>
                  <a:cubicBezTo>
                    <a:pt x="291" y="178"/>
                    <a:pt x="291" y="178"/>
                    <a:pt x="291" y="178"/>
                  </a:cubicBezTo>
                  <a:cubicBezTo>
                    <a:pt x="295" y="178"/>
                    <a:pt x="298" y="176"/>
                    <a:pt x="298" y="172"/>
                  </a:cubicBezTo>
                  <a:cubicBezTo>
                    <a:pt x="299" y="165"/>
                    <a:pt x="300" y="158"/>
                    <a:pt x="300" y="150"/>
                  </a:cubicBezTo>
                  <a:cubicBezTo>
                    <a:pt x="300" y="143"/>
                    <a:pt x="299" y="135"/>
                    <a:pt x="298" y="128"/>
                  </a:cubicBezTo>
                  <a:close/>
                  <a:moveTo>
                    <a:pt x="230" y="163"/>
                  </a:moveTo>
                  <a:cubicBezTo>
                    <a:pt x="225" y="197"/>
                    <a:pt x="197" y="225"/>
                    <a:pt x="163" y="230"/>
                  </a:cubicBezTo>
                  <a:cubicBezTo>
                    <a:pt x="108" y="239"/>
                    <a:pt x="61" y="192"/>
                    <a:pt x="69" y="137"/>
                  </a:cubicBezTo>
                  <a:cubicBezTo>
                    <a:pt x="75" y="103"/>
                    <a:pt x="103" y="75"/>
                    <a:pt x="137" y="70"/>
                  </a:cubicBezTo>
                  <a:cubicBezTo>
                    <a:pt x="192" y="61"/>
                    <a:pt x="238" y="108"/>
                    <a:pt x="230" y="16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Inter"/>
                <a:ea typeface="+mn-ea"/>
                <a:cs typeface="+mn-cs"/>
              </a:endParaRPr>
            </a:p>
          </p:txBody>
        </p:sp>
        <p:sp>
          <p:nvSpPr>
            <p:cNvPr id="27" name="Freeform 28">
              <a:extLst>
                <a:ext uri="{FF2B5EF4-FFF2-40B4-BE49-F238E27FC236}">
                  <a16:creationId xmlns:a16="http://schemas.microsoft.com/office/drawing/2014/main" id="{5E33BAF9-4986-4CF0-8E62-B19CDB76D7A8}"/>
                </a:ext>
              </a:extLst>
            </p:cNvPr>
            <p:cNvSpPr>
              <a:spLocks/>
            </p:cNvSpPr>
            <p:nvPr/>
          </p:nvSpPr>
          <p:spPr bwMode="auto">
            <a:xfrm>
              <a:off x="5759" y="2710"/>
              <a:ext cx="142" cy="276"/>
            </a:xfrm>
            <a:custGeom>
              <a:avLst/>
              <a:gdLst>
                <a:gd name="T0" fmla="*/ 49 w 68"/>
                <a:gd name="T1" fmla="*/ 61 h 132"/>
                <a:gd name="T2" fmla="*/ 28 w 68"/>
                <a:gd name="T3" fmla="*/ 50 h 132"/>
                <a:gd name="T4" fmla="*/ 24 w 68"/>
                <a:gd name="T5" fmla="*/ 42 h 132"/>
                <a:gd name="T6" fmla="*/ 31 w 68"/>
                <a:gd name="T7" fmla="*/ 36 h 132"/>
                <a:gd name="T8" fmla="*/ 45 w 68"/>
                <a:gd name="T9" fmla="*/ 44 h 132"/>
                <a:gd name="T10" fmla="*/ 60 w 68"/>
                <a:gd name="T11" fmla="*/ 50 h 132"/>
                <a:gd name="T12" fmla="*/ 65 w 68"/>
                <a:gd name="T13" fmla="*/ 35 h 132"/>
                <a:gd name="T14" fmla="*/ 48 w 68"/>
                <a:gd name="T15" fmla="*/ 18 h 132"/>
                <a:gd name="T16" fmla="*/ 48 w 68"/>
                <a:gd name="T17" fmla="*/ 11 h 132"/>
                <a:gd name="T18" fmla="*/ 37 w 68"/>
                <a:gd name="T19" fmla="*/ 0 h 132"/>
                <a:gd name="T20" fmla="*/ 26 w 68"/>
                <a:gd name="T21" fmla="*/ 11 h 132"/>
                <a:gd name="T22" fmla="*/ 26 w 68"/>
                <a:gd name="T23" fmla="*/ 14 h 132"/>
                <a:gd name="T24" fmla="*/ 3 w 68"/>
                <a:gd name="T25" fmla="*/ 38 h 132"/>
                <a:gd name="T26" fmla="*/ 18 w 68"/>
                <a:gd name="T27" fmla="*/ 70 h 132"/>
                <a:gd name="T28" fmla="*/ 39 w 68"/>
                <a:gd name="T29" fmla="*/ 81 h 132"/>
                <a:gd name="T30" fmla="*/ 43 w 68"/>
                <a:gd name="T31" fmla="*/ 89 h 132"/>
                <a:gd name="T32" fmla="*/ 37 w 68"/>
                <a:gd name="T33" fmla="*/ 95 h 132"/>
                <a:gd name="T34" fmla="*/ 36 w 68"/>
                <a:gd name="T35" fmla="*/ 95 h 132"/>
                <a:gd name="T36" fmla="*/ 22 w 68"/>
                <a:gd name="T37" fmla="*/ 87 h 132"/>
                <a:gd name="T38" fmla="*/ 8 w 68"/>
                <a:gd name="T39" fmla="*/ 81 h 132"/>
                <a:gd name="T40" fmla="*/ 2 w 68"/>
                <a:gd name="T41" fmla="*/ 96 h 132"/>
                <a:gd name="T42" fmla="*/ 26 w 68"/>
                <a:gd name="T43" fmla="*/ 116 h 132"/>
                <a:gd name="T44" fmla="*/ 26 w 68"/>
                <a:gd name="T45" fmla="*/ 121 h 132"/>
                <a:gd name="T46" fmla="*/ 37 w 68"/>
                <a:gd name="T47" fmla="*/ 132 h 132"/>
                <a:gd name="T48" fmla="*/ 48 w 68"/>
                <a:gd name="T49" fmla="*/ 121 h 132"/>
                <a:gd name="T50" fmla="*/ 48 w 68"/>
                <a:gd name="T51" fmla="*/ 114 h 132"/>
                <a:gd name="T52" fmla="*/ 65 w 68"/>
                <a:gd name="T53" fmla="*/ 93 h 132"/>
                <a:gd name="T54" fmla="*/ 49 w 68"/>
                <a:gd name="T55" fmla="*/ 61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8" h="132">
                  <a:moveTo>
                    <a:pt x="49" y="61"/>
                  </a:moveTo>
                  <a:cubicBezTo>
                    <a:pt x="28" y="50"/>
                    <a:pt x="28" y="50"/>
                    <a:pt x="28" y="50"/>
                  </a:cubicBezTo>
                  <a:cubicBezTo>
                    <a:pt x="24" y="48"/>
                    <a:pt x="24" y="43"/>
                    <a:pt x="24" y="42"/>
                  </a:cubicBezTo>
                  <a:cubicBezTo>
                    <a:pt x="25" y="40"/>
                    <a:pt x="26" y="36"/>
                    <a:pt x="31" y="36"/>
                  </a:cubicBezTo>
                  <a:cubicBezTo>
                    <a:pt x="37" y="35"/>
                    <a:pt x="43" y="39"/>
                    <a:pt x="45" y="44"/>
                  </a:cubicBezTo>
                  <a:cubicBezTo>
                    <a:pt x="48" y="50"/>
                    <a:pt x="54" y="52"/>
                    <a:pt x="60" y="50"/>
                  </a:cubicBezTo>
                  <a:cubicBezTo>
                    <a:pt x="65" y="48"/>
                    <a:pt x="68" y="41"/>
                    <a:pt x="65" y="35"/>
                  </a:cubicBezTo>
                  <a:cubicBezTo>
                    <a:pt x="62" y="28"/>
                    <a:pt x="56" y="22"/>
                    <a:pt x="48" y="18"/>
                  </a:cubicBezTo>
                  <a:cubicBezTo>
                    <a:pt x="48" y="11"/>
                    <a:pt x="48" y="11"/>
                    <a:pt x="48" y="11"/>
                  </a:cubicBezTo>
                  <a:cubicBezTo>
                    <a:pt x="48" y="5"/>
                    <a:pt x="44" y="0"/>
                    <a:pt x="37" y="0"/>
                  </a:cubicBezTo>
                  <a:cubicBezTo>
                    <a:pt x="31" y="0"/>
                    <a:pt x="26" y="5"/>
                    <a:pt x="26" y="11"/>
                  </a:cubicBezTo>
                  <a:cubicBezTo>
                    <a:pt x="26" y="14"/>
                    <a:pt x="26" y="14"/>
                    <a:pt x="26" y="14"/>
                  </a:cubicBezTo>
                  <a:cubicBezTo>
                    <a:pt x="14" y="17"/>
                    <a:pt x="5" y="26"/>
                    <a:pt x="3" y="38"/>
                  </a:cubicBezTo>
                  <a:cubicBezTo>
                    <a:pt x="0" y="51"/>
                    <a:pt x="7" y="64"/>
                    <a:pt x="18" y="70"/>
                  </a:cubicBezTo>
                  <a:cubicBezTo>
                    <a:pt x="39" y="81"/>
                    <a:pt x="39" y="81"/>
                    <a:pt x="39" y="81"/>
                  </a:cubicBezTo>
                  <a:cubicBezTo>
                    <a:pt x="43" y="83"/>
                    <a:pt x="44" y="86"/>
                    <a:pt x="43" y="89"/>
                  </a:cubicBezTo>
                  <a:cubicBezTo>
                    <a:pt x="43" y="91"/>
                    <a:pt x="42" y="94"/>
                    <a:pt x="37" y="95"/>
                  </a:cubicBezTo>
                  <a:cubicBezTo>
                    <a:pt x="36" y="95"/>
                    <a:pt x="36" y="95"/>
                    <a:pt x="36" y="95"/>
                  </a:cubicBezTo>
                  <a:cubicBezTo>
                    <a:pt x="30" y="96"/>
                    <a:pt x="25" y="92"/>
                    <a:pt x="22" y="87"/>
                  </a:cubicBezTo>
                  <a:cubicBezTo>
                    <a:pt x="20" y="81"/>
                    <a:pt x="13" y="79"/>
                    <a:pt x="8" y="81"/>
                  </a:cubicBezTo>
                  <a:cubicBezTo>
                    <a:pt x="2" y="84"/>
                    <a:pt x="0" y="90"/>
                    <a:pt x="2" y="96"/>
                  </a:cubicBezTo>
                  <a:cubicBezTo>
                    <a:pt x="7" y="106"/>
                    <a:pt x="16" y="113"/>
                    <a:pt x="26" y="116"/>
                  </a:cubicBezTo>
                  <a:cubicBezTo>
                    <a:pt x="26" y="121"/>
                    <a:pt x="26" y="121"/>
                    <a:pt x="26" y="121"/>
                  </a:cubicBezTo>
                  <a:cubicBezTo>
                    <a:pt x="26" y="127"/>
                    <a:pt x="31" y="132"/>
                    <a:pt x="37" y="132"/>
                  </a:cubicBezTo>
                  <a:cubicBezTo>
                    <a:pt x="44" y="132"/>
                    <a:pt x="48" y="127"/>
                    <a:pt x="48" y="121"/>
                  </a:cubicBezTo>
                  <a:cubicBezTo>
                    <a:pt x="48" y="114"/>
                    <a:pt x="48" y="114"/>
                    <a:pt x="48" y="114"/>
                  </a:cubicBezTo>
                  <a:cubicBezTo>
                    <a:pt x="57" y="110"/>
                    <a:pt x="63" y="103"/>
                    <a:pt x="65" y="93"/>
                  </a:cubicBezTo>
                  <a:cubicBezTo>
                    <a:pt x="67" y="79"/>
                    <a:pt x="61" y="67"/>
                    <a:pt x="49" y="6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Inter"/>
                <a:ea typeface="+mn-ea"/>
                <a:cs typeface="+mn-cs"/>
              </a:endParaRPr>
            </a:p>
          </p:txBody>
        </p:sp>
      </p:grpSp>
      <p:sp>
        <p:nvSpPr>
          <p:cNvPr id="28" name="Arrow: Pentagon 45">
            <a:extLst>
              <a:ext uri="{FF2B5EF4-FFF2-40B4-BE49-F238E27FC236}">
                <a16:creationId xmlns:a16="http://schemas.microsoft.com/office/drawing/2014/main" id="{E176474A-C832-4078-8B1B-04C30C2B825A}"/>
              </a:ext>
            </a:extLst>
          </p:cNvPr>
          <p:cNvSpPr/>
          <p:nvPr/>
        </p:nvSpPr>
        <p:spPr>
          <a:xfrm rot="16200000">
            <a:off x="4334432" y="4757215"/>
            <a:ext cx="3540682" cy="660890"/>
          </a:xfrm>
          <a:prstGeom prst="homePlate">
            <a:avLst>
              <a:gd name="adj" fmla="val 38782"/>
            </a:avLst>
          </a:prstGeom>
          <a:gradFill flip="none" rotWithShape="1">
            <a:gsLst>
              <a:gs pos="73000">
                <a:schemeClr val="accent1"/>
              </a:gs>
              <a:gs pos="31000">
                <a:schemeClr val="accent1">
                  <a:lumMod val="60000"/>
                  <a:lumOff val="40000"/>
                </a:schemeClr>
              </a:gs>
              <a:gs pos="0">
                <a:schemeClr val="accent1">
                  <a:lumMod val="40000"/>
                  <a:lumOff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vert="vert" lIns="0" tIns="0" rIns="457200" bIns="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0F0F0"/>
              </a:solidFill>
              <a:effectLst/>
              <a:uLnTx/>
              <a:uFillTx/>
              <a:latin typeface="HarmonyOS Sans SC"/>
              <a:cs typeface="+mn-cs"/>
            </a:endParaRPr>
          </a:p>
        </p:txBody>
      </p:sp>
      <p:grpSp>
        <p:nvGrpSpPr>
          <p:cNvPr id="29" name="Group 43">
            <a:extLst>
              <a:ext uri="{FF2B5EF4-FFF2-40B4-BE49-F238E27FC236}">
                <a16:creationId xmlns:a16="http://schemas.microsoft.com/office/drawing/2014/main" id="{94A74BF8-D681-4340-91BA-DA4990564D9D}"/>
              </a:ext>
            </a:extLst>
          </p:cNvPr>
          <p:cNvGrpSpPr>
            <a:grpSpLocks noChangeAspect="1"/>
          </p:cNvGrpSpPr>
          <p:nvPr/>
        </p:nvGrpSpPr>
        <p:grpSpPr bwMode="auto">
          <a:xfrm>
            <a:off x="5990630" y="3748442"/>
            <a:ext cx="250801" cy="307597"/>
            <a:chOff x="6008" y="1735"/>
            <a:chExt cx="446" cy="547"/>
          </a:xfrm>
        </p:grpSpPr>
        <p:sp>
          <p:nvSpPr>
            <p:cNvPr id="30" name="Freeform 44">
              <a:extLst>
                <a:ext uri="{FF2B5EF4-FFF2-40B4-BE49-F238E27FC236}">
                  <a16:creationId xmlns:a16="http://schemas.microsoft.com/office/drawing/2014/main" id="{F58249A0-EEEE-435B-B462-25E4607C04A0}"/>
                </a:ext>
              </a:extLst>
            </p:cNvPr>
            <p:cNvSpPr>
              <a:spLocks noEditPoints="1"/>
            </p:cNvSpPr>
            <p:nvPr/>
          </p:nvSpPr>
          <p:spPr bwMode="auto">
            <a:xfrm>
              <a:off x="6008" y="1735"/>
              <a:ext cx="446" cy="333"/>
            </a:xfrm>
            <a:custGeom>
              <a:avLst/>
              <a:gdLst>
                <a:gd name="T0" fmla="*/ 198 w 212"/>
                <a:gd name="T1" fmla="*/ 0 h 159"/>
                <a:gd name="T2" fmla="*/ 14 w 212"/>
                <a:gd name="T3" fmla="*/ 0 h 159"/>
                <a:gd name="T4" fmla="*/ 0 w 212"/>
                <a:gd name="T5" fmla="*/ 13 h 159"/>
                <a:gd name="T6" fmla="*/ 0 w 212"/>
                <a:gd name="T7" fmla="*/ 146 h 159"/>
                <a:gd name="T8" fmla="*/ 14 w 212"/>
                <a:gd name="T9" fmla="*/ 159 h 159"/>
                <a:gd name="T10" fmla="*/ 198 w 212"/>
                <a:gd name="T11" fmla="*/ 159 h 159"/>
                <a:gd name="T12" fmla="*/ 212 w 212"/>
                <a:gd name="T13" fmla="*/ 146 h 159"/>
                <a:gd name="T14" fmla="*/ 212 w 212"/>
                <a:gd name="T15" fmla="*/ 13 h 159"/>
                <a:gd name="T16" fmla="*/ 198 w 212"/>
                <a:gd name="T17" fmla="*/ 0 h 159"/>
                <a:gd name="T18" fmla="*/ 66 w 212"/>
                <a:gd name="T19" fmla="*/ 118 h 159"/>
                <a:gd name="T20" fmla="*/ 53 w 212"/>
                <a:gd name="T21" fmla="*/ 132 h 159"/>
                <a:gd name="T22" fmla="*/ 40 w 212"/>
                <a:gd name="T23" fmla="*/ 118 h 159"/>
                <a:gd name="T24" fmla="*/ 40 w 212"/>
                <a:gd name="T25" fmla="*/ 66 h 159"/>
                <a:gd name="T26" fmla="*/ 53 w 212"/>
                <a:gd name="T27" fmla="*/ 52 h 159"/>
                <a:gd name="T28" fmla="*/ 66 w 212"/>
                <a:gd name="T29" fmla="*/ 66 h 159"/>
                <a:gd name="T30" fmla="*/ 66 w 212"/>
                <a:gd name="T31" fmla="*/ 118 h 159"/>
                <a:gd name="T32" fmla="*/ 119 w 212"/>
                <a:gd name="T33" fmla="*/ 118 h 159"/>
                <a:gd name="T34" fmla="*/ 106 w 212"/>
                <a:gd name="T35" fmla="*/ 132 h 159"/>
                <a:gd name="T36" fmla="*/ 93 w 212"/>
                <a:gd name="T37" fmla="*/ 118 h 159"/>
                <a:gd name="T38" fmla="*/ 93 w 212"/>
                <a:gd name="T39" fmla="*/ 79 h 159"/>
                <a:gd name="T40" fmla="*/ 106 w 212"/>
                <a:gd name="T41" fmla="*/ 66 h 159"/>
                <a:gd name="T42" fmla="*/ 119 w 212"/>
                <a:gd name="T43" fmla="*/ 79 h 159"/>
                <a:gd name="T44" fmla="*/ 119 w 212"/>
                <a:gd name="T45" fmla="*/ 118 h 159"/>
                <a:gd name="T46" fmla="*/ 172 w 212"/>
                <a:gd name="T47" fmla="*/ 118 h 159"/>
                <a:gd name="T48" fmla="*/ 159 w 212"/>
                <a:gd name="T49" fmla="*/ 132 h 159"/>
                <a:gd name="T50" fmla="*/ 146 w 212"/>
                <a:gd name="T51" fmla="*/ 118 h 159"/>
                <a:gd name="T52" fmla="*/ 146 w 212"/>
                <a:gd name="T53" fmla="*/ 52 h 159"/>
                <a:gd name="T54" fmla="*/ 159 w 212"/>
                <a:gd name="T55" fmla="*/ 39 h 159"/>
                <a:gd name="T56" fmla="*/ 172 w 212"/>
                <a:gd name="T57" fmla="*/ 52 h 159"/>
                <a:gd name="T58" fmla="*/ 172 w 212"/>
                <a:gd name="T59" fmla="*/ 118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12" h="159">
                  <a:moveTo>
                    <a:pt x="198" y="0"/>
                  </a:moveTo>
                  <a:cubicBezTo>
                    <a:pt x="14" y="0"/>
                    <a:pt x="14" y="0"/>
                    <a:pt x="14" y="0"/>
                  </a:cubicBezTo>
                  <a:cubicBezTo>
                    <a:pt x="6" y="0"/>
                    <a:pt x="0" y="6"/>
                    <a:pt x="0" y="13"/>
                  </a:cubicBezTo>
                  <a:cubicBezTo>
                    <a:pt x="0" y="146"/>
                    <a:pt x="0" y="146"/>
                    <a:pt x="0" y="146"/>
                  </a:cubicBezTo>
                  <a:cubicBezTo>
                    <a:pt x="0" y="153"/>
                    <a:pt x="6" y="159"/>
                    <a:pt x="14" y="159"/>
                  </a:cubicBezTo>
                  <a:cubicBezTo>
                    <a:pt x="198" y="159"/>
                    <a:pt x="198" y="159"/>
                    <a:pt x="198" y="159"/>
                  </a:cubicBezTo>
                  <a:cubicBezTo>
                    <a:pt x="206" y="159"/>
                    <a:pt x="212" y="153"/>
                    <a:pt x="212" y="146"/>
                  </a:cubicBezTo>
                  <a:cubicBezTo>
                    <a:pt x="212" y="13"/>
                    <a:pt x="212" y="13"/>
                    <a:pt x="212" y="13"/>
                  </a:cubicBezTo>
                  <a:cubicBezTo>
                    <a:pt x="212" y="6"/>
                    <a:pt x="206" y="0"/>
                    <a:pt x="198" y="0"/>
                  </a:cubicBezTo>
                  <a:close/>
                  <a:moveTo>
                    <a:pt x="66" y="118"/>
                  </a:moveTo>
                  <a:cubicBezTo>
                    <a:pt x="66" y="126"/>
                    <a:pt x="60" y="132"/>
                    <a:pt x="53" y="132"/>
                  </a:cubicBezTo>
                  <a:cubicBezTo>
                    <a:pt x="46" y="132"/>
                    <a:pt x="40" y="126"/>
                    <a:pt x="40" y="118"/>
                  </a:cubicBezTo>
                  <a:cubicBezTo>
                    <a:pt x="40" y="66"/>
                    <a:pt x="40" y="66"/>
                    <a:pt x="40" y="66"/>
                  </a:cubicBezTo>
                  <a:cubicBezTo>
                    <a:pt x="40" y="58"/>
                    <a:pt x="46" y="52"/>
                    <a:pt x="53" y="52"/>
                  </a:cubicBezTo>
                  <a:cubicBezTo>
                    <a:pt x="60" y="52"/>
                    <a:pt x="66" y="58"/>
                    <a:pt x="66" y="66"/>
                  </a:cubicBezTo>
                  <a:lnTo>
                    <a:pt x="66" y="118"/>
                  </a:lnTo>
                  <a:close/>
                  <a:moveTo>
                    <a:pt x="119" y="118"/>
                  </a:moveTo>
                  <a:cubicBezTo>
                    <a:pt x="119" y="126"/>
                    <a:pt x="113" y="132"/>
                    <a:pt x="106" y="132"/>
                  </a:cubicBezTo>
                  <a:cubicBezTo>
                    <a:pt x="99" y="132"/>
                    <a:pt x="93" y="126"/>
                    <a:pt x="93" y="118"/>
                  </a:cubicBezTo>
                  <a:cubicBezTo>
                    <a:pt x="93" y="79"/>
                    <a:pt x="93" y="79"/>
                    <a:pt x="93" y="79"/>
                  </a:cubicBezTo>
                  <a:cubicBezTo>
                    <a:pt x="93" y="72"/>
                    <a:pt x="99" y="66"/>
                    <a:pt x="106" y="66"/>
                  </a:cubicBezTo>
                  <a:cubicBezTo>
                    <a:pt x="113" y="66"/>
                    <a:pt x="119" y="72"/>
                    <a:pt x="119" y="79"/>
                  </a:cubicBezTo>
                  <a:lnTo>
                    <a:pt x="119" y="118"/>
                  </a:lnTo>
                  <a:close/>
                  <a:moveTo>
                    <a:pt x="172" y="118"/>
                  </a:moveTo>
                  <a:cubicBezTo>
                    <a:pt x="172" y="126"/>
                    <a:pt x="166" y="132"/>
                    <a:pt x="159" y="132"/>
                  </a:cubicBezTo>
                  <a:cubicBezTo>
                    <a:pt x="152" y="132"/>
                    <a:pt x="146" y="126"/>
                    <a:pt x="146" y="118"/>
                  </a:cubicBezTo>
                  <a:cubicBezTo>
                    <a:pt x="146" y="52"/>
                    <a:pt x="146" y="52"/>
                    <a:pt x="146" y="52"/>
                  </a:cubicBezTo>
                  <a:cubicBezTo>
                    <a:pt x="146" y="45"/>
                    <a:pt x="152" y="39"/>
                    <a:pt x="159" y="39"/>
                  </a:cubicBezTo>
                  <a:cubicBezTo>
                    <a:pt x="166" y="39"/>
                    <a:pt x="172" y="45"/>
                    <a:pt x="172" y="52"/>
                  </a:cubicBezTo>
                  <a:lnTo>
                    <a:pt x="172" y="11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Inter"/>
                <a:ea typeface="+mn-ea"/>
                <a:cs typeface="+mn-cs"/>
              </a:endParaRPr>
            </a:p>
          </p:txBody>
        </p:sp>
        <p:sp>
          <p:nvSpPr>
            <p:cNvPr id="31" name="Freeform 45">
              <a:extLst>
                <a:ext uri="{FF2B5EF4-FFF2-40B4-BE49-F238E27FC236}">
                  <a16:creationId xmlns:a16="http://schemas.microsoft.com/office/drawing/2014/main" id="{FE80036A-6AF1-458C-AA0C-67B60133EB5D}"/>
                </a:ext>
              </a:extLst>
            </p:cNvPr>
            <p:cNvSpPr>
              <a:spLocks noEditPoints="1"/>
            </p:cNvSpPr>
            <p:nvPr/>
          </p:nvSpPr>
          <p:spPr bwMode="auto">
            <a:xfrm>
              <a:off x="6115" y="2068"/>
              <a:ext cx="232" cy="214"/>
            </a:xfrm>
            <a:custGeom>
              <a:avLst/>
              <a:gdLst>
                <a:gd name="T0" fmla="*/ 40 w 110"/>
                <a:gd name="T1" fmla="*/ 0 h 102"/>
                <a:gd name="T2" fmla="*/ 39 w 110"/>
                <a:gd name="T3" fmla="*/ 0 h 102"/>
                <a:gd name="T4" fmla="*/ 40 w 110"/>
                <a:gd name="T5" fmla="*/ 0 h 102"/>
                <a:gd name="T6" fmla="*/ 106 w 110"/>
                <a:gd name="T7" fmla="*/ 82 h 102"/>
                <a:gd name="T8" fmla="*/ 65 w 110"/>
                <a:gd name="T9" fmla="*/ 41 h 102"/>
                <a:gd name="T10" fmla="*/ 65 w 110"/>
                <a:gd name="T11" fmla="*/ 25 h 102"/>
                <a:gd name="T12" fmla="*/ 55 w 110"/>
                <a:gd name="T13" fmla="*/ 15 h 102"/>
                <a:gd name="T14" fmla="*/ 45 w 110"/>
                <a:gd name="T15" fmla="*/ 25 h 102"/>
                <a:gd name="T16" fmla="*/ 45 w 110"/>
                <a:gd name="T17" fmla="*/ 41 h 102"/>
                <a:gd name="T18" fmla="*/ 4 w 110"/>
                <a:gd name="T19" fmla="*/ 82 h 102"/>
                <a:gd name="T20" fmla="*/ 4 w 110"/>
                <a:gd name="T21" fmla="*/ 96 h 102"/>
                <a:gd name="T22" fmla="*/ 11 w 110"/>
                <a:gd name="T23" fmla="*/ 99 h 102"/>
                <a:gd name="T24" fmla="*/ 18 w 110"/>
                <a:gd name="T25" fmla="*/ 96 h 102"/>
                <a:gd name="T26" fmla="*/ 45 w 110"/>
                <a:gd name="T27" fmla="*/ 69 h 102"/>
                <a:gd name="T28" fmla="*/ 45 w 110"/>
                <a:gd name="T29" fmla="*/ 92 h 102"/>
                <a:gd name="T30" fmla="*/ 55 w 110"/>
                <a:gd name="T31" fmla="*/ 102 h 102"/>
                <a:gd name="T32" fmla="*/ 65 w 110"/>
                <a:gd name="T33" fmla="*/ 92 h 102"/>
                <a:gd name="T34" fmla="*/ 65 w 110"/>
                <a:gd name="T35" fmla="*/ 69 h 102"/>
                <a:gd name="T36" fmla="*/ 92 w 110"/>
                <a:gd name="T37" fmla="*/ 96 h 102"/>
                <a:gd name="T38" fmla="*/ 99 w 110"/>
                <a:gd name="T39" fmla="*/ 99 h 102"/>
                <a:gd name="T40" fmla="*/ 106 w 110"/>
                <a:gd name="T41" fmla="*/ 96 h 102"/>
                <a:gd name="T42" fmla="*/ 106 w 110"/>
                <a:gd name="T43" fmla="*/ 82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10" h="102">
                  <a:moveTo>
                    <a:pt x="40" y="0"/>
                  </a:moveTo>
                  <a:cubicBezTo>
                    <a:pt x="39" y="0"/>
                    <a:pt x="39" y="0"/>
                    <a:pt x="39" y="0"/>
                  </a:cubicBezTo>
                  <a:cubicBezTo>
                    <a:pt x="40" y="0"/>
                    <a:pt x="40" y="0"/>
                    <a:pt x="40" y="0"/>
                  </a:cubicBezTo>
                  <a:close/>
                  <a:moveTo>
                    <a:pt x="106" y="82"/>
                  </a:moveTo>
                  <a:cubicBezTo>
                    <a:pt x="65" y="41"/>
                    <a:pt x="65" y="41"/>
                    <a:pt x="65" y="41"/>
                  </a:cubicBezTo>
                  <a:cubicBezTo>
                    <a:pt x="65" y="25"/>
                    <a:pt x="65" y="25"/>
                    <a:pt x="65" y="25"/>
                  </a:cubicBezTo>
                  <a:cubicBezTo>
                    <a:pt x="65" y="20"/>
                    <a:pt x="60" y="15"/>
                    <a:pt x="55" y="15"/>
                  </a:cubicBezTo>
                  <a:cubicBezTo>
                    <a:pt x="50" y="15"/>
                    <a:pt x="45" y="20"/>
                    <a:pt x="45" y="25"/>
                  </a:cubicBezTo>
                  <a:cubicBezTo>
                    <a:pt x="45" y="41"/>
                    <a:pt x="45" y="41"/>
                    <a:pt x="45" y="41"/>
                  </a:cubicBezTo>
                  <a:cubicBezTo>
                    <a:pt x="4" y="82"/>
                    <a:pt x="4" y="82"/>
                    <a:pt x="4" y="82"/>
                  </a:cubicBezTo>
                  <a:cubicBezTo>
                    <a:pt x="0" y="86"/>
                    <a:pt x="0" y="92"/>
                    <a:pt x="4" y="96"/>
                  </a:cubicBezTo>
                  <a:cubicBezTo>
                    <a:pt x="6" y="98"/>
                    <a:pt x="8" y="99"/>
                    <a:pt x="11" y="99"/>
                  </a:cubicBezTo>
                  <a:cubicBezTo>
                    <a:pt x="13" y="99"/>
                    <a:pt x="16" y="98"/>
                    <a:pt x="18" y="96"/>
                  </a:cubicBezTo>
                  <a:cubicBezTo>
                    <a:pt x="45" y="69"/>
                    <a:pt x="45" y="69"/>
                    <a:pt x="45" y="69"/>
                  </a:cubicBezTo>
                  <a:cubicBezTo>
                    <a:pt x="45" y="92"/>
                    <a:pt x="45" y="92"/>
                    <a:pt x="45" y="92"/>
                  </a:cubicBezTo>
                  <a:cubicBezTo>
                    <a:pt x="45" y="98"/>
                    <a:pt x="50" y="102"/>
                    <a:pt x="55" y="102"/>
                  </a:cubicBezTo>
                  <a:cubicBezTo>
                    <a:pt x="60" y="102"/>
                    <a:pt x="65" y="98"/>
                    <a:pt x="65" y="92"/>
                  </a:cubicBezTo>
                  <a:cubicBezTo>
                    <a:pt x="65" y="69"/>
                    <a:pt x="65" y="69"/>
                    <a:pt x="65" y="69"/>
                  </a:cubicBezTo>
                  <a:cubicBezTo>
                    <a:pt x="92" y="96"/>
                    <a:pt x="92" y="96"/>
                    <a:pt x="92" y="96"/>
                  </a:cubicBezTo>
                  <a:cubicBezTo>
                    <a:pt x="94" y="98"/>
                    <a:pt x="97" y="99"/>
                    <a:pt x="99" y="99"/>
                  </a:cubicBezTo>
                  <a:cubicBezTo>
                    <a:pt x="102" y="99"/>
                    <a:pt x="104" y="98"/>
                    <a:pt x="106" y="96"/>
                  </a:cubicBezTo>
                  <a:cubicBezTo>
                    <a:pt x="110" y="92"/>
                    <a:pt x="110" y="86"/>
                    <a:pt x="106" y="8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Inter"/>
                <a:ea typeface="+mn-ea"/>
                <a:cs typeface="+mn-cs"/>
              </a:endParaRPr>
            </a:p>
          </p:txBody>
        </p:sp>
      </p:grpSp>
      <p:grpSp>
        <p:nvGrpSpPr>
          <p:cNvPr id="32" name="Group 22">
            <a:extLst>
              <a:ext uri="{FF2B5EF4-FFF2-40B4-BE49-F238E27FC236}">
                <a16:creationId xmlns:a16="http://schemas.microsoft.com/office/drawing/2014/main" id="{33654497-B38C-43B1-AED5-176E7D41C972}"/>
              </a:ext>
            </a:extLst>
          </p:cNvPr>
          <p:cNvGrpSpPr>
            <a:grpSpLocks noChangeAspect="1"/>
          </p:cNvGrpSpPr>
          <p:nvPr/>
        </p:nvGrpSpPr>
        <p:grpSpPr bwMode="auto">
          <a:xfrm>
            <a:off x="4709933" y="4248632"/>
            <a:ext cx="319033" cy="290900"/>
            <a:chOff x="6115" y="1873"/>
            <a:chExt cx="533" cy="486"/>
          </a:xfrm>
        </p:grpSpPr>
        <p:sp>
          <p:nvSpPr>
            <p:cNvPr id="33" name="Freeform 23">
              <a:extLst>
                <a:ext uri="{FF2B5EF4-FFF2-40B4-BE49-F238E27FC236}">
                  <a16:creationId xmlns:a16="http://schemas.microsoft.com/office/drawing/2014/main" id="{8BEBDDF6-0EDE-4973-A786-A43F77C8CFC2}"/>
                </a:ext>
              </a:extLst>
            </p:cNvPr>
            <p:cNvSpPr>
              <a:spLocks noEditPoints="1"/>
            </p:cNvSpPr>
            <p:nvPr/>
          </p:nvSpPr>
          <p:spPr bwMode="auto">
            <a:xfrm>
              <a:off x="6266" y="1873"/>
              <a:ext cx="336" cy="335"/>
            </a:xfrm>
            <a:custGeom>
              <a:avLst/>
              <a:gdLst>
                <a:gd name="T0" fmla="*/ 62 w 160"/>
                <a:gd name="T1" fmla="*/ 6 h 160"/>
                <a:gd name="T2" fmla="*/ 44 w 160"/>
                <a:gd name="T3" fmla="*/ 5 h 160"/>
                <a:gd name="T4" fmla="*/ 5 w 160"/>
                <a:gd name="T5" fmla="*/ 44 h 160"/>
                <a:gd name="T6" fmla="*/ 6 w 160"/>
                <a:gd name="T7" fmla="*/ 62 h 160"/>
                <a:gd name="T8" fmla="*/ 9 w 160"/>
                <a:gd name="T9" fmla="*/ 65 h 160"/>
                <a:gd name="T10" fmla="*/ 16 w 160"/>
                <a:gd name="T11" fmla="*/ 63 h 160"/>
                <a:gd name="T12" fmla="*/ 63 w 160"/>
                <a:gd name="T13" fmla="*/ 16 h 160"/>
                <a:gd name="T14" fmla="*/ 64 w 160"/>
                <a:gd name="T15" fmla="*/ 9 h 160"/>
                <a:gd name="T16" fmla="*/ 62 w 160"/>
                <a:gd name="T17" fmla="*/ 6 h 160"/>
                <a:gd name="T18" fmla="*/ 154 w 160"/>
                <a:gd name="T19" fmla="*/ 99 h 160"/>
                <a:gd name="T20" fmla="*/ 152 w 160"/>
                <a:gd name="T21" fmla="*/ 96 h 160"/>
                <a:gd name="T22" fmla="*/ 144 w 160"/>
                <a:gd name="T23" fmla="*/ 98 h 160"/>
                <a:gd name="T24" fmla="*/ 98 w 160"/>
                <a:gd name="T25" fmla="*/ 144 h 160"/>
                <a:gd name="T26" fmla="*/ 96 w 160"/>
                <a:gd name="T27" fmla="*/ 152 h 160"/>
                <a:gd name="T28" fmla="*/ 99 w 160"/>
                <a:gd name="T29" fmla="*/ 154 h 160"/>
                <a:gd name="T30" fmla="*/ 116 w 160"/>
                <a:gd name="T31" fmla="*/ 156 h 160"/>
                <a:gd name="T32" fmla="*/ 156 w 160"/>
                <a:gd name="T33" fmla="*/ 116 h 160"/>
                <a:gd name="T34" fmla="*/ 154 w 160"/>
                <a:gd name="T35" fmla="*/ 99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60" h="160">
                  <a:moveTo>
                    <a:pt x="62" y="6"/>
                  </a:moveTo>
                  <a:cubicBezTo>
                    <a:pt x="56" y="1"/>
                    <a:pt x="49" y="0"/>
                    <a:pt x="44" y="5"/>
                  </a:cubicBezTo>
                  <a:cubicBezTo>
                    <a:pt x="5" y="44"/>
                    <a:pt x="5" y="44"/>
                    <a:pt x="5" y="44"/>
                  </a:cubicBezTo>
                  <a:cubicBezTo>
                    <a:pt x="0" y="49"/>
                    <a:pt x="1" y="56"/>
                    <a:pt x="6" y="62"/>
                  </a:cubicBezTo>
                  <a:cubicBezTo>
                    <a:pt x="6" y="62"/>
                    <a:pt x="7" y="63"/>
                    <a:pt x="9" y="65"/>
                  </a:cubicBezTo>
                  <a:cubicBezTo>
                    <a:pt x="10" y="66"/>
                    <a:pt x="14" y="65"/>
                    <a:pt x="16" y="63"/>
                  </a:cubicBezTo>
                  <a:cubicBezTo>
                    <a:pt x="63" y="16"/>
                    <a:pt x="63" y="16"/>
                    <a:pt x="63" y="16"/>
                  </a:cubicBezTo>
                  <a:cubicBezTo>
                    <a:pt x="65" y="14"/>
                    <a:pt x="66" y="10"/>
                    <a:pt x="64" y="9"/>
                  </a:cubicBezTo>
                  <a:lnTo>
                    <a:pt x="62" y="6"/>
                  </a:lnTo>
                  <a:close/>
                  <a:moveTo>
                    <a:pt x="154" y="99"/>
                  </a:moveTo>
                  <a:cubicBezTo>
                    <a:pt x="154" y="99"/>
                    <a:pt x="153" y="97"/>
                    <a:pt x="152" y="96"/>
                  </a:cubicBezTo>
                  <a:cubicBezTo>
                    <a:pt x="150" y="94"/>
                    <a:pt x="147" y="95"/>
                    <a:pt x="144" y="98"/>
                  </a:cubicBezTo>
                  <a:cubicBezTo>
                    <a:pt x="98" y="144"/>
                    <a:pt x="98" y="144"/>
                    <a:pt x="98" y="144"/>
                  </a:cubicBezTo>
                  <a:cubicBezTo>
                    <a:pt x="95" y="147"/>
                    <a:pt x="94" y="150"/>
                    <a:pt x="96" y="152"/>
                  </a:cubicBezTo>
                  <a:cubicBezTo>
                    <a:pt x="99" y="154"/>
                    <a:pt x="99" y="154"/>
                    <a:pt x="99" y="154"/>
                  </a:cubicBezTo>
                  <a:cubicBezTo>
                    <a:pt x="104" y="160"/>
                    <a:pt x="112" y="160"/>
                    <a:pt x="116" y="156"/>
                  </a:cubicBezTo>
                  <a:cubicBezTo>
                    <a:pt x="156" y="116"/>
                    <a:pt x="156" y="116"/>
                    <a:pt x="156" y="116"/>
                  </a:cubicBezTo>
                  <a:cubicBezTo>
                    <a:pt x="160" y="112"/>
                    <a:pt x="160" y="104"/>
                    <a:pt x="154" y="9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Inter"/>
                <a:ea typeface="+mn-ea"/>
                <a:cs typeface="+mn-cs"/>
              </a:endParaRPr>
            </a:p>
          </p:txBody>
        </p:sp>
        <p:sp>
          <p:nvSpPr>
            <p:cNvPr id="34" name="Freeform 24">
              <a:extLst>
                <a:ext uri="{FF2B5EF4-FFF2-40B4-BE49-F238E27FC236}">
                  <a16:creationId xmlns:a16="http://schemas.microsoft.com/office/drawing/2014/main" id="{A155418B-B288-4028-AFBA-A91242F3460D}"/>
                </a:ext>
              </a:extLst>
            </p:cNvPr>
            <p:cNvSpPr>
              <a:spLocks noEditPoints="1"/>
            </p:cNvSpPr>
            <p:nvPr/>
          </p:nvSpPr>
          <p:spPr bwMode="auto">
            <a:xfrm>
              <a:off x="6115" y="1915"/>
              <a:ext cx="533" cy="444"/>
            </a:xfrm>
            <a:custGeom>
              <a:avLst/>
              <a:gdLst>
                <a:gd name="T0" fmla="*/ 241 w 254"/>
                <a:gd name="T1" fmla="*/ 182 h 212"/>
                <a:gd name="T2" fmla="*/ 123 w 254"/>
                <a:gd name="T3" fmla="*/ 182 h 212"/>
                <a:gd name="T4" fmla="*/ 110 w 254"/>
                <a:gd name="T5" fmla="*/ 195 h 212"/>
                <a:gd name="T6" fmla="*/ 110 w 254"/>
                <a:gd name="T7" fmla="*/ 204 h 212"/>
                <a:gd name="T8" fmla="*/ 113 w 254"/>
                <a:gd name="T9" fmla="*/ 208 h 212"/>
                <a:gd name="T10" fmla="*/ 251 w 254"/>
                <a:gd name="T11" fmla="*/ 208 h 212"/>
                <a:gd name="T12" fmla="*/ 254 w 254"/>
                <a:gd name="T13" fmla="*/ 204 h 212"/>
                <a:gd name="T14" fmla="*/ 254 w 254"/>
                <a:gd name="T15" fmla="*/ 195 h 212"/>
                <a:gd name="T16" fmla="*/ 241 w 254"/>
                <a:gd name="T17" fmla="*/ 182 h 212"/>
                <a:gd name="T18" fmla="*/ 134 w 254"/>
                <a:gd name="T19" fmla="*/ 116 h 212"/>
                <a:gd name="T20" fmla="*/ 138 w 254"/>
                <a:gd name="T21" fmla="*/ 111 h 212"/>
                <a:gd name="T22" fmla="*/ 146 w 254"/>
                <a:gd name="T23" fmla="*/ 119 h 212"/>
                <a:gd name="T24" fmla="*/ 151 w 254"/>
                <a:gd name="T25" fmla="*/ 119 h 212"/>
                <a:gd name="T26" fmla="*/ 211 w 254"/>
                <a:gd name="T27" fmla="*/ 59 h 212"/>
                <a:gd name="T28" fmla="*/ 211 w 254"/>
                <a:gd name="T29" fmla="*/ 54 h 212"/>
                <a:gd name="T30" fmla="*/ 158 w 254"/>
                <a:gd name="T31" fmla="*/ 1 h 212"/>
                <a:gd name="T32" fmla="*/ 153 w 254"/>
                <a:gd name="T33" fmla="*/ 1 h 212"/>
                <a:gd name="T34" fmla="*/ 93 w 254"/>
                <a:gd name="T35" fmla="*/ 61 h 212"/>
                <a:gd name="T36" fmla="*/ 93 w 254"/>
                <a:gd name="T37" fmla="*/ 66 h 212"/>
                <a:gd name="T38" fmla="*/ 101 w 254"/>
                <a:gd name="T39" fmla="*/ 74 h 212"/>
                <a:gd name="T40" fmla="*/ 96 w 254"/>
                <a:gd name="T41" fmla="*/ 79 h 212"/>
                <a:gd name="T42" fmla="*/ 96 w 254"/>
                <a:gd name="T43" fmla="*/ 97 h 212"/>
                <a:gd name="T44" fmla="*/ 90 w 254"/>
                <a:gd name="T45" fmla="*/ 104 h 212"/>
                <a:gd name="T46" fmla="*/ 50 w 254"/>
                <a:gd name="T47" fmla="*/ 136 h 212"/>
                <a:gd name="T48" fmla="*/ 28 w 254"/>
                <a:gd name="T49" fmla="*/ 154 h 212"/>
                <a:gd name="T50" fmla="*/ 8 w 254"/>
                <a:gd name="T51" fmla="*/ 204 h 212"/>
                <a:gd name="T52" fmla="*/ 58 w 254"/>
                <a:gd name="T53" fmla="*/ 184 h 212"/>
                <a:gd name="T54" fmla="*/ 76 w 254"/>
                <a:gd name="T55" fmla="*/ 162 h 212"/>
                <a:gd name="T56" fmla="*/ 109 w 254"/>
                <a:gd name="T57" fmla="*/ 122 h 212"/>
                <a:gd name="T58" fmla="*/ 115 w 254"/>
                <a:gd name="T59" fmla="*/ 116 h 212"/>
                <a:gd name="T60" fmla="*/ 134 w 254"/>
                <a:gd name="T61" fmla="*/ 116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54" h="212">
                  <a:moveTo>
                    <a:pt x="241" y="182"/>
                  </a:moveTo>
                  <a:cubicBezTo>
                    <a:pt x="123" y="182"/>
                    <a:pt x="123" y="182"/>
                    <a:pt x="123" y="182"/>
                  </a:cubicBezTo>
                  <a:cubicBezTo>
                    <a:pt x="115" y="182"/>
                    <a:pt x="110" y="187"/>
                    <a:pt x="110" y="195"/>
                  </a:cubicBezTo>
                  <a:cubicBezTo>
                    <a:pt x="110" y="204"/>
                    <a:pt x="110" y="204"/>
                    <a:pt x="110" y="204"/>
                  </a:cubicBezTo>
                  <a:cubicBezTo>
                    <a:pt x="110" y="206"/>
                    <a:pt x="111" y="208"/>
                    <a:pt x="113" y="208"/>
                  </a:cubicBezTo>
                  <a:cubicBezTo>
                    <a:pt x="251" y="208"/>
                    <a:pt x="251" y="208"/>
                    <a:pt x="251" y="208"/>
                  </a:cubicBezTo>
                  <a:cubicBezTo>
                    <a:pt x="253" y="208"/>
                    <a:pt x="254" y="206"/>
                    <a:pt x="254" y="204"/>
                  </a:cubicBezTo>
                  <a:cubicBezTo>
                    <a:pt x="254" y="195"/>
                    <a:pt x="254" y="195"/>
                    <a:pt x="254" y="195"/>
                  </a:cubicBezTo>
                  <a:cubicBezTo>
                    <a:pt x="254" y="187"/>
                    <a:pt x="248" y="182"/>
                    <a:pt x="241" y="182"/>
                  </a:cubicBezTo>
                  <a:close/>
                  <a:moveTo>
                    <a:pt x="134" y="116"/>
                  </a:moveTo>
                  <a:cubicBezTo>
                    <a:pt x="138" y="111"/>
                    <a:pt x="138" y="111"/>
                    <a:pt x="138" y="111"/>
                  </a:cubicBezTo>
                  <a:cubicBezTo>
                    <a:pt x="146" y="119"/>
                    <a:pt x="146" y="119"/>
                    <a:pt x="146" y="119"/>
                  </a:cubicBezTo>
                  <a:cubicBezTo>
                    <a:pt x="148" y="121"/>
                    <a:pt x="150" y="121"/>
                    <a:pt x="151" y="119"/>
                  </a:cubicBezTo>
                  <a:cubicBezTo>
                    <a:pt x="211" y="59"/>
                    <a:pt x="211" y="59"/>
                    <a:pt x="211" y="59"/>
                  </a:cubicBezTo>
                  <a:cubicBezTo>
                    <a:pt x="213" y="58"/>
                    <a:pt x="213" y="56"/>
                    <a:pt x="211" y="54"/>
                  </a:cubicBezTo>
                  <a:cubicBezTo>
                    <a:pt x="158" y="1"/>
                    <a:pt x="158" y="1"/>
                    <a:pt x="158" y="1"/>
                  </a:cubicBezTo>
                  <a:cubicBezTo>
                    <a:pt x="157" y="0"/>
                    <a:pt x="155" y="0"/>
                    <a:pt x="153" y="1"/>
                  </a:cubicBezTo>
                  <a:cubicBezTo>
                    <a:pt x="93" y="61"/>
                    <a:pt x="93" y="61"/>
                    <a:pt x="93" y="61"/>
                  </a:cubicBezTo>
                  <a:cubicBezTo>
                    <a:pt x="92" y="63"/>
                    <a:pt x="92" y="65"/>
                    <a:pt x="93" y="66"/>
                  </a:cubicBezTo>
                  <a:cubicBezTo>
                    <a:pt x="101" y="74"/>
                    <a:pt x="101" y="74"/>
                    <a:pt x="101" y="74"/>
                  </a:cubicBezTo>
                  <a:cubicBezTo>
                    <a:pt x="96" y="79"/>
                    <a:pt x="96" y="79"/>
                    <a:pt x="96" y="79"/>
                  </a:cubicBezTo>
                  <a:cubicBezTo>
                    <a:pt x="91" y="84"/>
                    <a:pt x="91" y="92"/>
                    <a:pt x="96" y="97"/>
                  </a:cubicBezTo>
                  <a:cubicBezTo>
                    <a:pt x="90" y="104"/>
                    <a:pt x="90" y="104"/>
                    <a:pt x="90" y="104"/>
                  </a:cubicBezTo>
                  <a:cubicBezTo>
                    <a:pt x="78" y="116"/>
                    <a:pt x="64" y="126"/>
                    <a:pt x="50" y="136"/>
                  </a:cubicBezTo>
                  <a:cubicBezTo>
                    <a:pt x="43" y="141"/>
                    <a:pt x="35" y="148"/>
                    <a:pt x="28" y="154"/>
                  </a:cubicBezTo>
                  <a:cubicBezTo>
                    <a:pt x="7" y="176"/>
                    <a:pt x="0" y="196"/>
                    <a:pt x="8" y="204"/>
                  </a:cubicBezTo>
                  <a:cubicBezTo>
                    <a:pt x="16" y="212"/>
                    <a:pt x="36" y="206"/>
                    <a:pt x="58" y="184"/>
                  </a:cubicBezTo>
                  <a:cubicBezTo>
                    <a:pt x="65" y="177"/>
                    <a:pt x="71" y="170"/>
                    <a:pt x="76" y="162"/>
                  </a:cubicBezTo>
                  <a:cubicBezTo>
                    <a:pt x="86" y="148"/>
                    <a:pt x="96" y="134"/>
                    <a:pt x="109" y="122"/>
                  </a:cubicBezTo>
                  <a:cubicBezTo>
                    <a:pt x="115" y="116"/>
                    <a:pt x="115" y="116"/>
                    <a:pt x="115" y="116"/>
                  </a:cubicBezTo>
                  <a:cubicBezTo>
                    <a:pt x="120" y="121"/>
                    <a:pt x="128" y="121"/>
                    <a:pt x="134" y="11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Inter"/>
                <a:ea typeface="+mn-ea"/>
                <a:cs typeface="+mn-cs"/>
              </a:endParaRPr>
            </a:p>
          </p:txBody>
        </p:sp>
      </p:grpSp>
      <p:grpSp>
        <p:nvGrpSpPr>
          <p:cNvPr id="35" name="Group 12">
            <a:extLst>
              <a:ext uri="{FF2B5EF4-FFF2-40B4-BE49-F238E27FC236}">
                <a16:creationId xmlns:a16="http://schemas.microsoft.com/office/drawing/2014/main" id="{F169BAC2-E6C3-486A-B826-38CB438C5922}"/>
              </a:ext>
            </a:extLst>
          </p:cNvPr>
          <p:cNvGrpSpPr>
            <a:grpSpLocks noChangeAspect="1"/>
          </p:cNvGrpSpPr>
          <p:nvPr/>
        </p:nvGrpSpPr>
        <p:grpSpPr bwMode="auto">
          <a:xfrm>
            <a:off x="3998727" y="5350863"/>
            <a:ext cx="382418" cy="260536"/>
            <a:chOff x="4909" y="2490"/>
            <a:chExt cx="684" cy="466"/>
          </a:xfrm>
        </p:grpSpPr>
        <p:sp>
          <p:nvSpPr>
            <p:cNvPr id="36" name="Freeform 13">
              <a:extLst>
                <a:ext uri="{FF2B5EF4-FFF2-40B4-BE49-F238E27FC236}">
                  <a16:creationId xmlns:a16="http://schemas.microsoft.com/office/drawing/2014/main" id="{33190433-6DE6-4251-AD4E-7534EFE795F4}"/>
                </a:ext>
              </a:extLst>
            </p:cNvPr>
            <p:cNvSpPr>
              <a:spLocks noEditPoints="1"/>
            </p:cNvSpPr>
            <p:nvPr/>
          </p:nvSpPr>
          <p:spPr bwMode="auto">
            <a:xfrm>
              <a:off x="4909" y="2490"/>
              <a:ext cx="684" cy="231"/>
            </a:xfrm>
            <a:custGeom>
              <a:avLst/>
              <a:gdLst>
                <a:gd name="T0" fmla="*/ 326 w 327"/>
                <a:gd name="T1" fmla="*/ 65 h 110"/>
                <a:gd name="T2" fmla="*/ 266 w 327"/>
                <a:gd name="T3" fmla="*/ 1 h 110"/>
                <a:gd name="T4" fmla="*/ 261 w 327"/>
                <a:gd name="T5" fmla="*/ 1 h 110"/>
                <a:gd name="T6" fmla="*/ 236 w 327"/>
                <a:gd name="T7" fmla="*/ 25 h 110"/>
                <a:gd name="T8" fmla="*/ 235 w 327"/>
                <a:gd name="T9" fmla="*/ 30 h 110"/>
                <a:gd name="T10" fmla="*/ 295 w 327"/>
                <a:gd name="T11" fmla="*/ 93 h 110"/>
                <a:gd name="T12" fmla="*/ 300 w 327"/>
                <a:gd name="T13" fmla="*/ 94 h 110"/>
                <a:gd name="T14" fmla="*/ 325 w 327"/>
                <a:gd name="T15" fmla="*/ 70 h 110"/>
                <a:gd name="T16" fmla="*/ 326 w 327"/>
                <a:gd name="T17" fmla="*/ 65 h 110"/>
                <a:gd name="T18" fmla="*/ 304 w 327"/>
                <a:gd name="T19" fmla="*/ 72 h 110"/>
                <a:gd name="T20" fmla="*/ 293 w 327"/>
                <a:gd name="T21" fmla="*/ 72 h 110"/>
                <a:gd name="T22" fmla="*/ 293 w 327"/>
                <a:gd name="T23" fmla="*/ 61 h 110"/>
                <a:gd name="T24" fmla="*/ 304 w 327"/>
                <a:gd name="T25" fmla="*/ 61 h 110"/>
                <a:gd name="T26" fmla="*/ 304 w 327"/>
                <a:gd name="T27" fmla="*/ 72 h 110"/>
                <a:gd name="T28" fmla="*/ 62 w 327"/>
                <a:gd name="T29" fmla="*/ 10 h 110"/>
                <a:gd name="T30" fmla="*/ 57 w 327"/>
                <a:gd name="T31" fmla="*/ 11 h 110"/>
                <a:gd name="T32" fmla="*/ 2 w 327"/>
                <a:gd name="T33" fmla="*/ 82 h 110"/>
                <a:gd name="T34" fmla="*/ 2 w 327"/>
                <a:gd name="T35" fmla="*/ 87 h 110"/>
                <a:gd name="T36" fmla="*/ 30 w 327"/>
                <a:gd name="T37" fmla="*/ 109 h 110"/>
                <a:gd name="T38" fmla="*/ 35 w 327"/>
                <a:gd name="T39" fmla="*/ 108 h 110"/>
                <a:gd name="T40" fmla="*/ 91 w 327"/>
                <a:gd name="T41" fmla="*/ 36 h 110"/>
                <a:gd name="T42" fmla="*/ 90 w 327"/>
                <a:gd name="T43" fmla="*/ 31 h 110"/>
                <a:gd name="T44" fmla="*/ 62 w 327"/>
                <a:gd name="T45" fmla="*/ 10 h 110"/>
                <a:gd name="T46" fmla="*/ 36 w 327"/>
                <a:gd name="T47" fmla="*/ 85 h 110"/>
                <a:gd name="T48" fmla="*/ 25 w 327"/>
                <a:gd name="T49" fmla="*/ 86 h 110"/>
                <a:gd name="T50" fmla="*/ 24 w 327"/>
                <a:gd name="T51" fmla="*/ 75 h 110"/>
                <a:gd name="T52" fmla="*/ 35 w 327"/>
                <a:gd name="T53" fmla="*/ 74 h 110"/>
                <a:gd name="T54" fmla="*/ 36 w 327"/>
                <a:gd name="T55" fmla="*/ 85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27" h="110">
                  <a:moveTo>
                    <a:pt x="326" y="65"/>
                  </a:moveTo>
                  <a:cubicBezTo>
                    <a:pt x="266" y="1"/>
                    <a:pt x="266" y="1"/>
                    <a:pt x="266" y="1"/>
                  </a:cubicBezTo>
                  <a:cubicBezTo>
                    <a:pt x="264" y="0"/>
                    <a:pt x="262" y="0"/>
                    <a:pt x="261" y="1"/>
                  </a:cubicBezTo>
                  <a:cubicBezTo>
                    <a:pt x="236" y="25"/>
                    <a:pt x="236" y="25"/>
                    <a:pt x="236" y="25"/>
                  </a:cubicBezTo>
                  <a:cubicBezTo>
                    <a:pt x="234" y="26"/>
                    <a:pt x="234" y="28"/>
                    <a:pt x="235" y="30"/>
                  </a:cubicBezTo>
                  <a:cubicBezTo>
                    <a:pt x="295" y="93"/>
                    <a:pt x="295" y="93"/>
                    <a:pt x="295" y="93"/>
                  </a:cubicBezTo>
                  <a:cubicBezTo>
                    <a:pt x="297" y="95"/>
                    <a:pt x="299" y="95"/>
                    <a:pt x="300" y="94"/>
                  </a:cubicBezTo>
                  <a:cubicBezTo>
                    <a:pt x="325" y="70"/>
                    <a:pt x="325" y="70"/>
                    <a:pt x="325" y="70"/>
                  </a:cubicBezTo>
                  <a:cubicBezTo>
                    <a:pt x="327" y="68"/>
                    <a:pt x="327" y="66"/>
                    <a:pt x="326" y="65"/>
                  </a:cubicBezTo>
                  <a:close/>
                  <a:moveTo>
                    <a:pt x="304" y="72"/>
                  </a:moveTo>
                  <a:cubicBezTo>
                    <a:pt x="301" y="75"/>
                    <a:pt x="296" y="75"/>
                    <a:pt x="293" y="72"/>
                  </a:cubicBezTo>
                  <a:cubicBezTo>
                    <a:pt x="290" y="68"/>
                    <a:pt x="290" y="64"/>
                    <a:pt x="293" y="61"/>
                  </a:cubicBezTo>
                  <a:cubicBezTo>
                    <a:pt x="296" y="58"/>
                    <a:pt x="301" y="58"/>
                    <a:pt x="304" y="61"/>
                  </a:cubicBezTo>
                  <a:cubicBezTo>
                    <a:pt x="307" y="64"/>
                    <a:pt x="307" y="69"/>
                    <a:pt x="304" y="72"/>
                  </a:cubicBezTo>
                  <a:close/>
                  <a:moveTo>
                    <a:pt x="62" y="10"/>
                  </a:moveTo>
                  <a:cubicBezTo>
                    <a:pt x="61" y="9"/>
                    <a:pt x="59" y="9"/>
                    <a:pt x="57" y="11"/>
                  </a:cubicBezTo>
                  <a:cubicBezTo>
                    <a:pt x="2" y="82"/>
                    <a:pt x="2" y="82"/>
                    <a:pt x="2" y="82"/>
                  </a:cubicBezTo>
                  <a:cubicBezTo>
                    <a:pt x="0" y="84"/>
                    <a:pt x="1" y="86"/>
                    <a:pt x="2" y="87"/>
                  </a:cubicBezTo>
                  <a:cubicBezTo>
                    <a:pt x="30" y="109"/>
                    <a:pt x="30" y="109"/>
                    <a:pt x="30" y="109"/>
                  </a:cubicBezTo>
                  <a:cubicBezTo>
                    <a:pt x="31" y="110"/>
                    <a:pt x="33" y="110"/>
                    <a:pt x="35" y="108"/>
                  </a:cubicBezTo>
                  <a:cubicBezTo>
                    <a:pt x="91" y="36"/>
                    <a:pt x="91" y="36"/>
                    <a:pt x="91" y="36"/>
                  </a:cubicBezTo>
                  <a:cubicBezTo>
                    <a:pt x="92" y="35"/>
                    <a:pt x="91" y="32"/>
                    <a:pt x="90" y="31"/>
                  </a:cubicBezTo>
                  <a:lnTo>
                    <a:pt x="62" y="10"/>
                  </a:lnTo>
                  <a:close/>
                  <a:moveTo>
                    <a:pt x="36" y="85"/>
                  </a:moveTo>
                  <a:cubicBezTo>
                    <a:pt x="34" y="88"/>
                    <a:pt x="29" y="89"/>
                    <a:pt x="25" y="86"/>
                  </a:cubicBezTo>
                  <a:cubicBezTo>
                    <a:pt x="22" y="84"/>
                    <a:pt x="21" y="79"/>
                    <a:pt x="24" y="75"/>
                  </a:cubicBezTo>
                  <a:cubicBezTo>
                    <a:pt x="26" y="72"/>
                    <a:pt x="31" y="71"/>
                    <a:pt x="35" y="74"/>
                  </a:cubicBezTo>
                  <a:cubicBezTo>
                    <a:pt x="38" y="76"/>
                    <a:pt x="39" y="81"/>
                    <a:pt x="36" y="8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Inter"/>
                <a:ea typeface="+mn-ea"/>
                <a:cs typeface="+mn-cs"/>
              </a:endParaRPr>
            </a:p>
          </p:txBody>
        </p:sp>
        <p:sp>
          <p:nvSpPr>
            <p:cNvPr id="37" name="Freeform 14">
              <a:extLst>
                <a:ext uri="{FF2B5EF4-FFF2-40B4-BE49-F238E27FC236}">
                  <a16:creationId xmlns:a16="http://schemas.microsoft.com/office/drawing/2014/main" id="{1CEDF93C-E5B0-4F64-9D19-B768E6D477A9}"/>
                </a:ext>
              </a:extLst>
            </p:cNvPr>
            <p:cNvSpPr>
              <a:spLocks noEditPoints="1"/>
            </p:cNvSpPr>
            <p:nvPr/>
          </p:nvSpPr>
          <p:spPr bwMode="auto">
            <a:xfrm>
              <a:off x="5022" y="2566"/>
              <a:ext cx="473" cy="390"/>
            </a:xfrm>
            <a:custGeom>
              <a:avLst/>
              <a:gdLst>
                <a:gd name="T0" fmla="*/ 190 w 226"/>
                <a:gd name="T1" fmla="*/ 119 h 186"/>
                <a:gd name="T2" fmla="*/ 129 w 226"/>
                <a:gd name="T3" fmla="*/ 71 h 186"/>
                <a:gd name="T4" fmla="*/ 117 w 226"/>
                <a:gd name="T5" fmla="*/ 81 h 186"/>
                <a:gd name="T6" fmla="*/ 77 w 226"/>
                <a:gd name="T7" fmla="*/ 99 h 186"/>
                <a:gd name="T8" fmla="*/ 69 w 226"/>
                <a:gd name="T9" fmla="*/ 98 h 186"/>
                <a:gd name="T10" fmla="*/ 40 w 226"/>
                <a:gd name="T11" fmla="*/ 78 h 186"/>
                <a:gd name="T12" fmla="*/ 44 w 226"/>
                <a:gd name="T13" fmla="*/ 51 h 186"/>
                <a:gd name="T14" fmla="*/ 88 w 226"/>
                <a:gd name="T15" fmla="*/ 11 h 186"/>
                <a:gd name="T16" fmla="*/ 70 w 226"/>
                <a:gd name="T17" fmla="*/ 5 h 186"/>
                <a:gd name="T18" fmla="*/ 48 w 226"/>
                <a:gd name="T19" fmla="*/ 16 h 186"/>
                <a:gd name="T20" fmla="*/ 5 w 226"/>
                <a:gd name="T21" fmla="*/ 72 h 186"/>
                <a:gd name="T22" fmla="*/ 0 w 226"/>
                <a:gd name="T23" fmla="*/ 88 h 186"/>
                <a:gd name="T24" fmla="*/ 3 w 226"/>
                <a:gd name="T25" fmla="*/ 110 h 186"/>
                <a:gd name="T26" fmla="*/ 11 w 226"/>
                <a:gd name="T27" fmla="*/ 124 h 186"/>
                <a:gd name="T28" fmla="*/ 87 w 226"/>
                <a:gd name="T29" fmla="*/ 183 h 186"/>
                <a:gd name="T30" fmla="*/ 94 w 226"/>
                <a:gd name="T31" fmla="*/ 186 h 186"/>
                <a:gd name="T32" fmla="*/ 102 w 226"/>
                <a:gd name="T33" fmla="*/ 182 h 186"/>
                <a:gd name="T34" fmla="*/ 106 w 226"/>
                <a:gd name="T35" fmla="*/ 178 h 186"/>
                <a:gd name="T36" fmla="*/ 105 w 226"/>
                <a:gd name="T37" fmla="*/ 162 h 186"/>
                <a:gd name="T38" fmla="*/ 117 w 226"/>
                <a:gd name="T39" fmla="*/ 172 h 186"/>
                <a:gd name="T40" fmla="*/ 125 w 226"/>
                <a:gd name="T41" fmla="*/ 175 h 186"/>
                <a:gd name="T42" fmla="*/ 133 w 226"/>
                <a:gd name="T43" fmla="*/ 172 h 186"/>
                <a:gd name="T44" fmla="*/ 137 w 226"/>
                <a:gd name="T45" fmla="*/ 168 h 186"/>
                <a:gd name="T46" fmla="*/ 136 w 226"/>
                <a:gd name="T47" fmla="*/ 151 h 186"/>
                <a:gd name="T48" fmla="*/ 145 w 226"/>
                <a:gd name="T49" fmla="*/ 158 h 186"/>
                <a:gd name="T50" fmla="*/ 153 w 226"/>
                <a:gd name="T51" fmla="*/ 161 h 186"/>
                <a:gd name="T52" fmla="*/ 161 w 226"/>
                <a:gd name="T53" fmla="*/ 158 h 186"/>
                <a:gd name="T54" fmla="*/ 164 w 226"/>
                <a:gd name="T55" fmla="*/ 154 h 186"/>
                <a:gd name="T56" fmla="*/ 164 w 226"/>
                <a:gd name="T57" fmla="*/ 137 h 186"/>
                <a:gd name="T58" fmla="*/ 170 w 226"/>
                <a:gd name="T59" fmla="*/ 143 h 186"/>
                <a:gd name="T60" fmla="*/ 178 w 226"/>
                <a:gd name="T61" fmla="*/ 146 h 186"/>
                <a:gd name="T62" fmla="*/ 186 w 226"/>
                <a:gd name="T63" fmla="*/ 141 h 186"/>
                <a:gd name="T64" fmla="*/ 192 w 226"/>
                <a:gd name="T65" fmla="*/ 135 h 186"/>
                <a:gd name="T66" fmla="*/ 190 w 226"/>
                <a:gd name="T67" fmla="*/ 119 h 186"/>
                <a:gd name="T68" fmla="*/ 220 w 226"/>
                <a:gd name="T69" fmla="*/ 61 h 186"/>
                <a:gd name="T70" fmla="*/ 168 w 226"/>
                <a:gd name="T71" fmla="*/ 8 h 186"/>
                <a:gd name="T72" fmla="*/ 160 w 226"/>
                <a:gd name="T73" fmla="*/ 4 h 186"/>
                <a:gd name="T74" fmla="*/ 133 w 226"/>
                <a:gd name="T75" fmla="*/ 1 h 186"/>
                <a:gd name="T76" fmla="*/ 122 w 226"/>
                <a:gd name="T77" fmla="*/ 4 h 186"/>
                <a:gd name="T78" fmla="*/ 116 w 226"/>
                <a:gd name="T79" fmla="*/ 10 h 186"/>
                <a:gd name="T80" fmla="*/ 56 w 226"/>
                <a:gd name="T81" fmla="*/ 64 h 186"/>
                <a:gd name="T82" fmla="*/ 55 w 226"/>
                <a:gd name="T83" fmla="*/ 69 h 186"/>
                <a:gd name="T84" fmla="*/ 55 w 226"/>
                <a:gd name="T85" fmla="*/ 69 h 186"/>
                <a:gd name="T86" fmla="*/ 72 w 226"/>
                <a:gd name="T87" fmla="*/ 81 h 186"/>
                <a:gd name="T88" fmla="*/ 105 w 226"/>
                <a:gd name="T89" fmla="*/ 68 h 186"/>
                <a:gd name="T90" fmla="*/ 128 w 226"/>
                <a:gd name="T91" fmla="*/ 47 h 186"/>
                <a:gd name="T92" fmla="*/ 198 w 226"/>
                <a:gd name="T93" fmla="*/ 102 h 186"/>
                <a:gd name="T94" fmla="*/ 220 w 226"/>
                <a:gd name="T95" fmla="*/ 81 h 186"/>
                <a:gd name="T96" fmla="*/ 220 w 226"/>
                <a:gd name="T97" fmla="*/ 61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26" h="186">
                  <a:moveTo>
                    <a:pt x="190" y="119"/>
                  </a:moveTo>
                  <a:cubicBezTo>
                    <a:pt x="129" y="71"/>
                    <a:pt x="129" y="71"/>
                    <a:pt x="129" y="71"/>
                  </a:cubicBezTo>
                  <a:cubicBezTo>
                    <a:pt x="117" y="81"/>
                    <a:pt x="117" y="81"/>
                    <a:pt x="117" y="81"/>
                  </a:cubicBezTo>
                  <a:cubicBezTo>
                    <a:pt x="102" y="95"/>
                    <a:pt x="87" y="99"/>
                    <a:pt x="77" y="99"/>
                  </a:cubicBezTo>
                  <a:cubicBezTo>
                    <a:pt x="74" y="99"/>
                    <a:pt x="71" y="99"/>
                    <a:pt x="69" y="98"/>
                  </a:cubicBezTo>
                  <a:cubicBezTo>
                    <a:pt x="54" y="96"/>
                    <a:pt x="44" y="86"/>
                    <a:pt x="40" y="78"/>
                  </a:cubicBezTo>
                  <a:cubicBezTo>
                    <a:pt x="34" y="69"/>
                    <a:pt x="36" y="58"/>
                    <a:pt x="44" y="51"/>
                  </a:cubicBezTo>
                  <a:cubicBezTo>
                    <a:pt x="88" y="11"/>
                    <a:pt x="88" y="11"/>
                    <a:pt x="88" y="11"/>
                  </a:cubicBezTo>
                  <a:cubicBezTo>
                    <a:pt x="83" y="7"/>
                    <a:pt x="77" y="5"/>
                    <a:pt x="70" y="5"/>
                  </a:cubicBezTo>
                  <a:cubicBezTo>
                    <a:pt x="62" y="5"/>
                    <a:pt x="53" y="9"/>
                    <a:pt x="48" y="16"/>
                  </a:cubicBezTo>
                  <a:cubicBezTo>
                    <a:pt x="5" y="72"/>
                    <a:pt x="5" y="72"/>
                    <a:pt x="5" y="72"/>
                  </a:cubicBezTo>
                  <a:cubicBezTo>
                    <a:pt x="1" y="76"/>
                    <a:pt x="0" y="82"/>
                    <a:pt x="0" y="88"/>
                  </a:cubicBezTo>
                  <a:cubicBezTo>
                    <a:pt x="3" y="110"/>
                    <a:pt x="3" y="110"/>
                    <a:pt x="3" y="110"/>
                  </a:cubicBezTo>
                  <a:cubicBezTo>
                    <a:pt x="4" y="116"/>
                    <a:pt x="7" y="121"/>
                    <a:pt x="11" y="124"/>
                  </a:cubicBezTo>
                  <a:cubicBezTo>
                    <a:pt x="87" y="183"/>
                    <a:pt x="87" y="183"/>
                    <a:pt x="87" y="183"/>
                  </a:cubicBezTo>
                  <a:cubicBezTo>
                    <a:pt x="89" y="185"/>
                    <a:pt x="91" y="186"/>
                    <a:pt x="94" y="186"/>
                  </a:cubicBezTo>
                  <a:cubicBezTo>
                    <a:pt x="97" y="186"/>
                    <a:pt x="100" y="184"/>
                    <a:pt x="102" y="182"/>
                  </a:cubicBezTo>
                  <a:cubicBezTo>
                    <a:pt x="106" y="178"/>
                    <a:pt x="106" y="178"/>
                    <a:pt x="106" y="178"/>
                  </a:cubicBezTo>
                  <a:cubicBezTo>
                    <a:pt x="110" y="173"/>
                    <a:pt x="110" y="166"/>
                    <a:pt x="105" y="162"/>
                  </a:cubicBezTo>
                  <a:cubicBezTo>
                    <a:pt x="117" y="172"/>
                    <a:pt x="117" y="172"/>
                    <a:pt x="117" y="172"/>
                  </a:cubicBezTo>
                  <a:cubicBezTo>
                    <a:pt x="119" y="174"/>
                    <a:pt x="122" y="175"/>
                    <a:pt x="125" y="175"/>
                  </a:cubicBezTo>
                  <a:cubicBezTo>
                    <a:pt x="128" y="175"/>
                    <a:pt x="130" y="174"/>
                    <a:pt x="133" y="172"/>
                  </a:cubicBezTo>
                  <a:cubicBezTo>
                    <a:pt x="137" y="168"/>
                    <a:pt x="137" y="168"/>
                    <a:pt x="137" y="168"/>
                  </a:cubicBezTo>
                  <a:cubicBezTo>
                    <a:pt x="142" y="163"/>
                    <a:pt x="141" y="155"/>
                    <a:pt x="136" y="151"/>
                  </a:cubicBezTo>
                  <a:cubicBezTo>
                    <a:pt x="145" y="158"/>
                    <a:pt x="145" y="158"/>
                    <a:pt x="145" y="158"/>
                  </a:cubicBezTo>
                  <a:cubicBezTo>
                    <a:pt x="148" y="160"/>
                    <a:pt x="150" y="161"/>
                    <a:pt x="153" y="161"/>
                  </a:cubicBezTo>
                  <a:cubicBezTo>
                    <a:pt x="156" y="161"/>
                    <a:pt x="159" y="160"/>
                    <a:pt x="161" y="158"/>
                  </a:cubicBezTo>
                  <a:cubicBezTo>
                    <a:pt x="164" y="154"/>
                    <a:pt x="164" y="154"/>
                    <a:pt x="164" y="154"/>
                  </a:cubicBezTo>
                  <a:cubicBezTo>
                    <a:pt x="169" y="150"/>
                    <a:pt x="169" y="142"/>
                    <a:pt x="164" y="137"/>
                  </a:cubicBezTo>
                  <a:cubicBezTo>
                    <a:pt x="170" y="143"/>
                    <a:pt x="170" y="143"/>
                    <a:pt x="170" y="143"/>
                  </a:cubicBezTo>
                  <a:cubicBezTo>
                    <a:pt x="172" y="145"/>
                    <a:pt x="175" y="146"/>
                    <a:pt x="178" y="146"/>
                  </a:cubicBezTo>
                  <a:cubicBezTo>
                    <a:pt x="181" y="146"/>
                    <a:pt x="184" y="144"/>
                    <a:pt x="186" y="141"/>
                  </a:cubicBezTo>
                  <a:cubicBezTo>
                    <a:pt x="192" y="135"/>
                    <a:pt x="192" y="135"/>
                    <a:pt x="192" y="135"/>
                  </a:cubicBezTo>
                  <a:cubicBezTo>
                    <a:pt x="196" y="130"/>
                    <a:pt x="195" y="123"/>
                    <a:pt x="190" y="119"/>
                  </a:cubicBezTo>
                  <a:close/>
                  <a:moveTo>
                    <a:pt x="220" y="61"/>
                  </a:moveTo>
                  <a:cubicBezTo>
                    <a:pt x="168" y="8"/>
                    <a:pt x="168" y="8"/>
                    <a:pt x="168" y="8"/>
                  </a:cubicBezTo>
                  <a:cubicBezTo>
                    <a:pt x="166" y="6"/>
                    <a:pt x="163" y="4"/>
                    <a:pt x="160" y="4"/>
                  </a:cubicBezTo>
                  <a:cubicBezTo>
                    <a:pt x="133" y="1"/>
                    <a:pt x="133" y="1"/>
                    <a:pt x="133" y="1"/>
                  </a:cubicBezTo>
                  <a:cubicBezTo>
                    <a:pt x="129" y="0"/>
                    <a:pt x="125" y="1"/>
                    <a:pt x="122" y="4"/>
                  </a:cubicBezTo>
                  <a:cubicBezTo>
                    <a:pt x="116" y="10"/>
                    <a:pt x="116" y="10"/>
                    <a:pt x="116" y="10"/>
                  </a:cubicBezTo>
                  <a:cubicBezTo>
                    <a:pt x="56" y="64"/>
                    <a:pt x="56" y="64"/>
                    <a:pt x="56" y="64"/>
                  </a:cubicBezTo>
                  <a:cubicBezTo>
                    <a:pt x="55" y="65"/>
                    <a:pt x="54" y="66"/>
                    <a:pt x="55" y="69"/>
                  </a:cubicBezTo>
                  <a:cubicBezTo>
                    <a:pt x="55" y="69"/>
                    <a:pt x="55" y="69"/>
                    <a:pt x="55" y="69"/>
                  </a:cubicBezTo>
                  <a:cubicBezTo>
                    <a:pt x="58" y="73"/>
                    <a:pt x="64" y="79"/>
                    <a:pt x="72" y="81"/>
                  </a:cubicBezTo>
                  <a:cubicBezTo>
                    <a:pt x="82" y="82"/>
                    <a:pt x="94" y="78"/>
                    <a:pt x="105" y="68"/>
                  </a:cubicBezTo>
                  <a:cubicBezTo>
                    <a:pt x="128" y="47"/>
                    <a:pt x="128" y="47"/>
                    <a:pt x="128" y="47"/>
                  </a:cubicBezTo>
                  <a:cubicBezTo>
                    <a:pt x="198" y="102"/>
                    <a:pt x="198" y="102"/>
                    <a:pt x="198" y="102"/>
                  </a:cubicBezTo>
                  <a:cubicBezTo>
                    <a:pt x="220" y="81"/>
                    <a:pt x="220" y="81"/>
                    <a:pt x="220" y="81"/>
                  </a:cubicBezTo>
                  <a:cubicBezTo>
                    <a:pt x="226" y="76"/>
                    <a:pt x="226" y="67"/>
                    <a:pt x="220" y="6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Inter"/>
                <a:ea typeface="+mn-ea"/>
                <a:cs typeface="+mn-cs"/>
              </a:endParaRPr>
            </a:p>
          </p:txBody>
        </p:sp>
      </p:grpSp>
      <p:cxnSp>
        <p:nvCxnSpPr>
          <p:cNvPr id="41" name="Straight Connector 36">
            <a:extLst>
              <a:ext uri="{FF2B5EF4-FFF2-40B4-BE49-F238E27FC236}">
                <a16:creationId xmlns:a16="http://schemas.microsoft.com/office/drawing/2014/main" id="{53D568B2-DC65-450B-9652-D1F7F666C3AB}"/>
              </a:ext>
            </a:extLst>
          </p:cNvPr>
          <p:cNvCxnSpPr>
            <a:cxnSpLocks/>
          </p:cNvCxnSpPr>
          <p:nvPr/>
        </p:nvCxnSpPr>
        <p:spPr>
          <a:xfrm>
            <a:off x="6097787" y="2650809"/>
            <a:ext cx="1" cy="304205"/>
          </a:xfrm>
          <a:prstGeom prst="line">
            <a:avLst/>
          </a:prstGeom>
          <a:ln w="12700">
            <a:solidFill>
              <a:schemeClr val="accent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sp>
        <p:nvSpPr>
          <p:cNvPr id="55" name="Right Triangle 61">
            <a:extLst>
              <a:ext uri="{FF2B5EF4-FFF2-40B4-BE49-F238E27FC236}">
                <a16:creationId xmlns:a16="http://schemas.microsoft.com/office/drawing/2014/main" id="{C3D6FF84-3B29-4996-9C08-C2C56695885F}"/>
              </a:ext>
            </a:extLst>
          </p:cNvPr>
          <p:cNvSpPr/>
          <p:nvPr/>
        </p:nvSpPr>
        <p:spPr>
          <a:xfrm flipV="1">
            <a:off x="1055689" y="803583"/>
            <a:ext cx="72580" cy="72177"/>
          </a:xfrm>
          <a:prstGeom prst="r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HarmonyOS Sans SC"/>
              <a:cs typeface="+mn-cs"/>
            </a:endParaRPr>
          </a:p>
        </p:txBody>
      </p:sp>
      <p:sp>
        <p:nvSpPr>
          <p:cNvPr id="56" name="文本框 55">
            <a:extLst>
              <a:ext uri="{FF2B5EF4-FFF2-40B4-BE49-F238E27FC236}">
                <a16:creationId xmlns:a16="http://schemas.microsoft.com/office/drawing/2014/main" id="{A13266DC-1D6B-4530-A4F8-ADD6E3F17B9A}"/>
              </a:ext>
            </a:extLst>
          </p:cNvPr>
          <p:cNvSpPr txBox="1"/>
          <p:nvPr/>
        </p:nvSpPr>
        <p:spPr>
          <a:xfrm>
            <a:off x="941388" y="918105"/>
            <a:ext cx="3411511"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2800" b="0" i="0" u="none" strike="noStrike" kern="1200" cap="none" spc="0" normalizeH="0" baseline="0" noProof="0" dirty="0">
                <a:ln>
                  <a:noFill/>
                </a:ln>
                <a:solidFill>
                  <a:prstClr val="black"/>
                </a:solidFill>
                <a:effectLst/>
                <a:uLnTx/>
                <a:uFillTx/>
                <a:latin typeface="HarmonyOS Sans Black"/>
                <a:ea typeface="+mj-ea"/>
                <a:cs typeface="+mn-cs"/>
              </a:rPr>
              <a:t>Arrow </a:t>
            </a:r>
            <a:r>
              <a:rPr kumimoji="0" lang="en-US" altLang="zh-CN" sz="2800" b="0" i="0" u="none" strike="noStrike" kern="1200" cap="none" spc="0" normalizeH="0" baseline="0" noProof="0" dirty="0">
                <a:ln>
                  <a:noFill/>
                </a:ln>
                <a:solidFill>
                  <a:schemeClr val="accent1"/>
                </a:solidFill>
                <a:effectLst/>
                <a:uLnTx/>
                <a:uFillTx/>
                <a:latin typeface="HarmonyOS Sans Black"/>
                <a:ea typeface="+mj-ea"/>
                <a:cs typeface="+mn-cs"/>
              </a:rPr>
              <a:t>infographic</a:t>
            </a:r>
          </a:p>
        </p:txBody>
      </p:sp>
      <p:grpSp>
        <p:nvGrpSpPr>
          <p:cNvPr id="69" name="组合 68">
            <a:extLst>
              <a:ext uri="{FF2B5EF4-FFF2-40B4-BE49-F238E27FC236}">
                <a16:creationId xmlns:a16="http://schemas.microsoft.com/office/drawing/2014/main" id="{94C39FB4-22EA-4024-A2AC-FF8725C65E43}"/>
              </a:ext>
            </a:extLst>
          </p:cNvPr>
          <p:cNvGrpSpPr/>
          <p:nvPr/>
        </p:nvGrpSpPr>
        <p:grpSpPr>
          <a:xfrm>
            <a:off x="5193829" y="1762174"/>
            <a:ext cx="1812046" cy="846145"/>
            <a:chOff x="5154634" y="1949395"/>
            <a:chExt cx="1812046" cy="846145"/>
          </a:xfrm>
        </p:grpSpPr>
        <p:sp>
          <p:nvSpPr>
            <p:cNvPr id="70" name="TextBox 65">
              <a:extLst>
                <a:ext uri="{FF2B5EF4-FFF2-40B4-BE49-F238E27FC236}">
                  <a16:creationId xmlns:a16="http://schemas.microsoft.com/office/drawing/2014/main" id="{26BB675C-70E4-4E7E-857B-1279DABF912C}"/>
                </a:ext>
              </a:extLst>
            </p:cNvPr>
            <p:cNvSpPr txBox="1"/>
            <p:nvPr/>
          </p:nvSpPr>
          <p:spPr>
            <a:xfrm>
              <a:off x="5291193" y="1949395"/>
              <a:ext cx="1538928" cy="345598"/>
            </a:xfrm>
            <a:prstGeom prst="rect">
              <a:avLst/>
            </a:prstGeom>
            <a:noFill/>
          </p:spPr>
          <p:txBody>
            <a:bodyPr wrap="square" lIns="0" tIns="36000" rIns="0" bIns="36000" rtlCol="0">
              <a:spAutoFit/>
            </a:bodyPr>
            <a:lstStyle/>
            <a:p>
              <a:pPr marL="0" marR="0" lvl="0" indent="0" algn="ctr" defTabSz="914400" rtl="0" eaLnBrk="1" fontAlgn="auto" latinLnBrk="0" hangingPunct="1">
                <a:lnSpc>
                  <a:spcPct val="120000"/>
                </a:lnSpc>
                <a:spcBef>
                  <a:spcPts val="600"/>
                </a:spcBef>
                <a:spcAft>
                  <a:spcPts val="0"/>
                </a:spcAft>
                <a:buClrTx/>
                <a:buSzTx/>
                <a:buFontTx/>
                <a:buNone/>
                <a:tabLst/>
                <a:defRPr/>
              </a:pPr>
              <a:r>
                <a:rPr kumimoji="0" lang="en-US" sz="1600" b="0" i="0" u="none" strike="noStrike" kern="1200" cap="none" spc="0" normalizeH="0" baseline="0" noProof="0" dirty="0">
                  <a:ln>
                    <a:noFill/>
                  </a:ln>
                  <a:solidFill>
                    <a:schemeClr val="accent1"/>
                  </a:solidFill>
                  <a:effectLst/>
                  <a:uLnTx/>
                  <a:uFillTx/>
                  <a:latin typeface="HarmonyOS Sans SC Black"/>
                  <a:ea typeface="+mj-ea"/>
                  <a:cs typeface="+mn-cs"/>
                </a:rPr>
                <a:t>Subtitle Here</a:t>
              </a:r>
              <a:endParaRPr kumimoji="0" lang="en-US" sz="1100" b="0" i="0" u="none" strike="noStrike" kern="1200" cap="none" spc="0" normalizeH="0" baseline="0" noProof="0" dirty="0">
                <a:ln>
                  <a:noFill/>
                </a:ln>
                <a:solidFill>
                  <a:schemeClr val="accent1"/>
                </a:solidFill>
                <a:effectLst/>
                <a:uLnTx/>
                <a:uFillTx/>
                <a:latin typeface="HarmonyOS Sans SC Black"/>
                <a:ea typeface="+mj-ea"/>
                <a:cs typeface="+mn-cs"/>
              </a:endParaRPr>
            </a:p>
          </p:txBody>
        </p:sp>
        <p:sp>
          <p:nvSpPr>
            <p:cNvPr id="71" name="TextBox 65">
              <a:extLst>
                <a:ext uri="{FF2B5EF4-FFF2-40B4-BE49-F238E27FC236}">
                  <a16:creationId xmlns:a16="http://schemas.microsoft.com/office/drawing/2014/main" id="{34D5CC78-5524-49DF-BB82-E8EC3392A82E}"/>
                </a:ext>
              </a:extLst>
            </p:cNvPr>
            <p:cNvSpPr txBox="1"/>
            <p:nvPr/>
          </p:nvSpPr>
          <p:spPr>
            <a:xfrm>
              <a:off x="5154634" y="2332794"/>
              <a:ext cx="1812046" cy="462746"/>
            </a:xfrm>
            <a:prstGeom prst="rect">
              <a:avLst/>
            </a:prstGeom>
            <a:noFill/>
          </p:spPr>
          <p:txBody>
            <a:bodyPr wrap="square" lIns="0" tIns="36000" rIns="0" bIns="36000" rtlCol="0">
              <a:spAutoFit/>
            </a:bodyPr>
            <a:lstStyle/>
            <a:p>
              <a:pPr marL="0" marR="0" lvl="0" indent="0" algn="ctr" defTabSz="914400" rtl="0" eaLnBrk="1" fontAlgn="auto" latinLnBrk="0" hangingPunct="1">
                <a:lnSpc>
                  <a:spcPct val="120000"/>
                </a:lnSpc>
                <a:spcBef>
                  <a:spcPts val="600"/>
                </a:spcBef>
                <a:spcAft>
                  <a:spcPts val="0"/>
                </a:spcAft>
                <a:buClrTx/>
                <a:buSzTx/>
                <a:buFontTx/>
                <a:buNone/>
                <a:tabLst/>
                <a:defRPr/>
              </a:pPr>
              <a:r>
                <a:rPr kumimoji="0" lang="en-US" sz="1100" b="0" i="0" u="none" strike="noStrike" kern="1200" cap="none" spc="0" normalizeH="0" baseline="0" noProof="0" dirty="0">
                  <a:ln>
                    <a:noFill/>
                  </a:ln>
                  <a:solidFill>
                    <a:prstClr val="black">
                      <a:lumMod val="50000"/>
                      <a:lumOff val="50000"/>
                    </a:prstClr>
                  </a:solidFill>
                  <a:effectLst/>
                  <a:uLnTx/>
                  <a:uFillTx/>
                  <a:latin typeface="HarmonyOS Sans SC"/>
                  <a:cs typeface="+mn-cs"/>
                </a:rPr>
                <a:t>As the minuteness of the parts formed a great.</a:t>
              </a:r>
            </a:p>
          </p:txBody>
        </p:sp>
      </p:grpSp>
      <p:grpSp>
        <p:nvGrpSpPr>
          <p:cNvPr id="77" name="组合 76">
            <a:extLst>
              <a:ext uri="{FF2B5EF4-FFF2-40B4-BE49-F238E27FC236}">
                <a16:creationId xmlns:a16="http://schemas.microsoft.com/office/drawing/2014/main" id="{8CDC21F5-F03C-4D10-846E-174832D205CD}"/>
              </a:ext>
            </a:extLst>
          </p:cNvPr>
          <p:cNvGrpSpPr/>
          <p:nvPr/>
        </p:nvGrpSpPr>
        <p:grpSpPr>
          <a:xfrm>
            <a:off x="5995077" y="2949148"/>
            <a:ext cx="209550" cy="209550"/>
            <a:chOff x="5585550" y="2229291"/>
            <a:chExt cx="209550" cy="209550"/>
          </a:xfrm>
        </p:grpSpPr>
        <p:sp>
          <p:nvSpPr>
            <p:cNvPr id="78" name="Oval 69">
              <a:extLst>
                <a:ext uri="{FF2B5EF4-FFF2-40B4-BE49-F238E27FC236}">
                  <a16:creationId xmlns:a16="http://schemas.microsoft.com/office/drawing/2014/main" id="{94722B1D-E274-4E6D-8E6E-35BE980A3AAB}"/>
                </a:ext>
              </a:extLst>
            </p:cNvPr>
            <p:cNvSpPr/>
            <p:nvPr/>
          </p:nvSpPr>
          <p:spPr>
            <a:xfrm flipH="1">
              <a:off x="5585550" y="2229291"/>
              <a:ext cx="209550" cy="209550"/>
            </a:xfrm>
            <a:prstGeom prst="ellipse">
              <a:avLst/>
            </a:prstGeom>
            <a:solidFill>
              <a:schemeClr val="accent1">
                <a:lumMod val="20000"/>
                <a:lumOff val="80000"/>
                <a:alpha val="5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800" b="0" i="0" u="none" strike="noStrike" kern="1200" cap="none" spc="0" normalizeH="0" baseline="0" noProof="0">
                <a:ln>
                  <a:noFill/>
                </a:ln>
                <a:solidFill>
                  <a:prstClr val="black">
                    <a:lumMod val="50000"/>
                    <a:lumOff val="50000"/>
                  </a:prstClr>
                </a:solidFill>
                <a:effectLst/>
                <a:uLnTx/>
                <a:uFillTx/>
                <a:latin typeface="HarmonyOS Sans SC"/>
                <a:cs typeface="+mn-cs"/>
              </a:endParaRPr>
            </a:p>
          </p:txBody>
        </p:sp>
        <p:sp>
          <p:nvSpPr>
            <p:cNvPr id="79" name="Oval 70">
              <a:extLst>
                <a:ext uri="{FF2B5EF4-FFF2-40B4-BE49-F238E27FC236}">
                  <a16:creationId xmlns:a16="http://schemas.microsoft.com/office/drawing/2014/main" id="{FF173AA6-936E-47AE-85A1-1E2EEE6844E1}"/>
                </a:ext>
              </a:extLst>
            </p:cNvPr>
            <p:cNvSpPr/>
            <p:nvPr/>
          </p:nvSpPr>
          <p:spPr>
            <a:xfrm flipH="1" flipV="1">
              <a:off x="5654983" y="2298724"/>
              <a:ext cx="70684" cy="70684"/>
            </a:xfrm>
            <a:prstGeom prst="ellipse">
              <a:avLst/>
            </a:prstGeom>
            <a:gradFill>
              <a:gsLst>
                <a:gs pos="73000">
                  <a:schemeClr val="accent1"/>
                </a:gs>
                <a:gs pos="31000">
                  <a:schemeClr val="accent1">
                    <a:lumMod val="60000"/>
                    <a:lumOff val="40000"/>
                  </a:schemeClr>
                </a:gs>
                <a:gs pos="0">
                  <a:schemeClr val="accent1">
                    <a:lumMod val="40000"/>
                    <a:lumOff val="60000"/>
                  </a:schemeClr>
                </a:gs>
              </a:gsLst>
              <a:lin ang="2700000" scaled="1"/>
            </a:gra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800" b="0" i="0" u="none" strike="noStrike" kern="1200" cap="none" spc="0" normalizeH="0" baseline="0" noProof="0">
                <a:ln>
                  <a:noFill/>
                </a:ln>
                <a:solidFill>
                  <a:prstClr val="black">
                    <a:lumMod val="50000"/>
                    <a:lumOff val="50000"/>
                  </a:prstClr>
                </a:solidFill>
                <a:effectLst/>
                <a:uLnTx/>
                <a:uFillTx/>
                <a:latin typeface="HarmonyOS Sans SC"/>
                <a:cs typeface="+mn-cs"/>
              </a:endParaRPr>
            </a:p>
          </p:txBody>
        </p:sp>
      </p:grpSp>
      <p:grpSp>
        <p:nvGrpSpPr>
          <p:cNvPr id="86" name="组合 85">
            <a:extLst>
              <a:ext uri="{FF2B5EF4-FFF2-40B4-BE49-F238E27FC236}">
                <a16:creationId xmlns:a16="http://schemas.microsoft.com/office/drawing/2014/main" id="{AC569B18-E157-4A69-986F-71D3799BCF53}"/>
              </a:ext>
            </a:extLst>
          </p:cNvPr>
          <p:cNvGrpSpPr/>
          <p:nvPr/>
        </p:nvGrpSpPr>
        <p:grpSpPr>
          <a:xfrm>
            <a:off x="2303566" y="3880446"/>
            <a:ext cx="1812046" cy="846145"/>
            <a:chOff x="5154634" y="1949395"/>
            <a:chExt cx="1812046" cy="846145"/>
          </a:xfrm>
        </p:grpSpPr>
        <p:sp>
          <p:nvSpPr>
            <p:cNvPr id="87" name="TextBox 65">
              <a:extLst>
                <a:ext uri="{FF2B5EF4-FFF2-40B4-BE49-F238E27FC236}">
                  <a16:creationId xmlns:a16="http://schemas.microsoft.com/office/drawing/2014/main" id="{057BD953-0577-4120-A241-AFA51E438A78}"/>
                </a:ext>
              </a:extLst>
            </p:cNvPr>
            <p:cNvSpPr txBox="1"/>
            <p:nvPr/>
          </p:nvSpPr>
          <p:spPr>
            <a:xfrm>
              <a:off x="5427752" y="1949395"/>
              <a:ext cx="1538928" cy="345598"/>
            </a:xfrm>
            <a:prstGeom prst="rect">
              <a:avLst/>
            </a:prstGeom>
            <a:noFill/>
          </p:spPr>
          <p:txBody>
            <a:bodyPr wrap="square" lIns="0" tIns="36000" rIns="0" bIns="36000" rtlCol="0">
              <a:spAutoFit/>
            </a:bodyPr>
            <a:lstStyle/>
            <a:p>
              <a:pPr marL="0" marR="0" lvl="0" indent="0" algn="r" defTabSz="914400" rtl="0" eaLnBrk="1" fontAlgn="auto" latinLnBrk="0" hangingPunct="1">
                <a:lnSpc>
                  <a:spcPct val="120000"/>
                </a:lnSpc>
                <a:spcBef>
                  <a:spcPts val="600"/>
                </a:spcBef>
                <a:spcAft>
                  <a:spcPts val="0"/>
                </a:spcAft>
                <a:buClrTx/>
                <a:buSzTx/>
                <a:buFontTx/>
                <a:buNone/>
                <a:tabLst/>
                <a:defRPr/>
              </a:pPr>
              <a:r>
                <a:rPr kumimoji="0" lang="en-US" sz="1600" b="0" i="0" u="none" strike="noStrike" kern="1200" cap="none" spc="0" normalizeH="0" baseline="0" noProof="0" dirty="0">
                  <a:ln>
                    <a:noFill/>
                  </a:ln>
                  <a:solidFill>
                    <a:schemeClr val="accent1"/>
                  </a:solidFill>
                  <a:effectLst/>
                  <a:uLnTx/>
                  <a:uFillTx/>
                  <a:latin typeface="HarmonyOS Sans SC Black"/>
                  <a:ea typeface="+mj-ea"/>
                  <a:cs typeface="+mn-cs"/>
                </a:rPr>
                <a:t>Subtitle Here</a:t>
              </a:r>
              <a:endParaRPr kumimoji="0" lang="en-US" sz="1100" b="0" i="0" u="none" strike="noStrike" kern="1200" cap="none" spc="0" normalizeH="0" baseline="0" noProof="0" dirty="0">
                <a:ln>
                  <a:noFill/>
                </a:ln>
                <a:solidFill>
                  <a:schemeClr val="accent1"/>
                </a:solidFill>
                <a:effectLst/>
                <a:uLnTx/>
                <a:uFillTx/>
                <a:latin typeface="HarmonyOS Sans SC Black"/>
                <a:ea typeface="+mj-ea"/>
                <a:cs typeface="+mn-cs"/>
              </a:endParaRPr>
            </a:p>
          </p:txBody>
        </p:sp>
        <p:sp>
          <p:nvSpPr>
            <p:cNvPr id="88" name="TextBox 65">
              <a:extLst>
                <a:ext uri="{FF2B5EF4-FFF2-40B4-BE49-F238E27FC236}">
                  <a16:creationId xmlns:a16="http://schemas.microsoft.com/office/drawing/2014/main" id="{A3E2FB92-969E-4023-803F-948DA150F930}"/>
                </a:ext>
              </a:extLst>
            </p:cNvPr>
            <p:cNvSpPr txBox="1"/>
            <p:nvPr/>
          </p:nvSpPr>
          <p:spPr>
            <a:xfrm>
              <a:off x="5154634" y="2332794"/>
              <a:ext cx="1812046" cy="462746"/>
            </a:xfrm>
            <a:prstGeom prst="rect">
              <a:avLst/>
            </a:prstGeom>
            <a:noFill/>
          </p:spPr>
          <p:txBody>
            <a:bodyPr wrap="square" lIns="0" tIns="36000" rIns="0" bIns="36000" rtlCol="0">
              <a:spAutoFit/>
            </a:bodyPr>
            <a:lstStyle/>
            <a:p>
              <a:pPr marL="0" marR="0" lvl="0" indent="0" algn="r" defTabSz="914400" rtl="0" eaLnBrk="1" fontAlgn="auto" latinLnBrk="0" hangingPunct="1">
                <a:lnSpc>
                  <a:spcPct val="120000"/>
                </a:lnSpc>
                <a:spcBef>
                  <a:spcPts val="600"/>
                </a:spcBef>
                <a:spcAft>
                  <a:spcPts val="0"/>
                </a:spcAft>
                <a:buClrTx/>
                <a:buSzTx/>
                <a:buFontTx/>
                <a:buNone/>
                <a:tabLst/>
                <a:defRPr/>
              </a:pPr>
              <a:r>
                <a:rPr kumimoji="0" lang="en-US" sz="1100" b="0" i="0" u="none" strike="noStrike" kern="1200" cap="none" spc="0" normalizeH="0" baseline="0" noProof="0" dirty="0">
                  <a:ln>
                    <a:noFill/>
                  </a:ln>
                  <a:solidFill>
                    <a:prstClr val="black">
                      <a:lumMod val="50000"/>
                      <a:lumOff val="50000"/>
                    </a:prstClr>
                  </a:solidFill>
                  <a:effectLst/>
                  <a:uLnTx/>
                  <a:uFillTx/>
                  <a:latin typeface="HarmonyOS Sans SC"/>
                  <a:cs typeface="+mn-cs"/>
                </a:rPr>
                <a:t>As the minuteness of the parts formed a great.</a:t>
              </a:r>
            </a:p>
          </p:txBody>
        </p:sp>
      </p:grpSp>
      <p:grpSp>
        <p:nvGrpSpPr>
          <p:cNvPr id="89" name="组合 88">
            <a:extLst>
              <a:ext uri="{FF2B5EF4-FFF2-40B4-BE49-F238E27FC236}">
                <a16:creationId xmlns:a16="http://schemas.microsoft.com/office/drawing/2014/main" id="{F4FA820D-ADA4-41D4-9DF2-A98B7A75CB09}"/>
              </a:ext>
            </a:extLst>
          </p:cNvPr>
          <p:cNvGrpSpPr/>
          <p:nvPr/>
        </p:nvGrpSpPr>
        <p:grpSpPr>
          <a:xfrm>
            <a:off x="1454648" y="5056940"/>
            <a:ext cx="1812046" cy="846145"/>
            <a:chOff x="5154634" y="1949395"/>
            <a:chExt cx="1812046" cy="846145"/>
          </a:xfrm>
        </p:grpSpPr>
        <p:sp>
          <p:nvSpPr>
            <p:cNvPr id="90" name="TextBox 65">
              <a:extLst>
                <a:ext uri="{FF2B5EF4-FFF2-40B4-BE49-F238E27FC236}">
                  <a16:creationId xmlns:a16="http://schemas.microsoft.com/office/drawing/2014/main" id="{3176C0B4-EA74-42AD-A36A-5A6360D44B7E}"/>
                </a:ext>
              </a:extLst>
            </p:cNvPr>
            <p:cNvSpPr txBox="1"/>
            <p:nvPr/>
          </p:nvSpPr>
          <p:spPr>
            <a:xfrm>
              <a:off x="5427752" y="1949395"/>
              <a:ext cx="1538928" cy="345598"/>
            </a:xfrm>
            <a:prstGeom prst="rect">
              <a:avLst/>
            </a:prstGeom>
            <a:noFill/>
          </p:spPr>
          <p:txBody>
            <a:bodyPr wrap="square" lIns="0" tIns="36000" rIns="0" bIns="36000" rtlCol="0">
              <a:spAutoFit/>
            </a:bodyPr>
            <a:lstStyle/>
            <a:p>
              <a:pPr marL="0" marR="0" lvl="0" indent="0" algn="r" defTabSz="914400" rtl="0" eaLnBrk="1" fontAlgn="auto" latinLnBrk="0" hangingPunct="1">
                <a:lnSpc>
                  <a:spcPct val="120000"/>
                </a:lnSpc>
                <a:spcBef>
                  <a:spcPts val="600"/>
                </a:spcBef>
                <a:spcAft>
                  <a:spcPts val="0"/>
                </a:spcAft>
                <a:buClrTx/>
                <a:buSzTx/>
                <a:buFontTx/>
                <a:buNone/>
                <a:tabLst/>
                <a:defRPr/>
              </a:pPr>
              <a:r>
                <a:rPr kumimoji="0" lang="en-US" sz="1600" b="0" i="0" u="none" strike="noStrike" kern="1200" cap="none" spc="0" normalizeH="0" baseline="0" noProof="0" dirty="0">
                  <a:ln>
                    <a:noFill/>
                  </a:ln>
                  <a:solidFill>
                    <a:schemeClr val="accent1"/>
                  </a:solidFill>
                  <a:effectLst/>
                  <a:uLnTx/>
                  <a:uFillTx/>
                  <a:latin typeface="HarmonyOS Sans SC Black"/>
                  <a:ea typeface="+mj-ea"/>
                  <a:cs typeface="+mn-cs"/>
                </a:rPr>
                <a:t>Subtitle Here</a:t>
              </a:r>
              <a:endParaRPr kumimoji="0" lang="en-US" sz="1100" b="0" i="0" u="none" strike="noStrike" kern="1200" cap="none" spc="0" normalizeH="0" baseline="0" noProof="0" dirty="0">
                <a:ln>
                  <a:noFill/>
                </a:ln>
                <a:solidFill>
                  <a:schemeClr val="accent1"/>
                </a:solidFill>
                <a:effectLst/>
                <a:uLnTx/>
                <a:uFillTx/>
                <a:latin typeface="HarmonyOS Sans SC Black"/>
                <a:ea typeface="+mj-ea"/>
                <a:cs typeface="+mn-cs"/>
              </a:endParaRPr>
            </a:p>
          </p:txBody>
        </p:sp>
        <p:sp>
          <p:nvSpPr>
            <p:cNvPr id="91" name="TextBox 65">
              <a:extLst>
                <a:ext uri="{FF2B5EF4-FFF2-40B4-BE49-F238E27FC236}">
                  <a16:creationId xmlns:a16="http://schemas.microsoft.com/office/drawing/2014/main" id="{E9551793-DA6C-42AA-B013-871630DA25EB}"/>
                </a:ext>
              </a:extLst>
            </p:cNvPr>
            <p:cNvSpPr txBox="1"/>
            <p:nvPr/>
          </p:nvSpPr>
          <p:spPr>
            <a:xfrm>
              <a:off x="5154634" y="2332794"/>
              <a:ext cx="1812046" cy="462746"/>
            </a:xfrm>
            <a:prstGeom prst="rect">
              <a:avLst/>
            </a:prstGeom>
            <a:noFill/>
          </p:spPr>
          <p:txBody>
            <a:bodyPr wrap="square" lIns="0" tIns="36000" rIns="0" bIns="36000" rtlCol="0">
              <a:spAutoFit/>
            </a:bodyPr>
            <a:lstStyle/>
            <a:p>
              <a:pPr marL="0" marR="0" lvl="0" indent="0" algn="r" defTabSz="914400" rtl="0" eaLnBrk="1" fontAlgn="auto" latinLnBrk="0" hangingPunct="1">
                <a:lnSpc>
                  <a:spcPct val="120000"/>
                </a:lnSpc>
                <a:spcBef>
                  <a:spcPts val="600"/>
                </a:spcBef>
                <a:spcAft>
                  <a:spcPts val="0"/>
                </a:spcAft>
                <a:buClrTx/>
                <a:buSzTx/>
                <a:buFontTx/>
                <a:buNone/>
                <a:tabLst/>
                <a:defRPr/>
              </a:pPr>
              <a:r>
                <a:rPr kumimoji="0" lang="en-US" sz="1100" b="0" i="0" u="none" strike="noStrike" kern="1200" cap="none" spc="0" normalizeH="0" baseline="0" noProof="0" dirty="0">
                  <a:ln>
                    <a:noFill/>
                  </a:ln>
                  <a:solidFill>
                    <a:prstClr val="black">
                      <a:lumMod val="50000"/>
                      <a:lumOff val="50000"/>
                    </a:prstClr>
                  </a:solidFill>
                  <a:effectLst/>
                  <a:uLnTx/>
                  <a:uFillTx/>
                  <a:latin typeface="HarmonyOS Sans SC"/>
                  <a:cs typeface="+mn-cs"/>
                </a:rPr>
                <a:t>As the minuteness of the parts formed a great.</a:t>
              </a:r>
            </a:p>
          </p:txBody>
        </p:sp>
      </p:grpSp>
      <p:grpSp>
        <p:nvGrpSpPr>
          <p:cNvPr id="92" name="组合 91">
            <a:extLst>
              <a:ext uri="{FF2B5EF4-FFF2-40B4-BE49-F238E27FC236}">
                <a16:creationId xmlns:a16="http://schemas.microsoft.com/office/drawing/2014/main" id="{F5302E7D-0C66-4B5D-AF4F-2F72EF5D8437}"/>
              </a:ext>
            </a:extLst>
          </p:cNvPr>
          <p:cNvGrpSpPr/>
          <p:nvPr/>
        </p:nvGrpSpPr>
        <p:grpSpPr>
          <a:xfrm>
            <a:off x="8076389" y="3880446"/>
            <a:ext cx="1812046" cy="846145"/>
            <a:chOff x="5154634" y="1949395"/>
            <a:chExt cx="1812046" cy="846145"/>
          </a:xfrm>
        </p:grpSpPr>
        <p:sp>
          <p:nvSpPr>
            <p:cNvPr id="93" name="TextBox 65">
              <a:extLst>
                <a:ext uri="{FF2B5EF4-FFF2-40B4-BE49-F238E27FC236}">
                  <a16:creationId xmlns:a16="http://schemas.microsoft.com/office/drawing/2014/main" id="{E867FC75-3DD9-435C-95A3-61814DBFD68A}"/>
                </a:ext>
              </a:extLst>
            </p:cNvPr>
            <p:cNvSpPr txBox="1"/>
            <p:nvPr/>
          </p:nvSpPr>
          <p:spPr>
            <a:xfrm>
              <a:off x="5154634" y="1949395"/>
              <a:ext cx="1538928" cy="345598"/>
            </a:xfrm>
            <a:prstGeom prst="rect">
              <a:avLst/>
            </a:prstGeom>
            <a:noFill/>
          </p:spPr>
          <p:txBody>
            <a:bodyPr wrap="square" lIns="0" tIns="36000" rIns="0" bIns="36000" rtlCol="0">
              <a:spAutoFit/>
            </a:bodyPr>
            <a:lstStyle/>
            <a:p>
              <a:pPr marL="0" marR="0" lvl="0" indent="0" algn="l" defTabSz="914400" rtl="0" eaLnBrk="1" fontAlgn="auto" latinLnBrk="0" hangingPunct="1">
                <a:lnSpc>
                  <a:spcPct val="120000"/>
                </a:lnSpc>
                <a:spcBef>
                  <a:spcPts val="600"/>
                </a:spcBef>
                <a:spcAft>
                  <a:spcPts val="0"/>
                </a:spcAft>
                <a:buClrTx/>
                <a:buSzTx/>
                <a:buFontTx/>
                <a:buNone/>
                <a:tabLst/>
                <a:defRPr/>
              </a:pPr>
              <a:r>
                <a:rPr kumimoji="0" lang="en-US" sz="1600" b="0" i="0" u="none" strike="noStrike" kern="1200" cap="none" spc="0" normalizeH="0" baseline="0" noProof="0" dirty="0">
                  <a:ln>
                    <a:noFill/>
                  </a:ln>
                  <a:solidFill>
                    <a:schemeClr val="accent1"/>
                  </a:solidFill>
                  <a:effectLst/>
                  <a:uLnTx/>
                  <a:uFillTx/>
                  <a:latin typeface="HarmonyOS Sans SC Black"/>
                  <a:ea typeface="+mj-ea"/>
                  <a:cs typeface="+mn-cs"/>
                </a:rPr>
                <a:t>Subtitle Here</a:t>
              </a:r>
              <a:endParaRPr kumimoji="0" lang="en-US" sz="1100" b="0" i="0" u="none" strike="noStrike" kern="1200" cap="none" spc="0" normalizeH="0" baseline="0" noProof="0" dirty="0">
                <a:ln>
                  <a:noFill/>
                </a:ln>
                <a:solidFill>
                  <a:schemeClr val="accent1"/>
                </a:solidFill>
                <a:effectLst/>
                <a:uLnTx/>
                <a:uFillTx/>
                <a:latin typeface="HarmonyOS Sans SC Black"/>
                <a:ea typeface="+mj-ea"/>
                <a:cs typeface="+mn-cs"/>
              </a:endParaRPr>
            </a:p>
          </p:txBody>
        </p:sp>
        <p:sp>
          <p:nvSpPr>
            <p:cNvPr id="94" name="TextBox 65">
              <a:extLst>
                <a:ext uri="{FF2B5EF4-FFF2-40B4-BE49-F238E27FC236}">
                  <a16:creationId xmlns:a16="http://schemas.microsoft.com/office/drawing/2014/main" id="{9D98FCF4-1E79-4146-983A-55DC1E65E86F}"/>
                </a:ext>
              </a:extLst>
            </p:cNvPr>
            <p:cNvSpPr txBox="1"/>
            <p:nvPr/>
          </p:nvSpPr>
          <p:spPr>
            <a:xfrm>
              <a:off x="5154634" y="2332794"/>
              <a:ext cx="1812046" cy="462746"/>
            </a:xfrm>
            <a:prstGeom prst="rect">
              <a:avLst/>
            </a:prstGeom>
            <a:noFill/>
          </p:spPr>
          <p:txBody>
            <a:bodyPr wrap="square" lIns="0" tIns="36000" rIns="0" bIns="36000" rtlCol="0">
              <a:spAutoFit/>
            </a:bodyPr>
            <a:lstStyle/>
            <a:p>
              <a:pPr marL="0" marR="0" lvl="0" indent="0" algn="l" defTabSz="914400" rtl="0" eaLnBrk="1" fontAlgn="auto" latinLnBrk="0" hangingPunct="1">
                <a:lnSpc>
                  <a:spcPct val="120000"/>
                </a:lnSpc>
                <a:spcBef>
                  <a:spcPts val="600"/>
                </a:spcBef>
                <a:spcAft>
                  <a:spcPts val="0"/>
                </a:spcAft>
                <a:buClrTx/>
                <a:buSzTx/>
                <a:buFontTx/>
                <a:buNone/>
                <a:tabLst/>
                <a:defRPr/>
              </a:pPr>
              <a:r>
                <a:rPr kumimoji="0" lang="en-US" sz="1100" b="0" i="0" u="none" strike="noStrike" kern="1200" cap="none" spc="0" normalizeH="0" baseline="0" noProof="0" dirty="0">
                  <a:ln>
                    <a:noFill/>
                  </a:ln>
                  <a:solidFill>
                    <a:prstClr val="black">
                      <a:lumMod val="50000"/>
                      <a:lumOff val="50000"/>
                    </a:prstClr>
                  </a:solidFill>
                  <a:effectLst/>
                  <a:uLnTx/>
                  <a:uFillTx/>
                  <a:latin typeface="HarmonyOS Sans SC"/>
                  <a:cs typeface="+mn-cs"/>
                </a:rPr>
                <a:t>As the minuteness of the parts formed a great.</a:t>
              </a:r>
            </a:p>
          </p:txBody>
        </p:sp>
      </p:grpSp>
      <p:grpSp>
        <p:nvGrpSpPr>
          <p:cNvPr id="95" name="组合 94">
            <a:extLst>
              <a:ext uri="{FF2B5EF4-FFF2-40B4-BE49-F238E27FC236}">
                <a16:creationId xmlns:a16="http://schemas.microsoft.com/office/drawing/2014/main" id="{CD2FE7A8-265F-414C-A682-DC4721D554E2}"/>
              </a:ext>
            </a:extLst>
          </p:cNvPr>
          <p:cNvGrpSpPr/>
          <p:nvPr/>
        </p:nvGrpSpPr>
        <p:grpSpPr>
          <a:xfrm>
            <a:off x="8925307" y="5056940"/>
            <a:ext cx="1812046" cy="846145"/>
            <a:chOff x="5154634" y="1949395"/>
            <a:chExt cx="1812046" cy="846145"/>
          </a:xfrm>
        </p:grpSpPr>
        <p:sp>
          <p:nvSpPr>
            <p:cNvPr id="96" name="TextBox 65">
              <a:extLst>
                <a:ext uri="{FF2B5EF4-FFF2-40B4-BE49-F238E27FC236}">
                  <a16:creationId xmlns:a16="http://schemas.microsoft.com/office/drawing/2014/main" id="{7A974B80-7BA3-4BFC-A0A8-F09524AE7C37}"/>
                </a:ext>
              </a:extLst>
            </p:cNvPr>
            <p:cNvSpPr txBox="1"/>
            <p:nvPr/>
          </p:nvSpPr>
          <p:spPr>
            <a:xfrm>
              <a:off x="5154634" y="1949395"/>
              <a:ext cx="1538928" cy="345598"/>
            </a:xfrm>
            <a:prstGeom prst="rect">
              <a:avLst/>
            </a:prstGeom>
            <a:noFill/>
          </p:spPr>
          <p:txBody>
            <a:bodyPr wrap="square" lIns="0" tIns="36000" rIns="0" bIns="36000" rtlCol="0">
              <a:spAutoFit/>
            </a:bodyPr>
            <a:lstStyle/>
            <a:p>
              <a:pPr marL="0" marR="0" lvl="0" indent="0" algn="l" defTabSz="914400" rtl="0" eaLnBrk="1" fontAlgn="auto" latinLnBrk="0" hangingPunct="1">
                <a:lnSpc>
                  <a:spcPct val="120000"/>
                </a:lnSpc>
                <a:spcBef>
                  <a:spcPts val="600"/>
                </a:spcBef>
                <a:spcAft>
                  <a:spcPts val="0"/>
                </a:spcAft>
                <a:buClrTx/>
                <a:buSzTx/>
                <a:buFontTx/>
                <a:buNone/>
                <a:tabLst/>
                <a:defRPr/>
              </a:pPr>
              <a:r>
                <a:rPr kumimoji="0" lang="en-US" sz="1600" b="0" i="0" u="none" strike="noStrike" kern="1200" cap="none" spc="0" normalizeH="0" baseline="0" noProof="0" dirty="0">
                  <a:ln>
                    <a:noFill/>
                  </a:ln>
                  <a:solidFill>
                    <a:schemeClr val="accent1"/>
                  </a:solidFill>
                  <a:effectLst/>
                  <a:uLnTx/>
                  <a:uFillTx/>
                  <a:latin typeface="HarmonyOS Sans SC Black"/>
                  <a:ea typeface="+mj-ea"/>
                  <a:cs typeface="+mn-cs"/>
                </a:rPr>
                <a:t>Subtitle Here</a:t>
              </a:r>
              <a:endParaRPr kumimoji="0" lang="en-US" sz="1100" b="0" i="0" u="none" strike="noStrike" kern="1200" cap="none" spc="0" normalizeH="0" baseline="0" noProof="0" dirty="0">
                <a:ln>
                  <a:noFill/>
                </a:ln>
                <a:solidFill>
                  <a:schemeClr val="accent1"/>
                </a:solidFill>
                <a:effectLst/>
                <a:uLnTx/>
                <a:uFillTx/>
                <a:latin typeface="HarmonyOS Sans SC Black"/>
                <a:ea typeface="+mj-ea"/>
                <a:cs typeface="+mn-cs"/>
              </a:endParaRPr>
            </a:p>
          </p:txBody>
        </p:sp>
        <p:sp>
          <p:nvSpPr>
            <p:cNvPr id="97" name="TextBox 65">
              <a:extLst>
                <a:ext uri="{FF2B5EF4-FFF2-40B4-BE49-F238E27FC236}">
                  <a16:creationId xmlns:a16="http://schemas.microsoft.com/office/drawing/2014/main" id="{6B5E1790-FE14-4B6F-BE21-66700DA60CC6}"/>
                </a:ext>
              </a:extLst>
            </p:cNvPr>
            <p:cNvSpPr txBox="1"/>
            <p:nvPr/>
          </p:nvSpPr>
          <p:spPr>
            <a:xfrm>
              <a:off x="5154634" y="2332794"/>
              <a:ext cx="1812046" cy="462746"/>
            </a:xfrm>
            <a:prstGeom prst="rect">
              <a:avLst/>
            </a:prstGeom>
            <a:noFill/>
          </p:spPr>
          <p:txBody>
            <a:bodyPr wrap="square" lIns="0" tIns="36000" rIns="0" bIns="36000" rtlCol="0">
              <a:spAutoFit/>
            </a:bodyPr>
            <a:lstStyle/>
            <a:p>
              <a:pPr marL="0" marR="0" lvl="0" indent="0" algn="l" defTabSz="914400" rtl="0" eaLnBrk="1" fontAlgn="auto" latinLnBrk="0" hangingPunct="1">
                <a:lnSpc>
                  <a:spcPct val="120000"/>
                </a:lnSpc>
                <a:spcBef>
                  <a:spcPts val="600"/>
                </a:spcBef>
                <a:spcAft>
                  <a:spcPts val="0"/>
                </a:spcAft>
                <a:buClrTx/>
                <a:buSzTx/>
                <a:buFontTx/>
                <a:buNone/>
                <a:tabLst/>
                <a:defRPr/>
              </a:pPr>
              <a:r>
                <a:rPr kumimoji="0" lang="en-US" sz="1100" b="0" i="0" u="none" strike="noStrike" kern="1200" cap="none" spc="0" normalizeH="0" baseline="0" noProof="0" dirty="0">
                  <a:ln>
                    <a:noFill/>
                  </a:ln>
                  <a:solidFill>
                    <a:prstClr val="black">
                      <a:lumMod val="50000"/>
                      <a:lumOff val="50000"/>
                    </a:prstClr>
                  </a:solidFill>
                  <a:effectLst/>
                  <a:uLnTx/>
                  <a:uFillTx/>
                  <a:latin typeface="HarmonyOS Sans SC"/>
                  <a:cs typeface="+mn-cs"/>
                </a:rPr>
                <a:t>As the minuteness of the parts formed a great.</a:t>
              </a:r>
            </a:p>
          </p:txBody>
        </p:sp>
      </p:grpSp>
    </p:spTree>
    <p:extLst>
      <p:ext uri="{BB962C8B-B14F-4D97-AF65-F5344CB8AC3E}">
        <p14:creationId xmlns:p14="http://schemas.microsoft.com/office/powerpoint/2010/main" val="3096365589"/>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平行四边形 23">
            <a:extLst>
              <a:ext uri="{FF2B5EF4-FFF2-40B4-BE49-F238E27FC236}">
                <a16:creationId xmlns:a16="http://schemas.microsoft.com/office/drawing/2014/main" id="{30668CDC-B295-4787-B155-5C305DC9B08B}"/>
              </a:ext>
            </a:extLst>
          </p:cNvPr>
          <p:cNvSpPr/>
          <p:nvPr/>
        </p:nvSpPr>
        <p:spPr>
          <a:xfrm>
            <a:off x="2583525" y="1876425"/>
            <a:ext cx="10437150" cy="3105150"/>
          </a:xfrm>
          <a:prstGeom prst="parallelogram">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p>
        </p:txBody>
      </p:sp>
      <p:sp>
        <p:nvSpPr>
          <p:cNvPr id="3" name="平行四边形 2">
            <a:extLst>
              <a:ext uri="{FF2B5EF4-FFF2-40B4-BE49-F238E27FC236}">
                <a16:creationId xmlns:a16="http://schemas.microsoft.com/office/drawing/2014/main" id="{B826B19D-F234-42E4-AE3A-2F39C9028044}"/>
              </a:ext>
            </a:extLst>
          </p:cNvPr>
          <p:cNvSpPr/>
          <p:nvPr/>
        </p:nvSpPr>
        <p:spPr>
          <a:xfrm>
            <a:off x="-1517978" y="1876425"/>
            <a:ext cx="4613603" cy="3105150"/>
          </a:xfrm>
          <a:prstGeom prst="parallelogram">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p>
        </p:txBody>
      </p:sp>
      <p:grpSp>
        <p:nvGrpSpPr>
          <p:cNvPr id="6" name="组合 5">
            <a:extLst>
              <a:ext uri="{FF2B5EF4-FFF2-40B4-BE49-F238E27FC236}">
                <a16:creationId xmlns:a16="http://schemas.microsoft.com/office/drawing/2014/main" id="{BB090D6E-ECF5-4E0A-8657-9AE1E6A87463}"/>
              </a:ext>
            </a:extLst>
          </p:cNvPr>
          <p:cNvGrpSpPr/>
          <p:nvPr/>
        </p:nvGrpSpPr>
        <p:grpSpPr>
          <a:xfrm>
            <a:off x="3583799" y="2510656"/>
            <a:ext cx="7751686" cy="2047110"/>
            <a:chOff x="3304658" y="2437427"/>
            <a:chExt cx="8309967" cy="2194544"/>
          </a:xfrm>
        </p:grpSpPr>
        <p:sp>
          <p:nvSpPr>
            <p:cNvPr id="11" name="文本框 10">
              <a:extLst>
                <a:ext uri="{FF2B5EF4-FFF2-40B4-BE49-F238E27FC236}">
                  <a16:creationId xmlns:a16="http://schemas.microsoft.com/office/drawing/2014/main" id="{E4393356-E9A7-46D9-B5F5-0D21EC991A29}"/>
                </a:ext>
              </a:extLst>
            </p:cNvPr>
            <p:cNvSpPr txBox="1"/>
            <p:nvPr/>
          </p:nvSpPr>
          <p:spPr>
            <a:xfrm>
              <a:off x="3304658" y="2945543"/>
              <a:ext cx="8309967" cy="1107996"/>
            </a:xfrm>
            <a:prstGeom prst="rect">
              <a:avLst/>
            </a:prstGeom>
            <a:noFill/>
          </p:spPr>
          <p:txBody>
            <a:bodyPr wrap="none" lIns="0" tIns="0" rIns="0" bIns="0" rtlCol="0" anchor="t">
              <a:spAutoFit/>
            </a:bodyPr>
            <a:lstStyle/>
            <a:p>
              <a:pPr algn="ctr"/>
              <a:r>
                <a:rPr lang="zh-CN" altLang="en-US" sz="6600" dirty="0">
                  <a:solidFill>
                    <a:schemeClr val="bg1"/>
                  </a:solidFill>
                  <a:latin typeface="+mj-ea"/>
                  <a:ea typeface="+mj-ea"/>
                </a:rPr>
                <a:t>输入你的封面大标题</a:t>
              </a:r>
            </a:p>
          </p:txBody>
        </p:sp>
        <p:sp>
          <p:nvSpPr>
            <p:cNvPr id="12" name="文本框 11">
              <a:extLst>
                <a:ext uri="{FF2B5EF4-FFF2-40B4-BE49-F238E27FC236}">
                  <a16:creationId xmlns:a16="http://schemas.microsoft.com/office/drawing/2014/main" id="{08D1ED60-C0E7-408E-A5AA-59B489440FCB}"/>
                </a:ext>
              </a:extLst>
            </p:cNvPr>
            <p:cNvSpPr txBox="1"/>
            <p:nvPr/>
          </p:nvSpPr>
          <p:spPr>
            <a:xfrm>
              <a:off x="5493730" y="2437427"/>
              <a:ext cx="3931819" cy="362937"/>
            </a:xfrm>
            <a:prstGeom prst="rect">
              <a:avLst/>
            </a:prstGeom>
            <a:noFill/>
          </p:spPr>
          <p:txBody>
            <a:bodyPr wrap="none" lIns="0" tIns="0" rIns="0" bIns="0" rtlCol="0" anchor="t">
              <a:spAutoFit/>
            </a:bodyPr>
            <a:lstStyle/>
            <a:p>
              <a:pPr algn="ctr"/>
              <a:r>
                <a:rPr lang="zh-CN" altLang="en-US" sz="2200" dirty="0">
                  <a:solidFill>
                    <a:schemeClr val="bg1"/>
                  </a:solidFill>
                  <a:latin typeface="+mn-ea"/>
                </a:rPr>
                <a:t>输入你的副标题或大标题英文</a:t>
              </a:r>
            </a:p>
          </p:txBody>
        </p:sp>
        <p:cxnSp>
          <p:nvCxnSpPr>
            <p:cNvPr id="14" name="直接连接符 13">
              <a:extLst>
                <a:ext uri="{FF2B5EF4-FFF2-40B4-BE49-F238E27FC236}">
                  <a16:creationId xmlns:a16="http://schemas.microsoft.com/office/drawing/2014/main" id="{99FDF5DC-EAFA-4C3B-B052-660243EB047F}"/>
                </a:ext>
              </a:extLst>
            </p:cNvPr>
            <p:cNvCxnSpPr/>
            <p:nvPr/>
          </p:nvCxnSpPr>
          <p:spPr>
            <a:xfrm flipH="1">
              <a:off x="3393609" y="2598071"/>
              <a:ext cx="1901952"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 name="直接连接符 14">
              <a:extLst>
                <a:ext uri="{FF2B5EF4-FFF2-40B4-BE49-F238E27FC236}">
                  <a16:creationId xmlns:a16="http://schemas.microsoft.com/office/drawing/2014/main" id="{C6CC629A-E754-4728-BB95-563C56597B63}"/>
                </a:ext>
              </a:extLst>
            </p:cNvPr>
            <p:cNvCxnSpPr/>
            <p:nvPr/>
          </p:nvCxnSpPr>
          <p:spPr>
            <a:xfrm flipH="1">
              <a:off x="9648105" y="2598071"/>
              <a:ext cx="1901952"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grpSp>
          <p:nvGrpSpPr>
            <p:cNvPr id="18" name="组合 17">
              <a:extLst>
                <a:ext uri="{FF2B5EF4-FFF2-40B4-BE49-F238E27FC236}">
                  <a16:creationId xmlns:a16="http://schemas.microsoft.com/office/drawing/2014/main" id="{FC799265-AC15-410F-82A2-679AB60B288F}"/>
                </a:ext>
              </a:extLst>
            </p:cNvPr>
            <p:cNvGrpSpPr/>
            <p:nvPr/>
          </p:nvGrpSpPr>
          <p:grpSpPr>
            <a:xfrm>
              <a:off x="5695343" y="4401010"/>
              <a:ext cx="1402535" cy="230961"/>
              <a:chOff x="4095451" y="4640913"/>
              <a:chExt cx="1402535" cy="230961"/>
            </a:xfrm>
          </p:grpSpPr>
          <p:sp>
            <p:nvSpPr>
              <p:cNvPr id="16" name="矩形 15">
                <a:extLst>
                  <a:ext uri="{FF2B5EF4-FFF2-40B4-BE49-F238E27FC236}">
                    <a16:creationId xmlns:a16="http://schemas.microsoft.com/office/drawing/2014/main" id="{74C493E7-1B47-4349-BC5B-BF3163490795}"/>
                  </a:ext>
                </a:extLst>
              </p:cNvPr>
              <p:cNvSpPr/>
              <p:nvPr/>
            </p:nvSpPr>
            <p:spPr>
              <a:xfrm>
                <a:off x="4095451" y="4672584"/>
                <a:ext cx="164592" cy="1645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5400" dirty="0">
                  <a:solidFill>
                    <a:schemeClr val="bg1"/>
                  </a:solidFill>
                </a:endParaRPr>
              </a:p>
            </p:txBody>
          </p:sp>
          <p:sp>
            <p:nvSpPr>
              <p:cNvPr id="17" name="文本框 16">
                <a:extLst>
                  <a:ext uri="{FF2B5EF4-FFF2-40B4-BE49-F238E27FC236}">
                    <a16:creationId xmlns:a16="http://schemas.microsoft.com/office/drawing/2014/main" id="{B804F6AA-7656-4EF8-84F0-3B3FB5CF0922}"/>
                  </a:ext>
                </a:extLst>
              </p:cNvPr>
              <p:cNvSpPr txBox="1"/>
              <p:nvPr/>
            </p:nvSpPr>
            <p:spPr>
              <a:xfrm>
                <a:off x="4408487" y="4640913"/>
                <a:ext cx="1089499" cy="230961"/>
              </a:xfrm>
              <a:prstGeom prst="rect">
                <a:avLst/>
              </a:prstGeom>
              <a:noFill/>
            </p:spPr>
            <p:txBody>
              <a:bodyPr wrap="none" lIns="0" tIns="0" rIns="0" bIns="0" rtlCol="0" anchor="t">
                <a:spAutoFit/>
              </a:bodyPr>
              <a:lstStyle/>
              <a:p>
                <a:r>
                  <a:rPr lang="zh-CN" altLang="en-US" sz="1400" dirty="0">
                    <a:solidFill>
                      <a:schemeClr val="bg1"/>
                    </a:solidFill>
                    <a:latin typeface="+mn-ea"/>
                  </a:rPr>
                  <a:t>汇报人：</a:t>
                </a:r>
                <a:r>
                  <a:rPr lang="en-US" altLang="zh-CN" sz="1400" dirty="0">
                    <a:solidFill>
                      <a:schemeClr val="bg1"/>
                    </a:solidFill>
                    <a:latin typeface="+mn-ea"/>
                  </a:rPr>
                  <a:t>xxx</a:t>
                </a:r>
                <a:endParaRPr lang="zh-CN" altLang="en-US" sz="1400" dirty="0">
                  <a:solidFill>
                    <a:schemeClr val="bg1"/>
                  </a:solidFill>
                  <a:latin typeface="+mn-ea"/>
                </a:endParaRPr>
              </a:p>
            </p:txBody>
          </p:sp>
        </p:grpSp>
        <p:grpSp>
          <p:nvGrpSpPr>
            <p:cNvPr id="19" name="组合 18">
              <a:extLst>
                <a:ext uri="{FF2B5EF4-FFF2-40B4-BE49-F238E27FC236}">
                  <a16:creationId xmlns:a16="http://schemas.microsoft.com/office/drawing/2014/main" id="{482B1619-178E-45D1-BC39-C5F4314075B6}"/>
                </a:ext>
              </a:extLst>
            </p:cNvPr>
            <p:cNvGrpSpPr/>
            <p:nvPr/>
          </p:nvGrpSpPr>
          <p:grpSpPr>
            <a:xfrm>
              <a:off x="7953911" y="4401010"/>
              <a:ext cx="1210068" cy="230961"/>
              <a:chOff x="4095451" y="4640913"/>
              <a:chExt cx="1210068" cy="230961"/>
            </a:xfrm>
          </p:grpSpPr>
          <p:sp>
            <p:nvSpPr>
              <p:cNvPr id="20" name="矩形 19">
                <a:extLst>
                  <a:ext uri="{FF2B5EF4-FFF2-40B4-BE49-F238E27FC236}">
                    <a16:creationId xmlns:a16="http://schemas.microsoft.com/office/drawing/2014/main" id="{3A1AE345-38CE-49BE-9E58-2C20078777A3}"/>
                  </a:ext>
                </a:extLst>
              </p:cNvPr>
              <p:cNvSpPr/>
              <p:nvPr/>
            </p:nvSpPr>
            <p:spPr>
              <a:xfrm>
                <a:off x="4095451" y="4672584"/>
                <a:ext cx="164592" cy="1645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5400" dirty="0">
                  <a:solidFill>
                    <a:schemeClr val="bg1"/>
                  </a:solidFill>
                </a:endParaRPr>
              </a:p>
            </p:txBody>
          </p:sp>
          <p:sp>
            <p:nvSpPr>
              <p:cNvPr id="21" name="文本框 20">
                <a:extLst>
                  <a:ext uri="{FF2B5EF4-FFF2-40B4-BE49-F238E27FC236}">
                    <a16:creationId xmlns:a16="http://schemas.microsoft.com/office/drawing/2014/main" id="{FCC3031D-C171-43E7-B549-82FC96054817}"/>
                  </a:ext>
                </a:extLst>
              </p:cNvPr>
              <p:cNvSpPr txBox="1"/>
              <p:nvPr/>
            </p:nvSpPr>
            <p:spPr>
              <a:xfrm>
                <a:off x="4408487" y="4640913"/>
                <a:ext cx="897032" cy="230961"/>
              </a:xfrm>
              <a:prstGeom prst="rect">
                <a:avLst/>
              </a:prstGeom>
              <a:noFill/>
            </p:spPr>
            <p:txBody>
              <a:bodyPr wrap="none" lIns="0" tIns="0" rIns="0" bIns="0" rtlCol="0" anchor="t">
                <a:spAutoFit/>
              </a:bodyPr>
              <a:lstStyle/>
              <a:p>
                <a:r>
                  <a:rPr lang="zh-CN" altLang="en-US" sz="1400" dirty="0">
                    <a:solidFill>
                      <a:schemeClr val="bg1"/>
                    </a:solidFill>
                    <a:latin typeface="+mn-ea"/>
                  </a:rPr>
                  <a:t>单位：</a:t>
                </a:r>
                <a:r>
                  <a:rPr lang="en-US" altLang="zh-CN" sz="1400" dirty="0">
                    <a:solidFill>
                      <a:schemeClr val="bg1"/>
                    </a:solidFill>
                    <a:latin typeface="+mn-ea"/>
                  </a:rPr>
                  <a:t>xxx</a:t>
                </a:r>
                <a:endParaRPr lang="zh-CN" altLang="en-US" sz="1400" dirty="0">
                  <a:solidFill>
                    <a:schemeClr val="bg1"/>
                  </a:solidFill>
                  <a:latin typeface="+mn-ea"/>
                </a:endParaRPr>
              </a:p>
            </p:txBody>
          </p:sp>
        </p:grpSp>
        <p:cxnSp>
          <p:nvCxnSpPr>
            <p:cNvPr id="23" name="直接连接符 22">
              <a:extLst>
                <a:ext uri="{FF2B5EF4-FFF2-40B4-BE49-F238E27FC236}">
                  <a16:creationId xmlns:a16="http://schemas.microsoft.com/office/drawing/2014/main" id="{CE4614EF-B88F-4347-B526-58ECE7F96194}"/>
                </a:ext>
              </a:extLst>
            </p:cNvPr>
            <p:cNvCxnSpPr>
              <a:cxnSpLocks/>
            </p:cNvCxnSpPr>
            <p:nvPr/>
          </p:nvCxnSpPr>
          <p:spPr>
            <a:xfrm flipH="1">
              <a:off x="3393609" y="4122071"/>
              <a:ext cx="8156448"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25" name="任意多边形: 形状 24">
            <a:extLst>
              <a:ext uri="{FF2B5EF4-FFF2-40B4-BE49-F238E27FC236}">
                <a16:creationId xmlns:a16="http://schemas.microsoft.com/office/drawing/2014/main" id="{0138FCBA-FB73-4CEE-B5D0-F9016855BA21}"/>
              </a:ext>
            </a:extLst>
          </p:cNvPr>
          <p:cNvSpPr/>
          <p:nvPr/>
        </p:nvSpPr>
        <p:spPr>
          <a:xfrm>
            <a:off x="723679" y="2818432"/>
            <a:ext cx="1331826" cy="1221507"/>
          </a:xfrm>
          <a:custGeom>
            <a:avLst/>
            <a:gdLst>
              <a:gd name="connsiteX0" fmla="*/ 1006264 w 1331826"/>
              <a:gd name="connsiteY0" fmla="*/ 238125 h 1221507"/>
              <a:gd name="connsiteX1" fmla="*/ 1123466 w 1331826"/>
              <a:gd name="connsiteY1" fmla="*/ 355327 h 1221507"/>
              <a:gd name="connsiteX2" fmla="*/ 1006264 w 1331826"/>
              <a:gd name="connsiteY2" fmla="*/ 472529 h 1221507"/>
              <a:gd name="connsiteX3" fmla="*/ 889062 w 1331826"/>
              <a:gd name="connsiteY3" fmla="*/ 355327 h 1221507"/>
              <a:gd name="connsiteX4" fmla="*/ 1006264 w 1331826"/>
              <a:gd name="connsiteY4" fmla="*/ 238125 h 1221507"/>
              <a:gd name="connsiteX5" fmla="*/ 172827 w 1331826"/>
              <a:gd name="connsiteY5" fmla="*/ 104180 h 1221507"/>
              <a:gd name="connsiteX6" fmla="*/ 105482 w 1331826"/>
              <a:gd name="connsiteY6" fmla="*/ 171152 h 1221507"/>
              <a:gd name="connsiteX7" fmla="*/ 105482 w 1331826"/>
              <a:gd name="connsiteY7" fmla="*/ 726281 h 1221507"/>
              <a:gd name="connsiteX8" fmla="*/ 179152 w 1331826"/>
              <a:gd name="connsiteY8" fmla="*/ 599777 h 1221507"/>
              <a:gd name="connsiteX9" fmla="*/ 303795 w 1331826"/>
              <a:gd name="connsiteY9" fmla="*/ 490761 h 1221507"/>
              <a:gd name="connsiteX10" fmla="*/ 414300 w 1331826"/>
              <a:gd name="connsiteY10" fmla="*/ 507504 h 1221507"/>
              <a:gd name="connsiteX11" fmla="*/ 731676 w 1331826"/>
              <a:gd name="connsiteY11" fmla="*/ 856878 h 1221507"/>
              <a:gd name="connsiteX12" fmla="*/ 780790 w 1331826"/>
              <a:gd name="connsiteY12" fmla="*/ 791022 h 1221507"/>
              <a:gd name="connsiteX13" fmla="*/ 988777 w 1331826"/>
              <a:gd name="connsiteY13" fmla="*/ 633264 h 1221507"/>
              <a:gd name="connsiteX14" fmla="*/ 1093329 w 1331826"/>
              <a:gd name="connsiteY14" fmla="*/ 666006 h 1221507"/>
              <a:gd name="connsiteX15" fmla="*/ 1227646 w 1331826"/>
              <a:gd name="connsiteY15" fmla="*/ 821159 h 1221507"/>
              <a:gd name="connsiteX16" fmla="*/ 1227646 w 1331826"/>
              <a:gd name="connsiteY16" fmla="*/ 171152 h 1221507"/>
              <a:gd name="connsiteX17" fmla="*/ 1160673 w 1331826"/>
              <a:gd name="connsiteY17" fmla="*/ 104180 h 1221507"/>
              <a:gd name="connsiteX18" fmla="*/ 172827 w 1331826"/>
              <a:gd name="connsiteY18" fmla="*/ 0 h 1221507"/>
              <a:gd name="connsiteX19" fmla="*/ 1160673 w 1331826"/>
              <a:gd name="connsiteY19" fmla="*/ 0 h 1221507"/>
              <a:gd name="connsiteX20" fmla="*/ 1331826 w 1331826"/>
              <a:gd name="connsiteY20" fmla="*/ 171152 h 1221507"/>
              <a:gd name="connsiteX21" fmla="*/ 1331826 w 1331826"/>
              <a:gd name="connsiteY21" fmla="*/ 1050355 h 1221507"/>
              <a:gd name="connsiteX22" fmla="*/ 1160673 w 1331826"/>
              <a:gd name="connsiteY22" fmla="*/ 1221507 h 1221507"/>
              <a:gd name="connsiteX23" fmla="*/ 172827 w 1331826"/>
              <a:gd name="connsiteY23" fmla="*/ 1221507 h 1221507"/>
              <a:gd name="connsiteX24" fmla="*/ 1674 w 1331826"/>
              <a:gd name="connsiteY24" fmla="*/ 1050355 h 1221507"/>
              <a:gd name="connsiteX25" fmla="*/ 1674 w 1331826"/>
              <a:gd name="connsiteY25" fmla="*/ 1006450 h 1221507"/>
              <a:gd name="connsiteX26" fmla="*/ 1674 w 1331826"/>
              <a:gd name="connsiteY26" fmla="*/ 980405 h 1221507"/>
              <a:gd name="connsiteX27" fmla="*/ 1674 w 1331826"/>
              <a:gd name="connsiteY27" fmla="*/ 171152 h 1221507"/>
              <a:gd name="connsiteX28" fmla="*/ 172827 w 1331826"/>
              <a:gd name="connsiteY28" fmla="*/ 0 h 1221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31826" h="1221507">
                <a:moveTo>
                  <a:pt x="1006264" y="238125"/>
                </a:moveTo>
                <a:cubicBezTo>
                  <a:pt x="1070993" y="238125"/>
                  <a:pt x="1123466" y="290598"/>
                  <a:pt x="1123466" y="355327"/>
                </a:cubicBezTo>
                <a:cubicBezTo>
                  <a:pt x="1123466" y="420056"/>
                  <a:pt x="1070993" y="472529"/>
                  <a:pt x="1006264" y="472529"/>
                </a:cubicBezTo>
                <a:cubicBezTo>
                  <a:pt x="941535" y="472529"/>
                  <a:pt x="889062" y="420056"/>
                  <a:pt x="889062" y="355327"/>
                </a:cubicBezTo>
                <a:cubicBezTo>
                  <a:pt x="889062" y="290598"/>
                  <a:pt x="941535" y="238125"/>
                  <a:pt x="1006264" y="238125"/>
                </a:cubicBezTo>
                <a:close/>
                <a:moveTo>
                  <a:pt x="172827" y="104180"/>
                </a:moveTo>
                <a:cubicBezTo>
                  <a:pt x="135620" y="104180"/>
                  <a:pt x="105854" y="133945"/>
                  <a:pt x="105482" y="171152"/>
                </a:cubicBezTo>
                <a:lnTo>
                  <a:pt x="105482" y="726281"/>
                </a:lnTo>
                <a:cubicBezTo>
                  <a:pt x="130411" y="676424"/>
                  <a:pt x="154967" y="634008"/>
                  <a:pt x="179152" y="599777"/>
                </a:cubicBezTo>
                <a:cubicBezTo>
                  <a:pt x="220824" y="540246"/>
                  <a:pt x="261751" y="504527"/>
                  <a:pt x="303795" y="490761"/>
                </a:cubicBezTo>
                <a:cubicBezTo>
                  <a:pt x="342491" y="478110"/>
                  <a:pt x="380442" y="483691"/>
                  <a:pt x="414300" y="507504"/>
                </a:cubicBezTo>
                <a:cubicBezTo>
                  <a:pt x="528526" y="587871"/>
                  <a:pt x="663215" y="762372"/>
                  <a:pt x="731676" y="856878"/>
                </a:cubicBezTo>
                <a:cubicBezTo>
                  <a:pt x="745443" y="837158"/>
                  <a:pt x="762186" y="814090"/>
                  <a:pt x="780790" y="791022"/>
                </a:cubicBezTo>
                <a:cubicBezTo>
                  <a:pt x="858552" y="693911"/>
                  <a:pt x="926641" y="642193"/>
                  <a:pt x="988777" y="633264"/>
                </a:cubicBezTo>
                <a:cubicBezTo>
                  <a:pt x="1028216" y="627683"/>
                  <a:pt x="1064307" y="638845"/>
                  <a:pt x="1093329" y="666006"/>
                </a:cubicBezTo>
                <a:cubicBezTo>
                  <a:pt x="1142070" y="711398"/>
                  <a:pt x="1188951" y="768697"/>
                  <a:pt x="1227646" y="821159"/>
                </a:cubicBezTo>
                <a:lnTo>
                  <a:pt x="1227646" y="171152"/>
                </a:lnTo>
                <a:cubicBezTo>
                  <a:pt x="1227646" y="134317"/>
                  <a:pt x="1197508" y="104180"/>
                  <a:pt x="1160673" y="104180"/>
                </a:cubicBezTo>
                <a:close/>
                <a:moveTo>
                  <a:pt x="172827" y="0"/>
                </a:moveTo>
                <a:lnTo>
                  <a:pt x="1160673" y="0"/>
                </a:lnTo>
                <a:cubicBezTo>
                  <a:pt x="1255179" y="0"/>
                  <a:pt x="1331826" y="76646"/>
                  <a:pt x="1331826" y="171152"/>
                </a:cubicBezTo>
                <a:lnTo>
                  <a:pt x="1331826" y="1050355"/>
                </a:lnTo>
                <a:cubicBezTo>
                  <a:pt x="1331826" y="1144860"/>
                  <a:pt x="1255179" y="1221507"/>
                  <a:pt x="1160673" y="1221507"/>
                </a:cubicBezTo>
                <a:lnTo>
                  <a:pt x="172827" y="1221507"/>
                </a:lnTo>
                <a:cubicBezTo>
                  <a:pt x="78321" y="1221507"/>
                  <a:pt x="1674" y="1144860"/>
                  <a:pt x="1674" y="1050355"/>
                </a:cubicBezTo>
                <a:lnTo>
                  <a:pt x="1674" y="1006450"/>
                </a:lnTo>
                <a:cubicBezTo>
                  <a:pt x="-558" y="997893"/>
                  <a:pt x="-558" y="989335"/>
                  <a:pt x="1674" y="980405"/>
                </a:cubicBezTo>
                <a:lnTo>
                  <a:pt x="1674" y="171152"/>
                </a:lnTo>
                <a:cubicBezTo>
                  <a:pt x="1674" y="76646"/>
                  <a:pt x="78321" y="0"/>
                  <a:pt x="172827" y="0"/>
                </a:cubicBezTo>
                <a:close/>
              </a:path>
            </a:pathLst>
          </a:custGeom>
          <a:solidFill>
            <a:schemeClr val="bg1"/>
          </a:solidFill>
          <a:ln w="1860" cap="flat">
            <a:noFill/>
            <a:prstDash val="solid"/>
            <a:miter/>
          </a:ln>
        </p:spPr>
        <p:txBody>
          <a:bodyPr rtlCol="0" anchor="ctr"/>
          <a:lstStyle/>
          <a:p>
            <a:endParaRPr lang="zh-CN" altLang="en-US"/>
          </a:p>
        </p:txBody>
      </p:sp>
    </p:spTree>
    <p:extLst>
      <p:ext uri="{BB962C8B-B14F-4D97-AF65-F5344CB8AC3E}">
        <p14:creationId xmlns:p14="http://schemas.microsoft.com/office/powerpoint/2010/main" val="4017506241"/>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4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reeform 103">
            <a:extLst>
              <a:ext uri="{FF2B5EF4-FFF2-40B4-BE49-F238E27FC236}">
                <a16:creationId xmlns:a16="http://schemas.microsoft.com/office/drawing/2014/main" id="{B6774A0A-46B6-46E2-99FB-1434616DBD3F}"/>
              </a:ext>
            </a:extLst>
          </p:cNvPr>
          <p:cNvSpPr>
            <a:spLocks/>
          </p:cNvSpPr>
          <p:nvPr/>
        </p:nvSpPr>
        <p:spPr bwMode="auto">
          <a:xfrm>
            <a:off x="0" y="1774064"/>
            <a:ext cx="1523998" cy="865868"/>
          </a:xfrm>
          <a:custGeom>
            <a:avLst/>
            <a:gdLst>
              <a:gd name="T0" fmla="*/ 0 w 152"/>
              <a:gd name="T1" fmla="*/ 116 h 175"/>
              <a:gd name="T2" fmla="*/ 152 w 152"/>
              <a:gd name="T3" fmla="*/ 175 h 175"/>
              <a:gd name="T4" fmla="*/ 152 w 152"/>
              <a:gd name="T5" fmla="*/ 90 h 175"/>
              <a:gd name="T6" fmla="*/ 0 w 152"/>
              <a:gd name="T7" fmla="*/ 0 h 175"/>
              <a:gd name="T8" fmla="*/ 0 w 152"/>
              <a:gd name="T9" fmla="*/ 116 h 175"/>
            </a:gdLst>
            <a:ahLst/>
            <a:cxnLst>
              <a:cxn ang="0">
                <a:pos x="T0" y="T1"/>
              </a:cxn>
              <a:cxn ang="0">
                <a:pos x="T2" y="T3"/>
              </a:cxn>
              <a:cxn ang="0">
                <a:pos x="T4" y="T5"/>
              </a:cxn>
              <a:cxn ang="0">
                <a:pos x="T6" y="T7"/>
              </a:cxn>
              <a:cxn ang="0">
                <a:pos x="T8" y="T9"/>
              </a:cxn>
            </a:cxnLst>
            <a:rect l="0" t="0" r="r" b="b"/>
            <a:pathLst>
              <a:path w="152" h="175">
                <a:moveTo>
                  <a:pt x="0" y="116"/>
                </a:moveTo>
                <a:cubicBezTo>
                  <a:pt x="51" y="136"/>
                  <a:pt x="101" y="155"/>
                  <a:pt x="152" y="175"/>
                </a:cubicBezTo>
                <a:cubicBezTo>
                  <a:pt x="152" y="147"/>
                  <a:pt x="152" y="118"/>
                  <a:pt x="152" y="90"/>
                </a:cubicBezTo>
                <a:cubicBezTo>
                  <a:pt x="101" y="60"/>
                  <a:pt x="51" y="30"/>
                  <a:pt x="0" y="0"/>
                </a:cubicBezTo>
                <a:cubicBezTo>
                  <a:pt x="0" y="39"/>
                  <a:pt x="0" y="77"/>
                  <a:pt x="0" y="116"/>
                </a:cubicBezTo>
                <a:close/>
              </a:path>
            </a:pathLst>
          </a:custGeom>
          <a:gradFill flip="none" rotWithShape="1">
            <a:gsLst>
              <a:gs pos="0">
                <a:schemeClr val="accent1">
                  <a:lumMod val="60000"/>
                  <a:lumOff val="40000"/>
                </a:schemeClr>
              </a:gs>
              <a:gs pos="100000">
                <a:schemeClr val="accent1"/>
              </a:gs>
            </a:gsLst>
            <a:lin ang="0" scaled="1"/>
            <a:tileRect/>
          </a:gradFill>
          <a:ln w="25400">
            <a:noFill/>
            <a:miter lim="800000"/>
          </a:ln>
        </p:spPr>
        <p:txBody>
          <a:bodyPr vert="horz" wrap="square" lIns="640080" tIns="45720" rIns="91440" bIns="45720" numCol="1" anchor="ctr" anchorCtr="0" compatLnSpc="1">
            <a:prstTxWarp prst="textNoShape">
              <a:avLst/>
            </a:prstTxWarp>
          </a:bodyPr>
          <a:lstStyle/>
          <a:p>
            <a:pPr marL="0" marR="0" lvl="0" indent="0" algn="l" defTabSz="914400" rtl="0" eaLnBrk="1" fontAlgn="auto" latinLnBrk="0" hangingPunct="1">
              <a:lnSpc>
                <a:spcPct val="120000"/>
              </a:lnSpc>
              <a:spcBef>
                <a:spcPts val="600"/>
              </a:spcBef>
              <a:spcAft>
                <a:spcPts val="0"/>
              </a:spcAft>
              <a:buClrTx/>
              <a:buSzTx/>
              <a:buFontTx/>
              <a:buNone/>
              <a:tabLst/>
              <a:defRPr/>
            </a:pPr>
            <a:endParaRPr kumimoji="0" lang="en-US" sz="1200" b="1" i="0" u="none" strike="noStrike" kern="1200" cap="none" spc="0" normalizeH="0" baseline="0" noProof="0" dirty="0">
              <a:ln>
                <a:noFill/>
              </a:ln>
              <a:solidFill>
                <a:srgbClr val="FFFFFF"/>
              </a:solidFill>
              <a:effectLst/>
              <a:uLnTx/>
              <a:uFillTx/>
              <a:latin typeface="HarmonyOS Sans SC"/>
              <a:cs typeface="+mn-cs"/>
            </a:endParaRPr>
          </a:p>
        </p:txBody>
      </p:sp>
      <p:sp>
        <p:nvSpPr>
          <p:cNvPr id="4" name="Freeform 108">
            <a:extLst>
              <a:ext uri="{FF2B5EF4-FFF2-40B4-BE49-F238E27FC236}">
                <a16:creationId xmlns:a16="http://schemas.microsoft.com/office/drawing/2014/main" id="{B9893AC3-1196-4CD9-909D-C79326D21225}"/>
              </a:ext>
            </a:extLst>
          </p:cNvPr>
          <p:cNvSpPr>
            <a:spLocks/>
          </p:cNvSpPr>
          <p:nvPr/>
        </p:nvSpPr>
        <p:spPr bwMode="auto">
          <a:xfrm>
            <a:off x="0" y="2580690"/>
            <a:ext cx="1523998" cy="682263"/>
          </a:xfrm>
          <a:custGeom>
            <a:avLst/>
            <a:gdLst>
              <a:gd name="T0" fmla="*/ 0 w 152"/>
              <a:gd name="T1" fmla="*/ 116 h 138"/>
              <a:gd name="T2" fmla="*/ 152 w 152"/>
              <a:gd name="T3" fmla="*/ 138 h 138"/>
              <a:gd name="T4" fmla="*/ 152 w 152"/>
              <a:gd name="T5" fmla="*/ 52 h 138"/>
              <a:gd name="T6" fmla="*/ 0 w 152"/>
              <a:gd name="T7" fmla="*/ 0 h 138"/>
              <a:gd name="T8" fmla="*/ 0 w 152"/>
              <a:gd name="T9" fmla="*/ 116 h 138"/>
            </a:gdLst>
            <a:ahLst/>
            <a:cxnLst>
              <a:cxn ang="0">
                <a:pos x="T0" y="T1"/>
              </a:cxn>
              <a:cxn ang="0">
                <a:pos x="T2" y="T3"/>
              </a:cxn>
              <a:cxn ang="0">
                <a:pos x="T4" y="T5"/>
              </a:cxn>
              <a:cxn ang="0">
                <a:pos x="T6" y="T7"/>
              </a:cxn>
              <a:cxn ang="0">
                <a:pos x="T8" y="T9"/>
              </a:cxn>
            </a:cxnLst>
            <a:rect l="0" t="0" r="r" b="b"/>
            <a:pathLst>
              <a:path w="152" h="138">
                <a:moveTo>
                  <a:pt x="0" y="116"/>
                </a:moveTo>
                <a:cubicBezTo>
                  <a:pt x="51" y="123"/>
                  <a:pt x="101" y="131"/>
                  <a:pt x="152" y="138"/>
                </a:cubicBezTo>
                <a:cubicBezTo>
                  <a:pt x="152" y="109"/>
                  <a:pt x="152" y="81"/>
                  <a:pt x="152" y="52"/>
                </a:cubicBezTo>
                <a:cubicBezTo>
                  <a:pt x="101" y="35"/>
                  <a:pt x="51" y="18"/>
                  <a:pt x="0" y="0"/>
                </a:cubicBezTo>
                <a:cubicBezTo>
                  <a:pt x="0" y="39"/>
                  <a:pt x="0" y="77"/>
                  <a:pt x="0" y="116"/>
                </a:cubicBezTo>
                <a:close/>
              </a:path>
            </a:pathLst>
          </a:custGeom>
          <a:gradFill flip="none" rotWithShape="1">
            <a:gsLst>
              <a:gs pos="0">
                <a:schemeClr val="accent1">
                  <a:lumMod val="60000"/>
                  <a:lumOff val="40000"/>
                </a:schemeClr>
              </a:gs>
              <a:gs pos="100000">
                <a:schemeClr val="accent1"/>
              </a:gs>
            </a:gsLst>
            <a:lin ang="0" scaled="1"/>
            <a:tileRect/>
          </a:gradFill>
          <a:ln w="25400">
            <a:noFill/>
            <a:miter lim="800000"/>
          </a:ln>
        </p:spPr>
        <p:txBody>
          <a:bodyPr vert="horz" wrap="square" lIns="640080" tIns="45720" rIns="91440" bIns="45720" numCol="1" anchor="ctr" anchorCtr="0" compatLnSpc="1">
            <a:prstTxWarp prst="textNoShape">
              <a:avLst/>
            </a:prstTxWarp>
          </a:bodyPr>
          <a:lstStyle/>
          <a:p>
            <a:pPr marL="0" marR="0" lvl="0" indent="0" algn="l" defTabSz="914400" rtl="0" eaLnBrk="1" fontAlgn="auto" latinLnBrk="0" hangingPunct="1">
              <a:lnSpc>
                <a:spcPct val="120000"/>
              </a:lnSpc>
              <a:spcBef>
                <a:spcPts val="600"/>
              </a:spcBef>
              <a:spcAft>
                <a:spcPts val="0"/>
              </a:spcAft>
              <a:buClrTx/>
              <a:buSzTx/>
              <a:buFontTx/>
              <a:buNone/>
              <a:tabLst/>
              <a:defRPr/>
            </a:pPr>
            <a:endParaRPr kumimoji="0" lang="en-US" sz="1200" b="1" i="0" u="none" strike="noStrike" kern="1200" cap="none" spc="0" normalizeH="0" baseline="0" noProof="0" dirty="0">
              <a:ln>
                <a:noFill/>
              </a:ln>
              <a:solidFill>
                <a:srgbClr val="FFFFFF"/>
              </a:solidFill>
              <a:effectLst/>
              <a:uLnTx/>
              <a:uFillTx/>
              <a:latin typeface="HarmonyOS Sans SC"/>
              <a:cs typeface="+mn-cs"/>
            </a:endParaRPr>
          </a:p>
        </p:txBody>
      </p:sp>
      <p:sp>
        <p:nvSpPr>
          <p:cNvPr id="5" name="Freeform 113">
            <a:extLst>
              <a:ext uri="{FF2B5EF4-FFF2-40B4-BE49-F238E27FC236}">
                <a16:creationId xmlns:a16="http://schemas.microsoft.com/office/drawing/2014/main" id="{029EC68B-9395-412E-A9F2-40C411F02788}"/>
              </a:ext>
            </a:extLst>
          </p:cNvPr>
          <p:cNvSpPr>
            <a:spLocks/>
          </p:cNvSpPr>
          <p:nvPr/>
        </p:nvSpPr>
        <p:spPr bwMode="auto">
          <a:xfrm>
            <a:off x="0" y="3377447"/>
            <a:ext cx="1523998" cy="573768"/>
          </a:xfrm>
          <a:custGeom>
            <a:avLst/>
            <a:gdLst>
              <a:gd name="T0" fmla="*/ 0 w 152"/>
              <a:gd name="T1" fmla="*/ 116 h 116"/>
              <a:gd name="T2" fmla="*/ 152 w 152"/>
              <a:gd name="T3" fmla="*/ 101 h 116"/>
              <a:gd name="T4" fmla="*/ 152 w 152"/>
              <a:gd name="T5" fmla="*/ 15 h 116"/>
              <a:gd name="T6" fmla="*/ 0 w 152"/>
              <a:gd name="T7" fmla="*/ 0 h 116"/>
              <a:gd name="T8" fmla="*/ 0 w 152"/>
              <a:gd name="T9" fmla="*/ 116 h 116"/>
            </a:gdLst>
            <a:ahLst/>
            <a:cxnLst>
              <a:cxn ang="0">
                <a:pos x="T0" y="T1"/>
              </a:cxn>
              <a:cxn ang="0">
                <a:pos x="T2" y="T3"/>
              </a:cxn>
              <a:cxn ang="0">
                <a:pos x="T4" y="T5"/>
              </a:cxn>
              <a:cxn ang="0">
                <a:pos x="T6" y="T7"/>
              </a:cxn>
              <a:cxn ang="0">
                <a:pos x="T8" y="T9"/>
              </a:cxn>
            </a:cxnLst>
            <a:rect l="0" t="0" r="r" b="b"/>
            <a:pathLst>
              <a:path w="152" h="116">
                <a:moveTo>
                  <a:pt x="0" y="116"/>
                </a:moveTo>
                <a:cubicBezTo>
                  <a:pt x="51" y="111"/>
                  <a:pt x="101" y="106"/>
                  <a:pt x="152" y="101"/>
                </a:cubicBezTo>
                <a:cubicBezTo>
                  <a:pt x="152" y="72"/>
                  <a:pt x="152" y="44"/>
                  <a:pt x="152" y="15"/>
                </a:cubicBezTo>
                <a:cubicBezTo>
                  <a:pt x="101" y="10"/>
                  <a:pt x="51" y="5"/>
                  <a:pt x="0" y="0"/>
                </a:cubicBezTo>
                <a:cubicBezTo>
                  <a:pt x="0" y="39"/>
                  <a:pt x="0" y="77"/>
                  <a:pt x="0" y="116"/>
                </a:cubicBezTo>
                <a:close/>
              </a:path>
            </a:pathLst>
          </a:custGeom>
          <a:gradFill flip="none" rotWithShape="1">
            <a:gsLst>
              <a:gs pos="0">
                <a:schemeClr val="accent1">
                  <a:lumMod val="60000"/>
                  <a:lumOff val="40000"/>
                </a:schemeClr>
              </a:gs>
              <a:gs pos="100000">
                <a:schemeClr val="accent1"/>
              </a:gs>
            </a:gsLst>
            <a:lin ang="0" scaled="1"/>
            <a:tileRect/>
          </a:gradFill>
          <a:ln w="25400">
            <a:noFill/>
            <a:miter lim="800000"/>
          </a:ln>
        </p:spPr>
        <p:txBody>
          <a:bodyPr vert="horz" wrap="square" lIns="640080" tIns="45720" rIns="91440" bIns="45720" numCol="1" anchor="ctr" anchorCtr="0" compatLnSpc="1">
            <a:prstTxWarp prst="textNoShape">
              <a:avLst/>
            </a:prstTxWarp>
          </a:bodyPr>
          <a:lstStyle/>
          <a:p>
            <a:pPr marL="0" marR="0" lvl="0" indent="0" algn="l" defTabSz="914400" rtl="0" eaLnBrk="1" fontAlgn="auto" latinLnBrk="0" hangingPunct="1">
              <a:lnSpc>
                <a:spcPct val="120000"/>
              </a:lnSpc>
              <a:spcBef>
                <a:spcPts val="600"/>
              </a:spcBef>
              <a:spcAft>
                <a:spcPts val="0"/>
              </a:spcAft>
              <a:buClrTx/>
              <a:buSzTx/>
              <a:buFontTx/>
              <a:buNone/>
              <a:tabLst/>
              <a:defRPr/>
            </a:pPr>
            <a:endParaRPr kumimoji="0" lang="en-US" sz="1200" b="1" i="0" u="none" strike="noStrike" kern="1200" cap="none" spc="0" normalizeH="0" baseline="0" noProof="0" dirty="0">
              <a:ln>
                <a:noFill/>
              </a:ln>
              <a:solidFill>
                <a:srgbClr val="FFFFFF"/>
              </a:solidFill>
              <a:effectLst/>
              <a:uLnTx/>
              <a:uFillTx/>
              <a:latin typeface="HarmonyOS Sans SC"/>
              <a:cs typeface="+mn-cs"/>
            </a:endParaRPr>
          </a:p>
        </p:txBody>
      </p:sp>
      <p:sp>
        <p:nvSpPr>
          <p:cNvPr id="6" name="Freeform 118">
            <a:extLst>
              <a:ext uri="{FF2B5EF4-FFF2-40B4-BE49-F238E27FC236}">
                <a16:creationId xmlns:a16="http://schemas.microsoft.com/office/drawing/2014/main" id="{CDEFBBC8-3DF5-42F9-BD43-499968B09568}"/>
              </a:ext>
            </a:extLst>
          </p:cNvPr>
          <p:cNvSpPr>
            <a:spLocks/>
          </p:cNvSpPr>
          <p:nvPr/>
        </p:nvSpPr>
        <p:spPr bwMode="auto">
          <a:xfrm>
            <a:off x="0" y="4068723"/>
            <a:ext cx="1523998" cy="682263"/>
          </a:xfrm>
          <a:custGeom>
            <a:avLst/>
            <a:gdLst>
              <a:gd name="T0" fmla="*/ 0 w 152"/>
              <a:gd name="T1" fmla="*/ 138 h 138"/>
              <a:gd name="T2" fmla="*/ 152 w 152"/>
              <a:gd name="T3" fmla="*/ 86 h 138"/>
              <a:gd name="T4" fmla="*/ 152 w 152"/>
              <a:gd name="T5" fmla="*/ 0 h 138"/>
              <a:gd name="T6" fmla="*/ 0 w 152"/>
              <a:gd name="T7" fmla="*/ 22 h 138"/>
              <a:gd name="T8" fmla="*/ 0 w 152"/>
              <a:gd name="T9" fmla="*/ 138 h 138"/>
            </a:gdLst>
            <a:ahLst/>
            <a:cxnLst>
              <a:cxn ang="0">
                <a:pos x="T0" y="T1"/>
              </a:cxn>
              <a:cxn ang="0">
                <a:pos x="T2" y="T3"/>
              </a:cxn>
              <a:cxn ang="0">
                <a:pos x="T4" y="T5"/>
              </a:cxn>
              <a:cxn ang="0">
                <a:pos x="T6" y="T7"/>
              </a:cxn>
              <a:cxn ang="0">
                <a:pos x="T8" y="T9"/>
              </a:cxn>
            </a:cxnLst>
            <a:rect l="0" t="0" r="r" b="b"/>
            <a:pathLst>
              <a:path w="152" h="138">
                <a:moveTo>
                  <a:pt x="0" y="138"/>
                </a:moveTo>
                <a:cubicBezTo>
                  <a:pt x="51" y="121"/>
                  <a:pt x="101" y="103"/>
                  <a:pt x="152" y="86"/>
                </a:cubicBezTo>
                <a:cubicBezTo>
                  <a:pt x="152" y="57"/>
                  <a:pt x="152" y="29"/>
                  <a:pt x="152" y="0"/>
                </a:cubicBezTo>
                <a:cubicBezTo>
                  <a:pt x="101" y="8"/>
                  <a:pt x="51" y="15"/>
                  <a:pt x="0" y="22"/>
                </a:cubicBezTo>
                <a:cubicBezTo>
                  <a:pt x="0" y="61"/>
                  <a:pt x="0" y="99"/>
                  <a:pt x="0" y="138"/>
                </a:cubicBezTo>
                <a:close/>
              </a:path>
            </a:pathLst>
          </a:custGeom>
          <a:gradFill flip="none" rotWithShape="1">
            <a:gsLst>
              <a:gs pos="0">
                <a:schemeClr val="accent1">
                  <a:lumMod val="60000"/>
                  <a:lumOff val="40000"/>
                </a:schemeClr>
              </a:gs>
              <a:gs pos="100000">
                <a:schemeClr val="accent1"/>
              </a:gs>
            </a:gsLst>
            <a:lin ang="0" scaled="1"/>
            <a:tileRect/>
          </a:gradFill>
          <a:ln w="25400">
            <a:noFill/>
            <a:miter lim="800000"/>
          </a:ln>
        </p:spPr>
        <p:txBody>
          <a:bodyPr vert="horz" wrap="square" lIns="640080" tIns="45720" rIns="91440" bIns="45720" numCol="1" anchor="ctr" anchorCtr="0" compatLnSpc="1">
            <a:prstTxWarp prst="textNoShape">
              <a:avLst/>
            </a:prstTxWarp>
          </a:bodyPr>
          <a:lstStyle/>
          <a:p>
            <a:pPr marL="0" marR="0" lvl="0" indent="0" algn="l" defTabSz="914400" rtl="0" eaLnBrk="1" fontAlgn="auto" latinLnBrk="0" hangingPunct="1">
              <a:lnSpc>
                <a:spcPct val="120000"/>
              </a:lnSpc>
              <a:spcBef>
                <a:spcPts val="600"/>
              </a:spcBef>
              <a:spcAft>
                <a:spcPts val="0"/>
              </a:spcAft>
              <a:buClrTx/>
              <a:buSzTx/>
              <a:buFontTx/>
              <a:buNone/>
              <a:tabLst/>
              <a:defRPr/>
            </a:pPr>
            <a:endParaRPr kumimoji="0" lang="en-US" sz="1200" b="1" i="0" u="none" strike="noStrike" kern="1200" cap="none" spc="0" normalizeH="0" baseline="0" noProof="0" dirty="0">
              <a:ln>
                <a:noFill/>
              </a:ln>
              <a:solidFill>
                <a:srgbClr val="FFFFFF"/>
              </a:solidFill>
              <a:effectLst/>
              <a:uLnTx/>
              <a:uFillTx/>
              <a:latin typeface="HarmonyOS Sans SC"/>
              <a:cs typeface="+mn-cs"/>
            </a:endParaRPr>
          </a:p>
        </p:txBody>
      </p:sp>
      <p:sp>
        <p:nvSpPr>
          <p:cNvPr id="7" name="Freeform 123">
            <a:extLst>
              <a:ext uri="{FF2B5EF4-FFF2-40B4-BE49-F238E27FC236}">
                <a16:creationId xmlns:a16="http://schemas.microsoft.com/office/drawing/2014/main" id="{180B58FA-AA48-4370-BFFB-8D32B9A96934}"/>
              </a:ext>
            </a:extLst>
          </p:cNvPr>
          <p:cNvSpPr>
            <a:spLocks/>
          </p:cNvSpPr>
          <p:nvPr/>
        </p:nvSpPr>
        <p:spPr bwMode="auto">
          <a:xfrm>
            <a:off x="-1" y="4679586"/>
            <a:ext cx="1523999" cy="865868"/>
          </a:xfrm>
          <a:custGeom>
            <a:avLst/>
            <a:gdLst>
              <a:gd name="T0" fmla="*/ 0 w 152"/>
              <a:gd name="T1" fmla="*/ 175 h 175"/>
              <a:gd name="T2" fmla="*/ 152 w 152"/>
              <a:gd name="T3" fmla="*/ 86 h 175"/>
              <a:gd name="T4" fmla="*/ 152 w 152"/>
              <a:gd name="T5" fmla="*/ 0 h 175"/>
              <a:gd name="T6" fmla="*/ 0 w 152"/>
              <a:gd name="T7" fmla="*/ 59 h 175"/>
              <a:gd name="T8" fmla="*/ 0 w 152"/>
              <a:gd name="T9" fmla="*/ 175 h 175"/>
            </a:gdLst>
            <a:ahLst/>
            <a:cxnLst>
              <a:cxn ang="0">
                <a:pos x="T0" y="T1"/>
              </a:cxn>
              <a:cxn ang="0">
                <a:pos x="T2" y="T3"/>
              </a:cxn>
              <a:cxn ang="0">
                <a:pos x="T4" y="T5"/>
              </a:cxn>
              <a:cxn ang="0">
                <a:pos x="T6" y="T7"/>
              </a:cxn>
              <a:cxn ang="0">
                <a:pos x="T8" y="T9"/>
              </a:cxn>
            </a:cxnLst>
            <a:rect l="0" t="0" r="r" b="b"/>
            <a:pathLst>
              <a:path w="152" h="175">
                <a:moveTo>
                  <a:pt x="0" y="175"/>
                </a:moveTo>
                <a:cubicBezTo>
                  <a:pt x="51" y="145"/>
                  <a:pt x="101" y="116"/>
                  <a:pt x="152" y="86"/>
                </a:cubicBezTo>
                <a:cubicBezTo>
                  <a:pt x="152" y="57"/>
                  <a:pt x="152" y="29"/>
                  <a:pt x="152" y="0"/>
                </a:cubicBezTo>
                <a:cubicBezTo>
                  <a:pt x="101" y="20"/>
                  <a:pt x="51" y="40"/>
                  <a:pt x="0" y="59"/>
                </a:cubicBezTo>
                <a:cubicBezTo>
                  <a:pt x="0" y="98"/>
                  <a:pt x="0" y="136"/>
                  <a:pt x="0" y="175"/>
                </a:cubicBezTo>
                <a:close/>
              </a:path>
            </a:pathLst>
          </a:custGeom>
          <a:gradFill flip="none" rotWithShape="1">
            <a:gsLst>
              <a:gs pos="0">
                <a:schemeClr val="accent1">
                  <a:lumMod val="60000"/>
                  <a:lumOff val="40000"/>
                </a:schemeClr>
              </a:gs>
              <a:gs pos="100000">
                <a:schemeClr val="accent1"/>
              </a:gs>
            </a:gsLst>
            <a:lin ang="0" scaled="1"/>
            <a:tileRect/>
          </a:gradFill>
          <a:ln w="25400">
            <a:noFill/>
            <a:miter lim="800000"/>
          </a:ln>
        </p:spPr>
        <p:txBody>
          <a:bodyPr vert="horz" wrap="square" lIns="640080" tIns="45720" rIns="91440" bIns="45720" numCol="1" anchor="ctr" anchorCtr="0" compatLnSpc="1">
            <a:prstTxWarp prst="textNoShape">
              <a:avLst/>
            </a:prstTxWarp>
          </a:bodyPr>
          <a:lstStyle/>
          <a:p>
            <a:pPr marL="0" marR="0" lvl="0" indent="0" algn="l" defTabSz="914400" rtl="0" eaLnBrk="1" fontAlgn="auto" latinLnBrk="0" hangingPunct="1">
              <a:lnSpc>
                <a:spcPct val="120000"/>
              </a:lnSpc>
              <a:spcBef>
                <a:spcPts val="600"/>
              </a:spcBef>
              <a:spcAft>
                <a:spcPts val="0"/>
              </a:spcAft>
              <a:buClrTx/>
              <a:buSzTx/>
              <a:buFontTx/>
              <a:buNone/>
              <a:tabLst/>
              <a:defRPr/>
            </a:pPr>
            <a:endParaRPr kumimoji="0" lang="en-US" sz="1200" b="1" i="0" u="none" strike="noStrike" kern="1200" cap="none" spc="0" normalizeH="0" baseline="0" noProof="0" dirty="0">
              <a:ln>
                <a:noFill/>
              </a:ln>
              <a:solidFill>
                <a:srgbClr val="FFFFFF"/>
              </a:solidFill>
              <a:effectLst/>
              <a:uLnTx/>
              <a:uFillTx/>
              <a:latin typeface="HarmonyOS Sans SC"/>
              <a:cs typeface="+mn-cs"/>
            </a:endParaRPr>
          </a:p>
        </p:txBody>
      </p:sp>
      <p:sp>
        <p:nvSpPr>
          <p:cNvPr id="8" name="Right Arrow 7">
            <a:extLst>
              <a:ext uri="{FF2B5EF4-FFF2-40B4-BE49-F238E27FC236}">
                <a16:creationId xmlns:a16="http://schemas.microsoft.com/office/drawing/2014/main" id="{F5556A14-1BFA-4EA1-A583-9DCED98A6823}"/>
              </a:ext>
            </a:extLst>
          </p:cNvPr>
          <p:cNvSpPr/>
          <p:nvPr/>
        </p:nvSpPr>
        <p:spPr>
          <a:xfrm>
            <a:off x="1523998" y="2006558"/>
            <a:ext cx="7632702" cy="846532"/>
          </a:xfrm>
          <a:prstGeom prst="rightArrow">
            <a:avLst>
              <a:gd name="adj1" fmla="val 50000"/>
              <a:gd name="adj2" fmla="val 82687"/>
            </a:avLst>
          </a:prstGeom>
          <a:gradFill flip="none" rotWithShape="1">
            <a:gsLst>
              <a:gs pos="0">
                <a:schemeClr val="accent1">
                  <a:lumMod val="60000"/>
                  <a:lumOff val="40000"/>
                </a:schemeClr>
              </a:gs>
              <a:gs pos="100000">
                <a:schemeClr val="accent1"/>
              </a:gs>
            </a:gsLst>
            <a:lin ang="0" scaled="1"/>
            <a:tileRect/>
          </a:gradFill>
          <a:ln w="25400">
            <a:noFill/>
            <a:miter lim="800000"/>
          </a:ln>
        </p:spPr>
        <p:txBody>
          <a:bodyPr vert="horz" wrap="square" lIns="640080" tIns="45720" rIns="91440" bIns="45720" numCol="1" anchor="ctr" anchorCtr="0" compatLnSpc="1">
            <a:prstTxWarp prst="textNoShape">
              <a:avLst/>
            </a:prstTxWarp>
          </a:bodyPr>
          <a:lstStyle/>
          <a:p>
            <a:pPr marL="0" marR="0" lvl="0" indent="0" algn="l" defTabSz="914400" rtl="0" eaLnBrk="1" fontAlgn="auto" latinLnBrk="0" hangingPunct="1">
              <a:lnSpc>
                <a:spcPct val="120000"/>
              </a:lnSpc>
              <a:spcBef>
                <a:spcPts val="60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HarmonyOS Sans SC Black"/>
                <a:ea typeface="+mj-ea"/>
                <a:cs typeface="+mn-cs"/>
              </a:rPr>
              <a:t>85%</a:t>
            </a:r>
          </a:p>
        </p:txBody>
      </p:sp>
      <p:sp>
        <p:nvSpPr>
          <p:cNvPr id="9" name="Right Arrow 8">
            <a:extLst>
              <a:ext uri="{FF2B5EF4-FFF2-40B4-BE49-F238E27FC236}">
                <a16:creationId xmlns:a16="http://schemas.microsoft.com/office/drawing/2014/main" id="{0FC6BA72-4BE4-4A90-AC15-59B3434CDE9F}"/>
              </a:ext>
            </a:extLst>
          </p:cNvPr>
          <p:cNvSpPr/>
          <p:nvPr/>
        </p:nvSpPr>
        <p:spPr>
          <a:xfrm>
            <a:off x="1523999" y="2626096"/>
            <a:ext cx="5276852" cy="853180"/>
          </a:xfrm>
          <a:prstGeom prst="rightArrow">
            <a:avLst>
              <a:gd name="adj1" fmla="val 50000"/>
              <a:gd name="adj2" fmla="val 82687"/>
            </a:avLst>
          </a:prstGeom>
          <a:gradFill flip="none" rotWithShape="1">
            <a:gsLst>
              <a:gs pos="0">
                <a:schemeClr val="accent1">
                  <a:lumMod val="60000"/>
                  <a:lumOff val="40000"/>
                </a:schemeClr>
              </a:gs>
              <a:gs pos="100000">
                <a:schemeClr val="accent1"/>
              </a:gs>
            </a:gsLst>
            <a:lin ang="0" scaled="1"/>
            <a:tileRect/>
          </a:gradFill>
          <a:ln w="25400">
            <a:noFill/>
            <a:miter lim="800000"/>
          </a:ln>
        </p:spPr>
        <p:txBody>
          <a:bodyPr vert="horz" wrap="square" lIns="640080" tIns="45720" rIns="91440" bIns="45720" numCol="1" anchor="ctr" anchorCtr="0" compatLnSpc="1">
            <a:prstTxWarp prst="textNoShape">
              <a:avLst/>
            </a:prstTxWarp>
          </a:bodyPr>
          <a:lstStyle/>
          <a:p>
            <a:pPr marL="0" marR="0" lvl="0" indent="0" algn="l" defTabSz="914400" rtl="0" eaLnBrk="1" fontAlgn="auto" latinLnBrk="0" hangingPunct="1">
              <a:lnSpc>
                <a:spcPct val="120000"/>
              </a:lnSpc>
              <a:spcBef>
                <a:spcPts val="60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HarmonyOS Sans SC Black"/>
                <a:ea typeface="+mj-ea"/>
                <a:cs typeface="+mn-cs"/>
              </a:rPr>
              <a:t>75%</a:t>
            </a:r>
          </a:p>
        </p:txBody>
      </p:sp>
      <p:sp>
        <p:nvSpPr>
          <p:cNvPr id="10" name="Right Arrow 9">
            <a:extLst>
              <a:ext uri="{FF2B5EF4-FFF2-40B4-BE49-F238E27FC236}">
                <a16:creationId xmlns:a16="http://schemas.microsoft.com/office/drawing/2014/main" id="{3384E60C-92EF-4ADA-A3B0-D03102487DE9}"/>
              </a:ext>
            </a:extLst>
          </p:cNvPr>
          <p:cNvSpPr/>
          <p:nvPr/>
        </p:nvSpPr>
        <p:spPr>
          <a:xfrm>
            <a:off x="1523998" y="3236474"/>
            <a:ext cx="2244727" cy="860015"/>
          </a:xfrm>
          <a:prstGeom prst="rightArrow">
            <a:avLst>
              <a:gd name="adj1" fmla="val 50000"/>
              <a:gd name="adj2" fmla="val 82687"/>
            </a:avLst>
          </a:prstGeom>
          <a:gradFill flip="none" rotWithShape="1">
            <a:gsLst>
              <a:gs pos="0">
                <a:schemeClr val="accent1">
                  <a:lumMod val="60000"/>
                  <a:lumOff val="40000"/>
                </a:schemeClr>
              </a:gs>
              <a:gs pos="100000">
                <a:schemeClr val="accent1"/>
              </a:gs>
            </a:gsLst>
            <a:lin ang="0" scaled="1"/>
            <a:tileRect/>
          </a:gradFill>
          <a:ln w="25400">
            <a:noFill/>
            <a:miter lim="800000"/>
          </a:ln>
        </p:spPr>
        <p:txBody>
          <a:bodyPr vert="horz" wrap="square" lIns="640080" tIns="45720" rIns="91440" bIns="45720" numCol="1" anchor="ctr" anchorCtr="0" compatLnSpc="1">
            <a:prstTxWarp prst="textNoShape">
              <a:avLst/>
            </a:prstTxWarp>
          </a:bodyPr>
          <a:lstStyle/>
          <a:p>
            <a:pPr marL="0" marR="0" lvl="0" indent="0" algn="l" defTabSz="914400" rtl="0" eaLnBrk="1" fontAlgn="auto" latinLnBrk="0" hangingPunct="1">
              <a:lnSpc>
                <a:spcPct val="120000"/>
              </a:lnSpc>
              <a:spcBef>
                <a:spcPts val="60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HarmonyOS Sans SC Black"/>
                <a:ea typeface="+mj-ea"/>
                <a:cs typeface="+mn-cs"/>
              </a:rPr>
              <a:t>50%</a:t>
            </a:r>
          </a:p>
        </p:txBody>
      </p:sp>
      <p:sp>
        <p:nvSpPr>
          <p:cNvPr id="11" name="Right Arrow 10">
            <a:extLst>
              <a:ext uri="{FF2B5EF4-FFF2-40B4-BE49-F238E27FC236}">
                <a16:creationId xmlns:a16="http://schemas.microsoft.com/office/drawing/2014/main" id="{EB495E53-9D84-42A0-A9B7-DAF64404C36F}"/>
              </a:ext>
            </a:extLst>
          </p:cNvPr>
          <p:cNvSpPr/>
          <p:nvPr/>
        </p:nvSpPr>
        <p:spPr>
          <a:xfrm>
            <a:off x="1523997" y="3853676"/>
            <a:ext cx="4572003" cy="853179"/>
          </a:xfrm>
          <a:prstGeom prst="rightArrow">
            <a:avLst>
              <a:gd name="adj1" fmla="val 50000"/>
              <a:gd name="adj2" fmla="val 82687"/>
            </a:avLst>
          </a:prstGeom>
          <a:gradFill flip="none" rotWithShape="1">
            <a:gsLst>
              <a:gs pos="0">
                <a:schemeClr val="accent1">
                  <a:lumMod val="60000"/>
                  <a:lumOff val="40000"/>
                </a:schemeClr>
              </a:gs>
              <a:gs pos="100000">
                <a:schemeClr val="accent1"/>
              </a:gs>
            </a:gsLst>
            <a:lin ang="0" scaled="1"/>
            <a:tileRect/>
          </a:gradFill>
          <a:ln w="25400">
            <a:noFill/>
            <a:miter lim="800000"/>
          </a:ln>
        </p:spPr>
        <p:txBody>
          <a:bodyPr vert="horz" wrap="square" lIns="640080" tIns="45720" rIns="91440" bIns="45720" numCol="1" anchor="ctr" anchorCtr="0" compatLnSpc="1">
            <a:prstTxWarp prst="textNoShape">
              <a:avLst/>
            </a:prstTxWarp>
          </a:bodyPr>
          <a:lstStyle/>
          <a:p>
            <a:pPr marL="0" marR="0" lvl="0" indent="0" algn="l" defTabSz="914400" rtl="0" eaLnBrk="1" fontAlgn="auto" latinLnBrk="0" hangingPunct="1">
              <a:lnSpc>
                <a:spcPct val="120000"/>
              </a:lnSpc>
              <a:spcBef>
                <a:spcPts val="60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HarmonyOS Sans SC Black"/>
                <a:ea typeface="+mj-ea"/>
                <a:cs typeface="+mn-cs"/>
              </a:rPr>
              <a:t>70%</a:t>
            </a:r>
          </a:p>
        </p:txBody>
      </p:sp>
      <p:sp>
        <p:nvSpPr>
          <p:cNvPr id="12" name="Right Arrow 11">
            <a:extLst>
              <a:ext uri="{FF2B5EF4-FFF2-40B4-BE49-F238E27FC236}">
                <a16:creationId xmlns:a16="http://schemas.microsoft.com/office/drawing/2014/main" id="{90741800-9541-4490-9226-EE78BBCE0CBB}"/>
              </a:ext>
            </a:extLst>
          </p:cNvPr>
          <p:cNvSpPr/>
          <p:nvPr/>
        </p:nvSpPr>
        <p:spPr>
          <a:xfrm>
            <a:off x="1523997" y="4463322"/>
            <a:ext cx="8353428" cy="865868"/>
          </a:xfrm>
          <a:prstGeom prst="rightArrow">
            <a:avLst>
              <a:gd name="adj1" fmla="val 50000"/>
              <a:gd name="adj2" fmla="val 82687"/>
            </a:avLst>
          </a:prstGeom>
          <a:gradFill flip="none" rotWithShape="1">
            <a:gsLst>
              <a:gs pos="0">
                <a:schemeClr val="accent1">
                  <a:lumMod val="60000"/>
                  <a:lumOff val="40000"/>
                </a:schemeClr>
              </a:gs>
              <a:gs pos="100000">
                <a:schemeClr val="accent1"/>
              </a:gs>
            </a:gsLst>
            <a:lin ang="0" scaled="1"/>
            <a:tileRect/>
          </a:gradFill>
          <a:ln w="25400">
            <a:noFill/>
            <a:miter lim="800000"/>
          </a:ln>
        </p:spPr>
        <p:txBody>
          <a:bodyPr vert="horz" wrap="square" lIns="640080" tIns="45720" rIns="91440" bIns="45720" numCol="1" anchor="ctr" anchorCtr="0" compatLnSpc="1">
            <a:prstTxWarp prst="textNoShape">
              <a:avLst/>
            </a:prstTxWarp>
          </a:bodyPr>
          <a:lstStyle/>
          <a:p>
            <a:pPr marL="0" marR="0" lvl="0" indent="0" algn="l" defTabSz="914400" rtl="0" eaLnBrk="1" fontAlgn="auto" latinLnBrk="0" hangingPunct="1">
              <a:lnSpc>
                <a:spcPct val="120000"/>
              </a:lnSpc>
              <a:spcBef>
                <a:spcPts val="60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HarmonyOS Sans SC Black"/>
                <a:ea typeface="+mj-ea"/>
                <a:cs typeface="+mn-cs"/>
              </a:rPr>
              <a:t>100%</a:t>
            </a:r>
          </a:p>
        </p:txBody>
      </p:sp>
      <p:sp>
        <p:nvSpPr>
          <p:cNvPr id="19" name="Right Triangle 61">
            <a:extLst>
              <a:ext uri="{FF2B5EF4-FFF2-40B4-BE49-F238E27FC236}">
                <a16:creationId xmlns:a16="http://schemas.microsoft.com/office/drawing/2014/main" id="{B310B38A-52D0-47CA-AFE1-744A63922AC8}"/>
              </a:ext>
            </a:extLst>
          </p:cNvPr>
          <p:cNvSpPr/>
          <p:nvPr/>
        </p:nvSpPr>
        <p:spPr>
          <a:xfrm flipV="1">
            <a:off x="1055689" y="803583"/>
            <a:ext cx="72580" cy="72177"/>
          </a:xfrm>
          <a:prstGeom prst="r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HarmonyOS Sans SC"/>
              <a:cs typeface="+mn-cs"/>
            </a:endParaRPr>
          </a:p>
        </p:txBody>
      </p:sp>
      <p:sp>
        <p:nvSpPr>
          <p:cNvPr id="20" name="文本框 19">
            <a:extLst>
              <a:ext uri="{FF2B5EF4-FFF2-40B4-BE49-F238E27FC236}">
                <a16:creationId xmlns:a16="http://schemas.microsoft.com/office/drawing/2014/main" id="{63E84E26-D1C0-4E2F-8BD0-881DCDC35905}"/>
              </a:ext>
            </a:extLst>
          </p:cNvPr>
          <p:cNvSpPr txBox="1"/>
          <p:nvPr/>
        </p:nvSpPr>
        <p:spPr>
          <a:xfrm>
            <a:off x="941388" y="918105"/>
            <a:ext cx="2364750"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2800" b="0" i="0" u="none" strike="noStrike" kern="1200" cap="none" spc="0" normalizeH="0" baseline="0" noProof="0" dirty="0">
                <a:ln>
                  <a:noFill/>
                </a:ln>
                <a:solidFill>
                  <a:prstClr val="black"/>
                </a:solidFill>
                <a:effectLst/>
                <a:uLnTx/>
                <a:uFillTx/>
                <a:latin typeface="HarmonyOS Sans Black"/>
                <a:ea typeface="+mj-ea"/>
                <a:cs typeface="+mn-cs"/>
              </a:rPr>
              <a:t>Arrow</a:t>
            </a:r>
            <a:r>
              <a:rPr kumimoji="0" lang="en-US" altLang="zh-CN" sz="1800" b="0" i="0" u="none" strike="noStrike" kern="1200" cap="none" spc="0" normalizeH="0" baseline="0" noProof="0" dirty="0">
                <a:ln>
                  <a:noFill/>
                </a:ln>
                <a:solidFill>
                  <a:prstClr val="black"/>
                </a:solidFill>
                <a:effectLst/>
                <a:uLnTx/>
                <a:uFillTx/>
                <a:latin typeface="HarmonyOS Sans SC"/>
                <a:cs typeface="+mn-cs"/>
              </a:rPr>
              <a:t> </a:t>
            </a:r>
            <a:r>
              <a:rPr kumimoji="0" lang="en-US" altLang="zh-CN" sz="2800" b="0" i="0" u="none" strike="noStrike" kern="1200" cap="none" spc="0" normalizeH="0" baseline="0" noProof="0" dirty="0">
                <a:ln>
                  <a:noFill/>
                </a:ln>
                <a:solidFill>
                  <a:schemeClr val="accent1"/>
                </a:solidFill>
                <a:effectLst/>
                <a:uLnTx/>
                <a:uFillTx/>
                <a:latin typeface="HarmonyOS Sans Black"/>
                <a:ea typeface="+mj-ea"/>
                <a:cs typeface="+mn-cs"/>
              </a:rPr>
              <a:t>Chart</a:t>
            </a:r>
          </a:p>
        </p:txBody>
      </p:sp>
    </p:spTree>
    <p:extLst>
      <p:ext uri="{BB962C8B-B14F-4D97-AF65-F5344CB8AC3E}">
        <p14:creationId xmlns:p14="http://schemas.microsoft.com/office/powerpoint/2010/main" val="1237846754"/>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4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reeform 5">
            <a:extLst>
              <a:ext uri="{FF2B5EF4-FFF2-40B4-BE49-F238E27FC236}">
                <a16:creationId xmlns:a16="http://schemas.microsoft.com/office/drawing/2014/main" id="{8176F26B-D49E-46ED-821E-3923F81B5CFE}"/>
              </a:ext>
            </a:extLst>
          </p:cNvPr>
          <p:cNvSpPr>
            <a:spLocks/>
          </p:cNvSpPr>
          <p:nvPr/>
        </p:nvSpPr>
        <p:spPr bwMode="auto">
          <a:xfrm>
            <a:off x="5265738" y="2152650"/>
            <a:ext cx="2422525" cy="1438275"/>
          </a:xfrm>
          <a:custGeom>
            <a:avLst/>
            <a:gdLst>
              <a:gd name="T0" fmla="*/ 1024 w 3108"/>
              <a:gd name="T1" fmla="*/ 1177 h 1847"/>
              <a:gd name="T2" fmla="*/ 1024 w 3108"/>
              <a:gd name="T3" fmla="*/ 1176 h 1847"/>
              <a:gd name="T4" fmla="*/ 3108 w 3108"/>
              <a:gd name="T5" fmla="*/ 1176 h 1847"/>
              <a:gd name="T6" fmla="*/ 1065 w 3108"/>
              <a:gd name="T7" fmla="*/ 0 h 1847"/>
              <a:gd name="T8" fmla="*/ 0 w 3108"/>
              <a:gd name="T9" fmla="*/ 254 h 1847"/>
              <a:gd name="T10" fmla="*/ 0 w 3108"/>
              <a:gd name="T11" fmla="*/ 1847 h 1847"/>
              <a:gd name="T12" fmla="*/ 1024 w 3108"/>
              <a:gd name="T13" fmla="*/ 1177 h 1847"/>
            </a:gdLst>
            <a:ahLst/>
            <a:cxnLst>
              <a:cxn ang="0">
                <a:pos x="T0" y="T1"/>
              </a:cxn>
              <a:cxn ang="0">
                <a:pos x="T2" y="T3"/>
              </a:cxn>
              <a:cxn ang="0">
                <a:pos x="T4" y="T5"/>
              </a:cxn>
              <a:cxn ang="0">
                <a:pos x="T6" y="T7"/>
              </a:cxn>
              <a:cxn ang="0">
                <a:pos x="T8" y="T9"/>
              </a:cxn>
              <a:cxn ang="0">
                <a:pos x="T10" y="T11"/>
              </a:cxn>
              <a:cxn ang="0">
                <a:pos x="T12" y="T13"/>
              </a:cxn>
            </a:cxnLst>
            <a:rect l="0" t="0" r="r" b="b"/>
            <a:pathLst>
              <a:path w="3108" h="1847">
                <a:moveTo>
                  <a:pt x="1024" y="1177"/>
                </a:moveTo>
                <a:cubicBezTo>
                  <a:pt x="1024" y="1176"/>
                  <a:pt x="1024" y="1176"/>
                  <a:pt x="1024" y="1176"/>
                </a:cubicBezTo>
                <a:cubicBezTo>
                  <a:pt x="3108" y="1176"/>
                  <a:pt x="3108" y="1176"/>
                  <a:pt x="3108" y="1176"/>
                </a:cubicBezTo>
                <a:cubicBezTo>
                  <a:pt x="2699" y="473"/>
                  <a:pt x="1937" y="0"/>
                  <a:pt x="1065" y="0"/>
                </a:cubicBezTo>
                <a:cubicBezTo>
                  <a:pt x="682" y="0"/>
                  <a:pt x="320" y="91"/>
                  <a:pt x="0" y="254"/>
                </a:cubicBezTo>
                <a:cubicBezTo>
                  <a:pt x="0" y="1847"/>
                  <a:pt x="0" y="1847"/>
                  <a:pt x="0" y="1847"/>
                </a:cubicBezTo>
                <a:cubicBezTo>
                  <a:pt x="186" y="1463"/>
                  <a:pt x="572" y="1194"/>
                  <a:pt x="1024" y="1177"/>
                </a:cubicBezTo>
                <a:close/>
              </a:path>
            </a:pathLst>
          </a:custGeom>
          <a:gradFill flip="none" rotWithShape="1">
            <a:gsLst>
              <a:gs pos="64000">
                <a:schemeClr val="accent1"/>
              </a:gs>
              <a:gs pos="31000">
                <a:schemeClr val="accent1">
                  <a:lumMod val="60000"/>
                  <a:lumOff val="40000"/>
                </a:schemeClr>
              </a:gs>
              <a:gs pos="0">
                <a:schemeClr val="accent1">
                  <a:lumMod val="40000"/>
                  <a:lumOff val="60000"/>
                </a:schemeClr>
              </a:gs>
            </a:gsLst>
            <a:lin ang="10800000" scaled="1"/>
            <a:tileRect/>
          </a:gradFill>
          <a:ln>
            <a:noFill/>
          </a:ln>
          <a:effectLst>
            <a:outerShdw blurRad="444500" dist="317500" dir="5400000" sx="92000" sy="92000" algn="t" rotWithShape="0">
              <a:schemeClr val="accent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4" name="Freeform 6">
            <a:extLst>
              <a:ext uri="{FF2B5EF4-FFF2-40B4-BE49-F238E27FC236}">
                <a16:creationId xmlns:a16="http://schemas.microsoft.com/office/drawing/2014/main" id="{446FEFA3-D00F-4846-B0F4-25158FA8C1E7}"/>
              </a:ext>
            </a:extLst>
          </p:cNvPr>
          <p:cNvSpPr>
            <a:spLocks/>
          </p:cNvSpPr>
          <p:nvPr/>
        </p:nvSpPr>
        <p:spPr bwMode="auto">
          <a:xfrm>
            <a:off x="4257676" y="2398713"/>
            <a:ext cx="1439863" cy="2425700"/>
          </a:xfrm>
          <a:custGeom>
            <a:avLst/>
            <a:gdLst>
              <a:gd name="T0" fmla="*/ 1178 w 1849"/>
              <a:gd name="T1" fmla="*/ 2045 h 3114"/>
              <a:gd name="T2" fmla="*/ 1178 w 1849"/>
              <a:gd name="T3" fmla="*/ 0 h 3114"/>
              <a:gd name="T4" fmla="*/ 0 w 1849"/>
              <a:gd name="T5" fmla="*/ 2044 h 3114"/>
              <a:gd name="T6" fmla="*/ 256 w 1849"/>
              <a:gd name="T7" fmla="*/ 3114 h 3114"/>
              <a:gd name="T8" fmla="*/ 1849 w 1849"/>
              <a:gd name="T9" fmla="*/ 3114 h 3114"/>
              <a:gd name="T10" fmla="*/ 1178 w 1849"/>
              <a:gd name="T11" fmla="*/ 2045 h 3114"/>
            </a:gdLst>
            <a:ahLst/>
            <a:cxnLst>
              <a:cxn ang="0">
                <a:pos x="T0" y="T1"/>
              </a:cxn>
              <a:cxn ang="0">
                <a:pos x="T2" y="T3"/>
              </a:cxn>
              <a:cxn ang="0">
                <a:pos x="T4" y="T5"/>
              </a:cxn>
              <a:cxn ang="0">
                <a:pos x="T6" y="T7"/>
              </a:cxn>
              <a:cxn ang="0">
                <a:pos x="T8" y="T9"/>
              </a:cxn>
              <a:cxn ang="0">
                <a:pos x="T10" y="T11"/>
              </a:cxn>
            </a:cxnLst>
            <a:rect l="0" t="0" r="r" b="b"/>
            <a:pathLst>
              <a:path w="1849" h="3114">
                <a:moveTo>
                  <a:pt x="1178" y="2045"/>
                </a:moveTo>
                <a:cubicBezTo>
                  <a:pt x="1178" y="0"/>
                  <a:pt x="1178" y="0"/>
                  <a:pt x="1178" y="0"/>
                </a:cubicBezTo>
                <a:cubicBezTo>
                  <a:pt x="473" y="409"/>
                  <a:pt x="0" y="1171"/>
                  <a:pt x="0" y="2044"/>
                </a:cubicBezTo>
                <a:cubicBezTo>
                  <a:pt x="0" y="2429"/>
                  <a:pt x="92" y="2793"/>
                  <a:pt x="256" y="3114"/>
                </a:cubicBezTo>
                <a:cubicBezTo>
                  <a:pt x="1849" y="3114"/>
                  <a:pt x="1849" y="3114"/>
                  <a:pt x="1849" y="3114"/>
                </a:cubicBezTo>
                <a:cubicBezTo>
                  <a:pt x="1452" y="2922"/>
                  <a:pt x="1178" y="2516"/>
                  <a:pt x="1178" y="2045"/>
                </a:cubicBezTo>
                <a:close/>
              </a:path>
            </a:pathLst>
          </a:custGeom>
          <a:gradFill flip="none" rotWithShape="1">
            <a:gsLst>
              <a:gs pos="64000">
                <a:schemeClr val="accent1"/>
              </a:gs>
              <a:gs pos="31000">
                <a:schemeClr val="accent1">
                  <a:lumMod val="60000"/>
                  <a:lumOff val="40000"/>
                </a:schemeClr>
              </a:gs>
              <a:gs pos="0">
                <a:schemeClr val="accent1">
                  <a:lumMod val="40000"/>
                  <a:lumOff val="60000"/>
                </a:schemeClr>
              </a:gs>
            </a:gsLst>
            <a:lin ang="5400000" scaled="1"/>
            <a:tileRect/>
          </a:gradFill>
          <a:ln>
            <a:noFill/>
          </a:ln>
          <a:effectLst>
            <a:outerShdw blurRad="444500" dist="317500" dir="5400000" sx="92000" sy="92000" algn="t" rotWithShape="0">
              <a:schemeClr val="accent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5" name="Freeform 7">
            <a:extLst>
              <a:ext uri="{FF2B5EF4-FFF2-40B4-BE49-F238E27FC236}">
                <a16:creationId xmlns:a16="http://schemas.microsoft.com/office/drawing/2014/main" id="{F3ACFDCF-C6C7-40BC-9903-F850EFD58AA9}"/>
              </a:ext>
            </a:extLst>
          </p:cNvPr>
          <p:cNvSpPr>
            <a:spLocks/>
          </p:cNvSpPr>
          <p:nvPr/>
        </p:nvSpPr>
        <p:spPr bwMode="auto">
          <a:xfrm>
            <a:off x="6500813" y="3159125"/>
            <a:ext cx="1435100" cy="2420938"/>
          </a:xfrm>
          <a:custGeom>
            <a:avLst/>
            <a:gdLst>
              <a:gd name="T0" fmla="*/ 669 w 1842"/>
              <a:gd name="T1" fmla="*/ 1010 h 3107"/>
              <a:gd name="T2" fmla="*/ 671 w 1842"/>
              <a:gd name="T3" fmla="*/ 1010 h 3107"/>
              <a:gd name="T4" fmla="*/ 671 w 1842"/>
              <a:gd name="T5" fmla="*/ 3107 h 3107"/>
              <a:gd name="T6" fmla="*/ 1842 w 1842"/>
              <a:gd name="T7" fmla="*/ 1068 h 3107"/>
              <a:gd name="T8" fmla="*/ 1587 w 1842"/>
              <a:gd name="T9" fmla="*/ 0 h 3107"/>
              <a:gd name="T10" fmla="*/ 0 w 1842"/>
              <a:gd name="T11" fmla="*/ 0 h 3107"/>
              <a:gd name="T12" fmla="*/ 669 w 1842"/>
              <a:gd name="T13" fmla="*/ 1010 h 3107"/>
            </a:gdLst>
            <a:ahLst/>
            <a:cxnLst>
              <a:cxn ang="0">
                <a:pos x="T0" y="T1"/>
              </a:cxn>
              <a:cxn ang="0">
                <a:pos x="T2" y="T3"/>
              </a:cxn>
              <a:cxn ang="0">
                <a:pos x="T4" y="T5"/>
              </a:cxn>
              <a:cxn ang="0">
                <a:pos x="T6" y="T7"/>
              </a:cxn>
              <a:cxn ang="0">
                <a:pos x="T8" y="T9"/>
              </a:cxn>
              <a:cxn ang="0">
                <a:pos x="T10" y="T11"/>
              </a:cxn>
              <a:cxn ang="0">
                <a:pos x="T12" y="T13"/>
              </a:cxn>
            </a:cxnLst>
            <a:rect l="0" t="0" r="r" b="b"/>
            <a:pathLst>
              <a:path w="1842" h="3107">
                <a:moveTo>
                  <a:pt x="669" y="1010"/>
                </a:moveTo>
                <a:cubicBezTo>
                  <a:pt x="671" y="1010"/>
                  <a:pt x="671" y="1010"/>
                  <a:pt x="671" y="1010"/>
                </a:cubicBezTo>
                <a:cubicBezTo>
                  <a:pt x="671" y="3107"/>
                  <a:pt x="671" y="3107"/>
                  <a:pt x="671" y="3107"/>
                </a:cubicBezTo>
                <a:cubicBezTo>
                  <a:pt x="1371" y="2698"/>
                  <a:pt x="1842" y="1938"/>
                  <a:pt x="1842" y="1068"/>
                </a:cubicBezTo>
                <a:cubicBezTo>
                  <a:pt x="1842" y="684"/>
                  <a:pt x="1750" y="321"/>
                  <a:pt x="1587" y="0"/>
                </a:cubicBezTo>
                <a:cubicBezTo>
                  <a:pt x="0" y="0"/>
                  <a:pt x="0" y="0"/>
                  <a:pt x="0" y="0"/>
                </a:cubicBezTo>
                <a:cubicBezTo>
                  <a:pt x="380" y="184"/>
                  <a:pt x="647" y="565"/>
                  <a:pt x="669" y="1010"/>
                </a:cubicBezTo>
                <a:close/>
              </a:path>
            </a:pathLst>
          </a:custGeom>
          <a:gradFill flip="none" rotWithShape="1">
            <a:gsLst>
              <a:gs pos="64000">
                <a:schemeClr val="accent1"/>
              </a:gs>
              <a:gs pos="31000">
                <a:schemeClr val="accent1">
                  <a:lumMod val="60000"/>
                  <a:lumOff val="40000"/>
                </a:schemeClr>
              </a:gs>
              <a:gs pos="0">
                <a:schemeClr val="accent1">
                  <a:lumMod val="40000"/>
                  <a:lumOff val="60000"/>
                </a:schemeClr>
              </a:gs>
            </a:gsLst>
            <a:lin ang="16200000" scaled="1"/>
            <a:tileRect/>
          </a:gradFill>
          <a:ln>
            <a:noFill/>
          </a:ln>
          <a:effectLst>
            <a:outerShdw blurRad="444500" dist="317500" dir="5400000" sx="92000" sy="92000" algn="t" rotWithShape="0">
              <a:schemeClr val="accent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6" name="Freeform 8">
            <a:extLst>
              <a:ext uri="{FF2B5EF4-FFF2-40B4-BE49-F238E27FC236}">
                <a16:creationId xmlns:a16="http://schemas.microsoft.com/office/drawing/2014/main" id="{FA119365-636D-4D06-BDC1-5DBE7DE1B7C8}"/>
              </a:ext>
            </a:extLst>
          </p:cNvPr>
          <p:cNvSpPr>
            <a:spLocks/>
          </p:cNvSpPr>
          <p:nvPr/>
        </p:nvSpPr>
        <p:spPr bwMode="auto">
          <a:xfrm>
            <a:off x="4506913" y="4394200"/>
            <a:ext cx="2425700" cy="1436688"/>
          </a:xfrm>
          <a:custGeom>
            <a:avLst/>
            <a:gdLst>
              <a:gd name="T0" fmla="*/ 2058 w 3113"/>
              <a:gd name="T1" fmla="*/ 671 h 1844"/>
              <a:gd name="T2" fmla="*/ 2058 w 3113"/>
              <a:gd name="T3" fmla="*/ 671 h 1844"/>
              <a:gd name="T4" fmla="*/ 0 w 3113"/>
              <a:gd name="T5" fmla="*/ 671 h 1844"/>
              <a:gd name="T6" fmla="*/ 2040 w 3113"/>
              <a:gd name="T7" fmla="*/ 1844 h 1844"/>
              <a:gd name="T8" fmla="*/ 3113 w 3113"/>
              <a:gd name="T9" fmla="*/ 1587 h 1844"/>
              <a:gd name="T10" fmla="*/ 3113 w 3113"/>
              <a:gd name="T11" fmla="*/ 0 h 1844"/>
              <a:gd name="T12" fmla="*/ 2058 w 3113"/>
              <a:gd name="T13" fmla="*/ 671 h 1844"/>
            </a:gdLst>
            <a:ahLst/>
            <a:cxnLst>
              <a:cxn ang="0">
                <a:pos x="T0" y="T1"/>
              </a:cxn>
              <a:cxn ang="0">
                <a:pos x="T2" y="T3"/>
              </a:cxn>
              <a:cxn ang="0">
                <a:pos x="T4" y="T5"/>
              </a:cxn>
              <a:cxn ang="0">
                <a:pos x="T6" y="T7"/>
              </a:cxn>
              <a:cxn ang="0">
                <a:pos x="T8" y="T9"/>
              </a:cxn>
              <a:cxn ang="0">
                <a:pos x="T10" y="T11"/>
              </a:cxn>
              <a:cxn ang="0">
                <a:pos x="T12" y="T13"/>
              </a:cxn>
            </a:cxnLst>
            <a:rect l="0" t="0" r="r" b="b"/>
            <a:pathLst>
              <a:path w="3113" h="1844">
                <a:moveTo>
                  <a:pt x="2058" y="671"/>
                </a:moveTo>
                <a:cubicBezTo>
                  <a:pt x="2058" y="671"/>
                  <a:pt x="2058" y="671"/>
                  <a:pt x="2058" y="671"/>
                </a:cubicBezTo>
                <a:cubicBezTo>
                  <a:pt x="0" y="671"/>
                  <a:pt x="0" y="671"/>
                  <a:pt x="0" y="671"/>
                </a:cubicBezTo>
                <a:cubicBezTo>
                  <a:pt x="409" y="1373"/>
                  <a:pt x="1170" y="1844"/>
                  <a:pt x="2040" y="1844"/>
                </a:cubicBezTo>
                <a:cubicBezTo>
                  <a:pt x="2426" y="1844"/>
                  <a:pt x="2791" y="1752"/>
                  <a:pt x="3113" y="1587"/>
                </a:cubicBezTo>
                <a:cubicBezTo>
                  <a:pt x="3113" y="0"/>
                  <a:pt x="3113" y="0"/>
                  <a:pt x="3113" y="0"/>
                </a:cubicBezTo>
                <a:cubicBezTo>
                  <a:pt x="2923" y="393"/>
                  <a:pt x="2523" y="666"/>
                  <a:pt x="2058" y="671"/>
                </a:cubicBezTo>
                <a:close/>
              </a:path>
            </a:pathLst>
          </a:custGeom>
          <a:gradFill flip="none" rotWithShape="1">
            <a:gsLst>
              <a:gs pos="64000">
                <a:schemeClr val="accent1"/>
              </a:gs>
              <a:gs pos="31000">
                <a:schemeClr val="accent1">
                  <a:lumMod val="60000"/>
                  <a:lumOff val="40000"/>
                </a:schemeClr>
              </a:gs>
              <a:gs pos="0">
                <a:schemeClr val="accent1">
                  <a:lumMod val="40000"/>
                  <a:lumOff val="60000"/>
                </a:schemeClr>
              </a:gs>
            </a:gsLst>
            <a:lin ang="0" scaled="1"/>
            <a:tileRect/>
          </a:gradFill>
          <a:ln>
            <a:noFill/>
          </a:ln>
          <a:effectLst>
            <a:outerShdw blurRad="444500" dist="317500" dir="5400000" sx="92000" sy="92000" algn="t" rotWithShape="0">
              <a:schemeClr val="accent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grpSp>
        <p:nvGrpSpPr>
          <p:cNvPr id="7" name="Group 28">
            <a:extLst>
              <a:ext uri="{FF2B5EF4-FFF2-40B4-BE49-F238E27FC236}">
                <a16:creationId xmlns:a16="http://schemas.microsoft.com/office/drawing/2014/main" id="{8587EF4E-4360-47AE-BA96-FEA992187E67}"/>
              </a:ext>
            </a:extLst>
          </p:cNvPr>
          <p:cNvGrpSpPr/>
          <p:nvPr/>
        </p:nvGrpSpPr>
        <p:grpSpPr>
          <a:xfrm>
            <a:off x="5887270" y="5118995"/>
            <a:ext cx="417460" cy="461068"/>
            <a:chOff x="5153025" y="2384426"/>
            <a:chExt cx="1884363" cy="2081213"/>
          </a:xfrm>
          <a:solidFill>
            <a:srgbClr val="FFFFFF"/>
          </a:solidFill>
        </p:grpSpPr>
        <p:sp>
          <p:nvSpPr>
            <p:cNvPr id="8" name="Freeform 5">
              <a:extLst>
                <a:ext uri="{FF2B5EF4-FFF2-40B4-BE49-F238E27FC236}">
                  <a16:creationId xmlns:a16="http://schemas.microsoft.com/office/drawing/2014/main" id="{50DCD842-D2DD-49F3-A98C-5C2FD6A90DC9}"/>
                </a:ext>
              </a:extLst>
            </p:cNvPr>
            <p:cNvSpPr>
              <a:spLocks/>
            </p:cNvSpPr>
            <p:nvPr/>
          </p:nvSpPr>
          <p:spPr bwMode="auto">
            <a:xfrm>
              <a:off x="5529263" y="2384426"/>
              <a:ext cx="377825" cy="763588"/>
            </a:xfrm>
            <a:custGeom>
              <a:avLst/>
              <a:gdLst>
                <a:gd name="T0" fmla="*/ 252 w 373"/>
                <a:gd name="T1" fmla="*/ 409 h 754"/>
                <a:gd name="T2" fmla="*/ 187 w 373"/>
                <a:gd name="T3" fmla="*/ 288 h 754"/>
                <a:gd name="T4" fmla="*/ 252 w 373"/>
                <a:gd name="T5" fmla="*/ 168 h 754"/>
                <a:gd name="T6" fmla="*/ 252 w 373"/>
                <a:gd name="T7" fmla="*/ 36 h 754"/>
                <a:gd name="T8" fmla="*/ 121 w 373"/>
                <a:gd name="T9" fmla="*/ 36 h 754"/>
                <a:gd name="T10" fmla="*/ 0 w 373"/>
                <a:gd name="T11" fmla="*/ 288 h 754"/>
                <a:gd name="T12" fmla="*/ 121 w 373"/>
                <a:gd name="T13" fmla="*/ 540 h 754"/>
                <a:gd name="T14" fmla="*/ 187 w 373"/>
                <a:gd name="T15" fmla="*/ 661 h 754"/>
                <a:gd name="T16" fmla="*/ 280 w 373"/>
                <a:gd name="T17" fmla="*/ 754 h 754"/>
                <a:gd name="T18" fmla="*/ 373 w 373"/>
                <a:gd name="T19" fmla="*/ 661 h 754"/>
                <a:gd name="T20" fmla="*/ 252 w 373"/>
                <a:gd name="T21" fmla="*/ 409 h 7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3" h="754">
                  <a:moveTo>
                    <a:pt x="252" y="409"/>
                  </a:moveTo>
                  <a:cubicBezTo>
                    <a:pt x="207" y="363"/>
                    <a:pt x="187" y="341"/>
                    <a:pt x="187" y="288"/>
                  </a:cubicBezTo>
                  <a:cubicBezTo>
                    <a:pt x="187" y="236"/>
                    <a:pt x="207" y="214"/>
                    <a:pt x="252" y="168"/>
                  </a:cubicBezTo>
                  <a:cubicBezTo>
                    <a:pt x="289" y="132"/>
                    <a:pt x="289" y="73"/>
                    <a:pt x="252" y="36"/>
                  </a:cubicBezTo>
                  <a:cubicBezTo>
                    <a:pt x="216" y="0"/>
                    <a:pt x="157" y="0"/>
                    <a:pt x="121" y="36"/>
                  </a:cubicBezTo>
                  <a:cubicBezTo>
                    <a:pt x="70" y="87"/>
                    <a:pt x="0" y="157"/>
                    <a:pt x="0" y="288"/>
                  </a:cubicBezTo>
                  <a:cubicBezTo>
                    <a:pt x="0" y="420"/>
                    <a:pt x="70" y="489"/>
                    <a:pt x="121" y="540"/>
                  </a:cubicBezTo>
                  <a:cubicBezTo>
                    <a:pt x="166" y="586"/>
                    <a:pt x="187" y="608"/>
                    <a:pt x="187" y="661"/>
                  </a:cubicBezTo>
                  <a:cubicBezTo>
                    <a:pt x="187" y="712"/>
                    <a:pt x="228" y="754"/>
                    <a:pt x="280" y="754"/>
                  </a:cubicBezTo>
                  <a:cubicBezTo>
                    <a:pt x="331" y="754"/>
                    <a:pt x="373" y="712"/>
                    <a:pt x="373" y="661"/>
                  </a:cubicBezTo>
                  <a:cubicBezTo>
                    <a:pt x="373" y="529"/>
                    <a:pt x="303" y="459"/>
                    <a:pt x="252" y="40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9" name="Freeform 6">
              <a:extLst>
                <a:ext uri="{FF2B5EF4-FFF2-40B4-BE49-F238E27FC236}">
                  <a16:creationId xmlns:a16="http://schemas.microsoft.com/office/drawing/2014/main" id="{B04E9E05-CAFD-4433-8BE4-3DBC148961C6}"/>
                </a:ext>
              </a:extLst>
            </p:cNvPr>
            <p:cNvSpPr>
              <a:spLocks/>
            </p:cNvSpPr>
            <p:nvPr/>
          </p:nvSpPr>
          <p:spPr bwMode="auto">
            <a:xfrm>
              <a:off x="5970588" y="2384426"/>
              <a:ext cx="376238" cy="763588"/>
            </a:xfrm>
            <a:custGeom>
              <a:avLst/>
              <a:gdLst>
                <a:gd name="T0" fmla="*/ 252 w 372"/>
                <a:gd name="T1" fmla="*/ 409 h 754"/>
                <a:gd name="T2" fmla="*/ 186 w 372"/>
                <a:gd name="T3" fmla="*/ 288 h 754"/>
                <a:gd name="T4" fmla="*/ 252 w 372"/>
                <a:gd name="T5" fmla="*/ 168 h 754"/>
                <a:gd name="T6" fmla="*/ 252 w 372"/>
                <a:gd name="T7" fmla="*/ 36 h 754"/>
                <a:gd name="T8" fmla="*/ 120 w 372"/>
                <a:gd name="T9" fmla="*/ 36 h 754"/>
                <a:gd name="T10" fmla="*/ 0 w 372"/>
                <a:gd name="T11" fmla="*/ 288 h 754"/>
                <a:gd name="T12" fmla="*/ 120 w 372"/>
                <a:gd name="T13" fmla="*/ 540 h 754"/>
                <a:gd name="T14" fmla="*/ 186 w 372"/>
                <a:gd name="T15" fmla="*/ 661 h 754"/>
                <a:gd name="T16" fmla="*/ 279 w 372"/>
                <a:gd name="T17" fmla="*/ 754 h 754"/>
                <a:gd name="T18" fmla="*/ 372 w 372"/>
                <a:gd name="T19" fmla="*/ 661 h 754"/>
                <a:gd name="T20" fmla="*/ 252 w 372"/>
                <a:gd name="T21" fmla="*/ 409 h 7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2" h="754">
                  <a:moveTo>
                    <a:pt x="252" y="409"/>
                  </a:moveTo>
                  <a:cubicBezTo>
                    <a:pt x="206" y="363"/>
                    <a:pt x="186" y="341"/>
                    <a:pt x="186" y="288"/>
                  </a:cubicBezTo>
                  <a:cubicBezTo>
                    <a:pt x="186" y="236"/>
                    <a:pt x="206" y="214"/>
                    <a:pt x="252" y="168"/>
                  </a:cubicBezTo>
                  <a:cubicBezTo>
                    <a:pt x="288" y="132"/>
                    <a:pt x="288" y="73"/>
                    <a:pt x="252" y="36"/>
                  </a:cubicBezTo>
                  <a:cubicBezTo>
                    <a:pt x="216" y="0"/>
                    <a:pt x="157" y="0"/>
                    <a:pt x="120" y="36"/>
                  </a:cubicBezTo>
                  <a:cubicBezTo>
                    <a:pt x="69" y="87"/>
                    <a:pt x="0" y="157"/>
                    <a:pt x="0" y="288"/>
                  </a:cubicBezTo>
                  <a:cubicBezTo>
                    <a:pt x="0" y="420"/>
                    <a:pt x="69" y="489"/>
                    <a:pt x="120" y="540"/>
                  </a:cubicBezTo>
                  <a:cubicBezTo>
                    <a:pt x="166" y="586"/>
                    <a:pt x="186" y="608"/>
                    <a:pt x="186" y="661"/>
                  </a:cubicBezTo>
                  <a:cubicBezTo>
                    <a:pt x="186" y="712"/>
                    <a:pt x="228" y="754"/>
                    <a:pt x="279" y="754"/>
                  </a:cubicBezTo>
                  <a:cubicBezTo>
                    <a:pt x="331" y="754"/>
                    <a:pt x="372" y="712"/>
                    <a:pt x="372" y="661"/>
                  </a:cubicBezTo>
                  <a:cubicBezTo>
                    <a:pt x="372" y="529"/>
                    <a:pt x="303" y="459"/>
                    <a:pt x="252" y="40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10" name="Freeform 7">
              <a:extLst>
                <a:ext uri="{FF2B5EF4-FFF2-40B4-BE49-F238E27FC236}">
                  <a16:creationId xmlns:a16="http://schemas.microsoft.com/office/drawing/2014/main" id="{878F7D35-047C-4189-B015-EA3E1D3CB456}"/>
                </a:ext>
              </a:extLst>
            </p:cNvPr>
            <p:cNvSpPr>
              <a:spLocks noEditPoints="1"/>
            </p:cNvSpPr>
            <p:nvPr/>
          </p:nvSpPr>
          <p:spPr bwMode="auto">
            <a:xfrm>
              <a:off x="5153025" y="3335340"/>
              <a:ext cx="1884363" cy="1130299"/>
            </a:xfrm>
            <a:custGeom>
              <a:avLst/>
              <a:gdLst>
                <a:gd name="T0" fmla="*/ 1433 w 1862"/>
                <a:gd name="T1" fmla="*/ 683 h 1117"/>
                <a:gd name="T2" fmla="*/ 1521 w 1862"/>
                <a:gd name="T3" fmla="*/ 683 h 1117"/>
                <a:gd name="T4" fmla="*/ 1521 w 1862"/>
                <a:gd name="T5" fmla="*/ 683 h 1117"/>
                <a:gd name="T6" fmla="*/ 1862 w 1862"/>
                <a:gd name="T7" fmla="*/ 341 h 1117"/>
                <a:gd name="T8" fmla="*/ 1521 w 1862"/>
                <a:gd name="T9" fmla="*/ 0 h 1117"/>
                <a:gd name="T10" fmla="*/ 1396 w 1862"/>
                <a:gd name="T11" fmla="*/ 0 h 1117"/>
                <a:gd name="T12" fmla="*/ 155 w 1862"/>
                <a:gd name="T13" fmla="*/ 0 h 1117"/>
                <a:gd name="T14" fmla="*/ 62 w 1862"/>
                <a:gd name="T15" fmla="*/ 93 h 1117"/>
                <a:gd name="T16" fmla="*/ 62 w 1862"/>
                <a:gd name="T17" fmla="*/ 403 h 1117"/>
                <a:gd name="T18" fmla="*/ 296 w 1862"/>
                <a:gd name="T19" fmla="*/ 931 h 1117"/>
                <a:gd name="T20" fmla="*/ 93 w 1862"/>
                <a:gd name="T21" fmla="*/ 931 h 1117"/>
                <a:gd name="T22" fmla="*/ 0 w 1862"/>
                <a:gd name="T23" fmla="*/ 1024 h 1117"/>
                <a:gd name="T24" fmla="*/ 93 w 1862"/>
                <a:gd name="T25" fmla="*/ 1117 h 1117"/>
                <a:gd name="T26" fmla="*/ 776 w 1862"/>
                <a:gd name="T27" fmla="*/ 1117 h 1117"/>
                <a:gd name="T28" fmla="*/ 1459 w 1862"/>
                <a:gd name="T29" fmla="*/ 1117 h 1117"/>
                <a:gd name="T30" fmla="*/ 1552 w 1862"/>
                <a:gd name="T31" fmla="*/ 1024 h 1117"/>
                <a:gd name="T32" fmla="*/ 1459 w 1862"/>
                <a:gd name="T33" fmla="*/ 931 h 1117"/>
                <a:gd name="T34" fmla="*/ 1256 w 1862"/>
                <a:gd name="T35" fmla="*/ 931 h 1117"/>
                <a:gd name="T36" fmla="*/ 1433 w 1862"/>
                <a:gd name="T37" fmla="*/ 683 h 1117"/>
                <a:gd name="T38" fmla="*/ 1490 w 1862"/>
                <a:gd name="T39" fmla="*/ 403 h 1117"/>
                <a:gd name="T40" fmla="*/ 1490 w 1862"/>
                <a:gd name="T41" fmla="*/ 186 h 1117"/>
                <a:gd name="T42" fmla="*/ 1521 w 1862"/>
                <a:gd name="T43" fmla="*/ 186 h 1117"/>
                <a:gd name="T44" fmla="*/ 1676 w 1862"/>
                <a:gd name="T45" fmla="*/ 341 h 1117"/>
                <a:gd name="T46" fmla="*/ 1521 w 1862"/>
                <a:gd name="T47" fmla="*/ 496 h 1117"/>
                <a:gd name="T48" fmla="*/ 1520 w 1862"/>
                <a:gd name="T49" fmla="*/ 496 h 1117"/>
                <a:gd name="T50" fmla="*/ 1483 w 1862"/>
                <a:gd name="T51" fmla="*/ 496 h 1117"/>
                <a:gd name="T52" fmla="*/ 1490 w 1862"/>
                <a:gd name="T53" fmla="*/ 403 h 1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62" h="1117">
                  <a:moveTo>
                    <a:pt x="1433" y="683"/>
                  </a:moveTo>
                  <a:cubicBezTo>
                    <a:pt x="1521" y="683"/>
                    <a:pt x="1521" y="683"/>
                    <a:pt x="1521" y="683"/>
                  </a:cubicBezTo>
                  <a:cubicBezTo>
                    <a:pt x="1521" y="683"/>
                    <a:pt x="1521" y="683"/>
                    <a:pt x="1521" y="683"/>
                  </a:cubicBezTo>
                  <a:cubicBezTo>
                    <a:pt x="1709" y="682"/>
                    <a:pt x="1862" y="529"/>
                    <a:pt x="1862" y="341"/>
                  </a:cubicBezTo>
                  <a:cubicBezTo>
                    <a:pt x="1862" y="153"/>
                    <a:pt x="1709" y="0"/>
                    <a:pt x="1521" y="0"/>
                  </a:cubicBezTo>
                  <a:cubicBezTo>
                    <a:pt x="1396" y="0"/>
                    <a:pt x="1396" y="0"/>
                    <a:pt x="1396" y="0"/>
                  </a:cubicBezTo>
                  <a:cubicBezTo>
                    <a:pt x="155" y="0"/>
                    <a:pt x="155" y="0"/>
                    <a:pt x="155" y="0"/>
                  </a:cubicBezTo>
                  <a:cubicBezTo>
                    <a:pt x="104" y="0"/>
                    <a:pt x="62" y="42"/>
                    <a:pt x="62" y="93"/>
                  </a:cubicBezTo>
                  <a:cubicBezTo>
                    <a:pt x="62" y="403"/>
                    <a:pt x="62" y="403"/>
                    <a:pt x="62" y="403"/>
                  </a:cubicBezTo>
                  <a:cubicBezTo>
                    <a:pt x="62" y="612"/>
                    <a:pt x="152" y="800"/>
                    <a:pt x="296" y="931"/>
                  </a:cubicBezTo>
                  <a:cubicBezTo>
                    <a:pt x="93" y="931"/>
                    <a:pt x="93" y="931"/>
                    <a:pt x="93" y="931"/>
                  </a:cubicBezTo>
                  <a:cubicBezTo>
                    <a:pt x="42" y="931"/>
                    <a:pt x="0" y="972"/>
                    <a:pt x="0" y="1024"/>
                  </a:cubicBezTo>
                  <a:cubicBezTo>
                    <a:pt x="0" y="1075"/>
                    <a:pt x="42" y="1117"/>
                    <a:pt x="93" y="1117"/>
                  </a:cubicBezTo>
                  <a:cubicBezTo>
                    <a:pt x="776" y="1117"/>
                    <a:pt x="776" y="1117"/>
                    <a:pt x="776" y="1117"/>
                  </a:cubicBezTo>
                  <a:cubicBezTo>
                    <a:pt x="1459" y="1117"/>
                    <a:pt x="1459" y="1117"/>
                    <a:pt x="1459" y="1117"/>
                  </a:cubicBezTo>
                  <a:cubicBezTo>
                    <a:pt x="1510" y="1117"/>
                    <a:pt x="1552" y="1075"/>
                    <a:pt x="1552" y="1024"/>
                  </a:cubicBezTo>
                  <a:cubicBezTo>
                    <a:pt x="1552" y="972"/>
                    <a:pt x="1510" y="931"/>
                    <a:pt x="1459" y="931"/>
                  </a:cubicBezTo>
                  <a:cubicBezTo>
                    <a:pt x="1256" y="931"/>
                    <a:pt x="1256" y="931"/>
                    <a:pt x="1256" y="931"/>
                  </a:cubicBezTo>
                  <a:cubicBezTo>
                    <a:pt x="1331" y="862"/>
                    <a:pt x="1392" y="778"/>
                    <a:pt x="1433" y="683"/>
                  </a:cubicBezTo>
                  <a:close/>
                  <a:moveTo>
                    <a:pt x="1490" y="403"/>
                  </a:moveTo>
                  <a:cubicBezTo>
                    <a:pt x="1490" y="186"/>
                    <a:pt x="1490" y="186"/>
                    <a:pt x="1490" y="186"/>
                  </a:cubicBezTo>
                  <a:cubicBezTo>
                    <a:pt x="1521" y="186"/>
                    <a:pt x="1521" y="186"/>
                    <a:pt x="1521" y="186"/>
                  </a:cubicBezTo>
                  <a:cubicBezTo>
                    <a:pt x="1606" y="186"/>
                    <a:pt x="1676" y="256"/>
                    <a:pt x="1676" y="341"/>
                  </a:cubicBezTo>
                  <a:cubicBezTo>
                    <a:pt x="1676" y="427"/>
                    <a:pt x="1606" y="496"/>
                    <a:pt x="1521" y="496"/>
                  </a:cubicBezTo>
                  <a:cubicBezTo>
                    <a:pt x="1521" y="496"/>
                    <a:pt x="1521" y="496"/>
                    <a:pt x="1520" y="496"/>
                  </a:cubicBezTo>
                  <a:cubicBezTo>
                    <a:pt x="1483" y="496"/>
                    <a:pt x="1483" y="496"/>
                    <a:pt x="1483" y="496"/>
                  </a:cubicBezTo>
                  <a:cubicBezTo>
                    <a:pt x="1487" y="466"/>
                    <a:pt x="1490" y="435"/>
                    <a:pt x="1490" y="4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HarmonyOS Sans SC"/>
                <a:cs typeface="+mn-cs"/>
              </a:endParaRPr>
            </a:p>
          </p:txBody>
        </p:sp>
      </p:grpSp>
      <p:grpSp>
        <p:nvGrpSpPr>
          <p:cNvPr id="11" name="Group 44">
            <a:extLst>
              <a:ext uri="{FF2B5EF4-FFF2-40B4-BE49-F238E27FC236}">
                <a16:creationId xmlns:a16="http://schemas.microsoft.com/office/drawing/2014/main" id="{215CA114-D38F-4919-B517-B4C0A4CF168E}"/>
              </a:ext>
            </a:extLst>
          </p:cNvPr>
          <p:cNvGrpSpPr/>
          <p:nvPr/>
        </p:nvGrpSpPr>
        <p:grpSpPr>
          <a:xfrm>
            <a:off x="7324817" y="3887473"/>
            <a:ext cx="334871" cy="416550"/>
            <a:chOff x="4862513" y="3505200"/>
            <a:chExt cx="260350" cy="323851"/>
          </a:xfrm>
          <a:solidFill>
            <a:srgbClr val="FFFFFF"/>
          </a:solidFill>
        </p:grpSpPr>
        <p:sp>
          <p:nvSpPr>
            <p:cNvPr id="12" name="Freeform 9">
              <a:extLst>
                <a:ext uri="{FF2B5EF4-FFF2-40B4-BE49-F238E27FC236}">
                  <a16:creationId xmlns:a16="http://schemas.microsoft.com/office/drawing/2014/main" id="{1CAF2916-4C09-407C-A0C4-5D9990E57465}"/>
                </a:ext>
              </a:extLst>
            </p:cNvPr>
            <p:cNvSpPr>
              <a:spLocks/>
            </p:cNvSpPr>
            <p:nvPr/>
          </p:nvSpPr>
          <p:spPr bwMode="auto">
            <a:xfrm>
              <a:off x="4870451" y="3505200"/>
              <a:ext cx="220663" cy="234950"/>
            </a:xfrm>
            <a:custGeom>
              <a:avLst/>
              <a:gdLst>
                <a:gd name="T0" fmla="*/ 761 w 1393"/>
                <a:gd name="T1" fmla="*/ 0 h 1489"/>
                <a:gd name="T2" fmla="*/ 240 w 1393"/>
                <a:gd name="T3" fmla="*/ 0 h 1489"/>
                <a:gd name="T4" fmla="*/ 93 w 1393"/>
                <a:gd name="T5" fmla="*/ 0 h 1489"/>
                <a:gd name="T6" fmla="*/ 0 w 1393"/>
                <a:gd name="T7" fmla="*/ 93 h 1489"/>
                <a:gd name="T8" fmla="*/ 93 w 1393"/>
                <a:gd name="T9" fmla="*/ 186 h 1489"/>
                <a:gd name="T10" fmla="*/ 147 w 1393"/>
                <a:gd name="T11" fmla="*/ 186 h 1489"/>
                <a:gd name="T12" fmla="*/ 147 w 1393"/>
                <a:gd name="T13" fmla="*/ 938 h 1489"/>
                <a:gd name="T14" fmla="*/ 240 w 1393"/>
                <a:gd name="T15" fmla="*/ 1031 h 1489"/>
                <a:gd name="T16" fmla="*/ 397 w 1393"/>
                <a:gd name="T17" fmla="*/ 1031 h 1489"/>
                <a:gd name="T18" fmla="*/ 462 w 1393"/>
                <a:gd name="T19" fmla="*/ 1004 h 1489"/>
                <a:gd name="T20" fmla="*/ 591 w 1393"/>
                <a:gd name="T21" fmla="*/ 876 h 1489"/>
                <a:gd name="T22" fmla="*/ 591 w 1393"/>
                <a:gd name="T23" fmla="*/ 1100 h 1489"/>
                <a:gd name="T24" fmla="*/ 201 w 1393"/>
                <a:gd name="T25" fmla="*/ 1489 h 1489"/>
                <a:gd name="T26" fmla="*/ 1393 w 1393"/>
                <a:gd name="T27" fmla="*/ 1489 h 1489"/>
                <a:gd name="T28" fmla="*/ 1393 w 1393"/>
                <a:gd name="T29" fmla="*/ 633 h 1489"/>
                <a:gd name="T30" fmla="*/ 761 w 1393"/>
                <a:gd name="T31" fmla="*/ 0 h 14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93" h="1489">
                  <a:moveTo>
                    <a:pt x="761" y="0"/>
                  </a:moveTo>
                  <a:cubicBezTo>
                    <a:pt x="240" y="0"/>
                    <a:pt x="240" y="0"/>
                    <a:pt x="240" y="0"/>
                  </a:cubicBezTo>
                  <a:cubicBezTo>
                    <a:pt x="93" y="0"/>
                    <a:pt x="93" y="0"/>
                    <a:pt x="93" y="0"/>
                  </a:cubicBezTo>
                  <a:cubicBezTo>
                    <a:pt x="41" y="0"/>
                    <a:pt x="0" y="42"/>
                    <a:pt x="0" y="93"/>
                  </a:cubicBezTo>
                  <a:cubicBezTo>
                    <a:pt x="0" y="145"/>
                    <a:pt x="41" y="186"/>
                    <a:pt x="93" y="186"/>
                  </a:cubicBezTo>
                  <a:cubicBezTo>
                    <a:pt x="147" y="186"/>
                    <a:pt x="147" y="186"/>
                    <a:pt x="147" y="186"/>
                  </a:cubicBezTo>
                  <a:cubicBezTo>
                    <a:pt x="147" y="938"/>
                    <a:pt x="147" y="938"/>
                    <a:pt x="147" y="938"/>
                  </a:cubicBezTo>
                  <a:cubicBezTo>
                    <a:pt x="147" y="990"/>
                    <a:pt x="188" y="1031"/>
                    <a:pt x="240" y="1031"/>
                  </a:cubicBezTo>
                  <a:cubicBezTo>
                    <a:pt x="397" y="1031"/>
                    <a:pt x="397" y="1031"/>
                    <a:pt x="397" y="1031"/>
                  </a:cubicBezTo>
                  <a:cubicBezTo>
                    <a:pt x="421" y="1031"/>
                    <a:pt x="445" y="1021"/>
                    <a:pt x="462" y="1004"/>
                  </a:cubicBezTo>
                  <a:cubicBezTo>
                    <a:pt x="591" y="876"/>
                    <a:pt x="591" y="876"/>
                    <a:pt x="591" y="876"/>
                  </a:cubicBezTo>
                  <a:cubicBezTo>
                    <a:pt x="591" y="1100"/>
                    <a:pt x="591" y="1100"/>
                    <a:pt x="591" y="1100"/>
                  </a:cubicBezTo>
                  <a:cubicBezTo>
                    <a:pt x="201" y="1489"/>
                    <a:pt x="201" y="1489"/>
                    <a:pt x="201" y="1489"/>
                  </a:cubicBezTo>
                  <a:cubicBezTo>
                    <a:pt x="1393" y="1489"/>
                    <a:pt x="1393" y="1489"/>
                    <a:pt x="1393" y="1489"/>
                  </a:cubicBezTo>
                  <a:cubicBezTo>
                    <a:pt x="1393" y="633"/>
                    <a:pt x="1393" y="633"/>
                    <a:pt x="1393" y="633"/>
                  </a:cubicBezTo>
                  <a:cubicBezTo>
                    <a:pt x="1393" y="284"/>
                    <a:pt x="1109" y="0"/>
                    <a:pt x="76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13" name="Freeform 10">
              <a:extLst>
                <a:ext uri="{FF2B5EF4-FFF2-40B4-BE49-F238E27FC236}">
                  <a16:creationId xmlns:a16="http://schemas.microsoft.com/office/drawing/2014/main" id="{633D4C99-0DE7-457A-A8F4-FC4CEAE29F23}"/>
                </a:ext>
              </a:extLst>
            </p:cNvPr>
            <p:cNvSpPr>
              <a:spLocks/>
            </p:cNvSpPr>
            <p:nvPr/>
          </p:nvSpPr>
          <p:spPr bwMode="auto">
            <a:xfrm>
              <a:off x="4862513" y="3770313"/>
              <a:ext cx="260350" cy="58738"/>
            </a:xfrm>
            <a:custGeom>
              <a:avLst/>
              <a:gdLst>
                <a:gd name="T0" fmla="*/ 0 w 1646"/>
                <a:gd name="T1" fmla="*/ 0 h 372"/>
                <a:gd name="T2" fmla="*/ 0 w 1646"/>
                <a:gd name="T3" fmla="*/ 279 h 372"/>
                <a:gd name="T4" fmla="*/ 93 w 1646"/>
                <a:gd name="T5" fmla="*/ 372 h 372"/>
                <a:gd name="T6" fmla="*/ 1553 w 1646"/>
                <a:gd name="T7" fmla="*/ 372 h 372"/>
                <a:gd name="T8" fmla="*/ 1646 w 1646"/>
                <a:gd name="T9" fmla="*/ 279 h 372"/>
                <a:gd name="T10" fmla="*/ 1646 w 1646"/>
                <a:gd name="T11" fmla="*/ 0 h 372"/>
                <a:gd name="T12" fmla="*/ 0 w 1646"/>
                <a:gd name="T13" fmla="*/ 0 h 372"/>
              </a:gdLst>
              <a:ahLst/>
              <a:cxnLst>
                <a:cxn ang="0">
                  <a:pos x="T0" y="T1"/>
                </a:cxn>
                <a:cxn ang="0">
                  <a:pos x="T2" y="T3"/>
                </a:cxn>
                <a:cxn ang="0">
                  <a:pos x="T4" y="T5"/>
                </a:cxn>
                <a:cxn ang="0">
                  <a:pos x="T6" y="T7"/>
                </a:cxn>
                <a:cxn ang="0">
                  <a:pos x="T8" y="T9"/>
                </a:cxn>
                <a:cxn ang="0">
                  <a:pos x="T10" y="T11"/>
                </a:cxn>
                <a:cxn ang="0">
                  <a:pos x="T12" y="T13"/>
                </a:cxn>
              </a:cxnLst>
              <a:rect l="0" t="0" r="r" b="b"/>
              <a:pathLst>
                <a:path w="1646" h="372">
                  <a:moveTo>
                    <a:pt x="0" y="0"/>
                  </a:moveTo>
                  <a:cubicBezTo>
                    <a:pt x="0" y="279"/>
                    <a:pt x="0" y="279"/>
                    <a:pt x="0" y="279"/>
                  </a:cubicBezTo>
                  <a:cubicBezTo>
                    <a:pt x="0" y="330"/>
                    <a:pt x="42" y="372"/>
                    <a:pt x="93" y="372"/>
                  </a:cubicBezTo>
                  <a:cubicBezTo>
                    <a:pt x="1553" y="372"/>
                    <a:pt x="1553" y="372"/>
                    <a:pt x="1553" y="372"/>
                  </a:cubicBezTo>
                  <a:cubicBezTo>
                    <a:pt x="1604" y="372"/>
                    <a:pt x="1646" y="330"/>
                    <a:pt x="1646" y="279"/>
                  </a:cubicBezTo>
                  <a:cubicBezTo>
                    <a:pt x="1646" y="0"/>
                    <a:pt x="1646" y="0"/>
                    <a:pt x="1646" y="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grpSp>
      <p:grpSp>
        <p:nvGrpSpPr>
          <p:cNvPr id="14" name="Group 47">
            <a:extLst>
              <a:ext uri="{FF2B5EF4-FFF2-40B4-BE49-F238E27FC236}">
                <a16:creationId xmlns:a16="http://schemas.microsoft.com/office/drawing/2014/main" id="{5CCBAFBD-58E4-4CDD-9522-C251DAD629C8}"/>
              </a:ext>
            </a:extLst>
          </p:cNvPr>
          <p:cNvGrpSpPr/>
          <p:nvPr/>
        </p:nvGrpSpPr>
        <p:grpSpPr>
          <a:xfrm>
            <a:off x="4532132" y="3646344"/>
            <a:ext cx="335667" cy="416550"/>
            <a:chOff x="3333750" y="6040438"/>
            <a:chExt cx="658813" cy="817562"/>
          </a:xfrm>
          <a:solidFill>
            <a:srgbClr val="FFFFFF"/>
          </a:solidFill>
        </p:grpSpPr>
        <p:sp>
          <p:nvSpPr>
            <p:cNvPr id="15" name="Oval 5">
              <a:extLst>
                <a:ext uri="{FF2B5EF4-FFF2-40B4-BE49-F238E27FC236}">
                  <a16:creationId xmlns:a16="http://schemas.microsoft.com/office/drawing/2014/main" id="{B58378AB-38A1-404E-92E5-3F7235917990}"/>
                </a:ext>
              </a:extLst>
            </p:cNvPr>
            <p:cNvSpPr>
              <a:spLocks noChangeArrowheads="1"/>
            </p:cNvSpPr>
            <p:nvPr/>
          </p:nvSpPr>
          <p:spPr bwMode="auto">
            <a:xfrm>
              <a:off x="3484563" y="6040438"/>
              <a:ext cx="358775" cy="3587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16" name="Freeform 6">
              <a:extLst>
                <a:ext uri="{FF2B5EF4-FFF2-40B4-BE49-F238E27FC236}">
                  <a16:creationId xmlns:a16="http://schemas.microsoft.com/office/drawing/2014/main" id="{13B381A0-615E-40D4-B208-707DAB1B81A6}"/>
                </a:ext>
              </a:extLst>
            </p:cNvPr>
            <p:cNvSpPr>
              <a:spLocks/>
            </p:cNvSpPr>
            <p:nvPr/>
          </p:nvSpPr>
          <p:spPr bwMode="auto">
            <a:xfrm>
              <a:off x="3333750" y="6488113"/>
              <a:ext cx="658813" cy="369887"/>
            </a:xfrm>
            <a:custGeom>
              <a:avLst/>
              <a:gdLst>
                <a:gd name="T0" fmla="*/ 933 w 1650"/>
                <a:gd name="T1" fmla="*/ 0 h 926"/>
                <a:gd name="T2" fmla="*/ 933 w 1650"/>
                <a:gd name="T3" fmla="*/ 109 h 926"/>
                <a:gd name="T4" fmla="*/ 933 w 1650"/>
                <a:gd name="T5" fmla="*/ 218 h 926"/>
                <a:gd name="T6" fmla="*/ 933 w 1650"/>
                <a:gd name="T7" fmla="*/ 675 h 926"/>
                <a:gd name="T8" fmla="*/ 926 w 1650"/>
                <a:gd name="T9" fmla="*/ 711 h 926"/>
                <a:gd name="T10" fmla="*/ 825 w 1650"/>
                <a:gd name="T11" fmla="*/ 783 h 926"/>
                <a:gd name="T12" fmla="*/ 724 w 1650"/>
                <a:gd name="T13" fmla="*/ 711 h 926"/>
                <a:gd name="T14" fmla="*/ 717 w 1650"/>
                <a:gd name="T15" fmla="*/ 675 h 926"/>
                <a:gd name="T16" fmla="*/ 717 w 1650"/>
                <a:gd name="T17" fmla="*/ 218 h 926"/>
                <a:gd name="T18" fmla="*/ 717 w 1650"/>
                <a:gd name="T19" fmla="*/ 109 h 926"/>
                <a:gd name="T20" fmla="*/ 717 w 1650"/>
                <a:gd name="T21" fmla="*/ 0 h 926"/>
                <a:gd name="T22" fmla="*/ 0 w 1650"/>
                <a:gd name="T23" fmla="*/ 818 h 926"/>
                <a:gd name="T24" fmla="*/ 108 w 1650"/>
                <a:gd name="T25" fmla="*/ 926 h 926"/>
                <a:gd name="T26" fmla="*/ 1542 w 1650"/>
                <a:gd name="T27" fmla="*/ 926 h 926"/>
                <a:gd name="T28" fmla="*/ 1650 w 1650"/>
                <a:gd name="T29" fmla="*/ 818 h 926"/>
                <a:gd name="T30" fmla="*/ 933 w 1650"/>
                <a:gd name="T31" fmla="*/ 0 h 9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50" h="926">
                  <a:moveTo>
                    <a:pt x="933" y="0"/>
                  </a:moveTo>
                  <a:cubicBezTo>
                    <a:pt x="933" y="109"/>
                    <a:pt x="933" y="109"/>
                    <a:pt x="933" y="109"/>
                  </a:cubicBezTo>
                  <a:cubicBezTo>
                    <a:pt x="933" y="218"/>
                    <a:pt x="933" y="218"/>
                    <a:pt x="933" y="218"/>
                  </a:cubicBezTo>
                  <a:cubicBezTo>
                    <a:pt x="933" y="675"/>
                    <a:pt x="933" y="675"/>
                    <a:pt x="933" y="675"/>
                  </a:cubicBezTo>
                  <a:cubicBezTo>
                    <a:pt x="933" y="688"/>
                    <a:pt x="930" y="700"/>
                    <a:pt x="926" y="711"/>
                  </a:cubicBezTo>
                  <a:cubicBezTo>
                    <a:pt x="912" y="753"/>
                    <a:pt x="872" y="783"/>
                    <a:pt x="825" y="783"/>
                  </a:cubicBezTo>
                  <a:cubicBezTo>
                    <a:pt x="778" y="783"/>
                    <a:pt x="738" y="753"/>
                    <a:pt x="724" y="711"/>
                  </a:cubicBezTo>
                  <a:cubicBezTo>
                    <a:pt x="720" y="700"/>
                    <a:pt x="717" y="688"/>
                    <a:pt x="717" y="675"/>
                  </a:cubicBezTo>
                  <a:cubicBezTo>
                    <a:pt x="717" y="218"/>
                    <a:pt x="717" y="218"/>
                    <a:pt x="717" y="218"/>
                  </a:cubicBezTo>
                  <a:cubicBezTo>
                    <a:pt x="717" y="109"/>
                    <a:pt x="717" y="109"/>
                    <a:pt x="717" y="109"/>
                  </a:cubicBezTo>
                  <a:cubicBezTo>
                    <a:pt x="717" y="0"/>
                    <a:pt x="717" y="0"/>
                    <a:pt x="717" y="0"/>
                  </a:cubicBezTo>
                  <a:cubicBezTo>
                    <a:pt x="313" y="53"/>
                    <a:pt x="0" y="400"/>
                    <a:pt x="0" y="818"/>
                  </a:cubicBezTo>
                  <a:cubicBezTo>
                    <a:pt x="0" y="878"/>
                    <a:pt x="48" y="926"/>
                    <a:pt x="108" y="926"/>
                  </a:cubicBezTo>
                  <a:cubicBezTo>
                    <a:pt x="1542" y="926"/>
                    <a:pt x="1542" y="926"/>
                    <a:pt x="1542" y="926"/>
                  </a:cubicBezTo>
                  <a:cubicBezTo>
                    <a:pt x="1602" y="926"/>
                    <a:pt x="1650" y="878"/>
                    <a:pt x="1650" y="818"/>
                  </a:cubicBezTo>
                  <a:cubicBezTo>
                    <a:pt x="1650" y="400"/>
                    <a:pt x="1337" y="53"/>
                    <a:pt x="93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grpSp>
      <p:grpSp>
        <p:nvGrpSpPr>
          <p:cNvPr id="17" name="Group 50">
            <a:extLst>
              <a:ext uri="{FF2B5EF4-FFF2-40B4-BE49-F238E27FC236}">
                <a16:creationId xmlns:a16="http://schemas.microsoft.com/office/drawing/2014/main" id="{371CB0A9-0A7E-4BA7-AB6C-09F948BF13C7}"/>
              </a:ext>
            </a:extLst>
          </p:cNvPr>
          <p:cNvGrpSpPr/>
          <p:nvPr/>
        </p:nvGrpSpPr>
        <p:grpSpPr>
          <a:xfrm>
            <a:off x="5980146" y="2389188"/>
            <a:ext cx="298340" cy="424170"/>
            <a:chOff x="3679825" y="6196013"/>
            <a:chExt cx="466725" cy="663575"/>
          </a:xfrm>
          <a:solidFill>
            <a:srgbClr val="FFFFFF"/>
          </a:solidFill>
        </p:grpSpPr>
        <p:sp>
          <p:nvSpPr>
            <p:cNvPr id="18" name="Freeform 29">
              <a:extLst>
                <a:ext uri="{FF2B5EF4-FFF2-40B4-BE49-F238E27FC236}">
                  <a16:creationId xmlns:a16="http://schemas.microsoft.com/office/drawing/2014/main" id="{C24451FC-36BD-4ABC-814E-CBC6CAE50192}"/>
                </a:ext>
              </a:extLst>
            </p:cNvPr>
            <p:cNvSpPr>
              <a:spLocks/>
            </p:cNvSpPr>
            <p:nvPr/>
          </p:nvSpPr>
          <p:spPr bwMode="auto">
            <a:xfrm>
              <a:off x="3752850" y="6675438"/>
              <a:ext cx="320675" cy="184150"/>
            </a:xfrm>
            <a:custGeom>
              <a:avLst/>
              <a:gdLst>
                <a:gd name="T0" fmla="*/ 900 w 994"/>
                <a:gd name="T1" fmla="*/ 54 h 571"/>
                <a:gd name="T2" fmla="*/ 806 w 994"/>
                <a:gd name="T3" fmla="*/ 94 h 571"/>
                <a:gd name="T4" fmla="*/ 497 w 994"/>
                <a:gd name="T5" fmla="*/ 149 h 571"/>
                <a:gd name="T6" fmla="*/ 188 w 994"/>
                <a:gd name="T7" fmla="*/ 94 h 571"/>
                <a:gd name="T8" fmla="*/ 94 w 994"/>
                <a:gd name="T9" fmla="*/ 54 h 571"/>
                <a:gd name="T10" fmla="*/ 0 w 994"/>
                <a:gd name="T11" fmla="*/ 0 h 571"/>
                <a:gd name="T12" fmla="*/ 0 w 994"/>
                <a:gd name="T13" fmla="*/ 472 h 571"/>
                <a:gd name="T14" fmla="*/ 45 w 994"/>
                <a:gd name="T15" fmla="*/ 552 h 571"/>
                <a:gd name="T16" fmla="*/ 136 w 994"/>
                <a:gd name="T17" fmla="*/ 556 h 571"/>
                <a:gd name="T18" fmla="*/ 497 w 994"/>
                <a:gd name="T19" fmla="*/ 372 h 571"/>
                <a:gd name="T20" fmla="*/ 858 w 994"/>
                <a:gd name="T21" fmla="*/ 556 h 571"/>
                <a:gd name="T22" fmla="*/ 900 w 994"/>
                <a:gd name="T23" fmla="*/ 566 h 571"/>
                <a:gd name="T24" fmla="*/ 949 w 994"/>
                <a:gd name="T25" fmla="*/ 552 h 571"/>
                <a:gd name="T26" fmla="*/ 994 w 994"/>
                <a:gd name="T27" fmla="*/ 472 h 571"/>
                <a:gd name="T28" fmla="*/ 994 w 994"/>
                <a:gd name="T29" fmla="*/ 0 h 571"/>
                <a:gd name="T30" fmla="*/ 900 w 994"/>
                <a:gd name="T31" fmla="*/ 54 h 5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94" h="571">
                  <a:moveTo>
                    <a:pt x="900" y="54"/>
                  </a:moveTo>
                  <a:cubicBezTo>
                    <a:pt x="870" y="69"/>
                    <a:pt x="839" y="83"/>
                    <a:pt x="806" y="94"/>
                  </a:cubicBezTo>
                  <a:cubicBezTo>
                    <a:pt x="710" y="129"/>
                    <a:pt x="606" y="149"/>
                    <a:pt x="497" y="149"/>
                  </a:cubicBezTo>
                  <a:cubicBezTo>
                    <a:pt x="388" y="149"/>
                    <a:pt x="284" y="129"/>
                    <a:pt x="188" y="94"/>
                  </a:cubicBezTo>
                  <a:cubicBezTo>
                    <a:pt x="155" y="83"/>
                    <a:pt x="124" y="69"/>
                    <a:pt x="94" y="54"/>
                  </a:cubicBezTo>
                  <a:cubicBezTo>
                    <a:pt x="61" y="38"/>
                    <a:pt x="30" y="20"/>
                    <a:pt x="0" y="0"/>
                  </a:cubicBezTo>
                  <a:cubicBezTo>
                    <a:pt x="0" y="472"/>
                    <a:pt x="0" y="472"/>
                    <a:pt x="0" y="472"/>
                  </a:cubicBezTo>
                  <a:cubicBezTo>
                    <a:pt x="0" y="505"/>
                    <a:pt x="17" y="535"/>
                    <a:pt x="45" y="552"/>
                  </a:cubicBezTo>
                  <a:cubicBezTo>
                    <a:pt x="72" y="569"/>
                    <a:pt x="107" y="571"/>
                    <a:pt x="136" y="556"/>
                  </a:cubicBezTo>
                  <a:cubicBezTo>
                    <a:pt x="497" y="372"/>
                    <a:pt x="497" y="372"/>
                    <a:pt x="497" y="372"/>
                  </a:cubicBezTo>
                  <a:cubicBezTo>
                    <a:pt x="858" y="556"/>
                    <a:pt x="858" y="556"/>
                    <a:pt x="858" y="556"/>
                  </a:cubicBezTo>
                  <a:cubicBezTo>
                    <a:pt x="871" y="563"/>
                    <a:pt x="886" y="566"/>
                    <a:pt x="900" y="566"/>
                  </a:cubicBezTo>
                  <a:cubicBezTo>
                    <a:pt x="917" y="566"/>
                    <a:pt x="934" y="561"/>
                    <a:pt x="949" y="552"/>
                  </a:cubicBezTo>
                  <a:cubicBezTo>
                    <a:pt x="977" y="535"/>
                    <a:pt x="994" y="505"/>
                    <a:pt x="994" y="472"/>
                  </a:cubicBezTo>
                  <a:cubicBezTo>
                    <a:pt x="994" y="0"/>
                    <a:pt x="994" y="0"/>
                    <a:pt x="994" y="0"/>
                  </a:cubicBezTo>
                  <a:cubicBezTo>
                    <a:pt x="964" y="20"/>
                    <a:pt x="933" y="38"/>
                    <a:pt x="900"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19" name="Oval 30">
              <a:extLst>
                <a:ext uri="{FF2B5EF4-FFF2-40B4-BE49-F238E27FC236}">
                  <a16:creationId xmlns:a16="http://schemas.microsoft.com/office/drawing/2014/main" id="{38629146-D22E-4BC6-9E1F-610A6432E9C6}"/>
                </a:ext>
              </a:extLst>
            </p:cNvPr>
            <p:cNvSpPr>
              <a:spLocks noChangeArrowheads="1"/>
            </p:cNvSpPr>
            <p:nvPr/>
          </p:nvSpPr>
          <p:spPr bwMode="auto">
            <a:xfrm>
              <a:off x="3862388" y="63785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20" name="Freeform 31">
              <a:extLst>
                <a:ext uri="{FF2B5EF4-FFF2-40B4-BE49-F238E27FC236}">
                  <a16:creationId xmlns:a16="http://schemas.microsoft.com/office/drawing/2014/main" id="{AA2F7B1E-1FB6-40AD-9713-7159C5CE7200}"/>
                </a:ext>
              </a:extLst>
            </p:cNvPr>
            <p:cNvSpPr>
              <a:spLocks noEditPoints="1"/>
            </p:cNvSpPr>
            <p:nvPr/>
          </p:nvSpPr>
          <p:spPr bwMode="auto">
            <a:xfrm>
              <a:off x="3679825" y="6196013"/>
              <a:ext cx="466725" cy="466725"/>
            </a:xfrm>
            <a:custGeom>
              <a:avLst/>
              <a:gdLst>
                <a:gd name="T0" fmla="*/ 721 w 1442"/>
                <a:gd name="T1" fmla="*/ 0 h 1442"/>
                <a:gd name="T2" fmla="*/ 0 w 1442"/>
                <a:gd name="T3" fmla="*/ 721 h 1442"/>
                <a:gd name="T4" fmla="*/ 224 w 1442"/>
                <a:gd name="T5" fmla="*/ 1243 h 1442"/>
                <a:gd name="T6" fmla="*/ 318 w 1442"/>
                <a:gd name="T7" fmla="*/ 1319 h 1442"/>
                <a:gd name="T8" fmla="*/ 412 w 1442"/>
                <a:gd name="T9" fmla="*/ 1373 h 1442"/>
                <a:gd name="T10" fmla="*/ 721 w 1442"/>
                <a:gd name="T11" fmla="*/ 1442 h 1442"/>
                <a:gd name="T12" fmla="*/ 1030 w 1442"/>
                <a:gd name="T13" fmla="*/ 1373 h 1442"/>
                <a:gd name="T14" fmla="*/ 1124 w 1442"/>
                <a:gd name="T15" fmla="*/ 1319 h 1442"/>
                <a:gd name="T16" fmla="*/ 1218 w 1442"/>
                <a:gd name="T17" fmla="*/ 1243 h 1442"/>
                <a:gd name="T18" fmla="*/ 1442 w 1442"/>
                <a:gd name="T19" fmla="*/ 721 h 1442"/>
                <a:gd name="T20" fmla="*/ 721 w 1442"/>
                <a:gd name="T21" fmla="*/ 0 h 1442"/>
                <a:gd name="T22" fmla="*/ 721 w 1442"/>
                <a:gd name="T23" fmla="*/ 1066 h 1442"/>
                <a:gd name="T24" fmla="*/ 376 w 1442"/>
                <a:gd name="T25" fmla="*/ 721 h 1442"/>
                <a:gd name="T26" fmla="*/ 721 w 1442"/>
                <a:gd name="T27" fmla="*/ 376 h 1442"/>
                <a:gd name="T28" fmla="*/ 1066 w 1442"/>
                <a:gd name="T29" fmla="*/ 721 h 1442"/>
                <a:gd name="T30" fmla="*/ 721 w 1442"/>
                <a:gd name="T31" fmla="*/ 1066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42" h="1442">
                  <a:moveTo>
                    <a:pt x="721" y="0"/>
                  </a:moveTo>
                  <a:cubicBezTo>
                    <a:pt x="323" y="0"/>
                    <a:pt x="0" y="324"/>
                    <a:pt x="0" y="721"/>
                  </a:cubicBezTo>
                  <a:cubicBezTo>
                    <a:pt x="0" y="926"/>
                    <a:pt x="86" y="1112"/>
                    <a:pt x="224" y="1243"/>
                  </a:cubicBezTo>
                  <a:cubicBezTo>
                    <a:pt x="253" y="1271"/>
                    <a:pt x="284" y="1296"/>
                    <a:pt x="318" y="1319"/>
                  </a:cubicBezTo>
                  <a:cubicBezTo>
                    <a:pt x="347" y="1339"/>
                    <a:pt x="379" y="1357"/>
                    <a:pt x="412" y="1373"/>
                  </a:cubicBezTo>
                  <a:cubicBezTo>
                    <a:pt x="505" y="1417"/>
                    <a:pt x="610" y="1442"/>
                    <a:pt x="721" y="1442"/>
                  </a:cubicBezTo>
                  <a:cubicBezTo>
                    <a:pt x="832" y="1442"/>
                    <a:pt x="937" y="1417"/>
                    <a:pt x="1030" y="1373"/>
                  </a:cubicBezTo>
                  <a:cubicBezTo>
                    <a:pt x="1063" y="1357"/>
                    <a:pt x="1095" y="1339"/>
                    <a:pt x="1124" y="1319"/>
                  </a:cubicBezTo>
                  <a:cubicBezTo>
                    <a:pt x="1158" y="1296"/>
                    <a:pt x="1189" y="1271"/>
                    <a:pt x="1218" y="1243"/>
                  </a:cubicBezTo>
                  <a:cubicBezTo>
                    <a:pt x="1356" y="1112"/>
                    <a:pt x="1442" y="926"/>
                    <a:pt x="1442" y="721"/>
                  </a:cubicBezTo>
                  <a:cubicBezTo>
                    <a:pt x="1442" y="324"/>
                    <a:pt x="1119" y="0"/>
                    <a:pt x="721" y="0"/>
                  </a:cubicBezTo>
                  <a:close/>
                  <a:moveTo>
                    <a:pt x="721" y="1066"/>
                  </a:moveTo>
                  <a:cubicBezTo>
                    <a:pt x="531" y="1066"/>
                    <a:pt x="376" y="911"/>
                    <a:pt x="376" y="721"/>
                  </a:cubicBezTo>
                  <a:cubicBezTo>
                    <a:pt x="376" y="531"/>
                    <a:pt x="531" y="376"/>
                    <a:pt x="721" y="376"/>
                  </a:cubicBezTo>
                  <a:cubicBezTo>
                    <a:pt x="911" y="376"/>
                    <a:pt x="1066" y="531"/>
                    <a:pt x="1066" y="721"/>
                  </a:cubicBezTo>
                  <a:cubicBezTo>
                    <a:pt x="1066" y="911"/>
                    <a:pt x="911" y="1066"/>
                    <a:pt x="721" y="106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grpSp>
      <p:sp>
        <p:nvSpPr>
          <p:cNvPr id="25" name="TextBox 59">
            <a:extLst>
              <a:ext uri="{FF2B5EF4-FFF2-40B4-BE49-F238E27FC236}">
                <a16:creationId xmlns:a16="http://schemas.microsoft.com/office/drawing/2014/main" id="{31549168-F2C5-4325-A11F-17F372E7E193}"/>
              </a:ext>
            </a:extLst>
          </p:cNvPr>
          <p:cNvSpPr txBox="1"/>
          <p:nvPr/>
        </p:nvSpPr>
        <p:spPr>
          <a:xfrm>
            <a:off x="5366005" y="3785581"/>
            <a:ext cx="1459989" cy="553998"/>
          </a:xfrm>
          <a:prstGeom prst="rect">
            <a:avLst/>
          </a:prstGeom>
          <a:noFill/>
        </p:spPr>
        <p:txBody>
          <a:bodyPr wrap="square" lIns="0" tIns="0" rIns="0" bIns="0" rtlCol="0">
            <a:spAutoFit/>
          </a:bodyPr>
          <a:lstStyle/>
          <a:p>
            <a:pPr marL="0" marR="0" lvl="0" indent="0" algn="ctr" defTabSz="457200" rtl="0" eaLnBrk="1" fontAlgn="base" latinLnBrk="0" hangingPunct="1">
              <a:lnSpc>
                <a:spcPct val="100000"/>
              </a:lnSpc>
              <a:spcBef>
                <a:spcPts val="100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HarmonyOS Sans SC Black"/>
                <a:ea typeface="+mj-ea"/>
                <a:cs typeface="+mn-cs"/>
              </a:rPr>
              <a:t>Your title</a:t>
            </a:r>
            <a:br>
              <a:rPr kumimoji="0" lang="en-US" sz="1800" b="0" i="0" u="none" strike="noStrike" kern="1200" cap="none" spc="0" normalizeH="0" baseline="0" noProof="0" dirty="0">
                <a:ln>
                  <a:noFill/>
                </a:ln>
                <a:solidFill>
                  <a:prstClr val="white"/>
                </a:solidFill>
                <a:effectLst/>
                <a:uLnTx/>
                <a:uFillTx/>
                <a:latin typeface="HarmonyOS Sans SC Black"/>
                <a:ea typeface="+mj-ea"/>
                <a:cs typeface="+mn-cs"/>
              </a:rPr>
            </a:br>
            <a:r>
              <a:rPr kumimoji="0" lang="en-US" sz="1800" b="0" i="0" u="none" strike="noStrike" kern="1200" cap="none" spc="0" normalizeH="0" baseline="0" noProof="0" dirty="0">
                <a:ln>
                  <a:noFill/>
                </a:ln>
                <a:solidFill>
                  <a:prstClr val="white"/>
                </a:solidFill>
                <a:effectLst/>
                <a:uLnTx/>
                <a:uFillTx/>
                <a:latin typeface="HarmonyOS Sans SC Black"/>
                <a:ea typeface="+mj-ea"/>
                <a:cs typeface="+mn-cs"/>
              </a:rPr>
              <a:t>is here</a:t>
            </a:r>
          </a:p>
        </p:txBody>
      </p:sp>
      <p:sp>
        <p:nvSpPr>
          <p:cNvPr id="26" name="文本框 25">
            <a:extLst>
              <a:ext uri="{FF2B5EF4-FFF2-40B4-BE49-F238E27FC236}">
                <a16:creationId xmlns:a16="http://schemas.microsoft.com/office/drawing/2014/main" id="{9CB20A24-84F0-44F9-8033-12B0AEF997D0}"/>
              </a:ext>
            </a:extLst>
          </p:cNvPr>
          <p:cNvSpPr txBox="1"/>
          <p:nvPr/>
        </p:nvSpPr>
        <p:spPr>
          <a:xfrm>
            <a:off x="4449556" y="918105"/>
            <a:ext cx="3292889" cy="52322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2800" b="0" i="0" u="none" strike="noStrike" kern="1200" cap="none" spc="0" normalizeH="0" baseline="0" noProof="0" dirty="0">
                <a:ln>
                  <a:noFill/>
                </a:ln>
                <a:solidFill>
                  <a:prstClr val="black"/>
                </a:solidFill>
                <a:effectLst/>
                <a:uLnTx/>
                <a:uFillTx/>
                <a:latin typeface="HarmonyOS Sans Black"/>
                <a:ea typeface="+mj-ea"/>
                <a:cs typeface="+mn-cs"/>
              </a:rPr>
              <a:t>Circle </a:t>
            </a:r>
            <a:r>
              <a:rPr kumimoji="0" lang="en-US" altLang="zh-CN" sz="2800" b="0" i="0" u="none" strike="noStrike" kern="1200" cap="none" spc="0" normalizeH="0" baseline="0" noProof="0" dirty="0">
                <a:ln>
                  <a:noFill/>
                </a:ln>
                <a:solidFill>
                  <a:schemeClr val="accent1"/>
                </a:solidFill>
                <a:effectLst/>
                <a:uLnTx/>
                <a:uFillTx/>
                <a:latin typeface="HarmonyOS Sans Black"/>
                <a:ea typeface="+mj-ea"/>
                <a:cs typeface="+mn-cs"/>
              </a:rPr>
              <a:t>infographic</a:t>
            </a:r>
          </a:p>
        </p:txBody>
      </p:sp>
      <p:grpSp>
        <p:nvGrpSpPr>
          <p:cNvPr id="41" name="组合 40">
            <a:extLst>
              <a:ext uri="{FF2B5EF4-FFF2-40B4-BE49-F238E27FC236}">
                <a16:creationId xmlns:a16="http://schemas.microsoft.com/office/drawing/2014/main" id="{7B34DDBD-7361-4CAA-A202-A722D480A28C}"/>
              </a:ext>
            </a:extLst>
          </p:cNvPr>
          <p:cNvGrpSpPr/>
          <p:nvPr/>
        </p:nvGrpSpPr>
        <p:grpSpPr>
          <a:xfrm flipH="1">
            <a:off x="8382402" y="2379557"/>
            <a:ext cx="2262702" cy="2296787"/>
            <a:chOff x="1528216" y="3414444"/>
            <a:chExt cx="2262702" cy="2296787"/>
          </a:xfrm>
        </p:grpSpPr>
        <p:grpSp>
          <p:nvGrpSpPr>
            <p:cNvPr id="42" name="组合 41">
              <a:extLst>
                <a:ext uri="{FF2B5EF4-FFF2-40B4-BE49-F238E27FC236}">
                  <a16:creationId xmlns:a16="http://schemas.microsoft.com/office/drawing/2014/main" id="{5DAF1311-70C5-43C3-A66A-4EC18D862D62}"/>
                </a:ext>
              </a:extLst>
            </p:cNvPr>
            <p:cNvGrpSpPr/>
            <p:nvPr/>
          </p:nvGrpSpPr>
          <p:grpSpPr>
            <a:xfrm>
              <a:off x="1528216" y="3414444"/>
              <a:ext cx="2262702" cy="846145"/>
              <a:chOff x="1508465" y="2482630"/>
              <a:chExt cx="2262702" cy="846145"/>
            </a:xfrm>
          </p:grpSpPr>
          <p:sp>
            <p:nvSpPr>
              <p:cNvPr id="46" name="TextBox 65">
                <a:extLst>
                  <a:ext uri="{FF2B5EF4-FFF2-40B4-BE49-F238E27FC236}">
                    <a16:creationId xmlns:a16="http://schemas.microsoft.com/office/drawing/2014/main" id="{5C743F2E-31CD-40DA-BD58-7E0FE07B68DD}"/>
                  </a:ext>
                </a:extLst>
              </p:cNvPr>
              <p:cNvSpPr txBox="1"/>
              <p:nvPr/>
            </p:nvSpPr>
            <p:spPr>
              <a:xfrm>
                <a:off x="1714906" y="2482630"/>
                <a:ext cx="2056261" cy="352588"/>
              </a:xfrm>
              <a:prstGeom prst="rect">
                <a:avLst/>
              </a:prstGeom>
              <a:noFill/>
            </p:spPr>
            <p:txBody>
              <a:bodyPr wrap="square" lIns="0" tIns="36000" rIns="0" bIns="36000" rtlCol="0">
                <a:spAutoFit/>
              </a:bodyPr>
              <a:lstStyle/>
              <a:p>
                <a:pPr marL="0" marR="0" lvl="0" indent="0" algn="l" defTabSz="914400" rtl="0" eaLnBrk="1" fontAlgn="auto" latinLnBrk="0" hangingPunct="1">
                  <a:lnSpc>
                    <a:spcPct val="120000"/>
                  </a:lnSpc>
                  <a:spcBef>
                    <a:spcPts val="600"/>
                  </a:spcBef>
                  <a:spcAft>
                    <a:spcPts val="0"/>
                  </a:spcAft>
                  <a:buClrTx/>
                  <a:buSzTx/>
                  <a:buFontTx/>
                  <a:buNone/>
                  <a:tabLst/>
                  <a:defRPr/>
                </a:pPr>
                <a:r>
                  <a:rPr kumimoji="0" lang="zh-CN" altLang="en-US" sz="1600" b="0" i="0" u="none" strike="noStrike" kern="1200" cap="none" spc="0" normalizeH="0" baseline="0" noProof="0" dirty="0">
                    <a:ln>
                      <a:noFill/>
                    </a:ln>
                    <a:solidFill>
                      <a:schemeClr val="accent1"/>
                    </a:solidFill>
                    <a:effectLst/>
                    <a:uLnTx/>
                    <a:uFillTx/>
                    <a:latin typeface="HarmonyOS Sans SC Black"/>
                    <a:ea typeface="+mj-ea"/>
                    <a:cs typeface="+mn-cs"/>
                  </a:rPr>
                  <a:t>关键词标题</a:t>
                </a:r>
                <a:endParaRPr kumimoji="0" lang="en-US" sz="1600" b="0" i="0" u="none" strike="noStrike" kern="1200" cap="none" spc="0" normalizeH="0" baseline="0" noProof="0" dirty="0">
                  <a:ln>
                    <a:noFill/>
                  </a:ln>
                  <a:solidFill>
                    <a:schemeClr val="accent1"/>
                  </a:solidFill>
                  <a:effectLst/>
                  <a:uLnTx/>
                  <a:uFillTx/>
                  <a:latin typeface="HarmonyOS Sans SC Black"/>
                  <a:ea typeface="+mj-ea"/>
                  <a:cs typeface="+mn-cs"/>
                </a:endParaRPr>
              </a:p>
            </p:txBody>
          </p:sp>
          <p:sp>
            <p:nvSpPr>
              <p:cNvPr id="47" name="TextBox 65">
                <a:extLst>
                  <a:ext uri="{FF2B5EF4-FFF2-40B4-BE49-F238E27FC236}">
                    <a16:creationId xmlns:a16="http://schemas.microsoft.com/office/drawing/2014/main" id="{C125F5D9-E40F-4D54-BEEB-54F564D43276}"/>
                  </a:ext>
                </a:extLst>
              </p:cNvPr>
              <p:cNvSpPr txBox="1"/>
              <p:nvPr/>
            </p:nvSpPr>
            <p:spPr>
              <a:xfrm>
                <a:off x="1508465" y="2866029"/>
                <a:ext cx="2262702" cy="462746"/>
              </a:xfrm>
              <a:prstGeom prst="rect">
                <a:avLst/>
              </a:prstGeom>
              <a:noFill/>
            </p:spPr>
            <p:txBody>
              <a:bodyPr wrap="square" lIns="0" tIns="36000" rIns="0" bIns="36000" rtlCol="0">
                <a:spAutoFit/>
              </a:bodyPr>
              <a:lstStyle/>
              <a:p>
                <a:pPr marL="0" marR="0" lvl="0" indent="0" algn="l" defTabSz="914400" rtl="0" eaLnBrk="1" fontAlgn="auto" latinLnBrk="0" hangingPunct="1">
                  <a:lnSpc>
                    <a:spcPct val="120000"/>
                  </a:lnSpc>
                  <a:spcBef>
                    <a:spcPts val="600"/>
                  </a:spcBef>
                  <a:spcAft>
                    <a:spcPts val="0"/>
                  </a:spcAft>
                  <a:buClrTx/>
                  <a:buSzTx/>
                  <a:buFontTx/>
                  <a:buNone/>
                  <a:tabLst/>
                  <a:defRPr/>
                </a:pPr>
                <a:r>
                  <a:rPr kumimoji="0" lang="en-US" sz="1100" b="0" i="0" u="none" strike="noStrike" kern="1200" cap="none" spc="0" normalizeH="0" baseline="0" noProof="0" dirty="0">
                    <a:ln>
                      <a:noFill/>
                    </a:ln>
                    <a:solidFill>
                      <a:prstClr val="black">
                        <a:lumMod val="50000"/>
                        <a:lumOff val="50000"/>
                      </a:prstClr>
                    </a:solidFill>
                    <a:effectLst/>
                    <a:uLnTx/>
                    <a:uFillTx/>
                    <a:latin typeface="HarmonyOS Sans SC"/>
                    <a:cs typeface="+mn-cs"/>
                  </a:rPr>
                  <a:t>Apparently we had reached a great height in the.</a:t>
                </a:r>
              </a:p>
            </p:txBody>
          </p:sp>
        </p:grpSp>
        <p:grpSp>
          <p:nvGrpSpPr>
            <p:cNvPr id="43" name="组合 42">
              <a:extLst>
                <a:ext uri="{FF2B5EF4-FFF2-40B4-BE49-F238E27FC236}">
                  <a16:creationId xmlns:a16="http://schemas.microsoft.com/office/drawing/2014/main" id="{A0C19CA1-A342-4503-B1DC-155174F4A91D}"/>
                </a:ext>
              </a:extLst>
            </p:cNvPr>
            <p:cNvGrpSpPr/>
            <p:nvPr/>
          </p:nvGrpSpPr>
          <p:grpSpPr>
            <a:xfrm>
              <a:off x="1528216" y="4865086"/>
              <a:ext cx="2262702" cy="846145"/>
              <a:chOff x="1508465" y="2482630"/>
              <a:chExt cx="2262702" cy="846145"/>
            </a:xfrm>
          </p:grpSpPr>
          <p:sp>
            <p:nvSpPr>
              <p:cNvPr id="44" name="TextBox 65">
                <a:extLst>
                  <a:ext uri="{FF2B5EF4-FFF2-40B4-BE49-F238E27FC236}">
                    <a16:creationId xmlns:a16="http://schemas.microsoft.com/office/drawing/2014/main" id="{F66ADA7A-3325-414D-8AE4-EC4E6A34D707}"/>
                  </a:ext>
                </a:extLst>
              </p:cNvPr>
              <p:cNvSpPr txBox="1"/>
              <p:nvPr/>
            </p:nvSpPr>
            <p:spPr>
              <a:xfrm>
                <a:off x="1714906" y="2482630"/>
                <a:ext cx="2056261" cy="352588"/>
              </a:xfrm>
              <a:prstGeom prst="rect">
                <a:avLst/>
              </a:prstGeom>
              <a:noFill/>
            </p:spPr>
            <p:txBody>
              <a:bodyPr wrap="square" lIns="0" tIns="36000" rIns="0" bIns="36000" rtlCol="0">
                <a:spAutoFit/>
              </a:bodyPr>
              <a:lstStyle/>
              <a:p>
                <a:pPr marL="0" marR="0" lvl="0" indent="0" algn="l" defTabSz="914400" rtl="0" eaLnBrk="1" fontAlgn="auto" latinLnBrk="0" hangingPunct="1">
                  <a:lnSpc>
                    <a:spcPct val="120000"/>
                  </a:lnSpc>
                  <a:spcBef>
                    <a:spcPts val="600"/>
                  </a:spcBef>
                  <a:spcAft>
                    <a:spcPts val="0"/>
                  </a:spcAft>
                  <a:buClrTx/>
                  <a:buSzTx/>
                  <a:buFontTx/>
                  <a:buNone/>
                  <a:tabLst/>
                  <a:defRPr/>
                </a:pPr>
                <a:r>
                  <a:rPr kumimoji="0" lang="zh-CN" altLang="en-US" sz="1600" b="0" i="0" u="none" strike="noStrike" kern="1200" cap="none" spc="0" normalizeH="0" baseline="0" noProof="0" dirty="0">
                    <a:ln>
                      <a:noFill/>
                    </a:ln>
                    <a:solidFill>
                      <a:schemeClr val="accent1"/>
                    </a:solidFill>
                    <a:effectLst/>
                    <a:uLnTx/>
                    <a:uFillTx/>
                    <a:latin typeface="HarmonyOS Sans SC Black"/>
                    <a:ea typeface="+mj-ea"/>
                    <a:cs typeface="+mn-cs"/>
                  </a:rPr>
                  <a:t>关键词标题</a:t>
                </a:r>
                <a:endParaRPr kumimoji="0" lang="en-US" sz="1600" b="0" i="0" u="none" strike="noStrike" kern="1200" cap="none" spc="0" normalizeH="0" baseline="0" noProof="0" dirty="0">
                  <a:ln>
                    <a:noFill/>
                  </a:ln>
                  <a:solidFill>
                    <a:schemeClr val="accent1"/>
                  </a:solidFill>
                  <a:effectLst/>
                  <a:uLnTx/>
                  <a:uFillTx/>
                  <a:latin typeface="HarmonyOS Sans SC Black"/>
                  <a:ea typeface="+mj-ea"/>
                  <a:cs typeface="+mn-cs"/>
                </a:endParaRPr>
              </a:p>
            </p:txBody>
          </p:sp>
          <p:sp>
            <p:nvSpPr>
              <p:cNvPr id="45" name="TextBox 65">
                <a:extLst>
                  <a:ext uri="{FF2B5EF4-FFF2-40B4-BE49-F238E27FC236}">
                    <a16:creationId xmlns:a16="http://schemas.microsoft.com/office/drawing/2014/main" id="{E18B2FB6-B72F-4028-B9FF-964F2C74D5AC}"/>
                  </a:ext>
                </a:extLst>
              </p:cNvPr>
              <p:cNvSpPr txBox="1"/>
              <p:nvPr/>
            </p:nvSpPr>
            <p:spPr>
              <a:xfrm>
                <a:off x="1508465" y="2866029"/>
                <a:ext cx="2262702" cy="462746"/>
              </a:xfrm>
              <a:prstGeom prst="rect">
                <a:avLst/>
              </a:prstGeom>
              <a:noFill/>
            </p:spPr>
            <p:txBody>
              <a:bodyPr wrap="square" lIns="0" tIns="36000" rIns="0" bIns="36000" rtlCol="0">
                <a:spAutoFit/>
              </a:bodyPr>
              <a:lstStyle/>
              <a:p>
                <a:pPr marL="0" marR="0" lvl="0" indent="0" algn="l" defTabSz="914400" rtl="0" eaLnBrk="1" fontAlgn="auto" latinLnBrk="0" hangingPunct="1">
                  <a:lnSpc>
                    <a:spcPct val="120000"/>
                  </a:lnSpc>
                  <a:spcBef>
                    <a:spcPts val="600"/>
                  </a:spcBef>
                  <a:spcAft>
                    <a:spcPts val="0"/>
                  </a:spcAft>
                  <a:buClrTx/>
                  <a:buSzTx/>
                  <a:buFontTx/>
                  <a:buNone/>
                  <a:tabLst/>
                  <a:defRPr/>
                </a:pPr>
                <a:r>
                  <a:rPr kumimoji="0" lang="en-US" sz="1100" b="0" i="0" u="none" strike="noStrike" kern="1200" cap="none" spc="0" normalizeH="0" baseline="0" noProof="0" dirty="0">
                    <a:ln>
                      <a:noFill/>
                    </a:ln>
                    <a:solidFill>
                      <a:prstClr val="black">
                        <a:lumMod val="50000"/>
                        <a:lumOff val="50000"/>
                      </a:prstClr>
                    </a:solidFill>
                    <a:effectLst/>
                    <a:uLnTx/>
                    <a:uFillTx/>
                    <a:latin typeface="HarmonyOS Sans SC"/>
                    <a:cs typeface="+mn-cs"/>
                  </a:rPr>
                  <a:t>Apparently we had reached a great height in the.</a:t>
                </a:r>
              </a:p>
            </p:txBody>
          </p:sp>
        </p:grpSp>
      </p:grpSp>
      <p:grpSp>
        <p:nvGrpSpPr>
          <p:cNvPr id="49" name="组合 48">
            <a:extLst>
              <a:ext uri="{FF2B5EF4-FFF2-40B4-BE49-F238E27FC236}">
                <a16:creationId xmlns:a16="http://schemas.microsoft.com/office/drawing/2014/main" id="{4EEFF2A9-F990-4C22-AC9C-01BF907A2878}"/>
              </a:ext>
            </a:extLst>
          </p:cNvPr>
          <p:cNvGrpSpPr/>
          <p:nvPr/>
        </p:nvGrpSpPr>
        <p:grpSpPr>
          <a:xfrm>
            <a:off x="1528216" y="3414444"/>
            <a:ext cx="2262702" cy="846145"/>
            <a:chOff x="1508465" y="2482630"/>
            <a:chExt cx="2262702" cy="846145"/>
          </a:xfrm>
        </p:grpSpPr>
        <p:sp>
          <p:nvSpPr>
            <p:cNvPr id="53" name="TextBox 65">
              <a:extLst>
                <a:ext uri="{FF2B5EF4-FFF2-40B4-BE49-F238E27FC236}">
                  <a16:creationId xmlns:a16="http://schemas.microsoft.com/office/drawing/2014/main" id="{A1E0D2FE-9462-4A0C-95E9-F429D0EEB6C6}"/>
                </a:ext>
              </a:extLst>
            </p:cNvPr>
            <p:cNvSpPr txBox="1"/>
            <p:nvPr/>
          </p:nvSpPr>
          <p:spPr>
            <a:xfrm>
              <a:off x="1714906" y="2482630"/>
              <a:ext cx="2056261" cy="352588"/>
            </a:xfrm>
            <a:prstGeom prst="rect">
              <a:avLst/>
            </a:prstGeom>
            <a:noFill/>
          </p:spPr>
          <p:txBody>
            <a:bodyPr wrap="square" lIns="0" tIns="36000" rIns="0" bIns="36000" rtlCol="0">
              <a:spAutoFit/>
            </a:bodyPr>
            <a:lstStyle/>
            <a:p>
              <a:pPr marL="0" marR="0" lvl="0" indent="0" algn="r" defTabSz="914400" rtl="0" eaLnBrk="1" fontAlgn="auto" latinLnBrk="0" hangingPunct="1">
                <a:lnSpc>
                  <a:spcPct val="120000"/>
                </a:lnSpc>
                <a:spcBef>
                  <a:spcPts val="600"/>
                </a:spcBef>
                <a:spcAft>
                  <a:spcPts val="0"/>
                </a:spcAft>
                <a:buClrTx/>
                <a:buSzTx/>
                <a:buFontTx/>
                <a:buNone/>
                <a:tabLst/>
                <a:defRPr/>
              </a:pPr>
              <a:r>
                <a:rPr kumimoji="0" lang="zh-CN" altLang="en-US" sz="1600" b="0" i="0" u="none" strike="noStrike" kern="1200" cap="none" spc="0" normalizeH="0" baseline="0" noProof="0" dirty="0">
                  <a:ln>
                    <a:noFill/>
                  </a:ln>
                  <a:solidFill>
                    <a:schemeClr val="accent1"/>
                  </a:solidFill>
                  <a:effectLst/>
                  <a:uLnTx/>
                  <a:uFillTx/>
                  <a:latin typeface="HarmonyOS Sans SC Black"/>
                  <a:ea typeface="+mj-ea"/>
                  <a:cs typeface="+mn-cs"/>
                </a:rPr>
                <a:t>关键词标题</a:t>
              </a:r>
              <a:endParaRPr kumimoji="0" lang="en-US" sz="1600" b="0" i="0" u="none" strike="noStrike" kern="1200" cap="none" spc="0" normalizeH="0" baseline="0" noProof="0" dirty="0">
                <a:ln>
                  <a:noFill/>
                </a:ln>
                <a:solidFill>
                  <a:schemeClr val="accent1"/>
                </a:solidFill>
                <a:effectLst/>
                <a:uLnTx/>
                <a:uFillTx/>
                <a:latin typeface="HarmonyOS Sans SC Black"/>
                <a:ea typeface="+mj-ea"/>
                <a:cs typeface="+mn-cs"/>
              </a:endParaRPr>
            </a:p>
          </p:txBody>
        </p:sp>
        <p:sp>
          <p:nvSpPr>
            <p:cNvPr id="54" name="TextBox 65">
              <a:extLst>
                <a:ext uri="{FF2B5EF4-FFF2-40B4-BE49-F238E27FC236}">
                  <a16:creationId xmlns:a16="http://schemas.microsoft.com/office/drawing/2014/main" id="{668DAFA7-3638-4028-87DA-73C2DCB295DF}"/>
                </a:ext>
              </a:extLst>
            </p:cNvPr>
            <p:cNvSpPr txBox="1"/>
            <p:nvPr/>
          </p:nvSpPr>
          <p:spPr>
            <a:xfrm>
              <a:off x="1508465" y="2866029"/>
              <a:ext cx="2262702" cy="462746"/>
            </a:xfrm>
            <a:prstGeom prst="rect">
              <a:avLst/>
            </a:prstGeom>
            <a:noFill/>
          </p:spPr>
          <p:txBody>
            <a:bodyPr wrap="square" lIns="0" tIns="36000" rIns="0" bIns="36000" rtlCol="0">
              <a:spAutoFit/>
            </a:bodyPr>
            <a:lstStyle/>
            <a:p>
              <a:pPr marL="0" marR="0" lvl="0" indent="0" algn="r" defTabSz="914400" rtl="0" eaLnBrk="1" fontAlgn="auto" latinLnBrk="0" hangingPunct="1">
                <a:lnSpc>
                  <a:spcPct val="120000"/>
                </a:lnSpc>
                <a:spcBef>
                  <a:spcPts val="600"/>
                </a:spcBef>
                <a:spcAft>
                  <a:spcPts val="0"/>
                </a:spcAft>
                <a:buClrTx/>
                <a:buSzTx/>
                <a:buFontTx/>
                <a:buNone/>
                <a:tabLst/>
                <a:defRPr/>
              </a:pPr>
              <a:r>
                <a:rPr kumimoji="0" lang="en-US" sz="1100" b="0" i="0" u="none" strike="noStrike" kern="1200" cap="none" spc="0" normalizeH="0" baseline="0" noProof="0" dirty="0">
                  <a:ln>
                    <a:noFill/>
                  </a:ln>
                  <a:solidFill>
                    <a:prstClr val="black">
                      <a:lumMod val="50000"/>
                      <a:lumOff val="50000"/>
                    </a:prstClr>
                  </a:solidFill>
                  <a:effectLst/>
                  <a:uLnTx/>
                  <a:uFillTx/>
                  <a:latin typeface="HarmonyOS Sans SC"/>
                  <a:cs typeface="+mn-cs"/>
                </a:rPr>
                <a:t>Apparently we had reached a great height in the.</a:t>
              </a:r>
            </a:p>
          </p:txBody>
        </p:sp>
      </p:grpSp>
      <p:grpSp>
        <p:nvGrpSpPr>
          <p:cNvPr id="50" name="组合 49">
            <a:extLst>
              <a:ext uri="{FF2B5EF4-FFF2-40B4-BE49-F238E27FC236}">
                <a16:creationId xmlns:a16="http://schemas.microsoft.com/office/drawing/2014/main" id="{F87C6CB6-CC17-4810-90B2-A2747A43DF0E}"/>
              </a:ext>
            </a:extLst>
          </p:cNvPr>
          <p:cNvGrpSpPr/>
          <p:nvPr/>
        </p:nvGrpSpPr>
        <p:grpSpPr>
          <a:xfrm>
            <a:off x="1528216" y="4865086"/>
            <a:ext cx="2262702" cy="846145"/>
            <a:chOff x="1508465" y="2482630"/>
            <a:chExt cx="2262702" cy="846145"/>
          </a:xfrm>
        </p:grpSpPr>
        <p:sp>
          <p:nvSpPr>
            <p:cNvPr id="51" name="TextBox 65">
              <a:extLst>
                <a:ext uri="{FF2B5EF4-FFF2-40B4-BE49-F238E27FC236}">
                  <a16:creationId xmlns:a16="http://schemas.microsoft.com/office/drawing/2014/main" id="{A6CA0AA7-A104-48F1-B92D-050F92F06B66}"/>
                </a:ext>
              </a:extLst>
            </p:cNvPr>
            <p:cNvSpPr txBox="1"/>
            <p:nvPr/>
          </p:nvSpPr>
          <p:spPr>
            <a:xfrm>
              <a:off x="1714906" y="2482630"/>
              <a:ext cx="2056261" cy="352588"/>
            </a:xfrm>
            <a:prstGeom prst="rect">
              <a:avLst/>
            </a:prstGeom>
            <a:noFill/>
          </p:spPr>
          <p:txBody>
            <a:bodyPr wrap="square" lIns="0" tIns="36000" rIns="0" bIns="36000" rtlCol="0">
              <a:spAutoFit/>
            </a:bodyPr>
            <a:lstStyle/>
            <a:p>
              <a:pPr marL="0" marR="0" lvl="0" indent="0" algn="r" defTabSz="914400" rtl="0" eaLnBrk="1" fontAlgn="auto" latinLnBrk="0" hangingPunct="1">
                <a:lnSpc>
                  <a:spcPct val="120000"/>
                </a:lnSpc>
                <a:spcBef>
                  <a:spcPts val="600"/>
                </a:spcBef>
                <a:spcAft>
                  <a:spcPts val="0"/>
                </a:spcAft>
                <a:buClrTx/>
                <a:buSzTx/>
                <a:buFontTx/>
                <a:buNone/>
                <a:tabLst/>
                <a:defRPr/>
              </a:pPr>
              <a:r>
                <a:rPr kumimoji="0" lang="zh-CN" altLang="en-US" sz="1600" b="0" i="0" u="none" strike="noStrike" kern="1200" cap="none" spc="0" normalizeH="0" baseline="0" noProof="0" dirty="0">
                  <a:ln>
                    <a:noFill/>
                  </a:ln>
                  <a:solidFill>
                    <a:schemeClr val="accent1"/>
                  </a:solidFill>
                  <a:effectLst/>
                  <a:uLnTx/>
                  <a:uFillTx/>
                  <a:latin typeface="HarmonyOS Sans SC Black"/>
                  <a:ea typeface="+mj-ea"/>
                  <a:cs typeface="+mn-cs"/>
                </a:rPr>
                <a:t>关键词标题</a:t>
              </a:r>
              <a:endParaRPr kumimoji="0" lang="en-US" sz="1600" b="0" i="0" u="none" strike="noStrike" kern="1200" cap="none" spc="0" normalizeH="0" baseline="0" noProof="0" dirty="0">
                <a:ln>
                  <a:noFill/>
                </a:ln>
                <a:solidFill>
                  <a:schemeClr val="accent1"/>
                </a:solidFill>
                <a:effectLst/>
                <a:uLnTx/>
                <a:uFillTx/>
                <a:latin typeface="HarmonyOS Sans SC Black"/>
                <a:ea typeface="+mj-ea"/>
                <a:cs typeface="+mn-cs"/>
              </a:endParaRPr>
            </a:p>
          </p:txBody>
        </p:sp>
        <p:sp>
          <p:nvSpPr>
            <p:cNvPr id="52" name="TextBox 65">
              <a:extLst>
                <a:ext uri="{FF2B5EF4-FFF2-40B4-BE49-F238E27FC236}">
                  <a16:creationId xmlns:a16="http://schemas.microsoft.com/office/drawing/2014/main" id="{7B84A80B-965D-4C96-9F23-C2A9813F5303}"/>
                </a:ext>
              </a:extLst>
            </p:cNvPr>
            <p:cNvSpPr txBox="1"/>
            <p:nvPr/>
          </p:nvSpPr>
          <p:spPr>
            <a:xfrm>
              <a:off x="1508465" y="2866029"/>
              <a:ext cx="2262702" cy="462746"/>
            </a:xfrm>
            <a:prstGeom prst="rect">
              <a:avLst/>
            </a:prstGeom>
            <a:noFill/>
          </p:spPr>
          <p:txBody>
            <a:bodyPr wrap="square" lIns="0" tIns="36000" rIns="0" bIns="36000" rtlCol="0">
              <a:spAutoFit/>
            </a:bodyPr>
            <a:lstStyle/>
            <a:p>
              <a:pPr marL="0" marR="0" lvl="0" indent="0" algn="r" defTabSz="914400" rtl="0" eaLnBrk="1" fontAlgn="auto" latinLnBrk="0" hangingPunct="1">
                <a:lnSpc>
                  <a:spcPct val="120000"/>
                </a:lnSpc>
                <a:spcBef>
                  <a:spcPts val="600"/>
                </a:spcBef>
                <a:spcAft>
                  <a:spcPts val="0"/>
                </a:spcAft>
                <a:buClrTx/>
                <a:buSzTx/>
                <a:buFontTx/>
                <a:buNone/>
                <a:tabLst/>
                <a:defRPr/>
              </a:pPr>
              <a:r>
                <a:rPr kumimoji="0" lang="en-US" sz="1100" b="0" i="0" u="none" strike="noStrike" kern="1200" cap="none" spc="0" normalizeH="0" baseline="0" noProof="0" dirty="0">
                  <a:ln>
                    <a:noFill/>
                  </a:ln>
                  <a:solidFill>
                    <a:prstClr val="black">
                      <a:lumMod val="50000"/>
                      <a:lumOff val="50000"/>
                    </a:prstClr>
                  </a:solidFill>
                  <a:effectLst/>
                  <a:uLnTx/>
                  <a:uFillTx/>
                  <a:latin typeface="HarmonyOS Sans SC"/>
                  <a:cs typeface="+mn-cs"/>
                </a:rPr>
                <a:t>Apparently we had reached a great height in the.</a:t>
              </a:r>
            </a:p>
          </p:txBody>
        </p:sp>
      </p:grpSp>
    </p:spTree>
    <p:extLst>
      <p:ext uri="{BB962C8B-B14F-4D97-AF65-F5344CB8AC3E}">
        <p14:creationId xmlns:p14="http://schemas.microsoft.com/office/powerpoint/2010/main" val="3686112506"/>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4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reeform 5">
            <a:extLst>
              <a:ext uri="{FF2B5EF4-FFF2-40B4-BE49-F238E27FC236}">
                <a16:creationId xmlns:a16="http://schemas.microsoft.com/office/drawing/2014/main" id="{528847A7-94FF-418A-91EA-6BBD86E2E9F1}"/>
              </a:ext>
            </a:extLst>
          </p:cNvPr>
          <p:cNvSpPr>
            <a:spLocks/>
          </p:cNvSpPr>
          <p:nvPr/>
        </p:nvSpPr>
        <p:spPr bwMode="auto">
          <a:xfrm>
            <a:off x="4331678" y="3169160"/>
            <a:ext cx="1116995" cy="1945504"/>
          </a:xfrm>
          <a:custGeom>
            <a:avLst/>
            <a:gdLst>
              <a:gd name="T0" fmla="*/ 167 w 267"/>
              <a:gd name="T1" fmla="*/ 465 h 465"/>
              <a:gd name="T2" fmla="*/ 20 w 267"/>
              <a:gd name="T3" fmla="*/ 289 h 465"/>
              <a:gd name="T4" fmla="*/ 267 w 267"/>
              <a:gd name="T5" fmla="*/ 0 h 465"/>
              <a:gd name="T6" fmla="*/ 143 w 267"/>
              <a:gd name="T7" fmla="*/ 250 h 465"/>
              <a:gd name="T8" fmla="*/ 167 w 267"/>
              <a:gd name="T9" fmla="*/ 465 h 465"/>
            </a:gdLst>
            <a:ahLst/>
            <a:cxnLst>
              <a:cxn ang="0">
                <a:pos x="T0" y="T1"/>
              </a:cxn>
              <a:cxn ang="0">
                <a:pos x="T2" y="T3"/>
              </a:cxn>
              <a:cxn ang="0">
                <a:pos x="T4" y="T5"/>
              </a:cxn>
              <a:cxn ang="0">
                <a:pos x="T6" y="T7"/>
              </a:cxn>
              <a:cxn ang="0">
                <a:pos x="T8" y="T9"/>
              </a:cxn>
            </a:cxnLst>
            <a:rect l="0" t="0" r="r" b="b"/>
            <a:pathLst>
              <a:path w="267" h="465">
                <a:moveTo>
                  <a:pt x="167" y="465"/>
                </a:moveTo>
                <a:cubicBezTo>
                  <a:pt x="167" y="465"/>
                  <a:pt x="37" y="424"/>
                  <a:pt x="20" y="289"/>
                </a:cubicBezTo>
                <a:cubicBezTo>
                  <a:pt x="0" y="123"/>
                  <a:pt x="267" y="0"/>
                  <a:pt x="267" y="0"/>
                </a:cubicBezTo>
                <a:cubicBezTo>
                  <a:pt x="267" y="0"/>
                  <a:pt x="158" y="136"/>
                  <a:pt x="143" y="250"/>
                </a:cubicBezTo>
                <a:cubicBezTo>
                  <a:pt x="126" y="376"/>
                  <a:pt x="167" y="465"/>
                  <a:pt x="167" y="465"/>
                </a:cubicBezTo>
                <a:close/>
              </a:path>
            </a:pathLst>
          </a:custGeom>
          <a:gradFill flip="none" rotWithShape="1">
            <a:gsLst>
              <a:gs pos="73000">
                <a:schemeClr val="accent1"/>
              </a:gs>
              <a:gs pos="31000">
                <a:schemeClr val="accent1">
                  <a:lumMod val="60000"/>
                  <a:lumOff val="40000"/>
                </a:schemeClr>
              </a:gs>
              <a:gs pos="0">
                <a:schemeClr val="accent1">
                  <a:lumMod val="40000"/>
                  <a:lumOff val="60000"/>
                </a:schemeClr>
              </a:gs>
            </a:gsLst>
            <a:lin ang="16200000" scaled="1"/>
            <a:tileRect/>
          </a:gradFill>
          <a:ln>
            <a:noFill/>
          </a:ln>
          <a:effectLst>
            <a:outerShdw blurRad="444500" dist="317500" dir="5400000" sx="92000" sy="92000" algn="t" rotWithShape="0">
              <a:schemeClr val="accent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4" name="Freeform 6">
            <a:extLst>
              <a:ext uri="{FF2B5EF4-FFF2-40B4-BE49-F238E27FC236}">
                <a16:creationId xmlns:a16="http://schemas.microsoft.com/office/drawing/2014/main" id="{E7BEDD66-582C-4CF6-A525-3316CFA9DB8C}"/>
              </a:ext>
            </a:extLst>
          </p:cNvPr>
          <p:cNvSpPr>
            <a:spLocks/>
          </p:cNvSpPr>
          <p:nvPr/>
        </p:nvSpPr>
        <p:spPr bwMode="auto">
          <a:xfrm>
            <a:off x="4495269" y="2328336"/>
            <a:ext cx="2021144" cy="1321043"/>
          </a:xfrm>
          <a:custGeom>
            <a:avLst/>
            <a:gdLst>
              <a:gd name="T0" fmla="*/ 30 w 483"/>
              <a:gd name="T1" fmla="*/ 316 h 316"/>
              <a:gd name="T2" fmla="*/ 109 w 483"/>
              <a:gd name="T3" fmla="*/ 100 h 316"/>
              <a:gd name="T4" fmla="*/ 483 w 483"/>
              <a:gd name="T5" fmla="*/ 170 h 316"/>
              <a:gd name="T6" fmla="*/ 204 w 483"/>
              <a:gd name="T7" fmla="*/ 187 h 316"/>
              <a:gd name="T8" fmla="*/ 30 w 483"/>
              <a:gd name="T9" fmla="*/ 316 h 316"/>
            </a:gdLst>
            <a:ahLst/>
            <a:cxnLst>
              <a:cxn ang="0">
                <a:pos x="T0" y="T1"/>
              </a:cxn>
              <a:cxn ang="0">
                <a:pos x="T2" y="T3"/>
              </a:cxn>
              <a:cxn ang="0">
                <a:pos x="T4" y="T5"/>
              </a:cxn>
              <a:cxn ang="0">
                <a:pos x="T6" y="T7"/>
              </a:cxn>
              <a:cxn ang="0">
                <a:pos x="T8" y="T9"/>
              </a:cxn>
            </a:cxnLst>
            <a:rect l="0" t="0" r="r" b="b"/>
            <a:pathLst>
              <a:path w="483" h="316">
                <a:moveTo>
                  <a:pt x="30" y="316"/>
                </a:moveTo>
                <a:cubicBezTo>
                  <a:pt x="30" y="316"/>
                  <a:pt x="0" y="183"/>
                  <a:pt x="109" y="100"/>
                </a:cubicBezTo>
                <a:cubicBezTo>
                  <a:pt x="243" y="0"/>
                  <a:pt x="483" y="170"/>
                  <a:pt x="483" y="170"/>
                </a:cubicBezTo>
                <a:cubicBezTo>
                  <a:pt x="483" y="170"/>
                  <a:pt x="310" y="143"/>
                  <a:pt x="204" y="187"/>
                </a:cubicBezTo>
                <a:cubicBezTo>
                  <a:pt x="87" y="235"/>
                  <a:pt x="30" y="316"/>
                  <a:pt x="30" y="316"/>
                </a:cubicBezTo>
                <a:close/>
              </a:path>
            </a:pathLst>
          </a:custGeom>
          <a:gradFill flip="none" rotWithShape="1">
            <a:gsLst>
              <a:gs pos="64000">
                <a:schemeClr val="accent1"/>
              </a:gs>
              <a:gs pos="31000">
                <a:schemeClr val="accent1">
                  <a:lumMod val="60000"/>
                  <a:lumOff val="40000"/>
                </a:schemeClr>
              </a:gs>
              <a:gs pos="0">
                <a:schemeClr val="accent1">
                  <a:lumMod val="40000"/>
                  <a:lumOff val="60000"/>
                </a:schemeClr>
              </a:gs>
            </a:gsLst>
            <a:lin ang="0" scaled="1"/>
            <a:tileRect/>
          </a:gradFill>
          <a:ln>
            <a:noFill/>
          </a:ln>
          <a:effectLst>
            <a:outerShdw blurRad="444500" dist="317500" dir="5400000" sx="92000" sy="92000" algn="t" rotWithShape="0">
              <a:schemeClr val="accent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5" name="Freeform 7">
            <a:extLst>
              <a:ext uri="{FF2B5EF4-FFF2-40B4-BE49-F238E27FC236}">
                <a16:creationId xmlns:a16="http://schemas.microsoft.com/office/drawing/2014/main" id="{2371A3C5-A3DE-43D7-BB42-9C4BB2C15B36}"/>
              </a:ext>
            </a:extLst>
          </p:cNvPr>
          <p:cNvSpPr>
            <a:spLocks/>
          </p:cNvSpPr>
          <p:nvPr/>
        </p:nvSpPr>
        <p:spPr bwMode="auto">
          <a:xfrm>
            <a:off x="5684384" y="2173540"/>
            <a:ext cx="1590177" cy="1723864"/>
          </a:xfrm>
          <a:custGeom>
            <a:avLst/>
            <a:gdLst>
              <a:gd name="T0" fmla="*/ 0 w 380"/>
              <a:gd name="T1" fmla="*/ 92 h 412"/>
              <a:gd name="T2" fmla="*/ 227 w 380"/>
              <a:gd name="T3" fmla="*/ 53 h 412"/>
              <a:gd name="T4" fmla="*/ 354 w 380"/>
              <a:gd name="T5" fmla="*/ 412 h 412"/>
              <a:gd name="T6" fmla="*/ 199 w 380"/>
              <a:gd name="T7" fmla="*/ 179 h 412"/>
              <a:gd name="T8" fmla="*/ 0 w 380"/>
              <a:gd name="T9" fmla="*/ 92 h 412"/>
            </a:gdLst>
            <a:ahLst/>
            <a:cxnLst>
              <a:cxn ang="0">
                <a:pos x="T0" y="T1"/>
              </a:cxn>
              <a:cxn ang="0">
                <a:pos x="T2" y="T3"/>
              </a:cxn>
              <a:cxn ang="0">
                <a:pos x="T4" y="T5"/>
              </a:cxn>
              <a:cxn ang="0">
                <a:pos x="T6" y="T7"/>
              </a:cxn>
              <a:cxn ang="0">
                <a:pos x="T8" y="T9"/>
              </a:cxn>
            </a:cxnLst>
            <a:rect l="0" t="0" r="r" b="b"/>
            <a:pathLst>
              <a:path w="380" h="412">
                <a:moveTo>
                  <a:pt x="0" y="92"/>
                </a:moveTo>
                <a:cubicBezTo>
                  <a:pt x="0" y="92"/>
                  <a:pt x="101" y="0"/>
                  <a:pt x="227" y="53"/>
                </a:cubicBezTo>
                <a:cubicBezTo>
                  <a:pt x="380" y="119"/>
                  <a:pt x="354" y="412"/>
                  <a:pt x="354" y="412"/>
                </a:cubicBezTo>
                <a:cubicBezTo>
                  <a:pt x="354" y="412"/>
                  <a:pt x="290" y="249"/>
                  <a:pt x="199" y="179"/>
                </a:cubicBezTo>
                <a:cubicBezTo>
                  <a:pt x="99" y="102"/>
                  <a:pt x="0" y="92"/>
                  <a:pt x="0" y="92"/>
                </a:cubicBezTo>
                <a:close/>
              </a:path>
            </a:pathLst>
          </a:custGeom>
          <a:gradFill flip="none" rotWithShape="1">
            <a:gsLst>
              <a:gs pos="73000">
                <a:schemeClr val="accent1"/>
              </a:gs>
              <a:gs pos="31000">
                <a:schemeClr val="accent1">
                  <a:lumMod val="60000"/>
                  <a:lumOff val="40000"/>
                </a:schemeClr>
              </a:gs>
              <a:gs pos="0">
                <a:schemeClr val="accent1">
                  <a:lumMod val="40000"/>
                  <a:lumOff val="60000"/>
                </a:schemeClr>
              </a:gs>
            </a:gsLst>
            <a:lin ang="2700000" scaled="1"/>
            <a:tileRect/>
          </a:gradFill>
          <a:ln>
            <a:noFill/>
          </a:ln>
          <a:effectLst>
            <a:outerShdw blurRad="444500" dist="317500" dir="5400000" sx="92000" sy="92000" algn="t" rotWithShape="0">
              <a:schemeClr val="accent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6" name="Freeform 8">
            <a:extLst>
              <a:ext uri="{FF2B5EF4-FFF2-40B4-BE49-F238E27FC236}">
                <a16:creationId xmlns:a16="http://schemas.microsoft.com/office/drawing/2014/main" id="{AFD2134D-476E-469B-ABB2-B0C6230500B0}"/>
              </a:ext>
            </a:extLst>
          </p:cNvPr>
          <p:cNvSpPr>
            <a:spLocks/>
          </p:cNvSpPr>
          <p:nvPr/>
        </p:nvSpPr>
        <p:spPr bwMode="auto">
          <a:xfrm>
            <a:off x="6743329" y="2938724"/>
            <a:ext cx="1116995" cy="1945504"/>
          </a:xfrm>
          <a:custGeom>
            <a:avLst/>
            <a:gdLst>
              <a:gd name="T0" fmla="*/ 100 w 267"/>
              <a:gd name="T1" fmla="*/ 0 h 465"/>
              <a:gd name="T2" fmla="*/ 247 w 267"/>
              <a:gd name="T3" fmla="*/ 176 h 465"/>
              <a:gd name="T4" fmla="*/ 0 w 267"/>
              <a:gd name="T5" fmla="*/ 465 h 465"/>
              <a:gd name="T6" fmla="*/ 124 w 267"/>
              <a:gd name="T7" fmla="*/ 215 h 465"/>
              <a:gd name="T8" fmla="*/ 100 w 267"/>
              <a:gd name="T9" fmla="*/ 0 h 465"/>
            </a:gdLst>
            <a:ahLst/>
            <a:cxnLst>
              <a:cxn ang="0">
                <a:pos x="T0" y="T1"/>
              </a:cxn>
              <a:cxn ang="0">
                <a:pos x="T2" y="T3"/>
              </a:cxn>
              <a:cxn ang="0">
                <a:pos x="T4" y="T5"/>
              </a:cxn>
              <a:cxn ang="0">
                <a:pos x="T6" y="T7"/>
              </a:cxn>
              <a:cxn ang="0">
                <a:pos x="T8" y="T9"/>
              </a:cxn>
            </a:cxnLst>
            <a:rect l="0" t="0" r="r" b="b"/>
            <a:pathLst>
              <a:path w="267" h="465">
                <a:moveTo>
                  <a:pt x="100" y="0"/>
                </a:moveTo>
                <a:cubicBezTo>
                  <a:pt x="100" y="0"/>
                  <a:pt x="230" y="41"/>
                  <a:pt x="247" y="176"/>
                </a:cubicBezTo>
                <a:cubicBezTo>
                  <a:pt x="267" y="342"/>
                  <a:pt x="0" y="465"/>
                  <a:pt x="0" y="465"/>
                </a:cubicBezTo>
                <a:cubicBezTo>
                  <a:pt x="0" y="465"/>
                  <a:pt x="109" y="329"/>
                  <a:pt x="124" y="215"/>
                </a:cubicBezTo>
                <a:cubicBezTo>
                  <a:pt x="141" y="89"/>
                  <a:pt x="100" y="0"/>
                  <a:pt x="100" y="0"/>
                </a:cubicBezTo>
                <a:close/>
              </a:path>
            </a:pathLst>
          </a:custGeom>
          <a:gradFill flip="none" rotWithShape="1">
            <a:gsLst>
              <a:gs pos="73000">
                <a:schemeClr val="accent1"/>
              </a:gs>
              <a:gs pos="31000">
                <a:schemeClr val="accent1">
                  <a:lumMod val="60000"/>
                  <a:lumOff val="40000"/>
                </a:schemeClr>
              </a:gs>
              <a:gs pos="0">
                <a:schemeClr val="accent1">
                  <a:lumMod val="40000"/>
                  <a:lumOff val="60000"/>
                </a:schemeClr>
              </a:gs>
            </a:gsLst>
            <a:lin ang="5400000" scaled="1"/>
            <a:tileRect/>
          </a:gradFill>
          <a:ln>
            <a:noFill/>
          </a:ln>
          <a:effectLst>
            <a:outerShdw blurRad="444500" dist="317500" dir="5400000" sx="92000" sy="92000" algn="t" rotWithShape="0">
              <a:schemeClr val="accent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7" name="Freeform 9">
            <a:extLst>
              <a:ext uri="{FF2B5EF4-FFF2-40B4-BE49-F238E27FC236}">
                <a16:creationId xmlns:a16="http://schemas.microsoft.com/office/drawing/2014/main" id="{8D0BA109-819E-4FCB-B12D-FBAA8DAE8F9D}"/>
              </a:ext>
            </a:extLst>
          </p:cNvPr>
          <p:cNvSpPr>
            <a:spLocks/>
          </p:cNvSpPr>
          <p:nvPr/>
        </p:nvSpPr>
        <p:spPr bwMode="auto">
          <a:xfrm>
            <a:off x="5675589" y="4404010"/>
            <a:ext cx="2021144" cy="1321043"/>
          </a:xfrm>
          <a:custGeom>
            <a:avLst/>
            <a:gdLst>
              <a:gd name="T0" fmla="*/ 453 w 483"/>
              <a:gd name="T1" fmla="*/ 0 h 316"/>
              <a:gd name="T2" fmla="*/ 374 w 483"/>
              <a:gd name="T3" fmla="*/ 216 h 316"/>
              <a:gd name="T4" fmla="*/ 0 w 483"/>
              <a:gd name="T5" fmla="*/ 146 h 316"/>
              <a:gd name="T6" fmla="*/ 279 w 483"/>
              <a:gd name="T7" fmla="*/ 129 h 316"/>
              <a:gd name="T8" fmla="*/ 453 w 483"/>
              <a:gd name="T9" fmla="*/ 0 h 316"/>
            </a:gdLst>
            <a:ahLst/>
            <a:cxnLst>
              <a:cxn ang="0">
                <a:pos x="T0" y="T1"/>
              </a:cxn>
              <a:cxn ang="0">
                <a:pos x="T2" y="T3"/>
              </a:cxn>
              <a:cxn ang="0">
                <a:pos x="T4" y="T5"/>
              </a:cxn>
              <a:cxn ang="0">
                <a:pos x="T6" y="T7"/>
              </a:cxn>
              <a:cxn ang="0">
                <a:pos x="T8" y="T9"/>
              </a:cxn>
            </a:cxnLst>
            <a:rect l="0" t="0" r="r" b="b"/>
            <a:pathLst>
              <a:path w="483" h="316">
                <a:moveTo>
                  <a:pt x="453" y="0"/>
                </a:moveTo>
                <a:cubicBezTo>
                  <a:pt x="453" y="0"/>
                  <a:pt x="483" y="133"/>
                  <a:pt x="374" y="216"/>
                </a:cubicBezTo>
                <a:cubicBezTo>
                  <a:pt x="241" y="316"/>
                  <a:pt x="0" y="146"/>
                  <a:pt x="0" y="146"/>
                </a:cubicBezTo>
                <a:cubicBezTo>
                  <a:pt x="0" y="146"/>
                  <a:pt x="173" y="173"/>
                  <a:pt x="279" y="129"/>
                </a:cubicBezTo>
                <a:cubicBezTo>
                  <a:pt x="396" y="81"/>
                  <a:pt x="453" y="0"/>
                  <a:pt x="453" y="0"/>
                </a:cubicBezTo>
                <a:close/>
              </a:path>
            </a:pathLst>
          </a:custGeom>
          <a:gradFill flip="none" rotWithShape="1">
            <a:gsLst>
              <a:gs pos="73000">
                <a:schemeClr val="accent1"/>
              </a:gs>
              <a:gs pos="31000">
                <a:schemeClr val="accent1">
                  <a:lumMod val="60000"/>
                  <a:lumOff val="40000"/>
                </a:schemeClr>
              </a:gs>
              <a:gs pos="0">
                <a:schemeClr val="accent1">
                  <a:lumMod val="40000"/>
                  <a:lumOff val="60000"/>
                </a:schemeClr>
              </a:gs>
            </a:gsLst>
            <a:lin ang="8100000" scaled="1"/>
            <a:tileRect/>
          </a:gradFill>
          <a:ln>
            <a:noFill/>
          </a:ln>
          <a:effectLst>
            <a:outerShdw blurRad="444500" dist="317500" dir="5400000" sx="92000" sy="92000" algn="t" rotWithShape="0">
              <a:schemeClr val="accent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8" name="Freeform 10">
            <a:extLst>
              <a:ext uri="{FF2B5EF4-FFF2-40B4-BE49-F238E27FC236}">
                <a16:creationId xmlns:a16="http://schemas.microsoft.com/office/drawing/2014/main" id="{B1F44C85-DF67-4A03-ABFC-5AB4C950FA56}"/>
              </a:ext>
            </a:extLst>
          </p:cNvPr>
          <p:cNvSpPr>
            <a:spLocks/>
          </p:cNvSpPr>
          <p:nvPr/>
        </p:nvSpPr>
        <p:spPr bwMode="auto">
          <a:xfrm>
            <a:off x="4917440" y="4155984"/>
            <a:ext cx="1590177" cy="1723864"/>
          </a:xfrm>
          <a:custGeom>
            <a:avLst/>
            <a:gdLst>
              <a:gd name="T0" fmla="*/ 380 w 380"/>
              <a:gd name="T1" fmla="*/ 320 h 412"/>
              <a:gd name="T2" fmla="*/ 153 w 380"/>
              <a:gd name="T3" fmla="*/ 359 h 412"/>
              <a:gd name="T4" fmla="*/ 27 w 380"/>
              <a:gd name="T5" fmla="*/ 0 h 412"/>
              <a:gd name="T6" fmla="*/ 181 w 380"/>
              <a:gd name="T7" fmla="*/ 233 h 412"/>
              <a:gd name="T8" fmla="*/ 380 w 380"/>
              <a:gd name="T9" fmla="*/ 320 h 412"/>
            </a:gdLst>
            <a:ahLst/>
            <a:cxnLst>
              <a:cxn ang="0">
                <a:pos x="T0" y="T1"/>
              </a:cxn>
              <a:cxn ang="0">
                <a:pos x="T2" y="T3"/>
              </a:cxn>
              <a:cxn ang="0">
                <a:pos x="T4" y="T5"/>
              </a:cxn>
              <a:cxn ang="0">
                <a:pos x="T6" y="T7"/>
              </a:cxn>
              <a:cxn ang="0">
                <a:pos x="T8" y="T9"/>
              </a:cxn>
            </a:cxnLst>
            <a:rect l="0" t="0" r="r" b="b"/>
            <a:pathLst>
              <a:path w="380" h="412">
                <a:moveTo>
                  <a:pt x="380" y="320"/>
                </a:moveTo>
                <a:cubicBezTo>
                  <a:pt x="380" y="320"/>
                  <a:pt x="279" y="412"/>
                  <a:pt x="153" y="359"/>
                </a:cubicBezTo>
                <a:cubicBezTo>
                  <a:pt x="0" y="293"/>
                  <a:pt x="27" y="0"/>
                  <a:pt x="27" y="0"/>
                </a:cubicBezTo>
                <a:cubicBezTo>
                  <a:pt x="27" y="0"/>
                  <a:pt x="90" y="163"/>
                  <a:pt x="181" y="233"/>
                </a:cubicBezTo>
                <a:cubicBezTo>
                  <a:pt x="282" y="310"/>
                  <a:pt x="380" y="320"/>
                  <a:pt x="380" y="320"/>
                </a:cubicBezTo>
                <a:close/>
              </a:path>
            </a:pathLst>
          </a:custGeom>
          <a:gradFill flip="none" rotWithShape="1">
            <a:gsLst>
              <a:gs pos="73000">
                <a:schemeClr val="accent1"/>
              </a:gs>
              <a:gs pos="31000">
                <a:schemeClr val="accent1">
                  <a:lumMod val="60000"/>
                  <a:lumOff val="40000"/>
                </a:schemeClr>
              </a:gs>
              <a:gs pos="0">
                <a:schemeClr val="accent1">
                  <a:lumMod val="40000"/>
                  <a:lumOff val="60000"/>
                </a:schemeClr>
              </a:gs>
            </a:gsLst>
            <a:lin ang="13500000" scaled="1"/>
            <a:tileRect/>
          </a:gradFill>
          <a:ln>
            <a:noFill/>
          </a:ln>
          <a:effectLst>
            <a:outerShdw blurRad="444500" dist="317500" dir="5400000" sx="92000" sy="92000" algn="t" rotWithShape="0">
              <a:schemeClr val="accent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15" name="Freeform 20">
            <a:extLst>
              <a:ext uri="{FF2B5EF4-FFF2-40B4-BE49-F238E27FC236}">
                <a16:creationId xmlns:a16="http://schemas.microsoft.com/office/drawing/2014/main" id="{B50B75C2-7F80-4607-8E1D-185F2138FD4D}"/>
              </a:ext>
            </a:extLst>
          </p:cNvPr>
          <p:cNvSpPr>
            <a:spLocks noEditPoints="1"/>
          </p:cNvSpPr>
          <p:nvPr/>
        </p:nvSpPr>
        <p:spPr bwMode="auto">
          <a:xfrm>
            <a:off x="5078103" y="2796937"/>
            <a:ext cx="255898" cy="208740"/>
          </a:xfrm>
          <a:custGeom>
            <a:avLst/>
            <a:gdLst>
              <a:gd name="T0" fmla="*/ 493833 w 172"/>
              <a:gd name="T1" fmla="*/ 415960 h 139"/>
              <a:gd name="T2" fmla="*/ 483616 w 172"/>
              <a:gd name="T3" fmla="*/ 419397 h 139"/>
              <a:gd name="T4" fmla="*/ 463181 w 172"/>
              <a:gd name="T5" fmla="*/ 405647 h 139"/>
              <a:gd name="T6" fmla="*/ 473398 w 172"/>
              <a:gd name="T7" fmla="*/ 378145 h 139"/>
              <a:gd name="T8" fmla="*/ 510862 w 172"/>
              <a:gd name="T9" fmla="*/ 250951 h 139"/>
              <a:gd name="T10" fmla="*/ 429124 w 172"/>
              <a:gd name="T11" fmla="*/ 202823 h 139"/>
              <a:gd name="T12" fmla="*/ 401878 w 172"/>
              <a:gd name="T13" fmla="*/ 202823 h 139"/>
              <a:gd name="T14" fmla="*/ 378038 w 172"/>
              <a:gd name="T15" fmla="*/ 185635 h 139"/>
              <a:gd name="T16" fmla="*/ 183910 w 172"/>
              <a:gd name="T17" fmla="*/ 68754 h 139"/>
              <a:gd name="T18" fmla="*/ 85144 w 172"/>
              <a:gd name="T19" fmla="*/ 144383 h 139"/>
              <a:gd name="T20" fmla="*/ 68115 w 172"/>
              <a:gd name="T21" fmla="*/ 268139 h 139"/>
              <a:gd name="T22" fmla="*/ 105578 w 172"/>
              <a:gd name="T23" fmla="*/ 333455 h 139"/>
              <a:gd name="T24" fmla="*/ 102172 w 172"/>
              <a:gd name="T25" fmla="*/ 364394 h 139"/>
              <a:gd name="T26" fmla="*/ 71521 w 172"/>
              <a:gd name="T27" fmla="*/ 364394 h 139"/>
              <a:gd name="T28" fmla="*/ 27246 w 172"/>
              <a:gd name="T29" fmla="*/ 278452 h 139"/>
              <a:gd name="T30" fmla="*/ 173693 w 172"/>
              <a:gd name="T31" fmla="*/ 27501 h 139"/>
              <a:gd name="T32" fmla="*/ 418907 w 172"/>
              <a:gd name="T33" fmla="*/ 158133 h 139"/>
              <a:gd name="T34" fmla="*/ 429124 w 172"/>
              <a:gd name="T35" fmla="*/ 158133 h 139"/>
              <a:gd name="T36" fmla="*/ 548325 w 172"/>
              <a:gd name="T37" fmla="*/ 230325 h 139"/>
              <a:gd name="T38" fmla="*/ 493833 w 172"/>
              <a:gd name="T39" fmla="*/ 415960 h 139"/>
              <a:gd name="T40" fmla="*/ 309923 w 172"/>
              <a:gd name="T41" fmla="*/ 233762 h 139"/>
              <a:gd name="T42" fmla="*/ 306517 w 172"/>
              <a:gd name="T43" fmla="*/ 230325 h 139"/>
              <a:gd name="T44" fmla="*/ 303111 w 172"/>
              <a:gd name="T45" fmla="*/ 230325 h 139"/>
              <a:gd name="T46" fmla="*/ 303111 w 172"/>
              <a:gd name="T47" fmla="*/ 230325 h 139"/>
              <a:gd name="T48" fmla="*/ 299705 w 172"/>
              <a:gd name="T49" fmla="*/ 230325 h 139"/>
              <a:gd name="T50" fmla="*/ 296300 w 172"/>
              <a:gd name="T51" fmla="*/ 226887 h 139"/>
              <a:gd name="T52" fmla="*/ 292894 w 172"/>
              <a:gd name="T53" fmla="*/ 226887 h 139"/>
              <a:gd name="T54" fmla="*/ 289488 w 172"/>
              <a:gd name="T55" fmla="*/ 226887 h 139"/>
              <a:gd name="T56" fmla="*/ 286083 w 172"/>
              <a:gd name="T57" fmla="*/ 230325 h 139"/>
              <a:gd name="T58" fmla="*/ 286083 w 172"/>
              <a:gd name="T59" fmla="*/ 230325 h 139"/>
              <a:gd name="T60" fmla="*/ 282677 w 172"/>
              <a:gd name="T61" fmla="*/ 230325 h 139"/>
              <a:gd name="T62" fmla="*/ 279271 w 172"/>
              <a:gd name="T63" fmla="*/ 230325 h 139"/>
              <a:gd name="T64" fmla="*/ 275865 w 172"/>
              <a:gd name="T65" fmla="*/ 233762 h 139"/>
              <a:gd name="T66" fmla="*/ 187316 w 172"/>
              <a:gd name="T67" fmla="*/ 326580 h 139"/>
              <a:gd name="T68" fmla="*/ 187316 w 172"/>
              <a:gd name="T69" fmla="*/ 357519 h 139"/>
              <a:gd name="T70" fmla="*/ 217968 w 172"/>
              <a:gd name="T71" fmla="*/ 357519 h 139"/>
              <a:gd name="T72" fmla="*/ 272460 w 172"/>
              <a:gd name="T73" fmla="*/ 302516 h 139"/>
              <a:gd name="T74" fmla="*/ 272460 w 172"/>
              <a:gd name="T75" fmla="*/ 457212 h 139"/>
              <a:gd name="T76" fmla="*/ 292894 w 172"/>
              <a:gd name="T77" fmla="*/ 477838 h 139"/>
              <a:gd name="T78" fmla="*/ 316734 w 172"/>
              <a:gd name="T79" fmla="*/ 457212 h 139"/>
              <a:gd name="T80" fmla="*/ 316734 w 172"/>
              <a:gd name="T81" fmla="*/ 302516 h 139"/>
              <a:gd name="T82" fmla="*/ 367820 w 172"/>
              <a:gd name="T83" fmla="*/ 357519 h 139"/>
              <a:gd name="T84" fmla="*/ 384849 w 172"/>
              <a:gd name="T85" fmla="*/ 364394 h 139"/>
              <a:gd name="T86" fmla="*/ 398472 w 172"/>
              <a:gd name="T87" fmla="*/ 357519 h 139"/>
              <a:gd name="T88" fmla="*/ 398472 w 172"/>
              <a:gd name="T89" fmla="*/ 326580 h 139"/>
              <a:gd name="T90" fmla="*/ 309923 w 172"/>
              <a:gd name="T91" fmla="*/ 233762 h 139"/>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172" h="139">
                <a:moveTo>
                  <a:pt x="145" y="121"/>
                </a:moveTo>
                <a:cubicBezTo>
                  <a:pt x="144" y="122"/>
                  <a:pt x="143" y="122"/>
                  <a:pt x="142" y="122"/>
                </a:cubicBezTo>
                <a:cubicBezTo>
                  <a:pt x="140" y="122"/>
                  <a:pt x="138" y="121"/>
                  <a:pt x="136" y="118"/>
                </a:cubicBezTo>
                <a:cubicBezTo>
                  <a:pt x="135" y="115"/>
                  <a:pt x="136" y="111"/>
                  <a:pt x="139" y="110"/>
                </a:cubicBezTo>
                <a:cubicBezTo>
                  <a:pt x="152" y="103"/>
                  <a:pt x="157" y="86"/>
                  <a:pt x="150" y="73"/>
                </a:cubicBezTo>
                <a:cubicBezTo>
                  <a:pt x="145" y="64"/>
                  <a:pt x="136" y="59"/>
                  <a:pt x="126" y="59"/>
                </a:cubicBezTo>
                <a:cubicBezTo>
                  <a:pt x="118" y="59"/>
                  <a:pt x="118" y="59"/>
                  <a:pt x="118" y="59"/>
                </a:cubicBezTo>
                <a:cubicBezTo>
                  <a:pt x="115" y="59"/>
                  <a:pt x="112" y="57"/>
                  <a:pt x="111" y="54"/>
                </a:cubicBezTo>
                <a:cubicBezTo>
                  <a:pt x="105" y="29"/>
                  <a:pt x="79" y="14"/>
                  <a:pt x="54" y="20"/>
                </a:cubicBezTo>
                <a:cubicBezTo>
                  <a:pt x="42" y="24"/>
                  <a:pt x="32" y="31"/>
                  <a:pt x="25" y="42"/>
                </a:cubicBezTo>
                <a:cubicBezTo>
                  <a:pt x="19" y="53"/>
                  <a:pt x="17" y="66"/>
                  <a:pt x="20" y="78"/>
                </a:cubicBezTo>
                <a:cubicBezTo>
                  <a:pt x="22" y="85"/>
                  <a:pt x="26" y="92"/>
                  <a:pt x="31" y="97"/>
                </a:cubicBezTo>
                <a:cubicBezTo>
                  <a:pt x="33" y="100"/>
                  <a:pt x="33" y="104"/>
                  <a:pt x="30" y="106"/>
                </a:cubicBezTo>
                <a:cubicBezTo>
                  <a:pt x="27" y="109"/>
                  <a:pt x="23" y="108"/>
                  <a:pt x="21" y="106"/>
                </a:cubicBezTo>
                <a:cubicBezTo>
                  <a:pt x="15" y="99"/>
                  <a:pt x="10" y="90"/>
                  <a:pt x="8" y="81"/>
                </a:cubicBezTo>
                <a:cubicBezTo>
                  <a:pt x="0" y="49"/>
                  <a:pt x="19" y="16"/>
                  <a:pt x="51" y="8"/>
                </a:cubicBezTo>
                <a:cubicBezTo>
                  <a:pt x="81" y="0"/>
                  <a:pt x="112" y="17"/>
                  <a:pt x="123" y="46"/>
                </a:cubicBezTo>
                <a:cubicBezTo>
                  <a:pt x="126" y="46"/>
                  <a:pt x="126" y="46"/>
                  <a:pt x="126" y="46"/>
                </a:cubicBezTo>
                <a:cubicBezTo>
                  <a:pt x="141" y="46"/>
                  <a:pt x="154" y="54"/>
                  <a:pt x="161" y="67"/>
                </a:cubicBezTo>
                <a:cubicBezTo>
                  <a:pt x="172" y="86"/>
                  <a:pt x="165" y="110"/>
                  <a:pt x="145" y="121"/>
                </a:cubicBezTo>
                <a:close/>
                <a:moveTo>
                  <a:pt x="91" y="68"/>
                </a:moveTo>
                <a:cubicBezTo>
                  <a:pt x="90" y="68"/>
                  <a:pt x="90" y="67"/>
                  <a:pt x="90" y="67"/>
                </a:cubicBezTo>
                <a:cubicBezTo>
                  <a:pt x="90" y="67"/>
                  <a:pt x="89" y="67"/>
                  <a:pt x="89" y="67"/>
                </a:cubicBezTo>
                <a:cubicBezTo>
                  <a:pt x="89" y="67"/>
                  <a:pt x="89" y="67"/>
                  <a:pt x="89" y="67"/>
                </a:cubicBezTo>
                <a:cubicBezTo>
                  <a:pt x="88" y="67"/>
                  <a:pt x="88" y="67"/>
                  <a:pt x="88" y="67"/>
                </a:cubicBezTo>
                <a:cubicBezTo>
                  <a:pt x="88" y="66"/>
                  <a:pt x="88" y="66"/>
                  <a:pt x="87" y="66"/>
                </a:cubicBezTo>
                <a:cubicBezTo>
                  <a:pt x="87" y="66"/>
                  <a:pt x="86" y="66"/>
                  <a:pt x="86" y="66"/>
                </a:cubicBezTo>
                <a:cubicBezTo>
                  <a:pt x="86" y="66"/>
                  <a:pt x="85" y="66"/>
                  <a:pt x="85" y="66"/>
                </a:cubicBezTo>
                <a:cubicBezTo>
                  <a:pt x="84" y="66"/>
                  <a:pt x="84" y="66"/>
                  <a:pt x="84" y="67"/>
                </a:cubicBezTo>
                <a:cubicBezTo>
                  <a:pt x="84" y="67"/>
                  <a:pt x="84" y="67"/>
                  <a:pt x="84" y="67"/>
                </a:cubicBezTo>
                <a:cubicBezTo>
                  <a:pt x="83" y="67"/>
                  <a:pt x="83" y="67"/>
                  <a:pt x="83" y="67"/>
                </a:cubicBezTo>
                <a:cubicBezTo>
                  <a:pt x="83" y="67"/>
                  <a:pt x="83" y="67"/>
                  <a:pt x="82" y="67"/>
                </a:cubicBezTo>
                <a:cubicBezTo>
                  <a:pt x="82" y="67"/>
                  <a:pt x="82" y="68"/>
                  <a:pt x="81" y="68"/>
                </a:cubicBezTo>
                <a:cubicBezTo>
                  <a:pt x="55" y="95"/>
                  <a:pt x="55" y="95"/>
                  <a:pt x="55" y="95"/>
                </a:cubicBezTo>
                <a:cubicBezTo>
                  <a:pt x="52" y="97"/>
                  <a:pt x="52" y="101"/>
                  <a:pt x="55" y="104"/>
                </a:cubicBezTo>
                <a:cubicBezTo>
                  <a:pt x="57" y="106"/>
                  <a:pt x="61" y="106"/>
                  <a:pt x="64" y="104"/>
                </a:cubicBezTo>
                <a:cubicBezTo>
                  <a:pt x="80" y="88"/>
                  <a:pt x="80" y="88"/>
                  <a:pt x="80" y="88"/>
                </a:cubicBezTo>
                <a:cubicBezTo>
                  <a:pt x="80" y="133"/>
                  <a:pt x="80" y="133"/>
                  <a:pt x="80" y="133"/>
                </a:cubicBezTo>
                <a:cubicBezTo>
                  <a:pt x="80" y="136"/>
                  <a:pt x="82" y="139"/>
                  <a:pt x="86" y="139"/>
                </a:cubicBezTo>
                <a:cubicBezTo>
                  <a:pt x="90" y="139"/>
                  <a:pt x="93" y="136"/>
                  <a:pt x="93" y="133"/>
                </a:cubicBezTo>
                <a:cubicBezTo>
                  <a:pt x="93" y="88"/>
                  <a:pt x="93" y="88"/>
                  <a:pt x="93" y="88"/>
                </a:cubicBezTo>
                <a:cubicBezTo>
                  <a:pt x="108" y="104"/>
                  <a:pt x="108" y="104"/>
                  <a:pt x="108" y="104"/>
                </a:cubicBezTo>
                <a:cubicBezTo>
                  <a:pt x="109" y="105"/>
                  <a:pt x="111" y="106"/>
                  <a:pt x="113" y="106"/>
                </a:cubicBezTo>
                <a:cubicBezTo>
                  <a:pt x="114" y="106"/>
                  <a:pt x="116" y="105"/>
                  <a:pt x="117" y="104"/>
                </a:cubicBezTo>
                <a:cubicBezTo>
                  <a:pt x="120" y="101"/>
                  <a:pt x="120" y="97"/>
                  <a:pt x="117" y="95"/>
                </a:cubicBezTo>
                <a:lnTo>
                  <a:pt x="91" y="68"/>
                </a:lnTo>
                <a:close/>
              </a:path>
            </a:pathLst>
          </a:custGeom>
          <a:solidFill>
            <a:srgbClr val="FFFFFF"/>
          </a:solidFill>
          <a:ln>
            <a:noFill/>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16" name="Freeform 47">
            <a:extLst>
              <a:ext uri="{FF2B5EF4-FFF2-40B4-BE49-F238E27FC236}">
                <a16:creationId xmlns:a16="http://schemas.microsoft.com/office/drawing/2014/main" id="{7A5A3F7E-5BFE-42F6-9284-E4D34C61E314}"/>
              </a:ext>
            </a:extLst>
          </p:cNvPr>
          <p:cNvSpPr>
            <a:spLocks noEditPoints="1"/>
          </p:cNvSpPr>
          <p:nvPr/>
        </p:nvSpPr>
        <p:spPr bwMode="auto">
          <a:xfrm>
            <a:off x="4552541" y="4161352"/>
            <a:ext cx="237866" cy="176838"/>
          </a:xfrm>
          <a:custGeom>
            <a:avLst/>
            <a:gdLst>
              <a:gd name="T0" fmla="*/ 272257 w 160"/>
              <a:gd name="T1" fmla="*/ 130364 h 118"/>
              <a:gd name="T2" fmla="*/ 200789 w 160"/>
              <a:gd name="T3" fmla="*/ 202407 h 118"/>
              <a:gd name="T4" fmla="*/ 272257 w 160"/>
              <a:gd name="T5" fmla="*/ 277880 h 118"/>
              <a:gd name="T6" fmla="*/ 343724 w 160"/>
              <a:gd name="T7" fmla="*/ 202407 h 118"/>
              <a:gd name="T8" fmla="*/ 272257 w 160"/>
              <a:gd name="T9" fmla="*/ 130364 h 118"/>
              <a:gd name="T10" fmla="*/ 272257 w 160"/>
              <a:gd name="T11" fmla="*/ 233282 h 118"/>
              <a:gd name="T12" fmla="*/ 245031 w 160"/>
              <a:gd name="T13" fmla="*/ 202407 h 118"/>
              <a:gd name="T14" fmla="*/ 272257 w 160"/>
              <a:gd name="T15" fmla="*/ 174962 h 118"/>
              <a:gd name="T16" fmla="*/ 299482 w 160"/>
              <a:gd name="T17" fmla="*/ 202407 h 118"/>
              <a:gd name="T18" fmla="*/ 272257 w 160"/>
              <a:gd name="T19" fmla="*/ 233282 h 118"/>
              <a:gd name="T20" fmla="*/ 394772 w 160"/>
              <a:gd name="T21" fmla="*/ 325909 h 118"/>
              <a:gd name="T22" fmla="*/ 394772 w 160"/>
              <a:gd name="T23" fmla="*/ 325909 h 118"/>
              <a:gd name="T24" fmla="*/ 377756 w 160"/>
              <a:gd name="T25" fmla="*/ 332770 h 118"/>
              <a:gd name="T26" fmla="*/ 364143 w 160"/>
              <a:gd name="T27" fmla="*/ 325909 h 118"/>
              <a:gd name="T28" fmla="*/ 364143 w 160"/>
              <a:gd name="T29" fmla="*/ 295033 h 118"/>
              <a:gd name="T30" fmla="*/ 364143 w 160"/>
              <a:gd name="T31" fmla="*/ 295033 h 118"/>
              <a:gd name="T32" fmla="*/ 364143 w 160"/>
              <a:gd name="T33" fmla="*/ 113210 h 118"/>
              <a:gd name="T34" fmla="*/ 364143 w 160"/>
              <a:gd name="T35" fmla="*/ 82335 h 118"/>
              <a:gd name="T36" fmla="*/ 394772 w 160"/>
              <a:gd name="T37" fmla="*/ 82335 h 118"/>
              <a:gd name="T38" fmla="*/ 394772 w 160"/>
              <a:gd name="T39" fmla="*/ 325909 h 118"/>
              <a:gd name="T40" fmla="*/ 180370 w 160"/>
              <a:gd name="T41" fmla="*/ 295033 h 118"/>
              <a:gd name="T42" fmla="*/ 180370 w 160"/>
              <a:gd name="T43" fmla="*/ 325909 h 118"/>
              <a:gd name="T44" fmla="*/ 166757 w 160"/>
              <a:gd name="T45" fmla="*/ 332770 h 118"/>
              <a:gd name="T46" fmla="*/ 149741 w 160"/>
              <a:gd name="T47" fmla="*/ 325909 h 118"/>
              <a:gd name="T48" fmla="*/ 149741 w 160"/>
              <a:gd name="T49" fmla="*/ 82335 h 118"/>
              <a:gd name="T50" fmla="*/ 149741 w 160"/>
              <a:gd name="T51" fmla="*/ 82335 h 118"/>
              <a:gd name="T52" fmla="*/ 180370 w 160"/>
              <a:gd name="T53" fmla="*/ 82335 h 118"/>
              <a:gd name="T54" fmla="*/ 180370 w 160"/>
              <a:gd name="T55" fmla="*/ 113210 h 118"/>
              <a:gd name="T56" fmla="*/ 180370 w 160"/>
              <a:gd name="T57" fmla="*/ 113210 h 118"/>
              <a:gd name="T58" fmla="*/ 142935 w 160"/>
              <a:gd name="T59" fmla="*/ 202407 h 118"/>
              <a:gd name="T60" fmla="*/ 180370 w 160"/>
              <a:gd name="T61" fmla="*/ 295033 h 118"/>
              <a:gd name="T62" fmla="*/ 544513 w 160"/>
              <a:gd name="T63" fmla="*/ 202407 h 118"/>
              <a:gd name="T64" fmla="*/ 466239 w 160"/>
              <a:gd name="T65" fmla="*/ 397952 h 118"/>
              <a:gd name="T66" fmla="*/ 449223 w 160"/>
              <a:gd name="T67" fmla="*/ 404813 h 118"/>
              <a:gd name="T68" fmla="*/ 432207 w 160"/>
              <a:gd name="T69" fmla="*/ 397952 h 118"/>
              <a:gd name="T70" fmla="*/ 432207 w 160"/>
              <a:gd name="T71" fmla="*/ 367076 h 118"/>
              <a:gd name="T72" fmla="*/ 432207 w 160"/>
              <a:gd name="T73" fmla="*/ 41167 h 118"/>
              <a:gd name="T74" fmla="*/ 432207 w 160"/>
              <a:gd name="T75" fmla="*/ 10292 h 118"/>
              <a:gd name="T76" fmla="*/ 466239 w 160"/>
              <a:gd name="T77" fmla="*/ 10292 h 118"/>
              <a:gd name="T78" fmla="*/ 544513 w 160"/>
              <a:gd name="T79" fmla="*/ 202407 h 118"/>
              <a:gd name="T80" fmla="*/ 112306 w 160"/>
              <a:gd name="T81" fmla="*/ 367076 h 118"/>
              <a:gd name="T82" fmla="*/ 112306 w 160"/>
              <a:gd name="T83" fmla="*/ 397952 h 118"/>
              <a:gd name="T84" fmla="*/ 95290 w 160"/>
              <a:gd name="T85" fmla="*/ 404813 h 118"/>
              <a:gd name="T86" fmla="*/ 78274 w 160"/>
              <a:gd name="T87" fmla="*/ 397952 h 118"/>
              <a:gd name="T88" fmla="*/ 0 w 160"/>
              <a:gd name="T89" fmla="*/ 202407 h 118"/>
              <a:gd name="T90" fmla="*/ 78274 w 160"/>
              <a:gd name="T91" fmla="*/ 10292 h 118"/>
              <a:gd name="T92" fmla="*/ 112306 w 160"/>
              <a:gd name="T93" fmla="*/ 10292 h 118"/>
              <a:gd name="T94" fmla="*/ 112306 w 160"/>
              <a:gd name="T95" fmla="*/ 41167 h 118"/>
              <a:gd name="T96" fmla="*/ 112306 w 160"/>
              <a:gd name="T97" fmla="*/ 367076 h 118"/>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160" h="118">
                <a:moveTo>
                  <a:pt x="80" y="38"/>
                </a:moveTo>
                <a:cubicBezTo>
                  <a:pt x="68" y="38"/>
                  <a:pt x="59" y="48"/>
                  <a:pt x="59" y="59"/>
                </a:cubicBezTo>
                <a:cubicBezTo>
                  <a:pt x="59" y="71"/>
                  <a:pt x="68" y="81"/>
                  <a:pt x="80" y="81"/>
                </a:cubicBezTo>
                <a:cubicBezTo>
                  <a:pt x="92" y="81"/>
                  <a:pt x="101" y="71"/>
                  <a:pt x="101" y="59"/>
                </a:cubicBezTo>
                <a:cubicBezTo>
                  <a:pt x="101" y="48"/>
                  <a:pt x="92" y="38"/>
                  <a:pt x="80" y="38"/>
                </a:cubicBezTo>
                <a:close/>
                <a:moveTo>
                  <a:pt x="80" y="68"/>
                </a:moveTo>
                <a:cubicBezTo>
                  <a:pt x="75" y="68"/>
                  <a:pt x="72" y="64"/>
                  <a:pt x="72" y="59"/>
                </a:cubicBezTo>
                <a:cubicBezTo>
                  <a:pt x="72" y="55"/>
                  <a:pt x="75" y="51"/>
                  <a:pt x="80" y="51"/>
                </a:cubicBezTo>
                <a:cubicBezTo>
                  <a:pt x="85" y="51"/>
                  <a:pt x="88" y="55"/>
                  <a:pt x="88" y="59"/>
                </a:cubicBezTo>
                <a:cubicBezTo>
                  <a:pt x="88" y="64"/>
                  <a:pt x="85" y="68"/>
                  <a:pt x="80" y="68"/>
                </a:cubicBezTo>
                <a:close/>
                <a:moveTo>
                  <a:pt x="116" y="95"/>
                </a:moveTo>
                <a:cubicBezTo>
                  <a:pt x="116" y="95"/>
                  <a:pt x="116" y="95"/>
                  <a:pt x="116" y="95"/>
                </a:cubicBezTo>
                <a:cubicBezTo>
                  <a:pt x="114" y="97"/>
                  <a:pt x="113" y="97"/>
                  <a:pt x="111" y="97"/>
                </a:cubicBezTo>
                <a:cubicBezTo>
                  <a:pt x="110" y="97"/>
                  <a:pt x="108" y="97"/>
                  <a:pt x="107" y="95"/>
                </a:cubicBezTo>
                <a:cubicBezTo>
                  <a:pt x="104" y="93"/>
                  <a:pt x="104" y="89"/>
                  <a:pt x="107" y="86"/>
                </a:cubicBezTo>
                <a:cubicBezTo>
                  <a:pt x="107" y="86"/>
                  <a:pt x="107" y="86"/>
                  <a:pt x="107" y="86"/>
                </a:cubicBezTo>
                <a:cubicBezTo>
                  <a:pt x="121" y="71"/>
                  <a:pt x="121" y="48"/>
                  <a:pt x="107" y="33"/>
                </a:cubicBezTo>
                <a:cubicBezTo>
                  <a:pt x="104" y="30"/>
                  <a:pt x="104" y="26"/>
                  <a:pt x="107" y="24"/>
                </a:cubicBezTo>
                <a:cubicBezTo>
                  <a:pt x="109" y="21"/>
                  <a:pt x="113" y="21"/>
                  <a:pt x="116" y="24"/>
                </a:cubicBezTo>
                <a:cubicBezTo>
                  <a:pt x="135" y="43"/>
                  <a:pt x="136" y="76"/>
                  <a:pt x="116" y="95"/>
                </a:cubicBezTo>
                <a:close/>
                <a:moveTo>
                  <a:pt x="53" y="86"/>
                </a:moveTo>
                <a:cubicBezTo>
                  <a:pt x="56" y="89"/>
                  <a:pt x="56" y="93"/>
                  <a:pt x="53" y="95"/>
                </a:cubicBezTo>
                <a:cubicBezTo>
                  <a:pt x="52" y="96"/>
                  <a:pt x="50" y="97"/>
                  <a:pt x="49" y="97"/>
                </a:cubicBezTo>
                <a:cubicBezTo>
                  <a:pt x="47" y="97"/>
                  <a:pt x="46" y="96"/>
                  <a:pt x="44" y="95"/>
                </a:cubicBezTo>
                <a:cubicBezTo>
                  <a:pt x="25" y="76"/>
                  <a:pt x="24" y="43"/>
                  <a:pt x="44" y="24"/>
                </a:cubicBezTo>
                <a:cubicBezTo>
                  <a:pt x="44" y="24"/>
                  <a:pt x="44" y="24"/>
                  <a:pt x="44" y="24"/>
                </a:cubicBezTo>
                <a:cubicBezTo>
                  <a:pt x="47" y="21"/>
                  <a:pt x="51" y="21"/>
                  <a:pt x="53" y="24"/>
                </a:cubicBezTo>
                <a:cubicBezTo>
                  <a:pt x="56" y="26"/>
                  <a:pt x="56" y="30"/>
                  <a:pt x="53" y="33"/>
                </a:cubicBezTo>
                <a:cubicBezTo>
                  <a:pt x="53" y="33"/>
                  <a:pt x="53" y="33"/>
                  <a:pt x="53" y="33"/>
                </a:cubicBezTo>
                <a:cubicBezTo>
                  <a:pt x="46" y="40"/>
                  <a:pt x="42" y="49"/>
                  <a:pt x="42" y="59"/>
                </a:cubicBezTo>
                <a:cubicBezTo>
                  <a:pt x="42" y="70"/>
                  <a:pt x="46" y="79"/>
                  <a:pt x="53" y="86"/>
                </a:cubicBezTo>
                <a:close/>
                <a:moveTo>
                  <a:pt x="160" y="59"/>
                </a:moveTo>
                <a:cubicBezTo>
                  <a:pt x="160" y="81"/>
                  <a:pt x="152" y="101"/>
                  <a:pt x="137" y="116"/>
                </a:cubicBezTo>
                <a:cubicBezTo>
                  <a:pt x="135" y="117"/>
                  <a:pt x="134" y="118"/>
                  <a:pt x="132" y="118"/>
                </a:cubicBezTo>
                <a:cubicBezTo>
                  <a:pt x="130" y="118"/>
                  <a:pt x="129" y="117"/>
                  <a:pt x="127" y="116"/>
                </a:cubicBezTo>
                <a:cubicBezTo>
                  <a:pt x="125" y="114"/>
                  <a:pt x="125" y="109"/>
                  <a:pt x="127" y="107"/>
                </a:cubicBezTo>
                <a:cubicBezTo>
                  <a:pt x="154" y="81"/>
                  <a:pt x="154" y="38"/>
                  <a:pt x="127" y="12"/>
                </a:cubicBezTo>
                <a:cubicBezTo>
                  <a:pt x="125" y="10"/>
                  <a:pt x="125" y="5"/>
                  <a:pt x="127" y="3"/>
                </a:cubicBezTo>
                <a:cubicBezTo>
                  <a:pt x="130" y="0"/>
                  <a:pt x="134" y="0"/>
                  <a:pt x="137" y="3"/>
                </a:cubicBezTo>
                <a:cubicBezTo>
                  <a:pt x="152" y="18"/>
                  <a:pt x="160" y="38"/>
                  <a:pt x="160" y="59"/>
                </a:cubicBezTo>
                <a:close/>
                <a:moveTo>
                  <a:pt x="33" y="107"/>
                </a:moveTo>
                <a:cubicBezTo>
                  <a:pt x="35" y="109"/>
                  <a:pt x="35" y="114"/>
                  <a:pt x="33" y="116"/>
                </a:cubicBezTo>
                <a:cubicBezTo>
                  <a:pt x="31" y="117"/>
                  <a:pt x="30" y="118"/>
                  <a:pt x="28" y="118"/>
                </a:cubicBezTo>
                <a:cubicBezTo>
                  <a:pt x="26" y="118"/>
                  <a:pt x="25" y="117"/>
                  <a:pt x="23" y="116"/>
                </a:cubicBezTo>
                <a:cubicBezTo>
                  <a:pt x="8" y="101"/>
                  <a:pt x="0" y="81"/>
                  <a:pt x="0" y="59"/>
                </a:cubicBezTo>
                <a:cubicBezTo>
                  <a:pt x="0" y="38"/>
                  <a:pt x="8" y="18"/>
                  <a:pt x="23" y="3"/>
                </a:cubicBezTo>
                <a:cubicBezTo>
                  <a:pt x="26" y="0"/>
                  <a:pt x="30" y="0"/>
                  <a:pt x="33" y="3"/>
                </a:cubicBezTo>
                <a:cubicBezTo>
                  <a:pt x="35" y="5"/>
                  <a:pt x="35" y="10"/>
                  <a:pt x="33" y="12"/>
                </a:cubicBezTo>
                <a:cubicBezTo>
                  <a:pt x="6" y="38"/>
                  <a:pt x="6" y="81"/>
                  <a:pt x="33" y="107"/>
                </a:cubicBezTo>
                <a:close/>
              </a:path>
            </a:pathLst>
          </a:custGeom>
          <a:solidFill>
            <a:srgbClr val="FFFFFF"/>
          </a:solidFill>
          <a:ln>
            <a:noFill/>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17" name="Freeform 50">
            <a:extLst>
              <a:ext uri="{FF2B5EF4-FFF2-40B4-BE49-F238E27FC236}">
                <a16:creationId xmlns:a16="http://schemas.microsoft.com/office/drawing/2014/main" id="{4E255B0D-7263-42C0-82A1-DA0F1F6163E6}"/>
              </a:ext>
            </a:extLst>
          </p:cNvPr>
          <p:cNvSpPr>
            <a:spLocks noEditPoints="1"/>
          </p:cNvSpPr>
          <p:nvPr/>
        </p:nvSpPr>
        <p:spPr bwMode="auto">
          <a:xfrm>
            <a:off x="6887495" y="5055316"/>
            <a:ext cx="237866" cy="217754"/>
          </a:xfrm>
          <a:custGeom>
            <a:avLst/>
            <a:gdLst>
              <a:gd name="T0" fmla="*/ 473046 w 160"/>
              <a:gd name="T1" fmla="*/ 0 h 145"/>
              <a:gd name="T2" fmla="*/ 71467 w 160"/>
              <a:gd name="T3" fmla="*/ 0 h 145"/>
              <a:gd name="T4" fmla="*/ 0 w 160"/>
              <a:gd name="T5" fmla="*/ 72193 h 145"/>
              <a:gd name="T6" fmla="*/ 0 w 160"/>
              <a:gd name="T7" fmla="*/ 223454 h 145"/>
              <a:gd name="T8" fmla="*/ 78274 w 160"/>
              <a:gd name="T9" fmla="*/ 419407 h 145"/>
              <a:gd name="T10" fmla="*/ 272257 w 160"/>
              <a:gd name="T11" fmla="*/ 498475 h 145"/>
              <a:gd name="T12" fmla="*/ 466239 w 160"/>
              <a:gd name="T13" fmla="*/ 419407 h 145"/>
              <a:gd name="T14" fmla="*/ 544513 w 160"/>
              <a:gd name="T15" fmla="*/ 223454 h 145"/>
              <a:gd name="T16" fmla="*/ 544513 w 160"/>
              <a:gd name="T17" fmla="*/ 72193 h 145"/>
              <a:gd name="T18" fmla="*/ 473046 w 160"/>
              <a:gd name="T19" fmla="*/ 0 h 145"/>
              <a:gd name="T20" fmla="*/ 272257 w 160"/>
              <a:gd name="T21" fmla="*/ 453784 h 145"/>
              <a:gd name="T22" fmla="*/ 44242 w 160"/>
              <a:gd name="T23" fmla="*/ 223454 h 145"/>
              <a:gd name="T24" fmla="*/ 44242 w 160"/>
              <a:gd name="T25" fmla="*/ 72193 h 145"/>
              <a:gd name="T26" fmla="*/ 71467 w 160"/>
              <a:gd name="T27" fmla="*/ 44691 h 145"/>
              <a:gd name="T28" fmla="*/ 473046 w 160"/>
              <a:gd name="T29" fmla="*/ 44691 h 145"/>
              <a:gd name="T30" fmla="*/ 500271 w 160"/>
              <a:gd name="T31" fmla="*/ 72193 h 145"/>
              <a:gd name="T32" fmla="*/ 500271 w 160"/>
              <a:gd name="T33" fmla="*/ 223454 h 145"/>
              <a:gd name="T34" fmla="*/ 500271 w 160"/>
              <a:gd name="T35" fmla="*/ 223454 h 145"/>
              <a:gd name="T36" fmla="*/ 272257 w 160"/>
              <a:gd name="T37" fmla="*/ 453784 h 145"/>
              <a:gd name="T38" fmla="*/ 387966 w 160"/>
              <a:gd name="T39" fmla="*/ 182201 h 145"/>
              <a:gd name="T40" fmla="*/ 387966 w 160"/>
              <a:gd name="T41" fmla="*/ 216579 h 145"/>
              <a:gd name="T42" fmla="*/ 289273 w 160"/>
              <a:gd name="T43" fmla="*/ 316274 h 145"/>
              <a:gd name="T44" fmla="*/ 272257 w 160"/>
              <a:gd name="T45" fmla="*/ 323149 h 145"/>
              <a:gd name="T46" fmla="*/ 255240 w 160"/>
              <a:gd name="T47" fmla="*/ 316274 h 145"/>
              <a:gd name="T48" fmla="*/ 156547 w 160"/>
              <a:gd name="T49" fmla="*/ 216579 h 145"/>
              <a:gd name="T50" fmla="*/ 156547 w 160"/>
              <a:gd name="T51" fmla="*/ 182201 h 145"/>
              <a:gd name="T52" fmla="*/ 187176 w 160"/>
              <a:gd name="T53" fmla="*/ 182201 h 145"/>
              <a:gd name="T54" fmla="*/ 272257 w 160"/>
              <a:gd name="T55" fmla="*/ 268145 h 145"/>
              <a:gd name="T56" fmla="*/ 357337 w 160"/>
              <a:gd name="T57" fmla="*/ 182201 h 145"/>
              <a:gd name="T58" fmla="*/ 387966 w 160"/>
              <a:gd name="T59" fmla="*/ 182201 h 145"/>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160" h="145">
                <a:moveTo>
                  <a:pt x="139" y="0"/>
                </a:moveTo>
                <a:cubicBezTo>
                  <a:pt x="21" y="0"/>
                  <a:pt x="21" y="0"/>
                  <a:pt x="21" y="0"/>
                </a:cubicBezTo>
                <a:cubicBezTo>
                  <a:pt x="9" y="0"/>
                  <a:pt x="0" y="9"/>
                  <a:pt x="0" y="21"/>
                </a:cubicBezTo>
                <a:cubicBezTo>
                  <a:pt x="0" y="65"/>
                  <a:pt x="0" y="65"/>
                  <a:pt x="0" y="65"/>
                </a:cubicBezTo>
                <a:cubicBezTo>
                  <a:pt x="0" y="87"/>
                  <a:pt x="8" y="107"/>
                  <a:pt x="23" y="122"/>
                </a:cubicBezTo>
                <a:cubicBezTo>
                  <a:pt x="39" y="137"/>
                  <a:pt x="59" y="145"/>
                  <a:pt x="80" y="145"/>
                </a:cubicBezTo>
                <a:cubicBezTo>
                  <a:pt x="101" y="145"/>
                  <a:pt x="121" y="137"/>
                  <a:pt x="137" y="122"/>
                </a:cubicBezTo>
                <a:cubicBezTo>
                  <a:pt x="152" y="107"/>
                  <a:pt x="160" y="87"/>
                  <a:pt x="160" y="65"/>
                </a:cubicBezTo>
                <a:cubicBezTo>
                  <a:pt x="160" y="21"/>
                  <a:pt x="160" y="21"/>
                  <a:pt x="160" y="21"/>
                </a:cubicBezTo>
                <a:cubicBezTo>
                  <a:pt x="160" y="9"/>
                  <a:pt x="151" y="0"/>
                  <a:pt x="139" y="0"/>
                </a:cubicBezTo>
                <a:close/>
                <a:moveTo>
                  <a:pt x="80" y="132"/>
                </a:moveTo>
                <a:cubicBezTo>
                  <a:pt x="43" y="132"/>
                  <a:pt x="13" y="102"/>
                  <a:pt x="13" y="65"/>
                </a:cubicBezTo>
                <a:cubicBezTo>
                  <a:pt x="13" y="21"/>
                  <a:pt x="13" y="21"/>
                  <a:pt x="13" y="21"/>
                </a:cubicBezTo>
                <a:cubicBezTo>
                  <a:pt x="13" y="17"/>
                  <a:pt x="17" y="13"/>
                  <a:pt x="21" y="13"/>
                </a:cubicBezTo>
                <a:cubicBezTo>
                  <a:pt x="139" y="13"/>
                  <a:pt x="139" y="13"/>
                  <a:pt x="139" y="13"/>
                </a:cubicBezTo>
                <a:cubicBezTo>
                  <a:pt x="143" y="13"/>
                  <a:pt x="147" y="17"/>
                  <a:pt x="147" y="21"/>
                </a:cubicBezTo>
                <a:cubicBezTo>
                  <a:pt x="147" y="65"/>
                  <a:pt x="147" y="65"/>
                  <a:pt x="147" y="65"/>
                </a:cubicBezTo>
                <a:cubicBezTo>
                  <a:pt x="147" y="65"/>
                  <a:pt x="147" y="65"/>
                  <a:pt x="147" y="65"/>
                </a:cubicBezTo>
                <a:cubicBezTo>
                  <a:pt x="147" y="102"/>
                  <a:pt x="117" y="132"/>
                  <a:pt x="80" y="132"/>
                </a:cubicBezTo>
                <a:close/>
                <a:moveTo>
                  <a:pt x="114" y="53"/>
                </a:moveTo>
                <a:cubicBezTo>
                  <a:pt x="117" y="56"/>
                  <a:pt x="117" y="60"/>
                  <a:pt x="114" y="63"/>
                </a:cubicBezTo>
                <a:cubicBezTo>
                  <a:pt x="85" y="92"/>
                  <a:pt x="85" y="92"/>
                  <a:pt x="85" y="92"/>
                </a:cubicBezTo>
                <a:cubicBezTo>
                  <a:pt x="83" y="93"/>
                  <a:pt x="82" y="94"/>
                  <a:pt x="80" y="94"/>
                </a:cubicBezTo>
                <a:cubicBezTo>
                  <a:pt x="78" y="94"/>
                  <a:pt x="77" y="93"/>
                  <a:pt x="75" y="92"/>
                </a:cubicBezTo>
                <a:cubicBezTo>
                  <a:pt x="46" y="63"/>
                  <a:pt x="46" y="63"/>
                  <a:pt x="46" y="63"/>
                </a:cubicBezTo>
                <a:cubicBezTo>
                  <a:pt x="43" y="60"/>
                  <a:pt x="43" y="56"/>
                  <a:pt x="46" y="53"/>
                </a:cubicBezTo>
                <a:cubicBezTo>
                  <a:pt x="49" y="51"/>
                  <a:pt x="53" y="51"/>
                  <a:pt x="55" y="53"/>
                </a:cubicBezTo>
                <a:cubicBezTo>
                  <a:pt x="80" y="78"/>
                  <a:pt x="80" y="78"/>
                  <a:pt x="80" y="78"/>
                </a:cubicBezTo>
                <a:cubicBezTo>
                  <a:pt x="105" y="53"/>
                  <a:pt x="105" y="53"/>
                  <a:pt x="105" y="53"/>
                </a:cubicBezTo>
                <a:cubicBezTo>
                  <a:pt x="107" y="51"/>
                  <a:pt x="111" y="51"/>
                  <a:pt x="114" y="53"/>
                </a:cubicBezTo>
                <a:close/>
              </a:path>
            </a:pathLst>
          </a:custGeom>
          <a:solidFill>
            <a:srgbClr val="FFFFFF"/>
          </a:solidFill>
          <a:ln>
            <a:noFill/>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18" name="Freeform 79">
            <a:extLst>
              <a:ext uri="{FF2B5EF4-FFF2-40B4-BE49-F238E27FC236}">
                <a16:creationId xmlns:a16="http://schemas.microsoft.com/office/drawing/2014/main" id="{6D4F4094-F250-4F80-9BFA-874C4C809ED9}"/>
              </a:ext>
            </a:extLst>
          </p:cNvPr>
          <p:cNvSpPr>
            <a:spLocks noEditPoints="1"/>
          </p:cNvSpPr>
          <p:nvPr/>
        </p:nvSpPr>
        <p:spPr bwMode="auto">
          <a:xfrm>
            <a:off x="7407331" y="3684615"/>
            <a:ext cx="237866" cy="220528"/>
          </a:xfrm>
          <a:custGeom>
            <a:avLst/>
            <a:gdLst>
              <a:gd name="T0" fmla="*/ 534303 w 160"/>
              <a:gd name="T1" fmla="*/ 3434 h 147"/>
              <a:gd name="T2" fmla="*/ 510481 w 160"/>
              <a:gd name="T3" fmla="*/ 3434 h 147"/>
              <a:gd name="T4" fmla="*/ 364143 w 160"/>
              <a:gd name="T5" fmla="*/ 89289 h 147"/>
              <a:gd name="T6" fmla="*/ 190580 w 160"/>
              <a:gd name="T7" fmla="*/ 3434 h 147"/>
              <a:gd name="T8" fmla="*/ 190580 w 160"/>
              <a:gd name="T9" fmla="*/ 3434 h 147"/>
              <a:gd name="T10" fmla="*/ 187176 w 160"/>
              <a:gd name="T11" fmla="*/ 0 h 147"/>
              <a:gd name="T12" fmla="*/ 187176 w 160"/>
              <a:gd name="T13" fmla="*/ 0 h 147"/>
              <a:gd name="T14" fmla="*/ 180370 w 160"/>
              <a:gd name="T15" fmla="*/ 0 h 147"/>
              <a:gd name="T16" fmla="*/ 180370 w 160"/>
              <a:gd name="T17" fmla="*/ 0 h 147"/>
              <a:gd name="T18" fmla="*/ 180370 w 160"/>
              <a:gd name="T19" fmla="*/ 0 h 147"/>
              <a:gd name="T20" fmla="*/ 176967 w 160"/>
              <a:gd name="T21" fmla="*/ 0 h 147"/>
              <a:gd name="T22" fmla="*/ 173564 w 160"/>
              <a:gd name="T23" fmla="*/ 0 h 147"/>
              <a:gd name="T24" fmla="*/ 170160 w 160"/>
              <a:gd name="T25" fmla="*/ 3434 h 147"/>
              <a:gd name="T26" fmla="*/ 170160 w 160"/>
              <a:gd name="T27" fmla="*/ 3434 h 147"/>
              <a:gd name="T28" fmla="*/ 10210 w 160"/>
              <a:gd name="T29" fmla="*/ 96157 h 147"/>
              <a:gd name="T30" fmla="*/ 0 w 160"/>
              <a:gd name="T31" fmla="*/ 113328 h 147"/>
              <a:gd name="T32" fmla="*/ 0 w 160"/>
              <a:gd name="T33" fmla="*/ 480786 h 147"/>
              <a:gd name="T34" fmla="*/ 10210 w 160"/>
              <a:gd name="T35" fmla="*/ 501391 h 147"/>
              <a:gd name="T36" fmla="*/ 34032 w 160"/>
              <a:gd name="T37" fmla="*/ 501391 h 147"/>
              <a:gd name="T38" fmla="*/ 180370 w 160"/>
              <a:gd name="T39" fmla="*/ 415536 h 147"/>
              <a:gd name="T40" fmla="*/ 353933 w 160"/>
              <a:gd name="T41" fmla="*/ 501391 h 147"/>
              <a:gd name="T42" fmla="*/ 353933 w 160"/>
              <a:gd name="T43" fmla="*/ 501391 h 147"/>
              <a:gd name="T44" fmla="*/ 357337 w 160"/>
              <a:gd name="T45" fmla="*/ 501391 h 147"/>
              <a:gd name="T46" fmla="*/ 357337 w 160"/>
              <a:gd name="T47" fmla="*/ 501391 h 147"/>
              <a:gd name="T48" fmla="*/ 364143 w 160"/>
              <a:gd name="T49" fmla="*/ 504825 h 147"/>
              <a:gd name="T50" fmla="*/ 367546 w 160"/>
              <a:gd name="T51" fmla="*/ 501391 h 147"/>
              <a:gd name="T52" fmla="*/ 370949 w 160"/>
              <a:gd name="T53" fmla="*/ 501391 h 147"/>
              <a:gd name="T54" fmla="*/ 374353 w 160"/>
              <a:gd name="T55" fmla="*/ 501391 h 147"/>
              <a:gd name="T56" fmla="*/ 374353 w 160"/>
              <a:gd name="T57" fmla="*/ 501391 h 147"/>
              <a:gd name="T58" fmla="*/ 534303 w 160"/>
              <a:gd name="T59" fmla="*/ 408668 h 147"/>
              <a:gd name="T60" fmla="*/ 544513 w 160"/>
              <a:gd name="T61" fmla="*/ 388063 h 147"/>
              <a:gd name="T62" fmla="*/ 544513 w 160"/>
              <a:gd name="T63" fmla="*/ 20605 h 147"/>
              <a:gd name="T64" fmla="*/ 534303 w 160"/>
              <a:gd name="T65" fmla="*/ 3434 h 147"/>
              <a:gd name="T66" fmla="*/ 204192 w 160"/>
              <a:gd name="T67" fmla="*/ 58381 h 147"/>
              <a:gd name="T68" fmla="*/ 340321 w 160"/>
              <a:gd name="T69" fmla="*/ 127065 h 147"/>
              <a:gd name="T70" fmla="*/ 340321 w 160"/>
              <a:gd name="T71" fmla="*/ 446444 h 147"/>
              <a:gd name="T72" fmla="*/ 204192 w 160"/>
              <a:gd name="T73" fmla="*/ 374326 h 147"/>
              <a:gd name="T74" fmla="*/ 204192 w 160"/>
              <a:gd name="T75" fmla="*/ 58381 h 147"/>
              <a:gd name="T76" fmla="*/ 44242 w 160"/>
              <a:gd name="T77" fmla="*/ 127065 h 147"/>
              <a:gd name="T78" fmla="*/ 159951 w 160"/>
              <a:gd name="T79" fmla="*/ 61815 h 147"/>
              <a:gd name="T80" fmla="*/ 159951 w 160"/>
              <a:gd name="T81" fmla="*/ 377760 h 147"/>
              <a:gd name="T82" fmla="*/ 44242 w 160"/>
              <a:gd name="T83" fmla="*/ 443010 h 147"/>
              <a:gd name="T84" fmla="*/ 44242 w 160"/>
              <a:gd name="T85" fmla="*/ 127065 h 147"/>
              <a:gd name="T86" fmla="*/ 500271 w 160"/>
              <a:gd name="T87" fmla="*/ 377760 h 147"/>
              <a:gd name="T88" fmla="*/ 384562 w 160"/>
              <a:gd name="T89" fmla="*/ 443010 h 147"/>
              <a:gd name="T90" fmla="*/ 384562 w 160"/>
              <a:gd name="T91" fmla="*/ 127065 h 147"/>
              <a:gd name="T92" fmla="*/ 500271 w 160"/>
              <a:gd name="T93" fmla="*/ 61815 h 147"/>
              <a:gd name="T94" fmla="*/ 500271 w 160"/>
              <a:gd name="T95" fmla="*/ 377760 h 147"/>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160" h="147">
                <a:moveTo>
                  <a:pt x="157" y="1"/>
                </a:moveTo>
                <a:cubicBezTo>
                  <a:pt x="155" y="0"/>
                  <a:pt x="152" y="0"/>
                  <a:pt x="150" y="1"/>
                </a:cubicBezTo>
                <a:cubicBezTo>
                  <a:pt x="107" y="26"/>
                  <a:pt x="107" y="26"/>
                  <a:pt x="107" y="26"/>
                </a:cubicBezTo>
                <a:cubicBezTo>
                  <a:pt x="56" y="1"/>
                  <a:pt x="56" y="1"/>
                  <a:pt x="56" y="1"/>
                </a:cubicBezTo>
                <a:cubicBezTo>
                  <a:pt x="56" y="1"/>
                  <a:pt x="56" y="1"/>
                  <a:pt x="56" y="1"/>
                </a:cubicBezTo>
                <a:cubicBezTo>
                  <a:pt x="56" y="0"/>
                  <a:pt x="55" y="0"/>
                  <a:pt x="55" y="0"/>
                </a:cubicBezTo>
                <a:cubicBezTo>
                  <a:pt x="55" y="0"/>
                  <a:pt x="55" y="0"/>
                  <a:pt x="55" y="0"/>
                </a:cubicBezTo>
                <a:cubicBezTo>
                  <a:pt x="54" y="0"/>
                  <a:pt x="54" y="0"/>
                  <a:pt x="53" y="0"/>
                </a:cubicBezTo>
                <a:cubicBezTo>
                  <a:pt x="53" y="0"/>
                  <a:pt x="53" y="0"/>
                  <a:pt x="53" y="0"/>
                </a:cubicBezTo>
                <a:cubicBezTo>
                  <a:pt x="53" y="0"/>
                  <a:pt x="53" y="0"/>
                  <a:pt x="53" y="0"/>
                </a:cubicBezTo>
                <a:cubicBezTo>
                  <a:pt x="52" y="0"/>
                  <a:pt x="52" y="0"/>
                  <a:pt x="52" y="0"/>
                </a:cubicBezTo>
                <a:cubicBezTo>
                  <a:pt x="52" y="0"/>
                  <a:pt x="51" y="0"/>
                  <a:pt x="51" y="0"/>
                </a:cubicBezTo>
                <a:cubicBezTo>
                  <a:pt x="51" y="0"/>
                  <a:pt x="51" y="1"/>
                  <a:pt x="50" y="1"/>
                </a:cubicBezTo>
                <a:cubicBezTo>
                  <a:pt x="50" y="1"/>
                  <a:pt x="50" y="1"/>
                  <a:pt x="50" y="1"/>
                </a:cubicBezTo>
                <a:cubicBezTo>
                  <a:pt x="3" y="28"/>
                  <a:pt x="3" y="28"/>
                  <a:pt x="3" y="28"/>
                </a:cubicBezTo>
                <a:cubicBezTo>
                  <a:pt x="1" y="29"/>
                  <a:pt x="0" y="31"/>
                  <a:pt x="0" y="33"/>
                </a:cubicBezTo>
                <a:cubicBezTo>
                  <a:pt x="0" y="140"/>
                  <a:pt x="0" y="140"/>
                  <a:pt x="0" y="140"/>
                </a:cubicBezTo>
                <a:cubicBezTo>
                  <a:pt x="0" y="142"/>
                  <a:pt x="1" y="145"/>
                  <a:pt x="3" y="146"/>
                </a:cubicBezTo>
                <a:cubicBezTo>
                  <a:pt x="5" y="147"/>
                  <a:pt x="8" y="147"/>
                  <a:pt x="10" y="146"/>
                </a:cubicBezTo>
                <a:cubicBezTo>
                  <a:pt x="53" y="121"/>
                  <a:pt x="53" y="121"/>
                  <a:pt x="53" y="121"/>
                </a:cubicBezTo>
                <a:cubicBezTo>
                  <a:pt x="104" y="146"/>
                  <a:pt x="104" y="146"/>
                  <a:pt x="104" y="146"/>
                </a:cubicBezTo>
                <a:cubicBezTo>
                  <a:pt x="104" y="146"/>
                  <a:pt x="104" y="146"/>
                  <a:pt x="104" y="146"/>
                </a:cubicBezTo>
                <a:cubicBezTo>
                  <a:pt x="104" y="146"/>
                  <a:pt x="105" y="146"/>
                  <a:pt x="105" y="146"/>
                </a:cubicBezTo>
                <a:cubicBezTo>
                  <a:pt x="105" y="146"/>
                  <a:pt x="105" y="146"/>
                  <a:pt x="105" y="146"/>
                </a:cubicBezTo>
                <a:cubicBezTo>
                  <a:pt x="106" y="147"/>
                  <a:pt x="106" y="147"/>
                  <a:pt x="107" y="147"/>
                </a:cubicBezTo>
                <a:cubicBezTo>
                  <a:pt x="107" y="147"/>
                  <a:pt x="108" y="147"/>
                  <a:pt x="108" y="146"/>
                </a:cubicBezTo>
                <a:cubicBezTo>
                  <a:pt x="108" y="146"/>
                  <a:pt x="109" y="146"/>
                  <a:pt x="109" y="146"/>
                </a:cubicBezTo>
                <a:cubicBezTo>
                  <a:pt x="109" y="146"/>
                  <a:pt x="109" y="146"/>
                  <a:pt x="110" y="146"/>
                </a:cubicBezTo>
                <a:cubicBezTo>
                  <a:pt x="110" y="146"/>
                  <a:pt x="110" y="146"/>
                  <a:pt x="110" y="146"/>
                </a:cubicBezTo>
                <a:cubicBezTo>
                  <a:pt x="157" y="119"/>
                  <a:pt x="157" y="119"/>
                  <a:pt x="157" y="119"/>
                </a:cubicBezTo>
                <a:cubicBezTo>
                  <a:pt x="159" y="118"/>
                  <a:pt x="160" y="116"/>
                  <a:pt x="160" y="113"/>
                </a:cubicBezTo>
                <a:cubicBezTo>
                  <a:pt x="160" y="6"/>
                  <a:pt x="160" y="6"/>
                  <a:pt x="160" y="6"/>
                </a:cubicBezTo>
                <a:cubicBezTo>
                  <a:pt x="160" y="4"/>
                  <a:pt x="159" y="2"/>
                  <a:pt x="157" y="1"/>
                </a:cubicBezTo>
                <a:close/>
                <a:moveTo>
                  <a:pt x="60" y="17"/>
                </a:moveTo>
                <a:cubicBezTo>
                  <a:pt x="100" y="37"/>
                  <a:pt x="100" y="37"/>
                  <a:pt x="100" y="37"/>
                </a:cubicBezTo>
                <a:cubicBezTo>
                  <a:pt x="100" y="130"/>
                  <a:pt x="100" y="130"/>
                  <a:pt x="100" y="130"/>
                </a:cubicBezTo>
                <a:cubicBezTo>
                  <a:pt x="60" y="109"/>
                  <a:pt x="60" y="109"/>
                  <a:pt x="60" y="109"/>
                </a:cubicBezTo>
                <a:lnTo>
                  <a:pt x="60" y="17"/>
                </a:lnTo>
                <a:close/>
                <a:moveTo>
                  <a:pt x="13" y="37"/>
                </a:moveTo>
                <a:cubicBezTo>
                  <a:pt x="47" y="18"/>
                  <a:pt x="47" y="18"/>
                  <a:pt x="47" y="18"/>
                </a:cubicBezTo>
                <a:cubicBezTo>
                  <a:pt x="47" y="110"/>
                  <a:pt x="47" y="110"/>
                  <a:pt x="47" y="110"/>
                </a:cubicBezTo>
                <a:cubicBezTo>
                  <a:pt x="13" y="129"/>
                  <a:pt x="13" y="129"/>
                  <a:pt x="13" y="129"/>
                </a:cubicBezTo>
                <a:lnTo>
                  <a:pt x="13" y="37"/>
                </a:lnTo>
                <a:close/>
                <a:moveTo>
                  <a:pt x="147" y="110"/>
                </a:moveTo>
                <a:cubicBezTo>
                  <a:pt x="113" y="129"/>
                  <a:pt x="113" y="129"/>
                  <a:pt x="113" y="129"/>
                </a:cubicBezTo>
                <a:cubicBezTo>
                  <a:pt x="113" y="37"/>
                  <a:pt x="113" y="37"/>
                  <a:pt x="113" y="37"/>
                </a:cubicBezTo>
                <a:cubicBezTo>
                  <a:pt x="147" y="18"/>
                  <a:pt x="147" y="18"/>
                  <a:pt x="147" y="18"/>
                </a:cubicBezTo>
                <a:lnTo>
                  <a:pt x="147" y="110"/>
                </a:lnTo>
                <a:close/>
              </a:path>
            </a:pathLst>
          </a:custGeom>
          <a:solidFill>
            <a:srgbClr val="FFFFFF"/>
          </a:solidFill>
          <a:ln>
            <a:noFill/>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19" name="Freeform 89">
            <a:extLst>
              <a:ext uri="{FF2B5EF4-FFF2-40B4-BE49-F238E27FC236}">
                <a16:creationId xmlns:a16="http://schemas.microsoft.com/office/drawing/2014/main" id="{C5145350-629C-491B-90FC-BBA012BF2945}"/>
              </a:ext>
            </a:extLst>
          </p:cNvPr>
          <p:cNvSpPr>
            <a:spLocks noEditPoints="1"/>
          </p:cNvSpPr>
          <p:nvPr/>
        </p:nvSpPr>
        <p:spPr bwMode="auto">
          <a:xfrm>
            <a:off x="5414378" y="5240672"/>
            <a:ext cx="237864" cy="196948"/>
          </a:xfrm>
          <a:custGeom>
            <a:avLst/>
            <a:gdLst>
              <a:gd name="T0" fmla="*/ 544513 w 160"/>
              <a:gd name="T1" fmla="*/ 244354 h 131"/>
              <a:gd name="T2" fmla="*/ 544513 w 160"/>
              <a:gd name="T3" fmla="*/ 244354 h 131"/>
              <a:gd name="T4" fmla="*/ 541110 w 160"/>
              <a:gd name="T5" fmla="*/ 240912 h 131"/>
              <a:gd name="T6" fmla="*/ 541110 w 160"/>
              <a:gd name="T7" fmla="*/ 240912 h 131"/>
              <a:gd name="T8" fmla="*/ 456030 w 160"/>
              <a:gd name="T9" fmla="*/ 44741 h 131"/>
              <a:gd name="T10" fmla="*/ 391369 w 160"/>
              <a:gd name="T11" fmla="*/ 0 h 131"/>
              <a:gd name="T12" fmla="*/ 391369 w 160"/>
              <a:gd name="T13" fmla="*/ 0 h 131"/>
              <a:gd name="T14" fmla="*/ 153144 w 160"/>
              <a:gd name="T15" fmla="*/ 0 h 131"/>
              <a:gd name="T16" fmla="*/ 153144 w 160"/>
              <a:gd name="T17" fmla="*/ 0 h 131"/>
              <a:gd name="T18" fmla="*/ 88483 w 160"/>
              <a:gd name="T19" fmla="*/ 44741 h 131"/>
              <a:gd name="T20" fmla="*/ 3403 w 160"/>
              <a:gd name="T21" fmla="*/ 240912 h 131"/>
              <a:gd name="T22" fmla="*/ 3403 w 160"/>
              <a:gd name="T23" fmla="*/ 240912 h 131"/>
              <a:gd name="T24" fmla="*/ 0 w 160"/>
              <a:gd name="T25" fmla="*/ 244354 h 131"/>
              <a:gd name="T26" fmla="*/ 0 w 160"/>
              <a:gd name="T27" fmla="*/ 244354 h 131"/>
              <a:gd name="T28" fmla="*/ 0 w 160"/>
              <a:gd name="T29" fmla="*/ 251237 h 131"/>
              <a:gd name="T30" fmla="*/ 0 w 160"/>
              <a:gd name="T31" fmla="*/ 375135 h 131"/>
              <a:gd name="T32" fmla="*/ 71467 w 160"/>
              <a:gd name="T33" fmla="*/ 450850 h 131"/>
              <a:gd name="T34" fmla="*/ 473046 w 160"/>
              <a:gd name="T35" fmla="*/ 450850 h 131"/>
              <a:gd name="T36" fmla="*/ 544513 w 160"/>
              <a:gd name="T37" fmla="*/ 375135 h 131"/>
              <a:gd name="T38" fmla="*/ 544513 w 160"/>
              <a:gd name="T39" fmla="*/ 251237 h 131"/>
              <a:gd name="T40" fmla="*/ 544513 w 160"/>
              <a:gd name="T41" fmla="*/ 244354 h 131"/>
              <a:gd name="T42" fmla="*/ 129322 w 160"/>
              <a:gd name="T43" fmla="*/ 61949 h 131"/>
              <a:gd name="T44" fmla="*/ 129322 w 160"/>
              <a:gd name="T45" fmla="*/ 61949 h 131"/>
              <a:gd name="T46" fmla="*/ 153144 w 160"/>
              <a:gd name="T47" fmla="*/ 44741 h 131"/>
              <a:gd name="T48" fmla="*/ 153144 w 160"/>
              <a:gd name="T49" fmla="*/ 44741 h 131"/>
              <a:gd name="T50" fmla="*/ 391369 w 160"/>
              <a:gd name="T51" fmla="*/ 44741 h 131"/>
              <a:gd name="T52" fmla="*/ 391369 w 160"/>
              <a:gd name="T53" fmla="*/ 44741 h 131"/>
              <a:gd name="T54" fmla="*/ 415191 w 160"/>
              <a:gd name="T55" fmla="*/ 61949 h 131"/>
              <a:gd name="T56" fmla="*/ 490062 w 160"/>
              <a:gd name="T57" fmla="*/ 227146 h 131"/>
              <a:gd name="T58" fmla="*/ 370949 w 160"/>
              <a:gd name="T59" fmla="*/ 227146 h 131"/>
              <a:gd name="T60" fmla="*/ 353933 w 160"/>
              <a:gd name="T61" fmla="*/ 237471 h 131"/>
              <a:gd name="T62" fmla="*/ 309692 w 160"/>
              <a:gd name="T63" fmla="*/ 302861 h 131"/>
              <a:gd name="T64" fmla="*/ 234821 w 160"/>
              <a:gd name="T65" fmla="*/ 302861 h 131"/>
              <a:gd name="T66" fmla="*/ 190580 w 160"/>
              <a:gd name="T67" fmla="*/ 237471 h 131"/>
              <a:gd name="T68" fmla="*/ 173564 w 160"/>
              <a:gd name="T69" fmla="*/ 227146 h 131"/>
              <a:gd name="T70" fmla="*/ 54451 w 160"/>
              <a:gd name="T71" fmla="*/ 227146 h 131"/>
              <a:gd name="T72" fmla="*/ 129322 w 160"/>
              <a:gd name="T73" fmla="*/ 61949 h 131"/>
              <a:gd name="T74" fmla="*/ 473046 w 160"/>
              <a:gd name="T75" fmla="*/ 406109 h 131"/>
              <a:gd name="T76" fmla="*/ 71467 w 160"/>
              <a:gd name="T77" fmla="*/ 406109 h 131"/>
              <a:gd name="T78" fmla="*/ 44242 w 160"/>
              <a:gd name="T79" fmla="*/ 375135 h 131"/>
              <a:gd name="T80" fmla="*/ 44242 w 160"/>
              <a:gd name="T81" fmla="*/ 271887 h 131"/>
              <a:gd name="T82" fmla="*/ 159951 w 160"/>
              <a:gd name="T83" fmla="*/ 271887 h 131"/>
              <a:gd name="T84" fmla="*/ 204192 w 160"/>
              <a:gd name="T85" fmla="*/ 337277 h 131"/>
              <a:gd name="T86" fmla="*/ 221208 w 160"/>
              <a:gd name="T87" fmla="*/ 347602 h 131"/>
              <a:gd name="T88" fmla="*/ 323305 w 160"/>
              <a:gd name="T89" fmla="*/ 347602 h 131"/>
              <a:gd name="T90" fmla="*/ 340321 w 160"/>
              <a:gd name="T91" fmla="*/ 337277 h 131"/>
              <a:gd name="T92" fmla="*/ 384562 w 160"/>
              <a:gd name="T93" fmla="*/ 271887 h 131"/>
              <a:gd name="T94" fmla="*/ 500271 w 160"/>
              <a:gd name="T95" fmla="*/ 271887 h 131"/>
              <a:gd name="T96" fmla="*/ 500271 w 160"/>
              <a:gd name="T97" fmla="*/ 375135 h 131"/>
              <a:gd name="T98" fmla="*/ 473046 w 160"/>
              <a:gd name="T99" fmla="*/ 406109 h 131"/>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160" h="131">
                <a:moveTo>
                  <a:pt x="160" y="71"/>
                </a:moveTo>
                <a:cubicBezTo>
                  <a:pt x="160" y="71"/>
                  <a:pt x="160" y="71"/>
                  <a:pt x="160" y="71"/>
                </a:cubicBezTo>
                <a:cubicBezTo>
                  <a:pt x="160" y="71"/>
                  <a:pt x="160" y="70"/>
                  <a:pt x="159" y="70"/>
                </a:cubicBezTo>
                <a:cubicBezTo>
                  <a:pt x="159" y="70"/>
                  <a:pt x="159" y="70"/>
                  <a:pt x="159" y="70"/>
                </a:cubicBezTo>
                <a:cubicBezTo>
                  <a:pt x="134" y="13"/>
                  <a:pt x="134" y="13"/>
                  <a:pt x="134" y="13"/>
                </a:cubicBezTo>
                <a:cubicBezTo>
                  <a:pt x="131" y="5"/>
                  <a:pt x="123" y="0"/>
                  <a:pt x="115" y="0"/>
                </a:cubicBezTo>
                <a:cubicBezTo>
                  <a:pt x="115" y="0"/>
                  <a:pt x="115" y="0"/>
                  <a:pt x="115" y="0"/>
                </a:cubicBezTo>
                <a:cubicBezTo>
                  <a:pt x="45" y="0"/>
                  <a:pt x="45" y="0"/>
                  <a:pt x="45" y="0"/>
                </a:cubicBezTo>
                <a:cubicBezTo>
                  <a:pt x="45" y="0"/>
                  <a:pt x="45" y="0"/>
                  <a:pt x="45" y="0"/>
                </a:cubicBezTo>
                <a:cubicBezTo>
                  <a:pt x="37" y="0"/>
                  <a:pt x="29" y="5"/>
                  <a:pt x="26" y="13"/>
                </a:cubicBezTo>
                <a:cubicBezTo>
                  <a:pt x="1" y="70"/>
                  <a:pt x="1" y="70"/>
                  <a:pt x="1" y="70"/>
                </a:cubicBezTo>
                <a:cubicBezTo>
                  <a:pt x="1" y="70"/>
                  <a:pt x="1" y="70"/>
                  <a:pt x="1" y="70"/>
                </a:cubicBezTo>
                <a:cubicBezTo>
                  <a:pt x="0" y="70"/>
                  <a:pt x="0" y="71"/>
                  <a:pt x="0" y="71"/>
                </a:cubicBezTo>
                <a:cubicBezTo>
                  <a:pt x="0" y="71"/>
                  <a:pt x="0" y="71"/>
                  <a:pt x="0" y="71"/>
                </a:cubicBezTo>
                <a:cubicBezTo>
                  <a:pt x="0" y="72"/>
                  <a:pt x="0" y="72"/>
                  <a:pt x="0" y="73"/>
                </a:cubicBezTo>
                <a:cubicBezTo>
                  <a:pt x="0" y="109"/>
                  <a:pt x="0" y="109"/>
                  <a:pt x="0" y="109"/>
                </a:cubicBezTo>
                <a:cubicBezTo>
                  <a:pt x="0" y="121"/>
                  <a:pt x="9" y="131"/>
                  <a:pt x="21" y="131"/>
                </a:cubicBezTo>
                <a:cubicBezTo>
                  <a:pt x="139" y="131"/>
                  <a:pt x="139" y="131"/>
                  <a:pt x="139" y="131"/>
                </a:cubicBezTo>
                <a:cubicBezTo>
                  <a:pt x="151" y="131"/>
                  <a:pt x="160" y="121"/>
                  <a:pt x="160" y="109"/>
                </a:cubicBezTo>
                <a:cubicBezTo>
                  <a:pt x="160" y="73"/>
                  <a:pt x="160" y="73"/>
                  <a:pt x="160" y="73"/>
                </a:cubicBezTo>
                <a:cubicBezTo>
                  <a:pt x="160" y="72"/>
                  <a:pt x="160" y="72"/>
                  <a:pt x="160" y="71"/>
                </a:cubicBezTo>
                <a:close/>
                <a:moveTo>
                  <a:pt x="38" y="18"/>
                </a:moveTo>
                <a:cubicBezTo>
                  <a:pt x="38" y="18"/>
                  <a:pt x="38" y="18"/>
                  <a:pt x="38" y="18"/>
                </a:cubicBezTo>
                <a:cubicBezTo>
                  <a:pt x="39" y="15"/>
                  <a:pt x="42" y="13"/>
                  <a:pt x="45" y="13"/>
                </a:cubicBezTo>
                <a:cubicBezTo>
                  <a:pt x="45" y="13"/>
                  <a:pt x="45" y="13"/>
                  <a:pt x="45" y="13"/>
                </a:cubicBezTo>
                <a:cubicBezTo>
                  <a:pt x="115" y="13"/>
                  <a:pt x="115" y="13"/>
                  <a:pt x="115" y="13"/>
                </a:cubicBezTo>
                <a:cubicBezTo>
                  <a:pt x="115" y="13"/>
                  <a:pt x="115" y="13"/>
                  <a:pt x="115" y="13"/>
                </a:cubicBezTo>
                <a:cubicBezTo>
                  <a:pt x="118" y="13"/>
                  <a:pt x="121" y="15"/>
                  <a:pt x="122" y="18"/>
                </a:cubicBezTo>
                <a:cubicBezTo>
                  <a:pt x="144" y="66"/>
                  <a:pt x="144" y="66"/>
                  <a:pt x="144" y="66"/>
                </a:cubicBezTo>
                <a:cubicBezTo>
                  <a:pt x="109" y="66"/>
                  <a:pt x="109" y="66"/>
                  <a:pt x="109" y="66"/>
                </a:cubicBezTo>
                <a:cubicBezTo>
                  <a:pt x="107" y="66"/>
                  <a:pt x="105" y="67"/>
                  <a:pt x="104" y="69"/>
                </a:cubicBezTo>
                <a:cubicBezTo>
                  <a:pt x="91" y="88"/>
                  <a:pt x="91" y="88"/>
                  <a:pt x="91" y="88"/>
                </a:cubicBezTo>
                <a:cubicBezTo>
                  <a:pt x="69" y="88"/>
                  <a:pt x="69" y="88"/>
                  <a:pt x="69" y="88"/>
                </a:cubicBezTo>
                <a:cubicBezTo>
                  <a:pt x="56" y="69"/>
                  <a:pt x="56" y="69"/>
                  <a:pt x="56" y="69"/>
                </a:cubicBezTo>
                <a:cubicBezTo>
                  <a:pt x="55" y="67"/>
                  <a:pt x="53" y="66"/>
                  <a:pt x="51" y="66"/>
                </a:cubicBezTo>
                <a:cubicBezTo>
                  <a:pt x="16" y="66"/>
                  <a:pt x="16" y="66"/>
                  <a:pt x="16" y="66"/>
                </a:cubicBezTo>
                <a:lnTo>
                  <a:pt x="38" y="18"/>
                </a:lnTo>
                <a:close/>
                <a:moveTo>
                  <a:pt x="139" y="118"/>
                </a:moveTo>
                <a:cubicBezTo>
                  <a:pt x="21" y="118"/>
                  <a:pt x="21" y="118"/>
                  <a:pt x="21" y="118"/>
                </a:cubicBezTo>
                <a:cubicBezTo>
                  <a:pt x="17" y="118"/>
                  <a:pt x="13" y="114"/>
                  <a:pt x="13" y="109"/>
                </a:cubicBezTo>
                <a:cubicBezTo>
                  <a:pt x="13" y="79"/>
                  <a:pt x="13" y="79"/>
                  <a:pt x="13" y="79"/>
                </a:cubicBezTo>
                <a:cubicBezTo>
                  <a:pt x="47" y="79"/>
                  <a:pt x="47" y="79"/>
                  <a:pt x="47" y="79"/>
                </a:cubicBezTo>
                <a:cubicBezTo>
                  <a:pt x="60" y="98"/>
                  <a:pt x="60" y="98"/>
                  <a:pt x="60" y="98"/>
                </a:cubicBezTo>
                <a:cubicBezTo>
                  <a:pt x="61" y="100"/>
                  <a:pt x="63" y="101"/>
                  <a:pt x="65" y="101"/>
                </a:cubicBezTo>
                <a:cubicBezTo>
                  <a:pt x="95" y="101"/>
                  <a:pt x="95" y="101"/>
                  <a:pt x="95" y="101"/>
                </a:cubicBezTo>
                <a:cubicBezTo>
                  <a:pt x="97" y="101"/>
                  <a:pt x="99" y="100"/>
                  <a:pt x="100" y="98"/>
                </a:cubicBezTo>
                <a:cubicBezTo>
                  <a:pt x="113" y="79"/>
                  <a:pt x="113" y="79"/>
                  <a:pt x="113" y="79"/>
                </a:cubicBezTo>
                <a:cubicBezTo>
                  <a:pt x="147" y="79"/>
                  <a:pt x="147" y="79"/>
                  <a:pt x="147" y="79"/>
                </a:cubicBezTo>
                <a:cubicBezTo>
                  <a:pt x="147" y="109"/>
                  <a:pt x="147" y="109"/>
                  <a:pt x="147" y="109"/>
                </a:cubicBezTo>
                <a:cubicBezTo>
                  <a:pt x="147" y="114"/>
                  <a:pt x="143" y="118"/>
                  <a:pt x="139" y="118"/>
                </a:cubicBezTo>
                <a:close/>
              </a:path>
            </a:pathLst>
          </a:custGeom>
          <a:solidFill>
            <a:srgbClr val="FFFFFF"/>
          </a:solidFill>
          <a:ln>
            <a:noFill/>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20" name="Freeform 46">
            <a:extLst>
              <a:ext uri="{FF2B5EF4-FFF2-40B4-BE49-F238E27FC236}">
                <a16:creationId xmlns:a16="http://schemas.microsoft.com/office/drawing/2014/main" id="{34ECBD7D-E9ED-4898-A771-3D2B0E7C3F16}"/>
              </a:ext>
            </a:extLst>
          </p:cNvPr>
          <p:cNvSpPr>
            <a:spLocks noEditPoints="1"/>
          </p:cNvSpPr>
          <p:nvPr/>
        </p:nvSpPr>
        <p:spPr bwMode="auto">
          <a:xfrm>
            <a:off x="6468310" y="2541081"/>
            <a:ext cx="270626" cy="230388"/>
          </a:xfrm>
          <a:custGeom>
            <a:avLst/>
            <a:gdLst>
              <a:gd name="T0" fmla="*/ 10210 w 160"/>
              <a:gd name="T1" fmla="*/ 206022 h 135"/>
              <a:gd name="T2" fmla="*/ 6806 w 160"/>
              <a:gd name="T3" fmla="*/ 206022 h 135"/>
              <a:gd name="T4" fmla="*/ 3403 w 160"/>
              <a:gd name="T5" fmla="*/ 202589 h 135"/>
              <a:gd name="T6" fmla="*/ 0 w 160"/>
              <a:gd name="T7" fmla="*/ 199155 h 135"/>
              <a:gd name="T8" fmla="*/ 0 w 160"/>
              <a:gd name="T9" fmla="*/ 192287 h 135"/>
              <a:gd name="T10" fmla="*/ 0 w 160"/>
              <a:gd name="T11" fmla="*/ 188854 h 135"/>
              <a:gd name="T12" fmla="*/ 20419 w 160"/>
              <a:gd name="T13" fmla="*/ 30903 h 135"/>
              <a:gd name="T14" fmla="*/ 44242 w 160"/>
              <a:gd name="T15" fmla="*/ 137348 h 135"/>
              <a:gd name="T16" fmla="*/ 197386 w 160"/>
              <a:gd name="T17" fmla="*/ 20602 h 135"/>
              <a:gd name="T18" fmla="*/ 486658 w 160"/>
              <a:gd name="T19" fmla="*/ 157950 h 135"/>
              <a:gd name="T20" fmla="*/ 445820 w 160"/>
              <a:gd name="T21" fmla="*/ 175119 h 135"/>
              <a:gd name="T22" fmla="*/ 142935 w 160"/>
              <a:gd name="T23" fmla="*/ 106445 h 135"/>
              <a:gd name="T24" fmla="*/ 78274 w 160"/>
              <a:gd name="T25" fmla="*/ 168251 h 135"/>
              <a:gd name="T26" fmla="*/ 180370 w 160"/>
              <a:gd name="T27" fmla="*/ 188854 h 135"/>
              <a:gd name="T28" fmla="*/ 20419 w 160"/>
              <a:gd name="T29" fmla="*/ 212890 h 135"/>
              <a:gd name="T30" fmla="*/ 17016 w 160"/>
              <a:gd name="T31" fmla="*/ 212890 h 135"/>
              <a:gd name="T32" fmla="*/ 13613 w 160"/>
              <a:gd name="T33" fmla="*/ 209456 h 135"/>
              <a:gd name="T34" fmla="*/ 544513 w 160"/>
              <a:gd name="T35" fmla="*/ 281564 h 135"/>
              <a:gd name="T36" fmla="*/ 544513 w 160"/>
              <a:gd name="T37" fmla="*/ 274696 h 135"/>
              <a:gd name="T38" fmla="*/ 541110 w 160"/>
              <a:gd name="T39" fmla="*/ 271263 h 135"/>
              <a:gd name="T40" fmla="*/ 541110 w 160"/>
              <a:gd name="T41" fmla="*/ 267829 h 135"/>
              <a:gd name="T42" fmla="*/ 537707 w 160"/>
              <a:gd name="T43" fmla="*/ 267829 h 135"/>
              <a:gd name="T44" fmla="*/ 534303 w 160"/>
              <a:gd name="T45" fmla="*/ 264395 h 135"/>
              <a:gd name="T46" fmla="*/ 530900 w 160"/>
              <a:gd name="T47" fmla="*/ 260961 h 135"/>
              <a:gd name="T48" fmla="*/ 527497 w 160"/>
              <a:gd name="T49" fmla="*/ 260961 h 135"/>
              <a:gd name="T50" fmla="*/ 524094 w 160"/>
              <a:gd name="T51" fmla="*/ 260961 h 135"/>
              <a:gd name="T52" fmla="*/ 384562 w 160"/>
              <a:gd name="T53" fmla="*/ 260961 h 135"/>
              <a:gd name="T54" fmla="*/ 384562 w 160"/>
              <a:gd name="T55" fmla="*/ 302166 h 135"/>
              <a:gd name="T56" fmla="*/ 401578 w 160"/>
              <a:gd name="T57" fmla="*/ 363973 h 135"/>
              <a:gd name="T58" fmla="*/ 272257 w 160"/>
              <a:gd name="T59" fmla="*/ 418912 h 135"/>
              <a:gd name="T60" fmla="*/ 142935 w 160"/>
              <a:gd name="T61" fmla="*/ 367406 h 135"/>
              <a:gd name="T62" fmla="*/ 71467 w 160"/>
              <a:gd name="T63" fmla="*/ 284997 h 135"/>
              <a:gd name="T64" fmla="*/ 112306 w 160"/>
              <a:gd name="T65" fmla="*/ 398310 h 135"/>
              <a:gd name="T66" fmla="*/ 272257 w 160"/>
              <a:gd name="T67" fmla="*/ 463550 h 135"/>
              <a:gd name="T68" fmla="*/ 500271 w 160"/>
              <a:gd name="T69" fmla="*/ 333069 h 135"/>
              <a:gd name="T70" fmla="*/ 524094 w 160"/>
              <a:gd name="T71" fmla="*/ 442948 h 135"/>
              <a:gd name="T72" fmla="*/ 544513 w 160"/>
              <a:gd name="T73" fmla="*/ 281564 h 135"/>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160" h="135">
                <a:moveTo>
                  <a:pt x="3" y="61"/>
                </a:moveTo>
                <a:cubicBezTo>
                  <a:pt x="3" y="61"/>
                  <a:pt x="3" y="60"/>
                  <a:pt x="3" y="60"/>
                </a:cubicBezTo>
                <a:cubicBezTo>
                  <a:pt x="2" y="60"/>
                  <a:pt x="2" y="60"/>
                  <a:pt x="2" y="60"/>
                </a:cubicBezTo>
                <a:cubicBezTo>
                  <a:pt x="2" y="60"/>
                  <a:pt x="2" y="60"/>
                  <a:pt x="2" y="60"/>
                </a:cubicBezTo>
                <a:cubicBezTo>
                  <a:pt x="2" y="60"/>
                  <a:pt x="2" y="59"/>
                  <a:pt x="1" y="59"/>
                </a:cubicBezTo>
                <a:cubicBezTo>
                  <a:pt x="1" y="59"/>
                  <a:pt x="1" y="59"/>
                  <a:pt x="1" y="59"/>
                </a:cubicBezTo>
                <a:cubicBezTo>
                  <a:pt x="1" y="59"/>
                  <a:pt x="1" y="58"/>
                  <a:pt x="1" y="58"/>
                </a:cubicBezTo>
                <a:cubicBezTo>
                  <a:pt x="1" y="58"/>
                  <a:pt x="1" y="58"/>
                  <a:pt x="0" y="58"/>
                </a:cubicBezTo>
                <a:cubicBezTo>
                  <a:pt x="0" y="57"/>
                  <a:pt x="0" y="57"/>
                  <a:pt x="0" y="57"/>
                </a:cubicBezTo>
                <a:cubicBezTo>
                  <a:pt x="0" y="57"/>
                  <a:pt x="0" y="57"/>
                  <a:pt x="0" y="56"/>
                </a:cubicBezTo>
                <a:cubicBezTo>
                  <a:pt x="0" y="56"/>
                  <a:pt x="0" y="56"/>
                  <a:pt x="0" y="56"/>
                </a:cubicBezTo>
                <a:cubicBezTo>
                  <a:pt x="0" y="56"/>
                  <a:pt x="0" y="55"/>
                  <a:pt x="0" y="55"/>
                </a:cubicBezTo>
                <a:cubicBezTo>
                  <a:pt x="0" y="15"/>
                  <a:pt x="0" y="15"/>
                  <a:pt x="0" y="15"/>
                </a:cubicBezTo>
                <a:cubicBezTo>
                  <a:pt x="0" y="12"/>
                  <a:pt x="3" y="9"/>
                  <a:pt x="6" y="9"/>
                </a:cubicBezTo>
                <a:cubicBezTo>
                  <a:pt x="10" y="9"/>
                  <a:pt x="13" y="12"/>
                  <a:pt x="13" y="15"/>
                </a:cubicBezTo>
                <a:cubicBezTo>
                  <a:pt x="13" y="40"/>
                  <a:pt x="13" y="40"/>
                  <a:pt x="13" y="40"/>
                </a:cubicBezTo>
                <a:cubicBezTo>
                  <a:pt x="33" y="21"/>
                  <a:pt x="33" y="21"/>
                  <a:pt x="33" y="21"/>
                </a:cubicBezTo>
                <a:cubicBezTo>
                  <a:pt x="40" y="15"/>
                  <a:pt x="49" y="9"/>
                  <a:pt x="58" y="6"/>
                </a:cubicBezTo>
                <a:cubicBezTo>
                  <a:pt x="75" y="0"/>
                  <a:pt x="93" y="1"/>
                  <a:pt x="109" y="9"/>
                </a:cubicBezTo>
                <a:cubicBezTo>
                  <a:pt x="125" y="16"/>
                  <a:pt x="137" y="30"/>
                  <a:pt x="143" y="46"/>
                </a:cubicBezTo>
                <a:cubicBezTo>
                  <a:pt x="144" y="50"/>
                  <a:pt x="142" y="53"/>
                  <a:pt x="139" y="55"/>
                </a:cubicBezTo>
                <a:cubicBezTo>
                  <a:pt x="136" y="56"/>
                  <a:pt x="132" y="54"/>
                  <a:pt x="131" y="51"/>
                </a:cubicBezTo>
                <a:cubicBezTo>
                  <a:pt x="121" y="23"/>
                  <a:pt x="90" y="8"/>
                  <a:pt x="62" y="18"/>
                </a:cubicBezTo>
                <a:cubicBezTo>
                  <a:pt x="55" y="21"/>
                  <a:pt x="48" y="25"/>
                  <a:pt x="42" y="31"/>
                </a:cubicBezTo>
                <a:cubicBezTo>
                  <a:pt x="42" y="31"/>
                  <a:pt x="42" y="31"/>
                  <a:pt x="42" y="31"/>
                </a:cubicBezTo>
                <a:cubicBezTo>
                  <a:pt x="23" y="49"/>
                  <a:pt x="23" y="49"/>
                  <a:pt x="23" y="49"/>
                </a:cubicBezTo>
                <a:cubicBezTo>
                  <a:pt x="47" y="49"/>
                  <a:pt x="47" y="49"/>
                  <a:pt x="47" y="49"/>
                </a:cubicBezTo>
                <a:cubicBezTo>
                  <a:pt x="50" y="49"/>
                  <a:pt x="53" y="52"/>
                  <a:pt x="53" y="55"/>
                </a:cubicBezTo>
                <a:cubicBezTo>
                  <a:pt x="53" y="59"/>
                  <a:pt x="50" y="62"/>
                  <a:pt x="47" y="62"/>
                </a:cubicBezTo>
                <a:cubicBezTo>
                  <a:pt x="6" y="62"/>
                  <a:pt x="6" y="62"/>
                  <a:pt x="6" y="62"/>
                </a:cubicBezTo>
                <a:cubicBezTo>
                  <a:pt x="6" y="62"/>
                  <a:pt x="6" y="62"/>
                  <a:pt x="6" y="62"/>
                </a:cubicBezTo>
                <a:cubicBezTo>
                  <a:pt x="6" y="62"/>
                  <a:pt x="6" y="62"/>
                  <a:pt x="5" y="62"/>
                </a:cubicBezTo>
                <a:cubicBezTo>
                  <a:pt x="5" y="62"/>
                  <a:pt x="4" y="61"/>
                  <a:pt x="4" y="61"/>
                </a:cubicBezTo>
                <a:cubicBezTo>
                  <a:pt x="4" y="61"/>
                  <a:pt x="4" y="61"/>
                  <a:pt x="4" y="61"/>
                </a:cubicBezTo>
                <a:cubicBezTo>
                  <a:pt x="3" y="61"/>
                  <a:pt x="3" y="61"/>
                  <a:pt x="3" y="61"/>
                </a:cubicBezTo>
                <a:close/>
                <a:moveTo>
                  <a:pt x="160" y="82"/>
                </a:moveTo>
                <a:cubicBezTo>
                  <a:pt x="160" y="81"/>
                  <a:pt x="160" y="81"/>
                  <a:pt x="160" y="81"/>
                </a:cubicBezTo>
                <a:cubicBezTo>
                  <a:pt x="160" y="81"/>
                  <a:pt x="160" y="80"/>
                  <a:pt x="160" y="80"/>
                </a:cubicBezTo>
                <a:cubicBezTo>
                  <a:pt x="160" y="80"/>
                  <a:pt x="160" y="80"/>
                  <a:pt x="160" y="80"/>
                </a:cubicBezTo>
                <a:cubicBezTo>
                  <a:pt x="159" y="79"/>
                  <a:pt x="159" y="79"/>
                  <a:pt x="159" y="79"/>
                </a:cubicBezTo>
                <a:cubicBezTo>
                  <a:pt x="159" y="79"/>
                  <a:pt x="159" y="79"/>
                  <a:pt x="159" y="79"/>
                </a:cubicBezTo>
                <a:cubicBezTo>
                  <a:pt x="159" y="78"/>
                  <a:pt x="159" y="78"/>
                  <a:pt x="159" y="78"/>
                </a:cubicBezTo>
                <a:cubicBezTo>
                  <a:pt x="158" y="78"/>
                  <a:pt x="158" y="78"/>
                  <a:pt x="158" y="78"/>
                </a:cubicBezTo>
                <a:cubicBezTo>
                  <a:pt x="158" y="78"/>
                  <a:pt x="158" y="78"/>
                  <a:pt x="158" y="78"/>
                </a:cubicBezTo>
                <a:cubicBezTo>
                  <a:pt x="158" y="77"/>
                  <a:pt x="158" y="77"/>
                  <a:pt x="158" y="77"/>
                </a:cubicBezTo>
                <a:cubicBezTo>
                  <a:pt x="157" y="77"/>
                  <a:pt x="157" y="77"/>
                  <a:pt x="157" y="77"/>
                </a:cubicBezTo>
                <a:cubicBezTo>
                  <a:pt x="157" y="77"/>
                  <a:pt x="157" y="77"/>
                  <a:pt x="157" y="76"/>
                </a:cubicBezTo>
                <a:cubicBezTo>
                  <a:pt x="156" y="76"/>
                  <a:pt x="156" y="76"/>
                  <a:pt x="156" y="76"/>
                </a:cubicBezTo>
                <a:cubicBezTo>
                  <a:pt x="156" y="76"/>
                  <a:pt x="156" y="76"/>
                  <a:pt x="156" y="76"/>
                </a:cubicBezTo>
                <a:cubicBezTo>
                  <a:pt x="155" y="76"/>
                  <a:pt x="155" y="76"/>
                  <a:pt x="155" y="76"/>
                </a:cubicBezTo>
                <a:cubicBezTo>
                  <a:pt x="155" y="76"/>
                  <a:pt x="155" y="76"/>
                  <a:pt x="154" y="76"/>
                </a:cubicBezTo>
                <a:cubicBezTo>
                  <a:pt x="154" y="76"/>
                  <a:pt x="154" y="76"/>
                  <a:pt x="154" y="76"/>
                </a:cubicBezTo>
                <a:cubicBezTo>
                  <a:pt x="154" y="76"/>
                  <a:pt x="154" y="76"/>
                  <a:pt x="154" y="76"/>
                </a:cubicBezTo>
                <a:cubicBezTo>
                  <a:pt x="113" y="76"/>
                  <a:pt x="113" y="76"/>
                  <a:pt x="113" y="76"/>
                </a:cubicBezTo>
                <a:cubicBezTo>
                  <a:pt x="110" y="76"/>
                  <a:pt x="107" y="78"/>
                  <a:pt x="107" y="82"/>
                </a:cubicBezTo>
                <a:cubicBezTo>
                  <a:pt x="107" y="86"/>
                  <a:pt x="110" y="88"/>
                  <a:pt x="113" y="88"/>
                </a:cubicBezTo>
                <a:cubicBezTo>
                  <a:pt x="137" y="88"/>
                  <a:pt x="137" y="88"/>
                  <a:pt x="137" y="88"/>
                </a:cubicBezTo>
                <a:cubicBezTo>
                  <a:pt x="118" y="106"/>
                  <a:pt x="118" y="106"/>
                  <a:pt x="118" y="106"/>
                </a:cubicBezTo>
                <a:cubicBezTo>
                  <a:pt x="118" y="107"/>
                  <a:pt x="118" y="107"/>
                  <a:pt x="118" y="107"/>
                </a:cubicBezTo>
                <a:cubicBezTo>
                  <a:pt x="108" y="117"/>
                  <a:pt x="94" y="122"/>
                  <a:pt x="80" y="122"/>
                </a:cubicBezTo>
                <a:cubicBezTo>
                  <a:pt x="80" y="122"/>
                  <a:pt x="80" y="122"/>
                  <a:pt x="80" y="122"/>
                </a:cubicBezTo>
                <a:cubicBezTo>
                  <a:pt x="66" y="122"/>
                  <a:pt x="52" y="117"/>
                  <a:pt x="42" y="107"/>
                </a:cubicBezTo>
                <a:cubicBezTo>
                  <a:pt x="36" y="101"/>
                  <a:pt x="32" y="94"/>
                  <a:pt x="29" y="87"/>
                </a:cubicBezTo>
                <a:cubicBezTo>
                  <a:pt x="28" y="83"/>
                  <a:pt x="24" y="81"/>
                  <a:pt x="21" y="83"/>
                </a:cubicBezTo>
                <a:cubicBezTo>
                  <a:pt x="18" y="84"/>
                  <a:pt x="16" y="87"/>
                  <a:pt x="17" y="91"/>
                </a:cubicBezTo>
                <a:cubicBezTo>
                  <a:pt x="20" y="100"/>
                  <a:pt x="26" y="109"/>
                  <a:pt x="33" y="116"/>
                </a:cubicBezTo>
                <a:cubicBezTo>
                  <a:pt x="45" y="128"/>
                  <a:pt x="62" y="135"/>
                  <a:pt x="80" y="135"/>
                </a:cubicBezTo>
                <a:cubicBezTo>
                  <a:pt x="80" y="135"/>
                  <a:pt x="80" y="135"/>
                  <a:pt x="80" y="135"/>
                </a:cubicBezTo>
                <a:cubicBezTo>
                  <a:pt x="98" y="135"/>
                  <a:pt x="114" y="128"/>
                  <a:pt x="127" y="116"/>
                </a:cubicBezTo>
                <a:cubicBezTo>
                  <a:pt x="147" y="97"/>
                  <a:pt x="147" y="97"/>
                  <a:pt x="147" y="97"/>
                </a:cubicBezTo>
                <a:cubicBezTo>
                  <a:pt x="147" y="122"/>
                  <a:pt x="147" y="122"/>
                  <a:pt x="147" y="122"/>
                </a:cubicBezTo>
                <a:cubicBezTo>
                  <a:pt x="147" y="126"/>
                  <a:pt x="150" y="129"/>
                  <a:pt x="154" y="129"/>
                </a:cubicBezTo>
                <a:cubicBezTo>
                  <a:pt x="157" y="129"/>
                  <a:pt x="160" y="126"/>
                  <a:pt x="160" y="122"/>
                </a:cubicBezTo>
                <a:cubicBezTo>
                  <a:pt x="160" y="82"/>
                  <a:pt x="160" y="82"/>
                  <a:pt x="160" y="82"/>
                </a:cubicBezTo>
                <a:cubicBezTo>
                  <a:pt x="160" y="82"/>
                  <a:pt x="160" y="82"/>
                  <a:pt x="160" y="82"/>
                </a:cubicBezTo>
                <a:close/>
              </a:path>
            </a:pathLst>
          </a:custGeom>
          <a:solidFill>
            <a:srgbClr val="FFFFFF"/>
          </a:solidFill>
          <a:ln>
            <a:noFill/>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21" name="TextBox 44">
            <a:extLst>
              <a:ext uri="{FF2B5EF4-FFF2-40B4-BE49-F238E27FC236}">
                <a16:creationId xmlns:a16="http://schemas.microsoft.com/office/drawing/2014/main" id="{C263D031-67D7-4BFD-B919-7E37746F5C82}"/>
              </a:ext>
            </a:extLst>
          </p:cNvPr>
          <p:cNvSpPr txBox="1"/>
          <p:nvPr/>
        </p:nvSpPr>
        <p:spPr>
          <a:xfrm>
            <a:off x="5366006" y="4162163"/>
            <a:ext cx="1459989" cy="276999"/>
          </a:xfrm>
          <a:prstGeom prst="rect">
            <a:avLst/>
          </a:prstGeom>
          <a:noFill/>
        </p:spPr>
        <p:txBody>
          <a:bodyPr wrap="square" lIns="0" tIns="0" rIns="0" bIns="0" rtlCol="0">
            <a:spAutoFit/>
          </a:bodyPr>
          <a:lstStyle/>
          <a:p>
            <a:pPr marL="0" marR="0" lvl="0" indent="0" algn="ctr" defTabSz="457200" rtl="0" eaLnBrk="1" fontAlgn="base" latinLnBrk="0" hangingPunct="1">
              <a:lnSpc>
                <a:spcPct val="100000"/>
              </a:lnSpc>
              <a:spcBef>
                <a:spcPts val="1000"/>
              </a:spcBef>
              <a:spcAft>
                <a:spcPts val="0"/>
              </a:spcAft>
              <a:buClrTx/>
              <a:buSzTx/>
              <a:buFontTx/>
              <a:buNone/>
              <a:tabLst/>
              <a:defRPr/>
            </a:pPr>
            <a:r>
              <a:rPr kumimoji="0" lang="en-US" sz="1800" b="0" i="0" u="none" strike="noStrike" kern="1200" cap="none" spc="0" normalizeH="0" baseline="0" noProof="0" dirty="0">
                <a:ln>
                  <a:noFill/>
                </a:ln>
                <a:solidFill>
                  <a:prstClr val="black">
                    <a:lumMod val="75000"/>
                    <a:lumOff val="25000"/>
                  </a:prstClr>
                </a:solidFill>
                <a:effectLst/>
                <a:uLnTx/>
                <a:uFillTx/>
                <a:latin typeface="HarmonyOS Sans SC Black"/>
                <a:ea typeface="+mj-ea"/>
                <a:cs typeface="+mn-cs"/>
              </a:rPr>
              <a:t>Your title</a:t>
            </a:r>
          </a:p>
        </p:txBody>
      </p:sp>
      <p:sp>
        <p:nvSpPr>
          <p:cNvPr id="22" name="Freeform 11">
            <a:extLst>
              <a:ext uri="{FF2B5EF4-FFF2-40B4-BE49-F238E27FC236}">
                <a16:creationId xmlns:a16="http://schemas.microsoft.com/office/drawing/2014/main" id="{5CDF3D4C-21A9-4D90-B969-3BDEE9940D2C}"/>
              </a:ext>
            </a:extLst>
          </p:cNvPr>
          <p:cNvSpPr>
            <a:spLocks noEditPoints="1"/>
          </p:cNvSpPr>
          <p:nvPr/>
        </p:nvSpPr>
        <p:spPr bwMode="auto">
          <a:xfrm>
            <a:off x="5842001" y="3475179"/>
            <a:ext cx="569268" cy="585712"/>
          </a:xfrm>
          <a:custGeom>
            <a:avLst/>
            <a:gdLst>
              <a:gd name="T0" fmla="*/ 1807 w 1915"/>
              <a:gd name="T1" fmla="*/ 895 h 1972"/>
              <a:gd name="T2" fmla="*/ 1776 w 1915"/>
              <a:gd name="T3" fmla="*/ 587 h 1972"/>
              <a:gd name="T4" fmla="*/ 1591 w 1915"/>
              <a:gd name="T5" fmla="*/ 413 h 1972"/>
              <a:gd name="T6" fmla="*/ 1385 w 1915"/>
              <a:gd name="T7" fmla="*/ 182 h 1972"/>
              <a:gd name="T8" fmla="*/ 1133 w 1915"/>
              <a:gd name="T9" fmla="*/ 150 h 1972"/>
              <a:gd name="T10" fmla="*/ 830 w 1915"/>
              <a:gd name="T11" fmla="*/ 84 h 1972"/>
              <a:gd name="T12" fmla="*/ 608 w 1915"/>
              <a:gd name="T13" fmla="*/ 206 h 1972"/>
              <a:gd name="T14" fmla="*/ 325 w 1915"/>
              <a:gd name="T15" fmla="*/ 330 h 1972"/>
              <a:gd name="T16" fmla="*/ 217 w 1915"/>
              <a:gd name="T17" fmla="*/ 560 h 1972"/>
              <a:gd name="T18" fmla="*/ 60 w 1915"/>
              <a:gd name="T19" fmla="*/ 827 h 1972"/>
              <a:gd name="T20" fmla="*/ 108 w 1915"/>
              <a:gd name="T21" fmla="*/ 1077 h 1972"/>
              <a:gd name="T22" fmla="*/ 138 w 1915"/>
              <a:gd name="T23" fmla="*/ 1385 h 1972"/>
              <a:gd name="T24" fmla="*/ 323 w 1915"/>
              <a:gd name="T25" fmla="*/ 1559 h 1972"/>
              <a:gd name="T26" fmla="*/ 529 w 1915"/>
              <a:gd name="T27" fmla="*/ 1790 h 1972"/>
              <a:gd name="T28" fmla="*/ 781 w 1915"/>
              <a:gd name="T29" fmla="*/ 1822 h 1972"/>
              <a:gd name="T30" fmla="*/ 1084 w 1915"/>
              <a:gd name="T31" fmla="*/ 1888 h 1972"/>
              <a:gd name="T32" fmla="*/ 1306 w 1915"/>
              <a:gd name="T33" fmla="*/ 1766 h 1972"/>
              <a:gd name="T34" fmla="*/ 1589 w 1915"/>
              <a:gd name="T35" fmla="*/ 1642 h 1972"/>
              <a:gd name="T36" fmla="*/ 1697 w 1915"/>
              <a:gd name="T37" fmla="*/ 1412 h 1972"/>
              <a:gd name="T38" fmla="*/ 1854 w 1915"/>
              <a:gd name="T39" fmla="*/ 1145 h 1972"/>
              <a:gd name="T40" fmla="*/ 1163 w 1915"/>
              <a:gd name="T41" fmla="*/ 1269 h 1972"/>
              <a:gd name="T42" fmla="*/ 1014 w 1915"/>
              <a:gd name="T43" fmla="*/ 1384 h 1972"/>
              <a:gd name="T44" fmla="*/ 986 w 1915"/>
              <a:gd name="T45" fmla="*/ 1477 h 1972"/>
              <a:gd name="T46" fmla="*/ 888 w 1915"/>
              <a:gd name="T47" fmla="*/ 1446 h 1972"/>
              <a:gd name="T48" fmla="*/ 853 w 1915"/>
              <a:gd name="T49" fmla="*/ 1358 h 1972"/>
              <a:gd name="T50" fmla="*/ 707 w 1915"/>
              <a:gd name="T51" fmla="*/ 1270 h 1972"/>
              <a:gd name="T52" fmla="*/ 768 w 1915"/>
              <a:gd name="T53" fmla="*/ 1182 h 1972"/>
              <a:gd name="T54" fmla="*/ 992 w 1915"/>
              <a:gd name="T55" fmla="*/ 1210 h 1972"/>
              <a:gd name="T56" fmla="*/ 958 w 1915"/>
              <a:gd name="T57" fmla="*/ 1060 h 1972"/>
              <a:gd name="T58" fmla="*/ 709 w 1915"/>
              <a:gd name="T59" fmla="*/ 811 h 1972"/>
              <a:gd name="T60" fmla="*/ 897 w 1915"/>
              <a:gd name="T61" fmla="*/ 569 h 1972"/>
              <a:gd name="T62" fmla="*/ 931 w 1915"/>
              <a:gd name="T63" fmla="*/ 495 h 1972"/>
              <a:gd name="T64" fmla="*/ 1020 w 1915"/>
              <a:gd name="T65" fmla="*/ 556 h 1972"/>
              <a:gd name="T66" fmla="*/ 1159 w 1915"/>
              <a:gd name="T67" fmla="*/ 635 h 1972"/>
              <a:gd name="T68" fmla="*/ 1154 w 1915"/>
              <a:gd name="T69" fmla="*/ 752 h 1972"/>
              <a:gd name="T70" fmla="*/ 962 w 1915"/>
              <a:gd name="T71" fmla="*/ 739 h 1972"/>
              <a:gd name="T72" fmla="*/ 907 w 1915"/>
              <a:gd name="T73" fmla="*/ 849 h 1972"/>
              <a:gd name="T74" fmla="*/ 1094 w 1915"/>
              <a:gd name="T75" fmla="*/ 941 h 19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915" h="1972">
                <a:moveTo>
                  <a:pt x="1807" y="1077"/>
                </a:moveTo>
                <a:cubicBezTo>
                  <a:pt x="1768" y="1022"/>
                  <a:pt x="1768" y="950"/>
                  <a:pt x="1807" y="895"/>
                </a:cubicBezTo>
                <a:cubicBezTo>
                  <a:pt x="1854" y="827"/>
                  <a:pt x="1854" y="827"/>
                  <a:pt x="1854" y="827"/>
                </a:cubicBezTo>
                <a:cubicBezTo>
                  <a:pt x="1915" y="741"/>
                  <a:pt x="1876" y="621"/>
                  <a:pt x="1776" y="587"/>
                </a:cubicBezTo>
                <a:cubicBezTo>
                  <a:pt x="1698" y="560"/>
                  <a:pt x="1698" y="560"/>
                  <a:pt x="1698" y="560"/>
                </a:cubicBezTo>
                <a:cubicBezTo>
                  <a:pt x="1635" y="538"/>
                  <a:pt x="1592" y="480"/>
                  <a:pt x="1591" y="413"/>
                </a:cubicBezTo>
                <a:cubicBezTo>
                  <a:pt x="1590" y="330"/>
                  <a:pt x="1590" y="330"/>
                  <a:pt x="1590" y="330"/>
                </a:cubicBezTo>
                <a:cubicBezTo>
                  <a:pt x="1588" y="225"/>
                  <a:pt x="1486" y="151"/>
                  <a:pt x="1385" y="182"/>
                </a:cubicBezTo>
                <a:cubicBezTo>
                  <a:pt x="1306" y="206"/>
                  <a:pt x="1306" y="206"/>
                  <a:pt x="1306" y="206"/>
                </a:cubicBezTo>
                <a:cubicBezTo>
                  <a:pt x="1242" y="226"/>
                  <a:pt x="1173" y="203"/>
                  <a:pt x="1133" y="150"/>
                </a:cubicBezTo>
                <a:cubicBezTo>
                  <a:pt x="1083" y="84"/>
                  <a:pt x="1083" y="84"/>
                  <a:pt x="1083" y="84"/>
                </a:cubicBezTo>
                <a:cubicBezTo>
                  <a:pt x="1020" y="0"/>
                  <a:pt x="893" y="0"/>
                  <a:pt x="830" y="84"/>
                </a:cubicBezTo>
                <a:cubicBezTo>
                  <a:pt x="781" y="150"/>
                  <a:pt x="781" y="150"/>
                  <a:pt x="781" y="150"/>
                </a:cubicBezTo>
                <a:cubicBezTo>
                  <a:pt x="741" y="203"/>
                  <a:pt x="672" y="226"/>
                  <a:pt x="608" y="206"/>
                </a:cubicBezTo>
                <a:cubicBezTo>
                  <a:pt x="529" y="182"/>
                  <a:pt x="529" y="182"/>
                  <a:pt x="529" y="182"/>
                </a:cubicBezTo>
                <a:cubicBezTo>
                  <a:pt x="429" y="151"/>
                  <a:pt x="326" y="225"/>
                  <a:pt x="325" y="330"/>
                </a:cubicBezTo>
                <a:cubicBezTo>
                  <a:pt x="323" y="413"/>
                  <a:pt x="323" y="413"/>
                  <a:pt x="323" y="413"/>
                </a:cubicBezTo>
                <a:cubicBezTo>
                  <a:pt x="322" y="480"/>
                  <a:pt x="280" y="538"/>
                  <a:pt x="217" y="560"/>
                </a:cubicBezTo>
                <a:cubicBezTo>
                  <a:pt x="138" y="587"/>
                  <a:pt x="138" y="587"/>
                  <a:pt x="138" y="587"/>
                </a:cubicBezTo>
                <a:cubicBezTo>
                  <a:pt x="39" y="621"/>
                  <a:pt x="0" y="741"/>
                  <a:pt x="60" y="827"/>
                </a:cubicBezTo>
                <a:cubicBezTo>
                  <a:pt x="108" y="895"/>
                  <a:pt x="108" y="895"/>
                  <a:pt x="108" y="895"/>
                </a:cubicBezTo>
                <a:cubicBezTo>
                  <a:pt x="146" y="950"/>
                  <a:pt x="146" y="1022"/>
                  <a:pt x="108" y="1077"/>
                </a:cubicBezTo>
                <a:cubicBezTo>
                  <a:pt x="60" y="1145"/>
                  <a:pt x="60" y="1145"/>
                  <a:pt x="60" y="1145"/>
                </a:cubicBezTo>
                <a:cubicBezTo>
                  <a:pt x="0" y="1231"/>
                  <a:pt x="39" y="1351"/>
                  <a:pt x="138" y="1385"/>
                </a:cubicBezTo>
                <a:cubicBezTo>
                  <a:pt x="217" y="1412"/>
                  <a:pt x="217" y="1412"/>
                  <a:pt x="217" y="1412"/>
                </a:cubicBezTo>
                <a:cubicBezTo>
                  <a:pt x="279" y="1434"/>
                  <a:pt x="322" y="1492"/>
                  <a:pt x="323" y="1559"/>
                </a:cubicBezTo>
                <a:cubicBezTo>
                  <a:pt x="325" y="1642"/>
                  <a:pt x="325" y="1642"/>
                  <a:pt x="325" y="1642"/>
                </a:cubicBezTo>
                <a:cubicBezTo>
                  <a:pt x="326" y="1747"/>
                  <a:pt x="429" y="1821"/>
                  <a:pt x="529" y="1790"/>
                </a:cubicBezTo>
                <a:cubicBezTo>
                  <a:pt x="608" y="1766"/>
                  <a:pt x="608" y="1766"/>
                  <a:pt x="608" y="1766"/>
                </a:cubicBezTo>
                <a:cubicBezTo>
                  <a:pt x="672" y="1746"/>
                  <a:pt x="741" y="1768"/>
                  <a:pt x="781" y="1822"/>
                </a:cubicBezTo>
                <a:cubicBezTo>
                  <a:pt x="831" y="1888"/>
                  <a:pt x="831" y="1888"/>
                  <a:pt x="831" y="1888"/>
                </a:cubicBezTo>
                <a:cubicBezTo>
                  <a:pt x="894" y="1972"/>
                  <a:pt x="1021" y="1972"/>
                  <a:pt x="1084" y="1888"/>
                </a:cubicBezTo>
                <a:cubicBezTo>
                  <a:pt x="1133" y="1822"/>
                  <a:pt x="1133" y="1822"/>
                  <a:pt x="1133" y="1822"/>
                </a:cubicBezTo>
                <a:cubicBezTo>
                  <a:pt x="1173" y="1769"/>
                  <a:pt x="1242" y="1746"/>
                  <a:pt x="1306" y="1766"/>
                </a:cubicBezTo>
                <a:cubicBezTo>
                  <a:pt x="1385" y="1790"/>
                  <a:pt x="1385" y="1790"/>
                  <a:pt x="1385" y="1790"/>
                </a:cubicBezTo>
                <a:cubicBezTo>
                  <a:pt x="1485" y="1821"/>
                  <a:pt x="1588" y="1747"/>
                  <a:pt x="1589" y="1642"/>
                </a:cubicBezTo>
                <a:cubicBezTo>
                  <a:pt x="1591" y="1559"/>
                  <a:pt x="1591" y="1559"/>
                  <a:pt x="1591" y="1559"/>
                </a:cubicBezTo>
                <a:cubicBezTo>
                  <a:pt x="1592" y="1492"/>
                  <a:pt x="1634" y="1434"/>
                  <a:pt x="1697" y="1412"/>
                </a:cubicBezTo>
                <a:cubicBezTo>
                  <a:pt x="1776" y="1385"/>
                  <a:pt x="1776" y="1385"/>
                  <a:pt x="1776" y="1385"/>
                </a:cubicBezTo>
                <a:cubicBezTo>
                  <a:pt x="1875" y="1351"/>
                  <a:pt x="1914" y="1231"/>
                  <a:pt x="1854" y="1145"/>
                </a:cubicBezTo>
                <a:lnTo>
                  <a:pt x="1807" y="1077"/>
                </a:lnTo>
                <a:close/>
                <a:moveTo>
                  <a:pt x="1163" y="1269"/>
                </a:moveTo>
                <a:cubicBezTo>
                  <a:pt x="1132" y="1307"/>
                  <a:pt x="1091" y="1332"/>
                  <a:pt x="1043" y="1346"/>
                </a:cubicBezTo>
                <a:cubicBezTo>
                  <a:pt x="1023" y="1351"/>
                  <a:pt x="1013" y="1362"/>
                  <a:pt x="1014" y="1384"/>
                </a:cubicBezTo>
                <a:cubicBezTo>
                  <a:pt x="1015" y="1405"/>
                  <a:pt x="1014" y="1426"/>
                  <a:pt x="1014" y="1447"/>
                </a:cubicBezTo>
                <a:cubicBezTo>
                  <a:pt x="1014" y="1466"/>
                  <a:pt x="1005" y="1476"/>
                  <a:pt x="986" y="1477"/>
                </a:cubicBezTo>
                <a:cubicBezTo>
                  <a:pt x="963" y="1477"/>
                  <a:pt x="940" y="1477"/>
                  <a:pt x="917" y="1477"/>
                </a:cubicBezTo>
                <a:cubicBezTo>
                  <a:pt x="897" y="1476"/>
                  <a:pt x="888" y="1465"/>
                  <a:pt x="888" y="1446"/>
                </a:cubicBezTo>
                <a:cubicBezTo>
                  <a:pt x="888" y="1430"/>
                  <a:pt x="887" y="1415"/>
                  <a:pt x="887" y="1399"/>
                </a:cubicBezTo>
                <a:cubicBezTo>
                  <a:pt x="887" y="1365"/>
                  <a:pt x="886" y="1364"/>
                  <a:pt x="853" y="1358"/>
                </a:cubicBezTo>
                <a:cubicBezTo>
                  <a:pt x="811" y="1352"/>
                  <a:pt x="770" y="1342"/>
                  <a:pt x="731" y="1324"/>
                </a:cubicBezTo>
                <a:cubicBezTo>
                  <a:pt x="701" y="1309"/>
                  <a:pt x="698" y="1301"/>
                  <a:pt x="707" y="1270"/>
                </a:cubicBezTo>
                <a:cubicBezTo>
                  <a:pt x="713" y="1246"/>
                  <a:pt x="719" y="1222"/>
                  <a:pt x="727" y="1199"/>
                </a:cubicBezTo>
                <a:cubicBezTo>
                  <a:pt x="735" y="1172"/>
                  <a:pt x="743" y="1169"/>
                  <a:pt x="768" y="1182"/>
                </a:cubicBezTo>
                <a:cubicBezTo>
                  <a:pt x="810" y="1204"/>
                  <a:pt x="855" y="1216"/>
                  <a:pt x="903" y="1222"/>
                </a:cubicBezTo>
                <a:cubicBezTo>
                  <a:pt x="933" y="1226"/>
                  <a:pt x="963" y="1223"/>
                  <a:pt x="992" y="1210"/>
                </a:cubicBezTo>
                <a:cubicBezTo>
                  <a:pt x="1045" y="1187"/>
                  <a:pt x="1053" y="1126"/>
                  <a:pt x="1008" y="1090"/>
                </a:cubicBezTo>
                <a:cubicBezTo>
                  <a:pt x="993" y="1077"/>
                  <a:pt x="976" y="1068"/>
                  <a:pt x="958" y="1060"/>
                </a:cubicBezTo>
                <a:cubicBezTo>
                  <a:pt x="911" y="1040"/>
                  <a:pt x="863" y="1024"/>
                  <a:pt x="820" y="998"/>
                </a:cubicBezTo>
                <a:cubicBezTo>
                  <a:pt x="749" y="956"/>
                  <a:pt x="704" y="897"/>
                  <a:pt x="709" y="811"/>
                </a:cubicBezTo>
                <a:cubicBezTo>
                  <a:pt x="715" y="714"/>
                  <a:pt x="771" y="653"/>
                  <a:pt x="860" y="620"/>
                </a:cubicBezTo>
                <a:cubicBezTo>
                  <a:pt x="897" y="607"/>
                  <a:pt x="897" y="608"/>
                  <a:pt x="897" y="569"/>
                </a:cubicBezTo>
                <a:cubicBezTo>
                  <a:pt x="897" y="556"/>
                  <a:pt x="897" y="543"/>
                  <a:pt x="897" y="530"/>
                </a:cubicBezTo>
                <a:cubicBezTo>
                  <a:pt x="898" y="500"/>
                  <a:pt x="903" y="496"/>
                  <a:pt x="931" y="495"/>
                </a:cubicBezTo>
                <a:cubicBezTo>
                  <a:pt x="940" y="494"/>
                  <a:pt x="949" y="495"/>
                  <a:pt x="958" y="495"/>
                </a:cubicBezTo>
                <a:cubicBezTo>
                  <a:pt x="1020" y="495"/>
                  <a:pt x="1020" y="495"/>
                  <a:pt x="1020" y="556"/>
                </a:cubicBezTo>
                <a:cubicBezTo>
                  <a:pt x="1020" y="600"/>
                  <a:pt x="1020" y="600"/>
                  <a:pt x="1064" y="607"/>
                </a:cubicBezTo>
                <a:cubicBezTo>
                  <a:pt x="1097" y="612"/>
                  <a:pt x="1129" y="622"/>
                  <a:pt x="1159" y="635"/>
                </a:cubicBezTo>
                <a:cubicBezTo>
                  <a:pt x="1176" y="643"/>
                  <a:pt x="1183" y="654"/>
                  <a:pt x="1177" y="672"/>
                </a:cubicBezTo>
                <a:cubicBezTo>
                  <a:pt x="1170" y="699"/>
                  <a:pt x="1163" y="726"/>
                  <a:pt x="1154" y="752"/>
                </a:cubicBezTo>
                <a:cubicBezTo>
                  <a:pt x="1146" y="777"/>
                  <a:pt x="1138" y="780"/>
                  <a:pt x="1114" y="769"/>
                </a:cubicBezTo>
                <a:cubicBezTo>
                  <a:pt x="1066" y="746"/>
                  <a:pt x="1015" y="736"/>
                  <a:pt x="962" y="739"/>
                </a:cubicBezTo>
                <a:cubicBezTo>
                  <a:pt x="948" y="740"/>
                  <a:pt x="935" y="742"/>
                  <a:pt x="922" y="747"/>
                </a:cubicBezTo>
                <a:cubicBezTo>
                  <a:pt x="876" y="767"/>
                  <a:pt x="869" y="818"/>
                  <a:pt x="907" y="849"/>
                </a:cubicBezTo>
                <a:cubicBezTo>
                  <a:pt x="927" y="865"/>
                  <a:pt x="950" y="876"/>
                  <a:pt x="973" y="886"/>
                </a:cubicBezTo>
                <a:cubicBezTo>
                  <a:pt x="1014" y="903"/>
                  <a:pt x="1055" y="919"/>
                  <a:pt x="1094" y="941"/>
                </a:cubicBezTo>
                <a:cubicBezTo>
                  <a:pt x="1217" y="1009"/>
                  <a:pt x="1250" y="1164"/>
                  <a:pt x="1163" y="1269"/>
                </a:cubicBezTo>
                <a:close/>
              </a:path>
            </a:pathLst>
          </a:custGeom>
          <a:gradFill>
            <a:gsLst>
              <a:gs pos="64000">
                <a:schemeClr val="accent1"/>
              </a:gs>
              <a:gs pos="31000">
                <a:schemeClr val="accent1">
                  <a:lumMod val="60000"/>
                  <a:lumOff val="40000"/>
                </a:schemeClr>
              </a:gs>
              <a:gs pos="0">
                <a:schemeClr val="accent1">
                  <a:lumMod val="40000"/>
                  <a:lumOff val="60000"/>
                </a:schemeClr>
              </a:gs>
            </a:gsLst>
            <a:lin ang="0" scaled="1"/>
          </a:gra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23" name="文本框 22">
            <a:extLst>
              <a:ext uri="{FF2B5EF4-FFF2-40B4-BE49-F238E27FC236}">
                <a16:creationId xmlns:a16="http://schemas.microsoft.com/office/drawing/2014/main" id="{ACAB35CD-A6F3-4B2E-9150-5651B90F8145}"/>
              </a:ext>
            </a:extLst>
          </p:cNvPr>
          <p:cNvSpPr txBox="1"/>
          <p:nvPr/>
        </p:nvSpPr>
        <p:spPr>
          <a:xfrm>
            <a:off x="4449556" y="918105"/>
            <a:ext cx="3292889" cy="52322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2800" b="0" i="0" u="none" strike="noStrike" kern="1200" cap="none" spc="0" normalizeH="0" baseline="0" noProof="0" dirty="0">
                <a:ln>
                  <a:noFill/>
                </a:ln>
                <a:solidFill>
                  <a:prstClr val="black"/>
                </a:solidFill>
                <a:effectLst/>
                <a:uLnTx/>
                <a:uFillTx/>
                <a:latin typeface="HarmonyOS Sans Black"/>
                <a:ea typeface="+mj-ea"/>
                <a:cs typeface="+mn-cs"/>
              </a:rPr>
              <a:t>Circle </a:t>
            </a:r>
            <a:r>
              <a:rPr kumimoji="0" lang="en-US" altLang="zh-CN" sz="2800" b="0" i="0" u="none" strike="noStrike" kern="1200" cap="none" spc="0" normalizeH="0" baseline="0" noProof="0" dirty="0">
                <a:ln>
                  <a:noFill/>
                </a:ln>
                <a:solidFill>
                  <a:schemeClr val="accent1"/>
                </a:solidFill>
                <a:effectLst/>
                <a:uLnTx/>
                <a:uFillTx/>
                <a:latin typeface="HarmonyOS Sans Black"/>
                <a:ea typeface="+mj-ea"/>
                <a:cs typeface="+mn-cs"/>
              </a:rPr>
              <a:t>infographic</a:t>
            </a:r>
          </a:p>
        </p:txBody>
      </p:sp>
      <p:grpSp>
        <p:nvGrpSpPr>
          <p:cNvPr id="57" name="组合 56">
            <a:extLst>
              <a:ext uri="{FF2B5EF4-FFF2-40B4-BE49-F238E27FC236}">
                <a16:creationId xmlns:a16="http://schemas.microsoft.com/office/drawing/2014/main" id="{5F5DEEE8-1785-40EC-8AB8-48C2598D106D}"/>
              </a:ext>
            </a:extLst>
          </p:cNvPr>
          <p:cNvGrpSpPr/>
          <p:nvPr/>
        </p:nvGrpSpPr>
        <p:grpSpPr>
          <a:xfrm>
            <a:off x="1957700" y="2400717"/>
            <a:ext cx="2262702" cy="846145"/>
            <a:chOff x="1508465" y="2482630"/>
            <a:chExt cx="2262702" cy="846145"/>
          </a:xfrm>
        </p:grpSpPr>
        <p:sp>
          <p:nvSpPr>
            <p:cNvPr id="64" name="TextBox 65">
              <a:extLst>
                <a:ext uri="{FF2B5EF4-FFF2-40B4-BE49-F238E27FC236}">
                  <a16:creationId xmlns:a16="http://schemas.microsoft.com/office/drawing/2014/main" id="{FD65697E-916A-4413-A4AA-17AEA5596C10}"/>
                </a:ext>
              </a:extLst>
            </p:cNvPr>
            <p:cNvSpPr txBox="1"/>
            <p:nvPr/>
          </p:nvSpPr>
          <p:spPr>
            <a:xfrm>
              <a:off x="1714906" y="2482630"/>
              <a:ext cx="2056261" cy="352588"/>
            </a:xfrm>
            <a:prstGeom prst="rect">
              <a:avLst/>
            </a:prstGeom>
            <a:noFill/>
          </p:spPr>
          <p:txBody>
            <a:bodyPr wrap="square" lIns="0" tIns="36000" rIns="0" bIns="36000" rtlCol="0">
              <a:spAutoFit/>
            </a:bodyPr>
            <a:lstStyle/>
            <a:p>
              <a:pPr marL="0" marR="0" lvl="0" indent="0" algn="r" defTabSz="914400" rtl="0" eaLnBrk="1" fontAlgn="auto" latinLnBrk="0" hangingPunct="1">
                <a:lnSpc>
                  <a:spcPct val="120000"/>
                </a:lnSpc>
                <a:spcBef>
                  <a:spcPts val="600"/>
                </a:spcBef>
                <a:spcAft>
                  <a:spcPts val="0"/>
                </a:spcAft>
                <a:buClrTx/>
                <a:buSzTx/>
                <a:buFontTx/>
                <a:buNone/>
                <a:tabLst/>
                <a:defRPr/>
              </a:pPr>
              <a:r>
                <a:rPr kumimoji="0" lang="zh-CN" altLang="en-US" sz="1600" b="0" i="0" u="none" strike="noStrike" kern="1200" cap="none" spc="0" normalizeH="0" baseline="0" noProof="0" dirty="0">
                  <a:ln>
                    <a:noFill/>
                  </a:ln>
                  <a:solidFill>
                    <a:schemeClr val="accent1"/>
                  </a:solidFill>
                  <a:effectLst/>
                  <a:uLnTx/>
                  <a:uFillTx/>
                  <a:latin typeface="HarmonyOS Sans SC Black"/>
                  <a:ea typeface="+mj-ea"/>
                  <a:cs typeface="+mn-cs"/>
                </a:rPr>
                <a:t>关键词标题</a:t>
              </a:r>
              <a:endParaRPr kumimoji="0" lang="en-US" sz="1600" b="0" i="0" u="none" strike="noStrike" kern="1200" cap="none" spc="0" normalizeH="0" baseline="0" noProof="0" dirty="0">
                <a:ln>
                  <a:noFill/>
                </a:ln>
                <a:solidFill>
                  <a:schemeClr val="accent1"/>
                </a:solidFill>
                <a:effectLst/>
                <a:uLnTx/>
                <a:uFillTx/>
                <a:latin typeface="HarmonyOS Sans SC Black"/>
                <a:ea typeface="+mj-ea"/>
                <a:cs typeface="+mn-cs"/>
              </a:endParaRPr>
            </a:p>
          </p:txBody>
        </p:sp>
        <p:sp>
          <p:nvSpPr>
            <p:cNvPr id="65" name="TextBox 65">
              <a:extLst>
                <a:ext uri="{FF2B5EF4-FFF2-40B4-BE49-F238E27FC236}">
                  <a16:creationId xmlns:a16="http://schemas.microsoft.com/office/drawing/2014/main" id="{F414130D-5732-4598-8AEF-20F18F838AAC}"/>
                </a:ext>
              </a:extLst>
            </p:cNvPr>
            <p:cNvSpPr txBox="1"/>
            <p:nvPr/>
          </p:nvSpPr>
          <p:spPr>
            <a:xfrm>
              <a:off x="1508465" y="2866029"/>
              <a:ext cx="2262702" cy="462746"/>
            </a:xfrm>
            <a:prstGeom prst="rect">
              <a:avLst/>
            </a:prstGeom>
            <a:noFill/>
          </p:spPr>
          <p:txBody>
            <a:bodyPr wrap="square" lIns="0" tIns="36000" rIns="0" bIns="36000" rtlCol="0">
              <a:spAutoFit/>
            </a:bodyPr>
            <a:lstStyle/>
            <a:p>
              <a:pPr marL="0" marR="0" lvl="0" indent="0" algn="r" defTabSz="914400" rtl="0" eaLnBrk="1" fontAlgn="auto" latinLnBrk="0" hangingPunct="1">
                <a:lnSpc>
                  <a:spcPct val="120000"/>
                </a:lnSpc>
                <a:spcBef>
                  <a:spcPts val="600"/>
                </a:spcBef>
                <a:spcAft>
                  <a:spcPts val="0"/>
                </a:spcAft>
                <a:buClrTx/>
                <a:buSzTx/>
                <a:buFontTx/>
                <a:buNone/>
                <a:tabLst/>
                <a:defRPr/>
              </a:pPr>
              <a:r>
                <a:rPr kumimoji="0" lang="en-US" sz="1100" b="0" i="0" u="none" strike="noStrike" kern="1200" cap="none" spc="0" normalizeH="0" baseline="0" noProof="0">
                  <a:ln>
                    <a:noFill/>
                  </a:ln>
                  <a:solidFill>
                    <a:prstClr val="black">
                      <a:lumMod val="50000"/>
                      <a:lumOff val="50000"/>
                    </a:prstClr>
                  </a:solidFill>
                  <a:effectLst/>
                  <a:uLnTx/>
                  <a:uFillTx/>
                  <a:latin typeface="HarmonyOS Sans SC"/>
                  <a:cs typeface="+mn-cs"/>
                </a:rPr>
                <a:t>Apparently we had reached a great height in the.</a:t>
              </a:r>
              <a:endParaRPr kumimoji="0" lang="en-US" sz="1100" b="0" i="0" u="none" strike="noStrike" kern="1200" cap="none" spc="0" normalizeH="0" baseline="0" noProof="0" dirty="0">
                <a:ln>
                  <a:noFill/>
                </a:ln>
                <a:solidFill>
                  <a:prstClr val="black">
                    <a:lumMod val="50000"/>
                    <a:lumOff val="50000"/>
                  </a:prstClr>
                </a:solidFill>
                <a:effectLst/>
                <a:uLnTx/>
                <a:uFillTx/>
                <a:latin typeface="HarmonyOS Sans SC"/>
                <a:cs typeface="+mn-cs"/>
              </a:endParaRPr>
            </a:p>
          </p:txBody>
        </p:sp>
      </p:grpSp>
      <p:grpSp>
        <p:nvGrpSpPr>
          <p:cNvPr id="58" name="组合 57">
            <a:extLst>
              <a:ext uri="{FF2B5EF4-FFF2-40B4-BE49-F238E27FC236}">
                <a16:creationId xmlns:a16="http://schemas.microsoft.com/office/drawing/2014/main" id="{20AA5D87-7614-4B1E-A4CF-13E15D6FAD82}"/>
              </a:ext>
            </a:extLst>
          </p:cNvPr>
          <p:cNvGrpSpPr/>
          <p:nvPr/>
        </p:nvGrpSpPr>
        <p:grpSpPr>
          <a:xfrm>
            <a:off x="1672407" y="3525605"/>
            <a:ext cx="2262702" cy="846145"/>
            <a:chOff x="1508465" y="2482630"/>
            <a:chExt cx="2262702" cy="846145"/>
          </a:xfrm>
        </p:grpSpPr>
        <p:sp>
          <p:nvSpPr>
            <p:cNvPr id="62" name="TextBox 65">
              <a:extLst>
                <a:ext uri="{FF2B5EF4-FFF2-40B4-BE49-F238E27FC236}">
                  <a16:creationId xmlns:a16="http://schemas.microsoft.com/office/drawing/2014/main" id="{7E5BFA20-BE86-4B83-AA34-450E814E699A}"/>
                </a:ext>
              </a:extLst>
            </p:cNvPr>
            <p:cNvSpPr txBox="1"/>
            <p:nvPr/>
          </p:nvSpPr>
          <p:spPr>
            <a:xfrm>
              <a:off x="1714906" y="2482630"/>
              <a:ext cx="2056261" cy="352588"/>
            </a:xfrm>
            <a:prstGeom prst="rect">
              <a:avLst/>
            </a:prstGeom>
            <a:noFill/>
          </p:spPr>
          <p:txBody>
            <a:bodyPr wrap="square" lIns="0" tIns="36000" rIns="0" bIns="36000" rtlCol="0">
              <a:spAutoFit/>
            </a:bodyPr>
            <a:lstStyle/>
            <a:p>
              <a:pPr marL="0" marR="0" lvl="0" indent="0" algn="r" defTabSz="914400" rtl="0" eaLnBrk="1" fontAlgn="auto" latinLnBrk="0" hangingPunct="1">
                <a:lnSpc>
                  <a:spcPct val="120000"/>
                </a:lnSpc>
                <a:spcBef>
                  <a:spcPts val="600"/>
                </a:spcBef>
                <a:spcAft>
                  <a:spcPts val="0"/>
                </a:spcAft>
                <a:buClrTx/>
                <a:buSzTx/>
                <a:buFontTx/>
                <a:buNone/>
                <a:tabLst/>
                <a:defRPr/>
              </a:pPr>
              <a:r>
                <a:rPr kumimoji="0" lang="zh-CN" altLang="en-US" sz="1600" b="0" i="0" u="none" strike="noStrike" kern="1200" cap="none" spc="0" normalizeH="0" baseline="0" noProof="0" dirty="0">
                  <a:ln>
                    <a:noFill/>
                  </a:ln>
                  <a:solidFill>
                    <a:schemeClr val="accent1"/>
                  </a:solidFill>
                  <a:effectLst/>
                  <a:uLnTx/>
                  <a:uFillTx/>
                  <a:latin typeface="HarmonyOS Sans SC Black"/>
                  <a:ea typeface="+mj-ea"/>
                  <a:cs typeface="+mn-cs"/>
                </a:rPr>
                <a:t>关键词标题</a:t>
              </a:r>
              <a:endParaRPr kumimoji="0" lang="en-US" sz="1600" b="0" i="0" u="none" strike="noStrike" kern="1200" cap="none" spc="0" normalizeH="0" baseline="0" noProof="0" dirty="0">
                <a:ln>
                  <a:noFill/>
                </a:ln>
                <a:solidFill>
                  <a:schemeClr val="accent1"/>
                </a:solidFill>
                <a:effectLst/>
                <a:uLnTx/>
                <a:uFillTx/>
                <a:latin typeface="HarmonyOS Sans SC Black"/>
                <a:ea typeface="+mj-ea"/>
                <a:cs typeface="+mn-cs"/>
              </a:endParaRPr>
            </a:p>
          </p:txBody>
        </p:sp>
        <p:sp>
          <p:nvSpPr>
            <p:cNvPr id="63" name="TextBox 65">
              <a:extLst>
                <a:ext uri="{FF2B5EF4-FFF2-40B4-BE49-F238E27FC236}">
                  <a16:creationId xmlns:a16="http://schemas.microsoft.com/office/drawing/2014/main" id="{2AD960F5-6AC6-482F-B5DB-A77AA4129CBE}"/>
                </a:ext>
              </a:extLst>
            </p:cNvPr>
            <p:cNvSpPr txBox="1"/>
            <p:nvPr/>
          </p:nvSpPr>
          <p:spPr>
            <a:xfrm>
              <a:off x="1508465" y="2866029"/>
              <a:ext cx="2262702" cy="462746"/>
            </a:xfrm>
            <a:prstGeom prst="rect">
              <a:avLst/>
            </a:prstGeom>
            <a:noFill/>
          </p:spPr>
          <p:txBody>
            <a:bodyPr wrap="square" lIns="0" tIns="36000" rIns="0" bIns="36000" rtlCol="0">
              <a:spAutoFit/>
            </a:bodyPr>
            <a:lstStyle/>
            <a:p>
              <a:pPr marL="0" marR="0" lvl="0" indent="0" algn="r" defTabSz="914400" rtl="0" eaLnBrk="1" fontAlgn="auto" latinLnBrk="0" hangingPunct="1">
                <a:lnSpc>
                  <a:spcPct val="120000"/>
                </a:lnSpc>
                <a:spcBef>
                  <a:spcPts val="600"/>
                </a:spcBef>
                <a:spcAft>
                  <a:spcPts val="0"/>
                </a:spcAft>
                <a:buClrTx/>
                <a:buSzTx/>
                <a:buFontTx/>
                <a:buNone/>
                <a:tabLst/>
                <a:defRPr/>
              </a:pPr>
              <a:r>
                <a:rPr kumimoji="0" lang="en-US" sz="1100" b="0" i="0" u="none" strike="noStrike" kern="1200" cap="none" spc="0" normalizeH="0" baseline="0" noProof="0" dirty="0">
                  <a:ln>
                    <a:noFill/>
                  </a:ln>
                  <a:solidFill>
                    <a:prstClr val="black">
                      <a:lumMod val="50000"/>
                      <a:lumOff val="50000"/>
                    </a:prstClr>
                  </a:solidFill>
                  <a:effectLst/>
                  <a:uLnTx/>
                  <a:uFillTx/>
                  <a:latin typeface="HarmonyOS Sans SC"/>
                  <a:cs typeface="+mn-cs"/>
                </a:rPr>
                <a:t>Apparently we had reached a great height in the.</a:t>
              </a:r>
            </a:p>
          </p:txBody>
        </p:sp>
      </p:grpSp>
      <p:grpSp>
        <p:nvGrpSpPr>
          <p:cNvPr id="59" name="组合 58">
            <a:extLst>
              <a:ext uri="{FF2B5EF4-FFF2-40B4-BE49-F238E27FC236}">
                <a16:creationId xmlns:a16="http://schemas.microsoft.com/office/drawing/2014/main" id="{EA069199-A023-4B12-B2E1-FB6F418AC65D}"/>
              </a:ext>
            </a:extLst>
          </p:cNvPr>
          <p:cNvGrpSpPr/>
          <p:nvPr/>
        </p:nvGrpSpPr>
        <p:grpSpPr>
          <a:xfrm>
            <a:off x="1940928" y="4662800"/>
            <a:ext cx="2262702" cy="846145"/>
            <a:chOff x="1508465" y="2482630"/>
            <a:chExt cx="2262702" cy="846145"/>
          </a:xfrm>
        </p:grpSpPr>
        <p:sp>
          <p:nvSpPr>
            <p:cNvPr id="60" name="TextBox 65">
              <a:extLst>
                <a:ext uri="{FF2B5EF4-FFF2-40B4-BE49-F238E27FC236}">
                  <a16:creationId xmlns:a16="http://schemas.microsoft.com/office/drawing/2014/main" id="{F7E75B05-0715-4FAF-9B8B-D72E8E47B9F7}"/>
                </a:ext>
              </a:extLst>
            </p:cNvPr>
            <p:cNvSpPr txBox="1"/>
            <p:nvPr/>
          </p:nvSpPr>
          <p:spPr>
            <a:xfrm>
              <a:off x="1714906" y="2482630"/>
              <a:ext cx="2056261" cy="352588"/>
            </a:xfrm>
            <a:prstGeom prst="rect">
              <a:avLst/>
            </a:prstGeom>
            <a:noFill/>
          </p:spPr>
          <p:txBody>
            <a:bodyPr wrap="square" lIns="0" tIns="36000" rIns="0" bIns="36000" rtlCol="0">
              <a:spAutoFit/>
            </a:bodyPr>
            <a:lstStyle/>
            <a:p>
              <a:pPr marL="0" marR="0" lvl="0" indent="0" algn="r" defTabSz="914400" rtl="0" eaLnBrk="1" fontAlgn="auto" latinLnBrk="0" hangingPunct="1">
                <a:lnSpc>
                  <a:spcPct val="120000"/>
                </a:lnSpc>
                <a:spcBef>
                  <a:spcPts val="600"/>
                </a:spcBef>
                <a:spcAft>
                  <a:spcPts val="0"/>
                </a:spcAft>
                <a:buClrTx/>
                <a:buSzTx/>
                <a:buFontTx/>
                <a:buNone/>
                <a:tabLst/>
                <a:defRPr/>
              </a:pPr>
              <a:r>
                <a:rPr kumimoji="0" lang="zh-CN" altLang="en-US" sz="1600" b="0" i="0" u="none" strike="noStrike" kern="1200" cap="none" spc="0" normalizeH="0" baseline="0" noProof="0" dirty="0">
                  <a:ln>
                    <a:noFill/>
                  </a:ln>
                  <a:solidFill>
                    <a:schemeClr val="accent1"/>
                  </a:solidFill>
                  <a:effectLst/>
                  <a:uLnTx/>
                  <a:uFillTx/>
                  <a:latin typeface="HarmonyOS Sans SC Black"/>
                  <a:ea typeface="+mj-ea"/>
                  <a:cs typeface="+mn-cs"/>
                </a:rPr>
                <a:t>关键词标题</a:t>
              </a:r>
              <a:endParaRPr kumimoji="0" lang="en-US" sz="1600" b="0" i="0" u="none" strike="noStrike" kern="1200" cap="none" spc="0" normalizeH="0" baseline="0" noProof="0" dirty="0">
                <a:ln>
                  <a:noFill/>
                </a:ln>
                <a:solidFill>
                  <a:schemeClr val="accent1"/>
                </a:solidFill>
                <a:effectLst/>
                <a:uLnTx/>
                <a:uFillTx/>
                <a:latin typeface="HarmonyOS Sans SC Black"/>
                <a:ea typeface="+mj-ea"/>
                <a:cs typeface="+mn-cs"/>
              </a:endParaRPr>
            </a:p>
          </p:txBody>
        </p:sp>
        <p:sp>
          <p:nvSpPr>
            <p:cNvPr id="61" name="TextBox 65">
              <a:extLst>
                <a:ext uri="{FF2B5EF4-FFF2-40B4-BE49-F238E27FC236}">
                  <a16:creationId xmlns:a16="http://schemas.microsoft.com/office/drawing/2014/main" id="{18E42D51-62CA-4155-95B0-546C4069F23A}"/>
                </a:ext>
              </a:extLst>
            </p:cNvPr>
            <p:cNvSpPr txBox="1"/>
            <p:nvPr/>
          </p:nvSpPr>
          <p:spPr>
            <a:xfrm>
              <a:off x="1508465" y="2866029"/>
              <a:ext cx="2262702" cy="462746"/>
            </a:xfrm>
            <a:prstGeom prst="rect">
              <a:avLst/>
            </a:prstGeom>
            <a:noFill/>
          </p:spPr>
          <p:txBody>
            <a:bodyPr wrap="square" lIns="0" tIns="36000" rIns="0" bIns="36000" rtlCol="0">
              <a:spAutoFit/>
            </a:bodyPr>
            <a:lstStyle/>
            <a:p>
              <a:pPr marL="0" marR="0" lvl="0" indent="0" algn="r" defTabSz="914400" rtl="0" eaLnBrk="1" fontAlgn="auto" latinLnBrk="0" hangingPunct="1">
                <a:lnSpc>
                  <a:spcPct val="120000"/>
                </a:lnSpc>
                <a:spcBef>
                  <a:spcPts val="600"/>
                </a:spcBef>
                <a:spcAft>
                  <a:spcPts val="0"/>
                </a:spcAft>
                <a:buClrTx/>
                <a:buSzTx/>
                <a:buFontTx/>
                <a:buNone/>
                <a:tabLst/>
                <a:defRPr/>
              </a:pPr>
              <a:r>
                <a:rPr kumimoji="0" lang="en-US" sz="1100" b="0" i="0" u="none" strike="noStrike" kern="1200" cap="none" spc="0" normalizeH="0" baseline="0" noProof="0">
                  <a:ln>
                    <a:noFill/>
                  </a:ln>
                  <a:solidFill>
                    <a:prstClr val="black">
                      <a:lumMod val="50000"/>
                      <a:lumOff val="50000"/>
                    </a:prstClr>
                  </a:solidFill>
                  <a:effectLst/>
                  <a:uLnTx/>
                  <a:uFillTx/>
                  <a:latin typeface="HarmonyOS Sans SC"/>
                  <a:cs typeface="+mn-cs"/>
                </a:rPr>
                <a:t>Apparently we had reached a great height in the.</a:t>
              </a:r>
              <a:endParaRPr kumimoji="0" lang="en-US" sz="1100" b="0" i="0" u="none" strike="noStrike" kern="1200" cap="none" spc="0" normalizeH="0" baseline="0" noProof="0" dirty="0">
                <a:ln>
                  <a:noFill/>
                </a:ln>
                <a:solidFill>
                  <a:prstClr val="black">
                    <a:lumMod val="50000"/>
                    <a:lumOff val="50000"/>
                  </a:prstClr>
                </a:solidFill>
                <a:effectLst/>
                <a:uLnTx/>
                <a:uFillTx/>
                <a:latin typeface="HarmonyOS Sans SC"/>
                <a:cs typeface="+mn-cs"/>
              </a:endParaRPr>
            </a:p>
          </p:txBody>
        </p:sp>
      </p:grpSp>
      <p:grpSp>
        <p:nvGrpSpPr>
          <p:cNvPr id="48" name="组合 47">
            <a:extLst>
              <a:ext uri="{FF2B5EF4-FFF2-40B4-BE49-F238E27FC236}">
                <a16:creationId xmlns:a16="http://schemas.microsoft.com/office/drawing/2014/main" id="{2D725DEF-FC7C-41F8-A0D9-33AF5419B1EA}"/>
              </a:ext>
            </a:extLst>
          </p:cNvPr>
          <p:cNvGrpSpPr/>
          <p:nvPr/>
        </p:nvGrpSpPr>
        <p:grpSpPr>
          <a:xfrm flipH="1">
            <a:off x="7971598" y="2400717"/>
            <a:ext cx="2262702" cy="846145"/>
            <a:chOff x="1508465" y="2482630"/>
            <a:chExt cx="2262702" cy="846145"/>
          </a:xfrm>
        </p:grpSpPr>
        <p:sp>
          <p:nvSpPr>
            <p:cNvPr id="55" name="TextBox 65">
              <a:extLst>
                <a:ext uri="{FF2B5EF4-FFF2-40B4-BE49-F238E27FC236}">
                  <a16:creationId xmlns:a16="http://schemas.microsoft.com/office/drawing/2014/main" id="{F9E700CD-6E59-49D7-9C32-BAE504AE7BD7}"/>
                </a:ext>
              </a:extLst>
            </p:cNvPr>
            <p:cNvSpPr txBox="1"/>
            <p:nvPr/>
          </p:nvSpPr>
          <p:spPr>
            <a:xfrm>
              <a:off x="1714906" y="2482630"/>
              <a:ext cx="2056261" cy="352588"/>
            </a:xfrm>
            <a:prstGeom prst="rect">
              <a:avLst/>
            </a:prstGeom>
            <a:noFill/>
          </p:spPr>
          <p:txBody>
            <a:bodyPr wrap="square" lIns="0" tIns="36000" rIns="0" bIns="36000" rtlCol="0">
              <a:spAutoFit/>
            </a:bodyPr>
            <a:lstStyle/>
            <a:p>
              <a:pPr marL="0" marR="0" lvl="0" indent="0" algn="l" defTabSz="914400" rtl="0" eaLnBrk="1" fontAlgn="auto" latinLnBrk="0" hangingPunct="1">
                <a:lnSpc>
                  <a:spcPct val="120000"/>
                </a:lnSpc>
                <a:spcBef>
                  <a:spcPts val="600"/>
                </a:spcBef>
                <a:spcAft>
                  <a:spcPts val="0"/>
                </a:spcAft>
                <a:buClrTx/>
                <a:buSzTx/>
                <a:buFontTx/>
                <a:buNone/>
                <a:tabLst/>
                <a:defRPr/>
              </a:pPr>
              <a:r>
                <a:rPr kumimoji="0" lang="zh-CN" altLang="en-US" sz="1600" b="0" i="0" u="none" strike="noStrike" kern="1200" cap="none" spc="0" normalizeH="0" baseline="0" noProof="0" dirty="0">
                  <a:ln>
                    <a:noFill/>
                  </a:ln>
                  <a:solidFill>
                    <a:schemeClr val="accent1"/>
                  </a:solidFill>
                  <a:effectLst/>
                  <a:uLnTx/>
                  <a:uFillTx/>
                  <a:latin typeface="HarmonyOS Sans SC Black"/>
                  <a:ea typeface="+mj-ea"/>
                  <a:cs typeface="+mn-cs"/>
                </a:rPr>
                <a:t>关键词标题</a:t>
              </a:r>
              <a:endParaRPr kumimoji="0" lang="en-US" sz="1600" b="0" i="0" u="none" strike="noStrike" kern="1200" cap="none" spc="0" normalizeH="0" baseline="0" noProof="0" dirty="0">
                <a:ln>
                  <a:noFill/>
                </a:ln>
                <a:solidFill>
                  <a:schemeClr val="accent1"/>
                </a:solidFill>
                <a:effectLst/>
                <a:uLnTx/>
                <a:uFillTx/>
                <a:latin typeface="HarmonyOS Sans SC Black"/>
                <a:ea typeface="+mj-ea"/>
                <a:cs typeface="+mn-cs"/>
              </a:endParaRPr>
            </a:p>
          </p:txBody>
        </p:sp>
        <p:sp>
          <p:nvSpPr>
            <p:cNvPr id="56" name="TextBox 65">
              <a:extLst>
                <a:ext uri="{FF2B5EF4-FFF2-40B4-BE49-F238E27FC236}">
                  <a16:creationId xmlns:a16="http://schemas.microsoft.com/office/drawing/2014/main" id="{514BD880-4405-4082-84ED-59028CAD7AA4}"/>
                </a:ext>
              </a:extLst>
            </p:cNvPr>
            <p:cNvSpPr txBox="1"/>
            <p:nvPr/>
          </p:nvSpPr>
          <p:spPr>
            <a:xfrm>
              <a:off x="1508465" y="2866029"/>
              <a:ext cx="2262702" cy="462746"/>
            </a:xfrm>
            <a:prstGeom prst="rect">
              <a:avLst/>
            </a:prstGeom>
            <a:noFill/>
          </p:spPr>
          <p:txBody>
            <a:bodyPr wrap="square" lIns="0" tIns="36000" rIns="0" bIns="36000" rtlCol="0">
              <a:spAutoFit/>
            </a:bodyPr>
            <a:lstStyle/>
            <a:p>
              <a:pPr marL="0" marR="0" lvl="0" indent="0" algn="l" defTabSz="914400" rtl="0" eaLnBrk="1" fontAlgn="auto" latinLnBrk="0" hangingPunct="1">
                <a:lnSpc>
                  <a:spcPct val="120000"/>
                </a:lnSpc>
                <a:spcBef>
                  <a:spcPts val="600"/>
                </a:spcBef>
                <a:spcAft>
                  <a:spcPts val="0"/>
                </a:spcAft>
                <a:buClrTx/>
                <a:buSzTx/>
                <a:buFontTx/>
                <a:buNone/>
                <a:tabLst/>
                <a:defRPr/>
              </a:pPr>
              <a:r>
                <a:rPr kumimoji="0" lang="en-US" sz="1100" b="0" i="0" u="none" strike="noStrike" kern="1200" cap="none" spc="0" normalizeH="0" baseline="0" noProof="0">
                  <a:ln>
                    <a:noFill/>
                  </a:ln>
                  <a:solidFill>
                    <a:prstClr val="black">
                      <a:lumMod val="50000"/>
                      <a:lumOff val="50000"/>
                    </a:prstClr>
                  </a:solidFill>
                  <a:effectLst/>
                  <a:uLnTx/>
                  <a:uFillTx/>
                  <a:latin typeface="HarmonyOS Sans SC"/>
                  <a:cs typeface="+mn-cs"/>
                </a:rPr>
                <a:t>Apparently we had reached a great height in the.</a:t>
              </a:r>
              <a:endParaRPr kumimoji="0" lang="en-US" sz="1100" b="0" i="0" u="none" strike="noStrike" kern="1200" cap="none" spc="0" normalizeH="0" baseline="0" noProof="0" dirty="0">
                <a:ln>
                  <a:noFill/>
                </a:ln>
                <a:solidFill>
                  <a:prstClr val="black">
                    <a:lumMod val="50000"/>
                    <a:lumOff val="50000"/>
                  </a:prstClr>
                </a:solidFill>
                <a:effectLst/>
                <a:uLnTx/>
                <a:uFillTx/>
                <a:latin typeface="HarmonyOS Sans SC"/>
                <a:cs typeface="+mn-cs"/>
              </a:endParaRPr>
            </a:p>
          </p:txBody>
        </p:sp>
      </p:grpSp>
      <p:grpSp>
        <p:nvGrpSpPr>
          <p:cNvPr id="49" name="组合 48">
            <a:extLst>
              <a:ext uri="{FF2B5EF4-FFF2-40B4-BE49-F238E27FC236}">
                <a16:creationId xmlns:a16="http://schemas.microsoft.com/office/drawing/2014/main" id="{065FF998-A507-4A47-B005-C65817A46580}"/>
              </a:ext>
            </a:extLst>
          </p:cNvPr>
          <p:cNvGrpSpPr/>
          <p:nvPr/>
        </p:nvGrpSpPr>
        <p:grpSpPr>
          <a:xfrm flipH="1">
            <a:off x="8256891" y="3525605"/>
            <a:ext cx="2262702" cy="846145"/>
            <a:chOff x="1508465" y="2482630"/>
            <a:chExt cx="2262702" cy="846145"/>
          </a:xfrm>
        </p:grpSpPr>
        <p:sp>
          <p:nvSpPr>
            <p:cNvPr id="53" name="TextBox 65">
              <a:extLst>
                <a:ext uri="{FF2B5EF4-FFF2-40B4-BE49-F238E27FC236}">
                  <a16:creationId xmlns:a16="http://schemas.microsoft.com/office/drawing/2014/main" id="{CE66A323-D7B8-4D3D-AF2A-DA304976ECC2}"/>
                </a:ext>
              </a:extLst>
            </p:cNvPr>
            <p:cNvSpPr txBox="1"/>
            <p:nvPr/>
          </p:nvSpPr>
          <p:spPr>
            <a:xfrm>
              <a:off x="1714906" y="2482630"/>
              <a:ext cx="2056261" cy="352588"/>
            </a:xfrm>
            <a:prstGeom prst="rect">
              <a:avLst/>
            </a:prstGeom>
            <a:noFill/>
          </p:spPr>
          <p:txBody>
            <a:bodyPr wrap="square" lIns="0" tIns="36000" rIns="0" bIns="36000" rtlCol="0">
              <a:spAutoFit/>
            </a:bodyPr>
            <a:lstStyle/>
            <a:p>
              <a:pPr marL="0" marR="0" lvl="0" indent="0" algn="l" defTabSz="914400" rtl="0" eaLnBrk="1" fontAlgn="auto" latinLnBrk="0" hangingPunct="1">
                <a:lnSpc>
                  <a:spcPct val="120000"/>
                </a:lnSpc>
                <a:spcBef>
                  <a:spcPts val="600"/>
                </a:spcBef>
                <a:spcAft>
                  <a:spcPts val="0"/>
                </a:spcAft>
                <a:buClrTx/>
                <a:buSzTx/>
                <a:buFontTx/>
                <a:buNone/>
                <a:tabLst/>
                <a:defRPr/>
              </a:pPr>
              <a:r>
                <a:rPr kumimoji="0" lang="zh-CN" altLang="en-US" sz="1600" b="0" i="0" u="none" strike="noStrike" kern="1200" cap="none" spc="0" normalizeH="0" baseline="0" noProof="0" dirty="0">
                  <a:ln>
                    <a:noFill/>
                  </a:ln>
                  <a:solidFill>
                    <a:schemeClr val="accent1"/>
                  </a:solidFill>
                  <a:effectLst/>
                  <a:uLnTx/>
                  <a:uFillTx/>
                  <a:latin typeface="HarmonyOS Sans SC Black"/>
                  <a:ea typeface="+mj-ea"/>
                  <a:cs typeface="+mn-cs"/>
                </a:rPr>
                <a:t>关键词标题</a:t>
              </a:r>
              <a:endParaRPr kumimoji="0" lang="en-US" sz="1600" b="0" i="0" u="none" strike="noStrike" kern="1200" cap="none" spc="0" normalizeH="0" baseline="0" noProof="0" dirty="0">
                <a:ln>
                  <a:noFill/>
                </a:ln>
                <a:solidFill>
                  <a:schemeClr val="accent1"/>
                </a:solidFill>
                <a:effectLst/>
                <a:uLnTx/>
                <a:uFillTx/>
                <a:latin typeface="HarmonyOS Sans SC Black"/>
                <a:ea typeface="+mj-ea"/>
                <a:cs typeface="+mn-cs"/>
              </a:endParaRPr>
            </a:p>
          </p:txBody>
        </p:sp>
        <p:sp>
          <p:nvSpPr>
            <p:cNvPr id="54" name="TextBox 65">
              <a:extLst>
                <a:ext uri="{FF2B5EF4-FFF2-40B4-BE49-F238E27FC236}">
                  <a16:creationId xmlns:a16="http://schemas.microsoft.com/office/drawing/2014/main" id="{730FD6EE-A85A-4535-AE96-A95007B5BC74}"/>
                </a:ext>
              </a:extLst>
            </p:cNvPr>
            <p:cNvSpPr txBox="1"/>
            <p:nvPr/>
          </p:nvSpPr>
          <p:spPr>
            <a:xfrm>
              <a:off x="1508465" y="2866029"/>
              <a:ext cx="2262702" cy="462746"/>
            </a:xfrm>
            <a:prstGeom prst="rect">
              <a:avLst/>
            </a:prstGeom>
            <a:noFill/>
          </p:spPr>
          <p:txBody>
            <a:bodyPr wrap="square" lIns="0" tIns="36000" rIns="0" bIns="36000" rtlCol="0">
              <a:spAutoFit/>
            </a:bodyPr>
            <a:lstStyle/>
            <a:p>
              <a:pPr marL="0" marR="0" lvl="0" indent="0" algn="l" defTabSz="914400" rtl="0" eaLnBrk="1" fontAlgn="auto" latinLnBrk="0" hangingPunct="1">
                <a:lnSpc>
                  <a:spcPct val="120000"/>
                </a:lnSpc>
                <a:spcBef>
                  <a:spcPts val="600"/>
                </a:spcBef>
                <a:spcAft>
                  <a:spcPts val="0"/>
                </a:spcAft>
                <a:buClrTx/>
                <a:buSzTx/>
                <a:buFontTx/>
                <a:buNone/>
                <a:tabLst/>
                <a:defRPr/>
              </a:pPr>
              <a:r>
                <a:rPr kumimoji="0" lang="en-US" sz="1100" b="0" i="0" u="none" strike="noStrike" kern="1200" cap="none" spc="0" normalizeH="0" baseline="0" noProof="0">
                  <a:ln>
                    <a:noFill/>
                  </a:ln>
                  <a:solidFill>
                    <a:prstClr val="black">
                      <a:lumMod val="50000"/>
                      <a:lumOff val="50000"/>
                    </a:prstClr>
                  </a:solidFill>
                  <a:effectLst/>
                  <a:uLnTx/>
                  <a:uFillTx/>
                  <a:latin typeface="HarmonyOS Sans SC"/>
                  <a:cs typeface="+mn-cs"/>
                </a:rPr>
                <a:t>Apparently we had reached a great height in the.</a:t>
              </a:r>
              <a:endParaRPr kumimoji="0" lang="en-US" sz="1100" b="0" i="0" u="none" strike="noStrike" kern="1200" cap="none" spc="0" normalizeH="0" baseline="0" noProof="0" dirty="0">
                <a:ln>
                  <a:noFill/>
                </a:ln>
                <a:solidFill>
                  <a:prstClr val="black">
                    <a:lumMod val="50000"/>
                    <a:lumOff val="50000"/>
                  </a:prstClr>
                </a:solidFill>
                <a:effectLst/>
                <a:uLnTx/>
                <a:uFillTx/>
                <a:latin typeface="HarmonyOS Sans SC"/>
                <a:cs typeface="+mn-cs"/>
              </a:endParaRPr>
            </a:p>
          </p:txBody>
        </p:sp>
      </p:grpSp>
      <p:grpSp>
        <p:nvGrpSpPr>
          <p:cNvPr id="50" name="组合 49">
            <a:extLst>
              <a:ext uri="{FF2B5EF4-FFF2-40B4-BE49-F238E27FC236}">
                <a16:creationId xmlns:a16="http://schemas.microsoft.com/office/drawing/2014/main" id="{9297052F-52E2-4D64-9F9D-261ECE4E1D8D}"/>
              </a:ext>
            </a:extLst>
          </p:cNvPr>
          <p:cNvGrpSpPr/>
          <p:nvPr/>
        </p:nvGrpSpPr>
        <p:grpSpPr>
          <a:xfrm flipH="1">
            <a:off x="7988370" y="4662800"/>
            <a:ext cx="2262702" cy="846145"/>
            <a:chOff x="1508465" y="2482630"/>
            <a:chExt cx="2262702" cy="846145"/>
          </a:xfrm>
        </p:grpSpPr>
        <p:sp>
          <p:nvSpPr>
            <p:cNvPr id="51" name="TextBox 65">
              <a:extLst>
                <a:ext uri="{FF2B5EF4-FFF2-40B4-BE49-F238E27FC236}">
                  <a16:creationId xmlns:a16="http://schemas.microsoft.com/office/drawing/2014/main" id="{3A8A7528-8F9F-4A3E-A058-3F500B42F47F}"/>
                </a:ext>
              </a:extLst>
            </p:cNvPr>
            <p:cNvSpPr txBox="1"/>
            <p:nvPr/>
          </p:nvSpPr>
          <p:spPr>
            <a:xfrm>
              <a:off x="1714906" y="2482630"/>
              <a:ext cx="2056261" cy="352588"/>
            </a:xfrm>
            <a:prstGeom prst="rect">
              <a:avLst/>
            </a:prstGeom>
            <a:noFill/>
          </p:spPr>
          <p:txBody>
            <a:bodyPr wrap="square" lIns="0" tIns="36000" rIns="0" bIns="36000" rtlCol="0">
              <a:spAutoFit/>
            </a:bodyPr>
            <a:lstStyle/>
            <a:p>
              <a:pPr marL="0" marR="0" lvl="0" indent="0" algn="l" defTabSz="914400" rtl="0" eaLnBrk="1" fontAlgn="auto" latinLnBrk="0" hangingPunct="1">
                <a:lnSpc>
                  <a:spcPct val="120000"/>
                </a:lnSpc>
                <a:spcBef>
                  <a:spcPts val="600"/>
                </a:spcBef>
                <a:spcAft>
                  <a:spcPts val="0"/>
                </a:spcAft>
                <a:buClrTx/>
                <a:buSzTx/>
                <a:buFontTx/>
                <a:buNone/>
                <a:tabLst/>
                <a:defRPr/>
              </a:pPr>
              <a:r>
                <a:rPr kumimoji="0" lang="zh-CN" altLang="en-US" sz="1600" b="0" i="0" u="none" strike="noStrike" kern="1200" cap="none" spc="0" normalizeH="0" baseline="0" noProof="0" dirty="0">
                  <a:ln>
                    <a:noFill/>
                  </a:ln>
                  <a:solidFill>
                    <a:schemeClr val="accent1"/>
                  </a:solidFill>
                  <a:effectLst/>
                  <a:uLnTx/>
                  <a:uFillTx/>
                  <a:latin typeface="HarmonyOS Sans SC Black"/>
                  <a:ea typeface="+mj-ea"/>
                  <a:cs typeface="+mn-cs"/>
                </a:rPr>
                <a:t>关键词标题</a:t>
              </a:r>
              <a:endParaRPr kumimoji="0" lang="en-US" sz="1600" b="0" i="0" u="none" strike="noStrike" kern="1200" cap="none" spc="0" normalizeH="0" baseline="0" noProof="0" dirty="0">
                <a:ln>
                  <a:noFill/>
                </a:ln>
                <a:solidFill>
                  <a:schemeClr val="accent1"/>
                </a:solidFill>
                <a:effectLst/>
                <a:uLnTx/>
                <a:uFillTx/>
                <a:latin typeface="HarmonyOS Sans SC Black"/>
                <a:ea typeface="+mj-ea"/>
                <a:cs typeface="+mn-cs"/>
              </a:endParaRPr>
            </a:p>
          </p:txBody>
        </p:sp>
        <p:sp>
          <p:nvSpPr>
            <p:cNvPr id="52" name="TextBox 65">
              <a:extLst>
                <a:ext uri="{FF2B5EF4-FFF2-40B4-BE49-F238E27FC236}">
                  <a16:creationId xmlns:a16="http://schemas.microsoft.com/office/drawing/2014/main" id="{9F45EF06-24EC-49BC-AA4E-C17D0DC253FD}"/>
                </a:ext>
              </a:extLst>
            </p:cNvPr>
            <p:cNvSpPr txBox="1"/>
            <p:nvPr/>
          </p:nvSpPr>
          <p:spPr>
            <a:xfrm>
              <a:off x="1508465" y="2866029"/>
              <a:ext cx="2262702" cy="462746"/>
            </a:xfrm>
            <a:prstGeom prst="rect">
              <a:avLst/>
            </a:prstGeom>
            <a:noFill/>
          </p:spPr>
          <p:txBody>
            <a:bodyPr wrap="square" lIns="0" tIns="36000" rIns="0" bIns="36000" rtlCol="0">
              <a:spAutoFit/>
            </a:bodyPr>
            <a:lstStyle/>
            <a:p>
              <a:pPr marL="0" marR="0" lvl="0" indent="0" algn="l" defTabSz="914400" rtl="0" eaLnBrk="1" fontAlgn="auto" latinLnBrk="0" hangingPunct="1">
                <a:lnSpc>
                  <a:spcPct val="120000"/>
                </a:lnSpc>
                <a:spcBef>
                  <a:spcPts val="600"/>
                </a:spcBef>
                <a:spcAft>
                  <a:spcPts val="0"/>
                </a:spcAft>
                <a:buClrTx/>
                <a:buSzTx/>
                <a:buFontTx/>
                <a:buNone/>
                <a:tabLst/>
                <a:defRPr/>
              </a:pPr>
              <a:r>
                <a:rPr kumimoji="0" lang="en-US" sz="1100" b="0" i="0" u="none" strike="noStrike" kern="1200" cap="none" spc="0" normalizeH="0" baseline="0" noProof="0">
                  <a:ln>
                    <a:noFill/>
                  </a:ln>
                  <a:solidFill>
                    <a:prstClr val="black">
                      <a:lumMod val="50000"/>
                      <a:lumOff val="50000"/>
                    </a:prstClr>
                  </a:solidFill>
                  <a:effectLst/>
                  <a:uLnTx/>
                  <a:uFillTx/>
                  <a:latin typeface="HarmonyOS Sans SC"/>
                  <a:cs typeface="+mn-cs"/>
                </a:rPr>
                <a:t>Apparently we had reached a great height in the.</a:t>
              </a:r>
              <a:endParaRPr kumimoji="0" lang="en-US" sz="1100" b="0" i="0" u="none" strike="noStrike" kern="1200" cap="none" spc="0" normalizeH="0" baseline="0" noProof="0" dirty="0">
                <a:ln>
                  <a:noFill/>
                </a:ln>
                <a:solidFill>
                  <a:prstClr val="black">
                    <a:lumMod val="50000"/>
                    <a:lumOff val="50000"/>
                  </a:prstClr>
                </a:solidFill>
                <a:effectLst/>
                <a:uLnTx/>
                <a:uFillTx/>
                <a:latin typeface="HarmonyOS Sans SC"/>
                <a:cs typeface="+mn-cs"/>
              </a:endParaRPr>
            </a:p>
          </p:txBody>
        </p:sp>
      </p:grpSp>
    </p:spTree>
    <p:extLst>
      <p:ext uri="{BB962C8B-B14F-4D97-AF65-F5344CB8AC3E}">
        <p14:creationId xmlns:p14="http://schemas.microsoft.com/office/powerpoint/2010/main" val="3694778168"/>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4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28">
            <a:extLst>
              <a:ext uri="{FF2B5EF4-FFF2-40B4-BE49-F238E27FC236}">
                <a16:creationId xmlns:a16="http://schemas.microsoft.com/office/drawing/2014/main" id="{0434BC66-E073-42BB-9FC5-2A256B892320}"/>
              </a:ext>
            </a:extLst>
          </p:cNvPr>
          <p:cNvSpPr>
            <a:spLocks/>
          </p:cNvSpPr>
          <p:nvPr/>
        </p:nvSpPr>
        <p:spPr bwMode="auto">
          <a:xfrm>
            <a:off x="7390407" y="2570679"/>
            <a:ext cx="1185556" cy="1898988"/>
          </a:xfrm>
          <a:custGeom>
            <a:avLst/>
            <a:gdLst>
              <a:gd name="T0" fmla="*/ 81 w 1598"/>
              <a:gd name="T1" fmla="*/ 0 h 2559"/>
              <a:gd name="T2" fmla="*/ 458 w 1598"/>
              <a:gd name="T3" fmla="*/ 2495 h 2559"/>
              <a:gd name="T4" fmla="*/ 790 w 1598"/>
              <a:gd name="T5" fmla="*/ 2401 h 2559"/>
              <a:gd name="T6" fmla="*/ 1569 w 1598"/>
              <a:gd name="T7" fmla="*/ 900 h 2559"/>
              <a:gd name="T8" fmla="*/ 1522 w 1598"/>
              <a:gd name="T9" fmla="*/ 749 h 2559"/>
              <a:gd name="T10" fmla="*/ 81 w 1598"/>
              <a:gd name="T11" fmla="*/ 0 h 2559"/>
            </a:gdLst>
            <a:ahLst/>
            <a:cxnLst>
              <a:cxn ang="0">
                <a:pos x="T0" y="T1"/>
              </a:cxn>
              <a:cxn ang="0">
                <a:pos x="T2" y="T3"/>
              </a:cxn>
              <a:cxn ang="0">
                <a:pos x="T4" y="T5"/>
              </a:cxn>
              <a:cxn ang="0">
                <a:pos x="T6" y="T7"/>
              </a:cxn>
              <a:cxn ang="0">
                <a:pos x="T8" y="T9"/>
              </a:cxn>
              <a:cxn ang="0">
                <a:pos x="T10" y="T11"/>
              </a:cxn>
            </a:cxnLst>
            <a:rect l="0" t="0" r="r" b="b"/>
            <a:pathLst>
              <a:path w="1598" h="2559">
                <a:moveTo>
                  <a:pt x="81" y="0"/>
                </a:moveTo>
                <a:cubicBezTo>
                  <a:pt x="552" y="439"/>
                  <a:pt x="0" y="2246"/>
                  <a:pt x="458" y="2495"/>
                </a:cubicBezTo>
                <a:cubicBezTo>
                  <a:pt x="577" y="2559"/>
                  <a:pt x="731" y="2515"/>
                  <a:pt x="790" y="2401"/>
                </a:cubicBezTo>
                <a:lnTo>
                  <a:pt x="1569" y="900"/>
                </a:lnTo>
                <a:cubicBezTo>
                  <a:pt x="1598" y="845"/>
                  <a:pt x="1577" y="777"/>
                  <a:pt x="1522" y="749"/>
                </a:cubicBezTo>
                <a:lnTo>
                  <a:pt x="81" y="0"/>
                </a:lnTo>
              </a:path>
            </a:pathLst>
          </a:custGeom>
          <a:gradFill flip="none" rotWithShape="1">
            <a:gsLst>
              <a:gs pos="100000">
                <a:schemeClr val="accent1">
                  <a:lumMod val="91000"/>
                </a:schemeClr>
              </a:gs>
              <a:gs pos="0">
                <a:schemeClr val="accent1">
                  <a:lumMod val="87000"/>
                </a:schemeClr>
              </a:gs>
            </a:gsLst>
            <a:lin ang="5400000" scaled="1"/>
            <a:tileRect/>
          </a:gradFill>
          <a:ln w="512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armonyOS Sans SC"/>
              <a:cs typeface="+mn-cs"/>
            </a:endParaRPr>
          </a:p>
        </p:txBody>
      </p:sp>
      <p:sp>
        <p:nvSpPr>
          <p:cNvPr id="3" name="Freeform 29">
            <a:extLst>
              <a:ext uri="{FF2B5EF4-FFF2-40B4-BE49-F238E27FC236}">
                <a16:creationId xmlns:a16="http://schemas.microsoft.com/office/drawing/2014/main" id="{8EB74A87-5C92-4366-8B63-86F88970823A}"/>
              </a:ext>
            </a:extLst>
          </p:cNvPr>
          <p:cNvSpPr>
            <a:spLocks/>
          </p:cNvSpPr>
          <p:nvPr/>
        </p:nvSpPr>
        <p:spPr bwMode="auto">
          <a:xfrm>
            <a:off x="6968118" y="2502484"/>
            <a:ext cx="1607844" cy="1801941"/>
          </a:xfrm>
          <a:custGeom>
            <a:avLst/>
            <a:gdLst>
              <a:gd name="T0" fmla="*/ 1390 w 2167"/>
              <a:gd name="T1" fmla="*/ 2431 h 2431"/>
              <a:gd name="T2" fmla="*/ 263 w 2167"/>
              <a:gd name="T3" fmla="*/ 174 h 2431"/>
              <a:gd name="T4" fmla="*/ 588 w 2167"/>
              <a:gd name="T5" fmla="*/ 60 h 2431"/>
              <a:gd name="T6" fmla="*/ 2089 w 2167"/>
              <a:gd name="T7" fmla="*/ 839 h 2431"/>
              <a:gd name="T8" fmla="*/ 2138 w 2167"/>
              <a:gd name="T9" fmla="*/ 990 h 2431"/>
              <a:gd name="T10" fmla="*/ 1390 w 2167"/>
              <a:gd name="T11" fmla="*/ 2431 h 2431"/>
            </a:gdLst>
            <a:ahLst/>
            <a:cxnLst>
              <a:cxn ang="0">
                <a:pos x="T0" y="T1"/>
              </a:cxn>
              <a:cxn ang="0">
                <a:pos x="T2" y="T3"/>
              </a:cxn>
              <a:cxn ang="0">
                <a:pos x="T4" y="T5"/>
              </a:cxn>
              <a:cxn ang="0">
                <a:pos x="T6" y="T7"/>
              </a:cxn>
              <a:cxn ang="0">
                <a:pos x="T8" y="T9"/>
              </a:cxn>
              <a:cxn ang="0">
                <a:pos x="T10" y="T11"/>
              </a:cxn>
            </a:cxnLst>
            <a:rect l="0" t="0" r="r" b="b"/>
            <a:pathLst>
              <a:path w="2167" h="2431">
                <a:moveTo>
                  <a:pt x="1390" y="2431"/>
                </a:moveTo>
                <a:cubicBezTo>
                  <a:pt x="1523" y="1801"/>
                  <a:pt x="0" y="672"/>
                  <a:pt x="263" y="174"/>
                </a:cubicBezTo>
                <a:cubicBezTo>
                  <a:pt x="326" y="54"/>
                  <a:pt x="474" y="0"/>
                  <a:pt x="588" y="60"/>
                </a:cubicBezTo>
                <a:cubicBezTo>
                  <a:pt x="964" y="255"/>
                  <a:pt x="2089" y="839"/>
                  <a:pt x="2089" y="839"/>
                </a:cubicBezTo>
                <a:cubicBezTo>
                  <a:pt x="2144" y="868"/>
                  <a:pt x="2167" y="935"/>
                  <a:pt x="2138" y="990"/>
                </a:cubicBezTo>
                <a:lnTo>
                  <a:pt x="1390" y="2431"/>
                </a:lnTo>
              </a:path>
            </a:pathLst>
          </a:custGeom>
          <a:gradFill>
            <a:gsLst>
              <a:gs pos="73000">
                <a:schemeClr val="accent1"/>
              </a:gs>
              <a:gs pos="31000">
                <a:schemeClr val="accent1">
                  <a:lumMod val="60000"/>
                  <a:lumOff val="40000"/>
                </a:schemeClr>
              </a:gs>
              <a:gs pos="0">
                <a:schemeClr val="accent1">
                  <a:lumMod val="40000"/>
                  <a:lumOff val="60000"/>
                </a:schemeClr>
              </a:gs>
            </a:gsLst>
            <a:path path="circle">
              <a:fillToRect r="100000" b="100000"/>
            </a:path>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 name="Freeform 31">
            <a:extLst>
              <a:ext uri="{FF2B5EF4-FFF2-40B4-BE49-F238E27FC236}">
                <a16:creationId xmlns:a16="http://schemas.microsoft.com/office/drawing/2014/main" id="{BA014FF3-0BB4-4251-B6F0-FD6AC2ED1048}"/>
              </a:ext>
            </a:extLst>
          </p:cNvPr>
          <p:cNvSpPr>
            <a:spLocks/>
          </p:cNvSpPr>
          <p:nvPr/>
        </p:nvSpPr>
        <p:spPr bwMode="auto">
          <a:xfrm>
            <a:off x="6141901" y="4773925"/>
            <a:ext cx="1636697" cy="1277358"/>
          </a:xfrm>
          <a:custGeom>
            <a:avLst/>
            <a:gdLst>
              <a:gd name="T0" fmla="*/ 2207 w 2207"/>
              <a:gd name="T1" fmla="*/ 0 h 1720"/>
              <a:gd name="T2" fmla="*/ 18 w 2207"/>
              <a:gd name="T3" fmla="*/ 1252 h 1720"/>
              <a:gd name="T4" fmla="*/ 225 w 2207"/>
              <a:gd name="T5" fmla="*/ 1528 h 1720"/>
              <a:gd name="T6" fmla="*/ 1906 w 2207"/>
              <a:gd name="T7" fmla="*/ 1713 h 1720"/>
              <a:gd name="T8" fmla="*/ 2030 w 2207"/>
              <a:gd name="T9" fmla="*/ 1614 h 1720"/>
              <a:gd name="T10" fmla="*/ 2207 w 2207"/>
              <a:gd name="T11" fmla="*/ 0 h 1720"/>
            </a:gdLst>
            <a:ahLst/>
            <a:cxnLst>
              <a:cxn ang="0">
                <a:pos x="T0" y="T1"/>
              </a:cxn>
              <a:cxn ang="0">
                <a:pos x="T2" y="T3"/>
              </a:cxn>
              <a:cxn ang="0">
                <a:pos x="T4" y="T5"/>
              </a:cxn>
              <a:cxn ang="0">
                <a:pos x="T6" y="T7"/>
              </a:cxn>
              <a:cxn ang="0">
                <a:pos x="T8" y="T9"/>
              </a:cxn>
              <a:cxn ang="0">
                <a:pos x="T10" y="T11"/>
              </a:cxn>
            </a:cxnLst>
            <a:rect l="0" t="0" r="r" b="b"/>
            <a:pathLst>
              <a:path w="2207" h="1720">
                <a:moveTo>
                  <a:pt x="2207" y="0"/>
                </a:moveTo>
                <a:cubicBezTo>
                  <a:pt x="1968" y="597"/>
                  <a:pt x="84" y="735"/>
                  <a:pt x="18" y="1252"/>
                </a:cubicBezTo>
                <a:cubicBezTo>
                  <a:pt x="0" y="1387"/>
                  <a:pt x="97" y="1514"/>
                  <a:pt x="225" y="1528"/>
                </a:cubicBezTo>
                <a:lnTo>
                  <a:pt x="1906" y="1713"/>
                </a:lnTo>
                <a:cubicBezTo>
                  <a:pt x="1967" y="1720"/>
                  <a:pt x="2023" y="1675"/>
                  <a:pt x="2030" y="1614"/>
                </a:cubicBezTo>
                <a:lnTo>
                  <a:pt x="2207" y="0"/>
                </a:lnTo>
              </a:path>
            </a:pathLst>
          </a:custGeom>
          <a:gradFill flip="none" rotWithShape="1">
            <a:gsLst>
              <a:gs pos="100000">
                <a:schemeClr val="accent1">
                  <a:lumMod val="91000"/>
                </a:schemeClr>
              </a:gs>
              <a:gs pos="0">
                <a:schemeClr val="accent1">
                  <a:lumMod val="87000"/>
                </a:schemeClr>
              </a:gs>
            </a:gsLst>
            <a:lin ang="5400000" scaled="1"/>
            <a:tileRect/>
          </a:gradFill>
          <a:ln w="512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armonyOS Sans SC"/>
              <a:cs typeface="+mn-cs"/>
            </a:endParaRPr>
          </a:p>
        </p:txBody>
      </p:sp>
      <p:sp>
        <p:nvSpPr>
          <p:cNvPr id="5" name="Freeform 32">
            <a:extLst>
              <a:ext uri="{FF2B5EF4-FFF2-40B4-BE49-F238E27FC236}">
                <a16:creationId xmlns:a16="http://schemas.microsoft.com/office/drawing/2014/main" id="{91B06A00-0BDC-4FCB-BDCE-47E4768A581C}"/>
              </a:ext>
            </a:extLst>
          </p:cNvPr>
          <p:cNvSpPr>
            <a:spLocks/>
          </p:cNvSpPr>
          <p:nvPr/>
        </p:nvSpPr>
        <p:spPr bwMode="auto">
          <a:xfrm>
            <a:off x="6359602" y="4480158"/>
            <a:ext cx="1437355" cy="1571125"/>
          </a:xfrm>
          <a:custGeom>
            <a:avLst/>
            <a:gdLst>
              <a:gd name="T0" fmla="*/ 0 w 1936"/>
              <a:gd name="T1" fmla="*/ 1931 h 2115"/>
              <a:gd name="T2" fmla="*/ 1698 w 1936"/>
              <a:gd name="T3" fmla="*/ 64 h 2115"/>
              <a:gd name="T4" fmla="*/ 1922 w 1936"/>
              <a:gd name="T5" fmla="*/ 327 h 2115"/>
              <a:gd name="T6" fmla="*/ 1737 w 1936"/>
              <a:gd name="T7" fmla="*/ 2008 h 2115"/>
              <a:gd name="T8" fmla="*/ 1613 w 1936"/>
              <a:gd name="T9" fmla="*/ 2108 h 2115"/>
              <a:gd name="T10" fmla="*/ 0 w 1936"/>
              <a:gd name="T11" fmla="*/ 1931 h 2115"/>
            </a:gdLst>
            <a:ahLst/>
            <a:cxnLst>
              <a:cxn ang="0">
                <a:pos x="T0" y="T1"/>
              </a:cxn>
              <a:cxn ang="0">
                <a:pos x="T2" y="T3"/>
              </a:cxn>
              <a:cxn ang="0">
                <a:pos x="T4" y="T5"/>
              </a:cxn>
              <a:cxn ang="0">
                <a:pos x="T6" y="T7"/>
              </a:cxn>
              <a:cxn ang="0">
                <a:pos x="T8" y="T9"/>
              </a:cxn>
              <a:cxn ang="0">
                <a:pos x="T10" y="T11"/>
              </a:cxn>
            </a:cxnLst>
            <a:rect l="0" t="0" r="r" b="b"/>
            <a:pathLst>
              <a:path w="1936" h="2115">
                <a:moveTo>
                  <a:pt x="0" y="1931"/>
                </a:moveTo>
                <a:cubicBezTo>
                  <a:pt x="635" y="1827"/>
                  <a:pt x="1139" y="0"/>
                  <a:pt x="1698" y="64"/>
                </a:cubicBezTo>
                <a:cubicBezTo>
                  <a:pt x="1833" y="80"/>
                  <a:pt x="1936" y="198"/>
                  <a:pt x="1922" y="327"/>
                </a:cubicBezTo>
                <a:cubicBezTo>
                  <a:pt x="1876" y="747"/>
                  <a:pt x="1737" y="2008"/>
                  <a:pt x="1737" y="2008"/>
                </a:cubicBezTo>
                <a:cubicBezTo>
                  <a:pt x="1730" y="2069"/>
                  <a:pt x="1675" y="2115"/>
                  <a:pt x="1613" y="2108"/>
                </a:cubicBezTo>
                <a:lnTo>
                  <a:pt x="0" y="1931"/>
                </a:lnTo>
                <a:close/>
              </a:path>
            </a:pathLst>
          </a:custGeom>
          <a:gradFill>
            <a:gsLst>
              <a:gs pos="73000">
                <a:schemeClr val="accent1"/>
              </a:gs>
              <a:gs pos="31000">
                <a:schemeClr val="accent1">
                  <a:lumMod val="60000"/>
                  <a:lumOff val="40000"/>
                </a:schemeClr>
              </a:gs>
              <a:gs pos="0">
                <a:schemeClr val="accent1">
                  <a:lumMod val="40000"/>
                  <a:lumOff val="60000"/>
                </a:schemeClr>
              </a:gs>
            </a:gsLst>
            <a:path path="circle">
              <a:fillToRect r="100000" b="100000"/>
            </a:path>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 name="Freeform 40">
            <a:extLst>
              <a:ext uri="{FF2B5EF4-FFF2-40B4-BE49-F238E27FC236}">
                <a16:creationId xmlns:a16="http://schemas.microsoft.com/office/drawing/2014/main" id="{2E1FB570-2392-4435-B151-5A2A2F196D98}"/>
              </a:ext>
            </a:extLst>
          </p:cNvPr>
          <p:cNvSpPr>
            <a:spLocks/>
          </p:cNvSpPr>
          <p:nvPr/>
        </p:nvSpPr>
        <p:spPr bwMode="auto">
          <a:xfrm>
            <a:off x="4376681" y="4485404"/>
            <a:ext cx="1453093" cy="1560633"/>
          </a:xfrm>
          <a:custGeom>
            <a:avLst/>
            <a:gdLst>
              <a:gd name="T0" fmla="*/ 1955 w 1955"/>
              <a:gd name="T1" fmla="*/ 1900 h 2102"/>
              <a:gd name="T2" fmla="*/ 237 w 1955"/>
              <a:gd name="T3" fmla="*/ 53 h 2102"/>
              <a:gd name="T4" fmla="*/ 16 w 1955"/>
              <a:gd name="T5" fmla="*/ 318 h 2102"/>
              <a:gd name="T6" fmla="*/ 218 w 1955"/>
              <a:gd name="T7" fmla="*/ 1997 h 2102"/>
              <a:gd name="T8" fmla="*/ 343 w 1955"/>
              <a:gd name="T9" fmla="*/ 2095 h 2102"/>
              <a:gd name="T10" fmla="*/ 1955 w 1955"/>
              <a:gd name="T11" fmla="*/ 1900 h 2102"/>
            </a:gdLst>
            <a:ahLst/>
            <a:cxnLst>
              <a:cxn ang="0">
                <a:pos x="T0" y="T1"/>
              </a:cxn>
              <a:cxn ang="0">
                <a:pos x="T2" y="T3"/>
              </a:cxn>
              <a:cxn ang="0">
                <a:pos x="T4" y="T5"/>
              </a:cxn>
              <a:cxn ang="0">
                <a:pos x="T6" y="T7"/>
              </a:cxn>
              <a:cxn ang="0">
                <a:pos x="T8" y="T9"/>
              </a:cxn>
              <a:cxn ang="0">
                <a:pos x="T10" y="T11"/>
              </a:cxn>
            </a:cxnLst>
            <a:rect l="0" t="0" r="r" b="b"/>
            <a:pathLst>
              <a:path w="1955" h="2102">
                <a:moveTo>
                  <a:pt x="1955" y="1900"/>
                </a:moveTo>
                <a:cubicBezTo>
                  <a:pt x="1319" y="1803"/>
                  <a:pt x="755" y="0"/>
                  <a:pt x="237" y="53"/>
                </a:cubicBezTo>
                <a:cubicBezTo>
                  <a:pt x="102" y="67"/>
                  <a:pt x="0" y="190"/>
                  <a:pt x="16" y="318"/>
                </a:cubicBezTo>
                <a:lnTo>
                  <a:pt x="218" y="1997"/>
                </a:lnTo>
                <a:cubicBezTo>
                  <a:pt x="226" y="2058"/>
                  <a:pt x="282" y="2102"/>
                  <a:pt x="343" y="2095"/>
                </a:cubicBezTo>
                <a:lnTo>
                  <a:pt x="1955" y="1900"/>
                </a:lnTo>
                <a:close/>
              </a:path>
            </a:pathLst>
          </a:custGeom>
          <a:gradFill flip="none" rotWithShape="1">
            <a:gsLst>
              <a:gs pos="100000">
                <a:schemeClr val="accent1">
                  <a:lumMod val="91000"/>
                </a:schemeClr>
              </a:gs>
              <a:gs pos="0">
                <a:schemeClr val="accent1">
                  <a:lumMod val="87000"/>
                </a:schemeClr>
              </a:gs>
            </a:gsLst>
            <a:lin ang="5400000" scaled="1"/>
            <a:tileRect/>
          </a:gradFill>
          <a:ln w="512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armonyOS Sans SC"/>
              <a:cs typeface="+mn-cs"/>
            </a:endParaRPr>
          </a:p>
        </p:txBody>
      </p:sp>
      <p:sp>
        <p:nvSpPr>
          <p:cNvPr id="7" name="Freeform 41">
            <a:extLst>
              <a:ext uri="{FF2B5EF4-FFF2-40B4-BE49-F238E27FC236}">
                <a16:creationId xmlns:a16="http://schemas.microsoft.com/office/drawing/2014/main" id="{2DD3567F-B68F-45D3-9F86-8CCEDBFEF8A5}"/>
              </a:ext>
            </a:extLst>
          </p:cNvPr>
          <p:cNvSpPr>
            <a:spLocks/>
          </p:cNvSpPr>
          <p:nvPr/>
        </p:nvSpPr>
        <p:spPr bwMode="auto">
          <a:xfrm>
            <a:off x="4395042" y="4773925"/>
            <a:ext cx="1647188" cy="1272113"/>
          </a:xfrm>
          <a:custGeom>
            <a:avLst/>
            <a:gdLst>
              <a:gd name="T0" fmla="*/ 0 w 2220"/>
              <a:gd name="T1" fmla="*/ 0 h 1717"/>
              <a:gd name="T2" fmla="*/ 2204 w 2220"/>
              <a:gd name="T3" fmla="*/ 1229 h 1717"/>
              <a:gd name="T4" fmla="*/ 2000 w 2220"/>
              <a:gd name="T5" fmla="*/ 1507 h 1717"/>
              <a:gd name="T6" fmla="*/ 321 w 2220"/>
              <a:gd name="T7" fmla="*/ 1710 h 1717"/>
              <a:gd name="T8" fmla="*/ 194 w 2220"/>
              <a:gd name="T9" fmla="*/ 1612 h 1717"/>
              <a:gd name="T10" fmla="*/ 0 w 2220"/>
              <a:gd name="T11" fmla="*/ 0 h 1717"/>
            </a:gdLst>
            <a:ahLst/>
            <a:cxnLst>
              <a:cxn ang="0">
                <a:pos x="T0" y="T1"/>
              </a:cxn>
              <a:cxn ang="0">
                <a:pos x="T2" y="T3"/>
              </a:cxn>
              <a:cxn ang="0">
                <a:pos x="T4" y="T5"/>
              </a:cxn>
              <a:cxn ang="0">
                <a:pos x="T6" y="T7"/>
              </a:cxn>
              <a:cxn ang="0">
                <a:pos x="T8" y="T9"/>
              </a:cxn>
              <a:cxn ang="0">
                <a:pos x="T10" y="T11"/>
              </a:cxn>
            </a:cxnLst>
            <a:rect l="0" t="0" r="r" b="b"/>
            <a:pathLst>
              <a:path w="2220" h="1717">
                <a:moveTo>
                  <a:pt x="0" y="0"/>
                </a:moveTo>
                <a:cubicBezTo>
                  <a:pt x="246" y="595"/>
                  <a:pt x="2140" y="670"/>
                  <a:pt x="2204" y="1229"/>
                </a:cubicBezTo>
                <a:cubicBezTo>
                  <a:pt x="2220" y="1364"/>
                  <a:pt x="2128" y="1491"/>
                  <a:pt x="2000" y="1507"/>
                </a:cubicBezTo>
                <a:cubicBezTo>
                  <a:pt x="1580" y="1558"/>
                  <a:pt x="321" y="1710"/>
                  <a:pt x="321" y="1710"/>
                </a:cubicBezTo>
                <a:cubicBezTo>
                  <a:pt x="259" y="1717"/>
                  <a:pt x="202" y="1673"/>
                  <a:pt x="194" y="1612"/>
                </a:cubicBezTo>
                <a:lnTo>
                  <a:pt x="0" y="0"/>
                </a:lnTo>
              </a:path>
            </a:pathLst>
          </a:custGeom>
          <a:gradFill>
            <a:gsLst>
              <a:gs pos="73000">
                <a:schemeClr val="accent1"/>
              </a:gs>
              <a:gs pos="31000">
                <a:schemeClr val="accent1">
                  <a:lumMod val="60000"/>
                  <a:lumOff val="40000"/>
                </a:schemeClr>
              </a:gs>
              <a:gs pos="0">
                <a:schemeClr val="accent1">
                  <a:lumMod val="40000"/>
                  <a:lumOff val="60000"/>
                </a:schemeClr>
              </a:gs>
            </a:gsLst>
            <a:path path="circle">
              <a:fillToRect r="100000" b="100000"/>
            </a:path>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 name="Freeform 44">
            <a:extLst>
              <a:ext uri="{FF2B5EF4-FFF2-40B4-BE49-F238E27FC236}">
                <a16:creationId xmlns:a16="http://schemas.microsoft.com/office/drawing/2014/main" id="{C45C86C6-9AF2-4E54-B684-98DEAF68AEDF}"/>
              </a:ext>
            </a:extLst>
          </p:cNvPr>
          <p:cNvSpPr>
            <a:spLocks/>
          </p:cNvSpPr>
          <p:nvPr/>
        </p:nvSpPr>
        <p:spPr bwMode="auto">
          <a:xfrm>
            <a:off x="3616037" y="2486746"/>
            <a:ext cx="1578993" cy="1815054"/>
          </a:xfrm>
          <a:custGeom>
            <a:avLst/>
            <a:gdLst>
              <a:gd name="T0" fmla="*/ 802 w 2130"/>
              <a:gd name="T1" fmla="*/ 2446 h 2446"/>
              <a:gd name="T2" fmla="*/ 1890 w 2130"/>
              <a:gd name="T3" fmla="*/ 170 h 2446"/>
              <a:gd name="T4" fmla="*/ 1563 w 2130"/>
              <a:gd name="T5" fmla="*/ 62 h 2446"/>
              <a:gd name="T6" fmla="*/ 75 w 2130"/>
              <a:gd name="T7" fmla="*/ 866 h 2446"/>
              <a:gd name="T8" fmla="*/ 30 w 2130"/>
              <a:gd name="T9" fmla="*/ 1018 h 2446"/>
              <a:gd name="T10" fmla="*/ 802 w 2130"/>
              <a:gd name="T11" fmla="*/ 2446 h 2446"/>
            </a:gdLst>
            <a:ahLst/>
            <a:cxnLst>
              <a:cxn ang="0">
                <a:pos x="T0" y="T1"/>
              </a:cxn>
              <a:cxn ang="0">
                <a:pos x="T2" y="T3"/>
              </a:cxn>
              <a:cxn ang="0">
                <a:pos x="T4" y="T5"/>
              </a:cxn>
              <a:cxn ang="0">
                <a:pos x="T6" y="T7"/>
              </a:cxn>
              <a:cxn ang="0">
                <a:pos x="T8" y="T9"/>
              </a:cxn>
              <a:cxn ang="0">
                <a:pos x="T10" y="T11"/>
              </a:cxn>
            </a:cxnLst>
            <a:rect l="0" t="0" r="r" b="b"/>
            <a:pathLst>
              <a:path w="2130" h="2446">
                <a:moveTo>
                  <a:pt x="802" y="2446"/>
                </a:moveTo>
                <a:cubicBezTo>
                  <a:pt x="659" y="1819"/>
                  <a:pt x="2130" y="633"/>
                  <a:pt x="1890" y="170"/>
                </a:cubicBezTo>
                <a:cubicBezTo>
                  <a:pt x="1828" y="50"/>
                  <a:pt x="1676" y="0"/>
                  <a:pt x="1563" y="62"/>
                </a:cubicBezTo>
                <a:lnTo>
                  <a:pt x="75" y="866"/>
                </a:lnTo>
                <a:cubicBezTo>
                  <a:pt x="21" y="896"/>
                  <a:pt x="0" y="964"/>
                  <a:pt x="30" y="1018"/>
                </a:cubicBezTo>
                <a:lnTo>
                  <a:pt x="802" y="2446"/>
                </a:lnTo>
              </a:path>
            </a:pathLst>
          </a:custGeom>
          <a:gradFill flip="none" rotWithShape="1">
            <a:gsLst>
              <a:gs pos="100000">
                <a:schemeClr val="accent1">
                  <a:lumMod val="91000"/>
                </a:schemeClr>
              </a:gs>
              <a:gs pos="0">
                <a:schemeClr val="accent1">
                  <a:lumMod val="87000"/>
                </a:schemeClr>
              </a:gs>
            </a:gsLst>
            <a:lin ang="5400000" scaled="1"/>
            <a:tileRect/>
          </a:gradFill>
          <a:ln w="512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armonyOS Sans SC"/>
              <a:cs typeface="+mn-cs"/>
            </a:endParaRPr>
          </a:p>
        </p:txBody>
      </p:sp>
      <p:sp>
        <p:nvSpPr>
          <p:cNvPr id="9" name="Freeform 45">
            <a:extLst>
              <a:ext uri="{FF2B5EF4-FFF2-40B4-BE49-F238E27FC236}">
                <a16:creationId xmlns:a16="http://schemas.microsoft.com/office/drawing/2014/main" id="{EA3F1273-B242-4DF9-B013-64D96DECE7AB}"/>
              </a:ext>
            </a:extLst>
          </p:cNvPr>
          <p:cNvSpPr>
            <a:spLocks/>
          </p:cNvSpPr>
          <p:nvPr/>
        </p:nvSpPr>
        <p:spPr bwMode="auto">
          <a:xfrm>
            <a:off x="3616037" y="2554942"/>
            <a:ext cx="1235390" cy="1904233"/>
          </a:xfrm>
          <a:custGeom>
            <a:avLst/>
            <a:gdLst>
              <a:gd name="T0" fmla="*/ 1503 w 1664"/>
              <a:gd name="T1" fmla="*/ 0 h 2566"/>
              <a:gd name="T2" fmla="*/ 1167 w 1664"/>
              <a:gd name="T3" fmla="*/ 2502 h 2566"/>
              <a:gd name="T4" fmla="*/ 834 w 1664"/>
              <a:gd name="T5" fmla="*/ 2413 h 2566"/>
              <a:gd name="T6" fmla="*/ 29 w 1664"/>
              <a:gd name="T7" fmla="*/ 926 h 2566"/>
              <a:gd name="T8" fmla="*/ 75 w 1664"/>
              <a:gd name="T9" fmla="*/ 772 h 2566"/>
              <a:gd name="T10" fmla="*/ 1503 w 1664"/>
              <a:gd name="T11" fmla="*/ 0 h 2566"/>
            </a:gdLst>
            <a:ahLst/>
            <a:cxnLst>
              <a:cxn ang="0">
                <a:pos x="T0" y="T1"/>
              </a:cxn>
              <a:cxn ang="0">
                <a:pos x="T2" y="T3"/>
              </a:cxn>
              <a:cxn ang="0">
                <a:pos x="T4" y="T5"/>
              </a:cxn>
              <a:cxn ang="0">
                <a:pos x="T6" y="T7"/>
              </a:cxn>
              <a:cxn ang="0">
                <a:pos x="T8" y="T9"/>
              </a:cxn>
              <a:cxn ang="0">
                <a:pos x="T10" y="T11"/>
              </a:cxn>
            </a:cxnLst>
            <a:rect l="0" t="0" r="r" b="b"/>
            <a:pathLst>
              <a:path w="1664" h="2566">
                <a:moveTo>
                  <a:pt x="1503" y="0"/>
                </a:moveTo>
                <a:cubicBezTo>
                  <a:pt x="1040" y="447"/>
                  <a:pt x="1664" y="2237"/>
                  <a:pt x="1167" y="2502"/>
                </a:cubicBezTo>
                <a:cubicBezTo>
                  <a:pt x="1048" y="2566"/>
                  <a:pt x="895" y="2527"/>
                  <a:pt x="834" y="2413"/>
                </a:cubicBezTo>
                <a:cubicBezTo>
                  <a:pt x="633" y="2042"/>
                  <a:pt x="29" y="926"/>
                  <a:pt x="29" y="926"/>
                </a:cubicBezTo>
                <a:cubicBezTo>
                  <a:pt x="0" y="871"/>
                  <a:pt x="20" y="802"/>
                  <a:pt x="75" y="772"/>
                </a:cubicBezTo>
                <a:lnTo>
                  <a:pt x="1503" y="0"/>
                </a:lnTo>
                <a:close/>
              </a:path>
            </a:pathLst>
          </a:custGeom>
          <a:gradFill>
            <a:gsLst>
              <a:gs pos="73000">
                <a:schemeClr val="accent1"/>
              </a:gs>
              <a:gs pos="31000">
                <a:schemeClr val="accent1">
                  <a:lumMod val="60000"/>
                  <a:lumOff val="40000"/>
                </a:schemeClr>
              </a:gs>
              <a:gs pos="0">
                <a:schemeClr val="accent1">
                  <a:lumMod val="40000"/>
                  <a:lumOff val="60000"/>
                </a:schemeClr>
              </a:gs>
            </a:gsLst>
            <a:path path="circle">
              <a:fillToRect r="100000" b="100000"/>
            </a:path>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51">
            <a:extLst>
              <a:ext uri="{FF2B5EF4-FFF2-40B4-BE49-F238E27FC236}">
                <a16:creationId xmlns:a16="http://schemas.microsoft.com/office/drawing/2014/main" id="{AD497F11-5B85-496B-B270-024A421F4FE0}"/>
              </a:ext>
            </a:extLst>
          </p:cNvPr>
          <p:cNvSpPr>
            <a:spLocks/>
          </p:cNvSpPr>
          <p:nvPr/>
        </p:nvSpPr>
        <p:spPr bwMode="auto">
          <a:xfrm>
            <a:off x="5174046" y="1403483"/>
            <a:ext cx="1925217" cy="1442601"/>
          </a:xfrm>
          <a:custGeom>
            <a:avLst/>
            <a:gdLst>
              <a:gd name="T0" fmla="*/ 0 w 2593"/>
              <a:gd name="T1" fmla="*/ 1191 h 1946"/>
              <a:gd name="T2" fmla="*/ 2492 w 2593"/>
              <a:gd name="T3" fmla="*/ 1584 h 1946"/>
              <a:gd name="T4" fmla="*/ 2502 w 2593"/>
              <a:gd name="T5" fmla="*/ 1239 h 1946"/>
              <a:gd name="T6" fmla="*/ 1306 w 2593"/>
              <a:gd name="T7" fmla="*/ 43 h 1946"/>
              <a:gd name="T8" fmla="*/ 1148 w 2593"/>
              <a:gd name="T9" fmla="*/ 43 h 1946"/>
              <a:gd name="T10" fmla="*/ 0 w 2593"/>
              <a:gd name="T11" fmla="*/ 1191 h 1946"/>
            </a:gdLst>
            <a:ahLst/>
            <a:cxnLst>
              <a:cxn ang="0">
                <a:pos x="T0" y="T1"/>
              </a:cxn>
              <a:cxn ang="0">
                <a:pos x="T2" y="T3"/>
              </a:cxn>
              <a:cxn ang="0">
                <a:pos x="T4" y="T5"/>
              </a:cxn>
              <a:cxn ang="0">
                <a:pos x="T6" y="T7"/>
              </a:cxn>
              <a:cxn ang="0">
                <a:pos x="T8" y="T9"/>
              </a:cxn>
              <a:cxn ang="0">
                <a:pos x="T10" y="T11"/>
              </a:cxn>
            </a:cxnLst>
            <a:rect l="0" t="0" r="r" b="b"/>
            <a:pathLst>
              <a:path w="2593" h="1946">
                <a:moveTo>
                  <a:pt x="0" y="1191"/>
                </a:moveTo>
                <a:cubicBezTo>
                  <a:pt x="560" y="875"/>
                  <a:pt x="2116" y="1946"/>
                  <a:pt x="2492" y="1584"/>
                </a:cubicBezTo>
                <a:cubicBezTo>
                  <a:pt x="2589" y="1490"/>
                  <a:pt x="2593" y="1330"/>
                  <a:pt x="2502" y="1239"/>
                </a:cubicBezTo>
                <a:lnTo>
                  <a:pt x="1306" y="43"/>
                </a:lnTo>
                <a:cubicBezTo>
                  <a:pt x="1263" y="0"/>
                  <a:pt x="1191" y="0"/>
                  <a:pt x="1148" y="43"/>
                </a:cubicBezTo>
                <a:lnTo>
                  <a:pt x="0" y="1191"/>
                </a:lnTo>
              </a:path>
            </a:pathLst>
          </a:custGeom>
          <a:gradFill flip="none" rotWithShape="1">
            <a:gsLst>
              <a:gs pos="100000">
                <a:schemeClr val="accent1">
                  <a:lumMod val="91000"/>
                </a:schemeClr>
              </a:gs>
              <a:gs pos="0">
                <a:schemeClr val="accent1">
                  <a:lumMod val="87000"/>
                </a:schemeClr>
              </a:gs>
            </a:gsLst>
            <a:lin ang="5400000" scaled="1"/>
            <a:tileRect/>
          </a:gradFill>
          <a:ln w="512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armonyOS Sans SC"/>
              <a:cs typeface="+mn-cs"/>
            </a:endParaRPr>
          </a:p>
        </p:txBody>
      </p:sp>
      <p:sp>
        <p:nvSpPr>
          <p:cNvPr id="11" name="Freeform 52">
            <a:extLst>
              <a:ext uri="{FF2B5EF4-FFF2-40B4-BE49-F238E27FC236}">
                <a16:creationId xmlns:a16="http://schemas.microsoft.com/office/drawing/2014/main" id="{C450BFB7-C208-4618-AA1F-AFA71EAA85C2}"/>
              </a:ext>
            </a:extLst>
          </p:cNvPr>
          <p:cNvSpPr>
            <a:spLocks/>
          </p:cNvSpPr>
          <p:nvPr/>
        </p:nvSpPr>
        <p:spPr bwMode="auto">
          <a:xfrm>
            <a:off x="5069130" y="1403483"/>
            <a:ext cx="1925217" cy="1471454"/>
          </a:xfrm>
          <a:custGeom>
            <a:avLst/>
            <a:gdLst>
              <a:gd name="T0" fmla="*/ 2594 w 2594"/>
              <a:gd name="T1" fmla="*/ 1190 h 1985"/>
              <a:gd name="T2" fmla="*/ 102 w 2594"/>
              <a:gd name="T3" fmla="*/ 1584 h 1985"/>
              <a:gd name="T4" fmla="*/ 91 w 2594"/>
              <a:gd name="T5" fmla="*/ 1239 h 1985"/>
              <a:gd name="T6" fmla="*/ 1287 w 2594"/>
              <a:gd name="T7" fmla="*/ 43 h 1985"/>
              <a:gd name="T8" fmla="*/ 1447 w 2594"/>
              <a:gd name="T9" fmla="*/ 43 h 1985"/>
              <a:gd name="T10" fmla="*/ 2594 w 2594"/>
              <a:gd name="T11" fmla="*/ 1190 h 1985"/>
            </a:gdLst>
            <a:ahLst/>
            <a:cxnLst>
              <a:cxn ang="0">
                <a:pos x="T0" y="T1"/>
              </a:cxn>
              <a:cxn ang="0">
                <a:pos x="T2" y="T3"/>
              </a:cxn>
              <a:cxn ang="0">
                <a:pos x="T4" y="T5"/>
              </a:cxn>
              <a:cxn ang="0">
                <a:pos x="T6" y="T7"/>
              </a:cxn>
              <a:cxn ang="0">
                <a:pos x="T8" y="T9"/>
              </a:cxn>
              <a:cxn ang="0">
                <a:pos x="T10" y="T11"/>
              </a:cxn>
            </a:cxnLst>
            <a:rect l="0" t="0" r="r" b="b"/>
            <a:pathLst>
              <a:path w="2594" h="1985">
                <a:moveTo>
                  <a:pt x="2594" y="1190"/>
                </a:moveTo>
                <a:cubicBezTo>
                  <a:pt x="2033" y="873"/>
                  <a:pt x="498" y="1985"/>
                  <a:pt x="102" y="1584"/>
                </a:cubicBezTo>
                <a:cubicBezTo>
                  <a:pt x="7" y="1488"/>
                  <a:pt x="0" y="1330"/>
                  <a:pt x="91" y="1239"/>
                </a:cubicBezTo>
                <a:lnTo>
                  <a:pt x="1287" y="43"/>
                </a:lnTo>
                <a:cubicBezTo>
                  <a:pt x="1331" y="0"/>
                  <a:pt x="1404" y="0"/>
                  <a:pt x="1447" y="43"/>
                </a:cubicBezTo>
                <a:lnTo>
                  <a:pt x="2594" y="1190"/>
                </a:lnTo>
                <a:close/>
              </a:path>
            </a:pathLst>
          </a:custGeom>
          <a:gradFill>
            <a:gsLst>
              <a:gs pos="73000">
                <a:schemeClr val="accent1"/>
              </a:gs>
              <a:gs pos="31000">
                <a:schemeClr val="accent1">
                  <a:lumMod val="60000"/>
                  <a:lumOff val="40000"/>
                </a:schemeClr>
              </a:gs>
              <a:gs pos="0">
                <a:schemeClr val="accent1">
                  <a:lumMod val="40000"/>
                  <a:lumOff val="60000"/>
                </a:schemeClr>
              </a:gs>
            </a:gsLst>
            <a:path path="circle">
              <a:fillToRect r="100000" b="100000"/>
            </a:path>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TextBox 49">
            <a:extLst>
              <a:ext uri="{FF2B5EF4-FFF2-40B4-BE49-F238E27FC236}">
                <a16:creationId xmlns:a16="http://schemas.microsoft.com/office/drawing/2014/main" id="{77794207-5E15-4939-B333-8AB9A29B9A67}"/>
              </a:ext>
            </a:extLst>
          </p:cNvPr>
          <p:cNvSpPr txBox="1"/>
          <p:nvPr/>
        </p:nvSpPr>
        <p:spPr>
          <a:xfrm>
            <a:off x="4287101" y="3295402"/>
            <a:ext cx="3617799" cy="107721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srgbClr val="2C373D"/>
                </a:solidFill>
                <a:effectLst/>
                <a:uLnTx/>
                <a:uFillTx/>
                <a:latin typeface="HarmonyOS Sans SC"/>
                <a:cs typeface="+mn-cs"/>
              </a:rPr>
              <a:t>Cor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schemeClr val="accent1"/>
                </a:solidFill>
                <a:effectLst/>
                <a:uLnTx/>
                <a:uFillTx/>
                <a:latin typeface="HarmonyOS Sans SC Black"/>
                <a:ea typeface="+mj-ea"/>
                <a:cs typeface="+mn-cs"/>
              </a:rPr>
              <a:t>Infographic</a:t>
            </a:r>
          </a:p>
        </p:txBody>
      </p:sp>
      <p:grpSp>
        <p:nvGrpSpPr>
          <p:cNvPr id="13" name="Group 50">
            <a:extLst>
              <a:ext uri="{FF2B5EF4-FFF2-40B4-BE49-F238E27FC236}">
                <a16:creationId xmlns:a16="http://schemas.microsoft.com/office/drawing/2014/main" id="{64C3F25B-A823-45EE-B597-03B81A89841E}"/>
              </a:ext>
            </a:extLst>
          </p:cNvPr>
          <p:cNvGrpSpPr/>
          <p:nvPr/>
        </p:nvGrpSpPr>
        <p:grpSpPr>
          <a:xfrm>
            <a:off x="5903987" y="1714000"/>
            <a:ext cx="384026" cy="384024"/>
            <a:chOff x="9626609" y="598489"/>
            <a:chExt cx="563563" cy="563563"/>
          </a:xfrm>
          <a:solidFill>
            <a:schemeClr val="bg1"/>
          </a:solidFill>
        </p:grpSpPr>
        <p:sp>
          <p:nvSpPr>
            <p:cNvPr id="14" name="Freeform 36">
              <a:extLst>
                <a:ext uri="{FF2B5EF4-FFF2-40B4-BE49-F238E27FC236}">
                  <a16:creationId xmlns:a16="http://schemas.microsoft.com/office/drawing/2014/main" id="{68CE4855-4BDC-483E-9D53-623C27335BCB}"/>
                </a:ext>
              </a:extLst>
            </p:cNvPr>
            <p:cNvSpPr>
              <a:spLocks noEditPoints="1"/>
            </p:cNvSpPr>
            <p:nvPr/>
          </p:nvSpPr>
          <p:spPr bwMode="auto">
            <a:xfrm>
              <a:off x="9626609" y="598489"/>
              <a:ext cx="563563" cy="563563"/>
            </a:xfrm>
            <a:custGeom>
              <a:avLst/>
              <a:gdLst>
                <a:gd name="T0" fmla="*/ 11804 w 13829"/>
                <a:gd name="T1" fmla="*/ 2025 h 13829"/>
                <a:gd name="T2" fmla="*/ 6915 w 13829"/>
                <a:gd name="T3" fmla="*/ 0 h 13829"/>
                <a:gd name="T4" fmla="*/ 2025 w 13829"/>
                <a:gd name="T5" fmla="*/ 2025 h 13829"/>
                <a:gd name="T6" fmla="*/ 0 w 13829"/>
                <a:gd name="T7" fmla="*/ 6915 h 13829"/>
                <a:gd name="T8" fmla="*/ 2025 w 13829"/>
                <a:gd name="T9" fmla="*/ 11804 h 13829"/>
                <a:gd name="T10" fmla="*/ 6915 w 13829"/>
                <a:gd name="T11" fmla="*/ 13829 h 13829"/>
                <a:gd name="T12" fmla="*/ 11804 w 13829"/>
                <a:gd name="T13" fmla="*/ 11804 h 13829"/>
                <a:gd name="T14" fmla="*/ 13829 w 13829"/>
                <a:gd name="T15" fmla="*/ 6915 h 13829"/>
                <a:gd name="T16" fmla="*/ 11804 w 13829"/>
                <a:gd name="T17" fmla="*/ 2025 h 13829"/>
                <a:gd name="T18" fmla="*/ 6915 w 13829"/>
                <a:gd name="T19" fmla="*/ 12983 h 13829"/>
                <a:gd name="T20" fmla="*/ 847 w 13829"/>
                <a:gd name="T21" fmla="*/ 6915 h 13829"/>
                <a:gd name="T22" fmla="*/ 6915 w 13829"/>
                <a:gd name="T23" fmla="*/ 847 h 13829"/>
                <a:gd name="T24" fmla="*/ 12982 w 13829"/>
                <a:gd name="T25" fmla="*/ 6915 h 13829"/>
                <a:gd name="T26" fmla="*/ 6915 w 13829"/>
                <a:gd name="T27" fmla="*/ 12983 h 138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829" h="13829">
                  <a:moveTo>
                    <a:pt x="11804" y="2025"/>
                  </a:moveTo>
                  <a:cubicBezTo>
                    <a:pt x="10498" y="719"/>
                    <a:pt x="8761" y="0"/>
                    <a:pt x="6915" y="0"/>
                  </a:cubicBezTo>
                  <a:cubicBezTo>
                    <a:pt x="5068" y="0"/>
                    <a:pt x="3331" y="719"/>
                    <a:pt x="2025" y="2025"/>
                  </a:cubicBezTo>
                  <a:cubicBezTo>
                    <a:pt x="719" y="3331"/>
                    <a:pt x="0" y="5068"/>
                    <a:pt x="0" y="6915"/>
                  </a:cubicBezTo>
                  <a:cubicBezTo>
                    <a:pt x="0" y="8762"/>
                    <a:pt x="719" y="10498"/>
                    <a:pt x="2025" y="11804"/>
                  </a:cubicBezTo>
                  <a:cubicBezTo>
                    <a:pt x="3331" y="13110"/>
                    <a:pt x="5068" y="13829"/>
                    <a:pt x="6915" y="13829"/>
                  </a:cubicBezTo>
                  <a:cubicBezTo>
                    <a:pt x="8761" y="13829"/>
                    <a:pt x="10498" y="13110"/>
                    <a:pt x="11804" y="11804"/>
                  </a:cubicBezTo>
                  <a:cubicBezTo>
                    <a:pt x="13110" y="10498"/>
                    <a:pt x="13829" y="8762"/>
                    <a:pt x="13829" y="6915"/>
                  </a:cubicBezTo>
                  <a:cubicBezTo>
                    <a:pt x="13829" y="5068"/>
                    <a:pt x="13110" y="3331"/>
                    <a:pt x="11804" y="2025"/>
                  </a:cubicBezTo>
                  <a:close/>
                  <a:moveTo>
                    <a:pt x="6915" y="12983"/>
                  </a:moveTo>
                  <a:cubicBezTo>
                    <a:pt x="3569" y="12983"/>
                    <a:pt x="847" y="10260"/>
                    <a:pt x="847" y="6915"/>
                  </a:cubicBezTo>
                  <a:cubicBezTo>
                    <a:pt x="847" y="3569"/>
                    <a:pt x="3569" y="847"/>
                    <a:pt x="6915" y="847"/>
                  </a:cubicBezTo>
                  <a:cubicBezTo>
                    <a:pt x="10260" y="847"/>
                    <a:pt x="12982" y="3569"/>
                    <a:pt x="12982" y="6915"/>
                  </a:cubicBezTo>
                  <a:cubicBezTo>
                    <a:pt x="12982" y="10260"/>
                    <a:pt x="10260" y="12983"/>
                    <a:pt x="6915" y="1298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37">
              <a:extLst>
                <a:ext uri="{FF2B5EF4-FFF2-40B4-BE49-F238E27FC236}">
                  <a16:creationId xmlns:a16="http://schemas.microsoft.com/office/drawing/2014/main" id="{998E0A64-F996-4826-A875-31E6C42B248B}"/>
                </a:ext>
              </a:extLst>
            </p:cNvPr>
            <p:cNvSpPr>
              <a:spLocks noEditPoints="1"/>
            </p:cNvSpPr>
            <p:nvPr/>
          </p:nvSpPr>
          <p:spPr bwMode="auto">
            <a:xfrm>
              <a:off x="9696459" y="666752"/>
              <a:ext cx="425450" cy="425450"/>
            </a:xfrm>
            <a:custGeom>
              <a:avLst/>
              <a:gdLst>
                <a:gd name="T0" fmla="*/ 5222 w 10443"/>
                <a:gd name="T1" fmla="*/ 0 h 10442"/>
                <a:gd name="T2" fmla="*/ 0 w 10443"/>
                <a:gd name="T3" fmla="*/ 5221 h 10442"/>
                <a:gd name="T4" fmla="*/ 5222 w 10443"/>
                <a:gd name="T5" fmla="*/ 10442 h 10442"/>
                <a:gd name="T6" fmla="*/ 10443 w 10443"/>
                <a:gd name="T7" fmla="*/ 5221 h 10442"/>
                <a:gd name="T8" fmla="*/ 5222 w 10443"/>
                <a:gd name="T9" fmla="*/ 0 h 10442"/>
                <a:gd name="T10" fmla="*/ 8598 w 10443"/>
                <a:gd name="T11" fmla="*/ 7999 h 10442"/>
                <a:gd name="T12" fmla="*/ 8015 w 10443"/>
                <a:gd name="T13" fmla="*/ 7416 h 10442"/>
                <a:gd name="T14" fmla="*/ 7417 w 10443"/>
                <a:gd name="T15" fmla="*/ 8015 h 10442"/>
                <a:gd name="T16" fmla="*/ 7999 w 10443"/>
                <a:gd name="T17" fmla="*/ 8597 h 10442"/>
                <a:gd name="T18" fmla="*/ 5645 w 10443"/>
                <a:gd name="T19" fmla="*/ 9575 h 10442"/>
                <a:gd name="T20" fmla="*/ 5645 w 10443"/>
                <a:gd name="T21" fmla="*/ 8748 h 10442"/>
                <a:gd name="T22" fmla="*/ 4798 w 10443"/>
                <a:gd name="T23" fmla="*/ 8748 h 10442"/>
                <a:gd name="T24" fmla="*/ 4798 w 10443"/>
                <a:gd name="T25" fmla="*/ 9575 h 10442"/>
                <a:gd name="T26" fmla="*/ 2444 w 10443"/>
                <a:gd name="T27" fmla="*/ 8597 h 10442"/>
                <a:gd name="T28" fmla="*/ 3026 w 10443"/>
                <a:gd name="T29" fmla="*/ 8015 h 10442"/>
                <a:gd name="T30" fmla="*/ 2428 w 10443"/>
                <a:gd name="T31" fmla="*/ 7416 h 10442"/>
                <a:gd name="T32" fmla="*/ 1845 w 10443"/>
                <a:gd name="T33" fmla="*/ 7999 h 10442"/>
                <a:gd name="T34" fmla="*/ 868 w 10443"/>
                <a:gd name="T35" fmla="*/ 5644 h 10442"/>
                <a:gd name="T36" fmla="*/ 1694 w 10443"/>
                <a:gd name="T37" fmla="*/ 5644 h 10442"/>
                <a:gd name="T38" fmla="*/ 1694 w 10443"/>
                <a:gd name="T39" fmla="*/ 4797 h 10442"/>
                <a:gd name="T40" fmla="*/ 868 w 10443"/>
                <a:gd name="T41" fmla="*/ 4797 h 10442"/>
                <a:gd name="T42" fmla="*/ 1845 w 10443"/>
                <a:gd name="T43" fmla="*/ 2443 h 10442"/>
                <a:gd name="T44" fmla="*/ 2428 w 10443"/>
                <a:gd name="T45" fmla="*/ 3026 h 10442"/>
                <a:gd name="T46" fmla="*/ 3026 w 10443"/>
                <a:gd name="T47" fmla="*/ 2427 h 10442"/>
                <a:gd name="T48" fmla="*/ 2444 w 10443"/>
                <a:gd name="T49" fmla="*/ 1844 h 10442"/>
                <a:gd name="T50" fmla="*/ 4798 w 10443"/>
                <a:gd name="T51" fmla="*/ 867 h 10442"/>
                <a:gd name="T52" fmla="*/ 4798 w 10443"/>
                <a:gd name="T53" fmla="*/ 1693 h 10442"/>
                <a:gd name="T54" fmla="*/ 5645 w 10443"/>
                <a:gd name="T55" fmla="*/ 1693 h 10442"/>
                <a:gd name="T56" fmla="*/ 5645 w 10443"/>
                <a:gd name="T57" fmla="*/ 867 h 10442"/>
                <a:gd name="T58" fmla="*/ 7999 w 10443"/>
                <a:gd name="T59" fmla="*/ 1844 h 10442"/>
                <a:gd name="T60" fmla="*/ 7417 w 10443"/>
                <a:gd name="T61" fmla="*/ 2427 h 10442"/>
                <a:gd name="T62" fmla="*/ 8015 w 10443"/>
                <a:gd name="T63" fmla="*/ 3026 h 10442"/>
                <a:gd name="T64" fmla="*/ 8598 w 10443"/>
                <a:gd name="T65" fmla="*/ 2443 h 10442"/>
                <a:gd name="T66" fmla="*/ 9575 w 10443"/>
                <a:gd name="T67" fmla="*/ 4797 h 10442"/>
                <a:gd name="T68" fmla="*/ 5954 w 10443"/>
                <a:gd name="T69" fmla="*/ 4797 h 10442"/>
                <a:gd name="T70" fmla="*/ 5645 w 10443"/>
                <a:gd name="T71" fmla="*/ 4488 h 10442"/>
                <a:gd name="T72" fmla="*/ 5645 w 10443"/>
                <a:gd name="T73" fmla="*/ 2540 h 10442"/>
                <a:gd name="T74" fmla="*/ 4798 w 10443"/>
                <a:gd name="T75" fmla="*/ 2540 h 10442"/>
                <a:gd name="T76" fmla="*/ 4798 w 10443"/>
                <a:gd name="T77" fmla="*/ 4488 h 10442"/>
                <a:gd name="T78" fmla="*/ 4375 w 10443"/>
                <a:gd name="T79" fmla="*/ 5221 h 10442"/>
                <a:gd name="T80" fmla="*/ 5222 w 10443"/>
                <a:gd name="T81" fmla="*/ 6067 h 10442"/>
                <a:gd name="T82" fmla="*/ 5954 w 10443"/>
                <a:gd name="T83" fmla="*/ 5644 h 10442"/>
                <a:gd name="T84" fmla="*/ 9575 w 10443"/>
                <a:gd name="T85" fmla="*/ 5644 h 10442"/>
                <a:gd name="T86" fmla="*/ 8598 w 10443"/>
                <a:gd name="T87" fmla="*/ 7999 h 10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0443" h="10442">
                  <a:moveTo>
                    <a:pt x="5222" y="0"/>
                  </a:moveTo>
                  <a:cubicBezTo>
                    <a:pt x="2343" y="0"/>
                    <a:pt x="0" y="2342"/>
                    <a:pt x="0" y="5221"/>
                  </a:cubicBezTo>
                  <a:cubicBezTo>
                    <a:pt x="0" y="8100"/>
                    <a:pt x="2343" y="10442"/>
                    <a:pt x="5222" y="10442"/>
                  </a:cubicBezTo>
                  <a:cubicBezTo>
                    <a:pt x="8100" y="10442"/>
                    <a:pt x="10443" y="8100"/>
                    <a:pt x="10443" y="5221"/>
                  </a:cubicBezTo>
                  <a:cubicBezTo>
                    <a:pt x="10443" y="2342"/>
                    <a:pt x="8100" y="0"/>
                    <a:pt x="5222" y="0"/>
                  </a:cubicBezTo>
                  <a:close/>
                  <a:moveTo>
                    <a:pt x="8598" y="7999"/>
                  </a:moveTo>
                  <a:lnTo>
                    <a:pt x="8015" y="7416"/>
                  </a:lnTo>
                  <a:lnTo>
                    <a:pt x="7417" y="8015"/>
                  </a:lnTo>
                  <a:lnTo>
                    <a:pt x="7999" y="8597"/>
                  </a:lnTo>
                  <a:cubicBezTo>
                    <a:pt x="7346" y="9136"/>
                    <a:pt x="6534" y="9489"/>
                    <a:pt x="5645" y="9575"/>
                  </a:cubicBezTo>
                  <a:lnTo>
                    <a:pt x="5645" y="8748"/>
                  </a:lnTo>
                  <a:lnTo>
                    <a:pt x="4798" y="8748"/>
                  </a:lnTo>
                  <a:lnTo>
                    <a:pt x="4798" y="9575"/>
                  </a:lnTo>
                  <a:cubicBezTo>
                    <a:pt x="3909" y="9489"/>
                    <a:pt x="3097" y="9136"/>
                    <a:pt x="2444" y="8597"/>
                  </a:cubicBezTo>
                  <a:lnTo>
                    <a:pt x="3026" y="8015"/>
                  </a:lnTo>
                  <a:lnTo>
                    <a:pt x="2428" y="7416"/>
                  </a:lnTo>
                  <a:lnTo>
                    <a:pt x="1845" y="7999"/>
                  </a:lnTo>
                  <a:cubicBezTo>
                    <a:pt x="1306" y="7345"/>
                    <a:pt x="953" y="6533"/>
                    <a:pt x="868" y="5644"/>
                  </a:cubicBezTo>
                  <a:lnTo>
                    <a:pt x="1694" y="5644"/>
                  </a:lnTo>
                  <a:lnTo>
                    <a:pt x="1694" y="4797"/>
                  </a:lnTo>
                  <a:lnTo>
                    <a:pt x="868" y="4797"/>
                  </a:lnTo>
                  <a:cubicBezTo>
                    <a:pt x="953" y="3908"/>
                    <a:pt x="1306" y="3096"/>
                    <a:pt x="1845" y="2443"/>
                  </a:cubicBezTo>
                  <a:lnTo>
                    <a:pt x="2428" y="3026"/>
                  </a:lnTo>
                  <a:lnTo>
                    <a:pt x="3026" y="2427"/>
                  </a:lnTo>
                  <a:lnTo>
                    <a:pt x="2444" y="1844"/>
                  </a:lnTo>
                  <a:cubicBezTo>
                    <a:pt x="3097" y="1305"/>
                    <a:pt x="3909" y="953"/>
                    <a:pt x="4798" y="867"/>
                  </a:cubicBezTo>
                  <a:lnTo>
                    <a:pt x="4798" y="1693"/>
                  </a:lnTo>
                  <a:lnTo>
                    <a:pt x="5645" y="1693"/>
                  </a:lnTo>
                  <a:lnTo>
                    <a:pt x="5645" y="867"/>
                  </a:lnTo>
                  <a:cubicBezTo>
                    <a:pt x="6534" y="953"/>
                    <a:pt x="7346" y="1305"/>
                    <a:pt x="7999" y="1844"/>
                  </a:cubicBezTo>
                  <a:lnTo>
                    <a:pt x="7417" y="2427"/>
                  </a:lnTo>
                  <a:lnTo>
                    <a:pt x="8015" y="3026"/>
                  </a:lnTo>
                  <a:lnTo>
                    <a:pt x="8598" y="2443"/>
                  </a:lnTo>
                  <a:cubicBezTo>
                    <a:pt x="9137" y="3096"/>
                    <a:pt x="9490" y="3908"/>
                    <a:pt x="9575" y="4797"/>
                  </a:cubicBezTo>
                  <a:lnTo>
                    <a:pt x="5954" y="4797"/>
                  </a:lnTo>
                  <a:cubicBezTo>
                    <a:pt x="5880" y="4669"/>
                    <a:pt x="5773" y="4562"/>
                    <a:pt x="5645" y="4488"/>
                  </a:cubicBezTo>
                  <a:lnTo>
                    <a:pt x="5645" y="2540"/>
                  </a:lnTo>
                  <a:lnTo>
                    <a:pt x="4798" y="2540"/>
                  </a:lnTo>
                  <a:lnTo>
                    <a:pt x="4798" y="4488"/>
                  </a:lnTo>
                  <a:cubicBezTo>
                    <a:pt x="4545" y="4635"/>
                    <a:pt x="4375" y="4908"/>
                    <a:pt x="4375" y="5221"/>
                  </a:cubicBezTo>
                  <a:cubicBezTo>
                    <a:pt x="4375" y="5688"/>
                    <a:pt x="4755" y="6067"/>
                    <a:pt x="5222" y="6067"/>
                  </a:cubicBezTo>
                  <a:cubicBezTo>
                    <a:pt x="5534" y="6067"/>
                    <a:pt x="5808" y="5897"/>
                    <a:pt x="5954" y="5644"/>
                  </a:cubicBezTo>
                  <a:lnTo>
                    <a:pt x="9575" y="5644"/>
                  </a:lnTo>
                  <a:cubicBezTo>
                    <a:pt x="9490" y="6533"/>
                    <a:pt x="9137" y="7345"/>
                    <a:pt x="8598" y="799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16" name="Group 53">
            <a:extLst>
              <a:ext uri="{FF2B5EF4-FFF2-40B4-BE49-F238E27FC236}">
                <a16:creationId xmlns:a16="http://schemas.microsoft.com/office/drawing/2014/main" id="{FC8AEA1E-AEE1-48A5-B973-E5B68B44FA16}"/>
              </a:ext>
            </a:extLst>
          </p:cNvPr>
          <p:cNvGrpSpPr/>
          <p:nvPr/>
        </p:nvGrpSpPr>
        <p:grpSpPr>
          <a:xfrm>
            <a:off x="4037631" y="3119178"/>
            <a:ext cx="289910" cy="372124"/>
            <a:chOff x="6430968" y="2055815"/>
            <a:chExt cx="425450" cy="546101"/>
          </a:xfrm>
          <a:solidFill>
            <a:schemeClr val="bg1"/>
          </a:solidFill>
        </p:grpSpPr>
        <p:sp>
          <p:nvSpPr>
            <p:cNvPr id="17" name="Freeform 66">
              <a:extLst>
                <a:ext uri="{FF2B5EF4-FFF2-40B4-BE49-F238E27FC236}">
                  <a16:creationId xmlns:a16="http://schemas.microsoft.com/office/drawing/2014/main" id="{B57F52E1-600B-465D-9932-C54AE1583975}"/>
                </a:ext>
              </a:extLst>
            </p:cNvPr>
            <p:cNvSpPr>
              <a:spLocks noEditPoints="1"/>
            </p:cNvSpPr>
            <p:nvPr/>
          </p:nvSpPr>
          <p:spPr bwMode="auto">
            <a:xfrm>
              <a:off x="6519868" y="2055815"/>
              <a:ext cx="247650" cy="247650"/>
            </a:xfrm>
            <a:custGeom>
              <a:avLst/>
              <a:gdLst>
                <a:gd name="T0" fmla="*/ 3034 w 6068"/>
                <a:gd name="T1" fmla="*/ 6068 h 6068"/>
                <a:gd name="T2" fmla="*/ 6068 w 6068"/>
                <a:gd name="T3" fmla="*/ 3034 h 6068"/>
                <a:gd name="T4" fmla="*/ 3034 w 6068"/>
                <a:gd name="T5" fmla="*/ 0 h 6068"/>
                <a:gd name="T6" fmla="*/ 0 w 6068"/>
                <a:gd name="T7" fmla="*/ 3034 h 6068"/>
                <a:gd name="T8" fmla="*/ 3034 w 6068"/>
                <a:gd name="T9" fmla="*/ 6068 h 6068"/>
                <a:gd name="T10" fmla="*/ 3034 w 6068"/>
                <a:gd name="T11" fmla="*/ 847 h 6068"/>
                <a:gd name="T12" fmla="*/ 5221 w 6068"/>
                <a:gd name="T13" fmla="*/ 3034 h 6068"/>
                <a:gd name="T14" fmla="*/ 3034 w 6068"/>
                <a:gd name="T15" fmla="*/ 5221 h 6068"/>
                <a:gd name="T16" fmla="*/ 847 w 6068"/>
                <a:gd name="T17" fmla="*/ 3034 h 6068"/>
                <a:gd name="T18" fmla="*/ 3034 w 6068"/>
                <a:gd name="T19" fmla="*/ 847 h 60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68" h="6068">
                  <a:moveTo>
                    <a:pt x="3034" y="6068"/>
                  </a:moveTo>
                  <a:cubicBezTo>
                    <a:pt x="4707" y="6068"/>
                    <a:pt x="6068" y="4707"/>
                    <a:pt x="6068" y="3034"/>
                  </a:cubicBezTo>
                  <a:cubicBezTo>
                    <a:pt x="6068" y="1361"/>
                    <a:pt x="4707" y="0"/>
                    <a:pt x="3034" y="0"/>
                  </a:cubicBezTo>
                  <a:cubicBezTo>
                    <a:pt x="1361" y="0"/>
                    <a:pt x="0" y="1361"/>
                    <a:pt x="0" y="3034"/>
                  </a:cubicBezTo>
                  <a:cubicBezTo>
                    <a:pt x="0" y="4707"/>
                    <a:pt x="1361" y="6068"/>
                    <a:pt x="3034" y="6068"/>
                  </a:cubicBezTo>
                  <a:close/>
                  <a:moveTo>
                    <a:pt x="3034" y="847"/>
                  </a:moveTo>
                  <a:cubicBezTo>
                    <a:pt x="4240" y="847"/>
                    <a:pt x="5221" y="1828"/>
                    <a:pt x="5221" y="3034"/>
                  </a:cubicBezTo>
                  <a:cubicBezTo>
                    <a:pt x="5221" y="4240"/>
                    <a:pt x="4240" y="5221"/>
                    <a:pt x="3034" y="5221"/>
                  </a:cubicBezTo>
                  <a:cubicBezTo>
                    <a:pt x="1828" y="5221"/>
                    <a:pt x="847" y="4240"/>
                    <a:pt x="847" y="3034"/>
                  </a:cubicBezTo>
                  <a:cubicBezTo>
                    <a:pt x="847" y="1828"/>
                    <a:pt x="1828" y="847"/>
                    <a:pt x="3034" y="84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67">
              <a:extLst>
                <a:ext uri="{FF2B5EF4-FFF2-40B4-BE49-F238E27FC236}">
                  <a16:creationId xmlns:a16="http://schemas.microsoft.com/office/drawing/2014/main" id="{99C46A04-2C36-4150-913F-2BA01D12141B}"/>
                </a:ext>
              </a:extLst>
            </p:cNvPr>
            <p:cNvSpPr>
              <a:spLocks noEditPoints="1"/>
            </p:cNvSpPr>
            <p:nvPr/>
          </p:nvSpPr>
          <p:spPr bwMode="auto">
            <a:xfrm>
              <a:off x="6430968" y="2336803"/>
              <a:ext cx="425450" cy="265113"/>
            </a:xfrm>
            <a:custGeom>
              <a:avLst/>
              <a:gdLst>
                <a:gd name="T0" fmla="*/ 5221 w 10442"/>
                <a:gd name="T1" fmla="*/ 0 h 6491"/>
                <a:gd name="T2" fmla="*/ 0 w 10442"/>
                <a:gd name="T3" fmla="*/ 5221 h 6491"/>
                <a:gd name="T4" fmla="*/ 0 w 10442"/>
                <a:gd name="T5" fmla="*/ 5645 h 6491"/>
                <a:gd name="T6" fmla="*/ 4798 w 10442"/>
                <a:gd name="T7" fmla="*/ 5645 h 6491"/>
                <a:gd name="T8" fmla="*/ 4798 w 10442"/>
                <a:gd name="T9" fmla="*/ 6491 h 6491"/>
                <a:gd name="T10" fmla="*/ 5644 w 10442"/>
                <a:gd name="T11" fmla="*/ 6491 h 6491"/>
                <a:gd name="T12" fmla="*/ 5644 w 10442"/>
                <a:gd name="T13" fmla="*/ 5645 h 6491"/>
                <a:gd name="T14" fmla="*/ 10442 w 10442"/>
                <a:gd name="T15" fmla="*/ 5645 h 6491"/>
                <a:gd name="T16" fmla="*/ 10442 w 10442"/>
                <a:gd name="T17" fmla="*/ 5221 h 6491"/>
                <a:gd name="T18" fmla="*/ 5221 w 10442"/>
                <a:gd name="T19" fmla="*/ 0 h 6491"/>
                <a:gd name="T20" fmla="*/ 5644 w 10442"/>
                <a:gd name="T21" fmla="*/ 4798 h 6491"/>
                <a:gd name="T22" fmla="*/ 5644 w 10442"/>
                <a:gd name="T23" fmla="*/ 2540 h 6491"/>
                <a:gd name="T24" fmla="*/ 4798 w 10442"/>
                <a:gd name="T25" fmla="*/ 2540 h 6491"/>
                <a:gd name="T26" fmla="*/ 4798 w 10442"/>
                <a:gd name="T27" fmla="*/ 4798 h 6491"/>
                <a:gd name="T28" fmla="*/ 867 w 10442"/>
                <a:gd name="T29" fmla="*/ 4798 h 6491"/>
                <a:gd name="T30" fmla="*/ 4798 w 10442"/>
                <a:gd name="T31" fmla="*/ 867 h 6491"/>
                <a:gd name="T32" fmla="*/ 4798 w 10442"/>
                <a:gd name="T33" fmla="*/ 1694 h 6491"/>
                <a:gd name="T34" fmla="*/ 5644 w 10442"/>
                <a:gd name="T35" fmla="*/ 1694 h 6491"/>
                <a:gd name="T36" fmla="*/ 5644 w 10442"/>
                <a:gd name="T37" fmla="*/ 867 h 6491"/>
                <a:gd name="T38" fmla="*/ 9575 w 10442"/>
                <a:gd name="T39" fmla="*/ 4798 h 6491"/>
                <a:gd name="T40" fmla="*/ 5644 w 10442"/>
                <a:gd name="T41" fmla="*/ 4798 h 64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442" h="6491">
                  <a:moveTo>
                    <a:pt x="5221" y="0"/>
                  </a:moveTo>
                  <a:cubicBezTo>
                    <a:pt x="2342" y="0"/>
                    <a:pt x="0" y="2343"/>
                    <a:pt x="0" y="5221"/>
                  </a:cubicBezTo>
                  <a:lnTo>
                    <a:pt x="0" y="5645"/>
                  </a:lnTo>
                  <a:lnTo>
                    <a:pt x="4798" y="5645"/>
                  </a:lnTo>
                  <a:lnTo>
                    <a:pt x="4798" y="6491"/>
                  </a:lnTo>
                  <a:lnTo>
                    <a:pt x="5644" y="6491"/>
                  </a:lnTo>
                  <a:lnTo>
                    <a:pt x="5644" y="5645"/>
                  </a:lnTo>
                  <a:lnTo>
                    <a:pt x="10442" y="5645"/>
                  </a:lnTo>
                  <a:lnTo>
                    <a:pt x="10442" y="5221"/>
                  </a:lnTo>
                  <a:cubicBezTo>
                    <a:pt x="10442" y="2343"/>
                    <a:pt x="8100" y="0"/>
                    <a:pt x="5221" y="0"/>
                  </a:cubicBezTo>
                  <a:close/>
                  <a:moveTo>
                    <a:pt x="5644" y="4798"/>
                  </a:moveTo>
                  <a:lnTo>
                    <a:pt x="5644" y="2540"/>
                  </a:lnTo>
                  <a:lnTo>
                    <a:pt x="4798" y="2540"/>
                  </a:lnTo>
                  <a:lnTo>
                    <a:pt x="4798" y="4798"/>
                  </a:lnTo>
                  <a:lnTo>
                    <a:pt x="867" y="4798"/>
                  </a:lnTo>
                  <a:cubicBezTo>
                    <a:pt x="1067" y="2723"/>
                    <a:pt x="2723" y="1068"/>
                    <a:pt x="4798" y="867"/>
                  </a:cubicBezTo>
                  <a:lnTo>
                    <a:pt x="4798" y="1694"/>
                  </a:lnTo>
                  <a:lnTo>
                    <a:pt x="5644" y="1694"/>
                  </a:lnTo>
                  <a:lnTo>
                    <a:pt x="5644" y="867"/>
                  </a:lnTo>
                  <a:cubicBezTo>
                    <a:pt x="7719" y="1068"/>
                    <a:pt x="9375" y="2723"/>
                    <a:pt x="9575" y="4798"/>
                  </a:cubicBezTo>
                  <a:lnTo>
                    <a:pt x="5644" y="479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9" name="Freeform 75">
            <a:extLst>
              <a:ext uri="{FF2B5EF4-FFF2-40B4-BE49-F238E27FC236}">
                <a16:creationId xmlns:a16="http://schemas.microsoft.com/office/drawing/2014/main" id="{0BC7C58F-CA31-45D6-BB82-131B6271E9CE}"/>
              </a:ext>
            </a:extLst>
          </p:cNvPr>
          <p:cNvSpPr>
            <a:spLocks noEditPoints="1"/>
          </p:cNvSpPr>
          <p:nvPr/>
        </p:nvSpPr>
        <p:spPr bwMode="auto">
          <a:xfrm>
            <a:off x="7791172" y="3155957"/>
            <a:ext cx="384026" cy="298566"/>
          </a:xfrm>
          <a:custGeom>
            <a:avLst/>
            <a:gdLst>
              <a:gd name="T0" fmla="*/ 13748 w 13829"/>
              <a:gd name="T1" fmla="*/ 7497 h 10781"/>
              <a:gd name="T2" fmla="*/ 12208 w 13829"/>
              <a:gd name="T3" fmla="*/ 1282 h 10781"/>
              <a:gd name="T4" fmla="*/ 10565 w 13829"/>
              <a:gd name="T5" fmla="*/ 0 h 10781"/>
              <a:gd name="T6" fmla="*/ 9398 w 13829"/>
              <a:gd name="T7" fmla="*/ 0 h 10781"/>
              <a:gd name="T8" fmla="*/ 9398 w 13829"/>
              <a:gd name="T9" fmla="*/ 847 h 10781"/>
              <a:gd name="T10" fmla="*/ 10565 w 13829"/>
              <a:gd name="T11" fmla="*/ 847 h 10781"/>
              <a:gd name="T12" fmla="*/ 11386 w 13829"/>
              <a:gd name="T13" fmla="*/ 1486 h 10781"/>
              <a:gd name="T14" fmla="*/ 12487 w 13829"/>
              <a:gd name="T15" fmla="*/ 5926 h 10781"/>
              <a:gd name="T16" fmla="*/ 10584 w 13829"/>
              <a:gd name="T17" fmla="*/ 5419 h 10781"/>
              <a:gd name="T18" fmla="*/ 7380 w 13829"/>
              <a:gd name="T19" fmla="*/ 7677 h 10781"/>
              <a:gd name="T20" fmla="*/ 6449 w 13829"/>
              <a:gd name="T21" fmla="*/ 7677 h 10781"/>
              <a:gd name="T22" fmla="*/ 3246 w 13829"/>
              <a:gd name="T23" fmla="*/ 5419 h 10781"/>
              <a:gd name="T24" fmla="*/ 1341 w 13829"/>
              <a:gd name="T25" fmla="*/ 5927 h 10781"/>
              <a:gd name="T26" fmla="*/ 2443 w 13829"/>
              <a:gd name="T27" fmla="*/ 1487 h 10781"/>
              <a:gd name="T28" fmla="*/ 3264 w 13829"/>
              <a:gd name="T29" fmla="*/ 847 h 10781"/>
              <a:gd name="T30" fmla="*/ 4431 w 13829"/>
              <a:gd name="T31" fmla="*/ 847 h 10781"/>
              <a:gd name="T32" fmla="*/ 4431 w 13829"/>
              <a:gd name="T33" fmla="*/ 0 h 10781"/>
              <a:gd name="T34" fmla="*/ 3264 w 13829"/>
              <a:gd name="T35" fmla="*/ 0 h 10781"/>
              <a:gd name="T36" fmla="*/ 1622 w 13829"/>
              <a:gd name="T37" fmla="*/ 1281 h 10781"/>
              <a:gd name="T38" fmla="*/ 81 w 13829"/>
              <a:gd name="T39" fmla="*/ 7499 h 10781"/>
              <a:gd name="T40" fmla="*/ 0 w 13829"/>
              <a:gd name="T41" fmla="*/ 8100 h 10781"/>
              <a:gd name="T42" fmla="*/ 986 w 13829"/>
              <a:gd name="T43" fmla="*/ 10027 h 10781"/>
              <a:gd name="T44" fmla="*/ 3246 w 13829"/>
              <a:gd name="T45" fmla="*/ 10781 h 10781"/>
              <a:gd name="T46" fmla="*/ 5505 w 13829"/>
              <a:gd name="T47" fmla="*/ 10033 h 10781"/>
              <a:gd name="T48" fmla="*/ 6454 w 13829"/>
              <a:gd name="T49" fmla="*/ 8523 h 10781"/>
              <a:gd name="T50" fmla="*/ 7376 w 13829"/>
              <a:gd name="T51" fmla="*/ 8523 h 10781"/>
              <a:gd name="T52" fmla="*/ 8325 w 13829"/>
              <a:gd name="T53" fmla="*/ 10033 h 10781"/>
              <a:gd name="T54" fmla="*/ 10584 w 13829"/>
              <a:gd name="T55" fmla="*/ 10781 h 10781"/>
              <a:gd name="T56" fmla="*/ 12844 w 13829"/>
              <a:gd name="T57" fmla="*/ 10027 h 10781"/>
              <a:gd name="T58" fmla="*/ 13829 w 13829"/>
              <a:gd name="T59" fmla="*/ 8100 h 10781"/>
              <a:gd name="T60" fmla="*/ 13748 w 13829"/>
              <a:gd name="T61" fmla="*/ 7497 h 10781"/>
              <a:gd name="T62" fmla="*/ 3246 w 13829"/>
              <a:gd name="T63" fmla="*/ 9935 h 10781"/>
              <a:gd name="T64" fmla="*/ 2196 w 13829"/>
              <a:gd name="T65" fmla="*/ 9749 h 10781"/>
              <a:gd name="T66" fmla="*/ 2788 w 13829"/>
              <a:gd name="T67" fmla="*/ 9156 h 10781"/>
              <a:gd name="T68" fmla="*/ 2190 w 13829"/>
              <a:gd name="T69" fmla="*/ 8558 h 10781"/>
              <a:gd name="T70" fmla="*/ 1441 w 13829"/>
              <a:gd name="T71" fmla="*/ 9306 h 10781"/>
              <a:gd name="T72" fmla="*/ 847 w 13829"/>
              <a:gd name="T73" fmla="*/ 8100 h 10781"/>
              <a:gd name="T74" fmla="*/ 3246 w 13829"/>
              <a:gd name="T75" fmla="*/ 6266 h 10781"/>
              <a:gd name="T76" fmla="*/ 4295 w 13829"/>
              <a:gd name="T77" fmla="*/ 6452 h 10781"/>
              <a:gd name="T78" fmla="*/ 2788 w 13829"/>
              <a:gd name="T79" fmla="*/ 7959 h 10781"/>
              <a:gd name="T80" fmla="*/ 3387 w 13829"/>
              <a:gd name="T81" fmla="*/ 8558 h 10781"/>
              <a:gd name="T82" fmla="*/ 5046 w 13829"/>
              <a:gd name="T83" fmla="*/ 6898 h 10781"/>
              <a:gd name="T84" fmla="*/ 5645 w 13829"/>
              <a:gd name="T85" fmla="*/ 8111 h 10781"/>
              <a:gd name="T86" fmla="*/ 3246 w 13829"/>
              <a:gd name="T87" fmla="*/ 9935 h 10781"/>
              <a:gd name="T88" fmla="*/ 10584 w 13829"/>
              <a:gd name="T89" fmla="*/ 9935 h 10781"/>
              <a:gd name="T90" fmla="*/ 9533 w 13829"/>
              <a:gd name="T91" fmla="*/ 9750 h 10781"/>
              <a:gd name="T92" fmla="*/ 10126 w 13829"/>
              <a:gd name="T93" fmla="*/ 9156 h 10781"/>
              <a:gd name="T94" fmla="*/ 9527 w 13829"/>
              <a:gd name="T95" fmla="*/ 8558 h 10781"/>
              <a:gd name="T96" fmla="*/ 8777 w 13829"/>
              <a:gd name="T97" fmla="*/ 9308 h 10781"/>
              <a:gd name="T98" fmla="*/ 8185 w 13829"/>
              <a:gd name="T99" fmla="*/ 8111 h 10781"/>
              <a:gd name="T100" fmla="*/ 8853 w 13829"/>
              <a:gd name="T101" fmla="*/ 6839 h 10781"/>
              <a:gd name="T102" fmla="*/ 10584 w 13829"/>
              <a:gd name="T103" fmla="*/ 6266 h 10781"/>
              <a:gd name="T104" fmla="*/ 11634 w 13829"/>
              <a:gd name="T105" fmla="*/ 6451 h 10781"/>
              <a:gd name="T106" fmla="*/ 10126 w 13829"/>
              <a:gd name="T107" fmla="*/ 7959 h 10781"/>
              <a:gd name="T108" fmla="*/ 10725 w 13829"/>
              <a:gd name="T109" fmla="*/ 8558 h 10781"/>
              <a:gd name="T110" fmla="*/ 12389 w 13829"/>
              <a:gd name="T111" fmla="*/ 6894 h 10781"/>
              <a:gd name="T112" fmla="*/ 12934 w 13829"/>
              <a:gd name="T113" fmla="*/ 7730 h 10781"/>
              <a:gd name="T114" fmla="*/ 12934 w 13829"/>
              <a:gd name="T115" fmla="*/ 7732 h 10781"/>
              <a:gd name="T116" fmla="*/ 12982 w 13829"/>
              <a:gd name="T117" fmla="*/ 8100 h 10781"/>
              <a:gd name="T118" fmla="*/ 10584 w 13829"/>
              <a:gd name="T119" fmla="*/ 9935 h 107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3829" h="10781">
                <a:moveTo>
                  <a:pt x="13748" y="7497"/>
                </a:moveTo>
                <a:cubicBezTo>
                  <a:pt x="13616" y="6963"/>
                  <a:pt x="12571" y="2739"/>
                  <a:pt x="12208" y="1282"/>
                </a:cubicBezTo>
                <a:cubicBezTo>
                  <a:pt x="12020" y="527"/>
                  <a:pt x="11344" y="0"/>
                  <a:pt x="10565" y="0"/>
                </a:cubicBezTo>
                <a:lnTo>
                  <a:pt x="9398" y="0"/>
                </a:lnTo>
                <a:lnTo>
                  <a:pt x="9398" y="847"/>
                </a:lnTo>
                <a:lnTo>
                  <a:pt x="10565" y="847"/>
                </a:lnTo>
                <a:cubicBezTo>
                  <a:pt x="10955" y="847"/>
                  <a:pt x="11293" y="1110"/>
                  <a:pt x="11386" y="1486"/>
                </a:cubicBezTo>
                <a:cubicBezTo>
                  <a:pt x="11615" y="2405"/>
                  <a:pt x="12116" y="4426"/>
                  <a:pt x="12487" y="5926"/>
                </a:cubicBezTo>
                <a:cubicBezTo>
                  <a:pt x="11937" y="5597"/>
                  <a:pt x="11276" y="5419"/>
                  <a:pt x="10584" y="5419"/>
                </a:cubicBezTo>
                <a:cubicBezTo>
                  <a:pt x="8972" y="5419"/>
                  <a:pt x="7632" y="6398"/>
                  <a:pt x="7380" y="7677"/>
                </a:cubicBezTo>
                <a:lnTo>
                  <a:pt x="6449" y="7677"/>
                </a:lnTo>
                <a:cubicBezTo>
                  <a:pt x="6198" y="6398"/>
                  <a:pt x="4857" y="5419"/>
                  <a:pt x="3246" y="5419"/>
                </a:cubicBezTo>
                <a:cubicBezTo>
                  <a:pt x="2553" y="5419"/>
                  <a:pt x="1891" y="5597"/>
                  <a:pt x="1341" y="5927"/>
                </a:cubicBezTo>
                <a:cubicBezTo>
                  <a:pt x="1712" y="4427"/>
                  <a:pt x="2212" y="2407"/>
                  <a:pt x="2443" y="1487"/>
                </a:cubicBezTo>
                <a:cubicBezTo>
                  <a:pt x="2538" y="1110"/>
                  <a:pt x="2875" y="847"/>
                  <a:pt x="3264" y="847"/>
                </a:cubicBezTo>
                <a:lnTo>
                  <a:pt x="4431" y="847"/>
                </a:lnTo>
                <a:lnTo>
                  <a:pt x="4431" y="0"/>
                </a:lnTo>
                <a:lnTo>
                  <a:pt x="3264" y="0"/>
                </a:lnTo>
                <a:cubicBezTo>
                  <a:pt x="2487" y="0"/>
                  <a:pt x="1811" y="527"/>
                  <a:pt x="1622" y="1281"/>
                </a:cubicBezTo>
                <a:cubicBezTo>
                  <a:pt x="1254" y="2742"/>
                  <a:pt x="210" y="6977"/>
                  <a:pt x="81" y="7499"/>
                </a:cubicBezTo>
                <a:cubicBezTo>
                  <a:pt x="28" y="7694"/>
                  <a:pt x="0" y="7895"/>
                  <a:pt x="0" y="8100"/>
                </a:cubicBezTo>
                <a:cubicBezTo>
                  <a:pt x="0" y="8834"/>
                  <a:pt x="350" y="9519"/>
                  <a:pt x="986" y="10027"/>
                </a:cubicBezTo>
                <a:cubicBezTo>
                  <a:pt x="1594" y="10513"/>
                  <a:pt x="2396" y="10781"/>
                  <a:pt x="3246" y="10781"/>
                </a:cubicBezTo>
                <a:cubicBezTo>
                  <a:pt x="4096" y="10781"/>
                  <a:pt x="4898" y="10515"/>
                  <a:pt x="5505" y="10033"/>
                </a:cubicBezTo>
                <a:cubicBezTo>
                  <a:pt x="6020" y="9624"/>
                  <a:pt x="6348" y="9098"/>
                  <a:pt x="6454" y="8523"/>
                </a:cubicBezTo>
                <a:lnTo>
                  <a:pt x="7376" y="8523"/>
                </a:lnTo>
                <a:cubicBezTo>
                  <a:pt x="7482" y="9098"/>
                  <a:pt x="7809" y="9624"/>
                  <a:pt x="8325" y="10033"/>
                </a:cubicBezTo>
                <a:cubicBezTo>
                  <a:pt x="8931" y="10515"/>
                  <a:pt x="9734" y="10781"/>
                  <a:pt x="10584" y="10781"/>
                </a:cubicBezTo>
                <a:cubicBezTo>
                  <a:pt x="11433" y="10781"/>
                  <a:pt x="12236" y="10513"/>
                  <a:pt x="12844" y="10027"/>
                </a:cubicBezTo>
                <a:cubicBezTo>
                  <a:pt x="13479" y="9519"/>
                  <a:pt x="13829" y="8834"/>
                  <a:pt x="13829" y="8100"/>
                </a:cubicBezTo>
                <a:cubicBezTo>
                  <a:pt x="13829" y="7894"/>
                  <a:pt x="13802" y="7692"/>
                  <a:pt x="13748" y="7497"/>
                </a:cubicBezTo>
                <a:close/>
                <a:moveTo>
                  <a:pt x="3246" y="9935"/>
                </a:moveTo>
                <a:cubicBezTo>
                  <a:pt x="2869" y="9935"/>
                  <a:pt x="2513" y="9868"/>
                  <a:pt x="2196" y="9749"/>
                </a:cubicBezTo>
                <a:lnTo>
                  <a:pt x="2788" y="9156"/>
                </a:lnTo>
                <a:lnTo>
                  <a:pt x="2190" y="8558"/>
                </a:lnTo>
                <a:lnTo>
                  <a:pt x="1441" y="9306"/>
                </a:lnTo>
                <a:cubicBezTo>
                  <a:pt x="1072" y="8984"/>
                  <a:pt x="847" y="8562"/>
                  <a:pt x="847" y="8100"/>
                </a:cubicBezTo>
                <a:cubicBezTo>
                  <a:pt x="847" y="7088"/>
                  <a:pt x="1923" y="6266"/>
                  <a:pt x="3246" y="6266"/>
                </a:cubicBezTo>
                <a:cubicBezTo>
                  <a:pt x="3616" y="6266"/>
                  <a:pt x="3972" y="6330"/>
                  <a:pt x="4295" y="6452"/>
                </a:cubicBezTo>
                <a:lnTo>
                  <a:pt x="2788" y="7959"/>
                </a:lnTo>
                <a:lnTo>
                  <a:pt x="3387" y="8558"/>
                </a:lnTo>
                <a:lnTo>
                  <a:pt x="5046" y="6898"/>
                </a:lnTo>
                <a:cubicBezTo>
                  <a:pt x="5433" y="7237"/>
                  <a:pt x="5645" y="7664"/>
                  <a:pt x="5645" y="8111"/>
                </a:cubicBezTo>
                <a:cubicBezTo>
                  <a:pt x="5645" y="9116"/>
                  <a:pt x="4569" y="9935"/>
                  <a:pt x="3246" y="9935"/>
                </a:cubicBezTo>
                <a:close/>
                <a:moveTo>
                  <a:pt x="10584" y="9935"/>
                </a:moveTo>
                <a:cubicBezTo>
                  <a:pt x="10207" y="9935"/>
                  <a:pt x="9850" y="9868"/>
                  <a:pt x="9533" y="9750"/>
                </a:cubicBezTo>
                <a:lnTo>
                  <a:pt x="10126" y="9156"/>
                </a:lnTo>
                <a:lnTo>
                  <a:pt x="9527" y="8558"/>
                </a:lnTo>
                <a:lnTo>
                  <a:pt x="8777" y="9308"/>
                </a:lnTo>
                <a:cubicBezTo>
                  <a:pt x="8409" y="8988"/>
                  <a:pt x="8185" y="8569"/>
                  <a:pt x="8185" y="8111"/>
                </a:cubicBezTo>
                <a:cubicBezTo>
                  <a:pt x="8185" y="7638"/>
                  <a:pt x="8422" y="7186"/>
                  <a:pt x="8853" y="6839"/>
                </a:cubicBezTo>
                <a:cubicBezTo>
                  <a:pt x="9312" y="6469"/>
                  <a:pt x="9927" y="6266"/>
                  <a:pt x="10584" y="6266"/>
                </a:cubicBezTo>
                <a:cubicBezTo>
                  <a:pt x="10960" y="6266"/>
                  <a:pt x="11316" y="6332"/>
                  <a:pt x="11634" y="6451"/>
                </a:cubicBezTo>
                <a:lnTo>
                  <a:pt x="10126" y="7959"/>
                </a:lnTo>
                <a:lnTo>
                  <a:pt x="10725" y="8558"/>
                </a:lnTo>
                <a:lnTo>
                  <a:pt x="12389" y="6894"/>
                </a:lnTo>
                <a:cubicBezTo>
                  <a:pt x="12657" y="7128"/>
                  <a:pt x="12849" y="7414"/>
                  <a:pt x="12934" y="7730"/>
                </a:cubicBezTo>
                <a:cubicBezTo>
                  <a:pt x="12934" y="7731"/>
                  <a:pt x="12934" y="7731"/>
                  <a:pt x="12934" y="7732"/>
                </a:cubicBezTo>
                <a:cubicBezTo>
                  <a:pt x="12966" y="7851"/>
                  <a:pt x="12982" y="7974"/>
                  <a:pt x="12982" y="8100"/>
                </a:cubicBezTo>
                <a:cubicBezTo>
                  <a:pt x="12983" y="9112"/>
                  <a:pt x="11906" y="9935"/>
                  <a:pt x="10584" y="99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78">
            <a:extLst>
              <a:ext uri="{FF2B5EF4-FFF2-40B4-BE49-F238E27FC236}">
                <a16:creationId xmlns:a16="http://schemas.microsoft.com/office/drawing/2014/main" id="{D4CB770E-DD6D-473D-A0E1-741ABE500CB1}"/>
              </a:ext>
            </a:extLst>
          </p:cNvPr>
          <p:cNvSpPr>
            <a:spLocks noEditPoints="1"/>
          </p:cNvSpPr>
          <p:nvPr/>
        </p:nvSpPr>
        <p:spPr bwMode="auto">
          <a:xfrm>
            <a:off x="4708904" y="5431055"/>
            <a:ext cx="360226" cy="360226"/>
          </a:xfrm>
          <a:custGeom>
            <a:avLst/>
            <a:gdLst>
              <a:gd name="T0" fmla="*/ 6914 w 12982"/>
              <a:gd name="T1" fmla="*/ 863 h 12983"/>
              <a:gd name="T2" fmla="*/ 6068 w 12982"/>
              <a:gd name="T3" fmla="*/ 0 h 12983"/>
              <a:gd name="T4" fmla="*/ 863 w 12982"/>
              <a:gd name="T5" fmla="*/ 6068 h 12983"/>
              <a:gd name="T6" fmla="*/ 0 w 12982"/>
              <a:gd name="T7" fmla="*/ 6915 h 12983"/>
              <a:gd name="T8" fmla="*/ 6068 w 12982"/>
              <a:gd name="T9" fmla="*/ 12120 h 12983"/>
              <a:gd name="T10" fmla="*/ 6914 w 12982"/>
              <a:gd name="T11" fmla="*/ 12983 h 12983"/>
              <a:gd name="T12" fmla="*/ 12120 w 12982"/>
              <a:gd name="T13" fmla="*/ 6915 h 12983"/>
              <a:gd name="T14" fmla="*/ 12982 w 12982"/>
              <a:gd name="T15" fmla="*/ 6068 h 12983"/>
              <a:gd name="T16" fmla="*/ 10744 w 12982"/>
              <a:gd name="T17" fmla="*/ 4272 h 12983"/>
              <a:gd name="T18" fmla="*/ 7840 w 12982"/>
              <a:gd name="T19" fmla="*/ 4340 h 12983"/>
              <a:gd name="T20" fmla="*/ 10744 w 12982"/>
              <a:gd name="T21" fmla="*/ 4272 h 12983"/>
              <a:gd name="T22" fmla="*/ 6491 w 12982"/>
              <a:gd name="T23" fmla="*/ 8185 h 12983"/>
              <a:gd name="T24" fmla="*/ 6491 w 12982"/>
              <a:gd name="T25" fmla="*/ 4798 h 12983"/>
              <a:gd name="T26" fmla="*/ 6491 w 12982"/>
              <a:gd name="T27" fmla="*/ 1694 h 12983"/>
              <a:gd name="T28" fmla="*/ 7058 w 12982"/>
              <a:gd name="T29" fmla="*/ 4015 h 12983"/>
              <a:gd name="T30" fmla="*/ 5924 w 12982"/>
              <a:gd name="T31" fmla="*/ 4015 h 12983"/>
              <a:gd name="T32" fmla="*/ 6491 w 12982"/>
              <a:gd name="T33" fmla="*/ 1694 h 12983"/>
              <a:gd name="T34" fmla="*/ 5142 w 12982"/>
              <a:gd name="T35" fmla="*/ 4340 h 12983"/>
              <a:gd name="T36" fmla="*/ 2239 w 12982"/>
              <a:gd name="T37" fmla="*/ 4272 h 12983"/>
              <a:gd name="T38" fmla="*/ 1693 w 12982"/>
              <a:gd name="T39" fmla="*/ 6491 h 12983"/>
              <a:gd name="T40" fmla="*/ 4015 w 12982"/>
              <a:gd name="T41" fmla="*/ 5924 h 12983"/>
              <a:gd name="T42" fmla="*/ 4015 w 12982"/>
              <a:gd name="T43" fmla="*/ 7059 h 12983"/>
              <a:gd name="T44" fmla="*/ 1693 w 12982"/>
              <a:gd name="T45" fmla="*/ 6491 h 12983"/>
              <a:gd name="T46" fmla="*/ 4340 w 12982"/>
              <a:gd name="T47" fmla="*/ 7841 h 12983"/>
              <a:gd name="T48" fmla="*/ 4272 w 12982"/>
              <a:gd name="T49" fmla="*/ 10744 h 12983"/>
              <a:gd name="T50" fmla="*/ 6491 w 12982"/>
              <a:gd name="T51" fmla="*/ 11289 h 12983"/>
              <a:gd name="T52" fmla="*/ 5924 w 12982"/>
              <a:gd name="T53" fmla="*/ 8968 h 12983"/>
              <a:gd name="T54" fmla="*/ 7058 w 12982"/>
              <a:gd name="T55" fmla="*/ 8968 h 12983"/>
              <a:gd name="T56" fmla="*/ 6491 w 12982"/>
              <a:gd name="T57" fmla="*/ 11289 h 12983"/>
              <a:gd name="T58" fmla="*/ 7840 w 12982"/>
              <a:gd name="T59" fmla="*/ 8642 h 12983"/>
              <a:gd name="T60" fmla="*/ 10744 w 12982"/>
              <a:gd name="T61" fmla="*/ 8711 h 12983"/>
              <a:gd name="T62" fmla="*/ 11069 w 12982"/>
              <a:gd name="T63" fmla="*/ 7929 h 12983"/>
              <a:gd name="T64" fmla="*/ 9031 w 12982"/>
              <a:gd name="T65" fmla="*/ 6491 h 12983"/>
              <a:gd name="T66" fmla="*/ 11069 w 12982"/>
              <a:gd name="T67" fmla="*/ 5054 h 12983"/>
              <a:gd name="T68" fmla="*/ 11069 w 12982"/>
              <a:gd name="T69" fmla="*/ 7929 h 129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982" h="12983">
                <a:moveTo>
                  <a:pt x="12120" y="6068"/>
                </a:moveTo>
                <a:cubicBezTo>
                  <a:pt x="11913" y="3292"/>
                  <a:pt x="9690" y="1070"/>
                  <a:pt x="6914" y="863"/>
                </a:cubicBezTo>
                <a:lnTo>
                  <a:pt x="6914" y="0"/>
                </a:lnTo>
                <a:lnTo>
                  <a:pt x="6068" y="0"/>
                </a:lnTo>
                <a:lnTo>
                  <a:pt x="6068" y="863"/>
                </a:lnTo>
                <a:cubicBezTo>
                  <a:pt x="3292" y="1070"/>
                  <a:pt x="1069" y="3292"/>
                  <a:pt x="863" y="6068"/>
                </a:cubicBezTo>
                <a:lnTo>
                  <a:pt x="0" y="6068"/>
                </a:lnTo>
                <a:lnTo>
                  <a:pt x="0" y="6915"/>
                </a:lnTo>
                <a:lnTo>
                  <a:pt x="863" y="6915"/>
                </a:lnTo>
                <a:cubicBezTo>
                  <a:pt x="1069" y="9690"/>
                  <a:pt x="3292" y="11913"/>
                  <a:pt x="6068" y="12120"/>
                </a:cubicBezTo>
                <a:lnTo>
                  <a:pt x="6068" y="12983"/>
                </a:lnTo>
                <a:lnTo>
                  <a:pt x="6914" y="12983"/>
                </a:lnTo>
                <a:lnTo>
                  <a:pt x="6914" y="12120"/>
                </a:lnTo>
                <a:cubicBezTo>
                  <a:pt x="9690" y="11913"/>
                  <a:pt x="11913" y="9690"/>
                  <a:pt x="12120" y="6915"/>
                </a:cubicBezTo>
                <a:lnTo>
                  <a:pt x="12982" y="6915"/>
                </a:lnTo>
                <a:lnTo>
                  <a:pt x="12982" y="6068"/>
                </a:lnTo>
                <a:lnTo>
                  <a:pt x="12120" y="6068"/>
                </a:lnTo>
                <a:close/>
                <a:moveTo>
                  <a:pt x="10744" y="4272"/>
                </a:moveTo>
                <a:lnTo>
                  <a:pt x="8642" y="5142"/>
                </a:lnTo>
                <a:cubicBezTo>
                  <a:pt x="8438" y="4819"/>
                  <a:pt x="8164" y="4544"/>
                  <a:pt x="7840" y="4340"/>
                </a:cubicBezTo>
                <a:lnTo>
                  <a:pt x="8711" y="2239"/>
                </a:lnTo>
                <a:cubicBezTo>
                  <a:pt x="9578" y="2693"/>
                  <a:pt x="10289" y="3405"/>
                  <a:pt x="10744" y="4272"/>
                </a:cubicBezTo>
                <a:close/>
                <a:moveTo>
                  <a:pt x="8184" y="6491"/>
                </a:moveTo>
                <a:cubicBezTo>
                  <a:pt x="8184" y="7425"/>
                  <a:pt x="7425" y="8185"/>
                  <a:pt x="6491" y="8185"/>
                </a:cubicBezTo>
                <a:cubicBezTo>
                  <a:pt x="5557" y="8185"/>
                  <a:pt x="4798" y="7425"/>
                  <a:pt x="4798" y="6491"/>
                </a:cubicBezTo>
                <a:cubicBezTo>
                  <a:pt x="4798" y="5558"/>
                  <a:pt x="5557" y="4798"/>
                  <a:pt x="6491" y="4798"/>
                </a:cubicBezTo>
                <a:cubicBezTo>
                  <a:pt x="7425" y="4798"/>
                  <a:pt x="8184" y="5558"/>
                  <a:pt x="8184" y="6491"/>
                </a:cubicBezTo>
                <a:close/>
                <a:moveTo>
                  <a:pt x="6491" y="1694"/>
                </a:moveTo>
                <a:cubicBezTo>
                  <a:pt x="6992" y="1694"/>
                  <a:pt x="7475" y="1771"/>
                  <a:pt x="7929" y="1914"/>
                </a:cubicBezTo>
                <a:lnTo>
                  <a:pt x="7058" y="4015"/>
                </a:lnTo>
                <a:cubicBezTo>
                  <a:pt x="6876" y="3974"/>
                  <a:pt x="6686" y="3951"/>
                  <a:pt x="6491" y="3951"/>
                </a:cubicBezTo>
                <a:cubicBezTo>
                  <a:pt x="6296" y="3951"/>
                  <a:pt x="6106" y="3974"/>
                  <a:pt x="5924" y="4015"/>
                </a:cubicBezTo>
                <a:lnTo>
                  <a:pt x="5053" y="1914"/>
                </a:lnTo>
                <a:cubicBezTo>
                  <a:pt x="5507" y="1771"/>
                  <a:pt x="5990" y="1694"/>
                  <a:pt x="6491" y="1694"/>
                </a:cubicBezTo>
                <a:close/>
                <a:moveTo>
                  <a:pt x="4272" y="2239"/>
                </a:moveTo>
                <a:lnTo>
                  <a:pt x="5142" y="4340"/>
                </a:lnTo>
                <a:cubicBezTo>
                  <a:pt x="4818" y="4544"/>
                  <a:pt x="4544" y="4819"/>
                  <a:pt x="4340" y="5142"/>
                </a:cubicBezTo>
                <a:lnTo>
                  <a:pt x="2239" y="4272"/>
                </a:lnTo>
                <a:cubicBezTo>
                  <a:pt x="2693" y="3405"/>
                  <a:pt x="3405" y="2693"/>
                  <a:pt x="4272" y="2239"/>
                </a:cubicBezTo>
                <a:close/>
                <a:moveTo>
                  <a:pt x="1693" y="6491"/>
                </a:moveTo>
                <a:cubicBezTo>
                  <a:pt x="1693" y="5991"/>
                  <a:pt x="1771" y="5508"/>
                  <a:pt x="1914" y="5054"/>
                </a:cubicBezTo>
                <a:lnTo>
                  <a:pt x="4015" y="5924"/>
                </a:lnTo>
                <a:cubicBezTo>
                  <a:pt x="3973" y="6107"/>
                  <a:pt x="3951" y="6296"/>
                  <a:pt x="3951" y="6491"/>
                </a:cubicBezTo>
                <a:cubicBezTo>
                  <a:pt x="3951" y="6686"/>
                  <a:pt x="3973" y="6876"/>
                  <a:pt x="4015" y="7059"/>
                </a:cubicBezTo>
                <a:lnTo>
                  <a:pt x="1914" y="7929"/>
                </a:lnTo>
                <a:cubicBezTo>
                  <a:pt x="1771" y="7475"/>
                  <a:pt x="1693" y="6992"/>
                  <a:pt x="1693" y="6491"/>
                </a:cubicBezTo>
                <a:close/>
                <a:moveTo>
                  <a:pt x="2239" y="8711"/>
                </a:moveTo>
                <a:lnTo>
                  <a:pt x="4340" y="7841"/>
                </a:lnTo>
                <a:cubicBezTo>
                  <a:pt x="4544" y="8164"/>
                  <a:pt x="4818" y="8439"/>
                  <a:pt x="5142" y="8642"/>
                </a:cubicBezTo>
                <a:lnTo>
                  <a:pt x="4272" y="10744"/>
                </a:lnTo>
                <a:cubicBezTo>
                  <a:pt x="3405" y="10290"/>
                  <a:pt x="2693" y="9578"/>
                  <a:pt x="2239" y="8711"/>
                </a:cubicBezTo>
                <a:close/>
                <a:moveTo>
                  <a:pt x="6491" y="11289"/>
                </a:moveTo>
                <a:cubicBezTo>
                  <a:pt x="5990" y="11289"/>
                  <a:pt x="5507" y="11212"/>
                  <a:pt x="5053" y="11069"/>
                </a:cubicBezTo>
                <a:lnTo>
                  <a:pt x="5924" y="8968"/>
                </a:lnTo>
                <a:cubicBezTo>
                  <a:pt x="6106" y="9009"/>
                  <a:pt x="6296" y="9031"/>
                  <a:pt x="6491" y="9031"/>
                </a:cubicBezTo>
                <a:cubicBezTo>
                  <a:pt x="6686" y="9031"/>
                  <a:pt x="6876" y="9009"/>
                  <a:pt x="7058" y="8968"/>
                </a:cubicBezTo>
                <a:lnTo>
                  <a:pt x="7929" y="11069"/>
                </a:lnTo>
                <a:cubicBezTo>
                  <a:pt x="7475" y="11212"/>
                  <a:pt x="6992" y="11289"/>
                  <a:pt x="6491" y="11289"/>
                </a:cubicBezTo>
                <a:close/>
                <a:moveTo>
                  <a:pt x="8711" y="10744"/>
                </a:moveTo>
                <a:lnTo>
                  <a:pt x="7840" y="8642"/>
                </a:lnTo>
                <a:cubicBezTo>
                  <a:pt x="8164" y="8439"/>
                  <a:pt x="8438" y="8164"/>
                  <a:pt x="8642" y="7841"/>
                </a:cubicBezTo>
                <a:lnTo>
                  <a:pt x="10744" y="8711"/>
                </a:lnTo>
                <a:cubicBezTo>
                  <a:pt x="10289" y="9578"/>
                  <a:pt x="9578" y="10290"/>
                  <a:pt x="8711" y="10744"/>
                </a:cubicBezTo>
                <a:close/>
                <a:moveTo>
                  <a:pt x="11069" y="7929"/>
                </a:moveTo>
                <a:lnTo>
                  <a:pt x="8967" y="7059"/>
                </a:lnTo>
                <a:cubicBezTo>
                  <a:pt x="9009" y="6876"/>
                  <a:pt x="9031" y="6686"/>
                  <a:pt x="9031" y="6491"/>
                </a:cubicBezTo>
                <a:cubicBezTo>
                  <a:pt x="9031" y="6296"/>
                  <a:pt x="9009" y="6107"/>
                  <a:pt x="8967" y="5924"/>
                </a:cubicBezTo>
                <a:lnTo>
                  <a:pt x="11069" y="5054"/>
                </a:lnTo>
                <a:cubicBezTo>
                  <a:pt x="11212" y="5508"/>
                  <a:pt x="11289" y="5991"/>
                  <a:pt x="11289" y="6491"/>
                </a:cubicBezTo>
                <a:cubicBezTo>
                  <a:pt x="11289" y="6992"/>
                  <a:pt x="11212" y="7475"/>
                  <a:pt x="11069" y="792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21" name="Group 58">
            <a:extLst>
              <a:ext uri="{FF2B5EF4-FFF2-40B4-BE49-F238E27FC236}">
                <a16:creationId xmlns:a16="http://schemas.microsoft.com/office/drawing/2014/main" id="{59D464E4-1A39-4322-88C4-8DC179F44771}"/>
              </a:ext>
            </a:extLst>
          </p:cNvPr>
          <p:cNvGrpSpPr/>
          <p:nvPr/>
        </p:nvGrpSpPr>
        <p:grpSpPr>
          <a:xfrm>
            <a:off x="7078279" y="5416451"/>
            <a:ext cx="388354" cy="389434"/>
            <a:chOff x="5270505" y="4524380"/>
            <a:chExt cx="569913" cy="571501"/>
          </a:xfrm>
          <a:solidFill>
            <a:schemeClr val="bg1"/>
          </a:solidFill>
        </p:grpSpPr>
        <p:sp>
          <p:nvSpPr>
            <p:cNvPr id="22" name="Freeform 81">
              <a:extLst>
                <a:ext uri="{FF2B5EF4-FFF2-40B4-BE49-F238E27FC236}">
                  <a16:creationId xmlns:a16="http://schemas.microsoft.com/office/drawing/2014/main" id="{127DAA5B-F084-44B8-9E22-01E29EBE8951}"/>
                </a:ext>
              </a:extLst>
            </p:cNvPr>
            <p:cNvSpPr>
              <a:spLocks noEditPoints="1"/>
            </p:cNvSpPr>
            <p:nvPr/>
          </p:nvSpPr>
          <p:spPr bwMode="auto">
            <a:xfrm>
              <a:off x="5338767" y="4594230"/>
              <a:ext cx="311150" cy="309563"/>
            </a:xfrm>
            <a:custGeom>
              <a:avLst/>
              <a:gdLst>
                <a:gd name="T0" fmla="*/ 3810 w 7620"/>
                <a:gd name="T1" fmla="*/ 0 h 7620"/>
                <a:gd name="T2" fmla="*/ 0 w 7620"/>
                <a:gd name="T3" fmla="*/ 3810 h 7620"/>
                <a:gd name="T4" fmla="*/ 3810 w 7620"/>
                <a:gd name="T5" fmla="*/ 7620 h 7620"/>
                <a:gd name="T6" fmla="*/ 7620 w 7620"/>
                <a:gd name="T7" fmla="*/ 3810 h 7620"/>
                <a:gd name="T8" fmla="*/ 3810 w 7620"/>
                <a:gd name="T9" fmla="*/ 0 h 7620"/>
                <a:gd name="T10" fmla="*/ 3810 w 7620"/>
                <a:gd name="T11" fmla="*/ 6773 h 7620"/>
                <a:gd name="T12" fmla="*/ 847 w 7620"/>
                <a:gd name="T13" fmla="*/ 3810 h 7620"/>
                <a:gd name="T14" fmla="*/ 3810 w 7620"/>
                <a:gd name="T15" fmla="*/ 846 h 7620"/>
                <a:gd name="T16" fmla="*/ 6773 w 7620"/>
                <a:gd name="T17" fmla="*/ 3810 h 7620"/>
                <a:gd name="T18" fmla="*/ 3810 w 7620"/>
                <a:gd name="T19" fmla="*/ 6773 h 7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620" h="7620">
                  <a:moveTo>
                    <a:pt x="3810" y="0"/>
                  </a:moveTo>
                  <a:cubicBezTo>
                    <a:pt x="1709" y="0"/>
                    <a:pt x="0" y="1709"/>
                    <a:pt x="0" y="3810"/>
                  </a:cubicBezTo>
                  <a:cubicBezTo>
                    <a:pt x="0" y="5910"/>
                    <a:pt x="1709" y="7620"/>
                    <a:pt x="3810" y="7620"/>
                  </a:cubicBezTo>
                  <a:cubicBezTo>
                    <a:pt x="5911" y="7620"/>
                    <a:pt x="7620" y="5910"/>
                    <a:pt x="7620" y="3810"/>
                  </a:cubicBezTo>
                  <a:cubicBezTo>
                    <a:pt x="7620" y="1709"/>
                    <a:pt x="5911" y="0"/>
                    <a:pt x="3810" y="0"/>
                  </a:cubicBezTo>
                  <a:close/>
                  <a:moveTo>
                    <a:pt x="3810" y="6773"/>
                  </a:moveTo>
                  <a:cubicBezTo>
                    <a:pt x="2176" y="6773"/>
                    <a:pt x="847" y="5444"/>
                    <a:pt x="847" y="3810"/>
                  </a:cubicBezTo>
                  <a:cubicBezTo>
                    <a:pt x="847" y="2176"/>
                    <a:pt x="2176" y="846"/>
                    <a:pt x="3810" y="846"/>
                  </a:cubicBezTo>
                  <a:cubicBezTo>
                    <a:pt x="5444" y="846"/>
                    <a:pt x="6773" y="2176"/>
                    <a:pt x="6773" y="3810"/>
                  </a:cubicBezTo>
                  <a:cubicBezTo>
                    <a:pt x="6773" y="5444"/>
                    <a:pt x="5444" y="6773"/>
                    <a:pt x="3810" y="67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Freeform 82">
              <a:extLst>
                <a:ext uri="{FF2B5EF4-FFF2-40B4-BE49-F238E27FC236}">
                  <a16:creationId xmlns:a16="http://schemas.microsoft.com/office/drawing/2014/main" id="{DBFC744E-FA1B-46CE-8292-6F399EE74305}"/>
                </a:ext>
              </a:extLst>
            </p:cNvPr>
            <p:cNvSpPr>
              <a:spLocks/>
            </p:cNvSpPr>
            <p:nvPr/>
          </p:nvSpPr>
          <p:spPr bwMode="auto">
            <a:xfrm>
              <a:off x="5434017" y="4662493"/>
              <a:ext cx="146050" cy="147638"/>
            </a:xfrm>
            <a:custGeom>
              <a:avLst/>
              <a:gdLst>
                <a:gd name="T0" fmla="*/ 2994 w 3613"/>
                <a:gd name="T1" fmla="*/ 619 h 3612"/>
                <a:gd name="T2" fmla="*/ 1497 w 3613"/>
                <a:gd name="T3" fmla="*/ 0 h 3612"/>
                <a:gd name="T4" fmla="*/ 0 w 3613"/>
                <a:gd name="T5" fmla="*/ 619 h 3612"/>
                <a:gd name="T6" fmla="*/ 599 w 3613"/>
                <a:gd name="T7" fmla="*/ 1218 h 3612"/>
                <a:gd name="T8" fmla="*/ 2395 w 3613"/>
                <a:gd name="T9" fmla="*/ 1218 h 3612"/>
                <a:gd name="T10" fmla="*/ 2395 w 3613"/>
                <a:gd name="T11" fmla="*/ 3014 h 3612"/>
                <a:gd name="T12" fmla="*/ 2994 w 3613"/>
                <a:gd name="T13" fmla="*/ 3612 h 3612"/>
                <a:gd name="T14" fmla="*/ 3613 w 3613"/>
                <a:gd name="T15" fmla="*/ 2116 h 3612"/>
                <a:gd name="T16" fmla="*/ 2994 w 3613"/>
                <a:gd name="T17" fmla="*/ 619 h 36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13" h="3612">
                  <a:moveTo>
                    <a:pt x="2994" y="619"/>
                  </a:moveTo>
                  <a:cubicBezTo>
                    <a:pt x="2594" y="220"/>
                    <a:pt x="2063" y="0"/>
                    <a:pt x="1497" y="0"/>
                  </a:cubicBezTo>
                  <a:cubicBezTo>
                    <a:pt x="931" y="0"/>
                    <a:pt x="399" y="220"/>
                    <a:pt x="0" y="619"/>
                  </a:cubicBezTo>
                  <a:lnTo>
                    <a:pt x="599" y="1218"/>
                  </a:lnTo>
                  <a:cubicBezTo>
                    <a:pt x="1094" y="722"/>
                    <a:pt x="1900" y="722"/>
                    <a:pt x="2395" y="1218"/>
                  </a:cubicBezTo>
                  <a:cubicBezTo>
                    <a:pt x="2890" y="1713"/>
                    <a:pt x="2890" y="2519"/>
                    <a:pt x="2395" y="3014"/>
                  </a:cubicBezTo>
                  <a:lnTo>
                    <a:pt x="2994" y="3612"/>
                  </a:lnTo>
                  <a:cubicBezTo>
                    <a:pt x="3393" y="3213"/>
                    <a:pt x="3613" y="2682"/>
                    <a:pt x="3613" y="2116"/>
                  </a:cubicBezTo>
                  <a:cubicBezTo>
                    <a:pt x="3613" y="1550"/>
                    <a:pt x="3393" y="1018"/>
                    <a:pt x="2994" y="6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Freeform 83">
              <a:extLst>
                <a:ext uri="{FF2B5EF4-FFF2-40B4-BE49-F238E27FC236}">
                  <a16:creationId xmlns:a16="http://schemas.microsoft.com/office/drawing/2014/main" id="{0FB0BC99-B8C1-4DB5-A966-7CAE49C2DEA6}"/>
                </a:ext>
              </a:extLst>
            </p:cNvPr>
            <p:cNvSpPr>
              <a:spLocks noEditPoints="1"/>
            </p:cNvSpPr>
            <p:nvPr/>
          </p:nvSpPr>
          <p:spPr bwMode="auto">
            <a:xfrm>
              <a:off x="5270505" y="4524380"/>
              <a:ext cx="569913" cy="571501"/>
            </a:xfrm>
            <a:custGeom>
              <a:avLst/>
              <a:gdLst>
                <a:gd name="T0" fmla="*/ 10186 w 14004"/>
                <a:gd name="T1" fmla="*/ 8391 h 14005"/>
                <a:gd name="T2" fmla="*/ 11006 w 14004"/>
                <a:gd name="T3" fmla="*/ 5504 h 14005"/>
                <a:gd name="T4" fmla="*/ 5503 w 14004"/>
                <a:gd name="T5" fmla="*/ 0 h 14005"/>
                <a:gd name="T6" fmla="*/ 0 w 14004"/>
                <a:gd name="T7" fmla="*/ 5504 h 14005"/>
                <a:gd name="T8" fmla="*/ 5503 w 14004"/>
                <a:gd name="T9" fmla="*/ 11007 h 14005"/>
                <a:gd name="T10" fmla="*/ 8390 w 14004"/>
                <a:gd name="T11" fmla="*/ 10187 h 14005"/>
                <a:gd name="T12" fmla="*/ 12208 w 14004"/>
                <a:gd name="T13" fmla="*/ 14005 h 14005"/>
                <a:gd name="T14" fmla="*/ 14004 w 14004"/>
                <a:gd name="T15" fmla="*/ 12209 h 14005"/>
                <a:gd name="T16" fmla="*/ 10186 w 14004"/>
                <a:gd name="T17" fmla="*/ 8391 h 14005"/>
                <a:gd name="T18" fmla="*/ 8491 w 14004"/>
                <a:gd name="T19" fmla="*/ 9090 h 14005"/>
                <a:gd name="T20" fmla="*/ 8199 w 14004"/>
                <a:gd name="T21" fmla="*/ 9298 h 14005"/>
                <a:gd name="T22" fmla="*/ 5503 w 14004"/>
                <a:gd name="T23" fmla="*/ 10160 h 14005"/>
                <a:gd name="T24" fmla="*/ 846 w 14004"/>
                <a:gd name="T25" fmla="*/ 5504 h 14005"/>
                <a:gd name="T26" fmla="*/ 5503 w 14004"/>
                <a:gd name="T27" fmla="*/ 847 h 14005"/>
                <a:gd name="T28" fmla="*/ 10160 w 14004"/>
                <a:gd name="T29" fmla="*/ 5504 h 14005"/>
                <a:gd name="T30" fmla="*/ 9297 w 14004"/>
                <a:gd name="T31" fmla="*/ 8200 h 14005"/>
                <a:gd name="T32" fmla="*/ 9089 w 14004"/>
                <a:gd name="T33" fmla="*/ 8492 h 14005"/>
                <a:gd name="T34" fmla="*/ 12806 w 14004"/>
                <a:gd name="T35" fmla="*/ 12209 h 14005"/>
                <a:gd name="T36" fmla="*/ 12208 w 14004"/>
                <a:gd name="T37" fmla="*/ 12807 h 14005"/>
                <a:gd name="T38" fmla="*/ 8491 w 14004"/>
                <a:gd name="T39" fmla="*/ 9090 h 140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004" h="14005">
                  <a:moveTo>
                    <a:pt x="10186" y="8391"/>
                  </a:moveTo>
                  <a:cubicBezTo>
                    <a:pt x="10724" y="7524"/>
                    <a:pt x="11006" y="6533"/>
                    <a:pt x="11006" y="5504"/>
                  </a:cubicBezTo>
                  <a:cubicBezTo>
                    <a:pt x="11006" y="2469"/>
                    <a:pt x="8537" y="0"/>
                    <a:pt x="5503" y="0"/>
                  </a:cubicBezTo>
                  <a:cubicBezTo>
                    <a:pt x="2468" y="0"/>
                    <a:pt x="0" y="2469"/>
                    <a:pt x="0" y="5504"/>
                  </a:cubicBezTo>
                  <a:cubicBezTo>
                    <a:pt x="0" y="8538"/>
                    <a:pt x="2468" y="11007"/>
                    <a:pt x="5503" y="11007"/>
                  </a:cubicBezTo>
                  <a:cubicBezTo>
                    <a:pt x="6532" y="11007"/>
                    <a:pt x="7523" y="10725"/>
                    <a:pt x="8390" y="10187"/>
                  </a:cubicBezTo>
                  <a:lnTo>
                    <a:pt x="12208" y="14005"/>
                  </a:lnTo>
                  <a:lnTo>
                    <a:pt x="14004" y="12209"/>
                  </a:lnTo>
                  <a:lnTo>
                    <a:pt x="10186" y="8391"/>
                  </a:lnTo>
                  <a:close/>
                  <a:moveTo>
                    <a:pt x="8491" y="9090"/>
                  </a:moveTo>
                  <a:lnTo>
                    <a:pt x="8199" y="9298"/>
                  </a:lnTo>
                  <a:cubicBezTo>
                    <a:pt x="7408" y="9862"/>
                    <a:pt x="6475" y="10160"/>
                    <a:pt x="5503" y="10160"/>
                  </a:cubicBezTo>
                  <a:cubicBezTo>
                    <a:pt x="2935" y="10160"/>
                    <a:pt x="846" y="8071"/>
                    <a:pt x="846" y="5504"/>
                  </a:cubicBezTo>
                  <a:cubicBezTo>
                    <a:pt x="846" y="2936"/>
                    <a:pt x="2935" y="847"/>
                    <a:pt x="5503" y="847"/>
                  </a:cubicBezTo>
                  <a:cubicBezTo>
                    <a:pt x="8071" y="847"/>
                    <a:pt x="10160" y="2936"/>
                    <a:pt x="10160" y="5504"/>
                  </a:cubicBezTo>
                  <a:cubicBezTo>
                    <a:pt x="10160" y="6476"/>
                    <a:pt x="9861" y="7409"/>
                    <a:pt x="9297" y="8200"/>
                  </a:cubicBezTo>
                  <a:lnTo>
                    <a:pt x="9089" y="8492"/>
                  </a:lnTo>
                  <a:lnTo>
                    <a:pt x="12806" y="12209"/>
                  </a:lnTo>
                  <a:lnTo>
                    <a:pt x="12208" y="12807"/>
                  </a:lnTo>
                  <a:lnTo>
                    <a:pt x="8491" y="90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25" name="TextBox 71">
            <a:extLst>
              <a:ext uri="{FF2B5EF4-FFF2-40B4-BE49-F238E27FC236}">
                <a16:creationId xmlns:a16="http://schemas.microsoft.com/office/drawing/2014/main" id="{783849A5-19DC-4E32-A4D7-3F4232510FD8}"/>
              </a:ext>
            </a:extLst>
          </p:cNvPr>
          <p:cNvSpPr txBox="1"/>
          <p:nvPr/>
        </p:nvSpPr>
        <p:spPr>
          <a:xfrm>
            <a:off x="3096753" y="1344990"/>
            <a:ext cx="1308780" cy="379719"/>
          </a:xfrm>
          <a:prstGeom prst="rect">
            <a:avLst/>
          </a:prstGeom>
          <a:noFill/>
        </p:spPr>
        <p:txBody>
          <a:bodyPr wrap="square" rtlCol="0">
            <a:spAutoFit/>
          </a:bodyPr>
          <a:lstStyle/>
          <a:p>
            <a:pPr marL="0" marR="0" lvl="0" indent="0" algn="r" defTabSz="914400" rtl="0" eaLnBrk="1" fontAlgn="auto" latinLnBrk="0" hangingPunct="1">
              <a:lnSpc>
                <a:spcPts val="24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lumMod val="75000"/>
                    <a:lumOff val="25000"/>
                  </a:prstClr>
                </a:solidFill>
                <a:effectLst/>
                <a:uLnTx/>
                <a:uFillTx/>
                <a:latin typeface="HarmonyOS Sans SC Black"/>
                <a:ea typeface="+mj-ea"/>
                <a:cs typeface="+mn-cs"/>
              </a:rPr>
              <a:t>Title here</a:t>
            </a:r>
          </a:p>
        </p:txBody>
      </p:sp>
      <p:sp>
        <p:nvSpPr>
          <p:cNvPr id="26" name="TextBox 73">
            <a:extLst>
              <a:ext uri="{FF2B5EF4-FFF2-40B4-BE49-F238E27FC236}">
                <a16:creationId xmlns:a16="http://schemas.microsoft.com/office/drawing/2014/main" id="{0957A79B-8347-43B0-BD7D-B5FCD0BFD1A5}"/>
              </a:ext>
            </a:extLst>
          </p:cNvPr>
          <p:cNvSpPr txBox="1"/>
          <p:nvPr/>
        </p:nvSpPr>
        <p:spPr>
          <a:xfrm>
            <a:off x="1671477" y="1705362"/>
            <a:ext cx="2734056" cy="786497"/>
          </a:xfrm>
          <a:prstGeom prst="rect">
            <a:avLst/>
          </a:prstGeom>
          <a:noFill/>
        </p:spPr>
        <p:txBody>
          <a:bodyPr wrap="square" rtlCol="0">
            <a:noAutofit/>
          </a:bodyPr>
          <a:lstStyle/>
          <a:p>
            <a:pPr marL="0" marR="0" lvl="0" indent="0" algn="r" defTabSz="914400" rtl="0" eaLnBrk="1" fontAlgn="auto" latinLnBrk="0" hangingPunct="1">
              <a:lnSpc>
                <a:spcPts val="1900"/>
              </a:lnSpc>
              <a:spcBef>
                <a:spcPts val="0"/>
              </a:spcBef>
              <a:spcAft>
                <a:spcPts val="0"/>
              </a:spcAft>
              <a:buClrTx/>
              <a:buSzTx/>
              <a:buFontTx/>
              <a:buNone/>
              <a:tabLst/>
              <a:defRPr/>
            </a:pPr>
            <a:r>
              <a:rPr kumimoji="0" lang="en-US" sz="800" b="0" i="0" u="none" strike="noStrike" kern="1200" cap="none" spc="0" normalizeH="0" baseline="0" noProof="0" dirty="0" err="1">
                <a:ln>
                  <a:noFill/>
                </a:ln>
                <a:solidFill>
                  <a:prstClr val="black">
                    <a:lumMod val="50000"/>
                    <a:lumOff val="50000"/>
                  </a:prstClr>
                </a:solidFill>
                <a:effectLst/>
                <a:uLnTx/>
                <a:uFillTx/>
                <a:latin typeface="HarmonyOS Sans SC"/>
                <a:cs typeface="+mn-cs"/>
              </a:rPr>
              <a:t>Nulla</a:t>
            </a:r>
            <a:r>
              <a:rPr kumimoji="0" lang="en-US" sz="800" b="0" i="0" u="none" strike="noStrike" kern="1200" cap="none" spc="0" normalizeH="0" baseline="0" noProof="0" dirty="0">
                <a:ln>
                  <a:noFill/>
                </a:ln>
                <a:solidFill>
                  <a:prstClr val="black">
                    <a:lumMod val="50000"/>
                    <a:lumOff val="50000"/>
                  </a:prstClr>
                </a:solidFill>
                <a:effectLst/>
                <a:uLnTx/>
                <a:uFillTx/>
                <a:latin typeface="HarmonyOS Sans SC"/>
                <a:cs typeface="+mn-cs"/>
              </a:rPr>
              <a:t> </a:t>
            </a:r>
            <a:r>
              <a:rPr kumimoji="0" lang="en-US" sz="800" b="0" i="0" u="none" strike="noStrike" kern="1200" cap="none" spc="0" normalizeH="0" baseline="0" noProof="0" dirty="0" err="1">
                <a:ln>
                  <a:noFill/>
                </a:ln>
                <a:solidFill>
                  <a:prstClr val="black">
                    <a:lumMod val="50000"/>
                    <a:lumOff val="50000"/>
                  </a:prstClr>
                </a:solidFill>
                <a:effectLst/>
                <a:uLnTx/>
                <a:uFillTx/>
                <a:latin typeface="HarmonyOS Sans SC"/>
                <a:cs typeface="+mn-cs"/>
              </a:rPr>
              <a:t>urna</a:t>
            </a:r>
            <a:r>
              <a:rPr kumimoji="0" lang="en-US" sz="800" b="0" i="0" u="none" strike="noStrike" kern="1200" cap="none" spc="0" normalizeH="0" baseline="0" noProof="0" dirty="0">
                <a:ln>
                  <a:noFill/>
                </a:ln>
                <a:solidFill>
                  <a:prstClr val="black">
                    <a:lumMod val="50000"/>
                    <a:lumOff val="50000"/>
                  </a:prstClr>
                </a:solidFill>
                <a:effectLst/>
                <a:uLnTx/>
                <a:uFillTx/>
                <a:latin typeface="HarmonyOS Sans SC"/>
                <a:cs typeface="+mn-cs"/>
              </a:rPr>
              <a:t> mi, </a:t>
            </a:r>
            <a:r>
              <a:rPr kumimoji="0" lang="en-US" sz="800" b="0" i="0" u="none" strike="noStrike" kern="1200" cap="none" spc="0" normalizeH="0" baseline="0" noProof="0" dirty="0" err="1">
                <a:ln>
                  <a:noFill/>
                </a:ln>
                <a:solidFill>
                  <a:prstClr val="black">
                    <a:lumMod val="50000"/>
                    <a:lumOff val="50000"/>
                  </a:prstClr>
                </a:solidFill>
                <a:effectLst/>
                <a:uLnTx/>
                <a:uFillTx/>
                <a:latin typeface="HarmonyOS Sans SC"/>
                <a:cs typeface="+mn-cs"/>
              </a:rPr>
              <a:t>bibendum</a:t>
            </a:r>
            <a:r>
              <a:rPr kumimoji="0" lang="en-US" sz="800" b="0" i="0" u="none" strike="noStrike" kern="1200" cap="none" spc="0" normalizeH="0" baseline="0" noProof="0" dirty="0">
                <a:ln>
                  <a:noFill/>
                </a:ln>
                <a:solidFill>
                  <a:prstClr val="black">
                    <a:lumMod val="50000"/>
                    <a:lumOff val="50000"/>
                  </a:prstClr>
                </a:solidFill>
                <a:effectLst/>
                <a:uLnTx/>
                <a:uFillTx/>
                <a:latin typeface="HarmonyOS Sans SC"/>
                <a:cs typeface="+mn-cs"/>
              </a:rPr>
              <a:t> a </a:t>
            </a:r>
            <a:r>
              <a:rPr kumimoji="0" lang="en-US" sz="800" b="0" i="0" u="none" strike="noStrike" kern="1200" cap="none" spc="0" normalizeH="0" baseline="0" noProof="0" dirty="0" err="1">
                <a:ln>
                  <a:noFill/>
                </a:ln>
                <a:solidFill>
                  <a:prstClr val="black">
                    <a:lumMod val="50000"/>
                    <a:lumOff val="50000"/>
                  </a:prstClr>
                </a:solidFill>
                <a:effectLst/>
                <a:uLnTx/>
                <a:uFillTx/>
                <a:latin typeface="HarmonyOS Sans SC"/>
                <a:cs typeface="+mn-cs"/>
              </a:rPr>
              <a:t>tempor</a:t>
            </a:r>
            <a:r>
              <a:rPr kumimoji="0" lang="en-US" sz="800" b="0" i="0" u="none" strike="noStrike" kern="1200" cap="none" spc="0" normalizeH="0" baseline="0" noProof="0" dirty="0">
                <a:ln>
                  <a:noFill/>
                </a:ln>
                <a:solidFill>
                  <a:prstClr val="black">
                    <a:lumMod val="50000"/>
                    <a:lumOff val="50000"/>
                  </a:prstClr>
                </a:solidFill>
                <a:effectLst/>
                <a:uLnTx/>
                <a:uFillTx/>
                <a:latin typeface="HarmonyOS Sans SC"/>
                <a:cs typeface="+mn-cs"/>
              </a:rPr>
              <a:t> </a:t>
            </a:r>
            <a:r>
              <a:rPr kumimoji="0" lang="en-US" sz="800" b="0" i="0" u="none" strike="noStrike" kern="1200" cap="none" spc="0" normalizeH="0" baseline="0" noProof="0" dirty="0" err="1">
                <a:ln>
                  <a:noFill/>
                </a:ln>
                <a:solidFill>
                  <a:prstClr val="black">
                    <a:lumMod val="50000"/>
                    <a:lumOff val="50000"/>
                  </a:prstClr>
                </a:solidFill>
                <a:effectLst/>
                <a:uLnTx/>
                <a:uFillTx/>
                <a:latin typeface="HarmonyOS Sans SC"/>
                <a:cs typeface="+mn-cs"/>
              </a:rPr>
              <a:t>quis</a:t>
            </a:r>
            <a:r>
              <a:rPr kumimoji="0" lang="en-US" sz="800" b="0" i="0" u="none" strike="noStrike" kern="1200" cap="none" spc="0" normalizeH="0" baseline="0" noProof="0" dirty="0">
                <a:ln>
                  <a:noFill/>
                </a:ln>
                <a:solidFill>
                  <a:prstClr val="black">
                    <a:lumMod val="50000"/>
                    <a:lumOff val="50000"/>
                  </a:prstClr>
                </a:solidFill>
                <a:effectLst/>
                <a:uLnTx/>
                <a:uFillTx/>
                <a:latin typeface="HarmonyOS Sans SC"/>
                <a:cs typeface="+mn-cs"/>
              </a:rPr>
              <a:t>, </a:t>
            </a:r>
            <a:r>
              <a:rPr kumimoji="0" lang="en-US" sz="800" b="0" i="0" u="none" strike="noStrike" kern="1200" cap="none" spc="0" normalizeH="0" baseline="0" noProof="0" dirty="0" err="1">
                <a:ln>
                  <a:noFill/>
                </a:ln>
                <a:solidFill>
                  <a:prstClr val="black">
                    <a:lumMod val="50000"/>
                    <a:lumOff val="50000"/>
                  </a:prstClr>
                </a:solidFill>
                <a:effectLst/>
                <a:uLnTx/>
                <a:uFillTx/>
                <a:latin typeface="HarmonyOS Sans SC"/>
                <a:cs typeface="+mn-cs"/>
              </a:rPr>
              <a:t>imperdiet</a:t>
            </a:r>
            <a:r>
              <a:rPr kumimoji="0" lang="en-US" sz="800" b="0" i="0" u="none" strike="noStrike" kern="1200" cap="none" spc="0" normalizeH="0" baseline="0" noProof="0" dirty="0">
                <a:ln>
                  <a:noFill/>
                </a:ln>
                <a:solidFill>
                  <a:prstClr val="black">
                    <a:lumMod val="50000"/>
                    <a:lumOff val="50000"/>
                  </a:prstClr>
                </a:solidFill>
                <a:effectLst/>
                <a:uLnTx/>
                <a:uFillTx/>
                <a:latin typeface="HarmonyOS Sans SC"/>
                <a:cs typeface="+mn-cs"/>
              </a:rPr>
              <a:t> </a:t>
            </a:r>
            <a:r>
              <a:rPr kumimoji="0" lang="en-US" sz="800" b="0" i="0" u="none" strike="noStrike" kern="1200" cap="none" spc="0" normalizeH="0" baseline="0" noProof="0" dirty="0" err="1">
                <a:ln>
                  <a:noFill/>
                </a:ln>
                <a:solidFill>
                  <a:prstClr val="black">
                    <a:lumMod val="50000"/>
                    <a:lumOff val="50000"/>
                  </a:prstClr>
                </a:solidFill>
                <a:effectLst/>
                <a:uLnTx/>
                <a:uFillTx/>
                <a:latin typeface="HarmonyOS Sans SC"/>
                <a:cs typeface="+mn-cs"/>
              </a:rPr>
              <a:t>eget</a:t>
            </a:r>
            <a:r>
              <a:rPr kumimoji="0" lang="en-US" sz="800" b="0" i="0" u="none" strike="noStrike" kern="1200" cap="none" spc="0" normalizeH="0" baseline="0" noProof="0" dirty="0">
                <a:ln>
                  <a:noFill/>
                </a:ln>
                <a:solidFill>
                  <a:prstClr val="black">
                    <a:lumMod val="50000"/>
                    <a:lumOff val="50000"/>
                  </a:prstClr>
                </a:solidFill>
                <a:effectLst/>
                <a:uLnTx/>
                <a:uFillTx/>
                <a:latin typeface="HarmonyOS Sans SC"/>
                <a:cs typeface="+mn-cs"/>
              </a:rPr>
              <a:t> </a:t>
            </a:r>
            <a:r>
              <a:rPr kumimoji="0" lang="en-US" sz="800" b="0" i="0" u="none" strike="noStrike" kern="1200" cap="none" spc="0" normalizeH="0" baseline="0" noProof="0" dirty="0" err="1">
                <a:ln>
                  <a:noFill/>
                </a:ln>
                <a:solidFill>
                  <a:prstClr val="black">
                    <a:lumMod val="50000"/>
                    <a:lumOff val="50000"/>
                  </a:prstClr>
                </a:solidFill>
                <a:effectLst/>
                <a:uLnTx/>
                <a:uFillTx/>
                <a:latin typeface="HarmonyOS Sans SC"/>
                <a:cs typeface="+mn-cs"/>
              </a:rPr>
              <a:t>massa</a:t>
            </a:r>
            <a:r>
              <a:rPr kumimoji="0" lang="en-US" sz="800" b="0" i="0" u="none" strike="noStrike" kern="1200" cap="none" spc="0" normalizeH="0" baseline="0" noProof="0" dirty="0">
                <a:ln>
                  <a:noFill/>
                </a:ln>
                <a:solidFill>
                  <a:prstClr val="black">
                    <a:lumMod val="50000"/>
                    <a:lumOff val="50000"/>
                  </a:prstClr>
                </a:solidFill>
                <a:effectLst/>
                <a:uLnTx/>
                <a:uFillTx/>
                <a:latin typeface="HarmonyOS Sans SC"/>
                <a:cs typeface="+mn-cs"/>
              </a:rPr>
              <a:t>. Cras </a:t>
            </a:r>
            <a:r>
              <a:rPr kumimoji="0" lang="en-US" sz="800" b="0" i="0" u="none" strike="noStrike" kern="1200" cap="none" spc="0" normalizeH="0" baseline="0" noProof="0" dirty="0" err="1">
                <a:ln>
                  <a:noFill/>
                </a:ln>
                <a:solidFill>
                  <a:prstClr val="black">
                    <a:lumMod val="50000"/>
                    <a:lumOff val="50000"/>
                  </a:prstClr>
                </a:solidFill>
                <a:effectLst/>
                <a:uLnTx/>
                <a:uFillTx/>
                <a:latin typeface="HarmonyOS Sans SC"/>
                <a:cs typeface="+mn-cs"/>
              </a:rPr>
              <a:t>pellentesque</a:t>
            </a:r>
            <a:r>
              <a:rPr kumimoji="0" lang="en-US" sz="800" b="0" i="0" u="none" strike="noStrike" kern="1200" cap="none" spc="0" normalizeH="0" baseline="0" noProof="0" dirty="0">
                <a:ln>
                  <a:noFill/>
                </a:ln>
                <a:solidFill>
                  <a:prstClr val="black">
                    <a:lumMod val="50000"/>
                    <a:lumOff val="50000"/>
                  </a:prstClr>
                </a:solidFill>
                <a:effectLst/>
                <a:uLnTx/>
                <a:uFillTx/>
                <a:latin typeface="HarmonyOS Sans SC"/>
                <a:cs typeface="+mn-cs"/>
              </a:rPr>
              <a:t>, </a:t>
            </a:r>
            <a:r>
              <a:rPr kumimoji="0" lang="en-US" sz="800" b="0" i="0" u="none" strike="noStrike" kern="1200" cap="none" spc="0" normalizeH="0" baseline="0" noProof="0" dirty="0" err="1">
                <a:ln>
                  <a:noFill/>
                </a:ln>
                <a:solidFill>
                  <a:prstClr val="black">
                    <a:lumMod val="50000"/>
                    <a:lumOff val="50000"/>
                  </a:prstClr>
                </a:solidFill>
                <a:effectLst/>
                <a:uLnTx/>
                <a:uFillTx/>
                <a:latin typeface="HarmonyOS Sans SC"/>
                <a:cs typeface="+mn-cs"/>
              </a:rPr>
              <a:t>metus</a:t>
            </a:r>
            <a:r>
              <a:rPr kumimoji="0" lang="en-US" sz="800" b="0" i="0" u="none" strike="noStrike" kern="1200" cap="none" spc="0" normalizeH="0" baseline="0" noProof="0" dirty="0">
                <a:ln>
                  <a:noFill/>
                </a:ln>
                <a:solidFill>
                  <a:prstClr val="black">
                    <a:lumMod val="50000"/>
                    <a:lumOff val="50000"/>
                  </a:prstClr>
                </a:solidFill>
                <a:effectLst/>
                <a:uLnTx/>
                <a:uFillTx/>
                <a:latin typeface="HarmonyOS Sans SC"/>
                <a:cs typeface="+mn-cs"/>
              </a:rPr>
              <a:t> </a:t>
            </a:r>
            <a:r>
              <a:rPr kumimoji="0" lang="en-US" sz="800" b="0" i="0" u="none" strike="noStrike" kern="1200" cap="none" spc="0" normalizeH="0" baseline="0" noProof="0" dirty="0" err="1">
                <a:ln>
                  <a:noFill/>
                </a:ln>
                <a:solidFill>
                  <a:prstClr val="black">
                    <a:lumMod val="50000"/>
                    <a:lumOff val="50000"/>
                  </a:prstClr>
                </a:solidFill>
                <a:effectLst/>
                <a:uLnTx/>
                <a:uFillTx/>
                <a:latin typeface="HarmonyOS Sans SC"/>
                <a:cs typeface="+mn-cs"/>
              </a:rPr>
              <a:t>eget</a:t>
            </a:r>
            <a:r>
              <a:rPr kumimoji="0" lang="en-US" sz="800" b="0" i="0" u="none" strike="noStrike" kern="1200" cap="none" spc="0" normalizeH="0" baseline="0" noProof="0" dirty="0">
                <a:ln>
                  <a:noFill/>
                </a:ln>
                <a:solidFill>
                  <a:prstClr val="black">
                    <a:lumMod val="50000"/>
                    <a:lumOff val="50000"/>
                  </a:prstClr>
                </a:solidFill>
                <a:effectLst/>
                <a:uLnTx/>
                <a:uFillTx/>
                <a:latin typeface="HarmonyOS Sans SC"/>
                <a:cs typeface="+mn-cs"/>
              </a:rPr>
              <a:t> </a:t>
            </a:r>
            <a:r>
              <a:rPr kumimoji="0" lang="en-US" sz="800" b="0" i="0" u="none" strike="noStrike" kern="1200" cap="none" spc="0" normalizeH="0" baseline="0" noProof="0" dirty="0" err="1">
                <a:ln>
                  <a:noFill/>
                </a:ln>
                <a:solidFill>
                  <a:prstClr val="black">
                    <a:lumMod val="50000"/>
                    <a:lumOff val="50000"/>
                  </a:prstClr>
                </a:solidFill>
                <a:effectLst/>
                <a:uLnTx/>
                <a:uFillTx/>
                <a:latin typeface="HarmonyOS Sans SC"/>
                <a:cs typeface="+mn-cs"/>
              </a:rPr>
              <a:t>sagittis</a:t>
            </a:r>
            <a:r>
              <a:rPr kumimoji="0" lang="en-US" sz="800" b="0" i="0" u="none" strike="noStrike" kern="1200" cap="none" spc="0" normalizeH="0" baseline="0" noProof="0" dirty="0">
                <a:ln>
                  <a:noFill/>
                </a:ln>
                <a:solidFill>
                  <a:prstClr val="black">
                    <a:lumMod val="50000"/>
                    <a:lumOff val="50000"/>
                  </a:prstClr>
                </a:solidFill>
                <a:effectLst/>
                <a:uLnTx/>
                <a:uFillTx/>
                <a:latin typeface="HarmonyOS Sans SC"/>
                <a:cs typeface="+mn-cs"/>
              </a:rPr>
              <a:t>.</a:t>
            </a:r>
          </a:p>
        </p:txBody>
      </p:sp>
      <p:sp>
        <p:nvSpPr>
          <p:cNvPr id="27" name="TextBox 79">
            <a:extLst>
              <a:ext uri="{FF2B5EF4-FFF2-40B4-BE49-F238E27FC236}">
                <a16:creationId xmlns:a16="http://schemas.microsoft.com/office/drawing/2014/main" id="{CC198077-FA65-4421-BABD-99C19029CBEF}"/>
              </a:ext>
            </a:extLst>
          </p:cNvPr>
          <p:cNvSpPr txBox="1"/>
          <p:nvPr/>
        </p:nvSpPr>
        <p:spPr>
          <a:xfrm>
            <a:off x="2202341" y="3046028"/>
            <a:ext cx="1308780" cy="379719"/>
          </a:xfrm>
          <a:prstGeom prst="rect">
            <a:avLst/>
          </a:prstGeom>
          <a:noFill/>
        </p:spPr>
        <p:txBody>
          <a:bodyPr wrap="square" rtlCol="0">
            <a:spAutoFit/>
          </a:bodyPr>
          <a:lstStyle/>
          <a:p>
            <a:pPr marL="0" marR="0" lvl="0" indent="0" algn="r" defTabSz="914400" rtl="0" eaLnBrk="1" fontAlgn="auto" latinLnBrk="0" hangingPunct="1">
              <a:lnSpc>
                <a:spcPts val="24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lumMod val="75000"/>
                    <a:lumOff val="25000"/>
                  </a:prstClr>
                </a:solidFill>
                <a:effectLst/>
                <a:uLnTx/>
                <a:uFillTx/>
                <a:latin typeface="HarmonyOS Sans SC Black"/>
                <a:ea typeface="+mj-ea"/>
                <a:cs typeface="+mn-cs"/>
              </a:rPr>
              <a:t>Title here</a:t>
            </a:r>
          </a:p>
        </p:txBody>
      </p:sp>
      <p:sp>
        <p:nvSpPr>
          <p:cNvPr id="28" name="TextBox 80">
            <a:extLst>
              <a:ext uri="{FF2B5EF4-FFF2-40B4-BE49-F238E27FC236}">
                <a16:creationId xmlns:a16="http://schemas.microsoft.com/office/drawing/2014/main" id="{94F11FD7-D982-4B18-99E8-3F24AE3E0485}"/>
              </a:ext>
            </a:extLst>
          </p:cNvPr>
          <p:cNvSpPr txBox="1"/>
          <p:nvPr/>
        </p:nvSpPr>
        <p:spPr>
          <a:xfrm>
            <a:off x="777065" y="3406400"/>
            <a:ext cx="2734056" cy="786497"/>
          </a:xfrm>
          <a:prstGeom prst="rect">
            <a:avLst/>
          </a:prstGeom>
          <a:noFill/>
        </p:spPr>
        <p:txBody>
          <a:bodyPr wrap="square" rtlCol="0">
            <a:noAutofit/>
          </a:bodyPr>
          <a:lstStyle/>
          <a:p>
            <a:pPr marL="0" marR="0" lvl="0" indent="0" algn="r" defTabSz="914400" rtl="0" eaLnBrk="1" fontAlgn="auto" latinLnBrk="0" hangingPunct="1">
              <a:lnSpc>
                <a:spcPts val="1900"/>
              </a:lnSpc>
              <a:spcBef>
                <a:spcPts val="0"/>
              </a:spcBef>
              <a:spcAft>
                <a:spcPts val="0"/>
              </a:spcAft>
              <a:buClrTx/>
              <a:buSzTx/>
              <a:buFontTx/>
              <a:buNone/>
              <a:tabLst/>
              <a:defRPr/>
            </a:pPr>
            <a:r>
              <a:rPr kumimoji="0" lang="en-US" sz="800" b="0" i="0" u="none" strike="noStrike" kern="1200" cap="none" spc="0" normalizeH="0" baseline="0" noProof="0" dirty="0" err="1">
                <a:ln>
                  <a:noFill/>
                </a:ln>
                <a:solidFill>
                  <a:prstClr val="black">
                    <a:lumMod val="50000"/>
                    <a:lumOff val="50000"/>
                  </a:prstClr>
                </a:solidFill>
                <a:effectLst/>
                <a:uLnTx/>
                <a:uFillTx/>
                <a:latin typeface="HarmonyOS Sans SC"/>
                <a:cs typeface="+mn-cs"/>
              </a:rPr>
              <a:t>Nulla</a:t>
            </a:r>
            <a:r>
              <a:rPr kumimoji="0" lang="en-US" sz="800" b="0" i="0" u="none" strike="noStrike" kern="1200" cap="none" spc="0" normalizeH="0" baseline="0" noProof="0" dirty="0">
                <a:ln>
                  <a:noFill/>
                </a:ln>
                <a:solidFill>
                  <a:prstClr val="black">
                    <a:lumMod val="50000"/>
                    <a:lumOff val="50000"/>
                  </a:prstClr>
                </a:solidFill>
                <a:effectLst/>
                <a:uLnTx/>
                <a:uFillTx/>
                <a:latin typeface="HarmonyOS Sans SC"/>
                <a:cs typeface="+mn-cs"/>
              </a:rPr>
              <a:t> </a:t>
            </a:r>
            <a:r>
              <a:rPr kumimoji="0" lang="en-US" sz="800" b="0" i="0" u="none" strike="noStrike" kern="1200" cap="none" spc="0" normalizeH="0" baseline="0" noProof="0" dirty="0" err="1">
                <a:ln>
                  <a:noFill/>
                </a:ln>
                <a:solidFill>
                  <a:prstClr val="black">
                    <a:lumMod val="50000"/>
                    <a:lumOff val="50000"/>
                  </a:prstClr>
                </a:solidFill>
                <a:effectLst/>
                <a:uLnTx/>
                <a:uFillTx/>
                <a:latin typeface="HarmonyOS Sans SC"/>
                <a:cs typeface="+mn-cs"/>
              </a:rPr>
              <a:t>urna</a:t>
            </a:r>
            <a:r>
              <a:rPr kumimoji="0" lang="en-US" sz="800" b="0" i="0" u="none" strike="noStrike" kern="1200" cap="none" spc="0" normalizeH="0" baseline="0" noProof="0" dirty="0">
                <a:ln>
                  <a:noFill/>
                </a:ln>
                <a:solidFill>
                  <a:prstClr val="black">
                    <a:lumMod val="50000"/>
                    <a:lumOff val="50000"/>
                  </a:prstClr>
                </a:solidFill>
                <a:effectLst/>
                <a:uLnTx/>
                <a:uFillTx/>
                <a:latin typeface="HarmonyOS Sans SC"/>
                <a:cs typeface="+mn-cs"/>
              </a:rPr>
              <a:t> mi, </a:t>
            </a:r>
            <a:r>
              <a:rPr kumimoji="0" lang="en-US" sz="800" b="0" i="0" u="none" strike="noStrike" kern="1200" cap="none" spc="0" normalizeH="0" baseline="0" noProof="0" dirty="0" err="1">
                <a:ln>
                  <a:noFill/>
                </a:ln>
                <a:solidFill>
                  <a:prstClr val="black">
                    <a:lumMod val="50000"/>
                    <a:lumOff val="50000"/>
                  </a:prstClr>
                </a:solidFill>
                <a:effectLst/>
                <a:uLnTx/>
                <a:uFillTx/>
                <a:latin typeface="HarmonyOS Sans SC"/>
                <a:cs typeface="+mn-cs"/>
              </a:rPr>
              <a:t>bibendum</a:t>
            </a:r>
            <a:r>
              <a:rPr kumimoji="0" lang="en-US" sz="800" b="0" i="0" u="none" strike="noStrike" kern="1200" cap="none" spc="0" normalizeH="0" baseline="0" noProof="0" dirty="0">
                <a:ln>
                  <a:noFill/>
                </a:ln>
                <a:solidFill>
                  <a:prstClr val="black">
                    <a:lumMod val="50000"/>
                    <a:lumOff val="50000"/>
                  </a:prstClr>
                </a:solidFill>
                <a:effectLst/>
                <a:uLnTx/>
                <a:uFillTx/>
                <a:latin typeface="HarmonyOS Sans SC"/>
                <a:cs typeface="+mn-cs"/>
              </a:rPr>
              <a:t> a </a:t>
            </a:r>
            <a:r>
              <a:rPr kumimoji="0" lang="en-US" sz="800" b="0" i="0" u="none" strike="noStrike" kern="1200" cap="none" spc="0" normalizeH="0" baseline="0" noProof="0" dirty="0" err="1">
                <a:ln>
                  <a:noFill/>
                </a:ln>
                <a:solidFill>
                  <a:prstClr val="black">
                    <a:lumMod val="50000"/>
                    <a:lumOff val="50000"/>
                  </a:prstClr>
                </a:solidFill>
                <a:effectLst/>
                <a:uLnTx/>
                <a:uFillTx/>
                <a:latin typeface="HarmonyOS Sans SC"/>
                <a:cs typeface="+mn-cs"/>
              </a:rPr>
              <a:t>tempor</a:t>
            </a:r>
            <a:r>
              <a:rPr kumimoji="0" lang="en-US" sz="800" b="0" i="0" u="none" strike="noStrike" kern="1200" cap="none" spc="0" normalizeH="0" baseline="0" noProof="0" dirty="0">
                <a:ln>
                  <a:noFill/>
                </a:ln>
                <a:solidFill>
                  <a:prstClr val="black">
                    <a:lumMod val="50000"/>
                    <a:lumOff val="50000"/>
                  </a:prstClr>
                </a:solidFill>
                <a:effectLst/>
                <a:uLnTx/>
                <a:uFillTx/>
                <a:latin typeface="HarmonyOS Sans SC"/>
                <a:cs typeface="+mn-cs"/>
              </a:rPr>
              <a:t> </a:t>
            </a:r>
            <a:r>
              <a:rPr kumimoji="0" lang="en-US" sz="800" b="0" i="0" u="none" strike="noStrike" kern="1200" cap="none" spc="0" normalizeH="0" baseline="0" noProof="0" dirty="0" err="1">
                <a:ln>
                  <a:noFill/>
                </a:ln>
                <a:solidFill>
                  <a:prstClr val="black">
                    <a:lumMod val="50000"/>
                    <a:lumOff val="50000"/>
                  </a:prstClr>
                </a:solidFill>
                <a:effectLst/>
                <a:uLnTx/>
                <a:uFillTx/>
                <a:latin typeface="HarmonyOS Sans SC"/>
                <a:cs typeface="+mn-cs"/>
              </a:rPr>
              <a:t>quis</a:t>
            </a:r>
            <a:r>
              <a:rPr kumimoji="0" lang="en-US" sz="800" b="0" i="0" u="none" strike="noStrike" kern="1200" cap="none" spc="0" normalizeH="0" baseline="0" noProof="0" dirty="0">
                <a:ln>
                  <a:noFill/>
                </a:ln>
                <a:solidFill>
                  <a:prstClr val="black">
                    <a:lumMod val="50000"/>
                    <a:lumOff val="50000"/>
                  </a:prstClr>
                </a:solidFill>
                <a:effectLst/>
                <a:uLnTx/>
                <a:uFillTx/>
                <a:latin typeface="HarmonyOS Sans SC"/>
                <a:cs typeface="+mn-cs"/>
              </a:rPr>
              <a:t>, </a:t>
            </a:r>
            <a:r>
              <a:rPr kumimoji="0" lang="en-US" sz="800" b="0" i="0" u="none" strike="noStrike" kern="1200" cap="none" spc="0" normalizeH="0" baseline="0" noProof="0" dirty="0" err="1">
                <a:ln>
                  <a:noFill/>
                </a:ln>
                <a:solidFill>
                  <a:prstClr val="black">
                    <a:lumMod val="50000"/>
                    <a:lumOff val="50000"/>
                  </a:prstClr>
                </a:solidFill>
                <a:effectLst/>
                <a:uLnTx/>
                <a:uFillTx/>
                <a:latin typeface="HarmonyOS Sans SC"/>
                <a:cs typeface="+mn-cs"/>
              </a:rPr>
              <a:t>imperdiet</a:t>
            </a:r>
            <a:r>
              <a:rPr kumimoji="0" lang="en-US" sz="800" b="0" i="0" u="none" strike="noStrike" kern="1200" cap="none" spc="0" normalizeH="0" baseline="0" noProof="0" dirty="0">
                <a:ln>
                  <a:noFill/>
                </a:ln>
                <a:solidFill>
                  <a:prstClr val="black">
                    <a:lumMod val="50000"/>
                    <a:lumOff val="50000"/>
                  </a:prstClr>
                </a:solidFill>
                <a:effectLst/>
                <a:uLnTx/>
                <a:uFillTx/>
                <a:latin typeface="HarmonyOS Sans SC"/>
                <a:cs typeface="+mn-cs"/>
              </a:rPr>
              <a:t> </a:t>
            </a:r>
            <a:r>
              <a:rPr kumimoji="0" lang="en-US" sz="800" b="0" i="0" u="none" strike="noStrike" kern="1200" cap="none" spc="0" normalizeH="0" baseline="0" noProof="0" dirty="0" err="1">
                <a:ln>
                  <a:noFill/>
                </a:ln>
                <a:solidFill>
                  <a:prstClr val="black">
                    <a:lumMod val="50000"/>
                    <a:lumOff val="50000"/>
                  </a:prstClr>
                </a:solidFill>
                <a:effectLst/>
                <a:uLnTx/>
                <a:uFillTx/>
                <a:latin typeface="HarmonyOS Sans SC"/>
                <a:cs typeface="+mn-cs"/>
              </a:rPr>
              <a:t>eget</a:t>
            </a:r>
            <a:r>
              <a:rPr kumimoji="0" lang="en-US" sz="800" b="0" i="0" u="none" strike="noStrike" kern="1200" cap="none" spc="0" normalizeH="0" baseline="0" noProof="0" dirty="0">
                <a:ln>
                  <a:noFill/>
                </a:ln>
                <a:solidFill>
                  <a:prstClr val="black">
                    <a:lumMod val="50000"/>
                    <a:lumOff val="50000"/>
                  </a:prstClr>
                </a:solidFill>
                <a:effectLst/>
                <a:uLnTx/>
                <a:uFillTx/>
                <a:latin typeface="HarmonyOS Sans SC"/>
                <a:cs typeface="+mn-cs"/>
              </a:rPr>
              <a:t> </a:t>
            </a:r>
            <a:r>
              <a:rPr kumimoji="0" lang="en-US" sz="800" b="0" i="0" u="none" strike="noStrike" kern="1200" cap="none" spc="0" normalizeH="0" baseline="0" noProof="0" dirty="0" err="1">
                <a:ln>
                  <a:noFill/>
                </a:ln>
                <a:solidFill>
                  <a:prstClr val="black">
                    <a:lumMod val="50000"/>
                    <a:lumOff val="50000"/>
                  </a:prstClr>
                </a:solidFill>
                <a:effectLst/>
                <a:uLnTx/>
                <a:uFillTx/>
                <a:latin typeface="HarmonyOS Sans SC"/>
                <a:cs typeface="+mn-cs"/>
              </a:rPr>
              <a:t>massa</a:t>
            </a:r>
            <a:r>
              <a:rPr kumimoji="0" lang="en-US" sz="800" b="0" i="0" u="none" strike="noStrike" kern="1200" cap="none" spc="0" normalizeH="0" baseline="0" noProof="0" dirty="0">
                <a:ln>
                  <a:noFill/>
                </a:ln>
                <a:solidFill>
                  <a:prstClr val="black">
                    <a:lumMod val="50000"/>
                    <a:lumOff val="50000"/>
                  </a:prstClr>
                </a:solidFill>
                <a:effectLst/>
                <a:uLnTx/>
                <a:uFillTx/>
                <a:latin typeface="HarmonyOS Sans SC"/>
                <a:cs typeface="+mn-cs"/>
              </a:rPr>
              <a:t>. Cras </a:t>
            </a:r>
            <a:r>
              <a:rPr kumimoji="0" lang="en-US" sz="800" b="0" i="0" u="none" strike="noStrike" kern="1200" cap="none" spc="0" normalizeH="0" baseline="0" noProof="0" dirty="0" err="1">
                <a:ln>
                  <a:noFill/>
                </a:ln>
                <a:solidFill>
                  <a:prstClr val="black">
                    <a:lumMod val="50000"/>
                    <a:lumOff val="50000"/>
                  </a:prstClr>
                </a:solidFill>
                <a:effectLst/>
                <a:uLnTx/>
                <a:uFillTx/>
                <a:latin typeface="HarmonyOS Sans SC"/>
                <a:cs typeface="+mn-cs"/>
              </a:rPr>
              <a:t>pellentesque</a:t>
            </a:r>
            <a:r>
              <a:rPr kumimoji="0" lang="en-US" sz="800" b="0" i="0" u="none" strike="noStrike" kern="1200" cap="none" spc="0" normalizeH="0" baseline="0" noProof="0" dirty="0">
                <a:ln>
                  <a:noFill/>
                </a:ln>
                <a:solidFill>
                  <a:prstClr val="black">
                    <a:lumMod val="50000"/>
                    <a:lumOff val="50000"/>
                  </a:prstClr>
                </a:solidFill>
                <a:effectLst/>
                <a:uLnTx/>
                <a:uFillTx/>
                <a:latin typeface="HarmonyOS Sans SC"/>
                <a:cs typeface="+mn-cs"/>
              </a:rPr>
              <a:t>, </a:t>
            </a:r>
            <a:r>
              <a:rPr kumimoji="0" lang="en-US" sz="800" b="0" i="0" u="none" strike="noStrike" kern="1200" cap="none" spc="0" normalizeH="0" baseline="0" noProof="0" dirty="0" err="1">
                <a:ln>
                  <a:noFill/>
                </a:ln>
                <a:solidFill>
                  <a:prstClr val="black">
                    <a:lumMod val="50000"/>
                    <a:lumOff val="50000"/>
                  </a:prstClr>
                </a:solidFill>
                <a:effectLst/>
                <a:uLnTx/>
                <a:uFillTx/>
                <a:latin typeface="HarmonyOS Sans SC"/>
                <a:cs typeface="+mn-cs"/>
              </a:rPr>
              <a:t>metus</a:t>
            </a:r>
            <a:r>
              <a:rPr kumimoji="0" lang="en-US" sz="800" b="0" i="0" u="none" strike="noStrike" kern="1200" cap="none" spc="0" normalizeH="0" baseline="0" noProof="0" dirty="0">
                <a:ln>
                  <a:noFill/>
                </a:ln>
                <a:solidFill>
                  <a:prstClr val="black">
                    <a:lumMod val="50000"/>
                    <a:lumOff val="50000"/>
                  </a:prstClr>
                </a:solidFill>
                <a:effectLst/>
                <a:uLnTx/>
                <a:uFillTx/>
                <a:latin typeface="HarmonyOS Sans SC"/>
                <a:cs typeface="+mn-cs"/>
              </a:rPr>
              <a:t> </a:t>
            </a:r>
            <a:r>
              <a:rPr kumimoji="0" lang="en-US" sz="800" b="0" i="0" u="none" strike="noStrike" kern="1200" cap="none" spc="0" normalizeH="0" baseline="0" noProof="0" dirty="0" err="1">
                <a:ln>
                  <a:noFill/>
                </a:ln>
                <a:solidFill>
                  <a:prstClr val="black">
                    <a:lumMod val="50000"/>
                    <a:lumOff val="50000"/>
                  </a:prstClr>
                </a:solidFill>
                <a:effectLst/>
                <a:uLnTx/>
                <a:uFillTx/>
                <a:latin typeface="HarmonyOS Sans SC"/>
                <a:cs typeface="+mn-cs"/>
              </a:rPr>
              <a:t>eget</a:t>
            </a:r>
            <a:r>
              <a:rPr kumimoji="0" lang="en-US" sz="800" b="0" i="0" u="none" strike="noStrike" kern="1200" cap="none" spc="0" normalizeH="0" baseline="0" noProof="0" dirty="0">
                <a:ln>
                  <a:noFill/>
                </a:ln>
                <a:solidFill>
                  <a:prstClr val="black">
                    <a:lumMod val="50000"/>
                    <a:lumOff val="50000"/>
                  </a:prstClr>
                </a:solidFill>
                <a:effectLst/>
                <a:uLnTx/>
                <a:uFillTx/>
                <a:latin typeface="HarmonyOS Sans SC"/>
                <a:cs typeface="+mn-cs"/>
              </a:rPr>
              <a:t> </a:t>
            </a:r>
            <a:r>
              <a:rPr kumimoji="0" lang="en-US" sz="800" b="0" i="0" u="none" strike="noStrike" kern="1200" cap="none" spc="0" normalizeH="0" baseline="0" noProof="0" dirty="0" err="1">
                <a:ln>
                  <a:noFill/>
                </a:ln>
                <a:solidFill>
                  <a:prstClr val="black">
                    <a:lumMod val="50000"/>
                    <a:lumOff val="50000"/>
                  </a:prstClr>
                </a:solidFill>
                <a:effectLst/>
                <a:uLnTx/>
                <a:uFillTx/>
                <a:latin typeface="HarmonyOS Sans SC"/>
                <a:cs typeface="+mn-cs"/>
              </a:rPr>
              <a:t>sagittis</a:t>
            </a:r>
            <a:r>
              <a:rPr kumimoji="0" lang="en-US" sz="800" b="0" i="0" u="none" strike="noStrike" kern="1200" cap="none" spc="0" normalizeH="0" baseline="0" noProof="0" dirty="0">
                <a:ln>
                  <a:noFill/>
                </a:ln>
                <a:solidFill>
                  <a:prstClr val="black">
                    <a:lumMod val="50000"/>
                    <a:lumOff val="50000"/>
                  </a:prstClr>
                </a:solidFill>
                <a:effectLst/>
                <a:uLnTx/>
                <a:uFillTx/>
                <a:latin typeface="HarmonyOS Sans SC"/>
                <a:cs typeface="+mn-cs"/>
              </a:rPr>
              <a:t>.</a:t>
            </a:r>
          </a:p>
        </p:txBody>
      </p:sp>
      <p:sp>
        <p:nvSpPr>
          <p:cNvPr id="29" name="TextBox 85">
            <a:extLst>
              <a:ext uri="{FF2B5EF4-FFF2-40B4-BE49-F238E27FC236}">
                <a16:creationId xmlns:a16="http://schemas.microsoft.com/office/drawing/2014/main" id="{0352DA58-4B6A-4B27-BB36-929EEBCE09C4}"/>
              </a:ext>
            </a:extLst>
          </p:cNvPr>
          <p:cNvSpPr txBox="1"/>
          <p:nvPr/>
        </p:nvSpPr>
        <p:spPr>
          <a:xfrm>
            <a:off x="2755774" y="4751122"/>
            <a:ext cx="1308780" cy="379719"/>
          </a:xfrm>
          <a:prstGeom prst="rect">
            <a:avLst/>
          </a:prstGeom>
          <a:noFill/>
        </p:spPr>
        <p:txBody>
          <a:bodyPr wrap="square" rtlCol="0">
            <a:spAutoFit/>
          </a:bodyPr>
          <a:lstStyle/>
          <a:p>
            <a:pPr marL="0" marR="0" lvl="0" indent="0" algn="r" defTabSz="914400" rtl="0" eaLnBrk="1" fontAlgn="auto" latinLnBrk="0" hangingPunct="1">
              <a:lnSpc>
                <a:spcPts val="24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lumMod val="75000"/>
                    <a:lumOff val="25000"/>
                  </a:prstClr>
                </a:solidFill>
                <a:effectLst/>
                <a:uLnTx/>
                <a:uFillTx/>
                <a:latin typeface="HarmonyOS Sans SC Black"/>
                <a:ea typeface="+mj-ea"/>
                <a:cs typeface="+mn-cs"/>
              </a:rPr>
              <a:t>Title here</a:t>
            </a:r>
          </a:p>
        </p:txBody>
      </p:sp>
      <p:sp>
        <p:nvSpPr>
          <p:cNvPr id="30" name="TextBox 86">
            <a:extLst>
              <a:ext uri="{FF2B5EF4-FFF2-40B4-BE49-F238E27FC236}">
                <a16:creationId xmlns:a16="http://schemas.microsoft.com/office/drawing/2014/main" id="{7D42B0FB-585D-4E7A-B9E5-638C52A4E09F}"/>
              </a:ext>
            </a:extLst>
          </p:cNvPr>
          <p:cNvSpPr txBox="1"/>
          <p:nvPr/>
        </p:nvSpPr>
        <p:spPr>
          <a:xfrm>
            <a:off x="1330498" y="5111494"/>
            <a:ext cx="2734056" cy="786497"/>
          </a:xfrm>
          <a:prstGeom prst="rect">
            <a:avLst/>
          </a:prstGeom>
          <a:noFill/>
        </p:spPr>
        <p:txBody>
          <a:bodyPr wrap="square" rtlCol="0">
            <a:noAutofit/>
          </a:bodyPr>
          <a:lstStyle/>
          <a:p>
            <a:pPr marL="0" marR="0" lvl="0" indent="0" algn="r" defTabSz="914400" rtl="0" eaLnBrk="1" fontAlgn="auto" latinLnBrk="0" hangingPunct="1">
              <a:lnSpc>
                <a:spcPts val="1900"/>
              </a:lnSpc>
              <a:spcBef>
                <a:spcPts val="0"/>
              </a:spcBef>
              <a:spcAft>
                <a:spcPts val="0"/>
              </a:spcAft>
              <a:buClrTx/>
              <a:buSzTx/>
              <a:buFontTx/>
              <a:buNone/>
              <a:tabLst/>
              <a:defRPr/>
            </a:pPr>
            <a:r>
              <a:rPr kumimoji="0" lang="en-US" sz="800" b="0" i="0" u="none" strike="noStrike" kern="1200" cap="none" spc="0" normalizeH="0" baseline="0" noProof="0" dirty="0" err="1">
                <a:ln>
                  <a:noFill/>
                </a:ln>
                <a:solidFill>
                  <a:prstClr val="black">
                    <a:lumMod val="50000"/>
                    <a:lumOff val="50000"/>
                  </a:prstClr>
                </a:solidFill>
                <a:effectLst/>
                <a:uLnTx/>
                <a:uFillTx/>
                <a:latin typeface="HarmonyOS Sans SC"/>
                <a:cs typeface="+mn-cs"/>
              </a:rPr>
              <a:t>Nulla</a:t>
            </a:r>
            <a:r>
              <a:rPr kumimoji="0" lang="en-US" sz="800" b="0" i="0" u="none" strike="noStrike" kern="1200" cap="none" spc="0" normalizeH="0" baseline="0" noProof="0" dirty="0">
                <a:ln>
                  <a:noFill/>
                </a:ln>
                <a:solidFill>
                  <a:prstClr val="black">
                    <a:lumMod val="50000"/>
                    <a:lumOff val="50000"/>
                  </a:prstClr>
                </a:solidFill>
                <a:effectLst/>
                <a:uLnTx/>
                <a:uFillTx/>
                <a:latin typeface="HarmonyOS Sans SC"/>
                <a:cs typeface="+mn-cs"/>
              </a:rPr>
              <a:t> </a:t>
            </a:r>
            <a:r>
              <a:rPr kumimoji="0" lang="en-US" sz="800" b="0" i="0" u="none" strike="noStrike" kern="1200" cap="none" spc="0" normalizeH="0" baseline="0" noProof="0" dirty="0" err="1">
                <a:ln>
                  <a:noFill/>
                </a:ln>
                <a:solidFill>
                  <a:prstClr val="black">
                    <a:lumMod val="50000"/>
                    <a:lumOff val="50000"/>
                  </a:prstClr>
                </a:solidFill>
                <a:effectLst/>
                <a:uLnTx/>
                <a:uFillTx/>
                <a:latin typeface="HarmonyOS Sans SC"/>
                <a:cs typeface="+mn-cs"/>
              </a:rPr>
              <a:t>urna</a:t>
            </a:r>
            <a:r>
              <a:rPr kumimoji="0" lang="en-US" sz="800" b="0" i="0" u="none" strike="noStrike" kern="1200" cap="none" spc="0" normalizeH="0" baseline="0" noProof="0" dirty="0">
                <a:ln>
                  <a:noFill/>
                </a:ln>
                <a:solidFill>
                  <a:prstClr val="black">
                    <a:lumMod val="50000"/>
                    <a:lumOff val="50000"/>
                  </a:prstClr>
                </a:solidFill>
                <a:effectLst/>
                <a:uLnTx/>
                <a:uFillTx/>
                <a:latin typeface="HarmonyOS Sans SC"/>
                <a:cs typeface="+mn-cs"/>
              </a:rPr>
              <a:t> mi, </a:t>
            </a:r>
            <a:r>
              <a:rPr kumimoji="0" lang="en-US" sz="800" b="0" i="0" u="none" strike="noStrike" kern="1200" cap="none" spc="0" normalizeH="0" baseline="0" noProof="0" dirty="0" err="1">
                <a:ln>
                  <a:noFill/>
                </a:ln>
                <a:solidFill>
                  <a:prstClr val="black">
                    <a:lumMod val="50000"/>
                    <a:lumOff val="50000"/>
                  </a:prstClr>
                </a:solidFill>
                <a:effectLst/>
                <a:uLnTx/>
                <a:uFillTx/>
                <a:latin typeface="HarmonyOS Sans SC"/>
                <a:cs typeface="+mn-cs"/>
              </a:rPr>
              <a:t>bibendum</a:t>
            </a:r>
            <a:r>
              <a:rPr kumimoji="0" lang="en-US" sz="800" b="0" i="0" u="none" strike="noStrike" kern="1200" cap="none" spc="0" normalizeH="0" baseline="0" noProof="0" dirty="0">
                <a:ln>
                  <a:noFill/>
                </a:ln>
                <a:solidFill>
                  <a:prstClr val="black">
                    <a:lumMod val="50000"/>
                    <a:lumOff val="50000"/>
                  </a:prstClr>
                </a:solidFill>
                <a:effectLst/>
                <a:uLnTx/>
                <a:uFillTx/>
                <a:latin typeface="HarmonyOS Sans SC"/>
                <a:cs typeface="+mn-cs"/>
              </a:rPr>
              <a:t> a </a:t>
            </a:r>
            <a:r>
              <a:rPr kumimoji="0" lang="en-US" sz="800" b="0" i="0" u="none" strike="noStrike" kern="1200" cap="none" spc="0" normalizeH="0" baseline="0" noProof="0" dirty="0" err="1">
                <a:ln>
                  <a:noFill/>
                </a:ln>
                <a:solidFill>
                  <a:prstClr val="black">
                    <a:lumMod val="50000"/>
                    <a:lumOff val="50000"/>
                  </a:prstClr>
                </a:solidFill>
                <a:effectLst/>
                <a:uLnTx/>
                <a:uFillTx/>
                <a:latin typeface="HarmonyOS Sans SC"/>
                <a:cs typeface="+mn-cs"/>
              </a:rPr>
              <a:t>tempor</a:t>
            </a:r>
            <a:r>
              <a:rPr kumimoji="0" lang="en-US" sz="800" b="0" i="0" u="none" strike="noStrike" kern="1200" cap="none" spc="0" normalizeH="0" baseline="0" noProof="0" dirty="0">
                <a:ln>
                  <a:noFill/>
                </a:ln>
                <a:solidFill>
                  <a:prstClr val="black">
                    <a:lumMod val="50000"/>
                    <a:lumOff val="50000"/>
                  </a:prstClr>
                </a:solidFill>
                <a:effectLst/>
                <a:uLnTx/>
                <a:uFillTx/>
                <a:latin typeface="HarmonyOS Sans SC"/>
                <a:cs typeface="+mn-cs"/>
              </a:rPr>
              <a:t> </a:t>
            </a:r>
            <a:r>
              <a:rPr kumimoji="0" lang="en-US" sz="800" b="0" i="0" u="none" strike="noStrike" kern="1200" cap="none" spc="0" normalizeH="0" baseline="0" noProof="0" dirty="0" err="1">
                <a:ln>
                  <a:noFill/>
                </a:ln>
                <a:solidFill>
                  <a:prstClr val="black">
                    <a:lumMod val="50000"/>
                    <a:lumOff val="50000"/>
                  </a:prstClr>
                </a:solidFill>
                <a:effectLst/>
                <a:uLnTx/>
                <a:uFillTx/>
                <a:latin typeface="HarmonyOS Sans SC"/>
                <a:cs typeface="+mn-cs"/>
              </a:rPr>
              <a:t>quis</a:t>
            </a:r>
            <a:r>
              <a:rPr kumimoji="0" lang="en-US" sz="800" b="0" i="0" u="none" strike="noStrike" kern="1200" cap="none" spc="0" normalizeH="0" baseline="0" noProof="0" dirty="0">
                <a:ln>
                  <a:noFill/>
                </a:ln>
                <a:solidFill>
                  <a:prstClr val="black">
                    <a:lumMod val="50000"/>
                    <a:lumOff val="50000"/>
                  </a:prstClr>
                </a:solidFill>
                <a:effectLst/>
                <a:uLnTx/>
                <a:uFillTx/>
                <a:latin typeface="HarmonyOS Sans SC"/>
                <a:cs typeface="+mn-cs"/>
              </a:rPr>
              <a:t>, </a:t>
            </a:r>
            <a:r>
              <a:rPr kumimoji="0" lang="en-US" sz="800" b="0" i="0" u="none" strike="noStrike" kern="1200" cap="none" spc="0" normalizeH="0" baseline="0" noProof="0" dirty="0" err="1">
                <a:ln>
                  <a:noFill/>
                </a:ln>
                <a:solidFill>
                  <a:prstClr val="black">
                    <a:lumMod val="50000"/>
                    <a:lumOff val="50000"/>
                  </a:prstClr>
                </a:solidFill>
                <a:effectLst/>
                <a:uLnTx/>
                <a:uFillTx/>
                <a:latin typeface="HarmonyOS Sans SC"/>
                <a:cs typeface="+mn-cs"/>
              </a:rPr>
              <a:t>imperdiet</a:t>
            </a:r>
            <a:r>
              <a:rPr kumimoji="0" lang="en-US" sz="800" b="0" i="0" u="none" strike="noStrike" kern="1200" cap="none" spc="0" normalizeH="0" baseline="0" noProof="0" dirty="0">
                <a:ln>
                  <a:noFill/>
                </a:ln>
                <a:solidFill>
                  <a:prstClr val="black">
                    <a:lumMod val="50000"/>
                    <a:lumOff val="50000"/>
                  </a:prstClr>
                </a:solidFill>
                <a:effectLst/>
                <a:uLnTx/>
                <a:uFillTx/>
                <a:latin typeface="HarmonyOS Sans SC"/>
                <a:cs typeface="+mn-cs"/>
              </a:rPr>
              <a:t> </a:t>
            </a:r>
            <a:r>
              <a:rPr kumimoji="0" lang="en-US" sz="800" b="0" i="0" u="none" strike="noStrike" kern="1200" cap="none" spc="0" normalizeH="0" baseline="0" noProof="0" dirty="0" err="1">
                <a:ln>
                  <a:noFill/>
                </a:ln>
                <a:solidFill>
                  <a:prstClr val="black">
                    <a:lumMod val="50000"/>
                    <a:lumOff val="50000"/>
                  </a:prstClr>
                </a:solidFill>
                <a:effectLst/>
                <a:uLnTx/>
                <a:uFillTx/>
                <a:latin typeface="HarmonyOS Sans SC"/>
                <a:cs typeface="+mn-cs"/>
              </a:rPr>
              <a:t>eget</a:t>
            </a:r>
            <a:r>
              <a:rPr kumimoji="0" lang="en-US" sz="800" b="0" i="0" u="none" strike="noStrike" kern="1200" cap="none" spc="0" normalizeH="0" baseline="0" noProof="0" dirty="0">
                <a:ln>
                  <a:noFill/>
                </a:ln>
                <a:solidFill>
                  <a:prstClr val="black">
                    <a:lumMod val="50000"/>
                    <a:lumOff val="50000"/>
                  </a:prstClr>
                </a:solidFill>
                <a:effectLst/>
                <a:uLnTx/>
                <a:uFillTx/>
                <a:latin typeface="HarmonyOS Sans SC"/>
                <a:cs typeface="+mn-cs"/>
              </a:rPr>
              <a:t> </a:t>
            </a:r>
            <a:r>
              <a:rPr kumimoji="0" lang="en-US" sz="800" b="0" i="0" u="none" strike="noStrike" kern="1200" cap="none" spc="0" normalizeH="0" baseline="0" noProof="0" dirty="0" err="1">
                <a:ln>
                  <a:noFill/>
                </a:ln>
                <a:solidFill>
                  <a:prstClr val="black">
                    <a:lumMod val="50000"/>
                    <a:lumOff val="50000"/>
                  </a:prstClr>
                </a:solidFill>
                <a:effectLst/>
                <a:uLnTx/>
                <a:uFillTx/>
                <a:latin typeface="HarmonyOS Sans SC"/>
                <a:cs typeface="+mn-cs"/>
              </a:rPr>
              <a:t>massa</a:t>
            </a:r>
            <a:r>
              <a:rPr kumimoji="0" lang="en-US" sz="800" b="0" i="0" u="none" strike="noStrike" kern="1200" cap="none" spc="0" normalizeH="0" baseline="0" noProof="0" dirty="0">
                <a:ln>
                  <a:noFill/>
                </a:ln>
                <a:solidFill>
                  <a:prstClr val="black">
                    <a:lumMod val="50000"/>
                    <a:lumOff val="50000"/>
                  </a:prstClr>
                </a:solidFill>
                <a:effectLst/>
                <a:uLnTx/>
                <a:uFillTx/>
                <a:latin typeface="HarmonyOS Sans SC"/>
                <a:cs typeface="+mn-cs"/>
              </a:rPr>
              <a:t>. Cras </a:t>
            </a:r>
            <a:r>
              <a:rPr kumimoji="0" lang="en-US" sz="800" b="0" i="0" u="none" strike="noStrike" kern="1200" cap="none" spc="0" normalizeH="0" baseline="0" noProof="0" dirty="0" err="1">
                <a:ln>
                  <a:noFill/>
                </a:ln>
                <a:solidFill>
                  <a:prstClr val="black">
                    <a:lumMod val="50000"/>
                    <a:lumOff val="50000"/>
                  </a:prstClr>
                </a:solidFill>
                <a:effectLst/>
                <a:uLnTx/>
                <a:uFillTx/>
                <a:latin typeface="HarmonyOS Sans SC"/>
                <a:cs typeface="+mn-cs"/>
              </a:rPr>
              <a:t>pellentesque</a:t>
            </a:r>
            <a:r>
              <a:rPr kumimoji="0" lang="en-US" sz="800" b="0" i="0" u="none" strike="noStrike" kern="1200" cap="none" spc="0" normalizeH="0" baseline="0" noProof="0" dirty="0">
                <a:ln>
                  <a:noFill/>
                </a:ln>
                <a:solidFill>
                  <a:prstClr val="black">
                    <a:lumMod val="50000"/>
                    <a:lumOff val="50000"/>
                  </a:prstClr>
                </a:solidFill>
                <a:effectLst/>
                <a:uLnTx/>
                <a:uFillTx/>
                <a:latin typeface="HarmonyOS Sans SC"/>
                <a:cs typeface="+mn-cs"/>
              </a:rPr>
              <a:t>, </a:t>
            </a:r>
            <a:r>
              <a:rPr kumimoji="0" lang="en-US" sz="800" b="0" i="0" u="none" strike="noStrike" kern="1200" cap="none" spc="0" normalizeH="0" baseline="0" noProof="0" dirty="0" err="1">
                <a:ln>
                  <a:noFill/>
                </a:ln>
                <a:solidFill>
                  <a:prstClr val="black">
                    <a:lumMod val="50000"/>
                    <a:lumOff val="50000"/>
                  </a:prstClr>
                </a:solidFill>
                <a:effectLst/>
                <a:uLnTx/>
                <a:uFillTx/>
                <a:latin typeface="HarmonyOS Sans SC"/>
                <a:cs typeface="+mn-cs"/>
              </a:rPr>
              <a:t>metus</a:t>
            </a:r>
            <a:r>
              <a:rPr kumimoji="0" lang="en-US" sz="800" b="0" i="0" u="none" strike="noStrike" kern="1200" cap="none" spc="0" normalizeH="0" baseline="0" noProof="0" dirty="0">
                <a:ln>
                  <a:noFill/>
                </a:ln>
                <a:solidFill>
                  <a:prstClr val="black">
                    <a:lumMod val="50000"/>
                    <a:lumOff val="50000"/>
                  </a:prstClr>
                </a:solidFill>
                <a:effectLst/>
                <a:uLnTx/>
                <a:uFillTx/>
                <a:latin typeface="HarmonyOS Sans SC"/>
                <a:cs typeface="+mn-cs"/>
              </a:rPr>
              <a:t> </a:t>
            </a:r>
            <a:r>
              <a:rPr kumimoji="0" lang="en-US" sz="800" b="0" i="0" u="none" strike="noStrike" kern="1200" cap="none" spc="0" normalizeH="0" baseline="0" noProof="0" dirty="0" err="1">
                <a:ln>
                  <a:noFill/>
                </a:ln>
                <a:solidFill>
                  <a:prstClr val="black">
                    <a:lumMod val="50000"/>
                    <a:lumOff val="50000"/>
                  </a:prstClr>
                </a:solidFill>
                <a:effectLst/>
                <a:uLnTx/>
                <a:uFillTx/>
                <a:latin typeface="HarmonyOS Sans SC"/>
                <a:cs typeface="+mn-cs"/>
              </a:rPr>
              <a:t>eget</a:t>
            </a:r>
            <a:r>
              <a:rPr kumimoji="0" lang="en-US" sz="800" b="0" i="0" u="none" strike="noStrike" kern="1200" cap="none" spc="0" normalizeH="0" baseline="0" noProof="0" dirty="0">
                <a:ln>
                  <a:noFill/>
                </a:ln>
                <a:solidFill>
                  <a:prstClr val="black">
                    <a:lumMod val="50000"/>
                    <a:lumOff val="50000"/>
                  </a:prstClr>
                </a:solidFill>
                <a:effectLst/>
                <a:uLnTx/>
                <a:uFillTx/>
                <a:latin typeface="HarmonyOS Sans SC"/>
                <a:cs typeface="+mn-cs"/>
              </a:rPr>
              <a:t> </a:t>
            </a:r>
            <a:r>
              <a:rPr kumimoji="0" lang="en-US" sz="800" b="0" i="0" u="none" strike="noStrike" kern="1200" cap="none" spc="0" normalizeH="0" baseline="0" noProof="0" dirty="0" err="1">
                <a:ln>
                  <a:noFill/>
                </a:ln>
                <a:solidFill>
                  <a:prstClr val="black">
                    <a:lumMod val="50000"/>
                    <a:lumOff val="50000"/>
                  </a:prstClr>
                </a:solidFill>
                <a:effectLst/>
                <a:uLnTx/>
                <a:uFillTx/>
                <a:latin typeface="HarmonyOS Sans SC"/>
                <a:cs typeface="+mn-cs"/>
              </a:rPr>
              <a:t>sagittis</a:t>
            </a:r>
            <a:r>
              <a:rPr kumimoji="0" lang="en-US" sz="800" b="0" i="0" u="none" strike="noStrike" kern="1200" cap="none" spc="0" normalizeH="0" baseline="0" noProof="0" dirty="0">
                <a:ln>
                  <a:noFill/>
                </a:ln>
                <a:solidFill>
                  <a:prstClr val="black">
                    <a:lumMod val="50000"/>
                    <a:lumOff val="50000"/>
                  </a:prstClr>
                </a:solidFill>
                <a:effectLst/>
                <a:uLnTx/>
                <a:uFillTx/>
                <a:latin typeface="HarmonyOS Sans SC"/>
                <a:cs typeface="+mn-cs"/>
              </a:rPr>
              <a:t>.</a:t>
            </a:r>
          </a:p>
        </p:txBody>
      </p:sp>
      <p:sp>
        <p:nvSpPr>
          <p:cNvPr id="31" name="TextBox 99">
            <a:extLst>
              <a:ext uri="{FF2B5EF4-FFF2-40B4-BE49-F238E27FC236}">
                <a16:creationId xmlns:a16="http://schemas.microsoft.com/office/drawing/2014/main" id="{05276891-1A49-466A-B1D1-BD4E258E8870}"/>
              </a:ext>
            </a:extLst>
          </p:cNvPr>
          <p:cNvSpPr txBox="1"/>
          <p:nvPr/>
        </p:nvSpPr>
        <p:spPr>
          <a:xfrm>
            <a:off x="8114329" y="4751122"/>
            <a:ext cx="1308780" cy="379719"/>
          </a:xfrm>
          <a:prstGeom prst="rect">
            <a:avLst/>
          </a:prstGeom>
          <a:noFill/>
        </p:spPr>
        <p:txBody>
          <a:bodyPr wrap="square" rtlCol="0">
            <a:spAutoFit/>
          </a:bodyPr>
          <a:lstStyle/>
          <a:p>
            <a:pPr marL="0" marR="0" lvl="0" indent="0" algn="l" defTabSz="914400" rtl="0" eaLnBrk="1" fontAlgn="auto" latinLnBrk="0" hangingPunct="1">
              <a:lnSpc>
                <a:spcPts val="24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lumMod val="75000"/>
                    <a:lumOff val="25000"/>
                  </a:prstClr>
                </a:solidFill>
                <a:effectLst/>
                <a:uLnTx/>
                <a:uFillTx/>
                <a:latin typeface="HarmonyOS Sans SC Black"/>
                <a:ea typeface="+mj-ea"/>
                <a:cs typeface="+mn-cs"/>
              </a:rPr>
              <a:t>Title here</a:t>
            </a:r>
          </a:p>
        </p:txBody>
      </p:sp>
      <p:sp>
        <p:nvSpPr>
          <p:cNvPr id="32" name="TextBox 100">
            <a:extLst>
              <a:ext uri="{FF2B5EF4-FFF2-40B4-BE49-F238E27FC236}">
                <a16:creationId xmlns:a16="http://schemas.microsoft.com/office/drawing/2014/main" id="{AA123615-B71C-4C5C-9CAE-D34AC39803BD}"/>
              </a:ext>
            </a:extLst>
          </p:cNvPr>
          <p:cNvSpPr txBox="1"/>
          <p:nvPr/>
        </p:nvSpPr>
        <p:spPr>
          <a:xfrm>
            <a:off x="8114329" y="5111494"/>
            <a:ext cx="2734056" cy="786497"/>
          </a:xfrm>
          <a:prstGeom prst="rect">
            <a:avLst/>
          </a:prstGeom>
          <a:noFill/>
        </p:spPr>
        <p:txBody>
          <a:bodyPr wrap="square" rtlCol="0">
            <a:noAutofit/>
          </a:bodyPr>
          <a:lstStyle/>
          <a:p>
            <a:pPr marL="0" marR="0" lvl="0" indent="0" algn="l" defTabSz="914400" rtl="0" eaLnBrk="1" fontAlgn="auto" latinLnBrk="0" hangingPunct="1">
              <a:lnSpc>
                <a:spcPts val="1900"/>
              </a:lnSpc>
              <a:spcBef>
                <a:spcPts val="0"/>
              </a:spcBef>
              <a:spcAft>
                <a:spcPts val="0"/>
              </a:spcAft>
              <a:buClrTx/>
              <a:buSzTx/>
              <a:buFontTx/>
              <a:buNone/>
              <a:tabLst/>
              <a:defRPr/>
            </a:pPr>
            <a:r>
              <a:rPr kumimoji="0" lang="en-US" sz="800" b="0" i="0" u="none" strike="noStrike" kern="1200" cap="none" spc="0" normalizeH="0" baseline="0" noProof="0" dirty="0" err="1">
                <a:ln>
                  <a:noFill/>
                </a:ln>
                <a:solidFill>
                  <a:prstClr val="black">
                    <a:lumMod val="50000"/>
                    <a:lumOff val="50000"/>
                  </a:prstClr>
                </a:solidFill>
                <a:effectLst/>
                <a:uLnTx/>
                <a:uFillTx/>
                <a:latin typeface="HarmonyOS Sans SC"/>
                <a:cs typeface="+mn-cs"/>
              </a:rPr>
              <a:t>Nulla</a:t>
            </a:r>
            <a:r>
              <a:rPr kumimoji="0" lang="en-US" sz="800" b="0" i="0" u="none" strike="noStrike" kern="1200" cap="none" spc="0" normalizeH="0" baseline="0" noProof="0" dirty="0">
                <a:ln>
                  <a:noFill/>
                </a:ln>
                <a:solidFill>
                  <a:prstClr val="black">
                    <a:lumMod val="50000"/>
                    <a:lumOff val="50000"/>
                  </a:prstClr>
                </a:solidFill>
                <a:effectLst/>
                <a:uLnTx/>
                <a:uFillTx/>
                <a:latin typeface="HarmonyOS Sans SC"/>
                <a:cs typeface="+mn-cs"/>
              </a:rPr>
              <a:t> </a:t>
            </a:r>
            <a:r>
              <a:rPr kumimoji="0" lang="en-US" sz="800" b="0" i="0" u="none" strike="noStrike" kern="1200" cap="none" spc="0" normalizeH="0" baseline="0" noProof="0" dirty="0" err="1">
                <a:ln>
                  <a:noFill/>
                </a:ln>
                <a:solidFill>
                  <a:prstClr val="black">
                    <a:lumMod val="50000"/>
                    <a:lumOff val="50000"/>
                  </a:prstClr>
                </a:solidFill>
                <a:effectLst/>
                <a:uLnTx/>
                <a:uFillTx/>
                <a:latin typeface="HarmonyOS Sans SC"/>
                <a:cs typeface="+mn-cs"/>
              </a:rPr>
              <a:t>urna</a:t>
            </a:r>
            <a:r>
              <a:rPr kumimoji="0" lang="en-US" sz="800" b="0" i="0" u="none" strike="noStrike" kern="1200" cap="none" spc="0" normalizeH="0" baseline="0" noProof="0" dirty="0">
                <a:ln>
                  <a:noFill/>
                </a:ln>
                <a:solidFill>
                  <a:prstClr val="black">
                    <a:lumMod val="50000"/>
                    <a:lumOff val="50000"/>
                  </a:prstClr>
                </a:solidFill>
                <a:effectLst/>
                <a:uLnTx/>
                <a:uFillTx/>
                <a:latin typeface="HarmonyOS Sans SC"/>
                <a:cs typeface="+mn-cs"/>
              </a:rPr>
              <a:t> mi, </a:t>
            </a:r>
            <a:r>
              <a:rPr kumimoji="0" lang="en-US" sz="800" b="0" i="0" u="none" strike="noStrike" kern="1200" cap="none" spc="0" normalizeH="0" baseline="0" noProof="0" dirty="0" err="1">
                <a:ln>
                  <a:noFill/>
                </a:ln>
                <a:solidFill>
                  <a:prstClr val="black">
                    <a:lumMod val="50000"/>
                    <a:lumOff val="50000"/>
                  </a:prstClr>
                </a:solidFill>
                <a:effectLst/>
                <a:uLnTx/>
                <a:uFillTx/>
                <a:latin typeface="HarmonyOS Sans SC"/>
                <a:cs typeface="+mn-cs"/>
              </a:rPr>
              <a:t>bibendum</a:t>
            </a:r>
            <a:r>
              <a:rPr kumimoji="0" lang="en-US" sz="800" b="0" i="0" u="none" strike="noStrike" kern="1200" cap="none" spc="0" normalizeH="0" baseline="0" noProof="0" dirty="0">
                <a:ln>
                  <a:noFill/>
                </a:ln>
                <a:solidFill>
                  <a:prstClr val="black">
                    <a:lumMod val="50000"/>
                    <a:lumOff val="50000"/>
                  </a:prstClr>
                </a:solidFill>
                <a:effectLst/>
                <a:uLnTx/>
                <a:uFillTx/>
                <a:latin typeface="HarmonyOS Sans SC"/>
                <a:cs typeface="+mn-cs"/>
              </a:rPr>
              <a:t> a </a:t>
            </a:r>
            <a:r>
              <a:rPr kumimoji="0" lang="en-US" sz="800" b="0" i="0" u="none" strike="noStrike" kern="1200" cap="none" spc="0" normalizeH="0" baseline="0" noProof="0" dirty="0" err="1">
                <a:ln>
                  <a:noFill/>
                </a:ln>
                <a:solidFill>
                  <a:prstClr val="black">
                    <a:lumMod val="50000"/>
                    <a:lumOff val="50000"/>
                  </a:prstClr>
                </a:solidFill>
                <a:effectLst/>
                <a:uLnTx/>
                <a:uFillTx/>
                <a:latin typeface="HarmonyOS Sans SC"/>
                <a:cs typeface="+mn-cs"/>
              </a:rPr>
              <a:t>tempor</a:t>
            </a:r>
            <a:r>
              <a:rPr kumimoji="0" lang="en-US" sz="800" b="0" i="0" u="none" strike="noStrike" kern="1200" cap="none" spc="0" normalizeH="0" baseline="0" noProof="0" dirty="0">
                <a:ln>
                  <a:noFill/>
                </a:ln>
                <a:solidFill>
                  <a:prstClr val="black">
                    <a:lumMod val="50000"/>
                    <a:lumOff val="50000"/>
                  </a:prstClr>
                </a:solidFill>
                <a:effectLst/>
                <a:uLnTx/>
                <a:uFillTx/>
                <a:latin typeface="HarmonyOS Sans SC"/>
                <a:cs typeface="+mn-cs"/>
              </a:rPr>
              <a:t> </a:t>
            </a:r>
            <a:r>
              <a:rPr kumimoji="0" lang="en-US" sz="800" b="0" i="0" u="none" strike="noStrike" kern="1200" cap="none" spc="0" normalizeH="0" baseline="0" noProof="0" dirty="0" err="1">
                <a:ln>
                  <a:noFill/>
                </a:ln>
                <a:solidFill>
                  <a:prstClr val="black">
                    <a:lumMod val="50000"/>
                    <a:lumOff val="50000"/>
                  </a:prstClr>
                </a:solidFill>
                <a:effectLst/>
                <a:uLnTx/>
                <a:uFillTx/>
                <a:latin typeface="HarmonyOS Sans SC"/>
                <a:cs typeface="+mn-cs"/>
              </a:rPr>
              <a:t>quis</a:t>
            </a:r>
            <a:r>
              <a:rPr kumimoji="0" lang="en-US" sz="800" b="0" i="0" u="none" strike="noStrike" kern="1200" cap="none" spc="0" normalizeH="0" baseline="0" noProof="0" dirty="0">
                <a:ln>
                  <a:noFill/>
                </a:ln>
                <a:solidFill>
                  <a:prstClr val="black">
                    <a:lumMod val="50000"/>
                    <a:lumOff val="50000"/>
                  </a:prstClr>
                </a:solidFill>
                <a:effectLst/>
                <a:uLnTx/>
                <a:uFillTx/>
                <a:latin typeface="HarmonyOS Sans SC"/>
                <a:cs typeface="+mn-cs"/>
              </a:rPr>
              <a:t>, </a:t>
            </a:r>
            <a:r>
              <a:rPr kumimoji="0" lang="en-US" sz="800" b="0" i="0" u="none" strike="noStrike" kern="1200" cap="none" spc="0" normalizeH="0" baseline="0" noProof="0" dirty="0" err="1">
                <a:ln>
                  <a:noFill/>
                </a:ln>
                <a:solidFill>
                  <a:prstClr val="black">
                    <a:lumMod val="50000"/>
                    <a:lumOff val="50000"/>
                  </a:prstClr>
                </a:solidFill>
                <a:effectLst/>
                <a:uLnTx/>
                <a:uFillTx/>
                <a:latin typeface="HarmonyOS Sans SC"/>
                <a:cs typeface="+mn-cs"/>
              </a:rPr>
              <a:t>imperdiet</a:t>
            </a:r>
            <a:r>
              <a:rPr kumimoji="0" lang="en-US" sz="800" b="0" i="0" u="none" strike="noStrike" kern="1200" cap="none" spc="0" normalizeH="0" baseline="0" noProof="0" dirty="0">
                <a:ln>
                  <a:noFill/>
                </a:ln>
                <a:solidFill>
                  <a:prstClr val="black">
                    <a:lumMod val="50000"/>
                    <a:lumOff val="50000"/>
                  </a:prstClr>
                </a:solidFill>
                <a:effectLst/>
                <a:uLnTx/>
                <a:uFillTx/>
                <a:latin typeface="HarmonyOS Sans SC"/>
                <a:cs typeface="+mn-cs"/>
              </a:rPr>
              <a:t> </a:t>
            </a:r>
            <a:r>
              <a:rPr kumimoji="0" lang="en-US" sz="800" b="0" i="0" u="none" strike="noStrike" kern="1200" cap="none" spc="0" normalizeH="0" baseline="0" noProof="0" dirty="0" err="1">
                <a:ln>
                  <a:noFill/>
                </a:ln>
                <a:solidFill>
                  <a:prstClr val="black">
                    <a:lumMod val="50000"/>
                    <a:lumOff val="50000"/>
                  </a:prstClr>
                </a:solidFill>
                <a:effectLst/>
                <a:uLnTx/>
                <a:uFillTx/>
                <a:latin typeface="HarmonyOS Sans SC"/>
                <a:cs typeface="+mn-cs"/>
              </a:rPr>
              <a:t>eget</a:t>
            </a:r>
            <a:r>
              <a:rPr kumimoji="0" lang="en-US" sz="800" b="0" i="0" u="none" strike="noStrike" kern="1200" cap="none" spc="0" normalizeH="0" baseline="0" noProof="0" dirty="0">
                <a:ln>
                  <a:noFill/>
                </a:ln>
                <a:solidFill>
                  <a:prstClr val="black">
                    <a:lumMod val="50000"/>
                    <a:lumOff val="50000"/>
                  </a:prstClr>
                </a:solidFill>
                <a:effectLst/>
                <a:uLnTx/>
                <a:uFillTx/>
                <a:latin typeface="HarmonyOS Sans SC"/>
                <a:cs typeface="+mn-cs"/>
              </a:rPr>
              <a:t> </a:t>
            </a:r>
            <a:r>
              <a:rPr kumimoji="0" lang="en-US" sz="800" b="0" i="0" u="none" strike="noStrike" kern="1200" cap="none" spc="0" normalizeH="0" baseline="0" noProof="0" dirty="0" err="1">
                <a:ln>
                  <a:noFill/>
                </a:ln>
                <a:solidFill>
                  <a:prstClr val="black">
                    <a:lumMod val="50000"/>
                    <a:lumOff val="50000"/>
                  </a:prstClr>
                </a:solidFill>
                <a:effectLst/>
                <a:uLnTx/>
                <a:uFillTx/>
                <a:latin typeface="HarmonyOS Sans SC"/>
                <a:cs typeface="+mn-cs"/>
              </a:rPr>
              <a:t>massa</a:t>
            </a:r>
            <a:r>
              <a:rPr kumimoji="0" lang="en-US" sz="800" b="0" i="0" u="none" strike="noStrike" kern="1200" cap="none" spc="0" normalizeH="0" baseline="0" noProof="0" dirty="0">
                <a:ln>
                  <a:noFill/>
                </a:ln>
                <a:solidFill>
                  <a:prstClr val="black">
                    <a:lumMod val="50000"/>
                    <a:lumOff val="50000"/>
                  </a:prstClr>
                </a:solidFill>
                <a:effectLst/>
                <a:uLnTx/>
                <a:uFillTx/>
                <a:latin typeface="HarmonyOS Sans SC"/>
                <a:cs typeface="+mn-cs"/>
              </a:rPr>
              <a:t>. Cras </a:t>
            </a:r>
            <a:r>
              <a:rPr kumimoji="0" lang="en-US" sz="800" b="0" i="0" u="none" strike="noStrike" kern="1200" cap="none" spc="0" normalizeH="0" baseline="0" noProof="0" dirty="0" err="1">
                <a:ln>
                  <a:noFill/>
                </a:ln>
                <a:solidFill>
                  <a:prstClr val="black">
                    <a:lumMod val="50000"/>
                    <a:lumOff val="50000"/>
                  </a:prstClr>
                </a:solidFill>
                <a:effectLst/>
                <a:uLnTx/>
                <a:uFillTx/>
                <a:latin typeface="HarmonyOS Sans SC"/>
                <a:cs typeface="+mn-cs"/>
              </a:rPr>
              <a:t>pellentesque</a:t>
            </a:r>
            <a:r>
              <a:rPr kumimoji="0" lang="en-US" sz="800" b="0" i="0" u="none" strike="noStrike" kern="1200" cap="none" spc="0" normalizeH="0" baseline="0" noProof="0" dirty="0">
                <a:ln>
                  <a:noFill/>
                </a:ln>
                <a:solidFill>
                  <a:prstClr val="black">
                    <a:lumMod val="50000"/>
                    <a:lumOff val="50000"/>
                  </a:prstClr>
                </a:solidFill>
                <a:effectLst/>
                <a:uLnTx/>
                <a:uFillTx/>
                <a:latin typeface="HarmonyOS Sans SC"/>
                <a:cs typeface="+mn-cs"/>
              </a:rPr>
              <a:t>, </a:t>
            </a:r>
            <a:r>
              <a:rPr kumimoji="0" lang="en-US" sz="800" b="0" i="0" u="none" strike="noStrike" kern="1200" cap="none" spc="0" normalizeH="0" baseline="0" noProof="0" dirty="0" err="1">
                <a:ln>
                  <a:noFill/>
                </a:ln>
                <a:solidFill>
                  <a:prstClr val="black">
                    <a:lumMod val="50000"/>
                    <a:lumOff val="50000"/>
                  </a:prstClr>
                </a:solidFill>
                <a:effectLst/>
                <a:uLnTx/>
                <a:uFillTx/>
                <a:latin typeface="HarmonyOS Sans SC"/>
                <a:cs typeface="+mn-cs"/>
              </a:rPr>
              <a:t>metus</a:t>
            </a:r>
            <a:r>
              <a:rPr kumimoji="0" lang="en-US" sz="800" b="0" i="0" u="none" strike="noStrike" kern="1200" cap="none" spc="0" normalizeH="0" baseline="0" noProof="0" dirty="0">
                <a:ln>
                  <a:noFill/>
                </a:ln>
                <a:solidFill>
                  <a:prstClr val="black">
                    <a:lumMod val="50000"/>
                    <a:lumOff val="50000"/>
                  </a:prstClr>
                </a:solidFill>
                <a:effectLst/>
                <a:uLnTx/>
                <a:uFillTx/>
                <a:latin typeface="HarmonyOS Sans SC"/>
                <a:cs typeface="+mn-cs"/>
              </a:rPr>
              <a:t> </a:t>
            </a:r>
            <a:r>
              <a:rPr kumimoji="0" lang="en-US" sz="800" b="0" i="0" u="none" strike="noStrike" kern="1200" cap="none" spc="0" normalizeH="0" baseline="0" noProof="0" dirty="0" err="1">
                <a:ln>
                  <a:noFill/>
                </a:ln>
                <a:solidFill>
                  <a:prstClr val="black">
                    <a:lumMod val="50000"/>
                    <a:lumOff val="50000"/>
                  </a:prstClr>
                </a:solidFill>
                <a:effectLst/>
                <a:uLnTx/>
                <a:uFillTx/>
                <a:latin typeface="HarmonyOS Sans SC"/>
                <a:cs typeface="+mn-cs"/>
              </a:rPr>
              <a:t>eget</a:t>
            </a:r>
            <a:r>
              <a:rPr kumimoji="0" lang="en-US" sz="800" b="0" i="0" u="none" strike="noStrike" kern="1200" cap="none" spc="0" normalizeH="0" baseline="0" noProof="0" dirty="0">
                <a:ln>
                  <a:noFill/>
                </a:ln>
                <a:solidFill>
                  <a:prstClr val="black">
                    <a:lumMod val="50000"/>
                    <a:lumOff val="50000"/>
                  </a:prstClr>
                </a:solidFill>
                <a:effectLst/>
                <a:uLnTx/>
                <a:uFillTx/>
                <a:latin typeface="HarmonyOS Sans SC"/>
                <a:cs typeface="+mn-cs"/>
              </a:rPr>
              <a:t> </a:t>
            </a:r>
            <a:r>
              <a:rPr kumimoji="0" lang="en-US" sz="800" b="0" i="0" u="none" strike="noStrike" kern="1200" cap="none" spc="0" normalizeH="0" baseline="0" noProof="0" dirty="0" err="1">
                <a:ln>
                  <a:noFill/>
                </a:ln>
                <a:solidFill>
                  <a:prstClr val="black">
                    <a:lumMod val="50000"/>
                    <a:lumOff val="50000"/>
                  </a:prstClr>
                </a:solidFill>
                <a:effectLst/>
                <a:uLnTx/>
                <a:uFillTx/>
                <a:latin typeface="HarmonyOS Sans SC"/>
                <a:cs typeface="+mn-cs"/>
              </a:rPr>
              <a:t>sagittis</a:t>
            </a:r>
            <a:r>
              <a:rPr kumimoji="0" lang="en-US" sz="800" b="0" i="0" u="none" strike="noStrike" kern="1200" cap="none" spc="0" normalizeH="0" baseline="0" noProof="0" dirty="0">
                <a:ln>
                  <a:noFill/>
                </a:ln>
                <a:solidFill>
                  <a:prstClr val="black">
                    <a:lumMod val="50000"/>
                    <a:lumOff val="50000"/>
                  </a:prstClr>
                </a:solidFill>
                <a:effectLst/>
                <a:uLnTx/>
                <a:uFillTx/>
                <a:latin typeface="HarmonyOS Sans SC"/>
                <a:cs typeface="+mn-cs"/>
              </a:rPr>
              <a:t>.</a:t>
            </a:r>
          </a:p>
        </p:txBody>
      </p:sp>
      <p:sp>
        <p:nvSpPr>
          <p:cNvPr id="33" name="TextBox 97">
            <a:extLst>
              <a:ext uri="{FF2B5EF4-FFF2-40B4-BE49-F238E27FC236}">
                <a16:creationId xmlns:a16="http://schemas.microsoft.com/office/drawing/2014/main" id="{4F896A32-0AAF-4A2D-AA17-8A7776E5216B}"/>
              </a:ext>
            </a:extLst>
          </p:cNvPr>
          <p:cNvSpPr txBox="1"/>
          <p:nvPr/>
        </p:nvSpPr>
        <p:spPr>
          <a:xfrm>
            <a:off x="8680879" y="3050084"/>
            <a:ext cx="1308780" cy="379719"/>
          </a:xfrm>
          <a:prstGeom prst="rect">
            <a:avLst/>
          </a:prstGeom>
          <a:noFill/>
        </p:spPr>
        <p:txBody>
          <a:bodyPr wrap="square" rtlCol="0">
            <a:spAutoFit/>
          </a:bodyPr>
          <a:lstStyle/>
          <a:p>
            <a:pPr marL="0" marR="0" lvl="0" indent="0" algn="l" defTabSz="914400" rtl="0" eaLnBrk="1" fontAlgn="auto" latinLnBrk="0" hangingPunct="1">
              <a:lnSpc>
                <a:spcPts val="24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lumMod val="75000"/>
                    <a:lumOff val="25000"/>
                  </a:prstClr>
                </a:solidFill>
                <a:effectLst/>
                <a:uLnTx/>
                <a:uFillTx/>
                <a:latin typeface="HarmonyOS Sans SC Black"/>
                <a:ea typeface="+mj-ea"/>
                <a:cs typeface="+mn-cs"/>
              </a:rPr>
              <a:t>Title here</a:t>
            </a:r>
          </a:p>
        </p:txBody>
      </p:sp>
      <p:sp>
        <p:nvSpPr>
          <p:cNvPr id="34" name="TextBox 98">
            <a:extLst>
              <a:ext uri="{FF2B5EF4-FFF2-40B4-BE49-F238E27FC236}">
                <a16:creationId xmlns:a16="http://schemas.microsoft.com/office/drawing/2014/main" id="{2DEC4D65-29E3-4B69-9249-A04078F520A5}"/>
              </a:ext>
            </a:extLst>
          </p:cNvPr>
          <p:cNvSpPr txBox="1"/>
          <p:nvPr/>
        </p:nvSpPr>
        <p:spPr>
          <a:xfrm>
            <a:off x="8680879" y="3410456"/>
            <a:ext cx="2734056" cy="786497"/>
          </a:xfrm>
          <a:prstGeom prst="rect">
            <a:avLst/>
          </a:prstGeom>
          <a:noFill/>
        </p:spPr>
        <p:txBody>
          <a:bodyPr wrap="square" rtlCol="0">
            <a:noAutofit/>
          </a:bodyPr>
          <a:lstStyle/>
          <a:p>
            <a:pPr marL="0" marR="0" lvl="0" indent="0" algn="l" defTabSz="914400" rtl="0" eaLnBrk="1" fontAlgn="auto" latinLnBrk="0" hangingPunct="1">
              <a:lnSpc>
                <a:spcPts val="1900"/>
              </a:lnSpc>
              <a:spcBef>
                <a:spcPts val="0"/>
              </a:spcBef>
              <a:spcAft>
                <a:spcPts val="0"/>
              </a:spcAft>
              <a:buClrTx/>
              <a:buSzTx/>
              <a:buFontTx/>
              <a:buNone/>
              <a:tabLst/>
              <a:defRPr/>
            </a:pPr>
            <a:r>
              <a:rPr kumimoji="0" lang="en-US" sz="800" b="0" i="0" u="none" strike="noStrike" kern="1200" cap="none" spc="0" normalizeH="0" baseline="0" noProof="0" dirty="0" err="1">
                <a:ln>
                  <a:noFill/>
                </a:ln>
                <a:solidFill>
                  <a:prstClr val="black">
                    <a:lumMod val="50000"/>
                    <a:lumOff val="50000"/>
                  </a:prstClr>
                </a:solidFill>
                <a:effectLst/>
                <a:uLnTx/>
                <a:uFillTx/>
                <a:latin typeface="HarmonyOS Sans SC"/>
                <a:cs typeface="+mn-cs"/>
              </a:rPr>
              <a:t>Nulla</a:t>
            </a:r>
            <a:r>
              <a:rPr kumimoji="0" lang="en-US" sz="800" b="0" i="0" u="none" strike="noStrike" kern="1200" cap="none" spc="0" normalizeH="0" baseline="0" noProof="0" dirty="0">
                <a:ln>
                  <a:noFill/>
                </a:ln>
                <a:solidFill>
                  <a:prstClr val="black">
                    <a:lumMod val="50000"/>
                    <a:lumOff val="50000"/>
                  </a:prstClr>
                </a:solidFill>
                <a:effectLst/>
                <a:uLnTx/>
                <a:uFillTx/>
                <a:latin typeface="HarmonyOS Sans SC"/>
                <a:cs typeface="+mn-cs"/>
              </a:rPr>
              <a:t> </a:t>
            </a:r>
            <a:r>
              <a:rPr kumimoji="0" lang="en-US" sz="800" b="0" i="0" u="none" strike="noStrike" kern="1200" cap="none" spc="0" normalizeH="0" baseline="0" noProof="0" dirty="0" err="1">
                <a:ln>
                  <a:noFill/>
                </a:ln>
                <a:solidFill>
                  <a:prstClr val="black">
                    <a:lumMod val="50000"/>
                    <a:lumOff val="50000"/>
                  </a:prstClr>
                </a:solidFill>
                <a:effectLst/>
                <a:uLnTx/>
                <a:uFillTx/>
                <a:latin typeface="HarmonyOS Sans SC"/>
                <a:cs typeface="+mn-cs"/>
              </a:rPr>
              <a:t>urna</a:t>
            </a:r>
            <a:r>
              <a:rPr kumimoji="0" lang="en-US" sz="800" b="0" i="0" u="none" strike="noStrike" kern="1200" cap="none" spc="0" normalizeH="0" baseline="0" noProof="0" dirty="0">
                <a:ln>
                  <a:noFill/>
                </a:ln>
                <a:solidFill>
                  <a:prstClr val="black">
                    <a:lumMod val="50000"/>
                    <a:lumOff val="50000"/>
                  </a:prstClr>
                </a:solidFill>
                <a:effectLst/>
                <a:uLnTx/>
                <a:uFillTx/>
                <a:latin typeface="HarmonyOS Sans SC"/>
                <a:cs typeface="+mn-cs"/>
              </a:rPr>
              <a:t> mi, </a:t>
            </a:r>
            <a:r>
              <a:rPr kumimoji="0" lang="en-US" sz="800" b="0" i="0" u="none" strike="noStrike" kern="1200" cap="none" spc="0" normalizeH="0" baseline="0" noProof="0" dirty="0" err="1">
                <a:ln>
                  <a:noFill/>
                </a:ln>
                <a:solidFill>
                  <a:prstClr val="black">
                    <a:lumMod val="50000"/>
                    <a:lumOff val="50000"/>
                  </a:prstClr>
                </a:solidFill>
                <a:effectLst/>
                <a:uLnTx/>
                <a:uFillTx/>
                <a:latin typeface="HarmonyOS Sans SC"/>
                <a:cs typeface="+mn-cs"/>
              </a:rPr>
              <a:t>bibendum</a:t>
            </a:r>
            <a:r>
              <a:rPr kumimoji="0" lang="en-US" sz="800" b="0" i="0" u="none" strike="noStrike" kern="1200" cap="none" spc="0" normalizeH="0" baseline="0" noProof="0" dirty="0">
                <a:ln>
                  <a:noFill/>
                </a:ln>
                <a:solidFill>
                  <a:prstClr val="black">
                    <a:lumMod val="50000"/>
                    <a:lumOff val="50000"/>
                  </a:prstClr>
                </a:solidFill>
                <a:effectLst/>
                <a:uLnTx/>
                <a:uFillTx/>
                <a:latin typeface="HarmonyOS Sans SC"/>
                <a:cs typeface="+mn-cs"/>
              </a:rPr>
              <a:t> a </a:t>
            </a:r>
            <a:r>
              <a:rPr kumimoji="0" lang="en-US" sz="800" b="0" i="0" u="none" strike="noStrike" kern="1200" cap="none" spc="0" normalizeH="0" baseline="0" noProof="0" dirty="0" err="1">
                <a:ln>
                  <a:noFill/>
                </a:ln>
                <a:solidFill>
                  <a:prstClr val="black">
                    <a:lumMod val="50000"/>
                    <a:lumOff val="50000"/>
                  </a:prstClr>
                </a:solidFill>
                <a:effectLst/>
                <a:uLnTx/>
                <a:uFillTx/>
                <a:latin typeface="HarmonyOS Sans SC"/>
                <a:cs typeface="+mn-cs"/>
              </a:rPr>
              <a:t>tempor</a:t>
            </a:r>
            <a:r>
              <a:rPr kumimoji="0" lang="en-US" sz="800" b="0" i="0" u="none" strike="noStrike" kern="1200" cap="none" spc="0" normalizeH="0" baseline="0" noProof="0" dirty="0">
                <a:ln>
                  <a:noFill/>
                </a:ln>
                <a:solidFill>
                  <a:prstClr val="black">
                    <a:lumMod val="50000"/>
                    <a:lumOff val="50000"/>
                  </a:prstClr>
                </a:solidFill>
                <a:effectLst/>
                <a:uLnTx/>
                <a:uFillTx/>
                <a:latin typeface="HarmonyOS Sans SC"/>
                <a:cs typeface="+mn-cs"/>
              </a:rPr>
              <a:t> </a:t>
            </a:r>
            <a:r>
              <a:rPr kumimoji="0" lang="en-US" sz="800" b="0" i="0" u="none" strike="noStrike" kern="1200" cap="none" spc="0" normalizeH="0" baseline="0" noProof="0" dirty="0" err="1">
                <a:ln>
                  <a:noFill/>
                </a:ln>
                <a:solidFill>
                  <a:prstClr val="black">
                    <a:lumMod val="50000"/>
                    <a:lumOff val="50000"/>
                  </a:prstClr>
                </a:solidFill>
                <a:effectLst/>
                <a:uLnTx/>
                <a:uFillTx/>
                <a:latin typeface="HarmonyOS Sans SC"/>
                <a:cs typeface="+mn-cs"/>
              </a:rPr>
              <a:t>quis</a:t>
            </a:r>
            <a:r>
              <a:rPr kumimoji="0" lang="en-US" sz="800" b="0" i="0" u="none" strike="noStrike" kern="1200" cap="none" spc="0" normalizeH="0" baseline="0" noProof="0" dirty="0">
                <a:ln>
                  <a:noFill/>
                </a:ln>
                <a:solidFill>
                  <a:prstClr val="black">
                    <a:lumMod val="50000"/>
                    <a:lumOff val="50000"/>
                  </a:prstClr>
                </a:solidFill>
                <a:effectLst/>
                <a:uLnTx/>
                <a:uFillTx/>
                <a:latin typeface="HarmonyOS Sans SC"/>
                <a:cs typeface="+mn-cs"/>
              </a:rPr>
              <a:t>, </a:t>
            </a:r>
            <a:r>
              <a:rPr kumimoji="0" lang="en-US" sz="800" b="0" i="0" u="none" strike="noStrike" kern="1200" cap="none" spc="0" normalizeH="0" baseline="0" noProof="0" dirty="0" err="1">
                <a:ln>
                  <a:noFill/>
                </a:ln>
                <a:solidFill>
                  <a:prstClr val="black">
                    <a:lumMod val="50000"/>
                    <a:lumOff val="50000"/>
                  </a:prstClr>
                </a:solidFill>
                <a:effectLst/>
                <a:uLnTx/>
                <a:uFillTx/>
                <a:latin typeface="HarmonyOS Sans SC"/>
                <a:cs typeface="+mn-cs"/>
              </a:rPr>
              <a:t>imperdiet</a:t>
            </a:r>
            <a:r>
              <a:rPr kumimoji="0" lang="en-US" sz="800" b="0" i="0" u="none" strike="noStrike" kern="1200" cap="none" spc="0" normalizeH="0" baseline="0" noProof="0" dirty="0">
                <a:ln>
                  <a:noFill/>
                </a:ln>
                <a:solidFill>
                  <a:prstClr val="black">
                    <a:lumMod val="50000"/>
                    <a:lumOff val="50000"/>
                  </a:prstClr>
                </a:solidFill>
                <a:effectLst/>
                <a:uLnTx/>
                <a:uFillTx/>
                <a:latin typeface="HarmonyOS Sans SC"/>
                <a:cs typeface="+mn-cs"/>
              </a:rPr>
              <a:t> </a:t>
            </a:r>
            <a:r>
              <a:rPr kumimoji="0" lang="en-US" sz="800" b="0" i="0" u="none" strike="noStrike" kern="1200" cap="none" spc="0" normalizeH="0" baseline="0" noProof="0" dirty="0" err="1">
                <a:ln>
                  <a:noFill/>
                </a:ln>
                <a:solidFill>
                  <a:prstClr val="black">
                    <a:lumMod val="50000"/>
                    <a:lumOff val="50000"/>
                  </a:prstClr>
                </a:solidFill>
                <a:effectLst/>
                <a:uLnTx/>
                <a:uFillTx/>
                <a:latin typeface="HarmonyOS Sans SC"/>
                <a:cs typeface="+mn-cs"/>
              </a:rPr>
              <a:t>eget</a:t>
            </a:r>
            <a:r>
              <a:rPr kumimoji="0" lang="en-US" sz="800" b="0" i="0" u="none" strike="noStrike" kern="1200" cap="none" spc="0" normalizeH="0" baseline="0" noProof="0" dirty="0">
                <a:ln>
                  <a:noFill/>
                </a:ln>
                <a:solidFill>
                  <a:prstClr val="black">
                    <a:lumMod val="50000"/>
                    <a:lumOff val="50000"/>
                  </a:prstClr>
                </a:solidFill>
                <a:effectLst/>
                <a:uLnTx/>
                <a:uFillTx/>
                <a:latin typeface="HarmonyOS Sans SC"/>
                <a:cs typeface="+mn-cs"/>
              </a:rPr>
              <a:t> </a:t>
            </a:r>
            <a:r>
              <a:rPr kumimoji="0" lang="en-US" sz="800" b="0" i="0" u="none" strike="noStrike" kern="1200" cap="none" spc="0" normalizeH="0" baseline="0" noProof="0" dirty="0" err="1">
                <a:ln>
                  <a:noFill/>
                </a:ln>
                <a:solidFill>
                  <a:prstClr val="black">
                    <a:lumMod val="50000"/>
                    <a:lumOff val="50000"/>
                  </a:prstClr>
                </a:solidFill>
                <a:effectLst/>
                <a:uLnTx/>
                <a:uFillTx/>
                <a:latin typeface="HarmonyOS Sans SC"/>
                <a:cs typeface="+mn-cs"/>
              </a:rPr>
              <a:t>massa</a:t>
            </a:r>
            <a:r>
              <a:rPr kumimoji="0" lang="en-US" sz="800" b="0" i="0" u="none" strike="noStrike" kern="1200" cap="none" spc="0" normalizeH="0" baseline="0" noProof="0" dirty="0">
                <a:ln>
                  <a:noFill/>
                </a:ln>
                <a:solidFill>
                  <a:prstClr val="black">
                    <a:lumMod val="50000"/>
                    <a:lumOff val="50000"/>
                  </a:prstClr>
                </a:solidFill>
                <a:effectLst/>
                <a:uLnTx/>
                <a:uFillTx/>
                <a:latin typeface="HarmonyOS Sans SC"/>
                <a:cs typeface="+mn-cs"/>
              </a:rPr>
              <a:t>. Cras </a:t>
            </a:r>
            <a:r>
              <a:rPr kumimoji="0" lang="en-US" sz="800" b="0" i="0" u="none" strike="noStrike" kern="1200" cap="none" spc="0" normalizeH="0" baseline="0" noProof="0" dirty="0" err="1">
                <a:ln>
                  <a:noFill/>
                </a:ln>
                <a:solidFill>
                  <a:prstClr val="black">
                    <a:lumMod val="50000"/>
                    <a:lumOff val="50000"/>
                  </a:prstClr>
                </a:solidFill>
                <a:effectLst/>
                <a:uLnTx/>
                <a:uFillTx/>
                <a:latin typeface="HarmonyOS Sans SC"/>
                <a:cs typeface="+mn-cs"/>
              </a:rPr>
              <a:t>pellentesque</a:t>
            </a:r>
            <a:r>
              <a:rPr kumimoji="0" lang="en-US" sz="800" b="0" i="0" u="none" strike="noStrike" kern="1200" cap="none" spc="0" normalizeH="0" baseline="0" noProof="0" dirty="0">
                <a:ln>
                  <a:noFill/>
                </a:ln>
                <a:solidFill>
                  <a:prstClr val="black">
                    <a:lumMod val="50000"/>
                    <a:lumOff val="50000"/>
                  </a:prstClr>
                </a:solidFill>
                <a:effectLst/>
                <a:uLnTx/>
                <a:uFillTx/>
                <a:latin typeface="HarmonyOS Sans SC"/>
                <a:cs typeface="+mn-cs"/>
              </a:rPr>
              <a:t>, </a:t>
            </a:r>
            <a:r>
              <a:rPr kumimoji="0" lang="en-US" sz="800" b="0" i="0" u="none" strike="noStrike" kern="1200" cap="none" spc="0" normalizeH="0" baseline="0" noProof="0" dirty="0" err="1">
                <a:ln>
                  <a:noFill/>
                </a:ln>
                <a:solidFill>
                  <a:prstClr val="black">
                    <a:lumMod val="50000"/>
                    <a:lumOff val="50000"/>
                  </a:prstClr>
                </a:solidFill>
                <a:effectLst/>
                <a:uLnTx/>
                <a:uFillTx/>
                <a:latin typeface="HarmonyOS Sans SC"/>
                <a:cs typeface="+mn-cs"/>
              </a:rPr>
              <a:t>metus</a:t>
            </a:r>
            <a:r>
              <a:rPr kumimoji="0" lang="en-US" sz="800" b="0" i="0" u="none" strike="noStrike" kern="1200" cap="none" spc="0" normalizeH="0" baseline="0" noProof="0" dirty="0">
                <a:ln>
                  <a:noFill/>
                </a:ln>
                <a:solidFill>
                  <a:prstClr val="black">
                    <a:lumMod val="50000"/>
                    <a:lumOff val="50000"/>
                  </a:prstClr>
                </a:solidFill>
                <a:effectLst/>
                <a:uLnTx/>
                <a:uFillTx/>
                <a:latin typeface="HarmonyOS Sans SC"/>
                <a:cs typeface="+mn-cs"/>
              </a:rPr>
              <a:t> </a:t>
            </a:r>
            <a:r>
              <a:rPr kumimoji="0" lang="en-US" sz="800" b="0" i="0" u="none" strike="noStrike" kern="1200" cap="none" spc="0" normalizeH="0" baseline="0" noProof="0" dirty="0" err="1">
                <a:ln>
                  <a:noFill/>
                </a:ln>
                <a:solidFill>
                  <a:prstClr val="black">
                    <a:lumMod val="50000"/>
                    <a:lumOff val="50000"/>
                  </a:prstClr>
                </a:solidFill>
                <a:effectLst/>
                <a:uLnTx/>
                <a:uFillTx/>
                <a:latin typeface="HarmonyOS Sans SC"/>
                <a:cs typeface="+mn-cs"/>
              </a:rPr>
              <a:t>eget</a:t>
            </a:r>
            <a:r>
              <a:rPr kumimoji="0" lang="en-US" sz="800" b="0" i="0" u="none" strike="noStrike" kern="1200" cap="none" spc="0" normalizeH="0" baseline="0" noProof="0" dirty="0">
                <a:ln>
                  <a:noFill/>
                </a:ln>
                <a:solidFill>
                  <a:prstClr val="black">
                    <a:lumMod val="50000"/>
                    <a:lumOff val="50000"/>
                  </a:prstClr>
                </a:solidFill>
                <a:effectLst/>
                <a:uLnTx/>
                <a:uFillTx/>
                <a:latin typeface="HarmonyOS Sans SC"/>
                <a:cs typeface="+mn-cs"/>
              </a:rPr>
              <a:t> </a:t>
            </a:r>
            <a:r>
              <a:rPr kumimoji="0" lang="en-US" sz="800" b="0" i="0" u="none" strike="noStrike" kern="1200" cap="none" spc="0" normalizeH="0" baseline="0" noProof="0" dirty="0" err="1">
                <a:ln>
                  <a:noFill/>
                </a:ln>
                <a:solidFill>
                  <a:prstClr val="black">
                    <a:lumMod val="50000"/>
                    <a:lumOff val="50000"/>
                  </a:prstClr>
                </a:solidFill>
                <a:effectLst/>
                <a:uLnTx/>
                <a:uFillTx/>
                <a:latin typeface="HarmonyOS Sans SC"/>
                <a:cs typeface="+mn-cs"/>
              </a:rPr>
              <a:t>sagittis</a:t>
            </a:r>
            <a:r>
              <a:rPr kumimoji="0" lang="en-US" sz="800" b="0" i="0" u="none" strike="noStrike" kern="1200" cap="none" spc="0" normalizeH="0" baseline="0" noProof="0" dirty="0">
                <a:ln>
                  <a:noFill/>
                </a:ln>
                <a:solidFill>
                  <a:prstClr val="black">
                    <a:lumMod val="50000"/>
                    <a:lumOff val="50000"/>
                  </a:prstClr>
                </a:solidFill>
                <a:effectLst/>
                <a:uLnTx/>
                <a:uFillTx/>
                <a:latin typeface="HarmonyOS Sans SC"/>
                <a:cs typeface="+mn-cs"/>
              </a:rPr>
              <a:t>.</a:t>
            </a:r>
          </a:p>
        </p:txBody>
      </p:sp>
      <p:sp>
        <p:nvSpPr>
          <p:cNvPr id="35" name="TextBox 95">
            <a:extLst>
              <a:ext uri="{FF2B5EF4-FFF2-40B4-BE49-F238E27FC236}">
                <a16:creationId xmlns:a16="http://schemas.microsoft.com/office/drawing/2014/main" id="{53BBB8CC-CC6D-41A8-936D-C6245CD318D2}"/>
              </a:ext>
            </a:extLst>
          </p:cNvPr>
          <p:cNvSpPr txBox="1"/>
          <p:nvPr/>
        </p:nvSpPr>
        <p:spPr>
          <a:xfrm>
            <a:off x="7796957" y="1344990"/>
            <a:ext cx="1308780" cy="379719"/>
          </a:xfrm>
          <a:prstGeom prst="rect">
            <a:avLst/>
          </a:prstGeom>
          <a:noFill/>
        </p:spPr>
        <p:txBody>
          <a:bodyPr wrap="square" rtlCol="0">
            <a:spAutoFit/>
          </a:bodyPr>
          <a:lstStyle/>
          <a:p>
            <a:pPr marL="0" marR="0" lvl="0" indent="0" algn="l" defTabSz="914400" rtl="0" eaLnBrk="1" fontAlgn="auto" latinLnBrk="0" hangingPunct="1">
              <a:lnSpc>
                <a:spcPts val="24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lumMod val="75000"/>
                    <a:lumOff val="25000"/>
                  </a:prstClr>
                </a:solidFill>
                <a:effectLst/>
                <a:uLnTx/>
                <a:uFillTx/>
                <a:latin typeface="HarmonyOS Sans SC Black"/>
                <a:ea typeface="+mj-ea"/>
                <a:cs typeface="+mn-cs"/>
              </a:rPr>
              <a:t>Title here</a:t>
            </a:r>
          </a:p>
        </p:txBody>
      </p:sp>
      <p:sp>
        <p:nvSpPr>
          <p:cNvPr id="36" name="TextBox 96">
            <a:extLst>
              <a:ext uri="{FF2B5EF4-FFF2-40B4-BE49-F238E27FC236}">
                <a16:creationId xmlns:a16="http://schemas.microsoft.com/office/drawing/2014/main" id="{47A515C3-E231-4202-8A21-F2CB0B4197DF}"/>
              </a:ext>
            </a:extLst>
          </p:cNvPr>
          <p:cNvSpPr txBox="1"/>
          <p:nvPr/>
        </p:nvSpPr>
        <p:spPr>
          <a:xfrm>
            <a:off x="7796957" y="1705362"/>
            <a:ext cx="2734056" cy="786497"/>
          </a:xfrm>
          <a:prstGeom prst="rect">
            <a:avLst/>
          </a:prstGeom>
          <a:noFill/>
        </p:spPr>
        <p:txBody>
          <a:bodyPr wrap="square" rtlCol="0">
            <a:noAutofit/>
          </a:bodyPr>
          <a:lstStyle/>
          <a:p>
            <a:pPr marL="0" marR="0" lvl="0" indent="0" algn="l" defTabSz="914400" rtl="0" eaLnBrk="1" fontAlgn="auto" latinLnBrk="0" hangingPunct="1">
              <a:lnSpc>
                <a:spcPts val="1900"/>
              </a:lnSpc>
              <a:spcBef>
                <a:spcPts val="0"/>
              </a:spcBef>
              <a:spcAft>
                <a:spcPts val="0"/>
              </a:spcAft>
              <a:buClrTx/>
              <a:buSzTx/>
              <a:buFontTx/>
              <a:buNone/>
              <a:tabLst/>
              <a:defRPr/>
            </a:pPr>
            <a:r>
              <a:rPr kumimoji="0" lang="en-US" sz="800" b="0" i="0" u="none" strike="noStrike" kern="1200" cap="none" spc="0" normalizeH="0" baseline="0" noProof="0" dirty="0" err="1">
                <a:ln>
                  <a:noFill/>
                </a:ln>
                <a:solidFill>
                  <a:prstClr val="black">
                    <a:lumMod val="50000"/>
                    <a:lumOff val="50000"/>
                  </a:prstClr>
                </a:solidFill>
                <a:effectLst/>
                <a:uLnTx/>
                <a:uFillTx/>
                <a:latin typeface="HarmonyOS Sans SC"/>
                <a:cs typeface="+mn-cs"/>
              </a:rPr>
              <a:t>Nulla</a:t>
            </a:r>
            <a:r>
              <a:rPr kumimoji="0" lang="en-US" sz="800" b="0" i="0" u="none" strike="noStrike" kern="1200" cap="none" spc="0" normalizeH="0" baseline="0" noProof="0" dirty="0">
                <a:ln>
                  <a:noFill/>
                </a:ln>
                <a:solidFill>
                  <a:prstClr val="black">
                    <a:lumMod val="50000"/>
                    <a:lumOff val="50000"/>
                  </a:prstClr>
                </a:solidFill>
                <a:effectLst/>
                <a:uLnTx/>
                <a:uFillTx/>
                <a:latin typeface="HarmonyOS Sans SC"/>
                <a:cs typeface="+mn-cs"/>
              </a:rPr>
              <a:t> </a:t>
            </a:r>
            <a:r>
              <a:rPr kumimoji="0" lang="en-US" sz="800" b="0" i="0" u="none" strike="noStrike" kern="1200" cap="none" spc="0" normalizeH="0" baseline="0" noProof="0" dirty="0" err="1">
                <a:ln>
                  <a:noFill/>
                </a:ln>
                <a:solidFill>
                  <a:prstClr val="black">
                    <a:lumMod val="50000"/>
                    <a:lumOff val="50000"/>
                  </a:prstClr>
                </a:solidFill>
                <a:effectLst/>
                <a:uLnTx/>
                <a:uFillTx/>
                <a:latin typeface="HarmonyOS Sans SC"/>
                <a:cs typeface="+mn-cs"/>
              </a:rPr>
              <a:t>urna</a:t>
            </a:r>
            <a:r>
              <a:rPr kumimoji="0" lang="en-US" sz="800" b="0" i="0" u="none" strike="noStrike" kern="1200" cap="none" spc="0" normalizeH="0" baseline="0" noProof="0" dirty="0">
                <a:ln>
                  <a:noFill/>
                </a:ln>
                <a:solidFill>
                  <a:prstClr val="black">
                    <a:lumMod val="50000"/>
                    <a:lumOff val="50000"/>
                  </a:prstClr>
                </a:solidFill>
                <a:effectLst/>
                <a:uLnTx/>
                <a:uFillTx/>
                <a:latin typeface="HarmonyOS Sans SC"/>
                <a:cs typeface="+mn-cs"/>
              </a:rPr>
              <a:t> mi, </a:t>
            </a:r>
            <a:r>
              <a:rPr kumimoji="0" lang="en-US" sz="800" b="0" i="0" u="none" strike="noStrike" kern="1200" cap="none" spc="0" normalizeH="0" baseline="0" noProof="0" dirty="0" err="1">
                <a:ln>
                  <a:noFill/>
                </a:ln>
                <a:solidFill>
                  <a:prstClr val="black">
                    <a:lumMod val="50000"/>
                    <a:lumOff val="50000"/>
                  </a:prstClr>
                </a:solidFill>
                <a:effectLst/>
                <a:uLnTx/>
                <a:uFillTx/>
                <a:latin typeface="HarmonyOS Sans SC"/>
                <a:cs typeface="+mn-cs"/>
              </a:rPr>
              <a:t>bibendum</a:t>
            </a:r>
            <a:r>
              <a:rPr kumimoji="0" lang="en-US" sz="800" b="0" i="0" u="none" strike="noStrike" kern="1200" cap="none" spc="0" normalizeH="0" baseline="0" noProof="0" dirty="0">
                <a:ln>
                  <a:noFill/>
                </a:ln>
                <a:solidFill>
                  <a:prstClr val="black">
                    <a:lumMod val="50000"/>
                    <a:lumOff val="50000"/>
                  </a:prstClr>
                </a:solidFill>
                <a:effectLst/>
                <a:uLnTx/>
                <a:uFillTx/>
                <a:latin typeface="HarmonyOS Sans SC"/>
                <a:cs typeface="+mn-cs"/>
              </a:rPr>
              <a:t> a </a:t>
            </a:r>
            <a:r>
              <a:rPr kumimoji="0" lang="en-US" sz="800" b="0" i="0" u="none" strike="noStrike" kern="1200" cap="none" spc="0" normalizeH="0" baseline="0" noProof="0" dirty="0" err="1">
                <a:ln>
                  <a:noFill/>
                </a:ln>
                <a:solidFill>
                  <a:prstClr val="black">
                    <a:lumMod val="50000"/>
                    <a:lumOff val="50000"/>
                  </a:prstClr>
                </a:solidFill>
                <a:effectLst/>
                <a:uLnTx/>
                <a:uFillTx/>
                <a:latin typeface="HarmonyOS Sans SC"/>
                <a:cs typeface="+mn-cs"/>
              </a:rPr>
              <a:t>tempor</a:t>
            </a:r>
            <a:r>
              <a:rPr kumimoji="0" lang="en-US" sz="800" b="0" i="0" u="none" strike="noStrike" kern="1200" cap="none" spc="0" normalizeH="0" baseline="0" noProof="0" dirty="0">
                <a:ln>
                  <a:noFill/>
                </a:ln>
                <a:solidFill>
                  <a:prstClr val="black">
                    <a:lumMod val="50000"/>
                    <a:lumOff val="50000"/>
                  </a:prstClr>
                </a:solidFill>
                <a:effectLst/>
                <a:uLnTx/>
                <a:uFillTx/>
                <a:latin typeface="HarmonyOS Sans SC"/>
                <a:cs typeface="+mn-cs"/>
              </a:rPr>
              <a:t> </a:t>
            </a:r>
            <a:r>
              <a:rPr kumimoji="0" lang="en-US" sz="800" b="0" i="0" u="none" strike="noStrike" kern="1200" cap="none" spc="0" normalizeH="0" baseline="0" noProof="0" dirty="0" err="1">
                <a:ln>
                  <a:noFill/>
                </a:ln>
                <a:solidFill>
                  <a:prstClr val="black">
                    <a:lumMod val="50000"/>
                    <a:lumOff val="50000"/>
                  </a:prstClr>
                </a:solidFill>
                <a:effectLst/>
                <a:uLnTx/>
                <a:uFillTx/>
                <a:latin typeface="HarmonyOS Sans SC"/>
                <a:cs typeface="+mn-cs"/>
              </a:rPr>
              <a:t>quis</a:t>
            </a:r>
            <a:r>
              <a:rPr kumimoji="0" lang="en-US" sz="800" b="0" i="0" u="none" strike="noStrike" kern="1200" cap="none" spc="0" normalizeH="0" baseline="0" noProof="0" dirty="0">
                <a:ln>
                  <a:noFill/>
                </a:ln>
                <a:solidFill>
                  <a:prstClr val="black">
                    <a:lumMod val="50000"/>
                    <a:lumOff val="50000"/>
                  </a:prstClr>
                </a:solidFill>
                <a:effectLst/>
                <a:uLnTx/>
                <a:uFillTx/>
                <a:latin typeface="HarmonyOS Sans SC"/>
                <a:cs typeface="+mn-cs"/>
              </a:rPr>
              <a:t>, </a:t>
            </a:r>
            <a:r>
              <a:rPr kumimoji="0" lang="en-US" sz="800" b="0" i="0" u="none" strike="noStrike" kern="1200" cap="none" spc="0" normalizeH="0" baseline="0" noProof="0" dirty="0" err="1">
                <a:ln>
                  <a:noFill/>
                </a:ln>
                <a:solidFill>
                  <a:prstClr val="black">
                    <a:lumMod val="50000"/>
                    <a:lumOff val="50000"/>
                  </a:prstClr>
                </a:solidFill>
                <a:effectLst/>
                <a:uLnTx/>
                <a:uFillTx/>
                <a:latin typeface="HarmonyOS Sans SC"/>
                <a:cs typeface="+mn-cs"/>
              </a:rPr>
              <a:t>imperdiet</a:t>
            </a:r>
            <a:r>
              <a:rPr kumimoji="0" lang="en-US" sz="800" b="0" i="0" u="none" strike="noStrike" kern="1200" cap="none" spc="0" normalizeH="0" baseline="0" noProof="0" dirty="0">
                <a:ln>
                  <a:noFill/>
                </a:ln>
                <a:solidFill>
                  <a:prstClr val="black">
                    <a:lumMod val="50000"/>
                    <a:lumOff val="50000"/>
                  </a:prstClr>
                </a:solidFill>
                <a:effectLst/>
                <a:uLnTx/>
                <a:uFillTx/>
                <a:latin typeface="HarmonyOS Sans SC"/>
                <a:cs typeface="+mn-cs"/>
              </a:rPr>
              <a:t> </a:t>
            </a:r>
            <a:r>
              <a:rPr kumimoji="0" lang="en-US" sz="800" b="0" i="0" u="none" strike="noStrike" kern="1200" cap="none" spc="0" normalizeH="0" baseline="0" noProof="0" dirty="0" err="1">
                <a:ln>
                  <a:noFill/>
                </a:ln>
                <a:solidFill>
                  <a:prstClr val="black">
                    <a:lumMod val="50000"/>
                    <a:lumOff val="50000"/>
                  </a:prstClr>
                </a:solidFill>
                <a:effectLst/>
                <a:uLnTx/>
                <a:uFillTx/>
                <a:latin typeface="HarmonyOS Sans SC"/>
                <a:cs typeface="+mn-cs"/>
              </a:rPr>
              <a:t>eget</a:t>
            </a:r>
            <a:r>
              <a:rPr kumimoji="0" lang="en-US" sz="800" b="0" i="0" u="none" strike="noStrike" kern="1200" cap="none" spc="0" normalizeH="0" baseline="0" noProof="0" dirty="0">
                <a:ln>
                  <a:noFill/>
                </a:ln>
                <a:solidFill>
                  <a:prstClr val="black">
                    <a:lumMod val="50000"/>
                    <a:lumOff val="50000"/>
                  </a:prstClr>
                </a:solidFill>
                <a:effectLst/>
                <a:uLnTx/>
                <a:uFillTx/>
                <a:latin typeface="HarmonyOS Sans SC"/>
                <a:cs typeface="+mn-cs"/>
              </a:rPr>
              <a:t> </a:t>
            </a:r>
            <a:r>
              <a:rPr kumimoji="0" lang="en-US" sz="800" b="0" i="0" u="none" strike="noStrike" kern="1200" cap="none" spc="0" normalizeH="0" baseline="0" noProof="0" dirty="0" err="1">
                <a:ln>
                  <a:noFill/>
                </a:ln>
                <a:solidFill>
                  <a:prstClr val="black">
                    <a:lumMod val="50000"/>
                    <a:lumOff val="50000"/>
                  </a:prstClr>
                </a:solidFill>
                <a:effectLst/>
                <a:uLnTx/>
                <a:uFillTx/>
                <a:latin typeface="HarmonyOS Sans SC"/>
                <a:cs typeface="+mn-cs"/>
              </a:rPr>
              <a:t>massa</a:t>
            </a:r>
            <a:r>
              <a:rPr kumimoji="0" lang="en-US" sz="800" b="0" i="0" u="none" strike="noStrike" kern="1200" cap="none" spc="0" normalizeH="0" baseline="0" noProof="0" dirty="0">
                <a:ln>
                  <a:noFill/>
                </a:ln>
                <a:solidFill>
                  <a:prstClr val="black">
                    <a:lumMod val="50000"/>
                    <a:lumOff val="50000"/>
                  </a:prstClr>
                </a:solidFill>
                <a:effectLst/>
                <a:uLnTx/>
                <a:uFillTx/>
                <a:latin typeface="HarmonyOS Sans SC"/>
                <a:cs typeface="+mn-cs"/>
              </a:rPr>
              <a:t>. Cras </a:t>
            </a:r>
            <a:r>
              <a:rPr kumimoji="0" lang="en-US" sz="800" b="0" i="0" u="none" strike="noStrike" kern="1200" cap="none" spc="0" normalizeH="0" baseline="0" noProof="0" dirty="0" err="1">
                <a:ln>
                  <a:noFill/>
                </a:ln>
                <a:solidFill>
                  <a:prstClr val="black">
                    <a:lumMod val="50000"/>
                    <a:lumOff val="50000"/>
                  </a:prstClr>
                </a:solidFill>
                <a:effectLst/>
                <a:uLnTx/>
                <a:uFillTx/>
                <a:latin typeface="HarmonyOS Sans SC"/>
                <a:cs typeface="+mn-cs"/>
              </a:rPr>
              <a:t>pellentesque</a:t>
            </a:r>
            <a:r>
              <a:rPr kumimoji="0" lang="en-US" sz="800" b="0" i="0" u="none" strike="noStrike" kern="1200" cap="none" spc="0" normalizeH="0" baseline="0" noProof="0" dirty="0">
                <a:ln>
                  <a:noFill/>
                </a:ln>
                <a:solidFill>
                  <a:prstClr val="black">
                    <a:lumMod val="50000"/>
                    <a:lumOff val="50000"/>
                  </a:prstClr>
                </a:solidFill>
                <a:effectLst/>
                <a:uLnTx/>
                <a:uFillTx/>
                <a:latin typeface="HarmonyOS Sans SC"/>
                <a:cs typeface="+mn-cs"/>
              </a:rPr>
              <a:t>, </a:t>
            </a:r>
            <a:r>
              <a:rPr kumimoji="0" lang="en-US" sz="800" b="0" i="0" u="none" strike="noStrike" kern="1200" cap="none" spc="0" normalizeH="0" baseline="0" noProof="0" dirty="0" err="1">
                <a:ln>
                  <a:noFill/>
                </a:ln>
                <a:solidFill>
                  <a:prstClr val="black">
                    <a:lumMod val="50000"/>
                    <a:lumOff val="50000"/>
                  </a:prstClr>
                </a:solidFill>
                <a:effectLst/>
                <a:uLnTx/>
                <a:uFillTx/>
                <a:latin typeface="HarmonyOS Sans SC"/>
                <a:cs typeface="+mn-cs"/>
              </a:rPr>
              <a:t>metus</a:t>
            </a:r>
            <a:r>
              <a:rPr kumimoji="0" lang="en-US" sz="800" b="0" i="0" u="none" strike="noStrike" kern="1200" cap="none" spc="0" normalizeH="0" baseline="0" noProof="0" dirty="0">
                <a:ln>
                  <a:noFill/>
                </a:ln>
                <a:solidFill>
                  <a:prstClr val="black">
                    <a:lumMod val="50000"/>
                    <a:lumOff val="50000"/>
                  </a:prstClr>
                </a:solidFill>
                <a:effectLst/>
                <a:uLnTx/>
                <a:uFillTx/>
                <a:latin typeface="HarmonyOS Sans SC"/>
                <a:cs typeface="+mn-cs"/>
              </a:rPr>
              <a:t> </a:t>
            </a:r>
            <a:r>
              <a:rPr kumimoji="0" lang="en-US" sz="800" b="0" i="0" u="none" strike="noStrike" kern="1200" cap="none" spc="0" normalizeH="0" baseline="0" noProof="0" dirty="0" err="1">
                <a:ln>
                  <a:noFill/>
                </a:ln>
                <a:solidFill>
                  <a:prstClr val="black">
                    <a:lumMod val="50000"/>
                    <a:lumOff val="50000"/>
                  </a:prstClr>
                </a:solidFill>
                <a:effectLst/>
                <a:uLnTx/>
                <a:uFillTx/>
                <a:latin typeface="HarmonyOS Sans SC"/>
                <a:cs typeface="+mn-cs"/>
              </a:rPr>
              <a:t>eget</a:t>
            </a:r>
            <a:r>
              <a:rPr kumimoji="0" lang="en-US" sz="800" b="0" i="0" u="none" strike="noStrike" kern="1200" cap="none" spc="0" normalizeH="0" baseline="0" noProof="0" dirty="0">
                <a:ln>
                  <a:noFill/>
                </a:ln>
                <a:solidFill>
                  <a:prstClr val="black">
                    <a:lumMod val="50000"/>
                    <a:lumOff val="50000"/>
                  </a:prstClr>
                </a:solidFill>
                <a:effectLst/>
                <a:uLnTx/>
                <a:uFillTx/>
                <a:latin typeface="HarmonyOS Sans SC"/>
                <a:cs typeface="+mn-cs"/>
              </a:rPr>
              <a:t> </a:t>
            </a:r>
            <a:r>
              <a:rPr kumimoji="0" lang="en-US" sz="800" b="0" i="0" u="none" strike="noStrike" kern="1200" cap="none" spc="0" normalizeH="0" baseline="0" noProof="0" dirty="0" err="1">
                <a:ln>
                  <a:noFill/>
                </a:ln>
                <a:solidFill>
                  <a:prstClr val="black">
                    <a:lumMod val="50000"/>
                    <a:lumOff val="50000"/>
                  </a:prstClr>
                </a:solidFill>
                <a:effectLst/>
                <a:uLnTx/>
                <a:uFillTx/>
                <a:latin typeface="HarmonyOS Sans SC"/>
                <a:cs typeface="+mn-cs"/>
              </a:rPr>
              <a:t>sagittis</a:t>
            </a:r>
            <a:r>
              <a:rPr kumimoji="0" lang="en-US" sz="800" b="0" i="0" u="none" strike="noStrike" kern="1200" cap="none" spc="0" normalizeH="0" baseline="0" noProof="0" dirty="0">
                <a:ln>
                  <a:noFill/>
                </a:ln>
                <a:solidFill>
                  <a:prstClr val="black">
                    <a:lumMod val="50000"/>
                    <a:lumOff val="50000"/>
                  </a:prstClr>
                </a:solidFill>
                <a:effectLst/>
                <a:uLnTx/>
                <a:uFillTx/>
                <a:latin typeface="HarmonyOS Sans SC"/>
                <a:cs typeface="+mn-cs"/>
              </a:rPr>
              <a:t>.</a:t>
            </a:r>
          </a:p>
        </p:txBody>
      </p:sp>
    </p:spTree>
    <p:extLst>
      <p:ext uri="{BB962C8B-B14F-4D97-AF65-F5344CB8AC3E}">
        <p14:creationId xmlns:p14="http://schemas.microsoft.com/office/powerpoint/2010/main" val="3227995705"/>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4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rocess…">
            <a:extLst>
              <a:ext uri="{FF2B5EF4-FFF2-40B4-BE49-F238E27FC236}">
                <a16:creationId xmlns:a16="http://schemas.microsoft.com/office/drawing/2014/main" id="{487B8654-9BF3-4767-9A79-89C085AD0E12}"/>
              </a:ext>
            </a:extLst>
          </p:cNvPr>
          <p:cNvSpPr txBox="1"/>
          <p:nvPr/>
        </p:nvSpPr>
        <p:spPr>
          <a:xfrm>
            <a:off x="5636741" y="3613460"/>
            <a:ext cx="918521" cy="46108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anchor="ctr">
            <a:spAutoFit/>
          </a:bodyPr>
          <a:lstStyle/>
          <a:p>
            <a:pPr marL="0" marR="0" lvl="0" indent="0" algn="ctr" defTabSz="412750" rtl="0" eaLnBrk="1" fontAlgn="auto" latinLnBrk="0" hangingPunct="0">
              <a:lnSpc>
                <a:spcPct val="150000"/>
              </a:lnSpc>
              <a:spcBef>
                <a:spcPts val="0"/>
              </a:spcBef>
              <a:spcAft>
                <a:spcPts val="0"/>
              </a:spcAft>
              <a:buClrTx/>
              <a:buSzTx/>
              <a:buFontTx/>
              <a:buNone/>
              <a:tabLst/>
              <a:defRPr sz="2400" b="0">
                <a:solidFill>
                  <a:srgbClr val="F6F9FF"/>
                </a:solidFill>
                <a:latin typeface="Poppins Bold"/>
                <a:ea typeface="Poppins Bold"/>
                <a:cs typeface="Poppins Bold"/>
                <a:sym typeface="Poppins Bold"/>
              </a:defRPr>
            </a:pPr>
            <a:r>
              <a:rPr kumimoji="0" sz="1200" b="0" i="0" u="none" strike="noStrike" kern="0" cap="none" spc="0" normalizeH="0" baseline="0" noProof="0" dirty="0">
                <a:ln>
                  <a:noFill/>
                </a:ln>
                <a:solidFill>
                  <a:prstClr val="black">
                    <a:lumMod val="75000"/>
                    <a:lumOff val="25000"/>
                  </a:prstClr>
                </a:solidFill>
                <a:effectLst/>
                <a:uLnTx/>
                <a:uFillTx/>
                <a:latin typeface="HarmonyOS Sans SC Black"/>
                <a:ea typeface="+mj-ea"/>
                <a:cs typeface="Poppins Bold"/>
                <a:sym typeface="Poppins Bold"/>
              </a:rPr>
              <a:t>Process</a:t>
            </a:r>
          </a:p>
          <a:p>
            <a:pPr marL="0" marR="0" lvl="0" indent="0" algn="ctr" defTabSz="412750" rtl="0" eaLnBrk="1" fontAlgn="auto" latinLnBrk="0" hangingPunct="0">
              <a:lnSpc>
                <a:spcPct val="150000"/>
              </a:lnSpc>
              <a:spcBef>
                <a:spcPts val="0"/>
              </a:spcBef>
              <a:spcAft>
                <a:spcPts val="0"/>
              </a:spcAft>
              <a:buClrTx/>
              <a:buSzTx/>
              <a:buFontTx/>
              <a:buNone/>
              <a:tabLst/>
              <a:defRPr sz="1800" b="0">
                <a:solidFill>
                  <a:srgbClr val="C8CBD1"/>
                </a:solidFill>
                <a:latin typeface="Poppins Light"/>
                <a:ea typeface="Poppins Light"/>
                <a:cs typeface="Poppins Light"/>
                <a:sym typeface="Poppins Light"/>
              </a:defRPr>
            </a:pPr>
            <a:r>
              <a:rPr kumimoji="0" sz="900" b="0" i="0" u="none" strike="noStrike" kern="0" cap="none" spc="0" normalizeH="0" baseline="0" noProof="0" dirty="0">
                <a:ln>
                  <a:noFill/>
                </a:ln>
                <a:solidFill>
                  <a:prstClr val="black">
                    <a:lumMod val="75000"/>
                    <a:lumOff val="25000"/>
                  </a:prstClr>
                </a:solidFill>
                <a:effectLst/>
                <a:uLnTx/>
                <a:uFillTx/>
                <a:latin typeface="HarmonyOS Sans SC"/>
                <a:cs typeface="Poppins Light"/>
                <a:sym typeface="Poppins Light"/>
              </a:rPr>
              <a:t>Main Department</a:t>
            </a:r>
          </a:p>
        </p:txBody>
      </p:sp>
      <p:sp>
        <p:nvSpPr>
          <p:cNvPr id="3" name="Freeform 62">
            <a:extLst>
              <a:ext uri="{FF2B5EF4-FFF2-40B4-BE49-F238E27FC236}">
                <a16:creationId xmlns:a16="http://schemas.microsoft.com/office/drawing/2014/main" id="{421DAA5C-CABC-4F3A-B84D-EC2F6285EF3F}"/>
              </a:ext>
            </a:extLst>
          </p:cNvPr>
          <p:cNvSpPr/>
          <p:nvPr/>
        </p:nvSpPr>
        <p:spPr>
          <a:xfrm>
            <a:off x="4979846" y="2121504"/>
            <a:ext cx="1081003" cy="1112212"/>
          </a:xfrm>
          <a:custGeom>
            <a:avLst/>
            <a:gdLst/>
            <a:ahLst/>
            <a:cxnLst>
              <a:cxn ang="0">
                <a:pos x="wd2" y="hd2"/>
              </a:cxn>
              <a:cxn ang="5400000">
                <a:pos x="wd2" y="hd2"/>
              </a:cxn>
              <a:cxn ang="10800000">
                <a:pos x="wd2" y="hd2"/>
              </a:cxn>
              <a:cxn ang="16200000">
                <a:pos x="wd2" y="hd2"/>
              </a:cxn>
            </a:cxnLst>
            <a:rect l="0" t="0" r="r" b="b"/>
            <a:pathLst>
              <a:path w="20975" h="21163" extrusionOk="0">
                <a:moveTo>
                  <a:pt x="17573" y="23"/>
                </a:moveTo>
                <a:cubicBezTo>
                  <a:pt x="17323" y="55"/>
                  <a:pt x="17073" y="118"/>
                  <a:pt x="16823" y="218"/>
                </a:cubicBezTo>
                <a:cubicBezTo>
                  <a:pt x="16769" y="218"/>
                  <a:pt x="16770" y="218"/>
                  <a:pt x="16770" y="218"/>
                </a:cubicBezTo>
                <a:cubicBezTo>
                  <a:pt x="9269" y="3289"/>
                  <a:pt x="9265" y="3288"/>
                  <a:pt x="9265" y="3288"/>
                </a:cubicBezTo>
                <a:lnTo>
                  <a:pt x="9279" y="3297"/>
                </a:lnTo>
                <a:lnTo>
                  <a:pt x="9274" y="3326"/>
                </a:lnTo>
                <a:cubicBezTo>
                  <a:pt x="1988" y="6260"/>
                  <a:pt x="1856" y="6311"/>
                  <a:pt x="1856" y="6311"/>
                </a:cubicBezTo>
                <a:cubicBezTo>
                  <a:pt x="-137" y="7157"/>
                  <a:pt x="-625" y="9698"/>
                  <a:pt x="884" y="11179"/>
                </a:cubicBezTo>
                <a:cubicBezTo>
                  <a:pt x="6219" y="16418"/>
                  <a:pt x="6221" y="16418"/>
                  <a:pt x="6221" y="16418"/>
                </a:cubicBezTo>
                <a:lnTo>
                  <a:pt x="6207" y="16480"/>
                </a:lnTo>
                <a:cubicBezTo>
                  <a:pt x="10087" y="20292"/>
                  <a:pt x="10087" y="20295"/>
                  <a:pt x="10087" y="20295"/>
                </a:cubicBezTo>
                <a:cubicBezTo>
                  <a:pt x="11004" y="21143"/>
                  <a:pt x="12299" y="21403"/>
                  <a:pt x="13431" y="20926"/>
                </a:cubicBezTo>
                <a:cubicBezTo>
                  <a:pt x="19091" y="18650"/>
                  <a:pt x="19093" y="18653"/>
                  <a:pt x="19093" y="18653"/>
                </a:cubicBezTo>
                <a:cubicBezTo>
                  <a:pt x="20225" y="18177"/>
                  <a:pt x="20975" y="17114"/>
                  <a:pt x="20975" y="15896"/>
                </a:cubicBezTo>
                <a:cubicBezTo>
                  <a:pt x="20975" y="10496"/>
                  <a:pt x="20975" y="10496"/>
                  <a:pt x="20975" y="10496"/>
                </a:cubicBezTo>
                <a:cubicBezTo>
                  <a:pt x="10352" y="3956"/>
                  <a:pt x="10443" y="4012"/>
                  <a:pt x="10354" y="3957"/>
                </a:cubicBezTo>
                <a:lnTo>
                  <a:pt x="20975" y="10491"/>
                </a:lnTo>
                <a:cubicBezTo>
                  <a:pt x="20975" y="2973"/>
                  <a:pt x="20975" y="2970"/>
                  <a:pt x="20975" y="2970"/>
                </a:cubicBezTo>
                <a:cubicBezTo>
                  <a:pt x="20975" y="1163"/>
                  <a:pt x="19324" y="-197"/>
                  <a:pt x="17573" y="23"/>
                </a:cubicBezTo>
                <a:close/>
              </a:path>
            </a:pathLst>
          </a:custGeom>
          <a:gradFill>
            <a:gsLst>
              <a:gs pos="73000">
                <a:schemeClr val="accent1"/>
              </a:gs>
              <a:gs pos="31000">
                <a:schemeClr val="accent1">
                  <a:lumMod val="60000"/>
                  <a:lumOff val="40000"/>
                </a:schemeClr>
              </a:gs>
              <a:gs pos="0">
                <a:schemeClr val="accent1">
                  <a:lumMod val="40000"/>
                  <a:lumOff val="60000"/>
                </a:schemeClr>
              </a:gs>
            </a:gsLst>
            <a:path path="circle">
              <a:fillToRect r="100000" b="100000"/>
            </a:path>
          </a:gradFill>
          <a:ln>
            <a:noFill/>
          </a:ln>
          <a:effectLst>
            <a:outerShdw blurRad="444500" dist="317500" dir="5400000" sx="92000" sy="92000" algn="t" rotWithShape="0">
              <a:schemeClr val="accent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white"/>
              </a:solidFill>
              <a:effectLst/>
              <a:uLnTx/>
              <a:uFillTx/>
              <a:latin typeface="HarmonyOS Sans SC"/>
              <a:cs typeface="+mn-cs"/>
              <a:sym typeface="Poppins Regular"/>
            </a:endParaRPr>
          </a:p>
        </p:txBody>
      </p:sp>
      <p:sp>
        <p:nvSpPr>
          <p:cNvPr id="4" name="/">
            <a:extLst>
              <a:ext uri="{FF2B5EF4-FFF2-40B4-BE49-F238E27FC236}">
                <a16:creationId xmlns:a16="http://schemas.microsoft.com/office/drawing/2014/main" id="{FB6DB3BA-9BAE-466E-A93A-367A9EA33D75}"/>
              </a:ext>
            </a:extLst>
          </p:cNvPr>
          <p:cNvSpPr txBox="1"/>
          <p:nvPr/>
        </p:nvSpPr>
        <p:spPr>
          <a:xfrm>
            <a:off x="5531442" y="2446810"/>
            <a:ext cx="129844" cy="461601"/>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numCol="1" anchor="ctr">
            <a:spAutoFit/>
          </a:bodyPr>
          <a:lstStyle>
            <a:lvl1pPr defTabSz="914400">
              <a:lnSpc>
                <a:spcPct val="150000"/>
              </a:lnSpc>
              <a:tabLst>
                <a:tab pos="1384300" algn="l"/>
              </a:tabLst>
              <a:defRPr sz="4500" b="0">
                <a:solidFill>
                  <a:srgbClr val="F7F9FF"/>
                </a:solidFill>
                <a:latin typeface="linea-basic-10"/>
                <a:ea typeface="linea-basic-10"/>
                <a:cs typeface="linea-basic-10"/>
                <a:sym typeface="linea-basic-10"/>
              </a:defRPr>
            </a:lvl1pPr>
          </a:lstStyle>
          <a:p>
            <a:pPr marL="0" marR="0" lvl="0" indent="0" algn="ctr" defTabSz="457200" rtl="0" eaLnBrk="1" fontAlgn="auto" latinLnBrk="0" hangingPunct="0">
              <a:lnSpc>
                <a:spcPct val="150000"/>
              </a:lnSpc>
              <a:spcBef>
                <a:spcPts val="0"/>
              </a:spcBef>
              <a:spcAft>
                <a:spcPts val="0"/>
              </a:spcAft>
              <a:buClrTx/>
              <a:buSzTx/>
              <a:buFontTx/>
              <a:buNone/>
              <a:tabLst>
                <a:tab pos="692150" algn="l"/>
              </a:tabLst>
              <a:defRPr/>
            </a:pPr>
            <a:r>
              <a:rPr kumimoji="0" sz="2250" b="0" i="0" u="none" strike="noStrike" kern="0" cap="none" spc="0" normalizeH="0" baseline="0" noProof="0">
                <a:ln>
                  <a:noFill/>
                </a:ln>
                <a:solidFill>
                  <a:prstClr val="white"/>
                </a:solidFill>
                <a:effectLst/>
                <a:uLnTx/>
                <a:uFillTx/>
                <a:latin typeface="HarmonyOS Sans SC Black"/>
                <a:ea typeface="+mj-ea"/>
                <a:sym typeface="linea-basic-10"/>
              </a:rPr>
              <a:t>/</a:t>
            </a:r>
          </a:p>
        </p:txBody>
      </p:sp>
      <p:sp>
        <p:nvSpPr>
          <p:cNvPr id="5" name="Freeform 69">
            <a:extLst>
              <a:ext uri="{FF2B5EF4-FFF2-40B4-BE49-F238E27FC236}">
                <a16:creationId xmlns:a16="http://schemas.microsoft.com/office/drawing/2014/main" id="{BB2E5CA9-A2BB-430C-9FE3-EEFAB699CE3F}"/>
              </a:ext>
            </a:extLst>
          </p:cNvPr>
          <p:cNvSpPr/>
          <p:nvPr/>
        </p:nvSpPr>
        <p:spPr>
          <a:xfrm>
            <a:off x="6133669" y="2122541"/>
            <a:ext cx="1085241" cy="1111175"/>
          </a:xfrm>
          <a:custGeom>
            <a:avLst/>
            <a:gdLst/>
            <a:ahLst/>
            <a:cxnLst>
              <a:cxn ang="0">
                <a:pos x="wd2" y="hd2"/>
              </a:cxn>
              <a:cxn ang="5400000">
                <a:pos x="wd2" y="hd2"/>
              </a:cxn>
              <a:cxn ang="10800000">
                <a:pos x="wd2" y="hd2"/>
              </a:cxn>
              <a:cxn ang="16200000">
                <a:pos x="wd2" y="hd2"/>
              </a:cxn>
            </a:cxnLst>
            <a:rect l="0" t="0" r="r" b="b"/>
            <a:pathLst>
              <a:path w="20977" h="21321" extrusionOk="0">
                <a:moveTo>
                  <a:pt x="2656" y="23"/>
                </a:moveTo>
                <a:cubicBezTo>
                  <a:pt x="1212" y="203"/>
                  <a:pt x="0" y="1433"/>
                  <a:pt x="0" y="2995"/>
                </a:cubicBezTo>
                <a:lnTo>
                  <a:pt x="0" y="10512"/>
                </a:lnTo>
                <a:lnTo>
                  <a:pt x="0" y="10522"/>
                </a:lnTo>
                <a:cubicBezTo>
                  <a:pt x="0" y="15992"/>
                  <a:pt x="0" y="16010"/>
                  <a:pt x="0" y="16010"/>
                </a:cubicBezTo>
                <a:cubicBezTo>
                  <a:pt x="0" y="17238"/>
                  <a:pt x="756" y="18310"/>
                  <a:pt x="1885" y="18790"/>
                </a:cubicBezTo>
                <a:cubicBezTo>
                  <a:pt x="7530" y="21086"/>
                  <a:pt x="7530" y="21082"/>
                  <a:pt x="7530" y="21082"/>
                </a:cubicBezTo>
                <a:cubicBezTo>
                  <a:pt x="8659" y="21563"/>
                  <a:pt x="9947" y="21300"/>
                  <a:pt x="10808" y="20446"/>
                </a:cubicBezTo>
                <a:cubicBezTo>
                  <a:pt x="14733" y="16602"/>
                  <a:pt x="14732" y="16599"/>
                  <a:pt x="14732" y="16599"/>
                </a:cubicBezTo>
                <a:cubicBezTo>
                  <a:pt x="14729" y="16589"/>
                  <a:pt x="14729" y="16599"/>
                  <a:pt x="14727" y="16589"/>
                </a:cubicBezTo>
                <a:cubicBezTo>
                  <a:pt x="20095" y="11254"/>
                  <a:pt x="20097" y="11254"/>
                  <a:pt x="20097" y="11254"/>
                </a:cubicBezTo>
                <a:cubicBezTo>
                  <a:pt x="21600" y="9760"/>
                  <a:pt x="21114" y="7198"/>
                  <a:pt x="19128" y="6344"/>
                </a:cubicBezTo>
                <a:cubicBezTo>
                  <a:pt x="19128" y="6344"/>
                  <a:pt x="19129" y="6344"/>
                  <a:pt x="19075" y="6344"/>
                </a:cubicBezTo>
                <a:cubicBezTo>
                  <a:pt x="11672" y="3305"/>
                  <a:pt x="11671" y="3306"/>
                  <a:pt x="11671" y="3306"/>
                </a:cubicBezTo>
                <a:lnTo>
                  <a:pt x="11666" y="3306"/>
                </a:lnTo>
                <a:cubicBezTo>
                  <a:pt x="11666" y="3276"/>
                  <a:pt x="11666" y="3263"/>
                  <a:pt x="11666" y="3263"/>
                </a:cubicBezTo>
                <a:cubicBezTo>
                  <a:pt x="4193" y="220"/>
                  <a:pt x="4194" y="219"/>
                  <a:pt x="4194" y="219"/>
                </a:cubicBezTo>
                <a:cubicBezTo>
                  <a:pt x="4194" y="219"/>
                  <a:pt x="4141" y="219"/>
                  <a:pt x="4141" y="219"/>
                </a:cubicBezTo>
                <a:cubicBezTo>
                  <a:pt x="3644" y="19"/>
                  <a:pt x="3137" y="-37"/>
                  <a:pt x="2656" y="23"/>
                </a:cubicBezTo>
                <a:close/>
              </a:path>
            </a:pathLst>
          </a:custGeom>
          <a:gradFill>
            <a:gsLst>
              <a:gs pos="73000">
                <a:schemeClr val="accent1"/>
              </a:gs>
              <a:gs pos="31000">
                <a:schemeClr val="accent1">
                  <a:lumMod val="60000"/>
                  <a:lumOff val="40000"/>
                </a:schemeClr>
              </a:gs>
              <a:gs pos="0">
                <a:schemeClr val="accent1">
                  <a:lumMod val="40000"/>
                  <a:lumOff val="60000"/>
                </a:schemeClr>
              </a:gs>
            </a:gsLst>
            <a:path path="circle">
              <a:fillToRect r="100000" b="100000"/>
            </a:path>
          </a:gradFill>
          <a:ln>
            <a:noFill/>
          </a:ln>
          <a:effectLst>
            <a:outerShdw blurRad="444500" dist="317500" dir="5400000" sx="92000" sy="92000" algn="t" rotWithShape="0">
              <a:schemeClr val="accent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white"/>
              </a:solidFill>
              <a:effectLst/>
              <a:uLnTx/>
              <a:uFillTx/>
              <a:latin typeface="HarmonyOS Sans SC"/>
              <a:cs typeface="+mn-cs"/>
              <a:sym typeface="Poppins Regular"/>
            </a:endParaRPr>
          </a:p>
        </p:txBody>
      </p:sp>
      <p:sp>
        <p:nvSpPr>
          <p:cNvPr id="6" name="y">
            <a:extLst>
              <a:ext uri="{FF2B5EF4-FFF2-40B4-BE49-F238E27FC236}">
                <a16:creationId xmlns:a16="http://schemas.microsoft.com/office/drawing/2014/main" id="{67FF048D-2992-40D2-9B4F-6E224BAA66F9}"/>
              </a:ext>
            </a:extLst>
          </p:cNvPr>
          <p:cNvSpPr txBox="1"/>
          <p:nvPr/>
        </p:nvSpPr>
        <p:spPr>
          <a:xfrm>
            <a:off x="6498882" y="2446809"/>
            <a:ext cx="169918" cy="461601"/>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numCol="1" anchor="ctr">
            <a:spAutoFit/>
          </a:bodyPr>
          <a:lstStyle>
            <a:lvl1pPr defTabSz="914400">
              <a:lnSpc>
                <a:spcPct val="150000"/>
              </a:lnSpc>
              <a:tabLst>
                <a:tab pos="1384300" algn="l"/>
              </a:tabLst>
              <a:defRPr sz="4500" b="0">
                <a:solidFill>
                  <a:srgbClr val="F7F9FF"/>
                </a:solidFill>
                <a:latin typeface="linea-basic-10"/>
                <a:ea typeface="linea-basic-10"/>
                <a:cs typeface="linea-basic-10"/>
                <a:sym typeface="linea-basic-10"/>
              </a:defRPr>
            </a:lvl1pPr>
          </a:lstStyle>
          <a:p>
            <a:pPr marL="0" marR="0" lvl="0" indent="0" algn="ctr" defTabSz="457200" rtl="0" eaLnBrk="1" fontAlgn="auto" latinLnBrk="0" hangingPunct="0">
              <a:lnSpc>
                <a:spcPct val="150000"/>
              </a:lnSpc>
              <a:spcBef>
                <a:spcPts val="0"/>
              </a:spcBef>
              <a:spcAft>
                <a:spcPts val="0"/>
              </a:spcAft>
              <a:buClrTx/>
              <a:buSzTx/>
              <a:buFontTx/>
              <a:buNone/>
              <a:tabLst>
                <a:tab pos="692150" algn="l"/>
              </a:tabLst>
              <a:defRPr/>
            </a:pPr>
            <a:r>
              <a:rPr kumimoji="0" sz="2250" b="0" i="0" u="none" strike="noStrike" kern="0" cap="none" spc="0" normalizeH="0" baseline="0" noProof="0" dirty="0">
                <a:ln>
                  <a:noFill/>
                </a:ln>
                <a:solidFill>
                  <a:prstClr val="white"/>
                </a:solidFill>
                <a:effectLst/>
                <a:uLnTx/>
                <a:uFillTx/>
                <a:latin typeface="HarmonyOS Sans SC Black"/>
                <a:ea typeface="+mj-ea"/>
                <a:sym typeface="linea-basic-10"/>
              </a:rPr>
              <a:t>y</a:t>
            </a:r>
          </a:p>
        </p:txBody>
      </p:sp>
      <p:sp>
        <p:nvSpPr>
          <p:cNvPr id="7" name="Freeform 49">
            <a:extLst>
              <a:ext uri="{FF2B5EF4-FFF2-40B4-BE49-F238E27FC236}">
                <a16:creationId xmlns:a16="http://schemas.microsoft.com/office/drawing/2014/main" id="{9D397AF7-FE40-41F1-9AA1-8BA0951FAFBF}"/>
              </a:ext>
            </a:extLst>
          </p:cNvPr>
          <p:cNvSpPr/>
          <p:nvPr/>
        </p:nvSpPr>
        <p:spPr>
          <a:xfrm>
            <a:off x="6700160" y="2715137"/>
            <a:ext cx="1110341" cy="1084985"/>
          </a:xfrm>
          <a:custGeom>
            <a:avLst/>
            <a:gdLst/>
            <a:ahLst/>
            <a:cxnLst>
              <a:cxn ang="0">
                <a:pos x="wd2" y="hd2"/>
              </a:cxn>
              <a:cxn ang="5400000">
                <a:pos x="wd2" y="hd2"/>
              </a:cxn>
              <a:cxn ang="10800000">
                <a:pos x="wd2" y="hd2"/>
              </a:cxn>
              <a:cxn ang="16200000">
                <a:pos x="wd2" y="hd2"/>
              </a:cxn>
            </a:cxnLst>
            <a:rect l="0" t="0" r="r" b="b"/>
            <a:pathLst>
              <a:path w="20801" h="21550" extrusionOk="0">
                <a:moveTo>
                  <a:pt x="11747" y="2"/>
                </a:moveTo>
                <a:cubicBezTo>
                  <a:pt x="11050" y="34"/>
                  <a:pt x="10360" y="323"/>
                  <a:pt x="9813" y="904"/>
                </a:cubicBezTo>
                <a:cubicBezTo>
                  <a:pt x="4635" y="6398"/>
                  <a:pt x="4632" y="6397"/>
                  <a:pt x="4632" y="6397"/>
                </a:cubicBezTo>
                <a:lnTo>
                  <a:pt x="4604" y="6392"/>
                </a:lnTo>
                <a:cubicBezTo>
                  <a:pt x="854" y="10431"/>
                  <a:pt x="857" y="10429"/>
                  <a:pt x="857" y="10429"/>
                </a:cubicBezTo>
                <a:cubicBezTo>
                  <a:pt x="24" y="11315"/>
                  <a:pt x="-238" y="12641"/>
                  <a:pt x="231" y="13803"/>
                </a:cubicBezTo>
                <a:cubicBezTo>
                  <a:pt x="2470" y="19611"/>
                  <a:pt x="2469" y="19613"/>
                  <a:pt x="2469" y="19613"/>
                </a:cubicBezTo>
                <a:cubicBezTo>
                  <a:pt x="2937" y="20775"/>
                  <a:pt x="3981" y="21550"/>
                  <a:pt x="5178" y="21550"/>
                </a:cubicBezTo>
                <a:cubicBezTo>
                  <a:pt x="10542" y="21550"/>
                  <a:pt x="10542" y="21550"/>
                  <a:pt x="10542" y="21550"/>
                </a:cubicBezTo>
                <a:cubicBezTo>
                  <a:pt x="17877" y="21550"/>
                  <a:pt x="17877" y="21550"/>
                  <a:pt x="17877" y="21550"/>
                </a:cubicBezTo>
                <a:cubicBezTo>
                  <a:pt x="19957" y="21550"/>
                  <a:pt x="21362" y="19337"/>
                  <a:pt x="20582" y="17290"/>
                </a:cubicBezTo>
                <a:cubicBezTo>
                  <a:pt x="20582" y="17290"/>
                  <a:pt x="20582" y="17236"/>
                  <a:pt x="20582" y="17236"/>
                </a:cubicBezTo>
                <a:cubicBezTo>
                  <a:pt x="17636" y="9652"/>
                  <a:pt x="17638" y="9652"/>
                  <a:pt x="17638" y="9652"/>
                </a:cubicBezTo>
                <a:lnTo>
                  <a:pt x="17671" y="9652"/>
                </a:lnTo>
                <a:lnTo>
                  <a:pt x="17671" y="9493"/>
                </a:lnTo>
                <a:lnTo>
                  <a:pt x="17610" y="9558"/>
                </a:lnTo>
                <a:cubicBezTo>
                  <a:pt x="14625" y="2019"/>
                  <a:pt x="14606" y="1954"/>
                  <a:pt x="14606" y="1954"/>
                </a:cubicBezTo>
                <a:cubicBezTo>
                  <a:pt x="14606" y="1899"/>
                  <a:pt x="14606" y="1900"/>
                  <a:pt x="14606" y="1900"/>
                </a:cubicBezTo>
                <a:cubicBezTo>
                  <a:pt x="14085" y="621"/>
                  <a:pt x="12909" y="-50"/>
                  <a:pt x="11747" y="2"/>
                </a:cubicBezTo>
                <a:close/>
              </a:path>
            </a:pathLst>
          </a:custGeom>
          <a:gradFill>
            <a:gsLst>
              <a:gs pos="73000">
                <a:schemeClr val="accent1"/>
              </a:gs>
              <a:gs pos="31000">
                <a:schemeClr val="accent1">
                  <a:lumMod val="60000"/>
                  <a:lumOff val="40000"/>
                </a:schemeClr>
              </a:gs>
              <a:gs pos="0">
                <a:schemeClr val="accent1">
                  <a:lumMod val="40000"/>
                  <a:lumOff val="60000"/>
                </a:schemeClr>
              </a:gs>
            </a:gsLst>
            <a:path path="circle">
              <a:fillToRect r="100000" b="100000"/>
            </a:path>
          </a:gradFill>
          <a:ln>
            <a:noFill/>
          </a:ln>
          <a:effectLst>
            <a:outerShdw blurRad="444500" dist="317500" dir="5400000" sx="92000" sy="92000" algn="t" rotWithShape="0">
              <a:schemeClr val="accent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white"/>
              </a:solidFill>
              <a:effectLst/>
              <a:uLnTx/>
              <a:uFillTx/>
              <a:latin typeface="HarmonyOS Sans SC"/>
              <a:cs typeface="+mn-cs"/>
              <a:sym typeface="Poppins Regular"/>
            </a:endParaRPr>
          </a:p>
        </p:txBody>
      </p:sp>
      <p:sp>
        <p:nvSpPr>
          <p:cNvPr id="8" name="a">
            <a:extLst>
              <a:ext uri="{FF2B5EF4-FFF2-40B4-BE49-F238E27FC236}">
                <a16:creationId xmlns:a16="http://schemas.microsoft.com/office/drawing/2014/main" id="{D1F990C7-585A-475D-8B30-CD5F4E23BFC7}"/>
              </a:ext>
            </a:extLst>
          </p:cNvPr>
          <p:cNvSpPr txBox="1"/>
          <p:nvPr/>
        </p:nvSpPr>
        <p:spPr>
          <a:xfrm>
            <a:off x="7136355" y="3140913"/>
            <a:ext cx="165110" cy="461601"/>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numCol="1" anchor="ctr">
            <a:spAutoFit/>
          </a:bodyPr>
          <a:lstStyle>
            <a:lvl1pPr defTabSz="914400">
              <a:lnSpc>
                <a:spcPct val="150000"/>
              </a:lnSpc>
              <a:tabLst>
                <a:tab pos="1384300" algn="l"/>
              </a:tabLst>
              <a:defRPr sz="4500" b="0">
                <a:solidFill>
                  <a:srgbClr val="F7F9FF"/>
                </a:solidFill>
                <a:latin typeface="linea-basic-10"/>
                <a:ea typeface="linea-basic-10"/>
                <a:cs typeface="linea-basic-10"/>
                <a:sym typeface="linea-basic-10"/>
              </a:defRPr>
            </a:lvl1pPr>
          </a:lstStyle>
          <a:p>
            <a:pPr marL="0" marR="0" lvl="0" indent="0" algn="ctr" defTabSz="457200" rtl="0" eaLnBrk="1" fontAlgn="auto" latinLnBrk="0" hangingPunct="0">
              <a:lnSpc>
                <a:spcPct val="150000"/>
              </a:lnSpc>
              <a:spcBef>
                <a:spcPts val="0"/>
              </a:spcBef>
              <a:spcAft>
                <a:spcPts val="0"/>
              </a:spcAft>
              <a:buClrTx/>
              <a:buSzTx/>
              <a:buFontTx/>
              <a:buNone/>
              <a:tabLst>
                <a:tab pos="692150" algn="l"/>
              </a:tabLst>
              <a:defRPr/>
            </a:pPr>
            <a:r>
              <a:rPr kumimoji="0" sz="2250" b="0" i="0" u="none" strike="noStrike" kern="0" cap="none" spc="0" normalizeH="0" baseline="0" noProof="0">
                <a:ln>
                  <a:noFill/>
                </a:ln>
                <a:solidFill>
                  <a:prstClr val="white"/>
                </a:solidFill>
                <a:effectLst/>
                <a:uLnTx/>
                <a:uFillTx/>
                <a:latin typeface="HarmonyOS Sans SC Black"/>
                <a:ea typeface="+mj-ea"/>
                <a:sym typeface="linea-basic-10"/>
              </a:rPr>
              <a:t>a</a:t>
            </a:r>
          </a:p>
        </p:txBody>
      </p:sp>
      <p:sp>
        <p:nvSpPr>
          <p:cNvPr id="9" name="Freeform 56">
            <a:extLst>
              <a:ext uri="{FF2B5EF4-FFF2-40B4-BE49-F238E27FC236}">
                <a16:creationId xmlns:a16="http://schemas.microsoft.com/office/drawing/2014/main" id="{742FF351-42D5-4718-8931-106E20428782}"/>
              </a:ext>
            </a:extLst>
          </p:cNvPr>
          <p:cNvSpPr/>
          <p:nvPr/>
        </p:nvSpPr>
        <p:spPr>
          <a:xfrm>
            <a:off x="6700161" y="3871944"/>
            <a:ext cx="1106359" cy="1086947"/>
          </a:xfrm>
          <a:custGeom>
            <a:avLst/>
            <a:gdLst/>
            <a:ahLst/>
            <a:cxnLst>
              <a:cxn ang="0">
                <a:pos x="wd2" y="hd2"/>
              </a:cxn>
              <a:cxn ang="5400000">
                <a:pos x="wd2" y="hd2"/>
              </a:cxn>
              <a:cxn ang="10800000">
                <a:pos x="wd2" y="hd2"/>
              </a:cxn>
              <a:cxn ang="16200000">
                <a:pos x="wd2" y="hd2"/>
              </a:cxn>
            </a:cxnLst>
            <a:rect l="0" t="0" r="r" b="b"/>
            <a:pathLst>
              <a:path w="20798" h="20979" extrusionOk="0">
                <a:moveTo>
                  <a:pt x="5197" y="0"/>
                </a:moveTo>
                <a:cubicBezTo>
                  <a:pt x="3995" y="0"/>
                  <a:pt x="2948" y="753"/>
                  <a:pt x="2478" y="1882"/>
                </a:cubicBezTo>
                <a:cubicBezTo>
                  <a:pt x="231" y="7527"/>
                  <a:pt x="232" y="7523"/>
                  <a:pt x="232" y="7523"/>
                </a:cubicBezTo>
                <a:cubicBezTo>
                  <a:pt x="-238" y="8652"/>
                  <a:pt x="24" y="9999"/>
                  <a:pt x="860" y="10859"/>
                </a:cubicBezTo>
                <a:cubicBezTo>
                  <a:pt x="4623" y="14730"/>
                  <a:pt x="4620" y="14729"/>
                  <a:pt x="4620" y="14729"/>
                </a:cubicBezTo>
                <a:lnTo>
                  <a:pt x="9843" y="20096"/>
                </a:lnTo>
                <a:cubicBezTo>
                  <a:pt x="11306" y="21600"/>
                  <a:pt x="13817" y="21121"/>
                  <a:pt x="14653" y="19134"/>
                </a:cubicBezTo>
                <a:cubicBezTo>
                  <a:pt x="17632" y="11669"/>
                  <a:pt x="17630" y="11668"/>
                  <a:pt x="17630" y="11668"/>
                </a:cubicBezTo>
                <a:cubicBezTo>
                  <a:pt x="7044" y="14158"/>
                  <a:pt x="7413" y="14070"/>
                  <a:pt x="7044" y="14156"/>
                </a:cubicBezTo>
                <a:cubicBezTo>
                  <a:pt x="14053" y="12506"/>
                  <a:pt x="17630" y="11663"/>
                  <a:pt x="17630" y="11663"/>
                </a:cubicBezTo>
                <a:lnTo>
                  <a:pt x="17583" y="11586"/>
                </a:lnTo>
                <a:lnTo>
                  <a:pt x="20579" y="4193"/>
                </a:lnTo>
                <a:cubicBezTo>
                  <a:pt x="20579" y="4193"/>
                  <a:pt x="20579" y="4193"/>
                  <a:pt x="20579" y="4140"/>
                </a:cubicBezTo>
                <a:cubicBezTo>
                  <a:pt x="21362" y="2150"/>
                  <a:pt x="19953" y="0"/>
                  <a:pt x="17864" y="0"/>
                </a:cubicBezTo>
                <a:cubicBezTo>
                  <a:pt x="10529" y="0"/>
                  <a:pt x="10528" y="0"/>
                  <a:pt x="10527" y="0"/>
                </a:cubicBezTo>
                <a:cubicBezTo>
                  <a:pt x="10448" y="0"/>
                  <a:pt x="10525" y="0"/>
                  <a:pt x="10448" y="0"/>
                </a:cubicBezTo>
                <a:cubicBezTo>
                  <a:pt x="5353" y="0"/>
                  <a:pt x="5197" y="0"/>
                  <a:pt x="5197" y="0"/>
                </a:cubicBezTo>
                <a:close/>
              </a:path>
            </a:pathLst>
          </a:custGeom>
          <a:gradFill>
            <a:gsLst>
              <a:gs pos="73000">
                <a:schemeClr val="accent1"/>
              </a:gs>
              <a:gs pos="31000">
                <a:schemeClr val="accent1">
                  <a:lumMod val="60000"/>
                  <a:lumOff val="40000"/>
                </a:schemeClr>
              </a:gs>
              <a:gs pos="0">
                <a:schemeClr val="accent1">
                  <a:lumMod val="40000"/>
                  <a:lumOff val="60000"/>
                </a:schemeClr>
              </a:gs>
            </a:gsLst>
            <a:path path="circle">
              <a:fillToRect r="100000" b="100000"/>
            </a:path>
          </a:gradFill>
          <a:ln>
            <a:noFill/>
          </a:ln>
          <a:effectLst>
            <a:outerShdw blurRad="444500" dist="317500" dir="5400000" sx="92000" sy="92000" algn="t" rotWithShape="0">
              <a:schemeClr val="accent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white"/>
              </a:solidFill>
              <a:effectLst/>
              <a:uLnTx/>
              <a:uFillTx/>
              <a:latin typeface="HarmonyOS Sans SC"/>
              <a:cs typeface="+mn-cs"/>
              <a:sym typeface="Poppins Regular"/>
            </a:endParaRPr>
          </a:p>
        </p:txBody>
      </p:sp>
      <p:sp>
        <p:nvSpPr>
          <p:cNvPr id="10" name="E">
            <a:extLst>
              <a:ext uri="{FF2B5EF4-FFF2-40B4-BE49-F238E27FC236}">
                <a16:creationId xmlns:a16="http://schemas.microsoft.com/office/drawing/2014/main" id="{E80A81D9-A60E-4548-8E0E-468F714EFFA1}"/>
              </a:ext>
            </a:extLst>
          </p:cNvPr>
          <p:cNvSpPr txBox="1"/>
          <p:nvPr/>
        </p:nvSpPr>
        <p:spPr>
          <a:xfrm>
            <a:off x="7129942" y="4058402"/>
            <a:ext cx="177934" cy="461601"/>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numCol="1" anchor="ctr">
            <a:spAutoFit/>
          </a:bodyPr>
          <a:lstStyle>
            <a:lvl1pPr defTabSz="914400">
              <a:lnSpc>
                <a:spcPct val="150000"/>
              </a:lnSpc>
              <a:tabLst>
                <a:tab pos="1384300" algn="l"/>
              </a:tabLst>
              <a:defRPr sz="4500" b="0">
                <a:solidFill>
                  <a:srgbClr val="F7F9FF"/>
                </a:solidFill>
                <a:latin typeface="linea-basic-10"/>
                <a:ea typeface="linea-basic-10"/>
                <a:cs typeface="linea-basic-10"/>
                <a:sym typeface="linea-basic-10"/>
              </a:defRPr>
            </a:lvl1pPr>
          </a:lstStyle>
          <a:p>
            <a:pPr marL="0" marR="0" lvl="0" indent="0" algn="ctr" defTabSz="457200" rtl="0" eaLnBrk="1" fontAlgn="auto" latinLnBrk="0" hangingPunct="0">
              <a:lnSpc>
                <a:spcPct val="150000"/>
              </a:lnSpc>
              <a:spcBef>
                <a:spcPts val="0"/>
              </a:spcBef>
              <a:spcAft>
                <a:spcPts val="0"/>
              </a:spcAft>
              <a:buClrTx/>
              <a:buSzTx/>
              <a:buFontTx/>
              <a:buNone/>
              <a:tabLst>
                <a:tab pos="692150" algn="l"/>
              </a:tabLst>
              <a:defRPr/>
            </a:pPr>
            <a:r>
              <a:rPr kumimoji="0" sz="2250" b="0" i="0" u="none" strike="noStrike" kern="0" cap="none" spc="0" normalizeH="0" baseline="0" noProof="0">
                <a:ln>
                  <a:noFill/>
                </a:ln>
                <a:solidFill>
                  <a:prstClr val="white"/>
                </a:solidFill>
                <a:effectLst/>
                <a:uLnTx/>
                <a:uFillTx/>
                <a:latin typeface="HarmonyOS Sans SC Black"/>
                <a:ea typeface="+mj-ea"/>
                <a:sym typeface="linea-basic-10"/>
              </a:rPr>
              <a:t>E</a:t>
            </a:r>
          </a:p>
        </p:txBody>
      </p:sp>
      <p:sp>
        <p:nvSpPr>
          <p:cNvPr id="11" name="Freeform 59">
            <a:extLst>
              <a:ext uri="{FF2B5EF4-FFF2-40B4-BE49-F238E27FC236}">
                <a16:creationId xmlns:a16="http://schemas.microsoft.com/office/drawing/2014/main" id="{38ABF684-526B-4A8A-A11D-2B0580914548}"/>
              </a:ext>
            </a:extLst>
          </p:cNvPr>
          <p:cNvSpPr/>
          <p:nvPr/>
        </p:nvSpPr>
        <p:spPr>
          <a:xfrm>
            <a:off x="6133669" y="4438291"/>
            <a:ext cx="1085241" cy="1111006"/>
          </a:xfrm>
          <a:custGeom>
            <a:avLst/>
            <a:gdLst/>
            <a:ahLst/>
            <a:cxnLst>
              <a:cxn ang="0">
                <a:pos x="wd2" y="hd2"/>
              </a:cxn>
              <a:cxn ang="5400000">
                <a:pos x="wd2" y="hd2"/>
              </a:cxn>
              <a:cxn ang="10800000">
                <a:pos x="wd2" y="hd2"/>
              </a:cxn>
              <a:cxn ang="16200000">
                <a:pos x="wd2" y="hd2"/>
              </a:cxn>
            </a:cxnLst>
            <a:rect l="0" t="0" r="r" b="b"/>
            <a:pathLst>
              <a:path w="20977" h="20957" extrusionOk="0">
                <a:moveTo>
                  <a:pt x="8397" y="14"/>
                </a:moveTo>
                <a:cubicBezTo>
                  <a:pt x="8104" y="43"/>
                  <a:pt x="7812" y="112"/>
                  <a:pt x="7530" y="231"/>
                </a:cubicBezTo>
                <a:cubicBezTo>
                  <a:pt x="1884" y="2488"/>
                  <a:pt x="1885" y="2489"/>
                  <a:pt x="1885" y="2489"/>
                </a:cubicBezTo>
                <a:cubicBezTo>
                  <a:pt x="756" y="2961"/>
                  <a:pt x="0" y="4066"/>
                  <a:pt x="0" y="5273"/>
                </a:cubicBezTo>
                <a:cubicBezTo>
                  <a:pt x="0" y="10628"/>
                  <a:pt x="0" y="10627"/>
                  <a:pt x="0" y="10627"/>
                </a:cubicBezTo>
                <a:cubicBezTo>
                  <a:pt x="38" y="10650"/>
                  <a:pt x="0" y="10627"/>
                  <a:pt x="39" y="10650"/>
                </a:cubicBezTo>
                <a:lnTo>
                  <a:pt x="39" y="17961"/>
                </a:lnTo>
                <a:cubicBezTo>
                  <a:pt x="39" y="20060"/>
                  <a:pt x="2191" y="21528"/>
                  <a:pt x="4179" y="20741"/>
                </a:cubicBezTo>
                <a:cubicBezTo>
                  <a:pt x="4179" y="20688"/>
                  <a:pt x="4232" y="20689"/>
                  <a:pt x="4232" y="20689"/>
                </a:cubicBezTo>
                <a:cubicBezTo>
                  <a:pt x="11563" y="17732"/>
                  <a:pt x="11559" y="17730"/>
                  <a:pt x="11560" y="17730"/>
                </a:cubicBezTo>
                <a:cubicBezTo>
                  <a:pt x="11560" y="17730"/>
                  <a:pt x="11618" y="17768"/>
                  <a:pt x="11618" y="17768"/>
                </a:cubicBezTo>
                <a:cubicBezTo>
                  <a:pt x="11671" y="17768"/>
                  <a:pt x="11671" y="17768"/>
                  <a:pt x="11671" y="17768"/>
                </a:cubicBezTo>
                <a:cubicBezTo>
                  <a:pt x="11681" y="17725"/>
                  <a:pt x="11670" y="17767"/>
                  <a:pt x="11680" y="17725"/>
                </a:cubicBezTo>
                <a:cubicBezTo>
                  <a:pt x="19046" y="14695"/>
                  <a:pt x="19075" y="14682"/>
                  <a:pt x="19075" y="14682"/>
                </a:cubicBezTo>
                <a:cubicBezTo>
                  <a:pt x="19129" y="14682"/>
                  <a:pt x="19128" y="14682"/>
                  <a:pt x="19128" y="14682"/>
                </a:cubicBezTo>
                <a:cubicBezTo>
                  <a:pt x="21114" y="13894"/>
                  <a:pt x="21600" y="11322"/>
                  <a:pt x="20097" y="9851"/>
                </a:cubicBezTo>
                <a:cubicBezTo>
                  <a:pt x="14729" y="4597"/>
                  <a:pt x="14727" y="4596"/>
                  <a:pt x="14727" y="4596"/>
                </a:cubicBezTo>
                <a:cubicBezTo>
                  <a:pt x="14719" y="4629"/>
                  <a:pt x="14725" y="4596"/>
                  <a:pt x="14717" y="4629"/>
                </a:cubicBezTo>
                <a:lnTo>
                  <a:pt x="10808" y="861"/>
                </a:lnTo>
                <a:cubicBezTo>
                  <a:pt x="10163" y="231"/>
                  <a:pt x="9277" y="-72"/>
                  <a:pt x="8397" y="14"/>
                </a:cubicBezTo>
                <a:close/>
              </a:path>
            </a:pathLst>
          </a:custGeom>
          <a:gradFill>
            <a:gsLst>
              <a:gs pos="73000">
                <a:schemeClr val="accent1"/>
              </a:gs>
              <a:gs pos="31000">
                <a:schemeClr val="accent1">
                  <a:lumMod val="60000"/>
                  <a:lumOff val="40000"/>
                </a:schemeClr>
              </a:gs>
              <a:gs pos="0">
                <a:schemeClr val="accent1">
                  <a:lumMod val="40000"/>
                  <a:lumOff val="60000"/>
                </a:schemeClr>
              </a:gs>
            </a:gsLst>
            <a:path path="circle">
              <a:fillToRect r="100000" b="100000"/>
            </a:path>
          </a:gradFill>
          <a:ln>
            <a:noFill/>
          </a:ln>
          <a:effectLst>
            <a:outerShdw blurRad="444500" dist="317500" dir="5400000" sx="92000" sy="92000" algn="t" rotWithShape="0">
              <a:schemeClr val="accent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white"/>
              </a:solidFill>
              <a:effectLst/>
              <a:uLnTx/>
              <a:uFillTx/>
              <a:latin typeface="HarmonyOS Sans SC"/>
              <a:cs typeface="+mn-cs"/>
              <a:sym typeface="Poppins Regular"/>
            </a:endParaRPr>
          </a:p>
        </p:txBody>
      </p:sp>
      <p:sp>
        <p:nvSpPr>
          <p:cNvPr id="12" name="C">
            <a:extLst>
              <a:ext uri="{FF2B5EF4-FFF2-40B4-BE49-F238E27FC236}">
                <a16:creationId xmlns:a16="http://schemas.microsoft.com/office/drawing/2014/main" id="{565EF544-59E1-4DAA-9258-9312E372151B}"/>
              </a:ext>
            </a:extLst>
          </p:cNvPr>
          <p:cNvSpPr txBox="1"/>
          <p:nvPr/>
        </p:nvSpPr>
        <p:spPr>
          <a:xfrm>
            <a:off x="6483653" y="4728090"/>
            <a:ext cx="200376" cy="461601"/>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numCol="1" anchor="ctr">
            <a:spAutoFit/>
          </a:bodyPr>
          <a:lstStyle>
            <a:lvl1pPr defTabSz="914400">
              <a:lnSpc>
                <a:spcPct val="150000"/>
              </a:lnSpc>
              <a:tabLst>
                <a:tab pos="1384300" algn="l"/>
              </a:tabLst>
              <a:defRPr sz="4500" b="0">
                <a:solidFill>
                  <a:srgbClr val="F7F9FF"/>
                </a:solidFill>
                <a:latin typeface="linea-basic-10"/>
                <a:ea typeface="linea-basic-10"/>
                <a:cs typeface="linea-basic-10"/>
                <a:sym typeface="linea-basic-10"/>
              </a:defRPr>
            </a:lvl1pPr>
          </a:lstStyle>
          <a:p>
            <a:pPr marL="0" marR="0" lvl="0" indent="0" algn="ctr" defTabSz="457200" rtl="0" eaLnBrk="1" fontAlgn="auto" latinLnBrk="0" hangingPunct="0">
              <a:lnSpc>
                <a:spcPct val="150000"/>
              </a:lnSpc>
              <a:spcBef>
                <a:spcPts val="0"/>
              </a:spcBef>
              <a:spcAft>
                <a:spcPts val="0"/>
              </a:spcAft>
              <a:buClrTx/>
              <a:buSzTx/>
              <a:buFontTx/>
              <a:buNone/>
              <a:tabLst>
                <a:tab pos="692150" algn="l"/>
              </a:tabLst>
              <a:defRPr/>
            </a:pPr>
            <a:r>
              <a:rPr kumimoji="0" sz="2250" b="0" i="0" u="none" strike="noStrike" kern="0" cap="none" spc="0" normalizeH="0" baseline="0" noProof="0" dirty="0">
                <a:ln>
                  <a:noFill/>
                </a:ln>
                <a:solidFill>
                  <a:prstClr val="white"/>
                </a:solidFill>
                <a:effectLst/>
                <a:uLnTx/>
                <a:uFillTx/>
                <a:latin typeface="HarmonyOS Sans SC Black"/>
                <a:ea typeface="+mj-ea"/>
                <a:sym typeface="linea-basic-10"/>
              </a:rPr>
              <a:t>C</a:t>
            </a:r>
          </a:p>
        </p:txBody>
      </p:sp>
      <p:sp>
        <p:nvSpPr>
          <p:cNvPr id="13" name="Freeform 54">
            <a:extLst>
              <a:ext uri="{FF2B5EF4-FFF2-40B4-BE49-F238E27FC236}">
                <a16:creationId xmlns:a16="http://schemas.microsoft.com/office/drawing/2014/main" id="{B44E2092-4469-4283-A299-4C213030C10E}"/>
              </a:ext>
            </a:extLst>
          </p:cNvPr>
          <p:cNvSpPr/>
          <p:nvPr/>
        </p:nvSpPr>
        <p:spPr>
          <a:xfrm>
            <a:off x="4979847" y="4438291"/>
            <a:ext cx="1081002" cy="1111006"/>
          </a:xfrm>
          <a:custGeom>
            <a:avLst/>
            <a:gdLst/>
            <a:ahLst/>
            <a:cxnLst>
              <a:cxn ang="0">
                <a:pos x="wd2" y="hd2"/>
              </a:cxn>
              <a:cxn ang="5400000">
                <a:pos x="wd2" y="hd2"/>
              </a:cxn>
              <a:cxn ang="10800000">
                <a:pos x="wd2" y="hd2"/>
              </a:cxn>
              <a:cxn ang="16200000">
                <a:pos x="wd2" y="hd2"/>
              </a:cxn>
            </a:cxnLst>
            <a:rect l="0" t="0" r="r" b="b"/>
            <a:pathLst>
              <a:path w="20975" h="20957" extrusionOk="0">
                <a:moveTo>
                  <a:pt x="12560" y="14"/>
                </a:moveTo>
                <a:cubicBezTo>
                  <a:pt x="11676" y="-72"/>
                  <a:pt x="10775" y="231"/>
                  <a:pt x="10087" y="861"/>
                </a:cubicBezTo>
                <a:cubicBezTo>
                  <a:pt x="6207" y="4693"/>
                  <a:pt x="6207" y="4695"/>
                  <a:pt x="6207" y="4695"/>
                </a:cubicBezTo>
                <a:cubicBezTo>
                  <a:pt x="6214" y="4728"/>
                  <a:pt x="6208" y="4695"/>
                  <a:pt x="6216" y="4728"/>
                </a:cubicBezTo>
                <a:lnTo>
                  <a:pt x="884" y="9865"/>
                </a:lnTo>
                <a:cubicBezTo>
                  <a:pt x="-625" y="11333"/>
                  <a:pt x="-137" y="13900"/>
                  <a:pt x="1856" y="14686"/>
                </a:cubicBezTo>
                <a:cubicBezTo>
                  <a:pt x="9268" y="17697"/>
                  <a:pt x="9264" y="17697"/>
                  <a:pt x="9265" y="17697"/>
                </a:cubicBezTo>
                <a:cubicBezTo>
                  <a:pt x="9265" y="17697"/>
                  <a:pt x="9279" y="17768"/>
                  <a:pt x="9279" y="17768"/>
                </a:cubicBezTo>
                <a:cubicBezTo>
                  <a:pt x="9342" y="17729"/>
                  <a:pt x="9280" y="17768"/>
                  <a:pt x="9342" y="17730"/>
                </a:cubicBezTo>
                <a:cubicBezTo>
                  <a:pt x="16611" y="20629"/>
                  <a:pt x="16770" y="20689"/>
                  <a:pt x="16770" y="20689"/>
                </a:cubicBezTo>
                <a:cubicBezTo>
                  <a:pt x="16770" y="20689"/>
                  <a:pt x="16769" y="20688"/>
                  <a:pt x="16823" y="20741"/>
                </a:cubicBezTo>
                <a:cubicBezTo>
                  <a:pt x="18820" y="21528"/>
                  <a:pt x="20975" y="20060"/>
                  <a:pt x="20975" y="17961"/>
                </a:cubicBezTo>
                <a:lnTo>
                  <a:pt x="20975" y="10627"/>
                </a:lnTo>
                <a:lnTo>
                  <a:pt x="20975" y="10561"/>
                </a:lnTo>
                <a:lnTo>
                  <a:pt x="20975" y="5273"/>
                </a:lnTo>
                <a:cubicBezTo>
                  <a:pt x="20975" y="4066"/>
                  <a:pt x="20225" y="2961"/>
                  <a:pt x="19093" y="2489"/>
                </a:cubicBezTo>
                <a:cubicBezTo>
                  <a:pt x="13433" y="231"/>
                  <a:pt x="13431" y="231"/>
                  <a:pt x="13431" y="231"/>
                </a:cubicBezTo>
                <a:cubicBezTo>
                  <a:pt x="13148" y="112"/>
                  <a:pt x="12855" y="43"/>
                  <a:pt x="12560" y="14"/>
                </a:cubicBezTo>
                <a:close/>
              </a:path>
            </a:pathLst>
          </a:custGeom>
          <a:gradFill>
            <a:gsLst>
              <a:gs pos="73000">
                <a:schemeClr val="accent1"/>
              </a:gs>
              <a:gs pos="31000">
                <a:schemeClr val="accent1">
                  <a:lumMod val="60000"/>
                  <a:lumOff val="40000"/>
                </a:schemeClr>
              </a:gs>
              <a:gs pos="0">
                <a:schemeClr val="accent1">
                  <a:lumMod val="40000"/>
                  <a:lumOff val="60000"/>
                </a:schemeClr>
              </a:gs>
            </a:gsLst>
            <a:path path="circle">
              <a:fillToRect r="100000" b="100000"/>
            </a:path>
          </a:gradFill>
          <a:ln>
            <a:noFill/>
          </a:ln>
          <a:effectLst>
            <a:outerShdw blurRad="444500" dist="317500" dir="5400000" sx="92000" sy="92000" algn="t" rotWithShape="0">
              <a:schemeClr val="accent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white"/>
              </a:solidFill>
              <a:effectLst/>
              <a:uLnTx/>
              <a:uFillTx/>
              <a:latin typeface="HarmonyOS Sans SC"/>
              <a:cs typeface="+mn-cs"/>
              <a:sym typeface="Poppins Regular"/>
            </a:endParaRPr>
          </a:p>
        </p:txBody>
      </p:sp>
      <p:sp>
        <p:nvSpPr>
          <p:cNvPr id="14" name="^">
            <a:extLst>
              <a:ext uri="{FF2B5EF4-FFF2-40B4-BE49-F238E27FC236}">
                <a16:creationId xmlns:a16="http://schemas.microsoft.com/office/drawing/2014/main" id="{45E0C9E5-A949-41CC-8594-9ADD0E5AD526}"/>
              </a:ext>
            </a:extLst>
          </p:cNvPr>
          <p:cNvSpPr txBox="1"/>
          <p:nvPr/>
        </p:nvSpPr>
        <p:spPr>
          <a:xfrm>
            <a:off x="5560727" y="4779598"/>
            <a:ext cx="161904" cy="461601"/>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numCol="1" anchor="ctr">
            <a:spAutoFit/>
          </a:bodyPr>
          <a:lstStyle>
            <a:lvl1pPr defTabSz="914400">
              <a:lnSpc>
                <a:spcPct val="150000"/>
              </a:lnSpc>
              <a:tabLst>
                <a:tab pos="1384300" algn="l"/>
              </a:tabLst>
              <a:defRPr sz="4500" b="0">
                <a:solidFill>
                  <a:srgbClr val="F7F9FF"/>
                </a:solidFill>
                <a:latin typeface="linea-basic-10"/>
                <a:ea typeface="linea-basic-10"/>
                <a:cs typeface="linea-basic-10"/>
                <a:sym typeface="linea-basic-10"/>
              </a:defRPr>
            </a:lvl1pPr>
          </a:lstStyle>
          <a:p>
            <a:pPr marL="0" marR="0" lvl="0" indent="0" algn="ctr" defTabSz="457200" rtl="0" eaLnBrk="1" fontAlgn="auto" latinLnBrk="0" hangingPunct="0">
              <a:lnSpc>
                <a:spcPct val="150000"/>
              </a:lnSpc>
              <a:spcBef>
                <a:spcPts val="0"/>
              </a:spcBef>
              <a:spcAft>
                <a:spcPts val="0"/>
              </a:spcAft>
              <a:buClrTx/>
              <a:buSzTx/>
              <a:buFontTx/>
              <a:buNone/>
              <a:tabLst>
                <a:tab pos="692150" algn="l"/>
              </a:tabLst>
              <a:defRPr/>
            </a:pPr>
            <a:r>
              <a:rPr kumimoji="0" sz="2250" b="0" i="0" u="none" strike="noStrike" kern="0" cap="none" spc="0" normalizeH="0" baseline="0" noProof="0">
                <a:ln>
                  <a:noFill/>
                </a:ln>
                <a:solidFill>
                  <a:prstClr val="white"/>
                </a:solidFill>
                <a:effectLst/>
                <a:uLnTx/>
                <a:uFillTx/>
                <a:latin typeface="HarmonyOS Sans SC Black"/>
                <a:ea typeface="+mj-ea"/>
                <a:sym typeface="linea-basic-10"/>
              </a:rPr>
              <a:t>^</a:t>
            </a:r>
          </a:p>
        </p:txBody>
      </p:sp>
      <p:sp>
        <p:nvSpPr>
          <p:cNvPr id="15" name="Freeform 47">
            <a:extLst>
              <a:ext uri="{FF2B5EF4-FFF2-40B4-BE49-F238E27FC236}">
                <a16:creationId xmlns:a16="http://schemas.microsoft.com/office/drawing/2014/main" id="{9FC0EDBD-46BD-4694-8D8C-8076E7BAC9F6}"/>
              </a:ext>
            </a:extLst>
          </p:cNvPr>
          <p:cNvSpPr/>
          <p:nvPr/>
        </p:nvSpPr>
        <p:spPr>
          <a:xfrm>
            <a:off x="4381501" y="3871944"/>
            <a:ext cx="1114128" cy="1086947"/>
          </a:xfrm>
          <a:custGeom>
            <a:avLst/>
            <a:gdLst/>
            <a:ahLst/>
            <a:cxnLst>
              <a:cxn ang="0">
                <a:pos x="wd2" y="hd2"/>
              </a:cxn>
              <a:cxn ang="5400000">
                <a:pos x="wd2" y="hd2"/>
              </a:cxn>
              <a:cxn ang="10800000">
                <a:pos x="wd2" y="hd2"/>
              </a:cxn>
              <a:cxn ang="16200000">
                <a:pos x="wd2" y="hd2"/>
              </a:cxn>
            </a:cxnLst>
            <a:rect l="0" t="0" r="r" b="b"/>
            <a:pathLst>
              <a:path w="20798" h="20979" extrusionOk="0">
                <a:moveTo>
                  <a:pt x="2964" y="0"/>
                </a:moveTo>
                <a:cubicBezTo>
                  <a:pt x="887" y="0"/>
                  <a:pt x="-566" y="2150"/>
                  <a:pt x="213" y="4140"/>
                </a:cubicBezTo>
                <a:cubicBezTo>
                  <a:pt x="265" y="4193"/>
                  <a:pt x="264" y="4193"/>
                  <a:pt x="264" y="4193"/>
                </a:cubicBezTo>
                <a:cubicBezTo>
                  <a:pt x="3220" y="11652"/>
                  <a:pt x="3221" y="11653"/>
                  <a:pt x="3221" y="11653"/>
                </a:cubicBezTo>
                <a:cubicBezTo>
                  <a:pt x="3221" y="11653"/>
                  <a:pt x="3211" y="11663"/>
                  <a:pt x="3211" y="11663"/>
                </a:cubicBezTo>
                <a:cubicBezTo>
                  <a:pt x="3225" y="11666"/>
                  <a:pt x="3211" y="11665"/>
                  <a:pt x="3225" y="11668"/>
                </a:cubicBezTo>
                <a:cubicBezTo>
                  <a:pt x="13717" y="14153"/>
                  <a:pt x="13378" y="14070"/>
                  <a:pt x="13742" y="14156"/>
                </a:cubicBezTo>
                <a:lnTo>
                  <a:pt x="3211" y="11668"/>
                </a:lnTo>
                <a:cubicBezTo>
                  <a:pt x="6226" y="19133"/>
                  <a:pt x="6228" y="19134"/>
                  <a:pt x="6228" y="19134"/>
                </a:cubicBezTo>
                <a:cubicBezTo>
                  <a:pt x="7008" y="21121"/>
                  <a:pt x="9554" y="21600"/>
                  <a:pt x="11009" y="20096"/>
                </a:cubicBezTo>
                <a:cubicBezTo>
                  <a:pt x="16152" y="14728"/>
                  <a:pt x="16148" y="14729"/>
                  <a:pt x="16148" y="14729"/>
                </a:cubicBezTo>
                <a:lnTo>
                  <a:pt x="16153" y="14729"/>
                </a:lnTo>
                <a:lnTo>
                  <a:pt x="19943" y="10859"/>
                </a:lnTo>
                <a:cubicBezTo>
                  <a:pt x="20774" y="9999"/>
                  <a:pt x="21034" y="8652"/>
                  <a:pt x="20566" y="7523"/>
                </a:cubicBezTo>
                <a:cubicBezTo>
                  <a:pt x="18332" y="1879"/>
                  <a:pt x="18332" y="1882"/>
                  <a:pt x="18332" y="1882"/>
                </a:cubicBezTo>
                <a:cubicBezTo>
                  <a:pt x="17864" y="753"/>
                  <a:pt x="16775" y="0"/>
                  <a:pt x="15581" y="0"/>
                </a:cubicBezTo>
                <a:cubicBezTo>
                  <a:pt x="10290" y="0"/>
                  <a:pt x="10287" y="0"/>
                  <a:pt x="10287" y="0"/>
                </a:cubicBezTo>
                <a:lnTo>
                  <a:pt x="10278" y="0"/>
                </a:lnTo>
                <a:lnTo>
                  <a:pt x="2964" y="0"/>
                </a:lnTo>
                <a:close/>
              </a:path>
            </a:pathLst>
          </a:custGeom>
          <a:gradFill>
            <a:gsLst>
              <a:gs pos="73000">
                <a:schemeClr val="accent1"/>
              </a:gs>
              <a:gs pos="31000">
                <a:schemeClr val="accent1">
                  <a:lumMod val="60000"/>
                  <a:lumOff val="40000"/>
                </a:schemeClr>
              </a:gs>
              <a:gs pos="0">
                <a:schemeClr val="accent1">
                  <a:lumMod val="40000"/>
                  <a:lumOff val="60000"/>
                </a:schemeClr>
              </a:gs>
            </a:gsLst>
            <a:path path="circle">
              <a:fillToRect r="100000" b="100000"/>
            </a:path>
          </a:gradFill>
          <a:ln>
            <a:noFill/>
          </a:ln>
          <a:effectLst>
            <a:outerShdw blurRad="444500" dist="317500" dir="5400000" sx="92000" sy="92000" algn="t" rotWithShape="0">
              <a:schemeClr val="accent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white"/>
              </a:solidFill>
              <a:effectLst/>
              <a:uLnTx/>
              <a:uFillTx/>
              <a:latin typeface="HarmonyOS Sans SC"/>
              <a:cs typeface="+mn-cs"/>
              <a:sym typeface="Poppins Regular"/>
            </a:endParaRPr>
          </a:p>
        </p:txBody>
      </p:sp>
      <p:sp>
        <p:nvSpPr>
          <p:cNvPr id="16" name="6">
            <a:extLst>
              <a:ext uri="{FF2B5EF4-FFF2-40B4-BE49-F238E27FC236}">
                <a16:creationId xmlns:a16="http://schemas.microsoft.com/office/drawing/2014/main" id="{E87150E1-1E9A-49F5-B3D9-789A0DDFA46D}"/>
              </a:ext>
            </a:extLst>
          </p:cNvPr>
          <p:cNvSpPr txBox="1"/>
          <p:nvPr/>
        </p:nvSpPr>
        <p:spPr>
          <a:xfrm>
            <a:off x="4890881" y="4058402"/>
            <a:ext cx="177934" cy="461601"/>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numCol="1" anchor="ctr">
            <a:spAutoFit/>
          </a:bodyPr>
          <a:lstStyle>
            <a:lvl1pPr defTabSz="914400">
              <a:lnSpc>
                <a:spcPct val="150000"/>
              </a:lnSpc>
              <a:tabLst>
                <a:tab pos="1384300" algn="l"/>
              </a:tabLst>
              <a:defRPr sz="4500" b="0">
                <a:solidFill>
                  <a:srgbClr val="F7F9FF"/>
                </a:solidFill>
                <a:latin typeface="linea-basic-10"/>
                <a:ea typeface="linea-basic-10"/>
                <a:cs typeface="linea-basic-10"/>
                <a:sym typeface="linea-basic-10"/>
              </a:defRPr>
            </a:lvl1pPr>
          </a:lstStyle>
          <a:p>
            <a:pPr marL="0" marR="0" lvl="0" indent="0" algn="ctr" defTabSz="457200" rtl="0" eaLnBrk="1" fontAlgn="auto" latinLnBrk="0" hangingPunct="0">
              <a:lnSpc>
                <a:spcPct val="150000"/>
              </a:lnSpc>
              <a:spcBef>
                <a:spcPts val="0"/>
              </a:spcBef>
              <a:spcAft>
                <a:spcPts val="0"/>
              </a:spcAft>
              <a:buClrTx/>
              <a:buSzTx/>
              <a:buFontTx/>
              <a:buNone/>
              <a:tabLst>
                <a:tab pos="692150" algn="l"/>
              </a:tabLst>
              <a:defRPr/>
            </a:pPr>
            <a:r>
              <a:rPr kumimoji="0" sz="2250" b="0" i="0" u="none" strike="noStrike" kern="0" cap="none" spc="0" normalizeH="0" baseline="0" noProof="0">
                <a:ln>
                  <a:noFill/>
                </a:ln>
                <a:solidFill>
                  <a:prstClr val="white"/>
                </a:solidFill>
                <a:effectLst/>
                <a:uLnTx/>
                <a:uFillTx/>
                <a:latin typeface="HarmonyOS Sans SC Black"/>
                <a:ea typeface="+mj-ea"/>
                <a:sym typeface="linea-basic-10"/>
              </a:rPr>
              <a:t>6</a:t>
            </a:r>
          </a:p>
        </p:txBody>
      </p:sp>
      <p:sp>
        <p:nvSpPr>
          <p:cNvPr id="17" name="Freeform 67">
            <a:extLst>
              <a:ext uri="{FF2B5EF4-FFF2-40B4-BE49-F238E27FC236}">
                <a16:creationId xmlns:a16="http://schemas.microsoft.com/office/drawing/2014/main" id="{ABF8CA90-6426-489D-A39D-F4C104DEA607}"/>
              </a:ext>
            </a:extLst>
          </p:cNvPr>
          <p:cNvSpPr/>
          <p:nvPr/>
        </p:nvSpPr>
        <p:spPr>
          <a:xfrm>
            <a:off x="4381500" y="2713141"/>
            <a:ext cx="1114129" cy="1086980"/>
          </a:xfrm>
          <a:custGeom>
            <a:avLst/>
            <a:gdLst/>
            <a:ahLst/>
            <a:cxnLst>
              <a:cxn ang="0">
                <a:pos x="wd2" y="hd2"/>
              </a:cxn>
              <a:cxn ang="5400000">
                <a:pos x="wd2" y="hd2"/>
              </a:cxn>
              <a:cxn ang="10800000">
                <a:pos x="wd2" y="hd2"/>
              </a:cxn>
              <a:cxn ang="16200000">
                <a:pos x="wd2" y="hd2"/>
              </a:cxn>
            </a:cxnLst>
            <a:rect l="0" t="0" r="r" b="b"/>
            <a:pathLst>
              <a:path w="20798" h="21551" extrusionOk="0">
                <a:moveTo>
                  <a:pt x="9058" y="3"/>
                </a:moveTo>
                <a:cubicBezTo>
                  <a:pt x="7890" y="-49"/>
                  <a:pt x="6710" y="621"/>
                  <a:pt x="6223" y="1897"/>
                </a:cubicBezTo>
                <a:cubicBezTo>
                  <a:pt x="6223" y="1897"/>
                  <a:pt x="6223" y="1896"/>
                  <a:pt x="6223" y="1951"/>
                </a:cubicBezTo>
                <a:cubicBezTo>
                  <a:pt x="3212" y="9564"/>
                  <a:pt x="3211" y="9566"/>
                  <a:pt x="3211" y="9566"/>
                </a:cubicBezTo>
                <a:cubicBezTo>
                  <a:pt x="16190" y="6421"/>
                  <a:pt x="16190" y="6421"/>
                  <a:pt x="16190" y="6421"/>
                </a:cubicBezTo>
                <a:lnTo>
                  <a:pt x="11000" y="903"/>
                </a:lnTo>
                <a:cubicBezTo>
                  <a:pt x="10455" y="324"/>
                  <a:pt x="9760" y="35"/>
                  <a:pt x="9058" y="3"/>
                </a:cubicBezTo>
                <a:close/>
                <a:moveTo>
                  <a:pt x="3211" y="9566"/>
                </a:moveTo>
                <a:cubicBezTo>
                  <a:pt x="3211" y="9621"/>
                  <a:pt x="3211" y="9625"/>
                  <a:pt x="3211" y="9625"/>
                </a:cubicBezTo>
                <a:cubicBezTo>
                  <a:pt x="3220" y="9640"/>
                  <a:pt x="3212" y="9625"/>
                  <a:pt x="3221" y="9640"/>
                </a:cubicBezTo>
                <a:cubicBezTo>
                  <a:pt x="276" y="17216"/>
                  <a:pt x="264" y="17244"/>
                  <a:pt x="264" y="17244"/>
                </a:cubicBezTo>
                <a:cubicBezTo>
                  <a:pt x="264" y="17244"/>
                  <a:pt x="265" y="17299"/>
                  <a:pt x="213" y="17299"/>
                </a:cubicBezTo>
                <a:cubicBezTo>
                  <a:pt x="-566" y="19342"/>
                  <a:pt x="887" y="21551"/>
                  <a:pt x="2964" y="21551"/>
                </a:cubicBezTo>
                <a:cubicBezTo>
                  <a:pt x="10279" y="21551"/>
                  <a:pt x="10278" y="21551"/>
                  <a:pt x="10278" y="21551"/>
                </a:cubicBezTo>
                <a:cubicBezTo>
                  <a:pt x="10278" y="21551"/>
                  <a:pt x="10287" y="21551"/>
                  <a:pt x="10287" y="21551"/>
                </a:cubicBezTo>
                <a:lnTo>
                  <a:pt x="15581" y="21551"/>
                </a:lnTo>
                <a:cubicBezTo>
                  <a:pt x="16775" y="21551"/>
                  <a:pt x="17864" y="20777"/>
                  <a:pt x="18332" y="19618"/>
                </a:cubicBezTo>
                <a:cubicBezTo>
                  <a:pt x="20566" y="13820"/>
                  <a:pt x="20566" y="13818"/>
                  <a:pt x="20566" y="13818"/>
                </a:cubicBezTo>
                <a:cubicBezTo>
                  <a:pt x="21034" y="12658"/>
                  <a:pt x="20774" y="11334"/>
                  <a:pt x="19943" y="10451"/>
                </a:cubicBezTo>
                <a:cubicBezTo>
                  <a:pt x="16202" y="6420"/>
                  <a:pt x="16204" y="6421"/>
                  <a:pt x="16204" y="6421"/>
                </a:cubicBezTo>
                <a:cubicBezTo>
                  <a:pt x="3215" y="9569"/>
                  <a:pt x="3211" y="9566"/>
                  <a:pt x="3211" y="9566"/>
                </a:cubicBezTo>
                <a:close/>
              </a:path>
            </a:pathLst>
          </a:custGeom>
          <a:gradFill>
            <a:gsLst>
              <a:gs pos="73000">
                <a:schemeClr val="accent1"/>
              </a:gs>
              <a:gs pos="31000">
                <a:schemeClr val="accent1">
                  <a:lumMod val="60000"/>
                  <a:lumOff val="40000"/>
                </a:schemeClr>
              </a:gs>
              <a:gs pos="0">
                <a:schemeClr val="accent1">
                  <a:lumMod val="40000"/>
                  <a:lumOff val="60000"/>
                </a:schemeClr>
              </a:gs>
            </a:gsLst>
            <a:path path="circle">
              <a:fillToRect r="100000" b="100000"/>
            </a:path>
          </a:gradFill>
          <a:ln>
            <a:noFill/>
          </a:ln>
          <a:effectLst>
            <a:outerShdw blurRad="444500" dist="317500" dir="5400000" sx="92000" sy="92000" algn="t" rotWithShape="0">
              <a:schemeClr val="accent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white"/>
              </a:solidFill>
              <a:effectLst/>
              <a:uLnTx/>
              <a:uFillTx/>
              <a:latin typeface="HarmonyOS Sans SC"/>
              <a:cs typeface="+mn-cs"/>
              <a:sym typeface="Poppins Regular"/>
            </a:endParaRPr>
          </a:p>
        </p:txBody>
      </p:sp>
      <p:sp>
        <p:nvSpPr>
          <p:cNvPr id="18" name="-">
            <a:extLst>
              <a:ext uri="{FF2B5EF4-FFF2-40B4-BE49-F238E27FC236}">
                <a16:creationId xmlns:a16="http://schemas.microsoft.com/office/drawing/2014/main" id="{AD4E608B-C040-46ED-9215-9A5E6F86844B}"/>
              </a:ext>
            </a:extLst>
          </p:cNvPr>
          <p:cNvSpPr txBox="1"/>
          <p:nvPr/>
        </p:nvSpPr>
        <p:spPr>
          <a:xfrm>
            <a:off x="4867231" y="3140914"/>
            <a:ext cx="142668" cy="461601"/>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numCol="1" anchor="ctr">
            <a:spAutoFit/>
          </a:bodyPr>
          <a:lstStyle>
            <a:lvl1pPr defTabSz="914400">
              <a:lnSpc>
                <a:spcPct val="150000"/>
              </a:lnSpc>
              <a:tabLst>
                <a:tab pos="1384300" algn="l"/>
              </a:tabLst>
              <a:defRPr sz="4500" b="0">
                <a:solidFill>
                  <a:srgbClr val="F7F9FF"/>
                </a:solidFill>
                <a:latin typeface="linea-basic-10"/>
                <a:ea typeface="linea-basic-10"/>
                <a:cs typeface="linea-basic-10"/>
                <a:sym typeface="linea-basic-10"/>
              </a:defRPr>
            </a:lvl1pPr>
          </a:lstStyle>
          <a:p>
            <a:pPr marL="0" marR="0" lvl="0" indent="0" algn="ctr" defTabSz="457200" rtl="0" eaLnBrk="1" fontAlgn="auto" latinLnBrk="0" hangingPunct="0">
              <a:lnSpc>
                <a:spcPct val="150000"/>
              </a:lnSpc>
              <a:spcBef>
                <a:spcPts val="0"/>
              </a:spcBef>
              <a:spcAft>
                <a:spcPts val="0"/>
              </a:spcAft>
              <a:buClrTx/>
              <a:buSzTx/>
              <a:buFontTx/>
              <a:buNone/>
              <a:tabLst>
                <a:tab pos="692150" algn="l"/>
              </a:tabLst>
              <a:defRPr/>
            </a:pPr>
            <a:r>
              <a:rPr kumimoji="0" sz="2250" b="0" i="0" u="none" strike="noStrike" kern="0" cap="none" spc="0" normalizeH="0" baseline="0" noProof="0">
                <a:ln>
                  <a:noFill/>
                </a:ln>
                <a:solidFill>
                  <a:prstClr val="white"/>
                </a:solidFill>
                <a:effectLst/>
                <a:uLnTx/>
                <a:uFillTx/>
                <a:latin typeface="HarmonyOS Sans SC Black"/>
                <a:ea typeface="+mj-ea"/>
                <a:sym typeface="linea-basic-10"/>
              </a:rPr>
              <a:t>-</a:t>
            </a:r>
          </a:p>
        </p:txBody>
      </p:sp>
      <p:grpSp>
        <p:nvGrpSpPr>
          <p:cNvPr id="41" name="组合 40">
            <a:extLst>
              <a:ext uri="{FF2B5EF4-FFF2-40B4-BE49-F238E27FC236}">
                <a16:creationId xmlns:a16="http://schemas.microsoft.com/office/drawing/2014/main" id="{80F672E3-5F04-4A7C-BB1E-6DC9B0F8E670}"/>
              </a:ext>
            </a:extLst>
          </p:cNvPr>
          <p:cNvGrpSpPr/>
          <p:nvPr/>
        </p:nvGrpSpPr>
        <p:grpSpPr>
          <a:xfrm>
            <a:off x="734314" y="2035354"/>
            <a:ext cx="3132138" cy="542043"/>
            <a:chOff x="425268" y="2176641"/>
            <a:chExt cx="3132138" cy="542043"/>
          </a:xfrm>
        </p:grpSpPr>
        <p:sp>
          <p:nvSpPr>
            <p:cNvPr id="42" name="TextBox 48">
              <a:extLst>
                <a:ext uri="{FF2B5EF4-FFF2-40B4-BE49-F238E27FC236}">
                  <a16:creationId xmlns:a16="http://schemas.microsoft.com/office/drawing/2014/main" id="{B776AE8F-AB9E-4376-A225-3F3DC7BEF847}"/>
                </a:ext>
              </a:extLst>
            </p:cNvPr>
            <p:cNvSpPr txBox="1"/>
            <p:nvPr/>
          </p:nvSpPr>
          <p:spPr>
            <a:xfrm>
              <a:off x="1404756" y="2176641"/>
              <a:ext cx="2152650" cy="326628"/>
            </a:xfrm>
            <a:prstGeom prst="rect">
              <a:avLst/>
            </a:prstGeom>
            <a:noFill/>
          </p:spPr>
          <p:txBody>
            <a:bodyPr wrap="square" lIns="0" tIns="0" rIns="0" bIns="0" rtlCol="0">
              <a:spAutoFit/>
            </a:bodyPr>
            <a:lstStyle/>
            <a:p>
              <a:pPr marL="0" marR="0" lvl="0" indent="0" algn="r" defTabSz="457200" rtl="0" eaLnBrk="1" fontAlgn="base" latinLnBrk="0" hangingPunct="1">
                <a:lnSpc>
                  <a:spcPct val="130000"/>
                </a:lnSpc>
                <a:spcBef>
                  <a:spcPts val="1000"/>
                </a:spcBef>
                <a:spcAft>
                  <a:spcPts val="0"/>
                </a:spcAft>
                <a:buClrTx/>
                <a:buSzTx/>
                <a:buFontTx/>
                <a:buNone/>
                <a:tabLst/>
                <a:defRPr/>
              </a:pPr>
              <a:r>
                <a:rPr kumimoji="0" lang="en-US" sz="1800" b="1" i="0" u="none" strike="noStrike" kern="1200" cap="none" spc="0" normalizeH="0" baseline="0" noProof="0" dirty="0">
                  <a:ln>
                    <a:noFill/>
                  </a:ln>
                  <a:solidFill>
                    <a:schemeClr val="accent1"/>
                  </a:solidFill>
                  <a:effectLst/>
                  <a:uLnTx/>
                  <a:uFillTx/>
                  <a:latin typeface="HarmonyOS Sans SC"/>
                  <a:cs typeface="+mn-cs"/>
                </a:rPr>
                <a:t>Analysis</a:t>
              </a:r>
            </a:p>
          </p:txBody>
        </p:sp>
        <p:sp>
          <p:nvSpPr>
            <p:cNvPr id="43" name="TextBox 48">
              <a:extLst>
                <a:ext uri="{FF2B5EF4-FFF2-40B4-BE49-F238E27FC236}">
                  <a16:creationId xmlns:a16="http://schemas.microsoft.com/office/drawing/2014/main" id="{5A725091-043F-4C96-90EA-FEECAE4EA49B}"/>
                </a:ext>
              </a:extLst>
            </p:cNvPr>
            <p:cNvSpPr txBox="1"/>
            <p:nvPr/>
          </p:nvSpPr>
          <p:spPr>
            <a:xfrm>
              <a:off x="425268" y="2537224"/>
              <a:ext cx="3132138" cy="181460"/>
            </a:xfrm>
            <a:prstGeom prst="rect">
              <a:avLst/>
            </a:prstGeom>
            <a:noFill/>
          </p:spPr>
          <p:txBody>
            <a:bodyPr wrap="square" lIns="0" tIns="0" rIns="0" bIns="0" rtlCol="0">
              <a:spAutoFit/>
            </a:bodyPr>
            <a:lstStyle/>
            <a:p>
              <a:pPr marL="0" marR="0" lvl="0" indent="0" algn="r" defTabSz="457200" rtl="0" eaLnBrk="1" fontAlgn="base" latinLnBrk="0" hangingPunct="1">
                <a:lnSpc>
                  <a:spcPct val="130000"/>
                </a:lnSpc>
                <a:spcBef>
                  <a:spcPts val="100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HarmonyOS Sans SC"/>
                  <a:cs typeface="+mn-cs"/>
                </a:rPr>
                <a:t>Uniquely incubate timely infomediaries</a:t>
              </a:r>
            </a:p>
          </p:txBody>
        </p:sp>
      </p:grpSp>
      <p:grpSp>
        <p:nvGrpSpPr>
          <p:cNvPr id="44" name="组合 43">
            <a:extLst>
              <a:ext uri="{FF2B5EF4-FFF2-40B4-BE49-F238E27FC236}">
                <a16:creationId xmlns:a16="http://schemas.microsoft.com/office/drawing/2014/main" id="{9A2CF6AC-2A8A-499D-91F3-376D45C25AE2}"/>
              </a:ext>
            </a:extLst>
          </p:cNvPr>
          <p:cNvGrpSpPr/>
          <p:nvPr/>
        </p:nvGrpSpPr>
        <p:grpSpPr>
          <a:xfrm>
            <a:off x="181284" y="3058023"/>
            <a:ext cx="3132138" cy="542043"/>
            <a:chOff x="425268" y="2176641"/>
            <a:chExt cx="3132138" cy="542043"/>
          </a:xfrm>
        </p:grpSpPr>
        <p:sp>
          <p:nvSpPr>
            <p:cNvPr id="45" name="TextBox 48">
              <a:extLst>
                <a:ext uri="{FF2B5EF4-FFF2-40B4-BE49-F238E27FC236}">
                  <a16:creationId xmlns:a16="http://schemas.microsoft.com/office/drawing/2014/main" id="{B3DD1322-ED84-46C0-A2A5-CD6F230BC8E8}"/>
                </a:ext>
              </a:extLst>
            </p:cNvPr>
            <p:cNvSpPr txBox="1"/>
            <p:nvPr/>
          </p:nvSpPr>
          <p:spPr>
            <a:xfrm>
              <a:off x="1404756" y="2176641"/>
              <a:ext cx="2152650" cy="326628"/>
            </a:xfrm>
            <a:prstGeom prst="rect">
              <a:avLst/>
            </a:prstGeom>
            <a:noFill/>
          </p:spPr>
          <p:txBody>
            <a:bodyPr wrap="square" lIns="0" tIns="0" rIns="0" bIns="0" rtlCol="0">
              <a:spAutoFit/>
            </a:bodyPr>
            <a:lstStyle/>
            <a:p>
              <a:pPr marL="0" marR="0" lvl="0" indent="0" algn="r" defTabSz="457200" rtl="0" eaLnBrk="1" fontAlgn="base" latinLnBrk="0" hangingPunct="1">
                <a:lnSpc>
                  <a:spcPct val="130000"/>
                </a:lnSpc>
                <a:spcBef>
                  <a:spcPts val="1000"/>
                </a:spcBef>
                <a:spcAft>
                  <a:spcPts val="0"/>
                </a:spcAft>
                <a:buClrTx/>
                <a:buSzTx/>
                <a:buFontTx/>
                <a:buNone/>
                <a:tabLst/>
                <a:defRPr/>
              </a:pPr>
              <a:r>
                <a:rPr kumimoji="0" lang="en-US" sz="1800" b="1" i="0" u="none" strike="noStrike" kern="1200" cap="none" spc="0" normalizeH="0" baseline="0" noProof="0" dirty="0">
                  <a:ln>
                    <a:noFill/>
                  </a:ln>
                  <a:solidFill>
                    <a:schemeClr val="accent1"/>
                  </a:solidFill>
                  <a:effectLst/>
                  <a:uLnTx/>
                  <a:uFillTx/>
                  <a:latin typeface="HarmonyOS Sans SC"/>
                  <a:cs typeface="+mn-cs"/>
                </a:rPr>
                <a:t>Support</a:t>
              </a:r>
            </a:p>
          </p:txBody>
        </p:sp>
        <p:sp>
          <p:nvSpPr>
            <p:cNvPr id="46" name="TextBox 48">
              <a:extLst>
                <a:ext uri="{FF2B5EF4-FFF2-40B4-BE49-F238E27FC236}">
                  <a16:creationId xmlns:a16="http://schemas.microsoft.com/office/drawing/2014/main" id="{BF441FEE-D9A8-443A-8007-8C225EBE917B}"/>
                </a:ext>
              </a:extLst>
            </p:cNvPr>
            <p:cNvSpPr txBox="1"/>
            <p:nvPr/>
          </p:nvSpPr>
          <p:spPr>
            <a:xfrm>
              <a:off x="425268" y="2537224"/>
              <a:ext cx="3132138" cy="181460"/>
            </a:xfrm>
            <a:prstGeom prst="rect">
              <a:avLst/>
            </a:prstGeom>
            <a:noFill/>
          </p:spPr>
          <p:txBody>
            <a:bodyPr wrap="square" lIns="0" tIns="0" rIns="0" bIns="0" rtlCol="0">
              <a:spAutoFit/>
            </a:bodyPr>
            <a:lstStyle/>
            <a:p>
              <a:pPr marL="0" marR="0" lvl="0" indent="0" algn="r" defTabSz="457200" rtl="0" eaLnBrk="1" fontAlgn="base" latinLnBrk="0" hangingPunct="1">
                <a:lnSpc>
                  <a:spcPct val="130000"/>
                </a:lnSpc>
                <a:spcBef>
                  <a:spcPts val="100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HarmonyOS Sans SC"/>
                  <a:cs typeface="+mn-cs"/>
                </a:rPr>
                <a:t>Uniquely incubate timely infomediaries</a:t>
              </a:r>
            </a:p>
          </p:txBody>
        </p:sp>
      </p:grpSp>
      <p:grpSp>
        <p:nvGrpSpPr>
          <p:cNvPr id="47" name="组合 46">
            <a:extLst>
              <a:ext uri="{FF2B5EF4-FFF2-40B4-BE49-F238E27FC236}">
                <a16:creationId xmlns:a16="http://schemas.microsoft.com/office/drawing/2014/main" id="{8811489B-661C-4927-858C-59136A7FF86D}"/>
              </a:ext>
            </a:extLst>
          </p:cNvPr>
          <p:cNvGrpSpPr/>
          <p:nvPr/>
        </p:nvGrpSpPr>
        <p:grpSpPr>
          <a:xfrm>
            <a:off x="181284" y="4010315"/>
            <a:ext cx="3132138" cy="542043"/>
            <a:chOff x="425268" y="2176641"/>
            <a:chExt cx="3132138" cy="542043"/>
          </a:xfrm>
        </p:grpSpPr>
        <p:sp>
          <p:nvSpPr>
            <p:cNvPr id="48" name="TextBox 48">
              <a:extLst>
                <a:ext uri="{FF2B5EF4-FFF2-40B4-BE49-F238E27FC236}">
                  <a16:creationId xmlns:a16="http://schemas.microsoft.com/office/drawing/2014/main" id="{8C852111-CA3C-4C3C-8964-FA0C5CE137B3}"/>
                </a:ext>
              </a:extLst>
            </p:cNvPr>
            <p:cNvSpPr txBox="1"/>
            <p:nvPr/>
          </p:nvSpPr>
          <p:spPr>
            <a:xfrm>
              <a:off x="1404756" y="2176641"/>
              <a:ext cx="2152650" cy="326628"/>
            </a:xfrm>
            <a:prstGeom prst="rect">
              <a:avLst/>
            </a:prstGeom>
            <a:noFill/>
          </p:spPr>
          <p:txBody>
            <a:bodyPr wrap="square" lIns="0" tIns="0" rIns="0" bIns="0" rtlCol="0">
              <a:spAutoFit/>
            </a:bodyPr>
            <a:lstStyle/>
            <a:p>
              <a:pPr marL="0" marR="0" lvl="0" indent="0" algn="r" defTabSz="457200" rtl="0" eaLnBrk="1" fontAlgn="base" latinLnBrk="0" hangingPunct="1">
                <a:lnSpc>
                  <a:spcPct val="130000"/>
                </a:lnSpc>
                <a:spcBef>
                  <a:spcPts val="1000"/>
                </a:spcBef>
                <a:spcAft>
                  <a:spcPts val="0"/>
                </a:spcAft>
                <a:buClrTx/>
                <a:buSzTx/>
                <a:buFontTx/>
                <a:buNone/>
                <a:tabLst/>
                <a:defRPr/>
              </a:pPr>
              <a:r>
                <a:rPr kumimoji="0" lang="en-US" sz="1800" b="1" i="0" u="none" strike="noStrike" kern="1200" cap="none" spc="0" normalizeH="0" baseline="0" noProof="0" dirty="0">
                  <a:ln>
                    <a:noFill/>
                  </a:ln>
                  <a:solidFill>
                    <a:schemeClr val="accent1"/>
                  </a:solidFill>
                  <a:effectLst/>
                  <a:uLnTx/>
                  <a:uFillTx/>
                  <a:latin typeface="HarmonyOS Sans SC"/>
                  <a:cs typeface="+mn-cs"/>
                </a:rPr>
                <a:t>Security</a:t>
              </a:r>
            </a:p>
          </p:txBody>
        </p:sp>
        <p:sp>
          <p:nvSpPr>
            <p:cNvPr id="49" name="TextBox 48">
              <a:extLst>
                <a:ext uri="{FF2B5EF4-FFF2-40B4-BE49-F238E27FC236}">
                  <a16:creationId xmlns:a16="http://schemas.microsoft.com/office/drawing/2014/main" id="{10959AA1-551B-442E-BB19-B9E7E53DEE3B}"/>
                </a:ext>
              </a:extLst>
            </p:cNvPr>
            <p:cNvSpPr txBox="1"/>
            <p:nvPr/>
          </p:nvSpPr>
          <p:spPr>
            <a:xfrm>
              <a:off x="425268" y="2537224"/>
              <a:ext cx="3132138" cy="181460"/>
            </a:xfrm>
            <a:prstGeom prst="rect">
              <a:avLst/>
            </a:prstGeom>
            <a:noFill/>
          </p:spPr>
          <p:txBody>
            <a:bodyPr wrap="square" lIns="0" tIns="0" rIns="0" bIns="0" rtlCol="0">
              <a:spAutoFit/>
            </a:bodyPr>
            <a:lstStyle/>
            <a:p>
              <a:pPr marL="0" marR="0" lvl="0" indent="0" algn="r" defTabSz="457200" rtl="0" eaLnBrk="1" fontAlgn="base" latinLnBrk="0" hangingPunct="1">
                <a:lnSpc>
                  <a:spcPct val="130000"/>
                </a:lnSpc>
                <a:spcBef>
                  <a:spcPts val="100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HarmonyOS Sans SC"/>
                  <a:cs typeface="+mn-cs"/>
                </a:rPr>
                <a:t>Uniquely incubate timely infomediaries</a:t>
              </a:r>
            </a:p>
          </p:txBody>
        </p:sp>
      </p:grpSp>
      <p:grpSp>
        <p:nvGrpSpPr>
          <p:cNvPr id="50" name="组合 49">
            <a:extLst>
              <a:ext uri="{FF2B5EF4-FFF2-40B4-BE49-F238E27FC236}">
                <a16:creationId xmlns:a16="http://schemas.microsoft.com/office/drawing/2014/main" id="{F62A318A-D0C1-4FB2-96C4-C567A322740D}"/>
              </a:ext>
            </a:extLst>
          </p:cNvPr>
          <p:cNvGrpSpPr/>
          <p:nvPr/>
        </p:nvGrpSpPr>
        <p:grpSpPr>
          <a:xfrm>
            <a:off x="734314" y="5027861"/>
            <a:ext cx="3132138" cy="542043"/>
            <a:chOff x="425268" y="2176641"/>
            <a:chExt cx="3132138" cy="542043"/>
          </a:xfrm>
        </p:grpSpPr>
        <p:sp>
          <p:nvSpPr>
            <p:cNvPr id="51" name="TextBox 48">
              <a:extLst>
                <a:ext uri="{FF2B5EF4-FFF2-40B4-BE49-F238E27FC236}">
                  <a16:creationId xmlns:a16="http://schemas.microsoft.com/office/drawing/2014/main" id="{01E742DE-E1B6-442E-AB39-73D0B18E23AD}"/>
                </a:ext>
              </a:extLst>
            </p:cNvPr>
            <p:cNvSpPr txBox="1"/>
            <p:nvPr/>
          </p:nvSpPr>
          <p:spPr>
            <a:xfrm>
              <a:off x="1404756" y="2176641"/>
              <a:ext cx="2152650" cy="326628"/>
            </a:xfrm>
            <a:prstGeom prst="rect">
              <a:avLst/>
            </a:prstGeom>
            <a:noFill/>
          </p:spPr>
          <p:txBody>
            <a:bodyPr wrap="square" lIns="0" tIns="0" rIns="0" bIns="0" rtlCol="0">
              <a:spAutoFit/>
            </a:bodyPr>
            <a:lstStyle/>
            <a:p>
              <a:pPr marL="0" marR="0" lvl="0" indent="0" algn="r" defTabSz="457200" rtl="0" eaLnBrk="1" fontAlgn="base" latinLnBrk="0" hangingPunct="1">
                <a:lnSpc>
                  <a:spcPct val="130000"/>
                </a:lnSpc>
                <a:spcBef>
                  <a:spcPts val="1000"/>
                </a:spcBef>
                <a:spcAft>
                  <a:spcPts val="0"/>
                </a:spcAft>
                <a:buClrTx/>
                <a:buSzTx/>
                <a:buFontTx/>
                <a:buNone/>
                <a:tabLst/>
                <a:defRPr/>
              </a:pPr>
              <a:r>
                <a:rPr kumimoji="0" lang="en-US" sz="1800" b="1" i="0" u="none" strike="noStrike" kern="1200" cap="none" spc="0" normalizeH="0" baseline="0" noProof="0" dirty="0">
                  <a:ln>
                    <a:noFill/>
                  </a:ln>
                  <a:solidFill>
                    <a:schemeClr val="accent1"/>
                  </a:solidFill>
                  <a:effectLst/>
                  <a:uLnTx/>
                  <a:uFillTx/>
                  <a:latin typeface="HarmonyOS Sans SC"/>
                  <a:cs typeface="+mn-cs"/>
                </a:rPr>
                <a:t>Gallery</a:t>
              </a:r>
            </a:p>
          </p:txBody>
        </p:sp>
        <p:sp>
          <p:nvSpPr>
            <p:cNvPr id="52" name="TextBox 48">
              <a:extLst>
                <a:ext uri="{FF2B5EF4-FFF2-40B4-BE49-F238E27FC236}">
                  <a16:creationId xmlns:a16="http://schemas.microsoft.com/office/drawing/2014/main" id="{C8F014C2-C12E-4A30-AE8E-D78D373B8902}"/>
                </a:ext>
              </a:extLst>
            </p:cNvPr>
            <p:cNvSpPr txBox="1"/>
            <p:nvPr/>
          </p:nvSpPr>
          <p:spPr>
            <a:xfrm>
              <a:off x="425268" y="2537224"/>
              <a:ext cx="3132138" cy="181460"/>
            </a:xfrm>
            <a:prstGeom prst="rect">
              <a:avLst/>
            </a:prstGeom>
            <a:noFill/>
          </p:spPr>
          <p:txBody>
            <a:bodyPr wrap="square" lIns="0" tIns="0" rIns="0" bIns="0" rtlCol="0">
              <a:spAutoFit/>
            </a:bodyPr>
            <a:lstStyle/>
            <a:p>
              <a:pPr marL="0" marR="0" lvl="0" indent="0" algn="r" defTabSz="457200" rtl="0" eaLnBrk="1" fontAlgn="base" latinLnBrk="0" hangingPunct="1">
                <a:lnSpc>
                  <a:spcPct val="130000"/>
                </a:lnSpc>
                <a:spcBef>
                  <a:spcPts val="100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HarmonyOS Sans SC"/>
                  <a:cs typeface="+mn-cs"/>
                </a:rPr>
                <a:t>Uniquely incubate timely infomediaries</a:t>
              </a:r>
            </a:p>
          </p:txBody>
        </p:sp>
      </p:grpSp>
      <p:sp>
        <p:nvSpPr>
          <p:cNvPr id="65" name="TextBox 48">
            <a:extLst>
              <a:ext uri="{FF2B5EF4-FFF2-40B4-BE49-F238E27FC236}">
                <a16:creationId xmlns:a16="http://schemas.microsoft.com/office/drawing/2014/main" id="{567BDB08-71D0-4C55-994B-16EBCEF16E2A}"/>
              </a:ext>
            </a:extLst>
          </p:cNvPr>
          <p:cNvSpPr txBox="1"/>
          <p:nvPr/>
        </p:nvSpPr>
        <p:spPr>
          <a:xfrm flipH="1">
            <a:off x="8289696" y="2035354"/>
            <a:ext cx="2152650" cy="326628"/>
          </a:xfrm>
          <a:prstGeom prst="rect">
            <a:avLst/>
          </a:prstGeom>
          <a:noFill/>
        </p:spPr>
        <p:txBody>
          <a:bodyPr wrap="square" lIns="0" tIns="0" rIns="0" bIns="0" rtlCol="0">
            <a:spAutoFit/>
          </a:bodyPr>
          <a:lstStyle/>
          <a:p>
            <a:pPr marL="0" marR="0" lvl="0" indent="0" algn="l" defTabSz="457200" rtl="0" eaLnBrk="1" fontAlgn="base" latinLnBrk="0" hangingPunct="1">
              <a:lnSpc>
                <a:spcPct val="130000"/>
              </a:lnSpc>
              <a:spcBef>
                <a:spcPts val="1000"/>
              </a:spcBef>
              <a:spcAft>
                <a:spcPts val="0"/>
              </a:spcAft>
              <a:buClrTx/>
              <a:buSzTx/>
              <a:buFontTx/>
              <a:buNone/>
              <a:tabLst/>
              <a:defRPr/>
            </a:pPr>
            <a:r>
              <a:rPr kumimoji="0" lang="en-US" sz="1800" b="1" i="0" u="none" strike="noStrike" kern="1200" cap="none" spc="0" normalizeH="0" baseline="0" noProof="0" dirty="0">
                <a:ln>
                  <a:noFill/>
                </a:ln>
                <a:solidFill>
                  <a:schemeClr val="accent1"/>
                </a:solidFill>
                <a:effectLst/>
                <a:uLnTx/>
                <a:uFillTx/>
                <a:latin typeface="HarmonyOS Sans SC"/>
                <a:cs typeface="+mn-cs"/>
              </a:rPr>
              <a:t>Redesign</a:t>
            </a:r>
          </a:p>
        </p:txBody>
      </p:sp>
      <p:sp>
        <p:nvSpPr>
          <p:cNvPr id="66" name="TextBox 48">
            <a:extLst>
              <a:ext uri="{FF2B5EF4-FFF2-40B4-BE49-F238E27FC236}">
                <a16:creationId xmlns:a16="http://schemas.microsoft.com/office/drawing/2014/main" id="{BD27120B-9B38-42E9-BDF0-5BE52790A35A}"/>
              </a:ext>
            </a:extLst>
          </p:cNvPr>
          <p:cNvSpPr txBox="1"/>
          <p:nvPr/>
        </p:nvSpPr>
        <p:spPr>
          <a:xfrm flipH="1">
            <a:off x="8289696" y="2395937"/>
            <a:ext cx="3132138" cy="181460"/>
          </a:xfrm>
          <a:prstGeom prst="rect">
            <a:avLst/>
          </a:prstGeom>
          <a:noFill/>
        </p:spPr>
        <p:txBody>
          <a:bodyPr wrap="square" lIns="0" tIns="0" rIns="0" bIns="0" rtlCol="0">
            <a:spAutoFit/>
          </a:bodyPr>
          <a:lstStyle/>
          <a:p>
            <a:pPr marL="0" marR="0" lvl="0" indent="0" algn="l" defTabSz="457200" rtl="0" eaLnBrk="1" fontAlgn="base" latinLnBrk="0" hangingPunct="1">
              <a:lnSpc>
                <a:spcPct val="130000"/>
              </a:lnSpc>
              <a:spcBef>
                <a:spcPts val="100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HarmonyOS Sans SC"/>
                <a:cs typeface="+mn-cs"/>
              </a:rPr>
              <a:t>Uniquely incubate timely infomediaries</a:t>
            </a:r>
          </a:p>
        </p:txBody>
      </p:sp>
      <p:sp>
        <p:nvSpPr>
          <p:cNvPr id="63" name="TextBox 48">
            <a:extLst>
              <a:ext uri="{FF2B5EF4-FFF2-40B4-BE49-F238E27FC236}">
                <a16:creationId xmlns:a16="http://schemas.microsoft.com/office/drawing/2014/main" id="{994447F6-A82B-441E-847E-80CEC846EA1A}"/>
              </a:ext>
            </a:extLst>
          </p:cNvPr>
          <p:cNvSpPr txBox="1"/>
          <p:nvPr/>
        </p:nvSpPr>
        <p:spPr>
          <a:xfrm flipH="1">
            <a:off x="8842726" y="3058023"/>
            <a:ext cx="2152650" cy="326628"/>
          </a:xfrm>
          <a:prstGeom prst="rect">
            <a:avLst/>
          </a:prstGeom>
          <a:noFill/>
        </p:spPr>
        <p:txBody>
          <a:bodyPr wrap="square" lIns="0" tIns="0" rIns="0" bIns="0" rtlCol="0">
            <a:spAutoFit/>
          </a:bodyPr>
          <a:lstStyle/>
          <a:p>
            <a:pPr marL="0" marR="0" lvl="0" indent="0" algn="l" defTabSz="457200" rtl="0" eaLnBrk="1" fontAlgn="base" latinLnBrk="0" hangingPunct="1">
              <a:lnSpc>
                <a:spcPct val="130000"/>
              </a:lnSpc>
              <a:spcBef>
                <a:spcPts val="1000"/>
              </a:spcBef>
              <a:spcAft>
                <a:spcPts val="0"/>
              </a:spcAft>
              <a:buClrTx/>
              <a:buSzTx/>
              <a:buFontTx/>
              <a:buNone/>
              <a:tabLst/>
              <a:defRPr/>
            </a:pPr>
            <a:r>
              <a:rPr kumimoji="0" lang="en-US" sz="1800" b="1" i="0" u="none" strike="noStrike" kern="1200" cap="none" spc="0" normalizeH="0" baseline="0" noProof="0" dirty="0">
                <a:ln>
                  <a:noFill/>
                </a:ln>
                <a:solidFill>
                  <a:schemeClr val="accent1"/>
                </a:solidFill>
                <a:effectLst/>
                <a:uLnTx/>
                <a:uFillTx/>
                <a:latin typeface="HarmonyOS Sans SC"/>
                <a:cs typeface="+mn-cs"/>
              </a:rPr>
              <a:t>Speed</a:t>
            </a:r>
          </a:p>
        </p:txBody>
      </p:sp>
      <p:sp>
        <p:nvSpPr>
          <p:cNvPr id="64" name="TextBox 48">
            <a:extLst>
              <a:ext uri="{FF2B5EF4-FFF2-40B4-BE49-F238E27FC236}">
                <a16:creationId xmlns:a16="http://schemas.microsoft.com/office/drawing/2014/main" id="{241FD2E4-DC6A-4044-B925-F8EFD948765C}"/>
              </a:ext>
            </a:extLst>
          </p:cNvPr>
          <p:cNvSpPr txBox="1"/>
          <p:nvPr/>
        </p:nvSpPr>
        <p:spPr>
          <a:xfrm flipH="1">
            <a:off x="8842726" y="3418606"/>
            <a:ext cx="3132138" cy="181460"/>
          </a:xfrm>
          <a:prstGeom prst="rect">
            <a:avLst/>
          </a:prstGeom>
          <a:noFill/>
        </p:spPr>
        <p:txBody>
          <a:bodyPr wrap="square" lIns="0" tIns="0" rIns="0" bIns="0" rtlCol="0">
            <a:spAutoFit/>
          </a:bodyPr>
          <a:lstStyle/>
          <a:p>
            <a:pPr marL="0" marR="0" lvl="0" indent="0" algn="l" defTabSz="457200" rtl="0" eaLnBrk="1" fontAlgn="base" latinLnBrk="0" hangingPunct="1">
              <a:lnSpc>
                <a:spcPct val="130000"/>
              </a:lnSpc>
              <a:spcBef>
                <a:spcPts val="100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HarmonyOS Sans SC"/>
                <a:cs typeface="+mn-cs"/>
              </a:rPr>
              <a:t>Uniquely incubate timely infomediaries</a:t>
            </a:r>
          </a:p>
        </p:txBody>
      </p:sp>
      <p:sp>
        <p:nvSpPr>
          <p:cNvPr id="61" name="TextBox 48">
            <a:extLst>
              <a:ext uri="{FF2B5EF4-FFF2-40B4-BE49-F238E27FC236}">
                <a16:creationId xmlns:a16="http://schemas.microsoft.com/office/drawing/2014/main" id="{6FBD5AE0-B52D-4B6F-A531-345C2240DC16}"/>
              </a:ext>
            </a:extLst>
          </p:cNvPr>
          <p:cNvSpPr txBox="1"/>
          <p:nvPr/>
        </p:nvSpPr>
        <p:spPr>
          <a:xfrm flipH="1">
            <a:off x="8842726" y="4010315"/>
            <a:ext cx="2152650" cy="326628"/>
          </a:xfrm>
          <a:prstGeom prst="rect">
            <a:avLst/>
          </a:prstGeom>
          <a:noFill/>
        </p:spPr>
        <p:txBody>
          <a:bodyPr wrap="square" lIns="0" tIns="0" rIns="0" bIns="0" rtlCol="0">
            <a:spAutoFit/>
          </a:bodyPr>
          <a:lstStyle/>
          <a:p>
            <a:pPr marL="0" marR="0" lvl="0" indent="0" algn="l" defTabSz="457200" rtl="0" eaLnBrk="1" fontAlgn="base" latinLnBrk="0" hangingPunct="1">
              <a:lnSpc>
                <a:spcPct val="130000"/>
              </a:lnSpc>
              <a:spcBef>
                <a:spcPts val="1000"/>
              </a:spcBef>
              <a:spcAft>
                <a:spcPts val="0"/>
              </a:spcAft>
              <a:buClrTx/>
              <a:buSzTx/>
              <a:buFontTx/>
              <a:buNone/>
              <a:tabLst/>
              <a:defRPr/>
            </a:pPr>
            <a:r>
              <a:rPr kumimoji="0" lang="en-US" sz="1800" b="1" i="0" u="none" strike="noStrike" kern="1200" cap="none" spc="0" normalizeH="0" baseline="0" noProof="0" dirty="0">
                <a:ln>
                  <a:noFill/>
                </a:ln>
                <a:solidFill>
                  <a:schemeClr val="accent1"/>
                </a:solidFill>
                <a:effectLst/>
                <a:uLnTx/>
                <a:uFillTx/>
                <a:latin typeface="HarmonyOS Sans SC"/>
                <a:cs typeface="+mn-cs"/>
              </a:rPr>
              <a:t>Responsive</a:t>
            </a:r>
          </a:p>
        </p:txBody>
      </p:sp>
      <p:sp>
        <p:nvSpPr>
          <p:cNvPr id="62" name="TextBox 48">
            <a:extLst>
              <a:ext uri="{FF2B5EF4-FFF2-40B4-BE49-F238E27FC236}">
                <a16:creationId xmlns:a16="http://schemas.microsoft.com/office/drawing/2014/main" id="{F5E37398-B3EE-447D-923A-FC59DC0E2FFE}"/>
              </a:ext>
            </a:extLst>
          </p:cNvPr>
          <p:cNvSpPr txBox="1"/>
          <p:nvPr/>
        </p:nvSpPr>
        <p:spPr>
          <a:xfrm flipH="1">
            <a:off x="8842726" y="4370898"/>
            <a:ext cx="3132138" cy="181460"/>
          </a:xfrm>
          <a:prstGeom prst="rect">
            <a:avLst/>
          </a:prstGeom>
          <a:noFill/>
        </p:spPr>
        <p:txBody>
          <a:bodyPr wrap="square" lIns="0" tIns="0" rIns="0" bIns="0" rtlCol="0">
            <a:spAutoFit/>
          </a:bodyPr>
          <a:lstStyle/>
          <a:p>
            <a:pPr marL="0" marR="0" lvl="0" indent="0" algn="l" defTabSz="457200" rtl="0" eaLnBrk="1" fontAlgn="base" latinLnBrk="0" hangingPunct="1">
              <a:lnSpc>
                <a:spcPct val="130000"/>
              </a:lnSpc>
              <a:spcBef>
                <a:spcPts val="100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HarmonyOS Sans SC"/>
                <a:cs typeface="+mn-cs"/>
              </a:rPr>
              <a:t>Uniquely incubate timely infomediaries</a:t>
            </a:r>
          </a:p>
        </p:txBody>
      </p:sp>
      <p:sp>
        <p:nvSpPr>
          <p:cNvPr id="59" name="TextBox 48">
            <a:extLst>
              <a:ext uri="{FF2B5EF4-FFF2-40B4-BE49-F238E27FC236}">
                <a16:creationId xmlns:a16="http://schemas.microsoft.com/office/drawing/2014/main" id="{41F4F9AD-D9A6-458A-9DF0-235E138BFEFB}"/>
              </a:ext>
            </a:extLst>
          </p:cNvPr>
          <p:cNvSpPr txBox="1"/>
          <p:nvPr/>
        </p:nvSpPr>
        <p:spPr>
          <a:xfrm flipH="1">
            <a:off x="8289696" y="5027861"/>
            <a:ext cx="2152650" cy="326628"/>
          </a:xfrm>
          <a:prstGeom prst="rect">
            <a:avLst/>
          </a:prstGeom>
          <a:noFill/>
        </p:spPr>
        <p:txBody>
          <a:bodyPr wrap="square" lIns="0" tIns="0" rIns="0" bIns="0" rtlCol="0">
            <a:spAutoFit/>
          </a:bodyPr>
          <a:lstStyle/>
          <a:p>
            <a:pPr marL="0" marR="0" lvl="0" indent="0" algn="l" defTabSz="457200" rtl="0" eaLnBrk="1" fontAlgn="base" latinLnBrk="0" hangingPunct="1">
              <a:lnSpc>
                <a:spcPct val="130000"/>
              </a:lnSpc>
              <a:spcBef>
                <a:spcPts val="1000"/>
              </a:spcBef>
              <a:spcAft>
                <a:spcPts val="0"/>
              </a:spcAft>
              <a:buClrTx/>
              <a:buSzTx/>
              <a:buFontTx/>
              <a:buNone/>
              <a:tabLst/>
              <a:defRPr/>
            </a:pPr>
            <a:r>
              <a:rPr kumimoji="0" lang="en-US" sz="1800" b="1" i="0" u="none" strike="noStrike" kern="1200" cap="none" spc="0" normalizeH="0" baseline="0" noProof="0" dirty="0">
                <a:ln>
                  <a:noFill/>
                </a:ln>
                <a:solidFill>
                  <a:schemeClr val="accent1"/>
                </a:solidFill>
                <a:effectLst/>
                <a:uLnTx/>
                <a:uFillTx/>
                <a:latin typeface="HarmonyOS Sans SC"/>
                <a:cs typeface="+mn-cs"/>
              </a:rPr>
              <a:t>Process</a:t>
            </a:r>
          </a:p>
        </p:txBody>
      </p:sp>
      <p:sp>
        <p:nvSpPr>
          <p:cNvPr id="60" name="TextBox 48">
            <a:extLst>
              <a:ext uri="{FF2B5EF4-FFF2-40B4-BE49-F238E27FC236}">
                <a16:creationId xmlns:a16="http://schemas.microsoft.com/office/drawing/2014/main" id="{808EAAFB-DF27-4E43-BEB6-7551BA29E97E}"/>
              </a:ext>
            </a:extLst>
          </p:cNvPr>
          <p:cNvSpPr txBox="1"/>
          <p:nvPr/>
        </p:nvSpPr>
        <p:spPr>
          <a:xfrm flipH="1">
            <a:off x="8289696" y="5388444"/>
            <a:ext cx="3132138" cy="181460"/>
          </a:xfrm>
          <a:prstGeom prst="rect">
            <a:avLst/>
          </a:prstGeom>
          <a:noFill/>
        </p:spPr>
        <p:txBody>
          <a:bodyPr wrap="square" lIns="0" tIns="0" rIns="0" bIns="0" rtlCol="0">
            <a:spAutoFit/>
          </a:bodyPr>
          <a:lstStyle/>
          <a:p>
            <a:pPr marL="0" marR="0" lvl="0" indent="0" algn="l" defTabSz="457200" rtl="0" eaLnBrk="1" fontAlgn="base" latinLnBrk="0" hangingPunct="1">
              <a:lnSpc>
                <a:spcPct val="130000"/>
              </a:lnSpc>
              <a:spcBef>
                <a:spcPts val="100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HarmonyOS Sans SC"/>
                <a:cs typeface="+mn-cs"/>
              </a:rPr>
              <a:t>Uniquely incubate timely infomediaries</a:t>
            </a:r>
          </a:p>
        </p:txBody>
      </p:sp>
    </p:spTree>
    <p:extLst>
      <p:ext uri="{BB962C8B-B14F-4D97-AF65-F5344CB8AC3E}">
        <p14:creationId xmlns:p14="http://schemas.microsoft.com/office/powerpoint/2010/main" val="4145274060"/>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4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5">
            <a:extLst>
              <a:ext uri="{FF2B5EF4-FFF2-40B4-BE49-F238E27FC236}">
                <a16:creationId xmlns:a16="http://schemas.microsoft.com/office/drawing/2014/main" id="{3613C5E1-8407-43D9-B645-DBE0851441B6}"/>
              </a:ext>
            </a:extLst>
          </p:cNvPr>
          <p:cNvSpPr>
            <a:spLocks/>
          </p:cNvSpPr>
          <p:nvPr/>
        </p:nvSpPr>
        <p:spPr bwMode="auto">
          <a:xfrm>
            <a:off x="4381500" y="3130020"/>
            <a:ext cx="1789113" cy="1495425"/>
          </a:xfrm>
          <a:custGeom>
            <a:avLst/>
            <a:gdLst>
              <a:gd name="T0" fmla="*/ 126 w 474"/>
              <a:gd name="T1" fmla="*/ 396 h 396"/>
              <a:gd name="T2" fmla="*/ 75 w 474"/>
              <a:gd name="T3" fmla="*/ 153 h 396"/>
              <a:gd name="T4" fmla="*/ 474 w 474"/>
              <a:gd name="T5" fmla="*/ 73 h 396"/>
              <a:gd name="T6" fmla="*/ 225 w 474"/>
              <a:gd name="T7" fmla="*/ 182 h 396"/>
              <a:gd name="T8" fmla="*/ 126 w 474"/>
              <a:gd name="T9" fmla="*/ 396 h 396"/>
            </a:gdLst>
            <a:ahLst/>
            <a:cxnLst>
              <a:cxn ang="0">
                <a:pos x="T0" y="T1"/>
              </a:cxn>
              <a:cxn ang="0">
                <a:pos x="T2" y="T3"/>
              </a:cxn>
              <a:cxn ang="0">
                <a:pos x="T4" y="T5"/>
              </a:cxn>
              <a:cxn ang="0">
                <a:pos x="T6" y="T7"/>
              </a:cxn>
              <a:cxn ang="0">
                <a:pos x="T8" y="T9"/>
              </a:cxn>
            </a:cxnLst>
            <a:rect l="0" t="0" r="r" b="b"/>
            <a:pathLst>
              <a:path w="474" h="396">
                <a:moveTo>
                  <a:pt x="126" y="396"/>
                </a:moveTo>
                <a:cubicBezTo>
                  <a:pt x="126" y="396"/>
                  <a:pt x="0" y="278"/>
                  <a:pt x="75" y="153"/>
                </a:cubicBezTo>
                <a:cubicBezTo>
                  <a:pt x="168" y="0"/>
                  <a:pt x="474" y="73"/>
                  <a:pt x="474" y="73"/>
                </a:cubicBezTo>
                <a:cubicBezTo>
                  <a:pt x="474" y="73"/>
                  <a:pt x="318" y="69"/>
                  <a:pt x="225" y="182"/>
                </a:cubicBezTo>
                <a:cubicBezTo>
                  <a:pt x="160" y="261"/>
                  <a:pt x="126" y="396"/>
                  <a:pt x="126" y="396"/>
                </a:cubicBezTo>
                <a:close/>
              </a:path>
            </a:pathLst>
          </a:custGeom>
          <a:gradFill flip="none" rotWithShape="1">
            <a:gsLst>
              <a:gs pos="73000">
                <a:schemeClr val="accent1"/>
              </a:gs>
              <a:gs pos="31000">
                <a:schemeClr val="accent1">
                  <a:lumMod val="60000"/>
                  <a:lumOff val="40000"/>
                </a:schemeClr>
              </a:gs>
              <a:gs pos="0">
                <a:schemeClr val="accent1">
                  <a:lumMod val="40000"/>
                  <a:lumOff val="60000"/>
                </a:schemeClr>
              </a:gs>
            </a:gsLst>
            <a:lin ang="16200000" scaled="1"/>
            <a:tileRect/>
          </a:gradFill>
          <a:ln>
            <a:noFill/>
          </a:ln>
          <a:effectLst>
            <a:outerShdw blurRad="444500" dist="317500" dir="5400000" sx="92000" sy="92000" algn="t" rotWithShape="0">
              <a:schemeClr val="accent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3" name="Freeform 7">
            <a:extLst>
              <a:ext uri="{FF2B5EF4-FFF2-40B4-BE49-F238E27FC236}">
                <a16:creationId xmlns:a16="http://schemas.microsoft.com/office/drawing/2014/main" id="{E5FCD1EF-0DEE-4F24-929D-26018366DDC4}"/>
              </a:ext>
            </a:extLst>
          </p:cNvPr>
          <p:cNvSpPr>
            <a:spLocks/>
          </p:cNvSpPr>
          <p:nvPr/>
        </p:nvSpPr>
        <p:spPr bwMode="auto">
          <a:xfrm>
            <a:off x="5430838" y="2656945"/>
            <a:ext cx="1566863" cy="1470025"/>
          </a:xfrm>
          <a:custGeom>
            <a:avLst/>
            <a:gdLst>
              <a:gd name="T0" fmla="*/ 0 w 415"/>
              <a:gd name="T1" fmla="*/ 157 h 389"/>
              <a:gd name="T2" fmla="*/ 216 w 415"/>
              <a:gd name="T3" fmla="*/ 34 h 389"/>
              <a:gd name="T4" fmla="*/ 415 w 415"/>
              <a:gd name="T5" fmla="*/ 389 h 389"/>
              <a:gd name="T6" fmla="*/ 234 w 415"/>
              <a:gd name="T7" fmla="*/ 185 h 389"/>
              <a:gd name="T8" fmla="*/ 0 w 415"/>
              <a:gd name="T9" fmla="*/ 157 h 389"/>
            </a:gdLst>
            <a:ahLst/>
            <a:cxnLst>
              <a:cxn ang="0">
                <a:pos x="T0" y="T1"/>
              </a:cxn>
              <a:cxn ang="0">
                <a:pos x="T2" y="T3"/>
              </a:cxn>
              <a:cxn ang="0">
                <a:pos x="T4" y="T5"/>
              </a:cxn>
              <a:cxn ang="0">
                <a:pos x="T6" y="T7"/>
              </a:cxn>
              <a:cxn ang="0">
                <a:pos x="T8" y="T9"/>
              </a:cxn>
            </a:cxnLst>
            <a:rect l="0" t="0" r="r" b="b"/>
            <a:pathLst>
              <a:path w="415" h="389">
                <a:moveTo>
                  <a:pt x="0" y="157"/>
                </a:moveTo>
                <a:cubicBezTo>
                  <a:pt x="0" y="157"/>
                  <a:pt x="74" y="0"/>
                  <a:pt x="216" y="34"/>
                </a:cubicBezTo>
                <a:cubicBezTo>
                  <a:pt x="390" y="74"/>
                  <a:pt x="415" y="389"/>
                  <a:pt x="415" y="389"/>
                </a:cubicBezTo>
                <a:cubicBezTo>
                  <a:pt x="415" y="389"/>
                  <a:pt x="370" y="238"/>
                  <a:pt x="234" y="185"/>
                </a:cubicBezTo>
                <a:cubicBezTo>
                  <a:pt x="139" y="147"/>
                  <a:pt x="0" y="157"/>
                  <a:pt x="0" y="157"/>
                </a:cubicBezTo>
                <a:close/>
              </a:path>
            </a:pathLst>
          </a:custGeom>
          <a:gradFill flip="none" rotWithShape="1">
            <a:gsLst>
              <a:gs pos="73000">
                <a:schemeClr val="accent1"/>
              </a:gs>
              <a:gs pos="31000">
                <a:schemeClr val="accent1">
                  <a:lumMod val="60000"/>
                  <a:lumOff val="40000"/>
                </a:schemeClr>
              </a:gs>
              <a:gs pos="0">
                <a:schemeClr val="accent1">
                  <a:lumMod val="40000"/>
                  <a:lumOff val="60000"/>
                </a:schemeClr>
              </a:gs>
            </a:gsLst>
            <a:lin ang="0" scaled="1"/>
            <a:tileRect/>
          </a:gradFill>
          <a:ln>
            <a:noFill/>
          </a:ln>
          <a:effectLst>
            <a:outerShdw blurRad="444500" dist="317500" dir="5400000" sx="92000" sy="92000" algn="t" rotWithShape="0">
              <a:schemeClr val="accent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4" name="Freeform 8">
            <a:extLst>
              <a:ext uri="{FF2B5EF4-FFF2-40B4-BE49-F238E27FC236}">
                <a16:creationId xmlns:a16="http://schemas.microsoft.com/office/drawing/2014/main" id="{40C8653F-3634-4D81-8F65-B0808E5AAAFA}"/>
              </a:ext>
            </a:extLst>
          </p:cNvPr>
          <p:cNvSpPr>
            <a:spLocks/>
          </p:cNvSpPr>
          <p:nvPr/>
        </p:nvSpPr>
        <p:spPr bwMode="auto">
          <a:xfrm>
            <a:off x="6572250" y="3374495"/>
            <a:ext cx="1098550" cy="1757363"/>
          </a:xfrm>
          <a:custGeom>
            <a:avLst/>
            <a:gdLst>
              <a:gd name="T0" fmla="*/ 91 w 291"/>
              <a:gd name="T1" fmla="*/ 0 h 465"/>
              <a:gd name="T2" fmla="*/ 276 w 291"/>
              <a:gd name="T3" fmla="*/ 166 h 465"/>
              <a:gd name="T4" fmla="*/ 0 w 291"/>
              <a:gd name="T5" fmla="*/ 465 h 465"/>
              <a:gd name="T6" fmla="*/ 138 w 291"/>
              <a:gd name="T7" fmla="*/ 231 h 465"/>
              <a:gd name="T8" fmla="*/ 91 w 291"/>
              <a:gd name="T9" fmla="*/ 0 h 465"/>
            </a:gdLst>
            <a:ahLst/>
            <a:cxnLst>
              <a:cxn ang="0">
                <a:pos x="T0" y="T1"/>
              </a:cxn>
              <a:cxn ang="0">
                <a:pos x="T2" y="T3"/>
              </a:cxn>
              <a:cxn ang="0">
                <a:pos x="T4" y="T5"/>
              </a:cxn>
              <a:cxn ang="0">
                <a:pos x="T6" y="T7"/>
              </a:cxn>
              <a:cxn ang="0">
                <a:pos x="T8" y="T9"/>
              </a:cxn>
            </a:cxnLst>
            <a:rect l="0" t="0" r="r" b="b"/>
            <a:pathLst>
              <a:path w="291" h="465">
                <a:moveTo>
                  <a:pt x="91" y="0"/>
                </a:moveTo>
                <a:cubicBezTo>
                  <a:pt x="91" y="0"/>
                  <a:pt x="263" y="21"/>
                  <a:pt x="276" y="166"/>
                </a:cubicBezTo>
                <a:cubicBezTo>
                  <a:pt x="291" y="344"/>
                  <a:pt x="0" y="465"/>
                  <a:pt x="0" y="465"/>
                </a:cubicBezTo>
                <a:cubicBezTo>
                  <a:pt x="0" y="465"/>
                  <a:pt x="129" y="376"/>
                  <a:pt x="138" y="231"/>
                </a:cubicBezTo>
                <a:cubicBezTo>
                  <a:pt x="144" y="129"/>
                  <a:pt x="91" y="0"/>
                  <a:pt x="91" y="0"/>
                </a:cubicBezTo>
                <a:close/>
              </a:path>
            </a:pathLst>
          </a:custGeom>
          <a:gradFill flip="none" rotWithShape="1">
            <a:gsLst>
              <a:gs pos="73000">
                <a:schemeClr val="accent1"/>
              </a:gs>
              <a:gs pos="31000">
                <a:schemeClr val="accent1">
                  <a:lumMod val="60000"/>
                  <a:lumOff val="40000"/>
                </a:schemeClr>
              </a:gs>
              <a:gs pos="0">
                <a:schemeClr val="accent1">
                  <a:lumMod val="40000"/>
                  <a:lumOff val="60000"/>
                </a:schemeClr>
              </a:gs>
            </a:gsLst>
            <a:lin ang="5400000" scaled="1"/>
            <a:tileRect/>
          </a:gradFill>
          <a:ln>
            <a:noFill/>
          </a:ln>
          <a:effectLst>
            <a:outerShdw blurRad="444500" dist="317500" dir="5400000" sx="92000" sy="92000" algn="t" rotWithShape="0">
              <a:schemeClr val="accent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5" name="Freeform 9">
            <a:extLst>
              <a:ext uri="{FF2B5EF4-FFF2-40B4-BE49-F238E27FC236}">
                <a16:creationId xmlns:a16="http://schemas.microsoft.com/office/drawing/2014/main" id="{A4276139-57CD-459E-BDF8-0C9686288A21}"/>
              </a:ext>
            </a:extLst>
          </p:cNvPr>
          <p:cNvSpPr>
            <a:spLocks/>
          </p:cNvSpPr>
          <p:nvPr/>
        </p:nvSpPr>
        <p:spPr bwMode="auto">
          <a:xfrm>
            <a:off x="5480050" y="4822295"/>
            <a:ext cx="1903413" cy="1117600"/>
          </a:xfrm>
          <a:custGeom>
            <a:avLst/>
            <a:gdLst>
              <a:gd name="T0" fmla="*/ 471 w 504"/>
              <a:gd name="T1" fmla="*/ 0 h 296"/>
              <a:gd name="T2" fmla="*/ 369 w 504"/>
              <a:gd name="T3" fmla="*/ 227 h 296"/>
              <a:gd name="T4" fmla="*/ 0 w 504"/>
              <a:gd name="T5" fmla="*/ 57 h 296"/>
              <a:gd name="T6" fmla="*/ 266 w 504"/>
              <a:gd name="T7" fmla="*/ 116 h 296"/>
              <a:gd name="T8" fmla="*/ 471 w 504"/>
              <a:gd name="T9" fmla="*/ 0 h 296"/>
            </a:gdLst>
            <a:ahLst/>
            <a:cxnLst>
              <a:cxn ang="0">
                <a:pos x="T0" y="T1"/>
              </a:cxn>
              <a:cxn ang="0">
                <a:pos x="T2" y="T3"/>
              </a:cxn>
              <a:cxn ang="0">
                <a:pos x="T4" y="T5"/>
              </a:cxn>
              <a:cxn ang="0">
                <a:pos x="T6" y="T7"/>
              </a:cxn>
              <a:cxn ang="0">
                <a:pos x="T8" y="T9"/>
              </a:cxn>
            </a:cxnLst>
            <a:rect l="0" t="0" r="r" b="b"/>
            <a:pathLst>
              <a:path w="504" h="296">
                <a:moveTo>
                  <a:pt x="471" y="0"/>
                </a:moveTo>
                <a:cubicBezTo>
                  <a:pt x="471" y="0"/>
                  <a:pt x="504" y="170"/>
                  <a:pt x="369" y="227"/>
                </a:cubicBezTo>
                <a:cubicBezTo>
                  <a:pt x="205" y="296"/>
                  <a:pt x="0" y="57"/>
                  <a:pt x="0" y="57"/>
                </a:cubicBezTo>
                <a:cubicBezTo>
                  <a:pt x="0" y="57"/>
                  <a:pt x="124" y="152"/>
                  <a:pt x="266" y="116"/>
                </a:cubicBezTo>
                <a:cubicBezTo>
                  <a:pt x="365" y="90"/>
                  <a:pt x="471" y="0"/>
                  <a:pt x="471" y="0"/>
                </a:cubicBezTo>
                <a:close/>
              </a:path>
            </a:pathLst>
          </a:custGeom>
          <a:gradFill flip="none" rotWithShape="1">
            <a:gsLst>
              <a:gs pos="73000">
                <a:schemeClr val="accent1"/>
              </a:gs>
              <a:gs pos="31000">
                <a:schemeClr val="accent1">
                  <a:lumMod val="60000"/>
                  <a:lumOff val="40000"/>
                </a:schemeClr>
              </a:gs>
              <a:gs pos="0">
                <a:schemeClr val="accent1">
                  <a:lumMod val="40000"/>
                  <a:lumOff val="60000"/>
                </a:schemeClr>
              </a:gs>
            </a:gsLst>
            <a:lin ang="10800000" scaled="1"/>
            <a:tileRect/>
          </a:gradFill>
          <a:ln>
            <a:noFill/>
          </a:ln>
          <a:effectLst>
            <a:outerShdw blurRad="444500" dist="317500" dir="5400000" sx="92000" sy="92000" algn="t" rotWithShape="0">
              <a:schemeClr val="accent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6" name="Freeform 10">
            <a:extLst>
              <a:ext uri="{FF2B5EF4-FFF2-40B4-BE49-F238E27FC236}">
                <a16:creationId xmlns:a16="http://schemas.microsoft.com/office/drawing/2014/main" id="{7296CB69-885E-45BA-BF8F-B1A64435CAFC}"/>
              </a:ext>
            </a:extLst>
          </p:cNvPr>
          <p:cNvSpPr>
            <a:spLocks/>
          </p:cNvSpPr>
          <p:nvPr/>
        </p:nvSpPr>
        <p:spPr bwMode="auto">
          <a:xfrm>
            <a:off x="4611688" y="3968220"/>
            <a:ext cx="1374775" cy="1944688"/>
          </a:xfrm>
          <a:custGeom>
            <a:avLst/>
            <a:gdLst>
              <a:gd name="T0" fmla="*/ 364 w 364"/>
              <a:gd name="T1" fmla="*/ 431 h 515"/>
              <a:gd name="T2" fmla="*/ 117 w 364"/>
              <a:gd name="T3" fmla="*/ 404 h 515"/>
              <a:gd name="T4" fmla="*/ 165 w 364"/>
              <a:gd name="T5" fmla="*/ 0 h 515"/>
              <a:gd name="T6" fmla="*/ 191 w 364"/>
              <a:gd name="T7" fmla="*/ 271 h 515"/>
              <a:gd name="T8" fmla="*/ 364 w 364"/>
              <a:gd name="T9" fmla="*/ 431 h 515"/>
            </a:gdLst>
            <a:ahLst/>
            <a:cxnLst>
              <a:cxn ang="0">
                <a:pos x="T0" y="T1"/>
              </a:cxn>
              <a:cxn ang="0">
                <a:pos x="T2" y="T3"/>
              </a:cxn>
              <a:cxn ang="0">
                <a:pos x="T4" y="T5"/>
              </a:cxn>
              <a:cxn ang="0">
                <a:pos x="T6" y="T7"/>
              </a:cxn>
              <a:cxn ang="0">
                <a:pos x="T8" y="T9"/>
              </a:cxn>
            </a:cxnLst>
            <a:rect l="0" t="0" r="r" b="b"/>
            <a:pathLst>
              <a:path w="364" h="515">
                <a:moveTo>
                  <a:pt x="364" y="431"/>
                </a:moveTo>
                <a:cubicBezTo>
                  <a:pt x="364" y="431"/>
                  <a:pt x="213" y="515"/>
                  <a:pt x="117" y="404"/>
                </a:cubicBezTo>
                <a:cubicBezTo>
                  <a:pt x="0" y="269"/>
                  <a:pt x="165" y="0"/>
                  <a:pt x="165" y="0"/>
                </a:cubicBezTo>
                <a:cubicBezTo>
                  <a:pt x="165" y="0"/>
                  <a:pt x="113" y="148"/>
                  <a:pt x="191" y="271"/>
                </a:cubicBezTo>
                <a:cubicBezTo>
                  <a:pt x="246" y="358"/>
                  <a:pt x="364" y="431"/>
                  <a:pt x="364" y="431"/>
                </a:cubicBezTo>
                <a:close/>
              </a:path>
            </a:pathLst>
          </a:custGeom>
          <a:gradFill flip="none" rotWithShape="1">
            <a:gsLst>
              <a:gs pos="73000">
                <a:schemeClr val="accent1"/>
              </a:gs>
              <a:gs pos="31000">
                <a:schemeClr val="accent1">
                  <a:lumMod val="60000"/>
                  <a:lumOff val="40000"/>
                </a:schemeClr>
              </a:gs>
              <a:gs pos="0">
                <a:schemeClr val="accent1">
                  <a:lumMod val="40000"/>
                  <a:lumOff val="60000"/>
                </a:schemeClr>
              </a:gs>
            </a:gsLst>
            <a:lin ang="13500000" scaled="1"/>
            <a:tileRect/>
          </a:gradFill>
          <a:ln>
            <a:noFill/>
          </a:ln>
          <a:effectLst>
            <a:outerShdw blurRad="444500" dist="317500" dir="5400000" sx="92000" sy="92000" algn="t" rotWithShape="0">
              <a:schemeClr val="accent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12" name="Freeform 65">
            <a:extLst>
              <a:ext uri="{FF2B5EF4-FFF2-40B4-BE49-F238E27FC236}">
                <a16:creationId xmlns:a16="http://schemas.microsoft.com/office/drawing/2014/main" id="{66C0DB04-C97E-4DD4-B6EF-B351668943F9}"/>
              </a:ext>
            </a:extLst>
          </p:cNvPr>
          <p:cNvSpPr>
            <a:spLocks noEditPoints="1"/>
          </p:cNvSpPr>
          <p:nvPr/>
        </p:nvSpPr>
        <p:spPr bwMode="auto">
          <a:xfrm>
            <a:off x="4807879" y="3671058"/>
            <a:ext cx="239922" cy="242718"/>
          </a:xfrm>
          <a:custGeom>
            <a:avLst/>
            <a:gdLst>
              <a:gd name="T0" fmla="*/ 537707 w 160"/>
              <a:gd name="T1" fmla="*/ 6886 h 160"/>
              <a:gd name="T2" fmla="*/ 517287 w 160"/>
              <a:gd name="T3" fmla="*/ 0 h 160"/>
              <a:gd name="T4" fmla="*/ 183773 w 160"/>
              <a:gd name="T5" fmla="*/ 55086 h 160"/>
              <a:gd name="T6" fmla="*/ 166757 w 160"/>
              <a:gd name="T7" fmla="*/ 79187 h 160"/>
              <a:gd name="T8" fmla="*/ 166757 w 160"/>
              <a:gd name="T9" fmla="*/ 392490 h 160"/>
              <a:gd name="T10" fmla="*/ 78274 w 160"/>
              <a:gd name="T11" fmla="*/ 392490 h 160"/>
              <a:gd name="T12" fmla="*/ 0 w 160"/>
              <a:gd name="T13" fmla="*/ 471676 h 160"/>
              <a:gd name="T14" fmla="*/ 78274 w 160"/>
              <a:gd name="T15" fmla="*/ 550863 h 160"/>
              <a:gd name="T16" fmla="*/ 132725 w 160"/>
              <a:gd name="T17" fmla="*/ 550863 h 160"/>
              <a:gd name="T18" fmla="*/ 210999 w 160"/>
              <a:gd name="T19" fmla="*/ 471676 h 160"/>
              <a:gd name="T20" fmla="*/ 210999 w 160"/>
              <a:gd name="T21" fmla="*/ 416590 h 160"/>
              <a:gd name="T22" fmla="*/ 210999 w 160"/>
              <a:gd name="T23" fmla="*/ 96401 h 160"/>
              <a:gd name="T24" fmla="*/ 500271 w 160"/>
              <a:gd name="T25" fmla="*/ 48201 h 160"/>
              <a:gd name="T26" fmla="*/ 500271 w 160"/>
              <a:gd name="T27" fmla="*/ 337404 h 160"/>
              <a:gd name="T28" fmla="*/ 411788 w 160"/>
              <a:gd name="T29" fmla="*/ 337404 h 160"/>
              <a:gd name="T30" fmla="*/ 333514 w 160"/>
              <a:gd name="T31" fmla="*/ 416590 h 160"/>
              <a:gd name="T32" fmla="*/ 411788 w 160"/>
              <a:gd name="T33" fmla="*/ 495777 h 160"/>
              <a:gd name="T34" fmla="*/ 466239 w 160"/>
              <a:gd name="T35" fmla="*/ 495777 h 160"/>
              <a:gd name="T36" fmla="*/ 544513 w 160"/>
              <a:gd name="T37" fmla="*/ 416590 h 160"/>
              <a:gd name="T38" fmla="*/ 544513 w 160"/>
              <a:gd name="T39" fmla="*/ 361504 h 160"/>
              <a:gd name="T40" fmla="*/ 544513 w 160"/>
              <a:gd name="T41" fmla="*/ 20657 h 160"/>
              <a:gd name="T42" fmla="*/ 537707 w 160"/>
              <a:gd name="T43" fmla="*/ 6886 h 160"/>
              <a:gd name="T44" fmla="*/ 166757 w 160"/>
              <a:gd name="T45" fmla="*/ 471676 h 160"/>
              <a:gd name="T46" fmla="*/ 132725 w 160"/>
              <a:gd name="T47" fmla="*/ 506105 h 160"/>
              <a:gd name="T48" fmla="*/ 78274 w 160"/>
              <a:gd name="T49" fmla="*/ 506105 h 160"/>
              <a:gd name="T50" fmla="*/ 44242 w 160"/>
              <a:gd name="T51" fmla="*/ 471676 h 160"/>
              <a:gd name="T52" fmla="*/ 78274 w 160"/>
              <a:gd name="T53" fmla="*/ 437248 h 160"/>
              <a:gd name="T54" fmla="*/ 166757 w 160"/>
              <a:gd name="T55" fmla="*/ 437248 h 160"/>
              <a:gd name="T56" fmla="*/ 166757 w 160"/>
              <a:gd name="T57" fmla="*/ 471676 h 160"/>
              <a:gd name="T58" fmla="*/ 500271 w 160"/>
              <a:gd name="T59" fmla="*/ 416590 h 160"/>
              <a:gd name="T60" fmla="*/ 466239 w 160"/>
              <a:gd name="T61" fmla="*/ 451019 h 160"/>
              <a:gd name="T62" fmla="*/ 411788 w 160"/>
              <a:gd name="T63" fmla="*/ 451019 h 160"/>
              <a:gd name="T64" fmla="*/ 377756 w 160"/>
              <a:gd name="T65" fmla="*/ 416590 h 160"/>
              <a:gd name="T66" fmla="*/ 411788 w 160"/>
              <a:gd name="T67" fmla="*/ 382161 h 160"/>
              <a:gd name="T68" fmla="*/ 500271 w 160"/>
              <a:gd name="T69" fmla="*/ 382161 h 160"/>
              <a:gd name="T70" fmla="*/ 500271 w 160"/>
              <a:gd name="T71" fmla="*/ 416590 h 160"/>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160" h="160">
                <a:moveTo>
                  <a:pt x="158" y="2"/>
                </a:moveTo>
                <a:cubicBezTo>
                  <a:pt x="156" y="0"/>
                  <a:pt x="154" y="0"/>
                  <a:pt x="152" y="0"/>
                </a:cubicBezTo>
                <a:cubicBezTo>
                  <a:pt x="54" y="16"/>
                  <a:pt x="54" y="16"/>
                  <a:pt x="54" y="16"/>
                </a:cubicBezTo>
                <a:cubicBezTo>
                  <a:pt x="51" y="17"/>
                  <a:pt x="49" y="20"/>
                  <a:pt x="49" y="23"/>
                </a:cubicBezTo>
                <a:cubicBezTo>
                  <a:pt x="49" y="114"/>
                  <a:pt x="49" y="114"/>
                  <a:pt x="49" y="114"/>
                </a:cubicBezTo>
                <a:cubicBezTo>
                  <a:pt x="23" y="114"/>
                  <a:pt x="23" y="114"/>
                  <a:pt x="23" y="114"/>
                </a:cubicBezTo>
                <a:cubicBezTo>
                  <a:pt x="10" y="114"/>
                  <a:pt x="0" y="125"/>
                  <a:pt x="0" y="137"/>
                </a:cubicBezTo>
                <a:cubicBezTo>
                  <a:pt x="0" y="150"/>
                  <a:pt x="10" y="160"/>
                  <a:pt x="23" y="160"/>
                </a:cubicBezTo>
                <a:cubicBezTo>
                  <a:pt x="39" y="160"/>
                  <a:pt x="39" y="160"/>
                  <a:pt x="39" y="160"/>
                </a:cubicBezTo>
                <a:cubicBezTo>
                  <a:pt x="52" y="160"/>
                  <a:pt x="62" y="150"/>
                  <a:pt x="62" y="137"/>
                </a:cubicBezTo>
                <a:cubicBezTo>
                  <a:pt x="62" y="121"/>
                  <a:pt x="62" y="121"/>
                  <a:pt x="62" y="121"/>
                </a:cubicBezTo>
                <a:cubicBezTo>
                  <a:pt x="62" y="28"/>
                  <a:pt x="62" y="28"/>
                  <a:pt x="62" y="28"/>
                </a:cubicBezTo>
                <a:cubicBezTo>
                  <a:pt x="147" y="14"/>
                  <a:pt x="147" y="14"/>
                  <a:pt x="147" y="14"/>
                </a:cubicBezTo>
                <a:cubicBezTo>
                  <a:pt x="147" y="98"/>
                  <a:pt x="147" y="98"/>
                  <a:pt x="147" y="98"/>
                </a:cubicBezTo>
                <a:cubicBezTo>
                  <a:pt x="121" y="98"/>
                  <a:pt x="121" y="98"/>
                  <a:pt x="121" y="98"/>
                </a:cubicBezTo>
                <a:cubicBezTo>
                  <a:pt x="108" y="98"/>
                  <a:pt x="98" y="108"/>
                  <a:pt x="98" y="121"/>
                </a:cubicBezTo>
                <a:cubicBezTo>
                  <a:pt x="98" y="133"/>
                  <a:pt x="108" y="144"/>
                  <a:pt x="121" y="144"/>
                </a:cubicBezTo>
                <a:cubicBezTo>
                  <a:pt x="137" y="144"/>
                  <a:pt x="137" y="144"/>
                  <a:pt x="137" y="144"/>
                </a:cubicBezTo>
                <a:cubicBezTo>
                  <a:pt x="150" y="144"/>
                  <a:pt x="160" y="133"/>
                  <a:pt x="160" y="121"/>
                </a:cubicBezTo>
                <a:cubicBezTo>
                  <a:pt x="160" y="105"/>
                  <a:pt x="160" y="105"/>
                  <a:pt x="160" y="105"/>
                </a:cubicBezTo>
                <a:cubicBezTo>
                  <a:pt x="160" y="6"/>
                  <a:pt x="160" y="6"/>
                  <a:pt x="160" y="6"/>
                </a:cubicBezTo>
                <a:cubicBezTo>
                  <a:pt x="160" y="5"/>
                  <a:pt x="159" y="3"/>
                  <a:pt x="158" y="2"/>
                </a:cubicBezTo>
                <a:close/>
                <a:moveTo>
                  <a:pt x="49" y="137"/>
                </a:moveTo>
                <a:cubicBezTo>
                  <a:pt x="49" y="143"/>
                  <a:pt x="45" y="147"/>
                  <a:pt x="39" y="147"/>
                </a:cubicBezTo>
                <a:cubicBezTo>
                  <a:pt x="23" y="147"/>
                  <a:pt x="23" y="147"/>
                  <a:pt x="23" y="147"/>
                </a:cubicBezTo>
                <a:cubicBezTo>
                  <a:pt x="17" y="147"/>
                  <a:pt x="13" y="143"/>
                  <a:pt x="13" y="137"/>
                </a:cubicBezTo>
                <a:cubicBezTo>
                  <a:pt x="13" y="132"/>
                  <a:pt x="17" y="127"/>
                  <a:pt x="23" y="127"/>
                </a:cubicBezTo>
                <a:cubicBezTo>
                  <a:pt x="49" y="127"/>
                  <a:pt x="49" y="127"/>
                  <a:pt x="49" y="127"/>
                </a:cubicBezTo>
                <a:lnTo>
                  <a:pt x="49" y="137"/>
                </a:lnTo>
                <a:close/>
                <a:moveTo>
                  <a:pt x="147" y="121"/>
                </a:moveTo>
                <a:cubicBezTo>
                  <a:pt x="147" y="126"/>
                  <a:pt x="143" y="131"/>
                  <a:pt x="137" y="131"/>
                </a:cubicBezTo>
                <a:cubicBezTo>
                  <a:pt x="121" y="131"/>
                  <a:pt x="121" y="131"/>
                  <a:pt x="121" y="131"/>
                </a:cubicBezTo>
                <a:cubicBezTo>
                  <a:pt x="115" y="131"/>
                  <a:pt x="111" y="126"/>
                  <a:pt x="111" y="121"/>
                </a:cubicBezTo>
                <a:cubicBezTo>
                  <a:pt x="111" y="115"/>
                  <a:pt x="115" y="111"/>
                  <a:pt x="121" y="111"/>
                </a:cubicBezTo>
                <a:cubicBezTo>
                  <a:pt x="147" y="111"/>
                  <a:pt x="147" y="111"/>
                  <a:pt x="147" y="111"/>
                </a:cubicBezTo>
                <a:lnTo>
                  <a:pt x="147" y="121"/>
                </a:lnTo>
                <a:close/>
              </a:path>
            </a:pathLst>
          </a:custGeom>
          <a:solidFill>
            <a:srgbClr val="FFFFFF"/>
          </a:solidFill>
          <a:ln>
            <a:noFill/>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sp>
        <p:nvSpPr>
          <p:cNvPr id="13" name="Freeform 75">
            <a:extLst>
              <a:ext uri="{FF2B5EF4-FFF2-40B4-BE49-F238E27FC236}">
                <a16:creationId xmlns:a16="http://schemas.microsoft.com/office/drawing/2014/main" id="{846B9A23-C568-4FA9-BAA5-F1A0070F68EB}"/>
              </a:ext>
            </a:extLst>
          </p:cNvPr>
          <p:cNvSpPr>
            <a:spLocks noEditPoints="1"/>
          </p:cNvSpPr>
          <p:nvPr/>
        </p:nvSpPr>
        <p:spPr bwMode="auto">
          <a:xfrm>
            <a:off x="6053666" y="2928407"/>
            <a:ext cx="243420" cy="243418"/>
          </a:xfrm>
          <a:custGeom>
            <a:avLst/>
            <a:gdLst>
              <a:gd name="T0" fmla="*/ 409222 w 162"/>
              <a:gd name="T1" fmla="*/ 380882 h 161"/>
              <a:gd name="T2" fmla="*/ 402402 w 162"/>
              <a:gd name="T3" fmla="*/ 374019 h 161"/>
              <a:gd name="T4" fmla="*/ 341019 w 162"/>
              <a:gd name="T5" fmla="*/ 312254 h 161"/>
              <a:gd name="T6" fmla="*/ 225072 w 162"/>
              <a:gd name="T7" fmla="*/ 192157 h 161"/>
              <a:gd name="T8" fmla="*/ 40922 w 162"/>
              <a:gd name="T9" fmla="*/ 10294 h 161"/>
              <a:gd name="T10" fmla="*/ 10231 w 162"/>
              <a:gd name="T11" fmla="*/ 41176 h 161"/>
              <a:gd name="T12" fmla="*/ 184150 w 162"/>
              <a:gd name="T13" fmla="*/ 277941 h 161"/>
              <a:gd name="T14" fmla="*/ 276225 w 162"/>
              <a:gd name="T15" fmla="*/ 370588 h 161"/>
              <a:gd name="T16" fmla="*/ 323968 w 162"/>
              <a:gd name="T17" fmla="*/ 356862 h 161"/>
              <a:gd name="T18" fmla="*/ 283045 w 162"/>
              <a:gd name="T19" fmla="*/ 418627 h 161"/>
              <a:gd name="T20" fmla="*/ 269405 w 162"/>
              <a:gd name="T21" fmla="*/ 418627 h 161"/>
              <a:gd name="T22" fmla="*/ 139818 w 162"/>
              <a:gd name="T23" fmla="*/ 277941 h 161"/>
              <a:gd name="T24" fmla="*/ 139818 w 162"/>
              <a:gd name="T25" fmla="*/ 233333 h 161"/>
              <a:gd name="T26" fmla="*/ 95485 w 162"/>
              <a:gd name="T27" fmla="*/ 233333 h 161"/>
              <a:gd name="T28" fmla="*/ 150048 w 162"/>
              <a:gd name="T29" fmla="*/ 408333 h 161"/>
              <a:gd name="T30" fmla="*/ 255764 w 162"/>
              <a:gd name="T31" fmla="*/ 507842 h 161"/>
              <a:gd name="T32" fmla="*/ 163689 w 162"/>
              <a:gd name="T33" fmla="*/ 531862 h 161"/>
              <a:gd name="T34" fmla="*/ 368300 w 162"/>
              <a:gd name="T35" fmla="*/ 552450 h 161"/>
              <a:gd name="T36" fmla="*/ 368300 w 162"/>
              <a:gd name="T37" fmla="*/ 507842 h 161"/>
              <a:gd name="T38" fmla="*/ 296686 w 162"/>
              <a:gd name="T39" fmla="*/ 459803 h 161"/>
              <a:gd name="T40" fmla="*/ 511528 w 162"/>
              <a:gd name="T41" fmla="*/ 545587 h 161"/>
              <a:gd name="T42" fmla="*/ 542219 w 162"/>
              <a:gd name="T43" fmla="*/ 545587 h 161"/>
              <a:gd name="T44" fmla="*/ 276225 w 162"/>
              <a:gd name="T45" fmla="*/ 325980 h 161"/>
              <a:gd name="T46" fmla="*/ 242123 w 162"/>
              <a:gd name="T47" fmla="*/ 312254 h 161"/>
              <a:gd name="T48" fmla="*/ 228482 w 162"/>
              <a:gd name="T49" fmla="*/ 264215 h 161"/>
              <a:gd name="T50" fmla="*/ 276225 w 162"/>
              <a:gd name="T51" fmla="*/ 325980 h 161"/>
              <a:gd name="T52" fmla="*/ 276225 w 162"/>
              <a:gd name="T53" fmla="*/ 3431 h 161"/>
              <a:gd name="T54" fmla="*/ 341019 w 162"/>
              <a:gd name="T55" fmla="*/ 30882 h 161"/>
              <a:gd name="T56" fmla="*/ 368300 w 162"/>
              <a:gd name="T57" fmla="*/ 216176 h 161"/>
              <a:gd name="T58" fmla="*/ 323968 w 162"/>
              <a:gd name="T59" fmla="*/ 216176 h 161"/>
              <a:gd name="T60" fmla="*/ 310327 w 162"/>
              <a:gd name="T61" fmla="*/ 61765 h 161"/>
              <a:gd name="T62" fmla="*/ 276225 w 162"/>
              <a:gd name="T63" fmla="*/ 48039 h 161"/>
              <a:gd name="T64" fmla="*/ 204611 w 162"/>
              <a:gd name="T65" fmla="*/ 102941 h 161"/>
              <a:gd name="T66" fmla="*/ 412632 w 162"/>
              <a:gd name="T67" fmla="*/ 301960 h 161"/>
              <a:gd name="T68" fmla="*/ 412632 w 162"/>
              <a:gd name="T69" fmla="*/ 233333 h 161"/>
              <a:gd name="T70" fmla="*/ 456965 w 162"/>
              <a:gd name="T71" fmla="*/ 233333 h 161"/>
              <a:gd name="T72" fmla="*/ 453555 w 162"/>
              <a:gd name="T73" fmla="*/ 308823 h 161"/>
              <a:gd name="T74" fmla="*/ 429683 w 162"/>
              <a:gd name="T75" fmla="*/ 329411 h 161"/>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162" h="161">
                <a:moveTo>
                  <a:pt x="159" y="150"/>
                </a:moveTo>
                <a:cubicBezTo>
                  <a:pt x="120" y="111"/>
                  <a:pt x="120" y="111"/>
                  <a:pt x="120" y="111"/>
                </a:cubicBezTo>
                <a:cubicBezTo>
                  <a:pt x="120" y="110"/>
                  <a:pt x="119" y="110"/>
                  <a:pt x="119" y="109"/>
                </a:cubicBezTo>
                <a:cubicBezTo>
                  <a:pt x="119" y="109"/>
                  <a:pt x="118" y="109"/>
                  <a:pt x="118" y="109"/>
                </a:cubicBezTo>
                <a:cubicBezTo>
                  <a:pt x="100" y="91"/>
                  <a:pt x="100" y="91"/>
                  <a:pt x="100" y="91"/>
                </a:cubicBezTo>
                <a:cubicBezTo>
                  <a:pt x="100" y="91"/>
                  <a:pt x="100" y="91"/>
                  <a:pt x="100" y="91"/>
                </a:cubicBezTo>
                <a:cubicBezTo>
                  <a:pt x="100" y="91"/>
                  <a:pt x="100" y="91"/>
                  <a:pt x="100" y="91"/>
                </a:cubicBezTo>
                <a:cubicBezTo>
                  <a:pt x="66" y="56"/>
                  <a:pt x="66" y="56"/>
                  <a:pt x="66" y="56"/>
                </a:cubicBezTo>
                <a:cubicBezTo>
                  <a:pt x="66" y="56"/>
                  <a:pt x="66" y="56"/>
                  <a:pt x="65" y="56"/>
                </a:cubicBezTo>
                <a:cubicBezTo>
                  <a:pt x="12" y="3"/>
                  <a:pt x="12" y="3"/>
                  <a:pt x="12" y="3"/>
                </a:cubicBezTo>
                <a:cubicBezTo>
                  <a:pt x="10" y="0"/>
                  <a:pt x="5" y="0"/>
                  <a:pt x="3" y="3"/>
                </a:cubicBezTo>
                <a:cubicBezTo>
                  <a:pt x="0" y="5"/>
                  <a:pt x="0" y="10"/>
                  <a:pt x="3" y="12"/>
                </a:cubicBezTo>
                <a:cubicBezTo>
                  <a:pt x="54" y="64"/>
                  <a:pt x="54" y="64"/>
                  <a:pt x="54" y="64"/>
                </a:cubicBezTo>
                <a:cubicBezTo>
                  <a:pt x="54" y="81"/>
                  <a:pt x="54" y="81"/>
                  <a:pt x="54" y="81"/>
                </a:cubicBezTo>
                <a:cubicBezTo>
                  <a:pt x="54" y="88"/>
                  <a:pt x="57" y="95"/>
                  <a:pt x="62" y="100"/>
                </a:cubicBezTo>
                <a:cubicBezTo>
                  <a:pt x="67" y="105"/>
                  <a:pt x="74" y="108"/>
                  <a:pt x="81" y="108"/>
                </a:cubicBezTo>
                <a:cubicBezTo>
                  <a:pt x="81" y="108"/>
                  <a:pt x="81" y="108"/>
                  <a:pt x="81" y="108"/>
                </a:cubicBezTo>
                <a:cubicBezTo>
                  <a:pt x="86" y="108"/>
                  <a:pt x="91" y="106"/>
                  <a:pt x="95" y="104"/>
                </a:cubicBezTo>
                <a:cubicBezTo>
                  <a:pt x="105" y="114"/>
                  <a:pt x="105" y="114"/>
                  <a:pt x="105" y="114"/>
                </a:cubicBezTo>
                <a:cubicBezTo>
                  <a:pt x="98" y="119"/>
                  <a:pt x="90" y="121"/>
                  <a:pt x="83" y="122"/>
                </a:cubicBezTo>
                <a:cubicBezTo>
                  <a:pt x="82" y="121"/>
                  <a:pt x="82" y="121"/>
                  <a:pt x="81" y="121"/>
                </a:cubicBezTo>
                <a:cubicBezTo>
                  <a:pt x="80" y="121"/>
                  <a:pt x="80" y="121"/>
                  <a:pt x="79" y="122"/>
                </a:cubicBezTo>
                <a:cubicBezTo>
                  <a:pt x="70" y="121"/>
                  <a:pt x="60" y="117"/>
                  <a:pt x="53" y="110"/>
                </a:cubicBezTo>
                <a:cubicBezTo>
                  <a:pt x="45" y="103"/>
                  <a:pt x="41" y="92"/>
                  <a:pt x="41" y="81"/>
                </a:cubicBezTo>
                <a:cubicBezTo>
                  <a:pt x="41" y="81"/>
                  <a:pt x="41" y="81"/>
                  <a:pt x="41" y="81"/>
                </a:cubicBezTo>
                <a:cubicBezTo>
                  <a:pt x="41" y="68"/>
                  <a:pt x="41" y="68"/>
                  <a:pt x="41" y="68"/>
                </a:cubicBezTo>
                <a:cubicBezTo>
                  <a:pt x="41" y="64"/>
                  <a:pt x="38" y="61"/>
                  <a:pt x="34" y="61"/>
                </a:cubicBezTo>
                <a:cubicBezTo>
                  <a:pt x="31" y="61"/>
                  <a:pt x="28" y="64"/>
                  <a:pt x="28" y="68"/>
                </a:cubicBezTo>
                <a:cubicBezTo>
                  <a:pt x="28" y="81"/>
                  <a:pt x="28" y="81"/>
                  <a:pt x="28" y="81"/>
                </a:cubicBezTo>
                <a:cubicBezTo>
                  <a:pt x="28" y="95"/>
                  <a:pt x="33" y="109"/>
                  <a:pt x="44" y="119"/>
                </a:cubicBezTo>
                <a:cubicBezTo>
                  <a:pt x="52" y="128"/>
                  <a:pt x="63" y="133"/>
                  <a:pt x="75" y="134"/>
                </a:cubicBezTo>
                <a:cubicBezTo>
                  <a:pt x="75" y="148"/>
                  <a:pt x="75" y="148"/>
                  <a:pt x="75" y="148"/>
                </a:cubicBezTo>
                <a:cubicBezTo>
                  <a:pt x="54" y="148"/>
                  <a:pt x="54" y="148"/>
                  <a:pt x="54" y="148"/>
                </a:cubicBezTo>
                <a:cubicBezTo>
                  <a:pt x="51" y="148"/>
                  <a:pt x="48" y="151"/>
                  <a:pt x="48" y="155"/>
                </a:cubicBezTo>
                <a:cubicBezTo>
                  <a:pt x="48" y="158"/>
                  <a:pt x="51" y="161"/>
                  <a:pt x="54" y="161"/>
                </a:cubicBezTo>
                <a:cubicBezTo>
                  <a:pt x="108" y="161"/>
                  <a:pt x="108" y="161"/>
                  <a:pt x="108" y="161"/>
                </a:cubicBezTo>
                <a:cubicBezTo>
                  <a:pt x="111" y="161"/>
                  <a:pt x="114" y="158"/>
                  <a:pt x="114" y="155"/>
                </a:cubicBezTo>
                <a:cubicBezTo>
                  <a:pt x="114" y="151"/>
                  <a:pt x="111" y="148"/>
                  <a:pt x="108" y="148"/>
                </a:cubicBezTo>
                <a:cubicBezTo>
                  <a:pt x="87" y="148"/>
                  <a:pt x="87" y="148"/>
                  <a:pt x="87" y="148"/>
                </a:cubicBezTo>
                <a:cubicBezTo>
                  <a:pt x="87" y="134"/>
                  <a:pt x="87" y="134"/>
                  <a:pt x="87" y="134"/>
                </a:cubicBezTo>
                <a:cubicBezTo>
                  <a:pt x="97" y="133"/>
                  <a:pt x="106" y="129"/>
                  <a:pt x="114" y="123"/>
                </a:cubicBezTo>
                <a:cubicBezTo>
                  <a:pt x="150" y="159"/>
                  <a:pt x="150" y="159"/>
                  <a:pt x="150" y="159"/>
                </a:cubicBezTo>
                <a:cubicBezTo>
                  <a:pt x="151" y="160"/>
                  <a:pt x="153" y="161"/>
                  <a:pt x="155" y="161"/>
                </a:cubicBezTo>
                <a:cubicBezTo>
                  <a:pt x="156" y="161"/>
                  <a:pt x="158" y="160"/>
                  <a:pt x="159" y="159"/>
                </a:cubicBezTo>
                <a:cubicBezTo>
                  <a:pt x="162" y="157"/>
                  <a:pt x="162" y="152"/>
                  <a:pt x="159" y="150"/>
                </a:cubicBezTo>
                <a:close/>
                <a:moveTo>
                  <a:pt x="81" y="95"/>
                </a:moveTo>
                <a:cubicBezTo>
                  <a:pt x="81" y="95"/>
                  <a:pt x="81" y="95"/>
                  <a:pt x="81" y="95"/>
                </a:cubicBezTo>
                <a:cubicBezTo>
                  <a:pt x="77" y="95"/>
                  <a:pt x="74" y="93"/>
                  <a:pt x="71" y="91"/>
                </a:cubicBezTo>
                <a:cubicBezTo>
                  <a:pt x="69" y="88"/>
                  <a:pt x="67" y="85"/>
                  <a:pt x="67" y="81"/>
                </a:cubicBezTo>
                <a:cubicBezTo>
                  <a:pt x="67" y="77"/>
                  <a:pt x="67" y="77"/>
                  <a:pt x="67" y="77"/>
                </a:cubicBezTo>
                <a:cubicBezTo>
                  <a:pt x="85" y="94"/>
                  <a:pt x="85" y="94"/>
                  <a:pt x="85" y="94"/>
                </a:cubicBezTo>
                <a:cubicBezTo>
                  <a:pt x="84" y="94"/>
                  <a:pt x="82" y="95"/>
                  <a:pt x="81" y="95"/>
                </a:cubicBezTo>
                <a:close/>
                <a:moveTo>
                  <a:pt x="55" y="22"/>
                </a:moveTo>
                <a:cubicBezTo>
                  <a:pt x="58" y="10"/>
                  <a:pt x="68" y="1"/>
                  <a:pt x="81" y="1"/>
                </a:cubicBezTo>
                <a:cubicBezTo>
                  <a:pt x="81" y="1"/>
                  <a:pt x="81" y="1"/>
                  <a:pt x="81" y="1"/>
                </a:cubicBezTo>
                <a:cubicBezTo>
                  <a:pt x="88" y="1"/>
                  <a:pt x="95" y="4"/>
                  <a:pt x="100" y="9"/>
                </a:cubicBezTo>
                <a:cubicBezTo>
                  <a:pt x="105" y="14"/>
                  <a:pt x="108" y="20"/>
                  <a:pt x="108" y="28"/>
                </a:cubicBezTo>
                <a:cubicBezTo>
                  <a:pt x="108" y="63"/>
                  <a:pt x="108" y="63"/>
                  <a:pt x="108" y="63"/>
                </a:cubicBezTo>
                <a:cubicBezTo>
                  <a:pt x="108" y="67"/>
                  <a:pt x="105" y="70"/>
                  <a:pt x="101" y="70"/>
                </a:cubicBezTo>
                <a:cubicBezTo>
                  <a:pt x="97" y="70"/>
                  <a:pt x="95" y="67"/>
                  <a:pt x="95" y="63"/>
                </a:cubicBezTo>
                <a:cubicBezTo>
                  <a:pt x="95" y="28"/>
                  <a:pt x="95" y="28"/>
                  <a:pt x="95" y="28"/>
                </a:cubicBezTo>
                <a:cubicBezTo>
                  <a:pt x="95" y="24"/>
                  <a:pt x="93" y="20"/>
                  <a:pt x="91" y="18"/>
                </a:cubicBezTo>
                <a:cubicBezTo>
                  <a:pt x="88" y="15"/>
                  <a:pt x="85" y="14"/>
                  <a:pt x="81" y="14"/>
                </a:cubicBezTo>
                <a:cubicBezTo>
                  <a:pt x="81" y="14"/>
                  <a:pt x="81" y="14"/>
                  <a:pt x="81" y="14"/>
                </a:cubicBezTo>
                <a:cubicBezTo>
                  <a:pt x="75" y="14"/>
                  <a:pt x="69" y="19"/>
                  <a:pt x="68" y="25"/>
                </a:cubicBezTo>
                <a:cubicBezTo>
                  <a:pt x="67" y="28"/>
                  <a:pt x="64" y="31"/>
                  <a:pt x="60" y="30"/>
                </a:cubicBezTo>
                <a:cubicBezTo>
                  <a:pt x="57" y="29"/>
                  <a:pt x="54" y="26"/>
                  <a:pt x="55" y="22"/>
                </a:cubicBezTo>
                <a:close/>
                <a:moveTo>
                  <a:pt x="121" y="88"/>
                </a:moveTo>
                <a:cubicBezTo>
                  <a:pt x="121" y="86"/>
                  <a:pt x="121" y="83"/>
                  <a:pt x="121" y="81"/>
                </a:cubicBezTo>
                <a:cubicBezTo>
                  <a:pt x="121" y="68"/>
                  <a:pt x="121" y="68"/>
                  <a:pt x="121" y="68"/>
                </a:cubicBezTo>
                <a:cubicBezTo>
                  <a:pt x="121" y="64"/>
                  <a:pt x="124" y="61"/>
                  <a:pt x="128" y="61"/>
                </a:cubicBezTo>
                <a:cubicBezTo>
                  <a:pt x="131" y="61"/>
                  <a:pt x="134" y="64"/>
                  <a:pt x="134" y="68"/>
                </a:cubicBezTo>
                <a:cubicBezTo>
                  <a:pt x="134" y="81"/>
                  <a:pt x="134" y="81"/>
                  <a:pt x="134" y="81"/>
                </a:cubicBezTo>
                <a:cubicBezTo>
                  <a:pt x="134" y="84"/>
                  <a:pt x="134" y="87"/>
                  <a:pt x="133" y="90"/>
                </a:cubicBezTo>
                <a:cubicBezTo>
                  <a:pt x="133" y="94"/>
                  <a:pt x="130" y="96"/>
                  <a:pt x="127" y="96"/>
                </a:cubicBezTo>
                <a:cubicBezTo>
                  <a:pt x="127" y="96"/>
                  <a:pt x="126" y="96"/>
                  <a:pt x="126" y="96"/>
                </a:cubicBezTo>
                <a:cubicBezTo>
                  <a:pt x="122" y="95"/>
                  <a:pt x="120" y="92"/>
                  <a:pt x="121" y="88"/>
                </a:cubicBezTo>
                <a:close/>
              </a:path>
            </a:pathLst>
          </a:custGeom>
          <a:solidFill>
            <a:srgbClr val="FFFFFF"/>
          </a:solidFill>
          <a:ln>
            <a:noFill/>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sp>
        <p:nvSpPr>
          <p:cNvPr id="14" name="Freeform 61">
            <a:extLst>
              <a:ext uri="{FF2B5EF4-FFF2-40B4-BE49-F238E27FC236}">
                <a16:creationId xmlns:a16="http://schemas.microsoft.com/office/drawing/2014/main" id="{039AA797-B7F4-41C4-9ADF-E6D432CEB5B6}"/>
              </a:ext>
            </a:extLst>
          </p:cNvPr>
          <p:cNvSpPr>
            <a:spLocks noEditPoints="1"/>
          </p:cNvSpPr>
          <p:nvPr/>
        </p:nvSpPr>
        <p:spPr bwMode="auto">
          <a:xfrm>
            <a:off x="7216845" y="3913776"/>
            <a:ext cx="226596" cy="228566"/>
          </a:xfrm>
          <a:custGeom>
            <a:avLst/>
            <a:gdLst>
              <a:gd name="T0" fmla="*/ 540884 w 161"/>
              <a:gd name="T1" fmla="*/ 137255 h 161"/>
              <a:gd name="T2" fmla="*/ 445634 w 161"/>
              <a:gd name="T3" fmla="*/ 233333 h 161"/>
              <a:gd name="T4" fmla="*/ 415018 w 161"/>
              <a:gd name="T5" fmla="*/ 233333 h 161"/>
              <a:gd name="T6" fmla="*/ 472849 w 161"/>
              <a:gd name="T7" fmla="*/ 144117 h 161"/>
              <a:gd name="T8" fmla="*/ 312965 w 161"/>
              <a:gd name="T9" fmla="*/ 123529 h 161"/>
              <a:gd name="T10" fmla="*/ 472849 w 161"/>
              <a:gd name="T11" fmla="*/ 99510 h 161"/>
              <a:gd name="T12" fmla="*/ 415018 w 161"/>
              <a:gd name="T13" fmla="*/ 10294 h 161"/>
              <a:gd name="T14" fmla="*/ 540884 w 161"/>
              <a:gd name="T15" fmla="*/ 106372 h 161"/>
              <a:gd name="T16" fmla="*/ 544286 w 161"/>
              <a:gd name="T17" fmla="*/ 109804 h 161"/>
              <a:gd name="T18" fmla="*/ 544286 w 161"/>
              <a:gd name="T19" fmla="*/ 116666 h 161"/>
              <a:gd name="T20" fmla="*/ 547688 w 161"/>
              <a:gd name="T21" fmla="*/ 123529 h 161"/>
              <a:gd name="T22" fmla="*/ 547688 w 161"/>
              <a:gd name="T23" fmla="*/ 123529 h 161"/>
              <a:gd name="T24" fmla="*/ 547688 w 161"/>
              <a:gd name="T25" fmla="*/ 126961 h 161"/>
              <a:gd name="T26" fmla="*/ 544286 w 161"/>
              <a:gd name="T27" fmla="*/ 130392 h 161"/>
              <a:gd name="T28" fmla="*/ 544286 w 161"/>
              <a:gd name="T29" fmla="*/ 133823 h 161"/>
              <a:gd name="T30" fmla="*/ 523875 w 161"/>
              <a:gd name="T31" fmla="*/ 480391 h 161"/>
              <a:gd name="T32" fmla="*/ 452438 w 161"/>
              <a:gd name="T33" fmla="*/ 552450 h 161"/>
              <a:gd name="T34" fmla="*/ 445634 w 161"/>
              <a:gd name="T35" fmla="*/ 552450 h 161"/>
              <a:gd name="T36" fmla="*/ 81643 w 161"/>
              <a:gd name="T37" fmla="*/ 322548 h 161"/>
              <a:gd name="T38" fmla="*/ 3402 w 161"/>
              <a:gd name="T39" fmla="*/ 102941 h 161"/>
              <a:gd name="T40" fmla="*/ 74839 w 161"/>
              <a:gd name="T41" fmla="*/ 27451 h 161"/>
              <a:gd name="T42" fmla="*/ 214313 w 161"/>
              <a:gd name="T43" fmla="*/ 89216 h 161"/>
              <a:gd name="T44" fmla="*/ 231322 w 161"/>
              <a:gd name="T45" fmla="*/ 150980 h 161"/>
              <a:gd name="T46" fmla="*/ 214313 w 161"/>
              <a:gd name="T47" fmla="*/ 226470 h 161"/>
              <a:gd name="T48" fmla="*/ 309563 w 161"/>
              <a:gd name="T49" fmla="*/ 356862 h 161"/>
              <a:gd name="T50" fmla="*/ 326572 w 161"/>
              <a:gd name="T51" fmla="*/ 339705 h 161"/>
              <a:gd name="T52" fmla="*/ 462643 w 161"/>
              <a:gd name="T53" fmla="*/ 339705 h 161"/>
              <a:gd name="T54" fmla="*/ 523875 w 161"/>
              <a:gd name="T55" fmla="*/ 408333 h 161"/>
              <a:gd name="T56" fmla="*/ 455840 w 161"/>
              <a:gd name="T57" fmla="*/ 380882 h 161"/>
              <a:gd name="T58" fmla="*/ 357188 w 161"/>
              <a:gd name="T59" fmla="*/ 370588 h 161"/>
              <a:gd name="T60" fmla="*/ 299357 w 161"/>
              <a:gd name="T61" fmla="*/ 404901 h 161"/>
              <a:gd name="T62" fmla="*/ 153080 w 161"/>
              <a:gd name="T63" fmla="*/ 226470 h 161"/>
              <a:gd name="T64" fmla="*/ 190500 w 161"/>
              <a:gd name="T65" fmla="*/ 168137 h 161"/>
              <a:gd name="T66" fmla="*/ 146277 w 161"/>
              <a:gd name="T67" fmla="*/ 72059 h 161"/>
              <a:gd name="T68" fmla="*/ 74839 w 161"/>
              <a:gd name="T69" fmla="*/ 72059 h 161"/>
              <a:gd name="T70" fmla="*/ 47625 w 161"/>
              <a:gd name="T71" fmla="*/ 99510 h 161"/>
              <a:gd name="T72" fmla="*/ 119063 w 161"/>
              <a:gd name="T73" fmla="*/ 298529 h 161"/>
              <a:gd name="T74" fmla="*/ 255134 w 161"/>
              <a:gd name="T75" fmla="*/ 435784 h 161"/>
              <a:gd name="T76" fmla="*/ 452438 w 161"/>
              <a:gd name="T77" fmla="*/ 507842 h 161"/>
              <a:gd name="T78" fmla="*/ 479652 w 161"/>
              <a:gd name="T79" fmla="*/ 408333 h 161"/>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161" h="161">
                <a:moveTo>
                  <a:pt x="160" y="39"/>
                </a:moveTo>
                <a:cubicBezTo>
                  <a:pt x="159" y="39"/>
                  <a:pt x="159" y="40"/>
                  <a:pt x="159" y="40"/>
                </a:cubicBezTo>
                <a:cubicBezTo>
                  <a:pt x="159" y="40"/>
                  <a:pt x="159" y="40"/>
                  <a:pt x="159" y="40"/>
                </a:cubicBezTo>
                <a:cubicBezTo>
                  <a:pt x="131" y="68"/>
                  <a:pt x="131" y="68"/>
                  <a:pt x="131" y="68"/>
                </a:cubicBezTo>
                <a:cubicBezTo>
                  <a:pt x="129" y="70"/>
                  <a:pt x="128" y="70"/>
                  <a:pt x="126" y="70"/>
                </a:cubicBezTo>
                <a:cubicBezTo>
                  <a:pt x="124" y="70"/>
                  <a:pt x="123" y="70"/>
                  <a:pt x="122" y="68"/>
                </a:cubicBezTo>
                <a:cubicBezTo>
                  <a:pt x="119" y="66"/>
                  <a:pt x="119" y="62"/>
                  <a:pt x="122" y="59"/>
                </a:cubicBezTo>
                <a:cubicBezTo>
                  <a:pt x="139" y="42"/>
                  <a:pt x="139" y="42"/>
                  <a:pt x="139" y="42"/>
                </a:cubicBezTo>
                <a:cubicBezTo>
                  <a:pt x="98" y="42"/>
                  <a:pt x="98" y="42"/>
                  <a:pt x="98" y="42"/>
                </a:cubicBezTo>
                <a:cubicBezTo>
                  <a:pt x="94" y="42"/>
                  <a:pt x="92" y="39"/>
                  <a:pt x="92" y="36"/>
                </a:cubicBezTo>
                <a:cubicBezTo>
                  <a:pt x="92" y="32"/>
                  <a:pt x="94" y="29"/>
                  <a:pt x="98" y="29"/>
                </a:cubicBezTo>
                <a:cubicBezTo>
                  <a:pt x="139" y="29"/>
                  <a:pt x="139" y="29"/>
                  <a:pt x="139" y="29"/>
                </a:cubicBezTo>
                <a:cubicBezTo>
                  <a:pt x="122" y="12"/>
                  <a:pt x="122" y="12"/>
                  <a:pt x="122" y="12"/>
                </a:cubicBezTo>
                <a:cubicBezTo>
                  <a:pt x="119" y="10"/>
                  <a:pt x="119" y="5"/>
                  <a:pt x="122" y="3"/>
                </a:cubicBezTo>
                <a:cubicBezTo>
                  <a:pt x="124" y="0"/>
                  <a:pt x="128" y="0"/>
                  <a:pt x="131" y="3"/>
                </a:cubicBezTo>
                <a:cubicBezTo>
                  <a:pt x="159" y="31"/>
                  <a:pt x="159" y="31"/>
                  <a:pt x="159" y="31"/>
                </a:cubicBezTo>
                <a:cubicBezTo>
                  <a:pt x="159" y="31"/>
                  <a:pt x="159" y="32"/>
                  <a:pt x="160" y="32"/>
                </a:cubicBezTo>
                <a:cubicBezTo>
                  <a:pt x="160" y="32"/>
                  <a:pt x="160" y="32"/>
                  <a:pt x="160" y="32"/>
                </a:cubicBezTo>
                <a:cubicBezTo>
                  <a:pt x="160" y="33"/>
                  <a:pt x="160" y="33"/>
                  <a:pt x="160" y="33"/>
                </a:cubicBezTo>
                <a:cubicBezTo>
                  <a:pt x="160" y="33"/>
                  <a:pt x="160" y="33"/>
                  <a:pt x="160" y="34"/>
                </a:cubicBezTo>
                <a:cubicBezTo>
                  <a:pt x="160" y="34"/>
                  <a:pt x="161" y="34"/>
                  <a:pt x="161" y="34"/>
                </a:cubicBezTo>
                <a:cubicBezTo>
                  <a:pt x="161" y="35"/>
                  <a:pt x="161" y="35"/>
                  <a:pt x="161" y="36"/>
                </a:cubicBezTo>
                <a:cubicBezTo>
                  <a:pt x="161" y="36"/>
                  <a:pt x="161" y="36"/>
                  <a:pt x="161" y="36"/>
                </a:cubicBezTo>
                <a:cubicBezTo>
                  <a:pt x="161" y="36"/>
                  <a:pt x="161" y="36"/>
                  <a:pt x="161" y="36"/>
                </a:cubicBezTo>
                <a:cubicBezTo>
                  <a:pt x="161" y="36"/>
                  <a:pt x="161" y="36"/>
                  <a:pt x="161" y="36"/>
                </a:cubicBezTo>
                <a:cubicBezTo>
                  <a:pt x="161" y="36"/>
                  <a:pt x="161" y="36"/>
                  <a:pt x="161" y="37"/>
                </a:cubicBezTo>
                <a:cubicBezTo>
                  <a:pt x="161" y="37"/>
                  <a:pt x="160" y="37"/>
                  <a:pt x="160" y="38"/>
                </a:cubicBezTo>
                <a:cubicBezTo>
                  <a:pt x="160" y="38"/>
                  <a:pt x="160" y="38"/>
                  <a:pt x="160" y="38"/>
                </a:cubicBezTo>
                <a:cubicBezTo>
                  <a:pt x="160" y="38"/>
                  <a:pt x="160" y="39"/>
                  <a:pt x="160" y="39"/>
                </a:cubicBezTo>
                <a:cubicBezTo>
                  <a:pt x="160" y="39"/>
                  <a:pt x="160" y="39"/>
                  <a:pt x="160" y="39"/>
                </a:cubicBezTo>
                <a:close/>
                <a:moveTo>
                  <a:pt x="154" y="119"/>
                </a:moveTo>
                <a:cubicBezTo>
                  <a:pt x="154" y="140"/>
                  <a:pt x="154" y="140"/>
                  <a:pt x="154" y="140"/>
                </a:cubicBezTo>
                <a:cubicBezTo>
                  <a:pt x="154" y="152"/>
                  <a:pt x="145" y="161"/>
                  <a:pt x="133" y="161"/>
                </a:cubicBezTo>
                <a:cubicBezTo>
                  <a:pt x="133" y="161"/>
                  <a:pt x="133" y="161"/>
                  <a:pt x="133" y="161"/>
                </a:cubicBezTo>
                <a:cubicBezTo>
                  <a:pt x="133" y="161"/>
                  <a:pt x="132" y="161"/>
                  <a:pt x="131" y="161"/>
                </a:cubicBezTo>
                <a:cubicBezTo>
                  <a:pt x="131" y="161"/>
                  <a:pt x="131" y="161"/>
                  <a:pt x="131" y="161"/>
                </a:cubicBezTo>
                <a:cubicBezTo>
                  <a:pt x="109" y="158"/>
                  <a:pt x="87" y="151"/>
                  <a:pt x="68" y="138"/>
                </a:cubicBezTo>
                <a:cubicBezTo>
                  <a:pt x="50" y="127"/>
                  <a:pt x="35" y="112"/>
                  <a:pt x="24" y="94"/>
                </a:cubicBezTo>
                <a:cubicBezTo>
                  <a:pt x="11" y="75"/>
                  <a:pt x="3" y="53"/>
                  <a:pt x="1" y="30"/>
                </a:cubicBezTo>
                <a:cubicBezTo>
                  <a:pt x="1" y="30"/>
                  <a:pt x="1" y="30"/>
                  <a:pt x="1" y="30"/>
                </a:cubicBezTo>
                <a:cubicBezTo>
                  <a:pt x="0" y="19"/>
                  <a:pt x="8" y="9"/>
                  <a:pt x="20" y="8"/>
                </a:cubicBezTo>
                <a:cubicBezTo>
                  <a:pt x="20" y="8"/>
                  <a:pt x="21" y="8"/>
                  <a:pt x="22" y="8"/>
                </a:cubicBezTo>
                <a:cubicBezTo>
                  <a:pt x="43" y="8"/>
                  <a:pt x="43" y="8"/>
                  <a:pt x="43" y="8"/>
                </a:cubicBezTo>
                <a:cubicBezTo>
                  <a:pt x="53" y="8"/>
                  <a:pt x="62" y="16"/>
                  <a:pt x="63" y="26"/>
                </a:cubicBezTo>
                <a:cubicBezTo>
                  <a:pt x="63" y="26"/>
                  <a:pt x="63" y="26"/>
                  <a:pt x="63" y="26"/>
                </a:cubicBezTo>
                <a:cubicBezTo>
                  <a:pt x="64" y="32"/>
                  <a:pt x="65" y="38"/>
                  <a:pt x="68" y="44"/>
                </a:cubicBezTo>
                <a:cubicBezTo>
                  <a:pt x="70" y="52"/>
                  <a:pt x="69" y="60"/>
                  <a:pt x="63" y="66"/>
                </a:cubicBezTo>
                <a:cubicBezTo>
                  <a:pt x="63" y="66"/>
                  <a:pt x="63" y="66"/>
                  <a:pt x="63" y="66"/>
                </a:cubicBezTo>
                <a:cubicBezTo>
                  <a:pt x="58" y="71"/>
                  <a:pt x="58" y="71"/>
                  <a:pt x="58" y="71"/>
                </a:cubicBezTo>
                <a:cubicBezTo>
                  <a:pt x="66" y="84"/>
                  <a:pt x="77" y="96"/>
                  <a:pt x="91" y="104"/>
                </a:cubicBezTo>
                <a:cubicBezTo>
                  <a:pt x="96" y="99"/>
                  <a:pt x="96" y="99"/>
                  <a:pt x="96" y="99"/>
                </a:cubicBezTo>
                <a:cubicBezTo>
                  <a:pt x="96" y="99"/>
                  <a:pt x="96" y="99"/>
                  <a:pt x="96" y="99"/>
                </a:cubicBezTo>
                <a:cubicBezTo>
                  <a:pt x="102" y="93"/>
                  <a:pt x="110" y="91"/>
                  <a:pt x="118" y="94"/>
                </a:cubicBezTo>
                <a:cubicBezTo>
                  <a:pt x="124" y="96"/>
                  <a:pt x="130" y="98"/>
                  <a:pt x="136" y="99"/>
                </a:cubicBezTo>
                <a:cubicBezTo>
                  <a:pt x="136" y="99"/>
                  <a:pt x="136" y="99"/>
                  <a:pt x="136" y="99"/>
                </a:cubicBezTo>
                <a:cubicBezTo>
                  <a:pt x="146" y="100"/>
                  <a:pt x="154" y="109"/>
                  <a:pt x="154" y="119"/>
                </a:cubicBezTo>
                <a:close/>
                <a:moveTo>
                  <a:pt x="141" y="119"/>
                </a:moveTo>
                <a:cubicBezTo>
                  <a:pt x="141" y="115"/>
                  <a:pt x="138" y="112"/>
                  <a:pt x="134" y="111"/>
                </a:cubicBezTo>
                <a:cubicBezTo>
                  <a:pt x="127" y="111"/>
                  <a:pt x="120" y="109"/>
                  <a:pt x="113" y="106"/>
                </a:cubicBezTo>
                <a:cubicBezTo>
                  <a:pt x="110" y="105"/>
                  <a:pt x="107" y="106"/>
                  <a:pt x="105" y="108"/>
                </a:cubicBezTo>
                <a:cubicBezTo>
                  <a:pt x="96" y="117"/>
                  <a:pt x="96" y="117"/>
                  <a:pt x="96" y="117"/>
                </a:cubicBezTo>
                <a:cubicBezTo>
                  <a:pt x="94" y="119"/>
                  <a:pt x="91" y="119"/>
                  <a:pt x="88" y="118"/>
                </a:cubicBezTo>
                <a:cubicBezTo>
                  <a:pt x="70" y="107"/>
                  <a:pt x="54" y="92"/>
                  <a:pt x="44" y="73"/>
                </a:cubicBezTo>
                <a:cubicBezTo>
                  <a:pt x="42" y="71"/>
                  <a:pt x="43" y="68"/>
                  <a:pt x="45" y="66"/>
                </a:cubicBezTo>
                <a:cubicBezTo>
                  <a:pt x="54" y="57"/>
                  <a:pt x="54" y="57"/>
                  <a:pt x="54" y="57"/>
                </a:cubicBezTo>
                <a:cubicBezTo>
                  <a:pt x="56" y="54"/>
                  <a:pt x="57" y="51"/>
                  <a:pt x="56" y="49"/>
                </a:cubicBezTo>
                <a:cubicBezTo>
                  <a:pt x="53" y="42"/>
                  <a:pt x="51" y="35"/>
                  <a:pt x="50" y="27"/>
                </a:cubicBezTo>
                <a:cubicBezTo>
                  <a:pt x="50" y="24"/>
                  <a:pt x="46" y="21"/>
                  <a:pt x="43" y="21"/>
                </a:cubicBezTo>
                <a:cubicBezTo>
                  <a:pt x="43" y="21"/>
                  <a:pt x="43" y="21"/>
                  <a:pt x="43" y="21"/>
                </a:cubicBezTo>
                <a:cubicBezTo>
                  <a:pt x="22" y="21"/>
                  <a:pt x="22" y="21"/>
                  <a:pt x="22" y="21"/>
                </a:cubicBezTo>
                <a:cubicBezTo>
                  <a:pt x="21" y="21"/>
                  <a:pt x="21" y="21"/>
                  <a:pt x="21" y="21"/>
                </a:cubicBezTo>
                <a:cubicBezTo>
                  <a:pt x="17" y="21"/>
                  <a:pt x="14" y="25"/>
                  <a:pt x="14" y="29"/>
                </a:cubicBezTo>
                <a:cubicBezTo>
                  <a:pt x="16" y="50"/>
                  <a:pt x="23" y="70"/>
                  <a:pt x="35" y="87"/>
                </a:cubicBezTo>
                <a:cubicBezTo>
                  <a:pt x="35" y="87"/>
                  <a:pt x="35" y="87"/>
                  <a:pt x="35" y="87"/>
                </a:cubicBezTo>
                <a:cubicBezTo>
                  <a:pt x="45" y="103"/>
                  <a:pt x="59" y="117"/>
                  <a:pt x="75" y="127"/>
                </a:cubicBezTo>
                <a:cubicBezTo>
                  <a:pt x="75" y="127"/>
                  <a:pt x="75" y="127"/>
                  <a:pt x="75" y="127"/>
                </a:cubicBezTo>
                <a:cubicBezTo>
                  <a:pt x="92" y="139"/>
                  <a:pt x="112" y="146"/>
                  <a:pt x="133" y="148"/>
                </a:cubicBezTo>
                <a:cubicBezTo>
                  <a:pt x="133" y="148"/>
                  <a:pt x="133" y="148"/>
                  <a:pt x="133" y="148"/>
                </a:cubicBezTo>
                <a:cubicBezTo>
                  <a:pt x="137" y="148"/>
                  <a:pt x="141" y="145"/>
                  <a:pt x="141" y="140"/>
                </a:cubicBezTo>
                <a:cubicBezTo>
                  <a:pt x="141" y="119"/>
                  <a:pt x="141" y="119"/>
                  <a:pt x="141" y="119"/>
                </a:cubicBezTo>
                <a:cubicBezTo>
                  <a:pt x="141" y="119"/>
                  <a:pt x="141" y="119"/>
                  <a:pt x="141" y="119"/>
                </a:cubicBezTo>
                <a:close/>
              </a:path>
            </a:pathLst>
          </a:custGeom>
          <a:solidFill>
            <a:srgbClr val="FFFFFF"/>
          </a:solidFill>
          <a:ln>
            <a:noFill/>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Open Sans"/>
              <a:ea typeface="+mn-ea"/>
              <a:cs typeface="+mn-cs"/>
            </a:endParaRPr>
          </a:p>
        </p:txBody>
      </p:sp>
      <p:sp>
        <p:nvSpPr>
          <p:cNvPr id="15" name="Freeform 101">
            <a:extLst>
              <a:ext uri="{FF2B5EF4-FFF2-40B4-BE49-F238E27FC236}">
                <a16:creationId xmlns:a16="http://schemas.microsoft.com/office/drawing/2014/main" id="{4AC751AD-E147-41D5-95BF-3A5A611A96AC}"/>
              </a:ext>
            </a:extLst>
          </p:cNvPr>
          <p:cNvSpPr>
            <a:spLocks noEditPoints="1"/>
          </p:cNvSpPr>
          <p:nvPr/>
        </p:nvSpPr>
        <p:spPr bwMode="auto">
          <a:xfrm>
            <a:off x="6630979" y="5300815"/>
            <a:ext cx="227252" cy="227250"/>
          </a:xfrm>
          <a:custGeom>
            <a:avLst/>
            <a:gdLst>
              <a:gd name="T0" fmla="*/ 498100 w 161"/>
              <a:gd name="T1" fmla="*/ 51495 h 160"/>
              <a:gd name="T2" fmla="*/ 375281 w 161"/>
              <a:gd name="T3" fmla="*/ 0 h 160"/>
              <a:gd name="T4" fmla="*/ 255873 w 161"/>
              <a:gd name="T5" fmla="*/ 51495 h 160"/>
              <a:gd name="T6" fmla="*/ 85291 w 161"/>
              <a:gd name="T7" fmla="*/ 219710 h 160"/>
              <a:gd name="T8" fmla="*/ 78468 w 161"/>
              <a:gd name="T9" fmla="*/ 236875 h 160"/>
              <a:gd name="T10" fmla="*/ 78468 w 161"/>
              <a:gd name="T11" fmla="*/ 442853 h 160"/>
              <a:gd name="T12" fmla="*/ 10235 w 161"/>
              <a:gd name="T13" fmla="*/ 511512 h 160"/>
              <a:gd name="T14" fmla="*/ 10235 w 161"/>
              <a:gd name="T15" fmla="*/ 542409 h 160"/>
              <a:gd name="T16" fmla="*/ 23882 w 161"/>
              <a:gd name="T17" fmla="*/ 549275 h 160"/>
              <a:gd name="T18" fmla="*/ 40940 w 161"/>
              <a:gd name="T19" fmla="*/ 542409 h 160"/>
              <a:gd name="T20" fmla="*/ 109173 w 161"/>
              <a:gd name="T21" fmla="*/ 473750 h 160"/>
              <a:gd name="T22" fmla="*/ 313871 w 161"/>
              <a:gd name="T23" fmla="*/ 473750 h 160"/>
              <a:gd name="T24" fmla="*/ 330930 w 161"/>
              <a:gd name="T25" fmla="*/ 466884 h 160"/>
              <a:gd name="T26" fmla="*/ 498100 w 161"/>
              <a:gd name="T27" fmla="*/ 295235 h 160"/>
              <a:gd name="T28" fmla="*/ 549275 w 161"/>
              <a:gd name="T29" fmla="*/ 175081 h 160"/>
              <a:gd name="T30" fmla="*/ 498100 w 161"/>
              <a:gd name="T31" fmla="*/ 51495 h 160"/>
              <a:gd name="T32" fmla="*/ 303636 w 161"/>
              <a:gd name="T33" fmla="*/ 429121 h 160"/>
              <a:gd name="T34" fmla="*/ 153524 w 161"/>
              <a:gd name="T35" fmla="*/ 429121 h 160"/>
              <a:gd name="T36" fmla="*/ 211522 w 161"/>
              <a:gd name="T37" fmla="*/ 374194 h 160"/>
              <a:gd name="T38" fmla="*/ 361634 w 161"/>
              <a:gd name="T39" fmla="*/ 374194 h 160"/>
              <a:gd name="T40" fmla="*/ 303636 w 161"/>
              <a:gd name="T41" fmla="*/ 429121 h 160"/>
              <a:gd name="T42" fmla="*/ 467395 w 161"/>
              <a:gd name="T43" fmla="*/ 264339 h 160"/>
              <a:gd name="T44" fmla="*/ 467395 w 161"/>
              <a:gd name="T45" fmla="*/ 264339 h 160"/>
              <a:gd name="T46" fmla="*/ 405986 w 161"/>
              <a:gd name="T47" fmla="*/ 329565 h 160"/>
              <a:gd name="T48" fmla="*/ 402574 w 161"/>
              <a:gd name="T49" fmla="*/ 329565 h 160"/>
              <a:gd name="T50" fmla="*/ 255873 w 161"/>
              <a:gd name="T51" fmla="*/ 329565 h 160"/>
              <a:gd name="T52" fmla="*/ 392339 w 161"/>
              <a:gd name="T53" fmla="*/ 188813 h 160"/>
              <a:gd name="T54" fmla="*/ 392339 w 161"/>
              <a:gd name="T55" fmla="*/ 157917 h 160"/>
              <a:gd name="T56" fmla="*/ 361634 w 161"/>
              <a:gd name="T57" fmla="*/ 157917 h 160"/>
              <a:gd name="T58" fmla="*/ 184229 w 161"/>
              <a:gd name="T59" fmla="*/ 332998 h 160"/>
              <a:gd name="T60" fmla="*/ 184229 w 161"/>
              <a:gd name="T61" fmla="*/ 336431 h 160"/>
              <a:gd name="T62" fmla="*/ 122819 w 161"/>
              <a:gd name="T63" fmla="*/ 398224 h 160"/>
              <a:gd name="T64" fmla="*/ 122819 w 161"/>
              <a:gd name="T65" fmla="*/ 247174 h 160"/>
              <a:gd name="T66" fmla="*/ 286578 w 161"/>
              <a:gd name="T67" fmla="*/ 82391 h 160"/>
              <a:gd name="T68" fmla="*/ 375281 w 161"/>
              <a:gd name="T69" fmla="*/ 44629 h 160"/>
              <a:gd name="T70" fmla="*/ 467395 w 161"/>
              <a:gd name="T71" fmla="*/ 82391 h 160"/>
              <a:gd name="T72" fmla="*/ 504924 w 161"/>
              <a:gd name="T73" fmla="*/ 175081 h 160"/>
              <a:gd name="T74" fmla="*/ 467395 w 161"/>
              <a:gd name="T75" fmla="*/ 264339 h 160"/>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161" h="160">
                <a:moveTo>
                  <a:pt x="146" y="15"/>
                </a:moveTo>
                <a:cubicBezTo>
                  <a:pt x="137" y="5"/>
                  <a:pt x="124" y="0"/>
                  <a:pt x="110" y="0"/>
                </a:cubicBezTo>
                <a:cubicBezTo>
                  <a:pt x="97" y="0"/>
                  <a:pt x="84" y="5"/>
                  <a:pt x="75" y="15"/>
                </a:cubicBezTo>
                <a:cubicBezTo>
                  <a:pt x="25" y="64"/>
                  <a:pt x="25" y="64"/>
                  <a:pt x="25" y="64"/>
                </a:cubicBezTo>
                <a:cubicBezTo>
                  <a:pt x="24" y="66"/>
                  <a:pt x="23" y="67"/>
                  <a:pt x="23" y="69"/>
                </a:cubicBezTo>
                <a:cubicBezTo>
                  <a:pt x="23" y="129"/>
                  <a:pt x="23" y="129"/>
                  <a:pt x="23" y="129"/>
                </a:cubicBezTo>
                <a:cubicBezTo>
                  <a:pt x="3" y="149"/>
                  <a:pt x="3" y="149"/>
                  <a:pt x="3" y="149"/>
                </a:cubicBezTo>
                <a:cubicBezTo>
                  <a:pt x="0" y="151"/>
                  <a:pt x="0" y="156"/>
                  <a:pt x="3" y="158"/>
                </a:cubicBezTo>
                <a:cubicBezTo>
                  <a:pt x="4" y="159"/>
                  <a:pt x="6" y="160"/>
                  <a:pt x="7" y="160"/>
                </a:cubicBezTo>
                <a:cubicBezTo>
                  <a:pt x="9" y="160"/>
                  <a:pt x="11" y="159"/>
                  <a:pt x="12" y="158"/>
                </a:cubicBezTo>
                <a:cubicBezTo>
                  <a:pt x="32" y="138"/>
                  <a:pt x="32" y="138"/>
                  <a:pt x="32" y="138"/>
                </a:cubicBezTo>
                <a:cubicBezTo>
                  <a:pt x="92" y="138"/>
                  <a:pt x="92" y="138"/>
                  <a:pt x="92" y="138"/>
                </a:cubicBezTo>
                <a:cubicBezTo>
                  <a:pt x="94" y="138"/>
                  <a:pt x="95" y="137"/>
                  <a:pt x="97" y="136"/>
                </a:cubicBezTo>
                <a:cubicBezTo>
                  <a:pt x="146" y="86"/>
                  <a:pt x="146" y="86"/>
                  <a:pt x="146" y="86"/>
                </a:cubicBezTo>
                <a:cubicBezTo>
                  <a:pt x="156" y="77"/>
                  <a:pt x="161" y="64"/>
                  <a:pt x="161" y="51"/>
                </a:cubicBezTo>
                <a:cubicBezTo>
                  <a:pt x="161" y="37"/>
                  <a:pt x="156" y="24"/>
                  <a:pt x="146" y="15"/>
                </a:cubicBezTo>
                <a:close/>
                <a:moveTo>
                  <a:pt x="89" y="125"/>
                </a:moveTo>
                <a:cubicBezTo>
                  <a:pt x="45" y="125"/>
                  <a:pt x="45" y="125"/>
                  <a:pt x="45" y="125"/>
                </a:cubicBezTo>
                <a:cubicBezTo>
                  <a:pt x="62" y="109"/>
                  <a:pt x="62" y="109"/>
                  <a:pt x="62" y="109"/>
                </a:cubicBezTo>
                <a:cubicBezTo>
                  <a:pt x="106" y="109"/>
                  <a:pt x="106" y="109"/>
                  <a:pt x="106" y="109"/>
                </a:cubicBezTo>
                <a:lnTo>
                  <a:pt x="89" y="125"/>
                </a:lnTo>
                <a:close/>
                <a:moveTo>
                  <a:pt x="137" y="77"/>
                </a:moveTo>
                <a:cubicBezTo>
                  <a:pt x="137" y="77"/>
                  <a:pt x="137" y="77"/>
                  <a:pt x="137" y="77"/>
                </a:cubicBezTo>
                <a:cubicBezTo>
                  <a:pt x="119" y="96"/>
                  <a:pt x="119" y="96"/>
                  <a:pt x="119" y="96"/>
                </a:cubicBezTo>
                <a:cubicBezTo>
                  <a:pt x="118" y="96"/>
                  <a:pt x="118" y="96"/>
                  <a:pt x="118" y="96"/>
                </a:cubicBezTo>
                <a:cubicBezTo>
                  <a:pt x="75" y="96"/>
                  <a:pt x="75" y="96"/>
                  <a:pt x="75" y="96"/>
                </a:cubicBezTo>
                <a:cubicBezTo>
                  <a:pt x="115" y="55"/>
                  <a:pt x="115" y="55"/>
                  <a:pt x="115" y="55"/>
                </a:cubicBezTo>
                <a:cubicBezTo>
                  <a:pt x="117" y="53"/>
                  <a:pt x="117" y="49"/>
                  <a:pt x="115" y="46"/>
                </a:cubicBezTo>
                <a:cubicBezTo>
                  <a:pt x="112" y="44"/>
                  <a:pt x="108" y="44"/>
                  <a:pt x="106" y="46"/>
                </a:cubicBezTo>
                <a:cubicBezTo>
                  <a:pt x="54" y="97"/>
                  <a:pt x="54" y="97"/>
                  <a:pt x="54" y="97"/>
                </a:cubicBezTo>
                <a:cubicBezTo>
                  <a:pt x="54" y="98"/>
                  <a:pt x="54" y="98"/>
                  <a:pt x="54" y="98"/>
                </a:cubicBezTo>
                <a:cubicBezTo>
                  <a:pt x="36" y="116"/>
                  <a:pt x="36" y="116"/>
                  <a:pt x="36" y="116"/>
                </a:cubicBezTo>
                <a:cubicBezTo>
                  <a:pt x="36" y="72"/>
                  <a:pt x="36" y="72"/>
                  <a:pt x="36" y="72"/>
                </a:cubicBezTo>
                <a:cubicBezTo>
                  <a:pt x="84" y="24"/>
                  <a:pt x="84" y="24"/>
                  <a:pt x="84" y="24"/>
                </a:cubicBezTo>
                <a:cubicBezTo>
                  <a:pt x="91" y="17"/>
                  <a:pt x="100" y="13"/>
                  <a:pt x="110" y="13"/>
                </a:cubicBezTo>
                <a:cubicBezTo>
                  <a:pt x="120" y="13"/>
                  <a:pt x="130" y="17"/>
                  <a:pt x="137" y="24"/>
                </a:cubicBezTo>
                <a:cubicBezTo>
                  <a:pt x="144" y="31"/>
                  <a:pt x="148" y="41"/>
                  <a:pt x="148" y="51"/>
                </a:cubicBezTo>
                <a:cubicBezTo>
                  <a:pt x="148" y="61"/>
                  <a:pt x="144" y="70"/>
                  <a:pt x="137" y="77"/>
                </a:cubicBezTo>
                <a:close/>
              </a:path>
            </a:pathLst>
          </a:custGeom>
          <a:solidFill>
            <a:srgbClr val="FFFFFF"/>
          </a:solidFill>
          <a:ln>
            <a:noFill/>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sp>
        <p:nvSpPr>
          <p:cNvPr id="16" name="Freeform 74">
            <a:extLst>
              <a:ext uri="{FF2B5EF4-FFF2-40B4-BE49-F238E27FC236}">
                <a16:creationId xmlns:a16="http://schemas.microsoft.com/office/drawing/2014/main" id="{C0F463B1-9B4E-43D5-9203-10909CC6F6A9}"/>
              </a:ext>
            </a:extLst>
          </p:cNvPr>
          <p:cNvSpPr>
            <a:spLocks noEditPoints="1"/>
          </p:cNvSpPr>
          <p:nvPr/>
        </p:nvSpPr>
        <p:spPr bwMode="auto">
          <a:xfrm>
            <a:off x="5160115" y="5180169"/>
            <a:ext cx="160398" cy="241292"/>
          </a:xfrm>
          <a:custGeom>
            <a:avLst/>
            <a:gdLst>
              <a:gd name="T0" fmla="*/ 180856 w 107"/>
              <a:gd name="T1" fmla="*/ 367328 h 160"/>
              <a:gd name="T2" fmla="*/ 272991 w 107"/>
              <a:gd name="T3" fmla="*/ 274638 h 160"/>
              <a:gd name="T4" fmla="*/ 272991 w 107"/>
              <a:gd name="T5" fmla="*/ 92690 h 160"/>
              <a:gd name="T6" fmla="*/ 180856 w 107"/>
              <a:gd name="T7" fmla="*/ 0 h 160"/>
              <a:gd name="T8" fmla="*/ 92134 w 107"/>
              <a:gd name="T9" fmla="*/ 92690 h 160"/>
              <a:gd name="T10" fmla="*/ 92134 w 107"/>
              <a:gd name="T11" fmla="*/ 274638 h 160"/>
              <a:gd name="T12" fmla="*/ 180856 w 107"/>
              <a:gd name="T13" fmla="*/ 367328 h 160"/>
              <a:gd name="T14" fmla="*/ 136495 w 107"/>
              <a:gd name="T15" fmla="*/ 92690 h 160"/>
              <a:gd name="T16" fmla="*/ 180856 w 107"/>
              <a:gd name="T17" fmla="*/ 44629 h 160"/>
              <a:gd name="T18" fmla="*/ 228630 w 107"/>
              <a:gd name="T19" fmla="*/ 92690 h 160"/>
              <a:gd name="T20" fmla="*/ 228630 w 107"/>
              <a:gd name="T21" fmla="*/ 274638 h 160"/>
              <a:gd name="T22" fmla="*/ 180856 w 107"/>
              <a:gd name="T23" fmla="*/ 322699 h 160"/>
              <a:gd name="T24" fmla="*/ 136495 w 107"/>
              <a:gd name="T25" fmla="*/ 274638 h 160"/>
              <a:gd name="T26" fmla="*/ 136495 w 107"/>
              <a:gd name="T27" fmla="*/ 92690 h 160"/>
              <a:gd name="T28" fmla="*/ 365125 w 107"/>
              <a:gd name="T29" fmla="*/ 230009 h 160"/>
              <a:gd name="T30" fmla="*/ 365125 w 107"/>
              <a:gd name="T31" fmla="*/ 274638 h 160"/>
              <a:gd name="T32" fmla="*/ 204743 w 107"/>
              <a:gd name="T33" fmla="*/ 456585 h 160"/>
              <a:gd name="T34" fmla="*/ 204743 w 107"/>
              <a:gd name="T35" fmla="*/ 504646 h 160"/>
              <a:gd name="T36" fmla="*/ 272991 w 107"/>
              <a:gd name="T37" fmla="*/ 504646 h 160"/>
              <a:gd name="T38" fmla="*/ 293465 w 107"/>
              <a:gd name="T39" fmla="*/ 528677 h 160"/>
              <a:gd name="T40" fmla="*/ 272991 w 107"/>
              <a:gd name="T41" fmla="*/ 549275 h 160"/>
              <a:gd name="T42" fmla="*/ 92134 w 107"/>
              <a:gd name="T43" fmla="*/ 549275 h 160"/>
              <a:gd name="T44" fmla="*/ 68248 w 107"/>
              <a:gd name="T45" fmla="*/ 528677 h 160"/>
              <a:gd name="T46" fmla="*/ 92134 w 107"/>
              <a:gd name="T47" fmla="*/ 504646 h 160"/>
              <a:gd name="T48" fmla="*/ 160382 w 107"/>
              <a:gd name="T49" fmla="*/ 504646 h 160"/>
              <a:gd name="T50" fmla="*/ 160382 w 107"/>
              <a:gd name="T51" fmla="*/ 456585 h 160"/>
              <a:gd name="T52" fmla="*/ 0 w 107"/>
              <a:gd name="T53" fmla="*/ 274638 h 160"/>
              <a:gd name="T54" fmla="*/ 0 w 107"/>
              <a:gd name="T55" fmla="*/ 230009 h 160"/>
              <a:gd name="T56" fmla="*/ 20474 w 107"/>
              <a:gd name="T57" fmla="*/ 205978 h 160"/>
              <a:gd name="T58" fmla="*/ 44361 w 107"/>
              <a:gd name="T59" fmla="*/ 230009 h 160"/>
              <a:gd name="T60" fmla="*/ 44361 w 107"/>
              <a:gd name="T61" fmla="*/ 274638 h 160"/>
              <a:gd name="T62" fmla="*/ 180856 w 107"/>
              <a:gd name="T63" fmla="*/ 411956 h 160"/>
              <a:gd name="T64" fmla="*/ 320764 w 107"/>
              <a:gd name="T65" fmla="*/ 274638 h 160"/>
              <a:gd name="T66" fmla="*/ 320764 w 107"/>
              <a:gd name="T67" fmla="*/ 230009 h 160"/>
              <a:gd name="T68" fmla="*/ 341238 w 107"/>
              <a:gd name="T69" fmla="*/ 205978 h 160"/>
              <a:gd name="T70" fmla="*/ 365125 w 107"/>
              <a:gd name="T71" fmla="*/ 230009 h 160"/>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107" h="160">
                <a:moveTo>
                  <a:pt x="53" y="107"/>
                </a:moveTo>
                <a:cubicBezTo>
                  <a:pt x="68" y="107"/>
                  <a:pt x="80" y="95"/>
                  <a:pt x="80" y="80"/>
                </a:cubicBezTo>
                <a:cubicBezTo>
                  <a:pt x="80" y="27"/>
                  <a:pt x="80" y="27"/>
                  <a:pt x="80" y="27"/>
                </a:cubicBezTo>
                <a:cubicBezTo>
                  <a:pt x="80" y="12"/>
                  <a:pt x="68" y="0"/>
                  <a:pt x="53" y="0"/>
                </a:cubicBezTo>
                <a:cubicBezTo>
                  <a:pt x="39" y="0"/>
                  <a:pt x="27" y="12"/>
                  <a:pt x="27" y="27"/>
                </a:cubicBezTo>
                <a:cubicBezTo>
                  <a:pt x="27" y="80"/>
                  <a:pt x="27" y="80"/>
                  <a:pt x="27" y="80"/>
                </a:cubicBezTo>
                <a:cubicBezTo>
                  <a:pt x="27" y="95"/>
                  <a:pt x="39" y="107"/>
                  <a:pt x="53" y="107"/>
                </a:cubicBezTo>
                <a:close/>
                <a:moveTo>
                  <a:pt x="40" y="27"/>
                </a:moveTo>
                <a:cubicBezTo>
                  <a:pt x="40" y="19"/>
                  <a:pt x="46" y="13"/>
                  <a:pt x="53" y="13"/>
                </a:cubicBezTo>
                <a:cubicBezTo>
                  <a:pt x="61" y="13"/>
                  <a:pt x="67" y="19"/>
                  <a:pt x="67" y="27"/>
                </a:cubicBezTo>
                <a:cubicBezTo>
                  <a:pt x="67" y="80"/>
                  <a:pt x="67" y="80"/>
                  <a:pt x="67" y="80"/>
                </a:cubicBezTo>
                <a:cubicBezTo>
                  <a:pt x="67" y="87"/>
                  <a:pt x="61" y="94"/>
                  <a:pt x="53" y="94"/>
                </a:cubicBezTo>
                <a:cubicBezTo>
                  <a:pt x="46" y="94"/>
                  <a:pt x="40" y="87"/>
                  <a:pt x="40" y="80"/>
                </a:cubicBezTo>
                <a:lnTo>
                  <a:pt x="40" y="27"/>
                </a:lnTo>
                <a:close/>
                <a:moveTo>
                  <a:pt x="107" y="67"/>
                </a:moveTo>
                <a:cubicBezTo>
                  <a:pt x="107" y="80"/>
                  <a:pt x="107" y="80"/>
                  <a:pt x="107" y="80"/>
                </a:cubicBezTo>
                <a:cubicBezTo>
                  <a:pt x="107" y="107"/>
                  <a:pt x="86" y="130"/>
                  <a:pt x="60" y="133"/>
                </a:cubicBezTo>
                <a:cubicBezTo>
                  <a:pt x="60" y="147"/>
                  <a:pt x="60" y="147"/>
                  <a:pt x="60" y="147"/>
                </a:cubicBezTo>
                <a:cubicBezTo>
                  <a:pt x="80" y="147"/>
                  <a:pt x="80" y="147"/>
                  <a:pt x="80" y="147"/>
                </a:cubicBezTo>
                <a:cubicBezTo>
                  <a:pt x="84" y="147"/>
                  <a:pt x="86" y="150"/>
                  <a:pt x="86" y="154"/>
                </a:cubicBezTo>
                <a:cubicBezTo>
                  <a:pt x="86" y="157"/>
                  <a:pt x="84" y="160"/>
                  <a:pt x="80" y="160"/>
                </a:cubicBezTo>
                <a:cubicBezTo>
                  <a:pt x="27" y="160"/>
                  <a:pt x="27" y="160"/>
                  <a:pt x="27" y="160"/>
                </a:cubicBezTo>
                <a:cubicBezTo>
                  <a:pt x="23" y="160"/>
                  <a:pt x="20" y="157"/>
                  <a:pt x="20" y="154"/>
                </a:cubicBezTo>
                <a:cubicBezTo>
                  <a:pt x="20" y="150"/>
                  <a:pt x="23" y="147"/>
                  <a:pt x="27" y="147"/>
                </a:cubicBezTo>
                <a:cubicBezTo>
                  <a:pt x="47" y="147"/>
                  <a:pt x="47" y="147"/>
                  <a:pt x="47" y="147"/>
                </a:cubicBezTo>
                <a:cubicBezTo>
                  <a:pt x="47" y="133"/>
                  <a:pt x="47" y="133"/>
                  <a:pt x="47" y="133"/>
                </a:cubicBezTo>
                <a:cubicBezTo>
                  <a:pt x="20" y="130"/>
                  <a:pt x="0" y="107"/>
                  <a:pt x="0" y="80"/>
                </a:cubicBezTo>
                <a:cubicBezTo>
                  <a:pt x="0" y="67"/>
                  <a:pt x="0" y="67"/>
                  <a:pt x="0" y="67"/>
                </a:cubicBezTo>
                <a:cubicBezTo>
                  <a:pt x="0" y="63"/>
                  <a:pt x="3" y="60"/>
                  <a:pt x="6" y="60"/>
                </a:cubicBezTo>
                <a:cubicBezTo>
                  <a:pt x="10" y="60"/>
                  <a:pt x="13" y="63"/>
                  <a:pt x="13" y="67"/>
                </a:cubicBezTo>
                <a:cubicBezTo>
                  <a:pt x="13" y="80"/>
                  <a:pt x="13" y="80"/>
                  <a:pt x="13" y="80"/>
                </a:cubicBezTo>
                <a:cubicBezTo>
                  <a:pt x="13" y="102"/>
                  <a:pt x="31" y="120"/>
                  <a:pt x="53" y="120"/>
                </a:cubicBezTo>
                <a:cubicBezTo>
                  <a:pt x="75" y="120"/>
                  <a:pt x="94" y="102"/>
                  <a:pt x="94" y="80"/>
                </a:cubicBezTo>
                <a:cubicBezTo>
                  <a:pt x="94" y="67"/>
                  <a:pt x="94" y="67"/>
                  <a:pt x="94" y="67"/>
                </a:cubicBezTo>
                <a:cubicBezTo>
                  <a:pt x="94" y="63"/>
                  <a:pt x="96" y="60"/>
                  <a:pt x="100" y="60"/>
                </a:cubicBezTo>
                <a:cubicBezTo>
                  <a:pt x="104" y="60"/>
                  <a:pt x="107" y="63"/>
                  <a:pt x="107" y="67"/>
                </a:cubicBezTo>
                <a:close/>
              </a:path>
            </a:pathLst>
          </a:custGeom>
          <a:solidFill>
            <a:srgbClr val="FFFFFF"/>
          </a:solidFill>
          <a:ln>
            <a:noFill/>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sp>
        <p:nvSpPr>
          <p:cNvPr id="17" name="TextBox 37">
            <a:extLst>
              <a:ext uri="{FF2B5EF4-FFF2-40B4-BE49-F238E27FC236}">
                <a16:creationId xmlns:a16="http://schemas.microsoft.com/office/drawing/2014/main" id="{F6EC53D4-F333-42E6-893F-2FF2D361BAC7}"/>
              </a:ext>
            </a:extLst>
          </p:cNvPr>
          <p:cNvSpPr txBox="1"/>
          <p:nvPr/>
        </p:nvSpPr>
        <p:spPr>
          <a:xfrm>
            <a:off x="5385851" y="4133689"/>
            <a:ext cx="1459989" cy="492443"/>
          </a:xfrm>
          <a:prstGeom prst="rect">
            <a:avLst/>
          </a:prstGeom>
          <a:noFill/>
        </p:spPr>
        <p:txBody>
          <a:bodyPr wrap="square" lIns="0" tIns="0" rIns="0" bIns="0" rtlCol="0">
            <a:spAutoFit/>
          </a:bodyPr>
          <a:lstStyle/>
          <a:p>
            <a:pPr marL="0" marR="0" lvl="0" indent="0" algn="ctr" defTabSz="457200" rtl="0" eaLnBrk="1" fontAlgn="base" latinLnBrk="0" hangingPunct="1">
              <a:lnSpc>
                <a:spcPct val="100000"/>
              </a:lnSpc>
              <a:spcBef>
                <a:spcPts val="100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Open Sans"/>
                <a:ea typeface="+mn-ea"/>
                <a:cs typeface="+mn-cs"/>
              </a:rPr>
              <a:t>Your title</a:t>
            </a:r>
            <a:br>
              <a:rPr kumimoji="0" lang="en-US" sz="1600" b="1" i="0" u="none" strike="noStrike" kern="1200" cap="none" spc="0" normalizeH="0" baseline="0" noProof="0" dirty="0">
                <a:ln>
                  <a:noFill/>
                </a:ln>
                <a:solidFill>
                  <a:prstClr val="white"/>
                </a:solidFill>
                <a:effectLst/>
                <a:uLnTx/>
                <a:uFillTx/>
                <a:latin typeface="Open Sans"/>
                <a:ea typeface="+mn-ea"/>
                <a:cs typeface="+mn-cs"/>
              </a:rPr>
            </a:br>
            <a:r>
              <a:rPr kumimoji="0" lang="en-US" sz="1600" b="1" i="0" u="none" strike="noStrike" kern="1200" cap="none" spc="0" normalizeH="0" baseline="0" noProof="0" dirty="0">
                <a:ln>
                  <a:noFill/>
                </a:ln>
                <a:solidFill>
                  <a:prstClr val="white"/>
                </a:solidFill>
                <a:effectLst/>
                <a:uLnTx/>
                <a:uFillTx/>
                <a:latin typeface="Open Sans"/>
                <a:ea typeface="+mn-ea"/>
                <a:cs typeface="+mn-cs"/>
              </a:rPr>
              <a:t>is here</a:t>
            </a:r>
          </a:p>
        </p:txBody>
      </p:sp>
      <p:sp>
        <p:nvSpPr>
          <p:cNvPr id="18" name="文本框 17">
            <a:extLst>
              <a:ext uri="{FF2B5EF4-FFF2-40B4-BE49-F238E27FC236}">
                <a16:creationId xmlns:a16="http://schemas.microsoft.com/office/drawing/2014/main" id="{C9F255DC-0B83-4762-AF91-E98235B90A1C}"/>
              </a:ext>
            </a:extLst>
          </p:cNvPr>
          <p:cNvSpPr txBox="1"/>
          <p:nvPr/>
        </p:nvSpPr>
        <p:spPr>
          <a:xfrm>
            <a:off x="4449556" y="918105"/>
            <a:ext cx="3292889" cy="52322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2800" b="0" i="0" u="none" strike="noStrike" kern="1200" cap="none" spc="0" normalizeH="0" baseline="0" noProof="0" dirty="0">
                <a:ln>
                  <a:noFill/>
                </a:ln>
                <a:solidFill>
                  <a:prstClr val="black"/>
                </a:solidFill>
                <a:effectLst/>
                <a:uLnTx/>
                <a:uFillTx/>
                <a:latin typeface="HarmonyOS Sans Black"/>
                <a:ea typeface="+mj-ea"/>
                <a:cs typeface="+mn-cs"/>
              </a:rPr>
              <a:t>Circle </a:t>
            </a:r>
            <a:r>
              <a:rPr kumimoji="0" lang="en-US" altLang="zh-CN" sz="2800" b="0" i="0" u="none" strike="noStrike" kern="1200" cap="none" spc="0" normalizeH="0" baseline="0" noProof="0" dirty="0">
                <a:ln>
                  <a:noFill/>
                </a:ln>
                <a:solidFill>
                  <a:schemeClr val="accent1"/>
                </a:solidFill>
                <a:effectLst/>
                <a:uLnTx/>
                <a:uFillTx/>
                <a:latin typeface="HarmonyOS Sans Black"/>
                <a:ea typeface="+mj-ea"/>
                <a:cs typeface="+mn-cs"/>
              </a:rPr>
              <a:t>infographic</a:t>
            </a:r>
          </a:p>
        </p:txBody>
      </p:sp>
      <p:grpSp>
        <p:nvGrpSpPr>
          <p:cNvPr id="44" name="组合 43">
            <a:extLst>
              <a:ext uri="{FF2B5EF4-FFF2-40B4-BE49-F238E27FC236}">
                <a16:creationId xmlns:a16="http://schemas.microsoft.com/office/drawing/2014/main" id="{D3DFBF90-2734-48CD-8FAE-ED4A6B24AEEF}"/>
              </a:ext>
            </a:extLst>
          </p:cNvPr>
          <p:cNvGrpSpPr/>
          <p:nvPr/>
        </p:nvGrpSpPr>
        <p:grpSpPr>
          <a:xfrm>
            <a:off x="1927213" y="3788158"/>
            <a:ext cx="2262702" cy="846145"/>
            <a:chOff x="1508465" y="2482630"/>
            <a:chExt cx="2262702" cy="846145"/>
          </a:xfrm>
        </p:grpSpPr>
        <p:sp>
          <p:nvSpPr>
            <p:cNvPr id="48" name="TextBox 65">
              <a:extLst>
                <a:ext uri="{FF2B5EF4-FFF2-40B4-BE49-F238E27FC236}">
                  <a16:creationId xmlns:a16="http://schemas.microsoft.com/office/drawing/2014/main" id="{B67FC7E4-FBE2-4A0C-907C-9D6C282B0EEB}"/>
                </a:ext>
              </a:extLst>
            </p:cNvPr>
            <p:cNvSpPr txBox="1"/>
            <p:nvPr/>
          </p:nvSpPr>
          <p:spPr>
            <a:xfrm>
              <a:off x="1714906" y="2482630"/>
              <a:ext cx="2056261" cy="352588"/>
            </a:xfrm>
            <a:prstGeom prst="rect">
              <a:avLst/>
            </a:prstGeom>
            <a:noFill/>
          </p:spPr>
          <p:txBody>
            <a:bodyPr wrap="square" lIns="0" tIns="36000" rIns="0" bIns="36000" rtlCol="0">
              <a:spAutoFit/>
            </a:bodyPr>
            <a:lstStyle/>
            <a:p>
              <a:pPr marL="0" marR="0" lvl="0" indent="0" algn="r" defTabSz="914400" rtl="0" eaLnBrk="1" fontAlgn="auto" latinLnBrk="0" hangingPunct="1">
                <a:lnSpc>
                  <a:spcPct val="120000"/>
                </a:lnSpc>
                <a:spcBef>
                  <a:spcPts val="600"/>
                </a:spcBef>
                <a:spcAft>
                  <a:spcPts val="0"/>
                </a:spcAft>
                <a:buClrTx/>
                <a:buSzTx/>
                <a:buFontTx/>
                <a:buNone/>
                <a:tabLst/>
                <a:defRPr/>
              </a:pPr>
              <a:r>
                <a:rPr kumimoji="0" lang="zh-CN" altLang="en-US" sz="1600" b="0" i="0" u="none" strike="noStrike" kern="1200" cap="none" spc="0" normalizeH="0" baseline="0" noProof="0" dirty="0">
                  <a:ln>
                    <a:noFill/>
                  </a:ln>
                  <a:solidFill>
                    <a:schemeClr val="accent1"/>
                  </a:solidFill>
                  <a:effectLst/>
                  <a:uLnTx/>
                  <a:uFillTx/>
                  <a:latin typeface="HarmonyOS Sans SC Black"/>
                  <a:ea typeface="+mj-ea"/>
                  <a:cs typeface="+mn-cs"/>
                </a:rPr>
                <a:t>关键词标题</a:t>
              </a:r>
              <a:endParaRPr kumimoji="0" lang="en-US" sz="1600" b="0" i="0" u="none" strike="noStrike" kern="1200" cap="none" spc="0" normalizeH="0" baseline="0" noProof="0" dirty="0">
                <a:ln>
                  <a:noFill/>
                </a:ln>
                <a:solidFill>
                  <a:schemeClr val="accent1"/>
                </a:solidFill>
                <a:effectLst/>
                <a:uLnTx/>
                <a:uFillTx/>
                <a:latin typeface="HarmonyOS Sans SC Black"/>
                <a:ea typeface="+mj-ea"/>
                <a:cs typeface="+mn-cs"/>
              </a:endParaRPr>
            </a:p>
          </p:txBody>
        </p:sp>
        <p:sp>
          <p:nvSpPr>
            <p:cNvPr id="49" name="TextBox 65">
              <a:extLst>
                <a:ext uri="{FF2B5EF4-FFF2-40B4-BE49-F238E27FC236}">
                  <a16:creationId xmlns:a16="http://schemas.microsoft.com/office/drawing/2014/main" id="{A9A4D76A-29AC-4FF9-9792-CDFA9CAB6B55}"/>
                </a:ext>
              </a:extLst>
            </p:cNvPr>
            <p:cNvSpPr txBox="1"/>
            <p:nvPr/>
          </p:nvSpPr>
          <p:spPr>
            <a:xfrm>
              <a:off x="1508465" y="2866029"/>
              <a:ext cx="2262702" cy="462746"/>
            </a:xfrm>
            <a:prstGeom prst="rect">
              <a:avLst/>
            </a:prstGeom>
            <a:noFill/>
          </p:spPr>
          <p:txBody>
            <a:bodyPr wrap="square" lIns="0" tIns="36000" rIns="0" bIns="36000" rtlCol="0">
              <a:spAutoFit/>
            </a:bodyPr>
            <a:lstStyle/>
            <a:p>
              <a:pPr marL="0" marR="0" lvl="0" indent="0" algn="r" defTabSz="914400" rtl="0" eaLnBrk="1" fontAlgn="auto" latinLnBrk="0" hangingPunct="1">
                <a:lnSpc>
                  <a:spcPct val="120000"/>
                </a:lnSpc>
                <a:spcBef>
                  <a:spcPts val="600"/>
                </a:spcBef>
                <a:spcAft>
                  <a:spcPts val="0"/>
                </a:spcAft>
                <a:buClrTx/>
                <a:buSzTx/>
                <a:buFontTx/>
                <a:buNone/>
                <a:tabLst/>
                <a:defRPr/>
              </a:pPr>
              <a:r>
                <a:rPr kumimoji="0" lang="en-US" sz="1100" b="0" i="0" u="none" strike="noStrike" kern="1200" cap="none" spc="0" normalizeH="0" baseline="0" noProof="0">
                  <a:ln>
                    <a:noFill/>
                  </a:ln>
                  <a:solidFill>
                    <a:prstClr val="black">
                      <a:lumMod val="50000"/>
                      <a:lumOff val="50000"/>
                    </a:prstClr>
                  </a:solidFill>
                  <a:effectLst/>
                  <a:uLnTx/>
                  <a:uFillTx/>
                  <a:latin typeface="HarmonyOS Sans SC"/>
                  <a:cs typeface="+mn-cs"/>
                </a:rPr>
                <a:t>Apparently we had reached a great height in the.</a:t>
              </a:r>
              <a:endParaRPr kumimoji="0" lang="en-US" sz="1100" b="0" i="0" u="none" strike="noStrike" kern="1200" cap="none" spc="0" normalizeH="0" baseline="0" noProof="0" dirty="0">
                <a:ln>
                  <a:noFill/>
                </a:ln>
                <a:solidFill>
                  <a:prstClr val="black">
                    <a:lumMod val="50000"/>
                    <a:lumOff val="50000"/>
                  </a:prstClr>
                </a:solidFill>
                <a:effectLst/>
                <a:uLnTx/>
                <a:uFillTx/>
                <a:latin typeface="HarmonyOS Sans SC"/>
                <a:cs typeface="+mn-cs"/>
              </a:endParaRPr>
            </a:p>
          </p:txBody>
        </p:sp>
      </p:grpSp>
      <p:grpSp>
        <p:nvGrpSpPr>
          <p:cNvPr id="45" name="组合 44">
            <a:extLst>
              <a:ext uri="{FF2B5EF4-FFF2-40B4-BE49-F238E27FC236}">
                <a16:creationId xmlns:a16="http://schemas.microsoft.com/office/drawing/2014/main" id="{AD3CD21F-60E8-4784-A512-5E3A3D7B2EEB}"/>
              </a:ext>
            </a:extLst>
          </p:cNvPr>
          <p:cNvGrpSpPr/>
          <p:nvPr/>
        </p:nvGrpSpPr>
        <p:grpSpPr>
          <a:xfrm>
            <a:off x="2327511" y="4908810"/>
            <a:ext cx="2262702" cy="846145"/>
            <a:chOff x="1508465" y="2482630"/>
            <a:chExt cx="2262702" cy="846145"/>
          </a:xfrm>
        </p:grpSpPr>
        <p:sp>
          <p:nvSpPr>
            <p:cNvPr id="46" name="TextBox 65">
              <a:extLst>
                <a:ext uri="{FF2B5EF4-FFF2-40B4-BE49-F238E27FC236}">
                  <a16:creationId xmlns:a16="http://schemas.microsoft.com/office/drawing/2014/main" id="{5A3092BA-57F9-4687-B185-79227FBC9573}"/>
                </a:ext>
              </a:extLst>
            </p:cNvPr>
            <p:cNvSpPr txBox="1"/>
            <p:nvPr/>
          </p:nvSpPr>
          <p:spPr>
            <a:xfrm>
              <a:off x="1714906" y="2482630"/>
              <a:ext cx="2056261" cy="352588"/>
            </a:xfrm>
            <a:prstGeom prst="rect">
              <a:avLst/>
            </a:prstGeom>
            <a:noFill/>
          </p:spPr>
          <p:txBody>
            <a:bodyPr wrap="square" lIns="0" tIns="36000" rIns="0" bIns="36000" rtlCol="0">
              <a:spAutoFit/>
            </a:bodyPr>
            <a:lstStyle/>
            <a:p>
              <a:pPr marL="0" marR="0" lvl="0" indent="0" algn="r" defTabSz="914400" rtl="0" eaLnBrk="1" fontAlgn="auto" latinLnBrk="0" hangingPunct="1">
                <a:lnSpc>
                  <a:spcPct val="120000"/>
                </a:lnSpc>
                <a:spcBef>
                  <a:spcPts val="600"/>
                </a:spcBef>
                <a:spcAft>
                  <a:spcPts val="0"/>
                </a:spcAft>
                <a:buClrTx/>
                <a:buSzTx/>
                <a:buFontTx/>
                <a:buNone/>
                <a:tabLst/>
                <a:defRPr/>
              </a:pPr>
              <a:r>
                <a:rPr kumimoji="0" lang="zh-CN" altLang="en-US" sz="1600" b="0" i="0" u="none" strike="noStrike" kern="1200" cap="none" spc="0" normalizeH="0" baseline="0" noProof="0" dirty="0">
                  <a:ln>
                    <a:noFill/>
                  </a:ln>
                  <a:solidFill>
                    <a:schemeClr val="accent1"/>
                  </a:solidFill>
                  <a:effectLst/>
                  <a:uLnTx/>
                  <a:uFillTx/>
                  <a:latin typeface="HarmonyOS Sans SC Black"/>
                  <a:ea typeface="+mj-ea"/>
                  <a:cs typeface="+mn-cs"/>
                </a:rPr>
                <a:t>关键词标题</a:t>
              </a:r>
              <a:endParaRPr kumimoji="0" lang="en-US" sz="1600" b="0" i="0" u="none" strike="noStrike" kern="1200" cap="none" spc="0" normalizeH="0" baseline="0" noProof="0" dirty="0">
                <a:ln>
                  <a:noFill/>
                </a:ln>
                <a:solidFill>
                  <a:schemeClr val="accent1"/>
                </a:solidFill>
                <a:effectLst/>
                <a:uLnTx/>
                <a:uFillTx/>
                <a:latin typeface="HarmonyOS Sans SC Black"/>
                <a:ea typeface="+mj-ea"/>
                <a:cs typeface="+mn-cs"/>
              </a:endParaRPr>
            </a:p>
          </p:txBody>
        </p:sp>
        <p:sp>
          <p:nvSpPr>
            <p:cNvPr id="47" name="TextBox 65">
              <a:extLst>
                <a:ext uri="{FF2B5EF4-FFF2-40B4-BE49-F238E27FC236}">
                  <a16:creationId xmlns:a16="http://schemas.microsoft.com/office/drawing/2014/main" id="{78452D52-2EBB-4D07-9ABC-448910C982C0}"/>
                </a:ext>
              </a:extLst>
            </p:cNvPr>
            <p:cNvSpPr txBox="1"/>
            <p:nvPr/>
          </p:nvSpPr>
          <p:spPr>
            <a:xfrm>
              <a:off x="1508465" y="2866029"/>
              <a:ext cx="2262702" cy="462746"/>
            </a:xfrm>
            <a:prstGeom prst="rect">
              <a:avLst/>
            </a:prstGeom>
            <a:noFill/>
          </p:spPr>
          <p:txBody>
            <a:bodyPr wrap="square" lIns="0" tIns="36000" rIns="0" bIns="36000" rtlCol="0">
              <a:spAutoFit/>
            </a:bodyPr>
            <a:lstStyle/>
            <a:p>
              <a:pPr marL="0" marR="0" lvl="0" indent="0" algn="r" defTabSz="914400" rtl="0" eaLnBrk="1" fontAlgn="auto" latinLnBrk="0" hangingPunct="1">
                <a:lnSpc>
                  <a:spcPct val="120000"/>
                </a:lnSpc>
                <a:spcBef>
                  <a:spcPts val="600"/>
                </a:spcBef>
                <a:spcAft>
                  <a:spcPts val="0"/>
                </a:spcAft>
                <a:buClrTx/>
                <a:buSzTx/>
                <a:buFontTx/>
                <a:buNone/>
                <a:tabLst/>
                <a:defRPr/>
              </a:pPr>
              <a:r>
                <a:rPr kumimoji="0" lang="en-US" sz="1100" b="0" i="0" u="none" strike="noStrike" kern="1200" cap="none" spc="0" normalizeH="0" baseline="0" noProof="0">
                  <a:ln>
                    <a:noFill/>
                  </a:ln>
                  <a:solidFill>
                    <a:prstClr val="black">
                      <a:lumMod val="50000"/>
                      <a:lumOff val="50000"/>
                    </a:prstClr>
                  </a:solidFill>
                  <a:effectLst/>
                  <a:uLnTx/>
                  <a:uFillTx/>
                  <a:latin typeface="HarmonyOS Sans SC"/>
                  <a:cs typeface="+mn-cs"/>
                </a:rPr>
                <a:t>Apparently we had reached a great height in the.</a:t>
              </a:r>
              <a:endParaRPr kumimoji="0" lang="en-US" sz="1100" b="0" i="0" u="none" strike="noStrike" kern="1200" cap="none" spc="0" normalizeH="0" baseline="0" noProof="0" dirty="0">
                <a:ln>
                  <a:noFill/>
                </a:ln>
                <a:solidFill>
                  <a:prstClr val="black">
                    <a:lumMod val="50000"/>
                    <a:lumOff val="50000"/>
                  </a:prstClr>
                </a:solidFill>
                <a:effectLst/>
                <a:uLnTx/>
                <a:uFillTx/>
                <a:latin typeface="HarmonyOS Sans SC"/>
                <a:cs typeface="+mn-cs"/>
              </a:endParaRPr>
            </a:p>
          </p:txBody>
        </p:sp>
      </p:grpSp>
      <p:grpSp>
        <p:nvGrpSpPr>
          <p:cNvPr id="38" name="组合 37">
            <a:extLst>
              <a:ext uri="{FF2B5EF4-FFF2-40B4-BE49-F238E27FC236}">
                <a16:creationId xmlns:a16="http://schemas.microsoft.com/office/drawing/2014/main" id="{3F595221-456C-42AF-83CF-4B00C443AD1F}"/>
              </a:ext>
            </a:extLst>
          </p:cNvPr>
          <p:cNvGrpSpPr/>
          <p:nvPr/>
        </p:nvGrpSpPr>
        <p:grpSpPr>
          <a:xfrm flipH="1">
            <a:off x="8002085" y="3788158"/>
            <a:ext cx="2262702" cy="846145"/>
            <a:chOff x="1508465" y="2482630"/>
            <a:chExt cx="2262702" cy="846145"/>
          </a:xfrm>
        </p:grpSpPr>
        <p:sp>
          <p:nvSpPr>
            <p:cNvPr id="42" name="TextBox 65">
              <a:extLst>
                <a:ext uri="{FF2B5EF4-FFF2-40B4-BE49-F238E27FC236}">
                  <a16:creationId xmlns:a16="http://schemas.microsoft.com/office/drawing/2014/main" id="{64ACCD66-8CDE-41BF-9F19-29F6055DDA0A}"/>
                </a:ext>
              </a:extLst>
            </p:cNvPr>
            <p:cNvSpPr txBox="1"/>
            <p:nvPr/>
          </p:nvSpPr>
          <p:spPr>
            <a:xfrm>
              <a:off x="1714906" y="2482630"/>
              <a:ext cx="2056261" cy="352588"/>
            </a:xfrm>
            <a:prstGeom prst="rect">
              <a:avLst/>
            </a:prstGeom>
            <a:noFill/>
          </p:spPr>
          <p:txBody>
            <a:bodyPr wrap="square" lIns="0" tIns="36000" rIns="0" bIns="36000" rtlCol="0">
              <a:spAutoFit/>
            </a:bodyPr>
            <a:lstStyle/>
            <a:p>
              <a:pPr marL="0" marR="0" lvl="0" indent="0" algn="l" defTabSz="914400" rtl="0" eaLnBrk="1" fontAlgn="auto" latinLnBrk="0" hangingPunct="1">
                <a:lnSpc>
                  <a:spcPct val="120000"/>
                </a:lnSpc>
                <a:spcBef>
                  <a:spcPts val="600"/>
                </a:spcBef>
                <a:spcAft>
                  <a:spcPts val="0"/>
                </a:spcAft>
                <a:buClrTx/>
                <a:buSzTx/>
                <a:buFontTx/>
                <a:buNone/>
                <a:tabLst/>
                <a:defRPr/>
              </a:pPr>
              <a:r>
                <a:rPr kumimoji="0" lang="zh-CN" altLang="en-US" sz="1600" b="0" i="0" u="none" strike="noStrike" kern="1200" cap="none" spc="0" normalizeH="0" baseline="0" noProof="0" dirty="0">
                  <a:ln>
                    <a:noFill/>
                  </a:ln>
                  <a:solidFill>
                    <a:schemeClr val="accent1"/>
                  </a:solidFill>
                  <a:effectLst/>
                  <a:uLnTx/>
                  <a:uFillTx/>
                  <a:latin typeface="HarmonyOS Sans SC Black"/>
                  <a:ea typeface="+mj-ea"/>
                  <a:cs typeface="+mn-cs"/>
                </a:rPr>
                <a:t>关键词标题</a:t>
              </a:r>
              <a:endParaRPr kumimoji="0" lang="en-US" sz="1600" b="0" i="0" u="none" strike="noStrike" kern="1200" cap="none" spc="0" normalizeH="0" baseline="0" noProof="0" dirty="0">
                <a:ln>
                  <a:noFill/>
                </a:ln>
                <a:solidFill>
                  <a:schemeClr val="accent1"/>
                </a:solidFill>
                <a:effectLst/>
                <a:uLnTx/>
                <a:uFillTx/>
                <a:latin typeface="HarmonyOS Sans SC Black"/>
                <a:ea typeface="+mj-ea"/>
                <a:cs typeface="+mn-cs"/>
              </a:endParaRPr>
            </a:p>
          </p:txBody>
        </p:sp>
        <p:sp>
          <p:nvSpPr>
            <p:cNvPr id="43" name="TextBox 65">
              <a:extLst>
                <a:ext uri="{FF2B5EF4-FFF2-40B4-BE49-F238E27FC236}">
                  <a16:creationId xmlns:a16="http://schemas.microsoft.com/office/drawing/2014/main" id="{FBFB3586-2ED3-4129-B536-EC3D713C5F2B}"/>
                </a:ext>
              </a:extLst>
            </p:cNvPr>
            <p:cNvSpPr txBox="1"/>
            <p:nvPr/>
          </p:nvSpPr>
          <p:spPr>
            <a:xfrm>
              <a:off x="1508465" y="2866029"/>
              <a:ext cx="2262702" cy="462746"/>
            </a:xfrm>
            <a:prstGeom prst="rect">
              <a:avLst/>
            </a:prstGeom>
            <a:noFill/>
          </p:spPr>
          <p:txBody>
            <a:bodyPr wrap="square" lIns="0" tIns="36000" rIns="0" bIns="36000" rtlCol="0">
              <a:spAutoFit/>
            </a:bodyPr>
            <a:lstStyle/>
            <a:p>
              <a:pPr marL="0" marR="0" lvl="0" indent="0" algn="l" defTabSz="914400" rtl="0" eaLnBrk="1" fontAlgn="auto" latinLnBrk="0" hangingPunct="1">
                <a:lnSpc>
                  <a:spcPct val="120000"/>
                </a:lnSpc>
                <a:spcBef>
                  <a:spcPts val="600"/>
                </a:spcBef>
                <a:spcAft>
                  <a:spcPts val="0"/>
                </a:spcAft>
                <a:buClrTx/>
                <a:buSzTx/>
                <a:buFontTx/>
                <a:buNone/>
                <a:tabLst/>
                <a:defRPr/>
              </a:pPr>
              <a:r>
                <a:rPr kumimoji="0" lang="en-US" sz="1100" b="0" i="0" u="none" strike="noStrike" kern="1200" cap="none" spc="0" normalizeH="0" baseline="0" noProof="0" dirty="0">
                  <a:ln>
                    <a:noFill/>
                  </a:ln>
                  <a:solidFill>
                    <a:prstClr val="black">
                      <a:lumMod val="50000"/>
                      <a:lumOff val="50000"/>
                    </a:prstClr>
                  </a:solidFill>
                  <a:effectLst/>
                  <a:uLnTx/>
                  <a:uFillTx/>
                  <a:latin typeface="HarmonyOS Sans SC"/>
                  <a:cs typeface="+mn-cs"/>
                </a:rPr>
                <a:t>Apparently we had reached a great height in the.</a:t>
              </a:r>
            </a:p>
          </p:txBody>
        </p:sp>
      </p:grpSp>
      <p:grpSp>
        <p:nvGrpSpPr>
          <p:cNvPr id="39" name="组合 38">
            <a:extLst>
              <a:ext uri="{FF2B5EF4-FFF2-40B4-BE49-F238E27FC236}">
                <a16:creationId xmlns:a16="http://schemas.microsoft.com/office/drawing/2014/main" id="{9A52781C-4CD7-4895-BD2D-38E7C405CC68}"/>
              </a:ext>
            </a:extLst>
          </p:cNvPr>
          <p:cNvGrpSpPr/>
          <p:nvPr/>
        </p:nvGrpSpPr>
        <p:grpSpPr>
          <a:xfrm flipH="1">
            <a:off x="7601787" y="4908810"/>
            <a:ext cx="2262702" cy="846145"/>
            <a:chOff x="1508465" y="2482630"/>
            <a:chExt cx="2262702" cy="846145"/>
          </a:xfrm>
        </p:grpSpPr>
        <p:sp>
          <p:nvSpPr>
            <p:cNvPr id="40" name="TextBox 65">
              <a:extLst>
                <a:ext uri="{FF2B5EF4-FFF2-40B4-BE49-F238E27FC236}">
                  <a16:creationId xmlns:a16="http://schemas.microsoft.com/office/drawing/2014/main" id="{EE31DB0E-58FD-45FC-9BB1-6EA4EDE6AD58}"/>
                </a:ext>
              </a:extLst>
            </p:cNvPr>
            <p:cNvSpPr txBox="1"/>
            <p:nvPr/>
          </p:nvSpPr>
          <p:spPr>
            <a:xfrm>
              <a:off x="1714906" y="2482630"/>
              <a:ext cx="2056261" cy="352588"/>
            </a:xfrm>
            <a:prstGeom prst="rect">
              <a:avLst/>
            </a:prstGeom>
            <a:noFill/>
          </p:spPr>
          <p:txBody>
            <a:bodyPr wrap="square" lIns="0" tIns="36000" rIns="0" bIns="36000" rtlCol="0">
              <a:spAutoFit/>
            </a:bodyPr>
            <a:lstStyle/>
            <a:p>
              <a:pPr marL="0" marR="0" lvl="0" indent="0" algn="l" defTabSz="914400" rtl="0" eaLnBrk="1" fontAlgn="auto" latinLnBrk="0" hangingPunct="1">
                <a:lnSpc>
                  <a:spcPct val="120000"/>
                </a:lnSpc>
                <a:spcBef>
                  <a:spcPts val="600"/>
                </a:spcBef>
                <a:spcAft>
                  <a:spcPts val="0"/>
                </a:spcAft>
                <a:buClrTx/>
                <a:buSzTx/>
                <a:buFontTx/>
                <a:buNone/>
                <a:tabLst/>
                <a:defRPr/>
              </a:pPr>
              <a:r>
                <a:rPr kumimoji="0" lang="zh-CN" altLang="en-US" sz="1600" b="0" i="0" u="none" strike="noStrike" kern="1200" cap="none" spc="0" normalizeH="0" baseline="0" noProof="0" dirty="0">
                  <a:ln>
                    <a:noFill/>
                  </a:ln>
                  <a:solidFill>
                    <a:schemeClr val="accent1"/>
                  </a:solidFill>
                  <a:effectLst/>
                  <a:uLnTx/>
                  <a:uFillTx/>
                  <a:latin typeface="HarmonyOS Sans SC Black"/>
                  <a:ea typeface="+mj-ea"/>
                  <a:cs typeface="+mn-cs"/>
                </a:rPr>
                <a:t>关键词标题</a:t>
              </a:r>
              <a:endParaRPr kumimoji="0" lang="en-US" sz="1600" b="0" i="0" u="none" strike="noStrike" kern="1200" cap="none" spc="0" normalizeH="0" baseline="0" noProof="0" dirty="0">
                <a:ln>
                  <a:noFill/>
                </a:ln>
                <a:solidFill>
                  <a:schemeClr val="accent1"/>
                </a:solidFill>
                <a:effectLst/>
                <a:uLnTx/>
                <a:uFillTx/>
                <a:latin typeface="HarmonyOS Sans SC Black"/>
                <a:ea typeface="+mj-ea"/>
                <a:cs typeface="+mn-cs"/>
              </a:endParaRPr>
            </a:p>
          </p:txBody>
        </p:sp>
        <p:sp>
          <p:nvSpPr>
            <p:cNvPr id="41" name="TextBox 65">
              <a:extLst>
                <a:ext uri="{FF2B5EF4-FFF2-40B4-BE49-F238E27FC236}">
                  <a16:creationId xmlns:a16="http://schemas.microsoft.com/office/drawing/2014/main" id="{03F2725D-B9A4-4BDB-A492-5CF362B98D20}"/>
                </a:ext>
              </a:extLst>
            </p:cNvPr>
            <p:cNvSpPr txBox="1"/>
            <p:nvPr/>
          </p:nvSpPr>
          <p:spPr>
            <a:xfrm>
              <a:off x="1508465" y="2866029"/>
              <a:ext cx="2262702" cy="462746"/>
            </a:xfrm>
            <a:prstGeom prst="rect">
              <a:avLst/>
            </a:prstGeom>
            <a:noFill/>
          </p:spPr>
          <p:txBody>
            <a:bodyPr wrap="square" lIns="0" tIns="36000" rIns="0" bIns="36000" rtlCol="0">
              <a:spAutoFit/>
            </a:bodyPr>
            <a:lstStyle/>
            <a:p>
              <a:pPr marL="0" marR="0" lvl="0" indent="0" algn="l" defTabSz="914400" rtl="0" eaLnBrk="1" fontAlgn="auto" latinLnBrk="0" hangingPunct="1">
                <a:lnSpc>
                  <a:spcPct val="120000"/>
                </a:lnSpc>
                <a:spcBef>
                  <a:spcPts val="600"/>
                </a:spcBef>
                <a:spcAft>
                  <a:spcPts val="0"/>
                </a:spcAft>
                <a:buClrTx/>
                <a:buSzTx/>
                <a:buFontTx/>
                <a:buNone/>
                <a:tabLst/>
                <a:defRPr/>
              </a:pPr>
              <a:r>
                <a:rPr kumimoji="0" lang="en-US" sz="1100" b="0" i="0" u="none" strike="noStrike" kern="1200" cap="none" spc="0" normalizeH="0" baseline="0" noProof="0" dirty="0">
                  <a:ln>
                    <a:noFill/>
                  </a:ln>
                  <a:solidFill>
                    <a:prstClr val="black">
                      <a:lumMod val="50000"/>
                      <a:lumOff val="50000"/>
                    </a:prstClr>
                  </a:solidFill>
                  <a:effectLst/>
                  <a:uLnTx/>
                  <a:uFillTx/>
                  <a:latin typeface="HarmonyOS Sans SC"/>
                  <a:cs typeface="+mn-cs"/>
                </a:rPr>
                <a:t>Apparently we had reached a great height in the.</a:t>
              </a:r>
            </a:p>
          </p:txBody>
        </p:sp>
      </p:grpSp>
      <p:grpSp>
        <p:nvGrpSpPr>
          <p:cNvPr id="53" name="组合 52">
            <a:extLst>
              <a:ext uri="{FF2B5EF4-FFF2-40B4-BE49-F238E27FC236}">
                <a16:creationId xmlns:a16="http://schemas.microsoft.com/office/drawing/2014/main" id="{2980E7F9-A9A0-46A0-B4C9-8039F8DC0BFD}"/>
              </a:ext>
            </a:extLst>
          </p:cNvPr>
          <p:cNvGrpSpPr/>
          <p:nvPr/>
        </p:nvGrpSpPr>
        <p:grpSpPr>
          <a:xfrm>
            <a:off x="5005284" y="1766231"/>
            <a:ext cx="2181434" cy="878811"/>
            <a:chOff x="4977847" y="4094711"/>
            <a:chExt cx="2056261" cy="828384"/>
          </a:xfrm>
        </p:grpSpPr>
        <p:sp>
          <p:nvSpPr>
            <p:cNvPr id="54" name="TextBox 65">
              <a:extLst>
                <a:ext uri="{FF2B5EF4-FFF2-40B4-BE49-F238E27FC236}">
                  <a16:creationId xmlns:a16="http://schemas.microsoft.com/office/drawing/2014/main" id="{35DDF318-9F45-4A25-881C-442F9A799C44}"/>
                </a:ext>
              </a:extLst>
            </p:cNvPr>
            <p:cNvSpPr txBox="1"/>
            <p:nvPr/>
          </p:nvSpPr>
          <p:spPr>
            <a:xfrm>
              <a:off x="4977847" y="4094711"/>
              <a:ext cx="2056261" cy="299355"/>
            </a:xfrm>
            <a:prstGeom prst="rect">
              <a:avLst/>
            </a:prstGeom>
            <a:noFill/>
          </p:spPr>
          <p:txBody>
            <a:bodyPr wrap="square" lIns="0" tIns="36000" rIns="0" bIns="36000" rtlCol="0">
              <a:spAutoFit/>
            </a:bodyPr>
            <a:lstStyle/>
            <a:p>
              <a:pPr marL="0" marR="0" lvl="0" indent="0" algn="ctr" defTabSz="914400" rtl="0" eaLnBrk="1" fontAlgn="auto" latinLnBrk="0" hangingPunct="1">
                <a:lnSpc>
                  <a:spcPct val="120000"/>
                </a:lnSpc>
                <a:spcBef>
                  <a:spcPts val="600"/>
                </a:spcBef>
                <a:spcAft>
                  <a:spcPts val="0"/>
                </a:spcAft>
                <a:buClrTx/>
                <a:buSzTx/>
                <a:buFontTx/>
                <a:buNone/>
                <a:tabLst/>
                <a:defRPr/>
              </a:pPr>
              <a:r>
                <a:rPr kumimoji="0" lang="zh-CN" altLang="en-US" sz="1400" b="0" i="0" u="none" strike="noStrike" kern="1200" cap="none" spc="0" normalizeH="0" baseline="0" noProof="0" dirty="0">
                  <a:ln>
                    <a:noFill/>
                  </a:ln>
                  <a:solidFill>
                    <a:schemeClr val="accent1"/>
                  </a:solidFill>
                  <a:effectLst/>
                  <a:uLnTx/>
                  <a:uFillTx/>
                  <a:latin typeface="HarmonyOS Sans SC Black"/>
                  <a:ea typeface="+mj-ea"/>
                  <a:cs typeface="+mn-cs"/>
                </a:rPr>
                <a:t>关键词标题</a:t>
              </a:r>
              <a:endParaRPr kumimoji="0" lang="en-US" sz="1400" b="0" i="0" u="none" strike="noStrike" kern="1200" cap="none" spc="0" normalizeH="0" baseline="0" noProof="0" dirty="0">
                <a:ln>
                  <a:noFill/>
                </a:ln>
                <a:solidFill>
                  <a:schemeClr val="accent1"/>
                </a:solidFill>
                <a:effectLst/>
                <a:uLnTx/>
                <a:uFillTx/>
                <a:latin typeface="HarmonyOS Sans SC Black"/>
                <a:ea typeface="+mj-ea"/>
                <a:cs typeface="+mn-cs"/>
              </a:endParaRPr>
            </a:p>
          </p:txBody>
        </p:sp>
        <p:sp>
          <p:nvSpPr>
            <p:cNvPr id="55" name="TextBox 65">
              <a:extLst>
                <a:ext uri="{FF2B5EF4-FFF2-40B4-BE49-F238E27FC236}">
                  <a16:creationId xmlns:a16="http://schemas.microsoft.com/office/drawing/2014/main" id="{2F598315-2E2C-44FF-985A-44997C769402}"/>
                </a:ext>
              </a:extLst>
            </p:cNvPr>
            <p:cNvSpPr txBox="1"/>
            <p:nvPr/>
          </p:nvSpPr>
          <p:spPr>
            <a:xfrm>
              <a:off x="5079094" y="4478110"/>
              <a:ext cx="1853768" cy="444985"/>
            </a:xfrm>
            <a:prstGeom prst="rect">
              <a:avLst/>
            </a:prstGeom>
            <a:noFill/>
          </p:spPr>
          <p:txBody>
            <a:bodyPr wrap="square" lIns="0" tIns="36000" rIns="0" bIns="36000" rtlCol="0">
              <a:spAutoFit/>
            </a:bodyPr>
            <a:lstStyle/>
            <a:p>
              <a:pPr marL="0" marR="0" lvl="0" indent="0" algn="ctr" defTabSz="914400" rtl="0" eaLnBrk="1" fontAlgn="auto" latinLnBrk="0" hangingPunct="1">
                <a:lnSpc>
                  <a:spcPct val="120000"/>
                </a:lnSpc>
                <a:spcBef>
                  <a:spcPts val="600"/>
                </a:spcBef>
                <a:spcAft>
                  <a:spcPts val="0"/>
                </a:spcAft>
                <a:buClrTx/>
                <a:buSzTx/>
                <a:buFontTx/>
                <a:buNone/>
                <a:tabLst/>
                <a:defRPr/>
              </a:pPr>
              <a:r>
                <a:rPr kumimoji="0" lang="en-US" sz="1050" b="0" i="0" u="none" strike="noStrike" kern="1200" cap="none" spc="0" normalizeH="0" baseline="0" noProof="0" dirty="0">
                  <a:ln>
                    <a:noFill/>
                  </a:ln>
                  <a:solidFill>
                    <a:prstClr val="black">
                      <a:lumMod val="50000"/>
                      <a:lumOff val="50000"/>
                    </a:prstClr>
                  </a:solidFill>
                  <a:effectLst/>
                  <a:uLnTx/>
                  <a:uFillTx/>
                  <a:latin typeface="HarmonyOS Sans SC"/>
                  <a:cs typeface="+mn-cs"/>
                </a:rPr>
                <a:t>Apparently we had reached a great height in the.</a:t>
              </a:r>
            </a:p>
          </p:txBody>
        </p:sp>
      </p:grpSp>
    </p:spTree>
    <p:extLst>
      <p:ext uri="{BB962C8B-B14F-4D97-AF65-F5344CB8AC3E}">
        <p14:creationId xmlns:p14="http://schemas.microsoft.com/office/powerpoint/2010/main" val="925637800"/>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4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reeform 5">
            <a:extLst>
              <a:ext uri="{FF2B5EF4-FFF2-40B4-BE49-F238E27FC236}">
                <a16:creationId xmlns:a16="http://schemas.microsoft.com/office/drawing/2014/main" id="{35377360-C7B3-4897-8386-A043539E394D}"/>
              </a:ext>
            </a:extLst>
          </p:cNvPr>
          <p:cNvSpPr>
            <a:spLocks/>
          </p:cNvSpPr>
          <p:nvPr/>
        </p:nvSpPr>
        <p:spPr bwMode="auto">
          <a:xfrm>
            <a:off x="6156325" y="2381128"/>
            <a:ext cx="1360488" cy="1211263"/>
          </a:xfrm>
          <a:custGeom>
            <a:avLst/>
            <a:gdLst>
              <a:gd name="T0" fmla="*/ 303 w 303"/>
              <a:gd name="T1" fmla="*/ 175 h 270"/>
              <a:gd name="T2" fmla="*/ 0 w 303"/>
              <a:gd name="T3" fmla="*/ 0 h 270"/>
              <a:gd name="T4" fmla="*/ 0 w 303"/>
              <a:gd name="T5" fmla="*/ 190 h 270"/>
              <a:gd name="T6" fmla="*/ 139 w 303"/>
              <a:gd name="T7" fmla="*/ 270 h 270"/>
              <a:gd name="T8" fmla="*/ 303 w 303"/>
              <a:gd name="T9" fmla="*/ 175 h 270"/>
            </a:gdLst>
            <a:ahLst/>
            <a:cxnLst>
              <a:cxn ang="0">
                <a:pos x="T0" y="T1"/>
              </a:cxn>
              <a:cxn ang="0">
                <a:pos x="T2" y="T3"/>
              </a:cxn>
              <a:cxn ang="0">
                <a:pos x="T4" y="T5"/>
              </a:cxn>
              <a:cxn ang="0">
                <a:pos x="T6" y="T7"/>
              </a:cxn>
              <a:cxn ang="0">
                <a:pos x="T8" y="T9"/>
              </a:cxn>
            </a:cxnLst>
            <a:rect l="0" t="0" r="r" b="b"/>
            <a:pathLst>
              <a:path w="303" h="270">
                <a:moveTo>
                  <a:pt x="303" y="175"/>
                </a:moveTo>
                <a:cubicBezTo>
                  <a:pt x="237" y="69"/>
                  <a:pt x="125" y="4"/>
                  <a:pt x="0" y="0"/>
                </a:cubicBezTo>
                <a:cubicBezTo>
                  <a:pt x="0" y="190"/>
                  <a:pt x="0" y="190"/>
                  <a:pt x="0" y="190"/>
                </a:cubicBezTo>
                <a:cubicBezTo>
                  <a:pt x="139" y="270"/>
                  <a:pt x="139" y="270"/>
                  <a:pt x="139" y="270"/>
                </a:cubicBezTo>
                <a:lnTo>
                  <a:pt x="303" y="175"/>
                </a:lnTo>
                <a:close/>
              </a:path>
            </a:pathLst>
          </a:custGeom>
          <a:gradFill flip="none" rotWithShape="1">
            <a:gsLst>
              <a:gs pos="64000">
                <a:schemeClr val="accent1"/>
              </a:gs>
              <a:gs pos="31000">
                <a:schemeClr val="accent1">
                  <a:lumMod val="60000"/>
                  <a:lumOff val="40000"/>
                </a:schemeClr>
              </a:gs>
              <a:gs pos="0">
                <a:schemeClr val="accent1">
                  <a:lumMod val="40000"/>
                  <a:lumOff val="60000"/>
                </a:schemeClr>
              </a:gs>
            </a:gsLst>
            <a:lin ang="2700000" scaled="1"/>
            <a:tileRect/>
          </a:gradFill>
          <a:ln>
            <a:noFill/>
          </a:ln>
          <a:effectLst>
            <a:outerShdw blurRad="444500" dist="317500" dir="5400000" sx="92000" sy="92000" algn="t" rotWithShape="0">
              <a:schemeClr val="accent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4" name="Freeform 6">
            <a:extLst>
              <a:ext uri="{FF2B5EF4-FFF2-40B4-BE49-F238E27FC236}">
                <a16:creationId xmlns:a16="http://schemas.microsoft.com/office/drawing/2014/main" id="{286A3609-B702-49A2-8F1E-259D27DC2126}"/>
              </a:ext>
            </a:extLst>
          </p:cNvPr>
          <p:cNvSpPr>
            <a:spLocks/>
          </p:cNvSpPr>
          <p:nvPr/>
        </p:nvSpPr>
        <p:spPr bwMode="auto">
          <a:xfrm>
            <a:off x="4675188" y="2381128"/>
            <a:ext cx="1360488" cy="1211263"/>
          </a:xfrm>
          <a:custGeom>
            <a:avLst/>
            <a:gdLst>
              <a:gd name="T0" fmla="*/ 0 w 303"/>
              <a:gd name="T1" fmla="*/ 175 h 270"/>
              <a:gd name="T2" fmla="*/ 164 w 303"/>
              <a:gd name="T3" fmla="*/ 270 h 270"/>
              <a:gd name="T4" fmla="*/ 303 w 303"/>
              <a:gd name="T5" fmla="*/ 190 h 270"/>
              <a:gd name="T6" fmla="*/ 303 w 303"/>
              <a:gd name="T7" fmla="*/ 0 h 270"/>
              <a:gd name="T8" fmla="*/ 0 w 303"/>
              <a:gd name="T9" fmla="*/ 175 h 270"/>
            </a:gdLst>
            <a:ahLst/>
            <a:cxnLst>
              <a:cxn ang="0">
                <a:pos x="T0" y="T1"/>
              </a:cxn>
              <a:cxn ang="0">
                <a:pos x="T2" y="T3"/>
              </a:cxn>
              <a:cxn ang="0">
                <a:pos x="T4" y="T5"/>
              </a:cxn>
              <a:cxn ang="0">
                <a:pos x="T6" y="T7"/>
              </a:cxn>
              <a:cxn ang="0">
                <a:pos x="T8" y="T9"/>
              </a:cxn>
            </a:cxnLst>
            <a:rect l="0" t="0" r="r" b="b"/>
            <a:pathLst>
              <a:path w="303" h="270">
                <a:moveTo>
                  <a:pt x="0" y="175"/>
                </a:moveTo>
                <a:cubicBezTo>
                  <a:pt x="164" y="270"/>
                  <a:pt x="164" y="270"/>
                  <a:pt x="164" y="270"/>
                </a:cubicBezTo>
                <a:cubicBezTo>
                  <a:pt x="303" y="190"/>
                  <a:pt x="303" y="190"/>
                  <a:pt x="303" y="190"/>
                </a:cubicBezTo>
                <a:cubicBezTo>
                  <a:pt x="303" y="0"/>
                  <a:pt x="303" y="0"/>
                  <a:pt x="303" y="0"/>
                </a:cubicBezTo>
                <a:cubicBezTo>
                  <a:pt x="178" y="4"/>
                  <a:pt x="66" y="69"/>
                  <a:pt x="0" y="175"/>
                </a:cubicBezTo>
                <a:close/>
              </a:path>
            </a:pathLst>
          </a:custGeom>
          <a:gradFill flip="none" rotWithShape="1">
            <a:gsLst>
              <a:gs pos="64000">
                <a:schemeClr val="accent1"/>
              </a:gs>
              <a:gs pos="31000">
                <a:schemeClr val="accent1">
                  <a:lumMod val="60000"/>
                  <a:lumOff val="40000"/>
                </a:schemeClr>
              </a:gs>
              <a:gs pos="0">
                <a:schemeClr val="accent1">
                  <a:lumMod val="40000"/>
                  <a:lumOff val="60000"/>
                </a:schemeClr>
              </a:gs>
            </a:gsLst>
            <a:lin ang="18900000" scaled="1"/>
            <a:tileRect/>
          </a:gradFill>
          <a:ln>
            <a:noFill/>
          </a:ln>
          <a:effectLst>
            <a:outerShdw blurRad="444500" dist="317500" dir="5400000" sx="92000" sy="92000" algn="t" rotWithShape="0">
              <a:schemeClr val="accent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5" name="Freeform 7">
            <a:extLst>
              <a:ext uri="{FF2B5EF4-FFF2-40B4-BE49-F238E27FC236}">
                <a16:creationId xmlns:a16="http://schemas.microsoft.com/office/drawing/2014/main" id="{E5A8B5ED-8F49-4458-9B8D-A5BE4C320646}"/>
              </a:ext>
            </a:extLst>
          </p:cNvPr>
          <p:cNvSpPr>
            <a:spLocks/>
          </p:cNvSpPr>
          <p:nvPr/>
        </p:nvSpPr>
        <p:spPr bwMode="auto">
          <a:xfrm>
            <a:off x="6838950" y="3270128"/>
            <a:ext cx="933450" cy="1570038"/>
          </a:xfrm>
          <a:custGeom>
            <a:avLst/>
            <a:gdLst>
              <a:gd name="T0" fmla="*/ 165 w 208"/>
              <a:gd name="T1" fmla="*/ 0 h 350"/>
              <a:gd name="T2" fmla="*/ 0 w 208"/>
              <a:gd name="T3" fmla="*/ 95 h 350"/>
              <a:gd name="T4" fmla="*/ 0 w 208"/>
              <a:gd name="T5" fmla="*/ 255 h 350"/>
              <a:gd name="T6" fmla="*/ 165 w 208"/>
              <a:gd name="T7" fmla="*/ 350 h 350"/>
              <a:gd name="T8" fmla="*/ 208 w 208"/>
              <a:gd name="T9" fmla="*/ 175 h 350"/>
              <a:gd name="T10" fmla="*/ 165 w 208"/>
              <a:gd name="T11" fmla="*/ 0 h 350"/>
            </a:gdLst>
            <a:ahLst/>
            <a:cxnLst>
              <a:cxn ang="0">
                <a:pos x="T0" y="T1"/>
              </a:cxn>
              <a:cxn ang="0">
                <a:pos x="T2" y="T3"/>
              </a:cxn>
              <a:cxn ang="0">
                <a:pos x="T4" y="T5"/>
              </a:cxn>
              <a:cxn ang="0">
                <a:pos x="T6" y="T7"/>
              </a:cxn>
              <a:cxn ang="0">
                <a:pos x="T8" y="T9"/>
              </a:cxn>
              <a:cxn ang="0">
                <a:pos x="T10" y="T11"/>
              </a:cxn>
            </a:cxnLst>
            <a:rect l="0" t="0" r="r" b="b"/>
            <a:pathLst>
              <a:path w="208" h="350">
                <a:moveTo>
                  <a:pt x="165" y="0"/>
                </a:moveTo>
                <a:cubicBezTo>
                  <a:pt x="0" y="95"/>
                  <a:pt x="0" y="95"/>
                  <a:pt x="0" y="95"/>
                </a:cubicBezTo>
                <a:cubicBezTo>
                  <a:pt x="0" y="255"/>
                  <a:pt x="0" y="255"/>
                  <a:pt x="0" y="255"/>
                </a:cubicBezTo>
                <a:cubicBezTo>
                  <a:pt x="165" y="350"/>
                  <a:pt x="165" y="350"/>
                  <a:pt x="165" y="350"/>
                </a:cubicBezTo>
                <a:cubicBezTo>
                  <a:pt x="193" y="297"/>
                  <a:pt x="208" y="236"/>
                  <a:pt x="208" y="175"/>
                </a:cubicBezTo>
                <a:cubicBezTo>
                  <a:pt x="208" y="114"/>
                  <a:pt x="193" y="54"/>
                  <a:pt x="165" y="0"/>
                </a:cubicBezTo>
                <a:close/>
              </a:path>
            </a:pathLst>
          </a:custGeom>
          <a:gradFill flip="none" rotWithShape="1">
            <a:gsLst>
              <a:gs pos="64000">
                <a:schemeClr val="accent1"/>
              </a:gs>
              <a:gs pos="31000">
                <a:schemeClr val="accent1">
                  <a:lumMod val="60000"/>
                  <a:lumOff val="40000"/>
                </a:schemeClr>
              </a:gs>
              <a:gs pos="0">
                <a:schemeClr val="accent1">
                  <a:lumMod val="40000"/>
                  <a:lumOff val="60000"/>
                </a:schemeClr>
              </a:gs>
            </a:gsLst>
            <a:lin ang="5400000" scaled="1"/>
            <a:tileRect/>
          </a:gradFill>
          <a:ln>
            <a:noFill/>
          </a:ln>
          <a:effectLst>
            <a:outerShdw blurRad="444500" dist="317500" dir="5400000" sx="92000" sy="92000" algn="t" rotWithShape="0">
              <a:schemeClr val="accent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6" name="Freeform 8">
            <a:extLst>
              <a:ext uri="{FF2B5EF4-FFF2-40B4-BE49-F238E27FC236}">
                <a16:creationId xmlns:a16="http://schemas.microsoft.com/office/drawing/2014/main" id="{0A2769F5-67E3-41C5-9200-8FBF699A9832}"/>
              </a:ext>
            </a:extLst>
          </p:cNvPr>
          <p:cNvSpPr>
            <a:spLocks/>
          </p:cNvSpPr>
          <p:nvPr/>
        </p:nvSpPr>
        <p:spPr bwMode="auto">
          <a:xfrm>
            <a:off x="6156325" y="4521078"/>
            <a:ext cx="1360488" cy="1212850"/>
          </a:xfrm>
          <a:custGeom>
            <a:avLst/>
            <a:gdLst>
              <a:gd name="T0" fmla="*/ 303 w 303"/>
              <a:gd name="T1" fmla="*/ 95 h 270"/>
              <a:gd name="T2" fmla="*/ 139 w 303"/>
              <a:gd name="T3" fmla="*/ 0 h 270"/>
              <a:gd name="T4" fmla="*/ 0 w 303"/>
              <a:gd name="T5" fmla="*/ 80 h 270"/>
              <a:gd name="T6" fmla="*/ 0 w 303"/>
              <a:gd name="T7" fmla="*/ 270 h 270"/>
              <a:gd name="T8" fmla="*/ 303 w 303"/>
              <a:gd name="T9" fmla="*/ 95 h 270"/>
            </a:gdLst>
            <a:ahLst/>
            <a:cxnLst>
              <a:cxn ang="0">
                <a:pos x="T0" y="T1"/>
              </a:cxn>
              <a:cxn ang="0">
                <a:pos x="T2" y="T3"/>
              </a:cxn>
              <a:cxn ang="0">
                <a:pos x="T4" y="T5"/>
              </a:cxn>
              <a:cxn ang="0">
                <a:pos x="T6" y="T7"/>
              </a:cxn>
              <a:cxn ang="0">
                <a:pos x="T8" y="T9"/>
              </a:cxn>
            </a:cxnLst>
            <a:rect l="0" t="0" r="r" b="b"/>
            <a:pathLst>
              <a:path w="303" h="270">
                <a:moveTo>
                  <a:pt x="303" y="95"/>
                </a:moveTo>
                <a:cubicBezTo>
                  <a:pt x="139" y="0"/>
                  <a:pt x="139" y="0"/>
                  <a:pt x="139" y="0"/>
                </a:cubicBezTo>
                <a:cubicBezTo>
                  <a:pt x="0" y="80"/>
                  <a:pt x="0" y="80"/>
                  <a:pt x="0" y="80"/>
                </a:cubicBezTo>
                <a:cubicBezTo>
                  <a:pt x="0" y="270"/>
                  <a:pt x="0" y="270"/>
                  <a:pt x="0" y="270"/>
                </a:cubicBezTo>
                <a:cubicBezTo>
                  <a:pt x="125" y="265"/>
                  <a:pt x="237" y="200"/>
                  <a:pt x="303" y="95"/>
                </a:cubicBezTo>
                <a:close/>
              </a:path>
            </a:pathLst>
          </a:custGeom>
          <a:gradFill flip="none" rotWithShape="1">
            <a:gsLst>
              <a:gs pos="64000">
                <a:schemeClr val="accent1"/>
              </a:gs>
              <a:gs pos="31000">
                <a:schemeClr val="accent1">
                  <a:lumMod val="60000"/>
                  <a:lumOff val="40000"/>
                </a:schemeClr>
              </a:gs>
              <a:gs pos="0">
                <a:schemeClr val="accent1">
                  <a:lumMod val="40000"/>
                  <a:lumOff val="60000"/>
                </a:schemeClr>
              </a:gs>
            </a:gsLst>
            <a:lin ang="8100000" scaled="1"/>
            <a:tileRect/>
          </a:gradFill>
          <a:ln>
            <a:noFill/>
          </a:ln>
          <a:effectLst>
            <a:outerShdw blurRad="444500" dist="317500" dir="5400000" sx="92000" sy="92000" algn="t" rotWithShape="0">
              <a:schemeClr val="accent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7" name="Freeform 9">
            <a:extLst>
              <a:ext uri="{FF2B5EF4-FFF2-40B4-BE49-F238E27FC236}">
                <a16:creationId xmlns:a16="http://schemas.microsoft.com/office/drawing/2014/main" id="{03CE169F-4BB3-4E3F-8E86-49439CF0DB07}"/>
              </a:ext>
            </a:extLst>
          </p:cNvPr>
          <p:cNvSpPr>
            <a:spLocks/>
          </p:cNvSpPr>
          <p:nvPr/>
        </p:nvSpPr>
        <p:spPr bwMode="auto">
          <a:xfrm>
            <a:off x="4419600" y="3270128"/>
            <a:ext cx="933450" cy="1570038"/>
          </a:xfrm>
          <a:custGeom>
            <a:avLst/>
            <a:gdLst>
              <a:gd name="T0" fmla="*/ 43 w 208"/>
              <a:gd name="T1" fmla="*/ 0 h 350"/>
              <a:gd name="T2" fmla="*/ 0 w 208"/>
              <a:gd name="T3" fmla="*/ 175 h 350"/>
              <a:gd name="T4" fmla="*/ 43 w 208"/>
              <a:gd name="T5" fmla="*/ 350 h 350"/>
              <a:gd name="T6" fmla="*/ 208 w 208"/>
              <a:gd name="T7" fmla="*/ 255 h 350"/>
              <a:gd name="T8" fmla="*/ 208 w 208"/>
              <a:gd name="T9" fmla="*/ 95 h 350"/>
              <a:gd name="T10" fmla="*/ 43 w 208"/>
              <a:gd name="T11" fmla="*/ 0 h 350"/>
            </a:gdLst>
            <a:ahLst/>
            <a:cxnLst>
              <a:cxn ang="0">
                <a:pos x="T0" y="T1"/>
              </a:cxn>
              <a:cxn ang="0">
                <a:pos x="T2" y="T3"/>
              </a:cxn>
              <a:cxn ang="0">
                <a:pos x="T4" y="T5"/>
              </a:cxn>
              <a:cxn ang="0">
                <a:pos x="T6" y="T7"/>
              </a:cxn>
              <a:cxn ang="0">
                <a:pos x="T8" y="T9"/>
              </a:cxn>
              <a:cxn ang="0">
                <a:pos x="T10" y="T11"/>
              </a:cxn>
            </a:cxnLst>
            <a:rect l="0" t="0" r="r" b="b"/>
            <a:pathLst>
              <a:path w="208" h="350">
                <a:moveTo>
                  <a:pt x="43" y="0"/>
                </a:moveTo>
                <a:cubicBezTo>
                  <a:pt x="15" y="54"/>
                  <a:pt x="0" y="114"/>
                  <a:pt x="0" y="175"/>
                </a:cubicBezTo>
                <a:cubicBezTo>
                  <a:pt x="0" y="236"/>
                  <a:pt x="15" y="297"/>
                  <a:pt x="43" y="350"/>
                </a:cubicBezTo>
                <a:cubicBezTo>
                  <a:pt x="208" y="255"/>
                  <a:pt x="208" y="255"/>
                  <a:pt x="208" y="255"/>
                </a:cubicBezTo>
                <a:cubicBezTo>
                  <a:pt x="208" y="95"/>
                  <a:pt x="208" y="95"/>
                  <a:pt x="208" y="95"/>
                </a:cubicBezTo>
                <a:lnTo>
                  <a:pt x="43" y="0"/>
                </a:lnTo>
                <a:close/>
              </a:path>
            </a:pathLst>
          </a:custGeom>
          <a:gradFill flip="none" rotWithShape="1">
            <a:gsLst>
              <a:gs pos="64000">
                <a:schemeClr val="accent1"/>
              </a:gs>
              <a:gs pos="31000">
                <a:schemeClr val="accent1">
                  <a:lumMod val="60000"/>
                  <a:lumOff val="40000"/>
                </a:schemeClr>
              </a:gs>
              <a:gs pos="0">
                <a:schemeClr val="accent1">
                  <a:lumMod val="40000"/>
                  <a:lumOff val="60000"/>
                </a:schemeClr>
              </a:gs>
            </a:gsLst>
            <a:lin ang="16200000" scaled="1"/>
            <a:tileRect/>
          </a:gradFill>
          <a:ln>
            <a:noFill/>
          </a:ln>
          <a:effectLst>
            <a:outerShdw blurRad="444500" dist="317500" dir="5400000" sx="92000" sy="92000" algn="t" rotWithShape="0">
              <a:schemeClr val="accent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8" name="Freeform 10">
            <a:extLst>
              <a:ext uri="{FF2B5EF4-FFF2-40B4-BE49-F238E27FC236}">
                <a16:creationId xmlns:a16="http://schemas.microsoft.com/office/drawing/2014/main" id="{ED3858CA-CAFB-4D50-9B22-9803906BBAB6}"/>
              </a:ext>
            </a:extLst>
          </p:cNvPr>
          <p:cNvSpPr>
            <a:spLocks/>
          </p:cNvSpPr>
          <p:nvPr/>
        </p:nvSpPr>
        <p:spPr bwMode="auto">
          <a:xfrm>
            <a:off x="4675188" y="4521078"/>
            <a:ext cx="1360488" cy="1212850"/>
          </a:xfrm>
          <a:custGeom>
            <a:avLst/>
            <a:gdLst>
              <a:gd name="T0" fmla="*/ 0 w 303"/>
              <a:gd name="T1" fmla="*/ 95 h 270"/>
              <a:gd name="T2" fmla="*/ 303 w 303"/>
              <a:gd name="T3" fmla="*/ 270 h 270"/>
              <a:gd name="T4" fmla="*/ 303 w 303"/>
              <a:gd name="T5" fmla="*/ 80 h 270"/>
              <a:gd name="T6" fmla="*/ 164 w 303"/>
              <a:gd name="T7" fmla="*/ 0 h 270"/>
              <a:gd name="T8" fmla="*/ 0 w 303"/>
              <a:gd name="T9" fmla="*/ 95 h 270"/>
            </a:gdLst>
            <a:ahLst/>
            <a:cxnLst>
              <a:cxn ang="0">
                <a:pos x="T0" y="T1"/>
              </a:cxn>
              <a:cxn ang="0">
                <a:pos x="T2" y="T3"/>
              </a:cxn>
              <a:cxn ang="0">
                <a:pos x="T4" y="T5"/>
              </a:cxn>
              <a:cxn ang="0">
                <a:pos x="T6" y="T7"/>
              </a:cxn>
              <a:cxn ang="0">
                <a:pos x="T8" y="T9"/>
              </a:cxn>
            </a:cxnLst>
            <a:rect l="0" t="0" r="r" b="b"/>
            <a:pathLst>
              <a:path w="303" h="270">
                <a:moveTo>
                  <a:pt x="0" y="95"/>
                </a:moveTo>
                <a:cubicBezTo>
                  <a:pt x="66" y="200"/>
                  <a:pt x="178" y="265"/>
                  <a:pt x="303" y="270"/>
                </a:cubicBezTo>
                <a:cubicBezTo>
                  <a:pt x="303" y="80"/>
                  <a:pt x="303" y="80"/>
                  <a:pt x="303" y="80"/>
                </a:cubicBezTo>
                <a:cubicBezTo>
                  <a:pt x="164" y="0"/>
                  <a:pt x="164" y="0"/>
                  <a:pt x="164" y="0"/>
                </a:cubicBezTo>
                <a:lnTo>
                  <a:pt x="0" y="95"/>
                </a:lnTo>
                <a:close/>
              </a:path>
            </a:pathLst>
          </a:custGeom>
          <a:gradFill flip="none" rotWithShape="1">
            <a:gsLst>
              <a:gs pos="64000">
                <a:schemeClr val="accent1"/>
              </a:gs>
              <a:gs pos="31000">
                <a:schemeClr val="accent1">
                  <a:lumMod val="60000"/>
                  <a:lumOff val="40000"/>
                </a:schemeClr>
              </a:gs>
              <a:gs pos="0">
                <a:schemeClr val="accent1">
                  <a:lumMod val="40000"/>
                  <a:lumOff val="60000"/>
                </a:schemeClr>
              </a:gs>
            </a:gsLst>
            <a:lin ang="10800000" scaled="1"/>
            <a:tileRect/>
          </a:gradFill>
          <a:ln>
            <a:noFill/>
          </a:ln>
          <a:effectLst>
            <a:outerShdw blurRad="444500" dist="317500" dir="5400000" sx="92000" sy="92000" algn="t" rotWithShape="0">
              <a:schemeClr val="accent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grpSp>
        <p:nvGrpSpPr>
          <p:cNvPr id="15" name="Group 41">
            <a:extLst>
              <a:ext uri="{FF2B5EF4-FFF2-40B4-BE49-F238E27FC236}">
                <a16:creationId xmlns:a16="http://schemas.microsoft.com/office/drawing/2014/main" id="{179A7920-7EF2-4844-BE54-C31551ECBC7A}"/>
              </a:ext>
            </a:extLst>
          </p:cNvPr>
          <p:cNvGrpSpPr/>
          <p:nvPr/>
        </p:nvGrpSpPr>
        <p:grpSpPr>
          <a:xfrm>
            <a:off x="6519635" y="4862154"/>
            <a:ext cx="417460" cy="461068"/>
            <a:chOff x="5153025" y="2384426"/>
            <a:chExt cx="1884363" cy="2081213"/>
          </a:xfrm>
          <a:solidFill>
            <a:srgbClr val="FFFFFF"/>
          </a:solidFill>
        </p:grpSpPr>
        <p:sp>
          <p:nvSpPr>
            <p:cNvPr id="16" name="Freeform 5">
              <a:extLst>
                <a:ext uri="{FF2B5EF4-FFF2-40B4-BE49-F238E27FC236}">
                  <a16:creationId xmlns:a16="http://schemas.microsoft.com/office/drawing/2014/main" id="{8AFFC8CE-45F8-4C88-9628-217BA451FEC5}"/>
                </a:ext>
              </a:extLst>
            </p:cNvPr>
            <p:cNvSpPr>
              <a:spLocks/>
            </p:cNvSpPr>
            <p:nvPr/>
          </p:nvSpPr>
          <p:spPr bwMode="auto">
            <a:xfrm>
              <a:off x="5529263" y="2384426"/>
              <a:ext cx="377825" cy="763588"/>
            </a:xfrm>
            <a:custGeom>
              <a:avLst/>
              <a:gdLst>
                <a:gd name="T0" fmla="*/ 252 w 373"/>
                <a:gd name="T1" fmla="*/ 409 h 754"/>
                <a:gd name="T2" fmla="*/ 187 w 373"/>
                <a:gd name="T3" fmla="*/ 288 h 754"/>
                <a:gd name="T4" fmla="*/ 252 w 373"/>
                <a:gd name="T5" fmla="*/ 168 h 754"/>
                <a:gd name="T6" fmla="*/ 252 w 373"/>
                <a:gd name="T7" fmla="*/ 36 h 754"/>
                <a:gd name="T8" fmla="*/ 121 w 373"/>
                <a:gd name="T9" fmla="*/ 36 h 754"/>
                <a:gd name="T10" fmla="*/ 0 w 373"/>
                <a:gd name="T11" fmla="*/ 288 h 754"/>
                <a:gd name="T12" fmla="*/ 121 w 373"/>
                <a:gd name="T13" fmla="*/ 540 h 754"/>
                <a:gd name="T14" fmla="*/ 187 w 373"/>
                <a:gd name="T15" fmla="*/ 661 h 754"/>
                <a:gd name="T16" fmla="*/ 280 w 373"/>
                <a:gd name="T17" fmla="*/ 754 h 754"/>
                <a:gd name="T18" fmla="*/ 373 w 373"/>
                <a:gd name="T19" fmla="*/ 661 h 754"/>
                <a:gd name="T20" fmla="*/ 252 w 373"/>
                <a:gd name="T21" fmla="*/ 409 h 7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3" h="754">
                  <a:moveTo>
                    <a:pt x="252" y="409"/>
                  </a:moveTo>
                  <a:cubicBezTo>
                    <a:pt x="207" y="363"/>
                    <a:pt x="187" y="341"/>
                    <a:pt x="187" y="288"/>
                  </a:cubicBezTo>
                  <a:cubicBezTo>
                    <a:pt x="187" y="236"/>
                    <a:pt x="207" y="214"/>
                    <a:pt x="252" y="168"/>
                  </a:cubicBezTo>
                  <a:cubicBezTo>
                    <a:pt x="289" y="132"/>
                    <a:pt x="289" y="73"/>
                    <a:pt x="252" y="36"/>
                  </a:cubicBezTo>
                  <a:cubicBezTo>
                    <a:pt x="216" y="0"/>
                    <a:pt x="157" y="0"/>
                    <a:pt x="121" y="36"/>
                  </a:cubicBezTo>
                  <a:cubicBezTo>
                    <a:pt x="70" y="87"/>
                    <a:pt x="0" y="157"/>
                    <a:pt x="0" y="288"/>
                  </a:cubicBezTo>
                  <a:cubicBezTo>
                    <a:pt x="0" y="420"/>
                    <a:pt x="70" y="489"/>
                    <a:pt x="121" y="540"/>
                  </a:cubicBezTo>
                  <a:cubicBezTo>
                    <a:pt x="166" y="586"/>
                    <a:pt x="187" y="608"/>
                    <a:pt x="187" y="661"/>
                  </a:cubicBezTo>
                  <a:cubicBezTo>
                    <a:pt x="187" y="712"/>
                    <a:pt x="228" y="754"/>
                    <a:pt x="280" y="754"/>
                  </a:cubicBezTo>
                  <a:cubicBezTo>
                    <a:pt x="331" y="754"/>
                    <a:pt x="373" y="712"/>
                    <a:pt x="373" y="661"/>
                  </a:cubicBezTo>
                  <a:cubicBezTo>
                    <a:pt x="373" y="529"/>
                    <a:pt x="303" y="459"/>
                    <a:pt x="252" y="40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17" name="Freeform 6">
              <a:extLst>
                <a:ext uri="{FF2B5EF4-FFF2-40B4-BE49-F238E27FC236}">
                  <a16:creationId xmlns:a16="http://schemas.microsoft.com/office/drawing/2014/main" id="{5FA8CFFD-3A52-40CA-9635-E7283A7B2B79}"/>
                </a:ext>
              </a:extLst>
            </p:cNvPr>
            <p:cNvSpPr>
              <a:spLocks/>
            </p:cNvSpPr>
            <p:nvPr/>
          </p:nvSpPr>
          <p:spPr bwMode="auto">
            <a:xfrm>
              <a:off x="5970588" y="2384426"/>
              <a:ext cx="376238" cy="763588"/>
            </a:xfrm>
            <a:custGeom>
              <a:avLst/>
              <a:gdLst>
                <a:gd name="T0" fmla="*/ 252 w 372"/>
                <a:gd name="T1" fmla="*/ 409 h 754"/>
                <a:gd name="T2" fmla="*/ 186 w 372"/>
                <a:gd name="T3" fmla="*/ 288 h 754"/>
                <a:gd name="T4" fmla="*/ 252 w 372"/>
                <a:gd name="T5" fmla="*/ 168 h 754"/>
                <a:gd name="T6" fmla="*/ 252 w 372"/>
                <a:gd name="T7" fmla="*/ 36 h 754"/>
                <a:gd name="T8" fmla="*/ 120 w 372"/>
                <a:gd name="T9" fmla="*/ 36 h 754"/>
                <a:gd name="T10" fmla="*/ 0 w 372"/>
                <a:gd name="T11" fmla="*/ 288 h 754"/>
                <a:gd name="T12" fmla="*/ 120 w 372"/>
                <a:gd name="T13" fmla="*/ 540 h 754"/>
                <a:gd name="T14" fmla="*/ 186 w 372"/>
                <a:gd name="T15" fmla="*/ 661 h 754"/>
                <a:gd name="T16" fmla="*/ 279 w 372"/>
                <a:gd name="T17" fmla="*/ 754 h 754"/>
                <a:gd name="T18" fmla="*/ 372 w 372"/>
                <a:gd name="T19" fmla="*/ 661 h 754"/>
                <a:gd name="T20" fmla="*/ 252 w 372"/>
                <a:gd name="T21" fmla="*/ 409 h 7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2" h="754">
                  <a:moveTo>
                    <a:pt x="252" y="409"/>
                  </a:moveTo>
                  <a:cubicBezTo>
                    <a:pt x="206" y="363"/>
                    <a:pt x="186" y="341"/>
                    <a:pt x="186" y="288"/>
                  </a:cubicBezTo>
                  <a:cubicBezTo>
                    <a:pt x="186" y="236"/>
                    <a:pt x="206" y="214"/>
                    <a:pt x="252" y="168"/>
                  </a:cubicBezTo>
                  <a:cubicBezTo>
                    <a:pt x="288" y="132"/>
                    <a:pt x="288" y="73"/>
                    <a:pt x="252" y="36"/>
                  </a:cubicBezTo>
                  <a:cubicBezTo>
                    <a:pt x="216" y="0"/>
                    <a:pt x="157" y="0"/>
                    <a:pt x="120" y="36"/>
                  </a:cubicBezTo>
                  <a:cubicBezTo>
                    <a:pt x="69" y="87"/>
                    <a:pt x="0" y="157"/>
                    <a:pt x="0" y="288"/>
                  </a:cubicBezTo>
                  <a:cubicBezTo>
                    <a:pt x="0" y="420"/>
                    <a:pt x="69" y="489"/>
                    <a:pt x="120" y="540"/>
                  </a:cubicBezTo>
                  <a:cubicBezTo>
                    <a:pt x="166" y="586"/>
                    <a:pt x="186" y="608"/>
                    <a:pt x="186" y="661"/>
                  </a:cubicBezTo>
                  <a:cubicBezTo>
                    <a:pt x="186" y="712"/>
                    <a:pt x="228" y="754"/>
                    <a:pt x="279" y="754"/>
                  </a:cubicBezTo>
                  <a:cubicBezTo>
                    <a:pt x="331" y="754"/>
                    <a:pt x="372" y="712"/>
                    <a:pt x="372" y="661"/>
                  </a:cubicBezTo>
                  <a:cubicBezTo>
                    <a:pt x="372" y="529"/>
                    <a:pt x="303" y="459"/>
                    <a:pt x="252" y="40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18" name="Freeform 7">
              <a:extLst>
                <a:ext uri="{FF2B5EF4-FFF2-40B4-BE49-F238E27FC236}">
                  <a16:creationId xmlns:a16="http://schemas.microsoft.com/office/drawing/2014/main" id="{F998490B-8596-4FFB-898F-E30921505BDE}"/>
                </a:ext>
              </a:extLst>
            </p:cNvPr>
            <p:cNvSpPr>
              <a:spLocks noEditPoints="1"/>
            </p:cNvSpPr>
            <p:nvPr/>
          </p:nvSpPr>
          <p:spPr bwMode="auto">
            <a:xfrm>
              <a:off x="5153025" y="3335340"/>
              <a:ext cx="1884363" cy="1130299"/>
            </a:xfrm>
            <a:custGeom>
              <a:avLst/>
              <a:gdLst>
                <a:gd name="T0" fmla="*/ 1433 w 1862"/>
                <a:gd name="T1" fmla="*/ 683 h 1117"/>
                <a:gd name="T2" fmla="*/ 1521 w 1862"/>
                <a:gd name="T3" fmla="*/ 683 h 1117"/>
                <a:gd name="T4" fmla="*/ 1521 w 1862"/>
                <a:gd name="T5" fmla="*/ 683 h 1117"/>
                <a:gd name="T6" fmla="*/ 1862 w 1862"/>
                <a:gd name="T7" fmla="*/ 341 h 1117"/>
                <a:gd name="T8" fmla="*/ 1521 w 1862"/>
                <a:gd name="T9" fmla="*/ 0 h 1117"/>
                <a:gd name="T10" fmla="*/ 1396 w 1862"/>
                <a:gd name="T11" fmla="*/ 0 h 1117"/>
                <a:gd name="T12" fmla="*/ 155 w 1862"/>
                <a:gd name="T13" fmla="*/ 0 h 1117"/>
                <a:gd name="T14" fmla="*/ 62 w 1862"/>
                <a:gd name="T15" fmla="*/ 93 h 1117"/>
                <a:gd name="T16" fmla="*/ 62 w 1862"/>
                <a:gd name="T17" fmla="*/ 403 h 1117"/>
                <a:gd name="T18" fmla="*/ 296 w 1862"/>
                <a:gd name="T19" fmla="*/ 931 h 1117"/>
                <a:gd name="T20" fmla="*/ 93 w 1862"/>
                <a:gd name="T21" fmla="*/ 931 h 1117"/>
                <a:gd name="T22" fmla="*/ 0 w 1862"/>
                <a:gd name="T23" fmla="*/ 1024 h 1117"/>
                <a:gd name="T24" fmla="*/ 93 w 1862"/>
                <a:gd name="T25" fmla="*/ 1117 h 1117"/>
                <a:gd name="T26" fmla="*/ 776 w 1862"/>
                <a:gd name="T27" fmla="*/ 1117 h 1117"/>
                <a:gd name="T28" fmla="*/ 1459 w 1862"/>
                <a:gd name="T29" fmla="*/ 1117 h 1117"/>
                <a:gd name="T30" fmla="*/ 1552 w 1862"/>
                <a:gd name="T31" fmla="*/ 1024 h 1117"/>
                <a:gd name="T32" fmla="*/ 1459 w 1862"/>
                <a:gd name="T33" fmla="*/ 931 h 1117"/>
                <a:gd name="T34" fmla="*/ 1256 w 1862"/>
                <a:gd name="T35" fmla="*/ 931 h 1117"/>
                <a:gd name="T36" fmla="*/ 1433 w 1862"/>
                <a:gd name="T37" fmla="*/ 683 h 1117"/>
                <a:gd name="T38" fmla="*/ 1490 w 1862"/>
                <a:gd name="T39" fmla="*/ 403 h 1117"/>
                <a:gd name="T40" fmla="*/ 1490 w 1862"/>
                <a:gd name="T41" fmla="*/ 186 h 1117"/>
                <a:gd name="T42" fmla="*/ 1521 w 1862"/>
                <a:gd name="T43" fmla="*/ 186 h 1117"/>
                <a:gd name="T44" fmla="*/ 1676 w 1862"/>
                <a:gd name="T45" fmla="*/ 341 h 1117"/>
                <a:gd name="T46" fmla="*/ 1521 w 1862"/>
                <a:gd name="T47" fmla="*/ 496 h 1117"/>
                <a:gd name="T48" fmla="*/ 1520 w 1862"/>
                <a:gd name="T49" fmla="*/ 496 h 1117"/>
                <a:gd name="T50" fmla="*/ 1483 w 1862"/>
                <a:gd name="T51" fmla="*/ 496 h 1117"/>
                <a:gd name="T52" fmla="*/ 1490 w 1862"/>
                <a:gd name="T53" fmla="*/ 403 h 1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62" h="1117">
                  <a:moveTo>
                    <a:pt x="1433" y="683"/>
                  </a:moveTo>
                  <a:cubicBezTo>
                    <a:pt x="1521" y="683"/>
                    <a:pt x="1521" y="683"/>
                    <a:pt x="1521" y="683"/>
                  </a:cubicBezTo>
                  <a:cubicBezTo>
                    <a:pt x="1521" y="683"/>
                    <a:pt x="1521" y="683"/>
                    <a:pt x="1521" y="683"/>
                  </a:cubicBezTo>
                  <a:cubicBezTo>
                    <a:pt x="1709" y="682"/>
                    <a:pt x="1862" y="529"/>
                    <a:pt x="1862" y="341"/>
                  </a:cubicBezTo>
                  <a:cubicBezTo>
                    <a:pt x="1862" y="153"/>
                    <a:pt x="1709" y="0"/>
                    <a:pt x="1521" y="0"/>
                  </a:cubicBezTo>
                  <a:cubicBezTo>
                    <a:pt x="1396" y="0"/>
                    <a:pt x="1396" y="0"/>
                    <a:pt x="1396" y="0"/>
                  </a:cubicBezTo>
                  <a:cubicBezTo>
                    <a:pt x="155" y="0"/>
                    <a:pt x="155" y="0"/>
                    <a:pt x="155" y="0"/>
                  </a:cubicBezTo>
                  <a:cubicBezTo>
                    <a:pt x="104" y="0"/>
                    <a:pt x="62" y="42"/>
                    <a:pt x="62" y="93"/>
                  </a:cubicBezTo>
                  <a:cubicBezTo>
                    <a:pt x="62" y="403"/>
                    <a:pt x="62" y="403"/>
                    <a:pt x="62" y="403"/>
                  </a:cubicBezTo>
                  <a:cubicBezTo>
                    <a:pt x="62" y="612"/>
                    <a:pt x="152" y="800"/>
                    <a:pt x="296" y="931"/>
                  </a:cubicBezTo>
                  <a:cubicBezTo>
                    <a:pt x="93" y="931"/>
                    <a:pt x="93" y="931"/>
                    <a:pt x="93" y="931"/>
                  </a:cubicBezTo>
                  <a:cubicBezTo>
                    <a:pt x="42" y="931"/>
                    <a:pt x="0" y="972"/>
                    <a:pt x="0" y="1024"/>
                  </a:cubicBezTo>
                  <a:cubicBezTo>
                    <a:pt x="0" y="1075"/>
                    <a:pt x="42" y="1117"/>
                    <a:pt x="93" y="1117"/>
                  </a:cubicBezTo>
                  <a:cubicBezTo>
                    <a:pt x="776" y="1117"/>
                    <a:pt x="776" y="1117"/>
                    <a:pt x="776" y="1117"/>
                  </a:cubicBezTo>
                  <a:cubicBezTo>
                    <a:pt x="1459" y="1117"/>
                    <a:pt x="1459" y="1117"/>
                    <a:pt x="1459" y="1117"/>
                  </a:cubicBezTo>
                  <a:cubicBezTo>
                    <a:pt x="1510" y="1117"/>
                    <a:pt x="1552" y="1075"/>
                    <a:pt x="1552" y="1024"/>
                  </a:cubicBezTo>
                  <a:cubicBezTo>
                    <a:pt x="1552" y="972"/>
                    <a:pt x="1510" y="931"/>
                    <a:pt x="1459" y="931"/>
                  </a:cubicBezTo>
                  <a:cubicBezTo>
                    <a:pt x="1256" y="931"/>
                    <a:pt x="1256" y="931"/>
                    <a:pt x="1256" y="931"/>
                  </a:cubicBezTo>
                  <a:cubicBezTo>
                    <a:pt x="1331" y="862"/>
                    <a:pt x="1392" y="778"/>
                    <a:pt x="1433" y="683"/>
                  </a:cubicBezTo>
                  <a:close/>
                  <a:moveTo>
                    <a:pt x="1490" y="403"/>
                  </a:moveTo>
                  <a:cubicBezTo>
                    <a:pt x="1490" y="186"/>
                    <a:pt x="1490" y="186"/>
                    <a:pt x="1490" y="186"/>
                  </a:cubicBezTo>
                  <a:cubicBezTo>
                    <a:pt x="1521" y="186"/>
                    <a:pt x="1521" y="186"/>
                    <a:pt x="1521" y="186"/>
                  </a:cubicBezTo>
                  <a:cubicBezTo>
                    <a:pt x="1606" y="186"/>
                    <a:pt x="1676" y="256"/>
                    <a:pt x="1676" y="341"/>
                  </a:cubicBezTo>
                  <a:cubicBezTo>
                    <a:pt x="1676" y="427"/>
                    <a:pt x="1606" y="496"/>
                    <a:pt x="1521" y="496"/>
                  </a:cubicBezTo>
                  <a:cubicBezTo>
                    <a:pt x="1521" y="496"/>
                    <a:pt x="1521" y="496"/>
                    <a:pt x="1520" y="496"/>
                  </a:cubicBezTo>
                  <a:cubicBezTo>
                    <a:pt x="1483" y="496"/>
                    <a:pt x="1483" y="496"/>
                    <a:pt x="1483" y="496"/>
                  </a:cubicBezTo>
                  <a:cubicBezTo>
                    <a:pt x="1487" y="466"/>
                    <a:pt x="1490" y="435"/>
                    <a:pt x="1490" y="4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HarmonyOS Sans SC"/>
                <a:cs typeface="+mn-cs"/>
              </a:endParaRPr>
            </a:p>
          </p:txBody>
        </p:sp>
      </p:grpSp>
      <p:grpSp>
        <p:nvGrpSpPr>
          <p:cNvPr id="19" name="Group 60">
            <a:extLst>
              <a:ext uri="{FF2B5EF4-FFF2-40B4-BE49-F238E27FC236}">
                <a16:creationId xmlns:a16="http://schemas.microsoft.com/office/drawing/2014/main" id="{3E9B9A2F-B522-4BFC-834D-64EC6E17B333}"/>
              </a:ext>
            </a:extLst>
          </p:cNvPr>
          <p:cNvGrpSpPr/>
          <p:nvPr/>
        </p:nvGrpSpPr>
        <p:grpSpPr>
          <a:xfrm>
            <a:off x="5351909" y="4900893"/>
            <a:ext cx="334871" cy="416550"/>
            <a:chOff x="4862513" y="3505200"/>
            <a:chExt cx="260350" cy="323851"/>
          </a:xfrm>
          <a:solidFill>
            <a:srgbClr val="FFFFFF"/>
          </a:solidFill>
        </p:grpSpPr>
        <p:sp>
          <p:nvSpPr>
            <p:cNvPr id="20" name="Freeform 9">
              <a:extLst>
                <a:ext uri="{FF2B5EF4-FFF2-40B4-BE49-F238E27FC236}">
                  <a16:creationId xmlns:a16="http://schemas.microsoft.com/office/drawing/2014/main" id="{59F1513E-CB57-47CC-8C39-CC425555ABCB}"/>
                </a:ext>
              </a:extLst>
            </p:cNvPr>
            <p:cNvSpPr>
              <a:spLocks/>
            </p:cNvSpPr>
            <p:nvPr/>
          </p:nvSpPr>
          <p:spPr bwMode="auto">
            <a:xfrm>
              <a:off x="4870451" y="3505200"/>
              <a:ext cx="220663" cy="234950"/>
            </a:xfrm>
            <a:custGeom>
              <a:avLst/>
              <a:gdLst>
                <a:gd name="T0" fmla="*/ 761 w 1393"/>
                <a:gd name="T1" fmla="*/ 0 h 1489"/>
                <a:gd name="T2" fmla="*/ 240 w 1393"/>
                <a:gd name="T3" fmla="*/ 0 h 1489"/>
                <a:gd name="T4" fmla="*/ 93 w 1393"/>
                <a:gd name="T5" fmla="*/ 0 h 1489"/>
                <a:gd name="T6" fmla="*/ 0 w 1393"/>
                <a:gd name="T7" fmla="*/ 93 h 1489"/>
                <a:gd name="T8" fmla="*/ 93 w 1393"/>
                <a:gd name="T9" fmla="*/ 186 h 1489"/>
                <a:gd name="T10" fmla="*/ 147 w 1393"/>
                <a:gd name="T11" fmla="*/ 186 h 1489"/>
                <a:gd name="T12" fmla="*/ 147 w 1393"/>
                <a:gd name="T13" fmla="*/ 938 h 1489"/>
                <a:gd name="T14" fmla="*/ 240 w 1393"/>
                <a:gd name="T15" fmla="*/ 1031 h 1489"/>
                <a:gd name="T16" fmla="*/ 397 w 1393"/>
                <a:gd name="T17" fmla="*/ 1031 h 1489"/>
                <a:gd name="T18" fmla="*/ 462 w 1393"/>
                <a:gd name="T19" fmla="*/ 1004 h 1489"/>
                <a:gd name="T20" fmla="*/ 591 w 1393"/>
                <a:gd name="T21" fmla="*/ 876 h 1489"/>
                <a:gd name="T22" fmla="*/ 591 w 1393"/>
                <a:gd name="T23" fmla="*/ 1100 h 1489"/>
                <a:gd name="T24" fmla="*/ 201 w 1393"/>
                <a:gd name="T25" fmla="*/ 1489 h 1489"/>
                <a:gd name="T26" fmla="*/ 1393 w 1393"/>
                <a:gd name="T27" fmla="*/ 1489 h 1489"/>
                <a:gd name="T28" fmla="*/ 1393 w 1393"/>
                <a:gd name="T29" fmla="*/ 633 h 1489"/>
                <a:gd name="T30" fmla="*/ 761 w 1393"/>
                <a:gd name="T31" fmla="*/ 0 h 14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93" h="1489">
                  <a:moveTo>
                    <a:pt x="761" y="0"/>
                  </a:moveTo>
                  <a:cubicBezTo>
                    <a:pt x="240" y="0"/>
                    <a:pt x="240" y="0"/>
                    <a:pt x="240" y="0"/>
                  </a:cubicBezTo>
                  <a:cubicBezTo>
                    <a:pt x="93" y="0"/>
                    <a:pt x="93" y="0"/>
                    <a:pt x="93" y="0"/>
                  </a:cubicBezTo>
                  <a:cubicBezTo>
                    <a:pt x="41" y="0"/>
                    <a:pt x="0" y="42"/>
                    <a:pt x="0" y="93"/>
                  </a:cubicBezTo>
                  <a:cubicBezTo>
                    <a:pt x="0" y="145"/>
                    <a:pt x="41" y="186"/>
                    <a:pt x="93" y="186"/>
                  </a:cubicBezTo>
                  <a:cubicBezTo>
                    <a:pt x="147" y="186"/>
                    <a:pt x="147" y="186"/>
                    <a:pt x="147" y="186"/>
                  </a:cubicBezTo>
                  <a:cubicBezTo>
                    <a:pt x="147" y="938"/>
                    <a:pt x="147" y="938"/>
                    <a:pt x="147" y="938"/>
                  </a:cubicBezTo>
                  <a:cubicBezTo>
                    <a:pt x="147" y="990"/>
                    <a:pt x="188" y="1031"/>
                    <a:pt x="240" y="1031"/>
                  </a:cubicBezTo>
                  <a:cubicBezTo>
                    <a:pt x="397" y="1031"/>
                    <a:pt x="397" y="1031"/>
                    <a:pt x="397" y="1031"/>
                  </a:cubicBezTo>
                  <a:cubicBezTo>
                    <a:pt x="421" y="1031"/>
                    <a:pt x="445" y="1021"/>
                    <a:pt x="462" y="1004"/>
                  </a:cubicBezTo>
                  <a:cubicBezTo>
                    <a:pt x="591" y="876"/>
                    <a:pt x="591" y="876"/>
                    <a:pt x="591" y="876"/>
                  </a:cubicBezTo>
                  <a:cubicBezTo>
                    <a:pt x="591" y="1100"/>
                    <a:pt x="591" y="1100"/>
                    <a:pt x="591" y="1100"/>
                  </a:cubicBezTo>
                  <a:cubicBezTo>
                    <a:pt x="201" y="1489"/>
                    <a:pt x="201" y="1489"/>
                    <a:pt x="201" y="1489"/>
                  </a:cubicBezTo>
                  <a:cubicBezTo>
                    <a:pt x="1393" y="1489"/>
                    <a:pt x="1393" y="1489"/>
                    <a:pt x="1393" y="1489"/>
                  </a:cubicBezTo>
                  <a:cubicBezTo>
                    <a:pt x="1393" y="633"/>
                    <a:pt x="1393" y="633"/>
                    <a:pt x="1393" y="633"/>
                  </a:cubicBezTo>
                  <a:cubicBezTo>
                    <a:pt x="1393" y="284"/>
                    <a:pt x="1109" y="0"/>
                    <a:pt x="76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21" name="Freeform 10">
              <a:extLst>
                <a:ext uri="{FF2B5EF4-FFF2-40B4-BE49-F238E27FC236}">
                  <a16:creationId xmlns:a16="http://schemas.microsoft.com/office/drawing/2014/main" id="{D23E6D72-AA3F-4831-A0FB-8E52F68C5176}"/>
                </a:ext>
              </a:extLst>
            </p:cNvPr>
            <p:cNvSpPr>
              <a:spLocks/>
            </p:cNvSpPr>
            <p:nvPr/>
          </p:nvSpPr>
          <p:spPr bwMode="auto">
            <a:xfrm>
              <a:off x="4862513" y="3770313"/>
              <a:ext cx="260350" cy="58738"/>
            </a:xfrm>
            <a:custGeom>
              <a:avLst/>
              <a:gdLst>
                <a:gd name="T0" fmla="*/ 0 w 1646"/>
                <a:gd name="T1" fmla="*/ 0 h 372"/>
                <a:gd name="T2" fmla="*/ 0 w 1646"/>
                <a:gd name="T3" fmla="*/ 279 h 372"/>
                <a:gd name="T4" fmla="*/ 93 w 1646"/>
                <a:gd name="T5" fmla="*/ 372 h 372"/>
                <a:gd name="T6" fmla="*/ 1553 w 1646"/>
                <a:gd name="T7" fmla="*/ 372 h 372"/>
                <a:gd name="T8" fmla="*/ 1646 w 1646"/>
                <a:gd name="T9" fmla="*/ 279 h 372"/>
                <a:gd name="T10" fmla="*/ 1646 w 1646"/>
                <a:gd name="T11" fmla="*/ 0 h 372"/>
                <a:gd name="T12" fmla="*/ 0 w 1646"/>
                <a:gd name="T13" fmla="*/ 0 h 372"/>
              </a:gdLst>
              <a:ahLst/>
              <a:cxnLst>
                <a:cxn ang="0">
                  <a:pos x="T0" y="T1"/>
                </a:cxn>
                <a:cxn ang="0">
                  <a:pos x="T2" y="T3"/>
                </a:cxn>
                <a:cxn ang="0">
                  <a:pos x="T4" y="T5"/>
                </a:cxn>
                <a:cxn ang="0">
                  <a:pos x="T6" y="T7"/>
                </a:cxn>
                <a:cxn ang="0">
                  <a:pos x="T8" y="T9"/>
                </a:cxn>
                <a:cxn ang="0">
                  <a:pos x="T10" y="T11"/>
                </a:cxn>
                <a:cxn ang="0">
                  <a:pos x="T12" y="T13"/>
                </a:cxn>
              </a:cxnLst>
              <a:rect l="0" t="0" r="r" b="b"/>
              <a:pathLst>
                <a:path w="1646" h="372">
                  <a:moveTo>
                    <a:pt x="0" y="0"/>
                  </a:moveTo>
                  <a:cubicBezTo>
                    <a:pt x="0" y="279"/>
                    <a:pt x="0" y="279"/>
                    <a:pt x="0" y="279"/>
                  </a:cubicBezTo>
                  <a:cubicBezTo>
                    <a:pt x="0" y="330"/>
                    <a:pt x="42" y="372"/>
                    <a:pt x="93" y="372"/>
                  </a:cubicBezTo>
                  <a:cubicBezTo>
                    <a:pt x="1553" y="372"/>
                    <a:pt x="1553" y="372"/>
                    <a:pt x="1553" y="372"/>
                  </a:cubicBezTo>
                  <a:cubicBezTo>
                    <a:pt x="1604" y="372"/>
                    <a:pt x="1646" y="330"/>
                    <a:pt x="1646" y="279"/>
                  </a:cubicBezTo>
                  <a:cubicBezTo>
                    <a:pt x="1646" y="0"/>
                    <a:pt x="1646" y="0"/>
                    <a:pt x="1646" y="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grpSp>
      <p:grpSp>
        <p:nvGrpSpPr>
          <p:cNvPr id="22" name="Group 63">
            <a:extLst>
              <a:ext uri="{FF2B5EF4-FFF2-40B4-BE49-F238E27FC236}">
                <a16:creationId xmlns:a16="http://schemas.microsoft.com/office/drawing/2014/main" id="{D3DAC1B0-0CE1-40A6-A1B7-521A8E115407}"/>
              </a:ext>
            </a:extLst>
          </p:cNvPr>
          <p:cNvGrpSpPr/>
          <p:nvPr/>
        </p:nvGrpSpPr>
        <p:grpSpPr>
          <a:xfrm>
            <a:off x="5336197" y="2778484"/>
            <a:ext cx="335667" cy="416550"/>
            <a:chOff x="3333750" y="6040438"/>
            <a:chExt cx="658813" cy="817562"/>
          </a:xfrm>
          <a:solidFill>
            <a:srgbClr val="FFFFFF"/>
          </a:solidFill>
        </p:grpSpPr>
        <p:sp>
          <p:nvSpPr>
            <p:cNvPr id="23" name="Oval 5">
              <a:extLst>
                <a:ext uri="{FF2B5EF4-FFF2-40B4-BE49-F238E27FC236}">
                  <a16:creationId xmlns:a16="http://schemas.microsoft.com/office/drawing/2014/main" id="{BF3B1C82-2667-4919-AF78-6743B6BDC90F}"/>
                </a:ext>
              </a:extLst>
            </p:cNvPr>
            <p:cNvSpPr>
              <a:spLocks noChangeArrowheads="1"/>
            </p:cNvSpPr>
            <p:nvPr/>
          </p:nvSpPr>
          <p:spPr bwMode="auto">
            <a:xfrm>
              <a:off x="3484563" y="6040438"/>
              <a:ext cx="358775" cy="3587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24" name="Freeform 6">
              <a:extLst>
                <a:ext uri="{FF2B5EF4-FFF2-40B4-BE49-F238E27FC236}">
                  <a16:creationId xmlns:a16="http://schemas.microsoft.com/office/drawing/2014/main" id="{4B9D62F8-FEBB-4038-B5AD-4A9A7EBF466A}"/>
                </a:ext>
              </a:extLst>
            </p:cNvPr>
            <p:cNvSpPr>
              <a:spLocks/>
            </p:cNvSpPr>
            <p:nvPr/>
          </p:nvSpPr>
          <p:spPr bwMode="auto">
            <a:xfrm>
              <a:off x="3333750" y="6488113"/>
              <a:ext cx="658813" cy="369887"/>
            </a:xfrm>
            <a:custGeom>
              <a:avLst/>
              <a:gdLst>
                <a:gd name="T0" fmla="*/ 933 w 1650"/>
                <a:gd name="T1" fmla="*/ 0 h 926"/>
                <a:gd name="T2" fmla="*/ 933 w 1650"/>
                <a:gd name="T3" fmla="*/ 109 h 926"/>
                <a:gd name="T4" fmla="*/ 933 w 1650"/>
                <a:gd name="T5" fmla="*/ 218 h 926"/>
                <a:gd name="T6" fmla="*/ 933 w 1650"/>
                <a:gd name="T7" fmla="*/ 675 h 926"/>
                <a:gd name="T8" fmla="*/ 926 w 1650"/>
                <a:gd name="T9" fmla="*/ 711 h 926"/>
                <a:gd name="T10" fmla="*/ 825 w 1650"/>
                <a:gd name="T11" fmla="*/ 783 h 926"/>
                <a:gd name="T12" fmla="*/ 724 w 1650"/>
                <a:gd name="T13" fmla="*/ 711 h 926"/>
                <a:gd name="T14" fmla="*/ 717 w 1650"/>
                <a:gd name="T15" fmla="*/ 675 h 926"/>
                <a:gd name="T16" fmla="*/ 717 w 1650"/>
                <a:gd name="T17" fmla="*/ 218 h 926"/>
                <a:gd name="T18" fmla="*/ 717 w 1650"/>
                <a:gd name="T19" fmla="*/ 109 h 926"/>
                <a:gd name="T20" fmla="*/ 717 w 1650"/>
                <a:gd name="T21" fmla="*/ 0 h 926"/>
                <a:gd name="T22" fmla="*/ 0 w 1650"/>
                <a:gd name="T23" fmla="*/ 818 h 926"/>
                <a:gd name="T24" fmla="*/ 108 w 1650"/>
                <a:gd name="T25" fmla="*/ 926 h 926"/>
                <a:gd name="T26" fmla="*/ 1542 w 1650"/>
                <a:gd name="T27" fmla="*/ 926 h 926"/>
                <a:gd name="T28" fmla="*/ 1650 w 1650"/>
                <a:gd name="T29" fmla="*/ 818 h 926"/>
                <a:gd name="T30" fmla="*/ 933 w 1650"/>
                <a:gd name="T31" fmla="*/ 0 h 9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50" h="926">
                  <a:moveTo>
                    <a:pt x="933" y="0"/>
                  </a:moveTo>
                  <a:cubicBezTo>
                    <a:pt x="933" y="109"/>
                    <a:pt x="933" y="109"/>
                    <a:pt x="933" y="109"/>
                  </a:cubicBezTo>
                  <a:cubicBezTo>
                    <a:pt x="933" y="218"/>
                    <a:pt x="933" y="218"/>
                    <a:pt x="933" y="218"/>
                  </a:cubicBezTo>
                  <a:cubicBezTo>
                    <a:pt x="933" y="675"/>
                    <a:pt x="933" y="675"/>
                    <a:pt x="933" y="675"/>
                  </a:cubicBezTo>
                  <a:cubicBezTo>
                    <a:pt x="933" y="688"/>
                    <a:pt x="930" y="700"/>
                    <a:pt x="926" y="711"/>
                  </a:cubicBezTo>
                  <a:cubicBezTo>
                    <a:pt x="912" y="753"/>
                    <a:pt x="872" y="783"/>
                    <a:pt x="825" y="783"/>
                  </a:cubicBezTo>
                  <a:cubicBezTo>
                    <a:pt x="778" y="783"/>
                    <a:pt x="738" y="753"/>
                    <a:pt x="724" y="711"/>
                  </a:cubicBezTo>
                  <a:cubicBezTo>
                    <a:pt x="720" y="700"/>
                    <a:pt x="717" y="688"/>
                    <a:pt x="717" y="675"/>
                  </a:cubicBezTo>
                  <a:cubicBezTo>
                    <a:pt x="717" y="218"/>
                    <a:pt x="717" y="218"/>
                    <a:pt x="717" y="218"/>
                  </a:cubicBezTo>
                  <a:cubicBezTo>
                    <a:pt x="717" y="109"/>
                    <a:pt x="717" y="109"/>
                    <a:pt x="717" y="109"/>
                  </a:cubicBezTo>
                  <a:cubicBezTo>
                    <a:pt x="717" y="0"/>
                    <a:pt x="717" y="0"/>
                    <a:pt x="717" y="0"/>
                  </a:cubicBezTo>
                  <a:cubicBezTo>
                    <a:pt x="313" y="53"/>
                    <a:pt x="0" y="400"/>
                    <a:pt x="0" y="818"/>
                  </a:cubicBezTo>
                  <a:cubicBezTo>
                    <a:pt x="0" y="878"/>
                    <a:pt x="48" y="926"/>
                    <a:pt x="108" y="926"/>
                  </a:cubicBezTo>
                  <a:cubicBezTo>
                    <a:pt x="1542" y="926"/>
                    <a:pt x="1542" y="926"/>
                    <a:pt x="1542" y="926"/>
                  </a:cubicBezTo>
                  <a:cubicBezTo>
                    <a:pt x="1602" y="926"/>
                    <a:pt x="1650" y="878"/>
                    <a:pt x="1650" y="818"/>
                  </a:cubicBezTo>
                  <a:cubicBezTo>
                    <a:pt x="1650" y="400"/>
                    <a:pt x="1337" y="53"/>
                    <a:pt x="93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grpSp>
      <p:sp>
        <p:nvSpPr>
          <p:cNvPr id="25" name="Freeform 14">
            <a:extLst>
              <a:ext uri="{FF2B5EF4-FFF2-40B4-BE49-F238E27FC236}">
                <a16:creationId xmlns:a16="http://schemas.microsoft.com/office/drawing/2014/main" id="{0973905E-B6B9-4A4F-A180-01EE6221284A}"/>
              </a:ext>
            </a:extLst>
          </p:cNvPr>
          <p:cNvSpPr>
            <a:spLocks/>
          </p:cNvSpPr>
          <p:nvPr/>
        </p:nvSpPr>
        <p:spPr bwMode="auto">
          <a:xfrm>
            <a:off x="7144257" y="3844525"/>
            <a:ext cx="322836" cy="421243"/>
          </a:xfrm>
          <a:custGeom>
            <a:avLst/>
            <a:gdLst>
              <a:gd name="T0" fmla="*/ 1538 w 1573"/>
              <a:gd name="T1" fmla="*/ 277 h 2048"/>
              <a:gd name="T2" fmla="*/ 1475 w 1573"/>
              <a:gd name="T3" fmla="*/ 215 h 2048"/>
              <a:gd name="T4" fmla="*/ 1496 w 1573"/>
              <a:gd name="T5" fmla="*/ 194 h 2048"/>
              <a:gd name="T6" fmla="*/ 1496 w 1573"/>
              <a:gd name="T7" fmla="*/ 68 h 2048"/>
              <a:gd name="T8" fmla="*/ 1370 w 1573"/>
              <a:gd name="T9" fmla="*/ 68 h 2048"/>
              <a:gd name="T10" fmla="*/ 1349 w 1573"/>
              <a:gd name="T11" fmla="*/ 89 h 2048"/>
              <a:gd name="T12" fmla="*/ 1286 w 1573"/>
              <a:gd name="T13" fmla="*/ 26 h 2048"/>
              <a:gd name="T14" fmla="*/ 1224 w 1573"/>
              <a:gd name="T15" fmla="*/ 0 h 2048"/>
              <a:gd name="T16" fmla="*/ 1161 w 1573"/>
              <a:gd name="T17" fmla="*/ 26 h 2048"/>
              <a:gd name="T18" fmla="*/ 574 w 1573"/>
              <a:gd name="T19" fmla="*/ 613 h 2048"/>
              <a:gd name="T20" fmla="*/ 548 w 1573"/>
              <a:gd name="T21" fmla="*/ 676 h 2048"/>
              <a:gd name="T22" fmla="*/ 574 w 1573"/>
              <a:gd name="T23" fmla="*/ 738 h 2048"/>
              <a:gd name="T24" fmla="*/ 825 w 1573"/>
              <a:gd name="T25" fmla="*/ 990 h 2048"/>
              <a:gd name="T26" fmla="*/ 888 w 1573"/>
              <a:gd name="T27" fmla="*/ 1016 h 2048"/>
              <a:gd name="T28" fmla="*/ 951 w 1573"/>
              <a:gd name="T29" fmla="*/ 990 h 2048"/>
              <a:gd name="T30" fmla="*/ 1218 w 1573"/>
              <a:gd name="T31" fmla="*/ 723 h 2048"/>
              <a:gd name="T32" fmla="*/ 1308 w 1573"/>
              <a:gd name="T33" fmla="*/ 1011 h 2048"/>
              <a:gd name="T34" fmla="*/ 804 w 1573"/>
              <a:gd name="T35" fmla="*/ 1515 h 2048"/>
              <a:gd name="T36" fmla="*/ 420 w 1573"/>
              <a:gd name="T37" fmla="*/ 1337 h 2048"/>
              <a:gd name="T38" fmla="*/ 682 w 1573"/>
              <a:gd name="T39" fmla="*/ 1337 h 2048"/>
              <a:gd name="T40" fmla="*/ 771 w 1573"/>
              <a:gd name="T41" fmla="*/ 1248 h 2048"/>
              <a:gd name="T42" fmla="*/ 682 w 1573"/>
              <a:gd name="T43" fmla="*/ 1159 h 2048"/>
              <a:gd name="T44" fmla="*/ 330 w 1573"/>
              <a:gd name="T45" fmla="*/ 1159 h 2048"/>
              <a:gd name="T46" fmla="*/ 89 w 1573"/>
              <a:gd name="T47" fmla="*/ 1159 h 2048"/>
              <a:gd name="T48" fmla="*/ 0 w 1573"/>
              <a:gd name="T49" fmla="*/ 1248 h 2048"/>
              <a:gd name="T50" fmla="*/ 89 w 1573"/>
              <a:gd name="T51" fmla="*/ 1337 h 2048"/>
              <a:gd name="T52" fmla="*/ 241 w 1573"/>
              <a:gd name="T53" fmla="*/ 1337 h 2048"/>
              <a:gd name="T54" fmla="*/ 241 w 1573"/>
              <a:gd name="T55" fmla="*/ 1366 h 2048"/>
              <a:gd name="T56" fmla="*/ 259 w 1573"/>
              <a:gd name="T57" fmla="*/ 1420 h 2048"/>
              <a:gd name="T58" fmla="*/ 716 w 1573"/>
              <a:gd name="T59" fmla="*/ 1687 h 2048"/>
              <a:gd name="T60" fmla="*/ 716 w 1573"/>
              <a:gd name="T61" fmla="*/ 1870 h 2048"/>
              <a:gd name="T62" fmla="*/ 390 w 1573"/>
              <a:gd name="T63" fmla="*/ 1870 h 2048"/>
              <a:gd name="T64" fmla="*/ 301 w 1573"/>
              <a:gd name="T65" fmla="*/ 1959 h 2048"/>
              <a:gd name="T66" fmla="*/ 390 w 1573"/>
              <a:gd name="T67" fmla="*/ 2048 h 2048"/>
              <a:gd name="T68" fmla="*/ 805 w 1573"/>
              <a:gd name="T69" fmla="*/ 2048 h 2048"/>
              <a:gd name="T70" fmla="*/ 1220 w 1573"/>
              <a:gd name="T71" fmla="*/ 2048 h 2048"/>
              <a:gd name="T72" fmla="*/ 1308 w 1573"/>
              <a:gd name="T73" fmla="*/ 1959 h 2048"/>
              <a:gd name="T74" fmla="*/ 1220 w 1573"/>
              <a:gd name="T75" fmla="*/ 1870 h 2048"/>
              <a:gd name="T76" fmla="*/ 894 w 1573"/>
              <a:gd name="T77" fmla="*/ 1870 h 2048"/>
              <a:gd name="T78" fmla="*/ 894 w 1573"/>
              <a:gd name="T79" fmla="*/ 1687 h 2048"/>
              <a:gd name="T80" fmla="*/ 1486 w 1573"/>
              <a:gd name="T81" fmla="*/ 1011 h 2048"/>
              <a:gd name="T82" fmla="*/ 1345 w 1573"/>
              <a:gd name="T83" fmla="*/ 596 h 2048"/>
              <a:gd name="T84" fmla="*/ 1538 w 1573"/>
              <a:gd name="T85" fmla="*/ 403 h 2048"/>
              <a:gd name="T86" fmla="*/ 1538 w 1573"/>
              <a:gd name="T87" fmla="*/ 277 h 20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573" h="2048">
                <a:moveTo>
                  <a:pt x="1538" y="277"/>
                </a:moveTo>
                <a:cubicBezTo>
                  <a:pt x="1475" y="215"/>
                  <a:pt x="1475" y="215"/>
                  <a:pt x="1475" y="215"/>
                </a:cubicBezTo>
                <a:cubicBezTo>
                  <a:pt x="1496" y="194"/>
                  <a:pt x="1496" y="194"/>
                  <a:pt x="1496" y="194"/>
                </a:cubicBezTo>
                <a:cubicBezTo>
                  <a:pt x="1531" y="159"/>
                  <a:pt x="1531" y="103"/>
                  <a:pt x="1496" y="68"/>
                </a:cubicBezTo>
                <a:cubicBezTo>
                  <a:pt x="1461" y="33"/>
                  <a:pt x="1405" y="33"/>
                  <a:pt x="1370" y="68"/>
                </a:cubicBezTo>
                <a:cubicBezTo>
                  <a:pt x="1349" y="89"/>
                  <a:pt x="1349" y="89"/>
                  <a:pt x="1349" y="89"/>
                </a:cubicBezTo>
                <a:cubicBezTo>
                  <a:pt x="1286" y="26"/>
                  <a:pt x="1286" y="26"/>
                  <a:pt x="1286" y="26"/>
                </a:cubicBezTo>
                <a:cubicBezTo>
                  <a:pt x="1270" y="9"/>
                  <a:pt x="1247" y="0"/>
                  <a:pt x="1224" y="0"/>
                </a:cubicBezTo>
                <a:cubicBezTo>
                  <a:pt x="1200" y="0"/>
                  <a:pt x="1177" y="9"/>
                  <a:pt x="1161" y="26"/>
                </a:cubicBezTo>
                <a:cubicBezTo>
                  <a:pt x="574" y="613"/>
                  <a:pt x="574" y="613"/>
                  <a:pt x="574" y="613"/>
                </a:cubicBezTo>
                <a:cubicBezTo>
                  <a:pt x="557" y="629"/>
                  <a:pt x="548" y="652"/>
                  <a:pt x="548" y="676"/>
                </a:cubicBezTo>
                <a:cubicBezTo>
                  <a:pt x="548" y="699"/>
                  <a:pt x="557" y="722"/>
                  <a:pt x="574" y="738"/>
                </a:cubicBezTo>
                <a:cubicBezTo>
                  <a:pt x="825" y="990"/>
                  <a:pt x="825" y="990"/>
                  <a:pt x="825" y="990"/>
                </a:cubicBezTo>
                <a:cubicBezTo>
                  <a:pt x="843" y="1007"/>
                  <a:pt x="866" y="1016"/>
                  <a:pt x="888" y="1016"/>
                </a:cubicBezTo>
                <a:cubicBezTo>
                  <a:pt x="911" y="1016"/>
                  <a:pt x="934" y="1007"/>
                  <a:pt x="951" y="990"/>
                </a:cubicBezTo>
                <a:cubicBezTo>
                  <a:pt x="1218" y="723"/>
                  <a:pt x="1218" y="723"/>
                  <a:pt x="1218" y="723"/>
                </a:cubicBezTo>
                <a:cubicBezTo>
                  <a:pt x="1277" y="807"/>
                  <a:pt x="1308" y="906"/>
                  <a:pt x="1308" y="1011"/>
                </a:cubicBezTo>
                <a:cubicBezTo>
                  <a:pt x="1308" y="1289"/>
                  <a:pt x="1082" y="1515"/>
                  <a:pt x="804" y="1515"/>
                </a:cubicBezTo>
                <a:cubicBezTo>
                  <a:pt x="655" y="1515"/>
                  <a:pt x="516" y="1450"/>
                  <a:pt x="420" y="1337"/>
                </a:cubicBezTo>
                <a:cubicBezTo>
                  <a:pt x="682" y="1337"/>
                  <a:pt x="682" y="1337"/>
                  <a:pt x="682" y="1337"/>
                </a:cubicBezTo>
                <a:cubicBezTo>
                  <a:pt x="731" y="1337"/>
                  <a:pt x="771" y="1297"/>
                  <a:pt x="771" y="1248"/>
                </a:cubicBezTo>
                <a:cubicBezTo>
                  <a:pt x="771" y="1199"/>
                  <a:pt x="731" y="1159"/>
                  <a:pt x="682" y="1159"/>
                </a:cubicBezTo>
                <a:cubicBezTo>
                  <a:pt x="330" y="1159"/>
                  <a:pt x="330" y="1159"/>
                  <a:pt x="330" y="1159"/>
                </a:cubicBezTo>
                <a:cubicBezTo>
                  <a:pt x="89" y="1159"/>
                  <a:pt x="89" y="1159"/>
                  <a:pt x="89" y="1159"/>
                </a:cubicBezTo>
                <a:cubicBezTo>
                  <a:pt x="40" y="1159"/>
                  <a:pt x="0" y="1199"/>
                  <a:pt x="0" y="1248"/>
                </a:cubicBezTo>
                <a:cubicBezTo>
                  <a:pt x="0" y="1297"/>
                  <a:pt x="40" y="1337"/>
                  <a:pt x="89" y="1337"/>
                </a:cubicBezTo>
                <a:cubicBezTo>
                  <a:pt x="241" y="1337"/>
                  <a:pt x="241" y="1337"/>
                  <a:pt x="241" y="1337"/>
                </a:cubicBezTo>
                <a:cubicBezTo>
                  <a:pt x="241" y="1366"/>
                  <a:pt x="241" y="1366"/>
                  <a:pt x="241" y="1366"/>
                </a:cubicBezTo>
                <a:cubicBezTo>
                  <a:pt x="241" y="1386"/>
                  <a:pt x="248" y="1404"/>
                  <a:pt x="259" y="1420"/>
                </a:cubicBezTo>
                <a:cubicBezTo>
                  <a:pt x="371" y="1569"/>
                  <a:pt x="534" y="1663"/>
                  <a:pt x="716" y="1687"/>
                </a:cubicBezTo>
                <a:cubicBezTo>
                  <a:pt x="716" y="1870"/>
                  <a:pt x="716" y="1870"/>
                  <a:pt x="716" y="1870"/>
                </a:cubicBezTo>
                <a:cubicBezTo>
                  <a:pt x="390" y="1870"/>
                  <a:pt x="390" y="1870"/>
                  <a:pt x="390" y="1870"/>
                </a:cubicBezTo>
                <a:cubicBezTo>
                  <a:pt x="341" y="1870"/>
                  <a:pt x="301" y="1910"/>
                  <a:pt x="301" y="1959"/>
                </a:cubicBezTo>
                <a:cubicBezTo>
                  <a:pt x="301" y="2008"/>
                  <a:pt x="341" y="2048"/>
                  <a:pt x="390" y="2048"/>
                </a:cubicBezTo>
                <a:cubicBezTo>
                  <a:pt x="805" y="2048"/>
                  <a:pt x="805" y="2048"/>
                  <a:pt x="805" y="2048"/>
                </a:cubicBezTo>
                <a:cubicBezTo>
                  <a:pt x="1220" y="2048"/>
                  <a:pt x="1220" y="2048"/>
                  <a:pt x="1220" y="2048"/>
                </a:cubicBezTo>
                <a:cubicBezTo>
                  <a:pt x="1269" y="2048"/>
                  <a:pt x="1308" y="2008"/>
                  <a:pt x="1308" y="1959"/>
                </a:cubicBezTo>
                <a:cubicBezTo>
                  <a:pt x="1308" y="1910"/>
                  <a:pt x="1269" y="1870"/>
                  <a:pt x="1220" y="1870"/>
                </a:cubicBezTo>
                <a:cubicBezTo>
                  <a:pt x="894" y="1870"/>
                  <a:pt x="894" y="1870"/>
                  <a:pt x="894" y="1870"/>
                </a:cubicBezTo>
                <a:cubicBezTo>
                  <a:pt x="894" y="1687"/>
                  <a:pt x="894" y="1687"/>
                  <a:pt x="894" y="1687"/>
                </a:cubicBezTo>
                <a:cubicBezTo>
                  <a:pt x="1227" y="1643"/>
                  <a:pt x="1486" y="1356"/>
                  <a:pt x="1486" y="1011"/>
                </a:cubicBezTo>
                <a:cubicBezTo>
                  <a:pt x="1486" y="859"/>
                  <a:pt x="1436" y="714"/>
                  <a:pt x="1345" y="596"/>
                </a:cubicBezTo>
                <a:cubicBezTo>
                  <a:pt x="1538" y="403"/>
                  <a:pt x="1538" y="403"/>
                  <a:pt x="1538" y="403"/>
                </a:cubicBezTo>
                <a:cubicBezTo>
                  <a:pt x="1573" y="368"/>
                  <a:pt x="1573" y="312"/>
                  <a:pt x="1538" y="277"/>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26" name="Freeform 18">
            <a:extLst>
              <a:ext uri="{FF2B5EF4-FFF2-40B4-BE49-F238E27FC236}">
                <a16:creationId xmlns:a16="http://schemas.microsoft.com/office/drawing/2014/main" id="{64F01007-85BC-4BD4-81B8-48DE92519A53}"/>
              </a:ext>
            </a:extLst>
          </p:cNvPr>
          <p:cNvSpPr>
            <a:spLocks noEditPoints="1"/>
          </p:cNvSpPr>
          <p:nvPr/>
        </p:nvSpPr>
        <p:spPr bwMode="auto">
          <a:xfrm>
            <a:off x="6514622" y="2792311"/>
            <a:ext cx="372269" cy="422778"/>
          </a:xfrm>
          <a:custGeom>
            <a:avLst/>
            <a:gdLst>
              <a:gd name="T0" fmla="*/ 1785 w 1806"/>
              <a:gd name="T1" fmla="*/ 223 h 2048"/>
              <a:gd name="T2" fmla="*/ 1512 w 1806"/>
              <a:gd name="T3" fmla="*/ 0 h 2048"/>
              <a:gd name="T4" fmla="*/ 1512 w 1806"/>
              <a:gd name="T5" fmla="*/ 0 h 2048"/>
              <a:gd name="T6" fmla="*/ 1349 w 1806"/>
              <a:gd name="T7" fmla="*/ 0 h 2048"/>
              <a:gd name="T8" fmla="*/ 457 w 1806"/>
              <a:gd name="T9" fmla="*/ 0 h 2048"/>
              <a:gd name="T10" fmla="*/ 294 w 1806"/>
              <a:gd name="T11" fmla="*/ 0 h 2048"/>
              <a:gd name="T12" fmla="*/ 294 w 1806"/>
              <a:gd name="T13" fmla="*/ 0 h 2048"/>
              <a:gd name="T14" fmla="*/ 21 w 1806"/>
              <a:gd name="T15" fmla="*/ 223 h 2048"/>
              <a:gd name="T16" fmla="*/ 78 w 1806"/>
              <a:gd name="T17" fmla="*/ 520 h 2048"/>
              <a:gd name="T18" fmla="*/ 366 w 1806"/>
              <a:gd name="T19" fmla="*/ 782 h 2048"/>
              <a:gd name="T20" fmla="*/ 810 w 1806"/>
              <a:gd name="T21" fmla="*/ 1276 h 2048"/>
              <a:gd name="T22" fmla="*/ 810 w 1806"/>
              <a:gd name="T23" fmla="*/ 1480 h 2048"/>
              <a:gd name="T24" fmla="*/ 521 w 1806"/>
              <a:gd name="T25" fmla="*/ 1480 h 2048"/>
              <a:gd name="T26" fmla="*/ 428 w 1806"/>
              <a:gd name="T27" fmla="*/ 1573 h 2048"/>
              <a:gd name="T28" fmla="*/ 428 w 1806"/>
              <a:gd name="T29" fmla="*/ 1955 h 2048"/>
              <a:gd name="T30" fmla="*/ 521 w 1806"/>
              <a:gd name="T31" fmla="*/ 2048 h 2048"/>
              <a:gd name="T32" fmla="*/ 1285 w 1806"/>
              <a:gd name="T33" fmla="*/ 2048 h 2048"/>
              <a:gd name="T34" fmla="*/ 1378 w 1806"/>
              <a:gd name="T35" fmla="*/ 1955 h 2048"/>
              <a:gd name="T36" fmla="*/ 1378 w 1806"/>
              <a:gd name="T37" fmla="*/ 1573 h 2048"/>
              <a:gd name="T38" fmla="*/ 1285 w 1806"/>
              <a:gd name="T39" fmla="*/ 1480 h 2048"/>
              <a:gd name="T40" fmla="*/ 996 w 1806"/>
              <a:gd name="T41" fmla="*/ 1480 h 2048"/>
              <a:gd name="T42" fmla="*/ 996 w 1806"/>
              <a:gd name="T43" fmla="*/ 1276 h 2048"/>
              <a:gd name="T44" fmla="*/ 1440 w 1806"/>
              <a:gd name="T45" fmla="*/ 781 h 2048"/>
              <a:gd name="T46" fmla="*/ 1728 w 1806"/>
              <a:gd name="T47" fmla="*/ 520 h 2048"/>
              <a:gd name="T48" fmla="*/ 1785 w 1806"/>
              <a:gd name="T49" fmla="*/ 223 h 2048"/>
              <a:gd name="T50" fmla="*/ 201 w 1806"/>
              <a:gd name="T51" fmla="*/ 269 h 2048"/>
              <a:gd name="T52" fmla="*/ 294 w 1806"/>
              <a:gd name="T53" fmla="*/ 186 h 2048"/>
              <a:gd name="T54" fmla="*/ 294 w 1806"/>
              <a:gd name="T55" fmla="*/ 186 h 2048"/>
              <a:gd name="T56" fmla="*/ 364 w 1806"/>
              <a:gd name="T57" fmla="*/ 186 h 2048"/>
              <a:gd name="T58" fmla="*/ 365 w 1806"/>
              <a:gd name="T59" fmla="*/ 557 h 2048"/>
              <a:gd name="T60" fmla="*/ 201 w 1806"/>
              <a:gd name="T61" fmla="*/ 269 h 2048"/>
              <a:gd name="T62" fmla="*/ 1442 w 1806"/>
              <a:gd name="T63" fmla="*/ 556 h 2048"/>
              <a:gd name="T64" fmla="*/ 1442 w 1806"/>
              <a:gd name="T65" fmla="*/ 186 h 2048"/>
              <a:gd name="T66" fmla="*/ 1512 w 1806"/>
              <a:gd name="T67" fmla="*/ 186 h 2048"/>
              <a:gd name="T68" fmla="*/ 1512 w 1806"/>
              <a:gd name="T69" fmla="*/ 186 h 2048"/>
              <a:gd name="T70" fmla="*/ 1605 w 1806"/>
              <a:gd name="T71" fmla="*/ 269 h 2048"/>
              <a:gd name="T72" fmla="*/ 1442 w 1806"/>
              <a:gd name="T73" fmla="*/ 556 h 20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806" h="2048">
                <a:moveTo>
                  <a:pt x="1785" y="223"/>
                </a:moveTo>
                <a:cubicBezTo>
                  <a:pt x="1752" y="92"/>
                  <a:pt x="1640" y="0"/>
                  <a:pt x="1512" y="0"/>
                </a:cubicBezTo>
                <a:cubicBezTo>
                  <a:pt x="1512" y="0"/>
                  <a:pt x="1512" y="0"/>
                  <a:pt x="1512" y="0"/>
                </a:cubicBezTo>
                <a:cubicBezTo>
                  <a:pt x="1349" y="0"/>
                  <a:pt x="1349" y="0"/>
                  <a:pt x="1349" y="0"/>
                </a:cubicBezTo>
                <a:cubicBezTo>
                  <a:pt x="457" y="0"/>
                  <a:pt x="457" y="0"/>
                  <a:pt x="457" y="0"/>
                </a:cubicBezTo>
                <a:cubicBezTo>
                  <a:pt x="294" y="0"/>
                  <a:pt x="294" y="0"/>
                  <a:pt x="294" y="0"/>
                </a:cubicBezTo>
                <a:cubicBezTo>
                  <a:pt x="294" y="0"/>
                  <a:pt x="294" y="0"/>
                  <a:pt x="294" y="0"/>
                </a:cubicBezTo>
                <a:cubicBezTo>
                  <a:pt x="166" y="0"/>
                  <a:pt x="54" y="92"/>
                  <a:pt x="21" y="223"/>
                </a:cubicBezTo>
                <a:cubicBezTo>
                  <a:pt x="3" y="290"/>
                  <a:pt x="0" y="396"/>
                  <a:pt x="78" y="520"/>
                </a:cubicBezTo>
                <a:cubicBezTo>
                  <a:pt x="137" y="615"/>
                  <a:pt x="234" y="703"/>
                  <a:pt x="366" y="782"/>
                </a:cubicBezTo>
                <a:cubicBezTo>
                  <a:pt x="383" y="1030"/>
                  <a:pt x="569" y="1234"/>
                  <a:pt x="810" y="1276"/>
                </a:cubicBezTo>
                <a:cubicBezTo>
                  <a:pt x="810" y="1480"/>
                  <a:pt x="810" y="1480"/>
                  <a:pt x="810" y="1480"/>
                </a:cubicBezTo>
                <a:cubicBezTo>
                  <a:pt x="521" y="1480"/>
                  <a:pt x="521" y="1480"/>
                  <a:pt x="521" y="1480"/>
                </a:cubicBezTo>
                <a:cubicBezTo>
                  <a:pt x="470" y="1480"/>
                  <a:pt x="428" y="1522"/>
                  <a:pt x="428" y="1573"/>
                </a:cubicBezTo>
                <a:cubicBezTo>
                  <a:pt x="428" y="1955"/>
                  <a:pt x="428" y="1955"/>
                  <a:pt x="428" y="1955"/>
                </a:cubicBezTo>
                <a:cubicBezTo>
                  <a:pt x="428" y="2006"/>
                  <a:pt x="470" y="2048"/>
                  <a:pt x="521" y="2048"/>
                </a:cubicBezTo>
                <a:cubicBezTo>
                  <a:pt x="1285" y="2048"/>
                  <a:pt x="1285" y="2048"/>
                  <a:pt x="1285" y="2048"/>
                </a:cubicBezTo>
                <a:cubicBezTo>
                  <a:pt x="1336" y="2048"/>
                  <a:pt x="1378" y="2006"/>
                  <a:pt x="1378" y="1955"/>
                </a:cubicBezTo>
                <a:cubicBezTo>
                  <a:pt x="1378" y="1573"/>
                  <a:pt x="1378" y="1573"/>
                  <a:pt x="1378" y="1573"/>
                </a:cubicBezTo>
                <a:cubicBezTo>
                  <a:pt x="1378" y="1522"/>
                  <a:pt x="1336" y="1480"/>
                  <a:pt x="1285" y="1480"/>
                </a:cubicBezTo>
                <a:cubicBezTo>
                  <a:pt x="996" y="1480"/>
                  <a:pt x="996" y="1480"/>
                  <a:pt x="996" y="1480"/>
                </a:cubicBezTo>
                <a:cubicBezTo>
                  <a:pt x="996" y="1276"/>
                  <a:pt x="996" y="1276"/>
                  <a:pt x="996" y="1276"/>
                </a:cubicBezTo>
                <a:cubicBezTo>
                  <a:pt x="1238" y="1234"/>
                  <a:pt x="1424" y="1031"/>
                  <a:pt x="1440" y="781"/>
                </a:cubicBezTo>
                <a:cubicBezTo>
                  <a:pt x="1572" y="703"/>
                  <a:pt x="1669" y="615"/>
                  <a:pt x="1728" y="520"/>
                </a:cubicBezTo>
                <a:cubicBezTo>
                  <a:pt x="1806" y="396"/>
                  <a:pt x="1803" y="290"/>
                  <a:pt x="1785" y="223"/>
                </a:cubicBezTo>
                <a:close/>
                <a:moveTo>
                  <a:pt x="201" y="269"/>
                </a:moveTo>
                <a:cubicBezTo>
                  <a:pt x="215" y="215"/>
                  <a:pt x="258" y="186"/>
                  <a:pt x="294" y="186"/>
                </a:cubicBezTo>
                <a:cubicBezTo>
                  <a:pt x="294" y="186"/>
                  <a:pt x="294" y="186"/>
                  <a:pt x="294" y="186"/>
                </a:cubicBezTo>
                <a:cubicBezTo>
                  <a:pt x="364" y="186"/>
                  <a:pt x="364" y="186"/>
                  <a:pt x="364" y="186"/>
                </a:cubicBezTo>
                <a:cubicBezTo>
                  <a:pt x="365" y="557"/>
                  <a:pt x="365" y="557"/>
                  <a:pt x="365" y="557"/>
                </a:cubicBezTo>
                <a:cubicBezTo>
                  <a:pt x="221" y="446"/>
                  <a:pt x="183" y="340"/>
                  <a:pt x="201" y="269"/>
                </a:cubicBezTo>
                <a:close/>
                <a:moveTo>
                  <a:pt x="1442" y="556"/>
                </a:moveTo>
                <a:cubicBezTo>
                  <a:pt x="1442" y="186"/>
                  <a:pt x="1442" y="186"/>
                  <a:pt x="1442" y="186"/>
                </a:cubicBezTo>
                <a:cubicBezTo>
                  <a:pt x="1512" y="186"/>
                  <a:pt x="1512" y="186"/>
                  <a:pt x="1512" y="186"/>
                </a:cubicBezTo>
                <a:cubicBezTo>
                  <a:pt x="1512" y="186"/>
                  <a:pt x="1512" y="186"/>
                  <a:pt x="1512" y="186"/>
                </a:cubicBezTo>
                <a:cubicBezTo>
                  <a:pt x="1548" y="186"/>
                  <a:pt x="1591" y="215"/>
                  <a:pt x="1605" y="269"/>
                </a:cubicBezTo>
                <a:cubicBezTo>
                  <a:pt x="1623" y="340"/>
                  <a:pt x="1585" y="446"/>
                  <a:pt x="1442" y="556"/>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grpSp>
        <p:nvGrpSpPr>
          <p:cNvPr id="27" name="Group 68">
            <a:extLst>
              <a:ext uri="{FF2B5EF4-FFF2-40B4-BE49-F238E27FC236}">
                <a16:creationId xmlns:a16="http://schemas.microsoft.com/office/drawing/2014/main" id="{04D7440B-C5D9-4D5D-B27C-5CCB4E170DC3}"/>
              </a:ext>
            </a:extLst>
          </p:cNvPr>
          <p:cNvGrpSpPr/>
          <p:nvPr/>
        </p:nvGrpSpPr>
        <p:grpSpPr>
          <a:xfrm>
            <a:off x="4704679" y="3857785"/>
            <a:ext cx="298340" cy="424170"/>
            <a:chOff x="3679825" y="6196013"/>
            <a:chExt cx="466725" cy="663575"/>
          </a:xfrm>
          <a:solidFill>
            <a:srgbClr val="FFFFFF"/>
          </a:solidFill>
        </p:grpSpPr>
        <p:sp>
          <p:nvSpPr>
            <p:cNvPr id="28" name="Freeform 29">
              <a:extLst>
                <a:ext uri="{FF2B5EF4-FFF2-40B4-BE49-F238E27FC236}">
                  <a16:creationId xmlns:a16="http://schemas.microsoft.com/office/drawing/2014/main" id="{98996392-3B93-4F7C-941C-D45B9A217284}"/>
                </a:ext>
              </a:extLst>
            </p:cNvPr>
            <p:cNvSpPr>
              <a:spLocks/>
            </p:cNvSpPr>
            <p:nvPr/>
          </p:nvSpPr>
          <p:spPr bwMode="auto">
            <a:xfrm>
              <a:off x="3752850" y="6675438"/>
              <a:ext cx="320675" cy="184150"/>
            </a:xfrm>
            <a:custGeom>
              <a:avLst/>
              <a:gdLst>
                <a:gd name="T0" fmla="*/ 900 w 994"/>
                <a:gd name="T1" fmla="*/ 54 h 571"/>
                <a:gd name="T2" fmla="*/ 806 w 994"/>
                <a:gd name="T3" fmla="*/ 94 h 571"/>
                <a:gd name="T4" fmla="*/ 497 w 994"/>
                <a:gd name="T5" fmla="*/ 149 h 571"/>
                <a:gd name="T6" fmla="*/ 188 w 994"/>
                <a:gd name="T7" fmla="*/ 94 h 571"/>
                <a:gd name="T8" fmla="*/ 94 w 994"/>
                <a:gd name="T9" fmla="*/ 54 h 571"/>
                <a:gd name="T10" fmla="*/ 0 w 994"/>
                <a:gd name="T11" fmla="*/ 0 h 571"/>
                <a:gd name="T12" fmla="*/ 0 w 994"/>
                <a:gd name="T13" fmla="*/ 472 h 571"/>
                <a:gd name="T14" fmla="*/ 45 w 994"/>
                <a:gd name="T15" fmla="*/ 552 h 571"/>
                <a:gd name="T16" fmla="*/ 136 w 994"/>
                <a:gd name="T17" fmla="*/ 556 h 571"/>
                <a:gd name="T18" fmla="*/ 497 w 994"/>
                <a:gd name="T19" fmla="*/ 372 h 571"/>
                <a:gd name="T20" fmla="*/ 858 w 994"/>
                <a:gd name="T21" fmla="*/ 556 h 571"/>
                <a:gd name="T22" fmla="*/ 900 w 994"/>
                <a:gd name="T23" fmla="*/ 566 h 571"/>
                <a:gd name="T24" fmla="*/ 949 w 994"/>
                <a:gd name="T25" fmla="*/ 552 h 571"/>
                <a:gd name="T26" fmla="*/ 994 w 994"/>
                <a:gd name="T27" fmla="*/ 472 h 571"/>
                <a:gd name="T28" fmla="*/ 994 w 994"/>
                <a:gd name="T29" fmla="*/ 0 h 571"/>
                <a:gd name="T30" fmla="*/ 900 w 994"/>
                <a:gd name="T31" fmla="*/ 54 h 5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94" h="571">
                  <a:moveTo>
                    <a:pt x="900" y="54"/>
                  </a:moveTo>
                  <a:cubicBezTo>
                    <a:pt x="870" y="69"/>
                    <a:pt x="839" y="83"/>
                    <a:pt x="806" y="94"/>
                  </a:cubicBezTo>
                  <a:cubicBezTo>
                    <a:pt x="710" y="129"/>
                    <a:pt x="606" y="149"/>
                    <a:pt x="497" y="149"/>
                  </a:cubicBezTo>
                  <a:cubicBezTo>
                    <a:pt x="388" y="149"/>
                    <a:pt x="284" y="129"/>
                    <a:pt x="188" y="94"/>
                  </a:cubicBezTo>
                  <a:cubicBezTo>
                    <a:pt x="155" y="83"/>
                    <a:pt x="124" y="69"/>
                    <a:pt x="94" y="54"/>
                  </a:cubicBezTo>
                  <a:cubicBezTo>
                    <a:pt x="61" y="38"/>
                    <a:pt x="30" y="20"/>
                    <a:pt x="0" y="0"/>
                  </a:cubicBezTo>
                  <a:cubicBezTo>
                    <a:pt x="0" y="472"/>
                    <a:pt x="0" y="472"/>
                    <a:pt x="0" y="472"/>
                  </a:cubicBezTo>
                  <a:cubicBezTo>
                    <a:pt x="0" y="505"/>
                    <a:pt x="17" y="535"/>
                    <a:pt x="45" y="552"/>
                  </a:cubicBezTo>
                  <a:cubicBezTo>
                    <a:pt x="72" y="569"/>
                    <a:pt x="107" y="571"/>
                    <a:pt x="136" y="556"/>
                  </a:cubicBezTo>
                  <a:cubicBezTo>
                    <a:pt x="497" y="372"/>
                    <a:pt x="497" y="372"/>
                    <a:pt x="497" y="372"/>
                  </a:cubicBezTo>
                  <a:cubicBezTo>
                    <a:pt x="858" y="556"/>
                    <a:pt x="858" y="556"/>
                    <a:pt x="858" y="556"/>
                  </a:cubicBezTo>
                  <a:cubicBezTo>
                    <a:pt x="871" y="563"/>
                    <a:pt x="886" y="566"/>
                    <a:pt x="900" y="566"/>
                  </a:cubicBezTo>
                  <a:cubicBezTo>
                    <a:pt x="917" y="566"/>
                    <a:pt x="934" y="561"/>
                    <a:pt x="949" y="552"/>
                  </a:cubicBezTo>
                  <a:cubicBezTo>
                    <a:pt x="977" y="535"/>
                    <a:pt x="994" y="505"/>
                    <a:pt x="994" y="472"/>
                  </a:cubicBezTo>
                  <a:cubicBezTo>
                    <a:pt x="994" y="0"/>
                    <a:pt x="994" y="0"/>
                    <a:pt x="994" y="0"/>
                  </a:cubicBezTo>
                  <a:cubicBezTo>
                    <a:pt x="964" y="20"/>
                    <a:pt x="933" y="38"/>
                    <a:pt x="900"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29" name="Oval 30">
              <a:extLst>
                <a:ext uri="{FF2B5EF4-FFF2-40B4-BE49-F238E27FC236}">
                  <a16:creationId xmlns:a16="http://schemas.microsoft.com/office/drawing/2014/main" id="{1DD04D02-ED43-413B-84BA-300069FAFBA0}"/>
                </a:ext>
              </a:extLst>
            </p:cNvPr>
            <p:cNvSpPr>
              <a:spLocks noChangeArrowheads="1"/>
            </p:cNvSpPr>
            <p:nvPr/>
          </p:nvSpPr>
          <p:spPr bwMode="auto">
            <a:xfrm>
              <a:off x="3862388" y="63785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30" name="Freeform 31">
              <a:extLst>
                <a:ext uri="{FF2B5EF4-FFF2-40B4-BE49-F238E27FC236}">
                  <a16:creationId xmlns:a16="http://schemas.microsoft.com/office/drawing/2014/main" id="{1271E6F3-4A44-422D-8A19-6E16394DF329}"/>
                </a:ext>
              </a:extLst>
            </p:cNvPr>
            <p:cNvSpPr>
              <a:spLocks noEditPoints="1"/>
            </p:cNvSpPr>
            <p:nvPr/>
          </p:nvSpPr>
          <p:spPr bwMode="auto">
            <a:xfrm>
              <a:off x="3679825" y="6196013"/>
              <a:ext cx="466725" cy="466725"/>
            </a:xfrm>
            <a:custGeom>
              <a:avLst/>
              <a:gdLst>
                <a:gd name="T0" fmla="*/ 721 w 1442"/>
                <a:gd name="T1" fmla="*/ 0 h 1442"/>
                <a:gd name="T2" fmla="*/ 0 w 1442"/>
                <a:gd name="T3" fmla="*/ 721 h 1442"/>
                <a:gd name="T4" fmla="*/ 224 w 1442"/>
                <a:gd name="T5" fmla="*/ 1243 h 1442"/>
                <a:gd name="T6" fmla="*/ 318 w 1442"/>
                <a:gd name="T7" fmla="*/ 1319 h 1442"/>
                <a:gd name="T8" fmla="*/ 412 w 1442"/>
                <a:gd name="T9" fmla="*/ 1373 h 1442"/>
                <a:gd name="T10" fmla="*/ 721 w 1442"/>
                <a:gd name="T11" fmla="*/ 1442 h 1442"/>
                <a:gd name="T12" fmla="*/ 1030 w 1442"/>
                <a:gd name="T13" fmla="*/ 1373 h 1442"/>
                <a:gd name="T14" fmla="*/ 1124 w 1442"/>
                <a:gd name="T15" fmla="*/ 1319 h 1442"/>
                <a:gd name="T16" fmla="*/ 1218 w 1442"/>
                <a:gd name="T17" fmla="*/ 1243 h 1442"/>
                <a:gd name="T18" fmla="*/ 1442 w 1442"/>
                <a:gd name="T19" fmla="*/ 721 h 1442"/>
                <a:gd name="T20" fmla="*/ 721 w 1442"/>
                <a:gd name="T21" fmla="*/ 0 h 1442"/>
                <a:gd name="T22" fmla="*/ 721 w 1442"/>
                <a:gd name="T23" fmla="*/ 1066 h 1442"/>
                <a:gd name="T24" fmla="*/ 376 w 1442"/>
                <a:gd name="T25" fmla="*/ 721 h 1442"/>
                <a:gd name="T26" fmla="*/ 721 w 1442"/>
                <a:gd name="T27" fmla="*/ 376 h 1442"/>
                <a:gd name="T28" fmla="*/ 1066 w 1442"/>
                <a:gd name="T29" fmla="*/ 721 h 1442"/>
                <a:gd name="T30" fmla="*/ 721 w 1442"/>
                <a:gd name="T31" fmla="*/ 1066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42" h="1442">
                  <a:moveTo>
                    <a:pt x="721" y="0"/>
                  </a:moveTo>
                  <a:cubicBezTo>
                    <a:pt x="323" y="0"/>
                    <a:pt x="0" y="324"/>
                    <a:pt x="0" y="721"/>
                  </a:cubicBezTo>
                  <a:cubicBezTo>
                    <a:pt x="0" y="926"/>
                    <a:pt x="86" y="1112"/>
                    <a:pt x="224" y="1243"/>
                  </a:cubicBezTo>
                  <a:cubicBezTo>
                    <a:pt x="253" y="1271"/>
                    <a:pt x="284" y="1296"/>
                    <a:pt x="318" y="1319"/>
                  </a:cubicBezTo>
                  <a:cubicBezTo>
                    <a:pt x="347" y="1339"/>
                    <a:pt x="379" y="1357"/>
                    <a:pt x="412" y="1373"/>
                  </a:cubicBezTo>
                  <a:cubicBezTo>
                    <a:pt x="505" y="1417"/>
                    <a:pt x="610" y="1442"/>
                    <a:pt x="721" y="1442"/>
                  </a:cubicBezTo>
                  <a:cubicBezTo>
                    <a:pt x="832" y="1442"/>
                    <a:pt x="937" y="1417"/>
                    <a:pt x="1030" y="1373"/>
                  </a:cubicBezTo>
                  <a:cubicBezTo>
                    <a:pt x="1063" y="1357"/>
                    <a:pt x="1095" y="1339"/>
                    <a:pt x="1124" y="1319"/>
                  </a:cubicBezTo>
                  <a:cubicBezTo>
                    <a:pt x="1158" y="1296"/>
                    <a:pt x="1189" y="1271"/>
                    <a:pt x="1218" y="1243"/>
                  </a:cubicBezTo>
                  <a:cubicBezTo>
                    <a:pt x="1356" y="1112"/>
                    <a:pt x="1442" y="926"/>
                    <a:pt x="1442" y="721"/>
                  </a:cubicBezTo>
                  <a:cubicBezTo>
                    <a:pt x="1442" y="324"/>
                    <a:pt x="1119" y="0"/>
                    <a:pt x="721" y="0"/>
                  </a:cubicBezTo>
                  <a:close/>
                  <a:moveTo>
                    <a:pt x="721" y="1066"/>
                  </a:moveTo>
                  <a:cubicBezTo>
                    <a:pt x="531" y="1066"/>
                    <a:pt x="376" y="911"/>
                    <a:pt x="376" y="721"/>
                  </a:cubicBezTo>
                  <a:cubicBezTo>
                    <a:pt x="376" y="531"/>
                    <a:pt x="531" y="376"/>
                    <a:pt x="721" y="376"/>
                  </a:cubicBezTo>
                  <a:cubicBezTo>
                    <a:pt x="911" y="376"/>
                    <a:pt x="1066" y="531"/>
                    <a:pt x="1066" y="721"/>
                  </a:cubicBezTo>
                  <a:cubicBezTo>
                    <a:pt x="1066" y="911"/>
                    <a:pt x="911" y="1066"/>
                    <a:pt x="721" y="106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grpSp>
      <p:sp>
        <p:nvSpPr>
          <p:cNvPr id="31" name="TextBox 72">
            <a:extLst>
              <a:ext uri="{FF2B5EF4-FFF2-40B4-BE49-F238E27FC236}">
                <a16:creationId xmlns:a16="http://schemas.microsoft.com/office/drawing/2014/main" id="{C7C9B0F5-9BB1-49F2-9F74-2607A7F0F659}"/>
              </a:ext>
            </a:extLst>
          </p:cNvPr>
          <p:cNvSpPr txBox="1"/>
          <p:nvPr/>
        </p:nvSpPr>
        <p:spPr>
          <a:xfrm>
            <a:off x="5512181" y="3820762"/>
            <a:ext cx="1167638" cy="492443"/>
          </a:xfrm>
          <a:prstGeom prst="rect">
            <a:avLst/>
          </a:prstGeom>
          <a:noFill/>
        </p:spPr>
        <p:txBody>
          <a:bodyPr wrap="square" lIns="0" tIns="0" rIns="0" bIns="0" rtlCol="0">
            <a:spAutoFit/>
          </a:bodyPr>
          <a:lstStyle/>
          <a:p>
            <a:pPr marL="0" marR="0" lvl="0" indent="0" algn="ctr" defTabSz="457200" rtl="0" eaLnBrk="1" fontAlgn="base" latinLnBrk="0" hangingPunct="1">
              <a:lnSpc>
                <a:spcPct val="100000"/>
              </a:lnSpc>
              <a:spcBef>
                <a:spcPts val="1000"/>
              </a:spcBef>
              <a:spcAft>
                <a:spcPts val="0"/>
              </a:spcAft>
              <a:buClrTx/>
              <a:buSzTx/>
              <a:buFontTx/>
              <a:buNone/>
              <a:tabLst/>
              <a:defRPr/>
            </a:pPr>
            <a:r>
              <a:rPr kumimoji="0" lang="en-US" sz="1600" b="0" i="0" u="none" strike="noStrike" kern="1200" cap="none" spc="0" normalizeH="0" baseline="0" noProof="0" dirty="0">
                <a:ln>
                  <a:noFill/>
                </a:ln>
                <a:solidFill>
                  <a:prstClr val="black">
                    <a:lumMod val="75000"/>
                    <a:lumOff val="25000"/>
                  </a:prstClr>
                </a:solidFill>
                <a:effectLst/>
                <a:uLnTx/>
                <a:uFillTx/>
                <a:latin typeface="HarmonyOS Sans SC Black"/>
                <a:ea typeface="+mj-ea"/>
                <a:cs typeface="+mn-cs"/>
              </a:rPr>
              <a:t>Your title</a:t>
            </a:r>
            <a:br>
              <a:rPr kumimoji="0" lang="en-US" sz="1600" b="0" i="0" u="none" strike="noStrike" kern="1200" cap="none" spc="0" normalizeH="0" baseline="0" noProof="0" dirty="0">
                <a:ln>
                  <a:noFill/>
                </a:ln>
                <a:solidFill>
                  <a:prstClr val="black">
                    <a:lumMod val="75000"/>
                    <a:lumOff val="25000"/>
                  </a:prstClr>
                </a:solidFill>
                <a:effectLst/>
                <a:uLnTx/>
                <a:uFillTx/>
                <a:latin typeface="HarmonyOS Sans SC Black"/>
                <a:ea typeface="+mj-ea"/>
                <a:cs typeface="+mn-cs"/>
              </a:rPr>
            </a:br>
            <a:r>
              <a:rPr kumimoji="0" lang="en-US" sz="1600" b="0" i="0" u="none" strike="noStrike" kern="1200" cap="none" spc="0" normalizeH="0" baseline="0" noProof="0" dirty="0">
                <a:ln>
                  <a:noFill/>
                </a:ln>
                <a:solidFill>
                  <a:prstClr val="black">
                    <a:lumMod val="75000"/>
                    <a:lumOff val="25000"/>
                  </a:prstClr>
                </a:solidFill>
                <a:effectLst/>
                <a:uLnTx/>
                <a:uFillTx/>
                <a:latin typeface="HarmonyOS Sans SC Black"/>
                <a:ea typeface="+mj-ea"/>
                <a:cs typeface="+mn-cs"/>
              </a:rPr>
              <a:t>is here</a:t>
            </a:r>
          </a:p>
        </p:txBody>
      </p:sp>
      <p:sp>
        <p:nvSpPr>
          <p:cNvPr id="32" name="文本框 31">
            <a:extLst>
              <a:ext uri="{FF2B5EF4-FFF2-40B4-BE49-F238E27FC236}">
                <a16:creationId xmlns:a16="http://schemas.microsoft.com/office/drawing/2014/main" id="{C0683010-FDB6-4E4B-AEF6-1C874F2BD83A}"/>
              </a:ext>
            </a:extLst>
          </p:cNvPr>
          <p:cNvSpPr txBox="1"/>
          <p:nvPr/>
        </p:nvSpPr>
        <p:spPr>
          <a:xfrm>
            <a:off x="4449556" y="918105"/>
            <a:ext cx="3292889" cy="52322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2800" b="0" i="0" u="none" strike="noStrike" kern="1200" cap="none" spc="0" normalizeH="0" baseline="0" noProof="0" dirty="0">
                <a:ln>
                  <a:noFill/>
                </a:ln>
                <a:solidFill>
                  <a:prstClr val="black"/>
                </a:solidFill>
                <a:effectLst/>
                <a:uLnTx/>
                <a:uFillTx/>
                <a:latin typeface="HarmonyOS Sans Black"/>
                <a:ea typeface="+mj-ea"/>
                <a:cs typeface="+mn-cs"/>
              </a:rPr>
              <a:t>Circle </a:t>
            </a:r>
            <a:r>
              <a:rPr kumimoji="0" lang="en-US" altLang="zh-CN" sz="2800" b="0" i="0" u="none" strike="noStrike" kern="1200" cap="none" spc="0" normalizeH="0" baseline="0" noProof="0" dirty="0">
                <a:ln>
                  <a:noFill/>
                </a:ln>
                <a:solidFill>
                  <a:schemeClr val="accent1"/>
                </a:solidFill>
                <a:effectLst/>
                <a:uLnTx/>
                <a:uFillTx/>
                <a:latin typeface="HarmonyOS Sans Black"/>
                <a:ea typeface="+mj-ea"/>
                <a:cs typeface="+mn-cs"/>
              </a:rPr>
              <a:t>infographic</a:t>
            </a:r>
          </a:p>
        </p:txBody>
      </p:sp>
      <p:grpSp>
        <p:nvGrpSpPr>
          <p:cNvPr id="54" name="组合 53">
            <a:extLst>
              <a:ext uri="{FF2B5EF4-FFF2-40B4-BE49-F238E27FC236}">
                <a16:creationId xmlns:a16="http://schemas.microsoft.com/office/drawing/2014/main" id="{31E62CE3-B450-4340-8ADD-808AF4DC41E5}"/>
              </a:ext>
            </a:extLst>
          </p:cNvPr>
          <p:cNvGrpSpPr/>
          <p:nvPr/>
        </p:nvGrpSpPr>
        <p:grpSpPr>
          <a:xfrm>
            <a:off x="1956051" y="2455345"/>
            <a:ext cx="2262702" cy="846145"/>
            <a:chOff x="1508465" y="2482630"/>
            <a:chExt cx="2262702" cy="846145"/>
          </a:xfrm>
        </p:grpSpPr>
        <p:sp>
          <p:nvSpPr>
            <p:cNvPr id="61" name="TextBox 65">
              <a:extLst>
                <a:ext uri="{FF2B5EF4-FFF2-40B4-BE49-F238E27FC236}">
                  <a16:creationId xmlns:a16="http://schemas.microsoft.com/office/drawing/2014/main" id="{E441D345-3A60-43DD-8E32-97DFCFD6274E}"/>
                </a:ext>
              </a:extLst>
            </p:cNvPr>
            <p:cNvSpPr txBox="1"/>
            <p:nvPr/>
          </p:nvSpPr>
          <p:spPr>
            <a:xfrm>
              <a:off x="1714906" y="2482630"/>
              <a:ext cx="2056261" cy="352588"/>
            </a:xfrm>
            <a:prstGeom prst="rect">
              <a:avLst/>
            </a:prstGeom>
            <a:noFill/>
          </p:spPr>
          <p:txBody>
            <a:bodyPr wrap="square" lIns="0" tIns="36000" rIns="0" bIns="36000" rtlCol="0">
              <a:spAutoFit/>
            </a:bodyPr>
            <a:lstStyle/>
            <a:p>
              <a:pPr marL="0" marR="0" lvl="0" indent="0" algn="r" defTabSz="914400" rtl="0" eaLnBrk="1" fontAlgn="auto" latinLnBrk="0" hangingPunct="1">
                <a:lnSpc>
                  <a:spcPct val="120000"/>
                </a:lnSpc>
                <a:spcBef>
                  <a:spcPts val="600"/>
                </a:spcBef>
                <a:spcAft>
                  <a:spcPts val="0"/>
                </a:spcAft>
                <a:buClrTx/>
                <a:buSzTx/>
                <a:buFontTx/>
                <a:buNone/>
                <a:tabLst/>
                <a:defRPr/>
              </a:pPr>
              <a:r>
                <a:rPr kumimoji="0" lang="zh-CN" altLang="en-US" sz="1600" b="0" i="0" u="none" strike="noStrike" kern="1200" cap="none" spc="0" normalizeH="0" baseline="0" noProof="0" dirty="0">
                  <a:ln>
                    <a:noFill/>
                  </a:ln>
                  <a:solidFill>
                    <a:schemeClr val="accent1"/>
                  </a:solidFill>
                  <a:effectLst/>
                  <a:uLnTx/>
                  <a:uFillTx/>
                  <a:latin typeface="HarmonyOS Sans SC Black"/>
                  <a:ea typeface="+mj-ea"/>
                  <a:cs typeface="+mn-cs"/>
                </a:rPr>
                <a:t>关键词标题</a:t>
              </a:r>
              <a:endParaRPr kumimoji="0" lang="en-US" sz="1600" b="0" i="0" u="none" strike="noStrike" kern="1200" cap="none" spc="0" normalizeH="0" baseline="0" noProof="0" dirty="0">
                <a:ln>
                  <a:noFill/>
                </a:ln>
                <a:solidFill>
                  <a:schemeClr val="accent1"/>
                </a:solidFill>
                <a:effectLst/>
                <a:uLnTx/>
                <a:uFillTx/>
                <a:latin typeface="HarmonyOS Sans SC Black"/>
                <a:ea typeface="+mj-ea"/>
                <a:cs typeface="+mn-cs"/>
              </a:endParaRPr>
            </a:p>
          </p:txBody>
        </p:sp>
        <p:sp>
          <p:nvSpPr>
            <p:cNvPr id="62" name="TextBox 65">
              <a:extLst>
                <a:ext uri="{FF2B5EF4-FFF2-40B4-BE49-F238E27FC236}">
                  <a16:creationId xmlns:a16="http://schemas.microsoft.com/office/drawing/2014/main" id="{74A76948-3C03-4268-991A-64890A60563A}"/>
                </a:ext>
              </a:extLst>
            </p:cNvPr>
            <p:cNvSpPr txBox="1"/>
            <p:nvPr/>
          </p:nvSpPr>
          <p:spPr>
            <a:xfrm>
              <a:off x="1508465" y="2866029"/>
              <a:ext cx="2262702" cy="462746"/>
            </a:xfrm>
            <a:prstGeom prst="rect">
              <a:avLst/>
            </a:prstGeom>
            <a:noFill/>
          </p:spPr>
          <p:txBody>
            <a:bodyPr wrap="square" lIns="0" tIns="36000" rIns="0" bIns="36000" rtlCol="0">
              <a:spAutoFit/>
            </a:bodyPr>
            <a:lstStyle/>
            <a:p>
              <a:pPr marL="0" marR="0" lvl="0" indent="0" algn="r" defTabSz="914400" rtl="0" eaLnBrk="1" fontAlgn="auto" latinLnBrk="0" hangingPunct="1">
                <a:lnSpc>
                  <a:spcPct val="120000"/>
                </a:lnSpc>
                <a:spcBef>
                  <a:spcPts val="600"/>
                </a:spcBef>
                <a:spcAft>
                  <a:spcPts val="0"/>
                </a:spcAft>
                <a:buClrTx/>
                <a:buSzTx/>
                <a:buFontTx/>
                <a:buNone/>
                <a:tabLst/>
                <a:defRPr/>
              </a:pPr>
              <a:r>
                <a:rPr kumimoji="0" lang="en-US" sz="1100" b="0" i="0" u="none" strike="noStrike" kern="1200" cap="none" spc="0" normalizeH="0" baseline="0" noProof="0" dirty="0">
                  <a:ln>
                    <a:noFill/>
                  </a:ln>
                  <a:solidFill>
                    <a:prstClr val="black">
                      <a:lumMod val="50000"/>
                      <a:lumOff val="50000"/>
                    </a:prstClr>
                  </a:solidFill>
                  <a:effectLst/>
                  <a:uLnTx/>
                  <a:uFillTx/>
                  <a:latin typeface="HarmonyOS Sans SC"/>
                  <a:cs typeface="+mn-cs"/>
                </a:rPr>
                <a:t>Apparently we had reached a great height in the.</a:t>
              </a:r>
            </a:p>
          </p:txBody>
        </p:sp>
      </p:grpSp>
      <p:grpSp>
        <p:nvGrpSpPr>
          <p:cNvPr id="55" name="组合 54">
            <a:extLst>
              <a:ext uri="{FF2B5EF4-FFF2-40B4-BE49-F238E27FC236}">
                <a16:creationId xmlns:a16="http://schemas.microsoft.com/office/drawing/2014/main" id="{929A6DCE-659A-4247-B778-96D168E92B96}"/>
              </a:ext>
            </a:extLst>
          </p:cNvPr>
          <p:cNvGrpSpPr/>
          <p:nvPr/>
        </p:nvGrpSpPr>
        <p:grpSpPr>
          <a:xfrm>
            <a:off x="1611117" y="3741345"/>
            <a:ext cx="2262702" cy="846145"/>
            <a:chOff x="1508465" y="2482630"/>
            <a:chExt cx="2262702" cy="846145"/>
          </a:xfrm>
        </p:grpSpPr>
        <p:sp>
          <p:nvSpPr>
            <p:cNvPr id="59" name="TextBox 65">
              <a:extLst>
                <a:ext uri="{FF2B5EF4-FFF2-40B4-BE49-F238E27FC236}">
                  <a16:creationId xmlns:a16="http://schemas.microsoft.com/office/drawing/2014/main" id="{9FF300F8-167E-4CA4-9667-7FA5052E86E6}"/>
                </a:ext>
              </a:extLst>
            </p:cNvPr>
            <p:cNvSpPr txBox="1"/>
            <p:nvPr/>
          </p:nvSpPr>
          <p:spPr>
            <a:xfrm>
              <a:off x="1714906" y="2482630"/>
              <a:ext cx="2056261" cy="352588"/>
            </a:xfrm>
            <a:prstGeom prst="rect">
              <a:avLst/>
            </a:prstGeom>
            <a:noFill/>
          </p:spPr>
          <p:txBody>
            <a:bodyPr wrap="square" lIns="0" tIns="36000" rIns="0" bIns="36000" rtlCol="0">
              <a:spAutoFit/>
            </a:bodyPr>
            <a:lstStyle/>
            <a:p>
              <a:pPr marL="0" marR="0" lvl="0" indent="0" algn="r" defTabSz="914400" rtl="0" eaLnBrk="1" fontAlgn="auto" latinLnBrk="0" hangingPunct="1">
                <a:lnSpc>
                  <a:spcPct val="120000"/>
                </a:lnSpc>
                <a:spcBef>
                  <a:spcPts val="600"/>
                </a:spcBef>
                <a:spcAft>
                  <a:spcPts val="0"/>
                </a:spcAft>
                <a:buClrTx/>
                <a:buSzTx/>
                <a:buFontTx/>
                <a:buNone/>
                <a:tabLst/>
                <a:defRPr/>
              </a:pPr>
              <a:r>
                <a:rPr kumimoji="0" lang="zh-CN" altLang="en-US" sz="1600" b="0" i="0" u="none" strike="noStrike" kern="1200" cap="none" spc="0" normalizeH="0" baseline="0" noProof="0" dirty="0">
                  <a:ln>
                    <a:noFill/>
                  </a:ln>
                  <a:solidFill>
                    <a:schemeClr val="accent1"/>
                  </a:solidFill>
                  <a:effectLst/>
                  <a:uLnTx/>
                  <a:uFillTx/>
                  <a:latin typeface="HarmonyOS Sans SC Black"/>
                  <a:ea typeface="+mj-ea"/>
                  <a:cs typeface="+mn-cs"/>
                </a:rPr>
                <a:t>关键词标题</a:t>
              </a:r>
              <a:endParaRPr kumimoji="0" lang="en-US" sz="1600" b="0" i="0" u="none" strike="noStrike" kern="1200" cap="none" spc="0" normalizeH="0" baseline="0" noProof="0" dirty="0">
                <a:ln>
                  <a:noFill/>
                </a:ln>
                <a:solidFill>
                  <a:schemeClr val="accent1"/>
                </a:solidFill>
                <a:effectLst/>
                <a:uLnTx/>
                <a:uFillTx/>
                <a:latin typeface="HarmonyOS Sans SC Black"/>
                <a:ea typeface="+mj-ea"/>
                <a:cs typeface="+mn-cs"/>
              </a:endParaRPr>
            </a:p>
          </p:txBody>
        </p:sp>
        <p:sp>
          <p:nvSpPr>
            <p:cNvPr id="60" name="TextBox 65">
              <a:extLst>
                <a:ext uri="{FF2B5EF4-FFF2-40B4-BE49-F238E27FC236}">
                  <a16:creationId xmlns:a16="http://schemas.microsoft.com/office/drawing/2014/main" id="{EBCB104D-B982-47A6-A8FA-E1110E02654B}"/>
                </a:ext>
              </a:extLst>
            </p:cNvPr>
            <p:cNvSpPr txBox="1"/>
            <p:nvPr/>
          </p:nvSpPr>
          <p:spPr>
            <a:xfrm>
              <a:off x="1508465" y="2866029"/>
              <a:ext cx="2262702" cy="462746"/>
            </a:xfrm>
            <a:prstGeom prst="rect">
              <a:avLst/>
            </a:prstGeom>
            <a:noFill/>
          </p:spPr>
          <p:txBody>
            <a:bodyPr wrap="square" lIns="0" tIns="36000" rIns="0" bIns="36000" rtlCol="0">
              <a:spAutoFit/>
            </a:bodyPr>
            <a:lstStyle/>
            <a:p>
              <a:pPr marL="0" marR="0" lvl="0" indent="0" algn="r" defTabSz="914400" rtl="0" eaLnBrk="1" fontAlgn="auto" latinLnBrk="0" hangingPunct="1">
                <a:lnSpc>
                  <a:spcPct val="120000"/>
                </a:lnSpc>
                <a:spcBef>
                  <a:spcPts val="600"/>
                </a:spcBef>
                <a:spcAft>
                  <a:spcPts val="0"/>
                </a:spcAft>
                <a:buClrTx/>
                <a:buSzTx/>
                <a:buFontTx/>
                <a:buNone/>
                <a:tabLst/>
                <a:defRPr/>
              </a:pPr>
              <a:r>
                <a:rPr kumimoji="0" lang="en-US" sz="1100" b="0" i="0" u="none" strike="noStrike" kern="1200" cap="none" spc="0" normalizeH="0" baseline="0" noProof="0" dirty="0">
                  <a:ln>
                    <a:noFill/>
                  </a:ln>
                  <a:solidFill>
                    <a:prstClr val="black">
                      <a:lumMod val="50000"/>
                      <a:lumOff val="50000"/>
                    </a:prstClr>
                  </a:solidFill>
                  <a:effectLst/>
                  <a:uLnTx/>
                  <a:uFillTx/>
                  <a:latin typeface="HarmonyOS Sans SC"/>
                  <a:cs typeface="+mn-cs"/>
                </a:rPr>
                <a:t>Apparently we had reached a great height in the.</a:t>
              </a:r>
            </a:p>
          </p:txBody>
        </p:sp>
      </p:grpSp>
      <p:grpSp>
        <p:nvGrpSpPr>
          <p:cNvPr id="56" name="组合 55">
            <a:extLst>
              <a:ext uri="{FF2B5EF4-FFF2-40B4-BE49-F238E27FC236}">
                <a16:creationId xmlns:a16="http://schemas.microsoft.com/office/drawing/2014/main" id="{45BE2E0E-9ABC-425C-97ED-6613731E17AA}"/>
              </a:ext>
            </a:extLst>
          </p:cNvPr>
          <p:cNvGrpSpPr/>
          <p:nvPr/>
        </p:nvGrpSpPr>
        <p:grpSpPr>
          <a:xfrm>
            <a:off x="1928467" y="5027344"/>
            <a:ext cx="2262702" cy="846145"/>
            <a:chOff x="1508465" y="2482630"/>
            <a:chExt cx="2262702" cy="846145"/>
          </a:xfrm>
        </p:grpSpPr>
        <p:sp>
          <p:nvSpPr>
            <p:cNvPr id="57" name="TextBox 65">
              <a:extLst>
                <a:ext uri="{FF2B5EF4-FFF2-40B4-BE49-F238E27FC236}">
                  <a16:creationId xmlns:a16="http://schemas.microsoft.com/office/drawing/2014/main" id="{31904168-F06A-47F4-8A32-85D1D6CD1A40}"/>
                </a:ext>
              </a:extLst>
            </p:cNvPr>
            <p:cNvSpPr txBox="1"/>
            <p:nvPr/>
          </p:nvSpPr>
          <p:spPr>
            <a:xfrm>
              <a:off x="1714906" y="2482630"/>
              <a:ext cx="2056261" cy="352588"/>
            </a:xfrm>
            <a:prstGeom prst="rect">
              <a:avLst/>
            </a:prstGeom>
            <a:noFill/>
          </p:spPr>
          <p:txBody>
            <a:bodyPr wrap="square" lIns="0" tIns="36000" rIns="0" bIns="36000" rtlCol="0">
              <a:spAutoFit/>
            </a:bodyPr>
            <a:lstStyle/>
            <a:p>
              <a:pPr marL="0" marR="0" lvl="0" indent="0" algn="r" defTabSz="914400" rtl="0" eaLnBrk="1" fontAlgn="auto" latinLnBrk="0" hangingPunct="1">
                <a:lnSpc>
                  <a:spcPct val="120000"/>
                </a:lnSpc>
                <a:spcBef>
                  <a:spcPts val="600"/>
                </a:spcBef>
                <a:spcAft>
                  <a:spcPts val="0"/>
                </a:spcAft>
                <a:buClrTx/>
                <a:buSzTx/>
                <a:buFontTx/>
                <a:buNone/>
                <a:tabLst/>
                <a:defRPr/>
              </a:pPr>
              <a:r>
                <a:rPr kumimoji="0" lang="zh-CN" altLang="en-US" sz="1600" b="0" i="0" u="none" strike="noStrike" kern="1200" cap="none" spc="0" normalizeH="0" baseline="0" noProof="0" dirty="0">
                  <a:ln>
                    <a:noFill/>
                  </a:ln>
                  <a:solidFill>
                    <a:schemeClr val="accent1"/>
                  </a:solidFill>
                  <a:effectLst/>
                  <a:uLnTx/>
                  <a:uFillTx/>
                  <a:latin typeface="HarmonyOS Sans SC Black"/>
                  <a:ea typeface="+mj-ea"/>
                  <a:cs typeface="+mn-cs"/>
                </a:rPr>
                <a:t>关键词标题</a:t>
              </a:r>
              <a:endParaRPr kumimoji="0" lang="en-US" sz="1600" b="0" i="0" u="none" strike="noStrike" kern="1200" cap="none" spc="0" normalizeH="0" baseline="0" noProof="0" dirty="0">
                <a:ln>
                  <a:noFill/>
                </a:ln>
                <a:solidFill>
                  <a:schemeClr val="accent1"/>
                </a:solidFill>
                <a:effectLst/>
                <a:uLnTx/>
                <a:uFillTx/>
                <a:latin typeface="HarmonyOS Sans SC Black"/>
                <a:ea typeface="+mj-ea"/>
                <a:cs typeface="+mn-cs"/>
              </a:endParaRPr>
            </a:p>
          </p:txBody>
        </p:sp>
        <p:sp>
          <p:nvSpPr>
            <p:cNvPr id="58" name="TextBox 65">
              <a:extLst>
                <a:ext uri="{FF2B5EF4-FFF2-40B4-BE49-F238E27FC236}">
                  <a16:creationId xmlns:a16="http://schemas.microsoft.com/office/drawing/2014/main" id="{504C7265-A22C-4DB5-BD94-B70BF028B1E9}"/>
                </a:ext>
              </a:extLst>
            </p:cNvPr>
            <p:cNvSpPr txBox="1"/>
            <p:nvPr/>
          </p:nvSpPr>
          <p:spPr>
            <a:xfrm>
              <a:off x="1508465" y="2866029"/>
              <a:ext cx="2262702" cy="462746"/>
            </a:xfrm>
            <a:prstGeom prst="rect">
              <a:avLst/>
            </a:prstGeom>
            <a:noFill/>
          </p:spPr>
          <p:txBody>
            <a:bodyPr wrap="square" lIns="0" tIns="36000" rIns="0" bIns="36000" rtlCol="0">
              <a:spAutoFit/>
            </a:bodyPr>
            <a:lstStyle/>
            <a:p>
              <a:pPr marL="0" marR="0" lvl="0" indent="0" algn="r" defTabSz="914400" rtl="0" eaLnBrk="1" fontAlgn="auto" latinLnBrk="0" hangingPunct="1">
                <a:lnSpc>
                  <a:spcPct val="120000"/>
                </a:lnSpc>
                <a:spcBef>
                  <a:spcPts val="600"/>
                </a:spcBef>
                <a:spcAft>
                  <a:spcPts val="0"/>
                </a:spcAft>
                <a:buClrTx/>
                <a:buSzTx/>
                <a:buFontTx/>
                <a:buNone/>
                <a:tabLst/>
                <a:defRPr/>
              </a:pPr>
              <a:r>
                <a:rPr kumimoji="0" lang="en-US" sz="1100" b="0" i="0" u="none" strike="noStrike" kern="1200" cap="none" spc="0" normalizeH="0" baseline="0" noProof="0" dirty="0">
                  <a:ln>
                    <a:noFill/>
                  </a:ln>
                  <a:solidFill>
                    <a:prstClr val="black">
                      <a:lumMod val="50000"/>
                      <a:lumOff val="50000"/>
                    </a:prstClr>
                  </a:solidFill>
                  <a:effectLst/>
                  <a:uLnTx/>
                  <a:uFillTx/>
                  <a:latin typeface="HarmonyOS Sans SC"/>
                  <a:cs typeface="+mn-cs"/>
                </a:rPr>
                <a:t>Apparently we had reached a great height in the.</a:t>
              </a:r>
            </a:p>
          </p:txBody>
        </p:sp>
      </p:grpSp>
      <p:grpSp>
        <p:nvGrpSpPr>
          <p:cNvPr id="64" name="组合 63">
            <a:extLst>
              <a:ext uri="{FF2B5EF4-FFF2-40B4-BE49-F238E27FC236}">
                <a16:creationId xmlns:a16="http://schemas.microsoft.com/office/drawing/2014/main" id="{3795DDCE-64EA-4A6C-8737-3E5C474ED84D}"/>
              </a:ext>
            </a:extLst>
          </p:cNvPr>
          <p:cNvGrpSpPr/>
          <p:nvPr/>
        </p:nvGrpSpPr>
        <p:grpSpPr>
          <a:xfrm flipH="1">
            <a:off x="7973248" y="2455345"/>
            <a:ext cx="2262702" cy="846145"/>
            <a:chOff x="1508465" y="2482630"/>
            <a:chExt cx="2262702" cy="846145"/>
          </a:xfrm>
        </p:grpSpPr>
        <p:sp>
          <p:nvSpPr>
            <p:cNvPr id="71" name="TextBox 65">
              <a:extLst>
                <a:ext uri="{FF2B5EF4-FFF2-40B4-BE49-F238E27FC236}">
                  <a16:creationId xmlns:a16="http://schemas.microsoft.com/office/drawing/2014/main" id="{D79F5E27-B162-4545-860F-B0A1233148AF}"/>
                </a:ext>
              </a:extLst>
            </p:cNvPr>
            <p:cNvSpPr txBox="1"/>
            <p:nvPr/>
          </p:nvSpPr>
          <p:spPr>
            <a:xfrm>
              <a:off x="1714906" y="2482630"/>
              <a:ext cx="2056261" cy="352588"/>
            </a:xfrm>
            <a:prstGeom prst="rect">
              <a:avLst/>
            </a:prstGeom>
            <a:noFill/>
          </p:spPr>
          <p:txBody>
            <a:bodyPr wrap="square" lIns="0" tIns="36000" rIns="0" bIns="36000" rtlCol="0">
              <a:spAutoFit/>
            </a:bodyPr>
            <a:lstStyle/>
            <a:p>
              <a:pPr marL="0" marR="0" lvl="0" indent="0" algn="l" defTabSz="914400" rtl="0" eaLnBrk="1" fontAlgn="auto" latinLnBrk="0" hangingPunct="1">
                <a:lnSpc>
                  <a:spcPct val="120000"/>
                </a:lnSpc>
                <a:spcBef>
                  <a:spcPts val="600"/>
                </a:spcBef>
                <a:spcAft>
                  <a:spcPts val="0"/>
                </a:spcAft>
                <a:buClrTx/>
                <a:buSzTx/>
                <a:buFontTx/>
                <a:buNone/>
                <a:tabLst/>
                <a:defRPr/>
              </a:pPr>
              <a:r>
                <a:rPr kumimoji="0" lang="zh-CN" altLang="en-US" sz="1600" b="0" i="0" u="none" strike="noStrike" kern="1200" cap="none" spc="0" normalizeH="0" baseline="0" noProof="0" dirty="0">
                  <a:ln>
                    <a:noFill/>
                  </a:ln>
                  <a:solidFill>
                    <a:schemeClr val="accent1"/>
                  </a:solidFill>
                  <a:effectLst/>
                  <a:uLnTx/>
                  <a:uFillTx/>
                  <a:latin typeface="HarmonyOS Sans SC Black"/>
                  <a:ea typeface="+mj-ea"/>
                  <a:cs typeface="+mn-cs"/>
                </a:rPr>
                <a:t>关键词标题</a:t>
              </a:r>
              <a:endParaRPr kumimoji="0" lang="en-US" sz="1600" b="0" i="0" u="none" strike="noStrike" kern="1200" cap="none" spc="0" normalizeH="0" baseline="0" noProof="0" dirty="0">
                <a:ln>
                  <a:noFill/>
                </a:ln>
                <a:solidFill>
                  <a:schemeClr val="accent1"/>
                </a:solidFill>
                <a:effectLst/>
                <a:uLnTx/>
                <a:uFillTx/>
                <a:latin typeface="HarmonyOS Sans SC Black"/>
                <a:ea typeface="+mj-ea"/>
                <a:cs typeface="+mn-cs"/>
              </a:endParaRPr>
            </a:p>
          </p:txBody>
        </p:sp>
        <p:sp>
          <p:nvSpPr>
            <p:cNvPr id="72" name="TextBox 65">
              <a:extLst>
                <a:ext uri="{FF2B5EF4-FFF2-40B4-BE49-F238E27FC236}">
                  <a16:creationId xmlns:a16="http://schemas.microsoft.com/office/drawing/2014/main" id="{95326A7B-1607-4FA1-9FC5-435A9F272BFD}"/>
                </a:ext>
              </a:extLst>
            </p:cNvPr>
            <p:cNvSpPr txBox="1"/>
            <p:nvPr/>
          </p:nvSpPr>
          <p:spPr>
            <a:xfrm>
              <a:off x="1508465" y="2866029"/>
              <a:ext cx="2262702" cy="462746"/>
            </a:xfrm>
            <a:prstGeom prst="rect">
              <a:avLst/>
            </a:prstGeom>
            <a:noFill/>
          </p:spPr>
          <p:txBody>
            <a:bodyPr wrap="square" lIns="0" tIns="36000" rIns="0" bIns="36000" rtlCol="0">
              <a:spAutoFit/>
            </a:bodyPr>
            <a:lstStyle/>
            <a:p>
              <a:pPr marL="0" marR="0" lvl="0" indent="0" algn="l" defTabSz="914400" rtl="0" eaLnBrk="1" fontAlgn="auto" latinLnBrk="0" hangingPunct="1">
                <a:lnSpc>
                  <a:spcPct val="120000"/>
                </a:lnSpc>
                <a:spcBef>
                  <a:spcPts val="600"/>
                </a:spcBef>
                <a:spcAft>
                  <a:spcPts val="0"/>
                </a:spcAft>
                <a:buClrTx/>
                <a:buSzTx/>
                <a:buFontTx/>
                <a:buNone/>
                <a:tabLst/>
                <a:defRPr/>
              </a:pPr>
              <a:r>
                <a:rPr kumimoji="0" lang="en-US" sz="1100" b="0" i="0" u="none" strike="noStrike" kern="1200" cap="none" spc="0" normalizeH="0" baseline="0" noProof="0" dirty="0">
                  <a:ln>
                    <a:noFill/>
                  </a:ln>
                  <a:solidFill>
                    <a:prstClr val="black">
                      <a:lumMod val="50000"/>
                      <a:lumOff val="50000"/>
                    </a:prstClr>
                  </a:solidFill>
                  <a:effectLst/>
                  <a:uLnTx/>
                  <a:uFillTx/>
                  <a:latin typeface="HarmonyOS Sans SC"/>
                  <a:cs typeface="+mn-cs"/>
                </a:rPr>
                <a:t>Apparently we had reached a great height in the.</a:t>
              </a:r>
            </a:p>
          </p:txBody>
        </p:sp>
      </p:grpSp>
      <p:grpSp>
        <p:nvGrpSpPr>
          <p:cNvPr id="65" name="组合 64">
            <a:extLst>
              <a:ext uri="{FF2B5EF4-FFF2-40B4-BE49-F238E27FC236}">
                <a16:creationId xmlns:a16="http://schemas.microsoft.com/office/drawing/2014/main" id="{11C358FF-E533-4E17-9987-F1A37AFF023F}"/>
              </a:ext>
            </a:extLst>
          </p:cNvPr>
          <p:cNvGrpSpPr/>
          <p:nvPr/>
        </p:nvGrpSpPr>
        <p:grpSpPr>
          <a:xfrm flipH="1">
            <a:off x="8318182" y="3741345"/>
            <a:ext cx="2262702" cy="846145"/>
            <a:chOff x="1508465" y="2482630"/>
            <a:chExt cx="2262702" cy="846145"/>
          </a:xfrm>
        </p:grpSpPr>
        <p:sp>
          <p:nvSpPr>
            <p:cNvPr id="69" name="TextBox 65">
              <a:extLst>
                <a:ext uri="{FF2B5EF4-FFF2-40B4-BE49-F238E27FC236}">
                  <a16:creationId xmlns:a16="http://schemas.microsoft.com/office/drawing/2014/main" id="{79237106-C60D-4B3E-BE38-16EFE63255AA}"/>
                </a:ext>
              </a:extLst>
            </p:cNvPr>
            <p:cNvSpPr txBox="1"/>
            <p:nvPr/>
          </p:nvSpPr>
          <p:spPr>
            <a:xfrm>
              <a:off x="1714906" y="2482630"/>
              <a:ext cx="2056261" cy="352588"/>
            </a:xfrm>
            <a:prstGeom prst="rect">
              <a:avLst/>
            </a:prstGeom>
            <a:noFill/>
          </p:spPr>
          <p:txBody>
            <a:bodyPr wrap="square" lIns="0" tIns="36000" rIns="0" bIns="36000" rtlCol="0">
              <a:spAutoFit/>
            </a:bodyPr>
            <a:lstStyle/>
            <a:p>
              <a:pPr marL="0" marR="0" lvl="0" indent="0" algn="l" defTabSz="914400" rtl="0" eaLnBrk="1" fontAlgn="auto" latinLnBrk="0" hangingPunct="1">
                <a:lnSpc>
                  <a:spcPct val="120000"/>
                </a:lnSpc>
                <a:spcBef>
                  <a:spcPts val="600"/>
                </a:spcBef>
                <a:spcAft>
                  <a:spcPts val="0"/>
                </a:spcAft>
                <a:buClrTx/>
                <a:buSzTx/>
                <a:buFontTx/>
                <a:buNone/>
                <a:tabLst/>
                <a:defRPr/>
              </a:pPr>
              <a:r>
                <a:rPr kumimoji="0" lang="zh-CN" altLang="en-US" sz="1600" b="0" i="0" u="none" strike="noStrike" kern="1200" cap="none" spc="0" normalizeH="0" baseline="0" noProof="0" dirty="0">
                  <a:ln>
                    <a:noFill/>
                  </a:ln>
                  <a:solidFill>
                    <a:schemeClr val="accent1"/>
                  </a:solidFill>
                  <a:effectLst/>
                  <a:uLnTx/>
                  <a:uFillTx/>
                  <a:latin typeface="HarmonyOS Sans SC Black"/>
                  <a:ea typeface="+mj-ea"/>
                  <a:cs typeface="+mn-cs"/>
                </a:rPr>
                <a:t>关键词标题</a:t>
              </a:r>
              <a:endParaRPr kumimoji="0" lang="en-US" sz="1600" b="0" i="0" u="none" strike="noStrike" kern="1200" cap="none" spc="0" normalizeH="0" baseline="0" noProof="0" dirty="0">
                <a:ln>
                  <a:noFill/>
                </a:ln>
                <a:solidFill>
                  <a:schemeClr val="accent1"/>
                </a:solidFill>
                <a:effectLst/>
                <a:uLnTx/>
                <a:uFillTx/>
                <a:latin typeface="HarmonyOS Sans SC Black"/>
                <a:ea typeface="+mj-ea"/>
                <a:cs typeface="+mn-cs"/>
              </a:endParaRPr>
            </a:p>
          </p:txBody>
        </p:sp>
        <p:sp>
          <p:nvSpPr>
            <p:cNvPr id="70" name="TextBox 65">
              <a:extLst>
                <a:ext uri="{FF2B5EF4-FFF2-40B4-BE49-F238E27FC236}">
                  <a16:creationId xmlns:a16="http://schemas.microsoft.com/office/drawing/2014/main" id="{9972AA79-B18A-4A2D-B23D-2D180F11BB40}"/>
                </a:ext>
              </a:extLst>
            </p:cNvPr>
            <p:cNvSpPr txBox="1"/>
            <p:nvPr/>
          </p:nvSpPr>
          <p:spPr>
            <a:xfrm>
              <a:off x="1508465" y="2866029"/>
              <a:ext cx="2262702" cy="462746"/>
            </a:xfrm>
            <a:prstGeom prst="rect">
              <a:avLst/>
            </a:prstGeom>
            <a:noFill/>
          </p:spPr>
          <p:txBody>
            <a:bodyPr wrap="square" lIns="0" tIns="36000" rIns="0" bIns="36000" rtlCol="0">
              <a:spAutoFit/>
            </a:bodyPr>
            <a:lstStyle/>
            <a:p>
              <a:pPr marL="0" marR="0" lvl="0" indent="0" algn="l" defTabSz="914400" rtl="0" eaLnBrk="1" fontAlgn="auto" latinLnBrk="0" hangingPunct="1">
                <a:lnSpc>
                  <a:spcPct val="120000"/>
                </a:lnSpc>
                <a:spcBef>
                  <a:spcPts val="600"/>
                </a:spcBef>
                <a:spcAft>
                  <a:spcPts val="0"/>
                </a:spcAft>
                <a:buClrTx/>
                <a:buSzTx/>
                <a:buFontTx/>
                <a:buNone/>
                <a:tabLst/>
                <a:defRPr/>
              </a:pPr>
              <a:r>
                <a:rPr kumimoji="0" lang="en-US" sz="1100" b="0" i="0" u="none" strike="noStrike" kern="1200" cap="none" spc="0" normalizeH="0" baseline="0" noProof="0" dirty="0">
                  <a:ln>
                    <a:noFill/>
                  </a:ln>
                  <a:solidFill>
                    <a:prstClr val="black">
                      <a:lumMod val="50000"/>
                      <a:lumOff val="50000"/>
                    </a:prstClr>
                  </a:solidFill>
                  <a:effectLst/>
                  <a:uLnTx/>
                  <a:uFillTx/>
                  <a:latin typeface="HarmonyOS Sans SC"/>
                  <a:cs typeface="+mn-cs"/>
                </a:rPr>
                <a:t>Apparently we had reached a great height in the.</a:t>
              </a:r>
            </a:p>
          </p:txBody>
        </p:sp>
      </p:grpSp>
      <p:grpSp>
        <p:nvGrpSpPr>
          <p:cNvPr id="66" name="组合 65">
            <a:extLst>
              <a:ext uri="{FF2B5EF4-FFF2-40B4-BE49-F238E27FC236}">
                <a16:creationId xmlns:a16="http://schemas.microsoft.com/office/drawing/2014/main" id="{BA0D08D3-156D-476F-BCCB-087526BD7A12}"/>
              </a:ext>
            </a:extLst>
          </p:cNvPr>
          <p:cNvGrpSpPr/>
          <p:nvPr/>
        </p:nvGrpSpPr>
        <p:grpSpPr>
          <a:xfrm flipH="1">
            <a:off x="8000832" y="5027344"/>
            <a:ext cx="2262702" cy="846145"/>
            <a:chOff x="1508465" y="2482630"/>
            <a:chExt cx="2262702" cy="846145"/>
          </a:xfrm>
        </p:grpSpPr>
        <p:sp>
          <p:nvSpPr>
            <p:cNvPr id="67" name="TextBox 65">
              <a:extLst>
                <a:ext uri="{FF2B5EF4-FFF2-40B4-BE49-F238E27FC236}">
                  <a16:creationId xmlns:a16="http://schemas.microsoft.com/office/drawing/2014/main" id="{8D779C8B-BE49-4F60-AE2E-E2542C18DA45}"/>
                </a:ext>
              </a:extLst>
            </p:cNvPr>
            <p:cNvSpPr txBox="1"/>
            <p:nvPr/>
          </p:nvSpPr>
          <p:spPr>
            <a:xfrm>
              <a:off x="1714906" y="2482630"/>
              <a:ext cx="2056261" cy="352588"/>
            </a:xfrm>
            <a:prstGeom prst="rect">
              <a:avLst/>
            </a:prstGeom>
            <a:noFill/>
          </p:spPr>
          <p:txBody>
            <a:bodyPr wrap="square" lIns="0" tIns="36000" rIns="0" bIns="36000" rtlCol="0">
              <a:spAutoFit/>
            </a:bodyPr>
            <a:lstStyle/>
            <a:p>
              <a:pPr marL="0" marR="0" lvl="0" indent="0" algn="l" defTabSz="914400" rtl="0" eaLnBrk="1" fontAlgn="auto" latinLnBrk="0" hangingPunct="1">
                <a:lnSpc>
                  <a:spcPct val="120000"/>
                </a:lnSpc>
                <a:spcBef>
                  <a:spcPts val="600"/>
                </a:spcBef>
                <a:spcAft>
                  <a:spcPts val="0"/>
                </a:spcAft>
                <a:buClrTx/>
                <a:buSzTx/>
                <a:buFontTx/>
                <a:buNone/>
                <a:tabLst/>
                <a:defRPr/>
              </a:pPr>
              <a:r>
                <a:rPr kumimoji="0" lang="zh-CN" altLang="en-US" sz="1600" b="0" i="0" u="none" strike="noStrike" kern="1200" cap="none" spc="0" normalizeH="0" baseline="0" noProof="0" dirty="0">
                  <a:ln>
                    <a:noFill/>
                  </a:ln>
                  <a:solidFill>
                    <a:schemeClr val="accent1"/>
                  </a:solidFill>
                  <a:effectLst/>
                  <a:uLnTx/>
                  <a:uFillTx/>
                  <a:latin typeface="HarmonyOS Sans SC Black"/>
                  <a:ea typeface="+mj-ea"/>
                  <a:cs typeface="+mn-cs"/>
                </a:rPr>
                <a:t>关键词标题</a:t>
              </a:r>
              <a:endParaRPr kumimoji="0" lang="en-US" sz="1600" b="0" i="0" u="none" strike="noStrike" kern="1200" cap="none" spc="0" normalizeH="0" baseline="0" noProof="0" dirty="0">
                <a:ln>
                  <a:noFill/>
                </a:ln>
                <a:solidFill>
                  <a:schemeClr val="accent1"/>
                </a:solidFill>
                <a:effectLst/>
                <a:uLnTx/>
                <a:uFillTx/>
                <a:latin typeface="HarmonyOS Sans SC Black"/>
                <a:ea typeface="+mj-ea"/>
                <a:cs typeface="+mn-cs"/>
              </a:endParaRPr>
            </a:p>
          </p:txBody>
        </p:sp>
        <p:sp>
          <p:nvSpPr>
            <p:cNvPr id="68" name="TextBox 65">
              <a:extLst>
                <a:ext uri="{FF2B5EF4-FFF2-40B4-BE49-F238E27FC236}">
                  <a16:creationId xmlns:a16="http://schemas.microsoft.com/office/drawing/2014/main" id="{5D85686A-FE5D-475A-963B-F547D1006768}"/>
                </a:ext>
              </a:extLst>
            </p:cNvPr>
            <p:cNvSpPr txBox="1"/>
            <p:nvPr/>
          </p:nvSpPr>
          <p:spPr>
            <a:xfrm>
              <a:off x="1508465" y="2866029"/>
              <a:ext cx="2262702" cy="462746"/>
            </a:xfrm>
            <a:prstGeom prst="rect">
              <a:avLst/>
            </a:prstGeom>
            <a:noFill/>
          </p:spPr>
          <p:txBody>
            <a:bodyPr wrap="square" lIns="0" tIns="36000" rIns="0" bIns="36000" rtlCol="0">
              <a:spAutoFit/>
            </a:bodyPr>
            <a:lstStyle/>
            <a:p>
              <a:pPr marL="0" marR="0" lvl="0" indent="0" algn="l" defTabSz="914400" rtl="0" eaLnBrk="1" fontAlgn="auto" latinLnBrk="0" hangingPunct="1">
                <a:lnSpc>
                  <a:spcPct val="120000"/>
                </a:lnSpc>
                <a:spcBef>
                  <a:spcPts val="600"/>
                </a:spcBef>
                <a:spcAft>
                  <a:spcPts val="0"/>
                </a:spcAft>
                <a:buClrTx/>
                <a:buSzTx/>
                <a:buFontTx/>
                <a:buNone/>
                <a:tabLst/>
                <a:defRPr/>
              </a:pPr>
              <a:r>
                <a:rPr kumimoji="0" lang="en-US" sz="1100" b="0" i="0" u="none" strike="noStrike" kern="1200" cap="none" spc="0" normalizeH="0" baseline="0" noProof="0" dirty="0">
                  <a:ln>
                    <a:noFill/>
                  </a:ln>
                  <a:solidFill>
                    <a:prstClr val="black">
                      <a:lumMod val="50000"/>
                      <a:lumOff val="50000"/>
                    </a:prstClr>
                  </a:solidFill>
                  <a:effectLst/>
                  <a:uLnTx/>
                  <a:uFillTx/>
                  <a:latin typeface="HarmonyOS Sans SC"/>
                  <a:cs typeface="+mn-cs"/>
                </a:rPr>
                <a:t>Apparently we had reached a great height in the.</a:t>
              </a:r>
            </a:p>
          </p:txBody>
        </p:sp>
      </p:grpSp>
    </p:spTree>
    <p:extLst>
      <p:ext uri="{BB962C8B-B14F-4D97-AF65-F5344CB8AC3E}">
        <p14:creationId xmlns:p14="http://schemas.microsoft.com/office/powerpoint/2010/main" val="3604929761"/>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4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1" name="组合 40">
            <a:extLst>
              <a:ext uri="{FF2B5EF4-FFF2-40B4-BE49-F238E27FC236}">
                <a16:creationId xmlns:a16="http://schemas.microsoft.com/office/drawing/2014/main" id="{5DEED780-5242-4865-BAE4-F6858147A2C7}"/>
              </a:ext>
            </a:extLst>
          </p:cNvPr>
          <p:cNvGrpSpPr/>
          <p:nvPr/>
        </p:nvGrpSpPr>
        <p:grpSpPr>
          <a:xfrm>
            <a:off x="1054012" y="2510868"/>
            <a:ext cx="3465158" cy="3291773"/>
            <a:chOff x="1092112" y="2510868"/>
            <a:chExt cx="3465158" cy="3291773"/>
          </a:xfrm>
        </p:grpSpPr>
        <p:sp>
          <p:nvSpPr>
            <p:cNvPr id="39" name="任意多边形: 形状 38">
              <a:extLst>
                <a:ext uri="{FF2B5EF4-FFF2-40B4-BE49-F238E27FC236}">
                  <a16:creationId xmlns:a16="http://schemas.microsoft.com/office/drawing/2014/main" id="{A64F2FD2-F3D0-45E4-BD4F-8DC255CF8F36}"/>
                </a:ext>
              </a:extLst>
            </p:cNvPr>
            <p:cNvSpPr>
              <a:spLocks/>
            </p:cNvSpPr>
            <p:nvPr/>
          </p:nvSpPr>
          <p:spPr bwMode="auto">
            <a:xfrm>
              <a:off x="1092112" y="3967876"/>
              <a:ext cx="3464998" cy="1834765"/>
            </a:xfrm>
            <a:custGeom>
              <a:avLst/>
              <a:gdLst>
                <a:gd name="connsiteX0" fmla="*/ 88 w 3464998"/>
                <a:gd name="connsiteY0" fmla="*/ 0 h 1834765"/>
                <a:gd name="connsiteX1" fmla="*/ 3464998 w 3464998"/>
                <a:gd name="connsiteY1" fmla="*/ 0 h 1834765"/>
                <a:gd name="connsiteX2" fmla="*/ 3464998 w 3464998"/>
                <a:gd name="connsiteY2" fmla="*/ 1246928 h 1834765"/>
                <a:gd name="connsiteX3" fmla="*/ 3461184 w 3464998"/>
                <a:gd name="connsiteY3" fmla="*/ 1246928 h 1834765"/>
                <a:gd name="connsiteX4" fmla="*/ 3464894 w 3464998"/>
                <a:gd name="connsiteY4" fmla="*/ 1272166 h 1834765"/>
                <a:gd name="connsiteX5" fmla="*/ 2957521 w 3464998"/>
                <a:gd name="connsiteY5" fmla="*/ 1670000 h 1834765"/>
                <a:gd name="connsiteX6" fmla="*/ 507373 w 3464998"/>
                <a:gd name="connsiteY6" fmla="*/ 1670000 h 1834765"/>
                <a:gd name="connsiteX7" fmla="*/ 0 w 3464998"/>
                <a:gd name="connsiteY7" fmla="*/ 1272166 h 1834765"/>
                <a:gd name="connsiteX8" fmla="*/ 3710 w 3464998"/>
                <a:gd name="connsiteY8" fmla="*/ 1246928 h 1834765"/>
                <a:gd name="connsiteX9" fmla="*/ 88 w 3464998"/>
                <a:gd name="connsiteY9" fmla="*/ 1246928 h 18347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464998" h="1834765">
                  <a:moveTo>
                    <a:pt x="88" y="0"/>
                  </a:moveTo>
                  <a:lnTo>
                    <a:pt x="3464998" y="0"/>
                  </a:lnTo>
                  <a:lnTo>
                    <a:pt x="3464998" y="1246928"/>
                  </a:lnTo>
                  <a:lnTo>
                    <a:pt x="3461184" y="1246928"/>
                  </a:lnTo>
                  <a:lnTo>
                    <a:pt x="3464894" y="1272166"/>
                  </a:lnTo>
                  <a:cubicBezTo>
                    <a:pt x="3464894" y="1416147"/>
                    <a:pt x="3295770" y="1560127"/>
                    <a:pt x="2957521" y="1670000"/>
                  </a:cubicBezTo>
                  <a:cubicBezTo>
                    <a:pt x="2280847" y="1889687"/>
                    <a:pt x="1184047" y="1889687"/>
                    <a:pt x="507373" y="1670000"/>
                  </a:cubicBezTo>
                  <a:cubicBezTo>
                    <a:pt x="169124" y="1560127"/>
                    <a:pt x="0" y="1416147"/>
                    <a:pt x="0" y="1272166"/>
                  </a:cubicBezTo>
                  <a:lnTo>
                    <a:pt x="3710" y="1246928"/>
                  </a:lnTo>
                  <a:lnTo>
                    <a:pt x="88" y="1246928"/>
                  </a:lnTo>
                  <a:close/>
                </a:path>
              </a:pathLst>
            </a:custGeom>
            <a:gradFill>
              <a:gsLst>
                <a:gs pos="0">
                  <a:schemeClr val="accent1">
                    <a:lumMod val="40000"/>
                    <a:lumOff val="60000"/>
                  </a:schemeClr>
                </a:gs>
                <a:gs pos="63000">
                  <a:schemeClr val="accent1"/>
                </a:gs>
              </a:gsLst>
              <a:path path="circle">
                <a:fillToRect r="100000" b="100000"/>
              </a:path>
            </a:gradFill>
            <a:ln w="1270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HarmonyOS Sans SC"/>
                <a:cs typeface="+mn-cs"/>
              </a:endParaRPr>
            </a:p>
          </p:txBody>
        </p:sp>
        <p:sp>
          <p:nvSpPr>
            <p:cNvPr id="4" name="AutoShape 16">
              <a:extLst>
                <a:ext uri="{FF2B5EF4-FFF2-40B4-BE49-F238E27FC236}">
                  <a16:creationId xmlns:a16="http://schemas.microsoft.com/office/drawing/2014/main" id="{609FD608-9D58-48C0-A58D-08F5D8F46295}"/>
                </a:ext>
              </a:extLst>
            </p:cNvPr>
            <p:cNvSpPr>
              <a:spLocks/>
            </p:cNvSpPr>
            <p:nvPr/>
          </p:nvSpPr>
          <p:spPr bwMode="auto">
            <a:xfrm>
              <a:off x="1092200" y="3429000"/>
              <a:ext cx="3465070" cy="1125258"/>
            </a:xfrm>
            <a:custGeom>
              <a:avLst/>
              <a:gdLst>
                <a:gd name="T0" fmla="*/ 2797709 w 19679"/>
                <a:gd name="T1" fmla="*/ 660331 h 19679"/>
                <a:gd name="T2" fmla="*/ 2797709 w 19679"/>
                <a:gd name="T3" fmla="*/ 660331 h 19679"/>
                <a:gd name="T4" fmla="*/ 2797709 w 19679"/>
                <a:gd name="T5" fmla="*/ 660331 h 19679"/>
                <a:gd name="T6" fmla="*/ 2797709 w 19679"/>
                <a:gd name="T7" fmla="*/ 660331 h 1967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9679" h="19679">
                  <a:moveTo>
                    <a:pt x="16796" y="2881"/>
                  </a:moveTo>
                  <a:cubicBezTo>
                    <a:pt x="20638" y="6724"/>
                    <a:pt x="20638" y="12953"/>
                    <a:pt x="16796" y="16796"/>
                  </a:cubicBezTo>
                  <a:cubicBezTo>
                    <a:pt x="12953" y="20638"/>
                    <a:pt x="6724" y="20638"/>
                    <a:pt x="2881" y="16796"/>
                  </a:cubicBezTo>
                  <a:cubicBezTo>
                    <a:pt x="-961" y="12953"/>
                    <a:pt x="-961" y="6724"/>
                    <a:pt x="2881" y="2881"/>
                  </a:cubicBezTo>
                  <a:cubicBezTo>
                    <a:pt x="6724" y="-961"/>
                    <a:pt x="12953" y="-961"/>
                    <a:pt x="16796" y="2881"/>
                  </a:cubicBezTo>
                  <a:close/>
                </a:path>
              </a:pathLst>
            </a:custGeom>
            <a:gradFill>
              <a:gsLst>
                <a:gs pos="1124">
                  <a:schemeClr val="accent1">
                    <a:lumMod val="20000"/>
                    <a:lumOff val="80000"/>
                  </a:schemeClr>
                </a:gs>
                <a:gs pos="62000">
                  <a:schemeClr val="accent1">
                    <a:lumMod val="40000"/>
                    <a:lumOff val="60000"/>
                  </a:schemeClr>
                </a:gs>
                <a:gs pos="100000">
                  <a:schemeClr val="accent1">
                    <a:lumMod val="77000"/>
                    <a:lumOff val="23000"/>
                  </a:schemeClr>
                </a:gs>
              </a:gsLst>
              <a:path path="circle">
                <a:fillToRect r="100000" b="100000"/>
              </a:path>
            </a:gradFill>
            <a:ln w="12700" cap="flat">
              <a:noFill/>
              <a:prstDash val="solid"/>
              <a:miter/>
            </a:ln>
            <a:extLs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HarmonyOS Sans SC"/>
                <a:cs typeface="+mn-cs"/>
              </a:endParaRPr>
            </a:p>
          </p:txBody>
        </p:sp>
        <p:sp>
          <p:nvSpPr>
            <p:cNvPr id="40" name="任意多边形: 形状 39">
              <a:extLst>
                <a:ext uri="{FF2B5EF4-FFF2-40B4-BE49-F238E27FC236}">
                  <a16:creationId xmlns:a16="http://schemas.microsoft.com/office/drawing/2014/main" id="{88FD6F3C-8B6F-41B4-A41F-1973A1A609FE}"/>
                </a:ext>
              </a:extLst>
            </p:cNvPr>
            <p:cNvSpPr>
              <a:spLocks/>
            </p:cNvSpPr>
            <p:nvPr/>
          </p:nvSpPr>
          <p:spPr bwMode="auto">
            <a:xfrm>
              <a:off x="1484349" y="2897867"/>
              <a:ext cx="2680706" cy="1340130"/>
            </a:xfrm>
            <a:custGeom>
              <a:avLst/>
              <a:gdLst>
                <a:gd name="connsiteX0" fmla="*/ 68 w 2680706"/>
                <a:gd name="connsiteY0" fmla="*/ 0 h 1340130"/>
                <a:gd name="connsiteX1" fmla="*/ 2680706 w 2680706"/>
                <a:gd name="connsiteY1" fmla="*/ 0 h 1340130"/>
                <a:gd name="connsiteX2" fmla="*/ 2680706 w 2680706"/>
                <a:gd name="connsiteY2" fmla="*/ 959365 h 1340130"/>
                <a:gd name="connsiteX3" fmla="*/ 2675129 w 2680706"/>
                <a:gd name="connsiteY3" fmla="*/ 959365 h 1340130"/>
                <a:gd name="connsiteX4" fmla="*/ 2680604 w 2680706"/>
                <a:gd name="connsiteY4" fmla="*/ 974927 h 1340130"/>
                <a:gd name="connsiteX5" fmla="*/ 2287989 w 2680706"/>
                <a:gd name="connsiteY5" fmla="*/ 1233175 h 1340130"/>
                <a:gd name="connsiteX6" fmla="*/ 392513 w 2680706"/>
                <a:gd name="connsiteY6" fmla="*/ 1233175 h 1340130"/>
                <a:gd name="connsiteX7" fmla="*/ 0 w 2680706"/>
                <a:gd name="connsiteY7" fmla="*/ 974927 h 1340130"/>
                <a:gd name="connsiteX8" fmla="*/ 5473 w 2680706"/>
                <a:gd name="connsiteY8" fmla="*/ 959365 h 1340130"/>
                <a:gd name="connsiteX9" fmla="*/ 68 w 2680706"/>
                <a:gd name="connsiteY9" fmla="*/ 959365 h 1340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80706" h="1340130">
                  <a:moveTo>
                    <a:pt x="68" y="0"/>
                  </a:moveTo>
                  <a:lnTo>
                    <a:pt x="2680706" y="0"/>
                  </a:lnTo>
                  <a:lnTo>
                    <a:pt x="2680706" y="959365"/>
                  </a:lnTo>
                  <a:lnTo>
                    <a:pt x="2675129" y="959365"/>
                  </a:lnTo>
                  <a:lnTo>
                    <a:pt x="2680604" y="974927"/>
                  </a:lnTo>
                  <a:cubicBezTo>
                    <a:pt x="2680604" y="1068390"/>
                    <a:pt x="2549732" y="1161853"/>
                    <a:pt x="2287989" y="1233175"/>
                  </a:cubicBezTo>
                  <a:cubicBezTo>
                    <a:pt x="1764503" y="1375782"/>
                    <a:pt x="915999" y="1375782"/>
                    <a:pt x="392513" y="1233175"/>
                  </a:cubicBezTo>
                  <a:cubicBezTo>
                    <a:pt x="130838" y="1161853"/>
                    <a:pt x="0" y="1068390"/>
                    <a:pt x="0" y="974927"/>
                  </a:cubicBezTo>
                  <a:lnTo>
                    <a:pt x="5473" y="959365"/>
                  </a:lnTo>
                  <a:lnTo>
                    <a:pt x="68" y="959365"/>
                  </a:lnTo>
                  <a:close/>
                </a:path>
              </a:pathLst>
            </a:custGeom>
            <a:gradFill>
              <a:gsLst>
                <a:gs pos="0">
                  <a:schemeClr val="accent1">
                    <a:lumMod val="40000"/>
                    <a:lumOff val="60000"/>
                  </a:schemeClr>
                </a:gs>
                <a:gs pos="63000">
                  <a:schemeClr val="accent1"/>
                </a:gs>
              </a:gsLst>
              <a:path path="circle">
                <a:fillToRect r="100000" b="100000"/>
              </a:path>
            </a:gradFill>
            <a:ln w="1270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HarmonyOS Sans SC"/>
                <a:cs typeface="+mn-cs"/>
              </a:endParaRPr>
            </a:p>
          </p:txBody>
        </p:sp>
        <p:sp>
          <p:nvSpPr>
            <p:cNvPr id="9" name="AutoShape 20">
              <a:extLst>
                <a:ext uri="{FF2B5EF4-FFF2-40B4-BE49-F238E27FC236}">
                  <a16:creationId xmlns:a16="http://schemas.microsoft.com/office/drawing/2014/main" id="{AB9E458C-D873-42CD-A710-E84BABC96D90}"/>
                </a:ext>
              </a:extLst>
            </p:cNvPr>
            <p:cNvSpPr>
              <a:spLocks/>
            </p:cNvSpPr>
            <p:nvPr/>
          </p:nvSpPr>
          <p:spPr bwMode="auto">
            <a:xfrm>
              <a:off x="1484417" y="2510868"/>
              <a:ext cx="2680638" cy="730447"/>
            </a:xfrm>
            <a:custGeom>
              <a:avLst/>
              <a:gdLst>
                <a:gd name="T0" fmla="*/ 2164609 w 19679"/>
                <a:gd name="T1" fmla="*/ 511399 h 19679"/>
                <a:gd name="T2" fmla="*/ 2164609 w 19679"/>
                <a:gd name="T3" fmla="*/ 511399 h 19679"/>
                <a:gd name="T4" fmla="*/ 2164609 w 19679"/>
                <a:gd name="T5" fmla="*/ 511399 h 19679"/>
                <a:gd name="T6" fmla="*/ 2164609 w 19679"/>
                <a:gd name="T7" fmla="*/ 511399 h 1967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9679" h="19679">
                  <a:moveTo>
                    <a:pt x="16796" y="2881"/>
                  </a:moveTo>
                  <a:cubicBezTo>
                    <a:pt x="20639" y="6724"/>
                    <a:pt x="20639" y="12953"/>
                    <a:pt x="16796" y="16796"/>
                  </a:cubicBezTo>
                  <a:cubicBezTo>
                    <a:pt x="12953" y="20638"/>
                    <a:pt x="6724" y="20638"/>
                    <a:pt x="2881" y="16796"/>
                  </a:cubicBezTo>
                  <a:cubicBezTo>
                    <a:pt x="-961" y="12953"/>
                    <a:pt x="-961" y="6724"/>
                    <a:pt x="2881" y="2881"/>
                  </a:cubicBezTo>
                  <a:cubicBezTo>
                    <a:pt x="6724" y="-961"/>
                    <a:pt x="12953" y="-961"/>
                    <a:pt x="16796" y="2881"/>
                  </a:cubicBezTo>
                  <a:close/>
                </a:path>
              </a:pathLst>
            </a:custGeom>
            <a:gradFill>
              <a:gsLst>
                <a:gs pos="1124">
                  <a:schemeClr val="accent1">
                    <a:lumMod val="20000"/>
                    <a:lumOff val="80000"/>
                  </a:schemeClr>
                </a:gs>
                <a:gs pos="62000">
                  <a:schemeClr val="accent1">
                    <a:lumMod val="40000"/>
                    <a:lumOff val="60000"/>
                  </a:schemeClr>
                </a:gs>
                <a:gs pos="100000">
                  <a:schemeClr val="accent1">
                    <a:lumMod val="77000"/>
                    <a:lumOff val="23000"/>
                  </a:schemeClr>
                </a:gs>
              </a:gsLst>
              <a:path path="circle">
                <a:fillToRect r="100000" b="100000"/>
              </a:path>
            </a:gradFill>
            <a:ln w="1270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HarmonyOS Sans SC"/>
                <a:cs typeface="+mn-cs"/>
              </a:endParaRPr>
            </a:p>
          </p:txBody>
        </p:sp>
      </p:grpSp>
      <p:sp>
        <p:nvSpPr>
          <p:cNvPr id="12" name="TextBox 37">
            <a:extLst>
              <a:ext uri="{FF2B5EF4-FFF2-40B4-BE49-F238E27FC236}">
                <a16:creationId xmlns:a16="http://schemas.microsoft.com/office/drawing/2014/main" id="{4A9BC757-1BFE-45F0-A331-02B9F66F441D}"/>
              </a:ext>
            </a:extLst>
          </p:cNvPr>
          <p:cNvSpPr txBox="1"/>
          <p:nvPr/>
        </p:nvSpPr>
        <p:spPr>
          <a:xfrm>
            <a:off x="4807165" y="5151987"/>
            <a:ext cx="1749198"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chemeClr val="accent1"/>
                </a:solidFill>
                <a:effectLst/>
                <a:uLnTx/>
                <a:uFillTx/>
                <a:latin typeface="HarmonyOS Sans SC Black"/>
                <a:ea typeface="+mj-ea"/>
                <a:cs typeface="+mn-cs"/>
              </a:rPr>
              <a:t>Insert title here</a:t>
            </a:r>
          </a:p>
        </p:txBody>
      </p:sp>
      <p:sp>
        <p:nvSpPr>
          <p:cNvPr id="13" name="TextBox 38">
            <a:extLst>
              <a:ext uri="{FF2B5EF4-FFF2-40B4-BE49-F238E27FC236}">
                <a16:creationId xmlns:a16="http://schemas.microsoft.com/office/drawing/2014/main" id="{B5914C5D-48E4-4FE1-A188-9C16C30C540C}"/>
              </a:ext>
            </a:extLst>
          </p:cNvPr>
          <p:cNvSpPr txBox="1"/>
          <p:nvPr/>
        </p:nvSpPr>
        <p:spPr>
          <a:xfrm>
            <a:off x="4807165" y="5485299"/>
            <a:ext cx="1837351" cy="488467"/>
          </a:xfrm>
          <a:prstGeom prst="rect">
            <a:avLst/>
          </a:prstGeom>
          <a:noFill/>
        </p:spPr>
        <p:txBody>
          <a:bodyPr wrap="square" rtlCol="0">
            <a:sp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313C41">
                    <a:lumMod val="50000"/>
                  </a:srgbClr>
                </a:solidFill>
                <a:effectLst/>
                <a:uLnTx/>
                <a:uFillTx/>
                <a:latin typeface="HarmonyOS Sans SC"/>
                <a:cs typeface="+mn-cs"/>
              </a:rPr>
              <a:t>Sed perspiciatis unde omnis iste </a:t>
            </a:r>
            <a:r>
              <a:rPr kumimoji="0" lang="en-US" sz="1200" b="0" i="0" u="none" strike="noStrike" kern="1200" cap="none" spc="0" normalizeH="0" baseline="0" noProof="0" dirty="0" err="1">
                <a:ln>
                  <a:noFill/>
                </a:ln>
                <a:solidFill>
                  <a:srgbClr val="313C41">
                    <a:lumMod val="50000"/>
                  </a:srgbClr>
                </a:solidFill>
                <a:effectLst/>
                <a:uLnTx/>
                <a:uFillTx/>
                <a:latin typeface="HarmonyOS Sans SC"/>
                <a:cs typeface="+mn-cs"/>
              </a:rPr>
              <a:t>natus</a:t>
            </a:r>
            <a:r>
              <a:rPr kumimoji="0" lang="en-US" sz="1200" b="0" i="0" u="none" strike="noStrike" kern="1200" cap="none" spc="0" normalizeH="0" baseline="0" noProof="0" dirty="0">
                <a:ln>
                  <a:noFill/>
                </a:ln>
                <a:solidFill>
                  <a:srgbClr val="313C41">
                    <a:lumMod val="50000"/>
                  </a:srgbClr>
                </a:solidFill>
                <a:effectLst/>
                <a:uLnTx/>
                <a:uFillTx/>
                <a:latin typeface="HarmonyOS Sans SC"/>
                <a:cs typeface="+mn-cs"/>
              </a:rPr>
              <a:t> error</a:t>
            </a:r>
          </a:p>
        </p:txBody>
      </p:sp>
      <p:sp>
        <p:nvSpPr>
          <p:cNvPr id="14" name="TextBox 39">
            <a:extLst>
              <a:ext uri="{FF2B5EF4-FFF2-40B4-BE49-F238E27FC236}">
                <a16:creationId xmlns:a16="http://schemas.microsoft.com/office/drawing/2014/main" id="{B274B10C-2655-4019-A1B5-2417DFCB37E2}"/>
              </a:ext>
            </a:extLst>
          </p:cNvPr>
          <p:cNvSpPr txBox="1"/>
          <p:nvPr/>
        </p:nvSpPr>
        <p:spPr>
          <a:xfrm>
            <a:off x="4807165" y="3597012"/>
            <a:ext cx="1749198"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chemeClr val="accent1"/>
                </a:solidFill>
                <a:effectLst/>
                <a:uLnTx/>
                <a:uFillTx/>
                <a:latin typeface="HarmonyOS Sans SC Black"/>
                <a:ea typeface="+mj-ea"/>
                <a:cs typeface="+mn-cs"/>
              </a:rPr>
              <a:t>Insert title here</a:t>
            </a:r>
          </a:p>
        </p:txBody>
      </p:sp>
      <p:sp>
        <p:nvSpPr>
          <p:cNvPr id="15" name="TextBox 40">
            <a:extLst>
              <a:ext uri="{FF2B5EF4-FFF2-40B4-BE49-F238E27FC236}">
                <a16:creationId xmlns:a16="http://schemas.microsoft.com/office/drawing/2014/main" id="{5733275E-986B-4118-9891-E77746D18796}"/>
              </a:ext>
            </a:extLst>
          </p:cNvPr>
          <p:cNvSpPr txBox="1"/>
          <p:nvPr/>
        </p:nvSpPr>
        <p:spPr>
          <a:xfrm>
            <a:off x="4807165" y="3930324"/>
            <a:ext cx="1837351" cy="488467"/>
          </a:xfrm>
          <a:prstGeom prst="rect">
            <a:avLst/>
          </a:prstGeom>
          <a:noFill/>
        </p:spPr>
        <p:txBody>
          <a:bodyPr wrap="square" rtlCol="0">
            <a:sp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313C41">
                    <a:lumMod val="50000"/>
                  </a:srgbClr>
                </a:solidFill>
                <a:effectLst/>
                <a:uLnTx/>
                <a:uFillTx/>
                <a:latin typeface="HarmonyOS Sans SC"/>
                <a:cs typeface="+mn-cs"/>
              </a:rPr>
              <a:t>Sed perspiciatis unde omnis iste </a:t>
            </a:r>
            <a:r>
              <a:rPr kumimoji="0" lang="en-US" sz="1200" b="0" i="0" u="none" strike="noStrike" kern="1200" cap="none" spc="0" normalizeH="0" baseline="0" noProof="0" dirty="0" err="1">
                <a:ln>
                  <a:noFill/>
                </a:ln>
                <a:solidFill>
                  <a:srgbClr val="313C41">
                    <a:lumMod val="50000"/>
                  </a:srgbClr>
                </a:solidFill>
                <a:effectLst/>
                <a:uLnTx/>
                <a:uFillTx/>
                <a:latin typeface="HarmonyOS Sans SC"/>
                <a:cs typeface="+mn-cs"/>
              </a:rPr>
              <a:t>natus</a:t>
            </a:r>
            <a:r>
              <a:rPr kumimoji="0" lang="en-US" sz="1200" b="0" i="0" u="none" strike="noStrike" kern="1200" cap="none" spc="0" normalizeH="0" baseline="0" noProof="0" dirty="0">
                <a:ln>
                  <a:noFill/>
                </a:ln>
                <a:solidFill>
                  <a:srgbClr val="313C41">
                    <a:lumMod val="50000"/>
                  </a:srgbClr>
                </a:solidFill>
                <a:effectLst/>
                <a:uLnTx/>
                <a:uFillTx/>
                <a:latin typeface="HarmonyOS Sans SC"/>
                <a:cs typeface="+mn-cs"/>
              </a:rPr>
              <a:t> error</a:t>
            </a:r>
          </a:p>
        </p:txBody>
      </p:sp>
      <p:sp>
        <p:nvSpPr>
          <p:cNvPr id="16" name="TextBox 41">
            <a:extLst>
              <a:ext uri="{FF2B5EF4-FFF2-40B4-BE49-F238E27FC236}">
                <a16:creationId xmlns:a16="http://schemas.microsoft.com/office/drawing/2014/main" id="{294D7CED-59B8-4B64-A945-7FED3B6A8636}"/>
              </a:ext>
            </a:extLst>
          </p:cNvPr>
          <p:cNvSpPr txBox="1"/>
          <p:nvPr/>
        </p:nvSpPr>
        <p:spPr>
          <a:xfrm>
            <a:off x="4807165" y="2234494"/>
            <a:ext cx="1749198"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chemeClr val="accent1"/>
                </a:solidFill>
                <a:effectLst/>
                <a:uLnTx/>
                <a:uFillTx/>
                <a:latin typeface="HarmonyOS Sans SC Black"/>
                <a:ea typeface="+mj-ea"/>
                <a:cs typeface="+mn-cs"/>
              </a:rPr>
              <a:t>Insert title here</a:t>
            </a:r>
          </a:p>
        </p:txBody>
      </p:sp>
      <p:sp>
        <p:nvSpPr>
          <p:cNvPr id="17" name="TextBox 42">
            <a:extLst>
              <a:ext uri="{FF2B5EF4-FFF2-40B4-BE49-F238E27FC236}">
                <a16:creationId xmlns:a16="http://schemas.microsoft.com/office/drawing/2014/main" id="{64CB4C11-D027-41EA-A0FF-1F69A606922D}"/>
              </a:ext>
            </a:extLst>
          </p:cNvPr>
          <p:cNvSpPr txBox="1"/>
          <p:nvPr/>
        </p:nvSpPr>
        <p:spPr>
          <a:xfrm>
            <a:off x="4807165" y="2567806"/>
            <a:ext cx="1837351" cy="488467"/>
          </a:xfrm>
          <a:prstGeom prst="rect">
            <a:avLst/>
          </a:prstGeom>
          <a:noFill/>
        </p:spPr>
        <p:txBody>
          <a:bodyPr wrap="square" rtlCol="0">
            <a:sp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313C41">
                    <a:lumMod val="50000"/>
                  </a:srgbClr>
                </a:solidFill>
                <a:effectLst/>
                <a:uLnTx/>
                <a:uFillTx/>
                <a:latin typeface="HarmonyOS Sans SC"/>
                <a:cs typeface="+mn-cs"/>
              </a:rPr>
              <a:t>Sed perspiciatis unde omnis iste </a:t>
            </a:r>
            <a:r>
              <a:rPr kumimoji="0" lang="en-US" sz="1200" b="0" i="0" u="none" strike="noStrike" kern="1200" cap="none" spc="0" normalizeH="0" baseline="0" noProof="0" dirty="0" err="1">
                <a:ln>
                  <a:noFill/>
                </a:ln>
                <a:solidFill>
                  <a:srgbClr val="313C41">
                    <a:lumMod val="50000"/>
                  </a:srgbClr>
                </a:solidFill>
                <a:effectLst/>
                <a:uLnTx/>
                <a:uFillTx/>
                <a:latin typeface="HarmonyOS Sans SC"/>
                <a:cs typeface="+mn-cs"/>
              </a:rPr>
              <a:t>natus</a:t>
            </a:r>
            <a:r>
              <a:rPr kumimoji="0" lang="en-US" sz="1200" b="0" i="0" u="none" strike="noStrike" kern="1200" cap="none" spc="0" normalizeH="0" baseline="0" noProof="0" dirty="0">
                <a:ln>
                  <a:noFill/>
                </a:ln>
                <a:solidFill>
                  <a:srgbClr val="313C41">
                    <a:lumMod val="50000"/>
                  </a:srgbClr>
                </a:solidFill>
                <a:effectLst/>
                <a:uLnTx/>
                <a:uFillTx/>
                <a:latin typeface="HarmonyOS Sans SC"/>
                <a:cs typeface="+mn-cs"/>
              </a:rPr>
              <a:t> error</a:t>
            </a:r>
          </a:p>
        </p:txBody>
      </p:sp>
      <p:sp>
        <p:nvSpPr>
          <p:cNvPr id="18" name="TextBox 57">
            <a:extLst>
              <a:ext uri="{FF2B5EF4-FFF2-40B4-BE49-F238E27FC236}">
                <a16:creationId xmlns:a16="http://schemas.microsoft.com/office/drawing/2014/main" id="{9F375657-D6A0-40FE-8082-598A470C4170}"/>
              </a:ext>
            </a:extLst>
          </p:cNvPr>
          <p:cNvSpPr txBox="1"/>
          <p:nvPr/>
        </p:nvSpPr>
        <p:spPr>
          <a:xfrm>
            <a:off x="7198805" y="5151987"/>
            <a:ext cx="1749198"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chemeClr val="accent1"/>
                </a:solidFill>
                <a:effectLst/>
                <a:uLnTx/>
                <a:uFillTx/>
                <a:latin typeface="HarmonyOS Sans SC Black"/>
                <a:ea typeface="+mj-ea"/>
                <a:cs typeface="+mn-cs"/>
              </a:rPr>
              <a:t>Insert title here</a:t>
            </a:r>
          </a:p>
        </p:txBody>
      </p:sp>
      <p:sp>
        <p:nvSpPr>
          <p:cNvPr id="19" name="TextBox 58">
            <a:extLst>
              <a:ext uri="{FF2B5EF4-FFF2-40B4-BE49-F238E27FC236}">
                <a16:creationId xmlns:a16="http://schemas.microsoft.com/office/drawing/2014/main" id="{F1E7D5E0-0A25-4EE8-AB60-02DDC5F9823F}"/>
              </a:ext>
            </a:extLst>
          </p:cNvPr>
          <p:cNvSpPr txBox="1"/>
          <p:nvPr/>
        </p:nvSpPr>
        <p:spPr>
          <a:xfrm>
            <a:off x="7198805" y="5485299"/>
            <a:ext cx="1837351" cy="488467"/>
          </a:xfrm>
          <a:prstGeom prst="rect">
            <a:avLst/>
          </a:prstGeom>
          <a:noFill/>
        </p:spPr>
        <p:txBody>
          <a:bodyPr wrap="square" rtlCol="0">
            <a:sp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313C41">
                    <a:lumMod val="50000"/>
                  </a:srgbClr>
                </a:solidFill>
                <a:effectLst/>
                <a:uLnTx/>
                <a:uFillTx/>
                <a:latin typeface="HarmonyOS Sans SC"/>
                <a:cs typeface="+mn-cs"/>
              </a:rPr>
              <a:t>Sed perspiciatis unde omnis iste </a:t>
            </a:r>
            <a:r>
              <a:rPr kumimoji="0" lang="en-US" sz="1200" b="0" i="0" u="none" strike="noStrike" kern="1200" cap="none" spc="0" normalizeH="0" baseline="0" noProof="0" dirty="0" err="1">
                <a:ln>
                  <a:noFill/>
                </a:ln>
                <a:solidFill>
                  <a:srgbClr val="313C41">
                    <a:lumMod val="50000"/>
                  </a:srgbClr>
                </a:solidFill>
                <a:effectLst/>
                <a:uLnTx/>
                <a:uFillTx/>
                <a:latin typeface="HarmonyOS Sans SC"/>
                <a:cs typeface="+mn-cs"/>
              </a:rPr>
              <a:t>natus</a:t>
            </a:r>
            <a:r>
              <a:rPr kumimoji="0" lang="en-US" sz="1200" b="0" i="0" u="none" strike="noStrike" kern="1200" cap="none" spc="0" normalizeH="0" baseline="0" noProof="0" dirty="0">
                <a:ln>
                  <a:noFill/>
                </a:ln>
                <a:solidFill>
                  <a:srgbClr val="313C41">
                    <a:lumMod val="50000"/>
                  </a:srgbClr>
                </a:solidFill>
                <a:effectLst/>
                <a:uLnTx/>
                <a:uFillTx/>
                <a:latin typeface="HarmonyOS Sans SC"/>
                <a:cs typeface="+mn-cs"/>
              </a:rPr>
              <a:t> error</a:t>
            </a:r>
          </a:p>
        </p:txBody>
      </p:sp>
      <p:sp>
        <p:nvSpPr>
          <p:cNvPr id="20" name="TextBox 59">
            <a:extLst>
              <a:ext uri="{FF2B5EF4-FFF2-40B4-BE49-F238E27FC236}">
                <a16:creationId xmlns:a16="http://schemas.microsoft.com/office/drawing/2014/main" id="{612525B0-5EFF-41E0-AD79-80359451C5AA}"/>
              </a:ext>
            </a:extLst>
          </p:cNvPr>
          <p:cNvSpPr txBox="1"/>
          <p:nvPr/>
        </p:nvSpPr>
        <p:spPr>
          <a:xfrm>
            <a:off x="7198805" y="3597012"/>
            <a:ext cx="1749198"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chemeClr val="accent1"/>
                </a:solidFill>
                <a:effectLst/>
                <a:uLnTx/>
                <a:uFillTx/>
                <a:latin typeface="HarmonyOS Sans SC Black"/>
                <a:ea typeface="+mj-ea"/>
                <a:cs typeface="+mn-cs"/>
              </a:rPr>
              <a:t>Insert title here</a:t>
            </a:r>
          </a:p>
        </p:txBody>
      </p:sp>
      <p:sp>
        <p:nvSpPr>
          <p:cNvPr id="21" name="TextBox 60">
            <a:extLst>
              <a:ext uri="{FF2B5EF4-FFF2-40B4-BE49-F238E27FC236}">
                <a16:creationId xmlns:a16="http://schemas.microsoft.com/office/drawing/2014/main" id="{8395496E-8695-4659-BC71-DBCD55E6BDF2}"/>
              </a:ext>
            </a:extLst>
          </p:cNvPr>
          <p:cNvSpPr txBox="1"/>
          <p:nvPr/>
        </p:nvSpPr>
        <p:spPr>
          <a:xfrm>
            <a:off x="7198805" y="3930324"/>
            <a:ext cx="1837351" cy="488467"/>
          </a:xfrm>
          <a:prstGeom prst="rect">
            <a:avLst/>
          </a:prstGeom>
          <a:noFill/>
        </p:spPr>
        <p:txBody>
          <a:bodyPr wrap="square" rtlCol="0">
            <a:sp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313C41">
                    <a:lumMod val="50000"/>
                  </a:srgbClr>
                </a:solidFill>
                <a:effectLst/>
                <a:uLnTx/>
                <a:uFillTx/>
                <a:latin typeface="HarmonyOS Sans SC"/>
                <a:cs typeface="+mn-cs"/>
              </a:rPr>
              <a:t>Sed perspiciatis unde omnis iste </a:t>
            </a:r>
            <a:r>
              <a:rPr kumimoji="0" lang="en-US" sz="1200" b="0" i="0" u="none" strike="noStrike" kern="1200" cap="none" spc="0" normalizeH="0" baseline="0" noProof="0" dirty="0" err="1">
                <a:ln>
                  <a:noFill/>
                </a:ln>
                <a:solidFill>
                  <a:srgbClr val="313C41">
                    <a:lumMod val="50000"/>
                  </a:srgbClr>
                </a:solidFill>
                <a:effectLst/>
                <a:uLnTx/>
                <a:uFillTx/>
                <a:latin typeface="HarmonyOS Sans SC"/>
                <a:cs typeface="+mn-cs"/>
              </a:rPr>
              <a:t>natus</a:t>
            </a:r>
            <a:r>
              <a:rPr kumimoji="0" lang="en-US" sz="1200" b="0" i="0" u="none" strike="noStrike" kern="1200" cap="none" spc="0" normalizeH="0" baseline="0" noProof="0" dirty="0">
                <a:ln>
                  <a:noFill/>
                </a:ln>
                <a:solidFill>
                  <a:srgbClr val="313C41">
                    <a:lumMod val="50000"/>
                  </a:srgbClr>
                </a:solidFill>
                <a:effectLst/>
                <a:uLnTx/>
                <a:uFillTx/>
                <a:latin typeface="HarmonyOS Sans SC"/>
                <a:cs typeface="+mn-cs"/>
              </a:rPr>
              <a:t> error</a:t>
            </a:r>
          </a:p>
        </p:txBody>
      </p:sp>
      <p:sp>
        <p:nvSpPr>
          <p:cNvPr id="22" name="TextBox 61">
            <a:extLst>
              <a:ext uri="{FF2B5EF4-FFF2-40B4-BE49-F238E27FC236}">
                <a16:creationId xmlns:a16="http://schemas.microsoft.com/office/drawing/2014/main" id="{A8C54045-17CF-4CF9-A66C-1BA5CDCA62CD}"/>
              </a:ext>
            </a:extLst>
          </p:cNvPr>
          <p:cNvSpPr txBox="1"/>
          <p:nvPr/>
        </p:nvSpPr>
        <p:spPr>
          <a:xfrm>
            <a:off x="7198805" y="2234494"/>
            <a:ext cx="1749198"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chemeClr val="accent1"/>
                </a:solidFill>
                <a:effectLst/>
                <a:uLnTx/>
                <a:uFillTx/>
                <a:latin typeface="HarmonyOS Sans SC Black"/>
                <a:ea typeface="+mj-ea"/>
                <a:cs typeface="+mn-cs"/>
              </a:rPr>
              <a:t>Insert title here</a:t>
            </a:r>
          </a:p>
        </p:txBody>
      </p:sp>
      <p:sp>
        <p:nvSpPr>
          <p:cNvPr id="23" name="TextBox 62">
            <a:extLst>
              <a:ext uri="{FF2B5EF4-FFF2-40B4-BE49-F238E27FC236}">
                <a16:creationId xmlns:a16="http://schemas.microsoft.com/office/drawing/2014/main" id="{8AE74E79-BC41-421B-839F-A346D1C05C18}"/>
              </a:ext>
            </a:extLst>
          </p:cNvPr>
          <p:cNvSpPr txBox="1"/>
          <p:nvPr/>
        </p:nvSpPr>
        <p:spPr>
          <a:xfrm>
            <a:off x="7198805" y="2567806"/>
            <a:ext cx="1837351" cy="488467"/>
          </a:xfrm>
          <a:prstGeom prst="rect">
            <a:avLst/>
          </a:prstGeom>
          <a:noFill/>
        </p:spPr>
        <p:txBody>
          <a:bodyPr wrap="square" rtlCol="0">
            <a:sp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313C41">
                    <a:lumMod val="50000"/>
                  </a:srgbClr>
                </a:solidFill>
                <a:effectLst/>
                <a:uLnTx/>
                <a:uFillTx/>
                <a:latin typeface="HarmonyOS Sans SC"/>
                <a:cs typeface="+mn-cs"/>
              </a:rPr>
              <a:t>Sed perspiciatis unde omnis iste </a:t>
            </a:r>
            <a:r>
              <a:rPr kumimoji="0" lang="en-US" sz="1200" b="0" i="0" u="none" strike="noStrike" kern="1200" cap="none" spc="0" normalizeH="0" baseline="0" noProof="0" dirty="0" err="1">
                <a:ln>
                  <a:noFill/>
                </a:ln>
                <a:solidFill>
                  <a:srgbClr val="313C41">
                    <a:lumMod val="50000"/>
                  </a:srgbClr>
                </a:solidFill>
                <a:effectLst/>
                <a:uLnTx/>
                <a:uFillTx/>
                <a:latin typeface="HarmonyOS Sans SC"/>
                <a:cs typeface="+mn-cs"/>
              </a:rPr>
              <a:t>natus</a:t>
            </a:r>
            <a:r>
              <a:rPr kumimoji="0" lang="en-US" sz="1200" b="0" i="0" u="none" strike="noStrike" kern="1200" cap="none" spc="0" normalizeH="0" baseline="0" noProof="0" dirty="0">
                <a:ln>
                  <a:noFill/>
                </a:ln>
                <a:solidFill>
                  <a:srgbClr val="313C41">
                    <a:lumMod val="50000"/>
                  </a:srgbClr>
                </a:solidFill>
                <a:effectLst/>
                <a:uLnTx/>
                <a:uFillTx/>
                <a:latin typeface="HarmonyOS Sans SC"/>
                <a:cs typeface="+mn-cs"/>
              </a:rPr>
              <a:t> error</a:t>
            </a:r>
          </a:p>
        </p:txBody>
      </p:sp>
      <p:sp>
        <p:nvSpPr>
          <p:cNvPr id="24" name="TextBox 63">
            <a:extLst>
              <a:ext uri="{FF2B5EF4-FFF2-40B4-BE49-F238E27FC236}">
                <a16:creationId xmlns:a16="http://schemas.microsoft.com/office/drawing/2014/main" id="{51A6D247-92E8-4925-96E2-6F557DED5B18}"/>
              </a:ext>
            </a:extLst>
          </p:cNvPr>
          <p:cNvSpPr txBox="1"/>
          <p:nvPr/>
        </p:nvSpPr>
        <p:spPr>
          <a:xfrm>
            <a:off x="9350602" y="5151987"/>
            <a:ext cx="1749198"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chemeClr val="accent1"/>
                </a:solidFill>
                <a:effectLst/>
                <a:uLnTx/>
                <a:uFillTx/>
                <a:latin typeface="HarmonyOS Sans SC Black"/>
                <a:ea typeface="+mj-ea"/>
                <a:cs typeface="+mn-cs"/>
              </a:rPr>
              <a:t>Insert title here</a:t>
            </a:r>
          </a:p>
        </p:txBody>
      </p:sp>
      <p:sp>
        <p:nvSpPr>
          <p:cNvPr id="25" name="TextBox 64">
            <a:extLst>
              <a:ext uri="{FF2B5EF4-FFF2-40B4-BE49-F238E27FC236}">
                <a16:creationId xmlns:a16="http://schemas.microsoft.com/office/drawing/2014/main" id="{68E6D0A5-6296-4485-A2A4-AA90D7A237E3}"/>
              </a:ext>
            </a:extLst>
          </p:cNvPr>
          <p:cNvSpPr txBox="1"/>
          <p:nvPr/>
        </p:nvSpPr>
        <p:spPr>
          <a:xfrm>
            <a:off x="9350602" y="5485299"/>
            <a:ext cx="1837351" cy="488467"/>
          </a:xfrm>
          <a:prstGeom prst="rect">
            <a:avLst/>
          </a:prstGeom>
          <a:noFill/>
        </p:spPr>
        <p:txBody>
          <a:bodyPr wrap="square" rtlCol="0">
            <a:sp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313C41">
                    <a:lumMod val="50000"/>
                  </a:srgbClr>
                </a:solidFill>
                <a:effectLst/>
                <a:uLnTx/>
                <a:uFillTx/>
                <a:latin typeface="HarmonyOS Sans SC"/>
                <a:cs typeface="+mn-cs"/>
              </a:rPr>
              <a:t>Sed perspiciatis unde omnis iste </a:t>
            </a:r>
            <a:r>
              <a:rPr kumimoji="0" lang="en-US" sz="1200" b="0" i="0" u="none" strike="noStrike" kern="1200" cap="none" spc="0" normalizeH="0" baseline="0" noProof="0" dirty="0" err="1">
                <a:ln>
                  <a:noFill/>
                </a:ln>
                <a:solidFill>
                  <a:srgbClr val="313C41">
                    <a:lumMod val="50000"/>
                  </a:srgbClr>
                </a:solidFill>
                <a:effectLst/>
                <a:uLnTx/>
                <a:uFillTx/>
                <a:latin typeface="HarmonyOS Sans SC"/>
                <a:cs typeface="+mn-cs"/>
              </a:rPr>
              <a:t>natus</a:t>
            </a:r>
            <a:r>
              <a:rPr kumimoji="0" lang="en-US" sz="1200" b="0" i="0" u="none" strike="noStrike" kern="1200" cap="none" spc="0" normalizeH="0" baseline="0" noProof="0" dirty="0">
                <a:ln>
                  <a:noFill/>
                </a:ln>
                <a:solidFill>
                  <a:srgbClr val="313C41">
                    <a:lumMod val="50000"/>
                  </a:srgbClr>
                </a:solidFill>
                <a:effectLst/>
                <a:uLnTx/>
                <a:uFillTx/>
                <a:latin typeface="HarmonyOS Sans SC"/>
                <a:cs typeface="+mn-cs"/>
              </a:rPr>
              <a:t> error</a:t>
            </a:r>
          </a:p>
        </p:txBody>
      </p:sp>
      <p:sp>
        <p:nvSpPr>
          <p:cNvPr id="26" name="TextBox 65">
            <a:extLst>
              <a:ext uri="{FF2B5EF4-FFF2-40B4-BE49-F238E27FC236}">
                <a16:creationId xmlns:a16="http://schemas.microsoft.com/office/drawing/2014/main" id="{5B8B1655-C125-48AA-94B2-AE8BC066C4EC}"/>
              </a:ext>
            </a:extLst>
          </p:cNvPr>
          <p:cNvSpPr txBox="1"/>
          <p:nvPr/>
        </p:nvSpPr>
        <p:spPr>
          <a:xfrm>
            <a:off x="9350602" y="3597012"/>
            <a:ext cx="1749198"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chemeClr val="accent1"/>
                </a:solidFill>
                <a:effectLst/>
                <a:uLnTx/>
                <a:uFillTx/>
                <a:latin typeface="HarmonyOS Sans SC Black"/>
                <a:ea typeface="+mj-ea"/>
                <a:cs typeface="+mn-cs"/>
              </a:rPr>
              <a:t>Insert title here</a:t>
            </a:r>
          </a:p>
        </p:txBody>
      </p:sp>
      <p:sp>
        <p:nvSpPr>
          <p:cNvPr id="27" name="TextBox 66">
            <a:extLst>
              <a:ext uri="{FF2B5EF4-FFF2-40B4-BE49-F238E27FC236}">
                <a16:creationId xmlns:a16="http://schemas.microsoft.com/office/drawing/2014/main" id="{F147E25C-1478-4344-A1F3-605BE6CD3706}"/>
              </a:ext>
            </a:extLst>
          </p:cNvPr>
          <p:cNvSpPr txBox="1"/>
          <p:nvPr/>
        </p:nvSpPr>
        <p:spPr>
          <a:xfrm>
            <a:off x="9350602" y="3930324"/>
            <a:ext cx="1837351" cy="488467"/>
          </a:xfrm>
          <a:prstGeom prst="rect">
            <a:avLst/>
          </a:prstGeom>
          <a:noFill/>
        </p:spPr>
        <p:txBody>
          <a:bodyPr wrap="square" rtlCol="0">
            <a:sp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313C41">
                    <a:lumMod val="50000"/>
                  </a:srgbClr>
                </a:solidFill>
                <a:effectLst/>
                <a:uLnTx/>
                <a:uFillTx/>
                <a:latin typeface="HarmonyOS Sans SC"/>
                <a:cs typeface="+mn-cs"/>
              </a:rPr>
              <a:t>Sed perspiciatis unde omnis iste </a:t>
            </a:r>
            <a:r>
              <a:rPr kumimoji="0" lang="en-US" sz="1200" b="0" i="0" u="none" strike="noStrike" kern="1200" cap="none" spc="0" normalizeH="0" baseline="0" noProof="0" dirty="0" err="1">
                <a:ln>
                  <a:noFill/>
                </a:ln>
                <a:solidFill>
                  <a:srgbClr val="313C41">
                    <a:lumMod val="50000"/>
                  </a:srgbClr>
                </a:solidFill>
                <a:effectLst/>
                <a:uLnTx/>
                <a:uFillTx/>
                <a:latin typeface="HarmonyOS Sans SC"/>
                <a:cs typeface="+mn-cs"/>
              </a:rPr>
              <a:t>natus</a:t>
            </a:r>
            <a:r>
              <a:rPr kumimoji="0" lang="en-US" sz="1200" b="0" i="0" u="none" strike="noStrike" kern="1200" cap="none" spc="0" normalizeH="0" baseline="0" noProof="0" dirty="0">
                <a:ln>
                  <a:noFill/>
                </a:ln>
                <a:solidFill>
                  <a:srgbClr val="313C41">
                    <a:lumMod val="50000"/>
                  </a:srgbClr>
                </a:solidFill>
                <a:effectLst/>
                <a:uLnTx/>
                <a:uFillTx/>
                <a:latin typeface="HarmonyOS Sans SC"/>
                <a:cs typeface="+mn-cs"/>
              </a:rPr>
              <a:t> error</a:t>
            </a:r>
          </a:p>
        </p:txBody>
      </p:sp>
      <p:sp>
        <p:nvSpPr>
          <p:cNvPr id="28" name="TextBox 67">
            <a:extLst>
              <a:ext uri="{FF2B5EF4-FFF2-40B4-BE49-F238E27FC236}">
                <a16:creationId xmlns:a16="http://schemas.microsoft.com/office/drawing/2014/main" id="{74FDDAB2-CE75-49DA-9879-E49D773CF092}"/>
              </a:ext>
            </a:extLst>
          </p:cNvPr>
          <p:cNvSpPr txBox="1"/>
          <p:nvPr/>
        </p:nvSpPr>
        <p:spPr>
          <a:xfrm>
            <a:off x="9350602" y="2234494"/>
            <a:ext cx="1749198"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chemeClr val="accent1"/>
                </a:solidFill>
                <a:effectLst/>
                <a:uLnTx/>
                <a:uFillTx/>
                <a:latin typeface="HarmonyOS Sans SC Black"/>
                <a:ea typeface="+mj-ea"/>
                <a:cs typeface="+mn-cs"/>
              </a:rPr>
              <a:t>Insert title here</a:t>
            </a:r>
          </a:p>
        </p:txBody>
      </p:sp>
      <p:sp>
        <p:nvSpPr>
          <p:cNvPr id="29" name="TextBox 68">
            <a:extLst>
              <a:ext uri="{FF2B5EF4-FFF2-40B4-BE49-F238E27FC236}">
                <a16:creationId xmlns:a16="http://schemas.microsoft.com/office/drawing/2014/main" id="{1D0077F8-65FF-4A76-B3CB-7F849F6FD799}"/>
              </a:ext>
            </a:extLst>
          </p:cNvPr>
          <p:cNvSpPr txBox="1"/>
          <p:nvPr/>
        </p:nvSpPr>
        <p:spPr>
          <a:xfrm>
            <a:off x="9350602" y="2567806"/>
            <a:ext cx="1837351" cy="488467"/>
          </a:xfrm>
          <a:prstGeom prst="rect">
            <a:avLst/>
          </a:prstGeom>
          <a:noFill/>
        </p:spPr>
        <p:txBody>
          <a:bodyPr wrap="square" rtlCol="0">
            <a:sp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313C41">
                    <a:lumMod val="50000"/>
                  </a:srgbClr>
                </a:solidFill>
                <a:effectLst/>
                <a:uLnTx/>
                <a:uFillTx/>
                <a:latin typeface="HarmonyOS Sans SC"/>
                <a:cs typeface="+mn-cs"/>
              </a:rPr>
              <a:t>Sed perspiciatis unde omnis iste </a:t>
            </a:r>
            <a:r>
              <a:rPr kumimoji="0" lang="en-US" sz="1200" b="0" i="0" u="none" strike="noStrike" kern="1200" cap="none" spc="0" normalizeH="0" baseline="0" noProof="0" dirty="0" err="1">
                <a:ln>
                  <a:noFill/>
                </a:ln>
                <a:solidFill>
                  <a:srgbClr val="313C41">
                    <a:lumMod val="50000"/>
                  </a:srgbClr>
                </a:solidFill>
                <a:effectLst/>
                <a:uLnTx/>
                <a:uFillTx/>
                <a:latin typeface="HarmonyOS Sans SC"/>
                <a:cs typeface="+mn-cs"/>
              </a:rPr>
              <a:t>natus</a:t>
            </a:r>
            <a:r>
              <a:rPr kumimoji="0" lang="en-US" sz="1200" b="0" i="0" u="none" strike="noStrike" kern="1200" cap="none" spc="0" normalizeH="0" baseline="0" noProof="0" dirty="0">
                <a:ln>
                  <a:noFill/>
                </a:ln>
                <a:solidFill>
                  <a:srgbClr val="313C41">
                    <a:lumMod val="50000"/>
                  </a:srgbClr>
                </a:solidFill>
                <a:effectLst/>
                <a:uLnTx/>
                <a:uFillTx/>
                <a:latin typeface="HarmonyOS Sans SC"/>
                <a:cs typeface="+mn-cs"/>
              </a:rPr>
              <a:t> error</a:t>
            </a:r>
          </a:p>
        </p:txBody>
      </p:sp>
      <p:sp>
        <p:nvSpPr>
          <p:cNvPr id="32" name="文本框 31">
            <a:extLst>
              <a:ext uri="{FF2B5EF4-FFF2-40B4-BE49-F238E27FC236}">
                <a16:creationId xmlns:a16="http://schemas.microsoft.com/office/drawing/2014/main" id="{A2811355-189B-4253-8C57-5E006414C732}"/>
              </a:ext>
            </a:extLst>
          </p:cNvPr>
          <p:cNvSpPr txBox="1"/>
          <p:nvPr/>
        </p:nvSpPr>
        <p:spPr>
          <a:xfrm>
            <a:off x="3871673" y="918105"/>
            <a:ext cx="4448654" cy="52322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2800" b="0" i="0" u="none" strike="noStrike" kern="1200" cap="none" spc="0" normalizeH="0" baseline="0" noProof="0" dirty="0">
                <a:ln>
                  <a:noFill/>
                </a:ln>
                <a:solidFill>
                  <a:prstClr val="black"/>
                </a:solidFill>
                <a:effectLst/>
                <a:uLnTx/>
                <a:uFillTx/>
                <a:latin typeface="HarmonyOS Sans Black"/>
                <a:ea typeface="+mj-ea"/>
                <a:cs typeface="+mn-cs"/>
              </a:rPr>
              <a:t>RACOON INFOGRAPHIC</a:t>
            </a:r>
          </a:p>
        </p:txBody>
      </p:sp>
      <p:sp>
        <p:nvSpPr>
          <p:cNvPr id="33" name="TextBox 26">
            <a:extLst>
              <a:ext uri="{FF2B5EF4-FFF2-40B4-BE49-F238E27FC236}">
                <a16:creationId xmlns:a16="http://schemas.microsoft.com/office/drawing/2014/main" id="{36ADA9F5-BFF9-45E3-8C57-3981DAE3CF0E}"/>
              </a:ext>
            </a:extLst>
          </p:cNvPr>
          <p:cNvSpPr txBox="1"/>
          <p:nvPr/>
        </p:nvSpPr>
        <p:spPr>
          <a:xfrm>
            <a:off x="3486150" y="663942"/>
            <a:ext cx="5219700" cy="254163"/>
          </a:xfrm>
          <a:prstGeom prst="rect">
            <a:avLst/>
          </a:prstGeom>
          <a:noFill/>
        </p:spPr>
        <p:txBody>
          <a:bodyPr wrap="square" lIns="0" tIns="36000" rIns="0" bIns="36000" rtlCol="0">
            <a:spAutoFit/>
          </a:bodyPr>
          <a:lstStyle/>
          <a:p>
            <a:pPr marL="0" marR="0" lvl="0" indent="0" algn="ctr" defTabSz="914400" rtl="0" eaLnBrk="1" fontAlgn="auto" latinLnBrk="0" hangingPunct="1">
              <a:lnSpc>
                <a:spcPct val="130000"/>
              </a:lnSpc>
              <a:spcBef>
                <a:spcPts val="1000"/>
              </a:spcBef>
              <a:spcAft>
                <a:spcPts val="0"/>
              </a:spcAft>
              <a:buClrTx/>
              <a:buSzTx/>
              <a:buFontTx/>
              <a:buNone/>
              <a:tabLst/>
              <a:defRPr/>
            </a:pPr>
            <a:r>
              <a:rPr kumimoji="0" lang="da-DK" sz="1000" b="0" i="0" u="none" strike="noStrike" kern="1200" cap="none" spc="0" normalizeH="0" baseline="0" noProof="0" dirty="0">
                <a:ln>
                  <a:noFill/>
                </a:ln>
                <a:solidFill>
                  <a:prstClr val="black">
                    <a:lumMod val="50000"/>
                    <a:lumOff val="50000"/>
                    <a:alpha val="70000"/>
                  </a:prstClr>
                </a:solidFill>
                <a:effectLst/>
                <a:uLnTx/>
                <a:uFillTx/>
                <a:latin typeface="HarmonyOS Sans SC"/>
                <a:cs typeface="+mn-cs"/>
              </a:rPr>
              <a:t>Modern Presentation</a:t>
            </a:r>
          </a:p>
        </p:txBody>
      </p:sp>
    </p:spTree>
    <p:extLst>
      <p:ext uri="{BB962C8B-B14F-4D97-AF65-F5344CB8AC3E}">
        <p14:creationId xmlns:p14="http://schemas.microsoft.com/office/powerpoint/2010/main" val="1772660712"/>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4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reeform 5">
            <a:extLst>
              <a:ext uri="{FF2B5EF4-FFF2-40B4-BE49-F238E27FC236}">
                <a16:creationId xmlns:a16="http://schemas.microsoft.com/office/drawing/2014/main" id="{AB95B80B-E8B3-4F79-B608-18427E6FE8EE}"/>
              </a:ext>
            </a:extLst>
          </p:cNvPr>
          <p:cNvSpPr>
            <a:spLocks/>
          </p:cNvSpPr>
          <p:nvPr/>
        </p:nvSpPr>
        <p:spPr bwMode="auto">
          <a:xfrm>
            <a:off x="1216110" y="5238299"/>
            <a:ext cx="2804346" cy="924950"/>
          </a:xfrm>
          <a:custGeom>
            <a:avLst/>
            <a:gdLst>
              <a:gd name="T0" fmla="*/ 1446 w 1446"/>
              <a:gd name="T1" fmla="*/ 0 h 475"/>
              <a:gd name="T2" fmla="*/ 1446 w 1446"/>
              <a:gd name="T3" fmla="*/ 273 h 475"/>
              <a:gd name="T4" fmla="*/ 723 w 1446"/>
              <a:gd name="T5" fmla="*/ 475 h 475"/>
              <a:gd name="T6" fmla="*/ 0 w 1446"/>
              <a:gd name="T7" fmla="*/ 273 h 475"/>
              <a:gd name="T8" fmla="*/ 0 w 1446"/>
              <a:gd name="T9" fmla="*/ 0 h 475"/>
              <a:gd name="T10" fmla="*/ 723 w 1446"/>
              <a:gd name="T11" fmla="*/ 84 h 475"/>
              <a:gd name="T12" fmla="*/ 1446 w 1446"/>
              <a:gd name="T13" fmla="*/ 0 h 475"/>
            </a:gdLst>
            <a:ahLst/>
            <a:cxnLst>
              <a:cxn ang="0">
                <a:pos x="T0" y="T1"/>
              </a:cxn>
              <a:cxn ang="0">
                <a:pos x="T2" y="T3"/>
              </a:cxn>
              <a:cxn ang="0">
                <a:pos x="T4" y="T5"/>
              </a:cxn>
              <a:cxn ang="0">
                <a:pos x="T6" y="T7"/>
              </a:cxn>
              <a:cxn ang="0">
                <a:pos x="T8" y="T9"/>
              </a:cxn>
              <a:cxn ang="0">
                <a:pos x="T10" y="T11"/>
              </a:cxn>
              <a:cxn ang="0">
                <a:pos x="T12" y="T13"/>
              </a:cxn>
            </a:cxnLst>
            <a:rect l="0" t="0" r="r" b="b"/>
            <a:pathLst>
              <a:path w="1446" h="475">
                <a:moveTo>
                  <a:pt x="1446" y="0"/>
                </a:moveTo>
                <a:cubicBezTo>
                  <a:pt x="1446" y="273"/>
                  <a:pt x="1446" y="273"/>
                  <a:pt x="1446" y="273"/>
                </a:cubicBezTo>
                <a:cubicBezTo>
                  <a:pt x="1446" y="384"/>
                  <a:pt x="1122" y="475"/>
                  <a:pt x="723" y="475"/>
                </a:cubicBezTo>
                <a:cubicBezTo>
                  <a:pt x="324" y="475"/>
                  <a:pt x="0" y="384"/>
                  <a:pt x="0" y="273"/>
                </a:cubicBezTo>
                <a:cubicBezTo>
                  <a:pt x="0" y="0"/>
                  <a:pt x="0" y="0"/>
                  <a:pt x="0" y="0"/>
                </a:cubicBezTo>
                <a:cubicBezTo>
                  <a:pt x="0" y="0"/>
                  <a:pt x="440" y="84"/>
                  <a:pt x="723" y="84"/>
                </a:cubicBezTo>
                <a:cubicBezTo>
                  <a:pt x="967" y="84"/>
                  <a:pt x="1446" y="0"/>
                  <a:pt x="1446" y="0"/>
                </a:cubicBezTo>
              </a:path>
            </a:pathLst>
          </a:custGeom>
          <a:gradFill flip="none" rotWithShape="1">
            <a:gsLst>
              <a:gs pos="6000">
                <a:schemeClr val="accent1">
                  <a:lumMod val="40000"/>
                  <a:lumOff val="60000"/>
                </a:schemeClr>
              </a:gs>
              <a:gs pos="26000">
                <a:schemeClr val="accent1">
                  <a:lumMod val="60000"/>
                  <a:lumOff val="40000"/>
                </a:schemeClr>
              </a:gs>
              <a:gs pos="82000">
                <a:schemeClr val="accent1"/>
              </a:gs>
            </a:gsLst>
            <a:lin ang="5400000" scaled="1"/>
            <a:tileRect/>
          </a:gra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cs typeface="+mn-cs"/>
            </a:endParaRPr>
          </a:p>
        </p:txBody>
      </p:sp>
      <p:sp>
        <p:nvSpPr>
          <p:cNvPr id="4" name="Oval 9">
            <a:extLst>
              <a:ext uri="{FF2B5EF4-FFF2-40B4-BE49-F238E27FC236}">
                <a16:creationId xmlns:a16="http://schemas.microsoft.com/office/drawing/2014/main" id="{429AD897-1928-4B0C-8B50-EF7F04D30DEC}"/>
              </a:ext>
            </a:extLst>
          </p:cNvPr>
          <p:cNvSpPr>
            <a:spLocks noChangeArrowheads="1"/>
          </p:cNvSpPr>
          <p:nvPr/>
        </p:nvSpPr>
        <p:spPr bwMode="auto">
          <a:xfrm>
            <a:off x="1216110" y="4844232"/>
            <a:ext cx="2804346" cy="788132"/>
          </a:xfrm>
          <a:prstGeom prst="ellipse">
            <a:avLst/>
          </a:prstGeom>
          <a:gradFill flip="none" rotWithShape="1">
            <a:gsLst>
              <a:gs pos="0">
                <a:schemeClr val="accent1">
                  <a:lumMod val="20000"/>
                  <a:lumOff val="80000"/>
                </a:schemeClr>
              </a:gs>
              <a:gs pos="52000">
                <a:schemeClr val="accent1">
                  <a:lumMod val="40000"/>
                  <a:lumOff val="60000"/>
                </a:schemeClr>
              </a:gs>
              <a:gs pos="100000">
                <a:schemeClr val="accent1">
                  <a:lumMod val="60000"/>
                  <a:lumOff val="40000"/>
                </a:schemeClr>
              </a:gs>
            </a:gsLst>
            <a:lin ang="5400000" scaled="1"/>
            <a:tileRect/>
          </a:gradFill>
          <a:ln w="51262" cap="flat">
            <a:noFill/>
            <a:prstDash val="solid"/>
            <a:miter/>
          </a:ln>
          <a:extLst>
            <a:ext uri="{91240B29-F687-4f45-9708-019B960494DF}">
              <a14:hiddenLine xmlns:a14="http://schemas.microsoft.com/office/drawing/2010/main" xmlns="" w="9525">
                <a:solidFill>
                  <a:srgbClr val="000000"/>
                </a:solidFill>
                <a:round/>
                <a:headEnd/>
                <a:tailEnd/>
              </a14:hiddenLine>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HarmonyOS Sans SC"/>
              <a:cs typeface="+mn-cs"/>
            </a:endParaRPr>
          </a:p>
        </p:txBody>
      </p:sp>
      <p:sp>
        <p:nvSpPr>
          <p:cNvPr id="5" name="Freeform 5">
            <a:extLst>
              <a:ext uri="{FF2B5EF4-FFF2-40B4-BE49-F238E27FC236}">
                <a16:creationId xmlns:a16="http://schemas.microsoft.com/office/drawing/2014/main" id="{18E4B151-DBF5-491B-BAFE-419DFC4A5FE8}"/>
              </a:ext>
            </a:extLst>
          </p:cNvPr>
          <p:cNvSpPr>
            <a:spLocks/>
          </p:cNvSpPr>
          <p:nvPr/>
        </p:nvSpPr>
        <p:spPr bwMode="auto">
          <a:xfrm>
            <a:off x="1216110" y="4388417"/>
            <a:ext cx="2804346" cy="924950"/>
          </a:xfrm>
          <a:custGeom>
            <a:avLst/>
            <a:gdLst>
              <a:gd name="T0" fmla="*/ 1446 w 1446"/>
              <a:gd name="T1" fmla="*/ 0 h 475"/>
              <a:gd name="T2" fmla="*/ 1446 w 1446"/>
              <a:gd name="T3" fmla="*/ 273 h 475"/>
              <a:gd name="T4" fmla="*/ 723 w 1446"/>
              <a:gd name="T5" fmla="*/ 475 h 475"/>
              <a:gd name="T6" fmla="*/ 0 w 1446"/>
              <a:gd name="T7" fmla="*/ 273 h 475"/>
              <a:gd name="T8" fmla="*/ 0 w 1446"/>
              <a:gd name="T9" fmla="*/ 0 h 475"/>
              <a:gd name="T10" fmla="*/ 723 w 1446"/>
              <a:gd name="T11" fmla="*/ 84 h 475"/>
              <a:gd name="T12" fmla="*/ 1446 w 1446"/>
              <a:gd name="T13" fmla="*/ 0 h 475"/>
            </a:gdLst>
            <a:ahLst/>
            <a:cxnLst>
              <a:cxn ang="0">
                <a:pos x="T0" y="T1"/>
              </a:cxn>
              <a:cxn ang="0">
                <a:pos x="T2" y="T3"/>
              </a:cxn>
              <a:cxn ang="0">
                <a:pos x="T4" y="T5"/>
              </a:cxn>
              <a:cxn ang="0">
                <a:pos x="T6" y="T7"/>
              </a:cxn>
              <a:cxn ang="0">
                <a:pos x="T8" y="T9"/>
              </a:cxn>
              <a:cxn ang="0">
                <a:pos x="T10" y="T11"/>
              </a:cxn>
              <a:cxn ang="0">
                <a:pos x="T12" y="T13"/>
              </a:cxn>
            </a:cxnLst>
            <a:rect l="0" t="0" r="r" b="b"/>
            <a:pathLst>
              <a:path w="1446" h="475">
                <a:moveTo>
                  <a:pt x="1446" y="0"/>
                </a:moveTo>
                <a:cubicBezTo>
                  <a:pt x="1446" y="273"/>
                  <a:pt x="1446" y="273"/>
                  <a:pt x="1446" y="273"/>
                </a:cubicBezTo>
                <a:cubicBezTo>
                  <a:pt x="1446" y="384"/>
                  <a:pt x="1122" y="475"/>
                  <a:pt x="723" y="475"/>
                </a:cubicBezTo>
                <a:cubicBezTo>
                  <a:pt x="324" y="475"/>
                  <a:pt x="0" y="384"/>
                  <a:pt x="0" y="273"/>
                </a:cubicBezTo>
                <a:cubicBezTo>
                  <a:pt x="0" y="0"/>
                  <a:pt x="0" y="0"/>
                  <a:pt x="0" y="0"/>
                </a:cubicBezTo>
                <a:cubicBezTo>
                  <a:pt x="0" y="0"/>
                  <a:pt x="440" y="84"/>
                  <a:pt x="723" y="84"/>
                </a:cubicBezTo>
                <a:cubicBezTo>
                  <a:pt x="967" y="84"/>
                  <a:pt x="1446" y="0"/>
                  <a:pt x="1446" y="0"/>
                </a:cubicBezTo>
              </a:path>
            </a:pathLst>
          </a:custGeom>
          <a:gradFill flip="none" rotWithShape="1">
            <a:gsLst>
              <a:gs pos="6000">
                <a:schemeClr val="accent1">
                  <a:lumMod val="40000"/>
                  <a:lumOff val="60000"/>
                </a:schemeClr>
              </a:gs>
              <a:gs pos="26000">
                <a:schemeClr val="accent1">
                  <a:lumMod val="60000"/>
                  <a:lumOff val="40000"/>
                </a:schemeClr>
              </a:gs>
              <a:gs pos="82000">
                <a:schemeClr val="accent1"/>
              </a:gs>
            </a:gsLst>
            <a:lin ang="5400000" scaled="1"/>
            <a:tileRect/>
          </a:gra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cs typeface="+mn-cs"/>
            </a:endParaRPr>
          </a:p>
        </p:txBody>
      </p:sp>
      <p:sp>
        <p:nvSpPr>
          <p:cNvPr id="6" name="Oval 9">
            <a:extLst>
              <a:ext uri="{FF2B5EF4-FFF2-40B4-BE49-F238E27FC236}">
                <a16:creationId xmlns:a16="http://schemas.microsoft.com/office/drawing/2014/main" id="{D1C96A5A-8A85-4453-A8EA-A94429CA903F}"/>
              </a:ext>
            </a:extLst>
          </p:cNvPr>
          <p:cNvSpPr>
            <a:spLocks noChangeArrowheads="1"/>
          </p:cNvSpPr>
          <p:nvPr/>
        </p:nvSpPr>
        <p:spPr bwMode="auto">
          <a:xfrm>
            <a:off x="1216110" y="3994350"/>
            <a:ext cx="2804346" cy="788132"/>
          </a:xfrm>
          <a:prstGeom prst="ellipse">
            <a:avLst/>
          </a:prstGeom>
          <a:gradFill flip="none" rotWithShape="1">
            <a:gsLst>
              <a:gs pos="0">
                <a:schemeClr val="accent1">
                  <a:lumMod val="20000"/>
                  <a:lumOff val="80000"/>
                </a:schemeClr>
              </a:gs>
              <a:gs pos="52000">
                <a:schemeClr val="accent1">
                  <a:lumMod val="40000"/>
                  <a:lumOff val="60000"/>
                </a:schemeClr>
              </a:gs>
              <a:gs pos="100000">
                <a:schemeClr val="accent1">
                  <a:lumMod val="60000"/>
                  <a:lumOff val="40000"/>
                </a:schemeClr>
              </a:gs>
            </a:gsLst>
            <a:lin ang="5400000" scaled="1"/>
            <a:tileRect/>
          </a:gradFill>
          <a:ln w="51262" cap="flat">
            <a:noFill/>
            <a:prstDash val="solid"/>
            <a:miter/>
          </a:ln>
          <a:extLst>
            <a:ext uri="{91240B29-F687-4f45-9708-019B960494DF}">
              <a14:hiddenLine xmlns:a14="http://schemas.microsoft.com/office/drawing/2010/main" xmlns="" w="9525">
                <a:solidFill>
                  <a:srgbClr val="000000"/>
                </a:solidFill>
                <a:round/>
                <a:headEnd/>
                <a:tailEnd/>
              </a14:hiddenLine>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HarmonyOS Sans SC"/>
              <a:cs typeface="+mn-cs"/>
            </a:endParaRPr>
          </a:p>
        </p:txBody>
      </p:sp>
      <p:sp>
        <p:nvSpPr>
          <p:cNvPr id="7" name="Freeform 5">
            <a:extLst>
              <a:ext uri="{FF2B5EF4-FFF2-40B4-BE49-F238E27FC236}">
                <a16:creationId xmlns:a16="http://schemas.microsoft.com/office/drawing/2014/main" id="{4CF08382-CFA2-4D29-B3D4-C8D0D0302E5C}"/>
              </a:ext>
            </a:extLst>
          </p:cNvPr>
          <p:cNvSpPr>
            <a:spLocks/>
          </p:cNvSpPr>
          <p:nvPr/>
        </p:nvSpPr>
        <p:spPr bwMode="auto">
          <a:xfrm>
            <a:off x="1216110" y="3547260"/>
            <a:ext cx="2804346" cy="924950"/>
          </a:xfrm>
          <a:custGeom>
            <a:avLst/>
            <a:gdLst>
              <a:gd name="T0" fmla="*/ 1446 w 1446"/>
              <a:gd name="T1" fmla="*/ 0 h 475"/>
              <a:gd name="T2" fmla="*/ 1446 w 1446"/>
              <a:gd name="T3" fmla="*/ 273 h 475"/>
              <a:gd name="T4" fmla="*/ 723 w 1446"/>
              <a:gd name="T5" fmla="*/ 475 h 475"/>
              <a:gd name="T6" fmla="*/ 0 w 1446"/>
              <a:gd name="T7" fmla="*/ 273 h 475"/>
              <a:gd name="T8" fmla="*/ 0 w 1446"/>
              <a:gd name="T9" fmla="*/ 0 h 475"/>
              <a:gd name="T10" fmla="*/ 723 w 1446"/>
              <a:gd name="T11" fmla="*/ 84 h 475"/>
              <a:gd name="T12" fmla="*/ 1446 w 1446"/>
              <a:gd name="T13" fmla="*/ 0 h 475"/>
            </a:gdLst>
            <a:ahLst/>
            <a:cxnLst>
              <a:cxn ang="0">
                <a:pos x="T0" y="T1"/>
              </a:cxn>
              <a:cxn ang="0">
                <a:pos x="T2" y="T3"/>
              </a:cxn>
              <a:cxn ang="0">
                <a:pos x="T4" y="T5"/>
              </a:cxn>
              <a:cxn ang="0">
                <a:pos x="T6" y="T7"/>
              </a:cxn>
              <a:cxn ang="0">
                <a:pos x="T8" y="T9"/>
              </a:cxn>
              <a:cxn ang="0">
                <a:pos x="T10" y="T11"/>
              </a:cxn>
              <a:cxn ang="0">
                <a:pos x="T12" y="T13"/>
              </a:cxn>
            </a:cxnLst>
            <a:rect l="0" t="0" r="r" b="b"/>
            <a:pathLst>
              <a:path w="1446" h="475">
                <a:moveTo>
                  <a:pt x="1446" y="0"/>
                </a:moveTo>
                <a:cubicBezTo>
                  <a:pt x="1446" y="273"/>
                  <a:pt x="1446" y="273"/>
                  <a:pt x="1446" y="273"/>
                </a:cubicBezTo>
                <a:cubicBezTo>
                  <a:pt x="1446" y="384"/>
                  <a:pt x="1122" y="475"/>
                  <a:pt x="723" y="475"/>
                </a:cubicBezTo>
                <a:cubicBezTo>
                  <a:pt x="324" y="475"/>
                  <a:pt x="0" y="384"/>
                  <a:pt x="0" y="273"/>
                </a:cubicBezTo>
                <a:cubicBezTo>
                  <a:pt x="0" y="0"/>
                  <a:pt x="0" y="0"/>
                  <a:pt x="0" y="0"/>
                </a:cubicBezTo>
                <a:cubicBezTo>
                  <a:pt x="0" y="0"/>
                  <a:pt x="440" y="84"/>
                  <a:pt x="723" y="84"/>
                </a:cubicBezTo>
                <a:cubicBezTo>
                  <a:pt x="967" y="84"/>
                  <a:pt x="1446" y="0"/>
                  <a:pt x="1446" y="0"/>
                </a:cubicBezTo>
              </a:path>
            </a:pathLst>
          </a:custGeom>
          <a:gradFill flip="none" rotWithShape="1">
            <a:gsLst>
              <a:gs pos="6000">
                <a:schemeClr val="accent1">
                  <a:lumMod val="40000"/>
                  <a:lumOff val="60000"/>
                </a:schemeClr>
              </a:gs>
              <a:gs pos="26000">
                <a:schemeClr val="accent1">
                  <a:lumMod val="60000"/>
                  <a:lumOff val="40000"/>
                </a:schemeClr>
              </a:gs>
              <a:gs pos="82000">
                <a:schemeClr val="accent1"/>
              </a:gs>
            </a:gsLst>
            <a:lin ang="5400000" scaled="1"/>
            <a:tileRect/>
          </a:gra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cs typeface="+mn-cs"/>
            </a:endParaRPr>
          </a:p>
        </p:txBody>
      </p:sp>
      <p:sp>
        <p:nvSpPr>
          <p:cNvPr id="8" name="Oval 9">
            <a:extLst>
              <a:ext uri="{FF2B5EF4-FFF2-40B4-BE49-F238E27FC236}">
                <a16:creationId xmlns:a16="http://schemas.microsoft.com/office/drawing/2014/main" id="{7E983B47-D129-483C-8B39-2088CE57F872}"/>
              </a:ext>
            </a:extLst>
          </p:cNvPr>
          <p:cNvSpPr>
            <a:spLocks noChangeArrowheads="1"/>
          </p:cNvSpPr>
          <p:nvPr/>
        </p:nvSpPr>
        <p:spPr bwMode="auto">
          <a:xfrm>
            <a:off x="1216110" y="3153193"/>
            <a:ext cx="2804346" cy="788132"/>
          </a:xfrm>
          <a:prstGeom prst="ellipse">
            <a:avLst/>
          </a:prstGeom>
          <a:gradFill flip="none" rotWithShape="1">
            <a:gsLst>
              <a:gs pos="0">
                <a:schemeClr val="accent1">
                  <a:lumMod val="20000"/>
                  <a:lumOff val="80000"/>
                </a:schemeClr>
              </a:gs>
              <a:gs pos="52000">
                <a:schemeClr val="accent1">
                  <a:lumMod val="40000"/>
                  <a:lumOff val="60000"/>
                </a:schemeClr>
              </a:gs>
              <a:gs pos="100000">
                <a:schemeClr val="accent1">
                  <a:lumMod val="60000"/>
                  <a:lumOff val="40000"/>
                </a:schemeClr>
              </a:gs>
            </a:gsLst>
            <a:lin ang="5400000" scaled="1"/>
            <a:tileRect/>
          </a:gradFill>
          <a:ln w="51262" cap="flat">
            <a:noFill/>
            <a:prstDash val="solid"/>
            <a:miter/>
          </a:ln>
          <a:extLst>
            <a:ext uri="{91240B29-F687-4f45-9708-019B960494DF}">
              <a14:hiddenLine xmlns:a14="http://schemas.microsoft.com/office/drawing/2010/main" xmlns="" w="9525">
                <a:solidFill>
                  <a:srgbClr val="000000"/>
                </a:solidFill>
                <a:round/>
                <a:headEnd/>
                <a:tailEnd/>
              </a14:hiddenLine>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HarmonyOS Sans SC"/>
              <a:cs typeface="+mn-cs"/>
            </a:endParaRPr>
          </a:p>
        </p:txBody>
      </p:sp>
      <p:sp>
        <p:nvSpPr>
          <p:cNvPr id="9" name="Freeform 5">
            <a:extLst>
              <a:ext uri="{FF2B5EF4-FFF2-40B4-BE49-F238E27FC236}">
                <a16:creationId xmlns:a16="http://schemas.microsoft.com/office/drawing/2014/main" id="{A797FEDB-A58E-4500-92A3-5096C63E6A23}"/>
              </a:ext>
            </a:extLst>
          </p:cNvPr>
          <p:cNvSpPr>
            <a:spLocks/>
          </p:cNvSpPr>
          <p:nvPr/>
        </p:nvSpPr>
        <p:spPr bwMode="auto">
          <a:xfrm>
            <a:off x="1216110" y="2697380"/>
            <a:ext cx="2804346" cy="924950"/>
          </a:xfrm>
          <a:custGeom>
            <a:avLst/>
            <a:gdLst>
              <a:gd name="T0" fmla="*/ 1446 w 1446"/>
              <a:gd name="T1" fmla="*/ 0 h 475"/>
              <a:gd name="T2" fmla="*/ 1446 w 1446"/>
              <a:gd name="T3" fmla="*/ 273 h 475"/>
              <a:gd name="T4" fmla="*/ 723 w 1446"/>
              <a:gd name="T5" fmla="*/ 475 h 475"/>
              <a:gd name="T6" fmla="*/ 0 w 1446"/>
              <a:gd name="T7" fmla="*/ 273 h 475"/>
              <a:gd name="T8" fmla="*/ 0 w 1446"/>
              <a:gd name="T9" fmla="*/ 0 h 475"/>
              <a:gd name="T10" fmla="*/ 723 w 1446"/>
              <a:gd name="T11" fmla="*/ 84 h 475"/>
              <a:gd name="T12" fmla="*/ 1446 w 1446"/>
              <a:gd name="T13" fmla="*/ 0 h 475"/>
            </a:gdLst>
            <a:ahLst/>
            <a:cxnLst>
              <a:cxn ang="0">
                <a:pos x="T0" y="T1"/>
              </a:cxn>
              <a:cxn ang="0">
                <a:pos x="T2" y="T3"/>
              </a:cxn>
              <a:cxn ang="0">
                <a:pos x="T4" y="T5"/>
              </a:cxn>
              <a:cxn ang="0">
                <a:pos x="T6" y="T7"/>
              </a:cxn>
              <a:cxn ang="0">
                <a:pos x="T8" y="T9"/>
              </a:cxn>
              <a:cxn ang="0">
                <a:pos x="T10" y="T11"/>
              </a:cxn>
              <a:cxn ang="0">
                <a:pos x="T12" y="T13"/>
              </a:cxn>
            </a:cxnLst>
            <a:rect l="0" t="0" r="r" b="b"/>
            <a:pathLst>
              <a:path w="1446" h="475">
                <a:moveTo>
                  <a:pt x="1446" y="0"/>
                </a:moveTo>
                <a:cubicBezTo>
                  <a:pt x="1446" y="273"/>
                  <a:pt x="1446" y="273"/>
                  <a:pt x="1446" y="273"/>
                </a:cubicBezTo>
                <a:cubicBezTo>
                  <a:pt x="1446" y="384"/>
                  <a:pt x="1122" y="475"/>
                  <a:pt x="723" y="475"/>
                </a:cubicBezTo>
                <a:cubicBezTo>
                  <a:pt x="324" y="475"/>
                  <a:pt x="0" y="384"/>
                  <a:pt x="0" y="273"/>
                </a:cubicBezTo>
                <a:cubicBezTo>
                  <a:pt x="0" y="0"/>
                  <a:pt x="0" y="0"/>
                  <a:pt x="0" y="0"/>
                </a:cubicBezTo>
                <a:cubicBezTo>
                  <a:pt x="0" y="0"/>
                  <a:pt x="440" y="84"/>
                  <a:pt x="723" y="84"/>
                </a:cubicBezTo>
                <a:cubicBezTo>
                  <a:pt x="967" y="84"/>
                  <a:pt x="1446" y="0"/>
                  <a:pt x="1446" y="0"/>
                </a:cubicBezTo>
              </a:path>
            </a:pathLst>
          </a:custGeom>
          <a:gradFill flip="none" rotWithShape="1">
            <a:gsLst>
              <a:gs pos="6000">
                <a:schemeClr val="accent1">
                  <a:lumMod val="40000"/>
                  <a:lumOff val="60000"/>
                </a:schemeClr>
              </a:gs>
              <a:gs pos="26000">
                <a:schemeClr val="accent1">
                  <a:lumMod val="60000"/>
                  <a:lumOff val="40000"/>
                </a:schemeClr>
              </a:gs>
              <a:gs pos="82000">
                <a:schemeClr val="accent1"/>
              </a:gs>
            </a:gsLst>
            <a:lin ang="5400000" scaled="1"/>
            <a:tileRect/>
          </a:gra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cs typeface="+mn-cs"/>
            </a:endParaRPr>
          </a:p>
        </p:txBody>
      </p:sp>
      <p:sp>
        <p:nvSpPr>
          <p:cNvPr id="10" name="Oval 9">
            <a:extLst>
              <a:ext uri="{FF2B5EF4-FFF2-40B4-BE49-F238E27FC236}">
                <a16:creationId xmlns:a16="http://schemas.microsoft.com/office/drawing/2014/main" id="{333DB2DF-ADE7-44DA-83EE-92D3D3C721E6}"/>
              </a:ext>
            </a:extLst>
          </p:cNvPr>
          <p:cNvSpPr>
            <a:spLocks noChangeArrowheads="1"/>
          </p:cNvSpPr>
          <p:nvPr/>
        </p:nvSpPr>
        <p:spPr bwMode="auto">
          <a:xfrm>
            <a:off x="1216110" y="2303313"/>
            <a:ext cx="2804346" cy="788132"/>
          </a:xfrm>
          <a:prstGeom prst="ellipse">
            <a:avLst/>
          </a:prstGeom>
          <a:gradFill flip="none" rotWithShape="1">
            <a:gsLst>
              <a:gs pos="0">
                <a:schemeClr val="accent1">
                  <a:lumMod val="20000"/>
                  <a:lumOff val="80000"/>
                </a:schemeClr>
              </a:gs>
              <a:gs pos="52000">
                <a:schemeClr val="accent1">
                  <a:lumMod val="40000"/>
                  <a:lumOff val="60000"/>
                </a:schemeClr>
              </a:gs>
              <a:gs pos="100000">
                <a:schemeClr val="accent1">
                  <a:lumMod val="60000"/>
                  <a:lumOff val="40000"/>
                </a:schemeClr>
              </a:gs>
            </a:gsLst>
            <a:lin ang="5400000" scaled="1"/>
            <a:tileRect/>
          </a:gradFill>
          <a:ln w="51262" cap="flat">
            <a:noFill/>
            <a:prstDash val="solid"/>
            <a:miter/>
          </a:ln>
          <a:extLst>
            <a:ext uri="{91240B29-F687-4f45-9708-019B960494DF}">
              <a14:hiddenLine xmlns:a14="http://schemas.microsoft.com/office/drawing/2010/main" xmlns="" w="9525">
                <a:solidFill>
                  <a:srgbClr val="000000"/>
                </a:solidFill>
                <a:round/>
                <a:headEnd/>
                <a:tailEnd/>
              </a14:hiddenLine>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HarmonyOS Sans SC"/>
              <a:cs typeface="+mn-cs"/>
            </a:endParaRPr>
          </a:p>
        </p:txBody>
      </p:sp>
      <p:sp>
        <p:nvSpPr>
          <p:cNvPr id="11" name="TextBox 44">
            <a:extLst>
              <a:ext uri="{FF2B5EF4-FFF2-40B4-BE49-F238E27FC236}">
                <a16:creationId xmlns:a16="http://schemas.microsoft.com/office/drawing/2014/main" id="{28F16254-2BF4-4F3A-9DDB-DF4229DC4BC0}"/>
              </a:ext>
            </a:extLst>
          </p:cNvPr>
          <p:cNvSpPr txBox="1"/>
          <p:nvPr/>
        </p:nvSpPr>
        <p:spPr>
          <a:xfrm>
            <a:off x="5339180" y="2449488"/>
            <a:ext cx="2552031"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lumMod val="75000"/>
                    <a:lumOff val="25000"/>
                  </a:prstClr>
                </a:solidFill>
                <a:effectLst/>
                <a:uLnTx/>
                <a:uFillTx/>
                <a:latin typeface="HarmonyOS Sans SC Black"/>
                <a:ea typeface="+mj-ea"/>
                <a:cs typeface="+mn-cs"/>
              </a:rPr>
              <a:t>Insert title here</a:t>
            </a:r>
          </a:p>
        </p:txBody>
      </p:sp>
      <p:sp>
        <p:nvSpPr>
          <p:cNvPr id="12" name="TextBox 47">
            <a:extLst>
              <a:ext uri="{FF2B5EF4-FFF2-40B4-BE49-F238E27FC236}">
                <a16:creationId xmlns:a16="http://schemas.microsoft.com/office/drawing/2014/main" id="{F35DD4B1-C56A-4D90-8F4B-E8F343173602}"/>
              </a:ext>
            </a:extLst>
          </p:cNvPr>
          <p:cNvSpPr txBox="1"/>
          <p:nvPr/>
        </p:nvSpPr>
        <p:spPr>
          <a:xfrm>
            <a:off x="5339180" y="2863941"/>
            <a:ext cx="2552031" cy="498598"/>
          </a:xfrm>
          <a:prstGeom prst="rect">
            <a:avLst/>
          </a:prstGeom>
          <a:noFill/>
        </p:spPr>
        <p:txBody>
          <a:bodyPr wrap="square" rtlCol="0">
            <a:sp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50000"/>
                    <a:lumOff val="50000"/>
                  </a:prstClr>
                </a:solidFill>
                <a:effectLst/>
                <a:uLnTx/>
                <a:uFillTx/>
                <a:latin typeface="HarmonyOS Sans SC"/>
                <a:cs typeface="+mn-cs"/>
              </a:rPr>
              <a:t>Sed perspiciati unde omnis iste natus voluptatem fringilla.</a:t>
            </a:r>
          </a:p>
        </p:txBody>
      </p:sp>
      <p:sp>
        <p:nvSpPr>
          <p:cNvPr id="13" name="TextBox 50">
            <a:extLst>
              <a:ext uri="{FF2B5EF4-FFF2-40B4-BE49-F238E27FC236}">
                <a16:creationId xmlns:a16="http://schemas.microsoft.com/office/drawing/2014/main" id="{5C3038AB-AFA5-4BED-A074-22E950D4A9E3}"/>
              </a:ext>
            </a:extLst>
          </p:cNvPr>
          <p:cNvSpPr txBox="1"/>
          <p:nvPr/>
        </p:nvSpPr>
        <p:spPr>
          <a:xfrm>
            <a:off x="5339180" y="3695208"/>
            <a:ext cx="2552031"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lumMod val="75000"/>
                    <a:lumOff val="25000"/>
                  </a:prstClr>
                </a:solidFill>
                <a:effectLst/>
                <a:uLnTx/>
                <a:uFillTx/>
                <a:latin typeface="HarmonyOS Sans SC Black"/>
                <a:ea typeface="+mj-ea"/>
                <a:cs typeface="+mn-cs"/>
              </a:rPr>
              <a:t>Insert title here</a:t>
            </a:r>
          </a:p>
        </p:txBody>
      </p:sp>
      <p:sp>
        <p:nvSpPr>
          <p:cNvPr id="14" name="TextBox 51">
            <a:extLst>
              <a:ext uri="{FF2B5EF4-FFF2-40B4-BE49-F238E27FC236}">
                <a16:creationId xmlns:a16="http://schemas.microsoft.com/office/drawing/2014/main" id="{1B356A69-9546-4997-8FA8-E25488B23FC0}"/>
              </a:ext>
            </a:extLst>
          </p:cNvPr>
          <p:cNvSpPr txBox="1"/>
          <p:nvPr/>
        </p:nvSpPr>
        <p:spPr>
          <a:xfrm>
            <a:off x="5339180" y="4109661"/>
            <a:ext cx="2552031" cy="498598"/>
          </a:xfrm>
          <a:prstGeom prst="rect">
            <a:avLst/>
          </a:prstGeom>
          <a:noFill/>
        </p:spPr>
        <p:txBody>
          <a:bodyPr wrap="square" rtlCol="0">
            <a:sp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50000"/>
                    <a:lumOff val="50000"/>
                  </a:prstClr>
                </a:solidFill>
                <a:effectLst/>
                <a:uLnTx/>
                <a:uFillTx/>
                <a:latin typeface="HarmonyOS Sans SC"/>
                <a:cs typeface="+mn-cs"/>
              </a:rPr>
              <a:t>Sed perspiciati unde omnis iste natus voluptatem fringilla.</a:t>
            </a:r>
          </a:p>
        </p:txBody>
      </p:sp>
      <p:sp>
        <p:nvSpPr>
          <p:cNvPr id="15" name="TextBox 55">
            <a:extLst>
              <a:ext uri="{FF2B5EF4-FFF2-40B4-BE49-F238E27FC236}">
                <a16:creationId xmlns:a16="http://schemas.microsoft.com/office/drawing/2014/main" id="{3F218F47-444D-4A9B-A982-ECC56DD862C6}"/>
              </a:ext>
            </a:extLst>
          </p:cNvPr>
          <p:cNvSpPr txBox="1"/>
          <p:nvPr/>
        </p:nvSpPr>
        <p:spPr>
          <a:xfrm>
            <a:off x="5339180" y="4940928"/>
            <a:ext cx="2552031"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lumMod val="75000"/>
                    <a:lumOff val="25000"/>
                  </a:prstClr>
                </a:solidFill>
                <a:effectLst/>
                <a:uLnTx/>
                <a:uFillTx/>
                <a:latin typeface="HarmonyOS Sans SC Black"/>
                <a:ea typeface="+mj-ea"/>
                <a:cs typeface="+mn-cs"/>
              </a:rPr>
              <a:t>Insert title here</a:t>
            </a:r>
          </a:p>
        </p:txBody>
      </p:sp>
      <p:sp>
        <p:nvSpPr>
          <p:cNvPr id="16" name="TextBox 56">
            <a:extLst>
              <a:ext uri="{FF2B5EF4-FFF2-40B4-BE49-F238E27FC236}">
                <a16:creationId xmlns:a16="http://schemas.microsoft.com/office/drawing/2014/main" id="{CBD342F9-E641-4885-84C2-426262E8E1AB}"/>
              </a:ext>
            </a:extLst>
          </p:cNvPr>
          <p:cNvSpPr txBox="1"/>
          <p:nvPr/>
        </p:nvSpPr>
        <p:spPr>
          <a:xfrm>
            <a:off x="5339180" y="5355381"/>
            <a:ext cx="2552031" cy="498598"/>
          </a:xfrm>
          <a:prstGeom prst="rect">
            <a:avLst/>
          </a:prstGeom>
          <a:noFill/>
        </p:spPr>
        <p:txBody>
          <a:bodyPr wrap="square" rtlCol="0">
            <a:sp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50000"/>
                    <a:lumOff val="50000"/>
                  </a:prstClr>
                </a:solidFill>
                <a:effectLst/>
                <a:uLnTx/>
                <a:uFillTx/>
                <a:latin typeface="HarmonyOS Sans SC"/>
                <a:cs typeface="+mn-cs"/>
              </a:rPr>
              <a:t>Sed perspiciati unde omnis iste natus voluptatem fringilla.</a:t>
            </a:r>
          </a:p>
        </p:txBody>
      </p:sp>
      <p:sp>
        <p:nvSpPr>
          <p:cNvPr id="17" name="TextBox 65">
            <a:extLst>
              <a:ext uri="{FF2B5EF4-FFF2-40B4-BE49-F238E27FC236}">
                <a16:creationId xmlns:a16="http://schemas.microsoft.com/office/drawing/2014/main" id="{8A743A74-4FDA-4B62-AE20-B6B04C40039F}"/>
              </a:ext>
            </a:extLst>
          </p:cNvPr>
          <p:cNvSpPr txBox="1"/>
          <p:nvPr/>
        </p:nvSpPr>
        <p:spPr>
          <a:xfrm>
            <a:off x="8673169" y="2449488"/>
            <a:ext cx="2552031"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lumMod val="75000"/>
                    <a:lumOff val="25000"/>
                  </a:prstClr>
                </a:solidFill>
                <a:effectLst/>
                <a:uLnTx/>
                <a:uFillTx/>
                <a:latin typeface="HarmonyOS Sans SC Black"/>
                <a:ea typeface="+mj-ea"/>
                <a:cs typeface="+mn-cs"/>
              </a:rPr>
              <a:t>Insert title here</a:t>
            </a:r>
          </a:p>
        </p:txBody>
      </p:sp>
      <p:sp>
        <p:nvSpPr>
          <p:cNvPr id="18" name="TextBox 66">
            <a:extLst>
              <a:ext uri="{FF2B5EF4-FFF2-40B4-BE49-F238E27FC236}">
                <a16:creationId xmlns:a16="http://schemas.microsoft.com/office/drawing/2014/main" id="{F05B3538-B4B7-4133-89BF-5F4070A13D9B}"/>
              </a:ext>
            </a:extLst>
          </p:cNvPr>
          <p:cNvSpPr txBox="1"/>
          <p:nvPr/>
        </p:nvSpPr>
        <p:spPr>
          <a:xfrm>
            <a:off x="8673169" y="2863941"/>
            <a:ext cx="2552031" cy="498598"/>
          </a:xfrm>
          <a:prstGeom prst="rect">
            <a:avLst/>
          </a:prstGeom>
          <a:noFill/>
        </p:spPr>
        <p:txBody>
          <a:bodyPr wrap="square" rtlCol="0">
            <a:sp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50000"/>
                    <a:lumOff val="50000"/>
                  </a:prstClr>
                </a:solidFill>
                <a:effectLst/>
                <a:uLnTx/>
                <a:uFillTx/>
                <a:latin typeface="HarmonyOS Sans SC"/>
                <a:cs typeface="+mn-cs"/>
              </a:rPr>
              <a:t>Sed perspiciati unde omnis iste natus voluptatem fringilla.</a:t>
            </a:r>
          </a:p>
        </p:txBody>
      </p:sp>
      <p:sp>
        <p:nvSpPr>
          <p:cNvPr id="19" name="TextBox 67">
            <a:extLst>
              <a:ext uri="{FF2B5EF4-FFF2-40B4-BE49-F238E27FC236}">
                <a16:creationId xmlns:a16="http://schemas.microsoft.com/office/drawing/2014/main" id="{C727C110-EF1E-4AD5-826D-AD7E2432C58F}"/>
              </a:ext>
            </a:extLst>
          </p:cNvPr>
          <p:cNvSpPr txBox="1"/>
          <p:nvPr/>
        </p:nvSpPr>
        <p:spPr>
          <a:xfrm>
            <a:off x="8673169" y="3695208"/>
            <a:ext cx="2552031"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lumMod val="75000"/>
                    <a:lumOff val="25000"/>
                  </a:prstClr>
                </a:solidFill>
                <a:effectLst/>
                <a:uLnTx/>
                <a:uFillTx/>
                <a:latin typeface="HarmonyOS Sans SC Black"/>
                <a:ea typeface="+mj-ea"/>
                <a:cs typeface="+mn-cs"/>
              </a:rPr>
              <a:t>Insert title here</a:t>
            </a:r>
          </a:p>
        </p:txBody>
      </p:sp>
      <p:sp>
        <p:nvSpPr>
          <p:cNvPr id="20" name="TextBox 68">
            <a:extLst>
              <a:ext uri="{FF2B5EF4-FFF2-40B4-BE49-F238E27FC236}">
                <a16:creationId xmlns:a16="http://schemas.microsoft.com/office/drawing/2014/main" id="{828D5C94-65A4-46D9-80DD-512E873BFB88}"/>
              </a:ext>
            </a:extLst>
          </p:cNvPr>
          <p:cNvSpPr txBox="1"/>
          <p:nvPr/>
        </p:nvSpPr>
        <p:spPr>
          <a:xfrm>
            <a:off x="8673169" y="4109661"/>
            <a:ext cx="2552031" cy="498598"/>
          </a:xfrm>
          <a:prstGeom prst="rect">
            <a:avLst/>
          </a:prstGeom>
          <a:noFill/>
        </p:spPr>
        <p:txBody>
          <a:bodyPr wrap="square" rtlCol="0">
            <a:sp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50000"/>
                    <a:lumOff val="50000"/>
                  </a:prstClr>
                </a:solidFill>
                <a:effectLst/>
                <a:uLnTx/>
                <a:uFillTx/>
                <a:latin typeface="HarmonyOS Sans SC"/>
                <a:cs typeface="+mn-cs"/>
              </a:rPr>
              <a:t>Sed perspiciati unde omnis iste natus voluptatem fringilla.</a:t>
            </a:r>
          </a:p>
        </p:txBody>
      </p:sp>
      <p:sp>
        <p:nvSpPr>
          <p:cNvPr id="21" name="TextBox 78">
            <a:extLst>
              <a:ext uri="{FF2B5EF4-FFF2-40B4-BE49-F238E27FC236}">
                <a16:creationId xmlns:a16="http://schemas.microsoft.com/office/drawing/2014/main" id="{4E472723-2A3D-4C43-8DE6-EC9B1356A0E6}"/>
              </a:ext>
            </a:extLst>
          </p:cNvPr>
          <p:cNvSpPr txBox="1"/>
          <p:nvPr/>
        </p:nvSpPr>
        <p:spPr>
          <a:xfrm>
            <a:off x="8673169" y="4940928"/>
            <a:ext cx="2552031"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lumMod val="75000"/>
                    <a:lumOff val="25000"/>
                  </a:prstClr>
                </a:solidFill>
                <a:effectLst/>
                <a:uLnTx/>
                <a:uFillTx/>
                <a:latin typeface="HarmonyOS Sans SC Black"/>
                <a:ea typeface="+mj-ea"/>
                <a:cs typeface="+mn-cs"/>
              </a:rPr>
              <a:t>Insert title here</a:t>
            </a:r>
          </a:p>
        </p:txBody>
      </p:sp>
      <p:sp>
        <p:nvSpPr>
          <p:cNvPr id="22" name="TextBox 79">
            <a:extLst>
              <a:ext uri="{FF2B5EF4-FFF2-40B4-BE49-F238E27FC236}">
                <a16:creationId xmlns:a16="http://schemas.microsoft.com/office/drawing/2014/main" id="{54F9E320-53CA-4F96-B1E7-B089F2C42B66}"/>
              </a:ext>
            </a:extLst>
          </p:cNvPr>
          <p:cNvSpPr txBox="1"/>
          <p:nvPr/>
        </p:nvSpPr>
        <p:spPr>
          <a:xfrm>
            <a:off x="8673169" y="5355381"/>
            <a:ext cx="2552031" cy="498598"/>
          </a:xfrm>
          <a:prstGeom prst="rect">
            <a:avLst/>
          </a:prstGeom>
          <a:noFill/>
        </p:spPr>
        <p:txBody>
          <a:bodyPr wrap="square" rtlCol="0">
            <a:sp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50000"/>
                    <a:lumOff val="50000"/>
                  </a:prstClr>
                </a:solidFill>
                <a:effectLst/>
                <a:uLnTx/>
                <a:uFillTx/>
                <a:latin typeface="HarmonyOS Sans SC"/>
                <a:cs typeface="+mn-cs"/>
              </a:rPr>
              <a:t>Sed perspiciati unde omnis iste natus voluptatem fringilla.</a:t>
            </a:r>
          </a:p>
        </p:txBody>
      </p:sp>
      <p:sp>
        <p:nvSpPr>
          <p:cNvPr id="26" name="文本框 25">
            <a:extLst>
              <a:ext uri="{FF2B5EF4-FFF2-40B4-BE49-F238E27FC236}">
                <a16:creationId xmlns:a16="http://schemas.microsoft.com/office/drawing/2014/main" id="{E50DD06A-84AB-4DAB-8B2D-373FF305177C}"/>
              </a:ext>
            </a:extLst>
          </p:cNvPr>
          <p:cNvSpPr txBox="1"/>
          <p:nvPr/>
        </p:nvSpPr>
        <p:spPr>
          <a:xfrm>
            <a:off x="4608252" y="918105"/>
            <a:ext cx="2975495" cy="52322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2800" b="0" i="0" u="none" strike="noStrike" kern="1200" cap="none" spc="0" normalizeH="0" baseline="0" noProof="0" dirty="0">
                <a:ln>
                  <a:noFill/>
                </a:ln>
                <a:solidFill>
                  <a:prstClr val="black"/>
                </a:solidFill>
                <a:effectLst/>
                <a:uLnTx/>
                <a:uFillTx/>
                <a:latin typeface="HarmonyOS Sans Black"/>
                <a:ea typeface="+mj-ea"/>
                <a:cs typeface="+mn-cs"/>
              </a:rPr>
              <a:t>Our </a:t>
            </a:r>
            <a:r>
              <a:rPr kumimoji="0" lang="en-US" altLang="zh-CN" sz="2800" b="0" i="0" u="none" strike="noStrike" kern="1200" cap="none" spc="0" normalizeH="0" baseline="0" noProof="0" dirty="0">
                <a:ln>
                  <a:noFill/>
                </a:ln>
                <a:solidFill>
                  <a:schemeClr val="accent1"/>
                </a:solidFill>
                <a:effectLst/>
                <a:uLnTx/>
                <a:uFillTx/>
                <a:latin typeface="HarmonyOS Sans Black"/>
                <a:ea typeface="+mj-ea"/>
                <a:cs typeface="+mn-cs"/>
              </a:rPr>
              <a:t>Infographic</a:t>
            </a:r>
          </a:p>
        </p:txBody>
      </p:sp>
      <p:sp>
        <p:nvSpPr>
          <p:cNvPr id="27" name="TextBox 26">
            <a:extLst>
              <a:ext uri="{FF2B5EF4-FFF2-40B4-BE49-F238E27FC236}">
                <a16:creationId xmlns:a16="http://schemas.microsoft.com/office/drawing/2014/main" id="{3BA981EC-B02C-4317-9B21-B35397EE122E}"/>
              </a:ext>
            </a:extLst>
          </p:cNvPr>
          <p:cNvSpPr txBox="1"/>
          <p:nvPr/>
        </p:nvSpPr>
        <p:spPr>
          <a:xfrm>
            <a:off x="3486150" y="1427611"/>
            <a:ext cx="5219700" cy="254163"/>
          </a:xfrm>
          <a:prstGeom prst="rect">
            <a:avLst/>
          </a:prstGeom>
          <a:noFill/>
        </p:spPr>
        <p:txBody>
          <a:bodyPr wrap="square" lIns="0" tIns="36000" rIns="0" bIns="36000" rtlCol="0">
            <a:spAutoFit/>
          </a:bodyPr>
          <a:lstStyle/>
          <a:p>
            <a:pPr marL="0" marR="0" lvl="0" indent="0" algn="ctr" defTabSz="914400" rtl="0" eaLnBrk="1" fontAlgn="auto" latinLnBrk="0" hangingPunct="1">
              <a:lnSpc>
                <a:spcPct val="130000"/>
              </a:lnSpc>
              <a:spcBef>
                <a:spcPts val="100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alpha val="70000"/>
                  </a:prstClr>
                </a:solidFill>
                <a:effectLst/>
                <a:uLnTx/>
                <a:uFillTx/>
                <a:latin typeface="HarmonyOS Sans SC"/>
                <a:cs typeface="+mn-cs"/>
              </a:rPr>
              <a:t>There Are Many Variations Of Passages Of </a:t>
            </a:r>
          </a:p>
        </p:txBody>
      </p:sp>
    </p:spTree>
    <p:extLst>
      <p:ext uri="{BB962C8B-B14F-4D97-AF65-F5344CB8AC3E}">
        <p14:creationId xmlns:p14="http://schemas.microsoft.com/office/powerpoint/2010/main" val="2388103811"/>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4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reeform 63">
            <a:extLst>
              <a:ext uri="{FF2B5EF4-FFF2-40B4-BE49-F238E27FC236}">
                <a16:creationId xmlns:a16="http://schemas.microsoft.com/office/drawing/2014/main" id="{907D23D8-7F0F-4D9F-BED1-9A03502D1BDC}"/>
              </a:ext>
            </a:extLst>
          </p:cNvPr>
          <p:cNvSpPr>
            <a:spLocks/>
          </p:cNvSpPr>
          <p:nvPr/>
        </p:nvSpPr>
        <p:spPr bwMode="auto">
          <a:xfrm rot="766448">
            <a:off x="5082548" y="2421611"/>
            <a:ext cx="1897942" cy="973865"/>
          </a:xfrm>
          <a:custGeom>
            <a:avLst/>
            <a:gdLst>
              <a:gd name="T0" fmla="*/ 743 w 1198"/>
              <a:gd name="T1" fmla="*/ 506 h 615"/>
              <a:gd name="T2" fmla="*/ 789 w 1198"/>
              <a:gd name="T3" fmla="*/ 491 h 615"/>
              <a:gd name="T4" fmla="*/ 748 w 1198"/>
              <a:gd name="T5" fmla="*/ 443 h 615"/>
              <a:gd name="T6" fmla="*/ 711 w 1198"/>
              <a:gd name="T7" fmla="*/ 386 h 615"/>
              <a:gd name="T8" fmla="*/ 640 w 1198"/>
              <a:gd name="T9" fmla="*/ 259 h 615"/>
              <a:gd name="T10" fmla="*/ 572 w 1198"/>
              <a:gd name="T11" fmla="*/ 127 h 615"/>
              <a:gd name="T12" fmla="*/ 873 w 1198"/>
              <a:gd name="T13" fmla="*/ 108 h 615"/>
              <a:gd name="T14" fmla="*/ 1158 w 1198"/>
              <a:gd name="T15" fmla="*/ 172 h 615"/>
              <a:gd name="T16" fmla="*/ 1159 w 1198"/>
              <a:gd name="T17" fmla="*/ 170 h 615"/>
              <a:gd name="T18" fmla="*/ 1162 w 1198"/>
              <a:gd name="T19" fmla="*/ 172 h 615"/>
              <a:gd name="T20" fmla="*/ 1198 w 1198"/>
              <a:gd name="T21" fmla="*/ 78 h 615"/>
              <a:gd name="T22" fmla="*/ 914 w 1198"/>
              <a:gd name="T23" fmla="*/ 11 h 615"/>
              <a:gd name="T24" fmla="*/ 612 w 1198"/>
              <a:gd name="T25" fmla="*/ 18 h 615"/>
              <a:gd name="T26" fmla="*/ 345 w 1198"/>
              <a:gd name="T27" fmla="*/ 99 h 615"/>
              <a:gd name="T28" fmla="*/ 118 w 1198"/>
              <a:gd name="T29" fmla="*/ 239 h 615"/>
              <a:gd name="T30" fmla="*/ 0 w 1198"/>
              <a:gd name="T31" fmla="*/ 342 h 615"/>
              <a:gd name="T32" fmla="*/ 69 w 1198"/>
              <a:gd name="T33" fmla="*/ 410 h 615"/>
              <a:gd name="T34" fmla="*/ 71 w 1198"/>
              <a:gd name="T35" fmla="*/ 412 h 615"/>
              <a:gd name="T36" fmla="*/ 165 w 1198"/>
              <a:gd name="T37" fmla="*/ 329 h 615"/>
              <a:gd name="T38" fmla="*/ 271 w 1198"/>
              <a:gd name="T39" fmla="*/ 253 h 615"/>
              <a:gd name="T40" fmla="*/ 352 w 1198"/>
              <a:gd name="T41" fmla="*/ 206 h 615"/>
              <a:gd name="T42" fmla="*/ 506 w 1198"/>
              <a:gd name="T43" fmla="*/ 448 h 615"/>
              <a:gd name="T44" fmla="*/ 578 w 1198"/>
              <a:gd name="T45" fmla="*/ 551 h 615"/>
              <a:gd name="T46" fmla="*/ 578 w 1198"/>
              <a:gd name="T47" fmla="*/ 551 h 615"/>
              <a:gd name="T48" fmla="*/ 639 w 1198"/>
              <a:gd name="T49" fmla="*/ 615 h 615"/>
              <a:gd name="T50" fmla="*/ 743 w 1198"/>
              <a:gd name="T51" fmla="*/ 506 h 615"/>
              <a:gd name="T52" fmla="*/ 743 w 1198"/>
              <a:gd name="T53" fmla="*/ 506 h 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198" h="615">
                <a:moveTo>
                  <a:pt x="743" y="506"/>
                </a:moveTo>
                <a:cubicBezTo>
                  <a:pt x="762" y="495"/>
                  <a:pt x="777" y="491"/>
                  <a:pt x="789" y="491"/>
                </a:cubicBezTo>
                <a:cubicBezTo>
                  <a:pt x="775" y="476"/>
                  <a:pt x="760" y="460"/>
                  <a:pt x="748" y="443"/>
                </a:cubicBezTo>
                <a:cubicBezTo>
                  <a:pt x="735" y="425"/>
                  <a:pt x="723" y="405"/>
                  <a:pt x="711" y="386"/>
                </a:cubicBezTo>
                <a:cubicBezTo>
                  <a:pt x="686" y="344"/>
                  <a:pt x="663" y="302"/>
                  <a:pt x="640" y="259"/>
                </a:cubicBezTo>
                <a:cubicBezTo>
                  <a:pt x="617" y="215"/>
                  <a:pt x="594" y="171"/>
                  <a:pt x="572" y="127"/>
                </a:cubicBezTo>
                <a:cubicBezTo>
                  <a:pt x="670" y="105"/>
                  <a:pt x="772" y="99"/>
                  <a:pt x="873" y="108"/>
                </a:cubicBezTo>
                <a:cubicBezTo>
                  <a:pt x="970" y="116"/>
                  <a:pt x="1067" y="137"/>
                  <a:pt x="1158" y="172"/>
                </a:cubicBezTo>
                <a:cubicBezTo>
                  <a:pt x="1159" y="170"/>
                  <a:pt x="1159" y="170"/>
                  <a:pt x="1159" y="170"/>
                </a:cubicBezTo>
                <a:cubicBezTo>
                  <a:pt x="1160" y="171"/>
                  <a:pt x="1161" y="171"/>
                  <a:pt x="1162" y="172"/>
                </a:cubicBezTo>
                <a:cubicBezTo>
                  <a:pt x="1198" y="78"/>
                  <a:pt x="1198" y="78"/>
                  <a:pt x="1198" y="78"/>
                </a:cubicBezTo>
                <a:cubicBezTo>
                  <a:pt x="1107" y="43"/>
                  <a:pt x="1011" y="22"/>
                  <a:pt x="914" y="11"/>
                </a:cubicBezTo>
                <a:cubicBezTo>
                  <a:pt x="814" y="0"/>
                  <a:pt x="712" y="2"/>
                  <a:pt x="612" y="18"/>
                </a:cubicBezTo>
                <a:cubicBezTo>
                  <a:pt x="520" y="33"/>
                  <a:pt x="430" y="60"/>
                  <a:pt x="345" y="99"/>
                </a:cubicBezTo>
                <a:cubicBezTo>
                  <a:pt x="264" y="136"/>
                  <a:pt x="188" y="184"/>
                  <a:pt x="118" y="239"/>
                </a:cubicBezTo>
                <a:cubicBezTo>
                  <a:pt x="77" y="271"/>
                  <a:pt x="36" y="305"/>
                  <a:pt x="0" y="342"/>
                </a:cubicBezTo>
                <a:cubicBezTo>
                  <a:pt x="69" y="410"/>
                  <a:pt x="69" y="410"/>
                  <a:pt x="69" y="410"/>
                </a:cubicBezTo>
                <a:cubicBezTo>
                  <a:pt x="71" y="412"/>
                  <a:pt x="71" y="412"/>
                  <a:pt x="71" y="412"/>
                </a:cubicBezTo>
                <a:cubicBezTo>
                  <a:pt x="100" y="382"/>
                  <a:pt x="133" y="355"/>
                  <a:pt x="165" y="329"/>
                </a:cubicBezTo>
                <a:cubicBezTo>
                  <a:pt x="199" y="302"/>
                  <a:pt x="234" y="276"/>
                  <a:pt x="271" y="253"/>
                </a:cubicBezTo>
                <a:cubicBezTo>
                  <a:pt x="297" y="236"/>
                  <a:pt x="324" y="220"/>
                  <a:pt x="352" y="206"/>
                </a:cubicBezTo>
                <a:cubicBezTo>
                  <a:pt x="402" y="288"/>
                  <a:pt x="453" y="369"/>
                  <a:pt x="506" y="448"/>
                </a:cubicBezTo>
                <a:cubicBezTo>
                  <a:pt x="529" y="483"/>
                  <a:pt x="551" y="518"/>
                  <a:pt x="578" y="551"/>
                </a:cubicBezTo>
                <a:cubicBezTo>
                  <a:pt x="578" y="551"/>
                  <a:pt x="578" y="551"/>
                  <a:pt x="578" y="551"/>
                </a:cubicBezTo>
                <a:cubicBezTo>
                  <a:pt x="596" y="574"/>
                  <a:pt x="618" y="595"/>
                  <a:pt x="639" y="615"/>
                </a:cubicBezTo>
                <a:cubicBezTo>
                  <a:pt x="658" y="555"/>
                  <a:pt x="715" y="521"/>
                  <a:pt x="743" y="506"/>
                </a:cubicBezTo>
                <a:cubicBezTo>
                  <a:pt x="762" y="495"/>
                  <a:pt x="715" y="521"/>
                  <a:pt x="743" y="506"/>
                </a:cubicBezTo>
                <a:close/>
              </a:path>
            </a:pathLst>
          </a:custGeom>
          <a:gradFill flip="none" rotWithShape="1">
            <a:gsLst>
              <a:gs pos="73000">
                <a:schemeClr val="accent1"/>
              </a:gs>
              <a:gs pos="31000">
                <a:schemeClr val="accent1">
                  <a:lumMod val="60000"/>
                  <a:lumOff val="40000"/>
                </a:schemeClr>
              </a:gs>
              <a:gs pos="0">
                <a:schemeClr val="accent1">
                  <a:lumMod val="40000"/>
                  <a:lumOff val="60000"/>
                </a:schemeClr>
              </a:gs>
            </a:gsLst>
            <a:lin ang="16200000" scaled="1"/>
            <a:tileRect/>
          </a:gradFill>
          <a:ln w="25400">
            <a:noFill/>
            <a:miter lim="800000"/>
          </a:ln>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lumMod val="50000"/>
                  <a:lumOff val="50000"/>
                </a:prstClr>
              </a:solidFill>
              <a:effectLst/>
              <a:uLnTx/>
              <a:uFillTx/>
              <a:latin typeface="HarmonyOS Sans SC"/>
              <a:cs typeface="+mn-cs"/>
            </a:endParaRPr>
          </a:p>
        </p:txBody>
      </p:sp>
      <p:sp>
        <p:nvSpPr>
          <p:cNvPr id="5" name="Freeform 64">
            <a:extLst>
              <a:ext uri="{FF2B5EF4-FFF2-40B4-BE49-F238E27FC236}">
                <a16:creationId xmlns:a16="http://schemas.microsoft.com/office/drawing/2014/main" id="{E74C10DA-EB30-49AF-BFEA-65AA97DD2C0F}"/>
              </a:ext>
            </a:extLst>
          </p:cNvPr>
          <p:cNvSpPr>
            <a:spLocks/>
          </p:cNvSpPr>
          <p:nvPr/>
        </p:nvSpPr>
        <p:spPr bwMode="auto">
          <a:xfrm rot="766448">
            <a:off x="6230412" y="3763873"/>
            <a:ext cx="800601" cy="776702"/>
          </a:xfrm>
          <a:custGeom>
            <a:avLst/>
            <a:gdLst>
              <a:gd name="T0" fmla="*/ 144 w 505"/>
              <a:gd name="T1" fmla="*/ 37 h 490"/>
              <a:gd name="T2" fmla="*/ 74 w 505"/>
              <a:gd name="T3" fmla="*/ 68 h 490"/>
              <a:gd name="T4" fmla="*/ 30 w 505"/>
              <a:gd name="T5" fmla="*/ 87 h 490"/>
              <a:gd name="T6" fmla="*/ 0 w 505"/>
              <a:gd name="T7" fmla="*/ 100 h 490"/>
              <a:gd name="T8" fmla="*/ 103 w 505"/>
              <a:gd name="T9" fmla="*/ 191 h 490"/>
              <a:gd name="T10" fmla="*/ 129 w 505"/>
              <a:gd name="T11" fmla="*/ 336 h 490"/>
              <a:gd name="T12" fmla="*/ 149 w 505"/>
              <a:gd name="T13" fmla="*/ 355 h 490"/>
              <a:gd name="T14" fmla="*/ 188 w 505"/>
              <a:gd name="T15" fmla="*/ 391 h 490"/>
              <a:gd name="T16" fmla="*/ 223 w 505"/>
              <a:gd name="T17" fmla="*/ 423 h 490"/>
              <a:gd name="T18" fmla="*/ 279 w 505"/>
              <a:gd name="T19" fmla="*/ 475 h 490"/>
              <a:gd name="T20" fmla="*/ 336 w 505"/>
              <a:gd name="T21" fmla="*/ 482 h 490"/>
              <a:gd name="T22" fmla="*/ 352 w 505"/>
              <a:gd name="T23" fmla="*/ 465 h 490"/>
              <a:gd name="T24" fmla="*/ 354 w 505"/>
              <a:gd name="T25" fmla="*/ 441 h 490"/>
              <a:gd name="T26" fmla="*/ 361 w 505"/>
              <a:gd name="T27" fmla="*/ 429 h 490"/>
              <a:gd name="T28" fmla="*/ 383 w 505"/>
              <a:gd name="T29" fmla="*/ 422 h 490"/>
              <a:gd name="T30" fmla="*/ 403 w 505"/>
              <a:gd name="T31" fmla="*/ 404 h 490"/>
              <a:gd name="T32" fmla="*/ 404 w 505"/>
              <a:gd name="T33" fmla="*/ 379 h 490"/>
              <a:gd name="T34" fmla="*/ 442 w 505"/>
              <a:gd name="T35" fmla="*/ 357 h 490"/>
              <a:gd name="T36" fmla="*/ 456 w 505"/>
              <a:gd name="T37" fmla="*/ 339 h 490"/>
              <a:gd name="T38" fmla="*/ 457 w 505"/>
              <a:gd name="T39" fmla="*/ 315 h 490"/>
              <a:gd name="T40" fmla="*/ 462 w 505"/>
              <a:gd name="T41" fmla="*/ 300 h 490"/>
              <a:gd name="T42" fmla="*/ 480 w 505"/>
              <a:gd name="T43" fmla="*/ 295 h 490"/>
              <a:gd name="T44" fmla="*/ 500 w 505"/>
              <a:gd name="T45" fmla="*/ 249 h 490"/>
              <a:gd name="T46" fmla="*/ 484 w 505"/>
              <a:gd name="T47" fmla="*/ 221 h 490"/>
              <a:gd name="T48" fmla="*/ 448 w 505"/>
              <a:gd name="T49" fmla="*/ 187 h 490"/>
              <a:gd name="T50" fmla="*/ 458 w 505"/>
              <a:gd name="T51" fmla="*/ 152 h 490"/>
              <a:gd name="T52" fmla="*/ 428 w 505"/>
              <a:gd name="T53" fmla="*/ 110 h 490"/>
              <a:gd name="T54" fmla="*/ 333 w 505"/>
              <a:gd name="T55" fmla="*/ 52 h 490"/>
              <a:gd name="T56" fmla="*/ 303 w 505"/>
              <a:gd name="T57" fmla="*/ 46 h 490"/>
              <a:gd name="T58" fmla="*/ 303 w 505"/>
              <a:gd name="T59" fmla="*/ 45 h 490"/>
              <a:gd name="T60" fmla="*/ 237 w 505"/>
              <a:gd name="T61" fmla="*/ 56 h 490"/>
              <a:gd name="T62" fmla="*/ 225 w 505"/>
              <a:gd name="T63" fmla="*/ 46 h 490"/>
              <a:gd name="T64" fmla="*/ 225 w 505"/>
              <a:gd name="T65" fmla="*/ 46 h 490"/>
              <a:gd name="T66" fmla="*/ 172 w 505"/>
              <a:gd name="T67" fmla="*/ 0 h 490"/>
              <a:gd name="T68" fmla="*/ 144 w 505"/>
              <a:gd name="T69" fmla="*/ 37 h 4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05" h="490">
                <a:moveTo>
                  <a:pt x="144" y="37"/>
                </a:moveTo>
                <a:cubicBezTo>
                  <a:pt x="74" y="68"/>
                  <a:pt x="74" y="68"/>
                  <a:pt x="74" y="68"/>
                </a:cubicBezTo>
                <a:cubicBezTo>
                  <a:pt x="30" y="87"/>
                  <a:pt x="30" y="87"/>
                  <a:pt x="30" y="87"/>
                </a:cubicBezTo>
                <a:cubicBezTo>
                  <a:pt x="0" y="100"/>
                  <a:pt x="0" y="100"/>
                  <a:pt x="0" y="100"/>
                </a:cubicBezTo>
                <a:cubicBezTo>
                  <a:pt x="34" y="131"/>
                  <a:pt x="69" y="161"/>
                  <a:pt x="103" y="191"/>
                </a:cubicBezTo>
                <a:cubicBezTo>
                  <a:pt x="81" y="238"/>
                  <a:pt x="88" y="299"/>
                  <a:pt x="129" y="336"/>
                </a:cubicBezTo>
                <a:cubicBezTo>
                  <a:pt x="149" y="355"/>
                  <a:pt x="149" y="355"/>
                  <a:pt x="149" y="355"/>
                </a:cubicBezTo>
                <a:cubicBezTo>
                  <a:pt x="188" y="391"/>
                  <a:pt x="188" y="391"/>
                  <a:pt x="188" y="391"/>
                </a:cubicBezTo>
                <a:cubicBezTo>
                  <a:pt x="223" y="423"/>
                  <a:pt x="223" y="423"/>
                  <a:pt x="223" y="423"/>
                </a:cubicBezTo>
                <a:cubicBezTo>
                  <a:pt x="279" y="475"/>
                  <a:pt x="279" y="475"/>
                  <a:pt x="279" y="475"/>
                </a:cubicBezTo>
                <a:cubicBezTo>
                  <a:pt x="294" y="489"/>
                  <a:pt x="319" y="490"/>
                  <a:pt x="336" y="482"/>
                </a:cubicBezTo>
                <a:cubicBezTo>
                  <a:pt x="344" y="478"/>
                  <a:pt x="350" y="473"/>
                  <a:pt x="352" y="465"/>
                </a:cubicBezTo>
                <a:cubicBezTo>
                  <a:pt x="354" y="457"/>
                  <a:pt x="353" y="449"/>
                  <a:pt x="354" y="441"/>
                </a:cubicBezTo>
                <a:cubicBezTo>
                  <a:pt x="354" y="435"/>
                  <a:pt x="355" y="431"/>
                  <a:pt x="361" y="429"/>
                </a:cubicBezTo>
                <a:cubicBezTo>
                  <a:pt x="368" y="426"/>
                  <a:pt x="375" y="425"/>
                  <a:pt x="383" y="422"/>
                </a:cubicBezTo>
                <a:cubicBezTo>
                  <a:pt x="391" y="419"/>
                  <a:pt x="400" y="413"/>
                  <a:pt x="403" y="404"/>
                </a:cubicBezTo>
                <a:cubicBezTo>
                  <a:pt x="406" y="396"/>
                  <a:pt x="404" y="387"/>
                  <a:pt x="404" y="379"/>
                </a:cubicBezTo>
                <a:cubicBezTo>
                  <a:pt x="406" y="359"/>
                  <a:pt x="428" y="363"/>
                  <a:pt x="442" y="357"/>
                </a:cubicBezTo>
                <a:cubicBezTo>
                  <a:pt x="450" y="353"/>
                  <a:pt x="454" y="347"/>
                  <a:pt x="456" y="339"/>
                </a:cubicBezTo>
                <a:cubicBezTo>
                  <a:pt x="458" y="331"/>
                  <a:pt x="457" y="323"/>
                  <a:pt x="457" y="315"/>
                </a:cubicBezTo>
                <a:cubicBezTo>
                  <a:pt x="458" y="310"/>
                  <a:pt x="457" y="303"/>
                  <a:pt x="462" y="300"/>
                </a:cubicBezTo>
                <a:cubicBezTo>
                  <a:pt x="467" y="296"/>
                  <a:pt x="474" y="297"/>
                  <a:pt x="480" y="295"/>
                </a:cubicBezTo>
                <a:cubicBezTo>
                  <a:pt x="498" y="287"/>
                  <a:pt x="505" y="268"/>
                  <a:pt x="500" y="249"/>
                </a:cubicBezTo>
                <a:cubicBezTo>
                  <a:pt x="498" y="239"/>
                  <a:pt x="492" y="228"/>
                  <a:pt x="484" y="221"/>
                </a:cubicBezTo>
                <a:cubicBezTo>
                  <a:pt x="448" y="187"/>
                  <a:pt x="448" y="187"/>
                  <a:pt x="448" y="187"/>
                </a:cubicBezTo>
                <a:cubicBezTo>
                  <a:pt x="466" y="185"/>
                  <a:pt x="463" y="164"/>
                  <a:pt x="458" y="152"/>
                </a:cubicBezTo>
                <a:cubicBezTo>
                  <a:pt x="451" y="136"/>
                  <a:pt x="440" y="122"/>
                  <a:pt x="428" y="110"/>
                </a:cubicBezTo>
                <a:cubicBezTo>
                  <a:pt x="402" y="82"/>
                  <a:pt x="369" y="62"/>
                  <a:pt x="333" y="52"/>
                </a:cubicBezTo>
                <a:cubicBezTo>
                  <a:pt x="323" y="49"/>
                  <a:pt x="313" y="47"/>
                  <a:pt x="303" y="46"/>
                </a:cubicBezTo>
                <a:cubicBezTo>
                  <a:pt x="303" y="46"/>
                  <a:pt x="303" y="45"/>
                  <a:pt x="303" y="45"/>
                </a:cubicBezTo>
                <a:cubicBezTo>
                  <a:pt x="282" y="44"/>
                  <a:pt x="259" y="47"/>
                  <a:pt x="237" y="56"/>
                </a:cubicBezTo>
                <a:cubicBezTo>
                  <a:pt x="237" y="56"/>
                  <a:pt x="232" y="53"/>
                  <a:pt x="225" y="46"/>
                </a:cubicBezTo>
                <a:cubicBezTo>
                  <a:pt x="225" y="46"/>
                  <a:pt x="225" y="46"/>
                  <a:pt x="225" y="46"/>
                </a:cubicBezTo>
                <a:cubicBezTo>
                  <a:pt x="213" y="36"/>
                  <a:pt x="195" y="20"/>
                  <a:pt x="172" y="0"/>
                </a:cubicBezTo>
                <a:cubicBezTo>
                  <a:pt x="168" y="16"/>
                  <a:pt x="158" y="31"/>
                  <a:pt x="144" y="37"/>
                </a:cubicBezTo>
                <a:close/>
              </a:path>
            </a:pathLst>
          </a:custGeom>
          <a:gradFill>
            <a:gsLst>
              <a:gs pos="64000">
                <a:schemeClr val="accent1"/>
              </a:gs>
              <a:gs pos="31000">
                <a:schemeClr val="accent1">
                  <a:lumMod val="60000"/>
                  <a:lumOff val="40000"/>
                </a:schemeClr>
              </a:gs>
              <a:gs pos="0">
                <a:schemeClr val="accent1">
                  <a:lumMod val="40000"/>
                  <a:lumOff val="60000"/>
                </a:schemeClr>
              </a:gs>
            </a:gsLst>
            <a:path path="circle">
              <a:fillToRect r="100000" b="100000"/>
            </a:path>
          </a:gradFill>
          <a:ln w="25400">
            <a:noFill/>
            <a:miter lim="800000"/>
          </a:ln>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lumMod val="50000"/>
                  <a:lumOff val="50000"/>
                </a:prstClr>
              </a:solidFill>
              <a:effectLst/>
              <a:uLnTx/>
              <a:uFillTx/>
              <a:latin typeface="HarmonyOS Sans SC"/>
              <a:cs typeface="+mn-cs"/>
            </a:endParaRPr>
          </a:p>
        </p:txBody>
      </p:sp>
      <p:sp>
        <p:nvSpPr>
          <p:cNvPr id="6" name="Freeform 65">
            <a:extLst>
              <a:ext uri="{FF2B5EF4-FFF2-40B4-BE49-F238E27FC236}">
                <a16:creationId xmlns:a16="http://schemas.microsoft.com/office/drawing/2014/main" id="{AEF9DB12-6242-4474-8C72-1C52D535DFF9}"/>
              </a:ext>
            </a:extLst>
          </p:cNvPr>
          <p:cNvSpPr>
            <a:spLocks/>
          </p:cNvSpPr>
          <p:nvPr/>
        </p:nvSpPr>
        <p:spPr bwMode="auto">
          <a:xfrm rot="766448">
            <a:off x="4410313" y="2854577"/>
            <a:ext cx="926068" cy="1876034"/>
          </a:xfrm>
          <a:custGeom>
            <a:avLst/>
            <a:gdLst>
              <a:gd name="T0" fmla="*/ 531 w 585"/>
              <a:gd name="T1" fmla="*/ 460 h 1183"/>
              <a:gd name="T2" fmla="*/ 533 w 585"/>
              <a:gd name="T3" fmla="*/ 404 h 1183"/>
              <a:gd name="T4" fmla="*/ 426 w 585"/>
              <a:gd name="T5" fmla="*/ 439 h 1183"/>
              <a:gd name="T6" fmla="*/ 316 w 585"/>
              <a:gd name="T7" fmla="*/ 454 h 1183"/>
              <a:gd name="T8" fmla="*/ 121 w 585"/>
              <a:gd name="T9" fmla="*/ 470 h 1183"/>
              <a:gd name="T10" fmla="*/ 212 w 585"/>
              <a:gd name="T11" fmla="*/ 203 h 1183"/>
              <a:gd name="T12" fmla="*/ 303 w 585"/>
              <a:gd name="T13" fmla="*/ 60 h 1183"/>
              <a:gd name="T14" fmla="*/ 224 w 585"/>
              <a:gd name="T15" fmla="*/ 0 h 1183"/>
              <a:gd name="T16" fmla="*/ 86 w 585"/>
              <a:gd name="T17" fmla="*/ 239 h 1183"/>
              <a:gd name="T18" fmla="*/ 12 w 585"/>
              <a:gd name="T19" fmla="*/ 519 h 1183"/>
              <a:gd name="T20" fmla="*/ 20 w 585"/>
              <a:gd name="T21" fmla="*/ 828 h 1183"/>
              <a:gd name="T22" fmla="*/ 106 w 585"/>
              <a:gd name="T23" fmla="*/ 1102 h 1183"/>
              <a:gd name="T24" fmla="*/ 149 w 585"/>
              <a:gd name="T25" fmla="*/ 1183 h 1183"/>
              <a:gd name="T26" fmla="*/ 235 w 585"/>
              <a:gd name="T27" fmla="*/ 1132 h 1183"/>
              <a:gd name="T28" fmla="*/ 130 w 585"/>
              <a:gd name="T29" fmla="*/ 867 h 1183"/>
              <a:gd name="T30" fmla="*/ 106 w 585"/>
              <a:gd name="T31" fmla="*/ 699 h 1183"/>
              <a:gd name="T32" fmla="*/ 381 w 585"/>
              <a:gd name="T33" fmla="*/ 655 h 1183"/>
              <a:gd name="T34" fmla="*/ 471 w 585"/>
              <a:gd name="T35" fmla="*/ 634 h 1183"/>
              <a:gd name="T36" fmla="*/ 582 w 585"/>
              <a:gd name="T37" fmla="*/ 592 h 1183"/>
              <a:gd name="T38" fmla="*/ 585 w 585"/>
              <a:gd name="T39" fmla="*/ 591 h 1183"/>
              <a:gd name="T40" fmla="*/ 531 w 585"/>
              <a:gd name="T41" fmla="*/ 460 h 1183"/>
              <a:gd name="T42" fmla="*/ 531 w 585"/>
              <a:gd name="T43" fmla="*/ 460 h 1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85" h="1183">
                <a:moveTo>
                  <a:pt x="531" y="460"/>
                </a:moveTo>
                <a:cubicBezTo>
                  <a:pt x="528" y="434"/>
                  <a:pt x="529" y="416"/>
                  <a:pt x="533" y="404"/>
                </a:cubicBezTo>
                <a:cubicBezTo>
                  <a:pt x="498" y="418"/>
                  <a:pt x="463" y="432"/>
                  <a:pt x="426" y="439"/>
                </a:cubicBezTo>
                <a:cubicBezTo>
                  <a:pt x="389" y="446"/>
                  <a:pt x="353" y="450"/>
                  <a:pt x="316" y="454"/>
                </a:cubicBezTo>
                <a:cubicBezTo>
                  <a:pt x="251" y="461"/>
                  <a:pt x="186" y="466"/>
                  <a:pt x="121" y="470"/>
                </a:cubicBezTo>
                <a:cubicBezTo>
                  <a:pt x="138" y="377"/>
                  <a:pt x="169" y="287"/>
                  <a:pt x="212" y="203"/>
                </a:cubicBezTo>
                <a:cubicBezTo>
                  <a:pt x="238" y="153"/>
                  <a:pt x="269" y="105"/>
                  <a:pt x="303" y="60"/>
                </a:cubicBezTo>
                <a:cubicBezTo>
                  <a:pt x="224" y="0"/>
                  <a:pt x="224" y="0"/>
                  <a:pt x="224" y="0"/>
                </a:cubicBezTo>
                <a:cubicBezTo>
                  <a:pt x="168" y="73"/>
                  <a:pt x="121" y="153"/>
                  <a:pt x="86" y="239"/>
                </a:cubicBezTo>
                <a:cubicBezTo>
                  <a:pt x="49" y="328"/>
                  <a:pt x="24" y="423"/>
                  <a:pt x="12" y="519"/>
                </a:cubicBezTo>
                <a:cubicBezTo>
                  <a:pt x="0" y="622"/>
                  <a:pt x="3" y="726"/>
                  <a:pt x="20" y="828"/>
                </a:cubicBezTo>
                <a:cubicBezTo>
                  <a:pt x="36" y="923"/>
                  <a:pt x="65" y="1015"/>
                  <a:pt x="106" y="1102"/>
                </a:cubicBezTo>
                <a:cubicBezTo>
                  <a:pt x="119" y="1130"/>
                  <a:pt x="134" y="1156"/>
                  <a:pt x="149" y="1183"/>
                </a:cubicBezTo>
                <a:cubicBezTo>
                  <a:pt x="235" y="1132"/>
                  <a:pt x="235" y="1132"/>
                  <a:pt x="235" y="1132"/>
                </a:cubicBezTo>
                <a:cubicBezTo>
                  <a:pt x="187" y="1050"/>
                  <a:pt x="152" y="960"/>
                  <a:pt x="130" y="867"/>
                </a:cubicBezTo>
                <a:cubicBezTo>
                  <a:pt x="117" y="812"/>
                  <a:pt x="109" y="756"/>
                  <a:pt x="106" y="699"/>
                </a:cubicBezTo>
                <a:cubicBezTo>
                  <a:pt x="198" y="686"/>
                  <a:pt x="290" y="672"/>
                  <a:pt x="381" y="655"/>
                </a:cubicBezTo>
                <a:cubicBezTo>
                  <a:pt x="411" y="649"/>
                  <a:pt x="442" y="643"/>
                  <a:pt x="471" y="634"/>
                </a:cubicBezTo>
                <a:cubicBezTo>
                  <a:pt x="509" y="624"/>
                  <a:pt x="546" y="607"/>
                  <a:pt x="582" y="592"/>
                </a:cubicBezTo>
                <a:cubicBezTo>
                  <a:pt x="583" y="592"/>
                  <a:pt x="584" y="591"/>
                  <a:pt x="585" y="591"/>
                </a:cubicBezTo>
                <a:cubicBezTo>
                  <a:pt x="548" y="565"/>
                  <a:pt x="540" y="532"/>
                  <a:pt x="531" y="460"/>
                </a:cubicBezTo>
                <a:cubicBezTo>
                  <a:pt x="528" y="434"/>
                  <a:pt x="540" y="532"/>
                  <a:pt x="531" y="460"/>
                </a:cubicBezTo>
                <a:close/>
              </a:path>
            </a:pathLst>
          </a:custGeom>
          <a:gradFill flip="none" rotWithShape="1">
            <a:gsLst>
              <a:gs pos="73000">
                <a:schemeClr val="accent1"/>
              </a:gs>
              <a:gs pos="31000">
                <a:schemeClr val="accent1">
                  <a:lumMod val="60000"/>
                  <a:lumOff val="40000"/>
                </a:schemeClr>
              </a:gs>
              <a:gs pos="0">
                <a:schemeClr val="accent1">
                  <a:lumMod val="40000"/>
                  <a:lumOff val="60000"/>
                </a:schemeClr>
              </a:gs>
            </a:gsLst>
            <a:lin ang="10800000" scaled="1"/>
            <a:tileRect/>
          </a:gradFill>
          <a:ln w="25400">
            <a:noFill/>
            <a:miter lim="800000"/>
          </a:ln>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lumMod val="50000"/>
                  <a:lumOff val="50000"/>
                </a:prstClr>
              </a:solidFill>
              <a:effectLst/>
              <a:uLnTx/>
              <a:uFillTx/>
              <a:latin typeface="HarmonyOS Sans SC"/>
              <a:cs typeface="+mn-cs"/>
            </a:endParaRPr>
          </a:p>
        </p:txBody>
      </p:sp>
      <p:sp>
        <p:nvSpPr>
          <p:cNvPr id="7" name="Freeform 66">
            <a:extLst>
              <a:ext uri="{FF2B5EF4-FFF2-40B4-BE49-F238E27FC236}">
                <a16:creationId xmlns:a16="http://schemas.microsoft.com/office/drawing/2014/main" id="{3EA191B8-2F01-49A7-B123-7C50A96DD1D3}"/>
              </a:ext>
            </a:extLst>
          </p:cNvPr>
          <p:cNvSpPr>
            <a:spLocks/>
          </p:cNvSpPr>
          <p:nvPr/>
        </p:nvSpPr>
        <p:spPr bwMode="auto">
          <a:xfrm rot="766448">
            <a:off x="5878829" y="3257620"/>
            <a:ext cx="746829" cy="633311"/>
          </a:xfrm>
          <a:custGeom>
            <a:avLst/>
            <a:gdLst>
              <a:gd name="T0" fmla="*/ 20 w 471"/>
              <a:gd name="T1" fmla="*/ 294 h 400"/>
              <a:gd name="T2" fmla="*/ 23 w 471"/>
              <a:gd name="T3" fmla="*/ 341 h 400"/>
              <a:gd name="T4" fmla="*/ 26 w 471"/>
              <a:gd name="T5" fmla="*/ 384 h 400"/>
              <a:gd name="T6" fmla="*/ 111 w 471"/>
              <a:gd name="T7" fmla="*/ 344 h 400"/>
              <a:gd name="T8" fmla="*/ 254 w 471"/>
              <a:gd name="T9" fmla="*/ 378 h 400"/>
              <a:gd name="T10" fmla="*/ 297 w 471"/>
              <a:gd name="T11" fmla="*/ 358 h 400"/>
              <a:gd name="T12" fmla="*/ 327 w 471"/>
              <a:gd name="T13" fmla="*/ 345 h 400"/>
              <a:gd name="T14" fmla="*/ 371 w 471"/>
              <a:gd name="T15" fmla="*/ 326 h 400"/>
              <a:gd name="T16" fmla="*/ 441 w 471"/>
              <a:gd name="T17" fmla="*/ 295 h 400"/>
              <a:gd name="T18" fmla="*/ 470 w 471"/>
              <a:gd name="T19" fmla="*/ 244 h 400"/>
              <a:gd name="T20" fmla="*/ 459 w 471"/>
              <a:gd name="T21" fmla="*/ 223 h 400"/>
              <a:gd name="T22" fmla="*/ 439 w 471"/>
              <a:gd name="T23" fmla="*/ 213 h 400"/>
              <a:gd name="T24" fmla="*/ 431 w 471"/>
              <a:gd name="T25" fmla="*/ 201 h 400"/>
              <a:gd name="T26" fmla="*/ 434 w 471"/>
              <a:gd name="T27" fmla="*/ 172 h 400"/>
              <a:gd name="T28" fmla="*/ 421 w 471"/>
              <a:gd name="T29" fmla="*/ 150 h 400"/>
              <a:gd name="T30" fmla="*/ 401 w 471"/>
              <a:gd name="T31" fmla="*/ 141 h 400"/>
              <a:gd name="T32" fmla="*/ 397 w 471"/>
              <a:gd name="T33" fmla="*/ 96 h 400"/>
              <a:gd name="T34" fmla="*/ 364 w 471"/>
              <a:gd name="T35" fmla="*/ 67 h 400"/>
              <a:gd name="T36" fmla="*/ 353 w 471"/>
              <a:gd name="T37" fmla="*/ 57 h 400"/>
              <a:gd name="T38" fmla="*/ 355 w 471"/>
              <a:gd name="T39" fmla="*/ 40 h 400"/>
              <a:gd name="T40" fmla="*/ 328 w 471"/>
              <a:gd name="T41" fmla="*/ 4 h 400"/>
              <a:gd name="T42" fmla="*/ 289 w 471"/>
              <a:gd name="T43" fmla="*/ 5 h 400"/>
              <a:gd name="T44" fmla="*/ 229 w 471"/>
              <a:gd name="T45" fmla="*/ 32 h 400"/>
              <a:gd name="T46" fmla="*/ 207 w 471"/>
              <a:gd name="T47" fmla="*/ 5 h 400"/>
              <a:gd name="T48" fmla="*/ 150 w 471"/>
              <a:gd name="T49" fmla="*/ 19 h 400"/>
              <a:gd name="T50" fmla="*/ 78 w 471"/>
              <a:gd name="T51" fmla="*/ 74 h 400"/>
              <a:gd name="T52" fmla="*/ 40 w 471"/>
              <a:gd name="T53" fmla="*/ 167 h 400"/>
              <a:gd name="T54" fmla="*/ 0 w 471"/>
              <a:gd name="T55" fmla="*/ 187 h 400"/>
              <a:gd name="T56" fmla="*/ 15 w 471"/>
              <a:gd name="T57" fmla="*/ 218 h 400"/>
              <a:gd name="T58" fmla="*/ 20 w 471"/>
              <a:gd name="T59" fmla="*/ 29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71" h="400">
                <a:moveTo>
                  <a:pt x="20" y="294"/>
                </a:moveTo>
                <a:cubicBezTo>
                  <a:pt x="23" y="341"/>
                  <a:pt x="23" y="341"/>
                  <a:pt x="23" y="341"/>
                </a:cubicBezTo>
                <a:cubicBezTo>
                  <a:pt x="26" y="384"/>
                  <a:pt x="26" y="384"/>
                  <a:pt x="26" y="384"/>
                </a:cubicBezTo>
                <a:cubicBezTo>
                  <a:pt x="77" y="360"/>
                  <a:pt x="111" y="344"/>
                  <a:pt x="111" y="344"/>
                </a:cubicBezTo>
                <a:cubicBezTo>
                  <a:pt x="145" y="382"/>
                  <a:pt x="203" y="400"/>
                  <a:pt x="254" y="378"/>
                </a:cubicBezTo>
                <a:cubicBezTo>
                  <a:pt x="297" y="358"/>
                  <a:pt x="297" y="358"/>
                  <a:pt x="297" y="358"/>
                </a:cubicBezTo>
                <a:cubicBezTo>
                  <a:pt x="327" y="345"/>
                  <a:pt x="327" y="345"/>
                  <a:pt x="327" y="345"/>
                </a:cubicBezTo>
                <a:cubicBezTo>
                  <a:pt x="371" y="326"/>
                  <a:pt x="371" y="326"/>
                  <a:pt x="371" y="326"/>
                </a:cubicBezTo>
                <a:cubicBezTo>
                  <a:pt x="441" y="295"/>
                  <a:pt x="441" y="295"/>
                  <a:pt x="441" y="295"/>
                </a:cubicBezTo>
                <a:cubicBezTo>
                  <a:pt x="460" y="287"/>
                  <a:pt x="471" y="264"/>
                  <a:pt x="470" y="244"/>
                </a:cubicBezTo>
                <a:cubicBezTo>
                  <a:pt x="470" y="235"/>
                  <a:pt x="467" y="228"/>
                  <a:pt x="459" y="223"/>
                </a:cubicBezTo>
                <a:cubicBezTo>
                  <a:pt x="453" y="219"/>
                  <a:pt x="446" y="216"/>
                  <a:pt x="439" y="213"/>
                </a:cubicBezTo>
                <a:cubicBezTo>
                  <a:pt x="434" y="210"/>
                  <a:pt x="431" y="208"/>
                  <a:pt x="431" y="201"/>
                </a:cubicBezTo>
                <a:cubicBezTo>
                  <a:pt x="432" y="191"/>
                  <a:pt x="435" y="182"/>
                  <a:pt x="434" y="172"/>
                </a:cubicBezTo>
                <a:cubicBezTo>
                  <a:pt x="433" y="163"/>
                  <a:pt x="429" y="155"/>
                  <a:pt x="421" y="150"/>
                </a:cubicBezTo>
                <a:cubicBezTo>
                  <a:pt x="414" y="146"/>
                  <a:pt x="407" y="144"/>
                  <a:pt x="401" y="141"/>
                </a:cubicBezTo>
                <a:cubicBezTo>
                  <a:pt x="385" y="131"/>
                  <a:pt x="399" y="110"/>
                  <a:pt x="397" y="96"/>
                </a:cubicBezTo>
                <a:cubicBezTo>
                  <a:pt x="395" y="79"/>
                  <a:pt x="378" y="74"/>
                  <a:pt x="364" y="67"/>
                </a:cubicBezTo>
                <a:cubicBezTo>
                  <a:pt x="360" y="65"/>
                  <a:pt x="354" y="63"/>
                  <a:pt x="353" y="57"/>
                </a:cubicBezTo>
                <a:cubicBezTo>
                  <a:pt x="352" y="52"/>
                  <a:pt x="355" y="46"/>
                  <a:pt x="355" y="40"/>
                </a:cubicBezTo>
                <a:cubicBezTo>
                  <a:pt x="356" y="22"/>
                  <a:pt x="344" y="8"/>
                  <a:pt x="328" y="4"/>
                </a:cubicBezTo>
                <a:cubicBezTo>
                  <a:pt x="316" y="0"/>
                  <a:pt x="301" y="0"/>
                  <a:pt x="289" y="5"/>
                </a:cubicBezTo>
                <a:cubicBezTo>
                  <a:pt x="229" y="32"/>
                  <a:pt x="229" y="32"/>
                  <a:pt x="229" y="32"/>
                </a:cubicBezTo>
                <a:cubicBezTo>
                  <a:pt x="233" y="18"/>
                  <a:pt x="219" y="7"/>
                  <a:pt x="207" y="5"/>
                </a:cubicBezTo>
                <a:cubicBezTo>
                  <a:pt x="187" y="1"/>
                  <a:pt x="167" y="10"/>
                  <a:pt x="150" y="19"/>
                </a:cubicBezTo>
                <a:cubicBezTo>
                  <a:pt x="124" y="34"/>
                  <a:pt x="98" y="51"/>
                  <a:pt x="78" y="74"/>
                </a:cubicBezTo>
                <a:cubicBezTo>
                  <a:pt x="55" y="100"/>
                  <a:pt x="41" y="133"/>
                  <a:pt x="40" y="167"/>
                </a:cubicBezTo>
                <a:cubicBezTo>
                  <a:pt x="40" y="167"/>
                  <a:pt x="25" y="175"/>
                  <a:pt x="0" y="187"/>
                </a:cubicBezTo>
                <a:cubicBezTo>
                  <a:pt x="8" y="195"/>
                  <a:pt x="14" y="207"/>
                  <a:pt x="15" y="218"/>
                </a:cubicBezTo>
                <a:lnTo>
                  <a:pt x="20" y="294"/>
                </a:lnTo>
                <a:close/>
              </a:path>
            </a:pathLst>
          </a:custGeom>
          <a:gradFill>
            <a:gsLst>
              <a:gs pos="64000">
                <a:schemeClr val="accent1"/>
              </a:gs>
              <a:gs pos="31000">
                <a:schemeClr val="accent1">
                  <a:lumMod val="60000"/>
                  <a:lumOff val="40000"/>
                </a:schemeClr>
              </a:gs>
              <a:gs pos="0">
                <a:schemeClr val="accent1">
                  <a:lumMod val="40000"/>
                  <a:lumOff val="60000"/>
                </a:schemeClr>
              </a:gs>
            </a:gsLst>
            <a:path path="circle">
              <a:fillToRect r="100000" b="100000"/>
            </a:path>
          </a:gradFill>
          <a:ln w="25400">
            <a:noFill/>
            <a:miter lim="800000"/>
          </a:ln>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lumMod val="50000"/>
                  <a:lumOff val="50000"/>
                </a:prstClr>
              </a:solidFill>
              <a:effectLst/>
              <a:uLnTx/>
              <a:uFillTx/>
              <a:latin typeface="HarmonyOS Sans SC"/>
              <a:cs typeface="+mn-cs"/>
            </a:endParaRPr>
          </a:p>
        </p:txBody>
      </p:sp>
      <p:sp>
        <p:nvSpPr>
          <p:cNvPr id="8" name="Freeform 68">
            <a:extLst>
              <a:ext uri="{FF2B5EF4-FFF2-40B4-BE49-F238E27FC236}">
                <a16:creationId xmlns:a16="http://schemas.microsoft.com/office/drawing/2014/main" id="{D5D8852F-8768-4E40-9A4A-4E9F52BE5BA5}"/>
              </a:ext>
            </a:extLst>
          </p:cNvPr>
          <p:cNvSpPr>
            <a:spLocks/>
          </p:cNvSpPr>
          <p:nvPr/>
        </p:nvSpPr>
        <p:spPr bwMode="auto">
          <a:xfrm rot="766448">
            <a:off x="5259164" y="3379087"/>
            <a:ext cx="599455" cy="868313"/>
          </a:xfrm>
          <a:custGeom>
            <a:avLst/>
            <a:gdLst>
              <a:gd name="T0" fmla="*/ 150 w 379"/>
              <a:gd name="T1" fmla="*/ 525 h 548"/>
              <a:gd name="T2" fmla="*/ 226 w 379"/>
              <a:gd name="T3" fmla="*/ 536 h 548"/>
              <a:gd name="T4" fmla="*/ 273 w 379"/>
              <a:gd name="T5" fmla="*/ 543 h 548"/>
              <a:gd name="T6" fmla="*/ 309 w 379"/>
              <a:gd name="T7" fmla="*/ 548 h 548"/>
              <a:gd name="T8" fmla="*/ 294 w 379"/>
              <a:gd name="T9" fmla="*/ 374 h 548"/>
              <a:gd name="T10" fmla="*/ 375 w 379"/>
              <a:gd name="T11" fmla="*/ 252 h 548"/>
              <a:gd name="T12" fmla="*/ 373 w 379"/>
              <a:gd name="T13" fmla="*/ 214 h 548"/>
              <a:gd name="T14" fmla="*/ 370 w 379"/>
              <a:gd name="T15" fmla="*/ 171 h 548"/>
              <a:gd name="T16" fmla="*/ 367 w 379"/>
              <a:gd name="T17" fmla="*/ 124 h 548"/>
              <a:gd name="T18" fmla="*/ 362 w 379"/>
              <a:gd name="T19" fmla="*/ 48 h 548"/>
              <a:gd name="T20" fmla="*/ 322 w 379"/>
              <a:gd name="T21" fmla="*/ 2 h 548"/>
              <a:gd name="T22" fmla="*/ 299 w 379"/>
              <a:gd name="T23" fmla="*/ 7 h 548"/>
              <a:gd name="T24" fmla="*/ 282 w 379"/>
              <a:gd name="T25" fmla="*/ 23 h 548"/>
              <a:gd name="T26" fmla="*/ 268 w 379"/>
              <a:gd name="T27" fmla="*/ 23 h 548"/>
              <a:gd name="T28" fmla="*/ 247 w 379"/>
              <a:gd name="T29" fmla="*/ 13 h 548"/>
              <a:gd name="T30" fmla="*/ 222 w 379"/>
              <a:gd name="T31" fmla="*/ 14 h 548"/>
              <a:gd name="T32" fmla="*/ 206 w 379"/>
              <a:gd name="T33" fmla="*/ 30 h 548"/>
              <a:gd name="T34" fmla="*/ 188 w 379"/>
              <a:gd name="T35" fmla="*/ 35 h 548"/>
              <a:gd name="T36" fmla="*/ 170 w 379"/>
              <a:gd name="T37" fmla="*/ 24 h 548"/>
              <a:gd name="T38" fmla="*/ 146 w 379"/>
              <a:gd name="T39" fmla="*/ 20 h 548"/>
              <a:gd name="T40" fmla="*/ 128 w 379"/>
              <a:gd name="T41" fmla="*/ 35 h 548"/>
              <a:gd name="T42" fmla="*/ 112 w 379"/>
              <a:gd name="T43" fmla="*/ 48 h 548"/>
              <a:gd name="T44" fmla="*/ 100 w 379"/>
              <a:gd name="T45" fmla="*/ 44 h 548"/>
              <a:gd name="T46" fmla="*/ 56 w 379"/>
              <a:gd name="T47" fmla="*/ 46 h 548"/>
              <a:gd name="T48" fmla="*/ 38 w 379"/>
              <a:gd name="T49" fmla="*/ 90 h 548"/>
              <a:gd name="T50" fmla="*/ 42 w 379"/>
              <a:gd name="T51" fmla="*/ 148 h 548"/>
              <a:gd name="T52" fmla="*/ 20 w 379"/>
              <a:gd name="T53" fmla="*/ 149 h 548"/>
              <a:gd name="T54" fmla="*/ 1 w 379"/>
              <a:gd name="T55" fmla="*/ 189 h 548"/>
              <a:gd name="T56" fmla="*/ 7 w 379"/>
              <a:gd name="T57" fmla="*/ 254 h 548"/>
              <a:gd name="T58" fmla="*/ 18 w 379"/>
              <a:gd name="T59" fmla="*/ 304 h 548"/>
              <a:gd name="T60" fmla="*/ 43 w 379"/>
              <a:gd name="T61" fmla="*/ 345 h 548"/>
              <a:gd name="T62" fmla="*/ 104 w 379"/>
              <a:gd name="T63" fmla="*/ 380 h 548"/>
              <a:gd name="T64" fmla="*/ 118 w 379"/>
              <a:gd name="T65" fmla="*/ 532 h 548"/>
              <a:gd name="T66" fmla="*/ 150 w 379"/>
              <a:gd name="T67" fmla="*/ 525 h 5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79" h="548">
                <a:moveTo>
                  <a:pt x="150" y="525"/>
                </a:moveTo>
                <a:cubicBezTo>
                  <a:pt x="226" y="536"/>
                  <a:pt x="226" y="536"/>
                  <a:pt x="226" y="536"/>
                </a:cubicBezTo>
                <a:cubicBezTo>
                  <a:pt x="273" y="543"/>
                  <a:pt x="273" y="543"/>
                  <a:pt x="273" y="543"/>
                </a:cubicBezTo>
                <a:cubicBezTo>
                  <a:pt x="309" y="548"/>
                  <a:pt x="309" y="548"/>
                  <a:pt x="309" y="548"/>
                </a:cubicBezTo>
                <a:cubicBezTo>
                  <a:pt x="301" y="451"/>
                  <a:pt x="294" y="374"/>
                  <a:pt x="294" y="374"/>
                </a:cubicBezTo>
                <a:cubicBezTo>
                  <a:pt x="342" y="355"/>
                  <a:pt x="379" y="307"/>
                  <a:pt x="375" y="252"/>
                </a:cubicBezTo>
                <a:cubicBezTo>
                  <a:pt x="373" y="214"/>
                  <a:pt x="373" y="214"/>
                  <a:pt x="373" y="214"/>
                </a:cubicBezTo>
                <a:cubicBezTo>
                  <a:pt x="370" y="171"/>
                  <a:pt x="370" y="171"/>
                  <a:pt x="370" y="171"/>
                </a:cubicBezTo>
                <a:cubicBezTo>
                  <a:pt x="367" y="124"/>
                  <a:pt x="367" y="124"/>
                  <a:pt x="367" y="124"/>
                </a:cubicBezTo>
                <a:cubicBezTo>
                  <a:pt x="362" y="48"/>
                  <a:pt x="362" y="48"/>
                  <a:pt x="362" y="48"/>
                </a:cubicBezTo>
                <a:cubicBezTo>
                  <a:pt x="361" y="26"/>
                  <a:pt x="342" y="7"/>
                  <a:pt x="322" y="2"/>
                </a:cubicBezTo>
                <a:cubicBezTo>
                  <a:pt x="313" y="0"/>
                  <a:pt x="306" y="1"/>
                  <a:pt x="299" y="7"/>
                </a:cubicBezTo>
                <a:cubicBezTo>
                  <a:pt x="293" y="12"/>
                  <a:pt x="288" y="18"/>
                  <a:pt x="282" y="23"/>
                </a:cubicBezTo>
                <a:cubicBezTo>
                  <a:pt x="277" y="27"/>
                  <a:pt x="274" y="26"/>
                  <a:pt x="268" y="23"/>
                </a:cubicBezTo>
                <a:cubicBezTo>
                  <a:pt x="261" y="19"/>
                  <a:pt x="254" y="15"/>
                  <a:pt x="247" y="13"/>
                </a:cubicBezTo>
                <a:cubicBezTo>
                  <a:pt x="238" y="10"/>
                  <a:pt x="229" y="10"/>
                  <a:pt x="222" y="14"/>
                </a:cubicBezTo>
                <a:cubicBezTo>
                  <a:pt x="215" y="19"/>
                  <a:pt x="211" y="25"/>
                  <a:pt x="206" y="30"/>
                </a:cubicBezTo>
                <a:cubicBezTo>
                  <a:pt x="201" y="35"/>
                  <a:pt x="195" y="37"/>
                  <a:pt x="188" y="35"/>
                </a:cubicBezTo>
                <a:cubicBezTo>
                  <a:pt x="181" y="33"/>
                  <a:pt x="176" y="28"/>
                  <a:pt x="170" y="24"/>
                </a:cubicBezTo>
                <a:cubicBezTo>
                  <a:pt x="163" y="20"/>
                  <a:pt x="154" y="18"/>
                  <a:pt x="146" y="20"/>
                </a:cubicBezTo>
                <a:cubicBezTo>
                  <a:pt x="139" y="23"/>
                  <a:pt x="133" y="30"/>
                  <a:pt x="128" y="35"/>
                </a:cubicBezTo>
                <a:cubicBezTo>
                  <a:pt x="123" y="39"/>
                  <a:pt x="118" y="46"/>
                  <a:pt x="112" y="48"/>
                </a:cubicBezTo>
                <a:cubicBezTo>
                  <a:pt x="108" y="50"/>
                  <a:pt x="103" y="46"/>
                  <a:pt x="100" y="44"/>
                </a:cubicBezTo>
                <a:cubicBezTo>
                  <a:pt x="86" y="35"/>
                  <a:pt x="69" y="35"/>
                  <a:pt x="56" y="46"/>
                </a:cubicBezTo>
                <a:cubicBezTo>
                  <a:pt x="45" y="56"/>
                  <a:pt x="37" y="74"/>
                  <a:pt x="38" y="90"/>
                </a:cubicBezTo>
                <a:cubicBezTo>
                  <a:pt x="42" y="148"/>
                  <a:pt x="42" y="148"/>
                  <a:pt x="42" y="148"/>
                </a:cubicBezTo>
                <a:cubicBezTo>
                  <a:pt x="35" y="146"/>
                  <a:pt x="27" y="146"/>
                  <a:pt x="20" y="149"/>
                </a:cubicBezTo>
                <a:cubicBezTo>
                  <a:pt x="6" y="156"/>
                  <a:pt x="2" y="174"/>
                  <a:pt x="1" y="189"/>
                </a:cubicBezTo>
                <a:cubicBezTo>
                  <a:pt x="0" y="210"/>
                  <a:pt x="3" y="232"/>
                  <a:pt x="7" y="254"/>
                </a:cubicBezTo>
                <a:cubicBezTo>
                  <a:pt x="9" y="271"/>
                  <a:pt x="12" y="288"/>
                  <a:pt x="18" y="304"/>
                </a:cubicBezTo>
                <a:cubicBezTo>
                  <a:pt x="23" y="319"/>
                  <a:pt x="31" y="334"/>
                  <a:pt x="43" y="345"/>
                </a:cubicBezTo>
                <a:cubicBezTo>
                  <a:pt x="60" y="361"/>
                  <a:pt x="83" y="371"/>
                  <a:pt x="104" y="380"/>
                </a:cubicBezTo>
                <a:cubicBezTo>
                  <a:pt x="104" y="380"/>
                  <a:pt x="111" y="446"/>
                  <a:pt x="118" y="532"/>
                </a:cubicBezTo>
                <a:cubicBezTo>
                  <a:pt x="128" y="526"/>
                  <a:pt x="140" y="523"/>
                  <a:pt x="150" y="525"/>
                </a:cubicBezTo>
                <a:close/>
              </a:path>
            </a:pathLst>
          </a:custGeom>
          <a:gradFill>
            <a:gsLst>
              <a:gs pos="64000">
                <a:schemeClr val="accent1"/>
              </a:gs>
              <a:gs pos="31000">
                <a:schemeClr val="accent1">
                  <a:lumMod val="60000"/>
                  <a:lumOff val="40000"/>
                </a:schemeClr>
              </a:gs>
              <a:gs pos="0">
                <a:schemeClr val="accent1">
                  <a:lumMod val="40000"/>
                  <a:lumOff val="60000"/>
                </a:schemeClr>
              </a:gs>
            </a:gsLst>
            <a:path path="circle">
              <a:fillToRect r="100000" b="100000"/>
            </a:path>
          </a:gradFill>
          <a:ln w="25400">
            <a:noFill/>
            <a:miter lim="800000"/>
          </a:ln>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lumMod val="50000"/>
                  <a:lumOff val="50000"/>
                </a:prstClr>
              </a:solidFill>
              <a:effectLst/>
              <a:uLnTx/>
              <a:uFillTx/>
              <a:latin typeface="HarmonyOS Sans SC"/>
              <a:cs typeface="+mn-cs"/>
            </a:endParaRPr>
          </a:p>
        </p:txBody>
      </p:sp>
      <p:sp>
        <p:nvSpPr>
          <p:cNvPr id="9" name="Freeform 69">
            <a:extLst>
              <a:ext uri="{FF2B5EF4-FFF2-40B4-BE49-F238E27FC236}">
                <a16:creationId xmlns:a16="http://schemas.microsoft.com/office/drawing/2014/main" id="{A69DEB06-FBB0-404C-B843-12EDA620CB05}"/>
              </a:ext>
            </a:extLst>
          </p:cNvPr>
          <p:cNvSpPr>
            <a:spLocks/>
          </p:cNvSpPr>
          <p:nvPr/>
        </p:nvSpPr>
        <p:spPr bwMode="auto">
          <a:xfrm rot="766448">
            <a:off x="4410865" y="4745089"/>
            <a:ext cx="1726669" cy="953949"/>
          </a:xfrm>
          <a:custGeom>
            <a:avLst/>
            <a:gdLst>
              <a:gd name="T0" fmla="*/ 582 w 1090"/>
              <a:gd name="T1" fmla="*/ 33 h 601"/>
              <a:gd name="T2" fmla="*/ 467 w 1090"/>
              <a:gd name="T3" fmla="*/ 0 h 601"/>
              <a:gd name="T4" fmla="*/ 452 w 1090"/>
              <a:gd name="T5" fmla="*/ 89 h 601"/>
              <a:gd name="T6" fmla="*/ 419 w 1090"/>
              <a:gd name="T7" fmla="*/ 218 h 601"/>
              <a:gd name="T8" fmla="*/ 378 w 1090"/>
              <a:gd name="T9" fmla="*/ 360 h 601"/>
              <a:gd name="T10" fmla="*/ 82 w 1090"/>
              <a:gd name="T11" fmla="*/ 82 h 601"/>
              <a:gd name="T12" fmla="*/ 80 w 1090"/>
              <a:gd name="T13" fmla="*/ 84 h 601"/>
              <a:gd name="T14" fmla="*/ 0 w 1090"/>
              <a:gd name="T15" fmla="*/ 139 h 601"/>
              <a:gd name="T16" fmla="*/ 163 w 1090"/>
              <a:gd name="T17" fmla="*/ 324 h 601"/>
              <a:gd name="T18" fmla="*/ 359 w 1090"/>
              <a:gd name="T19" fmla="*/ 464 h 601"/>
              <a:gd name="T20" fmla="*/ 581 w 1090"/>
              <a:gd name="T21" fmla="*/ 556 h 601"/>
              <a:gd name="T22" fmla="*/ 818 w 1090"/>
              <a:gd name="T23" fmla="*/ 597 h 601"/>
              <a:gd name="T24" fmla="*/ 1090 w 1090"/>
              <a:gd name="T25" fmla="*/ 576 h 601"/>
              <a:gd name="T26" fmla="*/ 1070 w 1090"/>
              <a:gd name="T27" fmla="*/ 478 h 601"/>
              <a:gd name="T28" fmla="*/ 1066 w 1090"/>
              <a:gd name="T29" fmla="*/ 479 h 601"/>
              <a:gd name="T30" fmla="*/ 1066 w 1090"/>
              <a:gd name="T31" fmla="*/ 478 h 601"/>
              <a:gd name="T32" fmla="*/ 758 w 1090"/>
              <a:gd name="T33" fmla="*/ 491 h 601"/>
              <a:gd name="T34" fmla="*/ 591 w 1090"/>
              <a:gd name="T35" fmla="*/ 455 h 601"/>
              <a:gd name="T36" fmla="*/ 644 w 1090"/>
              <a:gd name="T37" fmla="*/ 187 h 601"/>
              <a:gd name="T38" fmla="*/ 664 w 1090"/>
              <a:gd name="T39" fmla="*/ 28 h 601"/>
              <a:gd name="T40" fmla="*/ 582 w 1090"/>
              <a:gd name="T41" fmla="*/ 33 h 601"/>
              <a:gd name="T42" fmla="*/ 582 w 1090"/>
              <a:gd name="T43" fmla="*/ 33 h 6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90" h="601">
                <a:moveTo>
                  <a:pt x="582" y="33"/>
                </a:moveTo>
                <a:cubicBezTo>
                  <a:pt x="506" y="28"/>
                  <a:pt x="476" y="14"/>
                  <a:pt x="467" y="0"/>
                </a:cubicBezTo>
                <a:cubicBezTo>
                  <a:pt x="466" y="30"/>
                  <a:pt x="459" y="60"/>
                  <a:pt x="452" y="89"/>
                </a:cubicBezTo>
                <a:cubicBezTo>
                  <a:pt x="442" y="133"/>
                  <a:pt x="431" y="176"/>
                  <a:pt x="419" y="218"/>
                </a:cubicBezTo>
                <a:cubicBezTo>
                  <a:pt x="406" y="266"/>
                  <a:pt x="392" y="313"/>
                  <a:pt x="378" y="360"/>
                </a:cubicBezTo>
                <a:cubicBezTo>
                  <a:pt x="263" y="291"/>
                  <a:pt x="162" y="197"/>
                  <a:pt x="82" y="82"/>
                </a:cubicBezTo>
                <a:cubicBezTo>
                  <a:pt x="80" y="84"/>
                  <a:pt x="80" y="84"/>
                  <a:pt x="80" y="84"/>
                </a:cubicBezTo>
                <a:cubicBezTo>
                  <a:pt x="0" y="139"/>
                  <a:pt x="0" y="139"/>
                  <a:pt x="0" y="139"/>
                </a:cubicBezTo>
                <a:cubicBezTo>
                  <a:pt x="47" y="207"/>
                  <a:pt x="102" y="269"/>
                  <a:pt x="163" y="324"/>
                </a:cubicBezTo>
                <a:cubicBezTo>
                  <a:pt x="223" y="378"/>
                  <a:pt x="289" y="425"/>
                  <a:pt x="359" y="464"/>
                </a:cubicBezTo>
                <a:cubicBezTo>
                  <a:pt x="429" y="503"/>
                  <a:pt x="504" y="534"/>
                  <a:pt x="581" y="556"/>
                </a:cubicBezTo>
                <a:cubicBezTo>
                  <a:pt x="658" y="579"/>
                  <a:pt x="738" y="592"/>
                  <a:pt x="818" y="597"/>
                </a:cubicBezTo>
                <a:cubicBezTo>
                  <a:pt x="909" y="601"/>
                  <a:pt x="1001" y="595"/>
                  <a:pt x="1090" y="576"/>
                </a:cubicBezTo>
                <a:cubicBezTo>
                  <a:pt x="1070" y="478"/>
                  <a:pt x="1070" y="478"/>
                  <a:pt x="1070" y="478"/>
                </a:cubicBezTo>
                <a:cubicBezTo>
                  <a:pt x="1069" y="479"/>
                  <a:pt x="1067" y="479"/>
                  <a:pt x="1066" y="479"/>
                </a:cubicBezTo>
                <a:cubicBezTo>
                  <a:pt x="1066" y="478"/>
                  <a:pt x="1066" y="478"/>
                  <a:pt x="1066" y="478"/>
                </a:cubicBezTo>
                <a:cubicBezTo>
                  <a:pt x="965" y="499"/>
                  <a:pt x="860" y="503"/>
                  <a:pt x="758" y="491"/>
                </a:cubicBezTo>
                <a:cubicBezTo>
                  <a:pt x="701" y="484"/>
                  <a:pt x="645" y="472"/>
                  <a:pt x="591" y="455"/>
                </a:cubicBezTo>
                <a:cubicBezTo>
                  <a:pt x="610" y="366"/>
                  <a:pt x="628" y="277"/>
                  <a:pt x="644" y="187"/>
                </a:cubicBezTo>
                <a:cubicBezTo>
                  <a:pt x="653" y="135"/>
                  <a:pt x="663" y="81"/>
                  <a:pt x="664" y="28"/>
                </a:cubicBezTo>
                <a:cubicBezTo>
                  <a:pt x="632" y="35"/>
                  <a:pt x="601" y="34"/>
                  <a:pt x="582" y="33"/>
                </a:cubicBezTo>
                <a:cubicBezTo>
                  <a:pt x="506" y="28"/>
                  <a:pt x="601" y="34"/>
                  <a:pt x="582" y="33"/>
                </a:cubicBezTo>
                <a:close/>
              </a:path>
            </a:pathLst>
          </a:custGeom>
          <a:gradFill flip="none" rotWithShape="1">
            <a:gsLst>
              <a:gs pos="73000">
                <a:schemeClr val="accent1"/>
              </a:gs>
              <a:gs pos="31000">
                <a:schemeClr val="accent1">
                  <a:lumMod val="60000"/>
                  <a:lumOff val="40000"/>
                </a:schemeClr>
              </a:gs>
              <a:gs pos="0">
                <a:schemeClr val="accent1">
                  <a:lumMod val="40000"/>
                  <a:lumOff val="60000"/>
                </a:schemeClr>
              </a:gs>
            </a:gsLst>
            <a:lin ang="8100000" scaled="1"/>
            <a:tileRect/>
          </a:gradFill>
          <a:ln w="25400">
            <a:noFill/>
            <a:miter lim="800000"/>
          </a:ln>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lumMod val="50000"/>
                  <a:lumOff val="50000"/>
                </a:prstClr>
              </a:solidFill>
              <a:effectLst/>
              <a:uLnTx/>
              <a:uFillTx/>
              <a:latin typeface="HarmonyOS Sans SC"/>
              <a:cs typeface="+mn-cs"/>
            </a:endParaRPr>
          </a:p>
        </p:txBody>
      </p:sp>
      <p:sp>
        <p:nvSpPr>
          <p:cNvPr id="10" name="Freeform 70">
            <a:extLst>
              <a:ext uri="{FF2B5EF4-FFF2-40B4-BE49-F238E27FC236}">
                <a16:creationId xmlns:a16="http://schemas.microsoft.com/office/drawing/2014/main" id="{65D95FF2-375E-40A1-A703-AA524EC5EF06}"/>
              </a:ext>
            </a:extLst>
          </p:cNvPr>
          <p:cNvSpPr>
            <a:spLocks/>
          </p:cNvSpPr>
          <p:nvPr/>
        </p:nvSpPr>
        <p:spPr bwMode="auto">
          <a:xfrm rot="766448">
            <a:off x="5217278" y="4239218"/>
            <a:ext cx="804584" cy="621362"/>
          </a:xfrm>
          <a:custGeom>
            <a:avLst/>
            <a:gdLst>
              <a:gd name="T0" fmla="*/ 462 w 507"/>
              <a:gd name="T1" fmla="*/ 244 h 393"/>
              <a:gd name="T2" fmla="*/ 483 w 507"/>
              <a:gd name="T3" fmla="*/ 202 h 393"/>
              <a:gd name="T4" fmla="*/ 507 w 507"/>
              <a:gd name="T5" fmla="*/ 154 h 393"/>
              <a:gd name="T6" fmla="*/ 379 w 507"/>
              <a:gd name="T7" fmla="*/ 138 h 393"/>
              <a:gd name="T8" fmla="*/ 276 w 507"/>
              <a:gd name="T9" fmla="*/ 33 h 393"/>
              <a:gd name="T10" fmla="*/ 233 w 507"/>
              <a:gd name="T11" fmla="*/ 26 h 393"/>
              <a:gd name="T12" fmla="*/ 197 w 507"/>
              <a:gd name="T13" fmla="*/ 21 h 393"/>
              <a:gd name="T14" fmla="*/ 150 w 507"/>
              <a:gd name="T15" fmla="*/ 14 h 393"/>
              <a:gd name="T16" fmla="*/ 74 w 507"/>
              <a:gd name="T17" fmla="*/ 3 h 393"/>
              <a:gd name="T18" fmla="*/ 21 w 507"/>
              <a:gd name="T19" fmla="*/ 32 h 393"/>
              <a:gd name="T20" fmla="*/ 21 w 507"/>
              <a:gd name="T21" fmla="*/ 56 h 393"/>
              <a:gd name="T22" fmla="*/ 33 w 507"/>
              <a:gd name="T23" fmla="*/ 76 h 393"/>
              <a:gd name="T24" fmla="*/ 31 w 507"/>
              <a:gd name="T25" fmla="*/ 89 h 393"/>
              <a:gd name="T26" fmla="*/ 17 w 507"/>
              <a:gd name="T27" fmla="*/ 106 h 393"/>
              <a:gd name="T28" fmla="*/ 12 w 507"/>
              <a:gd name="T29" fmla="*/ 131 h 393"/>
              <a:gd name="T30" fmla="*/ 24 w 507"/>
              <a:gd name="T31" fmla="*/ 152 h 393"/>
              <a:gd name="T32" fmla="*/ 25 w 507"/>
              <a:gd name="T33" fmla="*/ 171 h 393"/>
              <a:gd name="T34" fmla="*/ 11 w 507"/>
              <a:gd name="T35" fmla="*/ 186 h 393"/>
              <a:gd name="T36" fmla="*/ 2 w 507"/>
              <a:gd name="T37" fmla="*/ 207 h 393"/>
              <a:gd name="T38" fmla="*/ 12 w 507"/>
              <a:gd name="T39" fmla="*/ 229 h 393"/>
              <a:gd name="T40" fmla="*/ 22 w 507"/>
              <a:gd name="T41" fmla="*/ 246 h 393"/>
              <a:gd name="T42" fmla="*/ 16 w 507"/>
              <a:gd name="T43" fmla="*/ 258 h 393"/>
              <a:gd name="T44" fmla="*/ 9 w 507"/>
              <a:gd name="T45" fmla="*/ 302 h 393"/>
              <a:gd name="T46" fmla="*/ 48 w 507"/>
              <a:gd name="T47" fmla="*/ 329 h 393"/>
              <a:gd name="T48" fmla="*/ 58 w 507"/>
              <a:gd name="T49" fmla="*/ 330 h 393"/>
              <a:gd name="T50" fmla="*/ 63 w 507"/>
              <a:gd name="T51" fmla="*/ 331 h 393"/>
              <a:gd name="T52" fmla="*/ 58 w 507"/>
              <a:gd name="T53" fmla="*/ 358 h 393"/>
              <a:gd name="T54" fmla="*/ 64 w 507"/>
              <a:gd name="T55" fmla="*/ 365 h 393"/>
              <a:gd name="T56" fmla="*/ 92 w 507"/>
              <a:gd name="T57" fmla="*/ 379 h 393"/>
              <a:gd name="T58" fmla="*/ 143 w 507"/>
              <a:gd name="T59" fmla="*/ 389 h 393"/>
              <a:gd name="T60" fmla="*/ 207 w 507"/>
              <a:gd name="T61" fmla="*/ 392 h 393"/>
              <a:gd name="T62" fmla="*/ 286 w 507"/>
              <a:gd name="T63" fmla="*/ 375 h 393"/>
              <a:gd name="T64" fmla="*/ 345 w 507"/>
              <a:gd name="T65" fmla="*/ 324 h 393"/>
              <a:gd name="T66" fmla="*/ 424 w 507"/>
              <a:gd name="T67" fmla="*/ 334 h 393"/>
              <a:gd name="T68" fmla="*/ 428 w 507"/>
              <a:gd name="T69" fmla="*/ 313 h 393"/>
              <a:gd name="T70" fmla="*/ 462 w 507"/>
              <a:gd name="T71" fmla="*/ 244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07" h="393">
                <a:moveTo>
                  <a:pt x="462" y="244"/>
                </a:moveTo>
                <a:cubicBezTo>
                  <a:pt x="483" y="202"/>
                  <a:pt x="483" y="202"/>
                  <a:pt x="483" y="202"/>
                </a:cubicBezTo>
                <a:cubicBezTo>
                  <a:pt x="507" y="154"/>
                  <a:pt x="507" y="154"/>
                  <a:pt x="507" y="154"/>
                </a:cubicBezTo>
                <a:cubicBezTo>
                  <a:pt x="433" y="144"/>
                  <a:pt x="379" y="138"/>
                  <a:pt x="379" y="138"/>
                </a:cubicBezTo>
                <a:cubicBezTo>
                  <a:pt x="371" y="87"/>
                  <a:pt x="331" y="41"/>
                  <a:pt x="276" y="33"/>
                </a:cubicBezTo>
                <a:cubicBezTo>
                  <a:pt x="233" y="26"/>
                  <a:pt x="233" y="26"/>
                  <a:pt x="233" y="26"/>
                </a:cubicBezTo>
                <a:cubicBezTo>
                  <a:pt x="197" y="21"/>
                  <a:pt x="197" y="21"/>
                  <a:pt x="197" y="21"/>
                </a:cubicBezTo>
                <a:cubicBezTo>
                  <a:pt x="150" y="14"/>
                  <a:pt x="150" y="14"/>
                  <a:pt x="150" y="14"/>
                </a:cubicBezTo>
                <a:cubicBezTo>
                  <a:pt x="74" y="3"/>
                  <a:pt x="74" y="3"/>
                  <a:pt x="74" y="3"/>
                </a:cubicBezTo>
                <a:cubicBezTo>
                  <a:pt x="53" y="0"/>
                  <a:pt x="30" y="14"/>
                  <a:pt x="21" y="32"/>
                </a:cubicBezTo>
                <a:cubicBezTo>
                  <a:pt x="17" y="40"/>
                  <a:pt x="17" y="47"/>
                  <a:pt x="21" y="56"/>
                </a:cubicBezTo>
                <a:cubicBezTo>
                  <a:pt x="24" y="63"/>
                  <a:pt x="30" y="69"/>
                  <a:pt x="33" y="76"/>
                </a:cubicBezTo>
                <a:cubicBezTo>
                  <a:pt x="36" y="81"/>
                  <a:pt x="35" y="84"/>
                  <a:pt x="31" y="89"/>
                </a:cubicBezTo>
                <a:cubicBezTo>
                  <a:pt x="26" y="95"/>
                  <a:pt x="21" y="100"/>
                  <a:pt x="17" y="106"/>
                </a:cubicBezTo>
                <a:cubicBezTo>
                  <a:pt x="13" y="114"/>
                  <a:pt x="9" y="123"/>
                  <a:pt x="12" y="131"/>
                </a:cubicBezTo>
                <a:cubicBezTo>
                  <a:pt x="14" y="139"/>
                  <a:pt x="20" y="145"/>
                  <a:pt x="24" y="152"/>
                </a:cubicBezTo>
                <a:cubicBezTo>
                  <a:pt x="28" y="158"/>
                  <a:pt x="29" y="164"/>
                  <a:pt x="25" y="171"/>
                </a:cubicBezTo>
                <a:cubicBezTo>
                  <a:pt x="22" y="176"/>
                  <a:pt x="16" y="181"/>
                  <a:pt x="11" y="186"/>
                </a:cubicBezTo>
                <a:cubicBezTo>
                  <a:pt x="6" y="192"/>
                  <a:pt x="2" y="199"/>
                  <a:pt x="2" y="207"/>
                </a:cubicBezTo>
                <a:cubicBezTo>
                  <a:pt x="3" y="215"/>
                  <a:pt x="8" y="222"/>
                  <a:pt x="12" y="229"/>
                </a:cubicBezTo>
                <a:cubicBezTo>
                  <a:pt x="16" y="234"/>
                  <a:pt x="21" y="240"/>
                  <a:pt x="22" y="246"/>
                </a:cubicBezTo>
                <a:cubicBezTo>
                  <a:pt x="23" y="251"/>
                  <a:pt x="19" y="255"/>
                  <a:pt x="16" y="258"/>
                </a:cubicBezTo>
                <a:cubicBezTo>
                  <a:pt x="4" y="270"/>
                  <a:pt x="0" y="287"/>
                  <a:pt x="9" y="302"/>
                </a:cubicBezTo>
                <a:cubicBezTo>
                  <a:pt x="16" y="315"/>
                  <a:pt x="32" y="326"/>
                  <a:pt x="48" y="329"/>
                </a:cubicBezTo>
                <a:cubicBezTo>
                  <a:pt x="58" y="330"/>
                  <a:pt x="58" y="330"/>
                  <a:pt x="58" y="330"/>
                </a:cubicBezTo>
                <a:cubicBezTo>
                  <a:pt x="63" y="331"/>
                  <a:pt x="63" y="331"/>
                  <a:pt x="63" y="331"/>
                </a:cubicBezTo>
                <a:cubicBezTo>
                  <a:pt x="55" y="338"/>
                  <a:pt x="52" y="349"/>
                  <a:pt x="58" y="358"/>
                </a:cubicBezTo>
                <a:cubicBezTo>
                  <a:pt x="59" y="361"/>
                  <a:pt x="62" y="363"/>
                  <a:pt x="64" y="365"/>
                </a:cubicBezTo>
                <a:cubicBezTo>
                  <a:pt x="72" y="372"/>
                  <a:pt x="82" y="376"/>
                  <a:pt x="92" y="379"/>
                </a:cubicBezTo>
                <a:cubicBezTo>
                  <a:pt x="108" y="384"/>
                  <a:pt x="126" y="387"/>
                  <a:pt x="143" y="389"/>
                </a:cubicBezTo>
                <a:cubicBezTo>
                  <a:pt x="164" y="391"/>
                  <a:pt x="186" y="393"/>
                  <a:pt x="207" y="392"/>
                </a:cubicBezTo>
                <a:cubicBezTo>
                  <a:pt x="234" y="391"/>
                  <a:pt x="261" y="386"/>
                  <a:pt x="286" y="375"/>
                </a:cubicBezTo>
                <a:cubicBezTo>
                  <a:pt x="310" y="364"/>
                  <a:pt x="330" y="346"/>
                  <a:pt x="345" y="324"/>
                </a:cubicBezTo>
                <a:cubicBezTo>
                  <a:pt x="345" y="324"/>
                  <a:pt x="377" y="328"/>
                  <a:pt x="424" y="334"/>
                </a:cubicBezTo>
                <a:cubicBezTo>
                  <a:pt x="424" y="326"/>
                  <a:pt x="425" y="319"/>
                  <a:pt x="428" y="313"/>
                </a:cubicBezTo>
                <a:lnTo>
                  <a:pt x="462" y="244"/>
                </a:lnTo>
                <a:close/>
              </a:path>
            </a:pathLst>
          </a:custGeom>
          <a:gradFill>
            <a:gsLst>
              <a:gs pos="64000">
                <a:schemeClr val="accent1"/>
              </a:gs>
              <a:gs pos="31000">
                <a:schemeClr val="accent1">
                  <a:lumMod val="60000"/>
                  <a:lumOff val="40000"/>
                </a:schemeClr>
              </a:gs>
              <a:gs pos="0">
                <a:schemeClr val="accent1">
                  <a:lumMod val="40000"/>
                  <a:lumOff val="60000"/>
                </a:schemeClr>
              </a:gs>
            </a:gsLst>
            <a:path path="circle">
              <a:fillToRect r="100000" b="100000"/>
            </a:path>
          </a:gradFill>
          <a:ln w="25400">
            <a:noFill/>
            <a:miter lim="800000"/>
          </a:ln>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lumMod val="50000"/>
                  <a:lumOff val="50000"/>
                </a:prstClr>
              </a:solidFill>
              <a:effectLst/>
              <a:uLnTx/>
              <a:uFillTx/>
              <a:latin typeface="HarmonyOS Sans SC"/>
              <a:cs typeface="+mn-cs"/>
            </a:endParaRPr>
          </a:p>
        </p:txBody>
      </p:sp>
      <p:sp>
        <p:nvSpPr>
          <p:cNvPr id="11" name="Freeform 71">
            <a:extLst>
              <a:ext uri="{FF2B5EF4-FFF2-40B4-BE49-F238E27FC236}">
                <a16:creationId xmlns:a16="http://schemas.microsoft.com/office/drawing/2014/main" id="{A95C2DC1-B252-42DE-A969-1EB9C9F35CBE}"/>
              </a:ext>
            </a:extLst>
          </p:cNvPr>
          <p:cNvSpPr>
            <a:spLocks/>
          </p:cNvSpPr>
          <p:nvPr/>
        </p:nvSpPr>
        <p:spPr bwMode="auto">
          <a:xfrm rot="766448">
            <a:off x="6837084" y="2928663"/>
            <a:ext cx="1041578" cy="1463785"/>
          </a:xfrm>
          <a:custGeom>
            <a:avLst/>
            <a:gdLst>
              <a:gd name="T0" fmla="*/ 114 w 657"/>
              <a:gd name="T1" fmla="*/ 720 h 923"/>
              <a:gd name="T2" fmla="*/ 158 w 657"/>
              <a:gd name="T3" fmla="*/ 783 h 923"/>
              <a:gd name="T4" fmla="*/ 186 w 657"/>
              <a:gd name="T5" fmla="*/ 742 h 923"/>
              <a:gd name="T6" fmla="*/ 216 w 657"/>
              <a:gd name="T7" fmla="*/ 707 h 923"/>
              <a:gd name="T8" fmla="*/ 302 w 657"/>
              <a:gd name="T9" fmla="*/ 617 h 923"/>
              <a:gd name="T10" fmla="*/ 440 w 657"/>
              <a:gd name="T11" fmla="*/ 484 h 923"/>
              <a:gd name="T12" fmla="*/ 539 w 657"/>
              <a:gd name="T13" fmla="*/ 755 h 923"/>
              <a:gd name="T14" fmla="*/ 557 w 657"/>
              <a:gd name="T15" fmla="*/ 923 h 923"/>
              <a:gd name="T16" fmla="*/ 657 w 657"/>
              <a:gd name="T17" fmla="*/ 920 h 923"/>
              <a:gd name="T18" fmla="*/ 608 w 657"/>
              <a:gd name="T19" fmla="*/ 622 h 923"/>
              <a:gd name="T20" fmla="*/ 486 w 657"/>
              <a:gd name="T21" fmla="*/ 364 h 923"/>
              <a:gd name="T22" fmla="*/ 301 w 657"/>
              <a:gd name="T23" fmla="*/ 149 h 923"/>
              <a:gd name="T24" fmla="*/ 84 w 657"/>
              <a:gd name="T25" fmla="*/ 0 h 923"/>
              <a:gd name="T26" fmla="*/ 38 w 657"/>
              <a:gd name="T27" fmla="*/ 88 h 923"/>
              <a:gd name="T28" fmla="*/ 304 w 657"/>
              <a:gd name="T29" fmla="*/ 293 h 923"/>
              <a:gd name="T30" fmla="*/ 127 w 657"/>
              <a:gd name="T31" fmla="*/ 494 h 923"/>
              <a:gd name="T32" fmla="*/ 10 w 657"/>
              <a:gd name="T33" fmla="*/ 649 h 923"/>
              <a:gd name="T34" fmla="*/ 0 w 657"/>
              <a:gd name="T35" fmla="*/ 667 h 923"/>
              <a:gd name="T36" fmla="*/ 114 w 657"/>
              <a:gd name="T37" fmla="*/ 720 h 923"/>
              <a:gd name="T38" fmla="*/ 114 w 657"/>
              <a:gd name="T39" fmla="*/ 720 h 9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57" h="923">
                <a:moveTo>
                  <a:pt x="114" y="720"/>
                </a:moveTo>
                <a:cubicBezTo>
                  <a:pt x="143" y="747"/>
                  <a:pt x="155" y="768"/>
                  <a:pt x="158" y="783"/>
                </a:cubicBezTo>
                <a:cubicBezTo>
                  <a:pt x="167" y="769"/>
                  <a:pt x="176" y="755"/>
                  <a:pt x="186" y="742"/>
                </a:cubicBezTo>
                <a:cubicBezTo>
                  <a:pt x="195" y="730"/>
                  <a:pt x="205" y="719"/>
                  <a:pt x="216" y="707"/>
                </a:cubicBezTo>
                <a:cubicBezTo>
                  <a:pt x="243" y="677"/>
                  <a:pt x="273" y="647"/>
                  <a:pt x="302" y="617"/>
                </a:cubicBezTo>
                <a:cubicBezTo>
                  <a:pt x="347" y="572"/>
                  <a:pt x="394" y="528"/>
                  <a:pt x="440" y="484"/>
                </a:cubicBezTo>
                <a:cubicBezTo>
                  <a:pt x="486" y="568"/>
                  <a:pt x="520" y="660"/>
                  <a:pt x="539" y="755"/>
                </a:cubicBezTo>
                <a:cubicBezTo>
                  <a:pt x="550" y="810"/>
                  <a:pt x="556" y="866"/>
                  <a:pt x="557" y="923"/>
                </a:cubicBezTo>
                <a:cubicBezTo>
                  <a:pt x="657" y="920"/>
                  <a:pt x="657" y="920"/>
                  <a:pt x="657" y="920"/>
                </a:cubicBezTo>
                <a:cubicBezTo>
                  <a:pt x="655" y="819"/>
                  <a:pt x="638" y="719"/>
                  <a:pt x="608" y="622"/>
                </a:cubicBezTo>
                <a:cubicBezTo>
                  <a:pt x="579" y="531"/>
                  <a:pt x="538" y="444"/>
                  <a:pt x="486" y="364"/>
                </a:cubicBezTo>
                <a:cubicBezTo>
                  <a:pt x="434" y="285"/>
                  <a:pt x="372" y="212"/>
                  <a:pt x="301" y="149"/>
                </a:cubicBezTo>
                <a:cubicBezTo>
                  <a:pt x="235" y="91"/>
                  <a:pt x="162" y="40"/>
                  <a:pt x="84" y="0"/>
                </a:cubicBezTo>
                <a:cubicBezTo>
                  <a:pt x="38" y="88"/>
                  <a:pt x="38" y="88"/>
                  <a:pt x="38" y="88"/>
                </a:cubicBezTo>
                <a:cubicBezTo>
                  <a:pt x="139" y="141"/>
                  <a:pt x="229" y="211"/>
                  <a:pt x="304" y="293"/>
                </a:cubicBezTo>
                <a:cubicBezTo>
                  <a:pt x="245" y="359"/>
                  <a:pt x="185" y="426"/>
                  <a:pt x="127" y="494"/>
                </a:cubicBezTo>
                <a:cubicBezTo>
                  <a:pt x="85" y="543"/>
                  <a:pt x="42" y="593"/>
                  <a:pt x="10" y="649"/>
                </a:cubicBezTo>
                <a:cubicBezTo>
                  <a:pt x="6" y="655"/>
                  <a:pt x="3" y="661"/>
                  <a:pt x="0" y="667"/>
                </a:cubicBezTo>
                <a:cubicBezTo>
                  <a:pt x="51" y="671"/>
                  <a:pt x="94" y="701"/>
                  <a:pt x="114" y="720"/>
                </a:cubicBezTo>
                <a:cubicBezTo>
                  <a:pt x="143" y="747"/>
                  <a:pt x="94" y="701"/>
                  <a:pt x="114" y="720"/>
                </a:cubicBezTo>
                <a:close/>
              </a:path>
            </a:pathLst>
          </a:custGeom>
          <a:gradFill flip="none" rotWithShape="1">
            <a:gsLst>
              <a:gs pos="73000">
                <a:schemeClr val="accent1"/>
              </a:gs>
              <a:gs pos="31000">
                <a:schemeClr val="accent1">
                  <a:lumMod val="60000"/>
                  <a:lumOff val="40000"/>
                </a:schemeClr>
              </a:gs>
              <a:gs pos="0">
                <a:schemeClr val="accent1">
                  <a:lumMod val="40000"/>
                  <a:lumOff val="60000"/>
                </a:schemeClr>
              </a:gs>
            </a:gsLst>
            <a:lin ang="18900000" scaled="1"/>
            <a:tileRect/>
          </a:gradFill>
          <a:ln w="25400">
            <a:noFill/>
            <a:miter lim="800000"/>
          </a:ln>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lumMod val="50000"/>
                  <a:lumOff val="50000"/>
                </a:prstClr>
              </a:solidFill>
              <a:effectLst/>
              <a:uLnTx/>
              <a:uFillTx/>
              <a:latin typeface="HarmonyOS Sans SC"/>
              <a:cs typeface="+mn-cs"/>
            </a:endParaRPr>
          </a:p>
        </p:txBody>
      </p:sp>
      <p:sp>
        <p:nvSpPr>
          <p:cNvPr id="12" name="Freeform 72">
            <a:extLst>
              <a:ext uri="{FF2B5EF4-FFF2-40B4-BE49-F238E27FC236}">
                <a16:creationId xmlns:a16="http://schemas.microsoft.com/office/drawing/2014/main" id="{39373942-48A7-493F-B6D3-E70AEA267195}"/>
              </a:ext>
            </a:extLst>
          </p:cNvPr>
          <p:cNvSpPr>
            <a:spLocks/>
          </p:cNvSpPr>
          <p:nvPr/>
        </p:nvSpPr>
        <p:spPr bwMode="auto">
          <a:xfrm rot="766448">
            <a:off x="5867198" y="4250038"/>
            <a:ext cx="706998" cy="872296"/>
          </a:xfrm>
          <a:custGeom>
            <a:avLst/>
            <a:gdLst>
              <a:gd name="T0" fmla="*/ 409 w 446"/>
              <a:gd name="T1" fmla="*/ 418 h 551"/>
              <a:gd name="T2" fmla="*/ 427 w 446"/>
              <a:gd name="T3" fmla="*/ 333 h 551"/>
              <a:gd name="T4" fmla="*/ 399 w 446"/>
              <a:gd name="T5" fmla="*/ 233 h 551"/>
              <a:gd name="T6" fmla="*/ 446 w 446"/>
              <a:gd name="T7" fmla="*/ 130 h 551"/>
              <a:gd name="T8" fmla="*/ 428 w 446"/>
              <a:gd name="T9" fmla="*/ 120 h 551"/>
              <a:gd name="T10" fmla="*/ 372 w 446"/>
              <a:gd name="T11" fmla="*/ 68 h 551"/>
              <a:gd name="T12" fmla="*/ 337 w 446"/>
              <a:gd name="T13" fmla="*/ 36 h 551"/>
              <a:gd name="T14" fmla="*/ 298 w 446"/>
              <a:gd name="T15" fmla="*/ 0 h 551"/>
              <a:gd name="T16" fmla="*/ 232 w 446"/>
              <a:gd name="T17" fmla="*/ 143 h 551"/>
              <a:gd name="T18" fmla="*/ 100 w 446"/>
              <a:gd name="T19" fmla="*/ 208 h 551"/>
              <a:gd name="T20" fmla="*/ 88 w 446"/>
              <a:gd name="T21" fmla="*/ 233 h 551"/>
              <a:gd name="T22" fmla="*/ 64 w 446"/>
              <a:gd name="T23" fmla="*/ 281 h 551"/>
              <a:gd name="T24" fmla="*/ 43 w 446"/>
              <a:gd name="T25" fmla="*/ 323 h 551"/>
              <a:gd name="T26" fmla="*/ 9 w 446"/>
              <a:gd name="T27" fmla="*/ 392 h 551"/>
              <a:gd name="T28" fmla="*/ 19 w 446"/>
              <a:gd name="T29" fmla="*/ 449 h 551"/>
              <a:gd name="T30" fmla="*/ 40 w 446"/>
              <a:gd name="T31" fmla="*/ 459 h 551"/>
              <a:gd name="T32" fmla="*/ 64 w 446"/>
              <a:gd name="T33" fmla="*/ 454 h 551"/>
              <a:gd name="T34" fmla="*/ 77 w 446"/>
              <a:gd name="T35" fmla="*/ 457 h 551"/>
              <a:gd name="T36" fmla="*/ 88 w 446"/>
              <a:gd name="T37" fmla="*/ 475 h 551"/>
              <a:gd name="T38" fmla="*/ 109 w 446"/>
              <a:gd name="T39" fmla="*/ 490 h 551"/>
              <a:gd name="T40" fmla="*/ 134 w 446"/>
              <a:gd name="T41" fmla="*/ 486 h 551"/>
              <a:gd name="T42" fmla="*/ 154 w 446"/>
              <a:gd name="T43" fmla="*/ 490 h 551"/>
              <a:gd name="T44" fmla="*/ 165 w 446"/>
              <a:gd name="T45" fmla="*/ 509 h 551"/>
              <a:gd name="T46" fmla="*/ 183 w 446"/>
              <a:gd name="T47" fmla="*/ 523 h 551"/>
              <a:gd name="T48" fmla="*/ 207 w 446"/>
              <a:gd name="T49" fmla="*/ 520 h 551"/>
              <a:gd name="T50" fmla="*/ 226 w 446"/>
              <a:gd name="T51" fmla="*/ 516 h 551"/>
              <a:gd name="T52" fmla="*/ 235 w 446"/>
              <a:gd name="T53" fmla="*/ 528 h 551"/>
              <a:gd name="T54" fmla="*/ 281 w 446"/>
              <a:gd name="T55" fmla="*/ 544 h 551"/>
              <a:gd name="T56" fmla="*/ 311 w 446"/>
              <a:gd name="T57" fmla="*/ 517 h 551"/>
              <a:gd name="T58" fmla="*/ 338 w 446"/>
              <a:gd name="T59" fmla="*/ 463 h 551"/>
              <a:gd name="T60" fmla="*/ 358 w 446"/>
              <a:gd name="T61" fmla="*/ 474 h 551"/>
              <a:gd name="T62" fmla="*/ 384 w 446"/>
              <a:gd name="T63" fmla="*/ 465 h 551"/>
              <a:gd name="T64" fmla="*/ 409 w 446"/>
              <a:gd name="T65" fmla="*/ 418 h 551"/>
              <a:gd name="T66" fmla="*/ 409 w 446"/>
              <a:gd name="T67" fmla="*/ 418 h 5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46" h="551">
                <a:moveTo>
                  <a:pt x="409" y="418"/>
                </a:moveTo>
                <a:cubicBezTo>
                  <a:pt x="416" y="390"/>
                  <a:pt x="425" y="362"/>
                  <a:pt x="427" y="333"/>
                </a:cubicBezTo>
                <a:cubicBezTo>
                  <a:pt x="430" y="297"/>
                  <a:pt x="421" y="262"/>
                  <a:pt x="399" y="233"/>
                </a:cubicBezTo>
                <a:cubicBezTo>
                  <a:pt x="399" y="233"/>
                  <a:pt x="418" y="190"/>
                  <a:pt x="446" y="130"/>
                </a:cubicBezTo>
                <a:cubicBezTo>
                  <a:pt x="439" y="128"/>
                  <a:pt x="433" y="125"/>
                  <a:pt x="428" y="120"/>
                </a:cubicBezTo>
                <a:cubicBezTo>
                  <a:pt x="372" y="68"/>
                  <a:pt x="372" y="68"/>
                  <a:pt x="372" y="68"/>
                </a:cubicBezTo>
                <a:cubicBezTo>
                  <a:pt x="337" y="36"/>
                  <a:pt x="337" y="36"/>
                  <a:pt x="337" y="36"/>
                </a:cubicBezTo>
                <a:cubicBezTo>
                  <a:pt x="298" y="0"/>
                  <a:pt x="298" y="0"/>
                  <a:pt x="298" y="0"/>
                </a:cubicBezTo>
                <a:cubicBezTo>
                  <a:pt x="260" y="81"/>
                  <a:pt x="232" y="143"/>
                  <a:pt x="232" y="143"/>
                </a:cubicBezTo>
                <a:cubicBezTo>
                  <a:pt x="181" y="135"/>
                  <a:pt x="125" y="159"/>
                  <a:pt x="100" y="208"/>
                </a:cubicBezTo>
                <a:cubicBezTo>
                  <a:pt x="88" y="233"/>
                  <a:pt x="88" y="233"/>
                  <a:pt x="88" y="233"/>
                </a:cubicBezTo>
                <a:cubicBezTo>
                  <a:pt x="64" y="281"/>
                  <a:pt x="64" y="281"/>
                  <a:pt x="64" y="281"/>
                </a:cubicBezTo>
                <a:cubicBezTo>
                  <a:pt x="43" y="323"/>
                  <a:pt x="43" y="323"/>
                  <a:pt x="43" y="323"/>
                </a:cubicBezTo>
                <a:cubicBezTo>
                  <a:pt x="9" y="392"/>
                  <a:pt x="9" y="392"/>
                  <a:pt x="9" y="392"/>
                </a:cubicBezTo>
                <a:cubicBezTo>
                  <a:pt x="0" y="410"/>
                  <a:pt x="6" y="435"/>
                  <a:pt x="19" y="449"/>
                </a:cubicBezTo>
                <a:cubicBezTo>
                  <a:pt x="25" y="455"/>
                  <a:pt x="32" y="460"/>
                  <a:pt x="40" y="459"/>
                </a:cubicBezTo>
                <a:cubicBezTo>
                  <a:pt x="48" y="459"/>
                  <a:pt x="56" y="455"/>
                  <a:pt x="64" y="454"/>
                </a:cubicBezTo>
                <a:cubicBezTo>
                  <a:pt x="69" y="452"/>
                  <a:pt x="73" y="452"/>
                  <a:pt x="77" y="457"/>
                </a:cubicBezTo>
                <a:cubicBezTo>
                  <a:pt x="81" y="463"/>
                  <a:pt x="84" y="469"/>
                  <a:pt x="88" y="475"/>
                </a:cubicBezTo>
                <a:cubicBezTo>
                  <a:pt x="93" y="482"/>
                  <a:pt x="100" y="489"/>
                  <a:pt x="109" y="490"/>
                </a:cubicBezTo>
                <a:cubicBezTo>
                  <a:pt x="118" y="492"/>
                  <a:pt x="126" y="488"/>
                  <a:pt x="134" y="486"/>
                </a:cubicBezTo>
                <a:cubicBezTo>
                  <a:pt x="142" y="484"/>
                  <a:pt x="149" y="484"/>
                  <a:pt x="154" y="490"/>
                </a:cubicBezTo>
                <a:cubicBezTo>
                  <a:pt x="159" y="496"/>
                  <a:pt x="161" y="503"/>
                  <a:pt x="165" y="509"/>
                </a:cubicBezTo>
                <a:cubicBezTo>
                  <a:pt x="169" y="516"/>
                  <a:pt x="175" y="522"/>
                  <a:pt x="183" y="523"/>
                </a:cubicBezTo>
                <a:cubicBezTo>
                  <a:pt x="191" y="524"/>
                  <a:pt x="199" y="522"/>
                  <a:pt x="207" y="520"/>
                </a:cubicBezTo>
                <a:cubicBezTo>
                  <a:pt x="213" y="518"/>
                  <a:pt x="220" y="515"/>
                  <a:pt x="226" y="516"/>
                </a:cubicBezTo>
                <a:cubicBezTo>
                  <a:pt x="231" y="518"/>
                  <a:pt x="233" y="524"/>
                  <a:pt x="235" y="528"/>
                </a:cubicBezTo>
                <a:cubicBezTo>
                  <a:pt x="245" y="545"/>
                  <a:pt x="264" y="551"/>
                  <a:pt x="281" y="544"/>
                </a:cubicBezTo>
                <a:cubicBezTo>
                  <a:pt x="293" y="539"/>
                  <a:pt x="305" y="529"/>
                  <a:pt x="311" y="517"/>
                </a:cubicBezTo>
                <a:cubicBezTo>
                  <a:pt x="338" y="463"/>
                  <a:pt x="338" y="463"/>
                  <a:pt x="338" y="463"/>
                </a:cubicBezTo>
                <a:cubicBezTo>
                  <a:pt x="341" y="470"/>
                  <a:pt x="351" y="474"/>
                  <a:pt x="358" y="474"/>
                </a:cubicBezTo>
                <a:cubicBezTo>
                  <a:pt x="368" y="474"/>
                  <a:pt x="377" y="470"/>
                  <a:pt x="384" y="465"/>
                </a:cubicBezTo>
                <a:cubicBezTo>
                  <a:pt x="398" y="453"/>
                  <a:pt x="405" y="435"/>
                  <a:pt x="409" y="418"/>
                </a:cubicBezTo>
                <a:cubicBezTo>
                  <a:pt x="416" y="389"/>
                  <a:pt x="402" y="447"/>
                  <a:pt x="409" y="418"/>
                </a:cubicBezTo>
                <a:close/>
              </a:path>
            </a:pathLst>
          </a:custGeom>
          <a:gradFill>
            <a:gsLst>
              <a:gs pos="64000">
                <a:schemeClr val="accent1"/>
              </a:gs>
              <a:gs pos="31000">
                <a:schemeClr val="accent1">
                  <a:lumMod val="60000"/>
                  <a:lumOff val="40000"/>
                </a:schemeClr>
              </a:gs>
              <a:gs pos="0">
                <a:schemeClr val="accent1">
                  <a:lumMod val="40000"/>
                  <a:lumOff val="60000"/>
                </a:schemeClr>
              </a:gs>
            </a:gsLst>
            <a:path path="circle">
              <a:fillToRect r="100000" b="100000"/>
            </a:path>
          </a:gradFill>
          <a:ln w="25400">
            <a:noFill/>
            <a:miter lim="800000"/>
          </a:ln>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lumMod val="50000"/>
                  <a:lumOff val="50000"/>
                </a:prstClr>
              </a:solidFill>
              <a:effectLst/>
              <a:uLnTx/>
              <a:uFillTx/>
              <a:latin typeface="HarmonyOS Sans SC"/>
              <a:cs typeface="+mn-cs"/>
            </a:endParaRPr>
          </a:p>
        </p:txBody>
      </p:sp>
      <p:sp>
        <p:nvSpPr>
          <p:cNvPr id="13" name="Freeform 73">
            <a:extLst>
              <a:ext uri="{FF2B5EF4-FFF2-40B4-BE49-F238E27FC236}">
                <a16:creationId xmlns:a16="http://schemas.microsoft.com/office/drawing/2014/main" id="{85488134-FF7C-47CD-A084-5071EE8A4878}"/>
              </a:ext>
            </a:extLst>
          </p:cNvPr>
          <p:cNvSpPr>
            <a:spLocks/>
          </p:cNvSpPr>
          <p:nvPr/>
        </p:nvSpPr>
        <p:spPr bwMode="auto">
          <a:xfrm rot="766448">
            <a:off x="6247795" y="4434695"/>
            <a:ext cx="1282555" cy="1551413"/>
          </a:xfrm>
          <a:custGeom>
            <a:avLst/>
            <a:gdLst>
              <a:gd name="T0" fmla="*/ 710 w 810"/>
              <a:gd name="T1" fmla="*/ 0 h 980"/>
              <a:gd name="T2" fmla="*/ 710 w 810"/>
              <a:gd name="T3" fmla="*/ 0 h 980"/>
              <a:gd name="T4" fmla="*/ 706 w 810"/>
              <a:gd name="T5" fmla="*/ 0 h 980"/>
              <a:gd name="T6" fmla="*/ 572 w 810"/>
              <a:gd name="T7" fmla="*/ 432 h 980"/>
              <a:gd name="T8" fmla="*/ 318 w 810"/>
              <a:gd name="T9" fmla="*/ 324 h 980"/>
              <a:gd name="T10" fmla="*/ 226 w 810"/>
              <a:gd name="T11" fmla="*/ 289 h 980"/>
              <a:gd name="T12" fmla="*/ 120 w 810"/>
              <a:gd name="T13" fmla="*/ 266 h 980"/>
              <a:gd name="T14" fmla="*/ 113 w 810"/>
              <a:gd name="T15" fmla="*/ 380 h 980"/>
              <a:gd name="T16" fmla="*/ 74 w 810"/>
              <a:gd name="T17" fmla="*/ 454 h 980"/>
              <a:gd name="T18" fmla="*/ 131 w 810"/>
              <a:gd name="T19" fmla="*/ 469 h 980"/>
              <a:gd name="T20" fmla="*/ 171 w 810"/>
              <a:gd name="T21" fmla="*/ 485 h 980"/>
              <a:gd name="T22" fmla="*/ 282 w 810"/>
              <a:gd name="T23" fmla="*/ 538 h 980"/>
              <a:gd name="T24" fmla="*/ 431 w 810"/>
              <a:gd name="T25" fmla="*/ 616 h 980"/>
              <a:gd name="T26" fmla="*/ 0 w 810"/>
              <a:gd name="T27" fmla="*/ 884 h 980"/>
              <a:gd name="T28" fmla="*/ 30 w 810"/>
              <a:gd name="T29" fmla="*/ 980 h 980"/>
              <a:gd name="T30" fmla="*/ 33 w 810"/>
              <a:gd name="T31" fmla="*/ 979 h 980"/>
              <a:gd name="T32" fmla="*/ 34 w 810"/>
              <a:gd name="T33" fmla="*/ 980 h 980"/>
              <a:gd name="T34" fmla="*/ 276 w 810"/>
              <a:gd name="T35" fmla="*/ 871 h 980"/>
              <a:gd name="T36" fmla="*/ 482 w 810"/>
              <a:gd name="T37" fmla="*/ 712 h 980"/>
              <a:gd name="T38" fmla="*/ 659 w 810"/>
              <a:gd name="T39" fmla="*/ 490 h 980"/>
              <a:gd name="T40" fmla="*/ 772 w 810"/>
              <a:gd name="T41" fmla="*/ 230 h 980"/>
              <a:gd name="T42" fmla="*/ 810 w 810"/>
              <a:gd name="T43" fmla="*/ 5 h 980"/>
              <a:gd name="T44" fmla="*/ 710 w 810"/>
              <a:gd name="T45" fmla="*/ 0 h 9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10" h="980">
                <a:moveTo>
                  <a:pt x="710" y="0"/>
                </a:moveTo>
                <a:cubicBezTo>
                  <a:pt x="710" y="0"/>
                  <a:pt x="710" y="0"/>
                  <a:pt x="710" y="0"/>
                </a:cubicBezTo>
                <a:cubicBezTo>
                  <a:pt x="706" y="0"/>
                  <a:pt x="706" y="0"/>
                  <a:pt x="706" y="0"/>
                </a:cubicBezTo>
                <a:cubicBezTo>
                  <a:pt x="699" y="149"/>
                  <a:pt x="652" y="298"/>
                  <a:pt x="572" y="432"/>
                </a:cubicBezTo>
                <a:cubicBezTo>
                  <a:pt x="488" y="395"/>
                  <a:pt x="403" y="358"/>
                  <a:pt x="318" y="324"/>
                </a:cubicBezTo>
                <a:cubicBezTo>
                  <a:pt x="288" y="311"/>
                  <a:pt x="257" y="299"/>
                  <a:pt x="226" y="289"/>
                </a:cubicBezTo>
                <a:cubicBezTo>
                  <a:pt x="191" y="278"/>
                  <a:pt x="155" y="272"/>
                  <a:pt x="120" y="266"/>
                </a:cubicBezTo>
                <a:cubicBezTo>
                  <a:pt x="130" y="304"/>
                  <a:pt x="123" y="343"/>
                  <a:pt x="113" y="380"/>
                </a:cubicBezTo>
                <a:cubicBezTo>
                  <a:pt x="105" y="406"/>
                  <a:pt x="100" y="440"/>
                  <a:pt x="74" y="454"/>
                </a:cubicBezTo>
                <a:cubicBezTo>
                  <a:pt x="93" y="458"/>
                  <a:pt x="112" y="463"/>
                  <a:pt x="131" y="469"/>
                </a:cubicBezTo>
                <a:cubicBezTo>
                  <a:pt x="145" y="474"/>
                  <a:pt x="158" y="479"/>
                  <a:pt x="171" y="485"/>
                </a:cubicBezTo>
                <a:cubicBezTo>
                  <a:pt x="209" y="501"/>
                  <a:pt x="246" y="519"/>
                  <a:pt x="282" y="538"/>
                </a:cubicBezTo>
                <a:cubicBezTo>
                  <a:pt x="332" y="563"/>
                  <a:pt x="382" y="590"/>
                  <a:pt x="431" y="616"/>
                </a:cubicBezTo>
                <a:cubicBezTo>
                  <a:pt x="312" y="741"/>
                  <a:pt x="161" y="834"/>
                  <a:pt x="0" y="884"/>
                </a:cubicBezTo>
                <a:cubicBezTo>
                  <a:pt x="30" y="980"/>
                  <a:pt x="30" y="980"/>
                  <a:pt x="30" y="980"/>
                </a:cubicBezTo>
                <a:cubicBezTo>
                  <a:pt x="31" y="980"/>
                  <a:pt x="32" y="979"/>
                  <a:pt x="33" y="979"/>
                </a:cubicBezTo>
                <a:cubicBezTo>
                  <a:pt x="34" y="980"/>
                  <a:pt x="34" y="980"/>
                  <a:pt x="34" y="980"/>
                </a:cubicBezTo>
                <a:cubicBezTo>
                  <a:pt x="118" y="954"/>
                  <a:pt x="200" y="917"/>
                  <a:pt x="276" y="871"/>
                </a:cubicBezTo>
                <a:cubicBezTo>
                  <a:pt x="350" y="826"/>
                  <a:pt x="420" y="773"/>
                  <a:pt x="482" y="712"/>
                </a:cubicBezTo>
                <a:cubicBezTo>
                  <a:pt x="550" y="646"/>
                  <a:pt x="609" y="571"/>
                  <a:pt x="659" y="490"/>
                </a:cubicBezTo>
                <a:cubicBezTo>
                  <a:pt x="708" y="409"/>
                  <a:pt x="746" y="321"/>
                  <a:pt x="772" y="230"/>
                </a:cubicBezTo>
                <a:cubicBezTo>
                  <a:pt x="793" y="157"/>
                  <a:pt x="806" y="81"/>
                  <a:pt x="810" y="5"/>
                </a:cubicBezTo>
                <a:lnTo>
                  <a:pt x="710" y="0"/>
                </a:lnTo>
                <a:close/>
              </a:path>
            </a:pathLst>
          </a:custGeom>
          <a:gradFill flip="none" rotWithShape="1">
            <a:gsLst>
              <a:gs pos="73000">
                <a:schemeClr val="accent1"/>
              </a:gs>
              <a:gs pos="31000">
                <a:schemeClr val="accent1">
                  <a:lumMod val="60000"/>
                  <a:lumOff val="40000"/>
                </a:schemeClr>
              </a:gs>
              <a:gs pos="0">
                <a:schemeClr val="accent1">
                  <a:lumMod val="40000"/>
                  <a:lumOff val="60000"/>
                </a:schemeClr>
              </a:gs>
            </a:gsLst>
            <a:lin ang="2700000" scaled="1"/>
            <a:tileRect/>
          </a:gradFill>
          <a:ln w="25400">
            <a:noFill/>
            <a:miter lim="800000"/>
          </a:ln>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lumMod val="50000"/>
                  <a:lumOff val="50000"/>
                </a:prstClr>
              </a:solidFill>
              <a:effectLst/>
              <a:uLnTx/>
              <a:uFillTx/>
              <a:latin typeface="HarmonyOS Sans SC"/>
              <a:cs typeface="+mn-cs"/>
            </a:endParaRPr>
          </a:p>
        </p:txBody>
      </p:sp>
      <p:sp>
        <p:nvSpPr>
          <p:cNvPr id="14" name="Oval 39">
            <a:extLst>
              <a:ext uri="{FF2B5EF4-FFF2-40B4-BE49-F238E27FC236}">
                <a16:creationId xmlns:a16="http://schemas.microsoft.com/office/drawing/2014/main" id="{1439ED80-6442-44EF-97AC-01BCEFC211FA}"/>
              </a:ext>
            </a:extLst>
          </p:cNvPr>
          <p:cNvSpPr/>
          <p:nvPr/>
        </p:nvSpPr>
        <p:spPr>
          <a:xfrm>
            <a:off x="5683244" y="2342188"/>
            <a:ext cx="326488" cy="326486"/>
          </a:xfrm>
          <a:prstGeom prst="ellipse">
            <a:avLst/>
          </a:prstGeom>
          <a:solidFill>
            <a:schemeClr val="bg1"/>
          </a:solidFill>
          <a:ln w="3175" cap="rnd" cmpd="sng">
            <a:noFill/>
            <a:prstDash val="dash"/>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noAutofit/>
          </a:bodyPr>
          <a:lstStyle/>
          <a:p>
            <a:pPr marL="0" marR="0" lvl="0" indent="0" algn="ctr" defTabSz="914400" rtl="0" eaLnBrk="1" fontAlgn="auto" latinLnBrk="0" hangingPunct="1">
              <a:lnSpc>
                <a:spcPct val="100000"/>
              </a:lnSpc>
              <a:spcBef>
                <a:spcPts val="1000"/>
              </a:spcBef>
              <a:spcAft>
                <a:spcPts val="0"/>
              </a:spcAft>
              <a:buClrTx/>
              <a:buSzTx/>
              <a:buFontTx/>
              <a:buNone/>
              <a:tabLst/>
              <a:defRPr/>
            </a:pPr>
            <a:r>
              <a:rPr kumimoji="0" lang="en-US" sz="1400" b="0" i="0" u="none" strike="noStrike" kern="1200" cap="none" spc="0" normalizeH="0" baseline="0" noProof="0" dirty="0">
                <a:ln>
                  <a:noFill/>
                </a:ln>
                <a:solidFill>
                  <a:schemeClr val="accent1"/>
                </a:solidFill>
                <a:effectLst/>
                <a:uLnTx/>
                <a:uFillTx/>
                <a:latin typeface="HarmonyOS Sans SC Black"/>
                <a:ea typeface="+mj-ea"/>
                <a:cs typeface="+mn-cs"/>
              </a:rPr>
              <a:t>01</a:t>
            </a:r>
          </a:p>
        </p:txBody>
      </p:sp>
      <p:sp>
        <p:nvSpPr>
          <p:cNvPr id="15" name="Oval 40">
            <a:extLst>
              <a:ext uri="{FF2B5EF4-FFF2-40B4-BE49-F238E27FC236}">
                <a16:creationId xmlns:a16="http://schemas.microsoft.com/office/drawing/2014/main" id="{31232D8F-A120-4F23-B454-10666247AC39}"/>
              </a:ext>
            </a:extLst>
          </p:cNvPr>
          <p:cNvSpPr/>
          <p:nvPr/>
        </p:nvSpPr>
        <p:spPr>
          <a:xfrm>
            <a:off x="7435118" y="3323560"/>
            <a:ext cx="326488" cy="326486"/>
          </a:xfrm>
          <a:prstGeom prst="ellipse">
            <a:avLst/>
          </a:prstGeom>
          <a:solidFill>
            <a:schemeClr val="bg1"/>
          </a:solidFill>
          <a:ln w="3175" cap="rnd" cmpd="sng">
            <a:noFill/>
            <a:prstDash val="dash"/>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noAutofit/>
          </a:bodyPr>
          <a:lstStyle/>
          <a:p>
            <a:pPr marL="0" marR="0" lvl="0" indent="0" algn="ctr" defTabSz="914400" rtl="0" eaLnBrk="1" fontAlgn="auto" latinLnBrk="0" hangingPunct="1">
              <a:lnSpc>
                <a:spcPct val="100000"/>
              </a:lnSpc>
              <a:spcBef>
                <a:spcPts val="1000"/>
              </a:spcBef>
              <a:spcAft>
                <a:spcPts val="0"/>
              </a:spcAft>
              <a:buClrTx/>
              <a:buSzTx/>
              <a:buFontTx/>
              <a:buNone/>
              <a:tabLst/>
              <a:defRPr/>
            </a:pPr>
            <a:r>
              <a:rPr kumimoji="0" lang="en-US" sz="1400" b="0" i="0" u="none" strike="noStrike" kern="1200" cap="none" spc="0" normalizeH="0" baseline="0" noProof="0" dirty="0">
                <a:ln>
                  <a:noFill/>
                </a:ln>
                <a:solidFill>
                  <a:schemeClr val="accent1"/>
                </a:solidFill>
                <a:effectLst/>
                <a:uLnTx/>
                <a:uFillTx/>
                <a:latin typeface="HarmonyOS Sans SC Black"/>
                <a:ea typeface="+mj-ea"/>
                <a:cs typeface="+mn-cs"/>
              </a:rPr>
              <a:t>02</a:t>
            </a:r>
          </a:p>
        </p:txBody>
      </p:sp>
      <p:sp>
        <p:nvSpPr>
          <p:cNvPr id="16" name="Oval 41">
            <a:extLst>
              <a:ext uri="{FF2B5EF4-FFF2-40B4-BE49-F238E27FC236}">
                <a16:creationId xmlns:a16="http://schemas.microsoft.com/office/drawing/2014/main" id="{3A640E51-CB27-43C2-95EB-1B864BC5F163}"/>
              </a:ext>
            </a:extLst>
          </p:cNvPr>
          <p:cNvSpPr/>
          <p:nvPr/>
        </p:nvSpPr>
        <p:spPr>
          <a:xfrm>
            <a:off x="6990696" y="5234834"/>
            <a:ext cx="326488" cy="326486"/>
          </a:xfrm>
          <a:prstGeom prst="ellipse">
            <a:avLst/>
          </a:prstGeom>
          <a:solidFill>
            <a:schemeClr val="bg1"/>
          </a:solidFill>
          <a:ln w="3175" cap="rnd" cmpd="sng">
            <a:noFill/>
            <a:prstDash val="dash"/>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noAutofit/>
          </a:bodyPr>
          <a:lstStyle/>
          <a:p>
            <a:pPr marL="0" marR="0" lvl="0" indent="0" algn="ctr" defTabSz="914400" rtl="0" eaLnBrk="1" fontAlgn="auto" latinLnBrk="0" hangingPunct="1">
              <a:lnSpc>
                <a:spcPct val="100000"/>
              </a:lnSpc>
              <a:spcBef>
                <a:spcPts val="1000"/>
              </a:spcBef>
              <a:spcAft>
                <a:spcPts val="0"/>
              </a:spcAft>
              <a:buClrTx/>
              <a:buSzTx/>
              <a:buFontTx/>
              <a:buNone/>
              <a:tabLst/>
              <a:defRPr/>
            </a:pPr>
            <a:r>
              <a:rPr kumimoji="0" lang="en-US" sz="1400" b="0" i="0" u="none" strike="noStrike" kern="1200" cap="none" spc="0" normalizeH="0" baseline="0" noProof="0" dirty="0">
                <a:ln>
                  <a:noFill/>
                </a:ln>
                <a:solidFill>
                  <a:schemeClr val="accent1"/>
                </a:solidFill>
                <a:effectLst/>
                <a:uLnTx/>
                <a:uFillTx/>
                <a:latin typeface="HarmonyOS Sans SC Black"/>
                <a:ea typeface="+mj-ea"/>
                <a:cs typeface="+mn-cs"/>
              </a:rPr>
              <a:t>03</a:t>
            </a:r>
          </a:p>
        </p:txBody>
      </p:sp>
      <p:sp>
        <p:nvSpPr>
          <p:cNvPr id="17" name="Oval 42">
            <a:extLst>
              <a:ext uri="{FF2B5EF4-FFF2-40B4-BE49-F238E27FC236}">
                <a16:creationId xmlns:a16="http://schemas.microsoft.com/office/drawing/2014/main" id="{B39D2FD8-2984-4720-9E1B-F48534421DF6}"/>
              </a:ext>
            </a:extLst>
          </p:cNvPr>
          <p:cNvSpPr/>
          <p:nvPr/>
        </p:nvSpPr>
        <p:spPr>
          <a:xfrm>
            <a:off x="4858600" y="5332184"/>
            <a:ext cx="326488" cy="326486"/>
          </a:xfrm>
          <a:prstGeom prst="ellipse">
            <a:avLst/>
          </a:prstGeom>
          <a:solidFill>
            <a:schemeClr val="bg1"/>
          </a:solidFill>
          <a:ln w="3175" cap="rnd" cmpd="sng">
            <a:noFill/>
            <a:prstDash val="dash"/>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noAutofit/>
          </a:bodyPr>
          <a:lstStyle/>
          <a:p>
            <a:pPr marL="0" marR="0" lvl="0" indent="0" algn="ctr" defTabSz="914400" rtl="0" eaLnBrk="1" fontAlgn="auto" latinLnBrk="0" hangingPunct="1">
              <a:lnSpc>
                <a:spcPct val="100000"/>
              </a:lnSpc>
              <a:spcBef>
                <a:spcPts val="1000"/>
              </a:spcBef>
              <a:spcAft>
                <a:spcPts val="0"/>
              </a:spcAft>
              <a:buClrTx/>
              <a:buSzTx/>
              <a:buFontTx/>
              <a:buNone/>
              <a:tabLst/>
              <a:defRPr/>
            </a:pPr>
            <a:r>
              <a:rPr kumimoji="0" lang="en-US" sz="1400" b="0" i="0" u="none" strike="noStrike" kern="1200" cap="none" spc="0" normalizeH="0" baseline="0" noProof="0" dirty="0">
                <a:ln>
                  <a:noFill/>
                </a:ln>
                <a:solidFill>
                  <a:schemeClr val="accent1"/>
                </a:solidFill>
                <a:effectLst/>
                <a:uLnTx/>
                <a:uFillTx/>
                <a:latin typeface="HarmonyOS Sans SC Black"/>
                <a:ea typeface="+mj-ea"/>
                <a:cs typeface="+mn-cs"/>
              </a:rPr>
              <a:t>04</a:t>
            </a:r>
          </a:p>
        </p:txBody>
      </p:sp>
      <p:sp>
        <p:nvSpPr>
          <p:cNvPr id="18" name="Oval 43">
            <a:extLst>
              <a:ext uri="{FF2B5EF4-FFF2-40B4-BE49-F238E27FC236}">
                <a16:creationId xmlns:a16="http://schemas.microsoft.com/office/drawing/2014/main" id="{D97CE0A0-843E-4936-BA9E-F2B43D0D880E}"/>
              </a:ext>
            </a:extLst>
          </p:cNvPr>
          <p:cNvSpPr/>
          <p:nvPr/>
        </p:nvSpPr>
        <p:spPr>
          <a:xfrm>
            <a:off x="4267236" y="3527473"/>
            <a:ext cx="326488" cy="326486"/>
          </a:xfrm>
          <a:prstGeom prst="ellipse">
            <a:avLst/>
          </a:prstGeom>
          <a:solidFill>
            <a:schemeClr val="bg1"/>
          </a:solidFill>
          <a:ln w="3175" cap="rnd" cmpd="sng">
            <a:noFill/>
            <a:prstDash val="dash"/>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noAutofit/>
          </a:bodyPr>
          <a:lstStyle/>
          <a:p>
            <a:pPr marL="0" marR="0" lvl="0" indent="0" algn="ctr" defTabSz="914400" rtl="0" eaLnBrk="1" fontAlgn="auto" latinLnBrk="0" hangingPunct="1">
              <a:lnSpc>
                <a:spcPct val="100000"/>
              </a:lnSpc>
              <a:spcBef>
                <a:spcPts val="1000"/>
              </a:spcBef>
              <a:spcAft>
                <a:spcPts val="0"/>
              </a:spcAft>
              <a:buClrTx/>
              <a:buSzTx/>
              <a:buFontTx/>
              <a:buNone/>
              <a:tabLst/>
              <a:defRPr/>
            </a:pPr>
            <a:r>
              <a:rPr kumimoji="0" lang="en-US" sz="1400" b="0" i="0" u="none" strike="noStrike" kern="1200" cap="none" spc="0" normalizeH="0" baseline="0" noProof="0" dirty="0">
                <a:ln>
                  <a:noFill/>
                </a:ln>
                <a:solidFill>
                  <a:schemeClr val="accent1"/>
                </a:solidFill>
                <a:effectLst/>
                <a:uLnTx/>
                <a:uFillTx/>
                <a:latin typeface="HarmonyOS Sans SC Black"/>
                <a:ea typeface="+mj-ea"/>
                <a:cs typeface="+mn-cs"/>
              </a:rPr>
              <a:t>05</a:t>
            </a:r>
          </a:p>
        </p:txBody>
      </p:sp>
      <p:sp>
        <p:nvSpPr>
          <p:cNvPr id="34" name="Right Triangle 61">
            <a:extLst>
              <a:ext uri="{FF2B5EF4-FFF2-40B4-BE49-F238E27FC236}">
                <a16:creationId xmlns:a16="http://schemas.microsoft.com/office/drawing/2014/main" id="{EC90FAC7-ADE9-4855-8EFB-99FCC32C1B81}"/>
              </a:ext>
            </a:extLst>
          </p:cNvPr>
          <p:cNvSpPr/>
          <p:nvPr/>
        </p:nvSpPr>
        <p:spPr>
          <a:xfrm flipV="1">
            <a:off x="1055689" y="803583"/>
            <a:ext cx="72580" cy="72177"/>
          </a:xfrm>
          <a:prstGeom prst="r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HarmonyOS Sans SC"/>
              <a:cs typeface="+mn-cs"/>
            </a:endParaRPr>
          </a:p>
        </p:txBody>
      </p:sp>
      <p:sp>
        <p:nvSpPr>
          <p:cNvPr id="35" name="文本框 34">
            <a:extLst>
              <a:ext uri="{FF2B5EF4-FFF2-40B4-BE49-F238E27FC236}">
                <a16:creationId xmlns:a16="http://schemas.microsoft.com/office/drawing/2014/main" id="{0C77EC8D-5C44-406A-95C2-7CD9E5363094}"/>
              </a:ext>
            </a:extLst>
          </p:cNvPr>
          <p:cNvSpPr txBox="1"/>
          <p:nvPr/>
        </p:nvSpPr>
        <p:spPr>
          <a:xfrm>
            <a:off x="941388" y="918105"/>
            <a:ext cx="3292889"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2800" b="0" i="0" u="none" strike="noStrike" kern="1200" cap="none" spc="0" normalizeH="0" baseline="0" noProof="0" dirty="0">
                <a:ln>
                  <a:noFill/>
                </a:ln>
                <a:solidFill>
                  <a:prstClr val="black"/>
                </a:solidFill>
                <a:effectLst/>
                <a:uLnTx/>
                <a:uFillTx/>
                <a:latin typeface="HarmonyOS Sans Black"/>
                <a:ea typeface="+mj-ea"/>
                <a:cs typeface="+mn-cs"/>
              </a:rPr>
              <a:t>Circle </a:t>
            </a:r>
            <a:r>
              <a:rPr kumimoji="0" lang="en-US" altLang="zh-CN" sz="2800" b="0" i="0" u="none" strike="noStrike" kern="1200" cap="none" spc="0" normalizeH="0" baseline="0" noProof="0" dirty="0">
                <a:ln>
                  <a:noFill/>
                </a:ln>
                <a:solidFill>
                  <a:schemeClr val="accent1"/>
                </a:solidFill>
                <a:effectLst/>
                <a:uLnTx/>
                <a:uFillTx/>
                <a:latin typeface="HarmonyOS Sans Black"/>
                <a:ea typeface="+mj-ea"/>
                <a:cs typeface="+mn-cs"/>
              </a:rPr>
              <a:t>infographic</a:t>
            </a:r>
          </a:p>
        </p:txBody>
      </p:sp>
      <p:cxnSp>
        <p:nvCxnSpPr>
          <p:cNvPr id="37" name="Straight Connector 26">
            <a:extLst>
              <a:ext uri="{FF2B5EF4-FFF2-40B4-BE49-F238E27FC236}">
                <a16:creationId xmlns:a16="http://schemas.microsoft.com/office/drawing/2014/main" id="{089E2BB3-BA0A-4C94-903F-38C2271E3EA6}"/>
              </a:ext>
            </a:extLst>
          </p:cNvPr>
          <p:cNvCxnSpPr>
            <a:cxnSpLocks/>
          </p:cNvCxnSpPr>
          <p:nvPr/>
        </p:nvCxnSpPr>
        <p:spPr>
          <a:xfrm>
            <a:off x="5666836" y="1732091"/>
            <a:ext cx="0" cy="203479"/>
          </a:xfrm>
          <a:prstGeom prst="line">
            <a:avLst/>
          </a:prstGeom>
          <a:ln w="508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8" name="Straight Connector 31">
            <a:extLst>
              <a:ext uri="{FF2B5EF4-FFF2-40B4-BE49-F238E27FC236}">
                <a16:creationId xmlns:a16="http://schemas.microsoft.com/office/drawing/2014/main" id="{4608025A-6E6C-499D-B000-429F18B491F5}"/>
              </a:ext>
            </a:extLst>
          </p:cNvPr>
          <p:cNvCxnSpPr>
            <a:cxnSpLocks/>
          </p:cNvCxnSpPr>
          <p:nvPr/>
        </p:nvCxnSpPr>
        <p:spPr>
          <a:xfrm>
            <a:off x="8285374" y="3474757"/>
            <a:ext cx="0" cy="203479"/>
          </a:xfrm>
          <a:prstGeom prst="line">
            <a:avLst/>
          </a:prstGeom>
          <a:ln w="508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9" name="Straight Connector 33">
            <a:extLst>
              <a:ext uri="{FF2B5EF4-FFF2-40B4-BE49-F238E27FC236}">
                <a16:creationId xmlns:a16="http://schemas.microsoft.com/office/drawing/2014/main" id="{B1818EED-A482-47EE-89BD-89769997C465}"/>
              </a:ext>
            </a:extLst>
          </p:cNvPr>
          <p:cNvCxnSpPr>
            <a:cxnSpLocks/>
          </p:cNvCxnSpPr>
          <p:nvPr/>
        </p:nvCxnSpPr>
        <p:spPr>
          <a:xfrm>
            <a:off x="7647103" y="5413548"/>
            <a:ext cx="0" cy="203479"/>
          </a:xfrm>
          <a:prstGeom prst="line">
            <a:avLst/>
          </a:prstGeom>
          <a:ln w="508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0" name="Straight Connector 35">
            <a:extLst>
              <a:ext uri="{FF2B5EF4-FFF2-40B4-BE49-F238E27FC236}">
                <a16:creationId xmlns:a16="http://schemas.microsoft.com/office/drawing/2014/main" id="{66586E16-1C86-4670-9E03-37DD90E785C4}"/>
              </a:ext>
            </a:extLst>
          </p:cNvPr>
          <p:cNvCxnSpPr>
            <a:cxnSpLocks/>
          </p:cNvCxnSpPr>
          <p:nvPr/>
        </p:nvCxnSpPr>
        <p:spPr>
          <a:xfrm>
            <a:off x="4546459" y="5413548"/>
            <a:ext cx="0" cy="203479"/>
          </a:xfrm>
          <a:prstGeom prst="line">
            <a:avLst/>
          </a:prstGeom>
          <a:ln w="508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1" name="Straight Connector 37">
            <a:extLst>
              <a:ext uri="{FF2B5EF4-FFF2-40B4-BE49-F238E27FC236}">
                <a16:creationId xmlns:a16="http://schemas.microsoft.com/office/drawing/2014/main" id="{D77FEAC6-3FC4-48BA-9FA0-7E1CA4A12858}"/>
              </a:ext>
            </a:extLst>
          </p:cNvPr>
          <p:cNvCxnSpPr>
            <a:cxnSpLocks/>
          </p:cNvCxnSpPr>
          <p:nvPr/>
        </p:nvCxnSpPr>
        <p:spPr>
          <a:xfrm>
            <a:off x="3705788" y="3517947"/>
            <a:ext cx="0" cy="203479"/>
          </a:xfrm>
          <a:prstGeom prst="line">
            <a:avLst/>
          </a:prstGeom>
          <a:ln w="50800">
            <a:solidFill>
              <a:schemeClr val="accent1"/>
            </a:solidFill>
          </a:ln>
        </p:spPr>
        <p:style>
          <a:lnRef idx="1">
            <a:schemeClr val="accent1"/>
          </a:lnRef>
          <a:fillRef idx="0">
            <a:schemeClr val="accent1"/>
          </a:fillRef>
          <a:effectRef idx="0">
            <a:schemeClr val="accent1"/>
          </a:effectRef>
          <a:fontRef idx="minor">
            <a:schemeClr val="tx1"/>
          </a:fontRef>
        </p:style>
      </p:cxnSp>
      <p:sp>
        <p:nvSpPr>
          <p:cNvPr id="42" name="TextBox 27">
            <a:extLst>
              <a:ext uri="{FF2B5EF4-FFF2-40B4-BE49-F238E27FC236}">
                <a16:creationId xmlns:a16="http://schemas.microsoft.com/office/drawing/2014/main" id="{0C133A7F-C85B-419A-B384-59CD7003591E}"/>
              </a:ext>
            </a:extLst>
          </p:cNvPr>
          <p:cNvSpPr txBox="1"/>
          <p:nvPr/>
        </p:nvSpPr>
        <p:spPr>
          <a:xfrm>
            <a:off x="8398050" y="3417511"/>
            <a:ext cx="2096948" cy="306944"/>
          </a:xfrm>
          <a:prstGeom prst="rect">
            <a:avLst/>
          </a:prstGeom>
          <a:noFill/>
        </p:spPr>
        <p:txBody>
          <a:bodyPr wrap="square" lIns="0" tIns="0" rIns="0" bIns="0" rtlCol="0">
            <a:spAutoFit/>
          </a:bodyPr>
          <a:lstStyle>
            <a:defPPr>
              <a:defRPr lang="zh-CN"/>
            </a:defPPr>
            <a:lvl1pPr marR="0" lvl="0" indent="0" fontAlgn="auto">
              <a:lnSpc>
                <a:spcPct val="120000"/>
              </a:lnSpc>
              <a:spcBef>
                <a:spcPts val="1200"/>
              </a:spcBef>
              <a:spcAft>
                <a:spcPts val="0"/>
              </a:spcAft>
              <a:buClrTx/>
              <a:buSzTx/>
              <a:buFontTx/>
              <a:buNone/>
              <a:tabLst/>
              <a:defRPr kumimoji="0" b="0" i="0" u="none" strike="noStrike" cap="none" spc="0" normalizeH="0" baseline="0">
                <a:ln>
                  <a:noFill/>
                </a:ln>
                <a:solidFill>
                  <a:schemeClr val="tx1">
                    <a:lumMod val="75000"/>
                    <a:lumOff val="25000"/>
                  </a:schemeClr>
                </a:solidFill>
                <a:effectLst/>
                <a:uLnTx/>
                <a:uFillTx/>
                <a:latin typeface="+mj-ea"/>
                <a:ea typeface="+mj-ea"/>
              </a:defRPr>
            </a:lvl1pPr>
          </a:lstStyle>
          <a:p>
            <a:pPr marL="0" marR="0" lvl="0" indent="0" algn="l" defTabSz="914400" rtl="0" eaLnBrk="1" fontAlgn="auto" latinLnBrk="0" hangingPunct="1">
              <a:lnSpc>
                <a:spcPct val="120000"/>
              </a:lnSpc>
              <a:spcBef>
                <a:spcPts val="1200"/>
              </a:spcBef>
              <a:spcAft>
                <a:spcPts val="0"/>
              </a:spcAft>
              <a:buClrTx/>
              <a:buSzTx/>
              <a:buFontTx/>
              <a:buNone/>
              <a:tabLst/>
              <a:defRPr/>
            </a:pPr>
            <a:r>
              <a:rPr kumimoji="0" lang="en-US" sz="1800" b="0" i="0" u="none" strike="noStrike" kern="1200" cap="none" spc="0" normalizeH="0" baseline="0" noProof="0" dirty="0">
                <a:ln>
                  <a:noFill/>
                </a:ln>
                <a:solidFill>
                  <a:prstClr val="black">
                    <a:lumMod val="75000"/>
                    <a:lumOff val="25000"/>
                  </a:prstClr>
                </a:solidFill>
                <a:effectLst/>
                <a:uLnTx/>
                <a:uFillTx/>
                <a:latin typeface="HarmonyOS Sans SC Black"/>
                <a:cs typeface="+mn-cs"/>
              </a:rPr>
              <a:t>02</a:t>
            </a:r>
            <a:r>
              <a:rPr kumimoji="0" lang="en-US" sz="1800" b="0" i="0" u="none" strike="noStrike" kern="1200" cap="none" spc="0" normalizeH="0" baseline="0" noProof="0">
                <a:ln>
                  <a:noFill/>
                </a:ln>
                <a:solidFill>
                  <a:prstClr val="black">
                    <a:lumMod val="75000"/>
                    <a:lumOff val="25000"/>
                  </a:prstClr>
                </a:solidFill>
                <a:effectLst/>
                <a:uLnTx/>
                <a:uFillTx/>
                <a:latin typeface="HarmonyOS Sans SC Black"/>
                <a:cs typeface="+mn-cs"/>
              </a:rPr>
              <a:t>. Think</a:t>
            </a:r>
            <a:endParaRPr kumimoji="0" lang="en-US" sz="1800" b="0" i="0" u="none" strike="noStrike" kern="1200" cap="none" spc="0" normalizeH="0" baseline="0" noProof="0" dirty="0">
              <a:ln>
                <a:noFill/>
              </a:ln>
              <a:solidFill>
                <a:prstClr val="black">
                  <a:lumMod val="75000"/>
                  <a:lumOff val="25000"/>
                </a:prstClr>
              </a:solidFill>
              <a:effectLst/>
              <a:uLnTx/>
              <a:uFillTx/>
              <a:latin typeface="HarmonyOS Sans SC Black"/>
              <a:cs typeface="+mn-cs"/>
            </a:endParaRPr>
          </a:p>
        </p:txBody>
      </p:sp>
      <p:sp>
        <p:nvSpPr>
          <p:cNvPr id="43" name="TextBox 27">
            <a:extLst>
              <a:ext uri="{FF2B5EF4-FFF2-40B4-BE49-F238E27FC236}">
                <a16:creationId xmlns:a16="http://schemas.microsoft.com/office/drawing/2014/main" id="{857B2E1C-041E-4F16-9EE3-FA9BE30B0933}"/>
              </a:ext>
            </a:extLst>
          </p:cNvPr>
          <p:cNvSpPr txBox="1"/>
          <p:nvPr/>
        </p:nvSpPr>
        <p:spPr>
          <a:xfrm>
            <a:off x="8398050" y="3781932"/>
            <a:ext cx="3325364" cy="169918"/>
          </a:xfrm>
          <a:prstGeom prst="rect">
            <a:avLst/>
          </a:prstGeom>
          <a:noFill/>
        </p:spPr>
        <p:txBody>
          <a:bodyPr wrap="square" lIns="0" tIns="0" rIns="0" bIns="0" rtlCol="0">
            <a:spAutoFit/>
          </a:bodyPr>
          <a:lstStyle>
            <a:defPPr>
              <a:defRPr lang="zh-CN"/>
            </a:defPPr>
            <a:lvl1pPr marR="0" lvl="0" indent="0" fontAlgn="auto">
              <a:lnSpc>
                <a:spcPct val="120000"/>
              </a:lnSpc>
              <a:spcBef>
                <a:spcPts val="1200"/>
              </a:spcBef>
              <a:spcAft>
                <a:spcPts val="0"/>
              </a:spcAft>
              <a:buClrTx/>
              <a:buSzTx/>
              <a:buFontTx/>
              <a:buNone/>
              <a:tabLst/>
              <a:defRPr kumimoji="0" sz="1000" b="0" i="0" u="none" strike="noStrike" cap="none" spc="0" normalizeH="0" baseline="0">
                <a:ln>
                  <a:noFill/>
                </a:ln>
                <a:solidFill>
                  <a:schemeClr val="tx1">
                    <a:lumMod val="50000"/>
                    <a:lumOff val="50000"/>
                  </a:schemeClr>
                </a:solidFill>
                <a:effectLst/>
                <a:uLnTx/>
                <a:uFillTx/>
                <a:latin typeface="+mn-ea"/>
              </a:defRPr>
            </a:lvl1pPr>
          </a:lstStyle>
          <a:p>
            <a:pPr marL="0" marR="0" lvl="0" indent="0" algn="l" defTabSz="914400" rtl="0" eaLnBrk="1" fontAlgn="auto" latinLnBrk="0" hangingPunct="1">
              <a:lnSpc>
                <a:spcPct val="120000"/>
              </a:lnSpc>
              <a:spcBef>
                <a:spcPts val="120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HarmonyOS Sans SC"/>
                <a:cs typeface="+mn-cs"/>
              </a:rPr>
              <a:t>The first people you’ll meet are our experts in business.</a:t>
            </a:r>
          </a:p>
        </p:txBody>
      </p:sp>
      <p:sp>
        <p:nvSpPr>
          <p:cNvPr id="44" name="TextBox 25">
            <a:extLst>
              <a:ext uri="{FF2B5EF4-FFF2-40B4-BE49-F238E27FC236}">
                <a16:creationId xmlns:a16="http://schemas.microsoft.com/office/drawing/2014/main" id="{0FAED87A-FDAE-438D-9967-912CD577046F}"/>
              </a:ext>
            </a:extLst>
          </p:cNvPr>
          <p:cNvSpPr txBox="1"/>
          <p:nvPr/>
        </p:nvSpPr>
        <p:spPr>
          <a:xfrm>
            <a:off x="5779512" y="1674282"/>
            <a:ext cx="2096948" cy="306944"/>
          </a:xfrm>
          <a:prstGeom prst="rect">
            <a:avLst/>
          </a:prstGeom>
          <a:noFill/>
        </p:spPr>
        <p:txBody>
          <a:bodyPr wrap="square" lIns="0" tIns="0" rIns="0" bIns="0" rtlCol="0">
            <a:spAutoFit/>
          </a:bodyPr>
          <a:lstStyle>
            <a:defPPr>
              <a:defRPr lang="zh-CN"/>
            </a:defPPr>
            <a:lvl1pPr marR="0" lvl="0" indent="0" fontAlgn="auto">
              <a:lnSpc>
                <a:spcPct val="120000"/>
              </a:lnSpc>
              <a:spcBef>
                <a:spcPts val="1200"/>
              </a:spcBef>
              <a:spcAft>
                <a:spcPts val="0"/>
              </a:spcAft>
              <a:buClrTx/>
              <a:buSzTx/>
              <a:buFontTx/>
              <a:buNone/>
              <a:tabLst/>
              <a:defRPr kumimoji="0" b="0" i="0" u="none" strike="noStrike" cap="none" spc="0" normalizeH="0" baseline="0">
                <a:ln>
                  <a:noFill/>
                </a:ln>
                <a:solidFill>
                  <a:schemeClr val="tx1">
                    <a:lumMod val="75000"/>
                    <a:lumOff val="25000"/>
                  </a:schemeClr>
                </a:solidFill>
                <a:effectLst/>
                <a:uLnTx/>
                <a:uFillTx/>
                <a:latin typeface="+mj-ea"/>
                <a:ea typeface="+mj-ea"/>
              </a:defRPr>
            </a:lvl1pPr>
          </a:lstStyle>
          <a:p>
            <a:pPr marL="0" marR="0" lvl="0" indent="0" algn="l" defTabSz="914400" rtl="0" eaLnBrk="1" fontAlgn="auto" latinLnBrk="0" hangingPunct="1">
              <a:lnSpc>
                <a:spcPct val="120000"/>
              </a:lnSpc>
              <a:spcBef>
                <a:spcPts val="1200"/>
              </a:spcBef>
              <a:spcAft>
                <a:spcPts val="0"/>
              </a:spcAft>
              <a:buClrTx/>
              <a:buSzTx/>
              <a:buFontTx/>
              <a:buNone/>
              <a:tabLst/>
              <a:defRPr/>
            </a:pPr>
            <a:r>
              <a:rPr kumimoji="0" lang="en-US" sz="1800" b="0" i="0" u="none" strike="noStrike" kern="1200" cap="none" spc="0" normalizeH="0" baseline="0" noProof="0" dirty="0">
                <a:ln>
                  <a:noFill/>
                </a:ln>
                <a:solidFill>
                  <a:prstClr val="black">
                    <a:lumMod val="75000"/>
                    <a:lumOff val="25000"/>
                  </a:prstClr>
                </a:solidFill>
                <a:effectLst/>
                <a:uLnTx/>
                <a:uFillTx/>
                <a:latin typeface="HarmonyOS Sans SC Black"/>
                <a:cs typeface="+mn-cs"/>
              </a:rPr>
              <a:t>01. Think</a:t>
            </a:r>
          </a:p>
        </p:txBody>
      </p:sp>
      <p:sp>
        <p:nvSpPr>
          <p:cNvPr id="45" name="TextBox 25">
            <a:extLst>
              <a:ext uri="{FF2B5EF4-FFF2-40B4-BE49-F238E27FC236}">
                <a16:creationId xmlns:a16="http://schemas.microsoft.com/office/drawing/2014/main" id="{331A64C5-A757-4F59-8529-54BA8770F6C4}"/>
              </a:ext>
            </a:extLst>
          </p:cNvPr>
          <p:cNvSpPr txBox="1"/>
          <p:nvPr/>
        </p:nvSpPr>
        <p:spPr>
          <a:xfrm>
            <a:off x="5779511" y="2038703"/>
            <a:ext cx="3547325" cy="169918"/>
          </a:xfrm>
          <a:prstGeom prst="rect">
            <a:avLst/>
          </a:prstGeom>
          <a:noFill/>
        </p:spPr>
        <p:txBody>
          <a:bodyPr wrap="square" lIns="0" tIns="0" rIns="0" bIns="0" rtlCol="0">
            <a:spAutoFit/>
          </a:bodyPr>
          <a:lstStyle>
            <a:defPPr>
              <a:defRPr lang="zh-CN"/>
            </a:defPPr>
            <a:lvl1pPr marR="0" lvl="0" indent="0" fontAlgn="auto">
              <a:lnSpc>
                <a:spcPct val="120000"/>
              </a:lnSpc>
              <a:spcBef>
                <a:spcPts val="1200"/>
              </a:spcBef>
              <a:spcAft>
                <a:spcPts val="0"/>
              </a:spcAft>
              <a:buClrTx/>
              <a:buSzTx/>
              <a:buFontTx/>
              <a:buNone/>
              <a:tabLst/>
              <a:defRPr kumimoji="0" sz="1000" b="0" i="0" u="none" strike="noStrike" cap="none" spc="0" normalizeH="0" baseline="0">
                <a:ln>
                  <a:noFill/>
                </a:ln>
                <a:solidFill>
                  <a:schemeClr val="tx1">
                    <a:lumMod val="50000"/>
                    <a:lumOff val="50000"/>
                  </a:schemeClr>
                </a:solidFill>
                <a:effectLst/>
                <a:uLnTx/>
                <a:uFillTx/>
                <a:latin typeface="+mn-ea"/>
              </a:defRPr>
            </a:lvl1pPr>
          </a:lstStyle>
          <a:p>
            <a:pPr marL="0" marR="0" lvl="0" indent="0" algn="l" defTabSz="914400" rtl="0" eaLnBrk="1" fontAlgn="auto" latinLnBrk="0" hangingPunct="1">
              <a:lnSpc>
                <a:spcPct val="120000"/>
              </a:lnSpc>
              <a:spcBef>
                <a:spcPts val="120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HarmonyOS Sans SC"/>
                <a:cs typeface="+mn-cs"/>
              </a:rPr>
              <a:t>The first people you’ll meet are our experts in business.</a:t>
            </a:r>
          </a:p>
        </p:txBody>
      </p:sp>
      <p:sp>
        <p:nvSpPr>
          <p:cNvPr id="46" name="TextBox 36">
            <a:extLst>
              <a:ext uri="{FF2B5EF4-FFF2-40B4-BE49-F238E27FC236}">
                <a16:creationId xmlns:a16="http://schemas.microsoft.com/office/drawing/2014/main" id="{A19CA1AE-3751-45ED-AE1D-DF7860D48DFF}"/>
              </a:ext>
            </a:extLst>
          </p:cNvPr>
          <p:cNvSpPr txBox="1"/>
          <p:nvPr/>
        </p:nvSpPr>
        <p:spPr>
          <a:xfrm>
            <a:off x="2266689" y="3460701"/>
            <a:ext cx="1320549" cy="306944"/>
          </a:xfrm>
          <a:prstGeom prst="rect">
            <a:avLst/>
          </a:prstGeom>
          <a:noFill/>
        </p:spPr>
        <p:txBody>
          <a:bodyPr wrap="square" lIns="0" tIns="0" rIns="0" bIns="0" rtlCol="0">
            <a:spAutoFit/>
          </a:bodyPr>
          <a:lstStyle>
            <a:defPPr>
              <a:defRPr lang="zh-CN"/>
            </a:defPPr>
            <a:lvl1pPr marR="0" lvl="0" indent="0" fontAlgn="auto">
              <a:lnSpc>
                <a:spcPct val="120000"/>
              </a:lnSpc>
              <a:spcBef>
                <a:spcPts val="1200"/>
              </a:spcBef>
              <a:spcAft>
                <a:spcPts val="0"/>
              </a:spcAft>
              <a:buClrTx/>
              <a:buSzTx/>
              <a:buFontTx/>
              <a:buNone/>
              <a:tabLst/>
              <a:defRPr kumimoji="0" b="0" i="0" u="none" strike="noStrike" cap="none" spc="0" normalizeH="0" baseline="0">
                <a:ln>
                  <a:noFill/>
                </a:ln>
                <a:solidFill>
                  <a:schemeClr val="tx1">
                    <a:lumMod val="75000"/>
                    <a:lumOff val="25000"/>
                  </a:schemeClr>
                </a:solidFill>
                <a:effectLst/>
                <a:uLnTx/>
                <a:uFillTx/>
                <a:latin typeface="+mj-ea"/>
                <a:ea typeface="+mj-ea"/>
              </a:defRPr>
            </a:lvl1pPr>
          </a:lstStyle>
          <a:p>
            <a:pPr marL="0" marR="0" lvl="0" indent="0" algn="r" defTabSz="914400" rtl="0" eaLnBrk="1" fontAlgn="auto" latinLnBrk="0" hangingPunct="1">
              <a:lnSpc>
                <a:spcPct val="120000"/>
              </a:lnSpc>
              <a:spcBef>
                <a:spcPts val="1200"/>
              </a:spcBef>
              <a:spcAft>
                <a:spcPts val="0"/>
              </a:spcAft>
              <a:buClrTx/>
              <a:buSzTx/>
              <a:buFontTx/>
              <a:buNone/>
              <a:tabLst/>
              <a:defRPr/>
            </a:pPr>
            <a:r>
              <a:rPr kumimoji="0" lang="en-US" sz="1800" b="0" i="0" u="none" strike="noStrike" kern="1200" cap="none" spc="0" normalizeH="0" baseline="0" noProof="0" dirty="0">
                <a:ln>
                  <a:noFill/>
                </a:ln>
                <a:solidFill>
                  <a:prstClr val="black">
                    <a:lumMod val="75000"/>
                    <a:lumOff val="25000"/>
                  </a:prstClr>
                </a:solidFill>
                <a:effectLst/>
                <a:uLnTx/>
                <a:uFillTx/>
                <a:latin typeface="HarmonyOS Sans SC Black"/>
                <a:cs typeface="+mn-cs"/>
              </a:rPr>
              <a:t>05. Think</a:t>
            </a:r>
          </a:p>
        </p:txBody>
      </p:sp>
      <p:sp>
        <p:nvSpPr>
          <p:cNvPr id="47" name="TextBox 36">
            <a:extLst>
              <a:ext uri="{FF2B5EF4-FFF2-40B4-BE49-F238E27FC236}">
                <a16:creationId xmlns:a16="http://schemas.microsoft.com/office/drawing/2014/main" id="{65C86FA3-1EEF-43A3-BB24-640C5E6B79E6}"/>
              </a:ext>
            </a:extLst>
          </p:cNvPr>
          <p:cNvSpPr txBox="1"/>
          <p:nvPr/>
        </p:nvSpPr>
        <p:spPr>
          <a:xfrm>
            <a:off x="1487853" y="3825122"/>
            <a:ext cx="2099385" cy="169918"/>
          </a:xfrm>
          <a:prstGeom prst="rect">
            <a:avLst/>
          </a:prstGeom>
          <a:noFill/>
        </p:spPr>
        <p:txBody>
          <a:bodyPr wrap="square" lIns="0" tIns="0" rIns="0" bIns="0" rtlCol="0">
            <a:spAutoFit/>
          </a:bodyPr>
          <a:lstStyle>
            <a:defPPr>
              <a:defRPr lang="zh-CN"/>
            </a:defPPr>
            <a:lvl1pPr marR="0" lvl="0" indent="0" fontAlgn="auto">
              <a:lnSpc>
                <a:spcPct val="120000"/>
              </a:lnSpc>
              <a:spcBef>
                <a:spcPts val="1200"/>
              </a:spcBef>
              <a:spcAft>
                <a:spcPts val="0"/>
              </a:spcAft>
              <a:buClrTx/>
              <a:buSzTx/>
              <a:buFontTx/>
              <a:buNone/>
              <a:tabLst/>
              <a:defRPr kumimoji="0" sz="1000" b="0" i="0" u="none" strike="noStrike" cap="none" spc="0" normalizeH="0" baseline="0">
                <a:ln>
                  <a:noFill/>
                </a:ln>
                <a:solidFill>
                  <a:schemeClr val="tx1">
                    <a:lumMod val="50000"/>
                    <a:lumOff val="50000"/>
                  </a:schemeClr>
                </a:solidFill>
                <a:effectLst/>
                <a:uLnTx/>
                <a:uFillTx/>
                <a:latin typeface="+mn-ea"/>
              </a:defRPr>
            </a:lvl1pPr>
          </a:lstStyle>
          <a:p>
            <a:pPr marL="0" marR="0" lvl="0" indent="0" algn="r" defTabSz="914400" rtl="0" eaLnBrk="1" fontAlgn="auto" latinLnBrk="0" hangingPunct="1">
              <a:lnSpc>
                <a:spcPct val="120000"/>
              </a:lnSpc>
              <a:spcBef>
                <a:spcPts val="120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HarmonyOS Sans SC"/>
                <a:cs typeface="+mn-cs"/>
              </a:rPr>
              <a:t>The first people you’ll meet are our.</a:t>
            </a:r>
          </a:p>
        </p:txBody>
      </p:sp>
      <p:sp>
        <p:nvSpPr>
          <p:cNvPr id="48" name="TextBox 34">
            <a:extLst>
              <a:ext uri="{FF2B5EF4-FFF2-40B4-BE49-F238E27FC236}">
                <a16:creationId xmlns:a16="http://schemas.microsoft.com/office/drawing/2014/main" id="{9ABD8DD1-7B17-4E29-B765-397D481DF134}"/>
              </a:ext>
            </a:extLst>
          </p:cNvPr>
          <p:cNvSpPr txBox="1"/>
          <p:nvPr/>
        </p:nvSpPr>
        <p:spPr>
          <a:xfrm>
            <a:off x="2282069" y="5361815"/>
            <a:ext cx="2096948" cy="306944"/>
          </a:xfrm>
          <a:prstGeom prst="rect">
            <a:avLst/>
          </a:prstGeom>
          <a:noFill/>
        </p:spPr>
        <p:txBody>
          <a:bodyPr wrap="square" lIns="0" tIns="0" rIns="0" bIns="0" rtlCol="0">
            <a:spAutoFit/>
          </a:bodyPr>
          <a:lstStyle>
            <a:defPPr>
              <a:defRPr lang="zh-CN"/>
            </a:defPPr>
            <a:lvl1pPr marR="0" lvl="0" indent="0" fontAlgn="auto">
              <a:lnSpc>
                <a:spcPct val="120000"/>
              </a:lnSpc>
              <a:spcBef>
                <a:spcPts val="1200"/>
              </a:spcBef>
              <a:spcAft>
                <a:spcPts val="0"/>
              </a:spcAft>
              <a:buClrTx/>
              <a:buSzTx/>
              <a:buFontTx/>
              <a:buNone/>
              <a:tabLst/>
              <a:defRPr kumimoji="0" b="0" i="0" u="none" strike="noStrike" cap="none" spc="0" normalizeH="0" baseline="0">
                <a:ln>
                  <a:noFill/>
                </a:ln>
                <a:solidFill>
                  <a:schemeClr val="tx1">
                    <a:lumMod val="75000"/>
                    <a:lumOff val="25000"/>
                  </a:schemeClr>
                </a:solidFill>
                <a:effectLst/>
                <a:uLnTx/>
                <a:uFillTx/>
                <a:latin typeface="+mj-ea"/>
                <a:ea typeface="+mj-ea"/>
              </a:defRPr>
            </a:lvl1pPr>
          </a:lstStyle>
          <a:p>
            <a:pPr marL="0" marR="0" lvl="0" indent="0" algn="r" defTabSz="914400" rtl="0" eaLnBrk="1" fontAlgn="auto" latinLnBrk="0" hangingPunct="1">
              <a:lnSpc>
                <a:spcPct val="120000"/>
              </a:lnSpc>
              <a:spcBef>
                <a:spcPts val="1200"/>
              </a:spcBef>
              <a:spcAft>
                <a:spcPts val="0"/>
              </a:spcAft>
              <a:buClrTx/>
              <a:buSzTx/>
              <a:buFontTx/>
              <a:buNone/>
              <a:tabLst/>
              <a:defRPr/>
            </a:pPr>
            <a:r>
              <a:rPr kumimoji="0" lang="en-US" sz="1800" b="0" i="0" u="none" strike="noStrike" kern="1200" cap="none" spc="0" normalizeH="0" baseline="0" noProof="0" dirty="0">
                <a:ln>
                  <a:noFill/>
                </a:ln>
                <a:solidFill>
                  <a:prstClr val="black">
                    <a:lumMod val="75000"/>
                    <a:lumOff val="25000"/>
                  </a:prstClr>
                </a:solidFill>
                <a:effectLst/>
                <a:uLnTx/>
                <a:uFillTx/>
                <a:latin typeface="HarmonyOS Sans SC Black"/>
                <a:cs typeface="+mn-cs"/>
              </a:rPr>
              <a:t>04</a:t>
            </a:r>
            <a:r>
              <a:rPr kumimoji="0" lang="en-US" sz="1800" b="0" i="0" u="none" strike="noStrike" kern="1200" cap="none" spc="0" normalizeH="0" baseline="0" noProof="0">
                <a:ln>
                  <a:noFill/>
                </a:ln>
                <a:solidFill>
                  <a:prstClr val="black">
                    <a:lumMod val="75000"/>
                    <a:lumOff val="25000"/>
                  </a:prstClr>
                </a:solidFill>
                <a:effectLst/>
                <a:uLnTx/>
                <a:uFillTx/>
                <a:latin typeface="HarmonyOS Sans SC Black"/>
                <a:cs typeface="+mn-cs"/>
              </a:rPr>
              <a:t>. Think</a:t>
            </a:r>
            <a:endParaRPr kumimoji="0" lang="en-US" sz="1800" b="0" i="0" u="none" strike="noStrike" kern="1200" cap="none" spc="0" normalizeH="0" baseline="0" noProof="0" dirty="0">
              <a:ln>
                <a:noFill/>
              </a:ln>
              <a:solidFill>
                <a:prstClr val="black">
                  <a:lumMod val="75000"/>
                  <a:lumOff val="25000"/>
                </a:prstClr>
              </a:solidFill>
              <a:effectLst/>
              <a:uLnTx/>
              <a:uFillTx/>
              <a:latin typeface="HarmonyOS Sans SC Black"/>
              <a:cs typeface="+mn-cs"/>
            </a:endParaRPr>
          </a:p>
        </p:txBody>
      </p:sp>
      <p:sp>
        <p:nvSpPr>
          <p:cNvPr id="49" name="TextBox 34">
            <a:extLst>
              <a:ext uri="{FF2B5EF4-FFF2-40B4-BE49-F238E27FC236}">
                <a16:creationId xmlns:a16="http://schemas.microsoft.com/office/drawing/2014/main" id="{9F4C9CC1-5902-4173-B49F-6862A8E91E7D}"/>
              </a:ext>
            </a:extLst>
          </p:cNvPr>
          <p:cNvSpPr txBox="1"/>
          <p:nvPr/>
        </p:nvSpPr>
        <p:spPr>
          <a:xfrm>
            <a:off x="1055688" y="5726236"/>
            <a:ext cx="3323329" cy="169918"/>
          </a:xfrm>
          <a:prstGeom prst="rect">
            <a:avLst/>
          </a:prstGeom>
          <a:noFill/>
        </p:spPr>
        <p:txBody>
          <a:bodyPr wrap="square" lIns="0" tIns="0" rIns="0" bIns="0" rtlCol="0">
            <a:spAutoFit/>
          </a:bodyPr>
          <a:lstStyle>
            <a:defPPr>
              <a:defRPr lang="zh-CN"/>
            </a:defPPr>
            <a:lvl1pPr marR="0" lvl="0" indent="0" fontAlgn="auto">
              <a:lnSpc>
                <a:spcPct val="120000"/>
              </a:lnSpc>
              <a:spcBef>
                <a:spcPts val="1200"/>
              </a:spcBef>
              <a:spcAft>
                <a:spcPts val="0"/>
              </a:spcAft>
              <a:buClrTx/>
              <a:buSzTx/>
              <a:buFontTx/>
              <a:buNone/>
              <a:tabLst/>
              <a:defRPr kumimoji="0" sz="1000" b="0" i="0" u="none" strike="noStrike" cap="none" spc="0" normalizeH="0" baseline="0">
                <a:ln>
                  <a:noFill/>
                </a:ln>
                <a:solidFill>
                  <a:schemeClr val="tx1">
                    <a:lumMod val="50000"/>
                    <a:lumOff val="50000"/>
                  </a:schemeClr>
                </a:solidFill>
                <a:effectLst/>
                <a:uLnTx/>
                <a:uFillTx/>
                <a:latin typeface="+mn-ea"/>
              </a:defRPr>
            </a:lvl1pPr>
          </a:lstStyle>
          <a:p>
            <a:pPr marL="0" marR="0" lvl="0" indent="0" algn="r" defTabSz="914400" rtl="0" eaLnBrk="1" fontAlgn="auto" latinLnBrk="0" hangingPunct="1">
              <a:lnSpc>
                <a:spcPct val="120000"/>
              </a:lnSpc>
              <a:spcBef>
                <a:spcPts val="120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HarmonyOS Sans SC"/>
                <a:cs typeface="+mn-cs"/>
              </a:rPr>
              <a:t>The first people you’ll meet are our experts in business.</a:t>
            </a:r>
          </a:p>
        </p:txBody>
      </p:sp>
      <p:sp>
        <p:nvSpPr>
          <p:cNvPr id="50" name="TextBox 32">
            <a:extLst>
              <a:ext uri="{FF2B5EF4-FFF2-40B4-BE49-F238E27FC236}">
                <a16:creationId xmlns:a16="http://schemas.microsoft.com/office/drawing/2014/main" id="{57F9ACF5-F8B4-45B2-94AD-966B9AD8BFC3}"/>
              </a:ext>
            </a:extLst>
          </p:cNvPr>
          <p:cNvSpPr txBox="1"/>
          <p:nvPr/>
        </p:nvSpPr>
        <p:spPr>
          <a:xfrm>
            <a:off x="7784718" y="5361815"/>
            <a:ext cx="2096948" cy="306944"/>
          </a:xfrm>
          <a:prstGeom prst="rect">
            <a:avLst/>
          </a:prstGeom>
          <a:noFill/>
        </p:spPr>
        <p:txBody>
          <a:bodyPr wrap="square" lIns="0" tIns="0" rIns="0" bIns="0" rtlCol="0">
            <a:spAutoFit/>
          </a:bodyPr>
          <a:lstStyle>
            <a:defPPr>
              <a:defRPr lang="zh-CN"/>
            </a:defPPr>
            <a:lvl1pPr marR="0" lvl="0" indent="0" fontAlgn="auto">
              <a:lnSpc>
                <a:spcPct val="120000"/>
              </a:lnSpc>
              <a:spcBef>
                <a:spcPts val="1200"/>
              </a:spcBef>
              <a:spcAft>
                <a:spcPts val="0"/>
              </a:spcAft>
              <a:buClrTx/>
              <a:buSzTx/>
              <a:buFontTx/>
              <a:buNone/>
              <a:tabLst/>
              <a:defRPr kumimoji="0" b="0" i="0" u="none" strike="noStrike" cap="none" spc="0" normalizeH="0" baseline="0">
                <a:ln>
                  <a:noFill/>
                </a:ln>
                <a:solidFill>
                  <a:schemeClr val="tx1">
                    <a:lumMod val="75000"/>
                    <a:lumOff val="25000"/>
                  </a:schemeClr>
                </a:solidFill>
                <a:effectLst/>
                <a:uLnTx/>
                <a:uFillTx/>
                <a:latin typeface="+mj-ea"/>
                <a:ea typeface="+mj-ea"/>
              </a:defRPr>
            </a:lvl1pPr>
          </a:lstStyle>
          <a:p>
            <a:pPr marL="0" marR="0" lvl="0" indent="0" algn="l" defTabSz="914400" rtl="0" eaLnBrk="1" fontAlgn="auto" latinLnBrk="0" hangingPunct="1">
              <a:lnSpc>
                <a:spcPct val="120000"/>
              </a:lnSpc>
              <a:spcBef>
                <a:spcPts val="1200"/>
              </a:spcBef>
              <a:spcAft>
                <a:spcPts val="0"/>
              </a:spcAft>
              <a:buClrTx/>
              <a:buSzTx/>
              <a:buFontTx/>
              <a:buNone/>
              <a:tabLst/>
              <a:defRPr/>
            </a:pPr>
            <a:r>
              <a:rPr kumimoji="0" lang="en-US" sz="1800" b="0" i="0" u="none" strike="noStrike" kern="1200" cap="none" spc="0" normalizeH="0" baseline="0" noProof="0" dirty="0">
                <a:ln>
                  <a:noFill/>
                </a:ln>
                <a:solidFill>
                  <a:prstClr val="black">
                    <a:lumMod val="75000"/>
                    <a:lumOff val="25000"/>
                  </a:prstClr>
                </a:solidFill>
                <a:effectLst/>
                <a:uLnTx/>
                <a:uFillTx/>
                <a:latin typeface="HarmonyOS Sans SC Black"/>
                <a:cs typeface="+mn-cs"/>
              </a:rPr>
              <a:t>03. Think</a:t>
            </a:r>
          </a:p>
        </p:txBody>
      </p:sp>
      <p:sp>
        <p:nvSpPr>
          <p:cNvPr id="51" name="TextBox 32">
            <a:extLst>
              <a:ext uri="{FF2B5EF4-FFF2-40B4-BE49-F238E27FC236}">
                <a16:creationId xmlns:a16="http://schemas.microsoft.com/office/drawing/2014/main" id="{8D85290A-4D0B-4C0E-8E44-D8DFBEED48A2}"/>
              </a:ext>
            </a:extLst>
          </p:cNvPr>
          <p:cNvSpPr txBox="1"/>
          <p:nvPr/>
        </p:nvSpPr>
        <p:spPr>
          <a:xfrm>
            <a:off x="7784717" y="5726236"/>
            <a:ext cx="3464307" cy="169918"/>
          </a:xfrm>
          <a:prstGeom prst="rect">
            <a:avLst/>
          </a:prstGeom>
          <a:noFill/>
        </p:spPr>
        <p:txBody>
          <a:bodyPr wrap="square" lIns="0" tIns="0" rIns="0" bIns="0" rtlCol="0">
            <a:spAutoFit/>
          </a:bodyPr>
          <a:lstStyle>
            <a:defPPr>
              <a:defRPr lang="zh-CN"/>
            </a:defPPr>
            <a:lvl1pPr marR="0" lvl="0" indent="0" fontAlgn="auto">
              <a:lnSpc>
                <a:spcPct val="120000"/>
              </a:lnSpc>
              <a:spcBef>
                <a:spcPts val="1200"/>
              </a:spcBef>
              <a:spcAft>
                <a:spcPts val="0"/>
              </a:spcAft>
              <a:buClrTx/>
              <a:buSzTx/>
              <a:buFontTx/>
              <a:buNone/>
              <a:tabLst/>
              <a:defRPr kumimoji="0" sz="1000" b="0" i="0" u="none" strike="noStrike" cap="none" spc="0" normalizeH="0" baseline="0">
                <a:ln>
                  <a:noFill/>
                </a:ln>
                <a:solidFill>
                  <a:schemeClr val="tx1">
                    <a:lumMod val="50000"/>
                    <a:lumOff val="50000"/>
                  </a:schemeClr>
                </a:solidFill>
                <a:effectLst/>
                <a:uLnTx/>
                <a:uFillTx/>
                <a:latin typeface="+mn-ea"/>
              </a:defRPr>
            </a:lvl1pPr>
          </a:lstStyle>
          <a:p>
            <a:pPr marL="0" marR="0" lvl="0" indent="0" algn="l" defTabSz="914400" rtl="0" eaLnBrk="1" fontAlgn="auto" latinLnBrk="0" hangingPunct="1">
              <a:lnSpc>
                <a:spcPct val="120000"/>
              </a:lnSpc>
              <a:spcBef>
                <a:spcPts val="120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HarmonyOS Sans SC"/>
                <a:cs typeface="+mn-cs"/>
              </a:rPr>
              <a:t>The first people you’ll meet are our experts in business.</a:t>
            </a:r>
          </a:p>
        </p:txBody>
      </p:sp>
    </p:spTree>
    <p:extLst>
      <p:ext uri="{BB962C8B-B14F-4D97-AF65-F5344CB8AC3E}">
        <p14:creationId xmlns:p14="http://schemas.microsoft.com/office/powerpoint/2010/main" val="3641133530"/>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任意多边形: 形状 25">
            <a:extLst>
              <a:ext uri="{FF2B5EF4-FFF2-40B4-BE49-F238E27FC236}">
                <a16:creationId xmlns:a16="http://schemas.microsoft.com/office/drawing/2014/main" id="{1880DCB7-7032-4886-B1E2-4516B17987DC}"/>
              </a:ext>
            </a:extLst>
          </p:cNvPr>
          <p:cNvSpPr/>
          <p:nvPr/>
        </p:nvSpPr>
        <p:spPr>
          <a:xfrm>
            <a:off x="0" y="2052638"/>
            <a:ext cx="12192000" cy="2752724"/>
          </a:xfrm>
          <a:custGeom>
            <a:avLst/>
            <a:gdLst>
              <a:gd name="connsiteX0" fmla="*/ 4641707 w 12192000"/>
              <a:gd name="connsiteY0" fmla="*/ 0 h 2752724"/>
              <a:gd name="connsiteX1" fmla="*/ 12192000 w 12192000"/>
              <a:gd name="connsiteY1" fmla="*/ 0 h 2752724"/>
              <a:gd name="connsiteX2" fmla="*/ 12192000 w 12192000"/>
              <a:gd name="connsiteY2" fmla="*/ 2752724 h 2752724"/>
              <a:gd name="connsiteX3" fmla="*/ 4641707 w 12192000"/>
              <a:gd name="connsiteY3" fmla="*/ 2752724 h 2752724"/>
              <a:gd name="connsiteX4" fmla="*/ 4670165 w 12192000"/>
              <a:gd name="connsiteY4" fmla="*/ 2721413 h 2752724"/>
              <a:gd name="connsiteX5" fmla="*/ 5153025 w 12192000"/>
              <a:gd name="connsiteY5" fmla="*/ 1376362 h 2752724"/>
              <a:gd name="connsiteX6" fmla="*/ 4670165 w 12192000"/>
              <a:gd name="connsiteY6" fmla="*/ 31312 h 2752724"/>
              <a:gd name="connsiteX7" fmla="*/ 0 w 12192000"/>
              <a:gd name="connsiteY7" fmla="*/ 0 h 2752724"/>
              <a:gd name="connsiteX8" fmla="*/ 1435244 w 12192000"/>
              <a:gd name="connsiteY8" fmla="*/ 0 h 2752724"/>
              <a:gd name="connsiteX9" fmla="*/ 1406786 w 12192000"/>
              <a:gd name="connsiteY9" fmla="*/ 31312 h 2752724"/>
              <a:gd name="connsiteX10" fmla="*/ 923925 w 12192000"/>
              <a:gd name="connsiteY10" fmla="*/ 1376362 h 2752724"/>
              <a:gd name="connsiteX11" fmla="*/ 1406786 w 12192000"/>
              <a:gd name="connsiteY11" fmla="*/ 2721413 h 2752724"/>
              <a:gd name="connsiteX12" fmla="*/ 1435244 w 12192000"/>
              <a:gd name="connsiteY12" fmla="*/ 2752724 h 2752724"/>
              <a:gd name="connsiteX13" fmla="*/ 0 w 12192000"/>
              <a:gd name="connsiteY13" fmla="*/ 2752724 h 27527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92000" h="2752724">
                <a:moveTo>
                  <a:pt x="4641707" y="0"/>
                </a:moveTo>
                <a:lnTo>
                  <a:pt x="12192000" y="0"/>
                </a:lnTo>
                <a:lnTo>
                  <a:pt x="12192000" y="2752724"/>
                </a:lnTo>
                <a:lnTo>
                  <a:pt x="4641707" y="2752724"/>
                </a:lnTo>
                <a:lnTo>
                  <a:pt x="4670165" y="2721413"/>
                </a:lnTo>
                <a:cubicBezTo>
                  <a:pt x="4971818" y="2355894"/>
                  <a:pt x="5153025" y="1887289"/>
                  <a:pt x="5153025" y="1376362"/>
                </a:cubicBezTo>
                <a:cubicBezTo>
                  <a:pt x="5153025" y="865435"/>
                  <a:pt x="4971818" y="396831"/>
                  <a:pt x="4670165" y="31312"/>
                </a:cubicBezTo>
                <a:close/>
                <a:moveTo>
                  <a:pt x="0" y="0"/>
                </a:moveTo>
                <a:lnTo>
                  <a:pt x="1435244" y="0"/>
                </a:lnTo>
                <a:lnTo>
                  <a:pt x="1406786" y="31312"/>
                </a:lnTo>
                <a:cubicBezTo>
                  <a:pt x="1105133" y="396831"/>
                  <a:pt x="923925" y="865435"/>
                  <a:pt x="923925" y="1376362"/>
                </a:cubicBezTo>
                <a:cubicBezTo>
                  <a:pt x="923925" y="1887289"/>
                  <a:pt x="1105133" y="2355894"/>
                  <a:pt x="1406786" y="2721413"/>
                </a:cubicBezTo>
                <a:lnTo>
                  <a:pt x="1435244" y="2752724"/>
                </a:lnTo>
                <a:lnTo>
                  <a:pt x="0" y="2752724"/>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6000" dirty="0"/>
          </a:p>
        </p:txBody>
      </p:sp>
      <p:sp>
        <p:nvSpPr>
          <p:cNvPr id="5" name="椭圆 4">
            <a:extLst>
              <a:ext uri="{FF2B5EF4-FFF2-40B4-BE49-F238E27FC236}">
                <a16:creationId xmlns:a16="http://schemas.microsoft.com/office/drawing/2014/main" id="{EB170A07-61A7-4B20-8C84-C15545712564}"/>
              </a:ext>
            </a:extLst>
          </p:cNvPr>
          <p:cNvSpPr/>
          <p:nvPr/>
        </p:nvSpPr>
        <p:spPr>
          <a:xfrm>
            <a:off x="1104900" y="1485900"/>
            <a:ext cx="3886200" cy="38862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p>
        </p:txBody>
      </p:sp>
      <p:sp>
        <p:nvSpPr>
          <p:cNvPr id="27" name="任意多边形: 形状 26">
            <a:extLst>
              <a:ext uri="{FF2B5EF4-FFF2-40B4-BE49-F238E27FC236}">
                <a16:creationId xmlns:a16="http://schemas.microsoft.com/office/drawing/2014/main" id="{FE2808FA-6C5C-4C2A-87B6-2D6F17740326}"/>
              </a:ext>
            </a:extLst>
          </p:cNvPr>
          <p:cNvSpPr/>
          <p:nvPr/>
        </p:nvSpPr>
        <p:spPr>
          <a:xfrm>
            <a:off x="2382087" y="2818247"/>
            <a:ext cx="1331826" cy="1221507"/>
          </a:xfrm>
          <a:custGeom>
            <a:avLst/>
            <a:gdLst>
              <a:gd name="connsiteX0" fmla="*/ 1006264 w 1331826"/>
              <a:gd name="connsiteY0" fmla="*/ 238125 h 1221507"/>
              <a:gd name="connsiteX1" fmla="*/ 1123466 w 1331826"/>
              <a:gd name="connsiteY1" fmla="*/ 355327 h 1221507"/>
              <a:gd name="connsiteX2" fmla="*/ 1006264 w 1331826"/>
              <a:gd name="connsiteY2" fmla="*/ 472529 h 1221507"/>
              <a:gd name="connsiteX3" fmla="*/ 889062 w 1331826"/>
              <a:gd name="connsiteY3" fmla="*/ 355327 h 1221507"/>
              <a:gd name="connsiteX4" fmla="*/ 1006264 w 1331826"/>
              <a:gd name="connsiteY4" fmla="*/ 238125 h 1221507"/>
              <a:gd name="connsiteX5" fmla="*/ 172827 w 1331826"/>
              <a:gd name="connsiteY5" fmla="*/ 104180 h 1221507"/>
              <a:gd name="connsiteX6" fmla="*/ 105482 w 1331826"/>
              <a:gd name="connsiteY6" fmla="*/ 171152 h 1221507"/>
              <a:gd name="connsiteX7" fmla="*/ 105482 w 1331826"/>
              <a:gd name="connsiteY7" fmla="*/ 726281 h 1221507"/>
              <a:gd name="connsiteX8" fmla="*/ 179152 w 1331826"/>
              <a:gd name="connsiteY8" fmla="*/ 599777 h 1221507"/>
              <a:gd name="connsiteX9" fmla="*/ 303795 w 1331826"/>
              <a:gd name="connsiteY9" fmla="*/ 490761 h 1221507"/>
              <a:gd name="connsiteX10" fmla="*/ 414300 w 1331826"/>
              <a:gd name="connsiteY10" fmla="*/ 507504 h 1221507"/>
              <a:gd name="connsiteX11" fmla="*/ 731676 w 1331826"/>
              <a:gd name="connsiteY11" fmla="*/ 856878 h 1221507"/>
              <a:gd name="connsiteX12" fmla="*/ 780790 w 1331826"/>
              <a:gd name="connsiteY12" fmla="*/ 791022 h 1221507"/>
              <a:gd name="connsiteX13" fmla="*/ 988777 w 1331826"/>
              <a:gd name="connsiteY13" fmla="*/ 633264 h 1221507"/>
              <a:gd name="connsiteX14" fmla="*/ 1093329 w 1331826"/>
              <a:gd name="connsiteY14" fmla="*/ 666006 h 1221507"/>
              <a:gd name="connsiteX15" fmla="*/ 1227646 w 1331826"/>
              <a:gd name="connsiteY15" fmla="*/ 821159 h 1221507"/>
              <a:gd name="connsiteX16" fmla="*/ 1227646 w 1331826"/>
              <a:gd name="connsiteY16" fmla="*/ 171152 h 1221507"/>
              <a:gd name="connsiteX17" fmla="*/ 1160673 w 1331826"/>
              <a:gd name="connsiteY17" fmla="*/ 104180 h 1221507"/>
              <a:gd name="connsiteX18" fmla="*/ 172827 w 1331826"/>
              <a:gd name="connsiteY18" fmla="*/ 0 h 1221507"/>
              <a:gd name="connsiteX19" fmla="*/ 1160673 w 1331826"/>
              <a:gd name="connsiteY19" fmla="*/ 0 h 1221507"/>
              <a:gd name="connsiteX20" fmla="*/ 1331826 w 1331826"/>
              <a:gd name="connsiteY20" fmla="*/ 171152 h 1221507"/>
              <a:gd name="connsiteX21" fmla="*/ 1331826 w 1331826"/>
              <a:gd name="connsiteY21" fmla="*/ 1050355 h 1221507"/>
              <a:gd name="connsiteX22" fmla="*/ 1160673 w 1331826"/>
              <a:gd name="connsiteY22" fmla="*/ 1221507 h 1221507"/>
              <a:gd name="connsiteX23" fmla="*/ 172827 w 1331826"/>
              <a:gd name="connsiteY23" fmla="*/ 1221507 h 1221507"/>
              <a:gd name="connsiteX24" fmla="*/ 1674 w 1331826"/>
              <a:gd name="connsiteY24" fmla="*/ 1050355 h 1221507"/>
              <a:gd name="connsiteX25" fmla="*/ 1674 w 1331826"/>
              <a:gd name="connsiteY25" fmla="*/ 1006450 h 1221507"/>
              <a:gd name="connsiteX26" fmla="*/ 1674 w 1331826"/>
              <a:gd name="connsiteY26" fmla="*/ 980405 h 1221507"/>
              <a:gd name="connsiteX27" fmla="*/ 1674 w 1331826"/>
              <a:gd name="connsiteY27" fmla="*/ 171152 h 1221507"/>
              <a:gd name="connsiteX28" fmla="*/ 172827 w 1331826"/>
              <a:gd name="connsiteY28" fmla="*/ 0 h 1221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31826" h="1221507">
                <a:moveTo>
                  <a:pt x="1006264" y="238125"/>
                </a:moveTo>
                <a:cubicBezTo>
                  <a:pt x="1070993" y="238125"/>
                  <a:pt x="1123466" y="290598"/>
                  <a:pt x="1123466" y="355327"/>
                </a:cubicBezTo>
                <a:cubicBezTo>
                  <a:pt x="1123466" y="420056"/>
                  <a:pt x="1070993" y="472529"/>
                  <a:pt x="1006264" y="472529"/>
                </a:cubicBezTo>
                <a:cubicBezTo>
                  <a:pt x="941535" y="472529"/>
                  <a:pt x="889062" y="420056"/>
                  <a:pt x="889062" y="355327"/>
                </a:cubicBezTo>
                <a:cubicBezTo>
                  <a:pt x="889062" y="290598"/>
                  <a:pt x="941535" y="238125"/>
                  <a:pt x="1006264" y="238125"/>
                </a:cubicBezTo>
                <a:close/>
                <a:moveTo>
                  <a:pt x="172827" y="104180"/>
                </a:moveTo>
                <a:cubicBezTo>
                  <a:pt x="135620" y="104180"/>
                  <a:pt x="105854" y="133945"/>
                  <a:pt x="105482" y="171152"/>
                </a:cubicBezTo>
                <a:lnTo>
                  <a:pt x="105482" y="726281"/>
                </a:lnTo>
                <a:cubicBezTo>
                  <a:pt x="130411" y="676424"/>
                  <a:pt x="154967" y="634008"/>
                  <a:pt x="179152" y="599777"/>
                </a:cubicBezTo>
                <a:cubicBezTo>
                  <a:pt x="220824" y="540246"/>
                  <a:pt x="261751" y="504527"/>
                  <a:pt x="303795" y="490761"/>
                </a:cubicBezTo>
                <a:cubicBezTo>
                  <a:pt x="342491" y="478110"/>
                  <a:pt x="380442" y="483691"/>
                  <a:pt x="414300" y="507504"/>
                </a:cubicBezTo>
                <a:cubicBezTo>
                  <a:pt x="528526" y="587871"/>
                  <a:pt x="663215" y="762372"/>
                  <a:pt x="731676" y="856878"/>
                </a:cubicBezTo>
                <a:cubicBezTo>
                  <a:pt x="745443" y="837158"/>
                  <a:pt x="762186" y="814090"/>
                  <a:pt x="780790" y="791022"/>
                </a:cubicBezTo>
                <a:cubicBezTo>
                  <a:pt x="858552" y="693911"/>
                  <a:pt x="926641" y="642193"/>
                  <a:pt x="988777" y="633264"/>
                </a:cubicBezTo>
                <a:cubicBezTo>
                  <a:pt x="1028216" y="627683"/>
                  <a:pt x="1064307" y="638845"/>
                  <a:pt x="1093329" y="666006"/>
                </a:cubicBezTo>
                <a:cubicBezTo>
                  <a:pt x="1142070" y="711398"/>
                  <a:pt x="1188951" y="768697"/>
                  <a:pt x="1227646" y="821159"/>
                </a:cubicBezTo>
                <a:lnTo>
                  <a:pt x="1227646" y="171152"/>
                </a:lnTo>
                <a:cubicBezTo>
                  <a:pt x="1227646" y="134317"/>
                  <a:pt x="1197508" y="104180"/>
                  <a:pt x="1160673" y="104180"/>
                </a:cubicBezTo>
                <a:close/>
                <a:moveTo>
                  <a:pt x="172827" y="0"/>
                </a:moveTo>
                <a:lnTo>
                  <a:pt x="1160673" y="0"/>
                </a:lnTo>
                <a:cubicBezTo>
                  <a:pt x="1255179" y="0"/>
                  <a:pt x="1331826" y="76646"/>
                  <a:pt x="1331826" y="171152"/>
                </a:cubicBezTo>
                <a:lnTo>
                  <a:pt x="1331826" y="1050355"/>
                </a:lnTo>
                <a:cubicBezTo>
                  <a:pt x="1331826" y="1144860"/>
                  <a:pt x="1255179" y="1221507"/>
                  <a:pt x="1160673" y="1221507"/>
                </a:cubicBezTo>
                <a:lnTo>
                  <a:pt x="172827" y="1221507"/>
                </a:lnTo>
                <a:cubicBezTo>
                  <a:pt x="78321" y="1221507"/>
                  <a:pt x="1674" y="1144860"/>
                  <a:pt x="1674" y="1050355"/>
                </a:cubicBezTo>
                <a:lnTo>
                  <a:pt x="1674" y="1006450"/>
                </a:lnTo>
                <a:cubicBezTo>
                  <a:pt x="-558" y="997893"/>
                  <a:pt x="-558" y="989335"/>
                  <a:pt x="1674" y="980405"/>
                </a:cubicBezTo>
                <a:lnTo>
                  <a:pt x="1674" y="171152"/>
                </a:lnTo>
                <a:cubicBezTo>
                  <a:pt x="1674" y="76646"/>
                  <a:pt x="78321" y="0"/>
                  <a:pt x="172827" y="0"/>
                </a:cubicBezTo>
                <a:close/>
              </a:path>
            </a:pathLst>
          </a:custGeom>
          <a:solidFill>
            <a:schemeClr val="bg1"/>
          </a:solidFill>
          <a:ln w="1860" cap="flat">
            <a:noFill/>
            <a:prstDash val="solid"/>
            <a:miter/>
          </a:ln>
        </p:spPr>
        <p:txBody>
          <a:bodyPr rtlCol="0" anchor="ctr"/>
          <a:lstStyle/>
          <a:p>
            <a:endParaRPr lang="zh-CN" altLang="en-US"/>
          </a:p>
        </p:txBody>
      </p:sp>
      <p:sp>
        <p:nvSpPr>
          <p:cNvPr id="28" name="文本框 27">
            <a:extLst>
              <a:ext uri="{FF2B5EF4-FFF2-40B4-BE49-F238E27FC236}">
                <a16:creationId xmlns:a16="http://schemas.microsoft.com/office/drawing/2014/main" id="{C1724959-71C2-4C8A-BA20-4BF1DE941589}"/>
              </a:ext>
            </a:extLst>
          </p:cNvPr>
          <p:cNvSpPr txBox="1"/>
          <p:nvPr/>
        </p:nvSpPr>
        <p:spPr>
          <a:xfrm>
            <a:off x="5388991" y="3004170"/>
            <a:ext cx="6350650" cy="846753"/>
          </a:xfrm>
          <a:prstGeom prst="rect">
            <a:avLst/>
          </a:prstGeom>
          <a:noFill/>
        </p:spPr>
        <p:txBody>
          <a:bodyPr wrap="none" lIns="0" tIns="0" rIns="0" bIns="0" rtlCol="0" anchor="t">
            <a:spAutoFit/>
          </a:bodyPr>
          <a:lstStyle/>
          <a:p>
            <a:pPr algn="ctr"/>
            <a:r>
              <a:rPr lang="zh-CN" altLang="en-US" sz="5400" dirty="0">
                <a:solidFill>
                  <a:schemeClr val="bg1"/>
                </a:solidFill>
                <a:latin typeface="+mj-ea"/>
                <a:ea typeface="+mj-ea"/>
              </a:rPr>
              <a:t>输入你的封面大标题</a:t>
            </a:r>
          </a:p>
        </p:txBody>
      </p:sp>
      <p:sp>
        <p:nvSpPr>
          <p:cNvPr id="29" name="文本框 28">
            <a:extLst>
              <a:ext uri="{FF2B5EF4-FFF2-40B4-BE49-F238E27FC236}">
                <a16:creationId xmlns:a16="http://schemas.microsoft.com/office/drawing/2014/main" id="{FB9A8CF4-505A-4976-B3E7-5C5AFC0BDCB0}"/>
              </a:ext>
            </a:extLst>
          </p:cNvPr>
          <p:cNvSpPr txBox="1"/>
          <p:nvPr/>
        </p:nvSpPr>
        <p:spPr>
          <a:xfrm>
            <a:off x="7205326" y="2626085"/>
            <a:ext cx="2717974" cy="250890"/>
          </a:xfrm>
          <a:prstGeom prst="rect">
            <a:avLst/>
          </a:prstGeom>
          <a:noFill/>
        </p:spPr>
        <p:txBody>
          <a:bodyPr wrap="none" lIns="0" tIns="0" rIns="0" bIns="0" rtlCol="0" anchor="t">
            <a:spAutoFit/>
          </a:bodyPr>
          <a:lstStyle/>
          <a:p>
            <a:pPr algn="ctr"/>
            <a:r>
              <a:rPr lang="zh-CN" altLang="en-US" sz="1600" dirty="0">
                <a:solidFill>
                  <a:schemeClr val="bg1"/>
                </a:solidFill>
                <a:latin typeface="+mn-ea"/>
              </a:rPr>
              <a:t>输入你的副标题或大标题英文</a:t>
            </a:r>
          </a:p>
        </p:txBody>
      </p:sp>
      <p:cxnSp>
        <p:nvCxnSpPr>
          <p:cNvPr id="30" name="直接连接符 29">
            <a:extLst>
              <a:ext uri="{FF2B5EF4-FFF2-40B4-BE49-F238E27FC236}">
                <a16:creationId xmlns:a16="http://schemas.microsoft.com/office/drawing/2014/main" id="{B6D0F90F-2009-4741-B11C-E1178DB2CCF1}"/>
              </a:ext>
            </a:extLst>
          </p:cNvPr>
          <p:cNvCxnSpPr/>
          <p:nvPr/>
        </p:nvCxnSpPr>
        <p:spPr>
          <a:xfrm flipH="1">
            <a:off x="5567347" y="2766462"/>
            <a:ext cx="140188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1" name="直接连接符 30">
            <a:extLst>
              <a:ext uri="{FF2B5EF4-FFF2-40B4-BE49-F238E27FC236}">
                <a16:creationId xmlns:a16="http://schemas.microsoft.com/office/drawing/2014/main" id="{088F6B93-595C-491F-B4A7-67C3D945915B}"/>
              </a:ext>
            </a:extLst>
          </p:cNvPr>
          <p:cNvCxnSpPr/>
          <p:nvPr/>
        </p:nvCxnSpPr>
        <p:spPr>
          <a:xfrm flipH="1">
            <a:off x="10177375" y="2766462"/>
            <a:ext cx="140188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grpSp>
        <p:nvGrpSpPr>
          <p:cNvPr id="32" name="组合 31">
            <a:extLst>
              <a:ext uri="{FF2B5EF4-FFF2-40B4-BE49-F238E27FC236}">
                <a16:creationId xmlns:a16="http://schemas.microsoft.com/office/drawing/2014/main" id="{3C25B7B0-04EA-4E8E-A560-5BDF97922D9E}"/>
              </a:ext>
            </a:extLst>
          </p:cNvPr>
          <p:cNvGrpSpPr/>
          <p:nvPr/>
        </p:nvGrpSpPr>
        <p:grpSpPr>
          <a:xfrm>
            <a:off x="7263896" y="4095362"/>
            <a:ext cx="1045798" cy="172487"/>
            <a:chOff x="4095451" y="4640913"/>
            <a:chExt cx="1418849" cy="234016"/>
          </a:xfrm>
        </p:grpSpPr>
        <p:sp>
          <p:nvSpPr>
            <p:cNvPr id="33" name="矩形 32">
              <a:extLst>
                <a:ext uri="{FF2B5EF4-FFF2-40B4-BE49-F238E27FC236}">
                  <a16:creationId xmlns:a16="http://schemas.microsoft.com/office/drawing/2014/main" id="{CF482F66-8546-4856-B3A0-72594A7282B2}"/>
                </a:ext>
              </a:extLst>
            </p:cNvPr>
            <p:cNvSpPr/>
            <p:nvPr/>
          </p:nvSpPr>
          <p:spPr>
            <a:xfrm>
              <a:off x="4095451" y="4672584"/>
              <a:ext cx="164592" cy="1645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4400" dirty="0">
                <a:solidFill>
                  <a:schemeClr val="bg1"/>
                </a:solidFill>
              </a:endParaRPr>
            </a:p>
          </p:txBody>
        </p:sp>
        <p:sp>
          <p:nvSpPr>
            <p:cNvPr id="34" name="文本框 33">
              <a:extLst>
                <a:ext uri="{FF2B5EF4-FFF2-40B4-BE49-F238E27FC236}">
                  <a16:creationId xmlns:a16="http://schemas.microsoft.com/office/drawing/2014/main" id="{F451C6A0-DCD3-4E9E-889A-E785785379D8}"/>
                </a:ext>
              </a:extLst>
            </p:cNvPr>
            <p:cNvSpPr txBox="1"/>
            <p:nvPr/>
          </p:nvSpPr>
          <p:spPr>
            <a:xfrm>
              <a:off x="4408487" y="4640913"/>
              <a:ext cx="1105813" cy="234016"/>
            </a:xfrm>
            <a:prstGeom prst="rect">
              <a:avLst/>
            </a:prstGeom>
            <a:noFill/>
          </p:spPr>
          <p:txBody>
            <a:bodyPr wrap="none" lIns="0" tIns="0" rIns="0" bIns="0" rtlCol="0" anchor="t">
              <a:spAutoFit/>
            </a:bodyPr>
            <a:lstStyle/>
            <a:p>
              <a:r>
                <a:rPr lang="zh-CN" altLang="en-US" sz="1100" dirty="0">
                  <a:solidFill>
                    <a:schemeClr val="bg1"/>
                  </a:solidFill>
                  <a:latin typeface="+mn-ea"/>
                </a:rPr>
                <a:t>汇报人：</a:t>
              </a:r>
              <a:r>
                <a:rPr lang="en-US" altLang="zh-CN" sz="1100" dirty="0">
                  <a:solidFill>
                    <a:schemeClr val="bg1"/>
                  </a:solidFill>
                  <a:latin typeface="+mn-ea"/>
                </a:rPr>
                <a:t>xxx</a:t>
              </a:r>
              <a:endParaRPr lang="zh-CN" altLang="en-US" sz="1100" dirty="0">
                <a:solidFill>
                  <a:schemeClr val="bg1"/>
                </a:solidFill>
                <a:latin typeface="+mn-ea"/>
              </a:endParaRPr>
            </a:p>
          </p:txBody>
        </p:sp>
      </p:grpSp>
      <p:grpSp>
        <p:nvGrpSpPr>
          <p:cNvPr id="35" name="组合 34">
            <a:extLst>
              <a:ext uri="{FF2B5EF4-FFF2-40B4-BE49-F238E27FC236}">
                <a16:creationId xmlns:a16="http://schemas.microsoft.com/office/drawing/2014/main" id="{D9FB7EA7-9034-43FB-A703-A3E9B35CA1C8}"/>
              </a:ext>
            </a:extLst>
          </p:cNvPr>
          <p:cNvGrpSpPr/>
          <p:nvPr/>
        </p:nvGrpSpPr>
        <p:grpSpPr>
          <a:xfrm>
            <a:off x="8928629" y="4095362"/>
            <a:ext cx="902058" cy="172487"/>
            <a:chOff x="4095451" y="4640913"/>
            <a:chExt cx="1223836" cy="234016"/>
          </a:xfrm>
        </p:grpSpPr>
        <p:sp>
          <p:nvSpPr>
            <p:cNvPr id="36" name="矩形 35">
              <a:extLst>
                <a:ext uri="{FF2B5EF4-FFF2-40B4-BE49-F238E27FC236}">
                  <a16:creationId xmlns:a16="http://schemas.microsoft.com/office/drawing/2014/main" id="{19A9283A-FD2E-4B15-B70A-F1067EDB4BA5}"/>
                </a:ext>
              </a:extLst>
            </p:cNvPr>
            <p:cNvSpPr/>
            <p:nvPr/>
          </p:nvSpPr>
          <p:spPr>
            <a:xfrm>
              <a:off x="4095451" y="4672584"/>
              <a:ext cx="164592" cy="1645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4400" dirty="0">
                <a:solidFill>
                  <a:schemeClr val="bg1"/>
                </a:solidFill>
              </a:endParaRPr>
            </a:p>
          </p:txBody>
        </p:sp>
        <p:sp>
          <p:nvSpPr>
            <p:cNvPr id="37" name="文本框 36">
              <a:extLst>
                <a:ext uri="{FF2B5EF4-FFF2-40B4-BE49-F238E27FC236}">
                  <a16:creationId xmlns:a16="http://schemas.microsoft.com/office/drawing/2014/main" id="{AE1330F1-FC7E-4E19-B6C7-69405E9D32F4}"/>
                </a:ext>
              </a:extLst>
            </p:cNvPr>
            <p:cNvSpPr txBox="1"/>
            <p:nvPr/>
          </p:nvSpPr>
          <p:spPr>
            <a:xfrm>
              <a:off x="4408487" y="4640913"/>
              <a:ext cx="910800" cy="234016"/>
            </a:xfrm>
            <a:prstGeom prst="rect">
              <a:avLst/>
            </a:prstGeom>
            <a:noFill/>
          </p:spPr>
          <p:txBody>
            <a:bodyPr wrap="none" lIns="0" tIns="0" rIns="0" bIns="0" rtlCol="0" anchor="t">
              <a:spAutoFit/>
            </a:bodyPr>
            <a:lstStyle/>
            <a:p>
              <a:r>
                <a:rPr lang="zh-CN" altLang="en-US" sz="1100" dirty="0">
                  <a:solidFill>
                    <a:schemeClr val="bg1"/>
                  </a:solidFill>
                  <a:latin typeface="+mn-ea"/>
                </a:rPr>
                <a:t>单位：</a:t>
              </a:r>
              <a:r>
                <a:rPr lang="en-US" altLang="zh-CN" sz="1100" dirty="0">
                  <a:solidFill>
                    <a:schemeClr val="bg1"/>
                  </a:solidFill>
                  <a:latin typeface="+mn-ea"/>
                </a:rPr>
                <a:t>xxx</a:t>
              </a:r>
              <a:endParaRPr lang="zh-CN" altLang="en-US" sz="1100" dirty="0">
                <a:solidFill>
                  <a:schemeClr val="bg1"/>
                </a:solidFill>
                <a:latin typeface="+mn-ea"/>
              </a:endParaRPr>
            </a:p>
          </p:txBody>
        </p:sp>
      </p:grpSp>
      <p:cxnSp>
        <p:nvCxnSpPr>
          <p:cNvPr id="38" name="直接连接符 37">
            <a:extLst>
              <a:ext uri="{FF2B5EF4-FFF2-40B4-BE49-F238E27FC236}">
                <a16:creationId xmlns:a16="http://schemas.microsoft.com/office/drawing/2014/main" id="{EDB923CE-ACFD-4BA9-9DB0-6B6CB4C2C96B}"/>
              </a:ext>
            </a:extLst>
          </p:cNvPr>
          <p:cNvCxnSpPr>
            <a:cxnSpLocks/>
          </p:cNvCxnSpPr>
          <p:nvPr/>
        </p:nvCxnSpPr>
        <p:spPr>
          <a:xfrm flipH="1">
            <a:off x="5567347" y="3889764"/>
            <a:ext cx="6011909"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46171948"/>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4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2" name="组合 61">
            <a:extLst>
              <a:ext uri="{FF2B5EF4-FFF2-40B4-BE49-F238E27FC236}">
                <a16:creationId xmlns:a16="http://schemas.microsoft.com/office/drawing/2014/main" id="{5EF4F0D2-8735-4064-BAD9-CD249169ED92}"/>
              </a:ext>
            </a:extLst>
          </p:cNvPr>
          <p:cNvGrpSpPr/>
          <p:nvPr/>
        </p:nvGrpSpPr>
        <p:grpSpPr>
          <a:xfrm>
            <a:off x="4526384" y="2606929"/>
            <a:ext cx="3139232" cy="2989022"/>
            <a:chOff x="4200305" y="2127924"/>
            <a:chExt cx="3791389" cy="3609974"/>
          </a:xfrm>
        </p:grpSpPr>
        <p:sp>
          <p:nvSpPr>
            <p:cNvPr id="3" name="Freeform 5">
              <a:extLst>
                <a:ext uri="{FF2B5EF4-FFF2-40B4-BE49-F238E27FC236}">
                  <a16:creationId xmlns:a16="http://schemas.microsoft.com/office/drawing/2014/main" id="{F45CC026-1BCF-4AF2-86BD-3FB6333B53FC}"/>
                </a:ext>
              </a:extLst>
            </p:cNvPr>
            <p:cNvSpPr>
              <a:spLocks/>
            </p:cNvSpPr>
            <p:nvPr/>
          </p:nvSpPr>
          <p:spPr bwMode="auto">
            <a:xfrm>
              <a:off x="4890836" y="2863171"/>
              <a:ext cx="2393335" cy="2390006"/>
            </a:xfrm>
            <a:custGeom>
              <a:avLst/>
              <a:gdLst>
                <a:gd name="T0" fmla="*/ 730 w 1458"/>
                <a:gd name="T1" fmla="*/ 1457 h 1458"/>
                <a:gd name="T2" fmla="*/ 1458 w 1458"/>
                <a:gd name="T3" fmla="*/ 728 h 1458"/>
                <a:gd name="T4" fmla="*/ 729 w 1458"/>
                <a:gd name="T5" fmla="*/ 0 h 1458"/>
                <a:gd name="T6" fmla="*/ 0 w 1458"/>
                <a:gd name="T7" fmla="*/ 729 h 1458"/>
                <a:gd name="T8" fmla="*/ 730 w 1458"/>
                <a:gd name="T9" fmla="*/ 1457 h 1458"/>
              </a:gdLst>
              <a:ahLst/>
              <a:cxnLst>
                <a:cxn ang="0">
                  <a:pos x="T0" y="T1"/>
                </a:cxn>
                <a:cxn ang="0">
                  <a:pos x="T2" y="T3"/>
                </a:cxn>
                <a:cxn ang="0">
                  <a:pos x="T4" y="T5"/>
                </a:cxn>
                <a:cxn ang="0">
                  <a:pos x="T6" y="T7"/>
                </a:cxn>
                <a:cxn ang="0">
                  <a:pos x="T8" y="T9"/>
                </a:cxn>
              </a:cxnLst>
              <a:rect l="0" t="0" r="r" b="b"/>
              <a:pathLst>
                <a:path w="1458" h="1458">
                  <a:moveTo>
                    <a:pt x="730" y="1457"/>
                  </a:moveTo>
                  <a:cubicBezTo>
                    <a:pt x="1132" y="1457"/>
                    <a:pt x="1458" y="1131"/>
                    <a:pt x="1458" y="728"/>
                  </a:cubicBezTo>
                  <a:cubicBezTo>
                    <a:pt x="1457" y="326"/>
                    <a:pt x="1131" y="0"/>
                    <a:pt x="729" y="0"/>
                  </a:cubicBezTo>
                  <a:cubicBezTo>
                    <a:pt x="326" y="0"/>
                    <a:pt x="0" y="327"/>
                    <a:pt x="0" y="729"/>
                  </a:cubicBezTo>
                  <a:cubicBezTo>
                    <a:pt x="1" y="1132"/>
                    <a:pt x="327" y="1458"/>
                    <a:pt x="730" y="145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lumMod val="50000"/>
                    <a:lumOff val="50000"/>
                  </a:prstClr>
                </a:solidFill>
                <a:effectLst/>
                <a:uLnTx/>
                <a:uFillTx/>
                <a:latin typeface="HarmonyOS Sans SC"/>
                <a:cs typeface="+mn-cs"/>
              </a:endParaRPr>
            </a:p>
          </p:txBody>
        </p:sp>
        <p:sp>
          <p:nvSpPr>
            <p:cNvPr id="4" name="Freeform: Shape 30">
              <a:extLst>
                <a:ext uri="{FF2B5EF4-FFF2-40B4-BE49-F238E27FC236}">
                  <a16:creationId xmlns:a16="http://schemas.microsoft.com/office/drawing/2014/main" id="{EAB05BAE-07EE-4F71-B8D4-A4280D1C256C}"/>
                </a:ext>
              </a:extLst>
            </p:cNvPr>
            <p:cNvSpPr>
              <a:spLocks/>
            </p:cNvSpPr>
            <p:nvPr/>
          </p:nvSpPr>
          <p:spPr bwMode="auto">
            <a:xfrm>
              <a:off x="5278629" y="3249300"/>
              <a:ext cx="1617748" cy="1615281"/>
            </a:xfrm>
            <a:custGeom>
              <a:avLst/>
              <a:gdLst>
                <a:gd name="connsiteX0" fmla="*/ 808874 w 1617748"/>
                <a:gd name="connsiteY0" fmla="*/ 309932 h 1615281"/>
                <a:gd name="connsiteX1" fmla="*/ 808874 w 1617748"/>
                <a:gd name="connsiteY1" fmla="*/ 309936 h 1615281"/>
                <a:gd name="connsiteX2" fmla="*/ 311736 w 1617748"/>
                <a:gd name="connsiteY2" fmla="*/ 808458 h 1615281"/>
                <a:gd name="connsiteX3" fmla="*/ 808874 w 1617748"/>
                <a:gd name="connsiteY3" fmla="*/ 1305340 h 1615281"/>
                <a:gd name="connsiteX4" fmla="*/ 808874 w 1617748"/>
                <a:gd name="connsiteY4" fmla="*/ 1305320 h 1615281"/>
                <a:gd name="connsiteX5" fmla="*/ 1307653 w 1617748"/>
                <a:gd name="connsiteY5" fmla="*/ 808446 h 1615281"/>
                <a:gd name="connsiteX6" fmla="*/ 808874 w 1617748"/>
                <a:gd name="connsiteY6" fmla="*/ 309932 h 1615281"/>
                <a:gd name="connsiteX7" fmla="*/ 808874 w 1617748"/>
                <a:gd name="connsiteY7" fmla="*/ 0 h 1615281"/>
                <a:gd name="connsiteX8" fmla="*/ 1617748 w 1617748"/>
                <a:gd name="connsiteY8" fmla="*/ 806806 h 1615281"/>
                <a:gd name="connsiteX9" fmla="*/ 808874 w 1617748"/>
                <a:gd name="connsiteY9" fmla="*/ 1615251 h 1615281"/>
                <a:gd name="connsiteX10" fmla="*/ 808874 w 1617748"/>
                <a:gd name="connsiteY10" fmla="*/ 1615276 h 1615281"/>
                <a:gd name="connsiteX11" fmla="*/ 0 w 1617748"/>
                <a:gd name="connsiteY11" fmla="*/ 808458 h 1615281"/>
                <a:gd name="connsiteX12" fmla="*/ 808874 w 1617748"/>
                <a:gd name="connsiteY12" fmla="*/ 0 h 1615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617748" h="1615281">
                  <a:moveTo>
                    <a:pt x="808874" y="309932"/>
                  </a:moveTo>
                  <a:lnTo>
                    <a:pt x="808874" y="309936"/>
                  </a:lnTo>
                  <a:cubicBezTo>
                    <a:pt x="533233" y="309936"/>
                    <a:pt x="310095" y="532959"/>
                    <a:pt x="311736" y="808458"/>
                  </a:cubicBezTo>
                  <a:cubicBezTo>
                    <a:pt x="311736" y="1082317"/>
                    <a:pt x="534874" y="1305340"/>
                    <a:pt x="808874" y="1305340"/>
                  </a:cubicBezTo>
                  <a:lnTo>
                    <a:pt x="808874" y="1305320"/>
                  </a:lnTo>
                  <a:cubicBezTo>
                    <a:pt x="1084515" y="1305320"/>
                    <a:pt x="1307653" y="1082300"/>
                    <a:pt x="1307653" y="808446"/>
                  </a:cubicBezTo>
                  <a:cubicBezTo>
                    <a:pt x="1307653" y="532951"/>
                    <a:pt x="1084515" y="309932"/>
                    <a:pt x="808874" y="309932"/>
                  </a:cubicBezTo>
                  <a:close/>
                  <a:moveTo>
                    <a:pt x="808874" y="0"/>
                  </a:moveTo>
                  <a:cubicBezTo>
                    <a:pt x="1253509" y="0"/>
                    <a:pt x="1617748" y="362407"/>
                    <a:pt x="1617748" y="806806"/>
                  </a:cubicBezTo>
                  <a:cubicBezTo>
                    <a:pt x="1617748" y="1252845"/>
                    <a:pt x="1255150" y="1615251"/>
                    <a:pt x="808874" y="1615251"/>
                  </a:cubicBezTo>
                  <a:lnTo>
                    <a:pt x="808874" y="1615276"/>
                  </a:lnTo>
                  <a:cubicBezTo>
                    <a:pt x="364239" y="1616916"/>
                    <a:pt x="0" y="1254504"/>
                    <a:pt x="0" y="808458"/>
                  </a:cubicBezTo>
                  <a:cubicBezTo>
                    <a:pt x="0" y="362412"/>
                    <a:pt x="362598" y="0"/>
                    <a:pt x="808874" y="0"/>
                  </a:cubicBez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lumMod val="50000"/>
                    <a:lumOff val="50000"/>
                  </a:prstClr>
                </a:solidFill>
                <a:effectLst/>
                <a:uLnTx/>
                <a:uFillTx/>
                <a:latin typeface="HarmonyOS Sans SC"/>
                <a:cs typeface="+mn-cs"/>
              </a:endParaRPr>
            </a:p>
          </p:txBody>
        </p:sp>
        <p:sp>
          <p:nvSpPr>
            <p:cNvPr id="5" name="Freeform: Shape 34">
              <a:extLst>
                <a:ext uri="{FF2B5EF4-FFF2-40B4-BE49-F238E27FC236}">
                  <a16:creationId xmlns:a16="http://schemas.microsoft.com/office/drawing/2014/main" id="{D32B1CD2-992B-40C9-85B2-288EB1A22ADE}"/>
                </a:ext>
              </a:extLst>
            </p:cNvPr>
            <p:cNvSpPr>
              <a:spLocks/>
            </p:cNvSpPr>
            <p:nvPr/>
          </p:nvSpPr>
          <p:spPr bwMode="auto">
            <a:xfrm>
              <a:off x="5836361" y="3801428"/>
              <a:ext cx="515948" cy="513493"/>
            </a:xfrm>
            <a:custGeom>
              <a:avLst/>
              <a:gdLst>
                <a:gd name="connsiteX0" fmla="*/ 257974 w 515948"/>
                <a:gd name="connsiteY0" fmla="*/ 0 h 513493"/>
                <a:gd name="connsiteX1" fmla="*/ 515948 w 515948"/>
                <a:gd name="connsiteY1" fmla="*/ 255906 h 513493"/>
                <a:gd name="connsiteX2" fmla="*/ 257974 w 515948"/>
                <a:gd name="connsiteY2" fmla="*/ 513452 h 513493"/>
                <a:gd name="connsiteX3" fmla="*/ 257974 w 515948"/>
                <a:gd name="connsiteY3" fmla="*/ 513476 h 513493"/>
                <a:gd name="connsiteX4" fmla="*/ 0 w 515948"/>
                <a:gd name="connsiteY4" fmla="*/ 257558 h 513493"/>
                <a:gd name="connsiteX5" fmla="*/ 257974 w 515948"/>
                <a:gd name="connsiteY5" fmla="*/ 0 h 5134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15948" h="513493">
                  <a:moveTo>
                    <a:pt x="257974" y="0"/>
                  </a:moveTo>
                  <a:cubicBezTo>
                    <a:pt x="400928" y="0"/>
                    <a:pt x="515948" y="114830"/>
                    <a:pt x="515948" y="255906"/>
                  </a:cubicBezTo>
                  <a:cubicBezTo>
                    <a:pt x="515948" y="398623"/>
                    <a:pt x="400928" y="513452"/>
                    <a:pt x="257974" y="513452"/>
                  </a:cubicBezTo>
                  <a:lnTo>
                    <a:pt x="257974" y="513476"/>
                  </a:lnTo>
                  <a:cubicBezTo>
                    <a:pt x="116663" y="515116"/>
                    <a:pt x="0" y="398641"/>
                    <a:pt x="0" y="257558"/>
                  </a:cubicBezTo>
                  <a:cubicBezTo>
                    <a:pt x="0" y="114835"/>
                    <a:pt x="115020" y="0"/>
                    <a:pt x="257974" y="0"/>
                  </a:cubicBez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lumMod val="50000"/>
                    <a:lumOff val="50000"/>
                  </a:prstClr>
                </a:solidFill>
                <a:effectLst/>
                <a:uLnTx/>
                <a:uFillTx/>
                <a:latin typeface="HarmonyOS Sans SC"/>
                <a:cs typeface="+mn-cs"/>
              </a:endParaRPr>
            </a:p>
          </p:txBody>
        </p:sp>
        <p:sp>
          <p:nvSpPr>
            <p:cNvPr id="7" name="Freeform: Shape 29">
              <a:extLst>
                <a:ext uri="{FF2B5EF4-FFF2-40B4-BE49-F238E27FC236}">
                  <a16:creationId xmlns:a16="http://schemas.microsoft.com/office/drawing/2014/main" id="{0D353392-9418-4D41-A9EE-36C9A1D5F789}"/>
                </a:ext>
              </a:extLst>
            </p:cNvPr>
            <p:cNvSpPr>
              <a:spLocks/>
            </p:cNvSpPr>
            <p:nvPr/>
          </p:nvSpPr>
          <p:spPr bwMode="auto">
            <a:xfrm>
              <a:off x="4727072" y="2693777"/>
              <a:ext cx="2729765" cy="2731223"/>
            </a:xfrm>
            <a:custGeom>
              <a:avLst/>
              <a:gdLst>
                <a:gd name="connsiteX0" fmla="*/ 1365108 w 2729765"/>
                <a:gd name="connsiteY0" fmla="*/ 309978 h 2731223"/>
                <a:gd name="connsiteX1" fmla="*/ 1259390 w 2729765"/>
                <a:gd name="connsiteY1" fmla="*/ 315331 h 2731223"/>
                <a:gd name="connsiteX2" fmla="*/ 310225 w 2729765"/>
                <a:gd name="connsiteY2" fmla="*/ 1365625 h 2731223"/>
                <a:gd name="connsiteX3" fmla="*/ 1259678 w 2729765"/>
                <a:gd name="connsiteY3" fmla="*/ 2414568 h 2731223"/>
                <a:gd name="connsiteX4" fmla="*/ 1365631 w 2729765"/>
                <a:gd name="connsiteY4" fmla="*/ 2419663 h 2731223"/>
                <a:gd name="connsiteX5" fmla="*/ 1471728 w 2729765"/>
                <a:gd name="connsiteY5" fmla="*/ 2414276 h 2731223"/>
                <a:gd name="connsiteX6" fmla="*/ 2419540 w 2729765"/>
                <a:gd name="connsiteY6" fmla="*/ 1363972 h 2731223"/>
                <a:gd name="connsiteX7" fmla="*/ 1470087 w 2729765"/>
                <a:gd name="connsiteY7" fmla="*/ 315290 h 2731223"/>
                <a:gd name="connsiteX8" fmla="*/ 1360837 w 2729765"/>
                <a:gd name="connsiteY8" fmla="*/ 0 h 2731223"/>
                <a:gd name="connsiteX9" fmla="*/ 1363551 w 2729765"/>
                <a:gd name="connsiteY9" fmla="*/ 132 h 2731223"/>
                <a:gd name="connsiteX10" fmla="*/ 1365645 w 2729765"/>
                <a:gd name="connsiteY10" fmla="*/ 26 h 2731223"/>
                <a:gd name="connsiteX11" fmla="*/ 1365646 w 2729765"/>
                <a:gd name="connsiteY11" fmla="*/ 234 h 2731223"/>
                <a:gd name="connsiteX12" fmla="*/ 1500638 w 2729765"/>
                <a:gd name="connsiteY12" fmla="*/ 6782 h 2731223"/>
                <a:gd name="connsiteX13" fmla="*/ 2729765 w 2729765"/>
                <a:gd name="connsiteY13" fmla="*/ 1363972 h 2731223"/>
                <a:gd name="connsiteX14" fmla="*/ 1503614 w 2729765"/>
                <a:gd name="connsiteY14" fmla="*/ 2723865 h 2731223"/>
                <a:gd name="connsiteX15" fmla="*/ 1368927 w 2729765"/>
                <a:gd name="connsiteY15" fmla="*/ 2730970 h 2731223"/>
                <a:gd name="connsiteX16" fmla="*/ 1368928 w 2729765"/>
                <a:gd name="connsiteY16" fmla="*/ 2731223 h 2731223"/>
                <a:gd name="connsiteX17" fmla="*/ 1366470 w 2729765"/>
                <a:gd name="connsiteY17" fmla="*/ 2731099 h 2731223"/>
                <a:gd name="connsiteX18" fmla="*/ 1364120 w 2729765"/>
                <a:gd name="connsiteY18" fmla="*/ 2731223 h 2731223"/>
                <a:gd name="connsiteX19" fmla="*/ 1364120 w 2729765"/>
                <a:gd name="connsiteY19" fmla="*/ 2730981 h 2731223"/>
                <a:gd name="connsiteX20" fmla="*/ 1229127 w 2729765"/>
                <a:gd name="connsiteY20" fmla="*/ 2724172 h 2731223"/>
                <a:gd name="connsiteX21" fmla="*/ 0 w 2729765"/>
                <a:gd name="connsiteY21" fmla="*/ 1365625 h 2731223"/>
                <a:gd name="connsiteX22" fmla="*/ 1226152 w 2729765"/>
                <a:gd name="connsiteY22" fmla="*/ 7096 h 2731223"/>
                <a:gd name="connsiteX23" fmla="*/ 1360839 w 2729765"/>
                <a:gd name="connsiteY23" fmla="*/ 270 h 27312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29765" h="2731223">
                  <a:moveTo>
                    <a:pt x="1365108" y="309978"/>
                  </a:moveTo>
                  <a:lnTo>
                    <a:pt x="1259390" y="315331"/>
                  </a:lnTo>
                  <a:cubicBezTo>
                    <a:pt x="727147" y="369513"/>
                    <a:pt x="310225" y="820021"/>
                    <a:pt x="310225" y="1365625"/>
                  </a:cubicBezTo>
                  <a:cubicBezTo>
                    <a:pt x="311764" y="1911229"/>
                    <a:pt x="728782" y="2361736"/>
                    <a:pt x="1259678" y="2414568"/>
                  </a:cubicBezTo>
                  <a:lnTo>
                    <a:pt x="1365631" y="2419663"/>
                  </a:lnTo>
                  <a:lnTo>
                    <a:pt x="1471728" y="2414276"/>
                  </a:lnTo>
                  <a:cubicBezTo>
                    <a:pt x="2002618" y="2360094"/>
                    <a:pt x="2419540" y="1909582"/>
                    <a:pt x="2419540" y="1363972"/>
                  </a:cubicBezTo>
                  <a:cubicBezTo>
                    <a:pt x="2418002" y="818363"/>
                    <a:pt x="2000983" y="369292"/>
                    <a:pt x="1470087" y="315290"/>
                  </a:cubicBezTo>
                  <a:close/>
                  <a:moveTo>
                    <a:pt x="1360837" y="0"/>
                  </a:moveTo>
                  <a:lnTo>
                    <a:pt x="1363551" y="132"/>
                  </a:lnTo>
                  <a:lnTo>
                    <a:pt x="1365645" y="26"/>
                  </a:lnTo>
                  <a:lnTo>
                    <a:pt x="1365646" y="234"/>
                  </a:lnTo>
                  <a:lnTo>
                    <a:pt x="1500638" y="6782"/>
                  </a:lnTo>
                  <a:cubicBezTo>
                    <a:pt x="2190219" y="75547"/>
                    <a:pt x="2729765" y="658523"/>
                    <a:pt x="2729765" y="1363972"/>
                  </a:cubicBezTo>
                  <a:cubicBezTo>
                    <a:pt x="2729765" y="2069422"/>
                    <a:pt x="2191661" y="2652398"/>
                    <a:pt x="1503614" y="2723865"/>
                  </a:cubicBezTo>
                  <a:lnTo>
                    <a:pt x="1368927" y="2730970"/>
                  </a:lnTo>
                  <a:lnTo>
                    <a:pt x="1368928" y="2731223"/>
                  </a:lnTo>
                  <a:lnTo>
                    <a:pt x="1366470" y="2731099"/>
                  </a:lnTo>
                  <a:lnTo>
                    <a:pt x="1364120" y="2731223"/>
                  </a:lnTo>
                  <a:lnTo>
                    <a:pt x="1364120" y="2730981"/>
                  </a:lnTo>
                  <a:lnTo>
                    <a:pt x="1229127" y="2724172"/>
                  </a:lnTo>
                  <a:cubicBezTo>
                    <a:pt x="539547" y="2654230"/>
                    <a:pt x="0" y="2072605"/>
                    <a:pt x="0" y="1365625"/>
                  </a:cubicBezTo>
                  <a:cubicBezTo>
                    <a:pt x="0" y="660182"/>
                    <a:pt x="538104" y="77211"/>
                    <a:pt x="1226152" y="7096"/>
                  </a:cubicBezTo>
                  <a:lnTo>
                    <a:pt x="1360839" y="270"/>
                  </a:ln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lumMod val="50000"/>
                    <a:lumOff val="50000"/>
                  </a:prstClr>
                </a:solidFill>
                <a:effectLst/>
                <a:uLnTx/>
                <a:uFillTx/>
                <a:latin typeface="HarmonyOS Sans SC"/>
                <a:cs typeface="+mn-cs"/>
              </a:endParaRPr>
            </a:p>
          </p:txBody>
        </p:sp>
        <p:sp>
          <p:nvSpPr>
            <p:cNvPr id="9" name="Freeform 12">
              <a:extLst>
                <a:ext uri="{FF2B5EF4-FFF2-40B4-BE49-F238E27FC236}">
                  <a16:creationId xmlns:a16="http://schemas.microsoft.com/office/drawing/2014/main" id="{774D6BDD-5BB1-4776-B8AE-A7F2DE9F205A}"/>
                </a:ext>
              </a:extLst>
            </p:cNvPr>
            <p:cNvSpPr>
              <a:spLocks/>
            </p:cNvSpPr>
            <p:nvPr/>
          </p:nvSpPr>
          <p:spPr bwMode="auto">
            <a:xfrm>
              <a:off x="5856333" y="2127924"/>
              <a:ext cx="476004" cy="508459"/>
            </a:xfrm>
            <a:custGeom>
              <a:avLst/>
              <a:gdLst>
                <a:gd name="T0" fmla="*/ 150 w 290"/>
                <a:gd name="T1" fmla="*/ 310 h 310"/>
                <a:gd name="T2" fmla="*/ 114 w 290"/>
                <a:gd name="T3" fmla="*/ 287 h 310"/>
                <a:gd name="T4" fmla="*/ 25 w 290"/>
                <a:gd name="T5" fmla="*/ 191 h 310"/>
                <a:gd name="T6" fmla="*/ 3 w 290"/>
                <a:gd name="T7" fmla="*/ 141 h 310"/>
                <a:gd name="T8" fmla="*/ 1 w 290"/>
                <a:gd name="T9" fmla="*/ 21 h 310"/>
                <a:gd name="T10" fmla="*/ 29 w 290"/>
                <a:gd name="T11" fmla="*/ 13 h 310"/>
                <a:gd name="T12" fmla="*/ 117 w 290"/>
                <a:gd name="T13" fmla="*/ 70 h 310"/>
                <a:gd name="T14" fmla="*/ 173 w 290"/>
                <a:gd name="T15" fmla="*/ 70 h 310"/>
                <a:gd name="T16" fmla="*/ 258 w 290"/>
                <a:gd name="T17" fmla="*/ 10 h 310"/>
                <a:gd name="T18" fmla="*/ 287 w 290"/>
                <a:gd name="T19" fmla="*/ 18 h 310"/>
                <a:gd name="T20" fmla="*/ 289 w 290"/>
                <a:gd name="T21" fmla="*/ 138 h 310"/>
                <a:gd name="T22" fmla="*/ 270 w 290"/>
                <a:gd name="T23" fmla="*/ 189 h 310"/>
                <a:gd name="T24" fmla="*/ 185 w 290"/>
                <a:gd name="T25" fmla="*/ 287 h 310"/>
                <a:gd name="T26" fmla="*/ 150 w 290"/>
                <a:gd name="T27" fmla="*/ 310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90" h="310">
                  <a:moveTo>
                    <a:pt x="150" y="310"/>
                  </a:moveTo>
                  <a:cubicBezTo>
                    <a:pt x="142" y="310"/>
                    <a:pt x="126" y="300"/>
                    <a:pt x="114" y="287"/>
                  </a:cubicBezTo>
                  <a:cubicBezTo>
                    <a:pt x="25" y="191"/>
                    <a:pt x="25" y="191"/>
                    <a:pt x="25" y="191"/>
                  </a:cubicBezTo>
                  <a:cubicBezTo>
                    <a:pt x="14" y="179"/>
                    <a:pt x="4" y="156"/>
                    <a:pt x="3" y="141"/>
                  </a:cubicBezTo>
                  <a:cubicBezTo>
                    <a:pt x="1" y="21"/>
                    <a:pt x="1" y="21"/>
                    <a:pt x="1" y="21"/>
                  </a:cubicBezTo>
                  <a:cubicBezTo>
                    <a:pt x="0" y="6"/>
                    <a:pt x="13" y="2"/>
                    <a:pt x="29" y="13"/>
                  </a:cubicBezTo>
                  <a:cubicBezTo>
                    <a:pt x="117" y="70"/>
                    <a:pt x="117" y="70"/>
                    <a:pt x="117" y="70"/>
                  </a:cubicBezTo>
                  <a:cubicBezTo>
                    <a:pt x="132" y="80"/>
                    <a:pt x="158" y="80"/>
                    <a:pt x="173" y="70"/>
                  </a:cubicBezTo>
                  <a:cubicBezTo>
                    <a:pt x="258" y="10"/>
                    <a:pt x="258" y="10"/>
                    <a:pt x="258" y="10"/>
                  </a:cubicBezTo>
                  <a:cubicBezTo>
                    <a:pt x="273" y="0"/>
                    <a:pt x="286" y="3"/>
                    <a:pt x="287" y="18"/>
                  </a:cubicBezTo>
                  <a:cubicBezTo>
                    <a:pt x="289" y="138"/>
                    <a:pt x="289" y="138"/>
                    <a:pt x="289" y="138"/>
                  </a:cubicBezTo>
                  <a:cubicBezTo>
                    <a:pt x="290" y="153"/>
                    <a:pt x="281" y="176"/>
                    <a:pt x="270" y="189"/>
                  </a:cubicBezTo>
                  <a:cubicBezTo>
                    <a:pt x="185" y="287"/>
                    <a:pt x="185" y="287"/>
                    <a:pt x="185" y="287"/>
                  </a:cubicBezTo>
                  <a:cubicBezTo>
                    <a:pt x="174" y="300"/>
                    <a:pt x="158" y="310"/>
                    <a:pt x="150" y="310"/>
                  </a:cubicBezTo>
                  <a:close/>
                </a:path>
              </a:pathLst>
            </a:custGeom>
            <a:gradFill flip="none" rotWithShape="1">
              <a:gsLst>
                <a:gs pos="0">
                  <a:schemeClr val="accent1">
                    <a:lumMod val="40000"/>
                    <a:lumOff val="60000"/>
                  </a:schemeClr>
                </a:gs>
                <a:gs pos="25000">
                  <a:schemeClr val="accent1">
                    <a:lumMod val="60000"/>
                    <a:lumOff val="40000"/>
                  </a:schemeClr>
                </a:gs>
                <a:gs pos="73000">
                  <a:schemeClr val="accent1"/>
                </a:gs>
              </a:gsLst>
              <a:lin ang="540000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lumMod val="50000"/>
                    <a:lumOff val="50000"/>
                  </a:prstClr>
                </a:solidFill>
                <a:effectLst/>
                <a:uLnTx/>
                <a:uFillTx/>
                <a:latin typeface="HarmonyOS Sans SC"/>
                <a:cs typeface="+mn-cs"/>
              </a:endParaRPr>
            </a:p>
          </p:txBody>
        </p:sp>
        <p:sp>
          <p:nvSpPr>
            <p:cNvPr id="10" name="Freeform 13">
              <a:extLst>
                <a:ext uri="{FF2B5EF4-FFF2-40B4-BE49-F238E27FC236}">
                  <a16:creationId xmlns:a16="http://schemas.microsoft.com/office/drawing/2014/main" id="{00738540-C37B-4CC2-98F8-508CD933B3B5}"/>
                </a:ext>
              </a:extLst>
            </p:cNvPr>
            <p:cNvSpPr>
              <a:spLocks/>
            </p:cNvSpPr>
            <p:nvPr/>
          </p:nvSpPr>
          <p:spPr bwMode="auto">
            <a:xfrm>
              <a:off x="6055223" y="2226121"/>
              <a:ext cx="78224" cy="1705126"/>
            </a:xfrm>
            <a:custGeom>
              <a:avLst/>
              <a:gdLst>
                <a:gd name="T0" fmla="*/ 0 w 48"/>
                <a:gd name="T1" fmla="*/ 33 h 1040"/>
                <a:gd name="T2" fmla="*/ 24 w 48"/>
                <a:gd name="T3" fmla="*/ 0 h 1040"/>
                <a:gd name="T4" fmla="*/ 48 w 48"/>
                <a:gd name="T5" fmla="*/ 33 h 1040"/>
                <a:gd name="T6" fmla="*/ 48 w 48"/>
                <a:gd name="T7" fmla="*/ 1007 h 1040"/>
                <a:gd name="T8" fmla="*/ 24 w 48"/>
                <a:gd name="T9" fmla="*/ 1040 h 1040"/>
                <a:gd name="T10" fmla="*/ 0 w 48"/>
                <a:gd name="T11" fmla="*/ 1007 h 1040"/>
                <a:gd name="T12" fmla="*/ 0 w 48"/>
                <a:gd name="T13" fmla="*/ 33 h 1040"/>
              </a:gdLst>
              <a:ahLst/>
              <a:cxnLst>
                <a:cxn ang="0">
                  <a:pos x="T0" y="T1"/>
                </a:cxn>
                <a:cxn ang="0">
                  <a:pos x="T2" y="T3"/>
                </a:cxn>
                <a:cxn ang="0">
                  <a:pos x="T4" y="T5"/>
                </a:cxn>
                <a:cxn ang="0">
                  <a:pos x="T6" y="T7"/>
                </a:cxn>
                <a:cxn ang="0">
                  <a:pos x="T8" y="T9"/>
                </a:cxn>
                <a:cxn ang="0">
                  <a:pos x="T10" y="T11"/>
                </a:cxn>
                <a:cxn ang="0">
                  <a:pos x="T12" y="T13"/>
                </a:cxn>
              </a:cxnLst>
              <a:rect l="0" t="0" r="r" b="b"/>
              <a:pathLst>
                <a:path w="48" h="1040">
                  <a:moveTo>
                    <a:pt x="0" y="33"/>
                  </a:moveTo>
                  <a:cubicBezTo>
                    <a:pt x="0" y="15"/>
                    <a:pt x="11" y="0"/>
                    <a:pt x="24" y="0"/>
                  </a:cubicBezTo>
                  <a:cubicBezTo>
                    <a:pt x="37" y="0"/>
                    <a:pt x="48" y="15"/>
                    <a:pt x="48" y="33"/>
                  </a:cubicBezTo>
                  <a:cubicBezTo>
                    <a:pt x="48" y="1007"/>
                    <a:pt x="48" y="1007"/>
                    <a:pt x="48" y="1007"/>
                  </a:cubicBezTo>
                  <a:cubicBezTo>
                    <a:pt x="48" y="1025"/>
                    <a:pt x="37" y="1040"/>
                    <a:pt x="24" y="1040"/>
                  </a:cubicBezTo>
                  <a:cubicBezTo>
                    <a:pt x="11" y="1040"/>
                    <a:pt x="0" y="1025"/>
                    <a:pt x="0" y="1007"/>
                  </a:cubicBezTo>
                  <a:lnTo>
                    <a:pt x="0" y="33"/>
                  </a:ln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lumMod val="50000"/>
                    <a:lumOff val="50000"/>
                  </a:prstClr>
                </a:solidFill>
                <a:effectLst/>
                <a:uLnTx/>
                <a:uFillTx/>
                <a:latin typeface="HarmonyOS Sans SC"/>
                <a:cs typeface="+mn-cs"/>
              </a:endParaRPr>
            </a:p>
          </p:txBody>
        </p:sp>
        <p:sp>
          <p:nvSpPr>
            <p:cNvPr id="12" name="Freeform 14">
              <a:extLst>
                <a:ext uri="{FF2B5EF4-FFF2-40B4-BE49-F238E27FC236}">
                  <a16:creationId xmlns:a16="http://schemas.microsoft.com/office/drawing/2014/main" id="{3083E1F1-2FAA-4DEB-A2DB-611679A87C45}"/>
                </a:ext>
              </a:extLst>
            </p:cNvPr>
            <p:cNvSpPr>
              <a:spLocks/>
            </p:cNvSpPr>
            <p:nvPr/>
          </p:nvSpPr>
          <p:spPr bwMode="auto">
            <a:xfrm>
              <a:off x="4200305" y="3238045"/>
              <a:ext cx="555061" cy="517613"/>
            </a:xfrm>
            <a:custGeom>
              <a:avLst/>
              <a:gdLst>
                <a:gd name="T0" fmla="*/ 336 w 338"/>
                <a:gd name="T1" fmla="*/ 224 h 316"/>
                <a:gd name="T2" fmla="*/ 303 w 338"/>
                <a:gd name="T3" fmla="*/ 252 h 316"/>
                <a:gd name="T4" fmla="*/ 184 w 338"/>
                <a:gd name="T5" fmla="*/ 307 h 316"/>
                <a:gd name="T6" fmla="*/ 130 w 338"/>
                <a:gd name="T7" fmla="*/ 312 h 316"/>
                <a:gd name="T8" fmla="*/ 14 w 338"/>
                <a:gd name="T9" fmla="*/ 277 h 316"/>
                <a:gd name="T10" fmla="*/ 15 w 338"/>
                <a:gd name="T11" fmla="*/ 248 h 316"/>
                <a:gd name="T12" fmla="*/ 97 w 338"/>
                <a:gd name="T13" fmla="*/ 182 h 316"/>
                <a:gd name="T14" fmla="*/ 114 w 338"/>
                <a:gd name="T15" fmla="*/ 128 h 316"/>
                <a:gd name="T16" fmla="*/ 84 w 338"/>
                <a:gd name="T17" fmla="*/ 29 h 316"/>
                <a:gd name="T18" fmla="*/ 100 w 338"/>
                <a:gd name="T19" fmla="*/ 4 h 316"/>
                <a:gd name="T20" fmla="*/ 215 w 338"/>
                <a:gd name="T21" fmla="*/ 39 h 316"/>
                <a:gd name="T22" fmla="*/ 257 w 338"/>
                <a:gd name="T23" fmla="*/ 73 h 316"/>
                <a:gd name="T24" fmla="*/ 324 w 338"/>
                <a:gd name="T25" fmla="*/ 184 h 316"/>
                <a:gd name="T26" fmla="*/ 336 w 338"/>
                <a:gd name="T27" fmla="*/ 224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8" h="316">
                  <a:moveTo>
                    <a:pt x="336" y="224"/>
                  </a:moveTo>
                  <a:cubicBezTo>
                    <a:pt x="333" y="232"/>
                    <a:pt x="318" y="244"/>
                    <a:pt x="303" y="252"/>
                  </a:cubicBezTo>
                  <a:cubicBezTo>
                    <a:pt x="184" y="307"/>
                    <a:pt x="184" y="307"/>
                    <a:pt x="184" y="307"/>
                  </a:cubicBezTo>
                  <a:cubicBezTo>
                    <a:pt x="168" y="314"/>
                    <a:pt x="144" y="316"/>
                    <a:pt x="130" y="312"/>
                  </a:cubicBezTo>
                  <a:cubicBezTo>
                    <a:pt x="14" y="277"/>
                    <a:pt x="14" y="277"/>
                    <a:pt x="14" y="277"/>
                  </a:cubicBezTo>
                  <a:cubicBezTo>
                    <a:pt x="0" y="273"/>
                    <a:pt x="0" y="260"/>
                    <a:pt x="15" y="248"/>
                  </a:cubicBezTo>
                  <a:cubicBezTo>
                    <a:pt x="97" y="182"/>
                    <a:pt x="97" y="182"/>
                    <a:pt x="97" y="182"/>
                  </a:cubicBezTo>
                  <a:cubicBezTo>
                    <a:pt x="111" y="170"/>
                    <a:pt x="119" y="146"/>
                    <a:pt x="114" y="128"/>
                  </a:cubicBezTo>
                  <a:cubicBezTo>
                    <a:pt x="84" y="29"/>
                    <a:pt x="84" y="29"/>
                    <a:pt x="84" y="29"/>
                  </a:cubicBezTo>
                  <a:cubicBezTo>
                    <a:pt x="78" y="11"/>
                    <a:pt x="86" y="0"/>
                    <a:pt x="100" y="4"/>
                  </a:cubicBezTo>
                  <a:cubicBezTo>
                    <a:pt x="215" y="39"/>
                    <a:pt x="215" y="39"/>
                    <a:pt x="215" y="39"/>
                  </a:cubicBezTo>
                  <a:cubicBezTo>
                    <a:pt x="229" y="43"/>
                    <a:pt x="248" y="59"/>
                    <a:pt x="257" y="73"/>
                  </a:cubicBezTo>
                  <a:cubicBezTo>
                    <a:pt x="324" y="184"/>
                    <a:pt x="324" y="184"/>
                    <a:pt x="324" y="184"/>
                  </a:cubicBezTo>
                  <a:cubicBezTo>
                    <a:pt x="333" y="198"/>
                    <a:pt x="338" y="217"/>
                    <a:pt x="336" y="224"/>
                  </a:cubicBezTo>
                  <a:close/>
                </a:path>
              </a:pathLst>
            </a:custGeom>
            <a:gradFill flip="none" rotWithShape="1">
              <a:gsLst>
                <a:gs pos="0">
                  <a:schemeClr val="accent1">
                    <a:lumMod val="40000"/>
                    <a:lumOff val="60000"/>
                  </a:schemeClr>
                </a:gs>
                <a:gs pos="34000">
                  <a:schemeClr val="accent1">
                    <a:lumMod val="60000"/>
                    <a:lumOff val="40000"/>
                  </a:schemeClr>
                </a:gs>
                <a:gs pos="73000">
                  <a:schemeClr val="accent1"/>
                </a:gs>
              </a:gsLst>
              <a:lin ang="270000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lumMod val="50000"/>
                    <a:lumOff val="50000"/>
                  </a:prstClr>
                </a:solidFill>
                <a:effectLst/>
                <a:uLnTx/>
                <a:uFillTx/>
                <a:latin typeface="HarmonyOS Sans SC"/>
                <a:cs typeface="+mn-cs"/>
              </a:endParaRPr>
            </a:p>
          </p:txBody>
        </p:sp>
        <p:sp>
          <p:nvSpPr>
            <p:cNvPr id="13" name="Freeform 15">
              <a:extLst>
                <a:ext uri="{FF2B5EF4-FFF2-40B4-BE49-F238E27FC236}">
                  <a16:creationId xmlns:a16="http://schemas.microsoft.com/office/drawing/2014/main" id="{BA3B8E1D-1D7E-4732-A5C1-414E660F917A}"/>
                </a:ext>
              </a:extLst>
            </p:cNvPr>
            <p:cNvSpPr>
              <a:spLocks/>
            </p:cNvSpPr>
            <p:nvPr/>
          </p:nvSpPr>
          <p:spPr bwMode="auto">
            <a:xfrm>
              <a:off x="4351761" y="3457739"/>
              <a:ext cx="1636056" cy="586683"/>
            </a:xfrm>
            <a:custGeom>
              <a:avLst/>
              <a:gdLst>
                <a:gd name="T0" fmla="*/ 27 w 997"/>
                <a:gd name="T1" fmla="*/ 51 h 358"/>
                <a:gd name="T2" fmla="*/ 4 w 997"/>
                <a:gd name="T3" fmla="*/ 18 h 358"/>
                <a:gd name="T4" fmla="*/ 42 w 997"/>
                <a:gd name="T5" fmla="*/ 5 h 358"/>
                <a:gd name="T6" fmla="*/ 969 w 997"/>
                <a:gd name="T7" fmla="*/ 307 h 358"/>
                <a:gd name="T8" fmla="*/ 993 w 997"/>
                <a:gd name="T9" fmla="*/ 339 h 358"/>
                <a:gd name="T10" fmla="*/ 954 w 997"/>
                <a:gd name="T11" fmla="*/ 352 h 358"/>
                <a:gd name="T12" fmla="*/ 27 w 997"/>
                <a:gd name="T13" fmla="*/ 51 h 358"/>
              </a:gdLst>
              <a:ahLst/>
              <a:cxnLst>
                <a:cxn ang="0">
                  <a:pos x="T0" y="T1"/>
                </a:cxn>
                <a:cxn ang="0">
                  <a:pos x="T2" y="T3"/>
                </a:cxn>
                <a:cxn ang="0">
                  <a:pos x="T4" y="T5"/>
                </a:cxn>
                <a:cxn ang="0">
                  <a:pos x="T6" y="T7"/>
                </a:cxn>
                <a:cxn ang="0">
                  <a:pos x="T8" y="T9"/>
                </a:cxn>
                <a:cxn ang="0">
                  <a:pos x="T10" y="T11"/>
                </a:cxn>
                <a:cxn ang="0">
                  <a:pos x="T12" y="T13"/>
                </a:cxn>
              </a:cxnLst>
              <a:rect l="0" t="0" r="r" b="b"/>
              <a:pathLst>
                <a:path w="997" h="358">
                  <a:moveTo>
                    <a:pt x="27" y="51"/>
                  </a:moveTo>
                  <a:cubicBezTo>
                    <a:pt x="10" y="45"/>
                    <a:pt x="0" y="31"/>
                    <a:pt x="4" y="18"/>
                  </a:cubicBezTo>
                  <a:cubicBezTo>
                    <a:pt x="8" y="5"/>
                    <a:pt x="25" y="0"/>
                    <a:pt x="42" y="5"/>
                  </a:cubicBezTo>
                  <a:cubicBezTo>
                    <a:pt x="969" y="307"/>
                    <a:pt x="969" y="307"/>
                    <a:pt x="969" y="307"/>
                  </a:cubicBezTo>
                  <a:cubicBezTo>
                    <a:pt x="986" y="312"/>
                    <a:pt x="997" y="327"/>
                    <a:pt x="993" y="339"/>
                  </a:cubicBezTo>
                  <a:cubicBezTo>
                    <a:pt x="989" y="352"/>
                    <a:pt x="972" y="358"/>
                    <a:pt x="954" y="352"/>
                  </a:cubicBezTo>
                  <a:lnTo>
                    <a:pt x="27" y="51"/>
                  </a:ln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lumMod val="50000"/>
                    <a:lumOff val="50000"/>
                  </a:prstClr>
                </a:solidFill>
                <a:effectLst/>
                <a:uLnTx/>
                <a:uFillTx/>
                <a:latin typeface="HarmonyOS Sans SC"/>
                <a:cs typeface="+mn-cs"/>
              </a:endParaRPr>
            </a:p>
          </p:txBody>
        </p:sp>
        <p:sp>
          <p:nvSpPr>
            <p:cNvPr id="15" name="Freeform 16">
              <a:extLst>
                <a:ext uri="{FF2B5EF4-FFF2-40B4-BE49-F238E27FC236}">
                  <a16:creationId xmlns:a16="http://schemas.microsoft.com/office/drawing/2014/main" id="{7E0DDC70-98FD-4189-97A0-F050F40BAB55}"/>
                </a:ext>
              </a:extLst>
            </p:cNvPr>
            <p:cNvSpPr>
              <a:spLocks/>
            </p:cNvSpPr>
            <p:nvPr/>
          </p:nvSpPr>
          <p:spPr bwMode="auto">
            <a:xfrm>
              <a:off x="4779499" y="5180341"/>
              <a:ext cx="530096" cy="557557"/>
            </a:xfrm>
            <a:custGeom>
              <a:avLst/>
              <a:gdLst>
                <a:gd name="T0" fmla="*/ 290 w 323"/>
                <a:gd name="T1" fmla="*/ 5 h 340"/>
                <a:gd name="T2" fmla="*/ 306 w 323"/>
                <a:gd name="T3" fmla="*/ 45 h 340"/>
                <a:gd name="T4" fmla="*/ 321 w 323"/>
                <a:gd name="T5" fmla="*/ 175 h 340"/>
                <a:gd name="T6" fmla="*/ 310 w 323"/>
                <a:gd name="T7" fmla="*/ 228 h 340"/>
                <a:gd name="T8" fmla="*/ 241 w 323"/>
                <a:gd name="T9" fmla="*/ 327 h 340"/>
                <a:gd name="T10" fmla="*/ 214 w 323"/>
                <a:gd name="T11" fmla="*/ 318 h 340"/>
                <a:gd name="T12" fmla="*/ 176 w 323"/>
                <a:gd name="T13" fmla="*/ 220 h 340"/>
                <a:gd name="T14" fmla="*/ 130 w 323"/>
                <a:gd name="T15" fmla="*/ 187 h 340"/>
                <a:gd name="T16" fmla="*/ 27 w 323"/>
                <a:gd name="T17" fmla="*/ 185 h 340"/>
                <a:gd name="T18" fmla="*/ 8 w 323"/>
                <a:gd name="T19" fmla="*/ 162 h 340"/>
                <a:gd name="T20" fmla="*/ 77 w 323"/>
                <a:gd name="T21" fmla="*/ 63 h 340"/>
                <a:gd name="T22" fmla="*/ 122 w 323"/>
                <a:gd name="T23" fmla="*/ 34 h 340"/>
                <a:gd name="T24" fmla="*/ 248 w 323"/>
                <a:gd name="T25" fmla="*/ 4 h 340"/>
                <a:gd name="T26" fmla="*/ 290 w 323"/>
                <a:gd name="T27" fmla="*/ 5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3" h="340">
                  <a:moveTo>
                    <a:pt x="290" y="5"/>
                  </a:moveTo>
                  <a:cubicBezTo>
                    <a:pt x="297" y="10"/>
                    <a:pt x="304" y="28"/>
                    <a:pt x="306" y="45"/>
                  </a:cubicBezTo>
                  <a:cubicBezTo>
                    <a:pt x="321" y="175"/>
                    <a:pt x="321" y="175"/>
                    <a:pt x="321" y="175"/>
                  </a:cubicBezTo>
                  <a:cubicBezTo>
                    <a:pt x="323" y="192"/>
                    <a:pt x="318" y="216"/>
                    <a:pt x="310" y="228"/>
                  </a:cubicBezTo>
                  <a:cubicBezTo>
                    <a:pt x="241" y="327"/>
                    <a:pt x="241" y="327"/>
                    <a:pt x="241" y="327"/>
                  </a:cubicBezTo>
                  <a:cubicBezTo>
                    <a:pt x="233" y="340"/>
                    <a:pt x="220" y="335"/>
                    <a:pt x="214" y="318"/>
                  </a:cubicBezTo>
                  <a:cubicBezTo>
                    <a:pt x="176" y="220"/>
                    <a:pt x="176" y="220"/>
                    <a:pt x="176" y="220"/>
                  </a:cubicBezTo>
                  <a:cubicBezTo>
                    <a:pt x="170" y="202"/>
                    <a:pt x="149" y="187"/>
                    <a:pt x="130" y="187"/>
                  </a:cubicBezTo>
                  <a:cubicBezTo>
                    <a:pt x="27" y="185"/>
                    <a:pt x="27" y="185"/>
                    <a:pt x="27" y="185"/>
                  </a:cubicBezTo>
                  <a:cubicBezTo>
                    <a:pt x="8" y="184"/>
                    <a:pt x="0" y="174"/>
                    <a:pt x="8" y="162"/>
                  </a:cubicBezTo>
                  <a:cubicBezTo>
                    <a:pt x="77" y="63"/>
                    <a:pt x="77" y="63"/>
                    <a:pt x="77" y="63"/>
                  </a:cubicBezTo>
                  <a:cubicBezTo>
                    <a:pt x="85" y="51"/>
                    <a:pt x="106" y="37"/>
                    <a:pt x="122" y="34"/>
                  </a:cubicBezTo>
                  <a:cubicBezTo>
                    <a:pt x="248" y="4"/>
                    <a:pt x="248" y="4"/>
                    <a:pt x="248" y="4"/>
                  </a:cubicBezTo>
                  <a:cubicBezTo>
                    <a:pt x="265" y="0"/>
                    <a:pt x="284" y="1"/>
                    <a:pt x="290" y="5"/>
                  </a:cubicBezTo>
                  <a:close/>
                </a:path>
              </a:pathLst>
            </a:custGeom>
            <a:gradFill flip="none" rotWithShape="1">
              <a:gsLst>
                <a:gs pos="0">
                  <a:schemeClr val="accent1">
                    <a:lumMod val="40000"/>
                    <a:lumOff val="60000"/>
                  </a:schemeClr>
                </a:gs>
                <a:gs pos="34000">
                  <a:schemeClr val="accent1">
                    <a:lumMod val="60000"/>
                    <a:lumOff val="40000"/>
                  </a:schemeClr>
                </a:gs>
                <a:gs pos="73000">
                  <a:schemeClr val="accent1"/>
                </a:gs>
              </a:gsLst>
              <a:lin ang="1890000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lumMod val="50000"/>
                    <a:lumOff val="50000"/>
                  </a:prstClr>
                </a:solidFill>
                <a:effectLst/>
                <a:uLnTx/>
                <a:uFillTx/>
                <a:latin typeface="HarmonyOS Sans SC"/>
                <a:cs typeface="+mn-cs"/>
              </a:endParaRPr>
            </a:p>
          </p:txBody>
        </p:sp>
        <p:sp>
          <p:nvSpPr>
            <p:cNvPr id="16" name="Freeform 17">
              <a:extLst>
                <a:ext uri="{FF2B5EF4-FFF2-40B4-BE49-F238E27FC236}">
                  <a16:creationId xmlns:a16="http://schemas.microsoft.com/office/drawing/2014/main" id="{2AB1B96C-25CD-41DD-9A80-44A06112D7F9}"/>
                </a:ext>
              </a:extLst>
            </p:cNvPr>
            <p:cNvSpPr>
              <a:spLocks/>
            </p:cNvSpPr>
            <p:nvPr/>
          </p:nvSpPr>
          <p:spPr bwMode="auto">
            <a:xfrm>
              <a:off x="5005019" y="4134298"/>
              <a:ext cx="1036890" cy="1404711"/>
            </a:xfrm>
            <a:custGeom>
              <a:avLst/>
              <a:gdLst>
                <a:gd name="T0" fmla="*/ 49 w 632"/>
                <a:gd name="T1" fmla="*/ 837 h 857"/>
                <a:gd name="T2" fmla="*/ 10 w 632"/>
                <a:gd name="T3" fmla="*/ 849 h 857"/>
                <a:gd name="T4" fmla="*/ 10 w 632"/>
                <a:gd name="T5" fmla="*/ 809 h 857"/>
                <a:gd name="T6" fmla="*/ 583 w 632"/>
                <a:gd name="T7" fmla="*/ 20 h 857"/>
                <a:gd name="T8" fmla="*/ 622 w 632"/>
                <a:gd name="T9" fmla="*/ 8 h 857"/>
                <a:gd name="T10" fmla="*/ 622 w 632"/>
                <a:gd name="T11" fmla="*/ 48 h 857"/>
                <a:gd name="T12" fmla="*/ 49 w 632"/>
                <a:gd name="T13" fmla="*/ 837 h 857"/>
              </a:gdLst>
              <a:ahLst/>
              <a:cxnLst>
                <a:cxn ang="0">
                  <a:pos x="T0" y="T1"/>
                </a:cxn>
                <a:cxn ang="0">
                  <a:pos x="T2" y="T3"/>
                </a:cxn>
                <a:cxn ang="0">
                  <a:pos x="T4" y="T5"/>
                </a:cxn>
                <a:cxn ang="0">
                  <a:pos x="T6" y="T7"/>
                </a:cxn>
                <a:cxn ang="0">
                  <a:pos x="T8" y="T9"/>
                </a:cxn>
                <a:cxn ang="0">
                  <a:pos x="T10" y="T11"/>
                </a:cxn>
                <a:cxn ang="0">
                  <a:pos x="T12" y="T13"/>
                </a:cxn>
              </a:cxnLst>
              <a:rect l="0" t="0" r="r" b="b"/>
              <a:pathLst>
                <a:path w="632" h="857">
                  <a:moveTo>
                    <a:pt x="49" y="837"/>
                  </a:moveTo>
                  <a:cubicBezTo>
                    <a:pt x="38" y="851"/>
                    <a:pt x="21" y="857"/>
                    <a:pt x="10" y="849"/>
                  </a:cubicBezTo>
                  <a:cubicBezTo>
                    <a:pt x="0" y="841"/>
                    <a:pt x="0" y="823"/>
                    <a:pt x="10" y="809"/>
                  </a:cubicBezTo>
                  <a:cubicBezTo>
                    <a:pt x="583" y="20"/>
                    <a:pt x="583" y="20"/>
                    <a:pt x="583" y="20"/>
                  </a:cubicBezTo>
                  <a:cubicBezTo>
                    <a:pt x="594" y="5"/>
                    <a:pt x="611" y="0"/>
                    <a:pt x="622" y="8"/>
                  </a:cubicBezTo>
                  <a:cubicBezTo>
                    <a:pt x="632" y="15"/>
                    <a:pt x="632" y="34"/>
                    <a:pt x="622" y="48"/>
                  </a:cubicBezTo>
                  <a:lnTo>
                    <a:pt x="49" y="837"/>
                  </a:ln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lumMod val="50000"/>
                    <a:lumOff val="50000"/>
                  </a:prstClr>
                </a:solidFill>
                <a:effectLst/>
                <a:uLnTx/>
                <a:uFillTx/>
                <a:latin typeface="HarmonyOS Sans SC"/>
                <a:cs typeface="+mn-cs"/>
              </a:endParaRPr>
            </a:p>
          </p:txBody>
        </p:sp>
        <p:sp>
          <p:nvSpPr>
            <p:cNvPr id="18" name="Freeform 18">
              <a:extLst>
                <a:ext uri="{FF2B5EF4-FFF2-40B4-BE49-F238E27FC236}">
                  <a16:creationId xmlns:a16="http://schemas.microsoft.com/office/drawing/2014/main" id="{7BD5E2BC-2589-43FF-86C2-21F23D4F13C5}"/>
                </a:ext>
              </a:extLst>
            </p:cNvPr>
            <p:cNvSpPr>
              <a:spLocks/>
            </p:cNvSpPr>
            <p:nvPr/>
          </p:nvSpPr>
          <p:spPr bwMode="auto">
            <a:xfrm>
              <a:off x="6875748" y="5188663"/>
              <a:ext cx="536753" cy="549235"/>
            </a:xfrm>
            <a:custGeom>
              <a:avLst/>
              <a:gdLst>
                <a:gd name="T0" fmla="*/ 27 w 327"/>
                <a:gd name="T1" fmla="*/ 6 h 335"/>
                <a:gd name="T2" fmla="*/ 70 w 327"/>
                <a:gd name="T3" fmla="*/ 4 h 335"/>
                <a:gd name="T4" fmla="*/ 198 w 327"/>
                <a:gd name="T5" fmla="*/ 29 h 335"/>
                <a:gd name="T6" fmla="*/ 245 w 327"/>
                <a:gd name="T7" fmla="*/ 57 h 335"/>
                <a:gd name="T8" fmla="*/ 318 w 327"/>
                <a:gd name="T9" fmla="*/ 153 h 335"/>
                <a:gd name="T10" fmla="*/ 300 w 327"/>
                <a:gd name="T11" fmla="*/ 176 h 335"/>
                <a:gd name="T12" fmla="*/ 196 w 327"/>
                <a:gd name="T13" fmla="*/ 181 h 335"/>
                <a:gd name="T14" fmla="*/ 150 w 327"/>
                <a:gd name="T15" fmla="*/ 215 h 335"/>
                <a:gd name="T16" fmla="*/ 116 w 327"/>
                <a:gd name="T17" fmla="*/ 312 h 335"/>
                <a:gd name="T18" fmla="*/ 89 w 327"/>
                <a:gd name="T19" fmla="*/ 323 h 335"/>
                <a:gd name="T20" fmla="*/ 16 w 327"/>
                <a:gd name="T21" fmla="*/ 227 h 335"/>
                <a:gd name="T22" fmla="*/ 2 w 327"/>
                <a:gd name="T23" fmla="*/ 175 h 335"/>
                <a:gd name="T24" fmla="*/ 13 w 327"/>
                <a:gd name="T25" fmla="*/ 46 h 335"/>
                <a:gd name="T26" fmla="*/ 27 w 327"/>
                <a:gd name="T27" fmla="*/ 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7" h="335">
                  <a:moveTo>
                    <a:pt x="27" y="6"/>
                  </a:moveTo>
                  <a:cubicBezTo>
                    <a:pt x="34" y="2"/>
                    <a:pt x="53" y="0"/>
                    <a:pt x="70" y="4"/>
                  </a:cubicBezTo>
                  <a:cubicBezTo>
                    <a:pt x="198" y="29"/>
                    <a:pt x="198" y="29"/>
                    <a:pt x="198" y="29"/>
                  </a:cubicBezTo>
                  <a:cubicBezTo>
                    <a:pt x="215" y="33"/>
                    <a:pt x="236" y="45"/>
                    <a:pt x="245" y="57"/>
                  </a:cubicBezTo>
                  <a:cubicBezTo>
                    <a:pt x="318" y="153"/>
                    <a:pt x="318" y="153"/>
                    <a:pt x="318" y="153"/>
                  </a:cubicBezTo>
                  <a:cubicBezTo>
                    <a:pt x="327" y="164"/>
                    <a:pt x="319" y="175"/>
                    <a:pt x="300" y="176"/>
                  </a:cubicBezTo>
                  <a:cubicBezTo>
                    <a:pt x="196" y="181"/>
                    <a:pt x="196" y="181"/>
                    <a:pt x="196" y="181"/>
                  </a:cubicBezTo>
                  <a:cubicBezTo>
                    <a:pt x="177" y="182"/>
                    <a:pt x="156" y="197"/>
                    <a:pt x="150" y="215"/>
                  </a:cubicBezTo>
                  <a:cubicBezTo>
                    <a:pt x="116" y="312"/>
                    <a:pt x="116" y="312"/>
                    <a:pt x="116" y="312"/>
                  </a:cubicBezTo>
                  <a:cubicBezTo>
                    <a:pt x="110" y="330"/>
                    <a:pt x="98" y="335"/>
                    <a:pt x="89" y="323"/>
                  </a:cubicBezTo>
                  <a:cubicBezTo>
                    <a:pt x="16" y="227"/>
                    <a:pt x="16" y="227"/>
                    <a:pt x="16" y="227"/>
                  </a:cubicBezTo>
                  <a:cubicBezTo>
                    <a:pt x="7" y="215"/>
                    <a:pt x="0" y="192"/>
                    <a:pt x="2" y="175"/>
                  </a:cubicBezTo>
                  <a:cubicBezTo>
                    <a:pt x="13" y="46"/>
                    <a:pt x="13" y="46"/>
                    <a:pt x="13" y="46"/>
                  </a:cubicBezTo>
                  <a:cubicBezTo>
                    <a:pt x="14" y="29"/>
                    <a:pt x="21" y="11"/>
                    <a:pt x="27" y="6"/>
                  </a:cubicBezTo>
                  <a:close/>
                </a:path>
              </a:pathLst>
            </a:custGeom>
            <a:gradFill flip="none" rotWithShape="1">
              <a:gsLst>
                <a:gs pos="0">
                  <a:schemeClr val="accent1">
                    <a:lumMod val="40000"/>
                    <a:lumOff val="60000"/>
                  </a:schemeClr>
                </a:gs>
                <a:gs pos="34000">
                  <a:schemeClr val="accent1">
                    <a:lumMod val="60000"/>
                    <a:lumOff val="40000"/>
                  </a:schemeClr>
                </a:gs>
                <a:gs pos="73000">
                  <a:schemeClr val="accent1"/>
                </a:gs>
              </a:gsLst>
              <a:lin ang="1350000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lumMod val="50000"/>
                    <a:lumOff val="50000"/>
                  </a:prstClr>
                </a:solidFill>
                <a:effectLst/>
                <a:uLnTx/>
                <a:uFillTx/>
                <a:latin typeface="HarmonyOS Sans SC"/>
                <a:cs typeface="+mn-cs"/>
              </a:endParaRPr>
            </a:p>
          </p:txBody>
        </p:sp>
        <p:sp>
          <p:nvSpPr>
            <p:cNvPr id="19" name="Freeform 19">
              <a:extLst>
                <a:ext uri="{FF2B5EF4-FFF2-40B4-BE49-F238E27FC236}">
                  <a16:creationId xmlns:a16="http://schemas.microsoft.com/office/drawing/2014/main" id="{E09456C4-3F19-4315-86AD-D0FF9E2D42C1}"/>
                </a:ext>
              </a:extLst>
            </p:cNvPr>
            <p:cNvSpPr>
              <a:spLocks/>
            </p:cNvSpPr>
            <p:nvPr/>
          </p:nvSpPr>
          <p:spPr bwMode="auto">
            <a:xfrm>
              <a:off x="6146763" y="4134298"/>
              <a:ext cx="1039387" cy="1404711"/>
            </a:xfrm>
            <a:custGeom>
              <a:avLst/>
              <a:gdLst>
                <a:gd name="T0" fmla="*/ 623 w 633"/>
                <a:gd name="T1" fmla="*/ 808 h 857"/>
                <a:gd name="T2" fmla="*/ 623 w 633"/>
                <a:gd name="T3" fmla="*/ 849 h 857"/>
                <a:gd name="T4" fmla="*/ 584 w 633"/>
                <a:gd name="T5" fmla="*/ 837 h 857"/>
                <a:gd name="T6" fmla="*/ 11 w 633"/>
                <a:gd name="T7" fmla="*/ 48 h 857"/>
                <a:gd name="T8" fmla="*/ 11 w 633"/>
                <a:gd name="T9" fmla="*/ 7 h 857"/>
                <a:gd name="T10" fmla="*/ 50 w 633"/>
                <a:gd name="T11" fmla="*/ 20 h 857"/>
                <a:gd name="T12" fmla="*/ 623 w 633"/>
                <a:gd name="T13" fmla="*/ 808 h 857"/>
              </a:gdLst>
              <a:ahLst/>
              <a:cxnLst>
                <a:cxn ang="0">
                  <a:pos x="T0" y="T1"/>
                </a:cxn>
                <a:cxn ang="0">
                  <a:pos x="T2" y="T3"/>
                </a:cxn>
                <a:cxn ang="0">
                  <a:pos x="T4" y="T5"/>
                </a:cxn>
                <a:cxn ang="0">
                  <a:pos x="T6" y="T7"/>
                </a:cxn>
                <a:cxn ang="0">
                  <a:pos x="T8" y="T9"/>
                </a:cxn>
                <a:cxn ang="0">
                  <a:pos x="T10" y="T11"/>
                </a:cxn>
                <a:cxn ang="0">
                  <a:pos x="T12" y="T13"/>
                </a:cxn>
              </a:cxnLst>
              <a:rect l="0" t="0" r="r" b="b"/>
              <a:pathLst>
                <a:path w="633" h="857">
                  <a:moveTo>
                    <a:pt x="623" y="808"/>
                  </a:moveTo>
                  <a:cubicBezTo>
                    <a:pt x="633" y="823"/>
                    <a:pt x="633" y="841"/>
                    <a:pt x="623" y="849"/>
                  </a:cubicBezTo>
                  <a:cubicBezTo>
                    <a:pt x="612" y="857"/>
                    <a:pt x="595" y="851"/>
                    <a:pt x="584" y="837"/>
                  </a:cubicBezTo>
                  <a:cubicBezTo>
                    <a:pt x="11" y="48"/>
                    <a:pt x="11" y="48"/>
                    <a:pt x="11" y="48"/>
                  </a:cubicBezTo>
                  <a:cubicBezTo>
                    <a:pt x="0" y="33"/>
                    <a:pt x="1" y="15"/>
                    <a:pt x="11" y="7"/>
                  </a:cubicBezTo>
                  <a:cubicBezTo>
                    <a:pt x="22" y="0"/>
                    <a:pt x="39" y="5"/>
                    <a:pt x="50" y="20"/>
                  </a:cubicBezTo>
                  <a:lnTo>
                    <a:pt x="623" y="808"/>
                  </a:ln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lumMod val="50000"/>
                    <a:lumOff val="50000"/>
                  </a:prstClr>
                </a:solidFill>
                <a:effectLst/>
                <a:uLnTx/>
                <a:uFillTx/>
                <a:latin typeface="HarmonyOS Sans SC"/>
                <a:cs typeface="+mn-cs"/>
              </a:endParaRPr>
            </a:p>
          </p:txBody>
        </p:sp>
        <p:sp>
          <p:nvSpPr>
            <p:cNvPr id="21" name="Freeform 20">
              <a:extLst>
                <a:ext uri="{FF2B5EF4-FFF2-40B4-BE49-F238E27FC236}">
                  <a16:creationId xmlns:a16="http://schemas.microsoft.com/office/drawing/2014/main" id="{BA600689-A304-4226-95F3-E41D9CDC2879}"/>
                </a:ext>
              </a:extLst>
            </p:cNvPr>
            <p:cNvSpPr>
              <a:spLocks/>
            </p:cNvSpPr>
            <p:nvPr/>
          </p:nvSpPr>
          <p:spPr bwMode="auto">
            <a:xfrm>
              <a:off x="7438297" y="3233052"/>
              <a:ext cx="553397" cy="525934"/>
            </a:xfrm>
            <a:custGeom>
              <a:avLst/>
              <a:gdLst>
                <a:gd name="T0" fmla="*/ 3 w 337"/>
                <a:gd name="T1" fmla="*/ 237 h 321"/>
                <a:gd name="T2" fmla="*/ 14 w 337"/>
                <a:gd name="T3" fmla="*/ 196 h 321"/>
                <a:gd name="T4" fmla="*/ 78 w 337"/>
                <a:gd name="T5" fmla="*/ 81 h 321"/>
                <a:gd name="T6" fmla="*/ 118 w 337"/>
                <a:gd name="T7" fmla="*/ 45 h 321"/>
                <a:gd name="T8" fmla="*/ 232 w 337"/>
                <a:gd name="T9" fmla="*/ 5 h 321"/>
                <a:gd name="T10" fmla="*/ 248 w 337"/>
                <a:gd name="T11" fmla="*/ 29 h 321"/>
                <a:gd name="T12" fmla="*/ 221 w 337"/>
                <a:gd name="T13" fmla="*/ 131 h 321"/>
                <a:gd name="T14" fmla="*/ 239 w 337"/>
                <a:gd name="T15" fmla="*/ 184 h 321"/>
                <a:gd name="T16" fmla="*/ 322 w 337"/>
                <a:gd name="T17" fmla="*/ 247 h 321"/>
                <a:gd name="T18" fmla="*/ 323 w 337"/>
                <a:gd name="T19" fmla="*/ 276 h 321"/>
                <a:gd name="T20" fmla="*/ 209 w 337"/>
                <a:gd name="T21" fmla="*/ 316 h 321"/>
                <a:gd name="T22" fmla="*/ 156 w 337"/>
                <a:gd name="T23" fmla="*/ 313 h 321"/>
                <a:gd name="T24" fmla="*/ 36 w 337"/>
                <a:gd name="T25" fmla="*/ 263 h 321"/>
                <a:gd name="T26" fmla="*/ 3 w 337"/>
                <a:gd name="T27" fmla="*/ 237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7" h="321">
                  <a:moveTo>
                    <a:pt x="3" y="237"/>
                  </a:moveTo>
                  <a:cubicBezTo>
                    <a:pt x="0" y="229"/>
                    <a:pt x="5" y="211"/>
                    <a:pt x="14" y="196"/>
                  </a:cubicBezTo>
                  <a:cubicBezTo>
                    <a:pt x="78" y="81"/>
                    <a:pt x="78" y="81"/>
                    <a:pt x="78" y="81"/>
                  </a:cubicBezTo>
                  <a:cubicBezTo>
                    <a:pt x="86" y="66"/>
                    <a:pt x="104" y="50"/>
                    <a:pt x="118" y="45"/>
                  </a:cubicBezTo>
                  <a:cubicBezTo>
                    <a:pt x="232" y="5"/>
                    <a:pt x="232" y="5"/>
                    <a:pt x="232" y="5"/>
                  </a:cubicBezTo>
                  <a:cubicBezTo>
                    <a:pt x="246" y="0"/>
                    <a:pt x="253" y="11"/>
                    <a:pt x="248" y="29"/>
                  </a:cubicBezTo>
                  <a:cubicBezTo>
                    <a:pt x="221" y="131"/>
                    <a:pt x="221" y="131"/>
                    <a:pt x="221" y="131"/>
                  </a:cubicBezTo>
                  <a:cubicBezTo>
                    <a:pt x="216" y="149"/>
                    <a:pt x="224" y="173"/>
                    <a:pt x="239" y="184"/>
                  </a:cubicBezTo>
                  <a:cubicBezTo>
                    <a:pt x="322" y="247"/>
                    <a:pt x="322" y="247"/>
                    <a:pt x="322" y="247"/>
                  </a:cubicBezTo>
                  <a:cubicBezTo>
                    <a:pt x="336" y="258"/>
                    <a:pt x="337" y="271"/>
                    <a:pt x="323" y="276"/>
                  </a:cubicBezTo>
                  <a:cubicBezTo>
                    <a:pt x="209" y="316"/>
                    <a:pt x="209" y="316"/>
                    <a:pt x="209" y="316"/>
                  </a:cubicBezTo>
                  <a:cubicBezTo>
                    <a:pt x="195" y="321"/>
                    <a:pt x="171" y="320"/>
                    <a:pt x="156" y="313"/>
                  </a:cubicBezTo>
                  <a:cubicBezTo>
                    <a:pt x="36" y="263"/>
                    <a:pt x="36" y="263"/>
                    <a:pt x="36" y="263"/>
                  </a:cubicBezTo>
                  <a:cubicBezTo>
                    <a:pt x="21" y="256"/>
                    <a:pt x="6" y="245"/>
                    <a:pt x="3" y="237"/>
                  </a:cubicBezTo>
                  <a:close/>
                </a:path>
              </a:pathLst>
            </a:custGeom>
            <a:gradFill flip="none" rotWithShape="1">
              <a:gsLst>
                <a:gs pos="0">
                  <a:schemeClr val="accent1">
                    <a:lumMod val="40000"/>
                    <a:lumOff val="60000"/>
                  </a:schemeClr>
                </a:gs>
                <a:gs pos="41000">
                  <a:schemeClr val="accent1">
                    <a:lumMod val="60000"/>
                    <a:lumOff val="40000"/>
                  </a:schemeClr>
                </a:gs>
                <a:gs pos="73000">
                  <a:schemeClr val="accent1"/>
                </a:gs>
              </a:gsLst>
              <a:lin ang="810000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lumMod val="50000"/>
                    <a:lumOff val="50000"/>
                  </a:prstClr>
                </a:solidFill>
                <a:effectLst/>
                <a:uLnTx/>
                <a:uFillTx/>
                <a:latin typeface="HarmonyOS Sans SC"/>
                <a:cs typeface="+mn-cs"/>
              </a:endParaRPr>
            </a:p>
          </p:txBody>
        </p:sp>
        <p:sp>
          <p:nvSpPr>
            <p:cNvPr id="22" name="Freeform 21">
              <a:extLst>
                <a:ext uri="{FF2B5EF4-FFF2-40B4-BE49-F238E27FC236}">
                  <a16:creationId xmlns:a16="http://schemas.microsoft.com/office/drawing/2014/main" id="{E25886EC-B6AF-44BC-AF15-8F7DF3DF79B2}"/>
                </a:ext>
              </a:extLst>
            </p:cNvPr>
            <p:cNvSpPr>
              <a:spLocks/>
            </p:cNvSpPr>
            <p:nvPr/>
          </p:nvSpPr>
          <p:spPr bwMode="auto">
            <a:xfrm>
              <a:off x="6200853" y="3456075"/>
              <a:ext cx="1638553" cy="586683"/>
            </a:xfrm>
            <a:custGeom>
              <a:avLst/>
              <a:gdLst>
                <a:gd name="T0" fmla="*/ 955 w 998"/>
                <a:gd name="T1" fmla="*/ 6 h 358"/>
                <a:gd name="T2" fmla="*/ 994 w 998"/>
                <a:gd name="T3" fmla="*/ 19 h 358"/>
                <a:gd name="T4" fmla="*/ 970 w 998"/>
                <a:gd name="T5" fmla="*/ 52 h 358"/>
                <a:gd name="T6" fmla="*/ 43 w 998"/>
                <a:gd name="T7" fmla="*/ 353 h 358"/>
                <a:gd name="T8" fmla="*/ 4 w 998"/>
                <a:gd name="T9" fmla="*/ 340 h 358"/>
                <a:gd name="T10" fmla="*/ 28 w 998"/>
                <a:gd name="T11" fmla="*/ 307 h 358"/>
                <a:gd name="T12" fmla="*/ 955 w 998"/>
                <a:gd name="T13" fmla="*/ 6 h 358"/>
              </a:gdLst>
              <a:ahLst/>
              <a:cxnLst>
                <a:cxn ang="0">
                  <a:pos x="T0" y="T1"/>
                </a:cxn>
                <a:cxn ang="0">
                  <a:pos x="T2" y="T3"/>
                </a:cxn>
                <a:cxn ang="0">
                  <a:pos x="T4" y="T5"/>
                </a:cxn>
                <a:cxn ang="0">
                  <a:pos x="T6" y="T7"/>
                </a:cxn>
                <a:cxn ang="0">
                  <a:pos x="T8" y="T9"/>
                </a:cxn>
                <a:cxn ang="0">
                  <a:pos x="T10" y="T11"/>
                </a:cxn>
                <a:cxn ang="0">
                  <a:pos x="T12" y="T13"/>
                </a:cxn>
              </a:cxnLst>
              <a:rect l="0" t="0" r="r" b="b"/>
              <a:pathLst>
                <a:path w="998" h="358">
                  <a:moveTo>
                    <a:pt x="955" y="6"/>
                  </a:moveTo>
                  <a:cubicBezTo>
                    <a:pt x="972" y="0"/>
                    <a:pt x="990" y="6"/>
                    <a:pt x="994" y="19"/>
                  </a:cubicBezTo>
                  <a:cubicBezTo>
                    <a:pt x="998" y="31"/>
                    <a:pt x="987" y="46"/>
                    <a:pt x="970" y="52"/>
                  </a:cubicBezTo>
                  <a:cubicBezTo>
                    <a:pt x="43" y="353"/>
                    <a:pt x="43" y="353"/>
                    <a:pt x="43" y="353"/>
                  </a:cubicBezTo>
                  <a:cubicBezTo>
                    <a:pt x="26" y="358"/>
                    <a:pt x="8" y="353"/>
                    <a:pt x="4" y="340"/>
                  </a:cubicBezTo>
                  <a:cubicBezTo>
                    <a:pt x="0" y="327"/>
                    <a:pt x="11" y="313"/>
                    <a:pt x="28" y="307"/>
                  </a:cubicBezTo>
                  <a:lnTo>
                    <a:pt x="955" y="6"/>
                  </a:ln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lumMod val="50000"/>
                    <a:lumOff val="50000"/>
                  </a:prstClr>
                </a:solidFill>
                <a:effectLst/>
                <a:uLnTx/>
                <a:uFillTx/>
                <a:latin typeface="HarmonyOS Sans SC"/>
                <a:cs typeface="+mn-cs"/>
              </a:endParaRPr>
            </a:p>
          </p:txBody>
        </p:sp>
      </p:grpSp>
      <p:cxnSp>
        <p:nvCxnSpPr>
          <p:cNvPr id="24" name="Straight Connector 26">
            <a:extLst>
              <a:ext uri="{FF2B5EF4-FFF2-40B4-BE49-F238E27FC236}">
                <a16:creationId xmlns:a16="http://schemas.microsoft.com/office/drawing/2014/main" id="{515B87B9-302F-4ABC-A743-22AE02D0F59F}"/>
              </a:ext>
            </a:extLst>
          </p:cNvPr>
          <p:cNvCxnSpPr>
            <a:cxnSpLocks/>
          </p:cNvCxnSpPr>
          <p:nvPr/>
        </p:nvCxnSpPr>
        <p:spPr>
          <a:xfrm>
            <a:off x="6122174" y="1904001"/>
            <a:ext cx="0" cy="203479"/>
          </a:xfrm>
          <a:prstGeom prst="line">
            <a:avLst/>
          </a:prstGeom>
          <a:ln w="508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6" name="Straight Connector 31">
            <a:extLst>
              <a:ext uri="{FF2B5EF4-FFF2-40B4-BE49-F238E27FC236}">
                <a16:creationId xmlns:a16="http://schemas.microsoft.com/office/drawing/2014/main" id="{680D7903-E794-46EB-BCAB-A818106461C9}"/>
              </a:ext>
            </a:extLst>
          </p:cNvPr>
          <p:cNvCxnSpPr>
            <a:cxnSpLocks/>
          </p:cNvCxnSpPr>
          <p:nvPr/>
        </p:nvCxnSpPr>
        <p:spPr>
          <a:xfrm>
            <a:off x="8955082" y="3540061"/>
            <a:ext cx="0" cy="203479"/>
          </a:xfrm>
          <a:prstGeom prst="line">
            <a:avLst/>
          </a:prstGeom>
          <a:ln w="508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8" name="Straight Connector 33">
            <a:extLst>
              <a:ext uri="{FF2B5EF4-FFF2-40B4-BE49-F238E27FC236}">
                <a16:creationId xmlns:a16="http://schemas.microsoft.com/office/drawing/2014/main" id="{5C461761-5A71-44DE-9B7E-24F305467F25}"/>
              </a:ext>
            </a:extLst>
          </p:cNvPr>
          <p:cNvCxnSpPr>
            <a:cxnSpLocks/>
          </p:cNvCxnSpPr>
          <p:nvPr/>
        </p:nvCxnSpPr>
        <p:spPr>
          <a:xfrm>
            <a:off x="7647103" y="5494212"/>
            <a:ext cx="0" cy="203479"/>
          </a:xfrm>
          <a:prstGeom prst="line">
            <a:avLst/>
          </a:prstGeom>
          <a:ln w="508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0" name="Straight Connector 35">
            <a:extLst>
              <a:ext uri="{FF2B5EF4-FFF2-40B4-BE49-F238E27FC236}">
                <a16:creationId xmlns:a16="http://schemas.microsoft.com/office/drawing/2014/main" id="{93392157-B8E2-4880-98A0-45D8138ED64E}"/>
              </a:ext>
            </a:extLst>
          </p:cNvPr>
          <p:cNvCxnSpPr>
            <a:cxnSpLocks/>
          </p:cNvCxnSpPr>
          <p:nvPr/>
        </p:nvCxnSpPr>
        <p:spPr>
          <a:xfrm>
            <a:off x="4546459" y="5494212"/>
            <a:ext cx="0" cy="203479"/>
          </a:xfrm>
          <a:prstGeom prst="line">
            <a:avLst/>
          </a:prstGeom>
          <a:ln w="508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2" name="Straight Connector 37">
            <a:extLst>
              <a:ext uri="{FF2B5EF4-FFF2-40B4-BE49-F238E27FC236}">
                <a16:creationId xmlns:a16="http://schemas.microsoft.com/office/drawing/2014/main" id="{8352AAB7-CDED-4BEA-8CC3-1CF5C6252E3F}"/>
              </a:ext>
            </a:extLst>
          </p:cNvPr>
          <p:cNvCxnSpPr>
            <a:cxnSpLocks/>
          </p:cNvCxnSpPr>
          <p:nvPr/>
        </p:nvCxnSpPr>
        <p:spPr>
          <a:xfrm>
            <a:off x="3273804" y="3583251"/>
            <a:ext cx="0" cy="203479"/>
          </a:xfrm>
          <a:prstGeom prst="line">
            <a:avLst/>
          </a:prstGeom>
          <a:ln w="50800">
            <a:solidFill>
              <a:schemeClr val="accent1"/>
            </a:solidFill>
          </a:ln>
        </p:spPr>
        <p:style>
          <a:lnRef idx="1">
            <a:schemeClr val="accent1"/>
          </a:lnRef>
          <a:fillRef idx="0">
            <a:schemeClr val="accent1"/>
          </a:fillRef>
          <a:effectRef idx="0">
            <a:schemeClr val="accent1"/>
          </a:effectRef>
          <a:fontRef idx="minor">
            <a:schemeClr val="tx1"/>
          </a:fontRef>
        </p:style>
      </p:cxnSp>
      <p:sp>
        <p:nvSpPr>
          <p:cNvPr id="38" name="Right Triangle 61">
            <a:extLst>
              <a:ext uri="{FF2B5EF4-FFF2-40B4-BE49-F238E27FC236}">
                <a16:creationId xmlns:a16="http://schemas.microsoft.com/office/drawing/2014/main" id="{9EA889E3-A1AE-4443-8746-28515C2870DD}"/>
              </a:ext>
            </a:extLst>
          </p:cNvPr>
          <p:cNvSpPr/>
          <p:nvPr/>
        </p:nvSpPr>
        <p:spPr>
          <a:xfrm flipV="1">
            <a:off x="1055689" y="803583"/>
            <a:ext cx="72580" cy="72177"/>
          </a:xfrm>
          <a:prstGeom prst="r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HarmonyOS Sans SC"/>
              <a:cs typeface="+mn-cs"/>
            </a:endParaRPr>
          </a:p>
        </p:txBody>
      </p:sp>
      <p:sp>
        <p:nvSpPr>
          <p:cNvPr id="39" name="文本框 38">
            <a:extLst>
              <a:ext uri="{FF2B5EF4-FFF2-40B4-BE49-F238E27FC236}">
                <a16:creationId xmlns:a16="http://schemas.microsoft.com/office/drawing/2014/main" id="{35163C14-F24A-4D82-AEB8-A689DED0DF50}"/>
              </a:ext>
            </a:extLst>
          </p:cNvPr>
          <p:cNvSpPr txBox="1"/>
          <p:nvPr/>
        </p:nvSpPr>
        <p:spPr>
          <a:xfrm>
            <a:off x="941388" y="918105"/>
            <a:ext cx="3251211"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2800" b="0" i="0" u="none" strike="noStrike" kern="1200" cap="none" spc="0" normalizeH="0" baseline="0" noProof="0" dirty="0">
                <a:ln>
                  <a:noFill/>
                </a:ln>
                <a:solidFill>
                  <a:prstClr val="black"/>
                </a:solidFill>
                <a:effectLst/>
                <a:uLnTx/>
                <a:uFillTx/>
                <a:latin typeface="HarmonyOS Sans Black"/>
                <a:ea typeface="+mj-ea"/>
                <a:cs typeface="+mn-cs"/>
              </a:rPr>
              <a:t>Goals </a:t>
            </a:r>
            <a:r>
              <a:rPr kumimoji="0" lang="en-US" altLang="zh-CN" sz="2800" b="0" i="0" u="none" strike="noStrike" kern="1200" cap="none" spc="0" normalizeH="0" baseline="0" noProof="0" dirty="0">
                <a:ln>
                  <a:noFill/>
                </a:ln>
                <a:solidFill>
                  <a:schemeClr val="accent1"/>
                </a:solidFill>
                <a:effectLst/>
                <a:uLnTx/>
                <a:uFillTx/>
                <a:latin typeface="HarmonyOS Sans Black"/>
                <a:ea typeface="+mj-ea"/>
                <a:cs typeface="+mn-cs"/>
              </a:rPr>
              <a:t>infographic</a:t>
            </a:r>
          </a:p>
        </p:txBody>
      </p:sp>
      <p:sp>
        <p:nvSpPr>
          <p:cNvPr id="50" name="TextBox 27">
            <a:extLst>
              <a:ext uri="{FF2B5EF4-FFF2-40B4-BE49-F238E27FC236}">
                <a16:creationId xmlns:a16="http://schemas.microsoft.com/office/drawing/2014/main" id="{EF66E17A-6755-4367-8231-3B1040BEC930}"/>
              </a:ext>
            </a:extLst>
          </p:cNvPr>
          <p:cNvSpPr txBox="1"/>
          <p:nvPr/>
        </p:nvSpPr>
        <p:spPr>
          <a:xfrm>
            <a:off x="9067758" y="3482815"/>
            <a:ext cx="2096948" cy="306944"/>
          </a:xfrm>
          <a:prstGeom prst="rect">
            <a:avLst/>
          </a:prstGeom>
          <a:noFill/>
        </p:spPr>
        <p:txBody>
          <a:bodyPr wrap="square" lIns="0" tIns="0" rIns="0" bIns="0" rtlCol="0">
            <a:spAutoFit/>
          </a:bodyPr>
          <a:lstStyle>
            <a:defPPr>
              <a:defRPr lang="zh-CN"/>
            </a:defPPr>
            <a:lvl1pPr marR="0" lvl="0" indent="0" fontAlgn="auto">
              <a:lnSpc>
                <a:spcPct val="120000"/>
              </a:lnSpc>
              <a:spcBef>
                <a:spcPts val="1200"/>
              </a:spcBef>
              <a:spcAft>
                <a:spcPts val="0"/>
              </a:spcAft>
              <a:buClrTx/>
              <a:buSzTx/>
              <a:buFontTx/>
              <a:buNone/>
              <a:tabLst/>
              <a:defRPr kumimoji="0" b="0" i="0" u="none" strike="noStrike" cap="none" spc="0" normalizeH="0" baseline="0">
                <a:ln>
                  <a:noFill/>
                </a:ln>
                <a:solidFill>
                  <a:schemeClr val="tx1">
                    <a:lumMod val="75000"/>
                    <a:lumOff val="25000"/>
                  </a:schemeClr>
                </a:solidFill>
                <a:effectLst/>
                <a:uLnTx/>
                <a:uFillTx/>
                <a:latin typeface="+mj-ea"/>
                <a:ea typeface="+mj-ea"/>
              </a:defRPr>
            </a:lvl1pPr>
          </a:lstStyle>
          <a:p>
            <a:pPr marL="0" marR="0" lvl="0" indent="0" algn="l" defTabSz="914400" rtl="0" eaLnBrk="1" fontAlgn="auto" latinLnBrk="0" hangingPunct="1">
              <a:lnSpc>
                <a:spcPct val="120000"/>
              </a:lnSpc>
              <a:spcBef>
                <a:spcPts val="1200"/>
              </a:spcBef>
              <a:spcAft>
                <a:spcPts val="0"/>
              </a:spcAft>
              <a:buClrTx/>
              <a:buSzTx/>
              <a:buFontTx/>
              <a:buNone/>
              <a:tabLst/>
              <a:defRPr/>
            </a:pPr>
            <a:r>
              <a:rPr kumimoji="0" lang="en-US" sz="1800" b="0" i="0" u="none" strike="noStrike" kern="1200" cap="none" spc="0" normalizeH="0" baseline="0" noProof="0" dirty="0">
                <a:ln>
                  <a:noFill/>
                </a:ln>
                <a:solidFill>
                  <a:prstClr val="black">
                    <a:lumMod val="75000"/>
                    <a:lumOff val="25000"/>
                  </a:prstClr>
                </a:solidFill>
                <a:effectLst/>
                <a:uLnTx/>
                <a:uFillTx/>
                <a:latin typeface="HarmonyOS Sans SC Black"/>
                <a:cs typeface="+mn-cs"/>
              </a:rPr>
              <a:t>02</a:t>
            </a:r>
            <a:r>
              <a:rPr kumimoji="0" lang="en-US" sz="1800" b="0" i="0" u="none" strike="noStrike" kern="1200" cap="none" spc="0" normalizeH="0" baseline="0" noProof="0">
                <a:ln>
                  <a:noFill/>
                </a:ln>
                <a:solidFill>
                  <a:prstClr val="black">
                    <a:lumMod val="75000"/>
                    <a:lumOff val="25000"/>
                  </a:prstClr>
                </a:solidFill>
                <a:effectLst/>
                <a:uLnTx/>
                <a:uFillTx/>
                <a:latin typeface="HarmonyOS Sans SC Black"/>
                <a:cs typeface="+mn-cs"/>
              </a:rPr>
              <a:t>. Think</a:t>
            </a:r>
            <a:endParaRPr kumimoji="0" lang="en-US" sz="1800" b="0" i="0" u="none" strike="noStrike" kern="1200" cap="none" spc="0" normalizeH="0" baseline="0" noProof="0" dirty="0">
              <a:ln>
                <a:noFill/>
              </a:ln>
              <a:solidFill>
                <a:prstClr val="black">
                  <a:lumMod val="75000"/>
                  <a:lumOff val="25000"/>
                </a:prstClr>
              </a:solidFill>
              <a:effectLst/>
              <a:uLnTx/>
              <a:uFillTx/>
              <a:latin typeface="HarmonyOS Sans SC Black"/>
              <a:cs typeface="+mn-cs"/>
            </a:endParaRPr>
          </a:p>
        </p:txBody>
      </p:sp>
      <p:sp>
        <p:nvSpPr>
          <p:cNvPr id="51" name="TextBox 27">
            <a:extLst>
              <a:ext uri="{FF2B5EF4-FFF2-40B4-BE49-F238E27FC236}">
                <a16:creationId xmlns:a16="http://schemas.microsoft.com/office/drawing/2014/main" id="{F5829D21-E46A-4D22-A2D7-30FE42FC933B}"/>
              </a:ext>
            </a:extLst>
          </p:cNvPr>
          <p:cNvSpPr txBox="1"/>
          <p:nvPr/>
        </p:nvSpPr>
        <p:spPr>
          <a:xfrm>
            <a:off x="9067758" y="3847236"/>
            <a:ext cx="2096948" cy="354584"/>
          </a:xfrm>
          <a:prstGeom prst="rect">
            <a:avLst/>
          </a:prstGeom>
          <a:noFill/>
        </p:spPr>
        <p:txBody>
          <a:bodyPr wrap="square" lIns="0" tIns="0" rIns="0" bIns="0" rtlCol="0">
            <a:spAutoFit/>
          </a:bodyPr>
          <a:lstStyle>
            <a:defPPr>
              <a:defRPr lang="zh-CN"/>
            </a:defPPr>
            <a:lvl1pPr marR="0" lvl="0" indent="0" fontAlgn="auto">
              <a:lnSpc>
                <a:spcPct val="120000"/>
              </a:lnSpc>
              <a:spcBef>
                <a:spcPts val="1200"/>
              </a:spcBef>
              <a:spcAft>
                <a:spcPts val="0"/>
              </a:spcAft>
              <a:buClrTx/>
              <a:buSzTx/>
              <a:buFontTx/>
              <a:buNone/>
              <a:tabLst/>
              <a:defRPr kumimoji="0" sz="1000" b="0" i="0" u="none" strike="noStrike" cap="none" spc="0" normalizeH="0" baseline="0">
                <a:ln>
                  <a:noFill/>
                </a:ln>
                <a:solidFill>
                  <a:schemeClr val="tx1">
                    <a:lumMod val="50000"/>
                    <a:lumOff val="50000"/>
                  </a:schemeClr>
                </a:solidFill>
                <a:effectLst/>
                <a:uLnTx/>
                <a:uFillTx/>
                <a:latin typeface="+mn-ea"/>
              </a:defRPr>
            </a:lvl1pPr>
          </a:lstStyle>
          <a:p>
            <a:pPr marL="0" marR="0" lvl="0" indent="0" algn="l" defTabSz="914400" rtl="0" eaLnBrk="1" fontAlgn="auto" latinLnBrk="0" hangingPunct="1">
              <a:lnSpc>
                <a:spcPct val="120000"/>
              </a:lnSpc>
              <a:spcBef>
                <a:spcPts val="1200"/>
              </a:spcBef>
              <a:spcAft>
                <a:spcPts val="0"/>
              </a:spcAft>
              <a:buClrTx/>
              <a:buSzTx/>
              <a:buFontTx/>
              <a:buNone/>
              <a:tabLst/>
              <a:defRPr/>
            </a:pPr>
            <a:r>
              <a:rPr kumimoji="0" lang="en-US" sz="1000" b="0" i="0" u="none" strike="noStrike" kern="1200" cap="none" spc="0" normalizeH="0" baseline="0" noProof="0">
                <a:ln>
                  <a:noFill/>
                </a:ln>
                <a:solidFill>
                  <a:prstClr val="black">
                    <a:lumMod val="50000"/>
                    <a:lumOff val="50000"/>
                  </a:prstClr>
                </a:solidFill>
                <a:effectLst/>
                <a:uLnTx/>
                <a:uFillTx/>
                <a:latin typeface="HarmonyOS Sans SC"/>
                <a:cs typeface="+mn-cs"/>
              </a:rPr>
              <a:t>The </a:t>
            </a:r>
            <a:r>
              <a:rPr kumimoji="0" lang="en-US" sz="1000" b="0" i="0" u="none" strike="noStrike" kern="1200" cap="none" spc="0" normalizeH="0" baseline="0" noProof="0" dirty="0">
                <a:ln>
                  <a:noFill/>
                </a:ln>
                <a:solidFill>
                  <a:prstClr val="black">
                    <a:lumMod val="50000"/>
                    <a:lumOff val="50000"/>
                  </a:prstClr>
                </a:solidFill>
                <a:effectLst/>
                <a:uLnTx/>
                <a:uFillTx/>
                <a:latin typeface="HarmonyOS Sans SC"/>
                <a:cs typeface="+mn-cs"/>
              </a:rPr>
              <a:t>first people you’ll meet are our experts in business.</a:t>
            </a:r>
          </a:p>
        </p:txBody>
      </p:sp>
      <p:sp>
        <p:nvSpPr>
          <p:cNvPr id="52" name="TextBox 25">
            <a:extLst>
              <a:ext uri="{FF2B5EF4-FFF2-40B4-BE49-F238E27FC236}">
                <a16:creationId xmlns:a16="http://schemas.microsoft.com/office/drawing/2014/main" id="{493CAE01-13D4-445E-B8CF-E73726C29281}"/>
              </a:ext>
            </a:extLst>
          </p:cNvPr>
          <p:cNvSpPr txBox="1"/>
          <p:nvPr/>
        </p:nvSpPr>
        <p:spPr>
          <a:xfrm>
            <a:off x="6234850" y="1846192"/>
            <a:ext cx="2096948" cy="306944"/>
          </a:xfrm>
          <a:prstGeom prst="rect">
            <a:avLst/>
          </a:prstGeom>
          <a:noFill/>
        </p:spPr>
        <p:txBody>
          <a:bodyPr wrap="square" lIns="0" tIns="0" rIns="0" bIns="0" rtlCol="0">
            <a:spAutoFit/>
          </a:bodyPr>
          <a:lstStyle>
            <a:defPPr>
              <a:defRPr lang="zh-CN"/>
            </a:defPPr>
            <a:lvl1pPr marR="0" lvl="0" indent="0" fontAlgn="auto">
              <a:lnSpc>
                <a:spcPct val="120000"/>
              </a:lnSpc>
              <a:spcBef>
                <a:spcPts val="1200"/>
              </a:spcBef>
              <a:spcAft>
                <a:spcPts val="0"/>
              </a:spcAft>
              <a:buClrTx/>
              <a:buSzTx/>
              <a:buFontTx/>
              <a:buNone/>
              <a:tabLst/>
              <a:defRPr kumimoji="0" b="0" i="0" u="none" strike="noStrike" cap="none" spc="0" normalizeH="0" baseline="0">
                <a:ln>
                  <a:noFill/>
                </a:ln>
                <a:solidFill>
                  <a:schemeClr val="tx1">
                    <a:lumMod val="75000"/>
                    <a:lumOff val="25000"/>
                  </a:schemeClr>
                </a:solidFill>
                <a:effectLst/>
                <a:uLnTx/>
                <a:uFillTx/>
                <a:latin typeface="+mj-ea"/>
                <a:ea typeface="+mj-ea"/>
              </a:defRPr>
            </a:lvl1pPr>
          </a:lstStyle>
          <a:p>
            <a:pPr marL="0" marR="0" lvl="0" indent="0" algn="l" defTabSz="914400" rtl="0" eaLnBrk="1" fontAlgn="auto" latinLnBrk="0" hangingPunct="1">
              <a:lnSpc>
                <a:spcPct val="120000"/>
              </a:lnSpc>
              <a:spcBef>
                <a:spcPts val="1200"/>
              </a:spcBef>
              <a:spcAft>
                <a:spcPts val="0"/>
              </a:spcAft>
              <a:buClrTx/>
              <a:buSzTx/>
              <a:buFontTx/>
              <a:buNone/>
              <a:tabLst/>
              <a:defRPr/>
            </a:pPr>
            <a:r>
              <a:rPr kumimoji="0" lang="en-US" sz="1800" b="0" i="0" u="none" strike="noStrike" kern="1200" cap="none" spc="0" normalizeH="0" baseline="0" noProof="0" dirty="0">
                <a:ln>
                  <a:noFill/>
                </a:ln>
                <a:solidFill>
                  <a:prstClr val="black">
                    <a:lumMod val="75000"/>
                    <a:lumOff val="25000"/>
                  </a:prstClr>
                </a:solidFill>
                <a:effectLst/>
                <a:uLnTx/>
                <a:uFillTx/>
                <a:latin typeface="HarmonyOS Sans SC Black"/>
                <a:cs typeface="+mn-cs"/>
              </a:rPr>
              <a:t>01. Think</a:t>
            </a:r>
          </a:p>
        </p:txBody>
      </p:sp>
      <p:sp>
        <p:nvSpPr>
          <p:cNvPr id="53" name="TextBox 25">
            <a:extLst>
              <a:ext uri="{FF2B5EF4-FFF2-40B4-BE49-F238E27FC236}">
                <a16:creationId xmlns:a16="http://schemas.microsoft.com/office/drawing/2014/main" id="{3FEA05A4-F186-43F4-B450-F7BD5957D21D}"/>
              </a:ext>
            </a:extLst>
          </p:cNvPr>
          <p:cNvSpPr txBox="1"/>
          <p:nvPr/>
        </p:nvSpPr>
        <p:spPr>
          <a:xfrm>
            <a:off x="6234849" y="2210613"/>
            <a:ext cx="3547325" cy="169918"/>
          </a:xfrm>
          <a:prstGeom prst="rect">
            <a:avLst/>
          </a:prstGeom>
          <a:noFill/>
        </p:spPr>
        <p:txBody>
          <a:bodyPr wrap="square" lIns="0" tIns="0" rIns="0" bIns="0" rtlCol="0">
            <a:spAutoFit/>
          </a:bodyPr>
          <a:lstStyle>
            <a:defPPr>
              <a:defRPr lang="zh-CN"/>
            </a:defPPr>
            <a:lvl1pPr marR="0" lvl="0" indent="0" fontAlgn="auto">
              <a:lnSpc>
                <a:spcPct val="120000"/>
              </a:lnSpc>
              <a:spcBef>
                <a:spcPts val="1200"/>
              </a:spcBef>
              <a:spcAft>
                <a:spcPts val="0"/>
              </a:spcAft>
              <a:buClrTx/>
              <a:buSzTx/>
              <a:buFontTx/>
              <a:buNone/>
              <a:tabLst/>
              <a:defRPr kumimoji="0" sz="1000" b="0" i="0" u="none" strike="noStrike" cap="none" spc="0" normalizeH="0" baseline="0">
                <a:ln>
                  <a:noFill/>
                </a:ln>
                <a:solidFill>
                  <a:schemeClr val="tx1">
                    <a:lumMod val="50000"/>
                    <a:lumOff val="50000"/>
                  </a:schemeClr>
                </a:solidFill>
                <a:effectLst/>
                <a:uLnTx/>
                <a:uFillTx/>
                <a:latin typeface="+mn-ea"/>
              </a:defRPr>
            </a:lvl1pPr>
          </a:lstStyle>
          <a:p>
            <a:pPr marL="0" marR="0" lvl="0" indent="0" algn="l" defTabSz="914400" rtl="0" eaLnBrk="1" fontAlgn="auto" latinLnBrk="0" hangingPunct="1">
              <a:lnSpc>
                <a:spcPct val="120000"/>
              </a:lnSpc>
              <a:spcBef>
                <a:spcPts val="120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HarmonyOS Sans SC"/>
                <a:cs typeface="+mn-cs"/>
              </a:rPr>
              <a:t>The first people you’ll meet are our experts in business.</a:t>
            </a:r>
          </a:p>
        </p:txBody>
      </p:sp>
      <p:sp>
        <p:nvSpPr>
          <p:cNvPr id="54" name="TextBox 36">
            <a:extLst>
              <a:ext uri="{FF2B5EF4-FFF2-40B4-BE49-F238E27FC236}">
                <a16:creationId xmlns:a16="http://schemas.microsoft.com/office/drawing/2014/main" id="{7A8080DD-FE3A-40F8-A627-999B8EF0E683}"/>
              </a:ext>
            </a:extLst>
          </p:cNvPr>
          <p:cNvSpPr txBox="1"/>
          <p:nvPr/>
        </p:nvSpPr>
        <p:spPr>
          <a:xfrm>
            <a:off x="1834705" y="3526005"/>
            <a:ext cx="1320549" cy="306944"/>
          </a:xfrm>
          <a:prstGeom prst="rect">
            <a:avLst/>
          </a:prstGeom>
          <a:noFill/>
        </p:spPr>
        <p:txBody>
          <a:bodyPr wrap="square" lIns="0" tIns="0" rIns="0" bIns="0" rtlCol="0">
            <a:spAutoFit/>
          </a:bodyPr>
          <a:lstStyle>
            <a:defPPr>
              <a:defRPr lang="zh-CN"/>
            </a:defPPr>
            <a:lvl1pPr marR="0" lvl="0" indent="0" fontAlgn="auto">
              <a:lnSpc>
                <a:spcPct val="120000"/>
              </a:lnSpc>
              <a:spcBef>
                <a:spcPts val="1200"/>
              </a:spcBef>
              <a:spcAft>
                <a:spcPts val="0"/>
              </a:spcAft>
              <a:buClrTx/>
              <a:buSzTx/>
              <a:buFontTx/>
              <a:buNone/>
              <a:tabLst/>
              <a:defRPr kumimoji="0" b="0" i="0" u="none" strike="noStrike" cap="none" spc="0" normalizeH="0" baseline="0">
                <a:ln>
                  <a:noFill/>
                </a:ln>
                <a:solidFill>
                  <a:schemeClr val="tx1">
                    <a:lumMod val="75000"/>
                    <a:lumOff val="25000"/>
                  </a:schemeClr>
                </a:solidFill>
                <a:effectLst/>
                <a:uLnTx/>
                <a:uFillTx/>
                <a:latin typeface="+mj-ea"/>
                <a:ea typeface="+mj-ea"/>
              </a:defRPr>
            </a:lvl1pPr>
          </a:lstStyle>
          <a:p>
            <a:pPr marL="0" marR="0" lvl="0" indent="0" algn="r" defTabSz="914400" rtl="0" eaLnBrk="1" fontAlgn="auto" latinLnBrk="0" hangingPunct="1">
              <a:lnSpc>
                <a:spcPct val="120000"/>
              </a:lnSpc>
              <a:spcBef>
                <a:spcPts val="1200"/>
              </a:spcBef>
              <a:spcAft>
                <a:spcPts val="0"/>
              </a:spcAft>
              <a:buClrTx/>
              <a:buSzTx/>
              <a:buFontTx/>
              <a:buNone/>
              <a:tabLst/>
              <a:defRPr/>
            </a:pPr>
            <a:r>
              <a:rPr kumimoji="0" lang="en-US" sz="1800" b="0" i="0" u="none" strike="noStrike" kern="1200" cap="none" spc="0" normalizeH="0" baseline="0" noProof="0" dirty="0">
                <a:ln>
                  <a:noFill/>
                </a:ln>
                <a:solidFill>
                  <a:prstClr val="black">
                    <a:lumMod val="75000"/>
                    <a:lumOff val="25000"/>
                  </a:prstClr>
                </a:solidFill>
                <a:effectLst/>
                <a:uLnTx/>
                <a:uFillTx/>
                <a:latin typeface="HarmonyOS Sans SC Black"/>
                <a:cs typeface="+mn-cs"/>
              </a:rPr>
              <a:t>05. Think</a:t>
            </a:r>
          </a:p>
        </p:txBody>
      </p:sp>
      <p:sp>
        <p:nvSpPr>
          <p:cNvPr id="55" name="TextBox 36">
            <a:extLst>
              <a:ext uri="{FF2B5EF4-FFF2-40B4-BE49-F238E27FC236}">
                <a16:creationId xmlns:a16="http://schemas.microsoft.com/office/drawing/2014/main" id="{63B0AC22-4D29-4E5D-BF43-E1C164085A2F}"/>
              </a:ext>
            </a:extLst>
          </p:cNvPr>
          <p:cNvSpPr txBox="1"/>
          <p:nvPr/>
        </p:nvSpPr>
        <p:spPr>
          <a:xfrm>
            <a:off x="1055869" y="3890426"/>
            <a:ext cx="2099385" cy="169918"/>
          </a:xfrm>
          <a:prstGeom prst="rect">
            <a:avLst/>
          </a:prstGeom>
          <a:noFill/>
        </p:spPr>
        <p:txBody>
          <a:bodyPr wrap="square" lIns="0" tIns="0" rIns="0" bIns="0" rtlCol="0">
            <a:spAutoFit/>
          </a:bodyPr>
          <a:lstStyle>
            <a:defPPr>
              <a:defRPr lang="zh-CN"/>
            </a:defPPr>
            <a:lvl1pPr marR="0" lvl="0" indent="0" fontAlgn="auto">
              <a:lnSpc>
                <a:spcPct val="120000"/>
              </a:lnSpc>
              <a:spcBef>
                <a:spcPts val="1200"/>
              </a:spcBef>
              <a:spcAft>
                <a:spcPts val="0"/>
              </a:spcAft>
              <a:buClrTx/>
              <a:buSzTx/>
              <a:buFontTx/>
              <a:buNone/>
              <a:tabLst/>
              <a:defRPr kumimoji="0" sz="1000" b="0" i="0" u="none" strike="noStrike" cap="none" spc="0" normalizeH="0" baseline="0">
                <a:ln>
                  <a:noFill/>
                </a:ln>
                <a:solidFill>
                  <a:schemeClr val="tx1">
                    <a:lumMod val="50000"/>
                    <a:lumOff val="50000"/>
                  </a:schemeClr>
                </a:solidFill>
                <a:effectLst/>
                <a:uLnTx/>
                <a:uFillTx/>
                <a:latin typeface="+mn-ea"/>
              </a:defRPr>
            </a:lvl1pPr>
          </a:lstStyle>
          <a:p>
            <a:pPr marL="0" marR="0" lvl="0" indent="0" algn="r" defTabSz="914400" rtl="0" eaLnBrk="1" fontAlgn="auto" latinLnBrk="0" hangingPunct="1">
              <a:lnSpc>
                <a:spcPct val="120000"/>
              </a:lnSpc>
              <a:spcBef>
                <a:spcPts val="120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HarmonyOS Sans SC"/>
                <a:cs typeface="+mn-cs"/>
              </a:rPr>
              <a:t>The first people you’ll meet are our.</a:t>
            </a:r>
          </a:p>
        </p:txBody>
      </p:sp>
      <p:sp>
        <p:nvSpPr>
          <p:cNvPr id="56" name="TextBox 34">
            <a:extLst>
              <a:ext uri="{FF2B5EF4-FFF2-40B4-BE49-F238E27FC236}">
                <a16:creationId xmlns:a16="http://schemas.microsoft.com/office/drawing/2014/main" id="{26CD7EED-D6A0-4BDE-BD50-193B1C153964}"/>
              </a:ext>
            </a:extLst>
          </p:cNvPr>
          <p:cNvSpPr txBox="1"/>
          <p:nvPr/>
        </p:nvSpPr>
        <p:spPr>
          <a:xfrm>
            <a:off x="2282069" y="5442479"/>
            <a:ext cx="2096948" cy="306944"/>
          </a:xfrm>
          <a:prstGeom prst="rect">
            <a:avLst/>
          </a:prstGeom>
          <a:noFill/>
        </p:spPr>
        <p:txBody>
          <a:bodyPr wrap="square" lIns="0" tIns="0" rIns="0" bIns="0" rtlCol="0">
            <a:spAutoFit/>
          </a:bodyPr>
          <a:lstStyle>
            <a:defPPr>
              <a:defRPr lang="zh-CN"/>
            </a:defPPr>
            <a:lvl1pPr marR="0" lvl="0" indent="0" fontAlgn="auto">
              <a:lnSpc>
                <a:spcPct val="120000"/>
              </a:lnSpc>
              <a:spcBef>
                <a:spcPts val="1200"/>
              </a:spcBef>
              <a:spcAft>
                <a:spcPts val="0"/>
              </a:spcAft>
              <a:buClrTx/>
              <a:buSzTx/>
              <a:buFontTx/>
              <a:buNone/>
              <a:tabLst/>
              <a:defRPr kumimoji="0" b="0" i="0" u="none" strike="noStrike" cap="none" spc="0" normalizeH="0" baseline="0">
                <a:ln>
                  <a:noFill/>
                </a:ln>
                <a:solidFill>
                  <a:schemeClr val="tx1">
                    <a:lumMod val="75000"/>
                    <a:lumOff val="25000"/>
                  </a:schemeClr>
                </a:solidFill>
                <a:effectLst/>
                <a:uLnTx/>
                <a:uFillTx/>
                <a:latin typeface="+mj-ea"/>
                <a:ea typeface="+mj-ea"/>
              </a:defRPr>
            </a:lvl1pPr>
          </a:lstStyle>
          <a:p>
            <a:pPr marL="0" marR="0" lvl="0" indent="0" algn="r" defTabSz="914400" rtl="0" eaLnBrk="1" fontAlgn="auto" latinLnBrk="0" hangingPunct="1">
              <a:lnSpc>
                <a:spcPct val="120000"/>
              </a:lnSpc>
              <a:spcBef>
                <a:spcPts val="1200"/>
              </a:spcBef>
              <a:spcAft>
                <a:spcPts val="0"/>
              </a:spcAft>
              <a:buClrTx/>
              <a:buSzTx/>
              <a:buFontTx/>
              <a:buNone/>
              <a:tabLst/>
              <a:defRPr/>
            </a:pPr>
            <a:r>
              <a:rPr kumimoji="0" lang="en-US" sz="1800" b="0" i="0" u="none" strike="noStrike" kern="1200" cap="none" spc="0" normalizeH="0" baseline="0" noProof="0" dirty="0">
                <a:ln>
                  <a:noFill/>
                </a:ln>
                <a:solidFill>
                  <a:prstClr val="black">
                    <a:lumMod val="75000"/>
                    <a:lumOff val="25000"/>
                  </a:prstClr>
                </a:solidFill>
                <a:effectLst/>
                <a:uLnTx/>
                <a:uFillTx/>
                <a:latin typeface="HarmonyOS Sans SC Black"/>
                <a:cs typeface="+mn-cs"/>
              </a:rPr>
              <a:t>04</a:t>
            </a:r>
            <a:r>
              <a:rPr kumimoji="0" lang="en-US" sz="1800" b="0" i="0" u="none" strike="noStrike" kern="1200" cap="none" spc="0" normalizeH="0" baseline="0" noProof="0">
                <a:ln>
                  <a:noFill/>
                </a:ln>
                <a:solidFill>
                  <a:prstClr val="black">
                    <a:lumMod val="75000"/>
                    <a:lumOff val="25000"/>
                  </a:prstClr>
                </a:solidFill>
                <a:effectLst/>
                <a:uLnTx/>
                <a:uFillTx/>
                <a:latin typeface="HarmonyOS Sans SC Black"/>
                <a:cs typeface="+mn-cs"/>
              </a:rPr>
              <a:t>. Think</a:t>
            </a:r>
            <a:endParaRPr kumimoji="0" lang="en-US" sz="1800" b="0" i="0" u="none" strike="noStrike" kern="1200" cap="none" spc="0" normalizeH="0" baseline="0" noProof="0" dirty="0">
              <a:ln>
                <a:noFill/>
              </a:ln>
              <a:solidFill>
                <a:prstClr val="black">
                  <a:lumMod val="75000"/>
                  <a:lumOff val="25000"/>
                </a:prstClr>
              </a:solidFill>
              <a:effectLst/>
              <a:uLnTx/>
              <a:uFillTx/>
              <a:latin typeface="HarmonyOS Sans SC Black"/>
              <a:cs typeface="+mn-cs"/>
            </a:endParaRPr>
          </a:p>
        </p:txBody>
      </p:sp>
      <p:sp>
        <p:nvSpPr>
          <p:cNvPr id="57" name="TextBox 34">
            <a:extLst>
              <a:ext uri="{FF2B5EF4-FFF2-40B4-BE49-F238E27FC236}">
                <a16:creationId xmlns:a16="http://schemas.microsoft.com/office/drawing/2014/main" id="{5237BAC9-C456-403A-A233-16427A79585C}"/>
              </a:ext>
            </a:extLst>
          </p:cNvPr>
          <p:cNvSpPr txBox="1"/>
          <p:nvPr/>
        </p:nvSpPr>
        <p:spPr>
          <a:xfrm>
            <a:off x="1055688" y="5806900"/>
            <a:ext cx="3323329" cy="169918"/>
          </a:xfrm>
          <a:prstGeom prst="rect">
            <a:avLst/>
          </a:prstGeom>
          <a:noFill/>
        </p:spPr>
        <p:txBody>
          <a:bodyPr wrap="square" lIns="0" tIns="0" rIns="0" bIns="0" rtlCol="0">
            <a:spAutoFit/>
          </a:bodyPr>
          <a:lstStyle>
            <a:defPPr>
              <a:defRPr lang="zh-CN"/>
            </a:defPPr>
            <a:lvl1pPr marR="0" lvl="0" indent="0" fontAlgn="auto">
              <a:lnSpc>
                <a:spcPct val="120000"/>
              </a:lnSpc>
              <a:spcBef>
                <a:spcPts val="1200"/>
              </a:spcBef>
              <a:spcAft>
                <a:spcPts val="0"/>
              </a:spcAft>
              <a:buClrTx/>
              <a:buSzTx/>
              <a:buFontTx/>
              <a:buNone/>
              <a:tabLst/>
              <a:defRPr kumimoji="0" sz="1000" b="0" i="0" u="none" strike="noStrike" cap="none" spc="0" normalizeH="0" baseline="0">
                <a:ln>
                  <a:noFill/>
                </a:ln>
                <a:solidFill>
                  <a:schemeClr val="tx1">
                    <a:lumMod val="50000"/>
                    <a:lumOff val="50000"/>
                  </a:schemeClr>
                </a:solidFill>
                <a:effectLst/>
                <a:uLnTx/>
                <a:uFillTx/>
                <a:latin typeface="+mn-ea"/>
              </a:defRPr>
            </a:lvl1pPr>
          </a:lstStyle>
          <a:p>
            <a:pPr marL="0" marR="0" lvl="0" indent="0" algn="r" defTabSz="914400" rtl="0" eaLnBrk="1" fontAlgn="auto" latinLnBrk="0" hangingPunct="1">
              <a:lnSpc>
                <a:spcPct val="120000"/>
              </a:lnSpc>
              <a:spcBef>
                <a:spcPts val="120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HarmonyOS Sans SC"/>
                <a:cs typeface="+mn-cs"/>
              </a:rPr>
              <a:t>The first people you’ll meet are our experts in business.</a:t>
            </a:r>
          </a:p>
        </p:txBody>
      </p:sp>
      <p:sp>
        <p:nvSpPr>
          <p:cNvPr id="58" name="TextBox 32">
            <a:extLst>
              <a:ext uri="{FF2B5EF4-FFF2-40B4-BE49-F238E27FC236}">
                <a16:creationId xmlns:a16="http://schemas.microsoft.com/office/drawing/2014/main" id="{D348024F-88F7-4117-9A81-95445365172D}"/>
              </a:ext>
            </a:extLst>
          </p:cNvPr>
          <p:cNvSpPr txBox="1"/>
          <p:nvPr/>
        </p:nvSpPr>
        <p:spPr>
          <a:xfrm>
            <a:off x="7784718" y="5442479"/>
            <a:ext cx="2096948" cy="306944"/>
          </a:xfrm>
          <a:prstGeom prst="rect">
            <a:avLst/>
          </a:prstGeom>
          <a:noFill/>
        </p:spPr>
        <p:txBody>
          <a:bodyPr wrap="square" lIns="0" tIns="0" rIns="0" bIns="0" rtlCol="0">
            <a:spAutoFit/>
          </a:bodyPr>
          <a:lstStyle>
            <a:defPPr>
              <a:defRPr lang="zh-CN"/>
            </a:defPPr>
            <a:lvl1pPr marR="0" lvl="0" indent="0" fontAlgn="auto">
              <a:lnSpc>
                <a:spcPct val="120000"/>
              </a:lnSpc>
              <a:spcBef>
                <a:spcPts val="1200"/>
              </a:spcBef>
              <a:spcAft>
                <a:spcPts val="0"/>
              </a:spcAft>
              <a:buClrTx/>
              <a:buSzTx/>
              <a:buFontTx/>
              <a:buNone/>
              <a:tabLst/>
              <a:defRPr kumimoji="0" b="0" i="0" u="none" strike="noStrike" cap="none" spc="0" normalizeH="0" baseline="0">
                <a:ln>
                  <a:noFill/>
                </a:ln>
                <a:solidFill>
                  <a:schemeClr val="tx1">
                    <a:lumMod val="75000"/>
                    <a:lumOff val="25000"/>
                  </a:schemeClr>
                </a:solidFill>
                <a:effectLst/>
                <a:uLnTx/>
                <a:uFillTx/>
                <a:latin typeface="+mj-ea"/>
                <a:ea typeface="+mj-ea"/>
              </a:defRPr>
            </a:lvl1pPr>
          </a:lstStyle>
          <a:p>
            <a:pPr marL="0" marR="0" lvl="0" indent="0" algn="l" defTabSz="914400" rtl="0" eaLnBrk="1" fontAlgn="auto" latinLnBrk="0" hangingPunct="1">
              <a:lnSpc>
                <a:spcPct val="120000"/>
              </a:lnSpc>
              <a:spcBef>
                <a:spcPts val="1200"/>
              </a:spcBef>
              <a:spcAft>
                <a:spcPts val="0"/>
              </a:spcAft>
              <a:buClrTx/>
              <a:buSzTx/>
              <a:buFontTx/>
              <a:buNone/>
              <a:tabLst/>
              <a:defRPr/>
            </a:pPr>
            <a:r>
              <a:rPr kumimoji="0" lang="en-US" sz="1800" b="0" i="0" u="none" strike="noStrike" kern="1200" cap="none" spc="0" normalizeH="0" baseline="0" noProof="0" dirty="0">
                <a:ln>
                  <a:noFill/>
                </a:ln>
                <a:solidFill>
                  <a:prstClr val="black">
                    <a:lumMod val="75000"/>
                    <a:lumOff val="25000"/>
                  </a:prstClr>
                </a:solidFill>
                <a:effectLst/>
                <a:uLnTx/>
                <a:uFillTx/>
                <a:latin typeface="HarmonyOS Sans SC Black"/>
                <a:cs typeface="+mn-cs"/>
              </a:rPr>
              <a:t>03. Think</a:t>
            </a:r>
          </a:p>
        </p:txBody>
      </p:sp>
      <p:sp>
        <p:nvSpPr>
          <p:cNvPr id="59" name="TextBox 32">
            <a:extLst>
              <a:ext uri="{FF2B5EF4-FFF2-40B4-BE49-F238E27FC236}">
                <a16:creationId xmlns:a16="http://schemas.microsoft.com/office/drawing/2014/main" id="{B4DAD9EE-40EC-4BEF-ADE8-2DE8A3DBAB45}"/>
              </a:ext>
            </a:extLst>
          </p:cNvPr>
          <p:cNvSpPr txBox="1"/>
          <p:nvPr/>
        </p:nvSpPr>
        <p:spPr>
          <a:xfrm>
            <a:off x="7784717" y="5806900"/>
            <a:ext cx="3464307" cy="169918"/>
          </a:xfrm>
          <a:prstGeom prst="rect">
            <a:avLst/>
          </a:prstGeom>
          <a:noFill/>
        </p:spPr>
        <p:txBody>
          <a:bodyPr wrap="square" lIns="0" tIns="0" rIns="0" bIns="0" rtlCol="0">
            <a:spAutoFit/>
          </a:bodyPr>
          <a:lstStyle>
            <a:defPPr>
              <a:defRPr lang="zh-CN"/>
            </a:defPPr>
            <a:lvl1pPr marR="0" lvl="0" indent="0" fontAlgn="auto">
              <a:lnSpc>
                <a:spcPct val="120000"/>
              </a:lnSpc>
              <a:spcBef>
                <a:spcPts val="1200"/>
              </a:spcBef>
              <a:spcAft>
                <a:spcPts val="0"/>
              </a:spcAft>
              <a:buClrTx/>
              <a:buSzTx/>
              <a:buFontTx/>
              <a:buNone/>
              <a:tabLst/>
              <a:defRPr kumimoji="0" sz="1000" b="0" i="0" u="none" strike="noStrike" cap="none" spc="0" normalizeH="0" baseline="0">
                <a:ln>
                  <a:noFill/>
                </a:ln>
                <a:solidFill>
                  <a:schemeClr val="tx1">
                    <a:lumMod val="50000"/>
                    <a:lumOff val="50000"/>
                  </a:schemeClr>
                </a:solidFill>
                <a:effectLst/>
                <a:uLnTx/>
                <a:uFillTx/>
                <a:latin typeface="+mn-ea"/>
              </a:defRPr>
            </a:lvl1pPr>
          </a:lstStyle>
          <a:p>
            <a:pPr marL="0" marR="0" lvl="0" indent="0" algn="l" defTabSz="914400" rtl="0" eaLnBrk="1" fontAlgn="auto" latinLnBrk="0" hangingPunct="1">
              <a:lnSpc>
                <a:spcPct val="120000"/>
              </a:lnSpc>
              <a:spcBef>
                <a:spcPts val="120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HarmonyOS Sans SC"/>
                <a:cs typeface="+mn-cs"/>
              </a:rPr>
              <a:t>The first people you’ll meet are our experts in business.</a:t>
            </a:r>
          </a:p>
        </p:txBody>
      </p:sp>
    </p:spTree>
    <p:extLst>
      <p:ext uri="{BB962C8B-B14F-4D97-AF65-F5344CB8AC3E}">
        <p14:creationId xmlns:p14="http://schemas.microsoft.com/office/powerpoint/2010/main" val="4115368276"/>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4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4" name="组合 73">
            <a:extLst>
              <a:ext uri="{FF2B5EF4-FFF2-40B4-BE49-F238E27FC236}">
                <a16:creationId xmlns:a16="http://schemas.microsoft.com/office/drawing/2014/main" id="{DD686428-9B10-4CC4-B383-C9DF23060F95}"/>
              </a:ext>
            </a:extLst>
          </p:cNvPr>
          <p:cNvGrpSpPr/>
          <p:nvPr/>
        </p:nvGrpSpPr>
        <p:grpSpPr>
          <a:xfrm>
            <a:off x="387806" y="2393156"/>
            <a:ext cx="4384674" cy="2935287"/>
            <a:chOff x="387806" y="2579218"/>
            <a:chExt cx="4384674" cy="2935287"/>
          </a:xfrm>
        </p:grpSpPr>
        <p:sp>
          <p:nvSpPr>
            <p:cNvPr id="4" name="Freeform 13">
              <a:extLst>
                <a:ext uri="{FF2B5EF4-FFF2-40B4-BE49-F238E27FC236}">
                  <a16:creationId xmlns:a16="http://schemas.microsoft.com/office/drawing/2014/main" id="{6B09871F-081A-4CDE-88CF-1FB01D488160}"/>
                </a:ext>
              </a:extLst>
            </p:cNvPr>
            <p:cNvSpPr>
              <a:spLocks/>
            </p:cNvSpPr>
            <p:nvPr/>
          </p:nvSpPr>
          <p:spPr bwMode="auto">
            <a:xfrm>
              <a:off x="387806" y="3863505"/>
              <a:ext cx="2411412" cy="355600"/>
            </a:xfrm>
            <a:custGeom>
              <a:avLst/>
              <a:gdLst>
                <a:gd name="T0" fmla="*/ 1069 w 1519"/>
                <a:gd name="T1" fmla="*/ 0 h 224"/>
                <a:gd name="T2" fmla="*/ 1069 w 1519"/>
                <a:gd name="T3" fmla="*/ 2 h 224"/>
                <a:gd name="T4" fmla="*/ 0 w 1519"/>
                <a:gd name="T5" fmla="*/ 2 h 224"/>
                <a:gd name="T6" fmla="*/ 134 w 1519"/>
                <a:gd name="T7" fmla="*/ 113 h 224"/>
                <a:gd name="T8" fmla="*/ 0 w 1519"/>
                <a:gd name="T9" fmla="*/ 224 h 224"/>
                <a:gd name="T10" fmla="*/ 1069 w 1519"/>
                <a:gd name="T11" fmla="*/ 224 h 224"/>
                <a:gd name="T12" fmla="*/ 1069 w 1519"/>
                <a:gd name="T13" fmla="*/ 222 h 224"/>
                <a:gd name="T14" fmla="*/ 1519 w 1519"/>
                <a:gd name="T15" fmla="*/ 222 h 224"/>
                <a:gd name="T16" fmla="*/ 1519 w 1519"/>
                <a:gd name="T17" fmla="*/ 0 h 224"/>
                <a:gd name="T18" fmla="*/ 1069 w 1519"/>
                <a:gd name="T19" fmla="*/ 0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19" h="224">
                  <a:moveTo>
                    <a:pt x="1069" y="0"/>
                  </a:moveTo>
                  <a:lnTo>
                    <a:pt x="1069" y="2"/>
                  </a:lnTo>
                  <a:lnTo>
                    <a:pt x="0" y="2"/>
                  </a:lnTo>
                  <a:lnTo>
                    <a:pt x="134" y="113"/>
                  </a:lnTo>
                  <a:lnTo>
                    <a:pt x="0" y="224"/>
                  </a:lnTo>
                  <a:lnTo>
                    <a:pt x="1069" y="224"/>
                  </a:lnTo>
                  <a:lnTo>
                    <a:pt x="1069" y="222"/>
                  </a:lnTo>
                  <a:lnTo>
                    <a:pt x="1519" y="222"/>
                  </a:lnTo>
                  <a:lnTo>
                    <a:pt x="1519" y="0"/>
                  </a:lnTo>
                  <a:lnTo>
                    <a:pt x="1069" y="0"/>
                  </a:lnTo>
                  <a:close/>
                </a:path>
              </a:pathLst>
            </a:custGeom>
            <a:gradFill>
              <a:gsLst>
                <a:gs pos="0">
                  <a:schemeClr val="accent1">
                    <a:lumMod val="40000"/>
                    <a:lumOff val="60000"/>
                  </a:schemeClr>
                </a:gs>
                <a:gs pos="34000">
                  <a:schemeClr val="accent1">
                    <a:lumMod val="60000"/>
                    <a:lumOff val="40000"/>
                  </a:schemeClr>
                </a:gs>
                <a:gs pos="73000">
                  <a:schemeClr val="accent1"/>
                </a:gs>
              </a:gsLst>
              <a:lin ang="2700000" scaled="1"/>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lumMod val="50000"/>
                    <a:lumOff val="50000"/>
                  </a:prstClr>
                </a:solidFill>
                <a:effectLst/>
                <a:uLnTx/>
                <a:uFillTx/>
                <a:latin typeface="HarmonyOS Sans SC"/>
                <a:cs typeface="+mn-cs"/>
              </a:endParaRPr>
            </a:p>
          </p:txBody>
        </p:sp>
        <p:sp>
          <p:nvSpPr>
            <p:cNvPr id="5" name="TextBox 34">
              <a:extLst>
                <a:ext uri="{FF2B5EF4-FFF2-40B4-BE49-F238E27FC236}">
                  <a16:creationId xmlns:a16="http://schemas.microsoft.com/office/drawing/2014/main" id="{49FF664C-B43A-4865-815B-40B496B3C045}"/>
                </a:ext>
              </a:extLst>
            </p:cNvPr>
            <p:cNvSpPr txBox="1"/>
            <p:nvPr/>
          </p:nvSpPr>
          <p:spPr>
            <a:xfrm>
              <a:off x="816272" y="3902995"/>
              <a:ext cx="1033937" cy="261610"/>
            </a:xfrm>
            <a:prstGeom prst="rect">
              <a:avLst/>
            </a:prstGeom>
            <a:noFill/>
          </p:spPr>
          <p:txBody>
            <a:bodyPr wrap="non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white"/>
                  </a:solidFill>
                  <a:effectLst/>
                  <a:uLnTx/>
                  <a:uFillTx/>
                  <a:latin typeface="HarmonyOS Sans SC"/>
                  <a:cs typeface="Source Sans Pro" charset="0"/>
                </a:rPr>
                <a:t>Write title here</a:t>
              </a:r>
            </a:p>
          </p:txBody>
        </p:sp>
        <p:sp>
          <p:nvSpPr>
            <p:cNvPr id="7" name="Freeform 14">
              <a:extLst>
                <a:ext uri="{FF2B5EF4-FFF2-40B4-BE49-F238E27FC236}">
                  <a16:creationId xmlns:a16="http://schemas.microsoft.com/office/drawing/2014/main" id="{1D6BE0D2-EB80-46C7-89A8-B316485E2EB3}"/>
                </a:ext>
              </a:extLst>
            </p:cNvPr>
            <p:cNvSpPr>
              <a:spLocks/>
            </p:cNvSpPr>
            <p:nvPr/>
          </p:nvSpPr>
          <p:spPr bwMode="auto">
            <a:xfrm>
              <a:off x="757693" y="3114205"/>
              <a:ext cx="2406650" cy="1160463"/>
            </a:xfrm>
            <a:custGeom>
              <a:avLst/>
              <a:gdLst>
                <a:gd name="T0" fmla="*/ 76 w 1516"/>
                <a:gd name="T1" fmla="*/ 0 h 731"/>
                <a:gd name="T2" fmla="*/ 164 w 1516"/>
                <a:gd name="T3" fmla="*/ 149 h 731"/>
                <a:gd name="T4" fmla="*/ 0 w 1516"/>
                <a:gd name="T5" fmla="*/ 208 h 731"/>
                <a:gd name="T6" fmla="*/ 1440 w 1516"/>
                <a:gd name="T7" fmla="*/ 731 h 731"/>
                <a:gd name="T8" fmla="*/ 1516 w 1516"/>
                <a:gd name="T9" fmla="*/ 524 h 731"/>
                <a:gd name="T10" fmla="*/ 76 w 1516"/>
                <a:gd name="T11" fmla="*/ 0 h 731"/>
              </a:gdLst>
              <a:ahLst/>
              <a:cxnLst>
                <a:cxn ang="0">
                  <a:pos x="T0" y="T1"/>
                </a:cxn>
                <a:cxn ang="0">
                  <a:pos x="T2" y="T3"/>
                </a:cxn>
                <a:cxn ang="0">
                  <a:pos x="T4" y="T5"/>
                </a:cxn>
                <a:cxn ang="0">
                  <a:pos x="T6" y="T7"/>
                </a:cxn>
                <a:cxn ang="0">
                  <a:pos x="T8" y="T9"/>
                </a:cxn>
                <a:cxn ang="0">
                  <a:pos x="T10" y="T11"/>
                </a:cxn>
              </a:cxnLst>
              <a:rect l="0" t="0" r="r" b="b"/>
              <a:pathLst>
                <a:path w="1516" h="731">
                  <a:moveTo>
                    <a:pt x="76" y="0"/>
                  </a:moveTo>
                  <a:lnTo>
                    <a:pt x="164" y="149"/>
                  </a:lnTo>
                  <a:lnTo>
                    <a:pt x="0" y="208"/>
                  </a:lnTo>
                  <a:lnTo>
                    <a:pt x="1440" y="731"/>
                  </a:lnTo>
                  <a:lnTo>
                    <a:pt x="1516" y="524"/>
                  </a:lnTo>
                  <a:lnTo>
                    <a:pt x="76" y="0"/>
                  </a:lnTo>
                  <a:close/>
                </a:path>
              </a:pathLst>
            </a:custGeom>
            <a:gradFill>
              <a:gsLst>
                <a:gs pos="0">
                  <a:schemeClr val="accent1">
                    <a:lumMod val="40000"/>
                    <a:lumOff val="60000"/>
                  </a:schemeClr>
                </a:gs>
                <a:gs pos="34000">
                  <a:schemeClr val="accent1">
                    <a:lumMod val="60000"/>
                    <a:lumOff val="40000"/>
                  </a:schemeClr>
                </a:gs>
                <a:gs pos="73000">
                  <a:schemeClr val="accent1"/>
                </a:gs>
              </a:gsLst>
              <a:lin ang="2700000" scaled="1"/>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lumMod val="50000"/>
                    <a:lumOff val="50000"/>
                  </a:prstClr>
                </a:solidFill>
                <a:effectLst/>
                <a:uLnTx/>
                <a:uFillTx/>
                <a:latin typeface="HarmonyOS Sans SC"/>
                <a:cs typeface="+mn-cs"/>
              </a:endParaRPr>
            </a:p>
          </p:txBody>
        </p:sp>
        <p:sp>
          <p:nvSpPr>
            <p:cNvPr id="8" name="TextBox 32">
              <a:extLst>
                <a:ext uri="{FF2B5EF4-FFF2-40B4-BE49-F238E27FC236}">
                  <a16:creationId xmlns:a16="http://schemas.microsoft.com/office/drawing/2014/main" id="{45D2119C-4E08-4597-A989-1B07E11688CD}"/>
                </a:ext>
              </a:extLst>
            </p:cNvPr>
            <p:cNvSpPr txBox="1"/>
            <p:nvPr/>
          </p:nvSpPr>
          <p:spPr>
            <a:xfrm rot="1220387">
              <a:off x="1182578" y="3460716"/>
              <a:ext cx="1033937" cy="261610"/>
            </a:xfrm>
            <a:prstGeom prst="rect">
              <a:avLst/>
            </a:prstGeom>
            <a:noFill/>
          </p:spPr>
          <p:txBody>
            <a:bodyPr wrap="non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white"/>
                  </a:solidFill>
                  <a:effectLst/>
                  <a:uLnTx/>
                  <a:uFillTx/>
                  <a:latin typeface="HarmonyOS Sans SC"/>
                  <a:cs typeface="Source Sans Pro" charset="0"/>
                </a:rPr>
                <a:t>Write title here</a:t>
              </a:r>
            </a:p>
          </p:txBody>
        </p:sp>
        <p:sp>
          <p:nvSpPr>
            <p:cNvPr id="10" name="Freeform 16">
              <a:extLst>
                <a:ext uri="{FF2B5EF4-FFF2-40B4-BE49-F238E27FC236}">
                  <a16:creationId xmlns:a16="http://schemas.microsoft.com/office/drawing/2014/main" id="{D6451B16-345B-4BD2-990E-D1DAC3915608}"/>
                </a:ext>
              </a:extLst>
            </p:cNvPr>
            <p:cNvSpPr>
              <a:spLocks/>
            </p:cNvSpPr>
            <p:nvPr/>
          </p:nvSpPr>
          <p:spPr bwMode="auto">
            <a:xfrm>
              <a:off x="1408568" y="3952405"/>
              <a:ext cx="2022475" cy="1562100"/>
            </a:xfrm>
            <a:custGeom>
              <a:avLst/>
              <a:gdLst>
                <a:gd name="T0" fmla="*/ 890 w 1319"/>
                <a:gd name="T1" fmla="*/ 364 h 1020"/>
                <a:gd name="T2" fmla="*/ 166 w 1319"/>
                <a:gd name="T3" fmla="*/ 1020 h 1020"/>
                <a:gd name="T4" fmla="*/ 181 w 1319"/>
                <a:gd name="T5" fmla="*/ 825 h 1020"/>
                <a:gd name="T6" fmla="*/ 0 w 1319"/>
                <a:gd name="T7" fmla="*/ 827 h 1020"/>
                <a:gd name="T8" fmla="*/ 781 w 1319"/>
                <a:gd name="T9" fmla="*/ 171 h 1020"/>
                <a:gd name="T10" fmla="*/ 1319 w 1319"/>
                <a:gd name="T11" fmla="*/ 0 h 1020"/>
                <a:gd name="T12" fmla="*/ 1319 w 1319"/>
                <a:gd name="T13" fmla="*/ 125 h 1020"/>
                <a:gd name="T14" fmla="*/ 890 w 1319"/>
                <a:gd name="T15" fmla="*/ 364 h 10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19" h="1020">
                  <a:moveTo>
                    <a:pt x="890" y="364"/>
                  </a:moveTo>
                  <a:cubicBezTo>
                    <a:pt x="166" y="1020"/>
                    <a:pt x="166" y="1020"/>
                    <a:pt x="166" y="1020"/>
                  </a:cubicBezTo>
                  <a:cubicBezTo>
                    <a:pt x="181" y="825"/>
                    <a:pt x="181" y="825"/>
                    <a:pt x="181" y="825"/>
                  </a:cubicBezTo>
                  <a:cubicBezTo>
                    <a:pt x="0" y="827"/>
                    <a:pt x="0" y="827"/>
                    <a:pt x="0" y="827"/>
                  </a:cubicBezTo>
                  <a:cubicBezTo>
                    <a:pt x="781" y="171"/>
                    <a:pt x="781" y="171"/>
                    <a:pt x="781" y="171"/>
                  </a:cubicBezTo>
                  <a:cubicBezTo>
                    <a:pt x="911" y="66"/>
                    <a:pt x="1034" y="0"/>
                    <a:pt x="1319" y="0"/>
                  </a:cubicBezTo>
                  <a:cubicBezTo>
                    <a:pt x="1319" y="125"/>
                    <a:pt x="1319" y="125"/>
                    <a:pt x="1319" y="125"/>
                  </a:cubicBezTo>
                  <a:cubicBezTo>
                    <a:pt x="1173" y="137"/>
                    <a:pt x="991" y="263"/>
                    <a:pt x="890" y="364"/>
                  </a:cubicBezTo>
                  <a:close/>
                </a:path>
              </a:pathLst>
            </a:custGeom>
            <a:gradFill>
              <a:gsLst>
                <a:gs pos="0">
                  <a:schemeClr val="accent1">
                    <a:lumMod val="40000"/>
                    <a:lumOff val="60000"/>
                  </a:schemeClr>
                </a:gs>
                <a:gs pos="34000">
                  <a:schemeClr val="accent1">
                    <a:lumMod val="60000"/>
                    <a:lumOff val="40000"/>
                  </a:schemeClr>
                </a:gs>
                <a:gs pos="73000">
                  <a:schemeClr val="accent1"/>
                </a:gs>
              </a:gsLst>
              <a:lin ang="2700000" scaled="1"/>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lumMod val="50000"/>
                    <a:lumOff val="50000"/>
                  </a:prstClr>
                </a:solidFill>
                <a:effectLst/>
                <a:uLnTx/>
                <a:uFillTx/>
                <a:latin typeface="HarmonyOS Sans SC"/>
                <a:cs typeface="+mn-cs"/>
              </a:endParaRPr>
            </a:p>
          </p:txBody>
        </p:sp>
        <p:sp>
          <p:nvSpPr>
            <p:cNvPr id="11" name="TextBox 30">
              <a:extLst>
                <a:ext uri="{FF2B5EF4-FFF2-40B4-BE49-F238E27FC236}">
                  <a16:creationId xmlns:a16="http://schemas.microsoft.com/office/drawing/2014/main" id="{2600DC11-1C1C-46F1-B5A4-081C758AA574}"/>
                </a:ext>
              </a:extLst>
            </p:cNvPr>
            <p:cNvSpPr txBox="1"/>
            <p:nvPr/>
          </p:nvSpPr>
          <p:spPr>
            <a:xfrm rot="19079465">
              <a:off x="1709358" y="4624950"/>
              <a:ext cx="1033937" cy="261610"/>
            </a:xfrm>
            <a:prstGeom prst="rect">
              <a:avLst/>
            </a:prstGeom>
            <a:noFill/>
          </p:spPr>
          <p:txBody>
            <a:bodyPr wrap="non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white"/>
                  </a:solidFill>
                  <a:effectLst/>
                  <a:uLnTx/>
                  <a:uFillTx/>
                  <a:latin typeface="HarmonyOS Sans SC"/>
                  <a:cs typeface="Source Sans Pro" charset="0"/>
                </a:rPr>
                <a:t>Write title here</a:t>
              </a:r>
            </a:p>
          </p:txBody>
        </p:sp>
        <p:sp>
          <p:nvSpPr>
            <p:cNvPr id="13" name="Freeform 15">
              <a:extLst>
                <a:ext uri="{FF2B5EF4-FFF2-40B4-BE49-F238E27FC236}">
                  <a16:creationId xmlns:a16="http://schemas.microsoft.com/office/drawing/2014/main" id="{6EA9BB31-0E38-4EB9-8051-289E1D47ECE6}"/>
                </a:ext>
              </a:extLst>
            </p:cNvPr>
            <p:cNvSpPr>
              <a:spLocks/>
            </p:cNvSpPr>
            <p:nvPr/>
          </p:nvSpPr>
          <p:spPr bwMode="auto">
            <a:xfrm>
              <a:off x="757693" y="3803180"/>
              <a:ext cx="2406650" cy="1163638"/>
            </a:xfrm>
            <a:custGeom>
              <a:avLst/>
              <a:gdLst>
                <a:gd name="T0" fmla="*/ 76 w 1516"/>
                <a:gd name="T1" fmla="*/ 733 h 733"/>
                <a:gd name="T2" fmla="*/ 164 w 1516"/>
                <a:gd name="T3" fmla="*/ 582 h 733"/>
                <a:gd name="T4" fmla="*/ 0 w 1516"/>
                <a:gd name="T5" fmla="*/ 524 h 733"/>
                <a:gd name="T6" fmla="*/ 1440 w 1516"/>
                <a:gd name="T7" fmla="*/ 0 h 733"/>
                <a:gd name="T8" fmla="*/ 1516 w 1516"/>
                <a:gd name="T9" fmla="*/ 208 h 733"/>
                <a:gd name="T10" fmla="*/ 76 w 1516"/>
                <a:gd name="T11" fmla="*/ 733 h 733"/>
              </a:gdLst>
              <a:ahLst/>
              <a:cxnLst>
                <a:cxn ang="0">
                  <a:pos x="T0" y="T1"/>
                </a:cxn>
                <a:cxn ang="0">
                  <a:pos x="T2" y="T3"/>
                </a:cxn>
                <a:cxn ang="0">
                  <a:pos x="T4" y="T5"/>
                </a:cxn>
                <a:cxn ang="0">
                  <a:pos x="T6" y="T7"/>
                </a:cxn>
                <a:cxn ang="0">
                  <a:pos x="T8" y="T9"/>
                </a:cxn>
                <a:cxn ang="0">
                  <a:pos x="T10" y="T11"/>
                </a:cxn>
              </a:cxnLst>
              <a:rect l="0" t="0" r="r" b="b"/>
              <a:pathLst>
                <a:path w="1516" h="733">
                  <a:moveTo>
                    <a:pt x="76" y="733"/>
                  </a:moveTo>
                  <a:lnTo>
                    <a:pt x="164" y="582"/>
                  </a:lnTo>
                  <a:lnTo>
                    <a:pt x="0" y="524"/>
                  </a:lnTo>
                  <a:lnTo>
                    <a:pt x="1440" y="0"/>
                  </a:lnTo>
                  <a:lnTo>
                    <a:pt x="1516" y="208"/>
                  </a:lnTo>
                  <a:lnTo>
                    <a:pt x="76" y="733"/>
                  </a:lnTo>
                  <a:close/>
                </a:path>
              </a:pathLst>
            </a:custGeom>
            <a:gradFill>
              <a:gsLst>
                <a:gs pos="0">
                  <a:schemeClr val="accent1">
                    <a:lumMod val="40000"/>
                    <a:lumOff val="60000"/>
                  </a:schemeClr>
                </a:gs>
                <a:gs pos="34000">
                  <a:schemeClr val="accent1">
                    <a:lumMod val="60000"/>
                    <a:lumOff val="40000"/>
                  </a:schemeClr>
                </a:gs>
                <a:gs pos="73000">
                  <a:schemeClr val="accent1"/>
                </a:gs>
              </a:gsLst>
              <a:lin ang="2700000" scaled="1"/>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lumMod val="50000"/>
                    <a:lumOff val="50000"/>
                  </a:prstClr>
                </a:solidFill>
                <a:effectLst/>
                <a:uLnTx/>
                <a:uFillTx/>
                <a:latin typeface="HarmonyOS Sans SC"/>
                <a:cs typeface="+mn-cs"/>
              </a:endParaRPr>
            </a:p>
          </p:txBody>
        </p:sp>
        <p:sp>
          <p:nvSpPr>
            <p:cNvPr id="14" name="TextBox 28">
              <a:extLst>
                <a:ext uri="{FF2B5EF4-FFF2-40B4-BE49-F238E27FC236}">
                  <a16:creationId xmlns:a16="http://schemas.microsoft.com/office/drawing/2014/main" id="{63A439FE-7F57-430D-85A9-9CA4A56DFC44}"/>
                </a:ext>
              </a:extLst>
            </p:cNvPr>
            <p:cNvSpPr txBox="1"/>
            <p:nvPr/>
          </p:nvSpPr>
          <p:spPr>
            <a:xfrm rot="20401954">
              <a:off x="1182577" y="4354318"/>
              <a:ext cx="1033937" cy="261610"/>
            </a:xfrm>
            <a:prstGeom prst="rect">
              <a:avLst/>
            </a:prstGeom>
            <a:noFill/>
          </p:spPr>
          <p:txBody>
            <a:bodyPr wrap="non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white"/>
                  </a:solidFill>
                  <a:effectLst/>
                  <a:uLnTx/>
                  <a:uFillTx/>
                  <a:latin typeface="HarmonyOS Sans SC"/>
                  <a:cs typeface="Source Sans Pro" charset="0"/>
                </a:rPr>
                <a:t>Write title here</a:t>
              </a:r>
            </a:p>
          </p:txBody>
        </p:sp>
        <p:sp>
          <p:nvSpPr>
            <p:cNvPr id="16" name="Freeform 11">
              <a:extLst>
                <a:ext uri="{FF2B5EF4-FFF2-40B4-BE49-F238E27FC236}">
                  <a16:creationId xmlns:a16="http://schemas.microsoft.com/office/drawing/2014/main" id="{90CA5DB2-EBA4-4B7D-A482-27478AF2BC2F}"/>
                </a:ext>
              </a:extLst>
            </p:cNvPr>
            <p:cNvSpPr>
              <a:spLocks/>
            </p:cNvSpPr>
            <p:nvPr/>
          </p:nvSpPr>
          <p:spPr bwMode="auto">
            <a:xfrm>
              <a:off x="4216855" y="4046068"/>
              <a:ext cx="555625" cy="30163"/>
            </a:xfrm>
            <a:custGeom>
              <a:avLst/>
              <a:gdLst>
                <a:gd name="T0" fmla="*/ 325 w 350"/>
                <a:gd name="T1" fmla="*/ 0 h 19"/>
                <a:gd name="T2" fmla="*/ 325 w 350"/>
                <a:gd name="T3" fmla="*/ 0 h 19"/>
                <a:gd name="T4" fmla="*/ 0 w 350"/>
                <a:gd name="T5" fmla="*/ 0 h 19"/>
                <a:gd name="T6" fmla="*/ 0 w 350"/>
                <a:gd name="T7" fmla="*/ 19 h 19"/>
                <a:gd name="T8" fmla="*/ 325 w 350"/>
                <a:gd name="T9" fmla="*/ 19 h 19"/>
                <a:gd name="T10" fmla="*/ 350 w 350"/>
                <a:gd name="T11" fmla="*/ 0 h 19"/>
                <a:gd name="T12" fmla="*/ 325 w 350"/>
                <a:gd name="T13" fmla="*/ 0 h 19"/>
              </a:gdLst>
              <a:ahLst/>
              <a:cxnLst>
                <a:cxn ang="0">
                  <a:pos x="T0" y="T1"/>
                </a:cxn>
                <a:cxn ang="0">
                  <a:pos x="T2" y="T3"/>
                </a:cxn>
                <a:cxn ang="0">
                  <a:pos x="T4" y="T5"/>
                </a:cxn>
                <a:cxn ang="0">
                  <a:pos x="T6" y="T7"/>
                </a:cxn>
                <a:cxn ang="0">
                  <a:pos x="T8" y="T9"/>
                </a:cxn>
                <a:cxn ang="0">
                  <a:pos x="T10" y="T11"/>
                </a:cxn>
                <a:cxn ang="0">
                  <a:pos x="T12" y="T13"/>
                </a:cxn>
              </a:cxnLst>
              <a:rect l="0" t="0" r="r" b="b"/>
              <a:pathLst>
                <a:path w="350" h="19">
                  <a:moveTo>
                    <a:pt x="325" y="0"/>
                  </a:moveTo>
                  <a:lnTo>
                    <a:pt x="325" y="0"/>
                  </a:lnTo>
                  <a:lnTo>
                    <a:pt x="0" y="0"/>
                  </a:lnTo>
                  <a:lnTo>
                    <a:pt x="0" y="19"/>
                  </a:lnTo>
                  <a:lnTo>
                    <a:pt x="325" y="19"/>
                  </a:lnTo>
                  <a:lnTo>
                    <a:pt x="350" y="0"/>
                  </a:lnTo>
                  <a:lnTo>
                    <a:pt x="325" y="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lumMod val="50000"/>
                    <a:lumOff val="50000"/>
                  </a:prstClr>
                </a:solidFill>
                <a:effectLst/>
                <a:uLnTx/>
                <a:uFillTx/>
                <a:latin typeface="HarmonyOS Sans SC"/>
                <a:cs typeface="+mn-cs"/>
              </a:endParaRPr>
            </a:p>
          </p:txBody>
        </p:sp>
        <p:sp>
          <p:nvSpPr>
            <p:cNvPr id="17" name="Freeform 12">
              <a:extLst>
                <a:ext uri="{FF2B5EF4-FFF2-40B4-BE49-F238E27FC236}">
                  <a16:creationId xmlns:a16="http://schemas.microsoft.com/office/drawing/2014/main" id="{DAF584A6-01E1-42C4-8720-FE2AA90CBF77}"/>
                </a:ext>
              </a:extLst>
            </p:cNvPr>
            <p:cNvSpPr>
              <a:spLocks/>
            </p:cNvSpPr>
            <p:nvPr/>
          </p:nvSpPr>
          <p:spPr bwMode="auto">
            <a:xfrm>
              <a:off x="4216855" y="4019080"/>
              <a:ext cx="555625" cy="26988"/>
            </a:xfrm>
            <a:custGeom>
              <a:avLst/>
              <a:gdLst>
                <a:gd name="T0" fmla="*/ 350 w 350"/>
                <a:gd name="T1" fmla="*/ 17 h 17"/>
                <a:gd name="T2" fmla="*/ 325 w 350"/>
                <a:gd name="T3" fmla="*/ 0 h 17"/>
                <a:gd name="T4" fmla="*/ 325 w 350"/>
                <a:gd name="T5" fmla="*/ 0 h 17"/>
                <a:gd name="T6" fmla="*/ 0 w 350"/>
                <a:gd name="T7" fmla="*/ 0 h 17"/>
                <a:gd name="T8" fmla="*/ 0 w 350"/>
                <a:gd name="T9" fmla="*/ 17 h 17"/>
                <a:gd name="T10" fmla="*/ 339 w 350"/>
                <a:gd name="T11" fmla="*/ 17 h 17"/>
                <a:gd name="T12" fmla="*/ 339 w 350"/>
                <a:gd name="T13" fmla="*/ 17 h 17"/>
                <a:gd name="T14" fmla="*/ 350 w 350"/>
                <a:gd name="T15" fmla="*/ 17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0" h="17">
                  <a:moveTo>
                    <a:pt x="350" y="17"/>
                  </a:moveTo>
                  <a:lnTo>
                    <a:pt x="325" y="0"/>
                  </a:lnTo>
                  <a:lnTo>
                    <a:pt x="325" y="0"/>
                  </a:lnTo>
                  <a:lnTo>
                    <a:pt x="0" y="0"/>
                  </a:lnTo>
                  <a:lnTo>
                    <a:pt x="0" y="17"/>
                  </a:lnTo>
                  <a:lnTo>
                    <a:pt x="339" y="17"/>
                  </a:lnTo>
                  <a:lnTo>
                    <a:pt x="339" y="17"/>
                  </a:lnTo>
                  <a:lnTo>
                    <a:pt x="350" y="17"/>
                  </a:lnTo>
                  <a:close/>
                </a:path>
              </a:pathLst>
            </a:cu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lumMod val="50000"/>
                    <a:lumOff val="50000"/>
                  </a:prstClr>
                </a:solidFill>
                <a:effectLst/>
                <a:uLnTx/>
                <a:uFillTx/>
                <a:latin typeface="HarmonyOS Sans SC"/>
                <a:cs typeface="+mn-cs"/>
              </a:endParaRPr>
            </a:p>
          </p:txBody>
        </p:sp>
        <p:sp>
          <p:nvSpPr>
            <p:cNvPr id="18" name="Rectangle 82">
              <a:extLst>
                <a:ext uri="{FF2B5EF4-FFF2-40B4-BE49-F238E27FC236}">
                  <a16:creationId xmlns:a16="http://schemas.microsoft.com/office/drawing/2014/main" id="{AE3A1218-2B48-42D5-BD82-16EF015F418B}"/>
                </a:ext>
              </a:extLst>
            </p:cNvPr>
            <p:cNvSpPr>
              <a:spLocks noChangeArrowheads="1"/>
            </p:cNvSpPr>
            <p:nvPr/>
          </p:nvSpPr>
          <p:spPr bwMode="auto">
            <a:xfrm>
              <a:off x="3431043" y="3952405"/>
              <a:ext cx="241300" cy="93663"/>
            </a:xfrm>
            <a:prstGeom prst="rect">
              <a:avLst/>
            </a:prstGeom>
            <a:solidFill>
              <a:schemeClr val="accent1">
                <a:lumMod val="40000"/>
                <a:lumOff val="6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lumMod val="50000"/>
                    <a:lumOff val="50000"/>
                  </a:prstClr>
                </a:solidFill>
                <a:effectLst/>
                <a:uLnTx/>
                <a:uFillTx/>
                <a:latin typeface="HarmonyOS Sans SC"/>
                <a:cs typeface="+mn-cs"/>
              </a:endParaRPr>
            </a:p>
          </p:txBody>
        </p:sp>
        <p:sp>
          <p:nvSpPr>
            <p:cNvPr id="19" name="Rectangle 83">
              <a:extLst>
                <a:ext uri="{FF2B5EF4-FFF2-40B4-BE49-F238E27FC236}">
                  <a16:creationId xmlns:a16="http://schemas.microsoft.com/office/drawing/2014/main" id="{5C97F539-7906-4FE9-94F2-CF7D1638A766}"/>
                </a:ext>
              </a:extLst>
            </p:cNvPr>
            <p:cNvSpPr>
              <a:spLocks noChangeArrowheads="1"/>
            </p:cNvSpPr>
            <p:nvPr/>
          </p:nvSpPr>
          <p:spPr bwMode="auto">
            <a:xfrm>
              <a:off x="3431043" y="4046068"/>
              <a:ext cx="241300" cy="96838"/>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lumMod val="50000"/>
                    <a:lumOff val="50000"/>
                  </a:prstClr>
                </a:solidFill>
                <a:effectLst/>
                <a:uLnTx/>
                <a:uFillTx/>
                <a:latin typeface="HarmonyOS Sans SC"/>
                <a:cs typeface="+mn-cs"/>
              </a:endParaRPr>
            </a:p>
          </p:txBody>
        </p:sp>
        <p:sp>
          <p:nvSpPr>
            <p:cNvPr id="20" name="Rectangle 84">
              <a:extLst>
                <a:ext uri="{FF2B5EF4-FFF2-40B4-BE49-F238E27FC236}">
                  <a16:creationId xmlns:a16="http://schemas.microsoft.com/office/drawing/2014/main" id="{A160D6A2-9415-49B5-9525-810ED086304B}"/>
                </a:ext>
              </a:extLst>
            </p:cNvPr>
            <p:cNvSpPr>
              <a:spLocks noChangeArrowheads="1"/>
            </p:cNvSpPr>
            <p:nvPr/>
          </p:nvSpPr>
          <p:spPr bwMode="auto">
            <a:xfrm>
              <a:off x="3745368" y="3877793"/>
              <a:ext cx="398462" cy="169863"/>
            </a:xfrm>
            <a:prstGeom prst="rect">
              <a:avLst/>
            </a:prstGeom>
            <a:solidFill>
              <a:schemeClr val="accent1">
                <a:lumMod val="40000"/>
                <a:lumOff val="6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lumMod val="50000"/>
                    <a:lumOff val="50000"/>
                  </a:prstClr>
                </a:solidFill>
                <a:effectLst/>
                <a:uLnTx/>
                <a:uFillTx/>
                <a:latin typeface="HarmonyOS Sans SC"/>
                <a:cs typeface="+mn-cs"/>
              </a:endParaRPr>
            </a:p>
          </p:txBody>
        </p:sp>
        <p:sp>
          <p:nvSpPr>
            <p:cNvPr id="21" name="Rectangle 85">
              <a:extLst>
                <a:ext uri="{FF2B5EF4-FFF2-40B4-BE49-F238E27FC236}">
                  <a16:creationId xmlns:a16="http://schemas.microsoft.com/office/drawing/2014/main" id="{73495D25-FF74-45E8-94C0-C050D6273F6B}"/>
                </a:ext>
              </a:extLst>
            </p:cNvPr>
            <p:cNvSpPr>
              <a:spLocks noChangeArrowheads="1"/>
            </p:cNvSpPr>
            <p:nvPr/>
          </p:nvSpPr>
          <p:spPr bwMode="auto">
            <a:xfrm>
              <a:off x="3745368" y="4047655"/>
              <a:ext cx="398462" cy="171450"/>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lumMod val="50000"/>
                    <a:lumOff val="50000"/>
                  </a:prstClr>
                </a:solidFill>
                <a:effectLst/>
                <a:uLnTx/>
                <a:uFillTx/>
                <a:latin typeface="HarmonyOS Sans SC"/>
                <a:cs typeface="+mn-cs"/>
              </a:endParaRPr>
            </a:p>
          </p:txBody>
        </p:sp>
        <p:sp>
          <p:nvSpPr>
            <p:cNvPr id="22" name="Freeform 86">
              <a:extLst>
                <a:ext uri="{FF2B5EF4-FFF2-40B4-BE49-F238E27FC236}">
                  <a16:creationId xmlns:a16="http://schemas.microsoft.com/office/drawing/2014/main" id="{CEB07D52-63B0-4DA0-8CA6-E758E464255B}"/>
                </a:ext>
              </a:extLst>
            </p:cNvPr>
            <p:cNvSpPr>
              <a:spLocks/>
            </p:cNvSpPr>
            <p:nvPr/>
          </p:nvSpPr>
          <p:spPr bwMode="auto">
            <a:xfrm>
              <a:off x="4143830" y="3879380"/>
              <a:ext cx="73025" cy="339725"/>
            </a:xfrm>
            <a:custGeom>
              <a:avLst/>
              <a:gdLst>
                <a:gd name="T0" fmla="*/ 0 w 46"/>
                <a:gd name="T1" fmla="*/ 214 h 214"/>
                <a:gd name="T2" fmla="*/ 46 w 46"/>
                <a:gd name="T3" fmla="*/ 167 h 214"/>
                <a:gd name="T4" fmla="*/ 46 w 46"/>
                <a:gd name="T5" fmla="*/ 46 h 214"/>
                <a:gd name="T6" fmla="*/ 0 w 46"/>
                <a:gd name="T7" fmla="*/ 0 h 214"/>
                <a:gd name="T8" fmla="*/ 0 w 46"/>
                <a:gd name="T9" fmla="*/ 214 h 214"/>
              </a:gdLst>
              <a:ahLst/>
              <a:cxnLst>
                <a:cxn ang="0">
                  <a:pos x="T0" y="T1"/>
                </a:cxn>
                <a:cxn ang="0">
                  <a:pos x="T2" y="T3"/>
                </a:cxn>
                <a:cxn ang="0">
                  <a:pos x="T4" y="T5"/>
                </a:cxn>
                <a:cxn ang="0">
                  <a:pos x="T6" y="T7"/>
                </a:cxn>
                <a:cxn ang="0">
                  <a:pos x="T8" y="T9"/>
                </a:cxn>
              </a:cxnLst>
              <a:rect l="0" t="0" r="r" b="b"/>
              <a:pathLst>
                <a:path w="46" h="214">
                  <a:moveTo>
                    <a:pt x="0" y="214"/>
                  </a:moveTo>
                  <a:lnTo>
                    <a:pt x="46" y="167"/>
                  </a:lnTo>
                  <a:lnTo>
                    <a:pt x="46" y="46"/>
                  </a:lnTo>
                  <a:lnTo>
                    <a:pt x="0" y="0"/>
                  </a:lnTo>
                  <a:lnTo>
                    <a:pt x="0" y="214"/>
                  </a:lnTo>
                  <a:close/>
                </a:path>
              </a:pathLst>
            </a:cu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lumMod val="50000"/>
                    <a:lumOff val="50000"/>
                  </a:prstClr>
                </a:solidFill>
                <a:effectLst/>
                <a:uLnTx/>
                <a:uFillTx/>
                <a:latin typeface="HarmonyOS Sans SC"/>
                <a:cs typeface="+mn-cs"/>
              </a:endParaRPr>
            </a:p>
          </p:txBody>
        </p:sp>
        <p:sp>
          <p:nvSpPr>
            <p:cNvPr id="23" name="Freeform 87">
              <a:extLst>
                <a:ext uri="{FF2B5EF4-FFF2-40B4-BE49-F238E27FC236}">
                  <a16:creationId xmlns:a16="http://schemas.microsoft.com/office/drawing/2014/main" id="{E39B5152-988C-4052-9DC0-9D185B74FB32}"/>
                </a:ext>
              </a:extLst>
            </p:cNvPr>
            <p:cNvSpPr>
              <a:spLocks/>
            </p:cNvSpPr>
            <p:nvPr/>
          </p:nvSpPr>
          <p:spPr bwMode="auto">
            <a:xfrm>
              <a:off x="3672343" y="3877793"/>
              <a:ext cx="73025" cy="341313"/>
            </a:xfrm>
            <a:custGeom>
              <a:avLst/>
              <a:gdLst>
                <a:gd name="T0" fmla="*/ 46 w 46"/>
                <a:gd name="T1" fmla="*/ 0 h 215"/>
                <a:gd name="T2" fmla="*/ 0 w 46"/>
                <a:gd name="T3" fmla="*/ 47 h 215"/>
                <a:gd name="T4" fmla="*/ 0 w 46"/>
                <a:gd name="T5" fmla="*/ 168 h 215"/>
                <a:gd name="T6" fmla="*/ 46 w 46"/>
                <a:gd name="T7" fmla="*/ 215 h 215"/>
                <a:gd name="T8" fmla="*/ 46 w 46"/>
                <a:gd name="T9" fmla="*/ 0 h 215"/>
              </a:gdLst>
              <a:ahLst/>
              <a:cxnLst>
                <a:cxn ang="0">
                  <a:pos x="T0" y="T1"/>
                </a:cxn>
                <a:cxn ang="0">
                  <a:pos x="T2" y="T3"/>
                </a:cxn>
                <a:cxn ang="0">
                  <a:pos x="T4" y="T5"/>
                </a:cxn>
                <a:cxn ang="0">
                  <a:pos x="T6" y="T7"/>
                </a:cxn>
                <a:cxn ang="0">
                  <a:pos x="T8" y="T9"/>
                </a:cxn>
              </a:cxnLst>
              <a:rect l="0" t="0" r="r" b="b"/>
              <a:pathLst>
                <a:path w="46" h="215">
                  <a:moveTo>
                    <a:pt x="46" y="0"/>
                  </a:moveTo>
                  <a:lnTo>
                    <a:pt x="0" y="47"/>
                  </a:lnTo>
                  <a:lnTo>
                    <a:pt x="0" y="168"/>
                  </a:lnTo>
                  <a:lnTo>
                    <a:pt x="46" y="215"/>
                  </a:lnTo>
                  <a:lnTo>
                    <a:pt x="46" y="0"/>
                  </a:lnTo>
                  <a:close/>
                </a:path>
              </a:pathLst>
            </a:cu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lumMod val="50000"/>
                    <a:lumOff val="50000"/>
                  </a:prstClr>
                </a:solidFill>
                <a:effectLst/>
                <a:uLnTx/>
                <a:uFillTx/>
                <a:latin typeface="HarmonyOS Sans SC"/>
                <a:cs typeface="+mn-cs"/>
              </a:endParaRPr>
            </a:p>
          </p:txBody>
        </p:sp>
        <p:sp>
          <p:nvSpPr>
            <p:cNvPr id="24" name="Rectangle 88">
              <a:extLst>
                <a:ext uri="{FF2B5EF4-FFF2-40B4-BE49-F238E27FC236}">
                  <a16:creationId xmlns:a16="http://schemas.microsoft.com/office/drawing/2014/main" id="{A496D285-0048-4735-B392-9076E9C53150}"/>
                </a:ext>
              </a:extLst>
            </p:cNvPr>
            <p:cNvSpPr>
              <a:spLocks noChangeArrowheads="1"/>
            </p:cNvSpPr>
            <p:nvPr/>
          </p:nvSpPr>
          <p:spPr bwMode="auto">
            <a:xfrm>
              <a:off x="3431043" y="3952405"/>
              <a:ext cx="33337" cy="190500"/>
            </a:xfrm>
            <a:prstGeom prst="rect">
              <a:avLst/>
            </a:pr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lumMod val="50000"/>
                    <a:lumOff val="50000"/>
                  </a:prstClr>
                </a:solidFill>
                <a:effectLst/>
                <a:uLnTx/>
                <a:uFillTx/>
                <a:latin typeface="HarmonyOS Sans SC"/>
                <a:cs typeface="+mn-cs"/>
              </a:endParaRPr>
            </a:p>
          </p:txBody>
        </p:sp>
        <p:sp>
          <p:nvSpPr>
            <p:cNvPr id="26" name="Freeform 69">
              <a:extLst>
                <a:ext uri="{FF2B5EF4-FFF2-40B4-BE49-F238E27FC236}">
                  <a16:creationId xmlns:a16="http://schemas.microsoft.com/office/drawing/2014/main" id="{9D0F7446-AB92-45B5-9E7E-00C16F595F8B}"/>
                </a:ext>
              </a:extLst>
            </p:cNvPr>
            <p:cNvSpPr>
              <a:spLocks/>
            </p:cNvSpPr>
            <p:nvPr/>
          </p:nvSpPr>
          <p:spPr bwMode="auto">
            <a:xfrm>
              <a:off x="1408568" y="2579218"/>
              <a:ext cx="2022475" cy="1563688"/>
            </a:xfrm>
            <a:custGeom>
              <a:avLst/>
              <a:gdLst>
                <a:gd name="T0" fmla="*/ 890 w 1319"/>
                <a:gd name="T1" fmla="*/ 656 h 1021"/>
                <a:gd name="T2" fmla="*/ 166 w 1319"/>
                <a:gd name="T3" fmla="*/ 0 h 1021"/>
                <a:gd name="T4" fmla="*/ 181 w 1319"/>
                <a:gd name="T5" fmla="*/ 195 h 1021"/>
                <a:gd name="T6" fmla="*/ 0 w 1319"/>
                <a:gd name="T7" fmla="*/ 193 h 1021"/>
                <a:gd name="T8" fmla="*/ 781 w 1319"/>
                <a:gd name="T9" fmla="*/ 849 h 1021"/>
                <a:gd name="T10" fmla="*/ 1319 w 1319"/>
                <a:gd name="T11" fmla="*/ 1021 h 1021"/>
                <a:gd name="T12" fmla="*/ 1319 w 1319"/>
                <a:gd name="T13" fmla="*/ 896 h 1021"/>
                <a:gd name="T14" fmla="*/ 890 w 1319"/>
                <a:gd name="T15" fmla="*/ 656 h 10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19" h="1021">
                  <a:moveTo>
                    <a:pt x="890" y="656"/>
                  </a:moveTo>
                  <a:cubicBezTo>
                    <a:pt x="166" y="0"/>
                    <a:pt x="166" y="0"/>
                    <a:pt x="166" y="0"/>
                  </a:cubicBezTo>
                  <a:cubicBezTo>
                    <a:pt x="181" y="195"/>
                    <a:pt x="181" y="195"/>
                    <a:pt x="181" y="195"/>
                  </a:cubicBezTo>
                  <a:cubicBezTo>
                    <a:pt x="0" y="193"/>
                    <a:pt x="0" y="193"/>
                    <a:pt x="0" y="193"/>
                  </a:cubicBezTo>
                  <a:cubicBezTo>
                    <a:pt x="781" y="849"/>
                    <a:pt x="781" y="849"/>
                    <a:pt x="781" y="849"/>
                  </a:cubicBezTo>
                  <a:cubicBezTo>
                    <a:pt x="911" y="954"/>
                    <a:pt x="1034" y="1021"/>
                    <a:pt x="1319" y="1021"/>
                  </a:cubicBezTo>
                  <a:cubicBezTo>
                    <a:pt x="1319" y="896"/>
                    <a:pt x="1319" y="896"/>
                    <a:pt x="1319" y="896"/>
                  </a:cubicBezTo>
                  <a:cubicBezTo>
                    <a:pt x="1173" y="883"/>
                    <a:pt x="991" y="758"/>
                    <a:pt x="890" y="656"/>
                  </a:cubicBezTo>
                  <a:close/>
                </a:path>
              </a:pathLst>
            </a:custGeom>
            <a:gradFill>
              <a:gsLst>
                <a:gs pos="0">
                  <a:schemeClr val="accent1">
                    <a:lumMod val="40000"/>
                    <a:lumOff val="60000"/>
                  </a:schemeClr>
                </a:gs>
                <a:gs pos="34000">
                  <a:schemeClr val="accent1">
                    <a:lumMod val="60000"/>
                    <a:lumOff val="40000"/>
                  </a:schemeClr>
                </a:gs>
                <a:gs pos="73000">
                  <a:schemeClr val="accent1"/>
                </a:gs>
              </a:gsLst>
              <a:lin ang="2700000" scaled="1"/>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lumMod val="50000"/>
                    <a:lumOff val="50000"/>
                  </a:prstClr>
                </a:solidFill>
                <a:effectLst/>
                <a:uLnTx/>
                <a:uFillTx/>
                <a:latin typeface="HarmonyOS Sans SC"/>
                <a:cs typeface="+mn-cs"/>
              </a:endParaRPr>
            </a:p>
          </p:txBody>
        </p:sp>
        <p:sp>
          <p:nvSpPr>
            <p:cNvPr id="27" name="TextBox 17">
              <a:extLst>
                <a:ext uri="{FF2B5EF4-FFF2-40B4-BE49-F238E27FC236}">
                  <a16:creationId xmlns:a16="http://schemas.microsoft.com/office/drawing/2014/main" id="{E77FFAB1-89F2-403E-99BF-BB0F00824DD5}"/>
                </a:ext>
              </a:extLst>
            </p:cNvPr>
            <p:cNvSpPr txBox="1"/>
            <p:nvPr/>
          </p:nvSpPr>
          <p:spPr>
            <a:xfrm rot="2474430">
              <a:off x="1731330" y="3208302"/>
              <a:ext cx="1033937" cy="261610"/>
            </a:xfrm>
            <a:prstGeom prst="rect">
              <a:avLst/>
            </a:prstGeom>
            <a:noFill/>
          </p:spPr>
          <p:txBody>
            <a:bodyPr wrap="non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white"/>
                  </a:solidFill>
                  <a:effectLst/>
                  <a:uLnTx/>
                  <a:uFillTx/>
                  <a:latin typeface="HarmonyOS Sans SC"/>
                  <a:cs typeface="Source Sans Pro" charset="0"/>
                </a:rPr>
                <a:t>Write title here</a:t>
              </a:r>
            </a:p>
          </p:txBody>
        </p:sp>
      </p:grpSp>
      <p:sp>
        <p:nvSpPr>
          <p:cNvPr id="34" name="Freeform 5">
            <a:extLst>
              <a:ext uri="{FF2B5EF4-FFF2-40B4-BE49-F238E27FC236}">
                <a16:creationId xmlns:a16="http://schemas.microsoft.com/office/drawing/2014/main" id="{0C0729B1-9F04-4D0E-A6F5-082467CAACC3}"/>
              </a:ext>
            </a:extLst>
          </p:cNvPr>
          <p:cNvSpPr>
            <a:spLocks/>
          </p:cNvSpPr>
          <p:nvPr/>
        </p:nvSpPr>
        <p:spPr bwMode="auto">
          <a:xfrm>
            <a:off x="5097406" y="2565459"/>
            <a:ext cx="918412" cy="2603360"/>
          </a:xfrm>
          <a:custGeom>
            <a:avLst/>
            <a:gdLst>
              <a:gd name="T0" fmla="*/ 240 w 479"/>
              <a:gd name="T1" fmla="*/ 0 h 1364"/>
              <a:gd name="T2" fmla="*/ 126 w 479"/>
              <a:gd name="T3" fmla="*/ 0 h 1364"/>
              <a:gd name="T4" fmla="*/ 126 w 479"/>
              <a:gd name="T5" fmla="*/ 82 h 1364"/>
              <a:gd name="T6" fmla="*/ 0 w 479"/>
              <a:gd name="T7" fmla="*/ 682 h 1364"/>
              <a:gd name="T8" fmla="*/ 126 w 479"/>
              <a:gd name="T9" fmla="*/ 1283 h 1364"/>
              <a:gd name="T10" fmla="*/ 126 w 479"/>
              <a:gd name="T11" fmla="*/ 1364 h 1364"/>
              <a:gd name="T12" fmla="*/ 240 w 479"/>
              <a:gd name="T13" fmla="*/ 1364 h 1364"/>
              <a:gd name="T14" fmla="*/ 479 w 479"/>
              <a:gd name="T15" fmla="*/ 682 h 1364"/>
              <a:gd name="T16" fmla="*/ 240 w 479"/>
              <a:gd name="T17" fmla="*/ 0 h 1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9" h="1364">
                <a:moveTo>
                  <a:pt x="240" y="0"/>
                </a:moveTo>
                <a:cubicBezTo>
                  <a:pt x="126" y="0"/>
                  <a:pt x="126" y="0"/>
                  <a:pt x="126" y="0"/>
                </a:cubicBezTo>
                <a:cubicBezTo>
                  <a:pt x="126" y="82"/>
                  <a:pt x="126" y="82"/>
                  <a:pt x="126" y="82"/>
                </a:cubicBezTo>
                <a:cubicBezTo>
                  <a:pt x="51" y="197"/>
                  <a:pt x="0" y="423"/>
                  <a:pt x="0" y="682"/>
                </a:cubicBezTo>
                <a:cubicBezTo>
                  <a:pt x="0" y="942"/>
                  <a:pt x="51" y="1168"/>
                  <a:pt x="126" y="1283"/>
                </a:cubicBezTo>
                <a:cubicBezTo>
                  <a:pt x="126" y="1364"/>
                  <a:pt x="126" y="1364"/>
                  <a:pt x="126" y="1364"/>
                </a:cubicBezTo>
                <a:cubicBezTo>
                  <a:pt x="240" y="1364"/>
                  <a:pt x="240" y="1364"/>
                  <a:pt x="240" y="1364"/>
                </a:cubicBezTo>
                <a:cubicBezTo>
                  <a:pt x="372" y="1364"/>
                  <a:pt x="479" y="1059"/>
                  <a:pt x="479" y="682"/>
                </a:cubicBezTo>
                <a:cubicBezTo>
                  <a:pt x="479" y="306"/>
                  <a:pt x="372" y="0"/>
                  <a:pt x="240" y="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lumMod val="50000"/>
                  <a:lumOff val="50000"/>
                </a:prstClr>
              </a:solidFill>
              <a:effectLst/>
              <a:uLnTx/>
              <a:uFillTx/>
              <a:latin typeface="HarmonyOS Sans SC"/>
              <a:cs typeface="+mn-cs"/>
            </a:endParaRPr>
          </a:p>
        </p:txBody>
      </p:sp>
      <p:sp>
        <p:nvSpPr>
          <p:cNvPr id="35" name="Oval 6">
            <a:extLst>
              <a:ext uri="{FF2B5EF4-FFF2-40B4-BE49-F238E27FC236}">
                <a16:creationId xmlns:a16="http://schemas.microsoft.com/office/drawing/2014/main" id="{1060FAA3-9BB4-4614-A69C-D9D4B5AEA352}"/>
              </a:ext>
            </a:extLst>
          </p:cNvPr>
          <p:cNvSpPr>
            <a:spLocks noChangeArrowheads="1"/>
          </p:cNvSpPr>
          <p:nvPr/>
        </p:nvSpPr>
        <p:spPr bwMode="auto">
          <a:xfrm>
            <a:off x="4879623" y="2565459"/>
            <a:ext cx="919844" cy="2603360"/>
          </a:xfrm>
          <a:prstGeom prst="ellipse">
            <a:avLst/>
          </a:pr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lumMod val="50000"/>
                  <a:lumOff val="50000"/>
                </a:prstClr>
              </a:solidFill>
              <a:effectLst/>
              <a:uLnTx/>
              <a:uFillTx/>
              <a:latin typeface="HarmonyOS Sans SC"/>
              <a:cs typeface="+mn-cs"/>
            </a:endParaRPr>
          </a:p>
        </p:txBody>
      </p:sp>
      <p:sp>
        <p:nvSpPr>
          <p:cNvPr id="37" name="Oval 7">
            <a:extLst>
              <a:ext uri="{FF2B5EF4-FFF2-40B4-BE49-F238E27FC236}">
                <a16:creationId xmlns:a16="http://schemas.microsoft.com/office/drawing/2014/main" id="{9F6B7863-ADA4-48B0-8CAE-6084AB564393}"/>
              </a:ext>
            </a:extLst>
          </p:cNvPr>
          <p:cNvSpPr>
            <a:spLocks noChangeArrowheads="1"/>
          </p:cNvSpPr>
          <p:nvPr/>
        </p:nvSpPr>
        <p:spPr bwMode="auto">
          <a:xfrm>
            <a:off x="4934069" y="2829090"/>
            <a:ext cx="735016" cy="2078963"/>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lumMod val="50000"/>
                  <a:lumOff val="50000"/>
                </a:prstClr>
              </a:solidFill>
              <a:effectLst/>
              <a:uLnTx/>
              <a:uFillTx/>
              <a:latin typeface="HarmonyOS Sans SC"/>
              <a:cs typeface="+mn-cs"/>
            </a:endParaRPr>
          </a:p>
        </p:txBody>
      </p:sp>
      <p:sp>
        <p:nvSpPr>
          <p:cNvPr id="38" name="Oval 8">
            <a:extLst>
              <a:ext uri="{FF2B5EF4-FFF2-40B4-BE49-F238E27FC236}">
                <a16:creationId xmlns:a16="http://schemas.microsoft.com/office/drawing/2014/main" id="{5A723D55-27D3-4039-9B1C-8165F02CD6F0}"/>
              </a:ext>
            </a:extLst>
          </p:cNvPr>
          <p:cNvSpPr>
            <a:spLocks noChangeArrowheads="1"/>
          </p:cNvSpPr>
          <p:nvPr/>
        </p:nvSpPr>
        <p:spPr bwMode="auto">
          <a:xfrm>
            <a:off x="4999977" y="3128541"/>
            <a:ext cx="522965" cy="1478628"/>
          </a:xfrm>
          <a:prstGeom prst="ellipse">
            <a:avLst/>
          </a:pr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lumMod val="50000"/>
                  <a:lumOff val="50000"/>
                </a:prstClr>
              </a:solidFill>
              <a:effectLst/>
              <a:uLnTx/>
              <a:uFillTx/>
              <a:latin typeface="HarmonyOS Sans SC"/>
              <a:cs typeface="+mn-cs"/>
            </a:endParaRPr>
          </a:p>
        </p:txBody>
      </p:sp>
      <p:sp>
        <p:nvSpPr>
          <p:cNvPr id="40" name="Oval 9">
            <a:extLst>
              <a:ext uri="{FF2B5EF4-FFF2-40B4-BE49-F238E27FC236}">
                <a16:creationId xmlns:a16="http://schemas.microsoft.com/office/drawing/2014/main" id="{37B18BD5-F4D6-4D21-9A1C-4C6C5CB93EF1}"/>
              </a:ext>
            </a:extLst>
          </p:cNvPr>
          <p:cNvSpPr>
            <a:spLocks noChangeArrowheads="1"/>
          </p:cNvSpPr>
          <p:nvPr/>
        </p:nvSpPr>
        <p:spPr bwMode="auto">
          <a:xfrm>
            <a:off x="5064452" y="3380710"/>
            <a:ext cx="345300" cy="975723"/>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lumMod val="50000"/>
                  <a:lumOff val="50000"/>
                </a:prstClr>
              </a:solidFill>
              <a:effectLst/>
              <a:uLnTx/>
              <a:uFillTx/>
              <a:latin typeface="HarmonyOS Sans SC"/>
              <a:cs typeface="+mn-cs"/>
            </a:endParaRPr>
          </a:p>
        </p:txBody>
      </p:sp>
      <p:sp>
        <p:nvSpPr>
          <p:cNvPr id="41" name="Oval 10">
            <a:extLst>
              <a:ext uri="{FF2B5EF4-FFF2-40B4-BE49-F238E27FC236}">
                <a16:creationId xmlns:a16="http://schemas.microsoft.com/office/drawing/2014/main" id="{B01B0B4A-86C7-46BA-87DE-9521CF65ACAE}"/>
              </a:ext>
            </a:extLst>
          </p:cNvPr>
          <p:cNvSpPr>
            <a:spLocks noChangeArrowheads="1"/>
          </p:cNvSpPr>
          <p:nvPr/>
        </p:nvSpPr>
        <p:spPr bwMode="auto">
          <a:xfrm>
            <a:off x="5136091" y="3650072"/>
            <a:ext cx="154740" cy="436998"/>
          </a:xfrm>
          <a:prstGeom prst="ellipse">
            <a:avLst/>
          </a:pr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lumMod val="50000"/>
                  <a:lumOff val="50000"/>
                </a:prstClr>
              </a:solidFill>
              <a:effectLst/>
              <a:uLnTx/>
              <a:uFillTx/>
              <a:latin typeface="HarmonyOS Sans SC"/>
              <a:cs typeface="+mn-cs"/>
            </a:endParaRPr>
          </a:p>
        </p:txBody>
      </p:sp>
      <p:sp>
        <p:nvSpPr>
          <p:cNvPr id="44" name="Right Triangle 61">
            <a:extLst>
              <a:ext uri="{FF2B5EF4-FFF2-40B4-BE49-F238E27FC236}">
                <a16:creationId xmlns:a16="http://schemas.microsoft.com/office/drawing/2014/main" id="{089C99E9-C92A-429A-976A-42716E311D66}"/>
              </a:ext>
            </a:extLst>
          </p:cNvPr>
          <p:cNvSpPr/>
          <p:nvPr/>
        </p:nvSpPr>
        <p:spPr>
          <a:xfrm flipV="1">
            <a:off x="1055689" y="803583"/>
            <a:ext cx="72580" cy="72177"/>
          </a:xfrm>
          <a:prstGeom prst="r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HarmonyOS Sans SC"/>
              <a:cs typeface="+mn-cs"/>
            </a:endParaRPr>
          </a:p>
        </p:txBody>
      </p:sp>
      <p:sp>
        <p:nvSpPr>
          <p:cNvPr id="45" name="文本框 44">
            <a:extLst>
              <a:ext uri="{FF2B5EF4-FFF2-40B4-BE49-F238E27FC236}">
                <a16:creationId xmlns:a16="http://schemas.microsoft.com/office/drawing/2014/main" id="{E469516A-7609-4448-86C7-1BD960A9238A}"/>
              </a:ext>
            </a:extLst>
          </p:cNvPr>
          <p:cNvSpPr txBox="1"/>
          <p:nvPr/>
        </p:nvSpPr>
        <p:spPr>
          <a:xfrm>
            <a:off x="941388" y="918105"/>
            <a:ext cx="2008883"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2800" b="0" i="0" u="none" strike="noStrike" kern="1200" cap="none" spc="0" normalizeH="0" baseline="0" noProof="0" dirty="0">
                <a:ln>
                  <a:noFill/>
                </a:ln>
                <a:solidFill>
                  <a:prstClr val="black"/>
                </a:solidFill>
                <a:effectLst/>
                <a:uLnTx/>
                <a:uFillTx/>
                <a:latin typeface="HarmonyOS Sans Black"/>
                <a:ea typeface="+mj-ea"/>
                <a:cs typeface="+mn-cs"/>
              </a:rPr>
              <a:t>Hit </a:t>
            </a:r>
            <a:r>
              <a:rPr kumimoji="0" lang="en-US" altLang="zh-CN" sz="2800" b="0" i="0" u="none" strike="noStrike" kern="1200" cap="none" spc="0" normalizeH="0" baseline="0" noProof="0" dirty="0">
                <a:ln>
                  <a:noFill/>
                </a:ln>
                <a:solidFill>
                  <a:schemeClr val="accent1"/>
                </a:solidFill>
                <a:effectLst/>
                <a:uLnTx/>
                <a:uFillTx/>
                <a:latin typeface="HarmonyOS Sans Black"/>
                <a:ea typeface="+mj-ea"/>
                <a:cs typeface="+mn-cs"/>
              </a:rPr>
              <a:t>Target</a:t>
            </a:r>
          </a:p>
        </p:txBody>
      </p:sp>
      <p:sp>
        <p:nvSpPr>
          <p:cNvPr id="50" name="TextBox 18">
            <a:extLst>
              <a:ext uri="{FF2B5EF4-FFF2-40B4-BE49-F238E27FC236}">
                <a16:creationId xmlns:a16="http://schemas.microsoft.com/office/drawing/2014/main" id="{4CAFDF86-3D79-4DD1-B914-422728BDCDF9}"/>
              </a:ext>
            </a:extLst>
          </p:cNvPr>
          <p:cNvSpPr txBox="1"/>
          <p:nvPr/>
        </p:nvSpPr>
        <p:spPr>
          <a:xfrm>
            <a:off x="6708321" y="2575473"/>
            <a:ext cx="3406776" cy="379647"/>
          </a:xfrm>
          <a:prstGeom prst="rect">
            <a:avLst/>
          </a:prstGeom>
          <a:noFill/>
        </p:spPr>
        <p:txBody>
          <a:bodyPr wrap="square" lIns="0" tIns="36000" rIns="216000" bIns="36000" rtlCol="0">
            <a:spAutoFit/>
          </a:bodyPr>
          <a:lstStyle/>
          <a:p>
            <a:pPr marL="0" marR="0" lvl="0" indent="0" algn="l" defTabSz="914400" rtl="0" eaLnBrk="1" fontAlgn="auto" latinLnBrk="0" hangingPunct="1">
              <a:lnSpc>
                <a:spcPct val="120000"/>
              </a:lnSpc>
              <a:spcBef>
                <a:spcPts val="1200"/>
              </a:spcBef>
              <a:spcAft>
                <a:spcPts val="0"/>
              </a:spcAft>
              <a:buClrTx/>
              <a:buSzTx/>
              <a:buFontTx/>
              <a:buNone/>
              <a:tabLst/>
              <a:defRPr/>
            </a:pPr>
            <a:r>
              <a:rPr kumimoji="0" lang="en-US" sz="1800" b="0" i="0" u="none" strike="noStrike" kern="1200" cap="none" spc="0" normalizeH="0" baseline="0" noProof="0" dirty="0">
                <a:ln>
                  <a:noFill/>
                </a:ln>
                <a:solidFill>
                  <a:schemeClr val="accent1"/>
                </a:solidFill>
                <a:effectLst/>
                <a:uLnTx/>
                <a:uFillTx/>
                <a:latin typeface="HarmonyOS Sans SC Black"/>
                <a:ea typeface="+mj-ea"/>
                <a:cs typeface="+mn-cs"/>
              </a:rPr>
              <a:t>Subtitle</a:t>
            </a:r>
            <a:endParaRPr kumimoji="0" lang="en-US" sz="1100" b="0" i="0" u="none" strike="noStrike" kern="1200" cap="none" spc="0" normalizeH="0" baseline="0" noProof="0" dirty="0">
              <a:ln>
                <a:noFill/>
              </a:ln>
              <a:solidFill>
                <a:schemeClr val="accent1"/>
              </a:solidFill>
              <a:effectLst/>
              <a:uLnTx/>
              <a:uFillTx/>
              <a:latin typeface="HarmonyOS Sans SC Black"/>
              <a:ea typeface="+mj-ea"/>
              <a:cs typeface="+mn-cs"/>
            </a:endParaRPr>
          </a:p>
        </p:txBody>
      </p:sp>
      <p:sp>
        <p:nvSpPr>
          <p:cNvPr id="51" name="TextBox 18">
            <a:extLst>
              <a:ext uri="{FF2B5EF4-FFF2-40B4-BE49-F238E27FC236}">
                <a16:creationId xmlns:a16="http://schemas.microsoft.com/office/drawing/2014/main" id="{E4FBB73E-530B-435B-B981-ADA408C3D114}"/>
              </a:ext>
            </a:extLst>
          </p:cNvPr>
          <p:cNvSpPr txBox="1"/>
          <p:nvPr/>
        </p:nvSpPr>
        <p:spPr>
          <a:xfrm>
            <a:off x="6708320" y="3086520"/>
            <a:ext cx="4725987" cy="666584"/>
          </a:xfrm>
          <a:prstGeom prst="rect">
            <a:avLst/>
          </a:prstGeom>
          <a:noFill/>
        </p:spPr>
        <p:txBody>
          <a:bodyPr wrap="square" lIns="0" tIns="36000" rIns="216000" bIns="36000" rtlCol="0">
            <a:spAutoFit/>
          </a:bodyPr>
          <a:lstStyle/>
          <a:p>
            <a:pPr marL="0" marR="0" lvl="0" indent="0" algn="l" defTabSz="914400" rtl="0" eaLnBrk="1" fontAlgn="auto" latinLnBrk="0" hangingPunct="1">
              <a:lnSpc>
                <a:spcPct val="120000"/>
              </a:lnSpc>
              <a:spcBef>
                <a:spcPts val="1200"/>
              </a:spcBef>
              <a:spcAft>
                <a:spcPts val="0"/>
              </a:spcAft>
              <a:buClrTx/>
              <a:buSzTx/>
              <a:buFontTx/>
              <a:buNone/>
              <a:tabLst/>
              <a:defRPr/>
            </a:pPr>
            <a:r>
              <a:rPr kumimoji="0" lang="en-US" sz="1100" b="0" i="0" u="none" strike="noStrike" kern="1200" cap="none" spc="0" normalizeH="0" baseline="0" noProof="0" dirty="0">
                <a:ln>
                  <a:noFill/>
                </a:ln>
                <a:solidFill>
                  <a:prstClr val="black">
                    <a:lumMod val="75000"/>
                    <a:lumOff val="25000"/>
                  </a:prstClr>
                </a:solidFill>
                <a:effectLst/>
                <a:uLnTx/>
                <a:uFillTx/>
                <a:latin typeface="HarmonyOS Sans SC Black"/>
                <a:ea typeface="+mj-ea"/>
                <a:cs typeface="+mn-cs"/>
              </a:rPr>
              <a:t>A peep at some distant orb has power to raise and purify our thoughts like a strain of sacred music, or a noble picture, or a passage from the grander poets. It always does one good. </a:t>
            </a:r>
          </a:p>
        </p:txBody>
      </p:sp>
      <p:sp>
        <p:nvSpPr>
          <p:cNvPr id="52" name="TextBox 18">
            <a:extLst>
              <a:ext uri="{FF2B5EF4-FFF2-40B4-BE49-F238E27FC236}">
                <a16:creationId xmlns:a16="http://schemas.microsoft.com/office/drawing/2014/main" id="{6DCBB47A-134B-4BDE-BEB4-6FB08248F697}"/>
              </a:ext>
            </a:extLst>
          </p:cNvPr>
          <p:cNvSpPr txBox="1"/>
          <p:nvPr/>
        </p:nvSpPr>
        <p:spPr>
          <a:xfrm>
            <a:off x="6708320" y="4222937"/>
            <a:ext cx="4249737" cy="462746"/>
          </a:xfrm>
          <a:prstGeom prst="rect">
            <a:avLst/>
          </a:prstGeom>
          <a:noFill/>
        </p:spPr>
        <p:txBody>
          <a:bodyPr wrap="square" lIns="0" tIns="36000" rIns="216000" bIns="36000" rtlCol="0">
            <a:spAutoFit/>
          </a:bodyPr>
          <a:lstStyle/>
          <a:p>
            <a:pPr marL="171450" marR="0" lvl="0" indent="-171450" algn="l" defTabSz="914400" rtl="0" eaLnBrk="1" fontAlgn="auto" latinLnBrk="0" hangingPunct="1">
              <a:lnSpc>
                <a:spcPct val="120000"/>
              </a:lnSpc>
              <a:spcBef>
                <a:spcPts val="1200"/>
              </a:spcBef>
              <a:spcAft>
                <a:spcPts val="0"/>
              </a:spcAft>
              <a:buClr>
                <a:srgbClr val="5CE0CE"/>
              </a:buClr>
              <a:buSzTx/>
              <a:buFont typeface="Arial" panose="020B0604020202020204" pitchFamily="34" charset="0"/>
              <a:buChar char="•"/>
              <a:tabLst/>
              <a:defRPr/>
            </a:pPr>
            <a:r>
              <a:rPr kumimoji="0" lang="en-US" sz="1100" b="0" i="0" u="none" strike="noStrike" kern="1200" cap="none" spc="0" normalizeH="0" baseline="0" noProof="0" dirty="0">
                <a:ln>
                  <a:noFill/>
                </a:ln>
                <a:solidFill>
                  <a:prstClr val="black">
                    <a:lumMod val="50000"/>
                    <a:lumOff val="50000"/>
                  </a:prstClr>
                </a:solidFill>
                <a:effectLst/>
                <a:uLnTx/>
                <a:uFillTx/>
                <a:latin typeface="HarmonyOS Sans SC"/>
                <a:cs typeface="+mn-cs"/>
              </a:rPr>
              <a:t>A peep at some distant orb has power to raise and purify our thoughts like a strain of sacred music.</a:t>
            </a:r>
          </a:p>
        </p:txBody>
      </p:sp>
      <p:sp>
        <p:nvSpPr>
          <p:cNvPr id="53" name="TextBox 18">
            <a:extLst>
              <a:ext uri="{FF2B5EF4-FFF2-40B4-BE49-F238E27FC236}">
                <a16:creationId xmlns:a16="http://schemas.microsoft.com/office/drawing/2014/main" id="{7E64303C-BE63-4E30-AC93-4DFB6EC9FEEF}"/>
              </a:ext>
            </a:extLst>
          </p:cNvPr>
          <p:cNvSpPr txBox="1"/>
          <p:nvPr/>
        </p:nvSpPr>
        <p:spPr>
          <a:xfrm>
            <a:off x="6708320" y="4777597"/>
            <a:ext cx="4249737" cy="462746"/>
          </a:xfrm>
          <a:prstGeom prst="rect">
            <a:avLst/>
          </a:prstGeom>
          <a:noFill/>
        </p:spPr>
        <p:txBody>
          <a:bodyPr wrap="square" lIns="0" tIns="36000" rIns="216000" bIns="36000" rtlCol="0">
            <a:spAutoFit/>
          </a:bodyPr>
          <a:lstStyle/>
          <a:p>
            <a:pPr marL="171450" marR="0" lvl="0" indent="-171450" algn="l" defTabSz="914400" rtl="0" eaLnBrk="1" fontAlgn="auto" latinLnBrk="0" hangingPunct="1">
              <a:lnSpc>
                <a:spcPct val="120000"/>
              </a:lnSpc>
              <a:spcBef>
                <a:spcPts val="1200"/>
              </a:spcBef>
              <a:spcAft>
                <a:spcPts val="0"/>
              </a:spcAft>
              <a:buClr>
                <a:srgbClr val="5CE0CE"/>
              </a:buClr>
              <a:buSzTx/>
              <a:buFont typeface="Arial" panose="020B0604020202020204" pitchFamily="34" charset="0"/>
              <a:buChar char="•"/>
              <a:tabLst/>
              <a:defRPr/>
            </a:pPr>
            <a:r>
              <a:rPr kumimoji="0" lang="en-US" sz="1100" b="0" i="0" u="none" strike="noStrike" kern="1200" cap="none" spc="0" normalizeH="0" baseline="0" noProof="0" dirty="0">
                <a:ln>
                  <a:noFill/>
                </a:ln>
                <a:solidFill>
                  <a:prstClr val="black">
                    <a:lumMod val="50000"/>
                    <a:lumOff val="50000"/>
                  </a:prstClr>
                </a:solidFill>
                <a:effectLst/>
                <a:uLnTx/>
                <a:uFillTx/>
                <a:latin typeface="HarmonyOS Sans SC"/>
                <a:cs typeface="+mn-cs"/>
              </a:rPr>
              <a:t>A noble picture, or a passage from the grander poets. It always does one good.</a:t>
            </a:r>
          </a:p>
        </p:txBody>
      </p:sp>
    </p:spTree>
    <p:extLst>
      <p:ext uri="{BB962C8B-B14F-4D97-AF65-F5344CB8AC3E}">
        <p14:creationId xmlns:p14="http://schemas.microsoft.com/office/powerpoint/2010/main" val="3016325238"/>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4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reeform 17">
            <a:extLst>
              <a:ext uri="{FF2B5EF4-FFF2-40B4-BE49-F238E27FC236}">
                <a16:creationId xmlns:a16="http://schemas.microsoft.com/office/drawing/2014/main" id="{6CC55831-DBCD-4280-B37A-B64C9E8CEAD7}"/>
              </a:ext>
            </a:extLst>
          </p:cNvPr>
          <p:cNvSpPr/>
          <p:nvPr/>
        </p:nvSpPr>
        <p:spPr>
          <a:xfrm>
            <a:off x="4521360" y="1718231"/>
            <a:ext cx="1493204" cy="1337437"/>
          </a:xfrm>
          <a:custGeom>
            <a:avLst/>
            <a:gdLst/>
            <a:ahLst/>
            <a:cxnLst>
              <a:cxn ang="0">
                <a:pos x="wd2" y="hd2"/>
              </a:cxn>
              <a:cxn ang="5400000">
                <a:pos x="wd2" y="hd2"/>
              </a:cxn>
              <a:cxn ang="10800000">
                <a:pos x="wd2" y="hd2"/>
              </a:cxn>
              <a:cxn ang="16200000">
                <a:pos x="wd2" y="hd2"/>
              </a:cxn>
            </a:cxnLst>
            <a:rect l="0" t="0" r="r" b="b"/>
            <a:pathLst>
              <a:path w="21389" h="21324" extrusionOk="0">
                <a:moveTo>
                  <a:pt x="11715" y="20354"/>
                </a:moveTo>
                <a:cubicBezTo>
                  <a:pt x="13466" y="16916"/>
                  <a:pt x="16469" y="14408"/>
                  <a:pt x="20055" y="13618"/>
                </a:cubicBezTo>
                <a:cubicBezTo>
                  <a:pt x="20764" y="13432"/>
                  <a:pt x="21389" y="12689"/>
                  <a:pt x="21389" y="11853"/>
                </a:cubicBezTo>
                <a:cubicBezTo>
                  <a:pt x="21389" y="1448"/>
                  <a:pt x="21389" y="1448"/>
                  <a:pt x="21389" y="1448"/>
                </a:cubicBezTo>
                <a:cubicBezTo>
                  <a:pt x="21389" y="612"/>
                  <a:pt x="20764" y="-85"/>
                  <a:pt x="20013" y="8"/>
                </a:cubicBezTo>
                <a:cubicBezTo>
                  <a:pt x="11089" y="1030"/>
                  <a:pt x="3625" y="7347"/>
                  <a:pt x="123" y="16127"/>
                </a:cubicBezTo>
                <a:cubicBezTo>
                  <a:pt x="-211" y="16916"/>
                  <a:pt x="164" y="17752"/>
                  <a:pt x="915" y="18031"/>
                </a:cubicBezTo>
                <a:cubicBezTo>
                  <a:pt x="9797" y="21236"/>
                  <a:pt x="9797" y="21236"/>
                  <a:pt x="9797" y="21236"/>
                </a:cubicBezTo>
                <a:cubicBezTo>
                  <a:pt x="10506" y="21515"/>
                  <a:pt x="11340" y="21097"/>
                  <a:pt x="11715" y="20354"/>
                </a:cubicBezTo>
                <a:close/>
              </a:path>
            </a:pathLst>
          </a:custGeom>
          <a:gradFill flip="none" rotWithShape="1">
            <a:gsLst>
              <a:gs pos="64000">
                <a:schemeClr val="accent1"/>
              </a:gs>
              <a:gs pos="31000">
                <a:schemeClr val="accent1">
                  <a:lumMod val="60000"/>
                  <a:lumOff val="40000"/>
                </a:schemeClr>
              </a:gs>
              <a:gs pos="0">
                <a:schemeClr val="accent1">
                  <a:lumMod val="40000"/>
                  <a:lumOff val="60000"/>
                </a:schemeClr>
              </a:gs>
            </a:gsLst>
            <a:lin ang="18900000" scaled="1"/>
            <a:tileRect/>
          </a:gradFill>
          <a:ln>
            <a:noFill/>
          </a:ln>
          <a:effectLst>
            <a:outerShdw blurRad="444500" dist="317500" dir="5400000" sx="92000" sy="92000" algn="t" rotWithShape="0">
              <a:schemeClr val="accent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white"/>
              </a:solidFill>
              <a:effectLst/>
              <a:uLnTx/>
              <a:uFillTx/>
              <a:latin typeface="HarmonyOS Sans SC Black"/>
              <a:ea typeface="+mj-ea"/>
              <a:cs typeface="+mn-cs"/>
              <a:sym typeface="Poppins Regular"/>
            </a:endParaRPr>
          </a:p>
        </p:txBody>
      </p:sp>
      <p:sp>
        <p:nvSpPr>
          <p:cNvPr id="4" name="y">
            <a:extLst>
              <a:ext uri="{FF2B5EF4-FFF2-40B4-BE49-F238E27FC236}">
                <a16:creationId xmlns:a16="http://schemas.microsoft.com/office/drawing/2014/main" id="{1CBCC200-C2B3-4659-BD22-8CA63EF70B8F}"/>
              </a:ext>
            </a:extLst>
          </p:cNvPr>
          <p:cNvSpPr txBox="1"/>
          <p:nvPr/>
        </p:nvSpPr>
        <p:spPr>
          <a:xfrm>
            <a:off x="5183002" y="2024194"/>
            <a:ext cx="169918" cy="461601"/>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numCol="1" anchor="ctr">
            <a:spAutoFit/>
          </a:bodyPr>
          <a:lstStyle>
            <a:lvl1pPr defTabSz="914400">
              <a:lnSpc>
                <a:spcPct val="150000"/>
              </a:lnSpc>
              <a:tabLst>
                <a:tab pos="1384300" algn="l"/>
              </a:tabLst>
              <a:defRPr sz="4500" b="0">
                <a:solidFill>
                  <a:srgbClr val="F7F9FF"/>
                </a:solidFill>
                <a:latin typeface="linea-basic-10"/>
                <a:ea typeface="linea-basic-10"/>
                <a:cs typeface="linea-basic-10"/>
                <a:sym typeface="linea-basic-10"/>
              </a:defRPr>
            </a:lvl1pPr>
          </a:lstStyle>
          <a:p>
            <a:pPr marL="0" marR="0" lvl="0" indent="0" algn="ctr" defTabSz="457200" rtl="0" eaLnBrk="1" fontAlgn="auto" latinLnBrk="0" hangingPunct="0">
              <a:lnSpc>
                <a:spcPct val="150000"/>
              </a:lnSpc>
              <a:spcBef>
                <a:spcPts val="0"/>
              </a:spcBef>
              <a:spcAft>
                <a:spcPts val="0"/>
              </a:spcAft>
              <a:buClrTx/>
              <a:buSzTx/>
              <a:buFontTx/>
              <a:buNone/>
              <a:tabLst>
                <a:tab pos="692150" algn="l"/>
              </a:tabLst>
              <a:defRPr/>
            </a:pPr>
            <a:r>
              <a:rPr kumimoji="0" sz="2250" b="0" i="0" u="none" strike="noStrike" kern="0" cap="none" spc="0" normalizeH="0" baseline="0" noProof="0" dirty="0">
                <a:ln>
                  <a:noFill/>
                </a:ln>
                <a:solidFill>
                  <a:srgbClr val="F7F9FF"/>
                </a:solidFill>
                <a:effectLst/>
                <a:uLnTx/>
                <a:uFillTx/>
                <a:latin typeface="HarmonyOS Sans SC Black"/>
                <a:ea typeface="+mj-ea"/>
                <a:sym typeface="linea-basic-10"/>
              </a:rPr>
              <a:t>y</a:t>
            </a:r>
          </a:p>
        </p:txBody>
      </p:sp>
      <p:sp>
        <p:nvSpPr>
          <p:cNvPr id="5" name="Freeform 16">
            <a:extLst>
              <a:ext uri="{FF2B5EF4-FFF2-40B4-BE49-F238E27FC236}">
                <a16:creationId xmlns:a16="http://schemas.microsoft.com/office/drawing/2014/main" id="{18E891F2-8D37-4CFC-AD90-9C6A8D01461B}"/>
              </a:ext>
            </a:extLst>
          </p:cNvPr>
          <p:cNvSpPr/>
          <p:nvPr/>
        </p:nvSpPr>
        <p:spPr>
          <a:xfrm>
            <a:off x="6177437" y="1718231"/>
            <a:ext cx="1493204" cy="1337437"/>
          </a:xfrm>
          <a:custGeom>
            <a:avLst/>
            <a:gdLst/>
            <a:ahLst/>
            <a:cxnLst>
              <a:cxn ang="0">
                <a:pos x="wd2" y="hd2"/>
              </a:cxn>
              <a:cxn ang="5400000">
                <a:pos x="wd2" y="hd2"/>
              </a:cxn>
              <a:cxn ang="10800000">
                <a:pos x="wd2" y="hd2"/>
              </a:cxn>
              <a:cxn ang="16200000">
                <a:pos x="wd2" y="hd2"/>
              </a:cxn>
            </a:cxnLst>
            <a:rect l="0" t="0" r="r" b="b"/>
            <a:pathLst>
              <a:path w="21389" h="21324" extrusionOk="0">
                <a:moveTo>
                  <a:pt x="1334" y="13618"/>
                </a:moveTo>
                <a:cubicBezTo>
                  <a:pt x="4920" y="14408"/>
                  <a:pt x="7923" y="16916"/>
                  <a:pt x="9674" y="20354"/>
                </a:cubicBezTo>
                <a:cubicBezTo>
                  <a:pt x="10049" y="21097"/>
                  <a:pt x="10883" y="21515"/>
                  <a:pt x="11592" y="21236"/>
                </a:cubicBezTo>
                <a:cubicBezTo>
                  <a:pt x="20474" y="18031"/>
                  <a:pt x="20474" y="18031"/>
                  <a:pt x="20474" y="18031"/>
                </a:cubicBezTo>
                <a:cubicBezTo>
                  <a:pt x="21225" y="17752"/>
                  <a:pt x="21600" y="16916"/>
                  <a:pt x="21266" y="16127"/>
                </a:cubicBezTo>
                <a:cubicBezTo>
                  <a:pt x="17764" y="7347"/>
                  <a:pt x="10300" y="1030"/>
                  <a:pt x="1376" y="8"/>
                </a:cubicBezTo>
                <a:cubicBezTo>
                  <a:pt x="625" y="-85"/>
                  <a:pt x="0" y="612"/>
                  <a:pt x="0" y="1448"/>
                </a:cubicBezTo>
                <a:cubicBezTo>
                  <a:pt x="0" y="11853"/>
                  <a:pt x="0" y="11853"/>
                  <a:pt x="0" y="11853"/>
                </a:cubicBezTo>
                <a:cubicBezTo>
                  <a:pt x="0" y="12689"/>
                  <a:pt x="625" y="13432"/>
                  <a:pt x="1334" y="13618"/>
                </a:cubicBezTo>
                <a:close/>
              </a:path>
            </a:pathLst>
          </a:custGeom>
          <a:gradFill flip="none" rotWithShape="1">
            <a:gsLst>
              <a:gs pos="64000">
                <a:schemeClr val="accent1"/>
              </a:gs>
              <a:gs pos="31000">
                <a:schemeClr val="accent1">
                  <a:lumMod val="60000"/>
                  <a:lumOff val="40000"/>
                </a:schemeClr>
              </a:gs>
              <a:gs pos="0">
                <a:schemeClr val="accent1">
                  <a:lumMod val="40000"/>
                  <a:lumOff val="60000"/>
                </a:schemeClr>
              </a:gs>
            </a:gsLst>
            <a:lin ang="18900000" scaled="1"/>
            <a:tileRect/>
          </a:gradFill>
          <a:ln>
            <a:noFill/>
          </a:ln>
          <a:effectLst>
            <a:outerShdw blurRad="444500" dist="317500" dir="5400000" sx="92000" sy="92000" algn="t" rotWithShape="0">
              <a:schemeClr val="accent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white"/>
              </a:solidFill>
              <a:effectLst/>
              <a:uLnTx/>
              <a:uFillTx/>
              <a:latin typeface="HarmonyOS Sans SC Black"/>
              <a:ea typeface="+mj-ea"/>
              <a:cs typeface="+mn-cs"/>
              <a:sym typeface="Poppins Regular"/>
            </a:endParaRPr>
          </a:p>
        </p:txBody>
      </p:sp>
      <p:sp>
        <p:nvSpPr>
          <p:cNvPr id="6" name="P">
            <a:extLst>
              <a:ext uri="{FF2B5EF4-FFF2-40B4-BE49-F238E27FC236}">
                <a16:creationId xmlns:a16="http://schemas.microsoft.com/office/drawing/2014/main" id="{F5C9B9C0-E598-45FF-9129-AE929C2A5A4A}"/>
              </a:ext>
            </a:extLst>
          </p:cNvPr>
          <p:cNvSpPr txBox="1"/>
          <p:nvPr/>
        </p:nvSpPr>
        <p:spPr>
          <a:xfrm>
            <a:off x="6758824" y="2024194"/>
            <a:ext cx="189155" cy="461601"/>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numCol="1" anchor="ctr">
            <a:spAutoFit/>
          </a:bodyPr>
          <a:lstStyle>
            <a:lvl1pPr defTabSz="914400">
              <a:lnSpc>
                <a:spcPct val="150000"/>
              </a:lnSpc>
              <a:tabLst>
                <a:tab pos="1384300" algn="l"/>
              </a:tabLst>
              <a:defRPr sz="4500" b="0">
                <a:solidFill>
                  <a:srgbClr val="F7F9FF"/>
                </a:solidFill>
                <a:latin typeface="linea-basic-10"/>
                <a:ea typeface="linea-basic-10"/>
                <a:cs typeface="linea-basic-10"/>
                <a:sym typeface="linea-basic-10"/>
              </a:defRPr>
            </a:lvl1pPr>
          </a:lstStyle>
          <a:p>
            <a:pPr marL="0" marR="0" lvl="0" indent="0" algn="ctr" defTabSz="457200" rtl="0" eaLnBrk="1" fontAlgn="auto" latinLnBrk="0" hangingPunct="0">
              <a:lnSpc>
                <a:spcPct val="150000"/>
              </a:lnSpc>
              <a:spcBef>
                <a:spcPts val="0"/>
              </a:spcBef>
              <a:spcAft>
                <a:spcPts val="0"/>
              </a:spcAft>
              <a:buClrTx/>
              <a:buSzTx/>
              <a:buFontTx/>
              <a:buNone/>
              <a:tabLst>
                <a:tab pos="692150" algn="l"/>
              </a:tabLst>
              <a:defRPr/>
            </a:pPr>
            <a:r>
              <a:rPr kumimoji="0" sz="2250" b="0" i="0" u="none" strike="noStrike" kern="0" cap="none" spc="0" normalizeH="0" baseline="0" noProof="0" dirty="0">
                <a:ln>
                  <a:noFill/>
                </a:ln>
                <a:solidFill>
                  <a:srgbClr val="F7F9FF"/>
                </a:solidFill>
                <a:effectLst/>
                <a:uLnTx/>
                <a:uFillTx/>
                <a:latin typeface="HarmonyOS Sans SC Black"/>
                <a:ea typeface="+mj-ea"/>
                <a:sym typeface="linea-basic-10"/>
              </a:rPr>
              <a:t>P</a:t>
            </a:r>
          </a:p>
        </p:txBody>
      </p:sp>
      <p:sp>
        <p:nvSpPr>
          <p:cNvPr id="7" name="Freeform 18">
            <a:extLst>
              <a:ext uri="{FF2B5EF4-FFF2-40B4-BE49-F238E27FC236}">
                <a16:creationId xmlns:a16="http://schemas.microsoft.com/office/drawing/2014/main" id="{628C18AE-6D5D-4827-A695-E6A408540F9F}"/>
              </a:ext>
            </a:extLst>
          </p:cNvPr>
          <p:cNvSpPr/>
          <p:nvPr/>
        </p:nvSpPr>
        <p:spPr>
          <a:xfrm>
            <a:off x="6707350" y="2999183"/>
            <a:ext cx="1103151" cy="1725380"/>
          </a:xfrm>
          <a:custGeom>
            <a:avLst/>
            <a:gdLst/>
            <a:ahLst/>
            <a:cxnLst>
              <a:cxn ang="0">
                <a:pos x="wd2" y="hd2"/>
              </a:cxn>
              <a:cxn ang="5400000">
                <a:pos x="wd2" y="hd2"/>
              </a:cxn>
              <a:cxn ang="10800000">
                <a:pos x="wd2" y="hd2"/>
              </a:cxn>
              <a:cxn ang="16200000">
                <a:pos x="wd2" y="hd2"/>
              </a:cxn>
            </a:cxnLst>
            <a:rect l="0" t="0" r="r" b="b"/>
            <a:pathLst>
              <a:path w="21364" h="21275" extrusionOk="0">
                <a:moveTo>
                  <a:pt x="4896" y="4088"/>
                </a:moveTo>
                <a:cubicBezTo>
                  <a:pt x="4953" y="4447"/>
                  <a:pt x="5009" y="4843"/>
                  <a:pt x="5009" y="5274"/>
                </a:cubicBezTo>
                <a:cubicBezTo>
                  <a:pt x="5009" y="8041"/>
                  <a:pt x="3373" y="10593"/>
                  <a:pt x="610" y="12498"/>
                </a:cubicBezTo>
                <a:cubicBezTo>
                  <a:pt x="-67" y="13001"/>
                  <a:pt x="-236" y="13756"/>
                  <a:pt x="384" y="14295"/>
                </a:cubicBezTo>
                <a:cubicBezTo>
                  <a:pt x="7772" y="20800"/>
                  <a:pt x="7772" y="20800"/>
                  <a:pt x="7772" y="20800"/>
                </a:cubicBezTo>
                <a:cubicBezTo>
                  <a:pt x="8393" y="21339"/>
                  <a:pt x="9577" y="21447"/>
                  <a:pt x="10310" y="20980"/>
                </a:cubicBezTo>
                <a:cubicBezTo>
                  <a:pt x="17078" y="17134"/>
                  <a:pt x="21364" y="11528"/>
                  <a:pt x="21364" y="5274"/>
                </a:cubicBezTo>
                <a:cubicBezTo>
                  <a:pt x="21364" y="3729"/>
                  <a:pt x="21082" y="2255"/>
                  <a:pt x="20631" y="817"/>
                </a:cubicBezTo>
                <a:cubicBezTo>
                  <a:pt x="20405" y="206"/>
                  <a:pt x="19390" y="-153"/>
                  <a:pt x="18375" y="63"/>
                </a:cubicBezTo>
                <a:cubicBezTo>
                  <a:pt x="6362" y="2543"/>
                  <a:pt x="6362" y="2543"/>
                  <a:pt x="6362" y="2543"/>
                </a:cubicBezTo>
                <a:cubicBezTo>
                  <a:pt x="5404" y="2722"/>
                  <a:pt x="4783" y="3405"/>
                  <a:pt x="4896" y="4088"/>
                </a:cubicBezTo>
                <a:close/>
              </a:path>
            </a:pathLst>
          </a:custGeom>
          <a:gradFill flip="none" rotWithShape="1">
            <a:gsLst>
              <a:gs pos="64000">
                <a:schemeClr val="accent1"/>
              </a:gs>
              <a:gs pos="31000">
                <a:schemeClr val="accent1">
                  <a:lumMod val="60000"/>
                  <a:lumOff val="40000"/>
                </a:schemeClr>
              </a:gs>
              <a:gs pos="0">
                <a:schemeClr val="accent1">
                  <a:lumMod val="40000"/>
                  <a:lumOff val="60000"/>
                </a:schemeClr>
              </a:gs>
            </a:gsLst>
            <a:lin ang="18900000" scaled="1"/>
            <a:tileRect/>
          </a:gradFill>
          <a:ln>
            <a:noFill/>
          </a:ln>
          <a:effectLst>
            <a:outerShdw blurRad="444500" dist="317500" dir="5400000" sx="92000" sy="92000" algn="t" rotWithShape="0">
              <a:schemeClr val="accent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white"/>
              </a:solidFill>
              <a:effectLst/>
              <a:uLnTx/>
              <a:uFillTx/>
              <a:latin typeface="HarmonyOS Sans SC Black"/>
              <a:ea typeface="+mj-ea"/>
              <a:cs typeface="+mn-cs"/>
              <a:sym typeface="Poppins Regular"/>
            </a:endParaRPr>
          </a:p>
        </p:txBody>
      </p:sp>
      <p:sp>
        <p:nvSpPr>
          <p:cNvPr id="8" name="`">
            <a:extLst>
              <a:ext uri="{FF2B5EF4-FFF2-40B4-BE49-F238E27FC236}">
                <a16:creationId xmlns:a16="http://schemas.microsoft.com/office/drawing/2014/main" id="{CA623919-9E15-4373-BA6E-1E205C3EF652}"/>
              </a:ext>
            </a:extLst>
          </p:cNvPr>
          <p:cNvSpPr txBox="1"/>
          <p:nvPr/>
        </p:nvSpPr>
        <p:spPr>
          <a:xfrm>
            <a:off x="7413959" y="3631073"/>
            <a:ext cx="105798" cy="461601"/>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numCol="1" anchor="ctr">
            <a:spAutoFit/>
          </a:bodyPr>
          <a:lstStyle>
            <a:lvl1pPr defTabSz="914400">
              <a:lnSpc>
                <a:spcPct val="150000"/>
              </a:lnSpc>
              <a:tabLst>
                <a:tab pos="1384300" algn="l"/>
              </a:tabLst>
              <a:defRPr sz="4500" b="0">
                <a:solidFill>
                  <a:srgbClr val="F7F9FF"/>
                </a:solidFill>
                <a:latin typeface="linea-basic-10"/>
                <a:ea typeface="linea-basic-10"/>
                <a:cs typeface="linea-basic-10"/>
                <a:sym typeface="linea-basic-10"/>
              </a:defRPr>
            </a:lvl1pPr>
          </a:lstStyle>
          <a:p>
            <a:pPr marL="0" marR="0" lvl="0" indent="0" algn="ctr" defTabSz="457200" rtl="0" eaLnBrk="1" fontAlgn="auto" latinLnBrk="0" hangingPunct="0">
              <a:lnSpc>
                <a:spcPct val="150000"/>
              </a:lnSpc>
              <a:spcBef>
                <a:spcPts val="0"/>
              </a:spcBef>
              <a:spcAft>
                <a:spcPts val="0"/>
              </a:spcAft>
              <a:buClrTx/>
              <a:buSzTx/>
              <a:buFontTx/>
              <a:buNone/>
              <a:tabLst>
                <a:tab pos="692150" algn="l"/>
              </a:tabLst>
              <a:defRPr/>
            </a:pPr>
            <a:r>
              <a:rPr kumimoji="0" sz="2250" b="0" i="0" u="none" strike="noStrike" kern="0" cap="none" spc="0" normalizeH="0" baseline="0" noProof="0" dirty="0">
                <a:ln>
                  <a:noFill/>
                </a:ln>
                <a:solidFill>
                  <a:srgbClr val="F7F9FF"/>
                </a:solidFill>
                <a:effectLst/>
                <a:uLnTx/>
                <a:uFillTx/>
                <a:latin typeface="HarmonyOS Sans SC Black"/>
                <a:ea typeface="+mj-ea"/>
                <a:sym typeface="linea-basic-10"/>
              </a:rPr>
              <a:t>`</a:t>
            </a:r>
          </a:p>
        </p:txBody>
      </p:sp>
      <p:sp>
        <p:nvSpPr>
          <p:cNvPr id="9" name="Freeform 19">
            <a:extLst>
              <a:ext uri="{FF2B5EF4-FFF2-40B4-BE49-F238E27FC236}">
                <a16:creationId xmlns:a16="http://schemas.microsoft.com/office/drawing/2014/main" id="{6142ACF5-69F3-4ACB-B1A3-B0DBEDE66F87}"/>
              </a:ext>
            </a:extLst>
          </p:cNvPr>
          <p:cNvSpPr/>
          <p:nvPr/>
        </p:nvSpPr>
        <p:spPr>
          <a:xfrm>
            <a:off x="5194168" y="4209848"/>
            <a:ext cx="1803664" cy="929921"/>
          </a:xfrm>
          <a:custGeom>
            <a:avLst/>
            <a:gdLst/>
            <a:ahLst/>
            <a:cxnLst>
              <a:cxn ang="0">
                <a:pos x="wd2" y="hd2"/>
              </a:cxn>
              <a:cxn ang="5400000">
                <a:pos x="wd2" y="hd2"/>
              </a:cxn>
              <a:cxn ang="10800000">
                <a:pos x="wd2" y="hd2"/>
              </a:cxn>
              <a:cxn ang="16200000">
                <a:pos x="wd2" y="hd2"/>
              </a:cxn>
            </a:cxnLst>
            <a:rect l="0" t="0" r="r" b="b"/>
            <a:pathLst>
              <a:path w="21309" h="21355" extrusionOk="0">
                <a:moveTo>
                  <a:pt x="14885" y="223"/>
                </a:moveTo>
                <a:cubicBezTo>
                  <a:pt x="13612" y="1360"/>
                  <a:pt x="12167" y="2029"/>
                  <a:pt x="10654" y="2029"/>
                </a:cubicBezTo>
                <a:cubicBezTo>
                  <a:pt x="9141" y="2029"/>
                  <a:pt x="7696" y="1360"/>
                  <a:pt x="6423" y="223"/>
                </a:cubicBezTo>
                <a:cubicBezTo>
                  <a:pt x="5839" y="-245"/>
                  <a:pt x="5116" y="22"/>
                  <a:pt x="4738" y="1026"/>
                </a:cubicBezTo>
                <a:cubicBezTo>
                  <a:pt x="198" y="13130"/>
                  <a:pt x="198" y="13130"/>
                  <a:pt x="198" y="13130"/>
                </a:cubicBezTo>
                <a:cubicBezTo>
                  <a:pt x="-146" y="14066"/>
                  <a:pt x="-43" y="15470"/>
                  <a:pt x="508" y="16072"/>
                </a:cubicBezTo>
                <a:cubicBezTo>
                  <a:pt x="3500" y="19416"/>
                  <a:pt x="6939" y="21355"/>
                  <a:pt x="10654" y="21355"/>
                </a:cubicBezTo>
                <a:cubicBezTo>
                  <a:pt x="14369" y="21355"/>
                  <a:pt x="17808" y="19416"/>
                  <a:pt x="20800" y="16072"/>
                </a:cubicBezTo>
                <a:cubicBezTo>
                  <a:pt x="21351" y="15470"/>
                  <a:pt x="21454" y="14066"/>
                  <a:pt x="21110" y="13130"/>
                </a:cubicBezTo>
                <a:cubicBezTo>
                  <a:pt x="16570" y="1026"/>
                  <a:pt x="16570" y="1026"/>
                  <a:pt x="16570" y="1026"/>
                </a:cubicBezTo>
                <a:cubicBezTo>
                  <a:pt x="16192" y="22"/>
                  <a:pt x="15469" y="-245"/>
                  <a:pt x="14885" y="223"/>
                </a:cubicBezTo>
                <a:close/>
              </a:path>
            </a:pathLst>
          </a:custGeom>
          <a:gradFill flip="none" rotWithShape="1">
            <a:gsLst>
              <a:gs pos="64000">
                <a:schemeClr val="accent1"/>
              </a:gs>
              <a:gs pos="31000">
                <a:schemeClr val="accent1">
                  <a:lumMod val="60000"/>
                  <a:lumOff val="40000"/>
                </a:schemeClr>
              </a:gs>
              <a:gs pos="0">
                <a:schemeClr val="accent1">
                  <a:lumMod val="40000"/>
                  <a:lumOff val="60000"/>
                </a:schemeClr>
              </a:gs>
            </a:gsLst>
            <a:lin ang="18900000" scaled="1"/>
            <a:tileRect/>
          </a:gradFill>
          <a:ln>
            <a:noFill/>
          </a:ln>
          <a:effectLst>
            <a:outerShdw blurRad="444500" dist="317500" dir="5400000" sx="92000" sy="92000" algn="t" rotWithShape="0">
              <a:schemeClr val="accent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white"/>
              </a:solidFill>
              <a:effectLst/>
              <a:uLnTx/>
              <a:uFillTx/>
              <a:latin typeface="HarmonyOS Sans SC Black"/>
              <a:ea typeface="+mj-ea"/>
              <a:cs typeface="+mn-cs"/>
              <a:sym typeface="Poppins Regular"/>
            </a:endParaRPr>
          </a:p>
        </p:txBody>
      </p:sp>
      <p:sp>
        <p:nvSpPr>
          <p:cNvPr id="10" name="#">
            <a:extLst>
              <a:ext uri="{FF2B5EF4-FFF2-40B4-BE49-F238E27FC236}">
                <a16:creationId xmlns:a16="http://schemas.microsoft.com/office/drawing/2014/main" id="{153B47D3-0434-4E4A-869D-375EA68455F7}"/>
              </a:ext>
            </a:extLst>
          </p:cNvPr>
          <p:cNvSpPr txBox="1"/>
          <p:nvPr/>
        </p:nvSpPr>
        <p:spPr>
          <a:xfrm>
            <a:off x="5993408" y="4593097"/>
            <a:ext cx="205185" cy="461601"/>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numCol="1" anchor="ctr">
            <a:spAutoFit/>
          </a:bodyPr>
          <a:lstStyle>
            <a:lvl1pPr defTabSz="914400">
              <a:lnSpc>
                <a:spcPct val="150000"/>
              </a:lnSpc>
              <a:tabLst>
                <a:tab pos="1384300" algn="l"/>
              </a:tabLst>
              <a:defRPr sz="4500" b="0">
                <a:solidFill>
                  <a:srgbClr val="F7F9FF"/>
                </a:solidFill>
                <a:latin typeface="linea-basic-10"/>
                <a:ea typeface="linea-basic-10"/>
                <a:cs typeface="linea-basic-10"/>
                <a:sym typeface="linea-basic-10"/>
              </a:defRPr>
            </a:lvl1pPr>
          </a:lstStyle>
          <a:p>
            <a:pPr marL="0" marR="0" lvl="0" indent="0" algn="ctr" defTabSz="457200" rtl="0" eaLnBrk="1" fontAlgn="auto" latinLnBrk="0" hangingPunct="0">
              <a:lnSpc>
                <a:spcPct val="150000"/>
              </a:lnSpc>
              <a:spcBef>
                <a:spcPts val="0"/>
              </a:spcBef>
              <a:spcAft>
                <a:spcPts val="0"/>
              </a:spcAft>
              <a:buClrTx/>
              <a:buSzTx/>
              <a:buFontTx/>
              <a:buNone/>
              <a:tabLst>
                <a:tab pos="692150" algn="l"/>
              </a:tabLst>
              <a:defRPr/>
            </a:pPr>
            <a:r>
              <a:rPr kumimoji="0" sz="2250" b="0" i="0" u="none" strike="noStrike" kern="0" cap="none" spc="0" normalizeH="0" baseline="0" noProof="0" dirty="0">
                <a:ln>
                  <a:noFill/>
                </a:ln>
                <a:solidFill>
                  <a:srgbClr val="F7F9FF"/>
                </a:solidFill>
                <a:effectLst/>
                <a:uLnTx/>
                <a:uFillTx/>
                <a:latin typeface="HarmonyOS Sans SC Black"/>
                <a:ea typeface="+mj-ea"/>
                <a:sym typeface="linea-basic-10"/>
              </a:rPr>
              <a:t>#</a:t>
            </a:r>
          </a:p>
        </p:txBody>
      </p:sp>
      <p:sp>
        <p:nvSpPr>
          <p:cNvPr id="11" name="Freeform 20">
            <a:extLst>
              <a:ext uri="{FF2B5EF4-FFF2-40B4-BE49-F238E27FC236}">
                <a16:creationId xmlns:a16="http://schemas.microsoft.com/office/drawing/2014/main" id="{E39D8F95-1CA0-4A3C-9B56-956BAC508392}"/>
              </a:ext>
            </a:extLst>
          </p:cNvPr>
          <p:cNvSpPr/>
          <p:nvPr/>
        </p:nvSpPr>
        <p:spPr>
          <a:xfrm>
            <a:off x="4381500" y="2997615"/>
            <a:ext cx="1102085" cy="1726948"/>
          </a:xfrm>
          <a:custGeom>
            <a:avLst/>
            <a:gdLst/>
            <a:ahLst/>
            <a:cxnLst>
              <a:cxn ang="0">
                <a:pos x="wd2" y="hd2"/>
              </a:cxn>
              <a:cxn ang="5400000">
                <a:pos x="wd2" y="hd2"/>
              </a:cxn>
              <a:cxn ang="10800000">
                <a:pos x="wd2" y="hd2"/>
              </a:cxn>
              <a:cxn ang="16200000">
                <a:pos x="wd2" y="hd2"/>
              </a:cxn>
            </a:cxnLst>
            <a:rect l="0" t="0" r="r" b="b"/>
            <a:pathLst>
              <a:path w="21364" h="21295" extrusionOk="0">
                <a:moveTo>
                  <a:pt x="20754" y="12518"/>
                </a:moveTo>
                <a:cubicBezTo>
                  <a:pt x="17991" y="10613"/>
                  <a:pt x="16355" y="8061"/>
                  <a:pt x="16355" y="5294"/>
                </a:cubicBezTo>
                <a:cubicBezTo>
                  <a:pt x="16355" y="4863"/>
                  <a:pt x="16411" y="4467"/>
                  <a:pt x="16468" y="4108"/>
                </a:cubicBezTo>
                <a:cubicBezTo>
                  <a:pt x="16581" y="3425"/>
                  <a:pt x="15960" y="2742"/>
                  <a:pt x="15002" y="2563"/>
                </a:cubicBezTo>
                <a:cubicBezTo>
                  <a:pt x="2989" y="47"/>
                  <a:pt x="2989" y="47"/>
                  <a:pt x="2989" y="47"/>
                </a:cubicBezTo>
                <a:cubicBezTo>
                  <a:pt x="1974" y="-133"/>
                  <a:pt x="959" y="226"/>
                  <a:pt x="733" y="837"/>
                </a:cubicBezTo>
                <a:cubicBezTo>
                  <a:pt x="282" y="2275"/>
                  <a:pt x="0" y="3749"/>
                  <a:pt x="0" y="5294"/>
                </a:cubicBezTo>
                <a:cubicBezTo>
                  <a:pt x="0" y="11548"/>
                  <a:pt x="4286" y="17154"/>
                  <a:pt x="11054" y="21000"/>
                </a:cubicBezTo>
                <a:cubicBezTo>
                  <a:pt x="11787" y="21467"/>
                  <a:pt x="12971" y="21359"/>
                  <a:pt x="13592" y="20820"/>
                </a:cubicBezTo>
                <a:cubicBezTo>
                  <a:pt x="20980" y="14315"/>
                  <a:pt x="20980" y="14315"/>
                  <a:pt x="20980" y="14315"/>
                </a:cubicBezTo>
                <a:cubicBezTo>
                  <a:pt x="21600" y="13776"/>
                  <a:pt x="21431" y="13021"/>
                  <a:pt x="20754" y="12518"/>
                </a:cubicBezTo>
                <a:close/>
              </a:path>
            </a:pathLst>
          </a:custGeom>
          <a:gradFill flip="none" rotWithShape="1">
            <a:gsLst>
              <a:gs pos="64000">
                <a:schemeClr val="accent1"/>
              </a:gs>
              <a:gs pos="31000">
                <a:schemeClr val="accent1">
                  <a:lumMod val="60000"/>
                  <a:lumOff val="40000"/>
                </a:schemeClr>
              </a:gs>
              <a:gs pos="0">
                <a:schemeClr val="accent1">
                  <a:lumMod val="40000"/>
                  <a:lumOff val="60000"/>
                </a:schemeClr>
              </a:gs>
            </a:gsLst>
            <a:lin ang="18900000" scaled="1"/>
            <a:tileRect/>
          </a:gradFill>
          <a:ln>
            <a:noFill/>
          </a:ln>
          <a:effectLst>
            <a:outerShdw blurRad="444500" dist="317500" dir="5400000" sx="92000" sy="92000" algn="t" rotWithShape="0">
              <a:schemeClr val="accent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white"/>
              </a:solidFill>
              <a:effectLst/>
              <a:uLnTx/>
              <a:uFillTx/>
              <a:latin typeface="HarmonyOS Sans SC Black"/>
              <a:ea typeface="+mj-ea"/>
              <a:cs typeface="+mn-cs"/>
              <a:sym typeface="Poppins Regular"/>
            </a:endParaRPr>
          </a:p>
        </p:txBody>
      </p:sp>
      <p:sp>
        <p:nvSpPr>
          <p:cNvPr id="12" name="7">
            <a:extLst>
              <a:ext uri="{FF2B5EF4-FFF2-40B4-BE49-F238E27FC236}">
                <a16:creationId xmlns:a16="http://schemas.microsoft.com/office/drawing/2014/main" id="{19986B60-B72E-4D6F-ACDC-518F398DD512}"/>
              </a:ext>
            </a:extLst>
          </p:cNvPr>
          <p:cNvSpPr txBox="1"/>
          <p:nvPr/>
        </p:nvSpPr>
        <p:spPr>
          <a:xfrm>
            <a:off x="4636178" y="3631073"/>
            <a:ext cx="177934" cy="461601"/>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numCol="1" anchor="ctr">
            <a:spAutoFit/>
          </a:bodyPr>
          <a:lstStyle>
            <a:lvl1pPr defTabSz="914400">
              <a:lnSpc>
                <a:spcPct val="150000"/>
              </a:lnSpc>
              <a:tabLst>
                <a:tab pos="1384300" algn="l"/>
              </a:tabLst>
              <a:defRPr sz="4500" b="0">
                <a:solidFill>
                  <a:srgbClr val="F7F9FF"/>
                </a:solidFill>
                <a:latin typeface="linea-basic-10"/>
                <a:ea typeface="linea-basic-10"/>
                <a:cs typeface="linea-basic-10"/>
                <a:sym typeface="linea-basic-10"/>
              </a:defRPr>
            </a:lvl1pPr>
          </a:lstStyle>
          <a:p>
            <a:pPr marL="0" marR="0" lvl="0" indent="0" algn="ctr" defTabSz="457200" rtl="0" eaLnBrk="1" fontAlgn="auto" latinLnBrk="0" hangingPunct="0">
              <a:lnSpc>
                <a:spcPct val="150000"/>
              </a:lnSpc>
              <a:spcBef>
                <a:spcPts val="0"/>
              </a:spcBef>
              <a:spcAft>
                <a:spcPts val="0"/>
              </a:spcAft>
              <a:buClrTx/>
              <a:buSzTx/>
              <a:buFontTx/>
              <a:buNone/>
              <a:tabLst>
                <a:tab pos="692150" algn="l"/>
              </a:tabLst>
              <a:defRPr/>
            </a:pPr>
            <a:r>
              <a:rPr kumimoji="0" sz="2250" b="0" i="0" u="none" strike="noStrike" kern="0" cap="none" spc="0" normalizeH="0" baseline="0" noProof="0" dirty="0">
                <a:ln>
                  <a:noFill/>
                </a:ln>
                <a:solidFill>
                  <a:srgbClr val="F7F9FF"/>
                </a:solidFill>
                <a:effectLst/>
                <a:uLnTx/>
                <a:uFillTx/>
                <a:latin typeface="HarmonyOS Sans SC Black"/>
                <a:ea typeface="+mj-ea"/>
                <a:sym typeface="linea-basic-10"/>
              </a:rPr>
              <a:t>7</a:t>
            </a:r>
          </a:p>
        </p:txBody>
      </p:sp>
      <p:sp>
        <p:nvSpPr>
          <p:cNvPr id="16" name="Circle">
            <a:extLst>
              <a:ext uri="{FF2B5EF4-FFF2-40B4-BE49-F238E27FC236}">
                <a16:creationId xmlns:a16="http://schemas.microsoft.com/office/drawing/2014/main" id="{A576AAC5-05D6-403D-B329-F256BAE011A9}"/>
              </a:ext>
            </a:extLst>
          </p:cNvPr>
          <p:cNvSpPr/>
          <p:nvPr/>
        </p:nvSpPr>
        <p:spPr>
          <a:xfrm>
            <a:off x="4921994" y="2254994"/>
            <a:ext cx="2348012" cy="2348012"/>
          </a:xfrm>
          <a:prstGeom prst="ellipse">
            <a:avLst/>
          </a:prstGeom>
          <a:solidFill>
            <a:schemeClr val="bg1"/>
          </a:solidFill>
          <a:ln w="12700">
            <a:miter lim="400000"/>
          </a:ln>
        </p:spPr>
        <p:txBody>
          <a:bodyPr lIns="0" tIns="0" rIns="0" bIns="0" anchor="ctr"/>
          <a:lstStyle/>
          <a:p>
            <a:pPr marL="0" marR="0" lvl="0" indent="0" algn="ctr" defTabSz="412750" rtl="0" eaLnBrk="1" fontAlgn="auto" latinLnBrk="0" hangingPunct="0">
              <a:lnSpc>
                <a:spcPct val="100000"/>
              </a:lnSpc>
              <a:spcBef>
                <a:spcPts val="500"/>
              </a:spcBef>
              <a:spcAft>
                <a:spcPts val="0"/>
              </a:spcAft>
              <a:buClrTx/>
              <a:buSzTx/>
              <a:buFontTx/>
              <a:buNone/>
              <a:tabLst/>
              <a:defRPr sz="2400" b="0">
                <a:solidFill>
                  <a:srgbClr val="F6F9FF"/>
                </a:solidFill>
                <a:latin typeface="Poppins Bold"/>
                <a:ea typeface="Poppins Bold"/>
                <a:cs typeface="Poppins Bold"/>
                <a:sym typeface="Poppins Bold"/>
              </a:defRPr>
            </a:pPr>
            <a:r>
              <a:rPr kumimoji="0" lang="en-US" sz="3200" b="0" i="0" u="none" strike="noStrike" kern="0" cap="none" spc="0" normalizeH="0" baseline="0" noProof="0" dirty="0">
                <a:ln>
                  <a:noFill/>
                </a:ln>
                <a:solidFill>
                  <a:prstClr val="black">
                    <a:lumMod val="75000"/>
                    <a:lumOff val="25000"/>
                  </a:prstClr>
                </a:solidFill>
                <a:effectLst/>
                <a:uLnTx/>
                <a:uFillTx/>
                <a:latin typeface="HarmonyOS Sans SC Black"/>
                <a:ea typeface="+mj-ea"/>
                <a:cs typeface="Poppins Bold"/>
                <a:sym typeface="Poppins Bold"/>
              </a:rPr>
              <a:t>Process</a:t>
            </a:r>
          </a:p>
          <a:p>
            <a:pPr marL="0" marR="0" lvl="0" indent="0" algn="ctr" defTabSz="412750" rtl="0" eaLnBrk="1" fontAlgn="auto" latinLnBrk="0" hangingPunct="0">
              <a:lnSpc>
                <a:spcPct val="100000"/>
              </a:lnSpc>
              <a:spcBef>
                <a:spcPts val="500"/>
              </a:spcBef>
              <a:spcAft>
                <a:spcPts val="0"/>
              </a:spcAft>
              <a:buClrTx/>
              <a:buSzTx/>
              <a:buFontTx/>
              <a:buNone/>
              <a:tabLst/>
              <a:defRPr sz="1800" b="0">
                <a:solidFill>
                  <a:srgbClr val="C8CBD1"/>
                </a:solidFill>
                <a:latin typeface="Poppins Light"/>
                <a:ea typeface="Poppins Light"/>
                <a:cs typeface="Poppins Light"/>
                <a:sym typeface="Poppins Light"/>
              </a:defRPr>
            </a:pPr>
            <a:r>
              <a:rPr kumimoji="0" lang="en-US" sz="1400" b="0" i="0" u="none" strike="noStrike" kern="0" cap="none" spc="0" normalizeH="0" baseline="0" noProof="0" dirty="0">
                <a:ln>
                  <a:noFill/>
                </a:ln>
                <a:solidFill>
                  <a:prstClr val="black">
                    <a:lumMod val="75000"/>
                    <a:lumOff val="25000"/>
                  </a:prstClr>
                </a:solidFill>
                <a:effectLst/>
                <a:uLnTx/>
                <a:uFillTx/>
                <a:latin typeface="HarmonyOS Sans SC Black"/>
                <a:ea typeface="+mj-ea"/>
                <a:cs typeface="Poppins Light"/>
                <a:sym typeface="Poppins Light"/>
              </a:rPr>
              <a:t>Main Department</a:t>
            </a:r>
          </a:p>
        </p:txBody>
      </p:sp>
      <p:sp>
        <p:nvSpPr>
          <p:cNvPr id="19" name="Uniquely incubate timely infomediaries and B2C…">
            <a:extLst>
              <a:ext uri="{FF2B5EF4-FFF2-40B4-BE49-F238E27FC236}">
                <a16:creationId xmlns:a16="http://schemas.microsoft.com/office/drawing/2014/main" id="{5F4602A0-A9A9-44B8-8D56-F30A99D312BA}"/>
              </a:ext>
            </a:extLst>
          </p:cNvPr>
          <p:cNvSpPr txBox="1"/>
          <p:nvPr/>
        </p:nvSpPr>
        <p:spPr>
          <a:xfrm>
            <a:off x="8671585" y="2921428"/>
            <a:ext cx="2906245" cy="81137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nchor="t">
            <a:spAutoFit/>
          </a:bodyPr>
          <a:lstStyle/>
          <a:p>
            <a:pPr marL="0" marR="0" lvl="0" indent="0" algn="l" defTabSz="412750" rtl="0" eaLnBrk="1" fontAlgn="auto" latinLnBrk="0" hangingPunct="0">
              <a:lnSpc>
                <a:spcPct val="150000"/>
              </a:lnSpc>
              <a:spcBef>
                <a:spcPts val="500"/>
              </a:spcBef>
              <a:spcAft>
                <a:spcPts val="0"/>
              </a:spcAft>
              <a:buClrTx/>
              <a:buSzTx/>
              <a:buFontTx/>
              <a:buNone/>
              <a:tabLst/>
              <a:defRPr sz="1800" b="0">
                <a:solidFill>
                  <a:srgbClr val="C8CBD1"/>
                </a:solidFill>
                <a:latin typeface="Poppins Light"/>
                <a:ea typeface="Poppins Light"/>
                <a:cs typeface="Poppins Light"/>
                <a:sym typeface="Poppins Light"/>
              </a:defRPr>
            </a:pPr>
            <a:r>
              <a:rPr kumimoji="0" sz="900" b="0" i="0" u="none" strike="noStrike" kern="0" cap="none" spc="0" normalizeH="0" baseline="0" noProof="0" dirty="0">
                <a:ln>
                  <a:noFill/>
                </a:ln>
                <a:solidFill>
                  <a:prstClr val="black">
                    <a:lumMod val="50000"/>
                    <a:lumOff val="50000"/>
                  </a:prstClr>
                </a:solidFill>
                <a:effectLst/>
                <a:uLnTx/>
                <a:uFillTx/>
                <a:latin typeface="HarmonyOS Sans SC"/>
                <a:cs typeface="Poppins Light"/>
                <a:sym typeface="Poppins Light"/>
              </a:rPr>
              <a:t>Uniquely incubate timely infomediaries and B2C infomediaries. The collaboratively scale frictionless methods of empowerment vis-a-vis future-proof meta-services.</a:t>
            </a:r>
          </a:p>
        </p:txBody>
      </p:sp>
      <p:cxnSp>
        <p:nvCxnSpPr>
          <p:cNvPr id="20" name="Straight Connector 18">
            <a:extLst>
              <a:ext uri="{FF2B5EF4-FFF2-40B4-BE49-F238E27FC236}">
                <a16:creationId xmlns:a16="http://schemas.microsoft.com/office/drawing/2014/main" id="{F20A20AE-B421-4547-8BD8-4665EEFA3C4A}"/>
              </a:ext>
            </a:extLst>
          </p:cNvPr>
          <p:cNvCxnSpPr/>
          <p:nvPr/>
        </p:nvCxnSpPr>
        <p:spPr>
          <a:xfrm>
            <a:off x="8671213" y="2554100"/>
            <a:ext cx="347400" cy="0"/>
          </a:xfrm>
          <a:prstGeom prst="line">
            <a:avLst/>
          </a:prstGeom>
          <a:noFill/>
          <a:ln w="25400" cap="flat">
            <a:solidFill>
              <a:schemeClr val="accent1"/>
            </a:solidFill>
            <a:prstDash val="solid"/>
            <a:miter lim="400000"/>
          </a:ln>
          <a:effectLst/>
          <a:sp3d/>
        </p:spPr>
        <p:style>
          <a:lnRef idx="0">
            <a:scrgbClr r="0" g="0" b="0"/>
          </a:lnRef>
          <a:fillRef idx="0">
            <a:scrgbClr r="0" g="0" b="0"/>
          </a:fillRef>
          <a:effectRef idx="0">
            <a:scrgbClr r="0" g="0" b="0"/>
          </a:effectRef>
          <a:fontRef idx="none"/>
        </p:style>
      </p:cxnSp>
      <p:sp>
        <p:nvSpPr>
          <p:cNvPr id="21" name="文本框 20">
            <a:extLst>
              <a:ext uri="{FF2B5EF4-FFF2-40B4-BE49-F238E27FC236}">
                <a16:creationId xmlns:a16="http://schemas.microsoft.com/office/drawing/2014/main" id="{3738462E-6C96-413C-AA3E-6C8736409808}"/>
              </a:ext>
            </a:extLst>
          </p:cNvPr>
          <p:cNvSpPr txBox="1"/>
          <p:nvPr/>
        </p:nvSpPr>
        <p:spPr>
          <a:xfrm>
            <a:off x="950412" y="3242782"/>
            <a:ext cx="2730235" cy="83099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2400" b="0" i="0" u="none" strike="noStrike" kern="1200" cap="none" spc="0" normalizeH="0" baseline="0" noProof="0" dirty="0">
                <a:ln>
                  <a:noFill/>
                </a:ln>
                <a:solidFill>
                  <a:schemeClr val="accent1"/>
                </a:solidFill>
                <a:effectLst/>
                <a:uLnTx/>
                <a:uFillTx/>
                <a:latin typeface="HarmonyOS Sans Black"/>
                <a:ea typeface="+mj-ea"/>
                <a:cs typeface="+mn-cs"/>
              </a:rPr>
              <a:t>Infographic</a:t>
            </a:r>
            <a:r>
              <a:rPr kumimoji="0" lang="en-US" altLang="zh-CN" sz="2400" b="0" i="0" u="none" strike="noStrike" kern="1200" cap="none" spc="0" normalizeH="0" baseline="0" noProof="0" dirty="0">
                <a:ln>
                  <a:noFill/>
                </a:ln>
                <a:solidFill>
                  <a:prstClr val="black"/>
                </a:solidFill>
                <a:effectLst/>
                <a:uLnTx/>
                <a:uFillTx/>
                <a:latin typeface="HarmonyOS Sans Black"/>
                <a:ea typeface="+mj-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2400" b="0" i="0" u="none" strike="noStrike" kern="1200" cap="none" spc="0" normalizeH="0" baseline="0" noProof="0" dirty="0">
                <a:ln>
                  <a:noFill/>
                </a:ln>
                <a:solidFill>
                  <a:prstClr val="black"/>
                </a:solidFill>
                <a:effectLst/>
                <a:uLnTx/>
                <a:uFillTx/>
                <a:latin typeface="HarmonyOS Sans Black"/>
                <a:ea typeface="+mj-ea"/>
                <a:cs typeface="+mn-cs"/>
              </a:rPr>
              <a:t>Element Analysis</a:t>
            </a:r>
          </a:p>
        </p:txBody>
      </p:sp>
      <p:sp>
        <p:nvSpPr>
          <p:cNvPr id="22" name="文本框 21">
            <a:extLst>
              <a:ext uri="{FF2B5EF4-FFF2-40B4-BE49-F238E27FC236}">
                <a16:creationId xmlns:a16="http://schemas.microsoft.com/office/drawing/2014/main" id="{CEB00FD9-7771-48EC-838E-E48CB8D2F3A1}"/>
              </a:ext>
            </a:extLst>
          </p:cNvPr>
          <p:cNvSpPr txBox="1"/>
          <p:nvPr/>
        </p:nvSpPr>
        <p:spPr>
          <a:xfrm>
            <a:off x="950412" y="4205382"/>
            <a:ext cx="2739853"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050" b="0" i="0" u="none" strike="noStrike" kern="1200" cap="none" spc="0" normalizeH="0" baseline="0" noProof="0" dirty="0">
                <a:ln>
                  <a:noFill/>
                </a:ln>
                <a:solidFill>
                  <a:prstClr val="black">
                    <a:lumMod val="50000"/>
                    <a:lumOff val="50000"/>
                  </a:prstClr>
                </a:solidFill>
                <a:effectLst/>
                <a:uLnTx/>
                <a:uFillTx/>
                <a:latin typeface="HarmonyOS Sans SC"/>
                <a:cs typeface="+mn-cs"/>
              </a:rPr>
              <a:t>Motion Creative Multipurpose Template</a:t>
            </a:r>
          </a:p>
        </p:txBody>
      </p:sp>
      <p:sp>
        <p:nvSpPr>
          <p:cNvPr id="23" name="80%…">
            <a:extLst>
              <a:ext uri="{FF2B5EF4-FFF2-40B4-BE49-F238E27FC236}">
                <a16:creationId xmlns:a16="http://schemas.microsoft.com/office/drawing/2014/main" id="{9A993768-0D29-4E07-9889-1EB9B9DCA386}"/>
              </a:ext>
            </a:extLst>
          </p:cNvPr>
          <p:cNvSpPr txBox="1"/>
          <p:nvPr/>
        </p:nvSpPr>
        <p:spPr>
          <a:xfrm>
            <a:off x="8671213" y="4100788"/>
            <a:ext cx="629632" cy="32829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nchor="t">
            <a:spAutoFit/>
          </a:bodyPr>
          <a:lstStyle/>
          <a:p>
            <a:pPr marL="0" marR="0" lvl="0" indent="0" algn="l" defTabSz="412750" rtl="0" eaLnBrk="1" fontAlgn="auto" latinLnBrk="0" hangingPunct="0">
              <a:lnSpc>
                <a:spcPct val="150000"/>
              </a:lnSpc>
              <a:spcBef>
                <a:spcPts val="0"/>
              </a:spcBef>
              <a:spcAft>
                <a:spcPts val="0"/>
              </a:spcAft>
              <a:buClrTx/>
              <a:buSzTx/>
              <a:buFontTx/>
              <a:buNone/>
              <a:tabLst/>
              <a:defRPr sz="2400" b="0">
                <a:solidFill>
                  <a:srgbClr val="F6F9FF"/>
                </a:solidFill>
                <a:latin typeface="Poppins Bold"/>
                <a:ea typeface="Poppins Bold"/>
                <a:cs typeface="Poppins Bold"/>
                <a:sym typeface="Poppins Bold"/>
              </a:defRPr>
            </a:pPr>
            <a:r>
              <a:rPr kumimoji="0" sz="1600" b="0" i="0" u="none" strike="noStrike" kern="0" cap="none" spc="0" normalizeH="0" baseline="0" noProof="0" dirty="0">
                <a:ln>
                  <a:noFill/>
                </a:ln>
                <a:solidFill>
                  <a:schemeClr val="accent1"/>
                </a:solidFill>
                <a:effectLst/>
                <a:uLnTx/>
                <a:uFillTx/>
                <a:latin typeface="HarmonyOS Sans SC Black"/>
                <a:ea typeface="+mj-ea"/>
                <a:cs typeface="Poppins Bold"/>
                <a:sym typeface="Poppins Bold"/>
              </a:rPr>
              <a:t>80%</a:t>
            </a:r>
            <a:endParaRPr kumimoji="0" sz="1050" b="0" i="0" u="none" strike="noStrike" kern="0" cap="none" spc="0" normalizeH="0" baseline="0" noProof="0" dirty="0">
              <a:ln>
                <a:noFill/>
              </a:ln>
              <a:solidFill>
                <a:schemeClr val="accent1"/>
              </a:solidFill>
              <a:effectLst/>
              <a:uLnTx/>
              <a:uFillTx/>
              <a:latin typeface="HarmonyOS Sans SC Black"/>
              <a:ea typeface="+mj-ea"/>
              <a:cs typeface="Poppins Light"/>
              <a:sym typeface="Poppins Light"/>
            </a:endParaRPr>
          </a:p>
        </p:txBody>
      </p:sp>
      <p:sp>
        <p:nvSpPr>
          <p:cNvPr id="24" name="80%…">
            <a:extLst>
              <a:ext uri="{FF2B5EF4-FFF2-40B4-BE49-F238E27FC236}">
                <a16:creationId xmlns:a16="http://schemas.microsoft.com/office/drawing/2014/main" id="{48D287F0-9C05-4197-BF4C-BF9607AABE81}"/>
              </a:ext>
            </a:extLst>
          </p:cNvPr>
          <p:cNvSpPr txBox="1"/>
          <p:nvPr/>
        </p:nvSpPr>
        <p:spPr>
          <a:xfrm>
            <a:off x="8671213" y="4389736"/>
            <a:ext cx="756617" cy="18408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nchor="t">
            <a:spAutoFit/>
          </a:bodyPr>
          <a:lstStyle/>
          <a:p>
            <a:pPr marL="0" marR="0" lvl="0" indent="0" algn="l" defTabSz="412750" rtl="0" eaLnBrk="1" fontAlgn="auto" latinLnBrk="0" hangingPunct="0">
              <a:lnSpc>
                <a:spcPct val="150000"/>
              </a:lnSpc>
              <a:spcBef>
                <a:spcPts val="0"/>
              </a:spcBef>
              <a:spcAft>
                <a:spcPts val="0"/>
              </a:spcAft>
              <a:buClrTx/>
              <a:buSzTx/>
              <a:buFontTx/>
              <a:buNone/>
              <a:tabLst/>
              <a:defRPr sz="1800" b="0">
                <a:solidFill>
                  <a:srgbClr val="C8CBD1"/>
                </a:solidFill>
                <a:latin typeface="Poppins Light"/>
                <a:ea typeface="Poppins Light"/>
                <a:cs typeface="Poppins Light"/>
                <a:sym typeface="Poppins Light"/>
              </a:defRPr>
            </a:pPr>
            <a:r>
              <a:rPr kumimoji="0" sz="900" b="0" i="0" u="none" strike="noStrike" kern="0" cap="none" spc="0" normalizeH="0" baseline="0" noProof="0">
                <a:ln>
                  <a:noFill/>
                </a:ln>
                <a:solidFill>
                  <a:prstClr val="black">
                    <a:lumMod val="50000"/>
                    <a:lumOff val="50000"/>
                  </a:prstClr>
                </a:solidFill>
                <a:effectLst/>
                <a:uLnTx/>
                <a:uFillTx/>
                <a:latin typeface="HarmonyOS Sans SC"/>
                <a:cs typeface="Poppins Light"/>
                <a:sym typeface="Poppins Light"/>
              </a:rPr>
              <a:t>Creativity </a:t>
            </a:r>
            <a:r>
              <a:rPr kumimoji="0" sz="900" b="0" i="0" u="none" strike="noStrike" kern="0" cap="none" spc="0" normalizeH="0" baseline="0" noProof="0" dirty="0">
                <a:ln>
                  <a:noFill/>
                </a:ln>
                <a:solidFill>
                  <a:prstClr val="black">
                    <a:lumMod val="50000"/>
                    <a:lumOff val="50000"/>
                  </a:prstClr>
                </a:solidFill>
                <a:effectLst/>
                <a:uLnTx/>
                <a:uFillTx/>
                <a:latin typeface="HarmonyOS Sans SC"/>
                <a:cs typeface="Poppins Light"/>
                <a:sym typeface="Poppins Light"/>
              </a:rPr>
              <a:t>Plan</a:t>
            </a:r>
          </a:p>
        </p:txBody>
      </p:sp>
      <p:sp>
        <p:nvSpPr>
          <p:cNvPr id="25" name="50%…">
            <a:extLst>
              <a:ext uri="{FF2B5EF4-FFF2-40B4-BE49-F238E27FC236}">
                <a16:creationId xmlns:a16="http://schemas.microsoft.com/office/drawing/2014/main" id="{F3567412-7E78-488E-9595-C0C32BA50B31}"/>
              </a:ext>
            </a:extLst>
          </p:cNvPr>
          <p:cNvSpPr txBox="1"/>
          <p:nvPr/>
        </p:nvSpPr>
        <p:spPr>
          <a:xfrm>
            <a:off x="10115025" y="4100788"/>
            <a:ext cx="629632" cy="32829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nchor="t">
            <a:spAutoFit/>
          </a:bodyPr>
          <a:lstStyle/>
          <a:p>
            <a:pPr marL="0" marR="0" lvl="0" indent="0" algn="l" defTabSz="412750" rtl="0" eaLnBrk="1" fontAlgn="auto" latinLnBrk="0" hangingPunct="0">
              <a:lnSpc>
                <a:spcPct val="150000"/>
              </a:lnSpc>
              <a:spcBef>
                <a:spcPts val="0"/>
              </a:spcBef>
              <a:spcAft>
                <a:spcPts val="0"/>
              </a:spcAft>
              <a:buClrTx/>
              <a:buSzTx/>
              <a:buFontTx/>
              <a:buNone/>
              <a:tabLst/>
              <a:defRPr sz="2400" b="0">
                <a:solidFill>
                  <a:srgbClr val="F6F9FF"/>
                </a:solidFill>
                <a:latin typeface="Poppins Bold"/>
                <a:ea typeface="Poppins Bold"/>
                <a:cs typeface="Poppins Bold"/>
                <a:sym typeface="Poppins Bold"/>
              </a:defRPr>
            </a:pPr>
            <a:r>
              <a:rPr kumimoji="0" lang="en-US" sz="1600" b="0" i="0" u="none" strike="noStrike" kern="0" cap="none" spc="0" normalizeH="0" baseline="0" noProof="0" dirty="0">
                <a:ln>
                  <a:noFill/>
                </a:ln>
                <a:solidFill>
                  <a:schemeClr val="accent1"/>
                </a:solidFill>
                <a:effectLst/>
                <a:uLnTx/>
                <a:uFillTx/>
                <a:latin typeface="HarmonyOS Sans SC Black"/>
                <a:ea typeface="+mj-ea"/>
                <a:cs typeface="Poppins Bold"/>
                <a:sym typeface="Poppins Bold"/>
              </a:rPr>
              <a:t>50%</a:t>
            </a:r>
            <a:endParaRPr kumimoji="0" lang="en-US" sz="1050" b="0" i="0" u="none" strike="noStrike" kern="0" cap="none" spc="0" normalizeH="0" baseline="0" noProof="0" dirty="0">
              <a:ln>
                <a:noFill/>
              </a:ln>
              <a:solidFill>
                <a:schemeClr val="accent1"/>
              </a:solidFill>
              <a:effectLst/>
              <a:uLnTx/>
              <a:uFillTx/>
              <a:latin typeface="HarmonyOS Sans SC Black"/>
              <a:ea typeface="+mj-ea"/>
              <a:cs typeface="Poppins Light"/>
              <a:sym typeface="Poppins Light"/>
            </a:endParaRPr>
          </a:p>
        </p:txBody>
      </p:sp>
      <p:sp>
        <p:nvSpPr>
          <p:cNvPr id="26" name="50%…">
            <a:extLst>
              <a:ext uri="{FF2B5EF4-FFF2-40B4-BE49-F238E27FC236}">
                <a16:creationId xmlns:a16="http://schemas.microsoft.com/office/drawing/2014/main" id="{E355CDB3-5AA8-47DA-9BDF-72413C2D0DAD}"/>
              </a:ext>
            </a:extLst>
          </p:cNvPr>
          <p:cNvSpPr txBox="1"/>
          <p:nvPr/>
        </p:nvSpPr>
        <p:spPr>
          <a:xfrm>
            <a:off x="10115025" y="4389736"/>
            <a:ext cx="756617" cy="18408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nchor="t">
            <a:spAutoFit/>
          </a:bodyPr>
          <a:lstStyle/>
          <a:p>
            <a:pPr marL="0" marR="0" lvl="0" indent="0" algn="l" defTabSz="412750" rtl="0" eaLnBrk="1" fontAlgn="auto" latinLnBrk="0" hangingPunct="0">
              <a:lnSpc>
                <a:spcPct val="150000"/>
              </a:lnSpc>
              <a:spcBef>
                <a:spcPts val="0"/>
              </a:spcBef>
              <a:spcAft>
                <a:spcPts val="0"/>
              </a:spcAft>
              <a:buClrTx/>
              <a:buSzTx/>
              <a:buFontTx/>
              <a:buNone/>
              <a:tabLst/>
              <a:defRPr sz="1800" b="0">
                <a:solidFill>
                  <a:srgbClr val="C8CBD1"/>
                </a:solidFill>
                <a:latin typeface="Poppins Light"/>
                <a:ea typeface="Poppins Light"/>
                <a:cs typeface="Poppins Light"/>
                <a:sym typeface="Poppins Light"/>
              </a:defRPr>
            </a:pPr>
            <a:r>
              <a:rPr kumimoji="0" lang="en-US" sz="900" b="0" i="0" u="none" strike="noStrike" kern="0" cap="none" spc="0" normalizeH="0" baseline="0" noProof="0" dirty="0">
                <a:ln>
                  <a:noFill/>
                </a:ln>
                <a:solidFill>
                  <a:prstClr val="black">
                    <a:lumMod val="50000"/>
                    <a:lumOff val="50000"/>
                  </a:prstClr>
                </a:solidFill>
                <a:effectLst/>
                <a:uLnTx/>
                <a:uFillTx/>
                <a:latin typeface="HarmonyOS Sans SC"/>
                <a:cs typeface="Poppins Light"/>
                <a:sym typeface="Poppins Light"/>
              </a:rPr>
              <a:t>Creativity Plan</a:t>
            </a:r>
          </a:p>
        </p:txBody>
      </p:sp>
    </p:spTree>
    <p:extLst>
      <p:ext uri="{BB962C8B-B14F-4D97-AF65-F5344CB8AC3E}">
        <p14:creationId xmlns:p14="http://schemas.microsoft.com/office/powerpoint/2010/main" val="941550454"/>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4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reeform 5">
            <a:extLst>
              <a:ext uri="{FF2B5EF4-FFF2-40B4-BE49-F238E27FC236}">
                <a16:creationId xmlns:a16="http://schemas.microsoft.com/office/drawing/2014/main" id="{C8FA0421-5B81-4D7F-BCA3-54344BD88A83}"/>
              </a:ext>
            </a:extLst>
          </p:cNvPr>
          <p:cNvSpPr>
            <a:spLocks/>
          </p:cNvSpPr>
          <p:nvPr/>
        </p:nvSpPr>
        <p:spPr bwMode="auto">
          <a:xfrm>
            <a:off x="6148388" y="2111376"/>
            <a:ext cx="1698625" cy="1565275"/>
          </a:xfrm>
          <a:custGeom>
            <a:avLst/>
            <a:gdLst>
              <a:gd name="T0" fmla="*/ 219 w 466"/>
              <a:gd name="T1" fmla="*/ 424 h 429"/>
              <a:gd name="T2" fmla="*/ 438 w 466"/>
              <a:gd name="T3" fmla="*/ 353 h 429"/>
              <a:gd name="T4" fmla="*/ 458 w 466"/>
              <a:gd name="T5" fmla="*/ 309 h 429"/>
              <a:gd name="T6" fmla="*/ 36 w 466"/>
              <a:gd name="T7" fmla="*/ 2 h 429"/>
              <a:gd name="T8" fmla="*/ 0 w 466"/>
              <a:gd name="T9" fmla="*/ 35 h 429"/>
              <a:gd name="T10" fmla="*/ 0 w 466"/>
              <a:gd name="T11" fmla="*/ 265 h 429"/>
              <a:gd name="T12" fmla="*/ 27 w 466"/>
              <a:gd name="T13" fmla="*/ 297 h 429"/>
              <a:gd name="T14" fmla="*/ 181 w 466"/>
              <a:gd name="T15" fmla="*/ 409 h 429"/>
              <a:gd name="T16" fmla="*/ 219 w 466"/>
              <a:gd name="T17" fmla="*/ 424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6" h="429">
                <a:moveTo>
                  <a:pt x="219" y="424"/>
                </a:moveTo>
                <a:cubicBezTo>
                  <a:pt x="438" y="353"/>
                  <a:pt x="438" y="353"/>
                  <a:pt x="438" y="353"/>
                </a:cubicBezTo>
                <a:cubicBezTo>
                  <a:pt x="457" y="347"/>
                  <a:pt x="466" y="327"/>
                  <a:pt x="458" y="309"/>
                </a:cubicBezTo>
                <a:cubicBezTo>
                  <a:pt x="383" y="135"/>
                  <a:pt x="224" y="20"/>
                  <a:pt x="36" y="2"/>
                </a:cubicBezTo>
                <a:cubicBezTo>
                  <a:pt x="16" y="0"/>
                  <a:pt x="0" y="15"/>
                  <a:pt x="0" y="35"/>
                </a:cubicBezTo>
                <a:cubicBezTo>
                  <a:pt x="0" y="265"/>
                  <a:pt x="0" y="265"/>
                  <a:pt x="0" y="265"/>
                </a:cubicBezTo>
                <a:cubicBezTo>
                  <a:pt x="0" y="281"/>
                  <a:pt x="11" y="294"/>
                  <a:pt x="27" y="297"/>
                </a:cubicBezTo>
                <a:cubicBezTo>
                  <a:pt x="93" y="310"/>
                  <a:pt x="149" y="352"/>
                  <a:pt x="181" y="409"/>
                </a:cubicBezTo>
                <a:cubicBezTo>
                  <a:pt x="188" y="422"/>
                  <a:pt x="204" y="429"/>
                  <a:pt x="219" y="424"/>
                </a:cubicBezTo>
                <a:close/>
              </a:path>
            </a:pathLst>
          </a:custGeom>
          <a:gradFill flip="none" rotWithShape="1">
            <a:gsLst>
              <a:gs pos="64000">
                <a:schemeClr val="accent1"/>
              </a:gs>
              <a:gs pos="31000">
                <a:schemeClr val="accent1">
                  <a:lumMod val="60000"/>
                  <a:lumOff val="40000"/>
                </a:schemeClr>
              </a:gs>
              <a:gs pos="0">
                <a:schemeClr val="accent1">
                  <a:lumMod val="40000"/>
                  <a:lumOff val="60000"/>
                </a:schemeClr>
              </a:gs>
            </a:gsLst>
            <a:lin ang="0" scaled="1"/>
            <a:tileRect/>
          </a:gradFill>
          <a:ln>
            <a:noFill/>
          </a:ln>
          <a:effectLst>
            <a:outerShdw blurRad="444500" dist="317500" dir="5400000" sx="92000" sy="92000" algn="t" rotWithShape="0">
              <a:schemeClr val="accent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4" name="Freeform 7">
            <a:extLst>
              <a:ext uri="{FF2B5EF4-FFF2-40B4-BE49-F238E27FC236}">
                <a16:creationId xmlns:a16="http://schemas.microsoft.com/office/drawing/2014/main" id="{C0A46A15-A0D8-4370-87FA-74E3BC5953E5}"/>
              </a:ext>
            </a:extLst>
          </p:cNvPr>
          <p:cNvSpPr>
            <a:spLocks/>
          </p:cNvSpPr>
          <p:nvPr/>
        </p:nvSpPr>
        <p:spPr bwMode="auto">
          <a:xfrm>
            <a:off x="4103688" y="3479801"/>
            <a:ext cx="1439863" cy="1963738"/>
          </a:xfrm>
          <a:custGeom>
            <a:avLst/>
            <a:gdLst>
              <a:gd name="T0" fmla="*/ 323 w 395"/>
              <a:gd name="T1" fmla="*/ 142 h 539"/>
              <a:gd name="T2" fmla="*/ 325 w 395"/>
              <a:gd name="T3" fmla="*/ 113 h 539"/>
              <a:gd name="T4" fmla="*/ 302 w 395"/>
              <a:gd name="T5" fmla="*/ 77 h 539"/>
              <a:gd name="T6" fmla="*/ 84 w 395"/>
              <a:gd name="T7" fmla="*/ 6 h 539"/>
              <a:gd name="T8" fmla="*/ 42 w 395"/>
              <a:gd name="T9" fmla="*/ 30 h 539"/>
              <a:gd name="T10" fmla="*/ 203 w 395"/>
              <a:gd name="T11" fmla="*/ 527 h 539"/>
              <a:gd name="T12" fmla="*/ 251 w 395"/>
              <a:gd name="T13" fmla="*/ 521 h 539"/>
              <a:gd name="T14" fmla="*/ 386 w 395"/>
              <a:gd name="T15" fmla="*/ 336 h 539"/>
              <a:gd name="T16" fmla="*/ 383 w 395"/>
              <a:gd name="T17" fmla="*/ 294 h 539"/>
              <a:gd name="T18" fmla="*/ 323 w 395"/>
              <a:gd name="T19" fmla="*/ 142 h 5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5" h="539">
                <a:moveTo>
                  <a:pt x="323" y="142"/>
                </a:moveTo>
                <a:cubicBezTo>
                  <a:pt x="323" y="132"/>
                  <a:pt x="323" y="122"/>
                  <a:pt x="325" y="113"/>
                </a:cubicBezTo>
                <a:cubicBezTo>
                  <a:pt x="327" y="97"/>
                  <a:pt x="317" y="82"/>
                  <a:pt x="302" y="77"/>
                </a:cubicBezTo>
                <a:cubicBezTo>
                  <a:pt x="84" y="6"/>
                  <a:pt x="84" y="6"/>
                  <a:pt x="84" y="6"/>
                </a:cubicBezTo>
                <a:cubicBezTo>
                  <a:pt x="66" y="0"/>
                  <a:pt x="46" y="11"/>
                  <a:pt x="42" y="30"/>
                </a:cubicBezTo>
                <a:cubicBezTo>
                  <a:pt x="0" y="215"/>
                  <a:pt x="61" y="401"/>
                  <a:pt x="203" y="527"/>
                </a:cubicBezTo>
                <a:cubicBezTo>
                  <a:pt x="218" y="539"/>
                  <a:pt x="240" y="537"/>
                  <a:pt x="251" y="521"/>
                </a:cubicBezTo>
                <a:cubicBezTo>
                  <a:pt x="386" y="336"/>
                  <a:pt x="386" y="336"/>
                  <a:pt x="386" y="336"/>
                </a:cubicBezTo>
                <a:cubicBezTo>
                  <a:pt x="395" y="323"/>
                  <a:pt x="394" y="306"/>
                  <a:pt x="383" y="294"/>
                </a:cubicBezTo>
                <a:cubicBezTo>
                  <a:pt x="346" y="254"/>
                  <a:pt x="323" y="201"/>
                  <a:pt x="323" y="142"/>
                </a:cubicBezTo>
                <a:close/>
              </a:path>
            </a:pathLst>
          </a:custGeom>
          <a:gradFill flip="none" rotWithShape="1">
            <a:gsLst>
              <a:gs pos="64000">
                <a:schemeClr val="accent1"/>
              </a:gs>
              <a:gs pos="31000">
                <a:schemeClr val="accent1">
                  <a:lumMod val="60000"/>
                  <a:lumOff val="40000"/>
                </a:schemeClr>
              </a:gs>
              <a:gs pos="0">
                <a:schemeClr val="accent1">
                  <a:lumMod val="40000"/>
                  <a:lumOff val="60000"/>
                </a:schemeClr>
              </a:gs>
            </a:gsLst>
            <a:lin ang="13500000" scaled="1"/>
            <a:tileRect/>
          </a:gradFill>
          <a:ln>
            <a:noFill/>
          </a:ln>
          <a:effectLst>
            <a:outerShdw blurRad="444500" dist="317500" dir="5400000" sx="92000" sy="92000" algn="t" rotWithShape="0">
              <a:schemeClr val="accent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5" name="Freeform 8">
            <a:extLst>
              <a:ext uri="{FF2B5EF4-FFF2-40B4-BE49-F238E27FC236}">
                <a16:creationId xmlns:a16="http://schemas.microsoft.com/office/drawing/2014/main" id="{835B4368-71CF-47AC-8160-8BA7C7933DEC}"/>
              </a:ext>
            </a:extLst>
          </p:cNvPr>
          <p:cNvSpPr>
            <a:spLocks/>
          </p:cNvSpPr>
          <p:nvPr/>
        </p:nvSpPr>
        <p:spPr bwMode="auto">
          <a:xfrm>
            <a:off x="6645275" y="3479801"/>
            <a:ext cx="1438275" cy="1963738"/>
          </a:xfrm>
          <a:custGeom>
            <a:avLst/>
            <a:gdLst>
              <a:gd name="T0" fmla="*/ 311 w 395"/>
              <a:gd name="T1" fmla="*/ 6 h 539"/>
              <a:gd name="T2" fmla="*/ 93 w 395"/>
              <a:gd name="T3" fmla="*/ 77 h 539"/>
              <a:gd name="T4" fmla="*/ 71 w 395"/>
              <a:gd name="T5" fmla="*/ 113 h 539"/>
              <a:gd name="T6" fmla="*/ 72 w 395"/>
              <a:gd name="T7" fmla="*/ 142 h 539"/>
              <a:gd name="T8" fmla="*/ 12 w 395"/>
              <a:gd name="T9" fmla="*/ 294 h 539"/>
              <a:gd name="T10" fmla="*/ 9 w 395"/>
              <a:gd name="T11" fmla="*/ 336 h 539"/>
              <a:gd name="T12" fmla="*/ 144 w 395"/>
              <a:gd name="T13" fmla="*/ 521 h 539"/>
              <a:gd name="T14" fmla="*/ 192 w 395"/>
              <a:gd name="T15" fmla="*/ 527 h 539"/>
              <a:gd name="T16" fmla="*/ 353 w 395"/>
              <a:gd name="T17" fmla="*/ 30 h 539"/>
              <a:gd name="T18" fmla="*/ 311 w 395"/>
              <a:gd name="T19" fmla="*/ 6 h 5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5" h="539">
                <a:moveTo>
                  <a:pt x="311" y="6"/>
                </a:moveTo>
                <a:cubicBezTo>
                  <a:pt x="93" y="77"/>
                  <a:pt x="93" y="77"/>
                  <a:pt x="93" y="77"/>
                </a:cubicBezTo>
                <a:cubicBezTo>
                  <a:pt x="78" y="82"/>
                  <a:pt x="69" y="97"/>
                  <a:pt x="71" y="113"/>
                </a:cubicBezTo>
                <a:cubicBezTo>
                  <a:pt x="72" y="122"/>
                  <a:pt x="72" y="132"/>
                  <a:pt x="72" y="142"/>
                </a:cubicBezTo>
                <a:cubicBezTo>
                  <a:pt x="72" y="201"/>
                  <a:pt x="50" y="254"/>
                  <a:pt x="12" y="294"/>
                </a:cubicBezTo>
                <a:cubicBezTo>
                  <a:pt x="1" y="306"/>
                  <a:pt x="0" y="323"/>
                  <a:pt x="9" y="336"/>
                </a:cubicBezTo>
                <a:cubicBezTo>
                  <a:pt x="144" y="521"/>
                  <a:pt x="144" y="521"/>
                  <a:pt x="144" y="521"/>
                </a:cubicBezTo>
                <a:cubicBezTo>
                  <a:pt x="155" y="537"/>
                  <a:pt x="177" y="539"/>
                  <a:pt x="192" y="527"/>
                </a:cubicBezTo>
                <a:cubicBezTo>
                  <a:pt x="334" y="401"/>
                  <a:pt x="395" y="215"/>
                  <a:pt x="353" y="30"/>
                </a:cubicBezTo>
                <a:cubicBezTo>
                  <a:pt x="349" y="11"/>
                  <a:pt x="330" y="0"/>
                  <a:pt x="311" y="6"/>
                </a:cubicBezTo>
                <a:close/>
              </a:path>
            </a:pathLst>
          </a:custGeom>
          <a:gradFill flip="none" rotWithShape="1">
            <a:gsLst>
              <a:gs pos="64000">
                <a:schemeClr val="accent1"/>
              </a:gs>
              <a:gs pos="31000">
                <a:schemeClr val="accent1">
                  <a:lumMod val="60000"/>
                  <a:lumOff val="40000"/>
                </a:schemeClr>
              </a:gs>
              <a:gs pos="0">
                <a:schemeClr val="accent1">
                  <a:lumMod val="40000"/>
                  <a:lumOff val="60000"/>
                </a:schemeClr>
              </a:gs>
            </a:gsLst>
            <a:lin ang="5400000" scaled="1"/>
            <a:tileRect/>
          </a:gradFill>
          <a:ln>
            <a:noFill/>
          </a:ln>
          <a:effectLst>
            <a:outerShdw blurRad="444500" dist="317500" dir="5400000" sx="92000" sy="92000" algn="t" rotWithShape="0">
              <a:schemeClr val="accent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6" name="Freeform 9">
            <a:extLst>
              <a:ext uri="{FF2B5EF4-FFF2-40B4-BE49-F238E27FC236}">
                <a16:creationId xmlns:a16="http://schemas.microsoft.com/office/drawing/2014/main" id="{EA911B26-024A-4C35-B6F9-DB940FF51F55}"/>
              </a:ext>
            </a:extLst>
          </p:cNvPr>
          <p:cNvSpPr>
            <a:spLocks/>
          </p:cNvSpPr>
          <p:nvPr/>
        </p:nvSpPr>
        <p:spPr bwMode="auto">
          <a:xfrm>
            <a:off x="4344988" y="2111376"/>
            <a:ext cx="1693863" cy="1565275"/>
          </a:xfrm>
          <a:custGeom>
            <a:avLst/>
            <a:gdLst>
              <a:gd name="T0" fmla="*/ 465 w 465"/>
              <a:gd name="T1" fmla="*/ 265 h 429"/>
              <a:gd name="T2" fmla="*/ 465 w 465"/>
              <a:gd name="T3" fmla="*/ 35 h 429"/>
              <a:gd name="T4" fmla="*/ 429 w 465"/>
              <a:gd name="T5" fmla="*/ 2 h 429"/>
              <a:gd name="T6" fmla="*/ 7 w 465"/>
              <a:gd name="T7" fmla="*/ 309 h 429"/>
              <a:gd name="T8" fmla="*/ 27 w 465"/>
              <a:gd name="T9" fmla="*/ 353 h 429"/>
              <a:gd name="T10" fmla="*/ 246 w 465"/>
              <a:gd name="T11" fmla="*/ 424 h 429"/>
              <a:gd name="T12" fmla="*/ 285 w 465"/>
              <a:gd name="T13" fmla="*/ 409 h 429"/>
              <a:gd name="T14" fmla="*/ 439 w 465"/>
              <a:gd name="T15" fmla="*/ 297 h 429"/>
              <a:gd name="T16" fmla="*/ 465 w 465"/>
              <a:gd name="T17" fmla="*/ 265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5" h="429">
                <a:moveTo>
                  <a:pt x="465" y="265"/>
                </a:moveTo>
                <a:cubicBezTo>
                  <a:pt x="465" y="35"/>
                  <a:pt x="465" y="35"/>
                  <a:pt x="465" y="35"/>
                </a:cubicBezTo>
                <a:cubicBezTo>
                  <a:pt x="465" y="15"/>
                  <a:pt x="449" y="0"/>
                  <a:pt x="429" y="2"/>
                </a:cubicBezTo>
                <a:cubicBezTo>
                  <a:pt x="241" y="20"/>
                  <a:pt x="82" y="135"/>
                  <a:pt x="7" y="309"/>
                </a:cubicBezTo>
                <a:cubicBezTo>
                  <a:pt x="0" y="327"/>
                  <a:pt x="9" y="347"/>
                  <a:pt x="27" y="353"/>
                </a:cubicBezTo>
                <a:cubicBezTo>
                  <a:pt x="246" y="424"/>
                  <a:pt x="246" y="424"/>
                  <a:pt x="246" y="424"/>
                </a:cubicBezTo>
                <a:cubicBezTo>
                  <a:pt x="261" y="429"/>
                  <a:pt x="277" y="422"/>
                  <a:pt x="285" y="409"/>
                </a:cubicBezTo>
                <a:cubicBezTo>
                  <a:pt x="316" y="352"/>
                  <a:pt x="372" y="310"/>
                  <a:pt x="439" y="297"/>
                </a:cubicBezTo>
                <a:cubicBezTo>
                  <a:pt x="454" y="294"/>
                  <a:pt x="465" y="281"/>
                  <a:pt x="465" y="265"/>
                </a:cubicBezTo>
                <a:close/>
              </a:path>
            </a:pathLst>
          </a:custGeom>
          <a:gradFill flip="none" rotWithShape="1">
            <a:gsLst>
              <a:gs pos="64000">
                <a:schemeClr val="accent1"/>
              </a:gs>
              <a:gs pos="31000">
                <a:schemeClr val="accent1">
                  <a:lumMod val="60000"/>
                  <a:lumOff val="40000"/>
                </a:schemeClr>
              </a:gs>
              <a:gs pos="0">
                <a:schemeClr val="accent1">
                  <a:lumMod val="40000"/>
                  <a:lumOff val="60000"/>
                </a:schemeClr>
              </a:gs>
            </a:gsLst>
            <a:lin ang="18900000" scaled="1"/>
            <a:tileRect/>
          </a:gradFill>
          <a:ln>
            <a:noFill/>
          </a:ln>
          <a:effectLst>
            <a:outerShdw blurRad="444500" dist="317500" dir="5400000" sx="92000" sy="92000" algn="t" rotWithShape="0">
              <a:schemeClr val="accent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7" name="Freeform 20">
            <a:extLst>
              <a:ext uri="{FF2B5EF4-FFF2-40B4-BE49-F238E27FC236}">
                <a16:creationId xmlns:a16="http://schemas.microsoft.com/office/drawing/2014/main" id="{5BAD98CE-C76D-46F0-9DD7-0334E0B1FF1D}"/>
              </a:ext>
            </a:extLst>
          </p:cNvPr>
          <p:cNvSpPr>
            <a:spLocks noEditPoints="1"/>
          </p:cNvSpPr>
          <p:nvPr/>
        </p:nvSpPr>
        <p:spPr bwMode="auto">
          <a:xfrm>
            <a:off x="5127760" y="2625535"/>
            <a:ext cx="545892" cy="445292"/>
          </a:xfrm>
          <a:custGeom>
            <a:avLst/>
            <a:gdLst>
              <a:gd name="T0" fmla="*/ 493833 w 172"/>
              <a:gd name="T1" fmla="*/ 415960 h 139"/>
              <a:gd name="T2" fmla="*/ 483616 w 172"/>
              <a:gd name="T3" fmla="*/ 419397 h 139"/>
              <a:gd name="T4" fmla="*/ 463181 w 172"/>
              <a:gd name="T5" fmla="*/ 405647 h 139"/>
              <a:gd name="T6" fmla="*/ 473398 w 172"/>
              <a:gd name="T7" fmla="*/ 378145 h 139"/>
              <a:gd name="T8" fmla="*/ 510862 w 172"/>
              <a:gd name="T9" fmla="*/ 250951 h 139"/>
              <a:gd name="T10" fmla="*/ 429124 w 172"/>
              <a:gd name="T11" fmla="*/ 202823 h 139"/>
              <a:gd name="T12" fmla="*/ 401878 w 172"/>
              <a:gd name="T13" fmla="*/ 202823 h 139"/>
              <a:gd name="T14" fmla="*/ 378038 w 172"/>
              <a:gd name="T15" fmla="*/ 185635 h 139"/>
              <a:gd name="T16" fmla="*/ 183910 w 172"/>
              <a:gd name="T17" fmla="*/ 68754 h 139"/>
              <a:gd name="T18" fmla="*/ 85144 w 172"/>
              <a:gd name="T19" fmla="*/ 144383 h 139"/>
              <a:gd name="T20" fmla="*/ 68115 w 172"/>
              <a:gd name="T21" fmla="*/ 268139 h 139"/>
              <a:gd name="T22" fmla="*/ 105578 w 172"/>
              <a:gd name="T23" fmla="*/ 333455 h 139"/>
              <a:gd name="T24" fmla="*/ 102172 w 172"/>
              <a:gd name="T25" fmla="*/ 364394 h 139"/>
              <a:gd name="T26" fmla="*/ 71521 w 172"/>
              <a:gd name="T27" fmla="*/ 364394 h 139"/>
              <a:gd name="T28" fmla="*/ 27246 w 172"/>
              <a:gd name="T29" fmla="*/ 278452 h 139"/>
              <a:gd name="T30" fmla="*/ 173693 w 172"/>
              <a:gd name="T31" fmla="*/ 27501 h 139"/>
              <a:gd name="T32" fmla="*/ 418907 w 172"/>
              <a:gd name="T33" fmla="*/ 158133 h 139"/>
              <a:gd name="T34" fmla="*/ 429124 w 172"/>
              <a:gd name="T35" fmla="*/ 158133 h 139"/>
              <a:gd name="T36" fmla="*/ 548325 w 172"/>
              <a:gd name="T37" fmla="*/ 230325 h 139"/>
              <a:gd name="T38" fmla="*/ 493833 w 172"/>
              <a:gd name="T39" fmla="*/ 415960 h 139"/>
              <a:gd name="T40" fmla="*/ 309923 w 172"/>
              <a:gd name="T41" fmla="*/ 233762 h 139"/>
              <a:gd name="T42" fmla="*/ 306517 w 172"/>
              <a:gd name="T43" fmla="*/ 230325 h 139"/>
              <a:gd name="T44" fmla="*/ 303111 w 172"/>
              <a:gd name="T45" fmla="*/ 230325 h 139"/>
              <a:gd name="T46" fmla="*/ 303111 w 172"/>
              <a:gd name="T47" fmla="*/ 230325 h 139"/>
              <a:gd name="T48" fmla="*/ 299705 w 172"/>
              <a:gd name="T49" fmla="*/ 230325 h 139"/>
              <a:gd name="T50" fmla="*/ 296300 w 172"/>
              <a:gd name="T51" fmla="*/ 226887 h 139"/>
              <a:gd name="T52" fmla="*/ 292894 w 172"/>
              <a:gd name="T53" fmla="*/ 226887 h 139"/>
              <a:gd name="T54" fmla="*/ 289488 w 172"/>
              <a:gd name="T55" fmla="*/ 226887 h 139"/>
              <a:gd name="T56" fmla="*/ 286083 w 172"/>
              <a:gd name="T57" fmla="*/ 230325 h 139"/>
              <a:gd name="T58" fmla="*/ 286083 w 172"/>
              <a:gd name="T59" fmla="*/ 230325 h 139"/>
              <a:gd name="T60" fmla="*/ 282677 w 172"/>
              <a:gd name="T61" fmla="*/ 230325 h 139"/>
              <a:gd name="T62" fmla="*/ 279271 w 172"/>
              <a:gd name="T63" fmla="*/ 230325 h 139"/>
              <a:gd name="T64" fmla="*/ 275865 w 172"/>
              <a:gd name="T65" fmla="*/ 233762 h 139"/>
              <a:gd name="T66" fmla="*/ 187316 w 172"/>
              <a:gd name="T67" fmla="*/ 326580 h 139"/>
              <a:gd name="T68" fmla="*/ 187316 w 172"/>
              <a:gd name="T69" fmla="*/ 357519 h 139"/>
              <a:gd name="T70" fmla="*/ 217968 w 172"/>
              <a:gd name="T71" fmla="*/ 357519 h 139"/>
              <a:gd name="T72" fmla="*/ 272460 w 172"/>
              <a:gd name="T73" fmla="*/ 302516 h 139"/>
              <a:gd name="T74" fmla="*/ 272460 w 172"/>
              <a:gd name="T75" fmla="*/ 457212 h 139"/>
              <a:gd name="T76" fmla="*/ 292894 w 172"/>
              <a:gd name="T77" fmla="*/ 477838 h 139"/>
              <a:gd name="T78" fmla="*/ 316734 w 172"/>
              <a:gd name="T79" fmla="*/ 457212 h 139"/>
              <a:gd name="T80" fmla="*/ 316734 w 172"/>
              <a:gd name="T81" fmla="*/ 302516 h 139"/>
              <a:gd name="T82" fmla="*/ 367820 w 172"/>
              <a:gd name="T83" fmla="*/ 357519 h 139"/>
              <a:gd name="T84" fmla="*/ 384849 w 172"/>
              <a:gd name="T85" fmla="*/ 364394 h 139"/>
              <a:gd name="T86" fmla="*/ 398472 w 172"/>
              <a:gd name="T87" fmla="*/ 357519 h 139"/>
              <a:gd name="T88" fmla="*/ 398472 w 172"/>
              <a:gd name="T89" fmla="*/ 326580 h 139"/>
              <a:gd name="T90" fmla="*/ 309923 w 172"/>
              <a:gd name="T91" fmla="*/ 233762 h 139"/>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172" h="139">
                <a:moveTo>
                  <a:pt x="145" y="121"/>
                </a:moveTo>
                <a:cubicBezTo>
                  <a:pt x="144" y="122"/>
                  <a:pt x="143" y="122"/>
                  <a:pt x="142" y="122"/>
                </a:cubicBezTo>
                <a:cubicBezTo>
                  <a:pt x="140" y="122"/>
                  <a:pt x="138" y="121"/>
                  <a:pt x="136" y="118"/>
                </a:cubicBezTo>
                <a:cubicBezTo>
                  <a:pt x="135" y="115"/>
                  <a:pt x="136" y="111"/>
                  <a:pt x="139" y="110"/>
                </a:cubicBezTo>
                <a:cubicBezTo>
                  <a:pt x="152" y="103"/>
                  <a:pt x="157" y="86"/>
                  <a:pt x="150" y="73"/>
                </a:cubicBezTo>
                <a:cubicBezTo>
                  <a:pt x="145" y="64"/>
                  <a:pt x="136" y="59"/>
                  <a:pt x="126" y="59"/>
                </a:cubicBezTo>
                <a:cubicBezTo>
                  <a:pt x="118" y="59"/>
                  <a:pt x="118" y="59"/>
                  <a:pt x="118" y="59"/>
                </a:cubicBezTo>
                <a:cubicBezTo>
                  <a:pt x="115" y="59"/>
                  <a:pt x="112" y="57"/>
                  <a:pt x="111" y="54"/>
                </a:cubicBezTo>
                <a:cubicBezTo>
                  <a:pt x="105" y="29"/>
                  <a:pt x="79" y="14"/>
                  <a:pt x="54" y="20"/>
                </a:cubicBezTo>
                <a:cubicBezTo>
                  <a:pt x="42" y="24"/>
                  <a:pt x="32" y="31"/>
                  <a:pt x="25" y="42"/>
                </a:cubicBezTo>
                <a:cubicBezTo>
                  <a:pt x="19" y="53"/>
                  <a:pt x="17" y="66"/>
                  <a:pt x="20" y="78"/>
                </a:cubicBezTo>
                <a:cubicBezTo>
                  <a:pt x="22" y="85"/>
                  <a:pt x="26" y="92"/>
                  <a:pt x="31" y="97"/>
                </a:cubicBezTo>
                <a:cubicBezTo>
                  <a:pt x="33" y="100"/>
                  <a:pt x="33" y="104"/>
                  <a:pt x="30" y="106"/>
                </a:cubicBezTo>
                <a:cubicBezTo>
                  <a:pt x="27" y="109"/>
                  <a:pt x="23" y="108"/>
                  <a:pt x="21" y="106"/>
                </a:cubicBezTo>
                <a:cubicBezTo>
                  <a:pt x="15" y="99"/>
                  <a:pt x="10" y="90"/>
                  <a:pt x="8" y="81"/>
                </a:cubicBezTo>
                <a:cubicBezTo>
                  <a:pt x="0" y="49"/>
                  <a:pt x="19" y="16"/>
                  <a:pt x="51" y="8"/>
                </a:cubicBezTo>
                <a:cubicBezTo>
                  <a:pt x="81" y="0"/>
                  <a:pt x="112" y="17"/>
                  <a:pt x="123" y="46"/>
                </a:cubicBezTo>
                <a:cubicBezTo>
                  <a:pt x="126" y="46"/>
                  <a:pt x="126" y="46"/>
                  <a:pt x="126" y="46"/>
                </a:cubicBezTo>
                <a:cubicBezTo>
                  <a:pt x="141" y="46"/>
                  <a:pt x="154" y="54"/>
                  <a:pt x="161" y="67"/>
                </a:cubicBezTo>
                <a:cubicBezTo>
                  <a:pt x="172" y="86"/>
                  <a:pt x="165" y="110"/>
                  <a:pt x="145" y="121"/>
                </a:cubicBezTo>
                <a:close/>
                <a:moveTo>
                  <a:pt x="91" y="68"/>
                </a:moveTo>
                <a:cubicBezTo>
                  <a:pt x="90" y="68"/>
                  <a:pt x="90" y="67"/>
                  <a:pt x="90" y="67"/>
                </a:cubicBezTo>
                <a:cubicBezTo>
                  <a:pt x="90" y="67"/>
                  <a:pt x="89" y="67"/>
                  <a:pt x="89" y="67"/>
                </a:cubicBezTo>
                <a:cubicBezTo>
                  <a:pt x="89" y="67"/>
                  <a:pt x="89" y="67"/>
                  <a:pt x="89" y="67"/>
                </a:cubicBezTo>
                <a:cubicBezTo>
                  <a:pt x="88" y="67"/>
                  <a:pt x="88" y="67"/>
                  <a:pt x="88" y="67"/>
                </a:cubicBezTo>
                <a:cubicBezTo>
                  <a:pt x="88" y="66"/>
                  <a:pt x="88" y="66"/>
                  <a:pt x="87" y="66"/>
                </a:cubicBezTo>
                <a:cubicBezTo>
                  <a:pt x="87" y="66"/>
                  <a:pt x="86" y="66"/>
                  <a:pt x="86" y="66"/>
                </a:cubicBezTo>
                <a:cubicBezTo>
                  <a:pt x="86" y="66"/>
                  <a:pt x="85" y="66"/>
                  <a:pt x="85" y="66"/>
                </a:cubicBezTo>
                <a:cubicBezTo>
                  <a:pt x="84" y="66"/>
                  <a:pt x="84" y="66"/>
                  <a:pt x="84" y="67"/>
                </a:cubicBezTo>
                <a:cubicBezTo>
                  <a:pt x="84" y="67"/>
                  <a:pt x="84" y="67"/>
                  <a:pt x="84" y="67"/>
                </a:cubicBezTo>
                <a:cubicBezTo>
                  <a:pt x="83" y="67"/>
                  <a:pt x="83" y="67"/>
                  <a:pt x="83" y="67"/>
                </a:cubicBezTo>
                <a:cubicBezTo>
                  <a:pt x="83" y="67"/>
                  <a:pt x="83" y="67"/>
                  <a:pt x="82" y="67"/>
                </a:cubicBezTo>
                <a:cubicBezTo>
                  <a:pt x="82" y="67"/>
                  <a:pt x="82" y="68"/>
                  <a:pt x="81" y="68"/>
                </a:cubicBezTo>
                <a:cubicBezTo>
                  <a:pt x="55" y="95"/>
                  <a:pt x="55" y="95"/>
                  <a:pt x="55" y="95"/>
                </a:cubicBezTo>
                <a:cubicBezTo>
                  <a:pt x="52" y="97"/>
                  <a:pt x="52" y="101"/>
                  <a:pt x="55" y="104"/>
                </a:cubicBezTo>
                <a:cubicBezTo>
                  <a:pt x="57" y="106"/>
                  <a:pt x="61" y="106"/>
                  <a:pt x="64" y="104"/>
                </a:cubicBezTo>
                <a:cubicBezTo>
                  <a:pt x="80" y="88"/>
                  <a:pt x="80" y="88"/>
                  <a:pt x="80" y="88"/>
                </a:cubicBezTo>
                <a:cubicBezTo>
                  <a:pt x="80" y="133"/>
                  <a:pt x="80" y="133"/>
                  <a:pt x="80" y="133"/>
                </a:cubicBezTo>
                <a:cubicBezTo>
                  <a:pt x="80" y="136"/>
                  <a:pt x="82" y="139"/>
                  <a:pt x="86" y="139"/>
                </a:cubicBezTo>
                <a:cubicBezTo>
                  <a:pt x="90" y="139"/>
                  <a:pt x="93" y="136"/>
                  <a:pt x="93" y="133"/>
                </a:cubicBezTo>
                <a:cubicBezTo>
                  <a:pt x="93" y="88"/>
                  <a:pt x="93" y="88"/>
                  <a:pt x="93" y="88"/>
                </a:cubicBezTo>
                <a:cubicBezTo>
                  <a:pt x="108" y="104"/>
                  <a:pt x="108" y="104"/>
                  <a:pt x="108" y="104"/>
                </a:cubicBezTo>
                <a:cubicBezTo>
                  <a:pt x="109" y="105"/>
                  <a:pt x="111" y="106"/>
                  <a:pt x="113" y="106"/>
                </a:cubicBezTo>
                <a:cubicBezTo>
                  <a:pt x="114" y="106"/>
                  <a:pt x="116" y="105"/>
                  <a:pt x="117" y="104"/>
                </a:cubicBezTo>
                <a:cubicBezTo>
                  <a:pt x="120" y="101"/>
                  <a:pt x="120" y="97"/>
                  <a:pt x="117" y="95"/>
                </a:cubicBezTo>
                <a:lnTo>
                  <a:pt x="91" y="68"/>
                </a:lnTo>
                <a:close/>
              </a:path>
            </a:pathLst>
          </a:custGeom>
          <a:solidFill>
            <a:srgbClr val="FFFFFF"/>
          </a:solidFill>
          <a:ln>
            <a:noFill/>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8" name="Freeform 47">
            <a:extLst>
              <a:ext uri="{FF2B5EF4-FFF2-40B4-BE49-F238E27FC236}">
                <a16:creationId xmlns:a16="http://schemas.microsoft.com/office/drawing/2014/main" id="{8967619A-6BDA-4238-8B22-44D0685D805A}"/>
              </a:ext>
            </a:extLst>
          </p:cNvPr>
          <p:cNvSpPr>
            <a:spLocks noEditPoints="1"/>
          </p:cNvSpPr>
          <p:nvPr/>
        </p:nvSpPr>
        <p:spPr bwMode="auto">
          <a:xfrm>
            <a:off x="4569905" y="4212907"/>
            <a:ext cx="507428" cy="377240"/>
          </a:xfrm>
          <a:custGeom>
            <a:avLst/>
            <a:gdLst>
              <a:gd name="T0" fmla="*/ 272257 w 160"/>
              <a:gd name="T1" fmla="*/ 130364 h 118"/>
              <a:gd name="T2" fmla="*/ 200789 w 160"/>
              <a:gd name="T3" fmla="*/ 202407 h 118"/>
              <a:gd name="T4" fmla="*/ 272257 w 160"/>
              <a:gd name="T5" fmla="*/ 277880 h 118"/>
              <a:gd name="T6" fmla="*/ 343724 w 160"/>
              <a:gd name="T7" fmla="*/ 202407 h 118"/>
              <a:gd name="T8" fmla="*/ 272257 w 160"/>
              <a:gd name="T9" fmla="*/ 130364 h 118"/>
              <a:gd name="T10" fmla="*/ 272257 w 160"/>
              <a:gd name="T11" fmla="*/ 233282 h 118"/>
              <a:gd name="T12" fmla="*/ 245031 w 160"/>
              <a:gd name="T13" fmla="*/ 202407 h 118"/>
              <a:gd name="T14" fmla="*/ 272257 w 160"/>
              <a:gd name="T15" fmla="*/ 174962 h 118"/>
              <a:gd name="T16" fmla="*/ 299482 w 160"/>
              <a:gd name="T17" fmla="*/ 202407 h 118"/>
              <a:gd name="T18" fmla="*/ 272257 w 160"/>
              <a:gd name="T19" fmla="*/ 233282 h 118"/>
              <a:gd name="T20" fmla="*/ 394772 w 160"/>
              <a:gd name="T21" fmla="*/ 325909 h 118"/>
              <a:gd name="T22" fmla="*/ 394772 w 160"/>
              <a:gd name="T23" fmla="*/ 325909 h 118"/>
              <a:gd name="T24" fmla="*/ 377756 w 160"/>
              <a:gd name="T25" fmla="*/ 332770 h 118"/>
              <a:gd name="T26" fmla="*/ 364143 w 160"/>
              <a:gd name="T27" fmla="*/ 325909 h 118"/>
              <a:gd name="T28" fmla="*/ 364143 w 160"/>
              <a:gd name="T29" fmla="*/ 295033 h 118"/>
              <a:gd name="T30" fmla="*/ 364143 w 160"/>
              <a:gd name="T31" fmla="*/ 295033 h 118"/>
              <a:gd name="T32" fmla="*/ 364143 w 160"/>
              <a:gd name="T33" fmla="*/ 113210 h 118"/>
              <a:gd name="T34" fmla="*/ 364143 w 160"/>
              <a:gd name="T35" fmla="*/ 82335 h 118"/>
              <a:gd name="T36" fmla="*/ 394772 w 160"/>
              <a:gd name="T37" fmla="*/ 82335 h 118"/>
              <a:gd name="T38" fmla="*/ 394772 w 160"/>
              <a:gd name="T39" fmla="*/ 325909 h 118"/>
              <a:gd name="T40" fmla="*/ 180370 w 160"/>
              <a:gd name="T41" fmla="*/ 295033 h 118"/>
              <a:gd name="T42" fmla="*/ 180370 w 160"/>
              <a:gd name="T43" fmla="*/ 325909 h 118"/>
              <a:gd name="T44" fmla="*/ 166757 w 160"/>
              <a:gd name="T45" fmla="*/ 332770 h 118"/>
              <a:gd name="T46" fmla="*/ 149741 w 160"/>
              <a:gd name="T47" fmla="*/ 325909 h 118"/>
              <a:gd name="T48" fmla="*/ 149741 w 160"/>
              <a:gd name="T49" fmla="*/ 82335 h 118"/>
              <a:gd name="T50" fmla="*/ 149741 w 160"/>
              <a:gd name="T51" fmla="*/ 82335 h 118"/>
              <a:gd name="T52" fmla="*/ 180370 w 160"/>
              <a:gd name="T53" fmla="*/ 82335 h 118"/>
              <a:gd name="T54" fmla="*/ 180370 w 160"/>
              <a:gd name="T55" fmla="*/ 113210 h 118"/>
              <a:gd name="T56" fmla="*/ 180370 w 160"/>
              <a:gd name="T57" fmla="*/ 113210 h 118"/>
              <a:gd name="T58" fmla="*/ 142935 w 160"/>
              <a:gd name="T59" fmla="*/ 202407 h 118"/>
              <a:gd name="T60" fmla="*/ 180370 w 160"/>
              <a:gd name="T61" fmla="*/ 295033 h 118"/>
              <a:gd name="T62" fmla="*/ 544513 w 160"/>
              <a:gd name="T63" fmla="*/ 202407 h 118"/>
              <a:gd name="T64" fmla="*/ 466239 w 160"/>
              <a:gd name="T65" fmla="*/ 397952 h 118"/>
              <a:gd name="T66" fmla="*/ 449223 w 160"/>
              <a:gd name="T67" fmla="*/ 404813 h 118"/>
              <a:gd name="T68" fmla="*/ 432207 w 160"/>
              <a:gd name="T69" fmla="*/ 397952 h 118"/>
              <a:gd name="T70" fmla="*/ 432207 w 160"/>
              <a:gd name="T71" fmla="*/ 367076 h 118"/>
              <a:gd name="T72" fmla="*/ 432207 w 160"/>
              <a:gd name="T73" fmla="*/ 41167 h 118"/>
              <a:gd name="T74" fmla="*/ 432207 w 160"/>
              <a:gd name="T75" fmla="*/ 10292 h 118"/>
              <a:gd name="T76" fmla="*/ 466239 w 160"/>
              <a:gd name="T77" fmla="*/ 10292 h 118"/>
              <a:gd name="T78" fmla="*/ 544513 w 160"/>
              <a:gd name="T79" fmla="*/ 202407 h 118"/>
              <a:gd name="T80" fmla="*/ 112306 w 160"/>
              <a:gd name="T81" fmla="*/ 367076 h 118"/>
              <a:gd name="T82" fmla="*/ 112306 w 160"/>
              <a:gd name="T83" fmla="*/ 397952 h 118"/>
              <a:gd name="T84" fmla="*/ 95290 w 160"/>
              <a:gd name="T85" fmla="*/ 404813 h 118"/>
              <a:gd name="T86" fmla="*/ 78274 w 160"/>
              <a:gd name="T87" fmla="*/ 397952 h 118"/>
              <a:gd name="T88" fmla="*/ 0 w 160"/>
              <a:gd name="T89" fmla="*/ 202407 h 118"/>
              <a:gd name="T90" fmla="*/ 78274 w 160"/>
              <a:gd name="T91" fmla="*/ 10292 h 118"/>
              <a:gd name="T92" fmla="*/ 112306 w 160"/>
              <a:gd name="T93" fmla="*/ 10292 h 118"/>
              <a:gd name="T94" fmla="*/ 112306 w 160"/>
              <a:gd name="T95" fmla="*/ 41167 h 118"/>
              <a:gd name="T96" fmla="*/ 112306 w 160"/>
              <a:gd name="T97" fmla="*/ 367076 h 118"/>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160" h="118">
                <a:moveTo>
                  <a:pt x="80" y="38"/>
                </a:moveTo>
                <a:cubicBezTo>
                  <a:pt x="68" y="38"/>
                  <a:pt x="59" y="48"/>
                  <a:pt x="59" y="59"/>
                </a:cubicBezTo>
                <a:cubicBezTo>
                  <a:pt x="59" y="71"/>
                  <a:pt x="68" y="81"/>
                  <a:pt x="80" y="81"/>
                </a:cubicBezTo>
                <a:cubicBezTo>
                  <a:pt x="92" y="81"/>
                  <a:pt x="101" y="71"/>
                  <a:pt x="101" y="59"/>
                </a:cubicBezTo>
                <a:cubicBezTo>
                  <a:pt x="101" y="48"/>
                  <a:pt x="92" y="38"/>
                  <a:pt x="80" y="38"/>
                </a:cubicBezTo>
                <a:close/>
                <a:moveTo>
                  <a:pt x="80" y="68"/>
                </a:moveTo>
                <a:cubicBezTo>
                  <a:pt x="75" y="68"/>
                  <a:pt x="72" y="64"/>
                  <a:pt x="72" y="59"/>
                </a:cubicBezTo>
                <a:cubicBezTo>
                  <a:pt x="72" y="55"/>
                  <a:pt x="75" y="51"/>
                  <a:pt x="80" y="51"/>
                </a:cubicBezTo>
                <a:cubicBezTo>
                  <a:pt x="85" y="51"/>
                  <a:pt x="88" y="55"/>
                  <a:pt x="88" y="59"/>
                </a:cubicBezTo>
                <a:cubicBezTo>
                  <a:pt x="88" y="64"/>
                  <a:pt x="85" y="68"/>
                  <a:pt x="80" y="68"/>
                </a:cubicBezTo>
                <a:close/>
                <a:moveTo>
                  <a:pt x="116" y="95"/>
                </a:moveTo>
                <a:cubicBezTo>
                  <a:pt x="116" y="95"/>
                  <a:pt x="116" y="95"/>
                  <a:pt x="116" y="95"/>
                </a:cubicBezTo>
                <a:cubicBezTo>
                  <a:pt x="114" y="97"/>
                  <a:pt x="113" y="97"/>
                  <a:pt x="111" y="97"/>
                </a:cubicBezTo>
                <a:cubicBezTo>
                  <a:pt x="110" y="97"/>
                  <a:pt x="108" y="97"/>
                  <a:pt x="107" y="95"/>
                </a:cubicBezTo>
                <a:cubicBezTo>
                  <a:pt x="104" y="93"/>
                  <a:pt x="104" y="89"/>
                  <a:pt x="107" y="86"/>
                </a:cubicBezTo>
                <a:cubicBezTo>
                  <a:pt x="107" y="86"/>
                  <a:pt x="107" y="86"/>
                  <a:pt x="107" y="86"/>
                </a:cubicBezTo>
                <a:cubicBezTo>
                  <a:pt x="121" y="71"/>
                  <a:pt x="121" y="48"/>
                  <a:pt x="107" y="33"/>
                </a:cubicBezTo>
                <a:cubicBezTo>
                  <a:pt x="104" y="30"/>
                  <a:pt x="104" y="26"/>
                  <a:pt x="107" y="24"/>
                </a:cubicBezTo>
                <a:cubicBezTo>
                  <a:pt x="109" y="21"/>
                  <a:pt x="113" y="21"/>
                  <a:pt x="116" y="24"/>
                </a:cubicBezTo>
                <a:cubicBezTo>
                  <a:pt x="135" y="43"/>
                  <a:pt x="136" y="76"/>
                  <a:pt x="116" y="95"/>
                </a:cubicBezTo>
                <a:close/>
                <a:moveTo>
                  <a:pt x="53" y="86"/>
                </a:moveTo>
                <a:cubicBezTo>
                  <a:pt x="56" y="89"/>
                  <a:pt x="56" y="93"/>
                  <a:pt x="53" y="95"/>
                </a:cubicBezTo>
                <a:cubicBezTo>
                  <a:pt x="52" y="96"/>
                  <a:pt x="50" y="97"/>
                  <a:pt x="49" y="97"/>
                </a:cubicBezTo>
                <a:cubicBezTo>
                  <a:pt x="47" y="97"/>
                  <a:pt x="46" y="96"/>
                  <a:pt x="44" y="95"/>
                </a:cubicBezTo>
                <a:cubicBezTo>
                  <a:pt x="25" y="76"/>
                  <a:pt x="24" y="43"/>
                  <a:pt x="44" y="24"/>
                </a:cubicBezTo>
                <a:cubicBezTo>
                  <a:pt x="44" y="24"/>
                  <a:pt x="44" y="24"/>
                  <a:pt x="44" y="24"/>
                </a:cubicBezTo>
                <a:cubicBezTo>
                  <a:pt x="47" y="21"/>
                  <a:pt x="51" y="21"/>
                  <a:pt x="53" y="24"/>
                </a:cubicBezTo>
                <a:cubicBezTo>
                  <a:pt x="56" y="26"/>
                  <a:pt x="56" y="30"/>
                  <a:pt x="53" y="33"/>
                </a:cubicBezTo>
                <a:cubicBezTo>
                  <a:pt x="53" y="33"/>
                  <a:pt x="53" y="33"/>
                  <a:pt x="53" y="33"/>
                </a:cubicBezTo>
                <a:cubicBezTo>
                  <a:pt x="46" y="40"/>
                  <a:pt x="42" y="49"/>
                  <a:pt x="42" y="59"/>
                </a:cubicBezTo>
                <a:cubicBezTo>
                  <a:pt x="42" y="70"/>
                  <a:pt x="46" y="79"/>
                  <a:pt x="53" y="86"/>
                </a:cubicBezTo>
                <a:close/>
                <a:moveTo>
                  <a:pt x="160" y="59"/>
                </a:moveTo>
                <a:cubicBezTo>
                  <a:pt x="160" y="81"/>
                  <a:pt x="152" y="101"/>
                  <a:pt x="137" y="116"/>
                </a:cubicBezTo>
                <a:cubicBezTo>
                  <a:pt x="135" y="117"/>
                  <a:pt x="134" y="118"/>
                  <a:pt x="132" y="118"/>
                </a:cubicBezTo>
                <a:cubicBezTo>
                  <a:pt x="130" y="118"/>
                  <a:pt x="129" y="117"/>
                  <a:pt x="127" y="116"/>
                </a:cubicBezTo>
                <a:cubicBezTo>
                  <a:pt x="125" y="114"/>
                  <a:pt x="125" y="109"/>
                  <a:pt x="127" y="107"/>
                </a:cubicBezTo>
                <a:cubicBezTo>
                  <a:pt x="154" y="81"/>
                  <a:pt x="154" y="38"/>
                  <a:pt x="127" y="12"/>
                </a:cubicBezTo>
                <a:cubicBezTo>
                  <a:pt x="125" y="10"/>
                  <a:pt x="125" y="5"/>
                  <a:pt x="127" y="3"/>
                </a:cubicBezTo>
                <a:cubicBezTo>
                  <a:pt x="130" y="0"/>
                  <a:pt x="134" y="0"/>
                  <a:pt x="137" y="3"/>
                </a:cubicBezTo>
                <a:cubicBezTo>
                  <a:pt x="152" y="18"/>
                  <a:pt x="160" y="38"/>
                  <a:pt x="160" y="59"/>
                </a:cubicBezTo>
                <a:close/>
                <a:moveTo>
                  <a:pt x="33" y="107"/>
                </a:moveTo>
                <a:cubicBezTo>
                  <a:pt x="35" y="109"/>
                  <a:pt x="35" y="114"/>
                  <a:pt x="33" y="116"/>
                </a:cubicBezTo>
                <a:cubicBezTo>
                  <a:pt x="31" y="117"/>
                  <a:pt x="30" y="118"/>
                  <a:pt x="28" y="118"/>
                </a:cubicBezTo>
                <a:cubicBezTo>
                  <a:pt x="26" y="118"/>
                  <a:pt x="25" y="117"/>
                  <a:pt x="23" y="116"/>
                </a:cubicBezTo>
                <a:cubicBezTo>
                  <a:pt x="8" y="101"/>
                  <a:pt x="0" y="81"/>
                  <a:pt x="0" y="59"/>
                </a:cubicBezTo>
                <a:cubicBezTo>
                  <a:pt x="0" y="38"/>
                  <a:pt x="8" y="18"/>
                  <a:pt x="23" y="3"/>
                </a:cubicBezTo>
                <a:cubicBezTo>
                  <a:pt x="26" y="0"/>
                  <a:pt x="30" y="0"/>
                  <a:pt x="33" y="3"/>
                </a:cubicBezTo>
                <a:cubicBezTo>
                  <a:pt x="35" y="5"/>
                  <a:pt x="35" y="10"/>
                  <a:pt x="33" y="12"/>
                </a:cubicBezTo>
                <a:cubicBezTo>
                  <a:pt x="6" y="38"/>
                  <a:pt x="6" y="81"/>
                  <a:pt x="33" y="107"/>
                </a:cubicBezTo>
                <a:close/>
              </a:path>
            </a:pathLst>
          </a:custGeom>
          <a:solidFill>
            <a:srgbClr val="FFFFFF"/>
          </a:solidFill>
          <a:ln>
            <a:noFill/>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9" name="Freeform 89">
            <a:extLst>
              <a:ext uri="{FF2B5EF4-FFF2-40B4-BE49-F238E27FC236}">
                <a16:creationId xmlns:a16="http://schemas.microsoft.com/office/drawing/2014/main" id="{2AA7940C-BBB0-4E2A-859F-F8714F31E1ED}"/>
              </a:ext>
            </a:extLst>
          </p:cNvPr>
          <p:cNvSpPr>
            <a:spLocks noEditPoints="1"/>
          </p:cNvSpPr>
          <p:nvPr/>
        </p:nvSpPr>
        <p:spPr bwMode="auto">
          <a:xfrm>
            <a:off x="7127861" y="4173426"/>
            <a:ext cx="507420" cy="420138"/>
          </a:xfrm>
          <a:custGeom>
            <a:avLst/>
            <a:gdLst>
              <a:gd name="T0" fmla="*/ 544513 w 160"/>
              <a:gd name="T1" fmla="*/ 244354 h 131"/>
              <a:gd name="T2" fmla="*/ 544513 w 160"/>
              <a:gd name="T3" fmla="*/ 244354 h 131"/>
              <a:gd name="T4" fmla="*/ 541110 w 160"/>
              <a:gd name="T5" fmla="*/ 240912 h 131"/>
              <a:gd name="T6" fmla="*/ 541110 w 160"/>
              <a:gd name="T7" fmla="*/ 240912 h 131"/>
              <a:gd name="T8" fmla="*/ 456030 w 160"/>
              <a:gd name="T9" fmla="*/ 44741 h 131"/>
              <a:gd name="T10" fmla="*/ 391369 w 160"/>
              <a:gd name="T11" fmla="*/ 0 h 131"/>
              <a:gd name="T12" fmla="*/ 391369 w 160"/>
              <a:gd name="T13" fmla="*/ 0 h 131"/>
              <a:gd name="T14" fmla="*/ 153144 w 160"/>
              <a:gd name="T15" fmla="*/ 0 h 131"/>
              <a:gd name="T16" fmla="*/ 153144 w 160"/>
              <a:gd name="T17" fmla="*/ 0 h 131"/>
              <a:gd name="T18" fmla="*/ 88483 w 160"/>
              <a:gd name="T19" fmla="*/ 44741 h 131"/>
              <a:gd name="T20" fmla="*/ 3403 w 160"/>
              <a:gd name="T21" fmla="*/ 240912 h 131"/>
              <a:gd name="T22" fmla="*/ 3403 w 160"/>
              <a:gd name="T23" fmla="*/ 240912 h 131"/>
              <a:gd name="T24" fmla="*/ 0 w 160"/>
              <a:gd name="T25" fmla="*/ 244354 h 131"/>
              <a:gd name="T26" fmla="*/ 0 w 160"/>
              <a:gd name="T27" fmla="*/ 244354 h 131"/>
              <a:gd name="T28" fmla="*/ 0 w 160"/>
              <a:gd name="T29" fmla="*/ 251237 h 131"/>
              <a:gd name="T30" fmla="*/ 0 w 160"/>
              <a:gd name="T31" fmla="*/ 375135 h 131"/>
              <a:gd name="T32" fmla="*/ 71467 w 160"/>
              <a:gd name="T33" fmla="*/ 450850 h 131"/>
              <a:gd name="T34" fmla="*/ 473046 w 160"/>
              <a:gd name="T35" fmla="*/ 450850 h 131"/>
              <a:gd name="T36" fmla="*/ 544513 w 160"/>
              <a:gd name="T37" fmla="*/ 375135 h 131"/>
              <a:gd name="T38" fmla="*/ 544513 w 160"/>
              <a:gd name="T39" fmla="*/ 251237 h 131"/>
              <a:gd name="T40" fmla="*/ 544513 w 160"/>
              <a:gd name="T41" fmla="*/ 244354 h 131"/>
              <a:gd name="T42" fmla="*/ 129322 w 160"/>
              <a:gd name="T43" fmla="*/ 61949 h 131"/>
              <a:gd name="T44" fmla="*/ 129322 w 160"/>
              <a:gd name="T45" fmla="*/ 61949 h 131"/>
              <a:gd name="T46" fmla="*/ 153144 w 160"/>
              <a:gd name="T47" fmla="*/ 44741 h 131"/>
              <a:gd name="T48" fmla="*/ 153144 w 160"/>
              <a:gd name="T49" fmla="*/ 44741 h 131"/>
              <a:gd name="T50" fmla="*/ 391369 w 160"/>
              <a:gd name="T51" fmla="*/ 44741 h 131"/>
              <a:gd name="T52" fmla="*/ 391369 w 160"/>
              <a:gd name="T53" fmla="*/ 44741 h 131"/>
              <a:gd name="T54" fmla="*/ 415191 w 160"/>
              <a:gd name="T55" fmla="*/ 61949 h 131"/>
              <a:gd name="T56" fmla="*/ 490062 w 160"/>
              <a:gd name="T57" fmla="*/ 227146 h 131"/>
              <a:gd name="T58" fmla="*/ 370949 w 160"/>
              <a:gd name="T59" fmla="*/ 227146 h 131"/>
              <a:gd name="T60" fmla="*/ 353933 w 160"/>
              <a:gd name="T61" fmla="*/ 237471 h 131"/>
              <a:gd name="T62" fmla="*/ 309692 w 160"/>
              <a:gd name="T63" fmla="*/ 302861 h 131"/>
              <a:gd name="T64" fmla="*/ 234821 w 160"/>
              <a:gd name="T65" fmla="*/ 302861 h 131"/>
              <a:gd name="T66" fmla="*/ 190580 w 160"/>
              <a:gd name="T67" fmla="*/ 237471 h 131"/>
              <a:gd name="T68" fmla="*/ 173564 w 160"/>
              <a:gd name="T69" fmla="*/ 227146 h 131"/>
              <a:gd name="T70" fmla="*/ 54451 w 160"/>
              <a:gd name="T71" fmla="*/ 227146 h 131"/>
              <a:gd name="T72" fmla="*/ 129322 w 160"/>
              <a:gd name="T73" fmla="*/ 61949 h 131"/>
              <a:gd name="T74" fmla="*/ 473046 w 160"/>
              <a:gd name="T75" fmla="*/ 406109 h 131"/>
              <a:gd name="T76" fmla="*/ 71467 w 160"/>
              <a:gd name="T77" fmla="*/ 406109 h 131"/>
              <a:gd name="T78" fmla="*/ 44242 w 160"/>
              <a:gd name="T79" fmla="*/ 375135 h 131"/>
              <a:gd name="T80" fmla="*/ 44242 w 160"/>
              <a:gd name="T81" fmla="*/ 271887 h 131"/>
              <a:gd name="T82" fmla="*/ 159951 w 160"/>
              <a:gd name="T83" fmla="*/ 271887 h 131"/>
              <a:gd name="T84" fmla="*/ 204192 w 160"/>
              <a:gd name="T85" fmla="*/ 337277 h 131"/>
              <a:gd name="T86" fmla="*/ 221208 w 160"/>
              <a:gd name="T87" fmla="*/ 347602 h 131"/>
              <a:gd name="T88" fmla="*/ 323305 w 160"/>
              <a:gd name="T89" fmla="*/ 347602 h 131"/>
              <a:gd name="T90" fmla="*/ 340321 w 160"/>
              <a:gd name="T91" fmla="*/ 337277 h 131"/>
              <a:gd name="T92" fmla="*/ 384562 w 160"/>
              <a:gd name="T93" fmla="*/ 271887 h 131"/>
              <a:gd name="T94" fmla="*/ 500271 w 160"/>
              <a:gd name="T95" fmla="*/ 271887 h 131"/>
              <a:gd name="T96" fmla="*/ 500271 w 160"/>
              <a:gd name="T97" fmla="*/ 375135 h 131"/>
              <a:gd name="T98" fmla="*/ 473046 w 160"/>
              <a:gd name="T99" fmla="*/ 406109 h 131"/>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160" h="131">
                <a:moveTo>
                  <a:pt x="160" y="71"/>
                </a:moveTo>
                <a:cubicBezTo>
                  <a:pt x="160" y="71"/>
                  <a:pt x="160" y="71"/>
                  <a:pt x="160" y="71"/>
                </a:cubicBezTo>
                <a:cubicBezTo>
                  <a:pt x="160" y="71"/>
                  <a:pt x="160" y="70"/>
                  <a:pt x="159" y="70"/>
                </a:cubicBezTo>
                <a:cubicBezTo>
                  <a:pt x="159" y="70"/>
                  <a:pt x="159" y="70"/>
                  <a:pt x="159" y="70"/>
                </a:cubicBezTo>
                <a:cubicBezTo>
                  <a:pt x="134" y="13"/>
                  <a:pt x="134" y="13"/>
                  <a:pt x="134" y="13"/>
                </a:cubicBezTo>
                <a:cubicBezTo>
                  <a:pt x="131" y="5"/>
                  <a:pt x="123" y="0"/>
                  <a:pt x="115" y="0"/>
                </a:cubicBezTo>
                <a:cubicBezTo>
                  <a:pt x="115" y="0"/>
                  <a:pt x="115" y="0"/>
                  <a:pt x="115" y="0"/>
                </a:cubicBezTo>
                <a:cubicBezTo>
                  <a:pt x="45" y="0"/>
                  <a:pt x="45" y="0"/>
                  <a:pt x="45" y="0"/>
                </a:cubicBezTo>
                <a:cubicBezTo>
                  <a:pt x="45" y="0"/>
                  <a:pt x="45" y="0"/>
                  <a:pt x="45" y="0"/>
                </a:cubicBezTo>
                <a:cubicBezTo>
                  <a:pt x="37" y="0"/>
                  <a:pt x="29" y="5"/>
                  <a:pt x="26" y="13"/>
                </a:cubicBezTo>
                <a:cubicBezTo>
                  <a:pt x="1" y="70"/>
                  <a:pt x="1" y="70"/>
                  <a:pt x="1" y="70"/>
                </a:cubicBezTo>
                <a:cubicBezTo>
                  <a:pt x="1" y="70"/>
                  <a:pt x="1" y="70"/>
                  <a:pt x="1" y="70"/>
                </a:cubicBezTo>
                <a:cubicBezTo>
                  <a:pt x="0" y="70"/>
                  <a:pt x="0" y="71"/>
                  <a:pt x="0" y="71"/>
                </a:cubicBezTo>
                <a:cubicBezTo>
                  <a:pt x="0" y="71"/>
                  <a:pt x="0" y="71"/>
                  <a:pt x="0" y="71"/>
                </a:cubicBezTo>
                <a:cubicBezTo>
                  <a:pt x="0" y="72"/>
                  <a:pt x="0" y="72"/>
                  <a:pt x="0" y="73"/>
                </a:cubicBezTo>
                <a:cubicBezTo>
                  <a:pt x="0" y="109"/>
                  <a:pt x="0" y="109"/>
                  <a:pt x="0" y="109"/>
                </a:cubicBezTo>
                <a:cubicBezTo>
                  <a:pt x="0" y="121"/>
                  <a:pt x="9" y="131"/>
                  <a:pt x="21" y="131"/>
                </a:cubicBezTo>
                <a:cubicBezTo>
                  <a:pt x="139" y="131"/>
                  <a:pt x="139" y="131"/>
                  <a:pt x="139" y="131"/>
                </a:cubicBezTo>
                <a:cubicBezTo>
                  <a:pt x="151" y="131"/>
                  <a:pt x="160" y="121"/>
                  <a:pt x="160" y="109"/>
                </a:cubicBezTo>
                <a:cubicBezTo>
                  <a:pt x="160" y="73"/>
                  <a:pt x="160" y="73"/>
                  <a:pt x="160" y="73"/>
                </a:cubicBezTo>
                <a:cubicBezTo>
                  <a:pt x="160" y="72"/>
                  <a:pt x="160" y="72"/>
                  <a:pt x="160" y="71"/>
                </a:cubicBezTo>
                <a:close/>
                <a:moveTo>
                  <a:pt x="38" y="18"/>
                </a:moveTo>
                <a:cubicBezTo>
                  <a:pt x="38" y="18"/>
                  <a:pt x="38" y="18"/>
                  <a:pt x="38" y="18"/>
                </a:cubicBezTo>
                <a:cubicBezTo>
                  <a:pt x="39" y="15"/>
                  <a:pt x="42" y="13"/>
                  <a:pt x="45" y="13"/>
                </a:cubicBezTo>
                <a:cubicBezTo>
                  <a:pt x="45" y="13"/>
                  <a:pt x="45" y="13"/>
                  <a:pt x="45" y="13"/>
                </a:cubicBezTo>
                <a:cubicBezTo>
                  <a:pt x="115" y="13"/>
                  <a:pt x="115" y="13"/>
                  <a:pt x="115" y="13"/>
                </a:cubicBezTo>
                <a:cubicBezTo>
                  <a:pt x="115" y="13"/>
                  <a:pt x="115" y="13"/>
                  <a:pt x="115" y="13"/>
                </a:cubicBezTo>
                <a:cubicBezTo>
                  <a:pt x="118" y="13"/>
                  <a:pt x="121" y="15"/>
                  <a:pt x="122" y="18"/>
                </a:cubicBezTo>
                <a:cubicBezTo>
                  <a:pt x="144" y="66"/>
                  <a:pt x="144" y="66"/>
                  <a:pt x="144" y="66"/>
                </a:cubicBezTo>
                <a:cubicBezTo>
                  <a:pt x="109" y="66"/>
                  <a:pt x="109" y="66"/>
                  <a:pt x="109" y="66"/>
                </a:cubicBezTo>
                <a:cubicBezTo>
                  <a:pt x="107" y="66"/>
                  <a:pt x="105" y="67"/>
                  <a:pt x="104" y="69"/>
                </a:cubicBezTo>
                <a:cubicBezTo>
                  <a:pt x="91" y="88"/>
                  <a:pt x="91" y="88"/>
                  <a:pt x="91" y="88"/>
                </a:cubicBezTo>
                <a:cubicBezTo>
                  <a:pt x="69" y="88"/>
                  <a:pt x="69" y="88"/>
                  <a:pt x="69" y="88"/>
                </a:cubicBezTo>
                <a:cubicBezTo>
                  <a:pt x="56" y="69"/>
                  <a:pt x="56" y="69"/>
                  <a:pt x="56" y="69"/>
                </a:cubicBezTo>
                <a:cubicBezTo>
                  <a:pt x="55" y="67"/>
                  <a:pt x="53" y="66"/>
                  <a:pt x="51" y="66"/>
                </a:cubicBezTo>
                <a:cubicBezTo>
                  <a:pt x="16" y="66"/>
                  <a:pt x="16" y="66"/>
                  <a:pt x="16" y="66"/>
                </a:cubicBezTo>
                <a:lnTo>
                  <a:pt x="38" y="18"/>
                </a:lnTo>
                <a:close/>
                <a:moveTo>
                  <a:pt x="139" y="118"/>
                </a:moveTo>
                <a:cubicBezTo>
                  <a:pt x="21" y="118"/>
                  <a:pt x="21" y="118"/>
                  <a:pt x="21" y="118"/>
                </a:cubicBezTo>
                <a:cubicBezTo>
                  <a:pt x="17" y="118"/>
                  <a:pt x="13" y="114"/>
                  <a:pt x="13" y="109"/>
                </a:cubicBezTo>
                <a:cubicBezTo>
                  <a:pt x="13" y="79"/>
                  <a:pt x="13" y="79"/>
                  <a:pt x="13" y="79"/>
                </a:cubicBezTo>
                <a:cubicBezTo>
                  <a:pt x="47" y="79"/>
                  <a:pt x="47" y="79"/>
                  <a:pt x="47" y="79"/>
                </a:cubicBezTo>
                <a:cubicBezTo>
                  <a:pt x="60" y="98"/>
                  <a:pt x="60" y="98"/>
                  <a:pt x="60" y="98"/>
                </a:cubicBezTo>
                <a:cubicBezTo>
                  <a:pt x="61" y="100"/>
                  <a:pt x="63" y="101"/>
                  <a:pt x="65" y="101"/>
                </a:cubicBezTo>
                <a:cubicBezTo>
                  <a:pt x="95" y="101"/>
                  <a:pt x="95" y="101"/>
                  <a:pt x="95" y="101"/>
                </a:cubicBezTo>
                <a:cubicBezTo>
                  <a:pt x="97" y="101"/>
                  <a:pt x="99" y="100"/>
                  <a:pt x="100" y="98"/>
                </a:cubicBezTo>
                <a:cubicBezTo>
                  <a:pt x="113" y="79"/>
                  <a:pt x="113" y="79"/>
                  <a:pt x="113" y="79"/>
                </a:cubicBezTo>
                <a:cubicBezTo>
                  <a:pt x="147" y="79"/>
                  <a:pt x="147" y="79"/>
                  <a:pt x="147" y="79"/>
                </a:cubicBezTo>
                <a:cubicBezTo>
                  <a:pt x="147" y="109"/>
                  <a:pt x="147" y="109"/>
                  <a:pt x="147" y="109"/>
                </a:cubicBezTo>
                <a:cubicBezTo>
                  <a:pt x="147" y="114"/>
                  <a:pt x="143" y="118"/>
                  <a:pt x="139" y="118"/>
                </a:cubicBezTo>
                <a:close/>
              </a:path>
            </a:pathLst>
          </a:custGeom>
          <a:solidFill>
            <a:srgbClr val="FFFFFF"/>
          </a:solidFill>
          <a:ln>
            <a:noFill/>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10" name="Freeform 46">
            <a:extLst>
              <a:ext uri="{FF2B5EF4-FFF2-40B4-BE49-F238E27FC236}">
                <a16:creationId xmlns:a16="http://schemas.microsoft.com/office/drawing/2014/main" id="{31C41DBA-46D9-47AA-AA87-A8C60777818E}"/>
              </a:ext>
            </a:extLst>
          </p:cNvPr>
          <p:cNvSpPr>
            <a:spLocks noEditPoints="1"/>
          </p:cNvSpPr>
          <p:nvPr/>
        </p:nvSpPr>
        <p:spPr bwMode="auto">
          <a:xfrm>
            <a:off x="6634097" y="2673359"/>
            <a:ext cx="462028" cy="393328"/>
          </a:xfrm>
          <a:custGeom>
            <a:avLst/>
            <a:gdLst>
              <a:gd name="T0" fmla="*/ 10210 w 160"/>
              <a:gd name="T1" fmla="*/ 206022 h 135"/>
              <a:gd name="T2" fmla="*/ 6806 w 160"/>
              <a:gd name="T3" fmla="*/ 206022 h 135"/>
              <a:gd name="T4" fmla="*/ 3403 w 160"/>
              <a:gd name="T5" fmla="*/ 202589 h 135"/>
              <a:gd name="T6" fmla="*/ 0 w 160"/>
              <a:gd name="T7" fmla="*/ 199155 h 135"/>
              <a:gd name="T8" fmla="*/ 0 w 160"/>
              <a:gd name="T9" fmla="*/ 192287 h 135"/>
              <a:gd name="T10" fmla="*/ 0 w 160"/>
              <a:gd name="T11" fmla="*/ 188854 h 135"/>
              <a:gd name="T12" fmla="*/ 20419 w 160"/>
              <a:gd name="T13" fmla="*/ 30903 h 135"/>
              <a:gd name="T14" fmla="*/ 44242 w 160"/>
              <a:gd name="T15" fmla="*/ 137348 h 135"/>
              <a:gd name="T16" fmla="*/ 197386 w 160"/>
              <a:gd name="T17" fmla="*/ 20602 h 135"/>
              <a:gd name="T18" fmla="*/ 486658 w 160"/>
              <a:gd name="T19" fmla="*/ 157950 h 135"/>
              <a:gd name="T20" fmla="*/ 445820 w 160"/>
              <a:gd name="T21" fmla="*/ 175119 h 135"/>
              <a:gd name="T22" fmla="*/ 142935 w 160"/>
              <a:gd name="T23" fmla="*/ 106445 h 135"/>
              <a:gd name="T24" fmla="*/ 78274 w 160"/>
              <a:gd name="T25" fmla="*/ 168251 h 135"/>
              <a:gd name="T26" fmla="*/ 180370 w 160"/>
              <a:gd name="T27" fmla="*/ 188854 h 135"/>
              <a:gd name="T28" fmla="*/ 20419 w 160"/>
              <a:gd name="T29" fmla="*/ 212890 h 135"/>
              <a:gd name="T30" fmla="*/ 17016 w 160"/>
              <a:gd name="T31" fmla="*/ 212890 h 135"/>
              <a:gd name="T32" fmla="*/ 13613 w 160"/>
              <a:gd name="T33" fmla="*/ 209456 h 135"/>
              <a:gd name="T34" fmla="*/ 544513 w 160"/>
              <a:gd name="T35" fmla="*/ 281564 h 135"/>
              <a:gd name="T36" fmla="*/ 544513 w 160"/>
              <a:gd name="T37" fmla="*/ 274696 h 135"/>
              <a:gd name="T38" fmla="*/ 541110 w 160"/>
              <a:gd name="T39" fmla="*/ 271263 h 135"/>
              <a:gd name="T40" fmla="*/ 541110 w 160"/>
              <a:gd name="T41" fmla="*/ 267829 h 135"/>
              <a:gd name="T42" fmla="*/ 537707 w 160"/>
              <a:gd name="T43" fmla="*/ 267829 h 135"/>
              <a:gd name="T44" fmla="*/ 534303 w 160"/>
              <a:gd name="T45" fmla="*/ 264395 h 135"/>
              <a:gd name="T46" fmla="*/ 530900 w 160"/>
              <a:gd name="T47" fmla="*/ 260961 h 135"/>
              <a:gd name="T48" fmla="*/ 527497 w 160"/>
              <a:gd name="T49" fmla="*/ 260961 h 135"/>
              <a:gd name="T50" fmla="*/ 524094 w 160"/>
              <a:gd name="T51" fmla="*/ 260961 h 135"/>
              <a:gd name="T52" fmla="*/ 384562 w 160"/>
              <a:gd name="T53" fmla="*/ 260961 h 135"/>
              <a:gd name="T54" fmla="*/ 384562 w 160"/>
              <a:gd name="T55" fmla="*/ 302166 h 135"/>
              <a:gd name="T56" fmla="*/ 401578 w 160"/>
              <a:gd name="T57" fmla="*/ 363973 h 135"/>
              <a:gd name="T58" fmla="*/ 272257 w 160"/>
              <a:gd name="T59" fmla="*/ 418912 h 135"/>
              <a:gd name="T60" fmla="*/ 142935 w 160"/>
              <a:gd name="T61" fmla="*/ 367406 h 135"/>
              <a:gd name="T62" fmla="*/ 71467 w 160"/>
              <a:gd name="T63" fmla="*/ 284997 h 135"/>
              <a:gd name="T64" fmla="*/ 112306 w 160"/>
              <a:gd name="T65" fmla="*/ 398310 h 135"/>
              <a:gd name="T66" fmla="*/ 272257 w 160"/>
              <a:gd name="T67" fmla="*/ 463550 h 135"/>
              <a:gd name="T68" fmla="*/ 500271 w 160"/>
              <a:gd name="T69" fmla="*/ 333069 h 135"/>
              <a:gd name="T70" fmla="*/ 524094 w 160"/>
              <a:gd name="T71" fmla="*/ 442948 h 135"/>
              <a:gd name="T72" fmla="*/ 544513 w 160"/>
              <a:gd name="T73" fmla="*/ 281564 h 135"/>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160" h="135">
                <a:moveTo>
                  <a:pt x="3" y="61"/>
                </a:moveTo>
                <a:cubicBezTo>
                  <a:pt x="3" y="61"/>
                  <a:pt x="3" y="60"/>
                  <a:pt x="3" y="60"/>
                </a:cubicBezTo>
                <a:cubicBezTo>
                  <a:pt x="2" y="60"/>
                  <a:pt x="2" y="60"/>
                  <a:pt x="2" y="60"/>
                </a:cubicBezTo>
                <a:cubicBezTo>
                  <a:pt x="2" y="60"/>
                  <a:pt x="2" y="60"/>
                  <a:pt x="2" y="60"/>
                </a:cubicBezTo>
                <a:cubicBezTo>
                  <a:pt x="2" y="60"/>
                  <a:pt x="2" y="59"/>
                  <a:pt x="1" y="59"/>
                </a:cubicBezTo>
                <a:cubicBezTo>
                  <a:pt x="1" y="59"/>
                  <a:pt x="1" y="59"/>
                  <a:pt x="1" y="59"/>
                </a:cubicBezTo>
                <a:cubicBezTo>
                  <a:pt x="1" y="59"/>
                  <a:pt x="1" y="58"/>
                  <a:pt x="1" y="58"/>
                </a:cubicBezTo>
                <a:cubicBezTo>
                  <a:pt x="1" y="58"/>
                  <a:pt x="1" y="58"/>
                  <a:pt x="0" y="58"/>
                </a:cubicBezTo>
                <a:cubicBezTo>
                  <a:pt x="0" y="57"/>
                  <a:pt x="0" y="57"/>
                  <a:pt x="0" y="57"/>
                </a:cubicBezTo>
                <a:cubicBezTo>
                  <a:pt x="0" y="57"/>
                  <a:pt x="0" y="57"/>
                  <a:pt x="0" y="56"/>
                </a:cubicBezTo>
                <a:cubicBezTo>
                  <a:pt x="0" y="56"/>
                  <a:pt x="0" y="56"/>
                  <a:pt x="0" y="56"/>
                </a:cubicBezTo>
                <a:cubicBezTo>
                  <a:pt x="0" y="56"/>
                  <a:pt x="0" y="55"/>
                  <a:pt x="0" y="55"/>
                </a:cubicBezTo>
                <a:cubicBezTo>
                  <a:pt x="0" y="15"/>
                  <a:pt x="0" y="15"/>
                  <a:pt x="0" y="15"/>
                </a:cubicBezTo>
                <a:cubicBezTo>
                  <a:pt x="0" y="12"/>
                  <a:pt x="3" y="9"/>
                  <a:pt x="6" y="9"/>
                </a:cubicBezTo>
                <a:cubicBezTo>
                  <a:pt x="10" y="9"/>
                  <a:pt x="13" y="12"/>
                  <a:pt x="13" y="15"/>
                </a:cubicBezTo>
                <a:cubicBezTo>
                  <a:pt x="13" y="40"/>
                  <a:pt x="13" y="40"/>
                  <a:pt x="13" y="40"/>
                </a:cubicBezTo>
                <a:cubicBezTo>
                  <a:pt x="33" y="21"/>
                  <a:pt x="33" y="21"/>
                  <a:pt x="33" y="21"/>
                </a:cubicBezTo>
                <a:cubicBezTo>
                  <a:pt x="40" y="15"/>
                  <a:pt x="49" y="9"/>
                  <a:pt x="58" y="6"/>
                </a:cubicBezTo>
                <a:cubicBezTo>
                  <a:pt x="75" y="0"/>
                  <a:pt x="93" y="1"/>
                  <a:pt x="109" y="9"/>
                </a:cubicBezTo>
                <a:cubicBezTo>
                  <a:pt x="125" y="16"/>
                  <a:pt x="137" y="30"/>
                  <a:pt x="143" y="46"/>
                </a:cubicBezTo>
                <a:cubicBezTo>
                  <a:pt x="144" y="50"/>
                  <a:pt x="142" y="53"/>
                  <a:pt x="139" y="55"/>
                </a:cubicBezTo>
                <a:cubicBezTo>
                  <a:pt x="136" y="56"/>
                  <a:pt x="132" y="54"/>
                  <a:pt x="131" y="51"/>
                </a:cubicBezTo>
                <a:cubicBezTo>
                  <a:pt x="121" y="23"/>
                  <a:pt x="90" y="8"/>
                  <a:pt x="62" y="18"/>
                </a:cubicBezTo>
                <a:cubicBezTo>
                  <a:pt x="55" y="21"/>
                  <a:pt x="48" y="25"/>
                  <a:pt x="42" y="31"/>
                </a:cubicBezTo>
                <a:cubicBezTo>
                  <a:pt x="42" y="31"/>
                  <a:pt x="42" y="31"/>
                  <a:pt x="42" y="31"/>
                </a:cubicBezTo>
                <a:cubicBezTo>
                  <a:pt x="23" y="49"/>
                  <a:pt x="23" y="49"/>
                  <a:pt x="23" y="49"/>
                </a:cubicBezTo>
                <a:cubicBezTo>
                  <a:pt x="47" y="49"/>
                  <a:pt x="47" y="49"/>
                  <a:pt x="47" y="49"/>
                </a:cubicBezTo>
                <a:cubicBezTo>
                  <a:pt x="50" y="49"/>
                  <a:pt x="53" y="52"/>
                  <a:pt x="53" y="55"/>
                </a:cubicBezTo>
                <a:cubicBezTo>
                  <a:pt x="53" y="59"/>
                  <a:pt x="50" y="62"/>
                  <a:pt x="47" y="62"/>
                </a:cubicBezTo>
                <a:cubicBezTo>
                  <a:pt x="6" y="62"/>
                  <a:pt x="6" y="62"/>
                  <a:pt x="6" y="62"/>
                </a:cubicBezTo>
                <a:cubicBezTo>
                  <a:pt x="6" y="62"/>
                  <a:pt x="6" y="62"/>
                  <a:pt x="6" y="62"/>
                </a:cubicBezTo>
                <a:cubicBezTo>
                  <a:pt x="6" y="62"/>
                  <a:pt x="6" y="62"/>
                  <a:pt x="5" y="62"/>
                </a:cubicBezTo>
                <a:cubicBezTo>
                  <a:pt x="5" y="62"/>
                  <a:pt x="4" y="61"/>
                  <a:pt x="4" y="61"/>
                </a:cubicBezTo>
                <a:cubicBezTo>
                  <a:pt x="4" y="61"/>
                  <a:pt x="4" y="61"/>
                  <a:pt x="4" y="61"/>
                </a:cubicBezTo>
                <a:cubicBezTo>
                  <a:pt x="3" y="61"/>
                  <a:pt x="3" y="61"/>
                  <a:pt x="3" y="61"/>
                </a:cubicBezTo>
                <a:close/>
                <a:moveTo>
                  <a:pt x="160" y="82"/>
                </a:moveTo>
                <a:cubicBezTo>
                  <a:pt x="160" y="81"/>
                  <a:pt x="160" y="81"/>
                  <a:pt x="160" y="81"/>
                </a:cubicBezTo>
                <a:cubicBezTo>
                  <a:pt x="160" y="81"/>
                  <a:pt x="160" y="80"/>
                  <a:pt x="160" y="80"/>
                </a:cubicBezTo>
                <a:cubicBezTo>
                  <a:pt x="160" y="80"/>
                  <a:pt x="160" y="80"/>
                  <a:pt x="160" y="80"/>
                </a:cubicBezTo>
                <a:cubicBezTo>
                  <a:pt x="159" y="79"/>
                  <a:pt x="159" y="79"/>
                  <a:pt x="159" y="79"/>
                </a:cubicBezTo>
                <a:cubicBezTo>
                  <a:pt x="159" y="79"/>
                  <a:pt x="159" y="79"/>
                  <a:pt x="159" y="79"/>
                </a:cubicBezTo>
                <a:cubicBezTo>
                  <a:pt x="159" y="78"/>
                  <a:pt x="159" y="78"/>
                  <a:pt x="159" y="78"/>
                </a:cubicBezTo>
                <a:cubicBezTo>
                  <a:pt x="158" y="78"/>
                  <a:pt x="158" y="78"/>
                  <a:pt x="158" y="78"/>
                </a:cubicBezTo>
                <a:cubicBezTo>
                  <a:pt x="158" y="78"/>
                  <a:pt x="158" y="78"/>
                  <a:pt x="158" y="78"/>
                </a:cubicBezTo>
                <a:cubicBezTo>
                  <a:pt x="158" y="77"/>
                  <a:pt x="158" y="77"/>
                  <a:pt x="158" y="77"/>
                </a:cubicBezTo>
                <a:cubicBezTo>
                  <a:pt x="157" y="77"/>
                  <a:pt x="157" y="77"/>
                  <a:pt x="157" y="77"/>
                </a:cubicBezTo>
                <a:cubicBezTo>
                  <a:pt x="157" y="77"/>
                  <a:pt x="157" y="77"/>
                  <a:pt x="157" y="76"/>
                </a:cubicBezTo>
                <a:cubicBezTo>
                  <a:pt x="156" y="76"/>
                  <a:pt x="156" y="76"/>
                  <a:pt x="156" y="76"/>
                </a:cubicBezTo>
                <a:cubicBezTo>
                  <a:pt x="156" y="76"/>
                  <a:pt x="156" y="76"/>
                  <a:pt x="156" y="76"/>
                </a:cubicBezTo>
                <a:cubicBezTo>
                  <a:pt x="155" y="76"/>
                  <a:pt x="155" y="76"/>
                  <a:pt x="155" y="76"/>
                </a:cubicBezTo>
                <a:cubicBezTo>
                  <a:pt x="155" y="76"/>
                  <a:pt x="155" y="76"/>
                  <a:pt x="154" y="76"/>
                </a:cubicBezTo>
                <a:cubicBezTo>
                  <a:pt x="154" y="76"/>
                  <a:pt x="154" y="76"/>
                  <a:pt x="154" y="76"/>
                </a:cubicBezTo>
                <a:cubicBezTo>
                  <a:pt x="154" y="76"/>
                  <a:pt x="154" y="76"/>
                  <a:pt x="154" y="76"/>
                </a:cubicBezTo>
                <a:cubicBezTo>
                  <a:pt x="113" y="76"/>
                  <a:pt x="113" y="76"/>
                  <a:pt x="113" y="76"/>
                </a:cubicBezTo>
                <a:cubicBezTo>
                  <a:pt x="110" y="76"/>
                  <a:pt x="107" y="78"/>
                  <a:pt x="107" y="82"/>
                </a:cubicBezTo>
                <a:cubicBezTo>
                  <a:pt x="107" y="86"/>
                  <a:pt x="110" y="88"/>
                  <a:pt x="113" y="88"/>
                </a:cubicBezTo>
                <a:cubicBezTo>
                  <a:pt x="137" y="88"/>
                  <a:pt x="137" y="88"/>
                  <a:pt x="137" y="88"/>
                </a:cubicBezTo>
                <a:cubicBezTo>
                  <a:pt x="118" y="106"/>
                  <a:pt x="118" y="106"/>
                  <a:pt x="118" y="106"/>
                </a:cubicBezTo>
                <a:cubicBezTo>
                  <a:pt x="118" y="107"/>
                  <a:pt x="118" y="107"/>
                  <a:pt x="118" y="107"/>
                </a:cubicBezTo>
                <a:cubicBezTo>
                  <a:pt x="108" y="117"/>
                  <a:pt x="94" y="122"/>
                  <a:pt x="80" y="122"/>
                </a:cubicBezTo>
                <a:cubicBezTo>
                  <a:pt x="80" y="122"/>
                  <a:pt x="80" y="122"/>
                  <a:pt x="80" y="122"/>
                </a:cubicBezTo>
                <a:cubicBezTo>
                  <a:pt x="66" y="122"/>
                  <a:pt x="52" y="117"/>
                  <a:pt x="42" y="107"/>
                </a:cubicBezTo>
                <a:cubicBezTo>
                  <a:pt x="36" y="101"/>
                  <a:pt x="32" y="94"/>
                  <a:pt x="29" y="87"/>
                </a:cubicBezTo>
                <a:cubicBezTo>
                  <a:pt x="28" y="83"/>
                  <a:pt x="24" y="81"/>
                  <a:pt x="21" y="83"/>
                </a:cubicBezTo>
                <a:cubicBezTo>
                  <a:pt x="18" y="84"/>
                  <a:pt x="16" y="87"/>
                  <a:pt x="17" y="91"/>
                </a:cubicBezTo>
                <a:cubicBezTo>
                  <a:pt x="20" y="100"/>
                  <a:pt x="26" y="109"/>
                  <a:pt x="33" y="116"/>
                </a:cubicBezTo>
                <a:cubicBezTo>
                  <a:pt x="45" y="128"/>
                  <a:pt x="62" y="135"/>
                  <a:pt x="80" y="135"/>
                </a:cubicBezTo>
                <a:cubicBezTo>
                  <a:pt x="80" y="135"/>
                  <a:pt x="80" y="135"/>
                  <a:pt x="80" y="135"/>
                </a:cubicBezTo>
                <a:cubicBezTo>
                  <a:pt x="98" y="135"/>
                  <a:pt x="114" y="128"/>
                  <a:pt x="127" y="116"/>
                </a:cubicBezTo>
                <a:cubicBezTo>
                  <a:pt x="147" y="97"/>
                  <a:pt x="147" y="97"/>
                  <a:pt x="147" y="97"/>
                </a:cubicBezTo>
                <a:cubicBezTo>
                  <a:pt x="147" y="122"/>
                  <a:pt x="147" y="122"/>
                  <a:pt x="147" y="122"/>
                </a:cubicBezTo>
                <a:cubicBezTo>
                  <a:pt x="147" y="126"/>
                  <a:pt x="150" y="129"/>
                  <a:pt x="154" y="129"/>
                </a:cubicBezTo>
                <a:cubicBezTo>
                  <a:pt x="157" y="129"/>
                  <a:pt x="160" y="126"/>
                  <a:pt x="160" y="122"/>
                </a:cubicBezTo>
                <a:cubicBezTo>
                  <a:pt x="160" y="82"/>
                  <a:pt x="160" y="82"/>
                  <a:pt x="160" y="82"/>
                </a:cubicBezTo>
                <a:cubicBezTo>
                  <a:pt x="160" y="82"/>
                  <a:pt x="160" y="82"/>
                  <a:pt x="160" y="82"/>
                </a:cubicBezTo>
                <a:close/>
              </a:path>
            </a:pathLst>
          </a:custGeom>
          <a:solidFill>
            <a:srgbClr val="FFFFFF"/>
          </a:solidFill>
          <a:ln>
            <a:noFill/>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grpSp>
        <p:nvGrpSpPr>
          <p:cNvPr id="16" name="Group 57">
            <a:extLst>
              <a:ext uri="{FF2B5EF4-FFF2-40B4-BE49-F238E27FC236}">
                <a16:creationId xmlns:a16="http://schemas.microsoft.com/office/drawing/2014/main" id="{FC40C87C-457D-40DA-9934-B312C7C960C8}"/>
              </a:ext>
            </a:extLst>
          </p:cNvPr>
          <p:cNvGrpSpPr/>
          <p:nvPr/>
        </p:nvGrpSpPr>
        <p:grpSpPr>
          <a:xfrm>
            <a:off x="5751871" y="3623341"/>
            <a:ext cx="688258" cy="760154"/>
            <a:chOff x="5153025" y="2384426"/>
            <a:chExt cx="1884363" cy="2081213"/>
          </a:xfrm>
          <a:gradFill>
            <a:gsLst>
              <a:gs pos="64000">
                <a:schemeClr val="accent1"/>
              </a:gs>
              <a:gs pos="31000">
                <a:schemeClr val="accent1">
                  <a:lumMod val="60000"/>
                  <a:lumOff val="40000"/>
                </a:schemeClr>
              </a:gs>
              <a:gs pos="0">
                <a:schemeClr val="accent1">
                  <a:lumMod val="40000"/>
                  <a:lumOff val="60000"/>
                </a:schemeClr>
              </a:gs>
            </a:gsLst>
            <a:lin ang="5400000" scaled="1"/>
          </a:gradFill>
        </p:grpSpPr>
        <p:sp>
          <p:nvSpPr>
            <p:cNvPr id="17" name="Freeform 5">
              <a:extLst>
                <a:ext uri="{FF2B5EF4-FFF2-40B4-BE49-F238E27FC236}">
                  <a16:creationId xmlns:a16="http://schemas.microsoft.com/office/drawing/2014/main" id="{8CD816D2-A017-49D4-8235-1C1C559E73F6}"/>
                </a:ext>
              </a:extLst>
            </p:cNvPr>
            <p:cNvSpPr>
              <a:spLocks/>
            </p:cNvSpPr>
            <p:nvPr/>
          </p:nvSpPr>
          <p:spPr bwMode="auto">
            <a:xfrm>
              <a:off x="5529263" y="2384426"/>
              <a:ext cx="377825" cy="763588"/>
            </a:xfrm>
            <a:custGeom>
              <a:avLst/>
              <a:gdLst>
                <a:gd name="T0" fmla="*/ 252 w 373"/>
                <a:gd name="T1" fmla="*/ 409 h 754"/>
                <a:gd name="T2" fmla="*/ 187 w 373"/>
                <a:gd name="T3" fmla="*/ 288 h 754"/>
                <a:gd name="T4" fmla="*/ 252 w 373"/>
                <a:gd name="T5" fmla="*/ 168 h 754"/>
                <a:gd name="T6" fmla="*/ 252 w 373"/>
                <a:gd name="T7" fmla="*/ 36 h 754"/>
                <a:gd name="T8" fmla="*/ 121 w 373"/>
                <a:gd name="T9" fmla="*/ 36 h 754"/>
                <a:gd name="T10" fmla="*/ 0 w 373"/>
                <a:gd name="T11" fmla="*/ 288 h 754"/>
                <a:gd name="T12" fmla="*/ 121 w 373"/>
                <a:gd name="T13" fmla="*/ 540 h 754"/>
                <a:gd name="T14" fmla="*/ 187 w 373"/>
                <a:gd name="T15" fmla="*/ 661 h 754"/>
                <a:gd name="T16" fmla="*/ 280 w 373"/>
                <a:gd name="T17" fmla="*/ 754 h 754"/>
                <a:gd name="T18" fmla="*/ 373 w 373"/>
                <a:gd name="T19" fmla="*/ 661 h 754"/>
                <a:gd name="T20" fmla="*/ 252 w 373"/>
                <a:gd name="T21" fmla="*/ 409 h 7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3" h="754">
                  <a:moveTo>
                    <a:pt x="252" y="409"/>
                  </a:moveTo>
                  <a:cubicBezTo>
                    <a:pt x="207" y="363"/>
                    <a:pt x="187" y="341"/>
                    <a:pt x="187" y="288"/>
                  </a:cubicBezTo>
                  <a:cubicBezTo>
                    <a:pt x="187" y="236"/>
                    <a:pt x="207" y="214"/>
                    <a:pt x="252" y="168"/>
                  </a:cubicBezTo>
                  <a:cubicBezTo>
                    <a:pt x="289" y="132"/>
                    <a:pt x="289" y="73"/>
                    <a:pt x="252" y="36"/>
                  </a:cubicBezTo>
                  <a:cubicBezTo>
                    <a:pt x="216" y="0"/>
                    <a:pt x="157" y="0"/>
                    <a:pt x="121" y="36"/>
                  </a:cubicBezTo>
                  <a:cubicBezTo>
                    <a:pt x="70" y="87"/>
                    <a:pt x="0" y="157"/>
                    <a:pt x="0" y="288"/>
                  </a:cubicBezTo>
                  <a:cubicBezTo>
                    <a:pt x="0" y="420"/>
                    <a:pt x="70" y="489"/>
                    <a:pt x="121" y="540"/>
                  </a:cubicBezTo>
                  <a:cubicBezTo>
                    <a:pt x="166" y="586"/>
                    <a:pt x="187" y="608"/>
                    <a:pt x="187" y="661"/>
                  </a:cubicBezTo>
                  <a:cubicBezTo>
                    <a:pt x="187" y="712"/>
                    <a:pt x="228" y="754"/>
                    <a:pt x="280" y="754"/>
                  </a:cubicBezTo>
                  <a:cubicBezTo>
                    <a:pt x="331" y="754"/>
                    <a:pt x="373" y="712"/>
                    <a:pt x="373" y="661"/>
                  </a:cubicBezTo>
                  <a:cubicBezTo>
                    <a:pt x="373" y="529"/>
                    <a:pt x="303" y="459"/>
                    <a:pt x="252" y="40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18" name="Freeform 6">
              <a:extLst>
                <a:ext uri="{FF2B5EF4-FFF2-40B4-BE49-F238E27FC236}">
                  <a16:creationId xmlns:a16="http://schemas.microsoft.com/office/drawing/2014/main" id="{BB50D470-CB6D-4655-A363-062125615A54}"/>
                </a:ext>
              </a:extLst>
            </p:cNvPr>
            <p:cNvSpPr>
              <a:spLocks/>
            </p:cNvSpPr>
            <p:nvPr/>
          </p:nvSpPr>
          <p:spPr bwMode="auto">
            <a:xfrm>
              <a:off x="5970588" y="2384426"/>
              <a:ext cx="376238" cy="763588"/>
            </a:xfrm>
            <a:custGeom>
              <a:avLst/>
              <a:gdLst>
                <a:gd name="T0" fmla="*/ 252 w 372"/>
                <a:gd name="T1" fmla="*/ 409 h 754"/>
                <a:gd name="T2" fmla="*/ 186 w 372"/>
                <a:gd name="T3" fmla="*/ 288 h 754"/>
                <a:gd name="T4" fmla="*/ 252 w 372"/>
                <a:gd name="T5" fmla="*/ 168 h 754"/>
                <a:gd name="T6" fmla="*/ 252 w 372"/>
                <a:gd name="T7" fmla="*/ 36 h 754"/>
                <a:gd name="T8" fmla="*/ 120 w 372"/>
                <a:gd name="T9" fmla="*/ 36 h 754"/>
                <a:gd name="T10" fmla="*/ 0 w 372"/>
                <a:gd name="T11" fmla="*/ 288 h 754"/>
                <a:gd name="T12" fmla="*/ 120 w 372"/>
                <a:gd name="T13" fmla="*/ 540 h 754"/>
                <a:gd name="T14" fmla="*/ 186 w 372"/>
                <a:gd name="T15" fmla="*/ 661 h 754"/>
                <a:gd name="T16" fmla="*/ 279 w 372"/>
                <a:gd name="T17" fmla="*/ 754 h 754"/>
                <a:gd name="T18" fmla="*/ 372 w 372"/>
                <a:gd name="T19" fmla="*/ 661 h 754"/>
                <a:gd name="T20" fmla="*/ 252 w 372"/>
                <a:gd name="T21" fmla="*/ 409 h 7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2" h="754">
                  <a:moveTo>
                    <a:pt x="252" y="409"/>
                  </a:moveTo>
                  <a:cubicBezTo>
                    <a:pt x="206" y="363"/>
                    <a:pt x="186" y="341"/>
                    <a:pt x="186" y="288"/>
                  </a:cubicBezTo>
                  <a:cubicBezTo>
                    <a:pt x="186" y="236"/>
                    <a:pt x="206" y="214"/>
                    <a:pt x="252" y="168"/>
                  </a:cubicBezTo>
                  <a:cubicBezTo>
                    <a:pt x="288" y="132"/>
                    <a:pt x="288" y="73"/>
                    <a:pt x="252" y="36"/>
                  </a:cubicBezTo>
                  <a:cubicBezTo>
                    <a:pt x="216" y="0"/>
                    <a:pt x="157" y="0"/>
                    <a:pt x="120" y="36"/>
                  </a:cubicBezTo>
                  <a:cubicBezTo>
                    <a:pt x="69" y="87"/>
                    <a:pt x="0" y="157"/>
                    <a:pt x="0" y="288"/>
                  </a:cubicBezTo>
                  <a:cubicBezTo>
                    <a:pt x="0" y="420"/>
                    <a:pt x="69" y="489"/>
                    <a:pt x="120" y="540"/>
                  </a:cubicBezTo>
                  <a:cubicBezTo>
                    <a:pt x="166" y="586"/>
                    <a:pt x="186" y="608"/>
                    <a:pt x="186" y="661"/>
                  </a:cubicBezTo>
                  <a:cubicBezTo>
                    <a:pt x="186" y="712"/>
                    <a:pt x="228" y="754"/>
                    <a:pt x="279" y="754"/>
                  </a:cubicBezTo>
                  <a:cubicBezTo>
                    <a:pt x="331" y="754"/>
                    <a:pt x="372" y="712"/>
                    <a:pt x="372" y="661"/>
                  </a:cubicBezTo>
                  <a:cubicBezTo>
                    <a:pt x="372" y="529"/>
                    <a:pt x="303" y="459"/>
                    <a:pt x="252" y="40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19" name="Freeform 7">
              <a:extLst>
                <a:ext uri="{FF2B5EF4-FFF2-40B4-BE49-F238E27FC236}">
                  <a16:creationId xmlns:a16="http://schemas.microsoft.com/office/drawing/2014/main" id="{9F55C34D-12EE-4FCA-BDF6-E00967CD4047}"/>
                </a:ext>
              </a:extLst>
            </p:cNvPr>
            <p:cNvSpPr>
              <a:spLocks noEditPoints="1"/>
            </p:cNvSpPr>
            <p:nvPr/>
          </p:nvSpPr>
          <p:spPr bwMode="auto">
            <a:xfrm>
              <a:off x="5153025" y="3335340"/>
              <a:ext cx="1884363" cy="1130299"/>
            </a:xfrm>
            <a:custGeom>
              <a:avLst/>
              <a:gdLst>
                <a:gd name="T0" fmla="*/ 1433 w 1862"/>
                <a:gd name="T1" fmla="*/ 683 h 1117"/>
                <a:gd name="T2" fmla="*/ 1521 w 1862"/>
                <a:gd name="T3" fmla="*/ 683 h 1117"/>
                <a:gd name="T4" fmla="*/ 1521 w 1862"/>
                <a:gd name="T5" fmla="*/ 683 h 1117"/>
                <a:gd name="T6" fmla="*/ 1862 w 1862"/>
                <a:gd name="T7" fmla="*/ 341 h 1117"/>
                <a:gd name="T8" fmla="*/ 1521 w 1862"/>
                <a:gd name="T9" fmla="*/ 0 h 1117"/>
                <a:gd name="T10" fmla="*/ 1396 w 1862"/>
                <a:gd name="T11" fmla="*/ 0 h 1117"/>
                <a:gd name="T12" fmla="*/ 155 w 1862"/>
                <a:gd name="T13" fmla="*/ 0 h 1117"/>
                <a:gd name="T14" fmla="*/ 62 w 1862"/>
                <a:gd name="T15" fmla="*/ 93 h 1117"/>
                <a:gd name="T16" fmla="*/ 62 w 1862"/>
                <a:gd name="T17" fmla="*/ 403 h 1117"/>
                <a:gd name="T18" fmla="*/ 296 w 1862"/>
                <a:gd name="T19" fmla="*/ 931 h 1117"/>
                <a:gd name="T20" fmla="*/ 93 w 1862"/>
                <a:gd name="T21" fmla="*/ 931 h 1117"/>
                <a:gd name="T22" fmla="*/ 0 w 1862"/>
                <a:gd name="T23" fmla="*/ 1024 h 1117"/>
                <a:gd name="T24" fmla="*/ 93 w 1862"/>
                <a:gd name="T25" fmla="*/ 1117 h 1117"/>
                <a:gd name="T26" fmla="*/ 776 w 1862"/>
                <a:gd name="T27" fmla="*/ 1117 h 1117"/>
                <a:gd name="T28" fmla="*/ 1459 w 1862"/>
                <a:gd name="T29" fmla="*/ 1117 h 1117"/>
                <a:gd name="T30" fmla="*/ 1552 w 1862"/>
                <a:gd name="T31" fmla="*/ 1024 h 1117"/>
                <a:gd name="T32" fmla="*/ 1459 w 1862"/>
                <a:gd name="T33" fmla="*/ 931 h 1117"/>
                <a:gd name="T34" fmla="*/ 1256 w 1862"/>
                <a:gd name="T35" fmla="*/ 931 h 1117"/>
                <a:gd name="T36" fmla="*/ 1433 w 1862"/>
                <a:gd name="T37" fmla="*/ 683 h 1117"/>
                <a:gd name="T38" fmla="*/ 1490 w 1862"/>
                <a:gd name="T39" fmla="*/ 403 h 1117"/>
                <a:gd name="T40" fmla="*/ 1490 w 1862"/>
                <a:gd name="T41" fmla="*/ 186 h 1117"/>
                <a:gd name="T42" fmla="*/ 1521 w 1862"/>
                <a:gd name="T43" fmla="*/ 186 h 1117"/>
                <a:gd name="T44" fmla="*/ 1676 w 1862"/>
                <a:gd name="T45" fmla="*/ 341 h 1117"/>
                <a:gd name="T46" fmla="*/ 1521 w 1862"/>
                <a:gd name="T47" fmla="*/ 496 h 1117"/>
                <a:gd name="T48" fmla="*/ 1520 w 1862"/>
                <a:gd name="T49" fmla="*/ 496 h 1117"/>
                <a:gd name="T50" fmla="*/ 1483 w 1862"/>
                <a:gd name="T51" fmla="*/ 496 h 1117"/>
                <a:gd name="T52" fmla="*/ 1490 w 1862"/>
                <a:gd name="T53" fmla="*/ 403 h 1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62" h="1117">
                  <a:moveTo>
                    <a:pt x="1433" y="683"/>
                  </a:moveTo>
                  <a:cubicBezTo>
                    <a:pt x="1521" y="683"/>
                    <a:pt x="1521" y="683"/>
                    <a:pt x="1521" y="683"/>
                  </a:cubicBezTo>
                  <a:cubicBezTo>
                    <a:pt x="1521" y="683"/>
                    <a:pt x="1521" y="683"/>
                    <a:pt x="1521" y="683"/>
                  </a:cubicBezTo>
                  <a:cubicBezTo>
                    <a:pt x="1709" y="682"/>
                    <a:pt x="1862" y="529"/>
                    <a:pt x="1862" y="341"/>
                  </a:cubicBezTo>
                  <a:cubicBezTo>
                    <a:pt x="1862" y="153"/>
                    <a:pt x="1709" y="0"/>
                    <a:pt x="1521" y="0"/>
                  </a:cubicBezTo>
                  <a:cubicBezTo>
                    <a:pt x="1396" y="0"/>
                    <a:pt x="1396" y="0"/>
                    <a:pt x="1396" y="0"/>
                  </a:cubicBezTo>
                  <a:cubicBezTo>
                    <a:pt x="155" y="0"/>
                    <a:pt x="155" y="0"/>
                    <a:pt x="155" y="0"/>
                  </a:cubicBezTo>
                  <a:cubicBezTo>
                    <a:pt x="104" y="0"/>
                    <a:pt x="62" y="42"/>
                    <a:pt x="62" y="93"/>
                  </a:cubicBezTo>
                  <a:cubicBezTo>
                    <a:pt x="62" y="403"/>
                    <a:pt x="62" y="403"/>
                    <a:pt x="62" y="403"/>
                  </a:cubicBezTo>
                  <a:cubicBezTo>
                    <a:pt x="62" y="612"/>
                    <a:pt x="152" y="800"/>
                    <a:pt x="296" y="931"/>
                  </a:cubicBezTo>
                  <a:cubicBezTo>
                    <a:pt x="93" y="931"/>
                    <a:pt x="93" y="931"/>
                    <a:pt x="93" y="931"/>
                  </a:cubicBezTo>
                  <a:cubicBezTo>
                    <a:pt x="42" y="931"/>
                    <a:pt x="0" y="972"/>
                    <a:pt x="0" y="1024"/>
                  </a:cubicBezTo>
                  <a:cubicBezTo>
                    <a:pt x="0" y="1075"/>
                    <a:pt x="42" y="1117"/>
                    <a:pt x="93" y="1117"/>
                  </a:cubicBezTo>
                  <a:cubicBezTo>
                    <a:pt x="776" y="1117"/>
                    <a:pt x="776" y="1117"/>
                    <a:pt x="776" y="1117"/>
                  </a:cubicBezTo>
                  <a:cubicBezTo>
                    <a:pt x="1459" y="1117"/>
                    <a:pt x="1459" y="1117"/>
                    <a:pt x="1459" y="1117"/>
                  </a:cubicBezTo>
                  <a:cubicBezTo>
                    <a:pt x="1510" y="1117"/>
                    <a:pt x="1552" y="1075"/>
                    <a:pt x="1552" y="1024"/>
                  </a:cubicBezTo>
                  <a:cubicBezTo>
                    <a:pt x="1552" y="972"/>
                    <a:pt x="1510" y="931"/>
                    <a:pt x="1459" y="931"/>
                  </a:cubicBezTo>
                  <a:cubicBezTo>
                    <a:pt x="1256" y="931"/>
                    <a:pt x="1256" y="931"/>
                    <a:pt x="1256" y="931"/>
                  </a:cubicBezTo>
                  <a:cubicBezTo>
                    <a:pt x="1331" y="862"/>
                    <a:pt x="1392" y="778"/>
                    <a:pt x="1433" y="683"/>
                  </a:cubicBezTo>
                  <a:close/>
                  <a:moveTo>
                    <a:pt x="1490" y="403"/>
                  </a:moveTo>
                  <a:cubicBezTo>
                    <a:pt x="1490" y="186"/>
                    <a:pt x="1490" y="186"/>
                    <a:pt x="1490" y="186"/>
                  </a:cubicBezTo>
                  <a:cubicBezTo>
                    <a:pt x="1521" y="186"/>
                    <a:pt x="1521" y="186"/>
                    <a:pt x="1521" y="186"/>
                  </a:cubicBezTo>
                  <a:cubicBezTo>
                    <a:pt x="1606" y="186"/>
                    <a:pt x="1676" y="256"/>
                    <a:pt x="1676" y="341"/>
                  </a:cubicBezTo>
                  <a:cubicBezTo>
                    <a:pt x="1676" y="427"/>
                    <a:pt x="1606" y="496"/>
                    <a:pt x="1521" y="496"/>
                  </a:cubicBezTo>
                  <a:cubicBezTo>
                    <a:pt x="1521" y="496"/>
                    <a:pt x="1521" y="496"/>
                    <a:pt x="1520" y="496"/>
                  </a:cubicBezTo>
                  <a:cubicBezTo>
                    <a:pt x="1483" y="496"/>
                    <a:pt x="1483" y="496"/>
                    <a:pt x="1483" y="496"/>
                  </a:cubicBezTo>
                  <a:cubicBezTo>
                    <a:pt x="1487" y="466"/>
                    <a:pt x="1490" y="435"/>
                    <a:pt x="1490" y="4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HarmonyOS Sans SC"/>
                <a:cs typeface="+mn-cs"/>
              </a:endParaRPr>
            </a:p>
          </p:txBody>
        </p:sp>
      </p:grpSp>
      <p:sp>
        <p:nvSpPr>
          <p:cNvPr id="20" name="文本框 19">
            <a:extLst>
              <a:ext uri="{FF2B5EF4-FFF2-40B4-BE49-F238E27FC236}">
                <a16:creationId xmlns:a16="http://schemas.microsoft.com/office/drawing/2014/main" id="{2FF702D3-85E4-432C-9406-43D48B1878EE}"/>
              </a:ext>
            </a:extLst>
          </p:cNvPr>
          <p:cNvSpPr txBox="1"/>
          <p:nvPr/>
        </p:nvSpPr>
        <p:spPr>
          <a:xfrm>
            <a:off x="4449556" y="918105"/>
            <a:ext cx="3292889" cy="52322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2800" b="0" i="0" u="none" strike="noStrike" kern="1200" cap="none" spc="0" normalizeH="0" baseline="0" noProof="0" dirty="0">
                <a:ln>
                  <a:noFill/>
                </a:ln>
                <a:solidFill>
                  <a:prstClr val="black"/>
                </a:solidFill>
                <a:effectLst/>
                <a:uLnTx/>
                <a:uFillTx/>
                <a:latin typeface="HarmonyOS Sans Black"/>
                <a:ea typeface="+mj-ea"/>
                <a:cs typeface="+mn-cs"/>
              </a:rPr>
              <a:t>Circle </a:t>
            </a:r>
            <a:r>
              <a:rPr kumimoji="0" lang="en-US" altLang="zh-CN" sz="2800" b="0" i="0" u="none" strike="noStrike" kern="1200" cap="none" spc="0" normalizeH="0" baseline="0" noProof="0" dirty="0">
                <a:ln>
                  <a:noFill/>
                </a:ln>
                <a:solidFill>
                  <a:schemeClr val="accent1"/>
                </a:solidFill>
                <a:effectLst/>
                <a:uLnTx/>
                <a:uFillTx/>
                <a:latin typeface="HarmonyOS Sans Black"/>
                <a:ea typeface="+mj-ea"/>
                <a:cs typeface="+mn-cs"/>
              </a:rPr>
              <a:t>infographic</a:t>
            </a:r>
          </a:p>
        </p:txBody>
      </p:sp>
      <p:grpSp>
        <p:nvGrpSpPr>
          <p:cNvPr id="27" name="组合 26">
            <a:extLst>
              <a:ext uri="{FF2B5EF4-FFF2-40B4-BE49-F238E27FC236}">
                <a16:creationId xmlns:a16="http://schemas.microsoft.com/office/drawing/2014/main" id="{CA6FD295-C01D-464A-B792-4E161600EBBA}"/>
              </a:ext>
            </a:extLst>
          </p:cNvPr>
          <p:cNvGrpSpPr/>
          <p:nvPr/>
        </p:nvGrpSpPr>
        <p:grpSpPr>
          <a:xfrm>
            <a:off x="4905378" y="5422076"/>
            <a:ext cx="2381248" cy="869484"/>
            <a:chOff x="4883673" y="4094711"/>
            <a:chExt cx="2244609" cy="819592"/>
          </a:xfrm>
        </p:grpSpPr>
        <p:sp>
          <p:nvSpPr>
            <p:cNvPr id="28" name="TextBox 65">
              <a:extLst>
                <a:ext uri="{FF2B5EF4-FFF2-40B4-BE49-F238E27FC236}">
                  <a16:creationId xmlns:a16="http://schemas.microsoft.com/office/drawing/2014/main" id="{44F6184E-76B7-4BBE-9721-43CB933E686B}"/>
                </a:ext>
              </a:extLst>
            </p:cNvPr>
            <p:cNvSpPr txBox="1"/>
            <p:nvPr/>
          </p:nvSpPr>
          <p:spPr>
            <a:xfrm>
              <a:off x="4977847" y="4094711"/>
              <a:ext cx="2056261" cy="332356"/>
            </a:xfrm>
            <a:prstGeom prst="rect">
              <a:avLst/>
            </a:prstGeom>
            <a:noFill/>
          </p:spPr>
          <p:txBody>
            <a:bodyPr wrap="square" lIns="0" tIns="36000" rIns="0" bIns="36000" rtlCol="0">
              <a:spAutoFit/>
            </a:bodyPr>
            <a:lstStyle/>
            <a:p>
              <a:pPr marL="0" marR="0" lvl="0" indent="0" algn="ctr" defTabSz="914400" rtl="0" eaLnBrk="1" fontAlgn="auto" latinLnBrk="0" hangingPunct="1">
                <a:lnSpc>
                  <a:spcPct val="120000"/>
                </a:lnSpc>
                <a:spcBef>
                  <a:spcPts val="600"/>
                </a:spcBef>
                <a:spcAft>
                  <a:spcPts val="0"/>
                </a:spcAft>
                <a:buClrTx/>
                <a:buSzTx/>
                <a:buFontTx/>
                <a:buNone/>
                <a:tabLst/>
                <a:defRPr/>
              </a:pPr>
              <a:r>
                <a:rPr kumimoji="0" lang="zh-CN" altLang="en-US" sz="1600" b="0" i="0" u="none" strike="noStrike" kern="1200" cap="none" spc="0" normalizeH="0" baseline="0" noProof="0" dirty="0">
                  <a:ln>
                    <a:noFill/>
                  </a:ln>
                  <a:solidFill>
                    <a:schemeClr val="accent1"/>
                  </a:solidFill>
                  <a:effectLst/>
                  <a:uLnTx/>
                  <a:uFillTx/>
                  <a:latin typeface="HarmonyOS Sans SC Black"/>
                  <a:ea typeface="+mj-ea"/>
                  <a:cs typeface="+mn-cs"/>
                </a:rPr>
                <a:t>关键词标题</a:t>
              </a:r>
              <a:endParaRPr kumimoji="0" lang="en-US" sz="1600" b="0" i="0" u="none" strike="noStrike" kern="1200" cap="none" spc="0" normalizeH="0" baseline="0" noProof="0" dirty="0">
                <a:ln>
                  <a:noFill/>
                </a:ln>
                <a:solidFill>
                  <a:schemeClr val="accent1"/>
                </a:solidFill>
                <a:effectLst/>
                <a:uLnTx/>
                <a:uFillTx/>
                <a:latin typeface="HarmonyOS Sans SC Black"/>
                <a:ea typeface="+mj-ea"/>
                <a:cs typeface="+mn-cs"/>
              </a:endParaRPr>
            </a:p>
          </p:txBody>
        </p:sp>
        <p:sp>
          <p:nvSpPr>
            <p:cNvPr id="29" name="TextBox 65">
              <a:extLst>
                <a:ext uri="{FF2B5EF4-FFF2-40B4-BE49-F238E27FC236}">
                  <a16:creationId xmlns:a16="http://schemas.microsoft.com/office/drawing/2014/main" id="{FBA12E00-5CB4-4C84-B11C-B798317C0C63}"/>
                </a:ext>
              </a:extLst>
            </p:cNvPr>
            <p:cNvSpPr txBox="1"/>
            <p:nvPr/>
          </p:nvSpPr>
          <p:spPr>
            <a:xfrm>
              <a:off x="4883673" y="4478110"/>
              <a:ext cx="2244609" cy="436193"/>
            </a:xfrm>
            <a:prstGeom prst="rect">
              <a:avLst/>
            </a:prstGeom>
            <a:noFill/>
          </p:spPr>
          <p:txBody>
            <a:bodyPr wrap="square" lIns="0" tIns="36000" rIns="0" bIns="36000" rtlCol="0">
              <a:spAutoFit/>
            </a:bodyPr>
            <a:lstStyle/>
            <a:p>
              <a:pPr marL="0" marR="0" lvl="0" indent="0" algn="ctr" defTabSz="914400" rtl="0" eaLnBrk="1" fontAlgn="auto" latinLnBrk="0" hangingPunct="1">
                <a:lnSpc>
                  <a:spcPct val="120000"/>
                </a:lnSpc>
                <a:spcBef>
                  <a:spcPts val="600"/>
                </a:spcBef>
                <a:spcAft>
                  <a:spcPts val="0"/>
                </a:spcAft>
                <a:buClrTx/>
                <a:buSzTx/>
                <a:buFontTx/>
                <a:buNone/>
                <a:tabLst/>
                <a:defRPr/>
              </a:pPr>
              <a:r>
                <a:rPr kumimoji="0" lang="en-US" sz="1100" b="0" i="0" u="none" strike="noStrike" kern="1200" cap="none" spc="0" normalizeH="0" baseline="0" noProof="0" dirty="0">
                  <a:ln>
                    <a:noFill/>
                  </a:ln>
                  <a:solidFill>
                    <a:prstClr val="black">
                      <a:lumMod val="50000"/>
                      <a:lumOff val="50000"/>
                    </a:prstClr>
                  </a:solidFill>
                  <a:effectLst/>
                  <a:uLnTx/>
                  <a:uFillTx/>
                  <a:latin typeface="HarmonyOS Sans SC"/>
                  <a:cs typeface="+mn-cs"/>
                </a:rPr>
                <a:t>Apparently we had reached a great height in the.</a:t>
              </a:r>
            </a:p>
          </p:txBody>
        </p:sp>
      </p:grpSp>
      <p:sp>
        <p:nvSpPr>
          <p:cNvPr id="52" name="TextBox 65">
            <a:extLst>
              <a:ext uri="{FF2B5EF4-FFF2-40B4-BE49-F238E27FC236}">
                <a16:creationId xmlns:a16="http://schemas.microsoft.com/office/drawing/2014/main" id="{BF2A4882-4085-4CEA-AE5A-BB4F64132BD5}"/>
              </a:ext>
            </a:extLst>
          </p:cNvPr>
          <p:cNvSpPr txBox="1"/>
          <p:nvPr/>
        </p:nvSpPr>
        <p:spPr>
          <a:xfrm>
            <a:off x="1974436" y="2382112"/>
            <a:ext cx="2056261" cy="387598"/>
          </a:xfrm>
          <a:prstGeom prst="rect">
            <a:avLst/>
          </a:prstGeom>
          <a:noFill/>
        </p:spPr>
        <p:txBody>
          <a:bodyPr wrap="square" lIns="0" tIns="36000" rIns="0" bIns="36000" rtlCol="0">
            <a:spAutoFit/>
          </a:bodyPr>
          <a:lstStyle/>
          <a:p>
            <a:pPr marL="0" marR="0" lvl="0" indent="0" algn="r" defTabSz="914400" rtl="0" eaLnBrk="1" fontAlgn="auto" latinLnBrk="0" hangingPunct="1">
              <a:lnSpc>
                <a:spcPct val="120000"/>
              </a:lnSpc>
              <a:spcBef>
                <a:spcPts val="600"/>
              </a:spcBef>
              <a:spcAft>
                <a:spcPts val="0"/>
              </a:spcAft>
              <a:buClrTx/>
              <a:buSzTx/>
              <a:buFontTx/>
              <a:buNone/>
              <a:tabLst/>
              <a:defRPr/>
            </a:pPr>
            <a:r>
              <a:rPr kumimoji="0" lang="zh-CN" altLang="en-US" sz="1800" b="0" i="0" u="none" strike="noStrike" kern="1200" cap="none" spc="0" normalizeH="0" baseline="0" noProof="0" dirty="0">
                <a:ln>
                  <a:noFill/>
                </a:ln>
                <a:solidFill>
                  <a:schemeClr val="accent1"/>
                </a:solidFill>
                <a:effectLst/>
                <a:uLnTx/>
                <a:uFillTx/>
                <a:latin typeface="HarmonyOS Sans SC Black"/>
                <a:ea typeface="+mj-ea"/>
                <a:cs typeface="+mn-cs"/>
              </a:rPr>
              <a:t>关键词标题</a:t>
            </a:r>
            <a:endParaRPr kumimoji="0" lang="en-US" sz="1800" b="0" i="0" u="none" strike="noStrike" kern="1200" cap="none" spc="0" normalizeH="0" baseline="0" noProof="0" dirty="0">
              <a:ln>
                <a:noFill/>
              </a:ln>
              <a:solidFill>
                <a:schemeClr val="accent1"/>
              </a:solidFill>
              <a:effectLst/>
              <a:uLnTx/>
              <a:uFillTx/>
              <a:latin typeface="HarmonyOS Sans SC Black"/>
              <a:ea typeface="+mj-ea"/>
              <a:cs typeface="+mn-cs"/>
            </a:endParaRPr>
          </a:p>
        </p:txBody>
      </p:sp>
      <p:sp>
        <p:nvSpPr>
          <p:cNvPr id="53" name="TextBox 65">
            <a:extLst>
              <a:ext uri="{FF2B5EF4-FFF2-40B4-BE49-F238E27FC236}">
                <a16:creationId xmlns:a16="http://schemas.microsoft.com/office/drawing/2014/main" id="{24214664-0B16-4C31-B81E-43B24ED623C9}"/>
              </a:ext>
            </a:extLst>
          </p:cNvPr>
          <p:cNvSpPr txBox="1"/>
          <p:nvPr/>
        </p:nvSpPr>
        <p:spPr>
          <a:xfrm>
            <a:off x="1362075" y="2765511"/>
            <a:ext cx="2668622" cy="498204"/>
          </a:xfrm>
          <a:prstGeom prst="rect">
            <a:avLst/>
          </a:prstGeom>
          <a:noFill/>
        </p:spPr>
        <p:txBody>
          <a:bodyPr wrap="square" lIns="0" tIns="36000" rIns="0" bIns="36000" rtlCol="0">
            <a:spAutoFit/>
          </a:bodyPr>
          <a:lstStyle/>
          <a:p>
            <a:pPr marL="0" marR="0" lvl="0" indent="0" algn="r" defTabSz="914400" rtl="0" eaLnBrk="1" fontAlgn="auto" latinLnBrk="0" hangingPunct="1">
              <a:lnSpc>
                <a:spcPct val="120000"/>
              </a:lnSpc>
              <a:spcBef>
                <a:spcPts val="600"/>
              </a:spcBef>
              <a:spcAft>
                <a:spcPts val="0"/>
              </a:spcAft>
              <a:buClrTx/>
              <a:buSzTx/>
              <a:buFontTx/>
              <a:buNone/>
              <a:tabLst/>
              <a:defRPr/>
            </a:pPr>
            <a:r>
              <a:rPr kumimoji="0" lang="en-US" sz="1200" b="0" i="0" u="none" strike="noStrike" kern="1200" cap="none" spc="0" normalizeH="0" baseline="0" noProof="0" dirty="0">
                <a:ln>
                  <a:noFill/>
                </a:ln>
                <a:solidFill>
                  <a:prstClr val="black">
                    <a:lumMod val="50000"/>
                    <a:lumOff val="50000"/>
                  </a:prstClr>
                </a:solidFill>
                <a:effectLst/>
                <a:uLnTx/>
                <a:uFillTx/>
                <a:latin typeface="HarmonyOS Sans SC"/>
                <a:cs typeface="+mn-cs"/>
              </a:rPr>
              <a:t>Apparently we had reached a great height in the.</a:t>
            </a:r>
          </a:p>
        </p:txBody>
      </p:sp>
      <p:sp>
        <p:nvSpPr>
          <p:cNvPr id="50" name="TextBox 65">
            <a:extLst>
              <a:ext uri="{FF2B5EF4-FFF2-40B4-BE49-F238E27FC236}">
                <a16:creationId xmlns:a16="http://schemas.microsoft.com/office/drawing/2014/main" id="{C3EAC7C9-F975-432F-AA56-F6682DF2A142}"/>
              </a:ext>
            </a:extLst>
          </p:cNvPr>
          <p:cNvSpPr txBox="1"/>
          <p:nvPr/>
        </p:nvSpPr>
        <p:spPr>
          <a:xfrm>
            <a:off x="1684430" y="3860800"/>
            <a:ext cx="2056261" cy="387598"/>
          </a:xfrm>
          <a:prstGeom prst="rect">
            <a:avLst/>
          </a:prstGeom>
          <a:noFill/>
        </p:spPr>
        <p:txBody>
          <a:bodyPr wrap="square" lIns="0" tIns="36000" rIns="0" bIns="36000" rtlCol="0">
            <a:spAutoFit/>
          </a:bodyPr>
          <a:lstStyle/>
          <a:p>
            <a:pPr marL="0" marR="0" lvl="0" indent="0" algn="r" defTabSz="914400" rtl="0" eaLnBrk="1" fontAlgn="auto" latinLnBrk="0" hangingPunct="1">
              <a:lnSpc>
                <a:spcPct val="120000"/>
              </a:lnSpc>
              <a:spcBef>
                <a:spcPts val="600"/>
              </a:spcBef>
              <a:spcAft>
                <a:spcPts val="0"/>
              </a:spcAft>
              <a:buClrTx/>
              <a:buSzTx/>
              <a:buFontTx/>
              <a:buNone/>
              <a:tabLst/>
              <a:defRPr/>
            </a:pPr>
            <a:r>
              <a:rPr kumimoji="0" lang="zh-CN" altLang="en-US" sz="1800" b="0" i="0" u="none" strike="noStrike" kern="1200" cap="none" spc="0" normalizeH="0" baseline="0" noProof="0" dirty="0">
                <a:ln>
                  <a:noFill/>
                </a:ln>
                <a:solidFill>
                  <a:schemeClr val="accent1"/>
                </a:solidFill>
                <a:effectLst/>
                <a:uLnTx/>
                <a:uFillTx/>
                <a:latin typeface="HarmonyOS Sans SC Black"/>
                <a:ea typeface="+mj-ea"/>
                <a:cs typeface="+mn-cs"/>
              </a:rPr>
              <a:t>关键词标题</a:t>
            </a:r>
            <a:endParaRPr kumimoji="0" lang="en-US" sz="1800" b="0" i="0" u="none" strike="noStrike" kern="1200" cap="none" spc="0" normalizeH="0" baseline="0" noProof="0" dirty="0">
              <a:ln>
                <a:noFill/>
              </a:ln>
              <a:solidFill>
                <a:schemeClr val="accent1"/>
              </a:solidFill>
              <a:effectLst/>
              <a:uLnTx/>
              <a:uFillTx/>
              <a:latin typeface="HarmonyOS Sans SC Black"/>
              <a:ea typeface="+mj-ea"/>
              <a:cs typeface="+mn-cs"/>
            </a:endParaRPr>
          </a:p>
        </p:txBody>
      </p:sp>
      <p:sp>
        <p:nvSpPr>
          <p:cNvPr id="51" name="TextBox 65">
            <a:extLst>
              <a:ext uri="{FF2B5EF4-FFF2-40B4-BE49-F238E27FC236}">
                <a16:creationId xmlns:a16="http://schemas.microsoft.com/office/drawing/2014/main" id="{65F65A6D-527B-468F-8BAB-97C81F3EE7BA}"/>
              </a:ext>
            </a:extLst>
          </p:cNvPr>
          <p:cNvSpPr txBox="1"/>
          <p:nvPr/>
        </p:nvSpPr>
        <p:spPr>
          <a:xfrm>
            <a:off x="1072069" y="4244199"/>
            <a:ext cx="2668622" cy="498204"/>
          </a:xfrm>
          <a:prstGeom prst="rect">
            <a:avLst/>
          </a:prstGeom>
          <a:noFill/>
        </p:spPr>
        <p:txBody>
          <a:bodyPr wrap="square" lIns="0" tIns="36000" rIns="0" bIns="36000" rtlCol="0">
            <a:spAutoFit/>
          </a:bodyPr>
          <a:lstStyle/>
          <a:p>
            <a:pPr marL="0" marR="0" lvl="0" indent="0" algn="r" defTabSz="914400" rtl="0" eaLnBrk="1" fontAlgn="auto" latinLnBrk="0" hangingPunct="1">
              <a:lnSpc>
                <a:spcPct val="120000"/>
              </a:lnSpc>
              <a:spcBef>
                <a:spcPts val="600"/>
              </a:spcBef>
              <a:spcAft>
                <a:spcPts val="0"/>
              </a:spcAft>
              <a:buClrTx/>
              <a:buSzTx/>
              <a:buFontTx/>
              <a:buNone/>
              <a:tabLst/>
              <a:defRPr/>
            </a:pPr>
            <a:r>
              <a:rPr kumimoji="0" lang="en-US" sz="1200" b="0" i="0" u="none" strike="noStrike" kern="1200" cap="none" spc="0" normalizeH="0" baseline="0" noProof="0" dirty="0">
                <a:ln>
                  <a:noFill/>
                </a:ln>
                <a:solidFill>
                  <a:prstClr val="black">
                    <a:lumMod val="50000"/>
                    <a:lumOff val="50000"/>
                  </a:prstClr>
                </a:solidFill>
                <a:effectLst/>
                <a:uLnTx/>
                <a:uFillTx/>
                <a:latin typeface="HarmonyOS Sans SC"/>
                <a:cs typeface="+mn-cs"/>
              </a:rPr>
              <a:t>Apparently we had reached a great height in the.</a:t>
            </a:r>
          </a:p>
        </p:txBody>
      </p:sp>
      <p:sp>
        <p:nvSpPr>
          <p:cNvPr id="46" name="TextBox 65">
            <a:extLst>
              <a:ext uri="{FF2B5EF4-FFF2-40B4-BE49-F238E27FC236}">
                <a16:creationId xmlns:a16="http://schemas.microsoft.com/office/drawing/2014/main" id="{8109F13E-09A8-4DB7-86E2-A70AF360F8A8}"/>
              </a:ext>
            </a:extLst>
          </p:cNvPr>
          <p:cNvSpPr txBox="1"/>
          <p:nvPr/>
        </p:nvSpPr>
        <p:spPr>
          <a:xfrm flipH="1">
            <a:off x="8161304" y="2382112"/>
            <a:ext cx="2056261" cy="387598"/>
          </a:xfrm>
          <a:prstGeom prst="rect">
            <a:avLst/>
          </a:prstGeom>
          <a:noFill/>
        </p:spPr>
        <p:txBody>
          <a:bodyPr wrap="square" lIns="0" tIns="36000" rIns="0" bIns="36000" rtlCol="0">
            <a:spAutoFit/>
          </a:bodyPr>
          <a:lstStyle/>
          <a:p>
            <a:pPr marL="0" marR="0" lvl="0" indent="0" algn="l" defTabSz="914400" rtl="0" eaLnBrk="1" fontAlgn="auto" latinLnBrk="0" hangingPunct="1">
              <a:lnSpc>
                <a:spcPct val="120000"/>
              </a:lnSpc>
              <a:spcBef>
                <a:spcPts val="600"/>
              </a:spcBef>
              <a:spcAft>
                <a:spcPts val="0"/>
              </a:spcAft>
              <a:buClrTx/>
              <a:buSzTx/>
              <a:buFontTx/>
              <a:buNone/>
              <a:tabLst/>
              <a:defRPr/>
            </a:pPr>
            <a:r>
              <a:rPr kumimoji="0" lang="zh-CN" altLang="en-US" sz="1800" b="0" i="0" u="none" strike="noStrike" kern="1200" cap="none" spc="0" normalizeH="0" baseline="0" noProof="0" dirty="0">
                <a:ln>
                  <a:noFill/>
                </a:ln>
                <a:solidFill>
                  <a:schemeClr val="accent1"/>
                </a:solidFill>
                <a:effectLst/>
                <a:uLnTx/>
                <a:uFillTx/>
                <a:latin typeface="HarmonyOS Sans SC Black"/>
                <a:ea typeface="+mj-ea"/>
                <a:cs typeface="+mn-cs"/>
              </a:rPr>
              <a:t>关键词标题</a:t>
            </a:r>
            <a:endParaRPr kumimoji="0" lang="en-US" sz="1800" b="0" i="0" u="none" strike="noStrike" kern="1200" cap="none" spc="0" normalizeH="0" baseline="0" noProof="0" dirty="0">
              <a:ln>
                <a:noFill/>
              </a:ln>
              <a:solidFill>
                <a:schemeClr val="accent1"/>
              </a:solidFill>
              <a:effectLst/>
              <a:uLnTx/>
              <a:uFillTx/>
              <a:latin typeface="HarmonyOS Sans SC Black"/>
              <a:ea typeface="+mj-ea"/>
              <a:cs typeface="+mn-cs"/>
            </a:endParaRPr>
          </a:p>
        </p:txBody>
      </p:sp>
      <p:sp>
        <p:nvSpPr>
          <p:cNvPr id="47" name="TextBox 65">
            <a:extLst>
              <a:ext uri="{FF2B5EF4-FFF2-40B4-BE49-F238E27FC236}">
                <a16:creationId xmlns:a16="http://schemas.microsoft.com/office/drawing/2014/main" id="{0AB5661E-0CCF-4CFB-92BE-8500111868C0}"/>
              </a:ext>
            </a:extLst>
          </p:cNvPr>
          <p:cNvSpPr txBox="1"/>
          <p:nvPr/>
        </p:nvSpPr>
        <p:spPr>
          <a:xfrm flipH="1">
            <a:off x="8161303" y="2765511"/>
            <a:ext cx="2821021" cy="498204"/>
          </a:xfrm>
          <a:prstGeom prst="rect">
            <a:avLst/>
          </a:prstGeom>
          <a:noFill/>
        </p:spPr>
        <p:txBody>
          <a:bodyPr wrap="square" lIns="0" tIns="36000" rIns="0" bIns="36000" rtlCol="0">
            <a:spAutoFit/>
          </a:bodyPr>
          <a:lstStyle/>
          <a:p>
            <a:pPr marL="0" marR="0" lvl="0" indent="0" algn="l" defTabSz="914400" rtl="0" eaLnBrk="1" fontAlgn="auto" latinLnBrk="0" hangingPunct="1">
              <a:lnSpc>
                <a:spcPct val="120000"/>
              </a:lnSpc>
              <a:spcBef>
                <a:spcPts val="600"/>
              </a:spcBef>
              <a:spcAft>
                <a:spcPts val="0"/>
              </a:spcAft>
              <a:buClrTx/>
              <a:buSzTx/>
              <a:buFontTx/>
              <a:buNone/>
              <a:tabLst/>
              <a:defRPr/>
            </a:pPr>
            <a:r>
              <a:rPr kumimoji="0" lang="en-US" sz="1200" b="0" i="0" u="none" strike="noStrike" kern="1200" cap="none" spc="0" normalizeH="0" baseline="0" noProof="0" dirty="0">
                <a:ln>
                  <a:noFill/>
                </a:ln>
                <a:solidFill>
                  <a:prstClr val="black">
                    <a:lumMod val="50000"/>
                    <a:lumOff val="50000"/>
                  </a:prstClr>
                </a:solidFill>
                <a:effectLst/>
                <a:uLnTx/>
                <a:uFillTx/>
                <a:latin typeface="HarmonyOS Sans SC"/>
                <a:cs typeface="+mn-cs"/>
              </a:rPr>
              <a:t>Apparently we had reached a great height in the.</a:t>
            </a:r>
          </a:p>
        </p:txBody>
      </p:sp>
      <p:sp>
        <p:nvSpPr>
          <p:cNvPr id="44" name="TextBox 65">
            <a:extLst>
              <a:ext uri="{FF2B5EF4-FFF2-40B4-BE49-F238E27FC236}">
                <a16:creationId xmlns:a16="http://schemas.microsoft.com/office/drawing/2014/main" id="{178B5DF0-A474-4BE5-9D09-A770815A87DE}"/>
              </a:ext>
            </a:extLst>
          </p:cNvPr>
          <p:cNvSpPr txBox="1"/>
          <p:nvPr/>
        </p:nvSpPr>
        <p:spPr>
          <a:xfrm flipH="1">
            <a:off x="8451310" y="3860800"/>
            <a:ext cx="2056261" cy="387598"/>
          </a:xfrm>
          <a:prstGeom prst="rect">
            <a:avLst/>
          </a:prstGeom>
          <a:noFill/>
        </p:spPr>
        <p:txBody>
          <a:bodyPr wrap="square" lIns="0" tIns="36000" rIns="0" bIns="36000" rtlCol="0">
            <a:spAutoFit/>
          </a:bodyPr>
          <a:lstStyle/>
          <a:p>
            <a:pPr marL="0" marR="0" lvl="0" indent="0" algn="l" defTabSz="914400" rtl="0" eaLnBrk="1" fontAlgn="auto" latinLnBrk="0" hangingPunct="1">
              <a:lnSpc>
                <a:spcPct val="120000"/>
              </a:lnSpc>
              <a:spcBef>
                <a:spcPts val="600"/>
              </a:spcBef>
              <a:spcAft>
                <a:spcPts val="0"/>
              </a:spcAft>
              <a:buClrTx/>
              <a:buSzTx/>
              <a:buFontTx/>
              <a:buNone/>
              <a:tabLst/>
              <a:defRPr/>
            </a:pPr>
            <a:r>
              <a:rPr kumimoji="0" lang="zh-CN" altLang="en-US" sz="1800" b="0" i="0" u="none" strike="noStrike" kern="1200" cap="none" spc="0" normalizeH="0" baseline="0" noProof="0" dirty="0">
                <a:ln>
                  <a:noFill/>
                </a:ln>
                <a:solidFill>
                  <a:schemeClr val="accent1"/>
                </a:solidFill>
                <a:effectLst/>
                <a:uLnTx/>
                <a:uFillTx/>
                <a:latin typeface="HarmonyOS Sans SC Black"/>
                <a:ea typeface="+mj-ea"/>
                <a:cs typeface="+mn-cs"/>
              </a:rPr>
              <a:t>关键词标题</a:t>
            </a:r>
            <a:endParaRPr kumimoji="0" lang="en-US" sz="1800" b="0" i="0" u="none" strike="noStrike" kern="1200" cap="none" spc="0" normalizeH="0" baseline="0" noProof="0" dirty="0">
              <a:ln>
                <a:noFill/>
              </a:ln>
              <a:solidFill>
                <a:schemeClr val="accent1"/>
              </a:solidFill>
              <a:effectLst/>
              <a:uLnTx/>
              <a:uFillTx/>
              <a:latin typeface="HarmonyOS Sans SC Black"/>
              <a:ea typeface="+mj-ea"/>
              <a:cs typeface="+mn-cs"/>
            </a:endParaRPr>
          </a:p>
        </p:txBody>
      </p:sp>
      <p:sp>
        <p:nvSpPr>
          <p:cNvPr id="45" name="TextBox 65">
            <a:extLst>
              <a:ext uri="{FF2B5EF4-FFF2-40B4-BE49-F238E27FC236}">
                <a16:creationId xmlns:a16="http://schemas.microsoft.com/office/drawing/2014/main" id="{512FD5B3-E301-4799-BEE5-9382FBC4E051}"/>
              </a:ext>
            </a:extLst>
          </p:cNvPr>
          <p:cNvSpPr txBox="1"/>
          <p:nvPr/>
        </p:nvSpPr>
        <p:spPr>
          <a:xfrm flipH="1">
            <a:off x="8451309" y="4244199"/>
            <a:ext cx="2821021" cy="498204"/>
          </a:xfrm>
          <a:prstGeom prst="rect">
            <a:avLst/>
          </a:prstGeom>
          <a:noFill/>
        </p:spPr>
        <p:txBody>
          <a:bodyPr wrap="square" lIns="0" tIns="36000" rIns="0" bIns="36000" rtlCol="0">
            <a:spAutoFit/>
          </a:bodyPr>
          <a:lstStyle/>
          <a:p>
            <a:pPr marL="0" marR="0" lvl="0" indent="0" algn="l" defTabSz="914400" rtl="0" eaLnBrk="1" fontAlgn="auto" latinLnBrk="0" hangingPunct="1">
              <a:lnSpc>
                <a:spcPct val="120000"/>
              </a:lnSpc>
              <a:spcBef>
                <a:spcPts val="600"/>
              </a:spcBef>
              <a:spcAft>
                <a:spcPts val="0"/>
              </a:spcAft>
              <a:buClrTx/>
              <a:buSzTx/>
              <a:buFontTx/>
              <a:buNone/>
              <a:tabLst/>
              <a:defRPr/>
            </a:pPr>
            <a:r>
              <a:rPr kumimoji="0" lang="en-US" sz="1200" b="0" i="0" u="none" strike="noStrike" kern="1200" cap="none" spc="0" normalizeH="0" baseline="0" noProof="0" dirty="0">
                <a:ln>
                  <a:noFill/>
                </a:ln>
                <a:solidFill>
                  <a:prstClr val="black">
                    <a:lumMod val="50000"/>
                    <a:lumOff val="50000"/>
                  </a:prstClr>
                </a:solidFill>
                <a:effectLst/>
                <a:uLnTx/>
                <a:uFillTx/>
                <a:latin typeface="HarmonyOS Sans SC"/>
                <a:cs typeface="+mn-cs"/>
              </a:rPr>
              <a:t>Apparently we had reached a great height in the.</a:t>
            </a:r>
          </a:p>
        </p:txBody>
      </p:sp>
    </p:spTree>
    <p:extLst>
      <p:ext uri="{BB962C8B-B14F-4D97-AF65-F5344CB8AC3E}">
        <p14:creationId xmlns:p14="http://schemas.microsoft.com/office/powerpoint/2010/main" val="3583642246"/>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4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Freeform 5">
            <a:extLst>
              <a:ext uri="{FF2B5EF4-FFF2-40B4-BE49-F238E27FC236}">
                <a16:creationId xmlns:a16="http://schemas.microsoft.com/office/drawing/2014/main" id="{41C6A86E-5FF7-4C39-9EB5-5480AB686C34}"/>
              </a:ext>
            </a:extLst>
          </p:cNvPr>
          <p:cNvSpPr>
            <a:spLocks/>
          </p:cNvSpPr>
          <p:nvPr/>
        </p:nvSpPr>
        <p:spPr bwMode="auto">
          <a:xfrm rot="2700000">
            <a:off x="4705981" y="928212"/>
            <a:ext cx="1908463" cy="3121559"/>
          </a:xfrm>
          <a:custGeom>
            <a:avLst/>
            <a:gdLst/>
            <a:ahLst/>
            <a:cxnLst>
              <a:cxn ang="0">
                <a:pos x="0" y="742"/>
              </a:cxn>
              <a:cxn ang="0">
                <a:pos x="1" y="725"/>
              </a:cxn>
              <a:cxn ang="0">
                <a:pos x="2" y="693"/>
              </a:cxn>
              <a:cxn ang="0">
                <a:pos x="221" y="218"/>
              </a:cxn>
              <a:cxn ang="0">
                <a:pos x="691" y="0"/>
              </a:cxn>
              <a:cxn ang="0">
                <a:pos x="472" y="111"/>
              </a:cxn>
              <a:cxn ang="0">
                <a:pos x="359" y="341"/>
              </a:cxn>
              <a:cxn ang="0">
                <a:pos x="357" y="367"/>
              </a:cxn>
              <a:cxn ang="0">
                <a:pos x="356" y="387"/>
              </a:cxn>
              <a:cxn ang="0">
                <a:pos x="356" y="392"/>
              </a:cxn>
              <a:cxn ang="0">
                <a:pos x="356" y="394"/>
              </a:cxn>
              <a:cxn ang="0">
                <a:pos x="356" y="414"/>
              </a:cxn>
              <a:cxn ang="0">
                <a:pos x="472" y="672"/>
              </a:cxn>
              <a:cxn ang="0">
                <a:pos x="581" y="751"/>
              </a:cxn>
              <a:cxn ang="0">
                <a:pos x="472" y="829"/>
              </a:cxn>
              <a:cxn ang="0">
                <a:pos x="357" y="1085"/>
              </a:cxn>
              <a:cxn ang="0">
                <a:pos x="356" y="1105"/>
              </a:cxn>
              <a:cxn ang="0">
                <a:pos x="356" y="1110"/>
              </a:cxn>
              <a:cxn ang="0">
                <a:pos x="356" y="1112"/>
              </a:cxn>
              <a:cxn ang="0">
                <a:pos x="356" y="1131"/>
              </a:cxn>
              <a:cxn ang="0">
                <a:pos x="116" y="1017"/>
              </a:cxn>
              <a:cxn ang="0">
                <a:pos x="1" y="758"/>
              </a:cxn>
              <a:cxn ang="0">
                <a:pos x="0" y="742"/>
              </a:cxn>
            </a:cxnLst>
            <a:rect l="0" t="0" r="r" b="b"/>
            <a:pathLst>
              <a:path w="691" h="1131">
                <a:moveTo>
                  <a:pt x="0" y="742"/>
                </a:moveTo>
                <a:cubicBezTo>
                  <a:pt x="1" y="725"/>
                  <a:pt x="1" y="725"/>
                  <a:pt x="1" y="725"/>
                </a:cubicBezTo>
                <a:cubicBezTo>
                  <a:pt x="1" y="714"/>
                  <a:pt x="2" y="703"/>
                  <a:pt x="2" y="693"/>
                </a:cubicBezTo>
                <a:cubicBezTo>
                  <a:pt x="15" y="510"/>
                  <a:pt x="88" y="351"/>
                  <a:pt x="221" y="218"/>
                </a:cubicBezTo>
                <a:cubicBezTo>
                  <a:pt x="353" y="86"/>
                  <a:pt x="510" y="13"/>
                  <a:pt x="691" y="0"/>
                </a:cubicBezTo>
                <a:cubicBezTo>
                  <a:pt x="608" y="12"/>
                  <a:pt x="535" y="49"/>
                  <a:pt x="472" y="111"/>
                </a:cubicBezTo>
                <a:cubicBezTo>
                  <a:pt x="407" y="177"/>
                  <a:pt x="369" y="253"/>
                  <a:pt x="359" y="341"/>
                </a:cubicBezTo>
                <a:cubicBezTo>
                  <a:pt x="358" y="350"/>
                  <a:pt x="357" y="358"/>
                  <a:pt x="357" y="367"/>
                </a:cubicBezTo>
                <a:cubicBezTo>
                  <a:pt x="356" y="387"/>
                  <a:pt x="356" y="387"/>
                  <a:pt x="356" y="387"/>
                </a:cubicBezTo>
                <a:cubicBezTo>
                  <a:pt x="356" y="389"/>
                  <a:pt x="356" y="390"/>
                  <a:pt x="356" y="392"/>
                </a:cubicBezTo>
                <a:cubicBezTo>
                  <a:pt x="356" y="392"/>
                  <a:pt x="356" y="393"/>
                  <a:pt x="356" y="394"/>
                </a:cubicBezTo>
                <a:cubicBezTo>
                  <a:pt x="356" y="414"/>
                  <a:pt x="356" y="414"/>
                  <a:pt x="356" y="414"/>
                </a:cubicBezTo>
                <a:cubicBezTo>
                  <a:pt x="361" y="514"/>
                  <a:pt x="400" y="600"/>
                  <a:pt x="472" y="672"/>
                </a:cubicBezTo>
                <a:cubicBezTo>
                  <a:pt x="506" y="706"/>
                  <a:pt x="542" y="732"/>
                  <a:pt x="581" y="751"/>
                </a:cubicBezTo>
                <a:cubicBezTo>
                  <a:pt x="542" y="770"/>
                  <a:pt x="506" y="796"/>
                  <a:pt x="472" y="829"/>
                </a:cubicBezTo>
                <a:cubicBezTo>
                  <a:pt x="401" y="901"/>
                  <a:pt x="362" y="986"/>
                  <a:pt x="357" y="1085"/>
                </a:cubicBezTo>
                <a:cubicBezTo>
                  <a:pt x="356" y="1105"/>
                  <a:pt x="356" y="1105"/>
                  <a:pt x="356" y="1105"/>
                </a:cubicBezTo>
                <a:cubicBezTo>
                  <a:pt x="356" y="1107"/>
                  <a:pt x="356" y="1108"/>
                  <a:pt x="356" y="1110"/>
                </a:cubicBezTo>
                <a:cubicBezTo>
                  <a:pt x="356" y="1110"/>
                  <a:pt x="356" y="1111"/>
                  <a:pt x="356" y="1112"/>
                </a:cubicBezTo>
                <a:cubicBezTo>
                  <a:pt x="356" y="1131"/>
                  <a:pt x="356" y="1131"/>
                  <a:pt x="356" y="1131"/>
                </a:cubicBezTo>
                <a:cubicBezTo>
                  <a:pt x="264" y="1122"/>
                  <a:pt x="184" y="1084"/>
                  <a:pt x="116" y="1017"/>
                </a:cubicBezTo>
                <a:cubicBezTo>
                  <a:pt x="44" y="944"/>
                  <a:pt x="6" y="858"/>
                  <a:pt x="1" y="758"/>
                </a:cubicBezTo>
                <a:lnTo>
                  <a:pt x="0" y="742"/>
                </a:lnTo>
                <a:close/>
              </a:path>
            </a:pathLst>
          </a:custGeom>
          <a:gradFill flip="none" rotWithShape="1">
            <a:gsLst>
              <a:gs pos="0">
                <a:schemeClr val="accent1">
                  <a:lumMod val="40000"/>
                  <a:lumOff val="60000"/>
                </a:schemeClr>
              </a:gs>
              <a:gs pos="20000">
                <a:schemeClr val="accent1">
                  <a:lumMod val="60000"/>
                  <a:lumOff val="40000"/>
                </a:schemeClr>
              </a:gs>
              <a:gs pos="73000">
                <a:schemeClr val="accent1"/>
              </a:gs>
            </a:gsLst>
            <a:lin ang="54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27" name="Freeform 8">
            <a:extLst>
              <a:ext uri="{FF2B5EF4-FFF2-40B4-BE49-F238E27FC236}">
                <a16:creationId xmlns:a16="http://schemas.microsoft.com/office/drawing/2014/main" id="{437534CB-AA87-4861-A807-EFF035E9A929}"/>
              </a:ext>
            </a:extLst>
          </p:cNvPr>
          <p:cNvSpPr>
            <a:spLocks/>
          </p:cNvSpPr>
          <p:nvPr/>
        </p:nvSpPr>
        <p:spPr bwMode="auto">
          <a:xfrm rot="2700000">
            <a:off x="3430862" y="2973325"/>
            <a:ext cx="3173551" cy="2105590"/>
          </a:xfrm>
          <a:custGeom>
            <a:avLst/>
            <a:gdLst/>
            <a:ahLst/>
            <a:cxnLst>
              <a:cxn ang="0">
                <a:pos x="805" y="762"/>
              </a:cxn>
              <a:cxn ang="0">
                <a:pos x="754" y="763"/>
              </a:cxn>
              <a:cxn ang="0">
                <a:pos x="697" y="761"/>
              </a:cxn>
              <a:cxn ang="0">
                <a:pos x="221" y="542"/>
              </a:cxn>
              <a:cxn ang="0">
                <a:pos x="1" y="29"/>
              </a:cxn>
              <a:cxn ang="0">
                <a:pos x="0" y="9"/>
              </a:cxn>
              <a:cxn ang="0">
                <a:pos x="0" y="7"/>
              </a:cxn>
              <a:cxn ang="0">
                <a:pos x="0" y="3"/>
              </a:cxn>
              <a:cxn ang="0">
                <a:pos x="0" y="0"/>
              </a:cxn>
              <a:cxn ang="0">
                <a:pos x="1" y="16"/>
              </a:cxn>
              <a:cxn ang="0">
                <a:pos x="116" y="275"/>
              </a:cxn>
              <a:cxn ang="0">
                <a:pos x="356" y="389"/>
              </a:cxn>
              <a:cxn ang="0">
                <a:pos x="397" y="391"/>
              </a:cxn>
              <a:cxn ang="0">
                <a:pos x="678" y="275"/>
              </a:cxn>
              <a:cxn ang="0">
                <a:pos x="749" y="180"/>
              </a:cxn>
              <a:cxn ang="0">
                <a:pos x="752" y="174"/>
              </a:cxn>
              <a:cxn ang="0">
                <a:pos x="754" y="170"/>
              </a:cxn>
              <a:cxn ang="0">
                <a:pos x="754" y="170"/>
              </a:cxn>
              <a:cxn ang="0">
                <a:pos x="831" y="275"/>
              </a:cxn>
              <a:cxn ang="0">
                <a:pos x="1111" y="391"/>
              </a:cxn>
              <a:cxn ang="0">
                <a:pos x="1149" y="389"/>
              </a:cxn>
              <a:cxn ang="0">
                <a:pos x="1110" y="544"/>
              </a:cxn>
              <a:cxn ang="0">
                <a:pos x="1108" y="548"/>
              </a:cxn>
              <a:cxn ang="0">
                <a:pos x="1105" y="554"/>
              </a:cxn>
              <a:cxn ang="0">
                <a:pos x="1033" y="648"/>
              </a:cxn>
              <a:cxn ang="0">
                <a:pos x="805" y="762"/>
              </a:cxn>
            </a:cxnLst>
            <a:rect l="0" t="0" r="r" b="b"/>
            <a:pathLst>
              <a:path w="1149" h="763">
                <a:moveTo>
                  <a:pt x="805" y="762"/>
                </a:moveTo>
                <a:cubicBezTo>
                  <a:pt x="789" y="763"/>
                  <a:pt x="771" y="763"/>
                  <a:pt x="754" y="763"/>
                </a:cubicBezTo>
                <a:cubicBezTo>
                  <a:pt x="735" y="763"/>
                  <a:pt x="716" y="762"/>
                  <a:pt x="697" y="761"/>
                </a:cubicBezTo>
                <a:cubicBezTo>
                  <a:pt x="514" y="749"/>
                  <a:pt x="355" y="676"/>
                  <a:pt x="221" y="542"/>
                </a:cubicBezTo>
                <a:cubicBezTo>
                  <a:pt x="79" y="400"/>
                  <a:pt x="5" y="229"/>
                  <a:pt x="1" y="29"/>
                </a:cubicBezTo>
                <a:cubicBezTo>
                  <a:pt x="0" y="9"/>
                  <a:pt x="0" y="9"/>
                  <a:pt x="0" y="9"/>
                </a:cubicBezTo>
                <a:cubicBezTo>
                  <a:pt x="0" y="8"/>
                  <a:pt x="0" y="8"/>
                  <a:pt x="0" y="7"/>
                </a:cubicBezTo>
                <a:cubicBezTo>
                  <a:pt x="0" y="6"/>
                  <a:pt x="0" y="4"/>
                  <a:pt x="0" y="3"/>
                </a:cubicBezTo>
                <a:cubicBezTo>
                  <a:pt x="0" y="0"/>
                  <a:pt x="0" y="0"/>
                  <a:pt x="0" y="0"/>
                </a:cubicBezTo>
                <a:cubicBezTo>
                  <a:pt x="1" y="16"/>
                  <a:pt x="1" y="16"/>
                  <a:pt x="1" y="16"/>
                </a:cubicBezTo>
                <a:cubicBezTo>
                  <a:pt x="6" y="116"/>
                  <a:pt x="44" y="202"/>
                  <a:pt x="116" y="275"/>
                </a:cubicBezTo>
                <a:cubicBezTo>
                  <a:pt x="184" y="342"/>
                  <a:pt x="264" y="380"/>
                  <a:pt x="356" y="389"/>
                </a:cubicBezTo>
                <a:cubicBezTo>
                  <a:pt x="370" y="390"/>
                  <a:pt x="383" y="391"/>
                  <a:pt x="397" y="391"/>
                </a:cubicBezTo>
                <a:cubicBezTo>
                  <a:pt x="506" y="391"/>
                  <a:pt x="600" y="352"/>
                  <a:pt x="678" y="275"/>
                </a:cubicBezTo>
                <a:cubicBezTo>
                  <a:pt x="707" y="245"/>
                  <a:pt x="731" y="214"/>
                  <a:pt x="749" y="180"/>
                </a:cubicBezTo>
                <a:cubicBezTo>
                  <a:pt x="750" y="178"/>
                  <a:pt x="751" y="176"/>
                  <a:pt x="752" y="174"/>
                </a:cubicBezTo>
                <a:cubicBezTo>
                  <a:pt x="753" y="173"/>
                  <a:pt x="753" y="171"/>
                  <a:pt x="754" y="170"/>
                </a:cubicBezTo>
                <a:cubicBezTo>
                  <a:pt x="754" y="170"/>
                  <a:pt x="754" y="170"/>
                  <a:pt x="754" y="170"/>
                </a:cubicBezTo>
                <a:cubicBezTo>
                  <a:pt x="773" y="208"/>
                  <a:pt x="798" y="242"/>
                  <a:pt x="831" y="275"/>
                </a:cubicBezTo>
                <a:cubicBezTo>
                  <a:pt x="908" y="352"/>
                  <a:pt x="1002" y="391"/>
                  <a:pt x="1111" y="391"/>
                </a:cubicBezTo>
                <a:cubicBezTo>
                  <a:pt x="1124" y="391"/>
                  <a:pt x="1137" y="390"/>
                  <a:pt x="1149" y="389"/>
                </a:cubicBezTo>
                <a:cubicBezTo>
                  <a:pt x="1146" y="445"/>
                  <a:pt x="1133" y="497"/>
                  <a:pt x="1110" y="544"/>
                </a:cubicBezTo>
                <a:cubicBezTo>
                  <a:pt x="1109" y="545"/>
                  <a:pt x="1108" y="546"/>
                  <a:pt x="1108" y="548"/>
                </a:cubicBezTo>
                <a:cubicBezTo>
                  <a:pt x="1107" y="550"/>
                  <a:pt x="1106" y="552"/>
                  <a:pt x="1105" y="554"/>
                </a:cubicBezTo>
                <a:cubicBezTo>
                  <a:pt x="1087" y="587"/>
                  <a:pt x="1063" y="619"/>
                  <a:pt x="1033" y="648"/>
                </a:cubicBezTo>
                <a:cubicBezTo>
                  <a:pt x="969" y="713"/>
                  <a:pt x="893" y="751"/>
                  <a:pt x="805" y="762"/>
                </a:cubicBezTo>
                <a:close/>
              </a:path>
            </a:pathLst>
          </a:custGeom>
          <a:gradFill flip="none" rotWithShape="1">
            <a:gsLst>
              <a:gs pos="0">
                <a:schemeClr val="accent1">
                  <a:lumMod val="40000"/>
                  <a:lumOff val="60000"/>
                </a:schemeClr>
              </a:gs>
              <a:gs pos="20000">
                <a:schemeClr val="accent1">
                  <a:lumMod val="60000"/>
                  <a:lumOff val="40000"/>
                </a:schemeClr>
              </a:gs>
              <a:gs pos="73000">
                <a:schemeClr val="accent1"/>
              </a:gs>
            </a:gsLst>
            <a:lin ang="27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28" name="Freeform 7">
            <a:extLst>
              <a:ext uri="{FF2B5EF4-FFF2-40B4-BE49-F238E27FC236}">
                <a16:creationId xmlns:a16="http://schemas.microsoft.com/office/drawing/2014/main" id="{65B46D55-213E-42BF-A2E9-8CBE400C62C7}"/>
              </a:ext>
            </a:extLst>
          </p:cNvPr>
          <p:cNvSpPr>
            <a:spLocks/>
          </p:cNvSpPr>
          <p:nvPr/>
        </p:nvSpPr>
        <p:spPr bwMode="auto">
          <a:xfrm rot="2700000">
            <a:off x="5577393" y="3164288"/>
            <a:ext cx="1940956" cy="3212542"/>
          </a:xfrm>
          <a:custGeom>
            <a:avLst/>
            <a:gdLst/>
            <a:ahLst/>
            <a:cxnLst>
              <a:cxn ang="0">
                <a:pos x="701" y="356"/>
              </a:cxn>
              <a:cxn ang="0">
                <a:pos x="703" y="397"/>
              </a:cxn>
              <a:cxn ang="0">
                <a:pos x="703" y="406"/>
              </a:cxn>
              <a:cxn ang="0">
                <a:pos x="703" y="410"/>
              </a:cxn>
              <a:cxn ang="0">
                <a:pos x="482" y="943"/>
              </a:cxn>
              <a:cxn ang="0">
                <a:pos x="0" y="1163"/>
              </a:cxn>
              <a:cxn ang="0">
                <a:pos x="228" y="1049"/>
              </a:cxn>
              <a:cxn ang="0">
                <a:pos x="300" y="955"/>
              </a:cxn>
              <a:cxn ang="0">
                <a:pos x="303" y="949"/>
              </a:cxn>
              <a:cxn ang="0">
                <a:pos x="305" y="945"/>
              </a:cxn>
              <a:cxn ang="0">
                <a:pos x="344" y="790"/>
              </a:cxn>
              <a:cxn ang="0">
                <a:pos x="345" y="769"/>
              </a:cxn>
              <a:cxn ang="0">
                <a:pos x="305" y="593"/>
              </a:cxn>
              <a:cxn ang="0">
                <a:pos x="303" y="589"/>
              </a:cxn>
              <a:cxn ang="0">
                <a:pos x="300" y="583"/>
              </a:cxn>
              <a:cxn ang="0">
                <a:pos x="228" y="488"/>
              </a:cxn>
              <a:cxn ang="0">
                <a:pos x="119" y="410"/>
              </a:cxn>
              <a:cxn ang="0">
                <a:pos x="228" y="331"/>
              </a:cxn>
              <a:cxn ang="0">
                <a:pos x="300" y="237"/>
              </a:cxn>
              <a:cxn ang="0">
                <a:pos x="303" y="231"/>
              </a:cxn>
              <a:cxn ang="0">
                <a:pos x="305" y="227"/>
              </a:cxn>
              <a:cxn ang="0">
                <a:pos x="345" y="51"/>
              </a:cxn>
              <a:cxn ang="0">
                <a:pos x="342" y="0"/>
              </a:cxn>
              <a:cxn ang="0">
                <a:pos x="587" y="115"/>
              </a:cxn>
              <a:cxn ang="0">
                <a:pos x="658" y="209"/>
              </a:cxn>
              <a:cxn ang="0">
                <a:pos x="661" y="215"/>
              </a:cxn>
              <a:cxn ang="0">
                <a:pos x="663" y="219"/>
              </a:cxn>
              <a:cxn ang="0">
                <a:pos x="701" y="356"/>
              </a:cxn>
            </a:cxnLst>
            <a:rect l="0" t="0" r="r" b="b"/>
            <a:pathLst>
              <a:path w="703" h="1163">
                <a:moveTo>
                  <a:pt x="701" y="356"/>
                </a:moveTo>
                <a:cubicBezTo>
                  <a:pt x="702" y="369"/>
                  <a:pt x="703" y="383"/>
                  <a:pt x="703" y="397"/>
                </a:cubicBezTo>
                <a:cubicBezTo>
                  <a:pt x="703" y="406"/>
                  <a:pt x="703" y="406"/>
                  <a:pt x="703" y="406"/>
                </a:cubicBezTo>
                <a:cubicBezTo>
                  <a:pt x="703" y="407"/>
                  <a:pt x="703" y="409"/>
                  <a:pt x="703" y="410"/>
                </a:cubicBezTo>
                <a:cubicBezTo>
                  <a:pt x="703" y="618"/>
                  <a:pt x="629" y="796"/>
                  <a:pt x="482" y="943"/>
                </a:cubicBezTo>
                <a:cubicBezTo>
                  <a:pt x="347" y="1078"/>
                  <a:pt x="186" y="1151"/>
                  <a:pt x="0" y="1163"/>
                </a:cubicBezTo>
                <a:cubicBezTo>
                  <a:pt x="88" y="1152"/>
                  <a:pt x="164" y="1114"/>
                  <a:pt x="228" y="1049"/>
                </a:cubicBezTo>
                <a:cubicBezTo>
                  <a:pt x="258" y="1020"/>
                  <a:pt x="282" y="988"/>
                  <a:pt x="300" y="955"/>
                </a:cubicBezTo>
                <a:cubicBezTo>
                  <a:pt x="301" y="953"/>
                  <a:pt x="302" y="951"/>
                  <a:pt x="303" y="949"/>
                </a:cubicBezTo>
                <a:cubicBezTo>
                  <a:pt x="303" y="947"/>
                  <a:pt x="304" y="946"/>
                  <a:pt x="305" y="945"/>
                </a:cubicBezTo>
                <a:cubicBezTo>
                  <a:pt x="328" y="898"/>
                  <a:pt x="341" y="846"/>
                  <a:pt x="344" y="790"/>
                </a:cubicBezTo>
                <a:cubicBezTo>
                  <a:pt x="344" y="783"/>
                  <a:pt x="345" y="776"/>
                  <a:pt x="345" y="769"/>
                </a:cubicBezTo>
                <a:cubicBezTo>
                  <a:pt x="345" y="705"/>
                  <a:pt x="331" y="646"/>
                  <a:pt x="305" y="593"/>
                </a:cubicBezTo>
                <a:cubicBezTo>
                  <a:pt x="304" y="592"/>
                  <a:pt x="303" y="590"/>
                  <a:pt x="303" y="589"/>
                </a:cubicBezTo>
                <a:cubicBezTo>
                  <a:pt x="302" y="587"/>
                  <a:pt x="301" y="585"/>
                  <a:pt x="300" y="583"/>
                </a:cubicBezTo>
                <a:cubicBezTo>
                  <a:pt x="282" y="549"/>
                  <a:pt x="258" y="518"/>
                  <a:pt x="228" y="488"/>
                </a:cubicBezTo>
                <a:cubicBezTo>
                  <a:pt x="195" y="455"/>
                  <a:pt x="159" y="429"/>
                  <a:pt x="119" y="410"/>
                </a:cubicBezTo>
                <a:cubicBezTo>
                  <a:pt x="159" y="391"/>
                  <a:pt x="195" y="365"/>
                  <a:pt x="228" y="331"/>
                </a:cubicBezTo>
                <a:cubicBezTo>
                  <a:pt x="258" y="302"/>
                  <a:pt x="282" y="270"/>
                  <a:pt x="300" y="237"/>
                </a:cubicBezTo>
                <a:cubicBezTo>
                  <a:pt x="301" y="235"/>
                  <a:pt x="302" y="233"/>
                  <a:pt x="303" y="231"/>
                </a:cubicBezTo>
                <a:cubicBezTo>
                  <a:pt x="303" y="229"/>
                  <a:pt x="304" y="228"/>
                  <a:pt x="305" y="227"/>
                </a:cubicBezTo>
                <a:cubicBezTo>
                  <a:pt x="331" y="174"/>
                  <a:pt x="345" y="115"/>
                  <a:pt x="345" y="51"/>
                </a:cubicBezTo>
                <a:cubicBezTo>
                  <a:pt x="345" y="33"/>
                  <a:pt x="344" y="16"/>
                  <a:pt x="342" y="0"/>
                </a:cubicBezTo>
                <a:cubicBezTo>
                  <a:pt x="436" y="7"/>
                  <a:pt x="518" y="46"/>
                  <a:pt x="587" y="115"/>
                </a:cubicBezTo>
                <a:cubicBezTo>
                  <a:pt x="616" y="144"/>
                  <a:pt x="640" y="176"/>
                  <a:pt x="658" y="209"/>
                </a:cubicBezTo>
                <a:cubicBezTo>
                  <a:pt x="659" y="211"/>
                  <a:pt x="660" y="213"/>
                  <a:pt x="661" y="215"/>
                </a:cubicBezTo>
                <a:cubicBezTo>
                  <a:pt x="662" y="217"/>
                  <a:pt x="663" y="218"/>
                  <a:pt x="663" y="219"/>
                </a:cubicBezTo>
                <a:cubicBezTo>
                  <a:pt x="684" y="261"/>
                  <a:pt x="697" y="307"/>
                  <a:pt x="701" y="356"/>
                </a:cubicBezTo>
                <a:close/>
              </a:path>
            </a:pathLst>
          </a:custGeom>
          <a:gradFill flip="none" rotWithShape="1">
            <a:gsLst>
              <a:gs pos="0">
                <a:schemeClr val="accent1">
                  <a:lumMod val="40000"/>
                  <a:lumOff val="60000"/>
                </a:schemeClr>
              </a:gs>
              <a:gs pos="20000">
                <a:schemeClr val="accent1">
                  <a:lumMod val="60000"/>
                  <a:lumOff val="40000"/>
                </a:schemeClr>
              </a:gs>
              <a:gs pos="73000">
                <a:schemeClr val="accent1"/>
              </a:gs>
            </a:gsLst>
            <a:lin ang="189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29" name="Freeform: Shape 9">
            <a:extLst>
              <a:ext uri="{FF2B5EF4-FFF2-40B4-BE49-F238E27FC236}">
                <a16:creationId xmlns:a16="http://schemas.microsoft.com/office/drawing/2014/main" id="{AF4E3C04-04D9-41C7-B3A7-B71AFCE9D10F}"/>
              </a:ext>
            </a:extLst>
          </p:cNvPr>
          <p:cNvSpPr>
            <a:spLocks/>
          </p:cNvSpPr>
          <p:nvPr/>
        </p:nvSpPr>
        <p:spPr bwMode="auto">
          <a:xfrm rot="2700000">
            <a:off x="4066370" y="2514139"/>
            <a:ext cx="996525" cy="900127"/>
          </a:xfrm>
          <a:custGeom>
            <a:avLst/>
            <a:gdLst>
              <a:gd name="connsiteX0" fmla="*/ 0 w 1088259"/>
              <a:gd name="connsiteY0" fmla="*/ 0 h 982987"/>
              <a:gd name="connsiteX1" fmla="*/ 48452 w 1088259"/>
              <a:gd name="connsiteY1" fmla="*/ 82750 h 982987"/>
              <a:gd name="connsiteX2" fmla="*/ 266202 w 1088259"/>
              <a:gd name="connsiteY2" fmla="*/ 333477 h 982987"/>
              <a:gd name="connsiteX3" fmla="*/ 1010659 w 1088259"/>
              <a:gd name="connsiteY3" fmla="*/ 629873 h 982987"/>
              <a:gd name="connsiteX4" fmla="*/ 1088259 w 1088259"/>
              <a:gd name="connsiteY4" fmla="*/ 628669 h 982987"/>
              <a:gd name="connsiteX5" fmla="*/ 1068314 w 1088259"/>
              <a:gd name="connsiteY5" fmla="*/ 734415 h 982987"/>
              <a:gd name="connsiteX6" fmla="*/ 1057863 w 1088259"/>
              <a:gd name="connsiteY6" fmla="*/ 844340 h 982987"/>
              <a:gd name="connsiteX7" fmla="*/ 1054847 w 1088259"/>
              <a:gd name="connsiteY7" fmla="*/ 904621 h 982987"/>
              <a:gd name="connsiteX8" fmla="*/ 1054847 w 1088259"/>
              <a:gd name="connsiteY8" fmla="*/ 919692 h 982987"/>
              <a:gd name="connsiteX9" fmla="*/ 1054847 w 1088259"/>
              <a:gd name="connsiteY9" fmla="*/ 925720 h 982987"/>
              <a:gd name="connsiteX10" fmla="*/ 1054847 w 1088259"/>
              <a:gd name="connsiteY10" fmla="*/ 982987 h 982987"/>
              <a:gd name="connsiteX11" fmla="*/ 330976 w 1088259"/>
              <a:gd name="connsiteY11" fmla="*/ 639383 h 982987"/>
              <a:gd name="connsiteX12" fmla="*/ 14141 w 1088259"/>
              <a:gd name="connsiteY12" fmla="*/ 76930 h 982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88259" h="982987">
                <a:moveTo>
                  <a:pt x="0" y="0"/>
                </a:moveTo>
                <a:lnTo>
                  <a:pt x="48452" y="82750"/>
                </a:lnTo>
                <a:cubicBezTo>
                  <a:pt x="107110" y="172848"/>
                  <a:pt x="179637" y="256374"/>
                  <a:pt x="266202" y="333477"/>
                </a:cubicBezTo>
                <a:cubicBezTo>
                  <a:pt x="483842" y="521814"/>
                  <a:pt x="731994" y="620613"/>
                  <a:pt x="1010659" y="629873"/>
                </a:cubicBezTo>
                <a:lnTo>
                  <a:pt x="1088259" y="628669"/>
                </a:lnTo>
                <a:lnTo>
                  <a:pt x="1068314" y="734415"/>
                </a:lnTo>
                <a:cubicBezTo>
                  <a:pt x="1063236" y="770401"/>
                  <a:pt x="1059748" y="807041"/>
                  <a:pt x="1057863" y="844340"/>
                </a:cubicBezTo>
                <a:cubicBezTo>
                  <a:pt x="1054847" y="904621"/>
                  <a:pt x="1054847" y="904621"/>
                  <a:pt x="1054847" y="904621"/>
                </a:cubicBezTo>
                <a:cubicBezTo>
                  <a:pt x="1054847" y="910649"/>
                  <a:pt x="1054847" y="913664"/>
                  <a:pt x="1054847" y="919692"/>
                </a:cubicBezTo>
                <a:cubicBezTo>
                  <a:pt x="1054847" y="919692"/>
                  <a:pt x="1054847" y="922706"/>
                  <a:pt x="1054847" y="925720"/>
                </a:cubicBezTo>
                <a:cubicBezTo>
                  <a:pt x="1054847" y="982987"/>
                  <a:pt x="1054847" y="982987"/>
                  <a:pt x="1054847" y="982987"/>
                </a:cubicBezTo>
                <a:cubicBezTo>
                  <a:pt x="777363" y="955861"/>
                  <a:pt x="536073" y="841326"/>
                  <a:pt x="330976" y="639383"/>
                </a:cubicBezTo>
                <a:cubicBezTo>
                  <a:pt x="168105" y="474363"/>
                  <a:pt x="62918" y="287302"/>
                  <a:pt x="14141" y="76930"/>
                </a:cubicBezTo>
                <a:close/>
              </a:path>
            </a:pathLst>
          </a:custGeom>
          <a:solidFill>
            <a:schemeClr val="accent1">
              <a:lumMod val="75000"/>
              <a:alpha val="23000"/>
            </a:schemeClr>
          </a:solidFill>
          <a:ln w="9525">
            <a:noFill/>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armonyOS Sans SC"/>
              <a:cs typeface="+mn-cs"/>
            </a:endParaRPr>
          </a:p>
        </p:txBody>
      </p:sp>
      <p:sp>
        <p:nvSpPr>
          <p:cNvPr id="30" name="Freeform: Shape 10">
            <a:extLst>
              <a:ext uri="{FF2B5EF4-FFF2-40B4-BE49-F238E27FC236}">
                <a16:creationId xmlns:a16="http://schemas.microsoft.com/office/drawing/2014/main" id="{30E29804-5931-43E0-97A2-585BC558296E}"/>
              </a:ext>
            </a:extLst>
          </p:cNvPr>
          <p:cNvSpPr>
            <a:spLocks/>
          </p:cNvSpPr>
          <p:nvPr/>
        </p:nvSpPr>
        <p:spPr bwMode="auto">
          <a:xfrm rot="2700000">
            <a:off x="7215917" y="3828278"/>
            <a:ext cx="987752" cy="808315"/>
          </a:xfrm>
          <a:custGeom>
            <a:avLst/>
            <a:gdLst>
              <a:gd name="connsiteX0" fmla="*/ 28999 w 1078678"/>
              <a:gd name="connsiteY0" fmla="*/ 0 h 882724"/>
              <a:gd name="connsiteX1" fmla="*/ 767703 w 1078678"/>
              <a:gd name="connsiteY1" fmla="*/ 346906 h 882724"/>
              <a:gd name="connsiteX2" fmla="*/ 981777 w 1078678"/>
              <a:gd name="connsiteY2" fmla="*/ 630463 h 882724"/>
              <a:gd name="connsiteX3" fmla="*/ 990822 w 1078678"/>
              <a:gd name="connsiteY3" fmla="*/ 648562 h 882724"/>
              <a:gd name="connsiteX4" fmla="*/ 996852 w 1078678"/>
              <a:gd name="connsiteY4" fmla="*/ 660629 h 882724"/>
              <a:gd name="connsiteX5" fmla="*/ 1073361 w 1078678"/>
              <a:gd name="connsiteY5" fmla="*/ 859345 h 882724"/>
              <a:gd name="connsiteX6" fmla="*/ 1078678 w 1078678"/>
              <a:gd name="connsiteY6" fmla="*/ 882724 h 882724"/>
              <a:gd name="connsiteX7" fmla="*/ 1018892 w 1078678"/>
              <a:gd name="connsiteY7" fmla="*/ 812932 h 882724"/>
              <a:gd name="connsiteX8" fmla="*/ 882155 w 1078678"/>
              <a:gd name="connsiteY8" fmla="*/ 692965 h 882724"/>
              <a:gd name="connsiteX9" fmla="*/ 103703 w 1078678"/>
              <a:gd name="connsiteY9" fmla="*/ 448107 h 882724"/>
              <a:gd name="connsiteX10" fmla="*/ 0 w 1078678"/>
              <a:gd name="connsiteY10" fmla="*/ 456267 h 882724"/>
              <a:gd name="connsiteX11" fmla="*/ 7139 w 1078678"/>
              <a:gd name="connsiteY11" fmla="*/ 431747 h 882724"/>
              <a:gd name="connsiteX12" fmla="*/ 38044 w 1078678"/>
              <a:gd name="connsiteY12" fmla="*/ 153845 h 882724"/>
              <a:gd name="connsiteX13" fmla="*/ 28999 w 1078678"/>
              <a:gd name="connsiteY13" fmla="*/ 0 h 8827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78678" h="882724">
                <a:moveTo>
                  <a:pt x="28999" y="0"/>
                </a:moveTo>
                <a:cubicBezTo>
                  <a:pt x="312420" y="21116"/>
                  <a:pt x="559660" y="138762"/>
                  <a:pt x="767703" y="346906"/>
                </a:cubicBezTo>
                <a:cubicBezTo>
                  <a:pt x="855142" y="434386"/>
                  <a:pt x="927505" y="530916"/>
                  <a:pt x="981777" y="630463"/>
                </a:cubicBezTo>
                <a:cubicBezTo>
                  <a:pt x="984792" y="636496"/>
                  <a:pt x="987807" y="642529"/>
                  <a:pt x="990822" y="648562"/>
                </a:cubicBezTo>
                <a:cubicBezTo>
                  <a:pt x="993837" y="654595"/>
                  <a:pt x="996852" y="657612"/>
                  <a:pt x="996852" y="660629"/>
                </a:cubicBezTo>
                <a:cubicBezTo>
                  <a:pt x="1028511" y="723977"/>
                  <a:pt x="1054140" y="790341"/>
                  <a:pt x="1073361" y="859345"/>
                </a:cubicBezTo>
                <a:lnTo>
                  <a:pt x="1078678" y="882724"/>
                </a:lnTo>
                <a:lnTo>
                  <a:pt x="1018892" y="812932"/>
                </a:lnTo>
                <a:cubicBezTo>
                  <a:pt x="977062" y="770663"/>
                  <a:pt x="931325" y="730442"/>
                  <a:pt x="882155" y="692965"/>
                </a:cubicBezTo>
                <a:cubicBezTo>
                  <a:pt x="648171" y="514626"/>
                  <a:pt x="387423" y="431149"/>
                  <a:pt x="103703" y="448107"/>
                </a:cubicBezTo>
                <a:lnTo>
                  <a:pt x="0" y="456267"/>
                </a:lnTo>
                <a:lnTo>
                  <a:pt x="7139" y="431747"/>
                </a:lnTo>
                <a:cubicBezTo>
                  <a:pt x="27491" y="343135"/>
                  <a:pt x="38044" y="250375"/>
                  <a:pt x="38044" y="153845"/>
                </a:cubicBezTo>
                <a:cubicBezTo>
                  <a:pt x="38044" y="99547"/>
                  <a:pt x="35029" y="48265"/>
                  <a:pt x="28999" y="0"/>
                </a:cubicBezTo>
                <a:close/>
              </a:path>
            </a:pathLst>
          </a:custGeom>
          <a:solidFill>
            <a:schemeClr val="accent1">
              <a:lumMod val="75000"/>
              <a:alpha val="23000"/>
            </a:schemeClr>
          </a:solidFill>
          <a:ln w="9525">
            <a:noFill/>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armonyOS Sans SC"/>
              <a:cs typeface="+mn-cs"/>
            </a:endParaRPr>
          </a:p>
        </p:txBody>
      </p:sp>
      <p:sp>
        <p:nvSpPr>
          <p:cNvPr id="31" name="Freeform: Shape 11">
            <a:extLst>
              <a:ext uri="{FF2B5EF4-FFF2-40B4-BE49-F238E27FC236}">
                <a16:creationId xmlns:a16="http://schemas.microsoft.com/office/drawing/2014/main" id="{FA611517-0CD3-4FF3-BB80-C91E4BFD7CEB}"/>
              </a:ext>
            </a:extLst>
          </p:cNvPr>
          <p:cNvSpPr>
            <a:spLocks/>
          </p:cNvSpPr>
          <p:nvPr/>
        </p:nvSpPr>
        <p:spPr bwMode="auto">
          <a:xfrm rot="2700000">
            <a:off x="5094663" y="4684954"/>
            <a:ext cx="813046" cy="1053491"/>
          </a:xfrm>
          <a:custGeom>
            <a:avLst/>
            <a:gdLst>
              <a:gd name="connsiteX0" fmla="*/ 388069 w 887890"/>
              <a:gd name="connsiteY0" fmla="*/ 0 h 1150469"/>
              <a:gd name="connsiteX1" fmla="*/ 422808 w 887890"/>
              <a:gd name="connsiteY1" fmla="*/ 12334 h 1150469"/>
              <a:gd name="connsiteX2" fmla="*/ 773272 w 887890"/>
              <a:gd name="connsiteY2" fmla="*/ 61759 h 1150469"/>
              <a:gd name="connsiteX3" fmla="*/ 887890 w 887890"/>
              <a:gd name="connsiteY3" fmla="*/ 55732 h 1150469"/>
              <a:gd name="connsiteX4" fmla="*/ 770256 w 887890"/>
              <a:gd name="connsiteY4" fmla="*/ 522848 h 1150469"/>
              <a:gd name="connsiteX5" fmla="*/ 764223 w 887890"/>
              <a:gd name="connsiteY5" fmla="*/ 534903 h 1150469"/>
              <a:gd name="connsiteX6" fmla="*/ 755174 w 887890"/>
              <a:gd name="connsiteY6" fmla="*/ 552985 h 1150469"/>
              <a:gd name="connsiteX7" fmla="*/ 538003 w 887890"/>
              <a:gd name="connsiteY7" fmla="*/ 836268 h 1150469"/>
              <a:gd name="connsiteX8" fmla="*/ 42582 w 887890"/>
              <a:gd name="connsiteY8" fmla="*/ 1139705 h 1150469"/>
              <a:gd name="connsiteX9" fmla="*/ 0 w 887890"/>
              <a:gd name="connsiteY9" fmla="*/ 1150469 h 1150469"/>
              <a:gd name="connsiteX10" fmla="*/ 107581 w 887890"/>
              <a:gd name="connsiteY10" fmla="*/ 1045797 h 1150469"/>
              <a:gd name="connsiteX11" fmla="*/ 226430 w 887890"/>
              <a:gd name="connsiteY11" fmla="*/ 883940 h 1150469"/>
              <a:gd name="connsiteX12" fmla="*/ 375905 w 887890"/>
              <a:gd name="connsiteY12" fmla="*/ 559610 h 1150469"/>
              <a:gd name="connsiteX13" fmla="*/ 380752 w 887890"/>
              <a:gd name="connsiteY13" fmla="*/ 539966 h 1150469"/>
              <a:gd name="connsiteX14" fmla="*/ 383984 w 887890"/>
              <a:gd name="connsiteY14" fmla="*/ 526869 h 1150469"/>
              <a:gd name="connsiteX15" fmla="*/ 395958 w 887890"/>
              <a:gd name="connsiteY15" fmla="*/ 44890 h 11504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87890" h="1150469">
                <a:moveTo>
                  <a:pt x="388069" y="0"/>
                </a:moveTo>
                <a:lnTo>
                  <a:pt x="422808" y="12334"/>
                </a:lnTo>
                <a:cubicBezTo>
                  <a:pt x="533055" y="45231"/>
                  <a:pt x="649982" y="61759"/>
                  <a:pt x="773272" y="61759"/>
                </a:cubicBezTo>
                <a:cubicBezTo>
                  <a:pt x="812483" y="61759"/>
                  <a:pt x="851695" y="58745"/>
                  <a:pt x="887890" y="55732"/>
                </a:cubicBezTo>
                <a:cubicBezTo>
                  <a:pt x="878841" y="224496"/>
                  <a:pt x="839630" y="381206"/>
                  <a:pt x="770256" y="522848"/>
                </a:cubicBezTo>
                <a:cubicBezTo>
                  <a:pt x="767240" y="525862"/>
                  <a:pt x="764223" y="528875"/>
                  <a:pt x="764223" y="534903"/>
                </a:cubicBezTo>
                <a:cubicBezTo>
                  <a:pt x="761207" y="540930"/>
                  <a:pt x="758191" y="546957"/>
                  <a:pt x="755174" y="552985"/>
                </a:cubicBezTo>
                <a:cubicBezTo>
                  <a:pt x="700882" y="652435"/>
                  <a:pt x="628491" y="748872"/>
                  <a:pt x="538003" y="836268"/>
                </a:cubicBezTo>
                <a:cubicBezTo>
                  <a:pt x="393222" y="983184"/>
                  <a:pt x="228082" y="1084329"/>
                  <a:pt x="42582" y="1139705"/>
                </a:cubicBezTo>
                <a:lnTo>
                  <a:pt x="0" y="1150469"/>
                </a:lnTo>
                <a:lnTo>
                  <a:pt x="107581" y="1045797"/>
                </a:lnTo>
                <a:cubicBezTo>
                  <a:pt x="150522" y="996314"/>
                  <a:pt x="190138" y="942361"/>
                  <a:pt x="226430" y="883940"/>
                </a:cubicBezTo>
                <a:cubicBezTo>
                  <a:pt x="295450" y="778721"/>
                  <a:pt x="344833" y="668650"/>
                  <a:pt x="375905" y="559610"/>
                </a:cubicBezTo>
                <a:cubicBezTo>
                  <a:pt x="377521" y="553062"/>
                  <a:pt x="379136" y="546514"/>
                  <a:pt x="380752" y="539966"/>
                </a:cubicBezTo>
                <a:cubicBezTo>
                  <a:pt x="379426" y="534080"/>
                  <a:pt x="381705" y="530475"/>
                  <a:pt x="383984" y="526869"/>
                </a:cubicBezTo>
                <a:cubicBezTo>
                  <a:pt x="420483" y="373318"/>
                  <a:pt x="424253" y="211677"/>
                  <a:pt x="395958" y="44890"/>
                </a:cubicBezTo>
                <a:close/>
              </a:path>
            </a:pathLst>
          </a:custGeom>
          <a:solidFill>
            <a:schemeClr val="accent1">
              <a:lumMod val="75000"/>
              <a:alpha val="23000"/>
            </a:schemeClr>
          </a:solidFill>
          <a:ln w="9525">
            <a:noFill/>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armonyOS Sans SC"/>
              <a:cs typeface="+mn-cs"/>
            </a:endParaRPr>
          </a:p>
        </p:txBody>
      </p:sp>
      <p:sp>
        <p:nvSpPr>
          <p:cNvPr id="32" name="Freeform 6">
            <a:extLst>
              <a:ext uri="{FF2B5EF4-FFF2-40B4-BE49-F238E27FC236}">
                <a16:creationId xmlns:a16="http://schemas.microsoft.com/office/drawing/2014/main" id="{E051B52F-303A-49C4-86E5-2026CB71B731}"/>
              </a:ext>
            </a:extLst>
          </p:cNvPr>
          <p:cNvSpPr>
            <a:spLocks/>
          </p:cNvSpPr>
          <p:nvPr/>
        </p:nvSpPr>
        <p:spPr bwMode="auto">
          <a:xfrm rot="2700000">
            <a:off x="5649811" y="2242777"/>
            <a:ext cx="3167051" cy="1932291"/>
          </a:xfrm>
          <a:custGeom>
            <a:avLst/>
            <a:gdLst/>
            <a:ahLst/>
            <a:cxnLst>
              <a:cxn ang="0">
                <a:pos x="0" y="344"/>
              </a:cxn>
              <a:cxn ang="0">
                <a:pos x="113" y="114"/>
              </a:cxn>
              <a:cxn ang="0">
                <a:pos x="332" y="3"/>
              </a:cxn>
              <a:cxn ang="0">
                <a:pos x="395" y="0"/>
              </a:cxn>
              <a:cxn ang="0">
                <a:pos x="452" y="2"/>
              </a:cxn>
              <a:cxn ang="0">
                <a:pos x="928" y="221"/>
              </a:cxn>
              <a:cxn ang="0">
                <a:pos x="1147" y="700"/>
              </a:cxn>
              <a:cxn ang="0">
                <a:pos x="1109" y="563"/>
              </a:cxn>
              <a:cxn ang="0">
                <a:pos x="1107" y="559"/>
              </a:cxn>
              <a:cxn ang="0">
                <a:pos x="1104" y="553"/>
              </a:cxn>
              <a:cxn ang="0">
                <a:pos x="1033" y="459"/>
              </a:cxn>
              <a:cxn ang="0">
                <a:pos x="788" y="344"/>
              </a:cxn>
              <a:cxn ang="0">
                <a:pos x="752" y="342"/>
              </a:cxn>
              <a:cxn ang="0">
                <a:pos x="472" y="459"/>
              </a:cxn>
              <a:cxn ang="0">
                <a:pos x="395" y="563"/>
              </a:cxn>
              <a:cxn ang="0">
                <a:pos x="395" y="563"/>
              </a:cxn>
              <a:cxn ang="0">
                <a:pos x="393" y="559"/>
              </a:cxn>
              <a:cxn ang="0">
                <a:pos x="390" y="553"/>
              </a:cxn>
              <a:cxn ang="0">
                <a:pos x="319" y="459"/>
              </a:cxn>
              <a:cxn ang="0">
                <a:pos x="38" y="342"/>
              </a:cxn>
              <a:cxn ang="0">
                <a:pos x="0" y="344"/>
              </a:cxn>
            </a:cxnLst>
            <a:rect l="0" t="0" r="r" b="b"/>
            <a:pathLst>
              <a:path w="1147" h="700">
                <a:moveTo>
                  <a:pt x="0" y="344"/>
                </a:moveTo>
                <a:cubicBezTo>
                  <a:pt x="10" y="256"/>
                  <a:pt x="48" y="180"/>
                  <a:pt x="113" y="114"/>
                </a:cubicBezTo>
                <a:cubicBezTo>
                  <a:pt x="176" y="52"/>
                  <a:pt x="249" y="15"/>
                  <a:pt x="332" y="3"/>
                </a:cubicBezTo>
                <a:cubicBezTo>
                  <a:pt x="353" y="1"/>
                  <a:pt x="374" y="0"/>
                  <a:pt x="395" y="0"/>
                </a:cubicBezTo>
                <a:cubicBezTo>
                  <a:pt x="415" y="0"/>
                  <a:pt x="434" y="1"/>
                  <a:pt x="452" y="2"/>
                </a:cubicBezTo>
                <a:cubicBezTo>
                  <a:pt x="636" y="15"/>
                  <a:pt x="795" y="87"/>
                  <a:pt x="928" y="221"/>
                </a:cubicBezTo>
                <a:cubicBezTo>
                  <a:pt x="1062" y="355"/>
                  <a:pt x="1136" y="515"/>
                  <a:pt x="1147" y="700"/>
                </a:cubicBezTo>
                <a:cubicBezTo>
                  <a:pt x="1143" y="651"/>
                  <a:pt x="1130" y="605"/>
                  <a:pt x="1109" y="563"/>
                </a:cubicBezTo>
                <a:cubicBezTo>
                  <a:pt x="1109" y="562"/>
                  <a:pt x="1108" y="561"/>
                  <a:pt x="1107" y="559"/>
                </a:cubicBezTo>
                <a:cubicBezTo>
                  <a:pt x="1106" y="557"/>
                  <a:pt x="1105" y="555"/>
                  <a:pt x="1104" y="553"/>
                </a:cubicBezTo>
                <a:cubicBezTo>
                  <a:pt x="1086" y="520"/>
                  <a:pt x="1062" y="488"/>
                  <a:pt x="1033" y="459"/>
                </a:cubicBezTo>
                <a:cubicBezTo>
                  <a:pt x="964" y="390"/>
                  <a:pt x="882" y="351"/>
                  <a:pt x="788" y="344"/>
                </a:cubicBezTo>
                <a:cubicBezTo>
                  <a:pt x="776" y="343"/>
                  <a:pt x="764" y="342"/>
                  <a:pt x="752" y="342"/>
                </a:cubicBezTo>
                <a:cubicBezTo>
                  <a:pt x="643" y="342"/>
                  <a:pt x="549" y="381"/>
                  <a:pt x="472" y="459"/>
                </a:cubicBezTo>
                <a:cubicBezTo>
                  <a:pt x="439" y="491"/>
                  <a:pt x="414" y="526"/>
                  <a:pt x="395" y="563"/>
                </a:cubicBezTo>
                <a:cubicBezTo>
                  <a:pt x="395" y="563"/>
                  <a:pt x="395" y="563"/>
                  <a:pt x="395" y="563"/>
                </a:cubicBezTo>
                <a:cubicBezTo>
                  <a:pt x="394" y="562"/>
                  <a:pt x="394" y="561"/>
                  <a:pt x="393" y="559"/>
                </a:cubicBezTo>
                <a:cubicBezTo>
                  <a:pt x="392" y="557"/>
                  <a:pt x="391" y="555"/>
                  <a:pt x="390" y="553"/>
                </a:cubicBezTo>
                <a:cubicBezTo>
                  <a:pt x="372" y="520"/>
                  <a:pt x="348" y="488"/>
                  <a:pt x="319" y="459"/>
                </a:cubicBezTo>
                <a:cubicBezTo>
                  <a:pt x="241" y="381"/>
                  <a:pt x="147" y="342"/>
                  <a:pt x="38" y="342"/>
                </a:cubicBezTo>
                <a:cubicBezTo>
                  <a:pt x="25" y="342"/>
                  <a:pt x="12" y="343"/>
                  <a:pt x="0" y="344"/>
                </a:cubicBezTo>
                <a:close/>
              </a:path>
            </a:pathLst>
          </a:custGeom>
          <a:gradFill flip="none" rotWithShape="1">
            <a:gsLst>
              <a:gs pos="0">
                <a:schemeClr val="accent1">
                  <a:lumMod val="40000"/>
                  <a:lumOff val="60000"/>
                </a:schemeClr>
              </a:gs>
              <a:gs pos="20000">
                <a:schemeClr val="accent1">
                  <a:lumMod val="60000"/>
                  <a:lumOff val="40000"/>
                </a:schemeClr>
              </a:gs>
              <a:gs pos="73000">
                <a:schemeClr val="accent1"/>
              </a:gs>
            </a:gsLst>
            <a:lin ang="135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33" name="Freeform: Shape 13">
            <a:extLst>
              <a:ext uri="{FF2B5EF4-FFF2-40B4-BE49-F238E27FC236}">
                <a16:creationId xmlns:a16="http://schemas.microsoft.com/office/drawing/2014/main" id="{0F3B4AEF-E6D1-4378-A674-EA932D6E3325}"/>
              </a:ext>
            </a:extLst>
          </p:cNvPr>
          <p:cNvSpPr>
            <a:spLocks/>
          </p:cNvSpPr>
          <p:nvPr/>
        </p:nvSpPr>
        <p:spPr bwMode="auto">
          <a:xfrm rot="2700000">
            <a:off x="6306502" y="1577117"/>
            <a:ext cx="842981" cy="987569"/>
          </a:xfrm>
          <a:custGeom>
            <a:avLst/>
            <a:gdLst>
              <a:gd name="connsiteX0" fmla="*/ 920581 w 920581"/>
              <a:gd name="connsiteY0" fmla="*/ 0 h 1078479"/>
              <a:gd name="connsiteX1" fmla="*/ 867985 w 920581"/>
              <a:gd name="connsiteY1" fmla="*/ 44561 h 1078479"/>
              <a:gd name="connsiteX2" fmla="*/ 574128 w 920581"/>
              <a:gd name="connsiteY2" fmla="*/ 541684 h 1078479"/>
              <a:gd name="connsiteX3" fmla="*/ 555432 w 920581"/>
              <a:gd name="connsiteY3" fmla="*/ 618026 h 1078479"/>
              <a:gd name="connsiteX4" fmla="*/ 542653 w 920581"/>
              <a:gd name="connsiteY4" fmla="*/ 677014 h 1078479"/>
              <a:gd name="connsiteX5" fmla="*/ 540202 w 920581"/>
              <a:gd name="connsiteY5" fmla="*/ 691884 h 1078479"/>
              <a:gd name="connsiteX6" fmla="*/ 539222 w 920581"/>
              <a:gd name="connsiteY6" fmla="*/ 697832 h 1078479"/>
              <a:gd name="connsiteX7" fmla="*/ 529419 w 920581"/>
              <a:gd name="connsiteY7" fmla="*/ 757311 h 1078479"/>
              <a:gd name="connsiteX8" fmla="*/ 524029 w 920581"/>
              <a:gd name="connsiteY8" fmla="*/ 977509 h 1078479"/>
              <a:gd name="connsiteX9" fmla="*/ 535788 w 920581"/>
              <a:gd name="connsiteY9" fmla="*/ 1078479 h 1078479"/>
              <a:gd name="connsiteX10" fmla="*/ 465098 w 920581"/>
              <a:gd name="connsiteY10" fmla="*/ 1053274 h 1078479"/>
              <a:gd name="connsiteX11" fmla="*/ 114583 w 920581"/>
              <a:gd name="connsiteY11" fmla="*/ 1003676 h 1078479"/>
              <a:gd name="connsiteX12" fmla="*/ 0 w 920581"/>
              <a:gd name="connsiteY12" fmla="*/ 1009705 h 1078479"/>
              <a:gd name="connsiteX13" fmla="*/ 340733 w 920581"/>
              <a:gd name="connsiteY13" fmla="*/ 316365 h 1078479"/>
              <a:gd name="connsiteX14" fmla="*/ 819041 w 920581"/>
              <a:gd name="connsiteY14" fmla="*/ 23014 h 1078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20581" h="1078479">
                <a:moveTo>
                  <a:pt x="920581" y="0"/>
                </a:moveTo>
                <a:lnTo>
                  <a:pt x="867985" y="44561"/>
                </a:lnTo>
                <a:cubicBezTo>
                  <a:pt x="727031" y="184280"/>
                  <a:pt x="628798" y="349082"/>
                  <a:pt x="574128" y="541684"/>
                </a:cubicBezTo>
                <a:cubicBezTo>
                  <a:pt x="566740" y="567959"/>
                  <a:pt x="559843" y="591260"/>
                  <a:pt x="555432" y="618026"/>
                </a:cubicBezTo>
                <a:cubicBezTo>
                  <a:pt x="542653" y="677014"/>
                  <a:pt x="542653" y="677014"/>
                  <a:pt x="542653" y="677014"/>
                </a:cubicBezTo>
                <a:cubicBezTo>
                  <a:pt x="541673" y="682962"/>
                  <a:pt x="541182" y="685936"/>
                  <a:pt x="540202" y="691884"/>
                </a:cubicBezTo>
                <a:cubicBezTo>
                  <a:pt x="540202" y="691884"/>
                  <a:pt x="539712" y="694858"/>
                  <a:pt x="539222" y="697832"/>
                </a:cubicBezTo>
                <a:cubicBezTo>
                  <a:pt x="529419" y="757311"/>
                  <a:pt x="529419" y="757311"/>
                  <a:pt x="529419" y="757311"/>
                </a:cubicBezTo>
                <a:cubicBezTo>
                  <a:pt x="520885" y="832273"/>
                  <a:pt x="519104" y="905675"/>
                  <a:pt x="524029" y="977509"/>
                </a:cubicBezTo>
                <a:lnTo>
                  <a:pt x="535788" y="1078479"/>
                </a:lnTo>
                <a:lnTo>
                  <a:pt x="465098" y="1053274"/>
                </a:lnTo>
                <a:cubicBezTo>
                  <a:pt x="354726" y="1020209"/>
                  <a:pt x="237835" y="1003676"/>
                  <a:pt x="114583" y="1003676"/>
                </a:cubicBezTo>
                <a:cubicBezTo>
                  <a:pt x="75384" y="1003676"/>
                  <a:pt x="36184" y="1006690"/>
                  <a:pt x="0" y="1009705"/>
                </a:cubicBezTo>
                <a:cubicBezTo>
                  <a:pt x="30154" y="744427"/>
                  <a:pt x="144736" y="515323"/>
                  <a:pt x="340733" y="316365"/>
                </a:cubicBezTo>
                <a:cubicBezTo>
                  <a:pt x="483208" y="176189"/>
                  <a:pt x="642644" y="78406"/>
                  <a:pt x="819041" y="23014"/>
                </a:cubicBezTo>
                <a:close/>
              </a:path>
            </a:pathLst>
          </a:custGeom>
          <a:solidFill>
            <a:schemeClr val="accent1">
              <a:lumMod val="75000"/>
              <a:alpha val="23000"/>
            </a:schemeClr>
          </a:solidFill>
          <a:ln w="9525">
            <a:noFill/>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armonyOS Sans SC"/>
              <a:cs typeface="+mn-cs"/>
            </a:endParaRPr>
          </a:p>
        </p:txBody>
      </p:sp>
      <p:sp>
        <p:nvSpPr>
          <p:cNvPr id="34" name="Freeform 7">
            <a:extLst>
              <a:ext uri="{FF2B5EF4-FFF2-40B4-BE49-F238E27FC236}">
                <a16:creationId xmlns:a16="http://schemas.microsoft.com/office/drawing/2014/main" id="{6BC54922-5B2B-4CC1-80A5-AE766DBBAE2C}"/>
              </a:ext>
            </a:extLst>
          </p:cNvPr>
          <p:cNvSpPr>
            <a:spLocks noEditPoints="1"/>
          </p:cNvSpPr>
          <p:nvPr/>
        </p:nvSpPr>
        <p:spPr bwMode="auto">
          <a:xfrm>
            <a:off x="4988689" y="2408267"/>
            <a:ext cx="359060" cy="439012"/>
          </a:xfrm>
          <a:custGeom>
            <a:avLst/>
            <a:gdLst>
              <a:gd name="T0" fmla="*/ 2473 w 2473"/>
              <a:gd name="T1" fmla="*/ 408 h 3024"/>
              <a:gd name="T2" fmla="*/ 2473 w 2473"/>
              <a:gd name="T3" fmla="*/ 408 h 3024"/>
              <a:gd name="T4" fmla="*/ 2065 w 2473"/>
              <a:gd name="T5" fmla="*/ 0 h 3024"/>
              <a:gd name="T6" fmla="*/ 408 w 2473"/>
              <a:gd name="T7" fmla="*/ 0 h 3024"/>
              <a:gd name="T8" fmla="*/ 0 w 2473"/>
              <a:gd name="T9" fmla="*/ 408 h 3024"/>
              <a:gd name="T10" fmla="*/ 0 w 2473"/>
              <a:gd name="T11" fmla="*/ 1497 h 3024"/>
              <a:gd name="T12" fmla="*/ 0 w 2473"/>
              <a:gd name="T13" fmla="*/ 1497 h 3024"/>
              <a:gd name="T14" fmla="*/ 0 w 2473"/>
              <a:gd name="T15" fmla="*/ 1512 h 3024"/>
              <a:gd name="T16" fmla="*/ 1236 w 2473"/>
              <a:gd name="T17" fmla="*/ 3024 h 3024"/>
              <a:gd name="T18" fmla="*/ 2473 w 2473"/>
              <a:gd name="T19" fmla="*/ 1512 h 3024"/>
              <a:gd name="T20" fmla="*/ 2473 w 2473"/>
              <a:gd name="T21" fmla="*/ 1497 h 3024"/>
              <a:gd name="T22" fmla="*/ 2473 w 2473"/>
              <a:gd name="T23" fmla="*/ 1497 h 3024"/>
              <a:gd name="T24" fmla="*/ 2473 w 2473"/>
              <a:gd name="T25" fmla="*/ 408 h 3024"/>
              <a:gd name="T26" fmla="*/ 2019 w 2473"/>
              <a:gd name="T27" fmla="*/ 1455 h 3024"/>
              <a:gd name="T28" fmla="*/ 2019 w 2473"/>
              <a:gd name="T29" fmla="*/ 1455 h 3024"/>
              <a:gd name="T30" fmla="*/ 1773 w 2473"/>
              <a:gd name="T31" fmla="*/ 1702 h 3024"/>
              <a:gd name="T32" fmla="*/ 1523 w 2473"/>
              <a:gd name="T33" fmla="*/ 1951 h 3024"/>
              <a:gd name="T34" fmla="*/ 1523 w 2473"/>
              <a:gd name="T35" fmla="*/ 2127 h 3024"/>
              <a:gd name="T36" fmla="*/ 1773 w 2473"/>
              <a:gd name="T37" fmla="*/ 2376 h 3024"/>
              <a:gd name="T38" fmla="*/ 1810 w 2473"/>
              <a:gd name="T39" fmla="*/ 2453 h 3024"/>
              <a:gd name="T40" fmla="*/ 662 w 2473"/>
              <a:gd name="T41" fmla="*/ 2453 h 3024"/>
              <a:gd name="T42" fmla="*/ 700 w 2473"/>
              <a:gd name="T43" fmla="*/ 2376 h 3024"/>
              <a:gd name="T44" fmla="*/ 949 w 2473"/>
              <a:gd name="T45" fmla="*/ 2127 h 3024"/>
              <a:gd name="T46" fmla="*/ 949 w 2473"/>
              <a:gd name="T47" fmla="*/ 1951 h 3024"/>
              <a:gd name="T48" fmla="*/ 700 w 2473"/>
              <a:gd name="T49" fmla="*/ 1702 h 3024"/>
              <a:gd name="T50" fmla="*/ 453 w 2473"/>
              <a:gd name="T51" fmla="*/ 1455 h 3024"/>
              <a:gd name="T52" fmla="*/ 453 w 2473"/>
              <a:gd name="T53" fmla="*/ 1103 h 3024"/>
              <a:gd name="T54" fmla="*/ 712 w 2473"/>
              <a:gd name="T55" fmla="*/ 845 h 3024"/>
              <a:gd name="T56" fmla="*/ 1761 w 2473"/>
              <a:gd name="T57" fmla="*/ 845 h 3024"/>
              <a:gd name="T58" fmla="*/ 2019 w 2473"/>
              <a:gd name="T59" fmla="*/ 1103 h 3024"/>
              <a:gd name="T60" fmla="*/ 2019 w 2473"/>
              <a:gd name="T61" fmla="*/ 1455 h 30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473" h="3024">
                <a:moveTo>
                  <a:pt x="2473" y="408"/>
                </a:moveTo>
                <a:lnTo>
                  <a:pt x="2473" y="408"/>
                </a:lnTo>
                <a:cubicBezTo>
                  <a:pt x="2473" y="183"/>
                  <a:pt x="2290" y="0"/>
                  <a:pt x="2065" y="0"/>
                </a:cubicBezTo>
                <a:cubicBezTo>
                  <a:pt x="1992" y="0"/>
                  <a:pt x="480" y="0"/>
                  <a:pt x="408" y="0"/>
                </a:cubicBezTo>
                <a:cubicBezTo>
                  <a:pt x="182" y="0"/>
                  <a:pt x="0" y="183"/>
                  <a:pt x="0" y="408"/>
                </a:cubicBezTo>
                <a:lnTo>
                  <a:pt x="0" y="1497"/>
                </a:lnTo>
                <a:lnTo>
                  <a:pt x="0" y="1497"/>
                </a:lnTo>
                <a:cubicBezTo>
                  <a:pt x="0" y="1502"/>
                  <a:pt x="0" y="1507"/>
                  <a:pt x="0" y="1512"/>
                </a:cubicBezTo>
                <a:cubicBezTo>
                  <a:pt x="0" y="2347"/>
                  <a:pt x="553" y="3024"/>
                  <a:pt x="1236" y="3024"/>
                </a:cubicBezTo>
                <a:cubicBezTo>
                  <a:pt x="1919" y="3024"/>
                  <a:pt x="2473" y="2347"/>
                  <a:pt x="2473" y="1512"/>
                </a:cubicBezTo>
                <a:cubicBezTo>
                  <a:pt x="2473" y="1507"/>
                  <a:pt x="2473" y="1502"/>
                  <a:pt x="2473" y="1497"/>
                </a:cubicBezTo>
                <a:lnTo>
                  <a:pt x="2473" y="1497"/>
                </a:lnTo>
                <a:lnTo>
                  <a:pt x="2473" y="408"/>
                </a:lnTo>
                <a:close/>
                <a:moveTo>
                  <a:pt x="2019" y="1455"/>
                </a:moveTo>
                <a:lnTo>
                  <a:pt x="2019" y="1455"/>
                </a:lnTo>
                <a:cubicBezTo>
                  <a:pt x="2019" y="1591"/>
                  <a:pt x="1909" y="1702"/>
                  <a:pt x="1773" y="1702"/>
                </a:cubicBezTo>
                <a:cubicBezTo>
                  <a:pt x="1635" y="1702"/>
                  <a:pt x="1523" y="1813"/>
                  <a:pt x="1523" y="1951"/>
                </a:cubicBezTo>
                <a:lnTo>
                  <a:pt x="1523" y="2127"/>
                </a:lnTo>
                <a:cubicBezTo>
                  <a:pt x="1523" y="2265"/>
                  <a:pt x="1635" y="2376"/>
                  <a:pt x="1773" y="2376"/>
                </a:cubicBezTo>
                <a:cubicBezTo>
                  <a:pt x="1812" y="2376"/>
                  <a:pt x="1834" y="2421"/>
                  <a:pt x="1810" y="2453"/>
                </a:cubicBezTo>
                <a:cubicBezTo>
                  <a:pt x="1501" y="2861"/>
                  <a:pt x="972" y="2861"/>
                  <a:pt x="662" y="2453"/>
                </a:cubicBezTo>
                <a:cubicBezTo>
                  <a:pt x="639" y="2421"/>
                  <a:pt x="661" y="2376"/>
                  <a:pt x="700" y="2376"/>
                </a:cubicBezTo>
                <a:cubicBezTo>
                  <a:pt x="838" y="2376"/>
                  <a:pt x="949" y="2265"/>
                  <a:pt x="949" y="2127"/>
                </a:cubicBezTo>
                <a:lnTo>
                  <a:pt x="949" y="1951"/>
                </a:lnTo>
                <a:cubicBezTo>
                  <a:pt x="949" y="1813"/>
                  <a:pt x="838" y="1702"/>
                  <a:pt x="700" y="1702"/>
                </a:cubicBezTo>
                <a:cubicBezTo>
                  <a:pt x="564" y="1702"/>
                  <a:pt x="453" y="1591"/>
                  <a:pt x="453" y="1455"/>
                </a:cubicBezTo>
                <a:lnTo>
                  <a:pt x="453" y="1103"/>
                </a:lnTo>
                <a:cubicBezTo>
                  <a:pt x="453" y="960"/>
                  <a:pt x="569" y="845"/>
                  <a:pt x="712" y="845"/>
                </a:cubicBezTo>
                <a:cubicBezTo>
                  <a:pt x="758" y="845"/>
                  <a:pt x="1715" y="845"/>
                  <a:pt x="1761" y="845"/>
                </a:cubicBezTo>
                <a:cubicBezTo>
                  <a:pt x="1904" y="845"/>
                  <a:pt x="2019" y="960"/>
                  <a:pt x="2019" y="1103"/>
                </a:cubicBezTo>
                <a:lnTo>
                  <a:pt x="2019" y="1455"/>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grpSp>
        <p:nvGrpSpPr>
          <p:cNvPr id="35" name="Group 19">
            <a:extLst>
              <a:ext uri="{FF2B5EF4-FFF2-40B4-BE49-F238E27FC236}">
                <a16:creationId xmlns:a16="http://schemas.microsoft.com/office/drawing/2014/main" id="{344BB4EC-37F4-4DC7-9C29-C0EB62E6FD07}"/>
              </a:ext>
            </a:extLst>
          </p:cNvPr>
          <p:cNvGrpSpPr/>
          <p:nvPr/>
        </p:nvGrpSpPr>
        <p:grpSpPr>
          <a:xfrm>
            <a:off x="6926974" y="4378532"/>
            <a:ext cx="421568" cy="437559"/>
            <a:chOff x="1039813" y="2333626"/>
            <a:chExt cx="460375" cy="477838"/>
          </a:xfrm>
          <a:solidFill>
            <a:schemeClr val="bg1"/>
          </a:solidFill>
        </p:grpSpPr>
        <p:sp>
          <p:nvSpPr>
            <p:cNvPr id="36" name="Freeform 25">
              <a:extLst>
                <a:ext uri="{FF2B5EF4-FFF2-40B4-BE49-F238E27FC236}">
                  <a16:creationId xmlns:a16="http://schemas.microsoft.com/office/drawing/2014/main" id="{BE188193-4928-4D5C-A38D-5D7B225C5473}"/>
                </a:ext>
              </a:extLst>
            </p:cNvPr>
            <p:cNvSpPr>
              <a:spLocks noEditPoints="1"/>
            </p:cNvSpPr>
            <p:nvPr/>
          </p:nvSpPr>
          <p:spPr bwMode="auto">
            <a:xfrm>
              <a:off x="1152525" y="2463801"/>
              <a:ext cx="106363" cy="144463"/>
            </a:xfrm>
            <a:custGeom>
              <a:avLst/>
              <a:gdLst>
                <a:gd name="T0" fmla="*/ 435 w 676"/>
                <a:gd name="T1" fmla="*/ 243 h 906"/>
                <a:gd name="T2" fmla="*/ 435 w 676"/>
                <a:gd name="T3" fmla="*/ 0 h 906"/>
                <a:gd name="T4" fmla="*/ 241 w 676"/>
                <a:gd name="T5" fmla="*/ 0 h 906"/>
                <a:gd name="T6" fmla="*/ 241 w 676"/>
                <a:gd name="T7" fmla="*/ 243 h 906"/>
                <a:gd name="T8" fmla="*/ 0 w 676"/>
                <a:gd name="T9" fmla="*/ 567 h 906"/>
                <a:gd name="T10" fmla="*/ 338 w 676"/>
                <a:gd name="T11" fmla="*/ 906 h 906"/>
                <a:gd name="T12" fmla="*/ 676 w 676"/>
                <a:gd name="T13" fmla="*/ 567 h 906"/>
                <a:gd name="T14" fmla="*/ 435 w 676"/>
                <a:gd name="T15" fmla="*/ 243 h 906"/>
                <a:gd name="T16" fmla="*/ 338 w 676"/>
                <a:gd name="T17" fmla="*/ 712 h 906"/>
                <a:gd name="T18" fmla="*/ 193 w 676"/>
                <a:gd name="T19" fmla="*/ 567 h 906"/>
                <a:gd name="T20" fmla="*/ 338 w 676"/>
                <a:gd name="T21" fmla="*/ 422 h 906"/>
                <a:gd name="T22" fmla="*/ 483 w 676"/>
                <a:gd name="T23" fmla="*/ 567 h 906"/>
                <a:gd name="T24" fmla="*/ 338 w 676"/>
                <a:gd name="T25" fmla="*/ 712 h 9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76" h="906">
                  <a:moveTo>
                    <a:pt x="435" y="243"/>
                  </a:moveTo>
                  <a:lnTo>
                    <a:pt x="435" y="0"/>
                  </a:lnTo>
                  <a:lnTo>
                    <a:pt x="241" y="0"/>
                  </a:lnTo>
                  <a:lnTo>
                    <a:pt x="241" y="243"/>
                  </a:lnTo>
                  <a:cubicBezTo>
                    <a:pt x="102" y="285"/>
                    <a:pt x="0" y="414"/>
                    <a:pt x="0" y="567"/>
                  </a:cubicBezTo>
                  <a:cubicBezTo>
                    <a:pt x="0" y="754"/>
                    <a:pt x="151" y="906"/>
                    <a:pt x="338" y="906"/>
                  </a:cubicBezTo>
                  <a:cubicBezTo>
                    <a:pt x="525" y="906"/>
                    <a:pt x="676" y="754"/>
                    <a:pt x="676" y="567"/>
                  </a:cubicBezTo>
                  <a:cubicBezTo>
                    <a:pt x="676" y="414"/>
                    <a:pt x="574" y="285"/>
                    <a:pt x="435" y="243"/>
                  </a:cubicBezTo>
                  <a:close/>
                  <a:moveTo>
                    <a:pt x="338" y="712"/>
                  </a:moveTo>
                  <a:cubicBezTo>
                    <a:pt x="258" y="712"/>
                    <a:pt x="193" y="647"/>
                    <a:pt x="193" y="567"/>
                  </a:cubicBezTo>
                  <a:cubicBezTo>
                    <a:pt x="193" y="487"/>
                    <a:pt x="258" y="422"/>
                    <a:pt x="338" y="422"/>
                  </a:cubicBezTo>
                  <a:cubicBezTo>
                    <a:pt x="418" y="422"/>
                    <a:pt x="483" y="487"/>
                    <a:pt x="483" y="567"/>
                  </a:cubicBezTo>
                  <a:cubicBezTo>
                    <a:pt x="483" y="647"/>
                    <a:pt x="418" y="712"/>
                    <a:pt x="338" y="7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37" name="Freeform 26">
              <a:extLst>
                <a:ext uri="{FF2B5EF4-FFF2-40B4-BE49-F238E27FC236}">
                  <a16:creationId xmlns:a16="http://schemas.microsoft.com/office/drawing/2014/main" id="{5990F244-20FC-404B-BC25-D486CB83E34B}"/>
                </a:ext>
              </a:extLst>
            </p:cNvPr>
            <p:cNvSpPr>
              <a:spLocks noEditPoints="1"/>
            </p:cNvSpPr>
            <p:nvPr/>
          </p:nvSpPr>
          <p:spPr bwMode="auto">
            <a:xfrm>
              <a:off x="1281113" y="2463801"/>
              <a:ext cx="106363" cy="144463"/>
            </a:xfrm>
            <a:custGeom>
              <a:avLst/>
              <a:gdLst>
                <a:gd name="T0" fmla="*/ 435 w 677"/>
                <a:gd name="T1" fmla="*/ 243 h 906"/>
                <a:gd name="T2" fmla="*/ 435 w 677"/>
                <a:gd name="T3" fmla="*/ 0 h 906"/>
                <a:gd name="T4" fmla="*/ 242 w 677"/>
                <a:gd name="T5" fmla="*/ 0 h 906"/>
                <a:gd name="T6" fmla="*/ 242 w 677"/>
                <a:gd name="T7" fmla="*/ 243 h 906"/>
                <a:gd name="T8" fmla="*/ 0 w 677"/>
                <a:gd name="T9" fmla="*/ 567 h 906"/>
                <a:gd name="T10" fmla="*/ 338 w 677"/>
                <a:gd name="T11" fmla="*/ 906 h 906"/>
                <a:gd name="T12" fmla="*/ 677 w 677"/>
                <a:gd name="T13" fmla="*/ 567 h 906"/>
                <a:gd name="T14" fmla="*/ 435 w 677"/>
                <a:gd name="T15" fmla="*/ 243 h 906"/>
                <a:gd name="T16" fmla="*/ 338 w 677"/>
                <a:gd name="T17" fmla="*/ 712 h 906"/>
                <a:gd name="T18" fmla="*/ 193 w 677"/>
                <a:gd name="T19" fmla="*/ 567 h 906"/>
                <a:gd name="T20" fmla="*/ 338 w 677"/>
                <a:gd name="T21" fmla="*/ 422 h 906"/>
                <a:gd name="T22" fmla="*/ 483 w 677"/>
                <a:gd name="T23" fmla="*/ 567 h 906"/>
                <a:gd name="T24" fmla="*/ 338 w 677"/>
                <a:gd name="T25" fmla="*/ 712 h 9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77" h="906">
                  <a:moveTo>
                    <a:pt x="435" y="243"/>
                  </a:moveTo>
                  <a:lnTo>
                    <a:pt x="435" y="0"/>
                  </a:lnTo>
                  <a:lnTo>
                    <a:pt x="242" y="0"/>
                  </a:lnTo>
                  <a:lnTo>
                    <a:pt x="242" y="243"/>
                  </a:lnTo>
                  <a:cubicBezTo>
                    <a:pt x="102" y="285"/>
                    <a:pt x="0" y="414"/>
                    <a:pt x="0" y="567"/>
                  </a:cubicBezTo>
                  <a:cubicBezTo>
                    <a:pt x="0" y="754"/>
                    <a:pt x="152" y="906"/>
                    <a:pt x="338" y="906"/>
                  </a:cubicBezTo>
                  <a:cubicBezTo>
                    <a:pt x="525" y="906"/>
                    <a:pt x="677" y="754"/>
                    <a:pt x="677" y="567"/>
                  </a:cubicBezTo>
                  <a:cubicBezTo>
                    <a:pt x="677" y="414"/>
                    <a:pt x="575" y="285"/>
                    <a:pt x="435" y="243"/>
                  </a:cubicBezTo>
                  <a:close/>
                  <a:moveTo>
                    <a:pt x="338" y="712"/>
                  </a:moveTo>
                  <a:cubicBezTo>
                    <a:pt x="258" y="712"/>
                    <a:pt x="193" y="647"/>
                    <a:pt x="193" y="567"/>
                  </a:cubicBezTo>
                  <a:cubicBezTo>
                    <a:pt x="193" y="487"/>
                    <a:pt x="258" y="422"/>
                    <a:pt x="338" y="422"/>
                  </a:cubicBezTo>
                  <a:cubicBezTo>
                    <a:pt x="418" y="422"/>
                    <a:pt x="483" y="487"/>
                    <a:pt x="483" y="567"/>
                  </a:cubicBezTo>
                  <a:cubicBezTo>
                    <a:pt x="483" y="647"/>
                    <a:pt x="418" y="712"/>
                    <a:pt x="338" y="7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38" name="Freeform 27">
              <a:extLst>
                <a:ext uri="{FF2B5EF4-FFF2-40B4-BE49-F238E27FC236}">
                  <a16:creationId xmlns:a16="http://schemas.microsoft.com/office/drawing/2014/main" id="{7860EA41-280A-4964-BE46-348D6771A7B2}"/>
                </a:ext>
              </a:extLst>
            </p:cNvPr>
            <p:cNvSpPr>
              <a:spLocks/>
            </p:cNvSpPr>
            <p:nvPr/>
          </p:nvSpPr>
          <p:spPr bwMode="auto">
            <a:xfrm>
              <a:off x="1039813" y="2333626"/>
              <a:ext cx="460375" cy="477838"/>
            </a:xfrm>
            <a:custGeom>
              <a:avLst/>
              <a:gdLst>
                <a:gd name="T0" fmla="*/ 2806 w 2902"/>
                <a:gd name="T1" fmla="*/ 0 h 3024"/>
                <a:gd name="T2" fmla="*/ 2506 w 2902"/>
                <a:gd name="T3" fmla="*/ 0 h 3024"/>
                <a:gd name="T4" fmla="*/ 2409 w 2902"/>
                <a:gd name="T5" fmla="*/ 97 h 3024"/>
                <a:gd name="T6" fmla="*/ 2409 w 2902"/>
                <a:gd name="T7" fmla="*/ 228 h 3024"/>
                <a:gd name="T8" fmla="*/ 493 w 2902"/>
                <a:gd name="T9" fmla="*/ 228 h 3024"/>
                <a:gd name="T10" fmla="*/ 493 w 2902"/>
                <a:gd name="T11" fmla="*/ 97 h 3024"/>
                <a:gd name="T12" fmla="*/ 396 w 2902"/>
                <a:gd name="T13" fmla="*/ 0 h 3024"/>
                <a:gd name="T14" fmla="*/ 97 w 2902"/>
                <a:gd name="T15" fmla="*/ 0 h 3024"/>
                <a:gd name="T16" fmla="*/ 0 w 2902"/>
                <a:gd name="T17" fmla="*/ 97 h 3024"/>
                <a:gd name="T18" fmla="*/ 0 w 2902"/>
                <a:gd name="T19" fmla="*/ 2927 h 3024"/>
                <a:gd name="T20" fmla="*/ 97 w 2902"/>
                <a:gd name="T21" fmla="*/ 3024 h 3024"/>
                <a:gd name="T22" fmla="*/ 396 w 2902"/>
                <a:gd name="T23" fmla="*/ 3024 h 3024"/>
                <a:gd name="T24" fmla="*/ 493 w 2902"/>
                <a:gd name="T25" fmla="*/ 2927 h 3024"/>
                <a:gd name="T26" fmla="*/ 493 w 2902"/>
                <a:gd name="T27" fmla="*/ 634 h 3024"/>
                <a:gd name="T28" fmla="*/ 2409 w 2902"/>
                <a:gd name="T29" fmla="*/ 634 h 3024"/>
                <a:gd name="T30" fmla="*/ 2409 w 2902"/>
                <a:gd name="T31" fmla="*/ 2927 h 3024"/>
                <a:gd name="T32" fmla="*/ 2506 w 2902"/>
                <a:gd name="T33" fmla="*/ 3024 h 3024"/>
                <a:gd name="T34" fmla="*/ 2806 w 2902"/>
                <a:gd name="T35" fmla="*/ 3024 h 3024"/>
                <a:gd name="T36" fmla="*/ 2902 w 2902"/>
                <a:gd name="T37" fmla="*/ 2927 h 3024"/>
                <a:gd name="T38" fmla="*/ 2902 w 2902"/>
                <a:gd name="T39" fmla="*/ 97 h 3024"/>
                <a:gd name="T40" fmla="*/ 2806 w 2902"/>
                <a:gd name="T41" fmla="*/ 0 h 30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02" h="3024">
                  <a:moveTo>
                    <a:pt x="2806" y="0"/>
                  </a:moveTo>
                  <a:lnTo>
                    <a:pt x="2506" y="0"/>
                  </a:lnTo>
                  <a:cubicBezTo>
                    <a:pt x="2453" y="0"/>
                    <a:pt x="2409" y="44"/>
                    <a:pt x="2409" y="97"/>
                  </a:cubicBezTo>
                  <a:lnTo>
                    <a:pt x="2409" y="228"/>
                  </a:lnTo>
                  <a:lnTo>
                    <a:pt x="493" y="228"/>
                  </a:lnTo>
                  <a:lnTo>
                    <a:pt x="493" y="97"/>
                  </a:lnTo>
                  <a:cubicBezTo>
                    <a:pt x="493" y="44"/>
                    <a:pt x="450" y="0"/>
                    <a:pt x="396" y="0"/>
                  </a:cubicBezTo>
                  <a:lnTo>
                    <a:pt x="97" y="0"/>
                  </a:lnTo>
                  <a:cubicBezTo>
                    <a:pt x="43" y="0"/>
                    <a:pt x="0" y="44"/>
                    <a:pt x="0" y="97"/>
                  </a:cubicBezTo>
                  <a:lnTo>
                    <a:pt x="0" y="2927"/>
                  </a:lnTo>
                  <a:cubicBezTo>
                    <a:pt x="0" y="2980"/>
                    <a:pt x="43" y="3024"/>
                    <a:pt x="97" y="3024"/>
                  </a:cubicBezTo>
                  <a:lnTo>
                    <a:pt x="396" y="3024"/>
                  </a:lnTo>
                  <a:cubicBezTo>
                    <a:pt x="450" y="3024"/>
                    <a:pt x="493" y="2980"/>
                    <a:pt x="493" y="2927"/>
                  </a:cubicBezTo>
                  <a:lnTo>
                    <a:pt x="493" y="634"/>
                  </a:lnTo>
                  <a:lnTo>
                    <a:pt x="2409" y="634"/>
                  </a:lnTo>
                  <a:lnTo>
                    <a:pt x="2409" y="2927"/>
                  </a:lnTo>
                  <a:cubicBezTo>
                    <a:pt x="2409" y="2980"/>
                    <a:pt x="2453" y="3024"/>
                    <a:pt x="2506" y="3024"/>
                  </a:cubicBezTo>
                  <a:lnTo>
                    <a:pt x="2806" y="3024"/>
                  </a:lnTo>
                  <a:cubicBezTo>
                    <a:pt x="2859" y="3024"/>
                    <a:pt x="2902" y="2980"/>
                    <a:pt x="2902" y="2927"/>
                  </a:cubicBezTo>
                  <a:lnTo>
                    <a:pt x="2902" y="97"/>
                  </a:lnTo>
                  <a:cubicBezTo>
                    <a:pt x="2902" y="44"/>
                    <a:pt x="2859" y="0"/>
                    <a:pt x="280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HarmonyOS Sans SC"/>
                <a:cs typeface="+mn-cs"/>
              </a:endParaRPr>
            </a:p>
          </p:txBody>
        </p:sp>
      </p:grpSp>
      <p:sp>
        <p:nvSpPr>
          <p:cNvPr id="39" name="Freeform 28">
            <a:extLst>
              <a:ext uri="{FF2B5EF4-FFF2-40B4-BE49-F238E27FC236}">
                <a16:creationId xmlns:a16="http://schemas.microsoft.com/office/drawing/2014/main" id="{38E81A1A-AB4C-4070-83A9-7C1E306DB4CC}"/>
              </a:ext>
            </a:extLst>
          </p:cNvPr>
          <p:cNvSpPr>
            <a:spLocks noEditPoints="1"/>
          </p:cNvSpPr>
          <p:nvPr/>
        </p:nvSpPr>
        <p:spPr bwMode="auto">
          <a:xfrm>
            <a:off x="4911016" y="4396731"/>
            <a:ext cx="437559" cy="437559"/>
          </a:xfrm>
          <a:custGeom>
            <a:avLst/>
            <a:gdLst>
              <a:gd name="T0" fmla="*/ 2923 w 3024"/>
              <a:gd name="T1" fmla="*/ 0 h 3024"/>
              <a:gd name="T2" fmla="*/ 101 w 3024"/>
              <a:gd name="T3" fmla="*/ 0 h 3024"/>
              <a:gd name="T4" fmla="*/ 0 w 3024"/>
              <a:gd name="T5" fmla="*/ 101 h 3024"/>
              <a:gd name="T6" fmla="*/ 0 w 3024"/>
              <a:gd name="T7" fmla="*/ 2923 h 3024"/>
              <a:gd name="T8" fmla="*/ 101 w 3024"/>
              <a:gd name="T9" fmla="*/ 3024 h 3024"/>
              <a:gd name="T10" fmla="*/ 2923 w 3024"/>
              <a:gd name="T11" fmla="*/ 3024 h 3024"/>
              <a:gd name="T12" fmla="*/ 3024 w 3024"/>
              <a:gd name="T13" fmla="*/ 2923 h 3024"/>
              <a:gd name="T14" fmla="*/ 3024 w 3024"/>
              <a:gd name="T15" fmla="*/ 101 h 3024"/>
              <a:gd name="T16" fmla="*/ 2923 w 3024"/>
              <a:gd name="T17" fmla="*/ 0 h 3024"/>
              <a:gd name="T18" fmla="*/ 2330 w 3024"/>
              <a:gd name="T19" fmla="*/ 717 h 3024"/>
              <a:gd name="T20" fmla="*/ 1933 w 3024"/>
              <a:gd name="T21" fmla="*/ 1114 h 3024"/>
              <a:gd name="T22" fmla="*/ 1819 w 3024"/>
              <a:gd name="T23" fmla="*/ 1122 h 3024"/>
              <a:gd name="T24" fmla="*/ 1429 w 3024"/>
              <a:gd name="T25" fmla="*/ 1027 h 3024"/>
              <a:gd name="T26" fmla="*/ 1057 w 3024"/>
              <a:gd name="T27" fmla="*/ 644 h 3024"/>
              <a:gd name="T28" fmla="*/ 915 w 3024"/>
              <a:gd name="T29" fmla="*/ 641 h 3024"/>
              <a:gd name="T30" fmla="*/ 912 w 3024"/>
              <a:gd name="T31" fmla="*/ 784 h 3024"/>
              <a:gd name="T32" fmla="*/ 1226 w 3024"/>
              <a:gd name="T33" fmla="*/ 1107 h 3024"/>
              <a:gd name="T34" fmla="*/ 1205 w 3024"/>
              <a:gd name="T35" fmla="*/ 1122 h 3024"/>
              <a:gd name="T36" fmla="*/ 1091 w 3024"/>
              <a:gd name="T37" fmla="*/ 1114 h 3024"/>
              <a:gd name="T38" fmla="*/ 695 w 3024"/>
              <a:gd name="T39" fmla="*/ 717 h 3024"/>
              <a:gd name="T40" fmla="*/ 669 w 3024"/>
              <a:gd name="T41" fmla="*/ 652 h 3024"/>
              <a:gd name="T42" fmla="*/ 700 w 3024"/>
              <a:gd name="T43" fmla="*/ 589 h 3024"/>
              <a:gd name="T44" fmla="*/ 2325 w 3024"/>
              <a:gd name="T45" fmla="*/ 589 h 3024"/>
              <a:gd name="T46" fmla="*/ 2355 w 3024"/>
              <a:gd name="T47" fmla="*/ 652 h 3024"/>
              <a:gd name="T48" fmla="*/ 2330 w 3024"/>
              <a:gd name="T49" fmla="*/ 717 h 30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024" h="3024">
                <a:moveTo>
                  <a:pt x="2923" y="0"/>
                </a:moveTo>
                <a:lnTo>
                  <a:pt x="101" y="0"/>
                </a:lnTo>
                <a:cubicBezTo>
                  <a:pt x="46" y="0"/>
                  <a:pt x="0" y="45"/>
                  <a:pt x="0" y="101"/>
                </a:cubicBezTo>
                <a:lnTo>
                  <a:pt x="0" y="2923"/>
                </a:lnTo>
                <a:cubicBezTo>
                  <a:pt x="0" y="2978"/>
                  <a:pt x="46" y="3024"/>
                  <a:pt x="101" y="3024"/>
                </a:cubicBezTo>
                <a:lnTo>
                  <a:pt x="2923" y="3024"/>
                </a:lnTo>
                <a:cubicBezTo>
                  <a:pt x="2979" y="3024"/>
                  <a:pt x="3024" y="2978"/>
                  <a:pt x="3024" y="2923"/>
                </a:cubicBezTo>
                <a:lnTo>
                  <a:pt x="3024" y="101"/>
                </a:lnTo>
                <a:cubicBezTo>
                  <a:pt x="3024" y="45"/>
                  <a:pt x="2979" y="0"/>
                  <a:pt x="2923" y="0"/>
                </a:cubicBezTo>
                <a:close/>
                <a:moveTo>
                  <a:pt x="2330" y="717"/>
                </a:moveTo>
                <a:lnTo>
                  <a:pt x="1933" y="1114"/>
                </a:lnTo>
                <a:cubicBezTo>
                  <a:pt x="1903" y="1144"/>
                  <a:pt x="1854" y="1148"/>
                  <a:pt x="1819" y="1122"/>
                </a:cubicBezTo>
                <a:cubicBezTo>
                  <a:pt x="1705" y="1037"/>
                  <a:pt x="1563" y="1005"/>
                  <a:pt x="1429" y="1027"/>
                </a:cubicBezTo>
                <a:lnTo>
                  <a:pt x="1057" y="644"/>
                </a:lnTo>
                <a:cubicBezTo>
                  <a:pt x="1019" y="604"/>
                  <a:pt x="955" y="603"/>
                  <a:pt x="915" y="641"/>
                </a:cubicBezTo>
                <a:cubicBezTo>
                  <a:pt x="875" y="680"/>
                  <a:pt x="874" y="744"/>
                  <a:pt x="912" y="784"/>
                </a:cubicBezTo>
                <a:lnTo>
                  <a:pt x="1226" y="1107"/>
                </a:lnTo>
                <a:cubicBezTo>
                  <a:pt x="1219" y="1112"/>
                  <a:pt x="1212" y="1117"/>
                  <a:pt x="1205" y="1122"/>
                </a:cubicBezTo>
                <a:cubicBezTo>
                  <a:pt x="1170" y="1148"/>
                  <a:pt x="1122" y="1144"/>
                  <a:pt x="1091" y="1114"/>
                </a:cubicBezTo>
                <a:lnTo>
                  <a:pt x="695" y="717"/>
                </a:lnTo>
                <a:cubicBezTo>
                  <a:pt x="677" y="700"/>
                  <a:pt x="668" y="676"/>
                  <a:pt x="669" y="652"/>
                </a:cubicBezTo>
                <a:cubicBezTo>
                  <a:pt x="670" y="628"/>
                  <a:pt x="681" y="605"/>
                  <a:pt x="700" y="589"/>
                </a:cubicBezTo>
                <a:cubicBezTo>
                  <a:pt x="1165" y="188"/>
                  <a:pt x="1859" y="188"/>
                  <a:pt x="2325" y="589"/>
                </a:cubicBezTo>
                <a:cubicBezTo>
                  <a:pt x="2343" y="605"/>
                  <a:pt x="2354" y="628"/>
                  <a:pt x="2355" y="652"/>
                </a:cubicBezTo>
                <a:cubicBezTo>
                  <a:pt x="2356" y="676"/>
                  <a:pt x="2347" y="700"/>
                  <a:pt x="2330" y="71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grpSp>
        <p:nvGrpSpPr>
          <p:cNvPr id="40" name="Group 24">
            <a:extLst>
              <a:ext uri="{FF2B5EF4-FFF2-40B4-BE49-F238E27FC236}">
                <a16:creationId xmlns:a16="http://schemas.microsoft.com/office/drawing/2014/main" id="{D524F4FD-0EBD-493F-B4A9-063BD6806EDA}"/>
              </a:ext>
            </a:extLst>
          </p:cNvPr>
          <p:cNvGrpSpPr/>
          <p:nvPr/>
        </p:nvGrpSpPr>
        <p:grpSpPr>
          <a:xfrm>
            <a:off x="6893327" y="2418781"/>
            <a:ext cx="437559" cy="428837"/>
            <a:chOff x="7442200" y="841376"/>
            <a:chExt cx="477838" cy="468313"/>
          </a:xfrm>
          <a:solidFill>
            <a:schemeClr val="bg1"/>
          </a:solidFill>
        </p:grpSpPr>
        <p:sp>
          <p:nvSpPr>
            <p:cNvPr id="41" name="Freeform 57">
              <a:extLst>
                <a:ext uri="{FF2B5EF4-FFF2-40B4-BE49-F238E27FC236}">
                  <a16:creationId xmlns:a16="http://schemas.microsoft.com/office/drawing/2014/main" id="{9FCB5A1B-6414-452A-8DD5-57F6ACE6BAC0}"/>
                </a:ext>
              </a:extLst>
            </p:cNvPr>
            <p:cNvSpPr>
              <a:spLocks/>
            </p:cNvSpPr>
            <p:nvPr/>
          </p:nvSpPr>
          <p:spPr bwMode="auto">
            <a:xfrm>
              <a:off x="7467600" y="1143001"/>
              <a:ext cx="128588" cy="166688"/>
            </a:xfrm>
            <a:custGeom>
              <a:avLst/>
              <a:gdLst>
                <a:gd name="T0" fmla="*/ 402 w 813"/>
                <a:gd name="T1" fmla="*/ 0 h 1052"/>
                <a:gd name="T2" fmla="*/ 402 w 813"/>
                <a:gd name="T3" fmla="*/ 0 h 1052"/>
                <a:gd name="T4" fmla="*/ 333 w 813"/>
                <a:gd name="T5" fmla="*/ 151 h 1052"/>
                <a:gd name="T6" fmla="*/ 43 w 813"/>
                <a:gd name="T7" fmla="*/ 788 h 1052"/>
                <a:gd name="T8" fmla="*/ 136 w 813"/>
                <a:gd name="T9" fmla="*/ 1036 h 1052"/>
                <a:gd name="T10" fmla="*/ 214 w 813"/>
                <a:gd name="T11" fmla="*/ 1052 h 1052"/>
                <a:gd name="T12" fmla="*/ 384 w 813"/>
                <a:gd name="T13" fmla="*/ 942 h 1052"/>
                <a:gd name="T14" fmla="*/ 674 w 813"/>
                <a:gd name="T15" fmla="*/ 306 h 1052"/>
                <a:gd name="T16" fmla="*/ 813 w 813"/>
                <a:gd name="T17" fmla="*/ 0 h 1052"/>
                <a:gd name="T18" fmla="*/ 402 w 813"/>
                <a:gd name="T19" fmla="*/ 0 h 10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3" h="1052">
                  <a:moveTo>
                    <a:pt x="402" y="0"/>
                  </a:moveTo>
                  <a:lnTo>
                    <a:pt x="402" y="0"/>
                  </a:lnTo>
                  <a:cubicBezTo>
                    <a:pt x="379" y="50"/>
                    <a:pt x="355" y="101"/>
                    <a:pt x="333" y="151"/>
                  </a:cubicBezTo>
                  <a:cubicBezTo>
                    <a:pt x="238" y="359"/>
                    <a:pt x="140" y="574"/>
                    <a:pt x="43" y="788"/>
                  </a:cubicBezTo>
                  <a:cubicBezTo>
                    <a:pt x="0" y="882"/>
                    <a:pt x="42" y="993"/>
                    <a:pt x="136" y="1036"/>
                  </a:cubicBezTo>
                  <a:cubicBezTo>
                    <a:pt x="162" y="1047"/>
                    <a:pt x="188" y="1052"/>
                    <a:pt x="214" y="1052"/>
                  </a:cubicBezTo>
                  <a:cubicBezTo>
                    <a:pt x="285" y="1052"/>
                    <a:pt x="353" y="1011"/>
                    <a:pt x="384" y="942"/>
                  </a:cubicBezTo>
                  <a:cubicBezTo>
                    <a:pt x="481" y="729"/>
                    <a:pt x="579" y="514"/>
                    <a:pt x="674" y="306"/>
                  </a:cubicBezTo>
                  <a:cubicBezTo>
                    <a:pt x="720" y="205"/>
                    <a:pt x="766" y="103"/>
                    <a:pt x="813" y="0"/>
                  </a:cubicBezTo>
                  <a:lnTo>
                    <a:pt x="40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42" name="Freeform 58">
              <a:extLst>
                <a:ext uri="{FF2B5EF4-FFF2-40B4-BE49-F238E27FC236}">
                  <a16:creationId xmlns:a16="http://schemas.microsoft.com/office/drawing/2014/main" id="{6CC708B5-5FE9-4595-8060-A4DD0D54D879}"/>
                </a:ext>
              </a:extLst>
            </p:cNvPr>
            <p:cNvSpPr>
              <a:spLocks/>
            </p:cNvSpPr>
            <p:nvPr/>
          </p:nvSpPr>
          <p:spPr bwMode="auto">
            <a:xfrm>
              <a:off x="7442200" y="841376"/>
              <a:ext cx="477838" cy="269875"/>
            </a:xfrm>
            <a:custGeom>
              <a:avLst/>
              <a:gdLst>
                <a:gd name="T0" fmla="*/ 2910 w 3023"/>
                <a:gd name="T1" fmla="*/ 495 h 1708"/>
                <a:gd name="T2" fmla="*/ 2247 w 3023"/>
                <a:gd name="T3" fmla="*/ 495 h 1708"/>
                <a:gd name="T4" fmla="*/ 2247 w 3023"/>
                <a:gd name="T5" fmla="*/ 275 h 1708"/>
                <a:gd name="T6" fmla="*/ 1972 w 3023"/>
                <a:gd name="T7" fmla="*/ 0 h 1708"/>
                <a:gd name="T8" fmla="*/ 1697 w 3023"/>
                <a:gd name="T9" fmla="*/ 275 h 1708"/>
                <a:gd name="T10" fmla="*/ 1697 w 3023"/>
                <a:gd name="T11" fmla="*/ 495 h 1708"/>
                <a:gd name="T12" fmla="*/ 1326 w 3023"/>
                <a:gd name="T13" fmla="*/ 495 h 1708"/>
                <a:gd name="T14" fmla="*/ 1326 w 3023"/>
                <a:gd name="T15" fmla="*/ 275 h 1708"/>
                <a:gd name="T16" fmla="*/ 1050 w 3023"/>
                <a:gd name="T17" fmla="*/ 0 h 1708"/>
                <a:gd name="T18" fmla="*/ 775 w 3023"/>
                <a:gd name="T19" fmla="*/ 275 h 1708"/>
                <a:gd name="T20" fmla="*/ 775 w 3023"/>
                <a:gd name="T21" fmla="*/ 495 h 1708"/>
                <a:gd name="T22" fmla="*/ 112 w 3023"/>
                <a:gd name="T23" fmla="*/ 495 h 1708"/>
                <a:gd name="T24" fmla="*/ 0 w 3023"/>
                <a:gd name="T25" fmla="*/ 607 h 1708"/>
                <a:gd name="T26" fmla="*/ 0 w 3023"/>
                <a:gd name="T27" fmla="*/ 1596 h 1708"/>
                <a:gd name="T28" fmla="*/ 112 w 3023"/>
                <a:gd name="T29" fmla="*/ 1708 h 1708"/>
                <a:gd name="T30" fmla="*/ 2910 w 3023"/>
                <a:gd name="T31" fmla="*/ 1708 h 1708"/>
                <a:gd name="T32" fmla="*/ 3023 w 3023"/>
                <a:gd name="T33" fmla="*/ 1596 h 1708"/>
                <a:gd name="T34" fmla="*/ 3023 w 3023"/>
                <a:gd name="T35" fmla="*/ 607 h 1708"/>
                <a:gd name="T36" fmla="*/ 2910 w 3023"/>
                <a:gd name="T37" fmla="*/ 495 h 1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023" h="1708">
                  <a:moveTo>
                    <a:pt x="2910" y="495"/>
                  </a:moveTo>
                  <a:lnTo>
                    <a:pt x="2247" y="495"/>
                  </a:lnTo>
                  <a:lnTo>
                    <a:pt x="2247" y="275"/>
                  </a:lnTo>
                  <a:cubicBezTo>
                    <a:pt x="2247" y="124"/>
                    <a:pt x="2124" y="0"/>
                    <a:pt x="1972" y="0"/>
                  </a:cubicBezTo>
                  <a:cubicBezTo>
                    <a:pt x="1820" y="0"/>
                    <a:pt x="1697" y="124"/>
                    <a:pt x="1697" y="275"/>
                  </a:cubicBezTo>
                  <a:lnTo>
                    <a:pt x="1697" y="495"/>
                  </a:lnTo>
                  <a:lnTo>
                    <a:pt x="1326" y="495"/>
                  </a:lnTo>
                  <a:lnTo>
                    <a:pt x="1326" y="275"/>
                  </a:lnTo>
                  <a:cubicBezTo>
                    <a:pt x="1326" y="124"/>
                    <a:pt x="1202" y="0"/>
                    <a:pt x="1050" y="0"/>
                  </a:cubicBezTo>
                  <a:cubicBezTo>
                    <a:pt x="899" y="0"/>
                    <a:pt x="775" y="124"/>
                    <a:pt x="775" y="275"/>
                  </a:cubicBezTo>
                  <a:lnTo>
                    <a:pt x="775" y="495"/>
                  </a:lnTo>
                  <a:lnTo>
                    <a:pt x="112" y="495"/>
                  </a:lnTo>
                  <a:cubicBezTo>
                    <a:pt x="50" y="495"/>
                    <a:pt x="0" y="545"/>
                    <a:pt x="0" y="607"/>
                  </a:cubicBezTo>
                  <a:lnTo>
                    <a:pt x="0" y="1596"/>
                  </a:lnTo>
                  <a:cubicBezTo>
                    <a:pt x="0" y="1658"/>
                    <a:pt x="50" y="1708"/>
                    <a:pt x="112" y="1708"/>
                  </a:cubicBezTo>
                  <a:lnTo>
                    <a:pt x="2910" y="1708"/>
                  </a:lnTo>
                  <a:cubicBezTo>
                    <a:pt x="2972" y="1708"/>
                    <a:pt x="3023" y="1658"/>
                    <a:pt x="3023" y="1596"/>
                  </a:cubicBezTo>
                  <a:lnTo>
                    <a:pt x="3023" y="607"/>
                  </a:lnTo>
                  <a:cubicBezTo>
                    <a:pt x="3023" y="545"/>
                    <a:pt x="2972" y="495"/>
                    <a:pt x="2910" y="49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43" name="Freeform 59">
              <a:extLst>
                <a:ext uri="{FF2B5EF4-FFF2-40B4-BE49-F238E27FC236}">
                  <a16:creationId xmlns:a16="http://schemas.microsoft.com/office/drawing/2014/main" id="{CD00E1BB-0A6D-430F-95CE-64ADA61BF1C8}"/>
                </a:ext>
              </a:extLst>
            </p:cNvPr>
            <p:cNvSpPr>
              <a:spLocks/>
            </p:cNvSpPr>
            <p:nvPr/>
          </p:nvSpPr>
          <p:spPr bwMode="auto">
            <a:xfrm>
              <a:off x="7766050" y="1143001"/>
              <a:ext cx="128588" cy="166688"/>
            </a:xfrm>
            <a:custGeom>
              <a:avLst/>
              <a:gdLst>
                <a:gd name="T0" fmla="*/ 769 w 812"/>
                <a:gd name="T1" fmla="*/ 788 h 1052"/>
                <a:gd name="T2" fmla="*/ 412 w 812"/>
                <a:gd name="T3" fmla="*/ 0 h 1052"/>
                <a:gd name="T4" fmla="*/ 0 w 812"/>
                <a:gd name="T5" fmla="*/ 0 h 1052"/>
                <a:gd name="T6" fmla="*/ 428 w 812"/>
                <a:gd name="T7" fmla="*/ 942 h 1052"/>
                <a:gd name="T8" fmla="*/ 599 w 812"/>
                <a:gd name="T9" fmla="*/ 1052 h 1052"/>
                <a:gd name="T10" fmla="*/ 675 w 812"/>
                <a:gd name="T11" fmla="*/ 1036 h 1052"/>
                <a:gd name="T12" fmla="*/ 769 w 812"/>
                <a:gd name="T13" fmla="*/ 788 h 1052"/>
              </a:gdLst>
              <a:ahLst/>
              <a:cxnLst>
                <a:cxn ang="0">
                  <a:pos x="T0" y="T1"/>
                </a:cxn>
                <a:cxn ang="0">
                  <a:pos x="T2" y="T3"/>
                </a:cxn>
                <a:cxn ang="0">
                  <a:pos x="T4" y="T5"/>
                </a:cxn>
                <a:cxn ang="0">
                  <a:pos x="T6" y="T7"/>
                </a:cxn>
                <a:cxn ang="0">
                  <a:pos x="T8" y="T9"/>
                </a:cxn>
                <a:cxn ang="0">
                  <a:pos x="T10" y="T11"/>
                </a:cxn>
                <a:cxn ang="0">
                  <a:pos x="T12" y="T13"/>
                </a:cxn>
              </a:cxnLst>
              <a:rect l="0" t="0" r="r" b="b"/>
              <a:pathLst>
                <a:path w="812" h="1052">
                  <a:moveTo>
                    <a:pt x="769" y="788"/>
                  </a:moveTo>
                  <a:cubicBezTo>
                    <a:pt x="650" y="524"/>
                    <a:pt x="530" y="259"/>
                    <a:pt x="412" y="0"/>
                  </a:cubicBezTo>
                  <a:lnTo>
                    <a:pt x="0" y="0"/>
                  </a:lnTo>
                  <a:cubicBezTo>
                    <a:pt x="141" y="308"/>
                    <a:pt x="285" y="625"/>
                    <a:pt x="428" y="942"/>
                  </a:cubicBezTo>
                  <a:cubicBezTo>
                    <a:pt x="459" y="1011"/>
                    <a:pt x="527" y="1052"/>
                    <a:pt x="599" y="1052"/>
                  </a:cubicBezTo>
                  <a:cubicBezTo>
                    <a:pt x="624" y="1052"/>
                    <a:pt x="650" y="1047"/>
                    <a:pt x="675" y="1036"/>
                  </a:cubicBezTo>
                  <a:cubicBezTo>
                    <a:pt x="770" y="993"/>
                    <a:pt x="812" y="883"/>
                    <a:pt x="769" y="7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grpSp>
      <p:sp>
        <p:nvSpPr>
          <p:cNvPr id="44" name="TextBox 32">
            <a:extLst>
              <a:ext uri="{FF2B5EF4-FFF2-40B4-BE49-F238E27FC236}">
                <a16:creationId xmlns:a16="http://schemas.microsoft.com/office/drawing/2014/main" id="{26DB556D-E1FE-4166-8520-007DA82FCBA3}"/>
              </a:ext>
            </a:extLst>
          </p:cNvPr>
          <p:cNvSpPr txBox="1"/>
          <p:nvPr/>
        </p:nvSpPr>
        <p:spPr>
          <a:xfrm>
            <a:off x="1741326" y="3892603"/>
            <a:ext cx="1816582" cy="367986"/>
          </a:xfrm>
          <a:prstGeom prst="rect">
            <a:avLst/>
          </a:prstGeom>
          <a:noFill/>
        </p:spPr>
        <p:txBody>
          <a:bodyPr wrap="square" rtlCol="0">
            <a:spAutoFit/>
          </a:bodyPr>
          <a:lstStyle/>
          <a:p>
            <a:pPr marL="0" marR="0" lvl="0" indent="0" algn="r" defTabSz="914400" rtl="0" eaLnBrk="1" fontAlgn="auto" latinLnBrk="0" hangingPunct="1">
              <a:lnSpc>
                <a:spcPts val="24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lumMod val="75000"/>
                    <a:lumOff val="25000"/>
                  </a:prstClr>
                </a:solidFill>
                <a:effectLst/>
                <a:uLnTx/>
                <a:uFillTx/>
                <a:latin typeface="HarmonyOS Sans SC Black"/>
                <a:ea typeface="+mj-ea"/>
                <a:cs typeface="+mn-cs"/>
              </a:rPr>
              <a:t>PARTNERSHIPS</a:t>
            </a:r>
          </a:p>
        </p:txBody>
      </p:sp>
      <p:sp>
        <p:nvSpPr>
          <p:cNvPr id="45" name="TextBox 33">
            <a:extLst>
              <a:ext uri="{FF2B5EF4-FFF2-40B4-BE49-F238E27FC236}">
                <a16:creationId xmlns:a16="http://schemas.microsoft.com/office/drawing/2014/main" id="{ADF09668-0E3A-4FE3-BDBD-BC4FD7717002}"/>
              </a:ext>
            </a:extLst>
          </p:cNvPr>
          <p:cNvSpPr txBox="1"/>
          <p:nvPr/>
        </p:nvSpPr>
        <p:spPr>
          <a:xfrm>
            <a:off x="830929" y="4248704"/>
            <a:ext cx="2726979" cy="786497"/>
          </a:xfrm>
          <a:prstGeom prst="rect">
            <a:avLst/>
          </a:prstGeom>
          <a:noFill/>
        </p:spPr>
        <p:txBody>
          <a:bodyPr wrap="square" rtlCol="0">
            <a:spAutoFit/>
          </a:bodyPr>
          <a:lstStyle/>
          <a:p>
            <a:pPr marL="0" marR="0" lvl="0" indent="0" algn="r" defTabSz="914400" rtl="0" eaLnBrk="1" fontAlgn="auto" latinLnBrk="0" hangingPunct="1">
              <a:lnSpc>
                <a:spcPts val="19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lumMod val="50000"/>
                    <a:lumOff val="50000"/>
                  </a:prstClr>
                </a:solidFill>
                <a:effectLst/>
                <a:uLnTx/>
                <a:uFillTx/>
                <a:latin typeface="Montserrat" panose="00000500000000000000" pitchFamily="50" charset="0"/>
                <a:ea typeface="+mn-ea"/>
                <a:cs typeface="+mn-cs"/>
              </a:rPr>
              <a:t>in </a:t>
            </a:r>
            <a:r>
              <a:rPr kumimoji="0" lang="en-US" sz="800" b="0" i="0" u="none" strike="noStrike" kern="1200" cap="none" spc="0" normalizeH="0" baseline="0" noProof="0" dirty="0" err="1">
                <a:ln>
                  <a:noFill/>
                </a:ln>
                <a:solidFill>
                  <a:prstClr val="black">
                    <a:lumMod val="50000"/>
                    <a:lumOff val="50000"/>
                  </a:prstClr>
                </a:solidFill>
                <a:effectLst/>
                <a:uLnTx/>
                <a:uFillTx/>
                <a:latin typeface="Montserrat" panose="00000500000000000000" pitchFamily="50" charset="0"/>
                <a:ea typeface="+mn-ea"/>
                <a:cs typeface="+mn-cs"/>
              </a:rPr>
              <a:t>ultricies</a:t>
            </a:r>
            <a:r>
              <a:rPr kumimoji="0" lang="en-US" sz="800" b="0" i="0" u="none" strike="noStrike" kern="1200" cap="none" spc="0" normalizeH="0" baseline="0" noProof="0" dirty="0">
                <a:ln>
                  <a:noFill/>
                </a:ln>
                <a:solidFill>
                  <a:prstClr val="black">
                    <a:lumMod val="50000"/>
                    <a:lumOff val="50000"/>
                  </a:prstClr>
                </a:solidFill>
                <a:effectLst/>
                <a:uLnTx/>
                <a:uFillTx/>
                <a:latin typeface="Montserrat" panose="00000500000000000000" pitchFamily="50" charset="0"/>
                <a:ea typeface="+mn-ea"/>
                <a:cs typeface="+mn-cs"/>
              </a:rPr>
              <a:t> dui </a:t>
            </a:r>
            <a:r>
              <a:rPr kumimoji="0" lang="en-US" sz="800" b="0" i="0" u="none" strike="noStrike" kern="1200" cap="none" spc="0" normalizeH="0" baseline="0" noProof="0" dirty="0" err="1">
                <a:ln>
                  <a:noFill/>
                </a:ln>
                <a:solidFill>
                  <a:prstClr val="black">
                    <a:lumMod val="50000"/>
                    <a:lumOff val="50000"/>
                  </a:prstClr>
                </a:solidFill>
                <a:effectLst/>
                <a:uLnTx/>
                <a:uFillTx/>
                <a:latin typeface="Montserrat" panose="00000500000000000000" pitchFamily="50" charset="0"/>
                <a:ea typeface="+mn-ea"/>
                <a:cs typeface="+mn-cs"/>
              </a:rPr>
              <a:t>vehicula</a:t>
            </a:r>
            <a:r>
              <a:rPr kumimoji="0" lang="en-US" sz="800" b="0" i="0" u="none" strike="noStrike" kern="1200" cap="none" spc="0" normalizeH="0" baseline="0" noProof="0" dirty="0">
                <a:ln>
                  <a:noFill/>
                </a:ln>
                <a:solidFill>
                  <a:prstClr val="black">
                    <a:lumMod val="50000"/>
                    <a:lumOff val="50000"/>
                  </a:prstClr>
                </a:solidFill>
                <a:effectLst/>
                <a:uLnTx/>
                <a:uFillTx/>
                <a:latin typeface="Montserrat" panose="00000500000000000000" pitchFamily="50" charset="0"/>
                <a:ea typeface="+mn-ea"/>
                <a:cs typeface="+mn-cs"/>
              </a:rPr>
              <a:t> in. </a:t>
            </a:r>
            <a:r>
              <a:rPr kumimoji="0" lang="en-US" sz="800" b="0" i="0" u="none" strike="noStrike" kern="1200" cap="none" spc="0" normalizeH="0" baseline="0" noProof="0" dirty="0" err="1">
                <a:ln>
                  <a:noFill/>
                </a:ln>
                <a:solidFill>
                  <a:prstClr val="black">
                    <a:lumMod val="50000"/>
                    <a:lumOff val="50000"/>
                  </a:prstClr>
                </a:solidFill>
                <a:effectLst/>
                <a:uLnTx/>
                <a:uFillTx/>
                <a:latin typeface="Montserrat" panose="00000500000000000000" pitchFamily="50" charset="0"/>
                <a:ea typeface="+mn-ea"/>
                <a:cs typeface="+mn-cs"/>
              </a:rPr>
              <a:t>Donec</a:t>
            </a:r>
            <a:r>
              <a:rPr kumimoji="0" lang="en-US" sz="800" b="0" i="0" u="none" strike="noStrike" kern="1200" cap="none" spc="0" normalizeH="0" baseline="0" noProof="0" dirty="0">
                <a:ln>
                  <a:noFill/>
                </a:ln>
                <a:solidFill>
                  <a:prstClr val="black">
                    <a:lumMod val="50000"/>
                    <a:lumOff val="50000"/>
                  </a:prstClr>
                </a:solidFill>
                <a:effectLst/>
                <a:uLnTx/>
                <a:uFillTx/>
                <a:latin typeface="Montserrat" panose="00000500000000000000" pitchFamily="50" charset="0"/>
                <a:ea typeface="+mn-ea"/>
                <a:cs typeface="+mn-cs"/>
              </a:rPr>
              <a:t> </a:t>
            </a:r>
            <a:r>
              <a:rPr kumimoji="0" lang="en-US" sz="800" b="0" i="0" u="none" strike="noStrike" kern="1200" cap="none" spc="0" normalizeH="0" baseline="0" noProof="0" dirty="0" err="1">
                <a:ln>
                  <a:noFill/>
                </a:ln>
                <a:solidFill>
                  <a:prstClr val="black">
                    <a:lumMod val="50000"/>
                    <a:lumOff val="50000"/>
                  </a:prstClr>
                </a:solidFill>
                <a:effectLst/>
                <a:uLnTx/>
                <a:uFillTx/>
                <a:latin typeface="Montserrat" panose="00000500000000000000" pitchFamily="50" charset="0"/>
                <a:ea typeface="+mn-ea"/>
                <a:cs typeface="+mn-cs"/>
              </a:rPr>
              <a:t>auctor</a:t>
            </a:r>
            <a:r>
              <a:rPr kumimoji="0" lang="en-US" sz="800" b="0" i="0" u="none" strike="noStrike" kern="1200" cap="none" spc="0" normalizeH="0" baseline="0" noProof="0" dirty="0">
                <a:ln>
                  <a:noFill/>
                </a:ln>
                <a:solidFill>
                  <a:prstClr val="black">
                    <a:lumMod val="50000"/>
                    <a:lumOff val="50000"/>
                  </a:prstClr>
                </a:solidFill>
                <a:effectLst/>
                <a:uLnTx/>
                <a:uFillTx/>
                <a:latin typeface="Montserrat" panose="00000500000000000000" pitchFamily="50" charset="0"/>
                <a:ea typeface="+mn-ea"/>
                <a:cs typeface="+mn-cs"/>
              </a:rPr>
              <a:t> </a:t>
            </a:r>
            <a:r>
              <a:rPr kumimoji="0" lang="en-US" sz="800" b="0" i="0" u="none" strike="noStrike" kern="1200" cap="none" spc="0" normalizeH="0" baseline="0" noProof="0" dirty="0" err="1">
                <a:ln>
                  <a:noFill/>
                </a:ln>
                <a:solidFill>
                  <a:prstClr val="black">
                    <a:lumMod val="50000"/>
                    <a:lumOff val="50000"/>
                  </a:prstClr>
                </a:solidFill>
                <a:effectLst/>
                <a:uLnTx/>
                <a:uFillTx/>
                <a:latin typeface="Montserrat" panose="00000500000000000000" pitchFamily="50" charset="0"/>
                <a:ea typeface="+mn-ea"/>
                <a:cs typeface="+mn-cs"/>
              </a:rPr>
              <a:t>blandit</a:t>
            </a:r>
            <a:r>
              <a:rPr kumimoji="0" lang="en-US" sz="800" b="0" i="0" u="none" strike="noStrike" kern="1200" cap="none" spc="0" normalizeH="0" baseline="0" noProof="0" dirty="0">
                <a:ln>
                  <a:noFill/>
                </a:ln>
                <a:solidFill>
                  <a:prstClr val="black">
                    <a:lumMod val="50000"/>
                    <a:lumOff val="50000"/>
                  </a:prstClr>
                </a:solidFill>
                <a:effectLst/>
                <a:uLnTx/>
                <a:uFillTx/>
                <a:latin typeface="Montserrat" panose="00000500000000000000" pitchFamily="50" charset="0"/>
                <a:ea typeface="+mn-ea"/>
                <a:cs typeface="+mn-cs"/>
              </a:rPr>
              <a:t> </a:t>
            </a:r>
            <a:r>
              <a:rPr kumimoji="0" lang="en-US" sz="800" b="0" i="0" u="none" strike="noStrike" kern="1200" cap="none" spc="0" normalizeH="0" baseline="0" noProof="0" dirty="0" err="1">
                <a:ln>
                  <a:noFill/>
                </a:ln>
                <a:solidFill>
                  <a:prstClr val="black">
                    <a:lumMod val="50000"/>
                    <a:lumOff val="50000"/>
                  </a:prstClr>
                </a:solidFill>
                <a:effectLst/>
                <a:uLnTx/>
                <a:uFillTx/>
                <a:latin typeface="Montserrat" panose="00000500000000000000" pitchFamily="50" charset="0"/>
                <a:ea typeface="+mn-ea"/>
                <a:cs typeface="+mn-cs"/>
              </a:rPr>
              <a:t>leo</a:t>
            </a:r>
            <a:r>
              <a:rPr kumimoji="0" lang="en-US" sz="800" b="0" i="0" u="none" strike="noStrike" kern="1200" cap="none" spc="0" normalizeH="0" baseline="0" noProof="0" dirty="0">
                <a:ln>
                  <a:noFill/>
                </a:ln>
                <a:solidFill>
                  <a:prstClr val="black">
                    <a:lumMod val="50000"/>
                    <a:lumOff val="50000"/>
                  </a:prstClr>
                </a:solidFill>
                <a:effectLst/>
                <a:uLnTx/>
                <a:uFillTx/>
                <a:latin typeface="Montserrat" panose="00000500000000000000" pitchFamily="50" charset="0"/>
                <a:ea typeface="+mn-ea"/>
                <a:cs typeface="+mn-cs"/>
              </a:rPr>
              <a:t>, convallis </a:t>
            </a:r>
            <a:r>
              <a:rPr kumimoji="0" lang="en-US" sz="800" b="0" i="0" u="none" strike="noStrike" kern="1200" cap="none" spc="0" normalizeH="0" baseline="0" noProof="0" dirty="0" err="1">
                <a:ln>
                  <a:noFill/>
                </a:ln>
                <a:solidFill>
                  <a:prstClr val="black">
                    <a:lumMod val="50000"/>
                    <a:lumOff val="50000"/>
                  </a:prstClr>
                </a:solidFill>
                <a:effectLst/>
                <a:uLnTx/>
                <a:uFillTx/>
                <a:latin typeface="Montserrat" panose="00000500000000000000" pitchFamily="50" charset="0"/>
                <a:ea typeface="+mn-ea"/>
                <a:cs typeface="+mn-cs"/>
              </a:rPr>
              <a:t>mollis</a:t>
            </a:r>
            <a:r>
              <a:rPr kumimoji="0" lang="en-US" sz="800" b="0" i="0" u="none" strike="noStrike" kern="1200" cap="none" spc="0" normalizeH="0" baseline="0" noProof="0" dirty="0">
                <a:ln>
                  <a:noFill/>
                </a:ln>
                <a:solidFill>
                  <a:prstClr val="black">
                    <a:lumMod val="50000"/>
                    <a:lumOff val="50000"/>
                  </a:prstClr>
                </a:solidFill>
                <a:effectLst/>
                <a:uLnTx/>
                <a:uFillTx/>
                <a:latin typeface="Montserrat" panose="00000500000000000000" pitchFamily="50" charset="0"/>
                <a:ea typeface="+mn-ea"/>
                <a:cs typeface="+mn-cs"/>
              </a:rPr>
              <a:t> mi </a:t>
            </a:r>
            <a:r>
              <a:rPr kumimoji="0" lang="en-US" sz="800" b="0" i="0" u="none" strike="noStrike" kern="1200" cap="none" spc="0" normalizeH="0" baseline="0" noProof="0" dirty="0" err="1">
                <a:ln>
                  <a:noFill/>
                </a:ln>
                <a:solidFill>
                  <a:prstClr val="black">
                    <a:lumMod val="50000"/>
                    <a:lumOff val="50000"/>
                  </a:prstClr>
                </a:solidFill>
                <a:effectLst/>
                <a:uLnTx/>
                <a:uFillTx/>
                <a:latin typeface="Montserrat" panose="00000500000000000000" pitchFamily="50" charset="0"/>
                <a:ea typeface="+mn-ea"/>
                <a:cs typeface="+mn-cs"/>
              </a:rPr>
              <a:t>condimentum</a:t>
            </a:r>
            <a:r>
              <a:rPr kumimoji="0" lang="en-US" sz="800" b="0" i="0" u="none" strike="noStrike" kern="1200" cap="none" spc="0" normalizeH="0" baseline="0" noProof="0" dirty="0">
                <a:ln>
                  <a:noFill/>
                </a:ln>
                <a:solidFill>
                  <a:prstClr val="black">
                    <a:lumMod val="50000"/>
                    <a:lumOff val="50000"/>
                  </a:prstClr>
                </a:solidFill>
                <a:effectLst/>
                <a:uLnTx/>
                <a:uFillTx/>
                <a:latin typeface="Montserrat" panose="00000500000000000000" pitchFamily="50" charset="0"/>
                <a:ea typeface="+mn-ea"/>
                <a:cs typeface="+mn-cs"/>
              </a:rPr>
              <a:t> in. In dictum </a:t>
            </a:r>
            <a:r>
              <a:rPr kumimoji="0" lang="en-US" sz="800" b="0" i="0" u="none" strike="noStrike" kern="1200" cap="none" spc="0" normalizeH="0" baseline="0" noProof="0" dirty="0" err="1">
                <a:ln>
                  <a:noFill/>
                </a:ln>
                <a:solidFill>
                  <a:prstClr val="black">
                    <a:lumMod val="50000"/>
                    <a:lumOff val="50000"/>
                  </a:prstClr>
                </a:solidFill>
                <a:effectLst/>
                <a:uLnTx/>
                <a:uFillTx/>
                <a:latin typeface="Montserrat" panose="00000500000000000000" pitchFamily="50" charset="0"/>
                <a:ea typeface="+mn-ea"/>
                <a:cs typeface="+mn-cs"/>
              </a:rPr>
              <a:t>hendrerit</a:t>
            </a:r>
            <a:r>
              <a:rPr kumimoji="0" lang="en-US" sz="800" b="0" i="0" u="none" strike="noStrike" kern="1200" cap="none" spc="0" normalizeH="0" baseline="0" noProof="0" dirty="0">
                <a:ln>
                  <a:noFill/>
                </a:ln>
                <a:solidFill>
                  <a:prstClr val="black">
                    <a:lumMod val="50000"/>
                    <a:lumOff val="50000"/>
                  </a:prstClr>
                </a:solidFill>
                <a:effectLst/>
                <a:uLnTx/>
                <a:uFillTx/>
                <a:latin typeface="Montserrat" panose="00000500000000000000" pitchFamily="50" charset="0"/>
                <a:ea typeface="+mn-ea"/>
                <a:cs typeface="+mn-cs"/>
              </a:rPr>
              <a:t> </a:t>
            </a:r>
            <a:r>
              <a:rPr kumimoji="0" lang="en-US" sz="800" b="0" i="0" u="none" strike="noStrike" kern="1200" cap="none" spc="0" normalizeH="0" baseline="0" noProof="0" dirty="0" err="1">
                <a:ln>
                  <a:noFill/>
                </a:ln>
                <a:solidFill>
                  <a:prstClr val="black">
                    <a:lumMod val="50000"/>
                    <a:lumOff val="50000"/>
                  </a:prstClr>
                </a:solidFill>
                <a:effectLst/>
                <a:uLnTx/>
                <a:uFillTx/>
                <a:latin typeface="Montserrat" panose="00000500000000000000" pitchFamily="50" charset="0"/>
                <a:ea typeface="+mn-ea"/>
                <a:cs typeface="+mn-cs"/>
              </a:rPr>
              <a:t>ornare</a:t>
            </a:r>
            <a:r>
              <a:rPr kumimoji="0" lang="en-US" sz="800" b="0" i="0" u="none" strike="noStrike" kern="1200" cap="none" spc="0" normalizeH="0" baseline="0" noProof="0" dirty="0">
                <a:ln>
                  <a:noFill/>
                </a:ln>
                <a:solidFill>
                  <a:prstClr val="black">
                    <a:lumMod val="50000"/>
                    <a:lumOff val="50000"/>
                  </a:prstClr>
                </a:solidFill>
                <a:effectLst/>
                <a:uLnTx/>
                <a:uFillTx/>
                <a:latin typeface="Montserrat" panose="00000500000000000000" pitchFamily="50" charset="0"/>
                <a:ea typeface="+mn-ea"/>
                <a:cs typeface="+mn-cs"/>
              </a:rPr>
              <a:t>. </a:t>
            </a:r>
            <a:endParaRPr kumimoji="0" lang="en-US" sz="800" b="0" i="0" u="none" strike="noStrike" kern="1200" cap="none" spc="0" normalizeH="0" baseline="0" noProof="0" dirty="0">
              <a:ln>
                <a:noFill/>
              </a:ln>
              <a:solidFill>
                <a:prstClr val="black">
                  <a:lumMod val="50000"/>
                  <a:lumOff val="50000"/>
                </a:prstClr>
              </a:solidFill>
              <a:effectLst/>
              <a:uLnTx/>
              <a:uFillTx/>
              <a:latin typeface="Montserrat Medium" panose="00000600000000000000" pitchFamily="50" charset="0"/>
              <a:ea typeface="+mn-ea"/>
              <a:cs typeface="+mn-cs"/>
            </a:endParaRPr>
          </a:p>
        </p:txBody>
      </p:sp>
      <p:sp>
        <p:nvSpPr>
          <p:cNvPr id="46" name="TextBox 34">
            <a:extLst>
              <a:ext uri="{FF2B5EF4-FFF2-40B4-BE49-F238E27FC236}">
                <a16:creationId xmlns:a16="http://schemas.microsoft.com/office/drawing/2014/main" id="{4C471B8C-6D54-40C0-92C6-D4D858D9902D}"/>
              </a:ext>
            </a:extLst>
          </p:cNvPr>
          <p:cNvSpPr txBox="1"/>
          <p:nvPr/>
        </p:nvSpPr>
        <p:spPr>
          <a:xfrm>
            <a:off x="1741326" y="2155015"/>
            <a:ext cx="1816582" cy="367986"/>
          </a:xfrm>
          <a:prstGeom prst="rect">
            <a:avLst/>
          </a:prstGeom>
          <a:noFill/>
        </p:spPr>
        <p:txBody>
          <a:bodyPr wrap="square" rtlCol="0">
            <a:spAutoFit/>
          </a:bodyPr>
          <a:lstStyle/>
          <a:p>
            <a:pPr marL="0" marR="0" lvl="0" indent="0" algn="r" defTabSz="914400" rtl="0" eaLnBrk="1" fontAlgn="auto" latinLnBrk="0" hangingPunct="1">
              <a:lnSpc>
                <a:spcPts val="24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lumMod val="75000"/>
                    <a:lumOff val="25000"/>
                  </a:prstClr>
                </a:solidFill>
                <a:effectLst/>
                <a:uLnTx/>
                <a:uFillTx/>
                <a:latin typeface="HarmonyOS Sans SC Black"/>
                <a:ea typeface="+mj-ea"/>
                <a:cs typeface="+mn-cs"/>
              </a:rPr>
              <a:t>MEMBERSHIPS</a:t>
            </a:r>
          </a:p>
        </p:txBody>
      </p:sp>
      <p:sp>
        <p:nvSpPr>
          <p:cNvPr id="47" name="TextBox 35">
            <a:extLst>
              <a:ext uri="{FF2B5EF4-FFF2-40B4-BE49-F238E27FC236}">
                <a16:creationId xmlns:a16="http://schemas.microsoft.com/office/drawing/2014/main" id="{5BF3148A-C1D9-437A-ABE9-4CC5C6F80E71}"/>
              </a:ext>
            </a:extLst>
          </p:cNvPr>
          <p:cNvSpPr txBox="1"/>
          <p:nvPr/>
        </p:nvSpPr>
        <p:spPr>
          <a:xfrm>
            <a:off x="830929" y="2511116"/>
            <a:ext cx="2726979" cy="786497"/>
          </a:xfrm>
          <a:prstGeom prst="rect">
            <a:avLst/>
          </a:prstGeom>
          <a:noFill/>
        </p:spPr>
        <p:txBody>
          <a:bodyPr wrap="square" rtlCol="0">
            <a:spAutoFit/>
          </a:bodyPr>
          <a:lstStyle/>
          <a:p>
            <a:pPr marL="0" marR="0" lvl="0" indent="0" algn="r" defTabSz="914400" rtl="0" eaLnBrk="1" fontAlgn="auto" latinLnBrk="0" hangingPunct="1">
              <a:lnSpc>
                <a:spcPts val="19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lumMod val="50000"/>
                    <a:lumOff val="50000"/>
                  </a:prstClr>
                </a:solidFill>
                <a:effectLst/>
                <a:uLnTx/>
                <a:uFillTx/>
                <a:latin typeface="Montserrat" panose="00000500000000000000" pitchFamily="50" charset="0"/>
                <a:ea typeface="+mn-ea"/>
                <a:cs typeface="+mn-cs"/>
              </a:rPr>
              <a:t>Lorem ipsum dolor sit </a:t>
            </a:r>
            <a:r>
              <a:rPr kumimoji="0" lang="en-US" sz="800" b="0" i="0" u="none" strike="noStrike" kern="1200" cap="none" spc="0" normalizeH="0" baseline="0" noProof="0" dirty="0" err="1">
                <a:ln>
                  <a:noFill/>
                </a:ln>
                <a:solidFill>
                  <a:prstClr val="black">
                    <a:lumMod val="50000"/>
                    <a:lumOff val="50000"/>
                  </a:prstClr>
                </a:solidFill>
                <a:effectLst/>
                <a:uLnTx/>
                <a:uFillTx/>
                <a:latin typeface="Montserrat" panose="00000500000000000000" pitchFamily="50" charset="0"/>
                <a:ea typeface="+mn-ea"/>
                <a:cs typeface="+mn-cs"/>
              </a:rPr>
              <a:t>amet</a:t>
            </a:r>
            <a:r>
              <a:rPr kumimoji="0" lang="en-US" sz="800" b="0" i="0" u="none" strike="noStrike" kern="1200" cap="none" spc="0" normalizeH="0" baseline="0" noProof="0" dirty="0">
                <a:ln>
                  <a:noFill/>
                </a:ln>
                <a:solidFill>
                  <a:prstClr val="black">
                    <a:lumMod val="50000"/>
                    <a:lumOff val="50000"/>
                  </a:prstClr>
                </a:solidFill>
                <a:effectLst/>
                <a:uLnTx/>
                <a:uFillTx/>
                <a:latin typeface="Montserrat" panose="00000500000000000000" pitchFamily="50" charset="0"/>
                <a:ea typeface="+mn-ea"/>
                <a:cs typeface="+mn-cs"/>
              </a:rPr>
              <a:t>, </a:t>
            </a:r>
            <a:r>
              <a:rPr kumimoji="0" lang="en-US" sz="800" b="0" i="0" u="none" strike="noStrike" kern="1200" cap="none" spc="0" normalizeH="0" baseline="0" noProof="0" dirty="0" err="1">
                <a:ln>
                  <a:noFill/>
                </a:ln>
                <a:solidFill>
                  <a:prstClr val="black">
                    <a:lumMod val="50000"/>
                    <a:lumOff val="50000"/>
                  </a:prstClr>
                </a:solidFill>
                <a:effectLst/>
                <a:uLnTx/>
                <a:uFillTx/>
                <a:latin typeface="Montserrat" panose="00000500000000000000" pitchFamily="50" charset="0"/>
                <a:ea typeface="+mn-ea"/>
                <a:cs typeface="+mn-cs"/>
              </a:rPr>
              <a:t>consectetur</a:t>
            </a:r>
            <a:r>
              <a:rPr kumimoji="0" lang="en-US" sz="800" b="0" i="0" u="none" strike="noStrike" kern="1200" cap="none" spc="0" normalizeH="0" baseline="0" noProof="0" dirty="0">
                <a:ln>
                  <a:noFill/>
                </a:ln>
                <a:solidFill>
                  <a:prstClr val="black">
                    <a:lumMod val="50000"/>
                    <a:lumOff val="50000"/>
                  </a:prstClr>
                </a:solidFill>
                <a:effectLst/>
                <a:uLnTx/>
                <a:uFillTx/>
                <a:latin typeface="Montserrat" panose="00000500000000000000" pitchFamily="50" charset="0"/>
                <a:ea typeface="+mn-ea"/>
                <a:cs typeface="+mn-cs"/>
              </a:rPr>
              <a:t> </a:t>
            </a:r>
            <a:r>
              <a:rPr kumimoji="0" lang="en-US" sz="800" b="0" i="0" u="none" strike="noStrike" kern="1200" cap="none" spc="0" normalizeH="0" baseline="0" noProof="0" dirty="0" err="1">
                <a:ln>
                  <a:noFill/>
                </a:ln>
                <a:solidFill>
                  <a:prstClr val="black">
                    <a:lumMod val="50000"/>
                    <a:lumOff val="50000"/>
                  </a:prstClr>
                </a:solidFill>
                <a:effectLst/>
                <a:uLnTx/>
                <a:uFillTx/>
                <a:latin typeface="Montserrat" panose="00000500000000000000" pitchFamily="50" charset="0"/>
                <a:ea typeface="+mn-ea"/>
                <a:cs typeface="+mn-cs"/>
              </a:rPr>
              <a:t>adipiscing</a:t>
            </a:r>
            <a:r>
              <a:rPr kumimoji="0" lang="en-US" sz="800" b="0" i="0" u="none" strike="noStrike" kern="1200" cap="none" spc="0" normalizeH="0" baseline="0" noProof="0" dirty="0">
                <a:ln>
                  <a:noFill/>
                </a:ln>
                <a:solidFill>
                  <a:prstClr val="black">
                    <a:lumMod val="50000"/>
                    <a:lumOff val="50000"/>
                  </a:prstClr>
                </a:solidFill>
                <a:effectLst/>
                <a:uLnTx/>
                <a:uFillTx/>
                <a:latin typeface="Montserrat" panose="00000500000000000000" pitchFamily="50" charset="0"/>
                <a:ea typeface="+mn-ea"/>
                <a:cs typeface="+mn-cs"/>
              </a:rPr>
              <a:t> </a:t>
            </a:r>
            <a:r>
              <a:rPr kumimoji="0" lang="en-US" sz="800" b="0" i="0" u="none" strike="noStrike" kern="1200" cap="none" spc="0" normalizeH="0" baseline="0" noProof="0" dirty="0" err="1">
                <a:ln>
                  <a:noFill/>
                </a:ln>
                <a:solidFill>
                  <a:prstClr val="black">
                    <a:lumMod val="50000"/>
                    <a:lumOff val="50000"/>
                  </a:prstClr>
                </a:solidFill>
                <a:effectLst/>
                <a:uLnTx/>
                <a:uFillTx/>
                <a:latin typeface="Montserrat" panose="00000500000000000000" pitchFamily="50" charset="0"/>
                <a:ea typeface="+mn-ea"/>
                <a:cs typeface="+mn-cs"/>
              </a:rPr>
              <a:t>elit</a:t>
            </a:r>
            <a:r>
              <a:rPr kumimoji="0" lang="en-US" sz="800" b="0" i="0" u="none" strike="noStrike" kern="1200" cap="none" spc="0" normalizeH="0" baseline="0" noProof="0" dirty="0">
                <a:ln>
                  <a:noFill/>
                </a:ln>
                <a:solidFill>
                  <a:prstClr val="black">
                    <a:lumMod val="50000"/>
                    <a:lumOff val="50000"/>
                  </a:prstClr>
                </a:solidFill>
                <a:effectLst/>
                <a:uLnTx/>
                <a:uFillTx/>
                <a:latin typeface="Montserrat" panose="00000500000000000000" pitchFamily="50" charset="0"/>
                <a:ea typeface="+mn-ea"/>
                <a:cs typeface="+mn-cs"/>
              </a:rPr>
              <a:t>. </a:t>
            </a:r>
            <a:r>
              <a:rPr kumimoji="0" lang="en-US" sz="800" b="0" i="0" u="none" strike="noStrike" kern="1200" cap="none" spc="0" normalizeH="0" baseline="0" noProof="0" dirty="0" err="1">
                <a:ln>
                  <a:noFill/>
                </a:ln>
                <a:solidFill>
                  <a:prstClr val="black">
                    <a:lumMod val="50000"/>
                    <a:lumOff val="50000"/>
                  </a:prstClr>
                </a:solidFill>
                <a:effectLst/>
                <a:uLnTx/>
                <a:uFillTx/>
                <a:latin typeface="Montserrat" panose="00000500000000000000" pitchFamily="50" charset="0"/>
                <a:ea typeface="+mn-ea"/>
                <a:cs typeface="+mn-cs"/>
              </a:rPr>
              <a:t>Etiam</a:t>
            </a:r>
            <a:r>
              <a:rPr kumimoji="0" lang="en-US" sz="800" b="0" i="0" u="none" strike="noStrike" kern="1200" cap="none" spc="0" normalizeH="0" baseline="0" noProof="0" dirty="0">
                <a:ln>
                  <a:noFill/>
                </a:ln>
                <a:solidFill>
                  <a:prstClr val="black">
                    <a:lumMod val="50000"/>
                    <a:lumOff val="50000"/>
                  </a:prstClr>
                </a:solidFill>
                <a:effectLst/>
                <a:uLnTx/>
                <a:uFillTx/>
                <a:latin typeface="Montserrat" panose="00000500000000000000" pitchFamily="50" charset="0"/>
                <a:ea typeface="+mn-ea"/>
                <a:cs typeface="+mn-cs"/>
              </a:rPr>
              <a:t> </a:t>
            </a:r>
            <a:r>
              <a:rPr kumimoji="0" lang="en-US" sz="800" b="0" i="0" u="none" strike="noStrike" kern="1200" cap="none" spc="0" normalizeH="0" baseline="0" noProof="0" dirty="0" err="1">
                <a:ln>
                  <a:noFill/>
                </a:ln>
                <a:solidFill>
                  <a:prstClr val="black">
                    <a:lumMod val="50000"/>
                    <a:lumOff val="50000"/>
                  </a:prstClr>
                </a:solidFill>
                <a:effectLst/>
                <a:uLnTx/>
                <a:uFillTx/>
                <a:latin typeface="Montserrat" panose="00000500000000000000" pitchFamily="50" charset="0"/>
                <a:ea typeface="+mn-ea"/>
                <a:cs typeface="+mn-cs"/>
              </a:rPr>
              <a:t>eget</a:t>
            </a:r>
            <a:r>
              <a:rPr kumimoji="0" lang="en-US" sz="800" b="0" i="0" u="none" strike="noStrike" kern="1200" cap="none" spc="0" normalizeH="0" baseline="0" noProof="0" dirty="0">
                <a:ln>
                  <a:noFill/>
                </a:ln>
                <a:solidFill>
                  <a:prstClr val="black">
                    <a:lumMod val="50000"/>
                    <a:lumOff val="50000"/>
                  </a:prstClr>
                </a:solidFill>
                <a:effectLst/>
                <a:uLnTx/>
                <a:uFillTx/>
                <a:latin typeface="Montserrat" panose="00000500000000000000" pitchFamily="50" charset="0"/>
                <a:ea typeface="+mn-ea"/>
                <a:cs typeface="+mn-cs"/>
              </a:rPr>
              <a:t> </a:t>
            </a:r>
            <a:r>
              <a:rPr kumimoji="0" lang="en-US" sz="800" b="0" i="0" u="none" strike="noStrike" kern="1200" cap="none" spc="0" normalizeH="0" baseline="0" noProof="0" dirty="0" err="1">
                <a:ln>
                  <a:noFill/>
                </a:ln>
                <a:solidFill>
                  <a:prstClr val="black">
                    <a:lumMod val="50000"/>
                    <a:lumOff val="50000"/>
                  </a:prstClr>
                </a:solidFill>
                <a:effectLst/>
                <a:uLnTx/>
                <a:uFillTx/>
                <a:latin typeface="Montserrat" panose="00000500000000000000" pitchFamily="50" charset="0"/>
                <a:ea typeface="+mn-ea"/>
                <a:cs typeface="+mn-cs"/>
              </a:rPr>
              <a:t>quam</a:t>
            </a:r>
            <a:r>
              <a:rPr kumimoji="0" lang="en-US" sz="800" b="0" i="0" u="none" strike="noStrike" kern="1200" cap="none" spc="0" normalizeH="0" baseline="0" noProof="0" dirty="0">
                <a:ln>
                  <a:noFill/>
                </a:ln>
                <a:solidFill>
                  <a:prstClr val="black">
                    <a:lumMod val="50000"/>
                    <a:lumOff val="50000"/>
                  </a:prstClr>
                </a:solidFill>
                <a:effectLst/>
                <a:uLnTx/>
                <a:uFillTx/>
                <a:latin typeface="Montserrat" panose="00000500000000000000" pitchFamily="50" charset="0"/>
                <a:ea typeface="+mn-ea"/>
                <a:cs typeface="+mn-cs"/>
              </a:rPr>
              <a:t> </a:t>
            </a:r>
            <a:r>
              <a:rPr kumimoji="0" lang="en-US" sz="800" b="0" i="0" u="none" strike="noStrike" kern="1200" cap="none" spc="0" normalizeH="0" baseline="0" noProof="0" dirty="0" err="1">
                <a:ln>
                  <a:noFill/>
                </a:ln>
                <a:solidFill>
                  <a:prstClr val="black">
                    <a:lumMod val="50000"/>
                    <a:lumOff val="50000"/>
                  </a:prstClr>
                </a:solidFill>
                <a:effectLst/>
                <a:uLnTx/>
                <a:uFillTx/>
                <a:latin typeface="Montserrat" panose="00000500000000000000" pitchFamily="50" charset="0"/>
                <a:ea typeface="+mn-ea"/>
                <a:cs typeface="+mn-cs"/>
              </a:rPr>
              <a:t>lacus</a:t>
            </a:r>
            <a:r>
              <a:rPr kumimoji="0" lang="en-US" sz="800" b="0" i="0" u="none" strike="noStrike" kern="1200" cap="none" spc="0" normalizeH="0" baseline="0" noProof="0" dirty="0">
                <a:ln>
                  <a:noFill/>
                </a:ln>
                <a:solidFill>
                  <a:prstClr val="black">
                    <a:lumMod val="50000"/>
                    <a:lumOff val="50000"/>
                  </a:prstClr>
                </a:solidFill>
                <a:effectLst/>
                <a:uLnTx/>
                <a:uFillTx/>
                <a:latin typeface="Montserrat" panose="00000500000000000000" pitchFamily="50" charset="0"/>
                <a:ea typeface="+mn-ea"/>
                <a:cs typeface="+mn-cs"/>
              </a:rPr>
              <a:t>. </a:t>
            </a:r>
            <a:r>
              <a:rPr kumimoji="0" lang="en-US" sz="800" b="0" i="0" u="none" strike="noStrike" kern="1200" cap="none" spc="0" normalizeH="0" baseline="0" noProof="0" dirty="0" err="1">
                <a:ln>
                  <a:noFill/>
                </a:ln>
                <a:solidFill>
                  <a:prstClr val="black">
                    <a:lumMod val="50000"/>
                    <a:lumOff val="50000"/>
                  </a:prstClr>
                </a:solidFill>
                <a:effectLst/>
                <a:uLnTx/>
                <a:uFillTx/>
                <a:latin typeface="Montserrat" panose="00000500000000000000" pitchFamily="50" charset="0"/>
                <a:ea typeface="+mn-ea"/>
                <a:cs typeface="+mn-cs"/>
              </a:rPr>
              <a:t>Vivamus</a:t>
            </a:r>
            <a:r>
              <a:rPr kumimoji="0" lang="en-US" sz="800" b="0" i="0" u="none" strike="noStrike" kern="1200" cap="none" spc="0" normalizeH="0" baseline="0" noProof="0" dirty="0">
                <a:ln>
                  <a:noFill/>
                </a:ln>
                <a:solidFill>
                  <a:prstClr val="black">
                    <a:lumMod val="50000"/>
                    <a:lumOff val="50000"/>
                  </a:prstClr>
                </a:solidFill>
                <a:effectLst/>
                <a:uLnTx/>
                <a:uFillTx/>
                <a:latin typeface="Montserrat" panose="00000500000000000000" pitchFamily="50" charset="0"/>
                <a:ea typeface="+mn-ea"/>
                <a:cs typeface="+mn-cs"/>
              </a:rPr>
              <a:t> </a:t>
            </a:r>
            <a:r>
              <a:rPr kumimoji="0" lang="en-US" sz="800" b="0" i="0" u="none" strike="noStrike" kern="1200" cap="none" spc="0" normalizeH="0" baseline="0" noProof="0" dirty="0" err="1">
                <a:ln>
                  <a:noFill/>
                </a:ln>
                <a:solidFill>
                  <a:prstClr val="black">
                    <a:lumMod val="50000"/>
                    <a:lumOff val="50000"/>
                  </a:prstClr>
                </a:solidFill>
                <a:effectLst/>
                <a:uLnTx/>
                <a:uFillTx/>
                <a:latin typeface="Montserrat" panose="00000500000000000000" pitchFamily="50" charset="0"/>
                <a:ea typeface="+mn-ea"/>
                <a:cs typeface="+mn-cs"/>
              </a:rPr>
              <a:t>laoreet</a:t>
            </a:r>
            <a:r>
              <a:rPr kumimoji="0" lang="en-US" sz="800" b="0" i="0" u="none" strike="noStrike" kern="1200" cap="none" spc="0" normalizeH="0" baseline="0" noProof="0" dirty="0">
                <a:ln>
                  <a:noFill/>
                </a:ln>
                <a:solidFill>
                  <a:prstClr val="black">
                    <a:lumMod val="50000"/>
                    <a:lumOff val="50000"/>
                  </a:prstClr>
                </a:solidFill>
                <a:effectLst/>
                <a:uLnTx/>
                <a:uFillTx/>
                <a:latin typeface="Montserrat" panose="00000500000000000000" pitchFamily="50" charset="0"/>
                <a:ea typeface="+mn-ea"/>
                <a:cs typeface="+mn-cs"/>
              </a:rPr>
              <a:t> tempus </a:t>
            </a:r>
            <a:r>
              <a:rPr kumimoji="0" lang="en-US" sz="800" b="0" i="0" u="none" strike="noStrike" kern="1200" cap="none" spc="0" normalizeH="0" baseline="0" noProof="0" dirty="0" err="1">
                <a:ln>
                  <a:noFill/>
                </a:ln>
                <a:solidFill>
                  <a:prstClr val="black">
                    <a:lumMod val="50000"/>
                    <a:lumOff val="50000"/>
                  </a:prstClr>
                </a:solidFill>
                <a:effectLst/>
                <a:uLnTx/>
                <a:uFillTx/>
                <a:latin typeface="Montserrat" panose="00000500000000000000" pitchFamily="50" charset="0"/>
                <a:ea typeface="+mn-ea"/>
                <a:cs typeface="+mn-cs"/>
              </a:rPr>
              <a:t>lacus</a:t>
            </a:r>
            <a:r>
              <a:rPr kumimoji="0" lang="en-US" sz="800" b="0" i="0" u="none" strike="noStrike" kern="1200" cap="none" spc="0" normalizeH="0" baseline="0" noProof="0" dirty="0">
                <a:ln>
                  <a:noFill/>
                </a:ln>
                <a:solidFill>
                  <a:prstClr val="black">
                    <a:lumMod val="50000"/>
                    <a:lumOff val="50000"/>
                  </a:prstClr>
                </a:solidFill>
                <a:effectLst/>
                <a:uLnTx/>
                <a:uFillTx/>
                <a:latin typeface="Montserrat" panose="00000500000000000000" pitchFamily="50" charset="0"/>
                <a:ea typeface="+mn-ea"/>
                <a:cs typeface="+mn-cs"/>
              </a:rPr>
              <a:t>, </a:t>
            </a:r>
          </a:p>
        </p:txBody>
      </p:sp>
      <p:sp>
        <p:nvSpPr>
          <p:cNvPr id="48" name="TextBox 44">
            <a:extLst>
              <a:ext uri="{FF2B5EF4-FFF2-40B4-BE49-F238E27FC236}">
                <a16:creationId xmlns:a16="http://schemas.microsoft.com/office/drawing/2014/main" id="{7100780A-8A21-4299-BE9F-1441059578CC}"/>
              </a:ext>
            </a:extLst>
          </p:cNvPr>
          <p:cNvSpPr txBox="1"/>
          <p:nvPr/>
        </p:nvSpPr>
        <p:spPr>
          <a:xfrm>
            <a:off x="8627593" y="3892603"/>
            <a:ext cx="1816582" cy="367986"/>
          </a:xfrm>
          <a:prstGeom prst="rect">
            <a:avLst/>
          </a:prstGeom>
          <a:noFill/>
        </p:spPr>
        <p:txBody>
          <a:bodyPr wrap="square" rtlCol="0">
            <a:spAutoFit/>
          </a:bodyPr>
          <a:lstStyle/>
          <a:p>
            <a:pPr marL="0" marR="0" lvl="0" indent="0" algn="l" defTabSz="914400" rtl="0" eaLnBrk="1" fontAlgn="auto" latinLnBrk="0" hangingPunct="1">
              <a:lnSpc>
                <a:spcPts val="24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lumMod val="75000"/>
                    <a:lumOff val="25000"/>
                  </a:prstClr>
                </a:solidFill>
                <a:effectLst/>
                <a:uLnTx/>
                <a:uFillTx/>
                <a:latin typeface="HarmonyOS Sans SC Black"/>
                <a:ea typeface="+mj-ea"/>
                <a:cs typeface="+mn-cs"/>
              </a:rPr>
              <a:t>PARTNERSHIPS</a:t>
            </a:r>
          </a:p>
        </p:txBody>
      </p:sp>
      <p:sp>
        <p:nvSpPr>
          <p:cNvPr id="49" name="TextBox 45">
            <a:extLst>
              <a:ext uri="{FF2B5EF4-FFF2-40B4-BE49-F238E27FC236}">
                <a16:creationId xmlns:a16="http://schemas.microsoft.com/office/drawing/2014/main" id="{AD9B5068-E100-4856-BD77-0F4F8CB34CA1}"/>
              </a:ext>
            </a:extLst>
          </p:cNvPr>
          <p:cNvSpPr txBox="1"/>
          <p:nvPr/>
        </p:nvSpPr>
        <p:spPr>
          <a:xfrm>
            <a:off x="8627593" y="4248704"/>
            <a:ext cx="2726979" cy="786497"/>
          </a:xfrm>
          <a:prstGeom prst="rect">
            <a:avLst/>
          </a:prstGeom>
          <a:noFill/>
        </p:spPr>
        <p:txBody>
          <a:bodyPr wrap="square" rtlCol="0">
            <a:spAutoFit/>
          </a:bodyPr>
          <a:lstStyle/>
          <a:p>
            <a:pPr marL="0" marR="0" lvl="0" indent="0" algn="l" defTabSz="914400" rtl="0" eaLnBrk="1" fontAlgn="auto" latinLnBrk="0" hangingPunct="1">
              <a:lnSpc>
                <a:spcPts val="19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lumMod val="50000"/>
                    <a:lumOff val="50000"/>
                  </a:prstClr>
                </a:solidFill>
                <a:effectLst/>
                <a:uLnTx/>
                <a:uFillTx/>
                <a:latin typeface="Montserrat" panose="00000500000000000000" pitchFamily="50" charset="0"/>
                <a:ea typeface="+mn-ea"/>
                <a:cs typeface="+mn-cs"/>
              </a:rPr>
              <a:t>in </a:t>
            </a:r>
            <a:r>
              <a:rPr kumimoji="0" lang="en-US" sz="800" b="0" i="0" u="none" strike="noStrike" kern="1200" cap="none" spc="0" normalizeH="0" baseline="0" noProof="0" dirty="0" err="1">
                <a:ln>
                  <a:noFill/>
                </a:ln>
                <a:solidFill>
                  <a:prstClr val="black">
                    <a:lumMod val="50000"/>
                    <a:lumOff val="50000"/>
                  </a:prstClr>
                </a:solidFill>
                <a:effectLst/>
                <a:uLnTx/>
                <a:uFillTx/>
                <a:latin typeface="Montserrat" panose="00000500000000000000" pitchFamily="50" charset="0"/>
                <a:ea typeface="+mn-ea"/>
                <a:cs typeface="+mn-cs"/>
              </a:rPr>
              <a:t>ultricies</a:t>
            </a:r>
            <a:r>
              <a:rPr kumimoji="0" lang="en-US" sz="800" b="0" i="0" u="none" strike="noStrike" kern="1200" cap="none" spc="0" normalizeH="0" baseline="0" noProof="0" dirty="0">
                <a:ln>
                  <a:noFill/>
                </a:ln>
                <a:solidFill>
                  <a:prstClr val="black">
                    <a:lumMod val="50000"/>
                    <a:lumOff val="50000"/>
                  </a:prstClr>
                </a:solidFill>
                <a:effectLst/>
                <a:uLnTx/>
                <a:uFillTx/>
                <a:latin typeface="Montserrat" panose="00000500000000000000" pitchFamily="50" charset="0"/>
                <a:ea typeface="+mn-ea"/>
                <a:cs typeface="+mn-cs"/>
              </a:rPr>
              <a:t> dui </a:t>
            </a:r>
            <a:r>
              <a:rPr kumimoji="0" lang="en-US" sz="800" b="0" i="0" u="none" strike="noStrike" kern="1200" cap="none" spc="0" normalizeH="0" baseline="0" noProof="0" dirty="0" err="1">
                <a:ln>
                  <a:noFill/>
                </a:ln>
                <a:solidFill>
                  <a:prstClr val="black">
                    <a:lumMod val="50000"/>
                    <a:lumOff val="50000"/>
                  </a:prstClr>
                </a:solidFill>
                <a:effectLst/>
                <a:uLnTx/>
                <a:uFillTx/>
                <a:latin typeface="Montserrat" panose="00000500000000000000" pitchFamily="50" charset="0"/>
                <a:ea typeface="+mn-ea"/>
                <a:cs typeface="+mn-cs"/>
              </a:rPr>
              <a:t>vehicula</a:t>
            </a:r>
            <a:r>
              <a:rPr kumimoji="0" lang="en-US" sz="800" b="0" i="0" u="none" strike="noStrike" kern="1200" cap="none" spc="0" normalizeH="0" baseline="0" noProof="0" dirty="0">
                <a:ln>
                  <a:noFill/>
                </a:ln>
                <a:solidFill>
                  <a:prstClr val="black">
                    <a:lumMod val="50000"/>
                    <a:lumOff val="50000"/>
                  </a:prstClr>
                </a:solidFill>
                <a:effectLst/>
                <a:uLnTx/>
                <a:uFillTx/>
                <a:latin typeface="Montserrat" panose="00000500000000000000" pitchFamily="50" charset="0"/>
                <a:ea typeface="+mn-ea"/>
                <a:cs typeface="+mn-cs"/>
              </a:rPr>
              <a:t> in. </a:t>
            </a:r>
            <a:r>
              <a:rPr kumimoji="0" lang="en-US" sz="800" b="0" i="0" u="none" strike="noStrike" kern="1200" cap="none" spc="0" normalizeH="0" baseline="0" noProof="0" dirty="0" err="1">
                <a:ln>
                  <a:noFill/>
                </a:ln>
                <a:solidFill>
                  <a:prstClr val="black">
                    <a:lumMod val="50000"/>
                    <a:lumOff val="50000"/>
                  </a:prstClr>
                </a:solidFill>
                <a:effectLst/>
                <a:uLnTx/>
                <a:uFillTx/>
                <a:latin typeface="Montserrat" panose="00000500000000000000" pitchFamily="50" charset="0"/>
                <a:ea typeface="+mn-ea"/>
                <a:cs typeface="+mn-cs"/>
              </a:rPr>
              <a:t>Donec</a:t>
            </a:r>
            <a:r>
              <a:rPr kumimoji="0" lang="en-US" sz="800" b="0" i="0" u="none" strike="noStrike" kern="1200" cap="none" spc="0" normalizeH="0" baseline="0" noProof="0" dirty="0">
                <a:ln>
                  <a:noFill/>
                </a:ln>
                <a:solidFill>
                  <a:prstClr val="black">
                    <a:lumMod val="50000"/>
                    <a:lumOff val="50000"/>
                  </a:prstClr>
                </a:solidFill>
                <a:effectLst/>
                <a:uLnTx/>
                <a:uFillTx/>
                <a:latin typeface="Montserrat" panose="00000500000000000000" pitchFamily="50" charset="0"/>
                <a:ea typeface="+mn-ea"/>
                <a:cs typeface="+mn-cs"/>
              </a:rPr>
              <a:t> </a:t>
            </a:r>
            <a:r>
              <a:rPr kumimoji="0" lang="en-US" sz="800" b="0" i="0" u="none" strike="noStrike" kern="1200" cap="none" spc="0" normalizeH="0" baseline="0" noProof="0" dirty="0" err="1">
                <a:ln>
                  <a:noFill/>
                </a:ln>
                <a:solidFill>
                  <a:prstClr val="black">
                    <a:lumMod val="50000"/>
                    <a:lumOff val="50000"/>
                  </a:prstClr>
                </a:solidFill>
                <a:effectLst/>
                <a:uLnTx/>
                <a:uFillTx/>
                <a:latin typeface="Montserrat" panose="00000500000000000000" pitchFamily="50" charset="0"/>
                <a:ea typeface="+mn-ea"/>
                <a:cs typeface="+mn-cs"/>
              </a:rPr>
              <a:t>auctor</a:t>
            </a:r>
            <a:r>
              <a:rPr kumimoji="0" lang="en-US" sz="800" b="0" i="0" u="none" strike="noStrike" kern="1200" cap="none" spc="0" normalizeH="0" baseline="0" noProof="0" dirty="0">
                <a:ln>
                  <a:noFill/>
                </a:ln>
                <a:solidFill>
                  <a:prstClr val="black">
                    <a:lumMod val="50000"/>
                    <a:lumOff val="50000"/>
                  </a:prstClr>
                </a:solidFill>
                <a:effectLst/>
                <a:uLnTx/>
                <a:uFillTx/>
                <a:latin typeface="Montserrat" panose="00000500000000000000" pitchFamily="50" charset="0"/>
                <a:ea typeface="+mn-ea"/>
                <a:cs typeface="+mn-cs"/>
              </a:rPr>
              <a:t> </a:t>
            </a:r>
            <a:r>
              <a:rPr kumimoji="0" lang="en-US" sz="800" b="0" i="0" u="none" strike="noStrike" kern="1200" cap="none" spc="0" normalizeH="0" baseline="0" noProof="0" dirty="0" err="1">
                <a:ln>
                  <a:noFill/>
                </a:ln>
                <a:solidFill>
                  <a:prstClr val="black">
                    <a:lumMod val="50000"/>
                    <a:lumOff val="50000"/>
                  </a:prstClr>
                </a:solidFill>
                <a:effectLst/>
                <a:uLnTx/>
                <a:uFillTx/>
                <a:latin typeface="Montserrat" panose="00000500000000000000" pitchFamily="50" charset="0"/>
                <a:ea typeface="+mn-ea"/>
                <a:cs typeface="+mn-cs"/>
              </a:rPr>
              <a:t>blandit</a:t>
            </a:r>
            <a:r>
              <a:rPr kumimoji="0" lang="en-US" sz="800" b="0" i="0" u="none" strike="noStrike" kern="1200" cap="none" spc="0" normalizeH="0" baseline="0" noProof="0" dirty="0">
                <a:ln>
                  <a:noFill/>
                </a:ln>
                <a:solidFill>
                  <a:prstClr val="black">
                    <a:lumMod val="50000"/>
                    <a:lumOff val="50000"/>
                  </a:prstClr>
                </a:solidFill>
                <a:effectLst/>
                <a:uLnTx/>
                <a:uFillTx/>
                <a:latin typeface="Montserrat" panose="00000500000000000000" pitchFamily="50" charset="0"/>
                <a:ea typeface="+mn-ea"/>
                <a:cs typeface="+mn-cs"/>
              </a:rPr>
              <a:t> </a:t>
            </a:r>
            <a:r>
              <a:rPr kumimoji="0" lang="en-US" sz="800" b="0" i="0" u="none" strike="noStrike" kern="1200" cap="none" spc="0" normalizeH="0" baseline="0" noProof="0" dirty="0" err="1">
                <a:ln>
                  <a:noFill/>
                </a:ln>
                <a:solidFill>
                  <a:prstClr val="black">
                    <a:lumMod val="50000"/>
                    <a:lumOff val="50000"/>
                  </a:prstClr>
                </a:solidFill>
                <a:effectLst/>
                <a:uLnTx/>
                <a:uFillTx/>
                <a:latin typeface="Montserrat" panose="00000500000000000000" pitchFamily="50" charset="0"/>
                <a:ea typeface="+mn-ea"/>
                <a:cs typeface="+mn-cs"/>
              </a:rPr>
              <a:t>leo</a:t>
            </a:r>
            <a:r>
              <a:rPr kumimoji="0" lang="en-US" sz="800" b="0" i="0" u="none" strike="noStrike" kern="1200" cap="none" spc="0" normalizeH="0" baseline="0" noProof="0" dirty="0">
                <a:ln>
                  <a:noFill/>
                </a:ln>
                <a:solidFill>
                  <a:prstClr val="black">
                    <a:lumMod val="50000"/>
                    <a:lumOff val="50000"/>
                  </a:prstClr>
                </a:solidFill>
                <a:effectLst/>
                <a:uLnTx/>
                <a:uFillTx/>
                <a:latin typeface="Montserrat" panose="00000500000000000000" pitchFamily="50" charset="0"/>
                <a:ea typeface="+mn-ea"/>
                <a:cs typeface="+mn-cs"/>
              </a:rPr>
              <a:t>, convallis </a:t>
            </a:r>
            <a:r>
              <a:rPr kumimoji="0" lang="en-US" sz="800" b="0" i="0" u="none" strike="noStrike" kern="1200" cap="none" spc="0" normalizeH="0" baseline="0" noProof="0" dirty="0" err="1">
                <a:ln>
                  <a:noFill/>
                </a:ln>
                <a:solidFill>
                  <a:prstClr val="black">
                    <a:lumMod val="50000"/>
                    <a:lumOff val="50000"/>
                  </a:prstClr>
                </a:solidFill>
                <a:effectLst/>
                <a:uLnTx/>
                <a:uFillTx/>
                <a:latin typeface="Montserrat" panose="00000500000000000000" pitchFamily="50" charset="0"/>
                <a:ea typeface="+mn-ea"/>
                <a:cs typeface="+mn-cs"/>
              </a:rPr>
              <a:t>mollis</a:t>
            </a:r>
            <a:r>
              <a:rPr kumimoji="0" lang="en-US" sz="800" b="0" i="0" u="none" strike="noStrike" kern="1200" cap="none" spc="0" normalizeH="0" baseline="0" noProof="0" dirty="0">
                <a:ln>
                  <a:noFill/>
                </a:ln>
                <a:solidFill>
                  <a:prstClr val="black">
                    <a:lumMod val="50000"/>
                    <a:lumOff val="50000"/>
                  </a:prstClr>
                </a:solidFill>
                <a:effectLst/>
                <a:uLnTx/>
                <a:uFillTx/>
                <a:latin typeface="Montserrat" panose="00000500000000000000" pitchFamily="50" charset="0"/>
                <a:ea typeface="+mn-ea"/>
                <a:cs typeface="+mn-cs"/>
              </a:rPr>
              <a:t> mi </a:t>
            </a:r>
            <a:r>
              <a:rPr kumimoji="0" lang="en-US" sz="800" b="0" i="0" u="none" strike="noStrike" kern="1200" cap="none" spc="0" normalizeH="0" baseline="0" noProof="0" dirty="0" err="1">
                <a:ln>
                  <a:noFill/>
                </a:ln>
                <a:solidFill>
                  <a:prstClr val="black">
                    <a:lumMod val="50000"/>
                    <a:lumOff val="50000"/>
                  </a:prstClr>
                </a:solidFill>
                <a:effectLst/>
                <a:uLnTx/>
                <a:uFillTx/>
                <a:latin typeface="Montserrat" panose="00000500000000000000" pitchFamily="50" charset="0"/>
                <a:ea typeface="+mn-ea"/>
                <a:cs typeface="+mn-cs"/>
              </a:rPr>
              <a:t>condimentum</a:t>
            </a:r>
            <a:r>
              <a:rPr kumimoji="0" lang="en-US" sz="800" b="0" i="0" u="none" strike="noStrike" kern="1200" cap="none" spc="0" normalizeH="0" baseline="0" noProof="0" dirty="0">
                <a:ln>
                  <a:noFill/>
                </a:ln>
                <a:solidFill>
                  <a:prstClr val="black">
                    <a:lumMod val="50000"/>
                    <a:lumOff val="50000"/>
                  </a:prstClr>
                </a:solidFill>
                <a:effectLst/>
                <a:uLnTx/>
                <a:uFillTx/>
                <a:latin typeface="Montserrat" panose="00000500000000000000" pitchFamily="50" charset="0"/>
                <a:ea typeface="+mn-ea"/>
                <a:cs typeface="+mn-cs"/>
              </a:rPr>
              <a:t> in. In dictum </a:t>
            </a:r>
            <a:r>
              <a:rPr kumimoji="0" lang="en-US" sz="800" b="0" i="0" u="none" strike="noStrike" kern="1200" cap="none" spc="0" normalizeH="0" baseline="0" noProof="0" dirty="0" err="1">
                <a:ln>
                  <a:noFill/>
                </a:ln>
                <a:solidFill>
                  <a:prstClr val="black">
                    <a:lumMod val="50000"/>
                    <a:lumOff val="50000"/>
                  </a:prstClr>
                </a:solidFill>
                <a:effectLst/>
                <a:uLnTx/>
                <a:uFillTx/>
                <a:latin typeface="Montserrat" panose="00000500000000000000" pitchFamily="50" charset="0"/>
                <a:ea typeface="+mn-ea"/>
                <a:cs typeface="+mn-cs"/>
              </a:rPr>
              <a:t>hendrerit</a:t>
            </a:r>
            <a:r>
              <a:rPr kumimoji="0" lang="en-US" sz="800" b="0" i="0" u="none" strike="noStrike" kern="1200" cap="none" spc="0" normalizeH="0" baseline="0" noProof="0" dirty="0">
                <a:ln>
                  <a:noFill/>
                </a:ln>
                <a:solidFill>
                  <a:prstClr val="black">
                    <a:lumMod val="50000"/>
                    <a:lumOff val="50000"/>
                  </a:prstClr>
                </a:solidFill>
                <a:effectLst/>
                <a:uLnTx/>
                <a:uFillTx/>
                <a:latin typeface="Montserrat" panose="00000500000000000000" pitchFamily="50" charset="0"/>
                <a:ea typeface="+mn-ea"/>
                <a:cs typeface="+mn-cs"/>
              </a:rPr>
              <a:t> </a:t>
            </a:r>
            <a:r>
              <a:rPr kumimoji="0" lang="en-US" sz="800" b="0" i="0" u="none" strike="noStrike" kern="1200" cap="none" spc="0" normalizeH="0" baseline="0" noProof="0" dirty="0" err="1">
                <a:ln>
                  <a:noFill/>
                </a:ln>
                <a:solidFill>
                  <a:prstClr val="black">
                    <a:lumMod val="50000"/>
                    <a:lumOff val="50000"/>
                  </a:prstClr>
                </a:solidFill>
                <a:effectLst/>
                <a:uLnTx/>
                <a:uFillTx/>
                <a:latin typeface="Montserrat" panose="00000500000000000000" pitchFamily="50" charset="0"/>
                <a:ea typeface="+mn-ea"/>
                <a:cs typeface="+mn-cs"/>
              </a:rPr>
              <a:t>ornare</a:t>
            </a:r>
            <a:r>
              <a:rPr kumimoji="0" lang="en-US" sz="800" b="0" i="0" u="none" strike="noStrike" kern="1200" cap="none" spc="0" normalizeH="0" baseline="0" noProof="0" dirty="0">
                <a:ln>
                  <a:noFill/>
                </a:ln>
                <a:solidFill>
                  <a:prstClr val="black">
                    <a:lumMod val="50000"/>
                    <a:lumOff val="50000"/>
                  </a:prstClr>
                </a:solidFill>
                <a:effectLst/>
                <a:uLnTx/>
                <a:uFillTx/>
                <a:latin typeface="Montserrat" panose="00000500000000000000" pitchFamily="50" charset="0"/>
                <a:ea typeface="+mn-ea"/>
                <a:cs typeface="+mn-cs"/>
              </a:rPr>
              <a:t>. </a:t>
            </a:r>
            <a:endParaRPr kumimoji="0" lang="en-US" sz="800" b="0" i="0" u="none" strike="noStrike" kern="1200" cap="none" spc="0" normalizeH="0" baseline="0" noProof="0" dirty="0">
              <a:ln>
                <a:noFill/>
              </a:ln>
              <a:solidFill>
                <a:prstClr val="black">
                  <a:lumMod val="50000"/>
                  <a:lumOff val="50000"/>
                </a:prstClr>
              </a:solidFill>
              <a:effectLst/>
              <a:uLnTx/>
              <a:uFillTx/>
              <a:latin typeface="Montserrat Medium" panose="00000600000000000000" pitchFamily="50" charset="0"/>
              <a:ea typeface="+mn-ea"/>
              <a:cs typeface="+mn-cs"/>
            </a:endParaRPr>
          </a:p>
        </p:txBody>
      </p:sp>
      <p:sp>
        <p:nvSpPr>
          <p:cNvPr id="50" name="TextBox 46">
            <a:extLst>
              <a:ext uri="{FF2B5EF4-FFF2-40B4-BE49-F238E27FC236}">
                <a16:creationId xmlns:a16="http://schemas.microsoft.com/office/drawing/2014/main" id="{C8090E2E-1DC2-43CE-AFA5-5AE94E93CD4D}"/>
              </a:ext>
            </a:extLst>
          </p:cNvPr>
          <p:cNvSpPr txBox="1"/>
          <p:nvPr/>
        </p:nvSpPr>
        <p:spPr>
          <a:xfrm>
            <a:off x="8627593" y="2155015"/>
            <a:ext cx="1816582" cy="367986"/>
          </a:xfrm>
          <a:prstGeom prst="rect">
            <a:avLst/>
          </a:prstGeom>
          <a:noFill/>
        </p:spPr>
        <p:txBody>
          <a:bodyPr wrap="square" rtlCol="0">
            <a:spAutoFit/>
          </a:bodyPr>
          <a:lstStyle/>
          <a:p>
            <a:pPr marL="0" marR="0" lvl="0" indent="0" algn="l" defTabSz="914400" rtl="0" eaLnBrk="1" fontAlgn="auto" latinLnBrk="0" hangingPunct="1">
              <a:lnSpc>
                <a:spcPts val="24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lumMod val="75000"/>
                    <a:lumOff val="25000"/>
                  </a:prstClr>
                </a:solidFill>
                <a:effectLst/>
                <a:uLnTx/>
                <a:uFillTx/>
                <a:latin typeface="HarmonyOS Sans SC Black"/>
                <a:ea typeface="+mj-ea"/>
                <a:cs typeface="+mn-cs"/>
              </a:rPr>
              <a:t>MEMBERSHIPS</a:t>
            </a:r>
          </a:p>
        </p:txBody>
      </p:sp>
      <p:sp>
        <p:nvSpPr>
          <p:cNvPr id="51" name="TextBox 47">
            <a:extLst>
              <a:ext uri="{FF2B5EF4-FFF2-40B4-BE49-F238E27FC236}">
                <a16:creationId xmlns:a16="http://schemas.microsoft.com/office/drawing/2014/main" id="{D7FB0585-4298-4C6B-B480-F1CB17E5AF07}"/>
              </a:ext>
            </a:extLst>
          </p:cNvPr>
          <p:cNvSpPr txBox="1"/>
          <p:nvPr/>
        </p:nvSpPr>
        <p:spPr>
          <a:xfrm>
            <a:off x="8627593" y="2511116"/>
            <a:ext cx="2726979" cy="786497"/>
          </a:xfrm>
          <a:prstGeom prst="rect">
            <a:avLst/>
          </a:prstGeom>
          <a:noFill/>
        </p:spPr>
        <p:txBody>
          <a:bodyPr wrap="square" rtlCol="0">
            <a:spAutoFit/>
          </a:bodyPr>
          <a:lstStyle/>
          <a:p>
            <a:pPr marL="0" marR="0" lvl="0" indent="0" algn="l" defTabSz="914400" rtl="0" eaLnBrk="1" fontAlgn="auto" latinLnBrk="0" hangingPunct="1">
              <a:lnSpc>
                <a:spcPts val="19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lumMod val="50000"/>
                    <a:lumOff val="50000"/>
                  </a:prstClr>
                </a:solidFill>
                <a:effectLst/>
                <a:uLnTx/>
                <a:uFillTx/>
                <a:latin typeface="Montserrat" panose="00000500000000000000" pitchFamily="50" charset="0"/>
                <a:ea typeface="+mn-ea"/>
                <a:cs typeface="+mn-cs"/>
              </a:rPr>
              <a:t>Lorem ipsum dolor sit </a:t>
            </a:r>
            <a:r>
              <a:rPr kumimoji="0" lang="en-US" sz="800" b="0" i="0" u="none" strike="noStrike" kern="1200" cap="none" spc="0" normalizeH="0" baseline="0" noProof="0" dirty="0" err="1">
                <a:ln>
                  <a:noFill/>
                </a:ln>
                <a:solidFill>
                  <a:prstClr val="black">
                    <a:lumMod val="50000"/>
                    <a:lumOff val="50000"/>
                  </a:prstClr>
                </a:solidFill>
                <a:effectLst/>
                <a:uLnTx/>
                <a:uFillTx/>
                <a:latin typeface="Montserrat" panose="00000500000000000000" pitchFamily="50" charset="0"/>
                <a:ea typeface="+mn-ea"/>
                <a:cs typeface="+mn-cs"/>
              </a:rPr>
              <a:t>amet</a:t>
            </a:r>
            <a:r>
              <a:rPr kumimoji="0" lang="en-US" sz="800" b="0" i="0" u="none" strike="noStrike" kern="1200" cap="none" spc="0" normalizeH="0" baseline="0" noProof="0" dirty="0">
                <a:ln>
                  <a:noFill/>
                </a:ln>
                <a:solidFill>
                  <a:prstClr val="black">
                    <a:lumMod val="50000"/>
                    <a:lumOff val="50000"/>
                  </a:prstClr>
                </a:solidFill>
                <a:effectLst/>
                <a:uLnTx/>
                <a:uFillTx/>
                <a:latin typeface="Montserrat" panose="00000500000000000000" pitchFamily="50" charset="0"/>
                <a:ea typeface="+mn-ea"/>
                <a:cs typeface="+mn-cs"/>
              </a:rPr>
              <a:t>, </a:t>
            </a:r>
            <a:r>
              <a:rPr kumimoji="0" lang="en-US" sz="800" b="0" i="0" u="none" strike="noStrike" kern="1200" cap="none" spc="0" normalizeH="0" baseline="0" noProof="0" dirty="0" err="1">
                <a:ln>
                  <a:noFill/>
                </a:ln>
                <a:solidFill>
                  <a:prstClr val="black">
                    <a:lumMod val="50000"/>
                    <a:lumOff val="50000"/>
                  </a:prstClr>
                </a:solidFill>
                <a:effectLst/>
                <a:uLnTx/>
                <a:uFillTx/>
                <a:latin typeface="Montserrat" panose="00000500000000000000" pitchFamily="50" charset="0"/>
                <a:ea typeface="+mn-ea"/>
                <a:cs typeface="+mn-cs"/>
              </a:rPr>
              <a:t>consectetur</a:t>
            </a:r>
            <a:r>
              <a:rPr kumimoji="0" lang="en-US" sz="800" b="0" i="0" u="none" strike="noStrike" kern="1200" cap="none" spc="0" normalizeH="0" baseline="0" noProof="0" dirty="0">
                <a:ln>
                  <a:noFill/>
                </a:ln>
                <a:solidFill>
                  <a:prstClr val="black">
                    <a:lumMod val="50000"/>
                    <a:lumOff val="50000"/>
                  </a:prstClr>
                </a:solidFill>
                <a:effectLst/>
                <a:uLnTx/>
                <a:uFillTx/>
                <a:latin typeface="Montserrat" panose="00000500000000000000" pitchFamily="50" charset="0"/>
                <a:ea typeface="+mn-ea"/>
                <a:cs typeface="+mn-cs"/>
              </a:rPr>
              <a:t> </a:t>
            </a:r>
            <a:r>
              <a:rPr kumimoji="0" lang="en-US" sz="800" b="0" i="0" u="none" strike="noStrike" kern="1200" cap="none" spc="0" normalizeH="0" baseline="0" noProof="0" dirty="0" err="1">
                <a:ln>
                  <a:noFill/>
                </a:ln>
                <a:solidFill>
                  <a:prstClr val="black">
                    <a:lumMod val="50000"/>
                    <a:lumOff val="50000"/>
                  </a:prstClr>
                </a:solidFill>
                <a:effectLst/>
                <a:uLnTx/>
                <a:uFillTx/>
                <a:latin typeface="Montserrat" panose="00000500000000000000" pitchFamily="50" charset="0"/>
                <a:ea typeface="+mn-ea"/>
                <a:cs typeface="+mn-cs"/>
              </a:rPr>
              <a:t>adipiscing</a:t>
            </a:r>
            <a:r>
              <a:rPr kumimoji="0" lang="en-US" sz="800" b="0" i="0" u="none" strike="noStrike" kern="1200" cap="none" spc="0" normalizeH="0" baseline="0" noProof="0" dirty="0">
                <a:ln>
                  <a:noFill/>
                </a:ln>
                <a:solidFill>
                  <a:prstClr val="black">
                    <a:lumMod val="50000"/>
                    <a:lumOff val="50000"/>
                  </a:prstClr>
                </a:solidFill>
                <a:effectLst/>
                <a:uLnTx/>
                <a:uFillTx/>
                <a:latin typeface="Montserrat" panose="00000500000000000000" pitchFamily="50" charset="0"/>
                <a:ea typeface="+mn-ea"/>
                <a:cs typeface="+mn-cs"/>
              </a:rPr>
              <a:t> </a:t>
            </a:r>
            <a:r>
              <a:rPr kumimoji="0" lang="en-US" sz="800" b="0" i="0" u="none" strike="noStrike" kern="1200" cap="none" spc="0" normalizeH="0" baseline="0" noProof="0" dirty="0" err="1">
                <a:ln>
                  <a:noFill/>
                </a:ln>
                <a:solidFill>
                  <a:prstClr val="black">
                    <a:lumMod val="50000"/>
                    <a:lumOff val="50000"/>
                  </a:prstClr>
                </a:solidFill>
                <a:effectLst/>
                <a:uLnTx/>
                <a:uFillTx/>
                <a:latin typeface="Montserrat" panose="00000500000000000000" pitchFamily="50" charset="0"/>
                <a:ea typeface="+mn-ea"/>
                <a:cs typeface="+mn-cs"/>
              </a:rPr>
              <a:t>elit</a:t>
            </a:r>
            <a:r>
              <a:rPr kumimoji="0" lang="en-US" sz="800" b="0" i="0" u="none" strike="noStrike" kern="1200" cap="none" spc="0" normalizeH="0" baseline="0" noProof="0" dirty="0">
                <a:ln>
                  <a:noFill/>
                </a:ln>
                <a:solidFill>
                  <a:prstClr val="black">
                    <a:lumMod val="50000"/>
                    <a:lumOff val="50000"/>
                  </a:prstClr>
                </a:solidFill>
                <a:effectLst/>
                <a:uLnTx/>
                <a:uFillTx/>
                <a:latin typeface="Montserrat" panose="00000500000000000000" pitchFamily="50" charset="0"/>
                <a:ea typeface="+mn-ea"/>
                <a:cs typeface="+mn-cs"/>
              </a:rPr>
              <a:t>. </a:t>
            </a:r>
            <a:r>
              <a:rPr kumimoji="0" lang="en-US" sz="800" b="0" i="0" u="none" strike="noStrike" kern="1200" cap="none" spc="0" normalizeH="0" baseline="0" noProof="0" dirty="0" err="1">
                <a:ln>
                  <a:noFill/>
                </a:ln>
                <a:solidFill>
                  <a:prstClr val="black">
                    <a:lumMod val="50000"/>
                    <a:lumOff val="50000"/>
                  </a:prstClr>
                </a:solidFill>
                <a:effectLst/>
                <a:uLnTx/>
                <a:uFillTx/>
                <a:latin typeface="Montserrat" panose="00000500000000000000" pitchFamily="50" charset="0"/>
                <a:ea typeface="+mn-ea"/>
                <a:cs typeface="+mn-cs"/>
              </a:rPr>
              <a:t>Etiam</a:t>
            </a:r>
            <a:r>
              <a:rPr kumimoji="0" lang="en-US" sz="800" b="0" i="0" u="none" strike="noStrike" kern="1200" cap="none" spc="0" normalizeH="0" baseline="0" noProof="0" dirty="0">
                <a:ln>
                  <a:noFill/>
                </a:ln>
                <a:solidFill>
                  <a:prstClr val="black">
                    <a:lumMod val="50000"/>
                    <a:lumOff val="50000"/>
                  </a:prstClr>
                </a:solidFill>
                <a:effectLst/>
                <a:uLnTx/>
                <a:uFillTx/>
                <a:latin typeface="Montserrat" panose="00000500000000000000" pitchFamily="50" charset="0"/>
                <a:ea typeface="+mn-ea"/>
                <a:cs typeface="+mn-cs"/>
              </a:rPr>
              <a:t> </a:t>
            </a:r>
            <a:r>
              <a:rPr kumimoji="0" lang="en-US" sz="800" b="0" i="0" u="none" strike="noStrike" kern="1200" cap="none" spc="0" normalizeH="0" baseline="0" noProof="0" dirty="0" err="1">
                <a:ln>
                  <a:noFill/>
                </a:ln>
                <a:solidFill>
                  <a:prstClr val="black">
                    <a:lumMod val="50000"/>
                    <a:lumOff val="50000"/>
                  </a:prstClr>
                </a:solidFill>
                <a:effectLst/>
                <a:uLnTx/>
                <a:uFillTx/>
                <a:latin typeface="Montserrat" panose="00000500000000000000" pitchFamily="50" charset="0"/>
                <a:ea typeface="+mn-ea"/>
                <a:cs typeface="+mn-cs"/>
              </a:rPr>
              <a:t>eget</a:t>
            </a:r>
            <a:r>
              <a:rPr kumimoji="0" lang="en-US" sz="800" b="0" i="0" u="none" strike="noStrike" kern="1200" cap="none" spc="0" normalizeH="0" baseline="0" noProof="0" dirty="0">
                <a:ln>
                  <a:noFill/>
                </a:ln>
                <a:solidFill>
                  <a:prstClr val="black">
                    <a:lumMod val="50000"/>
                    <a:lumOff val="50000"/>
                  </a:prstClr>
                </a:solidFill>
                <a:effectLst/>
                <a:uLnTx/>
                <a:uFillTx/>
                <a:latin typeface="Montserrat" panose="00000500000000000000" pitchFamily="50" charset="0"/>
                <a:ea typeface="+mn-ea"/>
                <a:cs typeface="+mn-cs"/>
              </a:rPr>
              <a:t> </a:t>
            </a:r>
            <a:r>
              <a:rPr kumimoji="0" lang="en-US" sz="800" b="0" i="0" u="none" strike="noStrike" kern="1200" cap="none" spc="0" normalizeH="0" baseline="0" noProof="0" dirty="0" err="1">
                <a:ln>
                  <a:noFill/>
                </a:ln>
                <a:solidFill>
                  <a:prstClr val="black">
                    <a:lumMod val="50000"/>
                    <a:lumOff val="50000"/>
                  </a:prstClr>
                </a:solidFill>
                <a:effectLst/>
                <a:uLnTx/>
                <a:uFillTx/>
                <a:latin typeface="Montserrat" panose="00000500000000000000" pitchFamily="50" charset="0"/>
                <a:ea typeface="+mn-ea"/>
                <a:cs typeface="+mn-cs"/>
              </a:rPr>
              <a:t>quam</a:t>
            </a:r>
            <a:r>
              <a:rPr kumimoji="0" lang="en-US" sz="800" b="0" i="0" u="none" strike="noStrike" kern="1200" cap="none" spc="0" normalizeH="0" baseline="0" noProof="0" dirty="0">
                <a:ln>
                  <a:noFill/>
                </a:ln>
                <a:solidFill>
                  <a:prstClr val="black">
                    <a:lumMod val="50000"/>
                    <a:lumOff val="50000"/>
                  </a:prstClr>
                </a:solidFill>
                <a:effectLst/>
                <a:uLnTx/>
                <a:uFillTx/>
                <a:latin typeface="Montserrat" panose="00000500000000000000" pitchFamily="50" charset="0"/>
                <a:ea typeface="+mn-ea"/>
                <a:cs typeface="+mn-cs"/>
              </a:rPr>
              <a:t> </a:t>
            </a:r>
            <a:r>
              <a:rPr kumimoji="0" lang="en-US" sz="800" b="0" i="0" u="none" strike="noStrike" kern="1200" cap="none" spc="0" normalizeH="0" baseline="0" noProof="0" dirty="0" err="1">
                <a:ln>
                  <a:noFill/>
                </a:ln>
                <a:solidFill>
                  <a:prstClr val="black">
                    <a:lumMod val="50000"/>
                    <a:lumOff val="50000"/>
                  </a:prstClr>
                </a:solidFill>
                <a:effectLst/>
                <a:uLnTx/>
                <a:uFillTx/>
                <a:latin typeface="Montserrat" panose="00000500000000000000" pitchFamily="50" charset="0"/>
                <a:ea typeface="+mn-ea"/>
                <a:cs typeface="+mn-cs"/>
              </a:rPr>
              <a:t>lacus</a:t>
            </a:r>
            <a:r>
              <a:rPr kumimoji="0" lang="en-US" sz="800" b="0" i="0" u="none" strike="noStrike" kern="1200" cap="none" spc="0" normalizeH="0" baseline="0" noProof="0" dirty="0">
                <a:ln>
                  <a:noFill/>
                </a:ln>
                <a:solidFill>
                  <a:prstClr val="black">
                    <a:lumMod val="50000"/>
                    <a:lumOff val="50000"/>
                  </a:prstClr>
                </a:solidFill>
                <a:effectLst/>
                <a:uLnTx/>
                <a:uFillTx/>
                <a:latin typeface="Montserrat" panose="00000500000000000000" pitchFamily="50" charset="0"/>
                <a:ea typeface="+mn-ea"/>
                <a:cs typeface="+mn-cs"/>
              </a:rPr>
              <a:t>. </a:t>
            </a:r>
            <a:r>
              <a:rPr kumimoji="0" lang="en-US" sz="800" b="0" i="0" u="none" strike="noStrike" kern="1200" cap="none" spc="0" normalizeH="0" baseline="0" noProof="0" dirty="0" err="1">
                <a:ln>
                  <a:noFill/>
                </a:ln>
                <a:solidFill>
                  <a:prstClr val="black">
                    <a:lumMod val="50000"/>
                    <a:lumOff val="50000"/>
                  </a:prstClr>
                </a:solidFill>
                <a:effectLst/>
                <a:uLnTx/>
                <a:uFillTx/>
                <a:latin typeface="Montserrat" panose="00000500000000000000" pitchFamily="50" charset="0"/>
                <a:ea typeface="+mn-ea"/>
                <a:cs typeface="+mn-cs"/>
              </a:rPr>
              <a:t>Vivamus</a:t>
            </a:r>
            <a:r>
              <a:rPr kumimoji="0" lang="en-US" sz="800" b="0" i="0" u="none" strike="noStrike" kern="1200" cap="none" spc="0" normalizeH="0" baseline="0" noProof="0" dirty="0">
                <a:ln>
                  <a:noFill/>
                </a:ln>
                <a:solidFill>
                  <a:prstClr val="black">
                    <a:lumMod val="50000"/>
                    <a:lumOff val="50000"/>
                  </a:prstClr>
                </a:solidFill>
                <a:effectLst/>
                <a:uLnTx/>
                <a:uFillTx/>
                <a:latin typeface="Montserrat" panose="00000500000000000000" pitchFamily="50" charset="0"/>
                <a:ea typeface="+mn-ea"/>
                <a:cs typeface="+mn-cs"/>
              </a:rPr>
              <a:t> </a:t>
            </a:r>
            <a:r>
              <a:rPr kumimoji="0" lang="en-US" sz="800" b="0" i="0" u="none" strike="noStrike" kern="1200" cap="none" spc="0" normalizeH="0" baseline="0" noProof="0" dirty="0" err="1">
                <a:ln>
                  <a:noFill/>
                </a:ln>
                <a:solidFill>
                  <a:prstClr val="black">
                    <a:lumMod val="50000"/>
                    <a:lumOff val="50000"/>
                  </a:prstClr>
                </a:solidFill>
                <a:effectLst/>
                <a:uLnTx/>
                <a:uFillTx/>
                <a:latin typeface="Montserrat" panose="00000500000000000000" pitchFamily="50" charset="0"/>
                <a:ea typeface="+mn-ea"/>
                <a:cs typeface="+mn-cs"/>
              </a:rPr>
              <a:t>laoreet</a:t>
            </a:r>
            <a:r>
              <a:rPr kumimoji="0" lang="en-US" sz="800" b="0" i="0" u="none" strike="noStrike" kern="1200" cap="none" spc="0" normalizeH="0" baseline="0" noProof="0" dirty="0">
                <a:ln>
                  <a:noFill/>
                </a:ln>
                <a:solidFill>
                  <a:prstClr val="black">
                    <a:lumMod val="50000"/>
                    <a:lumOff val="50000"/>
                  </a:prstClr>
                </a:solidFill>
                <a:effectLst/>
                <a:uLnTx/>
                <a:uFillTx/>
                <a:latin typeface="Montserrat" panose="00000500000000000000" pitchFamily="50" charset="0"/>
                <a:ea typeface="+mn-ea"/>
                <a:cs typeface="+mn-cs"/>
              </a:rPr>
              <a:t> tempus </a:t>
            </a:r>
            <a:r>
              <a:rPr kumimoji="0" lang="en-US" sz="800" b="0" i="0" u="none" strike="noStrike" kern="1200" cap="none" spc="0" normalizeH="0" baseline="0" noProof="0" dirty="0" err="1">
                <a:ln>
                  <a:noFill/>
                </a:ln>
                <a:solidFill>
                  <a:prstClr val="black">
                    <a:lumMod val="50000"/>
                    <a:lumOff val="50000"/>
                  </a:prstClr>
                </a:solidFill>
                <a:effectLst/>
                <a:uLnTx/>
                <a:uFillTx/>
                <a:latin typeface="Montserrat" panose="00000500000000000000" pitchFamily="50" charset="0"/>
                <a:ea typeface="+mn-ea"/>
                <a:cs typeface="+mn-cs"/>
              </a:rPr>
              <a:t>lacus</a:t>
            </a:r>
            <a:r>
              <a:rPr kumimoji="0" lang="en-US" sz="800" b="0" i="0" u="none" strike="noStrike" kern="1200" cap="none" spc="0" normalizeH="0" baseline="0" noProof="0" dirty="0">
                <a:ln>
                  <a:noFill/>
                </a:ln>
                <a:solidFill>
                  <a:prstClr val="black">
                    <a:lumMod val="50000"/>
                    <a:lumOff val="50000"/>
                  </a:prstClr>
                </a:solidFill>
                <a:effectLst/>
                <a:uLnTx/>
                <a:uFillTx/>
                <a:latin typeface="Montserrat" panose="00000500000000000000" pitchFamily="50" charset="0"/>
                <a:ea typeface="+mn-ea"/>
                <a:cs typeface="+mn-cs"/>
              </a:rPr>
              <a:t>, </a:t>
            </a:r>
          </a:p>
        </p:txBody>
      </p:sp>
    </p:spTree>
    <p:extLst>
      <p:ext uri="{BB962C8B-B14F-4D97-AF65-F5344CB8AC3E}">
        <p14:creationId xmlns:p14="http://schemas.microsoft.com/office/powerpoint/2010/main" val="3060841288"/>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4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reeform 5">
            <a:extLst>
              <a:ext uri="{FF2B5EF4-FFF2-40B4-BE49-F238E27FC236}">
                <a16:creationId xmlns:a16="http://schemas.microsoft.com/office/drawing/2014/main" id="{8B887CE1-6BED-4EA5-B172-2EDB617D3C60}"/>
              </a:ext>
            </a:extLst>
          </p:cNvPr>
          <p:cNvSpPr>
            <a:spLocks/>
          </p:cNvSpPr>
          <p:nvPr/>
        </p:nvSpPr>
        <p:spPr bwMode="auto">
          <a:xfrm>
            <a:off x="4295775" y="2087563"/>
            <a:ext cx="2479675" cy="1646238"/>
          </a:xfrm>
          <a:custGeom>
            <a:avLst/>
            <a:gdLst>
              <a:gd name="T0" fmla="*/ 121 w 657"/>
              <a:gd name="T1" fmla="*/ 436 h 436"/>
              <a:gd name="T2" fmla="*/ 159 w 657"/>
              <a:gd name="T3" fmla="*/ 112 h 436"/>
              <a:gd name="T4" fmla="*/ 657 w 657"/>
              <a:gd name="T5" fmla="*/ 249 h 436"/>
              <a:gd name="T6" fmla="*/ 304 w 657"/>
              <a:gd name="T7" fmla="*/ 234 h 436"/>
              <a:gd name="T8" fmla="*/ 121 w 657"/>
              <a:gd name="T9" fmla="*/ 436 h 436"/>
            </a:gdLst>
            <a:ahLst/>
            <a:cxnLst>
              <a:cxn ang="0">
                <a:pos x="T0" y="T1"/>
              </a:cxn>
              <a:cxn ang="0">
                <a:pos x="T2" y="T3"/>
              </a:cxn>
              <a:cxn ang="0">
                <a:pos x="T4" y="T5"/>
              </a:cxn>
              <a:cxn ang="0">
                <a:pos x="T6" y="T7"/>
              </a:cxn>
              <a:cxn ang="0">
                <a:pos x="T8" y="T9"/>
              </a:cxn>
            </a:cxnLst>
            <a:rect l="0" t="0" r="r" b="b"/>
            <a:pathLst>
              <a:path w="657" h="436">
                <a:moveTo>
                  <a:pt x="121" y="436"/>
                </a:moveTo>
                <a:cubicBezTo>
                  <a:pt x="121" y="436"/>
                  <a:pt x="0" y="202"/>
                  <a:pt x="159" y="112"/>
                </a:cubicBezTo>
                <a:cubicBezTo>
                  <a:pt x="353" y="0"/>
                  <a:pt x="657" y="249"/>
                  <a:pt x="657" y="249"/>
                </a:cubicBezTo>
                <a:cubicBezTo>
                  <a:pt x="657" y="249"/>
                  <a:pt x="475" y="167"/>
                  <a:pt x="304" y="234"/>
                </a:cubicBezTo>
                <a:cubicBezTo>
                  <a:pt x="185" y="281"/>
                  <a:pt x="121" y="436"/>
                  <a:pt x="121" y="436"/>
                </a:cubicBezTo>
                <a:close/>
              </a:path>
            </a:pathLst>
          </a:custGeom>
          <a:gradFill flip="none" rotWithShape="1">
            <a:gsLst>
              <a:gs pos="73000">
                <a:schemeClr val="accent1"/>
              </a:gs>
              <a:gs pos="31000">
                <a:schemeClr val="accent1">
                  <a:lumMod val="60000"/>
                  <a:lumOff val="40000"/>
                </a:schemeClr>
              </a:gs>
              <a:gs pos="0">
                <a:schemeClr val="accent1">
                  <a:lumMod val="40000"/>
                  <a:lumOff val="60000"/>
                </a:schemeClr>
              </a:gs>
            </a:gsLst>
            <a:lin ang="18900000" scaled="1"/>
            <a:tileRect/>
          </a:gradFill>
          <a:ln>
            <a:noFill/>
          </a:ln>
          <a:effectLst>
            <a:outerShdw blurRad="444500" dist="317500" dir="5400000" sx="92000" sy="92000" algn="t" rotWithShape="0">
              <a:schemeClr val="accent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4" name="Freeform 7">
            <a:extLst>
              <a:ext uri="{FF2B5EF4-FFF2-40B4-BE49-F238E27FC236}">
                <a16:creationId xmlns:a16="http://schemas.microsoft.com/office/drawing/2014/main" id="{CA44902D-9B4C-4EB0-863A-84AB5753E4B2}"/>
              </a:ext>
            </a:extLst>
          </p:cNvPr>
          <p:cNvSpPr>
            <a:spLocks/>
          </p:cNvSpPr>
          <p:nvPr/>
        </p:nvSpPr>
        <p:spPr bwMode="auto">
          <a:xfrm>
            <a:off x="6276975" y="2120900"/>
            <a:ext cx="1646238" cy="2481263"/>
          </a:xfrm>
          <a:custGeom>
            <a:avLst/>
            <a:gdLst>
              <a:gd name="T0" fmla="*/ 0 w 436"/>
              <a:gd name="T1" fmla="*/ 121 h 657"/>
              <a:gd name="T2" fmla="*/ 325 w 436"/>
              <a:gd name="T3" fmla="*/ 159 h 657"/>
              <a:gd name="T4" fmla="*/ 187 w 436"/>
              <a:gd name="T5" fmla="*/ 657 h 657"/>
              <a:gd name="T6" fmla="*/ 202 w 436"/>
              <a:gd name="T7" fmla="*/ 305 h 657"/>
              <a:gd name="T8" fmla="*/ 0 w 436"/>
              <a:gd name="T9" fmla="*/ 121 h 657"/>
            </a:gdLst>
            <a:ahLst/>
            <a:cxnLst>
              <a:cxn ang="0">
                <a:pos x="T0" y="T1"/>
              </a:cxn>
              <a:cxn ang="0">
                <a:pos x="T2" y="T3"/>
              </a:cxn>
              <a:cxn ang="0">
                <a:pos x="T4" y="T5"/>
              </a:cxn>
              <a:cxn ang="0">
                <a:pos x="T6" y="T7"/>
              </a:cxn>
              <a:cxn ang="0">
                <a:pos x="T8" y="T9"/>
              </a:cxn>
            </a:cxnLst>
            <a:rect l="0" t="0" r="r" b="b"/>
            <a:pathLst>
              <a:path w="436" h="657">
                <a:moveTo>
                  <a:pt x="0" y="121"/>
                </a:moveTo>
                <a:cubicBezTo>
                  <a:pt x="0" y="121"/>
                  <a:pt x="234" y="0"/>
                  <a:pt x="325" y="159"/>
                </a:cubicBezTo>
                <a:cubicBezTo>
                  <a:pt x="436" y="353"/>
                  <a:pt x="187" y="657"/>
                  <a:pt x="187" y="657"/>
                </a:cubicBezTo>
                <a:cubicBezTo>
                  <a:pt x="187" y="657"/>
                  <a:pt x="269" y="475"/>
                  <a:pt x="202" y="305"/>
                </a:cubicBezTo>
                <a:cubicBezTo>
                  <a:pt x="156" y="186"/>
                  <a:pt x="0" y="121"/>
                  <a:pt x="0" y="121"/>
                </a:cubicBezTo>
                <a:close/>
              </a:path>
            </a:pathLst>
          </a:custGeom>
          <a:gradFill flip="none" rotWithShape="1">
            <a:gsLst>
              <a:gs pos="73000">
                <a:schemeClr val="accent1"/>
              </a:gs>
              <a:gs pos="31000">
                <a:schemeClr val="accent1">
                  <a:lumMod val="60000"/>
                  <a:lumOff val="40000"/>
                </a:schemeClr>
              </a:gs>
              <a:gs pos="0">
                <a:schemeClr val="accent1">
                  <a:lumMod val="40000"/>
                  <a:lumOff val="60000"/>
                </a:schemeClr>
              </a:gs>
            </a:gsLst>
            <a:lin ang="2700000" scaled="1"/>
            <a:tileRect/>
          </a:gradFill>
          <a:ln>
            <a:noFill/>
          </a:ln>
          <a:effectLst>
            <a:outerShdw blurRad="444500" dist="317500" dir="5400000" sx="92000" sy="92000" algn="t" rotWithShape="0">
              <a:schemeClr val="accent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5" name="Freeform 8">
            <a:extLst>
              <a:ext uri="{FF2B5EF4-FFF2-40B4-BE49-F238E27FC236}">
                <a16:creationId xmlns:a16="http://schemas.microsoft.com/office/drawing/2014/main" id="{F35942D4-E79B-4AD1-B76A-04619C3BAC8A}"/>
              </a:ext>
            </a:extLst>
          </p:cNvPr>
          <p:cNvSpPr>
            <a:spLocks/>
          </p:cNvSpPr>
          <p:nvPr/>
        </p:nvSpPr>
        <p:spPr bwMode="auto">
          <a:xfrm>
            <a:off x="5408613" y="4108450"/>
            <a:ext cx="2481263" cy="1646238"/>
          </a:xfrm>
          <a:custGeom>
            <a:avLst/>
            <a:gdLst>
              <a:gd name="T0" fmla="*/ 536 w 657"/>
              <a:gd name="T1" fmla="*/ 0 h 436"/>
              <a:gd name="T2" fmla="*/ 499 w 657"/>
              <a:gd name="T3" fmla="*/ 324 h 436"/>
              <a:gd name="T4" fmla="*/ 0 w 657"/>
              <a:gd name="T5" fmla="*/ 187 h 436"/>
              <a:gd name="T6" fmla="*/ 353 w 657"/>
              <a:gd name="T7" fmla="*/ 202 h 436"/>
              <a:gd name="T8" fmla="*/ 536 w 657"/>
              <a:gd name="T9" fmla="*/ 0 h 436"/>
            </a:gdLst>
            <a:ahLst/>
            <a:cxnLst>
              <a:cxn ang="0">
                <a:pos x="T0" y="T1"/>
              </a:cxn>
              <a:cxn ang="0">
                <a:pos x="T2" y="T3"/>
              </a:cxn>
              <a:cxn ang="0">
                <a:pos x="T4" y="T5"/>
              </a:cxn>
              <a:cxn ang="0">
                <a:pos x="T6" y="T7"/>
              </a:cxn>
              <a:cxn ang="0">
                <a:pos x="T8" y="T9"/>
              </a:cxn>
            </a:cxnLst>
            <a:rect l="0" t="0" r="r" b="b"/>
            <a:pathLst>
              <a:path w="657" h="436">
                <a:moveTo>
                  <a:pt x="536" y="0"/>
                </a:moveTo>
                <a:cubicBezTo>
                  <a:pt x="536" y="0"/>
                  <a:pt x="657" y="234"/>
                  <a:pt x="499" y="324"/>
                </a:cubicBezTo>
                <a:cubicBezTo>
                  <a:pt x="305" y="436"/>
                  <a:pt x="0" y="187"/>
                  <a:pt x="0" y="187"/>
                </a:cubicBezTo>
                <a:cubicBezTo>
                  <a:pt x="0" y="187"/>
                  <a:pt x="183" y="269"/>
                  <a:pt x="353" y="202"/>
                </a:cubicBezTo>
                <a:cubicBezTo>
                  <a:pt x="472" y="155"/>
                  <a:pt x="536" y="0"/>
                  <a:pt x="536" y="0"/>
                </a:cubicBezTo>
                <a:close/>
              </a:path>
            </a:pathLst>
          </a:custGeom>
          <a:gradFill flip="none" rotWithShape="1">
            <a:gsLst>
              <a:gs pos="73000">
                <a:schemeClr val="accent1"/>
              </a:gs>
              <a:gs pos="31000">
                <a:schemeClr val="accent1">
                  <a:lumMod val="60000"/>
                  <a:lumOff val="40000"/>
                </a:schemeClr>
              </a:gs>
              <a:gs pos="0">
                <a:schemeClr val="accent1">
                  <a:lumMod val="40000"/>
                  <a:lumOff val="60000"/>
                </a:schemeClr>
              </a:gs>
            </a:gsLst>
            <a:lin ang="8100000" scaled="1"/>
            <a:tileRect/>
          </a:gradFill>
          <a:ln>
            <a:noFill/>
          </a:ln>
          <a:effectLst>
            <a:outerShdw blurRad="444500" dist="317500" dir="5400000" sx="92000" sy="92000" algn="t" rotWithShape="0">
              <a:schemeClr val="accent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6" name="Freeform 9">
            <a:extLst>
              <a:ext uri="{FF2B5EF4-FFF2-40B4-BE49-F238E27FC236}">
                <a16:creationId xmlns:a16="http://schemas.microsoft.com/office/drawing/2014/main" id="{D669572C-BCC9-4A7D-8F93-A769D3E16CD2}"/>
              </a:ext>
            </a:extLst>
          </p:cNvPr>
          <p:cNvSpPr>
            <a:spLocks/>
          </p:cNvSpPr>
          <p:nvPr/>
        </p:nvSpPr>
        <p:spPr bwMode="auto">
          <a:xfrm>
            <a:off x="4260850" y="3238500"/>
            <a:ext cx="1646238" cy="2482850"/>
          </a:xfrm>
          <a:custGeom>
            <a:avLst/>
            <a:gdLst>
              <a:gd name="T0" fmla="*/ 436 w 436"/>
              <a:gd name="T1" fmla="*/ 536 h 657"/>
              <a:gd name="T2" fmla="*/ 111 w 436"/>
              <a:gd name="T3" fmla="*/ 498 h 657"/>
              <a:gd name="T4" fmla="*/ 249 w 436"/>
              <a:gd name="T5" fmla="*/ 0 h 657"/>
              <a:gd name="T6" fmla="*/ 234 w 436"/>
              <a:gd name="T7" fmla="*/ 352 h 657"/>
              <a:gd name="T8" fmla="*/ 436 w 436"/>
              <a:gd name="T9" fmla="*/ 536 h 657"/>
            </a:gdLst>
            <a:ahLst/>
            <a:cxnLst>
              <a:cxn ang="0">
                <a:pos x="T0" y="T1"/>
              </a:cxn>
              <a:cxn ang="0">
                <a:pos x="T2" y="T3"/>
              </a:cxn>
              <a:cxn ang="0">
                <a:pos x="T4" y="T5"/>
              </a:cxn>
              <a:cxn ang="0">
                <a:pos x="T6" y="T7"/>
              </a:cxn>
              <a:cxn ang="0">
                <a:pos x="T8" y="T9"/>
              </a:cxn>
            </a:cxnLst>
            <a:rect l="0" t="0" r="r" b="b"/>
            <a:pathLst>
              <a:path w="436" h="657">
                <a:moveTo>
                  <a:pt x="436" y="536"/>
                </a:moveTo>
                <a:cubicBezTo>
                  <a:pt x="436" y="536"/>
                  <a:pt x="202" y="657"/>
                  <a:pt x="111" y="498"/>
                </a:cubicBezTo>
                <a:cubicBezTo>
                  <a:pt x="0" y="304"/>
                  <a:pt x="249" y="0"/>
                  <a:pt x="249" y="0"/>
                </a:cubicBezTo>
                <a:cubicBezTo>
                  <a:pt x="249" y="0"/>
                  <a:pt x="167" y="182"/>
                  <a:pt x="234" y="352"/>
                </a:cubicBezTo>
                <a:cubicBezTo>
                  <a:pt x="281" y="471"/>
                  <a:pt x="436" y="536"/>
                  <a:pt x="436" y="536"/>
                </a:cubicBezTo>
                <a:close/>
              </a:path>
            </a:pathLst>
          </a:custGeom>
          <a:gradFill flip="none" rotWithShape="1">
            <a:gsLst>
              <a:gs pos="73000">
                <a:schemeClr val="accent1"/>
              </a:gs>
              <a:gs pos="31000">
                <a:schemeClr val="accent1">
                  <a:lumMod val="60000"/>
                  <a:lumOff val="40000"/>
                </a:schemeClr>
              </a:gs>
              <a:gs pos="0">
                <a:schemeClr val="accent1">
                  <a:lumMod val="40000"/>
                  <a:lumOff val="60000"/>
                </a:schemeClr>
              </a:gs>
            </a:gsLst>
            <a:lin ang="16200000" scaled="1"/>
            <a:tileRect/>
          </a:gradFill>
          <a:ln>
            <a:noFill/>
          </a:ln>
          <a:effectLst>
            <a:outerShdw blurRad="444500" dist="317500" dir="5400000" sx="92000" sy="92000" algn="t" rotWithShape="0">
              <a:schemeClr val="accent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7" name="TextBox 32">
            <a:extLst>
              <a:ext uri="{FF2B5EF4-FFF2-40B4-BE49-F238E27FC236}">
                <a16:creationId xmlns:a16="http://schemas.microsoft.com/office/drawing/2014/main" id="{27D5D189-C862-4628-B53C-9C7CCC471038}"/>
              </a:ext>
            </a:extLst>
          </p:cNvPr>
          <p:cNvSpPr txBox="1"/>
          <p:nvPr/>
        </p:nvSpPr>
        <p:spPr>
          <a:xfrm>
            <a:off x="5366801" y="3714431"/>
            <a:ext cx="1459989" cy="492443"/>
          </a:xfrm>
          <a:prstGeom prst="rect">
            <a:avLst/>
          </a:prstGeom>
          <a:noFill/>
        </p:spPr>
        <p:txBody>
          <a:bodyPr wrap="square" lIns="0" tIns="0" rIns="0" bIns="0" rtlCol="0">
            <a:spAutoFit/>
          </a:bodyPr>
          <a:lstStyle/>
          <a:p>
            <a:pPr marL="0" marR="0" lvl="0" indent="0" algn="ctr" defTabSz="457200" rtl="0" eaLnBrk="1" fontAlgn="base" latinLnBrk="0" hangingPunct="1">
              <a:lnSpc>
                <a:spcPct val="100000"/>
              </a:lnSpc>
              <a:spcBef>
                <a:spcPts val="100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HarmonyOS Sans SC Black"/>
                <a:ea typeface="+mj-ea"/>
                <a:cs typeface="+mn-cs"/>
              </a:rPr>
              <a:t>Your title</a:t>
            </a:r>
            <a:br>
              <a:rPr kumimoji="0" lang="en-US" sz="1600" b="0" i="0" u="none" strike="noStrike" kern="1200" cap="none" spc="0" normalizeH="0" baseline="0" noProof="0" dirty="0">
                <a:ln>
                  <a:noFill/>
                </a:ln>
                <a:solidFill>
                  <a:prstClr val="white"/>
                </a:solidFill>
                <a:effectLst/>
                <a:uLnTx/>
                <a:uFillTx/>
                <a:latin typeface="HarmonyOS Sans SC Black"/>
                <a:ea typeface="+mj-ea"/>
                <a:cs typeface="+mn-cs"/>
              </a:rPr>
            </a:br>
            <a:r>
              <a:rPr kumimoji="0" lang="en-US" sz="1600" b="0" i="0" u="none" strike="noStrike" kern="1200" cap="none" spc="0" normalizeH="0" baseline="0" noProof="0" dirty="0">
                <a:ln>
                  <a:noFill/>
                </a:ln>
                <a:solidFill>
                  <a:prstClr val="white"/>
                </a:solidFill>
                <a:effectLst/>
                <a:uLnTx/>
                <a:uFillTx/>
                <a:latin typeface="HarmonyOS Sans SC Black"/>
                <a:ea typeface="+mj-ea"/>
                <a:cs typeface="+mn-cs"/>
              </a:rPr>
              <a:t>is here</a:t>
            </a:r>
          </a:p>
        </p:txBody>
      </p:sp>
      <p:sp>
        <p:nvSpPr>
          <p:cNvPr id="12" name="Freeform 65">
            <a:extLst>
              <a:ext uri="{FF2B5EF4-FFF2-40B4-BE49-F238E27FC236}">
                <a16:creationId xmlns:a16="http://schemas.microsoft.com/office/drawing/2014/main" id="{A9CB7E0D-4409-4CDC-A3AD-E9219338C4CB}"/>
              </a:ext>
            </a:extLst>
          </p:cNvPr>
          <p:cNvSpPr>
            <a:spLocks noEditPoints="1"/>
          </p:cNvSpPr>
          <p:nvPr/>
        </p:nvSpPr>
        <p:spPr bwMode="auto">
          <a:xfrm>
            <a:off x="4966763" y="2632805"/>
            <a:ext cx="291056" cy="294450"/>
          </a:xfrm>
          <a:custGeom>
            <a:avLst/>
            <a:gdLst>
              <a:gd name="T0" fmla="*/ 537707 w 160"/>
              <a:gd name="T1" fmla="*/ 6886 h 160"/>
              <a:gd name="T2" fmla="*/ 517287 w 160"/>
              <a:gd name="T3" fmla="*/ 0 h 160"/>
              <a:gd name="T4" fmla="*/ 183773 w 160"/>
              <a:gd name="T5" fmla="*/ 55086 h 160"/>
              <a:gd name="T6" fmla="*/ 166757 w 160"/>
              <a:gd name="T7" fmla="*/ 79187 h 160"/>
              <a:gd name="T8" fmla="*/ 166757 w 160"/>
              <a:gd name="T9" fmla="*/ 392490 h 160"/>
              <a:gd name="T10" fmla="*/ 78274 w 160"/>
              <a:gd name="T11" fmla="*/ 392490 h 160"/>
              <a:gd name="T12" fmla="*/ 0 w 160"/>
              <a:gd name="T13" fmla="*/ 471676 h 160"/>
              <a:gd name="T14" fmla="*/ 78274 w 160"/>
              <a:gd name="T15" fmla="*/ 550863 h 160"/>
              <a:gd name="T16" fmla="*/ 132725 w 160"/>
              <a:gd name="T17" fmla="*/ 550863 h 160"/>
              <a:gd name="T18" fmla="*/ 210999 w 160"/>
              <a:gd name="T19" fmla="*/ 471676 h 160"/>
              <a:gd name="T20" fmla="*/ 210999 w 160"/>
              <a:gd name="T21" fmla="*/ 416590 h 160"/>
              <a:gd name="T22" fmla="*/ 210999 w 160"/>
              <a:gd name="T23" fmla="*/ 96401 h 160"/>
              <a:gd name="T24" fmla="*/ 500271 w 160"/>
              <a:gd name="T25" fmla="*/ 48201 h 160"/>
              <a:gd name="T26" fmla="*/ 500271 w 160"/>
              <a:gd name="T27" fmla="*/ 337404 h 160"/>
              <a:gd name="T28" fmla="*/ 411788 w 160"/>
              <a:gd name="T29" fmla="*/ 337404 h 160"/>
              <a:gd name="T30" fmla="*/ 333514 w 160"/>
              <a:gd name="T31" fmla="*/ 416590 h 160"/>
              <a:gd name="T32" fmla="*/ 411788 w 160"/>
              <a:gd name="T33" fmla="*/ 495777 h 160"/>
              <a:gd name="T34" fmla="*/ 466239 w 160"/>
              <a:gd name="T35" fmla="*/ 495777 h 160"/>
              <a:gd name="T36" fmla="*/ 544513 w 160"/>
              <a:gd name="T37" fmla="*/ 416590 h 160"/>
              <a:gd name="T38" fmla="*/ 544513 w 160"/>
              <a:gd name="T39" fmla="*/ 361504 h 160"/>
              <a:gd name="T40" fmla="*/ 544513 w 160"/>
              <a:gd name="T41" fmla="*/ 20657 h 160"/>
              <a:gd name="T42" fmla="*/ 537707 w 160"/>
              <a:gd name="T43" fmla="*/ 6886 h 160"/>
              <a:gd name="T44" fmla="*/ 166757 w 160"/>
              <a:gd name="T45" fmla="*/ 471676 h 160"/>
              <a:gd name="T46" fmla="*/ 132725 w 160"/>
              <a:gd name="T47" fmla="*/ 506105 h 160"/>
              <a:gd name="T48" fmla="*/ 78274 w 160"/>
              <a:gd name="T49" fmla="*/ 506105 h 160"/>
              <a:gd name="T50" fmla="*/ 44242 w 160"/>
              <a:gd name="T51" fmla="*/ 471676 h 160"/>
              <a:gd name="T52" fmla="*/ 78274 w 160"/>
              <a:gd name="T53" fmla="*/ 437248 h 160"/>
              <a:gd name="T54" fmla="*/ 166757 w 160"/>
              <a:gd name="T55" fmla="*/ 437248 h 160"/>
              <a:gd name="T56" fmla="*/ 166757 w 160"/>
              <a:gd name="T57" fmla="*/ 471676 h 160"/>
              <a:gd name="T58" fmla="*/ 500271 w 160"/>
              <a:gd name="T59" fmla="*/ 416590 h 160"/>
              <a:gd name="T60" fmla="*/ 466239 w 160"/>
              <a:gd name="T61" fmla="*/ 451019 h 160"/>
              <a:gd name="T62" fmla="*/ 411788 w 160"/>
              <a:gd name="T63" fmla="*/ 451019 h 160"/>
              <a:gd name="T64" fmla="*/ 377756 w 160"/>
              <a:gd name="T65" fmla="*/ 416590 h 160"/>
              <a:gd name="T66" fmla="*/ 411788 w 160"/>
              <a:gd name="T67" fmla="*/ 382161 h 160"/>
              <a:gd name="T68" fmla="*/ 500271 w 160"/>
              <a:gd name="T69" fmla="*/ 382161 h 160"/>
              <a:gd name="T70" fmla="*/ 500271 w 160"/>
              <a:gd name="T71" fmla="*/ 416590 h 160"/>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160" h="160">
                <a:moveTo>
                  <a:pt x="158" y="2"/>
                </a:moveTo>
                <a:cubicBezTo>
                  <a:pt x="156" y="0"/>
                  <a:pt x="154" y="0"/>
                  <a:pt x="152" y="0"/>
                </a:cubicBezTo>
                <a:cubicBezTo>
                  <a:pt x="54" y="16"/>
                  <a:pt x="54" y="16"/>
                  <a:pt x="54" y="16"/>
                </a:cubicBezTo>
                <a:cubicBezTo>
                  <a:pt x="51" y="17"/>
                  <a:pt x="49" y="20"/>
                  <a:pt x="49" y="23"/>
                </a:cubicBezTo>
                <a:cubicBezTo>
                  <a:pt x="49" y="114"/>
                  <a:pt x="49" y="114"/>
                  <a:pt x="49" y="114"/>
                </a:cubicBezTo>
                <a:cubicBezTo>
                  <a:pt x="23" y="114"/>
                  <a:pt x="23" y="114"/>
                  <a:pt x="23" y="114"/>
                </a:cubicBezTo>
                <a:cubicBezTo>
                  <a:pt x="10" y="114"/>
                  <a:pt x="0" y="125"/>
                  <a:pt x="0" y="137"/>
                </a:cubicBezTo>
                <a:cubicBezTo>
                  <a:pt x="0" y="150"/>
                  <a:pt x="10" y="160"/>
                  <a:pt x="23" y="160"/>
                </a:cubicBezTo>
                <a:cubicBezTo>
                  <a:pt x="39" y="160"/>
                  <a:pt x="39" y="160"/>
                  <a:pt x="39" y="160"/>
                </a:cubicBezTo>
                <a:cubicBezTo>
                  <a:pt x="52" y="160"/>
                  <a:pt x="62" y="150"/>
                  <a:pt x="62" y="137"/>
                </a:cubicBezTo>
                <a:cubicBezTo>
                  <a:pt x="62" y="121"/>
                  <a:pt x="62" y="121"/>
                  <a:pt x="62" y="121"/>
                </a:cubicBezTo>
                <a:cubicBezTo>
                  <a:pt x="62" y="28"/>
                  <a:pt x="62" y="28"/>
                  <a:pt x="62" y="28"/>
                </a:cubicBezTo>
                <a:cubicBezTo>
                  <a:pt x="147" y="14"/>
                  <a:pt x="147" y="14"/>
                  <a:pt x="147" y="14"/>
                </a:cubicBezTo>
                <a:cubicBezTo>
                  <a:pt x="147" y="98"/>
                  <a:pt x="147" y="98"/>
                  <a:pt x="147" y="98"/>
                </a:cubicBezTo>
                <a:cubicBezTo>
                  <a:pt x="121" y="98"/>
                  <a:pt x="121" y="98"/>
                  <a:pt x="121" y="98"/>
                </a:cubicBezTo>
                <a:cubicBezTo>
                  <a:pt x="108" y="98"/>
                  <a:pt x="98" y="108"/>
                  <a:pt x="98" y="121"/>
                </a:cubicBezTo>
                <a:cubicBezTo>
                  <a:pt x="98" y="133"/>
                  <a:pt x="108" y="144"/>
                  <a:pt x="121" y="144"/>
                </a:cubicBezTo>
                <a:cubicBezTo>
                  <a:pt x="137" y="144"/>
                  <a:pt x="137" y="144"/>
                  <a:pt x="137" y="144"/>
                </a:cubicBezTo>
                <a:cubicBezTo>
                  <a:pt x="150" y="144"/>
                  <a:pt x="160" y="133"/>
                  <a:pt x="160" y="121"/>
                </a:cubicBezTo>
                <a:cubicBezTo>
                  <a:pt x="160" y="105"/>
                  <a:pt x="160" y="105"/>
                  <a:pt x="160" y="105"/>
                </a:cubicBezTo>
                <a:cubicBezTo>
                  <a:pt x="160" y="6"/>
                  <a:pt x="160" y="6"/>
                  <a:pt x="160" y="6"/>
                </a:cubicBezTo>
                <a:cubicBezTo>
                  <a:pt x="160" y="5"/>
                  <a:pt x="159" y="3"/>
                  <a:pt x="158" y="2"/>
                </a:cubicBezTo>
                <a:close/>
                <a:moveTo>
                  <a:pt x="49" y="137"/>
                </a:moveTo>
                <a:cubicBezTo>
                  <a:pt x="49" y="143"/>
                  <a:pt x="45" y="147"/>
                  <a:pt x="39" y="147"/>
                </a:cubicBezTo>
                <a:cubicBezTo>
                  <a:pt x="23" y="147"/>
                  <a:pt x="23" y="147"/>
                  <a:pt x="23" y="147"/>
                </a:cubicBezTo>
                <a:cubicBezTo>
                  <a:pt x="17" y="147"/>
                  <a:pt x="13" y="143"/>
                  <a:pt x="13" y="137"/>
                </a:cubicBezTo>
                <a:cubicBezTo>
                  <a:pt x="13" y="132"/>
                  <a:pt x="17" y="127"/>
                  <a:pt x="23" y="127"/>
                </a:cubicBezTo>
                <a:cubicBezTo>
                  <a:pt x="49" y="127"/>
                  <a:pt x="49" y="127"/>
                  <a:pt x="49" y="127"/>
                </a:cubicBezTo>
                <a:lnTo>
                  <a:pt x="49" y="137"/>
                </a:lnTo>
                <a:close/>
                <a:moveTo>
                  <a:pt x="147" y="121"/>
                </a:moveTo>
                <a:cubicBezTo>
                  <a:pt x="147" y="126"/>
                  <a:pt x="143" y="131"/>
                  <a:pt x="137" y="131"/>
                </a:cubicBezTo>
                <a:cubicBezTo>
                  <a:pt x="121" y="131"/>
                  <a:pt x="121" y="131"/>
                  <a:pt x="121" y="131"/>
                </a:cubicBezTo>
                <a:cubicBezTo>
                  <a:pt x="115" y="131"/>
                  <a:pt x="111" y="126"/>
                  <a:pt x="111" y="121"/>
                </a:cubicBezTo>
                <a:cubicBezTo>
                  <a:pt x="111" y="115"/>
                  <a:pt x="115" y="111"/>
                  <a:pt x="121" y="111"/>
                </a:cubicBezTo>
                <a:cubicBezTo>
                  <a:pt x="147" y="111"/>
                  <a:pt x="147" y="111"/>
                  <a:pt x="147" y="111"/>
                </a:cubicBezTo>
                <a:lnTo>
                  <a:pt x="147" y="121"/>
                </a:lnTo>
                <a:close/>
              </a:path>
            </a:pathLst>
          </a:custGeom>
          <a:solidFill>
            <a:srgbClr val="FFFFFF"/>
          </a:solidFill>
          <a:ln>
            <a:noFill/>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13" name="Freeform 75">
            <a:extLst>
              <a:ext uri="{FF2B5EF4-FFF2-40B4-BE49-F238E27FC236}">
                <a16:creationId xmlns:a16="http://schemas.microsoft.com/office/drawing/2014/main" id="{6870C68F-0310-446C-9BF0-0C44A976C08D}"/>
              </a:ext>
            </a:extLst>
          </p:cNvPr>
          <p:cNvSpPr>
            <a:spLocks noEditPoints="1"/>
          </p:cNvSpPr>
          <p:nvPr/>
        </p:nvSpPr>
        <p:spPr bwMode="auto">
          <a:xfrm>
            <a:off x="4829900" y="4737089"/>
            <a:ext cx="295300" cy="295298"/>
          </a:xfrm>
          <a:custGeom>
            <a:avLst/>
            <a:gdLst>
              <a:gd name="T0" fmla="*/ 409222 w 162"/>
              <a:gd name="T1" fmla="*/ 380882 h 161"/>
              <a:gd name="T2" fmla="*/ 402402 w 162"/>
              <a:gd name="T3" fmla="*/ 374019 h 161"/>
              <a:gd name="T4" fmla="*/ 341019 w 162"/>
              <a:gd name="T5" fmla="*/ 312254 h 161"/>
              <a:gd name="T6" fmla="*/ 225072 w 162"/>
              <a:gd name="T7" fmla="*/ 192157 h 161"/>
              <a:gd name="T8" fmla="*/ 40922 w 162"/>
              <a:gd name="T9" fmla="*/ 10294 h 161"/>
              <a:gd name="T10" fmla="*/ 10231 w 162"/>
              <a:gd name="T11" fmla="*/ 41176 h 161"/>
              <a:gd name="T12" fmla="*/ 184150 w 162"/>
              <a:gd name="T13" fmla="*/ 277941 h 161"/>
              <a:gd name="T14" fmla="*/ 276225 w 162"/>
              <a:gd name="T15" fmla="*/ 370588 h 161"/>
              <a:gd name="T16" fmla="*/ 323968 w 162"/>
              <a:gd name="T17" fmla="*/ 356862 h 161"/>
              <a:gd name="T18" fmla="*/ 283045 w 162"/>
              <a:gd name="T19" fmla="*/ 418627 h 161"/>
              <a:gd name="T20" fmla="*/ 269405 w 162"/>
              <a:gd name="T21" fmla="*/ 418627 h 161"/>
              <a:gd name="T22" fmla="*/ 139818 w 162"/>
              <a:gd name="T23" fmla="*/ 277941 h 161"/>
              <a:gd name="T24" fmla="*/ 139818 w 162"/>
              <a:gd name="T25" fmla="*/ 233333 h 161"/>
              <a:gd name="T26" fmla="*/ 95485 w 162"/>
              <a:gd name="T27" fmla="*/ 233333 h 161"/>
              <a:gd name="T28" fmla="*/ 150048 w 162"/>
              <a:gd name="T29" fmla="*/ 408333 h 161"/>
              <a:gd name="T30" fmla="*/ 255764 w 162"/>
              <a:gd name="T31" fmla="*/ 507842 h 161"/>
              <a:gd name="T32" fmla="*/ 163689 w 162"/>
              <a:gd name="T33" fmla="*/ 531862 h 161"/>
              <a:gd name="T34" fmla="*/ 368300 w 162"/>
              <a:gd name="T35" fmla="*/ 552450 h 161"/>
              <a:gd name="T36" fmla="*/ 368300 w 162"/>
              <a:gd name="T37" fmla="*/ 507842 h 161"/>
              <a:gd name="T38" fmla="*/ 296686 w 162"/>
              <a:gd name="T39" fmla="*/ 459803 h 161"/>
              <a:gd name="T40" fmla="*/ 511528 w 162"/>
              <a:gd name="T41" fmla="*/ 545587 h 161"/>
              <a:gd name="T42" fmla="*/ 542219 w 162"/>
              <a:gd name="T43" fmla="*/ 545587 h 161"/>
              <a:gd name="T44" fmla="*/ 276225 w 162"/>
              <a:gd name="T45" fmla="*/ 325980 h 161"/>
              <a:gd name="T46" fmla="*/ 242123 w 162"/>
              <a:gd name="T47" fmla="*/ 312254 h 161"/>
              <a:gd name="T48" fmla="*/ 228482 w 162"/>
              <a:gd name="T49" fmla="*/ 264215 h 161"/>
              <a:gd name="T50" fmla="*/ 276225 w 162"/>
              <a:gd name="T51" fmla="*/ 325980 h 161"/>
              <a:gd name="T52" fmla="*/ 276225 w 162"/>
              <a:gd name="T53" fmla="*/ 3431 h 161"/>
              <a:gd name="T54" fmla="*/ 341019 w 162"/>
              <a:gd name="T55" fmla="*/ 30882 h 161"/>
              <a:gd name="T56" fmla="*/ 368300 w 162"/>
              <a:gd name="T57" fmla="*/ 216176 h 161"/>
              <a:gd name="T58" fmla="*/ 323968 w 162"/>
              <a:gd name="T59" fmla="*/ 216176 h 161"/>
              <a:gd name="T60" fmla="*/ 310327 w 162"/>
              <a:gd name="T61" fmla="*/ 61765 h 161"/>
              <a:gd name="T62" fmla="*/ 276225 w 162"/>
              <a:gd name="T63" fmla="*/ 48039 h 161"/>
              <a:gd name="T64" fmla="*/ 204611 w 162"/>
              <a:gd name="T65" fmla="*/ 102941 h 161"/>
              <a:gd name="T66" fmla="*/ 412632 w 162"/>
              <a:gd name="T67" fmla="*/ 301960 h 161"/>
              <a:gd name="T68" fmla="*/ 412632 w 162"/>
              <a:gd name="T69" fmla="*/ 233333 h 161"/>
              <a:gd name="T70" fmla="*/ 456965 w 162"/>
              <a:gd name="T71" fmla="*/ 233333 h 161"/>
              <a:gd name="T72" fmla="*/ 453555 w 162"/>
              <a:gd name="T73" fmla="*/ 308823 h 161"/>
              <a:gd name="T74" fmla="*/ 429683 w 162"/>
              <a:gd name="T75" fmla="*/ 329411 h 161"/>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162" h="161">
                <a:moveTo>
                  <a:pt x="159" y="150"/>
                </a:moveTo>
                <a:cubicBezTo>
                  <a:pt x="120" y="111"/>
                  <a:pt x="120" y="111"/>
                  <a:pt x="120" y="111"/>
                </a:cubicBezTo>
                <a:cubicBezTo>
                  <a:pt x="120" y="110"/>
                  <a:pt x="119" y="110"/>
                  <a:pt x="119" y="109"/>
                </a:cubicBezTo>
                <a:cubicBezTo>
                  <a:pt x="119" y="109"/>
                  <a:pt x="118" y="109"/>
                  <a:pt x="118" y="109"/>
                </a:cubicBezTo>
                <a:cubicBezTo>
                  <a:pt x="100" y="91"/>
                  <a:pt x="100" y="91"/>
                  <a:pt x="100" y="91"/>
                </a:cubicBezTo>
                <a:cubicBezTo>
                  <a:pt x="100" y="91"/>
                  <a:pt x="100" y="91"/>
                  <a:pt x="100" y="91"/>
                </a:cubicBezTo>
                <a:cubicBezTo>
                  <a:pt x="100" y="91"/>
                  <a:pt x="100" y="91"/>
                  <a:pt x="100" y="91"/>
                </a:cubicBezTo>
                <a:cubicBezTo>
                  <a:pt x="66" y="56"/>
                  <a:pt x="66" y="56"/>
                  <a:pt x="66" y="56"/>
                </a:cubicBezTo>
                <a:cubicBezTo>
                  <a:pt x="66" y="56"/>
                  <a:pt x="66" y="56"/>
                  <a:pt x="65" y="56"/>
                </a:cubicBezTo>
                <a:cubicBezTo>
                  <a:pt x="12" y="3"/>
                  <a:pt x="12" y="3"/>
                  <a:pt x="12" y="3"/>
                </a:cubicBezTo>
                <a:cubicBezTo>
                  <a:pt x="10" y="0"/>
                  <a:pt x="5" y="0"/>
                  <a:pt x="3" y="3"/>
                </a:cubicBezTo>
                <a:cubicBezTo>
                  <a:pt x="0" y="5"/>
                  <a:pt x="0" y="10"/>
                  <a:pt x="3" y="12"/>
                </a:cubicBezTo>
                <a:cubicBezTo>
                  <a:pt x="54" y="64"/>
                  <a:pt x="54" y="64"/>
                  <a:pt x="54" y="64"/>
                </a:cubicBezTo>
                <a:cubicBezTo>
                  <a:pt x="54" y="81"/>
                  <a:pt x="54" y="81"/>
                  <a:pt x="54" y="81"/>
                </a:cubicBezTo>
                <a:cubicBezTo>
                  <a:pt x="54" y="88"/>
                  <a:pt x="57" y="95"/>
                  <a:pt x="62" y="100"/>
                </a:cubicBezTo>
                <a:cubicBezTo>
                  <a:pt x="67" y="105"/>
                  <a:pt x="74" y="108"/>
                  <a:pt x="81" y="108"/>
                </a:cubicBezTo>
                <a:cubicBezTo>
                  <a:pt x="81" y="108"/>
                  <a:pt x="81" y="108"/>
                  <a:pt x="81" y="108"/>
                </a:cubicBezTo>
                <a:cubicBezTo>
                  <a:pt x="86" y="108"/>
                  <a:pt x="91" y="106"/>
                  <a:pt x="95" y="104"/>
                </a:cubicBezTo>
                <a:cubicBezTo>
                  <a:pt x="105" y="114"/>
                  <a:pt x="105" y="114"/>
                  <a:pt x="105" y="114"/>
                </a:cubicBezTo>
                <a:cubicBezTo>
                  <a:pt x="98" y="119"/>
                  <a:pt x="90" y="121"/>
                  <a:pt x="83" y="122"/>
                </a:cubicBezTo>
                <a:cubicBezTo>
                  <a:pt x="82" y="121"/>
                  <a:pt x="82" y="121"/>
                  <a:pt x="81" y="121"/>
                </a:cubicBezTo>
                <a:cubicBezTo>
                  <a:pt x="80" y="121"/>
                  <a:pt x="80" y="121"/>
                  <a:pt x="79" y="122"/>
                </a:cubicBezTo>
                <a:cubicBezTo>
                  <a:pt x="70" y="121"/>
                  <a:pt x="60" y="117"/>
                  <a:pt x="53" y="110"/>
                </a:cubicBezTo>
                <a:cubicBezTo>
                  <a:pt x="45" y="103"/>
                  <a:pt x="41" y="92"/>
                  <a:pt x="41" y="81"/>
                </a:cubicBezTo>
                <a:cubicBezTo>
                  <a:pt x="41" y="81"/>
                  <a:pt x="41" y="81"/>
                  <a:pt x="41" y="81"/>
                </a:cubicBezTo>
                <a:cubicBezTo>
                  <a:pt x="41" y="68"/>
                  <a:pt x="41" y="68"/>
                  <a:pt x="41" y="68"/>
                </a:cubicBezTo>
                <a:cubicBezTo>
                  <a:pt x="41" y="64"/>
                  <a:pt x="38" y="61"/>
                  <a:pt x="34" y="61"/>
                </a:cubicBezTo>
                <a:cubicBezTo>
                  <a:pt x="31" y="61"/>
                  <a:pt x="28" y="64"/>
                  <a:pt x="28" y="68"/>
                </a:cubicBezTo>
                <a:cubicBezTo>
                  <a:pt x="28" y="81"/>
                  <a:pt x="28" y="81"/>
                  <a:pt x="28" y="81"/>
                </a:cubicBezTo>
                <a:cubicBezTo>
                  <a:pt x="28" y="95"/>
                  <a:pt x="33" y="109"/>
                  <a:pt x="44" y="119"/>
                </a:cubicBezTo>
                <a:cubicBezTo>
                  <a:pt x="52" y="128"/>
                  <a:pt x="63" y="133"/>
                  <a:pt x="75" y="134"/>
                </a:cubicBezTo>
                <a:cubicBezTo>
                  <a:pt x="75" y="148"/>
                  <a:pt x="75" y="148"/>
                  <a:pt x="75" y="148"/>
                </a:cubicBezTo>
                <a:cubicBezTo>
                  <a:pt x="54" y="148"/>
                  <a:pt x="54" y="148"/>
                  <a:pt x="54" y="148"/>
                </a:cubicBezTo>
                <a:cubicBezTo>
                  <a:pt x="51" y="148"/>
                  <a:pt x="48" y="151"/>
                  <a:pt x="48" y="155"/>
                </a:cubicBezTo>
                <a:cubicBezTo>
                  <a:pt x="48" y="158"/>
                  <a:pt x="51" y="161"/>
                  <a:pt x="54" y="161"/>
                </a:cubicBezTo>
                <a:cubicBezTo>
                  <a:pt x="108" y="161"/>
                  <a:pt x="108" y="161"/>
                  <a:pt x="108" y="161"/>
                </a:cubicBezTo>
                <a:cubicBezTo>
                  <a:pt x="111" y="161"/>
                  <a:pt x="114" y="158"/>
                  <a:pt x="114" y="155"/>
                </a:cubicBezTo>
                <a:cubicBezTo>
                  <a:pt x="114" y="151"/>
                  <a:pt x="111" y="148"/>
                  <a:pt x="108" y="148"/>
                </a:cubicBezTo>
                <a:cubicBezTo>
                  <a:pt x="87" y="148"/>
                  <a:pt x="87" y="148"/>
                  <a:pt x="87" y="148"/>
                </a:cubicBezTo>
                <a:cubicBezTo>
                  <a:pt x="87" y="134"/>
                  <a:pt x="87" y="134"/>
                  <a:pt x="87" y="134"/>
                </a:cubicBezTo>
                <a:cubicBezTo>
                  <a:pt x="97" y="133"/>
                  <a:pt x="106" y="129"/>
                  <a:pt x="114" y="123"/>
                </a:cubicBezTo>
                <a:cubicBezTo>
                  <a:pt x="150" y="159"/>
                  <a:pt x="150" y="159"/>
                  <a:pt x="150" y="159"/>
                </a:cubicBezTo>
                <a:cubicBezTo>
                  <a:pt x="151" y="160"/>
                  <a:pt x="153" y="161"/>
                  <a:pt x="155" y="161"/>
                </a:cubicBezTo>
                <a:cubicBezTo>
                  <a:pt x="156" y="161"/>
                  <a:pt x="158" y="160"/>
                  <a:pt x="159" y="159"/>
                </a:cubicBezTo>
                <a:cubicBezTo>
                  <a:pt x="162" y="157"/>
                  <a:pt x="162" y="152"/>
                  <a:pt x="159" y="150"/>
                </a:cubicBezTo>
                <a:close/>
                <a:moveTo>
                  <a:pt x="81" y="95"/>
                </a:moveTo>
                <a:cubicBezTo>
                  <a:pt x="81" y="95"/>
                  <a:pt x="81" y="95"/>
                  <a:pt x="81" y="95"/>
                </a:cubicBezTo>
                <a:cubicBezTo>
                  <a:pt x="77" y="95"/>
                  <a:pt x="74" y="93"/>
                  <a:pt x="71" y="91"/>
                </a:cubicBezTo>
                <a:cubicBezTo>
                  <a:pt x="69" y="88"/>
                  <a:pt x="67" y="85"/>
                  <a:pt x="67" y="81"/>
                </a:cubicBezTo>
                <a:cubicBezTo>
                  <a:pt x="67" y="77"/>
                  <a:pt x="67" y="77"/>
                  <a:pt x="67" y="77"/>
                </a:cubicBezTo>
                <a:cubicBezTo>
                  <a:pt x="85" y="94"/>
                  <a:pt x="85" y="94"/>
                  <a:pt x="85" y="94"/>
                </a:cubicBezTo>
                <a:cubicBezTo>
                  <a:pt x="84" y="94"/>
                  <a:pt x="82" y="95"/>
                  <a:pt x="81" y="95"/>
                </a:cubicBezTo>
                <a:close/>
                <a:moveTo>
                  <a:pt x="55" y="22"/>
                </a:moveTo>
                <a:cubicBezTo>
                  <a:pt x="58" y="10"/>
                  <a:pt x="68" y="1"/>
                  <a:pt x="81" y="1"/>
                </a:cubicBezTo>
                <a:cubicBezTo>
                  <a:pt x="81" y="1"/>
                  <a:pt x="81" y="1"/>
                  <a:pt x="81" y="1"/>
                </a:cubicBezTo>
                <a:cubicBezTo>
                  <a:pt x="88" y="1"/>
                  <a:pt x="95" y="4"/>
                  <a:pt x="100" y="9"/>
                </a:cubicBezTo>
                <a:cubicBezTo>
                  <a:pt x="105" y="14"/>
                  <a:pt x="108" y="20"/>
                  <a:pt x="108" y="28"/>
                </a:cubicBezTo>
                <a:cubicBezTo>
                  <a:pt x="108" y="63"/>
                  <a:pt x="108" y="63"/>
                  <a:pt x="108" y="63"/>
                </a:cubicBezTo>
                <a:cubicBezTo>
                  <a:pt x="108" y="67"/>
                  <a:pt x="105" y="70"/>
                  <a:pt x="101" y="70"/>
                </a:cubicBezTo>
                <a:cubicBezTo>
                  <a:pt x="97" y="70"/>
                  <a:pt x="95" y="67"/>
                  <a:pt x="95" y="63"/>
                </a:cubicBezTo>
                <a:cubicBezTo>
                  <a:pt x="95" y="28"/>
                  <a:pt x="95" y="28"/>
                  <a:pt x="95" y="28"/>
                </a:cubicBezTo>
                <a:cubicBezTo>
                  <a:pt x="95" y="24"/>
                  <a:pt x="93" y="20"/>
                  <a:pt x="91" y="18"/>
                </a:cubicBezTo>
                <a:cubicBezTo>
                  <a:pt x="88" y="15"/>
                  <a:pt x="85" y="14"/>
                  <a:pt x="81" y="14"/>
                </a:cubicBezTo>
                <a:cubicBezTo>
                  <a:pt x="81" y="14"/>
                  <a:pt x="81" y="14"/>
                  <a:pt x="81" y="14"/>
                </a:cubicBezTo>
                <a:cubicBezTo>
                  <a:pt x="75" y="14"/>
                  <a:pt x="69" y="19"/>
                  <a:pt x="68" y="25"/>
                </a:cubicBezTo>
                <a:cubicBezTo>
                  <a:pt x="67" y="28"/>
                  <a:pt x="64" y="31"/>
                  <a:pt x="60" y="30"/>
                </a:cubicBezTo>
                <a:cubicBezTo>
                  <a:pt x="57" y="29"/>
                  <a:pt x="54" y="26"/>
                  <a:pt x="55" y="22"/>
                </a:cubicBezTo>
                <a:close/>
                <a:moveTo>
                  <a:pt x="121" y="88"/>
                </a:moveTo>
                <a:cubicBezTo>
                  <a:pt x="121" y="86"/>
                  <a:pt x="121" y="83"/>
                  <a:pt x="121" y="81"/>
                </a:cubicBezTo>
                <a:cubicBezTo>
                  <a:pt x="121" y="68"/>
                  <a:pt x="121" y="68"/>
                  <a:pt x="121" y="68"/>
                </a:cubicBezTo>
                <a:cubicBezTo>
                  <a:pt x="121" y="64"/>
                  <a:pt x="124" y="61"/>
                  <a:pt x="128" y="61"/>
                </a:cubicBezTo>
                <a:cubicBezTo>
                  <a:pt x="131" y="61"/>
                  <a:pt x="134" y="64"/>
                  <a:pt x="134" y="68"/>
                </a:cubicBezTo>
                <a:cubicBezTo>
                  <a:pt x="134" y="81"/>
                  <a:pt x="134" y="81"/>
                  <a:pt x="134" y="81"/>
                </a:cubicBezTo>
                <a:cubicBezTo>
                  <a:pt x="134" y="84"/>
                  <a:pt x="134" y="87"/>
                  <a:pt x="133" y="90"/>
                </a:cubicBezTo>
                <a:cubicBezTo>
                  <a:pt x="133" y="94"/>
                  <a:pt x="130" y="96"/>
                  <a:pt x="127" y="96"/>
                </a:cubicBezTo>
                <a:cubicBezTo>
                  <a:pt x="127" y="96"/>
                  <a:pt x="126" y="96"/>
                  <a:pt x="126" y="96"/>
                </a:cubicBezTo>
                <a:cubicBezTo>
                  <a:pt x="122" y="95"/>
                  <a:pt x="120" y="92"/>
                  <a:pt x="121" y="88"/>
                </a:cubicBezTo>
                <a:close/>
              </a:path>
            </a:pathLst>
          </a:custGeom>
          <a:solidFill>
            <a:srgbClr val="FFFFFF"/>
          </a:solidFill>
          <a:ln>
            <a:noFill/>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14" name="Freeform 61">
            <a:extLst>
              <a:ext uri="{FF2B5EF4-FFF2-40B4-BE49-F238E27FC236}">
                <a16:creationId xmlns:a16="http://schemas.microsoft.com/office/drawing/2014/main" id="{769E3A01-062D-4A88-9CB2-12040F312184}"/>
              </a:ext>
            </a:extLst>
          </p:cNvPr>
          <p:cNvSpPr>
            <a:spLocks noEditPoints="1"/>
          </p:cNvSpPr>
          <p:nvPr/>
        </p:nvSpPr>
        <p:spPr bwMode="auto">
          <a:xfrm>
            <a:off x="7114950" y="2837395"/>
            <a:ext cx="274890" cy="277280"/>
          </a:xfrm>
          <a:custGeom>
            <a:avLst/>
            <a:gdLst>
              <a:gd name="T0" fmla="*/ 540884 w 161"/>
              <a:gd name="T1" fmla="*/ 137255 h 161"/>
              <a:gd name="T2" fmla="*/ 445634 w 161"/>
              <a:gd name="T3" fmla="*/ 233333 h 161"/>
              <a:gd name="T4" fmla="*/ 415018 w 161"/>
              <a:gd name="T5" fmla="*/ 233333 h 161"/>
              <a:gd name="T6" fmla="*/ 472849 w 161"/>
              <a:gd name="T7" fmla="*/ 144117 h 161"/>
              <a:gd name="T8" fmla="*/ 312965 w 161"/>
              <a:gd name="T9" fmla="*/ 123529 h 161"/>
              <a:gd name="T10" fmla="*/ 472849 w 161"/>
              <a:gd name="T11" fmla="*/ 99510 h 161"/>
              <a:gd name="T12" fmla="*/ 415018 w 161"/>
              <a:gd name="T13" fmla="*/ 10294 h 161"/>
              <a:gd name="T14" fmla="*/ 540884 w 161"/>
              <a:gd name="T15" fmla="*/ 106372 h 161"/>
              <a:gd name="T16" fmla="*/ 544286 w 161"/>
              <a:gd name="T17" fmla="*/ 109804 h 161"/>
              <a:gd name="T18" fmla="*/ 544286 w 161"/>
              <a:gd name="T19" fmla="*/ 116666 h 161"/>
              <a:gd name="T20" fmla="*/ 547688 w 161"/>
              <a:gd name="T21" fmla="*/ 123529 h 161"/>
              <a:gd name="T22" fmla="*/ 547688 w 161"/>
              <a:gd name="T23" fmla="*/ 123529 h 161"/>
              <a:gd name="T24" fmla="*/ 547688 w 161"/>
              <a:gd name="T25" fmla="*/ 126961 h 161"/>
              <a:gd name="T26" fmla="*/ 544286 w 161"/>
              <a:gd name="T27" fmla="*/ 130392 h 161"/>
              <a:gd name="T28" fmla="*/ 544286 w 161"/>
              <a:gd name="T29" fmla="*/ 133823 h 161"/>
              <a:gd name="T30" fmla="*/ 523875 w 161"/>
              <a:gd name="T31" fmla="*/ 480391 h 161"/>
              <a:gd name="T32" fmla="*/ 452438 w 161"/>
              <a:gd name="T33" fmla="*/ 552450 h 161"/>
              <a:gd name="T34" fmla="*/ 445634 w 161"/>
              <a:gd name="T35" fmla="*/ 552450 h 161"/>
              <a:gd name="T36" fmla="*/ 81643 w 161"/>
              <a:gd name="T37" fmla="*/ 322548 h 161"/>
              <a:gd name="T38" fmla="*/ 3402 w 161"/>
              <a:gd name="T39" fmla="*/ 102941 h 161"/>
              <a:gd name="T40" fmla="*/ 74839 w 161"/>
              <a:gd name="T41" fmla="*/ 27451 h 161"/>
              <a:gd name="T42" fmla="*/ 214313 w 161"/>
              <a:gd name="T43" fmla="*/ 89216 h 161"/>
              <a:gd name="T44" fmla="*/ 231322 w 161"/>
              <a:gd name="T45" fmla="*/ 150980 h 161"/>
              <a:gd name="T46" fmla="*/ 214313 w 161"/>
              <a:gd name="T47" fmla="*/ 226470 h 161"/>
              <a:gd name="T48" fmla="*/ 309563 w 161"/>
              <a:gd name="T49" fmla="*/ 356862 h 161"/>
              <a:gd name="T50" fmla="*/ 326572 w 161"/>
              <a:gd name="T51" fmla="*/ 339705 h 161"/>
              <a:gd name="T52" fmla="*/ 462643 w 161"/>
              <a:gd name="T53" fmla="*/ 339705 h 161"/>
              <a:gd name="T54" fmla="*/ 523875 w 161"/>
              <a:gd name="T55" fmla="*/ 408333 h 161"/>
              <a:gd name="T56" fmla="*/ 455840 w 161"/>
              <a:gd name="T57" fmla="*/ 380882 h 161"/>
              <a:gd name="T58" fmla="*/ 357188 w 161"/>
              <a:gd name="T59" fmla="*/ 370588 h 161"/>
              <a:gd name="T60" fmla="*/ 299357 w 161"/>
              <a:gd name="T61" fmla="*/ 404901 h 161"/>
              <a:gd name="T62" fmla="*/ 153080 w 161"/>
              <a:gd name="T63" fmla="*/ 226470 h 161"/>
              <a:gd name="T64" fmla="*/ 190500 w 161"/>
              <a:gd name="T65" fmla="*/ 168137 h 161"/>
              <a:gd name="T66" fmla="*/ 146277 w 161"/>
              <a:gd name="T67" fmla="*/ 72059 h 161"/>
              <a:gd name="T68" fmla="*/ 74839 w 161"/>
              <a:gd name="T69" fmla="*/ 72059 h 161"/>
              <a:gd name="T70" fmla="*/ 47625 w 161"/>
              <a:gd name="T71" fmla="*/ 99510 h 161"/>
              <a:gd name="T72" fmla="*/ 119063 w 161"/>
              <a:gd name="T73" fmla="*/ 298529 h 161"/>
              <a:gd name="T74" fmla="*/ 255134 w 161"/>
              <a:gd name="T75" fmla="*/ 435784 h 161"/>
              <a:gd name="T76" fmla="*/ 452438 w 161"/>
              <a:gd name="T77" fmla="*/ 507842 h 161"/>
              <a:gd name="T78" fmla="*/ 479652 w 161"/>
              <a:gd name="T79" fmla="*/ 408333 h 161"/>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161" h="161">
                <a:moveTo>
                  <a:pt x="160" y="39"/>
                </a:moveTo>
                <a:cubicBezTo>
                  <a:pt x="159" y="39"/>
                  <a:pt x="159" y="40"/>
                  <a:pt x="159" y="40"/>
                </a:cubicBezTo>
                <a:cubicBezTo>
                  <a:pt x="159" y="40"/>
                  <a:pt x="159" y="40"/>
                  <a:pt x="159" y="40"/>
                </a:cubicBezTo>
                <a:cubicBezTo>
                  <a:pt x="131" y="68"/>
                  <a:pt x="131" y="68"/>
                  <a:pt x="131" y="68"/>
                </a:cubicBezTo>
                <a:cubicBezTo>
                  <a:pt x="129" y="70"/>
                  <a:pt x="128" y="70"/>
                  <a:pt x="126" y="70"/>
                </a:cubicBezTo>
                <a:cubicBezTo>
                  <a:pt x="124" y="70"/>
                  <a:pt x="123" y="70"/>
                  <a:pt x="122" y="68"/>
                </a:cubicBezTo>
                <a:cubicBezTo>
                  <a:pt x="119" y="66"/>
                  <a:pt x="119" y="62"/>
                  <a:pt x="122" y="59"/>
                </a:cubicBezTo>
                <a:cubicBezTo>
                  <a:pt x="139" y="42"/>
                  <a:pt x="139" y="42"/>
                  <a:pt x="139" y="42"/>
                </a:cubicBezTo>
                <a:cubicBezTo>
                  <a:pt x="98" y="42"/>
                  <a:pt x="98" y="42"/>
                  <a:pt x="98" y="42"/>
                </a:cubicBezTo>
                <a:cubicBezTo>
                  <a:pt x="94" y="42"/>
                  <a:pt x="92" y="39"/>
                  <a:pt x="92" y="36"/>
                </a:cubicBezTo>
                <a:cubicBezTo>
                  <a:pt x="92" y="32"/>
                  <a:pt x="94" y="29"/>
                  <a:pt x="98" y="29"/>
                </a:cubicBezTo>
                <a:cubicBezTo>
                  <a:pt x="139" y="29"/>
                  <a:pt x="139" y="29"/>
                  <a:pt x="139" y="29"/>
                </a:cubicBezTo>
                <a:cubicBezTo>
                  <a:pt x="122" y="12"/>
                  <a:pt x="122" y="12"/>
                  <a:pt x="122" y="12"/>
                </a:cubicBezTo>
                <a:cubicBezTo>
                  <a:pt x="119" y="10"/>
                  <a:pt x="119" y="5"/>
                  <a:pt x="122" y="3"/>
                </a:cubicBezTo>
                <a:cubicBezTo>
                  <a:pt x="124" y="0"/>
                  <a:pt x="128" y="0"/>
                  <a:pt x="131" y="3"/>
                </a:cubicBezTo>
                <a:cubicBezTo>
                  <a:pt x="159" y="31"/>
                  <a:pt x="159" y="31"/>
                  <a:pt x="159" y="31"/>
                </a:cubicBezTo>
                <a:cubicBezTo>
                  <a:pt x="159" y="31"/>
                  <a:pt x="159" y="32"/>
                  <a:pt x="160" y="32"/>
                </a:cubicBezTo>
                <a:cubicBezTo>
                  <a:pt x="160" y="32"/>
                  <a:pt x="160" y="32"/>
                  <a:pt x="160" y="32"/>
                </a:cubicBezTo>
                <a:cubicBezTo>
                  <a:pt x="160" y="33"/>
                  <a:pt x="160" y="33"/>
                  <a:pt x="160" y="33"/>
                </a:cubicBezTo>
                <a:cubicBezTo>
                  <a:pt x="160" y="33"/>
                  <a:pt x="160" y="33"/>
                  <a:pt x="160" y="34"/>
                </a:cubicBezTo>
                <a:cubicBezTo>
                  <a:pt x="160" y="34"/>
                  <a:pt x="161" y="34"/>
                  <a:pt x="161" y="34"/>
                </a:cubicBezTo>
                <a:cubicBezTo>
                  <a:pt x="161" y="35"/>
                  <a:pt x="161" y="35"/>
                  <a:pt x="161" y="36"/>
                </a:cubicBezTo>
                <a:cubicBezTo>
                  <a:pt x="161" y="36"/>
                  <a:pt x="161" y="36"/>
                  <a:pt x="161" y="36"/>
                </a:cubicBezTo>
                <a:cubicBezTo>
                  <a:pt x="161" y="36"/>
                  <a:pt x="161" y="36"/>
                  <a:pt x="161" y="36"/>
                </a:cubicBezTo>
                <a:cubicBezTo>
                  <a:pt x="161" y="36"/>
                  <a:pt x="161" y="36"/>
                  <a:pt x="161" y="36"/>
                </a:cubicBezTo>
                <a:cubicBezTo>
                  <a:pt x="161" y="36"/>
                  <a:pt x="161" y="36"/>
                  <a:pt x="161" y="37"/>
                </a:cubicBezTo>
                <a:cubicBezTo>
                  <a:pt x="161" y="37"/>
                  <a:pt x="160" y="37"/>
                  <a:pt x="160" y="38"/>
                </a:cubicBezTo>
                <a:cubicBezTo>
                  <a:pt x="160" y="38"/>
                  <a:pt x="160" y="38"/>
                  <a:pt x="160" y="38"/>
                </a:cubicBezTo>
                <a:cubicBezTo>
                  <a:pt x="160" y="38"/>
                  <a:pt x="160" y="39"/>
                  <a:pt x="160" y="39"/>
                </a:cubicBezTo>
                <a:cubicBezTo>
                  <a:pt x="160" y="39"/>
                  <a:pt x="160" y="39"/>
                  <a:pt x="160" y="39"/>
                </a:cubicBezTo>
                <a:close/>
                <a:moveTo>
                  <a:pt x="154" y="119"/>
                </a:moveTo>
                <a:cubicBezTo>
                  <a:pt x="154" y="140"/>
                  <a:pt x="154" y="140"/>
                  <a:pt x="154" y="140"/>
                </a:cubicBezTo>
                <a:cubicBezTo>
                  <a:pt x="154" y="152"/>
                  <a:pt x="145" y="161"/>
                  <a:pt x="133" y="161"/>
                </a:cubicBezTo>
                <a:cubicBezTo>
                  <a:pt x="133" y="161"/>
                  <a:pt x="133" y="161"/>
                  <a:pt x="133" y="161"/>
                </a:cubicBezTo>
                <a:cubicBezTo>
                  <a:pt x="133" y="161"/>
                  <a:pt x="132" y="161"/>
                  <a:pt x="131" y="161"/>
                </a:cubicBezTo>
                <a:cubicBezTo>
                  <a:pt x="131" y="161"/>
                  <a:pt x="131" y="161"/>
                  <a:pt x="131" y="161"/>
                </a:cubicBezTo>
                <a:cubicBezTo>
                  <a:pt x="109" y="158"/>
                  <a:pt x="87" y="151"/>
                  <a:pt x="68" y="138"/>
                </a:cubicBezTo>
                <a:cubicBezTo>
                  <a:pt x="50" y="127"/>
                  <a:pt x="35" y="112"/>
                  <a:pt x="24" y="94"/>
                </a:cubicBezTo>
                <a:cubicBezTo>
                  <a:pt x="11" y="75"/>
                  <a:pt x="3" y="53"/>
                  <a:pt x="1" y="30"/>
                </a:cubicBezTo>
                <a:cubicBezTo>
                  <a:pt x="1" y="30"/>
                  <a:pt x="1" y="30"/>
                  <a:pt x="1" y="30"/>
                </a:cubicBezTo>
                <a:cubicBezTo>
                  <a:pt x="0" y="19"/>
                  <a:pt x="8" y="9"/>
                  <a:pt x="20" y="8"/>
                </a:cubicBezTo>
                <a:cubicBezTo>
                  <a:pt x="20" y="8"/>
                  <a:pt x="21" y="8"/>
                  <a:pt x="22" y="8"/>
                </a:cubicBezTo>
                <a:cubicBezTo>
                  <a:pt x="43" y="8"/>
                  <a:pt x="43" y="8"/>
                  <a:pt x="43" y="8"/>
                </a:cubicBezTo>
                <a:cubicBezTo>
                  <a:pt x="53" y="8"/>
                  <a:pt x="62" y="16"/>
                  <a:pt x="63" y="26"/>
                </a:cubicBezTo>
                <a:cubicBezTo>
                  <a:pt x="63" y="26"/>
                  <a:pt x="63" y="26"/>
                  <a:pt x="63" y="26"/>
                </a:cubicBezTo>
                <a:cubicBezTo>
                  <a:pt x="64" y="32"/>
                  <a:pt x="65" y="38"/>
                  <a:pt x="68" y="44"/>
                </a:cubicBezTo>
                <a:cubicBezTo>
                  <a:pt x="70" y="52"/>
                  <a:pt x="69" y="60"/>
                  <a:pt x="63" y="66"/>
                </a:cubicBezTo>
                <a:cubicBezTo>
                  <a:pt x="63" y="66"/>
                  <a:pt x="63" y="66"/>
                  <a:pt x="63" y="66"/>
                </a:cubicBezTo>
                <a:cubicBezTo>
                  <a:pt x="58" y="71"/>
                  <a:pt x="58" y="71"/>
                  <a:pt x="58" y="71"/>
                </a:cubicBezTo>
                <a:cubicBezTo>
                  <a:pt x="66" y="84"/>
                  <a:pt x="77" y="96"/>
                  <a:pt x="91" y="104"/>
                </a:cubicBezTo>
                <a:cubicBezTo>
                  <a:pt x="96" y="99"/>
                  <a:pt x="96" y="99"/>
                  <a:pt x="96" y="99"/>
                </a:cubicBezTo>
                <a:cubicBezTo>
                  <a:pt x="96" y="99"/>
                  <a:pt x="96" y="99"/>
                  <a:pt x="96" y="99"/>
                </a:cubicBezTo>
                <a:cubicBezTo>
                  <a:pt x="102" y="93"/>
                  <a:pt x="110" y="91"/>
                  <a:pt x="118" y="94"/>
                </a:cubicBezTo>
                <a:cubicBezTo>
                  <a:pt x="124" y="96"/>
                  <a:pt x="130" y="98"/>
                  <a:pt x="136" y="99"/>
                </a:cubicBezTo>
                <a:cubicBezTo>
                  <a:pt x="136" y="99"/>
                  <a:pt x="136" y="99"/>
                  <a:pt x="136" y="99"/>
                </a:cubicBezTo>
                <a:cubicBezTo>
                  <a:pt x="146" y="100"/>
                  <a:pt x="154" y="109"/>
                  <a:pt x="154" y="119"/>
                </a:cubicBezTo>
                <a:close/>
                <a:moveTo>
                  <a:pt x="141" y="119"/>
                </a:moveTo>
                <a:cubicBezTo>
                  <a:pt x="141" y="115"/>
                  <a:pt x="138" y="112"/>
                  <a:pt x="134" y="111"/>
                </a:cubicBezTo>
                <a:cubicBezTo>
                  <a:pt x="127" y="111"/>
                  <a:pt x="120" y="109"/>
                  <a:pt x="113" y="106"/>
                </a:cubicBezTo>
                <a:cubicBezTo>
                  <a:pt x="110" y="105"/>
                  <a:pt x="107" y="106"/>
                  <a:pt x="105" y="108"/>
                </a:cubicBezTo>
                <a:cubicBezTo>
                  <a:pt x="96" y="117"/>
                  <a:pt x="96" y="117"/>
                  <a:pt x="96" y="117"/>
                </a:cubicBezTo>
                <a:cubicBezTo>
                  <a:pt x="94" y="119"/>
                  <a:pt x="91" y="119"/>
                  <a:pt x="88" y="118"/>
                </a:cubicBezTo>
                <a:cubicBezTo>
                  <a:pt x="70" y="107"/>
                  <a:pt x="54" y="92"/>
                  <a:pt x="44" y="73"/>
                </a:cubicBezTo>
                <a:cubicBezTo>
                  <a:pt x="42" y="71"/>
                  <a:pt x="43" y="68"/>
                  <a:pt x="45" y="66"/>
                </a:cubicBezTo>
                <a:cubicBezTo>
                  <a:pt x="54" y="57"/>
                  <a:pt x="54" y="57"/>
                  <a:pt x="54" y="57"/>
                </a:cubicBezTo>
                <a:cubicBezTo>
                  <a:pt x="56" y="54"/>
                  <a:pt x="57" y="51"/>
                  <a:pt x="56" y="49"/>
                </a:cubicBezTo>
                <a:cubicBezTo>
                  <a:pt x="53" y="42"/>
                  <a:pt x="51" y="35"/>
                  <a:pt x="50" y="27"/>
                </a:cubicBezTo>
                <a:cubicBezTo>
                  <a:pt x="50" y="24"/>
                  <a:pt x="46" y="21"/>
                  <a:pt x="43" y="21"/>
                </a:cubicBezTo>
                <a:cubicBezTo>
                  <a:pt x="43" y="21"/>
                  <a:pt x="43" y="21"/>
                  <a:pt x="43" y="21"/>
                </a:cubicBezTo>
                <a:cubicBezTo>
                  <a:pt x="22" y="21"/>
                  <a:pt x="22" y="21"/>
                  <a:pt x="22" y="21"/>
                </a:cubicBezTo>
                <a:cubicBezTo>
                  <a:pt x="21" y="21"/>
                  <a:pt x="21" y="21"/>
                  <a:pt x="21" y="21"/>
                </a:cubicBezTo>
                <a:cubicBezTo>
                  <a:pt x="17" y="21"/>
                  <a:pt x="14" y="25"/>
                  <a:pt x="14" y="29"/>
                </a:cubicBezTo>
                <a:cubicBezTo>
                  <a:pt x="16" y="50"/>
                  <a:pt x="23" y="70"/>
                  <a:pt x="35" y="87"/>
                </a:cubicBezTo>
                <a:cubicBezTo>
                  <a:pt x="35" y="87"/>
                  <a:pt x="35" y="87"/>
                  <a:pt x="35" y="87"/>
                </a:cubicBezTo>
                <a:cubicBezTo>
                  <a:pt x="45" y="103"/>
                  <a:pt x="59" y="117"/>
                  <a:pt x="75" y="127"/>
                </a:cubicBezTo>
                <a:cubicBezTo>
                  <a:pt x="75" y="127"/>
                  <a:pt x="75" y="127"/>
                  <a:pt x="75" y="127"/>
                </a:cubicBezTo>
                <a:cubicBezTo>
                  <a:pt x="92" y="139"/>
                  <a:pt x="112" y="146"/>
                  <a:pt x="133" y="148"/>
                </a:cubicBezTo>
                <a:cubicBezTo>
                  <a:pt x="133" y="148"/>
                  <a:pt x="133" y="148"/>
                  <a:pt x="133" y="148"/>
                </a:cubicBezTo>
                <a:cubicBezTo>
                  <a:pt x="137" y="148"/>
                  <a:pt x="141" y="145"/>
                  <a:pt x="141" y="140"/>
                </a:cubicBezTo>
                <a:cubicBezTo>
                  <a:pt x="141" y="119"/>
                  <a:pt x="141" y="119"/>
                  <a:pt x="141" y="119"/>
                </a:cubicBezTo>
                <a:cubicBezTo>
                  <a:pt x="141" y="119"/>
                  <a:pt x="141" y="119"/>
                  <a:pt x="141" y="119"/>
                </a:cubicBezTo>
                <a:close/>
              </a:path>
            </a:pathLst>
          </a:custGeom>
          <a:solidFill>
            <a:srgbClr val="FFFFFF"/>
          </a:solidFill>
          <a:ln>
            <a:noFill/>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HarmonyOS Sans SC"/>
              <a:cs typeface="+mn-cs"/>
            </a:endParaRPr>
          </a:p>
        </p:txBody>
      </p:sp>
      <p:sp>
        <p:nvSpPr>
          <p:cNvPr id="15" name="Freeform 101">
            <a:extLst>
              <a:ext uri="{FF2B5EF4-FFF2-40B4-BE49-F238E27FC236}">
                <a16:creationId xmlns:a16="http://schemas.microsoft.com/office/drawing/2014/main" id="{1D1C3B00-E768-4D12-984F-185786724DAB}"/>
              </a:ext>
            </a:extLst>
          </p:cNvPr>
          <p:cNvSpPr>
            <a:spLocks noEditPoints="1"/>
          </p:cNvSpPr>
          <p:nvPr/>
        </p:nvSpPr>
        <p:spPr bwMode="auto">
          <a:xfrm>
            <a:off x="6936851" y="4903788"/>
            <a:ext cx="275686" cy="275686"/>
          </a:xfrm>
          <a:custGeom>
            <a:avLst/>
            <a:gdLst>
              <a:gd name="T0" fmla="*/ 498100 w 161"/>
              <a:gd name="T1" fmla="*/ 51495 h 160"/>
              <a:gd name="T2" fmla="*/ 375281 w 161"/>
              <a:gd name="T3" fmla="*/ 0 h 160"/>
              <a:gd name="T4" fmla="*/ 255873 w 161"/>
              <a:gd name="T5" fmla="*/ 51495 h 160"/>
              <a:gd name="T6" fmla="*/ 85291 w 161"/>
              <a:gd name="T7" fmla="*/ 219710 h 160"/>
              <a:gd name="T8" fmla="*/ 78468 w 161"/>
              <a:gd name="T9" fmla="*/ 236875 h 160"/>
              <a:gd name="T10" fmla="*/ 78468 w 161"/>
              <a:gd name="T11" fmla="*/ 442853 h 160"/>
              <a:gd name="T12" fmla="*/ 10235 w 161"/>
              <a:gd name="T13" fmla="*/ 511512 h 160"/>
              <a:gd name="T14" fmla="*/ 10235 w 161"/>
              <a:gd name="T15" fmla="*/ 542409 h 160"/>
              <a:gd name="T16" fmla="*/ 23882 w 161"/>
              <a:gd name="T17" fmla="*/ 549275 h 160"/>
              <a:gd name="T18" fmla="*/ 40940 w 161"/>
              <a:gd name="T19" fmla="*/ 542409 h 160"/>
              <a:gd name="T20" fmla="*/ 109173 w 161"/>
              <a:gd name="T21" fmla="*/ 473750 h 160"/>
              <a:gd name="T22" fmla="*/ 313871 w 161"/>
              <a:gd name="T23" fmla="*/ 473750 h 160"/>
              <a:gd name="T24" fmla="*/ 330930 w 161"/>
              <a:gd name="T25" fmla="*/ 466884 h 160"/>
              <a:gd name="T26" fmla="*/ 498100 w 161"/>
              <a:gd name="T27" fmla="*/ 295235 h 160"/>
              <a:gd name="T28" fmla="*/ 549275 w 161"/>
              <a:gd name="T29" fmla="*/ 175081 h 160"/>
              <a:gd name="T30" fmla="*/ 498100 w 161"/>
              <a:gd name="T31" fmla="*/ 51495 h 160"/>
              <a:gd name="T32" fmla="*/ 303636 w 161"/>
              <a:gd name="T33" fmla="*/ 429121 h 160"/>
              <a:gd name="T34" fmla="*/ 153524 w 161"/>
              <a:gd name="T35" fmla="*/ 429121 h 160"/>
              <a:gd name="T36" fmla="*/ 211522 w 161"/>
              <a:gd name="T37" fmla="*/ 374194 h 160"/>
              <a:gd name="T38" fmla="*/ 361634 w 161"/>
              <a:gd name="T39" fmla="*/ 374194 h 160"/>
              <a:gd name="T40" fmla="*/ 303636 w 161"/>
              <a:gd name="T41" fmla="*/ 429121 h 160"/>
              <a:gd name="T42" fmla="*/ 467395 w 161"/>
              <a:gd name="T43" fmla="*/ 264339 h 160"/>
              <a:gd name="T44" fmla="*/ 467395 w 161"/>
              <a:gd name="T45" fmla="*/ 264339 h 160"/>
              <a:gd name="T46" fmla="*/ 405986 w 161"/>
              <a:gd name="T47" fmla="*/ 329565 h 160"/>
              <a:gd name="T48" fmla="*/ 402574 w 161"/>
              <a:gd name="T49" fmla="*/ 329565 h 160"/>
              <a:gd name="T50" fmla="*/ 255873 w 161"/>
              <a:gd name="T51" fmla="*/ 329565 h 160"/>
              <a:gd name="T52" fmla="*/ 392339 w 161"/>
              <a:gd name="T53" fmla="*/ 188813 h 160"/>
              <a:gd name="T54" fmla="*/ 392339 w 161"/>
              <a:gd name="T55" fmla="*/ 157917 h 160"/>
              <a:gd name="T56" fmla="*/ 361634 w 161"/>
              <a:gd name="T57" fmla="*/ 157917 h 160"/>
              <a:gd name="T58" fmla="*/ 184229 w 161"/>
              <a:gd name="T59" fmla="*/ 332998 h 160"/>
              <a:gd name="T60" fmla="*/ 184229 w 161"/>
              <a:gd name="T61" fmla="*/ 336431 h 160"/>
              <a:gd name="T62" fmla="*/ 122819 w 161"/>
              <a:gd name="T63" fmla="*/ 398224 h 160"/>
              <a:gd name="T64" fmla="*/ 122819 w 161"/>
              <a:gd name="T65" fmla="*/ 247174 h 160"/>
              <a:gd name="T66" fmla="*/ 286578 w 161"/>
              <a:gd name="T67" fmla="*/ 82391 h 160"/>
              <a:gd name="T68" fmla="*/ 375281 w 161"/>
              <a:gd name="T69" fmla="*/ 44629 h 160"/>
              <a:gd name="T70" fmla="*/ 467395 w 161"/>
              <a:gd name="T71" fmla="*/ 82391 h 160"/>
              <a:gd name="T72" fmla="*/ 504924 w 161"/>
              <a:gd name="T73" fmla="*/ 175081 h 160"/>
              <a:gd name="T74" fmla="*/ 467395 w 161"/>
              <a:gd name="T75" fmla="*/ 264339 h 160"/>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161" h="160">
                <a:moveTo>
                  <a:pt x="146" y="15"/>
                </a:moveTo>
                <a:cubicBezTo>
                  <a:pt x="137" y="5"/>
                  <a:pt x="124" y="0"/>
                  <a:pt x="110" y="0"/>
                </a:cubicBezTo>
                <a:cubicBezTo>
                  <a:pt x="97" y="0"/>
                  <a:pt x="84" y="5"/>
                  <a:pt x="75" y="15"/>
                </a:cubicBezTo>
                <a:cubicBezTo>
                  <a:pt x="25" y="64"/>
                  <a:pt x="25" y="64"/>
                  <a:pt x="25" y="64"/>
                </a:cubicBezTo>
                <a:cubicBezTo>
                  <a:pt x="24" y="66"/>
                  <a:pt x="23" y="67"/>
                  <a:pt x="23" y="69"/>
                </a:cubicBezTo>
                <a:cubicBezTo>
                  <a:pt x="23" y="129"/>
                  <a:pt x="23" y="129"/>
                  <a:pt x="23" y="129"/>
                </a:cubicBezTo>
                <a:cubicBezTo>
                  <a:pt x="3" y="149"/>
                  <a:pt x="3" y="149"/>
                  <a:pt x="3" y="149"/>
                </a:cubicBezTo>
                <a:cubicBezTo>
                  <a:pt x="0" y="151"/>
                  <a:pt x="0" y="156"/>
                  <a:pt x="3" y="158"/>
                </a:cubicBezTo>
                <a:cubicBezTo>
                  <a:pt x="4" y="159"/>
                  <a:pt x="6" y="160"/>
                  <a:pt x="7" y="160"/>
                </a:cubicBezTo>
                <a:cubicBezTo>
                  <a:pt x="9" y="160"/>
                  <a:pt x="11" y="159"/>
                  <a:pt x="12" y="158"/>
                </a:cubicBezTo>
                <a:cubicBezTo>
                  <a:pt x="32" y="138"/>
                  <a:pt x="32" y="138"/>
                  <a:pt x="32" y="138"/>
                </a:cubicBezTo>
                <a:cubicBezTo>
                  <a:pt x="92" y="138"/>
                  <a:pt x="92" y="138"/>
                  <a:pt x="92" y="138"/>
                </a:cubicBezTo>
                <a:cubicBezTo>
                  <a:pt x="94" y="138"/>
                  <a:pt x="95" y="137"/>
                  <a:pt x="97" y="136"/>
                </a:cubicBezTo>
                <a:cubicBezTo>
                  <a:pt x="146" y="86"/>
                  <a:pt x="146" y="86"/>
                  <a:pt x="146" y="86"/>
                </a:cubicBezTo>
                <a:cubicBezTo>
                  <a:pt x="156" y="77"/>
                  <a:pt x="161" y="64"/>
                  <a:pt x="161" y="51"/>
                </a:cubicBezTo>
                <a:cubicBezTo>
                  <a:pt x="161" y="37"/>
                  <a:pt x="156" y="24"/>
                  <a:pt x="146" y="15"/>
                </a:cubicBezTo>
                <a:close/>
                <a:moveTo>
                  <a:pt x="89" y="125"/>
                </a:moveTo>
                <a:cubicBezTo>
                  <a:pt x="45" y="125"/>
                  <a:pt x="45" y="125"/>
                  <a:pt x="45" y="125"/>
                </a:cubicBezTo>
                <a:cubicBezTo>
                  <a:pt x="62" y="109"/>
                  <a:pt x="62" y="109"/>
                  <a:pt x="62" y="109"/>
                </a:cubicBezTo>
                <a:cubicBezTo>
                  <a:pt x="106" y="109"/>
                  <a:pt x="106" y="109"/>
                  <a:pt x="106" y="109"/>
                </a:cubicBezTo>
                <a:lnTo>
                  <a:pt x="89" y="125"/>
                </a:lnTo>
                <a:close/>
                <a:moveTo>
                  <a:pt x="137" y="77"/>
                </a:moveTo>
                <a:cubicBezTo>
                  <a:pt x="137" y="77"/>
                  <a:pt x="137" y="77"/>
                  <a:pt x="137" y="77"/>
                </a:cubicBezTo>
                <a:cubicBezTo>
                  <a:pt x="119" y="96"/>
                  <a:pt x="119" y="96"/>
                  <a:pt x="119" y="96"/>
                </a:cubicBezTo>
                <a:cubicBezTo>
                  <a:pt x="118" y="96"/>
                  <a:pt x="118" y="96"/>
                  <a:pt x="118" y="96"/>
                </a:cubicBezTo>
                <a:cubicBezTo>
                  <a:pt x="75" y="96"/>
                  <a:pt x="75" y="96"/>
                  <a:pt x="75" y="96"/>
                </a:cubicBezTo>
                <a:cubicBezTo>
                  <a:pt x="115" y="55"/>
                  <a:pt x="115" y="55"/>
                  <a:pt x="115" y="55"/>
                </a:cubicBezTo>
                <a:cubicBezTo>
                  <a:pt x="117" y="53"/>
                  <a:pt x="117" y="49"/>
                  <a:pt x="115" y="46"/>
                </a:cubicBezTo>
                <a:cubicBezTo>
                  <a:pt x="112" y="44"/>
                  <a:pt x="108" y="44"/>
                  <a:pt x="106" y="46"/>
                </a:cubicBezTo>
                <a:cubicBezTo>
                  <a:pt x="54" y="97"/>
                  <a:pt x="54" y="97"/>
                  <a:pt x="54" y="97"/>
                </a:cubicBezTo>
                <a:cubicBezTo>
                  <a:pt x="54" y="98"/>
                  <a:pt x="54" y="98"/>
                  <a:pt x="54" y="98"/>
                </a:cubicBezTo>
                <a:cubicBezTo>
                  <a:pt x="36" y="116"/>
                  <a:pt x="36" y="116"/>
                  <a:pt x="36" y="116"/>
                </a:cubicBezTo>
                <a:cubicBezTo>
                  <a:pt x="36" y="72"/>
                  <a:pt x="36" y="72"/>
                  <a:pt x="36" y="72"/>
                </a:cubicBezTo>
                <a:cubicBezTo>
                  <a:pt x="84" y="24"/>
                  <a:pt x="84" y="24"/>
                  <a:pt x="84" y="24"/>
                </a:cubicBezTo>
                <a:cubicBezTo>
                  <a:pt x="91" y="17"/>
                  <a:pt x="100" y="13"/>
                  <a:pt x="110" y="13"/>
                </a:cubicBezTo>
                <a:cubicBezTo>
                  <a:pt x="120" y="13"/>
                  <a:pt x="130" y="17"/>
                  <a:pt x="137" y="24"/>
                </a:cubicBezTo>
                <a:cubicBezTo>
                  <a:pt x="144" y="31"/>
                  <a:pt x="148" y="41"/>
                  <a:pt x="148" y="51"/>
                </a:cubicBezTo>
                <a:cubicBezTo>
                  <a:pt x="148" y="61"/>
                  <a:pt x="144" y="70"/>
                  <a:pt x="137" y="77"/>
                </a:cubicBezTo>
                <a:close/>
              </a:path>
            </a:pathLst>
          </a:custGeom>
          <a:solidFill>
            <a:srgbClr val="FFFFFF"/>
          </a:solidFill>
          <a:ln>
            <a:noFill/>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16" name="文本框 15">
            <a:extLst>
              <a:ext uri="{FF2B5EF4-FFF2-40B4-BE49-F238E27FC236}">
                <a16:creationId xmlns:a16="http://schemas.microsoft.com/office/drawing/2014/main" id="{B8B2F0E2-5D3B-4443-A18D-C3CD8E781D09}"/>
              </a:ext>
            </a:extLst>
          </p:cNvPr>
          <p:cNvSpPr txBox="1"/>
          <p:nvPr/>
        </p:nvSpPr>
        <p:spPr>
          <a:xfrm>
            <a:off x="4449556" y="918105"/>
            <a:ext cx="3292889" cy="52322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2800" b="0" i="0" u="none" strike="noStrike" kern="1200" cap="none" spc="0" normalizeH="0" baseline="0" noProof="0" dirty="0">
                <a:ln>
                  <a:noFill/>
                </a:ln>
                <a:solidFill>
                  <a:prstClr val="black"/>
                </a:solidFill>
                <a:effectLst/>
                <a:uLnTx/>
                <a:uFillTx/>
                <a:latin typeface="HarmonyOS Sans Black"/>
                <a:ea typeface="+mj-ea"/>
                <a:cs typeface="+mn-cs"/>
              </a:rPr>
              <a:t>Circle </a:t>
            </a:r>
            <a:r>
              <a:rPr kumimoji="0" lang="en-US" altLang="zh-CN" sz="2800" b="0" i="0" u="none" strike="noStrike" kern="1200" cap="none" spc="0" normalizeH="0" baseline="0" noProof="0" dirty="0">
                <a:ln>
                  <a:noFill/>
                </a:ln>
                <a:solidFill>
                  <a:schemeClr val="accent1"/>
                </a:solidFill>
                <a:effectLst/>
                <a:uLnTx/>
                <a:uFillTx/>
                <a:latin typeface="HarmonyOS Sans Black"/>
                <a:ea typeface="+mj-ea"/>
                <a:cs typeface="+mn-cs"/>
              </a:rPr>
              <a:t>infographic</a:t>
            </a:r>
          </a:p>
        </p:txBody>
      </p:sp>
      <p:grpSp>
        <p:nvGrpSpPr>
          <p:cNvPr id="30" name="组合 29">
            <a:extLst>
              <a:ext uri="{FF2B5EF4-FFF2-40B4-BE49-F238E27FC236}">
                <a16:creationId xmlns:a16="http://schemas.microsoft.com/office/drawing/2014/main" id="{DAD2199E-F9B5-4679-B81B-6A7D7A8384C7}"/>
              </a:ext>
            </a:extLst>
          </p:cNvPr>
          <p:cNvGrpSpPr/>
          <p:nvPr/>
        </p:nvGrpSpPr>
        <p:grpSpPr>
          <a:xfrm>
            <a:off x="2058652" y="4374506"/>
            <a:ext cx="2262702" cy="846145"/>
            <a:chOff x="1508465" y="2482630"/>
            <a:chExt cx="2262702" cy="846145"/>
          </a:xfrm>
        </p:grpSpPr>
        <p:sp>
          <p:nvSpPr>
            <p:cNvPr id="31" name="TextBox 65">
              <a:extLst>
                <a:ext uri="{FF2B5EF4-FFF2-40B4-BE49-F238E27FC236}">
                  <a16:creationId xmlns:a16="http://schemas.microsoft.com/office/drawing/2014/main" id="{31F31D6D-2E57-4CC6-8644-BA1DC66D6DFE}"/>
                </a:ext>
              </a:extLst>
            </p:cNvPr>
            <p:cNvSpPr txBox="1"/>
            <p:nvPr/>
          </p:nvSpPr>
          <p:spPr>
            <a:xfrm>
              <a:off x="1714906" y="2482630"/>
              <a:ext cx="2056261" cy="352588"/>
            </a:xfrm>
            <a:prstGeom prst="rect">
              <a:avLst/>
            </a:prstGeom>
            <a:noFill/>
          </p:spPr>
          <p:txBody>
            <a:bodyPr wrap="square" lIns="0" tIns="36000" rIns="0" bIns="36000" rtlCol="0">
              <a:spAutoFit/>
            </a:bodyPr>
            <a:lstStyle/>
            <a:p>
              <a:pPr marL="0" marR="0" lvl="0" indent="0" algn="r" defTabSz="914400" rtl="0" eaLnBrk="1" fontAlgn="auto" latinLnBrk="0" hangingPunct="1">
                <a:lnSpc>
                  <a:spcPct val="120000"/>
                </a:lnSpc>
                <a:spcBef>
                  <a:spcPts val="600"/>
                </a:spcBef>
                <a:spcAft>
                  <a:spcPts val="0"/>
                </a:spcAft>
                <a:buClrTx/>
                <a:buSzTx/>
                <a:buFontTx/>
                <a:buNone/>
                <a:tabLst/>
                <a:defRPr/>
              </a:pPr>
              <a:r>
                <a:rPr kumimoji="0" lang="zh-CN" altLang="en-US" sz="1600" b="0" i="0" u="none" strike="noStrike" kern="1200" cap="none" spc="0" normalizeH="0" baseline="0" noProof="0" dirty="0">
                  <a:ln>
                    <a:noFill/>
                  </a:ln>
                  <a:solidFill>
                    <a:schemeClr val="accent1"/>
                  </a:solidFill>
                  <a:effectLst/>
                  <a:uLnTx/>
                  <a:uFillTx/>
                  <a:latin typeface="HarmonyOS Sans SC Black"/>
                  <a:ea typeface="+mj-ea"/>
                  <a:cs typeface="+mn-cs"/>
                </a:rPr>
                <a:t>关键词标题</a:t>
              </a:r>
              <a:endParaRPr kumimoji="0" lang="en-US" sz="1600" b="0" i="0" u="none" strike="noStrike" kern="1200" cap="none" spc="0" normalizeH="0" baseline="0" noProof="0" dirty="0">
                <a:ln>
                  <a:noFill/>
                </a:ln>
                <a:solidFill>
                  <a:schemeClr val="accent1"/>
                </a:solidFill>
                <a:effectLst/>
                <a:uLnTx/>
                <a:uFillTx/>
                <a:latin typeface="HarmonyOS Sans SC Black"/>
                <a:ea typeface="+mj-ea"/>
                <a:cs typeface="+mn-cs"/>
              </a:endParaRPr>
            </a:p>
          </p:txBody>
        </p:sp>
        <p:sp>
          <p:nvSpPr>
            <p:cNvPr id="32" name="TextBox 65">
              <a:extLst>
                <a:ext uri="{FF2B5EF4-FFF2-40B4-BE49-F238E27FC236}">
                  <a16:creationId xmlns:a16="http://schemas.microsoft.com/office/drawing/2014/main" id="{796FEC59-F38C-4B9F-A26B-8A2A273E20F6}"/>
                </a:ext>
              </a:extLst>
            </p:cNvPr>
            <p:cNvSpPr txBox="1"/>
            <p:nvPr/>
          </p:nvSpPr>
          <p:spPr>
            <a:xfrm>
              <a:off x="1508465" y="2866029"/>
              <a:ext cx="2262702" cy="462746"/>
            </a:xfrm>
            <a:prstGeom prst="rect">
              <a:avLst/>
            </a:prstGeom>
            <a:noFill/>
          </p:spPr>
          <p:txBody>
            <a:bodyPr wrap="square" lIns="0" tIns="36000" rIns="0" bIns="36000" rtlCol="0">
              <a:spAutoFit/>
            </a:bodyPr>
            <a:lstStyle/>
            <a:p>
              <a:pPr marL="0" marR="0" lvl="0" indent="0" algn="r" defTabSz="914400" rtl="0" eaLnBrk="1" fontAlgn="auto" latinLnBrk="0" hangingPunct="1">
                <a:lnSpc>
                  <a:spcPct val="120000"/>
                </a:lnSpc>
                <a:spcBef>
                  <a:spcPts val="600"/>
                </a:spcBef>
                <a:spcAft>
                  <a:spcPts val="0"/>
                </a:spcAft>
                <a:buClrTx/>
                <a:buSzTx/>
                <a:buFontTx/>
                <a:buNone/>
                <a:tabLst/>
                <a:defRPr/>
              </a:pPr>
              <a:r>
                <a:rPr kumimoji="0" lang="en-US" sz="1100" b="0" i="0" u="none" strike="noStrike" kern="1200" cap="none" spc="0" normalizeH="0" baseline="0" noProof="0" dirty="0">
                  <a:ln>
                    <a:noFill/>
                  </a:ln>
                  <a:solidFill>
                    <a:prstClr val="black">
                      <a:lumMod val="50000"/>
                      <a:lumOff val="50000"/>
                    </a:prstClr>
                  </a:solidFill>
                  <a:effectLst/>
                  <a:uLnTx/>
                  <a:uFillTx/>
                  <a:latin typeface="HarmonyOS Sans SC"/>
                  <a:cs typeface="+mn-cs"/>
                </a:rPr>
                <a:t>Apparently we had reached a great height in the.</a:t>
              </a:r>
            </a:p>
          </p:txBody>
        </p:sp>
      </p:grpSp>
      <p:grpSp>
        <p:nvGrpSpPr>
          <p:cNvPr id="33" name="组合 32">
            <a:extLst>
              <a:ext uri="{FF2B5EF4-FFF2-40B4-BE49-F238E27FC236}">
                <a16:creationId xmlns:a16="http://schemas.microsoft.com/office/drawing/2014/main" id="{B41459BC-2E8A-4C0A-93D1-F6B13D5DC6D8}"/>
              </a:ext>
            </a:extLst>
          </p:cNvPr>
          <p:cNvGrpSpPr/>
          <p:nvPr/>
        </p:nvGrpSpPr>
        <p:grpSpPr>
          <a:xfrm>
            <a:off x="8077468" y="4378965"/>
            <a:ext cx="2262702" cy="846145"/>
            <a:chOff x="8423300" y="2482630"/>
            <a:chExt cx="2262702" cy="846145"/>
          </a:xfrm>
        </p:grpSpPr>
        <p:sp>
          <p:nvSpPr>
            <p:cNvPr id="34" name="TextBox 65">
              <a:extLst>
                <a:ext uri="{FF2B5EF4-FFF2-40B4-BE49-F238E27FC236}">
                  <a16:creationId xmlns:a16="http://schemas.microsoft.com/office/drawing/2014/main" id="{DF3B4474-F0E5-45AD-8255-EEA57236C8C9}"/>
                </a:ext>
              </a:extLst>
            </p:cNvPr>
            <p:cNvSpPr txBox="1"/>
            <p:nvPr/>
          </p:nvSpPr>
          <p:spPr>
            <a:xfrm flipH="1">
              <a:off x="8423300" y="2482630"/>
              <a:ext cx="2056261" cy="352588"/>
            </a:xfrm>
            <a:prstGeom prst="rect">
              <a:avLst/>
            </a:prstGeom>
            <a:noFill/>
          </p:spPr>
          <p:txBody>
            <a:bodyPr wrap="square" lIns="0" tIns="36000" rIns="0" bIns="36000" rtlCol="0">
              <a:spAutoFit/>
            </a:bodyPr>
            <a:lstStyle/>
            <a:p>
              <a:pPr marL="0" marR="0" lvl="0" indent="0" algn="l" defTabSz="914400" rtl="0" eaLnBrk="1" fontAlgn="auto" latinLnBrk="0" hangingPunct="1">
                <a:lnSpc>
                  <a:spcPct val="120000"/>
                </a:lnSpc>
                <a:spcBef>
                  <a:spcPts val="600"/>
                </a:spcBef>
                <a:spcAft>
                  <a:spcPts val="0"/>
                </a:spcAft>
                <a:buClrTx/>
                <a:buSzTx/>
                <a:buFontTx/>
                <a:buNone/>
                <a:tabLst/>
                <a:defRPr/>
              </a:pPr>
              <a:r>
                <a:rPr kumimoji="0" lang="zh-CN" altLang="en-US" sz="1600" b="0" i="0" u="none" strike="noStrike" kern="1200" cap="none" spc="0" normalizeH="0" baseline="0" noProof="0" dirty="0">
                  <a:ln>
                    <a:noFill/>
                  </a:ln>
                  <a:solidFill>
                    <a:schemeClr val="accent1"/>
                  </a:solidFill>
                  <a:effectLst/>
                  <a:uLnTx/>
                  <a:uFillTx/>
                  <a:latin typeface="HarmonyOS Sans SC Black"/>
                  <a:ea typeface="+mj-ea"/>
                  <a:cs typeface="+mn-cs"/>
                </a:rPr>
                <a:t>关键词标题</a:t>
              </a:r>
              <a:endParaRPr kumimoji="0" lang="en-US" sz="1600" b="0" i="0" u="none" strike="noStrike" kern="1200" cap="none" spc="0" normalizeH="0" baseline="0" noProof="0" dirty="0">
                <a:ln>
                  <a:noFill/>
                </a:ln>
                <a:solidFill>
                  <a:schemeClr val="accent1"/>
                </a:solidFill>
                <a:effectLst/>
                <a:uLnTx/>
                <a:uFillTx/>
                <a:latin typeface="HarmonyOS Sans SC Black"/>
                <a:ea typeface="+mj-ea"/>
                <a:cs typeface="+mn-cs"/>
              </a:endParaRPr>
            </a:p>
          </p:txBody>
        </p:sp>
        <p:sp>
          <p:nvSpPr>
            <p:cNvPr id="35" name="TextBox 65">
              <a:extLst>
                <a:ext uri="{FF2B5EF4-FFF2-40B4-BE49-F238E27FC236}">
                  <a16:creationId xmlns:a16="http://schemas.microsoft.com/office/drawing/2014/main" id="{425FC7F4-C532-43B8-AE05-75CA14E4E7B2}"/>
                </a:ext>
              </a:extLst>
            </p:cNvPr>
            <p:cNvSpPr txBox="1"/>
            <p:nvPr/>
          </p:nvSpPr>
          <p:spPr>
            <a:xfrm flipH="1">
              <a:off x="8423300" y="2866029"/>
              <a:ext cx="2262702" cy="462746"/>
            </a:xfrm>
            <a:prstGeom prst="rect">
              <a:avLst/>
            </a:prstGeom>
            <a:noFill/>
          </p:spPr>
          <p:txBody>
            <a:bodyPr wrap="square" lIns="0" tIns="36000" rIns="0" bIns="36000" rtlCol="0">
              <a:spAutoFit/>
            </a:bodyPr>
            <a:lstStyle/>
            <a:p>
              <a:pPr marL="0" marR="0" lvl="0" indent="0" algn="l" defTabSz="914400" rtl="0" eaLnBrk="1" fontAlgn="auto" latinLnBrk="0" hangingPunct="1">
                <a:lnSpc>
                  <a:spcPct val="120000"/>
                </a:lnSpc>
                <a:spcBef>
                  <a:spcPts val="600"/>
                </a:spcBef>
                <a:spcAft>
                  <a:spcPts val="0"/>
                </a:spcAft>
                <a:buClrTx/>
                <a:buSzTx/>
                <a:buFontTx/>
                <a:buNone/>
                <a:tabLst/>
                <a:defRPr/>
              </a:pPr>
              <a:r>
                <a:rPr kumimoji="0" lang="en-US" sz="1100" b="0" i="0" u="none" strike="noStrike" kern="1200" cap="none" spc="0" normalizeH="0" baseline="0" noProof="0" dirty="0">
                  <a:ln>
                    <a:noFill/>
                  </a:ln>
                  <a:solidFill>
                    <a:prstClr val="black">
                      <a:lumMod val="50000"/>
                      <a:lumOff val="50000"/>
                    </a:prstClr>
                  </a:solidFill>
                  <a:effectLst/>
                  <a:uLnTx/>
                  <a:uFillTx/>
                  <a:latin typeface="HarmonyOS Sans SC"/>
                  <a:cs typeface="+mn-cs"/>
                </a:rPr>
                <a:t>Apparently we had reached a great height in the.</a:t>
              </a:r>
            </a:p>
          </p:txBody>
        </p:sp>
      </p:grpSp>
      <p:grpSp>
        <p:nvGrpSpPr>
          <p:cNvPr id="36" name="组合 35">
            <a:extLst>
              <a:ext uri="{FF2B5EF4-FFF2-40B4-BE49-F238E27FC236}">
                <a16:creationId xmlns:a16="http://schemas.microsoft.com/office/drawing/2014/main" id="{2A0F94CE-A81E-4825-9998-C6714152E5CF}"/>
              </a:ext>
            </a:extLst>
          </p:cNvPr>
          <p:cNvGrpSpPr/>
          <p:nvPr/>
        </p:nvGrpSpPr>
        <p:grpSpPr>
          <a:xfrm>
            <a:off x="2058652" y="2628538"/>
            <a:ext cx="2262702" cy="846145"/>
            <a:chOff x="1508465" y="2482630"/>
            <a:chExt cx="2262702" cy="846145"/>
          </a:xfrm>
        </p:grpSpPr>
        <p:sp>
          <p:nvSpPr>
            <p:cNvPr id="37" name="TextBox 65">
              <a:extLst>
                <a:ext uri="{FF2B5EF4-FFF2-40B4-BE49-F238E27FC236}">
                  <a16:creationId xmlns:a16="http://schemas.microsoft.com/office/drawing/2014/main" id="{50CE38E5-151E-479D-A313-512C3931EFF7}"/>
                </a:ext>
              </a:extLst>
            </p:cNvPr>
            <p:cNvSpPr txBox="1"/>
            <p:nvPr/>
          </p:nvSpPr>
          <p:spPr>
            <a:xfrm>
              <a:off x="1714906" y="2482630"/>
              <a:ext cx="2056261" cy="352588"/>
            </a:xfrm>
            <a:prstGeom prst="rect">
              <a:avLst/>
            </a:prstGeom>
            <a:noFill/>
          </p:spPr>
          <p:txBody>
            <a:bodyPr wrap="square" lIns="0" tIns="36000" rIns="0" bIns="36000" rtlCol="0">
              <a:spAutoFit/>
            </a:bodyPr>
            <a:lstStyle/>
            <a:p>
              <a:pPr marL="0" marR="0" lvl="0" indent="0" algn="r" defTabSz="914400" rtl="0" eaLnBrk="1" fontAlgn="auto" latinLnBrk="0" hangingPunct="1">
                <a:lnSpc>
                  <a:spcPct val="120000"/>
                </a:lnSpc>
                <a:spcBef>
                  <a:spcPts val="600"/>
                </a:spcBef>
                <a:spcAft>
                  <a:spcPts val="0"/>
                </a:spcAft>
                <a:buClrTx/>
                <a:buSzTx/>
                <a:buFontTx/>
                <a:buNone/>
                <a:tabLst/>
                <a:defRPr/>
              </a:pPr>
              <a:r>
                <a:rPr kumimoji="0" lang="zh-CN" altLang="en-US" sz="1600" b="0" i="0" u="none" strike="noStrike" kern="1200" cap="none" spc="0" normalizeH="0" baseline="0" noProof="0" dirty="0">
                  <a:ln>
                    <a:noFill/>
                  </a:ln>
                  <a:solidFill>
                    <a:schemeClr val="accent1"/>
                  </a:solidFill>
                  <a:effectLst/>
                  <a:uLnTx/>
                  <a:uFillTx/>
                  <a:latin typeface="HarmonyOS Sans SC Black"/>
                  <a:ea typeface="+mj-ea"/>
                  <a:cs typeface="+mn-cs"/>
                </a:rPr>
                <a:t>关键词标题</a:t>
              </a:r>
              <a:endParaRPr kumimoji="0" lang="en-US" sz="1600" b="0" i="0" u="none" strike="noStrike" kern="1200" cap="none" spc="0" normalizeH="0" baseline="0" noProof="0" dirty="0">
                <a:ln>
                  <a:noFill/>
                </a:ln>
                <a:solidFill>
                  <a:schemeClr val="accent1"/>
                </a:solidFill>
                <a:effectLst/>
                <a:uLnTx/>
                <a:uFillTx/>
                <a:latin typeface="HarmonyOS Sans SC Black"/>
                <a:ea typeface="+mj-ea"/>
                <a:cs typeface="+mn-cs"/>
              </a:endParaRPr>
            </a:p>
          </p:txBody>
        </p:sp>
        <p:sp>
          <p:nvSpPr>
            <p:cNvPr id="38" name="TextBox 65">
              <a:extLst>
                <a:ext uri="{FF2B5EF4-FFF2-40B4-BE49-F238E27FC236}">
                  <a16:creationId xmlns:a16="http://schemas.microsoft.com/office/drawing/2014/main" id="{406B5418-3DAB-4030-9B5D-017722DF1556}"/>
                </a:ext>
              </a:extLst>
            </p:cNvPr>
            <p:cNvSpPr txBox="1"/>
            <p:nvPr/>
          </p:nvSpPr>
          <p:spPr>
            <a:xfrm>
              <a:off x="1508465" y="2866029"/>
              <a:ext cx="2262702" cy="462746"/>
            </a:xfrm>
            <a:prstGeom prst="rect">
              <a:avLst/>
            </a:prstGeom>
            <a:noFill/>
          </p:spPr>
          <p:txBody>
            <a:bodyPr wrap="square" lIns="0" tIns="36000" rIns="0" bIns="36000" rtlCol="0">
              <a:spAutoFit/>
            </a:bodyPr>
            <a:lstStyle/>
            <a:p>
              <a:pPr marL="0" marR="0" lvl="0" indent="0" algn="r" defTabSz="914400" rtl="0" eaLnBrk="1" fontAlgn="auto" latinLnBrk="0" hangingPunct="1">
                <a:lnSpc>
                  <a:spcPct val="120000"/>
                </a:lnSpc>
                <a:spcBef>
                  <a:spcPts val="600"/>
                </a:spcBef>
                <a:spcAft>
                  <a:spcPts val="0"/>
                </a:spcAft>
                <a:buClrTx/>
                <a:buSzTx/>
                <a:buFontTx/>
                <a:buNone/>
                <a:tabLst/>
                <a:defRPr/>
              </a:pPr>
              <a:r>
                <a:rPr kumimoji="0" lang="en-US" sz="1100" b="0" i="0" u="none" strike="noStrike" kern="1200" cap="none" spc="0" normalizeH="0" baseline="0" noProof="0" dirty="0">
                  <a:ln>
                    <a:noFill/>
                  </a:ln>
                  <a:solidFill>
                    <a:prstClr val="black">
                      <a:lumMod val="50000"/>
                      <a:lumOff val="50000"/>
                    </a:prstClr>
                  </a:solidFill>
                  <a:effectLst/>
                  <a:uLnTx/>
                  <a:uFillTx/>
                  <a:latin typeface="HarmonyOS Sans SC"/>
                  <a:cs typeface="+mn-cs"/>
                </a:rPr>
                <a:t>Apparently we had reached a great height in the.</a:t>
              </a:r>
            </a:p>
          </p:txBody>
        </p:sp>
      </p:grpSp>
      <p:grpSp>
        <p:nvGrpSpPr>
          <p:cNvPr id="39" name="组合 38">
            <a:extLst>
              <a:ext uri="{FF2B5EF4-FFF2-40B4-BE49-F238E27FC236}">
                <a16:creationId xmlns:a16="http://schemas.microsoft.com/office/drawing/2014/main" id="{899D7733-8D28-49D5-B924-5792EE152949}"/>
              </a:ext>
            </a:extLst>
          </p:cNvPr>
          <p:cNvGrpSpPr/>
          <p:nvPr/>
        </p:nvGrpSpPr>
        <p:grpSpPr>
          <a:xfrm>
            <a:off x="8077468" y="2632997"/>
            <a:ext cx="2262702" cy="846145"/>
            <a:chOff x="8423300" y="2482630"/>
            <a:chExt cx="2262702" cy="846145"/>
          </a:xfrm>
        </p:grpSpPr>
        <p:sp>
          <p:nvSpPr>
            <p:cNvPr id="40" name="TextBox 65">
              <a:extLst>
                <a:ext uri="{FF2B5EF4-FFF2-40B4-BE49-F238E27FC236}">
                  <a16:creationId xmlns:a16="http://schemas.microsoft.com/office/drawing/2014/main" id="{1AD70DAA-1F2A-469B-ABD5-CD2A76CD575D}"/>
                </a:ext>
              </a:extLst>
            </p:cNvPr>
            <p:cNvSpPr txBox="1"/>
            <p:nvPr/>
          </p:nvSpPr>
          <p:spPr>
            <a:xfrm flipH="1">
              <a:off x="8423300" y="2482630"/>
              <a:ext cx="2056261" cy="352588"/>
            </a:xfrm>
            <a:prstGeom prst="rect">
              <a:avLst/>
            </a:prstGeom>
            <a:noFill/>
          </p:spPr>
          <p:txBody>
            <a:bodyPr wrap="square" lIns="0" tIns="36000" rIns="0" bIns="36000" rtlCol="0">
              <a:spAutoFit/>
            </a:bodyPr>
            <a:lstStyle/>
            <a:p>
              <a:pPr marL="0" marR="0" lvl="0" indent="0" algn="l" defTabSz="914400" rtl="0" eaLnBrk="1" fontAlgn="auto" latinLnBrk="0" hangingPunct="1">
                <a:lnSpc>
                  <a:spcPct val="120000"/>
                </a:lnSpc>
                <a:spcBef>
                  <a:spcPts val="600"/>
                </a:spcBef>
                <a:spcAft>
                  <a:spcPts val="0"/>
                </a:spcAft>
                <a:buClrTx/>
                <a:buSzTx/>
                <a:buFontTx/>
                <a:buNone/>
                <a:tabLst/>
                <a:defRPr/>
              </a:pPr>
              <a:r>
                <a:rPr kumimoji="0" lang="zh-CN" altLang="en-US" sz="1600" b="0" i="0" u="none" strike="noStrike" kern="1200" cap="none" spc="0" normalizeH="0" baseline="0" noProof="0" dirty="0">
                  <a:ln>
                    <a:noFill/>
                  </a:ln>
                  <a:solidFill>
                    <a:schemeClr val="accent1"/>
                  </a:solidFill>
                  <a:effectLst/>
                  <a:uLnTx/>
                  <a:uFillTx/>
                  <a:latin typeface="HarmonyOS Sans SC Black"/>
                  <a:ea typeface="+mj-ea"/>
                  <a:cs typeface="+mn-cs"/>
                </a:rPr>
                <a:t>关键词标题</a:t>
              </a:r>
              <a:endParaRPr kumimoji="0" lang="en-US" sz="1600" b="0" i="0" u="none" strike="noStrike" kern="1200" cap="none" spc="0" normalizeH="0" baseline="0" noProof="0" dirty="0">
                <a:ln>
                  <a:noFill/>
                </a:ln>
                <a:solidFill>
                  <a:schemeClr val="accent1"/>
                </a:solidFill>
                <a:effectLst/>
                <a:uLnTx/>
                <a:uFillTx/>
                <a:latin typeface="HarmonyOS Sans SC Black"/>
                <a:ea typeface="+mj-ea"/>
                <a:cs typeface="+mn-cs"/>
              </a:endParaRPr>
            </a:p>
          </p:txBody>
        </p:sp>
        <p:sp>
          <p:nvSpPr>
            <p:cNvPr id="41" name="TextBox 65">
              <a:extLst>
                <a:ext uri="{FF2B5EF4-FFF2-40B4-BE49-F238E27FC236}">
                  <a16:creationId xmlns:a16="http://schemas.microsoft.com/office/drawing/2014/main" id="{A806AAFF-31B7-4674-80A3-B6AD7DC116D4}"/>
                </a:ext>
              </a:extLst>
            </p:cNvPr>
            <p:cNvSpPr txBox="1"/>
            <p:nvPr/>
          </p:nvSpPr>
          <p:spPr>
            <a:xfrm flipH="1">
              <a:off x="8423300" y="2866029"/>
              <a:ext cx="2262702" cy="462746"/>
            </a:xfrm>
            <a:prstGeom prst="rect">
              <a:avLst/>
            </a:prstGeom>
            <a:noFill/>
          </p:spPr>
          <p:txBody>
            <a:bodyPr wrap="square" lIns="0" tIns="36000" rIns="0" bIns="36000" rtlCol="0">
              <a:spAutoFit/>
            </a:bodyPr>
            <a:lstStyle/>
            <a:p>
              <a:pPr marL="0" marR="0" lvl="0" indent="0" algn="l" defTabSz="914400" rtl="0" eaLnBrk="1" fontAlgn="auto" latinLnBrk="0" hangingPunct="1">
                <a:lnSpc>
                  <a:spcPct val="120000"/>
                </a:lnSpc>
                <a:spcBef>
                  <a:spcPts val="600"/>
                </a:spcBef>
                <a:spcAft>
                  <a:spcPts val="0"/>
                </a:spcAft>
                <a:buClrTx/>
                <a:buSzTx/>
                <a:buFontTx/>
                <a:buNone/>
                <a:tabLst/>
                <a:defRPr/>
              </a:pPr>
              <a:r>
                <a:rPr kumimoji="0" lang="en-US" sz="1100" b="0" i="0" u="none" strike="noStrike" kern="1200" cap="none" spc="0" normalizeH="0" baseline="0" noProof="0" dirty="0">
                  <a:ln>
                    <a:noFill/>
                  </a:ln>
                  <a:solidFill>
                    <a:prstClr val="black">
                      <a:lumMod val="50000"/>
                      <a:lumOff val="50000"/>
                    </a:prstClr>
                  </a:solidFill>
                  <a:effectLst/>
                  <a:uLnTx/>
                  <a:uFillTx/>
                  <a:latin typeface="HarmonyOS Sans SC"/>
                  <a:cs typeface="+mn-cs"/>
                </a:rPr>
                <a:t>Apparently we had reached a great height in the.</a:t>
              </a:r>
            </a:p>
          </p:txBody>
        </p:sp>
      </p:grpSp>
    </p:spTree>
    <p:extLst>
      <p:ext uri="{BB962C8B-B14F-4D97-AF65-F5344CB8AC3E}">
        <p14:creationId xmlns:p14="http://schemas.microsoft.com/office/powerpoint/2010/main" val="201597718"/>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4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reeform 15">
            <a:extLst>
              <a:ext uri="{FF2B5EF4-FFF2-40B4-BE49-F238E27FC236}">
                <a16:creationId xmlns:a16="http://schemas.microsoft.com/office/drawing/2014/main" id="{BACE8670-7C49-44F2-AFF4-D358FC73445F}"/>
              </a:ext>
            </a:extLst>
          </p:cNvPr>
          <p:cNvSpPr/>
          <p:nvPr/>
        </p:nvSpPr>
        <p:spPr>
          <a:xfrm>
            <a:off x="4460252" y="1712860"/>
            <a:ext cx="2511743" cy="1205346"/>
          </a:xfrm>
          <a:custGeom>
            <a:avLst/>
            <a:gdLst/>
            <a:ahLst/>
            <a:cxnLst>
              <a:cxn ang="0">
                <a:pos x="wd2" y="hd2"/>
              </a:cxn>
              <a:cxn ang="5400000">
                <a:pos x="wd2" y="hd2"/>
              </a:cxn>
              <a:cxn ang="10800000">
                <a:pos x="wd2" y="hd2"/>
              </a:cxn>
              <a:cxn ang="16200000">
                <a:pos x="wd2" y="hd2"/>
              </a:cxn>
            </a:cxnLst>
            <a:rect l="0" t="0" r="r" b="b"/>
            <a:pathLst>
              <a:path w="21575" h="21600" extrusionOk="0">
                <a:moveTo>
                  <a:pt x="20562" y="7238"/>
                </a:moveTo>
                <a:cubicBezTo>
                  <a:pt x="18760" y="1311"/>
                  <a:pt x="16111" y="342"/>
                  <a:pt x="15838" y="228"/>
                </a:cubicBezTo>
                <a:cubicBezTo>
                  <a:pt x="15237" y="114"/>
                  <a:pt x="14637" y="0"/>
                  <a:pt x="14063" y="0"/>
                </a:cubicBezTo>
                <a:cubicBezTo>
                  <a:pt x="7509" y="0"/>
                  <a:pt x="1884" y="9005"/>
                  <a:pt x="0" y="21600"/>
                </a:cubicBezTo>
                <a:cubicBezTo>
                  <a:pt x="519" y="19890"/>
                  <a:pt x="1338" y="18009"/>
                  <a:pt x="2540" y="16357"/>
                </a:cubicBezTo>
                <a:cubicBezTo>
                  <a:pt x="5434" y="12538"/>
                  <a:pt x="8138" y="14704"/>
                  <a:pt x="8247" y="14818"/>
                </a:cubicBezTo>
                <a:cubicBezTo>
                  <a:pt x="8247" y="14818"/>
                  <a:pt x="8247" y="14818"/>
                  <a:pt x="8247" y="14818"/>
                </a:cubicBezTo>
                <a:cubicBezTo>
                  <a:pt x="8411" y="14932"/>
                  <a:pt x="8547" y="15046"/>
                  <a:pt x="8711" y="15217"/>
                </a:cubicBezTo>
                <a:cubicBezTo>
                  <a:pt x="10759" y="17212"/>
                  <a:pt x="10759" y="17212"/>
                  <a:pt x="10759" y="17212"/>
                </a:cubicBezTo>
                <a:cubicBezTo>
                  <a:pt x="12589" y="18978"/>
                  <a:pt x="15538" y="18978"/>
                  <a:pt x="17340" y="17212"/>
                </a:cubicBezTo>
                <a:cubicBezTo>
                  <a:pt x="19415" y="15217"/>
                  <a:pt x="19415" y="15217"/>
                  <a:pt x="19415" y="15217"/>
                </a:cubicBezTo>
                <a:cubicBezTo>
                  <a:pt x="20371" y="14248"/>
                  <a:pt x="21136" y="14191"/>
                  <a:pt x="21573" y="14989"/>
                </a:cubicBezTo>
                <a:cubicBezTo>
                  <a:pt x="21600" y="12880"/>
                  <a:pt x="21436" y="10088"/>
                  <a:pt x="20562" y="7238"/>
                </a:cubicBezTo>
                <a:close/>
              </a:path>
            </a:pathLst>
          </a:custGeom>
          <a:gradFill flip="none" rotWithShape="1">
            <a:gsLst>
              <a:gs pos="64000">
                <a:schemeClr val="accent1"/>
              </a:gs>
              <a:gs pos="31000">
                <a:schemeClr val="accent1">
                  <a:lumMod val="60000"/>
                  <a:lumOff val="40000"/>
                </a:schemeClr>
              </a:gs>
              <a:gs pos="0">
                <a:schemeClr val="accent1">
                  <a:lumMod val="40000"/>
                  <a:lumOff val="60000"/>
                </a:schemeClr>
              </a:gs>
            </a:gsLst>
            <a:lin ang="18900000" scaled="1"/>
            <a:tileRect/>
          </a:gradFill>
          <a:ln>
            <a:noFill/>
          </a:ln>
          <a:effectLst>
            <a:outerShdw blurRad="444500" dist="317500" dir="5400000" sx="92000" sy="92000" algn="t" rotWithShape="0">
              <a:schemeClr val="accent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white"/>
              </a:solidFill>
              <a:effectLst/>
              <a:uLnTx/>
              <a:uFillTx/>
              <a:latin typeface="HarmonyOS Sans SC Black"/>
              <a:ea typeface="+mj-ea"/>
              <a:cs typeface="+mn-cs"/>
              <a:sym typeface="Poppins Regular"/>
            </a:endParaRPr>
          </a:p>
        </p:txBody>
      </p:sp>
      <p:sp>
        <p:nvSpPr>
          <p:cNvPr id="4" name="01.">
            <a:extLst>
              <a:ext uri="{FF2B5EF4-FFF2-40B4-BE49-F238E27FC236}">
                <a16:creationId xmlns:a16="http://schemas.microsoft.com/office/drawing/2014/main" id="{92C90A53-72B0-4635-813A-8DD67FE8EE92}"/>
              </a:ext>
            </a:extLst>
          </p:cNvPr>
          <p:cNvSpPr txBox="1"/>
          <p:nvPr/>
        </p:nvSpPr>
        <p:spPr>
          <a:xfrm>
            <a:off x="5949421" y="1946564"/>
            <a:ext cx="484107" cy="384721"/>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numCol="1" anchor="t">
            <a:spAutoFit/>
          </a:bodyPr>
          <a:lstStyle>
            <a:lvl1pPr algn="l">
              <a:defRPr sz="5000" b="0">
                <a:solidFill>
                  <a:srgbClr val="F6F9FF"/>
                </a:solidFill>
                <a:latin typeface="Poppins Bold"/>
                <a:ea typeface="Poppins Bold"/>
                <a:cs typeface="Poppins Bold"/>
                <a:sym typeface="Poppins Bold"/>
              </a:defRPr>
            </a:lvl1pPr>
          </a:lstStyle>
          <a:p>
            <a:pPr marL="0" marR="0" lvl="0" indent="0" algn="l" defTabSz="412750" rtl="0" eaLnBrk="1" fontAlgn="auto" latinLnBrk="0" hangingPunct="0">
              <a:lnSpc>
                <a:spcPct val="100000"/>
              </a:lnSpc>
              <a:spcBef>
                <a:spcPts val="0"/>
              </a:spcBef>
              <a:spcAft>
                <a:spcPts val="0"/>
              </a:spcAft>
              <a:buClrTx/>
              <a:buSzTx/>
              <a:buFontTx/>
              <a:buNone/>
              <a:tabLst/>
              <a:defRPr/>
            </a:pPr>
            <a:r>
              <a:rPr kumimoji="0" sz="2500" b="0" i="0" u="none" strike="noStrike" kern="0" cap="none" spc="0" normalizeH="0" baseline="0" noProof="0" dirty="0">
                <a:ln>
                  <a:noFill/>
                </a:ln>
                <a:solidFill>
                  <a:srgbClr val="F6F9FF"/>
                </a:solidFill>
                <a:effectLst/>
                <a:uLnTx/>
                <a:uFillTx/>
                <a:latin typeface="HarmonyOS Sans SC Black"/>
                <a:ea typeface="+mj-ea"/>
                <a:sym typeface="Poppins Bold"/>
              </a:rPr>
              <a:t>01.</a:t>
            </a:r>
          </a:p>
        </p:txBody>
      </p:sp>
      <p:sp>
        <p:nvSpPr>
          <p:cNvPr id="6" name="Freeform 14">
            <a:extLst>
              <a:ext uri="{FF2B5EF4-FFF2-40B4-BE49-F238E27FC236}">
                <a16:creationId xmlns:a16="http://schemas.microsoft.com/office/drawing/2014/main" id="{850CE675-5C93-46A3-B1DB-EE26381B2F30}"/>
              </a:ext>
            </a:extLst>
          </p:cNvPr>
          <p:cNvSpPr/>
          <p:nvPr/>
        </p:nvSpPr>
        <p:spPr>
          <a:xfrm>
            <a:off x="6605155" y="1792705"/>
            <a:ext cx="1205347" cy="2512836"/>
          </a:xfrm>
          <a:custGeom>
            <a:avLst/>
            <a:gdLst/>
            <a:ahLst/>
            <a:cxnLst>
              <a:cxn ang="0">
                <a:pos x="wd2" y="hd2"/>
              </a:cxn>
              <a:cxn ang="5400000">
                <a:pos x="wd2" y="hd2"/>
              </a:cxn>
              <a:cxn ang="10800000">
                <a:pos x="wd2" y="hd2"/>
              </a:cxn>
              <a:cxn ang="16200000">
                <a:pos x="wd2" y="hd2"/>
              </a:cxn>
            </a:cxnLst>
            <a:rect l="0" t="0" r="r" b="b"/>
            <a:pathLst>
              <a:path w="21600" h="21575" extrusionOk="0">
                <a:moveTo>
                  <a:pt x="21372" y="15838"/>
                </a:moveTo>
                <a:cubicBezTo>
                  <a:pt x="21543" y="15237"/>
                  <a:pt x="21600" y="14637"/>
                  <a:pt x="21600" y="14063"/>
                </a:cubicBezTo>
                <a:cubicBezTo>
                  <a:pt x="21600" y="7509"/>
                  <a:pt x="12652" y="1884"/>
                  <a:pt x="0" y="0"/>
                </a:cubicBezTo>
                <a:cubicBezTo>
                  <a:pt x="1767" y="519"/>
                  <a:pt x="3647" y="1338"/>
                  <a:pt x="5243" y="2540"/>
                </a:cubicBezTo>
                <a:cubicBezTo>
                  <a:pt x="9062" y="5434"/>
                  <a:pt x="6953" y="8138"/>
                  <a:pt x="6839" y="8247"/>
                </a:cubicBezTo>
                <a:cubicBezTo>
                  <a:pt x="6839" y="8247"/>
                  <a:pt x="6839" y="8247"/>
                  <a:pt x="6839" y="8247"/>
                </a:cubicBezTo>
                <a:cubicBezTo>
                  <a:pt x="6725" y="8411"/>
                  <a:pt x="6611" y="8547"/>
                  <a:pt x="6440" y="8711"/>
                </a:cubicBezTo>
                <a:cubicBezTo>
                  <a:pt x="4445" y="10759"/>
                  <a:pt x="4445" y="10759"/>
                  <a:pt x="4445" y="10759"/>
                </a:cubicBezTo>
                <a:cubicBezTo>
                  <a:pt x="2622" y="12589"/>
                  <a:pt x="2622" y="15538"/>
                  <a:pt x="4445" y="17340"/>
                </a:cubicBezTo>
                <a:cubicBezTo>
                  <a:pt x="6440" y="19415"/>
                  <a:pt x="6440" y="19415"/>
                  <a:pt x="6440" y="19415"/>
                </a:cubicBezTo>
                <a:cubicBezTo>
                  <a:pt x="7637" y="20644"/>
                  <a:pt x="7238" y="21272"/>
                  <a:pt x="6668" y="21573"/>
                </a:cubicBezTo>
                <a:cubicBezTo>
                  <a:pt x="8720" y="21600"/>
                  <a:pt x="11512" y="21436"/>
                  <a:pt x="14419" y="20562"/>
                </a:cubicBezTo>
                <a:cubicBezTo>
                  <a:pt x="20346" y="18760"/>
                  <a:pt x="21315" y="16111"/>
                  <a:pt x="21372" y="15838"/>
                </a:cubicBezTo>
                <a:close/>
              </a:path>
            </a:pathLst>
          </a:custGeom>
          <a:gradFill flip="none" rotWithShape="1">
            <a:gsLst>
              <a:gs pos="64000">
                <a:schemeClr val="accent1"/>
              </a:gs>
              <a:gs pos="31000">
                <a:schemeClr val="accent1">
                  <a:lumMod val="60000"/>
                  <a:lumOff val="40000"/>
                </a:schemeClr>
              </a:gs>
              <a:gs pos="0">
                <a:schemeClr val="accent1">
                  <a:lumMod val="40000"/>
                  <a:lumOff val="60000"/>
                </a:schemeClr>
              </a:gs>
            </a:gsLst>
            <a:lin ang="2700000" scaled="1"/>
            <a:tileRect/>
          </a:gradFill>
          <a:ln>
            <a:noFill/>
          </a:ln>
          <a:effectLst>
            <a:outerShdw blurRad="444500" dist="317500" dir="5400000" sx="92000" sy="92000" algn="t" rotWithShape="0">
              <a:schemeClr val="accent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white"/>
              </a:solidFill>
              <a:effectLst/>
              <a:uLnTx/>
              <a:uFillTx/>
              <a:latin typeface="HarmonyOS Sans SC Black"/>
              <a:ea typeface="+mj-ea"/>
              <a:cs typeface="+mn-cs"/>
              <a:sym typeface="Poppins Regular"/>
            </a:endParaRPr>
          </a:p>
        </p:txBody>
      </p:sp>
      <p:sp>
        <p:nvSpPr>
          <p:cNvPr id="7" name="02.">
            <a:extLst>
              <a:ext uri="{FF2B5EF4-FFF2-40B4-BE49-F238E27FC236}">
                <a16:creationId xmlns:a16="http://schemas.microsoft.com/office/drawing/2014/main" id="{EFA3A48F-4EE6-40BC-B8D1-B95E65904DD9}"/>
              </a:ext>
            </a:extLst>
          </p:cNvPr>
          <p:cNvSpPr txBox="1"/>
          <p:nvPr/>
        </p:nvSpPr>
        <p:spPr>
          <a:xfrm>
            <a:off x="7090882" y="3161495"/>
            <a:ext cx="480901" cy="384721"/>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numCol="1" anchor="t">
            <a:spAutoFit/>
          </a:bodyPr>
          <a:lstStyle>
            <a:lvl1pPr algn="l">
              <a:defRPr sz="5000" b="0">
                <a:solidFill>
                  <a:srgbClr val="F6F9FF"/>
                </a:solidFill>
                <a:latin typeface="Poppins Bold"/>
                <a:ea typeface="Poppins Bold"/>
                <a:cs typeface="Poppins Bold"/>
                <a:sym typeface="Poppins Bold"/>
              </a:defRPr>
            </a:lvl1pPr>
          </a:lstStyle>
          <a:p>
            <a:pPr marL="0" marR="0" lvl="0" indent="0" algn="l" defTabSz="412750" rtl="0" eaLnBrk="1" fontAlgn="auto" latinLnBrk="0" hangingPunct="0">
              <a:lnSpc>
                <a:spcPct val="100000"/>
              </a:lnSpc>
              <a:spcBef>
                <a:spcPts val="0"/>
              </a:spcBef>
              <a:spcAft>
                <a:spcPts val="0"/>
              </a:spcAft>
              <a:buClrTx/>
              <a:buSzTx/>
              <a:buFontTx/>
              <a:buNone/>
              <a:tabLst/>
              <a:defRPr/>
            </a:pPr>
            <a:r>
              <a:rPr kumimoji="0" sz="2500" b="0" i="0" u="none" strike="noStrike" kern="0" cap="none" spc="0" normalizeH="0" baseline="0" noProof="0" dirty="0">
                <a:ln>
                  <a:noFill/>
                </a:ln>
                <a:solidFill>
                  <a:srgbClr val="F6F9FF"/>
                </a:solidFill>
                <a:effectLst/>
                <a:uLnTx/>
                <a:uFillTx/>
                <a:latin typeface="HarmonyOS Sans SC Black"/>
                <a:ea typeface="+mj-ea"/>
                <a:sym typeface="Poppins Bold"/>
              </a:rPr>
              <a:t>02.</a:t>
            </a:r>
          </a:p>
        </p:txBody>
      </p:sp>
      <p:sp>
        <p:nvSpPr>
          <p:cNvPr id="9" name="Freeform 16">
            <a:extLst>
              <a:ext uri="{FF2B5EF4-FFF2-40B4-BE49-F238E27FC236}">
                <a16:creationId xmlns:a16="http://schemas.microsoft.com/office/drawing/2014/main" id="{05B84BB5-31ED-4D1C-8213-670CD449807B}"/>
              </a:ext>
            </a:extLst>
          </p:cNvPr>
          <p:cNvSpPr/>
          <p:nvPr/>
        </p:nvSpPr>
        <p:spPr>
          <a:xfrm>
            <a:off x="5223285" y="3939795"/>
            <a:ext cx="2510651" cy="1205346"/>
          </a:xfrm>
          <a:custGeom>
            <a:avLst/>
            <a:gdLst/>
            <a:ahLst/>
            <a:cxnLst>
              <a:cxn ang="0">
                <a:pos x="wd2" y="hd2"/>
              </a:cxn>
              <a:cxn ang="5400000">
                <a:pos x="wd2" y="hd2"/>
              </a:cxn>
              <a:cxn ang="10800000">
                <a:pos x="wd2" y="hd2"/>
              </a:cxn>
              <a:cxn ang="16200000">
                <a:pos x="wd2" y="hd2"/>
              </a:cxn>
            </a:cxnLst>
            <a:rect l="0" t="0" r="r" b="b"/>
            <a:pathLst>
              <a:path w="21575" h="21600" extrusionOk="0">
                <a:moveTo>
                  <a:pt x="5737" y="21372"/>
                </a:moveTo>
                <a:cubicBezTo>
                  <a:pt x="6310" y="21543"/>
                  <a:pt x="6911" y="21600"/>
                  <a:pt x="7512" y="21600"/>
                </a:cubicBezTo>
                <a:cubicBezTo>
                  <a:pt x="14066" y="21600"/>
                  <a:pt x="19691" y="12652"/>
                  <a:pt x="21575" y="0"/>
                </a:cubicBezTo>
                <a:cubicBezTo>
                  <a:pt x="21056" y="1767"/>
                  <a:pt x="20237" y="3647"/>
                  <a:pt x="19035" y="5243"/>
                </a:cubicBezTo>
                <a:cubicBezTo>
                  <a:pt x="16141" y="9062"/>
                  <a:pt x="13437" y="6953"/>
                  <a:pt x="13328" y="6839"/>
                </a:cubicBezTo>
                <a:cubicBezTo>
                  <a:pt x="13328" y="6839"/>
                  <a:pt x="13328" y="6839"/>
                  <a:pt x="13328" y="6839"/>
                </a:cubicBezTo>
                <a:cubicBezTo>
                  <a:pt x="13164" y="6725"/>
                  <a:pt x="13028" y="6611"/>
                  <a:pt x="12864" y="6440"/>
                </a:cubicBezTo>
                <a:cubicBezTo>
                  <a:pt x="10789" y="4388"/>
                  <a:pt x="10789" y="4388"/>
                  <a:pt x="10789" y="4388"/>
                </a:cubicBezTo>
                <a:cubicBezTo>
                  <a:pt x="8986" y="2622"/>
                  <a:pt x="6037" y="2622"/>
                  <a:pt x="4208" y="4388"/>
                </a:cubicBezTo>
                <a:cubicBezTo>
                  <a:pt x="2160" y="6440"/>
                  <a:pt x="2160" y="6440"/>
                  <a:pt x="2160" y="6440"/>
                </a:cubicBezTo>
                <a:cubicBezTo>
                  <a:pt x="931" y="7637"/>
                  <a:pt x="303" y="7238"/>
                  <a:pt x="2" y="6668"/>
                </a:cubicBezTo>
                <a:cubicBezTo>
                  <a:pt x="-25" y="8720"/>
                  <a:pt x="139" y="11512"/>
                  <a:pt x="1013" y="14419"/>
                </a:cubicBezTo>
                <a:cubicBezTo>
                  <a:pt x="2815" y="20346"/>
                  <a:pt x="5436" y="21315"/>
                  <a:pt x="5737" y="21372"/>
                </a:cubicBezTo>
                <a:close/>
              </a:path>
            </a:pathLst>
          </a:custGeom>
          <a:gradFill flip="none" rotWithShape="1">
            <a:gsLst>
              <a:gs pos="64000">
                <a:schemeClr val="accent1"/>
              </a:gs>
              <a:gs pos="31000">
                <a:schemeClr val="accent1">
                  <a:lumMod val="60000"/>
                  <a:lumOff val="40000"/>
                </a:schemeClr>
              </a:gs>
              <a:gs pos="0">
                <a:schemeClr val="accent1">
                  <a:lumMod val="40000"/>
                  <a:lumOff val="60000"/>
                </a:schemeClr>
              </a:gs>
            </a:gsLst>
            <a:lin ang="8100000" scaled="1"/>
            <a:tileRect/>
          </a:gradFill>
          <a:ln>
            <a:noFill/>
          </a:ln>
          <a:effectLst>
            <a:outerShdw blurRad="444500" dist="317500" dir="5400000" sx="92000" sy="92000" algn="t" rotWithShape="0">
              <a:schemeClr val="accent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white"/>
              </a:solidFill>
              <a:effectLst/>
              <a:uLnTx/>
              <a:uFillTx/>
              <a:latin typeface="HarmonyOS Sans SC Black"/>
              <a:ea typeface="+mj-ea"/>
              <a:cs typeface="+mn-cs"/>
              <a:sym typeface="Poppins Regular"/>
            </a:endParaRPr>
          </a:p>
        </p:txBody>
      </p:sp>
      <p:sp>
        <p:nvSpPr>
          <p:cNvPr id="10" name="03.">
            <a:extLst>
              <a:ext uri="{FF2B5EF4-FFF2-40B4-BE49-F238E27FC236}">
                <a16:creationId xmlns:a16="http://schemas.microsoft.com/office/drawing/2014/main" id="{0660C296-4821-425E-8DB4-D3E6E6E81959}"/>
              </a:ext>
            </a:extLst>
          </p:cNvPr>
          <p:cNvSpPr txBox="1"/>
          <p:nvPr/>
        </p:nvSpPr>
        <p:spPr>
          <a:xfrm>
            <a:off x="5735108" y="4386855"/>
            <a:ext cx="492122" cy="384721"/>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numCol="1" anchor="t">
            <a:spAutoFit/>
          </a:bodyPr>
          <a:lstStyle>
            <a:lvl1pPr algn="l">
              <a:defRPr sz="5000" b="0">
                <a:solidFill>
                  <a:srgbClr val="F6F9FF"/>
                </a:solidFill>
                <a:latin typeface="Poppins Bold"/>
                <a:ea typeface="Poppins Bold"/>
                <a:cs typeface="Poppins Bold"/>
                <a:sym typeface="Poppins Bold"/>
              </a:defRPr>
            </a:lvl1pPr>
          </a:lstStyle>
          <a:p>
            <a:pPr marL="0" marR="0" lvl="0" indent="0" algn="l" defTabSz="412750" rtl="0" eaLnBrk="1" fontAlgn="auto" latinLnBrk="0" hangingPunct="0">
              <a:lnSpc>
                <a:spcPct val="100000"/>
              </a:lnSpc>
              <a:spcBef>
                <a:spcPts val="0"/>
              </a:spcBef>
              <a:spcAft>
                <a:spcPts val="0"/>
              </a:spcAft>
              <a:buClrTx/>
              <a:buSzTx/>
              <a:buFontTx/>
              <a:buNone/>
              <a:tabLst/>
              <a:defRPr/>
            </a:pPr>
            <a:r>
              <a:rPr kumimoji="0" sz="2500" b="0" i="0" u="none" strike="noStrike" kern="0" cap="none" spc="0" normalizeH="0" baseline="0" noProof="0">
                <a:ln>
                  <a:noFill/>
                </a:ln>
                <a:solidFill>
                  <a:srgbClr val="F6F9FF"/>
                </a:solidFill>
                <a:effectLst/>
                <a:uLnTx/>
                <a:uFillTx/>
                <a:latin typeface="HarmonyOS Sans SC Black"/>
                <a:ea typeface="+mj-ea"/>
                <a:sym typeface="Poppins Bold"/>
              </a:rPr>
              <a:t>03.</a:t>
            </a:r>
          </a:p>
        </p:txBody>
      </p:sp>
      <p:sp>
        <p:nvSpPr>
          <p:cNvPr id="12" name="Freeform 17">
            <a:extLst>
              <a:ext uri="{FF2B5EF4-FFF2-40B4-BE49-F238E27FC236}">
                <a16:creationId xmlns:a16="http://schemas.microsoft.com/office/drawing/2014/main" id="{7635ED50-D5EB-401D-A242-1B931D49E2B9}"/>
              </a:ext>
            </a:extLst>
          </p:cNvPr>
          <p:cNvSpPr/>
          <p:nvPr/>
        </p:nvSpPr>
        <p:spPr>
          <a:xfrm>
            <a:off x="4381500" y="2556164"/>
            <a:ext cx="1204253" cy="2512413"/>
          </a:xfrm>
          <a:custGeom>
            <a:avLst/>
            <a:gdLst/>
            <a:ahLst/>
            <a:cxnLst>
              <a:cxn ang="0">
                <a:pos x="wd2" y="hd2"/>
              </a:cxn>
              <a:cxn ang="5400000">
                <a:pos x="wd2" y="hd2"/>
              </a:cxn>
              <a:cxn ang="10800000">
                <a:pos x="wd2" y="hd2"/>
              </a:cxn>
              <a:cxn ang="16200000">
                <a:pos x="wd2" y="hd2"/>
              </a:cxn>
            </a:cxnLst>
            <a:rect l="0" t="0" r="r" b="b"/>
            <a:pathLst>
              <a:path w="21600" h="21600" extrusionOk="0">
                <a:moveTo>
                  <a:pt x="7238" y="1012"/>
                </a:moveTo>
                <a:cubicBezTo>
                  <a:pt x="1311" y="2789"/>
                  <a:pt x="342" y="5441"/>
                  <a:pt x="228" y="5742"/>
                </a:cubicBezTo>
                <a:cubicBezTo>
                  <a:pt x="114" y="6316"/>
                  <a:pt x="0" y="6917"/>
                  <a:pt x="0" y="7519"/>
                </a:cubicBezTo>
                <a:cubicBezTo>
                  <a:pt x="0" y="14081"/>
                  <a:pt x="9005" y="19713"/>
                  <a:pt x="21600" y="21600"/>
                </a:cubicBezTo>
                <a:cubicBezTo>
                  <a:pt x="19890" y="21081"/>
                  <a:pt x="18009" y="20260"/>
                  <a:pt x="16357" y="19057"/>
                </a:cubicBezTo>
                <a:cubicBezTo>
                  <a:pt x="12538" y="16159"/>
                  <a:pt x="14704" y="13452"/>
                  <a:pt x="14818" y="13343"/>
                </a:cubicBezTo>
                <a:cubicBezTo>
                  <a:pt x="14818" y="13343"/>
                  <a:pt x="14818" y="13343"/>
                  <a:pt x="14818" y="13343"/>
                </a:cubicBezTo>
                <a:cubicBezTo>
                  <a:pt x="14932" y="13179"/>
                  <a:pt x="15046" y="13042"/>
                  <a:pt x="15217" y="12878"/>
                </a:cubicBezTo>
                <a:cubicBezTo>
                  <a:pt x="17212" y="10800"/>
                  <a:pt x="17212" y="10800"/>
                  <a:pt x="17212" y="10800"/>
                </a:cubicBezTo>
                <a:cubicBezTo>
                  <a:pt x="18978" y="8995"/>
                  <a:pt x="18978" y="6043"/>
                  <a:pt x="17212" y="4211"/>
                </a:cubicBezTo>
                <a:cubicBezTo>
                  <a:pt x="15217" y="2160"/>
                  <a:pt x="15217" y="2160"/>
                  <a:pt x="15217" y="2160"/>
                </a:cubicBezTo>
                <a:cubicBezTo>
                  <a:pt x="14020" y="930"/>
                  <a:pt x="14419" y="301"/>
                  <a:pt x="14989" y="0"/>
                </a:cubicBezTo>
                <a:cubicBezTo>
                  <a:pt x="14761" y="0"/>
                  <a:pt x="14590" y="0"/>
                  <a:pt x="14362" y="0"/>
                </a:cubicBezTo>
                <a:cubicBezTo>
                  <a:pt x="12424" y="0"/>
                  <a:pt x="9860" y="219"/>
                  <a:pt x="7238" y="1012"/>
                </a:cubicBezTo>
                <a:close/>
              </a:path>
            </a:pathLst>
          </a:custGeom>
          <a:gradFill flip="none" rotWithShape="1">
            <a:gsLst>
              <a:gs pos="64000">
                <a:schemeClr val="accent1"/>
              </a:gs>
              <a:gs pos="31000">
                <a:schemeClr val="accent1">
                  <a:lumMod val="60000"/>
                  <a:lumOff val="40000"/>
                </a:schemeClr>
              </a:gs>
              <a:gs pos="0">
                <a:schemeClr val="accent1">
                  <a:lumMod val="40000"/>
                  <a:lumOff val="60000"/>
                </a:schemeClr>
              </a:gs>
            </a:gsLst>
            <a:lin ang="13500000" scaled="1"/>
            <a:tileRect/>
          </a:gradFill>
          <a:ln>
            <a:noFill/>
          </a:ln>
          <a:effectLst>
            <a:outerShdw blurRad="444500" dist="317500" dir="5400000" sx="92000" sy="92000" algn="t" rotWithShape="0">
              <a:schemeClr val="accent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white"/>
              </a:solidFill>
              <a:effectLst/>
              <a:uLnTx/>
              <a:uFillTx/>
              <a:latin typeface="HarmonyOS Sans SC Black"/>
              <a:ea typeface="+mj-ea"/>
              <a:cs typeface="+mn-cs"/>
              <a:sym typeface="Poppins Regular"/>
            </a:endParaRPr>
          </a:p>
        </p:txBody>
      </p:sp>
      <p:sp>
        <p:nvSpPr>
          <p:cNvPr id="13" name="04.">
            <a:extLst>
              <a:ext uri="{FF2B5EF4-FFF2-40B4-BE49-F238E27FC236}">
                <a16:creationId xmlns:a16="http://schemas.microsoft.com/office/drawing/2014/main" id="{DA7B5361-D165-4DD8-AA89-7972B205985E}"/>
              </a:ext>
            </a:extLst>
          </p:cNvPr>
          <p:cNvSpPr txBox="1"/>
          <p:nvPr/>
        </p:nvSpPr>
        <p:spPr>
          <a:xfrm>
            <a:off x="4678385" y="3161495"/>
            <a:ext cx="484107" cy="384721"/>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numCol="1" anchor="t">
            <a:spAutoFit/>
          </a:bodyPr>
          <a:lstStyle>
            <a:lvl1pPr algn="l">
              <a:defRPr sz="5000" b="0">
                <a:solidFill>
                  <a:srgbClr val="F6F9FF"/>
                </a:solidFill>
                <a:latin typeface="Poppins Bold"/>
                <a:ea typeface="Poppins Bold"/>
                <a:cs typeface="Poppins Bold"/>
                <a:sym typeface="Poppins Bold"/>
              </a:defRPr>
            </a:lvl1pPr>
          </a:lstStyle>
          <a:p>
            <a:pPr marL="0" marR="0" lvl="0" indent="0" algn="l" defTabSz="412750" rtl="0" eaLnBrk="1" fontAlgn="auto" latinLnBrk="0" hangingPunct="0">
              <a:lnSpc>
                <a:spcPct val="100000"/>
              </a:lnSpc>
              <a:spcBef>
                <a:spcPts val="0"/>
              </a:spcBef>
              <a:spcAft>
                <a:spcPts val="0"/>
              </a:spcAft>
              <a:buClrTx/>
              <a:buSzTx/>
              <a:buFontTx/>
              <a:buNone/>
              <a:tabLst/>
              <a:defRPr/>
            </a:pPr>
            <a:r>
              <a:rPr kumimoji="0" sz="2500" b="0" i="0" u="none" strike="noStrike" kern="0" cap="none" spc="0" normalizeH="0" baseline="0" noProof="0">
                <a:ln>
                  <a:noFill/>
                </a:ln>
                <a:solidFill>
                  <a:srgbClr val="F6F9FF"/>
                </a:solidFill>
                <a:effectLst/>
                <a:uLnTx/>
                <a:uFillTx/>
                <a:latin typeface="HarmonyOS Sans SC Black"/>
                <a:ea typeface="+mj-ea"/>
                <a:sym typeface="Poppins Bold"/>
              </a:rPr>
              <a:t>04.</a:t>
            </a:r>
          </a:p>
        </p:txBody>
      </p:sp>
      <p:grpSp>
        <p:nvGrpSpPr>
          <p:cNvPr id="39" name="组合 38">
            <a:extLst>
              <a:ext uri="{FF2B5EF4-FFF2-40B4-BE49-F238E27FC236}">
                <a16:creationId xmlns:a16="http://schemas.microsoft.com/office/drawing/2014/main" id="{2954C8DB-AAF3-4F73-AA76-A8DC3500B881}"/>
              </a:ext>
            </a:extLst>
          </p:cNvPr>
          <p:cNvGrpSpPr/>
          <p:nvPr/>
        </p:nvGrpSpPr>
        <p:grpSpPr>
          <a:xfrm>
            <a:off x="976987" y="2181046"/>
            <a:ext cx="2668622" cy="881603"/>
            <a:chOff x="976987" y="2692095"/>
            <a:chExt cx="2668622" cy="881603"/>
          </a:xfrm>
        </p:grpSpPr>
        <p:sp>
          <p:nvSpPr>
            <p:cNvPr id="40" name="TextBox 65">
              <a:extLst>
                <a:ext uri="{FF2B5EF4-FFF2-40B4-BE49-F238E27FC236}">
                  <a16:creationId xmlns:a16="http://schemas.microsoft.com/office/drawing/2014/main" id="{167681EC-2896-4B4E-A3F6-22532D80645E}"/>
                </a:ext>
              </a:extLst>
            </p:cNvPr>
            <p:cNvSpPr txBox="1"/>
            <p:nvPr/>
          </p:nvSpPr>
          <p:spPr>
            <a:xfrm>
              <a:off x="1589348" y="2692095"/>
              <a:ext cx="2056261" cy="387598"/>
            </a:xfrm>
            <a:prstGeom prst="rect">
              <a:avLst/>
            </a:prstGeom>
            <a:noFill/>
          </p:spPr>
          <p:txBody>
            <a:bodyPr wrap="square" lIns="0" tIns="36000" rIns="0" bIns="36000" rtlCol="0">
              <a:spAutoFit/>
            </a:bodyPr>
            <a:lstStyle/>
            <a:p>
              <a:pPr marL="0" marR="0" lvl="0" indent="0" algn="r" defTabSz="914400" rtl="0" eaLnBrk="1" fontAlgn="auto" latinLnBrk="0" hangingPunct="1">
                <a:lnSpc>
                  <a:spcPct val="120000"/>
                </a:lnSpc>
                <a:spcBef>
                  <a:spcPts val="600"/>
                </a:spcBef>
                <a:spcAft>
                  <a:spcPts val="0"/>
                </a:spcAft>
                <a:buClrTx/>
                <a:buSzTx/>
                <a:buFontTx/>
                <a:buNone/>
                <a:tabLst/>
                <a:defRPr/>
              </a:pPr>
              <a:r>
                <a:rPr kumimoji="0" lang="zh-CN" altLang="en-US" sz="1800" b="0" i="0" u="none" strike="noStrike" kern="1200" cap="none" spc="0" normalizeH="0" baseline="0" noProof="0" dirty="0">
                  <a:ln>
                    <a:noFill/>
                  </a:ln>
                  <a:solidFill>
                    <a:schemeClr val="accent1"/>
                  </a:solidFill>
                  <a:effectLst/>
                  <a:uLnTx/>
                  <a:uFillTx/>
                  <a:latin typeface="HarmonyOS Sans SC Black"/>
                  <a:ea typeface="+mj-ea"/>
                  <a:cs typeface="+mn-cs"/>
                </a:rPr>
                <a:t>关键词标题</a:t>
              </a:r>
              <a:endParaRPr kumimoji="0" lang="en-US" sz="1800" b="0" i="0" u="none" strike="noStrike" kern="1200" cap="none" spc="0" normalizeH="0" baseline="0" noProof="0" dirty="0">
                <a:ln>
                  <a:noFill/>
                </a:ln>
                <a:solidFill>
                  <a:schemeClr val="accent1"/>
                </a:solidFill>
                <a:effectLst/>
                <a:uLnTx/>
                <a:uFillTx/>
                <a:latin typeface="HarmonyOS Sans SC Black"/>
                <a:ea typeface="+mj-ea"/>
                <a:cs typeface="+mn-cs"/>
              </a:endParaRPr>
            </a:p>
          </p:txBody>
        </p:sp>
        <p:sp>
          <p:nvSpPr>
            <p:cNvPr id="41" name="TextBox 65">
              <a:extLst>
                <a:ext uri="{FF2B5EF4-FFF2-40B4-BE49-F238E27FC236}">
                  <a16:creationId xmlns:a16="http://schemas.microsoft.com/office/drawing/2014/main" id="{DB8DF68C-1C21-4966-AB1B-F9D831752781}"/>
                </a:ext>
              </a:extLst>
            </p:cNvPr>
            <p:cNvSpPr txBox="1"/>
            <p:nvPr/>
          </p:nvSpPr>
          <p:spPr>
            <a:xfrm>
              <a:off x="976987" y="3075494"/>
              <a:ext cx="2668622" cy="498204"/>
            </a:xfrm>
            <a:prstGeom prst="rect">
              <a:avLst/>
            </a:prstGeom>
            <a:noFill/>
          </p:spPr>
          <p:txBody>
            <a:bodyPr wrap="square" lIns="0" tIns="36000" rIns="0" bIns="36000" rtlCol="0">
              <a:spAutoFit/>
            </a:bodyPr>
            <a:lstStyle/>
            <a:p>
              <a:pPr marL="0" marR="0" lvl="0" indent="0" algn="r" defTabSz="914400" rtl="0" eaLnBrk="1" fontAlgn="auto" latinLnBrk="0" hangingPunct="1">
                <a:lnSpc>
                  <a:spcPct val="120000"/>
                </a:lnSpc>
                <a:spcBef>
                  <a:spcPts val="600"/>
                </a:spcBef>
                <a:spcAft>
                  <a:spcPts val="0"/>
                </a:spcAft>
                <a:buClrTx/>
                <a:buSzTx/>
                <a:buFontTx/>
                <a:buNone/>
                <a:tabLst/>
                <a:defRPr/>
              </a:pPr>
              <a:r>
                <a:rPr kumimoji="0" lang="en-US" sz="1200" b="0" i="0" u="none" strike="noStrike" kern="1200" cap="none" spc="0" normalizeH="0" baseline="0" noProof="0" dirty="0">
                  <a:ln>
                    <a:noFill/>
                  </a:ln>
                  <a:solidFill>
                    <a:prstClr val="black">
                      <a:lumMod val="50000"/>
                      <a:lumOff val="50000"/>
                    </a:prstClr>
                  </a:solidFill>
                  <a:effectLst/>
                  <a:uLnTx/>
                  <a:uFillTx/>
                  <a:latin typeface="HarmonyOS Sans SC"/>
                  <a:cs typeface="+mn-cs"/>
                </a:rPr>
                <a:t>Apparently we had reached a great height in the.</a:t>
              </a:r>
            </a:p>
          </p:txBody>
        </p:sp>
      </p:grpSp>
      <p:sp>
        <p:nvSpPr>
          <p:cNvPr id="42" name="TextBox 65">
            <a:extLst>
              <a:ext uri="{FF2B5EF4-FFF2-40B4-BE49-F238E27FC236}">
                <a16:creationId xmlns:a16="http://schemas.microsoft.com/office/drawing/2014/main" id="{8938CF4E-C09C-4685-B608-1EBC9DFA817C}"/>
              </a:ext>
            </a:extLst>
          </p:cNvPr>
          <p:cNvSpPr txBox="1"/>
          <p:nvPr/>
        </p:nvSpPr>
        <p:spPr>
          <a:xfrm>
            <a:off x="1589348" y="4087400"/>
            <a:ext cx="2056261" cy="387598"/>
          </a:xfrm>
          <a:prstGeom prst="rect">
            <a:avLst/>
          </a:prstGeom>
          <a:noFill/>
        </p:spPr>
        <p:txBody>
          <a:bodyPr wrap="square" lIns="0" tIns="36000" rIns="0" bIns="36000" rtlCol="0">
            <a:spAutoFit/>
          </a:bodyPr>
          <a:lstStyle/>
          <a:p>
            <a:pPr marL="0" marR="0" lvl="0" indent="0" algn="r" defTabSz="914400" rtl="0" eaLnBrk="1" fontAlgn="auto" latinLnBrk="0" hangingPunct="1">
              <a:lnSpc>
                <a:spcPct val="120000"/>
              </a:lnSpc>
              <a:spcBef>
                <a:spcPts val="600"/>
              </a:spcBef>
              <a:spcAft>
                <a:spcPts val="0"/>
              </a:spcAft>
              <a:buClrTx/>
              <a:buSzTx/>
              <a:buFontTx/>
              <a:buNone/>
              <a:tabLst/>
              <a:defRPr/>
            </a:pPr>
            <a:r>
              <a:rPr kumimoji="0" lang="zh-CN" altLang="en-US" sz="1800" b="0" i="0" u="none" strike="noStrike" kern="1200" cap="none" spc="0" normalizeH="0" baseline="0" noProof="0" dirty="0">
                <a:ln>
                  <a:noFill/>
                </a:ln>
                <a:solidFill>
                  <a:schemeClr val="accent1"/>
                </a:solidFill>
                <a:effectLst/>
                <a:uLnTx/>
                <a:uFillTx/>
                <a:latin typeface="HarmonyOS Sans SC Black"/>
                <a:ea typeface="+mj-ea"/>
                <a:cs typeface="+mn-cs"/>
              </a:rPr>
              <a:t>关键词标题</a:t>
            </a:r>
            <a:endParaRPr kumimoji="0" lang="en-US" sz="1800" b="0" i="0" u="none" strike="noStrike" kern="1200" cap="none" spc="0" normalizeH="0" baseline="0" noProof="0" dirty="0">
              <a:ln>
                <a:noFill/>
              </a:ln>
              <a:solidFill>
                <a:schemeClr val="accent1"/>
              </a:solidFill>
              <a:effectLst/>
              <a:uLnTx/>
              <a:uFillTx/>
              <a:latin typeface="HarmonyOS Sans SC Black"/>
              <a:ea typeface="+mj-ea"/>
              <a:cs typeface="+mn-cs"/>
            </a:endParaRPr>
          </a:p>
        </p:txBody>
      </p:sp>
      <p:sp>
        <p:nvSpPr>
          <p:cNvPr id="43" name="TextBox 65">
            <a:extLst>
              <a:ext uri="{FF2B5EF4-FFF2-40B4-BE49-F238E27FC236}">
                <a16:creationId xmlns:a16="http://schemas.microsoft.com/office/drawing/2014/main" id="{986A38E1-7677-4FF5-93A7-6791F779C6CD}"/>
              </a:ext>
            </a:extLst>
          </p:cNvPr>
          <p:cNvSpPr txBox="1"/>
          <p:nvPr/>
        </p:nvSpPr>
        <p:spPr>
          <a:xfrm>
            <a:off x="976987" y="4470799"/>
            <a:ext cx="2668622" cy="498204"/>
          </a:xfrm>
          <a:prstGeom prst="rect">
            <a:avLst/>
          </a:prstGeom>
          <a:noFill/>
        </p:spPr>
        <p:txBody>
          <a:bodyPr wrap="square" lIns="0" tIns="36000" rIns="0" bIns="36000" rtlCol="0">
            <a:spAutoFit/>
          </a:bodyPr>
          <a:lstStyle/>
          <a:p>
            <a:pPr marL="0" marR="0" lvl="0" indent="0" algn="r" defTabSz="914400" rtl="0" eaLnBrk="1" fontAlgn="auto" latinLnBrk="0" hangingPunct="1">
              <a:lnSpc>
                <a:spcPct val="120000"/>
              </a:lnSpc>
              <a:spcBef>
                <a:spcPts val="600"/>
              </a:spcBef>
              <a:spcAft>
                <a:spcPts val="0"/>
              </a:spcAft>
              <a:buClrTx/>
              <a:buSzTx/>
              <a:buFontTx/>
              <a:buNone/>
              <a:tabLst/>
              <a:defRPr/>
            </a:pPr>
            <a:r>
              <a:rPr kumimoji="0" lang="en-US" sz="1200" b="0" i="0" u="none" strike="noStrike" kern="1200" cap="none" spc="0" normalizeH="0" baseline="0" noProof="0" dirty="0">
                <a:ln>
                  <a:noFill/>
                </a:ln>
                <a:solidFill>
                  <a:prstClr val="black">
                    <a:lumMod val="50000"/>
                    <a:lumOff val="50000"/>
                  </a:prstClr>
                </a:solidFill>
                <a:effectLst/>
                <a:uLnTx/>
                <a:uFillTx/>
                <a:latin typeface="HarmonyOS Sans SC"/>
                <a:cs typeface="+mn-cs"/>
              </a:rPr>
              <a:t>Apparently we had reached a great height in the.</a:t>
            </a:r>
          </a:p>
        </p:txBody>
      </p:sp>
      <p:grpSp>
        <p:nvGrpSpPr>
          <p:cNvPr id="44" name="组合 43">
            <a:extLst>
              <a:ext uri="{FF2B5EF4-FFF2-40B4-BE49-F238E27FC236}">
                <a16:creationId xmlns:a16="http://schemas.microsoft.com/office/drawing/2014/main" id="{EEB91CCA-49E4-4FF0-8083-E04857446D16}"/>
              </a:ext>
            </a:extLst>
          </p:cNvPr>
          <p:cNvGrpSpPr/>
          <p:nvPr/>
        </p:nvGrpSpPr>
        <p:grpSpPr>
          <a:xfrm>
            <a:off x="8546391" y="2181046"/>
            <a:ext cx="2668622" cy="881603"/>
            <a:chOff x="8546391" y="2692095"/>
            <a:chExt cx="2668622" cy="881603"/>
          </a:xfrm>
        </p:grpSpPr>
        <p:sp>
          <p:nvSpPr>
            <p:cNvPr id="45" name="TextBox 65">
              <a:extLst>
                <a:ext uri="{FF2B5EF4-FFF2-40B4-BE49-F238E27FC236}">
                  <a16:creationId xmlns:a16="http://schemas.microsoft.com/office/drawing/2014/main" id="{75ADC225-DB89-4EFC-9DB6-2DA6C882375B}"/>
                </a:ext>
              </a:extLst>
            </p:cNvPr>
            <p:cNvSpPr txBox="1"/>
            <p:nvPr/>
          </p:nvSpPr>
          <p:spPr>
            <a:xfrm flipH="1">
              <a:off x="8546391" y="2692095"/>
              <a:ext cx="2056261" cy="387598"/>
            </a:xfrm>
            <a:prstGeom prst="rect">
              <a:avLst/>
            </a:prstGeom>
            <a:noFill/>
          </p:spPr>
          <p:txBody>
            <a:bodyPr wrap="square" lIns="0" tIns="36000" rIns="0" bIns="36000" rtlCol="0">
              <a:spAutoFit/>
            </a:bodyPr>
            <a:lstStyle/>
            <a:p>
              <a:pPr marL="0" marR="0" lvl="0" indent="0" algn="l" defTabSz="914400" rtl="0" eaLnBrk="1" fontAlgn="auto" latinLnBrk="0" hangingPunct="1">
                <a:lnSpc>
                  <a:spcPct val="120000"/>
                </a:lnSpc>
                <a:spcBef>
                  <a:spcPts val="600"/>
                </a:spcBef>
                <a:spcAft>
                  <a:spcPts val="0"/>
                </a:spcAft>
                <a:buClrTx/>
                <a:buSzTx/>
                <a:buFontTx/>
                <a:buNone/>
                <a:tabLst/>
                <a:defRPr/>
              </a:pPr>
              <a:r>
                <a:rPr kumimoji="0" lang="zh-CN" altLang="en-US" sz="1800" b="0" i="0" u="none" strike="noStrike" kern="1200" cap="none" spc="0" normalizeH="0" baseline="0" noProof="0" dirty="0">
                  <a:ln>
                    <a:noFill/>
                  </a:ln>
                  <a:solidFill>
                    <a:schemeClr val="accent1"/>
                  </a:solidFill>
                  <a:effectLst/>
                  <a:uLnTx/>
                  <a:uFillTx/>
                  <a:latin typeface="HarmonyOS Sans SC Black"/>
                  <a:ea typeface="+mj-ea"/>
                  <a:cs typeface="+mn-cs"/>
                </a:rPr>
                <a:t>关键词标题</a:t>
              </a:r>
              <a:endParaRPr kumimoji="0" lang="en-US" sz="1800" b="0" i="0" u="none" strike="noStrike" kern="1200" cap="none" spc="0" normalizeH="0" baseline="0" noProof="0" dirty="0">
                <a:ln>
                  <a:noFill/>
                </a:ln>
                <a:solidFill>
                  <a:schemeClr val="accent1"/>
                </a:solidFill>
                <a:effectLst/>
                <a:uLnTx/>
                <a:uFillTx/>
                <a:latin typeface="HarmonyOS Sans SC Black"/>
                <a:ea typeface="+mj-ea"/>
                <a:cs typeface="+mn-cs"/>
              </a:endParaRPr>
            </a:p>
          </p:txBody>
        </p:sp>
        <p:sp>
          <p:nvSpPr>
            <p:cNvPr id="46" name="TextBox 65">
              <a:extLst>
                <a:ext uri="{FF2B5EF4-FFF2-40B4-BE49-F238E27FC236}">
                  <a16:creationId xmlns:a16="http://schemas.microsoft.com/office/drawing/2014/main" id="{3EAAC890-16B8-41DB-B050-049A248141F8}"/>
                </a:ext>
              </a:extLst>
            </p:cNvPr>
            <p:cNvSpPr txBox="1"/>
            <p:nvPr/>
          </p:nvSpPr>
          <p:spPr>
            <a:xfrm flipH="1">
              <a:off x="8546391" y="3075494"/>
              <a:ext cx="2668622" cy="498204"/>
            </a:xfrm>
            <a:prstGeom prst="rect">
              <a:avLst/>
            </a:prstGeom>
            <a:noFill/>
          </p:spPr>
          <p:txBody>
            <a:bodyPr wrap="square" lIns="0" tIns="36000" rIns="0" bIns="36000" rtlCol="0">
              <a:spAutoFit/>
            </a:bodyPr>
            <a:lstStyle/>
            <a:p>
              <a:pPr marL="0" marR="0" lvl="0" indent="0" algn="l" defTabSz="914400" rtl="0" eaLnBrk="1" fontAlgn="auto" latinLnBrk="0" hangingPunct="1">
                <a:lnSpc>
                  <a:spcPct val="120000"/>
                </a:lnSpc>
                <a:spcBef>
                  <a:spcPts val="600"/>
                </a:spcBef>
                <a:spcAft>
                  <a:spcPts val="0"/>
                </a:spcAft>
                <a:buClrTx/>
                <a:buSzTx/>
                <a:buFontTx/>
                <a:buNone/>
                <a:tabLst/>
                <a:defRPr/>
              </a:pPr>
              <a:r>
                <a:rPr kumimoji="0" lang="en-US" sz="1200" b="0" i="0" u="none" strike="noStrike" kern="1200" cap="none" spc="0" normalizeH="0" baseline="0" noProof="0" dirty="0">
                  <a:ln>
                    <a:noFill/>
                  </a:ln>
                  <a:solidFill>
                    <a:prstClr val="black">
                      <a:lumMod val="50000"/>
                      <a:lumOff val="50000"/>
                    </a:prstClr>
                  </a:solidFill>
                  <a:effectLst/>
                  <a:uLnTx/>
                  <a:uFillTx/>
                  <a:latin typeface="HarmonyOS Sans SC"/>
                  <a:cs typeface="+mn-cs"/>
                </a:rPr>
                <a:t>Apparently we had reached a great height in the.</a:t>
              </a:r>
            </a:p>
          </p:txBody>
        </p:sp>
      </p:grpSp>
      <p:sp>
        <p:nvSpPr>
          <p:cNvPr id="47" name="TextBox 65">
            <a:extLst>
              <a:ext uri="{FF2B5EF4-FFF2-40B4-BE49-F238E27FC236}">
                <a16:creationId xmlns:a16="http://schemas.microsoft.com/office/drawing/2014/main" id="{CC26AEB1-E34F-4B31-A275-BC765940A4B0}"/>
              </a:ext>
            </a:extLst>
          </p:cNvPr>
          <p:cNvSpPr txBox="1"/>
          <p:nvPr/>
        </p:nvSpPr>
        <p:spPr>
          <a:xfrm flipH="1">
            <a:off x="8546391" y="4087400"/>
            <a:ext cx="2056261" cy="387598"/>
          </a:xfrm>
          <a:prstGeom prst="rect">
            <a:avLst/>
          </a:prstGeom>
          <a:noFill/>
        </p:spPr>
        <p:txBody>
          <a:bodyPr wrap="square" lIns="0" tIns="36000" rIns="0" bIns="36000" rtlCol="0">
            <a:spAutoFit/>
          </a:bodyPr>
          <a:lstStyle/>
          <a:p>
            <a:pPr marL="0" marR="0" lvl="0" indent="0" algn="l" defTabSz="914400" rtl="0" eaLnBrk="1" fontAlgn="auto" latinLnBrk="0" hangingPunct="1">
              <a:lnSpc>
                <a:spcPct val="120000"/>
              </a:lnSpc>
              <a:spcBef>
                <a:spcPts val="600"/>
              </a:spcBef>
              <a:spcAft>
                <a:spcPts val="0"/>
              </a:spcAft>
              <a:buClrTx/>
              <a:buSzTx/>
              <a:buFontTx/>
              <a:buNone/>
              <a:tabLst/>
              <a:defRPr/>
            </a:pPr>
            <a:r>
              <a:rPr kumimoji="0" lang="zh-CN" altLang="en-US" sz="1800" b="0" i="0" u="none" strike="noStrike" kern="1200" cap="none" spc="0" normalizeH="0" baseline="0" noProof="0" dirty="0">
                <a:ln>
                  <a:noFill/>
                </a:ln>
                <a:solidFill>
                  <a:schemeClr val="accent1"/>
                </a:solidFill>
                <a:effectLst/>
                <a:uLnTx/>
                <a:uFillTx/>
                <a:latin typeface="HarmonyOS Sans SC Black"/>
                <a:ea typeface="+mj-ea"/>
                <a:cs typeface="+mn-cs"/>
              </a:rPr>
              <a:t>关键词标题</a:t>
            </a:r>
            <a:endParaRPr kumimoji="0" lang="en-US" sz="1800" b="0" i="0" u="none" strike="noStrike" kern="1200" cap="none" spc="0" normalizeH="0" baseline="0" noProof="0" dirty="0">
              <a:ln>
                <a:noFill/>
              </a:ln>
              <a:solidFill>
                <a:schemeClr val="accent1"/>
              </a:solidFill>
              <a:effectLst/>
              <a:uLnTx/>
              <a:uFillTx/>
              <a:latin typeface="HarmonyOS Sans SC Black"/>
              <a:ea typeface="+mj-ea"/>
              <a:cs typeface="+mn-cs"/>
            </a:endParaRPr>
          </a:p>
        </p:txBody>
      </p:sp>
      <p:sp>
        <p:nvSpPr>
          <p:cNvPr id="48" name="TextBox 65">
            <a:extLst>
              <a:ext uri="{FF2B5EF4-FFF2-40B4-BE49-F238E27FC236}">
                <a16:creationId xmlns:a16="http://schemas.microsoft.com/office/drawing/2014/main" id="{FA1580E9-BE1F-49A9-BA44-01B552C9CFB0}"/>
              </a:ext>
            </a:extLst>
          </p:cNvPr>
          <p:cNvSpPr txBox="1"/>
          <p:nvPr/>
        </p:nvSpPr>
        <p:spPr>
          <a:xfrm flipH="1">
            <a:off x="8546391" y="4470799"/>
            <a:ext cx="2668622" cy="498204"/>
          </a:xfrm>
          <a:prstGeom prst="rect">
            <a:avLst/>
          </a:prstGeom>
          <a:noFill/>
        </p:spPr>
        <p:txBody>
          <a:bodyPr wrap="square" lIns="0" tIns="36000" rIns="0" bIns="36000" rtlCol="0">
            <a:spAutoFit/>
          </a:bodyPr>
          <a:lstStyle/>
          <a:p>
            <a:pPr marL="0" marR="0" lvl="0" indent="0" algn="l" defTabSz="914400" rtl="0" eaLnBrk="1" fontAlgn="auto" latinLnBrk="0" hangingPunct="1">
              <a:lnSpc>
                <a:spcPct val="120000"/>
              </a:lnSpc>
              <a:spcBef>
                <a:spcPts val="600"/>
              </a:spcBef>
              <a:spcAft>
                <a:spcPts val="0"/>
              </a:spcAft>
              <a:buClrTx/>
              <a:buSzTx/>
              <a:buFontTx/>
              <a:buNone/>
              <a:tabLst/>
              <a:defRPr/>
            </a:pPr>
            <a:r>
              <a:rPr kumimoji="0" lang="en-US" sz="1200" b="0" i="0" u="none" strike="noStrike" kern="1200" cap="none" spc="0" normalizeH="0" baseline="0" noProof="0" dirty="0">
                <a:ln>
                  <a:noFill/>
                </a:ln>
                <a:solidFill>
                  <a:prstClr val="black">
                    <a:lumMod val="50000"/>
                    <a:lumOff val="50000"/>
                  </a:prstClr>
                </a:solidFill>
                <a:effectLst/>
                <a:uLnTx/>
                <a:uFillTx/>
                <a:latin typeface="HarmonyOS Sans SC"/>
                <a:cs typeface="+mn-cs"/>
              </a:rPr>
              <a:t>Apparently we had reached a great height in the.</a:t>
            </a:r>
          </a:p>
        </p:txBody>
      </p:sp>
    </p:spTree>
    <p:extLst>
      <p:ext uri="{BB962C8B-B14F-4D97-AF65-F5344CB8AC3E}">
        <p14:creationId xmlns:p14="http://schemas.microsoft.com/office/powerpoint/2010/main" val="2035366336"/>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4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9" name="组合 58">
            <a:extLst>
              <a:ext uri="{FF2B5EF4-FFF2-40B4-BE49-F238E27FC236}">
                <a16:creationId xmlns:a16="http://schemas.microsoft.com/office/drawing/2014/main" id="{4CFEE859-A415-48A3-8BA8-9124B23AE097}"/>
              </a:ext>
            </a:extLst>
          </p:cNvPr>
          <p:cNvGrpSpPr/>
          <p:nvPr/>
        </p:nvGrpSpPr>
        <p:grpSpPr>
          <a:xfrm>
            <a:off x="4580455" y="2446020"/>
            <a:ext cx="3031092" cy="2991974"/>
            <a:chOff x="4374353" y="2242578"/>
            <a:chExt cx="3443295" cy="3398858"/>
          </a:xfrm>
        </p:grpSpPr>
        <p:sp>
          <p:nvSpPr>
            <p:cNvPr id="3" name="Freeform 457">
              <a:extLst>
                <a:ext uri="{FF2B5EF4-FFF2-40B4-BE49-F238E27FC236}">
                  <a16:creationId xmlns:a16="http://schemas.microsoft.com/office/drawing/2014/main" id="{B3B3BEAE-AB89-4126-84B9-B625F86D2373}"/>
                </a:ext>
              </a:extLst>
            </p:cNvPr>
            <p:cNvSpPr>
              <a:spLocks/>
            </p:cNvSpPr>
            <p:nvPr/>
          </p:nvSpPr>
          <p:spPr bwMode="auto">
            <a:xfrm>
              <a:off x="5450680" y="2242578"/>
              <a:ext cx="1606553" cy="1279533"/>
            </a:xfrm>
            <a:custGeom>
              <a:avLst/>
              <a:gdLst>
                <a:gd name="T0" fmla="*/ 826 w 826"/>
                <a:gd name="T1" fmla="*/ 153 h 658"/>
                <a:gd name="T2" fmla="*/ 332 w 826"/>
                <a:gd name="T3" fmla="*/ 0 h 658"/>
                <a:gd name="T4" fmla="*/ 0 w 826"/>
                <a:gd name="T5" fmla="*/ 65 h 658"/>
                <a:gd name="T6" fmla="*/ 0 w 826"/>
                <a:gd name="T7" fmla="*/ 658 h 658"/>
                <a:gd name="T8" fmla="*/ 264 w 826"/>
                <a:gd name="T9" fmla="*/ 484 h 658"/>
                <a:gd name="T10" fmla="*/ 826 w 826"/>
                <a:gd name="T11" fmla="*/ 153 h 658"/>
              </a:gdLst>
              <a:ahLst/>
              <a:cxnLst>
                <a:cxn ang="0">
                  <a:pos x="T0" y="T1"/>
                </a:cxn>
                <a:cxn ang="0">
                  <a:pos x="T2" y="T3"/>
                </a:cxn>
                <a:cxn ang="0">
                  <a:pos x="T4" y="T5"/>
                </a:cxn>
                <a:cxn ang="0">
                  <a:pos x="T6" y="T7"/>
                </a:cxn>
                <a:cxn ang="0">
                  <a:pos x="T8" y="T9"/>
                </a:cxn>
                <a:cxn ang="0">
                  <a:pos x="T10" y="T11"/>
                </a:cxn>
              </a:cxnLst>
              <a:rect l="0" t="0" r="r" b="b"/>
              <a:pathLst>
                <a:path w="826" h="658">
                  <a:moveTo>
                    <a:pt x="826" y="153"/>
                  </a:moveTo>
                  <a:cubicBezTo>
                    <a:pt x="686" y="56"/>
                    <a:pt x="516" y="0"/>
                    <a:pt x="332" y="0"/>
                  </a:cubicBezTo>
                  <a:cubicBezTo>
                    <a:pt x="215" y="0"/>
                    <a:pt x="102" y="23"/>
                    <a:pt x="0" y="65"/>
                  </a:cubicBezTo>
                  <a:cubicBezTo>
                    <a:pt x="0" y="658"/>
                    <a:pt x="0" y="658"/>
                    <a:pt x="0" y="658"/>
                  </a:cubicBezTo>
                  <a:cubicBezTo>
                    <a:pt x="59" y="568"/>
                    <a:pt x="153" y="503"/>
                    <a:pt x="264" y="484"/>
                  </a:cubicBezTo>
                  <a:lnTo>
                    <a:pt x="826" y="153"/>
                  </a:lnTo>
                  <a:close/>
                </a:path>
              </a:pathLst>
            </a:custGeom>
            <a:gradFill>
              <a:gsLst>
                <a:gs pos="73000">
                  <a:schemeClr val="accent1"/>
                </a:gs>
                <a:gs pos="31000">
                  <a:schemeClr val="accent1">
                    <a:lumMod val="60000"/>
                    <a:lumOff val="40000"/>
                  </a:schemeClr>
                </a:gs>
                <a:gs pos="0">
                  <a:schemeClr val="accent1">
                    <a:lumMod val="40000"/>
                    <a:lumOff val="60000"/>
                  </a:schemeClr>
                </a:gs>
              </a:gsLst>
              <a:path path="circle">
                <a:fillToRect r="100000" b="100000"/>
              </a:path>
            </a:gradFill>
            <a:ln>
              <a:noFill/>
            </a:ln>
            <a:effectLst>
              <a:outerShdw blurRad="444500" dist="317500" dir="5400000" sx="92000" sy="92000" algn="t" rotWithShape="0">
                <a:schemeClr val="accent1">
                  <a:lumMod val="75000"/>
                  <a:alpha val="40000"/>
                </a:schemeClr>
              </a:outerShdw>
            </a:effectLst>
            <a:extLst>
              <a:ext uri="{91240B29-F687-4f45-9708-019B960494DF}">
                <a14:hiddenLine xmlns:a14="http://schemas.microsoft.com/office/drawing/2010/main" xmlns=""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4" name="Freeform 24">
              <a:extLst>
                <a:ext uri="{FF2B5EF4-FFF2-40B4-BE49-F238E27FC236}">
                  <a16:creationId xmlns:a16="http://schemas.microsoft.com/office/drawing/2014/main" id="{CAB9916E-1B85-445B-BD10-2737AFAC7016}"/>
                </a:ext>
              </a:extLst>
            </p:cNvPr>
            <p:cNvSpPr>
              <a:spLocks noEditPoints="1"/>
            </p:cNvSpPr>
            <p:nvPr/>
          </p:nvSpPr>
          <p:spPr bwMode="auto">
            <a:xfrm>
              <a:off x="5829301" y="2445125"/>
              <a:ext cx="455612" cy="404534"/>
            </a:xfrm>
            <a:custGeom>
              <a:avLst/>
              <a:gdLst>
                <a:gd name="T0" fmla="*/ 181 w 208"/>
                <a:gd name="T1" fmla="*/ 40 h 184"/>
                <a:gd name="T2" fmla="*/ 163 w 208"/>
                <a:gd name="T3" fmla="*/ 40 h 184"/>
                <a:gd name="T4" fmla="*/ 143 w 208"/>
                <a:gd name="T5" fmla="*/ 24 h 184"/>
                <a:gd name="T6" fmla="*/ 115 w 208"/>
                <a:gd name="T7" fmla="*/ 0 h 184"/>
                <a:gd name="T8" fmla="*/ 93 w 208"/>
                <a:gd name="T9" fmla="*/ 0 h 184"/>
                <a:gd name="T10" fmla="*/ 65 w 208"/>
                <a:gd name="T11" fmla="*/ 24 h 184"/>
                <a:gd name="T12" fmla="*/ 45 w 208"/>
                <a:gd name="T13" fmla="*/ 40 h 184"/>
                <a:gd name="T14" fmla="*/ 27 w 208"/>
                <a:gd name="T15" fmla="*/ 40 h 184"/>
                <a:gd name="T16" fmla="*/ 0 w 208"/>
                <a:gd name="T17" fmla="*/ 68 h 184"/>
                <a:gd name="T18" fmla="*/ 0 w 208"/>
                <a:gd name="T19" fmla="*/ 156 h 184"/>
                <a:gd name="T20" fmla="*/ 27 w 208"/>
                <a:gd name="T21" fmla="*/ 184 h 184"/>
                <a:gd name="T22" fmla="*/ 181 w 208"/>
                <a:gd name="T23" fmla="*/ 184 h 184"/>
                <a:gd name="T24" fmla="*/ 208 w 208"/>
                <a:gd name="T25" fmla="*/ 156 h 184"/>
                <a:gd name="T26" fmla="*/ 208 w 208"/>
                <a:gd name="T27" fmla="*/ 68 h 184"/>
                <a:gd name="T28" fmla="*/ 181 w 208"/>
                <a:gd name="T29" fmla="*/ 40 h 184"/>
                <a:gd name="T30" fmla="*/ 73 w 208"/>
                <a:gd name="T31" fmla="*/ 24 h 184"/>
                <a:gd name="T32" fmla="*/ 93 w 208"/>
                <a:gd name="T33" fmla="*/ 8 h 184"/>
                <a:gd name="T34" fmla="*/ 115 w 208"/>
                <a:gd name="T35" fmla="*/ 8 h 184"/>
                <a:gd name="T36" fmla="*/ 135 w 208"/>
                <a:gd name="T37" fmla="*/ 24 h 184"/>
                <a:gd name="T38" fmla="*/ 143 w 208"/>
                <a:gd name="T39" fmla="*/ 40 h 184"/>
                <a:gd name="T40" fmla="*/ 65 w 208"/>
                <a:gd name="T41" fmla="*/ 40 h 184"/>
                <a:gd name="T42" fmla="*/ 73 w 208"/>
                <a:gd name="T43" fmla="*/ 24 h 184"/>
                <a:gd name="T44" fmla="*/ 200 w 208"/>
                <a:gd name="T45" fmla="*/ 156 h 184"/>
                <a:gd name="T46" fmla="*/ 181 w 208"/>
                <a:gd name="T47" fmla="*/ 176 h 184"/>
                <a:gd name="T48" fmla="*/ 27 w 208"/>
                <a:gd name="T49" fmla="*/ 176 h 184"/>
                <a:gd name="T50" fmla="*/ 8 w 208"/>
                <a:gd name="T51" fmla="*/ 156 h 184"/>
                <a:gd name="T52" fmla="*/ 8 w 208"/>
                <a:gd name="T53" fmla="*/ 68 h 184"/>
                <a:gd name="T54" fmla="*/ 27 w 208"/>
                <a:gd name="T55" fmla="*/ 48 h 184"/>
                <a:gd name="T56" fmla="*/ 45 w 208"/>
                <a:gd name="T57" fmla="*/ 48 h 184"/>
                <a:gd name="T58" fmla="*/ 52 w 208"/>
                <a:gd name="T59" fmla="*/ 47 h 184"/>
                <a:gd name="T60" fmla="*/ 52 w 208"/>
                <a:gd name="T61" fmla="*/ 48 h 184"/>
                <a:gd name="T62" fmla="*/ 152 w 208"/>
                <a:gd name="T63" fmla="*/ 48 h 184"/>
                <a:gd name="T64" fmla="*/ 152 w 208"/>
                <a:gd name="T65" fmla="*/ 46 h 184"/>
                <a:gd name="T66" fmla="*/ 163 w 208"/>
                <a:gd name="T67" fmla="*/ 48 h 184"/>
                <a:gd name="T68" fmla="*/ 181 w 208"/>
                <a:gd name="T69" fmla="*/ 48 h 184"/>
                <a:gd name="T70" fmla="*/ 200 w 208"/>
                <a:gd name="T71" fmla="*/ 68 h 184"/>
                <a:gd name="T72" fmla="*/ 200 w 208"/>
                <a:gd name="T73" fmla="*/ 156 h 184"/>
                <a:gd name="T74" fmla="*/ 120 w 208"/>
                <a:gd name="T75" fmla="*/ 72 h 184"/>
                <a:gd name="T76" fmla="*/ 88 w 208"/>
                <a:gd name="T77" fmla="*/ 72 h 184"/>
                <a:gd name="T78" fmla="*/ 88 w 208"/>
                <a:gd name="T79" fmla="*/ 96 h 184"/>
                <a:gd name="T80" fmla="*/ 64 w 208"/>
                <a:gd name="T81" fmla="*/ 96 h 184"/>
                <a:gd name="T82" fmla="*/ 64 w 208"/>
                <a:gd name="T83" fmla="*/ 128 h 184"/>
                <a:gd name="T84" fmla="*/ 88 w 208"/>
                <a:gd name="T85" fmla="*/ 128 h 184"/>
                <a:gd name="T86" fmla="*/ 88 w 208"/>
                <a:gd name="T87" fmla="*/ 152 h 184"/>
                <a:gd name="T88" fmla="*/ 120 w 208"/>
                <a:gd name="T89" fmla="*/ 152 h 184"/>
                <a:gd name="T90" fmla="*/ 120 w 208"/>
                <a:gd name="T91" fmla="*/ 128 h 184"/>
                <a:gd name="T92" fmla="*/ 144 w 208"/>
                <a:gd name="T93" fmla="*/ 128 h 184"/>
                <a:gd name="T94" fmla="*/ 144 w 208"/>
                <a:gd name="T95" fmla="*/ 96 h 184"/>
                <a:gd name="T96" fmla="*/ 120 w 208"/>
                <a:gd name="T97" fmla="*/ 96 h 184"/>
                <a:gd name="T98" fmla="*/ 120 w 208"/>
                <a:gd name="T99" fmla="*/ 72 h 184"/>
                <a:gd name="T100" fmla="*/ 136 w 208"/>
                <a:gd name="T101" fmla="*/ 104 h 184"/>
                <a:gd name="T102" fmla="*/ 136 w 208"/>
                <a:gd name="T103" fmla="*/ 120 h 184"/>
                <a:gd name="T104" fmla="*/ 112 w 208"/>
                <a:gd name="T105" fmla="*/ 120 h 184"/>
                <a:gd name="T106" fmla="*/ 112 w 208"/>
                <a:gd name="T107" fmla="*/ 144 h 184"/>
                <a:gd name="T108" fmla="*/ 96 w 208"/>
                <a:gd name="T109" fmla="*/ 144 h 184"/>
                <a:gd name="T110" fmla="*/ 96 w 208"/>
                <a:gd name="T111" fmla="*/ 120 h 184"/>
                <a:gd name="T112" fmla="*/ 72 w 208"/>
                <a:gd name="T113" fmla="*/ 120 h 184"/>
                <a:gd name="T114" fmla="*/ 72 w 208"/>
                <a:gd name="T115" fmla="*/ 104 h 184"/>
                <a:gd name="T116" fmla="*/ 96 w 208"/>
                <a:gd name="T117" fmla="*/ 104 h 184"/>
                <a:gd name="T118" fmla="*/ 96 w 208"/>
                <a:gd name="T119" fmla="*/ 80 h 184"/>
                <a:gd name="T120" fmla="*/ 112 w 208"/>
                <a:gd name="T121" fmla="*/ 80 h 184"/>
                <a:gd name="T122" fmla="*/ 112 w 208"/>
                <a:gd name="T123" fmla="*/ 104 h 184"/>
                <a:gd name="T124" fmla="*/ 136 w 208"/>
                <a:gd name="T125" fmla="*/ 104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8" h="184">
                  <a:moveTo>
                    <a:pt x="181" y="40"/>
                  </a:moveTo>
                  <a:cubicBezTo>
                    <a:pt x="163" y="40"/>
                    <a:pt x="163" y="40"/>
                    <a:pt x="163" y="40"/>
                  </a:cubicBezTo>
                  <a:cubicBezTo>
                    <a:pt x="152" y="40"/>
                    <a:pt x="143" y="33"/>
                    <a:pt x="143" y="24"/>
                  </a:cubicBezTo>
                  <a:cubicBezTo>
                    <a:pt x="143" y="11"/>
                    <a:pt x="130" y="0"/>
                    <a:pt x="115" y="0"/>
                  </a:cubicBezTo>
                  <a:cubicBezTo>
                    <a:pt x="93" y="0"/>
                    <a:pt x="93" y="0"/>
                    <a:pt x="93" y="0"/>
                  </a:cubicBezTo>
                  <a:cubicBezTo>
                    <a:pt x="78" y="0"/>
                    <a:pt x="65" y="11"/>
                    <a:pt x="65" y="24"/>
                  </a:cubicBezTo>
                  <a:cubicBezTo>
                    <a:pt x="65" y="33"/>
                    <a:pt x="56" y="40"/>
                    <a:pt x="45" y="40"/>
                  </a:cubicBezTo>
                  <a:cubicBezTo>
                    <a:pt x="27" y="40"/>
                    <a:pt x="27" y="40"/>
                    <a:pt x="27" y="40"/>
                  </a:cubicBezTo>
                  <a:cubicBezTo>
                    <a:pt x="12" y="40"/>
                    <a:pt x="0" y="52"/>
                    <a:pt x="0" y="68"/>
                  </a:cubicBezTo>
                  <a:cubicBezTo>
                    <a:pt x="0" y="156"/>
                    <a:pt x="0" y="156"/>
                    <a:pt x="0" y="156"/>
                  </a:cubicBezTo>
                  <a:cubicBezTo>
                    <a:pt x="0" y="172"/>
                    <a:pt x="12" y="184"/>
                    <a:pt x="27" y="184"/>
                  </a:cubicBezTo>
                  <a:cubicBezTo>
                    <a:pt x="181" y="184"/>
                    <a:pt x="181" y="184"/>
                    <a:pt x="181" y="184"/>
                  </a:cubicBezTo>
                  <a:cubicBezTo>
                    <a:pt x="196" y="184"/>
                    <a:pt x="208" y="172"/>
                    <a:pt x="208" y="156"/>
                  </a:cubicBezTo>
                  <a:cubicBezTo>
                    <a:pt x="208" y="68"/>
                    <a:pt x="208" y="68"/>
                    <a:pt x="208" y="68"/>
                  </a:cubicBezTo>
                  <a:cubicBezTo>
                    <a:pt x="208" y="52"/>
                    <a:pt x="197" y="40"/>
                    <a:pt x="181" y="40"/>
                  </a:cubicBezTo>
                  <a:close/>
                  <a:moveTo>
                    <a:pt x="73" y="24"/>
                  </a:moveTo>
                  <a:cubicBezTo>
                    <a:pt x="73" y="15"/>
                    <a:pt x="82" y="8"/>
                    <a:pt x="93" y="8"/>
                  </a:cubicBezTo>
                  <a:cubicBezTo>
                    <a:pt x="115" y="8"/>
                    <a:pt x="115" y="8"/>
                    <a:pt x="115" y="8"/>
                  </a:cubicBezTo>
                  <a:cubicBezTo>
                    <a:pt x="126" y="8"/>
                    <a:pt x="135" y="15"/>
                    <a:pt x="135" y="24"/>
                  </a:cubicBezTo>
                  <a:cubicBezTo>
                    <a:pt x="135" y="30"/>
                    <a:pt x="138" y="36"/>
                    <a:pt x="143" y="40"/>
                  </a:cubicBezTo>
                  <a:cubicBezTo>
                    <a:pt x="65" y="40"/>
                    <a:pt x="65" y="40"/>
                    <a:pt x="65" y="40"/>
                  </a:cubicBezTo>
                  <a:cubicBezTo>
                    <a:pt x="70" y="36"/>
                    <a:pt x="73" y="30"/>
                    <a:pt x="73" y="24"/>
                  </a:cubicBezTo>
                  <a:close/>
                  <a:moveTo>
                    <a:pt x="200" y="156"/>
                  </a:moveTo>
                  <a:cubicBezTo>
                    <a:pt x="200" y="167"/>
                    <a:pt x="192" y="176"/>
                    <a:pt x="181" y="176"/>
                  </a:cubicBezTo>
                  <a:cubicBezTo>
                    <a:pt x="27" y="176"/>
                    <a:pt x="27" y="176"/>
                    <a:pt x="27" y="176"/>
                  </a:cubicBezTo>
                  <a:cubicBezTo>
                    <a:pt x="16" y="176"/>
                    <a:pt x="8" y="167"/>
                    <a:pt x="8" y="156"/>
                  </a:cubicBezTo>
                  <a:cubicBezTo>
                    <a:pt x="8" y="68"/>
                    <a:pt x="8" y="68"/>
                    <a:pt x="8" y="68"/>
                  </a:cubicBezTo>
                  <a:cubicBezTo>
                    <a:pt x="8" y="56"/>
                    <a:pt x="16" y="48"/>
                    <a:pt x="27" y="48"/>
                  </a:cubicBezTo>
                  <a:cubicBezTo>
                    <a:pt x="45" y="48"/>
                    <a:pt x="45" y="48"/>
                    <a:pt x="45" y="48"/>
                  </a:cubicBezTo>
                  <a:cubicBezTo>
                    <a:pt x="47" y="48"/>
                    <a:pt x="50" y="48"/>
                    <a:pt x="52" y="47"/>
                  </a:cubicBezTo>
                  <a:cubicBezTo>
                    <a:pt x="52" y="48"/>
                    <a:pt x="52" y="48"/>
                    <a:pt x="52" y="48"/>
                  </a:cubicBezTo>
                  <a:cubicBezTo>
                    <a:pt x="152" y="48"/>
                    <a:pt x="152" y="48"/>
                    <a:pt x="152" y="48"/>
                  </a:cubicBezTo>
                  <a:cubicBezTo>
                    <a:pt x="152" y="46"/>
                    <a:pt x="152" y="46"/>
                    <a:pt x="152" y="46"/>
                  </a:cubicBezTo>
                  <a:cubicBezTo>
                    <a:pt x="155" y="47"/>
                    <a:pt x="159" y="48"/>
                    <a:pt x="163" y="48"/>
                  </a:cubicBezTo>
                  <a:cubicBezTo>
                    <a:pt x="181" y="48"/>
                    <a:pt x="181" y="48"/>
                    <a:pt x="181" y="48"/>
                  </a:cubicBezTo>
                  <a:cubicBezTo>
                    <a:pt x="192" y="48"/>
                    <a:pt x="200" y="56"/>
                    <a:pt x="200" y="68"/>
                  </a:cubicBezTo>
                  <a:lnTo>
                    <a:pt x="200" y="156"/>
                  </a:lnTo>
                  <a:close/>
                  <a:moveTo>
                    <a:pt x="120" y="72"/>
                  </a:moveTo>
                  <a:cubicBezTo>
                    <a:pt x="88" y="72"/>
                    <a:pt x="88" y="72"/>
                    <a:pt x="88" y="72"/>
                  </a:cubicBezTo>
                  <a:cubicBezTo>
                    <a:pt x="88" y="96"/>
                    <a:pt x="88" y="96"/>
                    <a:pt x="88" y="96"/>
                  </a:cubicBezTo>
                  <a:cubicBezTo>
                    <a:pt x="64" y="96"/>
                    <a:pt x="64" y="96"/>
                    <a:pt x="64" y="96"/>
                  </a:cubicBezTo>
                  <a:cubicBezTo>
                    <a:pt x="64" y="128"/>
                    <a:pt x="64" y="128"/>
                    <a:pt x="64" y="128"/>
                  </a:cubicBezTo>
                  <a:cubicBezTo>
                    <a:pt x="88" y="128"/>
                    <a:pt x="88" y="128"/>
                    <a:pt x="88" y="128"/>
                  </a:cubicBezTo>
                  <a:cubicBezTo>
                    <a:pt x="88" y="152"/>
                    <a:pt x="88" y="152"/>
                    <a:pt x="88" y="152"/>
                  </a:cubicBezTo>
                  <a:cubicBezTo>
                    <a:pt x="120" y="152"/>
                    <a:pt x="120" y="152"/>
                    <a:pt x="120" y="152"/>
                  </a:cubicBezTo>
                  <a:cubicBezTo>
                    <a:pt x="120" y="128"/>
                    <a:pt x="120" y="128"/>
                    <a:pt x="120" y="128"/>
                  </a:cubicBezTo>
                  <a:cubicBezTo>
                    <a:pt x="144" y="128"/>
                    <a:pt x="144" y="128"/>
                    <a:pt x="144" y="128"/>
                  </a:cubicBezTo>
                  <a:cubicBezTo>
                    <a:pt x="144" y="96"/>
                    <a:pt x="144" y="96"/>
                    <a:pt x="144" y="96"/>
                  </a:cubicBezTo>
                  <a:cubicBezTo>
                    <a:pt x="120" y="96"/>
                    <a:pt x="120" y="96"/>
                    <a:pt x="120" y="96"/>
                  </a:cubicBezTo>
                  <a:lnTo>
                    <a:pt x="120" y="72"/>
                  </a:lnTo>
                  <a:close/>
                  <a:moveTo>
                    <a:pt x="136" y="104"/>
                  </a:moveTo>
                  <a:cubicBezTo>
                    <a:pt x="136" y="120"/>
                    <a:pt x="136" y="120"/>
                    <a:pt x="136" y="120"/>
                  </a:cubicBezTo>
                  <a:cubicBezTo>
                    <a:pt x="112" y="120"/>
                    <a:pt x="112" y="120"/>
                    <a:pt x="112" y="120"/>
                  </a:cubicBezTo>
                  <a:cubicBezTo>
                    <a:pt x="112" y="144"/>
                    <a:pt x="112" y="144"/>
                    <a:pt x="112" y="144"/>
                  </a:cubicBezTo>
                  <a:cubicBezTo>
                    <a:pt x="96" y="144"/>
                    <a:pt x="96" y="144"/>
                    <a:pt x="96" y="144"/>
                  </a:cubicBezTo>
                  <a:cubicBezTo>
                    <a:pt x="96" y="120"/>
                    <a:pt x="96" y="120"/>
                    <a:pt x="96" y="120"/>
                  </a:cubicBezTo>
                  <a:cubicBezTo>
                    <a:pt x="72" y="120"/>
                    <a:pt x="72" y="120"/>
                    <a:pt x="72" y="120"/>
                  </a:cubicBezTo>
                  <a:cubicBezTo>
                    <a:pt x="72" y="104"/>
                    <a:pt x="72" y="104"/>
                    <a:pt x="72" y="104"/>
                  </a:cubicBezTo>
                  <a:cubicBezTo>
                    <a:pt x="96" y="104"/>
                    <a:pt x="96" y="104"/>
                    <a:pt x="96" y="104"/>
                  </a:cubicBezTo>
                  <a:cubicBezTo>
                    <a:pt x="96" y="80"/>
                    <a:pt x="96" y="80"/>
                    <a:pt x="96" y="80"/>
                  </a:cubicBezTo>
                  <a:cubicBezTo>
                    <a:pt x="112" y="80"/>
                    <a:pt x="112" y="80"/>
                    <a:pt x="112" y="80"/>
                  </a:cubicBezTo>
                  <a:cubicBezTo>
                    <a:pt x="112" y="104"/>
                    <a:pt x="112" y="104"/>
                    <a:pt x="112" y="104"/>
                  </a:cubicBezTo>
                  <a:lnTo>
                    <a:pt x="136" y="10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armonyOS Sans SC"/>
                <a:cs typeface="+mn-cs"/>
              </a:endParaRPr>
            </a:p>
          </p:txBody>
        </p:sp>
        <p:sp>
          <p:nvSpPr>
            <p:cNvPr id="6" name="Freeform 458">
              <a:extLst>
                <a:ext uri="{FF2B5EF4-FFF2-40B4-BE49-F238E27FC236}">
                  <a16:creationId xmlns:a16="http://schemas.microsoft.com/office/drawing/2014/main" id="{0BA1792D-1BFE-4450-B6BF-C5F00DECCD67}"/>
                </a:ext>
              </a:extLst>
            </p:cNvPr>
            <p:cNvSpPr>
              <a:spLocks/>
            </p:cNvSpPr>
            <p:nvPr/>
          </p:nvSpPr>
          <p:spPr bwMode="auto">
            <a:xfrm>
              <a:off x="4412453" y="2409266"/>
              <a:ext cx="996952" cy="1882787"/>
            </a:xfrm>
            <a:custGeom>
              <a:avLst/>
              <a:gdLst>
                <a:gd name="T0" fmla="*/ 489 w 513"/>
                <a:gd name="T1" fmla="*/ 0 h 968"/>
                <a:gd name="T2" fmla="*/ 109 w 513"/>
                <a:gd name="T3" fmla="*/ 351 h 968"/>
                <a:gd name="T4" fmla="*/ 0 w 513"/>
                <a:gd name="T5" fmla="*/ 672 h 968"/>
                <a:gd name="T6" fmla="*/ 513 w 513"/>
                <a:gd name="T7" fmla="*/ 968 h 968"/>
                <a:gd name="T8" fmla="*/ 494 w 513"/>
                <a:gd name="T9" fmla="*/ 652 h 968"/>
                <a:gd name="T10" fmla="*/ 489 w 513"/>
                <a:gd name="T11" fmla="*/ 0 h 968"/>
              </a:gdLst>
              <a:ahLst/>
              <a:cxnLst>
                <a:cxn ang="0">
                  <a:pos x="T0" y="T1"/>
                </a:cxn>
                <a:cxn ang="0">
                  <a:pos x="T2" y="T3"/>
                </a:cxn>
                <a:cxn ang="0">
                  <a:pos x="T4" y="T5"/>
                </a:cxn>
                <a:cxn ang="0">
                  <a:pos x="T6" y="T7"/>
                </a:cxn>
                <a:cxn ang="0">
                  <a:pos x="T8" y="T9"/>
                </a:cxn>
                <a:cxn ang="0">
                  <a:pos x="T10" y="T11"/>
                </a:cxn>
              </a:cxnLst>
              <a:rect l="0" t="0" r="r" b="b"/>
              <a:pathLst>
                <a:path w="513" h="968">
                  <a:moveTo>
                    <a:pt x="489" y="0"/>
                  </a:moveTo>
                  <a:cubicBezTo>
                    <a:pt x="335" y="73"/>
                    <a:pt x="201" y="192"/>
                    <a:pt x="109" y="351"/>
                  </a:cubicBezTo>
                  <a:cubicBezTo>
                    <a:pt x="50" y="453"/>
                    <a:pt x="14" y="562"/>
                    <a:pt x="0" y="672"/>
                  </a:cubicBezTo>
                  <a:cubicBezTo>
                    <a:pt x="513" y="968"/>
                    <a:pt x="513" y="968"/>
                    <a:pt x="513" y="968"/>
                  </a:cubicBezTo>
                  <a:cubicBezTo>
                    <a:pt x="464" y="872"/>
                    <a:pt x="455" y="758"/>
                    <a:pt x="494" y="652"/>
                  </a:cubicBezTo>
                  <a:lnTo>
                    <a:pt x="489" y="0"/>
                  </a:lnTo>
                  <a:close/>
                </a:path>
              </a:pathLst>
            </a:custGeom>
            <a:gradFill>
              <a:gsLst>
                <a:gs pos="73000">
                  <a:schemeClr val="accent1"/>
                </a:gs>
                <a:gs pos="31000">
                  <a:schemeClr val="accent1">
                    <a:lumMod val="60000"/>
                    <a:lumOff val="40000"/>
                  </a:schemeClr>
                </a:gs>
                <a:gs pos="0">
                  <a:schemeClr val="accent1">
                    <a:lumMod val="40000"/>
                    <a:lumOff val="60000"/>
                  </a:schemeClr>
                </a:gs>
              </a:gsLst>
              <a:path path="circle">
                <a:fillToRect r="100000" b="100000"/>
              </a:path>
            </a:gradFill>
            <a:ln>
              <a:noFill/>
            </a:ln>
            <a:effectLst>
              <a:outerShdw blurRad="444500" dist="317500" dir="5400000" sx="92000" sy="92000" algn="t" rotWithShape="0">
                <a:schemeClr val="accent1">
                  <a:lumMod val="75000"/>
                  <a:alpha val="40000"/>
                </a:schemeClr>
              </a:outerShdw>
            </a:effectLst>
            <a:extLst>
              <a:ext uri="{91240B29-F687-4f45-9708-019B960494DF}">
                <a14:hiddenLine xmlns:a14="http://schemas.microsoft.com/office/drawing/2010/main" xmlns=""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7" name="Freeform 44">
              <a:extLst>
                <a:ext uri="{FF2B5EF4-FFF2-40B4-BE49-F238E27FC236}">
                  <a16:creationId xmlns:a16="http://schemas.microsoft.com/office/drawing/2014/main" id="{6B8C01C8-37DD-45F8-869B-9B5C85520140}"/>
                </a:ext>
              </a:extLst>
            </p:cNvPr>
            <p:cNvSpPr>
              <a:spLocks noEditPoints="1"/>
            </p:cNvSpPr>
            <p:nvPr/>
          </p:nvSpPr>
          <p:spPr bwMode="auto">
            <a:xfrm>
              <a:off x="4761225" y="3203815"/>
              <a:ext cx="377196" cy="352430"/>
            </a:xfrm>
            <a:custGeom>
              <a:avLst/>
              <a:gdLst>
                <a:gd name="T0" fmla="*/ 169 w 184"/>
                <a:gd name="T1" fmla="*/ 87 h 172"/>
                <a:gd name="T2" fmla="*/ 143 w 184"/>
                <a:gd name="T3" fmla="*/ 73 h 172"/>
                <a:gd name="T4" fmla="*/ 148 w 184"/>
                <a:gd name="T5" fmla="*/ 69 h 172"/>
                <a:gd name="T6" fmla="*/ 159 w 184"/>
                <a:gd name="T7" fmla="*/ 40 h 172"/>
                <a:gd name="T8" fmla="*/ 148 w 184"/>
                <a:gd name="T9" fmla="*/ 12 h 172"/>
                <a:gd name="T10" fmla="*/ 119 w 184"/>
                <a:gd name="T11" fmla="*/ 0 h 172"/>
                <a:gd name="T12" fmla="*/ 91 w 184"/>
                <a:gd name="T13" fmla="*/ 12 h 172"/>
                <a:gd name="T14" fmla="*/ 12 w 184"/>
                <a:gd name="T15" fmla="*/ 91 h 172"/>
                <a:gd name="T16" fmla="*/ 0 w 184"/>
                <a:gd name="T17" fmla="*/ 120 h 172"/>
                <a:gd name="T18" fmla="*/ 12 w 184"/>
                <a:gd name="T19" fmla="*/ 148 h 172"/>
                <a:gd name="T20" fmla="*/ 40 w 184"/>
                <a:gd name="T21" fmla="*/ 160 h 172"/>
                <a:gd name="T22" fmla="*/ 68 w 184"/>
                <a:gd name="T23" fmla="*/ 148 h 172"/>
                <a:gd name="T24" fmla="*/ 85 w 184"/>
                <a:gd name="T25" fmla="*/ 132 h 172"/>
                <a:gd name="T26" fmla="*/ 98 w 184"/>
                <a:gd name="T27" fmla="*/ 157 h 172"/>
                <a:gd name="T28" fmla="*/ 134 w 184"/>
                <a:gd name="T29" fmla="*/ 172 h 172"/>
                <a:gd name="T30" fmla="*/ 169 w 184"/>
                <a:gd name="T31" fmla="*/ 157 h 172"/>
                <a:gd name="T32" fmla="*/ 184 w 184"/>
                <a:gd name="T33" fmla="*/ 122 h 172"/>
                <a:gd name="T34" fmla="*/ 169 w 184"/>
                <a:gd name="T35" fmla="*/ 87 h 172"/>
                <a:gd name="T36" fmla="*/ 97 w 184"/>
                <a:gd name="T37" fmla="*/ 18 h 172"/>
                <a:gd name="T38" fmla="*/ 119 w 184"/>
                <a:gd name="T39" fmla="*/ 8 h 172"/>
                <a:gd name="T40" fmla="*/ 142 w 184"/>
                <a:gd name="T41" fmla="*/ 18 h 172"/>
                <a:gd name="T42" fmla="*/ 151 w 184"/>
                <a:gd name="T43" fmla="*/ 40 h 172"/>
                <a:gd name="T44" fmla="*/ 142 w 184"/>
                <a:gd name="T45" fmla="*/ 63 h 172"/>
                <a:gd name="T46" fmla="*/ 133 w 184"/>
                <a:gd name="T47" fmla="*/ 72 h 172"/>
                <a:gd name="T48" fmla="*/ 98 w 184"/>
                <a:gd name="T49" fmla="*/ 87 h 172"/>
                <a:gd name="T50" fmla="*/ 94 w 184"/>
                <a:gd name="T51" fmla="*/ 92 h 172"/>
                <a:gd name="T52" fmla="*/ 57 w 184"/>
                <a:gd name="T53" fmla="*/ 57 h 172"/>
                <a:gd name="T54" fmla="*/ 97 w 184"/>
                <a:gd name="T55" fmla="*/ 18 h 172"/>
                <a:gd name="T56" fmla="*/ 63 w 184"/>
                <a:gd name="T57" fmla="*/ 142 h 172"/>
                <a:gd name="T58" fmla="*/ 17 w 184"/>
                <a:gd name="T59" fmla="*/ 142 h 172"/>
                <a:gd name="T60" fmla="*/ 8 w 184"/>
                <a:gd name="T61" fmla="*/ 120 h 172"/>
                <a:gd name="T62" fmla="*/ 17 w 184"/>
                <a:gd name="T63" fmla="*/ 97 h 172"/>
                <a:gd name="T64" fmla="*/ 51 w 184"/>
                <a:gd name="T65" fmla="*/ 63 h 172"/>
                <a:gd name="T66" fmla="*/ 89 w 184"/>
                <a:gd name="T67" fmla="*/ 99 h 172"/>
                <a:gd name="T68" fmla="*/ 90 w 184"/>
                <a:gd name="T69" fmla="*/ 98 h 172"/>
                <a:gd name="T70" fmla="*/ 84 w 184"/>
                <a:gd name="T71" fmla="*/ 121 h 172"/>
                <a:gd name="T72" fmla="*/ 63 w 184"/>
                <a:gd name="T73" fmla="*/ 142 h 172"/>
                <a:gd name="T74" fmla="*/ 104 w 184"/>
                <a:gd name="T75" fmla="*/ 152 h 172"/>
                <a:gd name="T76" fmla="*/ 100 w 184"/>
                <a:gd name="T77" fmla="*/ 97 h 172"/>
                <a:gd name="T78" fmla="*/ 159 w 184"/>
                <a:gd name="T79" fmla="*/ 156 h 172"/>
                <a:gd name="T80" fmla="*/ 134 w 184"/>
                <a:gd name="T81" fmla="*/ 164 h 172"/>
                <a:gd name="T82" fmla="*/ 104 w 184"/>
                <a:gd name="T83" fmla="*/ 152 h 172"/>
                <a:gd name="T84" fmla="*/ 165 w 184"/>
                <a:gd name="T85" fmla="*/ 150 h 172"/>
                <a:gd name="T86" fmla="*/ 105 w 184"/>
                <a:gd name="T87" fmla="*/ 91 h 172"/>
                <a:gd name="T88" fmla="*/ 134 w 184"/>
                <a:gd name="T89" fmla="*/ 80 h 172"/>
                <a:gd name="T90" fmla="*/ 163 w 184"/>
                <a:gd name="T91" fmla="*/ 92 h 172"/>
                <a:gd name="T92" fmla="*/ 176 w 184"/>
                <a:gd name="T93" fmla="*/ 122 h 172"/>
                <a:gd name="T94" fmla="*/ 165 w 184"/>
                <a:gd name="T95" fmla="*/ 15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4" h="172">
                  <a:moveTo>
                    <a:pt x="169" y="87"/>
                  </a:moveTo>
                  <a:cubicBezTo>
                    <a:pt x="162" y="80"/>
                    <a:pt x="153" y="75"/>
                    <a:pt x="143" y="73"/>
                  </a:cubicBezTo>
                  <a:cubicBezTo>
                    <a:pt x="148" y="69"/>
                    <a:pt x="148" y="69"/>
                    <a:pt x="148" y="69"/>
                  </a:cubicBezTo>
                  <a:cubicBezTo>
                    <a:pt x="155" y="61"/>
                    <a:pt x="159" y="51"/>
                    <a:pt x="159" y="40"/>
                  </a:cubicBezTo>
                  <a:cubicBezTo>
                    <a:pt x="159" y="30"/>
                    <a:pt x="155" y="20"/>
                    <a:pt x="148" y="12"/>
                  </a:cubicBezTo>
                  <a:cubicBezTo>
                    <a:pt x="140" y="5"/>
                    <a:pt x="130" y="0"/>
                    <a:pt x="119" y="0"/>
                  </a:cubicBezTo>
                  <a:cubicBezTo>
                    <a:pt x="109" y="0"/>
                    <a:pt x="99" y="5"/>
                    <a:pt x="91" y="12"/>
                  </a:cubicBezTo>
                  <a:cubicBezTo>
                    <a:pt x="12" y="91"/>
                    <a:pt x="12" y="91"/>
                    <a:pt x="12" y="91"/>
                  </a:cubicBezTo>
                  <a:cubicBezTo>
                    <a:pt x="4" y="99"/>
                    <a:pt x="0" y="109"/>
                    <a:pt x="0" y="120"/>
                  </a:cubicBezTo>
                  <a:cubicBezTo>
                    <a:pt x="0" y="130"/>
                    <a:pt x="4" y="140"/>
                    <a:pt x="12" y="148"/>
                  </a:cubicBezTo>
                  <a:cubicBezTo>
                    <a:pt x="20" y="156"/>
                    <a:pt x="30" y="160"/>
                    <a:pt x="40" y="160"/>
                  </a:cubicBezTo>
                  <a:cubicBezTo>
                    <a:pt x="50" y="160"/>
                    <a:pt x="61" y="156"/>
                    <a:pt x="68" y="148"/>
                  </a:cubicBezTo>
                  <a:cubicBezTo>
                    <a:pt x="85" y="132"/>
                    <a:pt x="85" y="132"/>
                    <a:pt x="85" y="132"/>
                  </a:cubicBezTo>
                  <a:cubicBezTo>
                    <a:pt x="86" y="141"/>
                    <a:pt x="91" y="150"/>
                    <a:pt x="98" y="157"/>
                  </a:cubicBezTo>
                  <a:cubicBezTo>
                    <a:pt x="108" y="167"/>
                    <a:pt x="120" y="172"/>
                    <a:pt x="134" y="172"/>
                  </a:cubicBezTo>
                  <a:cubicBezTo>
                    <a:pt x="147" y="172"/>
                    <a:pt x="160" y="167"/>
                    <a:pt x="169" y="157"/>
                  </a:cubicBezTo>
                  <a:cubicBezTo>
                    <a:pt x="178" y="148"/>
                    <a:pt x="184" y="135"/>
                    <a:pt x="184" y="122"/>
                  </a:cubicBezTo>
                  <a:cubicBezTo>
                    <a:pt x="184" y="109"/>
                    <a:pt x="178" y="96"/>
                    <a:pt x="169" y="87"/>
                  </a:cubicBezTo>
                  <a:close/>
                  <a:moveTo>
                    <a:pt x="97" y="18"/>
                  </a:moveTo>
                  <a:cubicBezTo>
                    <a:pt x="103" y="12"/>
                    <a:pt x="111" y="8"/>
                    <a:pt x="119" y="8"/>
                  </a:cubicBezTo>
                  <a:cubicBezTo>
                    <a:pt x="128" y="8"/>
                    <a:pt x="136" y="12"/>
                    <a:pt x="142" y="18"/>
                  </a:cubicBezTo>
                  <a:cubicBezTo>
                    <a:pt x="148" y="24"/>
                    <a:pt x="151" y="32"/>
                    <a:pt x="151" y="40"/>
                  </a:cubicBezTo>
                  <a:cubicBezTo>
                    <a:pt x="151" y="49"/>
                    <a:pt x="148" y="57"/>
                    <a:pt x="142" y="63"/>
                  </a:cubicBezTo>
                  <a:cubicBezTo>
                    <a:pt x="133" y="72"/>
                    <a:pt x="133" y="72"/>
                    <a:pt x="133" y="72"/>
                  </a:cubicBezTo>
                  <a:cubicBezTo>
                    <a:pt x="120" y="72"/>
                    <a:pt x="108" y="77"/>
                    <a:pt x="98" y="87"/>
                  </a:cubicBezTo>
                  <a:cubicBezTo>
                    <a:pt x="97" y="88"/>
                    <a:pt x="95" y="90"/>
                    <a:pt x="94" y="92"/>
                  </a:cubicBezTo>
                  <a:cubicBezTo>
                    <a:pt x="57" y="57"/>
                    <a:pt x="57" y="57"/>
                    <a:pt x="57" y="57"/>
                  </a:cubicBezTo>
                  <a:lnTo>
                    <a:pt x="97" y="18"/>
                  </a:lnTo>
                  <a:close/>
                  <a:moveTo>
                    <a:pt x="63" y="142"/>
                  </a:moveTo>
                  <a:cubicBezTo>
                    <a:pt x="50" y="155"/>
                    <a:pt x="30" y="155"/>
                    <a:pt x="17" y="142"/>
                  </a:cubicBezTo>
                  <a:cubicBezTo>
                    <a:pt x="11" y="136"/>
                    <a:pt x="8" y="128"/>
                    <a:pt x="8" y="120"/>
                  </a:cubicBezTo>
                  <a:cubicBezTo>
                    <a:pt x="8" y="111"/>
                    <a:pt x="11" y="103"/>
                    <a:pt x="17" y="97"/>
                  </a:cubicBezTo>
                  <a:cubicBezTo>
                    <a:pt x="51" y="63"/>
                    <a:pt x="51" y="63"/>
                    <a:pt x="51" y="63"/>
                  </a:cubicBezTo>
                  <a:cubicBezTo>
                    <a:pt x="89" y="99"/>
                    <a:pt x="89" y="99"/>
                    <a:pt x="89" y="99"/>
                  </a:cubicBezTo>
                  <a:cubicBezTo>
                    <a:pt x="90" y="98"/>
                    <a:pt x="90" y="98"/>
                    <a:pt x="90" y="98"/>
                  </a:cubicBezTo>
                  <a:cubicBezTo>
                    <a:pt x="86" y="105"/>
                    <a:pt x="84" y="113"/>
                    <a:pt x="84" y="121"/>
                  </a:cubicBezTo>
                  <a:lnTo>
                    <a:pt x="63" y="142"/>
                  </a:lnTo>
                  <a:close/>
                  <a:moveTo>
                    <a:pt x="104" y="152"/>
                  </a:moveTo>
                  <a:cubicBezTo>
                    <a:pt x="89" y="137"/>
                    <a:pt x="88" y="113"/>
                    <a:pt x="100" y="97"/>
                  </a:cubicBezTo>
                  <a:cubicBezTo>
                    <a:pt x="159" y="156"/>
                    <a:pt x="159" y="156"/>
                    <a:pt x="159" y="156"/>
                  </a:cubicBezTo>
                  <a:cubicBezTo>
                    <a:pt x="152" y="161"/>
                    <a:pt x="143" y="164"/>
                    <a:pt x="134" y="164"/>
                  </a:cubicBezTo>
                  <a:cubicBezTo>
                    <a:pt x="122" y="164"/>
                    <a:pt x="112" y="160"/>
                    <a:pt x="104" y="152"/>
                  </a:cubicBezTo>
                  <a:close/>
                  <a:moveTo>
                    <a:pt x="165" y="150"/>
                  </a:moveTo>
                  <a:cubicBezTo>
                    <a:pt x="105" y="91"/>
                    <a:pt x="105" y="91"/>
                    <a:pt x="105" y="91"/>
                  </a:cubicBezTo>
                  <a:cubicBezTo>
                    <a:pt x="113" y="84"/>
                    <a:pt x="123" y="80"/>
                    <a:pt x="134" y="80"/>
                  </a:cubicBezTo>
                  <a:cubicBezTo>
                    <a:pt x="145" y="80"/>
                    <a:pt x="155" y="84"/>
                    <a:pt x="163" y="92"/>
                  </a:cubicBezTo>
                  <a:cubicBezTo>
                    <a:pt x="171" y="100"/>
                    <a:pt x="176" y="111"/>
                    <a:pt x="176" y="122"/>
                  </a:cubicBezTo>
                  <a:cubicBezTo>
                    <a:pt x="176" y="133"/>
                    <a:pt x="172" y="142"/>
                    <a:pt x="165" y="15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armonyOS Sans SC"/>
                <a:cs typeface="+mn-cs"/>
              </a:endParaRPr>
            </a:p>
          </p:txBody>
        </p:sp>
        <p:sp>
          <p:nvSpPr>
            <p:cNvPr id="9" name="Freeform 462">
              <a:extLst>
                <a:ext uri="{FF2B5EF4-FFF2-40B4-BE49-F238E27FC236}">
                  <a16:creationId xmlns:a16="http://schemas.microsoft.com/office/drawing/2014/main" id="{9192FA4E-0737-47E9-A5F4-9D5AA3A71730}"/>
                </a:ext>
              </a:extLst>
            </p:cNvPr>
            <p:cNvSpPr>
              <a:spLocks/>
            </p:cNvSpPr>
            <p:nvPr/>
          </p:nvSpPr>
          <p:spPr bwMode="auto">
            <a:xfrm>
              <a:off x="6138069" y="2596592"/>
              <a:ext cx="1679579" cy="1477972"/>
            </a:xfrm>
            <a:custGeom>
              <a:avLst/>
              <a:gdLst>
                <a:gd name="T0" fmla="*/ 851 w 864"/>
                <a:gd name="T1" fmla="*/ 760 h 760"/>
                <a:gd name="T2" fmla="*/ 736 w 864"/>
                <a:gd name="T3" fmla="*/ 255 h 760"/>
                <a:gd name="T4" fmla="*/ 513 w 864"/>
                <a:gd name="T5" fmla="*/ 0 h 760"/>
                <a:gd name="T6" fmla="*/ 0 w 864"/>
                <a:gd name="T7" fmla="*/ 296 h 760"/>
                <a:gd name="T8" fmla="*/ 283 w 864"/>
                <a:gd name="T9" fmla="*/ 437 h 760"/>
                <a:gd name="T10" fmla="*/ 851 w 864"/>
                <a:gd name="T11" fmla="*/ 760 h 760"/>
              </a:gdLst>
              <a:ahLst/>
              <a:cxnLst>
                <a:cxn ang="0">
                  <a:pos x="T0" y="T1"/>
                </a:cxn>
                <a:cxn ang="0">
                  <a:pos x="T2" y="T3"/>
                </a:cxn>
                <a:cxn ang="0">
                  <a:pos x="T4" y="T5"/>
                </a:cxn>
                <a:cxn ang="0">
                  <a:pos x="T6" y="T7"/>
                </a:cxn>
                <a:cxn ang="0">
                  <a:pos x="T8" y="T9"/>
                </a:cxn>
                <a:cxn ang="0">
                  <a:pos x="T10" y="T11"/>
                </a:cxn>
              </a:cxnLst>
              <a:rect l="0" t="0" r="r" b="b"/>
              <a:pathLst>
                <a:path w="864" h="760">
                  <a:moveTo>
                    <a:pt x="851" y="760"/>
                  </a:moveTo>
                  <a:cubicBezTo>
                    <a:pt x="864" y="590"/>
                    <a:pt x="828" y="414"/>
                    <a:pt x="736" y="255"/>
                  </a:cubicBezTo>
                  <a:cubicBezTo>
                    <a:pt x="678" y="153"/>
                    <a:pt x="601" y="68"/>
                    <a:pt x="513" y="0"/>
                  </a:cubicBezTo>
                  <a:cubicBezTo>
                    <a:pt x="0" y="296"/>
                    <a:pt x="0" y="296"/>
                    <a:pt x="0" y="296"/>
                  </a:cubicBezTo>
                  <a:cubicBezTo>
                    <a:pt x="108" y="302"/>
                    <a:pt x="211" y="352"/>
                    <a:pt x="283" y="437"/>
                  </a:cubicBezTo>
                  <a:lnTo>
                    <a:pt x="851" y="760"/>
                  </a:lnTo>
                  <a:close/>
                </a:path>
              </a:pathLst>
            </a:custGeom>
            <a:gradFill>
              <a:gsLst>
                <a:gs pos="73000">
                  <a:schemeClr val="accent1"/>
                </a:gs>
                <a:gs pos="31000">
                  <a:schemeClr val="accent1">
                    <a:lumMod val="60000"/>
                    <a:lumOff val="40000"/>
                  </a:schemeClr>
                </a:gs>
                <a:gs pos="0">
                  <a:schemeClr val="accent1">
                    <a:lumMod val="40000"/>
                    <a:lumOff val="60000"/>
                  </a:schemeClr>
                </a:gs>
              </a:gsLst>
              <a:path path="circle">
                <a:fillToRect r="100000" b="100000"/>
              </a:path>
            </a:gradFill>
            <a:ln>
              <a:noFill/>
            </a:ln>
            <a:effectLst>
              <a:outerShdw blurRad="444500" dist="317500" dir="5400000" sx="92000" sy="92000" algn="t" rotWithShape="0">
                <a:schemeClr val="accent1">
                  <a:lumMod val="75000"/>
                  <a:alpha val="40000"/>
                </a:schemeClr>
              </a:outerShdw>
            </a:effectLst>
            <a:extLst>
              <a:ext uri="{91240B29-F687-4f45-9708-019B960494DF}">
                <a14:hiddenLine xmlns:a14="http://schemas.microsoft.com/office/drawing/2010/main" xmlns=""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10" name="Freeform 57">
              <a:extLst>
                <a:ext uri="{FF2B5EF4-FFF2-40B4-BE49-F238E27FC236}">
                  <a16:creationId xmlns:a16="http://schemas.microsoft.com/office/drawing/2014/main" id="{3BE5DA5B-A067-4EAB-B45D-8DDFE56F62C3}"/>
                </a:ext>
              </a:extLst>
            </p:cNvPr>
            <p:cNvSpPr>
              <a:spLocks noEditPoints="1"/>
            </p:cNvSpPr>
            <p:nvPr/>
          </p:nvSpPr>
          <p:spPr bwMode="auto">
            <a:xfrm>
              <a:off x="6852286" y="2983359"/>
              <a:ext cx="485936" cy="416516"/>
            </a:xfrm>
            <a:custGeom>
              <a:avLst/>
              <a:gdLst>
                <a:gd name="T0" fmla="*/ 156 w 228"/>
                <a:gd name="T1" fmla="*/ 84 h 196"/>
                <a:gd name="T2" fmla="*/ 143 w 228"/>
                <a:gd name="T3" fmla="*/ 84 h 196"/>
                <a:gd name="T4" fmla="*/ 128 w 228"/>
                <a:gd name="T5" fmla="*/ 3 h 196"/>
                <a:gd name="T6" fmla="*/ 124 w 228"/>
                <a:gd name="T7" fmla="*/ 0 h 196"/>
                <a:gd name="T8" fmla="*/ 120 w 228"/>
                <a:gd name="T9" fmla="*/ 3 h 196"/>
                <a:gd name="T10" fmla="*/ 99 w 228"/>
                <a:gd name="T11" fmla="*/ 169 h 196"/>
                <a:gd name="T12" fmla="*/ 72 w 228"/>
                <a:gd name="T13" fmla="*/ 47 h 196"/>
                <a:gd name="T14" fmla="*/ 68 w 228"/>
                <a:gd name="T15" fmla="*/ 44 h 196"/>
                <a:gd name="T16" fmla="*/ 64 w 228"/>
                <a:gd name="T17" fmla="*/ 47 h 196"/>
                <a:gd name="T18" fmla="*/ 43 w 228"/>
                <a:gd name="T19" fmla="*/ 126 h 196"/>
                <a:gd name="T20" fmla="*/ 28 w 228"/>
                <a:gd name="T21" fmla="*/ 83 h 196"/>
                <a:gd name="T22" fmla="*/ 24 w 228"/>
                <a:gd name="T23" fmla="*/ 80 h 196"/>
                <a:gd name="T24" fmla="*/ 4 w 228"/>
                <a:gd name="T25" fmla="*/ 80 h 196"/>
                <a:gd name="T26" fmla="*/ 0 w 228"/>
                <a:gd name="T27" fmla="*/ 84 h 196"/>
                <a:gd name="T28" fmla="*/ 4 w 228"/>
                <a:gd name="T29" fmla="*/ 88 h 196"/>
                <a:gd name="T30" fmla="*/ 21 w 228"/>
                <a:gd name="T31" fmla="*/ 88 h 196"/>
                <a:gd name="T32" fmla="*/ 40 w 228"/>
                <a:gd name="T33" fmla="*/ 141 h 196"/>
                <a:gd name="T34" fmla="*/ 44 w 228"/>
                <a:gd name="T35" fmla="*/ 144 h 196"/>
                <a:gd name="T36" fmla="*/ 48 w 228"/>
                <a:gd name="T37" fmla="*/ 141 h 196"/>
                <a:gd name="T38" fmla="*/ 68 w 228"/>
                <a:gd name="T39" fmla="*/ 65 h 196"/>
                <a:gd name="T40" fmla="*/ 96 w 228"/>
                <a:gd name="T41" fmla="*/ 193 h 196"/>
                <a:gd name="T42" fmla="*/ 100 w 228"/>
                <a:gd name="T43" fmla="*/ 196 h 196"/>
                <a:gd name="T44" fmla="*/ 100 w 228"/>
                <a:gd name="T45" fmla="*/ 196 h 196"/>
                <a:gd name="T46" fmla="*/ 104 w 228"/>
                <a:gd name="T47" fmla="*/ 193 h 196"/>
                <a:gd name="T48" fmla="*/ 125 w 228"/>
                <a:gd name="T49" fmla="*/ 29 h 196"/>
                <a:gd name="T50" fmla="*/ 136 w 228"/>
                <a:gd name="T51" fmla="*/ 89 h 196"/>
                <a:gd name="T52" fmla="*/ 140 w 228"/>
                <a:gd name="T53" fmla="*/ 92 h 196"/>
                <a:gd name="T54" fmla="*/ 156 w 228"/>
                <a:gd name="T55" fmla="*/ 92 h 196"/>
                <a:gd name="T56" fmla="*/ 160 w 228"/>
                <a:gd name="T57" fmla="*/ 88 h 196"/>
                <a:gd name="T58" fmla="*/ 156 w 228"/>
                <a:gd name="T59" fmla="*/ 84 h 196"/>
                <a:gd name="T60" fmla="*/ 196 w 228"/>
                <a:gd name="T61" fmla="*/ 84 h 196"/>
                <a:gd name="T62" fmla="*/ 176 w 228"/>
                <a:gd name="T63" fmla="*/ 84 h 196"/>
                <a:gd name="T64" fmla="*/ 172 w 228"/>
                <a:gd name="T65" fmla="*/ 88 h 196"/>
                <a:gd name="T66" fmla="*/ 176 w 228"/>
                <a:gd name="T67" fmla="*/ 92 h 196"/>
                <a:gd name="T68" fmla="*/ 196 w 228"/>
                <a:gd name="T69" fmla="*/ 92 h 196"/>
                <a:gd name="T70" fmla="*/ 200 w 228"/>
                <a:gd name="T71" fmla="*/ 88 h 196"/>
                <a:gd name="T72" fmla="*/ 196 w 228"/>
                <a:gd name="T73" fmla="*/ 84 h 196"/>
                <a:gd name="T74" fmla="*/ 224 w 228"/>
                <a:gd name="T75" fmla="*/ 84 h 196"/>
                <a:gd name="T76" fmla="*/ 212 w 228"/>
                <a:gd name="T77" fmla="*/ 84 h 196"/>
                <a:gd name="T78" fmla="*/ 208 w 228"/>
                <a:gd name="T79" fmla="*/ 88 h 196"/>
                <a:gd name="T80" fmla="*/ 212 w 228"/>
                <a:gd name="T81" fmla="*/ 92 h 196"/>
                <a:gd name="T82" fmla="*/ 224 w 228"/>
                <a:gd name="T83" fmla="*/ 92 h 196"/>
                <a:gd name="T84" fmla="*/ 228 w 228"/>
                <a:gd name="T85" fmla="*/ 88 h 196"/>
                <a:gd name="T86" fmla="*/ 224 w 228"/>
                <a:gd name="T87" fmla="*/ 84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28" h="196">
                  <a:moveTo>
                    <a:pt x="156" y="84"/>
                  </a:moveTo>
                  <a:cubicBezTo>
                    <a:pt x="143" y="84"/>
                    <a:pt x="143" y="84"/>
                    <a:pt x="143" y="84"/>
                  </a:cubicBezTo>
                  <a:cubicBezTo>
                    <a:pt x="128" y="3"/>
                    <a:pt x="128" y="3"/>
                    <a:pt x="128" y="3"/>
                  </a:cubicBezTo>
                  <a:cubicBezTo>
                    <a:pt x="128" y="1"/>
                    <a:pt x="126" y="0"/>
                    <a:pt x="124" y="0"/>
                  </a:cubicBezTo>
                  <a:cubicBezTo>
                    <a:pt x="122" y="0"/>
                    <a:pt x="120" y="2"/>
                    <a:pt x="120" y="3"/>
                  </a:cubicBezTo>
                  <a:cubicBezTo>
                    <a:pt x="99" y="169"/>
                    <a:pt x="99" y="169"/>
                    <a:pt x="99" y="169"/>
                  </a:cubicBezTo>
                  <a:cubicBezTo>
                    <a:pt x="72" y="47"/>
                    <a:pt x="72" y="47"/>
                    <a:pt x="72" y="47"/>
                  </a:cubicBezTo>
                  <a:cubicBezTo>
                    <a:pt x="72" y="45"/>
                    <a:pt x="70" y="44"/>
                    <a:pt x="68" y="44"/>
                  </a:cubicBezTo>
                  <a:cubicBezTo>
                    <a:pt x="66" y="44"/>
                    <a:pt x="65" y="45"/>
                    <a:pt x="64" y="47"/>
                  </a:cubicBezTo>
                  <a:cubicBezTo>
                    <a:pt x="43" y="126"/>
                    <a:pt x="43" y="126"/>
                    <a:pt x="43" y="126"/>
                  </a:cubicBezTo>
                  <a:cubicBezTo>
                    <a:pt x="28" y="83"/>
                    <a:pt x="28" y="83"/>
                    <a:pt x="28" y="83"/>
                  </a:cubicBezTo>
                  <a:cubicBezTo>
                    <a:pt x="27" y="81"/>
                    <a:pt x="26" y="80"/>
                    <a:pt x="24" y="80"/>
                  </a:cubicBezTo>
                  <a:cubicBezTo>
                    <a:pt x="4" y="80"/>
                    <a:pt x="4" y="80"/>
                    <a:pt x="4" y="80"/>
                  </a:cubicBezTo>
                  <a:cubicBezTo>
                    <a:pt x="2" y="80"/>
                    <a:pt x="0" y="82"/>
                    <a:pt x="0" y="84"/>
                  </a:cubicBezTo>
                  <a:cubicBezTo>
                    <a:pt x="0" y="86"/>
                    <a:pt x="2" y="88"/>
                    <a:pt x="4" y="88"/>
                  </a:cubicBezTo>
                  <a:cubicBezTo>
                    <a:pt x="21" y="88"/>
                    <a:pt x="21" y="88"/>
                    <a:pt x="21" y="88"/>
                  </a:cubicBezTo>
                  <a:cubicBezTo>
                    <a:pt x="40" y="141"/>
                    <a:pt x="40" y="141"/>
                    <a:pt x="40" y="141"/>
                  </a:cubicBezTo>
                  <a:cubicBezTo>
                    <a:pt x="41" y="143"/>
                    <a:pt x="42" y="144"/>
                    <a:pt x="44" y="144"/>
                  </a:cubicBezTo>
                  <a:cubicBezTo>
                    <a:pt x="46" y="144"/>
                    <a:pt x="47" y="143"/>
                    <a:pt x="48" y="141"/>
                  </a:cubicBezTo>
                  <a:cubicBezTo>
                    <a:pt x="68" y="65"/>
                    <a:pt x="68" y="65"/>
                    <a:pt x="68" y="65"/>
                  </a:cubicBezTo>
                  <a:cubicBezTo>
                    <a:pt x="96" y="193"/>
                    <a:pt x="96" y="193"/>
                    <a:pt x="96" y="193"/>
                  </a:cubicBezTo>
                  <a:cubicBezTo>
                    <a:pt x="97" y="195"/>
                    <a:pt x="98" y="196"/>
                    <a:pt x="100" y="196"/>
                  </a:cubicBezTo>
                  <a:cubicBezTo>
                    <a:pt x="100" y="196"/>
                    <a:pt x="100" y="196"/>
                    <a:pt x="100" y="196"/>
                  </a:cubicBezTo>
                  <a:cubicBezTo>
                    <a:pt x="102" y="196"/>
                    <a:pt x="104" y="194"/>
                    <a:pt x="104" y="193"/>
                  </a:cubicBezTo>
                  <a:cubicBezTo>
                    <a:pt x="125" y="29"/>
                    <a:pt x="125" y="29"/>
                    <a:pt x="125" y="29"/>
                  </a:cubicBezTo>
                  <a:cubicBezTo>
                    <a:pt x="136" y="89"/>
                    <a:pt x="136" y="89"/>
                    <a:pt x="136" y="89"/>
                  </a:cubicBezTo>
                  <a:cubicBezTo>
                    <a:pt x="136" y="91"/>
                    <a:pt x="138" y="92"/>
                    <a:pt x="140" y="92"/>
                  </a:cubicBezTo>
                  <a:cubicBezTo>
                    <a:pt x="156" y="92"/>
                    <a:pt x="156" y="92"/>
                    <a:pt x="156" y="92"/>
                  </a:cubicBezTo>
                  <a:cubicBezTo>
                    <a:pt x="158" y="92"/>
                    <a:pt x="160" y="90"/>
                    <a:pt x="160" y="88"/>
                  </a:cubicBezTo>
                  <a:cubicBezTo>
                    <a:pt x="160" y="86"/>
                    <a:pt x="158" y="84"/>
                    <a:pt x="156" y="84"/>
                  </a:cubicBezTo>
                  <a:close/>
                  <a:moveTo>
                    <a:pt x="196" y="84"/>
                  </a:moveTo>
                  <a:cubicBezTo>
                    <a:pt x="176" y="84"/>
                    <a:pt x="176" y="84"/>
                    <a:pt x="176" y="84"/>
                  </a:cubicBezTo>
                  <a:cubicBezTo>
                    <a:pt x="174" y="84"/>
                    <a:pt x="172" y="86"/>
                    <a:pt x="172" y="88"/>
                  </a:cubicBezTo>
                  <a:cubicBezTo>
                    <a:pt x="172" y="90"/>
                    <a:pt x="174" y="92"/>
                    <a:pt x="176" y="92"/>
                  </a:cubicBezTo>
                  <a:cubicBezTo>
                    <a:pt x="196" y="92"/>
                    <a:pt x="196" y="92"/>
                    <a:pt x="196" y="92"/>
                  </a:cubicBezTo>
                  <a:cubicBezTo>
                    <a:pt x="198" y="92"/>
                    <a:pt x="200" y="90"/>
                    <a:pt x="200" y="88"/>
                  </a:cubicBezTo>
                  <a:cubicBezTo>
                    <a:pt x="200" y="86"/>
                    <a:pt x="198" y="84"/>
                    <a:pt x="196" y="84"/>
                  </a:cubicBezTo>
                  <a:close/>
                  <a:moveTo>
                    <a:pt x="224" y="84"/>
                  </a:moveTo>
                  <a:cubicBezTo>
                    <a:pt x="212" y="84"/>
                    <a:pt x="212" y="84"/>
                    <a:pt x="212" y="84"/>
                  </a:cubicBezTo>
                  <a:cubicBezTo>
                    <a:pt x="210" y="84"/>
                    <a:pt x="208" y="86"/>
                    <a:pt x="208" y="88"/>
                  </a:cubicBezTo>
                  <a:cubicBezTo>
                    <a:pt x="208" y="90"/>
                    <a:pt x="210" y="92"/>
                    <a:pt x="212" y="92"/>
                  </a:cubicBezTo>
                  <a:cubicBezTo>
                    <a:pt x="224" y="92"/>
                    <a:pt x="224" y="92"/>
                    <a:pt x="224" y="92"/>
                  </a:cubicBezTo>
                  <a:cubicBezTo>
                    <a:pt x="226" y="92"/>
                    <a:pt x="228" y="90"/>
                    <a:pt x="228" y="88"/>
                  </a:cubicBezTo>
                  <a:cubicBezTo>
                    <a:pt x="228" y="86"/>
                    <a:pt x="226" y="84"/>
                    <a:pt x="224" y="8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armonyOS Sans SC"/>
                <a:cs typeface="+mn-cs"/>
              </a:endParaRPr>
            </a:p>
          </p:txBody>
        </p:sp>
        <p:sp>
          <p:nvSpPr>
            <p:cNvPr id="12" name="Freeform 459">
              <a:extLst>
                <a:ext uri="{FF2B5EF4-FFF2-40B4-BE49-F238E27FC236}">
                  <a16:creationId xmlns:a16="http://schemas.microsoft.com/office/drawing/2014/main" id="{D3464579-10F3-41C4-BED2-29C1A280309B}"/>
                </a:ext>
              </a:extLst>
            </p:cNvPr>
            <p:cNvSpPr>
              <a:spLocks/>
            </p:cNvSpPr>
            <p:nvPr/>
          </p:nvSpPr>
          <p:spPr bwMode="auto">
            <a:xfrm>
              <a:off x="4374353" y="3811037"/>
              <a:ext cx="1682754" cy="1477972"/>
            </a:xfrm>
            <a:custGeom>
              <a:avLst/>
              <a:gdLst>
                <a:gd name="T0" fmla="*/ 14 w 865"/>
                <a:gd name="T1" fmla="*/ 0 h 760"/>
                <a:gd name="T2" fmla="*/ 128 w 865"/>
                <a:gd name="T3" fmla="*/ 504 h 760"/>
                <a:gd name="T4" fmla="*/ 351 w 865"/>
                <a:gd name="T5" fmla="*/ 760 h 760"/>
                <a:gd name="T6" fmla="*/ 865 w 865"/>
                <a:gd name="T7" fmla="*/ 463 h 760"/>
                <a:gd name="T8" fmla="*/ 581 w 865"/>
                <a:gd name="T9" fmla="*/ 322 h 760"/>
                <a:gd name="T10" fmla="*/ 14 w 865"/>
                <a:gd name="T11" fmla="*/ 0 h 760"/>
              </a:gdLst>
              <a:ahLst/>
              <a:cxnLst>
                <a:cxn ang="0">
                  <a:pos x="T0" y="T1"/>
                </a:cxn>
                <a:cxn ang="0">
                  <a:pos x="T2" y="T3"/>
                </a:cxn>
                <a:cxn ang="0">
                  <a:pos x="T4" y="T5"/>
                </a:cxn>
                <a:cxn ang="0">
                  <a:pos x="T6" y="T7"/>
                </a:cxn>
                <a:cxn ang="0">
                  <a:pos x="T8" y="T9"/>
                </a:cxn>
                <a:cxn ang="0">
                  <a:pos x="T10" y="T11"/>
                </a:cxn>
              </a:cxnLst>
              <a:rect l="0" t="0" r="r" b="b"/>
              <a:pathLst>
                <a:path w="865" h="760">
                  <a:moveTo>
                    <a:pt x="14" y="0"/>
                  </a:moveTo>
                  <a:cubicBezTo>
                    <a:pt x="0" y="170"/>
                    <a:pt x="36" y="345"/>
                    <a:pt x="128" y="504"/>
                  </a:cubicBezTo>
                  <a:cubicBezTo>
                    <a:pt x="187" y="606"/>
                    <a:pt x="263" y="692"/>
                    <a:pt x="351" y="760"/>
                  </a:cubicBezTo>
                  <a:cubicBezTo>
                    <a:pt x="865" y="463"/>
                    <a:pt x="865" y="463"/>
                    <a:pt x="865" y="463"/>
                  </a:cubicBezTo>
                  <a:cubicBezTo>
                    <a:pt x="757" y="457"/>
                    <a:pt x="653" y="408"/>
                    <a:pt x="581" y="322"/>
                  </a:cubicBezTo>
                  <a:lnTo>
                    <a:pt x="14" y="0"/>
                  </a:lnTo>
                  <a:close/>
                </a:path>
              </a:pathLst>
            </a:custGeom>
            <a:gradFill>
              <a:gsLst>
                <a:gs pos="73000">
                  <a:schemeClr val="accent1"/>
                </a:gs>
                <a:gs pos="31000">
                  <a:schemeClr val="accent1">
                    <a:lumMod val="60000"/>
                    <a:lumOff val="40000"/>
                  </a:schemeClr>
                </a:gs>
                <a:gs pos="0">
                  <a:schemeClr val="accent1">
                    <a:lumMod val="40000"/>
                    <a:lumOff val="60000"/>
                  </a:schemeClr>
                </a:gs>
              </a:gsLst>
              <a:path path="circle">
                <a:fillToRect r="100000" b="100000"/>
              </a:path>
            </a:gradFill>
            <a:ln>
              <a:noFill/>
            </a:ln>
            <a:effectLst>
              <a:outerShdw blurRad="444500" dist="317500" dir="5400000" sx="92000" sy="92000" algn="t" rotWithShape="0">
                <a:schemeClr val="accent1">
                  <a:lumMod val="75000"/>
                  <a:alpha val="40000"/>
                </a:schemeClr>
              </a:outerShdw>
            </a:effectLst>
            <a:extLst>
              <a:ext uri="{91240B29-F687-4f45-9708-019B960494DF}">
                <a14:hiddenLine xmlns:a14="http://schemas.microsoft.com/office/drawing/2010/main" xmlns=""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grpSp>
          <p:nvGrpSpPr>
            <p:cNvPr id="13" name="Gruppieren 510">
              <a:extLst>
                <a:ext uri="{FF2B5EF4-FFF2-40B4-BE49-F238E27FC236}">
                  <a16:creationId xmlns:a16="http://schemas.microsoft.com/office/drawing/2014/main" id="{CDDBC048-A158-47C2-B141-62AA277086C6}"/>
                </a:ext>
              </a:extLst>
            </p:cNvPr>
            <p:cNvGrpSpPr/>
            <p:nvPr/>
          </p:nvGrpSpPr>
          <p:grpSpPr>
            <a:xfrm>
              <a:off x="4938492" y="4463507"/>
              <a:ext cx="293688" cy="407988"/>
              <a:chOff x="3806031" y="4437856"/>
              <a:chExt cx="293688" cy="407988"/>
            </a:xfrm>
            <a:solidFill>
              <a:schemeClr val="bg1"/>
            </a:solidFill>
          </p:grpSpPr>
          <p:sp>
            <p:nvSpPr>
              <p:cNvPr id="14" name="Freeform 217">
                <a:extLst>
                  <a:ext uri="{FF2B5EF4-FFF2-40B4-BE49-F238E27FC236}">
                    <a16:creationId xmlns:a16="http://schemas.microsoft.com/office/drawing/2014/main" id="{4A2F3C48-1B3C-45A1-9644-A64A0F9A0D9D}"/>
                  </a:ext>
                </a:extLst>
              </p:cNvPr>
              <p:cNvSpPr>
                <a:spLocks noEditPoints="1"/>
              </p:cNvSpPr>
              <p:nvPr/>
            </p:nvSpPr>
            <p:spPr bwMode="auto">
              <a:xfrm>
                <a:off x="3806031" y="4437856"/>
                <a:ext cx="293688" cy="407988"/>
              </a:xfrm>
              <a:custGeom>
                <a:avLst/>
                <a:gdLst>
                  <a:gd name="T0" fmla="*/ 152 w 172"/>
                  <a:gd name="T1" fmla="*/ 240 h 240"/>
                  <a:gd name="T2" fmla="*/ 20 w 172"/>
                  <a:gd name="T3" fmla="*/ 240 h 240"/>
                  <a:gd name="T4" fmla="*/ 0 w 172"/>
                  <a:gd name="T5" fmla="*/ 220 h 240"/>
                  <a:gd name="T6" fmla="*/ 0 w 172"/>
                  <a:gd name="T7" fmla="*/ 20 h 240"/>
                  <a:gd name="T8" fmla="*/ 20 w 172"/>
                  <a:gd name="T9" fmla="*/ 0 h 240"/>
                  <a:gd name="T10" fmla="*/ 152 w 172"/>
                  <a:gd name="T11" fmla="*/ 0 h 240"/>
                  <a:gd name="T12" fmla="*/ 172 w 172"/>
                  <a:gd name="T13" fmla="*/ 20 h 240"/>
                  <a:gd name="T14" fmla="*/ 172 w 172"/>
                  <a:gd name="T15" fmla="*/ 220 h 240"/>
                  <a:gd name="T16" fmla="*/ 152 w 172"/>
                  <a:gd name="T17" fmla="*/ 240 h 240"/>
                  <a:gd name="T18" fmla="*/ 20 w 172"/>
                  <a:gd name="T19" fmla="*/ 8 h 240"/>
                  <a:gd name="T20" fmla="*/ 8 w 172"/>
                  <a:gd name="T21" fmla="*/ 20 h 240"/>
                  <a:gd name="T22" fmla="*/ 8 w 172"/>
                  <a:gd name="T23" fmla="*/ 220 h 240"/>
                  <a:gd name="T24" fmla="*/ 20 w 172"/>
                  <a:gd name="T25" fmla="*/ 232 h 240"/>
                  <a:gd name="T26" fmla="*/ 152 w 172"/>
                  <a:gd name="T27" fmla="*/ 232 h 240"/>
                  <a:gd name="T28" fmla="*/ 164 w 172"/>
                  <a:gd name="T29" fmla="*/ 220 h 240"/>
                  <a:gd name="T30" fmla="*/ 164 w 172"/>
                  <a:gd name="T31" fmla="*/ 20 h 240"/>
                  <a:gd name="T32" fmla="*/ 152 w 172"/>
                  <a:gd name="T33" fmla="*/ 8 h 240"/>
                  <a:gd name="T34" fmla="*/ 20 w 172"/>
                  <a:gd name="T35" fmla="*/ 8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2" h="240">
                    <a:moveTo>
                      <a:pt x="152" y="240"/>
                    </a:moveTo>
                    <a:cubicBezTo>
                      <a:pt x="20" y="240"/>
                      <a:pt x="20" y="240"/>
                      <a:pt x="20" y="240"/>
                    </a:cubicBezTo>
                    <a:cubicBezTo>
                      <a:pt x="9" y="240"/>
                      <a:pt x="0" y="231"/>
                      <a:pt x="0" y="220"/>
                    </a:cubicBezTo>
                    <a:cubicBezTo>
                      <a:pt x="0" y="20"/>
                      <a:pt x="0" y="20"/>
                      <a:pt x="0" y="20"/>
                    </a:cubicBezTo>
                    <a:cubicBezTo>
                      <a:pt x="0" y="9"/>
                      <a:pt x="9" y="0"/>
                      <a:pt x="20" y="0"/>
                    </a:cubicBezTo>
                    <a:cubicBezTo>
                      <a:pt x="152" y="0"/>
                      <a:pt x="152" y="0"/>
                      <a:pt x="152" y="0"/>
                    </a:cubicBezTo>
                    <a:cubicBezTo>
                      <a:pt x="163" y="0"/>
                      <a:pt x="172" y="9"/>
                      <a:pt x="172" y="20"/>
                    </a:cubicBezTo>
                    <a:cubicBezTo>
                      <a:pt x="172" y="220"/>
                      <a:pt x="172" y="220"/>
                      <a:pt x="172" y="220"/>
                    </a:cubicBezTo>
                    <a:cubicBezTo>
                      <a:pt x="172" y="231"/>
                      <a:pt x="163" y="240"/>
                      <a:pt x="152" y="240"/>
                    </a:cubicBezTo>
                    <a:close/>
                    <a:moveTo>
                      <a:pt x="20" y="8"/>
                    </a:moveTo>
                    <a:cubicBezTo>
                      <a:pt x="13" y="8"/>
                      <a:pt x="8" y="13"/>
                      <a:pt x="8" y="20"/>
                    </a:cubicBezTo>
                    <a:cubicBezTo>
                      <a:pt x="8" y="220"/>
                      <a:pt x="8" y="220"/>
                      <a:pt x="8" y="220"/>
                    </a:cubicBezTo>
                    <a:cubicBezTo>
                      <a:pt x="8" y="227"/>
                      <a:pt x="13" y="232"/>
                      <a:pt x="20" y="232"/>
                    </a:cubicBezTo>
                    <a:cubicBezTo>
                      <a:pt x="152" y="232"/>
                      <a:pt x="152" y="232"/>
                      <a:pt x="152" y="232"/>
                    </a:cubicBezTo>
                    <a:cubicBezTo>
                      <a:pt x="159" y="232"/>
                      <a:pt x="164" y="227"/>
                      <a:pt x="164" y="220"/>
                    </a:cubicBezTo>
                    <a:cubicBezTo>
                      <a:pt x="164" y="20"/>
                      <a:pt x="164" y="20"/>
                      <a:pt x="164" y="20"/>
                    </a:cubicBezTo>
                    <a:cubicBezTo>
                      <a:pt x="164" y="13"/>
                      <a:pt x="159" y="8"/>
                      <a:pt x="152" y="8"/>
                    </a:cubicBezTo>
                    <a:lnTo>
                      <a:pt x="20"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armonyOS Sans SC"/>
                  <a:cs typeface="+mn-cs"/>
                </a:endParaRPr>
              </a:p>
            </p:txBody>
          </p:sp>
          <p:sp>
            <p:nvSpPr>
              <p:cNvPr id="15" name="Freeform 218">
                <a:extLst>
                  <a:ext uri="{FF2B5EF4-FFF2-40B4-BE49-F238E27FC236}">
                    <a16:creationId xmlns:a16="http://schemas.microsoft.com/office/drawing/2014/main" id="{8E4B8849-8C09-4B2C-934E-97E0E52C017D}"/>
                  </a:ext>
                </a:extLst>
              </p:cNvPr>
              <p:cNvSpPr>
                <a:spLocks noEditPoints="1"/>
              </p:cNvSpPr>
              <p:nvPr/>
            </p:nvSpPr>
            <p:spPr bwMode="auto">
              <a:xfrm>
                <a:off x="3840956" y="4491831"/>
                <a:ext cx="223838" cy="258763"/>
              </a:xfrm>
              <a:custGeom>
                <a:avLst/>
                <a:gdLst>
                  <a:gd name="T0" fmla="*/ 122 w 132"/>
                  <a:gd name="T1" fmla="*/ 152 h 152"/>
                  <a:gd name="T2" fmla="*/ 10 w 132"/>
                  <a:gd name="T3" fmla="*/ 152 h 152"/>
                  <a:gd name="T4" fmla="*/ 0 w 132"/>
                  <a:gd name="T5" fmla="*/ 142 h 152"/>
                  <a:gd name="T6" fmla="*/ 0 w 132"/>
                  <a:gd name="T7" fmla="*/ 15 h 152"/>
                  <a:gd name="T8" fmla="*/ 15 w 132"/>
                  <a:gd name="T9" fmla="*/ 0 h 152"/>
                  <a:gd name="T10" fmla="*/ 117 w 132"/>
                  <a:gd name="T11" fmla="*/ 0 h 152"/>
                  <a:gd name="T12" fmla="*/ 132 w 132"/>
                  <a:gd name="T13" fmla="*/ 15 h 152"/>
                  <a:gd name="T14" fmla="*/ 132 w 132"/>
                  <a:gd name="T15" fmla="*/ 142 h 152"/>
                  <a:gd name="T16" fmla="*/ 122 w 132"/>
                  <a:gd name="T17" fmla="*/ 152 h 152"/>
                  <a:gd name="T18" fmla="*/ 15 w 132"/>
                  <a:gd name="T19" fmla="*/ 8 h 152"/>
                  <a:gd name="T20" fmla="*/ 8 w 132"/>
                  <a:gd name="T21" fmla="*/ 15 h 152"/>
                  <a:gd name="T22" fmla="*/ 8 w 132"/>
                  <a:gd name="T23" fmla="*/ 142 h 152"/>
                  <a:gd name="T24" fmla="*/ 10 w 132"/>
                  <a:gd name="T25" fmla="*/ 144 h 152"/>
                  <a:gd name="T26" fmla="*/ 122 w 132"/>
                  <a:gd name="T27" fmla="*/ 144 h 152"/>
                  <a:gd name="T28" fmla="*/ 124 w 132"/>
                  <a:gd name="T29" fmla="*/ 142 h 152"/>
                  <a:gd name="T30" fmla="*/ 124 w 132"/>
                  <a:gd name="T31" fmla="*/ 15 h 152"/>
                  <a:gd name="T32" fmla="*/ 117 w 132"/>
                  <a:gd name="T33" fmla="*/ 8 h 152"/>
                  <a:gd name="T34" fmla="*/ 15 w 132"/>
                  <a:gd name="T35" fmla="*/ 8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2" h="152">
                    <a:moveTo>
                      <a:pt x="122" y="152"/>
                    </a:moveTo>
                    <a:cubicBezTo>
                      <a:pt x="10" y="152"/>
                      <a:pt x="10" y="152"/>
                      <a:pt x="10" y="152"/>
                    </a:cubicBezTo>
                    <a:cubicBezTo>
                      <a:pt x="4" y="152"/>
                      <a:pt x="0" y="148"/>
                      <a:pt x="0" y="142"/>
                    </a:cubicBezTo>
                    <a:cubicBezTo>
                      <a:pt x="0" y="15"/>
                      <a:pt x="0" y="15"/>
                      <a:pt x="0" y="15"/>
                    </a:cubicBezTo>
                    <a:cubicBezTo>
                      <a:pt x="0" y="7"/>
                      <a:pt x="7" y="0"/>
                      <a:pt x="15" y="0"/>
                    </a:cubicBezTo>
                    <a:cubicBezTo>
                      <a:pt x="117" y="0"/>
                      <a:pt x="117" y="0"/>
                      <a:pt x="117" y="0"/>
                    </a:cubicBezTo>
                    <a:cubicBezTo>
                      <a:pt x="125" y="0"/>
                      <a:pt x="132" y="7"/>
                      <a:pt x="132" y="15"/>
                    </a:cubicBezTo>
                    <a:cubicBezTo>
                      <a:pt x="132" y="142"/>
                      <a:pt x="132" y="142"/>
                      <a:pt x="132" y="142"/>
                    </a:cubicBezTo>
                    <a:cubicBezTo>
                      <a:pt x="132" y="148"/>
                      <a:pt x="128" y="152"/>
                      <a:pt x="122" y="152"/>
                    </a:cubicBezTo>
                    <a:close/>
                    <a:moveTo>
                      <a:pt x="15" y="8"/>
                    </a:moveTo>
                    <a:cubicBezTo>
                      <a:pt x="11" y="8"/>
                      <a:pt x="8" y="11"/>
                      <a:pt x="8" y="15"/>
                    </a:cubicBezTo>
                    <a:cubicBezTo>
                      <a:pt x="8" y="142"/>
                      <a:pt x="8" y="142"/>
                      <a:pt x="8" y="142"/>
                    </a:cubicBezTo>
                    <a:cubicBezTo>
                      <a:pt x="8" y="143"/>
                      <a:pt x="9" y="144"/>
                      <a:pt x="10" y="144"/>
                    </a:cubicBezTo>
                    <a:cubicBezTo>
                      <a:pt x="122" y="144"/>
                      <a:pt x="122" y="144"/>
                      <a:pt x="122" y="144"/>
                    </a:cubicBezTo>
                    <a:cubicBezTo>
                      <a:pt x="123" y="144"/>
                      <a:pt x="124" y="143"/>
                      <a:pt x="124" y="142"/>
                    </a:cubicBezTo>
                    <a:cubicBezTo>
                      <a:pt x="124" y="15"/>
                      <a:pt x="124" y="15"/>
                      <a:pt x="124" y="15"/>
                    </a:cubicBezTo>
                    <a:cubicBezTo>
                      <a:pt x="124" y="11"/>
                      <a:pt x="121" y="8"/>
                      <a:pt x="117" y="8"/>
                    </a:cubicBezTo>
                    <a:lnTo>
                      <a:pt x="15"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armonyOS Sans SC"/>
                  <a:cs typeface="+mn-cs"/>
                </a:endParaRPr>
              </a:p>
            </p:txBody>
          </p:sp>
          <p:sp>
            <p:nvSpPr>
              <p:cNvPr id="16" name="Oval 219">
                <a:extLst>
                  <a:ext uri="{FF2B5EF4-FFF2-40B4-BE49-F238E27FC236}">
                    <a16:creationId xmlns:a16="http://schemas.microsoft.com/office/drawing/2014/main" id="{AC773DD2-F978-417D-A6A5-0CF5714009A2}"/>
                  </a:ext>
                </a:extLst>
              </p:cNvPr>
              <p:cNvSpPr>
                <a:spLocks noChangeArrowheads="1"/>
              </p:cNvSpPr>
              <p:nvPr/>
            </p:nvSpPr>
            <p:spPr bwMode="auto">
              <a:xfrm>
                <a:off x="3942556" y="4464843"/>
                <a:ext cx="14288" cy="142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armonyOS Sans SC"/>
                  <a:cs typeface="+mn-cs"/>
                </a:endParaRPr>
              </a:p>
            </p:txBody>
          </p:sp>
          <p:sp>
            <p:nvSpPr>
              <p:cNvPr id="17" name="Freeform 220">
                <a:extLst>
                  <a:ext uri="{FF2B5EF4-FFF2-40B4-BE49-F238E27FC236}">
                    <a16:creationId xmlns:a16="http://schemas.microsoft.com/office/drawing/2014/main" id="{B207652A-6EC1-44D5-A419-2E9F2D2A8539}"/>
                  </a:ext>
                </a:extLst>
              </p:cNvPr>
              <p:cNvSpPr>
                <a:spLocks noEditPoints="1"/>
              </p:cNvSpPr>
              <p:nvPr/>
            </p:nvSpPr>
            <p:spPr bwMode="auto">
              <a:xfrm>
                <a:off x="3929856" y="4764881"/>
                <a:ext cx="53975" cy="53975"/>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7"/>
                      <a:pt x="7" y="0"/>
                      <a:pt x="16" y="0"/>
                    </a:cubicBezTo>
                    <a:cubicBezTo>
                      <a:pt x="25" y="0"/>
                      <a:pt x="32" y="7"/>
                      <a:pt x="32" y="16"/>
                    </a:cubicBezTo>
                    <a:cubicBezTo>
                      <a:pt x="32" y="25"/>
                      <a:pt x="25" y="32"/>
                      <a:pt x="16" y="32"/>
                    </a:cubicBezTo>
                    <a:close/>
                    <a:moveTo>
                      <a:pt x="16" y="8"/>
                    </a:moveTo>
                    <a:cubicBezTo>
                      <a:pt x="12" y="8"/>
                      <a:pt x="8" y="12"/>
                      <a:pt x="8" y="16"/>
                    </a:cubicBezTo>
                    <a:cubicBezTo>
                      <a:pt x="8" y="20"/>
                      <a:pt x="12" y="24"/>
                      <a:pt x="16" y="24"/>
                    </a:cubicBezTo>
                    <a:cubicBezTo>
                      <a:pt x="20" y="24"/>
                      <a:pt x="24" y="20"/>
                      <a:pt x="24" y="16"/>
                    </a:cubicBezTo>
                    <a:cubicBezTo>
                      <a:pt x="24" y="12"/>
                      <a:pt x="20" y="8"/>
                      <a:pt x="16"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armonyOS Sans SC"/>
                  <a:cs typeface="+mn-cs"/>
                </a:endParaRPr>
              </a:p>
            </p:txBody>
          </p:sp>
          <p:sp>
            <p:nvSpPr>
              <p:cNvPr id="18" name="Freeform 221">
                <a:extLst>
                  <a:ext uri="{FF2B5EF4-FFF2-40B4-BE49-F238E27FC236}">
                    <a16:creationId xmlns:a16="http://schemas.microsoft.com/office/drawing/2014/main" id="{63D686C1-CDF1-4DB8-B3B5-111AC9FE46EF}"/>
                  </a:ext>
                </a:extLst>
              </p:cNvPr>
              <p:cNvSpPr>
                <a:spLocks noEditPoints="1"/>
              </p:cNvSpPr>
              <p:nvPr/>
            </p:nvSpPr>
            <p:spPr bwMode="auto">
              <a:xfrm>
                <a:off x="3880643" y="4547393"/>
                <a:ext cx="144463" cy="142875"/>
              </a:xfrm>
              <a:custGeom>
                <a:avLst/>
                <a:gdLst>
                  <a:gd name="T0" fmla="*/ 65 w 91"/>
                  <a:gd name="T1" fmla="*/ 90 h 90"/>
                  <a:gd name="T2" fmla="*/ 26 w 91"/>
                  <a:gd name="T3" fmla="*/ 90 h 90"/>
                  <a:gd name="T4" fmla="*/ 26 w 91"/>
                  <a:gd name="T5" fmla="*/ 64 h 90"/>
                  <a:gd name="T6" fmla="*/ 0 w 91"/>
                  <a:gd name="T7" fmla="*/ 64 h 90"/>
                  <a:gd name="T8" fmla="*/ 0 w 91"/>
                  <a:gd name="T9" fmla="*/ 25 h 90"/>
                  <a:gd name="T10" fmla="*/ 26 w 91"/>
                  <a:gd name="T11" fmla="*/ 25 h 90"/>
                  <a:gd name="T12" fmla="*/ 26 w 91"/>
                  <a:gd name="T13" fmla="*/ 0 h 90"/>
                  <a:gd name="T14" fmla="*/ 65 w 91"/>
                  <a:gd name="T15" fmla="*/ 0 h 90"/>
                  <a:gd name="T16" fmla="*/ 65 w 91"/>
                  <a:gd name="T17" fmla="*/ 25 h 90"/>
                  <a:gd name="T18" fmla="*/ 91 w 91"/>
                  <a:gd name="T19" fmla="*/ 25 h 90"/>
                  <a:gd name="T20" fmla="*/ 91 w 91"/>
                  <a:gd name="T21" fmla="*/ 64 h 90"/>
                  <a:gd name="T22" fmla="*/ 65 w 91"/>
                  <a:gd name="T23" fmla="*/ 64 h 90"/>
                  <a:gd name="T24" fmla="*/ 65 w 91"/>
                  <a:gd name="T25" fmla="*/ 90 h 90"/>
                  <a:gd name="T26" fmla="*/ 35 w 91"/>
                  <a:gd name="T27" fmla="*/ 81 h 90"/>
                  <a:gd name="T28" fmla="*/ 56 w 91"/>
                  <a:gd name="T29" fmla="*/ 81 h 90"/>
                  <a:gd name="T30" fmla="*/ 56 w 91"/>
                  <a:gd name="T31" fmla="*/ 55 h 90"/>
                  <a:gd name="T32" fmla="*/ 82 w 91"/>
                  <a:gd name="T33" fmla="*/ 55 h 90"/>
                  <a:gd name="T34" fmla="*/ 82 w 91"/>
                  <a:gd name="T35" fmla="*/ 34 h 90"/>
                  <a:gd name="T36" fmla="*/ 56 w 91"/>
                  <a:gd name="T37" fmla="*/ 34 h 90"/>
                  <a:gd name="T38" fmla="*/ 56 w 91"/>
                  <a:gd name="T39" fmla="*/ 8 h 90"/>
                  <a:gd name="T40" fmla="*/ 35 w 91"/>
                  <a:gd name="T41" fmla="*/ 8 h 90"/>
                  <a:gd name="T42" fmla="*/ 35 w 91"/>
                  <a:gd name="T43" fmla="*/ 34 h 90"/>
                  <a:gd name="T44" fmla="*/ 9 w 91"/>
                  <a:gd name="T45" fmla="*/ 34 h 90"/>
                  <a:gd name="T46" fmla="*/ 9 w 91"/>
                  <a:gd name="T47" fmla="*/ 55 h 90"/>
                  <a:gd name="T48" fmla="*/ 35 w 91"/>
                  <a:gd name="T49" fmla="*/ 55 h 90"/>
                  <a:gd name="T50" fmla="*/ 35 w 91"/>
                  <a:gd name="T51" fmla="*/ 81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1" h="90">
                    <a:moveTo>
                      <a:pt x="65" y="90"/>
                    </a:moveTo>
                    <a:lnTo>
                      <a:pt x="26" y="90"/>
                    </a:lnTo>
                    <a:lnTo>
                      <a:pt x="26" y="64"/>
                    </a:lnTo>
                    <a:lnTo>
                      <a:pt x="0" y="64"/>
                    </a:lnTo>
                    <a:lnTo>
                      <a:pt x="0" y="25"/>
                    </a:lnTo>
                    <a:lnTo>
                      <a:pt x="26" y="25"/>
                    </a:lnTo>
                    <a:lnTo>
                      <a:pt x="26" y="0"/>
                    </a:lnTo>
                    <a:lnTo>
                      <a:pt x="65" y="0"/>
                    </a:lnTo>
                    <a:lnTo>
                      <a:pt x="65" y="25"/>
                    </a:lnTo>
                    <a:lnTo>
                      <a:pt x="91" y="25"/>
                    </a:lnTo>
                    <a:lnTo>
                      <a:pt x="91" y="64"/>
                    </a:lnTo>
                    <a:lnTo>
                      <a:pt x="65" y="64"/>
                    </a:lnTo>
                    <a:lnTo>
                      <a:pt x="65" y="90"/>
                    </a:lnTo>
                    <a:close/>
                    <a:moveTo>
                      <a:pt x="35" y="81"/>
                    </a:moveTo>
                    <a:lnTo>
                      <a:pt x="56" y="81"/>
                    </a:lnTo>
                    <a:lnTo>
                      <a:pt x="56" y="55"/>
                    </a:lnTo>
                    <a:lnTo>
                      <a:pt x="82" y="55"/>
                    </a:lnTo>
                    <a:lnTo>
                      <a:pt x="82" y="34"/>
                    </a:lnTo>
                    <a:lnTo>
                      <a:pt x="56" y="34"/>
                    </a:lnTo>
                    <a:lnTo>
                      <a:pt x="56" y="8"/>
                    </a:lnTo>
                    <a:lnTo>
                      <a:pt x="35" y="8"/>
                    </a:lnTo>
                    <a:lnTo>
                      <a:pt x="35" y="34"/>
                    </a:lnTo>
                    <a:lnTo>
                      <a:pt x="9" y="34"/>
                    </a:lnTo>
                    <a:lnTo>
                      <a:pt x="9" y="55"/>
                    </a:lnTo>
                    <a:lnTo>
                      <a:pt x="35" y="55"/>
                    </a:lnTo>
                    <a:lnTo>
                      <a:pt x="35" y="8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armonyOS Sans SC"/>
                  <a:cs typeface="+mn-cs"/>
                </a:endParaRPr>
              </a:p>
            </p:txBody>
          </p:sp>
        </p:grpSp>
        <p:sp>
          <p:nvSpPr>
            <p:cNvPr id="20" name="Freeform 460">
              <a:extLst>
                <a:ext uri="{FF2B5EF4-FFF2-40B4-BE49-F238E27FC236}">
                  <a16:creationId xmlns:a16="http://schemas.microsoft.com/office/drawing/2014/main" id="{11ECCF35-27BE-498D-BC6C-C4BB9B8CD19E}"/>
                </a:ext>
              </a:extLst>
            </p:cNvPr>
            <p:cNvSpPr>
              <a:spLocks/>
            </p:cNvSpPr>
            <p:nvPr/>
          </p:nvSpPr>
          <p:spPr bwMode="auto">
            <a:xfrm>
              <a:off x="5136355" y="4361903"/>
              <a:ext cx="1608141" cy="1279533"/>
            </a:xfrm>
            <a:custGeom>
              <a:avLst/>
              <a:gdLst>
                <a:gd name="T0" fmla="*/ 0 w 827"/>
                <a:gd name="T1" fmla="*/ 505 h 658"/>
                <a:gd name="T2" fmla="*/ 494 w 827"/>
                <a:gd name="T3" fmla="*/ 658 h 658"/>
                <a:gd name="T4" fmla="*/ 827 w 827"/>
                <a:gd name="T5" fmla="*/ 593 h 658"/>
                <a:gd name="T6" fmla="*/ 827 w 827"/>
                <a:gd name="T7" fmla="*/ 0 h 658"/>
                <a:gd name="T8" fmla="*/ 563 w 827"/>
                <a:gd name="T9" fmla="*/ 175 h 658"/>
                <a:gd name="T10" fmla="*/ 0 w 827"/>
                <a:gd name="T11" fmla="*/ 505 h 658"/>
              </a:gdLst>
              <a:ahLst/>
              <a:cxnLst>
                <a:cxn ang="0">
                  <a:pos x="T0" y="T1"/>
                </a:cxn>
                <a:cxn ang="0">
                  <a:pos x="T2" y="T3"/>
                </a:cxn>
                <a:cxn ang="0">
                  <a:pos x="T4" y="T5"/>
                </a:cxn>
                <a:cxn ang="0">
                  <a:pos x="T6" y="T7"/>
                </a:cxn>
                <a:cxn ang="0">
                  <a:pos x="T8" y="T9"/>
                </a:cxn>
                <a:cxn ang="0">
                  <a:pos x="T10" y="T11"/>
                </a:cxn>
              </a:cxnLst>
              <a:rect l="0" t="0" r="r" b="b"/>
              <a:pathLst>
                <a:path w="827" h="658">
                  <a:moveTo>
                    <a:pt x="0" y="505"/>
                  </a:moveTo>
                  <a:cubicBezTo>
                    <a:pt x="141" y="602"/>
                    <a:pt x="311" y="658"/>
                    <a:pt x="494" y="658"/>
                  </a:cubicBezTo>
                  <a:cubicBezTo>
                    <a:pt x="612" y="658"/>
                    <a:pt x="724" y="635"/>
                    <a:pt x="827" y="593"/>
                  </a:cubicBezTo>
                  <a:cubicBezTo>
                    <a:pt x="827" y="0"/>
                    <a:pt x="827" y="0"/>
                    <a:pt x="827" y="0"/>
                  </a:cubicBezTo>
                  <a:cubicBezTo>
                    <a:pt x="768" y="91"/>
                    <a:pt x="673" y="155"/>
                    <a:pt x="563" y="175"/>
                  </a:cubicBezTo>
                  <a:lnTo>
                    <a:pt x="0" y="505"/>
                  </a:lnTo>
                  <a:close/>
                </a:path>
              </a:pathLst>
            </a:custGeom>
            <a:gradFill>
              <a:gsLst>
                <a:gs pos="73000">
                  <a:schemeClr val="accent1"/>
                </a:gs>
                <a:gs pos="31000">
                  <a:schemeClr val="accent1">
                    <a:lumMod val="60000"/>
                    <a:lumOff val="40000"/>
                  </a:schemeClr>
                </a:gs>
                <a:gs pos="0">
                  <a:schemeClr val="accent1">
                    <a:lumMod val="40000"/>
                    <a:lumOff val="60000"/>
                  </a:schemeClr>
                </a:gs>
              </a:gsLst>
              <a:path path="circle">
                <a:fillToRect r="100000" b="100000"/>
              </a:path>
            </a:gradFill>
            <a:ln>
              <a:noFill/>
            </a:ln>
            <a:effectLst>
              <a:outerShdw blurRad="444500" dist="317500" dir="5400000" sx="92000" sy="92000" algn="t" rotWithShape="0">
                <a:schemeClr val="accent1">
                  <a:lumMod val="75000"/>
                  <a:alpha val="40000"/>
                </a:schemeClr>
              </a:outerShdw>
            </a:effectLst>
            <a:extLst>
              <a:ext uri="{91240B29-F687-4f45-9708-019B960494DF}">
                <a14:hiddenLine xmlns:a14="http://schemas.microsoft.com/office/drawing/2010/main" xmlns=""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grpSp>
          <p:nvGrpSpPr>
            <p:cNvPr id="21" name="Gruppieren 528">
              <a:extLst>
                <a:ext uri="{FF2B5EF4-FFF2-40B4-BE49-F238E27FC236}">
                  <a16:creationId xmlns:a16="http://schemas.microsoft.com/office/drawing/2014/main" id="{171A77C6-2784-4F8D-AFC0-8F434A856B54}"/>
                </a:ext>
              </a:extLst>
            </p:cNvPr>
            <p:cNvGrpSpPr/>
            <p:nvPr/>
          </p:nvGrpSpPr>
          <p:grpSpPr>
            <a:xfrm>
              <a:off x="6048142" y="4958325"/>
              <a:ext cx="398463" cy="400050"/>
              <a:chOff x="4363243" y="5058568"/>
              <a:chExt cx="398463" cy="400050"/>
            </a:xfrm>
            <a:solidFill>
              <a:schemeClr val="bg1"/>
            </a:solidFill>
          </p:grpSpPr>
          <p:sp>
            <p:nvSpPr>
              <p:cNvPr id="22" name="Freeform 290">
                <a:extLst>
                  <a:ext uri="{FF2B5EF4-FFF2-40B4-BE49-F238E27FC236}">
                    <a16:creationId xmlns:a16="http://schemas.microsoft.com/office/drawing/2014/main" id="{B6106E94-7314-4511-9DC3-82356BEC1A99}"/>
                  </a:ext>
                </a:extLst>
              </p:cNvPr>
              <p:cNvSpPr>
                <a:spLocks noEditPoints="1"/>
              </p:cNvSpPr>
              <p:nvPr/>
            </p:nvSpPr>
            <p:spPr bwMode="auto">
              <a:xfrm>
                <a:off x="4363243" y="5249068"/>
                <a:ext cx="212725" cy="209550"/>
              </a:xfrm>
              <a:custGeom>
                <a:avLst/>
                <a:gdLst>
                  <a:gd name="T0" fmla="*/ 31 w 125"/>
                  <a:gd name="T1" fmla="*/ 123 h 123"/>
                  <a:gd name="T2" fmla="*/ 24 w 125"/>
                  <a:gd name="T3" fmla="*/ 120 h 123"/>
                  <a:gd name="T4" fmla="*/ 3 w 125"/>
                  <a:gd name="T5" fmla="*/ 99 h 123"/>
                  <a:gd name="T6" fmla="*/ 0 w 125"/>
                  <a:gd name="T7" fmla="*/ 92 h 123"/>
                  <a:gd name="T8" fmla="*/ 3 w 125"/>
                  <a:gd name="T9" fmla="*/ 86 h 123"/>
                  <a:gd name="T10" fmla="*/ 34 w 125"/>
                  <a:gd name="T11" fmla="*/ 55 h 123"/>
                  <a:gd name="T12" fmla="*/ 25 w 125"/>
                  <a:gd name="T13" fmla="*/ 29 h 123"/>
                  <a:gd name="T14" fmla="*/ 39 w 125"/>
                  <a:gd name="T15" fmla="*/ 6 h 123"/>
                  <a:gd name="T16" fmla="*/ 57 w 125"/>
                  <a:gd name="T17" fmla="*/ 0 h 123"/>
                  <a:gd name="T18" fmla="*/ 75 w 125"/>
                  <a:gd name="T19" fmla="*/ 6 h 123"/>
                  <a:gd name="T20" fmla="*/ 89 w 125"/>
                  <a:gd name="T21" fmla="*/ 34 h 123"/>
                  <a:gd name="T22" fmla="*/ 117 w 125"/>
                  <a:gd name="T23" fmla="*/ 48 h 123"/>
                  <a:gd name="T24" fmla="*/ 117 w 125"/>
                  <a:gd name="T25" fmla="*/ 84 h 123"/>
                  <a:gd name="T26" fmla="*/ 91 w 125"/>
                  <a:gd name="T27" fmla="*/ 98 h 123"/>
                  <a:gd name="T28" fmla="*/ 91 w 125"/>
                  <a:gd name="T29" fmla="*/ 98 h 123"/>
                  <a:gd name="T30" fmla="*/ 68 w 125"/>
                  <a:gd name="T31" fmla="*/ 89 h 123"/>
                  <a:gd name="T32" fmla="*/ 37 w 125"/>
                  <a:gd name="T33" fmla="*/ 120 h 123"/>
                  <a:gd name="T34" fmla="*/ 31 w 125"/>
                  <a:gd name="T35" fmla="*/ 123 h 123"/>
                  <a:gd name="T36" fmla="*/ 57 w 125"/>
                  <a:gd name="T37" fmla="*/ 8 h 123"/>
                  <a:gd name="T38" fmla="*/ 44 w 125"/>
                  <a:gd name="T39" fmla="*/ 12 h 123"/>
                  <a:gd name="T40" fmla="*/ 33 w 125"/>
                  <a:gd name="T41" fmla="*/ 30 h 123"/>
                  <a:gd name="T42" fmla="*/ 40 w 125"/>
                  <a:gd name="T43" fmla="*/ 49 h 123"/>
                  <a:gd name="T44" fmla="*/ 42 w 125"/>
                  <a:gd name="T45" fmla="*/ 51 h 123"/>
                  <a:gd name="T46" fmla="*/ 46 w 125"/>
                  <a:gd name="T47" fmla="*/ 54 h 123"/>
                  <a:gd name="T48" fmla="*/ 9 w 125"/>
                  <a:gd name="T49" fmla="*/ 92 h 123"/>
                  <a:gd name="T50" fmla="*/ 8 w 125"/>
                  <a:gd name="T51" fmla="*/ 92 h 123"/>
                  <a:gd name="T52" fmla="*/ 9 w 125"/>
                  <a:gd name="T53" fmla="*/ 93 h 123"/>
                  <a:gd name="T54" fmla="*/ 30 w 125"/>
                  <a:gd name="T55" fmla="*/ 114 h 123"/>
                  <a:gd name="T56" fmla="*/ 31 w 125"/>
                  <a:gd name="T57" fmla="*/ 114 h 123"/>
                  <a:gd name="T58" fmla="*/ 69 w 125"/>
                  <a:gd name="T59" fmla="*/ 77 h 123"/>
                  <a:gd name="T60" fmla="*/ 72 w 125"/>
                  <a:gd name="T61" fmla="*/ 81 h 123"/>
                  <a:gd name="T62" fmla="*/ 74 w 125"/>
                  <a:gd name="T63" fmla="*/ 83 h 123"/>
                  <a:gd name="T64" fmla="*/ 91 w 125"/>
                  <a:gd name="T65" fmla="*/ 90 h 123"/>
                  <a:gd name="T66" fmla="*/ 111 w 125"/>
                  <a:gd name="T67" fmla="*/ 79 h 123"/>
                  <a:gd name="T68" fmla="*/ 110 w 125"/>
                  <a:gd name="T69" fmla="*/ 52 h 123"/>
                  <a:gd name="T70" fmla="*/ 91 w 125"/>
                  <a:gd name="T71" fmla="*/ 42 h 123"/>
                  <a:gd name="T72" fmla="*/ 85 w 125"/>
                  <a:gd name="T73" fmla="*/ 43 h 123"/>
                  <a:gd name="T74" fmla="*/ 78 w 125"/>
                  <a:gd name="T75" fmla="*/ 45 h 123"/>
                  <a:gd name="T76" fmla="*/ 80 w 125"/>
                  <a:gd name="T77" fmla="*/ 38 h 123"/>
                  <a:gd name="T78" fmla="*/ 71 w 125"/>
                  <a:gd name="T79" fmla="*/ 13 h 123"/>
                  <a:gd name="T80" fmla="*/ 57 w 125"/>
                  <a:gd name="T81" fmla="*/ 8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25" h="123">
                    <a:moveTo>
                      <a:pt x="31" y="123"/>
                    </a:moveTo>
                    <a:cubicBezTo>
                      <a:pt x="28" y="123"/>
                      <a:pt x="26" y="122"/>
                      <a:pt x="24" y="120"/>
                    </a:cubicBezTo>
                    <a:cubicBezTo>
                      <a:pt x="3" y="99"/>
                      <a:pt x="3" y="99"/>
                      <a:pt x="3" y="99"/>
                    </a:cubicBezTo>
                    <a:cubicBezTo>
                      <a:pt x="1" y="97"/>
                      <a:pt x="0" y="95"/>
                      <a:pt x="0" y="92"/>
                    </a:cubicBezTo>
                    <a:cubicBezTo>
                      <a:pt x="0" y="90"/>
                      <a:pt x="1" y="88"/>
                      <a:pt x="3" y="86"/>
                    </a:cubicBezTo>
                    <a:cubicBezTo>
                      <a:pt x="34" y="55"/>
                      <a:pt x="34" y="55"/>
                      <a:pt x="34" y="55"/>
                    </a:cubicBezTo>
                    <a:cubicBezTo>
                      <a:pt x="27" y="48"/>
                      <a:pt x="24" y="39"/>
                      <a:pt x="25" y="29"/>
                    </a:cubicBezTo>
                    <a:cubicBezTo>
                      <a:pt x="26" y="20"/>
                      <a:pt x="31" y="11"/>
                      <a:pt x="39" y="6"/>
                    </a:cubicBezTo>
                    <a:cubicBezTo>
                      <a:pt x="44" y="2"/>
                      <a:pt x="50" y="0"/>
                      <a:pt x="57" y="0"/>
                    </a:cubicBezTo>
                    <a:cubicBezTo>
                      <a:pt x="63" y="0"/>
                      <a:pt x="70" y="2"/>
                      <a:pt x="75" y="6"/>
                    </a:cubicBezTo>
                    <a:cubicBezTo>
                      <a:pt x="85" y="13"/>
                      <a:pt x="89" y="23"/>
                      <a:pt x="89" y="34"/>
                    </a:cubicBezTo>
                    <a:cubicBezTo>
                      <a:pt x="100" y="34"/>
                      <a:pt x="110" y="39"/>
                      <a:pt x="117" y="48"/>
                    </a:cubicBezTo>
                    <a:cubicBezTo>
                      <a:pt x="125" y="58"/>
                      <a:pt x="125" y="73"/>
                      <a:pt x="117" y="84"/>
                    </a:cubicBezTo>
                    <a:cubicBezTo>
                      <a:pt x="111" y="93"/>
                      <a:pt x="101" y="98"/>
                      <a:pt x="91" y="98"/>
                    </a:cubicBezTo>
                    <a:cubicBezTo>
                      <a:pt x="91" y="98"/>
                      <a:pt x="91" y="98"/>
                      <a:pt x="91" y="98"/>
                    </a:cubicBezTo>
                    <a:cubicBezTo>
                      <a:pt x="82" y="98"/>
                      <a:pt x="74" y="95"/>
                      <a:pt x="68" y="89"/>
                    </a:cubicBezTo>
                    <a:cubicBezTo>
                      <a:pt x="37" y="120"/>
                      <a:pt x="37" y="120"/>
                      <a:pt x="37" y="120"/>
                    </a:cubicBezTo>
                    <a:cubicBezTo>
                      <a:pt x="35" y="122"/>
                      <a:pt x="33" y="123"/>
                      <a:pt x="31" y="123"/>
                    </a:cubicBezTo>
                    <a:close/>
                    <a:moveTo>
                      <a:pt x="57" y="8"/>
                    </a:moveTo>
                    <a:cubicBezTo>
                      <a:pt x="52" y="8"/>
                      <a:pt x="47" y="10"/>
                      <a:pt x="44" y="12"/>
                    </a:cubicBezTo>
                    <a:cubicBezTo>
                      <a:pt x="38" y="16"/>
                      <a:pt x="34" y="23"/>
                      <a:pt x="33" y="30"/>
                    </a:cubicBezTo>
                    <a:cubicBezTo>
                      <a:pt x="32" y="37"/>
                      <a:pt x="35" y="44"/>
                      <a:pt x="40" y="49"/>
                    </a:cubicBezTo>
                    <a:cubicBezTo>
                      <a:pt x="41" y="50"/>
                      <a:pt x="41" y="51"/>
                      <a:pt x="42" y="51"/>
                    </a:cubicBezTo>
                    <a:cubicBezTo>
                      <a:pt x="46" y="54"/>
                      <a:pt x="46" y="54"/>
                      <a:pt x="46" y="54"/>
                    </a:cubicBezTo>
                    <a:cubicBezTo>
                      <a:pt x="9" y="92"/>
                      <a:pt x="9" y="92"/>
                      <a:pt x="9" y="92"/>
                    </a:cubicBezTo>
                    <a:cubicBezTo>
                      <a:pt x="8" y="92"/>
                      <a:pt x="8" y="92"/>
                      <a:pt x="8" y="92"/>
                    </a:cubicBezTo>
                    <a:cubicBezTo>
                      <a:pt x="8" y="93"/>
                      <a:pt x="8" y="93"/>
                      <a:pt x="9" y="93"/>
                    </a:cubicBezTo>
                    <a:cubicBezTo>
                      <a:pt x="30" y="114"/>
                      <a:pt x="30" y="114"/>
                      <a:pt x="30" y="114"/>
                    </a:cubicBezTo>
                    <a:cubicBezTo>
                      <a:pt x="30" y="115"/>
                      <a:pt x="31" y="115"/>
                      <a:pt x="31" y="114"/>
                    </a:cubicBezTo>
                    <a:cubicBezTo>
                      <a:pt x="69" y="77"/>
                      <a:pt x="69" y="77"/>
                      <a:pt x="69" y="77"/>
                    </a:cubicBezTo>
                    <a:cubicBezTo>
                      <a:pt x="72" y="81"/>
                      <a:pt x="72" y="81"/>
                      <a:pt x="72" y="81"/>
                    </a:cubicBezTo>
                    <a:cubicBezTo>
                      <a:pt x="72" y="82"/>
                      <a:pt x="73" y="82"/>
                      <a:pt x="74" y="83"/>
                    </a:cubicBezTo>
                    <a:cubicBezTo>
                      <a:pt x="78" y="88"/>
                      <a:pt x="84" y="90"/>
                      <a:pt x="91" y="90"/>
                    </a:cubicBezTo>
                    <a:cubicBezTo>
                      <a:pt x="99" y="90"/>
                      <a:pt x="106" y="86"/>
                      <a:pt x="111" y="79"/>
                    </a:cubicBezTo>
                    <a:cubicBezTo>
                      <a:pt x="116" y="71"/>
                      <a:pt x="116" y="60"/>
                      <a:pt x="110" y="52"/>
                    </a:cubicBezTo>
                    <a:cubicBezTo>
                      <a:pt x="106" y="46"/>
                      <a:pt x="99" y="42"/>
                      <a:pt x="91" y="42"/>
                    </a:cubicBezTo>
                    <a:cubicBezTo>
                      <a:pt x="89" y="42"/>
                      <a:pt x="87" y="42"/>
                      <a:pt x="85" y="43"/>
                    </a:cubicBezTo>
                    <a:cubicBezTo>
                      <a:pt x="78" y="45"/>
                      <a:pt x="78" y="45"/>
                      <a:pt x="78" y="45"/>
                    </a:cubicBezTo>
                    <a:cubicBezTo>
                      <a:pt x="80" y="38"/>
                      <a:pt x="80" y="38"/>
                      <a:pt x="80" y="38"/>
                    </a:cubicBezTo>
                    <a:cubicBezTo>
                      <a:pt x="83" y="28"/>
                      <a:pt x="79" y="18"/>
                      <a:pt x="71" y="13"/>
                    </a:cubicBezTo>
                    <a:cubicBezTo>
                      <a:pt x="67" y="10"/>
                      <a:pt x="62" y="8"/>
                      <a:pt x="57"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armonyOS Sans SC"/>
                  <a:cs typeface="+mn-cs"/>
                </a:endParaRPr>
              </a:p>
            </p:txBody>
          </p:sp>
          <p:sp>
            <p:nvSpPr>
              <p:cNvPr id="23" name="Freeform 291">
                <a:extLst>
                  <a:ext uri="{FF2B5EF4-FFF2-40B4-BE49-F238E27FC236}">
                    <a16:creationId xmlns:a16="http://schemas.microsoft.com/office/drawing/2014/main" id="{E15BE739-B798-433F-AC79-1ACE98D7733D}"/>
                  </a:ext>
                </a:extLst>
              </p:cNvPr>
              <p:cNvSpPr>
                <a:spLocks noEditPoints="1"/>
              </p:cNvSpPr>
              <p:nvPr/>
            </p:nvSpPr>
            <p:spPr bwMode="auto">
              <a:xfrm>
                <a:off x="4495006" y="5058568"/>
                <a:ext cx="266700" cy="265113"/>
              </a:xfrm>
              <a:custGeom>
                <a:avLst/>
                <a:gdLst>
                  <a:gd name="T0" fmla="*/ 68 w 157"/>
                  <a:gd name="T1" fmla="*/ 156 h 156"/>
                  <a:gd name="T2" fmla="*/ 50 w 157"/>
                  <a:gd name="T3" fmla="*/ 150 h 156"/>
                  <a:gd name="T4" fmla="*/ 36 w 157"/>
                  <a:gd name="T5" fmla="*/ 122 h 156"/>
                  <a:gd name="T6" fmla="*/ 34 w 157"/>
                  <a:gd name="T7" fmla="*/ 122 h 156"/>
                  <a:gd name="T8" fmla="*/ 34 w 157"/>
                  <a:gd name="T9" fmla="*/ 122 h 156"/>
                  <a:gd name="T10" fmla="*/ 8 w 157"/>
                  <a:gd name="T11" fmla="*/ 108 h 156"/>
                  <a:gd name="T12" fmla="*/ 8 w 157"/>
                  <a:gd name="T13" fmla="*/ 72 h 156"/>
                  <a:gd name="T14" fmla="*/ 34 w 157"/>
                  <a:gd name="T15" fmla="*/ 58 h 156"/>
                  <a:gd name="T16" fmla="*/ 57 w 157"/>
                  <a:gd name="T17" fmla="*/ 67 h 156"/>
                  <a:gd name="T18" fmla="*/ 121 w 157"/>
                  <a:gd name="T19" fmla="*/ 3 h 156"/>
                  <a:gd name="T20" fmla="*/ 132 w 157"/>
                  <a:gd name="T21" fmla="*/ 3 h 156"/>
                  <a:gd name="T22" fmla="*/ 155 w 157"/>
                  <a:gd name="T23" fmla="*/ 26 h 156"/>
                  <a:gd name="T24" fmla="*/ 157 w 157"/>
                  <a:gd name="T25" fmla="*/ 32 h 156"/>
                  <a:gd name="T26" fmla="*/ 155 w 157"/>
                  <a:gd name="T27" fmla="*/ 37 h 156"/>
                  <a:gd name="T28" fmla="*/ 91 w 157"/>
                  <a:gd name="T29" fmla="*/ 101 h 156"/>
                  <a:gd name="T30" fmla="*/ 100 w 157"/>
                  <a:gd name="T31" fmla="*/ 127 h 156"/>
                  <a:gd name="T32" fmla="*/ 86 w 157"/>
                  <a:gd name="T33" fmla="*/ 150 h 156"/>
                  <a:gd name="T34" fmla="*/ 68 w 157"/>
                  <a:gd name="T35" fmla="*/ 156 h 156"/>
                  <a:gd name="T36" fmla="*/ 47 w 157"/>
                  <a:gd name="T37" fmla="*/ 111 h 156"/>
                  <a:gd name="T38" fmla="*/ 45 w 157"/>
                  <a:gd name="T39" fmla="*/ 118 h 156"/>
                  <a:gd name="T40" fmla="*/ 54 w 157"/>
                  <a:gd name="T41" fmla="*/ 143 h 156"/>
                  <a:gd name="T42" fmla="*/ 81 w 157"/>
                  <a:gd name="T43" fmla="*/ 144 h 156"/>
                  <a:gd name="T44" fmla="*/ 92 w 157"/>
                  <a:gd name="T45" fmla="*/ 126 h 156"/>
                  <a:gd name="T46" fmla="*/ 85 w 157"/>
                  <a:gd name="T47" fmla="*/ 107 h 156"/>
                  <a:gd name="T48" fmla="*/ 83 w 157"/>
                  <a:gd name="T49" fmla="*/ 105 h 156"/>
                  <a:gd name="T50" fmla="*/ 79 w 157"/>
                  <a:gd name="T51" fmla="*/ 102 h 156"/>
                  <a:gd name="T52" fmla="*/ 149 w 157"/>
                  <a:gd name="T53" fmla="*/ 32 h 156"/>
                  <a:gd name="T54" fmla="*/ 126 w 157"/>
                  <a:gd name="T55" fmla="*/ 9 h 156"/>
                  <a:gd name="T56" fmla="*/ 56 w 157"/>
                  <a:gd name="T57" fmla="*/ 79 h 156"/>
                  <a:gd name="T58" fmla="*/ 53 w 157"/>
                  <a:gd name="T59" fmla="*/ 75 h 156"/>
                  <a:gd name="T60" fmla="*/ 51 w 157"/>
                  <a:gd name="T61" fmla="*/ 73 h 156"/>
                  <a:gd name="T62" fmla="*/ 34 w 157"/>
                  <a:gd name="T63" fmla="*/ 66 h 156"/>
                  <a:gd name="T64" fmla="*/ 14 w 157"/>
                  <a:gd name="T65" fmla="*/ 77 h 156"/>
                  <a:gd name="T66" fmla="*/ 15 w 157"/>
                  <a:gd name="T67" fmla="*/ 104 h 156"/>
                  <a:gd name="T68" fmla="*/ 34 w 157"/>
                  <a:gd name="T69" fmla="*/ 114 h 156"/>
                  <a:gd name="T70" fmla="*/ 34 w 157"/>
                  <a:gd name="T71" fmla="*/ 114 h 156"/>
                  <a:gd name="T72" fmla="*/ 40 w 157"/>
                  <a:gd name="T73" fmla="*/ 113 h 156"/>
                  <a:gd name="T74" fmla="*/ 47 w 157"/>
                  <a:gd name="T75" fmla="*/ 111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57" h="156">
                    <a:moveTo>
                      <a:pt x="68" y="156"/>
                    </a:moveTo>
                    <a:cubicBezTo>
                      <a:pt x="62" y="156"/>
                      <a:pt x="55" y="154"/>
                      <a:pt x="50" y="150"/>
                    </a:cubicBezTo>
                    <a:cubicBezTo>
                      <a:pt x="40" y="143"/>
                      <a:pt x="36" y="133"/>
                      <a:pt x="36" y="122"/>
                    </a:cubicBezTo>
                    <a:cubicBezTo>
                      <a:pt x="36" y="122"/>
                      <a:pt x="35" y="122"/>
                      <a:pt x="34" y="122"/>
                    </a:cubicBezTo>
                    <a:cubicBezTo>
                      <a:pt x="34" y="122"/>
                      <a:pt x="34" y="122"/>
                      <a:pt x="34" y="122"/>
                    </a:cubicBezTo>
                    <a:cubicBezTo>
                      <a:pt x="24" y="122"/>
                      <a:pt x="14" y="117"/>
                      <a:pt x="8" y="108"/>
                    </a:cubicBezTo>
                    <a:cubicBezTo>
                      <a:pt x="0" y="98"/>
                      <a:pt x="0" y="83"/>
                      <a:pt x="8" y="72"/>
                    </a:cubicBezTo>
                    <a:cubicBezTo>
                      <a:pt x="14" y="63"/>
                      <a:pt x="24" y="58"/>
                      <a:pt x="34" y="58"/>
                    </a:cubicBezTo>
                    <a:cubicBezTo>
                      <a:pt x="43" y="58"/>
                      <a:pt x="51" y="61"/>
                      <a:pt x="57" y="67"/>
                    </a:cubicBezTo>
                    <a:cubicBezTo>
                      <a:pt x="121" y="3"/>
                      <a:pt x="121" y="3"/>
                      <a:pt x="121" y="3"/>
                    </a:cubicBezTo>
                    <a:cubicBezTo>
                      <a:pt x="124" y="0"/>
                      <a:pt x="129" y="0"/>
                      <a:pt x="132" y="3"/>
                    </a:cubicBezTo>
                    <a:cubicBezTo>
                      <a:pt x="155" y="26"/>
                      <a:pt x="155" y="26"/>
                      <a:pt x="155" y="26"/>
                    </a:cubicBezTo>
                    <a:cubicBezTo>
                      <a:pt x="157" y="28"/>
                      <a:pt x="157" y="30"/>
                      <a:pt x="157" y="32"/>
                    </a:cubicBezTo>
                    <a:cubicBezTo>
                      <a:pt x="157" y="33"/>
                      <a:pt x="157" y="35"/>
                      <a:pt x="155" y="37"/>
                    </a:cubicBezTo>
                    <a:cubicBezTo>
                      <a:pt x="91" y="101"/>
                      <a:pt x="91" y="101"/>
                      <a:pt x="91" y="101"/>
                    </a:cubicBezTo>
                    <a:cubicBezTo>
                      <a:pt x="98" y="108"/>
                      <a:pt x="101" y="117"/>
                      <a:pt x="100" y="127"/>
                    </a:cubicBezTo>
                    <a:cubicBezTo>
                      <a:pt x="99" y="136"/>
                      <a:pt x="94" y="145"/>
                      <a:pt x="86" y="150"/>
                    </a:cubicBezTo>
                    <a:cubicBezTo>
                      <a:pt x="81" y="154"/>
                      <a:pt x="75" y="156"/>
                      <a:pt x="68" y="156"/>
                    </a:cubicBezTo>
                    <a:close/>
                    <a:moveTo>
                      <a:pt x="47" y="111"/>
                    </a:moveTo>
                    <a:cubicBezTo>
                      <a:pt x="45" y="118"/>
                      <a:pt x="45" y="118"/>
                      <a:pt x="45" y="118"/>
                    </a:cubicBezTo>
                    <a:cubicBezTo>
                      <a:pt x="42" y="128"/>
                      <a:pt x="46" y="138"/>
                      <a:pt x="54" y="143"/>
                    </a:cubicBezTo>
                    <a:cubicBezTo>
                      <a:pt x="62" y="149"/>
                      <a:pt x="74" y="149"/>
                      <a:pt x="81" y="144"/>
                    </a:cubicBezTo>
                    <a:cubicBezTo>
                      <a:pt x="87" y="140"/>
                      <a:pt x="91" y="133"/>
                      <a:pt x="92" y="126"/>
                    </a:cubicBezTo>
                    <a:cubicBezTo>
                      <a:pt x="93" y="119"/>
                      <a:pt x="90" y="112"/>
                      <a:pt x="85" y="107"/>
                    </a:cubicBezTo>
                    <a:cubicBezTo>
                      <a:pt x="84" y="106"/>
                      <a:pt x="84" y="105"/>
                      <a:pt x="83" y="105"/>
                    </a:cubicBezTo>
                    <a:cubicBezTo>
                      <a:pt x="79" y="102"/>
                      <a:pt x="79" y="102"/>
                      <a:pt x="79" y="102"/>
                    </a:cubicBezTo>
                    <a:cubicBezTo>
                      <a:pt x="149" y="32"/>
                      <a:pt x="149" y="32"/>
                      <a:pt x="149" y="32"/>
                    </a:cubicBezTo>
                    <a:cubicBezTo>
                      <a:pt x="126" y="9"/>
                      <a:pt x="126" y="9"/>
                      <a:pt x="126" y="9"/>
                    </a:cubicBezTo>
                    <a:cubicBezTo>
                      <a:pt x="56" y="79"/>
                      <a:pt x="56" y="79"/>
                      <a:pt x="56" y="79"/>
                    </a:cubicBezTo>
                    <a:cubicBezTo>
                      <a:pt x="53" y="75"/>
                      <a:pt x="53" y="75"/>
                      <a:pt x="53" y="75"/>
                    </a:cubicBezTo>
                    <a:cubicBezTo>
                      <a:pt x="53" y="75"/>
                      <a:pt x="52" y="74"/>
                      <a:pt x="51" y="73"/>
                    </a:cubicBezTo>
                    <a:cubicBezTo>
                      <a:pt x="47" y="68"/>
                      <a:pt x="41" y="66"/>
                      <a:pt x="34" y="66"/>
                    </a:cubicBezTo>
                    <a:cubicBezTo>
                      <a:pt x="26" y="66"/>
                      <a:pt x="19" y="70"/>
                      <a:pt x="14" y="77"/>
                    </a:cubicBezTo>
                    <a:cubicBezTo>
                      <a:pt x="9" y="85"/>
                      <a:pt x="9" y="96"/>
                      <a:pt x="15" y="104"/>
                    </a:cubicBezTo>
                    <a:cubicBezTo>
                      <a:pt x="19" y="110"/>
                      <a:pt x="26" y="114"/>
                      <a:pt x="34" y="114"/>
                    </a:cubicBezTo>
                    <a:cubicBezTo>
                      <a:pt x="34" y="114"/>
                      <a:pt x="34" y="114"/>
                      <a:pt x="34" y="114"/>
                    </a:cubicBezTo>
                    <a:cubicBezTo>
                      <a:pt x="36" y="114"/>
                      <a:pt x="38" y="114"/>
                      <a:pt x="40" y="113"/>
                    </a:cubicBezTo>
                    <a:lnTo>
                      <a:pt x="47"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armonyOS Sans SC"/>
                  <a:cs typeface="+mn-cs"/>
                </a:endParaRPr>
              </a:p>
            </p:txBody>
          </p:sp>
        </p:grpSp>
        <p:sp>
          <p:nvSpPr>
            <p:cNvPr id="25" name="Freeform 461">
              <a:extLst>
                <a:ext uri="{FF2B5EF4-FFF2-40B4-BE49-F238E27FC236}">
                  <a16:creationId xmlns:a16="http://schemas.microsoft.com/office/drawing/2014/main" id="{055DE06B-2A1E-45B4-A8EF-B04EA264824C}"/>
                </a:ext>
              </a:extLst>
            </p:cNvPr>
            <p:cNvSpPr>
              <a:spLocks/>
            </p:cNvSpPr>
            <p:nvPr/>
          </p:nvSpPr>
          <p:spPr bwMode="auto">
            <a:xfrm>
              <a:off x="6785771" y="3591961"/>
              <a:ext cx="996952" cy="1884374"/>
            </a:xfrm>
            <a:custGeom>
              <a:avLst/>
              <a:gdLst>
                <a:gd name="T0" fmla="*/ 24 w 513"/>
                <a:gd name="T1" fmla="*/ 969 h 969"/>
                <a:gd name="T2" fmla="*/ 403 w 513"/>
                <a:gd name="T3" fmla="*/ 617 h 969"/>
                <a:gd name="T4" fmla="*/ 513 w 513"/>
                <a:gd name="T5" fmla="*/ 297 h 969"/>
                <a:gd name="T6" fmla="*/ 0 w 513"/>
                <a:gd name="T7" fmla="*/ 0 h 969"/>
                <a:gd name="T8" fmla="*/ 19 w 513"/>
                <a:gd name="T9" fmla="*/ 316 h 969"/>
                <a:gd name="T10" fmla="*/ 24 w 513"/>
                <a:gd name="T11" fmla="*/ 969 h 969"/>
              </a:gdLst>
              <a:ahLst/>
              <a:cxnLst>
                <a:cxn ang="0">
                  <a:pos x="T0" y="T1"/>
                </a:cxn>
                <a:cxn ang="0">
                  <a:pos x="T2" y="T3"/>
                </a:cxn>
                <a:cxn ang="0">
                  <a:pos x="T4" y="T5"/>
                </a:cxn>
                <a:cxn ang="0">
                  <a:pos x="T6" y="T7"/>
                </a:cxn>
                <a:cxn ang="0">
                  <a:pos x="T8" y="T9"/>
                </a:cxn>
                <a:cxn ang="0">
                  <a:pos x="T10" y="T11"/>
                </a:cxn>
              </a:cxnLst>
              <a:rect l="0" t="0" r="r" b="b"/>
              <a:pathLst>
                <a:path w="513" h="969">
                  <a:moveTo>
                    <a:pt x="24" y="969"/>
                  </a:moveTo>
                  <a:cubicBezTo>
                    <a:pt x="178" y="895"/>
                    <a:pt x="312" y="776"/>
                    <a:pt x="403" y="617"/>
                  </a:cubicBezTo>
                  <a:cubicBezTo>
                    <a:pt x="462" y="515"/>
                    <a:pt x="498" y="406"/>
                    <a:pt x="513" y="297"/>
                  </a:cubicBezTo>
                  <a:cubicBezTo>
                    <a:pt x="0" y="0"/>
                    <a:pt x="0" y="0"/>
                    <a:pt x="0" y="0"/>
                  </a:cubicBezTo>
                  <a:cubicBezTo>
                    <a:pt x="48" y="96"/>
                    <a:pt x="57" y="211"/>
                    <a:pt x="19" y="316"/>
                  </a:cubicBezTo>
                  <a:lnTo>
                    <a:pt x="24" y="969"/>
                  </a:lnTo>
                  <a:close/>
                </a:path>
              </a:pathLst>
            </a:custGeom>
            <a:gradFill>
              <a:gsLst>
                <a:gs pos="73000">
                  <a:schemeClr val="accent1"/>
                </a:gs>
                <a:gs pos="31000">
                  <a:schemeClr val="accent1">
                    <a:lumMod val="60000"/>
                    <a:lumOff val="40000"/>
                  </a:schemeClr>
                </a:gs>
                <a:gs pos="0">
                  <a:schemeClr val="accent1">
                    <a:lumMod val="40000"/>
                    <a:lumOff val="60000"/>
                  </a:schemeClr>
                </a:gs>
              </a:gsLst>
              <a:path path="circle">
                <a:fillToRect r="100000" b="100000"/>
              </a:path>
            </a:gradFill>
            <a:ln>
              <a:noFill/>
            </a:ln>
            <a:effectLst>
              <a:outerShdw blurRad="444500" dist="317500" dir="5400000" sx="92000" sy="92000" algn="t" rotWithShape="0">
                <a:schemeClr val="accent1">
                  <a:lumMod val="75000"/>
                  <a:alpha val="40000"/>
                </a:schemeClr>
              </a:outerShdw>
            </a:effectLst>
            <a:extLst>
              <a:ext uri="{91240B29-F687-4f45-9708-019B960494DF}">
                <a14:hiddenLine xmlns:a14="http://schemas.microsoft.com/office/drawing/2010/main" xmlns=""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grpSp>
          <p:nvGrpSpPr>
            <p:cNvPr id="26" name="Gruppieren 522">
              <a:extLst>
                <a:ext uri="{FF2B5EF4-FFF2-40B4-BE49-F238E27FC236}">
                  <a16:creationId xmlns:a16="http://schemas.microsoft.com/office/drawing/2014/main" id="{995E25AD-E0C8-4FFE-93F0-B2730A6BCCBF}"/>
                </a:ext>
              </a:extLst>
            </p:cNvPr>
            <p:cNvGrpSpPr/>
            <p:nvPr/>
          </p:nvGrpSpPr>
          <p:grpSpPr>
            <a:xfrm>
              <a:off x="7028658" y="4243950"/>
              <a:ext cx="415925" cy="409575"/>
              <a:chOff x="8035131" y="5050631"/>
              <a:chExt cx="415925" cy="409575"/>
            </a:xfrm>
            <a:solidFill>
              <a:schemeClr val="bg1"/>
            </a:solidFill>
          </p:grpSpPr>
          <p:sp>
            <p:nvSpPr>
              <p:cNvPr id="27" name="Freeform 316">
                <a:extLst>
                  <a:ext uri="{FF2B5EF4-FFF2-40B4-BE49-F238E27FC236}">
                    <a16:creationId xmlns:a16="http://schemas.microsoft.com/office/drawing/2014/main" id="{4FA75CAE-83F1-4B98-97F3-168AD682D9A1}"/>
                  </a:ext>
                </a:extLst>
              </p:cNvPr>
              <p:cNvSpPr>
                <a:spLocks noEditPoints="1"/>
              </p:cNvSpPr>
              <p:nvPr/>
            </p:nvSpPr>
            <p:spPr bwMode="auto">
              <a:xfrm>
                <a:off x="8344693" y="5050631"/>
                <a:ext cx="106363" cy="98425"/>
              </a:xfrm>
              <a:custGeom>
                <a:avLst/>
                <a:gdLst>
                  <a:gd name="T0" fmla="*/ 24 w 62"/>
                  <a:gd name="T1" fmla="*/ 58 h 58"/>
                  <a:gd name="T2" fmla="*/ 8 w 62"/>
                  <a:gd name="T3" fmla="*/ 52 h 58"/>
                  <a:gd name="T4" fmla="*/ 8 w 62"/>
                  <a:gd name="T5" fmla="*/ 21 h 58"/>
                  <a:gd name="T6" fmla="*/ 22 w 62"/>
                  <a:gd name="T7" fmla="*/ 7 h 58"/>
                  <a:gd name="T8" fmla="*/ 38 w 62"/>
                  <a:gd name="T9" fmla="*/ 0 h 58"/>
                  <a:gd name="T10" fmla="*/ 53 w 62"/>
                  <a:gd name="T11" fmla="*/ 7 h 58"/>
                  <a:gd name="T12" fmla="*/ 53 w 62"/>
                  <a:gd name="T13" fmla="*/ 38 h 58"/>
                  <a:gd name="T14" fmla="*/ 39 w 62"/>
                  <a:gd name="T15" fmla="*/ 52 h 58"/>
                  <a:gd name="T16" fmla="*/ 24 w 62"/>
                  <a:gd name="T17" fmla="*/ 58 h 58"/>
                  <a:gd name="T18" fmla="*/ 38 w 62"/>
                  <a:gd name="T19" fmla="*/ 8 h 58"/>
                  <a:gd name="T20" fmla="*/ 28 w 62"/>
                  <a:gd name="T21" fmla="*/ 12 h 58"/>
                  <a:gd name="T22" fmla="*/ 14 w 62"/>
                  <a:gd name="T23" fmla="*/ 26 h 58"/>
                  <a:gd name="T24" fmla="*/ 14 w 62"/>
                  <a:gd name="T25" fmla="*/ 46 h 58"/>
                  <a:gd name="T26" fmla="*/ 34 w 62"/>
                  <a:gd name="T27" fmla="*/ 46 h 58"/>
                  <a:gd name="T28" fmla="*/ 48 w 62"/>
                  <a:gd name="T29" fmla="*/ 32 h 58"/>
                  <a:gd name="T30" fmla="*/ 48 w 62"/>
                  <a:gd name="T31" fmla="*/ 12 h 58"/>
                  <a:gd name="T32" fmla="*/ 38 w 62"/>
                  <a:gd name="T33" fmla="*/ 8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2" h="58">
                    <a:moveTo>
                      <a:pt x="24" y="58"/>
                    </a:moveTo>
                    <a:cubicBezTo>
                      <a:pt x="18" y="58"/>
                      <a:pt x="12" y="56"/>
                      <a:pt x="8" y="52"/>
                    </a:cubicBezTo>
                    <a:cubicBezTo>
                      <a:pt x="0" y="43"/>
                      <a:pt x="0" y="29"/>
                      <a:pt x="8" y="21"/>
                    </a:cubicBezTo>
                    <a:cubicBezTo>
                      <a:pt x="22" y="7"/>
                      <a:pt x="22" y="7"/>
                      <a:pt x="22" y="7"/>
                    </a:cubicBezTo>
                    <a:cubicBezTo>
                      <a:pt x="27" y="2"/>
                      <a:pt x="32" y="0"/>
                      <a:pt x="38" y="0"/>
                    </a:cubicBezTo>
                    <a:cubicBezTo>
                      <a:pt x="44" y="0"/>
                      <a:pt x="49" y="2"/>
                      <a:pt x="53" y="7"/>
                    </a:cubicBezTo>
                    <a:cubicBezTo>
                      <a:pt x="62" y="15"/>
                      <a:pt x="62" y="29"/>
                      <a:pt x="53" y="38"/>
                    </a:cubicBezTo>
                    <a:cubicBezTo>
                      <a:pt x="39" y="52"/>
                      <a:pt x="39" y="52"/>
                      <a:pt x="39" y="52"/>
                    </a:cubicBezTo>
                    <a:cubicBezTo>
                      <a:pt x="35" y="56"/>
                      <a:pt x="30" y="58"/>
                      <a:pt x="24" y="58"/>
                    </a:cubicBezTo>
                    <a:close/>
                    <a:moveTo>
                      <a:pt x="38" y="8"/>
                    </a:moveTo>
                    <a:cubicBezTo>
                      <a:pt x="34" y="8"/>
                      <a:pt x="31" y="10"/>
                      <a:pt x="28" y="12"/>
                    </a:cubicBezTo>
                    <a:cubicBezTo>
                      <a:pt x="14" y="26"/>
                      <a:pt x="14" y="26"/>
                      <a:pt x="14" y="26"/>
                    </a:cubicBezTo>
                    <a:cubicBezTo>
                      <a:pt x="8" y="32"/>
                      <a:pt x="8" y="41"/>
                      <a:pt x="14" y="46"/>
                    </a:cubicBezTo>
                    <a:cubicBezTo>
                      <a:pt x="19" y="51"/>
                      <a:pt x="28" y="51"/>
                      <a:pt x="34" y="46"/>
                    </a:cubicBezTo>
                    <a:cubicBezTo>
                      <a:pt x="48" y="32"/>
                      <a:pt x="48" y="32"/>
                      <a:pt x="48" y="32"/>
                    </a:cubicBezTo>
                    <a:cubicBezTo>
                      <a:pt x="53" y="27"/>
                      <a:pt x="53" y="18"/>
                      <a:pt x="48" y="12"/>
                    </a:cubicBezTo>
                    <a:cubicBezTo>
                      <a:pt x="45" y="10"/>
                      <a:pt x="42" y="8"/>
                      <a:pt x="38"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armonyOS Sans SC"/>
                  <a:cs typeface="+mn-cs"/>
                </a:endParaRPr>
              </a:p>
            </p:txBody>
          </p:sp>
          <p:sp>
            <p:nvSpPr>
              <p:cNvPr id="28" name="Freeform 317">
                <a:extLst>
                  <a:ext uri="{FF2B5EF4-FFF2-40B4-BE49-F238E27FC236}">
                    <a16:creationId xmlns:a16="http://schemas.microsoft.com/office/drawing/2014/main" id="{998CC398-6341-49BC-B813-9E87B80CF719}"/>
                  </a:ext>
                </a:extLst>
              </p:cNvPr>
              <p:cNvSpPr>
                <a:spLocks noEditPoints="1"/>
              </p:cNvSpPr>
              <p:nvPr/>
            </p:nvSpPr>
            <p:spPr bwMode="auto">
              <a:xfrm>
                <a:off x="8035131" y="5361781"/>
                <a:ext cx="101600" cy="98425"/>
              </a:xfrm>
              <a:custGeom>
                <a:avLst/>
                <a:gdLst>
                  <a:gd name="T0" fmla="*/ 24 w 60"/>
                  <a:gd name="T1" fmla="*/ 58 h 58"/>
                  <a:gd name="T2" fmla="*/ 8 w 60"/>
                  <a:gd name="T3" fmla="*/ 52 h 58"/>
                  <a:gd name="T4" fmla="*/ 8 w 60"/>
                  <a:gd name="T5" fmla="*/ 20 h 58"/>
                  <a:gd name="T6" fmla="*/ 23 w 60"/>
                  <a:gd name="T7" fmla="*/ 6 h 58"/>
                  <a:gd name="T8" fmla="*/ 38 w 60"/>
                  <a:gd name="T9" fmla="*/ 0 h 58"/>
                  <a:gd name="T10" fmla="*/ 54 w 60"/>
                  <a:gd name="T11" fmla="*/ 6 h 58"/>
                  <a:gd name="T12" fmla="*/ 60 w 60"/>
                  <a:gd name="T13" fmla="*/ 22 h 58"/>
                  <a:gd name="T14" fmla="*/ 54 w 60"/>
                  <a:gd name="T15" fmla="*/ 37 h 58"/>
                  <a:gd name="T16" fmla="*/ 40 w 60"/>
                  <a:gd name="T17" fmla="*/ 52 h 58"/>
                  <a:gd name="T18" fmla="*/ 24 w 60"/>
                  <a:gd name="T19" fmla="*/ 58 h 58"/>
                  <a:gd name="T20" fmla="*/ 38 w 60"/>
                  <a:gd name="T21" fmla="*/ 8 h 58"/>
                  <a:gd name="T22" fmla="*/ 28 w 60"/>
                  <a:gd name="T23" fmla="*/ 12 h 58"/>
                  <a:gd name="T24" fmla="*/ 14 w 60"/>
                  <a:gd name="T25" fmla="*/ 26 h 58"/>
                  <a:gd name="T26" fmla="*/ 14 w 60"/>
                  <a:gd name="T27" fmla="*/ 46 h 58"/>
                  <a:gd name="T28" fmla="*/ 34 w 60"/>
                  <a:gd name="T29" fmla="*/ 46 h 58"/>
                  <a:gd name="T30" fmla="*/ 48 w 60"/>
                  <a:gd name="T31" fmla="*/ 32 h 58"/>
                  <a:gd name="T32" fmla="*/ 52 w 60"/>
                  <a:gd name="T33" fmla="*/ 22 h 58"/>
                  <a:gd name="T34" fmla="*/ 48 w 60"/>
                  <a:gd name="T35" fmla="*/ 12 h 58"/>
                  <a:gd name="T36" fmla="*/ 38 w 60"/>
                  <a:gd name="T37" fmla="*/ 8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0" h="58">
                    <a:moveTo>
                      <a:pt x="24" y="58"/>
                    </a:moveTo>
                    <a:cubicBezTo>
                      <a:pt x="18" y="58"/>
                      <a:pt x="13" y="56"/>
                      <a:pt x="8" y="52"/>
                    </a:cubicBezTo>
                    <a:cubicBezTo>
                      <a:pt x="0" y="43"/>
                      <a:pt x="0" y="29"/>
                      <a:pt x="8" y="20"/>
                    </a:cubicBezTo>
                    <a:cubicBezTo>
                      <a:pt x="23" y="6"/>
                      <a:pt x="23" y="6"/>
                      <a:pt x="23" y="6"/>
                    </a:cubicBezTo>
                    <a:cubicBezTo>
                      <a:pt x="27" y="2"/>
                      <a:pt x="32" y="0"/>
                      <a:pt x="38" y="0"/>
                    </a:cubicBezTo>
                    <a:cubicBezTo>
                      <a:pt x="44" y="0"/>
                      <a:pt x="50" y="2"/>
                      <a:pt x="54" y="6"/>
                    </a:cubicBezTo>
                    <a:cubicBezTo>
                      <a:pt x="58" y="10"/>
                      <a:pt x="60" y="16"/>
                      <a:pt x="60" y="22"/>
                    </a:cubicBezTo>
                    <a:cubicBezTo>
                      <a:pt x="60" y="28"/>
                      <a:pt x="58" y="33"/>
                      <a:pt x="54" y="37"/>
                    </a:cubicBezTo>
                    <a:cubicBezTo>
                      <a:pt x="40" y="52"/>
                      <a:pt x="40" y="52"/>
                      <a:pt x="40" y="52"/>
                    </a:cubicBezTo>
                    <a:cubicBezTo>
                      <a:pt x="35" y="56"/>
                      <a:pt x="30" y="58"/>
                      <a:pt x="24" y="58"/>
                    </a:cubicBezTo>
                    <a:close/>
                    <a:moveTo>
                      <a:pt x="38" y="8"/>
                    </a:moveTo>
                    <a:cubicBezTo>
                      <a:pt x="34" y="8"/>
                      <a:pt x="31" y="9"/>
                      <a:pt x="28" y="12"/>
                    </a:cubicBezTo>
                    <a:cubicBezTo>
                      <a:pt x="14" y="26"/>
                      <a:pt x="14" y="26"/>
                      <a:pt x="14" y="26"/>
                    </a:cubicBezTo>
                    <a:cubicBezTo>
                      <a:pt x="9" y="32"/>
                      <a:pt x="9" y="40"/>
                      <a:pt x="14" y="46"/>
                    </a:cubicBezTo>
                    <a:cubicBezTo>
                      <a:pt x="19" y="51"/>
                      <a:pt x="29" y="51"/>
                      <a:pt x="34" y="46"/>
                    </a:cubicBezTo>
                    <a:cubicBezTo>
                      <a:pt x="48" y="32"/>
                      <a:pt x="48" y="32"/>
                      <a:pt x="48" y="32"/>
                    </a:cubicBezTo>
                    <a:cubicBezTo>
                      <a:pt x="51" y="29"/>
                      <a:pt x="52" y="26"/>
                      <a:pt x="52" y="22"/>
                    </a:cubicBezTo>
                    <a:cubicBezTo>
                      <a:pt x="52" y="18"/>
                      <a:pt x="51" y="15"/>
                      <a:pt x="48" y="12"/>
                    </a:cubicBezTo>
                    <a:cubicBezTo>
                      <a:pt x="45" y="9"/>
                      <a:pt x="42" y="8"/>
                      <a:pt x="38"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armonyOS Sans SC"/>
                  <a:cs typeface="+mn-cs"/>
                </a:endParaRPr>
              </a:p>
            </p:txBody>
          </p:sp>
          <p:sp>
            <p:nvSpPr>
              <p:cNvPr id="29" name="Freeform 318">
                <a:extLst>
                  <a:ext uri="{FF2B5EF4-FFF2-40B4-BE49-F238E27FC236}">
                    <a16:creationId xmlns:a16="http://schemas.microsoft.com/office/drawing/2014/main" id="{C5D902C8-CC00-4677-A447-12FED33217B6}"/>
                  </a:ext>
                </a:extLst>
              </p:cNvPr>
              <p:cNvSpPr>
                <a:spLocks noEditPoints="1"/>
              </p:cNvSpPr>
              <p:nvPr/>
            </p:nvSpPr>
            <p:spPr bwMode="auto">
              <a:xfrm>
                <a:off x="8344693" y="5361781"/>
                <a:ext cx="106363" cy="98425"/>
              </a:xfrm>
              <a:custGeom>
                <a:avLst/>
                <a:gdLst>
                  <a:gd name="T0" fmla="*/ 38 w 62"/>
                  <a:gd name="T1" fmla="*/ 58 h 58"/>
                  <a:gd name="T2" fmla="*/ 22 w 62"/>
                  <a:gd name="T3" fmla="*/ 52 h 58"/>
                  <a:gd name="T4" fmla="*/ 8 w 62"/>
                  <a:gd name="T5" fmla="*/ 37 h 58"/>
                  <a:gd name="T6" fmla="*/ 8 w 62"/>
                  <a:gd name="T7" fmla="*/ 6 h 58"/>
                  <a:gd name="T8" fmla="*/ 24 w 62"/>
                  <a:gd name="T9" fmla="*/ 0 h 58"/>
                  <a:gd name="T10" fmla="*/ 39 w 62"/>
                  <a:gd name="T11" fmla="*/ 6 h 58"/>
                  <a:gd name="T12" fmla="*/ 53 w 62"/>
                  <a:gd name="T13" fmla="*/ 20 h 58"/>
                  <a:gd name="T14" fmla="*/ 53 w 62"/>
                  <a:gd name="T15" fmla="*/ 52 h 58"/>
                  <a:gd name="T16" fmla="*/ 38 w 62"/>
                  <a:gd name="T17" fmla="*/ 58 h 58"/>
                  <a:gd name="T18" fmla="*/ 24 w 62"/>
                  <a:gd name="T19" fmla="*/ 8 h 58"/>
                  <a:gd name="T20" fmla="*/ 14 w 62"/>
                  <a:gd name="T21" fmla="*/ 12 h 58"/>
                  <a:gd name="T22" fmla="*/ 14 w 62"/>
                  <a:gd name="T23" fmla="*/ 32 h 58"/>
                  <a:gd name="T24" fmla="*/ 28 w 62"/>
                  <a:gd name="T25" fmla="*/ 46 h 58"/>
                  <a:gd name="T26" fmla="*/ 48 w 62"/>
                  <a:gd name="T27" fmla="*/ 46 h 58"/>
                  <a:gd name="T28" fmla="*/ 48 w 62"/>
                  <a:gd name="T29" fmla="*/ 26 h 58"/>
                  <a:gd name="T30" fmla="*/ 34 w 62"/>
                  <a:gd name="T31" fmla="*/ 12 h 58"/>
                  <a:gd name="T32" fmla="*/ 24 w 62"/>
                  <a:gd name="T33" fmla="*/ 8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2" h="58">
                    <a:moveTo>
                      <a:pt x="38" y="58"/>
                    </a:moveTo>
                    <a:cubicBezTo>
                      <a:pt x="32" y="58"/>
                      <a:pt x="27" y="56"/>
                      <a:pt x="22" y="52"/>
                    </a:cubicBezTo>
                    <a:cubicBezTo>
                      <a:pt x="8" y="37"/>
                      <a:pt x="8" y="37"/>
                      <a:pt x="8" y="37"/>
                    </a:cubicBezTo>
                    <a:cubicBezTo>
                      <a:pt x="0" y="29"/>
                      <a:pt x="0" y="15"/>
                      <a:pt x="8" y="6"/>
                    </a:cubicBezTo>
                    <a:cubicBezTo>
                      <a:pt x="12" y="2"/>
                      <a:pt x="18" y="0"/>
                      <a:pt x="24" y="0"/>
                    </a:cubicBezTo>
                    <a:cubicBezTo>
                      <a:pt x="30" y="0"/>
                      <a:pt x="35" y="2"/>
                      <a:pt x="39" y="6"/>
                    </a:cubicBezTo>
                    <a:cubicBezTo>
                      <a:pt x="53" y="20"/>
                      <a:pt x="53" y="20"/>
                      <a:pt x="53" y="20"/>
                    </a:cubicBezTo>
                    <a:cubicBezTo>
                      <a:pt x="62" y="29"/>
                      <a:pt x="62" y="43"/>
                      <a:pt x="53" y="52"/>
                    </a:cubicBezTo>
                    <a:cubicBezTo>
                      <a:pt x="49" y="56"/>
                      <a:pt x="44" y="58"/>
                      <a:pt x="38" y="58"/>
                    </a:cubicBezTo>
                    <a:close/>
                    <a:moveTo>
                      <a:pt x="24" y="8"/>
                    </a:moveTo>
                    <a:cubicBezTo>
                      <a:pt x="20" y="8"/>
                      <a:pt x="17" y="9"/>
                      <a:pt x="14" y="12"/>
                    </a:cubicBezTo>
                    <a:cubicBezTo>
                      <a:pt x="8" y="17"/>
                      <a:pt x="8" y="26"/>
                      <a:pt x="14" y="32"/>
                    </a:cubicBezTo>
                    <a:cubicBezTo>
                      <a:pt x="28" y="46"/>
                      <a:pt x="28" y="46"/>
                      <a:pt x="28" y="46"/>
                    </a:cubicBezTo>
                    <a:cubicBezTo>
                      <a:pt x="33" y="51"/>
                      <a:pt x="43" y="51"/>
                      <a:pt x="48" y="46"/>
                    </a:cubicBezTo>
                    <a:cubicBezTo>
                      <a:pt x="53" y="40"/>
                      <a:pt x="53" y="32"/>
                      <a:pt x="48" y="26"/>
                    </a:cubicBezTo>
                    <a:cubicBezTo>
                      <a:pt x="34" y="12"/>
                      <a:pt x="34" y="12"/>
                      <a:pt x="34" y="12"/>
                    </a:cubicBezTo>
                    <a:cubicBezTo>
                      <a:pt x="31" y="9"/>
                      <a:pt x="28" y="8"/>
                      <a:pt x="24"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armonyOS Sans SC"/>
                  <a:cs typeface="+mn-cs"/>
                </a:endParaRPr>
              </a:p>
            </p:txBody>
          </p:sp>
          <p:sp>
            <p:nvSpPr>
              <p:cNvPr id="30" name="Freeform 319">
                <a:extLst>
                  <a:ext uri="{FF2B5EF4-FFF2-40B4-BE49-F238E27FC236}">
                    <a16:creationId xmlns:a16="http://schemas.microsoft.com/office/drawing/2014/main" id="{A63B48A4-7C94-4325-B08E-E2C8D039E467}"/>
                  </a:ext>
                </a:extLst>
              </p:cNvPr>
              <p:cNvSpPr>
                <a:spLocks noEditPoints="1"/>
              </p:cNvSpPr>
              <p:nvPr/>
            </p:nvSpPr>
            <p:spPr bwMode="auto">
              <a:xfrm>
                <a:off x="8035131" y="5050631"/>
                <a:ext cx="101600" cy="98425"/>
              </a:xfrm>
              <a:custGeom>
                <a:avLst/>
                <a:gdLst>
                  <a:gd name="T0" fmla="*/ 38 w 60"/>
                  <a:gd name="T1" fmla="*/ 58 h 58"/>
                  <a:gd name="T2" fmla="*/ 23 w 60"/>
                  <a:gd name="T3" fmla="*/ 52 h 58"/>
                  <a:gd name="T4" fmla="*/ 8 w 60"/>
                  <a:gd name="T5" fmla="*/ 38 h 58"/>
                  <a:gd name="T6" fmla="*/ 8 w 60"/>
                  <a:gd name="T7" fmla="*/ 7 h 58"/>
                  <a:gd name="T8" fmla="*/ 24 w 60"/>
                  <a:gd name="T9" fmla="*/ 0 h 58"/>
                  <a:gd name="T10" fmla="*/ 40 w 60"/>
                  <a:gd name="T11" fmla="*/ 7 h 58"/>
                  <a:gd name="T12" fmla="*/ 54 w 60"/>
                  <a:gd name="T13" fmla="*/ 21 h 58"/>
                  <a:gd name="T14" fmla="*/ 60 w 60"/>
                  <a:gd name="T15" fmla="*/ 36 h 58"/>
                  <a:gd name="T16" fmla="*/ 54 w 60"/>
                  <a:gd name="T17" fmla="*/ 52 h 58"/>
                  <a:gd name="T18" fmla="*/ 38 w 60"/>
                  <a:gd name="T19" fmla="*/ 58 h 58"/>
                  <a:gd name="T20" fmla="*/ 24 w 60"/>
                  <a:gd name="T21" fmla="*/ 8 h 58"/>
                  <a:gd name="T22" fmla="*/ 14 w 60"/>
                  <a:gd name="T23" fmla="*/ 12 h 58"/>
                  <a:gd name="T24" fmla="*/ 14 w 60"/>
                  <a:gd name="T25" fmla="*/ 32 h 58"/>
                  <a:gd name="T26" fmla="*/ 28 w 60"/>
                  <a:gd name="T27" fmla="*/ 46 h 58"/>
                  <a:gd name="T28" fmla="*/ 48 w 60"/>
                  <a:gd name="T29" fmla="*/ 46 h 58"/>
                  <a:gd name="T30" fmla="*/ 52 w 60"/>
                  <a:gd name="T31" fmla="*/ 36 h 58"/>
                  <a:gd name="T32" fmla="*/ 48 w 60"/>
                  <a:gd name="T33" fmla="*/ 26 h 58"/>
                  <a:gd name="T34" fmla="*/ 34 w 60"/>
                  <a:gd name="T35" fmla="*/ 12 h 58"/>
                  <a:gd name="T36" fmla="*/ 24 w 60"/>
                  <a:gd name="T37" fmla="*/ 8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0" h="58">
                    <a:moveTo>
                      <a:pt x="38" y="58"/>
                    </a:moveTo>
                    <a:cubicBezTo>
                      <a:pt x="32" y="58"/>
                      <a:pt x="27" y="56"/>
                      <a:pt x="23" y="52"/>
                    </a:cubicBezTo>
                    <a:cubicBezTo>
                      <a:pt x="8" y="38"/>
                      <a:pt x="8" y="38"/>
                      <a:pt x="8" y="38"/>
                    </a:cubicBezTo>
                    <a:cubicBezTo>
                      <a:pt x="0" y="29"/>
                      <a:pt x="0" y="15"/>
                      <a:pt x="8" y="7"/>
                    </a:cubicBezTo>
                    <a:cubicBezTo>
                      <a:pt x="13" y="2"/>
                      <a:pt x="18" y="0"/>
                      <a:pt x="24" y="0"/>
                    </a:cubicBezTo>
                    <a:cubicBezTo>
                      <a:pt x="30" y="0"/>
                      <a:pt x="35" y="2"/>
                      <a:pt x="40" y="7"/>
                    </a:cubicBezTo>
                    <a:cubicBezTo>
                      <a:pt x="54" y="21"/>
                      <a:pt x="54" y="21"/>
                      <a:pt x="54" y="21"/>
                    </a:cubicBezTo>
                    <a:cubicBezTo>
                      <a:pt x="58" y="25"/>
                      <a:pt x="60" y="30"/>
                      <a:pt x="60" y="36"/>
                    </a:cubicBezTo>
                    <a:cubicBezTo>
                      <a:pt x="60" y="42"/>
                      <a:pt x="58" y="48"/>
                      <a:pt x="54" y="52"/>
                    </a:cubicBezTo>
                    <a:cubicBezTo>
                      <a:pt x="50" y="56"/>
                      <a:pt x="44" y="58"/>
                      <a:pt x="38" y="58"/>
                    </a:cubicBezTo>
                    <a:close/>
                    <a:moveTo>
                      <a:pt x="24" y="8"/>
                    </a:moveTo>
                    <a:cubicBezTo>
                      <a:pt x="20" y="8"/>
                      <a:pt x="17" y="10"/>
                      <a:pt x="14" y="12"/>
                    </a:cubicBezTo>
                    <a:cubicBezTo>
                      <a:pt x="9" y="18"/>
                      <a:pt x="9" y="27"/>
                      <a:pt x="14" y="32"/>
                    </a:cubicBezTo>
                    <a:cubicBezTo>
                      <a:pt x="28" y="46"/>
                      <a:pt x="28" y="46"/>
                      <a:pt x="28" y="46"/>
                    </a:cubicBezTo>
                    <a:cubicBezTo>
                      <a:pt x="34" y="51"/>
                      <a:pt x="43" y="51"/>
                      <a:pt x="48" y="46"/>
                    </a:cubicBezTo>
                    <a:cubicBezTo>
                      <a:pt x="51" y="43"/>
                      <a:pt x="52" y="40"/>
                      <a:pt x="52" y="36"/>
                    </a:cubicBezTo>
                    <a:cubicBezTo>
                      <a:pt x="52" y="32"/>
                      <a:pt x="51" y="29"/>
                      <a:pt x="48" y="26"/>
                    </a:cubicBezTo>
                    <a:cubicBezTo>
                      <a:pt x="34" y="12"/>
                      <a:pt x="34" y="12"/>
                      <a:pt x="34" y="12"/>
                    </a:cubicBezTo>
                    <a:cubicBezTo>
                      <a:pt x="31" y="10"/>
                      <a:pt x="28" y="8"/>
                      <a:pt x="24"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armonyOS Sans SC"/>
                  <a:cs typeface="+mn-cs"/>
                </a:endParaRPr>
              </a:p>
            </p:txBody>
          </p:sp>
          <p:sp>
            <p:nvSpPr>
              <p:cNvPr id="31" name="Freeform 320">
                <a:extLst>
                  <a:ext uri="{FF2B5EF4-FFF2-40B4-BE49-F238E27FC236}">
                    <a16:creationId xmlns:a16="http://schemas.microsoft.com/office/drawing/2014/main" id="{4BA700EE-1F0A-42B3-9720-A634C40BA706}"/>
                  </a:ext>
                </a:extLst>
              </p:cNvPr>
              <p:cNvSpPr>
                <a:spLocks noEditPoints="1"/>
              </p:cNvSpPr>
              <p:nvPr/>
            </p:nvSpPr>
            <p:spPr bwMode="auto">
              <a:xfrm>
                <a:off x="8103393" y="5114131"/>
                <a:ext cx="280988" cy="280988"/>
              </a:xfrm>
              <a:custGeom>
                <a:avLst/>
                <a:gdLst>
                  <a:gd name="T0" fmla="*/ 146 w 165"/>
                  <a:gd name="T1" fmla="*/ 165 h 165"/>
                  <a:gd name="T2" fmla="*/ 143 w 165"/>
                  <a:gd name="T3" fmla="*/ 164 h 165"/>
                  <a:gd name="T4" fmla="*/ 1 w 165"/>
                  <a:gd name="T5" fmla="*/ 22 h 165"/>
                  <a:gd name="T6" fmla="*/ 0 w 165"/>
                  <a:gd name="T7" fmla="*/ 19 h 165"/>
                  <a:gd name="T8" fmla="*/ 1 w 165"/>
                  <a:gd name="T9" fmla="*/ 16 h 165"/>
                  <a:gd name="T10" fmla="*/ 15 w 165"/>
                  <a:gd name="T11" fmla="*/ 2 h 165"/>
                  <a:gd name="T12" fmla="*/ 21 w 165"/>
                  <a:gd name="T13" fmla="*/ 2 h 165"/>
                  <a:gd name="T14" fmla="*/ 163 w 165"/>
                  <a:gd name="T15" fmla="*/ 144 h 165"/>
                  <a:gd name="T16" fmla="*/ 163 w 165"/>
                  <a:gd name="T17" fmla="*/ 150 h 165"/>
                  <a:gd name="T18" fmla="*/ 149 w 165"/>
                  <a:gd name="T19" fmla="*/ 164 h 165"/>
                  <a:gd name="T20" fmla="*/ 146 w 165"/>
                  <a:gd name="T21" fmla="*/ 165 h 165"/>
                  <a:gd name="T22" fmla="*/ 9 w 165"/>
                  <a:gd name="T23" fmla="*/ 19 h 165"/>
                  <a:gd name="T24" fmla="*/ 146 w 165"/>
                  <a:gd name="T25" fmla="*/ 156 h 165"/>
                  <a:gd name="T26" fmla="*/ 154 w 165"/>
                  <a:gd name="T27" fmla="*/ 147 h 165"/>
                  <a:gd name="T28" fmla="*/ 18 w 165"/>
                  <a:gd name="T29" fmla="*/ 11 h 165"/>
                  <a:gd name="T30" fmla="*/ 9 w 165"/>
                  <a:gd name="T31" fmla="*/ 19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5" h="165">
                    <a:moveTo>
                      <a:pt x="146" y="165"/>
                    </a:moveTo>
                    <a:cubicBezTo>
                      <a:pt x="145" y="165"/>
                      <a:pt x="144" y="165"/>
                      <a:pt x="143" y="164"/>
                    </a:cubicBezTo>
                    <a:cubicBezTo>
                      <a:pt x="1" y="22"/>
                      <a:pt x="1" y="22"/>
                      <a:pt x="1" y="22"/>
                    </a:cubicBezTo>
                    <a:cubicBezTo>
                      <a:pt x="0" y="21"/>
                      <a:pt x="0" y="20"/>
                      <a:pt x="0" y="19"/>
                    </a:cubicBezTo>
                    <a:cubicBezTo>
                      <a:pt x="0" y="18"/>
                      <a:pt x="0" y="17"/>
                      <a:pt x="1" y="16"/>
                    </a:cubicBezTo>
                    <a:cubicBezTo>
                      <a:pt x="15" y="2"/>
                      <a:pt x="15" y="2"/>
                      <a:pt x="15" y="2"/>
                    </a:cubicBezTo>
                    <a:cubicBezTo>
                      <a:pt x="17" y="0"/>
                      <a:pt x="19" y="0"/>
                      <a:pt x="21" y="2"/>
                    </a:cubicBezTo>
                    <a:cubicBezTo>
                      <a:pt x="163" y="144"/>
                      <a:pt x="163" y="144"/>
                      <a:pt x="163" y="144"/>
                    </a:cubicBezTo>
                    <a:cubicBezTo>
                      <a:pt x="165" y="146"/>
                      <a:pt x="165" y="148"/>
                      <a:pt x="163" y="150"/>
                    </a:cubicBezTo>
                    <a:cubicBezTo>
                      <a:pt x="149" y="164"/>
                      <a:pt x="149" y="164"/>
                      <a:pt x="149" y="164"/>
                    </a:cubicBezTo>
                    <a:cubicBezTo>
                      <a:pt x="148" y="165"/>
                      <a:pt x="147" y="165"/>
                      <a:pt x="146" y="165"/>
                    </a:cubicBezTo>
                    <a:close/>
                    <a:moveTo>
                      <a:pt x="9" y="19"/>
                    </a:moveTo>
                    <a:cubicBezTo>
                      <a:pt x="146" y="156"/>
                      <a:pt x="146" y="156"/>
                      <a:pt x="146" y="156"/>
                    </a:cubicBezTo>
                    <a:cubicBezTo>
                      <a:pt x="154" y="147"/>
                      <a:pt x="154" y="147"/>
                      <a:pt x="154" y="147"/>
                    </a:cubicBezTo>
                    <a:cubicBezTo>
                      <a:pt x="18" y="11"/>
                      <a:pt x="18" y="11"/>
                      <a:pt x="18" y="11"/>
                    </a:cubicBezTo>
                    <a:lnTo>
                      <a:pt x="9"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armonyOS Sans SC"/>
                  <a:cs typeface="+mn-cs"/>
                </a:endParaRPr>
              </a:p>
            </p:txBody>
          </p:sp>
          <p:sp>
            <p:nvSpPr>
              <p:cNvPr id="32" name="Freeform 321">
                <a:extLst>
                  <a:ext uri="{FF2B5EF4-FFF2-40B4-BE49-F238E27FC236}">
                    <a16:creationId xmlns:a16="http://schemas.microsoft.com/office/drawing/2014/main" id="{061BF6BE-5C69-436C-8696-BC1C8803EADB}"/>
                  </a:ext>
                </a:extLst>
              </p:cNvPr>
              <p:cNvSpPr>
                <a:spLocks noEditPoints="1"/>
              </p:cNvSpPr>
              <p:nvPr/>
            </p:nvSpPr>
            <p:spPr bwMode="auto">
              <a:xfrm>
                <a:off x="8103393" y="5249068"/>
                <a:ext cx="146050" cy="146050"/>
              </a:xfrm>
              <a:custGeom>
                <a:avLst/>
                <a:gdLst>
                  <a:gd name="T0" fmla="*/ 18 w 86"/>
                  <a:gd name="T1" fmla="*/ 86 h 86"/>
                  <a:gd name="T2" fmla="*/ 15 w 86"/>
                  <a:gd name="T3" fmla="*/ 85 h 86"/>
                  <a:gd name="T4" fmla="*/ 1 w 86"/>
                  <a:gd name="T5" fmla="*/ 71 h 86"/>
                  <a:gd name="T6" fmla="*/ 0 w 86"/>
                  <a:gd name="T7" fmla="*/ 68 h 86"/>
                  <a:gd name="T8" fmla="*/ 1 w 86"/>
                  <a:gd name="T9" fmla="*/ 65 h 86"/>
                  <a:gd name="T10" fmla="*/ 65 w 86"/>
                  <a:gd name="T11" fmla="*/ 1 h 86"/>
                  <a:gd name="T12" fmla="*/ 71 w 86"/>
                  <a:gd name="T13" fmla="*/ 1 h 86"/>
                  <a:gd name="T14" fmla="*/ 85 w 86"/>
                  <a:gd name="T15" fmla="*/ 15 h 86"/>
                  <a:gd name="T16" fmla="*/ 85 w 86"/>
                  <a:gd name="T17" fmla="*/ 21 h 86"/>
                  <a:gd name="T18" fmla="*/ 21 w 86"/>
                  <a:gd name="T19" fmla="*/ 85 h 86"/>
                  <a:gd name="T20" fmla="*/ 18 w 86"/>
                  <a:gd name="T21" fmla="*/ 86 h 86"/>
                  <a:gd name="T22" fmla="*/ 9 w 86"/>
                  <a:gd name="T23" fmla="*/ 68 h 86"/>
                  <a:gd name="T24" fmla="*/ 18 w 86"/>
                  <a:gd name="T25" fmla="*/ 77 h 86"/>
                  <a:gd name="T26" fmla="*/ 76 w 86"/>
                  <a:gd name="T27" fmla="*/ 18 h 86"/>
                  <a:gd name="T28" fmla="*/ 68 w 86"/>
                  <a:gd name="T29" fmla="*/ 10 h 86"/>
                  <a:gd name="T30" fmla="*/ 9 w 86"/>
                  <a:gd name="T31" fmla="*/ 68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6" h="86">
                    <a:moveTo>
                      <a:pt x="18" y="86"/>
                    </a:moveTo>
                    <a:cubicBezTo>
                      <a:pt x="17" y="86"/>
                      <a:pt x="16" y="86"/>
                      <a:pt x="15" y="85"/>
                    </a:cubicBezTo>
                    <a:cubicBezTo>
                      <a:pt x="1" y="71"/>
                      <a:pt x="1" y="71"/>
                      <a:pt x="1" y="71"/>
                    </a:cubicBezTo>
                    <a:cubicBezTo>
                      <a:pt x="0" y="70"/>
                      <a:pt x="0" y="69"/>
                      <a:pt x="0" y="68"/>
                    </a:cubicBezTo>
                    <a:cubicBezTo>
                      <a:pt x="0" y="67"/>
                      <a:pt x="0" y="66"/>
                      <a:pt x="1" y="65"/>
                    </a:cubicBezTo>
                    <a:cubicBezTo>
                      <a:pt x="65" y="1"/>
                      <a:pt x="65" y="1"/>
                      <a:pt x="65" y="1"/>
                    </a:cubicBezTo>
                    <a:cubicBezTo>
                      <a:pt x="67" y="0"/>
                      <a:pt x="69" y="0"/>
                      <a:pt x="71" y="1"/>
                    </a:cubicBezTo>
                    <a:cubicBezTo>
                      <a:pt x="85" y="15"/>
                      <a:pt x="85" y="15"/>
                      <a:pt x="85" y="15"/>
                    </a:cubicBezTo>
                    <a:cubicBezTo>
                      <a:pt x="86" y="17"/>
                      <a:pt x="86" y="19"/>
                      <a:pt x="85" y="21"/>
                    </a:cubicBezTo>
                    <a:cubicBezTo>
                      <a:pt x="21" y="85"/>
                      <a:pt x="21" y="85"/>
                      <a:pt x="21" y="85"/>
                    </a:cubicBezTo>
                    <a:cubicBezTo>
                      <a:pt x="20" y="86"/>
                      <a:pt x="19" y="86"/>
                      <a:pt x="18" y="86"/>
                    </a:cubicBezTo>
                    <a:close/>
                    <a:moveTo>
                      <a:pt x="9" y="68"/>
                    </a:moveTo>
                    <a:cubicBezTo>
                      <a:pt x="18" y="77"/>
                      <a:pt x="18" y="77"/>
                      <a:pt x="18" y="77"/>
                    </a:cubicBezTo>
                    <a:cubicBezTo>
                      <a:pt x="76" y="18"/>
                      <a:pt x="76" y="18"/>
                      <a:pt x="76" y="18"/>
                    </a:cubicBezTo>
                    <a:cubicBezTo>
                      <a:pt x="68" y="10"/>
                      <a:pt x="68" y="10"/>
                      <a:pt x="68" y="10"/>
                    </a:cubicBezTo>
                    <a:lnTo>
                      <a:pt x="9" y="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armonyOS Sans SC"/>
                  <a:cs typeface="+mn-cs"/>
                </a:endParaRPr>
              </a:p>
            </p:txBody>
          </p:sp>
          <p:sp>
            <p:nvSpPr>
              <p:cNvPr id="33" name="Freeform 322">
                <a:extLst>
                  <a:ext uri="{FF2B5EF4-FFF2-40B4-BE49-F238E27FC236}">
                    <a16:creationId xmlns:a16="http://schemas.microsoft.com/office/drawing/2014/main" id="{A541018A-5EEA-4E84-8CD5-50F55433EC97}"/>
                  </a:ext>
                </a:extLst>
              </p:cNvPr>
              <p:cNvSpPr>
                <a:spLocks noEditPoints="1"/>
              </p:cNvSpPr>
              <p:nvPr/>
            </p:nvSpPr>
            <p:spPr bwMode="auto">
              <a:xfrm>
                <a:off x="8235156" y="5115718"/>
                <a:ext cx="149225" cy="146050"/>
              </a:xfrm>
              <a:custGeom>
                <a:avLst/>
                <a:gdLst>
                  <a:gd name="T0" fmla="*/ 18 w 87"/>
                  <a:gd name="T1" fmla="*/ 86 h 86"/>
                  <a:gd name="T2" fmla="*/ 15 w 87"/>
                  <a:gd name="T3" fmla="*/ 85 h 86"/>
                  <a:gd name="T4" fmla="*/ 1 w 87"/>
                  <a:gd name="T5" fmla="*/ 71 h 86"/>
                  <a:gd name="T6" fmla="*/ 0 w 87"/>
                  <a:gd name="T7" fmla="*/ 68 h 86"/>
                  <a:gd name="T8" fmla="*/ 1 w 87"/>
                  <a:gd name="T9" fmla="*/ 65 h 86"/>
                  <a:gd name="T10" fmla="*/ 65 w 87"/>
                  <a:gd name="T11" fmla="*/ 1 h 86"/>
                  <a:gd name="T12" fmla="*/ 71 w 87"/>
                  <a:gd name="T13" fmla="*/ 1 h 86"/>
                  <a:gd name="T14" fmla="*/ 85 w 87"/>
                  <a:gd name="T15" fmla="*/ 15 h 86"/>
                  <a:gd name="T16" fmla="*/ 85 w 87"/>
                  <a:gd name="T17" fmla="*/ 21 h 86"/>
                  <a:gd name="T18" fmla="*/ 21 w 87"/>
                  <a:gd name="T19" fmla="*/ 85 h 86"/>
                  <a:gd name="T20" fmla="*/ 18 w 87"/>
                  <a:gd name="T21" fmla="*/ 86 h 86"/>
                  <a:gd name="T22" fmla="*/ 10 w 87"/>
                  <a:gd name="T23" fmla="*/ 68 h 86"/>
                  <a:gd name="T24" fmla="*/ 18 w 87"/>
                  <a:gd name="T25" fmla="*/ 76 h 86"/>
                  <a:gd name="T26" fmla="*/ 76 w 87"/>
                  <a:gd name="T27" fmla="*/ 18 h 86"/>
                  <a:gd name="T28" fmla="*/ 68 w 87"/>
                  <a:gd name="T29" fmla="*/ 10 h 86"/>
                  <a:gd name="T30" fmla="*/ 10 w 87"/>
                  <a:gd name="T31" fmla="*/ 68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7" h="86">
                    <a:moveTo>
                      <a:pt x="18" y="86"/>
                    </a:moveTo>
                    <a:cubicBezTo>
                      <a:pt x="17" y="86"/>
                      <a:pt x="16" y="86"/>
                      <a:pt x="15" y="85"/>
                    </a:cubicBezTo>
                    <a:cubicBezTo>
                      <a:pt x="1" y="71"/>
                      <a:pt x="1" y="71"/>
                      <a:pt x="1" y="71"/>
                    </a:cubicBezTo>
                    <a:cubicBezTo>
                      <a:pt x="0" y="70"/>
                      <a:pt x="0" y="69"/>
                      <a:pt x="0" y="68"/>
                    </a:cubicBezTo>
                    <a:cubicBezTo>
                      <a:pt x="0" y="67"/>
                      <a:pt x="0" y="66"/>
                      <a:pt x="1" y="65"/>
                    </a:cubicBezTo>
                    <a:cubicBezTo>
                      <a:pt x="65" y="1"/>
                      <a:pt x="65" y="1"/>
                      <a:pt x="65" y="1"/>
                    </a:cubicBezTo>
                    <a:cubicBezTo>
                      <a:pt x="67" y="0"/>
                      <a:pt x="69" y="0"/>
                      <a:pt x="71" y="1"/>
                    </a:cubicBezTo>
                    <a:cubicBezTo>
                      <a:pt x="85" y="15"/>
                      <a:pt x="85" y="15"/>
                      <a:pt x="85" y="15"/>
                    </a:cubicBezTo>
                    <a:cubicBezTo>
                      <a:pt x="87" y="17"/>
                      <a:pt x="87" y="19"/>
                      <a:pt x="85" y="21"/>
                    </a:cubicBezTo>
                    <a:cubicBezTo>
                      <a:pt x="21" y="85"/>
                      <a:pt x="21" y="85"/>
                      <a:pt x="21" y="85"/>
                    </a:cubicBezTo>
                    <a:cubicBezTo>
                      <a:pt x="20" y="86"/>
                      <a:pt x="19" y="86"/>
                      <a:pt x="18" y="86"/>
                    </a:cubicBezTo>
                    <a:close/>
                    <a:moveTo>
                      <a:pt x="10" y="68"/>
                    </a:moveTo>
                    <a:cubicBezTo>
                      <a:pt x="18" y="76"/>
                      <a:pt x="18" y="76"/>
                      <a:pt x="18" y="76"/>
                    </a:cubicBezTo>
                    <a:cubicBezTo>
                      <a:pt x="76" y="18"/>
                      <a:pt x="76" y="18"/>
                      <a:pt x="76" y="18"/>
                    </a:cubicBezTo>
                    <a:cubicBezTo>
                      <a:pt x="68" y="10"/>
                      <a:pt x="68" y="10"/>
                      <a:pt x="68" y="10"/>
                    </a:cubicBezTo>
                    <a:lnTo>
                      <a:pt x="10" y="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armonyOS Sans SC"/>
                  <a:cs typeface="+mn-cs"/>
                </a:endParaRPr>
              </a:p>
            </p:txBody>
          </p:sp>
        </p:grpSp>
      </p:grpSp>
      <p:sp>
        <p:nvSpPr>
          <p:cNvPr id="39" name="TextBox 34">
            <a:extLst>
              <a:ext uri="{FF2B5EF4-FFF2-40B4-BE49-F238E27FC236}">
                <a16:creationId xmlns:a16="http://schemas.microsoft.com/office/drawing/2014/main" id="{FC99A58B-DEC2-4224-B2FB-24585319303E}"/>
              </a:ext>
            </a:extLst>
          </p:cNvPr>
          <p:cNvSpPr txBox="1"/>
          <p:nvPr/>
        </p:nvSpPr>
        <p:spPr>
          <a:xfrm>
            <a:off x="4669807" y="1756682"/>
            <a:ext cx="2852386" cy="464614"/>
          </a:xfrm>
          <a:prstGeom prst="rect">
            <a:avLst/>
          </a:prstGeom>
          <a:noFill/>
        </p:spPr>
        <p:txBody>
          <a:bodyPr wrap="square" rtlCol="0">
            <a:spAutoFit/>
          </a:body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0" lang="en-US" sz="1050" b="0" i="0" u="none" strike="noStrike" kern="1200" cap="none" spc="100" normalizeH="0" baseline="0" noProof="0" dirty="0">
                <a:ln>
                  <a:noFill/>
                </a:ln>
                <a:solidFill>
                  <a:prstClr val="black">
                    <a:lumMod val="50000"/>
                    <a:lumOff val="50000"/>
                  </a:prstClr>
                </a:solidFill>
                <a:effectLst/>
                <a:uLnTx/>
                <a:uFillTx/>
                <a:latin typeface="HarmonyOS Sans SC"/>
                <a:cs typeface="Open Sans" panose="020B0606030504020204" pitchFamily="34" charset="0"/>
              </a:rPr>
              <a:t>A wonderful serenity</a:t>
            </a:r>
            <a:r>
              <a:rPr kumimoji="0" lang="en-US" sz="1050" b="0" i="0" u="none" strike="noStrike" kern="1200" cap="none" spc="100" normalizeH="0" baseline="0" noProof="0" dirty="0">
                <a:ln>
                  <a:noFill/>
                </a:ln>
                <a:solidFill>
                  <a:prstClr val="black">
                    <a:lumMod val="50000"/>
                    <a:lumOff val="50000"/>
                  </a:prstClr>
                </a:solidFill>
                <a:effectLst/>
                <a:uLnTx/>
                <a:uFillTx/>
                <a:latin typeface="HarmonyOS Sans SC"/>
                <a:cs typeface="Open Sans Light" panose="020B0306030504020204" pitchFamily="34" charset="0"/>
              </a:rPr>
              <a:t> has taken possession of my entire soul</a:t>
            </a:r>
          </a:p>
        </p:txBody>
      </p:sp>
      <p:sp>
        <p:nvSpPr>
          <p:cNvPr id="42" name="TextBox 37">
            <a:extLst>
              <a:ext uri="{FF2B5EF4-FFF2-40B4-BE49-F238E27FC236}">
                <a16:creationId xmlns:a16="http://schemas.microsoft.com/office/drawing/2014/main" id="{85597D83-13D9-4D83-9000-AC71ED3825DD}"/>
              </a:ext>
            </a:extLst>
          </p:cNvPr>
          <p:cNvSpPr txBox="1"/>
          <p:nvPr/>
        </p:nvSpPr>
        <p:spPr>
          <a:xfrm>
            <a:off x="8375088" y="3065835"/>
            <a:ext cx="2634049" cy="464614"/>
          </a:xfrm>
          <a:prstGeom prst="rect">
            <a:avLst/>
          </a:prstGeom>
          <a:noFill/>
        </p:spPr>
        <p:txBody>
          <a:bodyPr wrap="square" rtlCol="0">
            <a:spAutoFit/>
          </a:bodyPr>
          <a:lstStyle/>
          <a:p>
            <a:pPr marL="0" marR="0" lvl="0" indent="0" algn="just" defTabSz="914400" rtl="0" eaLnBrk="1" fontAlgn="auto" latinLnBrk="0" hangingPunct="1">
              <a:lnSpc>
                <a:spcPct val="120000"/>
              </a:lnSpc>
              <a:spcBef>
                <a:spcPts val="0"/>
              </a:spcBef>
              <a:spcAft>
                <a:spcPts val="0"/>
              </a:spcAft>
              <a:buClrTx/>
              <a:buSzTx/>
              <a:buFontTx/>
              <a:buNone/>
              <a:tabLst/>
              <a:defRPr/>
            </a:pPr>
            <a:r>
              <a:rPr kumimoji="0" lang="en-US" sz="1050" b="0" i="0" u="none" strike="noStrike" kern="1200" cap="none" spc="100" normalizeH="0" baseline="0" noProof="0" dirty="0">
                <a:ln>
                  <a:noFill/>
                </a:ln>
                <a:solidFill>
                  <a:prstClr val="black">
                    <a:lumMod val="50000"/>
                    <a:lumOff val="50000"/>
                  </a:prstClr>
                </a:solidFill>
                <a:effectLst/>
                <a:uLnTx/>
                <a:uFillTx/>
                <a:latin typeface="HarmonyOS Sans SC"/>
                <a:cs typeface="Open Sans" panose="020B0606030504020204" pitchFamily="34" charset="0"/>
              </a:rPr>
              <a:t>A wonderful serenity</a:t>
            </a:r>
            <a:r>
              <a:rPr kumimoji="0" lang="en-US" sz="1050" b="0" i="0" u="none" strike="noStrike" kern="1200" cap="none" spc="100" normalizeH="0" baseline="0" noProof="0" dirty="0">
                <a:ln>
                  <a:noFill/>
                </a:ln>
                <a:solidFill>
                  <a:prstClr val="black">
                    <a:lumMod val="50000"/>
                    <a:lumOff val="50000"/>
                  </a:prstClr>
                </a:solidFill>
                <a:effectLst/>
                <a:uLnTx/>
                <a:uFillTx/>
                <a:latin typeface="HarmonyOS Sans SC"/>
                <a:cs typeface="Open Sans Light" panose="020B0306030504020204" pitchFamily="34" charset="0"/>
              </a:rPr>
              <a:t> has taken possession of my entire soul</a:t>
            </a:r>
          </a:p>
        </p:txBody>
      </p:sp>
      <p:sp>
        <p:nvSpPr>
          <p:cNvPr id="45" name="TextBox 40">
            <a:extLst>
              <a:ext uri="{FF2B5EF4-FFF2-40B4-BE49-F238E27FC236}">
                <a16:creationId xmlns:a16="http://schemas.microsoft.com/office/drawing/2014/main" id="{77ADB5B9-54DE-4467-9320-4F02DCA20E65}"/>
              </a:ext>
            </a:extLst>
          </p:cNvPr>
          <p:cNvSpPr txBox="1"/>
          <p:nvPr/>
        </p:nvSpPr>
        <p:spPr>
          <a:xfrm>
            <a:off x="8375088" y="4053809"/>
            <a:ext cx="2634049" cy="464614"/>
          </a:xfrm>
          <a:prstGeom prst="rect">
            <a:avLst/>
          </a:prstGeom>
          <a:noFill/>
        </p:spPr>
        <p:txBody>
          <a:bodyPr wrap="square" rtlCol="0">
            <a:spAutoFit/>
          </a:bodyPr>
          <a:lstStyle/>
          <a:p>
            <a:pPr marL="0" marR="0" lvl="0" indent="0" algn="just" defTabSz="914400" rtl="0" eaLnBrk="1" fontAlgn="auto" latinLnBrk="0" hangingPunct="1">
              <a:lnSpc>
                <a:spcPct val="120000"/>
              </a:lnSpc>
              <a:spcBef>
                <a:spcPts val="0"/>
              </a:spcBef>
              <a:spcAft>
                <a:spcPts val="0"/>
              </a:spcAft>
              <a:buClrTx/>
              <a:buSzTx/>
              <a:buFontTx/>
              <a:buNone/>
              <a:tabLst/>
              <a:defRPr/>
            </a:pPr>
            <a:r>
              <a:rPr kumimoji="0" lang="en-US" sz="1050" b="0" i="0" u="none" strike="noStrike" kern="1200" cap="none" spc="100" normalizeH="0" baseline="0" noProof="0" dirty="0">
                <a:ln>
                  <a:noFill/>
                </a:ln>
                <a:solidFill>
                  <a:prstClr val="black">
                    <a:lumMod val="50000"/>
                    <a:lumOff val="50000"/>
                  </a:prstClr>
                </a:solidFill>
                <a:effectLst/>
                <a:uLnTx/>
                <a:uFillTx/>
                <a:latin typeface="HarmonyOS Sans SC"/>
                <a:cs typeface="Open Sans" panose="020B0606030504020204" pitchFamily="34" charset="0"/>
              </a:rPr>
              <a:t>A wonderful serenity</a:t>
            </a:r>
            <a:r>
              <a:rPr kumimoji="0" lang="en-US" sz="1050" b="0" i="0" u="none" strike="noStrike" kern="1200" cap="none" spc="100" normalizeH="0" baseline="0" noProof="0" dirty="0">
                <a:ln>
                  <a:noFill/>
                </a:ln>
                <a:solidFill>
                  <a:prstClr val="black">
                    <a:lumMod val="50000"/>
                    <a:lumOff val="50000"/>
                  </a:prstClr>
                </a:solidFill>
                <a:effectLst/>
                <a:uLnTx/>
                <a:uFillTx/>
                <a:latin typeface="HarmonyOS Sans SC"/>
                <a:cs typeface="Open Sans Light" panose="020B0306030504020204" pitchFamily="34" charset="0"/>
              </a:rPr>
              <a:t> has taken possession of my entire soul</a:t>
            </a:r>
          </a:p>
        </p:txBody>
      </p:sp>
      <p:sp>
        <p:nvSpPr>
          <p:cNvPr id="51" name="TextBox 46">
            <a:extLst>
              <a:ext uri="{FF2B5EF4-FFF2-40B4-BE49-F238E27FC236}">
                <a16:creationId xmlns:a16="http://schemas.microsoft.com/office/drawing/2014/main" id="{EB6933C8-2070-4BA2-ACDB-B7F8E690E5B1}"/>
              </a:ext>
            </a:extLst>
          </p:cNvPr>
          <p:cNvSpPr txBox="1"/>
          <p:nvPr/>
        </p:nvSpPr>
        <p:spPr>
          <a:xfrm>
            <a:off x="1317354" y="3065835"/>
            <a:ext cx="2634049" cy="464614"/>
          </a:xfrm>
          <a:prstGeom prst="rect">
            <a:avLst/>
          </a:prstGeom>
          <a:noFill/>
        </p:spPr>
        <p:txBody>
          <a:bodyPr wrap="square" rtlCol="0">
            <a:spAutoFit/>
          </a:bodyPr>
          <a:lstStyle/>
          <a:p>
            <a:pPr marL="0" marR="0" lvl="0" indent="0" algn="just" defTabSz="914400" rtl="0" eaLnBrk="1" fontAlgn="auto" latinLnBrk="0" hangingPunct="1">
              <a:lnSpc>
                <a:spcPct val="120000"/>
              </a:lnSpc>
              <a:spcBef>
                <a:spcPts val="0"/>
              </a:spcBef>
              <a:spcAft>
                <a:spcPts val="0"/>
              </a:spcAft>
              <a:buClrTx/>
              <a:buSzTx/>
              <a:buFontTx/>
              <a:buNone/>
              <a:tabLst/>
              <a:defRPr/>
            </a:pPr>
            <a:r>
              <a:rPr kumimoji="0" lang="en-US" sz="1050" b="0" i="0" u="none" strike="noStrike" kern="1200" cap="none" spc="100" normalizeH="0" baseline="0" noProof="0" dirty="0">
                <a:ln>
                  <a:noFill/>
                </a:ln>
                <a:solidFill>
                  <a:prstClr val="black">
                    <a:lumMod val="50000"/>
                    <a:lumOff val="50000"/>
                  </a:prstClr>
                </a:solidFill>
                <a:effectLst/>
                <a:uLnTx/>
                <a:uFillTx/>
                <a:latin typeface="HarmonyOS Sans SC"/>
                <a:cs typeface="Open Sans" panose="020B0606030504020204" pitchFamily="34" charset="0"/>
              </a:rPr>
              <a:t>A wonderful serenity</a:t>
            </a:r>
            <a:r>
              <a:rPr kumimoji="0" lang="en-US" sz="1050" b="0" i="0" u="none" strike="noStrike" kern="1200" cap="none" spc="100" normalizeH="0" baseline="0" noProof="0" dirty="0">
                <a:ln>
                  <a:noFill/>
                </a:ln>
                <a:solidFill>
                  <a:prstClr val="black">
                    <a:lumMod val="50000"/>
                    <a:lumOff val="50000"/>
                  </a:prstClr>
                </a:solidFill>
                <a:effectLst/>
                <a:uLnTx/>
                <a:uFillTx/>
                <a:latin typeface="HarmonyOS Sans SC"/>
                <a:cs typeface="Open Sans Light" panose="020B0306030504020204" pitchFamily="34" charset="0"/>
              </a:rPr>
              <a:t> has taken possession of my entire soul</a:t>
            </a:r>
          </a:p>
        </p:txBody>
      </p:sp>
      <p:sp>
        <p:nvSpPr>
          <p:cNvPr id="54" name="TextBox 49">
            <a:extLst>
              <a:ext uri="{FF2B5EF4-FFF2-40B4-BE49-F238E27FC236}">
                <a16:creationId xmlns:a16="http://schemas.microsoft.com/office/drawing/2014/main" id="{0DB06B36-CC67-444D-9171-5BBD2081B50A}"/>
              </a:ext>
            </a:extLst>
          </p:cNvPr>
          <p:cNvSpPr txBox="1"/>
          <p:nvPr/>
        </p:nvSpPr>
        <p:spPr>
          <a:xfrm>
            <a:off x="1317354" y="4053809"/>
            <a:ext cx="2634049" cy="464614"/>
          </a:xfrm>
          <a:prstGeom prst="rect">
            <a:avLst/>
          </a:prstGeom>
          <a:noFill/>
        </p:spPr>
        <p:txBody>
          <a:bodyPr wrap="square" rtlCol="0">
            <a:spAutoFit/>
          </a:bodyPr>
          <a:lstStyle/>
          <a:p>
            <a:pPr marL="0" marR="0" lvl="0" indent="0" algn="just" defTabSz="914400" rtl="0" eaLnBrk="1" fontAlgn="auto" latinLnBrk="0" hangingPunct="1">
              <a:lnSpc>
                <a:spcPct val="120000"/>
              </a:lnSpc>
              <a:spcBef>
                <a:spcPts val="0"/>
              </a:spcBef>
              <a:spcAft>
                <a:spcPts val="0"/>
              </a:spcAft>
              <a:buClrTx/>
              <a:buSzTx/>
              <a:buFontTx/>
              <a:buNone/>
              <a:tabLst/>
              <a:defRPr/>
            </a:pPr>
            <a:r>
              <a:rPr kumimoji="0" lang="en-US" sz="1050" b="0" i="0" u="none" strike="noStrike" kern="1200" cap="none" spc="100" normalizeH="0" baseline="0" noProof="0" dirty="0">
                <a:ln>
                  <a:noFill/>
                </a:ln>
                <a:solidFill>
                  <a:prstClr val="black">
                    <a:lumMod val="50000"/>
                    <a:lumOff val="50000"/>
                  </a:prstClr>
                </a:solidFill>
                <a:effectLst/>
                <a:uLnTx/>
                <a:uFillTx/>
                <a:latin typeface="HarmonyOS Sans SC"/>
                <a:cs typeface="Open Sans" panose="020B0606030504020204" pitchFamily="34" charset="0"/>
              </a:rPr>
              <a:t>A wonderful serenity</a:t>
            </a:r>
            <a:r>
              <a:rPr kumimoji="0" lang="en-US" sz="1050" b="0" i="0" u="none" strike="noStrike" kern="1200" cap="none" spc="100" normalizeH="0" baseline="0" noProof="0" dirty="0">
                <a:ln>
                  <a:noFill/>
                </a:ln>
                <a:solidFill>
                  <a:prstClr val="black">
                    <a:lumMod val="50000"/>
                    <a:lumOff val="50000"/>
                  </a:prstClr>
                </a:solidFill>
                <a:effectLst/>
                <a:uLnTx/>
                <a:uFillTx/>
                <a:latin typeface="HarmonyOS Sans SC"/>
                <a:cs typeface="Open Sans Light" panose="020B0306030504020204" pitchFamily="34" charset="0"/>
              </a:rPr>
              <a:t> has taken possession of my entire soul</a:t>
            </a:r>
          </a:p>
        </p:txBody>
      </p:sp>
      <p:sp>
        <p:nvSpPr>
          <p:cNvPr id="55" name="文本框 54">
            <a:extLst>
              <a:ext uri="{FF2B5EF4-FFF2-40B4-BE49-F238E27FC236}">
                <a16:creationId xmlns:a16="http://schemas.microsoft.com/office/drawing/2014/main" id="{E7E39806-1724-4550-93AA-04EBE8D22AA8}"/>
              </a:ext>
            </a:extLst>
          </p:cNvPr>
          <p:cNvSpPr txBox="1"/>
          <p:nvPr/>
        </p:nvSpPr>
        <p:spPr>
          <a:xfrm>
            <a:off x="4727676" y="918105"/>
            <a:ext cx="2736647" cy="52322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2800" b="0" i="0" u="none" strike="noStrike" kern="1200" cap="none" spc="0" normalizeH="0" baseline="0" noProof="0" dirty="0">
                <a:ln>
                  <a:noFill/>
                </a:ln>
                <a:solidFill>
                  <a:prstClr val="black"/>
                </a:solidFill>
                <a:effectLst/>
                <a:uLnTx/>
                <a:uFillTx/>
                <a:latin typeface="HarmonyOS Sans Black"/>
                <a:ea typeface="+mj-ea"/>
                <a:cs typeface="+mn-cs"/>
              </a:rPr>
              <a:t>INFOGRAPHIC</a:t>
            </a:r>
          </a:p>
        </p:txBody>
      </p:sp>
      <p:sp>
        <p:nvSpPr>
          <p:cNvPr id="56" name="TextBox 26">
            <a:extLst>
              <a:ext uri="{FF2B5EF4-FFF2-40B4-BE49-F238E27FC236}">
                <a16:creationId xmlns:a16="http://schemas.microsoft.com/office/drawing/2014/main" id="{A9A4B541-AA7C-4416-B244-45B639ADBABD}"/>
              </a:ext>
            </a:extLst>
          </p:cNvPr>
          <p:cNvSpPr txBox="1"/>
          <p:nvPr/>
        </p:nvSpPr>
        <p:spPr>
          <a:xfrm>
            <a:off x="3486150" y="663942"/>
            <a:ext cx="5219700" cy="254163"/>
          </a:xfrm>
          <a:prstGeom prst="rect">
            <a:avLst/>
          </a:prstGeom>
          <a:noFill/>
        </p:spPr>
        <p:txBody>
          <a:bodyPr wrap="square" lIns="0" tIns="36000" rIns="0" bIns="36000" rtlCol="0">
            <a:spAutoFit/>
          </a:bodyPr>
          <a:lstStyle/>
          <a:p>
            <a:pPr marL="0" marR="0" lvl="0" indent="0" algn="ctr" defTabSz="914400" rtl="0" eaLnBrk="1" fontAlgn="auto" latinLnBrk="0" hangingPunct="1">
              <a:lnSpc>
                <a:spcPct val="130000"/>
              </a:lnSpc>
              <a:spcBef>
                <a:spcPts val="1000"/>
              </a:spcBef>
              <a:spcAft>
                <a:spcPts val="0"/>
              </a:spcAft>
              <a:buClrTx/>
              <a:buSzTx/>
              <a:buFontTx/>
              <a:buNone/>
              <a:tabLst/>
              <a:defRPr/>
            </a:pPr>
            <a:r>
              <a:rPr kumimoji="0" lang="da-DK" sz="1000" b="0" i="0" u="none" strike="noStrike" kern="1200" cap="none" spc="0" normalizeH="0" baseline="0" noProof="0" dirty="0">
                <a:ln>
                  <a:noFill/>
                </a:ln>
                <a:solidFill>
                  <a:prstClr val="black">
                    <a:lumMod val="50000"/>
                    <a:lumOff val="50000"/>
                    <a:alpha val="70000"/>
                  </a:prstClr>
                </a:solidFill>
                <a:effectLst/>
                <a:uLnTx/>
                <a:uFillTx/>
                <a:latin typeface="HarmonyOS Sans SC"/>
                <a:cs typeface="+mn-cs"/>
              </a:rPr>
              <a:t>Your Text Here</a:t>
            </a:r>
          </a:p>
        </p:txBody>
      </p:sp>
      <p:sp>
        <p:nvSpPr>
          <p:cNvPr id="58" name="TextBox 34">
            <a:extLst>
              <a:ext uri="{FF2B5EF4-FFF2-40B4-BE49-F238E27FC236}">
                <a16:creationId xmlns:a16="http://schemas.microsoft.com/office/drawing/2014/main" id="{0943B94A-5FC2-4EFD-B28B-BB8ADC70E07D}"/>
              </a:ext>
            </a:extLst>
          </p:cNvPr>
          <p:cNvSpPr txBox="1"/>
          <p:nvPr/>
        </p:nvSpPr>
        <p:spPr>
          <a:xfrm>
            <a:off x="4669807" y="5735859"/>
            <a:ext cx="2852386" cy="464614"/>
          </a:xfrm>
          <a:prstGeom prst="rect">
            <a:avLst/>
          </a:prstGeom>
          <a:noFill/>
        </p:spPr>
        <p:txBody>
          <a:bodyPr wrap="square" rtlCol="0">
            <a:spAutoFit/>
          </a:body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0" lang="en-US" sz="1050" b="0" i="0" u="none" strike="noStrike" kern="1200" cap="none" spc="100" normalizeH="0" baseline="0" noProof="0" dirty="0">
                <a:ln>
                  <a:noFill/>
                </a:ln>
                <a:solidFill>
                  <a:prstClr val="black">
                    <a:lumMod val="50000"/>
                    <a:lumOff val="50000"/>
                  </a:prstClr>
                </a:solidFill>
                <a:effectLst/>
                <a:uLnTx/>
                <a:uFillTx/>
                <a:latin typeface="HarmonyOS Sans SC"/>
                <a:cs typeface="Open Sans" panose="020B0606030504020204" pitchFamily="34" charset="0"/>
              </a:rPr>
              <a:t>A wonderful serenity</a:t>
            </a:r>
            <a:r>
              <a:rPr kumimoji="0" lang="en-US" sz="1050" b="0" i="0" u="none" strike="noStrike" kern="1200" cap="none" spc="100" normalizeH="0" baseline="0" noProof="0" dirty="0">
                <a:ln>
                  <a:noFill/>
                </a:ln>
                <a:solidFill>
                  <a:prstClr val="black">
                    <a:lumMod val="50000"/>
                    <a:lumOff val="50000"/>
                  </a:prstClr>
                </a:solidFill>
                <a:effectLst/>
                <a:uLnTx/>
                <a:uFillTx/>
                <a:latin typeface="HarmonyOS Sans SC"/>
                <a:cs typeface="Open Sans Light" panose="020B0306030504020204" pitchFamily="34" charset="0"/>
              </a:rPr>
              <a:t> has taken possession of my entire soul</a:t>
            </a:r>
          </a:p>
        </p:txBody>
      </p:sp>
    </p:spTree>
    <p:extLst>
      <p:ext uri="{BB962C8B-B14F-4D97-AF65-F5344CB8AC3E}">
        <p14:creationId xmlns:p14="http://schemas.microsoft.com/office/powerpoint/2010/main" val="3860853076"/>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4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reeform 10">
            <a:extLst>
              <a:ext uri="{FF2B5EF4-FFF2-40B4-BE49-F238E27FC236}">
                <a16:creationId xmlns:a16="http://schemas.microsoft.com/office/drawing/2014/main" id="{006D1E76-E7AD-4E29-8E08-27ED7E9E13D6}"/>
              </a:ext>
            </a:extLst>
          </p:cNvPr>
          <p:cNvSpPr>
            <a:spLocks/>
          </p:cNvSpPr>
          <p:nvPr/>
        </p:nvSpPr>
        <p:spPr bwMode="auto">
          <a:xfrm>
            <a:off x="6081036" y="2115627"/>
            <a:ext cx="2464028" cy="2310906"/>
          </a:xfrm>
          <a:custGeom>
            <a:avLst/>
            <a:gdLst>
              <a:gd name="T0" fmla="*/ 22 w 561"/>
              <a:gd name="T1" fmla="*/ 241 h 525"/>
              <a:gd name="T2" fmla="*/ 240 w 561"/>
              <a:gd name="T3" fmla="*/ 22 h 525"/>
              <a:gd name="T4" fmla="*/ 321 w 561"/>
              <a:gd name="T5" fmla="*/ 22 h 525"/>
              <a:gd name="T6" fmla="*/ 539 w 561"/>
              <a:gd name="T7" fmla="*/ 241 h 525"/>
              <a:gd name="T8" fmla="*/ 539 w 561"/>
              <a:gd name="T9" fmla="*/ 321 h 525"/>
              <a:gd name="T10" fmla="*/ 401 w 561"/>
              <a:gd name="T11" fmla="*/ 459 h 525"/>
              <a:gd name="T12" fmla="*/ 160 w 561"/>
              <a:gd name="T13" fmla="*/ 459 h 525"/>
              <a:gd name="T14" fmla="*/ 22 w 561"/>
              <a:gd name="T15" fmla="*/ 321 h 525"/>
              <a:gd name="T16" fmla="*/ 22 w 561"/>
              <a:gd name="T17" fmla="*/ 241 h 5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1" h="525">
                <a:moveTo>
                  <a:pt x="22" y="241"/>
                </a:moveTo>
                <a:cubicBezTo>
                  <a:pt x="240" y="22"/>
                  <a:pt x="240" y="22"/>
                  <a:pt x="240" y="22"/>
                </a:cubicBezTo>
                <a:cubicBezTo>
                  <a:pt x="262" y="0"/>
                  <a:pt x="299" y="0"/>
                  <a:pt x="321" y="22"/>
                </a:cubicBezTo>
                <a:cubicBezTo>
                  <a:pt x="539" y="241"/>
                  <a:pt x="539" y="241"/>
                  <a:pt x="539" y="241"/>
                </a:cubicBezTo>
                <a:cubicBezTo>
                  <a:pt x="561" y="263"/>
                  <a:pt x="561" y="299"/>
                  <a:pt x="539" y="321"/>
                </a:cubicBezTo>
                <a:cubicBezTo>
                  <a:pt x="401" y="459"/>
                  <a:pt x="401" y="459"/>
                  <a:pt x="401" y="459"/>
                </a:cubicBezTo>
                <a:cubicBezTo>
                  <a:pt x="335" y="525"/>
                  <a:pt x="226" y="525"/>
                  <a:pt x="160" y="459"/>
                </a:cubicBezTo>
                <a:cubicBezTo>
                  <a:pt x="22" y="321"/>
                  <a:pt x="22" y="321"/>
                  <a:pt x="22" y="321"/>
                </a:cubicBezTo>
                <a:cubicBezTo>
                  <a:pt x="0" y="299"/>
                  <a:pt x="0" y="263"/>
                  <a:pt x="22" y="241"/>
                </a:cubicBezTo>
                <a:close/>
              </a:path>
            </a:pathLst>
          </a:custGeom>
          <a:gradFill>
            <a:gsLst>
              <a:gs pos="73000">
                <a:schemeClr val="accent1"/>
              </a:gs>
              <a:gs pos="31000">
                <a:schemeClr val="accent1">
                  <a:lumMod val="60000"/>
                  <a:lumOff val="40000"/>
                </a:schemeClr>
              </a:gs>
              <a:gs pos="0">
                <a:schemeClr val="accent1">
                  <a:lumMod val="40000"/>
                  <a:lumOff val="60000"/>
                </a:schemeClr>
              </a:gs>
            </a:gsLst>
            <a:path path="circle">
              <a:fillToRect r="100000" b="100000"/>
            </a:path>
          </a:gradFill>
          <a:ln>
            <a:noFill/>
          </a:ln>
          <a:effectLst>
            <a:outerShdw blurRad="444500" dist="317500" dir="5400000" sx="92000" sy="92000" algn="t" rotWithShape="0">
              <a:schemeClr val="accent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7" name="Rectangle 55">
            <a:extLst>
              <a:ext uri="{FF2B5EF4-FFF2-40B4-BE49-F238E27FC236}">
                <a16:creationId xmlns:a16="http://schemas.microsoft.com/office/drawing/2014/main" id="{9D8455C8-C6BB-4879-8C26-B8D7E96FF64D}"/>
              </a:ext>
            </a:extLst>
          </p:cNvPr>
          <p:cNvSpPr/>
          <p:nvPr/>
        </p:nvSpPr>
        <p:spPr>
          <a:xfrm>
            <a:off x="6374181" y="2948008"/>
            <a:ext cx="1877737" cy="372218"/>
          </a:xfrm>
          <a:prstGeom prst="rect">
            <a:avLst/>
          </a:prstGeom>
        </p:spPr>
        <p:txBody>
          <a:bodyPr wrap="square">
            <a:spAutoFit/>
          </a:body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0" lang="zh-CN" altLang="en-US" sz="1600" b="0" i="0" u="none" strike="noStrike" kern="1200" cap="none" spc="0" normalizeH="0" baseline="0" noProof="0" dirty="0">
                <a:ln>
                  <a:noFill/>
                </a:ln>
                <a:solidFill>
                  <a:prstClr val="white"/>
                </a:solidFill>
                <a:effectLst/>
                <a:uLnTx/>
                <a:uFillTx/>
                <a:latin typeface="HarmonyOS Sans SC Black"/>
                <a:ea typeface="+mj-ea"/>
                <a:cs typeface="Segoe UI" panose="020B0502040204020203" pitchFamily="34" charset="0"/>
              </a:rPr>
              <a:t>关键词标题</a:t>
            </a:r>
            <a:endParaRPr kumimoji="0" lang="en-US" sz="1600" b="0" i="0" u="none" strike="noStrike" kern="1200" cap="none" spc="0" normalizeH="0" baseline="0" noProof="0" dirty="0">
              <a:ln>
                <a:noFill/>
              </a:ln>
              <a:solidFill>
                <a:prstClr val="white"/>
              </a:solidFill>
              <a:effectLst/>
              <a:uLnTx/>
              <a:uFillTx/>
              <a:latin typeface="HarmonyOS Sans SC Black"/>
              <a:ea typeface="+mj-ea"/>
              <a:cs typeface="Segoe UI" panose="020B0502040204020203" pitchFamily="34" charset="0"/>
            </a:endParaRPr>
          </a:p>
        </p:txBody>
      </p:sp>
      <p:sp>
        <p:nvSpPr>
          <p:cNvPr id="8" name="Rectangle 56">
            <a:extLst>
              <a:ext uri="{FF2B5EF4-FFF2-40B4-BE49-F238E27FC236}">
                <a16:creationId xmlns:a16="http://schemas.microsoft.com/office/drawing/2014/main" id="{C1DABB4A-8BFA-4597-8FAC-1AE4A571C2E3}"/>
              </a:ext>
            </a:extLst>
          </p:cNvPr>
          <p:cNvSpPr/>
          <p:nvPr/>
        </p:nvSpPr>
        <p:spPr>
          <a:xfrm>
            <a:off x="6374181" y="3313236"/>
            <a:ext cx="1877737" cy="464614"/>
          </a:xfrm>
          <a:prstGeom prst="rect">
            <a:avLst/>
          </a:prstGeom>
        </p:spPr>
        <p:txBody>
          <a:bodyPr wrap="square">
            <a:spAutoFit/>
          </a:body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0" lang="id-ID" sz="1050" b="0" i="0" u="none" strike="noStrike" kern="1200" cap="none" spc="0" normalizeH="0" baseline="0" noProof="0" dirty="0">
                <a:ln>
                  <a:noFill/>
                </a:ln>
                <a:solidFill>
                  <a:prstClr val="white"/>
                </a:solidFill>
                <a:effectLst/>
                <a:uLnTx/>
                <a:uFillTx/>
                <a:latin typeface="HarmonyOS Sans SC"/>
                <a:cs typeface="Segoe UI Light" panose="020B0502040204020203" pitchFamily="34" charset="0"/>
              </a:rPr>
              <a:t>Vivamus quam dolor, tempor ac gravida sit</a:t>
            </a:r>
            <a:endParaRPr kumimoji="0" lang="en-US" sz="1050" b="0" i="0" u="none" strike="noStrike" kern="1200" cap="none" spc="0" normalizeH="0" baseline="0" noProof="0" dirty="0">
              <a:ln>
                <a:noFill/>
              </a:ln>
              <a:solidFill>
                <a:prstClr val="white"/>
              </a:solidFill>
              <a:effectLst/>
              <a:uLnTx/>
              <a:uFillTx/>
              <a:latin typeface="HarmonyOS Sans SC"/>
              <a:cs typeface="Segoe UI Light" panose="020B0502040204020203" pitchFamily="34" charset="0"/>
            </a:endParaRPr>
          </a:p>
        </p:txBody>
      </p:sp>
      <p:sp>
        <p:nvSpPr>
          <p:cNvPr id="5" name="Freeform 11">
            <a:extLst>
              <a:ext uri="{FF2B5EF4-FFF2-40B4-BE49-F238E27FC236}">
                <a16:creationId xmlns:a16="http://schemas.microsoft.com/office/drawing/2014/main" id="{1B0298D4-5236-403A-A950-17CB0352879C}"/>
              </a:ext>
            </a:extLst>
          </p:cNvPr>
          <p:cNvSpPr>
            <a:spLocks/>
          </p:cNvSpPr>
          <p:nvPr/>
        </p:nvSpPr>
        <p:spPr bwMode="auto">
          <a:xfrm>
            <a:off x="8668256" y="2115627"/>
            <a:ext cx="2468056" cy="2310906"/>
          </a:xfrm>
          <a:custGeom>
            <a:avLst/>
            <a:gdLst>
              <a:gd name="T0" fmla="*/ 22 w 562"/>
              <a:gd name="T1" fmla="*/ 241 h 525"/>
              <a:gd name="T2" fmla="*/ 241 w 562"/>
              <a:gd name="T3" fmla="*/ 22 h 525"/>
              <a:gd name="T4" fmla="*/ 321 w 562"/>
              <a:gd name="T5" fmla="*/ 22 h 525"/>
              <a:gd name="T6" fmla="*/ 540 w 562"/>
              <a:gd name="T7" fmla="*/ 241 h 525"/>
              <a:gd name="T8" fmla="*/ 540 w 562"/>
              <a:gd name="T9" fmla="*/ 321 h 525"/>
              <a:gd name="T10" fmla="*/ 401 w 562"/>
              <a:gd name="T11" fmla="*/ 459 h 525"/>
              <a:gd name="T12" fmla="*/ 161 w 562"/>
              <a:gd name="T13" fmla="*/ 459 h 525"/>
              <a:gd name="T14" fmla="*/ 22 w 562"/>
              <a:gd name="T15" fmla="*/ 321 h 525"/>
              <a:gd name="T16" fmla="*/ 22 w 562"/>
              <a:gd name="T17" fmla="*/ 241 h 5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2" h="525">
                <a:moveTo>
                  <a:pt x="22" y="241"/>
                </a:moveTo>
                <a:cubicBezTo>
                  <a:pt x="241" y="22"/>
                  <a:pt x="241" y="22"/>
                  <a:pt x="241" y="22"/>
                </a:cubicBezTo>
                <a:cubicBezTo>
                  <a:pt x="263" y="0"/>
                  <a:pt x="299" y="0"/>
                  <a:pt x="321" y="22"/>
                </a:cubicBezTo>
                <a:cubicBezTo>
                  <a:pt x="540" y="241"/>
                  <a:pt x="540" y="241"/>
                  <a:pt x="540" y="241"/>
                </a:cubicBezTo>
                <a:cubicBezTo>
                  <a:pt x="562" y="263"/>
                  <a:pt x="562" y="299"/>
                  <a:pt x="540" y="321"/>
                </a:cubicBezTo>
                <a:cubicBezTo>
                  <a:pt x="401" y="459"/>
                  <a:pt x="401" y="459"/>
                  <a:pt x="401" y="459"/>
                </a:cubicBezTo>
                <a:cubicBezTo>
                  <a:pt x="335" y="525"/>
                  <a:pt x="227" y="525"/>
                  <a:pt x="161" y="459"/>
                </a:cubicBezTo>
                <a:cubicBezTo>
                  <a:pt x="22" y="321"/>
                  <a:pt x="22" y="321"/>
                  <a:pt x="22" y="321"/>
                </a:cubicBezTo>
                <a:cubicBezTo>
                  <a:pt x="0" y="299"/>
                  <a:pt x="0" y="263"/>
                  <a:pt x="22" y="241"/>
                </a:cubicBezTo>
                <a:close/>
              </a:path>
            </a:pathLst>
          </a:custGeom>
          <a:gradFill>
            <a:gsLst>
              <a:gs pos="73000">
                <a:schemeClr val="accent1"/>
              </a:gs>
              <a:gs pos="31000">
                <a:schemeClr val="accent1">
                  <a:lumMod val="60000"/>
                  <a:lumOff val="40000"/>
                </a:schemeClr>
              </a:gs>
              <a:gs pos="0">
                <a:schemeClr val="accent1">
                  <a:lumMod val="40000"/>
                  <a:lumOff val="60000"/>
                </a:schemeClr>
              </a:gs>
            </a:gsLst>
            <a:path path="circle">
              <a:fillToRect r="100000" b="100000"/>
            </a:path>
          </a:gradFill>
          <a:ln>
            <a:noFill/>
          </a:ln>
          <a:effectLst>
            <a:outerShdw blurRad="444500" dist="317500" dir="5400000" sx="92000" sy="92000" algn="t" rotWithShape="0">
              <a:schemeClr val="accent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10" name="Rectangle 59">
            <a:extLst>
              <a:ext uri="{FF2B5EF4-FFF2-40B4-BE49-F238E27FC236}">
                <a16:creationId xmlns:a16="http://schemas.microsoft.com/office/drawing/2014/main" id="{4DCCFA2B-C196-4DE7-A122-4E6BE8009175}"/>
              </a:ext>
            </a:extLst>
          </p:cNvPr>
          <p:cNvSpPr/>
          <p:nvPr/>
        </p:nvSpPr>
        <p:spPr>
          <a:xfrm>
            <a:off x="8963414" y="2948008"/>
            <a:ext cx="1877737" cy="372218"/>
          </a:xfrm>
          <a:prstGeom prst="rect">
            <a:avLst/>
          </a:prstGeom>
        </p:spPr>
        <p:txBody>
          <a:bodyPr wrap="square">
            <a:spAutoFit/>
          </a:body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0" lang="zh-CN" altLang="en-US" sz="1600" b="0" i="0" u="none" strike="noStrike" kern="1200" cap="none" spc="0" normalizeH="0" baseline="0" noProof="0" dirty="0">
                <a:ln>
                  <a:noFill/>
                </a:ln>
                <a:solidFill>
                  <a:prstClr val="white"/>
                </a:solidFill>
                <a:effectLst/>
                <a:uLnTx/>
                <a:uFillTx/>
                <a:latin typeface="HarmonyOS Sans SC Black"/>
                <a:ea typeface="+mj-ea"/>
                <a:cs typeface="Segoe UI" panose="020B0502040204020203" pitchFamily="34" charset="0"/>
              </a:rPr>
              <a:t>关键词标题</a:t>
            </a:r>
            <a:endParaRPr kumimoji="0" lang="en-US" sz="1600" b="0" i="0" u="none" strike="noStrike" kern="1200" cap="none" spc="0" normalizeH="0" baseline="0" noProof="0" dirty="0">
              <a:ln>
                <a:noFill/>
              </a:ln>
              <a:solidFill>
                <a:prstClr val="white"/>
              </a:solidFill>
              <a:effectLst/>
              <a:uLnTx/>
              <a:uFillTx/>
              <a:latin typeface="HarmonyOS Sans SC Black"/>
              <a:ea typeface="+mj-ea"/>
              <a:cs typeface="Segoe UI" panose="020B0502040204020203" pitchFamily="34" charset="0"/>
            </a:endParaRPr>
          </a:p>
        </p:txBody>
      </p:sp>
      <p:sp>
        <p:nvSpPr>
          <p:cNvPr id="11" name="Rectangle 60">
            <a:extLst>
              <a:ext uri="{FF2B5EF4-FFF2-40B4-BE49-F238E27FC236}">
                <a16:creationId xmlns:a16="http://schemas.microsoft.com/office/drawing/2014/main" id="{8EBC75A9-83F9-4A66-9ECD-CD885459A8C1}"/>
              </a:ext>
            </a:extLst>
          </p:cNvPr>
          <p:cNvSpPr/>
          <p:nvPr/>
        </p:nvSpPr>
        <p:spPr>
          <a:xfrm>
            <a:off x="8963414" y="3313236"/>
            <a:ext cx="1877737" cy="464614"/>
          </a:xfrm>
          <a:prstGeom prst="rect">
            <a:avLst/>
          </a:prstGeom>
        </p:spPr>
        <p:txBody>
          <a:bodyPr wrap="square">
            <a:spAutoFit/>
          </a:body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0" lang="id-ID" sz="1050" b="0" i="0" u="none" strike="noStrike" kern="1200" cap="none" spc="0" normalizeH="0" baseline="0" noProof="0" dirty="0">
                <a:ln>
                  <a:noFill/>
                </a:ln>
                <a:solidFill>
                  <a:prstClr val="white"/>
                </a:solidFill>
                <a:effectLst/>
                <a:uLnTx/>
                <a:uFillTx/>
                <a:latin typeface="HarmonyOS Sans SC"/>
                <a:cs typeface="Segoe UI Light" panose="020B0502040204020203" pitchFamily="34" charset="0"/>
              </a:rPr>
              <a:t>Vivamus quam dolor, tempor ac gravida sit</a:t>
            </a:r>
            <a:endParaRPr kumimoji="0" lang="en-US" sz="1050" b="0" i="0" u="none" strike="noStrike" kern="1200" cap="none" spc="0" normalizeH="0" baseline="0" noProof="0" dirty="0">
              <a:ln>
                <a:noFill/>
              </a:ln>
              <a:solidFill>
                <a:prstClr val="white"/>
              </a:solidFill>
              <a:effectLst/>
              <a:uLnTx/>
              <a:uFillTx/>
              <a:latin typeface="HarmonyOS Sans SC"/>
              <a:cs typeface="Segoe UI Light" panose="020B0502040204020203" pitchFamily="34" charset="0"/>
            </a:endParaRPr>
          </a:p>
        </p:txBody>
      </p:sp>
      <p:sp>
        <p:nvSpPr>
          <p:cNvPr id="25" name="Freeform 8">
            <a:extLst>
              <a:ext uri="{FF2B5EF4-FFF2-40B4-BE49-F238E27FC236}">
                <a16:creationId xmlns:a16="http://schemas.microsoft.com/office/drawing/2014/main" id="{C5789FF3-467F-408A-B2AF-171CA04E0F2C}"/>
              </a:ext>
            </a:extLst>
          </p:cNvPr>
          <p:cNvSpPr>
            <a:spLocks/>
          </p:cNvSpPr>
          <p:nvPr/>
        </p:nvSpPr>
        <p:spPr bwMode="auto">
          <a:xfrm>
            <a:off x="1055688" y="2115627"/>
            <a:ext cx="2310908" cy="2310906"/>
          </a:xfrm>
          <a:custGeom>
            <a:avLst/>
            <a:gdLst>
              <a:gd name="T0" fmla="*/ 22 w 562"/>
              <a:gd name="T1" fmla="*/ 241 h 525"/>
              <a:gd name="T2" fmla="*/ 241 w 562"/>
              <a:gd name="T3" fmla="*/ 22 h 525"/>
              <a:gd name="T4" fmla="*/ 321 w 562"/>
              <a:gd name="T5" fmla="*/ 22 h 525"/>
              <a:gd name="T6" fmla="*/ 540 w 562"/>
              <a:gd name="T7" fmla="*/ 241 h 525"/>
              <a:gd name="T8" fmla="*/ 540 w 562"/>
              <a:gd name="T9" fmla="*/ 321 h 525"/>
              <a:gd name="T10" fmla="*/ 401 w 562"/>
              <a:gd name="T11" fmla="*/ 459 h 525"/>
              <a:gd name="T12" fmla="*/ 161 w 562"/>
              <a:gd name="T13" fmla="*/ 459 h 525"/>
              <a:gd name="T14" fmla="*/ 22 w 562"/>
              <a:gd name="T15" fmla="*/ 321 h 525"/>
              <a:gd name="T16" fmla="*/ 22 w 562"/>
              <a:gd name="T17" fmla="*/ 241 h 5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2" h="525">
                <a:moveTo>
                  <a:pt x="22" y="241"/>
                </a:moveTo>
                <a:cubicBezTo>
                  <a:pt x="241" y="22"/>
                  <a:pt x="241" y="22"/>
                  <a:pt x="241" y="22"/>
                </a:cubicBezTo>
                <a:cubicBezTo>
                  <a:pt x="263" y="0"/>
                  <a:pt x="299" y="0"/>
                  <a:pt x="321" y="22"/>
                </a:cubicBezTo>
                <a:cubicBezTo>
                  <a:pt x="540" y="241"/>
                  <a:pt x="540" y="241"/>
                  <a:pt x="540" y="241"/>
                </a:cubicBezTo>
                <a:cubicBezTo>
                  <a:pt x="562" y="263"/>
                  <a:pt x="562" y="299"/>
                  <a:pt x="540" y="321"/>
                </a:cubicBezTo>
                <a:cubicBezTo>
                  <a:pt x="401" y="459"/>
                  <a:pt x="401" y="459"/>
                  <a:pt x="401" y="459"/>
                </a:cubicBezTo>
                <a:cubicBezTo>
                  <a:pt x="335" y="525"/>
                  <a:pt x="227" y="525"/>
                  <a:pt x="161" y="459"/>
                </a:cubicBezTo>
                <a:cubicBezTo>
                  <a:pt x="22" y="321"/>
                  <a:pt x="22" y="321"/>
                  <a:pt x="22" y="321"/>
                </a:cubicBezTo>
                <a:cubicBezTo>
                  <a:pt x="0" y="299"/>
                  <a:pt x="0" y="263"/>
                  <a:pt x="22" y="241"/>
                </a:cubicBezTo>
                <a:close/>
              </a:path>
            </a:pathLst>
          </a:custGeom>
          <a:gradFill>
            <a:gsLst>
              <a:gs pos="73000">
                <a:schemeClr val="accent1"/>
              </a:gs>
              <a:gs pos="31000">
                <a:schemeClr val="accent1">
                  <a:lumMod val="60000"/>
                  <a:lumOff val="40000"/>
                </a:schemeClr>
              </a:gs>
              <a:gs pos="0">
                <a:schemeClr val="accent1">
                  <a:lumMod val="40000"/>
                  <a:lumOff val="60000"/>
                </a:schemeClr>
              </a:gs>
            </a:gsLst>
            <a:path path="circle">
              <a:fillToRect r="100000" b="100000"/>
            </a:path>
          </a:gradFill>
          <a:ln>
            <a:noFill/>
          </a:ln>
          <a:effectLst>
            <a:outerShdw blurRad="444500" dist="317500" dir="5400000" sx="92000" sy="92000" algn="t" rotWithShape="0">
              <a:schemeClr val="accent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13" name="Rectangle 68">
            <a:extLst>
              <a:ext uri="{FF2B5EF4-FFF2-40B4-BE49-F238E27FC236}">
                <a16:creationId xmlns:a16="http://schemas.microsoft.com/office/drawing/2014/main" id="{2974BB3C-7828-49FE-82A1-EBCA2C092956}"/>
              </a:ext>
            </a:extLst>
          </p:cNvPr>
          <p:cNvSpPr/>
          <p:nvPr/>
        </p:nvSpPr>
        <p:spPr>
          <a:xfrm>
            <a:off x="1272271" y="2948008"/>
            <a:ext cx="1877738" cy="372218"/>
          </a:xfrm>
          <a:prstGeom prst="rect">
            <a:avLst/>
          </a:prstGeom>
        </p:spPr>
        <p:txBody>
          <a:bodyPr wrap="square">
            <a:spAutoFit/>
          </a:body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0" lang="zh-CN" altLang="en-US" sz="1600" b="0" i="0" u="none" strike="noStrike" kern="1200" cap="none" spc="0" normalizeH="0" baseline="0" noProof="0" dirty="0">
                <a:ln>
                  <a:noFill/>
                </a:ln>
                <a:solidFill>
                  <a:prstClr val="white"/>
                </a:solidFill>
                <a:effectLst/>
                <a:uLnTx/>
                <a:uFillTx/>
                <a:latin typeface="HarmonyOS Sans SC Black"/>
                <a:ea typeface="+mj-ea"/>
                <a:cs typeface="Segoe UI" panose="020B0502040204020203" pitchFamily="34" charset="0"/>
              </a:rPr>
              <a:t>关键词标题</a:t>
            </a:r>
            <a:endParaRPr kumimoji="0" lang="en-US" sz="1600" b="0" i="0" u="none" strike="noStrike" kern="1200" cap="none" spc="0" normalizeH="0" baseline="0" noProof="0" dirty="0">
              <a:ln>
                <a:noFill/>
              </a:ln>
              <a:solidFill>
                <a:prstClr val="white"/>
              </a:solidFill>
              <a:effectLst/>
              <a:uLnTx/>
              <a:uFillTx/>
              <a:latin typeface="HarmonyOS Sans SC Black"/>
              <a:ea typeface="+mj-ea"/>
              <a:cs typeface="Segoe UI" panose="020B0502040204020203" pitchFamily="34" charset="0"/>
            </a:endParaRPr>
          </a:p>
        </p:txBody>
      </p:sp>
      <p:sp>
        <p:nvSpPr>
          <p:cNvPr id="14" name="Rectangle 69">
            <a:extLst>
              <a:ext uri="{FF2B5EF4-FFF2-40B4-BE49-F238E27FC236}">
                <a16:creationId xmlns:a16="http://schemas.microsoft.com/office/drawing/2014/main" id="{C847B13C-E953-4B69-9C75-C3EC50EE4233}"/>
              </a:ext>
            </a:extLst>
          </p:cNvPr>
          <p:cNvSpPr/>
          <p:nvPr/>
        </p:nvSpPr>
        <p:spPr>
          <a:xfrm>
            <a:off x="1272271" y="3313236"/>
            <a:ext cx="1877738" cy="464614"/>
          </a:xfrm>
          <a:prstGeom prst="rect">
            <a:avLst/>
          </a:prstGeom>
        </p:spPr>
        <p:txBody>
          <a:bodyPr wrap="square">
            <a:spAutoFit/>
          </a:body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0" lang="id-ID" sz="1050" b="0" i="0" u="none" strike="noStrike" kern="1200" cap="none" spc="0" normalizeH="0" baseline="0" noProof="0" dirty="0">
                <a:ln>
                  <a:noFill/>
                </a:ln>
                <a:solidFill>
                  <a:prstClr val="white"/>
                </a:solidFill>
                <a:effectLst/>
                <a:uLnTx/>
                <a:uFillTx/>
                <a:latin typeface="HarmonyOS Sans SC"/>
                <a:cs typeface="Segoe UI Light" panose="020B0502040204020203" pitchFamily="34" charset="0"/>
              </a:rPr>
              <a:t>Vivamus quam dolor, tempor ac gravida sit</a:t>
            </a:r>
            <a:endParaRPr kumimoji="0" lang="en-US" sz="1050" b="0" i="0" u="none" strike="noStrike" kern="1200" cap="none" spc="0" normalizeH="0" baseline="0" noProof="0" dirty="0">
              <a:ln>
                <a:noFill/>
              </a:ln>
              <a:solidFill>
                <a:prstClr val="white"/>
              </a:solidFill>
              <a:effectLst/>
              <a:uLnTx/>
              <a:uFillTx/>
              <a:latin typeface="HarmonyOS Sans SC"/>
              <a:cs typeface="Segoe UI Light" panose="020B0502040204020203" pitchFamily="34" charset="0"/>
            </a:endParaRPr>
          </a:p>
        </p:txBody>
      </p:sp>
      <p:sp>
        <p:nvSpPr>
          <p:cNvPr id="3" name="Freeform 8">
            <a:extLst>
              <a:ext uri="{FF2B5EF4-FFF2-40B4-BE49-F238E27FC236}">
                <a16:creationId xmlns:a16="http://schemas.microsoft.com/office/drawing/2014/main" id="{E452023D-ADB5-4DDF-BE7E-91AA309454AA}"/>
              </a:ext>
            </a:extLst>
          </p:cNvPr>
          <p:cNvSpPr>
            <a:spLocks/>
          </p:cNvSpPr>
          <p:nvPr/>
        </p:nvSpPr>
        <p:spPr bwMode="auto">
          <a:xfrm>
            <a:off x="3489788" y="2115627"/>
            <a:ext cx="2468056" cy="2310906"/>
          </a:xfrm>
          <a:custGeom>
            <a:avLst/>
            <a:gdLst>
              <a:gd name="T0" fmla="*/ 22 w 562"/>
              <a:gd name="T1" fmla="*/ 241 h 525"/>
              <a:gd name="T2" fmla="*/ 241 w 562"/>
              <a:gd name="T3" fmla="*/ 22 h 525"/>
              <a:gd name="T4" fmla="*/ 321 w 562"/>
              <a:gd name="T5" fmla="*/ 22 h 525"/>
              <a:gd name="T6" fmla="*/ 540 w 562"/>
              <a:gd name="T7" fmla="*/ 241 h 525"/>
              <a:gd name="T8" fmla="*/ 540 w 562"/>
              <a:gd name="T9" fmla="*/ 321 h 525"/>
              <a:gd name="T10" fmla="*/ 401 w 562"/>
              <a:gd name="T11" fmla="*/ 459 h 525"/>
              <a:gd name="T12" fmla="*/ 161 w 562"/>
              <a:gd name="T13" fmla="*/ 459 h 525"/>
              <a:gd name="T14" fmla="*/ 22 w 562"/>
              <a:gd name="T15" fmla="*/ 321 h 525"/>
              <a:gd name="T16" fmla="*/ 22 w 562"/>
              <a:gd name="T17" fmla="*/ 241 h 5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2" h="525">
                <a:moveTo>
                  <a:pt x="22" y="241"/>
                </a:moveTo>
                <a:cubicBezTo>
                  <a:pt x="241" y="22"/>
                  <a:pt x="241" y="22"/>
                  <a:pt x="241" y="22"/>
                </a:cubicBezTo>
                <a:cubicBezTo>
                  <a:pt x="263" y="0"/>
                  <a:pt x="299" y="0"/>
                  <a:pt x="321" y="22"/>
                </a:cubicBezTo>
                <a:cubicBezTo>
                  <a:pt x="540" y="241"/>
                  <a:pt x="540" y="241"/>
                  <a:pt x="540" y="241"/>
                </a:cubicBezTo>
                <a:cubicBezTo>
                  <a:pt x="562" y="263"/>
                  <a:pt x="562" y="299"/>
                  <a:pt x="540" y="321"/>
                </a:cubicBezTo>
                <a:cubicBezTo>
                  <a:pt x="401" y="459"/>
                  <a:pt x="401" y="459"/>
                  <a:pt x="401" y="459"/>
                </a:cubicBezTo>
                <a:cubicBezTo>
                  <a:pt x="335" y="525"/>
                  <a:pt x="227" y="525"/>
                  <a:pt x="161" y="459"/>
                </a:cubicBezTo>
                <a:cubicBezTo>
                  <a:pt x="22" y="321"/>
                  <a:pt x="22" y="321"/>
                  <a:pt x="22" y="321"/>
                </a:cubicBezTo>
                <a:cubicBezTo>
                  <a:pt x="0" y="299"/>
                  <a:pt x="0" y="263"/>
                  <a:pt x="22" y="241"/>
                </a:cubicBezTo>
                <a:close/>
              </a:path>
            </a:pathLst>
          </a:custGeom>
          <a:gradFill>
            <a:gsLst>
              <a:gs pos="73000">
                <a:schemeClr val="accent1"/>
              </a:gs>
              <a:gs pos="31000">
                <a:schemeClr val="accent1">
                  <a:lumMod val="60000"/>
                  <a:lumOff val="40000"/>
                </a:schemeClr>
              </a:gs>
              <a:gs pos="0">
                <a:schemeClr val="accent1">
                  <a:lumMod val="40000"/>
                  <a:lumOff val="60000"/>
                </a:schemeClr>
              </a:gs>
            </a:gsLst>
            <a:path path="circle">
              <a:fillToRect r="100000" b="100000"/>
            </a:path>
          </a:gradFill>
          <a:ln>
            <a:noFill/>
          </a:ln>
          <a:effectLst>
            <a:outerShdw blurRad="444500" dist="317500" dir="5400000" sx="92000" sy="92000" algn="t" rotWithShape="0">
              <a:schemeClr val="accent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16" name="Rectangle 71">
            <a:extLst>
              <a:ext uri="{FF2B5EF4-FFF2-40B4-BE49-F238E27FC236}">
                <a16:creationId xmlns:a16="http://schemas.microsoft.com/office/drawing/2014/main" id="{1C86F9C4-BF13-48F1-B811-71304FD0184C}"/>
              </a:ext>
            </a:extLst>
          </p:cNvPr>
          <p:cNvSpPr/>
          <p:nvPr/>
        </p:nvSpPr>
        <p:spPr>
          <a:xfrm>
            <a:off x="3784946" y="2948008"/>
            <a:ext cx="1877737" cy="372218"/>
          </a:xfrm>
          <a:prstGeom prst="rect">
            <a:avLst/>
          </a:prstGeom>
        </p:spPr>
        <p:txBody>
          <a:bodyPr wrap="square">
            <a:spAutoFit/>
          </a:body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0" lang="zh-CN" altLang="en-US" sz="1600" b="0" i="0" u="none" strike="noStrike" kern="1200" cap="none" spc="0" normalizeH="0" baseline="0" noProof="0" dirty="0">
                <a:ln>
                  <a:noFill/>
                </a:ln>
                <a:solidFill>
                  <a:prstClr val="white"/>
                </a:solidFill>
                <a:effectLst/>
                <a:uLnTx/>
                <a:uFillTx/>
                <a:latin typeface="HarmonyOS Sans SC Black"/>
                <a:ea typeface="+mj-ea"/>
                <a:cs typeface="Segoe UI" panose="020B0502040204020203" pitchFamily="34" charset="0"/>
              </a:rPr>
              <a:t>关键词标题</a:t>
            </a:r>
            <a:endParaRPr kumimoji="0" lang="en-US" sz="1600" b="0" i="0" u="none" strike="noStrike" kern="1200" cap="none" spc="0" normalizeH="0" baseline="0" noProof="0" dirty="0">
              <a:ln>
                <a:noFill/>
              </a:ln>
              <a:solidFill>
                <a:prstClr val="white"/>
              </a:solidFill>
              <a:effectLst/>
              <a:uLnTx/>
              <a:uFillTx/>
              <a:latin typeface="HarmonyOS Sans SC Black"/>
              <a:ea typeface="+mj-ea"/>
              <a:cs typeface="Segoe UI" panose="020B0502040204020203" pitchFamily="34" charset="0"/>
            </a:endParaRPr>
          </a:p>
        </p:txBody>
      </p:sp>
      <p:sp>
        <p:nvSpPr>
          <p:cNvPr id="17" name="Rectangle 72">
            <a:extLst>
              <a:ext uri="{FF2B5EF4-FFF2-40B4-BE49-F238E27FC236}">
                <a16:creationId xmlns:a16="http://schemas.microsoft.com/office/drawing/2014/main" id="{12A5ECF0-6D1F-4758-956F-B6C83EE51F93}"/>
              </a:ext>
            </a:extLst>
          </p:cNvPr>
          <p:cNvSpPr/>
          <p:nvPr/>
        </p:nvSpPr>
        <p:spPr>
          <a:xfrm>
            <a:off x="3784946" y="3313236"/>
            <a:ext cx="1877737" cy="464614"/>
          </a:xfrm>
          <a:prstGeom prst="rect">
            <a:avLst/>
          </a:prstGeom>
        </p:spPr>
        <p:txBody>
          <a:bodyPr wrap="square">
            <a:spAutoFit/>
          </a:body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0" lang="id-ID" sz="1050" b="0" i="0" u="none" strike="noStrike" kern="1200" cap="none" spc="0" normalizeH="0" baseline="0" noProof="0" dirty="0">
                <a:ln>
                  <a:noFill/>
                </a:ln>
                <a:solidFill>
                  <a:prstClr val="white"/>
                </a:solidFill>
                <a:effectLst/>
                <a:uLnTx/>
                <a:uFillTx/>
                <a:latin typeface="HarmonyOS Sans SC"/>
                <a:cs typeface="Segoe UI Light" panose="020B0502040204020203" pitchFamily="34" charset="0"/>
              </a:rPr>
              <a:t>Vivamus quam dolor, tempor ac gravida sit</a:t>
            </a:r>
            <a:endParaRPr kumimoji="0" lang="en-US" sz="1050" b="0" i="0" u="none" strike="noStrike" kern="1200" cap="none" spc="0" normalizeH="0" baseline="0" noProof="0" dirty="0">
              <a:ln>
                <a:noFill/>
              </a:ln>
              <a:solidFill>
                <a:prstClr val="white"/>
              </a:solidFill>
              <a:effectLst/>
              <a:uLnTx/>
              <a:uFillTx/>
              <a:latin typeface="HarmonyOS Sans SC"/>
              <a:cs typeface="Segoe UI Light" panose="020B0502040204020203" pitchFamily="34" charset="0"/>
            </a:endParaRPr>
          </a:p>
        </p:txBody>
      </p:sp>
      <p:sp>
        <p:nvSpPr>
          <p:cNvPr id="18" name="Rectangle 34">
            <a:extLst>
              <a:ext uri="{FF2B5EF4-FFF2-40B4-BE49-F238E27FC236}">
                <a16:creationId xmlns:a16="http://schemas.microsoft.com/office/drawing/2014/main" id="{4CBAAFD0-B21F-4DF2-AE55-625FC61BAD77}"/>
              </a:ext>
            </a:extLst>
          </p:cNvPr>
          <p:cNvSpPr/>
          <p:nvPr/>
        </p:nvSpPr>
        <p:spPr>
          <a:xfrm>
            <a:off x="1451786" y="4649650"/>
            <a:ext cx="9288429" cy="1348190"/>
          </a:xfrm>
          <a:prstGeom prst="rect">
            <a:avLst/>
          </a:prstGeom>
        </p:spPr>
        <p:txBody>
          <a:bodyPr wrap="square">
            <a:sp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0" lang="id-ID" sz="1400" b="0" i="0" u="none" strike="noStrike" kern="1200" cap="none" spc="0" normalizeH="0" baseline="0" noProof="0" dirty="0">
                <a:ln>
                  <a:noFill/>
                </a:ln>
                <a:solidFill>
                  <a:prstClr val="black">
                    <a:lumMod val="50000"/>
                    <a:lumOff val="50000"/>
                  </a:prstClr>
                </a:solidFill>
                <a:effectLst/>
                <a:uLnTx/>
                <a:uFillTx/>
                <a:latin typeface="HarmonyOS Sans SC"/>
                <a:cs typeface="Segoe UI Light" panose="020B0502040204020203" pitchFamily="34" charset="0"/>
              </a:rPr>
              <a:t>Vivamus quam dolor, tempor ac gravida sit amet, porta fermentum magna. Aliquam euismod commodo nisl, vel luctus lorem fermentum quis. Duis quis purus adipiscing mi scelerisque dictum quis vel eros. Nullam eu tempor purus. Nunc a leo magna, sit amet consequat risus. Etiam faucibus tortor a ipsum vehicula sed hendrerit eros suscipit.Vestibulum neque elit</a:t>
            </a:r>
            <a:r>
              <a:rPr kumimoji="0" lang="en-US" sz="1400" b="0" i="0" u="none" strike="noStrike" kern="1200" cap="none" spc="0" normalizeH="0" baseline="0" noProof="0" dirty="0">
                <a:ln>
                  <a:noFill/>
                </a:ln>
                <a:solidFill>
                  <a:prstClr val="black">
                    <a:lumMod val="50000"/>
                    <a:lumOff val="50000"/>
                  </a:prstClr>
                </a:solidFill>
                <a:effectLst/>
                <a:uLnTx/>
                <a:uFillTx/>
                <a:latin typeface="HarmonyOS Sans SC"/>
                <a:cs typeface="Segoe UI Light" panose="020B0502040204020203" pitchFamily="34" charset="0"/>
              </a:rPr>
              <a:t>.</a:t>
            </a:r>
          </a:p>
        </p:txBody>
      </p:sp>
      <p:sp>
        <p:nvSpPr>
          <p:cNvPr id="22" name="文本框 21">
            <a:extLst>
              <a:ext uri="{FF2B5EF4-FFF2-40B4-BE49-F238E27FC236}">
                <a16:creationId xmlns:a16="http://schemas.microsoft.com/office/drawing/2014/main" id="{1B08736C-2F70-4C48-975C-DE596A4D470F}"/>
              </a:ext>
            </a:extLst>
          </p:cNvPr>
          <p:cNvSpPr txBox="1"/>
          <p:nvPr/>
        </p:nvSpPr>
        <p:spPr>
          <a:xfrm>
            <a:off x="4608252" y="918105"/>
            <a:ext cx="2975495" cy="52322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2800" b="0" i="0" u="none" strike="noStrike" kern="1200" cap="none" spc="0" normalizeH="0" baseline="0" noProof="0" dirty="0">
                <a:ln>
                  <a:noFill/>
                </a:ln>
                <a:solidFill>
                  <a:prstClr val="black"/>
                </a:solidFill>
                <a:effectLst/>
                <a:uLnTx/>
                <a:uFillTx/>
                <a:latin typeface="HarmonyOS Sans Black"/>
                <a:ea typeface="+mj-ea"/>
                <a:cs typeface="+mn-cs"/>
              </a:rPr>
              <a:t>Our </a:t>
            </a:r>
            <a:r>
              <a:rPr kumimoji="0" lang="en-US" altLang="zh-CN" sz="2800" b="0" i="0" u="none" strike="noStrike" kern="1200" cap="none" spc="0" normalizeH="0" baseline="0" noProof="0" dirty="0">
                <a:ln>
                  <a:noFill/>
                </a:ln>
                <a:solidFill>
                  <a:schemeClr val="accent1"/>
                </a:solidFill>
                <a:effectLst/>
                <a:uLnTx/>
                <a:uFillTx/>
                <a:latin typeface="HarmonyOS Sans Black"/>
                <a:ea typeface="+mj-ea"/>
                <a:cs typeface="+mn-cs"/>
              </a:rPr>
              <a:t>Infographic</a:t>
            </a:r>
          </a:p>
        </p:txBody>
      </p:sp>
      <p:sp>
        <p:nvSpPr>
          <p:cNvPr id="23" name="TextBox 26">
            <a:extLst>
              <a:ext uri="{FF2B5EF4-FFF2-40B4-BE49-F238E27FC236}">
                <a16:creationId xmlns:a16="http://schemas.microsoft.com/office/drawing/2014/main" id="{069E6B4E-2576-46E6-A1D2-AB156331696E}"/>
              </a:ext>
            </a:extLst>
          </p:cNvPr>
          <p:cNvSpPr txBox="1"/>
          <p:nvPr/>
        </p:nvSpPr>
        <p:spPr>
          <a:xfrm>
            <a:off x="3486150" y="1427611"/>
            <a:ext cx="5219700" cy="254163"/>
          </a:xfrm>
          <a:prstGeom prst="rect">
            <a:avLst/>
          </a:prstGeom>
          <a:noFill/>
        </p:spPr>
        <p:txBody>
          <a:bodyPr wrap="square" lIns="0" tIns="36000" rIns="0" bIns="36000" rtlCol="0">
            <a:spAutoFit/>
          </a:bodyPr>
          <a:lstStyle/>
          <a:p>
            <a:pPr marL="0" marR="0" lvl="0" indent="0" algn="ctr" defTabSz="914400" rtl="0" eaLnBrk="1" fontAlgn="auto" latinLnBrk="0" hangingPunct="1">
              <a:lnSpc>
                <a:spcPct val="130000"/>
              </a:lnSpc>
              <a:spcBef>
                <a:spcPts val="100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alpha val="70000"/>
                  </a:prstClr>
                </a:solidFill>
                <a:effectLst/>
                <a:uLnTx/>
                <a:uFillTx/>
                <a:latin typeface="HarmonyOS Sans SC"/>
                <a:cs typeface="+mn-cs"/>
              </a:rPr>
              <a:t>There Are Many Variations Of Passages Of </a:t>
            </a:r>
          </a:p>
        </p:txBody>
      </p:sp>
    </p:spTree>
    <p:extLst>
      <p:ext uri="{BB962C8B-B14F-4D97-AF65-F5344CB8AC3E}">
        <p14:creationId xmlns:p14="http://schemas.microsoft.com/office/powerpoint/2010/main" val="1281656958"/>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4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utoShape 9">
            <a:extLst>
              <a:ext uri="{FF2B5EF4-FFF2-40B4-BE49-F238E27FC236}">
                <a16:creationId xmlns:a16="http://schemas.microsoft.com/office/drawing/2014/main" id="{ED97000B-D14A-4A09-8A0E-CEF88B490F1A}"/>
              </a:ext>
            </a:extLst>
          </p:cNvPr>
          <p:cNvSpPr>
            <a:spLocks noChangeAspect="1" noChangeArrowheads="1" noTextEdit="1"/>
          </p:cNvSpPr>
          <p:nvPr/>
        </p:nvSpPr>
        <p:spPr bwMode="auto">
          <a:xfrm>
            <a:off x="2469311" y="2178337"/>
            <a:ext cx="2791028" cy="2142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sp>
        <p:nvSpPr>
          <p:cNvPr id="3" name="AutoShape 9">
            <a:extLst>
              <a:ext uri="{FF2B5EF4-FFF2-40B4-BE49-F238E27FC236}">
                <a16:creationId xmlns:a16="http://schemas.microsoft.com/office/drawing/2014/main" id="{F06323C7-E78F-46D7-BB72-4BAD9E328BE9}"/>
              </a:ext>
            </a:extLst>
          </p:cNvPr>
          <p:cNvSpPr>
            <a:spLocks noChangeAspect="1" noChangeArrowheads="1" noTextEdit="1"/>
          </p:cNvSpPr>
          <p:nvPr/>
        </p:nvSpPr>
        <p:spPr bwMode="auto">
          <a:xfrm>
            <a:off x="7481995" y="2178337"/>
            <a:ext cx="2791028" cy="2142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sp>
        <p:nvSpPr>
          <p:cNvPr id="5" name="Freeform 11">
            <a:extLst>
              <a:ext uri="{FF2B5EF4-FFF2-40B4-BE49-F238E27FC236}">
                <a16:creationId xmlns:a16="http://schemas.microsoft.com/office/drawing/2014/main" id="{2FAE4E7C-77B4-40EA-AD12-271F36F6AFC5}"/>
              </a:ext>
            </a:extLst>
          </p:cNvPr>
          <p:cNvSpPr>
            <a:spLocks/>
          </p:cNvSpPr>
          <p:nvPr/>
        </p:nvSpPr>
        <p:spPr bwMode="auto">
          <a:xfrm>
            <a:off x="8735167" y="2178336"/>
            <a:ext cx="571932" cy="587183"/>
          </a:xfrm>
          <a:custGeom>
            <a:avLst/>
            <a:gdLst>
              <a:gd name="T0" fmla="*/ 126 w 126"/>
              <a:gd name="T1" fmla="*/ 129 h 129"/>
              <a:gd name="T2" fmla="*/ 83 w 126"/>
              <a:gd name="T3" fmla="*/ 129 h 129"/>
              <a:gd name="T4" fmla="*/ 0 w 126"/>
              <a:gd name="T5" fmla="*/ 64 h 129"/>
              <a:gd name="T6" fmla="*/ 0 w 126"/>
              <a:gd name="T7" fmla="*/ 64 h 129"/>
              <a:gd name="T8" fmla="*/ 83 w 126"/>
              <a:gd name="T9" fmla="*/ 0 h 129"/>
              <a:gd name="T10" fmla="*/ 126 w 126"/>
              <a:gd name="T11" fmla="*/ 0 h 129"/>
              <a:gd name="T12" fmla="*/ 126 w 126"/>
              <a:gd name="T13" fmla="*/ 129 h 129"/>
            </a:gdLst>
            <a:ahLst/>
            <a:cxnLst>
              <a:cxn ang="0">
                <a:pos x="T0" y="T1"/>
              </a:cxn>
              <a:cxn ang="0">
                <a:pos x="T2" y="T3"/>
              </a:cxn>
              <a:cxn ang="0">
                <a:pos x="T4" y="T5"/>
              </a:cxn>
              <a:cxn ang="0">
                <a:pos x="T6" y="T7"/>
              </a:cxn>
              <a:cxn ang="0">
                <a:pos x="T8" y="T9"/>
              </a:cxn>
              <a:cxn ang="0">
                <a:pos x="T10" y="T11"/>
              </a:cxn>
              <a:cxn ang="0">
                <a:pos x="T12" y="T13"/>
              </a:cxn>
            </a:cxnLst>
            <a:rect l="0" t="0" r="r" b="b"/>
            <a:pathLst>
              <a:path w="126" h="129">
                <a:moveTo>
                  <a:pt x="126" y="129"/>
                </a:moveTo>
                <a:cubicBezTo>
                  <a:pt x="83" y="129"/>
                  <a:pt x="83" y="129"/>
                  <a:pt x="83" y="129"/>
                </a:cubicBezTo>
                <a:cubicBezTo>
                  <a:pt x="37" y="129"/>
                  <a:pt x="0" y="100"/>
                  <a:pt x="0" y="64"/>
                </a:cubicBezTo>
                <a:cubicBezTo>
                  <a:pt x="0" y="64"/>
                  <a:pt x="0" y="64"/>
                  <a:pt x="0" y="64"/>
                </a:cubicBezTo>
                <a:cubicBezTo>
                  <a:pt x="0" y="28"/>
                  <a:pt x="37" y="0"/>
                  <a:pt x="83" y="0"/>
                </a:cubicBezTo>
                <a:cubicBezTo>
                  <a:pt x="126" y="0"/>
                  <a:pt x="126" y="0"/>
                  <a:pt x="126" y="0"/>
                </a:cubicBezTo>
                <a:lnTo>
                  <a:pt x="126" y="129"/>
                </a:lnTo>
                <a:close/>
              </a:path>
            </a:pathLst>
          </a:custGeom>
          <a:gradFill flip="none" rotWithShape="1">
            <a:gsLst>
              <a:gs pos="70000">
                <a:schemeClr val="accent1"/>
              </a:gs>
              <a:gs pos="0">
                <a:schemeClr val="accent1">
                  <a:lumMod val="60000"/>
                  <a:lumOff val="40000"/>
                </a:schemeClr>
              </a:gs>
            </a:gsLst>
            <a:lin ang="810000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6" name="Freeform 12">
            <a:extLst>
              <a:ext uri="{FF2B5EF4-FFF2-40B4-BE49-F238E27FC236}">
                <a16:creationId xmlns:a16="http://schemas.microsoft.com/office/drawing/2014/main" id="{522973A2-09C8-4E8D-A9BE-AAEE99FD1FFB}"/>
              </a:ext>
            </a:extLst>
          </p:cNvPr>
          <p:cNvSpPr>
            <a:spLocks/>
          </p:cNvSpPr>
          <p:nvPr/>
        </p:nvSpPr>
        <p:spPr bwMode="auto">
          <a:xfrm>
            <a:off x="8735167" y="2470022"/>
            <a:ext cx="2791028" cy="1851154"/>
          </a:xfrm>
          <a:custGeom>
            <a:avLst/>
            <a:gdLst>
              <a:gd name="T0" fmla="*/ 444 w 615"/>
              <a:gd name="T1" fmla="*/ 407 h 407"/>
              <a:gd name="T2" fmla="*/ 83 w 615"/>
              <a:gd name="T3" fmla="*/ 407 h 407"/>
              <a:gd name="T4" fmla="*/ 0 w 615"/>
              <a:gd name="T5" fmla="*/ 342 h 407"/>
              <a:gd name="T6" fmla="*/ 0 w 615"/>
              <a:gd name="T7" fmla="*/ 342 h 407"/>
              <a:gd name="T8" fmla="*/ 0 w 615"/>
              <a:gd name="T9" fmla="*/ 0 h 407"/>
              <a:gd name="T10" fmla="*/ 83 w 615"/>
              <a:gd name="T11" fmla="*/ 65 h 407"/>
              <a:gd name="T12" fmla="*/ 444 w 615"/>
              <a:gd name="T13" fmla="*/ 65 h 407"/>
              <a:gd name="T14" fmla="*/ 444 w 615"/>
              <a:gd name="T15" fmla="*/ 65 h 407"/>
              <a:gd name="T16" fmla="*/ 615 w 615"/>
              <a:gd name="T17" fmla="*/ 236 h 407"/>
              <a:gd name="T18" fmla="*/ 444 w 615"/>
              <a:gd name="T19" fmla="*/ 407 h 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5" h="407">
                <a:moveTo>
                  <a:pt x="444" y="407"/>
                </a:moveTo>
                <a:cubicBezTo>
                  <a:pt x="83" y="407"/>
                  <a:pt x="83" y="407"/>
                  <a:pt x="83" y="407"/>
                </a:cubicBezTo>
                <a:cubicBezTo>
                  <a:pt x="37" y="407"/>
                  <a:pt x="0" y="378"/>
                  <a:pt x="0" y="342"/>
                </a:cubicBezTo>
                <a:cubicBezTo>
                  <a:pt x="0" y="342"/>
                  <a:pt x="0" y="342"/>
                  <a:pt x="0" y="342"/>
                </a:cubicBezTo>
                <a:cubicBezTo>
                  <a:pt x="0" y="0"/>
                  <a:pt x="0" y="0"/>
                  <a:pt x="0" y="0"/>
                </a:cubicBezTo>
                <a:cubicBezTo>
                  <a:pt x="0" y="36"/>
                  <a:pt x="37" y="65"/>
                  <a:pt x="83" y="65"/>
                </a:cubicBezTo>
                <a:cubicBezTo>
                  <a:pt x="444" y="65"/>
                  <a:pt x="444" y="65"/>
                  <a:pt x="444" y="65"/>
                </a:cubicBezTo>
                <a:cubicBezTo>
                  <a:pt x="444" y="65"/>
                  <a:pt x="444" y="65"/>
                  <a:pt x="444" y="65"/>
                </a:cubicBezTo>
                <a:cubicBezTo>
                  <a:pt x="615" y="236"/>
                  <a:pt x="615" y="236"/>
                  <a:pt x="615" y="236"/>
                </a:cubicBezTo>
                <a:lnTo>
                  <a:pt x="444" y="407"/>
                </a:lnTo>
                <a:close/>
              </a:path>
            </a:pathLst>
          </a:custGeom>
          <a:gradFill flip="none" rotWithShape="1">
            <a:gsLst>
              <a:gs pos="100000">
                <a:schemeClr val="accent1"/>
              </a:gs>
              <a:gs pos="31000">
                <a:schemeClr val="accent1">
                  <a:lumMod val="60000"/>
                  <a:lumOff val="40000"/>
                </a:schemeClr>
              </a:gs>
              <a:gs pos="0">
                <a:schemeClr val="accent1">
                  <a:lumMod val="40000"/>
                  <a:lumOff val="60000"/>
                </a:schemeClr>
              </a:gs>
            </a:gsLst>
            <a:lin ang="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HarmonyOS Sans SC"/>
              <a:cs typeface="+mn-cs"/>
            </a:endParaRPr>
          </a:p>
        </p:txBody>
      </p:sp>
      <p:sp>
        <p:nvSpPr>
          <p:cNvPr id="7" name="Freeform 13">
            <a:extLst>
              <a:ext uri="{FF2B5EF4-FFF2-40B4-BE49-F238E27FC236}">
                <a16:creationId xmlns:a16="http://schemas.microsoft.com/office/drawing/2014/main" id="{59BC87A1-6976-4AB5-8BE7-45513E2994FD}"/>
              </a:ext>
            </a:extLst>
          </p:cNvPr>
          <p:cNvSpPr>
            <a:spLocks/>
          </p:cNvSpPr>
          <p:nvPr/>
        </p:nvSpPr>
        <p:spPr bwMode="auto">
          <a:xfrm>
            <a:off x="8735167" y="2470022"/>
            <a:ext cx="2791028" cy="1090484"/>
          </a:xfrm>
          <a:custGeom>
            <a:avLst/>
            <a:gdLst>
              <a:gd name="T0" fmla="*/ 441 w 615"/>
              <a:gd name="T1" fmla="*/ 70 h 240"/>
              <a:gd name="T2" fmla="*/ 80 w 615"/>
              <a:gd name="T3" fmla="*/ 70 h 240"/>
              <a:gd name="T4" fmla="*/ 0 w 615"/>
              <a:gd name="T5" fmla="*/ 8 h 240"/>
              <a:gd name="T6" fmla="*/ 0 w 615"/>
              <a:gd name="T7" fmla="*/ 0 h 240"/>
              <a:gd name="T8" fmla="*/ 83 w 615"/>
              <a:gd name="T9" fmla="*/ 65 h 240"/>
              <a:gd name="T10" fmla="*/ 444 w 615"/>
              <a:gd name="T11" fmla="*/ 65 h 240"/>
              <a:gd name="T12" fmla="*/ 444 w 615"/>
              <a:gd name="T13" fmla="*/ 65 h 240"/>
              <a:gd name="T14" fmla="*/ 615 w 615"/>
              <a:gd name="T15" fmla="*/ 236 h 240"/>
              <a:gd name="T16" fmla="*/ 611 w 615"/>
              <a:gd name="T17" fmla="*/ 240 h 240"/>
              <a:gd name="T18" fmla="*/ 441 w 615"/>
              <a:gd name="T19" fmla="*/ 70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5" h="240">
                <a:moveTo>
                  <a:pt x="441" y="70"/>
                </a:moveTo>
                <a:cubicBezTo>
                  <a:pt x="80" y="70"/>
                  <a:pt x="80" y="70"/>
                  <a:pt x="80" y="70"/>
                </a:cubicBezTo>
                <a:cubicBezTo>
                  <a:pt x="34" y="70"/>
                  <a:pt x="0" y="44"/>
                  <a:pt x="0" y="8"/>
                </a:cubicBezTo>
                <a:cubicBezTo>
                  <a:pt x="0" y="0"/>
                  <a:pt x="0" y="0"/>
                  <a:pt x="0" y="0"/>
                </a:cubicBezTo>
                <a:cubicBezTo>
                  <a:pt x="0" y="36"/>
                  <a:pt x="37" y="65"/>
                  <a:pt x="83" y="65"/>
                </a:cubicBezTo>
                <a:cubicBezTo>
                  <a:pt x="444" y="65"/>
                  <a:pt x="444" y="65"/>
                  <a:pt x="444" y="65"/>
                </a:cubicBezTo>
                <a:cubicBezTo>
                  <a:pt x="444" y="65"/>
                  <a:pt x="444" y="65"/>
                  <a:pt x="444" y="65"/>
                </a:cubicBezTo>
                <a:cubicBezTo>
                  <a:pt x="615" y="236"/>
                  <a:pt x="615" y="236"/>
                  <a:pt x="615" y="236"/>
                </a:cubicBezTo>
                <a:cubicBezTo>
                  <a:pt x="611" y="240"/>
                  <a:pt x="611" y="240"/>
                  <a:pt x="611" y="240"/>
                </a:cubicBezTo>
                <a:lnTo>
                  <a:pt x="441" y="70"/>
                </a:lnTo>
                <a:close/>
              </a:path>
            </a:pathLst>
          </a:custGeom>
          <a:gradFill>
            <a:gsLst>
              <a:gs pos="100000">
                <a:schemeClr val="accent1"/>
              </a:gs>
              <a:gs pos="63000">
                <a:schemeClr val="accent1">
                  <a:lumMod val="60000"/>
                  <a:lumOff val="40000"/>
                </a:schemeClr>
              </a:gs>
            </a:gsLst>
            <a:lin ang="0" scaled="0"/>
          </a:gradFill>
          <a:ln>
            <a:noFill/>
          </a:ln>
        </p:spPr>
        <p:txBody>
          <a:bodyPr vert="horz" wrap="square" lIns="91440" tIns="45720" rIns="91440" bIns="45720" numCol="1" anchor="t"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white"/>
              </a:solidFill>
              <a:effectLst/>
              <a:uLnTx/>
              <a:uFillTx/>
              <a:latin typeface="Open Sans"/>
              <a:cs typeface="+mn-cs"/>
            </a:endParaRPr>
          </a:p>
        </p:txBody>
      </p:sp>
      <p:sp>
        <p:nvSpPr>
          <p:cNvPr id="9" name="Freeform 11">
            <a:extLst>
              <a:ext uri="{FF2B5EF4-FFF2-40B4-BE49-F238E27FC236}">
                <a16:creationId xmlns:a16="http://schemas.microsoft.com/office/drawing/2014/main" id="{2362887E-4D32-4E71-8AE3-6ADA8968FD8A}"/>
              </a:ext>
            </a:extLst>
          </p:cNvPr>
          <p:cNvSpPr>
            <a:spLocks/>
          </p:cNvSpPr>
          <p:nvPr/>
        </p:nvSpPr>
        <p:spPr bwMode="auto">
          <a:xfrm>
            <a:off x="6228824" y="2178336"/>
            <a:ext cx="571932" cy="587183"/>
          </a:xfrm>
          <a:custGeom>
            <a:avLst/>
            <a:gdLst>
              <a:gd name="T0" fmla="*/ 126 w 126"/>
              <a:gd name="T1" fmla="*/ 129 h 129"/>
              <a:gd name="T2" fmla="*/ 83 w 126"/>
              <a:gd name="T3" fmla="*/ 129 h 129"/>
              <a:gd name="T4" fmla="*/ 0 w 126"/>
              <a:gd name="T5" fmla="*/ 64 h 129"/>
              <a:gd name="T6" fmla="*/ 0 w 126"/>
              <a:gd name="T7" fmla="*/ 64 h 129"/>
              <a:gd name="T8" fmla="*/ 83 w 126"/>
              <a:gd name="T9" fmla="*/ 0 h 129"/>
              <a:gd name="T10" fmla="*/ 126 w 126"/>
              <a:gd name="T11" fmla="*/ 0 h 129"/>
              <a:gd name="T12" fmla="*/ 126 w 126"/>
              <a:gd name="T13" fmla="*/ 129 h 129"/>
            </a:gdLst>
            <a:ahLst/>
            <a:cxnLst>
              <a:cxn ang="0">
                <a:pos x="T0" y="T1"/>
              </a:cxn>
              <a:cxn ang="0">
                <a:pos x="T2" y="T3"/>
              </a:cxn>
              <a:cxn ang="0">
                <a:pos x="T4" y="T5"/>
              </a:cxn>
              <a:cxn ang="0">
                <a:pos x="T6" y="T7"/>
              </a:cxn>
              <a:cxn ang="0">
                <a:pos x="T8" y="T9"/>
              </a:cxn>
              <a:cxn ang="0">
                <a:pos x="T10" y="T11"/>
              </a:cxn>
              <a:cxn ang="0">
                <a:pos x="T12" y="T13"/>
              </a:cxn>
            </a:cxnLst>
            <a:rect l="0" t="0" r="r" b="b"/>
            <a:pathLst>
              <a:path w="126" h="129">
                <a:moveTo>
                  <a:pt x="126" y="129"/>
                </a:moveTo>
                <a:cubicBezTo>
                  <a:pt x="83" y="129"/>
                  <a:pt x="83" y="129"/>
                  <a:pt x="83" y="129"/>
                </a:cubicBezTo>
                <a:cubicBezTo>
                  <a:pt x="37" y="129"/>
                  <a:pt x="0" y="100"/>
                  <a:pt x="0" y="64"/>
                </a:cubicBezTo>
                <a:cubicBezTo>
                  <a:pt x="0" y="64"/>
                  <a:pt x="0" y="64"/>
                  <a:pt x="0" y="64"/>
                </a:cubicBezTo>
                <a:cubicBezTo>
                  <a:pt x="0" y="28"/>
                  <a:pt x="37" y="0"/>
                  <a:pt x="83" y="0"/>
                </a:cubicBezTo>
                <a:cubicBezTo>
                  <a:pt x="126" y="0"/>
                  <a:pt x="126" y="0"/>
                  <a:pt x="126" y="0"/>
                </a:cubicBezTo>
                <a:lnTo>
                  <a:pt x="126" y="129"/>
                </a:lnTo>
                <a:close/>
              </a:path>
            </a:pathLst>
          </a:custGeom>
          <a:gradFill flip="none" rotWithShape="1">
            <a:gsLst>
              <a:gs pos="70000">
                <a:schemeClr val="accent1"/>
              </a:gs>
              <a:gs pos="0">
                <a:schemeClr val="accent1">
                  <a:lumMod val="60000"/>
                  <a:lumOff val="40000"/>
                </a:schemeClr>
              </a:gs>
            </a:gsLst>
            <a:lin ang="810000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10" name="Freeform 12">
            <a:extLst>
              <a:ext uri="{FF2B5EF4-FFF2-40B4-BE49-F238E27FC236}">
                <a16:creationId xmlns:a16="http://schemas.microsoft.com/office/drawing/2014/main" id="{5C08CA2E-EE45-4B04-B406-5E1389AECB21}"/>
              </a:ext>
            </a:extLst>
          </p:cNvPr>
          <p:cNvSpPr>
            <a:spLocks/>
          </p:cNvSpPr>
          <p:nvPr/>
        </p:nvSpPr>
        <p:spPr bwMode="auto">
          <a:xfrm>
            <a:off x="6228824" y="2470022"/>
            <a:ext cx="2791028" cy="1851154"/>
          </a:xfrm>
          <a:custGeom>
            <a:avLst/>
            <a:gdLst>
              <a:gd name="T0" fmla="*/ 444 w 615"/>
              <a:gd name="T1" fmla="*/ 407 h 407"/>
              <a:gd name="T2" fmla="*/ 83 w 615"/>
              <a:gd name="T3" fmla="*/ 407 h 407"/>
              <a:gd name="T4" fmla="*/ 0 w 615"/>
              <a:gd name="T5" fmla="*/ 342 h 407"/>
              <a:gd name="T6" fmla="*/ 0 w 615"/>
              <a:gd name="T7" fmla="*/ 342 h 407"/>
              <a:gd name="T8" fmla="*/ 0 w 615"/>
              <a:gd name="T9" fmla="*/ 0 h 407"/>
              <a:gd name="T10" fmla="*/ 83 w 615"/>
              <a:gd name="T11" fmla="*/ 65 h 407"/>
              <a:gd name="T12" fmla="*/ 444 w 615"/>
              <a:gd name="T13" fmla="*/ 65 h 407"/>
              <a:gd name="T14" fmla="*/ 444 w 615"/>
              <a:gd name="T15" fmla="*/ 65 h 407"/>
              <a:gd name="T16" fmla="*/ 615 w 615"/>
              <a:gd name="T17" fmla="*/ 236 h 407"/>
              <a:gd name="T18" fmla="*/ 444 w 615"/>
              <a:gd name="T19" fmla="*/ 407 h 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5" h="407">
                <a:moveTo>
                  <a:pt x="444" y="407"/>
                </a:moveTo>
                <a:cubicBezTo>
                  <a:pt x="83" y="407"/>
                  <a:pt x="83" y="407"/>
                  <a:pt x="83" y="407"/>
                </a:cubicBezTo>
                <a:cubicBezTo>
                  <a:pt x="37" y="407"/>
                  <a:pt x="0" y="378"/>
                  <a:pt x="0" y="342"/>
                </a:cubicBezTo>
                <a:cubicBezTo>
                  <a:pt x="0" y="342"/>
                  <a:pt x="0" y="342"/>
                  <a:pt x="0" y="342"/>
                </a:cubicBezTo>
                <a:cubicBezTo>
                  <a:pt x="0" y="0"/>
                  <a:pt x="0" y="0"/>
                  <a:pt x="0" y="0"/>
                </a:cubicBezTo>
                <a:cubicBezTo>
                  <a:pt x="0" y="36"/>
                  <a:pt x="37" y="65"/>
                  <a:pt x="83" y="65"/>
                </a:cubicBezTo>
                <a:cubicBezTo>
                  <a:pt x="444" y="65"/>
                  <a:pt x="444" y="65"/>
                  <a:pt x="444" y="65"/>
                </a:cubicBezTo>
                <a:cubicBezTo>
                  <a:pt x="444" y="65"/>
                  <a:pt x="444" y="65"/>
                  <a:pt x="444" y="65"/>
                </a:cubicBezTo>
                <a:cubicBezTo>
                  <a:pt x="615" y="236"/>
                  <a:pt x="615" y="236"/>
                  <a:pt x="615" y="236"/>
                </a:cubicBezTo>
                <a:lnTo>
                  <a:pt x="444" y="407"/>
                </a:lnTo>
                <a:close/>
              </a:path>
            </a:pathLst>
          </a:custGeom>
          <a:gradFill flip="none" rotWithShape="1">
            <a:gsLst>
              <a:gs pos="100000">
                <a:schemeClr val="accent1"/>
              </a:gs>
              <a:gs pos="31000">
                <a:schemeClr val="accent1">
                  <a:lumMod val="60000"/>
                  <a:lumOff val="40000"/>
                </a:schemeClr>
              </a:gs>
              <a:gs pos="0">
                <a:schemeClr val="accent1">
                  <a:lumMod val="40000"/>
                  <a:lumOff val="60000"/>
                </a:schemeClr>
              </a:gs>
            </a:gsLst>
            <a:lin ang="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HarmonyOS Sans SC"/>
              <a:cs typeface="+mn-cs"/>
            </a:endParaRPr>
          </a:p>
        </p:txBody>
      </p:sp>
      <p:sp>
        <p:nvSpPr>
          <p:cNvPr id="11" name="Freeform 13">
            <a:extLst>
              <a:ext uri="{FF2B5EF4-FFF2-40B4-BE49-F238E27FC236}">
                <a16:creationId xmlns:a16="http://schemas.microsoft.com/office/drawing/2014/main" id="{C7ABFEAC-B145-4370-A1E5-C11FDAE4EA38}"/>
              </a:ext>
            </a:extLst>
          </p:cNvPr>
          <p:cNvSpPr>
            <a:spLocks/>
          </p:cNvSpPr>
          <p:nvPr/>
        </p:nvSpPr>
        <p:spPr bwMode="auto">
          <a:xfrm>
            <a:off x="6228824" y="2470022"/>
            <a:ext cx="2791028" cy="1090484"/>
          </a:xfrm>
          <a:custGeom>
            <a:avLst/>
            <a:gdLst>
              <a:gd name="T0" fmla="*/ 441 w 615"/>
              <a:gd name="T1" fmla="*/ 70 h 240"/>
              <a:gd name="T2" fmla="*/ 80 w 615"/>
              <a:gd name="T3" fmla="*/ 70 h 240"/>
              <a:gd name="T4" fmla="*/ 0 w 615"/>
              <a:gd name="T5" fmla="*/ 8 h 240"/>
              <a:gd name="T6" fmla="*/ 0 w 615"/>
              <a:gd name="T7" fmla="*/ 0 h 240"/>
              <a:gd name="T8" fmla="*/ 83 w 615"/>
              <a:gd name="T9" fmla="*/ 65 h 240"/>
              <a:gd name="T10" fmla="*/ 444 w 615"/>
              <a:gd name="T11" fmla="*/ 65 h 240"/>
              <a:gd name="T12" fmla="*/ 444 w 615"/>
              <a:gd name="T13" fmla="*/ 65 h 240"/>
              <a:gd name="T14" fmla="*/ 615 w 615"/>
              <a:gd name="T15" fmla="*/ 236 h 240"/>
              <a:gd name="T16" fmla="*/ 611 w 615"/>
              <a:gd name="T17" fmla="*/ 240 h 240"/>
              <a:gd name="T18" fmla="*/ 441 w 615"/>
              <a:gd name="T19" fmla="*/ 70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5" h="240">
                <a:moveTo>
                  <a:pt x="441" y="70"/>
                </a:moveTo>
                <a:cubicBezTo>
                  <a:pt x="80" y="70"/>
                  <a:pt x="80" y="70"/>
                  <a:pt x="80" y="70"/>
                </a:cubicBezTo>
                <a:cubicBezTo>
                  <a:pt x="34" y="70"/>
                  <a:pt x="0" y="44"/>
                  <a:pt x="0" y="8"/>
                </a:cubicBezTo>
                <a:cubicBezTo>
                  <a:pt x="0" y="0"/>
                  <a:pt x="0" y="0"/>
                  <a:pt x="0" y="0"/>
                </a:cubicBezTo>
                <a:cubicBezTo>
                  <a:pt x="0" y="36"/>
                  <a:pt x="37" y="65"/>
                  <a:pt x="83" y="65"/>
                </a:cubicBezTo>
                <a:cubicBezTo>
                  <a:pt x="444" y="65"/>
                  <a:pt x="444" y="65"/>
                  <a:pt x="444" y="65"/>
                </a:cubicBezTo>
                <a:cubicBezTo>
                  <a:pt x="444" y="65"/>
                  <a:pt x="444" y="65"/>
                  <a:pt x="444" y="65"/>
                </a:cubicBezTo>
                <a:cubicBezTo>
                  <a:pt x="615" y="236"/>
                  <a:pt x="615" y="236"/>
                  <a:pt x="615" y="236"/>
                </a:cubicBezTo>
                <a:cubicBezTo>
                  <a:pt x="611" y="240"/>
                  <a:pt x="611" y="240"/>
                  <a:pt x="611" y="240"/>
                </a:cubicBezTo>
                <a:lnTo>
                  <a:pt x="441" y="70"/>
                </a:lnTo>
                <a:close/>
              </a:path>
            </a:pathLst>
          </a:custGeom>
          <a:gradFill>
            <a:gsLst>
              <a:gs pos="100000">
                <a:schemeClr val="accent1"/>
              </a:gs>
              <a:gs pos="63000">
                <a:schemeClr val="accent1">
                  <a:lumMod val="60000"/>
                  <a:lumOff val="40000"/>
                </a:schemeClr>
              </a:gs>
            </a:gsLst>
            <a:lin ang="0" scaled="0"/>
          </a:gradFill>
          <a:ln>
            <a:noFill/>
          </a:ln>
        </p:spPr>
        <p:txBody>
          <a:bodyPr vert="horz" wrap="square" lIns="91440" tIns="45720" rIns="91440" bIns="45720" numCol="1" anchor="t"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white"/>
              </a:solidFill>
              <a:effectLst/>
              <a:uLnTx/>
              <a:uFillTx/>
              <a:latin typeface="Open Sans"/>
              <a:cs typeface="+mn-cs"/>
            </a:endParaRPr>
          </a:p>
        </p:txBody>
      </p:sp>
      <p:sp>
        <p:nvSpPr>
          <p:cNvPr id="12" name="AutoShape 9">
            <a:extLst>
              <a:ext uri="{FF2B5EF4-FFF2-40B4-BE49-F238E27FC236}">
                <a16:creationId xmlns:a16="http://schemas.microsoft.com/office/drawing/2014/main" id="{FC235F47-AC5E-4EA5-89DB-7FCC3BA3AF7B}"/>
              </a:ext>
            </a:extLst>
          </p:cNvPr>
          <p:cNvSpPr>
            <a:spLocks noChangeAspect="1" noChangeArrowheads="1" noTextEdit="1"/>
          </p:cNvSpPr>
          <p:nvPr/>
        </p:nvSpPr>
        <p:spPr bwMode="auto">
          <a:xfrm>
            <a:off x="4975653" y="2470023"/>
            <a:ext cx="2791028" cy="2142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sp>
        <p:nvSpPr>
          <p:cNvPr id="14" name="Freeform 11">
            <a:extLst>
              <a:ext uri="{FF2B5EF4-FFF2-40B4-BE49-F238E27FC236}">
                <a16:creationId xmlns:a16="http://schemas.microsoft.com/office/drawing/2014/main" id="{9CF09722-CA2F-4536-B5DC-6EB4F556A764}"/>
              </a:ext>
            </a:extLst>
          </p:cNvPr>
          <p:cNvSpPr>
            <a:spLocks/>
          </p:cNvSpPr>
          <p:nvPr/>
        </p:nvSpPr>
        <p:spPr bwMode="auto">
          <a:xfrm>
            <a:off x="3722482" y="2178337"/>
            <a:ext cx="571932" cy="587183"/>
          </a:xfrm>
          <a:custGeom>
            <a:avLst/>
            <a:gdLst>
              <a:gd name="T0" fmla="*/ 126 w 126"/>
              <a:gd name="T1" fmla="*/ 129 h 129"/>
              <a:gd name="T2" fmla="*/ 83 w 126"/>
              <a:gd name="T3" fmla="*/ 129 h 129"/>
              <a:gd name="T4" fmla="*/ 0 w 126"/>
              <a:gd name="T5" fmla="*/ 64 h 129"/>
              <a:gd name="T6" fmla="*/ 0 w 126"/>
              <a:gd name="T7" fmla="*/ 64 h 129"/>
              <a:gd name="T8" fmla="*/ 83 w 126"/>
              <a:gd name="T9" fmla="*/ 0 h 129"/>
              <a:gd name="T10" fmla="*/ 126 w 126"/>
              <a:gd name="T11" fmla="*/ 0 h 129"/>
              <a:gd name="T12" fmla="*/ 126 w 126"/>
              <a:gd name="T13" fmla="*/ 129 h 129"/>
            </a:gdLst>
            <a:ahLst/>
            <a:cxnLst>
              <a:cxn ang="0">
                <a:pos x="T0" y="T1"/>
              </a:cxn>
              <a:cxn ang="0">
                <a:pos x="T2" y="T3"/>
              </a:cxn>
              <a:cxn ang="0">
                <a:pos x="T4" y="T5"/>
              </a:cxn>
              <a:cxn ang="0">
                <a:pos x="T6" y="T7"/>
              </a:cxn>
              <a:cxn ang="0">
                <a:pos x="T8" y="T9"/>
              </a:cxn>
              <a:cxn ang="0">
                <a:pos x="T10" y="T11"/>
              </a:cxn>
              <a:cxn ang="0">
                <a:pos x="T12" y="T13"/>
              </a:cxn>
            </a:cxnLst>
            <a:rect l="0" t="0" r="r" b="b"/>
            <a:pathLst>
              <a:path w="126" h="129">
                <a:moveTo>
                  <a:pt x="126" y="129"/>
                </a:moveTo>
                <a:cubicBezTo>
                  <a:pt x="83" y="129"/>
                  <a:pt x="83" y="129"/>
                  <a:pt x="83" y="129"/>
                </a:cubicBezTo>
                <a:cubicBezTo>
                  <a:pt x="37" y="129"/>
                  <a:pt x="0" y="100"/>
                  <a:pt x="0" y="64"/>
                </a:cubicBezTo>
                <a:cubicBezTo>
                  <a:pt x="0" y="64"/>
                  <a:pt x="0" y="64"/>
                  <a:pt x="0" y="64"/>
                </a:cubicBezTo>
                <a:cubicBezTo>
                  <a:pt x="0" y="28"/>
                  <a:pt x="37" y="0"/>
                  <a:pt x="83" y="0"/>
                </a:cubicBezTo>
                <a:cubicBezTo>
                  <a:pt x="126" y="0"/>
                  <a:pt x="126" y="0"/>
                  <a:pt x="126" y="0"/>
                </a:cubicBezTo>
                <a:lnTo>
                  <a:pt x="126" y="129"/>
                </a:lnTo>
                <a:close/>
              </a:path>
            </a:pathLst>
          </a:custGeom>
          <a:gradFill flip="none" rotWithShape="1">
            <a:gsLst>
              <a:gs pos="70000">
                <a:schemeClr val="accent1"/>
              </a:gs>
              <a:gs pos="0">
                <a:schemeClr val="accent1">
                  <a:lumMod val="60000"/>
                  <a:lumOff val="40000"/>
                </a:schemeClr>
              </a:gs>
            </a:gsLst>
            <a:lin ang="810000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15" name="Freeform 12">
            <a:extLst>
              <a:ext uri="{FF2B5EF4-FFF2-40B4-BE49-F238E27FC236}">
                <a16:creationId xmlns:a16="http://schemas.microsoft.com/office/drawing/2014/main" id="{DB319DFD-1ED8-45B6-B08D-88A0BD58329B}"/>
              </a:ext>
            </a:extLst>
          </p:cNvPr>
          <p:cNvSpPr>
            <a:spLocks/>
          </p:cNvSpPr>
          <p:nvPr/>
        </p:nvSpPr>
        <p:spPr bwMode="auto">
          <a:xfrm>
            <a:off x="3722482" y="2470023"/>
            <a:ext cx="2791028" cy="1851154"/>
          </a:xfrm>
          <a:custGeom>
            <a:avLst/>
            <a:gdLst>
              <a:gd name="T0" fmla="*/ 444 w 615"/>
              <a:gd name="T1" fmla="*/ 407 h 407"/>
              <a:gd name="T2" fmla="*/ 83 w 615"/>
              <a:gd name="T3" fmla="*/ 407 h 407"/>
              <a:gd name="T4" fmla="*/ 0 w 615"/>
              <a:gd name="T5" fmla="*/ 342 h 407"/>
              <a:gd name="T6" fmla="*/ 0 w 615"/>
              <a:gd name="T7" fmla="*/ 342 h 407"/>
              <a:gd name="T8" fmla="*/ 0 w 615"/>
              <a:gd name="T9" fmla="*/ 0 h 407"/>
              <a:gd name="T10" fmla="*/ 83 w 615"/>
              <a:gd name="T11" fmla="*/ 65 h 407"/>
              <a:gd name="T12" fmla="*/ 444 w 615"/>
              <a:gd name="T13" fmla="*/ 65 h 407"/>
              <a:gd name="T14" fmla="*/ 444 w 615"/>
              <a:gd name="T15" fmla="*/ 65 h 407"/>
              <a:gd name="T16" fmla="*/ 615 w 615"/>
              <a:gd name="T17" fmla="*/ 236 h 407"/>
              <a:gd name="T18" fmla="*/ 444 w 615"/>
              <a:gd name="T19" fmla="*/ 407 h 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5" h="407">
                <a:moveTo>
                  <a:pt x="444" y="407"/>
                </a:moveTo>
                <a:cubicBezTo>
                  <a:pt x="83" y="407"/>
                  <a:pt x="83" y="407"/>
                  <a:pt x="83" y="407"/>
                </a:cubicBezTo>
                <a:cubicBezTo>
                  <a:pt x="37" y="407"/>
                  <a:pt x="0" y="378"/>
                  <a:pt x="0" y="342"/>
                </a:cubicBezTo>
                <a:cubicBezTo>
                  <a:pt x="0" y="342"/>
                  <a:pt x="0" y="342"/>
                  <a:pt x="0" y="342"/>
                </a:cubicBezTo>
                <a:cubicBezTo>
                  <a:pt x="0" y="0"/>
                  <a:pt x="0" y="0"/>
                  <a:pt x="0" y="0"/>
                </a:cubicBezTo>
                <a:cubicBezTo>
                  <a:pt x="0" y="36"/>
                  <a:pt x="37" y="65"/>
                  <a:pt x="83" y="65"/>
                </a:cubicBezTo>
                <a:cubicBezTo>
                  <a:pt x="444" y="65"/>
                  <a:pt x="444" y="65"/>
                  <a:pt x="444" y="65"/>
                </a:cubicBezTo>
                <a:cubicBezTo>
                  <a:pt x="444" y="65"/>
                  <a:pt x="444" y="65"/>
                  <a:pt x="444" y="65"/>
                </a:cubicBezTo>
                <a:cubicBezTo>
                  <a:pt x="615" y="236"/>
                  <a:pt x="615" y="236"/>
                  <a:pt x="615" y="236"/>
                </a:cubicBezTo>
                <a:lnTo>
                  <a:pt x="444" y="407"/>
                </a:lnTo>
                <a:close/>
              </a:path>
            </a:pathLst>
          </a:custGeom>
          <a:gradFill flip="none" rotWithShape="1">
            <a:gsLst>
              <a:gs pos="100000">
                <a:schemeClr val="accent1"/>
              </a:gs>
              <a:gs pos="31000">
                <a:schemeClr val="accent1">
                  <a:lumMod val="60000"/>
                  <a:lumOff val="40000"/>
                </a:schemeClr>
              </a:gs>
              <a:gs pos="0">
                <a:schemeClr val="accent1">
                  <a:lumMod val="40000"/>
                  <a:lumOff val="60000"/>
                </a:schemeClr>
              </a:gs>
            </a:gsLst>
            <a:lin ang="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HarmonyOS Sans SC"/>
              <a:cs typeface="+mn-cs"/>
            </a:endParaRPr>
          </a:p>
        </p:txBody>
      </p:sp>
      <p:sp>
        <p:nvSpPr>
          <p:cNvPr id="16" name="Freeform 13">
            <a:extLst>
              <a:ext uri="{FF2B5EF4-FFF2-40B4-BE49-F238E27FC236}">
                <a16:creationId xmlns:a16="http://schemas.microsoft.com/office/drawing/2014/main" id="{2DA84D18-55D4-46AF-A10A-FEC34E081E64}"/>
              </a:ext>
            </a:extLst>
          </p:cNvPr>
          <p:cNvSpPr>
            <a:spLocks/>
          </p:cNvSpPr>
          <p:nvPr/>
        </p:nvSpPr>
        <p:spPr bwMode="auto">
          <a:xfrm>
            <a:off x="3722482" y="2470023"/>
            <a:ext cx="2791028" cy="1090484"/>
          </a:xfrm>
          <a:custGeom>
            <a:avLst/>
            <a:gdLst>
              <a:gd name="T0" fmla="*/ 441 w 615"/>
              <a:gd name="T1" fmla="*/ 70 h 240"/>
              <a:gd name="T2" fmla="*/ 80 w 615"/>
              <a:gd name="T3" fmla="*/ 70 h 240"/>
              <a:gd name="T4" fmla="*/ 0 w 615"/>
              <a:gd name="T5" fmla="*/ 8 h 240"/>
              <a:gd name="T6" fmla="*/ 0 w 615"/>
              <a:gd name="T7" fmla="*/ 0 h 240"/>
              <a:gd name="T8" fmla="*/ 83 w 615"/>
              <a:gd name="T9" fmla="*/ 65 h 240"/>
              <a:gd name="T10" fmla="*/ 444 w 615"/>
              <a:gd name="T11" fmla="*/ 65 h 240"/>
              <a:gd name="T12" fmla="*/ 444 w 615"/>
              <a:gd name="T13" fmla="*/ 65 h 240"/>
              <a:gd name="T14" fmla="*/ 615 w 615"/>
              <a:gd name="T15" fmla="*/ 236 h 240"/>
              <a:gd name="T16" fmla="*/ 611 w 615"/>
              <a:gd name="T17" fmla="*/ 240 h 240"/>
              <a:gd name="T18" fmla="*/ 441 w 615"/>
              <a:gd name="T19" fmla="*/ 70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5" h="240">
                <a:moveTo>
                  <a:pt x="441" y="70"/>
                </a:moveTo>
                <a:cubicBezTo>
                  <a:pt x="80" y="70"/>
                  <a:pt x="80" y="70"/>
                  <a:pt x="80" y="70"/>
                </a:cubicBezTo>
                <a:cubicBezTo>
                  <a:pt x="34" y="70"/>
                  <a:pt x="0" y="44"/>
                  <a:pt x="0" y="8"/>
                </a:cubicBezTo>
                <a:cubicBezTo>
                  <a:pt x="0" y="0"/>
                  <a:pt x="0" y="0"/>
                  <a:pt x="0" y="0"/>
                </a:cubicBezTo>
                <a:cubicBezTo>
                  <a:pt x="0" y="36"/>
                  <a:pt x="37" y="65"/>
                  <a:pt x="83" y="65"/>
                </a:cubicBezTo>
                <a:cubicBezTo>
                  <a:pt x="444" y="65"/>
                  <a:pt x="444" y="65"/>
                  <a:pt x="444" y="65"/>
                </a:cubicBezTo>
                <a:cubicBezTo>
                  <a:pt x="444" y="65"/>
                  <a:pt x="444" y="65"/>
                  <a:pt x="444" y="65"/>
                </a:cubicBezTo>
                <a:cubicBezTo>
                  <a:pt x="615" y="236"/>
                  <a:pt x="615" y="236"/>
                  <a:pt x="615" y="236"/>
                </a:cubicBezTo>
                <a:cubicBezTo>
                  <a:pt x="611" y="240"/>
                  <a:pt x="611" y="240"/>
                  <a:pt x="611" y="240"/>
                </a:cubicBezTo>
                <a:lnTo>
                  <a:pt x="441" y="70"/>
                </a:lnTo>
                <a:close/>
              </a:path>
            </a:pathLst>
          </a:custGeom>
          <a:gradFill>
            <a:gsLst>
              <a:gs pos="100000">
                <a:schemeClr val="accent1"/>
              </a:gs>
              <a:gs pos="63000">
                <a:schemeClr val="accent1">
                  <a:lumMod val="60000"/>
                  <a:lumOff val="40000"/>
                </a:schemeClr>
              </a:gs>
            </a:gsLst>
            <a:lin ang="0" scaled="0"/>
          </a:gradFill>
          <a:ln>
            <a:noFill/>
          </a:ln>
        </p:spPr>
        <p:txBody>
          <a:bodyPr vert="horz" wrap="square" lIns="91440" tIns="45720" rIns="91440" bIns="45720" numCol="1" anchor="t"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white"/>
              </a:solidFill>
              <a:effectLst/>
              <a:uLnTx/>
              <a:uFillTx/>
              <a:latin typeface="Open Sans"/>
              <a:cs typeface="+mn-cs"/>
            </a:endParaRPr>
          </a:p>
        </p:txBody>
      </p:sp>
      <p:sp>
        <p:nvSpPr>
          <p:cNvPr id="18" name="AutoShape 9">
            <a:extLst>
              <a:ext uri="{FF2B5EF4-FFF2-40B4-BE49-F238E27FC236}">
                <a16:creationId xmlns:a16="http://schemas.microsoft.com/office/drawing/2014/main" id="{611B73ED-D17C-4464-8EE5-B933172895EC}"/>
              </a:ext>
            </a:extLst>
          </p:cNvPr>
          <p:cNvSpPr>
            <a:spLocks noChangeAspect="1" noChangeArrowheads="1" noTextEdit="1"/>
          </p:cNvSpPr>
          <p:nvPr/>
        </p:nvSpPr>
        <p:spPr bwMode="auto">
          <a:xfrm>
            <a:off x="1683068" y="2838250"/>
            <a:ext cx="2324100" cy="1784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sp>
        <p:nvSpPr>
          <p:cNvPr id="19" name="Freeform 11">
            <a:extLst>
              <a:ext uri="{FF2B5EF4-FFF2-40B4-BE49-F238E27FC236}">
                <a16:creationId xmlns:a16="http://schemas.microsoft.com/office/drawing/2014/main" id="{BDE1E120-4B84-4AD9-819F-9B9E97EB1D86}"/>
              </a:ext>
            </a:extLst>
          </p:cNvPr>
          <p:cNvSpPr>
            <a:spLocks/>
          </p:cNvSpPr>
          <p:nvPr/>
        </p:nvSpPr>
        <p:spPr bwMode="auto">
          <a:xfrm>
            <a:off x="1163638" y="2178335"/>
            <a:ext cx="571932" cy="587183"/>
          </a:xfrm>
          <a:custGeom>
            <a:avLst/>
            <a:gdLst>
              <a:gd name="T0" fmla="*/ 126 w 126"/>
              <a:gd name="T1" fmla="*/ 129 h 129"/>
              <a:gd name="T2" fmla="*/ 83 w 126"/>
              <a:gd name="T3" fmla="*/ 129 h 129"/>
              <a:gd name="T4" fmla="*/ 0 w 126"/>
              <a:gd name="T5" fmla="*/ 64 h 129"/>
              <a:gd name="T6" fmla="*/ 0 w 126"/>
              <a:gd name="T7" fmla="*/ 64 h 129"/>
              <a:gd name="T8" fmla="*/ 83 w 126"/>
              <a:gd name="T9" fmla="*/ 0 h 129"/>
              <a:gd name="T10" fmla="*/ 126 w 126"/>
              <a:gd name="T11" fmla="*/ 0 h 129"/>
              <a:gd name="T12" fmla="*/ 126 w 126"/>
              <a:gd name="T13" fmla="*/ 129 h 129"/>
            </a:gdLst>
            <a:ahLst/>
            <a:cxnLst>
              <a:cxn ang="0">
                <a:pos x="T0" y="T1"/>
              </a:cxn>
              <a:cxn ang="0">
                <a:pos x="T2" y="T3"/>
              </a:cxn>
              <a:cxn ang="0">
                <a:pos x="T4" y="T5"/>
              </a:cxn>
              <a:cxn ang="0">
                <a:pos x="T6" y="T7"/>
              </a:cxn>
              <a:cxn ang="0">
                <a:pos x="T8" y="T9"/>
              </a:cxn>
              <a:cxn ang="0">
                <a:pos x="T10" y="T11"/>
              </a:cxn>
              <a:cxn ang="0">
                <a:pos x="T12" y="T13"/>
              </a:cxn>
            </a:cxnLst>
            <a:rect l="0" t="0" r="r" b="b"/>
            <a:pathLst>
              <a:path w="126" h="129">
                <a:moveTo>
                  <a:pt x="126" y="129"/>
                </a:moveTo>
                <a:cubicBezTo>
                  <a:pt x="83" y="129"/>
                  <a:pt x="83" y="129"/>
                  <a:pt x="83" y="129"/>
                </a:cubicBezTo>
                <a:cubicBezTo>
                  <a:pt x="37" y="129"/>
                  <a:pt x="0" y="100"/>
                  <a:pt x="0" y="64"/>
                </a:cubicBezTo>
                <a:cubicBezTo>
                  <a:pt x="0" y="64"/>
                  <a:pt x="0" y="64"/>
                  <a:pt x="0" y="64"/>
                </a:cubicBezTo>
                <a:cubicBezTo>
                  <a:pt x="0" y="28"/>
                  <a:pt x="37" y="0"/>
                  <a:pt x="83" y="0"/>
                </a:cubicBezTo>
                <a:cubicBezTo>
                  <a:pt x="126" y="0"/>
                  <a:pt x="126" y="0"/>
                  <a:pt x="126" y="0"/>
                </a:cubicBezTo>
                <a:lnTo>
                  <a:pt x="126" y="129"/>
                </a:lnTo>
                <a:close/>
              </a:path>
            </a:pathLst>
          </a:custGeom>
          <a:gradFill flip="none" rotWithShape="1">
            <a:gsLst>
              <a:gs pos="70000">
                <a:schemeClr val="accent1"/>
              </a:gs>
              <a:gs pos="0">
                <a:schemeClr val="accent1">
                  <a:lumMod val="60000"/>
                  <a:lumOff val="40000"/>
                </a:schemeClr>
              </a:gs>
            </a:gsLst>
            <a:lin ang="810000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20" name="Freeform 12">
            <a:extLst>
              <a:ext uri="{FF2B5EF4-FFF2-40B4-BE49-F238E27FC236}">
                <a16:creationId xmlns:a16="http://schemas.microsoft.com/office/drawing/2014/main" id="{7471B58A-C880-4EF0-B169-53D08BE4CD3D}"/>
              </a:ext>
            </a:extLst>
          </p:cNvPr>
          <p:cNvSpPr>
            <a:spLocks/>
          </p:cNvSpPr>
          <p:nvPr/>
        </p:nvSpPr>
        <p:spPr bwMode="auto">
          <a:xfrm>
            <a:off x="1163638" y="2470021"/>
            <a:ext cx="2791028" cy="1851154"/>
          </a:xfrm>
          <a:custGeom>
            <a:avLst/>
            <a:gdLst>
              <a:gd name="T0" fmla="*/ 444 w 615"/>
              <a:gd name="T1" fmla="*/ 407 h 407"/>
              <a:gd name="T2" fmla="*/ 83 w 615"/>
              <a:gd name="T3" fmla="*/ 407 h 407"/>
              <a:gd name="T4" fmla="*/ 0 w 615"/>
              <a:gd name="T5" fmla="*/ 342 h 407"/>
              <a:gd name="T6" fmla="*/ 0 w 615"/>
              <a:gd name="T7" fmla="*/ 342 h 407"/>
              <a:gd name="T8" fmla="*/ 0 w 615"/>
              <a:gd name="T9" fmla="*/ 0 h 407"/>
              <a:gd name="T10" fmla="*/ 83 w 615"/>
              <a:gd name="T11" fmla="*/ 65 h 407"/>
              <a:gd name="T12" fmla="*/ 444 w 615"/>
              <a:gd name="T13" fmla="*/ 65 h 407"/>
              <a:gd name="T14" fmla="*/ 444 w 615"/>
              <a:gd name="T15" fmla="*/ 65 h 407"/>
              <a:gd name="T16" fmla="*/ 615 w 615"/>
              <a:gd name="T17" fmla="*/ 236 h 407"/>
              <a:gd name="T18" fmla="*/ 444 w 615"/>
              <a:gd name="T19" fmla="*/ 407 h 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5" h="407">
                <a:moveTo>
                  <a:pt x="444" y="407"/>
                </a:moveTo>
                <a:cubicBezTo>
                  <a:pt x="83" y="407"/>
                  <a:pt x="83" y="407"/>
                  <a:pt x="83" y="407"/>
                </a:cubicBezTo>
                <a:cubicBezTo>
                  <a:pt x="37" y="407"/>
                  <a:pt x="0" y="378"/>
                  <a:pt x="0" y="342"/>
                </a:cubicBezTo>
                <a:cubicBezTo>
                  <a:pt x="0" y="342"/>
                  <a:pt x="0" y="342"/>
                  <a:pt x="0" y="342"/>
                </a:cubicBezTo>
                <a:cubicBezTo>
                  <a:pt x="0" y="0"/>
                  <a:pt x="0" y="0"/>
                  <a:pt x="0" y="0"/>
                </a:cubicBezTo>
                <a:cubicBezTo>
                  <a:pt x="0" y="36"/>
                  <a:pt x="37" y="65"/>
                  <a:pt x="83" y="65"/>
                </a:cubicBezTo>
                <a:cubicBezTo>
                  <a:pt x="444" y="65"/>
                  <a:pt x="444" y="65"/>
                  <a:pt x="444" y="65"/>
                </a:cubicBezTo>
                <a:cubicBezTo>
                  <a:pt x="444" y="65"/>
                  <a:pt x="444" y="65"/>
                  <a:pt x="444" y="65"/>
                </a:cubicBezTo>
                <a:cubicBezTo>
                  <a:pt x="615" y="236"/>
                  <a:pt x="615" y="236"/>
                  <a:pt x="615" y="236"/>
                </a:cubicBezTo>
                <a:lnTo>
                  <a:pt x="444" y="407"/>
                </a:lnTo>
                <a:close/>
              </a:path>
            </a:pathLst>
          </a:custGeom>
          <a:gradFill flip="none" rotWithShape="1">
            <a:gsLst>
              <a:gs pos="100000">
                <a:schemeClr val="accent1"/>
              </a:gs>
              <a:gs pos="31000">
                <a:schemeClr val="accent1">
                  <a:lumMod val="60000"/>
                  <a:lumOff val="40000"/>
                </a:schemeClr>
              </a:gs>
              <a:gs pos="0">
                <a:schemeClr val="accent1">
                  <a:lumMod val="40000"/>
                  <a:lumOff val="60000"/>
                </a:schemeClr>
              </a:gs>
            </a:gsLst>
            <a:lin ang="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HarmonyOS Sans SC"/>
              <a:cs typeface="+mn-cs"/>
            </a:endParaRPr>
          </a:p>
        </p:txBody>
      </p:sp>
      <p:sp>
        <p:nvSpPr>
          <p:cNvPr id="21" name="Freeform 13">
            <a:extLst>
              <a:ext uri="{FF2B5EF4-FFF2-40B4-BE49-F238E27FC236}">
                <a16:creationId xmlns:a16="http://schemas.microsoft.com/office/drawing/2014/main" id="{D57DBE4B-2391-4B64-B79A-0BE067EE39EF}"/>
              </a:ext>
            </a:extLst>
          </p:cNvPr>
          <p:cNvSpPr>
            <a:spLocks/>
          </p:cNvSpPr>
          <p:nvPr/>
        </p:nvSpPr>
        <p:spPr bwMode="auto">
          <a:xfrm>
            <a:off x="1163638" y="2470021"/>
            <a:ext cx="2791028" cy="1090484"/>
          </a:xfrm>
          <a:custGeom>
            <a:avLst/>
            <a:gdLst>
              <a:gd name="T0" fmla="*/ 441 w 615"/>
              <a:gd name="T1" fmla="*/ 70 h 240"/>
              <a:gd name="T2" fmla="*/ 80 w 615"/>
              <a:gd name="T3" fmla="*/ 70 h 240"/>
              <a:gd name="T4" fmla="*/ 0 w 615"/>
              <a:gd name="T5" fmla="*/ 8 h 240"/>
              <a:gd name="T6" fmla="*/ 0 w 615"/>
              <a:gd name="T7" fmla="*/ 0 h 240"/>
              <a:gd name="T8" fmla="*/ 83 w 615"/>
              <a:gd name="T9" fmla="*/ 65 h 240"/>
              <a:gd name="T10" fmla="*/ 444 w 615"/>
              <a:gd name="T11" fmla="*/ 65 h 240"/>
              <a:gd name="T12" fmla="*/ 444 w 615"/>
              <a:gd name="T13" fmla="*/ 65 h 240"/>
              <a:gd name="T14" fmla="*/ 615 w 615"/>
              <a:gd name="T15" fmla="*/ 236 h 240"/>
              <a:gd name="T16" fmla="*/ 611 w 615"/>
              <a:gd name="T17" fmla="*/ 240 h 240"/>
              <a:gd name="T18" fmla="*/ 441 w 615"/>
              <a:gd name="T19" fmla="*/ 70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5" h="240">
                <a:moveTo>
                  <a:pt x="441" y="70"/>
                </a:moveTo>
                <a:cubicBezTo>
                  <a:pt x="80" y="70"/>
                  <a:pt x="80" y="70"/>
                  <a:pt x="80" y="70"/>
                </a:cubicBezTo>
                <a:cubicBezTo>
                  <a:pt x="34" y="70"/>
                  <a:pt x="0" y="44"/>
                  <a:pt x="0" y="8"/>
                </a:cubicBezTo>
                <a:cubicBezTo>
                  <a:pt x="0" y="0"/>
                  <a:pt x="0" y="0"/>
                  <a:pt x="0" y="0"/>
                </a:cubicBezTo>
                <a:cubicBezTo>
                  <a:pt x="0" y="36"/>
                  <a:pt x="37" y="65"/>
                  <a:pt x="83" y="65"/>
                </a:cubicBezTo>
                <a:cubicBezTo>
                  <a:pt x="444" y="65"/>
                  <a:pt x="444" y="65"/>
                  <a:pt x="444" y="65"/>
                </a:cubicBezTo>
                <a:cubicBezTo>
                  <a:pt x="444" y="65"/>
                  <a:pt x="444" y="65"/>
                  <a:pt x="444" y="65"/>
                </a:cubicBezTo>
                <a:cubicBezTo>
                  <a:pt x="615" y="236"/>
                  <a:pt x="615" y="236"/>
                  <a:pt x="615" y="236"/>
                </a:cubicBezTo>
                <a:cubicBezTo>
                  <a:pt x="611" y="240"/>
                  <a:pt x="611" y="240"/>
                  <a:pt x="611" y="240"/>
                </a:cubicBezTo>
                <a:lnTo>
                  <a:pt x="441" y="70"/>
                </a:lnTo>
                <a:close/>
              </a:path>
            </a:pathLst>
          </a:custGeom>
          <a:gradFill>
            <a:gsLst>
              <a:gs pos="100000">
                <a:schemeClr val="accent1"/>
              </a:gs>
              <a:gs pos="63000">
                <a:schemeClr val="accent1">
                  <a:lumMod val="60000"/>
                  <a:lumOff val="40000"/>
                </a:schemeClr>
              </a:gs>
            </a:gsLst>
            <a:lin ang="0" scaled="0"/>
          </a:gradFill>
          <a:ln>
            <a:noFill/>
          </a:ln>
        </p:spPr>
        <p:txBody>
          <a:bodyPr vert="horz" wrap="square" lIns="91440" tIns="45720" rIns="91440" bIns="45720" numCol="1" anchor="t"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white"/>
              </a:solidFill>
              <a:effectLst/>
              <a:uLnTx/>
              <a:uFillTx/>
              <a:latin typeface="Open Sans"/>
              <a:ea typeface="+mn-ea"/>
              <a:cs typeface="+mn-cs"/>
            </a:endParaRPr>
          </a:p>
        </p:txBody>
      </p:sp>
      <p:sp>
        <p:nvSpPr>
          <p:cNvPr id="27" name="文本框 26">
            <a:extLst>
              <a:ext uri="{FF2B5EF4-FFF2-40B4-BE49-F238E27FC236}">
                <a16:creationId xmlns:a16="http://schemas.microsoft.com/office/drawing/2014/main" id="{2B92362B-48DE-4F88-8375-046E8E84D4C6}"/>
              </a:ext>
            </a:extLst>
          </p:cNvPr>
          <p:cNvSpPr txBox="1"/>
          <p:nvPr/>
        </p:nvSpPr>
        <p:spPr>
          <a:xfrm>
            <a:off x="1365931" y="3249378"/>
            <a:ext cx="1963430"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2800" b="1" i="0" u="none" strike="noStrike" kern="1200" cap="none" spc="0" normalizeH="0" baseline="0" noProof="0" dirty="0">
                <a:ln>
                  <a:noFill/>
                </a:ln>
                <a:solidFill>
                  <a:prstClr val="white"/>
                </a:solidFill>
                <a:effectLst/>
                <a:uLnTx/>
                <a:uFillTx/>
                <a:latin typeface="HarmonyOS Sans SC Black"/>
                <a:ea typeface="+mj-ea"/>
                <a:cs typeface="+mn-cs"/>
              </a:rPr>
              <a:t>STEP 01</a:t>
            </a:r>
          </a:p>
        </p:txBody>
      </p:sp>
      <p:sp>
        <p:nvSpPr>
          <p:cNvPr id="28" name="文本框 27">
            <a:extLst>
              <a:ext uri="{FF2B5EF4-FFF2-40B4-BE49-F238E27FC236}">
                <a16:creationId xmlns:a16="http://schemas.microsoft.com/office/drawing/2014/main" id="{7D337EEE-598E-42AB-9422-AC065A5B6AB7}"/>
              </a:ext>
            </a:extLst>
          </p:cNvPr>
          <p:cNvSpPr txBox="1"/>
          <p:nvPr/>
        </p:nvSpPr>
        <p:spPr>
          <a:xfrm>
            <a:off x="3978147" y="3249378"/>
            <a:ext cx="1963430"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2800" b="1" i="0" u="none" strike="noStrike" kern="1200" cap="none" spc="0" normalizeH="0" baseline="0" noProof="0" dirty="0">
                <a:ln>
                  <a:noFill/>
                </a:ln>
                <a:solidFill>
                  <a:prstClr val="white"/>
                </a:solidFill>
                <a:effectLst/>
                <a:uLnTx/>
                <a:uFillTx/>
                <a:latin typeface="HarmonyOS Sans SC Black"/>
                <a:ea typeface="+mj-ea"/>
                <a:cs typeface="+mn-cs"/>
              </a:rPr>
              <a:t>STEP 02</a:t>
            </a:r>
          </a:p>
        </p:txBody>
      </p:sp>
      <p:sp>
        <p:nvSpPr>
          <p:cNvPr id="29" name="文本框 28">
            <a:extLst>
              <a:ext uri="{FF2B5EF4-FFF2-40B4-BE49-F238E27FC236}">
                <a16:creationId xmlns:a16="http://schemas.microsoft.com/office/drawing/2014/main" id="{42D6AC6E-9851-4D6E-9C31-02E031CB65C2}"/>
              </a:ext>
            </a:extLst>
          </p:cNvPr>
          <p:cNvSpPr txBox="1"/>
          <p:nvPr/>
        </p:nvSpPr>
        <p:spPr>
          <a:xfrm>
            <a:off x="6590363" y="3249378"/>
            <a:ext cx="1963430"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2800" b="1" i="0" u="none" strike="noStrike" kern="1200" cap="none" spc="0" normalizeH="0" baseline="0" noProof="0" dirty="0">
                <a:ln>
                  <a:noFill/>
                </a:ln>
                <a:solidFill>
                  <a:prstClr val="white"/>
                </a:solidFill>
                <a:effectLst/>
                <a:uLnTx/>
                <a:uFillTx/>
                <a:latin typeface="HarmonyOS Sans SC Black"/>
                <a:ea typeface="+mj-ea"/>
                <a:cs typeface="+mn-cs"/>
              </a:rPr>
              <a:t>STEP 03</a:t>
            </a:r>
          </a:p>
        </p:txBody>
      </p:sp>
      <p:sp>
        <p:nvSpPr>
          <p:cNvPr id="30" name="文本框 29">
            <a:extLst>
              <a:ext uri="{FF2B5EF4-FFF2-40B4-BE49-F238E27FC236}">
                <a16:creationId xmlns:a16="http://schemas.microsoft.com/office/drawing/2014/main" id="{31CC952B-3B02-4F03-84EF-1F222A75599F}"/>
              </a:ext>
            </a:extLst>
          </p:cNvPr>
          <p:cNvSpPr txBox="1"/>
          <p:nvPr/>
        </p:nvSpPr>
        <p:spPr>
          <a:xfrm>
            <a:off x="9202579" y="3249378"/>
            <a:ext cx="1963430"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2800" b="1" i="0" u="none" strike="noStrike" kern="1200" cap="none" spc="0" normalizeH="0" baseline="0" noProof="0" dirty="0">
                <a:ln>
                  <a:noFill/>
                </a:ln>
                <a:solidFill>
                  <a:prstClr val="white"/>
                </a:solidFill>
                <a:effectLst/>
                <a:uLnTx/>
                <a:uFillTx/>
                <a:latin typeface="HarmonyOS Sans SC Black"/>
                <a:ea typeface="+mj-ea"/>
                <a:cs typeface="+mn-cs"/>
              </a:rPr>
              <a:t>STEP 04</a:t>
            </a:r>
          </a:p>
        </p:txBody>
      </p:sp>
      <p:sp>
        <p:nvSpPr>
          <p:cNvPr id="44" name="TextBox 65">
            <a:extLst>
              <a:ext uri="{FF2B5EF4-FFF2-40B4-BE49-F238E27FC236}">
                <a16:creationId xmlns:a16="http://schemas.microsoft.com/office/drawing/2014/main" id="{D24B0764-1D6D-4662-975E-EE340D01F2C5}"/>
              </a:ext>
            </a:extLst>
          </p:cNvPr>
          <p:cNvSpPr txBox="1"/>
          <p:nvPr/>
        </p:nvSpPr>
        <p:spPr>
          <a:xfrm flipH="1">
            <a:off x="1163639" y="4592926"/>
            <a:ext cx="2056261" cy="387598"/>
          </a:xfrm>
          <a:prstGeom prst="rect">
            <a:avLst/>
          </a:prstGeom>
          <a:noFill/>
        </p:spPr>
        <p:txBody>
          <a:bodyPr wrap="square" lIns="0" tIns="36000" rIns="0" bIns="36000" rtlCol="0">
            <a:spAutoFit/>
          </a:bodyPr>
          <a:lstStyle/>
          <a:p>
            <a:pPr marL="0" marR="0" lvl="0" indent="0" algn="l" defTabSz="914400" rtl="0" eaLnBrk="1" fontAlgn="auto" latinLnBrk="0" hangingPunct="1">
              <a:lnSpc>
                <a:spcPct val="120000"/>
              </a:lnSpc>
              <a:spcBef>
                <a:spcPts val="600"/>
              </a:spcBef>
              <a:spcAft>
                <a:spcPts val="0"/>
              </a:spcAft>
              <a:buClrTx/>
              <a:buSzTx/>
              <a:buFontTx/>
              <a:buNone/>
              <a:tabLst/>
              <a:defRPr/>
            </a:pPr>
            <a:r>
              <a:rPr kumimoji="0" lang="zh-CN" altLang="en-US" sz="1800" b="0" i="0" u="none" strike="noStrike" kern="1200" cap="none" spc="0" normalizeH="0" baseline="0" noProof="0" dirty="0">
                <a:ln>
                  <a:noFill/>
                </a:ln>
                <a:solidFill>
                  <a:schemeClr val="accent1"/>
                </a:solidFill>
                <a:effectLst/>
                <a:uLnTx/>
                <a:uFillTx/>
                <a:latin typeface="HarmonyOS Sans SC Black"/>
                <a:ea typeface="+mj-ea"/>
                <a:cs typeface="+mn-cs"/>
              </a:rPr>
              <a:t>关键词标题</a:t>
            </a:r>
            <a:endParaRPr kumimoji="0" lang="en-US" sz="1800" b="0" i="0" u="none" strike="noStrike" kern="1200" cap="none" spc="0" normalizeH="0" baseline="0" noProof="0" dirty="0">
              <a:ln>
                <a:noFill/>
              </a:ln>
              <a:solidFill>
                <a:schemeClr val="accent1"/>
              </a:solidFill>
              <a:effectLst/>
              <a:uLnTx/>
              <a:uFillTx/>
              <a:latin typeface="HarmonyOS Sans SC Black"/>
              <a:ea typeface="+mj-ea"/>
              <a:cs typeface="+mn-cs"/>
            </a:endParaRPr>
          </a:p>
        </p:txBody>
      </p:sp>
      <p:sp>
        <p:nvSpPr>
          <p:cNvPr id="45" name="TextBox 65">
            <a:extLst>
              <a:ext uri="{FF2B5EF4-FFF2-40B4-BE49-F238E27FC236}">
                <a16:creationId xmlns:a16="http://schemas.microsoft.com/office/drawing/2014/main" id="{1D929986-BCA6-4E14-B3DC-021A11E7C6FE}"/>
              </a:ext>
            </a:extLst>
          </p:cNvPr>
          <p:cNvSpPr txBox="1"/>
          <p:nvPr/>
        </p:nvSpPr>
        <p:spPr>
          <a:xfrm flipH="1">
            <a:off x="1163638" y="4976325"/>
            <a:ext cx="1987912" cy="498204"/>
          </a:xfrm>
          <a:prstGeom prst="rect">
            <a:avLst/>
          </a:prstGeom>
          <a:noFill/>
        </p:spPr>
        <p:txBody>
          <a:bodyPr wrap="square" lIns="0" tIns="36000" rIns="0" bIns="36000" rtlCol="0">
            <a:spAutoFit/>
          </a:bodyPr>
          <a:lstStyle/>
          <a:p>
            <a:pPr marL="0" marR="0" lvl="0" indent="0" algn="l" defTabSz="914400" rtl="0" eaLnBrk="1" fontAlgn="auto" latinLnBrk="0" hangingPunct="1">
              <a:lnSpc>
                <a:spcPct val="120000"/>
              </a:lnSpc>
              <a:spcBef>
                <a:spcPts val="600"/>
              </a:spcBef>
              <a:spcAft>
                <a:spcPts val="0"/>
              </a:spcAft>
              <a:buClrTx/>
              <a:buSzTx/>
              <a:buFontTx/>
              <a:buNone/>
              <a:tabLst/>
              <a:defRPr/>
            </a:pPr>
            <a:r>
              <a:rPr kumimoji="0" lang="en-US" sz="1200" b="0" i="0" u="none" strike="noStrike" kern="1200" cap="none" spc="0" normalizeH="0" baseline="0" noProof="0" dirty="0">
                <a:ln>
                  <a:noFill/>
                </a:ln>
                <a:solidFill>
                  <a:prstClr val="black">
                    <a:lumMod val="50000"/>
                    <a:lumOff val="50000"/>
                  </a:prstClr>
                </a:solidFill>
                <a:effectLst/>
                <a:uLnTx/>
                <a:uFillTx/>
                <a:latin typeface="HarmonyOS Sans SC"/>
                <a:cs typeface="+mn-cs"/>
              </a:rPr>
              <a:t>Apparently we had reached a great height in the.</a:t>
            </a:r>
          </a:p>
        </p:txBody>
      </p:sp>
      <p:sp>
        <p:nvSpPr>
          <p:cNvPr id="47" name="TextBox 65">
            <a:extLst>
              <a:ext uri="{FF2B5EF4-FFF2-40B4-BE49-F238E27FC236}">
                <a16:creationId xmlns:a16="http://schemas.microsoft.com/office/drawing/2014/main" id="{D724A880-B4BC-4F62-A806-13725036C317}"/>
              </a:ext>
            </a:extLst>
          </p:cNvPr>
          <p:cNvSpPr txBox="1"/>
          <p:nvPr/>
        </p:nvSpPr>
        <p:spPr>
          <a:xfrm flipH="1">
            <a:off x="3722483" y="4592926"/>
            <a:ext cx="2056261" cy="387598"/>
          </a:xfrm>
          <a:prstGeom prst="rect">
            <a:avLst/>
          </a:prstGeom>
          <a:noFill/>
        </p:spPr>
        <p:txBody>
          <a:bodyPr wrap="square" lIns="0" tIns="36000" rIns="0" bIns="36000" rtlCol="0">
            <a:spAutoFit/>
          </a:bodyPr>
          <a:lstStyle/>
          <a:p>
            <a:pPr marL="0" marR="0" lvl="0" indent="0" algn="l" defTabSz="914400" rtl="0" eaLnBrk="1" fontAlgn="auto" latinLnBrk="0" hangingPunct="1">
              <a:lnSpc>
                <a:spcPct val="120000"/>
              </a:lnSpc>
              <a:spcBef>
                <a:spcPts val="600"/>
              </a:spcBef>
              <a:spcAft>
                <a:spcPts val="0"/>
              </a:spcAft>
              <a:buClrTx/>
              <a:buSzTx/>
              <a:buFontTx/>
              <a:buNone/>
              <a:tabLst/>
              <a:defRPr/>
            </a:pPr>
            <a:r>
              <a:rPr kumimoji="0" lang="zh-CN" altLang="en-US" sz="1800" b="0" i="0" u="none" strike="noStrike" kern="1200" cap="none" spc="0" normalizeH="0" baseline="0" noProof="0" dirty="0">
                <a:ln>
                  <a:noFill/>
                </a:ln>
                <a:solidFill>
                  <a:schemeClr val="accent1"/>
                </a:solidFill>
                <a:effectLst/>
                <a:uLnTx/>
                <a:uFillTx/>
                <a:latin typeface="HarmonyOS Sans SC Black"/>
                <a:ea typeface="+mj-ea"/>
                <a:cs typeface="+mn-cs"/>
              </a:rPr>
              <a:t>关键词标题</a:t>
            </a:r>
            <a:endParaRPr kumimoji="0" lang="en-US" sz="1800" b="0" i="0" u="none" strike="noStrike" kern="1200" cap="none" spc="0" normalizeH="0" baseline="0" noProof="0" dirty="0">
              <a:ln>
                <a:noFill/>
              </a:ln>
              <a:solidFill>
                <a:schemeClr val="accent1"/>
              </a:solidFill>
              <a:effectLst/>
              <a:uLnTx/>
              <a:uFillTx/>
              <a:latin typeface="HarmonyOS Sans SC Black"/>
              <a:ea typeface="+mj-ea"/>
              <a:cs typeface="+mn-cs"/>
            </a:endParaRPr>
          </a:p>
        </p:txBody>
      </p:sp>
      <p:sp>
        <p:nvSpPr>
          <p:cNvPr id="48" name="TextBox 65">
            <a:extLst>
              <a:ext uri="{FF2B5EF4-FFF2-40B4-BE49-F238E27FC236}">
                <a16:creationId xmlns:a16="http://schemas.microsoft.com/office/drawing/2014/main" id="{D9203034-2380-4C31-8CCC-9EF48FC7865F}"/>
              </a:ext>
            </a:extLst>
          </p:cNvPr>
          <p:cNvSpPr txBox="1"/>
          <p:nvPr/>
        </p:nvSpPr>
        <p:spPr>
          <a:xfrm flipH="1">
            <a:off x="3722482" y="4976325"/>
            <a:ext cx="1987912" cy="498204"/>
          </a:xfrm>
          <a:prstGeom prst="rect">
            <a:avLst/>
          </a:prstGeom>
          <a:noFill/>
        </p:spPr>
        <p:txBody>
          <a:bodyPr wrap="square" lIns="0" tIns="36000" rIns="0" bIns="36000" rtlCol="0">
            <a:spAutoFit/>
          </a:bodyPr>
          <a:lstStyle/>
          <a:p>
            <a:pPr marL="0" marR="0" lvl="0" indent="0" algn="l" defTabSz="914400" rtl="0" eaLnBrk="1" fontAlgn="auto" latinLnBrk="0" hangingPunct="1">
              <a:lnSpc>
                <a:spcPct val="120000"/>
              </a:lnSpc>
              <a:spcBef>
                <a:spcPts val="600"/>
              </a:spcBef>
              <a:spcAft>
                <a:spcPts val="0"/>
              </a:spcAft>
              <a:buClrTx/>
              <a:buSzTx/>
              <a:buFontTx/>
              <a:buNone/>
              <a:tabLst/>
              <a:defRPr/>
            </a:pPr>
            <a:r>
              <a:rPr kumimoji="0" lang="en-US" sz="1200" b="0" i="0" u="none" strike="noStrike" kern="1200" cap="none" spc="0" normalizeH="0" baseline="0" noProof="0" dirty="0">
                <a:ln>
                  <a:noFill/>
                </a:ln>
                <a:solidFill>
                  <a:prstClr val="black">
                    <a:lumMod val="50000"/>
                    <a:lumOff val="50000"/>
                  </a:prstClr>
                </a:solidFill>
                <a:effectLst/>
                <a:uLnTx/>
                <a:uFillTx/>
                <a:latin typeface="HarmonyOS Sans SC"/>
                <a:cs typeface="+mn-cs"/>
              </a:rPr>
              <a:t>Apparently we had reached a great height in the.</a:t>
            </a:r>
          </a:p>
        </p:txBody>
      </p:sp>
      <p:sp>
        <p:nvSpPr>
          <p:cNvPr id="50" name="TextBox 65">
            <a:extLst>
              <a:ext uri="{FF2B5EF4-FFF2-40B4-BE49-F238E27FC236}">
                <a16:creationId xmlns:a16="http://schemas.microsoft.com/office/drawing/2014/main" id="{356953B6-53CA-4C0C-B237-FE06F29EC2C3}"/>
              </a:ext>
            </a:extLst>
          </p:cNvPr>
          <p:cNvSpPr txBox="1"/>
          <p:nvPr/>
        </p:nvSpPr>
        <p:spPr>
          <a:xfrm flipH="1">
            <a:off x="6281327" y="4592926"/>
            <a:ext cx="2056261" cy="387598"/>
          </a:xfrm>
          <a:prstGeom prst="rect">
            <a:avLst/>
          </a:prstGeom>
          <a:noFill/>
        </p:spPr>
        <p:txBody>
          <a:bodyPr wrap="square" lIns="0" tIns="36000" rIns="0" bIns="36000" rtlCol="0">
            <a:spAutoFit/>
          </a:bodyPr>
          <a:lstStyle/>
          <a:p>
            <a:pPr marL="0" marR="0" lvl="0" indent="0" algn="l" defTabSz="914400" rtl="0" eaLnBrk="1" fontAlgn="auto" latinLnBrk="0" hangingPunct="1">
              <a:lnSpc>
                <a:spcPct val="120000"/>
              </a:lnSpc>
              <a:spcBef>
                <a:spcPts val="600"/>
              </a:spcBef>
              <a:spcAft>
                <a:spcPts val="0"/>
              </a:spcAft>
              <a:buClrTx/>
              <a:buSzTx/>
              <a:buFontTx/>
              <a:buNone/>
              <a:tabLst/>
              <a:defRPr/>
            </a:pPr>
            <a:r>
              <a:rPr kumimoji="0" lang="zh-CN" altLang="en-US" sz="1800" b="0" i="0" u="none" strike="noStrike" kern="1200" cap="none" spc="0" normalizeH="0" baseline="0" noProof="0" dirty="0">
                <a:ln>
                  <a:noFill/>
                </a:ln>
                <a:solidFill>
                  <a:schemeClr val="accent1"/>
                </a:solidFill>
                <a:effectLst/>
                <a:uLnTx/>
                <a:uFillTx/>
                <a:latin typeface="HarmonyOS Sans SC Black"/>
                <a:ea typeface="+mj-ea"/>
                <a:cs typeface="+mn-cs"/>
              </a:rPr>
              <a:t>关键词标题</a:t>
            </a:r>
            <a:endParaRPr kumimoji="0" lang="en-US" sz="1800" b="0" i="0" u="none" strike="noStrike" kern="1200" cap="none" spc="0" normalizeH="0" baseline="0" noProof="0" dirty="0">
              <a:ln>
                <a:noFill/>
              </a:ln>
              <a:solidFill>
                <a:schemeClr val="accent1"/>
              </a:solidFill>
              <a:effectLst/>
              <a:uLnTx/>
              <a:uFillTx/>
              <a:latin typeface="HarmonyOS Sans SC Black"/>
              <a:ea typeface="+mj-ea"/>
              <a:cs typeface="+mn-cs"/>
            </a:endParaRPr>
          </a:p>
        </p:txBody>
      </p:sp>
      <p:sp>
        <p:nvSpPr>
          <p:cNvPr id="51" name="TextBox 65">
            <a:extLst>
              <a:ext uri="{FF2B5EF4-FFF2-40B4-BE49-F238E27FC236}">
                <a16:creationId xmlns:a16="http://schemas.microsoft.com/office/drawing/2014/main" id="{B21F6BDC-3AEC-4978-B679-F31676B672CD}"/>
              </a:ext>
            </a:extLst>
          </p:cNvPr>
          <p:cNvSpPr txBox="1"/>
          <p:nvPr/>
        </p:nvSpPr>
        <p:spPr>
          <a:xfrm flipH="1">
            <a:off x="6281326" y="4976325"/>
            <a:ext cx="1987912" cy="498204"/>
          </a:xfrm>
          <a:prstGeom prst="rect">
            <a:avLst/>
          </a:prstGeom>
          <a:noFill/>
        </p:spPr>
        <p:txBody>
          <a:bodyPr wrap="square" lIns="0" tIns="36000" rIns="0" bIns="36000" rtlCol="0">
            <a:spAutoFit/>
          </a:bodyPr>
          <a:lstStyle/>
          <a:p>
            <a:pPr marL="0" marR="0" lvl="0" indent="0" algn="l" defTabSz="914400" rtl="0" eaLnBrk="1" fontAlgn="auto" latinLnBrk="0" hangingPunct="1">
              <a:lnSpc>
                <a:spcPct val="120000"/>
              </a:lnSpc>
              <a:spcBef>
                <a:spcPts val="600"/>
              </a:spcBef>
              <a:spcAft>
                <a:spcPts val="0"/>
              </a:spcAft>
              <a:buClrTx/>
              <a:buSzTx/>
              <a:buFontTx/>
              <a:buNone/>
              <a:tabLst/>
              <a:defRPr/>
            </a:pPr>
            <a:r>
              <a:rPr kumimoji="0" lang="en-US" sz="1200" b="0" i="0" u="none" strike="noStrike" kern="1200" cap="none" spc="0" normalizeH="0" baseline="0" noProof="0" dirty="0">
                <a:ln>
                  <a:noFill/>
                </a:ln>
                <a:solidFill>
                  <a:prstClr val="black">
                    <a:lumMod val="50000"/>
                    <a:lumOff val="50000"/>
                  </a:prstClr>
                </a:solidFill>
                <a:effectLst/>
                <a:uLnTx/>
                <a:uFillTx/>
                <a:latin typeface="HarmonyOS Sans SC"/>
                <a:cs typeface="+mn-cs"/>
              </a:rPr>
              <a:t>Apparently we had reached a great height in the.</a:t>
            </a:r>
          </a:p>
        </p:txBody>
      </p:sp>
      <p:sp>
        <p:nvSpPr>
          <p:cNvPr id="53" name="TextBox 65">
            <a:extLst>
              <a:ext uri="{FF2B5EF4-FFF2-40B4-BE49-F238E27FC236}">
                <a16:creationId xmlns:a16="http://schemas.microsoft.com/office/drawing/2014/main" id="{EB53536A-34E3-43A3-A0B2-1D460A6B29E0}"/>
              </a:ext>
            </a:extLst>
          </p:cNvPr>
          <p:cNvSpPr txBox="1"/>
          <p:nvPr/>
        </p:nvSpPr>
        <p:spPr>
          <a:xfrm flipH="1">
            <a:off x="8840171" y="4592926"/>
            <a:ext cx="2056261" cy="387598"/>
          </a:xfrm>
          <a:prstGeom prst="rect">
            <a:avLst/>
          </a:prstGeom>
          <a:noFill/>
        </p:spPr>
        <p:txBody>
          <a:bodyPr wrap="square" lIns="0" tIns="36000" rIns="0" bIns="36000" rtlCol="0">
            <a:spAutoFit/>
          </a:bodyPr>
          <a:lstStyle/>
          <a:p>
            <a:pPr marL="0" marR="0" lvl="0" indent="0" algn="l" defTabSz="914400" rtl="0" eaLnBrk="1" fontAlgn="auto" latinLnBrk="0" hangingPunct="1">
              <a:lnSpc>
                <a:spcPct val="120000"/>
              </a:lnSpc>
              <a:spcBef>
                <a:spcPts val="600"/>
              </a:spcBef>
              <a:spcAft>
                <a:spcPts val="0"/>
              </a:spcAft>
              <a:buClrTx/>
              <a:buSzTx/>
              <a:buFontTx/>
              <a:buNone/>
              <a:tabLst/>
              <a:defRPr/>
            </a:pPr>
            <a:r>
              <a:rPr kumimoji="0" lang="zh-CN" altLang="en-US" sz="1800" b="0" i="0" u="none" strike="noStrike" kern="1200" cap="none" spc="0" normalizeH="0" baseline="0" noProof="0" dirty="0">
                <a:ln>
                  <a:noFill/>
                </a:ln>
                <a:solidFill>
                  <a:schemeClr val="accent1"/>
                </a:solidFill>
                <a:effectLst/>
                <a:uLnTx/>
                <a:uFillTx/>
                <a:latin typeface="HarmonyOS Sans SC Black"/>
                <a:ea typeface="+mj-ea"/>
                <a:cs typeface="+mn-cs"/>
              </a:rPr>
              <a:t>关键词标题</a:t>
            </a:r>
            <a:endParaRPr kumimoji="0" lang="en-US" sz="1800" b="0" i="0" u="none" strike="noStrike" kern="1200" cap="none" spc="0" normalizeH="0" baseline="0" noProof="0" dirty="0">
              <a:ln>
                <a:noFill/>
              </a:ln>
              <a:solidFill>
                <a:schemeClr val="accent1"/>
              </a:solidFill>
              <a:effectLst/>
              <a:uLnTx/>
              <a:uFillTx/>
              <a:latin typeface="HarmonyOS Sans SC Black"/>
              <a:ea typeface="+mj-ea"/>
              <a:cs typeface="+mn-cs"/>
            </a:endParaRPr>
          </a:p>
        </p:txBody>
      </p:sp>
      <p:sp>
        <p:nvSpPr>
          <p:cNvPr id="54" name="TextBox 65">
            <a:extLst>
              <a:ext uri="{FF2B5EF4-FFF2-40B4-BE49-F238E27FC236}">
                <a16:creationId xmlns:a16="http://schemas.microsoft.com/office/drawing/2014/main" id="{01ED9046-9DAF-4F27-B518-1B21DD317CCD}"/>
              </a:ext>
            </a:extLst>
          </p:cNvPr>
          <p:cNvSpPr txBox="1"/>
          <p:nvPr/>
        </p:nvSpPr>
        <p:spPr>
          <a:xfrm flipH="1">
            <a:off x="8840170" y="4976325"/>
            <a:ext cx="1987912" cy="498204"/>
          </a:xfrm>
          <a:prstGeom prst="rect">
            <a:avLst/>
          </a:prstGeom>
          <a:noFill/>
        </p:spPr>
        <p:txBody>
          <a:bodyPr wrap="square" lIns="0" tIns="36000" rIns="0" bIns="36000" rtlCol="0">
            <a:spAutoFit/>
          </a:bodyPr>
          <a:lstStyle/>
          <a:p>
            <a:pPr marL="0" marR="0" lvl="0" indent="0" algn="l" defTabSz="914400" rtl="0" eaLnBrk="1" fontAlgn="auto" latinLnBrk="0" hangingPunct="1">
              <a:lnSpc>
                <a:spcPct val="120000"/>
              </a:lnSpc>
              <a:spcBef>
                <a:spcPts val="600"/>
              </a:spcBef>
              <a:spcAft>
                <a:spcPts val="0"/>
              </a:spcAft>
              <a:buClrTx/>
              <a:buSzTx/>
              <a:buFontTx/>
              <a:buNone/>
              <a:tabLst/>
              <a:defRPr/>
            </a:pPr>
            <a:r>
              <a:rPr kumimoji="0" lang="en-US" sz="1200" b="0" i="0" u="none" strike="noStrike" kern="1200" cap="none" spc="0" normalizeH="0" baseline="0" noProof="0" dirty="0">
                <a:ln>
                  <a:noFill/>
                </a:ln>
                <a:solidFill>
                  <a:prstClr val="black">
                    <a:lumMod val="50000"/>
                    <a:lumOff val="50000"/>
                  </a:prstClr>
                </a:solidFill>
                <a:effectLst/>
                <a:uLnTx/>
                <a:uFillTx/>
                <a:latin typeface="HarmonyOS Sans SC"/>
                <a:cs typeface="+mn-cs"/>
              </a:rPr>
              <a:t>Apparently we had reached a great height in the.</a:t>
            </a:r>
          </a:p>
        </p:txBody>
      </p:sp>
    </p:spTree>
    <p:extLst>
      <p:ext uri="{BB962C8B-B14F-4D97-AF65-F5344CB8AC3E}">
        <p14:creationId xmlns:p14="http://schemas.microsoft.com/office/powerpoint/2010/main" val="1825186891"/>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a:extLst>
              <a:ext uri="{FF2B5EF4-FFF2-40B4-BE49-F238E27FC236}">
                <a16:creationId xmlns:a16="http://schemas.microsoft.com/office/drawing/2014/main" id="{46E3E8F0-6094-405D-98EE-5BB689C32B74}"/>
              </a:ext>
            </a:extLst>
          </p:cNvPr>
          <p:cNvSpPr/>
          <p:nvPr/>
        </p:nvSpPr>
        <p:spPr>
          <a:xfrm>
            <a:off x="733425" y="0"/>
            <a:ext cx="2415514" cy="685006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p>
        </p:txBody>
      </p:sp>
      <p:grpSp>
        <p:nvGrpSpPr>
          <p:cNvPr id="13" name="组合 12">
            <a:extLst>
              <a:ext uri="{FF2B5EF4-FFF2-40B4-BE49-F238E27FC236}">
                <a16:creationId xmlns:a16="http://schemas.microsoft.com/office/drawing/2014/main" id="{9526A251-C19A-4116-9104-59AFC0367172}"/>
              </a:ext>
            </a:extLst>
          </p:cNvPr>
          <p:cNvGrpSpPr/>
          <p:nvPr/>
        </p:nvGrpSpPr>
        <p:grpSpPr>
          <a:xfrm>
            <a:off x="3654715" y="2596198"/>
            <a:ext cx="7964755" cy="2074009"/>
            <a:chOff x="3416590" y="2462848"/>
            <a:chExt cx="8542544" cy="2224464"/>
          </a:xfrm>
        </p:grpSpPr>
        <p:sp>
          <p:nvSpPr>
            <p:cNvPr id="3" name="文本框 2">
              <a:extLst>
                <a:ext uri="{FF2B5EF4-FFF2-40B4-BE49-F238E27FC236}">
                  <a16:creationId xmlns:a16="http://schemas.microsoft.com/office/drawing/2014/main" id="{7E9CAE99-39FF-48B3-8834-E98600726548}"/>
                </a:ext>
              </a:extLst>
            </p:cNvPr>
            <p:cNvSpPr txBox="1"/>
            <p:nvPr/>
          </p:nvSpPr>
          <p:spPr>
            <a:xfrm>
              <a:off x="3649167" y="3000772"/>
              <a:ext cx="8309967" cy="1107996"/>
            </a:xfrm>
            <a:prstGeom prst="rect">
              <a:avLst/>
            </a:prstGeom>
            <a:noFill/>
          </p:spPr>
          <p:txBody>
            <a:bodyPr wrap="none" lIns="0" tIns="0" rIns="0" bIns="0" rtlCol="0" anchor="t">
              <a:spAutoFit/>
            </a:bodyPr>
            <a:lstStyle/>
            <a:p>
              <a:r>
                <a:rPr lang="zh-CN" altLang="en-US" sz="6600" dirty="0">
                  <a:solidFill>
                    <a:schemeClr val="accent1">
                      <a:lumMod val="100000"/>
                    </a:schemeClr>
                  </a:solidFill>
                  <a:latin typeface="+mj-ea"/>
                  <a:ea typeface="+mj-ea"/>
                </a:rPr>
                <a:t>输入你的封面大标题</a:t>
              </a:r>
            </a:p>
          </p:txBody>
        </p:sp>
        <p:sp>
          <p:nvSpPr>
            <p:cNvPr id="4" name="文本框 3">
              <a:extLst>
                <a:ext uri="{FF2B5EF4-FFF2-40B4-BE49-F238E27FC236}">
                  <a16:creationId xmlns:a16="http://schemas.microsoft.com/office/drawing/2014/main" id="{A45ADB17-5619-46A8-A6BC-232838D0E95A}"/>
                </a:ext>
              </a:extLst>
            </p:cNvPr>
            <p:cNvSpPr txBox="1"/>
            <p:nvPr/>
          </p:nvSpPr>
          <p:spPr>
            <a:xfrm>
              <a:off x="3738118" y="2462848"/>
              <a:ext cx="3576123" cy="330104"/>
            </a:xfrm>
            <a:prstGeom prst="rect">
              <a:avLst/>
            </a:prstGeom>
            <a:noFill/>
          </p:spPr>
          <p:txBody>
            <a:bodyPr wrap="none" lIns="0" tIns="0" rIns="0" bIns="0" rtlCol="0" anchor="t">
              <a:spAutoFit/>
            </a:bodyPr>
            <a:lstStyle/>
            <a:p>
              <a:r>
                <a:rPr lang="zh-CN" altLang="en-US" sz="2000" dirty="0">
                  <a:solidFill>
                    <a:schemeClr val="accent1">
                      <a:lumMod val="100000"/>
                    </a:schemeClr>
                  </a:solidFill>
                  <a:latin typeface="+mn-ea"/>
                </a:rPr>
                <a:t>输入你的副标题或大标题英文</a:t>
              </a:r>
            </a:p>
          </p:txBody>
        </p:sp>
        <p:cxnSp>
          <p:nvCxnSpPr>
            <p:cNvPr id="5" name="直接连接符 4">
              <a:extLst>
                <a:ext uri="{FF2B5EF4-FFF2-40B4-BE49-F238E27FC236}">
                  <a16:creationId xmlns:a16="http://schemas.microsoft.com/office/drawing/2014/main" id="{FDB09584-B919-4D42-84FE-AE38F666FCBB}"/>
                </a:ext>
              </a:extLst>
            </p:cNvPr>
            <p:cNvCxnSpPr>
              <a:cxnSpLocks/>
            </p:cNvCxnSpPr>
            <p:nvPr/>
          </p:nvCxnSpPr>
          <p:spPr>
            <a:xfrm flipH="1">
              <a:off x="7471711" y="2627900"/>
              <a:ext cx="4222913" cy="0"/>
            </a:xfrm>
            <a:prstGeom prst="line">
              <a:avLst/>
            </a:prstGeom>
            <a:ln w="19050">
              <a:solidFill>
                <a:schemeClr val="accent1">
                  <a:lumMod val="100000"/>
                </a:schemeClr>
              </a:solidFill>
            </a:ln>
          </p:spPr>
          <p:style>
            <a:lnRef idx="1">
              <a:schemeClr val="accent1"/>
            </a:lnRef>
            <a:fillRef idx="0">
              <a:schemeClr val="accent1"/>
            </a:fillRef>
            <a:effectRef idx="0">
              <a:schemeClr val="accent1"/>
            </a:effectRef>
            <a:fontRef idx="minor">
              <a:schemeClr val="tx1"/>
            </a:fontRef>
          </p:style>
        </p:cxnSp>
        <p:grpSp>
          <p:nvGrpSpPr>
            <p:cNvPr id="6" name="组合 5">
              <a:extLst>
                <a:ext uri="{FF2B5EF4-FFF2-40B4-BE49-F238E27FC236}">
                  <a16:creationId xmlns:a16="http://schemas.microsoft.com/office/drawing/2014/main" id="{ADDBAC17-F777-4132-A96F-76F5BA989F59}"/>
                </a:ext>
              </a:extLst>
            </p:cNvPr>
            <p:cNvGrpSpPr/>
            <p:nvPr/>
          </p:nvGrpSpPr>
          <p:grpSpPr>
            <a:xfrm>
              <a:off x="3416590" y="4456239"/>
              <a:ext cx="1403066" cy="231073"/>
              <a:chOff x="4095451" y="4640913"/>
              <a:chExt cx="1403066" cy="231073"/>
            </a:xfrm>
          </p:grpSpPr>
          <p:sp>
            <p:nvSpPr>
              <p:cNvPr id="7" name="矩形 6">
                <a:extLst>
                  <a:ext uri="{FF2B5EF4-FFF2-40B4-BE49-F238E27FC236}">
                    <a16:creationId xmlns:a16="http://schemas.microsoft.com/office/drawing/2014/main" id="{0F837A4A-E919-4648-8B83-57BD76A541FE}"/>
                  </a:ext>
                </a:extLst>
              </p:cNvPr>
              <p:cNvSpPr/>
              <p:nvPr/>
            </p:nvSpPr>
            <p:spPr>
              <a:xfrm>
                <a:off x="4095451" y="4672584"/>
                <a:ext cx="164592" cy="164592"/>
              </a:xfrm>
              <a:prstGeom prst="rect">
                <a:avLst/>
              </a:prstGeom>
              <a:solidFill>
                <a:schemeClr val="accent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zh-CN" altLang="en-US" sz="5400" dirty="0"/>
              </a:p>
            </p:txBody>
          </p:sp>
          <p:sp>
            <p:nvSpPr>
              <p:cNvPr id="8" name="文本框 7">
                <a:extLst>
                  <a:ext uri="{FF2B5EF4-FFF2-40B4-BE49-F238E27FC236}">
                    <a16:creationId xmlns:a16="http://schemas.microsoft.com/office/drawing/2014/main" id="{77CE084B-F723-4F17-B5AE-BF0F2C7CC068}"/>
                  </a:ext>
                </a:extLst>
              </p:cNvPr>
              <p:cNvSpPr txBox="1"/>
              <p:nvPr/>
            </p:nvSpPr>
            <p:spPr>
              <a:xfrm>
                <a:off x="4408487" y="4640913"/>
                <a:ext cx="1090030" cy="231073"/>
              </a:xfrm>
              <a:prstGeom prst="rect">
                <a:avLst/>
              </a:prstGeom>
              <a:noFill/>
            </p:spPr>
            <p:txBody>
              <a:bodyPr wrap="none" lIns="0" tIns="0" rIns="0" bIns="0" rtlCol="0" anchor="t">
                <a:spAutoFit/>
              </a:bodyPr>
              <a:lstStyle/>
              <a:p>
                <a:r>
                  <a:rPr lang="zh-CN" altLang="en-US" sz="1400" dirty="0">
                    <a:solidFill>
                      <a:schemeClr val="accent1">
                        <a:lumMod val="100000"/>
                      </a:schemeClr>
                    </a:solidFill>
                    <a:latin typeface="+mn-ea"/>
                  </a:rPr>
                  <a:t>汇报人：</a:t>
                </a:r>
                <a:r>
                  <a:rPr lang="en-US" altLang="zh-CN" sz="1400" dirty="0">
                    <a:solidFill>
                      <a:schemeClr val="accent1">
                        <a:lumMod val="100000"/>
                      </a:schemeClr>
                    </a:solidFill>
                    <a:latin typeface="+mn-ea"/>
                  </a:rPr>
                  <a:t>xxx</a:t>
                </a:r>
                <a:endParaRPr lang="zh-CN" altLang="en-US" sz="1400" dirty="0">
                  <a:solidFill>
                    <a:schemeClr val="accent1">
                      <a:lumMod val="100000"/>
                    </a:schemeClr>
                  </a:solidFill>
                  <a:latin typeface="+mn-ea"/>
                </a:endParaRPr>
              </a:p>
            </p:txBody>
          </p:sp>
        </p:grpSp>
        <p:grpSp>
          <p:nvGrpSpPr>
            <p:cNvPr id="9" name="组合 8">
              <a:extLst>
                <a:ext uri="{FF2B5EF4-FFF2-40B4-BE49-F238E27FC236}">
                  <a16:creationId xmlns:a16="http://schemas.microsoft.com/office/drawing/2014/main" id="{A3496D04-353C-4BC2-8B40-56E5A5D50827}"/>
                </a:ext>
              </a:extLst>
            </p:cNvPr>
            <p:cNvGrpSpPr/>
            <p:nvPr/>
          </p:nvGrpSpPr>
          <p:grpSpPr>
            <a:xfrm>
              <a:off x="5675158" y="4456239"/>
              <a:ext cx="1210505" cy="231073"/>
              <a:chOff x="4095451" y="4640913"/>
              <a:chExt cx="1210505" cy="231073"/>
            </a:xfrm>
          </p:grpSpPr>
          <p:sp>
            <p:nvSpPr>
              <p:cNvPr id="10" name="矩形 9">
                <a:extLst>
                  <a:ext uri="{FF2B5EF4-FFF2-40B4-BE49-F238E27FC236}">
                    <a16:creationId xmlns:a16="http://schemas.microsoft.com/office/drawing/2014/main" id="{86B0E1D4-4A01-4647-A0F3-5F4C7B172A29}"/>
                  </a:ext>
                </a:extLst>
              </p:cNvPr>
              <p:cNvSpPr/>
              <p:nvPr/>
            </p:nvSpPr>
            <p:spPr>
              <a:xfrm>
                <a:off x="4095451" y="4672584"/>
                <a:ext cx="164592" cy="164592"/>
              </a:xfrm>
              <a:prstGeom prst="rect">
                <a:avLst/>
              </a:prstGeom>
              <a:solidFill>
                <a:schemeClr val="accent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zh-CN" altLang="en-US" sz="5400" dirty="0"/>
              </a:p>
            </p:txBody>
          </p:sp>
          <p:sp>
            <p:nvSpPr>
              <p:cNvPr id="11" name="文本框 10">
                <a:extLst>
                  <a:ext uri="{FF2B5EF4-FFF2-40B4-BE49-F238E27FC236}">
                    <a16:creationId xmlns:a16="http://schemas.microsoft.com/office/drawing/2014/main" id="{E5F44203-35AC-492D-8949-223B2C2C0AAC}"/>
                  </a:ext>
                </a:extLst>
              </p:cNvPr>
              <p:cNvSpPr txBox="1"/>
              <p:nvPr/>
            </p:nvSpPr>
            <p:spPr>
              <a:xfrm>
                <a:off x="4408487" y="4640913"/>
                <a:ext cx="897469" cy="231073"/>
              </a:xfrm>
              <a:prstGeom prst="rect">
                <a:avLst/>
              </a:prstGeom>
              <a:noFill/>
            </p:spPr>
            <p:txBody>
              <a:bodyPr wrap="none" lIns="0" tIns="0" rIns="0" bIns="0" rtlCol="0" anchor="t">
                <a:spAutoFit/>
              </a:bodyPr>
              <a:lstStyle/>
              <a:p>
                <a:r>
                  <a:rPr lang="zh-CN" altLang="en-US" sz="1400" dirty="0">
                    <a:solidFill>
                      <a:schemeClr val="accent1">
                        <a:lumMod val="100000"/>
                      </a:schemeClr>
                    </a:solidFill>
                    <a:latin typeface="+mn-ea"/>
                  </a:rPr>
                  <a:t>单位：</a:t>
                </a:r>
                <a:r>
                  <a:rPr lang="en-US" altLang="zh-CN" sz="1400" dirty="0">
                    <a:solidFill>
                      <a:schemeClr val="accent1">
                        <a:lumMod val="100000"/>
                      </a:schemeClr>
                    </a:solidFill>
                    <a:latin typeface="+mn-ea"/>
                  </a:rPr>
                  <a:t>xxx</a:t>
                </a:r>
                <a:endParaRPr lang="zh-CN" altLang="en-US" sz="1400" dirty="0">
                  <a:solidFill>
                    <a:schemeClr val="accent1">
                      <a:lumMod val="100000"/>
                    </a:schemeClr>
                  </a:solidFill>
                  <a:latin typeface="+mn-ea"/>
                </a:endParaRPr>
              </a:p>
            </p:txBody>
          </p:sp>
        </p:grpSp>
        <p:sp>
          <p:nvSpPr>
            <p:cNvPr id="12" name="矩形 11">
              <a:extLst>
                <a:ext uri="{FF2B5EF4-FFF2-40B4-BE49-F238E27FC236}">
                  <a16:creationId xmlns:a16="http://schemas.microsoft.com/office/drawing/2014/main" id="{2AE306BA-76FC-47C0-81AF-0EC005165BD8}"/>
                </a:ext>
              </a:extLst>
            </p:cNvPr>
            <p:cNvSpPr/>
            <p:nvPr/>
          </p:nvSpPr>
          <p:spPr>
            <a:xfrm flipH="1">
              <a:off x="3416590" y="2462848"/>
              <a:ext cx="91440" cy="1519237"/>
            </a:xfrm>
            <a:prstGeom prst="rect">
              <a:avLst/>
            </a:prstGeom>
            <a:solidFill>
              <a:schemeClr val="accent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zh-CN" altLang="en-US" sz="5400" dirty="0"/>
            </a:p>
          </p:txBody>
        </p:sp>
      </p:grpSp>
    </p:spTree>
    <p:extLst>
      <p:ext uri="{BB962C8B-B14F-4D97-AF65-F5344CB8AC3E}">
        <p14:creationId xmlns:p14="http://schemas.microsoft.com/office/powerpoint/2010/main" val="1534866850"/>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45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5" name="Rectangle 34">
            <a:extLst>
              <a:ext uri="{FF2B5EF4-FFF2-40B4-BE49-F238E27FC236}">
                <a16:creationId xmlns:a16="http://schemas.microsoft.com/office/drawing/2014/main" id="{12A2157E-22CA-4CDD-B650-49E980DE0D43}"/>
              </a:ext>
            </a:extLst>
          </p:cNvPr>
          <p:cNvSpPr/>
          <p:nvPr/>
        </p:nvSpPr>
        <p:spPr>
          <a:xfrm flipV="1">
            <a:off x="4455227" y="1588484"/>
            <a:ext cx="552201" cy="4571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6" name="Cross 35">
            <a:extLst>
              <a:ext uri="{FF2B5EF4-FFF2-40B4-BE49-F238E27FC236}">
                <a16:creationId xmlns:a16="http://schemas.microsoft.com/office/drawing/2014/main" id="{E8B08A27-179C-4444-9132-7BB089A08C11}"/>
              </a:ext>
            </a:extLst>
          </p:cNvPr>
          <p:cNvSpPr/>
          <p:nvPr/>
        </p:nvSpPr>
        <p:spPr>
          <a:xfrm rot="2700000">
            <a:off x="7983765" y="405515"/>
            <a:ext cx="351610" cy="351610"/>
          </a:xfrm>
          <a:prstGeom prst="plus">
            <a:avLst>
              <a:gd name="adj" fmla="val 42999"/>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7" name="文本框 36">
            <a:extLst>
              <a:ext uri="{FF2B5EF4-FFF2-40B4-BE49-F238E27FC236}">
                <a16:creationId xmlns:a16="http://schemas.microsoft.com/office/drawing/2014/main" id="{91C1FA18-DD1F-4D26-8F8D-4C6E2257419F}"/>
              </a:ext>
            </a:extLst>
          </p:cNvPr>
          <p:cNvSpPr txBox="1"/>
          <p:nvPr/>
        </p:nvSpPr>
        <p:spPr>
          <a:xfrm>
            <a:off x="4736493" y="918105"/>
            <a:ext cx="2719014" cy="52322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2800" b="0" i="0" u="none" strike="noStrike" kern="1200" cap="none" spc="0" normalizeH="0" baseline="0" noProof="0" dirty="0">
                <a:ln>
                  <a:noFill/>
                </a:ln>
                <a:solidFill>
                  <a:prstClr val="black"/>
                </a:solidFill>
                <a:effectLst/>
                <a:uLnTx/>
                <a:uFillTx/>
                <a:latin typeface="HarmonyOS Sans Black"/>
                <a:ea typeface="+mj-ea"/>
                <a:cs typeface="+mn-cs"/>
              </a:rPr>
              <a:t>The Data Here</a:t>
            </a:r>
          </a:p>
        </p:txBody>
      </p:sp>
      <p:sp>
        <p:nvSpPr>
          <p:cNvPr id="3" name="Freeform 6">
            <a:extLst>
              <a:ext uri="{FF2B5EF4-FFF2-40B4-BE49-F238E27FC236}">
                <a16:creationId xmlns:a16="http://schemas.microsoft.com/office/drawing/2014/main" id="{1AE4E56E-FFE6-4CE6-AB13-5077654C29AF}"/>
              </a:ext>
            </a:extLst>
          </p:cNvPr>
          <p:cNvSpPr>
            <a:spLocks/>
          </p:cNvSpPr>
          <p:nvPr/>
        </p:nvSpPr>
        <p:spPr bwMode="auto">
          <a:xfrm>
            <a:off x="1179432" y="2304399"/>
            <a:ext cx="1815534" cy="2414308"/>
          </a:xfrm>
          <a:custGeom>
            <a:avLst/>
            <a:gdLst>
              <a:gd name="T0" fmla="*/ 0 w 2159"/>
              <a:gd name="T1" fmla="*/ 4460 h 4460"/>
              <a:gd name="T2" fmla="*/ 1088 w 2159"/>
              <a:gd name="T3" fmla="*/ 0 h 4460"/>
              <a:gd name="T4" fmla="*/ 2159 w 2159"/>
              <a:gd name="T5" fmla="*/ 4460 h 4460"/>
              <a:gd name="T6" fmla="*/ 0 w 2159"/>
              <a:gd name="T7" fmla="*/ 4460 h 4460"/>
            </a:gdLst>
            <a:ahLst/>
            <a:cxnLst>
              <a:cxn ang="0">
                <a:pos x="T0" y="T1"/>
              </a:cxn>
              <a:cxn ang="0">
                <a:pos x="T2" y="T3"/>
              </a:cxn>
              <a:cxn ang="0">
                <a:pos x="T4" y="T5"/>
              </a:cxn>
              <a:cxn ang="0">
                <a:pos x="T6" y="T7"/>
              </a:cxn>
            </a:cxnLst>
            <a:rect l="0" t="0" r="r" b="b"/>
            <a:pathLst>
              <a:path w="2159" h="4460">
                <a:moveTo>
                  <a:pt x="0" y="4460"/>
                </a:moveTo>
                <a:lnTo>
                  <a:pt x="1088" y="0"/>
                </a:lnTo>
                <a:lnTo>
                  <a:pt x="2159" y="4460"/>
                </a:lnTo>
                <a:lnTo>
                  <a:pt x="0" y="4460"/>
                </a:lnTo>
                <a:close/>
              </a:path>
            </a:pathLst>
          </a:custGeom>
          <a:gradFill flip="none" rotWithShape="1">
            <a:gsLst>
              <a:gs pos="0">
                <a:schemeClr val="accent1">
                  <a:lumMod val="20000"/>
                  <a:lumOff val="80000"/>
                </a:schemeClr>
              </a:gs>
              <a:gs pos="12000">
                <a:schemeClr val="accent1">
                  <a:lumMod val="40000"/>
                  <a:lumOff val="60000"/>
                </a:schemeClr>
              </a:gs>
              <a:gs pos="30000">
                <a:schemeClr val="accent1">
                  <a:lumMod val="60000"/>
                  <a:lumOff val="40000"/>
                </a:schemeClr>
              </a:gs>
              <a:gs pos="75000">
                <a:schemeClr val="accent1"/>
              </a:gs>
            </a:gsLst>
            <a:lin ang="810000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1800" b="0" i="0" u="none" strike="noStrike" kern="1200" cap="none" spc="0" normalizeH="0" baseline="0" noProof="0">
              <a:ln>
                <a:noFill/>
              </a:ln>
              <a:solidFill>
                <a:prstClr val="black"/>
              </a:solidFill>
              <a:effectLst/>
              <a:uLnTx/>
              <a:uFillTx/>
              <a:latin typeface="HarmonyOS Sans SC"/>
              <a:cs typeface="Cordia New" panose="020B0502040204020203" pitchFamily="34" charset="-34"/>
            </a:endParaRPr>
          </a:p>
        </p:txBody>
      </p:sp>
      <p:sp>
        <p:nvSpPr>
          <p:cNvPr id="4" name="Freeform 10">
            <a:extLst>
              <a:ext uri="{FF2B5EF4-FFF2-40B4-BE49-F238E27FC236}">
                <a16:creationId xmlns:a16="http://schemas.microsoft.com/office/drawing/2014/main" id="{0C5CFD0D-7CEA-4BE7-A195-CD74E09D4394}"/>
              </a:ext>
            </a:extLst>
          </p:cNvPr>
          <p:cNvSpPr>
            <a:spLocks/>
          </p:cNvSpPr>
          <p:nvPr/>
        </p:nvSpPr>
        <p:spPr bwMode="auto">
          <a:xfrm>
            <a:off x="1179432" y="2304399"/>
            <a:ext cx="914915" cy="2414308"/>
          </a:xfrm>
          <a:custGeom>
            <a:avLst/>
            <a:gdLst>
              <a:gd name="T0" fmla="*/ 1088 w 1088"/>
              <a:gd name="T1" fmla="*/ 0 h 4460"/>
              <a:gd name="T2" fmla="*/ 0 w 1088"/>
              <a:gd name="T3" fmla="*/ 4460 h 4460"/>
              <a:gd name="T4" fmla="*/ 1072 w 1088"/>
              <a:gd name="T5" fmla="*/ 2726 h 4460"/>
              <a:gd name="T6" fmla="*/ 1088 w 1088"/>
              <a:gd name="T7" fmla="*/ 0 h 4460"/>
            </a:gdLst>
            <a:ahLst/>
            <a:cxnLst>
              <a:cxn ang="0">
                <a:pos x="T0" y="T1"/>
              </a:cxn>
              <a:cxn ang="0">
                <a:pos x="T2" y="T3"/>
              </a:cxn>
              <a:cxn ang="0">
                <a:pos x="T4" y="T5"/>
              </a:cxn>
              <a:cxn ang="0">
                <a:pos x="T6" y="T7"/>
              </a:cxn>
            </a:cxnLst>
            <a:rect l="0" t="0" r="r" b="b"/>
            <a:pathLst>
              <a:path w="1088" h="4460">
                <a:moveTo>
                  <a:pt x="1088" y="0"/>
                </a:moveTo>
                <a:lnTo>
                  <a:pt x="0" y="4460"/>
                </a:lnTo>
                <a:lnTo>
                  <a:pt x="1072" y="2726"/>
                </a:lnTo>
                <a:lnTo>
                  <a:pt x="1088" y="0"/>
                </a:lnTo>
                <a:close/>
              </a:path>
            </a:pathLst>
          </a:custGeom>
          <a:gradFill flip="none" rotWithShape="1">
            <a:gsLst>
              <a:gs pos="0">
                <a:schemeClr val="accent1">
                  <a:lumMod val="20000"/>
                  <a:lumOff val="80000"/>
                </a:schemeClr>
              </a:gs>
              <a:gs pos="12000">
                <a:schemeClr val="accent1">
                  <a:lumMod val="40000"/>
                  <a:lumOff val="60000"/>
                </a:schemeClr>
              </a:gs>
              <a:gs pos="30000">
                <a:schemeClr val="accent1">
                  <a:lumMod val="60000"/>
                  <a:lumOff val="40000"/>
                </a:schemeClr>
              </a:gs>
              <a:gs pos="75000">
                <a:schemeClr val="accent1"/>
              </a:gs>
            </a:gsLst>
            <a:lin ang="810000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1800" b="0" i="0" u="none" strike="noStrike" kern="1200" cap="none" spc="0" normalizeH="0" baseline="0" noProof="0">
              <a:ln>
                <a:noFill/>
              </a:ln>
              <a:solidFill>
                <a:prstClr val="black"/>
              </a:solidFill>
              <a:effectLst/>
              <a:uLnTx/>
              <a:uFillTx/>
              <a:latin typeface="HarmonyOS Sans SC"/>
              <a:cs typeface="Cordia New" panose="020B0502040204020203" pitchFamily="34" charset="-34"/>
            </a:endParaRPr>
          </a:p>
        </p:txBody>
      </p:sp>
      <p:sp>
        <p:nvSpPr>
          <p:cNvPr id="14" name="Rectangle 36">
            <a:extLst>
              <a:ext uri="{FF2B5EF4-FFF2-40B4-BE49-F238E27FC236}">
                <a16:creationId xmlns:a16="http://schemas.microsoft.com/office/drawing/2014/main" id="{9B1B97E2-C694-4B3E-A11C-7A80E873E015}"/>
              </a:ext>
            </a:extLst>
          </p:cNvPr>
          <p:cNvSpPr/>
          <p:nvPr/>
        </p:nvSpPr>
        <p:spPr>
          <a:xfrm>
            <a:off x="1671120" y="4099317"/>
            <a:ext cx="832158" cy="64633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d-ID" sz="3600" b="0" i="0" u="none" strike="noStrike" kern="1200" cap="none" spc="0" normalizeH="0" baseline="0" noProof="0" dirty="0">
                <a:ln>
                  <a:noFill/>
                </a:ln>
                <a:solidFill>
                  <a:prstClr val="white"/>
                </a:solidFill>
                <a:effectLst/>
                <a:uLnTx/>
                <a:uFillTx/>
                <a:latin typeface="HarmonyOS Sans SC Black"/>
                <a:ea typeface="+mj-ea"/>
                <a:cs typeface="Open Sans" panose="020B0606030504020204" pitchFamily="34" charset="0"/>
              </a:rPr>
              <a:t>01</a:t>
            </a:r>
            <a:endParaRPr kumimoji="0" lang="id-ID" sz="3600" b="0" i="0" u="none" strike="noStrike" kern="1200" cap="none" spc="0" normalizeH="0" baseline="0" noProof="0" dirty="0">
              <a:ln>
                <a:noFill/>
              </a:ln>
              <a:solidFill>
                <a:prstClr val="white"/>
              </a:solidFill>
              <a:effectLst/>
              <a:uLnTx/>
              <a:uFillTx/>
              <a:latin typeface="HarmonyOS Sans SC Black"/>
              <a:ea typeface="+mj-ea"/>
              <a:cs typeface="+mn-cs"/>
            </a:endParaRPr>
          </a:p>
        </p:txBody>
      </p:sp>
      <p:grpSp>
        <p:nvGrpSpPr>
          <p:cNvPr id="42" name="组合 41">
            <a:extLst>
              <a:ext uri="{FF2B5EF4-FFF2-40B4-BE49-F238E27FC236}">
                <a16:creationId xmlns:a16="http://schemas.microsoft.com/office/drawing/2014/main" id="{20ADA7D7-DDDE-41F5-B32A-A1000F08EF75}"/>
              </a:ext>
            </a:extLst>
          </p:cNvPr>
          <p:cNvGrpSpPr/>
          <p:nvPr/>
        </p:nvGrpSpPr>
        <p:grpSpPr>
          <a:xfrm>
            <a:off x="897583" y="4955576"/>
            <a:ext cx="2379233" cy="846145"/>
            <a:chOff x="1655793" y="4948365"/>
            <a:chExt cx="2379233" cy="846145"/>
          </a:xfrm>
        </p:grpSpPr>
        <p:sp>
          <p:nvSpPr>
            <p:cNvPr id="43" name="TextBox 65">
              <a:extLst>
                <a:ext uri="{FF2B5EF4-FFF2-40B4-BE49-F238E27FC236}">
                  <a16:creationId xmlns:a16="http://schemas.microsoft.com/office/drawing/2014/main" id="{3C22C9C8-D242-4438-A948-E1824BF67FF3}"/>
                </a:ext>
              </a:extLst>
            </p:cNvPr>
            <p:cNvSpPr txBox="1"/>
            <p:nvPr/>
          </p:nvSpPr>
          <p:spPr>
            <a:xfrm>
              <a:off x="1813923" y="4948365"/>
              <a:ext cx="2062972" cy="345598"/>
            </a:xfrm>
            <a:prstGeom prst="rect">
              <a:avLst/>
            </a:prstGeom>
            <a:solidFill>
              <a:schemeClr val="accent1"/>
            </a:solidFill>
          </p:spPr>
          <p:txBody>
            <a:bodyPr wrap="square" lIns="0" tIns="36000" rIns="0" bIns="36000" rtlCol="0">
              <a:spAutoFit/>
            </a:bodyPr>
            <a:lstStyle/>
            <a:p>
              <a:pPr marL="0" marR="0" lvl="0" indent="0" algn="ctr" defTabSz="914400" rtl="0" eaLnBrk="1" fontAlgn="auto" latinLnBrk="0" hangingPunct="1">
                <a:lnSpc>
                  <a:spcPct val="120000"/>
                </a:lnSpc>
                <a:spcBef>
                  <a:spcPts val="60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HarmonyOS Sans SC"/>
                  <a:cs typeface="+mn-cs"/>
                </a:rPr>
                <a:t>ENVIRONMENT</a:t>
              </a:r>
            </a:p>
          </p:txBody>
        </p:sp>
        <p:sp>
          <p:nvSpPr>
            <p:cNvPr id="44" name="TextBox 65">
              <a:extLst>
                <a:ext uri="{FF2B5EF4-FFF2-40B4-BE49-F238E27FC236}">
                  <a16:creationId xmlns:a16="http://schemas.microsoft.com/office/drawing/2014/main" id="{2B54B86C-4EA3-4501-ABFF-B2CEAF342BB0}"/>
                </a:ext>
              </a:extLst>
            </p:cNvPr>
            <p:cNvSpPr txBox="1"/>
            <p:nvPr/>
          </p:nvSpPr>
          <p:spPr>
            <a:xfrm>
              <a:off x="1655793" y="5331764"/>
              <a:ext cx="2379233" cy="462746"/>
            </a:xfrm>
            <a:prstGeom prst="rect">
              <a:avLst/>
            </a:prstGeom>
            <a:noFill/>
          </p:spPr>
          <p:txBody>
            <a:bodyPr wrap="square" lIns="0" tIns="36000" rIns="0" bIns="36000" rtlCol="0">
              <a:spAutoFit/>
            </a:bodyPr>
            <a:lstStyle/>
            <a:p>
              <a:pPr marL="0" marR="0" lvl="0" indent="0" algn="ctr" defTabSz="914400" rtl="0" eaLnBrk="1" fontAlgn="auto" latinLnBrk="0" hangingPunct="1">
                <a:lnSpc>
                  <a:spcPct val="120000"/>
                </a:lnSpc>
                <a:spcBef>
                  <a:spcPts val="600"/>
                </a:spcBef>
                <a:spcAft>
                  <a:spcPts val="0"/>
                </a:spcAft>
                <a:buClrTx/>
                <a:buSzTx/>
                <a:buFontTx/>
                <a:buNone/>
                <a:tabLst/>
                <a:defRPr/>
              </a:pPr>
              <a:r>
                <a:rPr kumimoji="0" lang="en-US" sz="1100" b="0" i="0" u="none" strike="noStrike" kern="1200" cap="none" spc="0" normalizeH="0" baseline="0" noProof="0" dirty="0">
                  <a:ln>
                    <a:noFill/>
                  </a:ln>
                  <a:solidFill>
                    <a:prstClr val="black">
                      <a:lumMod val="50000"/>
                      <a:lumOff val="50000"/>
                    </a:prstClr>
                  </a:solidFill>
                  <a:effectLst/>
                  <a:uLnTx/>
                  <a:uFillTx/>
                  <a:latin typeface="HarmonyOS Sans SC"/>
                  <a:cs typeface="+mn-cs"/>
                </a:rPr>
                <a:t>Lorem ipsum dolor sit </a:t>
              </a:r>
              <a:r>
                <a:rPr kumimoji="0" lang="en-US" sz="1100" b="0" i="0" u="none" strike="noStrike" kern="1200" cap="none" spc="0" normalizeH="0" baseline="0" noProof="0" dirty="0" err="1">
                  <a:ln>
                    <a:noFill/>
                  </a:ln>
                  <a:solidFill>
                    <a:prstClr val="black">
                      <a:lumMod val="50000"/>
                      <a:lumOff val="50000"/>
                    </a:prstClr>
                  </a:solidFill>
                  <a:effectLst/>
                  <a:uLnTx/>
                  <a:uFillTx/>
                  <a:latin typeface="HarmonyOS Sans SC"/>
                  <a:cs typeface="+mn-cs"/>
                </a:rPr>
                <a:t>amet</a:t>
              </a:r>
              <a:r>
                <a:rPr kumimoji="0" lang="en-US" sz="1100" b="0" i="0" u="none" strike="noStrike" kern="1200" cap="none" spc="0" normalizeH="0" baseline="0" noProof="0" dirty="0">
                  <a:ln>
                    <a:noFill/>
                  </a:ln>
                  <a:solidFill>
                    <a:prstClr val="black">
                      <a:lumMod val="50000"/>
                      <a:lumOff val="50000"/>
                    </a:prstClr>
                  </a:solidFill>
                  <a:effectLst/>
                  <a:uLnTx/>
                  <a:uFillTx/>
                  <a:latin typeface="HarmonyOS Sans SC"/>
                  <a:cs typeface="+mn-cs"/>
                </a:rPr>
                <a:t>, </a:t>
              </a:r>
              <a:r>
                <a:rPr kumimoji="0" lang="en-US" sz="1100" b="0" i="0" u="none" strike="noStrike" kern="1200" cap="none" spc="0" normalizeH="0" baseline="0" noProof="0" dirty="0" err="1">
                  <a:ln>
                    <a:noFill/>
                  </a:ln>
                  <a:solidFill>
                    <a:prstClr val="black">
                      <a:lumMod val="50000"/>
                      <a:lumOff val="50000"/>
                    </a:prstClr>
                  </a:solidFill>
                  <a:effectLst/>
                  <a:uLnTx/>
                  <a:uFillTx/>
                  <a:latin typeface="HarmonyOS Sans SC"/>
                  <a:cs typeface="+mn-cs"/>
                </a:rPr>
                <a:t>consectetur</a:t>
              </a:r>
              <a:r>
                <a:rPr kumimoji="0" lang="en-US" sz="1100" b="0" i="0" u="none" strike="noStrike" kern="1200" cap="none" spc="0" normalizeH="0" baseline="0" noProof="0" dirty="0">
                  <a:ln>
                    <a:noFill/>
                  </a:ln>
                  <a:solidFill>
                    <a:prstClr val="black">
                      <a:lumMod val="50000"/>
                      <a:lumOff val="50000"/>
                    </a:prstClr>
                  </a:solidFill>
                  <a:effectLst/>
                  <a:uLnTx/>
                  <a:uFillTx/>
                  <a:latin typeface="HarmonyOS Sans SC"/>
                  <a:cs typeface="+mn-cs"/>
                </a:rPr>
                <a:t> </a:t>
              </a:r>
              <a:r>
                <a:rPr kumimoji="0" lang="en-US" sz="1100" b="0" i="0" u="none" strike="noStrike" kern="1200" cap="none" spc="0" normalizeH="0" baseline="0" noProof="0" dirty="0" err="1">
                  <a:ln>
                    <a:noFill/>
                  </a:ln>
                  <a:solidFill>
                    <a:prstClr val="black">
                      <a:lumMod val="50000"/>
                      <a:lumOff val="50000"/>
                    </a:prstClr>
                  </a:solidFill>
                  <a:effectLst/>
                  <a:uLnTx/>
                  <a:uFillTx/>
                  <a:latin typeface="HarmonyOS Sans SC"/>
                  <a:cs typeface="+mn-cs"/>
                </a:rPr>
                <a:t>adipiscing</a:t>
              </a:r>
              <a:endParaRPr kumimoji="0" lang="en-US" sz="1100" b="0" i="0" u="none" strike="noStrike" kern="1200" cap="none" spc="0" normalizeH="0" baseline="0" noProof="0" dirty="0">
                <a:ln>
                  <a:noFill/>
                </a:ln>
                <a:solidFill>
                  <a:prstClr val="black">
                    <a:lumMod val="50000"/>
                    <a:lumOff val="50000"/>
                  </a:prstClr>
                </a:solidFill>
                <a:effectLst/>
                <a:uLnTx/>
                <a:uFillTx/>
                <a:latin typeface="HarmonyOS Sans SC"/>
                <a:cs typeface="+mn-cs"/>
              </a:endParaRPr>
            </a:p>
          </p:txBody>
        </p:sp>
      </p:grpSp>
      <p:sp>
        <p:nvSpPr>
          <p:cNvPr id="83" name="Freeform 6">
            <a:extLst>
              <a:ext uri="{FF2B5EF4-FFF2-40B4-BE49-F238E27FC236}">
                <a16:creationId xmlns:a16="http://schemas.microsoft.com/office/drawing/2014/main" id="{54F4C4C8-80EC-45D2-A4EB-0876421C4BD1}"/>
              </a:ext>
            </a:extLst>
          </p:cNvPr>
          <p:cNvSpPr>
            <a:spLocks/>
          </p:cNvSpPr>
          <p:nvPr/>
        </p:nvSpPr>
        <p:spPr bwMode="auto">
          <a:xfrm>
            <a:off x="3828072" y="2304399"/>
            <a:ext cx="1815534" cy="2414308"/>
          </a:xfrm>
          <a:custGeom>
            <a:avLst/>
            <a:gdLst>
              <a:gd name="T0" fmla="*/ 0 w 2159"/>
              <a:gd name="T1" fmla="*/ 4460 h 4460"/>
              <a:gd name="T2" fmla="*/ 1088 w 2159"/>
              <a:gd name="T3" fmla="*/ 0 h 4460"/>
              <a:gd name="T4" fmla="*/ 2159 w 2159"/>
              <a:gd name="T5" fmla="*/ 4460 h 4460"/>
              <a:gd name="T6" fmla="*/ 0 w 2159"/>
              <a:gd name="T7" fmla="*/ 4460 h 4460"/>
            </a:gdLst>
            <a:ahLst/>
            <a:cxnLst>
              <a:cxn ang="0">
                <a:pos x="T0" y="T1"/>
              </a:cxn>
              <a:cxn ang="0">
                <a:pos x="T2" y="T3"/>
              </a:cxn>
              <a:cxn ang="0">
                <a:pos x="T4" y="T5"/>
              </a:cxn>
              <a:cxn ang="0">
                <a:pos x="T6" y="T7"/>
              </a:cxn>
            </a:cxnLst>
            <a:rect l="0" t="0" r="r" b="b"/>
            <a:pathLst>
              <a:path w="2159" h="4460">
                <a:moveTo>
                  <a:pt x="0" y="4460"/>
                </a:moveTo>
                <a:lnTo>
                  <a:pt x="1088" y="0"/>
                </a:lnTo>
                <a:lnTo>
                  <a:pt x="2159" y="4460"/>
                </a:lnTo>
                <a:lnTo>
                  <a:pt x="0" y="4460"/>
                </a:lnTo>
                <a:close/>
              </a:path>
            </a:pathLst>
          </a:custGeom>
          <a:gradFill flip="none" rotWithShape="1">
            <a:gsLst>
              <a:gs pos="0">
                <a:schemeClr val="accent1">
                  <a:lumMod val="20000"/>
                  <a:lumOff val="80000"/>
                </a:schemeClr>
              </a:gs>
              <a:gs pos="12000">
                <a:schemeClr val="accent1">
                  <a:lumMod val="40000"/>
                  <a:lumOff val="60000"/>
                </a:schemeClr>
              </a:gs>
              <a:gs pos="30000">
                <a:schemeClr val="accent1">
                  <a:lumMod val="60000"/>
                  <a:lumOff val="40000"/>
                </a:schemeClr>
              </a:gs>
              <a:gs pos="75000">
                <a:schemeClr val="accent1"/>
              </a:gs>
            </a:gsLst>
            <a:lin ang="810000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1800" b="0" i="0" u="none" strike="noStrike" kern="1200" cap="none" spc="0" normalizeH="0" baseline="0" noProof="0">
              <a:ln>
                <a:noFill/>
              </a:ln>
              <a:solidFill>
                <a:prstClr val="black"/>
              </a:solidFill>
              <a:effectLst/>
              <a:uLnTx/>
              <a:uFillTx/>
              <a:latin typeface="HarmonyOS Sans SC"/>
              <a:cs typeface="Cordia New" panose="020B0502040204020203" pitchFamily="34" charset="-34"/>
            </a:endParaRPr>
          </a:p>
        </p:txBody>
      </p:sp>
      <p:sp>
        <p:nvSpPr>
          <p:cNvPr id="84" name="Freeform 10">
            <a:extLst>
              <a:ext uri="{FF2B5EF4-FFF2-40B4-BE49-F238E27FC236}">
                <a16:creationId xmlns:a16="http://schemas.microsoft.com/office/drawing/2014/main" id="{A323B140-7CAC-4E4C-B27A-5887F6F9B0CC}"/>
              </a:ext>
            </a:extLst>
          </p:cNvPr>
          <p:cNvSpPr>
            <a:spLocks/>
          </p:cNvSpPr>
          <p:nvPr/>
        </p:nvSpPr>
        <p:spPr bwMode="auto">
          <a:xfrm>
            <a:off x="3828072" y="2304399"/>
            <a:ext cx="914915" cy="2414308"/>
          </a:xfrm>
          <a:custGeom>
            <a:avLst/>
            <a:gdLst>
              <a:gd name="T0" fmla="*/ 1088 w 1088"/>
              <a:gd name="T1" fmla="*/ 0 h 4460"/>
              <a:gd name="T2" fmla="*/ 0 w 1088"/>
              <a:gd name="T3" fmla="*/ 4460 h 4460"/>
              <a:gd name="T4" fmla="*/ 1072 w 1088"/>
              <a:gd name="T5" fmla="*/ 2726 h 4460"/>
              <a:gd name="T6" fmla="*/ 1088 w 1088"/>
              <a:gd name="T7" fmla="*/ 0 h 4460"/>
            </a:gdLst>
            <a:ahLst/>
            <a:cxnLst>
              <a:cxn ang="0">
                <a:pos x="T0" y="T1"/>
              </a:cxn>
              <a:cxn ang="0">
                <a:pos x="T2" y="T3"/>
              </a:cxn>
              <a:cxn ang="0">
                <a:pos x="T4" y="T5"/>
              </a:cxn>
              <a:cxn ang="0">
                <a:pos x="T6" y="T7"/>
              </a:cxn>
            </a:cxnLst>
            <a:rect l="0" t="0" r="r" b="b"/>
            <a:pathLst>
              <a:path w="1088" h="4460">
                <a:moveTo>
                  <a:pt x="1088" y="0"/>
                </a:moveTo>
                <a:lnTo>
                  <a:pt x="0" y="4460"/>
                </a:lnTo>
                <a:lnTo>
                  <a:pt x="1072" y="2726"/>
                </a:lnTo>
                <a:lnTo>
                  <a:pt x="1088" y="0"/>
                </a:lnTo>
                <a:close/>
              </a:path>
            </a:pathLst>
          </a:custGeom>
          <a:gradFill flip="none" rotWithShape="1">
            <a:gsLst>
              <a:gs pos="0">
                <a:schemeClr val="accent1">
                  <a:lumMod val="20000"/>
                  <a:lumOff val="80000"/>
                </a:schemeClr>
              </a:gs>
              <a:gs pos="12000">
                <a:schemeClr val="accent1">
                  <a:lumMod val="40000"/>
                  <a:lumOff val="60000"/>
                </a:schemeClr>
              </a:gs>
              <a:gs pos="30000">
                <a:schemeClr val="accent1">
                  <a:lumMod val="60000"/>
                  <a:lumOff val="40000"/>
                </a:schemeClr>
              </a:gs>
              <a:gs pos="75000">
                <a:schemeClr val="accent1"/>
              </a:gs>
            </a:gsLst>
            <a:lin ang="810000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1800" b="0" i="0" u="none" strike="noStrike" kern="1200" cap="none" spc="0" normalizeH="0" baseline="0" noProof="0">
              <a:ln>
                <a:noFill/>
              </a:ln>
              <a:solidFill>
                <a:prstClr val="black"/>
              </a:solidFill>
              <a:effectLst/>
              <a:uLnTx/>
              <a:uFillTx/>
              <a:latin typeface="HarmonyOS Sans SC"/>
              <a:cs typeface="Cordia New" panose="020B0502040204020203" pitchFamily="34" charset="-34"/>
            </a:endParaRPr>
          </a:p>
        </p:txBody>
      </p:sp>
      <p:sp>
        <p:nvSpPr>
          <p:cNvPr id="82" name="Rectangle 36">
            <a:extLst>
              <a:ext uri="{FF2B5EF4-FFF2-40B4-BE49-F238E27FC236}">
                <a16:creationId xmlns:a16="http://schemas.microsoft.com/office/drawing/2014/main" id="{37574E25-BF98-4BC0-9993-F77EB34F6D73}"/>
              </a:ext>
            </a:extLst>
          </p:cNvPr>
          <p:cNvSpPr/>
          <p:nvPr/>
        </p:nvSpPr>
        <p:spPr>
          <a:xfrm>
            <a:off x="4319760" y="4099317"/>
            <a:ext cx="832158" cy="64633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d-ID" sz="3600" b="0" i="0" u="none" strike="noStrike" kern="1200" cap="none" spc="0" normalizeH="0" baseline="0" noProof="0" dirty="0">
                <a:ln>
                  <a:noFill/>
                </a:ln>
                <a:solidFill>
                  <a:prstClr val="white"/>
                </a:solidFill>
                <a:effectLst/>
                <a:uLnTx/>
                <a:uFillTx/>
                <a:latin typeface="HarmonyOS Sans SC Black"/>
                <a:ea typeface="+mj-ea"/>
                <a:cs typeface="Open Sans" panose="020B0606030504020204" pitchFamily="34" charset="0"/>
              </a:rPr>
              <a:t>0</a:t>
            </a:r>
            <a:r>
              <a:rPr kumimoji="0" lang="en-US" altLang="zh-CN" sz="3600" b="0" i="0" u="none" strike="noStrike" kern="1200" cap="none" spc="0" normalizeH="0" baseline="0" noProof="0" dirty="0">
                <a:ln>
                  <a:noFill/>
                </a:ln>
                <a:solidFill>
                  <a:prstClr val="white"/>
                </a:solidFill>
                <a:effectLst/>
                <a:uLnTx/>
                <a:uFillTx/>
                <a:latin typeface="HarmonyOS Sans SC Black"/>
                <a:ea typeface="+mj-ea"/>
                <a:cs typeface="Open Sans" panose="020B0606030504020204" pitchFamily="34" charset="0"/>
              </a:rPr>
              <a:t>2</a:t>
            </a:r>
            <a:endParaRPr kumimoji="0" lang="id-ID" sz="3600" b="0" i="0" u="none" strike="noStrike" kern="1200" cap="none" spc="0" normalizeH="0" baseline="0" noProof="0" dirty="0">
              <a:ln>
                <a:noFill/>
              </a:ln>
              <a:solidFill>
                <a:prstClr val="white"/>
              </a:solidFill>
              <a:effectLst/>
              <a:uLnTx/>
              <a:uFillTx/>
              <a:latin typeface="HarmonyOS Sans SC Black"/>
              <a:ea typeface="+mj-ea"/>
              <a:cs typeface="+mn-cs"/>
            </a:endParaRPr>
          </a:p>
        </p:txBody>
      </p:sp>
      <p:grpSp>
        <p:nvGrpSpPr>
          <p:cNvPr id="78" name="组合 77">
            <a:extLst>
              <a:ext uri="{FF2B5EF4-FFF2-40B4-BE49-F238E27FC236}">
                <a16:creationId xmlns:a16="http://schemas.microsoft.com/office/drawing/2014/main" id="{8A4B99A8-7DBE-4D30-8304-9A5C1F4CFB2E}"/>
              </a:ext>
            </a:extLst>
          </p:cNvPr>
          <p:cNvGrpSpPr/>
          <p:nvPr/>
        </p:nvGrpSpPr>
        <p:grpSpPr>
          <a:xfrm>
            <a:off x="3546223" y="4955576"/>
            <a:ext cx="2379233" cy="846145"/>
            <a:chOff x="1655793" y="4948365"/>
            <a:chExt cx="2379233" cy="846145"/>
          </a:xfrm>
        </p:grpSpPr>
        <p:sp>
          <p:nvSpPr>
            <p:cNvPr id="79" name="TextBox 65">
              <a:extLst>
                <a:ext uri="{FF2B5EF4-FFF2-40B4-BE49-F238E27FC236}">
                  <a16:creationId xmlns:a16="http://schemas.microsoft.com/office/drawing/2014/main" id="{9D3D781E-8BAF-4E09-893B-C0013277C75E}"/>
                </a:ext>
              </a:extLst>
            </p:cNvPr>
            <p:cNvSpPr txBox="1"/>
            <p:nvPr/>
          </p:nvSpPr>
          <p:spPr>
            <a:xfrm>
              <a:off x="1813923" y="4948365"/>
              <a:ext cx="2062972" cy="345598"/>
            </a:xfrm>
            <a:prstGeom prst="rect">
              <a:avLst/>
            </a:prstGeom>
            <a:solidFill>
              <a:schemeClr val="accent1"/>
            </a:solidFill>
          </p:spPr>
          <p:txBody>
            <a:bodyPr wrap="square" lIns="0" tIns="36000" rIns="0" bIns="36000" rtlCol="0">
              <a:spAutoFit/>
            </a:bodyPr>
            <a:lstStyle/>
            <a:p>
              <a:pPr marL="0" marR="0" lvl="0" indent="0" algn="ctr" defTabSz="914400" rtl="0" eaLnBrk="1" fontAlgn="auto" latinLnBrk="0" hangingPunct="1">
                <a:lnSpc>
                  <a:spcPct val="120000"/>
                </a:lnSpc>
                <a:spcBef>
                  <a:spcPts val="60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HarmonyOS Sans SC"/>
                  <a:cs typeface="+mn-cs"/>
                </a:rPr>
                <a:t>ENVIRONMENT</a:t>
              </a:r>
            </a:p>
          </p:txBody>
        </p:sp>
        <p:sp>
          <p:nvSpPr>
            <p:cNvPr id="80" name="TextBox 65">
              <a:extLst>
                <a:ext uri="{FF2B5EF4-FFF2-40B4-BE49-F238E27FC236}">
                  <a16:creationId xmlns:a16="http://schemas.microsoft.com/office/drawing/2014/main" id="{4B8D82F1-CA44-4C14-AAA1-3915014D8F10}"/>
                </a:ext>
              </a:extLst>
            </p:cNvPr>
            <p:cNvSpPr txBox="1"/>
            <p:nvPr/>
          </p:nvSpPr>
          <p:spPr>
            <a:xfrm>
              <a:off x="1655793" y="5331764"/>
              <a:ext cx="2379233" cy="462746"/>
            </a:xfrm>
            <a:prstGeom prst="rect">
              <a:avLst/>
            </a:prstGeom>
            <a:noFill/>
          </p:spPr>
          <p:txBody>
            <a:bodyPr wrap="square" lIns="0" tIns="36000" rIns="0" bIns="36000" rtlCol="0">
              <a:spAutoFit/>
            </a:bodyPr>
            <a:lstStyle/>
            <a:p>
              <a:pPr marL="0" marR="0" lvl="0" indent="0" algn="ctr" defTabSz="914400" rtl="0" eaLnBrk="1" fontAlgn="auto" latinLnBrk="0" hangingPunct="1">
                <a:lnSpc>
                  <a:spcPct val="120000"/>
                </a:lnSpc>
                <a:spcBef>
                  <a:spcPts val="600"/>
                </a:spcBef>
                <a:spcAft>
                  <a:spcPts val="0"/>
                </a:spcAft>
                <a:buClrTx/>
                <a:buSzTx/>
                <a:buFontTx/>
                <a:buNone/>
                <a:tabLst/>
                <a:defRPr/>
              </a:pPr>
              <a:r>
                <a:rPr kumimoji="0" lang="en-US" sz="1100" b="0" i="0" u="none" strike="noStrike" kern="1200" cap="none" spc="0" normalizeH="0" baseline="0" noProof="0" dirty="0">
                  <a:ln>
                    <a:noFill/>
                  </a:ln>
                  <a:solidFill>
                    <a:prstClr val="black">
                      <a:lumMod val="50000"/>
                      <a:lumOff val="50000"/>
                    </a:prstClr>
                  </a:solidFill>
                  <a:effectLst/>
                  <a:uLnTx/>
                  <a:uFillTx/>
                  <a:latin typeface="HarmonyOS Sans SC"/>
                  <a:cs typeface="+mn-cs"/>
                </a:rPr>
                <a:t>Lorem ipsum dolor sit </a:t>
              </a:r>
              <a:r>
                <a:rPr kumimoji="0" lang="en-US" sz="1100" b="0" i="0" u="none" strike="noStrike" kern="1200" cap="none" spc="0" normalizeH="0" baseline="0" noProof="0" dirty="0" err="1">
                  <a:ln>
                    <a:noFill/>
                  </a:ln>
                  <a:solidFill>
                    <a:prstClr val="black">
                      <a:lumMod val="50000"/>
                      <a:lumOff val="50000"/>
                    </a:prstClr>
                  </a:solidFill>
                  <a:effectLst/>
                  <a:uLnTx/>
                  <a:uFillTx/>
                  <a:latin typeface="HarmonyOS Sans SC"/>
                  <a:cs typeface="+mn-cs"/>
                </a:rPr>
                <a:t>amet</a:t>
              </a:r>
              <a:r>
                <a:rPr kumimoji="0" lang="en-US" sz="1100" b="0" i="0" u="none" strike="noStrike" kern="1200" cap="none" spc="0" normalizeH="0" baseline="0" noProof="0" dirty="0">
                  <a:ln>
                    <a:noFill/>
                  </a:ln>
                  <a:solidFill>
                    <a:prstClr val="black">
                      <a:lumMod val="50000"/>
                      <a:lumOff val="50000"/>
                    </a:prstClr>
                  </a:solidFill>
                  <a:effectLst/>
                  <a:uLnTx/>
                  <a:uFillTx/>
                  <a:latin typeface="HarmonyOS Sans SC"/>
                  <a:cs typeface="+mn-cs"/>
                </a:rPr>
                <a:t>, </a:t>
              </a:r>
              <a:r>
                <a:rPr kumimoji="0" lang="en-US" sz="1100" b="0" i="0" u="none" strike="noStrike" kern="1200" cap="none" spc="0" normalizeH="0" baseline="0" noProof="0" dirty="0" err="1">
                  <a:ln>
                    <a:noFill/>
                  </a:ln>
                  <a:solidFill>
                    <a:prstClr val="black">
                      <a:lumMod val="50000"/>
                      <a:lumOff val="50000"/>
                    </a:prstClr>
                  </a:solidFill>
                  <a:effectLst/>
                  <a:uLnTx/>
                  <a:uFillTx/>
                  <a:latin typeface="HarmonyOS Sans SC"/>
                  <a:cs typeface="+mn-cs"/>
                </a:rPr>
                <a:t>consectetur</a:t>
              </a:r>
              <a:r>
                <a:rPr kumimoji="0" lang="en-US" sz="1100" b="0" i="0" u="none" strike="noStrike" kern="1200" cap="none" spc="0" normalizeH="0" baseline="0" noProof="0" dirty="0">
                  <a:ln>
                    <a:noFill/>
                  </a:ln>
                  <a:solidFill>
                    <a:prstClr val="black">
                      <a:lumMod val="50000"/>
                      <a:lumOff val="50000"/>
                    </a:prstClr>
                  </a:solidFill>
                  <a:effectLst/>
                  <a:uLnTx/>
                  <a:uFillTx/>
                  <a:latin typeface="HarmonyOS Sans SC"/>
                  <a:cs typeface="+mn-cs"/>
                </a:rPr>
                <a:t> </a:t>
              </a:r>
              <a:r>
                <a:rPr kumimoji="0" lang="en-US" sz="1100" b="0" i="0" u="none" strike="noStrike" kern="1200" cap="none" spc="0" normalizeH="0" baseline="0" noProof="0" dirty="0" err="1">
                  <a:ln>
                    <a:noFill/>
                  </a:ln>
                  <a:solidFill>
                    <a:prstClr val="black">
                      <a:lumMod val="50000"/>
                      <a:lumOff val="50000"/>
                    </a:prstClr>
                  </a:solidFill>
                  <a:effectLst/>
                  <a:uLnTx/>
                  <a:uFillTx/>
                  <a:latin typeface="HarmonyOS Sans SC"/>
                  <a:cs typeface="+mn-cs"/>
                </a:rPr>
                <a:t>adipiscing</a:t>
              </a:r>
              <a:endParaRPr kumimoji="0" lang="en-US" sz="1100" b="0" i="0" u="none" strike="noStrike" kern="1200" cap="none" spc="0" normalizeH="0" baseline="0" noProof="0" dirty="0">
                <a:ln>
                  <a:noFill/>
                </a:ln>
                <a:solidFill>
                  <a:prstClr val="black">
                    <a:lumMod val="50000"/>
                    <a:lumOff val="50000"/>
                  </a:prstClr>
                </a:solidFill>
                <a:effectLst/>
                <a:uLnTx/>
                <a:uFillTx/>
                <a:latin typeface="HarmonyOS Sans SC"/>
                <a:cs typeface="+mn-cs"/>
              </a:endParaRPr>
            </a:p>
          </p:txBody>
        </p:sp>
      </p:grpSp>
      <p:sp>
        <p:nvSpPr>
          <p:cNvPr id="92" name="Freeform 6">
            <a:extLst>
              <a:ext uri="{FF2B5EF4-FFF2-40B4-BE49-F238E27FC236}">
                <a16:creationId xmlns:a16="http://schemas.microsoft.com/office/drawing/2014/main" id="{A75278B1-1FD4-470D-9A1D-29F4739F11CD}"/>
              </a:ext>
            </a:extLst>
          </p:cNvPr>
          <p:cNvSpPr>
            <a:spLocks/>
          </p:cNvSpPr>
          <p:nvPr/>
        </p:nvSpPr>
        <p:spPr bwMode="auto">
          <a:xfrm>
            <a:off x="6476712" y="2304399"/>
            <a:ext cx="1815534" cy="2414308"/>
          </a:xfrm>
          <a:custGeom>
            <a:avLst/>
            <a:gdLst>
              <a:gd name="T0" fmla="*/ 0 w 2159"/>
              <a:gd name="T1" fmla="*/ 4460 h 4460"/>
              <a:gd name="T2" fmla="*/ 1088 w 2159"/>
              <a:gd name="T3" fmla="*/ 0 h 4460"/>
              <a:gd name="T4" fmla="*/ 2159 w 2159"/>
              <a:gd name="T5" fmla="*/ 4460 h 4460"/>
              <a:gd name="T6" fmla="*/ 0 w 2159"/>
              <a:gd name="T7" fmla="*/ 4460 h 4460"/>
            </a:gdLst>
            <a:ahLst/>
            <a:cxnLst>
              <a:cxn ang="0">
                <a:pos x="T0" y="T1"/>
              </a:cxn>
              <a:cxn ang="0">
                <a:pos x="T2" y="T3"/>
              </a:cxn>
              <a:cxn ang="0">
                <a:pos x="T4" y="T5"/>
              </a:cxn>
              <a:cxn ang="0">
                <a:pos x="T6" y="T7"/>
              </a:cxn>
            </a:cxnLst>
            <a:rect l="0" t="0" r="r" b="b"/>
            <a:pathLst>
              <a:path w="2159" h="4460">
                <a:moveTo>
                  <a:pt x="0" y="4460"/>
                </a:moveTo>
                <a:lnTo>
                  <a:pt x="1088" y="0"/>
                </a:lnTo>
                <a:lnTo>
                  <a:pt x="2159" y="4460"/>
                </a:lnTo>
                <a:lnTo>
                  <a:pt x="0" y="4460"/>
                </a:lnTo>
                <a:close/>
              </a:path>
            </a:pathLst>
          </a:custGeom>
          <a:gradFill flip="none" rotWithShape="1">
            <a:gsLst>
              <a:gs pos="0">
                <a:schemeClr val="accent1">
                  <a:lumMod val="20000"/>
                  <a:lumOff val="80000"/>
                </a:schemeClr>
              </a:gs>
              <a:gs pos="12000">
                <a:schemeClr val="accent1">
                  <a:lumMod val="40000"/>
                  <a:lumOff val="60000"/>
                </a:schemeClr>
              </a:gs>
              <a:gs pos="30000">
                <a:schemeClr val="accent1">
                  <a:lumMod val="60000"/>
                  <a:lumOff val="40000"/>
                </a:schemeClr>
              </a:gs>
              <a:gs pos="75000">
                <a:schemeClr val="accent1"/>
              </a:gs>
            </a:gsLst>
            <a:lin ang="810000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1800" b="0" i="0" u="none" strike="noStrike" kern="1200" cap="none" spc="0" normalizeH="0" baseline="0" noProof="0">
              <a:ln>
                <a:noFill/>
              </a:ln>
              <a:solidFill>
                <a:prstClr val="black"/>
              </a:solidFill>
              <a:effectLst/>
              <a:uLnTx/>
              <a:uFillTx/>
              <a:latin typeface="HarmonyOS Sans SC"/>
              <a:cs typeface="Cordia New" panose="020B0502040204020203" pitchFamily="34" charset="-34"/>
            </a:endParaRPr>
          </a:p>
        </p:txBody>
      </p:sp>
      <p:sp>
        <p:nvSpPr>
          <p:cNvPr id="93" name="Freeform 10">
            <a:extLst>
              <a:ext uri="{FF2B5EF4-FFF2-40B4-BE49-F238E27FC236}">
                <a16:creationId xmlns:a16="http://schemas.microsoft.com/office/drawing/2014/main" id="{79C047B2-EB6A-4CE2-B5CC-4E31721108DB}"/>
              </a:ext>
            </a:extLst>
          </p:cNvPr>
          <p:cNvSpPr>
            <a:spLocks/>
          </p:cNvSpPr>
          <p:nvPr/>
        </p:nvSpPr>
        <p:spPr bwMode="auto">
          <a:xfrm>
            <a:off x="6476712" y="2304399"/>
            <a:ext cx="914915" cy="2414308"/>
          </a:xfrm>
          <a:custGeom>
            <a:avLst/>
            <a:gdLst>
              <a:gd name="T0" fmla="*/ 1088 w 1088"/>
              <a:gd name="T1" fmla="*/ 0 h 4460"/>
              <a:gd name="T2" fmla="*/ 0 w 1088"/>
              <a:gd name="T3" fmla="*/ 4460 h 4460"/>
              <a:gd name="T4" fmla="*/ 1072 w 1088"/>
              <a:gd name="T5" fmla="*/ 2726 h 4460"/>
              <a:gd name="T6" fmla="*/ 1088 w 1088"/>
              <a:gd name="T7" fmla="*/ 0 h 4460"/>
            </a:gdLst>
            <a:ahLst/>
            <a:cxnLst>
              <a:cxn ang="0">
                <a:pos x="T0" y="T1"/>
              </a:cxn>
              <a:cxn ang="0">
                <a:pos x="T2" y="T3"/>
              </a:cxn>
              <a:cxn ang="0">
                <a:pos x="T4" y="T5"/>
              </a:cxn>
              <a:cxn ang="0">
                <a:pos x="T6" y="T7"/>
              </a:cxn>
            </a:cxnLst>
            <a:rect l="0" t="0" r="r" b="b"/>
            <a:pathLst>
              <a:path w="1088" h="4460">
                <a:moveTo>
                  <a:pt x="1088" y="0"/>
                </a:moveTo>
                <a:lnTo>
                  <a:pt x="0" y="4460"/>
                </a:lnTo>
                <a:lnTo>
                  <a:pt x="1072" y="2726"/>
                </a:lnTo>
                <a:lnTo>
                  <a:pt x="1088" y="0"/>
                </a:lnTo>
                <a:close/>
              </a:path>
            </a:pathLst>
          </a:custGeom>
          <a:gradFill flip="none" rotWithShape="1">
            <a:gsLst>
              <a:gs pos="0">
                <a:schemeClr val="accent1">
                  <a:lumMod val="20000"/>
                  <a:lumOff val="80000"/>
                </a:schemeClr>
              </a:gs>
              <a:gs pos="12000">
                <a:schemeClr val="accent1">
                  <a:lumMod val="40000"/>
                  <a:lumOff val="60000"/>
                </a:schemeClr>
              </a:gs>
              <a:gs pos="30000">
                <a:schemeClr val="accent1">
                  <a:lumMod val="60000"/>
                  <a:lumOff val="40000"/>
                </a:schemeClr>
              </a:gs>
              <a:gs pos="75000">
                <a:schemeClr val="accent1"/>
              </a:gs>
            </a:gsLst>
            <a:lin ang="810000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1800" b="0" i="0" u="none" strike="noStrike" kern="1200" cap="none" spc="0" normalizeH="0" baseline="0" noProof="0">
              <a:ln>
                <a:noFill/>
              </a:ln>
              <a:solidFill>
                <a:prstClr val="black"/>
              </a:solidFill>
              <a:effectLst/>
              <a:uLnTx/>
              <a:uFillTx/>
              <a:latin typeface="HarmonyOS Sans SC"/>
              <a:cs typeface="Cordia New" panose="020B0502040204020203" pitchFamily="34" charset="-34"/>
            </a:endParaRPr>
          </a:p>
        </p:txBody>
      </p:sp>
      <p:sp>
        <p:nvSpPr>
          <p:cNvPr id="91" name="Rectangle 36">
            <a:extLst>
              <a:ext uri="{FF2B5EF4-FFF2-40B4-BE49-F238E27FC236}">
                <a16:creationId xmlns:a16="http://schemas.microsoft.com/office/drawing/2014/main" id="{DFA7E37C-0721-4F0D-BE87-137D99046C13}"/>
              </a:ext>
            </a:extLst>
          </p:cNvPr>
          <p:cNvSpPr/>
          <p:nvPr/>
        </p:nvSpPr>
        <p:spPr>
          <a:xfrm>
            <a:off x="6968400" y="4099317"/>
            <a:ext cx="832158" cy="64633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d-ID" sz="3600" b="0" i="0" u="none" strike="noStrike" kern="1200" cap="none" spc="0" normalizeH="0" baseline="0" noProof="0" dirty="0">
                <a:ln>
                  <a:noFill/>
                </a:ln>
                <a:solidFill>
                  <a:prstClr val="white"/>
                </a:solidFill>
                <a:effectLst/>
                <a:uLnTx/>
                <a:uFillTx/>
                <a:latin typeface="HarmonyOS Sans SC Black"/>
                <a:ea typeface="+mj-ea"/>
                <a:cs typeface="Open Sans" panose="020B0606030504020204" pitchFamily="34" charset="0"/>
              </a:rPr>
              <a:t>0</a:t>
            </a:r>
            <a:r>
              <a:rPr kumimoji="0" lang="en-US" altLang="zh-CN" sz="3600" b="0" i="0" u="none" strike="noStrike" kern="1200" cap="none" spc="0" normalizeH="0" baseline="0" noProof="0" dirty="0">
                <a:ln>
                  <a:noFill/>
                </a:ln>
                <a:solidFill>
                  <a:prstClr val="white"/>
                </a:solidFill>
                <a:effectLst/>
                <a:uLnTx/>
                <a:uFillTx/>
                <a:latin typeface="HarmonyOS Sans SC Black"/>
                <a:ea typeface="+mj-ea"/>
                <a:cs typeface="Open Sans" panose="020B0606030504020204" pitchFamily="34" charset="0"/>
              </a:rPr>
              <a:t>3</a:t>
            </a:r>
            <a:endParaRPr kumimoji="0" lang="id-ID" sz="3600" b="0" i="0" u="none" strike="noStrike" kern="1200" cap="none" spc="0" normalizeH="0" baseline="0" noProof="0" dirty="0">
              <a:ln>
                <a:noFill/>
              </a:ln>
              <a:solidFill>
                <a:prstClr val="white"/>
              </a:solidFill>
              <a:effectLst/>
              <a:uLnTx/>
              <a:uFillTx/>
              <a:latin typeface="HarmonyOS Sans SC Black"/>
              <a:ea typeface="+mj-ea"/>
              <a:cs typeface="+mn-cs"/>
            </a:endParaRPr>
          </a:p>
        </p:txBody>
      </p:sp>
      <p:grpSp>
        <p:nvGrpSpPr>
          <p:cNvPr id="87" name="组合 86">
            <a:extLst>
              <a:ext uri="{FF2B5EF4-FFF2-40B4-BE49-F238E27FC236}">
                <a16:creationId xmlns:a16="http://schemas.microsoft.com/office/drawing/2014/main" id="{90241F29-9DD9-4E3D-8253-C0A7B045F379}"/>
              </a:ext>
            </a:extLst>
          </p:cNvPr>
          <p:cNvGrpSpPr/>
          <p:nvPr/>
        </p:nvGrpSpPr>
        <p:grpSpPr>
          <a:xfrm>
            <a:off x="6194863" y="4955576"/>
            <a:ext cx="2379233" cy="846145"/>
            <a:chOff x="1655793" y="4948365"/>
            <a:chExt cx="2379233" cy="846145"/>
          </a:xfrm>
        </p:grpSpPr>
        <p:sp>
          <p:nvSpPr>
            <p:cNvPr id="88" name="TextBox 65">
              <a:extLst>
                <a:ext uri="{FF2B5EF4-FFF2-40B4-BE49-F238E27FC236}">
                  <a16:creationId xmlns:a16="http://schemas.microsoft.com/office/drawing/2014/main" id="{F02AC7C7-2643-499E-850F-6905F2815681}"/>
                </a:ext>
              </a:extLst>
            </p:cNvPr>
            <p:cNvSpPr txBox="1"/>
            <p:nvPr/>
          </p:nvSpPr>
          <p:spPr>
            <a:xfrm>
              <a:off x="1813923" y="4948365"/>
              <a:ext cx="2062972" cy="345598"/>
            </a:xfrm>
            <a:prstGeom prst="rect">
              <a:avLst/>
            </a:prstGeom>
            <a:solidFill>
              <a:schemeClr val="accent1"/>
            </a:solidFill>
          </p:spPr>
          <p:txBody>
            <a:bodyPr wrap="square" lIns="0" tIns="36000" rIns="0" bIns="36000" rtlCol="0">
              <a:spAutoFit/>
            </a:bodyPr>
            <a:lstStyle/>
            <a:p>
              <a:pPr marL="0" marR="0" lvl="0" indent="0" algn="ctr" defTabSz="914400" rtl="0" eaLnBrk="1" fontAlgn="auto" latinLnBrk="0" hangingPunct="1">
                <a:lnSpc>
                  <a:spcPct val="120000"/>
                </a:lnSpc>
                <a:spcBef>
                  <a:spcPts val="60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HarmonyOS Sans SC"/>
                  <a:cs typeface="+mn-cs"/>
                </a:rPr>
                <a:t>ENVIRONMENT</a:t>
              </a:r>
            </a:p>
          </p:txBody>
        </p:sp>
        <p:sp>
          <p:nvSpPr>
            <p:cNvPr id="89" name="TextBox 65">
              <a:extLst>
                <a:ext uri="{FF2B5EF4-FFF2-40B4-BE49-F238E27FC236}">
                  <a16:creationId xmlns:a16="http://schemas.microsoft.com/office/drawing/2014/main" id="{3485EECB-8B31-49A2-8FFD-83DF1117DC78}"/>
                </a:ext>
              </a:extLst>
            </p:cNvPr>
            <p:cNvSpPr txBox="1"/>
            <p:nvPr/>
          </p:nvSpPr>
          <p:spPr>
            <a:xfrm>
              <a:off x="1655793" y="5331764"/>
              <a:ext cx="2379233" cy="462746"/>
            </a:xfrm>
            <a:prstGeom prst="rect">
              <a:avLst/>
            </a:prstGeom>
            <a:noFill/>
          </p:spPr>
          <p:txBody>
            <a:bodyPr wrap="square" lIns="0" tIns="36000" rIns="0" bIns="36000" rtlCol="0">
              <a:spAutoFit/>
            </a:bodyPr>
            <a:lstStyle/>
            <a:p>
              <a:pPr marL="0" marR="0" lvl="0" indent="0" algn="ctr" defTabSz="914400" rtl="0" eaLnBrk="1" fontAlgn="auto" latinLnBrk="0" hangingPunct="1">
                <a:lnSpc>
                  <a:spcPct val="120000"/>
                </a:lnSpc>
                <a:spcBef>
                  <a:spcPts val="600"/>
                </a:spcBef>
                <a:spcAft>
                  <a:spcPts val="0"/>
                </a:spcAft>
                <a:buClrTx/>
                <a:buSzTx/>
                <a:buFontTx/>
                <a:buNone/>
                <a:tabLst/>
                <a:defRPr/>
              </a:pPr>
              <a:r>
                <a:rPr kumimoji="0" lang="en-US" sz="1100" b="0" i="0" u="none" strike="noStrike" kern="1200" cap="none" spc="0" normalizeH="0" baseline="0" noProof="0" dirty="0">
                  <a:ln>
                    <a:noFill/>
                  </a:ln>
                  <a:solidFill>
                    <a:prstClr val="black">
                      <a:lumMod val="50000"/>
                      <a:lumOff val="50000"/>
                    </a:prstClr>
                  </a:solidFill>
                  <a:effectLst/>
                  <a:uLnTx/>
                  <a:uFillTx/>
                  <a:latin typeface="HarmonyOS Sans SC"/>
                  <a:cs typeface="+mn-cs"/>
                </a:rPr>
                <a:t>Lorem ipsum dolor sit </a:t>
              </a:r>
              <a:r>
                <a:rPr kumimoji="0" lang="en-US" sz="1100" b="0" i="0" u="none" strike="noStrike" kern="1200" cap="none" spc="0" normalizeH="0" baseline="0" noProof="0" dirty="0" err="1">
                  <a:ln>
                    <a:noFill/>
                  </a:ln>
                  <a:solidFill>
                    <a:prstClr val="black">
                      <a:lumMod val="50000"/>
                      <a:lumOff val="50000"/>
                    </a:prstClr>
                  </a:solidFill>
                  <a:effectLst/>
                  <a:uLnTx/>
                  <a:uFillTx/>
                  <a:latin typeface="HarmonyOS Sans SC"/>
                  <a:cs typeface="+mn-cs"/>
                </a:rPr>
                <a:t>amet</a:t>
              </a:r>
              <a:r>
                <a:rPr kumimoji="0" lang="en-US" sz="1100" b="0" i="0" u="none" strike="noStrike" kern="1200" cap="none" spc="0" normalizeH="0" baseline="0" noProof="0" dirty="0">
                  <a:ln>
                    <a:noFill/>
                  </a:ln>
                  <a:solidFill>
                    <a:prstClr val="black">
                      <a:lumMod val="50000"/>
                      <a:lumOff val="50000"/>
                    </a:prstClr>
                  </a:solidFill>
                  <a:effectLst/>
                  <a:uLnTx/>
                  <a:uFillTx/>
                  <a:latin typeface="HarmonyOS Sans SC"/>
                  <a:cs typeface="+mn-cs"/>
                </a:rPr>
                <a:t>, </a:t>
              </a:r>
              <a:r>
                <a:rPr kumimoji="0" lang="en-US" sz="1100" b="0" i="0" u="none" strike="noStrike" kern="1200" cap="none" spc="0" normalizeH="0" baseline="0" noProof="0" dirty="0" err="1">
                  <a:ln>
                    <a:noFill/>
                  </a:ln>
                  <a:solidFill>
                    <a:prstClr val="black">
                      <a:lumMod val="50000"/>
                      <a:lumOff val="50000"/>
                    </a:prstClr>
                  </a:solidFill>
                  <a:effectLst/>
                  <a:uLnTx/>
                  <a:uFillTx/>
                  <a:latin typeface="HarmonyOS Sans SC"/>
                  <a:cs typeface="+mn-cs"/>
                </a:rPr>
                <a:t>consectetur</a:t>
              </a:r>
              <a:r>
                <a:rPr kumimoji="0" lang="en-US" sz="1100" b="0" i="0" u="none" strike="noStrike" kern="1200" cap="none" spc="0" normalizeH="0" baseline="0" noProof="0" dirty="0">
                  <a:ln>
                    <a:noFill/>
                  </a:ln>
                  <a:solidFill>
                    <a:prstClr val="black">
                      <a:lumMod val="50000"/>
                      <a:lumOff val="50000"/>
                    </a:prstClr>
                  </a:solidFill>
                  <a:effectLst/>
                  <a:uLnTx/>
                  <a:uFillTx/>
                  <a:latin typeface="HarmonyOS Sans SC"/>
                  <a:cs typeface="+mn-cs"/>
                </a:rPr>
                <a:t> </a:t>
              </a:r>
              <a:r>
                <a:rPr kumimoji="0" lang="en-US" sz="1100" b="0" i="0" u="none" strike="noStrike" kern="1200" cap="none" spc="0" normalizeH="0" baseline="0" noProof="0" dirty="0" err="1">
                  <a:ln>
                    <a:noFill/>
                  </a:ln>
                  <a:solidFill>
                    <a:prstClr val="black">
                      <a:lumMod val="50000"/>
                      <a:lumOff val="50000"/>
                    </a:prstClr>
                  </a:solidFill>
                  <a:effectLst/>
                  <a:uLnTx/>
                  <a:uFillTx/>
                  <a:latin typeface="HarmonyOS Sans SC"/>
                  <a:cs typeface="+mn-cs"/>
                </a:rPr>
                <a:t>adipiscing</a:t>
              </a:r>
              <a:endParaRPr kumimoji="0" lang="en-US" sz="1100" b="0" i="0" u="none" strike="noStrike" kern="1200" cap="none" spc="0" normalizeH="0" baseline="0" noProof="0" dirty="0">
                <a:ln>
                  <a:noFill/>
                </a:ln>
                <a:solidFill>
                  <a:prstClr val="black">
                    <a:lumMod val="50000"/>
                    <a:lumOff val="50000"/>
                  </a:prstClr>
                </a:solidFill>
                <a:effectLst/>
                <a:uLnTx/>
                <a:uFillTx/>
                <a:latin typeface="HarmonyOS Sans SC"/>
                <a:cs typeface="+mn-cs"/>
              </a:endParaRPr>
            </a:p>
          </p:txBody>
        </p:sp>
      </p:grpSp>
      <p:sp>
        <p:nvSpPr>
          <p:cNvPr id="101" name="Freeform 6">
            <a:extLst>
              <a:ext uri="{FF2B5EF4-FFF2-40B4-BE49-F238E27FC236}">
                <a16:creationId xmlns:a16="http://schemas.microsoft.com/office/drawing/2014/main" id="{5A515C0D-77A9-4DC7-B1DF-AB7EDE3352BC}"/>
              </a:ext>
            </a:extLst>
          </p:cNvPr>
          <p:cNvSpPr>
            <a:spLocks/>
          </p:cNvSpPr>
          <p:nvPr/>
        </p:nvSpPr>
        <p:spPr bwMode="auto">
          <a:xfrm>
            <a:off x="9125351" y="2304399"/>
            <a:ext cx="1815534" cy="2414308"/>
          </a:xfrm>
          <a:custGeom>
            <a:avLst/>
            <a:gdLst>
              <a:gd name="T0" fmla="*/ 0 w 2159"/>
              <a:gd name="T1" fmla="*/ 4460 h 4460"/>
              <a:gd name="T2" fmla="*/ 1088 w 2159"/>
              <a:gd name="T3" fmla="*/ 0 h 4460"/>
              <a:gd name="T4" fmla="*/ 2159 w 2159"/>
              <a:gd name="T5" fmla="*/ 4460 h 4460"/>
              <a:gd name="T6" fmla="*/ 0 w 2159"/>
              <a:gd name="T7" fmla="*/ 4460 h 4460"/>
            </a:gdLst>
            <a:ahLst/>
            <a:cxnLst>
              <a:cxn ang="0">
                <a:pos x="T0" y="T1"/>
              </a:cxn>
              <a:cxn ang="0">
                <a:pos x="T2" y="T3"/>
              </a:cxn>
              <a:cxn ang="0">
                <a:pos x="T4" y="T5"/>
              </a:cxn>
              <a:cxn ang="0">
                <a:pos x="T6" y="T7"/>
              </a:cxn>
            </a:cxnLst>
            <a:rect l="0" t="0" r="r" b="b"/>
            <a:pathLst>
              <a:path w="2159" h="4460">
                <a:moveTo>
                  <a:pt x="0" y="4460"/>
                </a:moveTo>
                <a:lnTo>
                  <a:pt x="1088" y="0"/>
                </a:lnTo>
                <a:lnTo>
                  <a:pt x="2159" y="4460"/>
                </a:lnTo>
                <a:lnTo>
                  <a:pt x="0" y="4460"/>
                </a:lnTo>
                <a:close/>
              </a:path>
            </a:pathLst>
          </a:custGeom>
          <a:gradFill flip="none" rotWithShape="1">
            <a:gsLst>
              <a:gs pos="0">
                <a:schemeClr val="accent1">
                  <a:lumMod val="20000"/>
                  <a:lumOff val="80000"/>
                </a:schemeClr>
              </a:gs>
              <a:gs pos="12000">
                <a:schemeClr val="accent1">
                  <a:lumMod val="40000"/>
                  <a:lumOff val="60000"/>
                </a:schemeClr>
              </a:gs>
              <a:gs pos="30000">
                <a:schemeClr val="accent1">
                  <a:lumMod val="60000"/>
                  <a:lumOff val="40000"/>
                </a:schemeClr>
              </a:gs>
              <a:gs pos="75000">
                <a:schemeClr val="accent1"/>
              </a:gs>
            </a:gsLst>
            <a:lin ang="810000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1800" b="0" i="0" u="none" strike="noStrike" kern="1200" cap="none" spc="0" normalizeH="0" baseline="0" noProof="0">
              <a:ln>
                <a:noFill/>
              </a:ln>
              <a:solidFill>
                <a:prstClr val="black"/>
              </a:solidFill>
              <a:effectLst/>
              <a:uLnTx/>
              <a:uFillTx/>
              <a:latin typeface="HarmonyOS Sans SC"/>
              <a:cs typeface="Cordia New" panose="020B0502040204020203" pitchFamily="34" charset="-34"/>
            </a:endParaRPr>
          </a:p>
        </p:txBody>
      </p:sp>
      <p:sp>
        <p:nvSpPr>
          <p:cNvPr id="102" name="Freeform 10">
            <a:extLst>
              <a:ext uri="{FF2B5EF4-FFF2-40B4-BE49-F238E27FC236}">
                <a16:creationId xmlns:a16="http://schemas.microsoft.com/office/drawing/2014/main" id="{9ADE607E-3E80-4326-8623-DE3F057BD7F6}"/>
              </a:ext>
            </a:extLst>
          </p:cNvPr>
          <p:cNvSpPr>
            <a:spLocks/>
          </p:cNvSpPr>
          <p:nvPr/>
        </p:nvSpPr>
        <p:spPr bwMode="auto">
          <a:xfrm>
            <a:off x="9125351" y="2304399"/>
            <a:ext cx="914915" cy="2414308"/>
          </a:xfrm>
          <a:custGeom>
            <a:avLst/>
            <a:gdLst>
              <a:gd name="T0" fmla="*/ 1088 w 1088"/>
              <a:gd name="T1" fmla="*/ 0 h 4460"/>
              <a:gd name="T2" fmla="*/ 0 w 1088"/>
              <a:gd name="T3" fmla="*/ 4460 h 4460"/>
              <a:gd name="T4" fmla="*/ 1072 w 1088"/>
              <a:gd name="T5" fmla="*/ 2726 h 4460"/>
              <a:gd name="T6" fmla="*/ 1088 w 1088"/>
              <a:gd name="T7" fmla="*/ 0 h 4460"/>
            </a:gdLst>
            <a:ahLst/>
            <a:cxnLst>
              <a:cxn ang="0">
                <a:pos x="T0" y="T1"/>
              </a:cxn>
              <a:cxn ang="0">
                <a:pos x="T2" y="T3"/>
              </a:cxn>
              <a:cxn ang="0">
                <a:pos x="T4" y="T5"/>
              </a:cxn>
              <a:cxn ang="0">
                <a:pos x="T6" y="T7"/>
              </a:cxn>
            </a:cxnLst>
            <a:rect l="0" t="0" r="r" b="b"/>
            <a:pathLst>
              <a:path w="1088" h="4460">
                <a:moveTo>
                  <a:pt x="1088" y="0"/>
                </a:moveTo>
                <a:lnTo>
                  <a:pt x="0" y="4460"/>
                </a:lnTo>
                <a:lnTo>
                  <a:pt x="1072" y="2726"/>
                </a:lnTo>
                <a:lnTo>
                  <a:pt x="1088" y="0"/>
                </a:lnTo>
                <a:close/>
              </a:path>
            </a:pathLst>
          </a:custGeom>
          <a:gradFill flip="none" rotWithShape="1">
            <a:gsLst>
              <a:gs pos="0">
                <a:schemeClr val="accent1">
                  <a:lumMod val="20000"/>
                  <a:lumOff val="80000"/>
                </a:schemeClr>
              </a:gs>
              <a:gs pos="12000">
                <a:schemeClr val="accent1">
                  <a:lumMod val="40000"/>
                  <a:lumOff val="60000"/>
                </a:schemeClr>
              </a:gs>
              <a:gs pos="30000">
                <a:schemeClr val="accent1">
                  <a:lumMod val="60000"/>
                  <a:lumOff val="40000"/>
                </a:schemeClr>
              </a:gs>
              <a:gs pos="75000">
                <a:schemeClr val="accent1"/>
              </a:gs>
            </a:gsLst>
            <a:lin ang="810000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1800" b="0" i="0" u="none" strike="noStrike" kern="1200" cap="none" spc="0" normalizeH="0" baseline="0" noProof="0">
              <a:ln>
                <a:noFill/>
              </a:ln>
              <a:solidFill>
                <a:prstClr val="black"/>
              </a:solidFill>
              <a:effectLst/>
              <a:uLnTx/>
              <a:uFillTx/>
              <a:latin typeface="HarmonyOS Sans SC"/>
              <a:cs typeface="Cordia New" panose="020B0502040204020203" pitchFamily="34" charset="-34"/>
            </a:endParaRPr>
          </a:p>
        </p:txBody>
      </p:sp>
      <p:sp>
        <p:nvSpPr>
          <p:cNvPr id="100" name="Rectangle 36">
            <a:extLst>
              <a:ext uri="{FF2B5EF4-FFF2-40B4-BE49-F238E27FC236}">
                <a16:creationId xmlns:a16="http://schemas.microsoft.com/office/drawing/2014/main" id="{FE2A25DA-A464-4EAF-9130-1436BD50786D}"/>
              </a:ext>
            </a:extLst>
          </p:cNvPr>
          <p:cNvSpPr/>
          <p:nvPr/>
        </p:nvSpPr>
        <p:spPr>
          <a:xfrm>
            <a:off x="9617039" y="4099317"/>
            <a:ext cx="832158" cy="64633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d-ID" sz="3600" b="0" i="0" u="none" strike="noStrike" kern="1200" cap="none" spc="0" normalizeH="0" baseline="0" noProof="0" dirty="0">
                <a:ln>
                  <a:noFill/>
                </a:ln>
                <a:solidFill>
                  <a:prstClr val="white"/>
                </a:solidFill>
                <a:effectLst/>
                <a:uLnTx/>
                <a:uFillTx/>
                <a:latin typeface="HarmonyOS Sans SC Black"/>
                <a:ea typeface="+mj-ea"/>
                <a:cs typeface="Open Sans" panose="020B0606030504020204" pitchFamily="34" charset="0"/>
              </a:rPr>
              <a:t>0</a:t>
            </a:r>
            <a:r>
              <a:rPr kumimoji="0" lang="en-US" altLang="zh-CN" sz="3600" b="0" i="0" u="none" strike="noStrike" kern="1200" cap="none" spc="0" normalizeH="0" baseline="0" noProof="0" dirty="0">
                <a:ln>
                  <a:noFill/>
                </a:ln>
                <a:solidFill>
                  <a:prstClr val="white"/>
                </a:solidFill>
                <a:effectLst/>
                <a:uLnTx/>
                <a:uFillTx/>
                <a:latin typeface="HarmonyOS Sans SC Black"/>
                <a:ea typeface="+mj-ea"/>
                <a:cs typeface="Open Sans" panose="020B0606030504020204" pitchFamily="34" charset="0"/>
              </a:rPr>
              <a:t>4</a:t>
            </a:r>
            <a:endParaRPr kumimoji="0" lang="id-ID" sz="3600" b="0" i="0" u="none" strike="noStrike" kern="1200" cap="none" spc="0" normalizeH="0" baseline="0" noProof="0" dirty="0">
              <a:ln>
                <a:noFill/>
              </a:ln>
              <a:solidFill>
                <a:prstClr val="white"/>
              </a:solidFill>
              <a:effectLst/>
              <a:uLnTx/>
              <a:uFillTx/>
              <a:latin typeface="HarmonyOS Sans SC Black"/>
              <a:ea typeface="+mj-ea"/>
              <a:cs typeface="+mn-cs"/>
            </a:endParaRPr>
          </a:p>
        </p:txBody>
      </p:sp>
      <p:grpSp>
        <p:nvGrpSpPr>
          <p:cNvPr id="96" name="组合 95">
            <a:extLst>
              <a:ext uri="{FF2B5EF4-FFF2-40B4-BE49-F238E27FC236}">
                <a16:creationId xmlns:a16="http://schemas.microsoft.com/office/drawing/2014/main" id="{5B24BBCA-848D-40AA-9DCC-827B85CD3067}"/>
              </a:ext>
            </a:extLst>
          </p:cNvPr>
          <p:cNvGrpSpPr/>
          <p:nvPr/>
        </p:nvGrpSpPr>
        <p:grpSpPr>
          <a:xfrm>
            <a:off x="8843502" y="4955576"/>
            <a:ext cx="2379233" cy="846145"/>
            <a:chOff x="1655793" y="4948365"/>
            <a:chExt cx="2379233" cy="846145"/>
          </a:xfrm>
        </p:grpSpPr>
        <p:sp>
          <p:nvSpPr>
            <p:cNvPr id="97" name="TextBox 65">
              <a:extLst>
                <a:ext uri="{FF2B5EF4-FFF2-40B4-BE49-F238E27FC236}">
                  <a16:creationId xmlns:a16="http://schemas.microsoft.com/office/drawing/2014/main" id="{A586298A-C375-415E-9C06-EE7F5150D534}"/>
                </a:ext>
              </a:extLst>
            </p:cNvPr>
            <p:cNvSpPr txBox="1"/>
            <p:nvPr/>
          </p:nvSpPr>
          <p:spPr>
            <a:xfrm>
              <a:off x="1813923" y="4948365"/>
              <a:ext cx="2062972" cy="345598"/>
            </a:xfrm>
            <a:prstGeom prst="rect">
              <a:avLst/>
            </a:prstGeom>
            <a:solidFill>
              <a:schemeClr val="accent1"/>
            </a:solidFill>
          </p:spPr>
          <p:txBody>
            <a:bodyPr wrap="square" lIns="0" tIns="36000" rIns="0" bIns="36000" rtlCol="0">
              <a:spAutoFit/>
            </a:bodyPr>
            <a:lstStyle/>
            <a:p>
              <a:pPr marL="0" marR="0" lvl="0" indent="0" algn="ctr" defTabSz="914400" rtl="0" eaLnBrk="1" fontAlgn="auto" latinLnBrk="0" hangingPunct="1">
                <a:lnSpc>
                  <a:spcPct val="120000"/>
                </a:lnSpc>
                <a:spcBef>
                  <a:spcPts val="60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HarmonyOS Sans SC"/>
                  <a:cs typeface="+mn-cs"/>
                </a:rPr>
                <a:t>ENVIRONMENT</a:t>
              </a:r>
            </a:p>
          </p:txBody>
        </p:sp>
        <p:sp>
          <p:nvSpPr>
            <p:cNvPr id="98" name="TextBox 65">
              <a:extLst>
                <a:ext uri="{FF2B5EF4-FFF2-40B4-BE49-F238E27FC236}">
                  <a16:creationId xmlns:a16="http://schemas.microsoft.com/office/drawing/2014/main" id="{DBFD4F72-25EB-4082-B3BB-73D3D46E882F}"/>
                </a:ext>
              </a:extLst>
            </p:cNvPr>
            <p:cNvSpPr txBox="1"/>
            <p:nvPr/>
          </p:nvSpPr>
          <p:spPr>
            <a:xfrm>
              <a:off x="1655793" y="5331764"/>
              <a:ext cx="2379233" cy="462746"/>
            </a:xfrm>
            <a:prstGeom prst="rect">
              <a:avLst/>
            </a:prstGeom>
            <a:noFill/>
          </p:spPr>
          <p:txBody>
            <a:bodyPr wrap="square" lIns="0" tIns="36000" rIns="0" bIns="36000" rtlCol="0">
              <a:spAutoFit/>
            </a:bodyPr>
            <a:lstStyle/>
            <a:p>
              <a:pPr marL="0" marR="0" lvl="0" indent="0" algn="ctr" defTabSz="914400" rtl="0" eaLnBrk="1" fontAlgn="auto" latinLnBrk="0" hangingPunct="1">
                <a:lnSpc>
                  <a:spcPct val="120000"/>
                </a:lnSpc>
                <a:spcBef>
                  <a:spcPts val="600"/>
                </a:spcBef>
                <a:spcAft>
                  <a:spcPts val="0"/>
                </a:spcAft>
                <a:buClrTx/>
                <a:buSzTx/>
                <a:buFontTx/>
                <a:buNone/>
                <a:tabLst/>
                <a:defRPr/>
              </a:pPr>
              <a:r>
                <a:rPr kumimoji="0" lang="en-US" sz="1100" b="0" i="0" u="none" strike="noStrike" kern="1200" cap="none" spc="0" normalizeH="0" baseline="0" noProof="0" dirty="0">
                  <a:ln>
                    <a:noFill/>
                  </a:ln>
                  <a:solidFill>
                    <a:prstClr val="black">
                      <a:lumMod val="50000"/>
                      <a:lumOff val="50000"/>
                    </a:prstClr>
                  </a:solidFill>
                  <a:effectLst/>
                  <a:uLnTx/>
                  <a:uFillTx/>
                  <a:latin typeface="HarmonyOS Sans SC"/>
                  <a:cs typeface="+mn-cs"/>
                </a:rPr>
                <a:t>Lorem ipsum dolor sit </a:t>
              </a:r>
              <a:r>
                <a:rPr kumimoji="0" lang="en-US" sz="1100" b="0" i="0" u="none" strike="noStrike" kern="1200" cap="none" spc="0" normalizeH="0" baseline="0" noProof="0" dirty="0" err="1">
                  <a:ln>
                    <a:noFill/>
                  </a:ln>
                  <a:solidFill>
                    <a:prstClr val="black">
                      <a:lumMod val="50000"/>
                      <a:lumOff val="50000"/>
                    </a:prstClr>
                  </a:solidFill>
                  <a:effectLst/>
                  <a:uLnTx/>
                  <a:uFillTx/>
                  <a:latin typeface="HarmonyOS Sans SC"/>
                  <a:cs typeface="+mn-cs"/>
                </a:rPr>
                <a:t>amet</a:t>
              </a:r>
              <a:r>
                <a:rPr kumimoji="0" lang="en-US" sz="1100" b="0" i="0" u="none" strike="noStrike" kern="1200" cap="none" spc="0" normalizeH="0" baseline="0" noProof="0" dirty="0">
                  <a:ln>
                    <a:noFill/>
                  </a:ln>
                  <a:solidFill>
                    <a:prstClr val="black">
                      <a:lumMod val="50000"/>
                      <a:lumOff val="50000"/>
                    </a:prstClr>
                  </a:solidFill>
                  <a:effectLst/>
                  <a:uLnTx/>
                  <a:uFillTx/>
                  <a:latin typeface="HarmonyOS Sans SC"/>
                  <a:cs typeface="+mn-cs"/>
                </a:rPr>
                <a:t>, </a:t>
              </a:r>
              <a:r>
                <a:rPr kumimoji="0" lang="en-US" sz="1100" b="0" i="0" u="none" strike="noStrike" kern="1200" cap="none" spc="0" normalizeH="0" baseline="0" noProof="0" dirty="0" err="1">
                  <a:ln>
                    <a:noFill/>
                  </a:ln>
                  <a:solidFill>
                    <a:prstClr val="black">
                      <a:lumMod val="50000"/>
                      <a:lumOff val="50000"/>
                    </a:prstClr>
                  </a:solidFill>
                  <a:effectLst/>
                  <a:uLnTx/>
                  <a:uFillTx/>
                  <a:latin typeface="HarmonyOS Sans SC"/>
                  <a:cs typeface="+mn-cs"/>
                </a:rPr>
                <a:t>consectetur</a:t>
              </a:r>
              <a:r>
                <a:rPr kumimoji="0" lang="en-US" sz="1100" b="0" i="0" u="none" strike="noStrike" kern="1200" cap="none" spc="0" normalizeH="0" baseline="0" noProof="0" dirty="0">
                  <a:ln>
                    <a:noFill/>
                  </a:ln>
                  <a:solidFill>
                    <a:prstClr val="black">
                      <a:lumMod val="50000"/>
                      <a:lumOff val="50000"/>
                    </a:prstClr>
                  </a:solidFill>
                  <a:effectLst/>
                  <a:uLnTx/>
                  <a:uFillTx/>
                  <a:latin typeface="HarmonyOS Sans SC"/>
                  <a:cs typeface="+mn-cs"/>
                </a:rPr>
                <a:t> </a:t>
              </a:r>
              <a:r>
                <a:rPr kumimoji="0" lang="en-US" sz="1100" b="0" i="0" u="none" strike="noStrike" kern="1200" cap="none" spc="0" normalizeH="0" baseline="0" noProof="0" dirty="0" err="1">
                  <a:ln>
                    <a:noFill/>
                  </a:ln>
                  <a:solidFill>
                    <a:prstClr val="black">
                      <a:lumMod val="50000"/>
                      <a:lumOff val="50000"/>
                    </a:prstClr>
                  </a:solidFill>
                  <a:effectLst/>
                  <a:uLnTx/>
                  <a:uFillTx/>
                  <a:latin typeface="HarmonyOS Sans SC"/>
                  <a:cs typeface="+mn-cs"/>
                </a:rPr>
                <a:t>adipiscing</a:t>
              </a:r>
              <a:endParaRPr kumimoji="0" lang="en-US" sz="1100" b="0" i="0" u="none" strike="noStrike" kern="1200" cap="none" spc="0" normalizeH="0" baseline="0" noProof="0" dirty="0">
                <a:ln>
                  <a:noFill/>
                </a:ln>
                <a:solidFill>
                  <a:prstClr val="black">
                    <a:lumMod val="50000"/>
                    <a:lumOff val="50000"/>
                  </a:prstClr>
                </a:solidFill>
                <a:effectLst/>
                <a:uLnTx/>
                <a:uFillTx/>
                <a:latin typeface="HarmonyOS Sans SC"/>
                <a:cs typeface="+mn-cs"/>
              </a:endParaRPr>
            </a:p>
          </p:txBody>
        </p:sp>
      </p:grpSp>
    </p:spTree>
    <p:extLst>
      <p:ext uri="{BB962C8B-B14F-4D97-AF65-F5344CB8AC3E}">
        <p14:creationId xmlns:p14="http://schemas.microsoft.com/office/powerpoint/2010/main" val="1323784807"/>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45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Freeform 1667">
            <a:extLst>
              <a:ext uri="{FF2B5EF4-FFF2-40B4-BE49-F238E27FC236}">
                <a16:creationId xmlns:a16="http://schemas.microsoft.com/office/drawing/2014/main" id="{533F0E58-37F9-42DC-B817-E40299090A31}"/>
              </a:ext>
            </a:extLst>
          </p:cNvPr>
          <p:cNvSpPr>
            <a:spLocks/>
          </p:cNvSpPr>
          <p:nvPr/>
        </p:nvSpPr>
        <p:spPr bwMode="auto">
          <a:xfrm>
            <a:off x="3929063" y="917345"/>
            <a:ext cx="4352926" cy="5020136"/>
          </a:xfrm>
          <a:custGeom>
            <a:avLst/>
            <a:gdLst>
              <a:gd name="T0" fmla="*/ 1220 w 2440"/>
              <a:gd name="T1" fmla="*/ 0 h 2814"/>
              <a:gd name="T2" fmla="*/ 0 w 2440"/>
              <a:gd name="T3" fmla="*/ 703 h 2814"/>
              <a:gd name="T4" fmla="*/ 0 w 2440"/>
              <a:gd name="T5" fmla="*/ 2110 h 2814"/>
              <a:gd name="T6" fmla="*/ 1220 w 2440"/>
              <a:gd name="T7" fmla="*/ 2814 h 2814"/>
              <a:gd name="T8" fmla="*/ 2440 w 2440"/>
              <a:gd name="T9" fmla="*/ 2110 h 2814"/>
              <a:gd name="T10" fmla="*/ 2440 w 2440"/>
              <a:gd name="T11" fmla="*/ 703 h 2814"/>
              <a:gd name="T12" fmla="*/ 1220 w 2440"/>
              <a:gd name="T13" fmla="*/ 0 h 2814"/>
            </a:gdLst>
            <a:ahLst/>
            <a:cxnLst>
              <a:cxn ang="0">
                <a:pos x="T0" y="T1"/>
              </a:cxn>
              <a:cxn ang="0">
                <a:pos x="T2" y="T3"/>
              </a:cxn>
              <a:cxn ang="0">
                <a:pos x="T4" y="T5"/>
              </a:cxn>
              <a:cxn ang="0">
                <a:pos x="T6" y="T7"/>
              </a:cxn>
              <a:cxn ang="0">
                <a:pos x="T8" y="T9"/>
              </a:cxn>
              <a:cxn ang="0">
                <a:pos x="T10" y="T11"/>
              </a:cxn>
              <a:cxn ang="0">
                <a:pos x="T12" y="T13"/>
              </a:cxn>
            </a:cxnLst>
            <a:rect l="0" t="0" r="r" b="b"/>
            <a:pathLst>
              <a:path w="2440" h="2814">
                <a:moveTo>
                  <a:pt x="1220" y="0"/>
                </a:moveTo>
                <a:lnTo>
                  <a:pt x="0" y="703"/>
                </a:lnTo>
                <a:lnTo>
                  <a:pt x="0" y="2110"/>
                </a:lnTo>
                <a:lnTo>
                  <a:pt x="1220" y="2814"/>
                </a:lnTo>
                <a:lnTo>
                  <a:pt x="2440" y="2110"/>
                </a:lnTo>
                <a:lnTo>
                  <a:pt x="2440" y="703"/>
                </a:lnTo>
                <a:lnTo>
                  <a:pt x="1220" y="0"/>
                </a:lnTo>
                <a:close/>
              </a:path>
            </a:pathLst>
          </a:custGeom>
          <a:solidFill>
            <a:schemeClr val="accent1">
              <a:lumMod val="20000"/>
              <a:lumOff val="80000"/>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Inter"/>
              <a:ea typeface="+mn-ea"/>
              <a:cs typeface="+mn-cs"/>
            </a:endParaRPr>
          </a:p>
        </p:txBody>
      </p:sp>
      <p:sp>
        <p:nvSpPr>
          <p:cNvPr id="3" name="Freeform 1668">
            <a:extLst>
              <a:ext uri="{FF2B5EF4-FFF2-40B4-BE49-F238E27FC236}">
                <a16:creationId xmlns:a16="http://schemas.microsoft.com/office/drawing/2014/main" id="{D85A08D1-ED3D-4F72-AB3E-18DE622DCF65}"/>
              </a:ext>
            </a:extLst>
          </p:cNvPr>
          <p:cNvSpPr>
            <a:spLocks/>
          </p:cNvSpPr>
          <p:nvPr/>
        </p:nvSpPr>
        <p:spPr bwMode="auto">
          <a:xfrm>
            <a:off x="4159250" y="1193800"/>
            <a:ext cx="3873500" cy="4467225"/>
          </a:xfrm>
          <a:custGeom>
            <a:avLst/>
            <a:gdLst>
              <a:gd name="T0" fmla="*/ 1220 w 2440"/>
              <a:gd name="T1" fmla="*/ 0 h 2814"/>
              <a:gd name="T2" fmla="*/ 0 w 2440"/>
              <a:gd name="T3" fmla="*/ 703 h 2814"/>
              <a:gd name="T4" fmla="*/ 0 w 2440"/>
              <a:gd name="T5" fmla="*/ 2110 h 2814"/>
              <a:gd name="T6" fmla="*/ 1220 w 2440"/>
              <a:gd name="T7" fmla="*/ 2814 h 2814"/>
              <a:gd name="T8" fmla="*/ 2440 w 2440"/>
              <a:gd name="T9" fmla="*/ 2110 h 2814"/>
              <a:gd name="T10" fmla="*/ 2440 w 2440"/>
              <a:gd name="T11" fmla="*/ 703 h 2814"/>
              <a:gd name="T12" fmla="*/ 1220 w 2440"/>
              <a:gd name="T13" fmla="*/ 0 h 2814"/>
            </a:gdLst>
            <a:ahLst/>
            <a:cxnLst>
              <a:cxn ang="0">
                <a:pos x="T0" y="T1"/>
              </a:cxn>
              <a:cxn ang="0">
                <a:pos x="T2" y="T3"/>
              </a:cxn>
              <a:cxn ang="0">
                <a:pos x="T4" y="T5"/>
              </a:cxn>
              <a:cxn ang="0">
                <a:pos x="T6" y="T7"/>
              </a:cxn>
              <a:cxn ang="0">
                <a:pos x="T8" y="T9"/>
              </a:cxn>
              <a:cxn ang="0">
                <a:pos x="T10" y="T11"/>
              </a:cxn>
              <a:cxn ang="0">
                <a:pos x="T12" y="T13"/>
              </a:cxn>
            </a:cxnLst>
            <a:rect l="0" t="0" r="r" b="b"/>
            <a:pathLst>
              <a:path w="2440" h="2814">
                <a:moveTo>
                  <a:pt x="1220" y="0"/>
                </a:moveTo>
                <a:lnTo>
                  <a:pt x="0" y="703"/>
                </a:lnTo>
                <a:lnTo>
                  <a:pt x="0" y="2110"/>
                </a:lnTo>
                <a:lnTo>
                  <a:pt x="1220" y="2814"/>
                </a:lnTo>
                <a:lnTo>
                  <a:pt x="2440" y="2110"/>
                </a:lnTo>
                <a:lnTo>
                  <a:pt x="2440" y="703"/>
                </a:lnTo>
                <a:lnTo>
                  <a:pt x="122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Inter"/>
              <a:ea typeface="+mn-ea"/>
              <a:cs typeface="+mn-cs"/>
            </a:endParaRPr>
          </a:p>
        </p:txBody>
      </p:sp>
      <p:sp>
        <p:nvSpPr>
          <p:cNvPr id="4" name="Freeform 1670">
            <a:extLst>
              <a:ext uri="{FF2B5EF4-FFF2-40B4-BE49-F238E27FC236}">
                <a16:creationId xmlns:a16="http://schemas.microsoft.com/office/drawing/2014/main" id="{A53EDA4C-5712-4AB8-BF97-0B7A37C67908}"/>
              </a:ext>
            </a:extLst>
          </p:cNvPr>
          <p:cNvSpPr>
            <a:spLocks/>
          </p:cNvSpPr>
          <p:nvPr/>
        </p:nvSpPr>
        <p:spPr bwMode="auto">
          <a:xfrm>
            <a:off x="4468813" y="1552575"/>
            <a:ext cx="3254375" cy="3752850"/>
          </a:xfrm>
          <a:custGeom>
            <a:avLst/>
            <a:gdLst>
              <a:gd name="T0" fmla="*/ 1025 w 2050"/>
              <a:gd name="T1" fmla="*/ 0 h 2364"/>
              <a:gd name="T2" fmla="*/ 0 w 2050"/>
              <a:gd name="T3" fmla="*/ 589 h 2364"/>
              <a:gd name="T4" fmla="*/ 0 w 2050"/>
              <a:gd name="T5" fmla="*/ 1773 h 2364"/>
              <a:gd name="T6" fmla="*/ 1025 w 2050"/>
              <a:gd name="T7" fmla="*/ 2364 h 2364"/>
              <a:gd name="T8" fmla="*/ 2050 w 2050"/>
              <a:gd name="T9" fmla="*/ 1773 h 2364"/>
              <a:gd name="T10" fmla="*/ 2050 w 2050"/>
              <a:gd name="T11" fmla="*/ 589 h 2364"/>
              <a:gd name="T12" fmla="*/ 1025 w 2050"/>
              <a:gd name="T13" fmla="*/ 0 h 2364"/>
            </a:gdLst>
            <a:ahLst/>
            <a:cxnLst>
              <a:cxn ang="0">
                <a:pos x="T0" y="T1"/>
              </a:cxn>
              <a:cxn ang="0">
                <a:pos x="T2" y="T3"/>
              </a:cxn>
              <a:cxn ang="0">
                <a:pos x="T4" y="T5"/>
              </a:cxn>
              <a:cxn ang="0">
                <a:pos x="T6" y="T7"/>
              </a:cxn>
              <a:cxn ang="0">
                <a:pos x="T8" y="T9"/>
              </a:cxn>
              <a:cxn ang="0">
                <a:pos x="T10" y="T11"/>
              </a:cxn>
              <a:cxn ang="0">
                <a:pos x="T12" y="T13"/>
              </a:cxn>
            </a:cxnLst>
            <a:rect l="0" t="0" r="r" b="b"/>
            <a:pathLst>
              <a:path w="2050" h="2364">
                <a:moveTo>
                  <a:pt x="1025" y="0"/>
                </a:moveTo>
                <a:lnTo>
                  <a:pt x="0" y="589"/>
                </a:lnTo>
                <a:lnTo>
                  <a:pt x="0" y="1773"/>
                </a:lnTo>
                <a:lnTo>
                  <a:pt x="1025" y="2364"/>
                </a:lnTo>
                <a:lnTo>
                  <a:pt x="2050" y="1773"/>
                </a:lnTo>
                <a:lnTo>
                  <a:pt x="2050" y="589"/>
                </a:lnTo>
                <a:lnTo>
                  <a:pt x="102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Inter"/>
              <a:ea typeface="+mn-ea"/>
              <a:cs typeface="+mn-cs"/>
            </a:endParaRPr>
          </a:p>
        </p:txBody>
      </p:sp>
      <p:sp>
        <p:nvSpPr>
          <p:cNvPr id="5" name="Freeform 1671">
            <a:extLst>
              <a:ext uri="{FF2B5EF4-FFF2-40B4-BE49-F238E27FC236}">
                <a16:creationId xmlns:a16="http://schemas.microsoft.com/office/drawing/2014/main" id="{905E43CA-D347-4FCB-8E01-C8FB4264BBCE}"/>
              </a:ext>
            </a:extLst>
          </p:cNvPr>
          <p:cNvSpPr>
            <a:spLocks/>
          </p:cNvSpPr>
          <p:nvPr/>
        </p:nvSpPr>
        <p:spPr bwMode="auto">
          <a:xfrm>
            <a:off x="4582985" y="1669361"/>
            <a:ext cx="3041778" cy="3511119"/>
          </a:xfrm>
          <a:custGeom>
            <a:avLst/>
            <a:gdLst>
              <a:gd name="T0" fmla="*/ 849 w 1698"/>
              <a:gd name="T1" fmla="*/ 0 h 1960"/>
              <a:gd name="T2" fmla="*/ 0 w 1698"/>
              <a:gd name="T3" fmla="*/ 489 h 1960"/>
              <a:gd name="T4" fmla="*/ 0 w 1698"/>
              <a:gd name="T5" fmla="*/ 1471 h 1960"/>
              <a:gd name="T6" fmla="*/ 849 w 1698"/>
              <a:gd name="T7" fmla="*/ 1960 h 1960"/>
              <a:gd name="T8" fmla="*/ 1698 w 1698"/>
              <a:gd name="T9" fmla="*/ 1471 h 1960"/>
              <a:gd name="T10" fmla="*/ 1698 w 1698"/>
              <a:gd name="T11" fmla="*/ 489 h 1960"/>
              <a:gd name="T12" fmla="*/ 849 w 1698"/>
              <a:gd name="T13" fmla="*/ 0 h 1960"/>
            </a:gdLst>
            <a:ahLst/>
            <a:cxnLst>
              <a:cxn ang="0">
                <a:pos x="T0" y="T1"/>
              </a:cxn>
              <a:cxn ang="0">
                <a:pos x="T2" y="T3"/>
              </a:cxn>
              <a:cxn ang="0">
                <a:pos x="T4" y="T5"/>
              </a:cxn>
              <a:cxn ang="0">
                <a:pos x="T6" y="T7"/>
              </a:cxn>
              <a:cxn ang="0">
                <a:pos x="T8" y="T9"/>
              </a:cxn>
              <a:cxn ang="0">
                <a:pos x="T10" y="T11"/>
              </a:cxn>
              <a:cxn ang="0">
                <a:pos x="T12" y="T13"/>
              </a:cxn>
            </a:cxnLst>
            <a:rect l="0" t="0" r="r" b="b"/>
            <a:pathLst>
              <a:path w="1698" h="1960">
                <a:moveTo>
                  <a:pt x="849" y="0"/>
                </a:moveTo>
                <a:lnTo>
                  <a:pt x="0" y="489"/>
                </a:lnTo>
                <a:lnTo>
                  <a:pt x="0" y="1471"/>
                </a:lnTo>
                <a:lnTo>
                  <a:pt x="849" y="1960"/>
                </a:lnTo>
                <a:lnTo>
                  <a:pt x="1698" y="1471"/>
                </a:lnTo>
                <a:lnTo>
                  <a:pt x="1698" y="489"/>
                </a:lnTo>
                <a:lnTo>
                  <a:pt x="849" y="0"/>
                </a:lnTo>
                <a:close/>
              </a:path>
            </a:pathLst>
          </a:custGeom>
          <a:solidFill>
            <a:schemeClr val="accent1">
              <a:lumMod val="20000"/>
              <a:lumOff val="80000"/>
              <a:alpha val="6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Inter"/>
              <a:ea typeface="+mn-ea"/>
              <a:cs typeface="+mn-cs"/>
            </a:endParaRPr>
          </a:p>
        </p:txBody>
      </p:sp>
      <p:sp>
        <p:nvSpPr>
          <p:cNvPr id="6" name="Freeform 1672">
            <a:extLst>
              <a:ext uri="{FF2B5EF4-FFF2-40B4-BE49-F238E27FC236}">
                <a16:creationId xmlns:a16="http://schemas.microsoft.com/office/drawing/2014/main" id="{AC4BF587-255B-4215-92AF-B384E82669C1}"/>
              </a:ext>
            </a:extLst>
          </p:cNvPr>
          <p:cNvSpPr>
            <a:spLocks/>
          </p:cNvSpPr>
          <p:nvPr/>
        </p:nvSpPr>
        <p:spPr bwMode="auto">
          <a:xfrm>
            <a:off x="4748213" y="1873250"/>
            <a:ext cx="2695575" cy="3111500"/>
          </a:xfrm>
          <a:custGeom>
            <a:avLst/>
            <a:gdLst>
              <a:gd name="T0" fmla="*/ 849 w 1698"/>
              <a:gd name="T1" fmla="*/ 0 h 1960"/>
              <a:gd name="T2" fmla="*/ 0 w 1698"/>
              <a:gd name="T3" fmla="*/ 489 h 1960"/>
              <a:gd name="T4" fmla="*/ 0 w 1698"/>
              <a:gd name="T5" fmla="*/ 1471 h 1960"/>
              <a:gd name="T6" fmla="*/ 849 w 1698"/>
              <a:gd name="T7" fmla="*/ 1960 h 1960"/>
              <a:gd name="T8" fmla="*/ 1698 w 1698"/>
              <a:gd name="T9" fmla="*/ 1471 h 1960"/>
              <a:gd name="T10" fmla="*/ 1698 w 1698"/>
              <a:gd name="T11" fmla="*/ 489 h 1960"/>
              <a:gd name="T12" fmla="*/ 849 w 1698"/>
              <a:gd name="T13" fmla="*/ 0 h 1960"/>
            </a:gdLst>
            <a:ahLst/>
            <a:cxnLst>
              <a:cxn ang="0">
                <a:pos x="T0" y="T1"/>
              </a:cxn>
              <a:cxn ang="0">
                <a:pos x="T2" y="T3"/>
              </a:cxn>
              <a:cxn ang="0">
                <a:pos x="T4" y="T5"/>
              </a:cxn>
              <a:cxn ang="0">
                <a:pos x="T6" y="T7"/>
              </a:cxn>
              <a:cxn ang="0">
                <a:pos x="T8" y="T9"/>
              </a:cxn>
              <a:cxn ang="0">
                <a:pos x="T10" y="T11"/>
              </a:cxn>
              <a:cxn ang="0">
                <a:pos x="T12" y="T13"/>
              </a:cxn>
            </a:cxnLst>
            <a:rect l="0" t="0" r="r" b="b"/>
            <a:pathLst>
              <a:path w="1698" h="1960">
                <a:moveTo>
                  <a:pt x="849" y="0"/>
                </a:moveTo>
                <a:lnTo>
                  <a:pt x="0" y="489"/>
                </a:lnTo>
                <a:lnTo>
                  <a:pt x="0" y="1471"/>
                </a:lnTo>
                <a:lnTo>
                  <a:pt x="849" y="1960"/>
                </a:lnTo>
                <a:lnTo>
                  <a:pt x="1698" y="1471"/>
                </a:lnTo>
                <a:lnTo>
                  <a:pt x="1698" y="489"/>
                </a:lnTo>
                <a:lnTo>
                  <a:pt x="84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Inter"/>
              <a:ea typeface="+mn-ea"/>
              <a:cs typeface="+mn-cs"/>
            </a:endParaRPr>
          </a:p>
        </p:txBody>
      </p:sp>
      <p:sp>
        <p:nvSpPr>
          <p:cNvPr id="7" name="Freeform 1674">
            <a:extLst>
              <a:ext uri="{FF2B5EF4-FFF2-40B4-BE49-F238E27FC236}">
                <a16:creationId xmlns:a16="http://schemas.microsoft.com/office/drawing/2014/main" id="{B8D23FC5-2CBF-4F38-9649-50E473C45A4F}"/>
              </a:ext>
            </a:extLst>
          </p:cNvPr>
          <p:cNvSpPr>
            <a:spLocks/>
          </p:cNvSpPr>
          <p:nvPr/>
        </p:nvSpPr>
        <p:spPr bwMode="auto">
          <a:xfrm>
            <a:off x="5095875" y="2273300"/>
            <a:ext cx="2000250" cy="2311400"/>
          </a:xfrm>
          <a:custGeom>
            <a:avLst/>
            <a:gdLst>
              <a:gd name="T0" fmla="*/ 630 w 1260"/>
              <a:gd name="T1" fmla="*/ 1456 h 1456"/>
              <a:gd name="T2" fmla="*/ 0 w 1260"/>
              <a:gd name="T3" fmla="*/ 1090 h 1456"/>
              <a:gd name="T4" fmla="*/ 0 w 1260"/>
              <a:gd name="T5" fmla="*/ 363 h 1456"/>
              <a:gd name="T6" fmla="*/ 630 w 1260"/>
              <a:gd name="T7" fmla="*/ 0 h 1456"/>
              <a:gd name="T8" fmla="*/ 1260 w 1260"/>
              <a:gd name="T9" fmla="*/ 363 h 1456"/>
              <a:gd name="T10" fmla="*/ 1260 w 1260"/>
              <a:gd name="T11" fmla="*/ 1090 h 1456"/>
              <a:gd name="T12" fmla="*/ 630 w 1260"/>
              <a:gd name="T13" fmla="*/ 1456 h 1456"/>
            </a:gdLst>
            <a:ahLst/>
            <a:cxnLst>
              <a:cxn ang="0">
                <a:pos x="T0" y="T1"/>
              </a:cxn>
              <a:cxn ang="0">
                <a:pos x="T2" y="T3"/>
              </a:cxn>
              <a:cxn ang="0">
                <a:pos x="T4" y="T5"/>
              </a:cxn>
              <a:cxn ang="0">
                <a:pos x="T6" y="T7"/>
              </a:cxn>
              <a:cxn ang="0">
                <a:pos x="T8" y="T9"/>
              </a:cxn>
              <a:cxn ang="0">
                <a:pos x="T10" y="T11"/>
              </a:cxn>
              <a:cxn ang="0">
                <a:pos x="T12" y="T13"/>
              </a:cxn>
            </a:cxnLst>
            <a:rect l="0" t="0" r="r" b="b"/>
            <a:pathLst>
              <a:path w="1260" h="1456">
                <a:moveTo>
                  <a:pt x="630" y="1456"/>
                </a:moveTo>
                <a:lnTo>
                  <a:pt x="0" y="1090"/>
                </a:lnTo>
                <a:lnTo>
                  <a:pt x="0" y="363"/>
                </a:lnTo>
                <a:lnTo>
                  <a:pt x="630" y="0"/>
                </a:lnTo>
                <a:lnTo>
                  <a:pt x="1260" y="363"/>
                </a:lnTo>
                <a:lnTo>
                  <a:pt x="1260" y="1090"/>
                </a:lnTo>
                <a:lnTo>
                  <a:pt x="630" y="145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Inter"/>
              <a:ea typeface="+mn-ea"/>
              <a:cs typeface="+mn-cs"/>
            </a:endParaRPr>
          </a:p>
        </p:txBody>
      </p:sp>
      <p:sp>
        <p:nvSpPr>
          <p:cNvPr id="8" name="Freeform 1676">
            <a:extLst>
              <a:ext uri="{FF2B5EF4-FFF2-40B4-BE49-F238E27FC236}">
                <a16:creationId xmlns:a16="http://schemas.microsoft.com/office/drawing/2014/main" id="{96C8B257-D7DF-4E48-94A7-20E5FE4BCF21}"/>
              </a:ext>
            </a:extLst>
          </p:cNvPr>
          <p:cNvSpPr>
            <a:spLocks/>
          </p:cNvSpPr>
          <p:nvPr/>
        </p:nvSpPr>
        <p:spPr bwMode="auto">
          <a:xfrm>
            <a:off x="5095875" y="2273300"/>
            <a:ext cx="2000250" cy="847725"/>
          </a:xfrm>
          <a:custGeom>
            <a:avLst/>
            <a:gdLst>
              <a:gd name="T0" fmla="*/ 630 w 1260"/>
              <a:gd name="T1" fmla="*/ 0 h 534"/>
              <a:gd name="T2" fmla="*/ 0 w 1260"/>
              <a:gd name="T3" fmla="*/ 363 h 534"/>
              <a:gd name="T4" fmla="*/ 295 w 1260"/>
              <a:gd name="T5" fmla="*/ 534 h 534"/>
              <a:gd name="T6" fmla="*/ 295 w 1260"/>
              <a:gd name="T7" fmla="*/ 534 h 534"/>
              <a:gd name="T8" fmla="*/ 630 w 1260"/>
              <a:gd name="T9" fmla="*/ 339 h 534"/>
              <a:gd name="T10" fmla="*/ 965 w 1260"/>
              <a:gd name="T11" fmla="*/ 534 h 534"/>
              <a:gd name="T12" fmla="*/ 1260 w 1260"/>
              <a:gd name="T13" fmla="*/ 363 h 534"/>
              <a:gd name="T14" fmla="*/ 630 w 1260"/>
              <a:gd name="T15" fmla="*/ 0 h 53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60" h="534">
                <a:moveTo>
                  <a:pt x="630" y="0"/>
                </a:moveTo>
                <a:lnTo>
                  <a:pt x="0" y="363"/>
                </a:lnTo>
                <a:lnTo>
                  <a:pt x="295" y="534"/>
                </a:lnTo>
                <a:lnTo>
                  <a:pt x="295" y="534"/>
                </a:lnTo>
                <a:lnTo>
                  <a:pt x="630" y="339"/>
                </a:lnTo>
                <a:lnTo>
                  <a:pt x="965" y="534"/>
                </a:lnTo>
                <a:lnTo>
                  <a:pt x="1260" y="363"/>
                </a:lnTo>
                <a:lnTo>
                  <a:pt x="630" y="0"/>
                </a:lnTo>
              </a:path>
            </a:pathLst>
          </a:custGeom>
          <a:gradFill>
            <a:gsLst>
              <a:gs pos="0">
                <a:schemeClr val="accent1">
                  <a:lumMod val="60000"/>
                  <a:lumOff val="40000"/>
                </a:schemeClr>
              </a:gs>
              <a:gs pos="100000">
                <a:schemeClr val="accent1"/>
              </a:gs>
            </a:gsLst>
            <a:lin ang="2700000" scaled="1"/>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Inter"/>
              <a:cs typeface="+mn-cs"/>
            </a:endParaRPr>
          </a:p>
        </p:txBody>
      </p:sp>
      <p:sp>
        <p:nvSpPr>
          <p:cNvPr id="9" name="Freeform 1678">
            <a:extLst>
              <a:ext uri="{FF2B5EF4-FFF2-40B4-BE49-F238E27FC236}">
                <a16:creationId xmlns:a16="http://schemas.microsoft.com/office/drawing/2014/main" id="{FC505987-2464-4661-A7A3-C7A36B708E58}"/>
              </a:ext>
            </a:extLst>
          </p:cNvPr>
          <p:cNvSpPr>
            <a:spLocks/>
          </p:cNvSpPr>
          <p:nvPr/>
        </p:nvSpPr>
        <p:spPr bwMode="auto">
          <a:xfrm>
            <a:off x="6096000" y="2849563"/>
            <a:ext cx="1000125" cy="1735138"/>
          </a:xfrm>
          <a:custGeom>
            <a:avLst/>
            <a:gdLst>
              <a:gd name="T0" fmla="*/ 630 w 630"/>
              <a:gd name="T1" fmla="*/ 0 h 1093"/>
              <a:gd name="T2" fmla="*/ 335 w 630"/>
              <a:gd name="T3" fmla="*/ 171 h 1093"/>
              <a:gd name="T4" fmla="*/ 335 w 630"/>
              <a:gd name="T5" fmla="*/ 171 h 1093"/>
              <a:gd name="T6" fmla="*/ 335 w 630"/>
              <a:gd name="T7" fmla="*/ 559 h 1093"/>
              <a:gd name="T8" fmla="*/ 0 w 630"/>
              <a:gd name="T9" fmla="*/ 751 h 1093"/>
              <a:gd name="T10" fmla="*/ 0 w 630"/>
              <a:gd name="T11" fmla="*/ 1093 h 1093"/>
              <a:gd name="T12" fmla="*/ 630 w 630"/>
              <a:gd name="T13" fmla="*/ 727 h 1093"/>
              <a:gd name="T14" fmla="*/ 630 w 630"/>
              <a:gd name="T15" fmla="*/ 0 h 10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30" h="1093">
                <a:moveTo>
                  <a:pt x="630" y="0"/>
                </a:moveTo>
                <a:lnTo>
                  <a:pt x="335" y="171"/>
                </a:lnTo>
                <a:lnTo>
                  <a:pt x="335" y="171"/>
                </a:lnTo>
                <a:lnTo>
                  <a:pt x="335" y="559"/>
                </a:lnTo>
                <a:lnTo>
                  <a:pt x="0" y="751"/>
                </a:lnTo>
                <a:lnTo>
                  <a:pt x="0" y="1093"/>
                </a:lnTo>
                <a:lnTo>
                  <a:pt x="630" y="727"/>
                </a:lnTo>
                <a:lnTo>
                  <a:pt x="63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Inter"/>
              <a:ea typeface="+mn-ea"/>
              <a:cs typeface="+mn-cs"/>
            </a:endParaRPr>
          </a:p>
        </p:txBody>
      </p:sp>
      <p:sp>
        <p:nvSpPr>
          <p:cNvPr id="10" name="Freeform 1679">
            <a:extLst>
              <a:ext uri="{FF2B5EF4-FFF2-40B4-BE49-F238E27FC236}">
                <a16:creationId xmlns:a16="http://schemas.microsoft.com/office/drawing/2014/main" id="{3E218D96-9FC7-4920-AD8A-BA048590CE82}"/>
              </a:ext>
            </a:extLst>
          </p:cNvPr>
          <p:cNvSpPr>
            <a:spLocks/>
          </p:cNvSpPr>
          <p:nvPr/>
        </p:nvSpPr>
        <p:spPr bwMode="auto">
          <a:xfrm>
            <a:off x="6627813" y="2849563"/>
            <a:ext cx="468313" cy="271463"/>
          </a:xfrm>
          <a:custGeom>
            <a:avLst/>
            <a:gdLst>
              <a:gd name="T0" fmla="*/ 295 w 295"/>
              <a:gd name="T1" fmla="*/ 0 h 171"/>
              <a:gd name="T2" fmla="*/ 0 w 295"/>
              <a:gd name="T3" fmla="*/ 171 h 171"/>
              <a:gd name="T4" fmla="*/ 0 w 295"/>
              <a:gd name="T5" fmla="*/ 171 h 171"/>
              <a:gd name="T6" fmla="*/ 295 w 295"/>
              <a:gd name="T7" fmla="*/ 0 h 171"/>
            </a:gdLst>
            <a:ahLst/>
            <a:cxnLst>
              <a:cxn ang="0">
                <a:pos x="T0" y="T1"/>
              </a:cxn>
              <a:cxn ang="0">
                <a:pos x="T2" y="T3"/>
              </a:cxn>
              <a:cxn ang="0">
                <a:pos x="T4" y="T5"/>
              </a:cxn>
              <a:cxn ang="0">
                <a:pos x="T6" y="T7"/>
              </a:cxn>
            </a:cxnLst>
            <a:rect l="0" t="0" r="r" b="b"/>
            <a:pathLst>
              <a:path w="295" h="171">
                <a:moveTo>
                  <a:pt x="295" y="0"/>
                </a:moveTo>
                <a:lnTo>
                  <a:pt x="0" y="171"/>
                </a:lnTo>
                <a:lnTo>
                  <a:pt x="0" y="171"/>
                </a:lnTo>
                <a:lnTo>
                  <a:pt x="295" y="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Inter"/>
              <a:ea typeface="+mn-ea"/>
              <a:cs typeface="+mn-cs"/>
            </a:endParaRPr>
          </a:p>
        </p:txBody>
      </p:sp>
      <p:sp>
        <p:nvSpPr>
          <p:cNvPr id="11" name="Freeform 1680">
            <a:extLst>
              <a:ext uri="{FF2B5EF4-FFF2-40B4-BE49-F238E27FC236}">
                <a16:creationId xmlns:a16="http://schemas.microsoft.com/office/drawing/2014/main" id="{80FC9D1E-C82E-4258-A350-BE9841D4786B}"/>
              </a:ext>
            </a:extLst>
          </p:cNvPr>
          <p:cNvSpPr>
            <a:spLocks/>
          </p:cNvSpPr>
          <p:nvPr/>
        </p:nvSpPr>
        <p:spPr bwMode="auto">
          <a:xfrm>
            <a:off x="6627813" y="2849563"/>
            <a:ext cx="468313" cy="271463"/>
          </a:xfrm>
          <a:custGeom>
            <a:avLst/>
            <a:gdLst>
              <a:gd name="T0" fmla="*/ 295 w 295"/>
              <a:gd name="T1" fmla="*/ 0 h 171"/>
              <a:gd name="T2" fmla="*/ 0 w 295"/>
              <a:gd name="T3" fmla="*/ 171 h 171"/>
              <a:gd name="T4" fmla="*/ 0 w 295"/>
              <a:gd name="T5" fmla="*/ 171 h 171"/>
              <a:gd name="T6" fmla="*/ 295 w 295"/>
              <a:gd name="T7" fmla="*/ 0 h 171"/>
            </a:gdLst>
            <a:ahLst/>
            <a:cxnLst>
              <a:cxn ang="0">
                <a:pos x="T0" y="T1"/>
              </a:cxn>
              <a:cxn ang="0">
                <a:pos x="T2" y="T3"/>
              </a:cxn>
              <a:cxn ang="0">
                <a:pos x="T4" y="T5"/>
              </a:cxn>
              <a:cxn ang="0">
                <a:pos x="T6" y="T7"/>
              </a:cxn>
            </a:cxnLst>
            <a:rect l="0" t="0" r="r" b="b"/>
            <a:pathLst>
              <a:path w="295" h="171">
                <a:moveTo>
                  <a:pt x="295" y="0"/>
                </a:moveTo>
                <a:lnTo>
                  <a:pt x="0" y="171"/>
                </a:lnTo>
                <a:lnTo>
                  <a:pt x="0" y="171"/>
                </a:lnTo>
                <a:lnTo>
                  <a:pt x="29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Inter"/>
              <a:ea typeface="+mn-ea"/>
              <a:cs typeface="+mn-cs"/>
            </a:endParaRPr>
          </a:p>
        </p:txBody>
      </p:sp>
      <p:sp>
        <p:nvSpPr>
          <p:cNvPr id="12" name="Freeform 1682">
            <a:extLst>
              <a:ext uri="{FF2B5EF4-FFF2-40B4-BE49-F238E27FC236}">
                <a16:creationId xmlns:a16="http://schemas.microsoft.com/office/drawing/2014/main" id="{1121A84E-41E5-4873-8AE2-0A6B30F78873}"/>
              </a:ext>
            </a:extLst>
          </p:cNvPr>
          <p:cNvSpPr>
            <a:spLocks/>
          </p:cNvSpPr>
          <p:nvPr/>
        </p:nvSpPr>
        <p:spPr bwMode="auto">
          <a:xfrm>
            <a:off x="5564188" y="2811463"/>
            <a:ext cx="1063625" cy="1230313"/>
          </a:xfrm>
          <a:custGeom>
            <a:avLst/>
            <a:gdLst>
              <a:gd name="T0" fmla="*/ 335 w 670"/>
              <a:gd name="T1" fmla="*/ 775 h 775"/>
              <a:gd name="T2" fmla="*/ 0 w 670"/>
              <a:gd name="T3" fmla="*/ 583 h 775"/>
              <a:gd name="T4" fmla="*/ 0 w 670"/>
              <a:gd name="T5" fmla="*/ 195 h 775"/>
              <a:gd name="T6" fmla="*/ 335 w 670"/>
              <a:gd name="T7" fmla="*/ 0 h 775"/>
              <a:gd name="T8" fmla="*/ 670 w 670"/>
              <a:gd name="T9" fmla="*/ 195 h 775"/>
              <a:gd name="T10" fmla="*/ 670 w 670"/>
              <a:gd name="T11" fmla="*/ 583 h 775"/>
              <a:gd name="T12" fmla="*/ 335 w 670"/>
              <a:gd name="T13" fmla="*/ 775 h 775"/>
            </a:gdLst>
            <a:ahLst/>
            <a:cxnLst>
              <a:cxn ang="0">
                <a:pos x="T0" y="T1"/>
              </a:cxn>
              <a:cxn ang="0">
                <a:pos x="T2" y="T3"/>
              </a:cxn>
              <a:cxn ang="0">
                <a:pos x="T4" y="T5"/>
              </a:cxn>
              <a:cxn ang="0">
                <a:pos x="T6" y="T7"/>
              </a:cxn>
              <a:cxn ang="0">
                <a:pos x="T8" y="T9"/>
              </a:cxn>
              <a:cxn ang="0">
                <a:pos x="T10" y="T11"/>
              </a:cxn>
              <a:cxn ang="0">
                <a:pos x="T12" y="T13"/>
              </a:cxn>
            </a:cxnLst>
            <a:rect l="0" t="0" r="r" b="b"/>
            <a:pathLst>
              <a:path w="670" h="775">
                <a:moveTo>
                  <a:pt x="335" y="775"/>
                </a:moveTo>
                <a:lnTo>
                  <a:pt x="0" y="583"/>
                </a:lnTo>
                <a:lnTo>
                  <a:pt x="0" y="195"/>
                </a:lnTo>
                <a:lnTo>
                  <a:pt x="335" y="0"/>
                </a:lnTo>
                <a:lnTo>
                  <a:pt x="670" y="195"/>
                </a:lnTo>
                <a:lnTo>
                  <a:pt x="670" y="583"/>
                </a:lnTo>
                <a:lnTo>
                  <a:pt x="335" y="77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Inter"/>
              <a:ea typeface="+mn-ea"/>
              <a:cs typeface="+mn-cs"/>
            </a:endParaRPr>
          </a:p>
        </p:txBody>
      </p:sp>
      <p:sp>
        <p:nvSpPr>
          <p:cNvPr id="13" name="Freeform 1684">
            <a:extLst>
              <a:ext uri="{FF2B5EF4-FFF2-40B4-BE49-F238E27FC236}">
                <a16:creationId xmlns:a16="http://schemas.microsoft.com/office/drawing/2014/main" id="{7BE38362-A378-4DE0-8E79-17DEC315F65D}"/>
              </a:ext>
            </a:extLst>
          </p:cNvPr>
          <p:cNvSpPr>
            <a:spLocks/>
          </p:cNvSpPr>
          <p:nvPr/>
        </p:nvSpPr>
        <p:spPr bwMode="auto">
          <a:xfrm>
            <a:off x="5564188" y="2811463"/>
            <a:ext cx="1063625" cy="615950"/>
          </a:xfrm>
          <a:custGeom>
            <a:avLst/>
            <a:gdLst>
              <a:gd name="T0" fmla="*/ 335 w 670"/>
              <a:gd name="T1" fmla="*/ 0 h 388"/>
              <a:gd name="T2" fmla="*/ 0 w 670"/>
              <a:gd name="T3" fmla="*/ 195 h 388"/>
              <a:gd name="T4" fmla="*/ 335 w 670"/>
              <a:gd name="T5" fmla="*/ 388 h 388"/>
              <a:gd name="T6" fmla="*/ 670 w 670"/>
              <a:gd name="T7" fmla="*/ 195 h 388"/>
              <a:gd name="T8" fmla="*/ 335 w 670"/>
              <a:gd name="T9" fmla="*/ 0 h 388"/>
            </a:gdLst>
            <a:ahLst/>
            <a:cxnLst>
              <a:cxn ang="0">
                <a:pos x="T0" y="T1"/>
              </a:cxn>
              <a:cxn ang="0">
                <a:pos x="T2" y="T3"/>
              </a:cxn>
              <a:cxn ang="0">
                <a:pos x="T4" y="T5"/>
              </a:cxn>
              <a:cxn ang="0">
                <a:pos x="T6" y="T7"/>
              </a:cxn>
              <a:cxn ang="0">
                <a:pos x="T8" y="T9"/>
              </a:cxn>
            </a:cxnLst>
            <a:rect l="0" t="0" r="r" b="b"/>
            <a:pathLst>
              <a:path w="670" h="388">
                <a:moveTo>
                  <a:pt x="335" y="0"/>
                </a:moveTo>
                <a:lnTo>
                  <a:pt x="0" y="195"/>
                </a:lnTo>
                <a:lnTo>
                  <a:pt x="335" y="388"/>
                </a:lnTo>
                <a:lnTo>
                  <a:pt x="670" y="195"/>
                </a:lnTo>
                <a:lnTo>
                  <a:pt x="33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Inter"/>
              <a:ea typeface="+mn-ea"/>
              <a:cs typeface="+mn-cs"/>
            </a:endParaRPr>
          </a:p>
        </p:txBody>
      </p:sp>
      <p:sp>
        <p:nvSpPr>
          <p:cNvPr id="15" name="Freeform 1673">
            <a:extLst>
              <a:ext uri="{FF2B5EF4-FFF2-40B4-BE49-F238E27FC236}">
                <a16:creationId xmlns:a16="http://schemas.microsoft.com/office/drawing/2014/main" id="{51B1493F-4818-4E2B-A645-7CCB98852DBD}"/>
              </a:ext>
            </a:extLst>
          </p:cNvPr>
          <p:cNvSpPr>
            <a:spLocks/>
          </p:cNvSpPr>
          <p:nvPr/>
        </p:nvSpPr>
        <p:spPr bwMode="auto">
          <a:xfrm>
            <a:off x="5095875" y="2273300"/>
            <a:ext cx="2000250" cy="2311400"/>
          </a:xfrm>
          <a:custGeom>
            <a:avLst/>
            <a:gdLst>
              <a:gd name="T0" fmla="*/ 630 w 1260"/>
              <a:gd name="T1" fmla="*/ 1456 h 1456"/>
              <a:gd name="T2" fmla="*/ 0 w 1260"/>
              <a:gd name="T3" fmla="*/ 1090 h 1456"/>
              <a:gd name="T4" fmla="*/ 0 w 1260"/>
              <a:gd name="T5" fmla="*/ 363 h 1456"/>
              <a:gd name="T6" fmla="*/ 630 w 1260"/>
              <a:gd name="T7" fmla="*/ 0 h 1456"/>
              <a:gd name="T8" fmla="*/ 1260 w 1260"/>
              <a:gd name="T9" fmla="*/ 363 h 1456"/>
              <a:gd name="T10" fmla="*/ 1260 w 1260"/>
              <a:gd name="T11" fmla="*/ 1090 h 1456"/>
              <a:gd name="T12" fmla="*/ 630 w 1260"/>
              <a:gd name="T13" fmla="*/ 1456 h 1456"/>
            </a:gdLst>
            <a:ahLst/>
            <a:cxnLst>
              <a:cxn ang="0">
                <a:pos x="T0" y="T1"/>
              </a:cxn>
              <a:cxn ang="0">
                <a:pos x="T2" y="T3"/>
              </a:cxn>
              <a:cxn ang="0">
                <a:pos x="T4" y="T5"/>
              </a:cxn>
              <a:cxn ang="0">
                <a:pos x="T6" y="T7"/>
              </a:cxn>
              <a:cxn ang="0">
                <a:pos x="T8" y="T9"/>
              </a:cxn>
              <a:cxn ang="0">
                <a:pos x="T10" y="T11"/>
              </a:cxn>
              <a:cxn ang="0">
                <a:pos x="T12" y="T13"/>
              </a:cxn>
            </a:cxnLst>
            <a:rect l="0" t="0" r="r" b="b"/>
            <a:pathLst>
              <a:path w="1260" h="1456">
                <a:moveTo>
                  <a:pt x="630" y="1456"/>
                </a:moveTo>
                <a:lnTo>
                  <a:pt x="0" y="1090"/>
                </a:lnTo>
                <a:lnTo>
                  <a:pt x="0" y="363"/>
                </a:lnTo>
                <a:lnTo>
                  <a:pt x="630" y="0"/>
                </a:lnTo>
                <a:lnTo>
                  <a:pt x="1260" y="363"/>
                </a:lnTo>
                <a:lnTo>
                  <a:pt x="1260" y="1090"/>
                </a:lnTo>
                <a:lnTo>
                  <a:pt x="630" y="1456"/>
                </a:lnTo>
                <a:close/>
              </a:path>
            </a:pathLst>
          </a:custGeom>
          <a:gradFill flip="none" rotWithShape="1">
            <a:gsLst>
              <a:gs pos="0">
                <a:schemeClr val="accent1">
                  <a:lumMod val="20000"/>
                  <a:lumOff val="80000"/>
                </a:schemeClr>
              </a:gs>
              <a:gs pos="18000">
                <a:schemeClr val="accent1">
                  <a:lumMod val="40000"/>
                  <a:lumOff val="60000"/>
                </a:schemeClr>
              </a:gs>
              <a:gs pos="37000">
                <a:schemeClr val="accent1">
                  <a:lumMod val="60000"/>
                  <a:lumOff val="40000"/>
                </a:schemeClr>
              </a:gs>
              <a:gs pos="100000">
                <a:schemeClr val="accent1"/>
              </a:gs>
            </a:gsLst>
            <a:lin ang="810000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Inter"/>
              <a:cs typeface="+mn-cs"/>
            </a:endParaRPr>
          </a:p>
        </p:txBody>
      </p:sp>
      <p:sp>
        <p:nvSpPr>
          <p:cNvPr id="16" name="Freeform 1675">
            <a:extLst>
              <a:ext uri="{FF2B5EF4-FFF2-40B4-BE49-F238E27FC236}">
                <a16:creationId xmlns:a16="http://schemas.microsoft.com/office/drawing/2014/main" id="{E610396C-8917-49E9-95F7-3AF96E771AF9}"/>
              </a:ext>
            </a:extLst>
          </p:cNvPr>
          <p:cNvSpPr>
            <a:spLocks/>
          </p:cNvSpPr>
          <p:nvPr/>
        </p:nvSpPr>
        <p:spPr bwMode="auto">
          <a:xfrm>
            <a:off x="5095875" y="2273300"/>
            <a:ext cx="2000250" cy="847725"/>
          </a:xfrm>
          <a:custGeom>
            <a:avLst/>
            <a:gdLst>
              <a:gd name="T0" fmla="*/ 630 w 1260"/>
              <a:gd name="T1" fmla="*/ 0 h 534"/>
              <a:gd name="T2" fmla="*/ 0 w 1260"/>
              <a:gd name="T3" fmla="*/ 363 h 534"/>
              <a:gd name="T4" fmla="*/ 295 w 1260"/>
              <a:gd name="T5" fmla="*/ 534 h 534"/>
              <a:gd name="T6" fmla="*/ 295 w 1260"/>
              <a:gd name="T7" fmla="*/ 534 h 534"/>
              <a:gd name="T8" fmla="*/ 630 w 1260"/>
              <a:gd name="T9" fmla="*/ 339 h 534"/>
              <a:gd name="T10" fmla="*/ 965 w 1260"/>
              <a:gd name="T11" fmla="*/ 534 h 534"/>
              <a:gd name="T12" fmla="*/ 1260 w 1260"/>
              <a:gd name="T13" fmla="*/ 363 h 534"/>
              <a:gd name="T14" fmla="*/ 630 w 1260"/>
              <a:gd name="T15" fmla="*/ 0 h 53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60" h="534">
                <a:moveTo>
                  <a:pt x="630" y="0"/>
                </a:moveTo>
                <a:lnTo>
                  <a:pt x="0" y="363"/>
                </a:lnTo>
                <a:lnTo>
                  <a:pt x="295" y="534"/>
                </a:lnTo>
                <a:lnTo>
                  <a:pt x="295" y="534"/>
                </a:lnTo>
                <a:lnTo>
                  <a:pt x="630" y="339"/>
                </a:lnTo>
                <a:lnTo>
                  <a:pt x="965" y="534"/>
                </a:lnTo>
                <a:lnTo>
                  <a:pt x="1260" y="363"/>
                </a:lnTo>
                <a:lnTo>
                  <a:pt x="630" y="0"/>
                </a:lnTo>
                <a:close/>
              </a:path>
            </a:pathLst>
          </a:custGeom>
          <a:gradFill flip="none" rotWithShape="1">
            <a:gsLst>
              <a:gs pos="0">
                <a:schemeClr val="accent1">
                  <a:lumMod val="20000"/>
                  <a:lumOff val="80000"/>
                </a:schemeClr>
              </a:gs>
              <a:gs pos="18000">
                <a:schemeClr val="accent1">
                  <a:lumMod val="40000"/>
                  <a:lumOff val="60000"/>
                </a:schemeClr>
              </a:gs>
              <a:gs pos="37000">
                <a:schemeClr val="accent1">
                  <a:lumMod val="60000"/>
                  <a:lumOff val="40000"/>
                </a:schemeClr>
              </a:gs>
              <a:gs pos="75000">
                <a:schemeClr val="accent1"/>
              </a:gs>
            </a:gsLst>
            <a:lin ang="1890000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Inter"/>
              <a:cs typeface="+mn-cs"/>
            </a:endParaRPr>
          </a:p>
        </p:txBody>
      </p:sp>
      <p:sp>
        <p:nvSpPr>
          <p:cNvPr id="17" name="Freeform 1677">
            <a:extLst>
              <a:ext uri="{FF2B5EF4-FFF2-40B4-BE49-F238E27FC236}">
                <a16:creationId xmlns:a16="http://schemas.microsoft.com/office/drawing/2014/main" id="{23A8A978-9F1E-4B41-BA2A-41D798C06A09}"/>
              </a:ext>
            </a:extLst>
          </p:cNvPr>
          <p:cNvSpPr>
            <a:spLocks/>
          </p:cNvSpPr>
          <p:nvPr/>
        </p:nvSpPr>
        <p:spPr bwMode="auto">
          <a:xfrm>
            <a:off x="6096000" y="2849563"/>
            <a:ext cx="1000125" cy="1735138"/>
          </a:xfrm>
          <a:custGeom>
            <a:avLst/>
            <a:gdLst>
              <a:gd name="T0" fmla="*/ 630 w 630"/>
              <a:gd name="T1" fmla="*/ 0 h 1093"/>
              <a:gd name="T2" fmla="*/ 335 w 630"/>
              <a:gd name="T3" fmla="*/ 171 h 1093"/>
              <a:gd name="T4" fmla="*/ 335 w 630"/>
              <a:gd name="T5" fmla="*/ 171 h 1093"/>
              <a:gd name="T6" fmla="*/ 335 w 630"/>
              <a:gd name="T7" fmla="*/ 559 h 1093"/>
              <a:gd name="T8" fmla="*/ 0 w 630"/>
              <a:gd name="T9" fmla="*/ 751 h 1093"/>
              <a:gd name="T10" fmla="*/ 0 w 630"/>
              <a:gd name="T11" fmla="*/ 1093 h 1093"/>
              <a:gd name="T12" fmla="*/ 630 w 630"/>
              <a:gd name="T13" fmla="*/ 727 h 1093"/>
              <a:gd name="T14" fmla="*/ 630 w 630"/>
              <a:gd name="T15" fmla="*/ 0 h 10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30" h="1093">
                <a:moveTo>
                  <a:pt x="630" y="0"/>
                </a:moveTo>
                <a:lnTo>
                  <a:pt x="335" y="171"/>
                </a:lnTo>
                <a:lnTo>
                  <a:pt x="335" y="171"/>
                </a:lnTo>
                <a:lnTo>
                  <a:pt x="335" y="559"/>
                </a:lnTo>
                <a:lnTo>
                  <a:pt x="0" y="751"/>
                </a:lnTo>
                <a:lnTo>
                  <a:pt x="0" y="1093"/>
                </a:lnTo>
                <a:lnTo>
                  <a:pt x="630" y="727"/>
                </a:lnTo>
                <a:lnTo>
                  <a:pt x="630" y="0"/>
                </a:lnTo>
                <a:close/>
              </a:path>
            </a:pathLst>
          </a:custGeom>
          <a:gradFill flip="none" rotWithShape="1">
            <a:gsLst>
              <a:gs pos="0">
                <a:schemeClr val="accent1">
                  <a:lumMod val="20000"/>
                  <a:lumOff val="80000"/>
                </a:schemeClr>
              </a:gs>
              <a:gs pos="12000">
                <a:schemeClr val="accent1">
                  <a:lumMod val="40000"/>
                  <a:lumOff val="60000"/>
                </a:schemeClr>
              </a:gs>
              <a:gs pos="30000">
                <a:schemeClr val="accent1">
                  <a:lumMod val="60000"/>
                  <a:lumOff val="40000"/>
                </a:schemeClr>
              </a:gs>
              <a:gs pos="75000">
                <a:schemeClr val="accent1"/>
              </a:gs>
            </a:gsLst>
            <a:lin ang="270000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Inter"/>
              <a:ea typeface="+mn-ea"/>
              <a:cs typeface="+mn-cs"/>
            </a:endParaRPr>
          </a:p>
        </p:txBody>
      </p:sp>
      <p:sp>
        <p:nvSpPr>
          <p:cNvPr id="19" name="Freeform 1681">
            <a:extLst>
              <a:ext uri="{FF2B5EF4-FFF2-40B4-BE49-F238E27FC236}">
                <a16:creationId xmlns:a16="http://schemas.microsoft.com/office/drawing/2014/main" id="{AA2754DF-7C14-4CD0-ACC4-58A4E1775738}"/>
              </a:ext>
            </a:extLst>
          </p:cNvPr>
          <p:cNvSpPr>
            <a:spLocks/>
          </p:cNvSpPr>
          <p:nvPr/>
        </p:nvSpPr>
        <p:spPr bwMode="auto">
          <a:xfrm>
            <a:off x="5564188" y="2811463"/>
            <a:ext cx="1063625" cy="1230313"/>
          </a:xfrm>
          <a:custGeom>
            <a:avLst/>
            <a:gdLst>
              <a:gd name="T0" fmla="*/ 335 w 670"/>
              <a:gd name="T1" fmla="*/ 775 h 775"/>
              <a:gd name="T2" fmla="*/ 0 w 670"/>
              <a:gd name="T3" fmla="*/ 583 h 775"/>
              <a:gd name="T4" fmla="*/ 0 w 670"/>
              <a:gd name="T5" fmla="*/ 195 h 775"/>
              <a:gd name="T6" fmla="*/ 335 w 670"/>
              <a:gd name="T7" fmla="*/ 0 h 775"/>
              <a:gd name="T8" fmla="*/ 670 w 670"/>
              <a:gd name="T9" fmla="*/ 195 h 775"/>
              <a:gd name="T10" fmla="*/ 670 w 670"/>
              <a:gd name="T11" fmla="*/ 583 h 775"/>
              <a:gd name="T12" fmla="*/ 335 w 670"/>
              <a:gd name="T13" fmla="*/ 775 h 775"/>
            </a:gdLst>
            <a:ahLst/>
            <a:cxnLst>
              <a:cxn ang="0">
                <a:pos x="T0" y="T1"/>
              </a:cxn>
              <a:cxn ang="0">
                <a:pos x="T2" y="T3"/>
              </a:cxn>
              <a:cxn ang="0">
                <a:pos x="T4" y="T5"/>
              </a:cxn>
              <a:cxn ang="0">
                <a:pos x="T6" y="T7"/>
              </a:cxn>
              <a:cxn ang="0">
                <a:pos x="T8" y="T9"/>
              </a:cxn>
              <a:cxn ang="0">
                <a:pos x="T10" y="T11"/>
              </a:cxn>
              <a:cxn ang="0">
                <a:pos x="T12" y="T13"/>
              </a:cxn>
            </a:cxnLst>
            <a:rect l="0" t="0" r="r" b="b"/>
            <a:pathLst>
              <a:path w="670" h="775">
                <a:moveTo>
                  <a:pt x="335" y="775"/>
                </a:moveTo>
                <a:lnTo>
                  <a:pt x="0" y="583"/>
                </a:lnTo>
                <a:lnTo>
                  <a:pt x="0" y="195"/>
                </a:lnTo>
                <a:lnTo>
                  <a:pt x="335" y="0"/>
                </a:lnTo>
                <a:lnTo>
                  <a:pt x="670" y="195"/>
                </a:lnTo>
                <a:lnTo>
                  <a:pt x="670" y="583"/>
                </a:lnTo>
                <a:lnTo>
                  <a:pt x="335" y="775"/>
                </a:lnTo>
                <a:close/>
              </a:path>
            </a:pathLst>
          </a:custGeom>
          <a:solidFill>
            <a:schemeClr val="accent1">
              <a:lumMod val="40000"/>
              <a:lumOff val="6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Inter"/>
              <a:ea typeface="+mn-ea"/>
              <a:cs typeface="+mn-cs"/>
            </a:endParaRPr>
          </a:p>
        </p:txBody>
      </p:sp>
      <p:sp>
        <p:nvSpPr>
          <p:cNvPr id="20" name="Freeform 1683">
            <a:extLst>
              <a:ext uri="{FF2B5EF4-FFF2-40B4-BE49-F238E27FC236}">
                <a16:creationId xmlns:a16="http://schemas.microsoft.com/office/drawing/2014/main" id="{E4E0A4FF-5ED9-46C4-91DC-CDD23AF641D2}"/>
              </a:ext>
            </a:extLst>
          </p:cNvPr>
          <p:cNvSpPr>
            <a:spLocks/>
          </p:cNvSpPr>
          <p:nvPr/>
        </p:nvSpPr>
        <p:spPr bwMode="auto">
          <a:xfrm>
            <a:off x="5564188" y="2811463"/>
            <a:ext cx="1063625" cy="615950"/>
          </a:xfrm>
          <a:custGeom>
            <a:avLst/>
            <a:gdLst>
              <a:gd name="T0" fmla="*/ 335 w 670"/>
              <a:gd name="T1" fmla="*/ 0 h 388"/>
              <a:gd name="T2" fmla="*/ 0 w 670"/>
              <a:gd name="T3" fmla="*/ 195 h 388"/>
              <a:gd name="T4" fmla="*/ 335 w 670"/>
              <a:gd name="T5" fmla="*/ 388 h 388"/>
              <a:gd name="T6" fmla="*/ 670 w 670"/>
              <a:gd name="T7" fmla="*/ 195 h 388"/>
              <a:gd name="T8" fmla="*/ 335 w 670"/>
              <a:gd name="T9" fmla="*/ 0 h 388"/>
            </a:gdLst>
            <a:ahLst/>
            <a:cxnLst>
              <a:cxn ang="0">
                <a:pos x="T0" y="T1"/>
              </a:cxn>
              <a:cxn ang="0">
                <a:pos x="T2" y="T3"/>
              </a:cxn>
              <a:cxn ang="0">
                <a:pos x="T4" y="T5"/>
              </a:cxn>
              <a:cxn ang="0">
                <a:pos x="T6" y="T7"/>
              </a:cxn>
              <a:cxn ang="0">
                <a:pos x="T8" y="T9"/>
              </a:cxn>
            </a:cxnLst>
            <a:rect l="0" t="0" r="r" b="b"/>
            <a:pathLst>
              <a:path w="670" h="388">
                <a:moveTo>
                  <a:pt x="335" y="0"/>
                </a:moveTo>
                <a:lnTo>
                  <a:pt x="0" y="195"/>
                </a:lnTo>
                <a:lnTo>
                  <a:pt x="335" y="388"/>
                </a:lnTo>
                <a:lnTo>
                  <a:pt x="670" y="195"/>
                </a:lnTo>
                <a:lnTo>
                  <a:pt x="335" y="0"/>
                </a:lnTo>
                <a:close/>
              </a:path>
            </a:pathLst>
          </a:cu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Inter"/>
              <a:ea typeface="+mn-ea"/>
              <a:cs typeface="+mn-cs"/>
            </a:endParaRPr>
          </a:p>
        </p:txBody>
      </p:sp>
      <p:sp>
        <p:nvSpPr>
          <p:cNvPr id="21" name="Freeform 1685">
            <a:extLst>
              <a:ext uri="{FF2B5EF4-FFF2-40B4-BE49-F238E27FC236}">
                <a16:creationId xmlns:a16="http://schemas.microsoft.com/office/drawing/2014/main" id="{CC112FC4-ADD7-440C-9C10-0521CBC954BA}"/>
              </a:ext>
            </a:extLst>
          </p:cNvPr>
          <p:cNvSpPr>
            <a:spLocks/>
          </p:cNvSpPr>
          <p:nvPr/>
        </p:nvSpPr>
        <p:spPr bwMode="auto">
          <a:xfrm>
            <a:off x="6096000" y="3121025"/>
            <a:ext cx="531813" cy="920750"/>
          </a:xfrm>
          <a:custGeom>
            <a:avLst/>
            <a:gdLst>
              <a:gd name="T0" fmla="*/ 335 w 335"/>
              <a:gd name="T1" fmla="*/ 0 h 580"/>
              <a:gd name="T2" fmla="*/ 0 w 335"/>
              <a:gd name="T3" fmla="*/ 193 h 580"/>
              <a:gd name="T4" fmla="*/ 0 w 335"/>
              <a:gd name="T5" fmla="*/ 580 h 580"/>
              <a:gd name="T6" fmla="*/ 335 w 335"/>
              <a:gd name="T7" fmla="*/ 388 h 580"/>
              <a:gd name="T8" fmla="*/ 335 w 335"/>
              <a:gd name="T9" fmla="*/ 0 h 580"/>
            </a:gdLst>
            <a:ahLst/>
            <a:cxnLst>
              <a:cxn ang="0">
                <a:pos x="T0" y="T1"/>
              </a:cxn>
              <a:cxn ang="0">
                <a:pos x="T2" y="T3"/>
              </a:cxn>
              <a:cxn ang="0">
                <a:pos x="T4" y="T5"/>
              </a:cxn>
              <a:cxn ang="0">
                <a:pos x="T6" y="T7"/>
              </a:cxn>
              <a:cxn ang="0">
                <a:pos x="T8" y="T9"/>
              </a:cxn>
            </a:cxnLst>
            <a:rect l="0" t="0" r="r" b="b"/>
            <a:pathLst>
              <a:path w="335" h="580">
                <a:moveTo>
                  <a:pt x="335" y="0"/>
                </a:moveTo>
                <a:lnTo>
                  <a:pt x="0" y="193"/>
                </a:lnTo>
                <a:lnTo>
                  <a:pt x="0" y="580"/>
                </a:lnTo>
                <a:lnTo>
                  <a:pt x="335" y="388"/>
                </a:lnTo>
                <a:lnTo>
                  <a:pt x="335" y="0"/>
                </a:lnTo>
                <a:close/>
              </a:path>
            </a:pathLst>
          </a:custGeom>
          <a:solidFill>
            <a:schemeClr val="accent1">
              <a:lumMod val="60000"/>
              <a:lumOff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Inter"/>
              <a:ea typeface="+mn-ea"/>
              <a:cs typeface="+mn-cs"/>
            </a:endParaRPr>
          </a:p>
        </p:txBody>
      </p:sp>
      <p:sp>
        <p:nvSpPr>
          <p:cNvPr id="22" name="Freeform 1686">
            <a:extLst>
              <a:ext uri="{FF2B5EF4-FFF2-40B4-BE49-F238E27FC236}">
                <a16:creationId xmlns:a16="http://schemas.microsoft.com/office/drawing/2014/main" id="{45BAB790-272D-4ADF-B335-6179D50955FC}"/>
              </a:ext>
            </a:extLst>
          </p:cNvPr>
          <p:cNvSpPr>
            <a:spLocks/>
          </p:cNvSpPr>
          <p:nvPr/>
        </p:nvSpPr>
        <p:spPr bwMode="auto">
          <a:xfrm>
            <a:off x="6096000" y="3121025"/>
            <a:ext cx="531813" cy="920750"/>
          </a:xfrm>
          <a:custGeom>
            <a:avLst/>
            <a:gdLst>
              <a:gd name="T0" fmla="*/ 335 w 335"/>
              <a:gd name="T1" fmla="*/ 0 h 580"/>
              <a:gd name="T2" fmla="*/ 0 w 335"/>
              <a:gd name="T3" fmla="*/ 193 h 580"/>
              <a:gd name="T4" fmla="*/ 0 w 335"/>
              <a:gd name="T5" fmla="*/ 580 h 580"/>
              <a:gd name="T6" fmla="*/ 335 w 335"/>
              <a:gd name="T7" fmla="*/ 388 h 580"/>
              <a:gd name="T8" fmla="*/ 335 w 335"/>
              <a:gd name="T9" fmla="*/ 0 h 580"/>
            </a:gdLst>
            <a:ahLst/>
            <a:cxnLst>
              <a:cxn ang="0">
                <a:pos x="T0" y="T1"/>
              </a:cxn>
              <a:cxn ang="0">
                <a:pos x="T2" y="T3"/>
              </a:cxn>
              <a:cxn ang="0">
                <a:pos x="T4" y="T5"/>
              </a:cxn>
              <a:cxn ang="0">
                <a:pos x="T6" y="T7"/>
              </a:cxn>
              <a:cxn ang="0">
                <a:pos x="T8" y="T9"/>
              </a:cxn>
            </a:cxnLst>
            <a:rect l="0" t="0" r="r" b="b"/>
            <a:pathLst>
              <a:path w="335" h="580">
                <a:moveTo>
                  <a:pt x="335" y="0"/>
                </a:moveTo>
                <a:lnTo>
                  <a:pt x="0" y="193"/>
                </a:lnTo>
                <a:lnTo>
                  <a:pt x="0" y="580"/>
                </a:lnTo>
                <a:lnTo>
                  <a:pt x="335" y="388"/>
                </a:lnTo>
                <a:lnTo>
                  <a:pt x="33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Inter"/>
              <a:ea typeface="+mn-ea"/>
              <a:cs typeface="+mn-cs"/>
            </a:endParaRPr>
          </a:p>
        </p:txBody>
      </p:sp>
      <p:grpSp>
        <p:nvGrpSpPr>
          <p:cNvPr id="23" name="Group 7345">
            <a:extLst>
              <a:ext uri="{FF2B5EF4-FFF2-40B4-BE49-F238E27FC236}">
                <a16:creationId xmlns:a16="http://schemas.microsoft.com/office/drawing/2014/main" id="{810BA567-9D8B-455C-9622-63DD5CCA8811}"/>
              </a:ext>
            </a:extLst>
          </p:cNvPr>
          <p:cNvGrpSpPr/>
          <p:nvPr/>
        </p:nvGrpSpPr>
        <p:grpSpPr>
          <a:xfrm>
            <a:off x="3929063" y="2146299"/>
            <a:ext cx="4352926" cy="2587624"/>
            <a:chOff x="3929063" y="2146299"/>
            <a:chExt cx="4352926" cy="2587624"/>
          </a:xfrm>
        </p:grpSpPr>
        <p:grpSp>
          <p:nvGrpSpPr>
            <p:cNvPr id="24" name="Group 7332">
              <a:extLst>
                <a:ext uri="{FF2B5EF4-FFF2-40B4-BE49-F238E27FC236}">
                  <a16:creationId xmlns:a16="http://schemas.microsoft.com/office/drawing/2014/main" id="{1EA6FE90-D83E-4151-9672-5F499749DAA0}"/>
                </a:ext>
              </a:extLst>
            </p:cNvPr>
            <p:cNvGrpSpPr/>
            <p:nvPr/>
          </p:nvGrpSpPr>
          <p:grpSpPr>
            <a:xfrm>
              <a:off x="6095999" y="2146299"/>
              <a:ext cx="1133476" cy="2587624"/>
              <a:chOff x="6095999" y="2157413"/>
              <a:chExt cx="1133476" cy="2587624"/>
            </a:xfrm>
          </p:grpSpPr>
          <p:cxnSp>
            <p:nvCxnSpPr>
              <p:cNvPr id="33" name="Straight Connector 7323">
                <a:extLst>
                  <a:ext uri="{FF2B5EF4-FFF2-40B4-BE49-F238E27FC236}">
                    <a16:creationId xmlns:a16="http://schemas.microsoft.com/office/drawing/2014/main" id="{932EEB91-F1B5-4F3C-A5EE-A96827987A81}"/>
                  </a:ext>
                </a:extLst>
              </p:cNvPr>
              <p:cNvCxnSpPr/>
              <p:nvPr/>
            </p:nvCxnSpPr>
            <p:spPr>
              <a:xfrm>
                <a:off x="6096000" y="2157413"/>
                <a:ext cx="1133475" cy="611981"/>
              </a:xfrm>
              <a:prstGeom prst="line">
                <a:avLst/>
              </a:prstGeom>
              <a:ln w="12700">
                <a:solidFill>
                  <a:schemeClr val="accent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4" name="Straight Connector 1693">
                <a:extLst>
                  <a:ext uri="{FF2B5EF4-FFF2-40B4-BE49-F238E27FC236}">
                    <a16:creationId xmlns:a16="http://schemas.microsoft.com/office/drawing/2014/main" id="{B3816BEF-AF27-4706-98A7-81A3BF67E1FB}"/>
                  </a:ext>
                </a:extLst>
              </p:cNvPr>
              <p:cNvCxnSpPr>
                <a:cxnSpLocks/>
              </p:cNvCxnSpPr>
              <p:nvPr/>
            </p:nvCxnSpPr>
            <p:spPr>
              <a:xfrm>
                <a:off x="7226300" y="2769394"/>
                <a:ext cx="0" cy="1307306"/>
              </a:xfrm>
              <a:prstGeom prst="line">
                <a:avLst/>
              </a:prstGeom>
              <a:ln w="12700">
                <a:solidFill>
                  <a:schemeClr val="accent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5" name="Straight Connector 1697">
                <a:extLst>
                  <a:ext uri="{FF2B5EF4-FFF2-40B4-BE49-F238E27FC236}">
                    <a16:creationId xmlns:a16="http://schemas.microsoft.com/office/drawing/2014/main" id="{933E3DB9-1431-4294-B788-B82FD3ADC6CA}"/>
                  </a:ext>
                </a:extLst>
              </p:cNvPr>
              <p:cNvCxnSpPr>
                <a:cxnSpLocks/>
              </p:cNvCxnSpPr>
              <p:nvPr/>
            </p:nvCxnSpPr>
            <p:spPr>
              <a:xfrm flipH="1">
                <a:off x="6095999" y="4076700"/>
                <a:ext cx="1130301" cy="668337"/>
              </a:xfrm>
              <a:prstGeom prst="line">
                <a:avLst/>
              </a:prstGeom>
              <a:ln w="12700">
                <a:solidFill>
                  <a:schemeClr val="accent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grpSp>
        <p:grpSp>
          <p:nvGrpSpPr>
            <p:cNvPr id="25" name="Group 1704">
              <a:extLst>
                <a:ext uri="{FF2B5EF4-FFF2-40B4-BE49-F238E27FC236}">
                  <a16:creationId xmlns:a16="http://schemas.microsoft.com/office/drawing/2014/main" id="{EC06DC9E-80D7-49B8-947A-D2025C60A902}"/>
                </a:ext>
              </a:extLst>
            </p:cNvPr>
            <p:cNvGrpSpPr/>
            <p:nvPr/>
          </p:nvGrpSpPr>
          <p:grpSpPr>
            <a:xfrm flipH="1">
              <a:off x="4962523" y="2146299"/>
              <a:ext cx="1133476" cy="2587624"/>
              <a:chOff x="6095999" y="2157413"/>
              <a:chExt cx="1133476" cy="2587624"/>
            </a:xfrm>
          </p:grpSpPr>
          <p:cxnSp>
            <p:nvCxnSpPr>
              <p:cNvPr id="30" name="Straight Connector 1705">
                <a:extLst>
                  <a:ext uri="{FF2B5EF4-FFF2-40B4-BE49-F238E27FC236}">
                    <a16:creationId xmlns:a16="http://schemas.microsoft.com/office/drawing/2014/main" id="{8721CFFF-D01E-46C6-B835-C8F9E0E62B44}"/>
                  </a:ext>
                </a:extLst>
              </p:cNvPr>
              <p:cNvCxnSpPr/>
              <p:nvPr/>
            </p:nvCxnSpPr>
            <p:spPr>
              <a:xfrm>
                <a:off x="6096000" y="2157413"/>
                <a:ext cx="1133475" cy="611981"/>
              </a:xfrm>
              <a:prstGeom prst="line">
                <a:avLst/>
              </a:prstGeom>
              <a:ln w="12700">
                <a:solidFill>
                  <a:schemeClr val="accent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1" name="Straight Connector 1706">
                <a:extLst>
                  <a:ext uri="{FF2B5EF4-FFF2-40B4-BE49-F238E27FC236}">
                    <a16:creationId xmlns:a16="http://schemas.microsoft.com/office/drawing/2014/main" id="{9CC34CD7-B393-4EFF-97E7-8C5C2EA41F89}"/>
                  </a:ext>
                </a:extLst>
              </p:cNvPr>
              <p:cNvCxnSpPr>
                <a:cxnSpLocks/>
              </p:cNvCxnSpPr>
              <p:nvPr/>
            </p:nvCxnSpPr>
            <p:spPr>
              <a:xfrm>
                <a:off x="7226300" y="2769394"/>
                <a:ext cx="0" cy="1307306"/>
              </a:xfrm>
              <a:prstGeom prst="line">
                <a:avLst/>
              </a:prstGeom>
              <a:ln w="12700">
                <a:solidFill>
                  <a:schemeClr val="accent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2" name="Straight Connector 1707">
                <a:extLst>
                  <a:ext uri="{FF2B5EF4-FFF2-40B4-BE49-F238E27FC236}">
                    <a16:creationId xmlns:a16="http://schemas.microsoft.com/office/drawing/2014/main" id="{0F664FFE-125B-4375-94AE-8305A489AF5D}"/>
                  </a:ext>
                </a:extLst>
              </p:cNvPr>
              <p:cNvCxnSpPr>
                <a:cxnSpLocks/>
              </p:cNvCxnSpPr>
              <p:nvPr/>
            </p:nvCxnSpPr>
            <p:spPr>
              <a:xfrm flipH="1">
                <a:off x="6095999" y="4076700"/>
                <a:ext cx="1130301" cy="668337"/>
              </a:xfrm>
              <a:prstGeom prst="line">
                <a:avLst/>
              </a:prstGeom>
              <a:ln w="12700">
                <a:solidFill>
                  <a:schemeClr val="accent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grpSp>
        <p:cxnSp>
          <p:nvCxnSpPr>
            <p:cNvPr id="26" name="Straight Connector 7334">
              <a:extLst>
                <a:ext uri="{FF2B5EF4-FFF2-40B4-BE49-F238E27FC236}">
                  <a16:creationId xmlns:a16="http://schemas.microsoft.com/office/drawing/2014/main" id="{4DE55E7F-DB2A-4CB7-A4B5-E9A6A99CAB0E}"/>
                </a:ext>
              </a:extLst>
            </p:cNvPr>
            <p:cNvCxnSpPr>
              <a:cxnSpLocks/>
              <a:endCxn id="2" idx="5"/>
            </p:cNvCxnSpPr>
            <p:nvPr/>
          </p:nvCxnSpPr>
          <p:spPr>
            <a:xfrm flipV="1">
              <a:off x="7226300" y="2171487"/>
              <a:ext cx="1055689" cy="586793"/>
            </a:xfrm>
            <a:prstGeom prst="line">
              <a:avLst/>
            </a:prstGeom>
            <a:ln w="12700">
              <a:solidFill>
                <a:schemeClr val="accent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7" name="Straight Connector 1710">
              <a:extLst>
                <a:ext uri="{FF2B5EF4-FFF2-40B4-BE49-F238E27FC236}">
                  <a16:creationId xmlns:a16="http://schemas.microsoft.com/office/drawing/2014/main" id="{E238EBF6-3C4A-4F8B-93A9-BF557C5988EE}"/>
                </a:ext>
              </a:extLst>
            </p:cNvPr>
            <p:cNvCxnSpPr>
              <a:cxnSpLocks/>
              <a:endCxn id="2" idx="4"/>
            </p:cNvCxnSpPr>
            <p:nvPr/>
          </p:nvCxnSpPr>
          <p:spPr>
            <a:xfrm>
              <a:off x="7229477" y="4065587"/>
              <a:ext cx="1052512" cy="615968"/>
            </a:xfrm>
            <a:prstGeom prst="line">
              <a:avLst/>
            </a:prstGeom>
            <a:ln w="12700">
              <a:solidFill>
                <a:schemeClr val="accent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8" name="Straight Connector 1713">
              <a:extLst>
                <a:ext uri="{FF2B5EF4-FFF2-40B4-BE49-F238E27FC236}">
                  <a16:creationId xmlns:a16="http://schemas.microsoft.com/office/drawing/2014/main" id="{D9374175-E026-45EF-B2A7-62DF753505A2}"/>
                </a:ext>
              </a:extLst>
            </p:cNvPr>
            <p:cNvCxnSpPr>
              <a:cxnSpLocks/>
              <a:endCxn id="2" idx="2"/>
            </p:cNvCxnSpPr>
            <p:nvPr/>
          </p:nvCxnSpPr>
          <p:spPr>
            <a:xfrm flipH="1">
              <a:off x="3929063" y="4065585"/>
              <a:ext cx="1033460" cy="615970"/>
            </a:xfrm>
            <a:prstGeom prst="line">
              <a:avLst/>
            </a:prstGeom>
            <a:ln w="12700">
              <a:solidFill>
                <a:schemeClr val="accent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9" name="Straight Connector 1716">
              <a:extLst>
                <a:ext uri="{FF2B5EF4-FFF2-40B4-BE49-F238E27FC236}">
                  <a16:creationId xmlns:a16="http://schemas.microsoft.com/office/drawing/2014/main" id="{04814AF7-EFBF-4B71-9D59-A3DF583F4BFC}"/>
                </a:ext>
              </a:extLst>
            </p:cNvPr>
            <p:cNvCxnSpPr>
              <a:cxnSpLocks/>
              <a:endCxn id="2" idx="1"/>
            </p:cNvCxnSpPr>
            <p:nvPr/>
          </p:nvCxnSpPr>
          <p:spPr>
            <a:xfrm flipH="1" flipV="1">
              <a:off x="3929063" y="2171487"/>
              <a:ext cx="1033460" cy="586794"/>
            </a:xfrm>
            <a:prstGeom prst="line">
              <a:avLst/>
            </a:prstGeom>
            <a:ln w="12700">
              <a:solidFill>
                <a:schemeClr val="accent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grpSp>
      <p:cxnSp>
        <p:nvCxnSpPr>
          <p:cNvPr id="37" name="Straight Connector 1744">
            <a:extLst>
              <a:ext uri="{FF2B5EF4-FFF2-40B4-BE49-F238E27FC236}">
                <a16:creationId xmlns:a16="http://schemas.microsoft.com/office/drawing/2014/main" id="{585A421A-932D-4FD2-965C-C917869EF930}"/>
              </a:ext>
            </a:extLst>
          </p:cNvPr>
          <p:cNvCxnSpPr>
            <a:cxnSpLocks/>
          </p:cNvCxnSpPr>
          <p:nvPr/>
        </p:nvCxnSpPr>
        <p:spPr>
          <a:xfrm>
            <a:off x="8526102" y="1768425"/>
            <a:ext cx="0" cy="203479"/>
          </a:xfrm>
          <a:prstGeom prst="line">
            <a:avLst/>
          </a:prstGeom>
          <a:ln w="508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9" name="Straight Connector 1746">
            <a:extLst>
              <a:ext uri="{FF2B5EF4-FFF2-40B4-BE49-F238E27FC236}">
                <a16:creationId xmlns:a16="http://schemas.microsoft.com/office/drawing/2014/main" id="{D9DC7B10-1328-457A-BC59-A7C7EE694A51}"/>
              </a:ext>
            </a:extLst>
          </p:cNvPr>
          <p:cNvCxnSpPr>
            <a:cxnSpLocks/>
          </p:cNvCxnSpPr>
          <p:nvPr/>
        </p:nvCxnSpPr>
        <p:spPr>
          <a:xfrm>
            <a:off x="8526102" y="4464130"/>
            <a:ext cx="0" cy="203479"/>
          </a:xfrm>
          <a:prstGeom prst="line">
            <a:avLst/>
          </a:prstGeom>
          <a:ln w="508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0" name="Straight Connector 1747">
            <a:extLst>
              <a:ext uri="{FF2B5EF4-FFF2-40B4-BE49-F238E27FC236}">
                <a16:creationId xmlns:a16="http://schemas.microsoft.com/office/drawing/2014/main" id="{B27EA3A1-DC23-482C-9EB0-99DCF0575A31}"/>
              </a:ext>
            </a:extLst>
          </p:cNvPr>
          <p:cNvCxnSpPr>
            <a:cxnSpLocks/>
          </p:cNvCxnSpPr>
          <p:nvPr/>
        </p:nvCxnSpPr>
        <p:spPr>
          <a:xfrm>
            <a:off x="3584884" y="1765799"/>
            <a:ext cx="0" cy="203479"/>
          </a:xfrm>
          <a:prstGeom prst="line">
            <a:avLst/>
          </a:prstGeom>
          <a:ln w="508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2" name="Straight Connector 1749">
            <a:extLst>
              <a:ext uri="{FF2B5EF4-FFF2-40B4-BE49-F238E27FC236}">
                <a16:creationId xmlns:a16="http://schemas.microsoft.com/office/drawing/2014/main" id="{777E20E6-F818-4AE2-832F-F47F852E9F06}"/>
              </a:ext>
            </a:extLst>
          </p:cNvPr>
          <p:cNvCxnSpPr>
            <a:cxnSpLocks/>
          </p:cNvCxnSpPr>
          <p:nvPr/>
        </p:nvCxnSpPr>
        <p:spPr>
          <a:xfrm>
            <a:off x="3586026" y="4464414"/>
            <a:ext cx="0" cy="203479"/>
          </a:xfrm>
          <a:prstGeom prst="line">
            <a:avLst/>
          </a:prstGeom>
          <a:ln w="50800">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65" name="组合 64">
            <a:extLst>
              <a:ext uri="{FF2B5EF4-FFF2-40B4-BE49-F238E27FC236}">
                <a16:creationId xmlns:a16="http://schemas.microsoft.com/office/drawing/2014/main" id="{4131C201-9037-4722-ACBD-D65037E2A0F7}"/>
              </a:ext>
            </a:extLst>
          </p:cNvPr>
          <p:cNvGrpSpPr/>
          <p:nvPr/>
        </p:nvGrpSpPr>
        <p:grpSpPr>
          <a:xfrm>
            <a:off x="1034107" y="4399045"/>
            <a:ext cx="2379233" cy="1252410"/>
            <a:chOff x="4587447" y="1949395"/>
            <a:chExt cx="2379233" cy="1252410"/>
          </a:xfrm>
        </p:grpSpPr>
        <p:sp>
          <p:nvSpPr>
            <p:cNvPr id="69" name="TextBox 65">
              <a:extLst>
                <a:ext uri="{FF2B5EF4-FFF2-40B4-BE49-F238E27FC236}">
                  <a16:creationId xmlns:a16="http://schemas.microsoft.com/office/drawing/2014/main" id="{9E3AECFD-5F0F-4E57-8CB9-2502DC4FCEF9}"/>
                </a:ext>
              </a:extLst>
            </p:cNvPr>
            <p:cNvSpPr txBox="1"/>
            <p:nvPr/>
          </p:nvSpPr>
          <p:spPr>
            <a:xfrm>
              <a:off x="5427752" y="1949395"/>
              <a:ext cx="1538928" cy="345598"/>
            </a:xfrm>
            <a:prstGeom prst="rect">
              <a:avLst/>
            </a:prstGeom>
            <a:noFill/>
          </p:spPr>
          <p:txBody>
            <a:bodyPr wrap="square" lIns="0" tIns="36000" rIns="0" bIns="36000" rtlCol="0">
              <a:spAutoFit/>
            </a:bodyPr>
            <a:lstStyle/>
            <a:p>
              <a:pPr marL="0" marR="0" lvl="0" indent="0" algn="r" defTabSz="914400" rtl="0" eaLnBrk="1" fontAlgn="auto" latinLnBrk="0" hangingPunct="1">
                <a:lnSpc>
                  <a:spcPct val="120000"/>
                </a:lnSpc>
                <a:spcBef>
                  <a:spcPts val="600"/>
                </a:spcBef>
                <a:spcAft>
                  <a:spcPts val="0"/>
                </a:spcAft>
                <a:buClrTx/>
                <a:buSzTx/>
                <a:buFontTx/>
                <a:buNone/>
                <a:tabLst/>
                <a:defRPr/>
              </a:pPr>
              <a:r>
                <a:rPr kumimoji="0" lang="en-US" sz="1600" b="0" i="0" u="none" strike="noStrike" kern="1200" cap="none" spc="0" normalizeH="0" baseline="0" noProof="0" dirty="0">
                  <a:ln>
                    <a:noFill/>
                  </a:ln>
                  <a:solidFill>
                    <a:schemeClr val="accent1"/>
                  </a:solidFill>
                  <a:effectLst/>
                  <a:uLnTx/>
                  <a:uFillTx/>
                  <a:latin typeface="HarmonyOS Sans SC Black"/>
                  <a:ea typeface="+mj-ea"/>
                  <a:cs typeface="+mn-cs"/>
                </a:rPr>
                <a:t>03. Think</a:t>
              </a:r>
            </a:p>
          </p:txBody>
        </p:sp>
        <p:sp>
          <p:nvSpPr>
            <p:cNvPr id="70" name="TextBox 65">
              <a:extLst>
                <a:ext uri="{FF2B5EF4-FFF2-40B4-BE49-F238E27FC236}">
                  <a16:creationId xmlns:a16="http://schemas.microsoft.com/office/drawing/2014/main" id="{C0DC7AA5-8DDB-4451-8E5B-1B7DDFC53C6C}"/>
                </a:ext>
              </a:extLst>
            </p:cNvPr>
            <p:cNvSpPr txBox="1"/>
            <p:nvPr/>
          </p:nvSpPr>
          <p:spPr>
            <a:xfrm>
              <a:off x="4587447" y="2332794"/>
              <a:ext cx="2379233" cy="869011"/>
            </a:xfrm>
            <a:prstGeom prst="rect">
              <a:avLst/>
            </a:prstGeom>
            <a:noFill/>
          </p:spPr>
          <p:txBody>
            <a:bodyPr wrap="square" lIns="0" tIns="36000" rIns="0" bIns="36000" rtlCol="0">
              <a:spAutoFit/>
            </a:bodyPr>
            <a:lstStyle/>
            <a:p>
              <a:pPr marL="0" marR="0" lvl="0" indent="0" algn="r" defTabSz="914400" rtl="0" eaLnBrk="1" fontAlgn="auto" latinLnBrk="0" hangingPunct="1">
                <a:lnSpc>
                  <a:spcPct val="120000"/>
                </a:lnSpc>
                <a:spcBef>
                  <a:spcPts val="600"/>
                </a:spcBef>
                <a:spcAft>
                  <a:spcPts val="0"/>
                </a:spcAft>
                <a:buClrTx/>
                <a:buSzTx/>
                <a:buFontTx/>
                <a:buNone/>
                <a:tabLst/>
                <a:defRPr/>
              </a:pPr>
              <a:r>
                <a:rPr kumimoji="0" lang="en-US" sz="1100" b="0" i="0" u="none" strike="noStrike" kern="1200" cap="none" spc="0" normalizeH="0" baseline="0" noProof="0" dirty="0">
                  <a:ln>
                    <a:noFill/>
                  </a:ln>
                  <a:solidFill>
                    <a:prstClr val="black">
                      <a:lumMod val="50000"/>
                      <a:lumOff val="50000"/>
                    </a:prstClr>
                  </a:solidFill>
                  <a:effectLst/>
                  <a:uLnTx/>
                  <a:uFillTx/>
                  <a:latin typeface="HarmonyOS Sans SC"/>
                  <a:cs typeface="+mn-cs"/>
                </a:rPr>
                <a:t>Apparently we had reached a great height in the atmosphere, for the sky was a dead black, and the stars had ceased to twinkle</a:t>
              </a:r>
            </a:p>
          </p:txBody>
        </p:sp>
      </p:grpSp>
      <p:grpSp>
        <p:nvGrpSpPr>
          <p:cNvPr id="66" name="组合 65">
            <a:extLst>
              <a:ext uri="{FF2B5EF4-FFF2-40B4-BE49-F238E27FC236}">
                <a16:creationId xmlns:a16="http://schemas.microsoft.com/office/drawing/2014/main" id="{443CE923-D058-4BE5-B436-F6188814B144}"/>
              </a:ext>
            </a:extLst>
          </p:cNvPr>
          <p:cNvGrpSpPr/>
          <p:nvPr/>
        </p:nvGrpSpPr>
        <p:grpSpPr>
          <a:xfrm>
            <a:off x="1034107" y="1692221"/>
            <a:ext cx="2379233" cy="1252410"/>
            <a:chOff x="4587447" y="1949395"/>
            <a:chExt cx="2379233" cy="1252410"/>
          </a:xfrm>
        </p:grpSpPr>
        <p:sp>
          <p:nvSpPr>
            <p:cNvPr id="67" name="TextBox 65">
              <a:extLst>
                <a:ext uri="{FF2B5EF4-FFF2-40B4-BE49-F238E27FC236}">
                  <a16:creationId xmlns:a16="http://schemas.microsoft.com/office/drawing/2014/main" id="{CD74F99B-1A33-4A85-A7CB-7C0ACE71D0AD}"/>
                </a:ext>
              </a:extLst>
            </p:cNvPr>
            <p:cNvSpPr txBox="1"/>
            <p:nvPr/>
          </p:nvSpPr>
          <p:spPr>
            <a:xfrm>
              <a:off x="5427752" y="1949395"/>
              <a:ext cx="1538928" cy="345598"/>
            </a:xfrm>
            <a:prstGeom prst="rect">
              <a:avLst/>
            </a:prstGeom>
            <a:noFill/>
          </p:spPr>
          <p:txBody>
            <a:bodyPr wrap="square" lIns="0" tIns="36000" rIns="0" bIns="36000" rtlCol="0">
              <a:spAutoFit/>
            </a:bodyPr>
            <a:lstStyle/>
            <a:p>
              <a:pPr marL="0" marR="0" lvl="0" indent="0" algn="r" defTabSz="914400" rtl="0" eaLnBrk="1" fontAlgn="auto" latinLnBrk="0" hangingPunct="1">
                <a:lnSpc>
                  <a:spcPct val="120000"/>
                </a:lnSpc>
                <a:spcBef>
                  <a:spcPts val="600"/>
                </a:spcBef>
                <a:spcAft>
                  <a:spcPts val="0"/>
                </a:spcAft>
                <a:buClrTx/>
                <a:buSzTx/>
                <a:buFontTx/>
                <a:buNone/>
                <a:tabLst/>
                <a:defRPr/>
              </a:pPr>
              <a:r>
                <a:rPr kumimoji="0" lang="en-US" sz="1600" b="0" i="0" u="none" strike="noStrike" kern="1200" cap="none" spc="0" normalizeH="0" baseline="0" noProof="0" dirty="0">
                  <a:ln>
                    <a:noFill/>
                  </a:ln>
                  <a:solidFill>
                    <a:schemeClr val="accent1"/>
                  </a:solidFill>
                  <a:effectLst/>
                  <a:uLnTx/>
                  <a:uFillTx/>
                  <a:latin typeface="HarmonyOS Sans SC Black"/>
                  <a:ea typeface="+mj-ea"/>
                  <a:cs typeface="+mn-cs"/>
                </a:rPr>
                <a:t>0</a:t>
              </a:r>
              <a:r>
                <a:rPr kumimoji="0" lang="en-US" altLang="zh-CN" sz="1600" b="0" i="0" u="none" strike="noStrike" kern="1200" cap="none" spc="0" normalizeH="0" baseline="0" noProof="0" dirty="0">
                  <a:ln>
                    <a:noFill/>
                  </a:ln>
                  <a:solidFill>
                    <a:schemeClr val="accent1"/>
                  </a:solidFill>
                  <a:effectLst/>
                  <a:uLnTx/>
                  <a:uFillTx/>
                  <a:latin typeface="HarmonyOS Sans SC Black"/>
                  <a:ea typeface="+mj-ea"/>
                  <a:cs typeface="+mn-cs"/>
                </a:rPr>
                <a:t>1</a:t>
              </a:r>
              <a:r>
                <a:rPr kumimoji="0" lang="en-US" sz="1600" b="0" i="0" u="none" strike="noStrike" kern="1200" cap="none" spc="0" normalizeH="0" baseline="0" noProof="0" dirty="0">
                  <a:ln>
                    <a:noFill/>
                  </a:ln>
                  <a:solidFill>
                    <a:schemeClr val="accent1"/>
                  </a:solidFill>
                  <a:effectLst/>
                  <a:uLnTx/>
                  <a:uFillTx/>
                  <a:latin typeface="HarmonyOS Sans SC Black"/>
                  <a:ea typeface="+mj-ea"/>
                  <a:cs typeface="+mn-cs"/>
                </a:rPr>
                <a:t>. Think</a:t>
              </a:r>
            </a:p>
          </p:txBody>
        </p:sp>
        <p:sp>
          <p:nvSpPr>
            <p:cNvPr id="68" name="TextBox 65">
              <a:extLst>
                <a:ext uri="{FF2B5EF4-FFF2-40B4-BE49-F238E27FC236}">
                  <a16:creationId xmlns:a16="http://schemas.microsoft.com/office/drawing/2014/main" id="{A3A47110-24EF-4D74-978B-63E047962B33}"/>
                </a:ext>
              </a:extLst>
            </p:cNvPr>
            <p:cNvSpPr txBox="1"/>
            <p:nvPr/>
          </p:nvSpPr>
          <p:spPr>
            <a:xfrm>
              <a:off x="4587447" y="2332794"/>
              <a:ext cx="2379233" cy="869011"/>
            </a:xfrm>
            <a:prstGeom prst="rect">
              <a:avLst/>
            </a:prstGeom>
            <a:noFill/>
          </p:spPr>
          <p:txBody>
            <a:bodyPr wrap="square" lIns="0" tIns="36000" rIns="0" bIns="36000" rtlCol="0">
              <a:spAutoFit/>
            </a:bodyPr>
            <a:lstStyle/>
            <a:p>
              <a:pPr marL="0" marR="0" lvl="0" indent="0" algn="r" defTabSz="914400" rtl="0" eaLnBrk="1" fontAlgn="auto" latinLnBrk="0" hangingPunct="1">
                <a:lnSpc>
                  <a:spcPct val="120000"/>
                </a:lnSpc>
                <a:spcBef>
                  <a:spcPts val="600"/>
                </a:spcBef>
                <a:spcAft>
                  <a:spcPts val="0"/>
                </a:spcAft>
                <a:buClrTx/>
                <a:buSzTx/>
                <a:buFontTx/>
                <a:buNone/>
                <a:tabLst/>
                <a:defRPr/>
              </a:pPr>
              <a:r>
                <a:rPr kumimoji="0" lang="en-US" sz="1100" b="0" i="0" u="none" strike="noStrike" kern="1200" cap="none" spc="0" normalizeH="0" baseline="0" noProof="0" dirty="0">
                  <a:ln>
                    <a:noFill/>
                  </a:ln>
                  <a:solidFill>
                    <a:prstClr val="black">
                      <a:lumMod val="50000"/>
                      <a:lumOff val="50000"/>
                    </a:prstClr>
                  </a:solidFill>
                  <a:effectLst/>
                  <a:uLnTx/>
                  <a:uFillTx/>
                  <a:latin typeface="HarmonyOS Sans SC"/>
                  <a:cs typeface="+mn-cs"/>
                </a:rPr>
                <a:t>Apparently we had reached a great height in the atmosphere, for the sky was a dead black, and the stars had ceased to twinkle</a:t>
              </a:r>
            </a:p>
          </p:txBody>
        </p:sp>
      </p:grpSp>
      <p:grpSp>
        <p:nvGrpSpPr>
          <p:cNvPr id="71" name="组合 70">
            <a:extLst>
              <a:ext uri="{FF2B5EF4-FFF2-40B4-BE49-F238E27FC236}">
                <a16:creationId xmlns:a16="http://schemas.microsoft.com/office/drawing/2014/main" id="{5389E03E-BDA0-4B9B-BBA0-C1D4A3C35F14}"/>
              </a:ext>
            </a:extLst>
          </p:cNvPr>
          <p:cNvGrpSpPr/>
          <p:nvPr/>
        </p:nvGrpSpPr>
        <p:grpSpPr>
          <a:xfrm flipH="1">
            <a:off x="8708812" y="1692221"/>
            <a:ext cx="2379233" cy="3959234"/>
            <a:chOff x="475307" y="1669361"/>
            <a:chExt cx="2379233" cy="3959234"/>
          </a:xfrm>
        </p:grpSpPr>
        <p:grpSp>
          <p:nvGrpSpPr>
            <p:cNvPr id="72" name="组合 71">
              <a:extLst>
                <a:ext uri="{FF2B5EF4-FFF2-40B4-BE49-F238E27FC236}">
                  <a16:creationId xmlns:a16="http://schemas.microsoft.com/office/drawing/2014/main" id="{4150244B-D713-44E6-B353-6939D749922C}"/>
                </a:ext>
              </a:extLst>
            </p:cNvPr>
            <p:cNvGrpSpPr/>
            <p:nvPr/>
          </p:nvGrpSpPr>
          <p:grpSpPr>
            <a:xfrm>
              <a:off x="475307" y="4376185"/>
              <a:ext cx="2379233" cy="1252410"/>
              <a:chOff x="4587447" y="1949395"/>
              <a:chExt cx="2379233" cy="1252410"/>
            </a:xfrm>
          </p:grpSpPr>
          <p:sp>
            <p:nvSpPr>
              <p:cNvPr id="76" name="TextBox 65">
                <a:extLst>
                  <a:ext uri="{FF2B5EF4-FFF2-40B4-BE49-F238E27FC236}">
                    <a16:creationId xmlns:a16="http://schemas.microsoft.com/office/drawing/2014/main" id="{698776C7-AB05-4398-814E-83FCD6843AED}"/>
                  </a:ext>
                </a:extLst>
              </p:cNvPr>
              <p:cNvSpPr txBox="1"/>
              <p:nvPr/>
            </p:nvSpPr>
            <p:spPr>
              <a:xfrm>
                <a:off x="5427752" y="1949395"/>
                <a:ext cx="1538928" cy="345598"/>
              </a:xfrm>
              <a:prstGeom prst="rect">
                <a:avLst/>
              </a:prstGeom>
              <a:noFill/>
            </p:spPr>
            <p:txBody>
              <a:bodyPr wrap="square" lIns="0" tIns="36000" rIns="0" bIns="36000" rtlCol="0">
                <a:spAutoFit/>
              </a:bodyPr>
              <a:lstStyle/>
              <a:p>
                <a:pPr marL="0" marR="0" lvl="0" indent="0" algn="l" defTabSz="914400" rtl="0" eaLnBrk="1" fontAlgn="auto" latinLnBrk="0" hangingPunct="1">
                  <a:lnSpc>
                    <a:spcPct val="120000"/>
                  </a:lnSpc>
                  <a:spcBef>
                    <a:spcPts val="600"/>
                  </a:spcBef>
                  <a:spcAft>
                    <a:spcPts val="0"/>
                  </a:spcAft>
                  <a:buClrTx/>
                  <a:buSzTx/>
                  <a:buFontTx/>
                  <a:buNone/>
                  <a:tabLst/>
                  <a:defRPr/>
                </a:pPr>
                <a:r>
                  <a:rPr kumimoji="0" lang="en-US" sz="1600" b="0" i="0" u="none" strike="noStrike" kern="1200" cap="none" spc="0" normalizeH="0" baseline="0" noProof="0" dirty="0">
                    <a:ln>
                      <a:noFill/>
                    </a:ln>
                    <a:solidFill>
                      <a:schemeClr val="accent1"/>
                    </a:solidFill>
                    <a:effectLst/>
                    <a:uLnTx/>
                    <a:uFillTx/>
                    <a:latin typeface="HarmonyOS Sans SC Black"/>
                    <a:ea typeface="+mj-ea"/>
                    <a:cs typeface="+mn-cs"/>
                  </a:rPr>
                  <a:t>0</a:t>
                </a:r>
                <a:r>
                  <a:rPr kumimoji="0" lang="en-US" altLang="zh-CN" sz="1600" b="0" i="0" u="none" strike="noStrike" kern="1200" cap="none" spc="0" normalizeH="0" baseline="0" noProof="0" dirty="0">
                    <a:ln>
                      <a:noFill/>
                    </a:ln>
                    <a:solidFill>
                      <a:schemeClr val="accent1"/>
                    </a:solidFill>
                    <a:effectLst/>
                    <a:uLnTx/>
                    <a:uFillTx/>
                    <a:latin typeface="HarmonyOS Sans SC Black"/>
                    <a:ea typeface="+mj-ea"/>
                    <a:cs typeface="+mn-cs"/>
                  </a:rPr>
                  <a:t>4</a:t>
                </a:r>
                <a:r>
                  <a:rPr kumimoji="0" lang="en-US" sz="1600" b="0" i="0" u="none" strike="noStrike" kern="1200" cap="none" spc="0" normalizeH="0" baseline="0" noProof="0" dirty="0">
                    <a:ln>
                      <a:noFill/>
                    </a:ln>
                    <a:solidFill>
                      <a:schemeClr val="accent1"/>
                    </a:solidFill>
                    <a:effectLst/>
                    <a:uLnTx/>
                    <a:uFillTx/>
                    <a:latin typeface="HarmonyOS Sans SC Black"/>
                    <a:ea typeface="+mj-ea"/>
                    <a:cs typeface="+mn-cs"/>
                  </a:rPr>
                  <a:t>. Think</a:t>
                </a:r>
              </a:p>
            </p:txBody>
          </p:sp>
          <p:sp>
            <p:nvSpPr>
              <p:cNvPr id="77" name="TextBox 65">
                <a:extLst>
                  <a:ext uri="{FF2B5EF4-FFF2-40B4-BE49-F238E27FC236}">
                    <a16:creationId xmlns:a16="http://schemas.microsoft.com/office/drawing/2014/main" id="{CA769BAC-E0DB-4401-B03E-D618E207C0AF}"/>
                  </a:ext>
                </a:extLst>
              </p:cNvPr>
              <p:cNvSpPr txBox="1"/>
              <p:nvPr/>
            </p:nvSpPr>
            <p:spPr>
              <a:xfrm>
                <a:off x="4587447" y="2332794"/>
                <a:ext cx="2379233" cy="869011"/>
              </a:xfrm>
              <a:prstGeom prst="rect">
                <a:avLst/>
              </a:prstGeom>
              <a:noFill/>
            </p:spPr>
            <p:txBody>
              <a:bodyPr wrap="square" lIns="0" tIns="36000" rIns="0" bIns="36000" rtlCol="0">
                <a:spAutoFit/>
              </a:bodyPr>
              <a:lstStyle/>
              <a:p>
                <a:pPr marL="0" marR="0" lvl="0" indent="0" algn="l" defTabSz="914400" rtl="0" eaLnBrk="1" fontAlgn="auto" latinLnBrk="0" hangingPunct="1">
                  <a:lnSpc>
                    <a:spcPct val="120000"/>
                  </a:lnSpc>
                  <a:spcBef>
                    <a:spcPts val="600"/>
                  </a:spcBef>
                  <a:spcAft>
                    <a:spcPts val="0"/>
                  </a:spcAft>
                  <a:buClrTx/>
                  <a:buSzTx/>
                  <a:buFontTx/>
                  <a:buNone/>
                  <a:tabLst/>
                  <a:defRPr/>
                </a:pPr>
                <a:r>
                  <a:rPr kumimoji="0" lang="en-US" sz="1100" b="0" i="0" u="none" strike="noStrike" kern="1200" cap="none" spc="0" normalizeH="0" baseline="0" noProof="0" dirty="0">
                    <a:ln>
                      <a:noFill/>
                    </a:ln>
                    <a:solidFill>
                      <a:prstClr val="black">
                        <a:lumMod val="50000"/>
                        <a:lumOff val="50000"/>
                      </a:prstClr>
                    </a:solidFill>
                    <a:effectLst/>
                    <a:uLnTx/>
                    <a:uFillTx/>
                    <a:latin typeface="HarmonyOS Sans SC"/>
                    <a:cs typeface="+mn-cs"/>
                  </a:rPr>
                  <a:t>Apparently we had reached a great height in the atmosphere, for the sky was a dead black, and the stars had ceased to twinkle</a:t>
                </a:r>
              </a:p>
            </p:txBody>
          </p:sp>
        </p:grpSp>
        <p:grpSp>
          <p:nvGrpSpPr>
            <p:cNvPr id="73" name="组合 72">
              <a:extLst>
                <a:ext uri="{FF2B5EF4-FFF2-40B4-BE49-F238E27FC236}">
                  <a16:creationId xmlns:a16="http://schemas.microsoft.com/office/drawing/2014/main" id="{340557D9-A82A-47BE-B036-1A5035E58F42}"/>
                </a:ext>
              </a:extLst>
            </p:cNvPr>
            <p:cNvGrpSpPr/>
            <p:nvPr/>
          </p:nvGrpSpPr>
          <p:grpSpPr>
            <a:xfrm>
              <a:off x="475307" y="1669361"/>
              <a:ext cx="2379233" cy="1252410"/>
              <a:chOff x="4587447" y="1949395"/>
              <a:chExt cx="2379233" cy="1252410"/>
            </a:xfrm>
          </p:grpSpPr>
          <p:sp>
            <p:nvSpPr>
              <p:cNvPr id="74" name="TextBox 65">
                <a:extLst>
                  <a:ext uri="{FF2B5EF4-FFF2-40B4-BE49-F238E27FC236}">
                    <a16:creationId xmlns:a16="http://schemas.microsoft.com/office/drawing/2014/main" id="{AC7294FB-CD42-4EF2-AE21-CC267F291188}"/>
                  </a:ext>
                </a:extLst>
              </p:cNvPr>
              <p:cNvSpPr txBox="1"/>
              <p:nvPr/>
            </p:nvSpPr>
            <p:spPr>
              <a:xfrm>
                <a:off x="5427752" y="1949395"/>
                <a:ext cx="1538928" cy="345598"/>
              </a:xfrm>
              <a:prstGeom prst="rect">
                <a:avLst/>
              </a:prstGeom>
              <a:noFill/>
            </p:spPr>
            <p:txBody>
              <a:bodyPr wrap="square" lIns="0" tIns="36000" rIns="0" bIns="36000" rtlCol="0">
                <a:spAutoFit/>
              </a:bodyPr>
              <a:lstStyle/>
              <a:p>
                <a:pPr marL="0" marR="0" lvl="0" indent="0" algn="l" defTabSz="914400" rtl="0" eaLnBrk="1" fontAlgn="auto" latinLnBrk="0" hangingPunct="1">
                  <a:lnSpc>
                    <a:spcPct val="120000"/>
                  </a:lnSpc>
                  <a:spcBef>
                    <a:spcPts val="600"/>
                  </a:spcBef>
                  <a:spcAft>
                    <a:spcPts val="0"/>
                  </a:spcAft>
                  <a:buClrTx/>
                  <a:buSzTx/>
                  <a:buFontTx/>
                  <a:buNone/>
                  <a:tabLst/>
                  <a:defRPr/>
                </a:pPr>
                <a:r>
                  <a:rPr kumimoji="0" lang="en-US" sz="1600" b="0" i="0" u="none" strike="noStrike" kern="1200" cap="none" spc="0" normalizeH="0" baseline="0" noProof="0" dirty="0">
                    <a:ln>
                      <a:noFill/>
                    </a:ln>
                    <a:solidFill>
                      <a:schemeClr val="accent1"/>
                    </a:solidFill>
                    <a:effectLst/>
                    <a:uLnTx/>
                    <a:uFillTx/>
                    <a:latin typeface="HarmonyOS Sans SC Black"/>
                    <a:ea typeface="+mj-ea"/>
                    <a:cs typeface="+mn-cs"/>
                  </a:rPr>
                  <a:t>0</a:t>
                </a:r>
                <a:r>
                  <a:rPr kumimoji="0" lang="en-US" altLang="zh-CN" sz="1600" b="0" i="0" u="none" strike="noStrike" kern="1200" cap="none" spc="0" normalizeH="0" baseline="0" noProof="0" dirty="0">
                    <a:ln>
                      <a:noFill/>
                    </a:ln>
                    <a:solidFill>
                      <a:schemeClr val="accent1"/>
                    </a:solidFill>
                    <a:effectLst/>
                    <a:uLnTx/>
                    <a:uFillTx/>
                    <a:latin typeface="HarmonyOS Sans SC Black"/>
                    <a:ea typeface="+mj-ea"/>
                    <a:cs typeface="+mn-cs"/>
                  </a:rPr>
                  <a:t>2</a:t>
                </a:r>
                <a:r>
                  <a:rPr kumimoji="0" lang="en-US" sz="1600" b="0" i="0" u="none" strike="noStrike" kern="1200" cap="none" spc="0" normalizeH="0" baseline="0" noProof="0" dirty="0">
                    <a:ln>
                      <a:noFill/>
                    </a:ln>
                    <a:solidFill>
                      <a:schemeClr val="accent1"/>
                    </a:solidFill>
                    <a:effectLst/>
                    <a:uLnTx/>
                    <a:uFillTx/>
                    <a:latin typeface="HarmonyOS Sans SC Black"/>
                    <a:ea typeface="+mj-ea"/>
                    <a:cs typeface="+mn-cs"/>
                  </a:rPr>
                  <a:t>. Think</a:t>
                </a:r>
              </a:p>
            </p:txBody>
          </p:sp>
          <p:sp>
            <p:nvSpPr>
              <p:cNvPr id="75" name="TextBox 65">
                <a:extLst>
                  <a:ext uri="{FF2B5EF4-FFF2-40B4-BE49-F238E27FC236}">
                    <a16:creationId xmlns:a16="http://schemas.microsoft.com/office/drawing/2014/main" id="{DCD158C8-19D5-4184-9F27-1B320FF02A9B}"/>
                  </a:ext>
                </a:extLst>
              </p:cNvPr>
              <p:cNvSpPr txBox="1"/>
              <p:nvPr/>
            </p:nvSpPr>
            <p:spPr>
              <a:xfrm>
                <a:off x="4587447" y="2332794"/>
                <a:ext cx="2379233" cy="869011"/>
              </a:xfrm>
              <a:prstGeom prst="rect">
                <a:avLst/>
              </a:prstGeom>
              <a:noFill/>
            </p:spPr>
            <p:txBody>
              <a:bodyPr wrap="square" lIns="0" tIns="36000" rIns="0" bIns="36000" rtlCol="0">
                <a:spAutoFit/>
              </a:bodyPr>
              <a:lstStyle/>
              <a:p>
                <a:pPr marL="0" marR="0" lvl="0" indent="0" algn="l" defTabSz="914400" rtl="0" eaLnBrk="1" fontAlgn="auto" latinLnBrk="0" hangingPunct="1">
                  <a:lnSpc>
                    <a:spcPct val="120000"/>
                  </a:lnSpc>
                  <a:spcBef>
                    <a:spcPts val="600"/>
                  </a:spcBef>
                  <a:spcAft>
                    <a:spcPts val="0"/>
                  </a:spcAft>
                  <a:buClrTx/>
                  <a:buSzTx/>
                  <a:buFontTx/>
                  <a:buNone/>
                  <a:tabLst/>
                  <a:defRPr/>
                </a:pPr>
                <a:r>
                  <a:rPr kumimoji="0" lang="en-US" sz="1100" b="0" i="0" u="none" strike="noStrike" kern="1200" cap="none" spc="0" normalizeH="0" baseline="0" noProof="0" dirty="0">
                    <a:ln>
                      <a:noFill/>
                    </a:ln>
                    <a:solidFill>
                      <a:prstClr val="black">
                        <a:lumMod val="50000"/>
                        <a:lumOff val="50000"/>
                      </a:prstClr>
                    </a:solidFill>
                    <a:effectLst/>
                    <a:uLnTx/>
                    <a:uFillTx/>
                    <a:latin typeface="HarmonyOS Sans SC"/>
                    <a:cs typeface="+mn-cs"/>
                  </a:rPr>
                  <a:t>Apparently we had reached a great height in the atmosphere, for the sky was a dead black, and the stars had ceased to twinkle</a:t>
                </a:r>
              </a:p>
            </p:txBody>
          </p:sp>
        </p:grpSp>
      </p:grpSp>
    </p:spTree>
    <p:extLst>
      <p:ext uri="{BB962C8B-B14F-4D97-AF65-F5344CB8AC3E}">
        <p14:creationId xmlns:p14="http://schemas.microsoft.com/office/powerpoint/2010/main" val="959859840"/>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4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reeform 8">
            <a:extLst>
              <a:ext uri="{FF2B5EF4-FFF2-40B4-BE49-F238E27FC236}">
                <a16:creationId xmlns:a16="http://schemas.microsoft.com/office/drawing/2014/main" id="{49AD7C69-A6F1-404F-A473-1E459FD52013}"/>
              </a:ext>
            </a:extLst>
          </p:cNvPr>
          <p:cNvSpPr>
            <a:spLocks/>
          </p:cNvSpPr>
          <p:nvPr/>
        </p:nvSpPr>
        <p:spPr bwMode="auto">
          <a:xfrm>
            <a:off x="6135688" y="3217863"/>
            <a:ext cx="825500" cy="838200"/>
          </a:xfrm>
          <a:custGeom>
            <a:avLst/>
            <a:gdLst>
              <a:gd name="T0" fmla="*/ 225 w 248"/>
              <a:gd name="T1" fmla="*/ 252 h 252"/>
              <a:gd name="T2" fmla="*/ 248 w 248"/>
              <a:gd name="T3" fmla="*/ 252 h 252"/>
              <a:gd name="T4" fmla="*/ 0 w 248"/>
              <a:gd name="T5" fmla="*/ 0 h 252"/>
              <a:gd name="T6" fmla="*/ 0 w 248"/>
              <a:gd name="T7" fmla="*/ 23 h 252"/>
              <a:gd name="T8" fmla="*/ 225 w 248"/>
              <a:gd name="T9" fmla="*/ 252 h 252"/>
            </a:gdLst>
            <a:ahLst/>
            <a:cxnLst>
              <a:cxn ang="0">
                <a:pos x="T0" y="T1"/>
              </a:cxn>
              <a:cxn ang="0">
                <a:pos x="T2" y="T3"/>
              </a:cxn>
              <a:cxn ang="0">
                <a:pos x="T4" y="T5"/>
              </a:cxn>
              <a:cxn ang="0">
                <a:pos x="T6" y="T7"/>
              </a:cxn>
              <a:cxn ang="0">
                <a:pos x="T8" y="T9"/>
              </a:cxn>
            </a:cxnLst>
            <a:rect l="0" t="0" r="r" b="b"/>
            <a:pathLst>
              <a:path w="248" h="252">
                <a:moveTo>
                  <a:pt x="225" y="252"/>
                </a:moveTo>
                <a:cubicBezTo>
                  <a:pt x="248" y="252"/>
                  <a:pt x="248" y="252"/>
                  <a:pt x="248" y="252"/>
                </a:cubicBezTo>
                <a:cubicBezTo>
                  <a:pt x="244" y="116"/>
                  <a:pt x="135" y="6"/>
                  <a:pt x="0" y="0"/>
                </a:cubicBezTo>
                <a:cubicBezTo>
                  <a:pt x="0" y="23"/>
                  <a:pt x="0" y="23"/>
                  <a:pt x="0" y="23"/>
                </a:cubicBezTo>
                <a:cubicBezTo>
                  <a:pt x="123" y="29"/>
                  <a:pt x="221" y="129"/>
                  <a:pt x="225" y="252"/>
                </a:cubicBezTo>
                <a:close/>
              </a:path>
            </a:pathLst>
          </a:custGeom>
          <a:solidFill>
            <a:schemeClr val="accent1">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HarmonyOS Sans SC"/>
              <a:cs typeface="+mn-cs"/>
            </a:endParaRPr>
          </a:p>
        </p:txBody>
      </p:sp>
      <p:sp>
        <p:nvSpPr>
          <p:cNvPr id="5" name="Freeform 9">
            <a:extLst>
              <a:ext uri="{FF2B5EF4-FFF2-40B4-BE49-F238E27FC236}">
                <a16:creationId xmlns:a16="http://schemas.microsoft.com/office/drawing/2014/main" id="{FA52E64A-7A4D-4C4F-B835-9CF8F0E2E64B}"/>
              </a:ext>
            </a:extLst>
          </p:cNvPr>
          <p:cNvSpPr>
            <a:spLocks/>
          </p:cNvSpPr>
          <p:nvPr/>
        </p:nvSpPr>
        <p:spPr bwMode="auto">
          <a:xfrm>
            <a:off x="6159500" y="2232025"/>
            <a:ext cx="1800225" cy="2122488"/>
          </a:xfrm>
          <a:custGeom>
            <a:avLst/>
            <a:gdLst>
              <a:gd name="T0" fmla="*/ 263 w 541"/>
              <a:gd name="T1" fmla="*/ 553 h 638"/>
              <a:gd name="T2" fmla="*/ 393 w 541"/>
              <a:gd name="T3" fmla="*/ 638 h 638"/>
              <a:gd name="T4" fmla="*/ 396 w 541"/>
              <a:gd name="T5" fmla="*/ 638 h 638"/>
              <a:gd name="T6" fmla="*/ 540 w 541"/>
              <a:gd name="T7" fmla="*/ 550 h 638"/>
              <a:gd name="T8" fmla="*/ 541 w 541"/>
              <a:gd name="T9" fmla="*/ 551 h 638"/>
              <a:gd name="T10" fmla="*/ 0 w 541"/>
              <a:gd name="T11" fmla="*/ 0 h 638"/>
              <a:gd name="T12" fmla="*/ 79 w 541"/>
              <a:gd name="T13" fmla="*/ 129 h 638"/>
              <a:gd name="T14" fmla="*/ 79 w 541"/>
              <a:gd name="T15" fmla="*/ 157 h 638"/>
              <a:gd name="T16" fmla="*/ 3 w 541"/>
              <a:gd name="T17" fmla="*/ 275 h 638"/>
              <a:gd name="T18" fmla="*/ 263 w 541"/>
              <a:gd name="T19" fmla="*/ 553 h 6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1" h="638">
                <a:moveTo>
                  <a:pt x="263" y="553"/>
                </a:moveTo>
                <a:cubicBezTo>
                  <a:pt x="393" y="638"/>
                  <a:pt x="393" y="638"/>
                  <a:pt x="393" y="638"/>
                </a:cubicBezTo>
                <a:cubicBezTo>
                  <a:pt x="394" y="638"/>
                  <a:pt x="395" y="638"/>
                  <a:pt x="396" y="638"/>
                </a:cubicBezTo>
                <a:cubicBezTo>
                  <a:pt x="540" y="550"/>
                  <a:pt x="540" y="550"/>
                  <a:pt x="540" y="550"/>
                </a:cubicBezTo>
                <a:cubicBezTo>
                  <a:pt x="541" y="551"/>
                  <a:pt x="541" y="551"/>
                  <a:pt x="541" y="551"/>
                </a:cubicBezTo>
                <a:cubicBezTo>
                  <a:pt x="537" y="252"/>
                  <a:pt x="298" y="10"/>
                  <a:pt x="0" y="0"/>
                </a:cubicBezTo>
                <a:cubicBezTo>
                  <a:pt x="79" y="129"/>
                  <a:pt x="79" y="129"/>
                  <a:pt x="79" y="129"/>
                </a:cubicBezTo>
                <a:cubicBezTo>
                  <a:pt x="85" y="138"/>
                  <a:pt x="85" y="149"/>
                  <a:pt x="79" y="157"/>
                </a:cubicBezTo>
                <a:cubicBezTo>
                  <a:pt x="3" y="275"/>
                  <a:pt x="3" y="275"/>
                  <a:pt x="3" y="275"/>
                </a:cubicBezTo>
                <a:cubicBezTo>
                  <a:pt x="147" y="286"/>
                  <a:pt x="262" y="406"/>
                  <a:pt x="263" y="553"/>
                </a:cubicBezTo>
                <a:close/>
              </a:path>
            </a:pathLst>
          </a:custGeom>
          <a:gradFill flip="none" rotWithShape="1">
            <a:gsLst>
              <a:gs pos="64000">
                <a:schemeClr val="accent1"/>
              </a:gs>
              <a:gs pos="31000">
                <a:schemeClr val="accent1">
                  <a:lumMod val="60000"/>
                  <a:lumOff val="40000"/>
                </a:schemeClr>
              </a:gs>
              <a:gs pos="0">
                <a:schemeClr val="accent1">
                  <a:lumMod val="40000"/>
                  <a:lumOff val="60000"/>
                </a:schemeClr>
              </a:gs>
            </a:gsLst>
            <a:lin ang="135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6" name="Freeform 14">
            <a:extLst>
              <a:ext uri="{FF2B5EF4-FFF2-40B4-BE49-F238E27FC236}">
                <a16:creationId xmlns:a16="http://schemas.microsoft.com/office/drawing/2014/main" id="{99D43CE5-F39B-48EC-A181-E5D29D5900FF}"/>
              </a:ext>
            </a:extLst>
          </p:cNvPr>
          <p:cNvSpPr>
            <a:spLocks/>
          </p:cNvSpPr>
          <p:nvPr/>
        </p:nvSpPr>
        <p:spPr bwMode="auto">
          <a:xfrm>
            <a:off x="7313613" y="2478088"/>
            <a:ext cx="525463" cy="525463"/>
          </a:xfrm>
          <a:custGeom>
            <a:avLst/>
            <a:gdLst>
              <a:gd name="T0" fmla="*/ 117 w 158"/>
              <a:gd name="T1" fmla="*/ 158 h 158"/>
              <a:gd name="T2" fmla="*/ 125 w 158"/>
              <a:gd name="T3" fmla="*/ 150 h 158"/>
              <a:gd name="T4" fmla="*/ 154 w 158"/>
              <a:gd name="T5" fmla="*/ 23 h 158"/>
              <a:gd name="T6" fmla="*/ 136 w 158"/>
              <a:gd name="T7" fmla="*/ 4 h 158"/>
              <a:gd name="T8" fmla="*/ 8 w 158"/>
              <a:gd name="T9" fmla="*/ 24 h 158"/>
              <a:gd name="T10" fmla="*/ 0 w 158"/>
              <a:gd name="T11" fmla="*/ 30 h 158"/>
              <a:gd name="T12" fmla="*/ 117 w 158"/>
              <a:gd name="T13" fmla="*/ 158 h 158"/>
            </a:gdLst>
            <a:ahLst/>
            <a:cxnLst>
              <a:cxn ang="0">
                <a:pos x="T0" y="T1"/>
              </a:cxn>
              <a:cxn ang="0">
                <a:pos x="T2" y="T3"/>
              </a:cxn>
              <a:cxn ang="0">
                <a:pos x="T4" y="T5"/>
              </a:cxn>
              <a:cxn ang="0">
                <a:pos x="T6" y="T7"/>
              </a:cxn>
              <a:cxn ang="0">
                <a:pos x="T8" y="T9"/>
              </a:cxn>
              <a:cxn ang="0">
                <a:pos x="T10" y="T11"/>
              </a:cxn>
              <a:cxn ang="0">
                <a:pos x="T12" y="T13"/>
              </a:cxn>
            </a:cxnLst>
            <a:rect l="0" t="0" r="r" b="b"/>
            <a:pathLst>
              <a:path w="158" h="158">
                <a:moveTo>
                  <a:pt x="117" y="158"/>
                </a:moveTo>
                <a:cubicBezTo>
                  <a:pt x="121" y="156"/>
                  <a:pt x="123" y="154"/>
                  <a:pt x="125" y="150"/>
                </a:cubicBezTo>
                <a:cubicBezTo>
                  <a:pt x="154" y="23"/>
                  <a:pt x="154" y="23"/>
                  <a:pt x="154" y="23"/>
                </a:cubicBezTo>
                <a:cubicBezTo>
                  <a:pt x="158" y="11"/>
                  <a:pt x="147" y="0"/>
                  <a:pt x="136" y="4"/>
                </a:cubicBezTo>
                <a:cubicBezTo>
                  <a:pt x="8" y="24"/>
                  <a:pt x="8" y="24"/>
                  <a:pt x="8" y="24"/>
                </a:cubicBezTo>
                <a:cubicBezTo>
                  <a:pt x="5" y="26"/>
                  <a:pt x="2" y="28"/>
                  <a:pt x="0" y="30"/>
                </a:cubicBezTo>
                <a:cubicBezTo>
                  <a:pt x="45" y="67"/>
                  <a:pt x="85" y="110"/>
                  <a:pt x="117" y="158"/>
                </a:cubicBezTo>
                <a:close/>
              </a:path>
            </a:pathLst>
          </a:custGeom>
          <a:gradFill flip="none" rotWithShape="1">
            <a:gsLst>
              <a:gs pos="64000">
                <a:schemeClr val="accent1"/>
              </a:gs>
              <a:gs pos="31000">
                <a:schemeClr val="accent1">
                  <a:lumMod val="60000"/>
                  <a:lumOff val="40000"/>
                </a:schemeClr>
              </a:gs>
              <a:gs pos="0">
                <a:schemeClr val="accent1">
                  <a:lumMod val="40000"/>
                  <a:lumOff val="60000"/>
                </a:schemeClr>
              </a:gs>
            </a:gsLst>
            <a:lin ang="81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8" name="Freeform 6">
            <a:extLst>
              <a:ext uri="{FF2B5EF4-FFF2-40B4-BE49-F238E27FC236}">
                <a16:creationId xmlns:a16="http://schemas.microsoft.com/office/drawing/2014/main" id="{4B34B6F8-1673-488C-9ADC-F57DE03A581F}"/>
              </a:ext>
            </a:extLst>
          </p:cNvPr>
          <p:cNvSpPr>
            <a:spLocks/>
          </p:cNvSpPr>
          <p:nvPr/>
        </p:nvSpPr>
        <p:spPr bwMode="auto">
          <a:xfrm>
            <a:off x="5829300" y="4152900"/>
            <a:ext cx="2130425" cy="1806575"/>
          </a:xfrm>
          <a:custGeom>
            <a:avLst/>
            <a:gdLst>
              <a:gd name="T0" fmla="*/ 493 w 640"/>
              <a:gd name="T1" fmla="*/ 85 h 543"/>
              <a:gd name="T2" fmla="*/ 479 w 640"/>
              <a:gd name="T3" fmla="*/ 81 h 543"/>
              <a:gd name="T4" fmla="*/ 361 w 640"/>
              <a:gd name="T5" fmla="*/ 4 h 543"/>
              <a:gd name="T6" fmla="*/ 90 w 640"/>
              <a:gd name="T7" fmla="*/ 260 h 543"/>
              <a:gd name="T8" fmla="*/ 1 w 640"/>
              <a:gd name="T9" fmla="*/ 398 h 543"/>
              <a:gd name="T10" fmla="*/ 1 w 640"/>
              <a:gd name="T11" fmla="*/ 401 h 543"/>
              <a:gd name="T12" fmla="*/ 88 w 640"/>
              <a:gd name="T13" fmla="*/ 543 h 543"/>
              <a:gd name="T14" fmla="*/ 640 w 640"/>
              <a:gd name="T15" fmla="*/ 0 h 543"/>
              <a:gd name="T16" fmla="*/ 507 w 640"/>
              <a:gd name="T17" fmla="*/ 81 h 543"/>
              <a:gd name="T18" fmla="*/ 493 w 640"/>
              <a:gd name="T19" fmla="*/ 85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0" h="543">
                <a:moveTo>
                  <a:pt x="493" y="85"/>
                </a:moveTo>
                <a:cubicBezTo>
                  <a:pt x="488" y="85"/>
                  <a:pt x="483" y="84"/>
                  <a:pt x="479" y="81"/>
                </a:cubicBezTo>
                <a:cubicBezTo>
                  <a:pt x="361" y="4"/>
                  <a:pt x="361" y="4"/>
                  <a:pt x="361" y="4"/>
                </a:cubicBezTo>
                <a:cubicBezTo>
                  <a:pt x="348" y="145"/>
                  <a:pt x="233" y="256"/>
                  <a:pt x="90" y="260"/>
                </a:cubicBezTo>
                <a:cubicBezTo>
                  <a:pt x="1" y="398"/>
                  <a:pt x="1" y="398"/>
                  <a:pt x="1" y="398"/>
                </a:cubicBezTo>
                <a:cubicBezTo>
                  <a:pt x="0" y="399"/>
                  <a:pt x="0" y="400"/>
                  <a:pt x="1" y="401"/>
                </a:cubicBezTo>
                <a:cubicBezTo>
                  <a:pt x="88" y="543"/>
                  <a:pt x="88" y="543"/>
                  <a:pt x="88" y="543"/>
                </a:cubicBezTo>
                <a:cubicBezTo>
                  <a:pt x="388" y="539"/>
                  <a:pt x="631" y="299"/>
                  <a:pt x="640" y="0"/>
                </a:cubicBezTo>
                <a:cubicBezTo>
                  <a:pt x="507" y="81"/>
                  <a:pt x="507" y="81"/>
                  <a:pt x="507" y="81"/>
                </a:cubicBezTo>
                <a:cubicBezTo>
                  <a:pt x="503" y="84"/>
                  <a:pt x="498" y="85"/>
                  <a:pt x="493" y="85"/>
                </a:cubicBezTo>
                <a:close/>
              </a:path>
            </a:pathLst>
          </a:custGeom>
          <a:gradFill flip="none" rotWithShape="1">
            <a:gsLst>
              <a:gs pos="64000">
                <a:schemeClr val="accent1"/>
              </a:gs>
              <a:gs pos="31000">
                <a:schemeClr val="accent1">
                  <a:lumMod val="60000"/>
                  <a:lumOff val="40000"/>
                </a:schemeClr>
              </a:gs>
              <a:gs pos="0">
                <a:schemeClr val="accent1">
                  <a:lumMod val="40000"/>
                  <a:lumOff val="60000"/>
                </a:schemeClr>
              </a:gs>
            </a:gsLst>
            <a:lin ang="189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9" name="Freeform 7">
            <a:extLst>
              <a:ext uri="{FF2B5EF4-FFF2-40B4-BE49-F238E27FC236}">
                <a16:creationId xmlns:a16="http://schemas.microsoft.com/office/drawing/2014/main" id="{A6B84706-381E-4C63-A622-1AB1C5974113}"/>
              </a:ext>
            </a:extLst>
          </p:cNvPr>
          <p:cNvSpPr>
            <a:spLocks/>
          </p:cNvSpPr>
          <p:nvPr/>
        </p:nvSpPr>
        <p:spPr bwMode="auto">
          <a:xfrm>
            <a:off x="6132513" y="4135438"/>
            <a:ext cx="825500" cy="812800"/>
          </a:xfrm>
          <a:custGeom>
            <a:avLst/>
            <a:gdLst>
              <a:gd name="T0" fmla="*/ 225 w 248"/>
              <a:gd name="T1" fmla="*/ 0 h 244"/>
              <a:gd name="T2" fmla="*/ 0 w 248"/>
              <a:gd name="T3" fmla="*/ 220 h 244"/>
              <a:gd name="T4" fmla="*/ 0 w 248"/>
              <a:gd name="T5" fmla="*/ 244 h 244"/>
              <a:gd name="T6" fmla="*/ 248 w 248"/>
              <a:gd name="T7" fmla="*/ 0 h 244"/>
              <a:gd name="T8" fmla="*/ 225 w 248"/>
              <a:gd name="T9" fmla="*/ 0 h 244"/>
            </a:gdLst>
            <a:ahLst/>
            <a:cxnLst>
              <a:cxn ang="0">
                <a:pos x="T0" y="T1"/>
              </a:cxn>
              <a:cxn ang="0">
                <a:pos x="T2" y="T3"/>
              </a:cxn>
              <a:cxn ang="0">
                <a:pos x="T4" y="T5"/>
              </a:cxn>
              <a:cxn ang="0">
                <a:pos x="T6" y="T7"/>
              </a:cxn>
              <a:cxn ang="0">
                <a:pos x="T8" y="T9"/>
              </a:cxn>
            </a:cxnLst>
            <a:rect l="0" t="0" r="r" b="b"/>
            <a:pathLst>
              <a:path w="248" h="244">
                <a:moveTo>
                  <a:pt x="225" y="0"/>
                </a:moveTo>
                <a:cubicBezTo>
                  <a:pt x="217" y="120"/>
                  <a:pt x="120" y="215"/>
                  <a:pt x="0" y="220"/>
                </a:cubicBezTo>
                <a:cubicBezTo>
                  <a:pt x="0" y="244"/>
                  <a:pt x="0" y="244"/>
                  <a:pt x="0" y="244"/>
                </a:cubicBezTo>
                <a:cubicBezTo>
                  <a:pt x="133" y="238"/>
                  <a:pt x="240" y="132"/>
                  <a:pt x="248" y="0"/>
                </a:cubicBezTo>
                <a:lnTo>
                  <a:pt x="225" y="0"/>
                </a:lnTo>
                <a:close/>
              </a:path>
            </a:pathLst>
          </a:custGeom>
          <a:solidFill>
            <a:schemeClr val="accent1">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10" name="Freeform 15">
            <a:extLst>
              <a:ext uri="{FF2B5EF4-FFF2-40B4-BE49-F238E27FC236}">
                <a16:creationId xmlns:a16="http://schemas.microsoft.com/office/drawing/2014/main" id="{D75B89FF-EB33-4C0C-82F2-8B2B1EC1AB7B}"/>
              </a:ext>
            </a:extLst>
          </p:cNvPr>
          <p:cNvSpPr>
            <a:spLocks/>
          </p:cNvSpPr>
          <p:nvPr/>
        </p:nvSpPr>
        <p:spPr bwMode="auto">
          <a:xfrm>
            <a:off x="7307263" y="5191125"/>
            <a:ext cx="536575" cy="511175"/>
          </a:xfrm>
          <a:custGeom>
            <a:avLst/>
            <a:gdLst>
              <a:gd name="T0" fmla="*/ 122 w 161"/>
              <a:gd name="T1" fmla="*/ 5 h 154"/>
              <a:gd name="T2" fmla="*/ 118 w 161"/>
              <a:gd name="T3" fmla="*/ 0 h 154"/>
              <a:gd name="T4" fmla="*/ 0 w 161"/>
              <a:gd name="T5" fmla="*/ 128 h 154"/>
              <a:gd name="T6" fmla="*/ 9 w 161"/>
              <a:gd name="T7" fmla="*/ 134 h 154"/>
              <a:gd name="T8" fmla="*/ 139 w 161"/>
              <a:gd name="T9" fmla="*/ 150 h 154"/>
              <a:gd name="T10" fmla="*/ 156 w 161"/>
              <a:gd name="T11" fmla="*/ 130 h 154"/>
              <a:gd name="T12" fmla="*/ 122 w 161"/>
              <a:gd name="T13" fmla="*/ 5 h 154"/>
            </a:gdLst>
            <a:ahLst/>
            <a:cxnLst>
              <a:cxn ang="0">
                <a:pos x="T0" y="T1"/>
              </a:cxn>
              <a:cxn ang="0">
                <a:pos x="T2" y="T3"/>
              </a:cxn>
              <a:cxn ang="0">
                <a:pos x="T4" y="T5"/>
              </a:cxn>
              <a:cxn ang="0">
                <a:pos x="T6" y="T7"/>
              </a:cxn>
              <a:cxn ang="0">
                <a:pos x="T8" y="T9"/>
              </a:cxn>
              <a:cxn ang="0">
                <a:pos x="T10" y="T11"/>
              </a:cxn>
              <a:cxn ang="0">
                <a:pos x="T12" y="T13"/>
              </a:cxn>
            </a:cxnLst>
            <a:rect l="0" t="0" r="r" b="b"/>
            <a:pathLst>
              <a:path w="161" h="154">
                <a:moveTo>
                  <a:pt x="122" y="5"/>
                </a:moveTo>
                <a:cubicBezTo>
                  <a:pt x="121" y="3"/>
                  <a:pt x="120" y="2"/>
                  <a:pt x="118" y="0"/>
                </a:cubicBezTo>
                <a:cubicBezTo>
                  <a:pt x="85" y="48"/>
                  <a:pt x="46" y="91"/>
                  <a:pt x="0" y="128"/>
                </a:cubicBezTo>
                <a:cubicBezTo>
                  <a:pt x="2" y="131"/>
                  <a:pt x="5" y="133"/>
                  <a:pt x="9" y="134"/>
                </a:cubicBezTo>
                <a:cubicBezTo>
                  <a:pt x="139" y="150"/>
                  <a:pt x="139" y="150"/>
                  <a:pt x="139" y="150"/>
                </a:cubicBezTo>
                <a:cubicBezTo>
                  <a:pt x="150" y="154"/>
                  <a:pt x="161" y="142"/>
                  <a:pt x="156" y="130"/>
                </a:cubicBezTo>
                <a:lnTo>
                  <a:pt x="122" y="5"/>
                </a:lnTo>
                <a:close/>
              </a:path>
            </a:pathLst>
          </a:custGeom>
          <a:gradFill flip="none" rotWithShape="1">
            <a:gsLst>
              <a:gs pos="64000">
                <a:schemeClr val="accent1"/>
              </a:gs>
              <a:gs pos="31000">
                <a:schemeClr val="accent1">
                  <a:lumMod val="60000"/>
                  <a:lumOff val="40000"/>
                </a:schemeClr>
              </a:gs>
              <a:gs pos="0">
                <a:schemeClr val="accent1">
                  <a:lumMod val="40000"/>
                  <a:lumOff val="60000"/>
                </a:schemeClr>
              </a:gs>
            </a:gsLst>
            <a:lin ang="135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12" name="Freeform 10">
            <a:extLst>
              <a:ext uri="{FF2B5EF4-FFF2-40B4-BE49-F238E27FC236}">
                <a16:creationId xmlns:a16="http://schemas.microsoft.com/office/drawing/2014/main" id="{2A26B438-7394-422E-A9C3-409309320729}"/>
              </a:ext>
            </a:extLst>
          </p:cNvPr>
          <p:cNvSpPr>
            <a:spLocks/>
          </p:cNvSpPr>
          <p:nvPr/>
        </p:nvSpPr>
        <p:spPr bwMode="auto">
          <a:xfrm>
            <a:off x="5230813" y="3217863"/>
            <a:ext cx="825500" cy="844550"/>
          </a:xfrm>
          <a:custGeom>
            <a:avLst/>
            <a:gdLst>
              <a:gd name="T0" fmla="*/ 248 w 248"/>
              <a:gd name="T1" fmla="*/ 23 h 254"/>
              <a:gd name="T2" fmla="*/ 248 w 248"/>
              <a:gd name="T3" fmla="*/ 0 h 254"/>
              <a:gd name="T4" fmla="*/ 0 w 248"/>
              <a:gd name="T5" fmla="*/ 254 h 254"/>
              <a:gd name="T6" fmla="*/ 23 w 248"/>
              <a:gd name="T7" fmla="*/ 254 h 254"/>
              <a:gd name="T8" fmla="*/ 248 w 248"/>
              <a:gd name="T9" fmla="*/ 23 h 254"/>
            </a:gdLst>
            <a:ahLst/>
            <a:cxnLst>
              <a:cxn ang="0">
                <a:pos x="T0" y="T1"/>
              </a:cxn>
              <a:cxn ang="0">
                <a:pos x="T2" y="T3"/>
              </a:cxn>
              <a:cxn ang="0">
                <a:pos x="T4" y="T5"/>
              </a:cxn>
              <a:cxn ang="0">
                <a:pos x="T6" y="T7"/>
              </a:cxn>
              <a:cxn ang="0">
                <a:pos x="T8" y="T9"/>
              </a:cxn>
            </a:cxnLst>
            <a:rect l="0" t="0" r="r" b="b"/>
            <a:pathLst>
              <a:path w="248" h="254">
                <a:moveTo>
                  <a:pt x="248" y="23"/>
                </a:moveTo>
                <a:cubicBezTo>
                  <a:pt x="248" y="0"/>
                  <a:pt x="248" y="0"/>
                  <a:pt x="248" y="0"/>
                </a:cubicBezTo>
                <a:cubicBezTo>
                  <a:pt x="112" y="6"/>
                  <a:pt x="3" y="117"/>
                  <a:pt x="0" y="254"/>
                </a:cubicBezTo>
                <a:cubicBezTo>
                  <a:pt x="23" y="254"/>
                  <a:pt x="23" y="254"/>
                  <a:pt x="23" y="254"/>
                </a:cubicBezTo>
                <a:cubicBezTo>
                  <a:pt x="26" y="130"/>
                  <a:pt x="125" y="29"/>
                  <a:pt x="248" y="23"/>
                </a:cubicBezTo>
                <a:close/>
              </a:path>
            </a:pathLst>
          </a:custGeom>
          <a:solidFill>
            <a:schemeClr val="accent1">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13" name="Freeform 11">
            <a:extLst>
              <a:ext uri="{FF2B5EF4-FFF2-40B4-BE49-F238E27FC236}">
                <a16:creationId xmlns:a16="http://schemas.microsoft.com/office/drawing/2014/main" id="{3CBE069E-8D9E-4764-8F92-D5F61987E842}"/>
              </a:ext>
            </a:extLst>
          </p:cNvPr>
          <p:cNvSpPr>
            <a:spLocks/>
          </p:cNvSpPr>
          <p:nvPr/>
        </p:nvSpPr>
        <p:spPr bwMode="auto">
          <a:xfrm>
            <a:off x="4232275" y="2232025"/>
            <a:ext cx="2124075" cy="1806575"/>
          </a:xfrm>
          <a:custGeom>
            <a:avLst/>
            <a:gdLst>
              <a:gd name="T0" fmla="*/ 554 w 638"/>
              <a:gd name="T1" fmla="*/ 274 h 543"/>
              <a:gd name="T2" fmla="*/ 638 w 638"/>
              <a:gd name="T3" fmla="*/ 144 h 543"/>
              <a:gd name="T4" fmla="*/ 638 w 638"/>
              <a:gd name="T5" fmla="*/ 142 h 543"/>
              <a:gd name="T6" fmla="*/ 551 w 638"/>
              <a:gd name="T7" fmla="*/ 0 h 543"/>
              <a:gd name="T8" fmla="*/ 0 w 638"/>
              <a:gd name="T9" fmla="*/ 543 h 543"/>
              <a:gd name="T10" fmla="*/ 127 w 638"/>
              <a:gd name="T11" fmla="*/ 463 h 543"/>
              <a:gd name="T12" fmla="*/ 156 w 638"/>
              <a:gd name="T13" fmla="*/ 463 h 543"/>
              <a:gd name="T14" fmla="*/ 278 w 638"/>
              <a:gd name="T15" fmla="*/ 543 h 543"/>
              <a:gd name="T16" fmla="*/ 554 w 638"/>
              <a:gd name="T17" fmla="*/ 274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8" h="543">
                <a:moveTo>
                  <a:pt x="554" y="274"/>
                </a:moveTo>
                <a:cubicBezTo>
                  <a:pt x="638" y="144"/>
                  <a:pt x="638" y="144"/>
                  <a:pt x="638" y="144"/>
                </a:cubicBezTo>
                <a:cubicBezTo>
                  <a:pt x="638" y="143"/>
                  <a:pt x="638" y="142"/>
                  <a:pt x="638" y="142"/>
                </a:cubicBezTo>
                <a:cubicBezTo>
                  <a:pt x="551" y="0"/>
                  <a:pt x="551" y="0"/>
                  <a:pt x="551" y="0"/>
                </a:cubicBezTo>
                <a:cubicBezTo>
                  <a:pt x="251" y="5"/>
                  <a:pt x="9" y="245"/>
                  <a:pt x="0" y="543"/>
                </a:cubicBezTo>
                <a:cubicBezTo>
                  <a:pt x="127" y="463"/>
                  <a:pt x="127" y="463"/>
                  <a:pt x="127" y="463"/>
                </a:cubicBezTo>
                <a:cubicBezTo>
                  <a:pt x="136" y="458"/>
                  <a:pt x="147" y="458"/>
                  <a:pt x="156" y="463"/>
                </a:cubicBezTo>
                <a:cubicBezTo>
                  <a:pt x="278" y="543"/>
                  <a:pt x="278" y="543"/>
                  <a:pt x="278" y="543"/>
                </a:cubicBezTo>
                <a:cubicBezTo>
                  <a:pt x="285" y="395"/>
                  <a:pt x="405" y="277"/>
                  <a:pt x="554" y="274"/>
                </a:cubicBezTo>
                <a:close/>
              </a:path>
            </a:pathLst>
          </a:custGeom>
          <a:gradFill flip="none" rotWithShape="1">
            <a:gsLst>
              <a:gs pos="64000">
                <a:schemeClr val="accent1"/>
              </a:gs>
              <a:gs pos="31000">
                <a:schemeClr val="accent1">
                  <a:lumMod val="60000"/>
                  <a:lumOff val="40000"/>
                </a:schemeClr>
              </a:gs>
              <a:gs pos="0">
                <a:schemeClr val="accent1">
                  <a:lumMod val="40000"/>
                  <a:lumOff val="60000"/>
                </a:schemeClr>
              </a:gs>
            </a:gsLst>
            <a:lin ang="108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14" name="Freeform 16">
            <a:extLst>
              <a:ext uri="{FF2B5EF4-FFF2-40B4-BE49-F238E27FC236}">
                <a16:creationId xmlns:a16="http://schemas.microsoft.com/office/drawing/2014/main" id="{0ACE213D-EA87-445B-AB6D-74F5D584690D}"/>
              </a:ext>
            </a:extLst>
          </p:cNvPr>
          <p:cNvSpPr>
            <a:spLocks/>
          </p:cNvSpPr>
          <p:nvPr/>
        </p:nvSpPr>
        <p:spPr bwMode="auto">
          <a:xfrm>
            <a:off x="4332288" y="2478088"/>
            <a:ext cx="525463" cy="525463"/>
          </a:xfrm>
          <a:custGeom>
            <a:avLst/>
            <a:gdLst>
              <a:gd name="T0" fmla="*/ 158 w 158"/>
              <a:gd name="T1" fmla="*/ 31 h 158"/>
              <a:gd name="T2" fmla="*/ 150 w 158"/>
              <a:gd name="T3" fmla="*/ 24 h 158"/>
              <a:gd name="T4" fmla="*/ 22 w 158"/>
              <a:gd name="T5" fmla="*/ 4 h 158"/>
              <a:gd name="T6" fmla="*/ 4 w 158"/>
              <a:gd name="T7" fmla="*/ 23 h 158"/>
              <a:gd name="T8" fmla="*/ 33 w 158"/>
              <a:gd name="T9" fmla="*/ 150 h 158"/>
              <a:gd name="T10" fmla="*/ 42 w 158"/>
              <a:gd name="T11" fmla="*/ 158 h 158"/>
              <a:gd name="T12" fmla="*/ 158 w 158"/>
              <a:gd name="T13" fmla="*/ 31 h 158"/>
            </a:gdLst>
            <a:ahLst/>
            <a:cxnLst>
              <a:cxn ang="0">
                <a:pos x="T0" y="T1"/>
              </a:cxn>
              <a:cxn ang="0">
                <a:pos x="T2" y="T3"/>
              </a:cxn>
              <a:cxn ang="0">
                <a:pos x="T4" y="T5"/>
              </a:cxn>
              <a:cxn ang="0">
                <a:pos x="T6" y="T7"/>
              </a:cxn>
              <a:cxn ang="0">
                <a:pos x="T8" y="T9"/>
              </a:cxn>
              <a:cxn ang="0">
                <a:pos x="T10" y="T11"/>
              </a:cxn>
              <a:cxn ang="0">
                <a:pos x="T12" y="T13"/>
              </a:cxn>
            </a:cxnLst>
            <a:rect l="0" t="0" r="r" b="b"/>
            <a:pathLst>
              <a:path w="158" h="158">
                <a:moveTo>
                  <a:pt x="158" y="31"/>
                </a:moveTo>
                <a:cubicBezTo>
                  <a:pt x="157" y="28"/>
                  <a:pt x="154" y="26"/>
                  <a:pt x="150" y="24"/>
                </a:cubicBezTo>
                <a:cubicBezTo>
                  <a:pt x="22" y="4"/>
                  <a:pt x="22" y="4"/>
                  <a:pt x="22" y="4"/>
                </a:cubicBezTo>
                <a:cubicBezTo>
                  <a:pt x="11" y="0"/>
                  <a:pt x="0" y="11"/>
                  <a:pt x="4" y="23"/>
                </a:cubicBezTo>
                <a:cubicBezTo>
                  <a:pt x="33" y="150"/>
                  <a:pt x="33" y="150"/>
                  <a:pt x="33" y="150"/>
                </a:cubicBezTo>
                <a:cubicBezTo>
                  <a:pt x="35" y="154"/>
                  <a:pt x="38" y="157"/>
                  <a:pt x="42" y="158"/>
                </a:cubicBezTo>
                <a:cubicBezTo>
                  <a:pt x="74" y="111"/>
                  <a:pt x="114" y="68"/>
                  <a:pt x="158" y="31"/>
                </a:cubicBezTo>
                <a:close/>
              </a:path>
            </a:pathLst>
          </a:custGeom>
          <a:gradFill flip="none" rotWithShape="1">
            <a:gsLst>
              <a:gs pos="64000">
                <a:schemeClr val="accent1"/>
              </a:gs>
              <a:gs pos="31000">
                <a:schemeClr val="accent1">
                  <a:lumMod val="60000"/>
                  <a:lumOff val="40000"/>
                </a:schemeClr>
              </a:gs>
              <a:gs pos="0">
                <a:schemeClr val="accent1">
                  <a:lumMod val="40000"/>
                  <a:lumOff val="60000"/>
                </a:schemeClr>
              </a:gs>
            </a:gsLst>
            <a:lin ang="27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16" name="Freeform 12">
            <a:extLst>
              <a:ext uri="{FF2B5EF4-FFF2-40B4-BE49-F238E27FC236}">
                <a16:creationId xmlns:a16="http://schemas.microsoft.com/office/drawing/2014/main" id="{22A5969C-9E94-4699-82AE-6FF63F8C108C}"/>
              </a:ext>
            </a:extLst>
          </p:cNvPr>
          <p:cNvSpPr>
            <a:spLocks/>
          </p:cNvSpPr>
          <p:nvPr/>
        </p:nvSpPr>
        <p:spPr bwMode="auto">
          <a:xfrm>
            <a:off x="5233988" y="4141788"/>
            <a:ext cx="819150" cy="803275"/>
          </a:xfrm>
          <a:custGeom>
            <a:avLst/>
            <a:gdLst>
              <a:gd name="T0" fmla="*/ 23 w 246"/>
              <a:gd name="T1" fmla="*/ 0 h 241"/>
              <a:gd name="T2" fmla="*/ 0 w 246"/>
              <a:gd name="T3" fmla="*/ 0 h 241"/>
              <a:gd name="T4" fmla="*/ 246 w 246"/>
              <a:gd name="T5" fmla="*/ 241 h 241"/>
              <a:gd name="T6" fmla="*/ 246 w 246"/>
              <a:gd name="T7" fmla="*/ 218 h 241"/>
              <a:gd name="T8" fmla="*/ 23 w 246"/>
              <a:gd name="T9" fmla="*/ 0 h 241"/>
            </a:gdLst>
            <a:ahLst/>
            <a:cxnLst>
              <a:cxn ang="0">
                <a:pos x="T0" y="T1"/>
              </a:cxn>
              <a:cxn ang="0">
                <a:pos x="T2" y="T3"/>
              </a:cxn>
              <a:cxn ang="0">
                <a:pos x="T4" y="T5"/>
              </a:cxn>
              <a:cxn ang="0">
                <a:pos x="T6" y="T7"/>
              </a:cxn>
              <a:cxn ang="0">
                <a:pos x="T8" y="T9"/>
              </a:cxn>
            </a:cxnLst>
            <a:rect l="0" t="0" r="r" b="b"/>
            <a:pathLst>
              <a:path w="246" h="241">
                <a:moveTo>
                  <a:pt x="23" y="0"/>
                </a:moveTo>
                <a:cubicBezTo>
                  <a:pt x="0" y="0"/>
                  <a:pt x="0" y="0"/>
                  <a:pt x="0" y="0"/>
                </a:cubicBezTo>
                <a:cubicBezTo>
                  <a:pt x="9" y="130"/>
                  <a:pt x="114" y="235"/>
                  <a:pt x="246" y="241"/>
                </a:cubicBezTo>
                <a:cubicBezTo>
                  <a:pt x="246" y="218"/>
                  <a:pt x="246" y="218"/>
                  <a:pt x="246" y="218"/>
                </a:cubicBezTo>
                <a:cubicBezTo>
                  <a:pt x="127" y="212"/>
                  <a:pt x="32" y="118"/>
                  <a:pt x="23" y="0"/>
                </a:cubicBezTo>
                <a:close/>
              </a:path>
            </a:pathLst>
          </a:custGeom>
          <a:solidFill>
            <a:schemeClr val="accent1">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17" name="Freeform 13">
            <a:extLst>
              <a:ext uri="{FF2B5EF4-FFF2-40B4-BE49-F238E27FC236}">
                <a16:creationId xmlns:a16="http://schemas.microsoft.com/office/drawing/2014/main" id="{53E58333-5C12-4F9B-A6D0-5F5DB132E8D6}"/>
              </a:ext>
            </a:extLst>
          </p:cNvPr>
          <p:cNvSpPr>
            <a:spLocks/>
          </p:cNvSpPr>
          <p:nvPr/>
        </p:nvSpPr>
        <p:spPr bwMode="auto">
          <a:xfrm>
            <a:off x="4232275" y="3840163"/>
            <a:ext cx="1803400" cy="2116138"/>
          </a:xfrm>
          <a:custGeom>
            <a:avLst/>
            <a:gdLst>
              <a:gd name="T0" fmla="*/ 279 w 542"/>
              <a:gd name="T1" fmla="*/ 89 h 636"/>
              <a:gd name="T2" fmla="*/ 143 w 542"/>
              <a:gd name="T3" fmla="*/ 1 h 636"/>
              <a:gd name="T4" fmla="*/ 140 w 542"/>
              <a:gd name="T5" fmla="*/ 1 h 636"/>
              <a:gd name="T6" fmla="*/ 0 w 542"/>
              <a:gd name="T7" fmla="*/ 89 h 636"/>
              <a:gd name="T8" fmla="*/ 539 w 542"/>
              <a:gd name="T9" fmla="*/ 636 h 636"/>
              <a:gd name="T10" fmla="*/ 460 w 542"/>
              <a:gd name="T11" fmla="*/ 507 h 636"/>
              <a:gd name="T12" fmla="*/ 460 w 542"/>
              <a:gd name="T13" fmla="*/ 479 h 636"/>
              <a:gd name="T14" fmla="*/ 542 w 542"/>
              <a:gd name="T15" fmla="*/ 354 h 636"/>
              <a:gd name="T16" fmla="*/ 279 w 542"/>
              <a:gd name="T17" fmla="*/ 89 h 6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2" h="636">
                <a:moveTo>
                  <a:pt x="279" y="89"/>
                </a:moveTo>
                <a:cubicBezTo>
                  <a:pt x="143" y="1"/>
                  <a:pt x="143" y="1"/>
                  <a:pt x="143" y="1"/>
                </a:cubicBezTo>
                <a:cubicBezTo>
                  <a:pt x="142" y="0"/>
                  <a:pt x="141" y="0"/>
                  <a:pt x="140" y="1"/>
                </a:cubicBezTo>
                <a:cubicBezTo>
                  <a:pt x="0" y="89"/>
                  <a:pt x="0" y="89"/>
                  <a:pt x="0" y="89"/>
                </a:cubicBezTo>
                <a:cubicBezTo>
                  <a:pt x="6" y="386"/>
                  <a:pt x="244" y="625"/>
                  <a:pt x="539" y="636"/>
                </a:cubicBezTo>
                <a:cubicBezTo>
                  <a:pt x="460" y="507"/>
                  <a:pt x="460" y="507"/>
                  <a:pt x="460" y="507"/>
                </a:cubicBezTo>
                <a:cubicBezTo>
                  <a:pt x="455" y="499"/>
                  <a:pt x="455" y="488"/>
                  <a:pt x="460" y="479"/>
                </a:cubicBezTo>
                <a:cubicBezTo>
                  <a:pt x="542" y="354"/>
                  <a:pt x="542" y="354"/>
                  <a:pt x="542" y="354"/>
                </a:cubicBezTo>
                <a:cubicBezTo>
                  <a:pt x="400" y="345"/>
                  <a:pt x="286" y="231"/>
                  <a:pt x="279" y="89"/>
                </a:cubicBezTo>
                <a:close/>
              </a:path>
            </a:pathLst>
          </a:custGeom>
          <a:gradFill flip="none" rotWithShape="1">
            <a:gsLst>
              <a:gs pos="64000">
                <a:schemeClr val="accent1"/>
              </a:gs>
              <a:gs pos="31000">
                <a:schemeClr val="accent1">
                  <a:lumMod val="60000"/>
                  <a:lumOff val="40000"/>
                </a:schemeClr>
              </a:gs>
              <a:gs pos="0">
                <a:schemeClr val="accent1">
                  <a:lumMod val="40000"/>
                  <a:lumOff val="60000"/>
                </a:schemeClr>
              </a:gs>
            </a:gsLst>
            <a:lin ang="27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18" name="Freeform 17">
            <a:extLst>
              <a:ext uri="{FF2B5EF4-FFF2-40B4-BE49-F238E27FC236}">
                <a16:creationId xmlns:a16="http://schemas.microsoft.com/office/drawing/2014/main" id="{844DB01C-FA10-404C-BE4E-BBBC44D4AAFD}"/>
              </a:ext>
            </a:extLst>
          </p:cNvPr>
          <p:cNvSpPr>
            <a:spLocks/>
          </p:cNvSpPr>
          <p:nvPr/>
        </p:nvSpPr>
        <p:spPr bwMode="auto">
          <a:xfrm>
            <a:off x="4329113" y="5187950"/>
            <a:ext cx="534988" cy="514350"/>
          </a:xfrm>
          <a:custGeom>
            <a:avLst/>
            <a:gdLst>
              <a:gd name="T0" fmla="*/ 44 w 161"/>
              <a:gd name="T1" fmla="*/ 0 h 155"/>
              <a:gd name="T2" fmla="*/ 39 w 161"/>
              <a:gd name="T3" fmla="*/ 6 h 155"/>
              <a:gd name="T4" fmla="*/ 5 w 161"/>
              <a:gd name="T5" fmla="*/ 131 h 155"/>
              <a:gd name="T6" fmla="*/ 22 w 161"/>
              <a:gd name="T7" fmla="*/ 151 h 155"/>
              <a:gd name="T8" fmla="*/ 152 w 161"/>
              <a:gd name="T9" fmla="*/ 135 h 155"/>
              <a:gd name="T10" fmla="*/ 161 w 161"/>
              <a:gd name="T11" fmla="*/ 127 h 155"/>
              <a:gd name="T12" fmla="*/ 44 w 161"/>
              <a:gd name="T13" fmla="*/ 0 h 155"/>
            </a:gdLst>
            <a:ahLst/>
            <a:cxnLst>
              <a:cxn ang="0">
                <a:pos x="T0" y="T1"/>
              </a:cxn>
              <a:cxn ang="0">
                <a:pos x="T2" y="T3"/>
              </a:cxn>
              <a:cxn ang="0">
                <a:pos x="T4" y="T5"/>
              </a:cxn>
              <a:cxn ang="0">
                <a:pos x="T6" y="T7"/>
              </a:cxn>
              <a:cxn ang="0">
                <a:pos x="T8" y="T9"/>
              </a:cxn>
              <a:cxn ang="0">
                <a:pos x="T10" y="T11"/>
              </a:cxn>
              <a:cxn ang="0">
                <a:pos x="T12" y="T13"/>
              </a:cxn>
            </a:cxnLst>
            <a:rect l="0" t="0" r="r" b="b"/>
            <a:pathLst>
              <a:path w="161" h="155">
                <a:moveTo>
                  <a:pt x="44" y="0"/>
                </a:moveTo>
                <a:cubicBezTo>
                  <a:pt x="42" y="2"/>
                  <a:pt x="40" y="4"/>
                  <a:pt x="39" y="6"/>
                </a:cubicBezTo>
                <a:cubicBezTo>
                  <a:pt x="5" y="131"/>
                  <a:pt x="5" y="131"/>
                  <a:pt x="5" y="131"/>
                </a:cubicBezTo>
                <a:cubicBezTo>
                  <a:pt x="0" y="143"/>
                  <a:pt x="11" y="155"/>
                  <a:pt x="22" y="151"/>
                </a:cubicBezTo>
                <a:cubicBezTo>
                  <a:pt x="152" y="135"/>
                  <a:pt x="152" y="135"/>
                  <a:pt x="152" y="135"/>
                </a:cubicBezTo>
                <a:cubicBezTo>
                  <a:pt x="156" y="134"/>
                  <a:pt x="159" y="131"/>
                  <a:pt x="161" y="127"/>
                </a:cubicBezTo>
                <a:cubicBezTo>
                  <a:pt x="116" y="91"/>
                  <a:pt x="77" y="48"/>
                  <a:pt x="44" y="0"/>
                </a:cubicBezTo>
                <a:close/>
              </a:path>
            </a:pathLst>
          </a:custGeom>
          <a:gradFill flip="none" rotWithShape="1">
            <a:gsLst>
              <a:gs pos="64000">
                <a:schemeClr val="accent1"/>
              </a:gs>
              <a:gs pos="31000">
                <a:schemeClr val="accent1">
                  <a:lumMod val="60000"/>
                  <a:lumOff val="40000"/>
                </a:schemeClr>
              </a:gs>
              <a:gs pos="0">
                <a:schemeClr val="accent1">
                  <a:lumMod val="40000"/>
                  <a:lumOff val="60000"/>
                </a:schemeClr>
              </a:gs>
            </a:gsLst>
            <a:lin ang="189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23" name="Freeform 61">
            <a:extLst>
              <a:ext uri="{FF2B5EF4-FFF2-40B4-BE49-F238E27FC236}">
                <a16:creationId xmlns:a16="http://schemas.microsoft.com/office/drawing/2014/main" id="{BD635D14-8B04-42B2-9120-A5FD3C5D6DEA}"/>
              </a:ext>
            </a:extLst>
          </p:cNvPr>
          <p:cNvSpPr>
            <a:spLocks noEditPoints="1"/>
          </p:cNvSpPr>
          <p:nvPr/>
        </p:nvSpPr>
        <p:spPr bwMode="auto">
          <a:xfrm>
            <a:off x="4762155" y="4671339"/>
            <a:ext cx="351167" cy="354220"/>
          </a:xfrm>
          <a:custGeom>
            <a:avLst/>
            <a:gdLst>
              <a:gd name="T0" fmla="*/ 540884 w 161"/>
              <a:gd name="T1" fmla="*/ 137255 h 161"/>
              <a:gd name="T2" fmla="*/ 445634 w 161"/>
              <a:gd name="T3" fmla="*/ 233333 h 161"/>
              <a:gd name="T4" fmla="*/ 415018 w 161"/>
              <a:gd name="T5" fmla="*/ 233333 h 161"/>
              <a:gd name="T6" fmla="*/ 472849 w 161"/>
              <a:gd name="T7" fmla="*/ 144117 h 161"/>
              <a:gd name="T8" fmla="*/ 312965 w 161"/>
              <a:gd name="T9" fmla="*/ 123529 h 161"/>
              <a:gd name="T10" fmla="*/ 472849 w 161"/>
              <a:gd name="T11" fmla="*/ 99510 h 161"/>
              <a:gd name="T12" fmla="*/ 415018 w 161"/>
              <a:gd name="T13" fmla="*/ 10294 h 161"/>
              <a:gd name="T14" fmla="*/ 540884 w 161"/>
              <a:gd name="T15" fmla="*/ 106372 h 161"/>
              <a:gd name="T16" fmla="*/ 544286 w 161"/>
              <a:gd name="T17" fmla="*/ 109804 h 161"/>
              <a:gd name="T18" fmla="*/ 544286 w 161"/>
              <a:gd name="T19" fmla="*/ 116666 h 161"/>
              <a:gd name="T20" fmla="*/ 547688 w 161"/>
              <a:gd name="T21" fmla="*/ 123529 h 161"/>
              <a:gd name="T22" fmla="*/ 547688 w 161"/>
              <a:gd name="T23" fmla="*/ 123529 h 161"/>
              <a:gd name="T24" fmla="*/ 547688 w 161"/>
              <a:gd name="T25" fmla="*/ 126961 h 161"/>
              <a:gd name="T26" fmla="*/ 544286 w 161"/>
              <a:gd name="T27" fmla="*/ 130392 h 161"/>
              <a:gd name="T28" fmla="*/ 544286 w 161"/>
              <a:gd name="T29" fmla="*/ 133823 h 161"/>
              <a:gd name="T30" fmla="*/ 523875 w 161"/>
              <a:gd name="T31" fmla="*/ 480391 h 161"/>
              <a:gd name="T32" fmla="*/ 452438 w 161"/>
              <a:gd name="T33" fmla="*/ 552450 h 161"/>
              <a:gd name="T34" fmla="*/ 445634 w 161"/>
              <a:gd name="T35" fmla="*/ 552450 h 161"/>
              <a:gd name="T36" fmla="*/ 81643 w 161"/>
              <a:gd name="T37" fmla="*/ 322548 h 161"/>
              <a:gd name="T38" fmla="*/ 3402 w 161"/>
              <a:gd name="T39" fmla="*/ 102941 h 161"/>
              <a:gd name="T40" fmla="*/ 74839 w 161"/>
              <a:gd name="T41" fmla="*/ 27451 h 161"/>
              <a:gd name="T42" fmla="*/ 214313 w 161"/>
              <a:gd name="T43" fmla="*/ 89216 h 161"/>
              <a:gd name="T44" fmla="*/ 231322 w 161"/>
              <a:gd name="T45" fmla="*/ 150980 h 161"/>
              <a:gd name="T46" fmla="*/ 214313 w 161"/>
              <a:gd name="T47" fmla="*/ 226470 h 161"/>
              <a:gd name="T48" fmla="*/ 309563 w 161"/>
              <a:gd name="T49" fmla="*/ 356862 h 161"/>
              <a:gd name="T50" fmla="*/ 326572 w 161"/>
              <a:gd name="T51" fmla="*/ 339705 h 161"/>
              <a:gd name="T52" fmla="*/ 462643 w 161"/>
              <a:gd name="T53" fmla="*/ 339705 h 161"/>
              <a:gd name="T54" fmla="*/ 523875 w 161"/>
              <a:gd name="T55" fmla="*/ 408333 h 161"/>
              <a:gd name="T56" fmla="*/ 455840 w 161"/>
              <a:gd name="T57" fmla="*/ 380882 h 161"/>
              <a:gd name="T58" fmla="*/ 357188 w 161"/>
              <a:gd name="T59" fmla="*/ 370588 h 161"/>
              <a:gd name="T60" fmla="*/ 299357 w 161"/>
              <a:gd name="T61" fmla="*/ 404901 h 161"/>
              <a:gd name="T62" fmla="*/ 153080 w 161"/>
              <a:gd name="T63" fmla="*/ 226470 h 161"/>
              <a:gd name="T64" fmla="*/ 190500 w 161"/>
              <a:gd name="T65" fmla="*/ 168137 h 161"/>
              <a:gd name="T66" fmla="*/ 146277 w 161"/>
              <a:gd name="T67" fmla="*/ 72059 h 161"/>
              <a:gd name="T68" fmla="*/ 74839 w 161"/>
              <a:gd name="T69" fmla="*/ 72059 h 161"/>
              <a:gd name="T70" fmla="*/ 47625 w 161"/>
              <a:gd name="T71" fmla="*/ 99510 h 161"/>
              <a:gd name="T72" fmla="*/ 119063 w 161"/>
              <a:gd name="T73" fmla="*/ 298529 h 161"/>
              <a:gd name="T74" fmla="*/ 255134 w 161"/>
              <a:gd name="T75" fmla="*/ 435784 h 161"/>
              <a:gd name="T76" fmla="*/ 452438 w 161"/>
              <a:gd name="T77" fmla="*/ 507842 h 161"/>
              <a:gd name="T78" fmla="*/ 479652 w 161"/>
              <a:gd name="T79" fmla="*/ 408333 h 161"/>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161" h="161">
                <a:moveTo>
                  <a:pt x="160" y="39"/>
                </a:moveTo>
                <a:cubicBezTo>
                  <a:pt x="159" y="39"/>
                  <a:pt x="159" y="40"/>
                  <a:pt x="159" y="40"/>
                </a:cubicBezTo>
                <a:cubicBezTo>
                  <a:pt x="159" y="40"/>
                  <a:pt x="159" y="40"/>
                  <a:pt x="159" y="40"/>
                </a:cubicBezTo>
                <a:cubicBezTo>
                  <a:pt x="131" y="68"/>
                  <a:pt x="131" y="68"/>
                  <a:pt x="131" y="68"/>
                </a:cubicBezTo>
                <a:cubicBezTo>
                  <a:pt x="129" y="70"/>
                  <a:pt x="128" y="70"/>
                  <a:pt x="126" y="70"/>
                </a:cubicBezTo>
                <a:cubicBezTo>
                  <a:pt x="124" y="70"/>
                  <a:pt x="123" y="70"/>
                  <a:pt x="122" y="68"/>
                </a:cubicBezTo>
                <a:cubicBezTo>
                  <a:pt x="119" y="66"/>
                  <a:pt x="119" y="62"/>
                  <a:pt x="122" y="59"/>
                </a:cubicBezTo>
                <a:cubicBezTo>
                  <a:pt x="139" y="42"/>
                  <a:pt x="139" y="42"/>
                  <a:pt x="139" y="42"/>
                </a:cubicBezTo>
                <a:cubicBezTo>
                  <a:pt x="98" y="42"/>
                  <a:pt x="98" y="42"/>
                  <a:pt x="98" y="42"/>
                </a:cubicBezTo>
                <a:cubicBezTo>
                  <a:pt x="94" y="42"/>
                  <a:pt x="92" y="39"/>
                  <a:pt x="92" y="36"/>
                </a:cubicBezTo>
                <a:cubicBezTo>
                  <a:pt x="92" y="32"/>
                  <a:pt x="94" y="29"/>
                  <a:pt x="98" y="29"/>
                </a:cubicBezTo>
                <a:cubicBezTo>
                  <a:pt x="139" y="29"/>
                  <a:pt x="139" y="29"/>
                  <a:pt x="139" y="29"/>
                </a:cubicBezTo>
                <a:cubicBezTo>
                  <a:pt x="122" y="12"/>
                  <a:pt x="122" y="12"/>
                  <a:pt x="122" y="12"/>
                </a:cubicBezTo>
                <a:cubicBezTo>
                  <a:pt x="119" y="10"/>
                  <a:pt x="119" y="5"/>
                  <a:pt x="122" y="3"/>
                </a:cubicBezTo>
                <a:cubicBezTo>
                  <a:pt x="124" y="0"/>
                  <a:pt x="128" y="0"/>
                  <a:pt x="131" y="3"/>
                </a:cubicBezTo>
                <a:cubicBezTo>
                  <a:pt x="159" y="31"/>
                  <a:pt x="159" y="31"/>
                  <a:pt x="159" y="31"/>
                </a:cubicBezTo>
                <a:cubicBezTo>
                  <a:pt x="159" y="31"/>
                  <a:pt x="159" y="32"/>
                  <a:pt x="160" y="32"/>
                </a:cubicBezTo>
                <a:cubicBezTo>
                  <a:pt x="160" y="32"/>
                  <a:pt x="160" y="32"/>
                  <a:pt x="160" y="32"/>
                </a:cubicBezTo>
                <a:cubicBezTo>
                  <a:pt x="160" y="33"/>
                  <a:pt x="160" y="33"/>
                  <a:pt x="160" y="33"/>
                </a:cubicBezTo>
                <a:cubicBezTo>
                  <a:pt x="160" y="33"/>
                  <a:pt x="160" y="33"/>
                  <a:pt x="160" y="34"/>
                </a:cubicBezTo>
                <a:cubicBezTo>
                  <a:pt x="160" y="34"/>
                  <a:pt x="161" y="34"/>
                  <a:pt x="161" y="34"/>
                </a:cubicBezTo>
                <a:cubicBezTo>
                  <a:pt x="161" y="35"/>
                  <a:pt x="161" y="35"/>
                  <a:pt x="161" y="36"/>
                </a:cubicBezTo>
                <a:cubicBezTo>
                  <a:pt x="161" y="36"/>
                  <a:pt x="161" y="36"/>
                  <a:pt x="161" y="36"/>
                </a:cubicBezTo>
                <a:cubicBezTo>
                  <a:pt x="161" y="36"/>
                  <a:pt x="161" y="36"/>
                  <a:pt x="161" y="36"/>
                </a:cubicBezTo>
                <a:cubicBezTo>
                  <a:pt x="161" y="36"/>
                  <a:pt x="161" y="36"/>
                  <a:pt x="161" y="36"/>
                </a:cubicBezTo>
                <a:cubicBezTo>
                  <a:pt x="161" y="36"/>
                  <a:pt x="161" y="36"/>
                  <a:pt x="161" y="37"/>
                </a:cubicBezTo>
                <a:cubicBezTo>
                  <a:pt x="161" y="37"/>
                  <a:pt x="160" y="37"/>
                  <a:pt x="160" y="38"/>
                </a:cubicBezTo>
                <a:cubicBezTo>
                  <a:pt x="160" y="38"/>
                  <a:pt x="160" y="38"/>
                  <a:pt x="160" y="38"/>
                </a:cubicBezTo>
                <a:cubicBezTo>
                  <a:pt x="160" y="38"/>
                  <a:pt x="160" y="39"/>
                  <a:pt x="160" y="39"/>
                </a:cubicBezTo>
                <a:cubicBezTo>
                  <a:pt x="160" y="39"/>
                  <a:pt x="160" y="39"/>
                  <a:pt x="160" y="39"/>
                </a:cubicBezTo>
                <a:close/>
                <a:moveTo>
                  <a:pt x="154" y="119"/>
                </a:moveTo>
                <a:cubicBezTo>
                  <a:pt x="154" y="140"/>
                  <a:pt x="154" y="140"/>
                  <a:pt x="154" y="140"/>
                </a:cubicBezTo>
                <a:cubicBezTo>
                  <a:pt x="154" y="152"/>
                  <a:pt x="145" y="161"/>
                  <a:pt x="133" y="161"/>
                </a:cubicBezTo>
                <a:cubicBezTo>
                  <a:pt x="133" y="161"/>
                  <a:pt x="133" y="161"/>
                  <a:pt x="133" y="161"/>
                </a:cubicBezTo>
                <a:cubicBezTo>
                  <a:pt x="133" y="161"/>
                  <a:pt x="132" y="161"/>
                  <a:pt x="131" y="161"/>
                </a:cubicBezTo>
                <a:cubicBezTo>
                  <a:pt x="131" y="161"/>
                  <a:pt x="131" y="161"/>
                  <a:pt x="131" y="161"/>
                </a:cubicBezTo>
                <a:cubicBezTo>
                  <a:pt x="109" y="158"/>
                  <a:pt x="87" y="151"/>
                  <a:pt x="68" y="138"/>
                </a:cubicBezTo>
                <a:cubicBezTo>
                  <a:pt x="50" y="127"/>
                  <a:pt x="35" y="112"/>
                  <a:pt x="24" y="94"/>
                </a:cubicBezTo>
                <a:cubicBezTo>
                  <a:pt x="11" y="75"/>
                  <a:pt x="3" y="53"/>
                  <a:pt x="1" y="30"/>
                </a:cubicBezTo>
                <a:cubicBezTo>
                  <a:pt x="1" y="30"/>
                  <a:pt x="1" y="30"/>
                  <a:pt x="1" y="30"/>
                </a:cubicBezTo>
                <a:cubicBezTo>
                  <a:pt x="0" y="19"/>
                  <a:pt x="8" y="9"/>
                  <a:pt x="20" y="8"/>
                </a:cubicBezTo>
                <a:cubicBezTo>
                  <a:pt x="20" y="8"/>
                  <a:pt x="21" y="8"/>
                  <a:pt x="22" y="8"/>
                </a:cubicBezTo>
                <a:cubicBezTo>
                  <a:pt x="43" y="8"/>
                  <a:pt x="43" y="8"/>
                  <a:pt x="43" y="8"/>
                </a:cubicBezTo>
                <a:cubicBezTo>
                  <a:pt x="53" y="8"/>
                  <a:pt x="62" y="16"/>
                  <a:pt x="63" y="26"/>
                </a:cubicBezTo>
                <a:cubicBezTo>
                  <a:pt x="63" y="26"/>
                  <a:pt x="63" y="26"/>
                  <a:pt x="63" y="26"/>
                </a:cubicBezTo>
                <a:cubicBezTo>
                  <a:pt x="64" y="32"/>
                  <a:pt x="65" y="38"/>
                  <a:pt x="68" y="44"/>
                </a:cubicBezTo>
                <a:cubicBezTo>
                  <a:pt x="70" y="52"/>
                  <a:pt x="69" y="60"/>
                  <a:pt x="63" y="66"/>
                </a:cubicBezTo>
                <a:cubicBezTo>
                  <a:pt x="63" y="66"/>
                  <a:pt x="63" y="66"/>
                  <a:pt x="63" y="66"/>
                </a:cubicBezTo>
                <a:cubicBezTo>
                  <a:pt x="58" y="71"/>
                  <a:pt x="58" y="71"/>
                  <a:pt x="58" y="71"/>
                </a:cubicBezTo>
                <a:cubicBezTo>
                  <a:pt x="66" y="84"/>
                  <a:pt x="77" y="96"/>
                  <a:pt x="91" y="104"/>
                </a:cubicBezTo>
                <a:cubicBezTo>
                  <a:pt x="96" y="99"/>
                  <a:pt x="96" y="99"/>
                  <a:pt x="96" y="99"/>
                </a:cubicBezTo>
                <a:cubicBezTo>
                  <a:pt x="96" y="99"/>
                  <a:pt x="96" y="99"/>
                  <a:pt x="96" y="99"/>
                </a:cubicBezTo>
                <a:cubicBezTo>
                  <a:pt x="102" y="93"/>
                  <a:pt x="110" y="91"/>
                  <a:pt x="118" y="94"/>
                </a:cubicBezTo>
                <a:cubicBezTo>
                  <a:pt x="124" y="96"/>
                  <a:pt x="130" y="98"/>
                  <a:pt x="136" y="99"/>
                </a:cubicBezTo>
                <a:cubicBezTo>
                  <a:pt x="136" y="99"/>
                  <a:pt x="136" y="99"/>
                  <a:pt x="136" y="99"/>
                </a:cubicBezTo>
                <a:cubicBezTo>
                  <a:pt x="146" y="100"/>
                  <a:pt x="154" y="109"/>
                  <a:pt x="154" y="119"/>
                </a:cubicBezTo>
                <a:close/>
                <a:moveTo>
                  <a:pt x="141" y="119"/>
                </a:moveTo>
                <a:cubicBezTo>
                  <a:pt x="141" y="115"/>
                  <a:pt x="138" y="112"/>
                  <a:pt x="134" y="111"/>
                </a:cubicBezTo>
                <a:cubicBezTo>
                  <a:pt x="127" y="111"/>
                  <a:pt x="120" y="109"/>
                  <a:pt x="113" y="106"/>
                </a:cubicBezTo>
                <a:cubicBezTo>
                  <a:pt x="110" y="105"/>
                  <a:pt x="107" y="106"/>
                  <a:pt x="105" y="108"/>
                </a:cubicBezTo>
                <a:cubicBezTo>
                  <a:pt x="96" y="117"/>
                  <a:pt x="96" y="117"/>
                  <a:pt x="96" y="117"/>
                </a:cubicBezTo>
                <a:cubicBezTo>
                  <a:pt x="94" y="119"/>
                  <a:pt x="91" y="119"/>
                  <a:pt x="88" y="118"/>
                </a:cubicBezTo>
                <a:cubicBezTo>
                  <a:pt x="70" y="107"/>
                  <a:pt x="54" y="92"/>
                  <a:pt x="44" y="73"/>
                </a:cubicBezTo>
                <a:cubicBezTo>
                  <a:pt x="42" y="71"/>
                  <a:pt x="43" y="68"/>
                  <a:pt x="45" y="66"/>
                </a:cubicBezTo>
                <a:cubicBezTo>
                  <a:pt x="54" y="57"/>
                  <a:pt x="54" y="57"/>
                  <a:pt x="54" y="57"/>
                </a:cubicBezTo>
                <a:cubicBezTo>
                  <a:pt x="56" y="54"/>
                  <a:pt x="57" y="51"/>
                  <a:pt x="56" y="49"/>
                </a:cubicBezTo>
                <a:cubicBezTo>
                  <a:pt x="53" y="42"/>
                  <a:pt x="51" y="35"/>
                  <a:pt x="50" y="27"/>
                </a:cubicBezTo>
                <a:cubicBezTo>
                  <a:pt x="50" y="24"/>
                  <a:pt x="46" y="21"/>
                  <a:pt x="43" y="21"/>
                </a:cubicBezTo>
                <a:cubicBezTo>
                  <a:pt x="43" y="21"/>
                  <a:pt x="43" y="21"/>
                  <a:pt x="43" y="21"/>
                </a:cubicBezTo>
                <a:cubicBezTo>
                  <a:pt x="22" y="21"/>
                  <a:pt x="22" y="21"/>
                  <a:pt x="22" y="21"/>
                </a:cubicBezTo>
                <a:cubicBezTo>
                  <a:pt x="21" y="21"/>
                  <a:pt x="21" y="21"/>
                  <a:pt x="21" y="21"/>
                </a:cubicBezTo>
                <a:cubicBezTo>
                  <a:pt x="17" y="21"/>
                  <a:pt x="14" y="25"/>
                  <a:pt x="14" y="29"/>
                </a:cubicBezTo>
                <a:cubicBezTo>
                  <a:pt x="16" y="50"/>
                  <a:pt x="23" y="70"/>
                  <a:pt x="35" y="87"/>
                </a:cubicBezTo>
                <a:cubicBezTo>
                  <a:pt x="35" y="87"/>
                  <a:pt x="35" y="87"/>
                  <a:pt x="35" y="87"/>
                </a:cubicBezTo>
                <a:cubicBezTo>
                  <a:pt x="45" y="103"/>
                  <a:pt x="59" y="117"/>
                  <a:pt x="75" y="127"/>
                </a:cubicBezTo>
                <a:cubicBezTo>
                  <a:pt x="75" y="127"/>
                  <a:pt x="75" y="127"/>
                  <a:pt x="75" y="127"/>
                </a:cubicBezTo>
                <a:cubicBezTo>
                  <a:pt x="92" y="139"/>
                  <a:pt x="112" y="146"/>
                  <a:pt x="133" y="148"/>
                </a:cubicBezTo>
                <a:cubicBezTo>
                  <a:pt x="133" y="148"/>
                  <a:pt x="133" y="148"/>
                  <a:pt x="133" y="148"/>
                </a:cubicBezTo>
                <a:cubicBezTo>
                  <a:pt x="137" y="148"/>
                  <a:pt x="141" y="145"/>
                  <a:pt x="141" y="140"/>
                </a:cubicBezTo>
                <a:cubicBezTo>
                  <a:pt x="141" y="119"/>
                  <a:pt x="141" y="119"/>
                  <a:pt x="141" y="119"/>
                </a:cubicBezTo>
                <a:cubicBezTo>
                  <a:pt x="141" y="119"/>
                  <a:pt x="141" y="119"/>
                  <a:pt x="141" y="119"/>
                </a:cubicBezTo>
                <a:close/>
              </a:path>
            </a:pathLst>
          </a:custGeom>
          <a:solidFill>
            <a:srgbClr val="FFFFFF"/>
          </a:solidFill>
          <a:ln>
            <a:noFill/>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HarmonyOS Sans SC"/>
              <a:cs typeface="+mn-cs"/>
            </a:endParaRPr>
          </a:p>
        </p:txBody>
      </p:sp>
      <p:sp>
        <p:nvSpPr>
          <p:cNvPr id="24" name="Freeform 101">
            <a:extLst>
              <a:ext uri="{FF2B5EF4-FFF2-40B4-BE49-F238E27FC236}">
                <a16:creationId xmlns:a16="http://schemas.microsoft.com/office/drawing/2014/main" id="{F20FFDF1-9930-424A-8185-2B432D75E56D}"/>
              </a:ext>
            </a:extLst>
          </p:cNvPr>
          <p:cNvSpPr>
            <a:spLocks noEditPoints="1"/>
          </p:cNvSpPr>
          <p:nvPr/>
        </p:nvSpPr>
        <p:spPr bwMode="auto">
          <a:xfrm>
            <a:off x="6781920" y="4990662"/>
            <a:ext cx="352185" cy="352185"/>
          </a:xfrm>
          <a:custGeom>
            <a:avLst/>
            <a:gdLst>
              <a:gd name="T0" fmla="*/ 498100 w 161"/>
              <a:gd name="T1" fmla="*/ 51495 h 160"/>
              <a:gd name="T2" fmla="*/ 375281 w 161"/>
              <a:gd name="T3" fmla="*/ 0 h 160"/>
              <a:gd name="T4" fmla="*/ 255873 w 161"/>
              <a:gd name="T5" fmla="*/ 51495 h 160"/>
              <a:gd name="T6" fmla="*/ 85291 w 161"/>
              <a:gd name="T7" fmla="*/ 219710 h 160"/>
              <a:gd name="T8" fmla="*/ 78468 w 161"/>
              <a:gd name="T9" fmla="*/ 236875 h 160"/>
              <a:gd name="T10" fmla="*/ 78468 w 161"/>
              <a:gd name="T11" fmla="*/ 442853 h 160"/>
              <a:gd name="T12" fmla="*/ 10235 w 161"/>
              <a:gd name="T13" fmla="*/ 511512 h 160"/>
              <a:gd name="T14" fmla="*/ 10235 w 161"/>
              <a:gd name="T15" fmla="*/ 542409 h 160"/>
              <a:gd name="T16" fmla="*/ 23882 w 161"/>
              <a:gd name="T17" fmla="*/ 549275 h 160"/>
              <a:gd name="T18" fmla="*/ 40940 w 161"/>
              <a:gd name="T19" fmla="*/ 542409 h 160"/>
              <a:gd name="T20" fmla="*/ 109173 w 161"/>
              <a:gd name="T21" fmla="*/ 473750 h 160"/>
              <a:gd name="T22" fmla="*/ 313871 w 161"/>
              <a:gd name="T23" fmla="*/ 473750 h 160"/>
              <a:gd name="T24" fmla="*/ 330930 w 161"/>
              <a:gd name="T25" fmla="*/ 466884 h 160"/>
              <a:gd name="T26" fmla="*/ 498100 w 161"/>
              <a:gd name="T27" fmla="*/ 295235 h 160"/>
              <a:gd name="T28" fmla="*/ 549275 w 161"/>
              <a:gd name="T29" fmla="*/ 175081 h 160"/>
              <a:gd name="T30" fmla="*/ 498100 w 161"/>
              <a:gd name="T31" fmla="*/ 51495 h 160"/>
              <a:gd name="T32" fmla="*/ 303636 w 161"/>
              <a:gd name="T33" fmla="*/ 429121 h 160"/>
              <a:gd name="T34" fmla="*/ 153524 w 161"/>
              <a:gd name="T35" fmla="*/ 429121 h 160"/>
              <a:gd name="T36" fmla="*/ 211522 w 161"/>
              <a:gd name="T37" fmla="*/ 374194 h 160"/>
              <a:gd name="T38" fmla="*/ 361634 w 161"/>
              <a:gd name="T39" fmla="*/ 374194 h 160"/>
              <a:gd name="T40" fmla="*/ 303636 w 161"/>
              <a:gd name="T41" fmla="*/ 429121 h 160"/>
              <a:gd name="T42" fmla="*/ 467395 w 161"/>
              <a:gd name="T43" fmla="*/ 264339 h 160"/>
              <a:gd name="T44" fmla="*/ 467395 w 161"/>
              <a:gd name="T45" fmla="*/ 264339 h 160"/>
              <a:gd name="T46" fmla="*/ 405986 w 161"/>
              <a:gd name="T47" fmla="*/ 329565 h 160"/>
              <a:gd name="T48" fmla="*/ 402574 w 161"/>
              <a:gd name="T49" fmla="*/ 329565 h 160"/>
              <a:gd name="T50" fmla="*/ 255873 w 161"/>
              <a:gd name="T51" fmla="*/ 329565 h 160"/>
              <a:gd name="T52" fmla="*/ 392339 w 161"/>
              <a:gd name="T53" fmla="*/ 188813 h 160"/>
              <a:gd name="T54" fmla="*/ 392339 w 161"/>
              <a:gd name="T55" fmla="*/ 157917 h 160"/>
              <a:gd name="T56" fmla="*/ 361634 w 161"/>
              <a:gd name="T57" fmla="*/ 157917 h 160"/>
              <a:gd name="T58" fmla="*/ 184229 w 161"/>
              <a:gd name="T59" fmla="*/ 332998 h 160"/>
              <a:gd name="T60" fmla="*/ 184229 w 161"/>
              <a:gd name="T61" fmla="*/ 336431 h 160"/>
              <a:gd name="T62" fmla="*/ 122819 w 161"/>
              <a:gd name="T63" fmla="*/ 398224 h 160"/>
              <a:gd name="T64" fmla="*/ 122819 w 161"/>
              <a:gd name="T65" fmla="*/ 247174 h 160"/>
              <a:gd name="T66" fmla="*/ 286578 w 161"/>
              <a:gd name="T67" fmla="*/ 82391 h 160"/>
              <a:gd name="T68" fmla="*/ 375281 w 161"/>
              <a:gd name="T69" fmla="*/ 44629 h 160"/>
              <a:gd name="T70" fmla="*/ 467395 w 161"/>
              <a:gd name="T71" fmla="*/ 82391 h 160"/>
              <a:gd name="T72" fmla="*/ 504924 w 161"/>
              <a:gd name="T73" fmla="*/ 175081 h 160"/>
              <a:gd name="T74" fmla="*/ 467395 w 161"/>
              <a:gd name="T75" fmla="*/ 264339 h 160"/>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161" h="160">
                <a:moveTo>
                  <a:pt x="146" y="15"/>
                </a:moveTo>
                <a:cubicBezTo>
                  <a:pt x="137" y="5"/>
                  <a:pt x="124" y="0"/>
                  <a:pt x="110" y="0"/>
                </a:cubicBezTo>
                <a:cubicBezTo>
                  <a:pt x="97" y="0"/>
                  <a:pt x="84" y="5"/>
                  <a:pt x="75" y="15"/>
                </a:cubicBezTo>
                <a:cubicBezTo>
                  <a:pt x="25" y="64"/>
                  <a:pt x="25" y="64"/>
                  <a:pt x="25" y="64"/>
                </a:cubicBezTo>
                <a:cubicBezTo>
                  <a:pt x="24" y="66"/>
                  <a:pt x="23" y="67"/>
                  <a:pt x="23" y="69"/>
                </a:cubicBezTo>
                <a:cubicBezTo>
                  <a:pt x="23" y="129"/>
                  <a:pt x="23" y="129"/>
                  <a:pt x="23" y="129"/>
                </a:cubicBezTo>
                <a:cubicBezTo>
                  <a:pt x="3" y="149"/>
                  <a:pt x="3" y="149"/>
                  <a:pt x="3" y="149"/>
                </a:cubicBezTo>
                <a:cubicBezTo>
                  <a:pt x="0" y="151"/>
                  <a:pt x="0" y="156"/>
                  <a:pt x="3" y="158"/>
                </a:cubicBezTo>
                <a:cubicBezTo>
                  <a:pt x="4" y="159"/>
                  <a:pt x="6" y="160"/>
                  <a:pt x="7" y="160"/>
                </a:cubicBezTo>
                <a:cubicBezTo>
                  <a:pt x="9" y="160"/>
                  <a:pt x="11" y="159"/>
                  <a:pt x="12" y="158"/>
                </a:cubicBezTo>
                <a:cubicBezTo>
                  <a:pt x="32" y="138"/>
                  <a:pt x="32" y="138"/>
                  <a:pt x="32" y="138"/>
                </a:cubicBezTo>
                <a:cubicBezTo>
                  <a:pt x="92" y="138"/>
                  <a:pt x="92" y="138"/>
                  <a:pt x="92" y="138"/>
                </a:cubicBezTo>
                <a:cubicBezTo>
                  <a:pt x="94" y="138"/>
                  <a:pt x="95" y="137"/>
                  <a:pt x="97" y="136"/>
                </a:cubicBezTo>
                <a:cubicBezTo>
                  <a:pt x="146" y="86"/>
                  <a:pt x="146" y="86"/>
                  <a:pt x="146" y="86"/>
                </a:cubicBezTo>
                <a:cubicBezTo>
                  <a:pt x="156" y="77"/>
                  <a:pt x="161" y="64"/>
                  <a:pt x="161" y="51"/>
                </a:cubicBezTo>
                <a:cubicBezTo>
                  <a:pt x="161" y="37"/>
                  <a:pt x="156" y="24"/>
                  <a:pt x="146" y="15"/>
                </a:cubicBezTo>
                <a:close/>
                <a:moveTo>
                  <a:pt x="89" y="125"/>
                </a:moveTo>
                <a:cubicBezTo>
                  <a:pt x="45" y="125"/>
                  <a:pt x="45" y="125"/>
                  <a:pt x="45" y="125"/>
                </a:cubicBezTo>
                <a:cubicBezTo>
                  <a:pt x="62" y="109"/>
                  <a:pt x="62" y="109"/>
                  <a:pt x="62" y="109"/>
                </a:cubicBezTo>
                <a:cubicBezTo>
                  <a:pt x="106" y="109"/>
                  <a:pt x="106" y="109"/>
                  <a:pt x="106" y="109"/>
                </a:cubicBezTo>
                <a:lnTo>
                  <a:pt x="89" y="125"/>
                </a:lnTo>
                <a:close/>
                <a:moveTo>
                  <a:pt x="137" y="77"/>
                </a:moveTo>
                <a:cubicBezTo>
                  <a:pt x="137" y="77"/>
                  <a:pt x="137" y="77"/>
                  <a:pt x="137" y="77"/>
                </a:cubicBezTo>
                <a:cubicBezTo>
                  <a:pt x="119" y="96"/>
                  <a:pt x="119" y="96"/>
                  <a:pt x="119" y="96"/>
                </a:cubicBezTo>
                <a:cubicBezTo>
                  <a:pt x="118" y="96"/>
                  <a:pt x="118" y="96"/>
                  <a:pt x="118" y="96"/>
                </a:cubicBezTo>
                <a:cubicBezTo>
                  <a:pt x="75" y="96"/>
                  <a:pt x="75" y="96"/>
                  <a:pt x="75" y="96"/>
                </a:cubicBezTo>
                <a:cubicBezTo>
                  <a:pt x="115" y="55"/>
                  <a:pt x="115" y="55"/>
                  <a:pt x="115" y="55"/>
                </a:cubicBezTo>
                <a:cubicBezTo>
                  <a:pt x="117" y="53"/>
                  <a:pt x="117" y="49"/>
                  <a:pt x="115" y="46"/>
                </a:cubicBezTo>
                <a:cubicBezTo>
                  <a:pt x="112" y="44"/>
                  <a:pt x="108" y="44"/>
                  <a:pt x="106" y="46"/>
                </a:cubicBezTo>
                <a:cubicBezTo>
                  <a:pt x="54" y="97"/>
                  <a:pt x="54" y="97"/>
                  <a:pt x="54" y="97"/>
                </a:cubicBezTo>
                <a:cubicBezTo>
                  <a:pt x="54" y="98"/>
                  <a:pt x="54" y="98"/>
                  <a:pt x="54" y="98"/>
                </a:cubicBezTo>
                <a:cubicBezTo>
                  <a:pt x="36" y="116"/>
                  <a:pt x="36" y="116"/>
                  <a:pt x="36" y="116"/>
                </a:cubicBezTo>
                <a:cubicBezTo>
                  <a:pt x="36" y="72"/>
                  <a:pt x="36" y="72"/>
                  <a:pt x="36" y="72"/>
                </a:cubicBezTo>
                <a:cubicBezTo>
                  <a:pt x="84" y="24"/>
                  <a:pt x="84" y="24"/>
                  <a:pt x="84" y="24"/>
                </a:cubicBezTo>
                <a:cubicBezTo>
                  <a:pt x="91" y="17"/>
                  <a:pt x="100" y="13"/>
                  <a:pt x="110" y="13"/>
                </a:cubicBezTo>
                <a:cubicBezTo>
                  <a:pt x="120" y="13"/>
                  <a:pt x="130" y="17"/>
                  <a:pt x="137" y="24"/>
                </a:cubicBezTo>
                <a:cubicBezTo>
                  <a:pt x="144" y="31"/>
                  <a:pt x="148" y="41"/>
                  <a:pt x="148" y="51"/>
                </a:cubicBezTo>
                <a:cubicBezTo>
                  <a:pt x="148" y="61"/>
                  <a:pt x="144" y="70"/>
                  <a:pt x="137" y="77"/>
                </a:cubicBezTo>
                <a:close/>
              </a:path>
            </a:pathLst>
          </a:custGeom>
          <a:solidFill>
            <a:srgbClr val="FFFFFF"/>
          </a:solidFill>
          <a:ln>
            <a:noFill/>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25" name="Freeform 74">
            <a:extLst>
              <a:ext uri="{FF2B5EF4-FFF2-40B4-BE49-F238E27FC236}">
                <a16:creationId xmlns:a16="http://schemas.microsoft.com/office/drawing/2014/main" id="{5F00741D-A1F6-492C-B20B-1EFC73188F14}"/>
              </a:ext>
            </a:extLst>
          </p:cNvPr>
          <p:cNvSpPr>
            <a:spLocks noEditPoints="1"/>
          </p:cNvSpPr>
          <p:nvPr/>
        </p:nvSpPr>
        <p:spPr bwMode="auto">
          <a:xfrm>
            <a:off x="7119010" y="3033713"/>
            <a:ext cx="248577" cy="373944"/>
          </a:xfrm>
          <a:custGeom>
            <a:avLst/>
            <a:gdLst>
              <a:gd name="T0" fmla="*/ 180856 w 107"/>
              <a:gd name="T1" fmla="*/ 367328 h 160"/>
              <a:gd name="T2" fmla="*/ 272991 w 107"/>
              <a:gd name="T3" fmla="*/ 274638 h 160"/>
              <a:gd name="T4" fmla="*/ 272991 w 107"/>
              <a:gd name="T5" fmla="*/ 92690 h 160"/>
              <a:gd name="T6" fmla="*/ 180856 w 107"/>
              <a:gd name="T7" fmla="*/ 0 h 160"/>
              <a:gd name="T8" fmla="*/ 92134 w 107"/>
              <a:gd name="T9" fmla="*/ 92690 h 160"/>
              <a:gd name="T10" fmla="*/ 92134 w 107"/>
              <a:gd name="T11" fmla="*/ 274638 h 160"/>
              <a:gd name="T12" fmla="*/ 180856 w 107"/>
              <a:gd name="T13" fmla="*/ 367328 h 160"/>
              <a:gd name="T14" fmla="*/ 136495 w 107"/>
              <a:gd name="T15" fmla="*/ 92690 h 160"/>
              <a:gd name="T16" fmla="*/ 180856 w 107"/>
              <a:gd name="T17" fmla="*/ 44629 h 160"/>
              <a:gd name="T18" fmla="*/ 228630 w 107"/>
              <a:gd name="T19" fmla="*/ 92690 h 160"/>
              <a:gd name="T20" fmla="*/ 228630 w 107"/>
              <a:gd name="T21" fmla="*/ 274638 h 160"/>
              <a:gd name="T22" fmla="*/ 180856 w 107"/>
              <a:gd name="T23" fmla="*/ 322699 h 160"/>
              <a:gd name="T24" fmla="*/ 136495 w 107"/>
              <a:gd name="T25" fmla="*/ 274638 h 160"/>
              <a:gd name="T26" fmla="*/ 136495 w 107"/>
              <a:gd name="T27" fmla="*/ 92690 h 160"/>
              <a:gd name="T28" fmla="*/ 365125 w 107"/>
              <a:gd name="T29" fmla="*/ 230009 h 160"/>
              <a:gd name="T30" fmla="*/ 365125 w 107"/>
              <a:gd name="T31" fmla="*/ 274638 h 160"/>
              <a:gd name="T32" fmla="*/ 204743 w 107"/>
              <a:gd name="T33" fmla="*/ 456585 h 160"/>
              <a:gd name="T34" fmla="*/ 204743 w 107"/>
              <a:gd name="T35" fmla="*/ 504646 h 160"/>
              <a:gd name="T36" fmla="*/ 272991 w 107"/>
              <a:gd name="T37" fmla="*/ 504646 h 160"/>
              <a:gd name="T38" fmla="*/ 293465 w 107"/>
              <a:gd name="T39" fmla="*/ 528677 h 160"/>
              <a:gd name="T40" fmla="*/ 272991 w 107"/>
              <a:gd name="T41" fmla="*/ 549275 h 160"/>
              <a:gd name="T42" fmla="*/ 92134 w 107"/>
              <a:gd name="T43" fmla="*/ 549275 h 160"/>
              <a:gd name="T44" fmla="*/ 68248 w 107"/>
              <a:gd name="T45" fmla="*/ 528677 h 160"/>
              <a:gd name="T46" fmla="*/ 92134 w 107"/>
              <a:gd name="T47" fmla="*/ 504646 h 160"/>
              <a:gd name="T48" fmla="*/ 160382 w 107"/>
              <a:gd name="T49" fmla="*/ 504646 h 160"/>
              <a:gd name="T50" fmla="*/ 160382 w 107"/>
              <a:gd name="T51" fmla="*/ 456585 h 160"/>
              <a:gd name="T52" fmla="*/ 0 w 107"/>
              <a:gd name="T53" fmla="*/ 274638 h 160"/>
              <a:gd name="T54" fmla="*/ 0 w 107"/>
              <a:gd name="T55" fmla="*/ 230009 h 160"/>
              <a:gd name="T56" fmla="*/ 20474 w 107"/>
              <a:gd name="T57" fmla="*/ 205978 h 160"/>
              <a:gd name="T58" fmla="*/ 44361 w 107"/>
              <a:gd name="T59" fmla="*/ 230009 h 160"/>
              <a:gd name="T60" fmla="*/ 44361 w 107"/>
              <a:gd name="T61" fmla="*/ 274638 h 160"/>
              <a:gd name="T62" fmla="*/ 180856 w 107"/>
              <a:gd name="T63" fmla="*/ 411956 h 160"/>
              <a:gd name="T64" fmla="*/ 320764 w 107"/>
              <a:gd name="T65" fmla="*/ 274638 h 160"/>
              <a:gd name="T66" fmla="*/ 320764 w 107"/>
              <a:gd name="T67" fmla="*/ 230009 h 160"/>
              <a:gd name="T68" fmla="*/ 341238 w 107"/>
              <a:gd name="T69" fmla="*/ 205978 h 160"/>
              <a:gd name="T70" fmla="*/ 365125 w 107"/>
              <a:gd name="T71" fmla="*/ 230009 h 160"/>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107" h="160">
                <a:moveTo>
                  <a:pt x="53" y="107"/>
                </a:moveTo>
                <a:cubicBezTo>
                  <a:pt x="68" y="107"/>
                  <a:pt x="80" y="95"/>
                  <a:pt x="80" y="80"/>
                </a:cubicBezTo>
                <a:cubicBezTo>
                  <a:pt x="80" y="27"/>
                  <a:pt x="80" y="27"/>
                  <a:pt x="80" y="27"/>
                </a:cubicBezTo>
                <a:cubicBezTo>
                  <a:pt x="80" y="12"/>
                  <a:pt x="68" y="0"/>
                  <a:pt x="53" y="0"/>
                </a:cubicBezTo>
                <a:cubicBezTo>
                  <a:pt x="39" y="0"/>
                  <a:pt x="27" y="12"/>
                  <a:pt x="27" y="27"/>
                </a:cubicBezTo>
                <a:cubicBezTo>
                  <a:pt x="27" y="80"/>
                  <a:pt x="27" y="80"/>
                  <a:pt x="27" y="80"/>
                </a:cubicBezTo>
                <a:cubicBezTo>
                  <a:pt x="27" y="95"/>
                  <a:pt x="39" y="107"/>
                  <a:pt x="53" y="107"/>
                </a:cubicBezTo>
                <a:close/>
                <a:moveTo>
                  <a:pt x="40" y="27"/>
                </a:moveTo>
                <a:cubicBezTo>
                  <a:pt x="40" y="19"/>
                  <a:pt x="46" y="13"/>
                  <a:pt x="53" y="13"/>
                </a:cubicBezTo>
                <a:cubicBezTo>
                  <a:pt x="61" y="13"/>
                  <a:pt x="67" y="19"/>
                  <a:pt x="67" y="27"/>
                </a:cubicBezTo>
                <a:cubicBezTo>
                  <a:pt x="67" y="80"/>
                  <a:pt x="67" y="80"/>
                  <a:pt x="67" y="80"/>
                </a:cubicBezTo>
                <a:cubicBezTo>
                  <a:pt x="67" y="87"/>
                  <a:pt x="61" y="94"/>
                  <a:pt x="53" y="94"/>
                </a:cubicBezTo>
                <a:cubicBezTo>
                  <a:pt x="46" y="94"/>
                  <a:pt x="40" y="87"/>
                  <a:pt x="40" y="80"/>
                </a:cubicBezTo>
                <a:lnTo>
                  <a:pt x="40" y="27"/>
                </a:lnTo>
                <a:close/>
                <a:moveTo>
                  <a:pt x="107" y="67"/>
                </a:moveTo>
                <a:cubicBezTo>
                  <a:pt x="107" y="80"/>
                  <a:pt x="107" y="80"/>
                  <a:pt x="107" y="80"/>
                </a:cubicBezTo>
                <a:cubicBezTo>
                  <a:pt x="107" y="107"/>
                  <a:pt x="86" y="130"/>
                  <a:pt x="60" y="133"/>
                </a:cubicBezTo>
                <a:cubicBezTo>
                  <a:pt x="60" y="147"/>
                  <a:pt x="60" y="147"/>
                  <a:pt x="60" y="147"/>
                </a:cubicBezTo>
                <a:cubicBezTo>
                  <a:pt x="80" y="147"/>
                  <a:pt x="80" y="147"/>
                  <a:pt x="80" y="147"/>
                </a:cubicBezTo>
                <a:cubicBezTo>
                  <a:pt x="84" y="147"/>
                  <a:pt x="86" y="150"/>
                  <a:pt x="86" y="154"/>
                </a:cubicBezTo>
                <a:cubicBezTo>
                  <a:pt x="86" y="157"/>
                  <a:pt x="84" y="160"/>
                  <a:pt x="80" y="160"/>
                </a:cubicBezTo>
                <a:cubicBezTo>
                  <a:pt x="27" y="160"/>
                  <a:pt x="27" y="160"/>
                  <a:pt x="27" y="160"/>
                </a:cubicBezTo>
                <a:cubicBezTo>
                  <a:pt x="23" y="160"/>
                  <a:pt x="20" y="157"/>
                  <a:pt x="20" y="154"/>
                </a:cubicBezTo>
                <a:cubicBezTo>
                  <a:pt x="20" y="150"/>
                  <a:pt x="23" y="147"/>
                  <a:pt x="27" y="147"/>
                </a:cubicBezTo>
                <a:cubicBezTo>
                  <a:pt x="47" y="147"/>
                  <a:pt x="47" y="147"/>
                  <a:pt x="47" y="147"/>
                </a:cubicBezTo>
                <a:cubicBezTo>
                  <a:pt x="47" y="133"/>
                  <a:pt x="47" y="133"/>
                  <a:pt x="47" y="133"/>
                </a:cubicBezTo>
                <a:cubicBezTo>
                  <a:pt x="20" y="130"/>
                  <a:pt x="0" y="107"/>
                  <a:pt x="0" y="80"/>
                </a:cubicBezTo>
                <a:cubicBezTo>
                  <a:pt x="0" y="67"/>
                  <a:pt x="0" y="67"/>
                  <a:pt x="0" y="67"/>
                </a:cubicBezTo>
                <a:cubicBezTo>
                  <a:pt x="0" y="63"/>
                  <a:pt x="3" y="60"/>
                  <a:pt x="6" y="60"/>
                </a:cubicBezTo>
                <a:cubicBezTo>
                  <a:pt x="10" y="60"/>
                  <a:pt x="13" y="63"/>
                  <a:pt x="13" y="67"/>
                </a:cubicBezTo>
                <a:cubicBezTo>
                  <a:pt x="13" y="80"/>
                  <a:pt x="13" y="80"/>
                  <a:pt x="13" y="80"/>
                </a:cubicBezTo>
                <a:cubicBezTo>
                  <a:pt x="13" y="102"/>
                  <a:pt x="31" y="120"/>
                  <a:pt x="53" y="120"/>
                </a:cubicBezTo>
                <a:cubicBezTo>
                  <a:pt x="75" y="120"/>
                  <a:pt x="94" y="102"/>
                  <a:pt x="94" y="80"/>
                </a:cubicBezTo>
                <a:cubicBezTo>
                  <a:pt x="94" y="67"/>
                  <a:pt x="94" y="67"/>
                  <a:pt x="94" y="67"/>
                </a:cubicBezTo>
                <a:cubicBezTo>
                  <a:pt x="94" y="63"/>
                  <a:pt x="96" y="60"/>
                  <a:pt x="100" y="60"/>
                </a:cubicBezTo>
                <a:cubicBezTo>
                  <a:pt x="104" y="60"/>
                  <a:pt x="107" y="63"/>
                  <a:pt x="107" y="67"/>
                </a:cubicBezTo>
                <a:close/>
              </a:path>
            </a:pathLst>
          </a:custGeom>
          <a:solidFill>
            <a:srgbClr val="FFFFFF"/>
          </a:solidFill>
          <a:ln>
            <a:noFill/>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26" name="Freeform 26">
            <a:extLst>
              <a:ext uri="{FF2B5EF4-FFF2-40B4-BE49-F238E27FC236}">
                <a16:creationId xmlns:a16="http://schemas.microsoft.com/office/drawing/2014/main" id="{B74A9F8D-52E8-4889-8447-BBF05B27C646}"/>
              </a:ext>
            </a:extLst>
          </p:cNvPr>
          <p:cNvSpPr>
            <a:spLocks noEditPoints="1"/>
          </p:cNvSpPr>
          <p:nvPr/>
        </p:nvSpPr>
        <p:spPr bwMode="auto">
          <a:xfrm>
            <a:off x="5016179" y="2856810"/>
            <a:ext cx="338593" cy="376698"/>
          </a:xfrm>
          <a:custGeom>
            <a:avLst/>
            <a:gdLst>
              <a:gd name="T0" fmla="*/ 473283 w 145"/>
              <a:gd name="T1" fmla="*/ 99556 h 160"/>
              <a:gd name="T2" fmla="*/ 371136 w 145"/>
              <a:gd name="T3" fmla="*/ 99556 h 160"/>
              <a:gd name="T4" fmla="*/ 371136 w 145"/>
              <a:gd name="T5" fmla="*/ 72092 h 160"/>
              <a:gd name="T6" fmla="*/ 296228 w 145"/>
              <a:gd name="T7" fmla="*/ 0 h 160"/>
              <a:gd name="T8" fmla="*/ 197485 w 145"/>
              <a:gd name="T9" fmla="*/ 0 h 160"/>
              <a:gd name="T10" fmla="*/ 125982 w 145"/>
              <a:gd name="T11" fmla="*/ 72092 h 160"/>
              <a:gd name="T12" fmla="*/ 125982 w 145"/>
              <a:gd name="T13" fmla="*/ 99556 h 160"/>
              <a:gd name="T14" fmla="*/ 20430 w 145"/>
              <a:gd name="T15" fmla="*/ 99556 h 160"/>
              <a:gd name="T16" fmla="*/ 0 w 145"/>
              <a:gd name="T17" fmla="*/ 123587 h 160"/>
              <a:gd name="T18" fmla="*/ 20430 w 145"/>
              <a:gd name="T19" fmla="*/ 144185 h 160"/>
              <a:gd name="T20" fmla="*/ 51074 w 145"/>
              <a:gd name="T21" fmla="*/ 144185 h 160"/>
              <a:gd name="T22" fmla="*/ 51074 w 145"/>
              <a:gd name="T23" fmla="*/ 477183 h 160"/>
              <a:gd name="T24" fmla="*/ 122577 w 145"/>
              <a:gd name="T25" fmla="*/ 549275 h 160"/>
              <a:gd name="T26" fmla="*/ 371136 w 145"/>
              <a:gd name="T27" fmla="*/ 549275 h 160"/>
              <a:gd name="T28" fmla="*/ 446044 w 145"/>
              <a:gd name="T29" fmla="*/ 477183 h 160"/>
              <a:gd name="T30" fmla="*/ 446044 w 145"/>
              <a:gd name="T31" fmla="*/ 144185 h 160"/>
              <a:gd name="T32" fmla="*/ 473283 w 145"/>
              <a:gd name="T33" fmla="*/ 144185 h 160"/>
              <a:gd name="T34" fmla="*/ 493713 w 145"/>
              <a:gd name="T35" fmla="*/ 123587 h 160"/>
              <a:gd name="T36" fmla="*/ 473283 w 145"/>
              <a:gd name="T37" fmla="*/ 99556 h 160"/>
              <a:gd name="T38" fmla="*/ 170246 w 145"/>
              <a:gd name="T39" fmla="*/ 72092 h 160"/>
              <a:gd name="T40" fmla="*/ 197485 w 145"/>
              <a:gd name="T41" fmla="*/ 44629 h 160"/>
              <a:gd name="T42" fmla="*/ 296228 w 145"/>
              <a:gd name="T43" fmla="*/ 44629 h 160"/>
              <a:gd name="T44" fmla="*/ 326872 w 145"/>
              <a:gd name="T45" fmla="*/ 72092 h 160"/>
              <a:gd name="T46" fmla="*/ 326872 w 145"/>
              <a:gd name="T47" fmla="*/ 99556 h 160"/>
              <a:gd name="T48" fmla="*/ 170246 w 145"/>
              <a:gd name="T49" fmla="*/ 99556 h 160"/>
              <a:gd name="T50" fmla="*/ 170246 w 145"/>
              <a:gd name="T51" fmla="*/ 72092 h 160"/>
              <a:gd name="T52" fmla="*/ 401780 w 145"/>
              <a:gd name="T53" fmla="*/ 477183 h 160"/>
              <a:gd name="T54" fmla="*/ 371136 w 145"/>
              <a:gd name="T55" fmla="*/ 504646 h 160"/>
              <a:gd name="T56" fmla="*/ 122577 w 145"/>
              <a:gd name="T57" fmla="*/ 504646 h 160"/>
              <a:gd name="T58" fmla="*/ 95338 w 145"/>
              <a:gd name="T59" fmla="*/ 477183 h 160"/>
              <a:gd name="T60" fmla="*/ 95338 w 145"/>
              <a:gd name="T61" fmla="*/ 144185 h 160"/>
              <a:gd name="T62" fmla="*/ 401780 w 145"/>
              <a:gd name="T63" fmla="*/ 144185 h 160"/>
              <a:gd name="T64" fmla="*/ 401780 w 145"/>
              <a:gd name="T65" fmla="*/ 477183 h 160"/>
              <a:gd name="T66" fmla="*/ 217915 w 145"/>
              <a:gd name="T67" fmla="*/ 250607 h 160"/>
              <a:gd name="T68" fmla="*/ 217915 w 145"/>
              <a:gd name="T69" fmla="*/ 401657 h 160"/>
              <a:gd name="T70" fmla="*/ 197485 w 145"/>
              <a:gd name="T71" fmla="*/ 422255 h 160"/>
              <a:gd name="T72" fmla="*/ 173651 w 145"/>
              <a:gd name="T73" fmla="*/ 401657 h 160"/>
              <a:gd name="T74" fmla="*/ 173651 w 145"/>
              <a:gd name="T75" fmla="*/ 250607 h 160"/>
              <a:gd name="T76" fmla="*/ 197485 w 145"/>
              <a:gd name="T77" fmla="*/ 226576 h 160"/>
              <a:gd name="T78" fmla="*/ 217915 w 145"/>
              <a:gd name="T79" fmla="*/ 250607 h 160"/>
              <a:gd name="T80" fmla="*/ 320062 w 145"/>
              <a:gd name="T81" fmla="*/ 250607 h 160"/>
              <a:gd name="T82" fmla="*/ 320062 w 145"/>
              <a:gd name="T83" fmla="*/ 401657 h 160"/>
              <a:gd name="T84" fmla="*/ 296228 w 145"/>
              <a:gd name="T85" fmla="*/ 422255 h 160"/>
              <a:gd name="T86" fmla="*/ 275798 w 145"/>
              <a:gd name="T87" fmla="*/ 401657 h 160"/>
              <a:gd name="T88" fmla="*/ 275798 w 145"/>
              <a:gd name="T89" fmla="*/ 250607 h 160"/>
              <a:gd name="T90" fmla="*/ 296228 w 145"/>
              <a:gd name="T91" fmla="*/ 226576 h 160"/>
              <a:gd name="T92" fmla="*/ 320062 w 145"/>
              <a:gd name="T93" fmla="*/ 250607 h 160"/>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145" h="160">
                <a:moveTo>
                  <a:pt x="139" y="29"/>
                </a:moveTo>
                <a:cubicBezTo>
                  <a:pt x="109" y="29"/>
                  <a:pt x="109" y="29"/>
                  <a:pt x="109" y="29"/>
                </a:cubicBezTo>
                <a:cubicBezTo>
                  <a:pt x="109" y="21"/>
                  <a:pt x="109" y="21"/>
                  <a:pt x="109" y="21"/>
                </a:cubicBezTo>
                <a:cubicBezTo>
                  <a:pt x="109" y="9"/>
                  <a:pt x="99" y="0"/>
                  <a:pt x="87" y="0"/>
                </a:cubicBezTo>
                <a:cubicBezTo>
                  <a:pt x="58" y="0"/>
                  <a:pt x="58" y="0"/>
                  <a:pt x="58" y="0"/>
                </a:cubicBezTo>
                <a:cubicBezTo>
                  <a:pt x="46" y="0"/>
                  <a:pt x="37" y="9"/>
                  <a:pt x="37" y="21"/>
                </a:cubicBezTo>
                <a:cubicBezTo>
                  <a:pt x="37" y="29"/>
                  <a:pt x="37" y="29"/>
                  <a:pt x="37" y="29"/>
                </a:cubicBezTo>
                <a:cubicBezTo>
                  <a:pt x="6" y="29"/>
                  <a:pt x="6" y="29"/>
                  <a:pt x="6" y="29"/>
                </a:cubicBezTo>
                <a:cubicBezTo>
                  <a:pt x="3" y="29"/>
                  <a:pt x="0" y="32"/>
                  <a:pt x="0" y="36"/>
                </a:cubicBezTo>
                <a:cubicBezTo>
                  <a:pt x="0" y="39"/>
                  <a:pt x="3" y="42"/>
                  <a:pt x="6" y="42"/>
                </a:cubicBezTo>
                <a:cubicBezTo>
                  <a:pt x="15" y="42"/>
                  <a:pt x="15" y="42"/>
                  <a:pt x="15" y="42"/>
                </a:cubicBezTo>
                <a:cubicBezTo>
                  <a:pt x="15" y="139"/>
                  <a:pt x="15" y="139"/>
                  <a:pt x="15" y="139"/>
                </a:cubicBezTo>
                <a:cubicBezTo>
                  <a:pt x="15" y="151"/>
                  <a:pt x="24" y="160"/>
                  <a:pt x="36" y="160"/>
                </a:cubicBezTo>
                <a:cubicBezTo>
                  <a:pt x="109" y="160"/>
                  <a:pt x="109" y="160"/>
                  <a:pt x="109" y="160"/>
                </a:cubicBezTo>
                <a:cubicBezTo>
                  <a:pt x="121" y="160"/>
                  <a:pt x="131" y="151"/>
                  <a:pt x="131" y="139"/>
                </a:cubicBezTo>
                <a:cubicBezTo>
                  <a:pt x="131" y="42"/>
                  <a:pt x="131" y="42"/>
                  <a:pt x="131" y="42"/>
                </a:cubicBezTo>
                <a:cubicBezTo>
                  <a:pt x="139" y="42"/>
                  <a:pt x="139" y="42"/>
                  <a:pt x="139" y="42"/>
                </a:cubicBezTo>
                <a:cubicBezTo>
                  <a:pt x="142" y="42"/>
                  <a:pt x="145" y="39"/>
                  <a:pt x="145" y="36"/>
                </a:cubicBezTo>
                <a:cubicBezTo>
                  <a:pt x="145" y="32"/>
                  <a:pt x="142" y="29"/>
                  <a:pt x="139" y="29"/>
                </a:cubicBezTo>
                <a:close/>
                <a:moveTo>
                  <a:pt x="50" y="21"/>
                </a:moveTo>
                <a:cubicBezTo>
                  <a:pt x="50" y="17"/>
                  <a:pt x="53" y="13"/>
                  <a:pt x="58" y="13"/>
                </a:cubicBezTo>
                <a:cubicBezTo>
                  <a:pt x="87" y="13"/>
                  <a:pt x="87" y="13"/>
                  <a:pt x="87" y="13"/>
                </a:cubicBezTo>
                <a:cubicBezTo>
                  <a:pt x="92" y="13"/>
                  <a:pt x="96" y="17"/>
                  <a:pt x="96" y="21"/>
                </a:cubicBezTo>
                <a:cubicBezTo>
                  <a:pt x="96" y="29"/>
                  <a:pt x="96" y="29"/>
                  <a:pt x="96" y="29"/>
                </a:cubicBezTo>
                <a:cubicBezTo>
                  <a:pt x="50" y="29"/>
                  <a:pt x="50" y="29"/>
                  <a:pt x="50" y="29"/>
                </a:cubicBezTo>
                <a:lnTo>
                  <a:pt x="50" y="21"/>
                </a:lnTo>
                <a:close/>
                <a:moveTo>
                  <a:pt x="118" y="139"/>
                </a:moveTo>
                <a:cubicBezTo>
                  <a:pt x="118" y="143"/>
                  <a:pt x="114" y="147"/>
                  <a:pt x="109" y="147"/>
                </a:cubicBezTo>
                <a:cubicBezTo>
                  <a:pt x="36" y="147"/>
                  <a:pt x="36" y="147"/>
                  <a:pt x="36" y="147"/>
                </a:cubicBezTo>
                <a:cubicBezTo>
                  <a:pt x="31" y="147"/>
                  <a:pt x="28" y="143"/>
                  <a:pt x="28" y="139"/>
                </a:cubicBezTo>
                <a:cubicBezTo>
                  <a:pt x="28" y="42"/>
                  <a:pt x="28" y="42"/>
                  <a:pt x="28" y="42"/>
                </a:cubicBezTo>
                <a:cubicBezTo>
                  <a:pt x="118" y="42"/>
                  <a:pt x="118" y="42"/>
                  <a:pt x="118" y="42"/>
                </a:cubicBezTo>
                <a:lnTo>
                  <a:pt x="118" y="139"/>
                </a:lnTo>
                <a:close/>
                <a:moveTo>
                  <a:pt x="64" y="73"/>
                </a:moveTo>
                <a:cubicBezTo>
                  <a:pt x="64" y="117"/>
                  <a:pt x="64" y="117"/>
                  <a:pt x="64" y="117"/>
                </a:cubicBezTo>
                <a:cubicBezTo>
                  <a:pt x="64" y="120"/>
                  <a:pt x="62" y="123"/>
                  <a:pt x="58" y="123"/>
                </a:cubicBezTo>
                <a:cubicBezTo>
                  <a:pt x="54" y="123"/>
                  <a:pt x="51" y="120"/>
                  <a:pt x="51" y="117"/>
                </a:cubicBezTo>
                <a:cubicBezTo>
                  <a:pt x="51" y="73"/>
                  <a:pt x="51" y="73"/>
                  <a:pt x="51" y="73"/>
                </a:cubicBezTo>
                <a:cubicBezTo>
                  <a:pt x="51" y="69"/>
                  <a:pt x="54" y="66"/>
                  <a:pt x="58" y="66"/>
                </a:cubicBezTo>
                <a:cubicBezTo>
                  <a:pt x="62" y="66"/>
                  <a:pt x="64" y="69"/>
                  <a:pt x="64" y="73"/>
                </a:cubicBezTo>
                <a:close/>
                <a:moveTo>
                  <a:pt x="94" y="73"/>
                </a:moveTo>
                <a:cubicBezTo>
                  <a:pt x="94" y="117"/>
                  <a:pt x="94" y="117"/>
                  <a:pt x="94" y="117"/>
                </a:cubicBezTo>
                <a:cubicBezTo>
                  <a:pt x="94" y="120"/>
                  <a:pt x="91" y="123"/>
                  <a:pt x="87" y="123"/>
                </a:cubicBezTo>
                <a:cubicBezTo>
                  <a:pt x="84" y="123"/>
                  <a:pt x="81" y="120"/>
                  <a:pt x="81" y="117"/>
                </a:cubicBezTo>
                <a:cubicBezTo>
                  <a:pt x="81" y="73"/>
                  <a:pt x="81" y="73"/>
                  <a:pt x="81" y="73"/>
                </a:cubicBezTo>
                <a:cubicBezTo>
                  <a:pt x="81" y="69"/>
                  <a:pt x="84" y="66"/>
                  <a:pt x="87" y="66"/>
                </a:cubicBezTo>
                <a:cubicBezTo>
                  <a:pt x="91" y="66"/>
                  <a:pt x="94" y="69"/>
                  <a:pt x="94" y="73"/>
                </a:cubicBezTo>
                <a:close/>
              </a:path>
            </a:pathLst>
          </a:custGeom>
          <a:solidFill>
            <a:srgbClr val="FFFFFF"/>
          </a:solidFill>
          <a:ln>
            <a:noFill/>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27" name="TextBox 55">
            <a:extLst>
              <a:ext uri="{FF2B5EF4-FFF2-40B4-BE49-F238E27FC236}">
                <a16:creationId xmlns:a16="http://schemas.microsoft.com/office/drawing/2014/main" id="{34A53E72-ABE3-4FFF-B96D-7D5D98773838}"/>
              </a:ext>
            </a:extLst>
          </p:cNvPr>
          <p:cNvSpPr txBox="1"/>
          <p:nvPr/>
        </p:nvSpPr>
        <p:spPr>
          <a:xfrm>
            <a:off x="5506231" y="3856674"/>
            <a:ext cx="1167638" cy="492443"/>
          </a:xfrm>
          <a:prstGeom prst="rect">
            <a:avLst/>
          </a:prstGeom>
          <a:noFill/>
        </p:spPr>
        <p:txBody>
          <a:bodyPr wrap="square" lIns="0" tIns="0" rIns="0" bIns="0" rtlCol="0">
            <a:spAutoFit/>
          </a:bodyPr>
          <a:lstStyle/>
          <a:p>
            <a:pPr marL="0" marR="0" lvl="0" indent="0" algn="ctr" defTabSz="457200" rtl="0" eaLnBrk="1" fontAlgn="base" latinLnBrk="0" hangingPunct="1">
              <a:lnSpc>
                <a:spcPct val="100000"/>
              </a:lnSpc>
              <a:spcBef>
                <a:spcPts val="1000"/>
              </a:spcBef>
              <a:spcAft>
                <a:spcPts val="0"/>
              </a:spcAft>
              <a:buClrTx/>
              <a:buSzTx/>
              <a:buFontTx/>
              <a:buNone/>
              <a:tabLst/>
              <a:defRPr/>
            </a:pPr>
            <a:r>
              <a:rPr kumimoji="0" lang="en-US" sz="1600" b="0" i="0" u="none" strike="noStrike" kern="1200" cap="none" spc="0" normalizeH="0" baseline="0" noProof="0" dirty="0">
                <a:ln>
                  <a:noFill/>
                </a:ln>
                <a:solidFill>
                  <a:prstClr val="black">
                    <a:lumMod val="75000"/>
                    <a:lumOff val="25000"/>
                  </a:prstClr>
                </a:solidFill>
                <a:effectLst/>
                <a:uLnTx/>
                <a:uFillTx/>
                <a:latin typeface="HarmonyOS Sans SC Black"/>
                <a:ea typeface="+mj-ea"/>
                <a:cs typeface="+mn-cs"/>
              </a:rPr>
              <a:t>Your title</a:t>
            </a:r>
            <a:br>
              <a:rPr kumimoji="0" lang="en-US" sz="1600" b="0" i="0" u="none" strike="noStrike" kern="1200" cap="none" spc="0" normalizeH="0" baseline="0" noProof="0" dirty="0">
                <a:ln>
                  <a:noFill/>
                </a:ln>
                <a:solidFill>
                  <a:prstClr val="black">
                    <a:lumMod val="75000"/>
                    <a:lumOff val="25000"/>
                  </a:prstClr>
                </a:solidFill>
                <a:effectLst/>
                <a:uLnTx/>
                <a:uFillTx/>
                <a:latin typeface="HarmonyOS Sans SC Black"/>
                <a:ea typeface="+mj-ea"/>
                <a:cs typeface="+mn-cs"/>
              </a:rPr>
            </a:br>
            <a:r>
              <a:rPr kumimoji="0" lang="en-US" sz="1600" b="0" i="0" u="none" strike="noStrike" kern="1200" cap="none" spc="0" normalizeH="0" baseline="0" noProof="0" dirty="0">
                <a:ln>
                  <a:noFill/>
                </a:ln>
                <a:solidFill>
                  <a:prstClr val="black">
                    <a:lumMod val="75000"/>
                    <a:lumOff val="25000"/>
                  </a:prstClr>
                </a:solidFill>
                <a:effectLst/>
                <a:uLnTx/>
                <a:uFillTx/>
                <a:latin typeface="HarmonyOS Sans SC Black"/>
                <a:ea typeface="+mj-ea"/>
                <a:cs typeface="+mn-cs"/>
              </a:rPr>
              <a:t>is here</a:t>
            </a:r>
          </a:p>
        </p:txBody>
      </p:sp>
      <p:sp>
        <p:nvSpPr>
          <p:cNvPr id="28" name="文本框 27">
            <a:extLst>
              <a:ext uri="{FF2B5EF4-FFF2-40B4-BE49-F238E27FC236}">
                <a16:creationId xmlns:a16="http://schemas.microsoft.com/office/drawing/2014/main" id="{2E59D244-98DD-4A73-BF73-B9E5750FF983}"/>
              </a:ext>
            </a:extLst>
          </p:cNvPr>
          <p:cNvSpPr txBox="1"/>
          <p:nvPr/>
        </p:nvSpPr>
        <p:spPr>
          <a:xfrm>
            <a:off x="4449556" y="918105"/>
            <a:ext cx="3292889" cy="52322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2800" b="0" i="0" u="none" strike="noStrike" kern="1200" cap="none" spc="0" normalizeH="0" baseline="0" noProof="0" dirty="0">
                <a:ln>
                  <a:noFill/>
                </a:ln>
                <a:solidFill>
                  <a:prstClr val="black"/>
                </a:solidFill>
                <a:effectLst/>
                <a:uLnTx/>
                <a:uFillTx/>
                <a:latin typeface="HarmonyOS Sans Black"/>
                <a:ea typeface="+mj-ea"/>
                <a:cs typeface="+mn-cs"/>
              </a:rPr>
              <a:t>Circle </a:t>
            </a:r>
            <a:r>
              <a:rPr kumimoji="0" lang="en-US" altLang="zh-CN" sz="2800" b="0" i="0" u="none" strike="noStrike" kern="1200" cap="none" spc="0" normalizeH="0" baseline="0" noProof="0" dirty="0">
                <a:ln>
                  <a:noFill/>
                </a:ln>
                <a:solidFill>
                  <a:schemeClr val="accent1"/>
                </a:solidFill>
                <a:effectLst/>
                <a:uLnTx/>
                <a:uFillTx/>
                <a:latin typeface="HarmonyOS Sans Black"/>
                <a:ea typeface="+mj-ea"/>
                <a:cs typeface="+mn-cs"/>
              </a:rPr>
              <a:t>infographic</a:t>
            </a:r>
          </a:p>
        </p:txBody>
      </p:sp>
      <p:grpSp>
        <p:nvGrpSpPr>
          <p:cNvPr id="40" name="组合 39">
            <a:extLst>
              <a:ext uri="{FF2B5EF4-FFF2-40B4-BE49-F238E27FC236}">
                <a16:creationId xmlns:a16="http://schemas.microsoft.com/office/drawing/2014/main" id="{58D7E771-AB93-47C3-B94C-2B1E07727CD4}"/>
              </a:ext>
            </a:extLst>
          </p:cNvPr>
          <p:cNvGrpSpPr/>
          <p:nvPr/>
        </p:nvGrpSpPr>
        <p:grpSpPr>
          <a:xfrm>
            <a:off x="976987" y="2692095"/>
            <a:ext cx="2668622" cy="2787957"/>
            <a:chOff x="911022" y="2382112"/>
            <a:chExt cx="2668622" cy="2787957"/>
          </a:xfrm>
        </p:grpSpPr>
        <p:sp>
          <p:nvSpPr>
            <p:cNvPr id="41" name="TextBox 65">
              <a:extLst>
                <a:ext uri="{FF2B5EF4-FFF2-40B4-BE49-F238E27FC236}">
                  <a16:creationId xmlns:a16="http://schemas.microsoft.com/office/drawing/2014/main" id="{AF1C9872-47B6-4994-B566-B0C899B14FF2}"/>
                </a:ext>
              </a:extLst>
            </p:cNvPr>
            <p:cNvSpPr txBox="1"/>
            <p:nvPr/>
          </p:nvSpPr>
          <p:spPr>
            <a:xfrm>
              <a:off x="1523383" y="2382112"/>
              <a:ext cx="2056261" cy="387598"/>
            </a:xfrm>
            <a:prstGeom prst="rect">
              <a:avLst/>
            </a:prstGeom>
            <a:noFill/>
          </p:spPr>
          <p:txBody>
            <a:bodyPr wrap="square" lIns="0" tIns="36000" rIns="0" bIns="36000" rtlCol="0">
              <a:spAutoFit/>
            </a:bodyPr>
            <a:lstStyle/>
            <a:p>
              <a:pPr marL="0" marR="0" lvl="0" indent="0" algn="r" defTabSz="914400" rtl="0" eaLnBrk="1" fontAlgn="auto" latinLnBrk="0" hangingPunct="1">
                <a:lnSpc>
                  <a:spcPct val="120000"/>
                </a:lnSpc>
                <a:spcBef>
                  <a:spcPts val="600"/>
                </a:spcBef>
                <a:spcAft>
                  <a:spcPts val="0"/>
                </a:spcAft>
                <a:buClrTx/>
                <a:buSzTx/>
                <a:buFontTx/>
                <a:buNone/>
                <a:tabLst/>
                <a:defRPr/>
              </a:pPr>
              <a:r>
                <a:rPr kumimoji="0" lang="zh-CN" altLang="en-US" sz="1800" b="0" i="0" u="none" strike="noStrike" kern="1200" cap="none" spc="0" normalizeH="0" baseline="0" noProof="0" dirty="0">
                  <a:ln>
                    <a:noFill/>
                  </a:ln>
                  <a:solidFill>
                    <a:schemeClr val="accent1"/>
                  </a:solidFill>
                  <a:effectLst/>
                  <a:uLnTx/>
                  <a:uFillTx/>
                  <a:latin typeface="HarmonyOS Sans SC Black"/>
                  <a:ea typeface="+mj-ea"/>
                  <a:cs typeface="+mn-cs"/>
                </a:rPr>
                <a:t>关键词标题</a:t>
              </a:r>
              <a:endParaRPr kumimoji="0" lang="en-US" sz="1800" b="0" i="0" u="none" strike="noStrike" kern="1200" cap="none" spc="0" normalizeH="0" baseline="0" noProof="0" dirty="0">
                <a:ln>
                  <a:noFill/>
                </a:ln>
                <a:solidFill>
                  <a:schemeClr val="accent1"/>
                </a:solidFill>
                <a:effectLst/>
                <a:uLnTx/>
                <a:uFillTx/>
                <a:latin typeface="HarmonyOS Sans SC Black"/>
                <a:ea typeface="+mj-ea"/>
                <a:cs typeface="+mn-cs"/>
              </a:endParaRPr>
            </a:p>
          </p:txBody>
        </p:sp>
        <p:sp>
          <p:nvSpPr>
            <p:cNvPr id="42" name="TextBox 65">
              <a:extLst>
                <a:ext uri="{FF2B5EF4-FFF2-40B4-BE49-F238E27FC236}">
                  <a16:creationId xmlns:a16="http://schemas.microsoft.com/office/drawing/2014/main" id="{6CA480F3-8C40-436F-8C9C-E859EE24E9CE}"/>
                </a:ext>
              </a:extLst>
            </p:cNvPr>
            <p:cNvSpPr txBox="1"/>
            <p:nvPr/>
          </p:nvSpPr>
          <p:spPr>
            <a:xfrm>
              <a:off x="911022" y="2765511"/>
              <a:ext cx="2668622" cy="498204"/>
            </a:xfrm>
            <a:prstGeom prst="rect">
              <a:avLst/>
            </a:prstGeom>
            <a:noFill/>
          </p:spPr>
          <p:txBody>
            <a:bodyPr wrap="square" lIns="0" tIns="36000" rIns="0" bIns="36000" rtlCol="0">
              <a:spAutoFit/>
            </a:bodyPr>
            <a:lstStyle/>
            <a:p>
              <a:pPr marL="0" marR="0" lvl="0" indent="0" algn="r" defTabSz="914400" rtl="0" eaLnBrk="1" fontAlgn="auto" latinLnBrk="0" hangingPunct="1">
                <a:lnSpc>
                  <a:spcPct val="120000"/>
                </a:lnSpc>
                <a:spcBef>
                  <a:spcPts val="600"/>
                </a:spcBef>
                <a:spcAft>
                  <a:spcPts val="0"/>
                </a:spcAft>
                <a:buClrTx/>
                <a:buSzTx/>
                <a:buFontTx/>
                <a:buNone/>
                <a:tabLst/>
                <a:defRPr/>
              </a:pPr>
              <a:r>
                <a:rPr kumimoji="0" lang="en-US" sz="1200" b="0" i="0" u="none" strike="noStrike" kern="1200" cap="none" spc="0" normalizeH="0" baseline="0" noProof="0" dirty="0">
                  <a:ln>
                    <a:noFill/>
                  </a:ln>
                  <a:solidFill>
                    <a:prstClr val="black">
                      <a:lumMod val="50000"/>
                      <a:lumOff val="50000"/>
                    </a:prstClr>
                  </a:solidFill>
                  <a:effectLst/>
                  <a:uLnTx/>
                  <a:uFillTx/>
                  <a:latin typeface="HarmonyOS Sans SC"/>
                  <a:cs typeface="+mn-cs"/>
                </a:rPr>
                <a:t>Apparently we had reached a great height in the.</a:t>
              </a:r>
            </a:p>
          </p:txBody>
        </p:sp>
        <p:sp>
          <p:nvSpPr>
            <p:cNvPr id="43" name="TextBox 65">
              <a:extLst>
                <a:ext uri="{FF2B5EF4-FFF2-40B4-BE49-F238E27FC236}">
                  <a16:creationId xmlns:a16="http://schemas.microsoft.com/office/drawing/2014/main" id="{752928DA-A327-4017-A610-2C3C62DC0E25}"/>
                </a:ext>
              </a:extLst>
            </p:cNvPr>
            <p:cNvSpPr txBox="1"/>
            <p:nvPr/>
          </p:nvSpPr>
          <p:spPr>
            <a:xfrm>
              <a:off x="1523383" y="4288466"/>
              <a:ext cx="2056261" cy="387598"/>
            </a:xfrm>
            <a:prstGeom prst="rect">
              <a:avLst/>
            </a:prstGeom>
            <a:noFill/>
          </p:spPr>
          <p:txBody>
            <a:bodyPr wrap="square" lIns="0" tIns="36000" rIns="0" bIns="36000" rtlCol="0">
              <a:spAutoFit/>
            </a:bodyPr>
            <a:lstStyle/>
            <a:p>
              <a:pPr marL="0" marR="0" lvl="0" indent="0" algn="r" defTabSz="914400" rtl="0" eaLnBrk="1" fontAlgn="auto" latinLnBrk="0" hangingPunct="1">
                <a:lnSpc>
                  <a:spcPct val="120000"/>
                </a:lnSpc>
                <a:spcBef>
                  <a:spcPts val="600"/>
                </a:spcBef>
                <a:spcAft>
                  <a:spcPts val="0"/>
                </a:spcAft>
                <a:buClrTx/>
                <a:buSzTx/>
                <a:buFontTx/>
                <a:buNone/>
                <a:tabLst/>
                <a:defRPr/>
              </a:pPr>
              <a:r>
                <a:rPr kumimoji="0" lang="zh-CN" altLang="en-US" sz="1800" b="0" i="0" u="none" strike="noStrike" kern="1200" cap="none" spc="0" normalizeH="0" baseline="0" noProof="0" dirty="0">
                  <a:ln>
                    <a:noFill/>
                  </a:ln>
                  <a:solidFill>
                    <a:schemeClr val="accent1"/>
                  </a:solidFill>
                  <a:effectLst/>
                  <a:uLnTx/>
                  <a:uFillTx/>
                  <a:latin typeface="HarmonyOS Sans SC Black"/>
                  <a:ea typeface="+mj-ea"/>
                  <a:cs typeface="+mn-cs"/>
                </a:rPr>
                <a:t>关键词标题</a:t>
              </a:r>
              <a:endParaRPr kumimoji="0" lang="en-US" sz="1800" b="0" i="0" u="none" strike="noStrike" kern="1200" cap="none" spc="0" normalizeH="0" baseline="0" noProof="0" dirty="0">
                <a:ln>
                  <a:noFill/>
                </a:ln>
                <a:solidFill>
                  <a:schemeClr val="accent1"/>
                </a:solidFill>
                <a:effectLst/>
                <a:uLnTx/>
                <a:uFillTx/>
                <a:latin typeface="HarmonyOS Sans SC Black"/>
                <a:ea typeface="+mj-ea"/>
                <a:cs typeface="+mn-cs"/>
              </a:endParaRPr>
            </a:p>
          </p:txBody>
        </p:sp>
        <p:sp>
          <p:nvSpPr>
            <p:cNvPr id="44" name="TextBox 65">
              <a:extLst>
                <a:ext uri="{FF2B5EF4-FFF2-40B4-BE49-F238E27FC236}">
                  <a16:creationId xmlns:a16="http://schemas.microsoft.com/office/drawing/2014/main" id="{1FA12D85-E0B9-474C-80EE-E4C7505B153A}"/>
                </a:ext>
              </a:extLst>
            </p:cNvPr>
            <p:cNvSpPr txBox="1"/>
            <p:nvPr/>
          </p:nvSpPr>
          <p:spPr>
            <a:xfrm>
              <a:off x="911022" y="4671865"/>
              <a:ext cx="2668622" cy="498204"/>
            </a:xfrm>
            <a:prstGeom prst="rect">
              <a:avLst/>
            </a:prstGeom>
            <a:noFill/>
          </p:spPr>
          <p:txBody>
            <a:bodyPr wrap="square" lIns="0" tIns="36000" rIns="0" bIns="36000" rtlCol="0">
              <a:spAutoFit/>
            </a:bodyPr>
            <a:lstStyle/>
            <a:p>
              <a:pPr marL="0" marR="0" lvl="0" indent="0" algn="r" defTabSz="914400" rtl="0" eaLnBrk="1" fontAlgn="auto" latinLnBrk="0" hangingPunct="1">
                <a:lnSpc>
                  <a:spcPct val="120000"/>
                </a:lnSpc>
                <a:spcBef>
                  <a:spcPts val="600"/>
                </a:spcBef>
                <a:spcAft>
                  <a:spcPts val="0"/>
                </a:spcAft>
                <a:buClrTx/>
                <a:buSzTx/>
                <a:buFontTx/>
                <a:buNone/>
                <a:tabLst/>
                <a:defRPr/>
              </a:pPr>
              <a:r>
                <a:rPr kumimoji="0" lang="en-US" sz="1200" b="0" i="0" u="none" strike="noStrike" kern="1200" cap="none" spc="0" normalizeH="0" baseline="0" noProof="0" dirty="0">
                  <a:ln>
                    <a:noFill/>
                  </a:ln>
                  <a:solidFill>
                    <a:prstClr val="black">
                      <a:lumMod val="50000"/>
                      <a:lumOff val="50000"/>
                    </a:prstClr>
                  </a:solidFill>
                  <a:effectLst/>
                  <a:uLnTx/>
                  <a:uFillTx/>
                  <a:latin typeface="HarmonyOS Sans SC"/>
                  <a:cs typeface="+mn-cs"/>
                </a:rPr>
                <a:t>Apparently we had reached a great height in the.</a:t>
              </a:r>
            </a:p>
          </p:txBody>
        </p:sp>
      </p:grpSp>
      <p:grpSp>
        <p:nvGrpSpPr>
          <p:cNvPr id="45" name="组合 44">
            <a:extLst>
              <a:ext uri="{FF2B5EF4-FFF2-40B4-BE49-F238E27FC236}">
                <a16:creationId xmlns:a16="http://schemas.microsoft.com/office/drawing/2014/main" id="{0D67CDE0-52C8-48BE-BA5A-71EF35D994B2}"/>
              </a:ext>
            </a:extLst>
          </p:cNvPr>
          <p:cNvGrpSpPr/>
          <p:nvPr/>
        </p:nvGrpSpPr>
        <p:grpSpPr>
          <a:xfrm flipH="1">
            <a:off x="8546391" y="2692095"/>
            <a:ext cx="2668622" cy="2787957"/>
            <a:chOff x="911022" y="2382112"/>
            <a:chExt cx="2668622" cy="2787957"/>
          </a:xfrm>
        </p:grpSpPr>
        <p:sp>
          <p:nvSpPr>
            <p:cNvPr id="46" name="TextBox 65">
              <a:extLst>
                <a:ext uri="{FF2B5EF4-FFF2-40B4-BE49-F238E27FC236}">
                  <a16:creationId xmlns:a16="http://schemas.microsoft.com/office/drawing/2014/main" id="{3BC66B9A-05DA-42D4-A4DF-077E44063300}"/>
                </a:ext>
              </a:extLst>
            </p:cNvPr>
            <p:cNvSpPr txBox="1"/>
            <p:nvPr/>
          </p:nvSpPr>
          <p:spPr>
            <a:xfrm>
              <a:off x="1523383" y="2382112"/>
              <a:ext cx="2056261" cy="387598"/>
            </a:xfrm>
            <a:prstGeom prst="rect">
              <a:avLst/>
            </a:prstGeom>
            <a:noFill/>
          </p:spPr>
          <p:txBody>
            <a:bodyPr wrap="square" lIns="0" tIns="36000" rIns="0" bIns="36000" rtlCol="0">
              <a:spAutoFit/>
            </a:bodyPr>
            <a:lstStyle/>
            <a:p>
              <a:pPr marL="0" marR="0" lvl="0" indent="0" algn="l" defTabSz="914400" rtl="0" eaLnBrk="1" fontAlgn="auto" latinLnBrk="0" hangingPunct="1">
                <a:lnSpc>
                  <a:spcPct val="120000"/>
                </a:lnSpc>
                <a:spcBef>
                  <a:spcPts val="600"/>
                </a:spcBef>
                <a:spcAft>
                  <a:spcPts val="0"/>
                </a:spcAft>
                <a:buClrTx/>
                <a:buSzTx/>
                <a:buFontTx/>
                <a:buNone/>
                <a:tabLst/>
                <a:defRPr/>
              </a:pPr>
              <a:r>
                <a:rPr kumimoji="0" lang="zh-CN" altLang="en-US" sz="1800" b="0" i="0" u="none" strike="noStrike" kern="1200" cap="none" spc="0" normalizeH="0" baseline="0" noProof="0" dirty="0">
                  <a:ln>
                    <a:noFill/>
                  </a:ln>
                  <a:solidFill>
                    <a:schemeClr val="accent1"/>
                  </a:solidFill>
                  <a:effectLst/>
                  <a:uLnTx/>
                  <a:uFillTx/>
                  <a:latin typeface="HarmonyOS Sans SC Black"/>
                  <a:ea typeface="+mj-ea"/>
                  <a:cs typeface="+mn-cs"/>
                </a:rPr>
                <a:t>关键词标题</a:t>
              </a:r>
              <a:endParaRPr kumimoji="0" lang="en-US" sz="1800" b="0" i="0" u="none" strike="noStrike" kern="1200" cap="none" spc="0" normalizeH="0" baseline="0" noProof="0" dirty="0">
                <a:ln>
                  <a:noFill/>
                </a:ln>
                <a:solidFill>
                  <a:schemeClr val="accent1"/>
                </a:solidFill>
                <a:effectLst/>
                <a:uLnTx/>
                <a:uFillTx/>
                <a:latin typeface="HarmonyOS Sans SC Black"/>
                <a:ea typeface="+mj-ea"/>
                <a:cs typeface="+mn-cs"/>
              </a:endParaRPr>
            </a:p>
          </p:txBody>
        </p:sp>
        <p:sp>
          <p:nvSpPr>
            <p:cNvPr id="47" name="TextBox 65">
              <a:extLst>
                <a:ext uri="{FF2B5EF4-FFF2-40B4-BE49-F238E27FC236}">
                  <a16:creationId xmlns:a16="http://schemas.microsoft.com/office/drawing/2014/main" id="{E04C93DC-3C08-4462-9714-908A89670C0E}"/>
                </a:ext>
              </a:extLst>
            </p:cNvPr>
            <p:cNvSpPr txBox="1"/>
            <p:nvPr/>
          </p:nvSpPr>
          <p:spPr>
            <a:xfrm>
              <a:off x="911022" y="2765511"/>
              <a:ext cx="2668622" cy="498204"/>
            </a:xfrm>
            <a:prstGeom prst="rect">
              <a:avLst/>
            </a:prstGeom>
            <a:noFill/>
          </p:spPr>
          <p:txBody>
            <a:bodyPr wrap="square" lIns="0" tIns="36000" rIns="0" bIns="36000" rtlCol="0">
              <a:spAutoFit/>
            </a:bodyPr>
            <a:lstStyle/>
            <a:p>
              <a:pPr marL="0" marR="0" lvl="0" indent="0" algn="l" defTabSz="914400" rtl="0" eaLnBrk="1" fontAlgn="auto" latinLnBrk="0" hangingPunct="1">
                <a:lnSpc>
                  <a:spcPct val="120000"/>
                </a:lnSpc>
                <a:spcBef>
                  <a:spcPts val="600"/>
                </a:spcBef>
                <a:spcAft>
                  <a:spcPts val="0"/>
                </a:spcAft>
                <a:buClrTx/>
                <a:buSzTx/>
                <a:buFontTx/>
                <a:buNone/>
                <a:tabLst/>
                <a:defRPr/>
              </a:pPr>
              <a:r>
                <a:rPr kumimoji="0" lang="en-US" sz="1200" b="0" i="0" u="none" strike="noStrike" kern="1200" cap="none" spc="0" normalizeH="0" baseline="0" noProof="0" dirty="0">
                  <a:ln>
                    <a:noFill/>
                  </a:ln>
                  <a:solidFill>
                    <a:prstClr val="black">
                      <a:lumMod val="50000"/>
                      <a:lumOff val="50000"/>
                    </a:prstClr>
                  </a:solidFill>
                  <a:effectLst/>
                  <a:uLnTx/>
                  <a:uFillTx/>
                  <a:latin typeface="HarmonyOS Sans SC"/>
                  <a:cs typeface="+mn-cs"/>
                </a:rPr>
                <a:t>Apparently we had reached a great height in the.</a:t>
              </a:r>
            </a:p>
          </p:txBody>
        </p:sp>
        <p:sp>
          <p:nvSpPr>
            <p:cNvPr id="48" name="TextBox 65">
              <a:extLst>
                <a:ext uri="{FF2B5EF4-FFF2-40B4-BE49-F238E27FC236}">
                  <a16:creationId xmlns:a16="http://schemas.microsoft.com/office/drawing/2014/main" id="{12CAACDC-139F-4E97-8D64-C4CDE8F1F87E}"/>
                </a:ext>
              </a:extLst>
            </p:cNvPr>
            <p:cNvSpPr txBox="1"/>
            <p:nvPr/>
          </p:nvSpPr>
          <p:spPr>
            <a:xfrm>
              <a:off x="1523383" y="4288466"/>
              <a:ext cx="2056261" cy="387598"/>
            </a:xfrm>
            <a:prstGeom prst="rect">
              <a:avLst/>
            </a:prstGeom>
            <a:noFill/>
          </p:spPr>
          <p:txBody>
            <a:bodyPr wrap="square" lIns="0" tIns="36000" rIns="0" bIns="36000" rtlCol="0">
              <a:spAutoFit/>
            </a:bodyPr>
            <a:lstStyle/>
            <a:p>
              <a:pPr marL="0" marR="0" lvl="0" indent="0" algn="l" defTabSz="914400" rtl="0" eaLnBrk="1" fontAlgn="auto" latinLnBrk="0" hangingPunct="1">
                <a:lnSpc>
                  <a:spcPct val="120000"/>
                </a:lnSpc>
                <a:spcBef>
                  <a:spcPts val="600"/>
                </a:spcBef>
                <a:spcAft>
                  <a:spcPts val="0"/>
                </a:spcAft>
                <a:buClrTx/>
                <a:buSzTx/>
                <a:buFontTx/>
                <a:buNone/>
                <a:tabLst/>
                <a:defRPr/>
              </a:pPr>
              <a:r>
                <a:rPr kumimoji="0" lang="zh-CN" altLang="en-US" sz="1800" b="0" i="0" u="none" strike="noStrike" kern="1200" cap="none" spc="0" normalizeH="0" baseline="0" noProof="0" dirty="0">
                  <a:ln>
                    <a:noFill/>
                  </a:ln>
                  <a:solidFill>
                    <a:schemeClr val="accent1"/>
                  </a:solidFill>
                  <a:effectLst/>
                  <a:uLnTx/>
                  <a:uFillTx/>
                  <a:latin typeface="HarmonyOS Sans SC Black"/>
                  <a:ea typeface="+mj-ea"/>
                  <a:cs typeface="+mn-cs"/>
                </a:rPr>
                <a:t>关键词标题</a:t>
              </a:r>
              <a:endParaRPr kumimoji="0" lang="en-US" sz="1800" b="0" i="0" u="none" strike="noStrike" kern="1200" cap="none" spc="0" normalizeH="0" baseline="0" noProof="0" dirty="0">
                <a:ln>
                  <a:noFill/>
                </a:ln>
                <a:solidFill>
                  <a:schemeClr val="accent1"/>
                </a:solidFill>
                <a:effectLst/>
                <a:uLnTx/>
                <a:uFillTx/>
                <a:latin typeface="HarmonyOS Sans SC Black"/>
                <a:ea typeface="+mj-ea"/>
                <a:cs typeface="+mn-cs"/>
              </a:endParaRPr>
            </a:p>
          </p:txBody>
        </p:sp>
        <p:sp>
          <p:nvSpPr>
            <p:cNvPr id="49" name="TextBox 65">
              <a:extLst>
                <a:ext uri="{FF2B5EF4-FFF2-40B4-BE49-F238E27FC236}">
                  <a16:creationId xmlns:a16="http://schemas.microsoft.com/office/drawing/2014/main" id="{57E94F55-F56E-4EF4-B00A-F0A882D30238}"/>
                </a:ext>
              </a:extLst>
            </p:cNvPr>
            <p:cNvSpPr txBox="1"/>
            <p:nvPr/>
          </p:nvSpPr>
          <p:spPr>
            <a:xfrm>
              <a:off x="911022" y="4671865"/>
              <a:ext cx="2668622" cy="498204"/>
            </a:xfrm>
            <a:prstGeom prst="rect">
              <a:avLst/>
            </a:prstGeom>
            <a:noFill/>
          </p:spPr>
          <p:txBody>
            <a:bodyPr wrap="square" lIns="0" tIns="36000" rIns="0" bIns="36000" rtlCol="0">
              <a:spAutoFit/>
            </a:bodyPr>
            <a:lstStyle/>
            <a:p>
              <a:pPr marL="0" marR="0" lvl="0" indent="0" algn="l" defTabSz="914400" rtl="0" eaLnBrk="1" fontAlgn="auto" latinLnBrk="0" hangingPunct="1">
                <a:lnSpc>
                  <a:spcPct val="120000"/>
                </a:lnSpc>
                <a:spcBef>
                  <a:spcPts val="600"/>
                </a:spcBef>
                <a:spcAft>
                  <a:spcPts val="0"/>
                </a:spcAft>
                <a:buClrTx/>
                <a:buSzTx/>
                <a:buFontTx/>
                <a:buNone/>
                <a:tabLst/>
                <a:defRPr/>
              </a:pPr>
              <a:r>
                <a:rPr kumimoji="0" lang="en-US" sz="1200" b="0" i="0" u="none" strike="noStrike" kern="1200" cap="none" spc="0" normalizeH="0" baseline="0" noProof="0" dirty="0">
                  <a:ln>
                    <a:noFill/>
                  </a:ln>
                  <a:solidFill>
                    <a:prstClr val="black">
                      <a:lumMod val="50000"/>
                      <a:lumOff val="50000"/>
                    </a:prstClr>
                  </a:solidFill>
                  <a:effectLst/>
                  <a:uLnTx/>
                  <a:uFillTx/>
                  <a:latin typeface="HarmonyOS Sans SC"/>
                  <a:cs typeface="+mn-cs"/>
                </a:rPr>
                <a:t>Apparently we had reached a great height in the.</a:t>
              </a:r>
            </a:p>
          </p:txBody>
        </p:sp>
      </p:grpSp>
    </p:spTree>
    <p:extLst>
      <p:ext uri="{BB962C8B-B14F-4D97-AF65-F5344CB8AC3E}">
        <p14:creationId xmlns:p14="http://schemas.microsoft.com/office/powerpoint/2010/main" val="257121193"/>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4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reeform 5">
            <a:extLst>
              <a:ext uri="{FF2B5EF4-FFF2-40B4-BE49-F238E27FC236}">
                <a16:creationId xmlns:a16="http://schemas.microsoft.com/office/drawing/2014/main" id="{BC601008-5024-4B3A-B6C6-3989D83D14DC}"/>
              </a:ext>
            </a:extLst>
          </p:cNvPr>
          <p:cNvSpPr>
            <a:spLocks/>
          </p:cNvSpPr>
          <p:nvPr/>
        </p:nvSpPr>
        <p:spPr bwMode="auto">
          <a:xfrm>
            <a:off x="7459455" y="2129734"/>
            <a:ext cx="2009282" cy="779826"/>
          </a:xfrm>
          <a:custGeom>
            <a:avLst/>
            <a:gdLst>
              <a:gd name="T0" fmla="*/ 820 w 1308"/>
              <a:gd name="T1" fmla="*/ 419 h 507"/>
              <a:gd name="T2" fmla="*/ 1046 w 1308"/>
              <a:gd name="T3" fmla="*/ 507 h 507"/>
              <a:gd name="T4" fmla="*/ 1055 w 1308"/>
              <a:gd name="T5" fmla="*/ 507 h 507"/>
              <a:gd name="T6" fmla="*/ 1067 w 1308"/>
              <a:gd name="T7" fmla="*/ 507 h 507"/>
              <a:gd name="T8" fmla="*/ 1074 w 1308"/>
              <a:gd name="T9" fmla="*/ 507 h 507"/>
              <a:gd name="T10" fmla="*/ 1086 w 1308"/>
              <a:gd name="T11" fmla="*/ 506 h 507"/>
              <a:gd name="T12" fmla="*/ 1093 w 1308"/>
              <a:gd name="T13" fmla="*/ 505 h 507"/>
              <a:gd name="T14" fmla="*/ 1105 w 1308"/>
              <a:gd name="T15" fmla="*/ 503 h 507"/>
              <a:gd name="T16" fmla="*/ 1111 w 1308"/>
              <a:gd name="T17" fmla="*/ 501 h 507"/>
              <a:gd name="T18" fmla="*/ 1123 w 1308"/>
              <a:gd name="T19" fmla="*/ 498 h 507"/>
              <a:gd name="T20" fmla="*/ 1135 w 1308"/>
              <a:gd name="T21" fmla="*/ 495 h 507"/>
              <a:gd name="T22" fmla="*/ 1303 w 1308"/>
              <a:gd name="T23" fmla="*/ 306 h 507"/>
              <a:gd name="T24" fmla="*/ 1304 w 1308"/>
              <a:gd name="T25" fmla="*/ 300 h 507"/>
              <a:gd name="T26" fmla="*/ 1307 w 1308"/>
              <a:gd name="T27" fmla="*/ 280 h 507"/>
              <a:gd name="T28" fmla="*/ 1308 w 1308"/>
              <a:gd name="T29" fmla="*/ 274 h 507"/>
              <a:gd name="T30" fmla="*/ 1308 w 1308"/>
              <a:gd name="T31" fmla="*/ 254 h 507"/>
              <a:gd name="T32" fmla="*/ 1308 w 1308"/>
              <a:gd name="T33" fmla="*/ 247 h 507"/>
              <a:gd name="T34" fmla="*/ 1307 w 1308"/>
              <a:gd name="T35" fmla="*/ 227 h 507"/>
              <a:gd name="T36" fmla="*/ 1305 w 1308"/>
              <a:gd name="T37" fmla="*/ 214 h 507"/>
              <a:gd name="T38" fmla="*/ 1303 w 1308"/>
              <a:gd name="T39" fmla="*/ 201 h 507"/>
              <a:gd name="T40" fmla="*/ 1299 w 1308"/>
              <a:gd name="T41" fmla="*/ 183 h 507"/>
              <a:gd name="T42" fmla="*/ 1123 w 1308"/>
              <a:gd name="T43" fmla="*/ 9 h 507"/>
              <a:gd name="T44" fmla="*/ 1117 w 1308"/>
              <a:gd name="T45" fmla="*/ 7 h 507"/>
              <a:gd name="T46" fmla="*/ 1105 w 1308"/>
              <a:gd name="T47" fmla="*/ 5 h 507"/>
              <a:gd name="T48" fmla="*/ 1099 w 1308"/>
              <a:gd name="T49" fmla="*/ 4 h 507"/>
              <a:gd name="T50" fmla="*/ 1086 w 1308"/>
              <a:gd name="T51" fmla="*/ 2 h 507"/>
              <a:gd name="T52" fmla="*/ 1080 w 1308"/>
              <a:gd name="T53" fmla="*/ 1 h 507"/>
              <a:gd name="T54" fmla="*/ 1067 w 1308"/>
              <a:gd name="T55" fmla="*/ 0 h 507"/>
              <a:gd name="T56" fmla="*/ 1061 w 1308"/>
              <a:gd name="T57" fmla="*/ 0 h 507"/>
              <a:gd name="T58" fmla="*/ 1053 w 1308"/>
              <a:gd name="T59" fmla="*/ 0 h 507"/>
              <a:gd name="T60" fmla="*/ 1047 w 1308"/>
              <a:gd name="T61" fmla="*/ 0 h 507"/>
              <a:gd name="T62" fmla="*/ 489 w 1308"/>
              <a:gd name="T63" fmla="*/ 89 h 507"/>
              <a:gd name="T64" fmla="*/ 262 w 1308"/>
              <a:gd name="T65" fmla="*/ 0 h 507"/>
              <a:gd name="T66" fmla="*/ 254 w 1308"/>
              <a:gd name="T67" fmla="*/ 0 h 507"/>
              <a:gd name="T68" fmla="*/ 241 w 1308"/>
              <a:gd name="T69" fmla="*/ 0 h 507"/>
              <a:gd name="T70" fmla="*/ 234 w 1308"/>
              <a:gd name="T71" fmla="*/ 1 h 507"/>
              <a:gd name="T72" fmla="*/ 222 w 1308"/>
              <a:gd name="T73" fmla="*/ 2 h 507"/>
              <a:gd name="T74" fmla="*/ 215 w 1308"/>
              <a:gd name="T75" fmla="*/ 3 h 507"/>
              <a:gd name="T76" fmla="*/ 203 w 1308"/>
              <a:gd name="T77" fmla="*/ 5 h 507"/>
              <a:gd name="T78" fmla="*/ 197 w 1308"/>
              <a:gd name="T79" fmla="*/ 6 h 507"/>
              <a:gd name="T80" fmla="*/ 185 w 1308"/>
              <a:gd name="T81" fmla="*/ 9 h 507"/>
              <a:gd name="T82" fmla="*/ 173 w 1308"/>
              <a:gd name="T83" fmla="*/ 13 h 507"/>
              <a:gd name="T84" fmla="*/ 5 w 1308"/>
              <a:gd name="T85" fmla="*/ 201 h 507"/>
              <a:gd name="T86" fmla="*/ 4 w 1308"/>
              <a:gd name="T87" fmla="*/ 208 h 507"/>
              <a:gd name="T88" fmla="*/ 1 w 1308"/>
              <a:gd name="T89" fmla="*/ 227 h 507"/>
              <a:gd name="T90" fmla="*/ 0 w 1308"/>
              <a:gd name="T91" fmla="*/ 234 h 507"/>
              <a:gd name="T92" fmla="*/ 0 w 1308"/>
              <a:gd name="T93" fmla="*/ 254 h 507"/>
              <a:gd name="T94" fmla="*/ 0 w 1308"/>
              <a:gd name="T95" fmla="*/ 260 h 507"/>
              <a:gd name="T96" fmla="*/ 1 w 1308"/>
              <a:gd name="T97" fmla="*/ 280 h 507"/>
              <a:gd name="T98" fmla="*/ 3 w 1308"/>
              <a:gd name="T99" fmla="*/ 293 h 507"/>
              <a:gd name="T100" fmla="*/ 5 w 1308"/>
              <a:gd name="T101" fmla="*/ 306 h 507"/>
              <a:gd name="T102" fmla="*/ 9 w 1308"/>
              <a:gd name="T103" fmla="*/ 324 h 507"/>
              <a:gd name="T104" fmla="*/ 185 w 1308"/>
              <a:gd name="T105" fmla="*/ 498 h 507"/>
              <a:gd name="T106" fmla="*/ 191 w 1308"/>
              <a:gd name="T107" fmla="*/ 500 h 507"/>
              <a:gd name="T108" fmla="*/ 203 w 1308"/>
              <a:gd name="T109" fmla="*/ 503 h 507"/>
              <a:gd name="T110" fmla="*/ 209 w 1308"/>
              <a:gd name="T111" fmla="*/ 504 h 507"/>
              <a:gd name="T112" fmla="*/ 222 w 1308"/>
              <a:gd name="T113" fmla="*/ 506 h 507"/>
              <a:gd name="T114" fmla="*/ 228 w 1308"/>
              <a:gd name="T115" fmla="*/ 506 h 507"/>
              <a:gd name="T116" fmla="*/ 241 w 1308"/>
              <a:gd name="T117" fmla="*/ 507 h 507"/>
              <a:gd name="T118" fmla="*/ 247 w 1308"/>
              <a:gd name="T119" fmla="*/ 507 h 507"/>
              <a:gd name="T120" fmla="*/ 254 w 1308"/>
              <a:gd name="T121" fmla="*/ 507 h 507"/>
              <a:gd name="T122" fmla="*/ 268 w 1308"/>
              <a:gd name="T123" fmla="*/ 507 h 5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08" h="507">
                <a:moveTo>
                  <a:pt x="489" y="418"/>
                </a:moveTo>
                <a:cubicBezTo>
                  <a:pt x="533" y="400"/>
                  <a:pt x="584" y="387"/>
                  <a:pt x="652" y="386"/>
                </a:cubicBezTo>
                <a:cubicBezTo>
                  <a:pt x="722" y="386"/>
                  <a:pt x="775" y="400"/>
                  <a:pt x="820" y="419"/>
                </a:cubicBezTo>
                <a:cubicBezTo>
                  <a:pt x="896" y="454"/>
                  <a:pt x="950" y="502"/>
                  <a:pt x="1039" y="507"/>
                </a:cubicBezTo>
                <a:cubicBezTo>
                  <a:pt x="1041" y="507"/>
                  <a:pt x="1043" y="507"/>
                  <a:pt x="1044" y="507"/>
                </a:cubicBezTo>
                <a:cubicBezTo>
                  <a:pt x="1046" y="507"/>
                  <a:pt x="1046" y="507"/>
                  <a:pt x="1046" y="507"/>
                </a:cubicBezTo>
                <a:cubicBezTo>
                  <a:pt x="1049" y="507"/>
                  <a:pt x="1052" y="507"/>
                  <a:pt x="1054" y="507"/>
                </a:cubicBezTo>
                <a:cubicBezTo>
                  <a:pt x="1055" y="507"/>
                  <a:pt x="1055" y="507"/>
                  <a:pt x="1055" y="507"/>
                </a:cubicBezTo>
                <a:cubicBezTo>
                  <a:pt x="1055" y="507"/>
                  <a:pt x="1055" y="507"/>
                  <a:pt x="1055" y="507"/>
                </a:cubicBezTo>
                <a:cubicBezTo>
                  <a:pt x="1057" y="507"/>
                  <a:pt x="1059" y="507"/>
                  <a:pt x="1061" y="507"/>
                </a:cubicBezTo>
                <a:cubicBezTo>
                  <a:pt x="1061" y="507"/>
                  <a:pt x="1061" y="507"/>
                  <a:pt x="1061" y="507"/>
                </a:cubicBezTo>
                <a:cubicBezTo>
                  <a:pt x="1063" y="507"/>
                  <a:pt x="1065" y="507"/>
                  <a:pt x="1067" y="507"/>
                </a:cubicBezTo>
                <a:cubicBezTo>
                  <a:pt x="1067" y="507"/>
                  <a:pt x="1067" y="507"/>
                  <a:pt x="1067" y="507"/>
                </a:cubicBezTo>
                <a:cubicBezTo>
                  <a:pt x="1069" y="507"/>
                  <a:pt x="1072" y="507"/>
                  <a:pt x="1074" y="507"/>
                </a:cubicBezTo>
                <a:cubicBezTo>
                  <a:pt x="1074" y="507"/>
                  <a:pt x="1074" y="507"/>
                  <a:pt x="1074" y="507"/>
                </a:cubicBezTo>
                <a:cubicBezTo>
                  <a:pt x="1076" y="507"/>
                  <a:pt x="1078" y="506"/>
                  <a:pt x="1080" y="506"/>
                </a:cubicBezTo>
                <a:cubicBezTo>
                  <a:pt x="1080" y="506"/>
                  <a:pt x="1080" y="506"/>
                  <a:pt x="1080" y="506"/>
                </a:cubicBezTo>
                <a:cubicBezTo>
                  <a:pt x="1082" y="506"/>
                  <a:pt x="1084" y="506"/>
                  <a:pt x="1086" y="506"/>
                </a:cubicBezTo>
                <a:cubicBezTo>
                  <a:pt x="1086" y="506"/>
                  <a:pt x="1086" y="506"/>
                  <a:pt x="1086" y="506"/>
                </a:cubicBezTo>
                <a:cubicBezTo>
                  <a:pt x="1088" y="505"/>
                  <a:pt x="1091" y="505"/>
                  <a:pt x="1093" y="505"/>
                </a:cubicBezTo>
                <a:cubicBezTo>
                  <a:pt x="1093" y="505"/>
                  <a:pt x="1093" y="505"/>
                  <a:pt x="1093" y="505"/>
                </a:cubicBezTo>
                <a:cubicBezTo>
                  <a:pt x="1095" y="504"/>
                  <a:pt x="1097" y="504"/>
                  <a:pt x="1099" y="504"/>
                </a:cubicBezTo>
                <a:cubicBezTo>
                  <a:pt x="1099" y="504"/>
                  <a:pt x="1099" y="504"/>
                  <a:pt x="1099" y="504"/>
                </a:cubicBezTo>
                <a:cubicBezTo>
                  <a:pt x="1101" y="503"/>
                  <a:pt x="1103" y="503"/>
                  <a:pt x="1105" y="503"/>
                </a:cubicBezTo>
                <a:cubicBezTo>
                  <a:pt x="1105" y="503"/>
                  <a:pt x="1105" y="503"/>
                  <a:pt x="1105" y="503"/>
                </a:cubicBezTo>
                <a:cubicBezTo>
                  <a:pt x="1107" y="502"/>
                  <a:pt x="1109" y="502"/>
                  <a:pt x="1111" y="501"/>
                </a:cubicBezTo>
                <a:cubicBezTo>
                  <a:pt x="1111" y="501"/>
                  <a:pt x="1111" y="501"/>
                  <a:pt x="1111" y="501"/>
                </a:cubicBezTo>
                <a:cubicBezTo>
                  <a:pt x="1113" y="501"/>
                  <a:pt x="1115" y="500"/>
                  <a:pt x="1117" y="500"/>
                </a:cubicBezTo>
                <a:cubicBezTo>
                  <a:pt x="1117" y="500"/>
                  <a:pt x="1117" y="500"/>
                  <a:pt x="1117" y="500"/>
                </a:cubicBezTo>
                <a:cubicBezTo>
                  <a:pt x="1119" y="499"/>
                  <a:pt x="1121" y="499"/>
                  <a:pt x="1123" y="498"/>
                </a:cubicBezTo>
                <a:cubicBezTo>
                  <a:pt x="1123" y="498"/>
                  <a:pt x="1123" y="498"/>
                  <a:pt x="1123" y="498"/>
                </a:cubicBezTo>
                <a:cubicBezTo>
                  <a:pt x="1127" y="497"/>
                  <a:pt x="1131" y="496"/>
                  <a:pt x="1135" y="495"/>
                </a:cubicBezTo>
                <a:cubicBezTo>
                  <a:pt x="1135" y="495"/>
                  <a:pt x="1135" y="495"/>
                  <a:pt x="1135" y="495"/>
                </a:cubicBezTo>
                <a:cubicBezTo>
                  <a:pt x="1213" y="468"/>
                  <a:pt x="1275" y="406"/>
                  <a:pt x="1299" y="324"/>
                </a:cubicBezTo>
                <a:cubicBezTo>
                  <a:pt x="1299" y="324"/>
                  <a:pt x="1299" y="324"/>
                  <a:pt x="1299" y="324"/>
                </a:cubicBezTo>
                <a:cubicBezTo>
                  <a:pt x="1300" y="318"/>
                  <a:pt x="1302" y="312"/>
                  <a:pt x="1303" y="306"/>
                </a:cubicBezTo>
                <a:cubicBezTo>
                  <a:pt x="1303" y="306"/>
                  <a:pt x="1303" y="306"/>
                  <a:pt x="1303" y="306"/>
                </a:cubicBezTo>
                <a:cubicBezTo>
                  <a:pt x="1304" y="304"/>
                  <a:pt x="1304" y="302"/>
                  <a:pt x="1304" y="300"/>
                </a:cubicBezTo>
                <a:cubicBezTo>
                  <a:pt x="1304" y="300"/>
                  <a:pt x="1304" y="300"/>
                  <a:pt x="1304" y="300"/>
                </a:cubicBezTo>
                <a:cubicBezTo>
                  <a:pt x="1305" y="297"/>
                  <a:pt x="1305" y="295"/>
                  <a:pt x="1305" y="293"/>
                </a:cubicBezTo>
                <a:cubicBezTo>
                  <a:pt x="1305" y="293"/>
                  <a:pt x="1305" y="293"/>
                  <a:pt x="1305" y="293"/>
                </a:cubicBezTo>
                <a:cubicBezTo>
                  <a:pt x="1306" y="289"/>
                  <a:pt x="1307" y="285"/>
                  <a:pt x="1307" y="280"/>
                </a:cubicBezTo>
                <a:cubicBezTo>
                  <a:pt x="1307" y="280"/>
                  <a:pt x="1307" y="280"/>
                  <a:pt x="1307" y="280"/>
                </a:cubicBezTo>
                <a:cubicBezTo>
                  <a:pt x="1307" y="278"/>
                  <a:pt x="1307" y="276"/>
                  <a:pt x="1308" y="274"/>
                </a:cubicBezTo>
                <a:cubicBezTo>
                  <a:pt x="1308" y="274"/>
                  <a:pt x="1308" y="274"/>
                  <a:pt x="1308" y="274"/>
                </a:cubicBezTo>
                <a:cubicBezTo>
                  <a:pt x="1308" y="269"/>
                  <a:pt x="1308" y="265"/>
                  <a:pt x="1308" y="260"/>
                </a:cubicBezTo>
                <a:cubicBezTo>
                  <a:pt x="1308" y="260"/>
                  <a:pt x="1308" y="260"/>
                  <a:pt x="1308" y="260"/>
                </a:cubicBezTo>
                <a:cubicBezTo>
                  <a:pt x="1308" y="258"/>
                  <a:pt x="1308" y="256"/>
                  <a:pt x="1308" y="254"/>
                </a:cubicBezTo>
                <a:cubicBezTo>
                  <a:pt x="1308" y="254"/>
                  <a:pt x="1308" y="254"/>
                  <a:pt x="1308" y="254"/>
                </a:cubicBezTo>
                <a:cubicBezTo>
                  <a:pt x="1308" y="251"/>
                  <a:pt x="1308" y="249"/>
                  <a:pt x="1308" y="247"/>
                </a:cubicBezTo>
                <a:cubicBezTo>
                  <a:pt x="1308" y="247"/>
                  <a:pt x="1308" y="247"/>
                  <a:pt x="1308" y="247"/>
                </a:cubicBezTo>
                <a:cubicBezTo>
                  <a:pt x="1308" y="243"/>
                  <a:pt x="1308" y="238"/>
                  <a:pt x="1308" y="234"/>
                </a:cubicBezTo>
                <a:cubicBezTo>
                  <a:pt x="1308" y="234"/>
                  <a:pt x="1308" y="234"/>
                  <a:pt x="1308" y="234"/>
                </a:cubicBezTo>
                <a:cubicBezTo>
                  <a:pt x="1307" y="231"/>
                  <a:pt x="1307" y="229"/>
                  <a:pt x="1307" y="227"/>
                </a:cubicBezTo>
                <a:cubicBezTo>
                  <a:pt x="1307" y="227"/>
                  <a:pt x="1307" y="227"/>
                  <a:pt x="1307" y="227"/>
                </a:cubicBezTo>
                <a:cubicBezTo>
                  <a:pt x="1307" y="223"/>
                  <a:pt x="1306" y="218"/>
                  <a:pt x="1305" y="214"/>
                </a:cubicBezTo>
                <a:cubicBezTo>
                  <a:pt x="1305" y="214"/>
                  <a:pt x="1305" y="214"/>
                  <a:pt x="1305" y="214"/>
                </a:cubicBezTo>
                <a:cubicBezTo>
                  <a:pt x="1305" y="212"/>
                  <a:pt x="1305" y="210"/>
                  <a:pt x="1304" y="208"/>
                </a:cubicBezTo>
                <a:cubicBezTo>
                  <a:pt x="1304" y="208"/>
                  <a:pt x="1304" y="208"/>
                  <a:pt x="1304" y="208"/>
                </a:cubicBezTo>
                <a:cubicBezTo>
                  <a:pt x="1304" y="206"/>
                  <a:pt x="1304" y="204"/>
                  <a:pt x="1303" y="201"/>
                </a:cubicBezTo>
                <a:cubicBezTo>
                  <a:pt x="1303" y="201"/>
                  <a:pt x="1303" y="201"/>
                  <a:pt x="1303" y="201"/>
                </a:cubicBezTo>
                <a:cubicBezTo>
                  <a:pt x="1302" y="195"/>
                  <a:pt x="1300" y="189"/>
                  <a:pt x="1299" y="183"/>
                </a:cubicBezTo>
                <a:cubicBezTo>
                  <a:pt x="1299" y="183"/>
                  <a:pt x="1299" y="183"/>
                  <a:pt x="1299" y="183"/>
                </a:cubicBezTo>
                <a:cubicBezTo>
                  <a:pt x="1275" y="102"/>
                  <a:pt x="1213" y="39"/>
                  <a:pt x="1135" y="13"/>
                </a:cubicBezTo>
                <a:cubicBezTo>
                  <a:pt x="1135" y="13"/>
                  <a:pt x="1135" y="13"/>
                  <a:pt x="1135" y="13"/>
                </a:cubicBezTo>
                <a:cubicBezTo>
                  <a:pt x="1131" y="11"/>
                  <a:pt x="1127" y="10"/>
                  <a:pt x="1123" y="9"/>
                </a:cubicBezTo>
                <a:cubicBezTo>
                  <a:pt x="1123" y="9"/>
                  <a:pt x="1123" y="9"/>
                  <a:pt x="1123" y="9"/>
                </a:cubicBezTo>
                <a:cubicBezTo>
                  <a:pt x="1121" y="9"/>
                  <a:pt x="1119" y="8"/>
                  <a:pt x="1117" y="7"/>
                </a:cubicBezTo>
                <a:cubicBezTo>
                  <a:pt x="1117" y="7"/>
                  <a:pt x="1117" y="7"/>
                  <a:pt x="1117" y="7"/>
                </a:cubicBezTo>
                <a:cubicBezTo>
                  <a:pt x="1115" y="7"/>
                  <a:pt x="1113" y="7"/>
                  <a:pt x="1111" y="6"/>
                </a:cubicBezTo>
                <a:cubicBezTo>
                  <a:pt x="1111" y="6"/>
                  <a:pt x="1111" y="6"/>
                  <a:pt x="1111" y="6"/>
                </a:cubicBezTo>
                <a:cubicBezTo>
                  <a:pt x="1109" y="6"/>
                  <a:pt x="1107" y="5"/>
                  <a:pt x="1105" y="5"/>
                </a:cubicBezTo>
                <a:cubicBezTo>
                  <a:pt x="1105" y="5"/>
                  <a:pt x="1105" y="5"/>
                  <a:pt x="1105" y="5"/>
                </a:cubicBezTo>
                <a:cubicBezTo>
                  <a:pt x="1103" y="4"/>
                  <a:pt x="1101" y="4"/>
                  <a:pt x="1099" y="4"/>
                </a:cubicBezTo>
                <a:cubicBezTo>
                  <a:pt x="1099" y="4"/>
                  <a:pt x="1099" y="4"/>
                  <a:pt x="1099" y="4"/>
                </a:cubicBezTo>
                <a:cubicBezTo>
                  <a:pt x="1097" y="3"/>
                  <a:pt x="1095" y="3"/>
                  <a:pt x="1093" y="3"/>
                </a:cubicBezTo>
                <a:cubicBezTo>
                  <a:pt x="1093" y="3"/>
                  <a:pt x="1093" y="3"/>
                  <a:pt x="1093" y="3"/>
                </a:cubicBezTo>
                <a:cubicBezTo>
                  <a:pt x="1091" y="2"/>
                  <a:pt x="1088" y="2"/>
                  <a:pt x="1086" y="2"/>
                </a:cubicBezTo>
                <a:cubicBezTo>
                  <a:pt x="1086" y="2"/>
                  <a:pt x="1086" y="2"/>
                  <a:pt x="1086" y="2"/>
                </a:cubicBezTo>
                <a:cubicBezTo>
                  <a:pt x="1084" y="1"/>
                  <a:pt x="1082" y="1"/>
                  <a:pt x="1080" y="1"/>
                </a:cubicBezTo>
                <a:cubicBezTo>
                  <a:pt x="1080" y="1"/>
                  <a:pt x="1080" y="1"/>
                  <a:pt x="1080" y="1"/>
                </a:cubicBezTo>
                <a:cubicBezTo>
                  <a:pt x="1078" y="1"/>
                  <a:pt x="1076" y="1"/>
                  <a:pt x="1074" y="1"/>
                </a:cubicBezTo>
                <a:cubicBezTo>
                  <a:pt x="1074" y="1"/>
                  <a:pt x="1074" y="1"/>
                  <a:pt x="1074" y="1"/>
                </a:cubicBezTo>
                <a:cubicBezTo>
                  <a:pt x="1072" y="0"/>
                  <a:pt x="1069" y="0"/>
                  <a:pt x="1067" y="0"/>
                </a:cubicBezTo>
                <a:cubicBezTo>
                  <a:pt x="1067" y="0"/>
                  <a:pt x="1067" y="0"/>
                  <a:pt x="1067" y="0"/>
                </a:cubicBezTo>
                <a:cubicBezTo>
                  <a:pt x="1065" y="0"/>
                  <a:pt x="1063" y="0"/>
                  <a:pt x="1061" y="0"/>
                </a:cubicBezTo>
                <a:cubicBezTo>
                  <a:pt x="1061" y="0"/>
                  <a:pt x="1061" y="0"/>
                  <a:pt x="1061" y="0"/>
                </a:cubicBezTo>
                <a:cubicBezTo>
                  <a:pt x="1059" y="0"/>
                  <a:pt x="1057" y="0"/>
                  <a:pt x="1055" y="0"/>
                </a:cubicBezTo>
                <a:cubicBezTo>
                  <a:pt x="1055" y="0"/>
                  <a:pt x="1055" y="0"/>
                  <a:pt x="1055" y="0"/>
                </a:cubicBezTo>
                <a:cubicBezTo>
                  <a:pt x="1053" y="0"/>
                  <a:pt x="1053" y="0"/>
                  <a:pt x="1053" y="0"/>
                </a:cubicBezTo>
                <a:cubicBezTo>
                  <a:pt x="1052" y="0"/>
                  <a:pt x="1051" y="0"/>
                  <a:pt x="1051" y="0"/>
                </a:cubicBezTo>
                <a:cubicBezTo>
                  <a:pt x="1050" y="0"/>
                  <a:pt x="1048" y="0"/>
                  <a:pt x="1047" y="0"/>
                </a:cubicBezTo>
                <a:cubicBezTo>
                  <a:pt x="1047" y="0"/>
                  <a:pt x="1047" y="0"/>
                  <a:pt x="1047" y="0"/>
                </a:cubicBezTo>
                <a:cubicBezTo>
                  <a:pt x="953" y="2"/>
                  <a:pt x="898" y="53"/>
                  <a:pt x="820" y="88"/>
                </a:cubicBezTo>
                <a:cubicBezTo>
                  <a:pt x="775" y="107"/>
                  <a:pt x="723" y="121"/>
                  <a:pt x="653" y="122"/>
                </a:cubicBezTo>
                <a:cubicBezTo>
                  <a:pt x="585" y="121"/>
                  <a:pt x="533" y="107"/>
                  <a:pt x="489" y="89"/>
                </a:cubicBezTo>
                <a:cubicBezTo>
                  <a:pt x="412" y="54"/>
                  <a:pt x="359" y="5"/>
                  <a:pt x="268" y="0"/>
                </a:cubicBezTo>
                <a:cubicBezTo>
                  <a:pt x="267" y="0"/>
                  <a:pt x="265" y="0"/>
                  <a:pt x="264" y="0"/>
                </a:cubicBezTo>
                <a:cubicBezTo>
                  <a:pt x="262" y="0"/>
                  <a:pt x="262" y="0"/>
                  <a:pt x="262" y="0"/>
                </a:cubicBezTo>
                <a:cubicBezTo>
                  <a:pt x="259" y="0"/>
                  <a:pt x="256" y="0"/>
                  <a:pt x="254" y="0"/>
                </a:cubicBezTo>
                <a:cubicBezTo>
                  <a:pt x="254" y="0"/>
                  <a:pt x="254" y="0"/>
                  <a:pt x="254" y="0"/>
                </a:cubicBezTo>
                <a:cubicBezTo>
                  <a:pt x="254" y="0"/>
                  <a:pt x="254" y="0"/>
                  <a:pt x="254" y="0"/>
                </a:cubicBezTo>
                <a:cubicBezTo>
                  <a:pt x="251" y="0"/>
                  <a:pt x="249" y="0"/>
                  <a:pt x="247" y="0"/>
                </a:cubicBezTo>
                <a:cubicBezTo>
                  <a:pt x="247" y="0"/>
                  <a:pt x="247" y="0"/>
                  <a:pt x="247" y="0"/>
                </a:cubicBezTo>
                <a:cubicBezTo>
                  <a:pt x="245" y="0"/>
                  <a:pt x="243" y="0"/>
                  <a:pt x="241" y="0"/>
                </a:cubicBezTo>
                <a:cubicBezTo>
                  <a:pt x="241" y="0"/>
                  <a:pt x="241" y="0"/>
                  <a:pt x="241" y="0"/>
                </a:cubicBezTo>
                <a:cubicBezTo>
                  <a:pt x="239" y="0"/>
                  <a:pt x="236" y="0"/>
                  <a:pt x="234" y="1"/>
                </a:cubicBezTo>
                <a:cubicBezTo>
                  <a:pt x="234" y="1"/>
                  <a:pt x="234" y="1"/>
                  <a:pt x="234" y="1"/>
                </a:cubicBezTo>
                <a:cubicBezTo>
                  <a:pt x="232" y="1"/>
                  <a:pt x="230" y="1"/>
                  <a:pt x="228" y="1"/>
                </a:cubicBezTo>
                <a:cubicBezTo>
                  <a:pt x="228" y="1"/>
                  <a:pt x="228" y="1"/>
                  <a:pt x="228" y="1"/>
                </a:cubicBezTo>
                <a:cubicBezTo>
                  <a:pt x="226" y="1"/>
                  <a:pt x="224" y="1"/>
                  <a:pt x="222" y="2"/>
                </a:cubicBezTo>
                <a:cubicBezTo>
                  <a:pt x="222" y="2"/>
                  <a:pt x="222" y="2"/>
                  <a:pt x="222" y="2"/>
                </a:cubicBezTo>
                <a:cubicBezTo>
                  <a:pt x="220" y="2"/>
                  <a:pt x="218" y="2"/>
                  <a:pt x="215" y="3"/>
                </a:cubicBezTo>
                <a:cubicBezTo>
                  <a:pt x="215" y="3"/>
                  <a:pt x="215" y="3"/>
                  <a:pt x="215" y="3"/>
                </a:cubicBezTo>
                <a:cubicBezTo>
                  <a:pt x="213" y="3"/>
                  <a:pt x="211" y="3"/>
                  <a:pt x="209" y="4"/>
                </a:cubicBezTo>
                <a:cubicBezTo>
                  <a:pt x="209" y="4"/>
                  <a:pt x="209" y="4"/>
                  <a:pt x="209" y="4"/>
                </a:cubicBezTo>
                <a:cubicBezTo>
                  <a:pt x="207" y="4"/>
                  <a:pt x="205" y="4"/>
                  <a:pt x="203" y="5"/>
                </a:cubicBezTo>
                <a:cubicBezTo>
                  <a:pt x="203" y="5"/>
                  <a:pt x="203" y="5"/>
                  <a:pt x="203" y="5"/>
                </a:cubicBezTo>
                <a:cubicBezTo>
                  <a:pt x="201" y="5"/>
                  <a:pt x="199" y="6"/>
                  <a:pt x="197" y="6"/>
                </a:cubicBezTo>
                <a:cubicBezTo>
                  <a:pt x="197" y="6"/>
                  <a:pt x="197" y="6"/>
                  <a:pt x="197" y="6"/>
                </a:cubicBezTo>
                <a:cubicBezTo>
                  <a:pt x="195" y="7"/>
                  <a:pt x="193" y="7"/>
                  <a:pt x="191" y="7"/>
                </a:cubicBezTo>
                <a:cubicBezTo>
                  <a:pt x="191" y="7"/>
                  <a:pt x="191" y="7"/>
                  <a:pt x="191" y="7"/>
                </a:cubicBezTo>
                <a:cubicBezTo>
                  <a:pt x="189" y="8"/>
                  <a:pt x="187" y="9"/>
                  <a:pt x="185" y="9"/>
                </a:cubicBezTo>
                <a:cubicBezTo>
                  <a:pt x="185" y="9"/>
                  <a:pt x="185" y="9"/>
                  <a:pt x="185" y="9"/>
                </a:cubicBezTo>
                <a:cubicBezTo>
                  <a:pt x="181" y="10"/>
                  <a:pt x="177" y="11"/>
                  <a:pt x="173" y="13"/>
                </a:cubicBezTo>
                <a:cubicBezTo>
                  <a:pt x="173" y="13"/>
                  <a:pt x="173" y="13"/>
                  <a:pt x="173" y="13"/>
                </a:cubicBezTo>
                <a:cubicBezTo>
                  <a:pt x="95" y="39"/>
                  <a:pt x="33" y="102"/>
                  <a:pt x="9" y="183"/>
                </a:cubicBezTo>
                <a:cubicBezTo>
                  <a:pt x="9" y="183"/>
                  <a:pt x="9" y="183"/>
                  <a:pt x="9" y="183"/>
                </a:cubicBezTo>
                <a:cubicBezTo>
                  <a:pt x="8" y="189"/>
                  <a:pt x="6" y="195"/>
                  <a:pt x="5" y="201"/>
                </a:cubicBezTo>
                <a:cubicBezTo>
                  <a:pt x="5" y="201"/>
                  <a:pt x="5" y="201"/>
                  <a:pt x="5" y="201"/>
                </a:cubicBezTo>
                <a:cubicBezTo>
                  <a:pt x="4" y="204"/>
                  <a:pt x="4" y="206"/>
                  <a:pt x="4" y="208"/>
                </a:cubicBezTo>
                <a:cubicBezTo>
                  <a:pt x="4" y="208"/>
                  <a:pt x="4" y="208"/>
                  <a:pt x="4" y="208"/>
                </a:cubicBezTo>
                <a:cubicBezTo>
                  <a:pt x="3" y="210"/>
                  <a:pt x="3" y="212"/>
                  <a:pt x="3" y="214"/>
                </a:cubicBezTo>
                <a:cubicBezTo>
                  <a:pt x="3" y="214"/>
                  <a:pt x="3" y="214"/>
                  <a:pt x="3" y="214"/>
                </a:cubicBezTo>
                <a:cubicBezTo>
                  <a:pt x="2" y="218"/>
                  <a:pt x="1" y="223"/>
                  <a:pt x="1" y="227"/>
                </a:cubicBezTo>
                <a:cubicBezTo>
                  <a:pt x="1" y="227"/>
                  <a:pt x="1" y="227"/>
                  <a:pt x="1" y="227"/>
                </a:cubicBezTo>
                <a:cubicBezTo>
                  <a:pt x="1" y="229"/>
                  <a:pt x="1" y="231"/>
                  <a:pt x="0" y="234"/>
                </a:cubicBezTo>
                <a:cubicBezTo>
                  <a:pt x="0" y="234"/>
                  <a:pt x="0" y="234"/>
                  <a:pt x="0" y="234"/>
                </a:cubicBezTo>
                <a:cubicBezTo>
                  <a:pt x="0" y="238"/>
                  <a:pt x="0" y="243"/>
                  <a:pt x="0" y="247"/>
                </a:cubicBezTo>
                <a:cubicBezTo>
                  <a:pt x="0" y="247"/>
                  <a:pt x="0" y="247"/>
                  <a:pt x="0" y="247"/>
                </a:cubicBezTo>
                <a:cubicBezTo>
                  <a:pt x="0" y="249"/>
                  <a:pt x="0" y="251"/>
                  <a:pt x="0" y="254"/>
                </a:cubicBezTo>
                <a:cubicBezTo>
                  <a:pt x="0" y="254"/>
                  <a:pt x="0" y="254"/>
                  <a:pt x="0" y="254"/>
                </a:cubicBezTo>
                <a:cubicBezTo>
                  <a:pt x="0" y="256"/>
                  <a:pt x="0" y="258"/>
                  <a:pt x="0" y="260"/>
                </a:cubicBezTo>
                <a:cubicBezTo>
                  <a:pt x="0" y="260"/>
                  <a:pt x="0" y="260"/>
                  <a:pt x="0" y="260"/>
                </a:cubicBezTo>
                <a:cubicBezTo>
                  <a:pt x="0" y="265"/>
                  <a:pt x="0" y="269"/>
                  <a:pt x="0" y="274"/>
                </a:cubicBezTo>
                <a:cubicBezTo>
                  <a:pt x="0" y="274"/>
                  <a:pt x="0" y="274"/>
                  <a:pt x="0" y="274"/>
                </a:cubicBezTo>
                <a:cubicBezTo>
                  <a:pt x="1" y="276"/>
                  <a:pt x="1" y="278"/>
                  <a:pt x="1" y="280"/>
                </a:cubicBezTo>
                <a:cubicBezTo>
                  <a:pt x="1" y="280"/>
                  <a:pt x="1" y="280"/>
                  <a:pt x="1" y="280"/>
                </a:cubicBezTo>
                <a:cubicBezTo>
                  <a:pt x="1" y="285"/>
                  <a:pt x="2" y="289"/>
                  <a:pt x="3" y="293"/>
                </a:cubicBezTo>
                <a:cubicBezTo>
                  <a:pt x="3" y="293"/>
                  <a:pt x="3" y="293"/>
                  <a:pt x="3" y="293"/>
                </a:cubicBezTo>
                <a:cubicBezTo>
                  <a:pt x="3" y="295"/>
                  <a:pt x="3" y="297"/>
                  <a:pt x="4" y="300"/>
                </a:cubicBezTo>
                <a:cubicBezTo>
                  <a:pt x="4" y="300"/>
                  <a:pt x="4" y="300"/>
                  <a:pt x="4" y="300"/>
                </a:cubicBezTo>
                <a:cubicBezTo>
                  <a:pt x="4" y="302"/>
                  <a:pt x="4" y="304"/>
                  <a:pt x="5" y="306"/>
                </a:cubicBezTo>
                <a:cubicBezTo>
                  <a:pt x="5" y="306"/>
                  <a:pt x="5" y="306"/>
                  <a:pt x="5" y="306"/>
                </a:cubicBezTo>
                <a:cubicBezTo>
                  <a:pt x="6" y="312"/>
                  <a:pt x="8" y="318"/>
                  <a:pt x="9" y="324"/>
                </a:cubicBezTo>
                <a:cubicBezTo>
                  <a:pt x="9" y="324"/>
                  <a:pt x="9" y="324"/>
                  <a:pt x="9" y="324"/>
                </a:cubicBezTo>
                <a:cubicBezTo>
                  <a:pt x="33" y="406"/>
                  <a:pt x="95" y="468"/>
                  <a:pt x="173" y="495"/>
                </a:cubicBezTo>
                <a:cubicBezTo>
                  <a:pt x="173" y="495"/>
                  <a:pt x="173" y="495"/>
                  <a:pt x="173" y="495"/>
                </a:cubicBezTo>
                <a:cubicBezTo>
                  <a:pt x="177" y="496"/>
                  <a:pt x="181" y="497"/>
                  <a:pt x="185" y="498"/>
                </a:cubicBezTo>
                <a:cubicBezTo>
                  <a:pt x="185" y="498"/>
                  <a:pt x="185" y="498"/>
                  <a:pt x="185" y="498"/>
                </a:cubicBezTo>
                <a:cubicBezTo>
                  <a:pt x="187" y="499"/>
                  <a:pt x="189" y="499"/>
                  <a:pt x="191" y="500"/>
                </a:cubicBezTo>
                <a:cubicBezTo>
                  <a:pt x="191" y="500"/>
                  <a:pt x="191" y="500"/>
                  <a:pt x="191" y="500"/>
                </a:cubicBezTo>
                <a:cubicBezTo>
                  <a:pt x="193" y="500"/>
                  <a:pt x="195" y="501"/>
                  <a:pt x="197" y="501"/>
                </a:cubicBezTo>
                <a:cubicBezTo>
                  <a:pt x="197" y="501"/>
                  <a:pt x="197" y="501"/>
                  <a:pt x="197" y="501"/>
                </a:cubicBezTo>
                <a:cubicBezTo>
                  <a:pt x="199" y="502"/>
                  <a:pt x="201" y="502"/>
                  <a:pt x="203" y="503"/>
                </a:cubicBezTo>
                <a:cubicBezTo>
                  <a:pt x="203" y="503"/>
                  <a:pt x="203" y="503"/>
                  <a:pt x="203" y="503"/>
                </a:cubicBezTo>
                <a:cubicBezTo>
                  <a:pt x="205" y="503"/>
                  <a:pt x="207" y="503"/>
                  <a:pt x="209" y="504"/>
                </a:cubicBezTo>
                <a:cubicBezTo>
                  <a:pt x="209" y="504"/>
                  <a:pt x="209" y="504"/>
                  <a:pt x="209" y="504"/>
                </a:cubicBezTo>
                <a:cubicBezTo>
                  <a:pt x="211" y="504"/>
                  <a:pt x="213" y="504"/>
                  <a:pt x="215" y="505"/>
                </a:cubicBezTo>
                <a:cubicBezTo>
                  <a:pt x="215" y="505"/>
                  <a:pt x="215" y="505"/>
                  <a:pt x="215" y="505"/>
                </a:cubicBezTo>
                <a:cubicBezTo>
                  <a:pt x="218" y="505"/>
                  <a:pt x="220" y="505"/>
                  <a:pt x="222" y="506"/>
                </a:cubicBezTo>
                <a:cubicBezTo>
                  <a:pt x="222" y="506"/>
                  <a:pt x="222" y="506"/>
                  <a:pt x="222" y="506"/>
                </a:cubicBezTo>
                <a:cubicBezTo>
                  <a:pt x="224" y="506"/>
                  <a:pt x="226" y="506"/>
                  <a:pt x="228" y="506"/>
                </a:cubicBezTo>
                <a:cubicBezTo>
                  <a:pt x="228" y="506"/>
                  <a:pt x="228" y="506"/>
                  <a:pt x="228" y="506"/>
                </a:cubicBezTo>
                <a:cubicBezTo>
                  <a:pt x="230" y="506"/>
                  <a:pt x="232" y="507"/>
                  <a:pt x="234" y="507"/>
                </a:cubicBezTo>
                <a:cubicBezTo>
                  <a:pt x="234" y="507"/>
                  <a:pt x="234" y="507"/>
                  <a:pt x="234" y="507"/>
                </a:cubicBezTo>
                <a:cubicBezTo>
                  <a:pt x="236" y="507"/>
                  <a:pt x="239" y="507"/>
                  <a:pt x="241" y="507"/>
                </a:cubicBezTo>
                <a:cubicBezTo>
                  <a:pt x="241" y="507"/>
                  <a:pt x="241" y="507"/>
                  <a:pt x="241" y="507"/>
                </a:cubicBezTo>
                <a:cubicBezTo>
                  <a:pt x="243" y="507"/>
                  <a:pt x="245" y="507"/>
                  <a:pt x="247" y="507"/>
                </a:cubicBezTo>
                <a:cubicBezTo>
                  <a:pt x="247" y="507"/>
                  <a:pt x="247" y="507"/>
                  <a:pt x="247" y="507"/>
                </a:cubicBezTo>
                <a:cubicBezTo>
                  <a:pt x="249" y="507"/>
                  <a:pt x="251" y="507"/>
                  <a:pt x="254" y="507"/>
                </a:cubicBezTo>
                <a:cubicBezTo>
                  <a:pt x="254" y="507"/>
                  <a:pt x="254" y="507"/>
                  <a:pt x="254" y="507"/>
                </a:cubicBezTo>
                <a:cubicBezTo>
                  <a:pt x="254" y="507"/>
                  <a:pt x="254" y="507"/>
                  <a:pt x="254" y="507"/>
                </a:cubicBezTo>
                <a:cubicBezTo>
                  <a:pt x="256" y="507"/>
                  <a:pt x="259" y="507"/>
                  <a:pt x="262" y="507"/>
                </a:cubicBezTo>
                <a:cubicBezTo>
                  <a:pt x="262" y="507"/>
                  <a:pt x="263" y="507"/>
                  <a:pt x="264" y="507"/>
                </a:cubicBezTo>
                <a:cubicBezTo>
                  <a:pt x="265" y="507"/>
                  <a:pt x="267" y="507"/>
                  <a:pt x="268" y="507"/>
                </a:cubicBezTo>
                <a:cubicBezTo>
                  <a:pt x="359" y="502"/>
                  <a:pt x="412" y="453"/>
                  <a:pt x="489" y="418"/>
                </a:cubicBezTo>
                <a:close/>
              </a:path>
            </a:pathLst>
          </a:custGeom>
          <a:solidFill>
            <a:schemeClr val="accent1">
              <a:lumMod val="20000"/>
              <a:lumOff val="80000"/>
              <a:alpha val="98000"/>
            </a:schemeClr>
          </a:solidFill>
          <a:ln>
            <a:noFill/>
          </a:ln>
          <a:effectLst/>
        </p:spPr>
        <p:txBody>
          <a:bodyPr vert="horz" wrap="square" lIns="57150" tIns="28575" rIns="57150" bIns="28575"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25" b="0" i="0" u="none" strike="noStrike" kern="1200" cap="none" spc="0" normalizeH="0" baseline="0" noProof="0">
              <a:ln>
                <a:noFill/>
              </a:ln>
              <a:solidFill>
                <a:srgbClr val="3F3F3F"/>
              </a:solidFill>
              <a:effectLst/>
              <a:uLnTx/>
              <a:uFillTx/>
              <a:latin typeface="HarmonyOS Sans SC"/>
              <a:cs typeface="+mn-cs"/>
            </a:endParaRPr>
          </a:p>
        </p:txBody>
      </p:sp>
      <p:sp>
        <p:nvSpPr>
          <p:cNvPr id="4" name="Freeform 6">
            <a:extLst>
              <a:ext uri="{FF2B5EF4-FFF2-40B4-BE49-F238E27FC236}">
                <a16:creationId xmlns:a16="http://schemas.microsoft.com/office/drawing/2014/main" id="{0F2ECA1E-A57E-41C1-9BDF-7673397771FB}"/>
              </a:ext>
            </a:extLst>
          </p:cNvPr>
          <p:cNvSpPr>
            <a:spLocks/>
          </p:cNvSpPr>
          <p:nvPr/>
        </p:nvSpPr>
        <p:spPr bwMode="auto">
          <a:xfrm>
            <a:off x="9578510" y="4249666"/>
            <a:ext cx="742943" cy="741186"/>
          </a:xfrm>
          <a:custGeom>
            <a:avLst/>
            <a:gdLst>
              <a:gd name="T0" fmla="*/ 86 w 483"/>
              <a:gd name="T1" fmla="*/ 86 h 483"/>
              <a:gd name="T2" fmla="*/ 397 w 483"/>
              <a:gd name="T3" fmla="*/ 86 h 483"/>
              <a:gd name="T4" fmla="*/ 397 w 483"/>
              <a:gd name="T5" fmla="*/ 397 h 483"/>
              <a:gd name="T6" fmla="*/ 86 w 483"/>
              <a:gd name="T7" fmla="*/ 397 h 483"/>
              <a:gd name="T8" fmla="*/ 86 w 483"/>
              <a:gd name="T9" fmla="*/ 86 h 483"/>
            </a:gdLst>
            <a:ahLst/>
            <a:cxnLst>
              <a:cxn ang="0">
                <a:pos x="T0" y="T1"/>
              </a:cxn>
              <a:cxn ang="0">
                <a:pos x="T2" y="T3"/>
              </a:cxn>
              <a:cxn ang="0">
                <a:pos x="T4" y="T5"/>
              </a:cxn>
              <a:cxn ang="0">
                <a:pos x="T6" y="T7"/>
              </a:cxn>
              <a:cxn ang="0">
                <a:pos x="T8" y="T9"/>
              </a:cxn>
            </a:cxnLst>
            <a:rect l="0" t="0" r="r" b="b"/>
            <a:pathLst>
              <a:path w="483" h="483">
                <a:moveTo>
                  <a:pt x="86" y="86"/>
                </a:moveTo>
                <a:cubicBezTo>
                  <a:pt x="172" y="0"/>
                  <a:pt x="311" y="0"/>
                  <a:pt x="397" y="86"/>
                </a:cubicBezTo>
                <a:cubicBezTo>
                  <a:pt x="483" y="172"/>
                  <a:pt x="483" y="311"/>
                  <a:pt x="397" y="397"/>
                </a:cubicBezTo>
                <a:cubicBezTo>
                  <a:pt x="311" y="483"/>
                  <a:pt x="172" y="483"/>
                  <a:pt x="86" y="397"/>
                </a:cubicBezTo>
                <a:cubicBezTo>
                  <a:pt x="0" y="311"/>
                  <a:pt x="0" y="172"/>
                  <a:pt x="86" y="86"/>
                </a:cubicBezTo>
                <a:close/>
              </a:path>
            </a:pathLst>
          </a:custGeom>
          <a:solidFill>
            <a:srgbClr val="FEFE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7150" tIns="28575" rIns="57150" bIns="28575"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25" b="0" i="0" u="none" strike="noStrike" kern="1200" cap="none" spc="0" normalizeH="0" baseline="0" noProof="0">
              <a:ln>
                <a:noFill/>
              </a:ln>
              <a:solidFill>
                <a:srgbClr val="3F3F3F"/>
              </a:solidFill>
              <a:effectLst/>
              <a:uLnTx/>
              <a:uFillTx/>
              <a:latin typeface="HarmonyOS Sans SC"/>
              <a:cs typeface="+mn-cs"/>
            </a:endParaRPr>
          </a:p>
        </p:txBody>
      </p:sp>
      <p:sp>
        <p:nvSpPr>
          <p:cNvPr id="5" name="Freeform 7">
            <a:extLst>
              <a:ext uri="{FF2B5EF4-FFF2-40B4-BE49-F238E27FC236}">
                <a16:creationId xmlns:a16="http://schemas.microsoft.com/office/drawing/2014/main" id="{9E77E63F-DB3C-40E5-B472-149BE3D7CCEC}"/>
              </a:ext>
            </a:extLst>
          </p:cNvPr>
          <p:cNvSpPr>
            <a:spLocks/>
          </p:cNvSpPr>
          <p:nvPr/>
        </p:nvSpPr>
        <p:spPr bwMode="auto">
          <a:xfrm>
            <a:off x="6590054" y="2997379"/>
            <a:ext cx="778071" cy="2012794"/>
          </a:xfrm>
          <a:custGeom>
            <a:avLst/>
            <a:gdLst>
              <a:gd name="T0" fmla="*/ 88 w 507"/>
              <a:gd name="T1" fmla="*/ 488 h 1309"/>
              <a:gd name="T2" fmla="*/ 0 w 507"/>
              <a:gd name="T3" fmla="*/ 262 h 1309"/>
              <a:gd name="T4" fmla="*/ 0 w 507"/>
              <a:gd name="T5" fmla="*/ 254 h 1309"/>
              <a:gd name="T6" fmla="*/ 0 w 507"/>
              <a:gd name="T7" fmla="*/ 241 h 1309"/>
              <a:gd name="T8" fmla="*/ 0 w 507"/>
              <a:gd name="T9" fmla="*/ 234 h 1309"/>
              <a:gd name="T10" fmla="*/ 1 w 507"/>
              <a:gd name="T11" fmla="*/ 222 h 1309"/>
              <a:gd name="T12" fmla="*/ 2 w 507"/>
              <a:gd name="T13" fmla="*/ 216 h 1309"/>
              <a:gd name="T14" fmla="*/ 5 w 507"/>
              <a:gd name="T15" fmla="*/ 203 h 1309"/>
              <a:gd name="T16" fmla="*/ 6 w 507"/>
              <a:gd name="T17" fmla="*/ 197 h 1309"/>
              <a:gd name="T18" fmla="*/ 9 w 507"/>
              <a:gd name="T19" fmla="*/ 185 h 1309"/>
              <a:gd name="T20" fmla="*/ 13 w 507"/>
              <a:gd name="T21" fmla="*/ 173 h 1309"/>
              <a:gd name="T22" fmla="*/ 201 w 507"/>
              <a:gd name="T23" fmla="*/ 5 h 1309"/>
              <a:gd name="T24" fmla="*/ 208 w 507"/>
              <a:gd name="T25" fmla="*/ 4 h 1309"/>
              <a:gd name="T26" fmla="*/ 227 w 507"/>
              <a:gd name="T27" fmla="*/ 1 h 1309"/>
              <a:gd name="T28" fmla="*/ 233 w 507"/>
              <a:gd name="T29" fmla="*/ 0 h 1309"/>
              <a:gd name="T30" fmla="*/ 253 w 507"/>
              <a:gd name="T31" fmla="*/ 0 h 1309"/>
              <a:gd name="T32" fmla="*/ 260 w 507"/>
              <a:gd name="T33" fmla="*/ 0 h 1309"/>
              <a:gd name="T34" fmla="*/ 280 w 507"/>
              <a:gd name="T35" fmla="*/ 1 h 1309"/>
              <a:gd name="T36" fmla="*/ 293 w 507"/>
              <a:gd name="T37" fmla="*/ 3 h 1309"/>
              <a:gd name="T38" fmla="*/ 305 w 507"/>
              <a:gd name="T39" fmla="*/ 5 h 1309"/>
              <a:gd name="T40" fmla="*/ 324 w 507"/>
              <a:gd name="T41" fmla="*/ 10 h 1309"/>
              <a:gd name="T42" fmla="*/ 498 w 507"/>
              <a:gd name="T43" fmla="*/ 185 h 1309"/>
              <a:gd name="T44" fmla="*/ 499 w 507"/>
              <a:gd name="T45" fmla="*/ 191 h 1309"/>
              <a:gd name="T46" fmla="*/ 502 w 507"/>
              <a:gd name="T47" fmla="*/ 203 h 1309"/>
              <a:gd name="T48" fmla="*/ 503 w 507"/>
              <a:gd name="T49" fmla="*/ 209 h 1309"/>
              <a:gd name="T50" fmla="*/ 505 w 507"/>
              <a:gd name="T51" fmla="*/ 222 h 1309"/>
              <a:gd name="T52" fmla="*/ 506 w 507"/>
              <a:gd name="T53" fmla="*/ 228 h 1309"/>
              <a:gd name="T54" fmla="*/ 507 w 507"/>
              <a:gd name="T55" fmla="*/ 241 h 1309"/>
              <a:gd name="T56" fmla="*/ 507 w 507"/>
              <a:gd name="T57" fmla="*/ 247 h 1309"/>
              <a:gd name="T58" fmla="*/ 507 w 507"/>
              <a:gd name="T59" fmla="*/ 255 h 1309"/>
              <a:gd name="T60" fmla="*/ 507 w 507"/>
              <a:gd name="T61" fmla="*/ 261 h 1309"/>
              <a:gd name="T62" fmla="*/ 418 w 507"/>
              <a:gd name="T63" fmla="*/ 819 h 1309"/>
              <a:gd name="T64" fmla="*/ 507 w 507"/>
              <a:gd name="T65" fmla="*/ 1047 h 1309"/>
              <a:gd name="T66" fmla="*/ 507 w 507"/>
              <a:gd name="T67" fmla="*/ 1055 h 1309"/>
              <a:gd name="T68" fmla="*/ 507 w 507"/>
              <a:gd name="T69" fmla="*/ 1067 h 1309"/>
              <a:gd name="T70" fmla="*/ 507 w 507"/>
              <a:gd name="T71" fmla="*/ 1074 h 1309"/>
              <a:gd name="T72" fmla="*/ 505 w 507"/>
              <a:gd name="T73" fmla="*/ 1086 h 1309"/>
              <a:gd name="T74" fmla="*/ 504 w 507"/>
              <a:gd name="T75" fmla="*/ 1093 h 1309"/>
              <a:gd name="T76" fmla="*/ 502 w 507"/>
              <a:gd name="T77" fmla="*/ 1105 h 1309"/>
              <a:gd name="T78" fmla="*/ 501 w 507"/>
              <a:gd name="T79" fmla="*/ 1111 h 1309"/>
              <a:gd name="T80" fmla="*/ 498 w 507"/>
              <a:gd name="T81" fmla="*/ 1123 h 1309"/>
              <a:gd name="T82" fmla="*/ 494 w 507"/>
              <a:gd name="T83" fmla="*/ 1135 h 1309"/>
              <a:gd name="T84" fmla="*/ 305 w 507"/>
              <a:gd name="T85" fmla="*/ 1303 h 1309"/>
              <a:gd name="T86" fmla="*/ 299 w 507"/>
              <a:gd name="T87" fmla="*/ 1305 h 1309"/>
              <a:gd name="T88" fmla="*/ 280 w 507"/>
              <a:gd name="T89" fmla="*/ 1307 h 1309"/>
              <a:gd name="T90" fmla="*/ 273 w 507"/>
              <a:gd name="T91" fmla="*/ 1308 h 1309"/>
              <a:gd name="T92" fmla="*/ 253 w 507"/>
              <a:gd name="T93" fmla="*/ 1309 h 1309"/>
              <a:gd name="T94" fmla="*/ 247 w 507"/>
              <a:gd name="T95" fmla="*/ 1309 h 1309"/>
              <a:gd name="T96" fmla="*/ 227 w 507"/>
              <a:gd name="T97" fmla="*/ 1307 h 1309"/>
              <a:gd name="T98" fmla="*/ 214 w 507"/>
              <a:gd name="T99" fmla="*/ 1306 h 1309"/>
              <a:gd name="T100" fmla="*/ 201 w 507"/>
              <a:gd name="T101" fmla="*/ 1303 h 1309"/>
              <a:gd name="T102" fmla="*/ 183 w 507"/>
              <a:gd name="T103" fmla="*/ 1299 h 1309"/>
              <a:gd name="T104" fmla="*/ 9 w 507"/>
              <a:gd name="T105" fmla="*/ 1123 h 1309"/>
              <a:gd name="T106" fmla="*/ 7 w 507"/>
              <a:gd name="T107" fmla="*/ 1117 h 1309"/>
              <a:gd name="T108" fmla="*/ 5 w 507"/>
              <a:gd name="T109" fmla="*/ 1105 h 1309"/>
              <a:gd name="T110" fmla="*/ 3 w 507"/>
              <a:gd name="T111" fmla="*/ 1099 h 1309"/>
              <a:gd name="T112" fmla="*/ 1 w 507"/>
              <a:gd name="T113" fmla="*/ 1086 h 1309"/>
              <a:gd name="T114" fmla="*/ 1 w 507"/>
              <a:gd name="T115" fmla="*/ 1080 h 1309"/>
              <a:gd name="T116" fmla="*/ 0 w 507"/>
              <a:gd name="T117" fmla="*/ 1067 h 1309"/>
              <a:gd name="T118" fmla="*/ 0 w 507"/>
              <a:gd name="T119" fmla="*/ 1061 h 1309"/>
              <a:gd name="T120" fmla="*/ 0 w 507"/>
              <a:gd name="T121" fmla="*/ 1055 h 1309"/>
              <a:gd name="T122" fmla="*/ 0 w 507"/>
              <a:gd name="T123" fmla="*/ 1040 h 1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07" h="1309">
                <a:moveTo>
                  <a:pt x="89" y="819"/>
                </a:moveTo>
                <a:cubicBezTo>
                  <a:pt x="107" y="775"/>
                  <a:pt x="120" y="724"/>
                  <a:pt x="121" y="656"/>
                </a:cubicBezTo>
                <a:cubicBezTo>
                  <a:pt x="121" y="586"/>
                  <a:pt x="107" y="533"/>
                  <a:pt x="88" y="488"/>
                </a:cubicBezTo>
                <a:cubicBezTo>
                  <a:pt x="53" y="412"/>
                  <a:pt x="5" y="358"/>
                  <a:pt x="0" y="269"/>
                </a:cubicBezTo>
                <a:cubicBezTo>
                  <a:pt x="0" y="267"/>
                  <a:pt x="0" y="266"/>
                  <a:pt x="0" y="264"/>
                </a:cubicBezTo>
                <a:cubicBezTo>
                  <a:pt x="0" y="262"/>
                  <a:pt x="0" y="262"/>
                  <a:pt x="0" y="262"/>
                </a:cubicBezTo>
                <a:cubicBezTo>
                  <a:pt x="0" y="259"/>
                  <a:pt x="0" y="257"/>
                  <a:pt x="0" y="254"/>
                </a:cubicBezTo>
                <a:cubicBezTo>
                  <a:pt x="0" y="254"/>
                  <a:pt x="0" y="254"/>
                  <a:pt x="0" y="254"/>
                </a:cubicBezTo>
                <a:cubicBezTo>
                  <a:pt x="0" y="254"/>
                  <a:pt x="0" y="254"/>
                  <a:pt x="0" y="254"/>
                </a:cubicBezTo>
                <a:cubicBezTo>
                  <a:pt x="0" y="251"/>
                  <a:pt x="0" y="249"/>
                  <a:pt x="0" y="247"/>
                </a:cubicBezTo>
                <a:cubicBezTo>
                  <a:pt x="0" y="247"/>
                  <a:pt x="0" y="247"/>
                  <a:pt x="0" y="247"/>
                </a:cubicBezTo>
                <a:cubicBezTo>
                  <a:pt x="0" y="245"/>
                  <a:pt x="0" y="243"/>
                  <a:pt x="0" y="241"/>
                </a:cubicBezTo>
                <a:cubicBezTo>
                  <a:pt x="0" y="241"/>
                  <a:pt x="0" y="241"/>
                  <a:pt x="0" y="241"/>
                </a:cubicBezTo>
                <a:cubicBezTo>
                  <a:pt x="0" y="239"/>
                  <a:pt x="0" y="237"/>
                  <a:pt x="0" y="234"/>
                </a:cubicBezTo>
                <a:cubicBezTo>
                  <a:pt x="0" y="234"/>
                  <a:pt x="0" y="234"/>
                  <a:pt x="0" y="234"/>
                </a:cubicBezTo>
                <a:cubicBezTo>
                  <a:pt x="0" y="232"/>
                  <a:pt x="1" y="230"/>
                  <a:pt x="1" y="228"/>
                </a:cubicBezTo>
                <a:cubicBezTo>
                  <a:pt x="1" y="228"/>
                  <a:pt x="1" y="228"/>
                  <a:pt x="1" y="228"/>
                </a:cubicBezTo>
                <a:cubicBezTo>
                  <a:pt x="1" y="226"/>
                  <a:pt x="1" y="224"/>
                  <a:pt x="1" y="222"/>
                </a:cubicBezTo>
                <a:cubicBezTo>
                  <a:pt x="1" y="222"/>
                  <a:pt x="1" y="222"/>
                  <a:pt x="1" y="222"/>
                </a:cubicBezTo>
                <a:cubicBezTo>
                  <a:pt x="2" y="220"/>
                  <a:pt x="2" y="218"/>
                  <a:pt x="2" y="216"/>
                </a:cubicBezTo>
                <a:cubicBezTo>
                  <a:pt x="2" y="216"/>
                  <a:pt x="2" y="216"/>
                  <a:pt x="2" y="216"/>
                </a:cubicBezTo>
                <a:cubicBezTo>
                  <a:pt x="3" y="214"/>
                  <a:pt x="3" y="212"/>
                  <a:pt x="3" y="209"/>
                </a:cubicBezTo>
                <a:cubicBezTo>
                  <a:pt x="3" y="209"/>
                  <a:pt x="3" y="209"/>
                  <a:pt x="3" y="209"/>
                </a:cubicBezTo>
                <a:cubicBezTo>
                  <a:pt x="4" y="207"/>
                  <a:pt x="4" y="205"/>
                  <a:pt x="5" y="203"/>
                </a:cubicBezTo>
                <a:cubicBezTo>
                  <a:pt x="5" y="203"/>
                  <a:pt x="5" y="203"/>
                  <a:pt x="5" y="203"/>
                </a:cubicBezTo>
                <a:cubicBezTo>
                  <a:pt x="5" y="201"/>
                  <a:pt x="5" y="199"/>
                  <a:pt x="6" y="197"/>
                </a:cubicBezTo>
                <a:cubicBezTo>
                  <a:pt x="6" y="197"/>
                  <a:pt x="6" y="197"/>
                  <a:pt x="6" y="197"/>
                </a:cubicBezTo>
                <a:cubicBezTo>
                  <a:pt x="6" y="195"/>
                  <a:pt x="7" y="193"/>
                  <a:pt x="7" y="191"/>
                </a:cubicBezTo>
                <a:cubicBezTo>
                  <a:pt x="7" y="191"/>
                  <a:pt x="7" y="191"/>
                  <a:pt x="7" y="191"/>
                </a:cubicBezTo>
                <a:cubicBezTo>
                  <a:pt x="8" y="189"/>
                  <a:pt x="8" y="187"/>
                  <a:pt x="9" y="185"/>
                </a:cubicBezTo>
                <a:cubicBezTo>
                  <a:pt x="9" y="185"/>
                  <a:pt x="9" y="185"/>
                  <a:pt x="9" y="185"/>
                </a:cubicBezTo>
                <a:cubicBezTo>
                  <a:pt x="10" y="181"/>
                  <a:pt x="11" y="177"/>
                  <a:pt x="12" y="173"/>
                </a:cubicBezTo>
                <a:cubicBezTo>
                  <a:pt x="13" y="173"/>
                  <a:pt x="13" y="173"/>
                  <a:pt x="13" y="173"/>
                </a:cubicBezTo>
                <a:cubicBezTo>
                  <a:pt x="38" y="95"/>
                  <a:pt x="101" y="33"/>
                  <a:pt x="183" y="10"/>
                </a:cubicBezTo>
                <a:cubicBezTo>
                  <a:pt x="183" y="10"/>
                  <a:pt x="183" y="10"/>
                  <a:pt x="183" y="10"/>
                </a:cubicBezTo>
                <a:cubicBezTo>
                  <a:pt x="189" y="8"/>
                  <a:pt x="195" y="6"/>
                  <a:pt x="201" y="5"/>
                </a:cubicBezTo>
                <a:cubicBezTo>
                  <a:pt x="201" y="5"/>
                  <a:pt x="201" y="5"/>
                  <a:pt x="201" y="5"/>
                </a:cubicBezTo>
                <a:cubicBezTo>
                  <a:pt x="203" y="5"/>
                  <a:pt x="205" y="4"/>
                  <a:pt x="208" y="4"/>
                </a:cubicBezTo>
                <a:cubicBezTo>
                  <a:pt x="208" y="4"/>
                  <a:pt x="208" y="4"/>
                  <a:pt x="208" y="4"/>
                </a:cubicBezTo>
                <a:cubicBezTo>
                  <a:pt x="210" y="3"/>
                  <a:pt x="212" y="3"/>
                  <a:pt x="214" y="3"/>
                </a:cubicBezTo>
                <a:cubicBezTo>
                  <a:pt x="214" y="3"/>
                  <a:pt x="214" y="3"/>
                  <a:pt x="214" y="3"/>
                </a:cubicBezTo>
                <a:cubicBezTo>
                  <a:pt x="218" y="2"/>
                  <a:pt x="223" y="2"/>
                  <a:pt x="227" y="1"/>
                </a:cubicBezTo>
                <a:cubicBezTo>
                  <a:pt x="227" y="1"/>
                  <a:pt x="227" y="1"/>
                  <a:pt x="227" y="1"/>
                </a:cubicBezTo>
                <a:cubicBezTo>
                  <a:pt x="229" y="1"/>
                  <a:pt x="231" y="1"/>
                  <a:pt x="233" y="0"/>
                </a:cubicBezTo>
                <a:cubicBezTo>
                  <a:pt x="233" y="0"/>
                  <a:pt x="233" y="0"/>
                  <a:pt x="233" y="0"/>
                </a:cubicBezTo>
                <a:cubicBezTo>
                  <a:pt x="238" y="0"/>
                  <a:pt x="242" y="0"/>
                  <a:pt x="247" y="0"/>
                </a:cubicBezTo>
                <a:cubicBezTo>
                  <a:pt x="247" y="0"/>
                  <a:pt x="247" y="0"/>
                  <a:pt x="247" y="0"/>
                </a:cubicBezTo>
                <a:cubicBezTo>
                  <a:pt x="249" y="0"/>
                  <a:pt x="251" y="0"/>
                  <a:pt x="253" y="0"/>
                </a:cubicBezTo>
                <a:cubicBezTo>
                  <a:pt x="253" y="0"/>
                  <a:pt x="253" y="0"/>
                  <a:pt x="253" y="0"/>
                </a:cubicBezTo>
                <a:cubicBezTo>
                  <a:pt x="256" y="0"/>
                  <a:pt x="258" y="0"/>
                  <a:pt x="260" y="0"/>
                </a:cubicBezTo>
                <a:cubicBezTo>
                  <a:pt x="260" y="0"/>
                  <a:pt x="260" y="0"/>
                  <a:pt x="260" y="0"/>
                </a:cubicBezTo>
                <a:cubicBezTo>
                  <a:pt x="265" y="0"/>
                  <a:pt x="269" y="0"/>
                  <a:pt x="273" y="0"/>
                </a:cubicBezTo>
                <a:cubicBezTo>
                  <a:pt x="273" y="0"/>
                  <a:pt x="273" y="0"/>
                  <a:pt x="273" y="0"/>
                </a:cubicBezTo>
                <a:cubicBezTo>
                  <a:pt x="276" y="1"/>
                  <a:pt x="278" y="1"/>
                  <a:pt x="280" y="1"/>
                </a:cubicBezTo>
                <a:cubicBezTo>
                  <a:pt x="280" y="1"/>
                  <a:pt x="280" y="1"/>
                  <a:pt x="280" y="1"/>
                </a:cubicBezTo>
                <a:cubicBezTo>
                  <a:pt x="284" y="2"/>
                  <a:pt x="289" y="2"/>
                  <a:pt x="293" y="3"/>
                </a:cubicBezTo>
                <a:cubicBezTo>
                  <a:pt x="293" y="3"/>
                  <a:pt x="293" y="3"/>
                  <a:pt x="293" y="3"/>
                </a:cubicBezTo>
                <a:cubicBezTo>
                  <a:pt x="295" y="3"/>
                  <a:pt x="297" y="3"/>
                  <a:pt x="299" y="4"/>
                </a:cubicBezTo>
                <a:cubicBezTo>
                  <a:pt x="299" y="4"/>
                  <a:pt x="299" y="4"/>
                  <a:pt x="299" y="4"/>
                </a:cubicBezTo>
                <a:cubicBezTo>
                  <a:pt x="301" y="4"/>
                  <a:pt x="303" y="5"/>
                  <a:pt x="305" y="5"/>
                </a:cubicBezTo>
                <a:cubicBezTo>
                  <a:pt x="305" y="5"/>
                  <a:pt x="305" y="5"/>
                  <a:pt x="305" y="5"/>
                </a:cubicBezTo>
                <a:cubicBezTo>
                  <a:pt x="312" y="6"/>
                  <a:pt x="318" y="8"/>
                  <a:pt x="324" y="10"/>
                </a:cubicBezTo>
                <a:cubicBezTo>
                  <a:pt x="324" y="10"/>
                  <a:pt x="324" y="10"/>
                  <a:pt x="324" y="10"/>
                </a:cubicBezTo>
                <a:cubicBezTo>
                  <a:pt x="405" y="33"/>
                  <a:pt x="468" y="95"/>
                  <a:pt x="494" y="173"/>
                </a:cubicBezTo>
                <a:cubicBezTo>
                  <a:pt x="494" y="173"/>
                  <a:pt x="494" y="173"/>
                  <a:pt x="494" y="173"/>
                </a:cubicBezTo>
                <a:cubicBezTo>
                  <a:pt x="496" y="177"/>
                  <a:pt x="497" y="181"/>
                  <a:pt x="498" y="185"/>
                </a:cubicBezTo>
                <a:cubicBezTo>
                  <a:pt x="498" y="185"/>
                  <a:pt x="498" y="185"/>
                  <a:pt x="498" y="185"/>
                </a:cubicBezTo>
                <a:cubicBezTo>
                  <a:pt x="498" y="187"/>
                  <a:pt x="499" y="189"/>
                  <a:pt x="499" y="191"/>
                </a:cubicBezTo>
                <a:cubicBezTo>
                  <a:pt x="499" y="191"/>
                  <a:pt x="499" y="191"/>
                  <a:pt x="499" y="191"/>
                </a:cubicBezTo>
                <a:cubicBezTo>
                  <a:pt x="500" y="193"/>
                  <a:pt x="501" y="195"/>
                  <a:pt x="501" y="197"/>
                </a:cubicBezTo>
                <a:cubicBezTo>
                  <a:pt x="501" y="197"/>
                  <a:pt x="501" y="197"/>
                  <a:pt x="501" y="197"/>
                </a:cubicBezTo>
                <a:cubicBezTo>
                  <a:pt x="501" y="199"/>
                  <a:pt x="502" y="201"/>
                  <a:pt x="502" y="203"/>
                </a:cubicBezTo>
                <a:cubicBezTo>
                  <a:pt x="502" y="203"/>
                  <a:pt x="502" y="203"/>
                  <a:pt x="502" y="203"/>
                </a:cubicBezTo>
                <a:cubicBezTo>
                  <a:pt x="503" y="205"/>
                  <a:pt x="503" y="207"/>
                  <a:pt x="503" y="209"/>
                </a:cubicBezTo>
                <a:cubicBezTo>
                  <a:pt x="503" y="209"/>
                  <a:pt x="503" y="209"/>
                  <a:pt x="503" y="209"/>
                </a:cubicBezTo>
                <a:cubicBezTo>
                  <a:pt x="504" y="212"/>
                  <a:pt x="504" y="214"/>
                  <a:pt x="504" y="216"/>
                </a:cubicBezTo>
                <a:cubicBezTo>
                  <a:pt x="504" y="216"/>
                  <a:pt x="504" y="216"/>
                  <a:pt x="504" y="216"/>
                </a:cubicBezTo>
                <a:cubicBezTo>
                  <a:pt x="505" y="218"/>
                  <a:pt x="505" y="220"/>
                  <a:pt x="505" y="222"/>
                </a:cubicBezTo>
                <a:cubicBezTo>
                  <a:pt x="505" y="222"/>
                  <a:pt x="505" y="222"/>
                  <a:pt x="505" y="222"/>
                </a:cubicBezTo>
                <a:cubicBezTo>
                  <a:pt x="506" y="224"/>
                  <a:pt x="506" y="226"/>
                  <a:pt x="506" y="228"/>
                </a:cubicBezTo>
                <a:cubicBezTo>
                  <a:pt x="506" y="228"/>
                  <a:pt x="506" y="228"/>
                  <a:pt x="506" y="228"/>
                </a:cubicBezTo>
                <a:cubicBezTo>
                  <a:pt x="506" y="230"/>
                  <a:pt x="506" y="232"/>
                  <a:pt x="507" y="234"/>
                </a:cubicBezTo>
                <a:cubicBezTo>
                  <a:pt x="507" y="234"/>
                  <a:pt x="507" y="234"/>
                  <a:pt x="507" y="234"/>
                </a:cubicBezTo>
                <a:cubicBezTo>
                  <a:pt x="507" y="237"/>
                  <a:pt x="507" y="239"/>
                  <a:pt x="507" y="241"/>
                </a:cubicBezTo>
                <a:cubicBezTo>
                  <a:pt x="507" y="241"/>
                  <a:pt x="507" y="241"/>
                  <a:pt x="507" y="241"/>
                </a:cubicBezTo>
                <a:cubicBezTo>
                  <a:pt x="507" y="243"/>
                  <a:pt x="507" y="245"/>
                  <a:pt x="507" y="247"/>
                </a:cubicBezTo>
                <a:cubicBezTo>
                  <a:pt x="507" y="247"/>
                  <a:pt x="507" y="247"/>
                  <a:pt x="507" y="247"/>
                </a:cubicBezTo>
                <a:cubicBezTo>
                  <a:pt x="507" y="249"/>
                  <a:pt x="507" y="251"/>
                  <a:pt x="507" y="254"/>
                </a:cubicBezTo>
                <a:cubicBezTo>
                  <a:pt x="507" y="254"/>
                  <a:pt x="507" y="254"/>
                  <a:pt x="507" y="254"/>
                </a:cubicBezTo>
                <a:cubicBezTo>
                  <a:pt x="507" y="255"/>
                  <a:pt x="507" y="255"/>
                  <a:pt x="507" y="255"/>
                </a:cubicBezTo>
                <a:cubicBezTo>
                  <a:pt x="507" y="256"/>
                  <a:pt x="507" y="257"/>
                  <a:pt x="507" y="258"/>
                </a:cubicBezTo>
                <a:cubicBezTo>
                  <a:pt x="507" y="259"/>
                  <a:pt x="507" y="260"/>
                  <a:pt x="507" y="261"/>
                </a:cubicBezTo>
                <a:cubicBezTo>
                  <a:pt x="507" y="261"/>
                  <a:pt x="507" y="261"/>
                  <a:pt x="507" y="261"/>
                </a:cubicBezTo>
                <a:cubicBezTo>
                  <a:pt x="505" y="355"/>
                  <a:pt x="454" y="410"/>
                  <a:pt x="419" y="488"/>
                </a:cubicBezTo>
                <a:cubicBezTo>
                  <a:pt x="400" y="533"/>
                  <a:pt x="386" y="586"/>
                  <a:pt x="385" y="656"/>
                </a:cubicBezTo>
                <a:cubicBezTo>
                  <a:pt x="386" y="723"/>
                  <a:pt x="400" y="775"/>
                  <a:pt x="418" y="819"/>
                </a:cubicBezTo>
                <a:cubicBezTo>
                  <a:pt x="453" y="896"/>
                  <a:pt x="502" y="950"/>
                  <a:pt x="507" y="1040"/>
                </a:cubicBezTo>
                <a:cubicBezTo>
                  <a:pt x="507" y="1041"/>
                  <a:pt x="507" y="1043"/>
                  <a:pt x="507" y="1044"/>
                </a:cubicBezTo>
                <a:cubicBezTo>
                  <a:pt x="507" y="1047"/>
                  <a:pt x="507" y="1047"/>
                  <a:pt x="507" y="1047"/>
                </a:cubicBezTo>
                <a:cubicBezTo>
                  <a:pt x="507" y="1049"/>
                  <a:pt x="507" y="1052"/>
                  <a:pt x="507" y="1055"/>
                </a:cubicBezTo>
                <a:cubicBezTo>
                  <a:pt x="507" y="1055"/>
                  <a:pt x="507" y="1055"/>
                  <a:pt x="507" y="1055"/>
                </a:cubicBezTo>
                <a:cubicBezTo>
                  <a:pt x="507" y="1055"/>
                  <a:pt x="507" y="1055"/>
                  <a:pt x="507" y="1055"/>
                </a:cubicBezTo>
                <a:cubicBezTo>
                  <a:pt x="507" y="1057"/>
                  <a:pt x="507" y="1059"/>
                  <a:pt x="507" y="1061"/>
                </a:cubicBezTo>
                <a:cubicBezTo>
                  <a:pt x="507" y="1061"/>
                  <a:pt x="507" y="1061"/>
                  <a:pt x="507" y="1061"/>
                </a:cubicBezTo>
                <a:cubicBezTo>
                  <a:pt x="507" y="1063"/>
                  <a:pt x="507" y="1065"/>
                  <a:pt x="507" y="1067"/>
                </a:cubicBezTo>
                <a:cubicBezTo>
                  <a:pt x="507" y="1067"/>
                  <a:pt x="507" y="1067"/>
                  <a:pt x="507" y="1067"/>
                </a:cubicBezTo>
                <a:cubicBezTo>
                  <a:pt x="507" y="1070"/>
                  <a:pt x="507" y="1072"/>
                  <a:pt x="507" y="1074"/>
                </a:cubicBezTo>
                <a:cubicBezTo>
                  <a:pt x="507" y="1074"/>
                  <a:pt x="507" y="1074"/>
                  <a:pt x="507" y="1074"/>
                </a:cubicBezTo>
                <a:cubicBezTo>
                  <a:pt x="506" y="1076"/>
                  <a:pt x="506" y="1078"/>
                  <a:pt x="506" y="1080"/>
                </a:cubicBezTo>
                <a:cubicBezTo>
                  <a:pt x="506" y="1080"/>
                  <a:pt x="506" y="1080"/>
                  <a:pt x="506" y="1080"/>
                </a:cubicBezTo>
                <a:cubicBezTo>
                  <a:pt x="506" y="1082"/>
                  <a:pt x="506" y="1084"/>
                  <a:pt x="505" y="1086"/>
                </a:cubicBezTo>
                <a:cubicBezTo>
                  <a:pt x="505" y="1086"/>
                  <a:pt x="505" y="1086"/>
                  <a:pt x="505" y="1086"/>
                </a:cubicBezTo>
                <a:cubicBezTo>
                  <a:pt x="505" y="1089"/>
                  <a:pt x="505" y="1091"/>
                  <a:pt x="504" y="1093"/>
                </a:cubicBezTo>
                <a:cubicBezTo>
                  <a:pt x="504" y="1093"/>
                  <a:pt x="504" y="1093"/>
                  <a:pt x="504" y="1093"/>
                </a:cubicBezTo>
                <a:cubicBezTo>
                  <a:pt x="504" y="1095"/>
                  <a:pt x="504" y="1097"/>
                  <a:pt x="503" y="1099"/>
                </a:cubicBezTo>
                <a:cubicBezTo>
                  <a:pt x="503" y="1099"/>
                  <a:pt x="503" y="1099"/>
                  <a:pt x="503" y="1099"/>
                </a:cubicBezTo>
                <a:cubicBezTo>
                  <a:pt x="503" y="1101"/>
                  <a:pt x="503" y="1103"/>
                  <a:pt x="502" y="1105"/>
                </a:cubicBezTo>
                <a:cubicBezTo>
                  <a:pt x="502" y="1105"/>
                  <a:pt x="502" y="1105"/>
                  <a:pt x="502" y="1105"/>
                </a:cubicBezTo>
                <a:cubicBezTo>
                  <a:pt x="502" y="1107"/>
                  <a:pt x="501" y="1109"/>
                  <a:pt x="501" y="1111"/>
                </a:cubicBezTo>
                <a:cubicBezTo>
                  <a:pt x="501" y="1111"/>
                  <a:pt x="501" y="1111"/>
                  <a:pt x="501" y="1111"/>
                </a:cubicBezTo>
                <a:cubicBezTo>
                  <a:pt x="501" y="1113"/>
                  <a:pt x="500" y="1115"/>
                  <a:pt x="499" y="1117"/>
                </a:cubicBezTo>
                <a:cubicBezTo>
                  <a:pt x="499" y="1117"/>
                  <a:pt x="499" y="1117"/>
                  <a:pt x="499" y="1117"/>
                </a:cubicBezTo>
                <a:cubicBezTo>
                  <a:pt x="499" y="1119"/>
                  <a:pt x="498" y="1121"/>
                  <a:pt x="498" y="1123"/>
                </a:cubicBezTo>
                <a:cubicBezTo>
                  <a:pt x="498" y="1123"/>
                  <a:pt x="498" y="1123"/>
                  <a:pt x="498" y="1123"/>
                </a:cubicBezTo>
                <a:cubicBezTo>
                  <a:pt x="497" y="1127"/>
                  <a:pt x="496" y="1131"/>
                  <a:pt x="494" y="1135"/>
                </a:cubicBezTo>
                <a:cubicBezTo>
                  <a:pt x="494" y="1135"/>
                  <a:pt x="494" y="1135"/>
                  <a:pt x="494" y="1135"/>
                </a:cubicBezTo>
                <a:cubicBezTo>
                  <a:pt x="468" y="1213"/>
                  <a:pt x="405" y="1276"/>
                  <a:pt x="324" y="1299"/>
                </a:cubicBezTo>
                <a:cubicBezTo>
                  <a:pt x="324" y="1299"/>
                  <a:pt x="324" y="1299"/>
                  <a:pt x="324" y="1299"/>
                </a:cubicBezTo>
                <a:cubicBezTo>
                  <a:pt x="318" y="1301"/>
                  <a:pt x="312" y="1302"/>
                  <a:pt x="305" y="1303"/>
                </a:cubicBezTo>
                <a:cubicBezTo>
                  <a:pt x="305" y="1303"/>
                  <a:pt x="305" y="1303"/>
                  <a:pt x="305" y="1303"/>
                </a:cubicBezTo>
                <a:cubicBezTo>
                  <a:pt x="303" y="1304"/>
                  <a:pt x="301" y="1304"/>
                  <a:pt x="299" y="1305"/>
                </a:cubicBezTo>
                <a:cubicBezTo>
                  <a:pt x="299" y="1305"/>
                  <a:pt x="299" y="1305"/>
                  <a:pt x="299" y="1305"/>
                </a:cubicBezTo>
                <a:cubicBezTo>
                  <a:pt x="297" y="1305"/>
                  <a:pt x="295" y="1305"/>
                  <a:pt x="293" y="1306"/>
                </a:cubicBezTo>
                <a:cubicBezTo>
                  <a:pt x="293" y="1306"/>
                  <a:pt x="293" y="1306"/>
                  <a:pt x="293" y="1306"/>
                </a:cubicBezTo>
                <a:cubicBezTo>
                  <a:pt x="289" y="1306"/>
                  <a:pt x="284" y="1307"/>
                  <a:pt x="280" y="1307"/>
                </a:cubicBezTo>
                <a:cubicBezTo>
                  <a:pt x="280" y="1307"/>
                  <a:pt x="280" y="1307"/>
                  <a:pt x="280" y="1307"/>
                </a:cubicBezTo>
                <a:cubicBezTo>
                  <a:pt x="278" y="1308"/>
                  <a:pt x="276" y="1308"/>
                  <a:pt x="273" y="1308"/>
                </a:cubicBezTo>
                <a:cubicBezTo>
                  <a:pt x="273" y="1308"/>
                  <a:pt x="273" y="1308"/>
                  <a:pt x="273" y="1308"/>
                </a:cubicBezTo>
                <a:cubicBezTo>
                  <a:pt x="269" y="1308"/>
                  <a:pt x="265" y="1308"/>
                  <a:pt x="260" y="1309"/>
                </a:cubicBezTo>
                <a:cubicBezTo>
                  <a:pt x="260" y="1309"/>
                  <a:pt x="260" y="1309"/>
                  <a:pt x="260" y="1309"/>
                </a:cubicBezTo>
                <a:cubicBezTo>
                  <a:pt x="258" y="1309"/>
                  <a:pt x="256" y="1309"/>
                  <a:pt x="253" y="1309"/>
                </a:cubicBezTo>
                <a:cubicBezTo>
                  <a:pt x="253" y="1309"/>
                  <a:pt x="253" y="1309"/>
                  <a:pt x="253" y="1309"/>
                </a:cubicBezTo>
                <a:cubicBezTo>
                  <a:pt x="251" y="1309"/>
                  <a:pt x="249" y="1309"/>
                  <a:pt x="247" y="1309"/>
                </a:cubicBezTo>
                <a:cubicBezTo>
                  <a:pt x="247" y="1309"/>
                  <a:pt x="247" y="1309"/>
                  <a:pt x="247" y="1309"/>
                </a:cubicBezTo>
                <a:cubicBezTo>
                  <a:pt x="242" y="1308"/>
                  <a:pt x="238" y="1308"/>
                  <a:pt x="233" y="1308"/>
                </a:cubicBezTo>
                <a:cubicBezTo>
                  <a:pt x="233" y="1308"/>
                  <a:pt x="233" y="1308"/>
                  <a:pt x="233" y="1308"/>
                </a:cubicBezTo>
                <a:cubicBezTo>
                  <a:pt x="231" y="1308"/>
                  <a:pt x="229" y="1308"/>
                  <a:pt x="227" y="1307"/>
                </a:cubicBezTo>
                <a:cubicBezTo>
                  <a:pt x="227" y="1307"/>
                  <a:pt x="227" y="1307"/>
                  <a:pt x="227" y="1307"/>
                </a:cubicBezTo>
                <a:cubicBezTo>
                  <a:pt x="223" y="1307"/>
                  <a:pt x="218" y="1306"/>
                  <a:pt x="214" y="1306"/>
                </a:cubicBezTo>
                <a:cubicBezTo>
                  <a:pt x="214" y="1306"/>
                  <a:pt x="214" y="1306"/>
                  <a:pt x="214" y="1306"/>
                </a:cubicBezTo>
                <a:cubicBezTo>
                  <a:pt x="212" y="1305"/>
                  <a:pt x="210" y="1305"/>
                  <a:pt x="208" y="1305"/>
                </a:cubicBezTo>
                <a:cubicBezTo>
                  <a:pt x="208" y="1305"/>
                  <a:pt x="208" y="1305"/>
                  <a:pt x="208" y="1305"/>
                </a:cubicBezTo>
                <a:cubicBezTo>
                  <a:pt x="205" y="1304"/>
                  <a:pt x="203" y="1304"/>
                  <a:pt x="201" y="1303"/>
                </a:cubicBezTo>
                <a:cubicBezTo>
                  <a:pt x="201" y="1303"/>
                  <a:pt x="201" y="1303"/>
                  <a:pt x="201" y="1303"/>
                </a:cubicBezTo>
                <a:cubicBezTo>
                  <a:pt x="195" y="1302"/>
                  <a:pt x="189" y="1301"/>
                  <a:pt x="183" y="1299"/>
                </a:cubicBezTo>
                <a:cubicBezTo>
                  <a:pt x="183" y="1299"/>
                  <a:pt x="183" y="1299"/>
                  <a:pt x="183" y="1299"/>
                </a:cubicBezTo>
                <a:cubicBezTo>
                  <a:pt x="101" y="1276"/>
                  <a:pt x="38" y="1213"/>
                  <a:pt x="13" y="1135"/>
                </a:cubicBezTo>
                <a:cubicBezTo>
                  <a:pt x="12" y="1135"/>
                  <a:pt x="12" y="1135"/>
                  <a:pt x="12" y="1135"/>
                </a:cubicBezTo>
                <a:cubicBezTo>
                  <a:pt x="11" y="1131"/>
                  <a:pt x="10" y="1127"/>
                  <a:pt x="9" y="1123"/>
                </a:cubicBezTo>
                <a:cubicBezTo>
                  <a:pt x="9" y="1123"/>
                  <a:pt x="9" y="1123"/>
                  <a:pt x="9" y="1123"/>
                </a:cubicBezTo>
                <a:cubicBezTo>
                  <a:pt x="8" y="1121"/>
                  <a:pt x="8" y="1119"/>
                  <a:pt x="7" y="1117"/>
                </a:cubicBezTo>
                <a:cubicBezTo>
                  <a:pt x="7" y="1117"/>
                  <a:pt x="7" y="1117"/>
                  <a:pt x="7" y="1117"/>
                </a:cubicBezTo>
                <a:cubicBezTo>
                  <a:pt x="7" y="1115"/>
                  <a:pt x="6" y="1113"/>
                  <a:pt x="6" y="1111"/>
                </a:cubicBezTo>
                <a:cubicBezTo>
                  <a:pt x="6" y="1111"/>
                  <a:pt x="6" y="1111"/>
                  <a:pt x="6" y="1111"/>
                </a:cubicBezTo>
                <a:cubicBezTo>
                  <a:pt x="5" y="1109"/>
                  <a:pt x="5" y="1107"/>
                  <a:pt x="5" y="1105"/>
                </a:cubicBezTo>
                <a:cubicBezTo>
                  <a:pt x="5" y="1105"/>
                  <a:pt x="5" y="1105"/>
                  <a:pt x="5" y="1105"/>
                </a:cubicBezTo>
                <a:cubicBezTo>
                  <a:pt x="4" y="1103"/>
                  <a:pt x="4" y="1101"/>
                  <a:pt x="3" y="1099"/>
                </a:cubicBezTo>
                <a:cubicBezTo>
                  <a:pt x="3" y="1099"/>
                  <a:pt x="3" y="1099"/>
                  <a:pt x="3" y="1099"/>
                </a:cubicBezTo>
                <a:cubicBezTo>
                  <a:pt x="3" y="1097"/>
                  <a:pt x="3" y="1095"/>
                  <a:pt x="2" y="1093"/>
                </a:cubicBezTo>
                <a:cubicBezTo>
                  <a:pt x="2" y="1093"/>
                  <a:pt x="2" y="1093"/>
                  <a:pt x="2" y="1093"/>
                </a:cubicBezTo>
                <a:cubicBezTo>
                  <a:pt x="2" y="1091"/>
                  <a:pt x="2" y="1089"/>
                  <a:pt x="1" y="1086"/>
                </a:cubicBezTo>
                <a:cubicBezTo>
                  <a:pt x="1" y="1086"/>
                  <a:pt x="1" y="1086"/>
                  <a:pt x="1" y="1086"/>
                </a:cubicBezTo>
                <a:cubicBezTo>
                  <a:pt x="1" y="1084"/>
                  <a:pt x="1" y="1082"/>
                  <a:pt x="1" y="1080"/>
                </a:cubicBezTo>
                <a:cubicBezTo>
                  <a:pt x="1" y="1080"/>
                  <a:pt x="1" y="1080"/>
                  <a:pt x="1" y="1080"/>
                </a:cubicBezTo>
                <a:cubicBezTo>
                  <a:pt x="1" y="1078"/>
                  <a:pt x="0" y="1076"/>
                  <a:pt x="0" y="1074"/>
                </a:cubicBezTo>
                <a:cubicBezTo>
                  <a:pt x="0" y="1074"/>
                  <a:pt x="0" y="1074"/>
                  <a:pt x="0" y="1074"/>
                </a:cubicBezTo>
                <a:cubicBezTo>
                  <a:pt x="0" y="1072"/>
                  <a:pt x="0" y="1070"/>
                  <a:pt x="0" y="1067"/>
                </a:cubicBezTo>
                <a:cubicBezTo>
                  <a:pt x="0" y="1067"/>
                  <a:pt x="0" y="1067"/>
                  <a:pt x="0" y="1067"/>
                </a:cubicBezTo>
                <a:cubicBezTo>
                  <a:pt x="0" y="1065"/>
                  <a:pt x="0" y="1063"/>
                  <a:pt x="0" y="1061"/>
                </a:cubicBezTo>
                <a:cubicBezTo>
                  <a:pt x="0" y="1061"/>
                  <a:pt x="0" y="1061"/>
                  <a:pt x="0" y="1061"/>
                </a:cubicBezTo>
                <a:cubicBezTo>
                  <a:pt x="0" y="1059"/>
                  <a:pt x="0" y="1057"/>
                  <a:pt x="0" y="1055"/>
                </a:cubicBezTo>
                <a:cubicBezTo>
                  <a:pt x="0" y="1055"/>
                  <a:pt x="0" y="1055"/>
                  <a:pt x="0" y="1055"/>
                </a:cubicBezTo>
                <a:cubicBezTo>
                  <a:pt x="0" y="1055"/>
                  <a:pt x="0" y="1055"/>
                  <a:pt x="0" y="1055"/>
                </a:cubicBezTo>
                <a:cubicBezTo>
                  <a:pt x="0" y="1052"/>
                  <a:pt x="0" y="1049"/>
                  <a:pt x="0" y="1047"/>
                </a:cubicBezTo>
                <a:cubicBezTo>
                  <a:pt x="0" y="1046"/>
                  <a:pt x="0" y="1045"/>
                  <a:pt x="0" y="1044"/>
                </a:cubicBezTo>
                <a:cubicBezTo>
                  <a:pt x="0" y="1043"/>
                  <a:pt x="0" y="1041"/>
                  <a:pt x="0" y="1040"/>
                </a:cubicBezTo>
                <a:cubicBezTo>
                  <a:pt x="5" y="950"/>
                  <a:pt x="54" y="896"/>
                  <a:pt x="89" y="819"/>
                </a:cubicBezTo>
                <a:close/>
              </a:path>
            </a:pathLst>
          </a:custGeom>
          <a:solidFill>
            <a:schemeClr val="accent1">
              <a:lumMod val="20000"/>
              <a:lumOff val="80000"/>
              <a:alpha val="98000"/>
            </a:schemeClr>
          </a:solidFill>
          <a:ln>
            <a:noFill/>
          </a:ln>
          <a:effectLst/>
        </p:spPr>
        <p:txBody>
          <a:bodyPr vert="horz" wrap="square" lIns="57150" tIns="28575" rIns="57150" bIns="28575"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25" b="0" i="0" u="none" strike="noStrike" kern="1200" cap="none" spc="0" normalizeH="0" baseline="0" noProof="0">
              <a:ln>
                <a:noFill/>
              </a:ln>
              <a:solidFill>
                <a:srgbClr val="3F3F3F"/>
              </a:solidFill>
              <a:effectLst/>
              <a:uLnTx/>
              <a:uFillTx/>
              <a:latin typeface="HarmonyOS Sans SC"/>
              <a:cs typeface="+mn-cs"/>
            </a:endParaRPr>
          </a:p>
        </p:txBody>
      </p:sp>
      <p:sp>
        <p:nvSpPr>
          <p:cNvPr id="6" name="Oval 8">
            <a:extLst>
              <a:ext uri="{FF2B5EF4-FFF2-40B4-BE49-F238E27FC236}">
                <a16:creationId xmlns:a16="http://schemas.microsoft.com/office/drawing/2014/main" id="{32E5CEA5-782A-40AE-864F-F3765F1FD22F}"/>
              </a:ext>
            </a:extLst>
          </p:cNvPr>
          <p:cNvSpPr>
            <a:spLocks noChangeArrowheads="1"/>
          </p:cNvSpPr>
          <p:nvPr/>
        </p:nvSpPr>
        <p:spPr bwMode="auto">
          <a:xfrm>
            <a:off x="6640988" y="3050070"/>
            <a:ext cx="676201" cy="677957"/>
          </a:xfrm>
          <a:prstGeom prst="ellipse">
            <a:avLst/>
          </a:prstGeom>
          <a:solidFill>
            <a:srgbClr val="FEFE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7150" tIns="28575" rIns="57150" bIns="28575"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25" b="0" i="0" u="none" strike="noStrike" kern="1200" cap="none" spc="0" normalizeH="0" baseline="0" noProof="0">
              <a:ln>
                <a:noFill/>
              </a:ln>
              <a:solidFill>
                <a:srgbClr val="3F3F3F"/>
              </a:solidFill>
              <a:effectLst/>
              <a:uLnTx/>
              <a:uFillTx/>
              <a:latin typeface="HarmonyOS Sans SC"/>
              <a:cs typeface="+mn-cs"/>
            </a:endParaRPr>
          </a:p>
        </p:txBody>
      </p:sp>
      <p:sp>
        <p:nvSpPr>
          <p:cNvPr id="7" name="Freeform 9">
            <a:extLst>
              <a:ext uri="{FF2B5EF4-FFF2-40B4-BE49-F238E27FC236}">
                <a16:creationId xmlns:a16="http://schemas.microsoft.com/office/drawing/2014/main" id="{D90A13E2-E56F-4506-84EF-B5E964C332FF}"/>
              </a:ext>
            </a:extLst>
          </p:cNvPr>
          <p:cNvSpPr>
            <a:spLocks/>
          </p:cNvSpPr>
          <p:nvPr/>
        </p:nvSpPr>
        <p:spPr bwMode="auto">
          <a:xfrm>
            <a:off x="7459455" y="5097991"/>
            <a:ext cx="2009282" cy="781583"/>
          </a:xfrm>
          <a:custGeom>
            <a:avLst/>
            <a:gdLst>
              <a:gd name="T0" fmla="*/ 820 w 1308"/>
              <a:gd name="T1" fmla="*/ 89 h 508"/>
              <a:gd name="T2" fmla="*/ 1046 w 1308"/>
              <a:gd name="T3" fmla="*/ 1 h 508"/>
              <a:gd name="T4" fmla="*/ 1055 w 1308"/>
              <a:gd name="T5" fmla="*/ 0 h 508"/>
              <a:gd name="T6" fmla="*/ 1067 w 1308"/>
              <a:gd name="T7" fmla="*/ 1 h 508"/>
              <a:gd name="T8" fmla="*/ 1074 w 1308"/>
              <a:gd name="T9" fmla="*/ 1 h 508"/>
              <a:gd name="T10" fmla="*/ 1086 w 1308"/>
              <a:gd name="T11" fmla="*/ 2 h 508"/>
              <a:gd name="T12" fmla="*/ 1093 w 1308"/>
              <a:gd name="T13" fmla="*/ 3 h 508"/>
              <a:gd name="T14" fmla="*/ 1105 w 1308"/>
              <a:gd name="T15" fmla="*/ 5 h 508"/>
              <a:gd name="T16" fmla="*/ 1111 w 1308"/>
              <a:gd name="T17" fmla="*/ 7 h 508"/>
              <a:gd name="T18" fmla="*/ 1123 w 1308"/>
              <a:gd name="T19" fmla="*/ 10 h 508"/>
              <a:gd name="T20" fmla="*/ 1135 w 1308"/>
              <a:gd name="T21" fmla="*/ 13 h 508"/>
              <a:gd name="T22" fmla="*/ 1303 w 1308"/>
              <a:gd name="T23" fmla="*/ 202 h 508"/>
              <a:gd name="T24" fmla="*/ 1304 w 1308"/>
              <a:gd name="T25" fmla="*/ 208 h 508"/>
              <a:gd name="T26" fmla="*/ 1307 w 1308"/>
              <a:gd name="T27" fmla="*/ 228 h 508"/>
              <a:gd name="T28" fmla="*/ 1308 w 1308"/>
              <a:gd name="T29" fmla="*/ 234 h 508"/>
              <a:gd name="T30" fmla="*/ 1308 w 1308"/>
              <a:gd name="T31" fmla="*/ 254 h 508"/>
              <a:gd name="T32" fmla="*/ 1308 w 1308"/>
              <a:gd name="T33" fmla="*/ 261 h 508"/>
              <a:gd name="T34" fmla="*/ 1307 w 1308"/>
              <a:gd name="T35" fmla="*/ 281 h 508"/>
              <a:gd name="T36" fmla="*/ 1305 w 1308"/>
              <a:gd name="T37" fmla="*/ 294 h 508"/>
              <a:gd name="T38" fmla="*/ 1303 w 1308"/>
              <a:gd name="T39" fmla="*/ 306 h 508"/>
              <a:gd name="T40" fmla="*/ 1299 w 1308"/>
              <a:gd name="T41" fmla="*/ 325 h 508"/>
              <a:gd name="T42" fmla="*/ 1123 w 1308"/>
              <a:gd name="T43" fmla="*/ 499 h 508"/>
              <a:gd name="T44" fmla="*/ 1117 w 1308"/>
              <a:gd name="T45" fmla="*/ 500 h 508"/>
              <a:gd name="T46" fmla="*/ 1105 w 1308"/>
              <a:gd name="T47" fmla="*/ 503 h 508"/>
              <a:gd name="T48" fmla="*/ 1099 w 1308"/>
              <a:gd name="T49" fmla="*/ 504 h 508"/>
              <a:gd name="T50" fmla="*/ 1086 w 1308"/>
              <a:gd name="T51" fmla="*/ 506 h 508"/>
              <a:gd name="T52" fmla="*/ 1080 w 1308"/>
              <a:gd name="T53" fmla="*/ 507 h 508"/>
              <a:gd name="T54" fmla="*/ 1067 w 1308"/>
              <a:gd name="T55" fmla="*/ 508 h 508"/>
              <a:gd name="T56" fmla="*/ 1061 w 1308"/>
              <a:gd name="T57" fmla="*/ 508 h 508"/>
              <a:gd name="T58" fmla="*/ 1053 w 1308"/>
              <a:gd name="T59" fmla="*/ 508 h 508"/>
              <a:gd name="T60" fmla="*/ 1047 w 1308"/>
              <a:gd name="T61" fmla="*/ 508 h 508"/>
              <a:gd name="T62" fmla="*/ 489 w 1308"/>
              <a:gd name="T63" fmla="*/ 419 h 508"/>
              <a:gd name="T64" fmla="*/ 262 w 1308"/>
              <a:gd name="T65" fmla="*/ 508 h 508"/>
              <a:gd name="T66" fmla="*/ 254 w 1308"/>
              <a:gd name="T67" fmla="*/ 508 h 508"/>
              <a:gd name="T68" fmla="*/ 241 w 1308"/>
              <a:gd name="T69" fmla="*/ 508 h 508"/>
              <a:gd name="T70" fmla="*/ 234 w 1308"/>
              <a:gd name="T71" fmla="*/ 507 h 508"/>
              <a:gd name="T72" fmla="*/ 222 w 1308"/>
              <a:gd name="T73" fmla="*/ 506 h 508"/>
              <a:gd name="T74" fmla="*/ 215 w 1308"/>
              <a:gd name="T75" fmla="*/ 505 h 508"/>
              <a:gd name="T76" fmla="*/ 203 w 1308"/>
              <a:gd name="T77" fmla="*/ 503 h 508"/>
              <a:gd name="T78" fmla="*/ 197 w 1308"/>
              <a:gd name="T79" fmla="*/ 502 h 508"/>
              <a:gd name="T80" fmla="*/ 185 w 1308"/>
              <a:gd name="T81" fmla="*/ 499 h 508"/>
              <a:gd name="T82" fmla="*/ 173 w 1308"/>
              <a:gd name="T83" fmla="*/ 495 h 508"/>
              <a:gd name="T84" fmla="*/ 5 w 1308"/>
              <a:gd name="T85" fmla="*/ 306 h 508"/>
              <a:gd name="T86" fmla="*/ 4 w 1308"/>
              <a:gd name="T87" fmla="*/ 300 h 508"/>
              <a:gd name="T88" fmla="*/ 1 w 1308"/>
              <a:gd name="T89" fmla="*/ 281 h 508"/>
              <a:gd name="T90" fmla="*/ 0 w 1308"/>
              <a:gd name="T91" fmla="*/ 274 h 508"/>
              <a:gd name="T92" fmla="*/ 0 w 1308"/>
              <a:gd name="T93" fmla="*/ 254 h 508"/>
              <a:gd name="T94" fmla="*/ 0 w 1308"/>
              <a:gd name="T95" fmla="*/ 248 h 508"/>
              <a:gd name="T96" fmla="*/ 1 w 1308"/>
              <a:gd name="T97" fmla="*/ 228 h 508"/>
              <a:gd name="T98" fmla="*/ 3 w 1308"/>
              <a:gd name="T99" fmla="*/ 215 h 508"/>
              <a:gd name="T100" fmla="*/ 5 w 1308"/>
              <a:gd name="T101" fmla="*/ 202 h 508"/>
              <a:gd name="T102" fmla="*/ 9 w 1308"/>
              <a:gd name="T103" fmla="*/ 184 h 508"/>
              <a:gd name="T104" fmla="*/ 185 w 1308"/>
              <a:gd name="T105" fmla="*/ 10 h 508"/>
              <a:gd name="T106" fmla="*/ 191 w 1308"/>
              <a:gd name="T107" fmla="*/ 8 h 508"/>
              <a:gd name="T108" fmla="*/ 203 w 1308"/>
              <a:gd name="T109" fmla="*/ 5 h 508"/>
              <a:gd name="T110" fmla="*/ 209 w 1308"/>
              <a:gd name="T111" fmla="*/ 4 h 508"/>
              <a:gd name="T112" fmla="*/ 222 w 1308"/>
              <a:gd name="T113" fmla="*/ 2 h 508"/>
              <a:gd name="T114" fmla="*/ 228 w 1308"/>
              <a:gd name="T115" fmla="*/ 2 h 508"/>
              <a:gd name="T116" fmla="*/ 241 w 1308"/>
              <a:gd name="T117" fmla="*/ 1 h 508"/>
              <a:gd name="T118" fmla="*/ 247 w 1308"/>
              <a:gd name="T119" fmla="*/ 1 h 508"/>
              <a:gd name="T120" fmla="*/ 254 w 1308"/>
              <a:gd name="T121" fmla="*/ 0 h 508"/>
              <a:gd name="T122" fmla="*/ 268 w 1308"/>
              <a:gd name="T123" fmla="*/ 1 h 5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08" h="508">
                <a:moveTo>
                  <a:pt x="489" y="89"/>
                </a:moveTo>
                <a:cubicBezTo>
                  <a:pt x="533" y="107"/>
                  <a:pt x="584" y="121"/>
                  <a:pt x="652" y="122"/>
                </a:cubicBezTo>
                <a:cubicBezTo>
                  <a:pt x="722" y="122"/>
                  <a:pt x="775" y="108"/>
                  <a:pt x="820" y="89"/>
                </a:cubicBezTo>
                <a:cubicBezTo>
                  <a:pt x="896" y="54"/>
                  <a:pt x="950" y="6"/>
                  <a:pt x="1039" y="1"/>
                </a:cubicBezTo>
                <a:cubicBezTo>
                  <a:pt x="1041" y="1"/>
                  <a:pt x="1043" y="1"/>
                  <a:pt x="1044" y="1"/>
                </a:cubicBezTo>
                <a:cubicBezTo>
                  <a:pt x="1046" y="1"/>
                  <a:pt x="1046" y="1"/>
                  <a:pt x="1046" y="1"/>
                </a:cubicBezTo>
                <a:cubicBezTo>
                  <a:pt x="1049" y="1"/>
                  <a:pt x="1052" y="0"/>
                  <a:pt x="1054" y="0"/>
                </a:cubicBezTo>
                <a:cubicBezTo>
                  <a:pt x="1055" y="0"/>
                  <a:pt x="1055" y="0"/>
                  <a:pt x="1055" y="0"/>
                </a:cubicBezTo>
                <a:cubicBezTo>
                  <a:pt x="1055" y="0"/>
                  <a:pt x="1055" y="0"/>
                  <a:pt x="1055" y="0"/>
                </a:cubicBezTo>
                <a:cubicBezTo>
                  <a:pt x="1057" y="0"/>
                  <a:pt x="1059" y="0"/>
                  <a:pt x="1061" y="1"/>
                </a:cubicBezTo>
                <a:cubicBezTo>
                  <a:pt x="1061" y="1"/>
                  <a:pt x="1061" y="1"/>
                  <a:pt x="1061" y="1"/>
                </a:cubicBezTo>
                <a:cubicBezTo>
                  <a:pt x="1063" y="1"/>
                  <a:pt x="1065" y="1"/>
                  <a:pt x="1067" y="1"/>
                </a:cubicBezTo>
                <a:cubicBezTo>
                  <a:pt x="1067" y="1"/>
                  <a:pt x="1067" y="1"/>
                  <a:pt x="1067" y="1"/>
                </a:cubicBezTo>
                <a:cubicBezTo>
                  <a:pt x="1069" y="1"/>
                  <a:pt x="1072" y="1"/>
                  <a:pt x="1074" y="1"/>
                </a:cubicBezTo>
                <a:cubicBezTo>
                  <a:pt x="1074" y="1"/>
                  <a:pt x="1074" y="1"/>
                  <a:pt x="1074" y="1"/>
                </a:cubicBezTo>
                <a:cubicBezTo>
                  <a:pt x="1076" y="1"/>
                  <a:pt x="1078" y="1"/>
                  <a:pt x="1080" y="2"/>
                </a:cubicBezTo>
                <a:cubicBezTo>
                  <a:pt x="1080" y="2"/>
                  <a:pt x="1080" y="2"/>
                  <a:pt x="1080" y="2"/>
                </a:cubicBezTo>
                <a:cubicBezTo>
                  <a:pt x="1082" y="2"/>
                  <a:pt x="1084" y="2"/>
                  <a:pt x="1086" y="2"/>
                </a:cubicBezTo>
                <a:cubicBezTo>
                  <a:pt x="1086" y="2"/>
                  <a:pt x="1086" y="2"/>
                  <a:pt x="1086" y="2"/>
                </a:cubicBezTo>
                <a:cubicBezTo>
                  <a:pt x="1088" y="3"/>
                  <a:pt x="1091" y="3"/>
                  <a:pt x="1093" y="3"/>
                </a:cubicBezTo>
                <a:cubicBezTo>
                  <a:pt x="1093" y="3"/>
                  <a:pt x="1093" y="3"/>
                  <a:pt x="1093" y="3"/>
                </a:cubicBezTo>
                <a:cubicBezTo>
                  <a:pt x="1095" y="4"/>
                  <a:pt x="1097" y="4"/>
                  <a:pt x="1099" y="4"/>
                </a:cubicBezTo>
                <a:cubicBezTo>
                  <a:pt x="1099" y="4"/>
                  <a:pt x="1099" y="4"/>
                  <a:pt x="1099" y="4"/>
                </a:cubicBezTo>
                <a:cubicBezTo>
                  <a:pt x="1101" y="5"/>
                  <a:pt x="1103" y="5"/>
                  <a:pt x="1105" y="5"/>
                </a:cubicBezTo>
                <a:cubicBezTo>
                  <a:pt x="1105" y="5"/>
                  <a:pt x="1105" y="5"/>
                  <a:pt x="1105" y="5"/>
                </a:cubicBezTo>
                <a:cubicBezTo>
                  <a:pt x="1107" y="6"/>
                  <a:pt x="1109" y="6"/>
                  <a:pt x="1111" y="7"/>
                </a:cubicBezTo>
                <a:cubicBezTo>
                  <a:pt x="1111" y="7"/>
                  <a:pt x="1111" y="7"/>
                  <a:pt x="1111" y="7"/>
                </a:cubicBezTo>
                <a:cubicBezTo>
                  <a:pt x="1113" y="7"/>
                  <a:pt x="1115" y="8"/>
                  <a:pt x="1117" y="8"/>
                </a:cubicBezTo>
                <a:cubicBezTo>
                  <a:pt x="1117" y="8"/>
                  <a:pt x="1117" y="8"/>
                  <a:pt x="1117" y="8"/>
                </a:cubicBezTo>
                <a:cubicBezTo>
                  <a:pt x="1119" y="9"/>
                  <a:pt x="1121" y="9"/>
                  <a:pt x="1123" y="10"/>
                </a:cubicBezTo>
                <a:cubicBezTo>
                  <a:pt x="1123" y="10"/>
                  <a:pt x="1123" y="10"/>
                  <a:pt x="1123" y="10"/>
                </a:cubicBezTo>
                <a:cubicBezTo>
                  <a:pt x="1127" y="11"/>
                  <a:pt x="1131" y="12"/>
                  <a:pt x="1135" y="13"/>
                </a:cubicBezTo>
                <a:cubicBezTo>
                  <a:pt x="1135" y="13"/>
                  <a:pt x="1135" y="13"/>
                  <a:pt x="1135" y="13"/>
                </a:cubicBezTo>
                <a:cubicBezTo>
                  <a:pt x="1213" y="39"/>
                  <a:pt x="1275" y="102"/>
                  <a:pt x="1299" y="184"/>
                </a:cubicBezTo>
                <a:cubicBezTo>
                  <a:pt x="1299" y="184"/>
                  <a:pt x="1299" y="184"/>
                  <a:pt x="1299" y="184"/>
                </a:cubicBezTo>
                <a:cubicBezTo>
                  <a:pt x="1300" y="190"/>
                  <a:pt x="1302" y="196"/>
                  <a:pt x="1303" y="202"/>
                </a:cubicBezTo>
                <a:cubicBezTo>
                  <a:pt x="1303" y="202"/>
                  <a:pt x="1303" y="202"/>
                  <a:pt x="1303" y="202"/>
                </a:cubicBezTo>
                <a:cubicBezTo>
                  <a:pt x="1304" y="204"/>
                  <a:pt x="1304" y="206"/>
                  <a:pt x="1304" y="208"/>
                </a:cubicBezTo>
                <a:cubicBezTo>
                  <a:pt x="1304" y="208"/>
                  <a:pt x="1304" y="208"/>
                  <a:pt x="1304" y="208"/>
                </a:cubicBezTo>
                <a:cubicBezTo>
                  <a:pt x="1305" y="210"/>
                  <a:pt x="1305" y="213"/>
                  <a:pt x="1305" y="215"/>
                </a:cubicBezTo>
                <a:cubicBezTo>
                  <a:pt x="1305" y="215"/>
                  <a:pt x="1305" y="215"/>
                  <a:pt x="1305" y="215"/>
                </a:cubicBezTo>
                <a:cubicBezTo>
                  <a:pt x="1306" y="219"/>
                  <a:pt x="1307" y="223"/>
                  <a:pt x="1307" y="228"/>
                </a:cubicBezTo>
                <a:cubicBezTo>
                  <a:pt x="1307" y="228"/>
                  <a:pt x="1307" y="228"/>
                  <a:pt x="1307" y="228"/>
                </a:cubicBezTo>
                <a:cubicBezTo>
                  <a:pt x="1307" y="230"/>
                  <a:pt x="1307" y="232"/>
                  <a:pt x="1308" y="234"/>
                </a:cubicBezTo>
                <a:cubicBezTo>
                  <a:pt x="1308" y="234"/>
                  <a:pt x="1308" y="234"/>
                  <a:pt x="1308" y="234"/>
                </a:cubicBezTo>
                <a:cubicBezTo>
                  <a:pt x="1308" y="239"/>
                  <a:pt x="1308" y="243"/>
                  <a:pt x="1308" y="248"/>
                </a:cubicBezTo>
                <a:cubicBezTo>
                  <a:pt x="1308" y="248"/>
                  <a:pt x="1308" y="248"/>
                  <a:pt x="1308" y="248"/>
                </a:cubicBezTo>
                <a:cubicBezTo>
                  <a:pt x="1308" y="250"/>
                  <a:pt x="1308" y="252"/>
                  <a:pt x="1308" y="254"/>
                </a:cubicBezTo>
                <a:cubicBezTo>
                  <a:pt x="1308" y="254"/>
                  <a:pt x="1308" y="254"/>
                  <a:pt x="1308" y="254"/>
                </a:cubicBezTo>
                <a:cubicBezTo>
                  <a:pt x="1308" y="257"/>
                  <a:pt x="1308" y="259"/>
                  <a:pt x="1308" y="261"/>
                </a:cubicBezTo>
                <a:cubicBezTo>
                  <a:pt x="1308" y="261"/>
                  <a:pt x="1308" y="261"/>
                  <a:pt x="1308" y="261"/>
                </a:cubicBezTo>
                <a:cubicBezTo>
                  <a:pt x="1308" y="265"/>
                  <a:pt x="1308" y="270"/>
                  <a:pt x="1308" y="274"/>
                </a:cubicBezTo>
                <a:cubicBezTo>
                  <a:pt x="1308" y="274"/>
                  <a:pt x="1308" y="274"/>
                  <a:pt x="1308" y="274"/>
                </a:cubicBezTo>
                <a:cubicBezTo>
                  <a:pt x="1307" y="276"/>
                  <a:pt x="1307" y="279"/>
                  <a:pt x="1307" y="281"/>
                </a:cubicBezTo>
                <a:cubicBezTo>
                  <a:pt x="1307" y="281"/>
                  <a:pt x="1307" y="281"/>
                  <a:pt x="1307" y="281"/>
                </a:cubicBezTo>
                <a:cubicBezTo>
                  <a:pt x="1307" y="285"/>
                  <a:pt x="1306" y="289"/>
                  <a:pt x="1305" y="294"/>
                </a:cubicBezTo>
                <a:cubicBezTo>
                  <a:pt x="1305" y="294"/>
                  <a:pt x="1305" y="294"/>
                  <a:pt x="1305" y="294"/>
                </a:cubicBezTo>
                <a:cubicBezTo>
                  <a:pt x="1305" y="296"/>
                  <a:pt x="1305" y="298"/>
                  <a:pt x="1304" y="300"/>
                </a:cubicBezTo>
                <a:cubicBezTo>
                  <a:pt x="1304" y="300"/>
                  <a:pt x="1304" y="300"/>
                  <a:pt x="1304" y="300"/>
                </a:cubicBezTo>
                <a:cubicBezTo>
                  <a:pt x="1304" y="302"/>
                  <a:pt x="1304" y="304"/>
                  <a:pt x="1303" y="306"/>
                </a:cubicBezTo>
                <a:cubicBezTo>
                  <a:pt x="1303" y="306"/>
                  <a:pt x="1303" y="306"/>
                  <a:pt x="1303" y="306"/>
                </a:cubicBezTo>
                <a:cubicBezTo>
                  <a:pt x="1302" y="313"/>
                  <a:pt x="1300" y="319"/>
                  <a:pt x="1299" y="325"/>
                </a:cubicBezTo>
                <a:cubicBezTo>
                  <a:pt x="1299" y="325"/>
                  <a:pt x="1299" y="325"/>
                  <a:pt x="1299" y="325"/>
                </a:cubicBezTo>
                <a:cubicBezTo>
                  <a:pt x="1275" y="406"/>
                  <a:pt x="1213" y="469"/>
                  <a:pt x="1135" y="495"/>
                </a:cubicBezTo>
                <a:cubicBezTo>
                  <a:pt x="1135" y="495"/>
                  <a:pt x="1135" y="495"/>
                  <a:pt x="1135" y="495"/>
                </a:cubicBezTo>
                <a:cubicBezTo>
                  <a:pt x="1131" y="496"/>
                  <a:pt x="1127" y="498"/>
                  <a:pt x="1123" y="499"/>
                </a:cubicBezTo>
                <a:cubicBezTo>
                  <a:pt x="1123" y="499"/>
                  <a:pt x="1123" y="499"/>
                  <a:pt x="1123" y="499"/>
                </a:cubicBezTo>
                <a:cubicBezTo>
                  <a:pt x="1121" y="499"/>
                  <a:pt x="1119" y="500"/>
                  <a:pt x="1117" y="500"/>
                </a:cubicBezTo>
                <a:cubicBezTo>
                  <a:pt x="1117" y="500"/>
                  <a:pt x="1117" y="500"/>
                  <a:pt x="1117" y="500"/>
                </a:cubicBezTo>
                <a:cubicBezTo>
                  <a:pt x="1115" y="501"/>
                  <a:pt x="1113" y="501"/>
                  <a:pt x="1111" y="502"/>
                </a:cubicBezTo>
                <a:cubicBezTo>
                  <a:pt x="1111" y="502"/>
                  <a:pt x="1111" y="502"/>
                  <a:pt x="1111" y="502"/>
                </a:cubicBezTo>
                <a:cubicBezTo>
                  <a:pt x="1109" y="502"/>
                  <a:pt x="1107" y="503"/>
                  <a:pt x="1105" y="503"/>
                </a:cubicBezTo>
                <a:cubicBezTo>
                  <a:pt x="1105" y="503"/>
                  <a:pt x="1105" y="503"/>
                  <a:pt x="1105" y="503"/>
                </a:cubicBezTo>
                <a:cubicBezTo>
                  <a:pt x="1103" y="504"/>
                  <a:pt x="1101" y="504"/>
                  <a:pt x="1099" y="504"/>
                </a:cubicBezTo>
                <a:cubicBezTo>
                  <a:pt x="1099" y="504"/>
                  <a:pt x="1099" y="504"/>
                  <a:pt x="1099" y="504"/>
                </a:cubicBezTo>
                <a:cubicBezTo>
                  <a:pt x="1097" y="505"/>
                  <a:pt x="1095" y="505"/>
                  <a:pt x="1093" y="505"/>
                </a:cubicBezTo>
                <a:cubicBezTo>
                  <a:pt x="1093" y="505"/>
                  <a:pt x="1093" y="505"/>
                  <a:pt x="1093" y="505"/>
                </a:cubicBezTo>
                <a:cubicBezTo>
                  <a:pt x="1091" y="506"/>
                  <a:pt x="1088" y="506"/>
                  <a:pt x="1086" y="506"/>
                </a:cubicBezTo>
                <a:cubicBezTo>
                  <a:pt x="1086" y="506"/>
                  <a:pt x="1086" y="506"/>
                  <a:pt x="1086" y="506"/>
                </a:cubicBezTo>
                <a:cubicBezTo>
                  <a:pt x="1084" y="506"/>
                  <a:pt x="1082" y="507"/>
                  <a:pt x="1080" y="507"/>
                </a:cubicBezTo>
                <a:cubicBezTo>
                  <a:pt x="1080" y="507"/>
                  <a:pt x="1080" y="507"/>
                  <a:pt x="1080" y="507"/>
                </a:cubicBezTo>
                <a:cubicBezTo>
                  <a:pt x="1078" y="507"/>
                  <a:pt x="1076" y="507"/>
                  <a:pt x="1074" y="507"/>
                </a:cubicBezTo>
                <a:cubicBezTo>
                  <a:pt x="1074" y="507"/>
                  <a:pt x="1074" y="507"/>
                  <a:pt x="1074" y="507"/>
                </a:cubicBezTo>
                <a:cubicBezTo>
                  <a:pt x="1072" y="508"/>
                  <a:pt x="1069" y="508"/>
                  <a:pt x="1067" y="508"/>
                </a:cubicBezTo>
                <a:cubicBezTo>
                  <a:pt x="1067" y="508"/>
                  <a:pt x="1067" y="508"/>
                  <a:pt x="1067" y="508"/>
                </a:cubicBezTo>
                <a:cubicBezTo>
                  <a:pt x="1065" y="508"/>
                  <a:pt x="1063" y="508"/>
                  <a:pt x="1061" y="508"/>
                </a:cubicBezTo>
                <a:cubicBezTo>
                  <a:pt x="1061" y="508"/>
                  <a:pt x="1061" y="508"/>
                  <a:pt x="1061" y="508"/>
                </a:cubicBezTo>
                <a:cubicBezTo>
                  <a:pt x="1059" y="508"/>
                  <a:pt x="1057" y="508"/>
                  <a:pt x="1055" y="508"/>
                </a:cubicBezTo>
                <a:cubicBezTo>
                  <a:pt x="1055" y="508"/>
                  <a:pt x="1055" y="508"/>
                  <a:pt x="1055" y="508"/>
                </a:cubicBezTo>
                <a:cubicBezTo>
                  <a:pt x="1053" y="508"/>
                  <a:pt x="1053" y="508"/>
                  <a:pt x="1053" y="508"/>
                </a:cubicBezTo>
                <a:cubicBezTo>
                  <a:pt x="1052" y="508"/>
                  <a:pt x="1051" y="508"/>
                  <a:pt x="1051" y="508"/>
                </a:cubicBezTo>
                <a:cubicBezTo>
                  <a:pt x="1050" y="508"/>
                  <a:pt x="1048" y="508"/>
                  <a:pt x="1047" y="508"/>
                </a:cubicBezTo>
                <a:cubicBezTo>
                  <a:pt x="1047" y="508"/>
                  <a:pt x="1047" y="508"/>
                  <a:pt x="1047" y="508"/>
                </a:cubicBezTo>
                <a:cubicBezTo>
                  <a:pt x="953" y="505"/>
                  <a:pt x="898" y="455"/>
                  <a:pt x="820" y="420"/>
                </a:cubicBezTo>
                <a:cubicBezTo>
                  <a:pt x="775" y="401"/>
                  <a:pt x="723" y="387"/>
                  <a:pt x="653" y="386"/>
                </a:cubicBezTo>
                <a:cubicBezTo>
                  <a:pt x="585" y="387"/>
                  <a:pt x="533" y="401"/>
                  <a:pt x="489" y="419"/>
                </a:cubicBezTo>
                <a:cubicBezTo>
                  <a:pt x="412" y="454"/>
                  <a:pt x="359" y="503"/>
                  <a:pt x="268" y="508"/>
                </a:cubicBezTo>
                <a:cubicBezTo>
                  <a:pt x="267" y="508"/>
                  <a:pt x="265" y="508"/>
                  <a:pt x="264" y="508"/>
                </a:cubicBezTo>
                <a:cubicBezTo>
                  <a:pt x="262" y="508"/>
                  <a:pt x="262" y="508"/>
                  <a:pt x="262" y="508"/>
                </a:cubicBezTo>
                <a:cubicBezTo>
                  <a:pt x="259" y="508"/>
                  <a:pt x="256" y="508"/>
                  <a:pt x="254" y="508"/>
                </a:cubicBezTo>
                <a:cubicBezTo>
                  <a:pt x="254" y="508"/>
                  <a:pt x="254" y="508"/>
                  <a:pt x="254" y="508"/>
                </a:cubicBezTo>
                <a:cubicBezTo>
                  <a:pt x="254" y="508"/>
                  <a:pt x="254" y="508"/>
                  <a:pt x="254" y="508"/>
                </a:cubicBezTo>
                <a:cubicBezTo>
                  <a:pt x="251" y="508"/>
                  <a:pt x="249" y="508"/>
                  <a:pt x="247" y="508"/>
                </a:cubicBezTo>
                <a:cubicBezTo>
                  <a:pt x="247" y="508"/>
                  <a:pt x="247" y="508"/>
                  <a:pt x="247" y="508"/>
                </a:cubicBezTo>
                <a:cubicBezTo>
                  <a:pt x="245" y="508"/>
                  <a:pt x="243" y="508"/>
                  <a:pt x="241" y="508"/>
                </a:cubicBezTo>
                <a:cubicBezTo>
                  <a:pt x="241" y="508"/>
                  <a:pt x="241" y="508"/>
                  <a:pt x="241" y="508"/>
                </a:cubicBezTo>
                <a:cubicBezTo>
                  <a:pt x="239" y="508"/>
                  <a:pt x="236" y="508"/>
                  <a:pt x="234" y="507"/>
                </a:cubicBezTo>
                <a:cubicBezTo>
                  <a:pt x="234" y="507"/>
                  <a:pt x="234" y="507"/>
                  <a:pt x="234" y="507"/>
                </a:cubicBezTo>
                <a:cubicBezTo>
                  <a:pt x="232" y="507"/>
                  <a:pt x="230" y="507"/>
                  <a:pt x="228" y="507"/>
                </a:cubicBezTo>
                <a:cubicBezTo>
                  <a:pt x="228" y="507"/>
                  <a:pt x="228" y="507"/>
                  <a:pt x="228" y="507"/>
                </a:cubicBezTo>
                <a:cubicBezTo>
                  <a:pt x="226" y="507"/>
                  <a:pt x="224" y="506"/>
                  <a:pt x="222" y="506"/>
                </a:cubicBezTo>
                <a:cubicBezTo>
                  <a:pt x="222" y="506"/>
                  <a:pt x="222" y="506"/>
                  <a:pt x="222" y="506"/>
                </a:cubicBezTo>
                <a:cubicBezTo>
                  <a:pt x="220" y="506"/>
                  <a:pt x="218" y="506"/>
                  <a:pt x="215" y="505"/>
                </a:cubicBezTo>
                <a:cubicBezTo>
                  <a:pt x="215" y="505"/>
                  <a:pt x="215" y="505"/>
                  <a:pt x="215" y="505"/>
                </a:cubicBezTo>
                <a:cubicBezTo>
                  <a:pt x="213" y="505"/>
                  <a:pt x="211" y="505"/>
                  <a:pt x="209" y="504"/>
                </a:cubicBezTo>
                <a:cubicBezTo>
                  <a:pt x="209" y="504"/>
                  <a:pt x="209" y="504"/>
                  <a:pt x="209" y="504"/>
                </a:cubicBezTo>
                <a:cubicBezTo>
                  <a:pt x="207" y="504"/>
                  <a:pt x="205" y="504"/>
                  <a:pt x="203" y="503"/>
                </a:cubicBezTo>
                <a:cubicBezTo>
                  <a:pt x="203" y="503"/>
                  <a:pt x="203" y="503"/>
                  <a:pt x="203" y="503"/>
                </a:cubicBezTo>
                <a:cubicBezTo>
                  <a:pt x="201" y="503"/>
                  <a:pt x="199" y="502"/>
                  <a:pt x="197" y="502"/>
                </a:cubicBezTo>
                <a:cubicBezTo>
                  <a:pt x="197" y="502"/>
                  <a:pt x="197" y="502"/>
                  <a:pt x="197" y="502"/>
                </a:cubicBezTo>
                <a:cubicBezTo>
                  <a:pt x="195" y="501"/>
                  <a:pt x="193" y="501"/>
                  <a:pt x="191" y="500"/>
                </a:cubicBezTo>
                <a:cubicBezTo>
                  <a:pt x="191" y="500"/>
                  <a:pt x="191" y="500"/>
                  <a:pt x="191" y="500"/>
                </a:cubicBezTo>
                <a:cubicBezTo>
                  <a:pt x="189" y="500"/>
                  <a:pt x="187" y="499"/>
                  <a:pt x="185" y="499"/>
                </a:cubicBezTo>
                <a:cubicBezTo>
                  <a:pt x="185" y="499"/>
                  <a:pt x="185" y="499"/>
                  <a:pt x="185" y="499"/>
                </a:cubicBezTo>
                <a:cubicBezTo>
                  <a:pt x="181" y="498"/>
                  <a:pt x="177" y="496"/>
                  <a:pt x="173" y="495"/>
                </a:cubicBezTo>
                <a:cubicBezTo>
                  <a:pt x="173" y="495"/>
                  <a:pt x="173" y="495"/>
                  <a:pt x="173" y="495"/>
                </a:cubicBezTo>
                <a:cubicBezTo>
                  <a:pt x="95" y="469"/>
                  <a:pt x="33" y="406"/>
                  <a:pt x="9" y="325"/>
                </a:cubicBezTo>
                <a:cubicBezTo>
                  <a:pt x="9" y="325"/>
                  <a:pt x="9" y="325"/>
                  <a:pt x="9" y="325"/>
                </a:cubicBezTo>
                <a:cubicBezTo>
                  <a:pt x="8" y="319"/>
                  <a:pt x="6" y="313"/>
                  <a:pt x="5" y="306"/>
                </a:cubicBezTo>
                <a:cubicBezTo>
                  <a:pt x="5" y="306"/>
                  <a:pt x="5" y="306"/>
                  <a:pt x="5" y="306"/>
                </a:cubicBezTo>
                <a:cubicBezTo>
                  <a:pt x="4" y="304"/>
                  <a:pt x="4" y="302"/>
                  <a:pt x="4" y="300"/>
                </a:cubicBezTo>
                <a:cubicBezTo>
                  <a:pt x="4" y="300"/>
                  <a:pt x="4" y="300"/>
                  <a:pt x="4" y="300"/>
                </a:cubicBezTo>
                <a:cubicBezTo>
                  <a:pt x="3" y="298"/>
                  <a:pt x="3" y="296"/>
                  <a:pt x="3" y="294"/>
                </a:cubicBezTo>
                <a:cubicBezTo>
                  <a:pt x="3" y="294"/>
                  <a:pt x="3" y="294"/>
                  <a:pt x="3" y="294"/>
                </a:cubicBezTo>
                <a:cubicBezTo>
                  <a:pt x="2" y="289"/>
                  <a:pt x="1" y="285"/>
                  <a:pt x="1" y="281"/>
                </a:cubicBezTo>
                <a:cubicBezTo>
                  <a:pt x="1" y="281"/>
                  <a:pt x="1" y="281"/>
                  <a:pt x="1" y="281"/>
                </a:cubicBezTo>
                <a:cubicBezTo>
                  <a:pt x="1" y="279"/>
                  <a:pt x="1" y="276"/>
                  <a:pt x="0" y="274"/>
                </a:cubicBezTo>
                <a:cubicBezTo>
                  <a:pt x="0" y="274"/>
                  <a:pt x="0" y="274"/>
                  <a:pt x="0" y="274"/>
                </a:cubicBezTo>
                <a:cubicBezTo>
                  <a:pt x="0" y="270"/>
                  <a:pt x="0" y="265"/>
                  <a:pt x="0" y="261"/>
                </a:cubicBezTo>
                <a:cubicBezTo>
                  <a:pt x="0" y="261"/>
                  <a:pt x="0" y="261"/>
                  <a:pt x="0" y="261"/>
                </a:cubicBezTo>
                <a:cubicBezTo>
                  <a:pt x="0" y="259"/>
                  <a:pt x="0" y="257"/>
                  <a:pt x="0" y="254"/>
                </a:cubicBezTo>
                <a:cubicBezTo>
                  <a:pt x="0" y="254"/>
                  <a:pt x="0" y="254"/>
                  <a:pt x="0" y="254"/>
                </a:cubicBezTo>
                <a:cubicBezTo>
                  <a:pt x="0" y="252"/>
                  <a:pt x="0" y="250"/>
                  <a:pt x="0" y="248"/>
                </a:cubicBezTo>
                <a:cubicBezTo>
                  <a:pt x="0" y="248"/>
                  <a:pt x="0" y="248"/>
                  <a:pt x="0" y="248"/>
                </a:cubicBezTo>
                <a:cubicBezTo>
                  <a:pt x="0" y="243"/>
                  <a:pt x="0" y="239"/>
                  <a:pt x="0" y="234"/>
                </a:cubicBezTo>
                <a:cubicBezTo>
                  <a:pt x="0" y="234"/>
                  <a:pt x="0" y="234"/>
                  <a:pt x="0" y="234"/>
                </a:cubicBezTo>
                <a:cubicBezTo>
                  <a:pt x="1" y="232"/>
                  <a:pt x="1" y="230"/>
                  <a:pt x="1" y="228"/>
                </a:cubicBezTo>
                <a:cubicBezTo>
                  <a:pt x="1" y="228"/>
                  <a:pt x="1" y="228"/>
                  <a:pt x="1" y="228"/>
                </a:cubicBezTo>
                <a:cubicBezTo>
                  <a:pt x="1" y="223"/>
                  <a:pt x="2" y="219"/>
                  <a:pt x="3" y="215"/>
                </a:cubicBezTo>
                <a:cubicBezTo>
                  <a:pt x="3" y="215"/>
                  <a:pt x="3" y="215"/>
                  <a:pt x="3" y="215"/>
                </a:cubicBezTo>
                <a:cubicBezTo>
                  <a:pt x="3" y="213"/>
                  <a:pt x="3" y="210"/>
                  <a:pt x="4" y="208"/>
                </a:cubicBezTo>
                <a:cubicBezTo>
                  <a:pt x="4" y="208"/>
                  <a:pt x="4" y="208"/>
                  <a:pt x="4" y="208"/>
                </a:cubicBezTo>
                <a:cubicBezTo>
                  <a:pt x="4" y="206"/>
                  <a:pt x="4" y="204"/>
                  <a:pt x="5" y="202"/>
                </a:cubicBezTo>
                <a:cubicBezTo>
                  <a:pt x="5" y="202"/>
                  <a:pt x="5" y="202"/>
                  <a:pt x="5" y="202"/>
                </a:cubicBezTo>
                <a:cubicBezTo>
                  <a:pt x="6" y="196"/>
                  <a:pt x="8" y="190"/>
                  <a:pt x="9" y="184"/>
                </a:cubicBezTo>
                <a:cubicBezTo>
                  <a:pt x="9" y="184"/>
                  <a:pt x="9" y="184"/>
                  <a:pt x="9" y="184"/>
                </a:cubicBezTo>
                <a:cubicBezTo>
                  <a:pt x="33" y="102"/>
                  <a:pt x="95" y="39"/>
                  <a:pt x="173" y="13"/>
                </a:cubicBezTo>
                <a:cubicBezTo>
                  <a:pt x="173" y="13"/>
                  <a:pt x="173" y="13"/>
                  <a:pt x="173" y="13"/>
                </a:cubicBezTo>
                <a:cubicBezTo>
                  <a:pt x="177" y="12"/>
                  <a:pt x="181" y="11"/>
                  <a:pt x="185" y="10"/>
                </a:cubicBezTo>
                <a:cubicBezTo>
                  <a:pt x="185" y="10"/>
                  <a:pt x="185" y="10"/>
                  <a:pt x="185" y="10"/>
                </a:cubicBezTo>
                <a:cubicBezTo>
                  <a:pt x="187" y="9"/>
                  <a:pt x="189" y="9"/>
                  <a:pt x="191" y="8"/>
                </a:cubicBezTo>
                <a:cubicBezTo>
                  <a:pt x="191" y="8"/>
                  <a:pt x="191" y="8"/>
                  <a:pt x="191" y="8"/>
                </a:cubicBezTo>
                <a:cubicBezTo>
                  <a:pt x="193" y="8"/>
                  <a:pt x="195" y="7"/>
                  <a:pt x="197" y="7"/>
                </a:cubicBezTo>
                <a:cubicBezTo>
                  <a:pt x="197" y="7"/>
                  <a:pt x="197" y="7"/>
                  <a:pt x="197" y="7"/>
                </a:cubicBezTo>
                <a:cubicBezTo>
                  <a:pt x="199" y="6"/>
                  <a:pt x="201" y="6"/>
                  <a:pt x="203" y="5"/>
                </a:cubicBezTo>
                <a:cubicBezTo>
                  <a:pt x="203" y="5"/>
                  <a:pt x="203" y="5"/>
                  <a:pt x="203" y="5"/>
                </a:cubicBezTo>
                <a:cubicBezTo>
                  <a:pt x="205" y="5"/>
                  <a:pt x="207" y="5"/>
                  <a:pt x="209" y="4"/>
                </a:cubicBezTo>
                <a:cubicBezTo>
                  <a:pt x="209" y="4"/>
                  <a:pt x="209" y="4"/>
                  <a:pt x="209" y="4"/>
                </a:cubicBezTo>
                <a:cubicBezTo>
                  <a:pt x="211" y="4"/>
                  <a:pt x="213" y="4"/>
                  <a:pt x="215" y="3"/>
                </a:cubicBezTo>
                <a:cubicBezTo>
                  <a:pt x="215" y="3"/>
                  <a:pt x="215" y="3"/>
                  <a:pt x="215" y="3"/>
                </a:cubicBezTo>
                <a:cubicBezTo>
                  <a:pt x="218" y="3"/>
                  <a:pt x="220" y="3"/>
                  <a:pt x="222" y="2"/>
                </a:cubicBezTo>
                <a:cubicBezTo>
                  <a:pt x="222" y="2"/>
                  <a:pt x="222" y="2"/>
                  <a:pt x="222" y="2"/>
                </a:cubicBezTo>
                <a:cubicBezTo>
                  <a:pt x="224" y="2"/>
                  <a:pt x="226" y="2"/>
                  <a:pt x="228" y="2"/>
                </a:cubicBezTo>
                <a:cubicBezTo>
                  <a:pt x="228" y="2"/>
                  <a:pt x="228" y="2"/>
                  <a:pt x="228" y="2"/>
                </a:cubicBezTo>
                <a:cubicBezTo>
                  <a:pt x="230" y="1"/>
                  <a:pt x="232" y="1"/>
                  <a:pt x="234" y="1"/>
                </a:cubicBezTo>
                <a:cubicBezTo>
                  <a:pt x="234" y="1"/>
                  <a:pt x="234" y="1"/>
                  <a:pt x="234" y="1"/>
                </a:cubicBezTo>
                <a:cubicBezTo>
                  <a:pt x="236" y="1"/>
                  <a:pt x="239" y="1"/>
                  <a:pt x="241" y="1"/>
                </a:cubicBezTo>
                <a:cubicBezTo>
                  <a:pt x="241" y="1"/>
                  <a:pt x="241" y="1"/>
                  <a:pt x="241" y="1"/>
                </a:cubicBezTo>
                <a:cubicBezTo>
                  <a:pt x="243" y="1"/>
                  <a:pt x="245" y="1"/>
                  <a:pt x="247" y="1"/>
                </a:cubicBezTo>
                <a:cubicBezTo>
                  <a:pt x="247" y="1"/>
                  <a:pt x="247" y="1"/>
                  <a:pt x="247" y="1"/>
                </a:cubicBezTo>
                <a:cubicBezTo>
                  <a:pt x="249" y="0"/>
                  <a:pt x="251" y="0"/>
                  <a:pt x="254" y="0"/>
                </a:cubicBezTo>
                <a:cubicBezTo>
                  <a:pt x="254" y="0"/>
                  <a:pt x="254" y="0"/>
                  <a:pt x="254" y="0"/>
                </a:cubicBezTo>
                <a:cubicBezTo>
                  <a:pt x="254" y="0"/>
                  <a:pt x="254" y="0"/>
                  <a:pt x="254" y="0"/>
                </a:cubicBezTo>
                <a:cubicBezTo>
                  <a:pt x="256" y="0"/>
                  <a:pt x="259" y="1"/>
                  <a:pt x="262" y="1"/>
                </a:cubicBezTo>
                <a:cubicBezTo>
                  <a:pt x="262" y="1"/>
                  <a:pt x="263" y="1"/>
                  <a:pt x="264" y="1"/>
                </a:cubicBezTo>
                <a:cubicBezTo>
                  <a:pt x="265" y="1"/>
                  <a:pt x="267" y="1"/>
                  <a:pt x="268" y="1"/>
                </a:cubicBezTo>
                <a:cubicBezTo>
                  <a:pt x="359" y="6"/>
                  <a:pt x="412" y="55"/>
                  <a:pt x="489" y="89"/>
                </a:cubicBezTo>
                <a:close/>
              </a:path>
            </a:pathLst>
          </a:custGeom>
          <a:solidFill>
            <a:schemeClr val="accent1">
              <a:lumMod val="20000"/>
              <a:lumOff val="80000"/>
              <a:alpha val="98000"/>
            </a:schemeClr>
          </a:solidFill>
          <a:ln>
            <a:noFill/>
          </a:ln>
          <a:effectLst/>
        </p:spPr>
        <p:txBody>
          <a:bodyPr vert="horz" wrap="square" lIns="57150" tIns="28575" rIns="57150" bIns="28575"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25" b="0" i="0" u="none" strike="noStrike" kern="1200" cap="none" spc="0" normalizeH="0" baseline="0" noProof="0">
              <a:ln>
                <a:noFill/>
              </a:ln>
              <a:solidFill>
                <a:srgbClr val="3F3F3F"/>
              </a:solidFill>
              <a:effectLst/>
              <a:uLnTx/>
              <a:uFillTx/>
              <a:latin typeface="HarmonyOS Sans SC"/>
              <a:cs typeface="+mn-cs"/>
            </a:endParaRPr>
          </a:p>
        </p:txBody>
      </p:sp>
      <p:sp>
        <p:nvSpPr>
          <p:cNvPr id="8" name="Freeform 13">
            <a:extLst>
              <a:ext uri="{FF2B5EF4-FFF2-40B4-BE49-F238E27FC236}">
                <a16:creationId xmlns:a16="http://schemas.microsoft.com/office/drawing/2014/main" id="{FA22B5C9-D7A9-4F8E-BEF8-AF66FED8D75E}"/>
              </a:ext>
            </a:extLst>
          </p:cNvPr>
          <p:cNvSpPr>
            <a:spLocks/>
          </p:cNvSpPr>
          <p:nvPr/>
        </p:nvSpPr>
        <p:spPr bwMode="auto">
          <a:xfrm>
            <a:off x="9577632" y="3018455"/>
            <a:ext cx="742943" cy="741186"/>
          </a:xfrm>
          <a:custGeom>
            <a:avLst/>
            <a:gdLst>
              <a:gd name="T0" fmla="*/ 86 w 483"/>
              <a:gd name="T1" fmla="*/ 397 h 483"/>
              <a:gd name="T2" fmla="*/ 397 w 483"/>
              <a:gd name="T3" fmla="*/ 397 h 483"/>
              <a:gd name="T4" fmla="*/ 397 w 483"/>
              <a:gd name="T5" fmla="*/ 86 h 483"/>
              <a:gd name="T6" fmla="*/ 86 w 483"/>
              <a:gd name="T7" fmla="*/ 86 h 483"/>
              <a:gd name="T8" fmla="*/ 86 w 483"/>
              <a:gd name="T9" fmla="*/ 397 h 483"/>
            </a:gdLst>
            <a:ahLst/>
            <a:cxnLst>
              <a:cxn ang="0">
                <a:pos x="T0" y="T1"/>
              </a:cxn>
              <a:cxn ang="0">
                <a:pos x="T2" y="T3"/>
              </a:cxn>
              <a:cxn ang="0">
                <a:pos x="T4" y="T5"/>
              </a:cxn>
              <a:cxn ang="0">
                <a:pos x="T6" y="T7"/>
              </a:cxn>
              <a:cxn ang="0">
                <a:pos x="T8" y="T9"/>
              </a:cxn>
            </a:cxnLst>
            <a:rect l="0" t="0" r="r" b="b"/>
            <a:pathLst>
              <a:path w="483" h="483">
                <a:moveTo>
                  <a:pt x="86" y="397"/>
                </a:moveTo>
                <a:cubicBezTo>
                  <a:pt x="172" y="483"/>
                  <a:pt x="311" y="483"/>
                  <a:pt x="397" y="397"/>
                </a:cubicBezTo>
                <a:cubicBezTo>
                  <a:pt x="483" y="311"/>
                  <a:pt x="483" y="172"/>
                  <a:pt x="397" y="86"/>
                </a:cubicBezTo>
                <a:cubicBezTo>
                  <a:pt x="311" y="0"/>
                  <a:pt x="172" y="0"/>
                  <a:pt x="86" y="86"/>
                </a:cubicBezTo>
                <a:cubicBezTo>
                  <a:pt x="0" y="172"/>
                  <a:pt x="0" y="311"/>
                  <a:pt x="86" y="397"/>
                </a:cubicBezTo>
                <a:close/>
              </a:path>
            </a:pathLst>
          </a:custGeom>
          <a:solidFill>
            <a:srgbClr val="FEFE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7150" tIns="28575" rIns="57150" bIns="28575"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25" b="0" i="0" u="none" strike="noStrike" kern="1200" cap="none" spc="0" normalizeH="0" baseline="0" noProof="0">
              <a:ln>
                <a:noFill/>
              </a:ln>
              <a:solidFill>
                <a:srgbClr val="3F3F3F"/>
              </a:solidFill>
              <a:effectLst/>
              <a:uLnTx/>
              <a:uFillTx/>
              <a:latin typeface="HarmonyOS Sans SC"/>
              <a:cs typeface="+mn-cs"/>
            </a:endParaRPr>
          </a:p>
        </p:txBody>
      </p:sp>
      <p:sp>
        <p:nvSpPr>
          <p:cNvPr id="9" name="Freeform 17">
            <a:extLst>
              <a:ext uri="{FF2B5EF4-FFF2-40B4-BE49-F238E27FC236}">
                <a16:creationId xmlns:a16="http://schemas.microsoft.com/office/drawing/2014/main" id="{9AB7F282-7877-44A9-9936-C4682491D05B}"/>
              </a:ext>
            </a:extLst>
          </p:cNvPr>
          <p:cNvSpPr>
            <a:spLocks/>
          </p:cNvSpPr>
          <p:nvPr/>
        </p:nvSpPr>
        <p:spPr bwMode="auto">
          <a:xfrm>
            <a:off x="9560068" y="2997379"/>
            <a:ext cx="779826" cy="2012794"/>
          </a:xfrm>
          <a:custGeom>
            <a:avLst/>
            <a:gdLst>
              <a:gd name="T0" fmla="*/ 89 w 508"/>
              <a:gd name="T1" fmla="*/ 488 h 1309"/>
              <a:gd name="T2" fmla="*/ 0 w 508"/>
              <a:gd name="T3" fmla="*/ 262 h 1309"/>
              <a:gd name="T4" fmla="*/ 0 w 508"/>
              <a:gd name="T5" fmla="*/ 254 h 1309"/>
              <a:gd name="T6" fmla="*/ 0 w 508"/>
              <a:gd name="T7" fmla="*/ 241 h 1309"/>
              <a:gd name="T8" fmla="*/ 1 w 508"/>
              <a:gd name="T9" fmla="*/ 234 h 1309"/>
              <a:gd name="T10" fmla="*/ 2 w 508"/>
              <a:gd name="T11" fmla="*/ 222 h 1309"/>
              <a:gd name="T12" fmla="*/ 3 w 508"/>
              <a:gd name="T13" fmla="*/ 216 h 1309"/>
              <a:gd name="T14" fmla="*/ 5 w 508"/>
              <a:gd name="T15" fmla="*/ 203 h 1309"/>
              <a:gd name="T16" fmla="*/ 7 w 508"/>
              <a:gd name="T17" fmla="*/ 197 h 1309"/>
              <a:gd name="T18" fmla="*/ 9 w 508"/>
              <a:gd name="T19" fmla="*/ 185 h 1309"/>
              <a:gd name="T20" fmla="*/ 13 w 508"/>
              <a:gd name="T21" fmla="*/ 173 h 1309"/>
              <a:gd name="T22" fmla="*/ 202 w 508"/>
              <a:gd name="T23" fmla="*/ 5 h 1309"/>
              <a:gd name="T24" fmla="*/ 208 w 508"/>
              <a:gd name="T25" fmla="*/ 4 h 1309"/>
              <a:gd name="T26" fmla="*/ 227 w 508"/>
              <a:gd name="T27" fmla="*/ 1 h 1309"/>
              <a:gd name="T28" fmla="*/ 234 w 508"/>
              <a:gd name="T29" fmla="*/ 0 h 1309"/>
              <a:gd name="T30" fmla="*/ 254 w 508"/>
              <a:gd name="T31" fmla="*/ 0 h 1309"/>
              <a:gd name="T32" fmla="*/ 261 w 508"/>
              <a:gd name="T33" fmla="*/ 0 h 1309"/>
              <a:gd name="T34" fmla="*/ 281 w 508"/>
              <a:gd name="T35" fmla="*/ 1 h 1309"/>
              <a:gd name="T36" fmla="*/ 294 w 508"/>
              <a:gd name="T37" fmla="*/ 3 h 1309"/>
              <a:gd name="T38" fmla="*/ 306 w 508"/>
              <a:gd name="T39" fmla="*/ 5 h 1309"/>
              <a:gd name="T40" fmla="*/ 325 w 508"/>
              <a:gd name="T41" fmla="*/ 10 h 1309"/>
              <a:gd name="T42" fmla="*/ 498 w 508"/>
              <a:gd name="T43" fmla="*/ 185 h 1309"/>
              <a:gd name="T44" fmla="*/ 500 w 508"/>
              <a:gd name="T45" fmla="*/ 191 h 1309"/>
              <a:gd name="T46" fmla="*/ 503 w 508"/>
              <a:gd name="T47" fmla="*/ 203 h 1309"/>
              <a:gd name="T48" fmla="*/ 504 w 508"/>
              <a:gd name="T49" fmla="*/ 209 h 1309"/>
              <a:gd name="T50" fmla="*/ 506 w 508"/>
              <a:gd name="T51" fmla="*/ 222 h 1309"/>
              <a:gd name="T52" fmla="*/ 507 w 508"/>
              <a:gd name="T53" fmla="*/ 228 h 1309"/>
              <a:gd name="T54" fmla="*/ 508 w 508"/>
              <a:gd name="T55" fmla="*/ 241 h 1309"/>
              <a:gd name="T56" fmla="*/ 508 w 508"/>
              <a:gd name="T57" fmla="*/ 247 h 1309"/>
              <a:gd name="T58" fmla="*/ 508 w 508"/>
              <a:gd name="T59" fmla="*/ 255 h 1309"/>
              <a:gd name="T60" fmla="*/ 508 w 508"/>
              <a:gd name="T61" fmla="*/ 261 h 1309"/>
              <a:gd name="T62" fmla="*/ 419 w 508"/>
              <a:gd name="T63" fmla="*/ 819 h 1309"/>
              <a:gd name="T64" fmla="*/ 508 w 508"/>
              <a:gd name="T65" fmla="*/ 1047 h 1309"/>
              <a:gd name="T66" fmla="*/ 508 w 508"/>
              <a:gd name="T67" fmla="*/ 1055 h 1309"/>
              <a:gd name="T68" fmla="*/ 508 w 508"/>
              <a:gd name="T69" fmla="*/ 1067 h 1309"/>
              <a:gd name="T70" fmla="*/ 507 w 508"/>
              <a:gd name="T71" fmla="*/ 1074 h 1309"/>
              <a:gd name="T72" fmla="*/ 506 w 508"/>
              <a:gd name="T73" fmla="*/ 1086 h 1309"/>
              <a:gd name="T74" fmla="*/ 505 w 508"/>
              <a:gd name="T75" fmla="*/ 1093 h 1309"/>
              <a:gd name="T76" fmla="*/ 503 w 508"/>
              <a:gd name="T77" fmla="*/ 1105 h 1309"/>
              <a:gd name="T78" fmla="*/ 502 w 508"/>
              <a:gd name="T79" fmla="*/ 1111 h 1309"/>
              <a:gd name="T80" fmla="*/ 498 w 508"/>
              <a:gd name="T81" fmla="*/ 1123 h 1309"/>
              <a:gd name="T82" fmla="*/ 495 w 508"/>
              <a:gd name="T83" fmla="*/ 1135 h 1309"/>
              <a:gd name="T84" fmla="*/ 306 w 508"/>
              <a:gd name="T85" fmla="*/ 1303 h 1309"/>
              <a:gd name="T86" fmla="*/ 300 w 508"/>
              <a:gd name="T87" fmla="*/ 1305 h 1309"/>
              <a:gd name="T88" fmla="*/ 281 w 508"/>
              <a:gd name="T89" fmla="*/ 1307 h 1309"/>
              <a:gd name="T90" fmla="*/ 274 w 508"/>
              <a:gd name="T91" fmla="*/ 1308 h 1309"/>
              <a:gd name="T92" fmla="*/ 254 w 508"/>
              <a:gd name="T93" fmla="*/ 1309 h 1309"/>
              <a:gd name="T94" fmla="*/ 247 w 508"/>
              <a:gd name="T95" fmla="*/ 1309 h 1309"/>
              <a:gd name="T96" fmla="*/ 227 w 508"/>
              <a:gd name="T97" fmla="*/ 1307 h 1309"/>
              <a:gd name="T98" fmla="*/ 215 w 508"/>
              <a:gd name="T99" fmla="*/ 1306 h 1309"/>
              <a:gd name="T100" fmla="*/ 202 w 508"/>
              <a:gd name="T101" fmla="*/ 1303 h 1309"/>
              <a:gd name="T102" fmla="*/ 183 w 508"/>
              <a:gd name="T103" fmla="*/ 1299 h 1309"/>
              <a:gd name="T104" fmla="*/ 9 w 508"/>
              <a:gd name="T105" fmla="*/ 1123 h 1309"/>
              <a:gd name="T106" fmla="*/ 8 w 508"/>
              <a:gd name="T107" fmla="*/ 1117 h 1309"/>
              <a:gd name="T108" fmla="*/ 5 w 508"/>
              <a:gd name="T109" fmla="*/ 1105 h 1309"/>
              <a:gd name="T110" fmla="*/ 4 w 508"/>
              <a:gd name="T111" fmla="*/ 1099 h 1309"/>
              <a:gd name="T112" fmla="*/ 2 w 508"/>
              <a:gd name="T113" fmla="*/ 1086 h 1309"/>
              <a:gd name="T114" fmla="*/ 1 w 508"/>
              <a:gd name="T115" fmla="*/ 1080 h 1309"/>
              <a:gd name="T116" fmla="*/ 0 w 508"/>
              <a:gd name="T117" fmla="*/ 1067 h 1309"/>
              <a:gd name="T118" fmla="*/ 0 w 508"/>
              <a:gd name="T119" fmla="*/ 1061 h 1309"/>
              <a:gd name="T120" fmla="*/ 0 w 508"/>
              <a:gd name="T121" fmla="*/ 1055 h 1309"/>
              <a:gd name="T122" fmla="*/ 1 w 508"/>
              <a:gd name="T123" fmla="*/ 1040 h 1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08" h="1309">
                <a:moveTo>
                  <a:pt x="89" y="819"/>
                </a:moveTo>
                <a:cubicBezTo>
                  <a:pt x="107" y="775"/>
                  <a:pt x="121" y="724"/>
                  <a:pt x="122" y="656"/>
                </a:cubicBezTo>
                <a:cubicBezTo>
                  <a:pt x="122" y="586"/>
                  <a:pt x="107" y="533"/>
                  <a:pt x="89" y="488"/>
                </a:cubicBezTo>
                <a:cubicBezTo>
                  <a:pt x="54" y="412"/>
                  <a:pt x="6" y="358"/>
                  <a:pt x="1" y="269"/>
                </a:cubicBezTo>
                <a:cubicBezTo>
                  <a:pt x="0" y="267"/>
                  <a:pt x="0" y="266"/>
                  <a:pt x="0" y="264"/>
                </a:cubicBezTo>
                <a:cubicBezTo>
                  <a:pt x="0" y="262"/>
                  <a:pt x="0" y="262"/>
                  <a:pt x="0" y="262"/>
                </a:cubicBezTo>
                <a:cubicBezTo>
                  <a:pt x="0" y="259"/>
                  <a:pt x="0" y="257"/>
                  <a:pt x="0" y="254"/>
                </a:cubicBezTo>
                <a:cubicBezTo>
                  <a:pt x="0" y="254"/>
                  <a:pt x="0" y="254"/>
                  <a:pt x="0" y="254"/>
                </a:cubicBezTo>
                <a:cubicBezTo>
                  <a:pt x="0" y="254"/>
                  <a:pt x="0" y="254"/>
                  <a:pt x="0" y="254"/>
                </a:cubicBezTo>
                <a:cubicBezTo>
                  <a:pt x="0" y="251"/>
                  <a:pt x="0" y="249"/>
                  <a:pt x="0" y="247"/>
                </a:cubicBezTo>
                <a:cubicBezTo>
                  <a:pt x="0" y="247"/>
                  <a:pt x="0" y="247"/>
                  <a:pt x="0" y="247"/>
                </a:cubicBezTo>
                <a:cubicBezTo>
                  <a:pt x="0" y="245"/>
                  <a:pt x="0" y="243"/>
                  <a:pt x="0" y="241"/>
                </a:cubicBezTo>
                <a:cubicBezTo>
                  <a:pt x="0" y="241"/>
                  <a:pt x="0" y="241"/>
                  <a:pt x="0" y="241"/>
                </a:cubicBezTo>
                <a:cubicBezTo>
                  <a:pt x="1" y="239"/>
                  <a:pt x="1" y="237"/>
                  <a:pt x="1" y="234"/>
                </a:cubicBezTo>
                <a:cubicBezTo>
                  <a:pt x="1" y="234"/>
                  <a:pt x="1" y="234"/>
                  <a:pt x="1" y="234"/>
                </a:cubicBezTo>
                <a:cubicBezTo>
                  <a:pt x="1" y="232"/>
                  <a:pt x="1" y="230"/>
                  <a:pt x="1" y="228"/>
                </a:cubicBezTo>
                <a:cubicBezTo>
                  <a:pt x="1" y="228"/>
                  <a:pt x="1" y="228"/>
                  <a:pt x="1" y="228"/>
                </a:cubicBezTo>
                <a:cubicBezTo>
                  <a:pt x="2" y="226"/>
                  <a:pt x="2" y="224"/>
                  <a:pt x="2" y="222"/>
                </a:cubicBezTo>
                <a:cubicBezTo>
                  <a:pt x="2" y="222"/>
                  <a:pt x="2" y="222"/>
                  <a:pt x="2" y="222"/>
                </a:cubicBezTo>
                <a:cubicBezTo>
                  <a:pt x="2" y="220"/>
                  <a:pt x="3" y="218"/>
                  <a:pt x="3" y="216"/>
                </a:cubicBezTo>
                <a:cubicBezTo>
                  <a:pt x="3" y="216"/>
                  <a:pt x="3" y="216"/>
                  <a:pt x="3" y="216"/>
                </a:cubicBezTo>
                <a:cubicBezTo>
                  <a:pt x="3" y="214"/>
                  <a:pt x="4" y="212"/>
                  <a:pt x="4" y="209"/>
                </a:cubicBezTo>
                <a:cubicBezTo>
                  <a:pt x="4" y="209"/>
                  <a:pt x="4" y="209"/>
                  <a:pt x="4" y="209"/>
                </a:cubicBezTo>
                <a:cubicBezTo>
                  <a:pt x="4" y="207"/>
                  <a:pt x="5" y="205"/>
                  <a:pt x="5" y="203"/>
                </a:cubicBezTo>
                <a:cubicBezTo>
                  <a:pt x="5" y="203"/>
                  <a:pt x="5" y="203"/>
                  <a:pt x="5" y="203"/>
                </a:cubicBezTo>
                <a:cubicBezTo>
                  <a:pt x="6" y="201"/>
                  <a:pt x="6" y="199"/>
                  <a:pt x="7" y="197"/>
                </a:cubicBezTo>
                <a:cubicBezTo>
                  <a:pt x="7" y="197"/>
                  <a:pt x="7" y="197"/>
                  <a:pt x="7" y="197"/>
                </a:cubicBezTo>
                <a:cubicBezTo>
                  <a:pt x="7" y="195"/>
                  <a:pt x="7" y="193"/>
                  <a:pt x="8" y="191"/>
                </a:cubicBezTo>
                <a:cubicBezTo>
                  <a:pt x="8" y="191"/>
                  <a:pt x="8" y="191"/>
                  <a:pt x="8" y="191"/>
                </a:cubicBezTo>
                <a:cubicBezTo>
                  <a:pt x="8" y="189"/>
                  <a:pt x="9" y="187"/>
                  <a:pt x="9" y="185"/>
                </a:cubicBezTo>
                <a:cubicBezTo>
                  <a:pt x="9" y="185"/>
                  <a:pt x="9" y="185"/>
                  <a:pt x="9" y="185"/>
                </a:cubicBezTo>
                <a:cubicBezTo>
                  <a:pt x="11" y="181"/>
                  <a:pt x="12" y="177"/>
                  <a:pt x="13" y="173"/>
                </a:cubicBezTo>
                <a:cubicBezTo>
                  <a:pt x="13" y="173"/>
                  <a:pt x="13" y="173"/>
                  <a:pt x="13" y="173"/>
                </a:cubicBezTo>
                <a:cubicBezTo>
                  <a:pt x="39" y="95"/>
                  <a:pt x="102" y="33"/>
                  <a:pt x="183" y="10"/>
                </a:cubicBezTo>
                <a:cubicBezTo>
                  <a:pt x="183" y="10"/>
                  <a:pt x="183" y="10"/>
                  <a:pt x="183" y="10"/>
                </a:cubicBezTo>
                <a:cubicBezTo>
                  <a:pt x="189" y="8"/>
                  <a:pt x="196" y="6"/>
                  <a:pt x="202" y="5"/>
                </a:cubicBezTo>
                <a:cubicBezTo>
                  <a:pt x="202" y="5"/>
                  <a:pt x="202" y="5"/>
                  <a:pt x="202" y="5"/>
                </a:cubicBezTo>
                <a:cubicBezTo>
                  <a:pt x="204" y="5"/>
                  <a:pt x="206" y="4"/>
                  <a:pt x="208" y="4"/>
                </a:cubicBezTo>
                <a:cubicBezTo>
                  <a:pt x="208" y="4"/>
                  <a:pt x="208" y="4"/>
                  <a:pt x="208" y="4"/>
                </a:cubicBezTo>
                <a:cubicBezTo>
                  <a:pt x="210" y="3"/>
                  <a:pt x="212" y="3"/>
                  <a:pt x="215" y="3"/>
                </a:cubicBezTo>
                <a:cubicBezTo>
                  <a:pt x="215" y="3"/>
                  <a:pt x="215" y="3"/>
                  <a:pt x="215" y="3"/>
                </a:cubicBezTo>
                <a:cubicBezTo>
                  <a:pt x="219" y="2"/>
                  <a:pt x="223" y="2"/>
                  <a:pt x="227" y="1"/>
                </a:cubicBezTo>
                <a:cubicBezTo>
                  <a:pt x="227" y="1"/>
                  <a:pt x="227" y="1"/>
                  <a:pt x="227" y="1"/>
                </a:cubicBezTo>
                <a:cubicBezTo>
                  <a:pt x="230" y="1"/>
                  <a:pt x="232" y="1"/>
                  <a:pt x="234" y="0"/>
                </a:cubicBezTo>
                <a:cubicBezTo>
                  <a:pt x="234" y="0"/>
                  <a:pt x="234" y="0"/>
                  <a:pt x="234" y="0"/>
                </a:cubicBezTo>
                <a:cubicBezTo>
                  <a:pt x="238" y="0"/>
                  <a:pt x="243" y="0"/>
                  <a:pt x="247" y="0"/>
                </a:cubicBezTo>
                <a:cubicBezTo>
                  <a:pt x="247" y="0"/>
                  <a:pt x="247" y="0"/>
                  <a:pt x="247" y="0"/>
                </a:cubicBezTo>
                <a:cubicBezTo>
                  <a:pt x="250" y="0"/>
                  <a:pt x="252" y="0"/>
                  <a:pt x="254" y="0"/>
                </a:cubicBezTo>
                <a:cubicBezTo>
                  <a:pt x="254" y="0"/>
                  <a:pt x="254" y="0"/>
                  <a:pt x="254" y="0"/>
                </a:cubicBezTo>
                <a:cubicBezTo>
                  <a:pt x="256" y="0"/>
                  <a:pt x="259" y="0"/>
                  <a:pt x="261" y="0"/>
                </a:cubicBezTo>
                <a:cubicBezTo>
                  <a:pt x="261" y="0"/>
                  <a:pt x="261" y="0"/>
                  <a:pt x="261" y="0"/>
                </a:cubicBezTo>
                <a:cubicBezTo>
                  <a:pt x="265" y="0"/>
                  <a:pt x="270" y="0"/>
                  <a:pt x="274" y="0"/>
                </a:cubicBezTo>
                <a:cubicBezTo>
                  <a:pt x="274" y="0"/>
                  <a:pt x="274" y="0"/>
                  <a:pt x="274" y="0"/>
                </a:cubicBezTo>
                <a:cubicBezTo>
                  <a:pt x="276" y="1"/>
                  <a:pt x="278" y="1"/>
                  <a:pt x="281" y="1"/>
                </a:cubicBezTo>
                <a:cubicBezTo>
                  <a:pt x="281" y="1"/>
                  <a:pt x="281" y="1"/>
                  <a:pt x="281" y="1"/>
                </a:cubicBezTo>
                <a:cubicBezTo>
                  <a:pt x="285" y="2"/>
                  <a:pt x="289" y="2"/>
                  <a:pt x="294" y="3"/>
                </a:cubicBezTo>
                <a:cubicBezTo>
                  <a:pt x="294" y="3"/>
                  <a:pt x="294" y="3"/>
                  <a:pt x="294" y="3"/>
                </a:cubicBezTo>
                <a:cubicBezTo>
                  <a:pt x="296" y="3"/>
                  <a:pt x="298" y="3"/>
                  <a:pt x="300" y="4"/>
                </a:cubicBezTo>
                <a:cubicBezTo>
                  <a:pt x="300" y="4"/>
                  <a:pt x="300" y="4"/>
                  <a:pt x="300" y="4"/>
                </a:cubicBezTo>
                <a:cubicBezTo>
                  <a:pt x="302" y="4"/>
                  <a:pt x="304" y="5"/>
                  <a:pt x="306" y="5"/>
                </a:cubicBezTo>
                <a:cubicBezTo>
                  <a:pt x="306" y="5"/>
                  <a:pt x="306" y="5"/>
                  <a:pt x="306" y="5"/>
                </a:cubicBezTo>
                <a:cubicBezTo>
                  <a:pt x="312" y="6"/>
                  <a:pt x="319" y="8"/>
                  <a:pt x="325" y="10"/>
                </a:cubicBezTo>
                <a:cubicBezTo>
                  <a:pt x="325" y="10"/>
                  <a:pt x="325" y="10"/>
                  <a:pt x="325" y="10"/>
                </a:cubicBezTo>
                <a:cubicBezTo>
                  <a:pt x="406" y="33"/>
                  <a:pt x="469" y="95"/>
                  <a:pt x="495" y="173"/>
                </a:cubicBezTo>
                <a:cubicBezTo>
                  <a:pt x="495" y="173"/>
                  <a:pt x="495" y="173"/>
                  <a:pt x="495" y="173"/>
                </a:cubicBezTo>
                <a:cubicBezTo>
                  <a:pt x="496" y="177"/>
                  <a:pt x="497" y="181"/>
                  <a:pt x="498" y="185"/>
                </a:cubicBezTo>
                <a:cubicBezTo>
                  <a:pt x="498" y="185"/>
                  <a:pt x="498" y="185"/>
                  <a:pt x="498" y="185"/>
                </a:cubicBezTo>
                <a:cubicBezTo>
                  <a:pt x="499" y="187"/>
                  <a:pt x="500" y="189"/>
                  <a:pt x="500" y="191"/>
                </a:cubicBezTo>
                <a:cubicBezTo>
                  <a:pt x="500" y="191"/>
                  <a:pt x="500" y="191"/>
                  <a:pt x="500" y="191"/>
                </a:cubicBezTo>
                <a:cubicBezTo>
                  <a:pt x="501" y="193"/>
                  <a:pt x="501" y="195"/>
                  <a:pt x="502" y="197"/>
                </a:cubicBezTo>
                <a:cubicBezTo>
                  <a:pt x="502" y="197"/>
                  <a:pt x="502" y="197"/>
                  <a:pt x="502" y="197"/>
                </a:cubicBezTo>
                <a:cubicBezTo>
                  <a:pt x="502" y="199"/>
                  <a:pt x="502" y="201"/>
                  <a:pt x="503" y="203"/>
                </a:cubicBezTo>
                <a:cubicBezTo>
                  <a:pt x="503" y="203"/>
                  <a:pt x="503" y="203"/>
                  <a:pt x="503" y="203"/>
                </a:cubicBezTo>
                <a:cubicBezTo>
                  <a:pt x="503" y="205"/>
                  <a:pt x="504" y="207"/>
                  <a:pt x="504" y="209"/>
                </a:cubicBezTo>
                <a:cubicBezTo>
                  <a:pt x="504" y="209"/>
                  <a:pt x="504" y="209"/>
                  <a:pt x="504" y="209"/>
                </a:cubicBezTo>
                <a:cubicBezTo>
                  <a:pt x="504" y="212"/>
                  <a:pt x="505" y="214"/>
                  <a:pt x="505" y="216"/>
                </a:cubicBezTo>
                <a:cubicBezTo>
                  <a:pt x="505" y="216"/>
                  <a:pt x="505" y="216"/>
                  <a:pt x="505" y="216"/>
                </a:cubicBezTo>
                <a:cubicBezTo>
                  <a:pt x="505" y="218"/>
                  <a:pt x="506" y="220"/>
                  <a:pt x="506" y="222"/>
                </a:cubicBezTo>
                <a:cubicBezTo>
                  <a:pt x="506" y="222"/>
                  <a:pt x="506" y="222"/>
                  <a:pt x="506" y="222"/>
                </a:cubicBezTo>
                <a:cubicBezTo>
                  <a:pt x="506" y="224"/>
                  <a:pt x="506" y="226"/>
                  <a:pt x="507" y="228"/>
                </a:cubicBezTo>
                <a:cubicBezTo>
                  <a:pt x="507" y="228"/>
                  <a:pt x="507" y="228"/>
                  <a:pt x="507" y="228"/>
                </a:cubicBezTo>
                <a:cubicBezTo>
                  <a:pt x="507" y="230"/>
                  <a:pt x="507" y="232"/>
                  <a:pt x="507" y="234"/>
                </a:cubicBezTo>
                <a:cubicBezTo>
                  <a:pt x="507" y="234"/>
                  <a:pt x="507" y="234"/>
                  <a:pt x="507" y="234"/>
                </a:cubicBezTo>
                <a:cubicBezTo>
                  <a:pt x="507" y="237"/>
                  <a:pt x="508" y="239"/>
                  <a:pt x="508" y="241"/>
                </a:cubicBezTo>
                <a:cubicBezTo>
                  <a:pt x="508" y="241"/>
                  <a:pt x="508" y="241"/>
                  <a:pt x="508" y="241"/>
                </a:cubicBezTo>
                <a:cubicBezTo>
                  <a:pt x="508" y="243"/>
                  <a:pt x="508" y="245"/>
                  <a:pt x="508" y="247"/>
                </a:cubicBezTo>
                <a:cubicBezTo>
                  <a:pt x="508" y="247"/>
                  <a:pt x="508" y="247"/>
                  <a:pt x="508" y="247"/>
                </a:cubicBezTo>
                <a:cubicBezTo>
                  <a:pt x="508" y="249"/>
                  <a:pt x="508" y="251"/>
                  <a:pt x="508" y="254"/>
                </a:cubicBezTo>
                <a:cubicBezTo>
                  <a:pt x="508" y="254"/>
                  <a:pt x="508" y="254"/>
                  <a:pt x="508" y="254"/>
                </a:cubicBezTo>
                <a:cubicBezTo>
                  <a:pt x="508" y="255"/>
                  <a:pt x="508" y="255"/>
                  <a:pt x="508" y="255"/>
                </a:cubicBezTo>
                <a:cubicBezTo>
                  <a:pt x="508" y="256"/>
                  <a:pt x="508" y="257"/>
                  <a:pt x="508" y="258"/>
                </a:cubicBezTo>
                <a:cubicBezTo>
                  <a:pt x="508" y="259"/>
                  <a:pt x="508" y="260"/>
                  <a:pt x="508" y="261"/>
                </a:cubicBezTo>
                <a:cubicBezTo>
                  <a:pt x="508" y="261"/>
                  <a:pt x="508" y="261"/>
                  <a:pt x="508" y="261"/>
                </a:cubicBezTo>
                <a:cubicBezTo>
                  <a:pt x="505" y="355"/>
                  <a:pt x="455" y="410"/>
                  <a:pt x="419" y="488"/>
                </a:cubicBezTo>
                <a:cubicBezTo>
                  <a:pt x="401" y="533"/>
                  <a:pt x="387" y="586"/>
                  <a:pt x="386" y="656"/>
                </a:cubicBezTo>
                <a:cubicBezTo>
                  <a:pt x="387" y="723"/>
                  <a:pt x="401" y="775"/>
                  <a:pt x="419" y="819"/>
                </a:cubicBezTo>
                <a:cubicBezTo>
                  <a:pt x="453" y="896"/>
                  <a:pt x="502" y="950"/>
                  <a:pt x="508" y="1040"/>
                </a:cubicBezTo>
                <a:cubicBezTo>
                  <a:pt x="508" y="1041"/>
                  <a:pt x="508" y="1043"/>
                  <a:pt x="508" y="1044"/>
                </a:cubicBezTo>
                <a:cubicBezTo>
                  <a:pt x="508" y="1047"/>
                  <a:pt x="508" y="1047"/>
                  <a:pt x="508" y="1047"/>
                </a:cubicBezTo>
                <a:cubicBezTo>
                  <a:pt x="508" y="1049"/>
                  <a:pt x="508" y="1052"/>
                  <a:pt x="508" y="1055"/>
                </a:cubicBezTo>
                <a:cubicBezTo>
                  <a:pt x="508" y="1055"/>
                  <a:pt x="508" y="1055"/>
                  <a:pt x="508" y="1055"/>
                </a:cubicBezTo>
                <a:cubicBezTo>
                  <a:pt x="508" y="1055"/>
                  <a:pt x="508" y="1055"/>
                  <a:pt x="508" y="1055"/>
                </a:cubicBezTo>
                <a:cubicBezTo>
                  <a:pt x="508" y="1057"/>
                  <a:pt x="508" y="1059"/>
                  <a:pt x="508" y="1061"/>
                </a:cubicBezTo>
                <a:cubicBezTo>
                  <a:pt x="508" y="1061"/>
                  <a:pt x="508" y="1061"/>
                  <a:pt x="508" y="1061"/>
                </a:cubicBezTo>
                <a:cubicBezTo>
                  <a:pt x="508" y="1063"/>
                  <a:pt x="508" y="1065"/>
                  <a:pt x="508" y="1067"/>
                </a:cubicBezTo>
                <a:cubicBezTo>
                  <a:pt x="508" y="1067"/>
                  <a:pt x="508" y="1067"/>
                  <a:pt x="508" y="1067"/>
                </a:cubicBezTo>
                <a:cubicBezTo>
                  <a:pt x="508" y="1070"/>
                  <a:pt x="507" y="1072"/>
                  <a:pt x="507" y="1074"/>
                </a:cubicBezTo>
                <a:cubicBezTo>
                  <a:pt x="507" y="1074"/>
                  <a:pt x="507" y="1074"/>
                  <a:pt x="507" y="1074"/>
                </a:cubicBezTo>
                <a:cubicBezTo>
                  <a:pt x="507" y="1076"/>
                  <a:pt x="507" y="1078"/>
                  <a:pt x="507" y="1080"/>
                </a:cubicBezTo>
                <a:cubicBezTo>
                  <a:pt x="507" y="1080"/>
                  <a:pt x="507" y="1080"/>
                  <a:pt x="507" y="1080"/>
                </a:cubicBezTo>
                <a:cubicBezTo>
                  <a:pt x="506" y="1082"/>
                  <a:pt x="506" y="1084"/>
                  <a:pt x="506" y="1086"/>
                </a:cubicBezTo>
                <a:cubicBezTo>
                  <a:pt x="506" y="1086"/>
                  <a:pt x="506" y="1086"/>
                  <a:pt x="506" y="1086"/>
                </a:cubicBezTo>
                <a:cubicBezTo>
                  <a:pt x="506" y="1089"/>
                  <a:pt x="505" y="1091"/>
                  <a:pt x="505" y="1093"/>
                </a:cubicBezTo>
                <a:cubicBezTo>
                  <a:pt x="505" y="1093"/>
                  <a:pt x="505" y="1093"/>
                  <a:pt x="505" y="1093"/>
                </a:cubicBezTo>
                <a:cubicBezTo>
                  <a:pt x="505" y="1095"/>
                  <a:pt x="504" y="1097"/>
                  <a:pt x="504" y="1099"/>
                </a:cubicBezTo>
                <a:cubicBezTo>
                  <a:pt x="504" y="1099"/>
                  <a:pt x="504" y="1099"/>
                  <a:pt x="504" y="1099"/>
                </a:cubicBezTo>
                <a:cubicBezTo>
                  <a:pt x="504" y="1101"/>
                  <a:pt x="503" y="1103"/>
                  <a:pt x="503" y="1105"/>
                </a:cubicBezTo>
                <a:cubicBezTo>
                  <a:pt x="503" y="1105"/>
                  <a:pt x="503" y="1105"/>
                  <a:pt x="503" y="1105"/>
                </a:cubicBezTo>
                <a:cubicBezTo>
                  <a:pt x="502" y="1107"/>
                  <a:pt x="502" y="1109"/>
                  <a:pt x="502" y="1111"/>
                </a:cubicBezTo>
                <a:cubicBezTo>
                  <a:pt x="502" y="1111"/>
                  <a:pt x="502" y="1111"/>
                  <a:pt x="502" y="1111"/>
                </a:cubicBezTo>
                <a:cubicBezTo>
                  <a:pt x="501" y="1113"/>
                  <a:pt x="501" y="1115"/>
                  <a:pt x="500" y="1117"/>
                </a:cubicBezTo>
                <a:cubicBezTo>
                  <a:pt x="500" y="1117"/>
                  <a:pt x="500" y="1117"/>
                  <a:pt x="500" y="1117"/>
                </a:cubicBezTo>
                <a:cubicBezTo>
                  <a:pt x="500" y="1119"/>
                  <a:pt x="499" y="1121"/>
                  <a:pt x="498" y="1123"/>
                </a:cubicBezTo>
                <a:cubicBezTo>
                  <a:pt x="498" y="1123"/>
                  <a:pt x="498" y="1123"/>
                  <a:pt x="498" y="1123"/>
                </a:cubicBezTo>
                <a:cubicBezTo>
                  <a:pt x="497" y="1127"/>
                  <a:pt x="496" y="1131"/>
                  <a:pt x="495" y="1135"/>
                </a:cubicBezTo>
                <a:cubicBezTo>
                  <a:pt x="495" y="1135"/>
                  <a:pt x="495" y="1135"/>
                  <a:pt x="495" y="1135"/>
                </a:cubicBezTo>
                <a:cubicBezTo>
                  <a:pt x="469" y="1213"/>
                  <a:pt x="406" y="1276"/>
                  <a:pt x="325" y="1299"/>
                </a:cubicBezTo>
                <a:cubicBezTo>
                  <a:pt x="325" y="1299"/>
                  <a:pt x="325" y="1299"/>
                  <a:pt x="325" y="1299"/>
                </a:cubicBezTo>
                <a:cubicBezTo>
                  <a:pt x="319" y="1301"/>
                  <a:pt x="312" y="1302"/>
                  <a:pt x="306" y="1303"/>
                </a:cubicBezTo>
                <a:cubicBezTo>
                  <a:pt x="306" y="1303"/>
                  <a:pt x="306" y="1303"/>
                  <a:pt x="306" y="1303"/>
                </a:cubicBezTo>
                <a:cubicBezTo>
                  <a:pt x="304" y="1304"/>
                  <a:pt x="302" y="1304"/>
                  <a:pt x="300" y="1305"/>
                </a:cubicBezTo>
                <a:cubicBezTo>
                  <a:pt x="300" y="1305"/>
                  <a:pt x="300" y="1305"/>
                  <a:pt x="300" y="1305"/>
                </a:cubicBezTo>
                <a:cubicBezTo>
                  <a:pt x="298" y="1305"/>
                  <a:pt x="296" y="1305"/>
                  <a:pt x="294" y="1306"/>
                </a:cubicBezTo>
                <a:cubicBezTo>
                  <a:pt x="294" y="1306"/>
                  <a:pt x="294" y="1306"/>
                  <a:pt x="294" y="1306"/>
                </a:cubicBezTo>
                <a:cubicBezTo>
                  <a:pt x="289" y="1306"/>
                  <a:pt x="285" y="1307"/>
                  <a:pt x="281" y="1307"/>
                </a:cubicBezTo>
                <a:cubicBezTo>
                  <a:pt x="281" y="1307"/>
                  <a:pt x="281" y="1307"/>
                  <a:pt x="281" y="1307"/>
                </a:cubicBezTo>
                <a:cubicBezTo>
                  <a:pt x="278" y="1308"/>
                  <a:pt x="276" y="1308"/>
                  <a:pt x="274" y="1308"/>
                </a:cubicBezTo>
                <a:cubicBezTo>
                  <a:pt x="274" y="1308"/>
                  <a:pt x="274" y="1308"/>
                  <a:pt x="274" y="1308"/>
                </a:cubicBezTo>
                <a:cubicBezTo>
                  <a:pt x="270" y="1308"/>
                  <a:pt x="265" y="1308"/>
                  <a:pt x="261" y="1309"/>
                </a:cubicBezTo>
                <a:cubicBezTo>
                  <a:pt x="261" y="1309"/>
                  <a:pt x="261" y="1309"/>
                  <a:pt x="261" y="1309"/>
                </a:cubicBezTo>
                <a:cubicBezTo>
                  <a:pt x="259" y="1309"/>
                  <a:pt x="256" y="1309"/>
                  <a:pt x="254" y="1309"/>
                </a:cubicBezTo>
                <a:cubicBezTo>
                  <a:pt x="254" y="1309"/>
                  <a:pt x="254" y="1309"/>
                  <a:pt x="254" y="1309"/>
                </a:cubicBezTo>
                <a:cubicBezTo>
                  <a:pt x="252" y="1309"/>
                  <a:pt x="250" y="1309"/>
                  <a:pt x="247" y="1309"/>
                </a:cubicBezTo>
                <a:cubicBezTo>
                  <a:pt x="247" y="1309"/>
                  <a:pt x="247" y="1309"/>
                  <a:pt x="247" y="1309"/>
                </a:cubicBezTo>
                <a:cubicBezTo>
                  <a:pt x="243" y="1308"/>
                  <a:pt x="238" y="1308"/>
                  <a:pt x="234" y="1308"/>
                </a:cubicBezTo>
                <a:cubicBezTo>
                  <a:pt x="234" y="1308"/>
                  <a:pt x="234" y="1308"/>
                  <a:pt x="234" y="1308"/>
                </a:cubicBezTo>
                <a:cubicBezTo>
                  <a:pt x="232" y="1308"/>
                  <a:pt x="230" y="1308"/>
                  <a:pt x="227" y="1307"/>
                </a:cubicBezTo>
                <a:cubicBezTo>
                  <a:pt x="227" y="1307"/>
                  <a:pt x="227" y="1307"/>
                  <a:pt x="227" y="1307"/>
                </a:cubicBezTo>
                <a:cubicBezTo>
                  <a:pt x="223" y="1307"/>
                  <a:pt x="219" y="1306"/>
                  <a:pt x="215" y="1306"/>
                </a:cubicBezTo>
                <a:cubicBezTo>
                  <a:pt x="215" y="1306"/>
                  <a:pt x="215" y="1306"/>
                  <a:pt x="215" y="1306"/>
                </a:cubicBezTo>
                <a:cubicBezTo>
                  <a:pt x="212" y="1305"/>
                  <a:pt x="210" y="1305"/>
                  <a:pt x="208" y="1305"/>
                </a:cubicBezTo>
                <a:cubicBezTo>
                  <a:pt x="208" y="1305"/>
                  <a:pt x="208" y="1305"/>
                  <a:pt x="208" y="1305"/>
                </a:cubicBezTo>
                <a:cubicBezTo>
                  <a:pt x="206" y="1304"/>
                  <a:pt x="204" y="1304"/>
                  <a:pt x="202" y="1303"/>
                </a:cubicBezTo>
                <a:cubicBezTo>
                  <a:pt x="202" y="1303"/>
                  <a:pt x="202" y="1303"/>
                  <a:pt x="202" y="1303"/>
                </a:cubicBezTo>
                <a:cubicBezTo>
                  <a:pt x="196" y="1302"/>
                  <a:pt x="189" y="1301"/>
                  <a:pt x="183" y="1299"/>
                </a:cubicBezTo>
                <a:cubicBezTo>
                  <a:pt x="183" y="1299"/>
                  <a:pt x="183" y="1299"/>
                  <a:pt x="183" y="1299"/>
                </a:cubicBezTo>
                <a:cubicBezTo>
                  <a:pt x="102" y="1276"/>
                  <a:pt x="39" y="1213"/>
                  <a:pt x="13" y="1135"/>
                </a:cubicBezTo>
                <a:cubicBezTo>
                  <a:pt x="13" y="1135"/>
                  <a:pt x="13" y="1135"/>
                  <a:pt x="13" y="1135"/>
                </a:cubicBezTo>
                <a:cubicBezTo>
                  <a:pt x="12" y="1131"/>
                  <a:pt x="11" y="1127"/>
                  <a:pt x="9" y="1123"/>
                </a:cubicBezTo>
                <a:cubicBezTo>
                  <a:pt x="9" y="1123"/>
                  <a:pt x="9" y="1123"/>
                  <a:pt x="9" y="1123"/>
                </a:cubicBezTo>
                <a:cubicBezTo>
                  <a:pt x="9" y="1121"/>
                  <a:pt x="8" y="1119"/>
                  <a:pt x="8" y="1117"/>
                </a:cubicBezTo>
                <a:cubicBezTo>
                  <a:pt x="8" y="1117"/>
                  <a:pt x="8" y="1117"/>
                  <a:pt x="8" y="1117"/>
                </a:cubicBezTo>
                <a:cubicBezTo>
                  <a:pt x="7" y="1115"/>
                  <a:pt x="7" y="1113"/>
                  <a:pt x="7" y="1111"/>
                </a:cubicBezTo>
                <a:cubicBezTo>
                  <a:pt x="7" y="1111"/>
                  <a:pt x="7" y="1111"/>
                  <a:pt x="7" y="1111"/>
                </a:cubicBezTo>
                <a:cubicBezTo>
                  <a:pt x="6" y="1109"/>
                  <a:pt x="6" y="1107"/>
                  <a:pt x="5" y="1105"/>
                </a:cubicBezTo>
                <a:cubicBezTo>
                  <a:pt x="5" y="1105"/>
                  <a:pt x="5" y="1105"/>
                  <a:pt x="5" y="1105"/>
                </a:cubicBezTo>
                <a:cubicBezTo>
                  <a:pt x="5" y="1103"/>
                  <a:pt x="4" y="1101"/>
                  <a:pt x="4" y="1099"/>
                </a:cubicBezTo>
                <a:cubicBezTo>
                  <a:pt x="4" y="1099"/>
                  <a:pt x="4" y="1099"/>
                  <a:pt x="4" y="1099"/>
                </a:cubicBezTo>
                <a:cubicBezTo>
                  <a:pt x="4" y="1097"/>
                  <a:pt x="3" y="1095"/>
                  <a:pt x="3" y="1093"/>
                </a:cubicBezTo>
                <a:cubicBezTo>
                  <a:pt x="3" y="1093"/>
                  <a:pt x="3" y="1093"/>
                  <a:pt x="3" y="1093"/>
                </a:cubicBezTo>
                <a:cubicBezTo>
                  <a:pt x="3" y="1091"/>
                  <a:pt x="2" y="1089"/>
                  <a:pt x="2" y="1086"/>
                </a:cubicBezTo>
                <a:cubicBezTo>
                  <a:pt x="2" y="1086"/>
                  <a:pt x="2" y="1086"/>
                  <a:pt x="2" y="1086"/>
                </a:cubicBezTo>
                <a:cubicBezTo>
                  <a:pt x="2" y="1084"/>
                  <a:pt x="2" y="1082"/>
                  <a:pt x="1" y="1080"/>
                </a:cubicBezTo>
                <a:cubicBezTo>
                  <a:pt x="1" y="1080"/>
                  <a:pt x="1" y="1080"/>
                  <a:pt x="1" y="1080"/>
                </a:cubicBezTo>
                <a:cubicBezTo>
                  <a:pt x="1" y="1078"/>
                  <a:pt x="1" y="1076"/>
                  <a:pt x="1" y="1074"/>
                </a:cubicBezTo>
                <a:cubicBezTo>
                  <a:pt x="1" y="1074"/>
                  <a:pt x="1" y="1074"/>
                  <a:pt x="1" y="1074"/>
                </a:cubicBezTo>
                <a:cubicBezTo>
                  <a:pt x="1" y="1072"/>
                  <a:pt x="1" y="1070"/>
                  <a:pt x="0" y="1067"/>
                </a:cubicBezTo>
                <a:cubicBezTo>
                  <a:pt x="0" y="1067"/>
                  <a:pt x="0" y="1067"/>
                  <a:pt x="0" y="1067"/>
                </a:cubicBezTo>
                <a:cubicBezTo>
                  <a:pt x="0" y="1065"/>
                  <a:pt x="0" y="1063"/>
                  <a:pt x="0" y="1061"/>
                </a:cubicBezTo>
                <a:cubicBezTo>
                  <a:pt x="0" y="1061"/>
                  <a:pt x="0" y="1061"/>
                  <a:pt x="0" y="1061"/>
                </a:cubicBezTo>
                <a:cubicBezTo>
                  <a:pt x="0" y="1059"/>
                  <a:pt x="0" y="1057"/>
                  <a:pt x="0" y="1055"/>
                </a:cubicBezTo>
                <a:cubicBezTo>
                  <a:pt x="0" y="1055"/>
                  <a:pt x="0" y="1055"/>
                  <a:pt x="0" y="1055"/>
                </a:cubicBezTo>
                <a:cubicBezTo>
                  <a:pt x="0" y="1055"/>
                  <a:pt x="0" y="1055"/>
                  <a:pt x="0" y="1055"/>
                </a:cubicBezTo>
                <a:cubicBezTo>
                  <a:pt x="0" y="1052"/>
                  <a:pt x="0" y="1049"/>
                  <a:pt x="0" y="1047"/>
                </a:cubicBezTo>
                <a:cubicBezTo>
                  <a:pt x="0" y="1046"/>
                  <a:pt x="0" y="1045"/>
                  <a:pt x="0" y="1044"/>
                </a:cubicBezTo>
                <a:cubicBezTo>
                  <a:pt x="0" y="1043"/>
                  <a:pt x="0" y="1041"/>
                  <a:pt x="1" y="1040"/>
                </a:cubicBezTo>
                <a:cubicBezTo>
                  <a:pt x="6" y="950"/>
                  <a:pt x="55" y="896"/>
                  <a:pt x="89" y="819"/>
                </a:cubicBezTo>
                <a:close/>
              </a:path>
            </a:pathLst>
          </a:custGeom>
          <a:solidFill>
            <a:schemeClr val="accent1">
              <a:lumMod val="20000"/>
              <a:lumOff val="80000"/>
              <a:alpha val="98000"/>
            </a:schemeClr>
          </a:solidFill>
          <a:ln>
            <a:noFill/>
          </a:ln>
          <a:effectLst/>
        </p:spPr>
        <p:txBody>
          <a:bodyPr vert="horz" wrap="square" lIns="57150" tIns="28575" rIns="57150" bIns="28575"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25" b="0" i="0" u="none" strike="noStrike" kern="1200" cap="none" spc="0" normalizeH="0" baseline="0" noProof="0">
              <a:ln>
                <a:noFill/>
              </a:ln>
              <a:solidFill>
                <a:srgbClr val="3F3F3F"/>
              </a:solidFill>
              <a:effectLst/>
              <a:uLnTx/>
              <a:uFillTx/>
              <a:latin typeface="HarmonyOS Sans SC"/>
              <a:cs typeface="+mn-cs"/>
            </a:endParaRPr>
          </a:p>
        </p:txBody>
      </p:sp>
      <p:sp>
        <p:nvSpPr>
          <p:cNvPr id="10" name="Freeform 14">
            <a:extLst>
              <a:ext uri="{FF2B5EF4-FFF2-40B4-BE49-F238E27FC236}">
                <a16:creationId xmlns:a16="http://schemas.microsoft.com/office/drawing/2014/main" id="{E5142A88-A203-4643-A492-333626C17519}"/>
              </a:ext>
            </a:extLst>
          </p:cNvPr>
          <p:cNvSpPr>
            <a:spLocks/>
          </p:cNvSpPr>
          <p:nvPr/>
        </p:nvSpPr>
        <p:spPr bwMode="auto">
          <a:xfrm>
            <a:off x="6572490" y="2113926"/>
            <a:ext cx="1682598" cy="1682598"/>
          </a:xfrm>
          <a:custGeom>
            <a:avLst/>
            <a:gdLst>
              <a:gd name="T0" fmla="*/ 547 w 1095"/>
              <a:gd name="T1" fmla="*/ 781 h 1094"/>
              <a:gd name="T2" fmla="*/ 449 w 1095"/>
              <a:gd name="T3" fmla="*/ 1004 h 1094"/>
              <a:gd name="T4" fmla="*/ 444 w 1095"/>
              <a:gd name="T5" fmla="*/ 1010 h 1094"/>
              <a:gd name="T6" fmla="*/ 434 w 1095"/>
              <a:gd name="T7" fmla="*/ 1019 h 1094"/>
              <a:gd name="T8" fmla="*/ 430 w 1095"/>
              <a:gd name="T9" fmla="*/ 1023 h 1094"/>
              <a:gd name="T10" fmla="*/ 420 w 1095"/>
              <a:gd name="T11" fmla="*/ 1031 h 1094"/>
              <a:gd name="T12" fmla="*/ 415 w 1095"/>
              <a:gd name="T13" fmla="*/ 1035 h 1094"/>
              <a:gd name="T14" fmla="*/ 405 w 1095"/>
              <a:gd name="T15" fmla="*/ 1042 h 1094"/>
              <a:gd name="T16" fmla="*/ 399 w 1095"/>
              <a:gd name="T17" fmla="*/ 1045 h 1094"/>
              <a:gd name="T18" fmla="*/ 389 w 1095"/>
              <a:gd name="T19" fmla="*/ 1051 h 1094"/>
              <a:gd name="T20" fmla="*/ 378 w 1095"/>
              <a:gd name="T21" fmla="*/ 1057 h 1094"/>
              <a:gd name="T22" fmla="*/ 125 w 1095"/>
              <a:gd name="T23" fmla="*/ 1043 h 1094"/>
              <a:gd name="T24" fmla="*/ 120 w 1095"/>
              <a:gd name="T25" fmla="*/ 1039 h 1094"/>
              <a:gd name="T26" fmla="*/ 104 w 1095"/>
              <a:gd name="T27" fmla="*/ 1027 h 1094"/>
              <a:gd name="T28" fmla="*/ 99 w 1095"/>
              <a:gd name="T29" fmla="*/ 1023 h 1094"/>
              <a:gd name="T30" fmla="*/ 85 w 1095"/>
              <a:gd name="T31" fmla="*/ 1010 h 1094"/>
              <a:gd name="T32" fmla="*/ 80 w 1095"/>
              <a:gd name="T33" fmla="*/ 1005 h 1094"/>
              <a:gd name="T34" fmla="*/ 67 w 1095"/>
              <a:gd name="T35" fmla="*/ 990 h 1094"/>
              <a:gd name="T36" fmla="*/ 59 w 1095"/>
              <a:gd name="T37" fmla="*/ 980 h 1094"/>
              <a:gd name="T38" fmla="*/ 52 w 1095"/>
              <a:gd name="T39" fmla="*/ 969 h 1094"/>
              <a:gd name="T40" fmla="*/ 42 w 1095"/>
              <a:gd name="T41" fmla="*/ 953 h 1094"/>
              <a:gd name="T42" fmla="*/ 43 w 1095"/>
              <a:gd name="T43" fmla="*/ 706 h 1094"/>
              <a:gd name="T44" fmla="*/ 46 w 1095"/>
              <a:gd name="T45" fmla="*/ 700 h 1094"/>
              <a:gd name="T46" fmla="*/ 53 w 1095"/>
              <a:gd name="T47" fmla="*/ 690 h 1094"/>
              <a:gd name="T48" fmla="*/ 56 w 1095"/>
              <a:gd name="T49" fmla="*/ 685 h 1094"/>
              <a:gd name="T50" fmla="*/ 64 w 1095"/>
              <a:gd name="T51" fmla="*/ 675 h 1094"/>
              <a:gd name="T52" fmla="*/ 68 w 1095"/>
              <a:gd name="T53" fmla="*/ 670 h 1094"/>
              <a:gd name="T54" fmla="*/ 76 w 1095"/>
              <a:gd name="T55" fmla="*/ 660 h 1094"/>
              <a:gd name="T56" fmla="*/ 80 w 1095"/>
              <a:gd name="T57" fmla="*/ 655 h 1094"/>
              <a:gd name="T58" fmla="*/ 86 w 1095"/>
              <a:gd name="T59" fmla="*/ 650 h 1094"/>
              <a:gd name="T60" fmla="*/ 90 w 1095"/>
              <a:gd name="T61" fmla="*/ 646 h 1094"/>
              <a:gd name="T62" fmla="*/ 547 w 1095"/>
              <a:gd name="T63" fmla="*/ 314 h 1094"/>
              <a:gd name="T64" fmla="*/ 645 w 1095"/>
              <a:gd name="T65" fmla="*/ 90 h 1094"/>
              <a:gd name="T66" fmla="*/ 651 w 1095"/>
              <a:gd name="T67" fmla="*/ 84 h 1094"/>
              <a:gd name="T68" fmla="*/ 660 w 1095"/>
              <a:gd name="T69" fmla="*/ 75 h 1094"/>
              <a:gd name="T70" fmla="*/ 665 w 1095"/>
              <a:gd name="T71" fmla="*/ 71 h 1094"/>
              <a:gd name="T72" fmla="*/ 675 w 1095"/>
              <a:gd name="T73" fmla="*/ 63 h 1094"/>
              <a:gd name="T74" fmla="*/ 680 w 1095"/>
              <a:gd name="T75" fmla="*/ 59 h 1094"/>
              <a:gd name="T76" fmla="*/ 690 w 1095"/>
              <a:gd name="T77" fmla="*/ 52 h 1094"/>
              <a:gd name="T78" fmla="*/ 695 w 1095"/>
              <a:gd name="T79" fmla="*/ 49 h 1094"/>
              <a:gd name="T80" fmla="*/ 706 w 1095"/>
              <a:gd name="T81" fmla="*/ 42 h 1094"/>
              <a:gd name="T82" fmla="*/ 717 w 1095"/>
              <a:gd name="T83" fmla="*/ 37 h 1094"/>
              <a:gd name="T84" fmla="*/ 970 w 1095"/>
              <a:gd name="T85" fmla="*/ 51 h 1094"/>
              <a:gd name="T86" fmla="*/ 975 w 1095"/>
              <a:gd name="T87" fmla="*/ 55 h 1094"/>
              <a:gd name="T88" fmla="*/ 990 w 1095"/>
              <a:gd name="T89" fmla="*/ 66 h 1094"/>
              <a:gd name="T90" fmla="*/ 995 w 1095"/>
              <a:gd name="T91" fmla="*/ 71 h 1094"/>
              <a:gd name="T92" fmla="*/ 1010 w 1095"/>
              <a:gd name="T93" fmla="*/ 84 h 1094"/>
              <a:gd name="T94" fmla="*/ 1015 w 1095"/>
              <a:gd name="T95" fmla="*/ 89 h 1094"/>
              <a:gd name="T96" fmla="*/ 1028 w 1095"/>
              <a:gd name="T97" fmla="*/ 104 h 1094"/>
              <a:gd name="T98" fmla="*/ 1036 w 1095"/>
              <a:gd name="T99" fmla="*/ 114 h 1094"/>
              <a:gd name="T100" fmla="*/ 1043 w 1095"/>
              <a:gd name="T101" fmla="*/ 125 h 1094"/>
              <a:gd name="T102" fmla="*/ 1053 w 1095"/>
              <a:gd name="T103" fmla="*/ 141 h 1094"/>
              <a:gd name="T104" fmla="*/ 1052 w 1095"/>
              <a:gd name="T105" fmla="*/ 388 h 1094"/>
              <a:gd name="T106" fmla="*/ 1049 w 1095"/>
              <a:gd name="T107" fmla="*/ 393 h 1094"/>
              <a:gd name="T108" fmla="*/ 1042 w 1095"/>
              <a:gd name="T109" fmla="*/ 404 h 1094"/>
              <a:gd name="T110" fmla="*/ 1039 w 1095"/>
              <a:gd name="T111" fmla="*/ 409 h 1094"/>
              <a:gd name="T112" fmla="*/ 1031 w 1095"/>
              <a:gd name="T113" fmla="*/ 419 h 1094"/>
              <a:gd name="T114" fmla="*/ 1027 w 1095"/>
              <a:gd name="T115" fmla="*/ 424 h 1094"/>
              <a:gd name="T116" fmla="*/ 1019 w 1095"/>
              <a:gd name="T117" fmla="*/ 434 h 1094"/>
              <a:gd name="T118" fmla="*/ 1015 w 1095"/>
              <a:gd name="T119" fmla="*/ 439 h 1094"/>
              <a:gd name="T120" fmla="*/ 1010 w 1095"/>
              <a:gd name="T121" fmla="*/ 443 h 1094"/>
              <a:gd name="T122" fmla="*/ 999 w 1095"/>
              <a:gd name="T123" fmla="*/ 454 h 10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095" h="1094">
                <a:moveTo>
                  <a:pt x="780" y="547"/>
                </a:moveTo>
                <a:cubicBezTo>
                  <a:pt x="737" y="565"/>
                  <a:pt x="691" y="592"/>
                  <a:pt x="642" y="639"/>
                </a:cubicBezTo>
                <a:cubicBezTo>
                  <a:pt x="593" y="689"/>
                  <a:pt x="566" y="736"/>
                  <a:pt x="547" y="781"/>
                </a:cubicBezTo>
                <a:cubicBezTo>
                  <a:pt x="518" y="860"/>
                  <a:pt x="514" y="932"/>
                  <a:pt x="454" y="999"/>
                </a:cubicBezTo>
                <a:cubicBezTo>
                  <a:pt x="453" y="1000"/>
                  <a:pt x="452" y="1001"/>
                  <a:pt x="451" y="1002"/>
                </a:cubicBezTo>
                <a:cubicBezTo>
                  <a:pt x="449" y="1004"/>
                  <a:pt x="449" y="1004"/>
                  <a:pt x="449" y="1004"/>
                </a:cubicBezTo>
                <a:cubicBezTo>
                  <a:pt x="448" y="1006"/>
                  <a:pt x="446" y="1008"/>
                  <a:pt x="444" y="1010"/>
                </a:cubicBezTo>
                <a:cubicBezTo>
                  <a:pt x="444" y="1010"/>
                  <a:pt x="444" y="1010"/>
                  <a:pt x="444" y="1010"/>
                </a:cubicBezTo>
                <a:cubicBezTo>
                  <a:pt x="444" y="1010"/>
                  <a:pt x="444" y="1010"/>
                  <a:pt x="444" y="1010"/>
                </a:cubicBezTo>
                <a:cubicBezTo>
                  <a:pt x="442" y="1011"/>
                  <a:pt x="441" y="1013"/>
                  <a:pt x="439" y="1014"/>
                </a:cubicBezTo>
                <a:cubicBezTo>
                  <a:pt x="439" y="1014"/>
                  <a:pt x="439" y="1014"/>
                  <a:pt x="439" y="1014"/>
                </a:cubicBezTo>
                <a:cubicBezTo>
                  <a:pt x="437" y="1016"/>
                  <a:pt x="436" y="1017"/>
                  <a:pt x="434" y="1019"/>
                </a:cubicBezTo>
                <a:cubicBezTo>
                  <a:pt x="434" y="1019"/>
                  <a:pt x="434" y="1019"/>
                  <a:pt x="434" y="1019"/>
                </a:cubicBezTo>
                <a:cubicBezTo>
                  <a:pt x="433" y="1020"/>
                  <a:pt x="431" y="1021"/>
                  <a:pt x="430" y="1023"/>
                </a:cubicBezTo>
                <a:cubicBezTo>
                  <a:pt x="430" y="1023"/>
                  <a:pt x="430" y="1023"/>
                  <a:pt x="430" y="1023"/>
                </a:cubicBezTo>
                <a:cubicBezTo>
                  <a:pt x="428" y="1024"/>
                  <a:pt x="426" y="1026"/>
                  <a:pt x="425" y="1027"/>
                </a:cubicBezTo>
                <a:cubicBezTo>
                  <a:pt x="425" y="1027"/>
                  <a:pt x="425" y="1027"/>
                  <a:pt x="425" y="1027"/>
                </a:cubicBezTo>
                <a:cubicBezTo>
                  <a:pt x="423" y="1028"/>
                  <a:pt x="421" y="1029"/>
                  <a:pt x="420" y="1031"/>
                </a:cubicBezTo>
                <a:cubicBezTo>
                  <a:pt x="420" y="1031"/>
                  <a:pt x="420" y="1031"/>
                  <a:pt x="420" y="1031"/>
                </a:cubicBezTo>
                <a:cubicBezTo>
                  <a:pt x="418" y="1032"/>
                  <a:pt x="416" y="1033"/>
                  <a:pt x="415" y="1035"/>
                </a:cubicBezTo>
                <a:cubicBezTo>
                  <a:pt x="415" y="1035"/>
                  <a:pt x="415" y="1035"/>
                  <a:pt x="415" y="1035"/>
                </a:cubicBezTo>
                <a:cubicBezTo>
                  <a:pt x="413" y="1036"/>
                  <a:pt x="411" y="1037"/>
                  <a:pt x="410" y="1038"/>
                </a:cubicBezTo>
                <a:cubicBezTo>
                  <a:pt x="410" y="1038"/>
                  <a:pt x="410" y="1038"/>
                  <a:pt x="410" y="1038"/>
                </a:cubicBezTo>
                <a:cubicBezTo>
                  <a:pt x="408" y="1039"/>
                  <a:pt x="406" y="1041"/>
                  <a:pt x="405" y="1042"/>
                </a:cubicBezTo>
                <a:cubicBezTo>
                  <a:pt x="405" y="1042"/>
                  <a:pt x="405" y="1042"/>
                  <a:pt x="405" y="1042"/>
                </a:cubicBezTo>
                <a:cubicBezTo>
                  <a:pt x="403" y="1043"/>
                  <a:pt x="401" y="1044"/>
                  <a:pt x="399" y="1045"/>
                </a:cubicBezTo>
                <a:cubicBezTo>
                  <a:pt x="399" y="1045"/>
                  <a:pt x="399" y="1045"/>
                  <a:pt x="399" y="1045"/>
                </a:cubicBezTo>
                <a:cubicBezTo>
                  <a:pt x="398" y="1046"/>
                  <a:pt x="396" y="1047"/>
                  <a:pt x="394" y="1048"/>
                </a:cubicBezTo>
                <a:cubicBezTo>
                  <a:pt x="394" y="1048"/>
                  <a:pt x="394" y="1048"/>
                  <a:pt x="394" y="1048"/>
                </a:cubicBezTo>
                <a:cubicBezTo>
                  <a:pt x="392" y="1049"/>
                  <a:pt x="390" y="1050"/>
                  <a:pt x="389" y="1051"/>
                </a:cubicBezTo>
                <a:cubicBezTo>
                  <a:pt x="389" y="1051"/>
                  <a:pt x="389" y="1051"/>
                  <a:pt x="389" y="1051"/>
                </a:cubicBezTo>
                <a:cubicBezTo>
                  <a:pt x="385" y="1054"/>
                  <a:pt x="381" y="1055"/>
                  <a:pt x="378" y="1057"/>
                </a:cubicBezTo>
                <a:cubicBezTo>
                  <a:pt x="378" y="1057"/>
                  <a:pt x="378" y="1057"/>
                  <a:pt x="378" y="1057"/>
                </a:cubicBezTo>
                <a:cubicBezTo>
                  <a:pt x="304" y="1094"/>
                  <a:pt x="216" y="1094"/>
                  <a:pt x="142" y="1053"/>
                </a:cubicBezTo>
                <a:cubicBezTo>
                  <a:pt x="142" y="1053"/>
                  <a:pt x="142" y="1053"/>
                  <a:pt x="142" y="1053"/>
                </a:cubicBezTo>
                <a:cubicBezTo>
                  <a:pt x="136" y="1050"/>
                  <a:pt x="131" y="1046"/>
                  <a:pt x="125" y="1043"/>
                </a:cubicBezTo>
                <a:cubicBezTo>
                  <a:pt x="125" y="1043"/>
                  <a:pt x="125" y="1043"/>
                  <a:pt x="125" y="1043"/>
                </a:cubicBezTo>
                <a:cubicBezTo>
                  <a:pt x="124" y="1042"/>
                  <a:pt x="122" y="1040"/>
                  <a:pt x="120" y="1039"/>
                </a:cubicBezTo>
                <a:cubicBezTo>
                  <a:pt x="120" y="1039"/>
                  <a:pt x="120" y="1039"/>
                  <a:pt x="120" y="1039"/>
                </a:cubicBezTo>
                <a:cubicBezTo>
                  <a:pt x="118" y="1038"/>
                  <a:pt x="116" y="1037"/>
                  <a:pt x="115" y="1035"/>
                </a:cubicBezTo>
                <a:cubicBezTo>
                  <a:pt x="115" y="1035"/>
                  <a:pt x="115" y="1035"/>
                  <a:pt x="115" y="1035"/>
                </a:cubicBezTo>
                <a:cubicBezTo>
                  <a:pt x="111" y="1033"/>
                  <a:pt x="108" y="1030"/>
                  <a:pt x="104" y="1027"/>
                </a:cubicBezTo>
                <a:cubicBezTo>
                  <a:pt x="104" y="1027"/>
                  <a:pt x="104" y="1027"/>
                  <a:pt x="104" y="1027"/>
                </a:cubicBezTo>
                <a:cubicBezTo>
                  <a:pt x="103" y="1026"/>
                  <a:pt x="101" y="1025"/>
                  <a:pt x="99" y="1023"/>
                </a:cubicBezTo>
                <a:cubicBezTo>
                  <a:pt x="99" y="1023"/>
                  <a:pt x="99" y="1023"/>
                  <a:pt x="99" y="1023"/>
                </a:cubicBezTo>
                <a:cubicBezTo>
                  <a:pt x="96" y="1020"/>
                  <a:pt x="93" y="1017"/>
                  <a:pt x="89" y="1014"/>
                </a:cubicBezTo>
                <a:cubicBezTo>
                  <a:pt x="89" y="1014"/>
                  <a:pt x="89" y="1014"/>
                  <a:pt x="89" y="1014"/>
                </a:cubicBezTo>
                <a:cubicBezTo>
                  <a:pt x="88" y="1013"/>
                  <a:pt x="86" y="1011"/>
                  <a:pt x="85" y="1010"/>
                </a:cubicBezTo>
                <a:cubicBezTo>
                  <a:pt x="85" y="1010"/>
                  <a:pt x="85" y="1010"/>
                  <a:pt x="85" y="1010"/>
                </a:cubicBezTo>
                <a:cubicBezTo>
                  <a:pt x="83" y="1008"/>
                  <a:pt x="81" y="1006"/>
                  <a:pt x="80" y="1005"/>
                </a:cubicBezTo>
                <a:cubicBezTo>
                  <a:pt x="80" y="1005"/>
                  <a:pt x="80" y="1005"/>
                  <a:pt x="80" y="1005"/>
                </a:cubicBezTo>
                <a:cubicBezTo>
                  <a:pt x="77" y="1002"/>
                  <a:pt x="74" y="998"/>
                  <a:pt x="71" y="995"/>
                </a:cubicBezTo>
                <a:cubicBezTo>
                  <a:pt x="71" y="995"/>
                  <a:pt x="71" y="995"/>
                  <a:pt x="71" y="995"/>
                </a:cubicBezTo>
                <a:cubicBezTo>
                  <a:pt x="70" y="993"/>
                  <a:pt x="68" y="992"/>
                  <a:pt x="67" y="990"/>
                </a:cubicBezTo>
                <a:cubicBezTo>
                  <a:pt x="67" y="990"/>
                  <a:pt x="67" y="990"/>
                  <a:pt x="67" y="990"/>
                </a:cubicBezTo>
                <a:cubicBezTo>
                  <a:pt x="64" y="987"/>
                  <a:pt x="61" y="983"/>
                  <a:pt x="59" y="980"/>
                </a:cubicBezTo>
                <a:cubicBezTo>
                  <a:pt x="59" y="980"/>
                  <a:pt x="59" y="980"/>
                  <a:pt x="59" y="980"/>
                </a:cubicBezTo>
                <a:cubicBezTo>
                  <a:pt x="58" y="978"/>
                  <a:pt x="56" y="976"/>
                  <a:pt x="55" y="974"/>
                </a:cubicBezTo>
                <a:cubicBezTo>
                  <a:pt x="55" y="974"/>
                  <a:pt x="55" y="974"/>
                  <a:pt x="55" y="974"/>
                </a:cubicBezTo>
                <a:cubicBezTo>
                  <a:pt x="54" y="973"/>
                  <a:pt x="53" y="971"/>
                  <a:pt x="52" y="969"/>
                </a:cubicBezTo>
                <a:cubicBezTo>
                  <a:pt x="52" y="969"/>
                  <a:pt x="52" y="969"/>
                  <a:pt x="52" y="969"/>
                </a:cubicBezTo>
                <a:cubicBezTo>
                  <a:pt x="48" y="964"/>
                  <a:pt x="45" y="958"/>
                  <a:pt x="42" y="953"/>
                </a:cubicBezTo>
                <a:cubicBezTo>
                  <a:pt x="42" y="953"/>
                  <a:pt x="42" y="953"/>
                  <a:pt x="42" y="953"/>
                </a:cubicBezTo>
                <a:cubicBezTo>
                  <a:pt x="1" y="879"/>
                  <a:pt x="0" y="790"/>
                  <a:pt x="37" y="717"/>
                </a:cubicBezTo>
                <a:cubicBezTo>
                  <a:pt x="37" y="717"/>
                  <a:pt x="37" y="717"/>
                  <a:pt x="37" y="717"/>
                </a:cubicBezTo>
                <a:cubicBezTo>
                  <a:pt x="39" y="713"/>
                  <a:pt x="41" y="709"/>
                  <a:pt x="43" y="706"/>
                </a:cubicBezTo>
                <a:cubicBezTo>
                  <a:pt x="43" y="706"/>
                  <a:pt x="43" y="706"/>
                  <a:pt x="43" y="706"/>
                </a:cubicBezTo>
                <a:cubicBezTo>
                  <a:pt x="44" y="704"/>
                  <a:pt x="45" y="702"/>
                  <a:pt x="46" y="700"/>
                </a:cubicBezTo>
                <a:cubicBezTo>
                  <a:pt x="46" y="700"/>
                  <a:pt x="46" y="700"/>
                  <a:pt x="46" y="700"/>
                </a:cubicBezTo>
                <a:cubicBezTo>
                  <a:pt x="47" y="699"/>
                  <a:pt x="48" y="697"/>
                  <a:pt x="49" y="695"/>
                </a:cubicBezTo>
                <a:cubicBezTo>
                  <a:pt x="49" y="695"/>
                  <a:pt x="49" y="695"/>
                  <a:pt x="49" y="695"/>
                </a:cubicBezTo>
                <a:cubicBezTo>
                  <a:pt x="50" y="693"/>
                  <a:pt x="51" y="691"/>
                  <a:pt x="53" y="690"/>
                </a:cubicBezTo>
                <a:cubicBezTo>
                  <a:pt x="53" y="690"/>
                  <a:pt x="53" y="690"/>
                  <a:pt x="53" y="690"/>
                </a:cubicBezTo>
                <a:cubicBezTo>
                  <a:pt x="54" y="688"/>
                  <a:pt x="55" y="686"/>
                  <a:pt x="56" y="685"/>
                </a:cubicBezTo>
                <a:cubicBezTo>
                  <a:pt x="56" y="685"/>
                  <a:pt x="56" y="685"/>
                  <a:pt x="56" y="685"/>
                </a:cubicBezTo>
                <a:cubicBezTo>
                  <a:pt x="57" y="683"/>
                  <a:pt x="59" y="681"/>
                  <a:pt x="60" y="679"/>
                </a:cubicBezTo>
                <a:cubicBezTo>
                  <a:pt x="60" y="679"/>
                  <a:pt x="60" y="679"/>
                  <a:pt x="60" y="679"/>
                </a:cubicBezTo>
                <a:cubicBezTo>
                  <a:pt x="61" y="678"/>
                  <a:pt x="62" y="676"/>
                  <a:pt x="64" y="675"/>
                </a:cubicBezTo>
                <a:cubicBezTo>
                  <a:pt x="64" y="675"/>
                  <a:pt x="64" y="675"/>
                  <a:pt x="64" y="675"/>
                </a:cubicBezTo>
                <a:cubicBezTo>
                  <a:pt x="65" y="673"/>
                  <a:pt x="66" y="671"/>
                  <a:pt x="68" y="670"/>
                </a:cubicBezTo>
                <a:cubicBezTo>
                  <a:pt x="68" y="670"/>
                  <a:pt x="68" y="670"/>
                  <a:pt x="68" y="670"/>
                </a:cubicBezTo>
                <a:cubicBezTo>
                  <a:pt x="69" y="668"/>
                  <a:pt x="70" y="666"/>
                  <a:pt x="72" y="665"/>
                </a:cubicBezTo>
                <a:cubicBezTo>
                  <a:pt x="72" y="665"/>
                  <a:pt x="72" y="665"/>
                  <a:pt x="72" y="665"/>
                </a:cubicBezTo>
                <a:cubicBezTo>
                  <a:pt x="73" y="663"/>
                  <a:pt x="74" y="662"/>
                  <a:pt x="76" y="660"/>
                </a:cubicBezTo>
                <a:cubicBezTo>
                  <a:pt x="76" y="660"/>
                  <a:pt x="76" y="660"/>
                  <a:pt x="76" y="660"/>
                </a:cubicBezTo>
                <a:cubicBezTo>
                  <a:pt x="77" y="658"/>
                  <a:pt x="79" y="657"/>
                  <a:pt x="80" y="655"/>
                </a:cubicBezTo>
                <a:cubicBezTo>
                  <a:pt x="80" y="655"/>
                  <a:pt x="80" y="655"/>
                  <a:pt x="80" y="655"/>
                </a:cubicBezTo>
                <a:cubicBezTo>
                  <a:pt x="82" y="654"/>
                  <a:pt x="83" y="652"/>
                  <a:pt x="85" y="651"/>
                </a:cubicBezTo>
                <a:cubicBezTo>
                  <a:pt x="85" y="651"/>
                  <a:pt x="85" y="651"/>
                  <a:pt x="85" y="651"/>
                </a:cubicBezTo>
                <a:cubicBezTo>
                  <a:pt x="86" y="650"/>
                  <a:pt x="86" y="650"/>
                  <a:pt x="86" y="650"/>
                </a:cubicBezTo>
                <a:cubicBezTo>
                  <a:pt x="86" y="649"/>
                  <a:pt x="87" y="648"/>
                  <a:pt x="87" y="648"/>
                </a:cubicBezTo>
                <a:cubicBezTo>
                  <a:pt x="88" y="647"/>
                  <a:pt x="89" y="646"/>
                  <a:pt x="90" y="646"/>
                </a:cubicBezTo>
                <a:cubicBezTo>
                  <a:pt x="90" y="646"/>
                  <a:pt x="90" y="646"/>
                  <a:pt x="90" y="646"/>
                </a:cubicBezTo>
                <a:cubicBezTo>
                  <a:pt x="158" y="581"/>
                  <a:pt x="233" y="578"/>
                  <a:pt x="313" y="547"/>
                </a:cubicBezTo>
                <a:cubicBezTo>
                  <a:pt x="358" y="529"/>
                  <a:pt x="405" y="502"/>
                  <a:pt x="455" y="453"/>
                </a:cubicBezTo>
                <a:cubicBezTo>
                  <a:pt x="502" y="404"/>
                  <a:pt x="529" y="358"/>
                  <a:pt x="547" y="314"/>
                </a:cubicBezTo>
                <a:cubicBezTo>
                  <a:pt x="577" y="235"/>
                  <a:pt x="581" y="162"/>
                  <a:pt x="641" y="95"/>
                </a:cubicBezTo>
                <a:cubicBezTo>
                  <a:pt x="642" y="94"/>
                  <a:pt x="643" y="93"/>
                  <a:pt x="644" y="92"/>
                </a:cubicBezTo>
                <a:cubicBezTo>
                  <a:pt x="645" y="90"/>
                  <a:pt x="645" y="90"/>
                  <a:pt x="645" y="90"/>
                </a:cubicBezTo>
                <a:cubicBezTo>
                  <a:pt x="647" y="88"/>
                  <a:pt x="649" y="86"/>
                  <a:pt x="651" y="84"/>
                </a:cubicBezTo>
                <a:cubicBezTo>
                  <a:pt x="651" y="84"/>
                  <a:pt x="651" y="84"/>
                  <a:pt x="651" y="84"/>
                </a:cubicBezTo>
                <a:cubicBezTo>
                  <a:pt x="651" y="84"/>
                  <a:pt x="651" y="84"/>
                  <a:pt x="651" y="84"/>
                </a:cubicBezTo>
                <a:cubicBezTo>
                  <a:pt x="653" y="83"/>
                  <a:pt x="654" y="81"/>
                  <a:pt x="656" y="80"/>
                </a:cubicBezTo>
                <a:cubicBezTo>
                  <a:pt x="656" y="80"/>
                  <a:pt x="656" y="80"/>
                  <a:pt x="656" y="80"/>
                </a:cubicBezTo>
                <a:cubicBezTo>
                  <a:pt x="657" y="78"/>
                  <a:pt x="659" y="77"/>
                  <a:pt x="660" y="75"/>
                </a:cubicBezTo>
                <a:cubicBezTo>
                  <a:pt x="660" y="75"/>
                  <a:pt x="660" y="75"/>
                  <a:pt x="660" y="75"/>
                </a:cubicBezTo>
                <a:cubicBezTo>
                  <a:pt x="662" y="74"/>
                  <a:pt x="664" y="73"/>
                  <a:pt x="665" y="71"/>
                </a:cubicBezTo>
                <a:cubicBezTo>
                  <a:pt x="665" y="71"/>
                  <a:pt x="665" y="71"/>
                  <a:pt x="665" y="71"/>
                </a:cubicBezTo>
                <a:cubicBezTo>
                  <a:pt x="667" y="70"/>
                  <a:pt x="668" y="68"/>
                  <a:pt x="670" y="67"/>
                </a:cubicBezTo>
                <a:cubicBezTo>
                  <a:pt x="670" y="67"/>
                  <a:pt x="670" y="67"/>
                  <a:pt x="670" y="67"/>
                </a:cubicBezTo>
                <a:cubicBezTo>
                  <a:pt x="672" y="66"/>
                  <a:pt x="673" y="64"/>
                  <a:pt x="675" y="63"/>
                </a:cubicBezTo>
                <a:cubicBezTo>
                  <a:pt x="675" y="63"/>
                  <a:pt x="675" y="63"/>
                  <a:pt x="675" y="63"/>
                </a:cubicBezTo>
                <a:cubicBezTo>
                  <a:pt x="677" y="62"/>
                  <a:pt x="678" y="61"/>
                  <a:pt x="680" y="59"/>
                </a:cubicBezTo>
                <a:cubicBezTo>
                  <a:pt x="680" y="59"/>
                  <a:pt x="680" y="59"/>
                  <a:pt x="680" y="59"/>
                </a:cubicBezTo>
                <a:cubicBezTo>
                  <a:pt x="682" y="58"/>
                  <a:pt x="683" y="57"/>
                  <a:pt x="685" y="56"/>
                </a:cubicBezTo>
                <a:cubicBezTo>
                  <a:pt x="685" y="56"/>
                  <a:pt x="685" y="56"/>
                  <a:pt x="685" y="56"/>
                </a:cubicBezTo>
                <a:cubicBezTo>
                  <a:pt x="687" y="55"/>
                  <a:pt x="689" y="53"/>
                  <a:pt x="690" y="52"/>
                </a:cubicBezTo>
                <a:cubicBezTo>
                  <a:pt x="690" y="52"/>
                  <a:pt x="690" y="52"/>
                  <a:pt x="690" y="52"/>
                </a:cubicBezTo>
                <a:cubicBezTo>
                  <a:pt x="692" y="51"/>
                  <a:pt x="694" y="50"/>
                  <a:pt x="695" y="49"/>
                </a:cubicBezTo>
                <a:cubicBezTo>
                  <a:pt x="695" y="49"/>
                  <a:pt x="695" y="49"/>
                  <a:pt x="695" y="49"/>
                </a:cubicBezTo>
                <a:cubicBezTo>
                  <a:pt x="697" y="48"/>
                  <a:pt x="699" y="47"/>
                  <a:pt x="701" y="45"/>
                </a:cubicBezTo>
                <a:cubicBezTo>
                  <a:pt x="701" y="45"/>
                  <a:pt x="701" y="45"/>
                  <a:pt x="701" y="45"/>
                </a:cubicBezTo>
                <a:cubicBezTo>
                  <a:pt x="703" y="44"/>
                  <a:pt x="704" y="43"/>
                  <a:pt x="706" y="42"/>
                </a:cubicBezTo>
                <a:cubicBezTo>
                  <a:pt x="706" y="42"/>
                  <a:pt x="706" y="42"/>
                  <a:pt x="706" y="42"/>
                </a:cubicBezTo>
                <a:cubicBezTo>
                  <a:pt x="710" y="40"/>
                  <a:pt x="713" y="38"/>
                  <a:pt x="717" y="37"/>
                </a:cubicBezTo>
                <a:cubicBezTo>
                  <a:pt x="717" y="37"/>
                  <a:pt x="717" y="37"/>
                  <a:pt x="717" y="37"/>
                </a:cubicBezTo>
                <a:cubicBezTo>
                  <a:pt x="791" y="0"/>
                  <a:pt x="879" y="0"/>
                  <a:pt x="953" y="41"/>
                </a:cubicBezTo>
                <a:cubicBezTo>
                  <a:pt x="953" y="41"/>
                  <a:pt x="953" y="41"/>
                  <a:pt x="953" y="41"/>
                </a:cubicBezTo>
                <a:cubicBezTo>
                  <a:pt x="959" y="44"/>
                  <a:pt x="964" y="48"/>
                  <a:pt x="970" y="51"/>
                </a:cubicBezTo>
                <a:cubicBezTo>
                  <a:pt x="970" y="51"/>
                  <a:pt x="970" y="51"/>
                  <a:pt x="970" y="51"/>
                </a:cubicBezTo>
                <a:cubicBezTo>
                  <a:pt x="971" y="52"/>
                  <a:pt x="973" y="53"/>
                  <a:pt x="975" y="55"/>
                </a:cubicBezTo>
                <a:cubicBezTo>
                  <a:pt x="975" y="55"/>
                  <a:pt x="975" y="55"/>
                  <a:pt x="975" y="55"/>
                </a:cubicBezTo>
                <a:cubicBezTo>
                  <a:pt x="977" y="56"/>
                  <a:pt x="978" y="57"/>
                  <a:pt x="980" y="58"/>
                </a:cubicBezTo>
                <a:cubicBezTo>
                  <a:pt x="980" y="58"/>
                  <a:pt x="980" y="58"/>
                  <a:pt x="980" y="58"/>
                </a:cubicBezTo>
                <a:cubicBezTo>
                  <a:pt x="984" y="61"/>
                  <a:pt x="987" y="64"/>
                  <a:pt x="990" y="66"/>
                </a:cubicBezTo>
                <a:cubicBezTo>
                  <a:pt x="990" y="66"/>
                  <a:pt x="990" y="66"/>
                  <a:pt x="990" y="66"/>
                </a:cubicBezTo>
                <a:cubicBezTo>
                  <a:pt x="992" y="68"/>
                  <a:pt x="994" y="69"/>
                  <a:pt x="995" y="71"/>
                </a:cubicBezTo>
                <a:cubicBezTo>
                  <a:pt x="995" y="71"/>
                  <a:pt x="995" y="71"/>
                  <a:pt x="995" y="71"/>
                </a:cubicBezTo>
                <a:cubicBezTo>
                  <a:pt x="999" y="73"/>
                  <a:pt x="1002" y="76"/>
                  <a:pt x="1005" y="80"/>
                </a:cubicBezTo>
                <a:cubicBezTo>
                  <a:pt x="1005" y="80"/>
                  <a:pt x="1005" y="80"/>
                  <a:pt x="1005" y="80"/>
                </a:cubicBezTo>
                <a:cubicBezTo>
                  <a:pt x="1007" y="81"/>
                  <a:pt x="1009" y="83"/>
                  <a:pt x="1010" y="84"/>
                </a:cubicBezTo>
                <a:cubicBezTo>
                  <a:pt x="1010" y="84"/>
                  <a:pt x="1010" y="84"/>
                  <a:pt x="1010" y="84"/>
                </a:cubicBezTo>
                <a:cubicBezTo>
                  <a:pt x="1012" y="86"/>
                  <a:pt x="1013" y="87"/>
                  <a:pt x="1015" y="89"/>
                </a:cubicBezTo>
                <a:cubicBezTo>
                  <a:pt x="1015" y="89"/>
                  <a:pt x="1015" y="89"/>
                  <a:pt x="1015" y="89"/>
                </a:cubicBezTo>
                <a:cubicBezTo>
                  <a:pt x="1018" y="92"/>
                  <a:pt x="1021" y="96"/>
                  <a:pt x="1024" y="99"/>
                </a:cubicBezTo>
                <a:cubicBezTo>
                  <a:pt x="1024" y="99"/>
                  <a:pt x="1024" y="99"/>
                  <a:pt x="1024" y="99"/>
                </a:cubicBezTo>
                <a:cubicBezTo>
                  <a:pt x="1025" y="101"/>
                  <a:pt x="1027" y="102"/>
                  <a:pt x="1028" y="104"/>
                </a:cubicBezTo>
                <a:cubicBezTo>
                  <a:pt x="1028" y="104"/>
                  <a:pt x="1028" y="104"/>
                  <a:pt x="1028" y="104"/>
                </a:cubicBezTo>
                <a:cubicBezTo>
                  <a:pt x="1031" y="107"/>
                  <a:pt x="1033" y="111"/>
                  <a:pt x="1036" y="114"/>
                </a:cubicBezTo>
                <a:cubicBezTo>
                  <a:pt x="1036" y="114"/>
                  <a:pt x="1036" y="114"/>
                  <a:pt x="1036" y="114"/>
                </a:cubicBezTo>
                <a:cubicBezTo>
                  <a:pt x="1037" y="116"/>
                  <a:pt x="1038" y="118"/>
                  <a:pt x="1040" y="120"/>
                </a:cubicBezTo>
                <a:cubicBezTo>
                  <a:pt x="1040" y="120"/>
                  <a:pt x="1040" y="120"/>
                  <a:pt x="1040" y="120"/>
                </a:cubicBezTo>
                <a:cubicBezTo>
                  <a:pt x="1041" y="121"/>
                  <a:pt x="1042" y="123"/>
                  <a:pt x="1043" y="125"/>
                </a:cubicBezTo>
                <a:cubicBezTo>
                  <a:pt x="1043" y="125"/>
                  <a:pt x="1043" y="125"/>
                  <a:pt x="1043" y="125"/>
                </a:cubicBezTo>
                <a:cubicBezTo>
                  <a:pt x="1047" y="130"/>
                  <a:pt x="1050" y="136"/>
                  <a:pt x="1053" y="141"/>
                </a:cubicBezTo>
                <a:cubicBezTo>
                  <a:pt x="1053" y="141"/>
                  <a:pt x="1053" y="141"/>
                  <a:pt x="1053" y="141"/>
                </a:cubicBezTo>
                <a:cubicBezTo>
                  <a:pt x="1094" y="215"/>
                  <a:pt x="1095" y="304"/>
                  <a:pt x="1058" y="377"/>
                </a:cubicBezTo>
                <a:cubicBezTo>
                  <a:pt x="1058" y="377"/>
                  <a:pt x="1058" y="377"/>
                  <a:pt x="1058" y="377"/>
                </a:cubicBezTo>
                <a:cubicBezTo>
                  <a:pt x="1056" y="381"/>
                  <a:pt x="1054" y="385"/>
                  <a:pt x="1052" y="388"/>
                </a:cubicBezTo>
                <a:cubicBezTo>
                  <a:pt x="1052" y="388"/>
                  <a:pt x="1052" y="388"/>
                  <a:pt x="1052" y="388"/>
                </a:cubicBezTo>
                <a:cubicBezTo>
                  <a:pt x="1051" y="390"/>
                  <a:pt x="1050" y="392"/>
                  <a:pt x="1049" y="393"/>
                </a:cubicBezTo>
                <a:cubicBezTo>
                  <a:pt x="1049" y="393"/>
                  <a:pt x="1049" y="393"/>
                  <a:pt x="1049" y="393"/>
                </a:cubicBezTo>
                <a:cubicBezTo>
                  <a:pt x="1048" y="395"/>
                  <a:pt x="1047" y="397"/>
                  <a:pt x="1046" y="399"/>
                </a:cubicBezTo>
                <a:cubicBezTo>
                  <a:pt x="1046" y="399"/>
                  <a:pt x="1046" y="399"/>
                  <a:pt x="1046" y="399"/>
                </a:cubicBezTo>
                <a:cubicBezTo>
                  <a:pt x="1045" y="401"/>
                  <a:pt x="1043" y="402"/>
                  <a:pt x="1042" y="404"/>
                </a:cubicBezTo>
                <a:cubicBezTo>
                  <a:pt x="1042" y="404"/>
                  <a:pt x="1042" y="404"/>
                  <a:pt x="1042" y="404"/>
                </a:cubicBezTo>
                <a:cubicBezTo>
                  <a:pt x="1041" y="406"/>
                  <a:pt x="1040" y="408"/>
                  <a:pt x="1039" y="409"/>
                </a:cubicBezTo>
                <a:cubicBezTo>
                  <a:pt x="1039" y="409"/>
                  <a:pt x="1039" y="409"/>
                  <a:pt x="1039" y="409"/>
                </a:cubicBezTo>
                <a:cubicBezTo>
                  <a:pt x="1037" y="411"/>
                  <a:pt x="1036" y="413"/>
                  <a:pt x="1035" y="414"/>
                </a:cubicBezTo>
                <a:cubicBezTo>
                  <a:pt x="1035" y="414"/>
                  <a:pt x="1035" y="414"/>
                  <a:pt x="1035" y="414"/>
                </a:cubicBezTo>
                <a:cubicBezTo>
                  <a:pt x="1034" y="416"/>
                  <a:pt x="1033" y="418"/>
                  <a:pt x="1031" y="419"/>
                </a:cubicBezTo>
                <a:cubicBezTo>
                  <a:pt x="1031" y="419"/>
                  <a:pt x="1031" y="419"/>
                  <a:pt x="1031" y="419"/>
                </a:cubicBezTo>
                <a:cubicBezTo>
                  <a:pt x="1030" y="421"/>
                  <a:pt x="1029" y="423"/>
                  <a:pt x="1027" y="424"/>
                </a:cubicBezTo>
                <a:cubicBezTo>
                  <a:pt x="1027" y="424"/>
                  <a:pt x="1027" y="424"/>
                  <a:pt x="1027" y="424"/>
                </a:cubicBezTo>
                <a:cubicBezTo>
                  <a:pt x="1026" y="426"/>
                  <a:pt x="1025" y="428"/>
                  <a:pt x="1023" y="429"/>
                </a:cubicBezTo>
                <a:cubicBezTo>
                  <a:pt x="1023" y="429"/>
                  <a:pt x="1023" y="429"/>
                  <a:pt x="1023" y="429"/>
                </a:cubicBezTo>
                <a:cubicBezTo>
                  <a:pt x="1022" y="431"/>
                  <a:pt x="1020" y="432"/>
                  <a:pt x="1019" y="434"/>
                </a:cubicBezTo>
                <a:cubicBezTo>
                  <a:pt x="1019" y="434"/>
                  <a:pt x="1019" y="434"/>
                  <a:pt x="1019" y="434"/>
                </a:cubicBezTo>
                <a:cubicBezTo>
                  <a:pt x="1018" y="436"/>
                  <a:pt x="1016" y="437"/>
                  <a:pt x="1015" y="439"/>
                </a:cubicBezTo>
                <a:cubicBezTo>
                  <a:pt x="1015" y="439"/>
                  <a:pt x="1015" y="439"/>
                  <a:pt x="1015" y="439"/>
                </a:cubicBezTo>
                <a:cubicBezTo>
                  <a:pt x="1013" y="440"/>
                  <a:pt x="1012" y="442"/>
                  <a:pt x="1010" y="443"/>
                </a:cubicBezTo>
                <a:cubicBezTo>
                  <a:pt x="1010" y="443"/>
                  <a:pt x="1010" y="443"/>
                  <a:pt x="1010" y="443"/>
                </a:cubicBezTo>
                <a:cubicBezTo>
                  <a:pt x="1010" y="443"/>
                  <a:pt x="1010" y="443"/>
                  <a:pt x="1010" y="443"/>
                </a:cubicBezTo>
                <a:cubicBezTo>
                  <a:pt x="1008" y="445"/>
                  <a:pt x="1006" y="447"/>
                  <a:pt x="1004" y="449"/>
                </a:cubicBezTo>
                <a:cubicBezTo>
                  <a:pt x="1004" y="449"/>
                  <a:pt x="1003" y="450"/>
                  <a:pt x="1003" y="450"/>
                </a:cubicBezTo>
                <a:cubicBezTo>
                  <a:pt x="1001" y="452"/>
                  <a:pt x="1000" y="453"/>
                  <a:pt x="999" y="454"/>
                </a:cubicBezTo>
                <a:cubicBezTo>
                  <a:pt x="932" y="514"/>
                  <a:pt x="859" y="517"/>
                  <a:pt x="780" y="547"/>
                </a:cubicBezTo>
                <a:close/>
              </a:path>
            </a:pathLst>
          </a:custGeom>
          <a:gradFill flip="none" rotWithShape="1">
            <a:gsLst>
              <a:gs pos="59000">
                <a:schemeClr val="accent1"/>
              </a:gs>
              <a:gs pos="36000">
                <a:schemeClr val="accent1">
                  <a:lumMod val="60000"/>
                  <a:lumOff val="40000"/>
                </a:schemeClr>
              </a:gs>
              <a:gs pos="0">
                <a:schemeClr val="accent1">
                  <a:lumMod val="20000"/>
                  <a:lumOff val="80000"/>
                </a:schemeClr>
              </a:gs>
              <a:gs pos="16000">
                <a:schemeClr val="accent1">
                  <a:lumMod val="40000"/>
                  <a:lumOff val="60000"/>
                </a:schemeClr>
              </a:gs>
            </a:gsLst>
            <a:lin ang="0" scaled="1"/>
            <a:tileRect/>
          </a:gradFill>
          <a:ln>
            <a:noFill/>
          </a:ln>
          <a:effectLst>
            <a:outerShdw blurRad="609600" sx="102000" sy="102000" algn="ctr" rotWithShape="0">
              <a:schemeClr val="accent1">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11" name="Freeform 15">
            <a:extLst>
              <a:ext uri="{FF2B5EF4-FFF2-40B4-BE49-F238E27FC236}">
                <a16:creationId xmlns:a16="http://schemas.microsoft.com/office/drawing/2014/main" id="{DD4E8635-685E-4952-AFDE-351EAE5F01DE}"/>
              </a:ext>
            </a:extLst>
          </p:cNvPr>
          <p:cNvSpPr>
            <a:spLocks/>
          </p:cNvSpPr>
          <p:nvPr/>
        </p:nvSpPr>
        <p:spPr bwMode="auto">
          <a:xfrm>
            <a:off x="6607618" y="3018455"/>
            <a:ext cx="742943" cy="741186"/>
          </a:xfrm>
          <a:custGeom>
            <a:avLst/>
            <a:gdLst>
              <a:gd name="T0" fmla="*/ 397 w 483"/>
              <a:gd name="T1" fmla="*/ 397 h 483"/>
              <a:gd name="T2" fmla="*/ 86 w 483"/>
              <a:gd name="T3" fmla="*/ 397 h 483"/>
              <a:gd name="T4" fmla="*/ 86 w 483"/>
              <a:gd name="T5" fmla="*/ 86 h 483"/>
              <a:gd name="T6" fmla="*/ 397 w 483"/>
              <a:gd name="T7" fmla="*/ 86 h 483"/>
              <a:gd name="T8" fmla="*/ 397 w 483"/>
              <a:gd name="T9" fmla="*/ 397 h 483"/>
            </a:gdLst>
            <a:ahLst/>
            <a:cxnLst>
              <a:cxn ang="0">
                <a:pos x="T0" y="T1"/>
              </a:cxn>
              <a:cxn ang="0">
                <a:pos x="T2" y="T3"/>
              </a:cxn>
              <a:cxn ang="0">
                <a:pos x="T4" y="T5"/>
              </a:cxn>
              <a:cxn ang="0">
                <a:pos x="T6" y="T7"/>
              </a:cxn>
              <a:cxn ang="0">
                <a:pos x="T8" y="T9"/>
              </a:cxn>
            </a:cxnLst>
            <a:rect l="0" t="0" r="r" b="b"/>
            <a:pathLst>
              <a:path w="483" h="483">
                <a:moveTo>
                  <a:pt x="397" y="397"/>
                </a:moveTo>
                <a:cubicBezTo>
                  <a:pt x="311" y="483"/>
                  <a:pt x="172" y="483"/>
                  <a:pt x="86" y="397"/>
                </a:cubicBezTo>
                <a:cubicBezTo>
                  <a:pt x="0" y="311"/>
                  <a:pt x="0" y="172"/>
                  <a:pt x="86" y="86"/>
                </a:cubicBezTo>
                <a:cubicBezTo>
                  <a:pt x="172" y="0"/>
                  <a:pt x="311" y="0"/>
                  <a:pt x="397" y="86"/>
                </a:cubicBezTo>
                <a:cubicBezTo>
                  <a:pt x="483" y="172"/>
                  <a:pt x="483" y="311"/>
                  <a:pt x="397" y="397"/>
                </a:cubicBezTo>
                <a:close/>
              </a:path>
            </a:pathLst>
          </a:custGeom>
          <a:solidFill>
            <a:srgbClr val="FEFE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7150" tIns="28575" rIns="57150" bIns="28575"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25" b="0" i="0" u="none" strike="noStrike" kern="1200" cap="none" spc="0" normalizeH="0" baseline="0" noProof="0">
              <a:ln>
                <a:noFill/>
              </a:ln>
              <a:solidFill>
                <a:srgbClr val="3F3F3F"/>
              </a:solidFill>
              <a:effectLst/>
              <a:uLnTx/>
              <a:uFillTx/>
              <a:latin typeface="HarmonyOS Sans SC"/>
              <a:cs typeface="+mn-cs"/>
            </a:endParaRPr>
          </a:p>
        </p:txBody>
      </p:sp>
      <p:sp>
        <p:nvSpPr>
          <p:cNvPr id="12" name="Oval 16">
            <a:extLst>
              <a:ext uri="{FF2B5EF4-FFF2-40B4-BE49-F238E27FC236}">
                <a16:creationId xmlns:a16="http://schemas.microsoft.com/office/drawing/2014/main" id="{2EB1B27E-5BFD-4844-83A5-B4CBF1A6D40E}"/>
              </a:ext>
            </a:extLst>
          </p:cNvPr>
          <p:cNvSpPr>
            <a:spLocks noChangeArrowheads="1"/>
          </p:cNvSpPr>
          <p:nvPr/>
        </p:nvSpPr>
        <p:spPr bwMode="auto">
          <a:xfrm>
            <a:off x="7517414" y="2182425"/>
            <a:ext cx="677957" cy="676201"/>
          </a:xfrm>
          <a:prstGeom prst="ellipse">
            <a:avLst/>
          </a:prstGeom>
          <a:solidFill>
            <a:srgbClr val="FEFE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7150" tIns="28575" rIns="57150" bIns="28575"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25" b="0" i="0" u="none" strike="noStrike" kern="1200" cap="none" spc="0" normalizeH="0" baseline="0" noProof="0">
              <a:ln>
                <a:noFill/>
              </a:ln>
              <a:solidFill>
                <a:srgbClr val="3F3F3F"/>
              </a:solidFill>
              <a:effectLst/>
              <a:uLnTx/>
              <a:uFillTx/>
              <a:latin typeface="HarmonyOS Sans SC"/>
              <a:cs typeface="+mn-cs"/>
            </a:endParaRPr>
          </a:p>
        </p:txBody>
      </p:sp>
      <p:sp>
        <p:nvSpPr>
          <p:cNvPr id="13" name="Freeform 10">
            <a:extLst>
              <a:ext uri="{FF2B5EF4-FFF2-40B4-BE49-F238E27FC236}">
                <a16:creationId xmlns:a16="http://schemas.microsoft.com/office/drawing/2014/main" id="{CDCB2992-F42F-4D19-9FD9-291985A51E8B}"/>
              </a:ext>
            </a:extLst>
          </p:cNvPr>
          <p:cNvSpPr>
            <a:spLocks/>
          </p:cNvSpPr>
          <p:nvPr/>
        </p:nvSpPr>
        <p:spPr bwMode="auto">
          <a:xfrm>
            <a:off x="6572490" y="4214539"/>
            <a:ext cx="1682598" cy="1680842"/>
          </a:xfrm>
          <a:custGeom>
            <a:avLst/>
            <a:gdLst>
              <a:gd name="T0" fmla="*/ 547 w 1095"/>
              <a:gd name="T1" fmla="*/ 313 h 1094"/>
              <a:gd name="T2" fmla="*/ 449 w 1095"/>
              <a:gd name="T3" fmla="*/ 90 h 1094"/>
              <a:gd name="T4" fmla="*/ 444 w 1095"/>
              <a:gd name="T5" fmla="*/ 84 h 1094"/>
              <a:gd name="T6" fmla="*/ 434 w 1095"/>
              <a:gd name="T7" fmla="*/ 75 h 1094"/>
              <a:gd name="T8" fmla="*/ 430 w 1095"/>
              <a:gd name="T9" fmla="*/ 71 h 1094"/>
              <a:gd name="T10" fmla="*/ 420 w 1095"/>
              <a:gd name="T11" fmla="*/ 63 h 1094"/>
              <a:gd name="T12" fmla="*/ 415 w 1095"/>
              <a:gd name="T13" fmla="*/ 59 h 1094"/>
              <a:gd name="T14" fmla="*/ 405 w 1095"/>
              <a:gd name="T15" fmla="*/ 52 h 1094"/>
              <a:gd name="T16" fmla="*/ 399 w 1095"/>
              <a:gd name="T17" fmla="*/ 49 h 1094"/>
              <a:gd name="T18" fmla="*/ 389 w 1095"/>
              <a:gd name="T19" fmla="*/ 42 h 1094"/>
              <a:gd name="T20" fmla="*/ 378 w 1095"/>
              <a:gd name="T21" fmla="*/ 37 h 1094"/>
              <a:gd name="T22" fmla="*/ 125 w 1095"/>
              <a:gd name="T23" fmla="*/ 51 h 1094"/>
              <a:gd name="T24" fmla="*/ 120 w 1095"/>
              <a:gd name="T25" fmla="*/ 55 h 1094"/>
              <a:gd name="T26" fmla="*/ 104 w 1095"/>
              <a:gd name="T27" fmla="*/ 66 h 1094"/>
              <a:gd name="T28" fmla="*/ 99 w 1095"/>
              <a:gd name="T29" fmla="*/ 71 h 1094"/>
              <a:gd name="T30" fmla="*/ 85 w 1095"/>
              <a:gd name="T31" fmla="*/ 84 h 1094"/>
              <a:gd name="T32" fmla="*/ 80 w 1095"/>
              <a:gd name="T33" fmla="*/ 89 h 1094"/>
              <a:gd name="T34" fmla="*/ 67 w 1095"/>
              <a:gd name="T35" fmla="*/ 104 h 1094"/>
              <a:gd name="T36" fmla="*/ 59 w 1095"/>
              <a:gd name="T37" fmla="*/ 114 h 1094"/>
              <a:gd name="T38" fmla="*/ 52 w 1095"/>
              <a:gd name="T39" fmla="*/ 125 h 1094"/>
              <a:gd name="T40" fmla="*/ 42 w 1095"/>
              <a:gd name="T41" fmla="*/ 141 h 1094"/>
              <a:gd name="T42" fmla="*/ 43 w 1095"/>
              <a:gd name="T43" fmla="*/ 388 h 1094"/>
              <a:gd name="T44" fmla="*/ 46 w 1095"/>
              <a:gd name="T45" fmla="*/ 394 h 1094"/>
              <a:gd name="T46" fmla="*/ 53 w 1095"/>
              <a:gd name="T47" fmla="*/ 404 h 1094"/>
              <a:gd name="T48" fmla="*/ 56 w 1095"/>
              <a:gd name="T49" fmla="*/ 409 h 1094"/>
              <a:gd name="T50" fmla="*/ 64 w 1095"/>
              <a:gd name="T51" fmla="*/ 419 h 1094"/>
              <a:gd name="T52" fmla="*/ 68 w 1095"/>
              <a:gd name="T53" fmla="*/ 424 h 1094"/>
              <a:gd name="T54" fmla="*/ 76 w 1095"/>
              <a:gd name="T55" fmla="*/ 434 h 1094"/>
              <a:gd name="T56" fmla="*/ 80 w 1095"/>
              <a:gd name="T57" fmla="*/ 439 h 1094"/>
              <a:gd name="T58" fmla="*/ 86 w 1095"/>
              <a:gd name="T59" fmla="*/ 444 h 1094"/>
              <a:gd name="T60" fmla="*/ 90 w 1095"/>
              <a:gd name="T61" fmla="*/ 448 h 1094"/>
              <a:gd name="T62" fmla="*/ 547 w 1095"/>
              <a:gd name="T63" fmla="*/ 780 h 1094"/>
              <a:gd name="T64" fmla="*/ 645 w 1095"/>
              <a:gd name="T65" fmla="*/ 1004 h 1094"/>
              <a:gd name="T66" fmla="*/ 651 w 1095"/>
              <a:gd name="T67" fmla="*/ 1010 h 1094"/>
              <a:gd name="T68" fmla="*/ 660 w 1095"/>
              <a:gd name="T69" fmla="*/ 1019 h 1094"/>
              <a:gd name="T70" fmla="*/ 665 w 1095"/>
              <a:gd name="T71" fmla="*/ 1023 h 1094"/>
              <a:gd name="T72" fmla="*/ 675 w 1095"/>
              <a:gd name="T73" fmla="*/ 1031 h 1094"/>
              <a:gd name="T74" fmla="*/ 680 w 1095"/>
              <a:gd name="T75" fmla="*/ 1035 h 1094"/>
              <a:gd name="T76" fmla="*/ 690 w 1095"/>
              <a:gd name="T77" fmla="*/ 1042 h 1094"/>
              <a:gd name="T78" fmla="*/ 695 w 1095"/>
              <a:gd name="T79" fmla="*/ 1045 h 1094"/>
              <a:gd name="T80" fmla="*/ 706 w 1095"/>
              <a:gd name="T81" fmla="*/ 1052 h 1094"/>
              <a:gd name="T82" fmla="*/ 717 w 1095"/>
              <a:gd name="T83" fmla="*/ 1057 h 1094"/>
              <a:gd name="T84" fmla="*/ 970 w 1095"/>
              <a:gd name="T85" fmla="*/ 1043 h 1094"/>
              <a:gd name="T86" fmla="*/ 975 w 1095"/>
              <a:gd name="T87" fmla="*/ 1039 h 1094"/>
              <a:gd name="T88" fmla="*/ 990 w 1095"/>
              <a:gd name="T89" fmla="*/ 1028 h 1094"/>
              <a:gd name="T90" fmla="*/ 995 w 1095"/>
              <a:gd name="T91" fmla="*/ 1023 h 1094"/>
              <a:gd name="T92" fmla="*/ 1010 w 1095"/>
              <a:gd name="T93" fmla="*/ 1010 h 1094"/>
              <a:gd name="T94" fmla="*/ 1015 w 1095"/>
              <a:gd name="T95" fmla="*/ 1005 h 1094"/>
              <a:gd name="T96" fmla="*/ 1028 w 1095"/>
              <a:gd name="T97" fmla="*/ 990 h 1094"/>
              <a:gd name="T98" fmla="*/ 1036 w 1095"/>
              <a:gd name="T99" fmla="*/ 980 h 1094"/>
              <a:gd name="T100" fmla="*/ 1043 w 1095"/>
              <a:gd name="T101" fmla="*/ 969 h 1094"/>
              <a:gd name="T102" fmla="*/ 1053 w 1095"/>
              <a:gd name="T103" fmla="*/ 953 h 1094"/>
              <a:gd name="T104" fmla="*/ 1052 w 1095"/>
              <a:gd name="T105" fmla="*/ 706 h 1094"/>
              <a:gd name="T106" fmla="*/ 1049 w 1095"/>
              <a:gd name="T107" fmla="*/ 700 h 1094"/>
              <a:gd name="T108" fmla="*/ 1042 w 1095"/>
              <a:gd name="T109" fmla="*/ 690 h 1094"/>
              <a:gd name="T110" fmla="*/ 1039 w 1095"/>
              <a:gd name="T111" fmla="*/ 685 h 1094"/>
              <a:gd name="T112" fmla="*/ 1031 w 1095"/>
              <a:gd name="T113" fmla="*/ 675 h 1094"/>
              <a:gd name="T114" fmla="*/ 1027 w 1095"/>
              <a:gd name="T115" fmla="*/ 670 h 1094"/>
              <a:gd name="T116" fmla="*/ 1019 w 1095"/>
              <a:gd name="T117" fmla="*/ 660 h 1094"/>
              <a:gd name="T118" fmla="*/ 1015 w 1095"/>
              <a:gd name="T119" fmla="*/ 655 h 1094"/>
              <a:gd name="T120" fmla="*/ 1010 w 1095"/>
              <a:gd name="T121" fmla="*/ 651 h 1094"/>
              <a:gd name="T122" fmla="*/ 999 w 1095"/>
              <a:gd name="T123" fmla="*/ 640 h 10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095" h="1094">
                <a:moveTo>
                  <a:pt x="780" y="547"/>
                </a:moveTo>
                <a:cubicBezTo>
                  <a:pt x="737" y="529"/>
                  <a:pt x="691" y="502"/>
                  <a:pt x="642" y="455"/>
                </a:cubicBezTo>
                <a:cubicBezTo>
                  <a:pt x="593" y="405"/>
                  <a:pt x="566" y="358"/>
                  <a:pt x="547" y="313"/>
                </a:cubicBezTo>
                <a:cubicBezTo>
                  <a:pt x="518" y="234"/>
                  <a:pt x="514" y="162"/>
                  <a:pt x="454" y="95"/>
                </a:cubicBezTo>
                <a:cubicBezTo>
                  <a:pt x="453" y="94"/>
                  <a:pt x="452" y="93"/>
                  <a:pt x="451" y="92"/>
                </a:cubicBezTo>
                <a:cubicBezTo>
                  <a:pt x="449" y="90"/>
                  <a:pt x="449" y="90"/>
                  <a:pt x="449" y="90"/>
                </a:cubicBezTo>
                <a:cubicBezTo>
                  <a:pt x="448" y="88"/>
                  <a:pt x="446" y="86"/>
                  <a:pt x="444" y="84"/>
                </a:cubicBezTo>
                <a:cubicBezTo>
                  <a:pt x="444" y="84"/>
                  <a:pt x="444" y="84"/>
                  <a:pt x="444" y="84"/>
                </a:cubicBezTo>
                <a:cubicBezTo>
                  <a:pt x="444" y="84"/>
                  <a:pt x="444" y="84"/>
                  <a:pt x="444" y="84"/>
                </a:cubicBezTo>
                <a:cubicBezTo>
                  <a:pt x="442" y="83"/>
                  <a:pt x="441" y="81"/>
                  <a:pt x="439" y="80"/>
                </a:cubicBezTo>
                <a:cubicBezTo>
                  <a:pt x="439" y="80"/>
                  <a:pt x="439" y="80"/>
                  <a:pt x="439" y="80"/>
                </a:cubicBezTo>
                <a:cubicBezTo>
                  <a:pt x="437" y="78"/>
                  <a:pt x="436" y="77"/>
                  <a:pt x="434" y="75"/>
                </a:cubicBezTo>
                <a:cubicBezTo>
                  <a:pt x="434" y="75"/>
                  <a:pt x="434" y="75"/>
                  <a:pt x="434" y="75"/>
                </a:cubicBezTo>
                <a:cubicBezTo>
                  <a:pt x="433" y="74"/>
                  <a:pt x="431" y="73"/>
                  <a:pt x="430" y="71"/>
                </a:cubicBezTo>
                <a:cubicBezTo>
                  <a:pt x="430" y="71"/>
                  <a:pt x="430" y="71"/>
                  <a:pt x="430" y="71"/>
                </a:cubicBezTo>
                <a:cubicBezTo>
                  <a:pt x="428" y="70"/>
                  <a:pt x="426" y="68"/>
                  <a:pt x="425" y="67"/>
                </a:cubicBezTo>
                <a:cubicBezTo>
                  <a:pt x="425" y="67"/>
                  <a:pt x="425" y="67"/>
                  <a:pt x="425" y="67"/>
                </a:cubicBezTo>
                <a:cubicBezTo>
                  <a:pt x="423" y="66"/>
                  <a:pt x="421" y="64"/>
                  <a:pt x="420" y="63"/>
                </a:cubicBezTo>
                <a:cubicBezTo>
                  <a:pt x="420" y="63"/>
                  <a:pt x="420" y="63"/>
                  <a:pt x="420" y="63"/>
                </a:cubicBezTo>
                <a:cubicBezTo>
                  <a:pt x="418" y="62"/>
                  <a:pt x="416" y="61"/>
                  <a:pt x="415" y="59"/>
                </a:cubicBezTo>
                <a:cubicBezTo>
                  <a:pt x="415" y="59"/>
                  <a:pt x="415" y="59"/>
                  <a:pt x="415" y="59"/>
                </a:cubicBezTo>
                <a:cubicBezTo>
                  <a:pt x="413" y="58"/>
                  <a:pt x="411" y="57"/>
                  <a:pt x="410" y="56"/>
                </a:cubicBezTo>
                <a:cubicBezTo>
                  <a:pt x="410" y="56"/>
                  <a:pt x="410" y="56"/>
                  <a:pt x="410" y="56"/>
                </a:cubicBezTo>
                <a:cubicBezTo>
                  <a:pt x="408" y="54"/>
                  <a:pt x="406" y="53"/>
                  <a:pt x="405" y="52"/>
                </a:cubicBezTo>
                <a:cubicBezTo>
                  <a:pt x="405" y="52"/>
                  <a:pt x="405" y="52"/>
                  <a:pt x="405" y="52"/>
                </a:cubicBezTo>
                <a:cubicBezTo>
                  <a:pt x="403" y="51"/>
                  <a:pt x="401" y="50"/>
                  <a:pt x="399" y="49"/>
                </a:cubicBezTo>
                <a:cubicBezTo>
                  <a:pt x="399" y="49"/>
                  <a:pt x="399" y="49"/>
                  <a:pt x="399" y="49"/>
                </a:cubicBezTo>
                <a:cubicBezTo>
                  <a:pt x="398" y="48"/>
                  <a:pt x="396" y="47"/>
                  <a:pt x="394" y="45"/>
                </a:cubicBezTo>
                <a:cubicBezTo>
                  <a:pt x="394" y="45"/>
                  <a:pt x="394" y="45"/>
                  <a:pt x="394" y="45"/>
                </a:cubicBezTo>
                <a:cubicBezTo>
                  <a:pt x="392" y="44"/>
                  <a:pt x="390" y="43"/>
                  <a:pt x="389" y="42"/>
                </a:cubicBezTo>
                <a:cubicBezTo>
                  <a:pt x="389" y="42"/>
                  <a:pt x="389" y="42"/>
                  <a:pt x="389" y="42"/>
                </a:cubicBezTo>
                <a:cubicBezTo>
                  <a:pt x="385" y="40"/>
                  <a:pt x="381" y="38"/>
                  <a:pt x="378" y="37"/>
                </a:cubicBezTo>
                <a:cubicBezTo>
                  <a:pt x="378" y="37"/>
                  <a:pt x="378" y="37"/>
                  <a:pt x="378" y="37"/>
                </a:cubicBezTo>
                <a:cubicBezTo>
                  <a:pt x="304" y="0"/>
                  <a:pt x="216" y="0"/>
                  <a:pt x="142" y="41"/>
                </a:cubicBezTo>
                <a:cubicBezTo>
                  <a:pt x="142" y="41"/>
                  <a:pt x="142" y="41"/>
                  <a:pt x="142" y="41"/>
                </a:cubicBezTo>
                <a:cubicBezTo>
                  <a:pt x="136" y="44"/>
                  <a:pt x="131" y="48"/>
                  <a:pt x="125" y="51"/>
                </a:cubicBezTo>
                <a:cubicBezTo>
                  <a:pt x="125" y="51"/>
                  <a:pt x="125" y="51"/>
                  <a:pt x="125" y="51"/>
                </a:cubicBezTo>
                <a:cubicBezTo>
                  <a:pt x="124" y="52"/>
                  <a:pt x="122" y="53"/>
                  <a:pt x="120" y="55"/>
                </a:cubicBezTo>
                <a:cubicBezTo>
                  <a:pt x="120" y="55"/>
                  <a:pt x="120" y="55"/>
                  <a:pt x="120" y="55"/>
                </a:cubicBezTo>
                <a:cubicBezTo>
                  <a:pt x="118" y="56"/>
                  <a:pt x="116" y="57"/>
                  <a:pt x="115" y="58"/>
                </a:cubicBezTo>
                <a:cubicBezTo>
                  <a:pt x="115" y="58"/>
                  <a:pt x="115" y="58"/>
                  <a:pt x="115" y="58"/>
                </a:cubicBezTo>
                <a:cubicBezTo>
                  <a:pt x="111" y="61"/>
                  <a:pt x="108" y="64"/>
                  <a:pt x="104" y="66"/>
                </a:cubicBezTo>
                <a:cubicBezTo>
                  <a:pt x="104" y="66"/>
                  <a:pt x="104" y="66"/>
                  <a:pt x="104" y="66"/>
                </a:cubicBezTo>
                <a:cubicBezTo>
                  <a:pt x="103" y="68"/>
                  <a:pt x="101" y="69"/>
                  <a:pt x="99" y="71"/>
                </a:cubicBezTo>
                <a:cubicBezTo>
                  <a:pt x="99" y="71"/>
                  <a:pt x="99" y="71"/>
                  <a:pt x="99" y="71"/>
                </a:cubicBezTo>
                <a:cubicBezTo>
                  <a:pt x="96" y="73"/>
                  <a:pt x="93" y="76"/>
                  <a:pt x="89" y="80"/>
                </a:cubicBezTo>
                <a:cubicBezTo>
                  <a:pt x="89" y="80"/>
                  <a:pt x="89" y="80"/>
                  <a:pt x="89" y="80"/>
                </a:cubicBezTo>
                <a:cubicBezTo>
                  <a:pt x="88" y="81"/>
                  <a:pt x="86" y="83"/>
                  <a:pt x="85" y="84"/>
                </a:cubicBezTo>
                <a:cubicBezTo>
                  <a:pt x="85" y="84"/>
                  <a:pt x="85" y="84"/>
                  <a:pt x="85" y="84"/>
                </a:cubicBezTo>
                <a:cubicBezTo>
                  <a:pt x="83" y="86"/>
                  <a:pt x="81" y="87"/>
                  <a:pt x="80" y="89"/>
                </a:cubicBezTo>
                <a:cubicBezTo>
                  <a:pt x="80" y="89"/>
                  <a:pt x="80" y="89"/>
                  <a:pt x="80" y="89"/>
                </a:cubicBezTo>
                <a:cubicBezTo>
                  <a:pt x="77" y="92"/>
                  <a:pt x="74" y="96"/>
                  <a:pt x="71" y="99"/>
                </a:cubicBezTo>
                <a:cubicBezTo>
                  <a:pt x="71" y="99"/>
                  <a:pt x="71" y="99"/>
                  <a:pt x="71" y="99"/>
                </a:cubicBezTo>
                <a:cubicBezTo>
                  <a:pt x="70" y="101"/>
                  <a:pt x="68" y="102"/>
                  <a:pt x="67" y="104"/>
                </a:cubicBezTo>
                <a:cubicBezTo>
                  <a:pt x="67" y="104"/>
                  <a:pt x="67" y="104"/>
                  <a:pt x="67" y="104"/>
                </a:cubicBezTo>
                <a:cubicBezTo>
                  <a:pt x="64" y="107"/>
                  <a:pt x="61" y="111"/>
                  <a:pt x="59" y="114"/>
                </a:cubicBezTo>
                <a:cubicBezTo>
                  <a:pt x="59" y="114"/>
                  <a:pt x="59" y="114"/>
                  <a:pt x="59" y="114"/>
                </a:cubicBezTo>
                <a:cubicBezTo>
                  <a:pt x="58" y="116"/>
                  <a:pt x="56" y="118"/>
                  <a:pt x="55" y="119"/>
                </a:cubicBezTo>
                <a:cubicBezTo>
                  <a:pt x="55" y="119"/>
                  <a:pt x="55" y="119"/>
                  <a:pt x="55" y="119"/>
                </a:cubicBezTo>
                <a:cubicBezTo>
                  <a:pt x="54" y="121"/>
                  <a:pt x="53" y="123"/>
                  <a:pt x="52" y="125"/>
                </a:cubicBezTo>
                <a:cubicBezTo>
                  <a:pt x="52" y="125"/>
                  <a:pt x="52" y="125"/>
                  <a:pt x="52" y="125"/>
                </a:cubicBezTo>
                <a:cubicBezTo>
                  <a:pt x="48" y="130"/>
                  <a:pt x="45" y="136"/>
                  <a:pt x="42" y="141"/>
                </a:cubicBezTo>
                <a:cubicBezTo>
                  <a:pt x="42" y="141"/>
                  <a:pt x="42" y="141"/>
                  <a:pt x="42" y="141"/>
                </a:cubicBezTo>
                <a:cubicBezTo>
                  <a:pt x="1" y="215"/>
                  <a:pt x="0" y="304"/>
                  <a:pt x="37" y="377"/>
                </a:cubicBezTo>
                <a:cubicBezTo>
                  <a:pt x="37" y="377"/>
                  <a:pt x="37" y="377"/>
                  <a:pt x="37" y="377"/>
                </a:cubicBezTo>
                <a:cubicBezTo>
                  <a:pt x="39" y="381"/>
                  <a:pt x="41" y="385"/>
                  <a:pt x="43" y="388"/>
                </a:cubicBezTo>
                <a:cubicBezTo>
                  <a:pt x="43" y="388"/>
                  <a:pt x="43" y="388"/>
                  <a:pt x="43" y="388"/>
                </a:cubicBezTo>
                <a:cubicBezTo>
                  <a:pt x="44" y="390"/>
                  <a:pt x="45" y="392"/>
                  <a:pt x="46" y="394"/>
                </a:cubicBezTo>
                <a:cubicBezTo>
                  <a:pt x="46" y="394"/>
                  <a:pt x="46" y="394"/>
                  <a:pt x="46" y="394"/>
                </a:cubicBezTo>
                <a:cubicBezTo>
                  <a:pt x="47" y="395"/>
                  <a:pt x="48" y="397"/>
                  <a:pt x="49" y="399"/>
                </a:cubicBezTo>
                <a:cubicBezTo>
                  <a:pt x="49" y="399"/>
                  <a:pt x="49" y="399"/>
                  <a:pt x="49" y="399"/>
                </a:cubicBezTo>
                <a:cubicBezTo>
                  <a:pt x="50" y="401"/>
                  <a:pt x="51" y="402"/>
                  <a:pt x="53" y="404"/>
                </a:cubicBezTo>
                <a:cubicBezTo>
                  <a:pt x="53" y="404"/>
                  <a:pt x="53" y="404"/>
                  <a:pt x="53" y="404"/>
                </a:cubicBezTo>
                <a:cubicBezTo>
                  <a:pt x="54" y="406"/>
                  <a:pt x="55" y="408"/>
                  <a:pt x="56" y="409"/>
                </a:cubicBezTo>
                <a:cubicBezTo>
                  <a:pt x="56" y="409"/>
                  <a:pt x="56" y="409"/>
                  <a:pt x="56" y="409"/>
                </a:cubicBezTo>
                <a:cubicBezTo>
                  <a:pt x="57" y="411"/>
                  <a:pt x="59" y="413"/>
                  <a:pt x="60" y="414"/>
                </a:cubicBezTo>
                <a:cubicBezTo>
                  <a:pt x="60" y="414"/>
                  <a:pt x="60" y="414"/>
                  <a:pt x="60" y="414"/>
                </a:cubicBezTo>
                <a:cubicBezTo>
                  <a:pt x="61" y="416"/>
                  <a:pt x="62" y="418"/>
                  <a:pt x="64" y="419"/>
                </a:cubicBezTo>
                <a:cubicBezTo>
                  <a:pt x="64" y="419"/>
                  <a:pt x="64" y="419"/>
                  <a:pt x="64" y="419"/>
                </a:cubicBezTo>
                <a:cubicBezTo>
                  <a:pt x="65" y="421"/>
                  <a:pt x="66" y="423"/>
                  <a:pt x="68" y="424"/>
                </a:cubicBezTo>
                <a:cubicBezTo>
                  <a:pt x="68" y="424"/>
                  <a:pt x="68" y="424"/>
                  <a:pt x="68" y="424"/>
                </a:cubicBezTo>
                <a:cubicBezTo>
                  <a:pt x="69" y="426"/>
                  <a:pt x="70" y="428"/>
                  <a:pt x="72" y="429"/>
                </a:cubicBezTo>
                <a:cubicBezTo>
                  <a:pt x="72" y="429"/>
                  <a:pt x="72" y="429"/>
                  <a:pt x="72" y="429"/>
                </a:cubicBezTo>
                <a:cubicBezTo>
                  <a:pt x="73" y="431"/>
                  <a:pt x="74" y="432"/>
                  <a:pt x="76" y="434"/>
                </a:cubicBezTo>
                <a:cubicBezTo>
                  <a:pt x="76" y="434"/>
                  <a:pt x="76" y="434"/>
                  <a:pt x="76" y="434"/>
                </a:cubicBezTo>
                <a:cubicBezTo>
                  <a:pt x="77" y="436"/>
                  <a:pt x="79" y="437"/>
                  <a:pt x="80" y="439"/>
                </a:cubicBezTo>
                <a:cubicBezTo>
                  <a:pt x="80" y="439"/>
                  <a:pt x="80" y="439"/>
                  <a:pt x="80" y="439"/>
                </a:cubicBezTo>
                <a:cubicBezTo>
                  <a:pt x="82" y="440"/>
                  <a:pt x="83" y="442"/>
                  <a:pt x="85" y="443"/>
                </a:cubicBezTo>
                <a:cubicBezTo>
                  <a:pt x="85" y="443"/>
                  <a:pt x="85" y="443"/>
                  <a:pt x="85" y="443"/>
                </a:cubicBezTo>
                <a:cubicBezTo>
                  <a:pt x="86" y="444"/>
                  <a:pt x="86" y="444"/>
                  <a:pt x="86" y="444"/>
                </a:cubicBezTo>
                <a:cubicBezTo>
                  <a:pt x="86" y="445"/>
                  <a:pt x="87" y="445"/>
                  <a:pt x="87" y="446"/>
                </a:cubicBezTo>
                <a:cubicBezTo>
                  <a:pt x="88" y="447"/>
                  <a:pt x="89" y="448"/>
                  <a:pt x="90" y="448"/>
                </a:cubicBezTo>
                <a:cubicBezTo>
                  <a:pt x="90" y="448"/>
                  <a:pt x="90" y="448"/>
                  <a:pt x="90" y="448"/>
                </a:cubicBezTo>
                <a:cubicBezTo>
                  <a:pt x="158" y="513"/>
                  <a:pt x="233" y="516"/>
                  <a:pt x="313" y="547"/>
                </a:cubicBezTo>
                <a:cubicBezTo>
                  <a:pt x="358" y="565"/>
                  <a:pt x="405" y="592"/>
                  <a:pt x="455" y="641"/>
                </a:cubicBezTo>
                <a:cubicBezTo>
                  <a:pt x="502" y="690"/>
                  <a:pt x="529" y="736"/>
                  <a:pt x="547" y="780"/>
                </a:cubicBezTo>
                <a:cubicBezTo>
                  <a:pt x="577" y="859"/>
                  <a:pt x="581" y="931"/>
                  <a:pt x="641" y="999"/>
                </a:cubicBezTo>
                <a:cubicBezTo>
                  <a:pt x="642" y="1000"/>
                  <a:pt x="643" y="1001"/>
                  <a:pt x="644" y="1002"/>
                </a:cubicBezTo>
                <a:cubicBezTo>
                  <a:pt x="645" y="1004"/>
                  <a:pt x="645" y="1004"/>
                  <a:pt x="645" y="1004"/>
                </a:cubicBezTo>
                <a:cubicBezTo>
                  <a:pt x="647" y="1006"/>
                  <a:pt x="649" y="1008"/>
                  <a:pt x="651" y="1010"/>
                </a:cubicBezTo>
                <a:cubicBezTo>
                  <a:pt x="651" y="1010"/>
                  <a:pt x="651" y="1010"/>
                  <a:pt x="651" y="1010"/>
                </a:cubicBezTo>
                <a:cubicBezTo>
                  <a:pt x="651" y="1010"/>
                  <a:pt x="651" y="1010"/>
                  <a:pt x="651" y="1010"/>
                </a:cubicBezTo>
                <a:cubicBezTo>
                  <a:pt x="653" y="1011"/>
                  <a:pt x="654" y="1013"/>
                  <a:pt x="656" y="1014"/>
                </a:cubicBezTo>
                <a:cubicBezTo>
                  <a:pt x="656" y="1014"/>
                  <a:pt x="656" y="1014"/>
                  <a:pt x="656" y="1014"/>
                </a:cubicBezTo>
                <a:cubicBezTo>
                  <a:pt x="657" y="1016"/>
                  <a:pt x="659" y="1017"/>
                  <a:pt x="660" y="1019"/>
                </a:cubicBezTo>
                <a:cubicBezTo>
                  <a:pt x="660" y="1019"/>
                  <a:pt x="660" y="1019"/>
                  <a:pt x="660" y="1019"/>
                </a:cubicBezTo>
                <a:cubicBezTo>
                  <a:pt x="662" y="1020"/>
                  <a:pt x="664" y="1021"/>
                  <a:pt x="665" y="1023"/>
                </a:cubicBezTo>
                <a:cubicBezTo>
                  <a:pt x="665" y="1023"/>
                  <a:pt x="665" y="1023"/>
                  <a:pt x="665" y="1023"/>
                </a:cubicBezTo>
                <a:cubicBezTo>
                  <a:pt x="667" y="1024"/>
                  <a:pt x="668" y="1026"/>
                  <a:pt x="670" y="1027"/>
                </a:cubicBezTo>
                <a:cubicBezTo>
                  <a:pt x="670" y="1027"/>
                  <a:pt x="670" y="1027"/>
                  <a:pt x="670" y="1027"/>
                </a:cubicBezTo>
                <a:cubicBezTo>
                  <a:pt x="672" y="1028"/>
                  <a:pt x="673" y="1030"/>
                  <a:pt x="675" y="1031"/>
                </a:cubicBezTo>
                <a:cubicBezTo>
                  <a:pt x="675" y="1031"/>
                  <a:pt x="675" y="1031"/>
                  <a:pt x="675" y="1031"/>
                </a:cubicBezTo>
                <a:cubicBezTo>
                  <a:pt x="677" y="1032"/>
                  <a:pt x="678" y="1033"/>
                  <a:pt x="680" y="1035"/>
                </a:cubicBezTo>
                <a:cubicBezTo>
                  <a:pt x="680" y="1035"/>
                  <a:pt x="680" y="1035"/>
                  <a:pt x="680" y="1035"/>
                </a:cubicBezTo>
                <a:cubicBezTo>
                  <a:pt x="682" y="1036"/>
                  <a:pt x="683" y="1037"/>
                  <a:pt x="685" y="1038"/>
                </a:cubicBezTo>
                <a:cubicBezTo>
                  <a:pt x="685" y="1038"/>
                  <a:pt x="685" y="1038"/>
                  <a:pt x="685" y="1038"/>
                </a:cubicBezTo>
                <a:cubicBezTo>
                  <a:pt x="687" y="1039"/>
                  <a:pt x="689" y="1041"/>
                  <a:pt x="690" y="1042"/>
                </a:cubicBezTo>
                <a:cubicBezTo>
                  <a:pt x="690" y="1042"/>
                  <a:pt x="690" y="1042"/>
                  <a:pt x="690" y="1042"/>
                </a:cubicBezTo>
                <a:cubicBezTo>
                  <a:pt x="692" y="1043"/>
                  <a:pt x="694" y="1044"/>
                  <a:pt x="695" y="1045"/>
                </a:cubicBezTo>
                <a:cubicBezTo>
                  <a:pt x="695" y="1045"/>
                  <a:pt x="695" y="1045"/>
                  <a:pt x="695" y="1045"/>
                </a:cubicBezTo>
                <a:cubicBezTo>
                  <a:pt x="697" y="1046"/>
                  <a:pt x="699" y="1047"/>
                  <a:pt x="701" y="1048"/>
                </a:cubicBezTo>
                <a:cubicBezTo>
                  <a:pt x="701" y="1048"/>
                  <a:pt x="701" y="1048"/>
                  <a:pt x="701" y="1048"/>
                </a:cubicBezTo>
                <a:cubicBezTo>
                  <a:pt x="703" y="1050"/>
                  <a:pt x="704" y="1051"/>
                  <a:pt x="706" y="1052"/>
                </a:cubicBezTo>
                <a:cubicBezTo>
                  <a:pt x="706" y="1052"/>
                  <a:pt x="706" y="1052"/>
                  <a:pt x="706" y="1052"/>
                </a:cubicBezTo>
                <a:cubicBezTo>
                  <a:pt x="710" y="1054"/>
                  <a:pt x="713" y="1055"/>
                  <a:pt x="717" y="1057"/>
                </a:cubicBezTo>
                <a:cubicBezTo>
                  <a:pt x="717" y="1057"/>
                  <a:pt x="717" y="1057"/>
                  <a:pt x="717" y="1057"/>
                </a:cubicBezTo>
                <a:cubicBezTo>
                  <a:pt x="791" y="1094"/>
                  <a:pt x="879" y="1094"/>
                  <a:pt x="953" y="1053"/>
                </a:cubicBezTo>
                <a:cubicBezTo>
                  <a:pt x="953" y="1053"/>
                  <a:pt x="953" y="1053"/>
                  <a:pt x="953" y="1053"/>
                </a:cubicBezTo>
                <a:cubicBezTo>
                  <a:pt x="959" y="1050"/>
                  <a:pt x="964" y="1046"/>
                  <a:pt x="970" y="1043"/>
                </a:cubicBezTo>
                <a:cubicBezTo>
                  <a:pt x="970" y="1043"/>
                  <a:pt x="970" y="1043"/>
                  <a:pt x="970" y="1043"/>
                </a:cubicBezTo>
                <a:cubicBezTo>
                  <a:pt x="971" y="1042"/>
                  <a:pt x="973" y="1040"/>
                  <a:pt x="975" y="1039"/>
                </a:cubicBezTo>
                <a:cubicBezTo>
                  <a:pt x="975" y="1039"/>
                  <a:pt x="975" y="1039"/>
                  <a:pt x="975" y="1039"/>
                </a:cubicBezTo>
                <a:cubicBezTo>
                  <a:pt x="977" y="1038"/>
                  <a:pt x="978" y="1037"/>
                  <a:pt x="980" y="1035"/>
                </a:cubicBezTo>
                <a:cubicBezTo>
                  <a:pt x="980" y="1035"/>
                  <a:pt x="980" y="1035"/>
                  <a:pt x="980" y="1035"/>
                </a:cubicBezTo>
                <a:cubicBezTo>
                  <a:pt x="984" y="1033"/>
                  <a:pt x="987" y="1030"/>
                  <a:pt x="990" y="1028"/>
                </a:cubicBezTo>
                <a:cubicBezTo>
                  <a:pt x="990" y="1027"/>
                  <a:pt x="990" y="1027"/>
                  <a:pt x="990" y="1027"/>
                </a:cubicBezTo>
                <a:cubicBezTo>
                  <a:pt x="992" y="1026"/>
                  <a:pt x="994" y="1025"/>
                  <a:pt x="995" y="1023"/>
                </a:cubicBezTo>
                <a:cubicBezTo>
                  <a:pt x="995" y="1023"/>
                  <a:pt x="995" y="1023"/>
                  <a:pt x="995" y="1023"/>
                </a:cubicBezTo>
                <a:cubicBezTo>
                  <a:pt x="999" y="1020"/>
                  <a:pt x="1002" y="1018"/>
                  <a:pt x="1005" y="1014"/>
                </a:cubicBezTo>
                <a:cubicBezTo>
                  <a:pt x="1005" y="1014"/>
                  <a:pt x="1005" y="1014"/>
                  <a:pt x="1005" y="1014"/>
                </a:cubicBezTo>
                <a:cubicBezTo>
                  <a:pt x="1007" y="1013"/>
                  <a:pt x="1009" y="1011"/>
                  <a:pt x="1010" y="1010"/>
                </a:cubicBezTo>
                <a:cubicBezTo>
                  <a:pt x="1010" y="1010"/>
                  <a:pt x="1010" y="1010"/>
                  <a:pt x="1010" y="1010"/>
                </a:cubicBezTo>
                <a:cubicBezTo>
                  <a:pt x="1012" y="1008"/>
                  <a:pt x="1013" y="1007"/>
                  <a:pt x="1015" y="1005"/>
                </a:cubicBezTo>
                <a:cubicBezTo>
                  <a:pt x="1015" y="1005"/>
                  <a:pt x="1015" y="1005"/>
                  <a:pt x="1015" y="1005"/>
                </a:cubicBezTo>
                <a:cubicBezTo>
                  <a:pt x="1018" y="1002"/>
                  <a:pt x="1021" y="998"/>
                  <a:pt x="1024" y="995"/>
                </a:cubicBezTo>
                <a:cubicBezTo>
                  <a:pt x="1024" y="995"/>
                  <a:pt x="1024" y="995"/>
                  <a:pt x="1024" y="995"/>
                </a:cubicBezTo>
                <a:cubicBezTo>
                  <a:pt x="1025" y="993"/>
                  <a:pt x="1027" y="992"/>
                  <a:pt x="1028" y="990"/>
                </a:cubicBezTo>
                <a:cubicBezTo>
                  <a:pt x="1028" y="990"/>
                  <a:pt x="1028" y="990"/>
                  <a:pt x="1028" y="990"/>
                </a:cubicBezTo>
                <a:cubicBezTo>
                  <a:pt x="1031" y="987"/>
                  <a:pt x="1033" y="983"/>
                  <a:pt x="1036" y="980"/>
                </a:cubicBezTo>
                <a:cubicBezTo>
                  <a:pt x="1036" y="980"/>
                  <a:pt x="1036" y="980"/>
                  <a:pt x="1036" y="980"/>
                </a:cubicBezTo>
                <a:cubicBezTo>
                  <a:pt x="1037" y="978"/>
                  <a:pt x="1038" y="976"/>
                  <a:pt x="1040" y="974"/>
                </a:cubicBezTo>
                <a:cubicBezTo>
                  <a:pt x="1040" y="974"/>
                  <a:pt x="1040" y="974"/>
                  <a:pt x="1040" y="974"/>
                </a:cubicBezTo>
                <a:cubicBezTo>
                  <a:pt x="1041" y="973"/>
                  <a:pt x="1042" y="971"/>
                  <a:pt x="1043" y="969"/>
                </a:cubicBezTo>
                <a:cubicBezTo>
                  <a:pt x="1043" y="969"/>
                  <a:pt x="1043" y="969"/>
                  <a:pt x="1043" y="969"/>
                </a:cubicBezTo>
                <a:cubicBezTo>
                  <a:pt x="1047" y="964"/>
                  <a:pt x="1050" y="958"/>
                  <a:pt x="1053" y="953"/>
                </a:cubicBezTo>
                <a:cubicBezTo>
                  <a:pt x="1053" y="953"/>
                  <a:pt x="1053" y="953"/>
                  <a:pt x="1053" y="953"/>
                </a:cubicBezTo>
                <a:cubicBezTo>
                  <a:pt x="1094" y="879"/>
                  <a:pt x="1095" y="790"/>
                  <a:pt x="1058" y="717"/>
                </a:cubicBezTo>
                <a:cubicBezTo>
                  <a:pt x="1058" y="717"/>
                  <a:pt x="1058" y="717"/>
                  <a:pt x="1058" y="717"/>
                </a:cubicBezTo>
                <a:cubicBezTo>
                  <a:pt x="1056" y="713"/>
                  <a:pt x="1054" y="709"/>
                  <a:pt x="1052" y="706"/>
                </a:cubicBezTo>
                <a:cubicBezTo>
                  <a:pt x="1052" y="706"/>
                  <a:pt x="1052" y="706"/>
                  <a:pt x="1052" y="706"/>
                </a:cubicBezTo>
                <a:cubicBezTo>
                  <a:pt x="1051" y="704"/>
                  <a:pt x="1050" y="702"/>
                  <a:pt x="1049" y="700"/>
                </a:cubicBezTo>
                <a:cubicBezTo>
                  <a:pt x="1049" y="700"/>
                  <a:pt x="1049" y="700"/>
                  <a:pt x="1049" y="700"/>
                </a:cubicBezTo>
                <a:cubicBezTo>
                  <a:pt x="1048" y="699"/>
                  <a:pt x="1047" y="697"/>
                  <a:pt x="1046" y="695"/>
                </a:cubicBezTo>
                <a:cubicBezTo>
                  <a:pt x="1046" y="695"/>
                  <a:pt x="1046" y="695"/>
                  <a:pt x="1046" y="695"/>
                </a:cubicBezTo>
                <a:cubicBezTo>
                  <a:pt x="1045" y="693"/>
                  <a:pt x="1043" y="692"/>
                  <a:pt x="1042" y="690"/>
                </a:cubicBezTo>
                <a:cubicBezTo>
                  <a:pt x="1042" y="690"/>
                  <a:pt x="1042" y="690"/>
                  <a:pt x="1042" y="690"/>
                </a:cubicBezTo>
                <a:cubicBezTo>
                  <a:pt x="1041" y="688"/>
                  <a:pt x="1040" y="686"/>
                  <a:pt x="1039" y="685"/>
                </a:cubicBezTo>
                <a:cubicBezTo>
                  <a:pt x="1039" y="685"/>
                  <a:pt x="1039" y="685"/>
                  <a:pt x="1039" y="685"/>
                </a:cubicBezTo>
                <a:cubicBezTo>
                  <a:pt x="1037" y="683"/>
                  <a:pt x="1036" y="681"/>
                  <a:pt x="1035" y="680"/>
                </a:cubicBezTo>
                <a:cubicBezTo>
                  <a:pt x="1035" y="680"/>
                  <a:pt x="1035" y="680"/>
                  <a:pt x="1035" y="680"/>
                </a:cubicBezTo>
                <a:cubicBezTo>
                  <a:pt x="1034" y="678"/>
                  <a:pt x="1033" y="676"/>
                  <a:pt x="1031" y="675"/>
                </a:cubicBezTo>
                <a:cubicBezTo>
                  <a:pt x="1031" y="675"/>
                  <a:pt x="1031" y="675"/>
                  <a:pt x="1031" y="675"/>
                </a:cubicBezTo>
                <a:cubicBezTo>
                  <a:pt x="1030" y="673"/>
                  <a:pt x="1029" y="671"/>
                  <a:pt x="1027" y="670"/>
                </a:cubicBezTo>
                <a:cubicBezTo>
                  <a:pt x="1027" y="670"/>
                  <a:pt x="1027" y="670"/>
                  <a:pt x="1027" y="670"/>
                </a:cubicBezTo>
                <a:cubicBezTo>
                  <a:pt x="1026" y="668"/>
                  <a:pt x="1025" y="666"/>
                  <a:pt x="1023" y="665"/>
                </a:cubicBezTo>
                <a:cubicBezTo>
                  <a:pt x="1023" y="665"/>
                  <a:pt x="1023" y="665"/>
                  <a:pt x="1023" y="665"/>
                </a:cubicBezTo>
                <a:cubicBezTo>
                  <a:pt x="1022" y="663"/>
                  <a:pt x="1020" y="662"/>
                  <a:pt x="1019" y="660"/>
                </a:cubicBezTo>
                <a:cubicBezTo>
                  <a:pt x="1019" y="660"/>
                  <a:pt x="1019" y="660"/>
                  <a:pt x="1019" y="660"/>
                </a:cubicBezTo>
                <a:cubicBezTo>
                  <a:pt x="1018" y="658"/>
                  <a:pt x="1016" y="657"/>
                  <a:pt x="1015" y="655"/>
                </a:cubicBezTo>
                <a:cubicBezTo>
                  <a:pt x="1015" y="655"/>
                  <a:pt x="1015" y="655"/>
                  <a:pt x="1015" y="655"/>
                </a:cubicBezTo>
                <a:cubicBezTo>
                  <a:pt x="1013" y="654"/>
                  <a:pt x="1012" y="652"/>
                  <a:pt x="1010" y="651"/>
                </a:cubicBezTo>
                <a:cubicBezTo>
                  <a:pt x="1010" y="651"/>
                  <a:pt x="1010" y="651"/>
                  <a:pt x="1010" y="651"/>
                </a:cubicBezTo>
                <a:cubicBezTo>
                  <a:pt x="1010" y="651"/>
                  <a:pt x="1010" y="651"/>
                  <a:pt x="1010" y="651"/>
                </a:cubicBezTo>
                <a:cubicBezTo>
                  <a:pt x="1008" y="649"/>
                  <a:pt x="1006" y="647"/>
                  <a:pt x="1004" y="645"/>
                </a:cubicBezTo>
                <a:cubicBezTo>
                  <a:pt x="1004" y="644"/>
                  <a:pt x="1003" y="644"/>
                  <a:pt x="1003" y="643"/>
                </a:cubicBezTo>
                <a:cubicBezTo>
                  <a:pt x="1001" y="642"/>
                  <a:pt x="1000" y="641"/>
                  <a:pt x="999" y="640"/>
                </a:cubicBezTo>
                <a:cubicBezTo>
                  <a:pt x="932" y="580"/>
                  <a:pt x="859" y="577"/>
                  <a:pt x="780" y="547"/>
                </a:cubicBezTo>
                <a:close/>
              </a:path>
            </a:pathLst>
          </a:custGeom>
          <a:gradFill flip="none" rotWithShape="1">
            <a:gsLst>
              <a:gs pos="59000">
                <a:schemeClr val="accent1"/>
              </a:gs>
              <a:gs pos="36000">
                <a:schemeClr val="accent1">
                  <a:lumMod val="60000"/>
                  <a:lumOff val="40000"/>
                </a:schemeClr>
              </a:gs>
              <a:gs pos="0">
                <a:schemeClr val="accent1">
                  <a:lumMod val="20000"/>
                  <a:lumOff val="80000"/>
                </a:schemeClr>
              </a:gs>
              <a:gs pos="16000">
                <a:schemeClr val="accent1">
                  <a:lumMod val="40000"/>
                  <a:lumOff val="60000"/>
                </a:schemeClr>
              </a:gs>
            </a:gsLst>
            <a:lin ang="0" scaled="1"/>
            <a:tileRect/>
          </a:gradFill>
          <a:ln>
            <a:noFill/>
          </a:ln>
          <a:effectLst>
            <a:outerShdw blurRad="609600" sx="102000" sy="102000" algn="ctr" rotWithShape="0">
              <a:schemeClr val="accent1">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14" name="Freeform 11">
            <a:extLst>
              <a:ext uri="{FF2B5EF4-FFF2-40B4-BE49-F238E27FC236}">
                <a16:creationId xmlns:a16="http://schemas.microsoft.com/office/drawing/2014/main" id="{0286BB79-8247-4515-B9E4-578F55B6D9EB}"/>
              </a:ext>
            </a:extLst>
          </p:cNvPr>
          <p:cNvSpPr>
            <a:spLocks/>
          </p:cNvSpPr>
          <p:nvPr/>
        </p:nvSpPr>
        <p:spPr bwMode="auto">
          <a:xfrm>
            <a:off x="6607618" y="4249667"/>
            <a:ext cx="742943" cy="741186"/>
          </a:xfrm>
          <a:custGeom>
            <a:avLst/>
            <a:gdLst>
              <a:gd name="T0" fmla="*/ 397 w 483"/>
              <a:gd name="T1" fmla="*/ 86 h 483"/>
              <a:gd name="T2" fmla="*/ 86 w 483"/>
              <a:gd name="T3" fmla="*/ 86 h 483"/>
              <a:gd name="T4" fmla="*/ 86 w 483"/>
              <a:gd name="T5" fmla="*/ 397 h 483"/>
              <a:gd name="T6" fmla="*/ 397 w 483"/>
              <a:gd name="T7" fmla="*/ 397 h 483"/>
              <a:gd name="T8" fmla="*/ 397 w 483"/>
              <a:gd name="T9" fmla="*/ 86 h 483"/>
            </a:gdLst>
            <a:ahLst/>
            <a:cxnLst>
              <a:cxn ang="0">
                <a:pos x="T0" y="T1"/>
              </a:cxn>
              <a:cxn ang="0">
                <a:pos x="T2" y="T3"/>
              </a:cxn>
              <a:cxn ang="0">
                <a:pos x="T4" y="T5"/>
              </a:cxn>
              <a:cxn ang="0">
                <a:pos x="T6" y="T7"/>
              </a:cxn>
              <a:cxn ang="0">
                <a:pos x="T8" y="T9"/>
              </a:cxn>
            </a:cxnLst>
            <a:rect l="0" t="0" r="r" b="b"/>
            <a:pathLst>
              <a:path w="483" h="483">
                <a:moveTo>
                  <a:pt x="397" y="86"/>
                </a:moveTo>
                <a:cubicBezTo>
                  <a:pt x="311" y="0"/>
                  <a:pt x="172" y="0"/>
                  <a:pt x="86" y="86"/>
                </a:cubicBezTo>
                <a:cubicBezTo>
                  <a:pt x="0" y="172"/>
                  <a:pt x="0" y="311"/>
                  <a:pt x="86" y="397"/>
                </a:cubicBezTo>
                <a:cubicBezTo>
                  <a:pt x="172" y="483"/>
                  <a:pt x="311" y="483"/>
                  <a:pt x="397" y="397"/>
                </a:cubicBezTo>
                <a:cubicBezTo>
                  <a:pt x="483" y="311"/>
                  <a:pt x="483" y="172"/>
                  <a:pt x="397" y="86"/>
                </a:cubicBezTo>
                <a:close/>
              </a:path>
            </a:pathLst>
          </a:custGeom>
          <a:solidFill>
            <a:srgbClr val="FEFE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7150" tIns="28575" rIns="57150" bIns="28575"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25" b="0" i="0" u="none" strike="noStrike" kern="1200" cap="none" spc="0" normalizeH="0" baseline="0" noProof="0">
              <a:ln>
                <a:noFill/>
              </a:ln>
              <a:solidFill>
                <a:srgbClr val="3F3F3F"/>
              </a:solidFill>
              <a:effectLst/>
              <a:uLnTx/>
              <a:uFillTx/>
              <a:latin typeface="HarmonyOS Sans SC"/>
              <a:cs typeface="+mn-cs"/>
            </a:endParaRPr>
          </a:p>
        </p:txBody>
      </p:sp>
      <p:sp>
        <p:nvSpPr>
          <p:cNvPr id="15" name="Oval 12">
            <a:extLst>
              <a:ext uri="{FF2B5EF4-FFF2-40B4-BE49-F238E27FC236}">
                <a16:creationId xmlns:a16="http://schemas.microsoft.com/office/drawing/2014/main" id="{96D7F012-8B7A-48F8-8BB1-DDEECD3CE7D3}"/>
              </a:ext>
            </a:extLst>
          </p:cNvPr>
          <p:cNvSpPr>
            <a:spLocks noChangeArrowheads="1"/>
          </p:cNvSpPr>
          <p:nvPr/>
        </p:nvSpPr>
        <p:spPr bwMode="auto">
          <a:xfrm>
            <a:off x="7517414" y="5150682"/>
            <a:ext cx="677957" cy="676201"/>
          </a:xfrm>
          <a:prstGeom prst="ellipse">
            <a:avLst/>
          </a:prstGeom>
          <a:solidFill>
            <a:srgbClr val="FEFE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7150" tIns="28575" rIns="57150" bIns="28575"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25" b="0" i="0" u="none" strike="noStrike" kern="1200" cap="none" spc="0" normalizeH="0" baseline="0" noProof="0">
              <a:ln>
                <a:noFill/>
              </a:ln>
              <a:solidFill>
                <a:srgbClr val="3F3F3F"/>
              </a:solidFill>
              <a:effectLst/>
              <a:uLnTx/>
              <a:uFillTx/>
              <a:latin typeface="HarmonyOS Sans SC"/>
              <a:cs typeface="+mn-cs"/>
            </a:endParaRPr>
          </a:p>
        </p:txBody>
      </p:sp>
      <p:sp>
        <p:nvSpPr>
          <p:cNvPr id="16" name="Freeform 21">
            <a:extLst>
              <a:ext uri="{FF2B5EF4-FFF2-40B4-BE49-F238E27FC236}">
                <a16:creationId xmlns:a16="http://schemas.microsoft.com/office/drawing/2014/main" id="{BBD7F467-1AB0-45B1-B644-980065584622}"/>
              </a:ext>
            </a:extLst>
          </p:cNvPr>
          <p:cNvSpPr>
            <a:spLocks/>
          </p:cNvSpPr>
          <p:nvPr/>
        </p:nvSpPr>
        <p:spPr bwMode="auto">
          <a:xfrm>
            <a:off x="8673103" y="2113926"/>
            <a:ext cx="1682598" cy="1682598"/>
          </a:xfrm>
          <a:custGeom>
            <a:avLst/>
            <a:gdLst>
              <a:gd name="T0" fmla="*/ 548 w 1095"/>
              <a:gd name="T1" fmla="*/ 781 h 1094"/>
              <a:gd name="T2" fmla="*/ 646 w 1095"/>
              <a:gd name="T3" fmla="*/ 1004 h 1094"/>
              <a:gd name="T4" fmla="*/ 651 w 1095"/>
              <a:gd name="T5" fmla="*/ 1010 h 1094"/>
              <a:gd name="T6" fmla="*/ 661 w 1095"/>
              <a:gd name="T7" fmla="*/ 1019 h 1094"/>
              <a:gd name="T8" fmla="*/ 666 w 1095"/>
              <a:gd name="T9" fmla="*/ 1023 h 1094"/>
              <a:gd name="T10" fmla="*/ 675 w 1095"/>
              <a:gd name="T11" fmla="*/ 1031 h 1094"/>
              <a:gd name="T12" fmla="*/ 680 w 1095"/>
              <a:gd name="T13" fmla="*/ 1035 h 1094"/>
              <a:gd name="T14" fmla="*/ 691 w 1095"/>
              <a:gd name="T15" fmla="*/ 1042 h 1094"/>
              <a:gd name="T16" fmla="*/ 696 w 1095"/>
              <a:gd name="T17" fmla="*/ 1045 h 1094"/>
              <a:gd name="T18" fmla="*/ 706 w 1095"/>
              <a:gd name="T19" fmla="*/ 1051 h 1094"/>
              <a:gd name="T20" fmla="*/ 717 w 1095"/>
              <a:gd name="T21" fmla="*/ 1057 h 1094"/>
              <a:gd name="T22" fmla="*/ 970 w 1095"/>
              <a:gd name="T23" fmla="*/ 1043 h 1094"/>
              <a:gd name="T24" fmla="*/ 975 w 1095"/>
              <a:gd name="T25" fmla="*/ 1039 h 1094"/>
              <a:gd name="T26" fmla="*/ 991 w 1095"/>
              <a:gd name="T27" fmla="*/ 1027 h 1094"/>
              <a:gd name="T28" fmla="*/ 996 w 1095"/>
              <a:gd name="T29" fmla="*/ 1023 h 1094"/>
              <a:gd name="T30" fmla="*/ 1010 w 1095"/>
              <a:gd name="T31" fmla="*/ 1010 h 1094"/>
              <a:gd name="T32" fmla="*/ 1015 w 1095"/>
              <a:gd name="T33" fmla="*/ 1005 h 1094"/>
              <a:gd name="T34" fmla="*/ 1028 w 1095"/>
              <a:gd name="T35" fmla="*/ 990 h 1094"/>
              <a:gd name="T36" fmla="*/ 1036 w 1095"/>
              <a:gd name="T37" fmla="*/ 980 h 1094"/>
              <a:gd name="T38" fmla="*/ 1044 w 1095"/>
              <a:gd name="T39" fmla="*/ 969 h 1094"/>
              <a:gd name="T40" fmla="*/ 1054 w 1095"/>
              <a:gd name="T41" fmla="*/ 953 h 1094"/>
              <a:gd name="T42" fmla="*/ 1052 w 1095"/>
              <a:gd name="T43" fmla="*/ 706 h 1094"/>
              <a:gd name="T44" fmla="*/ 1049 w 1095"/>
              <a:gd name="T45" fmla="*/ 700 h 1094"/>
              <a:gd name="T46" fmla="*/ 1043 w 1095"/>
              <a:gd name="T47" fmla="*/ 690 h 1094"/>
              <a:gd name="T48" fmla="*/ 1039 w 1095"/>
              <a:gd name="T49" fmla="*/ 685 h 1094"/>
              <a:gd name="T50" fmla="*/ 1031 w 1095"/>
              <a:gd name="T51" fmla="*/ 675 h 1094"/>
              <a:gd name="T52" fmla="*/ 1028 w 1095"/>
              <a:gd name="T53" fmla="*/ 670 h 1094"/>
              <a:gd name="T54" fmla="*/ 1019 w 1095"/>
              <a:gd name="T55" fmla="*/ 660 h 1094"/>
              <a:gd name="T56" fmla="*/ 1015 w 1095"/>
              <a:gd name="T57" fmla="*/ 655 h 1094"/>
              <a:gd name="T58" fmla="*/ 1010 w 1095"/>
              <a:gd name="T59" fmla="*/ 650 h 1094"/>
              <a:gd name="T60" fmla="*/ 1005 w 1095"/>
              <a:gd name="T61" fmla="*/ 646 h 1094"/>
              <a:gd name="T62" fmla="*/ 548 w 1095"/>
              <a:gd name="T63" fmla="*/ 314 h 1094"/>
              <a:gd name="T64" fmla="*/ 450 w 1095"/>
              <a:gd name="T65" fmla="*/ 90 h 1094"/>
              <a:gd name="T66" fmla="*/ 444 w 1095"/>
              <a:gd name="T67" fmla="*/ 84 h 1094"/>
              <a:gd name="T68" fmla="*/ 435 w 1095"/>
              <a:gd name="T69" fmla="*/ 75 h 1094"/>
              <a:gd name="T70" fmla="*/ 430 w 1095"/>
              <a:gd name="T71" fmla="*/ 71 h 1094"/>
              <a:gd name="T72" fmla="*/ 420 w 1095"/>
              <a:gd name="T73" fmla="*/ 63 h 1094"/>
              <a:gd name="T74" fmla="*/ 415 w 1095"/>
              <a:gd name="T75" fmla="*/ 59 h 1094"/>
              <a:gd name="T76" fmla="*/ 405 w 1095"/>
              <a:gd name="T77" fmla="*/ 52 h 1094"/>
              <a:gd name="T78" fmla="*/ 400 w 1095"/>
              <a:gd name="T79" fmla="*/ 49 h 1094"/>
              <a:gd name="T80" fmla="*/ 389 w 1095"/>
              <a:gd name="T81" fmla="*/ 42 h 1094"/>
              <a:gd name="T82" fmla="*/ 378 w 1095"/>
              <a:gd name="T83" fmla="*/ 37 h 1094"/>
              <a:gd name="T84" fmla="*/ 126 w 1095"/>
              <a:gd name="T85" fmla="*/ 51 h 1094"/>
              <a:gd name="T86" fmla="*/ 120 w 1095"/>
              <a:gd name="T87" fmla="*/ 55 h 1094"/>
              <a:gd name="T88" fmla="*/ 105 w 1095"/>
              <a:gd name="T89" fmla="*/ 66 h 1094"/>
              <a:gd name="T90" fmla="*/ 100 w 1095"/>
              <a:gd name="T91" fmla="*/ 71 h 1094"/>
              <a:gd name="T92" fmla="*/ 85 w 1095"/>
              <a:gd name="T93" fmla="*/ 84 h 1094"/>
              <a:gd name="T94" fmla="*/ 80 w 1095"/>
              <a:gd name="T95" fmla="*/ 89 h 1094"/>
              <a:gd name="T96" fmla="*/ 67 w 1095"/>
              <a:gd name="T97" fmla="*/ 104 h 1094"/>
              <a:gd name="T98" fmla="*/ 59 w 1095"/>
              <a:gd name="T99" fmla="*/ 114 h 1094"/>
              <a:gd name="T100" fmla="*/ 52 w 1095"/>
              <a:gd name="T101" fmla="*/ 125 h 1094"/>
              <a:gd name="T102" fmla="*/ 42 w 1095"/>
              <a:gd name="T103" fmla="*/ 141 h 1094"/>
              <a:gd name="T104" fmla="*/ 43 w 1095"/>
              <a:gd name="T105" fmla="*/ 388 h 1094"/>
              <a:gd name="T106" fmla="*/ 46 w 1095"/>
              <a:gd name="T107" fmla="*/ 393 h 1094"/>
              <a:gd name="T108" fmla="*/ 53 w 1095"/>
              <a:gd name="T109" fmla="*/ 404 h 1094"/>
              <a:gd name="T110" fmla="*/ 56 w 1095"/>
              <a:gd name="T111" fmla="*/ 409 h 1094"/>
              <a:gd name="T112" fmla="*/ 64 w 1095"/>
              <a:gd name="T113" fmla="*/ 419 h 1094"/>
              <a:gd name="T114" fmla="*/ 68 w 1095"/>
              <a:gd name="T115" fmla="*/ 424 h 1094"/>
              <a:gd name="T116" fmla="*/ 76 w 1095"/>
              <a:gd name="T117" fmla="*/ 434 h 1094"/>
              <a:gd name="T118" fmla="*/ 80 w 1095"/>
              <a:gd name="T119" fmla="*/ 439 h 1094"/>
              <a:gd name="T120" fmla="*/ 85 w 1095"/>
              <a:gd name="T121" fmla="*/ 443 h 1094"/>
              <a:gd name="T122" fmla="*/ 96 w 1095"/>
              <a:gd name="T123" fmla="*/ 454 h 10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095" h="1094">
                <a:moveTo>
                  <a:pt x="315" y="547"/>
                </a:moveTo>
                <a:cubicBezTo>
                  <a:pt x="359" y="565"/>
                  <a:pt x="404" y="592"/>
                  <a:pt x="453" y="639"/>
                </a:cubicBezTo>
                <a:cubicBezTo>
                  <a:pt x="502" y="689"/>
                  <a:pt x="529" y="736"/>
                  <a:pt x="548" y="781"/>
                </a:cubicBezTo>
                <a:cubicBezTo>
                  <a:pt x="578" y="860"/>
                  <a:pt x="581" y="932"/>
                  <a:pt x="641" y="999"/>
                </a:cubicBezTo>
                <a:cubicBezTo>
                  <a:pt x="642" y="1000"/>
                  <a:pt x="643" y="1001"/>
                  <a:pt x="644" y="1002"/>
                </a:cubicBezTo>
                <a:cubicBezTo>
                  <a:pt x="646" y="1004"/>
                  <a:pt x="646" y="1004"/>
                  <a:pt x="646" y="1004"/>
                </a:cubicBezTo>
                <a:cubicBezTo>
                  <a:pt x="648" y="1006"/>
                  <a:pt x="649" y="1008"/>
                  <a:pt x="651" y="1010"/>
                </a:cubicBezTo>
                <a:cubicBezTo>
                  <a:pt x="651" y="1010"/>
                  <a:pt x="651" y="1010"/>
                  <a:pt x="651" y="1010"/>
                </a:cubicBezTo>
                <a:cubicBezTo>
                  <a:pt x="651" y="1010"/>
                  <a:pt x="651" y="1010"/>
                  <a:pt x="651" y="1010"/>
                </a:cubicBezTo>
                <a:cubicBezTo>
                  <a:pt x="653" y="1011"/>
                  <a:pt x="654" y="1013"/>
                  <a:pt x="656" y="1014"/>
                </a:cubicBezTo>
                <a:cubicBezTo>
                  <a:pt x="656" y="1014"/>
                  <a:pt x="656" y="1014"/>
                  <a:pt x="656" y="1014"/>
                </a:cubicBezTo>
                <a:cubicBezTo>
                  <a:pt x="658" y="1016"/>
                  <a:pt x="659" y="1017"/>
                  <a:pt x="661" y="1019"/>
                </a:cubicBezTo>
                <a:cubicBezTo>
                  <a:pt x="661" y="1019"/>
                  <a:pt x="661" y="1019"/>
                  <a:pt x="661" y="1019"/>
                </a:cubicBezTo>
                <a:cubicBezTo>
                  <a:pt x="662" y="1020"/>
                  <a:pt x="664" y="1021"/>
                  <a:pt x="666" y="1023"/>
                </a:cubicBezTo>
                <a:cubicBezTo>
                  <a:pt x="666" y="1023"/>
                  <a:pt x="666" y="1023"/>
                  <a:pt x="666" y="1023"/>
                </a:cubicBezTo>
                <a:cubicBezTo>
                  <a:pt x="667" y="1024"/>
                  <a:pt x="669" y="1026"/>
                  <a:pt x="670" y="1027"/>
                </a:cubicBezTo>
                <a:cubicBezTo>
                  <a:pt x="670" y="1027"/>
                  <a:pt x="670" y="1027"/>
                  <a:pt x="670" y="1027"/>
                </a:cubicBezTo>
                <a:cubicBezTo>
                  <a:pt x="672" y="1028"/>
                  <a:pt x="674" y="1029"/>
                  <a:pt x="675" y="1031"/>
                </a:cubicBezTo>
                <a:cubicBezTo>
                  <a:pt x="675" y="1031"/>
                  <a:pt x="675" y="1031"/>
                  <a:pt x="675" y="1031"/>
                </a:cubicBezTo>
                <a:cubicBezTo>
                  <a:pt x="677" y="1032"/>
                  <a:pt x="679" y="1033"/>
                  <a:pt x="680" y="1035"/>
                </a:cubicBezTo>
                <a:cubicBezTo>
                  <a:pt x="680" y="1035"/>
                  <a:pt x="680" y="1035"/>
                  <a:pt x="680" y="1035"/>
                </a:cubicBezTo>
                <a:cubicBezTo>
                  <a:pt x="682" y="1036"/>
                  <a:pt x="684" y="1037"/>
                  <a:pt x="685" y="1038"/>
                </a:cubicBezTo>
                <a:cubicBezTo>
                  <a:pt x="685" y="1038"/>
                  <a:pt x="685" y="1038"/>
                  <a:pt x="685" y="1038"/>
                </a:cubicBezTo>
                <a:cubicBezTo>
                  <a:pt x="687" y="1039"/>
                  <a:pt x="689" y="1041"/>
                  <a:pt x="691" y="1042"/>
                </a:cubicBezTo>
                <a:cubicBezTo>
                  <a:pt x="691" y="1042"/>
                  <a:pt x="691" y="1042"/>
                  <a:pt x="691" y="1042"/>
                </a:cubicBezTo>
                <a:cubicBezTo>
                  <a:pt x="692" y="1043"/>
                  <a:pt x="694" y="1044"/>
                  <a:pt x="696" y="1045"/>
                </a:cubicBezTo>
                <a:cubicBezTo>
                  <a:pt x="696" y="1045"/>
                  <a:pt x="696" y="1045"/>
                  <a:pt x="696" y="1045"/>
                </a:cubicBezTo>
                <a:cubicBezTo>
                  <a:pt x="698" y="1046"/>
                  <a:pt x="699" y="1047"/>
                  <a:pt x="701" y="1048"/>
                </a:cubicBezTo>
                <a:cubicBezTo>
                  <a:pt x="701" y="1048"/>
                  <a:pt x="701" y="1048"/>
                  <a:pt x="701" y="1048"/>
                </a:cubicBezTo>
                <a:cubicBezTo>
                  <a:pt x="703" y="1049"/>
                  <a:pt x="705" y="1050"/>
                  <a:pt x="706" y="1051"/>
                </a:cubicBezTo>
                <a:cubicBezTo>
                  <a:pt x="706" y="1051"/>
                  <a:pt x="706" y="1051"/>
                  <a:pt x="706" y="1051"/>
                </a:cubicBezTo>
                <a:cubicBezTo>
                  <a:pt x="710" y="1054"/>
                  <a:pt x="714" y="1055"/>
                  <a:pt x="717" y="1057"/>
                </a:cubicBezTo>
                <a:cubicBezTo>
                  <a:pt x="717" y="1057"/>
                  <a:pt x="717" y="1057"/>
                  <a:pt x="717" y="1057"/>
                </a:cubicBezTo>
                <a:cubicBezTo>
                  <a:pt x="791" y="1094"/>
                  <a:pt x="880" y="1094"/>
                  <a:pt x="953" y="1053"/>
                </a:cubicBezTo>
                <a:cubicBezTo>
                  <a:pt x="953" y="1053"/>
                  <a:pt x="953" y="1053"/>
                  <a:pt x="953" y="1053"/>
                </a:cubicBezTo>
                <a:cubicBezTo>
                  <a:pt x="959" y="1050"/>
                  <a:pt x="965" y="1046"/>
                  <a:pt x="970" y="1043"/>
                </a:cubicBezTo>
                <a:cubicBezTo>
                  <a:pt x="970" y="1043"/>
                  <a:pt x="970" y="1043"/>
                  <a:pt x="970" y="1043"/>
                </a:cubicBezTo>
                <a:cubicBezTo>
                  <a:pt x="972" y="1042"/>
                  <a:pt x="973" y="1040"/>
                  <a:pt x="975" y="1039"/>
                </a:cubicBezTo>
                <a:cubicBezTo>
                  <a:pt x="975" y="1039"/>
                  <a:pt x="975" y="1039"/>
                  <a:pt x="975" y="1039"/>
                </a:cubicBezTo>
                <a:cubicBezTo>
                  <a:pt x="977" y="1038"/>
                  <a:pt x="979" y="1037"/>
                  <a:pt x="980" y="1035"/>
                </a:cubicBezTo>
                <a:cubicBezTo>
                  <a:pt x="980" y="1035"/>
                  <a:pt x="980" y="1035"/>
                  <a:pt x="980" y="1035"/>
                </a:cubicBezTo>
                <a:cubicBezTo>
                  <a:pt x="984" y="1033"/>
                  <a:pt x="987" y="1030"/>
                  <a:pt x="991" y="1027"/>
                </a:cubicBezTo>
                <a:cubicBezTo>
                  <a:pt x="991" y="1027"/>
                  <a:pt x="991" y="1027"/>
                  <a:pt x="991" y="1027"/>
                </a:cubicBezTo>
                <a:cubicBezTo>
                  <a:pt x="993" y="1026"/>
                  <a:pt x="994" y="1025"/>
                  <a:pt x="996" y="1023"/>
                </a:cubicBezTo>
                <a:cubicBezTo>
                  <a:pt x="996" y="1023"/>
                  <a:pt x="996" y="1023"/>
                  <a:pt x="996" y="1023"/>
                </a:cubicBezTo>
                <a:cubicBezTo>
                  <a:pt x="999" y="1020"/>
                  <a:pt x="1002" y="1017"/>
                  <a:pt x="1006" y="1014"/>
                </a:cubicBezTo>
                <a:cubicBezTo>
                  <a:pt x="1006" y="1014"/>
                  <a:pt x="1006" y="1014"/>
                  <a:pt x="1006" y="1014"/>
                </a:cubicBezTo>
                <a:cubicBezTo>
                  <a:pt x="1007" y="1013"/>
                  <a:pt x="1009" y="1011"/>
                  <a:pt x="1010" y="1010"/>
                </a:cubicBezTo>
                <a:cubicBezTo>
                  <a:pt x="1010" y="1010"/>
                  <a:pt x="1010" y="1010"/>
                  <a:pt x="1010" y="1010"/>
                </a:cubicBezTo>
                <a:cubicBezTo>
                  <a:pt x="1012" y="1008"/>
                  <a:pt x="1014" y="1006"/>
                  <a:pt x="1015" y="1005"/>
                </a:cubicBezTo>
                <a:cubicBezTo>
                  <a:pt x="1015" y="1005"/>
                  <a:pt x="1015" y="1005"/>
                  <a:pt x="1015" y="1005"/>
                </a:cubicBezTo>
                <a:cubicBezTo>
                  <a:pt x="1018" y="1002"/>
                  <a:pt x="1021" y="998"/>
                  <a:pt x="1024" y="995"/>
                </a:cubicBezTo>
                <a:cubicBezTo>
                  <a:pt x="1024" y="995"/>
                  <a:pt x="1024" y="995"/>
                  <a:pt x="1024" y="995"/>
                </a:cubicBezTo>
                <a:cubicBezTo>
                  <a:pt x="1026" y="993"/>
                  <a:pt x="1027" y="992"/>
                  <a:pt x="1028" y="990"/>
                </a:cubicBezTo>
                <a:cubicBezTo>
                  <a:pt x="1028" y="990"/>
                  <a:pt x="1028" y="990"/>
                  <a:pt x="1028" y="990"/>
                </a:cubicBezTo>
                <a:cubicBezTo>
                  <a:pt x="1031" y="987"/>
                  <a:pt x="1034" y="983"/>
                  <a:pt x="1036" y="980"/>
                </a:cubicBezTo>
                <a:cubicBezTo>
                  <a:pt x="1036" y="980"/>
                  <a:pt x="1036" y="980"/>
                  <a:pt x="1036" y="980"/>
                </a:cubicBezTo>
                <a:cubicBezTo>
                  <a:pt x="1038" y="978"/>
                  <a:pt x="1039" y="976"/>
                  <a:pt x="1040" y="974"/>
                </a:cubicBezTo>
                <a:cubicBezTo>
                  <a:pt x="1040" y="974"/>
                  <a:pt x="1040" y="974"/>
                  <a:pt x="1040" y="974"/>
                </a:cubicBezTo>
                <a:cubicBezTo>
                  <a:pt x="1041" y="973"/>
                  <a:pt x="1042" y="971"/>
                  <a:pt x="1044" y="969"/>
                </a:cubicBezTo>
                <a:cubicBezTo>
                  <a:pt x="1044" y="969"/>
                  <a:pt x="1044" y="969"/>
                  <a:pt x="1044" y="969"/>
                </a:cubicBezTo>
                <a:cubicBezTo>
                  <a:pt x="1047" y="964"/>
                  <a:pt x="1050" y="958"/>
                  <a:pt x="1054" y="953"/>
                </a:cubicBezTo>
                <a:cubicBezTo>
                  <a:pt x="1054" y="953"/>
                  <a:pt x="1054" y="953"/>
                  <a:pt x="1054" y="953"/>
                </a:cubicBezTo>
                <a:cubicBezTo>
                  <a:pt x="1095" y="879"/>
                  <a:pt x="1095" y="790"/>
                  <a:pt x="1058" y="717"/>
                </a:cubicBezTo>
                <a:cubicBezTo>
                  <a:pt x="1058" y="717"/>
                  <a:pt x="1058" y="717"/>
                  <a:pt x="1058" y="717"/>
                </a:cubicBezTo>
                <a:cubicBezTo>
                  <a:pt x="1056" y="713"/>
                  <a:pt x="1054" y="709"/>
                  <a:pt x="1052" y="706"/>
                </a:cubicBezTo>
                <a:cubicBezTo>
                  <a:pt x="1052" y="706"/>
                  <a:pt x="1052" y="706"/>
                  <a:pt x="1052" y="706"/>
                </a:cubicBezTo>
                <a:cubicBezTo>
                  <a:pt x="1051" y="704"/>
                  <a:pt x="1050" y="702"/>
                  <a:pt x="1049" y="700"/>
                </a:cubicBezTo>
                <a:cubicBezTo>
                  <a:pt x="1049" y="700"/>
                  <a:pt x="1049" y="700"/>
                  <a:pt x="1049" y="700"/>
                </a:cubicBezTo>
                <a:cubicBezTo>
                  <a:pt x="1048" y="699"/>
                  <a:pt x="1047" y="697"/>
                  <a:pt x="1046" y="695"/>
                </a:cubicBezTo>
                <a:cubicBezTo>
                  <a:pt x="1046" y="695"/>
                  <a:pt x="1046" y="695"/>
                  <a:pt x="1046" y="695"/>
                </a:cubicBezTo>
                <a:cubicBezTo>
                  <a:pt x="1045" y="693"/>
                  <a:pt x="1044" y="691"/>
                  <a:pt x="1043" y="690"/>
                </a:cubicBezTo>
                <a:cubicBezTo>
                  <a:pt x="1043" y="690"/>
                  <a:pt x="1043" y="690"/>
                  <a:pt x="1043" y="690"/>
                </a:cubicBezTo>
                <a:cubicBezTo>
                  <a:pt x="1041" y="688"/>
                  <a:pt x="1040" y="686"/>
                  <a:pt x="1039" y="685"/>
                </a:cubicBezTo>
                <a:cubicBezTo>
                  <a:pt x="1039" y="685"/>
                  <a:pt x="1039" y="685"/>
                  <a:pt x="1039" y="685"/>
                </a:cubicBezTo>
                <a:cubicBezTo>
                  <a:pt x="1038" y="683"/>
                  <a:pt x="1037" y="681"/>
                  <a:pt x="1035" y="679"/>
                </a:cubicBezTo>
                <a:cubicBezTo>
                  <a:pt x="1035" y="679"/>
                  <a:pt x="1035" y="679"/>
                  <a:pt x="1035" y="679"/>
                </a:cubicBezTo>
                <a:cubicBezTo>
                  <a:pt x="1034" y="678"/>
                  <a:pt x="1033" y="676"/>
                  <a:pt x="1031" y="675"/>
                </a:cubicBezTo>
                <a:cubicBezTo>
                  <a:pt x="1031" y="675"/>
                  <a:pt x="1031" y="675"/>
                  <a:pt x="1031" y="675"/>
                </a:cubicBezTo>
                <a:cubicBezTo>
                  <a:pt x="1030" y="673"/>
                  <a:pt x="1029" y="671"/>
                  <a:pt x="1028" y="670"/>
                </a:cubicBezTo>
                <a:cubicBezTo>
                  <a:pt x="1028" y="670"/>
                  <a:pt x="1028" y="670"/>
                  <a:pt x="1028" y="670"/>
                </a:cubicBezTo>
                <a:cubicBezTo>
                  <a:pt x="1026" y="668"/>
                  <a:pt x="1025" y="666"/>
                  <a:pt x="1023" y="665"/>
                </a:cubicBezTo>
                <a:cubicBezTo>
                  <a:pt x="1023" y="665"/>
                  <a:pt x="1023" y="665"/>
                  <a:pt x="1023" y="665"/>
                </a:cubicBezTo>
                <a:cubicBezTo>
                  <a:pt x="1022" y="663"/>
                  <a:pt x="1021" y="662"/>
                  <a:pt x="1019" y="660"/>
                </a:cubicBezTo>
                <a:cubicBezTo>
                  <a:pt x="1019" y="660"/>
                  <a:pt x="1019" y="660"/>
                  <a:pt x="1019" y="660"/>
                </a:cubicBezTo>
                <a:cubicBezTo>
                  <a:pt x="1018" y="658"/>
                  <a:pt x="1016" y="657"/>
                  <a:pt x="1015" y="655"/>
                </a:cubicBezTo>
                <a:cubicBezTo>
                  <a:pt x="1015" y="655"/>
                  <a:pt x="1015" y="655"/>
                  <a:pt x="1015" y="655"/>
                </a:cubicBezTo>
                <a:cubicBezTo>
                  <a:pt x="1013" y="654"/>
                  <a:pt x="1012" y="652"/>
                  <a:pt x="1010" y="651"/>
                </a:cubicBezTo>
                <a:cubicBezTo>
                  <a:pt x="1010" y="651"/>
                  <a:pt x="1010" y="651"/>
                  <a:pt x="1010" y="651"/>
                </a:cubicBezTo>
                <a:cubicBezTo>
                  <a:pt x="1010" y="650"/>
                  <a:pt x="1010" y="650"/>
                  <a:pt x="1010" y="650"/>
                </a:cubicBezTo>
                <a:cubicBezTo>
                  <a:pt x="1009" y="649"/>
                  <a:pt x="1008" y="648"/>
                  <a:pt x="1008" y="648"/>
                </a:cubicBezTo>
                <a:cubicBezTo>
                  <a:pt x="1007" y="647"/>
                  <a:pt x="1006" y="646"/>
                  <a:pt x="1005" y="646"/>
                </a:cubicBezTo>
                <a:cubicBezTo>
                  <a:pt x="1005" y="646"/>
                  <a:pt x="1005" y="646"/>
                  <a:pt x="1005" y="646"/>
                </a:cubicBezTo>
                <a:cubicBezTo>
                  <a:pt x="937" y="581"/>
                  <a:pt x="863" y="578"/>
                  <a:pt x="782" y="547"/>
                </a:cubicBezTo>
                <a:cubicBezTo>
                  <a:pt x="737" y="529"/>
                  <a:pt x="690" y="502"/>
                  <a:pt x="640" y="453"/>
                </a:cubicBezTo>
                <a:cubicBezTo>
                  <a:pt x="593" y="404"/>
                  <a:pt x="566" y="358"/>
                  <a:pt x="548" y="314"/>
                </a:cubicBezTo>
                <a:cubicBezTo>
                  <a:pt x="518" y="235"/>
                  <a:pt x="515" y="162"/>
                  <a:pt x="454" y="95"/>
                </a:cubicBezTo>
                <a:cubicBezTo>
                  <a:pt x="453" y="94"/>
                  <a:pt x="452" y="93"/>
                  <a:pt x="451" y="92"/>
                </a:cubicBezTo>
                <a:cubicBezTo>
                  <a:pt x="450" y="90"/>
                  <a:pt x="450" y="90"/>
                  <a:pt x="450" y="90"/>
                </a:cubicBezTo>
                <a:cubicBezTo>
                  <a:pt x="448" y="88"/>
                  <a:pt x="446" y="86"/>
                  <a:pt x="444" y="84"/>
                </a:cubicBezTo>
                <a:cubicBezTo>
                  <a:pt x="444" y="84"/>
                  <a:pt x="444" y="84"/>
                  <a:pt x="444" y="84"/>
                </a:cubicBezTo>
                <a:cubicBezTo>
                  <a:pt x="444" y="84"/>
                  <a:pt x="444" y="84"/>
                  <a:pt x="444" y="84"/>
                </a:cubicBezTo>
                <a:cubicBezTo>
                  <a:pt x="443" y="83"/>
                  <a:pt x="441" y="81"/>
                  <a:pt x="439" y="80"/>
                </a:cubicBezTo>
                <a:cubicBezTo>
                  <a:pt x="439" y="80"/>
                  <a:pt x="439" y="80"/>
                  <a:pt x="439" y="80"/>
                </a:cubicBezTo>
                <a:cubicBezTo>
                  <a:pt x="438" y="78"/>
                  <a:pt x="436" y="77"/>
                  <a:pt x="435" y="75"/>
                </a:cubicBezTo>
                <a:cubicBezTo>
                  <a:pt x="435" y="75"/>
                  <a:pt x="435" y="75"/>
                  <a:pt x="435" y="75"/>
                </a:cubicBezTo>
                <a:cubicBezTo>
                  <a:pt x="433" y="74"/>
                  <a:pt x="432" y="73"/>
                  <a:pt x="430" y="71"/>
                </a:cubicBezTo>
                <a:cubicBezTo>
                  <a:pt x="430" y="71"/>
                  <a:pt x="430" y="71"/>
                  <a:pt x="430" y="71"/>
                </a:cubicBezTo>
                <a:cubicBezTo>
                  <a:pt x="428" y="70"/>
                  <a:pt x="427" y="68"/>
                  <a:pt x="425" y="67"/>
                </a:cubicBezTo>
                <a:cubicBezTo>
                  <a:pt x="425" y="67"/>
                  <a:pt x="425" y="67"/>
                  <a:pt x="425" y="67"/>
                </a:cubicBezTo>
                <a:cubicBezTo>
                  <a:pt x="423" y="66"/>
                  <a:pt x="422" y="64"/>
                  <a:pt x="420" y="63"/>
                </a:cubicBezTo>
                <a:cubicBezTo>
                  <a:pt x="420" y="63"/>
                  <a:pt x="420" y="63"/>
                  <a:pt x="420" y="63"/>
                </a:cubicBezTo>
                <a:cubicBezTo>
                  <a:pt x="419" y="62"/>
                  <a:pt x="417" y="61"/>
                  <a:pt x="415" y="59"/>
                </a:cubicBezTo>
                <a:cubicBezTo>
                  <a:pt x="415" y="59"/>
                  <a:pt x="415" y="59"/>
                  <a:pt x="415" y="59"/>
                </a:cubicBezTo>
                <a:cubicBezTo>
                  <a:pt x="414" y="58"/>
                  <a:pt x="412" y="57"/>
                  <a:pt x="410" y="56"/>
                </a:cubicBezTo>
                <a:cubicBezTo>
                  <a:pt x="410" y="56"/>
                  <a:pt x="410" y="56"/>
                  <a:pt x="410" y="56"/>
                </a:cubicBezTo>
                <a:cubicBezTo>
                  <a:pt x="408" y="55"/>
                  <a:pt x="407" y="53"/>
                  <a:pt x="405" y="52"/>
                </a:cubicBezTo>
                <a:cubicBezTo>
                  <a:pt x="405" y="52"/>
                  <a:pt x="405" y="52"/>
                  <a:pt x="405" y="52"/>
                </a:cubicBezTo>
                <a:cubicBezTo>
                  <a:pt x="403" y="51"/>
                  <a:pt x="401" y="50"/>
                  <a:pt x="400" y="49"/>
                </a:cubicBezTo>
                <a:cubicBezTo>
                  <a:pt x="400" y="49"/>
                  <a:pt x="400" y="49"/>
                  <a:pt x="400" y="49"/>
                </a:cubicBezTo>
                <a:cubicBezTo>
                  <a:pt x="398" y="48"/>
                  <a:pt x="396" y="47"/>
                  <a:pt x="394" y="45"/>
                </a:cubicBezTo>
                <a:cubicBezTo>
                  <a:pt x="394" y="45"/>
                  <a:pt x="394" y="45"/>
                  <a:pt x="394" y="45"/>
                </a:cubicBezTo>
                <a:cubicBezTo>
                  <a:pt x="393" y="44"/>
                  <a:pt x="391" y="43"/>
                  <a:pt x="389" y="42"/>
                </a:cubicBezTo>
                <a:cubicBezTo>
                  <a:pt x="389" y="42"/>
                  <a:pt x="389" y="42"/>
                  <a:pt x="389" y="42"/>
                </a:cubicBezTo>
                <a:cubicBezTo>
                  <a:pt x="385" y="40"/>
                  <a:pt x="382" y="38"/>
                  <a:pt x="378" y="37"/>
                </a:cubicBezTo>
                <a:cubicBezTo>
                  <a:pt x="378" y="37"/>
                  <a:pt x="378" y="37"/>
                  <a:pt x="378" y="37"/>
                </a:cubicBezTo>
                <a:cubicBezTo>
                  <a:pt x="305" y="0"/>
                  <a:pt x="216" y="0"/>
                  <a:pt x="142" y="41"/>
                </a:cubicBezTo>
                <a:cubicBezTo>
                  <a:pt x="142" y="41"/>
                  <a:pt x="142" y="41"/>
                  <a:pt x="142" y="41"/>
                </a:cubicBezTo>
                <a:cubicBezTo>
                  <a:pt x="136" y="44"/>
                  <a:pt x="131" y="48"/>
                  <a:pt x="126" y="51"/>
                </a:cubicBezTo>
                <a:cubicBezTo>
                  <a:pt x="126" y="51"/>
                  <a:pt x="126" y="51"/>
                  <a:pt x="126" y="51"/>
                </a:cubicBezTo>
                <a:cubicBezTo>
                  <a:pt x="124" y="52"/>
                  <a:pt x="122" y="53"/>
                  <a:pt x="120" y="55"/>
                </a:cubicBezTo>
                <a:cubicBezTo>
                  <a:pt x="120" y="55"/>
                  <a:pt x="120" y="55"/>
                  <a:pt x="120" y="55"/>
                </a:cubicBezTo>
                <a:cubicBezTo>
                  <a:pt x="119" y="56"/>
                  <a:pt x="117" y="57"/>
                  <a:pt x="115" y="58"/>
                </a:cubicBezTo>
                <a:cubicBezTo>
                  <a:pt x="115" y="58"/>
                  <a:pt x="115" y="58"/>
                  <a:pt x="115" y="58"/>
                </a:cubicBezTo>
                <a:cubicBezTo>
                  <a:pt x="112" y="61"/>
                  <a:pt x="108" y="64"/>
                  <a:pt x="105" y="66"/>
                </a:cubicBezTo>
                <a:cubicBezTo>
                  <a:pt x="105" y="66"/>
                  <a:pt x="105" y="66"/>
                  <a:pt x="105" y="66"/>
                </a:cubicBezTo>
                <a:cubicBezTo>
                  <a:pt x="103" y="68"/>
                  <a:pt x="101" y="69"/>
                  <a:pt x="100" y="71"/>
                </a:cubicBezTo>
                <a:cubicBezTo>
                  <a:pt x="100" y="71"/>
                  <a:pt x="100" y="71"/>
                  <a:pt x="100" y="71"/>
                </a:cubicBezTo>
                <a:cubicBezTo>
                  <a:pt x="96" y="73"/>
                  <a:pt x="93" y="76"/>
                  <a:pt x="90" y="80"/>
                </a:cubicBezTo>
                <a:cubicBezTo>
                  <a:pt x="90" y="80"/>
                  <a:pt x="90" y="80"/>
                  <a:pt x="90" y="80"/>
                </a:cubicBezTo>
                <a:cubicBezTo>
                  <a:pt x="88" y="81"/>
                  <a:pt x="87" y="83"/>
                  <a:pt x="85" y="84"/>
                </a:cubicBezTo>
                <a:cubicBezTo>
                  <a:pt x="85" y="84"/>
                  <a:pt x="85" y="84"/>
                  <a:pt x="85" y="84"/>
                </a:cubicBezTo>
                <a:cubicBezTo>
                  <a:pt x="83" y="86"/>
                  <a:pt x="82" y="87"/>
                  <a:pt x="80" y="89"/>
                </a:cubicBezTo>
                <a:cubicBezTo>
                  <a:pt x="80" y="89"/>
                  <a:pt x="80" y="89"/>
                  <a:pt x="80" y="89"/>
                </a:cubicBezTo>
                <a:cubicBezTo>
                  <a:pt x="77" y="92"/>
                  <a:pt x="74" y="96"/>
                  <a:pt x="71" y="99"/>
                </a:cubicBezTo>
                <a:cubicBezTo>
                  <a:pt x="71" y="99"/>
                  <a:pt x="71" y="99"/>
                  <a:pt x="71" y="99"/>
                </a:cubicBezTo>
                <a:cubicBezTo>
                  <a:pt x="70" y="101"/>
                  <a:pt x="69" y="102"/>
                  <a:pt x="67" y="104"/>
                </a:cubicBezTo>
                <a:cubicBezTo>
                  <a:pt x="67" y="104"/>
                  <a:pt x="67" y="104"/>
                  <a:pt x="67" y="104"/>
                </a:cubicBezTo>
                <a:cubicBezTo>
                  <a:pt x="64" y="107"/>
                  <a:pt x="62" y="111"/>
                  <a:pt x="59" y="114"/>
                </a:cubicBezTo>
                <a:cubicBezTo>
                  <a:pt x="59" y="114"/>
                  <a:pt x="59" y="114"/>
                  <a:pt x="59" y="114"/>
                </a:cubicBezTo>
                <a:cubicBezTo>
                  <a:pt x="58" y="116"/>
                  <a:pt x="57" y="118"/>
                  <a:pt x="55" y="120"/>
                </a:cubicBezTo>
                <a:cubicBezTo>
                  <a:pt x="55" y="120"/>
                  <a:pt x="55" y="120"/>
                  <a:pt x="55" y="120"/>
                </a:cubicBezTo>
                <a:cubicBezTo>
                  <a:pt x="54" y="121"/>
                  <a:pt x="53" y="123"/>
                  <a:pt x="52" y="125"/>
                </a:cubicBezTo>
                <a:cubicBezTo>
                  <a:pt x="52" y="125"/>
                  <a:pt x="52" y="125"/>
                  <a:pt x="52" y="125"/>
                </a:cubicBezTo>
                <a:cubicBezTo>
                  <a:pt x="48" y="130"/>
                  <a:pt x="45" y="136"/>
                  <a:pt x="42" y="141"/>
                </a:cubicBezTo>
                <a:cubicBezTo>
                  <a:pt x="42" y="141"/>
                  <a:pt x="42" y="141"/>
                  <a:pt x="42" y="141"/>
                </a:cubicBezTo>
                <a:cubicBezTo>
                  <a:pt x="1" y="215"/>
                  <a:pt x="0" y="304"/>
                  <a:pt x="37" y="377"/>
                </a:cubicBezTo>
                <a:cubicBezTo>
                  <a:pt x="37" y="377"/>
                  <a:pt x="37" y="377"/>
                  <a:pt x="37" y="377"/>
                </a:cubicBezTo>
                <a:cubicBezTo>
                  <a:pt x="39" y="381"/>
                  <a:pt x="41" y="385"/>
                  <a:pt x="43" y="388"/>
                </a:cubicBezTo>
                <a:cubicBezTo>
                  <a:pt x="43" y="388"/>
                  <a:pt x="43" y="388"/>
                  <a:pt x="43" y="388"/>
                </a:cubicBezTo>
                <a:cubicBezTo>
                  <a:pt x="44" y="390"/>
                  <a:pt x="45" y="392"/>
                  <a:pt x="46" y="393"/>
                </a:cubicBezTo>
                <a:cubicBezTo>
                  <a:pt x="46" y="393"/>
                  <a:pt x="46" y="393"/>
                  <a:pt x="46" y="393"/>
                </a:cubicBezTo>
                <a:cubicBezTo>
                  <a:pt x="47" y="395"/>
                  <a:pt x="48" y="397"/>
                  <a:pt x="50" y="399"/>
                </a:cubicBezTo>
                <a:cubicBezTo>
                  <a:pt x="50" y="399"/>
                  <a:pt x="50" y="399"/>
                  <a:pt x="50" y="399"/>
                </a:cubicBezTo>
                <a:cubicBezTo>
                  <a:pt x="51" y="401"/>
                  <a:pt x="52" y="402"/>
                  <a:pt x="53" y="404"/>
                </a:cubicBezTo>
                <a:cubicBezTo>
                  <a:pt x="53" y="404"/>
                  <a:pt x="53" y="404"/>
                  <a:pt x="53" y="404"/>
                </a:cubicBezTo>
                <a:cubicBezTo>
                  <a:pt x="54" y="406"/>
                  <a:pt x="55" y="408"/>
                  <a:pt x="56" y="409"/>
                </a:cubicBezTo>
                <a:cubicBezTo>
                  <a:pt x="56" y="409"/>
                  <a:pt x="56" y="409"/>
                  <a:pt x="56" y="409"/>
                </a:cubicBezTo>
                <a:cubicBezTo>
                  <a:pt x="58" y="411"/>
                  <a:pt x="59" y="413"/>
                  <a:pt x="60" y="414"/>
                </a:cubicBezTo>
                <a:cubicBezTo>
                  <a:pt x="60" y="414"/>
                  <a:pt x="60" y="414"/>
                  <a:pt x="60" y="414"/>
                </a:cubicBezTo>
                <a:cubicBezTo>
                  <a:pt x="61" y="416"/>
                  <a:pt x="63" y="418"/>
                  <a:pt x="64" y="419"/>
                </a:cubicBezTo>
                <a:cubicBezTo>
                  <a:pt x="64" y="419"/>
                  <a:pt x="64" y="419"/>
                  <a:pt x="64" y="419"/>
                </a:cubicBezTo>
                <a:cubicBezTo>
                  <a:pt x="65" y="421"/>
                  <a:pt x="67" y="423"/>
                  <a:pt x="68" y="424"/>
                </a:cubicBezTo>
                <a:cubicBezTo>
                  <a:pt x="68" y="424"/>
                  <a:pt x="68" y="424"/>
                  <a:pt x="68" y="424"/>
                </a:cubicBezTo>
                <a:cubicBezTo>
                  <a:pt x="69" y="426"/>
                  <a:pt x="71" y="428"/>
                  <a:pt x="72" y="429"/>
                </a:cubicBezTo>
                <a:cubicBezTo>
                  <a:pt x="72" y="429"/>
                  <a:pt x="72" y="429"/>
                  <a:pt x="72" y="429"/>
                </a:cubicBezTo>
                <a:cubicBezTo>
                  <a:pt x="73" y="431"/>
                  <a:pt x="75" y="432"/>
                  <a:pt x="76" y="434"/>
                </a:cubicBezTo>
                <a:cubicBezTo>
                  <a:pt x="76" y="434"/>
                  <a:pt x="76" y="434"/>
                  <a:pt x="76" y="434"/>
                </a:cubicBezTo>
                <a:cubicBezTo>
                  <a:pt x="78" y="436"/>
                  <a:pt x="79" y="437"/>
                  <a:pt x="80" y="439"/>
                </a:cubicBezTo>
                <a:cubicBezTo>
                  <a:pt x="80" y="439"/>
                  <a:pt x="80" y="439"/>
                  <a:pt x="80" y="439"/>
                </a:cubicBezTo>
                <a:cubicBezTo>
                  <a:pt x="82" y="440"/>
                  <a:pt x="83" y="442"/>
                  <a:pt x="85" y="443"/>
                </a:cubicBezTo>
                <a:cubicBezTo>
                  <a:pt x="85" y="443"/>
                  <a:pt x="85" y="443"/>
                  <a:pt x="85" y="443"/>
                </a:cubicBezTo>
                <a:cubicBezTo>
                  <a:pt x="85" y="443"/>
                  <a:pt x="85" y="443"/>
                  <a:pt x="85" y="443"/>
                </a:cubicBezTo>
                <a:cubicBezTo>
                  <a:pt x="87" y="445"/>
                  <a:pt x="89" y="447"/>
                  <a:pt x="91" y="449"/>
                </a:cubicBezTo>
                <a:cubicBezTo>
                  <a:pt x="91" y="449"/>
                  <a:pt x="92" y="450"/>
                  <a:pt x="92" y="450"/>
                </a:cubicBezTo>
                <a:cubicBezTo>
                  <a:pt x="94" y="452"/>
                  <a:pt x="95" y="453"/>
                  <a:pt x="96" y="454"/>
                </a:cubicBezTo>
                <a:cubicBezTo>
                  <a:pt x="163" y="514"/>
                  <a:pt x="236" y="517"/>
                  <a:pt x="315" y="547"/>
                </a:cubicBezTo>
                <a:close/>
              </a:path>
            </a:pathLst>
          </a:custGeom>
          <a:gradFill flip="none" rotWithShape="1">
            <a:gsLst>
              <a:gs pos="59000">
                <a:schemeClr val="accent1"/>
              </a:gs>
              <a:gs pos="36000">
                <a:schemeClr val="accent1">
                  <a:lumMod val="60000"/>
                  <a:lumOff val="40000"/>
                </a:schemeClr>
              </a:gs>
              <a:gs pos="0">
                <a:schemeClr val="accent1">
                  <a:lumMod val="20000"/>
                  <a:lumOff val="80000"/>
                </a:schemeClr>
              </a:gs>
              <a:gs pos="16000">
                <a:schemeClr val="accent1">
                  <a:lumMod val="40000"/>
                  <a:lumOff val="60000"/>
                </a:schemeClr>
              </a:gs>
            </a:gsLst>
            <a:lin ang="0" scaled="1"/>
            <a:tileRect/>
          </a:gradFill>
          <a:ln>
            <a:noFill/>
          </a:ln>
          <a:effectLst>
            <a:outerShdw blurRad="609600" sx="102000" sy="102000" algn="ctr" rotWithShape="0">
              <a:schemeClr val="accent1">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17" name="Oval 22">
            <a:extLst>
              <a:ext uri="{FF2B5EF4-FFF2-40B4-BE49-F238E27FC236}">
                <a16:creationId xmlns:a16="http://schemas.microsoft.com/office/drawing/2014/main" id="{94511622-EA2C-4242-B25A-11CE6588DEBE}"/>
              </a:ext>
            </a:extLst>
          </p:cNvPr>
          <p:cNvSpPr>
            <a:spLocks noChangeArrowheads="1"/>
          </p:cNvSpPr>
          <p:nvPr/>
        </p:nvSpPr>
        <p:spPr bwMode="auto">
          <a:xfrm>
            <a:off x="8739845" y="2182425"/>
            <a:ext cx="676201" cy="676201"/>
          </a:xfrm>
          <a:prstGeom prst="ellipse">
            <a:avLst/>
          </a:prstGeom>
          <a:solidFill>
            <a:srgbClr val="FEFE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7150" tIns="28575" rIns="57150" bIns="28575"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25" b="0" i="0" u="none" strike="noStrike" kern="1200" cap="none" spc="0" normalizeH="0" baseline="0" noProof="0">
              <a:ln>
                <a:noFill/>
              </a:ln>
              <a:solidFill>
                <a:srgbClr val="3F3F3F"/>
              </a:solidFill>
              <a:effectLst/>
              <a:uLnTx/>
              <a:uFillTx/>
              <a:latin typeface="HarmonyOS Sans SC"/>
              <a:cs typeface="+mn-cs"/>
            </a:endParaRPr>
          </a:p>
        </p:txBody>
      </p:sp>
      <p:sp>
        <p:nvSpPr>
          <p:cNvPr id="18" name="Oval 23">
            <a:extLst>
              <a:ext uri="{FF2B5EF4-FFF2-40B4-BE49-F238E27FC236}">
                <a16:creationId xmlns:a16="http://schemas.microsoft.com/office/drawing/2014/main" id="{9E0D57D2-4839-4FB4-A434-60FBD61B702E}"/>
              </a:ext>
            </a:extLst>
          </p:cNvPr>
          <p:cNvSpPr>
            <a:spLocks noChangeArrowheads="1"/>
          </p:cNvSpPr>
          <p:nvPr/>
        </p:nvSpPr>
        <p:spPr bwMode="auto">
          <a:xfrm>
            <a:off x="9611002" y="3050070"/>
            <a:ext cx="676201" cy="677957"/>
          </a:xfrm>
          <a:prstGeom prst="ellipse">
            <a:avLst/>
          </a:prstGeom>
          <a:solidFill>
            <a:srgbClr val="FEFE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7150" tIns="28575" rIns="57150" bIns="28575"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25" b="0" i="0" u="none" strike="noStrike" kern="1200" cap="none" spc="0" normalizeH="0" baseline="0" noProof="0">
              <a:ln>
                <a:noFill/>
              </a:ln>
              <a:solidFill>
                <a:srgbClr val="3F3F3F"/>
              </a:solidFill>
              <a:effectLst/>
              <a:uLnTx/>
              <a:uFillTx/>
              <a:latin typeface="HarmonyOS Sans SC"/>
              <a:cs typeface="+mn-cs"/>
            </a:endParaRPr>
          </a:p>
        </p:txBody>
      </p:sp>
      <p:sp>
        <p:nvSpPr>
          <p:cNvPr id="19" name="Freeform 18">
            <a:extLst>
              <a:ext uri="{FF2B5EF4-FFF2-40B4-BE49-F238E27FC236}">
                <a16:creationId xmlns:a16="http://schemas.microsoft.com/office/drawing/2014/main" id="{5A46DC04-E6FA-4E15-BDAE-F01CB2C65CBC}"/>
              </a:ext>
            </a:extLst>
          </p:cNvPr>
          <p:cNvSpPr>
            <a:spLocks/>
          </p:cNvSpPr>
          <p:nvPr/>
        </p:nvSpPr>
        <p:spPr bwMode="auto">
          <a:xfrm>
            <a:off x="8673103" y="4214539"/>
            <a:ext cx="1682598" cy="1680842"/>
          </a:xfrm>
          <a:custGeom>
            <a:avLst/>
            <a:gdLst>
              <a:gd name="T0" fmla="*/ 548 w 1095"/>
              <a:gd name="T1" fmla="*/ 313 h 1094"/>
              <a:gd name="T2" fmla="*/ 646 w 1095"/>
              <a:gd name="T3" fmla="*/ 90 h 1094"/>
              <a:gd name="T4" fmla="*/ 651 w 1095"/>
              <a:gd name="T5" fmla="*/ 84 h 1094"/>
              <a:gd name="T6" fmla="*/ 661 w 1095"/>
              <a:gd name="T7" fmla="*/ 75 h 1094"/>
              <a:gd name="T8" fmla="*/ 666 w 1095"/>
              <a:gd name="T9" fmla="*/ 71 h 1094"/>
              <a:gd name="T10" fmla="*/ 675 w 1095"/>
              <a:gd name="T11" fmla="*/ 63 h 1094"/>
              <a:gd name="T12" fmla="*/ 680 w 1095"/>
              <a:gd name="T13" fmla="*/ 59 h 1094"/>
              <a:gd name="T14" fmla="*/ 691 w 1095"/>
              <a:gd name="T15" fmla="*/ 52 h 1094"/>
              <a:gd name="T16" fmla="*/ 696 w 1095"/>
              <a:gd name="T17" fmla="*/ 49 h 1094"/>
              <a:gd name="T18" fmla="*/ 706 w 1095"/>
              <a:gd name="T19" fmla="*/ 42 h 1094"/>
              <a:gd name="T20" fmla="*/ 717 w 1095"/>
              <a:gd name="T21" fmla="*/ 37 h 1094"/>
              <a:gd name="T22" fmla="*/ 970 w 1095"/>
              <a:gd name="T23" fmla="*/ 51 h 1094"/>
              <a:gd name="T24" fmla="*/ 975 w 1095"/>
              <a:gd name="T25" fmla="*/ 55 h 1094"/>
              <a:gd name="T26" fmla="*/ 991 w 1095"/>
              <a:gd name="T27" fmla="*/ 66 h 1094"/>
              <a:gd name="T28" fmla="*/ 996 w 1095"/>
              <a:gd name="T29" fmla="*/ 71 h 1094"/>
              <a:gd name="T30" fmla="*/ 1010 w 1095"/>
              <a:gd name="T31" fmla="*/ 84 h 1094"/>
              <a:gd name="T32" fmla="*/ 1015 w 1095"/>
              <a:gd name="T33" fmla="*/ 89 h 1094"/>
              <a:gd name="T34" fmla="*/ 1028 w 1095"/>
              <a:gd name="T35" fmla="*/ 104 h 1094"/>
              <a:gd name="T36" fmla="*/ 1036 w 1095"/>
              <a:gd name="T37" fmla="*/ 114 h 1094"/>
              <a:gd name="T38" fmla="*/ 1044 w 1095"/>
              <a:gd name="T39" fmla="*/ 125 h 1094"/>
              <a:gd name="T40" fmla="*/ 1054 w 1095"/>
              <a:gd name="T41" fmla="*/ 141 h 1094"/>
              <a:gd name="T42" fmla="*/ 1052 w 1095"/>
              <a:gd name="T43" fmla="*/ 388 h 1094"/>
              <a:gd name="T44" fmla="*/ 1049 w 1095"/>
              <a:gd name="T45" fmla="*/ 394 h 1094"/>
              <a:gd name="T46" fmla="*/ 1043 w 1095"/>
              <a:gd name="T47" fmla="*/ 404 h 1094"/>
              <a:gd name="T48" fmla="*/ 1039 w 1095"/>
              <a:gd name="T49" fmla="*/ 409 h 1094"/>
              <a:gd name="T50" fmla="*/ 1031 w 1095"/>
              <a:gd name="T51" fmla="*/ 419 h 1094"/>
              <a:gd name="T52" fmla="*/ 1028 w 1095"/>
              <a:gd name="T53" fmla="*/ 424 h 1094"/>
              <a:gd name="T54" fmla="*/ 1019 w 1095"/>
              <a:gd name="T55" fmla="*/ 434 h 1094"/>
              <a:gd name="T56" fmla="*/ 1015 w 1095"/>
              <a:gd name="T57" fmla="*/ 439 h 1094"/>
              <a:gd name="T58" fmla="*/ 1010 w 1095"/>
              <a:gd name="T59" fmla="*/ 444 h 1094"/>
              <a:gd name="T60" fmla="*/ 1005 w 1095"/>
              <a:gd name="T61" fmla="*/ 448 h 1094"/>
              <a:gd name="T62" fmla="*/ 548 w 1095"/>
              <a:gd name="T63" fmla="*/ 780 h 1094"/>
              <a:gd name="T64" fmla="*/ 450 w 1095"/>
              <a:gd name="T65" fmla="*/ 1004 h 1094"/>
              <a:gd name="T66" fmla="*/ 444 w 1095"/>
              <a:gd name="T67" fmla="*/ 1010 h 1094"/>
              <a:gd name="T68" fmla="*/ 435 w 1095"/>
              <a:gd name="T69" fmla="*/ 1019 h 1094"/>
              <a:gd name="T70" fmla="*/ 430 w 1095"/>
              <a:gd name="T71" fmla="*/ 1023 h 1094"/>
              <a:gd name="T72" fmla="*/ 420 w 1095"/>
              <a:gd name="T73" fmla="*/ 1031 h 1094"/>
              <a:gd name="T74" fmla="*/ 415 w 1095"/>
              <a:gd name="T75" fmla="*/ 1035 h 1094"/>
              <a:gd name="T76" fmla="*/ 405 w 1095"/>
              <a:gd name="T77" fmla="*/ 1042 h 1094"/>
              <a:gd name="T78" fmla="*/ 400 w 1095"/>
              <a:gd name="T79" fmla="*/ 1045 h 1094"/>
              <a:gd name="T80" fmla="*/ 389 w 1095"/>
              <a:gd name="T81" fmla="*/ 1052 h 1094"/>
              <a:gd name="T82" fmla="*/ 378 w 1095"/>
              <a:gd name="T83" fmla="*/ 1057 h 1094"/>
              <a:gd name="T84" fmla="*/ 126 w 1095"/>
              <a:gd name="T85" fmla="*/ 1043 h 1094"/>
              <a:gd name="T86" fmla="*/ 120 w 1095"/>
              <a:gd name="T87" fmla="*/ 1039 h 1094"/>
              <a:gd name="T88" fmla="*/ 105 w 1095"/>
              <a:gd name="T89" fmla="*/ 1028 h 1094"/>
              <a:gd name="T90" fmla="*/ 100 w 1095"/>
              <a:gd name="T91" fmla="*/ 1023 h 1094"/>
              <a:gd name="T92" fmla="*/ 85 w 1095"/>
              <a:gd name="T93" fmla="*/ 1010 h 1094"/>
              <a:gd name="T94" fmla="*/ 80 w 1095"/>
              <a:gd name="T95" fmla="*/ 1005 h 1094"/>
              <a:gd name="T96" fmla="*/ 67 w 1095"/>
              <a:gd name="T97" fmla="*/ 990 h 1094"/>
              <a:gd name="T98" fmla="*/ 59 w 1095"/>
              <a:gd name="T99" fmla="*/ 980 h 1094"/>
              <a:gd name="T100" fmla="*/ 52 w 1095"/>
              <a:gd name="T101" fmla="*/ 969 h 1094"/>
              <a:gd name="T102" fmla="*/ 42 w 1095"/>
              <a:gd name="T103" fmla="*/ 953 h 1094"/>
              <a:gd name="T104" fmla="*/ 43 w 1095"/>
              <a:gd name="T105" fmla="*/ 706 h 1094"/>
              <a:gd name="T106" fmla="*/ 46 w 1095"/>
              <a:gd name="T107" fmla="*/ 700 h 1094"/>
              <a:gd name="T108" fmla="*/ 53 w 1095"/>
              <a:gd name="T109" fmla="*/ 690 h 1094"/>
              <a:gd name="T110" fmla="*/ 56 w 1095"/>
              <a:gd name="T111" fmla="*/ 685 h 1094"/>
              <a:gd name="T112" fmla="*/ 64 w 1095"/>
              <a:gd name="T113" fmla="*/ 675 h 1094"/>
              <a:gd name="T114" fmla="*/ 68 w 1095"/>
              <a:gd name="T115" fmla="*/ 670 h 1094"/>
              <a:gd name="T116" fmla="*/ 76 w 1095"/>
              <a:gd name="T117" fmla="*/ 660 h 1094"/>
              <a:gd name="T118" fmla="*/ 80 w 1095"/>
              <a:gd name="T119" fmla="*/ 655 h 1094"/>
              <a:gd name="T120" fmla="*/ 85 w 1095"/>
              <a:gd name="T121" fmla="*/ 651 h 1094"/>
              <a:gd name="T122" fmla="*/ 96 w 1095"/>
              <a:gd name="T123" fmla="*/ 640 h 10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095" h="1094">
                <a:moveTo>
                  <a:pt x="315" y="547"/>
                </a:moveTo>
                <a:cubicBezTo>
                  <a:pt x="359" y="529"/>
                  <a:pt x="404" y="502"/>
                  <a:pt x="453" y="455"/>
                </a:cubicBezTo>
                <a:cubicBezTo>
                  <a:pt x="502" y="405"/>
                  <a:pt x="529" y="358"/>
                  <a:pt x="548" y="313"/>
                </a:cubicBezTo>
                <a:cubicBezTo>
                  <a:pt x="578" y="234"/>
                  <a:pt x="581" y="162"/>
                  <a:pt x="641" y="95"/>
                </a:cubicBezTo>
                <a:cubicBezTo>
                  <a:pt x="642" y="94"/>
                  <a:pt x="643" y="93"/>
                  <a:pt x="644" y="92"/>
                </a:cubicBezTo>
                <a:cubicBezTo>
                  <a:pt x="646" y="90"/>
                  <a:pt x="646" y="90"/>
                  <a:pt x="646" y="90"/>
                </a:cubicBezTo>
                <a:cubicBezTo>
                  <a:pt x="648" y="88"/>
                  <a:pt x="649" y="86"/>
                  <a:pt x="651" y="84"/>
                </a:cubicBezTo>
                <a:cubicBezTo>
                  <a:pt x="651" y="84"/>
                  <a:pt x="651" y="84"/>
                  <a:pt x="651" y="84"/>
                </a:cubicBezTo>
                <a:cubicBezTo>
                  <a:pt x="651" y="84"/>
                  <a:pt x="651" y="84"/>
                  <a:pt x="651" y="84"/>
                </a:cubicBezTo>
                <a:cubicBezTo>
                  <a:pt x="653" y="83"/>
                  <a:pt x="654" y="81"/>
                  <a:pt x="656" y="80"/>
                </a:cubicBezTo>
                <a:cubicBezTo>
                  <a:pt x="656" y="80"/>
                  <a:pt x="656" y="80"/>
                  <a:pt x="656" y="80"/>
                </a:cubicBezTo>
                <a:cubicBezTo>
                  <a:pt x="658" y="78"/>
                  <a:pt x="659" y="77"/>
                  <a:pt x="661" y="75"/>
                </a:cubicBezTo>
                <a:cubicBezTo>
                  <a:pt x="661" y="75"/>
                  <a:pt x="661" y="75"/>
                  <a:pt x="661" y="75"/>
                </a:cubicBezTo>
                <a:cubicBezTo>
                  <a:pt x="662" y="74"/>
                  <a:pt x="664" y="73"/>
                  <a:pt x="666" y="71"/>
                </a:cubicBezTo>
                <a:cubicBezTo>
                  <a:pt x="666" y="71"/>
                  <a:pt x="666" y="71"/>
                  <a:pt x="666" y="71"/>
                </a:cubicBezTo>
                <a:cubicBezTo>
                  <a:pt x="667" y="70"/>
                  <a:pt x="669" y="68"/>
                  <a:pt x="670" y="67"/>
                </a:cubicBezTo>
                <a:cubicBezTo>
                  <a:pt x="670" y="67"/>
                  <a:pt x="670" y="67"/>
                  <a:pt x="670" y="67"/>
                </a:cubicBezTo>
                <a:cubicBezTo>
                  <a:pt x="672" y="66"/>
                  <a:pt x="674" y="64"/>
                  <a:pt x="675" y="63"/>
                </a:cubicBezTo>
                <a:cubicBezTo>
                  <a:pt x="675" y="63"/>
                  <a:pt x="675" y="63"/>
                  <a:pt x="675" y="63"/>
                </a:cubicBezTo>
                <a:cubicBezTo>
                  <a:pt x="677" y="62"/>
                  <a:pt x="679" y="61"/>
                  <a:pt x="680" y="59"/>
                </a:cubicBezTo>
                <a:cubicBezTo>
                  <a:pt x="680" y="59"/>
                  <a:pt x="680" y="59"/>
                  <a:pt x="680" y="59"/>
                </a:cubicBezTo>
                <a:cubicBezTo>
                  <a:pt x="682" y="58"/>
                  <a:pt x="684" y="57"/>
                  <a:pt x="685" y="56"/>
                </a:cubicBezTo>
                <a:cubicBezTo>
                  <a:pt x="685" y="56"/>
                  <a:pt x="685" y="56"/>
                  <a:pt x="685" y="56"/>
                </a:cubicBezTo>
                <a:cubicBezTo>
                  <a:pt x="687" y="54"/>
                  <a:pt x="689" y="53"/>
                  <a:pt x="691" y="52"/>
                </a:cubicBezTo>
                <a:cubicBezTo>
                  <a:pt x="691" y="52"/>
                  <a:pt x="691" y="52"/>
                  <a:pt x="691" y="52"/>
                </a:cubicBezTo>
                <a:cubicBezTo>
                  <a:pt x="692" y="51"/>
                  <a:pt x="694" y="50"/>
                  <a:pt x="696" y="49"/>
                </a:cubicBezTo>
                <a:cubicBezTo>
                  <a:pt x="696" y="49"/>
                  <a:pt x="696" y="49"/>
                  <a:pt x="696" y="49"/>
                </a:cubicBezTo>
                <a:cubicBezTo>
                  <a:pt x="698" y="48"/>
                  <a:pt x="699" y="47"/>
                  <a:pt x="701" y="45"/>
                </a:cubicBezTo>
                <a:cubicBezTo>
                  <a:pt x="701" y="45"/>
                  <a:pt x="701" y="45"/>
                  <a:pt x="701" y="45"/>
                </a:cubicBezTo>
                <a:cubicBezTo>
                  <a:pt x="703" y="44"/>
                  <a:pt x="705" y="43"/>
                  <a:pt x="706" y="42"/>
                </a:cubicBezTo>
                <a:cubicBezTo>
                  <a:pt x="706" y="42"/>
                  <a:pt x="706" y="42"/>
                  <a:pt x="706" y="42"/>
                </a:cubicBezTo>
                <a:cubicBezTo>
                  <a:pt x="710" y="40"/>
                  <a:pt x="714" y="38"/>
                  <a:pt x="717" y="37"/>
                </a:cubicBezTo>
                <a:cubicBezTo>
                  <a:pt x="717" y="37"/>
                  <a:pt x="717" y="37"/>
                  <a:pt x="717" y="37"/>
                </a:cubicBezTo>
                <a:cubicBezTo>
                  <a:pt x="791" y="0"/>
                  <a:pt x="880" y="0"/>
                  <a:pt x="953" y="41"/>
                </a:cubicBezTo>
                <a:cubicBezTo>
                  <a:pt x="953" y="41"/>
                  <a:pt x="953" y="41"/>
                  <a:pt x="953" y="41"/>
                </a:cubicBezTo>
                <a:cubicBezTo>
                  <a:pt x="959" y="44"/>
                  <a:pt x="965" y="48"/>
                  <a:pt x="970" y="51"/>
                </a:cubicBezTo>
                <a:cubicBezTo>
                  <a:pt x="970" y="51"/>
                  <a:pt x="970" y="51"/>
                  <a:pt x="970" y="51"/>
                </a:cubicBezTo>
                <a:cubicBezTo>
                  <a:pt x="972" y="52"/>
                  <a:pt x="973" y="53"/>
                  <a:pt x="975" y="55"/>
                </a:cubicBezTo>
                <a:cubicBezTo>
                  <a:pt x="975" y="55"/>
                  <a:pt x="975" y="55"/>
                  <a:pt x="975" y="55"/>
                </a:cubicBezTo>
                <a:cubicBezTo>
                  <a:pt x="977" y="56"/>
                  <a:pt x="979" y="57"/>
                  <a:pt x="980" y="58"/>
                </a:cubicBezTo>
                <a:cubicBezTo>
                  <a:pt x="980" y="58"/>
                  <a:pt x="980" y="58"/>
                  <a:pt x="980" y="58"/>
                </a:cubicBezTo>
                <a:cubicBezTo>
                  <a:pt x="984" y="61"/>
                  <a:pt x="987" y="64"/>
                  <a:pt x="991" y="66"/>
                </a:cubicBezTo>
                <a:cubicBezTo>
                  <a:pt x="991" y="66"/>
                  <a:pt x="991" y="66"/>
                  <a:pt x="991" y="66"/>
                </a:cubicBezTo>
                <a:cubicBezTo>
                  <a:pt x="993" y="68"/>
                  <a:pt x="994" y="69"/>
                  <a:pt x="996" y="71"/>
                </a:cubicBezTo>
                <a:cubicBezTo>
                  <a:pt x="996" y="71"/>
                  <a:pt x="996" y="71"/>
                  <a:pt x="996" y="71"/>
                </a:cubicBezTo>
                <a:cubicBezTo>
                  <a:pt x="999" y="73"/>
                  <a:pt x="1002" y="76"/>
                  <a:pt x="1006" y="80"/>
                </a:cubicBezTo>
                <a:cubicBezTo>
                  <a:pt x="1006" y="80"/>
                  <a:pt x="1006" y="80"/>
                  <a:pt x="1006" y="80"/>
                </a:cubicBezTo>
                <a:cubicBezTo>
                  <a:pt x="1007" y="81"/>
                  <a:pt x="1009" y="83"/>
                  <a:pt x="1010" y="84"/>
                </a:cubicBezTo>
                <a:cubicBezTo>
                  <a:pt x="1010" y="84"/>
                  <a:pt x="1010" y="84"/>
                  <a:pt x="1010" y="84"/>
                </a:cubicBezTo>
                <a:cubicBezTo>
                  <a:pt x="1012" y="86"/>
                  <a:pt x="1014" y="87"/>
                  <a:pt x="1015" y="89"/>
                </a:cubicBezTo>
                <a:cubicBezTo>
                  <a:pt x="1015" y="89"/>
                  <a:pt x="1015" y="89"/>
                  <a:pt x="1015" y="89"/>
                </a:cubicBezTo>
                <a:cubicBezTo>
                  <a:pt x="1018" y="92"/>
                  <a:pt x="1021" y="96"/>
                  <a:pt x="1024" y="99"/>
                </a:cubicBezTo>
                <a:cubicBezTo>
                  <a:pt x="1024" y="99"/>
                  <a:pt x="1024" y="99"/>
                  <a:pt x="1024" y="99"/>
                </a:cubicBezTo>
                <a:cubicBezTo>
                  <a:pt x="1026" y="101"/>
                  <a:pt x="1027" y="102"/>
                  <a:pt x="1028" y="104"/>
                </a:cubicBezTo>
                <a:cubicBezTo>
                  <a:pt x="1028" y="104"/>
                  <a:pt x="1028" y="104"/>
                  <a:pt x="1028" y="104"/>
                </a:cubicBezTo>
                <a:cubicBezTo>
                  <a:pt x="1031" y="107"/>
                  <a:pt x="1034" y="111"/>
                  <a:pt x="1036" y="114"/>
                </a:cubicBezTo>
                <a:cubicBezTo>
                  <a:pt x="1036" y="114"/>
                  <a:pt x="1036" y="114"/>
                  <a:pt x="1036" y="114"/>
                </a:cubicBezTo>
                <a:cubicBezTo>
                  <a:pt x="1038" y="116"/>
                  <a:pt x="1039" y="118"/>
                  <a:pt x="1040" y="119"/>
                </a:cubicBezTo>
                <a:cubicBezTo>
                  <a:pt x="1040" y="119"/>
                  <a:pt x="1040" y="119"/>
                  <a:pt x="1040" y="119"/>
                </a:cubicBezTo>
                <a:cubicBezTo>
                  <a:pt x="1041" y="121"/>
                  <a:pt x="1042" y="123"/>
                  <a:pt x="1044" y="125"/>
                </a:cubicBezTo>
                <a:cubicBezTo>
                  <a:pt x="1044" y="125"/>
                  <a:pt x="1044" y="125"/>
                  <a:pt x="1044" y="125"/>
                </a:cubicBezTo>
                <a:cubicBezTo>
                  <a:pt x="1047" y="130"/>
                  <a:pt x="1050" y="136"/>
                  <a:pt x="1054" y="141"/>
                </a:cubicBezTo>
                <a:cubicBezTo>
                  <a:pt x="1054" y="141"/>
                  <a:pt x="1054" y="141"/>
                  <a:pt x="1054" y="141"/>
                </a:cubicBezTo>
                <a:cubicBezTo>
                  <a:pt x="1095" y="215"/>
                  <a:pt x="1095" y="304"/>
                  <a:pt x="1058" y="377"/>
                </a:cubicBezTo>
                <a:cubicBezTo>
                  <a:pt x="1058" y="377"/>
                  <a:pt x="1058" y="377"/>
                  <a:pt x="1058" y="377"/>
                </a:cubicBezTo>
                <a:cubicBezTo>
                  <a:pt x="1056" y="381"/>
                  <a:pt x="1054" y="385"/>
                  <a:pt x="1052" y="388"/>
                </a:cubicBezTo>
                <a:cubicBezTo>
                  <a:pt x="1052" y="388"/>
                  <a:pt x="1052" y="388"/>
                  <a:pt x="1052" y="388"/>
                </a:cubicBezTo>
                <a:cubicBezTo>
                  <a:pt x="1051" y="390"/>
                  <a:pt x="1050" y="392"/>
                  <a:pt x="1049" y="394"/>
                </a:cubicBezTo>
                <a:cubicBezTo>
                  <a:pt x="1049" y="394"/>
                  <a:pt x="1049" y="394"/>
                  <a:pt x="1049" y="394"/>
                </a:cubicBezTo>
                <a:cubicBezTo>
                  <a:pt x="1048" y="395"/>
                  <a:pt x="1047" y="397"/>
                  <a:pt x="1046" y="399"/>
                </a:cubicBezTo>
                <a:cubicBezTo>
                  <a:pt x="1046" y="399"/>
                  <a:pt x="1046" y="399"/>
                  <a:pt x="1046" y="399"/>
                </a:cubicBezTo>
                <a:cubicBezTo>
                  <a:pt x="1045" y="401"/>
                  <a:pt x="1044" y="402"/>
                  <a:pt x="1043" y="404"/>
                </a:cubicBezTo>
                <a:cubicBezTo>
                  <a:pt x="1043" y="404"/>
                  <a:pt x="1043" y="404"/>
                  <a:pt x="1043" y="404"/>
                </a:cubicBezTo>
                <a:cubicBezTo>
                  <a:pt x="1041" y="406"/>
                  <a:pt x="1040" y="408"/>
                  <a:pt x="1039" y="409"/>
                </a:cubicBezTo>
                <a:cubicBezTo>
                  <a:pt x="1039" y="409"/>
                  <a:pt x="1039" y="409"/>
                  <a:pt x="1039" y="409"/>
                </a:cubicBezTo>
                <a:cubicBezTo>
                  <a:pt x="1038" y="411"/>
                  <a:pt x="1037" y="413"/>
                  <a:pt x="1035" y="414"/>
                </a:cubicBezTo>
                <a:cubicBezTo>
                  <a:pt x="1035" y="414"/>
                  <a:pt x="1035" y="414"/>
                  <a:pt x="1035" y="414"/>
                </a:cubicBezTo>
                <a:cubicBezTo>
                  <a:pt x="1034" y="416"/>
                  <a:pt x="1033" y="418"/>
                  <a:pt x="1031" y="419"/>
                </a:cubicBezTo>
                <a:cubicBezTo>
                  <a:pt x="1031" y="419"/>
                  <a:pt x="1031" y="419"/>
                  <a:pt x="1031" y="419"/>
                </a:cubicBezTo>
                <a:cubicBezTo>
                  <a:pt x="1030" y="421"/>
                  <a:pt x="1029" y="423"/>
                  <a:pt x="1028" y="424"/>
                </a:cubicBezTo>
                <a:cubicBezTo>
                  <a:pt x="1028" y="424"/>
                  <a:pt x="1028" y="424"/>
                  <a:pt x="1028" y="424"/>
                </a:cubicBezTo>
                <a:cubicBezTo>
                  <a:pt x="1026" y="426"/>
                  <a:pt x="1025" y="428"/>
                  <a:pt x="1023" y="429"/>
                </a:cubicBezTo>
                <a:cubicBezTo>
                  <a:pt x="1023" y="429"/>
                  <a:pt x="1023" y="429"/>
                  <a:pt x="1023" y="429"/>
                </a:cubicBezTo>
                <a:cubicBezTo>
                  <a:pt x="1022" y="431"/>
                  <a:pt x="1021" y="432"/>
                  <a:pt x="1019" y="434"/>
                </a:cubicBezTo>
                <a:cubicBezTo>
                  <a:pt x="1019" y="434"/>
                  <a:pt x="1019" y="434"/>
                  <a:pt x="1019" y="434"/>
                </a:cubicBezTo>
                <a:cubicBezTo>
                  <a:pt x="1018" y="436"/>
                  <a:pt x="1016" y="437"/>
                  <a:pt x="1015" y="439"/>
                </a:cubicBezTo>
                <a:cubicBezTo>
                  <a:pt x="1015" y="439"/>
                  <a:pt x="1015" y="439"/>
                  <a:pt x="1015" y="439"/>
                </a:cubicBezTo>
                <a:cubicBezTo>
                  <a:pt x="1013" y="440"/>
                  <a:pt x="1012" y="442"/>
                  <a:pt x="1010" y="443"/>
                </a:cubicBezTo>
                <a:cubicBezTo>
                  <a:pt x="1010" y="443"/>
                  <a:pt x="1010" y="443"/>
                  <a:pt x="1010" y="443"/>
                </a:cubicBezTo>
                <a:cubicBezTo>
                  <a:pt x="1010" y="444"/>
                  <a:pt x="1010" y="444"/>
                  <a:pt x="1010" y="444"/>
                </a:cubicBezTo>
                <a:cubicBezTo>
                  <a:pt x="1009" y="445"/>
                  <a:pt x="1008" y="445"/>
                  <a:pt x="1008" y="446"/>
                </a:cubicBezTo>
                <a:cubicBezTo>
                  <a:pt x="1007" y="447"/>
                  <a:pt x="1006" y="448"/>
                  <a:pt x="1005" y="448"/>
                </a:cubicBezTo>
                <a:cubicBezTo>
                  <a:pt x="1005" y="448"/>
                  <a:pt x="1005" y="448"/>
                  <a:pt x="1005" y="448"/>
                </a:cubicBezTo>
                <a:cubicBezTo>
                  <a:pt x="937" y="513"/>
                  <a:pt x="863" y="516"/>
                  <a:pt x="782" y="547"/>
                </a:cubicBezTo>
                <a:cubicBezTo>
                  <a:pt x="737" y="565"/>
                  <a:pt x="690" y="592"/>
                  <a:pt x="640" y="641"/>
                </a:cubicBezTo>
                <a:cubicBezTo>
                  <a:pt x="593" y="690"/>
                  <a:pt x="566" y="736"/>
                  <a:pt x="548" y="780"/>
                </a:cubicBezTo>
                <a:cubicBezTo>
                  <a:pt x="518" y="859"/>
                  <a:pt x="515" y="931"/>
                  <a:pt x="454" y="999"/>
                </a:cubicBezTo>
                <a:cubicBezTo>
                  <a:pt x="453" y="1000"/>
                  <a:pt x="452" y="1001"/>
                  <a:pt x="451" y="1002"/>
                </a:cubicBezTo>
                <a:cubicBezTo>
                  <a:pt x="450" y="1004"/>
                  <a:pt x="450" y="1004"/>
                  <a:pt x="450" y="1004"/>
                </a:cubicBezTo>
                <a:cubicBezTo>
                  <a:pt x="448" y="1006"/>
                  <a:pt x="446" y="1008"/>
                  <a:pt x="444" y="1010"/>
                </a:cubicBezTo>
                <a:cubicBezTo>
                  <a:pt x="444" y="1010"/>
                  <a:pt x="444" y="1010"/>
                  <a:pt x="444" y="1010"/>
                </a:cubicBezTo>
                <a:cubicBezTo>
                  <a:pt x="444" y="1010"/>
                  <a:pt x="444" y="1010"/>
                  <a:pt x="444" y="1010"/>
                </a:cubicBezTo>
                <a:cubicBezTo>
                  <a:pt x="443" y="1011"/>
                  <a:pt x="441" y="1013"/>
                  <a:pt x="439" y="1014"/>
                </a:cubicBezTo>
                <a:cubicBezTo>
                  <a:pt x="439" y="1014"/>
                  <a:pt x="439" y="1014"/>
                  <a:pt x="439" y="1014"/>
                </a:cubicBezTo>
                <a:cubicBezTo>
                  <a:pt x="438" y="1016"/>
                  <a:pt x="436" y="1017"/>
                  <a:pt x="435" y="1019"/>
                </a:cubicBezTo>
                <a:cubicBezTo>
                  <a:pt x="435" y="1019"/>
                  <a:pt x="435" y="1019"/>
                  <a:pt x="435" y="1019"/>
                </a:cubicBezTo>
                <a:cubicBezTo>
                  <a:pt x="433" y="1020"/>
                  <a:pt x="432" y="1021"/>
                  <a:pt x="430" y="1023"/>
                </a:cubicBezTo>
                <a:cubicBezTo>
                  <a:pt x="430" y="1023"/>
                  <a:pt x="430" y="1023"/>
                  <a:pt x="430" y="1023"/>
                </a:cubicBezTo>
                <a:cubicBezTo>
                  <a:pt x="428" y="1024"/>
                  <a:pt x="427" y="1026"/>
                  <a:pt x="425" y="1027"/>
                </a:cubicBezTo>
                <a:cubicBezTo>
                  <a:pt x="425" y="1027"/>
                  <a:pt x="425" y="1027"/>
                  <a:pt x="425" y="1027"/>
                </a:cubicBezTo>
                <a:cubicBezTo>
                  <a:pt x="423" y="1028"/>
                  <a:pt x="422" y="1030"/>
                  <a:pt x="420" y="1031"/>
                </a:cubicBezTo>
                <a:cubicBezTo>
                  <a:pt x="420" y="1031"/>
                  <a:pt x="420" y="1031"/>
                  <a:pt x="420" y="1031"/>
                </a:cubicBezTo>
                <a:cubicBezTo>
                  <a:pt x="419" y="1032"/>
                  <a:pt x="417" y="1033"/>
                  <a:pt x="415" y="1035"/>
                </a:cubicBezTo>
                <a:cubicBezTo>
                  <a:pt x="415" y="1035"/>
                  <a:pt x="415" y="1035"/>
                  <a:pt x="415" y="1035"/>
                </a:cubicBezTo>
                <a:cubicBezTo>
                  <a:pt x="414" y="1036"/>
                  <a:pt x="412" y="1037"/>
                  <a:pt x="410" y="1038"/>
                </a:cubicBezTo>
                <a:cubicBezTo>
                  <a:pt x="410" y="1038"/>
                  <a:pt x="410" y="1038"/>
                  <a:pt x="410" y="1038"/>
                </a:cubicBezTo>
                <a:cubicBezTo>
                  <a:pt x="408" y="1039"/>
                  <a:pt x="407" y="1041"/>
                  <a:pt x="405" y="1042"/>
                </a:cubicBezTo>
                <a:cubicBezTo>
                  <a:pt x="405" y="1042"/>
                  <a:pt x="405" y="1042"/>
                  <a:pt x="405" y="1042"/>
                </a:cubicBezTo>
                <a:cubicBezTo>
                  <a:pt x="403" y="1043"/>
                  <a:pt x="401" y="1044"/>
                  <a:pt x="400" y="1045"/>
                </a:cubicBezTo>
                <a:cubicBezTo>
                  <a:pt x="400" y="1045"/>
                  <a:pt x="400" y="1045"/>
                  <a:pt x="400" y="1045"/>
                </a:cubicBezTo>
                <a:cubicBezTo>
                  <a:pt x="398" y="1046"/>
                  <a:pt x="396" y="1047"/>
                  <a:pt x="394" y="1048"/>
                </a:cubicBezTo>
                <a:cubicBezTo>
                  <a:pt x="394" y="1048"/>
                  <a:pt x="394" y="1048"/>
                  <a:pt x="394" y="1048"/>
                </a:cubicBezTo>
                <a:cubicBezTo>
                  <a:pt x="393" y="1050"/>
                  <a:pt x="391" y="1051"/>
                  <a:pt x="389" y="1052"/>
                </a:cubicBezTo>
                <a:cubicBezTo>
                  <a:pt x="389" y="1052"/>
                  <a:pt x="389" y="1052"/>
                  <a:pt x="389" y="1052"/>
                </a:cubicBezTo>
                <a:cubicBezTo>
                  <a:pt x="385" y="1054"/>
                  <a:pt x="382" y="1055"/>
                  <a:pt x="378" y="1057"/>
                </a:cubicBezTo>
                <a:cubicBezTo>
                  <a:pt x="378" y="1057"/>
                  <a:pt x="378" y="1057"/>
                  <a:pt x="378" y="1057"/>
                </a:cubicBezTo>
                <a:cubicBezTo>
                  <a:pt x="305" y="1094"/>
                  <a:pt x="216" y="1094"/>
                  <a:pt x="142" y="1053"/>
                </a:cubicBezTo>
                <a:cubicBezTo>
                  <a:pt x="142" y="1053"/>
                  <a:pt x="142" y="1053"/>
                  <a:pt x="142" y="1053"/>
                </a:cubicBezTo>
                <a:cubicBezTo>
                  <a:pt x="136" y="1050"/>
                  <a:pt x="131" y="1046"/>
                  <a:pt x="126" y="1043"/>
                </a:cubicBezTo>
                <a:cubicBezTo>
                  <a:pt x="126" y="1043"/>
                  <a:pt x="126" y="1043"/>
                  <a:pt x="126" y="1043"/>
                </a:cubicBezTo>
                <a:cubicBezTo>
                  <a:pt x="124" y="1042"/>
                  <a:pt x="122" y="1040"/>
                  <a:pt x="120" y="1039"/>
                </a:cubicBezTo>
                <a:cubicBezTo>
                  <a:pt x="120" y="1039"/>
                  <a:pt x="120" y="1039"/>
                  <a:pt x="120" y="1039"/>
                </a:cubicBezTo>
                <a:cubicBezTo>
                  <a:pt x="119" y="1038"/>
                  <a:pt x="117" y="1037"/>
                  <a:pt x="115" y="1035"/>
                </a:cubicBezTo>
                <a:cubicBezTo>
                  <a:pt x="115" y="1035"/>
                  <a:pt x="115" y="1035"/>
                  <a:pt x="115" y="1035"/>
                </a:cubicBezTo>
                <a:cubicBezTo>
                  <a:pt x="112" y="1033"/>
                  <a:pt x="108" y="1030"/>
                  <a:pt x="105" y="1028"/>
                </a:cubicBezTo>
                <a:cubicBezTo>
                  <a:pt x="105" y="1027"/>
                  <a:pt x="105" y="1027"/>
                  <a:pt x="105" y="1027"/>
                </a:cubicBezTo>
                <a:cubicBezTo>
                  <a:pt x="103" y="1026"/>
                  <a:pt x="101" y="1025"/>
                  <a:pt x="100" y="1023"/>
                </a:cubicBezTo>
                <a:cubicBezTo>
                  <a:pt x="100" y="1023"/>
                  <a:pt x="100" y="1023"/>
                  <a:pt x="100" y="1023"/>
                </a:cubicBezTo>
                <a:cubicBezTo>
                  <a:pt x="96" y="1020"/>
                  <a:pt x="93" y="1018"/>
                  <a:pt x="90" y="1014"/>
                </a:cubicBezTo>
                <a:cubicBezTo>
                  <a:pt x="90" y="1014"/>
                  <a:pt x="90" y="1014"/>
                  <a:pt x="90" y="1014"/>
                </a:cubicBezTo>
                <a:cubicBezTo>
                  <a:pt x="88" y="1013"/>
                  <a:pt x="87" y="1011"/>
                  <a:pt x="85" y="1010"/>
                </a:cubicBezTo>
                <a:cubicBezTo>
                  <a:pt x="85" y="1010"/>
                  <a:pt x="85" y="1010"/>
                  <a:pt x="85" y="1010"/>
                </a:cubicBezTo>
                <a:cubicBezTo>
                  <a:pt x="83" y="1008"/>
                  <a:pt x="82" y="1007"/>
                  <a:pt x="80" y="1005"/>
                </a:cubicBezTo>
                <a:cubicBezTo>
                  <a:pt x="80" y="1005"/>
                  <a:pt x="80" y="1005"/>
                  <a:pt x="80" y="1005"/>
                </a:cubicBezTo>
                <a:cubicBezTo>
                  <a:pt x="77" y="1002"/>
                  <a:pt x="74" y="998"/>
                  <a:pt x="71" y="995"/>
                </a:cubicBezTo>
                <a:cubicBezTo>
                  <a:pt x="71" y="995"/>
                  <a:pt x="71" y="995"/>
                  <a:pt x="71" y="995"/>
                </a:cubicBezTo>
                <a:cubicBezTo>
                  <a:pt x="70" y="993"/>
                  <a:pt x="69" y="992"/>
                  <a:pt x="67" y="990"/>
                </a:cubicBezTo>
                <a:cubicBezTo>
                  <a:pt x="67" y="990"/>
                  <a:pt x="67" y="990"/>
                  <a:pt x="67" y="990"/>
                </a:cubicBezTo>
                <a:cubicBezTo>
                  <a:pt x="64" y="987"/>
                  <a:pt x="62" y="983"/>
                  <a:pt x="59" y="980"/>
                </a:cubicBezTo>
                <a:cubicBezTo>
                  <a:pt x="59" y="980"/>
                  <a:pt x="59" y="980"/>
                  <a:pt x="59" y="980"/>
                </a:cubicBezTo>
                <a:cubicBezTo>
                  <a:pt x="58" y="978"/>
                  <a:pt x="57" y="976"/>
                  <a:pt x="55" y="974"/>
                </a:cubicBezTo>
                <a:cubicBezTo>
                  <a:pt x="55" y="974"/>
                  <a:pt x="55" y="974"/>
                  <a:pt x="55" y="974"/>
                </a:cubicBezTo>
                <a:cubicBezTo>
                  <a:pt x="54" y="973"/>
                  <a:pt x="53" y="971"/>
                  <a:pt x="52" y="969"/>
                </a:cubicBezTo>
                <a:cubicBezTo>
                  <a:pt x="52" y="969"/>
                  <a:pt x="52" y="969"/>
                  <a:pt x="52" y="969"/>
                </a:cubicBezTo>
                <a:cubicBezTo>
                  <a:pt x="48" y="964"/>
                  <a:pt x="45" y="958"/>
                  <a:pt x="42" y="953"/>
                </a:cubicBezTo>
                <a:cubicBezTo>
                  <a:pt x="42" y="953"/>
                  <a:pt x="42" y="953"/>
                  <a:pt x="42" y="953"/>
                </a:cubicBezTo>
                <a:cubicBezTo>
                  <a:pt x="1" y="879"/>
                  <a:pt x="0" y="790"/>
                  <a:pt x="37" y="717"/>
                </a:cubicBezTo>
                <a:cubicBezTo>
                  <a:pt x="37" y="717"/>
                  <a:pt x="37" y="717"/>
                  <a:pt x="37" y="717"/>
                </a:cubicBezTo>
                <a:cubicBezTo>
                  <a:pt x="39" y="713"/>
                  <a:pt x="41" y="709"/>
                  <a:pt x="43" y="706"/>
                </a:cubicBezTo>
                <a:cubicBezTo>
                  <a:pt x="43" y="706"/>
                  <a:pt x="43" y="706"/>
                  <a:pt x="43" y="706"/>
                </a:cubicBezTo>
                <a:cubicBezTo>
                  <a:pt x="44" y="704"/>
                  <a:pt x="45" y="702"/>
                  <a:pt x="46" y="700"/>
                </a:cubicBezTo>
                <a:cubicBezTo>
                  <a:pt x="46" y="700"/>
                  <a:pt x="46" y="700"/>
                  <a:pt x="46" y="700"/>
                </a:cubicBezTo>
                <a:cubicBezTo>
                  <a:pt x="47" y="699"/>
                  <a:pt x="48" y="697"/>
                  <a:pt x="50" y="695"/>
                </a:cubicBezTo>
                <a:cubicBezTo>
                  <a:pt x="50" y="695"/>
                  <a:pt x="50" y="695"/>
                  <a:pt x="50" y="695"/>
                </a:cubicBezTo>
                <a:cubicBezTo>
                  <a:pt x="51" y="693"/>
                  <a:pt x="52" y="692"/>
                  <a:pt x="53" y="690"/>
                </a:cubicBezTo>
                <a:cubicBezTo>
                  <a:pt x="53" y="690"/>
                  <a:pt x="53" y="690"/>
                  <a:pt x="53" y="690"/>
                </a:cubicBezTo>
                <a:cubicBezTo>
                  <a:pt x="54" y="688"/>
                  <a:pt x="55" y="686"/>
                  <a:pt x="56" y="685"/>
                </a:cubicBezTo>
                <a:cubicBezTo>
                  <a:pt x="56" y="685"/>
                  <a:pt x="56" y="685"/>
                  <a:pt x="56" y="685"/>
                </a:cubicBezTo>
                <a:cubicBezTo>
                  <a:pt x="58" y="683"/>
                  <a:pt x="59" y="681"/>
                  <a:pt x="60" y="680"/>
                </a:cubicBezTo>
                <a:cubicBezTo>
                  <a:pt x="60" y="680"/>
                  <a:pt x="60" y="680"/>
                  <a:pt x="60" y="680"/>
                </a:cubicBezTo>
                <a:cubicBezTo>
                  <a:pt x="61" y="678"/>
                  <a:pt x="63" y="676"/>
                  <a:pt x="64" y="675"/>
                </a:cubicBezTo>
                <a:cubicBezTo>
                  <a:pt x="64" y="675"/>
                  <a:pt x="64" y="675"/>
                  <a:pt x="64" y="675"/>
                </a:cubicBezTo>
                <a:cubicBezTo>
                  <a:pt x="65" y="673"/>
                  <a:pt x="67" y="671"/>
                  <a:pt x="68" y="670"/>
                </a:cubicBezTo>
                <a:cubicBezTo>
                  <a:pt x="68" y="670"/>
                  <a:pt x="68" y="670"/>
                  <a:pt x="68" y="670"/>
                </a:cubicBezTo>
                <a:cubicBezTo>
                  <a:pt x="69" y="668"/>
                  <a:pt x="71" y="666"/>
                  <a:pt x="72" y="665"/>
                </a:cubicBezTo>
                <a:cubicBezTo>
                  <a:pt x="72" y="665"/>
                  <a:pt x="72" y="665"/>
                  <a:pt x="72" y="665"/>
                </a:cubicBezTo>
                <a:cubicBezTo>
                  <a:pt x="73" y="663"/>
                  <a:pt x="75" y="662"/>
                  <a:pt x="76" y="660"/>
                </a:cubicBezTo>
                <a:cubicBezTo>
                  <a:pt x="76" y="660"/>
                  <a:pt x="76" y="660"/>
                  <a:pt x="76" y="660"/>
                </a:cubicBezTo>
                <a:cubicBezTo>
                  <a:pt x="78" y="658"/>
                  <a:pt x="79" y="657"/>
                  <a:pt x="80" y="655"/>
                </a:cubicBezTo>
                <a:cubicBezTo>
                  <a:pt x="80" y="655"/>
                  <a:pt x="80" y="655"/>
                  <a:pt x="80" y="655"/>
                </a:cubicBezTo>
                <a:cubicBezTo>
                  <a:pt x="82" y="654"/>
                  <a:pt x="83" y="652"/>
                  <a:pt x="85" y="651"/>
                </a:cubicBezTo>
                <a:cubicBezTo>
                  <a:pt x="85" y="651"/>
                  <a:pt x="85" y="651"/>
                  <a:pt x="85" y="651"/>
                </a:cubicBezTo>
                <a:cubicBezTo>
                  <a:pt x="85" y="651"/>
                  <a:pt x="85" y="651"/>
                  <a:pt x="85" y="651"/>
                </a:cubicBezTo>
                <a:cubicBezTo>
                  <a:pt x="87" y="649"/>
                  <a:pt x="89" y="647"/>
                  <a:pt x="91" y="645"/>
                </a:cubicBezTo>
                <a:cubicBezTo>
                  <a:pt x="91" y="644"/>
                  <a:pt x="92" y="644"/>
                  <a:pt x="92" y="643"/>
                </a:cubicBezTo>
                <a:cubicBezTo>
                  <a:pt x="94" y="642"/>
                  <a:pt x="95" y="641"/>
                  <a:pt x="96" y="640"/>
                </a:cubicBezTo>
                <a:cubicBezTo>
                  <a:pt x="163" y="580"/>
                  <a:pt x="236" y="577"/>
                  <a:pt x="315" y="547"/>
                </a:cubicBezTo>
                <a:close/>
              </a:path>
            </a:pathLst>
          </a:custGeom>
          <a:gradFill flip="none" rotWithShape="1">
            <a:gsLst>
              <a:gs pos="59000">
                <a:schemeClr val="accent1"/>
              </a:gs>
              <a:gs pos="36000">
                <a:schemeClr val="accent1">
                  <a:lumMod val="60000"/>
                  <a:lumOff val="40000"/>
                </a:schemeClr>
              </a:gs>
              <a:gs pos="0">
                <a:schemeClr val="accent1">
                  <a:lumMod val="20000"/>
                  <a:lumOff val="80000"/>
                </a:schemeClr>
              </a:gs>
              <a:gs pos="16000">
                <a:schemeClr val="accent1">
                  <a:lumMod val="40000"/>
                  <a:lumOff val="60000"/>
                </a:schemeClr>
              </a:gs>
            </a:gsLst>
            <a:lin ang="0" scaled="1"/>
            <a:tileRect/>
          </a:gradFill>
          <a:ln>
            <a:noFill/>
          </a:ln>
          <a:effectLst>
            <a:outerShdw blurRad="609600" sx="102000" sy="102000" algn="ctr" rotWithShape="0">
              <a:schemeClr val="accent1">
                <a:lumMod val="75000"/>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20" name="Oval 19">
            <a:extLst>
              <a:ext uri="{FF2B5EF4-FFF2-40B4-BE49-F238E27FC236}">
                <a16:creationId xmlns:a16="http://schemas.microsoft.com/office/drawing/2014/main" id="{8865D4AB-3FE3-42AE-A3F3-780C42B0AA83}"/>
              </a:ext>
            </a:extLst>
          </p:cNvPr>
          <p:cNvSpPr>
            <a:spLocks noChangeArrowheads="1"/>
          </p:cNvSpPr>
          <p:nvPr/>
        </p:nvSpPr>
        <p:spPr bwMode="auto">
          <a:xfrm>
            <a:off x="8739845" y="5150682"/>
            <a:ext cx="676201" cy="676201"/>
          </a:xfrm>
          <a:prstGeom prst="ellipse">
            <a:avLst/>
          </a:prstGeom>
          <a:solidFill>
            <a:srgbClr val="FEFE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7150" tIns="28575" rIns="57150" bIns="28575"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25" b="0" i="0" u="none" strike="noStrike" kern="1200" cap="none" spc="0" normalizeH="0" baseline="0" noProof="0">
              <a:ln>
                <a:noFill/>
              </a:ln>
              <a:solidFill>
                <a:srgbClr val="3F3F3F"/>
              </a:solidFill>
              <a:effectLst/>
              <a:uLnTx/>
              <a:uFillTx/>
              <a:latin typeface="HarmonyOS Sans SC"/>
              <a:cs typeface="+mn-cs"/>
            </a:endParaRPr>
          </a:p>
        </p:txBody>
      </p:sp>
      <p:sp>
        <p:nvSpPr>
          <p:cNvPr id="21" name="Freeform 20">
            <a:extLst>
              <a:ext uri="{FF2B5EF4-FFF2-40B4-BE49-F238E27FC236}">
                <a16:creationId xmlns:a16="http://schemas.microsoft.com/office/drawing/2014/main" id="{1521B190-F869-4C4C-A8A5-D71D16CBE5E0}"/>
              </a:ext>
            </a:extLst>
          </p:cNvPr>
          <p:cNvSpPr>
            <a:spLocks/>
          </p:cNvSpPr>
          <p:nvPr/>
        </p:nvSpPr>
        <p:spPr bwMode="auto">
          <a:xfrm>
            <a:off x="9578510" y="4249666"/>
            <a:ext cx="742943" cy="741186"/>
          </a:xfrm>
          <a:custGeom>
            <a:avLst/>
            <a:gdLst>
              <a:gd name="T0" fmla="*/ 397 w 483"/>
              <a:gd name="T1" fmla="*/ 86 h 483"/>
              <a:gd name="T2" fmla="*/ 86 w 483"/>
              <a:gd name="T3" fmla="*/ 86 h 483"/>
              <a:gd name="T4" fmla="*/ 86 w 483"/>
              <a:gd name="T5" fmla="*/ 397 h 483"/>
              <a:gd name="T6" fmla="*/ 397 w 483"/>
              <a:gd name="T7" fmla="*/ 397 h 483"/>
              <a:gd name="T8" fmla="*/ 397 w 483"/>
              <a:gd name="T9" fmla="*/ 86 h 483"/>
            </a:gdLst>
            <a:ahLst/>
            <a:cxnLst>
              <a:cxn ang="0">
                <a:pos x="T0" y="T1"/>
              </a:cxn>
              <a:cxn ang="0">
                <a:pos x="T2" y="T3"/>
              </a:cxn>
              <a:cxn ang="0">
                <a:pos x="T4" y="T5"/>
              </a:cxn>
              <a:cxn ang="0">
                <a:pos x="T6" y="T7"/>
              </a:cxn>
              <a:cxn ang="0">
                <a:pos x="T8" y="T9"/>
              </a:cxn>
            </a:cxnLst>
            <a:rect l="0" t="0" r="r" b="b"/>
            <a:pathLst>
              <a:path w="483" h="483">
                <a:moveTo>
                  <a:pt x="397" y="86"/>
                </a:moveTo>
                <a:cubicBezTo>
                  <a:pt x="311" y="0"/>
                  <a:pt x="172" y="0"/>
                  <a:pt x="86" y="86"/>
                </a:cubicBezTo>
                <a:cubicBezTo>
                  <a:pt x="0" y="172"/>
                  <a:pt x="0" y="311"/>
                  <a:pt x="86" y="397"/>
                </a:cubicBezTo>
                <a:cubicBezTo>
                  <a:pt x="172" y="483"/>
                  <a:pt x="311" y="483"/>
                  <a:pt x="397" y="397"/>
                </a:cubicBezTo>
                <a:cubicBezTo>
                  <a:pt x="483" y="311"/>
                  <a:pt x="483" y="172"/>
                  <a:pt x="397" y="86"/>
                </a:cubicBezTo>
                <a:close/>
              </a:path>
            </a:pathLst>
          </a:custGeom>
          <a:solidFill>
            <a:srgbClr val="FEFE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7150" tIns="28575" rIns="57150" bIns="28575"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25" b="0" i="0" u="none" strike="noStrike" kern="1200" cap="none" spc="0" normalizeH="0" baseline="0" noProof="0">
              <a:ln>
                <a:noFill/>
              </a:ln>
              <a:solidFill>
                <a:srgbClr val="3F3F3F"/>
              </a:solidFill>
              <a:effectLst/>
              <a:uLnTx/>
              <a:uFillTx/>
              <a:latin typeface="HarmonyOS Sans SC"/>
              <a:cs typeface="+mn-cs"/>
            </a:endParaRPr>
          </a:p>
        </p:txBody>
      </p:sp>
      <p:sp>
        <p:nvSpPr>
          <p:cNvPr id="22" name="Freeform 84">
            <a:extLst>
              <a:ext uri="{FF2B5EF4-FFF2-40B4-BE49-F238E27FC236}">
                <a16:creationId xmlns:a16="http://schemas.microsoft.com/office/drawing/2014/main" id="{4C2AD2B7-8178-48C3-954D-7438D7F4F540}"/>
              </a:ext>
            </a:extLst>
          </p:cNvPr>
          <p:cNvSpPr>
            <a:spLocks noEditPoints="1"/>
          </p:cNvSpPr>
          <p:nvPr/>
        </p:nvSpPr>
        <p:spPr bwMode="auto">
          <a:xfrm>
            <a:off x="7750267" y="5395086"/>
            <a:ext cx="212251" cy="187394"/>
          </a:xfrm>
          <a:custGeom>
            <a:avLst/>
            <a:gdLst>
              <a:gd name="T0" fmla="*/ 42 w 583"/>
              <a:gd name="T1" fmla="*/ 343 h 515"/>
              <a:gd name="T2" fmla="*/ 0 w 583"/>
              <a:gd name="T3" fmla="*/ 386 h 515"/>
              <a:gd name="T4" fmla="*/ 0 w 583"/>
              <a:gd name="T5" fmla="*/ 472 h 515"/>
              <a:gd name="T6" fmla="*/ 42 w 583"/>
              <a:gd name="T7" fmla="*/ 515 h 515"/>
              <a:gd name="T8" fmla="*/ 85 w 583"/>
              <a:gd name="T9" fmla="*/ 472 h 515"/>
              <a:gd name="T10" fmla="*/ 85 w 583"/>
              <a:gd name="T11" fmla="*/ 386 h 515"/>
              <a:gd name="T12" fmla="*/ 42 w 583"/>
              <a:gd name="T13" fmla="*/ 343 h 515"/>
              <a:gd name="T14" fmla="*/ 540 w 583"/>
              <a:gd name="T15" fmla="*/ 0 h 515"/>
              <a:gd name="T16" fmla="*/ 497 w 583"/>
              <a:gd name="T17" fmla="*/ 43 h 515"/>
              <a:gd name="T18" fmla="*/ 497 w 583"/>
              <a:gd name="T19" fmla="*/ 472 h 515"/>
              <a:gd name="T20" fmla="*/ 540 w 583"/>
              <a:gd name="T21" fmla="*/ 515 h 515"/>
              <a:gd name="T22" fmla="*/ 583 w 583"/>
              <a:gd name="T23" fmla="*/ 472 h 515"/>
              <a:gd name="T24" fmla="*/ 583 w 583"/>
              <a:gd name="T25" fmla="*/ 43 h 515"/>
              <a:gd name="T26" fmla="*/ 540 w 583"/>
              <a:gd name="T27" fmla="*/ 0 h 515"/>
              <a:gd name="T28" fmla="*/ 416 w 583"/>
              <a:gd name="T29" fmla="*/ 86 h 515"/>
              <a:gd name="T30" fmla="*/ 374 w 583"/>
              <a:gd name="T31" fmla="*/ 129 h 515"/>
              <a:gd name="T32" fmla="*/ 374 w 583"/>
              <a:gd name="T33" fmla="*/ 472 h 515"/>
              <a:gd name="T34" fmla="*/ 416 w 583"/>
              <a:gd name="T35" fmla="*/ 515 h 515"/>
              <a:gd name="T36" fmla="*/ 459 w 583"/>
              <a:gd name="T37" fmla="*/ 472 h 515"/>
              <a:gd name="T38" fmla="*/ 459 w 583"/>
              <a:gd name="T39" fmla="*/ 129 h 515"/>
              <a:gd name="T40" fmla="*/ 416 w 583"/>
              <a:gd name="T41" fmla="*/ 86 h 515"/>
              <a:gd name="T42" fmla="*/ 291 w 583"/>
              <a:gd name="T43" fmla="*/ 172 h 515"/>
              <a:gd name="T44" fmla="*/ 248 w 583"/>
              <a:gd name="T45" fmla="*/ 214 h 515"/>
              <a:gd name="T46" fmla="*/ 248 w 583"/>
              <a:gd name="T47" fmla="*/ 472 h 515"/>
              <a:gd name="T48" fmla="*/ 291 w 583"/>
              <a:gd name="T49" fmla="*/ 515 h 515"/>
              <a:gd name="T50" fmla="*/ 334 w 583"/>
              <a:gd name="T51" fmla="*/ 472 h 515"/>
              <a:gd name="T52" fmla="*/ 334 w 583"/>
              <a:gd name="T53" fmla="*/ 214 h 515"/>
              <a:gd name="T54" fmla="*/ 291 w 583"/>
              <a:gd name="T55" fmla="*/ 172 h 515"/>
              <a:gd name="T56" fmla="*/ 163 w 583"/>
              <a:gd name="T57" fmla="*/ 257 h 515"/>
              <a:gd name="T58" fmla="*/ 120 w 583"/>
              <a:gd name="T59" fmla="*/ 300 h 515"/>
              <a:gd name="T60" fmla="*/ 120 w 583"/>
              <a:gd name="T61" fmla="*/ 472 h 515"/>
              <a:gd name="T62" fmla="*/ 163 w 583"/>
              <a:gd name="T63" fmla="*/ 515 h 515"/>
              <a:gd name="T64" fmla="*/ 206 w 583"/>
              <a:gd name="T65" fmla="*/ 472 h 515"/>
              <a:gd name="T66" fmla="*/ 206 w 583"/>
              <a:gd name="T67" fmla="*/ 300 h 515"/>
              <a:gd name="T68" fmla="*/ 163 w 583"/>
              <a:gd name="T69" fmla="*/ 257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83" h="515">
                <a:moveTo>
                  <a:pt x="42" y="343"/>
                </a:moveTo>
                <a:cubicBezTo>
                  <a:pt x="19" y="343"/>
                  <a:pt x="0" y="362"/>
                  <a:pt x="0" y="386"/>
                </a:cubicBezTo>
                <a:lnTo>
                  <a:pt x="0" y="472"/>
                </a:lnTo>
                <a:cubicBezTo>
                  <a:pt x="0" y="496"/>
                  <a:pt x="19" y="515"/>
                  <a:pt x="42" y="515"/>
                </a:cubicBezTo>
                <a:cubicBezTo>
                  <a:pt x="66" y="515"/>
                  <a:pt x="85" y="496"/>
                  <a:pt x="85" y="472"/>
                </a:cubicBezTo>
                <a:lnTo>
                  <a:pt x="85" y="386"/>
                </a:lnTo>
                <a:cubicBezTo>
                  <a:pt x="85" y="362"/>
                  <a:pt x="66" y="343"/>
                  <a:pt x="42" y="343"/>
                </a:cubicBezTo>
                <a:close/>
                <a:moveTo>
                  <a:pt x="540" y="0"/>
                </a:moveTo>
                <a:cubicBezTo>
                  <a:pt x="516" y="0"/>
                  <a:pt x="497" y="19"/>
                  <a:pt x="497" y="43"/>
                </a:cubicBezTo>
                <a:lnTo>
                  <a:pt x="497" y="472"/>
                </a:lnTo>
                <a:cubicBezTo>
                  <a:pt x="497" y="496"/>
                  <a:pt x="516" y="515"/>
                  <a:pt x="540" y="515"/>
                </a:cubicBezTo>
                <a:cubicBezTo>
                  <a:pt x="564" y="515"/>
                  <a:pt x="583" y="496"/>
                  <a:pt x="583" y="472"/>
                </a:cubicBezTo>
                <a:lnTo>
                  <a:pt x="583" y="43"/>
                </a:lnTo>
                <a:cubicBezTo>
                  <a:pt x="583" y="19"/>
                  <a:pt x="564" y="0"/>
                  <a:pt x="540" y="0"/>
                </a:cubicBezTo>
                <a:close/>
                <a:moveTo>
                  <a:pt x="416" y="86"/>
                </a:moveTo>
                <a:cubicBezTo>
                  <a:pt x="393" y="86"/>
                  <a:pt x="374" y="105"/>
                  <a:pt x="374" y="129"/>
                </a:cubicBezTo>
                <a:lnTo>
                  <a:pt x="374" y="472"/>
                </a:lnTo>
                <a:cubicBezTo>
                  <a:pt x="374" y="496"/>
                  <a:pt x="393" y="515"/>
                  <a:pt x="416" y="515"/>
                </a:cubicBezTo>
                <a:cubicBezTo>
                  <a:pt x="440" y="515"/>
                  <a:pt x="459" y="496"/>
                  <a:pt x="459" y="472"/>
                </a:cubicBezTo>
                <a:lnTo>
                  <a:pt x="459" y="129"/>
                </a:lnTo>
                <a:cubicBezTo>
                  <a:pt x="459" y="105"/>
                  <a:pt x="440" y="86"/>
                  <a:pt x="416" y="86"/>
                </a:cubicBezTo>
                <a:close/>
                <a:moveTo>
                  <a:pt x="291" y="172"/>
                </a:moveTo>
                <a:cubicBezTo>
                  <a:pt x="268" y="172"/>
                  <a:pt x="248" y="191"/>
                  <a:pt x="248" y="214"/>
                </a:cubicBezTo>
                <a:lnTo>
                  <a:pt x="248" y="472"/>
                </a:lnTo>
                <a:cubicBezTo>
                  <a:pt x="248" y="496"/>
                  <a:pt x="268" y="515"/>
                  <a:pt x="291" y="515"/>
                </a:cubicBezTo>
                <a:cubicBezTo>
                  <a:pt x="315" y="515"/>
                  <a:pt x="334" y="496"/>
                  <a:pt x="334" y="472"/>
                </a:cubicBezTo>
                <a:lnTo>
                  <a:pt x="334" y="214"/>
                </a:lnTo>
                <a:cubicBezTo>
                  <a:pt x="334" y="191"/>
                  <a:pt x="315" y="172"/>
                  <a:pt x="291" y="172"/>
                </a:cubicBezTo>
                <a:close/>
                <a:moveTo>
                  <a:pt x="163" y="257"/>
                </a:moveTo>
                <a:cubicBezTo>
                  <a:pt x="139" y="257"/>
                  <a:pt x="120" y="277"/>
                  <a:pt x="120" y="300"/>
                </a:cubicBezTo>
                <a:lnTo>
                  <a:pt x="120" y="472"/>
                </a:lnTo>
                <a:cubicBezTo>
                  <a:pt x="120" y="496"/>
                  <a:pt x="139" y="515"/>
                  <a:pt x="163" y="515"/>
                </a:cubicBezTo>
                <a:cubicBezTo>
                  <a:pt x="186" y="515"/>
                  <a:pt x="206" y="496"/>
                  <a:pt x="206" y="472"/>
                </a:cubicBezTo>
                <a:lnTo>
                  <a:pt x="206" y="300"/>
                </a:lnTo>
                <a:cubicBezTo>
                  <a:pt x="206" y="277"/>
                  <a:pt x="186" y="257"/>
                  <a:pt x="163" y="257"/>
                </a:cubicBezTo>
                <a:close/>
              </a:path>
            </a:pathLst>
          </a:custGeom>
          <a:solidFill>
            <a:schemeClr val="accent1"/>
          </a:solidFill>
          <a:ln>
            <a:noFill/>
          </a:ln>
        </p:spPr>
        <p:txBody>
          <a:bodyPr vert="horz" wrap="square" lIns="91299" tIns="45649" rIns="91299" bIns="4564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98" b="0" i="0" u="none" strike="noStrike" kern="1200" cap="none" spc="0" normalizeH="0" baseline="0" noProof="0">
              <a:ln>
                <a:noFill/>
              </a:ln>
              <a:solidFill>
                <a:srgbClr val="3F3F3F"/>
              </a:solidFill>
              <a:effectLst/>
              <a:uLnTx/>
              <a:uFillTx/>
              <a:latin typeface="HarmonyOS Sans SC"/>
              <a:cs typeface="+mn-cs"/>
            </a:endParaRPr>
          </a:p>
        </p:txBody>
      </p:sp>
      <p:sp>
        <p:nvSpPr>
          <p:cNvPr id="23" name="Freeform 85">
            <a:extLst>
              <a:ext uri="{FF2B5EF4-FFF2-40B4-BE49-F238E27FC236}">
                <a16:creationId xmlns:a16="http://schemas.microsoft.com/office/drawing/2014/main" id="{3BDFE401-2B19-455B-AFC3-7E7F766F0B25}"/>
              </a:ext>
            </a:extLst>
          </p:cNvPr>
          <p:cNvSpPr>
            <a:spLocks noEditPoints="1"/>
          </p:cNvSpPr>
          <p:nvPr/>
        </p:nvSpPr>
        <p:spPr bwMode="auto">
          <a:xfrm>
            <a:off x="8926883" y="2377112"/>
            <a:ext cx="302124" cy="286827"/>
          </a:xfrm>
          <a:custGeom>
            <a:avLst/>
            <a:gdLst>
              <a:gd name="T0" fmla="*/ 691 w 830"/>
              <a:gd name="T1" fmla="*/ 566 h 785"/>
              <a:gd name="T2" fmla="*/ 509 w 830"/>
              <a:gd name="T3" fmla="*/ 566 h 785"/>
              <a:gd name="T4" fmla="*/ 509 w 830"/>
              <a:gd name="T5" fmla="*/ 508 h 785"/>
              <a:gd name="T6" fmla="*/ 457 w 830"/>
              <a:gd name="T7" fmla="*/ 578 h 785"/>
              <a:gd name="T8" fmla="*/ 405 w 830"/>
              <a:gd name="T9" fmla="*/ 647 h 785"/>
              <a:gd name="T10" fmla="*/ 457 w 830"/>
              <a:gd name="T11" fmla="*/ 716 h 785"/>
              <a:gd name="T12" fmla="*/ 509 w 830"/>
              <a:gd name="T13" fmla="*/ 785 h 785"/>
              <a:gd name="T14" fmla="*/ 509 w 830"/>
              <a:gd name="T15" fmla="*/ 746 h 785"/>
              <a:gd name="T16" fmla="*/ 606 w 830"/>
              <a:gd name="T17" fmla="*/ 742 h 785"/>
              <a:gd name="T18" fmla="*/ 712 w 830"/>
              <a:gd name="T19" fmla="*/ 701 h 785"/>
              <a:gd name="T20" fmla="*/ 808 w 830"/>
              <a:gd name="T21" fmla="*/ 523 h 785"/>
              <a:gd name="T22" fmla="*/ 691 w 830"/>
              <a:gd name="T23" fmla="*/ 566 h 785"/>
              <a:gd name="T24" fmla="*/ 395 w 830"/>
              <a:gd name="T25" fmla="*/ 121 h 785"/>
              <a:gd name="T26" fmla="*/ 331 w 830"/>
              <a:gd name="T27" fmla="*/ 38 h 785"/>
              <a:gd name="T28" fmla="*/ 216 w 830"/>
              <a:gd name="T29" fmla="*/ 68 h 785"/>
              <a:gd name="T30" fmla="*/ 161 w 830"/>
              <a:gd name="T31" fmla="*/ 159 h 785"/>
              <a:gd name="T32" fmla="*/ 314 w 830"/>
              <a:gd name="T33" fmla="*/ 253 h 785"/>
              <a:gd name="T34" fmla="*/ 395 w 830"/>
              <a:gd name="T35" fmla="*/ 121 h 785"/>
              <a:gd name="T36" fmla="*/ 536 w 830"/>
              <a:gd name="T37" fmla="*/ 291 h 785"/>
              <a:gd name="T38" fmla="*/ 622 w 830"/>
              <a:gd name="T39" fmla="*/ 304 h 785"/>
              <a:gd name="T40" fmla="*/ 658 w 830"/>
              <a:gd name="T41" fmla="*/ 225 h 785"/>
              <a:gd name="T42" fmla="*/ 694 w 830"/>
              <a:gd name="T43" fmla="*/ 146 h 785"/>
              <a:gd name="T44" fmla="*/ 659 w 830"/>
              <a:gd name="T45" fmla="*/ 165 h 785"/>
              <a:gd name="T46" fmla="*/ 610 w 830"/>
              <a:gd name="T47" fmla="*/ 81 h 785"/>
              <a:gd name="T48" fmla="*/ 524 w 830"/>
              <a:gd name="T49" fmla="*/ 7 h 785"/>
              <a:gd name="T50" fmla="*/ 321 w 830"/>
              <a:gd name="T51" fmla="*/ 8 h 785"/>
              <a:gd name="T52" fmla="*/ 414 w 830"/>
              <a:gd name="T53" fmla="*/ 90 h 785"/>
              <a:gd name="T54" fmla="*/ 501 w 830"/>
              <a:gd name="T55" fmla="*/ 250 h 785"/>
              <a:gd name="T56" fmla="*/ 450 w 830"/>
              <a:gd name="T57" fmla="*/ 277 h 785"/>
              <a:gd name="T58" fmla="*/ 536 w 830"/>
              <a:gd name="T59" fmla="*/ 291 h 785"/>
              <a:gd name="T60" fmla="*/ 149 w 830"/>
              <a:gd name="T61" fmla="*/ 657 h 785"/>
              <a:gd name="T62" fmla="*/ 233 w 830"/>
              <a:gd name="T63" fmla="*/ 740 h 785"/>
              <a:gd name="T64" fmla="*/ 340 w 830"/>
              <a:gd name="T65" fmla="*/ 742 h 785"/>
              <a:gd name="T66" fmla="*/ 343 w 830"/>
              <a:gd name="T67" fmla="*/ 563 h 785"/>
              <a:gd name="T68" fmla="*/ 188 w 830"/>
              <a:gd name="T69" fmla="*/ 559 h 785"/>
              <a:gd name="T70" fmla="*/ 149 w 830"/>
              <a:gd name="T71" fmla="*/ 657 h 785"/>
              <a:gd name="T72" fmla="*/ 122 w 830"/>
              <a:gd name="T73" fmla="*/ 684 h 785"/>
              <a:gd name="T74" fmla="*/ 146 w 830"/>
              <a:gd name="T75" fmla="*/ 562 h 785"/>
              <a:gd name="T76" fmla="*/ 241 w 830"/>
              <a:gd name="T77" fmla="*/ 406 h 785"/>
              <a:gd name="T78" fmla="*/ 289 w 830"/>
              <a:gd name="T79" fmla="*/ 436 h 785"/>
              <a:gd name="T80" fmla="*/ 257 w 830"/>
              <a:gd name="T81" fmla="*/ 355 h 785"/>
              <a:gd name="T82" fmla="*/ 225 w 830"/>
              <a:gd name="T83" fmla="*/ 275 h 785"/>
              <a:gd name="T84" fmla="*/ 139 w 830"/>
              <a:gd name="T85" fmla="*/ 284 h 785"/>
              <a:gd name="T86" fmla="*/ 53 w 830"/>
              <a:gd name="T87" fmla="*/ 292 h 785"/>
              <a:gd name="T88" fmla="*/ 87 w 830"/>
              <a:gd name="T89" fmla="*/ 313 h 785"/>
              <a:gd name="T90" fmla="*/ 40 w 830"/>
              <a:gd name="T91" fmla="*/ 398 h 785"/>
              <a:gd name="T92" fmla="*/ 19 w 830"/>
              <a:gd name="T93" fmla="*/ 509 h 785"/>
              <a:gd name="T94" fmla="*/ 122 w 830"/>
              <a:gd name="T95" fmla="*/ 684 h 785"/>
              <a:gd name="T96" fmla="*/ 741 w 830"/>
              <a:gd name="T97" fmla="*/ 309 h 785"/>
              <a:gd name="T98" fmla="*/ 586 w 830"/>
              <a:gd name="T99" fmla="*/ 399 h 785"/>
              <a:gd name="T100" fmla="*/ 663 w 830"/>
              <a:gd name="T101" fmla="*/ 533 h 785"/>
              <a:gd name="T102" fmla="*/ 766 w 830"/>
              <a:gd name="T103" fmla="*/ 516 h 785"/>
              <a:gd name="T104" fmla="*/ 794 w 830"/>
              <a:gd name="T105" fmla="*/ 401 h 785"/>
              <a:gd name="T106" fmla="*/ 741 w 830"/>
              <a:gd name="T107" fmla="*/ 309 h 7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30" h="785">
                <a:moveTo>
                  <a:pt x="691" y="566"/>
                </a:moveTo>
                <a:lnTo>
                  <a:pt x="509" y="566"/>
                </a:lnTo>
                <a:lnTo>
                  <a:pt x="509" y="508"/>
                </a:lnTo>
                <a:lnTo>
                  <a:pt x="457" y="578"/>
                </a:lnTo>
                <a:lnTo>
                  <a:pt x="405" y="647"/>
                </a:lnTo>
                <a:lnTo>
                  <a:pt x="457" y="716"/>
                </a:lnTo>
                <a:lnTo>
                  <a:pt x="509" y="785"/>
                </a:lnTo>
                <a:lnTo>
                  <a:pt x="509" y="746"/>
                </a:lnTo>
                <a:lnTo>
                  <a:pt x="606" y="742"/>
                </a:lnTo>
                <a:cubicBezTo>
                  <a:pt x="691" y="737"/>
                  <a:pt x="712" y="701"/>
                  <a:pt x="712" y="701"/>
                </a:cubicBezTo>
                <a:lnTo>
                  <a:pt x="808" y="523"/>
                </a:lnTo>
                <a:cubicBezTo>
                  <a:pt x="773" y="572"/>
                  <a:pt x="691" y="566"/>
                  <a:pt x="691" y="566"/>
                </a:cubicBezTo>
                <a:close/>
                <a:moveTo>
                  <a:pt x="395" y="121"/>
                </a:moveTo>
                <a:cubicBezTo>
                  <a:pt x="364" y="48"/>
                  <a:pt x="331" y="38"/>
                  <a:pt x="331" y="38"/>
                </a:cubicBezTo>
                <a:cubicBezTo>
                  <a:pt x="270" y="0"/>
                  <a:pt x="216" y="68"/>
                  <a:pt x="216" y="68"/>
                </a:cubicBezTo>
                <a:lnTo>
                  <a:pt x="161" y="159"/>
                </a:lnTo>
                <a:lnTo>
                  <a:pt x="314" y="253"/>
                </a:lnTo>
                <a:lnTo>
                  <a:pt x="395" y="121"/>
                </a:lnTo>
                <a:close/>
                <a:moveTo>
                  <a:pt x="536" y="291"/>
                </a:moveTo>
                <a:lnTo>
                  <a:pt x="622" y="304"/>
                </a:lnTo>
                <a:lnTo>
                  <a:pt x="658" y="225"/>
                </a:lnTo>
                <a:lnTo>
                  <a:pt x="694" y="146"/>
                </a:lnTo>
                <a:lnTo>
                  <a:pt x="659" y="165"/>
                </a:lnTo>
                <a:lnTo>
                  <a:pt x="610" y="81"/>
                </a:lnTo>
                <a:cubicBezTo>
                  <a:pt x="565" y="9"/>
                  <a:pt x="524" y="7"/>
                  <a:pt x="524" y="7"/>
                </a:cubicBezTo>
                <a:lnTo>
                  <a:pt x="321" y="8"/>
                </a:lnTo>
                <a:cubicBezTo>
                  <a:pt x="381" y="15"/>
                  <a:pt x="414" y="90"/>
                  <a:pt x="414" y="90"/>
                </a:cubicBezTo>
                <a:lnTo>
                  <a:pt x="501" y="250"/>
                </a:lnTo>
                <a:lnTo>
                  <a:pt x="450" y="277"/>
                </a:lnTo>
                <a:lnTo>
                  <a:pt x="536" y="291"/>
                </a:lnTo>
                <a:close/>
                <a:moveTo>
                  <a:pt x="149" y="657"/>
                </a:moveTo>
                <a:cubicBezTo>
                  <a:pt x="147" y="729"/>
                  <a:pt x="233" y="740"/>
                  <a:pt x="233" y="740"/>
                </a:cubicBezTo>
                <a:lnTo>
                  <a:pt x="340" y="742"/>
                </a:lnTo>
                <a:lnTo>
                  <a:pt x="343" y="563"/>
                </a:lnTo>
                <a:lnTo>
                  <a:pt x="188" y="559"/>
                </a:lnTo>
                <a:cubicBezTo>
                  <a:pt x="141" y="623"/>
                  <a:pt x="149" y="657"/>
                  <a:pt x="149" y="657"/>
                </a:cubicBezTo>
                <a:close/>
                <a:moveTo>
                  <a:pt x="122" y="684"/>
                </a:moveTo>
                <a:cubicBezTo>
                  <a:pt x="98" y="628"/>
                  <a:pt x="146" y="562"/>
                  <a:pt x="146" y="562"/>
                </a:cubicBezTo>
                <a:lnTo>
                  <a:pt x="241" y="406"/>
                </a:lnTo>
                <a:lnTo>
                  <a:pt x="289" y="436"/>
                </a:lnTo>
                <a:lnTo>
                  <a:pt x="257" y="355"/>
                </a:lnTo>
                <a:lnTo>
                  <a:pt x="225" y="275"/>
                </a:lnTo>
                <a:lnTo>
                  <a:pt x="139" y="284"/>
                </a:lnTo>
                <a:lnTo>
                  <a:pt x="53" y="292"/>
                </a:lnTo>
                <a:lnTo>
                  <a:pt x="87" y="313"/>
                </a:lnTo>
                <a:lnTo>
                  <a:pt x="40" y="398"/>
                </a:lnTo>
                <a:cubicBezTo>
                  <a:pt x="0" y="473"/>
                  <a:pt x="19" y="509"/>
                  <a:pt x="19" y="509"/>
                </a:cubicBezTo>
                <a:lnTo>
                  <a:pt x="122" y="684"/>
                </a:lnTo>
                <a:close/>
                <a:moveTo>
                  <a:pt x="741" y="309"/>
                </a:moveTo>
                <a:lnTo>
                  <a:pt x="586" y="399"/>
                </a:lnTo>
                <a:lnTo>
                  <a:pt x="663" y="533"/>
                </a:lnTo>
                <a:cubicBezTo>
                  <a:pt x="742" y="540"/>
                  <a:pt x="766" y="516"/>
                  <a:pt x="766" y="516"/>
                </a:cubicBezTo>
                <a:cubicBezTo>
                  <a:pt x="830" y="480"/>
                  <a:pt x="794" y="401"/>
                  <a:pt x="794" y="401"/>
                </a:cubicBezTo>
                <a:lnTo>
                  <a:pt x="741" y="309"/>
                </a:lnTo>
                <a:close/>
              </a:path>
            </a:pathLst>
          </a:custGeom>
          <a:solidFill>
            <a:schemeClr val="accent1"/>
          </a:solidFill>
          <a:ln>
            <a:noFill/>
          </a:ln>
        </p:spPr>
        <p:txBody>
          <a:bodyPr vert="horz" wrap="square" lIns="91299" tIns="45649" rIns="91299" bIns="4564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98" b="0" i="0" u="none" strike="noStrike" kern="1200" cap="none" spc="0" normalizeH="0" baseline="0" noProof="0">
              <a:ln>
                <a:noFill/>
              </a:ln>
              <a:solidFill>
                <a:srgbClr val="3F3F3F"/>
              </a:solidFill>
              <a:effectLst/>
              <a:uLnTx/>
              <a:uFillTx/>
              <a:latin typeface="HarmonyOS Sans SC"/>
              <a:cs typeface="+mn-cs"/>
            </a:endParaRPr>
          </a:p>
        </p:txBody>
      </p:sp>
      <p:sp>
        <p:nvSpPr>
          <p:cNvPr id="24" name="Freeform 86">
            <a:extLst>
              <a:ext uri="{FF2B5EF4-FFF2-40B4-BE49-F238E27FC236}">
                <a16:creationId xmlns:a16="http://schemas.microsoft.com/office/drawing/2014/main" id="{E8A40170-38E2-4ED3-A15A-237CAD0211FB}"/>
              </a:ext>
            </a:extLst>
          </p:cNvPr>
          <p:cNvSpPr>
            <a:spLocks/>
          </p:cNvSpPr>
          <p:nvPr/>
        </p:nvSpPr>
        <p:spPr bwMode="auto">
          <a:xfrm>
            <a:off x="9824811" y="3269537"/>
            <a:ext cx="248584" cy="239022"/>
          </a:xfrm>
          <a:custGeom>
            <a:avLst/>
            <a:gdLst>
              <a:gd name="T0" fmla="*/ 681 w 684"/>
              <a:gd name="T1" fmla="*/ 321 h 653"/>
              <a:gd name="T2" fmla="*/ 370 w 684"/>
              <a:gd name="T3" fmla="*/ 30 h 653"/>
              <a:gd name="T4" fmla="*/ 370 w 684"/>
              <a:gd name="T5" fmla="*/ 0 h 653"/>
              <a:gd name="T6" fmla="*/ 314 w 684"/>
              <a:gd name="T7" fmla="*/ 0 h 653"/>
              <a:gd name="T8" fmla="*/ 314 w 684"/>
              <a:gd name="T9" fmla="*/ 30 h 653"/>
              <a:gd name="T10" fmla="*/ 4 w 684"/>
              <a:gd name="T11" fmla="*/ 321 h 653"/>
              <a:gd name="T12" fmla="*/ 11 w 684"/>
              <a:gd name="T13" fmla="*/ 322 h 653"/>
              <a:gd name="T14" fmla="*/ 114 w 684"/>
              <a:gd name="T15" fmla="*/ 257 h 653"/>
              <a:gd name="T16" fmla="*/ 220 w 684"/>
              <a:gd name="T17" fmla="*/ 328 h 653"/>
              <a:gd name="T18" fmla="*/ 237 w 684"/>
              <a:gd name="T19" fmla="*/ 328 h 653"/>
              <a:gd name="T20" fmla="*/ 314 w 684"/>
              <a:gd name="T21" fmla="*/ 261 h 653"/>
              <a:gd name="T22" fmla="*/ 314 w 684"/>
              <a:gd name="T23" fmla="*/ 536 h 653"/>
              <a:gd name="T24" fmla="*/ 253 w 684"/>
              <a:gd name="T25" fmla="*/ 597 h 653"/>
              <a:gd name="T26" fmla="*/ 236 w 684"/>
              <a:gd name="T27" fmla="*/ 597 h 653"/>
              <a:gd name="T28" fmla="*/ 175 w 684"/>
              <a:gd name="T29" fmla="*/ 536 h 653"/>
              <a:gd name="T30" fmla="*/ 119 w 684"/>
              <a:gd name="T31" fmla="*/ 536 h 653"/>
              <a:gd name="T32" fmla="*/ 236 w 684"/>
              <a:gd name="T33" fmla="*/ 653 h 653"/>
              <a:gd name="T34" fmla="*/ 253 w 684"/>
              <a:gd name="T35" fmla="*/ 653 h 653"/>
              <a:gd name="T36" fmla="*/ 370 w 684"/>
              <a:gd name="T37" fmla="*/ 536 h 653"/>
              <a:gd name="T38" fmla="*/ 370 w 684"/>
              <a:gd name="T39" fmla="*/ 261 h 653"/>
              <a:gd name="T40" fmla="*/ 448 w 684"/>
              <a:gd name="T41" fmla="*/ 328 h 653"/>
              <a:gd name="T42" fmla="*/ 465 w 684"/>
              <a:gd name="T43" fmla="*/ 328 h 653"/>
              <a:gd name="T44" fmla="*/ 570 w 684"/>
              <a:gd name="T45" fmla="*/ 257 h 653"/>
              <a:gd name="T46" fmla="*/ 673 w 684"/>
              <a:gd name="T47" fmla="*/ 322 h 653"/>
              <a:gd name="T48" fmla="*/ 681 w 684"/>
              <a:gd name="T49" fmla="*/ 321 h 6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84" h="653">
                <a:moveTo>
                  <a:pt x="681" y="321"/>
                </a:moveTo>
                <a:cubicBezTo>
                  <a:pt x="658" y="165"/>
                  <a:pt x="529" y="43"/>
                  <a:pt x="370" y="30"/>
                </a:cubicBezTo>
                <a:lnTo>
                  <a:pt x="370" y="0"/>
                </a:lnTo>
                <a:lnTo>
                  <a:pt x="314" y="0"/>
                </a:lnTo>
                <a:lnTo>
                  <a:pt x="314" y="30"/>
                </a:lnTo>
                <a:cubicBezTo>
                  <a:pt x="155" y="43"/>
                  <a:pt x="27" y="165"/>
                  <a:pt x="4" y="321"/>
                </a:cubicBezTo>
                <a:cubicBezTo>
                  <a:pt x="0" y="345"/>
                  <a:pt x="1" y="345"/>
                  <a:pt x="11" y="322"/>
                </a:cubicBezTo>
                <a:cubicBezTo>
                  <a:pt x="29" y="284"/>
                  <a:pt x="69" y="257"/>
                  <a:pt x="114" y="257"/>
                </a:cubicBezTo>
                <a:cubicBezTo>
                  <a:pt x="162" y="257"/>
                  <a:pt x="203" y="286"/>
                  <a:pt x="220" y="328"/>
                </a:cubicBezTo>
                <a:cubicBezTo>
                  <a:pt x="229" y="350"/>
                  <a:pt x="227" y="350"/>
                  <a:pt x="237" y="328"/>
                </a:cubicBezTo>
                <a:cubicBezTo>
                  <a:pt x="250" y="295"/>
                  <a:pt x="279" y="270"/>
                  <a:pt x="314" y="261"/>
                </a:cubicBezTo>
                <a:lnTo>
                  <a:pt x="314" y="536"/>
                </a:lnTo>
                <a:cubicBezTo>
                  <a:pt x="314" y="569"/>
                  <a:pt x="287" y="597"/>
                  <a:pt x="253" y="597"/>
                </a:cubicBezTo>
                <a:lnTo>
                  <a:pt x="236" y="597"/>
                </a:lnTo>
                <a:cubicBezTo>
                  <a:pt x="202" y="597"/>
                  <a:pt x="175" y="569"/>
                  <a:pt x="175" y="536"/>
                </a:cubicBezTo>
                <a:lnTo>
                  <a:pt x="119" y="536"/>
                </a:lnTo>
                <a:cubicBezTo>
                  <a:pt x="119" y="600"/>
                  <a:pt x="171" y="653"/>
                  <a:pt x="236" y="653"/>
                </a:cubicBezTo>
                <a:lnTo>
                  <a:pt x="253" y="653"/>
                </a:lnTo>
                <a:cubicBezTo>
                  <a:pt x="318" y="653"/>
                  <a:pt x="370" y="600"/>
                  <a:pt x="370" y="536"/>
                </a:cubicBezTo>
                <a:lnTo>
                  <a:pt x="370" y="261"/>
                </a:lnTo>
                <a:cubicBezTo>
                  <a:pt x="405" y="270"/>
                  <a:pt x="434" y="295"/>
                  <a:pt x="448" y="328"/>
                </a:cubicBezTo>
                <a:cubicBezTo>
                  <a:pt x="457" y="350"/>
                  <a:pt x="455" y="350"/>
                  <a:pt x="465" y="328"/>
                </a:cubicBezTo>
                <a:cubicBezTo>
                  <a:pt x="482" y="286"/>
                  <a:pt x="523" y="257"/>
                  <a:pt x="570" y="257"/>
                </a:cubicBezTo>
                <a:cubicBezTo>
                  <a:pt x="616" y="257"/>
                  <a:pt x="655" y="284"/>
                  <a:pt x="673" y="322"/>
                </a:cubicBezTo>
                <a:cubicBezTo>
                  <a:pt x="684" y="345"/>
                  <a:pt x="684" y="345"/>
                  <a:pt x="681" y="321"/>
                </a:cubicBezTo>
                <a:close/>
              </a:path>
            </a:pathLst>
          </a:custGeom>
          <a:solidFill>
            <a:schemeClr val="accent1"/>
          </a:solidFill>
          <a:ln>
            <a:noFill/>
          </a:ln>
        </p:spPr>
        <p:txBody>
          <a:bodyPr vert="horz" wrap="square" lIns="91299" tIns="45649" rIns="91299" bIns="4564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98" b="0" i="0" u="none" strike="noStrike" kern="1200" cap="none" spc="0" normalizeH="0" baseline="0" noProof="0">
              <a:ln>
                <a:noFill/>
              </a:ln>
              <a:solidFill>
                <a:srgbClr val="3F3F3F"/>
              </a:solidFill>
              <a:effectLst/>
              <a:uLnTx/>
              <a:uFillTx/>
              <a:latin typeface="HarmonyOS Sans SC"/>
              <a:cs typeface="+mn-cs"/>
            </a:endParaRPr>
          </a:p>
        </p:txBody>
      </p:sp>
      <p:sp>
        <p:nvSpPr>
          <p:cNvPr id="25" name="Freeform 87">
            <a:extLst>
              <a:ext uri="{FF2B5EF4-FFF2-40B4-BE49-F238E27FC236}">
                <a16:creationId xmlns:a16="http://schemas.microsoft.com/office/drawing/2014/main" id="{4D286FFA-7CFB-4808-8218-16F215553E20}"/>
              </a:ext>
            </a:extLst>
          </p:cNvPr>
          <p:cNvSpPr>
            <a:spLocks/>
          </p:cNvSpPr>
          <p:nvPr/>
        </p:nvSpPr>
        <p:spPr bwMode="auto">
          <a:xfrm>
            <a:off x="8991897" y="5373097"/>
            <a:ext cx="172097" cy="231373"/>
          </a:xfrm>
          <a:custGeom>
            <a:avLst/>
            <a:gdLst>
              <a:gd name="T0" fmla="*/ 470 w 470"/>
              <a:gd name="T1" fmla="*/ 586 h 634"/>
              <a:gd name="T2" fmla="*/ 422 w 470"/>
              <a:gd name="T3" fmla="*/ 634 h 634"/>
              <a:gd name="T4" fmla="*/ 48 w 470"/>
              <a:gd name="T5" fmla="*/ 634 h 634"/>
              <a:gd name="T6" fmla="*/ 0 w 470"/>
              <a:gd name="T7" fmla="*/ 586 h 634"/>
              <a:gd name="T8" fmla="*/ 1 w 470"/>
              <a:gd name="T9" fmla="*/ 578 h 634"/>
              <a:gd name="T10" fmla="*/ 131 w 470"/>
              <a:gd name="T11" fmla="*/ 239 h 634"/>
              <a:gd name="T12" fmla="*/ 131 w 470"/>
              <a:gd name="T13" fmla="*/ 237 h 634"/>
              <a:gd name="T14" fmla="*/ 131 w 470"/>
              <a:gd name="T15" fmla="*/ 43 h 634"/>
              <a:gd name="T16" fmla="*/ 116 w 470"/>
              <a:gd name="T17" fmla="*/ 43 h 634"/>
              <a:gd name="T18" fmla="*/ 95 w 470"/>
              <a:gd name="T19" fmla="*/ 21 h 634"/>
              <a:gd name="T20" fmla="*/ 116 w 470"/>
              <a:gd name="T21" fmla="*/ 0 h 634"/>
              <a:gd name="T22" fmla="*/ 152 w 470"/>
              <a:gd name="T23" fmla="*/ 0 h 634"/>
              <a:gd name="T24" fmla="*/ 174 w 470"/>
              <a:gd name="T25" fmla="*/ 21 h 634"/>
              <a:gd name="T26" fmla="*/ 174 w 470"/>
              <a:gd name="T27" fmla="*/ 239 h 634"/>
              <a:gd name="T28" fmla="*/ 173 w 470"/>
              <a:gd name="T29" fmla="*/ 242 h 634"/>
              <a:gd name="T30" fmla="*/ 172 w 470"/>
              <a:gd name="T31" fmla="*/ 251 h 634"/>
              <a:gd name="T32" fmla="*/ 94 w 470"/>
              <a:gd name="T33" fmla="*/ 455 h 634"/>
              <a:gd name="T34" fmla="*/ 375 w 470"/>
              <a:gd name="T35" fmla="*/ 455 h 634"/>
              <a:gd name="T36" fmla="*/ 294 w 470"/>
              <a:gd name="T37" fmla="*/ 251 h 634"/>
              <a:gd name="T38" fmla="*/ 293 w 470"/>
              <a:gd name="T39" fmla="*/ 244 h 634"/>
              <a:gd name="T40" fmla="*/ 293 w 470"/>
              <a:gd name="T41" fmla="*/ 243 h 634"/>
              <a:gd name="T42" fmla="*/ 293 w 470"/>
              <a:gd name="T43" fmla="*/ 240 h 634"/>
              <a:gd name="T44" fmla="*/ 293 w 470"/>
              <a:gd name="T45" fmla="*/ 21 h 634"/>
              <a:gd name="T46" fmla="*/ 314 w 470"/>
              <a:gd name="T47" fmla="*/ 0 h 634"/>
              <a:gd name="T48" fmla="*/ 351 w 470"/>
              <a:gd name="T49" fmla="*/ 0 h 634"/>
              <a:gd name="T50" fmla="*/ 372 w 470"/>
              <a:gd name="T51" fmla="*/ 21 h 634"/>
              <a:gd name="T52" fmla="*/ 351 w 470"/>
              <a:gd name="T53" fmla="*/ 43 h 634"/>
              <a:gd name="T54" fmla="*/ 335 w 470"/>
              <a:gd name="T55" fmla="*/ 43 h 634"/>
              <a:gd name="T56" fmla="*/ 335 w 470"/>
              <a:gd name="T57" fmla="*/ 239 h 634"/>
              <a:gd name="T58" fmla="*/ 469 w 470"/>
              <a:gd name="T59" fmla="*/ 578 h 634"/>
              <a:gd name="T60" fmla="*/ 470 w 470"/>
              <a:gd name="T61" fmla="*/ 586 h 6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70" h="634">
                <a:moveTo>
                  <a:pt x="470" y="586"/>
                </a:moveTo>
                <a:cubicBezTo>
                  <a:pt x="470" y="612"/>
                  <a:pt x="449" y="634"/>
                  <a:pt x="422" y="634"/>
                </a:cubicBezTo>
                <a:lnTo>
                  <a:pt x="48" y="634"/>
                </a:lnTo>
                <a:cubicBezTo>
                  <a:pt x="22" y="634"/>
                  <a:pt x="0" y="612"/>
                  <a:pt x="0" y="586"/>
                </a:cubicBezTo>
                <a:cubicBezTo>
                  <a:pt x="0" y="583"/>
                  <a:pt x="1" y="581"/>
                  <a:pt x="1" y="578"/>
                </a:cubicBezTo>
                <a:lnTo>
                  <a:pt x="131" y="239"/>
                </a:lnTo>
                <a:cubicBezTo>
                  <a:pt x="131" y="238"/>
                  <a:pt x="131" y="238"/>
                  <a:pt x="131" y="237"/>
                </a:cubicBezTo>
                <a:lnTo>
                  <a:pt x="131" y="43"/>
                </a:lnTo>
                <a:lnTo>
                  <a:pt x="116" y="43"/>
                </a:lnTo>
                <a:cubicBezTo>
                  <a:pt x="104" y="43"/>
                  <a:pt x="95" y="33"/>
                  <a:pt x="95" y="21"/>
                </a:cubicBezTo>
                <a:cubicBezTo>
                  <a:pt x="95" y="10"/>
                  <a:pt x="104" y="0"/>
                  <a:pt x="116" y="0"/>
                </a:cubicBezTo>
                <a:lnTo>
                  <a:pt x="152" y="0"/>
                </a:lnTo>
                <a:cubicBezTo>
                  <a:pt x="164" y="0"/>
                  <a:pt x="174" y="10"/>
                  <a:pt x="174" y="21"/>
                </a:cubicBezTo>
                <a:lnTo>
                  <a:pt x="174" y="239"/>
                </a:lnTo>
                <a:cubicBezTo>
                  <a:pt x="174" y="240"/>
                  <a:pt x="173" y="241"/>
                  <a:pt x="173" y="242"/>
                </a:cubicBezTo>
                <a:cubicBezTo>
                  <a:pt x="173" y="245"/>
                  <a:pt x="173" y="248"/>
                  <a:pt x="172" y="251"/>
                </a:cubicBezTo>
                <a:lnTo>
                  <a:pt x="94" y="455"/>
                </a:lnTo>
                <a:lnTo>
                  <a:pt x="375" y="455"/>
                </a:lnTo>
                <a:lnTo>
                  <a:pt x="294" y="251"/>
                </a:lnTo>
                <a:cubicBezTo>
                  <a:pt x="293" y="249"/>
                  <a:pt x="293" y="247"/>
                  <a:pt x="293" y="244"/>
                </a:cubicBezTo>
                <a:lnTo>
                  <a:pt x="293" y="243"/>
                </a:lnTo>
                <a:cubicBezTo>
                  <a:pt x="293" y="242"/>
                  <a:pt x="293" y="241"/>
                  <a:pt x="293" y="240"/>
                </a:cubicBezTo>
                <a:lnTo>
                  <a:pt x="293" y="21"/>
                </a:lnTo>
                <a:cubicBezTo>
                  <a:pt x="293" y="10"/>
                  <a:pt x="302" y="0"/>
                  <a:pt x="314" y="0"/>
                </a:cubicBezTo>
                <a:lnTo>
                  <a:pt x="351" y="0"/>
                </a:lnTo>
                <a:cubicBezTo>
                  <a:pt x="363" y="0"/>
                  <a:pt x="372" y="10"/>
                  <a:pt x="372" y="21"/>
                </a:cubicBezTo>
                <a:cubicBezTo>
                  <a:pt x="372" y="33"/>
                  <a:pt x="363" y="43"/>
                  <a:pt x="351" y="43"/>
                </a:cubicBezTo>
                <a:lnTo>
                  <a:pt x="335" y="43"/>
                </a:lnTo>
                <a:lnTo>
                  <a:pt x="335" y="239"/>
                </a:lnTo>
                <a:lnTo>
                  <a:pt x="469" y="578"/>
                </a:lnTo>
                <a:cubicBezTo>
                  <a:pt x="470" y="580"/>
                  <a:pt x="470" y="583"/>
                  <a:pt x="470" y="586"/>
                </a:cubicBezTo>
                <a:close/>
              </a:path>
            </a:pathLst>
          </a:custGeom>
          <a:solidFill>
            <a:schemeClr val="accent1"/>
          </a:solidFill>
          <a:ln>
            <a:noFill/>
          </a:ln>
        </p:spPr>
        <p:txBody>
          <a:bodyPr vert="horz" wrap="square" lIns="91299" tIns="45649" rIns="91299" bIns="4564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98" b="0" i="0" u="none" strike="noStrike" kern="1200" cap="none" spc="0" normalizeH="0" baseline="0" noProof="0">
              <a:ln>
                <a:noFill/>
              </a:ln>
              <a:solidFill>
                <a:srgbClr val="3F3F3F"/>
              </a:solidFill>
              <a:effectLst/>
              <a:uLnTx/>
              <a:uFillTx/>
              <a:latin typeface="HarmonyOS Sans SC"/>
              <a:cs typeface="+mn-cs"/>
            </a:endParaRPr>
          </a:p>
        </p:txBody>
      </p:sp>
      <p:sp>
        <p:nvSpPr>
          <p:cNvPr id="26" name="Freeform 88">
            <a:extLst>
              <a:ext uri="{FF2B5EF4-FFF2-40B4-BE49-F238E27FC236}">
                <a16:creationId xmlns:a16="http://schemas.microsoft.com/office/drawing/2014/main" id="{C7181E1D-EEB0-4A1A-9A31-AD7762A9A1DF}"/>
              </a:ext>
            </a:extLst>
          </p:cNvPr>
          <p:cNvSpPr>
            <a:spLocks/>
          </p:cNvSpPr>
          <p:nvPr/>
        </p:nvSpPr>
        <p:spPr bwMode="auto">
          <a:xfrm>
            <a:off x="9815173" y="4520825"/>
            <a:ext cx="269617" cy="198868"/>
          </a:xfrm>
          <a:custGeom>
            <a:avLst/>
            <a:gdLst>
              <a:gd name="T0" fmla="*/ 737 w 740"/>
              <a:gd name="T1" fmla="*/ 317 h 544"/>
              <a:gd name="T2" fmla="*/ 739 w 740"/>
              <a:gd name="T3" fmla="*/ 316 h 544"/>
              <a:gd name="T4" fmla="*/ 545 w 740"/>
              <a:gd name="T5" fmla="*/ 30 h 544"/>
              <a:gd name="T6" fmla="*/ 541 w 740"/>
              <a:gd name="T7" fmla="*/ 29 h 544"/>
              <a:gd name="T8" fmla="*/ 415 w 740"/>
              <a:gd name="T9" fmla="*/ 77 h 544"/>
              <a:gd name="T10" fmla="*/ 435 w 740"/>
              <a:gd name="T11" fmla="*/ 90 h 544"/>
              <a:gd name="T12" fmla="*/ 530 w 740"/>
              <a:gd name="T13" fmla="*/ 50 h 544"/>
              <a:gd name="T14" fmla="*/ 703 w 740"/>
              <a:gd name="T15" fmla="*/ 304 h 544"/>
              <a:gd name="T16" fmla="*/ 591 w 740"/>
              <a:gd name="T17" fmla="*/ 292 h 544"/>
              <a:gd name="T18" fmla="*/ 439 w 740"/>
              <a:gd name="T19" fmla="*/ 311 h 544"/>
              <a:gd name="T20" fmla="*/ 430 w 740"/>
              <a:gd name="T21" fmla="*/ 313 h 544"/>
              <a:gd name="T22" fmla="*/ 430 w 740"/>
              <a:gd name="T23" fmla="*/ 324 h 544"/>
              <a:gd name="T24" fmla="*/ 310 w 740"/>
              <a:gd name="T25" fmla="*/ 326 h 544"/>
              <a:gd name="T26" fmla="*/ 309 w 740"/>
              <a:gd name="T27" fmla="*/ 313 h 544"/>
              <a:gd name="T28" fmla="*/ 301 w 740"/>
              <a:gd name="T29" fmla="*/ 311 h 544"/>
              <a:gd name="T30" fmla="*/ 149 w 740"/>
              <a:gd name="T31" fmla="*/ 292 h 544"/>
              <a:gd name="T32" fmla="*/ 42 w 740"/>
              <a:gd name="T33" fmla="*/ 303 h 544"/>
              <a:gd name="T34" fmla="*/ 214 w 740"/>
              <a:gd name="T35" fmla="*/ 50 h 544"/>
              <a:gd name="T36" fmla="*/ 309 w 740"/>
              <a:gd name="T37" fmla="*/ 90 h 544"/>
              <a:gd name="T38" fmla="*/ 329 w 740"/>
              <a:gd name="T39" fmla="*/ 77 h 544"/>
              <a:gd name="T40" fmla="*/ 202 w 740"/>
              <a:gd name="T41" fmla="*/ 29 h 544"/>
              <a:gd name="T42" fmla="*/ 199 w 740"/>
              <a:gd name="T43" fmla="*/ 30 h 544"/>
              <a:gd name="T44" fmla="*/ 7 w 740"/>
              <a:gd name="T45" fmla="*/ 313 h 544"/>
              <a:gd name="T46" fmla="*/ 3 w 740"/>
              <a:gd name="T47" fmla="*/ 314 h 544"/>
              <a:gd name="T48" fmla="*/ 3 w 740"/>
              <a:gd name="T49" fmla="*/ 414 h 544"/>
              <a:gd name="T50" fmla="*/ 34 w 740"/>
              <a:gd name="T51" fmla="*/ 500 h 544"/>
              <a:gd name="T52" fmla="*/ 159 w 740"/>
              <a:gd name="T53" fmla="*/ 544 h 544"/>
              <a:gd name="T54" fmla="*/ 286 w 740"/>
              <a:gd name="T55" fmla="*/ 500 h 544"/>
              <a:gd name="T56" fmla="*/ 311 w 740"/>
              <a:gd name="T57" fmla="*/ 425 h 544"/>
              <a:gd name="T58" fmla="*/ 310 w 740"/>
              <a:gd name="T59" fmla="*/ 351 h 544"/>
              <a:gd name="T60" fmla="*/ 430 w 740"/>
              <a:gd name="T61" fmla="*/ 350 h 544"/>
              <a:gd name="T62" fmla="*/ 429 w 740"/>
              <a:gd name="T63" fmla="*/ 424 h 544"/>
              <a:gd name="T64" fmla="*/ 454 w 740"/>
              <a:gd name="T65" fmla="*/ 500 h 544"/>
              <a:gd name="T66" fmla="*/ 581 w 740"/>
              <a:gd name="T67" fmla="*/ 544 h 544"/>
              <a:gd name="T68" fmla="*/ 706 w 740"/>
              <a:gd name="T69" fmla="*/ 500 h 544"/>
              <a:gd name="T70" fmla="*/ 737 w 740"/>
              <a:gd name="T71" fmla="*/ 415 h 544"/>
              <a:gd name="T72" fmla="*/ 737 w 740"/>
              <a:gd name="T73" fmla="*/ 317 h 5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40" h="544">
                <a:moveTo>
                  <a:pt x="737" y="317"/>
                </a:moveTo>
                <a:lnTo>
                  <a:pt x="739" y="316"/>
                </a:lnTo>
                <a:lnTo>
                  <a:pt x="545" y="30"/>
                </a:lnTo>
                <a:lnTo>
                  <a:pt x="541" y="29"/>
                </a:lnTo>
                <a:cubicBezTo>
                  <a:pt x="541" y="29"/>
                  <a:pt x="464" y="0"/>
                  <a:pt x="415" y="77"/>
                </a:cubicBezTo>
                <a:lnTo>
                  <a:pt x="435" y="90"/>
                </a:lnTo>
                <a:cubicBezTo>
                  <a:pt x="469" y="37"/>
                  <a:pt x="517" y="46"/>
                  <a:pt x="530" y="50"/>
                </a:cubicBezTo>
                <a:lnTo>
                  <a:pt x="703" y="304"/>
                </a:lnTo>
                <a:cubicBezTo>
                  <a:pt x="679" y="299"/>
                  <a:pt x="641" y="292"/>
                  <a:pt x="591" y="292"/>
                </a:cubicBezTo>
                <a:cubicBezTo>
                  <a:pt x="541" y="292"/>
                  <a:pt x="490" y="299"/>
                  <a:pt x="439" y="311"/>
                </a:cubicBezTo>
                <a:lnTo>
                  <a:pt x="430" y="313"/>
                </a:lnTo>
                <a:lnTo>
                  <a:pt x="430" y="324"/>
                </a:lnTo>
                <a:cubicBezTo>
                  <a:pt x="385" y="305"/>
                  <a:pt x="334" y="317"/>
                  <a:pt x="310" y="326"/>
                </a:cubicBezTo>
                <a:lnTo>
                  <a:pt x="309" y="313"/>
                </a:lnTo>
                <a:lnTo>
                  <a:pt x="301" y="311"/>
                </a:lnTo>
                <a:cubicBezTo>
                  <a:pt x="250" y="299"/>
                  <a:pt x="199" y="292"/>
                  <a:pt x="149" y="292"/>
                </a:cubicBezTo>
                <a:cubicBezTo>
                  <a:pt x="102" y="292"/>
                  <a:pt x="66" y="298"/>
                  <a:pt x="42" y="303"/>
                </a:cubicBezTo>
                <a:lnTo>
                  <a:pt x="214" y="50"/>
                </a:lnTo>
                <a:cubicBezTo>
                  <a:pt x="227" y="46"/>
                  <a:pt x="275" y="36"/>
                  <a:pt x="309" y="90"/>
                </a:cubicBezTo>
                <a:lnTo>
                  <a:pt x="329" y="77"/>
                </a:lnTo>
                <a:cubicBezTo>
                  <a:pt x="280" y="0"/>
                  <a:pt x="203" y="29"/>
                  <a:pt x="202" y="29"/>
                </a:cubicBezTo>
                <a:lnTo>
                  <a:pt x="199" y="30"/>
                </a:lnTo>
                <a:lnTo>
                  <a:pt x="7" y="313"/>
                </a:lnTo>
                <a:lnTo>
                  <a:pt x="3" y="314"/>
                </a:lnTo>
                <a:lnTo>
                  <a:pt x="3" y="414"/>
                </a:lnTo>
                <a:cubicBezTo>
                  <a:pt x="3" y="416"/>
                  <a:pt x="0" y="463"/>
                  <a:pt x="34" y="500"/>
                </a:cubicBezTo>
                <a:cubicBezTo>
                  <a:pt x="61" y="530"/>
                  <a:pt x="103" y="544"/>
                  <a:pt x="159" y="544"/>
                </a:cubicBezTo>
                <a:cubicBezTo>
                  <a:pt x="217" y="544"/>
                  <a:pt x="260" y="530"/>
                  <a:pt x="286" y="500"/>
                </a:cubicBezTo>
                <a:cubicBezTo>
                  <a:pt x="316" y="466"/>
                  <a:pt x="311" y="426"/>
                  <a:pt x="311" y="425"/>
                </a:cubicBezTo>
                <a:lnTo>
                  <a:pt x="310" y="351"/>
                </a:lnTo>
                <a:cubicBezTo>
                  <a:pt x="327" y="344"/>
                  <a:pt x="385" y="325"/>
                  <a:pt x="430" y="350"/>
                </a:cubicBezTo>
                <a:lnTo>
                  <a:pt x="429" y="424"/>
                </a:lnTo>
                <a:cubicBezTo>
                  <a:pt x="428" y="426"/>
                  <a:pt x="424" y="466"/>
                  <a:pt x="454" y="500"/>
                </a:cubicBezTo>
                <a:cubicBezTo>
                  <a:pt x="480" y="530"/>
                  <a:pt x="523" y="544"/>
                  <a:pt x="581" y="544"/>
                </a:cubicBezTo>
                <a:cubicBezTo>
                  <a:pt x="637" y="544"/>
                  <a:pt x="679" y="530"/>
                  <a:pt x="706" y="500"/>
                </a:cubicBezTo>
                <a:cubicBezTo>
                  <a:pt x="740" y="463"/>
                  <a:pt x="737" y="416"/>
                  <a:pt x="737" y="415"/>
                </a:cubicBezTo>
                <a:lnTo>
                  <a:pt x="737" y="317"/>
                </a:lnTo>
                <a:close/>
              </a:path>
            </a:pathLst>
          </a:custGeom>
          <a:solidFill>
            <a:schemeClr val="accent1"/>
          </a:solidFill>
          <a:ln>
            <a:noFill/>
          </a:ln>
        </p:spPr>
        <p:txBody>
          <a:bodyPr vert="horz" wrap="square" lIns="91299" tIns="45649" rIns="91299" bIns="4564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98" b="0" i="0" u="none" strike="noStrike" kern="1200" cap="none" spc="0" normalizeH="0" baseline="0" noProof="0">
              <a:ln>
                <a:noFill/>
              </a:ln>
              <a:solidFill>
                <a:srgbClr val="3F3F3F"/>
              </a:solidFill>
              <a:effectLst/>
              <a:uLnTx/>
              <a:uFillTx/>
              <a:latin typeface="HarmonyOS Sans SC"/>
              <a:cs typeface="+mn-cs"/>
            </a:endParaRPr>
          </a:p>
        </p:txBody>
      </p:sp>
      <p:sp>
        <p:nvSpPr>
          <p:cNvPr id="27" name="Freeform 227">
            <a:extLst>
              <a:ext uri="{FF2B5EF4-FFF2-40B4-BE49-F238E27FC236}">
                <a16:creationId xmlns:a16="http://schemas.microsoft.com/office/drawing/2014/main" id="{475110C2-F1BD-4B91-B45B-94EA74C12E38}"/>
              </a:ext>
            </a:extLst>
          </p:cNvPr>
          <p:cNvSpPr>
            <a:spLocks noEditPoints="1"/>
          </p:cNvSpPr>
          <p:nvPr/>
        </p:nvSpPr>
        <p:spPr bwMode="auto">
          <a:xfrm>
            <a:off x="7755047" y="2380936"/>
            <a:ext cx="202692" cy="279179"/>
          </a:xfrm>
          <a:custGeom>
            <a:avLst/>
            <a:gdLst>
              <a:gd name="T0" fmla="*/ 464 w 559"/>
              <a:gd name="T1" fmla="*/ 294 h 765"/>
              <a:gd name="T2" fmla="*/ 243 w 559"/>
              <a:gd name="T3" fmla="*/ 0 h 765"/>
              <a:gd name="T4" fmla="*/ 125 w 559"/>
              <a:gd name="T5" fmla="*/ 269 h 765"/>
              <a:gd name="T6" fmla="*/ 6 w 559"/>
              <a:gd name="T7" fmla="*/ 513 h 765"/>
              <a:gd name="T8" fmla="*/ 239 w 559"/>
              <a:gd name="T9" fmla="*/ 764 h 765"/>
              <a:gd name="T10" fmla="*/ 168 w 559"/>
              <a:gd name="T11" fmla="*/ 658 h 765"/>
              <a:gd name="T12" fmla="*/ 223 w 559"/>
              <a:gd name="T13" fmla="*/ 545 h 765"/>
              <a:gd name="T14" fmla="*/ 282 w 559"/>
              <a:gd name="T15" fmla="*/ 419 h 765"/>
              <a:gd name="T16" fmla="*/ 382 w 559"/>
              <a:gd name="T17" fmla="*/ 556 h 765"/>
              <a:gd name="T18" fmla="*/ 423 w 559"/>
              <a:gd name="T19" fmla="*/ 641 h 765"/>
              <a:gd name="T20" fmla="*/ 375 w 559"/>
              <a:gd name="T21" fmla="*/ 749 h 765"/>
              <a:gd name="T22" fmla="*/ 550 w 559"/>
              <a:gd name="T23" fmla="*/ 476 h 765"/>
              <a:gd name="T24" fmla="*/ 464 w 559"/>
              <a:gd name="T25" fmla="*/ 294 h 765"/>
              <a:gd name="T26" fmla="*/ 346 w 559"/>
              <a:gd name="T27" fmla="*/ 642 h 765"/>
              <a:gd name="T28" fmla="*/ 288 w 559"/>
              <a:gd name="T29" fmla="*/ 565 h 765"/>
              <a:gd name="T30" fmla="*/ 258 w 559"/>
              <a:gd name="T31" fmla="*/ 635 h 765"/>
              <a:gd name="T32" fmla="*/ 227 w 559"/>
              <a:gd name="T33" fmla="*/ 699 h 765"/>
              <a:gd name="T34" fmla="*/ 287 w 559"/>
              <a:gd name="T35" fmla="*/ 764 h 765"/>
              <a:gd name="T36" fmla="*/ 287 w 559"/>
              <a:gd name="T37" fmla="*/ 764 h 765"/>
              <a:gd name="T38" fmla="*/ 299 w 559"/>
              <a:gd name="T39" fmla="*/ 765 h 765"/>
              <a:gd name="T40" fmla="*/ 323 w 559"/>
              <a:gd name="T41" fmla="*/ 760 h 765"/>
              <a:gd name="T42" fmla="*/ 323 w 559"/>
              <a:gd name="T43" fmla="*/ 760 h 765"/>
              <a:gd name="T44" fmla="*/ 368 w 559"/>
              <a:gd name="T45" fmla="*/ 689 h 765"/>
              <a:gd name="T46" fmla="*/ 346 w 559"/>
              <a:gd name="T47" fmla="*/ 642 h 7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59" h="765">
                <a:moveTo>
                  <a:pt x="464" y="294"/>
                </a:moveTo>
                <a:cubicBezTo>
                  <a:pt x="373" y="176"/>
                  <a:pt x="243" y="0"/>
                  <a:pt x="243" y="0"/>
                </a:cubicBezTo>
                <a:cubicBezTo>
                  <a:pt x="273" y="126"/>
                  <a:pt x="171" y="225"/>
                  <a:pt x="125" y="269"/>
                </a:cubicBezTo>
                <a:cubicBezTo>
                  <a:pt x="48" y="322"/>
                  <a:pt x="0" y="413"/>
                  <a:pt x="6" y="513"/>
                </a:cubicBezTo>
                <a:cubicBezTo>
                  <a:pt x="15" y="643"/>
                  <a:pt x="114" y="746"/>
                  <a:pt x="239" y="764"/>
                </a:cubicBezTo>
                <a:cubicBezTo>
                  <a:pt x="199" y="745"/>
                  <a:pt x="171" y="705"/>
                  <a:pt x="168" y="658"/>
                </a:cubicBezTo>
                <a:cubicBezTo>
                  <a:pt x="165" y="612"/>
                  <a:pt x="187" y="569"/>
                  <a:pt x="223" y="545"/>
                </a:cubicBezTo>
                <a:cubicBezTo>
                  <a:pt x="245" y="524"/>
                  <a:pt x="296" y="479"/>
                  <a:pt x="282" y="419"/>
                </a:cubicBezTo>
                <a:cubicBezTo>
                  <a:pt x="282" y="419"/>
                  <a:pt x="340" y="501"/>
                  <a:pt x="382" y="556"/>
                </a:cubicBezTo>
                <a:cubicBezTo>
                  <a:pt x="408" y="581"/>
                  <a:pt x="421" y="616"/>
                  <a:pt x="423" y="641"/>
                </a:cubicBezTo>
                <a:cubicBezTo>
                  <a:pt x="426" y="685"/>
                  <a:pt x="407" y="724"/>
                  <a:pt x="375" y="749"/>
                </a:cubicBezTo>
                <a:cubicBezTo>
                  <a:pt x="484" y="708"/>
                  <a:pt x="559" y="599"/>
                  <a:pt x="550" y="476"/>
                </a:cubicBezTo>
                <a:cubicBezTo>
                  <a:pt x="547" y="421"/>
                  <a:pt x="519" y="348"/>
                  <a:pt x="464" y="294"/>
                </a:cubicBezTo>
                <a:close/>
                <a:moveTo>
                  <a:pt x="346" y="642"/>
                </a:moveTo>
                <a:cubicBezTo>
                  <a:pt x="322" y="611"/>
                  <a:pt x="288" y="565"/>
                  <a:pt x="288" y="565"/>
                </a:cubicBezTo>
                <a:cubicBezTo>
                  <a:pt x="296" y="598"/>
                  <a:pt x="269" y="624"/>
                  <a:pt x="258" y="635"/>
                </a:cubicBezTo>
                <a:cubicBezTo>
                  <a:pt x="237" y="649"/>
                  <a:pt x="225" y="673"/>
                  <a:pt x="227" y="699"/>
                </a:cubicBezTo>
                <a:cubicBezTo>
                  <a:pt x="229" y="733"/>
                  <a:pt x="255" y="759"/>
                  <a:pt x="287" y="764"/>
                </a:cubicBezTo>
                <a:lnTo>
                  <a:pt x="287" y="764"/>
                </a:lnTo>
                <a:cubicBezTo>
                  <a:pt x="291" y="765"/>
                  <a:pt x="295" y="765"/>
                  <a:pt x="299" y="765"/>
                </a:cubicBezTo>
                <a:cubicBezTo>
                  <a:pt x="308" y="765"/>
                  <a:pt x="316" y="764"/>
                  <a:pt x="323" y="760"/>
                </a:cubicBezTo>
                <a:lnTo>
                  <a:pt x="323" y="760"/>
                </a:lnTo>
                <a:cubicBezTo>
                  <a:pt x="351" y="749"/>
                  <a:pt x="371" y="721"/>
                  <a:pt x="368" y="689"/>
                </a:cubicBezTo>
                <a:cubicBezTo>
                  <a:pt x="368" y="675"/>
                  <a:pt x="360" y="656"/>
                  <a:pt x="346" y="642"/>
                </a:cubicBezTo>
                <a:close/>
              </a:path>
            </a:pathLst>
          </a:custGeom>
          <a:solidFill>
            <a:schemeClr val="accent1"/>
          </a:solidFill>
          <a:ln>
            <a:noFill/>
          </a:ln>
        </p:spPr>
        <p:txBody>
          <a:bodyPr vert="horz" wrap="square" lIns="91299" tIns="45649" rIns="91299" bIns="4564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98" b="0" i="0" u="none" strike="noStrike" kern="1200" cap="none" spc="0" normalizeH="0" baseline="0" noProof="0">
              <a:ln>
                <a:noFill/>
              </a:ln>
              <a:solidFill>
                <a:srgbClr val="3F3F3F"/>
              </a:solidFill>
              <a:effectLst/>
              <a:uLnTx/>
              <a:uFillTx/>
              <a:latin typeface="HarmonyOS Sans SC"/>
              <a:cs typeface="+mn-cs"/>
            </a:endParaRPr>
          </a:p>
        </p:txBody>
      </p:sp>
      <p:sp>
        <p:nvSpPr>
          <p:cNvPr id="28" name="Freeform 282">
            <a:extLst>
              <a:ext uri="{FF2B5EF4-FFF2-40B4-BE49-F238E27FC236}">
                <a16:creationId xmlns:a16="http://schemas.microsoft.com/office/drawing/2014/main" id="{F7477D2A-997A-4D28-B3B5-837C75AEC1B5}"/>
              </a:ext>
            </a:extLst>
          </p:cNvPr>
          <p:cNvSpPr>
            <a:spLocks noEditPoints="1"/>
          </p:cNvSpPr>
          <p:nvPr/>
        </p:nvSpPr>
        <p:spPr bwMode="auto">
          <a:xfrm>
            <a:off x="6881568" y="4515090"/>
            <a:ext cx="195042" cy="210340"/>
          </a:xfrm>
          <a:custGeom>
            <a:avLst/>
            <a:gdLst>
              <a:gd name="T0" fmla="*/ 147 w 537"/>
              <a:gd name="T1" fmla="*/ 214 h 577"/>
              <a:gd name="T2" fmla="*/ 193 w 537"/>
              <a:gd name="T3" fmla="*/ 229 h 577"/>
              <a:gd name="T4" fmla="*/ 278 w 537"/>
              <a:gd name="T5" fmla="*/ 256 h 577"/>
              <a:gd name="T6" fmla="*/ 411 w 537"/>
              <a:gd name="T7" fmla="*/ 300 h 577"/>
              <a:gd name="T8" fmla="*/ 446 w 537"/>
              <a:gd name="T9" fmla="*/ 429 h 577"/>
              <a:gd name="T10" fmla="*/ 119 w 537"/>
              <a:gd name="T11" fmla="*/ 321 h 577"/>
              <a:gd name="T12" fmla="*/ 147 w 537"/>
              <a:gd name="T13" fmla="*/ 214 h 577"/>
              <a:gd name="T14" fmla="*/ 36 w 537"/>
              <a:gd name="T15" fmla="*/ 511 h 577"/>
              <a:gd name="T16" fmla="*/ 68 w 537"/>
              <a:gd name="T17" fmla="*/ 511 h 577"/>
              <a:gd name="T18" fmla="*/ 88 w 537"/>
              <a:gd name="T19" fmla="*/ 434 h 577"/>
              <a:gd name="T20" fmla="*/ 134 w 537"/>
              <a:gd name="T21" fmla="*/ 449 h 577"/>
              <a:gd name="T22" fmla="*/ 134 w 537"/>
              <a:gd name="T23" fmla="*/ 449 h 577"/>
              <a:gd name="T24" fmla="*/ 277 w 537"/>
              <a:gd name="T25" fmla="*/ 497 h 577"/>
              <a:gd name="T26" fmla="*/ 321 w 537"/>
              <a:gd name="T27" fmla="*/ 511 h 577"/>
              <a:gd name="T28" fmla="*/ 469 w 537"/>
              <a:gd name="T29" fmla="*/ 511 h 577"/>
              <a:gd name="T30" fmla="*/ 501 w 537"/>
              <a:gd name="T31" fmla="*/ 511 h 577"/>
              <a:gd name="T32" fmla="*/ 537 w 537"/>
              <a:gd name="T33" fmla="*/ 544 h 577"/>
              <a:gd name="T34" fmla="*/ 501 w 537"/>
              <a:gd name="T35" fmla="*/ 577 h 577"/>
              <a:gd name="T36" fmla="*/ 36 w 537"/>
              <a:gd name="T37" fmla="*/ 577 h 577"/>
              <a:gd name="T38" fmla="*/ 0 w 537"/>
              <a:gd name="T39" fmla="*/ 544 h 577"/>
              <a:gd name="T40" fmla="*/ 36 w 537"/>
              <a:gd name="T41" fmla="*/ 511 h 577"/>
              <a:gd name="T42" fmla="*/ 175 w 537"/>
              <a:gd name="T43" fmla="*/ 109 h 577"/>
              <a:gd name="T44" fmla="*/ 189 w 537"/>
              <a:gd name="T45" fmla="*/ 60 h 577"/>
              <a:gd name="T46" fmla="*/ 268 w 537"/>
              <a:gd name="T47" fmla="*/ 0 h 577"/>
              <a:gd name="T48" fmla="*/ 346 w 537"/>
              <a:gd name="T49" fmla="*/ 65 h 577"/>
              <a:gd name="T50" fmla="*/ 376 w 537"/>
              <a:gd name="T51" fmla="*/ 173 h 577"/>
              <a:gd name="T52" fmla="*/ 175 w 537"/>
              <a:gd name="T53" fmla="*/ 109 h 5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37" h="577">
                <a:moveTo>
                  <a:pt x="147" y="214"/>
                </a:moveTo>
                <a:lnTo>
                  <a:pt x="193" y="229"/>
                </a:lnTo>
                <a:cubicBezTo>
                  <a:pt x="219" y="237"/>
                  <a:pt x="249" y="247"/>
                  <a:pt x="278" y="256"/>
                </a:cubicBezTo>
                <a:lnTo>
                  <a:pt x="411" y="300"/>
                </a:lnTo>
                <a:lnTo>
                  <a:pt x="446" y="429"/>
                </a:lnTo>
                <a:cubicBezTo>
                  <a:pt x="383" y="408"/>
                  <a:pt x="175" y="340"/>
                  <a:pt x="119" y="321"/>
                </a:cubicBezTo>
                <a:lnTo>
                  <a:pt x="147" y="214"/>
                </a:lnTo>
                <a:close/>
                <a:moveTo>
                  <a:pt x="36" y="511"/>
                </a:moveTo>
                <a:lnTo>
                  <a:pt x="68" y="511"/>
                </a:lnTo>
                <a:lnTo>
                  <a:pt x="88" y="434"/>
                </a:lnTo>
                <a:cubicBezTo>
                  <a:pt x="102" y="439"/>
                  <a:pt x="117" y="444"/>
                  <a:pt x="134" y="449"/>
                </a:cubicBezTo>
                <a:lnTo>
                  <a:pt x="134" y="449"/>
                </a:lnTo>
                <a:cubicBezTo>
                  <a:pt x="169" y="461"/>
                  <a:pt x="231" y="481"/>
                  <a:pt x="277" y="497"/>
                </a:cubicBezTo>
                <a:lnTo>
                  <a:pt x="321" y="511"/>
                </a:lnTo>
                <a:cubicBezTo>
                  <a:pt x="325" y="512"/>
                  <a:pt x="469" y="511"/>
                  <a:pt x="469" y="511"/>
                </a:cubicBezTo>
                <a:lnTo>
                  <a:pt x="501" y="511"/>
                </a:lnTo>
                <a:cubicBezTo>
                  <a:pt x="520" y="511"/>
                  <a:pt x="537" y="525"/>
                  <a:pt x="537" y="544"/>
                </a:cubicBezTo>
                <a:cubicBezTo>
                  <a:pt x="537" y="562"/>
                  <a:pt x="520" y="577"/>
                  <a:pt x="501" y="577"/>
                </a:cubicBezTo>
                <a:lnTo>
                  <a:pt x="36" y="577"/>
                </a:lnTo>
                <a:cubicBezTo>
                  <a:pt x="16" y="577"/>
                  <a:pt x="0" y="562"/>
                  <a:pt x="0" y="544"/>
                </a:cubicBezTo>
                <a:cubicBezTo>
                  <a:pt x="0" y="525"/>
                  <a:pt x="16" y="511"/>
                  <a:pt x="36" y="511"/>
                </a:cubicBezTo>
                <a:close/>
                <a:moveTo>
                  <a:pt x="175" y="109"/>
                </a:moveTo>
                <a:lnTo>
                  <a:pt x="189" y="60"/>
                </a:lnTo>
                <a:cubicBezTo>
                  <a:pt x="193" y="39"/>
                  <a:pt x="214" y="0"/>
                  <a:pt x="268" y="0"/>
                </a:cubicBezTo>
                <a:cubicBezTo>
                  <a:pt x="322" y="0"/>
                  <a:pt x="343" y="41"/>
                  <a:pt x="346" y="65"/>
                </a:cubicBezTo>
                <a:lnTo>
                  <a:pt x="376" y="173"/>
                </a:lnTo>
                <a:cubicBezTo>
                  <a:pt x="317" y="154"/>
                  <a:pt x="217" y="122"/>
                  <a:pt x="175" y="109"/>
                </a:cubicBezTo>
                <a:close/>
              </a:path>
            </a:pathLst>
          </a:custGeom>
          <a:solidFill>
            <a:schemeClr val="accent1"/>
          </a:solidFill>
          <a:ln>
            <a:noFill/>
          </a:ln>
        </p:spPr>
        <p:txBody>
          <a:bodyPr vert="horz" wrap="square" lIns="91299" tIns="45649" rIns="91299" bIns="4564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98" b="0" i="0" u="none" strike="noStrike" kern="1200" cap="none" spc="0" normalizeH="0" baseline="0" noProof="0">
              <a:ln>
                <a:noFill/>
              </a:ln>
              <a:solidFill>
                <a:srgbClr val="3F3F3F"/>
              </a:solidFill>
              <a:effectLst/>
              <a:uLnTx/>
              <a:uFillTx/>
              <a:latin typeface="HarmonyOS Sans SC"/>
              <a:cs typeface="+mn-cs"/>
            </a:endParaRPr>
          </a:p>
        </p:txBody>
      </p:sp>
      <p:sp>
        <p:nvSpPr>
          <p:cNvPr id="29" name="Freeform 360">
            <a:extLst>
              <a:ext uri="{FF2B5EF4-FFF2-40B4-BE49-F238E27FC236}">
                <a16:creationId xmlns:a16="http://schemas.microsoft.com/office/drawing/2014/main" id="{2B7D0E50-87B1-4635-BE98-D6AE1D7BCA93}"/>
              </a:ext>
            </a:extLst>
          </p:cNvPr>
          <p:cNvSpPr>
            <a:spLocks noEditPoints="1"/>
          </p:cNvSpPr>
          <p:nvPr/>
        </p:nvSpPr>
        <p:spPr bwMode="auto">
          <a:xfrm>
            <a:off x="6838544" y="3265712"/>
            <a:ext cx="281091" cy="246671"/>
          </a:xfrm>
          <a:custGeom>
            <a:avLst/>
            <a:gdLst>
              <a:gd name="T0" fmla="*/ 50 w 772"/>
              <a:gd name="T1" fmla="*/ 461 h 676"/>
              <a:gd name="T2" fmla="*/ 51 w 772"/>
              <a:gd name="T3" fmla="*/ 461 h 676"/>
              <a:gd name="T4" fmla="*/ 386 w 772"/>
              <a:gd name="T5" fmla="*/ 600 h 676"/>
              <a:gd name="T6" fmla="*/ 722 w 772"/>
              <a:gd name="T7" fmla="*/ 461 h 676"/>
              <a:gd name="T8" fmla="*/ 736 w 772"/>
              <a:gd name="T9" fmla="*/ 459 h 676"/>
              <a:gd name="T10" fmla="*/ 750 w 772"/>
              <a:gd name="T11" fmla="*/ 528 h 676"/>
              <a:gd name="T12" fmla="*/ 400 w 772"/>
              <a:gd name="T13" fmla="*/ 673 h 676"/>
              <a:gd name="T14" fmla="*/ 400 w 772"/>
              <a:gd name="T15" fmla="*/ 673 h 676"/>
              <a:gd name="T16" fmla="*/ 372 w 772"/>
              <a:gd name="T17" fmla="*/ 673 h 676"/>
              <a:gd name="T18" fmla="*/ 372 w 772"/>
              <a:gd name="T19" fmla="*/ 673 h 676"/>
              <a:gd name="T20" fmla="*/ 23 w 772"/>
              <a:gd name="T21" fmla="*/ 528 h 676"/>
              <a:gd name="T22" fmla="*/ 37 w 772"/>
              <a:gd name="T23" fmla="*/ 459 h 676"/>
              <a:gd name="T24" fmla="*/ 750 w 772"/>
              <a:gd name="T25" fmla="*/ 215 h 676"/>
              <a:gd name="T26" fmla="*/ 400 w 772"/>
              <a:gd name="T27" fmla="*/ 359 h 676"/>
              <a:gd name="T28" fmla="*/ 386 w 772"/>
              <a:gd name="T29" fmla="*/ 362 h 676"/>
              <a:gd name="T30" fmla="*/ 372 w 772"/>
              <a:gd name="T31" fmla="*/ 359 h 676"/>
              <a:gd name="T32" fmla="*/ 372 w 772"/>
              <a:gd name="T33" fmla="*/ 359 h 676"/>
              <a:gd name="T34" fmla="*/ 0 w 772"/>
              <a:gd name="T35" fmla="*/ 181 h 676"/>
              <a:gd name="T36" fmla="*/ 23 w 772"/>
              <a:gd name="T37" fmla="*/ 148 h 676"/>
              <a:gd name="T38" fmla="*/ 372 w 772"/>
              <a:gd name="T39" fmla="*/ 3 h 676"/>
              <a:gd name="T40" fmla="*/ 386 w 772"/>
              <a:gd name="T41" fmla="*/ 0 h 676"/>
              <a:gd name="T42" fmla="*/ 400 w 772"/>
              <a:gd name="T43" fmla="*/ 3 h 676"/>
              <a:gd name="T44" fmla="*/ 400 w 772"/>
              <a:gd name="T45" fmla="*/ 3 h 676"/>
              <a:gd name="T46" fmla="*/ 772 w 772"/>
              <a:gd name="T47" fmla="*/ 181 h 676"/>
              <a:gd name="T48" fmla="*/ 750 w 772"/>
              <a:gd name="T49" fmla="*/ 371 h 676"/>
              <a:gd name="T50" fmla="*/ 400 w 772"/>
              <a:gd name="T51" fmla="*/ 516 h 676"/>
              <a:gd name="T52" fmla="*/ 400 w 772"/>
              <a:gd name="T53" fmla="*/ 516 h 676"/>
              <a:gd name="T54" fmla="*/ 372 w 772"/>
              <a:gd name="T55" fmla="*/ 516 h 676"/>
              <a:gd name="T56" fmla="*/ 372 w 772"/>
              <a:gd name="T57" fmla="*/ 516 h 676"/>
              <a:gd name="T58" fmla="*/ 23 w 772"/>
              <a:gd name="T59" fmla="*/ 371 h 676"/>
              <a:gd name="T60" fmla="*/ 37 w 772"/>
              <a:gd name="T61" fmla="*/ 302 h 676"/>
              <a:gd name="T62" fmla="*/ 50 w 772"/>
              <a:gd name="T63" fmla="*/ 305 h 676"/>
              <a:gd name="T64" fmla="*/ 51 w 772"/>
              <a:gd name="T65" fmla="*/ 305 h 676"/>
              <a:gd name="T66" fmla="*/ 722 w 772"/>
              <a:gd name="T67" fmla="*/ 305 h 676"/>
              <a:gd name="T68" fmla="*/ 722 w 772"/>
              <a:gd name="T69" fmla="*/ 305 h 676"/>
              <a:gd name="T70" fmla="*/ 772 w 772"/>
              <a:gd name="T71" fmla="*/ 338 h 6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72" h="676">
                <a:moveTo>
                  <a:pt x="37" y="459"/>
                </a:moveTo>
                <a:cubicBezTo>
                  <a:pt x="42" y="459"/>
                  <a:pt x="46" y="460"/>
                  <a:pt x="50" y="461"/>
                </a:cubicBezTo>
                <a:lnTo>
                  <a:pt x="50" y="461"/>
                </a:lnTo>
                <a:lnTo>
                  <a:pt x="51" y="461"/>
                </a:lnTo>
                <a:cubicBezTo>
                  <a:pt x="51" y="462"/>
                  <a:pt x="51" y="462"/>
                  <a:pt x="51" y="462"/>
                </a:cubicBezTo>
                <a:lnTo>
                  <a:pt x="386" y="600"/>
                </a:lnTo>
                <a:lnTo>
                  <a:pt x="722" y="462"/>
                </a:lnTo>
                <a:cubicBezTo>
                  <a:pt x="722" y="462"/>
                  <a:pt x="722" y="462"/>
                  <a:pt x="722" y="461"/>
                </a:cubicBezTo>
                <a:lnTo>
                  <a:pt x="722" y="461"/>
                </a:lnTo>
                <a:cubicBezTo>
                  <a:pt x="726" y="460"/>
                  <a:pt x="731" y="459"/>
                  <a:pt x="736" y="459"/>
                </a:cubicBezTo>
                <a:cubicBezTo>
                  <a:pt x="756" y="459"/>
                  <a:pt x="772" y="475"/>
                  <a:pt x="772" y="495"/>
                </a:cubicBezTo>
                <a:cubicBezTo>
                  <a:pt x="772" y="510"/>
                  <a:pt x="763" y="523"/>
                  <a:pt x="750" y="528"/>
                </a:cubicBezTo>
                <a:lnTo>
                  <a:pt x="750" y="528"/>
                </a:lnTo>
                <a:lnTo>
                  <a:pt x="400" y="673"/>
                </a:lnTo>
                <a:cubicBezTo>
                  <a:pt x="400" y="673"/>
                  <a:pt x="400" y="673"/>
                  <a:pt x="400" y="673"/>
                </a:cubicBezTo>
                <a:lnTo>
                  <a:pt x="400" y="673"/>
                </a:lnTo>
                <a:cubicBezTo>
                  <a:pt x="396" y="675"/>
                  <a:pt x="391" y="676"/>
                  <a:pt x="386" y="676"/>
                </a:cubicBezTo>
                <a:cubicBezTo>
                  <a:pt x="381" y="676"/>
                  <a:pt x="377" y="675"/>
                  <a:pt x="372" y="673"/>
                </a:cubicBezTo>
                <a:lnTo>
                  <a:pt x="372" y="673"/>
                </a:lnTo>
                <a:lnTo>
                  <a:pt x="372" y="673"/>
                </a:lnTo>
                <a:cubicBezTo>
                  <a:pt x="372" y="673"/>
                  <a:pt x="372" y="673"/>
                  <a:pt x="372" y="673"/>
                </a:cubicBezTo>
                <a:lnTo>
                  <a:pt x="23" y="528"/>
                </a:lnTo>
                <a:cubicBezTo>
                  <a:pt x="10" y="523"/>
                  <a:pt x="0" y="510"/>
                  <a:pt x="0" y="495"/>
                </a:cubicBezTo>
                <a:cubicBezTo>
                  <a:pt x="0" y="475"/>
                  <a:pt x="17" y="459"/>
                  <a:pt x="37" y="459"/>
                </a:cubicBezTo>
                <a:close/>
                <a:moveTo>
                  <a:pt x="750" y="215"/>
                </a:moveTo>
                <a:lnTo>
                  <a:pt x="750" y="215"/>
                </a:lnTo>
                <a:lnTo>
                  <a:pt x="400" y="359"/>
                </a:lnTo>
                <a:cubicBezTo>
                  <a:pt x="400" y="359"/>
                  <a:pt x="400" y="359"/>
                  <a:pt x="400" y="359"/>
                </a:cubicBezTo>
                <a:lnTo>
                  <a:pt x="400" y="359"/>
                </a:lnTo>
                <a:cubicBezTo>
                  <a:pt x="396" y="361"/>
                  <a:pt x="391" y="362"/>
                  <a:pt x="386" y="362"/>
                </a:cubicBezTo>
                <a:cubicBezTo>
                  <a:pt x="381" y="362"/>
                  <a:pt x="377" y="361"/>
                  <a:pt x="372" y="359"/>
                </a:cubicBezTo>
                <a:lnTo>
                  <a:pt x="372" y="359"/>
                </a:lnTo>
                <a:lnTo>
                  <a:pt x="372" y="359"/>
                </a:lnTo>
                <a:cubicBezTo>
                  <a:pt x="372" y="359"/>
                  <a:pt x="372" y="359"/>
                  <a:pt x="372" y="359"/>
                </a:cubicBezTo>
                <a:lnTo>
                  <a:pt x="23" y="215"/>
                </a:lnTo>
                <a:cubicBezTo>
                  <a:pt x="10" y="209"/>
                  <a:pt x="0" y="196"/>
                  <a:pt x="0" y="181"/>
                </a:cubicBezTo>
                <a:cubicBezTo>
                  <a:pt x="0" y="166"/>
                  <a:pt x="10" y="153"/>
                  <a:pt x="23" y="148"/>
                </a:cubicBezTo>
                <a:lnTo>
                  <a:pt x="23" y="148"/>
                </a:lnTo>
                <a:lnTo>
                  <a:pt x="372" y="3"/>
                </a:lnTo>
                <a:cubicBezTo>
                  <a:pt x="372" y="3"/>
                  <a:pt x="372" y="3"/>
                  <a:pt x="372" y="3"/>
                </a:cubicBezTo>
                <a:lnTo>
                  <a:pt x="372" y="3"/>
                </a:lnTo>
                <a:cubicBezTo>
                  <a:pt x="377" y="1"/>
                  <a:pt x="381" y="0"/>
                  <a:pt x="386" y="0"/>
                </a:cubicBezTo>
                <a:cubicBezTo>
                  <a:pt x="391" y="0"/>
                  <a:pt x="396" y="1"/>
                  <a:pt x="400" y="3"/>
                </a:cubicBezTo>
                <a:lnTo>
                  <a:pt x="400" y="3"/>
                </a:lnTo>
                <a:lnTo>
                  <a:pt x="400" y="3"/>
                </a:lnTo>
                <a:cubicBezTo>
                  <a:pt x="400" y="3"/>
                  <a:pt x="400" y="3"/>
                  <a:pt x="400" y="3"/>
                </a:cubicBezTo>
                <a:lnTo>
                  <a:pt x="750" y="148"/>
                </a:lnTo>
                <a:cubicBezTo>
                  <a:pt x="763" y="153"/>
                  <a:pt x="772" y="166"/>
                  <a:pt x="772" y="181"/>
                </a:cubicBezTo>
                <a:cubicBezTo>
                  <a:pt x="772" y="196"/>
                  <a:pt x="763" y="209"/>
                  <a:pt x="750" y="215"/>
                </a:cubicBezTo>
                <a:close/>
                <a:moveTo>
                  <a:pt x="750" y="371"/>
                </a:moveTo>
                <a:lnTo>
                  <a:pt x="750" y="371"/>
                </a:lnTo>
                <a:lnTo>
                  <a:pt x="400" y="516"/>
                </a:lnTo>
                <a:cubicBezTo>
                  <a:pt x="400" y="516"/>
                  <a:pt x="400" y="516"/>
                  <a:pt x="400" y="516"/>
                </a:cubicBezTo>
                <a:lnTo>
                  <a:pt x="400" y="516"/>
                </a:lnTo>
                <a:cubicBezTo>
                  <a:pt x="396" y="518"/>
                  <a:pt x="391" y="519"/>
                  <a:pt x="386" y="519"/>
                </a:cubicBezTo>
                <a:cubicBezTo>
                  <a:pt x="381" y="519"/>
                  <a:pt x="377" y="518"/>
                  <a:pt x="372" y="516"/>
                </a:cubicBezTo>
                <a:lnTo>
                  <a:pt x="372" y="516"/>
                </a:lnTo>
                <a:lnTo>
                  <a:pt x="372" y="516"/>
                </a:lnTo>
                <a:cubicBezTo>
                  <a:pt x="372" y="516"/>
                  <a:pt x="372" y="516"/>
                  <a:pt x="372" y="516"/>
                </a:cubicBezTo>
                <a:lnTo>
                  <a:pt x="23" y="371"/>
                </a:lnTo>
                <a:cubicBezTo>
                  <a:pt x="10" y="366"/>
                  <a:pt x="0" y="353"/>
                  <a:pt x="0" y="338"/>
                </a:cubicBezTo>
                <a:cubicBezTo>
                  <a:pt x="0" y="318"/>
                  <a:pt x="17" y="302"/>
                  <a:pt x="37" y="302"/>
                </a:cubicBezTo>
                <a:cubicBezTo>
                  <a:pt x="42" y="302"/>
                  <a:pt x="46" y="303"/>
                  <a:pt x="50" y="305"/>
                </a:cubicBezTo>
                <a:lnTo>
                  <a:pt x="50" y="305"/>
                </a:lnTo>
                <a:lnTo>
                  <a:pt x="51" y="305"/>
                </a:lnTo>
                <a:cubicBezTo>
                  <a:pt x="51" y="305"/>
                  <a:pt x="51" y="305"/>
                  <a:pt x="51" y="305"/>
                </a:cubicBezTo>
                <a:lnTo>
                  <a:pt x="386" y="444"/>
                </a:lnTo>
                <a:lnTo>
                  <a:pt x="722" y="305"/>
                </a:lnTo>
                <a:cubicBezTo>
                  <a:pt x="722" y="305"/>
                  <a:pt x="722" y="305"/>
                  <a:pt x="722" y="305"/>
                </a:cubicBezTo>
                <a:lnTo>
                  <a:pt x="722" y="305"/>
                </a:lnTo>
                <a:cubicBezTo>
                  <a:pt x="726" y="303"/>
                  <a:pt x="731" y="302"/>
                  <a:pt x="736" y="302"/>
                </a:cubicBezTo>
                <a:cubicBezTo>
                  <a:pt x="756" y="302"/>
                  <a:pt x="772" y="318"/>
                  <a:pt x="772" y="338"/>
                </a:cubicBezTo>
                <a:cubicBezTo>
                  <a:pt x="772" y="353"/>
                  <a:pt x="763" y="366"/>
                  <a:pt x="750" y="371"/>
                </a:cubicBezTo>
                <a:close/>
              </a:path>
            </a:pathLst>
          </a:custGeom>
          <a:solidFill>
            <a:schemeClr val="accent1"/>
          </a:solidFill>
          <a:ln>
            <a:noFill/>
          </a:ln>
        </p:spPr>
        <p:txBody>
          <a:bodyPr vert="horz" wrap="square" lIns="91299" tIns="45649" rIns="91299" bIns="4564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98" b="0" i="0" u="none" strike="noStrike" kern="1200" cap="none" spc="0" normalizeH="0" baseline="0" noProof="0">
              <a:ln>
                <a:noFill/>
              </a:ln>
              <a:solidFill>
                <a:srgbClr val="3F3F3F"/>
              </a:solidFill>
              <a:effectLst/>
              <a:uLnTx/>
              <a:uFillTx/>
              <a:latin typeface="HarmonyOS Sans SC"/>
              <a:cs typeface="+mn-cs"/>
            </a:endParaRPr>
          </a:p>
        </p:txBody>
      </p:sp>
      <p:sp>
        <p:nvSpPr>
          <p:cNvPr id="30" name="Oval 94">
            <a:extLst>
              <a:ext uri="{FF2B5EF4-FFF2-40B4-BE49-F238E27FC236}">
                <a16:creationId xmlns:a16="http://schemas.microsoft.com/office/drawing/2014/main" id="{1760F0E1-938E-4E04-963A-D5A11F0F5E90}"/>
              </a:ext>
            </a:extLst>
          </p:cNvPr>
          <p:cNvSpPr/>
          <p:nvPr/>
        </p:nvSpPr>
        <p:spPr>
          <a:xfrm>
            <a:off x="1258985" y="1899906"/>
            <a:ext cx="867226" cy="867226"/>
          </a:xfrm>
          <a:prstGeom prst="ellipse">
            <a:avLst/>
          </a:prstGeom>
          <a:gradFill>
            <a:gsLst>
              <a:gs pos="73000">
                <a:schemeClr val="accent1"/>
              </a:gs>
              <a:gs pos="31000">
                <a:schemeClr val="accent1">
                  <a:lumMod val="60000"/>
                  <a:lumOff val="40000"/>
                </a:schemeClr>
              </a:gs>
              <a:gs pos="0">
                <a:schemeClr val="accent1">
                  <a:lumMod val="40000"/>
                  <a:lumOff val="60000"/>
                </a:schemeClr>
              </a:gs>
            </a:gsLst>
            <a:path path="circle">
              <a:fillToRect r="100000" b="100000"/>
            </a:path>
          </a:gradFill>
          <a:ln>
            <a:noFill/>
          </a:ln>
          <a:effectLst>
            <a:outerShdw blurRad="444500" dist="317500" dir="5400000" sx="92000" sy="92000" algn="t" rotWithShape="0">
              <a:schemeClr val="accent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31" name="TextBox 95">
            <a:extLst>
              <a:ext uri="{FF2B5EF4-FFF2-40B4-BE49-F238E27FC236}">
                <a16:creationId xmlns:a16="http://schemas.microsoft.com/office/drawing/2014/main" id="{DACC982B-6239-40ED-8ADF-F4FAE484DFC8}"/>
              </a:ext>
            </a:extLst>
          </p:cNvPr>
          <p:cNvSpPr txBox="1"/>
          <p:nvPr/>
        </p:nvSpPr>
        <p:spPr>
          <a:xfrm>
            <a:off x="2297971" y="1921963"/>
            <a:ext cx="1749197"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lumMod val="75000"/>
                    <a:lumOff val="25000"/>
                  </a:prstClr>
                </a:solidFill>
                <a:effectLst/>
                <a:uLnTx/>
                <a:uFillTx/>
                <a:latin typeface="HarmonyOS Sans SC Black"/>
                <a:ea typeface="+mj-ea"/>
                <a:cs typeface="+mn-cs"/>
              </a:rPr>
              <a:t>Insert title here</a:t>
            </a:r>
          </a:p>
        </p:txBody>
      </p:sp>
      <p:sp>
        <p:nvSpPr>
          <p:cNvPr id="32" name="TextBox 96">
            <a:extLst>
              <a:ext uri="{FF2B5EF4-FFF2-40B4-BE49-F238E27FC236}">
                <a16:creationId xmlns:a16="http://schemas.microsoft.com/office/drawing/2014/main" id="{7970F75B-BB2C-4E78-9062-5938BDC717E7}"/>
              </a:ext>
            </a:extLst>
          </p:cNvPr>
          <p:cNvSpPr txBox="1"/>
          <p:nvPr/>
        </p:nvSpPr>
        <p:spPr>
          <a:xfrm>
            <a:off x="2297972" y="2270348"/>
            <a:ext cx="3321540" cy="498598"/>
          </a:xfrm>
          <a:prstGeom prst="rect">
            <a:avLst/>
          </a:prstGeom>
          <a:noFill/>
        </p:spPr>
        <p:txBody>
          <a:bodyPr wrap="square" rtlCol="0">
            <a:sp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50000"/>
                    <a:lumOff val="50000"/>
                  </a:prstClr>
                </a:solidFill>
                <a:effectLst/>
                <a:uLnTx/>
                <a:uFillTx/>
                <a:latin typeface="HarmonyOS Sans SC"/>
                <a:cs typeface="+mn-cs"/>
              </a:rPr>
              <a:t>Sed ut perspiciatis unde omnis iste natus error voluptatem rem aperiam doloremque.</a:t>
            </a:r>
          </a:p>
        </p:txBody>
      </p:sp>
      <p:sp>
        <p:nvSpPr>
          <p:cNvPr id="33" name="Oval 97">
            <a:extLst>
              <a:ext uri="{FF2B5EF4-FFF2-40B4-BE49-F238E27FC236}">
                <a16:creationId xmlns:a16="http://schemas.microsoft.com/office/drawing/2014/main" id="{2D457F08-5689-4F71-995A-1E1B976FCC15}"/>
              </a:ext>
            </a:extLst>
          </p:cNvPr>
          <p:cNvSpPr/>
          <p:nvPr/>
        </p:nvSpPr>
        <p:spPr>
          <a:xfrm>
            <a:off x="1258985" y="2992452"/>
            <a:ext cx="867226" cy="867226"/>
          </a:xfrm>
          <a:prstGeom prst="ellipse">
            <a:avLst/>
          </a:prstGeom>
          <a:gradFill>
            <a:gsLst>
              <a:gs pos="73000">
                <a:schemeClr val="accent1"/>
              </a:gs>
              <a:gs pos="31000">
                <a:schemeClr val="accent1">
                  <a:lumMod val="60000"/>
                  <a:lumOff val="40000"/>
                </a:schemeClr>
              </a:gs>
              <a:gs pos="0">
                <a:schemeClr val="accent1">
                  <a:lumMod val="40000"/>
                  <a:lumOff val="60000"/>
                </a:schemeClr>
              </a:gs>
            </a:gsLst>
            <a:path path="circle">
              <a:fillToRect r="100000" b="100000"/>
            </a:path>
          </a:gradFill>
          <a:ln>
            <a:noFill/>
          </a:ln>
          <a:effectLst>
            <a:outerShdw blurRad="444500" dist="317500" dir="5400000" sx="92000" sy="92000" algn="t" rotWithShape="0">
              <a:schemeClr val="accent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34" name="TextBox 98">
            <a:extLst>
              <a:ext uri="{FF2B5EF4-FFF2-40B4-BE49-F238E27FC236}">
                <a16:creationId xmlns:a16="http://schemas.microsoft.com/office/drawing/2014/main" id="{141D56AB-4A62-47DA-B949-377ABC0F24AD}"/>
              </a:ext>
            </a:extLst>
          </p:cNvPr>
          <p:cNvSpPr txBox="1"/>
          <p:nvPr/>
        </p:nvSpPr>
        <p:spPr>
          <a:xfrm>
            <a:off x="2297971" y="3014509"/>
            <a:ext cx="1749197"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lumMod val="75000"/>
                    <a:lumOff val="25000"/>
                  </a:prstClr>
                </a:solidFill>
                <a:effectLst/>
                <a:uLnTx/>
                <a:uFillTx/>
                <a:latin typeface="HarmonyOS Sans SC Black"/>
                <a:ea typeface="+mj-ea"/>
                <a:cs typeface="+mn-cs"/>
              </a:rPr>
              <a:t>Insert title here</a:t>
            </a:r>
          </a:p>
        </p:txBody>
      </p:sp>
      <p:sp>
        <p:nvSpPr>
          <p:cNvPr id="35" name="TextBox 99">
            <a:extLst>
              <a:ext uri="{FF2B5EF4-FFF2-40B4-BE49-F238E27FC236}">
                <a16:creationId xmlns:a16="http://schemas.microsoft.com/office/drawing/2014/main" id="{E91CEA63-3EFC-49DC-83C2-6D1403BD792B}"/>
              </a:ext>
            </a:extLst>
          </p:cNvPr>
          <p:cNvSpPr txBox="1"/>
          <p:nvPr/>
        </p:nvSpPr>
        <p:spPr>
          <a:xfrm>
            <a:off x="2297972" y="3362894"/>
            <a:ext cx="3321540" cy="498598"/>
          </a:xfrm>
          <a:prstGeom prst="rect">
            <a:avLst/>
          </a:prstGeom>
          <a:noFill/>
        </p:spPr>
        <p:txBody>
          <a:bodyPr wrap="square" rtlCol="0">
            <a:sp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3F3F3F">
                    <a:lumMod val="65000"/>
                    <a:lumOff val="35000"/>
                  </a:srgbClr>
                </a:solidFill>
                <a:effectLst/>
                <a:uLnTx/>
                <a:uFillTx/>
                <a:latin typeface="HarmonyOS Sans SC"/>
                <a:cs typeface="+mn-cs"/>
              </a:rPr>
              <a:t>Sed ut perspiciatis unde omnis iste natus error voluptatem rem aperiam doloremque.</a:t>
            </a:r>
          </a:p>
        </p:txBody>
      </p:sp>
      <p:sp>
        <p:nvSpPr>
          <p:cNvPr id="36" name="Oval 100">
            <a:extLst>
              <a:ext uri="{FF2B5EF4-FFF2-40B4-BE49-F238E27FC236}">
                <a16:creationId xmlns:a16="http://schemas.microsoft.com/office/drawing/2014/main" id="{72DEB111-B52A-4E1D-B2D2-61ACB753AD9A}"/>
              </a:ext>
            </a:extLst>
          </p:cNvPr>
          <p:cNvSpPr/>
          <p:nvPr/>
        </p:nvSpPr>
        <p:spPr>
          <a:xfrm>
            <a:off x="1258985" y="4084998"/>
            <a:ext cx="867226" cy="867226"/>
          </a:xfrm>
          <a:prstGeom prst="ellipse">
            <a:avLst/>
          </a:prstGeom>
          <a:gradFill>
            <a:gsLst>
              <a:gs pos="73000">
                <a:schemeClr val="accent1"/>
              </a:gs>
              <a:gs pos="31000">
                <a:schemeClr val="accent1">
                  <a:lumMod val="60000"/>
                  <a:lumOff val="40000"/>
                </a:schemeClr>
              </a:gs>
              <a:gs pos="0">
                <a:schemeClr val="accent1">
                  <a:lumMod val="40000"/>
                  <a:lumOff val="60000"/>
                </a:schemeClr>
              </a:gs>
            </a:gsLst>
            <a:path path="circle">
              <a:fillToRect r="100000" b="100000"/>
            </a:path>
          </a:gradFill>
          <a:ln>
            <a:noFill/>
          </a:ln>
          <a:effectLst>
            <a:outerShdw blurRad="444500" dist="317500" dir="5400000" sx="92000" sy="92000" algn="t" rotWithShape="0">
              <a:schemeClr val="accent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37" name="TextBox 101">
            <a:extLst>
              <a:ext uri="{FF2B5EF4-FFF2-40B4-BE49-F238E27FC236}">
                <a16:creationId xmlns:a16="http://schemas.microsoft.com/office/drawing/2014/main" id="{B9F25316-2940-49D2-B833-486042530B4A}"/>
              </a:ext>
            </a:extLst>
          </p:cNvPr>
          <p:cNvSpPr txBox="1"/>
          <p:nvPr/>
        </p:nvSpPr>
        <p:spPr>
          <a:xfrm>
            <a:off x="2297971" y="4107055"/>
            <a:ext cx="1749197"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lumMod val="75000"/>
                    <a:lumOff val="25000"/>
                  </a:prstClr>
                </a:solidFill>
                <a:effectLst/>
                <a:uLnTx/>
                <a:uFillTx/>
                <a:latin typeface="HarmonyOS Sans SC Black"/>
                <a:ea typeface="+mj-ea"/>
                <a:cs typeface="+mn-cs"/>
              </a:rPr>
              <a:t>Insert title here</a:t>
            </a:r>
          </a:p>
        </p:txBody>
      </p:sp>
      <p:sp>
        <p:nvSpPr>
          <p:cNvPr id="38" name="TextBox 102">
            <a:extLst>
              <a:ext uri="{FF2B5EF4-FFF2-40B4-BE49-F238E27FC236}">
                <a16:creationId xmlns:a16="http://schemas.microsoft.com/office/drawing/2014/main" id="{3BEA0104-EBD7-4648-8080-C86DF25E75F0}"/>
              </a:ext>
            </a:extLst>
          </p:cNvPr>
          <p:cNvSpPr txBox="1"/>
          <p:nvPr/>
        </p:nvSpPr>
        <p:spPr>
          <a:xfrm>
            <a:off x="2297972" y="4455440"/>
            <a:ext cx="3321540" cy="498598"/>
          </a:xfrm>
          <a:prstGeom prst="rect">
            <a:avLst/>
          </a:prstGeom>
          <a:noFill/>
        </p:spPr>
        <p:txBody>
          <a:bodyPr wrap="square" rtlCol="0">
            <a:sp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3F3F3F">
                    <a:lumMod val="65000"/>
                    <a:lumOff val="35000"/>
                  </a:srgbClr>
                </a:solidFill>
                <a:effectLst/>
                <a:uLnTx/>
                <a:uFillTx/>
                <a:latin typeface="HarmonyOS Sans SC"/>
                <a:cs typeface="+mn-cs"/>
              </a:rPr>
              <a:t>Sed ut perspiciatis unde omnis iste natus error voluptatem rem aperiam doloremque.</a:t>
            </a:r>
          </a:p>
        </p:txBody>
      </p:sp>
      <p:sp>
        <p:nvSpPr>
          <p:cNvPr id="39" name="Oval 103">
            <a:extLst>
              <a:ext uri="{FF2B5EF4-FFF2-40B4-BE49-F238E27FC236}">
                <a16:creationId xmlns:a16="http://schemas.microsoft.com/office/drawing/2014/main" id="{E81EE55A-7F5F-414F-AC98-C55259C404E9}"/>
              </a:ext>
            </a:extLst>
          </p:cNvPr>
          <p:cNvSpPr/>
          <p:nvPr/>
        </p:nvSpPr>
        <p:spPr>
          <a:xfrm>
            <a:off x="1258985" y="5177543"/>
            <a:ext cx="867226" cy="867226"/>
          </a:xfrm>
          <a:prstGeom prst="ellipse">
            <a:avLst/>
          </a:prstGeom>
          <a:gradFill>
            <a:gsLst>
              <a:gs pos="73000">
                <a:schemeClr val="accent1"/>
              </a:gs>
              <a:gs pos="31000">
                <a:schemeClr val="accent1">
                  <a:lumMod val="60000"/>
                  <a:lumOff val="40000"/>
                </a:schemeClr>
              </a:gs>
              <a:gs pos="0">
                <a:schemeClr val="accent1">
                  <a:lumMod val="40000"/>
                  <a:lumOff val="60000"/>
                </a:schemeClr>
              </a:gs>
            </a:gsLst>
            <a:path path="circle">
              <a:fillToRect r="100000" b="100000"/>
            </a:path>
          </a:gradFill>
          <a:ln>
            <a:noFill/>
          </a:ln>
          <a:effectLst>
            <a:outerShdw blurRad="444500" dist="317500" dir="5400000" sx="92000" sy="92000" algn="t" rotWithShape="0">
              <a:schemeClr val="accent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40" name="TextBox 104">
            <a:extLst>
              <a:ext uri="{FF2B5EF4-FFF2-40B4-BE49-F238E27FC236}">
                <a16:creationId xmlns:a16="http://schemas.microsoft.com/office/drawing/2014/main" id="{C010357C-E4C3-40CF-AE8A-E173D11167B1}"/>
              </a:ext>
            </a:extLst>
          </p:cNvPr>
          <p:cNvSpPr txBox="1"/>
          <p:nvPr/>
        </p:nvSpPr>
        <p:spPr>
          <a:xfrm>
            <a:off x="2297971" y="5199600"/>
            <a:ext cx="1749197"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lumMod val="75000"/>
                    <a:lumOff val="25000"/>
                  </a:prstClr>
                </a:solidFill>
                <a:effectLst/>
                <a:uLnTx/>
                <a:uFillTx/>
                <a:latin typeface="HarmonyOS Sans SC Black"/>
                <a:ea typeface="+mj-ea"/>
                <a:cs typeface="+mn-cs"/>
              </a:rPr>
              <a:t>Insert title here</a:t>
            </a:r>
          </a:p>
        </p:txBody>
      </p:sp>
      <p:sp>
        <p:nvSpPr>
          <p:cNvPr id="41" name="TextBox 105">
            <a:extLst>
              <a:ext uri="{FF2B5EF4-FFF2-40B4-BE49-F238E27FC236}">
                <a16:creationId xmlns:a16="http://schemas.microsoft.com/office/drawing/2014/main" id="{209233A5-394B-418E-A497-8FB7A59DC34A}"/>
              </a:ext>
            </a:extLst>
          </p:cNvPr>
          <p:cNvSpPr txBox="1"/>
          <p:nvPr/>
        </p:nvSpPr>
        <p:spPr>
          <a:xfrm>
            <a:off x="2297972" y="5547985"/>
            <a:ext cx="3321540" cy="498598"/>
          </a:xfrm>
          <a:prstGeom prst="rect">
            <a:avLst/>
          </a:prstGeom>
          <a:noFill/>
        </p:spPr>
        <p:txBody>
          <a:bodyPr wrap="square" rtlCol="0">
            <a:sp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3F3F3F">
                    <a:lumMod val="65000"/>
                    <a:lumOff val="35000"/>
                  </a:srgbClr>
                </a:solidFill>
                <a:effectLst/>
                <a:uLnTx/>
                <a:uFillTx/>
                <a:latin typeface="HarmonyOS Sans SC"/>
                <a:cs typeface="+mn-cs"/>
              </a:rPr>
              <a:t>Sed ut perspiciatis unde omnis iste natus error voluptatem rem aperiam doloremque.</a:t>
            </a:r>
          </a:p>
        </p:txBody>
      </p:sp>
      <p:sp>
        <p:nvSpPr>
          <p:cNvPr id="42" name="Freeform 1120">
            <a:extLst>
              <a:ext uri="{FF2B5EF4-FFF2-40B4-BE49-F238E27FC236}">
                <a16:creationId xmlns:a16="http://schemas.microsoft.com/office/drawing/2014/main" id="{59950FA7-91E9-476A-B587-D6F3A58AE614}"/>
              </a:ext>
            </a:extLst>
          </p:cNvPr>
          <p:cNvSpPr>
            <a:spLocks noEditPoints="1"/>
          </p:cNvSpPr>
          <p:nvPr/>
        </p:nvSpPr>
        <p:spPr bwMode="auto">
          <a:xfrm>
            <a:off x="1555463" y="5506326"/>
            <a:ext cx="303581" cy="240314"/>
          </a:xfrm>
          <a:custGeom>
            <a:avLst/>
            <a:gdLst>
              <a:gd name="T0" fmla="*/ 2455 w 3573"/>
              <a:gd name="T1" fmla="*/ 579 h 2827"/>
              <a:gd name="T2" fmla="*/ 2600 w 3573"/>
              <a:gd name="T3" fmla="*/ 760 h 2827"/>
              <a:gd name="T4" fmla="*/ 2739 w 3573"/>
              <a:gd name="T5" fmla="*/ 1081 h 2827"/>
              <a:gd name="T6" fmla="*/ 2787 w 3573"/>
              <a:gd name="T7" fmla="*/ 1432 h 2827"/>
              <a:gd name="T8" fmla="*/ 2745 w 3573"/>
              <a:gd name="T9" fmla="*/ 1761 h 2827"/>
              <a:gd name="T10" fmla="*/ 2621 w 3573"/>
              <a:gd name="T11" fmla="*/ 2067 h 2827"/>
              <a:gd name="T12" fmla="*/ 2489 w 3573"/>
              <a:gd name="T13" fmla="*/ 2244 h 2827"/>
              <a:gd name="T14" fmla="*/ 2399 w 3573"/>
              <a:gd name="T15" fmla="*/ 2271 h 2827"/>
              <a:gd name="T16" fmla="*/ 2304 w 3573"/>
              <a:gd name="T17" fmla="*/ 2241 h 2827"/>
              <a:gd name="T18" fmla="*/ 2230 w 3573"/>
              <a:gd name="T19" fmla="*/ 2155 h 2827"/>
              <a:gd name="T20" fmla="*/ 2221 w 3573"/>
              <a:gd name="T21" fmla="*/ 2044 h 2827"/>
              <a:gd name="T22" fmla="*/ 2327 w 3573"/>
              <a:gd name="T23" fmla="*/ 1864 h 2827"/>
              <a:gd name="T24" fmla="*/ 2421 w 3573"/>
              <a:gd name="T25" fmla="*/ 1582 h 2827"/>
              <a:gd name="T26" fmla="*/ 2422 w 3573"/>
              <a:gd name="T27" fmla="*/ 1289 h 2827"/>
              <a:gd name="T28" fmla="*/ 2338 w 3573"/>
              <a:gd name="T29" fmla="*/ 1020 h 2827"/>
              <a:gd name="T30" fmla="*/ 2205 w 3573"/>
              <a:gd name="T31" fmla="*/ 815 h 2827"/>
              <a:gd name="T32" fmla="*/ 2191 w 3573"/>
              <a:gd name="T33" fmla="*/ 701 h 2827"/>
              <a:gd name="T34" fmla="*/ 2255 w 3573"/>
              <a:gd name="T35" fmla="*/ 602 h 2827"/>
              <a:gd name="T36" fmla="*/ 2350 w 3573"/>
              <a:gd name="T37" fmla="*/ 557 h 2827"/>
              <a:gd name="T38" fmla="*/ 1694 w 3573"/>
              <a:gd name="T39" fmla="*/ 195 h 2827"/>
              <a:gd name="T40" fmla="*/ 1776 w 3573"/>
              <a:gd name="T41" fmla="*/ 282 h 2827"/>
              <a:gd name="T42" fmla="*/ 1785 w 3573"/>
              <a:gd name="T43" fmla="*/ 2553 h 2827"/>
              <a:gd name="T44" fmla="*/ 1720 w 3573"/>
              <a:gd name="T45" fmla="*/ 2653 h 2827"/>
              <a:gd name="T46" fmla="*/ 1625 w 3573"/>
              <a:gd name="T47" fmla="*/ 2685 h 2827"/>
              <a:gd name="T48" fmla="*/ 1522 w 3573"/>
              <a:gd name="T49" fmla="*/ 2647 h 2827"/>
              <a:gd name="T50" fmla="*/ 99 w 3573"/>
              <a:gd name="T51" fmla="*/ 1903 h 2827"/>
              <a:gd name="T52" fmla="*/ 13 w 3573"/>
              <a:gd name="T53" fmla="*/ 1817 h 2827"/>
              <a:gd name="T54" fmla="*/ 3 w 3573"/>
              <a:gd name="T55" fmla="*/ 1078 h 2827"/>
              <a:gd name="T56" fmla="*/ 72 w 3573"/>
              <a:gd name="T57" fmla="*/ 976 h 2827"/>
              <a:gd name="T58" fmla="*/ 635 w 3573"/>
              <a:gd name="T59" fmla="*/ 949 h 2827"/>
              <a:gd name="T60" fmla="*/ 1605 w 3573"/>
              <a:gd name="T61" fmla="*/ 181 h 2827"/>
              <a:gd name="T62" fmla="*/ 2983 w 3573"/>
              <a:gd name="T63" fmla="*/ 11 h 2827"/>
              <a:gd name="T64" fmla="*/ 3118 w 3573"/>
              <a:gd name="T65" fmla="*/ 138 h 2827"/>
              <a:gd name="T66" fmla="*/ 3350 w 3573"/>
              <a:gd name="T67" fmla="*/ 499 h 2827"/>
              <a:gd name="T68" fmla="*/ 3503 w 3573"/>
              <a:gd name="T69" fmla="*/ 899 h 2827"/>
              <a:gd name="T70" fmla="*/ 3569 w 3573"/>
              <a:gd name="T71" fmla="*/ 1324 h 2827"/>
              <a:gd name="T72" fmla="*/ 3545 w 3573"/>
              <a:gd name="T73" fmla="*/ 1768 h 2827"/>
              <a:gd name="T74" fmla="*/ 3427 w 3573"/>
              <a:gd name="T75" fmla="*/ 2196 h 2827"/>
              <a:gd name="T76" fmla="*/ 3218 w 3573"/>
              <a:gd name="T77" fmla="*/ 2590 h 2827"/>
              <a:gd name="T78" fmla="*/ 3040 w 3573"/>
              <a:gd name="T79" fmla="*/ 2804 h 2827"/>
              <a:gd name="T80" fmla="*/ 2957 w 3573"/>
              <a:gd name="T81" fmla="*/ 2827 h 2827"/>
              <a:gd name="T82" fmla="*/ 2863 w 3573"/>
              <a:gd name="T83" fmla="*/ 2797 h 2827"/>
              <a:gd name="T84" fmla="*/ 2787 w 3573"/>
              <a:gd name="T85" fmla="*/ 2709 h 2827"/>
              <a:gd name="T86" fmla="*/ 2783 w 3573"/>
              <a:gd name="T87" fmla="*/ 2594 h 2827"/>
              <a:gd name="T88" fmla="*/ 2933 w 3573"/>
              <a:gd name="T89" fmla="*/ 2378 h 2827"/>
              <a:gd name="T90" fmla="*/ 3113 w 3573"/>
              <a:gd name="T91" fmla="*/ 2022 h 2827"/>
              <a:gd name="T92" fmla="*/ 3206 w 3573"/>
              <a:gd name="T93" fmla="*/ 1633 h 2827"/>
              <a:gd name="T94" fmla="*/ 3207 w 3573"/>
              <a:gd name="T95" fmla="*/ 1239 h 2827"/>
              <a:gd name="T96" fmla="*/ 3122 w 3573"/>
              <a:gd name="T97" fmla="*/ 866 h 2827"/>
              <a:gd name="T98" fmla="*/ 2957 w 3573"/>
              <a:gd name="T99" fmla="*/ 522 h 2827"/>
              <a:gd name="T100" fmla="*/ 2767 w 3573"/>
              <a:gd name="T101" fmla="*/ 269 h 2827"/>
              <a:gd name="T102" fmla="*/ 2744 w 3573"/>
              <a:gd name="T103" fmla="*/ 165 h 2827"/>
              <a:gd name="T104" fmla="*/ 2791 w 3573"/>
              <a:gd name="T105" fmla="*/ 70 h 2827"/>
              <a:gd name="T106" fmla="*/ 2878 w 3573"/>
              <a:gd name="T107" fmla="*/ 8 h 28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573" h="2827">
                <a:moveTo>
                  <a:pt x="2378" y="555"/>
                </a:moveTo>
                <a:lnTo>
                  <a:pt x="2404" y="559"/>
                </a:lnTo>
                <a:lnTo>
                  <a:pt x="2431" y="567"/>
                </a:lnTo>
                <a:lnTo>
                  <a:pt x="2455" y="579"/>
                </a:lnTo>
                <a:lnTo>
                  <a:pt x="2476" y="595"/>
                </a:lnTo>
                <a:lnTo>
                  <a:pt x="2495" y="614"/>
                </a:lnTo>
                <a:lnTo>
                  <a:pt x="2551" y="686"/>
                </a:lnTo>
                <a:lnTo>
                  <a:pt x="2600" y="760"/>
                </a:lnTo>
                <a:lnTo>
                  <a:pt x="2643" y="837"/>
                </a:lnTo>
                <a:lnTo>
                  <a:pt x="2680" y="916"/>
                </a:lnTo>
                <a:lnTo>
                  <a:pt x="2713" y="998"/>
                </a:lnTo>
                <a:lnTo>
                  <a:pt x="2739" y="1081"/>
                </a:lnTo>
                <a:lnTo>
                  <a:pt x="2761" y="1166"/>
                </a:lnTo>
                <a:lnTo>
                  <a:pt x="2775" y="1253"/>
                </a:lnTo>
                <a:lnTo>
                  <a:pt x="2784" y="1342"/>
                </a:lnTo>
                <a:lnTo>
                  <a:pt x="2787" y="1432"/>
                </a:lnTo>
                <a:lnTo>
                  <a:pt x="2785" y="1516"/>
                </a:lnTo>
                <a:lnTo>
                  <a:pt x="2776" y="1598"/>
                </a:lnTo>
                <a:lnTo>
                  <a:pt x="2763" y="1681"/>
                </a:lnTo>
                <a:lnTo>
                  <a:pt x="2745" y="1761"/>
                </a:lnTo>
                <a:lnTo>
                  <a:pt x="2722" y="1840"/>
                </a:lnTo>
                <a:lnTo>
                  <a:pt x="2693" y="1918"/>
                </a:lnTo>
                <a:lnTo>
                  <a:pt x="2660" y="1993"/>
                </a:lnTo>
                <a:lnTo>
                  <a:pt x="2621" y="2067"/>
                </a:lnTo>
                <a:lnTo>
                  <a:pt x="2578" y="2137"/>
                </a:lnTo>
                <a:lnTo>
                  <a:pt x="2529" y="2206"/>
                </a:lnTo>
                <a:lnTo>
                  <a:pt x="2510" y="2226"/>
                </a:lnTo>
                <a:lnTo>
                  <a:pt x="2489" y="2244"/>
                </a:lnTo>
                <a:lnTo>
                  <a:pt x="2464" y="2257"/>
                </a:lnTo>
                <a:lnTo>
                  <a:pt x="2438" y="2267"/>
                </a:lnTo>
                <a:lnTo>
                  <a:pt x="2411" y="2271"/>
                </a:lnTo>
                <a:lnTo>
                  <a:pt x="2399" y="2271"/>
                </a:lnTo>
                <a:lnTo>
                  <a:pt x="2374" y="2269"/>
                </a:lnTo>
                <a:lnTo>
                  <a:pt x="2349" y="2263"/>
                </a:lnTo>
                <a:lnTo>
                  <a:pt x="2326" y="2254"/>
                </a:lnTo>
                <a:lnTo>
                  <a:pt x="2304" y="2241"/>
                </a:lnTo>
                <a:lnTo>
                  <a:pt x="2284" y="2224"/>
                </a:lnTo>
                <a:lnTo>
                  <a:pt x="2263" y="2202"/>
                </a:lnTo>
                <a:lnTo>
                  <a:pt x="2244" y="2180"/>
                </a:lnTo>
                <a:lnTo>
                  <a:pt x="2230" y="2155"/>
                </a:lnTo>
                <a:lnTo>
                  <a:pt x="2220" y="2128"/>
                </a:lnTo>
                <a:lnTo>
                  <a:pt x="2216" y="2099"/>
                </a:lnTo>
                <a:lnTo>
                  <a:pt x="2216" y="2071"/>
                </a:lnTo>
                <a:lnTo>
                  <a:pt x="2221" y="2044"/>
                </a:lnTo>
                <a:lnTo>
                  <a:pt x="2232" y="2017"/>
                </a:lnTo>
                <a:lnTo>
                  <a:pt x="2247" y="1992"/>
                </a:lnTo>
                <a:lnTo>
                  <a:pt x="2290" y="1929"/>
                </a:lnTo>
                <a:lnTo>
                  <a:pt x="2327" y="1864"/>
                </a:lnTo>
                <a:lnTo>
                  <a:pt x="2360" y="1796"/>
                </a:lnTo>
                <a:lnTo>
                  <a:pt x="2386" y="1727"/>
                </a:lnTo>
                <a:lnTo>
                  <a:pt x="2407" y="1655"/>
                </a:lnTo>
                <a:lnTo>
                  <a:pt x="2421" y="1582"/>
                </a:lnTo>
                <a:lnTo>
                  <a:pt x="2429" y="1507"/>
                </a:lnTo>
                <a:lnTo>
                  <a:pt x="2433" y="1432"/>
                </a:lnTo>
                <a:lnTo>
                  <a:pt x="2431" y="1359"/>
                </a:lnTo>
                <a:lnTo>
                  <a:pt x="2422" y="1289"/>
                </a:lnTo>
                <a:lnTo>
                  <a:pt x="2409" y="1219"/>
                </a:lnTo>
                <a:lnTo>
                  <a:pt x="2390" y="1151"/>
                </a:lnTo>
                <a:lnTo>
                  <a:pt x="2366" y="1085"/>
                </a:lnTo>
                <a:lnTo>
                  <a:pt x="2338" y="1020"/>
                </a:lnTo>
                <a:lnTo>
                  <a:pt x="2304" y="957"/>
                </a:lnTo>
                <a:lnTo>
                  <a:pt x="2266" y="898"/>
                </a:lnTo>
                <a:lnTo>
                  <a:pt x="2222" y="840"/>
                </a:lnTo>
                <a:lnTo>
                  <a:pt x="2205" y="815"/>
                </a:lnTo>
                <a:lnTo>
                  <a:pt x="2194" y="788"/>
                </a:lnTo>
                <a:lnTo>
                  <a:pt x="2187" y="759"/>
                </a:lnTo>
                <a:lnTo>
                  <a:pt x="2186" y="730"/>
                </a:lnTo>
                <a:lnTo>
                  <a:pt x="2191" y="701"/>
                </a:lnTo>
                <a:lnTo>
                  <a:pt x="2199" y="674"/>
                </a:lnTo>
                <a:lnTo>
                  <a:pt x="2213" y="648"/>
                </a:lnTo>
                <a:lnTo>
                  <a:pt x="2233" y="624"/>
                </a:lnTo>
                <a:lnTo>
                  <a:pt x="2255" y="602"/>
                </a:lnTo>
                <a:lnTo>
                  <a:pt x="2276" y="585"/>
                </a:lnTo>
                <a:lnTo>
                  <a:pt x="2299" y="571"/>
                </a:lnTo>
                <a:lnTo>
                  <a:pt x="2324" y="562"/>
                </a:lnTo>
                <a:lnTo>
                  <a:pt x="2350" y="557"/>
                </a:lnTo>
                <a:lnTo>
                  <a:pt x="2378" y="555"/>
                </a:lnTo>
                <a:close/>
                <a:moveTo>
                  <a:pt x="1635" y="180"/>
                </a:moveTo>
                <a:lnTo>
                  <a:pt x="1665" y="184"/>
                </a:lnTo>
                <a:lnTo>
                  <a:pt x="1694" y="195"/>
                </a:lnTo>
                <a:lnTo>
                  <a:pt x="1720" y="210"/>
                </a:lnTo>
                <a:lnTo>
                  <a:pt x="1743" y="231"/>
                </a:lnTo>
                <a:lnTo>
                  <a:pt x="1762" y="255"/>
                </a:lnTo>
                <a:lnTo>
                  <a:pt x="1776" y="282"/>
                </a:lnTo>
                <a:lnTo>
                  <a:pt x="1785" y="310"/>
                </a:lnTo>
                <a:lnTo>
                  <a:pt x="1787" y="341"/>
                </a:lnTo>
                <a:lnTo>
                  <a:pt x="1787" y="2523"/>
                </a:lnTo>
                <a:lnTo>
                  <a:pt x="1785" y="2553"/>
                </a:lnTo>
                <a:lnTo>
                  <a:pt x="1776" y="2583"/>
                </a:lnTo>
                <a:lnTo>
                  <a:pt x="1762" y="2610"/>
                </a:lnTo>
                <a:lnTo>
                  <a:pt x="1743" y="2634"/>
                </a:lnTo>
                <a:lnTo>
                  <a:pt x="1720" y="2653"/>
                </a:lnTo>
                <a:lnTo>
                  <a:pt x="1694" y="2670"/>
                </a:lnTo>
                <a:lnTo>
                  <a:pt x="1671" y="2678"/>
                </a:lnTo>
                <a:lnTo>
                  <a:pt x="1648" y="2683"/>
                </a:lnTo>
                <a:lnTo>
                  <a:pt x="1625" y="2685"/>
                </a:lnTo>
                <a:lnTo>
                  <a:pt x="1597" y="2683"/>
                </a:lnTo>
                <a:lnTo>
                  <a:pt x="1571" y="2675"/>
                </a:lnTo>
                <a:lnTo>
                  <a:pt x="1545" y="2663"/>
                </a:lnTo>
                <a:lnTo>
                  <a:pt x="1522" y="2647"/>
                </a:lnTo>
                <a:lnTo>
                  <a:pt x="635" y="1916"/>
                </a:lnTo>
                <a:lnTo>
                  <a:pt x="163" y="1916"/>
                </a:lnTo>
                <a:lnTo>
                  <a:pt x="130" y="1912"/>
                </a:lnTo>
                <a:lnTo>
                  <a:pt x="99" y="1903"/>
                </a:lnTo>
                <a:lnTo>
                  <a:pt x="72" y="1887"/>
                </a:lnTo>
                <a:lnTo>
                  <a:pt x="48" y="1868"/>
                </a:lnTo>
                <a:lnTo>
                  <a:pt x="27" y="1844"/>
                </a:lnTo>
                <a:lnTo>
                  <a:pt x="13" y="1817"/>
                </a:lnTo>
                <a:lnTo>
                  <a:pt x="3" y="1786"/>
                </a:lnTo>
                <a:lnTo>
                  <a:pt x="0" y="1754"/>
                </a:lnTo>
                <a:lnTo>
                  <a:pt x="0" y="1111"/>
                </a:lnTo>
                <a:lnTo>
                  <a:pt x="3" y="1078"/>
                </a:lnTo>
                <a:lnTo>
                  <a:pt x="13" y="1048"/>
                </a:lnTo>
                <a:lnTo>
                  <a:pt x="27" y="1019"/>
                </a:lnTo>
                <a:lnTo>
                  <a:pt x="48" y="995"/>
                </a:lnTo>
                <a:lnTo>
                  <a:pt x="72" y="976"/>
                </a:lnTo>
                <a:lnTo>
                  <a:pt x="99" y="961"/>
                </a:lnTo>
                <a:lnTo>
                  <a:pt x="130" y="952"/>
                </a:lnTo>
                <a:lnTo>
                  <a:pt x="163" y="949"/>
                </a:lnTo>
                <a:lnTo>
                  <a:pt x="635" y="949"/>
                </a:lnTo>
                <a:lnTo>
                  <a:pt x="1522" y="216"/>
                </a:lnTo>
                <a:lnTo>
                  <a:pt x="1547" y="199"/>
                </a:lnTo>
                <a:lnTo>
                  <a:pt x="1575" y="187"/>
                </a:lnTo>
                <a:lnTo>
                  <a:pt x="1605" y="181"/>
                </a:lnTo>
                <a:lnTo>
                  <a:pt x="1635" y="180"/>
                </a:lnTo>
                <a:close/>
                <a:moveTo>
                  <a:pt x="2931" y="0"/>
                </a:moveTo>
                <a:lnTo>
                  <a:pt x="2957" y="4"/>
                </a:lnTo>
                <a:lnTo>
                  <a:pt x="2983" y="11"/>
                </a:lnTo>
                <a:lnTo>
                  <a:pt x="3007" y="22"/>
                </a:lnTo>
                <a:lnTo>
                  <a:pt x="3028" y="37"/>
                </a:lnTo>
                <a:lnTo>
                  <a:pt x="3048" y="55"/>
                </a:lnTo>
                <a:lnTo>
                  <a:pt x="3118" y="138"/>
                </a:lnTo>
                <a:lnTo>
                  <a:pt x="3183" y="224"/>
                </a:lnTo>
                <a:lnTo>
                  <a:pt x="3244" y="313"/>
                </a:lnTo>
                <a:lnTo>
                  <a:pt x="3300" y="406"/>
                </a:lnTo>
                <a:lnTo>
                  <a:pt x="3350" y="499"/>
                </a:lnTo>
                <a:lnTo>
                  <a:pt x="3396" y="597"/>
                </a:lnTo>
                <a:lnTo>
                  <a:pt x="3437" y="696"/>
                </a:lnTo>
                <a:lnTo>
                  <a:pt x="3472" y="797"/>
                </a:lnTo>
                <a:lnTo>
                  <a:pt x="3503" y="899"/>
                </a:lnTo>
                <a:lnTo>
                  <a:pt x="3528" y="1003"/>
                </a:lnTo>
                <a:lnTo>
                  <a:pt x="3548" y="1108"/>
                </a:lnTo>
                <a:lnTo>
                  <a:pt x="3562" y="1216"/>
                </a:lnTo>
                <a:lnTo>
                  <a:pt x="3569" y="1324"/>
                </a:lnTo>
                <a:lnTo>
                  <a:pt x="3573" y="1432"/>
                </a:lnTo>
                <a:lnTo>
                  <a:pt x="3569" y="1545"/>
                </a:lnTo>
                <a:lnTo>
                  <a:pt x="3561" y="1656"/>
                </a:lnTo>
                <a:lnTo>
                  <a:pt x="3545" y="1768"/>
                </a:lnTo>
                <a:lnTo>
                  <a:pt x="3524" y="1877"/>
                </a:lnTo>
                <a:lnTo>
                  <a:pt x="3497" y="1985"/>
                </a:lnTo>
                <a:lnTo>
                  <a:pt x="3465" y="2092"/>
                </a:lnTo>
                <a:lnTo>
                  <a:pt x="3427" y="2196"/>
                </a:lnTo>
                <a:lnTo>
                  <a:pt x="3382" y="2299"/>
                </a:lnTo>
                <a:lnTo>
                  <a:pt x="3333" y="2399"/>
                </a:lnTo>
                <a:lnTo>
                  <a:pt x="3278" y="2496"/>
                </a:lnTo>
                <a:lnTo>
                  <a:pt x="3218" y="2590"/>
                </a:lnTo>
                <a:lnTo>
                  <a:pt x="3153" y="2682"/>
                </a:lnTo>
                <a:lnTo>
                  <a:pt x="3082" y="2770"/>
                </a:lnTo>
                <a:lnTo>
                  <a:pt x="3062" y="2789"/>
                </a:lnTo>
                <a:lnTo>
                  <a:pt x="3040" y="2804"/>
                </a:lnTo>
                <a:lnTo>
                  <a:pt x="3017" y="2816"/>
                </a:lnTo>
                <a:lnTo>
                  <a:pt x="2991" y="2824"/>
                </a:lnTo>
                <a:lnTo>
                  <a:pt x="2965" y="2827"/>
                </a:lnTo>
                <a:lnTo>
                  <a:pt x="2957" y="2827"/>
                </a:lnTo>
                <a:lnTo>
                  <a:pt x="2932" y="2825"/>
                </a:lnTo>
                <a:lnTo>
                  <a:pt x="2907" y="2820"/>
                </a:lnTo>
                <a:lnTo>
                  <a:pt x="2884" y="2810"/>
                </a:lnTo>
                <a:lnTo>
                  <a:pt x="2863" y="2797"/>
                </a:lnTo>
                <a:lnTo>
                  <a:pt x="2843" y="2780"/>
                </a:lnTo>
                <a:lnTo>
                  <a:pt x="2822" y="2759"/>
                </a:lnTo>
                <a:lnTo>
                  <a:pt x="2801" y="2735"/>
                </a:lnTo>
                <a:lnTo>
                  <a:pt x="2787" y="2709"/>
                </a:lnTo>
                <a:lnTo>
                  <a:pt x="2779" y="2681"/>
                </a:lnTo>
                <a:lnTo>
                  <a:pt x="2774" y="2651"/>
                </a:lnTo>
                <a:lnTo>
                  <a:pt x="2775" y="2622"/>
                </a:lnTo>
                <a:lnTo>
                  <a:pt x="2783" y="2594"/>
                </a:lnTo>
                <a:lnTo>
                  <a:pt x="2795" y="2565"/>
                </a:lnTo>
                <a:lnTo>
                  <a:pt x="2812" y="2540"/>
                </a:lnTo>
                <a:lnTo>
                  <a:pt x="2876" y="2461"/>
                </a:lnTo>
                <a:lnTo>
                  <a:pt x="2933" y="2378"/>
                </a:lnTo>
                <a:lnTo>
                  <a:pt x="2986" y="2294"/>
                </a:lnTo>
                <a:lnTo>
                  <a:pt x="3034" y="2206"/>
                </a:lnTo>
                <a:lnTo>
                  <a:pt x="3076" y="2114"/>
                </a:lnTo>
                <a:lnTo>
                  <a:pt x="3113" y="2022"/>
                </a:lnTo>
                <a:lnTo>
                  <a:pt x="3145" y="1927"/>
                </a:lnTo>
                <a:lnTo>
                  <a:pt x="3171" y="1831"/>
                </a:lnTo>
                <a:lnTo>
                  <a:pt x="3191" y="1732"/>
                </a:lnTo>
                <a:lnTo>
                  <a:pt x="3206" y="1633"/>
                </a:lnTo>
                <a:lnTo>
                  <a:pt x="3215" y="1533"/>
                </a:lnTo>
                <a:lnTo>
                  <a:pt x="3218" y="1432"/>
                </a:lnTo>
                <a:lnTo>
                  <a:pt x="3215" y="1336"/>
                </a:lnTo>
                <a:lnTo>
                  <a:pt x="3207" y="1239"/>
                </a:lnTo>
                <a:lnTo>
                  <a:pt x="3194" y="1144"/>
                </a:lnTo>
                <a:lnTo>
                  <a:pt x="3175" y="1050"/>
                </a:lnTo>
                <a:lnTo>
                  <a:pt x="3152" y="957"/>
                </a:lnTo>
                <a:lnTo>
                  <a:pt x="3122" y="866"/>
                </a:lnTo>
                <a:lnTo>
                  <a:pt x="3088" y="777"/>
                </a:lnTo>
                <a:lnTo>
                  <a:pt x="3049" y="690"/>
                </a:lnTo>
                <a:lnTo>
                  <a:pt x="3005" y="604"/>
                </a:lnTo>
                <a:lnTo>
                  <a:pt x="2957" y="522"/>
                </a:lnTo>
                <a:lnTo>
                  <a:pt x="2904" y="442"/>
                </a:lnTo>
                <a:lnTo>
                  <a:pt x="2846" y="365"/>
                </a:lnTo>
                <a:lnTo>
                  <a:pt x="2784" y="290"/>
                </a:lnTo>
                <a:lnTo>
                  <a:pt x="2767" y="269"/>
                </a:lnTo>
                <a:lnTo>
                  <a:pt x="2755" y="244"/>
                </a:lnTo>
                <a:lnTo>
                  <a:pt x="2747" y="219"/>
                </a:lnTo>
                <a:lnTo>
                  <a:pt x="2743" y="191"/>
                </a:lnTo>
                <a:lnTo>
                  <a:pt x="2744" y="165"/>
                </a:lnTo>
                <a:lnTo>
                  <a:pt x="2749" y="139"/>
                </a:lnTo>
                <a:lnTo>
                  <a:pt x="2758" y="114"/>
                </a:lnTo>
                <a:lnTo>
                  <a:pt x="2772" y="90"/>
                </a:lnTo>
                <a:lnTo>
                  <a:pt x="2791" y="70"/>
                </a:lnTo>
                <a:lnTo>
                  <a:pt x="2811" y="48"/>
                </a:lnTo>
                <a:lnTo>
                  <a:pt x="2831" y="31"/>
                </a:lnTo>
                <a:lnTo>
                  <a:pt x="2854" y="18"/>
                </a:lnTo>
                <a:lnTo>
                  <a:pt x="2878" y="8"/>
                </a:lnTo>
                <a:lnTo>
                  <a:pt x="2904" y="2"/>
                </a:lnTo>
                <a:lnTo>
                  <a:pt x="2931"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HarmonyOS Sans SC"/>
              <a:cs typeface="+mn-cs"/>
            </a:endParaRPr>
          </a:p>
        </p:txBody>
      </p:sp>
      <p:grpSp>
        <p:nvGrpSpPr>
          <p:cNvPr id="43" name="Group 1271">
            <a:extLst>
              <a:ext uri="{FF2B5EF4-FFF2-40B4-BE49-F238E27FC236}">
                <a16:creationId xmlns:a16="http://schemas.microsoft.com/office/drawing/2014/main" id="{E67CE6E3-71DD-4F13-BE06-CA97BEF92068}"/>
              </a:ext>
            </a:extLst>
          </p:cNvPr>
          <p:cNvGrpSpPr>
            <a:grpSpLocks noChangeAspect="1"/>
          </p:cNvGrpSpPr>
          <p:nvPr/>
        </p:nvGrpSpPr>
        <p:grpSpPr bwMode="auto">
          <a:xfrm>
            <a:off x="1594061" y="4407620"/>
            <a:ext cx="239192" cy="238952"/>
            <a:chOff x="5516" y="3626"/>
            <a:chExt cx="1981" cy="1979"/>
          </a:xfrm>
          <a:solidFill>
            <a:schemeClr val="bg1"/>
          </a:solidFill>
        </p:grpSpPr>
        <p:sp>
          <p:nvSpPr>
            <p:cNvPr id="44" name="Freeform 1273">
              <a:extLst>
                <a:ext uri="{FF2B5EF4-FFF2-40B4-BE49-F238E27FC236}">
                  <a16:creationId xmlns:a16="http://schemas.microsoft.com/office/drawing/2014/main" id="{122D3AF8-2154-4733-8AAB-3AF7297AF9FA}"/>
                </a:ext>
              </a:extLst>
            </p:cNvPr>
            <p:cNvSpPr>
              <a:spLocks/>
            </p:cNvSpPr>
            <p:nvPr/>
          </p:nvSpPr>
          <p:spPr bwMode="auto">
            <a:xfrm>
              <a:off x="5524" y="4270"/>
              <a:ext cx="491" cy="498"/>
            </a:xfrm>
            <a:custGeom>
              <a:avLst/>
              <a:gdLst>
                <a:gd name="T0" fmla="*/ 980 w 980"/>
                <a:gd name="T1" fmla="*/ 0 h 996"/>
                <a:gd name="T2" fmla="*/ 952 w 980"/>
                <a:gd name="T3" fmla="*/ 46 h 996"/>
                <a:gd name="T4" fmla="*/ 921 w 980"/>
                <a:gd name="T5" fmla="*/ 94 h 996"/>
                <a:gd name="T6" fmla="*/ 890 w 980"/>
                <a:gd name="T7" fmla="*/ 145 h 996"/>
                <a:gd name="T8" fmla="*/ 856 w 980"/>
                <a:gd name="T9" fmla="*/ 198 h 996"/>
                <a:gd name="T10" fmla="*/ 819 w 980"/>
                <a:gd name="T11" fmla="*/ 255 h 996"/>
                <a:gd name="T12" fmla="*/ 781 w 980"/>
                <a:gd name="T13" fmla="*/ 314 h 996"/>
                <a:gd name="T14" fmla="*/ 740 w 980"/>
                <a:gd name="T15" fmla="*/ 376 h 996"/>
                <a:gd name="T16" fmla="*/ 696 w 980"/>
                <a:gd name="T17" fmla="*/ 444 h 996"/>
                <a:gd name="T18" fmla="*/ 649 w 980"/>
                <a:gd name="T19" fmla="*/ 514 h 996"/>
                <a:gd name="T20" fmla="*/ 599 w 980"/>
                <a:gd name="T21" fmla="*/ 588 h 996"/>
                <a:gd name="T22" fmla="*/ 546 w 980"/>
                <a:gd name="T23" fmla="*/ 665 h 996"/>
                <a:gd name="T24" fmla="*/ 491 w 980"/>
                <a:gd name="T25" fmla="*/ 748 h 996"/>
                <a:gd name="T26" fmla="*/ 431 w 980"/>
                <a:gd name="T27" fmla="*/ 834 h 996"/>
                <a:gd name="T28" fmla="*/ 369 w 980"/>
                <a:gd name="T29" fmla="*/ 926 h 996"/>
                <a:gd name="T30" fmla="*/ 347 w 980"/>
                <a:gd name="T31" fmla="*/ 960 h 996"/>
                <a:gd name="T32" fmla="*/ 331 w 980"/>
                <a:gd name="T33" fmla="*/ 996 h 996"/>
                <a:gd name="T34" fmla="*/ 0 w 980"/>
                <a:gd name="T35" fmla="*/ 666 h 996"/>
                <a:gd name="T36" fmla="*/ 2 w 980"/>
                <a:gd name="T37" fmla="*/ 664 h 996"/>
                <a:gd name="T38" fmla="*/ 8 w 980"/>
                <a:gd name="T39" fmla="*/ 657 h 996"/>
                <a:gd name="T40" fmla="*/ 18 w 980"/>
                <a:gd name="T41" fmla="*/ 645 h 996"/>
                <a:gd name="T42" fmla="*/ 30 w 980"/>
                <a:gd name="T43" fmla="*/ 629 h 996"/>
                <a:gd name="T44" fmla="*/ 47 w 980"/>
                <a:gd name="T45" fmla="*/ 609 h 996"/>
                <a:gd name="T46" fmla="*/ 66 w 980"/>
                <a:gd name="T47" fmla="*/ 588 h 996"/>
                <a:gd name="T48" fmla="*/ 89 w 980"/>
                <a:gd name="T49" fmla="*/ 561 h 996"/>
                <a:gd name="T50" fmla="*/ 115 w 980"/>
                <a:gd name="T51" fmla="*/ 533 h 996"/>
                <a:gd name="T52" fmla="*/ 144 w 980"/>
                <a:gd name="T53" fmla="*/ 503 h 996"/>
                <a:gd name="T54" fmla="*/ 174 w 980"/>
                <a:gd name="T55" fmla="*/ 471 h 996"/>
                <a:gd name="T56" fmla="*/ 208 w 980"/>
                <a:gd name="T57" fmla="*/ 438 h 996"/>
                <a:gd name="T58" fmla="*/ 244 w 980"/>
                <a:gd name="T59" fmla="*/ 403 h 996"/>
                <a:gd name="T60" fmla="*/ 283 w 980"/>
                <a:gd name="T61" fmla="*/ 368 h 996"/>
                <a:gd name="T62" fmla="*/ 324 w 980"/>
                <a:gd name="T63" fmla="*/ 332 h 996"/>
                <a:gd name="T64" fmla="*/ 366 w 980"/>
                <a:gd name="T65" fmla="*/ 296 h 996"/>
                <a:gd name="T66" fmla="*/ 410 w 980"/>
                <a:gd name="T67" fmla="*/ 261 h 996"/>
                <a:gd name="T68" fmla="*/ 457 w 980"/>
                <a:gd name="T69" fmla="*/ 226 h 996"/>
                <a:gd name="T70" fmla="*/ 504 w 980"/>
                <a:gd name="T71" fmla="*/ 192 h 996"/>
                <a:gd name="T72" fmla="*/ 554 w 980"/>
                <a:gd name="T73" fmla="*/ 160 h 996"/>
                <a:gd name="T74" fmla="*/ 603 w 980"/>
                <a:gd name="T75" fmla="*/ 130 h 996"/>
                <a:gd name="T76" fmla="*/ 655 w 980"/>
                <a:gd name="T77" fmla="*/ 102 h 996"/>
                <a:gd name="T78" fmla="*/ 707 w 980"/>
                <a:gd name="T79" fmla="*/ 76 h 996"/>
                <a:gd name="T80" fmla="*/ 761 w 980"/>
                <a:gd name="T81" fmla="*/ 54 h 996"/>
                <a:gd name="T82" fmla="*/ 815 w 980"/>
                <a:gd name="T83" fmla="*/ 35 h 996"/>
                <a:gd name="T84" fmla="*/ 870 w 980"/>
                <a:gd name="T85" fmla="*/ 19 h 996"/>
                <a:gd name="T86" fmla="*/ 925 w 980"/>
                <a:gd name="T87" fmla="*/ 7 h 996"/>
                <a:gd name="T88" fmla="*/ 980 w 980"/>
                <a:gd name="T89" fmla="*/ 0 h 9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80" h="996">
                  <a:moveTo>
                    <a:pt x="980" y="0"/>
                  </a:moveTo>
                  <a:lnTo>
                    <a:pt x="952" y="46"/>
                  </a:lnTo>
                  <a:lnTo>
                    <a:pt x="921" y="94"/>
                  </a:lnTo>
                  <a:lnTo>
                    <a:pt x="890" y="145"/>
                  </a:lnTo>
                  <a:lnTo>
                    <a:pt x="856" y="198"/>
                  </a:lnTo>
                  <a:lnTo>
                    <a:pt x="819" y="255"/>
                  </a:lnTo>
                  <a:lnTo>
                    <a:pt x="781" y="314"/>
                  </a:lnTo>
                  <a:lnTo>
                    <a:pt x="740" y="376"/>
                  </a:lnTo>
                  <a:lnTo>
                    <a:pt x="696" y="444"/>
                  </a:lnTo>
                  <a:lnTo>
                    <a:pt x="649" y="514"/>
                  </a:lnTo>
                  <a:lnTo>
                    <a:pt x="599" y="588"/>
                  </a:lnTo>
                  <a:lnTo>
                    <a:pt x="546" y="665"/>
                  </a:lnTo>
                  <a:lnTo>
                    <a:pt x="491" y="748"/>
                  </a:lnTo>
                  <a:lnTo>
                    <a:pt x="431" y="834"/>
                  </a:lnTo>
                  <a:lnTo>
                    <a:pt x="369" y="926"/>
                  </a:lnTo>
                  <a:lnTo>
                    <a:pt x="347" y="960"/>
                  </a:lnTo>
                  <a:lnTo>
                    <a:pt x="331" y="996"/>
                  </a:lnTo>
                  <a:lnTo>
                    <a:pt x="0" y="666"/>
                  </a:lnTo>
                  <a:lnTo>
                    <a:pt x="2" y="664"/>
                  </a:lnTo>
                  <a:lnTo>
                    <a:pt x="8" y="657"/>
                  </a:lnTo>
                  <a:lnTo>
                    <a:pt x="18" y="645"/>
                  </a:lnTo>
                  <a:lnTo>
                    <a:pt x="30" y="629"/>
                  </a:lnTo>
                  <a:lnTo>
                    <a:pt x="47" y="609"/>
                  </a:lnTo>
                  <a:lnTo>
                    <a:pt x="66" y="588"/>
                  </a:lnTo>
                  <a:lnTo>
                    <a:pt x="89" y="561"/>
                  </a:lnTo>
                  <a:lnTo>
                    <a:pt x="115" y="533"/>
                  </a:lnTo>
                  <a:lnTo>
                    <a:pt x="144" y="503"/>
                  </a:lnTo>
                  <a:lnTo>
                    <a:pt x="174" y="471"/>
                  </a:lnTo>
                  <a:lnTo>
                    <a:pt x="208" y="438"/>
                  </a:lnTo>
                  <a:lnTo>
                    <a:pt x="244" y="403"/>
                  </a:lnTo>
                  <a:lnTo>
                    <a:pt x="283" y="368"/>
                  </a:lnTo>
                  <a:lnTo>
                    <a:pt x="324" y="332"/>
                  </a:lnTo>
                  <a:lnTo>
                    <a:pt x="366" y="296"/>
                  </a:lnTo>
                  <a:lnTo>
                    <a:pt x="410" y="261"/>
                  </a:lnTo>
                  <a:lnTo>
                    <a:pt x="457" y="226"/>
                  </a:lnTo>
                  <a:lnTo>
                    <a:pt x="504" y="192"/>
                  </a:lnTo>
                  <a:lnTo>
                    <a:pt x="554" y="160"/>
                  </a:lnTo>
                  <a:lnTo>
                    <a:pt x="603" y="130"/>
                  </a:lnTo>
                  <a:lnTo>
                    <a:pt x="655" y="102"/>
                  </a:lnTo>
                  <a:lnTo>
                    <a:pt x="707" y="76"/>
                  </a:lnTo>
                  <a:lnTo>
                    <a:pt x="761" y="54"/>
                  </a:lnTo>
                  <a:lnTo>
                    <a:pt x="815" y="35"/>
                  </a:lnTo>
                  <a:lnTo>
                    <a:pt x="870" y="19"/>
                  </a:lnTo>
                  <a:lnTo>
                    <a:pt x="925" y="7"/>
                  </a:lnTo>
                  <a:lnTo>
                    <a:pt x="98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HarmonyOS Sans SC"/>
                <a:cs typeface="+mn-cs"/>
              </a:endParaRPr>
            </a:p>
          </p:txBody>
        </p:sp>
        <p:sp>
          <p:nvSpPr>
            <p:cNvPr id="45" name="Freeform 1274">
              <a:extLst>
                <a:ext uri="{FF2B5EF4-FFF2-40B4-BE49-F238E27FC236}">
                  <a16:creationId xmlns:a16="http://schemas.microsoft.com/office/drawing/2014/main" id="{A9470865-7492-470E-B850-C66240E9DCFE}"/>
                </a:ext>
              </a:extLst>
            </p:cNvPr>
            <p:cNvSpPr>
              <a:spLocks/>
            </p:cNvSpPr>
            <p:nvPr/>
          </p:nvSpPr>
          <p:spPr bwMode="auto">
            <a:xfrm>
              <a:off x="6354" y="5106"/>
              <a:ext cx="498" cy="489"/>
            </a:xfrm>
            <a:custGeom>
              <a:avLst/>
              <a:gdLst>
                <a:gd name="T0" fmla="*/ 998 w 998"/>
                <a:gd name="T1" fmla="*/ 0 h 979"/>
                <a:gd name="T2" fmla="*/ 990 w 998"/>
                <a:gd name="T3" fmla="*/ 55 h 979"/>
                <a:gd name="T4" fmla="*/ 978 w 998"/>
                <a:gd name="T5" fmla="*/ 111 h 979"/>
                <a:gd name="T6" fmla="*/ 963 w 998"/>
                <a:gd name="T7" fmla="*/ 165 h 979"/>
                <a:gd name="T8" fmla="*/ 943 w 998"/>
                <a:gd name="T9" fmla="*/ 220 h 979"/>
                <a:gd name="T10" fmla="*/ 920 w 998"/>
                <a:gd name="T11" fmla="*/ 273 h 979"/>
                <a:gd name="T12" fmla="*/ 895 w 998"/>
                <a:gd name="T13" fmla="*/ 326 h 979"/>
                <a:gd name="T14" fmla="*/ 867 w 998"/>
                <a:gd name="T15" fmla="*/ 377 h 979"/>
                <a:gd name="T16" fmla="*/ 837 w 998"/>
                <a:gd name="T17" fmla="*/ 427 h 979"/>
                <a:gd name="T18" fmla="*/ 804 w 998"/>
                <a:gd name="T19" fmla="*/ 477 h 979"/>
                <a:gd name="T20" fmla="*/ 770 w 998"/>
                <a:gd name="T21" fmla="*/ 524 h 979"/>
                <a:gd name="T22" fmla="*/ 736 w 998"/>
                <a:gd name="T23" fmla="*/ 570 h 979"/>
                <a:gd name="T24" fmla="*/ 700 w 998"/>
                <a:gd name="T25" fmla="*/ 614 h 979"/>
                <a:gd name="T26" fmla="*/ 665 w 998"/>
                <a:gd name="T27" fmla="*/ 657 h 979"/>
                <a:gd name="T28" fmla="*/ 629 w 998"/>
                <a:gd name="T29" fmla="*/ 698 h 979"/>
                <a:gd name="T30" fmla="*/ 594 w 998"/>
                <a:gd name="T31" fmla="*/ 736 h 979"/>
                <a:gd name="T32" fmla="*/ 559 w 998"/>
                <a:gd name="T33" fmla="*/ 771 h 979"/>
                <a:gd name="T34" fmla="*/ 525 w 998"/>
                <a:gd name="T35" fmla="*/ 805 h 979"/>
                <a:gd name="T36" fmla="*/ 494 w 998"/>
                <a:gd name="T37" fmla="*/ 837 h 979"/>
                <a:gd name="T38" fmla="*/ 463 w 998"/>
                <a:gd name="T39" fmla="*/ 866 h 979"/>
                <a:gd name="T40" fmla="*/ 434 w 998"/>
                <a:gd name="T41" fmla="*/ 891 h 979"/>
                <a:gd name="T42" fmla="*/ 409 w 998"/>
                <a:gd name="T43" fmla="*/ 914 h 979"/>
                <a:gd name="T44" fmla="*/ 386 w 998"/>
                <a:gd name="T45" fmla="*/ 933 h 979"/>
                <a:gd name="T46" fmla="*/ 367 w 998"/>
                <a:gd name="T47" fmla="*/ 949 h 979"/>
                <a:gd name="T48" fmla="*/ 351 w 998"/>
                <a:gd name="T49" fmla="*/ 962 h 979"/>
                <a:gd name="T50" fmla="*/ 340 w 998"/>
                <a:gd name="T51" fmla="*/ 972 h 979"/>
                <a:gd name="T52" fmla="*/ 333 w 998"/>
                <a:gd name="T53" fmla="*/ 978 h 979"/>
                <a:gd name="T54" fmla="*/ 330 w 998"/>
                <a:gd name="T55" fmla="*/ 979 h 979"/>
                <a:gd name="T56" fmla="*/ 0 w 998"/>
                <a:gd name="T57" fmla="*/ 649 h 979"/>
                <a:gd name="T58" fmla="*/ 35 w 998"/>
                <a:gd name="T59" fmla="*/ 633 h 979"/>
                <a:gd name="T60" fmla="*/ 70 w 998"/>
                <a:gd name="T61" fmla="*/ 612 h 979"/>
                <a:gd name="T62" fmla="*/ 161 w 998"/>
                <a:gd name="T63" fmla="*/ 549 h 979"/>
                <a:gd name="T64" fmla="*/ 248 w 998"/>
                <a:gd name="T65" fmla="*/ 490 h 979"/>
                <a:gd name="T66" fmla="*/ 330 w 998"/>
                <a:gd name="T67" fmla="*/ 433 h 979"/>
                <a:gd name="T68" fmla="*/ 409 w 998"/>
                <a:gd name="T69" fmla="*/ 381 h 979"/>
                <a:gd name="T70" fmla="*/ 483 w 998"/>
                <a:gd name="T71" fmla="*/ 332 h 979"/>
                <a:gd name="T72" fmla="*/ 553 w 998"/>
                <a:gd name="T73" fmla="*/ 285 h 979"/>
                <a:gd name="T74" fmla="*/ 619 w 998"/>
                <a:gd name="T75" fmla="*/ 241 h 979"/>
                <a:gd name="T76" fmla="*/ 682 w 998"/>
                <a:gd name="T77" fmla="*/ 200 h 979"/>
                <a:gd name="T78" fmla="*/ 743 w 998"/>
                <a:gd name="T79" fmla="*/ 162 h 979"/>
                <a:gd name="T80" fmla="*/ 799 w 998"/>
                <a:gd name="T81" fmla="*/ 125 h 979"/>
                <a:gd name="T82" fmla="*/ 853 w 998"/>
                <a:gd name="T83" fmla="*/ 92 h 979"/>
                <a:gd name="T84" fmla="*/ 903 w 998"/>
                <a:gd name="T85" fmla="*/ 59 h 979"/>
                <a:gd name="T86" fmla="*/ 952 w 998"/>
                <a:gd name="T87" fmla="*/ 29 h 979"/>
                <a:gd name="T88" fmla="*/ 998 w 998"/>
                <a:gd name="T89" fmla="*/ 0 h 9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98" h="979">
                  <a:moveTo>
                    <a:pt x="998" y="0"/>
                  </a:moveTo>
                  <a:lnTo>
                    <a:pt x="990" y="55"/>
                  </a:lnTo>
                  <a:lnTo>
                    <a:pt x="978" y="111"/>
                  </a:lnTo>
                  <a:lnTo>
                    <a:pt x="963" y="165"/>
                  </a:lnTo>
                  <a:lnTo>
                    <a:pt x="943" y="220"/>
                  </a:lnTo>
                  <a:lnTo>
                    <a:pt x="920" y="273"/>
                  </a:lnTo>
                  <a:lnTo>
                    <a:pt x="895" y="326"/>
                  </a:lnTo>
                  <a:lnTo>
                    <a:pt x="867" y="377"/>
                  </a:lnTo>
                  <a:lnTo>
                    <a:pt x="837" y="427"/>
                  </a:lnTo>
                  <a:lnTo>
                    <a:pt x="804" y="477"/>
                  </a:lnTo>
                  <a:lnTo>
                    <a:pt x="770" y="524"/>
                  </a:lnTo>
                  <a:lnTo>
                    <a:pt x="736" y="570"/>
                  </a:lnTo>
                  <a:lnTo>
                    <a:pt x="700" y="614"/>
                  </a:lnTo>
                  <a:lnTo>
                    <a:pt x="665" y="657"/>
                  </a:lnTo>
                  <a:lnTo>
                    <a:pt x="629" y="698"/>
                  </a:lnTo>
                  <a:lnTo>
                    <a:pt x="594" y="736"/>
                  </a:lnTo>
                  <a:lnTo>
                    <a:pt x="559" y="771"/>
                  </a:lnTo>
                  <a:lnTo>
                    <a:pt x="525" y="805"/>
                  </a:lnTo>
                  <a:lnTo>
                    <a:pt x="494" y="837"/>
                  </a:lnTo>
                  <a:lnTo>
                    <a:pt x="463" y="866"/>
                  </a:lnTo>
                  <a:lnTo>
                    <a:pt x="434" y="891"/>
                  </a:lnTo>
                  <a:lnTo>
                    <a:pt x="409" y="914"/>
                  </a:lnTo>
                  <a:lnTo>
                    <a:pt x="386" y="933"/>
                  </a:lnTo>
                  <a:lnTo>
                    <a:pt x="367" y="949"/>
                  </a:lnTo>
                  <a:lnTo>
                    <a:pt x="351" y="962"/>
                  </a:lnTo>
                  <a:lnTo>
                    <a:pt x="340" y="972"/>
                  </a:lnTo>
                  <a:lnTo>
                    <a:pt x="333" y="978"/>
                  </a:lnTo>
                  <a:lnTo>
                    <a:pt x="330" y="979"/>
                  </a:lnTo>
                  <a:lnTo>
                    <a:pt x="0" y="649"/>
                  </a:lnTo>
                  <a:lnTo>
                    <a:pt x="35" y="633"/>
                  </a:lnTo>
                  <a:lnTo>
                    <a:pt x="70" y="612"/>
                  </a:lnTo>
                  <a:lnTo>
                    <a:pt x="161" y="549"/>
                  </a:lnTo>
                  <a:lnTo>
                    <a:pt x="248" y="490"/>
                  </a:lnTo>
                  <a:lnTo>
                    <a:pt x="330" y="433"/>
                  </a:lnTo>
                  <a:lnTo>
                    <a:pt x="409" y="381"/>
                  </a:lnTo>
                  <a:lnTo>
                    <a:pt x="483" y="332"/>
                  </a:lnTo>
                  <a:lnTo>
                    <a:pt x="553" y="285"/>
                  </a:lnTo>
                  <a:lnTo>
                    <a:pt x="619" y="241"/>
                  </a:lnTo>
                  <a:lnTo>
                    <a:pt x="682" y="200"/>
                  </a:lnTo>
                  <a:lnTo>
                    <a:pt x="743" y="162"/>
                  </a:lnTo>
                  <a:lnTo>
                    <a:pt x="799" y="125"/>
                  </a:lnTo>
                  <a:lnTo>
                    <a:pt x="853" y="92"/>
                  </a:lnTo>
                  <a:lnTo>
                    <a:pt x="903" y="59"/>
                  </a:lnTo>
                  <a:lnTo>
                    <a:pt x="952" y="29"/>
                  </a:lnTo>
                  <a:lnTo>
                    <a:pt x="99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HarmonyOS Sans SC"/>
                <a:cs typeface="+mn-cs"/>
              </a:endParaRPr>
            </a:p>
          </p:txBody>
        </p:sp>
        <p:sp>
          <p:nvSpPr>
            <p:cNvPr id="46" name="Freeform 1275">
              <a:extLst>
                <a:ext uri="{FF2B5EF4-FFF2-40B4-BE49-F238E27FC236}">
                  <a16:creationId xmlns:a16="http://schemas.microsoft.com/office/drawing/2014/main" id="{3EE6F9CA-2C99-4806-B056-C36AAE613225}"/>
                </a:ext>
              </a:extLst>
            </p:cNvPr>
            <p:cNvSpPr>
              <a:spLocks/>
            </p:cNvSpPr>
            <p:nvPr/>
          </p:nvSpPr>
          <p:spPr bwMode="auto">
            <a:xfrm>
              <a:off x="5516" y="4987"/>
              <a:ext cx="618" cy="618"/>
            </a:xfrm>
            <a:custGeom>
              <a:avLst/>
              <a:gdLst>
                <a:gd name="T0" fmla="*/ 496 w 1237"/>
                <a:gd name="T1" fmla="*/ 0 h 1235"/>
                <a:gd name="T2" fmla="*/ 532 w 1237"/>
                <a:gd name="T3" fmla="*/ 36 h 1235"/>
                <a:gd name="T4" fmla="*/ 502 w 1237"/>
                <a:gd name="T5" fmla="*/ 104 h 1235"/>
                <a:gd name="T6" fmla="*/ 474 w 1237"/>
                <a:gd name="T7" fmla="*/ 173 h 1235"/>
                <a:gd name="T8" fmla="*/ 447 w 1237"/>
                <a:gd name="T9" fmla="*/ 248 h 1235"/>
                <a:gd name="T10" fmla="*/ 423 w 1237"/>
                <a:gd name="T11" fmla="*/ 324 h 1235"/>
                <a:gd name="T12" fmla="*/ 403 w 1237"/>
                <a:gd name="T13" fmla="*/ 401 h 1235"/>
                <a:gd name="T14" fmla="*/ 375 w 1237"/>
                <a:gd name="T15" fmla="*/ 522 h 1235"/>
                <a:gd name="T16" fmla="*/ 353 w 1237"/>
                <a:gd name="T17" fmla="*/ 644 h 1235"/>
                <a:gd name="T18" fmla="*/ 335 w 1237"/>
                <a:gd name="T19" fmla="*/ 767 h 1235"/>
                <a:gd name="T20" fmla="*/ 323 w 1237"/>
                <a:gd name="T21" fmla="*/ 890 h 1235"/>
                <a:gd name="T22" fmla="*/ 320 w 1237"/>
                <a:gd name="T23" fmla="*/ 915 h 1235"/>
                <a:gd name="T24" fmla="*/ 423 w 1237"/>
                <a:gd name="T25" fmla="*/ 906 h 1235"/>
                <a:gd name="T26" fmla="*/ 526 w 1237"/>
                <a:gd name="T27" fmla="*/ 893 h 1235"/>
                <a:gd name="T28" fmla="*/ 647 w 1237"/>
                <a:gd name="T29" fmla="*/ 874 h 1235"/>
                <a:gd name="T30" fmla="*/ 766 w 1237"/>
                <a:gd name="T31" fmla="*/ 849 h 1235"/>
                <a:gd name="T32" fmla="*/ 885 w 1237"/>
                <a:gd name="T33" fmla="*/ 820 h 1235"/>
                <a:gd name="T34" fmla="*/ 1002 w 1237"/>
                <a:gd name="T35" fmla="*/ 784 h 1235"/>
                <a:gd name="T36" fmla="*/ 1060 w 1237"/>
                <a:gd name="T37" fmla="*/ 763 h 1235"/>
                <a:gd name="T38" fmla="*/ 1117 w 1237"/>
                <a:gd name="T39" fmla="*/ 740 h 1235"/>
                <a:gd name="T40" fmla="*/ 1173 w 1237"/>
                <a:gd name="T41" fmla="*/ 717 h 1235"/>
                <a:gd name="T42" fmla="*/ 1200 w 1237"/>
                <a:gd name="T43" fmla="*/ 704 h 1235"/>
                <a:gd name="T44" fmla="*/ 1237 w 1237"/>
                <a:gd name="T45" fmla="*/ 740 h 1235"/>
                <a:gd name="T46" fmla="*/ 1194 w 1237"/>
                <a:gd name="T47" fmla="*/ 797 h 1235"/>
                <a:gd name="T48" fmla="*/ 1147 w 1237"/>
                <a:gd name="T49" fmla="*/ 851 h 1235"/>
                <a:gd name="T50" fmla="*/ 1095 w 1237"/>
                <a:gd name="T51" fmla="*/ 901 h 1235"/>
                <a:gd name="T52" fmla="*/ 1041 w 1237"/>
                <a:gd name="T53" fmla="*/ 947 h 1235"/>
                <a:gd name="T54" fmla="*/ 983 w 1237"/>
                <a:gd name="T55" fmla="*/ 989 h 1235"/>
                <a:gd name="T56" fmla="*/ 922 w 1237"/>
                <a:gd name="T57" fmla="*/ 1027 h 1235"/>
                <a:gd name="T58" fmla="*/ 858 w 1237"/>
                <a:gd name="T59" fmla="*/ 1062 h 1235"/>
                <a:gd name="T60" fmla="*/ 794 w 1237"/>
                <a:gd name="T61" fmla="*/ 1094 h 1235"/>
                <a:gd name="T62" fmla="*/ 728 w 1237"/>
                <a:gd name="T63" fmla="*/ 1123 h 1235"/>
                <a:gd name="T64" fmla="*/ 661 w 1237"/>
                <a:gd name="T65" fmla="*/ 1147 h 1235"/>
                <a:gd name="T66" fmla="*/ 594 w 1237"/>
                <a:gd name="T67" fmla="*/ 1169 h 1235"/>
                <a:gd name="T68" fmla="*/ 491 w 1237"/>
                <a:gd name="T69" fmla="*/ 1196 h 1235"/>
                <a:gd name="T70" fmla="*/ 386 w 1237"/>
                <a:gd name="T71" fmla="*/ 1217 h 1235"/>
                <a:gd name="T72" fmla="*/ 280 w 1237"/>
                <a:gd name="T73" fmla="*/ 1229 h 1235"/>
                <a:gd name="T74" fmla="*/ 174 w 1237"/>
                <a:gd name="T75" fmla="*/ 1235 h 1235"/>
                <a:gd name="T76" fmla="*/ 151 w 1237"/>
                <a:gd name="T77" fmla="*/ 1235 h 1235"/>
                <a:gd name="T78" fmla="*/ 128 w 1237"/>
                <a:gd name="T79" fmla="*/ 1233 h 1235"/>
                <a:gd name="T80" fmla="*/ 106 w 1237"/>
                <a:gd name="T81" fmla="*/ 1228 h 1235"/>
                <a:gd name="T82" fmla="*/ 80 w 1237"/>
                <a:gd name="T83" fmla="*/ 1217 h 1235"/>
                <a:gd name="T84" fmla="*/ 57 w 1237"/>
                <a:gd name="T85" fmla="*/ 1201 h 1235"/>
                <a:gd name="T86" fmla="*/ 36 w 1237"/>
                <a:gd name="T87" fmla="*/ 1182 h 1235"/>
                <a:gd name="T88" fmla="*/ 21 w 1237"/>
                <a:gd name="T89" fmla="*/ 1159 h 1235"/>
                <a:gd name="T90" fmla="*/ 8 w 1237"/>
                <a:gd name="T91" fmla="*/ 1134 h 1235"/>
                <a:gd name="T92" fmla="*/ 1 w 1237"/>
                <a:gd name="T93" fmla="*/ 1106 h 1235"/>
                <a:gd name="T94" fmla="*/ 0 w 1237"/>
                <a:gd name="T95" fmla="*/ 1073 h 1235"/>
                <a:gd name="T96" fmla="*/ 0 w 1237"/>
                <a:gd name="T97" fmla="*/ 1041 h 1235"/>
                <a:gd name="T98" fmla="*/ 6 w 1237"/>
                <a:gd name="T99" fmla="*/ 947 h 1235"/>
                <a:gd name="T100" fmla="*/ 18 w 1237"/>
                <a:gd name="T101" fmla="*/ 855 h 1235"/>
                <a:gd name="T102" fmla="*/ 35 w 1237"/>
                <a:gd name="T103" fmla="*/ 762 h 1235"/>
                <a:gd name="T104" fmla="*/ 57 w 1237"/>
                <a:gd name="T105" fmla="*/ 671 h 1235"/>
                <a:gd name="T106" fmla="*/ 85 w 1237"/>
                <a:gd name="T107" fmla="*/ 582 h 1235"/>
                <a:gd name="T108" fmla="*/ 115 w 1237"/>
                <a:gd name="T109" fmla="*/ 501 h 1235"/>
                <a:gd name="T110" fmla="*/ 150 w 1237"/>
                <a:gd name="T111" fmla="*/ 421 h 1235"/>
                <a:gd name="T112" fmla="*/ 190 w 1237"/>
                <a:gd name="T113" fmla="*/ 345 h 1235"/>
                <a:gd name="T114" fmla="*/ 235 w 1237"/>
                <a:gd name="T115" fmla="*/ 270 h 1235"/>
                <a:gd name="T116" fmla="*/ 285 w 1237"/>
                <a:gd name="T117" fmla="*/ 200 h 1235"/>
                <a:gd name="T118" fmla="*/ 331 w 1237"/>
                <a:gd name="T119" fmla="*/ 144 h 1235"/>
                <a:gd name="T120" fmla="*/ 382 w 1237"/>
                <a:gd name="T121" fmla="*/ 92 h 1235"/>
                <a:gd name="T122" fmla="*/ 438 w 1237"/>
                <a:gd name="T123" fmla="*/ 44 h 1235"/>
                <a:gd name="T124" fmla="*/ 496 w 1237"/>
                <a:gd name="T125" fmla="*/ 0 h 1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37" h="1235">
                  <a:moveTo>
                    <a:pt x="496" y="0"/>
                  </a:moveTo>
                  <a:lnTo>
                    <a:pt x="532" y="36"/>
                  </a:lnTo>
                  <a:lnTo>
                    <a:pt x="502" y="104"/>
                  </a:lnTo>
                  <a:lnTo>
                    <a:pt x="474" y="173"/>
                  </a:lnTo>
                  <a:lnTo>
                    <a:pt x="447" y="248"/>
                  </a:lnTo>
                  <a:lnTo>
                    <a:pt x="423" y="324"/>
                  </a:lnTo>
                  <a:lnTo>
                    <a:pt x="403" y="401"/>
                  </a:lnTo>
                  <a:lnTo>
                    <a:pt x="375" y="522"/>
                  </a:lnTo>
                  <a:lnTo>
                    <a:pt x="353" y="644"/>
                  </a:lnTo>
                  <a:lnTo>
                    <a:pt x="335" y="767"/>
                  </a:lnTo>
                  <a:lnTo>
                    <a:pt x="323" y="890"/>
                  </a:lnTo>
                  <a:lnTo>
                    <a:pt x="320" y="915"/>
                  </a:lnTo>
                  <a:lnTo>
                    <a:pt x="423" y="906"/>
                  </a:lnTo>
                  <a:lnTo>
                    <a:pt x="526" y="893"/>
                  </a:lnTo>
                  <a:lnTo>
                    <a:pt x="647" y="874"/>
                  </a:lnTo>
                  <a:lnTo>
                    <a:pt x="766" y="849"/>
                  </a:lnTo>
                  <a:lnTo>
                    <a:pt x="885" y="820"/>
                  </a:lnTo>
                  <a:lnTo>
                    <a:pt x="1002" y="784"/>
                  </a:lnTo>
                  <a:lnTo>
                    <a:pt x="1060" y="763"/>
                  </a:lnTo>
                  <a:lnTo>
                    <a:pt x="1117" y="740"/>
                  </a:lnTo>
                  <a:lnTo>
                    <a:pt x="1173" y="717"/>
                  </a:lnTo>
                  <a:lnTo>
                    <a:pt x="1200" y="704"/>
                  </a:lnTo>
                  <a:lnTo>
                    <a:pt x="1237" y="740"/>
                  </a:lnTo>
                  <a:lnTo>
                    <a:pt x="1194" y="797"/>
                  </a:lnTo>
                  <a:lnTo>
                    <a:pt x="1147" y="851"/>
                  </a:lnTo>
                  <a:lnTo>
                    <a:pt x="1095" y="901"/>
                  </a:lnTo>
                  <a:lnTo>
                    <a:pt x="1041" y="947"/>
                  </a:lnTo>
                  <a:lnTo>
                    <a:pt x="983" y="989"/>
                  </a:lnTo>
                  <a:lnTo>
                    <a:pt x="922" y="1027"/>
                  </a:lnTo>
                  <a:lnTo>
                    <a:pt x="858" y="1062"/>
                  </a:lnTo>
                  <a:lnTo>
                    <a:pt x="794" y="1094"/>
                  </a:lnTo>
                  <a:lnTo>
                    <a:pt x="728" y="1123"/>
                  </a:lnTo>
                  <a:lnTo>
                    <a:pt x="661" y="1147"/>
                  </a:lnTo>
                  <a:lnTo>
                    <a:pt x="594" y="1169"/>
                  </a:lnTo>
                  <a:lnTo>
                    <a:pt x="491" y="1196"/>
                  </a:lnTo>
                  <a:lnTo>
                    <a:pt x="386" y="1217"/>
                  </a:lnTo>
                  <a:lnTo>
                    <a:pt x="280" y="1229"/>
                  </a:lnTo>
                  <a:lnTo>
                    <a:pt x="174" y="1235"/>
                  </a:lnTo>
                  <a:lnTo>
                    <a:pt x="151" y="1235"/>
                  </a:lnTo>
                  <a:lnTo>
                    <a:pt x="128" y="1233"/>
                  </a:lnTo>
                  <a:lnTo>
                    <a:pt x="106" y="1228"/>
                  </a:lnTo>
                  <a:lnTo>
                    <a:pt x="80" y="1217"/>
                  </a:lnTo>
                  <a:lnTo>
                    <a:pt x="57" y="1201"/>
                  </a:lnTo>
                  <a:lnTo>
                    <a:pt x="36" y="1182"/>
                  </a:lnTo>
                  <a:lnTo>
                    <a:pt x="21" y="1159"/>
                  </a:lnTo>
                  <a:lnTo>
                    <a:pt x="8" y="1134"/>
                  </a:lnTo>
                  <a:lnTo>
                    <a:pt x="1" y="1106"/>
                  </a:lnTo>
                  <a:lnTo>
                    <a:pt x="0" y="1073"/>
                  </a:lnTo>
                  <a:lnTo>
                    <a:pt x="0" y="1041"/>
                  </a:lnTo>
                  <a:lnTo>
                    <a:pt x="6" y="947"/>
                  </a:lnTo>
                  <a:lnTo>
                    <a:pt x="18" y="855"/>
                  </a:lnTo>
                  <a:lnTo>
                    <a:pt x="35" y="762"/>
                  </a:lnTo>
                  <a:lnTo>
                    <a:pt x="57" y="671"/>
                  </a:lnTo>
                  <a:lnTo>
                    <a:pt x="85" y="582"/>
                  </a:lnTo>
                  <a:lnTo>
                    <a:pt x="115" y="501"/>
                  </a:lnTo>
                  <a:lnTo>
                    <a:pt x="150" y="421"/>
                  </a:lnTo>
                  <a:lnTo>
                    <a:pt x="190" y="345"/>
                  </a:lnTo>
                  <a:lnTo>
                    <a:pt x="235" y="270"/>
                  </a:lnTo>
                  <a:lnTo>
                    <a:pt x="285" y="200"/>
                  </a:lnTo>
                  <a:lnTo>
                    <a:pt x="331" y="144"/>
                  </a:lnTo>
                  <a:lnTo>
                    <a:pt x="382" y="92"/>
                  </a:lnTo>
                  <a:lnTo>
                    <a:pt x="438" y="44"/>
                  </a:lnTo>
                  <a:lnTo>
                    <a:pt x="49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HarmonyOS Sans SC"/>
                <a:cs typeface="+mn-cs"/>
              </a:endParaRPr>
            </a:p>
          </p:txBody>
        </p:sp>
        <p:sp>
          <p:nvSpPr>
            <p:cNvPr id="47" name="Freeform 1276">
              <a:extLst>
                <a:ext uri="{FF2B5EF4-FFF2-40B4-BE49-F238E27FC236}">
                  <a16:creationId xmlns:a16="http://schemas.microsoft.com/office/drawing/2014/main" id="{E6AD9395-12D3-4EAA-B2E8-5DA5D436F7C2}"/>
                </a:ext>
              </a:extLst>
            </p:cNvPr>
            <p:cNvSpPr>
              <a:spLocks noEditPoints="1"/>
            </p:cNvSpPr>
            <p:nvPr/>
          </p:nvSpPr>
          <p:spPr bwMode="auto">
            <a:xfrm>
              <a:off x="5766" y="3626"/>
              <a:ext cx="1731" cy="1729"/>
            </a:xfrm>
            <a:custGeom>
              <a:avLst/>
              <a:gdLst>
                <a:gd name="T0" fmla="*/ 1977 w 3461"/>
                <a:gd name="T1" fmla="*/ 939 h 3456"/>
                <a:gd name="T2" fmla="*/ 1837 w 3461"/>
                <a:gd name="T3" fmla="*/ 996 h 3456"/>
                <a:gd name="T4" fmla="*/ 1719 w 3461"/>
                <a:gd name="T5" fmla="*/ 1101 h 3456"/>
                <a:gd name="T6" fmla="*/ 1646 w 3461"/>
                <a:gd name="T7" fmla="*/ 1235 h 3456"/>
                <a:gd name="T8" fmla="*/ 1621 w 3461"/>
                <a:gd name="T9" fmla="*/ 1382 h 3456"/>
                <a:gd name="T10" fmla="*/ 1646 w 3461"/>
                <a:gd name="T11" fmla="*/ 1529 h 3456"/>
                <a:gd name="T12" fmla="*/ 1719 w 3461"/>
                <a:gd name="T13" fmla="*/ 1665 h 3456"/>
                <a:gd name="T14" fmla="*/ 1837 w 3461"/>
                <a:gd name="T15" fmla="*/ 1770 h 3456"/>
                <a:gd name="T16" fmla="*/ 1977 w 3461"/>
                <a:gd name="T17" fmla="*/ 1826 h 3456"/>
                <a:gd name="T18" fmla="*/ 2127 w 3461"/>
                <a:gd name="T19" fmla="*/ 1835 h 3456"/>
                <a:gd name="T20" fmla="*/ 2270 w 3461"/>
                <a:gd name="T21" fmla="*/ 1794 h 3456"/>
                <a:gd name="T22" fmla="*/ 2399 w 3461"/>
                <a:gd name="T23" fmla="*/ 1705 h 3456"/>
                <a:gd name="T24" fmla="*/ 2488 w 3461"/>
                <a:gd name="T25" fmla="*/ 1577 h 3456"/>
                <a:gd name="T26" fmla="*/ 2529 w 3461"/>
                <a:gd name="T27" fmla="*/ 1433 h 3456"/>
                <a:gd name="T28" fmla="*/ 2521 w 3461"/>
                <a:gd name="T29" fmla="*/ 1283 h 3456"/>
                <a:gd name="T30" fmla="*/ 2464 w 3461"/>
                <a:gd name="T31" fmla="*/ 1143 h 3456"/>
                <a:gd name="T32" fmla="*/ 2359 w 3461"/>
                <a:gd name="T33" fmla="*/ 1026 h 3456"/>
                <a:gd name="T34" fmla="*/ 2225 w 3461"/>
                <a:gd name="T35" fmla="*/ 952 h 3456"/>
                <a:gd name="T36" fmla="*/ 2076 w 3461"/>
                <a:gd name="T37" fmla="*/ 928 h 3456"/>
                <a:gd name="T38" fmla="*/ 3351 w 3461"/>
                <a:gd name="T39" fmla="*/ 2 h 3456"/>
                <a:gd name="T40" fmla="*/ 3421 w 3461"/>
                <a:gd name="T41" fmla="*/ 40 h 3456"/>
                <a:gd name="T42" fmla="*/ 3459 w 3461"/>
                <a:gd name="T43" fmla="*/ 111 h 3456"/>
                <a:gd name="T44" fmla="*/ 3457 w 3461"/>
                <a:gd name="T45" fmla="*/ 256 h 3456"/>
                <a:gd name="T46" fmla="*/ 3444 w 3461"/>
                <a:gd name="T47" fmla="*/ 471 h 3456"/>
                <a:gd name="T48" fmla="*/ 3416 w 3461"/>
                <a:gd name="T49" fmla="*/ 722 h 3456"/>
                <a:gd name="T50" fmla="*/ 3372 w 3461"/>
                <a:gd name="T51" fmla="*/ 997 h 3456"/>
                <a:gd name="T52" fmla="*/ 3304 w 3461"/>
                <a:gd name="T53" fmla="*/ 1283 h 3456"/>
                <a:gd name="T54" fmla="*/ 3210 w 3461"/>
                <a:gd name="T55" fmla="*/ 1569 h 3456"/>
                <a:gd name="T56" fmla="*/ 3083 w 3461"/>
                <a:gd name="T57" fmla="*/ 1845 h 3456"/>
                <a:gd name="T58" fmla="*/ 2922 w 3461"/>
                <a:gd name="T59" fmla="*/ 2094 h 3456"/>
                <a:gd name="T60" fmla="*/ 2738 w 3461"/>
                <a:gd name="T61" fmla="*/ 2296 h 3456"/>
                <a:gd name="T62" fmla="*/ 2592 w 3461"/>
                <a:gd name="T63" fmla="*/ 2431 h 3456"/>
                <a:gd name="T64" fmla="*/ 2457 w 3461"/>
                <a:gd name="T65" fmla="*/ 2538 h 3456"/>
                <a:gd name="T66" fmla="*/ 2318 w 3461"/>
                <a:gd name="T67" fmla="*/ 2635 h 3456"/>
                <a:gd name="T68" fmla="*/ 2156 w 3461"/>
                <a:gd name="T69" fmla="*/ 2738 h 3456"/>
                <a:gd name="T70" fmla="*/ 2003 w 3461"/>
                <a:gd name="T71" fmla="*/ 2833 h 3456"/>
                <a:gd name="T72" fmla="*/ 1849 w 3461"/>
                <a:gd name="T73" fmla="*/ 2931 h 3456"/>
                <a:gd name="T74" fmla="*/ 1665 w 3461"/>
                <a:gd name="T75" fmla="*/ 3049 h 3456"/>
                <a:gd name="T76" fmla="*/ 1449 w 3461"/>
                <a:gd name="T77" fmla="*/ 3193 h 3456"/>
                <a:gd name="T78" fmla="*/ 1193 w 3461"/>
                <a:gd name="T79" fmla="*/ 3366 h 3456"/>
                <a:gd name="T80" fmla="*/ 1048 w 3461"/>
                <a:gd name="T81" fmla="*/ 3453 h 3456"/>
                <a:gd name="T82" fmla="*/ 969 w 3461"/>
                <a:gd name="T83" fmla="*/ 3445 h 3456"/>
                <a:gd name="T84" fmla="*/ 40 w 3461"/>
                <a:gd name="T85" fmla="*/ 2534 h 3456"/>
                <a:gd name="T86" fmla="*/ 3 w 3461"/>
                <a:gd name="T87" fmla="*/ 2463 h 3456"/>
                <a:gd name="T88" fmla="*/ 11 w 3461"/>
                <a:gd name="T89" fmla="*/ 2383 h 3456"/>
                <a:gd name="T90" fmla="*/ 152 w 3461"/>
                <a:gd name="T91" fmla="*/ 2175 h 3456"/>
                <a:gd name="T92" fmla="*/ 315 w 3461"/>
                <a:gd name="T93" fmla="*/ 1934 h 3456"/>
                <a:gd name="T94" fmla="*/ 449 w 3461"/>
                <a:gd name="T95" fmla="*/ 1729 h 3456"/>
                <a:gd name="T96" fmla="*/ 560 w 3461"/>
                <a:gd name="T97" fmla="*/ 1556 h 3456"/>
                <a:gd name="T98" fmla="*/ 653 w 3461"/>
                <a:gd name="T99" fmla="*/ 1409 h 3456"/>
                <a:gd name="T100" fmla="*/ 755 w 3461"/>
                <a:gd name="T101" fmla="*/ 1246 h 3456"/>
                <a:gd name="T102" fmla="*/ 855 w 3461"/>
                <a:gd name="T103" fmla="*/ 1094 h 3456"/>
                <a:gd name="T104" fmla="*/ 953 w 3461"/>
                <a:gd name="T105" fmla="*/ 957 h 3456"/>
                <a:gd name="T106" fmla="*/ 1068 w 3461"/>
                <a:gd name="T107" fmla="*/ 822 h 3456"/>
                <a:gd name="T108" fmla="*/ 1215 w 3461"/>
                <a:gd name="T109" fmla="*/ 667 h 3456"/>
                <a:gd name="T110" fmla="*/ 1442 w 3461"/>
                <a:gd name="T111" fmla="*/ 480 h 3456"/>
                <a:gd name="T112" fmla="*/ 1704 w 3461"/>
                <a:gd name="T113" fmla="*/ 332 h 3456"/>
                <a:gd name="T114" fmla="*/ 1983 w 3461"/>
                <a:gd name="T115" fmla="*/ 217 h 3456"/>
                <a:gd name="T116" fmla="*/ 2272 w 3461"/>
                <a:gd name="T117" fmla="*/ 131 h 3456"/>
                <a:gd name="T118" fmla="*/ 2556 w 3461"/>
                <a:gd name="T119" fmla="*/ 72 h 3456"/>
                <a:gd name="T120" fmla="*/ 2824 w 3461"/>
                <a:gd name="T121" fmla="*/ 34 h 3456"/>
                <a:gd name="T122" fmla="*/ 3065 w 3461"/>
                <a:gd name="T123" fmla="*/ 11 h 3456"/>
                <a:gd name="T124" fmla="*/ 3265 w 3461"/>
                <a:gd name="T125" fmla="*/ 1 h 3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461" h="3456">
                  <a:moveTo>
                    <a:pt x="2076" y="928"/>
                  </a:moveTo>
                  <a:lnTo>
                    <a:pt x="2026" y="931"/>
                  </a:lnTo>
                  <a:lnTo>
                    <a:pt x="1977" y="939"/>
                  </a:lnTo>
                  <a:lnTo>
                    <a:pt x="1928" y="952"/>
                  </a:lnTo>
                  <a:lnTo>
                    <a:pt x="1881" y="972"/>
                  </a:lnTo>
                  <a:lnTo>
                    <a:pt x="1837" y="996"/>
                  </a:lnTo>
                  <a:lnTo>
                    <a:pt x="1794" y="1026"/>
                  </a:lnTo>
                  <a:lnTo>
                    <a:pt x="1754" y="1061"/>
                  </a:lnTo>
                  <a:lnTo>
                    <a:pt x="1719" y="1101"/>
                  </a:lnTo>
                  <a:lnTo>
                    <a:pt x="1689" y="1143"/>
                  </a:lnTo>
                  <a:lnTo>
                    <a:pt x="1665" y="1188"/>
                  </a:lnTo>
                  <a:lnTo>
                    <a:pt x="1646" y="1235"/>
                  </a:lnTo>
                  <a:lnTo>
                    <a:pt x="1632" y="1283"/>
                  </a:lnTo>
                  <a:lnTo>
                    <a:pt x="1624" y="1333"/>
                  </a:lnTo>
                  <a:lnTo>
                    <a:pt x="1621" y="1382"/>
                  </a:lnTo>
                  <a:lnTo>
                    <a:pt x="1624" y="1433"/>
                  </a:lnTo>
                  <a:lnTo>
                    <a:pt x="1632" y="1481"/>
                  </a:lnTo>
                  <a:lnTo>
                    <a:pt x="1646" y="1529"/>
                  </a:lnTo>
                  <a:lnTo>
                    <a:pt x="1665" y="1577"/>
                  </a:lnTo>
                  <a:lnTo>
                    <a:pt x="1689" y="1622"/>
                  </a:lnTo>
                  <a:lnTo>
                    <a:pt x="1719" y="1665"/>
                  </a:lnTo>
                  <a:lnTo>
                    <a:pt x="1754" y="1705"/>
                  </a:lnTo>
                  <a:lnTo>
                    <a:pt x="1794" y="1740"/>
                  </a:lnTo>
                  <a:lnTo>
                    <a:pt x="1837" y="1770"/>
                  </a:lnTo>
                  <a:lnTo>
                    <a:pt x="1881" y="1794"/>
                  </a:lnTo>
                  <a:lnTo>
                    <a:pt x="1928" y="1813"/>
                  </a:lnTo>
                  <a:lnTo>
                    <a:pt x="1977" y="1826"/>
                  </a:lnTo>
                  <a:lnTo>
                    <a:pt x="2026" y="1835"/>
                  </a:lnTo>
                  <a:lnTo>
                    <a:pt x="2076" y="1837"/>
                  </a:lnTo>
                  <a:lnTo>
                    <a:pt x="2127" y="1835"/>
                  </a:lnTo>
                  <a:lnTo>
                    <a:pt x="2175" y="1826"/>
                  </a:lnTo>
                  <a:lnTo>
                    <a:pt x="2225" y="1813"/>
                  </a:lnTo>
                  <a:lnTo>
                    <a:pt x="2270" y="1794"/>
                  </a:lnTo>
                  <a:lnTo>
                    <a:pt x="2316" y="1770"/>
                  </a:lnTo>
                  <a:lnTo>
                    <a:pt x="2359" y="1740"/>
                  </a:lnTo>
                  <a:lnTo>
                    <a:pt x="2399" y="1705"/>
                  </a:lnTo>
                  <a:lnTo>
                    <a:pt x="2434" y="1665"/>
                  </a:lnTo>
                  <a:lnTo>
                    <a:pt x="2464" y="1622"/>
                  </a:lnTo>
                  <a:lnTo>
                    <a:pt x="2488" y="1577"/>
                  </a:lnTo>
                  <a:lnTo>
                    <a:pt x="2507" y="1529"/>
                  </a:lnTo>
                  <a:lnTo>
                    <a:pt x="2521" y="1481"/>
                  </a:lnTo>
                  <a:lnTo>
                    <a:pt x="2529" y="1433"/>
                  </a:lnTo>
                  <a:lnTo>
                    <a:pt x="2532" y="1382"/>
                  </a:lnTo>
                  <a:lnTo>
                    <a:pt x="2529" y="1333"/>
                  </a:lnTo>
                  <a:lnTo>
                    <a:pt x="2521" y="1283"/>
                  </a:lnTo>
                  <a:lnTo>
                    <a:pt x="2507" y="1235"/>
                  </a:lnTo>
                  <a:lnTo>
                    <a:pt x="2488" y="1188"/>
                  </a:lnTo>
                  <a:lnTo>
                    <a:pt x="2464" y="1143"/>
                  </a:lnTo>
                  <a:lnTo>
                    <a:pt x="2434" y="1101"/>
                  </a:lnTo>
                  <a:lnTo>
                    <a:pt x="2399" y="1061"/>
                  </a:lnTo>
                  <a:lnTo>
                    <a:pt x="2359" y="1026"/>
                  </a:lnTo>
                  <a:lnTo>
                    <a:pt x="2316" y="996"/>
                  </a:lnTo>
                  <a:lnTo>
                    <a:pt x="2270" y="972"/>
                  </a:lnTo>
                  <a:lnTo>
                    <a:pt x="2225" y="952"/>
                  </a:lnTo>
                  <a:lnTo>
                    <a:pt x="2175" y="939"/>
                  </a:lnTo>
                  <a:lnTo>
                    <a:pt x="2127" y="931"/>
                  </a:lnTo>
                  <a:lnTo>
                    <a:pt x="2076" y="928"/>
                  </a:lnTo>
                  <a:close/>
                  <a:moveTo>
                    <a:pt x="3322" y="0"/>
                  </a:moveTo>
                  <a:lnTo>
                    <a:pt x="3325" y="0"/>
                  </a:lnTo>
                  <a:lnTo>
                    <a:pt x="3351" y="2"/>
                  </a:lnTo>
                  <a:lnTo>
                    <a:pt x="3377" y="10"/>
                  </a:lnTo>
                  <a:lnTo>
                    <a:pt x="3401" y="23"/>
                  </a:lnTo>
                  <a:lnTo>
                    <a:pt x="3421" y="40"/>
                  </a:lnTo>
                  <a:lnTo>
                    <a:pt x="3438" y="60"/>
                  </a:lnTo>
                  <a:lnTo>
                    <a:pt x="3451" y="86"/>
                  </a:lnTo>
                  <a:lnTo>
                    <a:pt x="3459" y="111"/>
                  </a:lnTo>
                  <a:lnTo>
                    <a:pt x="3461" y="139"/>
                  </a:lnTo>
                  <a:lnTo>
                    <a:pt x="3460" y="194"/>
                  </a:lnTo>
                  <a:lnTo>
                    <a:pt x="3457" y="256"/>
                  </a:lnTo>
                  <a:lnTo>
                    <a:pt x="3454" y="323"/>
                  </a:lnTo>
                  <a:lnTo>
                    <a:pt x="3450" y="395"/>
                  </a:lnTo>
                  <a:lnTo>
                    <a:pt x="3444" y="471"/>
                  </a:lnTo>
                  <a:lnTo>
                    <a:pt x="3437" y="552"/>
                  </a:lnTo>
                  <a:lnTo>
                    <a:pt x="3427" y="635"/>
                  </a:lnTo>
                  <a:lnTo>
                    <a:pt x="3416" y="722"/>
                  </a:lnTo>
                  <a:lnTo>
                    <a:pt x="3404" y="811"/>
                  </a:lnTo>
                  <a:lnTo>
                    <a:pt x="3389" y="903"/>
                  </a:lnTo>
                  <a:lnTo>
                    <a:pt x="3372" y="997"/>
                  </a:lnTo>
                  <a:lnTo>
                    <a:pt x="3351" y="1091"/>
                  </a:lnTo>
                  <a:lnTo>
                    <a:pt x="3329" y="1187"/>
                  </a:lnTo>
                  <a:lnTo>
                    <a:pt x="3304" y="1283"/>
                  </a:lnTo>
                  <a:lnTo>
                    <a:pt x="3275" y="1380"/>
                  </a:lnTo>
                  <a:lnTo>
                    <a:pt x="3244" y="1475"/>
                  </a:lnTo>
                  <a:lnTo>
                    <a:pt x="3210" y="1569"/>
                  </a:lnTo>
                  <a:lnTo>
                    <a:pt x="3171" y="1663"/>
                  </a:lnTo>
                  <a:lnTo>
                    <a:pt x="3129" y="1755"/>
                  </a:lnTo>
                  <a:lnTo>
                    <a:pt x="3083" y="1845"/>
                  </a:lnTo>
                  <a:lnTo>
                    <a:pt x="3033" y="1932"/>
                  </a:lnTo>
                  <a:lnTo>
                    <a:pt x="2980" y="2015"/>
                  </a:lnTo>
                  <a:lnTo>
                    <a:pt x="2922" y="2094"/>
                  </a:lnTo>
                  <a:lnTo>
                    <a:pt x="2859" y="2172"/>
                  </a:lnTo>
                  <a:lnTo>
                    <a:pt x="2793" y="2243"/>
                  </a:lnTo>
                  <a:lnTo>
                    <a:pt x="2738" y="2296"/>
                  </a:lnTo>
                  <a:lnTo>
                    <a:pt x="2686" y="2346"/>
                  </a:lnTo>
                  <a:lnTo>
                    <a:pt x="2638" y="2390"/>
                  </a:lnTo>
                  <a:lnTo>
                    <a:pt x="2592" y="2431"/>
                  </a:lnTo>
                  <a:lnTo>
                    <a:pt x="2546" y="2469"/>
                  </a:lnTo>
                  <a:lnTo>
                    <a:pt x="2501" y="2504"/>
                  </a:lnTo>
                  <a:lnTo>
                    <a:pt x="2457" y="2538"/>
                  </a:lnTo>
                  <a:lnTo>
                    <a:pt x="2412" y="2571"/>
                  </a:lnTo>
                  <a:lnTo>
                    <a:pt x="2366" y="2603"/>
                  </a:lnTo>
                  <a:lnTo>
                    <a:pt x="2318" y="2635"/>
                  </a:lnTo>
                  <a:lnTo>
                    <a:pt x="2267" y="2668"/>
                  </a:lnTo>
                  <a:lnTo>
                    <a:pt x="2214" y="2702"/>
                  </a:lnTo>
                  <a:lnTo>
                    <a:pt x="2156" y="2738"/>
                  </a:lnTo>
                  <a:lnTo>
                    <a:pt x="2094" y="2777"/>
                  </a:lnTo>
                  <a:lnTo>
                    <a:pt x="2050" y="2804"/>
                  </a:lnTo>
                  <a:lnTo>
                    <a:pt x="2003" y="2833"/>
                  </a:lnTo>
                  <a:lnTo>
                    <a:pt x="1955" y="2865"/>
                  </a:lnTo>
                  <a:lnTo>
                    <a:pt x="1903" y="2897"/>
                  </a:lnTo>
                  <a:lnTo>
                    <a:pt x="1849" y="2931"/>
                  </a:lnTo>
                  <a:lnTo>
                    <a:pt x="1791" y="2969"/>
                  </a:lnTo>
                  <a:lnTo>
                    <a:pt x="1729" y="3007"/>
                  </a:lnTo>
                  <a:lnTo>
                    <a:pt x="1665" y="3049"/>
                  </a:lnTo>
                  <a:lnTo>
                    <a:pt x="1597" y="3094"/>
                  </a:lnTo>
                  <a:lnTo>
                    <a:pt x="1525" y="3142"/>
                  </a:lnTo>
                  <a:lnTo>
                    <a:pt x="1449" y="3193"/>
                  </a:lnTo>
                  <a:lnTo>
                    <a:pt x="1368" y="3247"/>
                  </a:lnTo>
                  <a:lnTo>
                    <a:pt x="1283" y="3304"/>
                  </a:lnTo>
                  <a:lnTo>
                    <a:pt x="1193" y="3366"/>
                  </a:lnTo>
                  <a:lnTo>
                    <a:pt x="1099" y="3431"/>
                  </a:lnTo>
                  <a:lnTo>
                    <a:pt x="1074" y="3445"/>
                  </a:lnTo>
                  <a:lnTo>
                    <a:pt x="1048" y="3453"/>
                  </a:lnTo>
                  <a:lnTo>
                    <a:pt x="1021" y="3456"/>
                  </a:lnTo>
                  <a:lnTo>
                    <a:pt x="994" y="3454"/>
                  </a:lnTo>
                  <a:lnTo>
                    <a:pt x="969" y="3445"/>
                  </a:lnTo>
                  <a:lnTo>
                    <a:pt x="946" y="3433"/>
                  </a:lnTo>
                  <a:lnTo>
                    <a:pt x="924" y="3415"/>
                  </a:lnTo>
                  <a:lnTo>
                    <a:pt x="40" y="2534"/>
                  </a:lnTo>
                  <a:lnTo>
                    <a:pt x="23" y="2512"/>
                  </a:lnTo>
                  <a:lnTo>
                    <a:pt x="10" y="2488"/>
                  </a:lnTo>
                  <a:lnTo>
                    <a:pt x="3" y="2463"/>
                  </a:lnTo>
                  <a:lnTo>
                    <a:pt x="0" y="2436"/>
                  </a:lnTo>
                  <a:lnTo>
                    <a:pt x="3" y="2408"/>
                  </a:lnTo>
                  <a:lnTo>
                    <a:pt x="11" y="2383"/>
                  </a:lnTo>
                  <a:lnTo>
                    <a:pt x="25" y="2359"/>
                  </a:lnTo>
                  <a:lnTo>
                    <a:pt x="90" y="2265"/>
                  </a:lnTo>
                  <a:lnTo>
                    <a:pt x="152" y="2175"/>
                  </a:lnTo>
                  <a:lnTo>
                    <a:pt x="210" y="2090"/>
                  </a:lnTo>
                  <a:lnTo>
                    <a:pt x="264" y="2010"/>
                  </a:lnTo>
                  <a:lnTo>
                    <a:pt x="315" y="1934"/>
                  </a:lnTo>
                  <a:lnTo>
                    <a:pt x="362" y="1861"/>
                  </a:lnTo>
                  <a:lnTo>
                    <a:pt x="407" y="1794"/>
                  </a:lnTo>
                  <a:lnTo>
                    <a:pt x="449" y="1729"/>
                  </a:lnTo>
                  <a:lnTo>
                    <a:pt x="489" y="1668"/>
                  </a:lnTo>
                  <a:lnTo>
                    <a:pt x="525" y="1610"/>
                  </a:lnTo>
                  <a:lnTo>
                    <a:pt x="560" y="1556"/>
                  </a:lnTo>
                  <a:lnTo>
                    <a:pt x="593" y="1504"/>
                  </a:lnTo>
                  <a:lnTo>
                    <a:pt x="624" y="1456"/>
                  </a:lnTo>
                  <a:lnTo>
                    <a:pt x="653" y="1409"/>
                  </a:lnTo>
                  <a:lnTo>
                    <a:pt x="681" y="1365"/>
                  </a:lnTo>
                  <a:lnTo>
                    <a:pt x="718" y="1303"/>
                  </a:lnTo>
                  <a:lnTo>
                    <a:pt x="755" y="1246"/>
                  </a:lnTo>
                  <a:lnTo>
                    <a:pt x="790" y="1193"/>
                  </a:lnTo>
                  <a:lnTo>
                    <a:pt x="822" y="1142"/>
                  </a:lnTo>
                  <a:lnTo>
                    <a:pt x="855" y="1094"/>
                  </a:lnTo>
                  <a:lnTo>
                    <a:pt x="886" y="1048"/>
                  </a:lnTo>
                  <a:lnTo>
                    <a:pt x="919" y="1002"/>
                  </a:lnTo>
                  <a:lnTo>
                    <a:pt x="953" y="957"/>
                  </a:lnTo>
                  <a:lnTo>
                    <a:pt x="989" y="914"/>
                  </a:lnTo>
                  <a:lnTo>
                    <a:pt x="1027" y="868"/>
                  </a:lnTo>
                  <a:lnTo>
                    <a:pt x="1068" y="822"/>
                  </a:lnTo>
                  <a:lnTo>
                    <a:pt x="1112" y="773"/>
                  </a:lnTo>
                  <a:lnTo>
                    <a:pt x="1161" y="722"/>
                  </a:lnTo>
                  <a:lnTo>
                    <a:pt x="1215" y="667"/>
                  </a:lnTo>
                  <a:lnTo>
                    <a:pt x="1287" y="601"/>
                  </a:lnTo>
                  <a:lnTo>
                    <a:pt x="1363" y="538"/>
                  </a:lnTo>
                  <a:lnTo>
                    <a:pt x="1442" y="480"/>
                  </a:lnTo>
                  <a:lnTo>
                    <a:pt x="1527" y="427"/>
                  </a:lnTo>
                  <a:lnTo>
                    <a:pt x="1613" y="378"/>
                  </a:lnTo>
                  <a:lnTo>
                    <a:pt x="1704" y="332"/>
                  </a:lnTo>
                  <a:lnTo>
                    <a:pt x="1794" y="290"/>
                  </a:lnTo>
                  <a:lnTo>
                    <a:pt x="1889" y="252"/>
                  </a:lnTo>
                  <a:lnTo>
                    <a:pt x="1983" y="217"/>
                  </a:lnTo>
                  <a:lnTo>
                    <a:pt x="2080" y="186"/>
                  </a:lnTo>
                  <a:lnTo>
                    <a:pt x="2175" y="157"/>
                  </a:lnTo>
                  <a:lnTo>
                    <a:pt x="2272" y="131"/>
                  </a:lnTo>
                  <a:lnTo>
                    <a:pt x="2367" y="110"/>
                  </a:lnTo>
                  <a:lnTo>
                    <a:pt x="2463" y="89"/>
                  </a:lnTo>
                  <a:lnTo>
                    <a:pt x="2556" y="72"/>
                  </a:lnTo>
                  <a:lnTo>
                    <a:pt x="2648" y="57"/>
                  </a:lnTo>
                  <a:lnTo>
                    <a:pt x="2737" y="45"/>
                  </a:lnTo>
                  <a:lnTo>
                    <a:pt x="2824" y="34"/>
                  </a:lnTo>
                  <a:lnTo>
                    <a:pt x="2909" y="24"/>
                  </a:lnTo>
                  <a:lnTo>
                    <a:pt x="2988" y="17"/>
                  </a:lnTo>
                  <a:lnTo>
                    <a:pt x="3065" y="11"/>
                  </a:lnTo>
                  <a:lnTo>
                    <a:pt x="3137" y="6"/>
                  </a:lnTo>
                  <a:lnTo>
                    <a:pt x="3204" y="3"/>
                  </a:lnTo>
                  <a:lnTo>
                    <a:pt x="3265" y="1"/>
                  </a:lnTo>
                  <a:lnTo>
                    <a:pt x="332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HarmonyOS Sans SC"/>
                <a:cs typeface="+mn-cs"/>
              </a:endParaRPr>
            </a:p>
          </p:txBody>
        </p:sp>
      </p:grpSp>
      <p:grpSp>
        <p:nvGrpSpPr>
          <p:cNvPr id="48" name="Group 1036">
            <a:extLst>
              <a:ext uri="{FF2B5EF4-FFF2-40B4-BE49-F238E27FC236}">
                <a16:creationId xmlns:a16="http://schemas.microsoft.com/office/drawing/2014/main" id="{26EA32B4-852B-4325-ABAF-3BEC8705F68D}"/>
              </a:ext>
            </a:extLst>
          </p:cNvPr>
          <p:cNvGrpSpPr>
            <a:grpSpLocks noChangeAspect="1"/>
          </p:cNvGrpSpPr>
          <p:nvPr/>
        </p:nvGrpSpPr>
        <p:grpSpPr bwMode="auto">
          <a:xfrm>
            <a:off x="1589667" y="2232525"/>
            <a:ext cx="246522" cy="245021"/>
            <a:chOff x="9876" y="-1946"/>
            <a:chExt cx="822" cy="817"/>
          </a:xfrm>
          <a:solidFill>
            <a:schemeClr val="bg1"/>
          </a:solidFill>
        </p:grpSpPr>
        <p:sp>
          <p:nvSpPr>
            <p:cNvPr id="49" name="Freeform 1038">
              <a:extLst>
                <a:ext uri="{FF2B5EF4-FFF2-40B4-BE49-F238E27FC236}">
                  <a16:creationId xmlns:a16="http://schemas.microsoft.com/office/drawing/2014/main" id="{E5C61B89-FB2F-4541-AB12-502131C7D2F9}"/>
                </a:ext>
              </a:extLst>
            </p:cNvPr>
            <p:cNvSpPr>
              <a:spLocks/>
            </p:cNvSpPr>
            <p:nvPr/>
          </p:nvSpPr>
          <p:spPr bwMode="auto">
            <a:xfrm>
              <a:off x="10016" y="-1801"/>
              <a:ext cx="356" cy="75"/>
            </a:xfrm>
            <a:custGeom>
              <a:avLst/>
              <a:gdLst>
                <a:gd name="T0" fmla="*/ 149 w 1421"/>
                <a:gd name="T1" fmla="*/ 0 h 298"/>
                <a:gd name="T2" fmla="*/ 1272 w 1421"/>
                <a:gd name="T3" fmla="*/ 0 h 298"/>
                <a:gd name="T4" fmla="*/ 1302 w 1421"/>
                <a:gd name="T5" fmla="*/ 3 h 298"/>
                <a:gd name="T6" fmla="*/ 1330 w 1421"/>
                <a:gd name="T7" fmla="*/ 12 h 298"/>
                <a:gd name="T8" fmla="*/ 1356 w 1421"/>
                <a:gd name="T9" fmla="*/ 25 h 298"/>
                <a:gd name="T10" fmla="*/ 1378 w 1421"/>
                <a:gd name="T11" fmla="*/ 44 h 298"/>
                <a:gd name="T12" fmla="*/ 1396 w 1421"/>
                <a:gd name="T13" fmla="*/ 66 h 298"/>
                <a:gd name="T14" fmla="*/ 1410 w 1421"/>
                <a:gd name="T15" fmla="*/ 91 h 298"/>
                <a:gd name="T16" fmla="*/ 1418 w 1421"/>
                <a:gd name="T17" fmla="*/ 119 h 298"/>
                <a:gd name="T18" fmla="*/ 1421 w 1421"/>
                <a:gd name="T19" fmla="*/ 149 h 298"/>
                <a:gd name="T20" fmla="*/ 1418 w 1421"/>
                <a:gd name="T21" fmla="*/ 179 h 298"/>
                <a:gd name="T22" fmla="*/ 1410 w 1421"/>
                <a:gd name="T23" fmla="*/ 206 h 298"/>
                <a:gd name="T24" fmla="*/ 1396 w 1421"/>
                <a:gd name="T25" fmla="*/ 232 h 298"/>
                <a:gd name="T26" fmla="*/ 1378 w 1421"/>
                <a:gd name="T27" fmla="*/ 254 h 298"/>
                <a:gd name="T28" fmla="*/ 1356 w 1421"/>
                <a:gd name="T29" fmla="*/ 272 h 298"/>
                <a:gd name="T30" fmla="*/ 1330 w 1421"/>
                <a:gd name="T31" fmla="*/ 285 h 298"/>
                <a:gd name="T32" fmla="*/ 1302 w 1421"/>
                <a:gd name="T33" fmla="*/ 295 h 298"/>
                <a:gd name="T34" fmla="*/ 1272 w 1421"/>
                <a:gd name="T35" fmla="*/ 298 h 298"/>
                <a:gd name="T36" fmla="*/ 149 w 1421"/>
                <a:gd name="T37" fmla="*/ 298 h 298"/>
                <a:gd name="T38" fmla="*/ 119 w 1421"/>
                <a:gd name="T39" fmla="*/ 295 h 298"/>
                <a:gd name="T40" fmla="*/ 91 w 1421"/>
                <a:gd name="T41" fmla="*/ 285 h 298"/>
                <a:gd name="T42" fmla="*/ 65 w 1421"/>
                <a:gd name="T43" fmla="*/ 272 h 298"/>
                <a:gd name="T44" fmla="*/ 44 w 1421"/>
                <a:gd name="T45" fmla="*/ 254 h 298"/>
                <a:gd name="T46" fmla="*/ 25 w 1421"/>
                <a:gd name="T47" fmla="*/ 232 h 298"/>
                <a:gd name="T48" fmla="*/ 11 w 1421"/>
                <a:gd name="T49" fmla="*/ 206 h 298"/>
                <a:gd name="T50" fmla="*/ 3 w 1421"/>
                <a:gd name="T51" fmla="*/ 179 h 298"/>
                <a:gd name="T52" fmla="*/ 0 w 1421"/>
                <a:gd name="T53" fmla="*/ 149 h 298"/>
                <a:gd name="T54" fmla="*/ 3 w 1421"/>
                <a:gd name="T55" fmla="*/ 119 h 298"/>
                <a:gd name="T56" fmla="*/ 11 w 1421"/>
                <a:gd name="T57" fmla="*/ 91 h 298"/>
                <a:gd name="T58" fmla="*/ 25 w 1421"/>
                <a:gd name="T59" fmla="*/ 66 h 298"/>
                <a:gd name="T60" fmla="*/ 44 w 1421"/>
                <a:gd name="T61" fmla="*/ 44 h 298"/>
                <a:gd name="T62" fmla="*/ 65 w 1421"/>
                <a:gd name="T63" fmla="*/ 25 h 298"/>
                <a:gd name="T64" fmla="*/ 91 w 1421"/>
                <a:gd name="T65" fmla="*/ 12 h 298"/>
                <a:gd name="T66" fmla="*/ 119 w 1421"/>
                <a:gd name="T67" fmla="*/ 3 h 298"/>
                <a:gd name="T68" fmla="*/ 149 w 1421"/>
                <a:gd name="T69" fmla="*/ 0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421" h="298">
                  <a:moveTo>
                    <a:pt x="149" y="0"/>
                  </a:moveTo>
                  <a:lnTo>
                    <a:pt x="1272" y="0"/>
                  </a:lnTo>
                  <a:lnTo>
                    <a:pt x="1302" y="3"/>
                  </a:lnTo>
                  <a:lnTo>
                    <a:pt x="1330" y="12"/>
                  </a:lnTo>
                  <a:lnTo>
                    <a:pt x="1356" y="25"/>
                  </a:lnTo>
                  <a:lnTo>
                    <a:pt x="1378" y="44"/>
                  </a:lnTo>
                  <a:lnTo>
                    <a:pt x="1396" y="66"/>
                  </a:lnTo>
                  <a:lnTo>
                    <a:pt x="1410" y="91"/>
                  </a:lnTo>
                  <a:lnTo>
                    <a:pt x="1418" y="119"/>
                  </a:lnTo>
                  <a:lnTo>
                    <a:pt x="1421" y="149"/>
                  </a:lnTo>
                  <a:lnTo>
                    <a:pt x="1418" y="179"/>
                  </a:lnTo>
                  <a:lnTo>
                    <a:pt x="1410" y="206"/>
                  </a:lnTo>
                  <a:lnTo>
                    <a:pt x="1396" y="232"/>
                  </a:lnTo>
                  <a:lnTo>
                    <a:pt x="1378" y="254"/>
                  </a:lnTo>
                  <a:lnTo>
                    <a:pt x="1356" y="272"/>
                  </a:lnTo>
                  <a:lnTo>
                    <a:pt x="1330" y="285"/>
                  </a:lnTo>
                  <a:lnTo>
                    <a:pt x="1302" y="295"/>
                  </a:lnTo>
                  <a:lnTo>
                    <a:pt x="1272" y="298"/>
                  </a:lnTo>
                  <a:lnTo>
                    <a:pt x="149" y="298"/>
                  </a:lnTo>
                  <a:lnTo>
                    <a:pt x="119" y="295"/>
                  </a:lnTo>
                  <a:lnTo>
                    <a:pt x="91" y="285"/>
                  </a:lnTo>
                  <a:lnTo>
                    <a:pt x="65" y="272"/>
                  </a:lnTo>
                  <a:lnTo>
                    <a:pt x="44" y="254"/>
                  </a:lnTo>
                  <a:lnTo>
                    <a:pt x="25" y="232"/>
                  </a:lnTo>
                  <a:lnTo>
                    <a:pt x="11" y="206"/>
                  </a:lnTo>
                  <a:lnTo>
                    <a:pt x="3" y="179"/>
                  </a:lnTo>
                  <a:lnTo>
                    <a:pt x="0" y="149"/>
                  </a:lnTo>
                  <a:lnTo>
                    <a:pt x="3" y="119"/>
                  </a:lnTo>
                  <a:lnTo>
                    <a:pt x="11" y="91"/>
                  </a:lnTo>
                  <a:lnTo>
                    <a:pt x="25" y="66"/>
                  </a:lnTo>
                  <a:lnTo>
                    <a:pt x="44" y="44"/>
                  </a:lnTo>
                  <a:lnTo>
                    <a:pt x="65" y="25"/>
                  </a:lnTo>
                  <a:lnTo>
                    <a:pt x="91" y="12"/>
                  </a:lnTo>
                  <a:lnTo>
                    <a:pt x="119" y="3"/>
                  </a:lnTo>
                  <a:lnTo>
                    <a:pt x="14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HarmonyOS Sans SC"/>
                <a:cs typeface="+mn-cs"/>
              </a:endParaRPr>
            </a:p>
          </p:txBody>
        </p:sp>
        <p:sp>
          <p:nvSpPr>
            <p:cNvPr id="50" name="Freeform 1039">
              <a:extLst>
                <a:ext uri="{FF2B5EF4-FFF2-40B4-BE49-F238E27FC236}">
                  <a16:creationId xmlns:a16="http://schemas.microsoft.com/office/drawing/2014/main" id="{08762602-E511-465B-97F9-EBAB990ED6D5}"/>
                </a:ext>
              </a:extLst>
            </p:cNvPr>
            <p:cNvSpPr>
              <a:spLocks/>
            </p:cNvSpPr>
            <p:nvPr/>
          </p:nvSpPr>
          <p:spPr bwMode="auto">
            <a:xfrm>
              <a:off x="10016" y="-1662"/>
              <a:ext cx="356" cy="75"/>
            </a:xfrm>
            <a:custGeom>
              <a:avLst/>
              <a:gdLst>
                <a:gd name="T0" fmla="*/ 149 w 1421"/>
                <a:gd name="T1" fmla="*/ 0 h 298"/>
                <a:gd name="T2" fmla="*/ 1272 w 1421"/>
                <a:gd name="T3" fmla="*/ 0 h 298"/>
                <a:gd name="T4" fmla="*/ 1302 w 1421"/>
                <a:gd name="T5" fmla="*/ 3 h 298"/>
                <a:gd name="T6" fmla="*/ 1330 w 1421"/>
                <a:gd name="T7" fmla="*/ 12 h 298"/>
                <a:gd name="T8" fmla="*/ 1356 w 1421"/>
                <a:gd name="T9" fmla="*/ 26 h 298"/>
                <a:gd name="T10" fmla="*/ 1378 w 1421"/>
                <a:gd name="T11" fmla="*/ 44 h 298"/>
                <a:gd name="T12" fmla="*/ 1396 w 1421"/>
                <a:gd name="T13" fmla="*/ 66 h 298"/>
                <a:gd name="T14" fmla="*/ 1410 w 1421"/>
                <a:gd name="T15" fmla="*/ 91 h 298"/>
                <a:gd name="T16" fmla="*/ 1418 w 1421"/>
                <a:gd name="T17" fmla="*/ 119 h 298"/>
                <a:gd name="T18" fmla="*/ 1421 w 1421"/>
                <a:gd name="T19" fmla="*/ 149 h 298"/>
                <a:gd name="T20" fmla="*/ 1418 w 1421"/>
                <a:gd name="T21" fmla="*/ 179 h 298"/>
                <a:gd name="T22" fmla="*/ 1410 w 1421"/>
                <a:gd name="T23" fmla="*/ 207 h 298"/>
                <a:gd name="T24" fmla="*/ 1396 w 1421"/>
                <a:gd name="T25" fmla="*/ 232 h 298"/>
                <a:gd name="T26" fmla="*/ 1378 w 1421"/>
                <a:gd name="T27" fmla="*/ 255 h 298"/>
                <a:gd name="T28" fmla="*/ 1356 w 1421"/>
                <a:gd name="T29" fmla="*/ 272 h 298"/>
                <a:gd name="T30" fmla="*/ 1330 w 1421"/>
                <a:gd name="T31" fmla="*/ 287 h 298"/>
                <a:gd name="T32" fmla="*/ 1302 w 1421"/>
                <a:gd name="T33" fmla="*/ 295 h 298"/>
                <a:gd name="T34" fmla="*/ 1272 w 1421"/>
                <a:gd name="T35" fmla="*/ 298 h 298"/>
                <a:gd name="T36" fmla="*/ 149 w 1421"/>
                <a:gd name="T37" fmla="*/ 298 h 298"/>
                <a:gd name="T38" fmla="*/ 119 w 1421"/>
                <a:gd name="T39" fmla="*/ 295 h 298"/>
                <a:gd name="T40" fmla="*/ 91 w 1421"/>
                <a:gd name="T41" fmla="*/ 287 h 298"/>
                <a:gd name="T42" fmla="*/ 65 w 1421"/>
                <a:gd name="T43" fmla="*/ 272 h 298"/>
                <a:gd name="T44" fmla="*/ 44 w 1421"/>
                <a:gd name="T45" fmla="*/ 255 h 298"/>
                <a:gd name="T46" fmla="*/ 25 w 1421"/>
                <a:gd name="T47" fmla="*/ 232 h 298"/>
                <a:gd name="T48" fmla="*/ 11 w 1421"/>
                <a:gd name="T49" fmla="*/ 207 h 298"/>
                <a:gd name="T50" fmla="*/ 3 w 1421"/>
                <a:gd name="T51" fmla="*/ 179 h 298"/>
                <a:gd name="T52" fmla="*/ 0 w 1421"/>
                <a:gd name="T53" fmla="*/ 149 h 298"/>
                <a:gd name="T54" fmla="*/ 3 w 1421"/>
                <a:gd name="T55" fmla="*/ 119 h 298"/>
                <a:gd name="T56" fmla="*/ 11 w 1421"/>
                <a:gd name="T57" fmla="*/ 91 h 298"/>
                <a:gd name="T58" fmla="*/ 25 w 1421"/>
                <a:gd name="T59" fmla="*/ 66 h 298"/>
                <a:gd name="T60" fmla="*/ 44 w 1421"/>
                <a:gd name="T61" fmla="*/ 44 h 298"/>
                <a:gd name="T62" fmla="*/ 65 w 1421"/>
                <a:gd name="T63" fmla="*/ 26 h 298"/>
                <a:gd name="T64" fmla="*/ 91 w 1421"/>
                <a:gd name="T65" fmla="*/ 12 h 298"/>
                <a:gd name="T66" fmla="*/ 119 w 1421"/>
                <a:gd name="T67" fmla="*/ 3 h 298"/>
                <a:gd name="T68" fmla="*/ 149 w 1421"/>
                <a:gd name="T69" fmla="*/ 0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421" h="298">
                  <a:moveTo>
                    <a:pt x="149" y="0"/>
                  </a:moveTo>
                  <a:lnTo>
                    <a:pt x="1272" y="0"/>
                  </a:lnTo>
                  <a:lnTo>
                    <a:pt x="1302" y="3"/>
                  </a:lnTo>
                  <a:lnTo>
                    <a:pt x="1330" y="12"/>
                  </a:lnTo>
                  <a:lnTo>
                    <a:pt x="1356" y="26"/>
                  </a:lnTo>
                  <a:lnTo>
                    <a:pt x="1378" y="44"/>
                  </a:lnTo>
                  <a:lnTo>
                    <a:pt x="1396" y="66"/>
                  </a:lnTo>
                  <a:lnTo>
                    <a:pt x="1410" y="91"/>
                  </a:lnTo>
                  <a:lnTo>
                    <a:pt x="1418" y="119"/>
                  </a:lnTo>
                  <a:lnTo>
                    <a:pt x="1421" y="149"/>
                  </a:lnTo>
                  <a:lnTo>
                    <a:pt x="1418" y="179"/>
                  </a:lnTo>
                  <a:lnTo>
                    <a:pt x="1410" y="207"/>
                  </a:lnTo>
                  <a:lnTo>
                    <a:pt x="1396" y="232"/>
                  </a:lnTo>
                  <a:lnTo>
                    <a:pt x="1378" y="255"/>
                  </a:lnTo>
                  <a:lnTo>
                    <a:pt x="1356" y="272"/>
                  </a:lnTo>
                  <a:lnTo>
                    <a:pt x="1330" y="287"/>
                  </a:lnTo>
                  <a:lnTo>
                    <a:pt x="1302" y="295"/>
                  </a:lnTo>
                  <a:lnTo>
                    <a:pt x="1272" y="298"/>
                  </a:lnTo>
                  <a:lnTo>
                    <a:pt x="149" y="298"/>
                  </a:lnTo>
                  <a:lnTo>
                    <a:pt x="119" y="295"/>
                  </a:lnTo>
                  <a:lnTo>
                    <a:pt x="91" y="287"/>
                  </a:lnTo>
                  <a:lnTo>
                    <a:pt x="65" y="272"/>
                  </a:lnTo>
                  <a:lnTo>
                    <a:pt x="44" y="255"/>
                  </a:lnTo>
                  <a:lnTo>
                    <a:pt x="25" y="232"/>
                  </a:lnTo>
                  <a:lnTo>
                    <a:pt x="11" y="207"/>
                  </a:lnTo>
                  <a:lnTo>
                    <a:pt x="3" y="179"/>
                  </a:lnTo>
                  <a:lnTo>
                    <a:pt x="0" y="149"/>
                  </a:lnTo>
                  <a:lnTo>
                    <a:pt x="3" y="119"/>
                  </a:lnTo>
                  <a:lnTo>
                    <a:pt x="11" y="91"/>
                  </a:lnTo>
                  <a:lnTo>
                    <a:pt x="25" y="66"/>
                  </a:lnTo>
                  <a:lnTo>
                    <a:pt x="44" y="44"/>
                  </a:lnTo>
                  <a:lnTo>
                    <a:pt x="65" y="26"/>
                  </a:lnTo>
                  <a:lnTo>
                    <a:pt x="91" y="12"/>
                  </a:lnTo>
                  <a:lnTo>
                    <a:pt x="119" y="3"/>
                  </a:lnTo>
                  <a:lnTo>
                    <a:pt x="14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HarmonyOS Sans SC"/>
                <a:cs typeface="+mn-cs"/>
              </a:endParaRPr>
            </a:p>
          </p:txBody>
        </p:sp>
        <p:sp>
          <p:nvSpPr>
            <p:cNvPr id="51" name="Freeform 1040">
              <a:extLst>
                <a:ext uri="{FF2B5EF4-FFF2-40B4-BE49-F238E27FC236}">
                  <a16:creationId xmlns:a16="http://schemas.microsoft.com/office/drawing/2014/main" id="{188098E5-43F7-4E5E-B46C-98B5A232DB5C}"/>
                </a:ext>
              </a:extLst>
            </p:cNvPr>
            <p:cNvSpPr>
              <a:spLocks/>
            </p:cNvSpPr>
            <p:nvPr/>
          </p:nvSpPr>
          <p:spPr bwMode="auto">
            <a:xfrm>
              <a:off x="10016" y="-1522"/>
              <a:ext cx="215" cy="74"/>
            </a:xfrm>
            <a:custGeom>
              <a:avLst/>
              <a:gdLst>
                <a:gd name="T0" fmla="*/ 149 w 860"/>
                <a:gd name="T1" fmla="*/ 0 h 297"/>
                <a:gd name="T2" fmla="*/ 711 w 860"/>
                <a:gd name="T3" fmla="*/ 0 h 297"/>
                <a:gd name="T4" fmla="*/ 741 w 860"/>
                <a:gd name="T5" fmla="*/ 3 h 297"/>
                <a:gd name="T6" fmla="*/ 769 w 860"/>
                <a:gd name="T7" fmla="*/ 11 h 297"/>
                <a:gd name="T8" fmla="*/ 795 w 860"/>
                <a:gd name="T9" fmla="*/ 26 h 297"/>
                <a:gd name="T10" fmla="*/ 817 w 860"/>
                <a:gd name="T11" fmla="*/ 43 h 297"/>
                <a:gd name="T12" fmla="*/ 835 w 860"/>
                <a:gd name="T13" fmla="*/ 66 h 297"/>
                <a:gd name="T14" fmla="*/ 849 w 860"/>
                <a:gd name="T15" fmla="*/ 90 h 297"/>
                <a:gd name="T16" fmla="*/ 857 w 860"/>
                <a:gd name="T17" fmla="*/ 118 h 297"/>
                <a:gd name="T18" fmla="*/ 860 w 860"/>
                <a:gd name="T19" fmla="*/ 149 h 297"/>
                <a:gd name="T20" fmla="*/ 857 w 860"/>
                <a:gd name="T21" fmla="*/ 179 h 297"/>
                <a:gd name="T22" fmla="*/ 849 w 860"/>
                <a:gd name="T23" fmla="*/ 207 h 297"/>
                <a:gd name="T24" fmla="*/ 835 w 860"/>
                <a:gd name="T25" fmla="*/ 231 h 297"/>
                <a:gd name="T26" fmla="*/ 817 w 860"/>
                <a:gd name="T27" fmla="*/ 254 h 297"/>
                <a:gd name="T28" fmla="*/ 795 w 860"/>
                <a:gd name="T29" fmla="*/ 271 h 297"/>
                <a:gd name="T30" fmla="*/ 769 w 860"/>
                <a:gd name="T31" fmla="*/ 286 h 297"/>
                <a:gd name="T32" fmla="*/ 741 w 860"/>
                <a:gd name="T33" fmla="*/ 294 h 297"/>
                <a:gd name="T34" fmla="*/ 711 w 860"/>
                <a:gd name="T35" fmla="*/ 297 h 297"/>
                <a:gd name="T36" fmla="*/ 149 w 860"/>
                <a:gd name="T37" fmla="*/ 297 h 297"/>
                <a:gd name="T38" fmla="*/ 119 w 860"/>
                <a:gd name="T39" fmla="*/ 294 h 297"/>
                <a:gd name="T40" fmla="*/ 91 w 860"/>
                <a:gd name="T41" fmla="*/ 286 h 297"/>
                <a:gd name="T42" fmla="*/ 65 w 860"/>
                <a:gd name="T43" fmla="*/ 271 h 297"/>
                <a:gd name="T44" fmla="*/ 44 w 860"/>
                <a:gd name="T45" fmla="*/ 254 h 297"/>
                <a:gd name="T46" fmla="*/ 25 w 860"/>
                <a:gd name="T47" fmla="*/ 231 h 297"/>
                <a:gd name="T48" fmla="*/ 11 w 860"/>
                <a:gd name="T49" fmla="*/ 207 h 297"/>
                <a:gd name="T50" fmla="*/ 3 w 860"/>
                <a:gd name="T51" fmla="*/ 179 h 297"/>
                <a:gd name="T52" fmla="*/ 0 w 860"/>
                <a:gd name="T53" fmla="*/ 149 h 297"/>
                <a:gd name="T54" fmla="*/ 3 w 860"/>
                <a:gd name="T55" fmla="*/ 118 h 297"/>
                <a:gd name="T56" fmla="*/ 11 w 860"/>
                <a:gd name="T57" fmla="*/ 90 h 297"/>
                <a:gd name="T58" fmla="*/ 25 w 860"/>
                <a:gd name="T59" fmla="*/ 66 h 297"/>
                <a:gd name="T60" fmla="*/ 44 w 860"/>
                <a:gd name="T61" fmla="*/ 43 h 297"/>
                <a:gd name="T62" fmla="*/ 65 w 860"/>
                <a:gd name="T63" fmla="*/ 26 h 297"/>
                <a:gd name="T64" fmla="*/ 91 w 860"/>
                <a:gd name="T65" fmla="*/ 11 h 297"/>
                <a:gd name="T66" fmla="*/ 119 w 860"/>
                <a:gd name="T67" fmla="*/ 3 h 297"/>
                <a:gd name="T68" fmla="*/ 149 w 860"/>
                <a:gd name="T69" fmla="*/ 0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60" h="297">
                  <a:moveTo>
                    <a:pt x="149" y="0"/>
                  </a:moveTo>
                  <a:lnTo>
                    <a:pt x="711" y="0"/>
                  </a:lnTo>
                  <a:lnTo>
                    <a:pt x="741" y="3"/>
                  </a:lnTo>
                  <a:lnTo>
                    <a:pt x="769" y="11"/>
                  </a:lnTo>
                  <a:lnTo>
                    <a:pt x="795" y="26"/>
                  </a:lnTo>
                  <a:lnTo>
                    <a:pt x="817" y="43"/>
                  </a:lnTo>
                  <a:lnTo>
                    <a:pt x="835" y="66"/>
                  </a:lnTo>
                  <a:lnTo>
                    <a:pt x="849" y="90"/>
                  </a:lnTo>
                  <a:lnTo>
                    <a:pt x="857" y="118"/>
                  </a:lnTo>
                  <a:lnTo>
                    <a:pt x="860" y="149"/>
                  </a:lnTo>
                  <a:lnTo>
                    <a:pt x="857" y="179"/>
                  </a:lnTo>
                  <a:lnTo>
                    <a:pt x="849" y="207"/>
                  </a:lnTo>
                  <a:lnTo>
                    <a:pt x="835" y="231"/>
                  </a:lnTo>
                  <a:lnTo>
                    <a:pt x="817" y="254"/>
                  </a:lnTo>
                  <a:lnTo>
                    <a:pt x="795" y="271"/>
                  </a:lnTo>
                  <a:lnTo>
                    <a:pt x="769" y="286"/>
                  </a:lnTo>
                  <a:lnTo>
                    <a:pt x="741" y="294"/>
                  </a:lnTo>
                  <a:lnTo>
                    <a:pt x="711" y="297"/>
                  </a:lnTo>
                  <a:lnTo>
                    <a:pt x="149" y="297"/>
                  </a:lnTo>
                  <a:lnTo>
                    <a:pt x="119" y="294"/>
                  </a:lnTo>
                  <a:lnTo>
                    <a:pt x="91" y="286"/>
                  </a:lnTo>
                  <a:lnTo>
                    <a:pt x="65" y="271"/>
                  </a:lnTo>
                  <a:lnTo>
                    <a:pt x="44" y="254"/>
                  </a:lnTo>
                  <a:lnTo>
                    <a:pt x="25" y="231"/>
                  </a:lnTo>
                  <a:lnTo>
                    <a:pt x="11" y="207"/>
                  </a:lnTo>
                  <a:lnTo>
                    <a:pt x="3" y="179"/>
                  </a:lnTo>
                  <a:lnTo>
                    <a:pt x="0" y="149"/>
                  </a:lnTo>
                  <a:lnTo>
                    <a:pt x="3" y="118"/>
                  </a:lnTo>
                  <a:lnTo>
                    <a:pt x="11" y="90"/>
                  </a:lnTo>
                  <a:lnTo>
                    <a:pt x="25" y="66"/>
                  </a:lnTo>
                  <a:lnTo>
                    <a:pt x="44" y="43"/>
                  </a:lnTo>
                  <a:lnTo>
                    <a:pt x="65" y="26"/>
                  </a:lnTo>
                  <a:lnTo>
                    <a:pt x="91" y="11"/>
                  </a:lnTo>
                  <a:lnTo>
                    <a:pt x="119" y="3"/>
                  </a:lnTo>
                  <a:lnTo>
                    <a:pt x="14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HarmonyOS Sans SC"/>
                <a:cs typeface="+mn-cs"/>
              </a:endParaRPr>
            </a:p>
          </p:txBody>
        </p:sp>
        <p:sp>
          <p:nvSpPr>
            <p:cNvPr id="52" name="Freeform 1041">
              <a:extLst>
                <a:ext uri="{FF2B5EF4-FFF2-40B4-BE49-F238E27FC236}">
                  <a16:creationId xmlns:a16="http://schemas.microsoft.com/office/drawing/2014/main" id="{54FD8D1D-2A68-4B9E-BC8B-15B6569762DF}"/>
                </a:ext>
              </a:extLst>
            </p:cNvPr>
            <p:cNvSpPr>
              <a:spLocks/>
            </p:cNvSpPr>
            <p:nvPr/>
          </p:nvSpPr>
          <p:spPr bwMode="auto">
            <a:xfrm>
              <a:off x="9876" y="-1946"/>
              <a:ext cx="636" cy="817"/>
            </a:xfrm>
            <a:custGeom>
              <a:avLst/>
              <a:gdLst>
                <a:gd name="T0" fmla="*/ 150 w 2545"/>
                <a:gd name="T1" fmla="*/ 0 h 3271"/>
                <a:gd name="T2" fmla="*/ 2395 w 2545"/>
                <a:gd name="T3" fmla="*/ 0 h 3271"/>
                <a:gd name="T4" fmla="*/ 2425 w 2545"/>
                <a:gd name="T5" fmla="*/ 3 h 3271"/>
                <a:gd name="T6" fmla="*/ 2453 w 2545"/>
                <a:gd name="T7" fmla="*/ 11 h 3271"/>
                <a:gd name="T8" fmla="*/ 2479 w 2545"/>
                <a:gd name="T9" fmla="*/ 26 h 3271"/>
                <a:gd name="T10" fmla="*/ 2501 w 2545"/>
                <a:gd name="T11" fmla="*/ 43 h 3271"/>
                <a:gd name="T12" fmla="*/ 2520 w 2545"/>
                <a:gd name="T13" fmla="*/ 66 h 3271"/>
                <a:gd name="T14" fmla="*/ 2533 w 2545"/>
                <a:gd name="T15" fmla="*/ 90 h 3271"/>
                <a:gd name="T16" fmla="*/ 2542 w 2545"/>
                <a:gd name="T17" fmla="*/ 118 h 3271"/>
                <a:gd name="T18" fmla="*/ 2545 w 2545"/>
                <a:gd name="T19" fmla="*/ 148 h 3271"/>
                <a:gd name="T20" fmla="*/ 2545 w 2545"/>
                <a:gd name="T21" fmla="*/ 369 h 3271"/>
                <a:gd name="T22" fmla="*/ 2246 w 2545"/>
                <a:gd name="T23" fmla="*/ 885 h 3271"/>
                <a:gd name="T24" fmla="*/ 2246 w 2545"/>
                <a:gd name="T25" fmla="*/ 297 h 3271"/>
                <a:gd name="T26" fmla="*/ 300 w 2545"/>
                <a:gd name="T27" fmla="*/ 297 h 3271"/>
                <a:gd name="T28" fmla="*/ 300 w 2545"/>
                <a:gd name="T29" fmla="*/ 2973 h 3271"/>
                <a:gd name="T30" fmla="*/ 2246 w 2545"/>
                <a:gd name="T31" fmla="*/ 2973 h 3271"/>
                <a:gd name="T32" fmla="*/ 2246 w 2545"/>
                <a:gd name="T33" fmla="*/ 2603 h 3271"/>
                <a:gd name="T34" fmla="*/ 2403 w 2545"/>
                <a:gd name="T35" fmla="*/ 2500 h 3271"/>
                <a:gd name="T36" fmla="*/ 2430 w 2545"/>
                <a:gd name="T37" fmla="*/ 2478 h 3271"/>
                <a:gd name="T38" fmla="*/ 2454 w 2545"/>
                <a:gd name="T39" fmla="*/ 2453 h 3271"/>
                <a:gd name="T40" fmla="*/ 2474 w 2545"/>
                <a:gd name="T41" fmla="*/ 2425 h 3271"/>
                <a:gd name="T42" fmla="*/ 2545 w 2545"/>
                <a:gd name="T43" fmla="*/ 2302 h 3271"/>
                <a:gd name="T44" fmla="*/ 2545 w 2545"/>
                <a:gd name="T45" fmla="*/ 3122 h 3271"/>
                <a:gd name="T46" fmla="*/ 2542 w 2545"/>
                <a:gd name="T47" fmla="*/ 3151 h 3271"/>
                <a:gd name="T48" fmla="*/ 2533 w 2545"/>
                <a:gd name="T49" fmla="*/ 3179 h 3271"/>
                <a:gd name="T50" fmla="*/ 2520 w 2545"/>
                <a:gd name="T51" fmla="*/ 3205 h 3271"/>
                <a:gd name="T52" fmla="*/ 2501 w 2545"/>
                <a:gd name="T53" fmla="*/ 3226 h 3271"/>
                <a:gd name="T54" fmla="*/ 2479 w 2545"/>
                <a:gd name="T55" fmla="*/ 3245 h 3271"/>
                <a:gd name="T56" fmla="*/ 2453 w 2545"/>
                <a:gd name="T57" fmla="*/ 3258 h 3271"/>
                <a:gd name="T58" fmla="*/ 2425 w 2545"/>
                <a:gd name="T59" fmla="*/ 3268 h 3271"/>
                <a:gd name="T60" fmla="*/ 2395 w 2545"/>
                <a:gd name="T61" fmla="*/ 3271 h 3271"/>
                <a:gd name="T62" fmla="*/ 150 w 2545"/>
                <a:gd name="T63" fmla="*/ 3271 h 3271"/>
                <a:gd name="T64" fmla="*/ 120 w 2545"/>
                <a:gd name="T65" fmla="*/ 3268 h 3271"/>
                <a:gd name="T66" fmla="*/ 92 w 2545"/>
                <a:gd name="T67" fmla="*/ 3258 h 3271"/>
                <a:gd name="T68" fmla="*/ 66 w 2545"/>
                <a:gd name="T69" fmla="*/ 3245 h 3271"/>
                <a:gd name="T70" fmla="*/ 44 w 2545"/>
                <a:gd name="T71" fmla="*/ 3226 h 3271"/>
                <a:gd name="T72" fmla="*/ 26 w 2545"/>
                <a:gd name="T73" fmla="*/ 3205 h 3271"/>
                <a:gd name="T74" fmla="*/ 12 w 2545"/>
                <a:gd name="T75" fmla="*/ 3179 h 3271"/>
                <a:gd name="T76" fmla="*/ 3 w 2545"/>
                <a:gd name="T77" fmla="*/ 3151 h 3271"/>
                <a:gd name="T78" fmla="*/ 0 w 2545"/>
                <a:gd name="T79" fmla="*/ 3122 h 3271"/>
                <a:gd name="T80" fmla="*/ 0 w 2545"/>
                <a:gd name="T81" fmla="*/ 148 h 3271"/>
                <a:gd name="T82" fmla="*/ 3 w 2545"/>
                <a:gd name="T83" fmla="*/ 118 h 3271"/>
                <a:gd name="T84" fmla="*/ 12 w 2545"/>
                <a:gd name="T85" fmla="*/ 90 h 3271"/>
                <a:gd name="T86" fmla="*/ 26 w 2545"/>
                <a:gd name="T87" fmla="*/ 66 h 3271"/>
                <a:gd name="T88" fmla="*/ 44 w 2545"/>
                <a:gd name="T89" fmla="*/ 43 h 3271"/>
                <a:gd name="T90" fmla="*/ 66 w 2545"/>
                <a:gd name="T91" fmla="*/ 26 h 3271"/>
                <a:gd name="T92" fmla="*/ 92 w 2545"/>
                <a:gd name="T93" fmla="*/ 11 h 3271"/>
                <a:gd name="T94" fmla="*/ 120 w 2545"/>
                <a:gd name="T95" fmla="*/ 3 h 3271"/>
                <a:gd name="T96" fmla="*/ 150 w 2545"/>
                <a:gd name="T97" fmla="*/ 0 h 3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545" h="3271">
                  <a:moveTo>
                    <a:pt x="150" y="0"/>
                  </a:moveTo>
                  <a:lnTo>
                    <a:pt x="2395" y="0"/>
                  </a:lnTo>
                  <a:lnTo>
                    <a:pt x="2425" y="3"/>
                  </a:lnTo>
                  <a:lnTo>
                    <a:pt x="2453" y="11"/>
                  </a:lnTo>
                  <a:lnTo>
                    <a:pt x="2479" y="26"/>
                  </a:lnTo>
                  <a:lnTo>
                    <a:pt x="2501" y="43"/>
                  </a:lnTo>
                  <a:lnTo>
                    <a:pt x="2520" y="66"/>
                  </a:lnTo>
                  <a:lnTo>
                    <a:pt x="2533" y="90"/>
                  </a:lnTo>
                  <a:lnTo>
                    <a:pt x="2542" y="118"/>
                  </a:lnTo>
                  <a:lnTo>
                    <a:pt x="2545" y="148"/>
                  </a:lnTo>
                  <a:lnTo>
                    <a:pt x="2545" y="369"/>
                  </a:lnTo>
                  <a:lnTo>
                    <a:pt x="2246" y="885"/>
                  </a:lnTo>
                  <a:lnTo>
                    <a:pt x="2246" y="297"/>
                  </a:lnTo>
                  <a:lnTo>
                    <a:pt x="300" y="297"/>
                  </a:lnTo>
                  <a:lnTo>
                    <a:pt x="300" y="2973"/>
                  </a:lnTo>
                  <a:lnTo>
                    <a:pt x="2246" y="2973"/>
                  </a:lnTo>
                  <a:lnTo>
                    <a:pt x="2246" y="2603"/>
                  </a:lnTo>
                  <a:lnTo>
                    <a:pt x="2403" y="2500"/>
                  </a:lnTo>
                  <a:lnTo>
                    <a:pt x="2430" y="2478"/>
                  </a:lnTo>
                  <a:lnTo>
                    <a:pt x="2454" y="2453"/>
                  </a:lnTo>
                  <a:lnTo>
                    <a:pt x="2474" y="2425"/>
                  </a:lnTo>
                  <a:lnTo>
                    <a:pt x="2545" y="2302"/>
                  </a:lnTo>
                  <a:lnTo>
                    <a:pt x="2545" y="3122"/>
                  </a:lnTo>
                  <a:lnTo>
                    <a:pt x="2542" y="3151"/>
                  </a:lnTo>
                  <a:lnTo>
                    <a:pt x="2533" y="3179"/>
                  </a:lnTo>
                  <a:lnTo>
                    <a:pt x="2520" y="3205"/>
                  </a:lnTo>
                  <a:lnTo>
                    <a:pt x="2501" y="3226"/>
                  </a:lnTo>
                  <a:lnTo>
                    <a:pt x="2479" y="3245"/>
                  </a:lnTo>
                  <a:lnTo>
                    <a:pt x="2453" y="3258"/>
                  </a:lnTo>
                  <a:lnTo>
                    <a:pt x="2425" y="3268"/>
                  </a:lnTo>
                  <a:lnTo>
                    <a:pt x="2395" y="3271"/>
                  </a:lnTo>
                  <a:lnTo>
                    <a:pt x="150" y="3271"/>
                  </a:lnTo>
                  <a:lnTo>
                    <a:pt x="120" y="3268"/>
                  </a:lnTo>
                  <a:lnTo>
                    <a:pt x="92" y="3258"/>
                  </a:lnTo>
                  <a:lnTo>
                    <a:pt x="66" y="3245"/>
                  </a:lnTo>
                  <a:lnTo>
                    <a:pt x="44" y="3226"/>
                  </a:lnTo>
                  <a:lnTo>
                    <a:pt x="26" y="3205"/>
                  </a:lnTo>
                  <a:lnTo>
                    <a:pt x="12" y="3179"/>
                  </a:lnTo>
                  <a:lnTo>
                    <a:pt x="3" y="3151"/>
                  </a:lnTo>
                  <a:lnTo>
                    <a:pt x="0" y="3122"/>
                  </a:lnTo>
                  <a:lnTo>
                    <a:pt x="0" y="148"/>
                  </a:lnTo>
                  <a:lnTo>
                    <a:pt x="3" y="118"/>
                  </a:lnTo>
                  <a:lnTo>
                    <a:pt x="12" y="90"/>
                  </a:lnTo>
                  <a:lnTo>
                    <a:pt x="26" y="66"/>
                  </a:lnTo>
                  <a:lnTo>
                    <a:pt x="44" y="43"/>
                  </a:lnTo>
                  <a:lnTo>
                    <a:pt x="66" y="26"/>
                  </a:lnTo>
                  <a:lnTo>
                    <a:pt x="92" y="11"/>
                  </a:lnTo>
                  <a:lnTo>
                    <a:pt x="120" y="3"/>
                  </a:lnTo>
                  <a:lnTo>
                    <a:pt x="15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HarmonyOS Sans SC"/>
                <a:cs typeface="+mn-cs"/>
              </a:endParaRPr>
            </a:p>
          </p:txBody>
        </p:sp>
        <p:sp>
          <p:nvSpPr>
            <p:cNvPr id="53" name="Freeform 1042">
              <a:extLst>
                <a:ext uri="{FF2B5EF4-FFF2-40B4-BE49-F238E27FC236}">
                  <a16:creationId xmlns:a16="http://schemas.microsoft.com/office/drawing/2014/main" id="{BE498731-D32E-40D8-A53D-2DA7272E0D1D}"/>
                </a:ext>
              </a:extLst>
            </p:cNvPr>
            <p:cNvSpPr>
              <a:spLocks noEditPoints="1"/>
            </p:cNvSpPr>
            <p:nvPr/>
          </p:nvSpPr>
          <p:spPr bwMode="auto">
            <a:xfrm>
              <a:off x="10305" y="-1855"/>
              <a:ext cx="393" cy="586"/>
            </a:xfrm>
            <a:custGeom>
              <a:avLst/>
              <a:gdLst>
                <a:gd name="T0" fmla="*/ 130 w 1574"/>
                <a:gd name="T1" fmla="*/ 1973 h 2342"/>
                <a:gd name="T2" fmla="*/ 221 w 1574"/>
                <a:gd name="T3" fmla="*/ 2017 h 2342"/>
                <a:gd name="T4" fmla="*/ 305 w 1574"/>
                <a:gd name="T5" fmla="*/ 2073 h 2342"/>
                <a:gd name="T6" fmla="*/ 434 w 1574"/>
                <a:gd name="T7" fmla="*/ 1957 h 2342"/>
                <a:gd name="T8" fmla="*/ 385 w 1574"/>
                <a:gd name="T9" fmla="*/ 1912 h 2342"/>
                <a:gd name="T10" fmla="*/ 311 w 1574"/>
                <a:gd name="T11" fmla="*/ 1861 h 2342"/>
                <a:gd name="T12" fmla="*/ 242 w 1574"/>
                <a:gd name="T13" fmla="*/ 1827 h 2342"/>
                <a:gd name="T14" fmla="*/ 186 w 1574"/>
                <a:gd name="T15" fmla="*/ 1808 h 2342"/>
                <a:gd name="T16" fmla="*/ 140 w 1574"/>
                <a:gd name="T17" fmla="*/ 1799 h 2342"/>
                <a:gd name="T18" fmla="*/ 1106 w 1574"/>
                <a:gd name="T19" fmla="*/ 0 h 2342"/>
                <a:gd name="T20" fmla="*/ 1161 w 1574"/>
                <a:gd name="T21" fmla="*/ 7 h 2342"/>
                <a:gd name="T22" fmla="*/ 1227 w 1574"/>
                <a:gd name="T23" fmla="*/ 25 h 2342"/>
                <a:gd name="T24" fmla="*/ 1305 w 1574"/>
                <a:gd name="T25" fmla="*/ 56 h 2342"/>
                <a:gd name="T26" fmla="*/ 1391 w 1574"/>
                <a:gd name="T27" fmla="*/ 107 h 2342"/>
                <a:gd name="T28" fmla="*/ 1462 w 1574"/>
                <a:gd name="T29" fmla="*/ 161 h 2342"/>
                <a:gd name="T30" fmla="*/ 1512 w 1574"/>
                <a:gd name="T31" fmla="*/ 213 h 2342"/>
                <a:gd name="T32" fmla="*/ 1544 w 1574"/>
                <a:gd name="T33" fmla="*/ 258 h 2342"/>
                <a:gd name="T34" fmla="*/ 1562 w 1574"/>
                <a:gd name="T35" fmla="*/ 294 h 2342"/>
                <a:gd name="T36" fmla="*/ 1571 w 1574"/>
                <a:gd name="T37" fmla="*/ 316 h 2342"/>
                <a:gd name="T38" fmla="*/ 1574 w 1574"/>
                <a:gd name="T39" fmla="*/ 340 h 2342"/>
                <a:gd name="T40" fmla="*/ 1563 w 1574"/>
                <a:gd name="T41" fmla="*/ 375 h 2342"/>
                <a:gd name="T42" fmla="*/ 618 w 1574"/>
                <a:gd name="T43" fmla="*/ 1998 h 2342"/>
                <a:gd name="T44" fmla="*/ 115 w 1574"/>
                <a:gd name="T45" fmla="*/ 2330 h 2342"/>
                <a:gd name="T46" fmla="*/ 77 w 1574"/>
                <a:gd name="T47" fmla="*/ 2342 h 2342"/>
                <a:gd name="T48" fmla="*/ 36 w 1574"/>
                <a:gd name="T49" fmla="*/ 2332 h 2342"/>
                <a:gd name="T50" fmla="*/ 13 w 1574"/>
                <a:gd name="T51" fmla="*/ 2311 h 2342"/>
                <a:gd name="T52" fmla="*/ 0 w 1574"/>
                <a:gd name="T53" fmla="*/ 2280 h 2342"/>
                <a:gd name="T54" fmla="*/ 34 w 1574"/>
                <a:gd name="T55" fmla="*/ 1683 h 2342"/>
                <a:gd name="T56" fmla="*/ 45 w 1574"/>
                <a:gd name="T57" fmla="*/ 1651 h 2342"/>
                <a:gd name="T58" fmla="*/ 991 w 1574"/>
                <a:gd name="T59" fmla="*/ 27 h 2342"/>
                <a:gd name="T60" fmla="*/ 1023 w 1574"/>
                <a:gd name="T61" fmla="*/ 7 h 2342"/>
                <a:gd name="T62" fmla="*/ 1036 w 1574"/>
                <a:gd name="T63" fmla="*/ 4 h 2342"/>
                <a:gd name="T64" fmla="*/ 1064 w 1574"/>
                <a:gd name="T65" fmla="*/ 0 h 2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574" h="2342">
                  <a:moveTo>
                    <a:pt x="140" y="1799"/>
                  </a:moveTo>
                  <a:lnTo>
                    <a:pt x="130" y="1973"/>
                  </a:lnTo>
                  <a:lnTo>
                    <a:pt x="175" y="1993"/>
                  </a:lnTo>
                  <a:lnTo>
                    <a:pt x="221" y="2017"/>
                  </a:lnTo>
                  <a:lnTo>
                    <a:pt x="264" y="2043"/>
                  </a:lnTo>
                  <a:lnTo>
                    <a:pt x="305" y="2073"/>
                  </a:lnTo>
                  <a:lnTo>
                    <a:pt x="451" y="1976"/>
                  </a:lnTo>
                  <a:lnTo>
                    <a:pt x="434" y="1957"/>
                  </a:lnTo>
                  <a:lnTo>
                    <a:pt x="412" y="1935"/>
                  </a:lnTo>
                  <a:lnTo>
                    <a:pt x="385" y="1912"/>
                  </a:lnTo>
                  <a:lnTo>
                    <a:pt x="351" y="1887"/>
                  </a:lnTo>
                  <a:lnTo>
                    <a:pt x="311" y="1861"/>
                  </a:lnTo>
                  <a:lnTo>
                    <a:pt x="276" y="1843"/>
                  </a:lnTo>
                  <a:lnTo>
                    <a:pt x="242" y="1827"/>
                  </a:lnTo>
                  <a:lnTo>
                    <a:pt x="212" y="1816"/>
                  </a:lnTo>
                  <a:lnTo>
                    <a:pt x="186" y="1808"/>
                  </a:lnTo>
                  <a:lnTo>
                    <a:pt x="162" y="1803"/>
                  </a:lnTo>
                  <a:lnTo>
                    <a:pt x="140" y="1799"/>
                  </a:lnTo>
                  <a:close/>
                  <a:moveTo>
                    <a:pt x="1083" y="0"/>
                  </a:moveTo>
                  <a:lnTo>
                    <a:pt x="1106" y="0"/>
                  </a:lnTo>
                  <a:lnTo>
                    <a:pt x="1132" y="2"/>
                  </a:lnTo>
                  <a:lnTo>
                    <a:pt x="1161" y="7"/>
                  </a:lnTo>
                  <a:lnTo>
                    <a:pt x="1192" y="14"/>
                  </a:lnTo>
                  <a:lnTo>
                    <a:pt x="1227" y="25"/>
                  </a:lnTo>
                  <a:lnTo>
                    <a:pt x="1264" y="39"/>
                  </a:lnTo>
                  <a:lnTo>
                    <a:pt x="1305" y="56"/>
                  </a:lnTo>
                  <a:lnTo>
                    <a:pt x="1347" y="80"/>
                  </a:lnTo>
                  <a:lnTo>
                    <a:pt x="1391" y="107"/>
                  </a:lnTo>
                  <a:lnTo>
                    <a:pt x="1430" y="135"/>
                  </a:lnTo>
                  <a:lnTo>
                    <a:pt x="1462" y="161"/>
                  </a:lnTo>
                  <a:lnTo>
                    <a:pt x="1489" y="188"/>
                  </a:lnTo>
                  <a:lnTo>
                    <a:pt x="1512" y="213"/>
                  </a:lnTo>
                  <a:lnTo>
                    <a:pt x="1529" y="236"/>
                  </a:lnTo>
                  <a:lnTo>
                    <a:pt x="1544" y="258"/>
                  </a:lnTo>
                  <a:lnTo>
                    <a:pt x="1554" y="277"/>
                  </a:lnTo>
                  <a:lnTo>
                    <a:pt x="1562" y="294"/>
                  </a:lnTo>
                  <a:lnTo>
                    <a:pt x="1567" y="307"/>
                  </a:lnTo>
                  <a:lnTo>
                    <a:pt x="1571" y="316"/>
                  </a:lnTo>
                  <a:lnTo>
                    <a:pt x="1572" y="322"/>
                  </a:lnTo>
                  <a:lnTo>
                    <a:pt x="1574" y="340"/>
                  </a:lnTo>
                  <a:lnTo>
                    <a:pt x="1571" y="359"/>
                  </a:lnTo>
                  <a:lnTo>
                    <a:pt x="1563" y="375"/>
                  </a:lnTo>
                  <a:lnTo>
                    <a:pt x="628" y="1985"/>
                  </a:lnTo>
                  <a:lnTo>
                    <a:pt x="618" y="1998"/>
                  </a:lnTo>
                  <a:lnTo>
                    <a:pt x="605" y="2009"/>
                  </a:lnTo>
                  <a:lnTo>
                    <a:pt x="115" y="2330"/>
                  </a:lnTo>
                  <a:lnTo>
                    <a:pt x="97" y="2339"/>
                  </a:lnTo>
                  <a:lnTo>
                    <a:pt x="77" y="2342"/>
                  </a:lnTo>
                  <a:lnTo>
                    <a:pt x="56" y="2340"/>
                  </a:lnTo>
                  <a:lnTo>
                    <a:pt x="36" y="2332"/>
                  </a:lnTo>
                  <a:lnTo>
                    <a:pt x="23" y="2323"/>
                  </a:lnTo>
                  <a:lnTo>
                    <a:pt x="13" y="2311"/>
                  </a:lnTo>
                  <a:lnTo>
                    <a:pt x="5" y="2296"/>
                  </a:lnTo>
                  <a:lnTo>
                    <a:pt x="0" y="2280"/>
                  </a:lnTo>
                  <a:lnTo>
                    <a:pt x="0" y="2263"/>
                  </a:lnTo>
                  <a:lnTo>
                    <a:pt x="34" y="1683"/>
                  </a:lnTo>
                  <a:lnTo>
                    <a:pt x="38" y="1666"/>
                  </a:lnTo>
                  <a:lnTo>
                    <a:pt x="45" y="1651"/>
                  </a:lnTo>
                  <a:lnTo>
                    <a:pt x="981" y="41"/>
                  </a:lnTo>
                  <a:lnTo>
                    <a:pt x="991" y="27"/>
                  </a:lnTo>
                  <a:lnTo>
                    <a:pt x="1005" y="15"/>
                  </a:lnTo>
                  <a:lnTo>
                    <a:pt x="1023" y="7"/>
                  </a:lnTo>
                  <a:lnTo>
                    <a:pt x="1027" y="6"/>
                  </a:lnTo>
                  <a:lnTo>
                    <a:pt x="1036" y="4"/>
                  </a:lnTo>
                  <a:lnTo>
                    <a:pt x="1049" y="2"/>
                  </a:lnTo>
                  <a:lnTo>
                    <a:pt x="1064" y="0"/>
                  </a:lnTo>
                  <a:lnTo>
                    <a:pt x="108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HarmonyOS Sans SC"/>
                <a:cs typeface="+mn-cs"/>
              </a:endParaRPr>
            </a:p>
          </p:txBody>
        </p:sp>
        <p:sp>
          <p:nvSpPr>
            <p:cNvPr id="54" name="Freeform 1043">
              <a:extLst>
                <a:ext uri="{FF2B5EF4-FFF2-40B4-BE49-F238E27FC236}">
                  <a16:creationId xmlns:a16="http://schemas.microsoft.com/office/drawing/2014/main" id="{1F5D2840-7056-424C-A65D-C9262A2894A5}"/>
                </a:ext>
              </a:extLst>
            </p:cNvPr>
            <p:cNvSpPr>
              <a:spLocks/>
            </p:cNvSpPr>
            <p:nvPr/>
          </p:nvSpPr>
          <p:spPr bwMode="auto">
            <a:xfrm>
              <a:off x="9995" y="-1385"/>
              <a:ext cx="286" cy="146"/>
            </a:xfrm>
            <a:custGeom>
              <a:avLst/>
              <a:gdLst>
                <a:gd name="T0" fmla="*/ 551 w 1143"/>
                <a:gd name="T1" fmla="*/ 5 h 585"/>
                <a:gd name="T2" fmla="*/ 577 w 1143"/>
                <a:gd name="T3" fmla="*/ 28 h 585"/>
                <a:gd name="T4" fmla="*/ 585 w 1143"/>
                <a:gd name="T5" fmla="*/ 110 h 585"/>
                <a:gd name="T6" fmla="*/ 554 w 1143"/>
                <a:gd name="T7" fmla="*/ 197 h 585"/>
                <a:gd name="T8" fmla="*/ 563 w 1143"/>
                <a:gd name="T9" fmla="*/ 239 h 585"/>
                <a:gd name="T10" fmla="*/ 581 w 1143"/>
                <a:gd name="T11" fmla="*/ 267 h 585"/>
                <a:gd name="T12" fmla="*/ 631 w 1143"/>
                <a:gd name="T13" fmla="*/ 275 h 585"/>
                <a:gd name="T14" fmla="*/ 674 w 1143"/>
                <a:gd name="T15" fmla="*/ 319 h 585"/>
                <a:gd name="T16" fmla="*/ 685 w 1143"/>
                <a:gd name="T17" fmla="*/ 353 h 585"/>
                <a:gd name="T18" fmla="*/ 838 w 1143"/>
                <a:gd name="T19" fmla="*/ 347 h 585"/>
                <a:gd name="T20" fmla="*/ 986 w 1143"/>
                <a:gd name="T21" fmla="*/ 362 h 585"/>
                <a:gd name="T22" fmla="*/ 1106 w 1143"/>
                <a:gd name="T23" fmla="*/ 369 h 585"/>
                <a:gd name="T24" fmla="*/ 1137 w 1143"/>
                <a:gd name="T25" fmla="*/ 396 h 585"/>
                <a:gd name="T26" fmla="*/ 1142 w 1143"/>
                <a:gd name="T27" fmla="*/ 436 h 585"/>
                <a:gd name="T28" fmla="*/ 1119 w 1143"/>
                <a:gd name="T29" fmla="*/ 470 h 585"/>
                <a:gd name="T30" fmla="*/ 1055 w 1143"/>
                <a:gd name="T31" fmla="*/ 477 h 585"/>
                <a:gd name="T32" fmla="*/ 946 w 1143"/>
                <a:gd name="T33" fmla="*/ 461 h 585"/>
                <a:gd name="T34" fmla="*/ 834 w 1143"/>
                <a:gd name="T35" fmla="*/ 447 h 585"/>
                <a:gd name="T36" fmla="*/ 730 w 1143"/>
                <a:gd name="T37" fmla="*/ 456 h 585"/>
                <a:gd name="T38" fmla="*/ 672 w 1143"/>
                <a:gd name="T39" fmla="*/ 481 h 585"/>
                <a:gd name="T40" fmla="*/ 630 w 1143"/>
                <a:gd name="T41" fmla="*/ 486 h 585"/>
                <a:gd name="T42" fmla="*/ 596 w 1143"/>
                <a:gd name="T43" fmla="*/ 472 h 585"/>
                <a:gd name="T44" fmla="*/ 571 w 1143"/>
                <a:gd name="T45" fmla="*/ 449 h 585"/>
                <a:gd name="T46" fmla="*/ 565 w 1143"/>
                <a:gd name="T47" fmla="*/ 403 h 585"/>
                <a:gd name="T48" fmla="*/ 531 w 1143"/>
                <a:gd name="T49" fmla="*/ 452 h 585"/>
                <a:gd name="T50" fmla="*/ 490 w 1143"/>
                <a:gd name="T51" fmla="*/ 465 h 585"/>
                <a:gd name="T52" fmla="*/ 450 w 1143"/>
                <a:gd name="T53" fmla="*/ 451 h 585"/>
                <a:gd name="T54" fmla="*/ 435 w 1143"/>
                <a:gd name="T55" fmla="*/ 414 h 585"/>
                <a:gd name="T56" fmla="*/ 445 w 1143"/>
                <a:gd name="T57" fmla="*/ 385 h 585"/>
                <a:gd name="T58" fmla="*/ 454 w 1143"/>
                <a:gd name="T59" fmla="*/ 365 h 585"/>
                <a:gd name="T60" fmla="*/ 417 w 1143"/>
                <a:gd name="T61" fmla="*/ 400 h 585"/>
                <a:gd name="T62" fmla="*/ 375 w 1143"/>
                <a:gd name="T63" fmla="*/ 423 h 585"/>
                <a:gd name="T64" fmla="*/ 331 w 1143"/>
                <a:gd name="T65" fmla="*/ 412 h 585"/>
                <a:gd name="T66" fmla="*/ 311 w 1143"/>
                <a:gd name="T67" fmla="*/ 375 h 585"/>
                <a:gd name="T68" fmla="*/ 360 w 1143"/>
                <a:gd name="T69" fmla="*/ 285 h 585"/>
                <a:gd name="T70" fmla="*/ 250 w 1143"/>
                <a:gd name="T71" fmla="*/ 388 h 585"/>
                <a:gd name="T72" fmla="*/ 95 w 1143"/>
                <a:gd name="T73" fmla="*/ 574 h 585"/>
                <a:gd name="T74" fmla="*/ 49 w 1143"/>
                <a:gd name="T75" fmla="*/ 584 h 585"/>
                <a:gd name="T76" fmla="*/ 9 w 1143"/>
                <a:gd name="T77" fmla="*/ 562 h 585"/>
                <a:gd name="T78" fmla="*/ 2 w 1143"/>
                <a:gd name="T79" fmla="*/ 521 h 585"/>
                <a:gd name="T80" fmla="*/ 137 w 1143"/>
                <a:gd name="T81" fmla="*/ 347 h 585"/>
                <a:gd name="T82" fmla="*/ 341 w 1143"/>
                <a:gd name="T83" fmla="*/ 122 h 585"/>
                <a:gd name="T84" fmla="*/ 395 w 1143"/>
                <a:gd name="T85" fmla="*/ 70 h 585"/>
                <a:gd name="T86" fmla="*/ 458 w 1143"/>
                <a:gd name="T87" fmla="*/ 20 h 585"/>
                <a:gd name="T88" fmla="*/ 528 w 1143"/>
                <a:gd name="T89" fmla="*/ 0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143" h="585">
                  <a:moveTo>
                    <a:pt x="528" y="0"/>
                  </a:moveTo>
                  <a:lnTo>
                    <a:pt x="539" y="2"/>
                  </a:lnTo>
                  <a:lnTo>
                    <a:pt x="551" y="5"/>
                  </a:lnTo>
                  <a:lnTo>
                    <a:pt x="561" y="10"/>
                  </a:lnTo>
                  <a:lnTo>
                    <a:pt x="571" y="18"/>
                  </a:lnTo>
                  <a:lnTo>
                    <a:pt x="577" y="28"/>
                  </a:lnTo>
                  <a:lnTo>
                    <a:pt x="585" y="53"/>
                  </a:lnTo>
                  <a:lnTo>
                    <a:pt x="587" y="81"/>
                  </a:lnTo>
                  <a:lnTo>
                    <a:pt x="585" y="110"/>
                  </a:lnTo>
                  <a:lnTo>
                    <a:pt x="578" y="139"/>
                  </a:lnTo>
                  <a:lnTo>
                    <a:pt x="567" y="168"/>
                  </a:lnTo>
                  <a:lnTo>
                    <a:pt x="554" y="197"/>
                  </a:lnTo>
                  <a:lnTo>
                    <a:pt x="537" y="227"/>
                  </a:lnTo>
                  <a:lnTo>
                    <a:pt x="551" y="232"/>
                  </a:lnTo>
                  <a:lnTo>
                    <a:pt x="563" y="239"/>
                  </a:lnTo>
                  <a:lnTo>
                    <a:pt x="573" y="252"/>
                  </a:lnTo>
                  <a:lnTo>
                    <a:pt x="577" y="260"/>
                  </a:lnTo>
                  <a:lnTo>
                    <a:pt x="581" y="267"/>
                  </a:lnTo>
                  <a:lnTo>
                    <a:pt x="597" y="266"/>
                  </a:lnTo>
                  <a:lnTo>
                    <a:pt x="614" y="269"/>
                  </a:lnTo>
                  <a:lnTo>
                    <a:pt x="631" y="275"/>
                  </a:lnTo>
                  <a:lnTo>
                    <a:pt x="646" y="286"/>
                  </a:lnTo>
                  <a:lnTo>
                    <a:pt x="661" y="300"/>
                  </a:lnTo>
                  <a:lnTo>
                    <a:pt x="674" y="319"/>
                  </a:lnTo>
                  <a:lnTo>
                    <a:pt x="681" y="334"/>
                  </a:lnTo>
                  <a:lnTo>
                    <a:pt x="684" y="345"/>
                  </a:lnTo>
                  <a:lnTo>
                    <a:pt x="685" y="353"/>
                  </a:lnTo>
                  <a:lnTo>
                    <a:pt x="738" y="347"/>
                  </a:lnTo>
                  <a:lnTo>
                    <a:pt x="789" y="346"/>
                  </a:lnTo>
                  <a:lnTo>
                    <a:pt x="838" y="347"/>
                  </a:lnTo>
                  <a:lnTo>
                    <a:pt x="887" y="351"/>
                  </a:lnTo>
                  <a:lnTo>
                    <a:pt x="936" y="356"/>
                  </a:lnTo>
                  <a:lnTo>
                    <a:pt x="986" y="362"/>
                  </a:lnTo>
                  <a:lnTo>
                    <a:pt x="1036" y="365"/>
                  </a:lnTo>
                  <a:lnTo>
                    <a:pt x="1089" y="367"/>
                  </a:lnTo>
                  <a:lnTo>
                    <a:pt x="1106" y="369"/>
                  </a:lnTo>
                  <a:lnTo>
                    <a:pt x="1119" y="375"/>
                  </a:lnTo>
                  <a:lnTo>
                    <a:pt x="1130" y="384"/>
                  </a:lnTo>
                  <a:lnTo>
                    <a:pt x="1137" y="396"/>
                  </a:lnTo>
                  <a:lnTo>
                    <a:pt x="1142" y="408"/>
                  </a:lnTo>
                  <a:lnTo>
                    <a:pt x="1143" y="422"/>
                  </a:lnTo>
                  <a:lnTo>
                    <a:pt x="1142" y="436"/>
                  </a:lnTo>
                  <a:lnTo>
                    <a:pt x="1137" y="449"/>
                  </a:lnTo>
                  <a:lnTo>
                    <a:pt x="1130" y="460"/>
                  </a:lnTo>
                  <a:lnTo>
                    <a:pt x="1119" y="470"/>
                  </a:lnTo>
                  <a:lnTo>
                    <a:pt x="1106" y="476"/>
                  </a:lnTo>
                  <a:lnTo>
                    <a:pt x="1089" y="478"/>
                  </a:lnTo>
                  <a:lnTo>
                    <a:pt x="1055" y="477"/>
                  </a:lnTo>
                  <a:lnTo>
                    <a:pt x="1020" y="473"/>
                  </a:lnTo>
                  <a:lnTo>
                    <a:pt x="983" y="467"/>
                  </a:lnTo>
                  <a:lnTo>
                    <a:pt x="946" y="461"/>
                  </a:lnTo>
                  <a:lnTo>
                    <a:pt x="909" y="455"/>
                  </a:lnTo>
                  <a:lnTo>
                    <a:pt x="872" y="450"/>
                  </a:lnTo>
                  <a:lnTo>
                    <a:pt x="834" y="447"/>
                  </a:lnTo>
                  <a:lnTo>
                    <a:pt x="798" y="446"/>
                  </a:lnTo>
                  <a:lnTo>
                    <a:pt x="763" y="449"/>
                  </a:lnTo>
                  <a:lnTo>
                    <a:pt x="730" y="456"/>
                  </a:lnTo>
                  <a:lnTo>
                    <a:pt x="698" y="469"/>
                  </a:lnTo>
                  <a:lnTo>
                    <a:pt x="685" y="475"/>
                  </a:lnTo>
                  <a:lnTo>
                    <a:pt x="672" y="481"/>
                  </a:lnTo>
                  <a:lnTo>
                    <a:pt x="657" y="486"/>
                  </a:lnTo>
                  <a:lnTo>
                    <a:pt x="644" y="488"/>
                  </a:lnTo>
                  <a:lnTo>
                    <a:pt x="630" y="486"/>
                  </a:lnTo>
                  <a:lnTo>
                    <a:pt x="619" y="482"/>
                  </a:lnTo>
                  <a:lnTo>
                    <a:pt x="608" y="477"/>
                  </a:lnTo>
                  <a:lnTo>
                    <a:pt x="596" y="472"/>
                  </a:lnTo>
                  <a:lnTo>
                    <a:pt x="586" y="465"/>
                  </a:lnTo>
                  <a:lnTo>
                    <a:pt x="578" y="458"/>
                  </a:lnTo>
                  <a:lnTo>
                    <a:pt x="571" y="449"/>
                  </a:lnTo>
                  <a:lnTo>
                    <a:pt x="566" y="437"/>
                  </a:lnTo>
                  <a:lnTo>
                    <a:pt x="565" y="418"/>
                  </a:lnTo>
                  <a:lnTo>
                    <a:pt x="565" y="403"/>
                  </a:lnTo>
                  <a:lnTo>
                    <a:pt x="554" y="422"/>
                  </a:lnTo>
                  <a:lnTo>
                    <a:pt x="542" y="441"/>
                  </a:lnTo>
                  <a:lnTo>
                    <a:pt x="531" y="452"/>
                  </a:lnTo>
                  <a:lnTo>
                    <a:pt x="519" y="460"/>
                  </a:lnTo>
                  <a:lnTo>
                    <a:pt x="504" y="464"/>
                  </a:lnTo>
                  <a:lnTo>
                    <a:pt x="490" y="465"/>
                  </a:lnTo>
                  <a:lnTo>
                    <a:pt x="475" y="463"/>
                  </a:lnTo>
                  <a:lnTo>
                    <a:pt x="462" y="458"/>
                  </a:lnTo>
                  <a:lnTo>
                    <a:pt x="450" y="451"/>
                  </a:lnTo>
                  <a:lnTo>
                    <a:pt x="441" y="441"/>
                  </a:lnTo>
                  <a:lnTo>
                    <a:pt x="436" y="428"/>
                  </a:lnTo>
                  <a:lnTo>
                    <a:pt x="435" y="414"/>
                  </a:lnTo>
                  <a:lnTo>
                    <a:pt x="439" y="398"/>
                  </a:lnTo>
                  <a:lnTo>
                    <a:pt x="442" y="391"/>
                  </a:lnTo>
                  <a:lnTo>
                    <a:pt x="445" y="385"/>
                  </a:lnTo>
                  <a:lnTo>
                    <a:pt x="445" y="385"/>
                  </a:lnTo>
                  <a:lnTo>
                    <a:pt x="444" y="385"/>
                  </a:lnTo>
                  <a:lnTo>
                    <a:pt x="454" y="365"/>
                  </a:lnTo>
                  <a:lnTo>
                    <a:pt x="440" y="374"/>
                  </a:lnTo>
                  <a:lnTo>
                    <a:pt x="428" y="385"/>
                  </a:lnTo>
                  <a:lnTo>
                    <a:pt x="417" y="400"/>
                  </a:lnTo>
                  <a:lnTo>
                    <a:pt x="405" y="412"/>
                  </a:lnTo>
                  <a:lnTo>
                    <a:pt x="390" y="420"/>
                  </a:lnTo>
                  <a:lnTo>
                    <a:pt x="375" y="423"/>
                  </a:lnTo>
                  <a:lnTo>
                    <a:pt x="359" y="423"/>
                  </a:lnTo>
                  <a:lnTo>
                    <a:pt x="345" y="419"/>
                  </a:lnTo>
                  <a:lnTo>
                    <a:pt x="331" y="412"/>
                  </a:lnTo>
                  <a:lnTo>
                    <a:pt x="321" y="402"/>
                  </a:lnTo>
                  <a:lnTo>
                    <a:pt x="314" y="389"/>
                  </a:lnTo>
                  <a:lnTo>
                    <a:pt x="311" y="375"/>
                  </a:lnTo>
                  <a:lnTo>
                    <a:pt x="313" y="360"/>
                  </a:lnTo>
                  <a:lnTo>
                    <a:pt x="320" y="343"/>
                  </a:lnTo>
                  <a:lnTo>
                    <a:pt x="360" y="285"/>
                  </a:lnTo>
                  <a:lnTo>
                    <a:pt x="400" y="224"/>
                  </a:lnTo>
                  <a:lnTo>
                    <a:pt x="323" y="305"/>
                  </a:lnTo>
                  <a:lnTo>
                    <a:pt x="250" y="388"/>
                  </a:lnTo>
                  <a:lnTo>
                    <a:pt x="177" y="475"/>
                  </a:lnTo>
                  <a:lnTo>
                    <a:pt x="108" y="562"/>
                  </a:lnTo>
                  <a:lnTo>
                    <a:pt x="95" y="574"/>
                  </a:lnTo>
                  <a:lnTo>
                    <a:pt x="80" y="582"/>
                  </a:lnTo>
                  <a:lnTo>
                    <a:pt x="64" y="585"/>
                  </a:lnTo>
                  <a:lnTo>
                    <a:pt x="49" y="584"/>
                  </a:lnTo>
                  <a:lnTo>
                    <a:pt x="33" y="580"/>
                  </a:lnTo>
                  <a:lnTo>
                    <a:pt x="21" y="572"/>
                  </a:lnTo>
                  <a:lnTo>
                    <a:pt x="9" y="562"/>
                  </a:lnTo>
                  <a:lnTo>
                    <a:pt x="2" y="550"/>
                  </a:lnTo>
                  <a:lnTo>
                    <a:pt x="0" y="535"/>
                  </a:lnTo>
                  <a:lnTo>
                    <a:pt x="2" y="521"/>
                  </a:lnTo>
                  <a:lnTo>
                    <a:pt x="12" y="506"/>
                  </a:lnTo>
                  <a:lnTo>
                    <a:pt x="74" y="426"/>
                  </a:lnTo>
                  <a:lnTo>
                    <a:pt x="137" y="347"/>
                  </a:lnTo>
                  <a:lnTo>
                    <a:pt x="202" y="270"/>
                  </a:lnTo>
                  <a:lnTo>
                    <a:pt x="270" y="194"/>
                  </a:lnTo>
                  <a:lnTo>
                    <a:pt x="341" y="122"/>
                  </a:lnTo>
                  <a:lnTo>
                    <a:pt x="357" y="106"/>
                  </a:lnTo>
                  <a:lnTo>
                    <a:pt x="376" y="88"/>
                  </a:lnTo>
                  <a:lnTo>
                    <a:pt x="395" y="70"/>
                  </a:lnTo>
                  <a:lnTo>
                    <a:pt x="414" y="51"/>
                  </a:lnTo>
                  <a:lnTo>
                    <a:pt x="435" y="35"/>
                  </a:lnTo>
                  <a:lnTo>
                    <a:pt x="458" y="20"/>
                  </a:lnTo>
                  <a:lnTo>
                    <a:pt x="480" y="9"/>
                  </a:lnTo>
                  <a:lnTo>
                    <a:pt x="504" y="2"/>
                  </a:lnTo>
                  <a:lnTo>
                    <a:pt x="52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HarmonyOS Sans SC"/>
                <a:cs typeface="+mn-cs"/>
              </a:endParaRPr>
            </a:p>
          </p:txBody>
        </p:sp>
      </p:grpSp>
      <p:sp>
        <p:nvSpPr>
          <p:cNvPr id="55" name="Freeform 1171">
            <a:extLst>
              <a:ext uri="{FF2B5EF4-FFF2-40B4-BE49-F238E27FC236}">
                <a16:creationId xmlns:a16="http://schemas.microsoft.com/office/drawing/2014/main" id="{B8AF83E6-E656-4F43-AEE0-3A36E7E156AE}"/>
              </a:ext>
            </a:extLst>
          </p:cNvPr>
          <p:cNvSpPr>
            <a:spLocks/>
          </p:cNvSpPr>
          <p:nvPr/>
        </p:nvSpPr>
        <p:spPr bwMode="auto">
          <a:xfrm>
            <a:off x="1551145" y="3315075"/>
            <a:ext cx="310785" cy="233064"/>
          </a:xfrm>
          <a:custGeom>
            <a:avLst/>
            <a:gdLst>
              <a:gd name="T0" fmla="*/ 6189 w 6231"/>
              <a:gd name="T1" fmla="*/ 0 h 4673"/>
              <a:gd name="T2" fmla="*/ 6206 w 6231"/>
              <a:gd name="T3" fmla="*/ 6 h 4673"/>
              <a:gd name="T4" fmla="*/ 6219 w 6231"/>
              <a:gd name="T5" fmla="*/ 17 h 4673"/>
              <a:gd name="T6" fmla="*/ 6229 w 6231"/>
              <a:gd name="T7" fmla="*/ 34 h 4673"/>
              <a:gd name="T8" fmla="*/ 6231 w 6231"/>
              <a:gd name="T9" fmla="*/ 53 h 4673"/>
              <a:gd name="T10" fmla="*/ 6223 w 6231"/>
              <a:gd name="T11" fmla="*/ 72 h 4673"/>
              <a:gd name="T12" fmla="*/ 3477 w 6231"/>
              <a:gd name="T13" fmla="*/ 4603 h 4673"/>
              <a:gd name="T14" fmla="*/ 3455 w 6231"/>
              <a:gd name="T15" fmla="*/ 4631 h 4673"/>
              <a:gd name="T16" fmla="*/ 3428 w 6231"/>
              <a:gd name="T17" fmla="*/ 4652 h 4673"/>
              <a:gd name="T18" fmla="*/ 3398 w 6231"/>
              <a:gd name="T19" fmla="*/ 4665 h 4673"/>
              <a:gd name="T20" fmla="*/ 3366 w 6231"/>
              <a:gd name="T21" fmla="*/ 4673 h 4673"/>
              <a:gd name="T22" fmla="*/ 3332 w 6231"/>
              <a:gd name="T23" fmla="*/ 4673 h 4673"/>
              <a:gd name="T24" fmla="*/ 3300 w 6231"/>
              <a:gd name="T25" fmla="*/ 4664 h 4673"/>
              <a:gd name="T26" fmla="*/ 3269 w 6231"/>
              <a:gd name="T27" fmla="*/ 4648 h 4673"/>
              <a:gd name="T28" fmla="*/ 2513 w 6231"/>
              <a:gd name="T29" fmla="*/ 4132 h 4673"/>
              <a:gd name="T30" fmla="*/ 1745 w 6231"/>
              <a:gd name="T31" fmla="*/ 4641 h 4673"/>
              <a:gd name="T32" fmla="*/ 1717 w 6231"/>
              <a:gd name="T33" fmla="*/ 4654 h 4673"/>
              <a:gd name="T34" fmla="*/ 1690 w 6231"/>
              <a:gd name="T35" fmla="*/ 4656 h 4673"/>
              <a:gd name="T36" fmla="*/ 1664 w 6231"/>
              <a:gd name="T37" fmla="*/ 4650 h 4673"/>
              <a:gd name="T38" fmla="*/ 1639 w 6231"/>
              <a:gd name="T39" fmla="*/ 4639 h 4673"/>
              <a:gd name="T40" fmla="*/ 1621 w 6231"/>
              <a:gd name="T41" fmla="*/ 4618 h 4673"/>
              <a:gd name="T42" fmla="*/ 1609 w 6231"/>
              <a:gd name="T43" fmla="*/ 4595 h 4673"/>
              <a:gd name="T44" fmla="*/ 1603 w 6231"/>
              <a:gd name="T45" fmla="*/ 4565 h 4673"/>
              <a:gd name="T46" fmla="*/ 1603 w 6231"/>
              <a:gd name="T47" fmla="*/ 3511 h 4673"/>
              <a:gd name="T48" fmla="*/ 5090 w 6231"/>
              <a:gd name="T49" fmla="*/ 905 h 4673"/>
              <a:gd name="T50" fmla="*/ 972 w 6231"/>
              <a:gd name="T51" fmla="*/ 3077 h 4673"/>
              <a:gd name="T52" fmla="*/ 64 w 6231"/>
              <a:gd name="T53" fmla="*/ 2459 h 4673"/>
              <a:gd name="T54" fmla="*/ 36 w 6231"/>
              <a:gd name="T55" fmla="*/ 2434 h 4673"/>
              <a:gd name="T56" fmla="*/ 15 w 6231"/>
              <a:gd name="T57" fmla="*/ 2404 h 4673"/>
              <a:gd name="T58" fmla="*/ 4 w 6231"/>
              <a:gd name="T59" fmla="*/ 2370 h 4673"/>
              <a:gd name="T60" fmla="*/ 0 w 6231"/>
              <a:gd name="T61" fmla="*/ 2335 h 4673"/>
              <a:gd name="T62" fmla="*/ 0 w 6231"/>
              <a:gd name="T63" fmla="*/ 2335 h 4673"/>
              <a:gd name="T64" fmla="*/ 4 w 6231"/>
              <a:gd name="T65" fmla="*/ 2301 h 4673"/>
              <a:gd name="T66" fmla="*/ 17 w 6231"/>
              <a:gd name="T67" fmla="*/ 2269 h 4673"/>
              <a:gd name="T68" fmla="*/ 36 w 6231"/>
              <a:gd name="T69" fmla="*/ 2241 h 4673"/>
              <a:gd name="T70" fmla="*/ 62 w 6231"/>
              <a:gd name="T71" fmla="*/ 2216 h 4673"/>
              <a:gd name="T72" fmla="*/ 96 w 6231"/>
              <a:gd name="T73" fmla="*/ 2199 h 4673"/>
              <a:gd name="T74" fmla="*/ 6168 w 6231"/>
              <a:gd name="T75" fmla="*/ 4 h 4673"/>
              <a:gd name="T76" fmla="*/ 6189 w 6231"/>
              <a:gd name="T77" fmla="*/ 0 h 46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231" h="4673">
                <a:moveTo>
                  <a:pt x="6189" y="0"/>
                </a:moveTo>
                <a:lnTo>
                  <a:pt x="6206" y="6"/>
                </a:lnTo>
                <a:lnTo>
                  <a:pt x="6219" y="17"/>
                </a:lnTo>
                <a:lnTo>
                  <a:pt x="6229" y="34"/>
                </a:lnTo>
                <a:lnTo>
                  <a:pt x="6231" y="53"/>
                </a:lnTo>
                <a:lnTo>
                  <a:pt x="6223" y="72"/>
                </a:lnTo>
                <a:lnTo>
                  <a:pt x="3477" y="4603"/>
                </a:lnTo>
                <a:lnTo>
                  <a:pt x="3455" y="4631"/>
                </a:lnTo>
                <a:lnTo>
                  <a:pt x="3428" y="4652"/>
                </a:lnTo>
                <a:lnTo>
                  <a:pt x="3398" y="4665"/>
                </a:lnTo>
                <a:lnTo>
                  <a:pt x="3366" y="4673"/>
                </a:lnTo>
                <a:lnTo>
                  <a:pt x="3332" y="4673"/>
                </a:lnTo>
                <a:lnTo>
                  <a:pt x="3300" y="4664"/>
                </a:lnTo>
                <a:lnTo>
                  <a:pt x="3269" y="4648"/>
                </a:lnTo>
                <a:lnTo>
                  <a:pt x="2513" y="4132"/>
                </a:lnTo>
                <a:lnTo>
                  <a:pt x="1745" y="4641"/>
                </a:lnTo>
                <a:lnTo>
                  <a:pt x="1717" y="4654"/>
                </a:lnTo>
                <a:lnTo>
                  <a:pt x="1690" y="4656"/>
                </a:lnTo>
                <a:lnTo>
                  <a:pt x="1664" y="4650"/>
                </a:lnTo>
                <a:lnTo>
                  <a:pt x="1639" y="4639"/>
                </a:lnTo>
                <a:lnTo>
                  <a:pt x="1621" y="4618"/>
                </a:lnTo>
                <a:lnTo>
                  <a:pt x="1609" y="4595"/>
                </a:lnTo>
                <a:lnTo>
                  <a:pt x="1603" y="4565"/>
                </a:lnTo>
                <a:lnTo>
                  <a:pt x="1603" y="3511"/>
                </a:lnTo>
                <a:lnTo>
                  <a:pt x="5090" y="905"/>
                </a:lnTo>
                <a:lnTo>
                  <a:pt x="972" y="3077"/>
                </a:lnTo>
                <a:lnTo>
                  <a:pt x="64" y="2459"/>
                </a:lnTo>
                <a:lnTo>
                  <a:pt x="36" y="2434"/>
                </a:lnTo>
                <a:lnTo>
                  <a:pt x="15" y="2404"/>
                </a:lnTo>
                <a:lnTo>
                  <a:pt x="4" y="2370"/>
                </a:lnTo>
                <a:lnTo>
                  <a:pt x="0" y="2335"/>
                </a:lnTo>
                <a:lnTo>
                  <a:pt x="0" y="2335"/>
                </a:lnTo>
                <a:lnTo>
                  <a:pt x="4" y="2301"/>
                </a:lnTo>
                <a:lnTo>
                  <a:pt x="17" y="2269"/>
                </a:lnTo>
                <a:lnTo>
                  <a:pt x="36" y="2241"/>
                </a:lnTo>
                <a:lnTo>
                  <a:pt x="62" y="2216"/>
                </a:lnTo>
                <a:lnTo>
                  <a:pt x="96" y="2199"/>
                </a:lnTo>
                <a:lnTo>
                  <a:pt x="6168" y="4"/>
                </a:lnTo>
                <a:lnTo>
                  <a:pt x="6189"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HarmonyOS Sans SC"/>
              <a:cs typeface="+mn-cs"/>
            </a:endParaRPr>
          </a:p>
        </p:txBody>
      </p:sp>
      <p:sp>
        <p:nvSpPr>
          <p:cNvPr id="57" name="文本框 56">
            <a:extLst>
              <a:ext uri="{FF2B5EF4-FFF2-40B4-BE49-F238E27FC236}">
                <a16:creationId xmlns:a16="http://schemas.microsoft.com/office/drawing/2014/main" id="{A69B804A-1093-400C-936D-77DCD9FEECD8}"/>
              </a:ext>
            </a:extLst>
          </p:cNvPr>
          <p:cNvSpPr txBox="1"/>
          <p:nvPr/>
        </p:nvSpPr>
        <p:spPr>
          <a:xfrm>
            <a:off x="4608253" y="918105"/>
            <a:ext cx="2975495" cy="52322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2800" b="0" i="0" u="none" strike="noStrike" kern="1200" cap="none" spc="0" normalizeH="0" baseline="0" noProof="0" dirty="0">
                <a:ln>
                  <a:noFill/>
                </a:ln>
                <a:solidFill>
                  <a:prstClr val="black"/>
                </a:solidFill>
                <a:effectLst/>
                <a:uLnTx/>
                <a:uFillTx/>
                <a:latin typeface="HarmonyOS Sans SC Black"/>
                <a:ea typeface="+mj-ea"/>
                <a:cs typeface="+mn-cs"/>
              </a:rPr>
              <a:t>Our </a:t>
            </a:r>
            <a:r>
              <a:rPr kumimoji="0" lang="en-US" altLang="zh-CN" sz="2800" b="0" i="0" u="none" strike="noStrike" kern="1200" cap="none" spc="0" normalizeH="0" baseline="0" noProof="0" dirty="0">
                <a:ln>
                  <a:noFill/>
                </a:ln>
                <a:solidFill>
                  <a:schemeClr val="accent1"/>
                </a:solidFill>
                <a:effectLst/>
                <a:uLnTx/>
                <a:uFillTx/>
                <a:latin typeface="HarmonyOS Sans SC Black"/>
                <a:ea typeface="+mj-ea"/>
                <a:cs typeface="+mn-cs"/>
              </a:rPr>
              <a:t>Infographic</a:t>
            </a:r>
          </a:p>
        </p:txBody>
      </p:sp>
      <p:sp>
        <p:nvSpPr>
          <p:cNvPr id="58" name="TextBox 26">
            <a:extLst>
              <a:ext uri="{FF2B5EF4-FFF2-40B4-BE49-F238E27FC236}">
                <a16:creationId xmlns:a16="http://schemas.microsoft.com/office/drawing/2014/main" id="{A6D66ADA-30EB-4BDA-91FF-82F1EF136D79}"/>
              </a:ext>
            </a:extLst>
          </p:cNvPr>
          <p:cNvSpPr txBox="1"/>
          <p:nvPr/>
        </p:nvSpPr>
        <p:spPr>
          <a:xfrm>
            <a:off x="3486150" y="1427611"/>
            <a:ext cx="5219700" cy="254163"/>
          </a:xfrm>
          <a:prstGeom prst="rect">
            <a:avLst/>
          </a:prstGeom>
          <a:noFill/>
        </p:spPr>
        <p:txBody>
          <a:bodyPr wrap="square" lIns="0" tIns="36000" rIns="0" bIns="36000" rtlCol="0">
            <a:spAutoFit/>
          </a:bodyPr>
          <a:lstStyle/>
          <a:p>
            <a:pPr marL="0" marR="0" lvl="0" indent="0" algn="ctr" defTabSz="914400" rtl="0" eaLnBrk="1" fontAlgn="auto" latinLnBrk="0" hangingPunct="1">
              <a:lnSpc>
                <a:spcPct val="130000"/>
              </a:lnSpc>
              <a:spcBef>
                <a:spcPts val="100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alpha val="70000"/>
                  </a:prstClr>
                </a:solidFill>
                <a:effectLst/>
                <a:uLnTx/>
                <a:uFillTx/>
                <a:latin typeface="HarmonyOS Sans SC"/>
                <a:cs typeface="+mn-cs"/>
              </a:rPr>
              <a:t>There Are Many Variations Of Passages Of </a:t>
            </a:r>
          </a:p>
        </p:txBody>
      </p:sp>
    </p:spTree>
    <p:extLst>
      <p:ext uri="{BB962C8B-B14F-4D97-AF65-F5344CB8AC3E}">
        <p14:creationId xmlns:p14="http://schemas.microsoft.com/office/powerpoint/2010/main" val="3428404881"/>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4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8">
            <a:extLst>
              <a:ext uri="{FF2B5EF4-FFF2-40B4-BE49-F238E27FC236}">
                <a16:creationId xmlns:a16="http://schemas.microsoft.com/office/drawing/2014/main" id="{2CC41E2B-BEA1-4AB1-89E1-A502D15D35DB}"/>
              </a:ext>
            </a:extLst>
          </p:cNvPr>
          <p:cNvSpPr>
            <a:spLocks/>
          </p:cNvSpPr>
          <p:nvPr/>
        </p:nvSpPr>
        <p:spPr bwMode="auto">
          <a:xfrm>
            <a:off x="4368802" y="782639"/>
            <a:ext cx="3514725" cy="1177925"/>
          </a:xfrm>
          <a:custGeom>
            <a:avLst/>
            <a:gdLst>
              <a:gd name="T0" fmla="*/ 879 w 879"/>
              <a:gd name="T1" fmla="*/ 295 h 295"/>
              <a:gd name="T2" fmla="*/ 0 w 879"/>
              <a:gd name="T3" fmla="*/ 295 h 295"/>
              <a:gd name="T4" fmla="*/ 439 w 879"/>
              <a:gd name="T5" fmla="*/ 0 h 295"/>
              <a:gd name="T6" fmla="*/ 879 w 879"/>
              <a:gd name="T7" fmla="*/ 295 h 295"/>
            </a:gdLst>
            <a:ahLst/>
            <a:cxnLst>
              <a:cxn ang="0">
                <a:pos x="T0" y="T1"/>
              </a:cxn>
              <a:cxn ang="0">
                <a:pos x="T2" y="T3"/>
              </a:cxn>
              <a:cxn ang="0">
                <a:pos x="T4" y="T5"/>
              </a:cxn>
              <a:cxn ang="0">
                <a:pos x="T6" y="T7"/>
              </a:cxn>
            </a:cxnLst>
            <a:rect l="0" t="0" r="r" b="b"/>
            <a:pathLst>
              <a:path w="879" h="295">
                <a:moveTo>
                  <a:pt x="879" y="295"/>
                </a:moveTo>
                <a:cubicBezTo>
                  <a:pt x="0" y="295"/>
                  <a:pt x="0" y="295"/>
                  <a:pt x="0" y="295"/>
                </a:cubicBezTo>
                <a:cubicBezTo>
                  <a:pt x="96" y="0"/>
                  <a:pt x="439" y="0"/>
                  <a:pt x="439" y="0"/>
                </a:cubicBezTo>
                <a:cubicBezTo>
                  <a:pt x="439" y="0"/>
                  <a:pt x="783" y="0"/>
                  <a:pt x="879" y="295"/>
                </a:cubicBezTo>
                <a:close/>
              </a:path>
            </a:pathLst>
          </a:custGeom>
          <a:gradFill flip="none" rotWithShape="1">
            <a:gsLst>
              <a:gs pos="0">
                <a:schemeClr val="accent1"/>
              </a:gs>
              <a:gs pos="100000">
                <a:schemeClr val="accent1">
                  <a:lumMod val="40000"/>
                  <a:lumOff val="60000"/>
                </a:schemeClr>
              </a:gs>
              <a:gs pos="73000">
                <a:schemeClr val="accent1">
                  <a:lumMod val="60000"/>
                  <a:lumOff val="40000"/>
                </a:schemeClr>
              </a:gs>
            </a:gsLst>
            <a:lin ang="13500000" scaled="1"/>
            <a:tileRect/>
          </a:gradFill>
          <a:ln w="19050">
            <a:noFill/>
          </a:ln>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22222"/>
              </a:solidFill>
              <a:effectLst/>
              <a:uLnTx/>
              <a:uFillTx/>
              <a:latin typeface="Inter"/>
              <a:cs typeface="+mn-cs"/>
            </a:endParaRPr>
          </a:p>
        </p:txBody>
      </p:sp>
      <p:sp>
        <p:nvSpPr>
          <p:cNvPr id="3" name="Freeform 19">
            <a:extLst>
              <a:ext uri="{FF2B5EF4-FFF2-40B4-BE49-F238E27FC236}">
                <a16:creationId xmlns:a16="http://schemas.microsoft.com/office/drawing/2014/main" id="{D635AE88-F9F1-44FC-BBD8-2DEC44E6DB68}"/>
              </a:ext>
            </a:extLst>
          </p:cNvPr>
          <p:cNvSpPr>
            <a:spLocks/>
          </p:cNvSpPr>
          <p:nvPr/>
        </p:nvSpPr>
        <p:spPr bwMode="auto">
          <a:xfrm>
            <a:off x="5011738" y="4306889"/>
            <a:ext cx="2224088" cy="1177925"/>
          </a:xfrm>
          <a:custGeom>
            <a:avLst/>
            <a:gdLst>
              <a:gd name="T0" fmla="*/ 556 w 556"/>
              <a:gd name="T1" fmla="*/ 0 h 295"/>
              <a:gd name="T2" fmla="*/ 492 w 556"/>
              <a:gd name="T3" fmla="*/ 215 h 295"/>
              <a:gd name="T4" fmla="*/ 422 w 556"/>
              <a:gd name="T5" fmla="*/ 295 h 295"/>
              <a:gd name="T6" fmla="*/ 135 w 556"/>
              <a:gd name="T7" fmla="*/ 295 h 295"/>
              <a:gd name="T8" fmla="*/ 65 w 556"/>
              <a:gd name="T9" fmla="*/ 215 h 295"/>
              <a:gd name="T10" fmla="*/ 0 w 556"/>
              <a:gd name="T11" fmla="*/ 0 h 295"/>
              <a:gd name="T12" fmla="*/ 556 w 556"/>
              <a:gd name="T13" fmla="*/ 0 h 295"/>
            </a:gdLst>
            <a:ahLst/>
            <a:cxnLst>
              <a:cxn ang="0">
                <a:pos x="T0" y="T1"/>
              </a:cxn>
              <a:cxn ang="0">
                <a:pos x="T2" y="T3"/>
              </a:cxn>
              <a:cxn ang="0">
                <a:pos x="T4" y="T5"/>
              </a:cxn>
              <a:cxn ang="0">
                <a:pos x="T6" y="T7"/>
              </a:cxn>
              <a:cxn ang="0">
                <a:pos x="T8" y="T9"/>
              </a:cxn>
              <a:cxn ang="0">
                <a:pos x="T10" y="T11"/>
              </a:cxn>
              <a:cxn ang="0">
                <a:pos x="T12" y="T13"/>
              </a:cxn>
            </a:cxnLst>
            <a:rect l="0" t="0" r="r" b="b"/>
            <a:pathLst>
              <a:path w="556" h="295">
                <a:moveTo>
                  <a:pt x="556" y="0"/>
                </a:moveTo>
                <a:cubicBezTo>
                  <a:pt x="519" y="57"/>
                  <a:pt x="490" y="121"/>
                  <a:pt x="492" y="215"/>
                </a:cubicBezTo>
                <a:cubicBezTo>
                  <a:pt x="492" y="215"/>
                  <a:pt x="492" y="295"/>
                  <a:pt x="422" y="295"/>
                </a:cubicBezTo>
                <a:cubicBezTo>
                  <a:pt x="135" y="295"/>
                  <a:pt x="135" y="295"/>
                  <a:pt x="135" y="295"/>
                </a:cubicBezTo>
                <a:cubicBezTo>
                  <a:pt x="65" y="295"/>
                  <a:pt x="65" y="215"/>
                  <a:pt x="65" y="215"/>
                </a:cubicBezTo>
                <a:cubicBezTo>
                  <a:pt x="66" y="121"/>
                  <a:pt x="38" y="57"/>
                  <a:pt x="0" y="0"/>
                </a:cubicBezTo>
                <a:lnTo>
                  <a:pt x="556" y="0"/>
                </a:lnTo>
                <a:close/>
              </a:path>
            </a:pathLst>
          </a:custGeom>
          <a:gradFill flip="none" rotWithShape="1">
            <a:gsLst>
              <a:gs pos="0">
                <a:schemeClr val="accent1"/>
              </a:gs>
              <a:gs pos="100000">
                <a:schemeClr val="accent1">
                  <a:lumMod val="40000"/>
                  <a:lumOff val="60000"/>
                </a:schemeClr>
              </a:gs>
              <a:gs pos="73000">
                <a:schemeClr val="accent1">
                  <a:lumMod val="60000"/>
                  <a:lumOff val="40000"/>
                </a:schemeClr>
              </a:gs>
            </a:gsLst>
            <a:lin ang="13500000" scaled="1"/>
            <a:tileRect/>
          </a:gradFill>
          <a:ln w="19050">
            <a:noFill/>
          </a:ln>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22222"/>
              </a:solidFill>
              <a:effectLst/>
              <a:uLnTx/>
              <a:uFillTx/>
              <a:latin typeface="Inter"/>
              <a:cs typeface="+mn-cs"/>
            </a:endParaRPr>
          </a:p>
        </p:txBody>
      </p:sp>
      <p:sp>
        <p:nvSpPr>
          <p:cNvPr id="4" name="Freeform 20">
            <a:extLst>
              <a:ext uri="{FF2B5EF4-FFF2-40B4-BE49-F238E27FC236}">
                <a16:creationId xmlns:a16="http://schemas.microsoft.com/office/drawing/2014/main" id="{72698DAD-83A0-4B2F-95D5-B2CFF2A0BCAA}"/>
              </a:ext>
            </a:extLst>
          </p:cNvPr>
          <p:cNvSpPr>
            <a:spLocks/>
          </p:cNvSpPr>
          <p:nvPr/>
        </p:nvSpPr>
        <p:spPr bwMode="auto">
          <a:xfrm>
            <a:off x="4132263" y="1960563"/>
            <a:ext cx="3714750" cy="1173163"/>
          </a:xfrm>
          <a:custGeom>
            <a:avLst/>
            <a:gdLst>
              <a:gd name="T0" fmla="*/ 929 w 929"/>
              <a:gd name="T1" fmla="*/ 168 h 294"/>
              <a:gd name="T2" fmla="*/ 915 w 929"/>
              <a:gd name="T3" fmla="*/ 294 h 294"/>
              <a:gd name="T4" fmla="*/ 13 w 929"/>
              <a:gd name="T5" fmla="*/ 294 h 294"/>
              <a:gd name="T6" fmla="*/ 0 w 929"/>
              <a:gd name="T7" fmla="*/ 168 h 294"/>
              <a:gd name="T8" fmla="*/ 25 w 929"/>
              <a:gd name="T9" fmla="*/ 0 h 294"/>
              <a:gd name="T10" fmla="*/ 904 w 929"/>
              <a:gd name="T11" fmla="*/ 0 h 294"/>
              <a:gd name="T12" fmla="*/ 929 w 929"/>
              <a:gd name="T13" fmla="*/ 168 h 294"/>
            </a:gdLst>
            <a:ahLst/>
            <a:cxnLst>
              <a:cxn ang="0">
                <a:pos x="T0" y="T1"/>
              </a:cxn>
              <a:cxn ang="0">
                <a:pos x="T2" y="T3"/>
              </a:cxn>
              <a:cxn ang="0">
                <a:pos x="T4" y="T5"/>
              </a:cxn>
              <a:cxn ang="0">
                <a:pos x="T6" y="T7"/>
              </a:cxn>
              <a:cxn ang="0">
                <a:pos x="T8" y="T9"/>
              </a:cxn>
              <a:cxn ang="0">
                <a:pos x="T10" y="T11"/>
              </a:cxn>
              <a:cxn ang="0">
                <a:pos x="T12" y="T13"/>
              </a:cxn>
            </a:cxnLst>
            <a:rect l="0" t="0" r="r" b="b"/>
            <a:pathLst>
              <a:path w="929" h="294">
                <a:moveTo>
                  <a:pt x="929" y="168"/>
                </a:moveTo>
                <a:cubicBezTo>
                  <a:pt x="929" y="216"/>
                  <a:pt x="924" y="258"/>
                  <a:pt x="915" y="294"/>
                </a:cubicBezTo>
                <a:cubicBezTo>
                  <a:pt x="13" y="294"/>
                  <a:pt x="13" y="294"/>
                  <a:pt x="13" y="294"/>
                </a:cubicBezTo>
                <a:cubicBezTo>
                  <a:pt x="5" y="258"/>
                  <a:pt x="0" y="216"/>
                  <a:pt x="0" y="168"/>
                </a:cubicBezTo>
                <a:cubicBezTo>
                  <a:pt x="0" y="104"/>
                  <a:pt x="9" y="48"/>
                  <a:pt x="25" y="0"/>
                </a:cubicBezTo>
                <a:cubicBezTo>
                  <a:pt x="904" y="0"/>
                  <a:pt x="904" y="0"/>
                  <a:pt x="904" y="0"/>
                </a:cubicBezTo>
                <a:cubicBezTo>
                  <a:pt x="920" y="48"/>
                  <a:pt x="929" y="104"/>
                  <a:pt x="929" y="168"/>
                </a:cubicBezTo>
                <a:close/>
              </a:path>
            </a:pathLst>
          </a:custGeom>
          <a:gradFill flip="none" rotWithShape="1">
            <a:gsLst>
              <a:gs pos="0">
                <a:schemeClr val="accent1"/>
              </a:gs>
              <a:gs pos="100000">
                <a:schemeClr val="accent1">
                  <a:lumMod val="40000"/>
                  <a:lumOff val="60000"/>
                </a:schemeClr>
              </a:gs>
              <a:gs pos="73000">
                <a:schemeClr val="accent1">
                  <a:lumMod val="60000"/>
                  <a:lumOff val="40000"/>
                </a:schemeClr>
              </a:gs>
            </a:gsLst>
            <a:lin ang="13500000" scaled="1"/>
            <a:tileRect/>
          </a:gradFill>
          <a:ln w="19050">
            <a:noFill/>
          </a:ln>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22222"/>
              </a:solidFill>
              <a:effectLst/>
              <a:uLnTx/>
              <a:uFillTx/>
              <a:latin typeface="Inter"/>
              <a:cs typeface="+mn-cs"/>
            </a:endParaRPr>
          </a:p>
        </p:txBody>
      </p:sp>
      <p:sp>
        <p:nvSpPr>
          <p:cNvPr id="5" name="Freeform 21">
            <a:extLst>
              <a:ext uri="{FF2B5EF4-FFF2-40B4-BE49-F238E27FC236}">
                <a16:creationId xmlns:a16="http://schemas.microsoft.com/office/drawing/2014/main" id="{B9EC5FD3-255E-478C-922E-0B3BB674D884}"/>
              </a:ext>
            </a:extLst>
          </p:cNvPr>
          <p:cNvSpPr>
            <a:spLocks/>
          </p:cNvSpPr>
          <p:nvPr/>
        </p:nvSpPr>
        <p:spPr bwMode="auto">
          <a:xfrm>
            <a:off x="4460876" y="3133727"/>
            <a:ext cx="3602038" cy="1173163"/>
          </a:xfrm>
          <a:custGeom>
            <a:avLst/>
            <a:gdLst>
              <a:gd name="T0" fmla="*/ 901 w 901"/>
              <a:gd name="T1" fmla="*/ 0 h 294"/>
              <a:gd name="T2" fmla="*/ 729 w 901"/>
              <a:gd name="T3" fmla="*/ 294 h 294"/>
              <a:gd name="T4" fmla="*/ 172 w 901"/>
              <a:gd name="T5" fmla="*/ 294 h 294"/>
              <a:gd name="T6" fmla="*/ 0 w 901"/>
              <a:gd name="T7" fmla="*/ 0 h 294"/>
              <a:gd name="T8" fmla="*/ 901 w 901"/>
              <a:gd name="T9" fmla="*/ 0 h 294"/>
            </a:gdLst>
            <a:ahLst/>
            <a:cxnLst>
              <a:cxn ang="0">
                <a:pos x="T0" y="T1"/>
              </a:cxn>
              <a:cxn ang="0">
                <a:pos x="T2" y="T3"/>
              </a:cxn>
              <a:cxn ang="0">
                <a:pos x="T4" y="T5"/>
              </a:cxn>
              <a:cxn ang="0">
                <a:pos x="T6" y="T7"/>
              </a:cxn>
              <a:cxn ang="0">
                <a:pos x="T8" y="T9"/>
              </a:cxn>
            </a:cxnLst>
            <a:rect l="0" t="0" r="r" b="b"/>
            <a:pathLst>
              <a:path w="901" h="294">
                <a:moveTo>
                  <a:pt x="901" y="0"/>
                </a:moveTo>
                <a:cubicBezTo>
                  <a:pt x="869" y="136"/>
                  <a:pt x="787" y="206"/>
                  <a:pt x="729" y="294"/>
                </a:cubicBezTo>
                <a:cubicBezTo>
                  <a:pt x="172" y="294"/>
                  <a:pt x="172" y="294"/>
                  <a:pt x="172" y="294"/>
                </a:cubicBezTo>
                <a:cubicBezTo>
                  <a:pt x="114" y="206"/>
                  <a:pt x="32" y="136"/>
                  <a:pt x="0" y="0"/>
                </a:cubicBezTo>
                <a:lnTo>
                  <a:pt x="901" y="0"/>
                </a:lnTo>
                <a:close/>
              </a:path>
            </a:pathLst>
          </a:custGeom>
          <a:gradFill flip="none" rotWithShape="1">
            <a:gsLst>
              <a:gs pos="0">
                <a:schemeClr val="accent1"/>
              </a:gs>
              <a:gs pos="100000">
                <a:schemeClr val="accent1">
                  <a:lumMod val="40000"/>
                  <a:lumOff val="60000"/>
                </a:schemeClr>
              </a:gs>
              <a:gs pos="73000">
                <a:schemeClr val="accent1">
                  <a:lumMod val="60000"/>
                  <a:lumOff val="40000"/>
                </a:schemeClr>
              </a:gs>
            </a:gsLst>
            <a:lin ang="13500000" scaled="1"/>
            <a:tileRect/>
          </a:gradFill>
          <a:ln w="19050">
            <a:noFill/>
          </a:ln>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22222"/>
              </a:solidFill>
              <a:effectLst/>
              <a:uLnTx/>
              <a:uFillTx/>
              <a:latin typeface="Inter"/>
              <a:cs typeface="+mn-cs"/>
            </a:endParaRPr>
          </a:p>
        </p:txBody>
      </p:sp>
      <p:sp>
        <p:nvSpPr>
          <p:cNvPr id="6" name="Freeform 22">
            <a:extLst>
              <a:ext uri="{FF2B5EF4-FFF2-40B4-BE49-F238E27FC236}">
                <a16:creationId xmlns:a16="http://schemas.microsoft.com/office/drawing/2014/main" id="{E57F764B-189E-4EAB-A001-C0BF6501CFDB}"/>
              </a:ext>
            </a:extLst>
          </p:cNvPr>
          <p:cNvSpPr>
            <a:spLocks/>
          </p:cNvSpPr>
          <p:nvPr/>
        </p:nvSpPr>
        <p:spPr bwMode="auto">
          <a:xfrm>
            <a:off x="5456238" y="5532438"/>
            <a:ext cx="1339850" cy="147638"/>
          </a:xfrm>
          <a:custGeom>
            <a:avLst/>
            <a:gdLst>
              <a:gd name="T0" fmla="*/ 316 w 335"/>
              <a:gd name="T1" fmla="*/ 0 h 37"/>
              <a:gd name="T2" fmla="*/ 18 w 335"/>
              <a:gd name="T3" fmla="*/ 0 h 37"/>
              <a:gd name="T4" fmla="*/ 0 w 335"/>
              <a:gd name="T5" fmla="*/ 18 h 37"/>
              <a:gd name="T6" fmla="*/ 18 w 335"/>
              <a:gd name="T7" fmla="*/ 37 h 37"/>
              <a:gd name="T8" fmla="*/ 316 w 335"/>
              <a:gd name="T9" fmla="*/ 37 h 37"/>
              <a:gd name="T10" fmla="*/ 335 w 335"/>
              <a:gd name="T11" fmla="*/ 18 h 37"/>
              <a:gd name="T12" fmla="*/ 316 w 335"/>
              <a:gd name="T13" fmla="*/ 0 h 37"/>
            </a:gdLst>
            <a:ahLst/>
            <a:cxnLst>
              <a:cxn ang="0">
                <a:pos x="T0" y="T1"/>
              </a:cxn>
              <a:cxn ang="0">
                <a:pos x="T2" y="T3"/>
              </a:cxn>
              <a:cxn ang="0">
                <a:pos x="T4" y="T5"/>
              </a:cxn>
              <a:cxn ang="0">
                <a:pos x="T6" y="T7"/>
              </a:cxn>
              <a:cxn ang="0">
                <a:pos x="T8" y="T9"/>
              </a:cxn>
              <a:cxn ang="0">
                <a:pos x="T10" y="T11"/>
              </a:cxn>
              <a:cxn ang="0">
                <a:pos x="T12" y="T13"/>
              </a:cxn>
            </a:cxnLst>
            <a:rect l="0" t="0" r="r" b="b"/>
            <a:pathLst>
              <a:path w="335" h="37">
                <a:moveTo>
                  <a:pt x="316" y="0"/>
                </a:moveTo>
                <a:cubicBezTo>
                  <a:pt x="18" y="0"/>
                  <a:pt x="18" y="0"/>
                  <a:pt x="18" y="0"/>
                </a:cubicBezTo>
                <a:cubicBezTo>
                  <a:pt x="8" y="0"/>
                  <a:pt x="0" y="8"/>
                  <a:pt x="0" y="18"/>
                </a:cubicBezTo>
                <a:cubicBezTo>
                  <a:pt x="0" y="29"/>
                  <a:pt x="8" y="37"/>
                  <a:pt x="18" y="37"/>
                </a:cubicBezTo>
                <a:cubicBezTo>
                  <a:pt x="316" y="37"/>
                  <a:pt x="316" y="37"/>
                  <a:pt x="316" y="37"/>
                </a:cubicBezTo>
                <a:cubicBezTo>
                  <a:pt x="327" y="37"/>
                  <a:pt x="335" y="29"/>
                  <a:pt x="335" y="18"/>
                </a:cubicBezTo>
                <a:cubicBezTo>
                  <a:pt x="335" y="8"/>
                  <a:pt x="327" y="0"/>
                  <a:pt x="316" y="0"/>
                </a:cubicBezTo>
                <a:close/>
              </a:path>
            </a:pathLst>
          </a:custGeom>
          <a:gradFill>
            <a:gsLst>
              <a:gs pos="0">
                <a:schemeClr val="accent1"/>
              </a:gs>
              <a:gs pos="100000">
                <a:schemeClr val="accent1">
                  <a:lumMod val="40000"/>
                  <a:lumOff val="60000"/>
                </a:schemeClr>
              </a:gs>
              <a:gs pos="56000">
                <a:schemeClr val="accent1">
                  <a:lumMod val="60000"/>
                  <a:lumOff val="40000"/>
                </a:schemeClr>
              </a:gs>
            </a:gsLst>
            <a:lin ang="13500000" scaled="1"/>
          </a:gra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sp>
        <p:nvSpPr>
          <p:cNvPr id="7" name="Freeform 23">
            <a:extLst>
              <a:ext uri="{FF2B5EF4-FFF2-40B4-BE49-F238E27FC236}">
                <a16:creationId xmlns:a16="http://schemas.microsoft.com/office/drawing/2014/main" id="{34CFEF7D-8AF4-4EE2-B65C-4DC4FA9421B2}"/>
              </a:ext>
            </a:extLst>
          </p:cNvPr>
          <p:cNvSpPr>
            <a:spLocks/>
          </p:cNvSpPr>
          <p:nvPr/>
        </p:nvSpPr>
        <p:spPr bwMode="auto">
          <a:xfrm>
            <a:off x="5456238" y="5727701"/>
            <a:ext cx="1339850" cy="147638"/>
          </a:xfrm>
          <a:custGeom>
            <a:avLst/>
            <a:gdLst>
              <a:gd name="T0" fmla="*/ 316 w 335"/>
              <a:gd name="T1" fmla="*/ 0 h 37"/>
              <a:gd name="T2" fmla="*/ 18 w 335"/>
              <a:gd name="T3" fmla="*/ 0 h 37"/>
              <a:gd name="T4" fmla="*/ 0 w 335"/>
              <a:gd name="T5" fmla="*/ 19 h 37"/>
              <a:gd name="T6" fmla="*/ 18 w 335"/>
              <a:gd name="T7" fmla="*/ 37 h 37"/>
              <a:gd name="T8" fmla="*/ 316 w 335"/>
              <a:gd name="T9" fmla="*/ 37 h 37"/>
              <a:gd name="T10" fmla="*/ 335 w 335"/>
              <a:gd name="T11" fmla="*/ 19 h 37"/>
              <a:gd name="T12" fmla="*/ 316 w 335"/>
              <a:gd name="T13" fmla="*/ 0 h 37"/>
            </a:gdLst>
            <a:ahLst/>
            <a:cxnLst>
              <a:cxn ang="0">
                <a:pos x="T0" y="T1"/>
              </a:cxn>
              <a:cxn ang="0">
                <a:pos x="T2" y="T3"/>
              </a:cxn>
              <a:cxn ang="0">
                <a:pos x="T4" y="T5"/>
              </a:cxn>
              <a:cxn ang="0">
                <a:pos x="T6" y="T7"/>
              </a:cxn>
              <a:cxn ang="0">
                <a:pos x="T8" y="T9"/>
              </a:cxn>
              <a:cxn ang="0">
                <a:pos x="T10" y="T11"/>
              </a:cxn>
              <a:cxn ang="0">
                <a:pos x="T12" y="T13"/>
              </a:cxn>
            </a:cxnLst>
            <a:rect l="0" t="0" r="r" b="b"/>
            <a:pathLst>
              <a:path w="335" h="37">
                <a:moveTo>
                  <a:pt x="316" y="0"/>
                </a:moveTo>
                <a:cubicBezTo>
                  <a:pt x="18" y="0"/>
                  <a:pt x="18" y="0"/>
                  <a:pt x="18" y="0"/>
                </a:cubicBezTo>
                <a:cubicBezTo>
                  <a:pt x="8" y="0"/>
                  <a:pt x="0" y="8"/>
                  <a:pt x="0" y="19"/>
                </a:cubicBezTo>
                <a:cubicBezTo>
                  <a:pt x="0" y="29"/>
                  <a:pt x="8" y="37"/>
                  <a:pt x="18" y="37"/>
                </a:cubicBezTo>
                <a:cubicBezTo>
                  <a:pt x="316" y="37"/>
                  <a:pt x="316" y="37"/>
                  <a:pt x="316" y="37"/>
                </a:cubicBezTo>
                <a:cubicBezTo>
                  <a:pt x="327" y="37"/>
                  <a:pt x="335" y="29"/>
                  <a:pt x="335" y="19"/>
                </a:cubicBezTo>
                <a:cubicBezTo>
                  <a:pt x="335" y="8"/>
                  <a:pt x="327" y="0"/>
                  <a:pt x="316" y="0"/>
                </a:cubicBezTo>
                <a:close/>
              </a:path>
            </a:pathLst>
          </a:custGeom>
          <a:gradFill>
            <a:gsLst>
              <a:gs pos="0">
                <a:schemeClr val="accent1"/>
              </a:gs>
              <a:gs pos="100000">
                <a:schemeClr val="accent1">
                  <a:lumMod val="40000"/>
                  <a:lumOff val="60000"/>
                </a:schemeClr>
              </a:gs>
              <a:gs pos="56000">
                <a:schemeClr val="accent1">
                  <a:lumMod val="60000"/>
                  <a:lumOff val="40000"/>
                </a:schemeClr>
              </a:gs>
            </a:gsLst>
            <a:lin ang="13500000" scaled="1"/>
          </a:gra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sp>
        <p:nvSpPr>
          <p:cNvPr id="8" name="Freeform 24">
            <a:extLst>
              <a:ext uri="{FF2B5EF4-FFF2-40B4-BE49-F238E27FC236}">
                <a16:creationId xmlns:a16="http://schemas.microsoft.com/office/drawing/2014/main" id="{93084B05-D187-4379-B814-F6DB9A91BC29}"/>
              </a:ext>
            </a:extLst>
          </p:cNvPr>
          <p:cNvSpPr>
            <a:spLocks/>
          </p:cNvSpPr>
          <p:nvPr/>
        </p:nvSpPr>
        <p:spPr bwMode="auto">
          <a:xfrm>
            <a:off x="5703888" y="5922963"/>
            <a:ext cx="844550" cy="147638"/>
          </a:xfrm>
          <a:custGeom>
            <a:avLst/>
            <a:gdLst>
              <a:gd name="T0" fmla="*/ 192 w 211"/>
              <a:gd name="T1" fmla="*/ 0 h 37"/>
              <a:gd name="T2" fmla="*/ 18 w 211"/>
              <a:gd name="T3" fmla="*/ 0 h 37"/>
              <a:gd name="T4" fmla="*/ 0 w 211"/>
              <a:gd name="T5" fmla="*/ 19 h 37"/>
              <a:gd name="T6" fmla="*/ 18 w 211"/>
              <a:gd name="T7" fmla="*/ 37 h 37"/>
              <a:gd name="T8" fmla="*/ 192 w 211"/>
              <a:gd name="T9" fmla="*/ 37 h 37"/>
              <a:gd name="T10" fmla="*/ 211 w 211"/>
              <a:gd name="T11" fmla="*/ 19 h 37"/>
              <a:gd name="T12" fmla="*/ 192 w 211"/>
              <a:gd name="T13" fmla="*/ 0 h 37"/>
            </a:gdLst>
            <a:ahLst/>
            <a:cxnLst>
              <a:cxn ang="0">
                <a:pos x="T0" y="T1"/>
              </a:cxn>
              <a:cxn ang="0">
                <a:pos x="T2" y="T3"/>
              </a:cxn>
              <a:cxn ang="0">
                <a:pos x="T4" y="T5"/>
              </a:cxn>
              <a:cxn ang="0">
                <a:pos x="T6" y="T7"/>
              </a:cxn>
              <a:cxn ang="0">
                <a:pos x="T8" y="T9"/>
              </a:cxn>
              <a:cxn ang="0">
                <a:pos x="T10" y="T11"/>
              </a:cxn>
              <a:cxn ang="0">
                <a:pos x="T12" y="T13"/>
              </a:cxn>
            </a:cxnLst>
            <a:rect l="0" t="0" r="r" b="b"/>
            <a:pathLst>
              <a:path w="211" h="37">
                <a:moveTo>
                  <a:pt x="192" y="0"/>
                </a:moveTo>
                <a:cubicBezTo>
                  <a:pt x="18" y="0"/>
                  <a:pt x="18" y="0"/>
                  <a:pt x="18" y="0"/>
                </a:cubicBezTo>
                <a:cubicBezTo>
                  <a:pt x="8" y="0"/>
                  <a:pt x="0" y="8"/>
                  <a:pt x="0" y="19"/>
                </a:cubicBezTo>
                <a:cubicBezTo>
                  <a:pt x="0" y="29"/>
                  <a:pt x="8" y="37"/>
                  <a:pt x="18" y="37"/>
                </a:cubicBezTo>
                <a:cubicBezTo>
                  <a:pt x="192" y="37"/>
                  <a:pt x="192" y="37"/>
                  <a:pt x="192" y="37"/>
                </a:cubicBezTo>
                <a:cubicBezTo>
                  <a:pt x="203" y="37"/>
                  <a:pt x="211" y="29"/>
                  <a:pt x="211" y="19"/>
                </a:cubicBezTo>
                <a:cubicBezTo>
                  <a:pt x="211" y="8"/>
                  <a:pt x="203" y="0"/>
                  <a:pt x="192" y="0"/>
                </a:cubicBezTo>
                <a:close/>
              </a:path>
            </a:pathLst>
          </a:custGeom>
          <a:gradFill>
            <a:gsLst>
              <a:gs pos="0">
                <a:schemeClr val="accent1"/>
              </a:gs>
              <a:gs pos="100000">
                <a:schemeClr val="accent1">
                  <a:lumMod val="40000"/>
                  <a:lumOff val="60000"/>
                </a:schemeClr>
              </a:gs>
              <a:gs pos="56000">
                <a:schemeClr val="accent1">
                  <a:lumMod val="60000"/>
                  <a:lumOff val="40000"/>
                </a:schemeClr>
              </a:gs>
            </a:gsLst>
            <a:lin ang="13500000" scaled="1"/>
          </a:gra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grpSp>
        <p:nvGrpSpPr>
          <p:cNvPr id="9" name="Group 22">
            <a:extLst>
              <a:ext uri="{FF2B5EF4-FFF2-40B4-BE49-F238E27FC236}">
                <a16:creationId xmlns:a16="http://schemas.microsoft.com/office/drawing/2014/main" id="{8D0E3079-AF3D-40FF-A5B4-E73A94890FD9}"/>
              </a:ext>
            </a:extLst>
          </p:cNvPr>
          <p:cNvGrpSpPr/>
          <p:nvPr/>
        </p:nvGrpSpPr>
        <p:grpSpPr>
          <a:xfrm>
            <a:off x="5957584" y="3429000"/>
            <a:ext cx="838806" cy="521114"/>
            <a:chOff x="8420100" y="1390651"/>
            <a:chExt cx="2493963" cy="1549400"/>
          </a:xfrm>
          <a:solidFill>
            <a:srgbClr val="FFFFFF"/>
          </a:solidFill>
        </p:grpSpPr>
        <p:sp>
          <p:nvSpPr>
            <p:cNvPr id="10" name="Freeform 25">
              <a:extLst>
                <a:ext uri="{FF2B5EF4-FFF2-40B4-BE49-F238E27FC236}">
                  <a16:creationId xmlns:a16="http://schemas.microsoft.com/office/drawing/2014/main" id="{C7B29BF6-C5EC-47C9-9DF3-4746C3283D05}"/>
                </a:ext>
              </a:extLst>
            </p:cNvPr>
            <p:cNvSpPr>
              <a:spLocks/>
            </p:cNvSpPr>
            <p:nvPr/>
          </p:nvSpPr>
          <p:spPr bwMode="auto">
            <a:xfrm>
              <a:off x="9567863" y="2698751"/>
              <a:ext cx="198438" cy="241300"/>
            </a:xfrm>
            <a:custGeom>
              <a:avLst/>
              <a:gdLst>
                <a:gd name="T0" fmla="*/ 81 w 162"/>
                <a:gd name="T1" fmla="*/ 1 h 199"/>
                <a:gd name="T2" fmla="*/ 0 w 162"/>
                <a:gd name="T3" fmla="*/ 0 h 199"/>
                <a:gd name="T4" fmla="*/ 0 w 162"/>
                <a:gd name="T5" fmla="*/ 118 h 199"/>
                <a:gd name="T6" fmla="*/ 81 w 162"/>
                <a:gd name="T7" fmla="*/ 199 h 199"/>
                <a:gd name="T8" fmla="*/ 162 w 162"/>
                <a:gd name="T9" fmla="*/ 118 h 199"/>
                <a:gd name="T10" fmla="*/ 162 w 162"/>
                <a:gd name="T11" fmla="*/ 0 h 199"/>
                <a:gd name="T12" fmla="*/ 81 w 162"/>
                <a:gd name="T13" fmla="*/ 1 h 199"/>
              </a:gdLst>
              <a:ahLst/>
              <a:cxnLst>
                <a:cxn ang="0">
                  <a:pos x="T0" y="T1"/>
                </a:cxn>
                <a:cxn ang="0">
                  <a:pos x="T2" y="T3"/>
                </a:cxn>
                <a:cxn ang="0">
                  <a:pos x="T4" y="T5"/>
                </a:cxn>
                <a:cxn ang="0">
                  <a:pos x="T6" y="T7"/>
                </a:cxn>
                <a:cxn ang="0">
                  <a:pos x="T8" y="T9"/>
                </a:cxn>
                <a:cxn ang="0">
                  <a:pos x="T10" y="T11"/>
                </a:cxn>
                <a:cxn ang="0">
                  <a:pos x="T12" y="T13"/>
                </a:cxn>
              </a:cxnLst>
              <a:rect l="0" t="0" r="r" b="b"/>
              <a:pathLst>
                <a:path w="162" h="199">
                  <a:moveTo>
                    <a:pt x="81" y="1"/>
                  </a:moveTo>
                  <a:cubicBezTo>
                    <a:pt x="54" y="1"/>
                    <a:pt x="27" y="1"/>
                    <a:pt x="0" y="0"/>
                  </a:cubicBezTo>
                  <a:cubicBezTo>
                    <a:pt x="0" y="118"/>
                    <a:pt x="0" y="118"/>
                    <a:pt x="0" y="118"/>
                  </a:cubicBezTo>
                  <a:cubicBezTo>
                    <a:pt x="0" y="162"/>
                    <a:pt x="36" y="199"/>
                    <a:pt x="81" y="199"/>
                  </a:cubicBezTo>
                  <a:cubicBezTo>
                    <a:pt x="126" y="199"/>
                    <a:pt x="162" y="162"/>
                    <a:pt x="162" y="118"/>
                  </a:cubicBezTo>
                  <a:cubicBezTo>
                    <a:pt x="162" y="0"/>
                    <a:pt x="162" y="0"/>
                    <a:pt x="162" y="0"/>
                  </a:cubicBezTo>
                  <a:cubicBezTo>
                    <a:pt x="135" y="1"/>
                    <a:pt x="108" y="1"/>
                    <a:pt x="8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sp>
          <p:nvSpPr>
            <p:cNvPr id="11" name="Freeform 26">
              <a:extLst>
                <a:ext uri="{FF2B5EF4-FFF2-40B4-BE49-F238E27FC236}">
                  <a16:creationId xmlns:a16="http://schemas.microsoft.com/office/drawing/2014/main" id="{13C7BC15-E790-4932-8C59-D09A71ABD98B}"/>
                </a:ext>
              </a:extLst>
            </p:cNvPr>
            <p:cNvSpPr>
              <a:spLocks/>
            </p:cNvSpPr>
            <p:nvPr/>
          </p:nvSpPr>
          <p:spPr bwMode="auto">
            <a:xfrm>
              <a:off x="8943975" y="2646363"/>
              <a:ext cx="273050" cy="293688"/>
            </a:xfrm>
            <a:custGeom>
              <a:avLst/>
              <a:gdLst>
                <a:gd name="T0" fmla="*/ 61 w 224"/>
                <a:gd name="T1" fmla="*/ 0 h 241"/>
                <a:gd name="T2" fmla="*/ 15 w 224"/>
                <a:gd name="T3" fmla="*/ 133 h 241"/>
                <a:gd name="T4" fmla="*/ 64 w 224"/>
                <a:gd name="T5" fmla="*/ 236 h 241"/>
                <a:gd name="T6" fmla="*/ 91 w 224"/>
                <a:gd name="T7" fmla="*/ 241 h 241"/>
                <a:gd name="T8" fmla="*/ 167 w 224"/>
                <a:gd name="T9" fmla="*/ 187 h 241"/>
                <a:gd name="T10" fmla="*/ 224 w 224"/>
                <a:gd name="T11" fmla="*/ 23 h 241"/>
                <a:gd name="T12" fmla="*/ 61 w 224"/>
                <a:gd name="T13" fmla="*/ 0 h 241"/>
              </a:gdLst>
              <a:ahLst/>
              <a:cxnLst>
                <a:cxn ang="0">
                  <a:pos x="T0" y="T1"/>
                </a:cxn>
                <a:cxn ang="0">
                  <a:pos x="T2" y="T3"/>
                </a:cxn>
                <a:cxn ang="0">
                  <a:pos x="T4" y="T5"/>
                </a:cxn>
                <a:cxn ang="0">
                  <a:pos x="T6" y="T7"/>
                </a:cxn>
                <a:cxn ang="0">
                  <a:pos x="T8" y="T9"/>
                </a:cxn>
                <a:cxn ang="0">
                  <a:pos x="T10" y="T11"/>
                </a:cxn>
                <a:cxn ang="0">
                  <a:pos x="T12" y="T13"/>
                </a:cxn>
              </a:cxnLst>
              <a:rect l="0" t="0" r="r" b="b"/>
              <a:pathLst>
                <a:path w="224" h="241">
                  <a:moveTo>
                    <a:pt x="61" y="0"/>
                  </a:moveTo>
                  <a:cubicBezTo>
                    <a:pt x="15" y="133"/>
                    <a:pt x="15" y="133"/>
                    <a:pt x="15" y="133"/>
                  </a:cubicBezTo>
                  <a:cubicBezTo>
                    <a:pt x="0" y="175"/>
                    <a:pt x="22" y="221"/>
                    <a:pt x="64" y="236"/>
                  </a:cubicBezTo>
                  <a:cubicBezTo>
                    <a:pt x="73" y="239"/>
                    <a:pt x="82" y="241"/>
                    <a:pt x="91" y="241"/>
                  </a:cubicBezTo>
                  <a:cubicBezTo>
                    <a:pt x="124" y="241"/>
                    <a:pt x="156" y="220"/>
                    <a:pt x="167" y="187"/>
                  </a:cubicBezTo>
                  <a:cubicBezTo>
                    <a:pt x="224" y="23"/>
                    <a:pt x="224" y="23"/>
                    <a:pt x="224" y="23"/>
                  </a:cubicBezTo>
                  <a:cubicBezTo>
                    <a:pt x="168" y="17"/>
                    <a:pt x="114" y="9"/>
                    <a:pt x="6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sp>
          <p:nvSpPr>
            <p:cNvPr id="12" name="Freeform 27">
              <a:extLst>
                <a:ext uri="{FF2B5EF4-FFF2-40B4-BE49-F238E27FC236}">
                  <a16:creationId xmlns:a16="http://schemas.microsoft.com/office/drawing/2014/main" id="{70E6CDEB-D530-40B2-9AD9-771EDC806808}"/>
                </a:ext>
              </a:extLst>
            </p:cNvPr>
            <p:cNvSpPr>
              <a:spLocks/>
            </p:cNvSpPr>
            <p:nvPr/>
          </p:nvSpPr>
          <p:spPr bwMode="auto">
            <a:xfrm>
              <a:off x="10118725" y="2646363"/>
              <a:ext cx="271463" cy="293688"/>
            </a:xfrm>
            <a:custGeom>
              <a:avLst/>
              <a:gdLst>
                <a:gd name="T0" fmla="*/ 209 w 224"/>
                <a:gd name="T1" fmla="*/ 133 h 241"/>
                <a:gd name="T2" fmla="*/ 163 w 224"/>
                <a:gd name="T3" fmla="*/ 0 h 241"/>
                <a:gd name="T4" fmla="*/ 0 w 224"/>
                <a:gd name="T5" fmla="*/ 23 h 241"/>
                <a:gd name="T6" fmla="*/ 57 w 224"/>
                <a:gd name="T7" fmla="*/ 187 h 241"/>
                <a:gd name="T8" fmla="*/ 133 w 224"/>
                <a:gd name="T9" fmla="*/ 241 h 241"/>
                <a:gd name="T10" fmla="*/ 160 w 224"/>
                <a:gd name="T11" fmla="*/ 236 h 241"/>
                <a:gd name="T12" fmla="*/ 209 w 224"/>
                <a:gd name="T13" fmla="*/ 133 h 241"/>
              </a:gdLst>
              <a:ahLst/>
              <a:cxnLst>
                <a:cxn ang="0">
                  <a:pos x="T0" y="T1"/>
                </a:cxn>
                <a:cxn ang="0">
                  <a:pos x="T2" y="T3"/>
                </a:cxn>
                <a:cxn ang="0">
                  <a:pos x="T4" y="T5"/>
                </a:cxn>
                <a:cxn ang="0">
                  <a:pos x="T6" y="T7"/>
                </a:cxn>
                <a:cxn ang="0">
                  <a:pos x="T8" y="T9"/>
                </a:cxn>
                <a:cxn ang="0">
                  <a:pos x="T10" y="T11"/>
                </a:cxn>
                <a:cxn ang="0">
                  <a:pos x="T12" y="T13"/>
                </a:cxn>
              </a:cxnLst>
              <a:rect l="0" t="0" r="r" b="b"/>
              <a:pathLst>
                <a:path w="224" h="241">
                  <a:moveTo>
                    <a:pt x="209" y="133"/>
                  </a:moveTo>
                  <a:cubicBezTo>
                    <a:pt x="163" y="0"/>
                    <a:pt x="163" y="0"/>
                    <a:pt x="163" y="0"/>
                  </a:cubicBezTo>
                  <a:cubicBezTo>
                    <a:pt x="110" y="9"/>
                    <a:pt x="56" y="17"/>
                    <a:pt x="0" y="23"/>
                  </a:cubicBezTo>
                  <a:cubicBezTo>
                    <a:pt x="57" y="187"/>
                    <a:pt x="57" y="187"/>
                    <a:pt x="57" y="187"/>
                  </a:cubicBezTo>
                  <a:cubicBezTo>
                    <a:pt x="68" y="220"/>
                    <a:pt x="100" y="241"/>
                    <a:pt x="133" y="241"/>
                  </a:cubicBezTo>
                  <a:cubicBezTo>
                    <a:pt x="142" y="241"/>
                    <a:pt x="151" y="239"/>
                    <a:pt x="160" y="236"/>
                  </a:cubicBezTo>
                  <a:cubicBezTo>
                    <a:pt x="202" y="221"/>
                    <a:pt x="224" y="175"/>
                    <a:pt x="209" y="1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sp>
          <p:nvSpPr>
            <p:cNvPr id="13" name="Freeform 28">
              <a:extLst>
                <a:ext uri="{FF2B5EF4-FFF2-40B4-BE49-F238E27FC236}">
                  <a16:creationId xmlns:a16="http://schemas.microsoft.com/office/drawing/2014/main" id="{DA8B9D99-2A6C-45B4-81AC-FEFE5DAAA6E4}"/>
                </a:ext>
              </a:extLst>
            </p:cNvPr>
            <p:cNvSpPr>
              <a:spLocks/>
            </p:cNvSpPr>
            <p:nvPr/>
          </p:nvSpPr>
          <p:spPr bwMode="auto">
            <a:xfrm>
              <a:off x="8420100" y="1709738"/>
              <a:ext cx="2493963" cy="792163"/>
            </a:xfrm>
            <a:custGeom>
              <a:avLst/>
              <a:gdLst>
                <a:gd name="T0" fmla="*/ 1592 w 2048"/>
                <a:gd name="T1" fmla="*/ 3 h 651"/>
                <a:gd name="T2" fmla="*/ 1615 w 2048"/>
                <a:gd name="T3" fmla="*/ 163 h 651"/>
                <a:gd name="T4" fmla="*/ 1519 w 2048"/>
                <a:gd name="T5" fmla="*/ 311 h 651"/>
                <a:gd name="T6" fmla="*/ 1029 w 2048"/>
                <a:gd name="T7" fmla="*/ 409 h 651"/>
                <a:gd name="T8" fmla="*/ 539 w 2048"/>
                <a:gd name="T9" fmla="*/ 311 h 651"/>
                <a:gd name="T10" fmla="*/ 443 w 2048"/>
                <a:gd name="T11" fmla="*/ 163 h 651"/>
                <a:gd name="T12" fmla="*/ 466 w 2048"/>
                <a:gd name="T13" fmla="*/ 0 h 651"/>
                <a:gd name="T14" fmla="*/ 0 w 2048"/>
                <a:gd name="T15" fmla="*/ 301 h 651"/>
                <a:gd name="T16" fmla="*/ 335 w 2048"/>
                <a:gd name="T17" fmla="*/ 569 h 651"/>
                <a:gd name="T18" fmla="*/ 545 w 2048"/>
                <a:gd name="T19" fmla="*/ 615 h 651"/>
                <a:gd name="T20" fmla="*/ 709 w 2048"/>
                <a:gd name="T21" fmla="*/ 636 h 651"/>
                <a:gd name="T22" fmla="*/ 943 w 2048"/>
                <a:gd name="T23" fmla="*/ 650 h 651"/>
                <a:gd name="T24" fmla="*/ 1024 w 2048"/>
                <a:gd name="T25" fmla="*/ 651 h 651"/>
                <a:gd name="T26" fmla="*/ 1105 w 2048"/>
                <a:gd name="T27" fmla="*/ 650 h 651"/>
                <a:gd name="T28" fmla="*/ 1339 w 2048"/>
                <a:gd name="T29" fmla="*/ 636 h 651"/>
                <a:gd name="T30" fmla="*/ 1503 w 2048"/>
                <a:gd name="T31" fmla="*/ 615 h 651"/>
                <a:gd name="T32" fmla="*/ 1713 w 2048"/>
                <a:gd name="T33" fmla="*/ 569 h 651"/>
                <a:gd name="T34" fmla="*/ 2048 w 2048"/>
                <a:gd name="T35" fmla="*/ 301 h 651"/>
                <a:gd name="T36" fmla="*/ 1592 w 2048"/>
                <a:gd name="T37" fmla="*/ 3 h 6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048" h="651">
                  <a:moveTo>
                    <a:pt x="1592" y="3"/>
                  </a:moveTo>
                  <a:cubicBezTo>
                    <a:pt x="1607" y="54"/>
                    <a:pt x="1615" y="108"/>
                    <a:pt x="1615" y="163"/>
                  </a:cubicBezTo>
                  <a:cubicBezTo>
                    <a:pt x="1615" y="227"/>
                    <a:pt x="1577" y="285"/>
                    <a:pt x="1519" y="311"/>
                  </a:cubicBezTo>
                  <a:cubicBezTo>
                    <a:pt x="1510" y="315"/>
                    <a:pt x="1294" y="409"/>
                    <a:pt x="1029" y="409"/>
                  </a:cubicBezTo>
                  <a:cubicBezTo>
                    <a:pt x="763" y="409"/>
                    <a:pt x="548" y="315"/>
                    <a:pt x="539" y="311"/>
                  </a:cubicBezTo>
                  <a:cubicBezTo>
                    <a:pt x="481" y="285"/>
                    <a:pt x="443" y="227"/>
                    <a:pt x="443" y="163"/>
                  </a:cubicBezTo>
                  <a:cubicBezTo>
                    <a:pt x="443" y="107"/>
                    <a:pt x="451" y="53"/>
                    <a:pt x="466" y="0"/>
                  </a:cubicBezTo>
                  <a:cubicBezTo>
                    <a:pt x="250" y="44"/>
                    <a:pt x="0" y="131"/>
                    <a:pt x="0" y="301"/>
                  </a:cubicBezTo>
                  <a:cubicBezTo>
                    <a:pt x="0" y="415"/>
                    <a:pt x="113" y="506"/>
                    <a:pt x="335" y="569"/>
                  </a:cubicBezTo>
                  <a:cubicBezTo>
                    <a:pt x="399" y="587"/>
                    <a:pt x="469" y="603"/>
                    <a:pt x="545" y="615"/>
                  </a:cubicBezTo>
                  <a:cubicBezTo>
                    <a:pt x="598" y="624"/>
                    <a:pt x="653" y="631"/>
                    <a:pt x="709" y="636"/>
                  </a:cubicBezTo>
                  <a:cubicBezTo>
                    <a:pt x="784" y="644"/>
                    <a:pt x="863" y="648"/>
                    <a:pt x="943" y="650"/>
                  </a:cubicBezTo>
                  <a:cubicBezTo>
                    <a:pt x="970" y="651"/>
                    <a:pt x="997" y="651"/>
                    <a:pt x="1024" y="651"/>
                  </a:cubicBezTo>
                  <a:cubicBezTo>
                    <a:pt x="1051" y="651"/>
                    <a:pt x="1078" y="651"/>
                    <a:pt x="1105" y="650"/>
                  </a:cubicBezTo>
                  <a:cubicBezTo>
                    <a:pt x="1185" y="648"/>
                    <a:pt x="1264" y="644"/>
                    <a:pt x="1339" y="636"/>
                  </a:cubicBezTo>
                  <a:cubicBezTo>
                    <a:pt x="1395" y="631"/>
                    <a:pt x="1450" y="624"/>
                    <a:pt x="1503" y="615"/>
                  </a:cubicBezTo>
                  <a:cubicBezTo>
                    <a:pt x="1579" y="603"/>
                    <a:pt x="1649" y="587"/>
                    <a:pt x="1713" y="569"/>
                  </a:cubicBezTo>
                  <a:cubicBezTo>
                    <a:pt x="1935" y="506"/>
                    <a:pt x="2048" y="415"/>
                    <a:pt x="2048" y="301"/>
                  </a:cubicBezTo>
                  <a:cubicBezTo>
                    <a:pt x="2048" y="133"/>
                    <a:pt x="1804" y="46"/>
                    <a:pt x="1592"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sp>
          <p:nvSpPr>
            <p:cNvPr id="14" name="Freeform 29">
              <a:extLst>
                <a:ext uri="{FF2B5EF4-FFF2-40B4-BE49-F238E27FC236}">
                  <a16:creationId xmlns:a16="http://schemas.microsoft.com/office/drawing/2014/main" id="{69C8F4AD-155D-4FBB-94D1-F36CE3970009}"/>
                </a:ext>
              </a:extLst>
            </p:cNvPr>
            <p:cNvSpPr>
              <a:spLocks/>
            </p:cNvSpPr>
            <p:nvPr/>
          </p:nvSpPr>
          <p:spPr bwMode="auto">
            <a:xfrm>
              <a:off x="9156700" y="1390651"/>
              <a:ext cx="1033463" cy="620713"/>
            </a:xfrm>
            <a:custGeom>
              <a:avLst/>
              <a:gdLst>
                <a:gd name="T0" fmla="*/ 807 w 848"/>
                <a:gd name="T1" fmla="*/ 243 h 509"/>
                <a:gd name="T2" fmla="*/ 766 w 848"/>
                <a:gd name="T3" fmla="*/ 173 h 509"/>
                <a:gd name="T4" fmla="*/ 710 w 848"/>
                <a:gd name="T5" fmla="*/ 111 h 509"/>
                <a:gd name="T6" fmla="*/ 424 w 848"/>
                <a:gd name="T7" fmla="*/ 0 h 509"/>
                <a:gd name="T8" fmla="*/ 139 w 848"/>
                <a:gd name="T9" fmla="*/ 111 h 509"/>
                <a:gd name="T10" fmla="*/ 83 w 848"/>
                <a:gd name="T11" fmla="*/ 172 h 509"/>
                <a:gd name="T12" fmla="*/ 41 w 848"/>
                <a:gd name="T13" fmla="*/ 242 h 509"/>
                <a:gd name="T14" fmla="*/ 0 w 848"/>
                <a:gd name="T15" fmla="*/ 424 h 509"/>
                <a:gd name="T16" fmla="*/ 424 w 848"/>
                <a:gd name="T17" fmla="*/ 509 h 509"/>
                <a:gd name="T18" fmla="*/ 848 w 848"/>
                <a:gd name="T19" fmla="*/ 424 h 509"/>
                <a:gd name="T20" fmla="*/ 807 w 848"/>
                <a:gd name="T21" fmla="*/ 243 h 5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48" h="509">
                  <a:moveTo>
                    <a:pt x="807" y="243"/>
                  </a:moveTo>
                  <a:cubicBezTo>
                    <a:pt x="796" y="219"/>
                    <a:pt x="782" y="195"/>
                    <a:pt x="766" y="173"/>
                  </a:cubicBezTo>
                  <a:cubicBezTo>
                    <a:pt x="749" y="151"/>
                    <a:pt x="730" y="130"/>
                    <a:pt x="710" y="111"/>
                  </a:cubicBezTo>
                  <a:cubicBezTo>
                    <a:pt x="635" y="42"/>
                    <a:pt x="534" y="0"/>
                    <a:pt x="424" y="0"/>
                  </a:cubicBezTo>
                  <a:cubicBezTo>
                    <a:pt x="314" y="0"/>
                    <a:pt x="214" y="42"/>
                    <a:pt x="139" y="111"/>
                  </a:cubicBezTo>
                  <a:cubicBezTo>
                    <a:pt x="118" y="129"/>
                    <a:pt x="100" y="150"/>
                    <a:pt x="83" y="172"/>
                  </a:cubicBezTo>
                  <a:cubicBezTo>
                    <a:pt x="67" y="194"/>
                    <a:pt x="53" y="217"/>
                    <a:pt x="41" y="242"/>
                  </a:cubicBezTo>
                  <a:cubicBezTo>
                    <a:pt x="15" y="297"/>
                    <a:pt x="0" y="359"/>
                    <a:pt x="0" y="424"/>
                  </a:cubicBezTo>
                  <a:cubicBezTo>
                    <a:pt x="0" y="424"/>
                    <a:pt x="190" y="509"/>
                    <a:pt x="424" y="509"/>
                  </a:cubicBezTo>
                  <a:cubicBezTo>
                    <a:pt x="658" y="509"/>
                    <a:pt x="848" y="424"/>
                    <a:pt x="848" y="424"/>
                  </a:cubicBezTo>
                  <a:cubicBezTo>
                    <a:pt x="848" y="359"/>
                    <a:pt x="833" y="298"/>
                    <a:pt x="807" y="2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grpSp>
      <p:sp>
        <p:nvSpPr>
          <p:cNvPr id="15" name="Freeform 26">
            <a:extLst>
              <a:ext uri="{FF2B5EF4-FFF2-40B4-BE49-F238E27FC236}">
                <a16:creationId xmlns:a16="http://schemas.microsoft.com/office/drawing/2014/main" id="{36263A87-E706-4C06-8B39-730F54DCDE58}"/>
              </a:ext>
            </a:extLst>
          </p:cNvPr>
          <p:cNvSpPr>
            <a:spLocks noEditPoints="1"/>
          </p:cNvSpPr>
          <p:nvPr/>
        </p:nvSpPr>
        <p:spPr bwMode="auto">
          <a:xfrm>
            <a:off x="5837444" y="1156223"/>
            <a:ext cx="611724" cy="494454"/>
          </a:xfrm>
          <a:custGeom>
            <a:avLst/>
            <a:gdLst>
              <a:gd name="T0" fmla="*/ 1861 w 2048"/>
              <a:gd name="T1" fmla="*/ 1074 h 1654"/>
              <a:gd name="T2" fmla="*/ 1584 w 2048"/>
              <a:gd name="T3" fmla="*/ 981 h 1654"/>
              <a:gd name="T4" fmla="*/ 1852 w 2048"/>
              <a:gd name="T5" fmla="*/ 887 h 1654"/>
              <a:gd name="T6" fmla="*/ 2041 w 2048"/>
              <a:gd name="T7" fmla="*/ 887 h 1654"/>
              <a:gd name="T8" fmla="*/ 1727 w 2048"/>
              <a:gd name="T9" fmla="*/ 410 h 1654"/>
              <a:gd name="T10" fmla="*/ 1552 w 2048"/>
              <a:gd name="T11" fmla="*/ 585 h 1654"/>
              <a:gd name="T12" fmla="*/ 1420 w 2048"/>
              <a:gd name="T13" fmla="*/ 585 h 1654"/>
              <a:gd name="T14" fmla="*/ 1525 w 2048"/>
              <a:gd name="T15" fmla="*/ 349 h 1654"/>
              <a:gd name="T16" fmla="*/ 1658 w 2048"/>
              <a:gd name="T17" fmla="*/ 216 h 1654"/>
              <a:gd name="T18" fmla="*/ 1118 w 2048"/>
              <a:gd name="T19" fmla="*/ 94 h 1654"/>
              <a:gd name="T20" fmla="*/ 1118 w 2048"/>
              <a:gd name="T21" fmla="*/ 328 h 1654"/>
              <a:gd name="T22" fmla="*/ 1025 w 2048"/>
              <a:gd name="T23" fmla="*/ 421 h 1654"/>
              <a:gd name="T24" fmla="*/ 932 w 2048"/>
              <a:gd name="T25" fmla="*/ 188 h 1654"/>
              <a:gd name="T26" fmla="*/ 931 w 2048"/>
              <a:gd name="T27" fmla="*/ 0 h 1654"/>
              <a:gd name="T28" fmla="*/ 457 w 2048"/>
              <a:gd name="T29" fmla="*/ 281 h 1654"/>
              <a:gd name="T30" fmla="*/ 629 w 2048"/>
              <a:gd name="T31" fmla="*/ 453 h 1654"/>
              <a:gd name="T32" fmla="*/ 563 w 2048"/>
              <a:gd name="T33" fmla="*/ 612 h 1654"/>
              <a:gd name="T34" fmla="*/ 388 w 2048"/>
              <a:gd name="T35" fmla="*/ 475 h 1654"/>
              <a:gd name="T36" fmla="*/ 255 w 2048"/>
              <a:gd name="T37" fmla="*/ 343 h 1654"/>
              <a:gd name="T38" fmla="*/ 101 w 2048"/>
              <a:gd name="T39" fmla="*/ 887 h 1654"/>
              <a:gd name="T40" fmla="*/ 372 w 2048"/>
              <a:gd name="T41" fmla="*/ 887 h 1654"/>
              <a:gd name="T42" fmla="*/ 372 w 2048"/>
              <a:gd name="T43" fmla="*/ 1074 h 1654"/>
              <a:gd name="T44" fmla="*/ 93 w 2048"/>
              <a:gd name="T45" fmla="*/ 1074 h 1654"/>
              <a:gd name="T46" fmla="*/ 189 w 2048"/>
              <a:gd name="T47" fmla="*/ 1615 h 1654"/>
              <a:gd name="T48" fmla="*/ 1783 w 2048"/>
              <a:gd name="T49" fmla="*/ 1654 h 1654"/>
              <a:gd name="T50" fmla="*/ 2048 w 2048"/>
              <a:gd name="T51" fmla="*/ 1074 h 1654"/>
              <a:gd name="T52" fmla="*/ 1332 w 2048"/>
              <a:gd name="T53" fmla="*/ 863 h 1654"/>
              <a:gd name="T54" fmla="*/ 1187 w 2048"/>
              <a:gd name="T55" fmla="*/ 1092 h 1654"/>
              <a:gd name="T56" fmla="*/ 1031 w 2048"/>
              <a:gd name="T57" fmla="*/ 1247 h 1654"/>
              <a:gd name="T58" fmla="*/ 1031 w 2048"/>
              <a:gd name="T59" fmla="*/ 936 h 1654"/>
              <a:gd name="T60" fmla="*/ 1186 w 2048"/>
              <a:gd name="T61" fmla="*/ 747 h 1654"/>
              <a:gd name="T62" fmla="*/ 1332 w 2048"/>
              <a:gd name="T63" fmla="*/ 863 h 16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048" h="1654">
                <a:moveTo>
                  <a:pt x="1955" y="1074"/>
                </a:moveTo>
                <a:cubicBezTo>
                  <a:pt x="1861" y="1074"/>
                  <a:pt x="1861" y="1074"/>
                  <a:pt x="1861" y="1074"/>
                </a:cubicBezTo>
                <a:cubicBezTo>
                  <a:pt x="1677" y="1074"/>
                  <a:pt x="1677" y="1074"/>
                  <a:pt x="1677" y="1074"/>
                </a:cubicBezTo>
                <a:cubicBezTo>
                  <a:pt x="1626" y="1074"/>
                  <a:pt x="1584" y="1032"/>
                  <a:pt x="1584" y="981"/>
                </a:cubicBezTo>
                <a:cubicBezTo>
                  <a:pt x="1584" y="929"/>
                  <a:pt x="1626" y="887"/>
                  <a:pt x="1677" y="887"/>
                </a:cubicBezTo>
                <a:cubicBezTo>
                  <a:pt x="1852" y="887"/>
                  <a:pt x="1852" y="887"/>
                  <a:pt x="1852" y="887"/>
                </a:cubicBezTo>
                <a:cubicBezTo>
                  <a:pt x="1947" y="887"/>
                  <a:pt x="1947" y="887"/>
                  <a:pt x="1947" y="887"/>
                </a:cubicBezTo>
                <a:cubicBezTo>
                  <a:pt x="2041" y="887"/>
                  <a:pt x="2041" y="887"/>
                  <a:pt x="2041" y="887"/>
                </a:cubicBezTo>
                <a:cubicBezTo>
                  <a:pt x="2014" y="681"/>
                  <a:pt x="1925" y="493"/>
                  <a:pt x="1793" y="344"/>
                </a:cubicBezTo>
                <a:cubicBezTo>
                  <a:pt x="1727" y="410"/>
                  <a:pt x="1727" y="410"/>
                  <a:pt x="1727" y="410"/>
                </a:cubicBezTo>
                <a:cubicBezTo>
                  <a:pt x="1661" y="476"/>
                  <a:pt x="1661" y="476"/>
                  <a:pt x="1661" y="476"/>
                </a:cubicBezTo>
                <a:cubicBezTo>
                  <a:pt x="1552" y="585"/>
                  <a:pt x="1552" y="585"/>
                  <a:pt x="1552" y="585"/>
                </a:cubicBezTo>
                <a:cubicBezTo>
                  <a:pt x="1534" y="603"/>
                  <a:pt x="1510" y="612"/>
                  <a:pt x="1486" y="612"/>
                </a:cubicBezTo>
                <a:cubicBezTo>
                  <a:pt x="1462" y="612"/>
                  <a:pt x="1438" y="603"/>
                  <a:pt x="1420" y="585"/>
                </a:cubicBezTo>
                <a:cubicBezTo>
                  <a:pt x="1384" y="549"/>
                  <a:pt x="1384" y="490"/>
                  <a:pt x="1420" y="453"/>
                </a:cubicBezTo>
                <a:cubicBezTo>
                  <a:pt x="1525" y="349"/>
                  <a:pt x="1525" y="349"/>
                  <a:pt x="1525" y="349"/>
                </a:cubicBezTo>
                <a:cubicBezTo>
                  <a:pt x="1591" y="282"/>
                  <a:pt x="1591" y="282"/>
                  <a:pt x="1591" y="282"/>
                </a:cubicBezTo>
                <a:cubicBezTo>
                  <a:pt x="1658" y="216"/>
                  <a:pt x="1658" y="216"/>
                  <a:pt x="1658" y="216"/>
                </a:cubicBezTo>
                <a:cubicBezTo>
                  <a:pt x="1506" y="96"/>
                  <a:pt x="1320" y="19"/>
                  <a:pt x="1118" y="0"/>
                </a:cubicBezTo>
                <a:cubicBezTo>
                  <a:pt x="1118" y="94"/>
                  <a:pt x="1118" y="94"/>
                  <a:pt x="1118" y="94"/>
                </a:cubicBezTo>
                <a:cubicBezTo>
                  <a:pt x="1118" y="188"/>
                  <a:pt x="1118" y="188"/>
                  <a:pt x="1118" y="188"/>
                </a:cubicBezTo>
                <a:cubicBezTo>
                  <a:pt x="1118" y="328"/>
                  <a:pt x="1118" y="328"/>
                  <a:pt x="1118" y="328"/>
                </a:cubicBezTo>
                <a:cubicBezTo>
                  <a:pt x="1118" y="379"/>
                  <a:pt x="1077" y="421"/>
                  <a:pt x="1025" y="421"/>
                </a:cubicBezTo>
                <a:cubicBezTo>
                  <a:pt x="1025" y="421"/>
                  <a:pt x="1025" y="421"/>
                  <a:pt x="1025" y="421"/>
                </a:cubicBezTo>
                <a:cubicBezTo>
                  <a:pt x="974" y="421"/>
                  <a:pt x="932" y="379"/>
                  <a:pt x="932" y="328"/>
                </a:cubicBezTo>
                <a:cubicBezTo>
                  <a:pt x="932" y="188"/>
                  <a:pt x="932" y="188"/>
                  <a:pt x="932" y="188"/>
                </a:cubicBezTo>
                <a:cubicBezTo>
                  <a:pt x="931" y="94"/>
                  <a:pt x="931" y="94"/>
                  <a:pt x="931" y="94"/>
                </a:cubicBezTo>
                <a:cubicBezTo>
                  <a:pt x="931" y="0"/>
                  <a:pt x="931" y="0"/>
                  <a:pt x="931" y="0"/>
                </a:cubicBezTo>
                <a:cubicBezTo>
                  <a:pt x="728" y="18"/>
                  <a:pt x="543" y="96"/>
                  <a:pt x="391" y="215"/>
                </a:cubicBezTo>
                <a:cubicBezTo>
                  <a:pt x="457" y="281"/>
                  <a:pt x="457" y="281"/>
                  <a:pt x="457" y="281"/>
                </a:cubicBezTo>
                <a:cubicBezTo>
                  <a:pt x="524" y="348"/>
                  <a:pt x="524" y="348"/>
                  <a:pt x="524" y="348"/>
                </a:cubicBezTo>
                <a:cubicBezTo>
                  <a:pt x="629" y="453"/>
                  <a:pt x="629" y="453"/>
                  <a:pt x="629" y="453"/>
                </a:cubicBezTo>
                <a:cubicBezTo>
                  <a:pt x="665" y="489"/>
                  <a:pt x="665" y="549"/>
                  <a:pt x="629" y="585"/>
                </a:cubicBezTo>
                <a:cubicBezTo>
                  <a:pt x="611" y="603"/>
                  <a:pt x="587" y="612"/>
                  <a:pt x="563" y="612"/>
                </a:cubicBezTo>
                <a:cubicBezTo>
                  <a:pt x="539" y="612"/>
                  <a:pt x="515" y="603"/>
                  <a:pt x="497" y="585"/>
                </a:cubicBezTo>
                <a:cubicBezTo>
                  <a:pt x="388" y="475"/>
                  <a:pt x="388" y="475"/>
                  <a:pt x="388" y="475"/>
                </a:cubicBezTo>
                <a:cubicBezTo>
                  <a:pt x="321" y="409"/>
                  <a:pt x="321" y="409"/>
                  <a:pt x="321" y="409"/>
                </a:cubicBezTo>
                <a:cubicBezTo>
                  <a:pt x="255" y="343"/>
                  <a:pt x="255" y="343"/>
                  <a:pt x="255" y="343"/>
                </a:cubicBezTo>
                <a:cubicBezTo>
                  <a:pt x="124" y="493"/>
                  <a:pt x="35" y="680"/>
                  <a:pt x="7" y="887"/>
                </a:cubicBezTo>
                <a:cubicBezTo>
                  <a:pt x="101" y="887"/>
                  <a:pt x="101" y="887"/>
                  <a:pt x="101" y="887"/>
                </a:cubicBezTo>
                <a:cubicBezTo>
                  <a:pt x="196" y="887"/>
                  <a:pt x="196" y="887"/>
                  <a:pt x="196" y="887"/>
                </a:cubicBezTo>
                <a:cubicBezTo>
                  <a:pt x="372" y="887"/>
                  <a:pt x="372" y="887"/>
                  <a:pt x="372" y="887"/>
                </a:cubicBezTo>
                <a:cubicBezTo>
                  <a:pt x="423" y="887"/>
                  <a:pt x="465" y="929"/>
                  <a:pt x="465" y="981"/>
                </a:cubicBezTo>
                <a:cubicBezTo>
                  <a:pt x="465" y="1032"/>
                  <a:pt x="423" y="1074"/>
                  <a:pt x="372" y="1074"/>
                </a:cubicBezTo>
                <a:cubicBezTo>
                  <a:pt x="187" y="1074"/>
                  <a:pt x="187" y="1074"/>
                  <a:pt x="187" y="1074"/>
                </a:cubicBezTo>
                <a:cubicBezTo>
                  <a:pt x="93" y="1074"/>
                  <a:pt x="93" y="1074"/>
                  <a:pt x="93" y="1074"/>
                </a:cubicBezTo>
                <a:cubicBezTo>
                  <a:pt x="0" y="1074"/>
                  <a:pt x="0" y="1074"/>
                  <a:pt x="0" y="1074"/>
                </a:cubicBezTo>
                <a:cubicBezTo>
                  <a:pt x="10" y="1268"/>
                  <a:pt x="75" y="1454"/>
                  <a:pt x="189" y="1615"/>
                </a:cubicBezTo>
                <a:cubicBezTo>
                  <a:pt x="206" y="1639"/>
                  <a:pt x="234" y="1654"/>
                  <a:pt x="265" y="1654"/>
                </a:cubicBezTo>
                <a:cubicBezTo>
                  <a:pt x="1783" y="1654"/>
                  <a:pt x="1783" y="1654"/>
                  <a:pt x="1783" y="1654"/>
                </a:cubicBezTo>
                <a:cubicBezTo>
                  <a:pt x="1814" y="1654"/>
                  <a:pt x="1842" y="1639"/>
                  <a:pt x="1859" y="1615"/>
                </a:cubicBezTo>
                <a:cubicBezTo>
                  <a:pt x="1973" y="1454"/>
                  <a:pt x="2038" y="1268"/>
                  <a:pt x="2048" y="1074"/>
                </a:cubicBezTo>
                <a:cubicBezTo>
                  <a:pt x="1955" y="1074"/>
                  <a:pt x="1955" y="1074"/>
                  <a:pt x="1955" y="1074"/>
                </a:cubicBezTo>
                <a:close/>
                <a:moveTo>
                  <a:pt x="1332" y="863"/>
                </a:moveTo>
                <a:cubicBezTo>
                  <a:pt x="1182" y="1052"/>
                  <a:pt x="1182" y="1052"/>
                  <a:pt x="1182" y="1052"/>
                </a:cubicBezTo>
                <a:cubicBezTo>
                  <a:pt x="1185" y="1065"/>
                  <a:pt x="1187" y="1078"/>
                  <a:pt x="1187" y="1092"/>
                </a:cubicBezTo>
                <a:cubicBezTo>
                  <a:pt x="1187" y="1133"/>
                  <a:pt x="1171" y="1172"/>
                  <a:pt x="1141" y="1202"/>
                </a:cubicBezTo>
                <a:cubicBezTo>
                  <a:pt x="1112" y="1231"/>
                  <a:pt x="1073" y="1247"/>
                  <a:pt x="1031" y="1247"/>
                </a:cubicBezTo>
                <a:cubicBezTo>
                  <a:pt x="946" y="1247"/>
                  <a:pt x="876" y="1177"/>
                  <a:pt x="876" y="1092"/>
                </a:cubicBezTo>
                <a:cubicBezTo>
                  <a:pt x="876" y="1006"/>
                  <a:pt x="946" y="936"/>
                  <a:pt x="1031" y="936"/>
                </a:cubicBezTo>
                <a:cubicBezTo>
                  <a:pt x="1033" y="936"/>
                  <a:pt x="1034" y="936"/>
                  <a:pt x="1036" y="937"/>
                </a:cubicBezTo>
                <a:cubicBezTo>
                  <a:pt x="1186" y="747"/>
                  <a:pt x="1186" y="747"/>
                  <a:pt x="1186" y="747"/>
                </a:cubicBezTo>
                <a:cubicBezTo>
                  <a:pt x="1218" y="707"/>
                  <a:pt x="1277" y="700"/>
                  <a:pt x="1317" y="732"/>
                </a:cubicBezTo>
                <a:cubicBezTo>
                  <a:pt x="1357" y="764"/>
                  <a:pt x="1364" y="823"/>
                  <a:pt x="1332" y="863"/>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grpSp>
        <p:nvGrpSpPr>
          <p:cNvPr id="16" name="Group 40">
            <a:extLst>
              <a:ext uri="{FF2B5EF4-FFF2-40B4-BE49-F238E27FC236}">
                <a16:creationId xmlns:a16="http://schemas.microsoft.com/office/drawing/2014/main" id="{52C30BAB-EB49-4AD4-AB94-6EDEC35ECC67}"/>
              </a:ext>
            </a:extLst>
          </p:cNvPr>
          <p:cNvGrpSpPr/>
          <p:nvPr/>
        </p:nvGrpSpPr>
        <p:grpSpPr>
          <a:xfrm>
            <a:off x="5532881" y="2298093"/>
            <a:ext cx="811306" cy="498104"/>
            <a:chOff x="6411913" y="1622425"/>
            <a:chExt cx="1023937" cy="628651"/>
          </a:xfrm>
          <a:solidFill>
            <a:srgbClr val="FFFFFF"/>
          </a:solidFill>
        </p:grpSpPr>
        <p:sp>
          <p:nvSpPr>
            <p:cNvPr id="17" name="Freeform 21">
              <a:extLst>
                <a:ext uri="{FF2B5EF4-FFF2-40B4-BE49-F238E27FC236}">
                  <a16:creationId xmlns:a16="http://schemas.microsoft.com/office/drawing/2014/main" id="{80983740-B988-4A6F-8E46-F026711E8AE0}"/>
                </a:ext>
              </a:extLst>
            </p:cNvPr>
            <p:cNvSpPr>
              <a:spLocks/>
            </p:cNvSpPr>
            <p:nvPr/>
          </p:nvSpPr>
          <p:spPr bwMode="auto">
            <a:xfrm>
              <a:off x="6648450" y="2005013"/>
              <a:ext cx="550862" cy="246063"/>
            </a:xfrm>
            <a:custGeom>
              <a:avLst/>
              <a:gdLst>
                <a:gd name="T0" fmla="*/ 622 w 1100"/>
                <a:gd name="T1" fmla="*/ 159 h 493"/>
                <a:gd name="T2" fmla="*/ 550 w 1100"/>
                <a:gd name="T3" fmla="*/ 171 h 493"/>
                <a:gd name="T4" fmla="*/ 478 w 1100"/>
                <a:gd name="T5" fmla="*/ 159 h 493"/>
                <a:gd name="T6" fmla="*/ 0 w 1100"/>
                <a:gd name="T7" fmla="*/ 0 h 493"/>
                <a:gd name="T8" fmla="*/ 0 w 1100"/>
                <a:gd name="T9" fmla="*/ 259 h 493"/>
                <a:gd name="T10" fmla="*/ 52 w 1100"/>
                <a:gd name="T11" fmla="*/ 331 h 493"/>
                <a:gd name="T12" fmla="*/ 526 w 1100"/>
                <a:gd name="T13" fmla="*/ 489 h 493"/>
                <a:gd name="T14" fmla="*/ 550 w 1100"/>
                <a:gd name="T15" fmla="*/ 493 h 493"/>
                <a:gd name="T16" fmla="*/ 574 w 1100"/>
                <a:gd name="T17" fmla="*/ 489 h 493"/>
                <a:gd name="T18" fmla="*/ 1048 w 1100"/>
                <a:gd name="T19" fmla="*/ 331 h 493"/>
                <a:gd name="T20" fmla="*/ 1100 w 1100"/>
                <a:gd name="T21" fmla="*/ 259 h 493"/>
                <a:gd name="T22" fmla="*/ 1100 w 1100"/>
                <a:gd name="T23" fmla="*/ 0 h 493"/>
                <a:gd name="T24" fmla="*/ 622 w 1100"/>
                <a:gd name="T25" fmla="*/ 159 h 4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00" h="493">
                  <a:moveTo>
                    <a:pt x="622" y="159"/>
                  </a:moveTo>
                  <a:cubicBezTo>
                    <a:pt x="599" y="167"/>
                    <a:pt x="575" y="171"/>
                    <a:pt x="550" y="171"/>
                  </a:cubicBezTo>
                  <a:cubicBezTo>
                    <a:pt x="525" y="171"/>
                    <a:pt x="501" y="167"/>
                    <a:pt x="478" y="159"/>
                  </a:cubicBezTo>
                  <a:cubicBezTo>
                    <a:pt x="0" y="0"/>
                    <a:pt x="0" y="0"/>
                    <a:pt x="0" y="0"/>
                  </a:cubicBezTo>
                  <a:cubicBezTo>
                    <a:pt x="0" y="259"/>
                    <a:pt x="0" y="259"/>
                    <a:pt x="0" y="259"/>
                  </a:cubicBezTo>
                  <a:cubicBezTo>
                    <a:pt x="0" y="292"/>
                    <a:pt x="21" y="321"/>
                    <a:pt x="52" y="331"/>
                  </a:cubicBezTo>
                  <a:cubicBezTo>
                    <a:pt x="526" y="489"/>
                    <a:pt x="526" y="489"/>
                    <a:pt x="526" y="489"/>
                  </a:cubicBezTo>
                  <a:cubicBezTo>
                    <a:pt x="534" y="492"/>
                    <a:pt x="542" y="493"/>
                    <a:pt x="550" y="493"/>
                  </a:cubicBezTo>
                  <a:cubicBezTo>
                    <a:pt x="558" y="493"/>
                    <a:pt x="566" y="492"/>
                    <a:pt x="574" y="489"/>
                  </a:cubicBezTo>
                  <a:cubicBezTo>
                    <a:pt x="1048" y="331"/>
                    <a:pt x="1048" y="331"/>
                    <a:pt x="1048" y="331"/>
                  </a:cubicBezTo>
                  <a:cubicBezTo>
                    <a:pt x="1079" y="321"/>
                    <a:pt x="1100" y="292"/>
                    <a:pt x="1100" y="259"/>
                  </a:cubicBezTo>
                  <a:cubicBezTo>
                    <a:pt x="1100" y="0"/>
                    <a:pt x="1100" y="0"/>
                    <a:pt x="1100" y="0"/>
                  </a:cubicBezTo>
                  <a:lnTo>
                    <a:pt x="622" y="1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sp>
          <p:nvSpPr>
            <p:cNvPr id="18" name="Freeform 22">
              <a:extLst>
                <a:ext uri="{FF2B5EF4-FFF2-40B4-BE49-F238E27FC236}">
                  <a16:creationId xmlns:a16="http://schemas.microsoft.com/office/drawing/2014/main" id="{9B359577-F941-4ED7-B45B-A68F8FE34DD8}"/>
                </a:ext>
              </a:extLst>
            </p:cNvPr>
            <p:cNvSpPr>
              <a:spLocks/>
            </p:cNvSpPr>
            <p:nvPr/>
          </p:nvSpPr>
          <p:spPr bwMode="auto">
            <a:xfrm>
              <a:off x="6411913" y="1622425"/>
              <a:ext cx="1023937" cy="457200"/>
            </a:xfrm>
            <a:custGeom>
              <a:avLst/>
              <a:gdLst>
                <a:gd name="T0" fmla="*/ 1996 w 2048"/>
                <a:gd name="T1" fmla="*/ 320 h 915"/>
                <a:gd name="T2" fmla="*/ 1048 w 2048"/>
                <a:gd name="T3" fmla="*/ 4 h 915"/>
                <a:gd name="T4" fmla="*/ 1024 w 2048"/>
                <a:gd name="T5" fmla="*/ 0 h 915"/>
                <a:gd name="T6" fmla="*/ 1000 w 2048"/>
                <a:gd name="T7" fmla="*/ 4 h 915"/>
                <a:gd name="T8" fmla="*/ 52 w 2048"/>
                <a:gd name="T9" fmla="*/ 320 h 915"/>
                <a:gd name="T10" fmla="*/ 0 w 2048"/>
                <a:gd name="T11" fmla="*/ 392 h 915"/>
                <a:gd name="T12" fmla="*/ 52 w 2048"/>
                <a:gd name="T13" fmla="*/ 464 h 915"/>
                <a:gd name="T14" fmla="*/ 474 w 2048"/>
                <a:gd name="T15" fmla="*/ 605 h 915"/>
                <a:gd name="T16" fmla="*/ 1000 w 2048"/>
                <a:gd name="T17" fmla="*/ 780 h 915"/>
                <a:gd name="T18" fmla="*/ 1024 w 2048"/>
                <a:gd name="T19" fmla="*/ 784 h 915"/>
                <a:gd name="T20" fmla="*/ 1048 w 2048"/>
                <a:gd name="T21" fmla="*/ 780 h 915"/>
                <a:gd name="T22" fmla="*/ 1574 w 2048"/>
                <a:gd name="T23" fmla="*/ 605 h 915"/>
                <a:gd name="T24" fmla="*/ 1896 w 2048"/>
                <a:gd name="T25" fmla="*/ 497 h 915"/>
                <a:gd name="T26" fmla="*/ 1896 w 2048"/>
                <a:gd name="T27" fmla="*/ 840 h 915"/>
                <a:gd name="T28" fmla="*/ 1972 w 2048"/>
                <a:gd name="T29" fmla="*/ 915 h 915"/>
                <a:gd name="T30" fmla="*/ 2048 w 2048"/>
                <a:gd name="T31" fmla="*/ 840 h 915"/>
                <a:gd name="T32" fmla="*/ 2048 w 2048"/>
                <a:gd name="T33" fmla="*/ 392 h 915"/>
                <a:gd name="T34" fmla="*/ 1996 w 2048"/>
                <a:gd name="T35" fmla="*/ 320 h 9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48" h="915">
                  <a:moveTo>
                    <a:pt x="1996" y="320"/>
                  </a:moveTo>
                  <a:cubicBezTo>
                    <a:pt x="1048" y="4"/>
                    <a:pt x="1048" y="4"/>
                    <a:pt x="1048" y="4"/>
                  </a:cubicBezTo>
                  <a:cubicBezTo>
                    <a:pt x="1040" y="1"/>
                    <a:pt x="1032" y="0"/>
                    <a:pt x="1024" y="0"/>
                  </a:cubicBezTo>
                  <a:cubicBezTo>
                    <a:pt x="1016" y="0"/>
                    <a:pt x="1008" y="1"/>
                    <a:pt x="1000" y="4"/>
                  </a:cubicBezTo>
                  <a:cubicBezTo>
                    <a:pt x="52" y="320"/>
                    <a:pt x="52" y="320"/>
                    <a:pt x="52" y="320"/>
                  </a:cubicBezTo>
                  <a:cubicBezTo>
                    <a:pt x="21" y="330"/>
                    <a:pt x="0" y="359"/>
                    <a:pt x="0" y="392"/>
                  </a:cubicBezTo>
                  <a:cubicBezTo>
                    <a:pt x="0" y="425"/>
                    <a:pt x="21" y="454"/>
                    <a:pt x="52" y="464"/>
                  </a:cubicBezTo>
                  <a:cubicBezTo>
                    <a:pt x="474" y="605"/>
                    <a:pt x="474" y="605"/>
                    <a:pt x="474" y="605"/>
                  </a:cubicBezTo>
                  <a:cubicBezTo>
                    <a:pt x="1000" y="780"/>
                    <a:pt x="1000" y="780"/>
                    <a:pt x="1000" y="780"/>
                  </a:cubicBezTo>
                  <a:cubicBezTo>
                    <a:pt x="1008" y="783"/>
                    <a:pt x="1016" y="784"/>
                    <a:pt x="1024" y="784"/>
                  </a:cubicBezTo>
                  <a:cubicBezTo>
                    <a:pt x="1032" y="784"/>
                    <a:pt x="1040" y="783"/>
                    <a:pt x="1048" y="780"/>
                  </a:cubicBezTo>
                  <a:cubicBezTo>
                    <a:pt x="1574" y="605"/>
                    <a:pt x="1574" y="605"/>
                    <a:pt x="1574" y="605"/>
                  </a:cubicBezTo>
                  <a:cubicBezTo>
                    <a:pt x="1896" y="497"/>
                    <a:pt x="1896" y="497"/>
                    <a:pt x="1896" y="497"/>
                  </a:cubicBezTo>
                  <a:cubicBezTo>
                    <a:pt x="1896" y="840"/>
                    <a:pt x="1896" y="840"/>
                    <a:pt x="1896" y="840"/>
                  </a:cubicBezTo>
                  <a:cubicBezTo>
                    <a:pt x="1896" y="881"/>
                    <a:pt x="1930" y="915"/>
                    <a:pt x="1972" y="915"/>
                  </a:cubicBezTo>
                  <a:cubicBezTo>
                    <a:pt x="2014" y="915"/>
                    <a:pt x="2048" y="881"/>
                    <a:pt x="2048" y="840"/>
                  </a:cubicBezTo>
                  <a:cubicBezTo>
                    <a:pt x="2048" y="392"/>
                    <a:pt x="2048" y="392"/>
                    <a:pt x="2048" y="392"/>
                  </a:cubicBezTo>
                  <a:cubicBezTo>
                    <a:pt x="2048" y="359"/>
                    <a:pt x="2027" y="330"/>
                    <a:pt x="1996" y="3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grpSp>
      <p:sp>
        <p:nvSpPr>
          <p:cNvPr id="19" name="Freeform 11">
            <a:extLst>
              <a:ext uri="{FF2B5EF4-FFF2-40B4-BE49-F238E27FC236}">
                <a16:creationId xmlns:a16="http://schemas.microsoft.com/office/drawing/2014/main" id="{ADC6F4D0-4BA2-48F5-9A60-FB91FAFE6939}"/>
              </a:ext>
            </a:extLst>
          </p:cNvPr>
          <p:cNvSpPr>
            <a:spLocks noEditPoints="1"/>
          </p:cNvSpPr>
          <p:nvPr/>
        </p:nvSpPr>
        <p:spPr bwMode="auto">
          <a:xfrm>
            <a:off x="5803156" y="4604717"/>
            <a:ext cx="585688" cy="602606"/>
          </a:xfrm>
          <a:custGeom>
            <a:avLst/>
            <a:gdLst>
              <a:gd name="T0" fmla="*/ 1807 w 1915"/>
              <a:gd name="T1" fmla="*/ 895 h 1972"/>
              <a:gd name="T2" fmla="*/ 1776 w 1915"/>
              <a:gd name="T3" fmla="*/ 587 h 1972"/>
              <a:gd name="T4" fmla="*/ 1591 w 1915"/>
              <a:gd name="T5" fmla="*/ 413 h 1972"/>
              <a:gd name="T6" fmla="*/ 1385 w 1915"/>
              <a:gd name="T7" fmla="*/ 182 h 1972"/>
              <a:gd name="T8" fmla="*/ 1133 w 1915"/>
              <a:gd name="T9" fmla="*/ 150 h 1972"/>
              <a:gd name="T10" fmla="*/ 830 w 1915"/>
              <a:gd name="T11" fmla="*/ 84 h 1972"/>
              <a:gd name="T12" fmla="*/ 608 w 1915"/>
              <a:gd name="T13" fmla="*/ 206 h 1972"/>
              <a:gd name="T14" fmla="*/ 325 w 1915"/>
              <a:gd name="T15" fmla="*/ 330 h 1972"/>
              <a:gd name="T16" fmla="*/ 217 w 1915"/>
              <a:gd name="T17" fmla="*/ 560 h 1972"/>
              <a:gd name="T18" fmla="*/ 60 w 1915"/>
              <a:gd name="T19" fmla="*/ 827 h 1972"/>
              <a:gd name="T20" fmla="*/ 108 w 1915"/>
              <a:gd name="T21" fmla="*/ 1077 h 1972"/>
              <a:gd name="T22" fmla="*/ 138 w 1915"/>
              <a:gd name="T23" fmla="*/ 1385 h 1972"/>
              <a:gd name="T24" fmla="*/ 323 w 1915"/>
              <a:gd name="T25" fmla="*/ 1559 h 1972"/>
              <a:gd name="T26" fmla="*/ 529 w 1915"/>
              <a:gd name="T27" fmla="*/ 1790 h 1972"/>
              <a:gd name="T28" fmla="*/ 781 w 1915"/>
              <a:gd name="T29" fmla="*/ 1822 h 1972"/>
              <a:gd name="T30" fmla="*/ 1084 w 1915"/>
              <a:gd name="T31" fmla="*/ 1888 h 1972"/>
              <a:gd name="T32" fmla="*/ 1306 w 1915"/>
              <a:gd name="T33" fmla="*/ 1766 h 1972"/>
              <a:gd name="T34" fmla="*/ 1589 w 1915"/>
              <a:gd name="T35" fmla="*/ 1642 h 1972"/>
              <a:gd name="T36" fmla="*/ 1697 w 1915"/>
              <a:gd name="T37" fmla="*/ 1412 h 1972"/>
              <a:gd name="T38" fmla="*/ 1854 w 1915"/>
              <a:gd name="T39" fmla="*/ 1145 h 1972"/>
              <a:gd name="T40" fmla="*/ 1163 w 1915"/>
              <a:gd name="T41" fmla="*/ 1269 h 1972"/>
              <a:gd name="T42" fmla="*/ 1014 w 1915"/>
              <a:gd name="T43" fmla="*/ 1384 h 1972"/>
              <a:gd name="T44" fmla="*/ 986 w 1915"/>
              <a:gd name="T45" fmla="*/ 1477 h 1972"/>
              <a:gd name="T46" fmla="*/ 888 w 1915"/>
              <a:gd name="T47" fmla="*/ 1446 h 1972"/>
              <a:gd name="T48" fmla="*/ 853 w 1915"/>
              <a:gd name="T49" fmla="*/ 1358 h 1972"/>
              <a:gd name="T50" fmla="*/ 707 w 1915"/>
              <a:gd name="T51" fmla="*/ 1270 h 1972"/>
              <a:gd name="T52" fmla="*/ 768 w 1915"/>
              <a:gd name="T53" fmla="*/ 1182 h 1972"/>
              <a:gd name="T54" fmla="*/ 992 w 1915"/>
              <a:gd name="T55" fmla="*/ 1210 h 1972"/>
              <a:gd name="T56" fmla="*/ 958 w 1915"/>
              <a:gd name="T57" fmla="*/ 1060 h 1972"/>
              <a:gd name="T58" fmla="*/ 709 w 1915"/>
              <a:gd name="T59" fmla="*/ 811 h 1972"/>
              <a:gd name="T60" fmla="*/ 897 w 1915"/>
              <a:gd name="T61" fmla="*/ 569 h 1972"/>
              <a:gd name="T62" fmla="*/ 931 w 1915"/>
              <a:gd name="T63" fmla="*/ 495 h 1972"/>
              <a:gd name="T64" fmla="*/ 1020 w 1915"/>
              <a:gd name="T65" fmla="*/ 556 h 1972"/>
              <a:gd name="T66" fmla="*/ 1159 w 1915"/>
              <a:gd name="T67" fmla="*/ 635 h 1972"/>
              <a:gd name="T68" fmla="*/ 1154 w 1915"/>
              <a:gd name="T69" fmla="*/ 752 h 1972"/>
              <a:gd name="T70" fmla="*/ 962 w 1915"/>
              <a:gd name="T71" fmla="*/ 739 h 1972"/>
              <a:gd name="T72" fmla="*/ 907 w 1915"/>
              <a:gd name="T73" fmla="*/ 849 h 1972"/>
              <a:gd name="T74" fmla="*/ 1094 w 1915"/>
              <a:gd name="T75" fmla="*/ 941 h 19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915" h="1972">
                <a:moveTo>
                  <a:pt x="1807" y="1077"/>
                </a:moveTo>
                <a:cubicBezTo>
                  <a:pt x="1768" y="1022"/>
                  <a:pt x="1768" y="950"/>
                  <a:pt x="1807" y="895"/>
                </a:cubicBezTo>
                <a:cubicBezTo>
                  <a:pt x="1854" y="827"/>
                  <a:pt x="1854" y="827"/>
                  <a:pt x="1854" y="827"/>
                </a:cubicBezTo>
                <a:cubicBezTo>
                  <a:pt x="1915" y="741"/>
                  <a:pt x="1876" y="621"/>
                  <a:pt x="1776" y="587"/>
                </a:cubicBezTo>
                <a:cubicBezTo>
                  <a:pt x="1698" y="560"/>
                  <a:pt x="1698" y="560"/>
                  <a:pt x="1698" y="560"/>
                </a:cubicBezTo>
                <a:cubicBezTo>
                  <a:pt x="1635" y="538"/>
                  <a:pt x="1592" y="480"/>
                  <a:pt x="1591" y="413"/>
                </a:cubicBezTo>
                <a:cubicBezTo>
                  <a:pt x="1590" y="330"/>
                  <a:pt x="1590" y="330"/>
                  <a:pt x="1590" y="330"/>
                </a:cubicBezTo>
                <a:cubicBezTo>
                  <a:pt x="1588" y="225"/>
                  <a:pt x="1486" y="151"/>
                  <a:pt x="1385" y="182"/>
                </a:cubicBezTo>
                <a:cubicBezTo>
                  <a:pt x="1306" y="206"/>
                  <a:pt x="1306" y="206"/>
                  <a:pt x="1306" y="206"/>
                </a:cubicBezTo>
                <a:cubicBezTo>
                  <a:pt x="1242" y="226"/>
                  <a:pt x="1173" y="203"/>
                  <a:pt x="1133" y="150"/>
                </a:cubicBezTo>
                <a:cubicBezTo>
                  <a:pt x="1083" y="84"/>
                  <a:pt x="1083" y="84"/>
                  <a:pt x="1083" y="84"/>
                </a:cubicBezTo>
                <a:cubicBezTo>
                  <a:pt x="1020" y="0"/>
                  <a:pt x="893" y="0"/>
                  <a:pt x="830" y="84"/>
                </a:cubicBezTo>
                <a:cubicBezTo>
                  <a:pt x="781" y="150"/>
                  <a:pt x="781" y="150"/>
                  <a:pt x="781" y="150"/>
                </a:cubicBezTo>
                <a:cubicBezTo>
                  <a:pt x="741" y="203"/>
                  <a:pt x="672" y="226"/>
                  <a:pt x="608" y="206"/>
                </a:cubicBezTo>
                <a:cubicBezTo>
                  <a:pt x="529" y="182"/>
                  <a:pt x="529" y="182"/>
                  <a:pt x="529" y="182"/>
                </a:cubicBezTo>
                <a:cubicBezTo>
                  <a:pt x="429" y="151"/>
                  <a:pt x="326" y="225"/>
                  <a:pt x="325" y="330"/>
                </a:cubicBezTo>
                <a:cubicBezTo>
                  <a:pt x="323" y="413"/>
                  <a:pt x="323" y="413"/>
                  <a:pt x="323" y="413"/>
                </a:cubicBezTo>
                <a:cubicBezTo>
                  <a:pt x="322" y="480"/>
                  <a:pt x="280" y="538"/>
                  <a:pt x="217" y="560"/>
                </a:cubicBezTo>
                <a:cubicBezTo>
                  <a:pt x="138" y="587"/>
                  <a:pt x="138" y="587"/>
                  <a:pt x="138" y="587"/>
                </a:cubicBezTo>
                <a:cubicBezTo>
                  <a:pt x="39" y="621"/>
                  <a:pt x="0" y="741"/>
                  <a:pt x="60" y="827"/>
                </a:cubicBezTo>
                <a:cubicBezTo>
                  <a:pt x="108" y="895"/>
                  <a:pt x="108" y="895"/>
                  <a:pt x="108" y="895"/>
                </a:cubicBezTo>
                <a:cubicBezTo>
                  <a:pt x="146" y="950"/>
                  <a:pt x="146" y="1022"/>
                  <a:pt x="108" y="1077"/>
                </a:cubicBezTo>
                <a:cubicBezTo>
                  <a:pt x="60" y="1145"/>
                  <a:pt x="60" y="1145"/>
                  <a:pt x="60" y="1145"/>
                </a:cubicBezTo>
                <a:cubicBezTo>
                  <a:pt x="0" y="1231"/>
                  <a:pt x="39" y="1351"/>
                  <a:pt x="138" y="1385"/>
                </a:cubicBezTo>
                <a:cubicBezTo>
                  <a:pt x="217" y="1412"/>
                  <a:pt x="217" y="1412"/>
                  <a:pt x="217" y="1412"/>
                </a:cubicBezTo>
                <a:cubicBezTo>
                  <a:pt x="279" y="1434"/>
                  <a:pt x="322" y="1492"/>
                  <a:pt x="323" y="1559"/>
                </a:cubicBezTo>
                <a:cubicBezTo>
                  <a:pt x="325" y="1642"/>
                  <a:pt x="325" y="1642"/>
                  <a:pt x="325" y="1642"/>
                </a:cubicBezTo>
                <a:cubicBezTo>
                  <a:pt x="326" y="1747"/>
                  <a:pt x="429" y="1821"/>
                  <a:pt x="529" y="1790"/>
                </a:cubicBezTo>
                <a:cubicBezTo>
                  <a:pt x="608" y="1766"/>
                  <a:pt x="608" y="1766"/>
                  <a:pt x="608" y="1766"/>
                </a:cubicBezTo>
                <a:cubicBezTo>
                  <a:pt x="672" y="1746"/>
                  <a:pt x="741" y="1768"/>
                  <a:pt x="781" y="1822"/>
                </a:cubicBezTo>
                <a:cubicBezTo>
                  <a:pt x="831" y="1888"/>
                  <a:pt x="831" y="1888"/>
                  <a:pt x="831" y="1888"/>
                </a:cubicBezTo>
                <a:cubicBezTo>
                  <a:pt x="894" y="1972"/>
                  <a:pt x="1021" y="1972"/>
                  <a:pt x="1084" y="1888"/>
                </a:cubicBezTo>
                <a:cubicBezTo>
                  <a:pt x="1133" y="1822"/>
                  <a:pt x="1133" y="1822"/>
                  <a:pt x="1133" y="1822"/>
                </a:cubicBezTo>
                <a:cubicBezTo>
                  <a:pt x="1173" y="1769"/>
                  <a:pt x="1242" y="1746"/>
                  <a:pt x="1306" y="1766"/>
                </a:cubicBezTo>
                <a:cubicBezTo>
                  <a:pt x="1385" y="1790"/>
                  <a:pt x="1385" y="1790"/>
                  <a:pt x="1385" y="1790"/>
                </a:cubicBezTo>
                <a:cubicBezTo>
                  <a:pt x="1485" y="1821"/>
                  <a:pt x="1588" y="1747"/>
                  <a:pt x="1589" y="1642"/>
                </a:cubicBezTo>
                <a:cubicBezTo>
                  <a:pt x="1591" y="1559"/>
                  <a:pt x="1591" y="1559"/>
                  <a:pt x="1591" y="1559"/>
                </a:cubicBezTo>
                <a:cubicBezTo>
                  <a:pt x="1592" y="1492"/>
                  <a:pt x="1634" y="1434"/>
                  <a:pt x="1697" y="1412"/>
                </a:cubicBezTo>
                <a:cubicBezTo>
                  <a:pt x="1776" y="1385"/>
                  <a:pt x="1776" y="1385"/>
                  <a:pt x="1776" y="1385"/>
                </a:cubicBezTo>
                <a:cubicBezTo>
                  <a:pt x="1875" y="1351"/>
                  <a:pt x="1914" y="1231"/>
                  <a:pt x="1854" y="1145"/>
                </a:cubicBezTo>
                <a:lnTo>
                  <a:pt x="1807" y="1077"/>
                </a:lnTo>
                <a:close/>
                <a:moveTo>
                  <a:pt x="1163" y="1269"/>
                </a:moveTo>
                <a:cubicBezTo>
                  <a:pt x="1132" y="1307"/>
                  <a:pt x="1091" y="1332"/>
                  <a:pt x="1043" y="1346"/>
                </a:cubicBezTo>
                <a:cubicBezTo>
                  <a:pt x="1023" y="1351"/>
                  <a:pt x="1013" y="1362"/>
                  <a:pt x="1014" y="1384"/>
                </a:cubicBezTo>
                <a:cubicBezTo>
                  <a:pt x="1015" y="1405"/>
                  <a:pt x="1014" y="1426"/>
                  <a:pt x="1014" y="1447"/>
                </a:cubicBezTo>
                <a:cubicBezTo>
                  <a:pt x="1014" y="1466"/>
                  <a:pt x="1005" y="1476"/>
                  <a:pt x="986" y="1477"/>
                </a:cubicBezTo>
                <a:cubicBezTo>
                  <a:pt x="963" y="1477"/>
                  <a:pt x="940" y="1477"/>
                  <a:pt x="917" y="1477"/>
                </a:cubicBezTo>
                <a:cubicBezTo>
                  <a:pt x="897" y="1476"/>
                  <a:pt x="888" y="1465"/>
                  <a:pt x="888" y="1446"/>
                </a:cubicBezTo>
                <a:cubicBezTo>
                  <a:pt x="888" y="1430"/>
                  <a:pt x="887" y="1415"/>
                  <a:pt x="887" y="1399"/>
                </a:cubicBezTo>
                <a:cubicBezTo>
                  <a:pt x="887" y="1365"/>
                  <a:pt x="886" y="1364"/>
                  <a:pt x="853" y="1358"/>
                </a:cubicBezTo>
                <a:cubicBezTo>
                  <a:pt x="811" y="1352"/>
                  <a:pt x="770" y="1342"/>
                  <a:pt x="731" y="1324"/>
                </a:cubicBezTo>
                <a:cubicBezTo>
                  <a:pt x="701" y="1309"/>
                  <a:pt x="698" y="1301"/>
                  <a:pt x="707" y="1270"/>
                </a:cubicBezTo>
                <a:cubicBezTo>
                  <a:pt x="713" y="1246"/>
                  <a:pt x="719" y="1222"/>
                  <a:pt x="727" y="1199"/>
                </a:cubicBezTo>
                <a:cubicBezTo>
                  <a:pt x="735" y="1172"/>
                  <a:pt x="743" y="1169"/>
                  <a:pt x="768" y="1182"/>
                </a:cubicBezTo>
                <a:cubicBezTo>
                  <a:pt x="810" y="1204"/>
                  <a:pt x="855" y="1216"/>
                  <a:pt x="903" y="1222"/>
                </a:cubicBezTo>
                <a:cubicBezTo>
                  <a:pt x="933" y="1226"/>
                  <a:pt x="963" y="1223"/>
                  <a:pt x="992" y="1210"/>
                </a:cubicBezTo>
                <a:cubicBezTo>
                  <a:pt x="1045" y="1187"/>
                  <a:pt x="1053" y="1126"/>
                  <a:pt x="1008" y="1090"/>
                </a:cubicBezTo>
                <a:cubicBezTo>
                  <a:pt x="993" y="1077"/>
                  <a:pt x="976" y="1068"/>
                  <a:pt x="958" y="1060"/>
                </a:cubicBezTo>
                <a:cubicBezTo>
                  <a:pt x="911" y="1040"/>
                  <a:pt x="863" y="1024"/>
                  <a:pt x="820" y="998"/>
                </a:cubicBezTo>
                <a:cubicBezTo>
                  <a:pt x="749" y="956"/>
                  <a:pt x="704" y="897"/>
                  <a:pt x="709" y="811"/>
                </a:cubicBezTo>
                <a:cubicBezTo>
                  <a:pt x="715" y="714"/>
                  <a:pt x="771" y="653"/>
                  <a:pt x="860" y="620"/>
                </a:cubicBezTo>
                <a:cubicBezTo>
                  <a:pt x="897" y="607"/>
                  <a:pt x="897" y="608"/>
                  <a:pt x="897" y="569"/>
                </a:cubicBezTo>
                <a:cubicBezTo>
                  <a:pt x="897" y="556"/>
                  <a:pt x="897" y="543"/>
                  <a:pt x="897" y="530"/>
                </a:cubicBezTo>
                <a:cubicBezTo>
                  <a:pt x="898" y="500"/>
                  <a:pt x="903" y="496"/>
                  <a:pt x="931" y="495"/>
                </a:cubicBezTo>
                <a:cubicBezTo>
                  <a:pt x="940" y="494"/>
                  <a:pt x="949" y="495"/>
                  <a:pt x="958" y="495"/>
                </a:cubicBezTo>
                <a:cubicBezTo>
                  <a:pt x="1020" y="495"/>
                  <a:pt x="1020" y="495"/>
                  <a:pt x="1020" y="556"/>
                </a:cubicBezTo>
                <a:cubicBezTo>
                  <a:pt x="1020" y="600"/>
                  <a:pt x="1020" y="600"/>
                  <a:pt x="1064" y="607"/>
                </a:cubicBezTo>
                <a:cubicBezTo>
                  <a:pt x="1097" y="612"/>
                  <a:pt x="1129" y="622"/>
                  <a:pt x="1159" y="635"/>
                </a:cubicBezTo>
                <a:cubicBezTo>
                  <a:pt x="1176" y="643"/>
                  <a:pt x="1183" y="654"/>
                  <a:pt x="1177" y="672"/>
                </a:cubicBezTo>
                <a:cubicBezTo>
                  <a:pt x="1170" y="699"/>
                  <a:pt x="1163" y="726"/>
                  <a:pt x="1154" y="752"/>
                </a:cubicBezTo>
                <a:cubicBezTo>
                  <a:pt x="1146" y="777"/>
                  <a:pt x="1138" y="780"/>
                  <a:pt x="1114" y="769"/>
                </a:cubicBezTo>
                <a:cubicBezTo>
                  <a:pt x="1066" y="746"/>
                  <a:pt x="1015" y="736"/>
                  <a:pt x="962" y="739"/>
                </a:cubicBezTo>
                <a:cubicBezTo>
                  <a:pt x="948" y="740"/>
                  <a:pt x="935" y="742"/>
                  <a:pt x="922" y="747"/>
                </a:cubicBezTo>
                <a:cubicBezTo>
                  <a:pt x="876" y="767"/>
                  <a:pt x="869" y="818"/>
                  <a:pt x="907" y="849"/>
                </a:cubicBezTo>
                <a:cubicBezTo>
                  <a:pt x="927" y="865"/>
                  <a:pt x="950" y="876"/>
                  <a:pt x="973" y="886"/>
                </a:cubicBezTo>
                <a:cubicBezTo>
                  <a:pt x="1014" y="903"/>
                  <a:pt x="1055" y="919"/>
                  <a:pt x="1094" y="941"/>
                </a:cubicBezTo>
                <a:cubicBezTo>
                  <a:pt x="1217" y="1009"/>
                  <a:pt x="1250" y="1164"/>
                  <a:pt x="1163" y="1269"/>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grpSp>
        <p:nvGrpSpPr>
          <p:cNvPr id="36" name="组合 35">
            <a:extLst>
              <a:ext uri="{FF2B5EF4-FFF2-40B4-BE49-F238E27FC236}">
                <a16:creationId xmlns:a16="http://schemas.microsoft.com/office/drawing/2014/main" id="{4DA37393-C588-41B0-BA7A-434BD78A0971}"/>
              </a:ext>
            </a:extLst>
          </p:cNvPr>
          <p:cNvGrpSpPr/>
          <p:nvPr/>
        </p:nvGrpSpPr>
        <p:grpSpPr>
          <a:xfrm>
            <a:off x="7420775" y="4491664"/>
            <a:ext cx="2859171" cy="881603"/>
            <a:chOff x="2777088" y="3678059"/>
            <a:chExt cx="2859171" cy="881603"/>
          </a:xfrm>
        </p:grpSpPr>
        <p:sp>
          <p:nvSpPr>
            <p:cNvPr id="37" name="TextBox 65">
              <a:extLst>
                <a:ext uri="{FF2B5EF4-FFF2-40B4-BE49-F238E27FC236}">
                  <a16:creationId xmlns:a16="http://schemas.microsoft.com/office/drawing/2014/main" id="{C2FFF872-C2B2-418D-968F-A541C1D66750}"/>
                </a:ext>
              </a:extLst>
            </p:cNvPr>
            <p:cNvSpPr txBox="1"/>
            <p:nvPr/>
          </p:nvSpPr>
          <p:spPr>
            <a:xfrm flipH="1">
              <a:off x="2777089" y="3678059"/>
              <a:ext cx="2056261" cy="387598"/>
            </a:xfrm>
            <a:prstGeom prst="rect">
              <a:avLst/>
            </a:prstGeom>
            <a:noFill/>
          </p:spPr>
          <p:txBody>
            <a:bodyPr wrap="square" lIns="0" tIns="36000" rIns="0" bIns="36000" rtlCol="0">
              <a:spAutoFit/>
            </a:bodyPr>
            <a:lstStyle/>
            <a:p>
              <a:pPr marL="0" marR="0" lvl="0" indent="0" algn="l" defTabSz="914400" rtl="0" eaLnBrk="1" fontAlgn="auto" latinLnBrk="0" hangingPunct="1">
                <a:lnSpc>
                  <a:spcPct val="120000"/>
                </a:lnSpc>
                <a:spcBef>
                  <a:spcPts val="600"/>
                </a:spcBef>
                <a:spcAft>
                  <a:spcPts val="0"/>
                </a:spcAft>
                <a:buClrTx/>
                <a:buSzTx/>
                <a:buFontTx/>
                <a:buNone/>
                <a:tabLst/>
                <a:defRPr/>
              </a:pPr>
              <a:r>
                <a:rPr kumimoji="0" lang="zh-CN" altLang="en-US" sz="1800" b="0" i="0" u="none" strike="noStrike" kern="1200" cap="none" spc="0" normalizeH="0" baseline="0" noProof="0" dirty="0">
                  <a:ln>
                    <a:noFill/>
                  </a:ln>
                  <a:solidFill>
                    <a:schemeClr val="accent1"/>
                  </a:solidFill>
                  <a:effectLst/>
                  <a:uLnTx/>
                  <a:uFillTx/>
                  <a:latin typeface="HarmonyOS Sans SC Black"/>
                  <a:ea typeface="+mj-ea"/>
                  <a:cs typeface="+mn-cs"/>
                </a:rPr>
                <a:t>关键词标题</a:t>
              </a:r>
              <a:endParaRPr kumimoji="0" lang="en-US" sz="1800" b="0" i="0" u="none" strike="noStrike" kern="1200" cap="none" spc="0" normalizeH="0" baseline="0" noProof="0" dirty="0">
                <a:ln>
                  <a:noFill/>
                </a:ln>
                <a:solidFill>
                  <a:schemeClr val="accent1"/>
                </a:solidFill>
                <a:effectLst/>
                <a:uLnTx/>
                <a:uFillTx/>
                <a:latin typeface="HarmonyOS Sans SC Black"/>
                <a:ea typeface="+mj-ea"/>
                <a:cs typeface="+mn-cs"/>
              </a:endParaRPr>
            </a:p>
          </p:txBody>
        </p:sp>
        <p:sp>
          <p:nvSpPr>
            <p:cNvPr id="38" name="TextBox 65">
              <a:extLst>
                <a:ext uri="{FF2B5EF4-FFF2-40B4-BE49-F238E27FC236}">
                  <a16:creationId xmlns:a16="http://schemas.microsoft.com/office/drawing/2014/main" id="{26F1F597-6CA1-4C28-B5D2-B8FF5B58CD31}"/>
                </a:ext>
              </a:extLst>
            </p:cNvPr>
            <p:cNvSpPr txBox="1"/>
            <p:nvPr/>
          </p:nvSpPr>
          <p:spPr>
            <a:xfrm flipH="1">
              <a:off x="2777088" y="4061458"/>
              <a:ext cx="2859171" cy="498204"/>
            </a:xfrm>
            <a:prstGeom prst="rect">
              <a:avLst/>
            </a:prstGeom>
            <a:noFill/>
          </p:spPr>
          <p:txBody>
            <a:bodyPr wrap="square" lIns="0" tIns="36000" rIns="0" bIns="36000" rtlCol="0">
              <a:spAutoFit/>
            </a:bodyPr>
            <a:lstStyle/>
            <a:p>
              <a:pPr marL="0" marR="0" lvl="0" indent="0" algn="l" defTabSz="914400" rtl="0" eaLnBrk="1" fontAlgn="auto" latinLnBrk="0" hangingPunct="1">
                <a:lnSpc>
                  <a:spcPct val="120000"/>
                </a:lnSpc>
                <a:spcBef>
                  <a:spcPts val="600"/>
                </a:spcBef>
                <a:spcAft>
                  <a:spcPts val="0"/>
                </a:spcAft>
                <a:buClrTx/>
                <a:buSzTx/>
                <a:buFontTx/>
                <a:buNone/>
                <a:tabLst/>
                <a:defRPr/>
              </a:pPr>
              <a:r>
                <a:rPr kumimoji="0" lang="en-US" sz="1200" b="0" i="0" u="none" strike="noStrike" kern="1200" cap="none" spc="0" normalizeH="0" baseline="0" noProof="0" dirty="0">
                  <a:ln>
                    <a:noFill/>
                  </a:ln>
                  <a:solidFill>
                    <a:prstClr val="black">
                      <a:lumMod val="50000"/>
                      <a:lumOff val="50000"/>
                    </a:prstClr>
                  </a:solidFill>
                  <a:effectLst/>
                  <a:uLnTx/>
                  <a:uFillTx/>
                  <a:latin typeface="HarmonyOS Sans SC"/>
                  <a:cs typeface="+mn-cs"/>
                </a:rPr>
                <a:t>Apparently we had reached a great height in the.</a:t>
              </a:r>
            </a:p>
          </p:txBody>
        </p:sp>
      </p:grpSp>
      <p:grpSp>
        <p:nvGrpSpPr>
          <p:cNvPr id="39" name="组合 38">
            <a:extLst>
              <a:ext uri="{FF2B5EF4-FFF2-40B4-BE49-F238E27FC236}">
                <a16:creationId xmlns:a16="http://schemas.microsoft.com/office/drawing/2014/main" id="{8727240D-493F-4C38-9E20-69A945F294DE}"/>
              </a:ext>
            </a:extLst>
          </p:cNvPr>
          <p:cNvGrpSpPr/>
          <p:nvPr/>
        </p:nvGrpSpPr>
        <p:grpSpPr>
          <a:xfrm>
            <a:off x="1177152" y="935561"/>
            <a:ext cx="2859171" cy="881603"/>
            <a:chOff x="1032558" y="2922469"/>
            <a:chExt cx="2859171" cy="881603"/>
          </a:xfrm>
        </p:grpSpPr>
        <p:sp>
          <p:nvSpPr>
            <p:cNvPr id="40" name="TextBox 65">
              <a:extLst>
                <a:ext uri="{FF2B5EF4-FFF2-40B4-BE49-F238E27FC236}">
                  <a16:creationId xmlns:a16="http://schemas.microsoft.com/office/drawing/2014/main" id="{24D130BD-84FA-459E-B8CD-3F5F5C3180B1}"/>
                </a:ext>
              </a:extLst>
            </p:cNvPr>
            <p:cNvSpPr txBox="1"/>
            <p:nvPr/>
          </p:nvSpPr>
          <p:spPr>
            <a:xfrm>
              <a:off x="1835467" y="2922469"/>
              <a:ext cx="2056261" cy="387598"/>
            </a:xfrm>
            <a:prstGeom prst="rect">
              <a:avLst/>
            </a:prstGeom>
            <a:noFill/>
          </p:spPr>
          <p:txBody>
            <a:bodyPr wrap="square" lIns="0" tIns="36000" rIns="0" bIns="36000" rtlCol="0">
              <a:spAutoFit/>
            </a:bodyPr>
            <a:lstStyle/>
            <a:p>
              <a:pPr marL="0" marR="0" lvl="0" indent="0" algn="r" defTabSz="914400" rtl="0" eaLnBrk="1" fontAlgn="auto" latinLnBrk="0" hangingPunct="1">
                <a:lnSpc>
                  <a:spcPct val="120000"/>
                </a:lnSpc>
                <a:spcBef>
                  <a:spcPts val="600"/>
                </a:spcBef>
                <a:spcAft>
                  <a:spcPts val="0"/>
                </a:spcAft>
                <a:buClrTx/>
                <a:buSzTx/>
                <a:buFontTx/>
                <a:buNone/>
                <a:tabLst/>
                <a:defRPr/>
              </a:pPr>
              <a:r>
                <a:rPr kumimoji="0" lang="zh-CN" altLang="en-US" sz="1800" b="0" i="0" u="none" strike="noStrike" kern="1200" cap="none" spc="0" normalizeH="0" baseline="0" noProof="0" dirty="0">
                  <a:ln>
                    <a:noFill/>
                  </a:ln>
                  <a:solidFill>
                    <a:schemeClr val="accent1"/>
                  </a:solidFill>
                  <a:effectLst/>
                  <a:uLnTx/>
                  <a:uFillTx/>
                  <a:latin typeface="HarmonyOS Sans SC Black"/>
                  <a:ea typeface="+mj-ea"/>
                  <a:cs typeface="+mn-cs"/>
                </a:rPr>
                <a:t>关键词标题</a:t>
              </a:r>
              <a:endParaRPr kumimoji="0" lang="en-US" sz="1800" b="0" i="0" u="none" strike="noStrike" kern="1200" cap="none" spc="0" normalizeH="0" baseline="0" noProof="0" dirty="0">
                <a:ln>
                  <a:noFill/>
                </a:ln>
                <a:solidFill>
                  <a:schemeClr val="accent1"/>
                </a:solidFill>
                <a:effectLst/>
                <a:uLnTx/>
                <a:uFillTx/>
                <a:latin typeface="HarmonyOS Sans SC Black"/>
                <a:ea typeface="+mj-ea"/>
                <a:cs typeface="+mn-cs"/>
              </a:endParaRPr>
            </a:p>
          </p:txBody>
        </p:sp>
        <p:sp>
          <p:nvSpPr>
            <p:cNvPr id="41" name="TextBox 65">
              <a:extLst>
                <a:ext uri="{FF2B5EF4-FFF2-40B4-BE49-F238E27FC236}">
                  <a16:creationId xmlns:a16="http://schemas.microsoft.com/office/drawing/2014/main" id="{98D91F23-510E-4658-A575-E47C0571880D}"/>
                </a:ext>
              </a:extLst>
            </p:cNvPr>
            <p:cNvSpPr txBox="1"/>
            <p:nvPr/>
          </p:nvSpPr>
          <p:spPr>
            <a:xfrm>
              <a:off x="1032558" y="3305868"/>
              <a:ext cx="2859171" cy="498204"/>
            </a:xfrm>
            <a:prstGeom prst="rect">
              <a:avLst/>
            </a:prstGeom>
            <a:noFill/>
          </p:spPr>
          <p:txBody>
            <a:bodyPr wrap="square" lIns="0" tIns="36000" rIns="0" bIns="36000" rtlCol="0">
              <a:spAutoFit/>
            </a:bodyPr>
            <a:lstStyle/>
            <a:p>
              <a:pPr marL="0" marR="0" lvl="0" indent="0" algn="r" defTabSz="914400" rtl="0" eaLnBrk="1" fontAlgn="auto" latinLnBrk="0" hangingPunct="1">
                <a:lnSpc>
                  <a:spcPct val="120000"/>
                </a:lnSpc>
                <a:spcBef>
                  <a:spcPts val="600"/>
                </a:spcBef>
                <a:spcAft>
                  <a:spcPts val="0"/>
                </a:spcAft>
                <a:buClrTx/>
                <a:buSzTx/>
                <a:buFontTx/>
                <a:buNone/>
                <a:tabLst/>
                <a:defRPr/>
              </a:pPr>
              <a:r>
                <a:rPr kumimoji="0" lang="en-US" sz="1200" b="0" i="0" u="none" strike="noStrike" kern="1200" cap="none" spc="0" normalizeH="0" baseline="0" noProof="0" dirty="0">
                  <a:ln>
                    <a:noFill/>
                  </a:ln>
                  <a:solidFill>
                    <a:prstClr val="black">
                      <a:lumMod val="50000"/>
                      <a:lumOff val="50000"/>
                    </a:prstClr>
                  </a:solidFill>
                  <a:effectLst/>
                  <a:uLnTx/>
                  <a:uFillTx/>
                  <a:latin typeface="HarmonyOS Sans SC"/>
                  <a:cs typeface="+mn-cs"/>
                </a:rPr>
                <a:t>Apparently we had reached a great height in the.</a:t>
              </a:r>
            </a:p>
          </p:txBody>
        </p:sp>
      </p:grpSp>
      <p:grpSp>
        <p:nvGrpSpPr>
          <p:cNvPr id="42" name="组合 41">
            <a:extLst>
              <a:ext uri="{FF2B5EF4-FFF2-40B4-BE49-F238E27FC236}">
                <a16:creationId xmlns:a16="http://schemas.microsoft.com/office/drawing/2014/main" id="{9E6A6CD8-172E-4C79-8800-8657EA2CC675}"/>
              </a:ext>
            </a:extLst>
          </p:cNvPr>
          <p:cNvGrpSpPr/>
          <p:nvPr/>
        </p:nvGrpSpPr>
        <p:grpSpPr>
          <a:xfrm>
            <a:off x="1437398" y="3308326"/>
            <a:ext cx="2859171" cy="881603"/>
            <a:chOff x="1032558" y="2922469"/>
            <a:chExt cx="2859171" cy="881603"/>
          </a:xfrm>
        </p:grpSpPr>
        <p:sp>
          <p:nvSpPr>
            <p:cNvPr id="43" name="TextBox 65">
              <a:extLst>
                <a:ext uri="{FF2B5EF4-FFF2-40B4-BE49-F238E27FC236}">
                  <a16:creationId xmlns:a16="http://schemas.microsoft.com/office/drawing/2014/main" id="{8C149A0D-E945-42BA-BCA7-4F7744759A7E}"/>
                </a:ext>
              </a:extLst>
            </p:cNvPr>
            <p:cNvSpPr txBox="1"/>
            <p:nvPr/>
          </p:nvSpPr>
          <p:spPr>
            <a:xfrm>
              <a:off x="1835467" y="2922469"/>
              <a:ext cx="2056261" cy="387598"/>
            </a:xfrm>
            <a:prstGeom prst="rect">
              <a:avLst/>
            </a:prstGeom>
            <a:noFill/>
          </p:spPr>
          <p:txBody>
            <a:bodyPr wrap="square" lIns="0" tIns="36000" rIns="0" bIns="36000" rtlCol="0">
              <a:spAutoFit/>
            </a:bodyPr>
            <a:lstStyle/>
            <a:p>
              <a:pPr marL="0" marR="0" lvl="0" indent="0" algn="r" defTabSz="914400" rtl="0" eaLnBrk="1" fontAlgn="auto" latinLnBrk="0" hangingPunct="1">
                <a:lnSpc>
                  <a:spcPct val="120000"/>
                </a:lnSpc>
                <a:spcBef>
                  <a:spcPts val="600"/>
                </a:spcBef>
                <a:spcAft>
                  <a:spcPts val="0"/>
                </a:spcAft>
                <a:buClrTx/>
                <a:buSzTx/>
                <a:buFontTx/>
                <a:buNone/>
                <a:tabLst/>
                <a:defRPr/>
              </a:pPr>
              <a:r>
                <a:rPr kumimoji="0" lang="zh-CN" altLang="en-US" sz="1800" b="0" i="0" u="none" strike="noStrike" kern="1200" cap="none" spc="0" normalizeH="0" baseline="0" noProof="0" dirty="0">
                  <a:ln>
                    <a:noFill/>
                  </a:ln>
                  <a:solidFill>
                    <a:schemeClr val="accent1"/>
                  </a:solidFill>
                  <a:effectLst/>
                  <a:uLnTx/>
                  <a:uFillTx/>
                  <a:latin typeface="HarmonyOS Sans SC Black"/>
                  <a:ea typeface="+mj-ea"/>
                  <a:cs typeface="+mn-cs"/>
                </a:rPr>
                <a:t>关键词标题</a:t>
              </a:r>
              <a:endParaRPr kumimoji="0" lang="en-US" sz="1800" b="0" i="0" u="none" strike="noStrike" kern="1200" cap="none" spc="0" normalizeH="0" baseline="0" noProof="0" dirty="0">
                <a:ln>
                  <a:noFill/>
                </a:ln>
                <a:solidFill>
                  <a:schemeClr val="accent1"/>
                </a:solidFill>
                <a:effectLst/>
                <a:uLnTx/>
                <a:uFillTx/>
                <a:latin typeface="HarmonyOS Sans SC Black"/>
                <a:ea typeface="+mj-ea"/>
                <a:cs typeface="+mn-cs"/>
              </a:endParaRPr>
            </a:p>
          </p:txBody>
        </p:sp>
        <p:sp>
          <p:nvSpPr>
            <p:cNvPr id="44" name="TextBox 65">
              <a:extLst>
                <a:ext uri="{FF2B5EF4-FFF2-40B4-BE49-F238E27FC236}">
                  <a16:creationId xmlns:a16="http://schemas.microsoft.com/office/drawing/2014/main" id="{1D86DE82-BCA7-41DC-9D38-5BDA0EFC8BB4}"/>
                </a:ext>
              </a:extLst>
            </p:cNvPr>
            <p:cNvSpPr txBox="1"/>
            <p:nvPr/>
          </p:nvSpPr>
          <p:spPr>
            <a:xfrm>
              <a:off x="1032558" y="3305868"/>
              <a:ext cx="2859171" cy="498204"/>
            </a:xfrm>
            <a:prstGeom prst="rect">
              <a:avLst/>
            </a:prstGeom>
            <a:noFill/>
          </p:spPr>
          <p:txBody>
            <a:bodyPr wrap="square" lIns="0" tIns="36000" rIns="0" bIns="36000" rtlCol="0">
              <a:spAutoFit/>
            </a:bodyPr>
            <a:lstStyle/>
            <a:p>
              <a:pPr marL="0" marR="0" lvl="0" indent="0" algn="r" defTabSz="914400" rtl="0" eaLnBrk="1" fontAlgn="auto" latinLnBrk="0" hangingPunct="1">
                <a:lnSpc>
                  <a:spcPct val="120000"/>
                </a:lnSpc>
                <a:spcBef>
                  <a:spcPts val="600"/>
                </a:spcBef>
                <a:spcAft>
                  <a:spcPts val="0"/>
                </a:spcAft>
                <a:buClrTx/>
                <a:buSzTx/>
                <a:buFontTx/>
                <a:buNone/>
                <a:tabLst/>
                <a:defRPr/>
              </a:pPr>
              <a:r>
                <a:rPr kumimoji="0" lang="en-US" sz="1200" b="0" i="0" u="none" strike="noStrike" kern="1200" cap="none" spc="0" normalizeH="0" baseline="0" noProof="0" dirty="0">
                  <a:ln>
                    <a:noFill/>
                  </a:ln>
                  <a:solidFill>
                    <a:prstClr val="black">
                      <a:lumMod val="50000"/>
                      <a:lumOff val="50000"/>
                    </a:prstClr>
                  </a:solidFill>
                  <a:effectLst/>
                  <a:uLnTx/>
                  <a:uFillTx/>
                  <a:latin typeface="HarmonyOS Sans SC"/>
                  <a:cs typeface="+mn-cs"/>
                </a:rPr>
                <a:t>Apparently we had reached a great height in the.</a:t>
              </a:r>
            </a:p>
          </p:txBody>
        </p:sp>
      </p:grpSp>
      <p:grpSp>
        <p:nvGrpSpPr>
          <p:cNvPr id="45" name="组合 44">
            <a:extLst>
              <a:ext uri="{FF2B5EF4-FFF2-40B4-BE49-F238E27FC236}">
                <a16:creationId xmlns:a16="http://schemas.microsoft.com/office/drawing/2014/main" id="{1470302C-8346-4635-85DD-3DBEF310A3D4}"/>
              </a:ext>
            </a:extLst>
          </p:cNvPr>
          <p:cNvGrpSpPr/>
          <p:nvPr/>
        </p:nvGrpSpPr>
        <p:grpSpPr>
          <a:xfrm>
            <a:off x="8205704" y="2109126"/>
            <a:ext cx="2859171" cy="881603"/>
            <a:chOff x="2777088" y="3678059"/>
            <a:chExt cx="2859171" cy="881603"/>
          </a:xfrm>
        </p:grpSpPr>
        <p:sp>
          <p:nvSpPr>
            <p:cNvPr id="46" name="TextBox 65">
              <a:extLst>
                <a:ext uri="{FF2B5EF4-FFF2-40B4-BE49-F238E27FC236}">
                  <a16:creationId xmlns:a16="http://schemas.microsoft.com/office/drawing/2014/main" id="{A17282EE-E827-47A1-8827-CDCAB2D4D217}"/>
                </a:ext>
              </a:extLst>
            </p:cNvPr>
            <p:cNvSpPr txBox="1"/>
            <p:nvPr/>
          </p:nvSpPr>
          <p:spPr>
            <a:xfrm flipH="1">
              <a:off x="2777089" y="3678059"/>
              <a:ext cx="2056261" cy="387598"/>
            </a:xfrm>
            <a:prstGeom prst="rect">
              <a:avLst/>
            </a:prstGeom>
            <a:noFill/>
          </p:spPr>
          <p:txBody>
            <a:bodyPr wrap="square" lIns="0" tIns="36000" rIns="0" bIns="36000" rtlCol="0">
              <a:spAutoFit/>
            </a:bodyPr>
            <a:lstStyle/>
            <a:p>
              <a:pPr marL="0" marR="0" lvl="0" indent="0" algn="l" defTabSz="914400" rtl="0" eaLnBrk="1" fontAlgn="auto" latinLnBrk="0" hangingPunct="1">
                <a:lnSpc>
                  <a:spcPct val="120000"/>
                </a:lnSpc>
                <a:spcBef>
                  <a:spcPts val="600"/>
                </a:spcBef>
                <a:spcAft>
                  <a:spcPts val="0"/>
                </a:spcAft>
                <a:buClrTx/>
                <a:buSzTx/>
                <a:buFontTx/>
                <a:buNone/>
                <a:tabLst/>
                <a:defRPr/>
              </a:pPr>
              <a:r>
                <a:rPr kumimoji="0" lang="zh-CN" altLang="en-US" sz="1800" b="0" i="0" u="none" strike="noStrike" kern="1200" cap="none" spc="0" normalizeH="0" baseline="0" noProof="0" dirty="0">
                  <a:ln>
                    <a:noFill/>
                  </a:ln>
                  <a:solidFill>
                    <a:schemeClr val="accent1"/>
                  </a:solidFill>
                  <a:effectLst/>
                  <a:uLnTx/>
                  <a:uFillTx/>
                  <a:latin typeface="HarmonyOS Sans SC Black"/>
                  <a:ea typeface="+mj-ea"/>
                  <a:cs typeface="+mn-cs"/>
                </a:rPr>
                <a:t>关键词标题</a:t>
              </a:r>
              <a:endParaRPr kumimoji="0" lang="en-US" sz="1800" b="0" i="0" u="none" strike="noStrike" kern="1200" cap="none" spc="0" normalizeH="0" baseline="0" noProof="0" dirty="0">
                <a:ln>
                  <a:noFill/>
                </a:ln>
                <a:solidFill>
                  <a:schemeClr val="accent1"/>
                </a:solidFill>
                <a:effectLst/>
                <a:uLnTx/>
                <a:uFillTx/>
                <a:latin typeface="HarmonyOS Sans SC Black"/>
                <a:ea typeface="+mj-ea"/>
                <a:cs typeface="+mn-cs"/>
              </a:endParaRPr>
            </a:p>
          </p:txBody>
        </p:sp>
        <p:sp>
          <p:nvSpPr>
            <p:cNvPr id="47" name="TextBox 65">
              <a:extLst>
                <a:ext uri="{FF2B5EF4-FFF2-40B4-BE49-F238E27FC236}">
                  <a16:creationId xmlns:a16="http://schemas.microsoft.com/office/drawing/2014/main" id="{E0A60E77-8A17-4635-B469-020293ED5EFE}"/>
                </a:ext>
              </a:extLst>
            </p:cNvPr>
            <p:cNvSpPr txBox="1"/>
            <p:nvPr/>
          </p:nvSpPr>
          <p:spPr>
            <a:xfrm flipH="1">
              <a:off x="2777088" y="4061458"/>
              <a:ext cx="2859171" cy="498204"/>
            </a:xfrm>
            <a:prstGeom prst="rect">
              <a:avLst/>
            </a:prstGeom>
            <a:noFill/>
          </p:spPr>
          <p:txBody>
            <a:bodyPr wrap="square" lIns="0" tIns="36000" rIns="0" bIns="36000" rtlCol="0">
              <a:spAutoFit/>
            </a:bodyPr>
            <a:lstStyle/>
            <a:p>
              <a:pPr marL="0" marR="0" lvl="0" indent="0" algn="l" defTabSz="914400" rtl="0" eaLnBrk="1" fontAlgn="auto" latinLnBrk="0" hangingPunct="1">
                <a:lnSpc>
                  <a:spcPct val="120000"/>
                </a:lnSpc>
                <a:spcBef>
                  <a:spcPts val="600"/>
                </a:spcBef>
                <a:spcAft>
                  <a:spcPts val="0"/>
                </a:spcAft>
                <a:buClrTx/>
                <a:buSzTx/>
                <a:buFontTx/>
                <a:buNone/>
                <a:tabLst/>
                <a:defRPr/>
              </a:pPr>
              <a:r>
                <a:rPr kumimoji="0" lang="en-US" sz="1200" b="0" i="0" u="none" strike="noStrike" kern="1200" cap="none" spc="0" normalizeH="0" baseline="0" noProof="0" dirty="0">
                  <a:ln>
                    <a:noFill/>
                  </a:ln>
                  <a:solidFill>
                    <a:prstClr val="black">
                      <a:lumMod val="50000"/>
                      <a:lumOff val="50000"/>
                    </a:prstClr>
                  </a:solidFill>
                  <a:effectLst/>
                  <a:uLnTx/>
                  <a:uFillTx/>
                  <a:latin typeface="HarmonyOS Sans SC"/>
                  <a:cs typeface="+mn-cs"/>
                </a:rPr>
                <a:t>Apparently we had reached a great height in the.</a:t>
              </a:r>
            </a:p>
          </p:txBody>
        </p:sp>
      </p:grpSp>
    </p:spTree>
    <p:extLst>
      <p:ext uri="{BB962C8B-B14F-4D97-AF65-F5344CB8AC3E}">
        <p14:creationId xmlns:p14="http://schemas.microsoft.com/office/powerpoint/2010/main" val="324098506"/>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4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54">
            <a:extLst>
              <a:ext uri="{FF2B5EF4-FFF2-40B4-BE49-F238E27FC236}">
                <a16:creationId xmlns:a16="http://schemas.microsoft.com/office/drawing/2014/main" id="{AF8B3B18-7236-4CE2-AC70-47ED2FBE6111}"/>
              </a:ext>
            </a:extLst>
          </p:cNvPr>
          <p:cNvSpPr>
            <a:spLocks/>
          </p:cNvSpPr>
          <p:nvPr/>
        </p:nvSpPr>
        <p:spPr bwMode="auto">
          <a:xfrm>
            <a:off x="6167743" y="3479151"/>
            <a:ext cx="1685628" cy="1653586"/>
          </a:xfrm>
          <a:custGeom>
            <a:avLst/>
            <a:gdLst>
              <a:gd name="T0" fmla="*/ 4287 w 4838"/>
              <a:gd name="T1" fmla="*/ 174 h 4745"/>
              <a:gd name="T2" fmla="*/ 3818 w 4838"/>
              <a:gd name="T3" fmla="*/ 301 h 4745"/>
              <a:gd name="T4" fmla="*/ 3447 w 4838"/>
              <a:gd name="T5" fmla="*/ 261 h 4745"/>
              <a:gd name="T6" fmla="*/ 3257 w 4838"/>
              <a:gd name="T7" fmla="*/ 585 h 4745"/>
              <a:gd name="T8" fmla="*/ 2944 w 4838"/>
              <a:gd name="T9" fmla="*/ 875 h 4745"/>
              <a:gd name="T10" fmla="*/ 2420 w 4838"/>
              <a:gd name="T11" fmla="*/ 998 h 4745"/>
              <a:gd name="T12" fmla="*/ 1891 w 4838"/>
              <a:gd name="T13" fmla="*/ 909 h 4745"/>
              <a:gd name="T14" fmla="*/ 1766 w 4838"/>
              <a:gd name="T15" fmla="*/ 990 h 4745"/>
              <a:gd name="T16" fmla="*/ 1269 w 4838"/>
              <a:gd name="T17" fmla="*/ 1150 h 4745"/>
              <a:gd name="T18" fmla="*/ 775 w 4838"/>
              <a:gd name="T19" fmla="*/ 1133 h 4745"/>
              <a:gd name="T20" fmla="*/ 287 w 4838"/>
              <a:gd name="T21" fmla="*/ 933 h 4745"/>
              <a:gd name="T22" fmla="*/ 22 w 4838"/>
              <a:gd name="T23" fmla="*/ 2755 h 4745"/>
              <a:gd name="T24" fmla="*/ 317 w 4838"/>
              <a:gd name="T25" fmla="*/ 3160 h 4745"/>
              <a:gd name="T26" fmla="*/ 644 w 4838"/>
              <a:gd name="T27" fmla="*/ 3307 h 4745"/>
              <a:gd name="T28" fmla="*/ 1109 w 4838"/>
              <a:gd name="T29" fmla="*/ 3298 h 4745"/>
              <a:gd name="T30" fmla="*/ 1151 w 4838"/>
              <a:gd name="T31" fmla="*/ 2952 h 4745"/>
              <a:gd name="T32" fmla="*/ 1460 w 4838"/>
              <a:gd name="T33" fmla="*/ 2736 h 4745"/>
              <a:gd name="T34" fmla="*/ 1297 w 4838"/>
              <a:gd name="T35" fmla="*/ 3241 h 4745"/>
              <a:gd name="T36" fmla="*/ 1416 w 4838"/>
              <a:gd name="T37" fmla="*/ 3619 h 4745"/>
              <a:gd name="T38" fmla="*/ 1493 w 4838"/>
              <a:gd name="T39" fmla="*/ 3965 h 4745"/>
              <a:gd name="T40" fmla="*/ 1164 w 4838"/>
              <a:gd name="T41" fmla="*/ 3543 h 4745"/>
              <a:gd name="T42" fmla="*/ 757 w 4838"/>
              <a:gd name="T43" fmla="*/ 3514 h 4745"/>
              <a:gd name="T44" fmla="*/ 276 w 4838"/>
              <a:gd name="T45" fmla="*/ 3362 h 4745"/>
              <a:gd name="T46" fmla="*/ 24 w 4838"/>
              <a:gd name="T47" fmla="*/ 3133 h 4745"/>
              <a:gd name="T48" fmla="*/ 37 w 4838"/>
              <a:gd name="T49" fmla="*/ 3702 h 4745"/>
              <a:gd name="T50" fmla="*/ 312 w 4838"/>
              <a:gd name="T51" fmla="*/ 4327 h 4745"/>
              <a:gd name="T52" fmla="*/ 775 w 4838"/>
              <a:gd name="T53" fmla="*/ 4660 h 4745"/>
              <a:gd name="T54" fmla="*/ 1336 w 4838"/>
              <a:gd name="T55" fmla="*/ 4744 h 4745"/>
              <a:gd name="T56" fmla="*/ 1905 w 4838"/>
              <a:gd name="T57" fmla="*/ 4626 h 4745"/>
              <a:gd name="T58" fmla="*/ 2392 w 4838"/>
              <a:gd name="T59" fmla="*/ 4346 h 4745"/>
              <a:gd name="T60" fmla="*/ 2687 w 4838"/>
              <a:gd name="T61" fmla="*/ 3994 h 4745"/>
              <a:gd name="T62" fmla="*/ 2833 w 4838"/>
              <a:gd name="T63" fmla="*/ 3679 h 4745"/>
              <a:gd name="T64" fmla="*/ 2862 w 4838"/>
              <a:gd name="T65" fmla="*/ 3321 h 4745"/>
              <a:gd name="T66" fmla="*/ 2631 w 4838"/>
              <a:gd name="T67" fmla="*/ 2784 h 4745"/>
              <a:gd name="T68" fmla="*/ 2309 w 4838"/>
              <a:gd name="T69" fmla="*/ 2626 h 4745"/>
              <a:gd name="T70" fmla="*/ 1906 w 4838"/>
              <a:gd name="T71" fmla="*/ 2880 h 4745"/>
              <a:gd name="T72" fmla="*/ 1914 w 4838"/>
              <a:gd name="T73" fmla="*/ 2672 h 4745"/>
              <a:gd name="T74" fmla="*/ 2331 w 4838"/>
              <a:gd name="T75" fmla="*/ 2275 h 4745"/>
              <a:gd name="T76" fmla="*/ 2421 w 4838"/>
              <a:gd name="T77" fmla="*/ 1709 h 4745"/>
              <a:gd name="T78" fmla="*/ 2611 w 4838"/>
              <a:gd name="T79" fmla="*/ 1926 h 4745"/>
              <a:gd name="T80" fmla="*/ 2558 w 4838"/>
              <a:gd name="T81" fmla="*/ 2428 h 4745"/>
              <a:gd name="T82" fmla="*/ 2989 w 4838"/>
              <a:gd name="T83" fmla="*/ 3038 h 4745"/>
              <a:gd name="T84" fmla="*/ 3053 w 4838"/>
              <a:gd name="T85" fmla="*/ 3501 h 4745"/>
              <a:gd name="T86" fmla="*/ 2989 w 4838"/>
              <a:gd name="T87" fmla="*/ 3982 h 4745"/>
              <a:gd name="T88" fmla="*/ 3674 w 4838"/>
              <a:gd name="T89" fmla="*/ 3563 h 4745"/>
              <a:gd name="T90" fmla="*/ 3930 w 4838"/>
              <a:gd name="T91" fmla="*/ 3150 h 4745"/>
              <a:gd name="T92" fmla="*/ 4003 w 4838"/>
              <a:gd name="T93" fmla="*/ 2852 h 4745"/>
              <a:gd name="T94" fmla="*/ 3953 w 4838"/>
              <a:gd name="T95" fmla="*/ 2265 h 4745"/>
              <a:gd name="T96" fmla="*/ 3713 w 4838"/>
              <a:gd name="T97" fmla="*/ 1898 h 4745"/>
              <a:gd name="T98" fmla="*/ 3099 w 4838"/>
              <a:gd name="T99" fmla="*/ 1576 h 4745"/>
              <a:gd name="T100" fmla="*/ 3476 w 4838"/>
              <a:gd name="T101" fmla="*/ 1513 h 4745"/>
              <a:gd name="T102" fmla="*/ 4029 w 4838"/>
              <a:gd name="T103" fmla="*/ 1989 h 4745"/>
              <a:gd name="T104" fmla="*/ 4193 w 4838"/>
              <a:gd name="T105" fmla="*/ 2447 h 4745"/>
              <a:gd name="T106" fmla="*/ 4448 w 4838"/>
              <a:gd name="T107" fmla="*/ 2161 h 4745"/>
              <a:gd name="T108" fmla="*/ 4517 w 4838"/>
              <a:gd name="T109" fmla="*/ 1755 h 4745"/>
              <a:gd name="T110" fmla="*/ 4602 w 4838"/>
              <a:gd name="T111" fmla="*/ 1452 h 4745"/>
              <a:gd name="T112" fmla="*/ 4832 w 4838"/>
              <a:gd name="T113" fmla="*/ 904 h 4745"/>
              <a:gd name="T114" fmla="*/ 4754 w 4838"/>
              <a:gd name="T115" fmla="*/ 357 h 4745"/>
              <a:gd name="T116" fmla="*/ 4505 w 4838"/>
              <a:gd name="T117" fmla="*/ 0 h 47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838" h="4745">
                <a:moveTo>
                  <a:pt x="4505" y="0"/>
                </a:moveTo>
                <a:lnTo>
                  <a:pt x="4478" y="27"/>
                </a:lnTo>
                <a:lnTo>
                  <a:pt x="4421" y="81"/>
                </a:lnTo>
                <a:lnTo>
                  <a:pt x="4357" y="130"/>
                </a:lnTo>
                <a:lnTo>
                  <a:pt x="4287" y="174"/>
                </a:lnTo>
                <a:lnTo>
                  <a:pt x="4251" y="195"/>
                </a:lnTo>
                <a:lnTo>
                  <a:pt x="4189" y="226"/>
                </a:lnTo>
                <a:lnTo>
                  <a:pt x="4064" y="269"/>
                </a:lnTo>
                <a:lnTo>
                  <a:pt x="3940" y="292"/>
                </a:lnTo>
                <a:lnTo>
                  <a:pt x="3818" y="301"/>
                </a:lnTo>
                <a:lnTo>
                  <a:pt x="3761" y="300"/>
                </a:lnTo>
                <a:lnTo>
                  <a:pt x="3713" y="298"/>
                </a:lnTo>
                <a:lnTo>
                  <a:pt x="3620" y="292"/>
                </a:lnTo>
                <a:lnTo>
                  <a:pt x="3532" y="279"/>
                </a:lnTo>
                <a:lnTo>
                  <a:pt x="3447" y="261"/>
                </a:lnTo>
                <a:lnTo>
                  <a:pt x="3408" y="249"/>
                </a:lnTo>
                <a:lnTo>
                  <a:pt x="3392" y="302"/>
                </a:lnTo>
                <a:lnTo>
                  <a:pt x="3354" y="405"/>
                </a:lnTo>
                <a:lnTo>
                  <a:pt x="3309" y="499"/>
                </a:lnTo>
                <a:lnTo>
                  <a:pt x="3257" y="585"/>
                </a:lnTo>
                <a:lnTo>
                  <a:pt x="3200" y="664"/>
                </a:lnTo>
                <a:lnTo>
                  <a:pt x="3135" y="734"/>
                </a:lnTo>
                <a:lnTo>
                  <a:pt x="3064" y="797"/>
                </a:lnTo>
                <a:lnTo>
                  <a:pt x="2986" y="852"/>
                </a:lnTo>
                <a:lnTo>
                  <a:pt x="2944" y="875"/>
                </a:lnTo>
                <a:lnTo>
                  <a:pt x="2880" y="909"/>
                </a:lnTo>
                <a:lnTo>
                  <a:pt x="2747" y="955"/>
                </a:lnTo>
                <a:lnTo>
                  <a:pt x="2614" y="985"/>
                </a:lnTo>
                <a:lnTo>
                  <a:pt x="2483" y="998"/>
                </a:lnTo>
                <a:lnTo>
                  <a:pt x="2420" y="998"/>
                </a:lnTo>
                <a:lnTo>
                  <a:pt x="2366" y="998"/>
                </a:lnTo>
                <a:lnTo>
                  <a:pt x="2267" y="990"/>
                </a:lnTo>
                <a:lnTo>
                  <a:pt x="2131" y="972"/>
                </a:lnTo>
                <a:lnTo>
                  <a:pt x="1930" y="923"/>
                </a:lnTo>
                <a:lnTo>
                  <a:pt x="1891" y="909"/>
                </a:lnTo>
                <a:lnTo>
                  <a:pt x="1895" y="900"/>
                </a:lnTo>
                <a:lnTo>
                  <a:pt x="1892" y="901"/>
                </a:lnTo>
                <a:lnTo>
                  <a:pt x="1889" y="904"/>
                </a:lnTo>
                <a:lnTo>
                  <a:pt x="1849" y="935"/>
                </a:lnTo>
                <a:lnTo>
                  <a:pt x="1766" y="990"/>
                </a:lnTo>
                <a:lnTo>
                  <a:pt x="1677" y="1038"/>
                </a:lnTo>
                <a:lnTo>
                  <a:pt x="1582" y="1079"/>
                </a:lnTo>
                <a:lnTo>
                  <a:pt x="1484" y="1110"/>
                </a:lnTo>
                <a:lnTo>
                  <a:pt x="1379" y="1134"/>
                </a:lnTo>
                <a:lnTo>
                  <a:pt x="1269" y="1150"/>
                </a:lnTo>
                <a:lnTo>
                  <a:pt x="1153" y="1158"/>
                </a:lnTo>
                <a:lnTo>
                  <a:pt x="1094" y="1159"/>
                </a:lnTo>
                <a:lnTo>
                  <a:pt x="1017" y="1158"/>
                </a:lnTo>
                <a:lnTo>
                  <a:pt x="858" y="1145"/>
                </a:lnTo>
                <a:lnTo>
                  <a:pt x="775" y="1133"/>
                </a:lnTo>
                <a:lnTo>
                  <a:pt x="715" y="1123"/>
                </a:lnTo>
                <a:lnTo>
                  <a:pt x="600" y="1090"/>
                </a:lnTo>
                <a:lnTo>
                  <a:pt x="490" y="1048"/>
                </a:lnTo>
                <a:lnTo>
                  <a:pt x="386" y="994"/>
                </a:lnTo>
                <a:lnTo>
                  <a:pt x="287" y="933"/>
                </a:lnTo>
                <a:lnTo>
                  <a:pt x="197" y="866"/>
                </a:lnTo>
                <a:lnTo>
                  <a:pt x="72" y="760"/>
                </a:lnTo>
                <a:lnTo>
                  <a:pt x="0" y="688"/>
                </a:lnTo>
                <a:lnTo>
                  <a:pt x="0" y="2695"/>
                </a:lnTo>
                <a:lnTo>
                  <a:pt x="22" y="2755"/>
                </a:lnTo>
                <a:lnTo>
                  <a:pt x="84" y="2884"/>
                </a:lnTo>
                <a:lnTo>
                  <a:pt x="147" y="2981"/>
                </a:lnTo>
                <a:lnTo>
                  <a:pt x="197" y="3045"/>
                </a:lnTo>
                <a:lnTo>
                  <a:pt x="254" y="3104"/>
                </a:lnTo>
                <a:lnTo>
                  <a:pt x="317" y="3160"/>
                </a:lnTo>
                <a:lnTo>
                  <a:pt x="354" y="3185"/>
                </a:lnTo>
                <a:lnTo>
                  <a:pt x="390" y="3209"/>
                </a:lnTo>
                <a:lnTo>
                  <a:pt x="469" y="3251"/>
                </a:lnTo>
                <a:lnTo>
                  <a:pt x="554" y="3283"/>
                </a:lnTo>
                <a:lnTo>
                  <a:pt x="644" y="3307"/>
                </a:lnTo>
                <a:lnTo>
                  <a:pt x="738" y="3321"/>
                </a:lnTo>
                <a:lnTo>
                  <a:pt x="838" y="3326"/>
                </a:lnTo>
                <a:lnTo>
                  <a:pt x="942" y="3322"/>
                </a:lnTo>
                <a:lnTo>
                  <a:pt x="1052" y="3308"/>
                </a:lnTo>
                <a:lnTo>
                  <a:pt x="1109" y="3298"/>
                </a:lnTo>
                <a:lnTo>
                  <a:pt x="1107" y="3263"/>
                </a:lnTo>
                <a:lnTo>
                  <a:pt x="1107" y="3190"/>
                </a:lnTo>
                <a:lnTo>
                  <a:pt x="1114" y="3114"/>
                </a:lnTo>
                <a:lnTo>
                  <a:pt x="1129" y="3034"/>
                </a:lnTo>
                <a:lnTo>
                  <a:pt x="1151" y="2952"/>
                </a:lnTo>
                <a:lnTo>
                  <a:pt x="1182" y="2865"/>
                </a:lnTo>
                <a:lnTo>
                  <a:pt x="1222" y="2775"/>
                </a:lnTo>
                <a:lnTo>
                  <a:pt x="1271" y="2683"/>
                </a:lnTo>
                <a:lnTo>
                  <a:pt x="1300" y="2635"/>
                </a:lnTo>
                <a:lnTo>
                  <a:pt x="1460" y="2736"/>
                </a:lnTo>
                <a:lnTo>
                  <a:pt x="1423" y="2800"/>
                </a:lnTo>
                <a:lnTo>
                  <a:pt x="1363" y="2922"/>
                </a:lnTo>
                <a:lnTo>
                  <a:pt x="1324" y="3036"/>
                </a:lnTo>
                <a:lnTo>
                  <a:pt x="1302" y="3142"/>
                </a:lnTo>
                <a:lnTo>
                  <a:pt x="1297" y="3241"/>
                </a:lnTo>
                <a:lnTo>
                  <a:pt x="1304" y="3333"/>
                </a:lnTo>
                <a:lnTo>
                  <a:pt x="1320" y="3416"/>
                </a:lnTo>
                <a:lnTo>
                  <a:pt x="1348" y="3492"/>
                </a:lnTo>
                <a:lnTo>
                  <a:pt x="1380" y="3559"/>
                </a:lnTo>
                <a:lnTo>
                  <a:pt x="1416" y="3619"/>
                </a:lnTo>
                <a:lnTo>
                  <a:pt x="1475" y="3696"/>
                </a:lnTo>
                <a:lnTo>
                  <a:pt x="1581" y="3794"/>
                </a:lnTo>
                <a:lnTo>
                  <a:pt x="1606" y="3811"/>
                </a:lnTo>
                <a:lnTo>
                  <a:pt x="1503" y="3970"/>
                </a:lnTo>
                <a:lnTo>
                  <a:pt x="1493" y="3965"/>
                </a:lnTo>
                <a:lnTo>
                  <a:pt x="1415" y="3900"/>
                </a:lnTo>
                <a:lnTo>
                  <a:pt x="1330" y="3812"/>
                </a:lnTo>
                <a:lnTo>
                  <a:pt x="1270" y="3736"/>
                </a:lnTo>
                <a:lnTo>
                  <a:pt x="1213" y="3646"/>
                </a:lnTo>
                <a:lnTo>
                  <a:pt x="1164" y="3543"/>
                </a:lnTo>
                <a:lnTo>
                  <a:pt x="1144" y="3484"/>
                </a:lnTo>
                <a:lnTo>
                  <a:pt x="1065" y="3498"/>
                </a:lnTo>
                <a:lnTo>
                  <a:pt x="913" y="3514"/>
                </a:lnTo>
                <a:lnTo>
                  <a:pt x="841" y="3515"/>
                </a:lnTo>
                <a:lnTo>
                  <a:pt x="757" y="3514"/>
                </a:lnTo>
                <a:lnTo>
                  <a:pt x="596" y="3492"/>
                </a:lnTo>
                <a:lnTo>
                  <a:pt x="483" y="3461"/>
                </a:lnTo>
                <a:lnTo>
                  <a:pt x="412" y="3434"/>
                </a:lnTo>
                <a:lnTo>
                  <a:pt x="343" y="3400"/>
                </a:lnTo>
                <a:lnTo>
                  <a:pt x="276" y="3362"/>
                </a:lnTo>
                <a:lnTo>
                  <a:pt x="245" y="3340"/>
                </a:lnTo>
                <a:lnTo>
                  <a:pt x="207" y="3314"/>
                </a:lnTo>
                <a:lnTo>
                  <a:pt x="140" y="3257"/>
                </a:lnTo>
                <a:lnTo>
                  <a:pt x="79" y="3197"/>
                </a:lnTo>
                <a:lnTo>
                  <a:pt x="24" y="3133"/>
                </a:lnTo>
                <a:lnTo>
                  <a:pt x="0" y="3101"/>
                </a:lnTo>
                <a:lnTo>
                  <a:pt x="0" y="3266"/>
                </a:lnTo>
                <a:lnTo>
                  <a:pt x="1" y="3361"/>
                </a:lnTo>
                <a:lnTo>
                  <a:pt x="14" y="3539"/>
                </a:lnTo>
                <a:lnTo>
                  <a:pt x="37" y="3702"/>
                </a:lnTo>
                <a:lnTo>
                  <a:pt x="74" y="3852"/>
                </a:lnTo>
                <a:lnTo>
                  <a:pt x="119" y="3990"/>
                </a:lnTo>
                <a:lnTo>
                  <a:pt x="175" y="4114"/>
                </a:lnTo>
                <a:lnTo>
                  <a:pt x="239" y="4227"/>
                </a:lnTo>
                <a:lnTo>
                  <a:pt x="312" y="4327"/>
                </a:lnTo>
                <a:lnTo>
                  <a:pt x="392" y="4415"/>
                </a:lnTo>
                <a:lnTo>
                  <a:pt x="481" y="4493"/>
                </a:lnTo>
                <a:lnTo>
                  <a:pt x="574" y="4559"/>
                </a:lnTo>
                <a:lnTo>
                  <a:pt x="672" y="4614"/>
                </a:lnTo>
                <a:lnTo>
                  <a:pt x="775" y="4660"/>
                </a:lnTo>
                <a:lnTo>
                  <a:pt x="882" y="4695"/>
                </a:lnTo>
                <a:lnTo>
                  <a:pt x="993" y="4721"/>
                </a:lnTo>
                <a:lnTo>
                  <a:pt x="1105" y="4738"/>
                </a:lnTo>
                <a:lnTo>
                  <a:pt x="1221" y="4745"/>
                </a:lnTo>
                <a:lnTo>
                  <a:pt x="1336" y="4744"/>
                </a:lnTo>
                <a:lnTo>
                  <a:pt x="1453" y="4736"/>
                </a:lnTo>
                <a:lnTo>
                  <a:pt x="1568" y="4719"/>
                </a:lnTo>
                <a:lnTo>
                  <a:pt x="1682" y="4695"/>
                </a:lnTo>
                <a:lnTo>
                  <a:pt x="1795" y="4664"/>
                </a:lnTo>
                <a:lnTo>
                  <a:pt x="1905" y="4626"/>
                </a:lnTo>
                <a:lnTo>
                  <a:pt x="2013" y="4582"/>
                </a:lnTo>
                <a:lnTo>
                  <a:pt x="2115" y="4532"/>
                </a:lnTo>
                <a:lnTo>
                  <a:pt x="2213" y="4474"/>
                </a:lnTo>
                <a:lnTo>
                  <a:pt x="2305" y="4414"/>
                </a:lnTo>
                <a:lnTo>
                  <a:pt x="2392" y="4346"/>
                </a:lnTo>
                <a:lnTo>
                  <a:pt x="2473" y="4275"/>
                </a:lnTo>
                <a:lnTo>
                  <a:pt x="2544" y="4200"/>
                </a:lnTo>
                <a:lnTo>
                  <a:pt x="2609" y="4121"/>
                </a:lnTo>
                <a:lnTo>
                  <a:pt x="2663" y="4036"/>
                </a:lnTo>
                <a:lnTo>
                  <a:pt x="2687" y="3994"/>
                </a:lnTo>
                <a:lnTo>
                  <a:pt x="2693" y="3995"/>
                </a:lnTo>
                <a:lnTo>
                  <a:pt x="2700" y="3996"/>
                </a:lnTo>
                <a:lnTo>
                  <a:pt x="2735" y="3934"/>
                </a:lnTo>
                <a:lnTo>
                  <a:pt x="2797" y="3795"/>
                </a:lnTo>
                <a:lnTo>
                  <a:pt x="2833" y="3679"/>
                </a:lnTo>
                <a:lnTo>
                  <a:pt x="2851" y="3596"/>
                </a:lnTo>
                <a:lnTo>
                  <a:pt x="2863" y="3510"/>
                </a:lnTo>
                <a:lnTo>
                  <a:pt x="2867" y="3422"/>
                </a:lnTo>
                <a:lnTo>
                  <a:pt x="2865" y="3377"/>
                </a:lnTo>
                <a:lnTo>
                  <a:pt x="2862" y="3321"/>
                </a:lnTo>
                <a:lnTo>
                  <a:pt x="2842" y="3209"/>
                </a:lnTo>
                <a:lnTo>
                  <a:pt x="2810" y="3101"/>
                </a:lnTo>
                <a:lnTo>
                  <a:pt x="2763" y="2993"/>
                </a:lnTo>
                <a:lnTo>
                  <a:pt x="2705" y="2888"/>
                </a:lnTo>
                <a:lnTo>
                  <a:pt x="2631" y="2784"/>
                </a:lnTo>
                <a:lnTo>
                  <a:pt x="2545" y="2682"/>
                </a:lnTo>
                <a:lnTo>
                  <a:pt x="2447" y="2582"/>
                </a:lnTo>
                <a:lnTo>
                  <a:pt x="2391" y="2533"/>
                </a:lnTo>
                <a:lnTo>
                  <a:pt x="2366" y="2565"/>
                </a:lnTo>
                <a:lnTo>
                  <a:pt x="2309" y="2626"/>
                </a:lnTo>
                <a:lnTo>
                  <a:pt x="2246" y="2685"/>
                </a:lnTo>
                <a:lnTo>
                  <a:pt x="2175" y="2740"/>
                </a:lnTo>
                <a:lnTo>
                  <a:pt x="2094" y="2791"/>
                </a:lnTo>
                <a:lnTo>
                  <a:pt x="2005" y="2837"/>
                </a:lnTo>
                <a:lnTo>
                  <a:pt x="1906" y="2880"/>
                </a:lnTo>
                <a:lnTo>
                  <a:pt x="1797" y="2917"/>
                </a:lnTo>
                <a:lnTo>
                  <a:pt x="1739" y="2932"/>
                </a:lnTo>
                <a:lnTo>
                  <a:pt x="1692" y="2748"/>
                </a:lnTo>
                <a:lnTo>
                  <a:pt x="1773" y="2726"/>
                </a:lnTo>
                <a:lnTo>
                  <a:pt x="1914" y="2672"/>
                </a:lnTo>
                <a:lnTo>
                  <a:pt x="2033" y="2605"/>
                </a:lnTo>
                <a:lnTo>
                  <a:pt x="2133" y="2532"/>
                </a:lnTo>
                <a:lnTo>
                  <a:pt x="2216" y="2450"/>
                </a:lnTo>
                <a:lnTo>
                  <a:pt x="2281" y="2363"/>
                </a:lnTo>
                <a:lnTo>
                  <a:pt x="2331" y="2275"/>
                </a:lnTo>
                <a:lnTo>
                  <a:pt x="2370" y="2184"/>
                </a:lnTo>
                <a:lnTo>
                  <a:pt x="2398" y="2095"/>
                </a:lnTo>
                <a:lnTo>
                  <a:pt x="2414" y="2009"/>
                </a:lnTo>
                <a:lnTo>
                  <a:pt x="2427" y="1890"/>
                </a:lnTo>
                <a:lnTo>
                  <a:pt x="2421" y="1709"/>
                </a:lnTo>
                <a:lnTo>
                  <a:pt x="2414" y="1671"/>
                </a:lnTo>
                <a:lnTo>
                  <a:pt x="2600" y="1635"/>
                </a:lnTo>
                <a:lnTo>
                  <a:pt x="2602" y="1649"/>
                </a:lnTo>
                <a:lnTo>
                  <a:pt x="2614" y="1773"/>
                </a:lnTo>
                <a:lnTo>
                  <a:pt x="2611" y="1926"/>
                </a:lnTo>
                <a:lnTo>
                  <a:pt x="2597" y="2044"/>
                </a:lnTo>
                <a:lnTo>
                  <a:pt x="2570" y="2171"/>
                </a:lnTo>
                <a:lnTo>
                  <a:pt x="2525" y="2305"/>
                </a:lnTo>
                <a:lnTo>
                  <a:pt x="2493" y="2371"/>
                </a:lnTo>
                <a:lnTo>
                  <a:pt x="2558" y="2428"/>
                </a:lnTo>
                <a:lnTo>
                  <a:pt x="2676" y="2545"/>
                </a:lnTo>
                <a:lnTo>
                  <a:pt x="2777" y="2664"/>
                </a:lnTo>
                <a:lnTo>
                  <a:pt x="2864" y="2786"/>
                </a:lnTo>
                <a:lnTo>
                  <a:pt x="2934" y="2910"/>
                </a:lnTo>
                <a:lnTo>
                  <a:pt x="2989" y="3038"/>
                </a:lnTo>
                <a:lnTo>
                  <a:pt x="3027" y="3168"/>
                </a:lnTo>
                <a:lnTo>
                  <a:pt x="3051" y="3301"/>
                </a:lnTo>
                <a:lnTo>
                  <a:pt x="3055" y="3369"/>
                </a:lnTo>
                <a:lnTo>
                  <a:pt x="3056" y="3414"/>
                </a:lnTo>
                <a:lnTo>
                  <a:pt x="3053" y="3501"/>
                </a:lnTo>
                <a:lnTo>
                  <a:pt x="3039" y="3628"/>
                </a:lnTo>
                <a:lnTo>
                  <a:pt x="3000" y="3786"/>
                </a:lnTo>
                <a:lnTo>
                  <a:pt x="2947" y="3929"/>
                </a:lnTo>
                <a:lnTo>
                  <a:pt x="2916" y="3995"/>
                </a:lnTo>
                <a:lnTo>
                  <a:pt x="2989" y="3982"/>
                </a:lnTo>
                <a:lnTo>
                  <a:pt x="3139" y="3937"/>
                </a:lnTo>
                <a:lnTo>
                  <a:pt x="3289" y="3868"/>
                </a:lnTo>
                <a:lnTo>
                  <a:pt x="3437" y="3777"/>
                </a:lnTo>
                <a:lnTo>
                  <a:pt x="3577" y="3663"/>
                </a:lnTo>
                <a:lnTo>
                  <a:pt x="3674" y="3563"/>
                </a:lnTo>
                <a:lnTo>
                  <a:pt x="3735" y="3491"/>
                </a:lnTo>
                <a:lnTo>
                  <a:pt x="3791" y="3413"/>
                </a:lnTo>
                <a:lnTo>
                  <a:pt x="3843" y="3330"/>
                </a:lnTo>
                <a:lnTo>
                  <a:pt x="3889" y="3243"/>
                </a:lnTo>
                <a:lnTo>
                  <a:pt x="3930" y="3150"/>
                </a:lnTo>
                <a:lnTo>
                  <a:pt x="3948" y="3102"/>
                </a:lnTo>
                <a:lnTo>
                  <a:pt x="3945" y="3102"/>
                </a:lnTo>
                <a:lnTo>
                  <a:pt x="3952" y="3084"/>
                </a:lnTo>
                <a:lnTo>
                  <a:pt x="3983" y="2966"/>
                </a:lnTo>
                <a:lnTo>
                  <a:pt x="4003" y="2852"/>
                </a:lnTo>
                <a:lnTo>
                  <a:pt x="4016" y="2713"/>
                </a:lnTo>
                <a:lnTo>
                  <a:pt x="4014" y="2558"/>
                </a:lnTo>
                <a:lnTo>
                  <a:pt x="3998" y="2433"/>
                </a:lnTo>
                <a:lnTo>
                  <a:pt x="3979" y="2349"/>
                </a:lnTo>
                <a:lnTo>
                  <a:pt x="3953" y="2265"/>
                </a:lnTo>
                <a:lnTo>
                  <a:pt x="3918" y="2180"/>
                </a:lnTo>
                <a:lnTo>
                  <a:pt x="3897" y="2139"/>
                </a:lnTo>
                <a:lnTo>
                  <a:pt x="3867" y="2086"/>
                </a:lnTo>
                <a:lnTo>
                  <a:pt x="3796" y="1989"/>
                </a:lnTo>
                <a:lnTo>
                  <a:pt x="3713" y="1898"/>
                </a:lnTo>
                <a:lnTo>
                  <a:pt x="3616" y="1817"/>
                </a:lnTo>
                <a:lnTo>
                  <a:pt x="3506" y="1744"/>
                </a:lnTo>
                <a:lnTo>
                  <a:pt x="3383" y="1680"/>
                </a:lnTo>
                <a:lnTo>
                  <a:pt x="3248" y="1624"/>
                </a:lnTo>
                <a:lnTo>
                  <a:pt x="3099" y="1576"/>
                </a:lnTo>
                <a:lnTo>
                  <a:pt x="3020" y="1557"/>
                </a:lnTo>
                <a:lnTo>
                  <a:pt x="3064" y="1372"/>
                </a:lnTo>
                <a:lnTo>
                  <a:pt x="3153" y="1395"/>
                </a:lnTo>
                <a:lnTo>
                  <a:pt x="3322" y="1448"/>
                </a:lnTo>
                <a:lnTo>
                  <a:pt x="3476" y="1513"/>
                </a:lnTo>
                <a:lnTo>
                  <a:pt x="3615" y="1588"/>
                </a:lnTo>
                <a:lnTo>
                  <a:pt x="3740" y="1672"/>
                </a:lnTo>
                <a:lnTo>
                  <a:pt x="3852" y="1768"/>
                </a:lnTo>
                <a:lnTo>
                  <a:pt x="3948" y="1873"/>
                </a:lnTo>
                <a:lnTo>
                  <a:pt x="4029" y="1989"/>
                </a:lnTo>
                <a:lnTo>
                  <a:pt x="4064" y="2051"/>
                </a:lnTo>
                <a:lnTo>
                  <a:pt x="4093" y="2108"/>
                </a:lnTo>
                <a:lnTo>
                  <a:pt x="4140" y="2222"/>
                </a:lnTo>
                <a:lnTo>
                  <a:pt x="4172" y="2336"/>
                </a:lnTo>
                <a:lnTo>
                  <a:pt x="4193" y="2447"/>
                </a:lnTo>
                <a:lnTo>
                  <a:pt x="4199" y="2503"/>
                </a:lnTo>
                <a:lnTo>
                  <a:pt x="4237" y="2464"/>
                </a:lnTo>
                <a:lnTo>
                  <a:pt x="4313" y="2375"/>
                </a:lnTo>
                <a:lnTo>
                  <a:pt x="4386" y="2272"/>
                </a:lnTo>
                <a:lnTo>
                  <a:pt x="4448" y="2161"/>
                </a:lnTo>
                <a:lnTo>
                  <a:pt x="4496" y="2042"/>
                </a:lnTo>
                <a:lnTo>
                  <a:pt x="4518" y="1948"/>
                </a:lnTo>
                <a:lnTo>
                  <a:pt x="4524" y="1885"/>
                </a:lnTo>
                <a:lnTo>
                  <a:pt x="4524" y="1820"/>
                </a:lnTo>
                <a:lnTo>
                  <a:pt x="4517" y="1755"/>
                </a:lnTo>
                <a:lnTo>
                  <a:pt x="4500" y="1689"/>
                </a:lnTo>
                <a:lnTo>
                  <a:pt x="4474" y="1624"/>
                </a:lnTo>
                <a:lnTo>
                  <a:pt x="4457" y="1592"/>
                </a:lnTo>
                <a:lnTo>
                  <a:pt x="4510" y="1547"/>
                </a:lnTo>
                <a:lnTo>
                  <a:pt x="4602" y="1452"/>
                </a:lnTo>
                <a:lnTo>
                  <a:pt x="4677" y="1351"/>
                </a:lnTo>
                <a:lnTo>
                  <a:pt x="4737" y="1243"/>
                </a:lnTo>
                <a:lnTo>
                  <a:pt x="4782" y="1133"/>
                </a:lnTo>
                <a:lnTo>
                  <a:pt x="4814" y="1019"/>
                </a:lnTo>
                <a:lnTo>
                  <a:pt x="4832" y="904"/>
                </a:lnTo>
                <a:lnTo>
                  <a:pt x="4838" y="790"/>
                </a:lnTo>
                <a:lnTo>
                  <a:pt x="4832" y="676"/>
                </a:lnTo>
                <a:lnTo>
                  <a:pt x="4816" y="565"/>
                </a:lnTo>
                <a:lnTo>
                  <a:pt x="4790" y="458"/>
                </a:lnTo>
                <a:lnTo>
                  <a:pt x="4754" y="357"/>
                </a:lnTo>
                <a:lnTo>
                  <a:pt x="4711" y="262"/>
                </a:lnTo>
                <a:lnTo>
                  <a:pt x="4659" y="174"/>
                </a:lnTo>
                <a:lnTo>
                  <a:pt x="4602" y="96"/>
                </a:lnTo>
                <a:lnTo>
                  <a:pt x="4539" y="29"/>
                </a:lnTo>
                <a:lnTo>
                  <a:pt x="4505" y="0"/>
                </a:lnTo>
                <a:close/>
              </a:path>
            </a:pathLst>
          </a:custGeom>
          <a:gradFill flip="none" rotWithShape="1">
            <a:gsLst>
              <a:gs pos="0">
                <a:schemeClr val="accent1">
                  <a:lumMod val="20000"/>
                  <a:lumOff val="80000"/>
                </a:schemeClr>
              </a:gs>
              <a:gs pos="8000">
                <a:schemeClr val="accent1">
                  <a:lumMod val="40000"/>
                  <a:lumOff val="60000"/>
                </a:schemeClr>
              </a:gs>
              <a:gs pos="69000">
                <a:schemeClr val="accent1"/>
              </a:gs>
              <a:gs pos="30000">
                <a:schemeClr val="accent1">
                  <a:lumMod val="60000"/>
                  <a:lumOff val="40000"/>
                </a:schemeClr>
              </a:gs>
            </a:gsLst>
            <a:lin ang="270000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noFill/>
              <a:effectLst/>
              <a:uLnTx/>
              <a:uFillTx/>
              <a:latin typeface="Calibri" panose="020F0502020204030204"/>
              <a:ea typeface="+mn-ea"/>
              <a:cs typeface="+mn-cs"/>
            </a:endParaRPr>
          </a:p>
        </p:txBody>
      </p:sp>
      <p:grpSp>
        <p:nvGrpSpPr>
          <p:cNvPr id="3" name="Group 25">
            <a:extLst>
              <a:ext uri="{FF2B5EF4-FFF2-40B4-BE49-F238E27FC236}">
                <a16:creationId xmlns:a16="http://schemas.microsoft.com/office/drawing/2014/main" id="{BB0811D4-E34C-4768-A6B1-31EDDA9E7DC8}"/>
              </a:ext>
            </a:extLst>
          </p:cNvPr>
          <p:cNvGrpSpPr/>
          <p:nvPr/>
        </p:nvGrpSpPr>
        <p:grpSpPr>
          <a:xfrm>
            <a:off x="6167743" y="1981200"/>
            <a:ext cx="1582539" cy="1794286"/>
            <a:chOff x="6175710" y="1808481"/>
            <a:chExt cx="1758275" cy="1993535"/>
          </a:xfrm>
          <a:gradFill flip="none" rotWithShape="1">
            <a:gsLst>
              <a:gs pos="0">
                <a:schemeClr val="accent1">
                  <a:lumMod val="20000"/>
                  <a:lumOff val="80000"/>
                </a:schemeClr>
              </a:gs>
              <a:gs pos="8000">
                <a:schemeClr val="accent1">
                  <a:lumMod val="40000"/>
                  <a:lumOff val="60000"/>
                </a:schemeClr>
              </a:gs>
              <a:gs pos="69000">
                <a:schemeClr val="accent1"/>
              </a:gs>
              <a:gs pos="30000">
                <a:schemeClr val="accent1">
                  <a:lumMod val="60000"/>
                  <a:lumOff val="40000"/>
                </a:schemeClr>
              </a:gs>
            </a:gsLst>
            <a:lin ang="2700000" scaled="1"/>
            <a:tileRect/>
          </a:gradFill>
        </p:grpSpPr>
        <p:sp>
          <p:nvSpPr>
            <p:cNvPr id="4" name="Freeform 55">
              <a:extLst>
                <a:ext uri="{FF2B5EF4-FFF2-40B4-BE49-F238E27FC236}">
                  <a16:creationId xmlns:a16="http://schemas.microsoft.com/office/drawing/2014/main" id="{1053D50A-4917-4906-ADA3-E2240A887819}"/>
                </a:ext>
              </a:extLst>
            </p:cNvPr>
            <p:cNvSpPr>
              <a:spLocks/>
            </p:cNvSpPr>
            <p:nvPr/>
          </p:nvSpPr>
          <p:spPr bwMode="auto">
            <a:xfrm>
              <a:off x="6175710" y="2048386"/>
              <a:ext cx="1758275" cy="1753630"/>
            </a:xfrm>
            <a:custGeom>
              <a:avLst/>
              <a:gdLst>
                <a:gd name="T0" fmla="*/ 1769 w 4544"/>
                <a:gd name="T1" fmla="*/ 1357 h 4533"/>
                <a:gd name="T2" fmla="*/ 1406 w 4544"/>
                <a:gd name="T3" fmla="*/ 1714 h 4533"/>
                <a:gd name="T4" fmla="*/ 1543 w 4544"/>
                <a:gd name="T5" fmla="*/ 2359 h 4533"/>
                <a:gd name="T6" fmla="*/ 1896 w 4544"/>
                <a:gd name="T7" fmla="*/ 2412 h 4533"/>
                <a:gd name="T8" fmla="*/ 2106 w 4544"/>
                <a:gd name="T9" fmla="*/ 2733 h 4533"/>
                <a:gd name="T10" fmla="*/ 1608 w 4544"/>
                <a:gd name="T11" fmla="*/ 2549 h 4533"/>
                <a:gd name="T12" fmla="*/ 1226 w 4544"/>
                <a:gd name="T13" fmla="*/ 2653 h 4533"/>
                <a:gd name="T14" fmla="*/ 877 w 4544"/>
                <a:gd name="T15" fmla="*/ 2716 h 4533"/>
                <a:gd name="T16" fmla="*/ 1297 w 4544"/>
                <a:gd name="T17" fmla="*/ 2409 h 4533"/>
                <a:gd name="T18" fmla="*/ 1278 w 4544"/>
                <a:gd name="T19" fmla="*/ 1909 h 4533"/>
                <a:gd name="T20" fmla="*/ 1029 w 4544"/>
                <a:gd name="T21" fmla="*/ 1499 h 4533"/>
                <a:gd name="T22" fmla="*/ 639 w 4544"/>
                <a:gd name="T23" fmla="*/ 1297 h 4533"/>
                <a:gd name="T24" fmla="*/ 0 w 4544"/>
                <a:gd name="T25" fmla="*/ 1306 h 4533"/>
                <a:gd name="T26" fmla="*/ 378 w 4544"/>
                <a:gd name="T27" fmla="*/ 4330 h 4533"/>
                <a:gd name="T28" fmla="*/ 880 w 4544"/>
                <a:gd name="T29" fmla="*/ 4522 h 4533"/>
                <a:gd name="T30" fmla="*/ 1525 w 4544"/>
                <a:gd name="T31" fmla="*/ 4462 h 4533"/>
                <a:gd name="T32" fmla="*/ 1854 w 4544"/>
                <a:gd name="T33" fmla="*/ 4243 h 4533"/>
                <a:gd name="T34" fmla="*/ 2115 w 4544"/>
                <a:gd name="T35" fmla="*/ 3718 h 4533"/>
                <a:gd name="T36" fmla="*/ 2300 w 4544"/>
                <a:gd name="T37" fmla="*/ 3762 h 4533"/>
                <a:gd name="T38" fmla="*/ 2038 w 4544"/>
                <a:gd name="T39" fmla="*/ 4321 h 4533"/>
                <a:gd name="T40" fmla="*/ 2567 w 4544"/>
                <a:gd name="T41" fmla="*/ 4365 h 4533"/>
                <a:gd name="T42" fmla="*/ 2951 w 4544"/>
                <a:gd name="T43" fmla="*/ 4208 h 4533"/>
                <a:gd name="T44" fmla="*/ 3188 w 4544"/>
                <a:gd name="T45" fmla="*/ 3874 h 4533"/>
                <a:gd name="T46" fmla="*/ 3030 w 4544"/>
                <a:gd name="T47" fmla="*/ 3581 h 4533"/>
                <a:gd name="T48" fmla="*/ 2817 w 4544"/>
                <a:gd name="T49" fmla="*/ 3161 h 4533"/>
                <a:gd name="T50" fmla="*/ 2979 w 4544"/>
                <a:gd name="T51" fmla="*/ 2858 h 4533"/>
                <a:gd name="T52" fmla="*/ 3072 w 4544"/>
                <a:gd name="T53" fmla="*/ 3310 h 4533"/>
                <a:gd name="T54" fmla="*/ 3311 w 4544"/>
                <a:gd name="T55" fmla="*/ 3564 h 4533"/>
                <a:gd name="T56" fmla="*/ 3700 w 4544"/>
                <a:gd name="T57" fmla="*/ 3672 h 4533"/>
                <a:gd name="T58" fmla="*/ 4162 w 4544"/>
                <a:gd name="T59" fmla="*/ 3592 h 4533"/>
                <a:gd name="T60" fmla="*/ 4407 w 4544"/>
                <a:gd name="T61" fmla="*/ 3389 h 4533"/>
                <a:gd name="T62" fmla="*/ 4524 w 4544"/>
                <a:gd name="T63" fmla="*/ 3131 h 4533"/>
                <a:gd name="T64" fmla="*/ 4518 w 4544"/>
                <a:gd name="T65" fmla="*/ 2716 h 4533"/>
                <a:gd name="T66" fmla="*/ 4281 w 4544"/>
                <a:gd name="T67" fmla="*/ 2342 h 4533"/>
                <a:gd name="T68" fmla="*/ 4187 w 4544"/>
                <a:gd name="T69" fmla="*/ 2111 h 4533"/>
                <a:gd name="T70" fmla="*/ 4105 w 4544"/>
                <a:gd name="T71" fmla="*/ 1548 h 4533"/>
                <a:gd name="T72" fmla="*/ 3788 w 4544"/>
                <a:gd name="T73" fmla="*/ 1104 h 4533"/>
                <a:gd name="T74" fmla="*/ 3379 w 4544"/>
                <a:gd name="T75" fmla="*/ 887 h 4533"/>
                <a:gd name="T76" fmla="*/ 3440 w 4544"/>
                <a:gd name="T77" fmla="*/ 1451 h 4533"/>
                <a:gd name="T78" fmla="*/ 3291 w 4544"/>
                <a:gd name="T79" fmla="*/ 1852 h 4533"/>
                <a:gd name="T80" fmla="*/ 2959 w 4544"/>
                <a:gd name="T81" fmla="*/ 2151 h 4533"/>
                <a:gd name="T82" fmla="*/ 2427 w 4544"/>
                <a:gd name="T83" fmla="*/ 2326 h 4533"/>
                <a:gd name="T84" fmla="*/ 2762 w 4544"/>
                <a:gd name="T85" fmla="*/ 2038 h 4533"/>
                <a:gd name="T86" fmla="*/ 3134 w 4544"/>
                <a:gd name="T87" fmla="*/ 1745 h 4533"/>
                <a:gd name="T88" fmla="*/ 3244 w 4544"/>
                <a:gd name="T89" fmla="*/ 1407 h 4533"/>
                <a:gd name="T90" fmla="*/ 3170 w 4544"/>
                <a:gd name="T91" fmla="*/ 868 h 4533"/>
                <a:gd name="T92" fmla="*/ 3169 w 4544"/>
                <a:gd name="T93" fmla="*/ 828 h 4533"/>
                <a:gd name="T94" fmla="*/ 2970 w 4544"/>
                <a:gd name="T95" fmla="*/ 417 h 4533"/>
                <a:gd name="T96" fmla="*/ 2565 w 4544"/>
                <a:gd name="T97" fmla="*/ 96 h 4533"/>
                <a:gd name="T98" fmla="*/ 2036 w 4544"/>
                <a:gd name="T99" fmla="*/ 7 h 4533"/>
                <a:gd name="T100" fmla="*/ 2083 w 4544"/>
                <a:gd name="T101" fmla="*/ 430 h 4533"/>
                <a:gd name="T102" fmla="*/ 2029 w 4544"/>
                <a:gd name="T103" fmla="*/ 921 h 45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544" h="4533">
                  <a:moveTo>
                    <a:pt x="2029" y="921"/>
                  </a:moveTo>
                  <a:lnTo>
                    <a:pt x="2003" y="995"/>
                  </a:lnTo>
                  <a:lnTo>
                    <a:pt x="1936" y="1130"/>
                  </a:lnTo>
                  <a:lnTo>
                    <a:pt x="1857" y="1250"/>
                  </a:lnTo>
                  <a:lnTo>
                    <a:pt x="1769" y="1357"/>
                  </a:lnTo>
                  <a:lnTo>
                    <a:pt x="1678" y="1449"/>
                  </a:lnTo>
                  <a:lnTo>
                    <a:pt x="1586" y="1528"/>
                  </a:lnTo>
                  <a:lnTo>
                    <a:pt x="1455" y="1621"/>
                  </a:lnTo>
                  <a:lnTo>
                    <a:pt x="1383" y="1665"/>
                  </a:lnTo>
                  <a:lnTo>
                    <a:pt x="1406" y="1714"/>
                  </a:lnTo>
                  <a:lnTo>
                    <a:pt x="1446" y="1814"/>
                  </a:lnTo>
                  <a:lnTo>
                    <a:pt x="1493" y="1962"/>
                  </a:lnTo>
                  <a:lnTo>
                    <a:pt x="1528" y="2146"/>
                  </a:lnTo>
                  <a:lnTo>
                    <a:pt x="1542" y="2300"/>
                  </a:lnTo>
                  <a:lnTo>
                    <a:pt x="1543" y="2359"/>
                  </a:lnTo>
                  <a:lnTo>
                    <a:pt x="1580" y="2357"/>
                  </a:lnTo>
                  <a:lnTo>
                    <a:pt x="1654" y="2360"/>
                  </a:lnTo>
                  <a:lnTo>
                    <a:pt x="1731" y="2369"/>
                  </a:lnTo>
                  <a:lnTo>
                    <a:pt x="1812" y="2387"/>
                  </a:lnTo>
                  <a:lnTo>
                    <a:pt x="1896" y="2412"/>
                  </a:lnTo>
                  <a:lnTo>
                    <a:pt x="1983" y="2447"/>
                  </a:lnTo>
                  <a:lnTo>
                    <a:pt x="2073" y="2491"/>
                  </a:lnTo>
                  <a:lnTo>
                    <a:pt x="2166" y="2545"/>
                  </a:lnTo>
                  <a:lnTo>
                    <a:pt x="2213" y="2576"/>
                  </a:lnTo>
                  <a:lnTo>
                    <a:pt x="2106" y="2733"/>
                  </a:lnTo>
                  <a:lnTo>
                    <a:pt x="2044" y="2692"/>
                  </a:lnTo>
                  <a:lnTo>
                    <a:pt x="1924" y="2628"/>
                  </a:lnTo>
                  <a:lnTo>
                    <a:pt x="1813" y="2584"/>
                  </a:lnTo>
                  <a:lnTo>
                    <a:pt x="1707" y="2558"/>
                  </a:lnTo>
                  <a:lnTo>
                    <a:pt x="1608" y="2549"/>
                  </a:lnTo>
                  <a:lnTo>
                    <a:pt x="1517" y="2552"/>
                  </a:lnTo>
                  <a:lnTo>
                    <a:pt x="1433" y="2566"/>
                  </a:lnTo>
                  <a:lnTo>
                    <a:pt x="1357" y="2589"/>
                  </a:lnTo>
                  <a:lnTo>
                    <a:pt x="1287" y="2619"/>
                  </a:lnTo>
                  <a:lnTo>
                    <a:pt x="1226" y="2653"/>
                  </a:lnTo>
                  <a:lnTo>
                    <a:pt x="1148" y="2709"/>
                  </a:lnTo>
                  <a:lnTo>
                    <a:pt x="1044" y="2810"/>
                  </a:lnTo>
                  <a:lnTo>
                    <a:pt x="1026" y="2834"/>
                  </a:lnTo>
                  <a:lnTo>
                    <a:pt x="871" y="2725"/>
                  </a:lnTo>
                  <a:lnTo>
                    <a:pt x="877" y="2716"/>
                  </a:lnTo>
                  <a:lnTo>
                    <a:pt x="942" y="2642"/>
                  </a:lnTo>
                  <a:lnTo>
                    <a:pt x="1030" y="2563"/>
                  </a:lnTo>
                  <a:lnTo>
                    <a:pt x="1107" y="2508"/>
                  </a:lnTo>
                  <a:lnTo>
                    <a:pt x="1195" y="2454"/>
                  </a:lnTo>
                  <a:lnTo>
                    <a:pt x="1297" y="2409"/>
                  </a:lnTo>
                  <a:lnTo>
                    <a:pt x="1354" y="2391"/>
                  </a:lnTo>
                  <a:lnTo>
                    <a:pt x="1353" y="2321"/>
                  </a:lnTo>
                  <a:lnTo>
                    <a:pt x="1337" y="2163"/>
                  </a:lnTo>
                  <a:lnTo>
                    <a:pt x="1314" y="2040"/>
                  </a:lnTo>
                  <a:lnTo>
                    <a:pt x="1278" y="1909"/>
                  </a:lnTo>
                  <a:lnTo>
                    <a:pt x="1226" y="1775"/>
                  </a:lnTo>
                  <a:lnTo>
                    <a:pt x="1173" y="1678"/>
                  </a:lnTo>
                  <a:lnTo>
                    <a:pt x="1131" y="1615"/>
                  </a:lnTo>
                  <a:lnTo>
                    <a:pt x="1083" y="1555"/>
                  </a:lnTo>
                  <a:lnTo>
                    <a:pt x="1029" y="1499"/>
                  </a:lnTo>
                  <a:lnTo>
                    <a:pt x="999" y="1473"/>
                  </a:lnTo>
                  <a:lnTo>
                    <a:pt x="956" y="1438"/>
                  </a:lnTo>
                  <a:lnTo>
                    <a:pt x="860" y="1377"/>
                  </a:lnTo>
                  <a:lnTo>
                    <a:pt x="754" y="1331"/>
                  </a:lnTo>
                  <a:lnTo>
                    <a:pt x="639" y="1297"/>
                  </a:lnTo>
                  <a:lnTo>
                    <a:pt x="513" y="1276"/>
                  </a:lnTo>
                  <a:lnTo>
                    <a:pt x="378" y="1269"/>
                  </a:lnTo>
                  <a:lnTo>
                    <a:pt x="234" y="1274"/>
                  </a:lnTo>
                  <a:lnTo>
                    <a:pt x="80" y="1292"/>
                  </a:lnTo>
                  <a:lnTo>
                    <a:pt x="0" y="1306"/>
                  </a:lnTo>
                  <a:lnTo>
                    <a:pt x="0" y="3964"/>
                  </a:lnTo>
                  <a:lnTo>
                    <a:pt x="62" y="4041"/>
                  </a:lnTo>
                  <a:lnTo>
                    <a:pt x="182" y="4167"/>
                  </a:lnTo>
                  <a:lnTo>
                    <a:pt x="276" y="4251"/>
                  </a:lnTo>
                  <a:lnTo>
                    <a:pt x="378" y="4330"/>
                  </a:lnTo>
                  <a:lnTo>
                    <a:pt x="490" y="4400"/>
                  </a:lnTo>
                  <a:lnTo>
                    <a:pt x="609" y="4457"/>
                  </a:lnTo>
                  <a:lnTo>
                    <a:pt x="737" y="4498"/>
                  </a:lnTo>
                  <a:lnTo>
                    <a:pt x="803" y="4510"/>
                  </a:lnTo>
                  <a:lnTo>
                    <a:pt x="880" y="4522"/>
                  </a:lnTo>
                  <a:lnTo>
                    <a:pt x="1025" y="4533"/>
                  </a:lnTo>
                  <a:lnTo>
                    <a:pt x="1162" y="4532"/>
                  </a:lnTo>
                  <a:lnTo>
                    <a:pt x="1292" y="4520"/>
                  </a:lnTo>
                  <a:lnTo>
                    <a:pt x="1412" y="4497"/>
                  </a:lnTo>
                  <a:lnTo>
                    <a:pt x="1525" y="4462"/>
                  </a:lnTo>
                  <a:lnTo>
                    <a:pt x="1629" y="4416"/>
                  </a:lnTo>
                  <a:lnTo>
                    <a:pt x="1725" y="4357"/>
                  </a:lnTo>
                  <a:lnTo>
                    <a:pt x="1768" y="4322"/>
                  </a:lnTo>
                  <a:lnTo>
                    <a:pt x="1799" y="4298"/>
                  </a:lnTo>
                  <a:lnTo>
                    <a:pt x="1854" y="4243"/>
                  </a:lnTo>
                  <a:lnTo>
                    <a:pt x="1926" y="4158"/>
                  </a:lnTo>
                  <a:lnTo>
                    <a:pt x="2001" y="4038"/>
                  </a:lnTo>
                  <a:lnTo>
                    <a:pt x="2055" y="3920"/>
                  </a:lnTo>
                  <a:lnTo>
                    <a:pt x="2092" y="3812"/>
                  </a:lnTo>
                  <a:lnTo>
                    <a:pt x="2115" y="3718"/>
                  </a:lnTo>
                  <a:lnTo>
                    <a:pt x="2131" y="3621"/>
                  </a:lnTo>
                  <a:lnTo>
                    <a:pt x="2132" y="3605"/>
                  </a:lnTo>
                  <a:lnTo>
                    <a:pt x="2321" y="3616"/>
                  </a:lnTo>
                  <a:lnTo>
                    <a:pt x="2320" y="3634"/>
                  </a:lnTo>
                  <a:lnTo>
                    <a:pt x="2300" y="3762"/>
                  </a:lnTo>
                  <a:lnTo>
                    <a:pt x="2260" y="3910"/>
                  </a:lnTo>
                  <a:lnTo>
                    <a:pt x="2219" y="4023"/>
                  </a:lnTo>
                  <a:lnTo>
                    <a:pt x="2160" y="4142"/>
                  </a:lnTo>
                  <a:lnTo>
                    <a:pt x="2085" y="4261"/>
                  </a:lnTo>
                  <a:lnTo>
                    <a:pt x="2038" y="4321"/>
                  </a:lnTo>
                  <a:lnTo>
                    <a:pt x="2105" y="4338"/>
                  </a:lnTo>
                  <a:lnTo>
                    <a:pt x="2239" y="4361"/>
                  </a:lnTo>
                  <a:lnTo>
                    <a:pt x="2342" y="4371"/>
                  </a:lnTo>
                  <a:lnTo>
                    <a:pt x="2452" y="4374"/>
                  </a:lnTo>
                  <a:lnTo>
                    <a:pt x="2567" y="4365"/>
                  </a:lnTo>
                  <a:lnTo>
                    <a:pt x="2684" y="4342"/>
                  </a:lnTo>
                  <a:lnTo>
                    <a:pt x="2798" y="4301"/>
                  </a:lnTo>
                  <a:lnTo>
                    <a:pt x="2854" y="4273"/>
                  </a:lnTo>
                  <a:lnTo>
                    <a:pt x="2887" y="4253"/>
                  </a:lnTo>
                  <a:lnTo>
                    <a:pt x="2951" y="4208"/>
                  </a:lnTo>
                  <a:lnTo>
                    <a:pt x="3009" y="4156"/>
                  </a:lnTo>
                  <a:lnTo>
                    <a:pt x="3062" y="4097"/>
                  </a:lnTo>
                  <a:lnTo>
                    <a:pt x="3109" y="4029"/>
                  </a:lnTo>
                  <a:lnTo>
                    <a:pt x="3151" y="3955"/>
                  </a:lnTo>
                  <a:lnTo>
                    <a:pt x="3188" y="3874"/>
                  </a:lnTo>
                  <a:lnTo>
                    <a:pt x="3219" y="3786"/>
                  </a:lnTo>
                  <a:lnTo>
                    <a:pt x="3232" y="3739"/>
                  </a:lnTo>
                  <a:lnTo>
                    <a:pt x="3176" y="3705"/>
                  </a:lnTo>
                  <a:lnTo>
                    <a:pt x="3075" y="3626"/>
                  </a:lnTo>
                  <a:lnTo>
                    <a:pt x="3030" y="3581"/>
                  </a:lnTo>
                  <a:lnTo>
                    <a:pt x="3005" y="3552"/>
                  </a:lnTo>
                  <a:lnTo>
                    <a:pt x="2961" y="3493"/>
                  </a:lnTo>
                  <a:lnTo>
                    <a:pt x="2906" y="3402"/>
                  </a:lnTo>
                  <a:lnTo>
                    <a:pt x="2852" y="3279"/>
                  </a:lnTo>
                  <a:lnTo>
                    <a:pt x="2817" y="3161"/>
                  </a:lnTo>
                  <a:lnTo>
                    <a:pt x="2798" y="3052"/>
                  </a:lnTo>
                  <a:lnTo>
                    <a:pt x="2790" y="2959"/>
                  </a:lnTo>
                  <a:lnTo>
                    <a:pt x="2789" y="2860"/>
                  </a:lnTo>
                  <a:lnTo>
                    <a:pt x="2790" y="2842"/>
                  </a:lnTo>
                  <a:lnTo>
                    <a:pt x="2979" y="2858"/>
                  </a:lnTo>
                  <a:lnTo>
                    <a:pt x="2979" y="2871"/>
                  </a:lnTo>
                  <a:lnTo>
                    <a:pt x="2982" y="2982"/>
                  </a:lnTo>
                  <a:lnTo>
                    <a:pt x="3002" y="3113"/>
                  </a:lnTo>
                  <a:lnTo>
                    <a:pt x="3030" y="3210"/>
                  </a:lnTo>
                  <a:lnTo>
                    <a:pt x="3072" y="3310"/>
                  </a:lnTo>
                  <a:lnTo>
                    <a:pt x="3132" y="3407"/>
                  </a:lnTo>
                  <a:lnTo>
                    <a:pt x="3171" y="3454"/>
                  </a:lnTo>
                  <a:lnTo>
                    <a:pt x="3202" y="3485"/>
                  </a:lnTo>
                  <a:lnTo>
                    <a:pt x="3272" y="3541"/>
                  </a:lnTo>
                  <a:lnTo>
                    <a:pt x="3311" y="3564"/>
                  </a:lnTo>
                  <a:lnTo>
                    <a:pt x="3381" y="3595"/>
                  </a:lnTo>
                  <a:lnTo>
                    <a:pt x="3396" y="3602"/>
                  </a:lnTo>
                  <a:lnTo>
                    <a:pt x="3493" y="3633"/>
                  </a:lnTo>
                  <a:lnTo>
                    <a:pt x="3587" y="3655"/>
                  </a:lnTo>
                  <a:lnTo>
                    <a:pt x="3700" y="3672"/>
                  </a:lnTo>
                  <a:lnTo>
                    <a:pt x="3827" y="3675"/>
                  </a:lnTo>
                  <a:lnTo>
                    <a:pt x="3961" y="3662"/>
                  </a:lnTo>
                  <a:lnTo>
                    <a:pt x="4062" y="3635"/>
                  </a:lnTo>
                  <a:lnTo>
                    <a:pt x="4129" y="3609"/>
                  </a:lnTo>
                  <a:lnTo>
                    <a:pt x="4162" y="3592"/>
                  </a:lnTo>
                  <a:lnTo>
                    <a:pt x="4195" y="3573"/>
                  </a:lnTo>
                  <a:lnTo>
                    <a:pt x="4257" y="3533"/>
                  </a:lnTo>
                  <a:lnTo>
                    <a:pt x="4313" y="3489"/>
                  </a:lnTo>
                  <a:lnTo>
                    <a:pt x="4364" y="3441"/>
                  </a:lnTo>
                  <a:lnTo>
                    <a:pt x="4407" y="3389"/>
                  </a:lnTo>
                  <a:lnTo>
                    <a:pt x="4444" y="3333"/>
                  </a:lnTo>
                  <a:lnTo>
                    <a:pt x="4477" y="3272"/>
                  </a:lnTo>
                  <a:lnTo>
                    <a:pt x="4502" y="3208"/>
                  </a:lnTo>
                  <a:lnTo>
                    <a:pt x="4513" y="3174"/>
                  </a:lnTo>
                  <a:lnTo>
                    <a:pt x="4524" y="3131"/>
                  </a:lnTo>
                  <a:lnTo>
                    <a:pt x="4540" y="3043"/>
                  </a:lnTo>
                  <a:lnTo>
                    <a:pt x="4544" y="2999"/>
                  </a:lnTo>
                  <a:lnTo>
                    <a:pt x="4544" y="2942"/>
                  </a:lnTo>
                  <a:lnTo>
                    <a:pt x="4536" y="2828"/>
                  </a:lnTo>
                  <a:lnTo>
                    <a:pt x="4518" y="2716"/>
                  </a:lnTo>
                  <a:lnTo>
                    <a:pt x="4486" y="2610"/>
                  </a:lnTo>
                  <a:lnTo>
                    <a:pt x="4440" y="2511"/>
                  </a:lnTo>
                  <a:lnTo>
                    <a:pt x="4379" y="2426"/>
                  </a:lnTo>
                  <a:lnTo>
                    <a:pt x="4324" y="2373"/>
                  </a:lnTo>
                  <a:lnTo>
                    <a:pt x="4281" y="2342"/>
                  </a:lnTo>
                  <a:lnTo>
                    <a:pt x="4233" y="2316"/>
                  </a:lnTo>
                  <a:lnTo>
                    <a:pt x="4181" y="2295"/>
                  </a:lnTo>
                  <a:lnTo>
                    <a:pt x="4154" y="2286"/>
                  </a:lnTo>
                  <a:lnTo>
                    <a:pt x="4168" y="2228"/>
                  </a:lnTo>
                  <a:lnTo>
                    <a:pt x="4187" y="2111"/>
                  </a:lnTo>
                  <a:lnTo>
                    <a:pt x="4194" y="1994"/>
                  </a:lnTo>
                  <a:lnTo>
                    <a:pt x="4187" y="1879"/>
                  </a:lnTo>
                  <a:lnTo>
                    <a:pt x="4171" y="1765"/>
                  </a:lnTo>
                  <a:lnTo>
                    <a:pt x="4142" y="1655"/>
                  </a:lnTo>
                  <a:lnTo>
                    <a:pt x="4105" y="1548"/>
                  </a:lnTo>
                  <a:lnTo>
                    <a:pt x="4057" y="1447"/>
                  </a:lnTo>
                  <a:lnTo>
                    <a:pt x="4001" y="1351"/>
                  </a:lnTo>
                  <a:lnTo>
                    <a:pt x="3936" y="1261"/>
                  </a:lnTo>
                  <a:lnTo>
                    <a:pt x="3865" y="1178"/>
                  </a:lnTo>
                  <a:lnTo>
                    <a:pt x="3788" y="1104"/>
                  </a:lnTo>
                  <a:lnTo>
                    <a:pt x="3704" y="1038"/>
                  </a:lnTo>
                  <a:lnTo>
                    <a:pt x="3616" y="981"/>
                  </a:lnTo>
                  <a:lnTo>
                    <a:pt x="3524" y="935"/>
                  </a:lnTo>
                  <a:lnTo>
                    <a:pt x="3428" y="900"/>
                  </a:lnTo>
                  <a:lnTo>
                    <a:pt x="3379" y="887"/>
                  </a:lnTo>
                  <a:lnTo>
                    <a:pt x="3398" y="956"/>
                  </a:lnTo>
                  <a:lnTo>
                    <a:pt x="3427" y="1087"/>
                  </a:lnTo>
                  <a:lnTo>
                    <a:pt x="3442" y="1214"/>
                  </a:lnTo>
                  <a:lnTo>
                    <a:pt x="3447" y="1336"/>
                  </a:lnTo>
                  <a:lnTo>
                    <a:pt x="3440" y="1451"/>
                  </a:lnTo>
                  <a:lnTo>
                    <a:pt x="3420" y="1561"/>
                  </a:lnTo>
                  <a:lnTo>
                    <a:pt x="3388" y="1665"/>
                  </a:lnTo>
                  <a:lnTo>
                    <a:pt x="3344" y="1764"/>
                  </a:lnTo>
                  <a:lnTo>
                    <a:pt x="3316" y="1810"/>
                  </a:lnTo>
                  <a:lnTo>
                    <a:pt x="3291" y="1852"/>
                  </a:lnTo>
                  <a:lnTo>
                    <a:pt x="3234" y="1928"/>
                  </a:lnTo>
                  <a:lnTo>
                    <a:pt x="3170" y="1994"/>
                  </a:lnTo>
                  <a:lnTo>
                    <a:pt x="3103" y="2054"/>
                  </a:lnTo>
                  <a:lnTo>
                    <a:pt x="3031" y="2106"/>
                  </a:lnTo>
                  <a:lnTo>
                    <a:pt x="2959" y="2151"/>
                  </a:lnTo>
                  <a:lnTo>
                    <a:pt x="2850" y="2207"/>
                  </a:lnTo>
                  <a:lnTo>
                    <a:pt x="2711" y="2261"/>
                  </a:lnTo>
                  <a:lnTo>
                    <a:pt x="2589" y="2296"/>
                  </a:lnTo>
                  <a:lnTo>
                    <a:pt x="2455" y="2324"/>
                  </a:lnTo>
                  <a:lnTo>
                    <a:pt x="2427" y="2326"/>
                  </a:lnTo>
                  <a:lnTo>
                    <a:pt x="2409" y="2137"/>
                  </a:lnTo>
                  <a:lnTo>
                    <a:pt x="2427" y="2136"/>
                  </a:lnTo>
                  <a:lnTo>
                    <a:pt x="2539" y="2114"/>
                  </a:lnTo>
                  <a:lnTo>
                    <a:pt x="2642" y="2084"/>
                  </a:lnTo>
                  <a:lnTo>
                    <a:pt x="2762" y="2038"/>
                  </a:lnTo>
                  <a:lnTo>
                    <a:pt x="2885" y="1975"/>
                  </a:lnTo>
                  <a:lnTo>
                    <a:pt x="2976" y="1911"/>
                  </a:lnTo>
                  <a:lnTo>
                    <a:pt x="3033" y="1862"/>
                  </a:lnTo>
                  <a:lnTo>
                    <a:pt x="3086" y="1808"/>
                  </a:lnTo>
                  <a:lnTo>
                    <a:pt x="3134" y="1745"/>
                  </a:lnTo>
                  <a:lnTo>
                    <a:pt x="3154" y="1712"/>
                  </a:lnTo>
                  <a:lnTo>
                    <a:pt x="3178" y="1672"/>
                  </a:lnTo>
                  <a:lnTo>
                    <a:pt x="3213" y="1589"/>
                  </a:lnTo>
                  <a:lnTo>
                    <a:pt x="3234" y="1501"/>
                  </a:lnTo>
                  <a:lnTo>
                    <a:pt x="3244" y="1407"/>
                  </a:lnTo>
                  <a:lnTo>
                    <a:pt x="3243" y="1307"/>
                  </a:lnTo>
                  <a:lnTo>
                    <a:pt x="3232" y="1196"/>
                  </a:lnTo>
                  <a:lnTo>
                    <a:pt x="3202" y="1012"/>
                  </a:lnTo>
                  <a:lnTo>
                    <a:pt x="3174" y="868"/>
                  </a:lnTo>
                  <a:lnTo>
                    <a:pt x="3170" y="868"/>
                  </a:lnTo>
                  <a:lnTo>
                    <a:pt x="3171" y="868"/>
                  </a:lnTo>
                  <a:lnTo>
                    <a:pt x="3176" y="867"/>
                  </a:lnTo>
                  <a:lnTo>
                    <a:pt x="3178" y="867"/>
                  </a:lnTo>
                  <a:lnTo>
                    <a:pt x="3174" y="868"/>
                  </a:lnTo>
                  <a:lnTo>
                    <a:pt x="3169" y="828"/>
                  </a:lnTo>
                  <a:lnTo>
                    <a:pt x="3149" y="745"/>
                  </a:lnTo>
                  <a:lnTo>
                    <a:pt x="3119" y="662"/>
                  </a:lnTo>
                  <a:lnTo>
                    <a:pt x="3079" y="579"/>
                  </a:lnTo>
                  <a:lnTo>
                    <a:pt x="3029" y="496"/>
                  </a:lnTo>
                  <a:lnTo>
                    <a:pt x="2970" y="417"/>
                  </a:lnTo>
                  <a:lnTo>
                    <a:pt x="2903" y="340"/>
                  </a:lnTo>
                  <a:lnTo>
                    <a:pt x="2828" y="269"/>
                  </a:lnTo>
                  <a:lnTo>
                    <a:pt x="2746" y="204"/>
                  </a:lnTo>
                  <a:lnTo>
                    <a:pt x="2658" y="146"/>
                  </a:lnTo>
                  <a:lnTo>
                    <a:pt x="2565" y="96"/>
                  </a:lnTo>
                  <a:lnTo>
                    <a:pt x="2466" y="54"/>
                  </a:lnTo>
                  <a:lnTo>
                    <a:pt x="2363" y="24"/>
                  </a:lnTo>
                  <a:lnTo>
                    <a:pt x="2256" y="5"/>
                  </a:lnTo>
                  <a:lnTo>
                    <a:pt x="2147" y="0"/>
                  </a:lnTo>
                  <a:lnTo>
                    <a:pt x="2036" y="7"/>
                  </a:lnTo>
                  <a:lnTo>
                    <a:pt x="1979" y="18"/>
                  </a:lnTo>
                  <a:lnTo>
                    <a:pt x="2002" y="79"/>
                  </a:lnTo>
                  <a:lnTo>
                    <a:pt x="2038" y="198"/>
                  </a:lnTo>
                  <a:lnTo>
                    <a:pt x="2066" y="315"/>
                  </a:lnTo>
                  <a:lnTo>
                    <a:pt x="2083" y="430"/>
                  </a:lnTo>
                  <a:lnTo>
                    <a:pt x="2089" y="543"/>
                  </a:lnTo>
                  <a:lnTo>
                    <a:pt x="2085" y="654"/>
                  </a:lnTo>
                  <a:lnTo>
                    <a:pt x="2071" y="762"/>
                  </a:lnTo>
                  <a:lnTo>
                    <a:pt x="2046" y="869"/>
                  </a:lnTo>
                  <a:lnTo>
                    <a:pt x="2029" y="9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noFill/>
                <a:effectLst/>
                <a:uLnTx/>
                <a:uFillTx/>
                <a:latin typeface="Calibri" panose="020F0502020204030204"/>
                <a:ea typeface="+mn-ea"/>
                <a:cs typeface="+mn-cs"/>
              </a:endParaRPr>
            </a:p>
          </p:txBody>
        </p:sp>
        <p:sp>
          <p:nvSpPr>
            <p:cNvPr id="5" name="Freeform 56">
              <a:extLst>
                <a:ext uri="{FF2B5EF4-FFF2-40B4-BE49-F238E27FC236}">
                  <a16:creationId xmlns:a16="http://schemas.microsoft.com/office/drawing/2014/main" id="{4A267492-E53A-4E4E-8392-76B79232085E}"/>
                </a:ext>
              </a:extLst>
            </p:cNvPr>
            <p:cNvSpPr>
              <a:spLocks/>
            </p:cNvSpPr>
            <p:nvPr/>
          </p:nvSpPr>
          <p:spPr bwMode="auto">
            <a:xfrm>
              <a:off x="6175710" y="1808481"/>
              <a:ext cx="735195" cy="821869"/>
            </a:xfrm>
            <a:custGeom>
              <a:avLst/>
              <a:gdLst>
                <a:gd name="T0" fmla="*/ 1123 w 1900"/>
                <a:gd name="T1" fmla="*/ 1950 h 2124"/>
                <a:gd name="T2" fmla="*/ 1169 w 1900"/>
                <a:gd name="T3" fmla="*/ 1991 h 2124"/>
                <a:gd name="T4" fmla="*/ 1248 w 1900"/>
                <a:gd name="T5" fmla="*/ 2077 h 2124"/>
                <a:gd name="T6" fmla="*/ 1283 w 1900"/>
                <a:gd name="T7" fmla="*/ 2124 h 2124"/>
                <a:gd name="T8" fmla="*/ 1346 w 1900"/>
                <a:gd name="T9" fmla="*/ 2087 h 2124"/>
                <a:gd name="T10" fmla="*/ 1460 w 1900"/>
                <a:gd name="T11" fmla="*/ 2004 h 2124"/>
                <a:gd name="T12" fmla="*/ 1542 w 1900"/>
                <a:gd name="T13" fmla="*/ 1936 h 2124"/>
                <a:gd name="T14" fmla="*/ 1622 w 1900"/>
                <a:gd name="T15" fmla="*/ 1856 h 2124"/>
                <a:gd name="T16" fmla="*/ 1700 w 1900"/>
                <a:gd name="T17" fmla="*/ 1764 h 2124"/>
                <a:gd name="T18" fmla="*/ 1769 w 1900"/>
                <a:gd name="T19" fmla="*/ 1660 h 2124"/>
                <a:gd name="T20" fmla="*/ 1827 w 1900"/>
                <a:gd name="T21" fmla="*/ 1543 h 2124"/>
                <a:gd name="T22" fmla="*/ 1851 w 1900"/>
                <a:gd name="T23" fmla="*/ 1480 h 2124"/>
                <a:gd name="T24" fmla="*/ 1867 w 1900"/>
                <a:gd name="T25" fmla="*/ 1427 h 2124"/>
                <a:gd name="T26" fmla="*/ 1889 w 1900"/>
                <a:gd name="T27" fmla="*/ 1318 h 2124"/>
                <a:gd name="T28" fmla="*/ 1900 w 1900"/>
                <a:gd name="T29" fmla="*/ 1205 h 2124"/>
                <a:gd name="T30" fmla="*/ 1896 w 1900"/>
                <a:gd name="T31" fmla="*/ 1088 h 2124"/>
                <a:gd name="T32" fmla="*/ 1879 w 1900"/>
                <a:gd name="T33" fmla="*/ 969 h 2124"/>
                <a:gd name="T34" fmla="*/ 1851 w 1900"/>
                <a:gd name="T35" fmla="*/ 847 h 2124"/>
                <a:gd name="T36" fmla="*/ 1808 w 1900"/>
                <a:gd name="T37" fmla="*/ 723 h 2124"/>
                <a:gd name="T38" fmla="*/ 1753 w 1900"/>
                <a:gd name="T39" fmla="*/ 595 h 2124"/>
                <a:gd name="T40" fmla="*/ 1721 w 1900"/>
                <a:gd name="T41" fmla="*/ 529 h 2124"/>
                <a:gd name="T42" fmla="*/ 1692 w 1900"/>
                <a:gd name="T43" fmla="*/ 484 h 2124"/>
                <a:gd name="T44" fmla="*/ 1622 w 1900"/>
                <a:gd name="T45" fmla="*/ 392 h 2124"/>
                <a:gd name="T46" fmla="*/ 1538 w 1900"/>
                <a:gd name="T47" fmla="*/ 302 h 2124"/>
                <a:gd name="T48" fmla="*/ 1440 w 1900"/>
                <a:gd name="T49" fmla="*/ 216 h 2124"/>
                <a:gd name="T50" fmla="*/ 1328 w 1900"/>
                <a:gd name="T51" fmla="*/ 138 h 2124"/>
                <a:gd name="T52" fmla="*/ 1201 w 1900"/>
                <a:gd name="T53" fmla="*/ 74 h 2124"/>
                <a:gd name="T54" fmla="*/ 1063 w 1900"/>
                <a:gd name="T55" fmla="*/ 27 h 2124"/>
                <a:gd name="T56" fmla="*/ 948 w 1900"/>
                <a:gd name="T57" fmla="*/ 6 h 2124"/>
                <a:gd name="T58" fmla="*/ 869 w 1900"/>
                <a:gd name="T59" fmla="*/ 0 h 2124"/>
                <a:gd name="T60" fmla="*/ 828 w 1900"/>
                <a:gd name="T61" fmla="*/ 0 h 2124"/>
                <a:gd name="T62" fmla="*/ 776 w 1900"/>
                <a:gd name="T63" fmla="*/ 0 h 2124"/>
                <a:gd name="T64" fmla="*/ 679 w 1900"/>
                <a:gd name="T65" fmla="*/ 10 h 2124"/>
                <a:gd name="T66" fmla="*/ 588 w 1900"/>
                <a:gd name="T67" fmla="*/ 31 h 2124"/>
                <a:gd name="T68" fmla="*/ 504 w 1900"/>
                <a:gd name="T69" fmla="*/ 61 h 2124"/>
                <a:gd name="T70" fmla="*/ 426 w 1900"/>
                <a:gd name="T71" fmla="*/ 100 h 2124"/>
                <a:gd name="T72" fmla="*/ 355 w 1900"/>
                <a:gd name="T73" fmla="*/ 148 h 2124"/>
                <a:gd name="T74" fmla="*/ 290 w 1900"/>
                <a:gd name="T75" fmla="*/ 203 h 2124"/>
                <a:gd name="T76" fmla="*/ 232 w 1900"/>
                <a:gd name="T77" fmla="*/ 265 h 2124"/>
                <a:gd name="T78" fmla="*/ 180 w 1900"/>
                <a:gd name="T79" fmla="*/ 337 h 2124"/>
                <a:gd name="T80" fmla="*/ 134 w 1900"/>
                <a:gd name="T81" fmla="*/ 413 h 2124"/>
                <a:gd name="T82" fmla="*/ 97 w 1900"/>
                <a:gd name="T83" fmla="*/ 496 h 2124"/>
                <a:gd name="T84" fmla="*/ 64 w 1900"/>
                <a:gd name="T85" fmla="*/ 584 h 2124"/>
                <a:gd name="T86" fmla="*/ 39 w 1900"/>
                <a:gd name="T87" fmla="*/ 679 h 2124"/>
                <a:gd name="T88" fmla="*/ 19 w 1900"/>
                <a:gd name="T89" fmla="*/ 777 h 2124"/>
                <a:gd name="T90" fmla="*/ 6 w 1900"/>
                <a:gd name="T91" fmla="*/ 881 h 2124"/>
                <a:gd name="T92" fmla="*/ 0 w 1900"/>
                <a:gd name="T93" fmla="*/ 987 h 2124"/>
                <a:gd name="T94" fmla="*/ 0 w 1900"/>
                <a:gd name="T95" fmla="*/ 1043 h 2124"/>
                <a:gd name="T96" fmla="*/ 0 w 1900"/>
                <a:gd name="T97" fmla="*/ 1735 h 2124"/>
                <a:gd name="T98" fmla="*/ 88 w 1900"/>
                <a:gd name="T99" fmla="*/ 1720 h 2124"/>
                <a:gd name="T100" fmla="*/ 258 w 1900"/>
                <a:gd name="T101" fmla="*/ 1703 h 2124"/>
                <a:gd name="T102" fmla="*/ 418 w 1900"/>
                <a:gd name="T103" fmla="*/ 1700 h 2124"/>
                <a:gd name="T104" fmla="*/ 569 w 1900"/>
                <a:gd name="T105" fmla="*/ 1712 h 2124"/>
                <a:gd name="T106" fmla="*/ 709 w 1900"/>
                <a:gd name="T107" fmla="*/ 1739 h 2124"/>
                <a:gd name="T108" fmla="*/ 840 w 1900"/>
                <a:gd name="T109" fmla="*/ 1782 h 2124"/>
                <a:gd name="T110" fmla="*/ 961 w 1900"/>
                <a:gd name="T111" fmla="*/ 1838 h 2124"/>
                <a:gd name="T112" fmla="*/ 1072 w 1900"/>
                <a:gd name="T113" fmla="*/ 1909 h 2124"/>
                <a:gd name="T114" fmla="*/ 1123 w 1900"/>
                <a:gd name="T115" fmla="*/ 1950 h 2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900" h="2124">
                  <a:moveTo>
                    <a:pt x="1123" y="1950"/>
                  </a:moveTo>
                  <a:lnTo>
                    <a:pt x="1169" y="1991"/>
                  </a:lnTo>
                  <a:lnTo>
                    <a:pt x="1248" y="2077"/>
                  </a:lnTo>
                  <a:lnTo>
                    <a:pt x="1283" y="2124"/>
                  </a:lnTo>
                  <a:lnTo>
                    <a:pt x="1346" y="2087"/>
                  </a:lnTo>
                  <a:lnTo>
                    <a:pt x="1460" y="2004"/>
                  </a:lnTo>
                  <a:lnTo>
                    <a:pt x="1542" y="1936"/>
                  </a:lnTo>
                  <a:lnTo>
                    <a:pt x="1622" y="1856"/>
                  </a:lnTo>
                  <a:lnTo>
                    <a:pt x="1700" y="1764"/>
                  </a:lnTo>
                  <a:lnTo>
                    <a:pt x="1769" y="1660"/>
                  </a:lnTo>
                  <a:lnTo>
                    <a:pt x="1827" y="1543"/>
                  </a:lnTo>
                  <a:lnTo>
                    <a:pt x="1851" y="1480"/>
                  </a:lnTo>
                  <a:lnTo>
                    <a:pt x="1867" y="1427"/>
                  </a:lnTo>
                  <a:lnTo>
                    <a:pt x="1889" y="1318"/>
                  </a:lnTo>
                  <a:lnTo>
                    <a:pt x="1900" y="1205"/>
                  </a:lnTo>
                  <a:lnTo>
                    <a:pt x="1896" y="1088"/>
                  </a:lnTo>
                  <a:lnTo>
                    <a:pt x="1879" y="969"/>
                  </a:lnTo>
                  <a:lnTo>
                    <a:pt x="1851" y="847"/>
                  </a:lnTo>
                  <a:lnTo>
                    <a:pt x="1808" y="723"/>
                  </a:lnTo>
                  <a:lnTo>
                    <a:pt x="1753" y="595"/>
                  </a:lnTo>
                  <a:lnTo>
                    <a:pt x="1721" y="529"/>
                  </a:lnTo>
                  <a:lnTo>
                    <a:pt x="1692" y="484"/>
                  </a:lnTo>
                  <a:lnTo>
                    <a:pt x="1622" y="392"/>
                  </a:lnTo>
                  <a:lnTo>
                    <a:pt x="1538" y="302"/>
                  </a:lnTo>
                  <a:lnTo>
                    <a:pt x="1440" y="216"/>
                  </a:lnTo>
                  <a:lnTo>
                    <a:pt x="1328" y="138"/>
                  </a:lnTo>
                  <a:lnTo>
                    <a:pt x="1201" y="74"/>
                  </a:lnTo>
                  <a:lnTo>
                    <a:pt x="1063" y="27"/>
                  </a:lnTo>
                  <a:lnTo>
                    <a:pt x="948" y="6"/>
                  </a:lnTo>
                  <a:lnTo>
                    <a:pt x="869" y="0"/>
                  </a:lnTo>
                  <a:lnTo>
                    <a:pt x="828" y="0"/>
                  </a:lnTo>
                  <a:lnTo>
                    <a:pt x="776" y="0"/>
                  </a:lnTo>
                  <a:lnTo>
                    <a:pt x="679" y="10"/>
                  </a:lnTo>
                  <a:lnTo>
                    <a:pt x="588" y="31"/>
                  </a:lnTo>
                  <a:lnTo>
                    <a:pt x="504" y="61"/>
                  </a:lnTo>
                  <a:lnTo>
                    <a:pt x="426" y="100"/>
                  </a:lnTo>
                  <a:lnTo>
                    <a:pt x="355" y="148"/>
                  </a:lnTo>
                  <a:lnTo>
                    <a:pt x="290" y="203"/>
                  </a:lnTo>
                  <a:lnTo>
                    <a:pt x="232" y="265"/>
                  </a:lnTo>
                  <a:lnTo>
                    <a:pt x="180" y="337"/>
                  </a:lnTo>
                  <a:lnTo>
                    <a:pt x="134" y="413"/>
                  </a:lnTo>
                  <a:lnTo>
                    <a:pt x="97" y="496"/>
                  </a:lnTo>
                  <a:lnTo>
                    <a:pt x="64" y="584"/>
                  </a:lnTo>
                  <a:lnTo>
                    <a:pt x="39" y="679"/>
                  </a:lnTo>
                  <a:lnTo>
                    <a:pt x="19" y="777"/>
                  </a:lnTo>
                  <a:lnTo>
                    <a:pt x="6" y="881"/>
                  </a:lnTo>
                  <a:lnTo>
                    <a:pt x="0" y="987"/>
                  </a:lnTo>
                  <a:lnTo>
                    <a:pt x="0" y="1043"/>
                  </a:lnTo>
                  <a:lnTo>
                    <a:pt x="0" y="1735"/>
                  </a:lnTo>
                  <a:lnTo>
                    <a:pt x="88" y="1720"/>
                  </a:lnTo>
                  <a:lnTo>
                    <a:pt x="258" y="1703"/>
                  </a:lnTo>
                  <a:lnTo>
                    <a:pt x="418" y="1700"/>
                  </a:lnTo>
                  <a:lnTo>
                    <a:pt x="569" y="1712"/>
                  </a:lnTo>
                  <a:lnTo>
                    <a:pt x="709" y="1739"/>
                  </a:lnTo>
                  <a:lnTo>
                    <a:pt x="840" y="1782"/>
                  </a:lnTo>
                  <a:lnTo>
                    <a:pt x="961" y="1838"/>
                  </a:lnTo>
                  <a:lnTo>
                    <a:pt x="1072" y="1909"/>
                  </a:lnTo>
                  <a:lnTo>
                    <a:pt x="1123" y="195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noFill/>
                <a:effectLst/>
                <a:uLnTx/>
                <a:uFillTx/>
                <a:latin typeface="Calibri" panose="020F0502020204030204"/>
                <a:ea typeface="+mn-ea"/>
                <a:cs typeface="+mn-cs"/>
              </a:endParaRPr>
            </a:p>
          </p:txBody>
        </p:sp>
      </p:grpSp>
      <p:grpSp>
        <p:nvGrpSpPr>
          <p:cNvPr id="6" name="Group 24">
            <a:extLst>
              <a:ext uri="{FF2B5EF4-FFF2-40B4-BE49-F238E27FC236}">
                <a16:creationId xmlns:a16="http://schemas.microsoft.com/office/drawing/2014/main" id="{4E458EAC-A072-42F2-92B8-66B3FDC03103}"/>
              </a:ext>
            </a:extLst>
          </p:cNvPr>
          <p:cNvGrpSpPr/>
          <p:nvPr/>
        </p:nvGrpSpPr>
        <p:grpSpPr>
          <a:xfrm>
            <a:off x="4440324" y="1981200"/>
            <a:ext cx="1582539" cy="1900160"/>
            <a:chOff x="4256467" y="1808481"/>
            <a:chExt cx="1758275" cy="2111166"/>
          </a:xfrm>
          <a:gradFill flip="none" rotWithShape="1">
            <a:gsLst>
              <a:gs pos="0">
                <a:schemeClr val="accent1">
                  <a:lumMod val="20000"/>
                  <a:lumOff val="80000"/>
                </a:schemeClr>
              </a:gs>
              <a:gs pos="8000">
                <a:schemeClr val="accent1">
                  <a:lumMod val="40000"/>
                  <a:lumOff val="60000"/>
                </a:schemeClr>
              </a:gs>
              <a:gs pos="69000">
                <a:schemeClr val="accent1"/>
              </a:gs>
              <a:gs pos="30000">
                <a:schemeClr val="accent1">
                  <a:lumMod val="60000"/>
                  <a:lumOff val="40000"/>
                </a:schemeClr>
              </a:gs>
            </a:gsLst>
            <a:lin ang="2700000" scaled="1"/>
            <a:tileRect/>
          </a:gradFill>
        </p:grpSpPr>
        <p:sp>
          <p:nvSpPr>
            <p:cNvPr id="7" name="Freeform 57">
              <a:extLst>
                <a:ext uri="{FF2B5EF4-FFF2-40B4-BE49-F238E27FC236}">
                  <a16:creationId xmlns:a16="http://schemas.microsoft.com/office/drawing/2014/main" id="{54AA50DF-9563-4C97-B08C-8AC6D73DBF2C}"/>
                </a:ext>
              </a:extLst>
            </p:cNvPr>
            <p:cNvSpPr>
              <a:spLocks/>
            </p:cNvSpPr>
            <p:nvPr/>
          </p:nvSpPr>
          <p:spPr bwMode="auto">
            <a:xfrm>
              <a:off x="4256467" y="2692262"/>
              <a:ext cx="1132974" cy="900806"/>
            </a:xfrm>
            <a:custGeom>
              <a:avLst/>
              <a:gdLst>
                <a:gd name="T0" fmla="*/ 960 w 2930"/>
                <a:gd name="T1" fmla="*/ 1598 h 2328"/>
                <a:gd name="T2" fmla="*/ 1138 w 2930"/>
                <a:gd name="T3" fmla="*/ 1670 h 2328"/>
                <a:gd name="T4" fmla="*/ 1302 w 2930"/>
                <a:gd name="T5" fmla="*/ 1777 h 2328"/>
                <a:gd name="T6" fmla="*/ 1440 w 2930"/>
                <a:gd name="T7" fmla="*/ 1918 h 2328"/>
                <a:gd name="T8" fmla="*/ 1525 w 2930"/>
                <a:gd name="T9" fmla="*/ 2044 h 2328"/>
                <a:gd name="T10" fmla="*/ 1576 w 2930"/>
                <a:gd name="T11" fmla="*/ 2150 h 2328"/>
                <a:gd name="T12" fmla="*/ 1621 w 2930"/>
                <a:gd name="T13" fmla="*/ 2293 h 2328"/>
                <a:gd name="T14" fmla="*/ 1678 w 2930"/>
                <a:gd name="T15" fmla="*/ 2325 h 2328"/>
                <a:gd name="T16" fmla="*/ 1864 w 2930"/>
                <a:gd name="T17" fmla="*/ 2292 h 2328"/>
                <a:gd name="T18" fmla="*/ 2028 w 2930"/>
                <a:gd name="T19" fmla="*/ 2228 h 2328"/>
                <a:gd name="T20" fmla="*/ 2158 w 2930"/>
                <a:gd name="T21" fmla="*/ 2137 h 2328"/>
                <a:gd name="T22" fmla="*/ 2231 w 2930"/>
                <a:gd name="T23" fmla="*/ 2052 h 2328"/>
                <a:gd name="T24" fmla="*/ 2274 w 2930"/>
                <a:gd name="T25" fmla="*/ 1970 h 2328"/>
                <a:gd name="T26" fmla="*/ 2300 w 2930"/>
                <a:gd name="T27" fmla="*/ 1852 h 2328"/>
                <a:gd name="T28" fmla="*/ 2293 w 2930"/>
                <a:gd name="T29" fmla="*/ 1724 h 2328"/>
                <a:gd name="T30" fmla="*/ 2252 w 2930"/>
                <a:gd name="T31" fmla="*/ 1587 h 2328"/>
                <a:gd name="T32" fmla="*/ 2183 w 2930"/>
                <a:gd name="T33" fmla="*/ 1438 h 2328"/>
                <a:gd name="T34" fmla="*/ 2352 w 2930"/>
                <a:gd name="T35" fmla="*/ 1410 h 2328"/>
                <a:gd name="T36" fmla="*/ 2534 w 2930"/>
                <a:gd name="T37" fmla="*/ 1347 h 2328"/>
                <a:gd name="T38" fmla="*/ 2704 w 2930"/>
                <a:gd name="T39" fmla="*/ 1244 h 2328"/>
                <a:gd name="T40" fmla="*/ 2835 w 2930"/>
                <a:gd name="T41" fmla="*/ 1116 h 2328"/>
                <a:gd name="T42" fmla="*/ 2889 w 2930"/>
                <a:gd name="T43" fmla="*/ 1006 h 2328"/>
                <a:gd name="T44" fmla="*/ 2923 w 2930"/>
                <a:gd name="T45" fmla="*/ 839 h 2328"/>
                <a:gd name="T46" fmla="*/ 2921 w 2930"/>
                <a:gd name="T47" fmla="*/ 616 h 2328"/>
                <a:gd name="T48" fmla="*/ 2864 w 2930"/>
                <a:gd name="T49" fmla="*/ 386 h 2328"/>
                <a:gd name="T50" fmla="*/ 2748 w 2930"/>
                <a:gd name="T51" fmla="*/ 148 h 2328"/>
                <a:gd name="T52" fmla="*/ 2668 w 2930"/>
                <a:gd name="T53" fmla="*/ 106 h 2328"/>
                <a:gd name="T54" fmla="*/ 2533 w 2930"/>
                <a:gd name="T55" fmla="*/ 157 h 2328"/>
                <a:gd name="T56" fmla="*/ 2366 w 2930"/>
                <a:gd name="T57" fmla="*/ 192 h 2328"/>
                <a:gd name="T58" fmla="*/ 2138 w 2930"/>
                <a:gd name="T59" fmla="*/ 192 h 2328"/>
                <a:gd name="T60" fmla="*/ 1902 w 2930"/>
                <a:gd name="T61" fmla="*/ 139 h 2328"/>
                <a:gd name="T62" fmla="*/ 1659 w 2930"/>
                <a:gd name="T63" fmla="*/ 34 h 2328"/>
                <a:gd name="T64" fmla="*/ 1557 w 2930"/>
                <a:gd name="T65" fmla="*/ 68 h 2328"/>
                <a:gd name="T66" fmla="*/ 1392 w 2930"/>
                <a:gd name="T67" fmla="*/ 281 h 2328"/>
                <a:gd name="T68" fmla="*/ 1199 w 2930"/>
                <a:gd name="T69" fmla="*/ 451 h 2328"/>
                <a:gd name="T70" fmla="*/ 950 w 2930"/>
                <a:gd name="T71" fmla="*/ 582 h 2328"/>
                <a:gd name="T72" fmla="*/ 795 w 2930"/>
                <a:gd name="T73" fmla="*/ 622 h 2328"/>
                <a:gd name="T74" fmla="*/ 547 w 2930"/>
                <a:gd name="T75" fmla="*/ 646 h 2328"/>
                <a:gd name="T76" fmla="*/ 405 w 2930"/>
                <a:gd name="T77" fmla="*/ 638 h 2328"/>
                <a:gd name="T78" fmla="*/ 322 w 2930"/>
                <a:gd name="T79" fmla="*/ 646 h 2328"/>
                <a:gd name="T80" fmla="*/ 197 w 2930"/>
                <a:gd name="T81" fmla="*/ 729 h 2328"/>
                <a:gd name="T82" fmla="*/ 107 w 2930"/>
                <a:gd name="T83" fmla="*/ 844 h 2328"/>
                <a:gd name="T84" fmla="*/ 46 w 2930"/>
                <a:gd name="T85" fmla="*/ 983 h 2328"/>
                <a:gd name="T86" fmla="*/ 7 w 2930"/>
                <a:gd name="T87" fmla="*/ 1176 h 2328"/>
                <a:gd name="T88" fmla="*/ 13 w 2930"/>
                <a:gd name="T89" fmla="*/ 1489 h 2328"/>
                <a:gd name="T90" fmla="*/ 63 w 2930"/>
                <a:gd name="T91" fmla="*/ 1692 h 2328"/>
                <a:gd name="T92" fmla="*/ 297 w 2930"/>
                <a:gd name="T93" fmla="*/ 1614 h 2328"/>
                <a:gd name="T94" fmla="*/ 511 w 2930"/>
                <a:gd name="T95" fmla="*/ 1574 h 2328"/>
                <a:gd name="T96" fmla="*/ 738 w 2930"/>
                <a:gd name="T97" fmla="*/ 1566 h 2328"/>
                <a:gd name="T98" fmla="*/ 913 w 2930"/>
                <a:gd name="T99" fmla="*/ 1588 h 2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930" h="2328">
                  <a:moveTo>
                    <a:pt x="913" y="1588"/>
                  </a:moveTo>
                  <a:lnTo>
                    <a:pt x="960" y="1598"/>
                  </a:lnTo>
                  <a:lnTo>
                    <a:pt x="1052" y="1628"/>
                  </a:lnTo>
                  <a:lnTo>
                    <a:pt x="1138" y="1670"/>
                  </a:lnTo>
                  <a:lnTo>
                    <a:pt x="1223" y="1719"/>
                  </a:lnTo>
                  <a:lnTo>
                    <a:pt x="1302" y="1777"/>
                  </a:lnTo>
                  <a:lnTo>
                    <a:pt x="1374" y="1845"/>
                  </a:lnTo>
                  <a:lnTo>
                    <a:pt x="1440" y="1918"/>
                  </a:lnTo>
                  <a:lnTo>
                    <a:pt x="1499" y="2000"/>
                  </a:lnTo>
                  <a:lnTo>
                    <a:pt x="1525" y="2044"/>
                  </a:lnTo>
                  <a:lnTo>
                    <a:pt x="1544" y="2079"/>
                  </a:lnTo>
                  <a:lnTo>
                    <a:pt x="1576" y="2150"/>
                  </a:lnTo>
                  <a:lnTo>
                    <a:pt x="1602" y="2222"/>
                  </a:lnTo>
                  <a:lnTo>
                    <a:pt x="1621" y="2293"/>
                  </a:lnTo>
                  <a:lnTo>
                    <a:pt x="1627" y="2328"/>
                  </a:lnTo>
                  <a:lnTo>
                    <a:pt x="1678" y="2325"/>
                  </a:lnTo>
                  <a:lnTo>
                    <a:pt x="1773" y="2312"/>
                  </a:lnTo>
                  <a:lnTo>
                    <a:pt x="1864" y="2292"/>
                  </a:lnTo>
                  <a:lnTo>
                    <a:pt x="1950" y="2263"/>
                  </a:lnTo>
                  <a:lnTo>
                    <a:pt x="2028" y="2228"/>
                  </a:lnTo>
                  <a:lnTo>
                    <a:pt x="2098" y="2185"/>
                  </a:lnTo>
                  <a:lnTo>
                    <a:pt x="2158" y="2137"/>
                  </a:lnTo>
                  <a:lnTo>
                    <a:pt x="2209" y="2082"/>
                  </a:lnTo>
                  <a:lnTo>
                    <a:pt x="2231" y="2052"/>
                  </a:lnTo>
                  <a:lnTo>
                    <a:pt x="2247" y="2025"/>
                  </a:lnTo>
                  <a:lnTo>
                    <a:pt x="2274" y="1970"/>
                  </a:lnTo>
                  <a:lnTo>
                    <a:pt x="2291" y="1912"/>
                  </a:lnTo>
                  <a:lnTo>
                    <a:pt x="2300" y="1852"/>
                  </a:lnTo>
                  <a:lnTo>
                    <a:pt x="2301" y="1789"/>
                  </a:lnTo>
                  <a:lnTo>
                    <a:pt x="2293" y="1724"/>
                  </a:lnTo>
                  <a:lnTo>
                    <a:pt x="2276" y="1657"/>
                  </a:lnTo>
                  <a:lnTo>
                    <a:pt x="2252" y="1587"/>
                  </a:lnTo>
                  <a:lnTo>
                    <a:pt x="2236" y="1552"/>
                  </a:lnTo>
                  <a:lnTo>
                    <a:pt x="2183" y="1438"/>
                  </a:lnTo>
                  <a:lnTo>
                    <a:pt x="2307" y="1418"/>
                  </a:lnTo>
                  <a:lnTo>
                    <a:pt x="2352" y="1410"/>
                  </a:lnTo>
                  <a:lnTo>
                    <a:pt x="2442" y="1383"/>
                  </a:lnTo>
                  <a:lnTo>
                    <a:pt x="2534" y="1347"/>
                  </a:lnTo>
                  <a:lnTo>
                    <a:pt x="2622" y="1300"/>
                  </a:lnTo>
                  <a:lnTo>
                    <a:pt x="2704" y="1244"/>
                  </a:lnTo>
                  <a:lnTo>
                    <a:pt x="2777" y="1183"/>
                  </a:lnTo>
                  <a:lnTo>
                    <a:pt x="2835" y="1116"/>
                  </a:lnTo>
                  <a:lnTo>
                    <a:pt x="2877" y="1044"/>
                  </a:lnTo>
                  <a:lnTo>
                    <a:pt x="2889" y="1006"/>
                  </a:lnTo>
                  <a:lnTo>
                    <a:pt x="2905" y="950"/>
                  </a:lnTo>
                  <a:lnTo>
                    <a:pt x="2923" y="839"/>
                  </a:lnTo>
                  <a:lnTo>
                    <a:pt x="2930" y="727"/>
                  </a:lnTo>
                  <a:lnTo>
                    <a:pt x="2921" y="616"/>
                  </a:lnTo>
                  <a:lnTo>
                    <a:pt x="2899" y="502"/>
                  </a:lnTo>
                  <a:lnTo>
                    <a:pt x="2864" y="386"/>
                  </a:lnTo>
                  <a:lnTo>
                    <a:pt x="2813" y="268"/>
                  </a:lnTo>
                  <a:lnTo>
                    <a:pt x="2748" y="148"/>
                  </a:lnTo>
                  <a:lnTo>
                    <a:pt x="2709" y="84"/>
                  </a:lnTo>
                  <a:lnTo>
                    <a:pt x="2668" y="106"/>
                  </a:lnTo>
                  <a:lnTo>
                    <a:pt x="2580" y="141"/>
                  </a:lnTo>
                  <a:lnTo>
                    <a:pt x="2533" y="157"/>
                  </a:lnTo>
                  <a:lnTo>
                    <a:pt x="2477" y="173"/>
                  </a:lnTo>
                  <a:lnTo>
                    <a:pt x="2366" y="192"/>
                  </a:lnTo>
                  <a:lnTo>
                    <a:pt x="2253" y="198"/>
                  </a:lnTo>
                  <a:lnTo>
                    <a:pt x="2138" y="192"/>
                  </a:lnTo>
                  <a:lnTo>
                    <a:pt x="2020" y="171"/>
                  </a:lnTo>
                  <a:lnTo>
                    <a:pt x="1902" y="139"/>
                  </a:lnTo>
                  <a:lnTo>
                    <a:pt x="1781" y="93"/>
                  </a:lnTo>
                  <a:lnTo>
                    <a:pt x="1659" y="34"/>
                  </a:lnTo>
                  <a:lnTo>
                    <a:pt x="1597" y="0"/>
                  </a:lnTo>
                  <a:lnTo>
                    <a:pt x="1557" y="68"/>
                  </a:lnTo>
                  <a:lnTo>
                    <a:pt x="1468" y="192"/>
                  </a:lnTo>
                  <a:lnTo>
                    <a:pt x="1392" y="281"/>
                  </a:lnTo>
                  <a:lnTo>
                    <a:pt x="1303" y="368"/>
                  </a:lnTo>
                  <a:lnTo>
                    <a:pt x="1199" y="451"/>
                  </a:lnTo>
                  <a:lnTo>
                    <a:pt x="1083" y="524"/>
                  </a:lnTo>
                  <a:lnTo>
                    <a:pt x="950" y="582"/>
                  </a:lnTo>
                  <a:lnTo>
                    <a:pt x="878" y="603"/>
                  </a:lnTo>
                  <a:lnTo>
                    <a:pt x="795" y="622"/>
                  </a:lnTo>
                  <a:lnTo>
                    <a:pt x="629" y="644"/>
                  </a:lnTo>
                  <a:lnTo>
                    <a:pt x="547" y="646"/>
                  </a:lnTo>
                  <a:lnTo>
                    <a:pt x="499" y="644"/>
                  </a:lnTo>
                  <a:lnTo>
                    <a:pt x="405" y="638"/>
                  </a:lnTo>
                  <a:lnTo>
                    <a:pt x="358" y="633"/>
                  </a:lnTo>
                  <a:lnTo>
                    <a:pt x="322" y="646"/>
                  </a:lnTo>
                  <a:lnTo>
                    <a:pt x="256" y="683"/>
                  </a:lnTo>
                  <a:lnTo>
                    <a:pt x="197" y="729"/>
                  </a:lnTo>
                  <a:lnTo>
                    <a:pt x="148" y="783"/>
                  </a:lnTo>
                  <a:lnTo>
                    <a:pt x="107" y="844"/>
                  </a:lnTo>
                  <a:lnTo>
                    <a:pt x="73" y="911"/>
                  </a:lnTo>
                  <a:lnTo>
                    <a:pt x="46" y="983"/>
                  </a:lnTo>
                  <a:lnTo>
                    <a:pt x="26" y="1058"/>
                  </a:lnTo>
                  <a:lnTo>
                    <a:pt x="7" y="1176"/>
                  </a:lnTo>
                  <a:lnTo>
                    <a:pt x="0" y="1335"/>
                  </a:lnTo>
                  <a:lnTo>
                    <a:pt x="13" y="1489"/>
                  </a:lnTo>
                  <a:lnTo>
                    <a:pt x="43" y="1631"/>
                  </a:lnTo>
                  <a:lnTo>
                    <a:pt x="63" y="1692"/>
                  </a:lnTo>
                  <a:lnTo>
                    <a:pt x="149" y="1658"/>
                  </a:lnTo>
                  <a:lnTo>
                    <a:pt x="297" y="1614"/>
                  </a:lnTo>
                  <a:lnTo>
                    <a:pt x="401" y="1590"/>
                  </a:lnTo>
                  <a:lnTo>
                    <a:pt x="511" y="1574"/>
                  </a:lnTo>
                  <a:lnTo>
                    <a:pt x="623" y="1565"/>
                  </a:lnTo>
                  <a:lnTo>
                    <a:pt x="738" y="1566"/>
                  </a:lnTo>
                  <a:lnTo>
                    <a:pt x="855" y="1576"/>
                  </a:lnTo>
                  <a:lnTo>
                    <a:pt x="913" y="15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noFill/>
                <a:effectLst/>
                <a:uLnTx/>
                <a:uFillTx/>
                <a:latin typeface="Calibri" panose="020F0502020204030204"/>
                <a:ea typeface="+mn-ea"/>
                <a:cs typeface="+mn-cs"/>
              </a:endParaRPr>
            </a:p>
          </p:txBody>
        </p:sp>
        <p:sp>
          <p:nvSpPr>
            <p:cNvPr id="8" name="Freeform 58">
              <a:extLst>
                <a:ext uri="{FF2B5EF4-FFF2-40B4-BE49-F238E27FC236}">
                  <a16:creationId xmlns:a16="http://schemas.microsoft.com/office/drawing/2014/main" id="{3E7D3A9F-FFD6-40FE-8AC3-E82AF7AC7E9B}"/>
                </a:ext>
              </a:extLst>
            </p:cNvPr>
            <p:cNvSpPr>
              <a:spLocks/>
            </p:cNvSpPr>
            <p:nvPr/>
          </p:nvSpPr>
          <p:spPr bwMode="auto">
            <a:xfrm>
              <a:off x="4392671" y="1808481"/>
              <a:ext cx="1622071" cy="2111166"/>
            </a:xfrm>
            <a:custGeom>
              <a:avLst/>
              <a:gdLst>
                <a:gd name="T0" fmla="*/ 662 w 4192"/>
                <a:gd name="T1" fmla="*/ 2630 h 5458"/>
                <a:gd name="T2" fmla="*/ 997 w 4192"/>
                <a:gd name="T3" fmla="*/ 2319 h 5458"/>
                <a:gd name="T4" fmla="*/ 1165 w 4192"/>
                <a:gd name="T5" fmla="*/ 2011 h 5458"/>
                <a:gd name="T6" fmla="*/ 1545 w 4192"/>
                <a:gd name="T7" fmla="*/ 2223 h 5458"/>
                <a:gd name="T8" fmla="*/ 1974 w 4192"/>
                <a:gd name="T9" fmla="*/ 2291 h 5458"/>
                <a:gd name="T10" fmla="*/ 2229 w 4192"/>
                <a:gd name="T11" fmla="*/ 2223 h 5458"/>
                <a:gd name="T12" fmla="*/ 2626 w 4192"/>
                <a:gd name="T13" fmla="*/ 1900 h 5458"/>
                <a:gd name="T14" fmla="*/ 2767 w 4192"/>
                <a:gd name="T15" fmla="*/ 1597 h 5458"/>
                <a:gd name="T16" fmla="*/ 2627 w 4192"/>
                <a:gd name="T17" fmla="*/ 1217 h 5458"/>
                <a:gd name="T18" fmla="*/ 2897 w 4192"/>
                <a:gd name="T19" fmla="*/ 1432 h 5458"/>
                <a:gd name="T20" fmla="*/ 3102 w 4192"/>
                <a:gd name="T21" fmla="*/ 1712 h 5458"/>
                <a:gd name="T22" fmla="*/ 3353 w 4192"/>
                <a:gd name="T23" fmla="*/ 1821 h 5458"/>
                <a:gd name="T24" fmla="*/ 3769 w 4192"/>
                <a:gd name="T25" fmla="*/ 1764 h 5458"/>
                <a:gd name="T26" fmla="*/ 3678 w 4192"/>
                <a:gd name="T27" fmla="*/ 1991 h 5458"/>
                <a:gd name="T28" fmla="*/ 3413 w 4192"/>
                <a:gd name="T29" fmla="*/ 2017 h 5458"/>
                <a:gd name="T30" fmla="*/ 3120 w 4192"/>
                <a:gd name="T31" fmla="*/ 1945 h 5458"/>
                <a:gd name="T32" fmla="*/ 2893 w 4192"/>
                <a:gd name="T33" fmla="*/ 1851 h 5458"/>
                <a:gd name="T34" fmla="*/ 2555 w 4192"/>
                <a:gd name="T35" fmla="*/ 2241 h 5458"/>
                <a:gd name="T36" fmla="*/ 2663 w 4192"/>
                <a:gd name="T37" fmla="*/ 2544 h 5458"/>
                <a:gd name="T38" fmla="*/ 2763 w 4192"/>
                <a:gd name="T39" fmla="*/ 3103 h 5458"/>
                <a:gd name="T40" fmla="*/ 2669 w 4192"/>
                <a:gd name="T41" fmla="*/ 3462 h 5458"/>
                <a:gd name="T42" fmla="*/ 2413 w 4192"/>
                <a:gd name="T43" fmla="*/ 3718 h 5458"/>
                <a:gd name="T44" fmla="*/ 2276 w 4192"/>
                <a:gd name="T45" fmla="*/ 3876 h 5458"/>
                <a:gd name="T46" fmla="*/ 2801 w 4192"/>
                <a:gd name="T47" fmla="*/ 4102 h 5458"/>
                <a:gd name="T48" fmla="*/ 3182 w 4192"/>
                <a:gd name="T49" fmla="*/ 4085 h 5458"/>
                <a:gd name="T50" fmla="*/ 3440 w 4192"/>
                <a:gd name="T51" fmla="*/ 3918 h 5458"/>
                <a:gd name="T52" fmla="*/ 3637 w 4192"/>
                <a:gd name="T53" fmla="*/ 3595 h 5458"/>
                <a:gd name="T54" fmla="*/ 3774 w 4192"/>
                <a:gd name="T55" fmla="*/ 3760 h 5458"/>
                <a:gd name="T56" fmla="*/ 3489 w 4192"/>
                <a:gd name="T57" fmla="*/ 4131 h 5458"/>
                <a:gd name="T58" fmla="*/ 3244 w 4192"/>
                <a:gd name="T59" fmla="*/ 4264 h 5458"/>
                <a:gd name="T60" fmla="*/ 2923 w 4192"/>
                <a:gd name="T61" fmla="*/ 4308 h 5458"/>
                <a:gd name="T62" fmla="*/ 2520 w 4192"/>
                <a:gd name="T63" fmla="*/ 4213 h 5458"/>
                <a:gd name="T64" fmla="*/ 2131 w 4192"/>
                <a:gd name="T65" fmla="*/ 4009 h 5458"/>
                <a:gd name="T66" fmla="*/ 2066 w 4192"/>
                <a:gd name="T67" fmla="*/ 4394 h 5458"/>
                <a:gd name="T68" fmla="*/ 1905 w 4192"/>
                <a:gd name="T69" fmla="*/ 4588 h 5458"/>
                <a:gd name="T70" fmla="*/ 1662 w 4192"/>
                <a:gd name="T71" fmla="*/ 4758 h 5458"/>
                <a:gd name="T72" fmla="*/ 2155 w 4192"/>
                <a:gd name="T73" fmla="*/ 4942 h 5458"/>
                <a:gd name="T74" fmla="*/ 2385 w 4192"/>
                <a:gd name="T75" fmla="*/ 5166 h 5458"/>
                <a:gd name="T76" fmla="*/ 2543 w 4192"/>
                <a:gd name="T77" fmla="*/ 5458 h 5458"/>
                <a:gd name="T78" fmla="*/ 2743 w 4192"/>
                <a:gd name="T79" fmla="*/ 5134 h 5458"/>
                <a:gd name="T80" fmla="*/ 3096 w 4192"/>
                <a:gd name="T81" fmla="*/ 4868 h 5458"/>
                <a:gd name="T82" fmla="*/ 3467 w 4192"/>
                <a:gd name="T83" fmla="*/ 4759 h 5458"/>
                <a:gd name="T84" fmla="*/ 3996 w 4192"/>
                <a:gd name="T85" fmla="*/ 4816 h 5458"/>
                <a:gd name="T86" fmla="*/ 4192 w 4192"/>
                <a:gd name="T87" fmla="*/ 987 h 5458"/>
                <a:gd name="T88" fmla="*/ 4128 w 4192"/>
                <a:gd name="T89" fmla="*/ 584 h 5458"/>
                <a:gd name="T90" fmla="*/ 3960 w 4192"/>
                <a:gd name="T91" fmla="*/ 265 h 5458"/>
                <a:gd name="T92" fmla="*/ 3689 w 4192"/>
                <a:gd name="T93" fmla="*/ 61 h 5458"/>
                <a:gd name="T94" fmla="*/ 3363 w 4192"/>
                <a:gd name="T95" fmla="*/ 0 h 5458"/>
                <a:gd name="T96" fmla="*/ 3030 w 4192"/>
                <a:gd name="T97" fmla="*/ 59 h 5458"/>
                <a:gd name="T98" fmla="*/ 2728 w 4192"/>
                <a:gd name="T99" fmla="*/ 234 h 5458"/>
                <a:gd name="T100" fmla="*/ 2407 w 4192"/>
                <a:gd name="T101" fmla="*/ 650 h 5458"/>
                <a:gd name="T102" fmla="*/ 2079 w 4192"/>
                <a:gd name="T103" fmla="*/ 621 h 5458"/>
                <a:gd name="T104" fmla="*/ 1623 w 4192"/>
                <a:gd name="T105" fmla="*/ 723 h 5458"/>
                <a:gd name="T106" fmla="*/ 1269 w 4192"/>
                <a:gd name="T107" fmla="*/ 1004 h 5458"/>
                <a:gd name="T108" fmla="*/ 1078 w 4192"/>
                <a:gd name="T109" fmla="*/ 1359 h 5458"/>
                <a:gd name="T110" fmla="*/ 901 w 4192"/>
                <a:gd name="T111" fmla="*/ 1492 h 5458"/>
                <a:gd name="T112" fmla="*/ 500 w 4192"/>
                <a:gd name="T113" fmla="*/ 1648 h 5458"/>
                <a:gd name="T114" fmla="*/ 187 w 4192"/>
                <a:gd name="T115" fmla="*/ 1979 h 5458"/>
                <a:gd name="T116" fmla="*/ 15 w 4192"/>
                <a:gd name="T117" fmla="*/ 2420 h 5458"/>
                <a:gd name="T118" fmla="*/ 62 w 4192"/>
                <a:gd name="T119" fmla="*/ 2733 h 5458"/>
                <a:gd name="T120" fmla="*/ 477 w 4192"/>
                <a:gd name="T121" fmla="*/ 2705 h 5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192" h="5458">
                  <a:moveTo>
                    <a:pt x="477" y="2705"/>
                  </a:moveTo>
                  <a:lnTo>
                    <a:pt x="517" y="2694"/>
                  </a:lnTo>
                  <a:lnTo>
                    <a:pt x="592" y="2665"/>
                  </a:lnTo>
                  <a:lnTo>
                    <a:pt x="662" y="2630"/>
                  </a:lnTo>
                  <a:lnTo>
                    <a:pt x="727" y="2588"/>
                  </a:lnTo>
                  <a:lnTo>
                    <a:pt x="816" y="2519"/>
                  </a:lnTo>
                  <a:lnTo>
                    <a:pt x="916" y="2418"/>
                  </a:lnTo>
                  <a:lnTo>
                    <a:pt x="997" y="2319"/>
                  </a:lnTo>
                  <a:lnTo>
                    <a:pt x="1058" y="2229"/>
                  </a:lnTo>
                  <a:lnTo>
                    <a:pt x="1113" y="2129"/>
                  </a:lnTo>
                  <a:lnTo>
                    <a:pt x="1121" y="2112"/>
                  </a:lnTo>
                  <a:lnTo>
                    <a:pt x="1165" y="2011"/>
                  </a:lnTo>
                  <a:lnTo>
                    <a:pt x="1260" y="2072"/>
                  </a:lnTo>
                  <a:lnTo>
                    <a:pt x="1318" y="2109"/>
                  </a:lnTo>
                  <a:lnTo>
                    <a:pt x="1432" y="2172"/>
                  </a:lnTo>
                  <a:lnTo>
                    <a:pt x="1545" y="2223"/>
                  </a:lnTo>
                  <a:lnTo>
                    <a:pt x="1656" y="2259"/>
                  </a:lnTo>
                  <a:lnTo>
                    <a:pt x="1764" y="2282"/>
                  </a:lnTo>
                  <a:lnTo>
                    <a:pt x="1870" y="2294"/>
                  </a:lnTo>
                  <a:lnTo>
                    <a:pt x="1974" y="2291"/>
                  </a:lnTo>
                  <a:lnTo>
                    <a:pt x="2075" y="2274"/>
                  </a:lnTo>
                  <a:lnTo>
                    <a:pt x="2124" y="2261"/>
                  </a:lnTo>
                  <a:lnTo>
                    <a:pt x="2161" y="2250"/>
                  </a:lnTo>
                  <a:lnTo>
                    <a:pt x="2229" y="2223"/>
                  </a:lnTo>
                  <a:lnTo>
                    <a:pt x="2326" y="2171"/>
                  </a:lnTo>
                  <a:lnTo>
                    <a:pt x="2442" y="2088"/>
                  </a:lnTo>
                  <a:lnTo>
                    <a:pt x="2542" y="1994"/>
                  </a:lnTo>
                  <a:lnTo>
                    <a:pt x="2626" y="1900"/>
                  </a:lnTo>
                  <a:lnTo>
                    <a:pt x="2693" y="1808"/>
                  </a:lnTo>
                  <a:lnTo>
                    <a:pt x="2767" y="1689"/>
                  </a:lnTo>
                  <a:lnTo>
                    <a:pt x="2793" y="1641"/>
                  </a:lnTo>
                  <a:lnTo>
                    <a:pt x="2767" y="1597"/>
                  </a:lnTo>
                  <a:lnTo>
                    <a:pt x="2719" y="1499"/>
                  </a:lnTo>
                  <a:lnTo>
                    <a:pt x="2678" y="1394"/>
                  </a:lnTo>
                  <a:lnTo>
                    <a:pt x="2643" y="1279"/>
                  </a:lnTo>
                  <a:lnTo>
                    <a:pt x="2627" y="1217"/>
                  </a:lnTo>
                  <a:lnTo>
                    <a:pt x="2813" y="1174"/>
                  </a:lnTo>
                  <a:lnTo>
                    <a:pt x="2825" y="1231"/>
                  </a:lnTo>
                  <a:lnTo>
                    <a:pt x="2858" y="1336"/>
                  </a:lnTo>
                  <a:lnTo>
                    <a:pt x="2897" y="1432"/>
                  </a:lnTo>
                  <a:lnTo>
                    <a:pt x="2940" y="1518"/>
                  </a:lnTo>
                  <a:lnTo>
                    <a:pt x="2989" y="1593"/>
                  </a:lnTo>
                  <a:lnTo>
                    <a:pt x="3042" y="1657"/>
                  </a:lnTo>
                  <a:lnTo>
                    <a:pt x="3102" y="1712"/>
                  </a:lnTo>
                  <a:lnTo>
                    <a:pt x="3166" y="1756"/>
                  </a:lnTo>
                  <a:lnTo>
                    <a:pt x="3200" y="1773"/>
                  </a:lnTo>
                  <a:lnTo>
                    <a:pt x="3252" y="1795"/>
                  </a:lnTo>
                  <a:lnTo>
                    <a:pt x="3353" y="1821"/>
                  </a:lnTo>
                  <a:lnTo>
                    <a:pt x="3454" y="1827"/>
                  </a:lnTo>
                  <a:lnTo>
                    <a:pt x="3547" y="1822"/>
                  </a:lnTo>
                  <a:lnTo>
                    <a:pt x="3668" y="1797"/>
                  </a:lnTo>
                  <a:lnTo>
                    <a:pt x="3769" y="1764"/>
                  </a:lnTo>
                  <a:lnTo>
                    <a:pt x="3779" y="1759"/>
                  </a:lnTo>
                  <a:lnTo>
                    <a:pt x="3861" y="1930"/>
                  </a:lnTo>
                  <a:lnTo>
                    <a:pt x="3833" y="1943"/>
                  </a:lnTo>
                  <a:lnTo>
                    <a:pt x="3678" y="1991"/>
                  </a:lnTo>
                  <a:lnTo>
                    <a:pt x="3572" y="2010"/>
                  </a:lnTo>
                  <a:lnTo>
                    <a:pt x="3494" y="2017"/>
                  </a:lnTo>
                  <a:lnTo>
                    <a:pt x="3453" y="2018"/>
                  </a:lnTo>
                  <a:lnTo>
                    <a:pt x="3413" y="2017"/>
                  </a:lnTo>
                  <a:lnTo>
                    <a:pt x="3331" y="2009"/>
                  </a:lnTo>
                  <a:lnTo>
                    <a:pt x="3247" y="1992"/>
                  </a:lnTo>
                  <a:lnTo>
                    <a:pt x="3162" y="1963"/>
                  </a:lnTo>
                  <a:lnTo>
                    <a:pt x="3120" y="1945"/>
                  </a:lnTo>
                  <a:lnTo>
                    <a:pt x="3065" y="1917"/>
                  </a:lnTo>
                  <a:lnTo>
                    <a:pt x="2965" y="1845"/>
                  </a:lnTo>
                  <a:lnTo>
                    <a:pt x="2920" y="1803"/>
                  </a:lnTo>
                  <a:lnTo>
                    <a:pt x="2893" y="1851"/>
                  </a:lnTo>
                  <a:lnTo>
                    <a:pt x="2816" y="1963"/>
                  </a:lnTo>
                  <a:lnTo>
                    <a:pt x="2715" y="2088"/>
                  </a:lnTo>
                  <a:lnTo>
                    <a:pt x="2623" y="2181"/>
                  </a:lnTo>
                  <a:lnTo>
                    <a:pt x="2555" y="2241"/>
                  </a:lnTo>
                  <a:lnTo>
                    <a:pt x="2517" y="2269"/>
                  </a:lnTo>
                  <a:lnTo>
                    <a:pt x="2548" y="2319"/>
                  </a:lnTo>
                  <a:lnTo>
                    <a:pt x="2608" y="2426"/>
                  </a:lnTo>
                  <a:lnTo>
                    <a:pt x="2663" y="2544"/>
                  </a:lnTo>
                  <a:lnTo>
                    <a:pt x="2709" y="2671"/>
                  </a:lnTo>
                  <a:lnTo>
                    <a:pt x="2744" y="2806"/>
                  </a:lnTo>
                  <a:lnTo>
                    <a:pt x="2763" y="2950"/>
                  </a:lnTo>
                  <a:lnTo>
                    <a:pt x="2763" y="3103"/>
                  </a:lnTo>
                  <a:lnTo>
                    <a:pt x="2740" y="3262"/>
                  </a:lnTo>
                  <a:lnTo>
                    <a:pt x="2718" y="3345"/>
                  </a:lnTo>
                  <a:lnTo>
                    <a:pt x="2706" y="3385"/>
                  </a:lnTo>
                  <a:lnTo>
                    <a:pt x="2669" y="3462"/>
                  </a:lnTo>
                  <a:lnTo>
                    <a:pt x="2619" y="3533"/>
                  </a:lnTo>
                  <a:lnTo>
                    <a:pt x="2558" y="3600"/>
                  </a:lnTo>
                  <a:lnTo>
                    <a:pt x="2490" y="3663"/>
                  </a:lnTo>
                  <a:lnTo>
                    <a:pt x="2413" y="3718"/>
                  </a:lnTo>
                  <a:lnTo>
                    <a:pt x="2332" y="3769"/>
                  </a:lnTo>
                  <a:lnTo>
                    <a:pt x="2247" y="3810"/>
                  </a:lnTo>
                  <a:lnTo>
                    <a:pt x="2203" y="3829"/>
                  </a:lnTo>
                  <a:lnTo>
                    <a:pt x="2276" y="3876"/>
                  </a:lnTo>
                  <a:lnTo>
                    <a:pt x="2416" y="3957"/>
                  </a:lnTo>
                  <a:lnTo>
                    <a:pt x="2549" y="4022"/>
                  </a:lnTo>
                  <a:lnTo>
                    <a:pt x="2678" y="4070"/>
                  </a:lnTo>
                  <a:lnTo>
                    <a:pt x="2801" y="4102"/>
                  </a:lnTo>
                  <a:lnTo>
                    <a:pt x="2918" y="4118"/>
                  </a:lnTo>
                  <a:lnTo>
                    <a:pt x="3028" y="4118"/>
                  </a:lnTo>
                  <a:lnTo>
                    <a:pt x="3133" y="4101"/>
                  </a:lnTo>
                  <a:lnTo>
                    <a:pt x="3182" y="4085"/>
                  </a:lnTo>
                  <a:lnTo>
                    <a:pt x="3213" y="4073"/>
                  </a:lnTo>
                  <a:lnTo>
                    <a:pt x="3271" y="4046"/>
                  </a:lnTo>
                  <a:lnTo>
                    <a:pt x="3350" y="3997"/>
                  </a:lnTo>
                  <a:lnTo>
                    <a:pt x="3440" y="3918"/>
                  </a:lnTo>
                  <a:lnTo>
                    <a:pt x="3510" y="3834"/>
                  </a:lnTo>
                  <a:lnTo>
                    <a:pt x="3564" y="3751"/>
                  </a:lnTo>
                  <a:lnTo>
                    <a:pt x="3603" y="3677"/>
                  </a:lnTo>
                  <a:lnTo>
                    <a:pt x="3637" y="3595"/>
                  </a:lnTo>
                  <a:lnTo>
                    <a:pt x="3641" y="3582"/>
                  </a:lnTo>
                  <a:lnTo>
                    <a:pt x="3824" y="3635"/>
                  </a:lnTo>
                  <a:lnTo>
                    <a:pt x="3817" y="3657"/>
                  </a:lnTo>
                  <a:lnTo>
                    <a:pt x="3774" y="3760"/>
                  </a:lnTo>
                  <a:lnTo>
                    <a:pt x="3726" y="3852"/>
                  </a:lnTo>
                  <a:lnTo>
                    <a:pt x="3659" y="3953"/>
                  </a:lnTo>
                  <a:lnTo>
                    <a:pt x="3571" y="4057"/>
                  </a:lnTo>
                  <a:lnTo>
                    <a:pt x="3489" y="4131"/>
                  </a:lnTo>
                  <a:lnTo>
                    <a:pt x="3427" y="4175"/>
                  </a:lnTo>
                  <a:lnTo>
                    <a:pt x="3360" y="4215"/>
                  </a:lnTo>
                  <a:lnTo>
                    <a:pt x="3284" y="4250"/>
                  </a:lnTo>
                  <a:lnTo>
                    <a:pt x="3244" y="4264"/>
                  </a:lnTo>
                  <a:lnTo>
                    <a:pt x="3179" y="4285"/>
                  </a:lnTo>
                  <a:lnTo>
                    <a:pt x="3042" y="4307"/>
                  </a:lnTo>
                  <a:lnTo>
                    <a:pt x="2971" y="4308"/>
                  </a:lnTo>
                  <a:lnTo>
                    <a:pt x="2923" y="4308"/>
                  </a:lnTo>
                  <a:lnTo>
                    <a:pt x="2827" y="4299"/>
                  </a:lnTo>
                  <a:lnTo>
                    <a:pt x="2727" y="4280"/>
                  </a:lnTo>
                  <a:lnTo>
                    <a:pt x="2625" y="4251"/>
                  </a:lnTo>
                  <a:lnTo>
                    <a:pt x="2520" y="4213"/>
                  </a:lnTo>
                  <a:lnTo>
                    <a:pt x="2412" y="4167"/>
                  </a:lnTo>
                  <a:lnTo>
                    <a:pt x="2302" y="4111"/>
                  </a:lnTo>
                  <a:lnTo>
                    <a:pt x="2188" y="4045"/>
                  </a:lnTo>
                  <a:lnTo>
                    <a:pt x="2131" y="4009"/>
                  </a:lnTo>
                  <a:lnTo>
                    <a:pt x="2137" y="4067"/>
                  </a:lnTo>
                  <a:lnTo>
                    <a:pt x="2133" y="4181"/>
                  </a:lnTo>
                  <a:lnTo>
                    <a:pt x="2109" y="4291"/>
                  </a:lnTo>
                  <a:lnTo>
                    <a:pt x="2066" y="4394"/>
                  </a:lnTo>
                  <a:lnTo>
                    <a:pt x="2036" y="4443"/>
                  </a:lnTo>
                  <a:lnTo>
                    <a:pt x="2017" y="4469"/>
                  </a:lnTo>
                  <a:lnTo>
                    <a:pt x="1977" y="4519"/>
                  </a:lnTo>
                  <a:lnTo>
                    <a:pt x="1905" y="4588"/>
                  </a:lnTo>
                  <a:lnTo>
                    <a:pt x="1794" y="4666"/>
                  </a:lnTo>
                  <a:lnTo>
                    <a:pt x="1667" y="4728"/>
                  </a:lnTo>
                  <a:lnTo>
                    <a:pt x="1597" y="4751"/>
                  </a:lnTo>
                  <a:lnTo>
                    <a:pt x="1662" y="4758"/>
                  </a:lnTo>
                  <a:lnTo>
                    <a:pt x="1794" y="4782"/>
                  </a:lnTo>
                  <a:lnTo>
                    <a:pt x="1929" y="4823"/>
                  </a:lnTo>
                  <a:lnTo>
                    <a:pt x="2059" y="4882"/>
                  </a:lnTo>
                  <a:lnTo>
                    <a:pt x="2155" y="4942"/>
                  </a:lnTo>
                  <a:lnTo>
                    <a:pt x="2216" y="4987"/>
                  </a:lnTo>
                  <a:lnTo>
                    <a:pt x="2276" y="5040"/>
                  </a:lnTo>
                  <a:lnTo>
                    <a:pt x="2332" y="5100"/>
                  </a:lnTo>
                  <a:lnTo>
                    <a:pt x="2385" y="5166"/>
                  </a:lnTo>
                  <a:lnTo>
                    <a:pt x="2435" y="5239"/>
                  </a:lnTo>
                  <a:lnTo>
                    <a:pt x="2481" y="5320"/>
                  </a:lnTo>
                  <a:lnTo>
                    <a:pt x="2524" y="5410"/>
                  </a:lnTo>
                  <a:lnTo>
                    <a:pt x="2543" y="5458"/>
                  </a:lnTo>
                  <a:lnTo>
                    <a:pt x="2564" y="5407"/>
                  </a:lnTo>
                  <a:lnTo>
                    <a:pt x="2614" y="5310"/>
                  </a:lnTo>
                  <a:lnTo>
                    <a:pt x="2674" y="5219"/>
                  </a:lnTo>
                  <a:lnTo>
                    <a:pt x="2743" y="5134"/>
                  </a:lnTo>
                  <a:lnTo>
                    <a:pt x="2820" y="5056"/>
                  </a:lnTo>
                  <a:lnTo>
                    <a:pt x="2905" y="4985"/>
                  </a:lnTo>
                  <a:lnTo>
                    <a:pt x="2998" y="4921"/>
                  </a:lnTo>
                  <a:lnTo>
                    <a:pt x="3096" y="4868"/>
                  </a:lnTo>
                  <a:lnTo>
                    <a:pt x="3148" y="4845"/>
                  </a:lnTo>
                  <a:lnTo>
                    <a:pt x="3210" y="4820"/>
                  </a:lnTo>
                  <a:lnTo>
                    <a:pt x="3337" y="4782"/>
                  </a:lnTo>
                  <a:lnTo>
                    <a:pt x="3467" y="4759"/>
                  </a:lnTo>
                  <a:lnTo>
                    <a:pt x="3598" y="4751"/>
                  </a:lnTo>
                  <a:lnTo>
                    <a:pt x="3731" y="4759"/>
                  </a:lnTo>
                  <a:lnTo>
                    <a:pt x="3864" y="4780"/>
                  </a:lnTo>
                  <a:lnTo>
                    <a:pt x="3996" y="4816"/>
                  </a:lnTo>
                  <a:lnTo>
                    <a:pt x="4127" y="4867"/>
                  </a:lnTo>
                  <a:lnTo>
                    <a:pt x="4192" y="4898"/>
                  </a:lnTo>
                  <a:lnTo>
                    <a:pt x="4192" y="1043"/>
                  </a:lnTo>
                  <a:lnTo>
                    <a:pt x="4192" y="987"/>
                  </a:lnTo>
                  <a:lnTo>
                    <a:pt x="4185" y="881"/>
                  </a:lnTo>
                  <a:lnTo>
                    <a:pt x="4172" y="777"/>
                  </a:lnTo>
                  <a:lnTo>
                    <a:pt x="4153" y="679"/>
                  </a:lnTo>
                  <a:lnTo>
                    <a:pt x="4128" y="584"/>
                  </a:lnTo>
                  <a:lnTo>
                    <a:pt x="4096" y="496"/>
                  </a:lnTo>
                  <a:lnTo>
                    <a:pt x="4057" y="413"/>
                  </a:lnTo>
                  <a:lnTo>
                    <a:pt x="4011" y="337"/>
                  </a:lnTo>
                  <a:lnTo>
                    <a:pt x="3960" y="265"/>
                  </a:lnTo>
                  <a:lnTo>
                    <a:pt x="3903" y="203"/>
                  </a:lnTo>
                  <a:lnTo>
                    <a:pt x="3838" y="148"/>
                  </a:lnTo>
                  <a:lnTo>
                    <a:pt x="3766" y="100"/>
                  </a:lnTo>
                  <a:lnTo>
                    <a:pt x="3689" y="61"/>
                  </a:lnTo>
                  <a:lnTo>
                    <a:pt x="3604" y="31"/>
                  </a:lnTo>
                  <a:lnTo>
                    <a:pt x="3514" y="10"/>
                  </a:lnTo>
                  <a:lnTo>
                    <a:pt x="3415" y="0"/>
                  </a:lnTo>
                  <a:lnTo>
                    <a:pt x="3363" y="0"/>
                  </a:lnTo>
                  <a:lnTo>
                    <a:pt x="3312" y="0"/>
                  </a:lnTo>
                  <a:lnTo>
                    <a:pt x="3213" y="11"/>
                  </a:lnTo>
                  <a:lnTo>
                    <a:pt x="3118" y="31"/>
                  </a:lnTo>
                  <a:lnTo>
                    <a:pt x="3030" y="59"/>
                  </a:lnTo>
                  <a:lnTo>
                    <a:pt x="2946" y="94"/>
                  </a:lnTo>
                  <a:lnTo>
                    <a:pt x="2868" y="136"/>
                  </a:lnTo>
                  <a:lnTo>
                    <a:pt x="2796" y="184"/>
                  </a:lnTo>
                  <a:lnTo>
                    <a:pt x="2728" y="234"/>
                  </a:lnTo>
                  <a:lnTo>
                    <a:pt x="2638" y="317"/>
                  </a:lnTo>
                  <a:lnTo>
                    <a:pt x="2536" y="433"/>
                  </a:lnTo>
                  <a:lnTo>
                    <a:pt x="2460" y="547"/>
                  </a:lnTo>
                  <a:lnTo>
                    <a:pt x="2407" y="650"/>
                  </a:lnTo>
                  <a:lnTo>
                    <a:pt x="2390" y="694"/>
                  </a:lnTo>
                  <a:lnTo>
                    <a:pt x="2328" y="670"/>
                  </a:lnTo>
                  <a:lnTo>
                    <a:pt x="2202" y="636"/>
                  </a:lnTo>
                  <a:lnTo>
                    <a:pt x="2079" y="621"/>
                  </a:lnTo>
                  <a:lnTo>
                    <a:pt x="1958" y="624"/>
                  </a:lnTo>
                  <a:lnTo>
                    <a:pt x="1842" y="644"/>
                  </a:lnTo>
                  <a:lnTo>
                    <a:pt x="1730" y="676"/>
                  </a:lnTo>
                  <a:lnTo>
                    <a:pt x="1623" y="723"/>
                  </a:lnTo>
                  <a:lnTo>
                    <a:pt x="1523" y="780"/>
                  </a:lnTo>
                  <a:lnTo>
                    <a:pt x="1430" y="847"/>
                  </a:lnTo>
                  <a:lnTo>
                    <a:pt x="1344" y="923"/>
                  </a:lnTo>
                  <a:lnTo>
                    <a:pt x="1269" y="1004"/>
                  </a:lnTo>
                  <a:lnTo>
                    <a:pt x="1204" y="1090"/>
                  </a:lnTo>
                  <a:lnTo>
                    <a:pt x="1150" y="1179"/>
                  </a:lnTo>
                  <a:lnTo>
                    <a:pt x="1108" y="1269"/>
                  </a:lnTo>
                  <a:lnTo>
                    <a:pt x="1078" y="1359"/>
                  </a:lnTo>
                  <a:lnTo>
                    <a:pt x="1064" y="1449"/>
                  </a:lnTo>
                  <a:lnTo>
                    <a:pt x="1063" y="1492"/>
                  </a:lnTo>
                  <a:lnTo>
                    <a:pt x="1008" y="1488"/>
                  </a:lnTo>
                  <a:lnTo>
                    <a:pt x="901" y="1492"/>
                  </a:lnTo>
                  <a:lnTo>
                    <a:pt x="796" y="1511"/>
                  </a:lnTo>
                  <a:lnTo>
                    <a:pt x="693" y="1545"/>
                  </a:lnTo>
                  <a:lnTo>
                    <a:pt x="595" y="1591"/>
                  </a:lnTo>
                  <a:lnTo>
                    <a:pt x="500" y="1648"/>
                  </a:lnTo>
                  <a:lnTo>
                    <a:pt x="412" y="1717"/>
                  </a:lnTo>
                  <a:lnTo>
                    <a:pt x="329" y="1796"/>
                  </a:lnTo>
                  <a:lnTo>
                    <a:pt x="254" y="1883"/>
                  </a:lnTo>
                  <a:lnTo>
                    <a:pt x="187" y="1979"/>
                  </a:lnTo>
                  <a:lnTo>
                    <a:pt x="128" y="2081"/>
                  </a:lnTo>
                  <a:lnTo>
                    <a:pt x="80" y="2189"/>
                  </a:lnTo>
                  <a:lnTo>
                    <a:pt x="41" y="2303"/>
                  </a:lnTo>
                  <a:lnTo>
                    <a:pt x="15" y="2420"/>
                  </a:lnTo>
                  <a:lnTo>
                    <a:pt x="1" y="2540"/>
                  </a:lnTo>
                  <a:lnTo>
                    <a:pt x="0" y="2663"/>
                  </a:lnTo>
                  <a:lnTo>
                    <a:pt x="4" y="2724"/>
                  </a:lnTo>
                  <a:lnTo>
                    <a:pt x="62" y="2733"/>
                  </a:lnTo>
                  <a:lnTo>
                    <a:pt x="180" y="2741"/>
                  </a:lnTo>
                  <a:lnTo>
                    <a:pt x="298" y="2737"/>
                  </a:lnTo>
                  <a:lnTo>
                    <a:pt x="417" y="2720"/>
                  </a:lnTo>
                  <a:lnTo>
                    <a:pt x="477" y="27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noFill/>
                <a:effectLst/>
                <a:uLnTx/>
                <a:uFillTx/>
                <a:latin typeface="Calibri" panose="020F0502020204030204"/>
                <a:ea typeface="+mn-ea"/>
                <a:cs typeface="+mn-cs"/>
              </a:endParaRPr>
            </a:p>
          </p:txBody>
        </p:sp>
      </p:grpSp>
      <p:sp>
        <p:nvSpPr>
          <p:cNvPr id="9" name="Freeform 59">
            <a:extLst>
              <a:ext uri="{FF2B5EF4-FFF2-40B4-BE49-F238E27FC236}">
                <a16:creationId xmlns:a16="http://schemas.microsoft.com/office/drawing/2014/main" id="{070338DF-FF80-4697-9352-55A5E69427B3}"/>
              </a:ext>
            </a:extLst>
          </p:cNvPr>
          <p:cNvSpPr>
            <a:spLocks/>
          </p:cNvSpPr>
          <p:nvPr/>
        </p:nvSpPr>
        <p:spPr bwMode="auto">
          <a:xfrm>
            <a:off x="4338629" y="3429000"/>
            <a:ext cx="1684235" cy="1703737"/>
          </a:xfrm>
          <a:custGeom>
            <a:avLst/>
            <a:gdLst>
              <a:gd name="T0" fmla="*/ 3529 w 4838"/>
              <a:gd name="T1" fmla="*/ 1221 h 4891"/>
              <a:gd name="T2" fmla="*/ 3309 w 4838"/>
              <a:gd name="T3" fmla="*/ 1693 h 4891"/>
              <a:gd name="T4" fmla="*/ 2934 w 4838"/>
              <a:gd name="T5" fmla="*/ 1713 h 4891"/>
              <a:gd name="T6" fmla="*/ 2480 w 4838"/>
              <a:gd name="T7" fmla="*/ 1788 h 4891"/>
              <a:gd name="T8" fmla="*/ 2152 w 4838"/>
              <a:gd name="T9" fmla="*/ 2101 h 4891"/>
              <a:gd name="T10" fmla="*/ 2061 w 4838"/>
              <a:gd name="T11" fmla="*/ 2446 h 4891"/>
              <a:gd name="T12" fmla="*/ 2134 w 4838"/>
              <a:gd name="T13" fmla="*/ 2824 h 4891"/>
              <a:gd name="T14" fmla="*/ 2694 w 4838"/>
              <a:gd name="T15" fmla="*/ 2885 h 4891"/>
              <a:gd name="T16" fmla="*/ 3072 w 4838"/>
              <a:gd name="T17" fmla="*/ 3203 h 4891"/>
              <a:gd name="T18" fmla="*/ 3294 w 4838"/>
              <a:gd name="T19" fmla="*/ 3078 h 4891"/>
              <a:gd name="T20" fmla="*/ 3681 w 4838"/>
              <a:gd name="T21" fmla="*/ 3038 h 4891"/>
              <a:gd name="T22" fmla="*/ 4108 w 4838"/>
              <a:gd name="T23" fmla="*/ 3411 h 4891"/>
              <a:gd name="T24" fmla="*/ 3556 w 4838"/>
              <a:gd name="T25" fmla="*/ 3222 h 4891"/>
              <a:gd name="T26" fmla="*/ 3147 w 4838"/>
              <a:gd name="T27" fmla="*/ 3387 h 4891"/>
              <a:gd name="T28" fmla="*/ 2925 w 4838"/>
              <a:gd name="T29" fmla="*/ 3862 h 4891"/>
              <a:gd name="T30" fmla="*/ 2765 w 4838"/>
              <a:gd name="T31" fmla="*/ 4137 h 4891"/>
              <a:gd name="T32" fmla="*/ 2795 w 4838"/>
              <a:gd name="T33" fmla="*/ 3582 h 4891"/>
              <a:gd name="T34" fmla="*/ 2808 w 4838"/>
              <a:gd name="T35" fmla="*/ 3196 h 4891"/>
              <a:gd name="T36" fmla="*/ 2323 w 4838"/>
              <a:gd name="T37" fmla="*/ 2989 h 4891"/>
              <a:gd name="T38" fmla="*/ 1929 w 4838"/>
              <a:gd name="T39" fmla="*/ 3131 h 4891"/>
              <a:gd name="T40" fmla="*/ 1663 w 4838"/>
              <a:gd name="T41" fmla="*/ 3585 h 4891"/>
              <a:gd name="T42" fmla="*/ 1534 w 4838"/>
              <a:gd name="T43" fmla="*/ 3349 h 4891"/>
              <a:gd name="T44" fmla="*/ 1906 w 4838"/>
              <a:gd name="T45" fmla="*/ 2919 h 4891"/>
              <a:gd name="T46" fmla="*/ 1876 w 4838"/>
              <a:gd name="T47" fmla="*/ 2536 h 4891"/>
              <a:gd name="T48" fmla="*/ 1949 w 4838"/>
              <a:gd name="T49" fmla="*/ 2090 h 4891"/>
              <a:gd name="T50" fmla="*/ 2190 w 4838"/>
              <a:gd name="T51" fmla="*/ 1755 h 4891"/>
              <a:gd name="T52" fmla="*/ 2454 w 4838"/>
              <a:gd name="T53" fmla="*/ 1594 h 4891"/>
              <a:gd name="T54" fmla="*/ 2884 w 4838"/>
              <a:gd name="T55" fmla="*/ 1521 h 4891"/>
              <a:gd name="T56" fmla="*/ 2893 w 4838"/>
              <a:gd name="T57" fmla="*/ 1264 h 4891"/>
              <a:gd name="T58" fmla="*/ 2518 w 4838"/>
              <a:gd name="T59" fmla="*/ 965 h 4891"/>
              <a:gd name="T60" fmla="*/ 1897 w 4838"/>
              <a:gd name="T61" fmla="*/ 910 h 4891"/>
              <a:gd name="T62" fmla="*/ 1737 w 4838"/>
              <a:gd name="T63" fmla="*/ 728 h 4891"/>
              <a:gd name="T64" fmla="*/ 1632 w 4838"/>
              <a:gd name="T65" fmla="*/ 348 h 4891"/>
              <a:gd name="T66" fmla="*/ 1346 w 4838"/>
              <a:gd name="T67" fmla="*/ 84 h 4891"/>
              <a:gd name="T68" fmla="*/ 988 w 4838"/>
              <a:gd name="T69" fmla="*/ 0 h 4891"/>
              <a:gd name="T70" fmla="*/ 394 w 4838"/>
              <a:gd name="T71" fmla="*/ 126 h 4891"/>
              <a:gd name="T72" fmla="*/ 117 w 4838"/>
              <a:gd name="T73" fmla="*/ 426 h 4891"/>
              <a:gd name="T74" fmla="*/ 0 w 4838"/>
              <a:gd name="T75" fmla="*/ 950 h 4891"/>
              <a:gd name="T76" fmla="*/ 164 w 4838"/>
              <a:gd name="T77" fmla="*/ 1501 h 4891"/>
              <a:gd name="T78" fmla="*/ 327 w 4838"/>
              <a:gd name="T79" fmla="*/ 1873 h 4891"/>
              <a:gd name="T80" fmla="*/ 388 w 4838"/>
              <a:gd name="T81" fmla="*/ 2306 h 4891"/>
              <a:gd name="T82" fmla="*/ 786 w 4838"/>
              <a:gd name="T83" fmla="*/ 2783 h 4891"/>
              <a:gd name="T84" fmla="*/ 925 w 4838"/>
              <a:gd name="T85" fmla="*/ 3339 h 4891"/>
              <a:gd name="T86" fmla="*/ 1352 w 4838"/>
              <a:gd name="T87" fmla="*/ 3887 h 4891"/>
              <a:gd name="T88" fmla="*/ 1899 w 4838"/>
              <a:gd name="T89" fmla="*/ 4138 h 4891"/>
              <a:gd name="T90" fmla="*/ 2230 w 4838"/>
              <a:gd name="T91" fmla="*/ 4267 h 4891"/>
              <a:gd name="T92" fmla="*/ 2625 w 4838"/>
              <a:gd name="T93" fmla="*/ 4620 h 4891"/>
              <a:gd name="T94" fmla="*/ 3155 w 4838"/>
              <a:gd name="T95" fmla="*/ 4841 h 4891"/>
              <a:gd name="T96" fmla="*/ 3732 w 4838"/>
              <a:gd name="T97" fmla="*/ 4884 h 4891"/>
              <a:gd name="T98" fmla="*/ 4265 w 4838"/>
              <a:gd name="T99" fmla="*/ 4705 h 4891"/>
              <a:gd name="T100" fmla="*/ 4663 w 4838"/>
              <a:gd name="T101" fmla="*/ 4260 h 4891"/>
              <a:gd name="T102" fmla="*/ 4838 w 4838"/>
              <a:gd name="T103" fmla="*/ 3507 h 4891"/>
              <a:gd name="T104" fmla="*/ 4533 w 4838"/>
              <a:gd name="T105" fmla="*/ 942 h 4891"/>
              <a:gd name="T106" fmla="*/ 3925 w 4838"/>
              <a:gd name="T107" fmla="*/ 956 h 48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838" h="4891">
                <a:moveTo>
                  <a:pt x="3868" y="980"/>
                </a:moveTo>
                <a:lnTo>
                  <a:pt x="3812" y="1004"/>
                </a:lnTo>
                <a:lnTo>
                  <a:pt x="3707" y="1065"/>
                </a:lnTo>
                <a:lnTo>
                  <a:pt x="3613" y="1138"/>
                </a:lnTo>
                <a:lnTo>
                  <a:pt x="3529" y="1221"/>
                </a:lnTo>
                <a:lnTo>
                  <a:pt x="3457" y="1313"/>
                </a:lnTo>
                <a:lnTo>
                  <a:pt x="3398" y="1414"/>
                </a:lnTo>
                <a:lnTo>
                  <a:pt x="3351" y="1521"/>
                </a:lnTo>
                <a:lnTo>
                  <a:pt x="3320" y="1634"/>
                </a:lnTo>
                <a:lnTo>
                  <a:pt x="3309" y="1693"/>
                </a:lnTo>
                <a:lnTo>
                  <a:pt x="3294" y="1812"/>
                </a:lnTo>
                <a:lnTo>
                  <a:pt x="3181" y="1768"/>
                </a:lnTo>
                <a:lnTo>
                  <a:pt x="3133" y="1750"/>
                </a:lnTo>
                <a:lnTo>
                  <a:pt x="3035" y="1726"/>
                </a:lnTo>
                <a:lnTo>
                  <a:pt x="2934" y="1713"/>
                </a:lnTo>
                <a:lnTo>
                  <a:pt x="2833" y="1712"/>
                </a:lnTo>
                <a:lnTo>
                  <a:pt x="2735" y="1718"/>
                </a:lnTo>
                <a:lnTo>
                  <a:pt x="2642" y="1735"/>
                </a:lnTo>
                <a:lnTo>
                  <a:pt x="2556" y="1759"/>
                </a:lnTo>
                <a:lnTo>
                  <a:pt x="2480" y="1788"/>
                </a:lnTo>
                <a:lnTo>
                  <a:pt x="2446" y="1807"/>
                </a:lnTo>
                <a:lnTo>
                  <a:pt x="2392" y="1838"/>
                </a:lnTo>
                <a:lnTo>
                  <a:pt x="2292" y="1917"/>
                </a:lnTo>
                <a:lnTo>
                  <a:pt x="2205" y="2015"/>
                </a:lnTo>
                <a:lnTo>
                  <a:pt x="2152" y="2101"/>
                </a:lnTo>
                <a:lnTo>
                  <a:pt x="2122" y="2163"/>
                </a:lnTo>
                <a:lnTo>
                  <a:pt x="2098" y="2228"/>
                </a:lnTo>
                <a:lnTo>
                  <a:pt x="2079" y="2298"/>
                </a:lnTo>
                <a:lnTo>
                  <a:pt x="2066" y="2370"/>
                </a:lnTo>
                <a:lnTo>
                  <a:pt x="2061" y="2446"/>
                </a:lnTo>
                <a:lnTo>
                  <a:pt x="2064" y="2525"/>
                </a:lnTo>
                <a:lnTo>
                  <a:pt x="2073" y="2608"/>
                </a:lnTo>
                <a:lnTo>
                  <a:pt x="2091" y="2692"/>
                </a:lnTo>
                <a:lnTo>
                  <a:pt x="2117" y="2780"/>
                </a:lnTo>
                <a:lnTo>
                  <a:pt x="2134" y="2824"/>
                </a:lnTo>
                <a:lnTo>
                  <a:pt x="2199" y="2810"/>
                </a:lnTo>
                <a:lnTo>
                  <a:pt x="2326" y="2798"/>
                </a:lnTo>
                <a:lnTo>
                  <a:pt x="2451" y="2807"/>
                </a:lnTo>
                <a:lnTo>
                  <a:pt x="2575" y="2836"/>
                </a:lnTo>
                <a:lnTo>
                  <a:pt x="2694" y="2885"/>
                </a:lnTo>
                <a:lnTo>
                  <a:pt x="2808" y="2952"/>
                </a:lnTo>
                <a:lnTo>
                  <a:pt x="2918" y="3039"/>
                </a:lnTo>
                <a:lnTo>
                  <a:pt x="3022" y="3144"/>
                </a:lnTo>
                <a:lnTo>
                  <a:pt x="3071" y="3204"/>
                </a:lnTo>
                <a:lnTo>
                  <a:pt x="3072" y="3203"/>
                </a:lnTo>
                <a:lnTo>
                  <a:pt x="3074" y="3201"/>
                </a:lnTo>
                <a:lnTo>
                  <a:pt x="3103" y="3179"/>
                </a:lnTo>
                <a:lnTo>
                  <a:pt x="3164" y="3139"/>
                </a:lnTo>
                <a:lnTo>
                  <a:pt x="3228" y="3107"/>
                </a:lnTo>
                <a:lnTo>
                  <a:pt x="3294" y="3078"/>
                </a:lnTo>
                <a:lnTo>
                  <a:pt x="3361" y="3057"/>
                </a:lnTo>
                <a:lnTo>
                  <a:pt x="3430" y="3042"/>
                </a:lnTo>
                <a:lnTo>
                  <a:pt x="3500" y="3034"/>
                </a:lnTo>
                <a:lnTo>
                  <a:pt x="3573" y="3030"/>
                </a:lnTo>
                <a:lnTo>
                  <a:pt x="3681" y="3038"/>
                </a:lnTo>
                <a:lnTo>
                  <a:pt x="3832" y="3069"/>
                </a:lnTo>
                <a:lnTo>
                  <a:pt x="3983" y="3125"/>
                </a:lnTo>
                <a:lnTo>
                  <a:pt x="4138" y="3204"/>
                </a:lnTo>
                <a:lnTo>
                  <a:pt x="4214" y="3254"/>
                </a:lnTo>
                <a:lnTo>
                  <a:pt x="4108" y="3411"/>
                </a:lnTo>
                <a:lnTo>
                  <a:pt x="4044" y="3370"/>
                </a:lnTo>
                <a:lnTo>
                  <a:pt x="3919" y="3304"/>
                </a:lnTo>
                <a:lnTo>
                  <a:pt x="3796" y="3257"/>
                </a:lnTo>
                <a:lnTo>
                  <a:pt x="3674" y="3230"/>
                </a:lnTo>
                <a:lnTo>
                  <a:pt x="3556" y="3222"/>
                </a:lnTo>
                <a:lnTo>
                  <a:pt x="3443" y="3234"/>
                </a:lnTo>
                <a:lnTo>
                  <a:pt x="3337" y="3266"/>
                </a:lnTo>
                <a:lnTo>
                  <a:pt x="3237" y="3318"/>
                </a:lnTo>
                <a:lnTo>
                  <a:pt x="3190" y="3352"/>
                </a:lnTo>
                <a:lnTo>
                  <a:pt x="3147" y="3387"/>
                </a:lnTo>
                <a:lnTo>
                  <a:pt x="3075" y="3466"/>
                </a:lnTo>
                <a:lnTo>
                  <a:pt x="3014" y="3555"/>
                </a:lnTo>
                <a:lnTo>
                  <a:pt x="2969" y="3654"/>
                </a:lnTo>
                <a:lnTo>
                  <a:pt x="2939" y="3756"/>
                </a:lnTo>
                <a:lnTo>
                  <a:pt x="2925" y="3862"/>
                </a:lnTo>
                <a:lnTo>
                  <a:pt x="2926" y="3970"/>
                </a:lnTo>
                <a:lnTo>
                  <a:pt x="2944" y="4075"/>
                </a:lnTo>
                <a:lnTo>
                  <a:pt x="2961" y="4127"/>
                </a:lnTo>
                <a:lnTo>
                  <a:pt x="2782" y="4190"/>
                </a:lnTo>
                <a:lnTo>
                  <a:pt x="2765" y="4137"/>
                </a:lnTo>
                <a:lnTo>
                  <a:pt x="2742" y="4027"/>
                </a:lnTo>
                <a:lnTo>
                  <a:pt x="2734" y="3914"/>
                </a:lnTo>
                <a:lnTo>
                  <a:pt x="2740" y="3801"/>
                </a:lnTo>
                <a:lnTo>
                  <a:pt x="2761" y="3691"/>
                </a:lnTo>
                <a:lnTo>
                  <a:pt x="2795" y="3582"/>
                </a:lnTo>
                <a:lnTo>
                  <a:pt x="2842" y="3480"/>
                </a:lnTo>
                <a:lnTo>
                  <a:pt x="2900" y="3383"/>
                </a:lnTo>
                <a:lnTo>
                  <a:pt x="2935" y="3339"/>
                </a:lnTo>
                <a:lnTo>
                  <a:pt x="2895" y="3287"/>
                </a:lnTo>
                <a:lnTo>
                  <a:pt x="2808" y="3196"/>
                </a:lnTo>
                <a:lnTo>
                  <a:pt x="2717" y="3121"/>
                </a:lnTo>
                <a:lnTo>
                  <a:pt x="2623" y="3063"/>
                </a:lnTo>
                <a:lnTo>
                  <a:pt x="2525" y="3021"/>
                </a:lnTo>
                <a:lnTo>
                  <a:pt x="2426" y="2996"/>
                </a:lnTo>
                <a:lnTo>
                  <a:pt x="2323" y="2989"/>
                </a:lnTo>
                <a:lnTo>
                  <a:pt x="2221" y="2999"/>
                </a:lnTo>
                <a:lnTo>
                  <a:pt x="2169" y="3011"/>
                </a:lnTo>
                <a:lnTo>
                  <a:pt x="2117" y="3026"/>
                </a:lnTo>
                <a:lnTo>
                  <a:pt x="2019" y="3072"/>
                </a:lnTo>
                <a:lnTo>
                  <a:pt x="1929" y="3131"/>
                </a:lnTo>
                <a:lnTo>
                  <a:pt x="1849" y="3204"/>
                </a:lnTo>
                <a:lnTo>
                  <a:pt x="1781" y="3288"/>
                </a:lnTo>
                <a:lnTo>
                  <a:pt x="1727" y="3380"/>
                </a:lnTo>
                <a:lnTo>
                  <a:pt x="1687" y="3480"/>
                </a:lnTo>
                <a:lnTo>
                  <a:pt x="1663" y="3585"/>
                </a:lnTo>
                <a:lnTo>
                  <a:pt x="1660" y="3638"/>
                </a:lnTo>
                <a:lnTo>
                  <a:pt x="1470" y="3629"/>
                </a:lnTo>
                <a:lnTo>
                  <a:pt x="1474" y="3571"/>
                </a:lnTo>
                <a:lnTo>
                  <a:pt x="1496" y="3458"/>
                </a:lnTo>
                <a:lnTo>
                  <a:pt x="1534" y="3349"/>
                </a:lnTo>
                <a:lnTo>
                  <a:pt x="1584" y="3245"/>
                </a:lnTo>
                <a:lnTo>
                  <a:pt x="1649" y="3149"/>
                </a:lnTo>
                <a:lnTo>
                  <a:pt x="1724" y="3063"/>
                </a:lnTo>
                <a:lnTo>
                  <a:pt x="1811" y="2985"/>
                </a:lnTo>
                <a:lnTo>
                  <a:pt x="1906" y="2919"/>
                </a:lnTo>
                <a:lnTo>
                  <a:pt x="1956" y="2891"/>
                </a:lnTo>
                <a:lnTo>
                  <a:pt x="1937" y="2840"/>
                </a:lnTo>
                <a:lnTo>
                  <a:pt x="1907" y="2736"/>
                </a:lnTo>
                <a:lnTo>
                  <a:pt x="1886" y="2635"/>
                </a:lnTo>
                <a:lnTo>
                  <a:pt x="1876" y="2536"/>
                </a:lnTo>
                <a:lnTo>
                  <a:pt x="1873" y="2440"/>
                </a:lnTo>
                <a:lnTo>
                  <a:pt x="1881" y="2347"/>
                </a:lnTo>
                <a:lnTo>
                  <a:pt x="1895" y="2258"/>
                </a:lnTo>
                <a:lnTo>
                  <a:pt x="1919" y="2172"/>
                </a:lnTo>
                <a:lnTo>
                  <a:pt x="1949" y="2090"/>
                </a:lnTo>
                <a:lnTo>
                  <a:pt x="1985" y="2014"/>
                </a:lnTo>
                <a:lnTo>
                  <a:pt x="2028" y="1941"/>
                </a:lnTo>
                <a:lnTo>
                  <a:pt x="2077" y="1874"/>
                </a:lnTo>
                <a:lnTo>
                  <a:pt x="2131" y="1812"/>
                </a:lnTo>
                <a:lnTo>
                  <a:pt x="2190" y="1755"/>
                </a:lnTo>
                <a:lnTo>
                  <a:pt x="2253" y="1704"/>
                </a:lnTo>
                <a:lnTo>
                  <a:pt x="2321" y="1659"/>
                </a:lnTo>
                <a:lnTo>
                  <a:pt x="2356" y="1639"/>
                </a:lnTo>
                <a:lnTo>
                  <a:pt x="2385" y="1624"/>
                </a:lnTo>
                <a:lnTo>
                  <a:pt x="2454" y="1594"/>
                </a:lnTo>
                <a:lnTo>
                  <a:pt x="2529" y="1569"/>
                </a:lnTo>
                <a:lnTo>
                  <a:pt x="2612" y="1549"/>
                </a:lnTo>
                <a:lnTo>
                  <a:pt x="2699" y="1533"/>
                </a:lnTo>
                <a:lnTo>
                  <a:pt x="2790" y="1524"/>
                </a:lnTo>
                <a:lnTo>
                  <a:pt x="2884" y="1521"/>
                </a:lnTo>
                <a:lnTo>
                  <a:pt x="2980" y="1527"/>
                </a:lnTo>
                <a:lnTo>
                  <a:pt x="3028" y="1533"/>
                </a:lnTo>
                <a:lnTo>
                  <a:pt x="3006" y="1471"/>
                </a:lnTo>
                <a:lnTo>
                  <a:pt x="2953" y="1361"/>
                </a:lnTo>
                <a:lnTo>
                  <a:pt x="2893" y="1264"/>
                </a:lnTo>
                <a:lnTo>
                  <a:pt x="2827" y="1181"/>
                </a:lnTo>
                <a:lnTo>
                  <a:pt x="2756" y="1111"/>
                </a:lnTo>
                <a:lnTo>
                  <a:pt x="2680" y="1051"/>
                </a:lnTo>
                <a:lnTo>
                  <a:pt x="2600" y="1003"/>
                </a:lnTo>
                <a:lnTo>
                  <a:pt x="2518" y="965"/>
                </a:lnTo>
                <a:lnTo>
                  <a:pt x="2432" y="937"/>
                </a:lnTo>
                <a:lnTo>
                  <a:pt x="2346" y="916"/>
                </a:lnTo>
                <a:lnTo>
                  <a:pt x="2218" y="898"/>
                </a:lnTo>
                <a:lnTo>
                  <a:pt x="2051" y="895"/>
                </a:lnTo>
                <a:lnTo>
                  <a:pt x="1897" y="910"/>
                </a:lnTo>
                <a:lnTo>
                  <a:pt x="1828" y="921"/>
                </a:lnTo>
                <a:lnTo>
                  <a:pt x="1669" y="950"/>
                </a:lnTo>
                <a:lnTo>
                  <a:pt x="1722" y="797"/>
                </a:lnTo>
                <a:lnTo>
                  <a:pt x="1728" y="775"/>
                </a:lnTo>
                <a:lnTo>
                  <a:pt x="1737" y="728"/>
                </a:lnTo>
                <a:lnTo>
                  <a:pt x="1740" y="654"/>
                </a:lnTo>
                <a:lnTo>
                  <a:pt x="1722" y="548"/>
                </a:lnTo>
                <a:lnTo>
                  <a:pt x="1682" y="438"/>
                </a:lnTo>
                <a:lnTo>
                  <a:pt x="1653" y="383"/>
                </a:lnTo>
                <a:lnTo>
                  <a:pt x="1632" y="348"/>
                </a:lnTo>
                <a:lnTo>
                  <a:pt x="1586" y="284"/>
                </a:lnTo>
                <a:lnTo>
                  <a:pt x="1532" y="224"/>
                </a:lnTo>
                <a:lnTo>
                  <a:pt x="1475" y="171"/>
                </a:lnTo>
                <a:lnTo>
                  <a:pt x="1412" y="124"/>
                </a:lnTo>
                <a:lnTo>
                  <a:pt x="1346" y="84"/>
                </a:lnTo>
                <a:lnTo>
                  <a:pt x="1277" y="52"/>
                </a:lnTo>
                <a:lnTo>
                  <a:pt x="1205" y="28"/>
                </a:lnTo>
                <a:lnTo>
                  <a:pt x="1168" y="19"/>
                </a:lnTo>
                <a:lnTo>
                  <a:pt x="1107" y="9"/>
                </a:lnTo>
                <a:lnTo>
                  <a:pt x="988" y="0"/>
                </a:lnTo>
                <a:lnTo>
                  <a:pt x="869" y="4"/>
                </a:lnTo>
                <a:lnTo>
                  <a:pt x="754" y="19"/>
                </a:lnTo>
                <a:lnTo>
                  <a:pt x="642" y="43"/>
                </a:lnTo>
                <a:lnTo>
                  <a:pt x="537" y="74"/>
                </a:lnTo>
                <a:lnTo>
                  <a:pt x="394" y="126"/>
                </a:lnTo>
                <a:lnTo>
                  <a:pt x="314" y="162"/>
                </a:lnTo>
                <a:lnTo>
                  <a:pt x="282" y="192"/>
                </a:lnTo>
                <a:lnTo>
                  <a:pt x="221" y="260"/>
                </a:lnTo>
                <a:lnTo>
                  <a:pt x="165" y="339"/>
                </a:lnTo>
                <a:lnTo>
                  <a:pt x="117" y="426"/>
                </a:lnTo>
                <a:lnTo>
                  <a:pt x="76" y="522"/>
                </a:lnTo>
                <a:lnTo>
                  <a:pt x="43" y="622"/>
                </a:lnTo>
                <a:lnTo>
                  <a:pt x="19" y="728"/>
                </a:lnTo>
                <a:lnTo>
                  <a:pt x="4" y="838"/>
                </a:lnTo>
                <a:lnTo>
                  <a:pt x="0" y="950"/>
                </a:lnTo>
                <a:lnTo>
                  <a:pt x="7" y="1063"/>
                </a:lnTo>
                <a:lnTo>
                  <a:pt x="26" y="1175"/>
                </a:lnTo>
                <a:lnTo>
                  <a:pt x="59" y="1287"/>
                </a:lnTo>
                <a:lnTo>
                  <a:pt x="104" y="1396"/>
                </a:lnTo>
                <a:lnTo>
                  <a:pt x="164" y="1501"/>
                </a:lnTo>
                <a:lnTo>
                  <a:pt x="238" y="1601"/>
                </a:lnTo>
                <a:lnTo>
                  <a:pt x="328" y="1694"/>
                </a:lnTo>
                <a:lnTo>
                  <a:pt x="382" y="1738"/>
                </a:lnTo>
                <a:lnTo>
                  <a:pt x="358" y="1782"/>
                </a:lnTo>
                <a:lnTo>
                  <a:pt x="327" y="1873"/>
                </a:lnTo>
                <a:lnTo>
                  <a:pt x="313" y="1963"/>
                </a:lnTo>
                <a:lnTo>
                  <a:pt x="314" y="2052"/>
                </a:lnTo>
                <a:lnTo>
                  <a:pt x="328" y="2138"/>
                </a:lnTo>
                <a:lnTo>
                  <a:pt x="354" y="2224"/>
                </a:lnTo>
                <a:lnTo>
                  <a:pt x="388" y="2306"/>
                </a:lnTo>
                <a:lnTo>
                  <a:pt x="431" y="2383"/>
                </a:lnTo>
                <a:lnTo>
                  <a:pt x="503" y="2492"/>
                </a:lnTo>
                <a:lnTo>
                  <a:pt x="607" y="2618"/>
                </a:lnTo>
                <a:lnTo>
                  <a:pt x="707" y="2716"/>
                </a:lnTo>
                <a:lnTo>
                  <a:pt x="786" y="2783"/>
                </a:lnTo>
                <a:lnTo>
                  <a:pt x="811" y="2799"/>
                </a:lnTo>
                <a:lnTo>
                  <a:pt x="814" y="2884"/>
                </a:lnTo>
                <a:lnTo>
                  <a:pt x="835" y="3046"/>
                </a:lnTo>
                <a:lnTo>
                  <a:pt x="871" y="3197"/>
                </a:lnTo>
                <a:lnTo>
                  <a:pt x="925" y="3339"/>
                </a:lnTo>
                <a:lnTo>
                  <a:pt x="991" y="3471"/>
                </a:lnTo>
                <a:lnTo>
                  <a:pt x="1067" y="3591"/>
                </a:lnTo>
                <a:lnTo>
                  <a:pt x="1155" y="3702"/>
                </a:lnTo>
                <a:lnTo>
                  <a:pt x="1250" y="3800"/>
                </a:lnTo>
                <a:lnTo>
                  <a:pt x="1352" y="3887"/>
                </a:lnTo>
                <a:lnTo>
                  <a:pt x="1459" y="3962"/>
                </a:lnTo>
                <a:lnTo>
                  <a:pt x="1569" y="4026"/>
                </a:lnTo>
                <a:lnTo>
                  <a:pt x="1680" y="4076"/>
                </a:lnTo>
                <a:lnTo>
                  <a:pt x="1790" y="4114"/>
                </a:lnTo>
                <a:lnTo>
                  <a:pt x="1899" y="4138"/>
                </a:lnTo>
                <a:lnTo>
                  <a:pt x="2004" y="4150"/>
                </a:lnTo>
                <a:lnTo>
                  <a:pt x="2104" y="4147"/>
                </a:lnTo>
                <a:lnTo>
                  <a:pt x="2151" y="4140"/>
                </a:lnTo>
                <a:lnTo>
                  <a:pt x="2174" y="4182"/>
                </a:lnTo>
                <a:lnTo>
                  <a:pt x="2230" y="4267"/>
                </a:lnTo>
                <a:lnTo>
                  <a:pt x="2293" y="4346"/>
                </a:lnTo>
                <a:lnTo>
                  <a:pt x="2366" y="4421"/>
                </a:lnTo>
                <a:lnTo>
                  <a:pt x="2445" y="4492"/>
                </a:lnTo>
                <a:lnTo>
                  <a:pt x="2532" y="4560"/>
                </a:lnTo>
                <a:lnTo>
                  <a:pt x="2625" y="4620"/>
                </a:lnTo>
                <a:lnTo>
                  <a:pt x="2722" y="4678"/>
                </a:lnTo>
                <a:lnTo>
                  <a:pt x="2826" y="4728"/>
                </a:lnTo>
                <a:lnTo>
                  <a:pt x="2932" y="4772"/>
                </a:lnTo>
                <a:lnTo>
                  <a:pt x="3042" y="4810"/>
                </a:lnTo>
                <a:lnTo>
                  <a:pt x="3155" y="4841"/>
                </a:lnTo>
                <a:lnTo>
                  <a:pt x="3269" y="4865"/>
                </a:lnTo>
                <a:lnTo>
                  <a:pt x="3386" y="4882"/>
                </a:lnTo>
                <a:lnTo>
                  <a:pt x="3501" y="4890"/>
                </a:lnTo>
                <a:lnTo>
                  <a:pt x="3618" y="4891"/>
                </a:lnTo>
                <a:lnTo>
                  <a:pt x="3732" y="4884"/>
                </a:lnTo>
                <a:lnTo>
                  <a:pt x="3845" y="4867"/>
                </a:lnTo>
                <a:lnTo>
                  <a:pt x="3955" y="4841"/>
                </a:lnTo>
                <a:lnTo>
                  <a:pt x="4063" y="4806"/>
                </a:lnTo>
                <a:lnTo>
                  <a:pt x="4166" y="4760"/>
                </a:lnTo>
                <a:lnTo>
                  <a:pt x="4265" y="4705"/>
                </a:lnTo>
                <a:lnTo>
                  <a:pt x="4358" y="4639"/>
                </a:lnTo>
                <a:lnTo>
                  <a:pt x="4445" y="4561"/>
                </a:lnTo>
                <a:lnTo>
                  <a:pt x="4525" y="4473"/>
                </a:lnTo>
                <a:lnTo>
                  <a:pt x="4598" y="4373"/>
                </a:lnTo>
                <a:lnTo>
                  <a:pt x="4663" y="4260"/>
                </a:lnTo>
                <a:lnTo>
                  <a:pt x="4718" y="4136"/>
                </a:lnTo>
                <a:lnTo>
                  <a:pt x="4765" y="3998"/>
                </a:lnTo>
                <a:lnTo>
                  <a:pt x="4800" y="3848"/>
                </a:lnTo>
                <a:lnTo>
                  <a:pt x="4825" y="3685"/>
                </a:lnTo>
                <a:lnTo>
                  <a:pt x="4838" y="3507"/>
                </a:lnTo>
                <a:lnTo>
                  <a:pt x="4838" y="3412"/>
                </a:lnTo>
                <a:lnTo>
                  <a:pt x="4838" y="1073"/>
                </a:lnTo>
                <a:lnTo>
                  <a:pt x="4778" y="1039"/>
                </a:lnTo>
                <a:lnTo>
                  <a:pt x="4656" y="984"/>
                </a:lnTo>
                <a:lnTo>
                  <a:pt x="4533" y="942"/>
                </a:lnTo>
                <a:lnTo>
                  <a:pt x="4409" y="915"/>
                </a:lnTo>
                <a:lnTo>
                  <a:pt x="4285" y="903"/>
                </a:lnTo>
                <a:lnTo>
                  <a:pt x="4164" y="906"/>
                </a:lnTo>
                <a:lnTo>
                  <a:pt x="4043" y="923"/>
                </a:lnTo>
                <a:lnTo>
                  <a:pt x="3925" y="956"/>
                </a:lnTo>
                <a:lnTo>
                  <a:pt x="3868" y="980"/>
                </a:lnTo>
                <a:close/>
              </a:path>
            </a:pathLst>
          </a:custGeom>
          <a:gradFill flip="none" rotWithShape="1">
            <a:gsLst>
              <a:gs pos="0">
                <a:schemeClr val="accent1">
                  <a:lumMod val="20000"/>
                  <a:lumOff val="80000"/>
                </a:schemeClr>
              </a:gs>
              <a:gs pos="8000">
                <a:schemeClr val="accent1">
                  <a:lumMod val="40000"/>
                  <a:lumOff val="60000"/>
                </a:schemeClr>
              </a:gs>
              <a:gs pos="69000">
                <a:schemeClr val="accent1"/>
              </a:gs>
              <a:gs pos="30000">
                <a:schemeClr val="accent1">
                  <a:lumMod val="60000"/>
                  <a:lumOff val="40000"/>
                </a:schemeClr>
              </a:gs>
            </a:gsLst>
            <a:lin ang="270000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noFill/>
              <a:effectLst/>
              <a:uLnTx/>
              <a:uFillTx/>
              <a:latin typeface="Calibri" panose="020F0502020204030204"/>
              <a:ea typeface="+mn-ea"/>
              <a:cs typeface="+mn-cs"/>
            </a:endParaRPr>
          </a:p>
        </p:txBody>
      </p:sp>
      <p:sp>
        <p:nvSpPr>
          <p:cNvPr id="10" name="Oval 26">
            <a:extLst>
              <a:ext uri="{FF2B5EF4-FFF2-40B4-BE49-F238E27FC236}">
                <a16:creationId xmlns:a16="http://schemas.microsoft.com/office/drawing/2014/main" id="{35F666CF-3974-414C-9E82-C1E52DD189D5}"/>
              </a:ext>
            </a:extLst>
          </p:cNvPr>
          <p:cNvSpPr/>
          <p:nvPr/>
        </p:nvSpPr>
        <p:spPr>
          <a:xfrm>
            <a:off x="3673315" y="2611758"/>
            <a:ext cx="439509" cy="439509"/>
          </a:xfrm>
          <a:prstGeom prst="ellipse">
            <a:avLst/>
          </a:prstGeom>
          <a:gradFill>
            <a:gsLst>
              <a:gs pos="73000">
                <a:schemeClr val="accent1"/>
              </a:gs>
              <a:gs pos="31000">
                <a:schemeClr val="accent1">
                  <a:lumMod val="60000"/>
                  <a:lumOff val="40000"/>
                </a:schemeClr>
              </a:gs>
              <a:gs pos="0">
                <a:schemeClr val="accent1">
                  <a:lumMod val="40000"/>
                  <a:lumOff val="60000"/>
                </a:schemeClr>
              </a:gs>
            </a:gsLst>
            <a:path path="circle">
              <a:fillToRect r="100000" b="100000"/>
            </a:path>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HarmonyOS Sans SC"/>
              <a:cs typeface="+mn-cs"/>
            </a:endParaRPr>
          </a:p>
        </p:txBody>
      </p:sp>
      <p:sp>
        <p:nvSpPr>
          <p:cNvPr id="11" name="Oval 27">
            <a:extLst>
              <a:ext uri="{FF2B5EF4-FFF2-40B4-BE49-F238E27FC236}">
                <a16:creationId xmlns:a16="http://schemas.microsoft.com/office/drawing/2014/main" id="{BD9EFEF9-0861-4E22-AB55-FD167FFA67D2}"/>
              </a:ext>
            </a:extLst>
          </p:cNvPr>
          <p:cNvSpPr/>
          <p:nvPr/>
        </p:nvSpPr>
        <p:spPr>
          <a:xfrm>
            <a:off x="3673315" y="3926802"/>
            <a:ext cx="439509" cy="439509"/>
          </a:xfrm>
          <a:prstGeom prst="ellipse">
            <a:avLst/>
          </a:prstGeom>
          <a:gradFill>
            <a:gsLst>
              <a:gs pos="73000">
                <a:schemeClr val="accent1"/>
              </a:gs>
              <a:gs pos="31000">
                <a:schemeClr val="accent1">
                  <a:lumMod val="60000"/>
                  <a:lumOff val="40000"/>
                </a:schemeClr>
              </a:gs>
              <a:gs pos="0">
                <a:schemeClr val="accent1">
                  <a:lumMod val="40000"/>
                  <a:lumOff val="60000"/>
                </a:schemeClr>
              </a:gs>
            </a:gsLst>
            <a:path path="circle">
              <a:fillToRect r="100000" b="100000"/>
            </a:path>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HarmonyOS Sans SC"/>
              <a:cs typeface="+mn-cs"/>
            </a:endParaRPr>
          </a:p>
        </p:txBody>
      </p:sp>
      <p:sp>
        <p:nvSpPr>
          <p:cNvPr id="12" name="TextBox 28">
            <a:extLst>
              <a:ext uri="{FF2B5EF4-FFF2-40B4-BE49-F238E27FC236}">
                <a16:creationId xmlns:a16="http://schemas.microsoft.com/office/drawing/2014/main" id="{7D8DF208-E7D7-4851-BAE9-F18FA356E6B0}"/>
              </a:ext>
            </a:extLst>
          </p:cNvPr>
          <p:cNvSpPr txBox="1"/>
          <p:nvPr/>
        </p:nvSpPr>
        <p:spPr>
          <a:xfrm>
            <a:off x="3672134" y="2687469"/>
            <a:ext cx="440690"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HarmonyOS Sans SC Black"/>
                <a:ea typeface="+mj-ea"/>
                <a:cs typeface="+mn-cs"/>
              </a:rPr>
              <a:t>01</a:t>
            </a:r>
          </a:p>
        </p:txBody>
      </p:sp>
      <p:sp>
        <p:nvSpPr>
          <p:cNvPr id="13" name="TextBox 29">
            <a:extLst>
              <a:ext uri="{FF2B5EF4-FFF2-40B4-BE49-F238E27FC236}">
                <a16:creationId xmlns:a16="http://schemas.microsoft.com/office/drawing/2014/main" id="{DD42B218-8797-4A90-855C-05EAE22965A6}"/>
              </a:ext>
            </a:extLst>
          </p:cNvPr>
          <p:cNvSpPr txBox="1"/>
          <p:nvPr/>
        </p:nvSpPr>
        <p:spPr>
          <a:xfrm>
            <a:off x="3672134" y="4005396"/>
            <a:ext cx="440690"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HarmonyOS Sans SC Black"/>
                <a:ea typeface="+mj-ea"/>
                <a:cs typeface="+mn-cs"/>
              </a:rPr>
              <a:t>02</a:t>
            </a:r>
          </a:p>
        </p:txBody>
      </p:sp>
      <p:sp>
        <p:nvSpPr>
          <p:cNvPr id="14" name="TextBox 30">
            <a:extLst>
              <a:ext uri="{FF2B5EF4-FFF2-40B4-BE49-F238E27FC236}">
                <a16:creationId xmlns:a16="http://schemas.microsoft.com/office/drawing/2014/main" id="{B06EE80B-4112-4456-997A-DF31D360BC5A}"/>
              </a:ext>
            </a:extLst>
          </p:cNvPr>
          <p:cNvSpPr txBox="1"/>
          <p:nvPr/>
        </p:nvSpPr>
        <p:spPr>
          <a:xfrm>
            <a:off x="1563357" y="2506327"/>
            <a:ext cx="1816582" cy="374461"/>
          </a:xfrm>
          <a:prstGeom prst="rect">
            <a:avLst/>
          </a:prstGeom>
          <a:noFill/>
        </p:spPr>
        <p:txBody>
          <a:bodyPr wrap="square" rtlCol="0">
            <a:spAutoFit/>
          </a:bodyPr>
          <a:lstStyle/>
          <a:p>
            <a:pPr marL="0" marR="0" lvl="0" indent="0" algn="r" defTabSz="914400" rtl="0" eaLnBrk="1" fontAlgn="auto" latinLnBrk="0" hangingPunct="1">
              <a:lnSpc>
                <a:spcPts val="24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lumMod val="75000"/>
                    <a:lumOff val="25000"/>
                  </a:prstClr>
                </a:solidFill>
                <a:effectLst/>
                <a:uLnTx/>
                <a:uFillTx/>
                <a:latin typeface="HarmonyOS Sans SC Black"/>
                <a:ea typeface="+mj-ea"/>
                <a:cs typeface="+mn-cs"/>
              </a:rPr>
              <a:t>Teamwork</a:t>
            </a:r>
          </a:p>
        </p:txBody>
      </p:sp>
      <p:sp>
        <p:nvSpPr>
          <p:cNvPr id="15" name="TextBox 31">
            <a:extLst>
              <a:ext uri="{FF2B5EF4-FFF2-40B4-BE49-F238E27FC236}">
                <a16:creationId xmlns:a16="http://schemas.microsoft.com/office/drawing/2014/main" id="{FC8A77F2-4A5A-47EB-AAB3-3BE8BB797FE0}"/>
              </a:ext>
            </a:extLst>
          </p:cNvPr>
          <p:cNvSpPr txBox="1"/>
          <p:nvPr/>
        </p:nvSpPr>
        <p:spPr>
          <a:xfrm>
            <a:off x="533400" y="2817925"/>
            <a:ext cx="2846539" cy="300210"/>
          </a:xfrm>
          <a:prstGeom prst="rect">
            <a:avLst/>
          </a:prstGeom>
          <a:noFill/>
        </p:spPr>
        <p:txBody>
          <a:bodyPr wrap="square" rtlCol="0">
            <a:spAutoFit/>
          </a:bodyPr>
          <a:lstStyle/>
          <a:p>
            <a:pPr marL="0" marR="0" lvl="0" indent="0" algn="r" defTabSz="914400" rtl="0" eaLnBrk="1" fontAlgn="auto" latinLnBrk="0" hangingPunct="1">
              <a:lnSpc>
                <a:spcPts val="1900"/>
              </a:lnSpc>
              <a:spcBef>
                <a:spcPts val="0"/>
              </a:spcBef>
              <a:spcAft>
                <a:spcPts val="0"/>
              </a:spcAft>
              <a:buClrTx/>
              <a:buSzTx/>
              <a:buFontTx/>
              <a:buNone/>
              <a:tabLst/>
              <a:defRPr/>
            </a:pPr>
            <a:r>
              <a:rPr kumimoji="0" lang="pt-BR" sz="800" b="0" i="0" u="none" strike="noStrike" kern="1200" cap="none" spc="0" normalizeH="0" baseline="0" noProof="0" dirty="0">
                <a:ln>
                  <a:noFill/>
                </a:ln>
                <a:solidFill>
                  <a:prstClr val="black">
                    <a:lumMod val="50000"/>
                    <a:lumOff val="50000"/>
                  </a:prstClr>
                </a:solidFill>
                <a:effectLst/>
                <a:uLnTx/>
                <a:uFillTx/>
                <a:latin typeface="HarmonyOS Sans SC"/>
                <a:cs typeface="+mn-cs"/>
              </a:rPr>
              <a:t>Mauris eu nisl sed diam imperdiet iaculis vitae ut metus. </a:t>
            </a:r>
            <a:endParaRPr kumimoji="0" lang="en-US" sz="800" b="0" i="0" u="none" strike="noStrike" kern="1200" cap="none" spc="0" normalizeH="0" baseline="0" noProof="0" dirty="0">
              <a:ln>
                <a:noFill/>
              </a:ln>
              <a:solidFill>
                <a:prstClr val="black">
                  <a:lumMod val="50000"/>
                  <a:lumOff val="50000"/>
                </a:prstClr>
              </a:solidFill>
              <a:effectLst/>
              <a:uLnTx/>
              <a:uFillTx/>
              <a:latin typeface="HarmonyOS Sans SC"/>
              <a:cs typeface="+mn-cs"/>
            </a:endParaRPr>
          </a:p>
        </p:txBody>
      </p:sp>
      <p:sp>
        <p:nvSpPr>
          <p:cNvPr id="16" name="TextBox 32">
            <a:extLst>
              <a:ext uri="{FF2B5EF4-FFF2-40B4-BE49-F238E27FC236}">
                <a16:creationId xmlns:a16="http://schemas.microsoft.com/office/drawing/2014/main" id="{7729F6AB-53FC-465A-BD3A-24B764F419C3}"/>
              </a:ext>
            </a:extLst>
          </p:cNvPr>
          <p:cNvSpPr txBox="1"/>
          <p:nvPr/>
        </p:nvSpPr>
        <p:spPr>
          <a:xfrm>
            <a:off x="1563357" y="3824334"/>
            <a:ext cx="1816582" cy="374461"/>
          </a:xfrm>
          <a:prstGeom prst="rect">
            <a:avLst/>
          </a:prstGeom>
          <a:noFill/>
        </p:spPr>
        <p:txBody>
          <a:bodyPr wrap="square" rtlCol="0">
            <a:spAutoFit/>
          </a:bodyPr>
          <a:lstStyle/>
          <a:p>
            <a:pPr marL="0" marR="0" lvl="0" indent="0" algn="r" defTabSz="914400" rtl="0" eaLnBrk="1" fontAlgn="auto" latinLnBrk="0" hangingPunct="1">
              <a:lnSpc>
                <a:spcPts val="24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lumMod val="75000"/>
                    <a:lumOff val="25000"/>
                  </a:prstClr>
                </a:solidFill>
                <a:effectLst/>
                <a:uLnTx/>
                <a:uFillTx/>
                <a:latin typeface="HarmonyOS Sans SC Black"/>
                <a:ea typeface="+mj-ea"/>
                <a:cs typeface="+mn-cs"/>
              </a:rPr>
              <a:t>Discipline</a:t>
            </a:r>
          </a:p>
        </p:txBody>
      </p:sp>
      <p:sp>
        <p:nvSpPr>
          <p:cNvPr id="17" name="TextBox 33">
            <a:extLst>
              <a:ext uri="{FF2B5EF4-FFF2-40B4-BE49-F238E27FC236}">
                <a16:creationId xmlns:a16="http://schemas.microsoft.com/office/drawing/2014/main" id="{3B6456F8-1A8B-425A-B6D2-81D98086B3A3}"/>
              </a:ext>
            </a:extLst>
          </p:cNvPr>
          <p:cNvSpPr txBox="1"/>
          <p:nvPr/>
        </p:nvSpPr>
        <p:spPr>
          <a:xfrm>
            <a:off x="739141" y="4135932"/>
            <a:ext cx="2640798" cy="300210"/>
          </a:xfrm>
          <a:prstGeom prst="rect">
            <a:avLst/>
          </a:prstGeom>
          <a:noFill/>
        </p:spPr>
        <p:txBody>
          <a:bodyPr wrap="square" rtlCol="0">
            <a:spAutoFit/>
          </a:bodyPr>
          <a:lstStyle/>
          <a:p>
            <a:pPr marL="0" marR="0" lvl="0" indent="0" algn="r" defTabSz="914400" rtl="0" eaLnBrk="1" fontAlgn="auto" latinLnBrk="0" hangingPunct="1">
              <a:lnSpc>
                <a:spcPts val="1900"/>
              </a:lnSpc>
              <a:spcBef>
                <a:spcPts val="0"/>
              </a:spcBef>
              <a:spcAft>
                <a:spcPts val="0"/>
              </a:spcAft>
              <a:buClrTx/>
              <a:buSzTx/>
              <a:buFontTx/>
              <a:buNone/>
              <a:tabLst/>
              <a:defRPr/>
            </a:pPr>
            <a:r>
              <a:rPr kumimoji="0" lang="pt-BR" sz="800" b="0" i="0" u="none" strike="noStrike" kern="1200" cap="none" spc="0" normalizeH="0" baseline="0" noProof="0" dirty="0">
                <a:ln>
                  <a:noFill/>
                </a:ln>
                <a:solidFill>
                  <a:prstClr val="black">
                    <a:lumMod val="50000"/>
                    <a:lumOff val="50000"/>
                  </a:prstClr>
                </a:solidFill>
                <a:effectLst/>
                <a:uLnTx/>
                <a:uFillTx/>
                <a:latin typeface="HarmonyOS Sans SC"/>
                <a:cs typeface="+mn-cs"/>
              </a:rPr>
              <a:t>Cras in orci quis velit dapibus mollis. Pellentesque.</a:t>
            </a:r>
            <a:endParaRPr kumimoji="0" lang="en-US" sz="800" b="0" i="0" u="none" strike="noStrike" kern="1200" cap="none" spc="0" normalizeH="0" baseline="0" noProof="0" dirty="0">
              <a:ln>
                <a:noFill/>
              </a:ln>
              <a:solidFill>
                <a:prstClr val="black">
                  <a:lumMod val="50000"/>
                  <a:lumOff val="50000"/>
                </a:prstClr>
              </a:solidFill>
              <a:effectLst/>
              <a:uLnTx/>
              <a:uFillTx/>
              <a:latin typeface="HarmonyOS Sans SC"/>
              <a:cs typeface="+mn-cs"/>
            </a:endParaRPr>
          </a:p>
        </p:txBody>
      </p:sp>
      <p:sp>
        <p:nvSpPr>
          <p:cNvPr id="18" name="Oval 37">
            <a:extLst>
              <a:ext uri="{FF2B5EF4-FFF2-40B4-BE49-F238E27FC236}">
                <a16:creationId xmlns:a16="http://schemas.microsoft.com/office/drawing/2014/main" id="{54DA9374-9C4F-46A0-93F0-416791232136}"/>
              </a:ext>
            </a:extLst>
          </p:cNvPr>
          <p:cNvSpPr/>
          <p:nvPr/>
        </p:nvSpPr>
        <p:spPr>
          <a:xfrm>
            <a:off x="8079176" y="2602531"/>
            <a:ext cx="439509" cy="439509"/>
          </a:xfrm>
          <a:prstGeom prst="ellipse">
            <a:avLst/>
          </a:prstGeom>
          <a:gradFill>
            <a:gsLst>
              <a:gs pos="73000">
                <a:schemeClr val="accent1"/>
              </a:gs>
              <a:gs pos="31000">
                <a:schemeClr val="accent1">
                  <a:lumMod val="60000"/>
                  <a:lumOff val="40000"/>
                </a:schemeClr>
              </a:gs>
              <a:gs pos="0">
                <a:schemeClr val="accent1">
                  <a:lumMod val="40000"/>
                  <a:lumOff val="60000"/>
                </a:schemeClr>
              </a:gs>
            </a:gsLst>
            <a:path path="circle">
              <a:fillToRect r="100000" b="100000"/>
            </a:path>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HarmonyOS Sans SC"/>
              <a:cs typeface="+mn-cs"/>
            </a:endParaRPr>
          </a:p>
        </p:txBody>
      </p:sp>
      <p:sp>
        <p:nvSpPr>
          <p:cNvPr id="19" name="Oval 38">
            <a:extLst>
              <a:ext uri="{FF2B5EF4-FFF2-40B4-BE49-F238E27FC236}">
                <a16:creationId xmlns:a16="http://schemas.microsoft.com/office/drawing/2014/main" id="{24A24237-9E8F-4AD3-93D1-C6523CB4167E}"/>
              </a:ext>
            </a:extLst>
          </p:cNvPr>
          <p:cNvSpPr/>
          <p:nvPr/>
        </p:nvSpPr>
        <p:spPr>
          <a:xfrm>
            <a:off x="8079176" y="3917575"/>
            <a:ext cx="439509" cy="439509"/>
          </a:xfrm>
          <a:prstGeom prst="ellipse">
            <a:avLst/>
          </a:prstGeom>
          <a:gradFill>
            <a:gsLst>
              <a:gs pos="73000">
                <a:schemeClr val="accent1"/>
              </a:gs>
              <a:gs pos="31000">
                <a:schemeClr val="accent1">
                  <a:lumMod val="60000"/>
                  <a:lumOff val="40000"/>
                </a:schemeClr>
              </a:gs>
              <a:gs pos="0">
                <a:schemeClr val="accent1">
                  <a:lumMod val="40000"/>
                  <a:lumOff val="60000"/>
                </a:schemeClr>
              </a:gs>
            </a:gsLst>
            <a:path path="circle">
              <a:fillToRect r="100000" b="100000"/>
            </a:path>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HarmonyOS Sans SC"/>
              <a:cs typeface="+mn-cs"/>
            </a:endParaRPr>
          </a:p>
        </p:txBody>
      </p:sp>
      <p:sp>
        <p:nvSpPr>
          <p:cNvPr id="20" name="TextBox 39">
            <a:extLst>
              <a:ext uri="{FF2B5EF4-FFF2-40B4-BE49-F238E27FC236}">
                <a16:creationId xmlns:a16="http://schemas.microsoft.com/office/drawing/2014/main" id="{C88786DB-FA2E-4EA0-9B6E-2954CBBDD93C}"/>
              </a:ext>
            </a:extLst>
          </p:cNvPr>
          <p:cNvSpPr txBox="1"/>
          <p:nvPr/>
        </p:nvSpPr>
        <p:spPr>
          <a:xfrm>
            <a:off x="8077995" y="2678242"/>
            <a:ext cx="440690"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HarmonyOS Sans SC Black"/>
                <a:ea typeface="+mj-ea"/>
                <a:cs typeface="+mn-cs"/>
              </a:rPr>
              <a:t>03</a:t>
            </a:r>
          </a:p>
        </p:txBody>
      </p:sp>
      <p:sp>
        <p:nvSpPr>
          <p:cNvPr id="21" name="TextBox 40">
            <a:extLst>
              <a:ext uri="{FF2B5EF4-FFF2-40B4-BE49-F238E27FC236}">
                <a16:creationId xmlns:a16="http://schemas.microsoft.com/office/drawing/2014/main" id="{68F4D1F2-968D-4C48-9A6E-8A612BF3A4CC}"/>
              </a:ext>
            </a:extLst>
          </p:cNvPr>
          <p:cNvSpPr txBox="1"/>
          <p:nvPr/>
        </p:nvSpPr>
        <p:spPr>
          <a:xfrm>
            <a:off x="8077995" y="3996169"/>
            <a:ext cx="440690"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HarmonyOS Sans SC Black"/>
                <a:ea typeface="+mj-ea"/>
                <a:cs typeface="+mn-cs"/>
              </a:rPr>
              <a:t>04</a:t>
            </a:r>
          </a:p>
        </p:txBody>
      </p:sp>
      <p:sp>
        <p:nvSpPr>
          <p:cNvPr id="22" name="TextBox 41">
            <a:extLst>
              <a:ext uri="{FF2B5EF4-FFF2-40B4-BE49-F238E27FC236}">
                <a16:creationId xmlns:a16="http://schemas.microsoft.com/office/drawing/2014/main" id="{CC52AFEB-ADA5-4712-A57C-4268BD9613F5}"/>
              </a:ext>
            </a:extLst>
          </p:cNvPr>
          <p:cNvSpPr txBox="1"/>
          <p:nvPr/>
        </p:nvSpPr>
        <p:spPr>
          <a:xfrm>
            <a:off x="8810879" y="2506327"/>
            <a:ext cx="1816582" cy="374461"/>
          </a:xfrm>
          <a:prstGeom prst="rect">
            <a:avLst/>
          </a:prstGeom>
          <a:noFill/>
        </p:spPr>
        <p:txBody>
          <a:bodyPr wrap="square" rtlCol="0">
            <a:spAutoFit/>
          </a:bodyPr>
          <a:lstStyle/>
          <a:p>
            <a:pPr marL="0" marR="0" lvl="0" indent="0" algn="l" defTabSz="914400" rtl="0" eaLnBrk="1" fontAlgn="auto" latinLnBrk="0" hangingPunct="1">
              <a:lnSpc>
                <a:spcPts val="24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lumMod val="75000"/>
                    <a:lumOff val="25000"/>
                  </a:prstClr>
                </a:solidFill>
                <a:effectLst/>
                <a:uLnTx/>
                <a:uFillTx/>
                <a:latin typeface="HarmonyOS Sans SC Black"/>
                <a:ea typeface="+mj-ea"/>
                <a:cs typeface="+mn-cs"/>
              </a:rPr>
              <a:t>Management</a:t>
            </a:r>
          </a:p>
        </p:txBody>
      </p:sp>
      <p:sp>
        <p:nvSpPr>
          <p:cNvPr id="23" name="TextBox 42">
            <a:extLst>
              <a:ext uri="{FF2B5EF4-FFF2-40B4-BE49-F238E27FC236}">
                <a16:creationId xmlns:a16="http://schemas.microsoft.com/office/drawing/2014/main" id="{6A511023-3B44-4493-BDB7-E3535FFBD130}"/>
              </a:ext>
            </a:extLst>
          </p:cNvPr>
          <p:cNvSpPr txBox="1"/>
          <p:nvPr/>
        </p:nvSpPr>
        <p:spPr>
          <a:xfrm>
            <a:off x="8810879" y="2817925"/>
            <a:ext cx="2504820" cy="300210"/>
          </a:xfrm>
          <a:prstGeom prst="rect">
            <a:avLst/>
          </a:prstGeom>
          <a:noFill/>
        </p:spPr>
        <p:txBody>
          <a:bodyPr wrap="square" rtlCol="0">
            <a:spAutoFit/>
          </a:bodyPr>
          <a:lstStyle/>
          <a:p>
            <a:pPr marL="0" marR="0" lvl="0" indent="0" algn="l" defTabSz="914400" rtl="0" eaLnBrk="1" fontAlgn="auto" latinLnBrk="0" hangingPunct="1">
              <a:lnSpc>
                <a:spcPts val="1900"/>
              </a:lnSpc>
              <a:spcBef>
                <a:spcPts val="0"/>
              </a:spcBef>
              <a:spcAft>
                <a:spcPts val="0"/>
              </a:spcAft>
              <a:buClrTx/>
              <a:buSzTx/>
              <a:buFontTx/>
              <a:buNone/>
              <a:tabLst/>
              <a:defRPr/>
            </a:pPr>
            <a:r>
              <a:rPr kumimoji="0" lang="pt-BR" sz="800" b="0" i="0" u="none" strike="noStrike" kern="1200" cap="none" spc="0" normalizeH="0" baseline="0" noProof="0" dirty="0">
                <a:ln>
                  <a:noFill/>
                </a:ln>
                <a:solidFill>
                  <a:prstClr val="black">
                    <a:lumMod val="50000"/>
                    <a:lumOff val="50000"/>
                  </a:prstClr>
                </a:solidFill>
                <a:effectLst/>
                <a:uLnTx/>
                <a:uFillTx/>
                <a:latin typeface="HarmonyOS Sans SC"/>
                <a:cs typeface="+mn-cs"/>
              </a:rPr>
              <a:t>Cras in orci quis velit dapibus mollis. Pellentesque.</a:t>
            </a:r>
            <a:endParaRPr kumimoji="0" lang="en-US" sz="800" b="0" i="0" u="none" strike="noStrike" kern="1200" cap="none" spc="0" normalizeH="0" baseline="0" noProof="0" dirty="0">
              <a:ln>
                <a:noFill/>
              </a:ln>
              <a:solidFill>
                <a:prstClr val="black">
                  <a:lumMod val="50000"/>
                  <a:lumOff val="50000"/>
                </a:prstClr>
              </a:solidFill>
              <a:effectLst/>
              <a:uLnTx/>
              <a:uFillTx/>
              <a:latin typeface="HarmonyOS Sans SC"/>
              <a:cs typeface="+mn-cs"/>
            </a:endParaRPr>
          </a:p>
        </p:txBody>
      </p:sp>
      <p:sp>
        <p:nvSpPr>
          <p:cNvPr id="24" name="TextBox 43">
            <a:extLst>
              <a:ext uri="{FF2B5EF4-FFF2-40B4-BE49-F238E27FC236}">
                <a16:creationId xmlns:a16="http://schemas.microsoft.com/office/drawing/2014/main" id="{F5A92149-181C-47F0-8783-87F750C1F602}"/>
              </a:ext>
            </a:extLst>
          </p:cNvPr>
          <p:cNvSpPr txBox="1"/>
          <p:nvPr/>
        </p:nvSpPr>
        <p:spPr>
          <a:xfrm>
            <a:off x="8810879" y="3824334"/>
            <a:ext cx="1816582" cy="374461"/>
          </a:xfrm>
          <a:prstGeom prst="rect">
            <a:avLst/>
          </a:prstGeom>
          <a:noFill/>
        </p:spPr>
        <p:txBody>
          <a:bodyPr wrap="square" rtlCol="0">
            <a:spAutoFit/>
          </a:bodyPr>
          <a:lstStyle/>
          <a:p>
            <a:pPr marL="0" marR="0" lvl="0" indent="0" algn="l" defTabSz="914400" rtl="0" eaLnBrk="1" fontAlgn="auto" latinLnBrk="0" hangingPunct="1">
              <a:lnSpc>
                <a:spcPts val="24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lumMod val="75000"/>
                    <a:lumOff val="25000"/>
                  </a:prstClr>
                </a:solidFill>
                <a:effectLst/>
                <a:uLnTx/>
                <a:uFillTx/>
                <a:latin typeface="HarmonyOS Sans SC Black"/>
                <a:ea typeface="+mj-ea"/>
                <a:cs typeface="+mn-cs"/>
              </a:rPr>
              <a:t>Creativity</a:t>
            </a:r>
          </a:p>
        </p:txBody>
      </p:sp>
      <p:sp>
        <p:nvSpPr>
          <p:cNvPr id="25" name="TextBox 44">
            <a:extLst>
              <a:ext uri="{FF2B5EF4-FFF2-40B4-BE49-F238E27FC236}">
                <a16:creationId xmlns:a16="http://schemas.microsoft.com/office/drawing/2014/main" id="{85ACF3E4-3EE5-411D-BDC3-4190E4A7C31D}"/>
              </a:ext>
            </a:extLst>
          </p:cNvPr>
          <p:cNvSpPr txBox="1"/>
          <p:nvPr/>
        </p:nvSpPr>
        <p:spPr>
          <a:xfrm>
            <a:off x="8810879" y="4135932"/>
            <a:ext cx="2774091" cy="300210"/>
          </a:xfrm>
          <a:prstGeom prst="rect">
            <a:avLst/>
          </a:prstGeom>
          <a:noFill/>
        </p:spPr>
        <p:txBody>
          <a:bodyPr wrap="square" rtlCol="0">
            <a:spAutoFit/>
          </a:bodyPr>
          <a:lstStyle/>
          <a:p>
            <a:pPr marL="0" marR="0" lvl="0" indent="0" algn="l" defTabSz="914400" rtl="0" eaLnBrk="1" fontAlgn="auto" latinLnBrk="0" hangingPunct="1">
              <a:lnSpc>
                <a:spcPts val="1900"/>
              </a:lnSpc>
              <a:spcBef>
                <a:spcPts val="0"/>
              </a:spcBef>
              <a:spcAft>
                <a:spcPts val="0"/>
              </a:spcAft>
              <a:buClrTx/>
              <a:buSzTx/>
              <a:buFontTx/>
              <a:buNone/>
              <a:tabLst/>
              <a:defRPr/>
            </a:pPr>
            <a:r>
              <a:rPr kumimoji="0" lang="pt-BR" sz="800" b="0" i="0" u="none" strike="noStrike" kern="1200" cap="none" spc="0" normalizeH="0" baseline="0" noProof="0" dirty="0">
                <a:ln>
                  <a:noFill/>
                </a:ln>
                <a:solidFill>
                  <a:prstClr val="black">
                    <a:lumMod val="50000"/>
                    <a:lumOff val="50000"/>
                  </a:prstClr>
                </a:solidFill>
                <a:effectLst/>
                <a:uLnTx/>
                <a:uFillTx/>
                <a:latin typeface="HarmonyOS Sans SC"/>
                <a:cs typeface="+mn-cs"/>
              </a:rPr>
              <a:t>Mauris eu nisl sed diam imperdiet iaculis vitae ut metus. </a:t>
            </a:r>
            <a:endParaRPr kumimoji="0" lang="en-US" sz="800" b="0" i="0" u="none" strike="noStrike" kern="1200" cap="none" spc="0" normalizeH="0" baseline="0" noProof="0" dirty="0">
              <a:ln>
                <a:noFill/>
              </a:ln>
              <a:solidFill>
                <a:prstClr val="black">
                  <a:lumMod val="50000"/>
                  <a:lumOff val="50000"/>
                </a:prstClr>
              </a:solidFill>
              <a:effectLst/>
              <a:uLnTx/>
              <a:uFillTx/>
              <a:latin typeface="HarmonyOS Sans SC"/>
              <a:cs typeface="+mn-cs"/>
            </a:endParaRPr>
          </a:p>
        </p:txBody>
      </p:sp>
    </p:spTree>
    <p:extLst>
      <p:ext uri="{BB962C8B-B14F-4D97-AF65-F5344CB8AC3E}">
        <p14:creationId xmlns:p14="http://schemas.microsoft.com/office/powerpoint/2010/main" val="3535403631"/>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4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4" name="Straight Arrow Connector 194">
            <a:extLst>
              <a:ext uri="{FF2B5EF4-FFF2-40B4-BE49-F238E27FC236}">
                <a16:creationId xmlns:a16="http://schemas.microsoft.com/office/drawing/2014/main" id="{EDA9ADCE-619B-43A7-B635-5DCFC471C4E2}"/>
              </a:ext>
            </a:extLst>
          </p:cNvPr>
          <p:cNvCxnSpPr>
            <a:cxnSpLocks/>
          </p:cNvCxnSpPr>
          <p:nvPr/>
        </p:nvCxnSpPr>
        <p:spPr>
          <a:xfrm flipH="1">
            <a:off x="3152775" y="2727610"/>
            <a:ext cx="2064974" cy="0"/>
          </a:xfrm>
          <a:prstGeom prst="straightConnector1">
            <a:avLst/>
          </a:prstGeom>
          <a:ln w="9525">
            <a:gradFill>
              <a:gsLst>
                <a:gs pos="0">
                  <a:schemeClr val="accent1"/>
                </a:gs>
                <a:gs pos="100000">
                  <a:schemeClr val="accent1">
                    <a:lumMod val="40000"/>
                    <a:lumOff val="60000"/>
                  </a:schemeClr>
                </a:gs>
                <a:gs pos="73000">
                  <a:schemeClr val="accent1">
                    <a:lumMod val="60000"/>
                    <a:lumOff val="40000"/>
                  </a:schemeClr>
                </a:gs>
              </a:gsLst>
              <a:lin ang="10800000" scaled="0"/>
            </a:gradFill>
            <a:headEnd type="none"/>
            <a:tailEnd type="oval"/>
          </a:ln>
        </p:spPr>
        <p:style>
          <a:lnRef idx="1">
            <a:schemeClr val="accent1"/>
          </a:lnRef>
          <a:fillRef idx="0">
            <a:schemeClr val="accent1"/>
          </a:fillRef>
          <a:effectRef idx="0">
            <a:schemeClr val="accent1"/>
          </a:effectRef>
          <a:fontRef idx="minor">
            <a:schemeClr val="tx1"/>
          </a:fontRef>
        </p:style>
      </p:cxnSp>
      <p:cxnSp>
        <p:nvCxnSpPr>
          <p:cNvPr id="15" name="Straight Arrow Connector 195">
            <a:extLst>
              <a:ext uri="{FF2B5EF4-FFF2-40B4-BE49-F238E27FC236}">
                <a16:creationId xmlns:a16="http://schemas.microsoft.com/office/drawing/2014/main" id="{14760BBB-D800-44CA-8070-580564353840}"/>
              </a:ext>
            </a:extLst>
          </p:cNvPr>
          <p:cNvCxnSpPr>
            <a:cxnSpLocks/>
          </p:cNvCxnSpPr>
          <p:nvPr/>
        </p:nvCxnSpPr>
        <p:spPr>
          <a:xfrm flipH="1">
            <a:off x="6756400" y="3925085"/>
            <a:ext cx="1713471" cy="0"/>
          </a:xfrm>
          <a:prstGeom prst="straightConnector1">
            <a:avLst/>
          </a:prstGeom>
          <a:ln w="9525">
            <a:gradFill>
              <a:gsLst>
                <a:gs pos="0">
                  <a:schemeClr val="accent1"/>
                </a:gs>
                <a:gs pos="100000">
                  <a:schemeClr val="accent1">
                    <a:lumMod val="40000"/>
                    <a:lumOff val="60000"/>
                  </a:schemeClr>
                </a:gs>
                <a:gs pos="73000">
                  <a:schemeClr val="accent1">
                    <a:lumMod val="60000"/>
                    <a:lumOff val="40000"/>
                  </a:schemeClr>
                </a:gs>
              </a:gsLst>
              <a:lin ang="0" scaled="0"/>
            </a:gradFill>
            <a:headEnd type="oval"/>
            <a:tailEnd type="none"/>
          </a:ln>
        </p:spPr>
        <p:style>
          <a:lnRef idx="1">
            <a:schemeClr val="accent1"/>
          </a:lnRef>
          <a:fillRef idx="0">
            <a:schemeClr val="accent1"/>
          </a:fillRef>
          <a:effectRef idx="0">
            <a:schemeClr val="accent1"/>
          </a:effectRef>
          <a:fontRef idx="minor">
            <a:schemeClr val="tx1"/>
          </a:fontRef>
        </p:style>
      </p:cxnSp>
      <p:cxnSp>
        <p:nvCxnSpPr>
          <p:cNvPr id="16" name="Straight Arrow Connector 196">
            <a:extLst>
              <a:ext uri="{FF2B5EF4-FFF2-40B4-BE49-F238E27FC236}">
                <a16:creationId xmlns:a16="http://schemas.microsoft.com/office/drawing/2014/main" id="{FD421A33-C4A4-4F9A-BB30-60F567361CD8}"/>
              </a:ext>
            </a:extLst>
          </p:cNvPr>
          <p:cNvCxnSpPr>
            <a:cxnSpLocks/>
          </p:cNvCxnSpPr>
          <p:nvPr/>
        </p:nvCxnSpPr>
        <p:spPr>
          <a:xfrm flipH="1">
            <a:off x="3152775" y="4996843"/>
            <a:ext cx="2064975" cy="0"/>
          </a:xfrm>
          <a:prstGeom prst="straightConnector1">
            <a:avLst/>
          </a:prstGeom>
          <a:ln w="9525">
            <a:gradFill>
              <a:gsLst>
                <a:gs pos="0">
                  <a:schemeClr val="accent1"/>
                </a:gs>
                <a:gs pos="100000">
                  <a:schemeClr val="accent1">
                    <a:lumMod val="40000"/>
                    <a:lumOff val="60000"/>
                  </a:schemeClr>
                </a:gs>
                <a:gs pos="73000">
                  <a:schemeClr val="accent1">
                    <a:lumMod val="60000"/>
                    <a:lumOff val="40000"/>
                  </a:schemeClr>
                </a:gs>
              </a:gsLst>
              <a:lin ang="10800000" scaled="0"/>
            </a:gradFill>
            <a:headEnd type="none"/>
            <a:tailEnd type="oval"/>
          </a:ln>
        </p:spPr>
        <p:style>
          <a:lnRef idx="1">
            <a:schemeClr val="accent1"/>
          </a:lnRef>
          <a:fillRef idx="0">
            <a:schemeClr val="accent1"/>
          </a:fillRef>
          <a:effectRef idx="0">
            <a:schemeClr val="accent1"/>
          </a:effectRef>
          <a:fontRef idx="minor">
            <a:schemeClr val="tx1"/>
          </a:fontRef>
        </p:style>
      </p:cxnSp>
      <p:cxnSp>
        <p:nvCxnSpPr>
          <p:cNvPr id="17" name="Straight Arrow Connector 197">
            <a:extLst>
              <a:ext uri="{FF2B5EF4-FFF2-40B4-BE49-F238E27FC236}">
                <a16:creationId xmlns:a16="http://schemas.microsoft.com/office/drawing/2014/main" id="{1366843D-D542-4AEB-8EBA-EF975293A177}"/>
              </a:ext>
            </a:extLst>
          </p:cNvPr>
          <p:cNvCxnSpPr>
            <a:cxnSpLocks/>
          </p:cNvCxnSpPr>
          <p:nvPr/>
        </p:nvCxnSpPr>
        <p:spPr>
          <a:xfrm flipH="1">
            <a:off x="7067550" y="5622291"/>
            <a:ext cx="1402319" cy="0"/>
          </a:xfrm>
          <a:prstGeom prst="straightConnector1">
            <a:avLst/>
          </a:prstGeom>
          <a:ln w="9525">
            <a:gradFill>
              <a:gsLst>
                <a:gs pos="0">
                  <a:schemeClr val="accent1"/>
                </a:gs>
                <a:gs pos="100000">
                  <a:schemeClr val="accent1">
                    <a:lumMod val="40000"/>
                    <a:lumOff val="60000"/>
                  </a:schemeClr>
                </a:gs>
                <a:gs pos="73000">
                  <a:schemeClr val="accent1">
                    <a:lumMod val="60000"/>
                    <a:lumOff val="40000"/>
                  </a:schemeClr>
                </a:gs>
              </a:gsLst>
              <a:lin ang="0" scaled="0"/>
            </a:gradFill>
            <a:headEnd type="oval"/>
            <a:tailEnd type="none"/>
          </a:ln>
        </p:spPr>
        <p:style>
          <a:lnRef idx="1">
            <a:schemeClr val="accent1"/>
          </a:lnRef>
          <a:fillRef idx="0">
            <a:schemeClr val="accent1"/>
          </a:fillRef>
          <a:effectRef idx="0">
            <a:schemeClr val="accent1"/>
          </a:effectRef>
          <a:fontRef idx="minor">
            <a:schemeClr val="tx1"/>
          </a:fontRef>
        </p:style>
      </p:cxnSp>
      <p:sp>
        <p:nvSpPr>
          <p:cNvPr id="4" name="Right Triangle 61">
            <a:extLst>
              <a:ext uri="{FF2B5EF4-FFF2-40B4-BE49-F238E27FC236}">
                <a16:creationId xmlns:a16="http://schemas.microsoft.com/office/drawing/2014/main" id="{E3BB46C6-3C66-483A-974B-25C6E2F27708}"/>
              </a:ext>
            </a:extLst>
          </p:cNvPr>
          <p:cNvSpPr/>
          <p:nvPr/>
        </p:nvSpPr>
        <p:spPr>
          <a:xfrm flipV="1">
            <a:off x="1055689" y="803583"/>
            <a:ext cx="72580" cy="72177"/>
          </a:xfrm>
          <a:prstGeom prst="r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HarmonyOS Sans SC"/>
              <a:cs typeface="+mn-cs"/>
            </a:endParaRPr>
          </a:p>
        </p:txBody>
      </p:sp>
      <p:sp>
        <p:nvSpPr>
          <p:cNvPr id="5" name="文本框 4">
            <a:extLst>
              <a:ext uri="{FF2B5EF4-FFF2-40B4-BE49-F238E27FC236}">
                <a16:creationId xmlns:a16="http://schemas.microsoft.com/office/drawing/2014/main" id="{F7FB4754-2DB3-4DAD-87C9-406658676760}"/>
              </a:ext>
            </a:extLst>
          </p:cNvPr>
          <p:cNvSpPr txBox="1"/>
          <p:nvPr/>
        </p:nvSpPr>
        <p:spPr>
          <a:xfrm>
            <a:off x="941388" y="918105"/>
            <a:ext cx="3265638"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2800" b="0" i="0" u="none" strike="noStrike" kern="1200" cap="none" spc="0" normalizeH="0" baseline="0" noProof="0" dirty="0">
                <a:ln>
                  <a:noFill/>
                </a:ln>
                <a:solidFill>
                  <a:prstClr val="black"/>
                </a:solidFill>
                <a:effectLst/>
                <a:uLnTx/>
                <a:uFillTx/>
                <a:latin typeface="HarmonyOS Sans Black"/>
                <a:ea typeface="+mj-ea"/>
                <a:cs typeface="+mn-cs"/>
              </a:rPr>
              <a:t>Layer</a:t>
            </a:r>
            <a:r>
              <a:rPr kumimoji="0" lang="en-US" altLang="zh-CN" sz="1800" b="0" i="0" u="none" strike="noStrike" kern="1200" cap="none" spc="0" normalizeH="0" baseline="0" noProof="0" dirty="0">
                <a:ln>
                  <a:noFill/>
                </a:ln>
                <a:solidFill>
                  <a:prstClr val="black"/>
                </a:solidFill>
                <a:effectLst/>
                <a:uLnTx/>
                <a:uFillTx/>
                <a:latin typeface="HarmonyOS Sans SC"/>
                <a:cs typeface="+mn-cs"/>
              </a:rPr>
              <a:t> </a:t>
            </a:r>
            <a:r>
              <a:rPr kumimoji="0" lang="en-US" altLang="zh-CN" sz="2800" b="0" i="0" u="none" strike="noStrike" kern="1200" cap="none" spc="0" normalizeH="0" baseline="0" noProof="0" dirty="0">
                <a:ln>
                  <a:noFill/>
                </a:ln>
                <a:solidFill>
                  <a:schemeClr val="accent1"/>
                </a:solidFill>
                <a:effectLst/>
                <a:uLnTx/>
                <a:uFillTx/>
                <a:latin typeface="HarmonyOS Sans Black"/>
                <a:ea typeface="+mj-ea"/>
                <a:cs typeface="+mn-cs"/>
              </a:rPr>
              <a:t>Infographic</a:t>
            </a:r>
          </a:p>
        </p:txBody>
      </p:sp>
      <p:sp>
        <p:nvSpPr>
          <p:cNvPr id="9" name="Freeform 82">
            <a:extLst>
              <a:ext uri="{FF2B5EF4-FFF2-40B4-BE49-F238E27FC236}">
                <a16:creationId xmlns:a16="http://schemas.microsoft.com/office/drawing/2014/main" id="{85DE5A83-EE64-4D63-9125-19A091823CAC}"/>
              </a:ext>
            </a:extLst>
          </p:cNvPr>
          <p:cNvSpPr>
            <a:spLocks/>
          </p:cNvSpPr>
          <p:nvPr/>
        </p:nvSpPr>
        <p:spPr bwMode="auto">
          <a:xfrm>
            <a:off x="4451363" y="3203132"/>
            <a:ext cx="3509272" cy="1411323"/>
          </a:xfrm>
          <a:custGeom>
            <a:avLst/>
            <a:gdLst>
              <a:gd name="T0" fmla="*/ 527 w 527"/>
              <a:gd name="T1" fmla="*/ 130 h 212"/>
              <a:gd name="T2" fmla="*/ 492 w 527"/>
              <a:gd name="T3" fmla="*/ 0 h 212"/>
              <a:gd name="T4" fmla="*/ 35 w 527"/>
              <a:gd name="T5" fmla="*/ 0 h 212"/>
              <a:gd name="T6" fmla="*/ 0 w 527"/>
              <a:gd name="T7" fmla="*/ 130 h 212"/>
              <a:gd name="T8" fmla="*/ 13 w 527"/>
              <a:gd name="T9" fmla="*/ 212 h 212"/>
              <a:gd name="T10" fmla="*/ 514 w 527"/>
              <a:gd name="T11" fmla="*/ 212 h 212"/>
              <a:gd name="T12" fmla="*/ 527 w 527"/>
              <a:gd name="T13" fmla="*/ 130 h 212"/>
            </a:gdLst>
            <a:ahLst/>
            <a:cxnLst>
              <a:cxn ang="0">
                <a:pos x="T0" y="T1"/>
              </a:cxn>
              <a:cxn ang="0">
                <a:pos x="T2" y="T3"/>
              </a:cxn>
              <a:cxn ang="0">
                <a:pos x="T4" y="T5"/>
              </a:cxn>
              <a:cxn ang="0">
                <a:pos x="T6" y="T7"/>
              </a:cxn>
              <a:cxn ang="0">
                <a:pos x="T8" y="T9"/>
              </a:cxn>
              <a:cxn ang="0">
                <a:pos x="T10" y="T11"/>
              </a:cxn>
              <a:cxn ang="0">
                <a:pos x="T12" y="T13"/>
              </a:cxn>
            </a:cxnLst>
            <a:rect l="0" t="0" r="r" b="b"/>
            <a:pathLst>
              <a:path w="527" h="212">
                <a:moveTo>
                  <a:pt x="527" y="130"/>
                </a:moveTo>
                <a:cubicBezTo>
                  <a:pt x="527" y="83"/>
                  <a:pt x="514" y="38"/>
                  <a:pt x="492" y="0"/>
                </a:cubicBezTo>
                <a:cubicBezTo>
                  <a:pt x="35" y="0"/>
                  <a:pt x="35" y="0"/>
                  <a:pt x="35" y="0"/>
                </a:cubicBezTo>
                <a:cubicBezTo>
                  <a:pt x="13" y="38"/>
                  <a:pt x="0" y="83"/>
                  <a:pt x="0" y="130"/>
                </a:cubicBezTo>
                <a:cubicBezTo>
                  <a:pt x="0" y="159"/>
                  <a:pt x="4" y="186"/>
                  <a:pt x="13" y="212"/>
                </a:cubicBezTo>
                <a:cubicBezTo>
                  <a:pt x="514" y="212"/>
                  <a:pt x="514" y="212"/>
                  <a:pt x="514" y="212"/>
                </a:cubicBezTo>
                <a:cubicBezTo>
                  <a:pt x="522" y="186"/>
                  <a:pt x="527" y="159"/>
                  <a:pt x="527" y="130"/>
                </a:cubicBezTo>
                <a:close/>
              </a:path>
            </a:pathLst>
          </a:custGeom>
          <a:gradFill flip="none" rotWithShape="1">
            <a:gsLst>
              <a:gs pos="0">
                <a:schemeClr val="accent1"/>
              </a:gs>
              <a:gs pos="100000">
                <a:schemeClr val="accent1">
                  <a:lumMod val="40000"/>
                  <a:lumOff val="60000"/>
                </a:schemeClr>
              </a:gs>
              <a:gs pos="73000">
                <a:schemeClr val="accent1">
                  <a:lumMod val="60000"/>
                  <a:lumOff val="40000"/>
                </a:schemeClr>
              </a:gs>
            </a:gsLst>
            <a:lin ang="13500000" scaled="1"/>
            <a:tileRect/>
          </a:gradFill>
          <a:ln w="19050">
            <a:noFill/>
          </a:ln>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22222"/>
              </a:solidFill>
              <a:effectLst/>
              <a:uLnTx/>
              <a:uFillTx/>
              <a:latin typeface="Inter"/>
              <a:ea typeface="+mn-ea"/>
              <a:cs typeface="+mn-cs"/>
            </a:endParaRPr>
          </a:p>
        </p:txBody>
      </p:sp>
      <p:grpSp>
        <p:nvGrpSpPr>
          <p:cNvPr id="40" name="组合 39">
            <a:extLst>
              <a:ext uri="{FF2B5EF4-FFF2-40B4-BE49-F238E27FC236}">
                <a16:creationId xmlns:a16="http://schemas.microsoft.com/office/drawing/2014/main" id="{704EA615-6949-40B8-ACDF-79661E715465}"/>
              </a:ext>
            </a:extLst>
          </p:cNvPr>
          <p:cNvGrpSpPr/>
          <p:nvPr/>
        </p:nvGrpSpPr>
        <p:grpSpPr>
          <a:xfrm>
            <a:off x="4160198" y="2276474"/>
            <a:ext cx="3043207" cy="884867"/>
            <a:chOff x="4160198" y="2276474"/>
            <a:chExt cx="3043207" cy="884867"/>
          </a:xfrm>
        </p:grpSpPr>
        <p:sp>
          <p:nvSpPr>
            <p:cNvPr id="7" name="Freeform 78">
              <a:extLst>
                <a:ext uri="{FF2B5EF4-FFF2-40B4-BE49-F238E27FC236}">
                  <a16:creationId xmlns:a16="http://schemas.microsoft.com/office/drawing/2014/main" id="{E3090333-268A-4AD6-9373-E22693ADBF19}"/>
                </a:ext>
              </a:extLst>
            </p:cNvPr>
            <p:cNvSpPr>
              <a:spLocks/>
            </p:cNvSpPr>
            <p:nvPr/>
          </p:nvSpPr>
          <p:spPr bwMode="auto">
            <a:xfrm>
              <a:off x="4160198" y="2276474"/>
              <a:ext cx="3043207" cy="884867"/>
            </a:xfrm>
            <a:custGeom>
              <a:avLst/>
              <a:gdLst>
                <a:gd name="T0" fmla="*/ 229 w 457"/>
                <a:gd name="T1" fmla="*/ 0 h 133"/>
                <a:gd name="T2" fmla="*/ 0 w 457"/>
                <a:gd name="T3" fmla="*/ 133 h 133"/>
                <a:gd name="T4" fmla="*/ 457 w 457"/>
                <a:gd name="T5" fmla="*/ 133 h 133"/>
                <a:gd name="T6" fmla="*/ 229 w 457"/>
                <a:gd name="T7" fmla="*/ 0 h 133"/>
              </a:gdLst>
              <a:ahLst/>
              <a:cxnLst>
                <a:cxn ang="0">
                  <a:pos x="T0" y="T1"/>
                </a:cxn>
                <a:cxn ang="0">
                  <a:pos x="T2" y="T3"/>
                </a:cxn>
                <a:cxn ang="0">
                  <a:pos x="T4" y="T5"/>
                </a:cxn>
                <a:cxn ang="0">
                  <a:pos x="T6" y="T7"/>
                </a:cxn>
              </a:cxnLst>
              <a:rect l="0" t="0" r="r" b="b"/>
              <a:pathLst>
                <a:path w="457" h="133">
                  <a:moveTo>
                    <a:pt x="229" y="0"/>
                  </a:moveTo>
                  <a:cubicBezTo>
                    <a:pt x="131" y="0"/>
                    <a:pt x="46" y="53"/>
                    <a:pt x="0" y="133"/>
                  </a:cubicBezTo>
                  <a:cubicBezTo>
                    <a:pt x="457" y="133"/>
                    <a:pt x="457" y="133"/>
                    <a:pt x="457" y="133"/>
                  </a:cubicBezTo>
                  <a:cubicBezTo>
                    <a:pt x="412" y="53"/>
                    <a:pt x="327" y="0"/>
                    <a:pt x="229" y="0"/>
                  </a:cubicBezTo>
                  <a:close/>
                </a:path>
              </a:pathLst>
            </a:custGeom>
            <a:gradFill flip="none" rotWithShape="1">
              <a:gsLst>
                <a:gs pos="0">
                  <a:schemeClr val="accent1"/>
                </a:gs>
                <a:gs pos="100000">
                  <a:schemeClr val="accent1">
                    <a:lumMod val="40000"/>
                    <a:lumOff val="60000"/>
                  </a:schemeClr>
                </a:gs>
                <a:gs pos="73000">
                  <a:schemeClr val="accent1">
                    <a:lumMod val="60000"/>
                    <a:lumOff val="40000"/>
                  </a:schemeClr>
                </a:gs>
              </a:gsLst>
              <a:lin ang="13500000" scaled="1"/>
              <a:tileRect/>
            </a:gradFill>
            <a:ln w="19050">
              <a:noFill/>
            </a:ln>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22222"/>
                </a:solidFill>
                <a:effectLst/>
                <a:uLnTx/>
                <a:uFillTx/>
                <a:latin typeface="Inter"/>
                <a:ea typeface="+mn-ea"/>
                <a:cs typeface="+mn-cs"/>
              </a:endParaRPr>
            </a:p>
          </p:txBody>
        </p:sp>
        <p:sp>
          <p:nvSpPr>
            <p:cNvPr id="10" name="Freeform 2101">
              <a:extLst>
                <a:ext uri="{FF2B5EF4-FFF2-40B4-BE49-F238E27FC236}">
                  <a16:creationId xmlns:a16="http://schemas.microsoft.com/office/drawing/2014/main" id="{29C9FD2C-F96B-452E-BFCC-59CFD265F757}"/>
                </a:ext>
              </a:extLst>
            </p:cNvPr>
            <p:cNvSpPr>
              <a:spLocks noEditPoints="1"/>
            </p:cNvSpPr>
            <p:nvPr/>
          </p:nvSpPr>
          <p:spPr bwMode="auto">
            <a:xfrm>
              <a:off x="5502352" y="2558189"/>
              <a:ext cx="358898" cy="376247"/>
            </a:xfrm>
            <a:custGeom>
              <a:avLst/>
              <a:gdLst>
                <a:gd name="T0" fmla="*/ 154 w 154"/>
                <a:gd name="T1" fmla="*/ 22 h 160"/>
                <a:gd name="T2" fmla="*/ 77 w 154"/>
                <a:gd name="T3" fmla="*/ 0 h 160"/>
                <a:gd name="T4" fmla="*/ 0 w 154"/>
                <a:gd name="T5" fmla="*/ 22 h 160"/>
                <a:gd name="T6" fmla="*/ 6 w 154"/>
                <a:gd name="T7" fmla="*/ 30 h 160"/>
                <a:gd name="T8" fmla="*/ 58 w 154"/>
                <a:gd name="T9" fmla="*/ 102 h 160"/>
                <a:gd name="T10" fmla="*/ 58 w 154"/>
                <a:gd name="T11" fmla="*/ 156 h 160"/>
                <a:gd name="T12" fmla="*/ 60 w 154"/>
                <a:gd name="T13" fmla="*/ 159 h 160"/>
                <a:gd name="T14" fmla="*/ 62 w 154"/>
                <a:gd name="T15" fmla="*/ 160 h 160"/>
                <a:gd name="T16" fmla="*/ 95 w 154"/>
                <a:gd name="T17" fmla="*/ 127 h 160"/>
                <a:gd name="T18" fmla="*/ 95 w 154"/>
                <a:gd name="T19" fmla="*/ 102 h 160"/>
                <a:gd name="T20" fmla="*/ 148 w 154"/>
                <a:gd name="T21" fmla="*/ 30 h 160"/>
                <a:gd name="T22" fmla="*/ 148 w 154"/>
                <a:gd name="T23" fmla="*/ 30 h 160"/>
                <a:gd name="T24" fmla="*/ 154 w 154"/>
                <a:gd name="T25" fmla="*/ 22 h 160"/>
                <a:gd name="T26" fmla="*/ 77 w 154"/>
                <a:gd name="T27" fmla="*/ 6 h 160"/>
                <a:gd name="T28" fmla="*/ 147 w 154"/>
                <a:gd name="T29" fmla="*/ 22 h 160"/>
                <a:gd name="T30" fmla="*/ 144 w 154"/>
                <a:gd name="T31" fmla="*/ 26 h 160"/>
                <a:gd name="T32" fmla="*/ 144 w 154"/>
                <a:gd name="T33" fmla="*/ 26 h 160"/>
                <a:gd name="T34" fmla="*/ 144 w 154"/>
                <a:gd name="T35" fmla="*/ 26 h 160"/>
                <a:gd name="T36" fmla="*/ 77 w 154"/>
                <a:gd name="T37" fmla="*/ 37 h 160"/>
                <a:gd name="T38" fmla="*/ 10 w 154"/>
                <a:gd name="T39" fmla="*/ 26 h 160"/>
                <a:gd name="T40" fmla="*/ 10 w 154"/>
                <a:gd name="T41" fmla="*/ 26 h 160"/>
                <a:gd name="T42" fmla="*/ 8 w 154"/>
                <a:gd name="T43" fmla="*/ 25 h 160"/>
                <a:gd name="T44" fmla="*/ 6 w 154"/>
                <a:gd name="T45" fmla="*/ 22 h 160"/>
                <a:gd name="T46" fmla="*/ 77 w 154"/>
                <a:gd name="T47" fmla="*/ 6 h 160"/>
                <a:gd name="T48" fmla="*/ 89 w 154"/>
                <a:gd name="T49" fmla="*/ 125 h 160"/>
                <a:gd name="T50" fmla="*/ 65 w 154"/>
                <a:gd name="T51" fmla="*/ 149 h 160"/>
                <a:gd name="T52" fmla="*/ 65 w 154"/>
                <a:gd name="T53" fmla="*/ 104 h 160"/>
                <a:gd name="T54" fmla="*/ 89 w 154"/>
                <a:gd name="T55" fmla="*/ 104 h 160"/>
                <a:gd name="T56" fmla="*/ 89 w 154"/>
                <a:gd name="T57" fmla="*/ 125 h 160"/>
                <a:gd name="T58" fmla="*/ 91 w 154"/>
                <a:gd name="T59" fmla="*/ 98 h 160"/>
                <a:gd name="T60" fmla="*/ 63 w 154"/>
                <a:gd name="T61" fmla="*/ 98 h 160"/>
                <a:gd name="T62" fmla="*/ 17 w 154"/>
                <a:gd name="T63" fmla="*/ 36 h 160"/>
                <a:gd name="T64" fmla="*/ 77 w 154"/>
                <a:gd name="T65" fmla="*/ 43 h 160"/>
                <a:gd name="T66" fmla="*/ 136 w 154"/>
                <a:gd name="T67" fmla="*/ 36 h 160"/>
                <a:gd name="T68" fmla="*/ 91 w 154"/>
                <a:gd name="T69" fmla="*/ 98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54" h="160">
                  <a:moveTo>
                    <a:pt x="154" y="22"/>
                  </a:moveTo>
                  <a:cubicBezTo>
                    <a:pt x="154" y="7"/>
                    <a:pt x="115" y="0"/>
                    <a:pt x="77" y="0"/>
                  </a:cubicBezTo>
                  <a:cubicBezTo>
                    <a:pt x="39" y="0"/>
                    <a:pt x="0" y="7"/>
                    <a:pt x="0" y="22"/>
                  </a:cubicBezTo>
                  <a:cubicBezTo>
                    <a:pt x="0" y="25"/>
                    <a:pt x="2" y="28"/>
                    <a:pt x="6" y="30"/>
                  </a:cubicBezTo>
                  <a:cubicBezTo>
                    <a:pt x="58" y="102"/>
                    <a:pt x="58" y="102"/>
                    <a:pt x="58" y="102"/>
                  </a:cubicBezTo>
                  <a:cubicBezTo>
                    <a:pt x="58" y="156"/>
                    <a:pt x="58" y="156"/>
                    <a:pt x="58" y="156"/>
                  </a:cubicBezTo>
                  <a:cubicBezTo>
                    <a:pt x="58" y="158"/>
                    <a:pt x="59" y="159"/>
                    <a:pt x="60" y="159"/>
                  </a:cubicBezTo>
                  <a:cubicBezTo>
                    <a:pt x="62" y="160"/>
                    <a:pt x="62" y="160"/>
                    <a:pt x="62" y="160"/>
                  </a:cubicBezTo>
                  <a:cubicBezTo>
                    <a:pt x="95" y="127"/>
                    <a:pt x="95" y="127"/>
                    <a:pt x="95" y="127"/>
                  </a:cubicBezTo>
                  <a:cubicBezTo>
                    <a:pt x="95" y="102"/>
                    <a:pt x="95" y="102"/>
                    <a:pt x="95" y="102"/>
                  </a:cubicBezTo>
                  <a:cubicBezTo>
                    <a:pt x="148" y="30"/>
                    <a:pt x="148" y="30"/>
                    <a:pt x="148" y="30"/>
                  </a:cubicBezTo>
                  <a:cubicBezTo>
                    <a:pt x="148" y="30"/>
                    <a:pt x="148" y="30"/>
                    <a:pt x="148" y="30"/>
                  </a:cubicBezTo>
                  <a:cubicBezTo>
                    <a:pt x="152" y="28"/>
                    <a:pt x="154" y="25"/>
                    <a:pt x="154" y="22"/>
                  </a:cubicBezTo>
                  <a:close/>
                  <a:moveTo>
                    <a:pt x="77" y="6"/>
                  </a:moveTo>
                  <a:cubicBezTo>
                    <a:pt x="120" y="6"/>
                    <a:pt x="147" y="15"/>
                    <a:pt x="147" y="22"/>
                  </a:cubicBezTo>
                  <a:cubicBezTo>
                    <a:pt x="147" y="23"/>
                    <a:pt x="146" y="24"/>
                    <a:pt x="144" y="26"/>
                  </a:cubicBezTo>
                  <a:cubicBezTo>
                    <a:pt x="144" y="26"/>
                    <a:pt x="144" y="26"/>
                    <a:pt x="144" y="26"/>
                  </a:cubicBezTo>
                  <a:cubicBezTo>
                    <a:pt x="144" y="26"/>
                    <a:pt x="144" y="26"/>
                    <a:pt x="144" y="26"/>
                  </a:cubicBezTo>
                  <a:cubicBezTo>
                    <a:pt x="135" y="31"/>
                    <a:pt x="111" y="37"/>
                    <a:pt x="77" y="37"/>
                  </a:cubicBezTo>
                  <a:cubicBezTo>
                    <a:pt x="43" y="37"/>
                    <a:pt x="18" y="31"/>
                    <a:pt x="10" y="26"/>
                  </a:cubicBezTo>
                  <a:cubicBezTo>
                    <a:pt x="10" y="26"/>
                    <a:pt x="10" y="26"/>
                    <a:pt x="10" y="26"/>
                  </a:cubicBezTo>
                  <a:cubicBezTo>
                    <a:pt x="8" y="25"/>
                    <a:pt x="8" y="25"/>
                    <a:pt x="8" y="25"/>
                  </a:cubicBezTo>
                  <a:cubicBezTo>
                    <a:pt x="7" y="24"/>
                    <a:pt x="6" y="23"/>
                    <a:pt x="6" y="22"/>
                  </a:cubicBezTo>
                  <a:cubicBezTo>
                    <a:pt x="6" y="15"/>
                    <a:pt x="34" y="6"/>
                    <a:pt x="77" y="6"/>
                  </a:cubicBezTo>
                  <a:close/>
                  <a:moveTo>
                    <a:pt x="89" y="125"/>
                  </a:moveTo>
                  <a:cubicBezTo>
                    <a:pt x="65" y="149"/>
                    <a:pt x="65" y="149"/>
                    <a:pt x="65" y="149"/>
                  </a:cubicBezTo>
                  <a:cubicBezTo>
                    <a:pt x="65" y="104"/>
                    <a:pt x="65" y="104"/>
                    <a:pt x="65" y="104"/>
                  </a:cubicBezTo>
                  <a:cubicBezTo>
                    <a:pt x="89" y="104"/>
                    <a:pt x="89" y="104"/>
                    <a:pt x="89" y="104"/>
                  </a:cubicBezTo>
                  <a:lnTo>
                    <a:pt x="89" y="125"/>
                  </a:lnTo>
                  <a:close/>
                  <a:moveTo>
                    <a:pt x="91" y="98"/>
                  </a:moveTo>
                  <a:cubicBezTo>
                    <a:pt x="63" y="98"/>
                    <a:pt x="63" y="98"/>
                    <a:pt x="63" y="98"/>
                  </a:cubicBezTo>
                  <a:cubicBezTo>
                    <a:pt x="17" y="36"/>
                    <a:pt x="17" y="36"/>
                    <a:pt x="17" y="36"/>
                  </a:cubicBezTo>
                  <a:cubicBezTo>
                    <a:pt x="32" y="40"/>
                    <a:pt x="54" y="43"/>
                    <a:pt x="77" y="43"/>
                  </a:cubicBezTo>
                  <a:cubicBezTo>
                    <a:pt x="99" y="43"/>
                    <a:pt x="122" y="40"/>
                    <a:pt x="136" y="36"/>
                  </a:cubicBezTo>
                  <a:lnTo>
                    <a:pt x="91" y="98"/>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22222"/>
                </a:solidFill>
                <a:effectLst/>
                <a:uLnTx/>
                <a:uFillTx/>
                <a:latin typeface="Inter"/>
                <a:ea typeface="+mn-ea"/>
                <a:cs typeface="+mn-cs"/>
              </a:endParaRPr>
            </a:p>
          </p:txBody>
        </p:sp>
      </p:grpSp>
      <p:grpSp>
        <p:nvGrpSpPr>
          <p:cNvPr id="41" name="组合 40">
            <a:extLst>
              <a:ext uri="{FF2B5EF4-FFF2-40B4-BE49-F238E27FC236}">
                <a16:creationId xmlns:a16="http://schemas.microsoft.com/office/drawing/2014/main" id="{E58997B3-E6EB-469B-82F4-2F3E355B1DDE}"/>
              </a:ext>
            </a:extLst>
          </p:cNvPr>
          <p:cNvGrpSpPr/>
          <p:nvPr/>
        </p:nvGrpSpPr>
        <p:grpSpPr>
          <a:xfrm>
            <a:off x="4025753" y="4656246"/>
            <a:ext cx="3335975" cy="644614"/>
            <a:chOff x="4025753" y="4655486"/>
            <a:chExt cx="3335975" cy="644614"/>
          </a:xfrm>
        </p:grpSpPr>
        <p:sp>
          <p:nvSpPr>
            <p:cNvPr id="8" name="Freeform 80">
              <a:extLst>
                <a:ext uri="{FF2B5EF4-FFF2-40B4-BE49-F238E27FC236}">
                  <a16:creationId xmlns:a16="http://schemas.microsoft.com/office/drawing/2014/main" id="{F550ABAE-4029-44C3-AC30-A7D1D33A4980}"/>
                </a:ext>
              </a:extLst>
            </p:cNvPr>
            <p:cNvSpPr>
              <a:spLocks/>
            </p:cNvSpPr>
            <p:nvPr/>
          </p:nvSpPr>
          <p:spPr bwMode="auto">
            <a:xfrm>
              <a:off x="4025753" y="4655486"/>
              <a:ext cx="3335975" cy="644614"/>
            </a:xfrm>
            <a:custGeom>
              <a:avLst/>
              <a:gdLst>
                <a:gd name="T0" fmla="*/ 0 w 501"/>
                <a:gd name="T1" fmla="*/ 0 h 97"/>
                <a:gd name="T2" fmla="*/ 57 w 501"/>
                <a:gd name="T3" fmla="*/ 97 h 97"/>
                <a:gd name="T4" fmla="*/ 443 w 501"/>
                <a:gd name="T5" fmla="*/ 97 h 97"/>
                <a:gd name="T6" fmla="*/ 501 w 501"/>
                <a:gd name="T7" fmla="*/ 0 h 97"/>
                <a:gd name="T8" fmla="*/ 0 w 501"/>
                <a:gd name="T9" fmla="*/ 0 h 97"/>
              </a:gdLst>
              <a:ahLst/>
              <a:cxnLst>
                <a:cxn ang="0">
                  <a:pos x="T0" y="T1"/>
                </a:cxn>
                <a:cxn ang="0">
                  <a:pos x="T2" y="T3"/>
                </a:cxn>
                <a:cxn ang="0">
                  <a:pos x="T4" y="T5"/>
                </a:cxn>
                <a:cxn ang="0">
                  <a:pos x="T6" y="T7"/>
                </a:cxn>
                <a:cxn ang="0">
                  <a:pos x="T8" y="T9"/>
                </a:cxn>
              </a:cxnLst>
              <a:rect l="0" t="0" r="r" b="b"/>
              <a:pathLst>
                <a:path w="501" h="97">
                  <a:moveTo>
                    <a:pt x="0" y="0"/>
                  </a:moveTo>
                  <a:cubicBezTo>
                    <a:pt x="12" y="36"/>
                    <a:pt x="31" y="70"/>
                    <a:pt x="57" y="97"/>
                  </a:cubicBezTo>
                  <a:cubicBezTo>
                    <a:pt x="443" y="97"/>
                    <a:pt x="443" y="97"/>
                    <a:pt x="443" y="97"/>
                  </a:cubicBezTo>
                  <a:cubicBezTo>
                    <a:pt x="469" y="70"/>
                    <a:pt x="489" y="36"/>
                    <a:pt x="501" y="0"/>
                  </a:cubicBezTo>
                  <a:lnTo>
                    <a:pt x="0" y="0"/>
                  </a:lnTo>
                  <a:close/>
                </a:path>
              </a:pathLst>
            </a:custGeom>
            <a:gradFill flip="none" rotWithShape="1">
              <a:gsLst>
                <a:gs pos="0">
                  <a:schemeClr val="accent1"/>
                </a:gs>
                <a:gs pos="100000">
                  <a:schemeClr val="accent1">
                    <a:lumMod val="40000"/>
                    <a:lumOff val="60000"/>
                  </a:schemeClr>
                </a:gs>
                <a:gs pos="73000">
                  <a:schemeClr val="accent1">
                    <a:lumMod val="60000"/>
                    <a:lumOff val="40000"/>
                  </a:schemeClr>
                </a:gs>
              </a:gsLst>
              <a:lin ang="13500000" scaled="1"/>
              <a:tileRect/>
            </a:gradFill>
            <a:ln w="19050">
              <a:noFill/>
            </a:ln>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22222"/>
                </a:solidFill>
                <a:effectLst/>
                <a:uLnTx/>
                <a:uFillTx/>
                <a:latin typeface="Inter"/>
                <a:ea typeface="+mn-ea"/>
                <a:cs typeface="+mn-cs"/>
              </a:endParaRPr>
            </a:p>
          </p:txBody>
        </p:sp>
        <p:sp>
          <p:nvSpPr>
            <p:cNvPr id="11" name="Freeform 2112">
              <a:extLst>
                <a:ext uri="{FF2B5EF4-FFF2-40B4-BE49-F238E27FC236}">
                  <a16:creationId xmlns:a16="http://schemas.microsoft.com/office/drawing/2014/main" id="{1C88E1B9-CFFE-41D0-A9D1-0DED120BC5D5}"/>
                </a:ext>
              </a:extLst>
            </p:cNvPr>
            <p:cNvSpPr>
              <a:spLocks noEditPoints="1"/>
            </p:cNvSpPr>
            <p:nvPr/>
          </p:nvSpPr>
          <p:spPr bwMode="auto">
            <a:xfrm>
              <a:off x="5538688" y="4757006"/>
              <a:ext cx="310105" cy="376247"/>
            </a:xfrm>
            <a:custGeom>
              <a:avLst/>
              <a:gdLst>
                <a:gd name="T0" fmla="*/ 123 w 133"/>
                <a:gd name="T1" fmla="*/ 155 h 160"/>
                <a:gd name="T2" fmla="*/ 109 w 133"/>
                <a:gd name="T3" fmla="*/ 144 h 160"/>
                <a:gd name="T4" fmla="*/ 100 w 133"/>
                <a:gd name="T5" fmla="*/ 99 h 160"/>
                <a:gd name="T6" fmla="*/ 100 w 133"/>
                <a:gd name="T7" fmla="*/ 61 h 160"/>
                <a:gd name="T8" fmla="*/ 109 w 133"/>
                <a:gd name="T9" fmla="*/ 16 h 160"/>
                <a:gd name="T10" fmla="*/ 123 w 133"/>
                <a:gd name="T11" fmla="*/ 5 h 160"/>
                <a:gd name="T12" fmla="*/ 133 w 133"/>
                <a:gd name="T13" fmla="*/ 3 h 160"/>
                <a:gd name="T14" fmla="*/ 123 w 133"/>
                <a:gd name="T15" fmla="*/ 0 h 160"/>
                <a:gd name="T16" fmla="*/ 13 w 133"/>
                <a:gd name="T17" fmla="*/ 0 h 160"/>
                <a:gd name="T18" fmla="*/ 3 w 133"/>
                <a:gd name="T19" fmla="*/ 0 h 160"/>
                <a:gd name="T20" fmla="*/ 3 w 133"/>
                <a:gd name="T21" fmla="*/ 5 h 160"/>
                <a:gd name="T22" fmla="*/ 11 w 133"/>
                <a:gd name="T23" fmla="*/ 16 h 160"/>
                <a:gd name="T24" fmla="*/ 24 w 133"/>
                <a:gd name="T25" fmla="*/ 43 h 160"/>
                <a:gd name="T26" fmla="*/ 62 w 133"/>
                <a:gd name="T27" fmla="*/ 80 h 160"/>
                <a:gd name="T28" fmla="*/ 24 w 133"/>
                <a:gd name="T29" fmla="*/ 117 h 160"/>
                <a:gd name="T30" fmla="*/ 11 w 133"/>
                <a:gd name="T31" fmla="*/ 144 h 160"/>
                <a:gd name="T32" fmla="*/ 3 w 133"/>
                <a:gd name="T33" fmla="*/ 155 h 160"/>
                <a:gd name="T34" fmla="*/ 3 w 133"/>
                <a:gd name="T35" fmla="*/ 160 h 160"/>
                <a:gd name="T36" fmla="*/ 13 w 133"/>
                <a:gd name="T37" fmla="*/ 160 h 160"/>
                <a:gd name="T38" fmla="*/ 123 w 133"/>
                <a:gd name="T39" fmla="*/ 160 h 160"/>
                <a:gd name="T40" fmla="*/ 133 w 133"/>
                <a:gd name="T41" fmla="*/ 157 h 160"/>
                <a:gd name="T42" fmla="*/ 16 w 133"/>
                <a:gd name="T43" fmla="*/ 11 h 160"/>
                <a:gd name="T44" fmla="*/ 117 w 133"/>
                <a:gd name="T45" fmla="*/ 5 h 160"/>
                <a:gd name="T46" fmla="*/ 109 w 133"/>
                <a:gd name="T47" fmla="*/ 11 h 160"/>
                <a:gd name="T48" fmla="*/ 16 w 133"/>
                <a:gd name="T49" fmla="*/ 11 h 160"/>
                <a:gd name="T50" fmla="*/ 29 w 133"/>
                <a:gd name="T51" fmla="*/ 43 h 160"/>
                <a:gd name="T52" fmla="*/ 104 w 133"/>
                <a:gd name="T53" fmla="*/ 16 h 160"/>
                <a:gd name="T54" fmla="*/ 97 w 133"/>
                <a:gd name="T55" fmla="*/ 57 h 160"/>
                <a:gd name="T56" fmla="*/ 37 w 133"/>
                <a:gd name="T57" fmla="*/ 57 h 160"/>
                <a:gd name="T58" fmla="*/ 37 w 133"/>
                <a:gd name="T59" fmla="*/ 103 h 160"/>
                <a:gd name="T60" fmla="*/ 97 w 133"/>
                <a:gd name="T61" fmla="*/ 103 h 160"/>
                <a:gd name="T62" fmla="*/ 104 w 133"/>
                <a:gd name="T63" fmla="*/ 144 h 160"/>
                <a:gd name="T64" fmla="*/ 29 w 133"/>
                <a:gd name="T65" fmla="*/ 117 h 160"/>
                <a:gd name="T66" fmla="*/ 24 w 133"/>
                <a:gd name="T67" fmla="*/ 149 h 160"/>
                <a:gd name="T68" fmla="*/ 117 w 133"/>
                <a:gd name="T69" fmla="*/ 149 h 160"/>
                <a:gd name="T70" fmla="*/ 16 w 133"/>
                <a:gd name="T71" fmla="*/ 155 h 160"/>
                <a:gd name="T72" fmla="*/ 55 w 133"/>
                <a:gd name="T73" fmla="*/ 56 h 160"/>
                <a:gd name="T74" fmla="*/ 53 w 133"/>
                <a:gd name="T75" fmla="*/ 61 h 160"/>
                <a:gd name="T76" fmla="*/ 39 w 133"/>
                <a:gd name="T77" fmla="*/ 52 h 160"/>
                <a:gd name="T78" fmla="*/ 35 w 133"/>
                <a:gd name="T79" fmla="*/ 37 h 160"/>
                <a:gd name="T80" fmla="*/ 40 w 133"/>
                <a:gd name="T81" fmla="*/ 37 h 160"/>
                <a:gd name="T82" fmla="*/ 42 w 133"/>
                <a:gd name="T83" fmla="*/ 48 h 160"/>
                <a:gd name="T84" fmla="*/ 99 w 133"/>
                <a:gd name="T85" fmla="*/ 119 h 160"/>
                <a:gd name="T86" fmla="*/ 96 w 133"/>
                <a:gd name="T87" fmla="*/ 128 h 160"/>
                <a:gd name="T88" fmla="*/ 93 w 133"/>
                <a:gd name="T89" fmla="*/ 119 h 160"/>
                <a:gd name="T90" fmla="*/ 79 w 133"/>
                <a:gd name="T91" fmla="*/ 106 h 160"/>
                <a:gd name="T92" fmla="*/ 81 w 133"/>
                <a:gd name="T93" fmla="*/ 102 h 160"/>
                <a:gd name="T94" fmla="*/ 99 w 133"/>
                <a:gd name="T95" fmla="*/ 119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33" h="160">
                  <a:moveTo>
                    <a:pt x="131" y="155"/>
                  </a:moveTo>
                  <a:cubicBezTo>
                    <a:pt x="123" y="155"/>
                    <a:pt x="123" y="155"/>
                    <a:pt x="123" y="155"/>
                  </a:cubicBezTo>
                  <a:cubicBezTo>
                    <a:pt x="123" y="144"/>
                    <a:pt x="123" y="144"/>
                    <a:pt x="123" y="144"/>
                  </a:cubicBezTo>
                  <a:cubicBezTo>
                    <a:pt x="109" y="144"/>
                    <a:pt x="109" y="144"/>
                    <a:pt x="109" y="144"/>
                  </a:cubicBezTo>
                  <a:cubicBezTo>
                    <a:pt x="109" y="117"/>
                    <a:pt x="109" y="117"/>
                    <a:pt x="109" y="117"/>
                  </a:cubicBezTo>
                  <a:cubicBezTo>
                    <a:pt x="109" y="110"/>
                    <a:pt x="106" y="103"/>
                    <a:pt x="100" y="99"/>
                  </a:cubicBezTo>
                  <a:cubicBezTo>
                    <a:pt x="71" y="80"/>
                    <a:pt x="71" y="80"/>
                    <a:pt x="71" y="80"/>
                  </a:cubicBezTo>
                  <a:cubicBezTo>
                    <a:pt x="100" y="61"/>
                    <a:pt x="100" y="61"/>
                    <a:pt x="100" y="61"/>
                  </a:cubicBezTo>
                  <a:cubicBezTo>
                    <a:pt x="106" y="57"/>
                    <a:pt x="109" y="50"/>
                    <a:pt x="109" y="43"/>
                  </a:cubicBezTo>
                  <a:cubicBezTo>
                    <a:pt x="109" y="16"/>
                    <a:pt x="109" y="16"/>
                    <a:pt x="109" y="16"/>
                  </a:cubicBezTo>
                  <a:cubicBezTo>
                    <a:pt x="123" y="16"/>
                    <a:pt x="123" y="16"/>
                    <a:pt x="123" y="16"/>
                  </a:cubicBezTo>
                  <a:cubicBezTo>
                    <a:pt x="123" y="5"/>
                    <a:pt x="123" y="5"/>
                    <a:pt x="123" y="5"/>
                  </a:cubicBezTo>
                  <a:cubicBezTo>
                    <a:pt x="131" y="5"/>
                    <a:pt x="131" y="5"/>
                    <a:pt x="131" y="5"/>
                  </a:cubicBezTo>
                  <a:cubicBezTo>
                    <a:pt x="132" y="5"/>
                    <a:pt x="133" y="4"/>
                    <a:pt x="133" y="3"/>
                  </a:cubicBezTo>
                  <a:cubicBezTo>
                    <a:pt x="133" y="1"/>
                    <a:pt x="132" y="0"/>
                    <a:pt x="131" y="0"/>
                  </a:cubicBezTo>
                  <a:cubicBezTo>
                    <a:pt x="123" y="0"/>
                    <a:pt x="123" y="0"/>
                    <a:pt x="123" y="0"/>
                  </a:cubicBezTo>
                  <a:cubicBezTo>
                    <a:pt x="120" y="0"/>
                    <a:pt x="120" y="0"/>
                    <a:pt x="120" y="0"/>
                  </a:cubicBezTo>
                  <a:cubicBezTo>
                    <a:pt x="13" y="0"/>
                    <a:pt x="13" y="0"/>
                    <a:pt x="13" y="0"/>
                  </a:cubicBezTo>
                  <a:cubicBezTo>
                    <a:pt x="11" y="0"/>
                    <a:pt x="11" y="0"/>
                    <a:pt x="11" y="0"/>
                  </a:cubicBezTo>
                  <a:cubicBezTo>
                    <a:pt x="3" y="0"/>
                    <a:pt x="3" y="0"/>
                    <a:pt x="3" y="0"/>
                  </a:cubicBezTo>
                  <a:cubicBezTo>
                    <a:pt x="1" y="0"/>
                    <a:pt x="0" y="1"/>
                    <a:pt x="0" y="3"/>
                  </a:cubicBezTo>
                  <a:cubicBezTo>
                    <a:pt x="0" y="4"/>
                    <a:pt x="1" y="5"/>
                    <a:pt x="3" y="5"/>
                  </a:cubicBezTo>
                  <a:cubicBezTo>
                    <a:pt x="11" y="5"/>
                    <a:pt x="11" y="5"/>
                    <a:pt x="11" y="5"/>
                  </a:cubicBezTo>
                  <a:cubicBezTo>
                    <a:pt x="11" y="16"/>
                    <a:pt x="11" y="16"/>
                    <a:pt x="11" y="16"/>
                  </a:cubicBezTo>
                  <a:cubicBezTo>
                    <a:pt x="24" y="16"/>
                    <a:pt x="24" y="16"/>
                    <a:pt x="24" y="16"/>
                  </a:cubicBezTo>
                  <a:cubicBezTo>
                    <a:pt x="24" y="43"/>
                    <a:pt x="24" y="43"/>
                    <a:pt x="24" y="43"/>
                  </a:cubicBezTo>
                  <a:cubicBezTo>
                    <a:pt x="24" y="50"/>
                    <a:pt x="28" y="57"/>
                    <a:pt x="34" y="61"/>
                  </a:cubicBezTo>
                  <a:cubicBezTo>
                    <a:pt x="62" y="80"/>
                    <a:pt x="62" y="80"/>
                    <a:pt x="62" y="80"/>
                  </a:cubicBezTo>
                  <a:cubicBezTo>
                    <a:pt x="34" y="99"/>
                    <a:pt x="34" y="99"/>
                    <a:pt x="34" y="99"/>
                  </a:cubicBezTo>
                  <a:cubicBezTo>
                    <a:pt x="28" y="103"/>
                    <a:pt x="24" y="110"/>
                    <a:pt x="24" y="117"/>
                  </a:cubicBezTo>
                  <a:cubicBezTo>
                    <a:pt x="24" y="144"/>
                    <a:pt x="24" y="144"/>
                    <a:pt x="24" y="144"/>
                  </a:cubicBezTo>
                  <a:cubicBezTo>
                    <a:pt x="11" y="144"/>
                    <a:pt x="11" y="144"/>
                    <a:pt x="11" y="144"/>
                  </a:cubicBezTo>
                  <a:cubicBezTo>
                    <a:pt x="11" y="155"/>
                    <a:pt x="11" y="155"/>
                    <a:pt x="11" y="155"/>
                  </a:cubicBezTo>
                  <a:cubicBezTo>
                    <a:pt x="3" y="155"/>
                    <a:pt x="3" y="155"/>
                    <a:pt x="3" y="155"/>
                  </a:cubicBezTo>
                  <a:cubicBezTo>
                    <a:pt x="1" y="155"/>
                    <a:pt x="0" y="156"/>
                    <a:pt x="0" y="157"/>
                  </a:cubicBezTo>
                  <a:cubicBezTo>
                    <a:pt x="0" y="159"/>
                    <a:pt x="1" y="160"/>
                    <a:pt x="3" y="160"/>
                  </a:cubicBezTo>
                  <a:cubicBezTo>
                    <a:pt x="11" y="160"/>
                    <a:pt x="11" y="160"/>
                    <a:pt x="11" y="160"/>
                  </a:cubicBezTo>
                  <a:cubicBezTo>
                    <a:pt x="13" y="160"/>
                    <a:pt x="13" y="160"/>
                    <a:pt x="13" y="160"/>
                  </a:cubicBezTo>
                  <a:cubicBezTo>
                    <a:pt x="120" y="160"/>
                    <a:pt x="120" y="160"/>
                    <a:pt x="120" y="160"/>
                  </a:cubicBezTo>
                  <a:cubicBezTo>
                    <a:pt x="123" y="160"/>
                    <a:pt x="123" y="160"/>
                    <a:pt x="123" y="160"/>
                  </a:cubicBezTo>
                  <a:cubicBezTo>
                    <a:pt x="131" y="160"/>
                    <a:pt x="131" y="160"/>
                    <a:pt x="131" y="160"/>
                  </a:cubicBezTo>
                  <a:cubicBezTo>
                    <a:pt x="132" y="160"/>
                    <a:pt x="133" y="159"/>
                    <a:pt x="133" y="157"/>
                  </a:cubicBezTo>
                  <a:cubicBezTo>
                    <a:pt x="133" y="156"/>
                    <a:pt x="132" y="155"/>
                    <a:pt x="131" y="155"/>
                  </a:cubicBezTo>
                  <a:close/>
                  <a:moveTo>
                    <a:pt x="16" y="11"/>
                  </a:moveTo>
                  <a:cubicBezTo>
                    <a:pt x="16" y="5"/>
                    <a:pt x="16" y="5"/>
                    <a:pt x="16" y="5"/>
                  </a:cubicBezTo>
                  <a:cubicBezTo>
                    <a:pt x="117" y="5"/>
                    <a:pt x="117" y="5"/>
                    <a:pt x="117" y="5"/>
                  </a:cubicBezTo>
                  <a:cubicBezTo>
                    <a:pt x="117" y="11"/>
                    <a:pt x="117" y="11"/>
                    <a:pt x="117" y="11"/>
                  </a:cubicBezTo>
                  <a:cubicBezTo>
                    <a:pt x="109" y="11"/>
                    <a:pt x="109" y="11"/>
                    <a:pt x="109" y="11"/>
                  </a:cubicBezTo>
                  <a:cubicBezTo>
                    <a:pt x="24" y="11"/>
                    <a:pt x="24" y="11"/>
                    <a:pt x="24" y="11"/>
                  </a:cubicBezTo>
                  <a:lnTo>
                    <a:pt x="16" y="11"/>
                  </a:lnTo>
                  <a:close/>
                  <a:moveTo>
                    <a:pt x="37" y="57"/>
                  </a:moveTo>
                  <a:cubicBezTo>
                    <a:pt x="32" y="54"/>
                    <a:pt x="29" y="49"/>
                    <a:pt x="29" y="43"/>
                  </a:cubicBezTo>
                  <a:cubicBezTo>
                    <a:pt x="29" y="16"/>
                    <a:pt x="29" y="16"/>
                    <a:pt x="29" y="16"/>
                  </a:cubicBezTo>
                  <a:cubicBezTo>
                    <a:pt x="104" y="16"/>
                    <a:pt x="104" y="16"/>
                    <a:pt x="104" y="16"/>
                  </a:cubicBezTo>
                  <a:cubicBezTo>
                    <a:pt x="104" y="43"/>
                    <a:pt x="104" y="43"/>
                    <a:pt x="104" y="43"/>
                  </a:cubicBezTo>
                  <a:cubicBezTo>
                    <a:pt x="104" y="49"/>
                    <a:pt x="101" y="54"/>
                    <a:pt x="97" y="57"/>
                  </a:cubicBezTo>
                  <a:cubicBezTo>
                    <a:pt x="67" y="77"/>
                    <a:pt x="67" y="77"/>
                    <a:pt x="67" y="77"/>
                  </a:cubicBezTo>
                  <a:lnTo>
                    <a:pt x="37" y="57"/>
                  </a:lnTo>
                  <a:close/>
                  <a:moveTo>
                    <a:pt x="29" y="117"/>
                  </a:moveTo>
                  <a:cubicBezTo>
                    <a:pt x="29" y="111"/>
                    <a:pt x="32" y="106"/>
                    <a:pt x="37" y="103"/>
                  </a:cubicBezTo>
                  <a:cubicBezTo>
                    <a:pt x="67" y="83"/>
                    <a:pt x="67" y="83"/>
                    <a:pt x="67" y="83"/>
                  </a:cubicBezTo>
                  <a:cubicBezTo>
                    <a:pt x="97" y="103"/>
                    <a:pt x="97" y="103"/>
                    <a:pt x="97" y="103"/>
                  </a:cubicBezTo>
                  <a:cubicBezTo>
                    <a:pt x="101" y="106"/>
                    <a:pt x="104" y="111"/>
                    <a:pt x="104" y="117"/>
                  </a:cubicBezTo>
                  <a:cubicBezTo>
                    <a:pt x="104" y="144"/>
                    <a:pt x="104" y="144"/>
                    <a:pt x="104" y="144"/>
                  </a:cubicBezTo>
                  <a:cubicBezTo>
                    <a:pt x="29" y="144"/>
                    <a:pt x="29" y="144"/>
                    <a:pt x="29" y="144"/>
                  </a:cubicBezTo>
                  <a:lnTo>
                    <a:pt x="29" y="117"/>
                  </a:lnTo>
                  <a:close/>
                  <a:moveTo>
                    <a:pt x="16" y="149"/>
                  </a:moveTo>
                  <a:cubicBezTo>
                    <a:pt x="24" y="149"/>
                    <a:pt x="24" y="149"/>
                    <a:pt x="24" y="149"/>
                  </a:cubicBezTo>
                  <a:cubicBezTo>
                    <a:pt x="109" y="149"/>
                    <a:pt x="109" y="149"/>
                    <a:pt x="109" y="149"/>
                  </a:cubicBezTo>
                  <a:cubicBezTo>
                    <a:pt x="117" y="149"/>
                    <a:pt x="117" y="149"/>
                    <a:pt x="117" y="149"/>
                  </a:cubicBezTo>
                  <a:cubicBezTo>
                    <a:pt x="117" y="155"/>
                    <a:pt x="117" y="155"/>
                    <a:pt x="117" y="155"/>
                  </a:cubicBezTo>
                  <a:cubicBezTo>
                    <a:pt x="16" y="155"/>
                    <a:pt x="16" y="155"/>
                    <a:pt x="16" y="155"/>
                  </a:cubicBezTo>
                  <a:lnTo>
                    <a:pt x="16" y="149"/>
                  </a:lnTo>
                  <a:close/>
                  <a:moveTo>
                    <a:pt x="55" y="56"/>
                  </a:moveTo>
                  <a:cubicBezTo>
                    <a:pt x="56" y="57"/>
                    <a:pt x="56" y="59"/>
                    <a:pt x="56" y="60"/>
                  </a:cubicBezTo>
                  <a:cubicBezTo>
                    <a:pt x="55" y="61"/>
                    <a:pt x="54" y="61"/>
                    <a:pt x="53" y="61"/>
                  </a:cubicBezTo>
                  <a:cubicBezTo>
                    <a:pt x="53" y="61"/>
                    <a:pt x="52" y="61"/>
                    <a:pt x="52" y="61"/>
                  </a:cubicBezTo>
                  <a:cubicBezTo>
                    <a:pt x="39" y="52"/>
                    <a:pt x="39" y="52"/>
                    <a:pt x="39" y="52"/>
                  </a:cubicBezTo>
                  <a:cubicBezTo>
                    <a:pt x="36" y="50"/>
                    <a:pt x="35" y="47"/>
                    <a:pt x="35" y="43"/>
                  </a:cubicBezTo>
                  <a:cubicBezTo>
                    <a:pt x="35" y="37"/>
                    <a:pt x="35" y="37"/>
                    <a:pt x="35" y="37"/>
                  </a:cubicBezTo>
                  <a:cubicBezTo>
                    <a:pt x="35" y="36"/>
                    <a:pt x="36" y="35"/>
                    <a:pt x="37" y="35"/>
                  </a:cubicBezTo>
                  <a:cubicBezTo>
                    <a:pt x="39" y="35"/>
                    <a:pt x="40" y="36"/>
                    <a:pt x="40" y="37"/>
                  </a:cubicBezTo>
                  <a:cubicBezTo>
                    <a:pt x="40" y="43"/>
                    <a:pt x="40" y="43"/>
                    <a:pt x="40" y="43"/>
                  </a:cubicBezTo>
                  <a:cubicBezTo>
                    <a:pt x="40" y="45"/>
                    <a:pt x="41" y="47"/>
                    <a:pt x="42" y="48"/>
                  </a:cubicBezTo>
                  <a:lnTo>
                    <a:pt x="55" y="56"/>
                  </a:lnTo>
                  <a:close/>
                  <a:moveTo>
                    <a:pt x="99" y="119"/>
                  </a:moveTo>
                  <a:cubicBezTo>
                    <a:pt x="99" y="125"/>
                    <a:pt x="99" y="125"/>
                    <a:pt x="99" y="125"/>
                  </a:cubicBezTo>
                  <a:cubicBezTo>
                    <a:pt x="99" y="126"/>
                    <a:pt x="97" y="128"/>
                    <a:pt x="96" y="128"/>
                  </a:cubicBezTo>
                  <a:cubicBezTo>
                    <a:pt x="95" y="128"/>
                    <a:pt x="93" y="126"/>
                    <a:pt x="93" y="125"/>
                  </a:cubicBezTo>
                  <a:cubicBezTo>
                    <a:pt x="93" y="119"/>
                    <a:pt x="93" y="119"/>
                    <a:pt x="93" y="119"/>
                  </a:cubicBezTo>
                  <a:cubicBezTo>
                    <a:pt x="93" y="117"/>
                    <a:pt x="92" y="115"/>
                    <a:pt x="91" y="114"/>
                  </a:cubicBezTo>
                  <a:cubicBezTo>
                    <a:pt x="79" y="106"/>
                    <a:pt x="79" y="106"/>
                    <a:pt x="79" y="106"/>
                  </a:cubicBezTo>
                  <a:cubicBezTo>
                    <a:pt x="77" y="105"/>
                    <a:pt x="77" y="104"/>
                    <a:pt x="78" y="103"/>
                  </a:cubicBezTo>
                  <a:cubicBezTo>
                    <a:pt x="79" y="101"/>
                    <a:pt x="80" y="101"/>
                    <a:pt x="81" y="102"/>
                  </a:cubicBezTo>
                  <a:cubicBezTo>
                    <a:pt x="94" y="110"/>
                    <a:pt x="94" y="110"/>
                    <a:pt x="94" y="110"/>
                  </a:cubicBezTo>
                  <a:cubicBezTo>
                    <a:pt x="97" y="112"/>
                    <a:pt x="99" y="115"/>
                    <a:pt x="99" y="119"/>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22222"/>
                </a:solidFill>
                <a:effectLst/>
                <a:uLnTx/>
                <a:uFillTx/>
                <a:latin typeface="Inter"/>
                <a:ea typeface="+mn-ea"/>
                <a:cs typeface="+mn-cs"/>
              </a:endParaRPr>
            </a:p>
          </p:txBody>
        </p:sp>
      </p:grpSp>
      <p:grpSp>
        <p:nvGrpSpPr>
          <p:cNvPr id="42" name="组合 41">
            <a:extLst>
              <a:ext uri="{FF2B5EF4-FFF2-40B4-BE49-F238E27FC236}">
                <a16:creationId xmlns:a16="http://schemas.microsoft.com/office/drawing/2014/main" id="{524CE4A7-94B1-490D-979B-8D60EBC9112A}"/>
              </a:ext>
            </a:extLst>
          </p:cNvPr>
          <p:cNvGrpSpPr/>
          <p:nvPr/>
        </p:nvGrpSpPr>
        <p:grpSpPr>
          <a:xfrm>
            <a:off x="4836300" y="5342652"/>
            <a:ext cx="2570578" cy="559278"/>
            <a:chOff x="4836300" y="5342652"/>
            <a:chExt cx="2570578" cy="559278"/>
          </a:xfrm>
        </p:grpSpPr>
        <p:sp>
          <p:nvSpPr>
            <p:cNvPr id="6" name="Freeform 76">
              <a:extLst>
                <a:ext uri="{FF2B5EF4-FFF2-40B4-BE49-F238E27FC236}">
                  <a16:creationId xmlns:a16="http://schemas.microsoft.com/office/drawing/2014/main" id="{3F9DFE9E-2BCB-4AB5-9587-6E1A9C8033EE}"/>
                </a:ext>
              </a:extLst>
            </p:cNvPr>
            <p:cNvSpPr>
              <a:spLocks/>
            </p:cNvSpPr>
            <p:nvPr/>
          </p:nvSpPr>
          <p:spPr bwMode="auto">
            <a:xfrm>
              <a:off x="4836300" y="5342652"/>
              <a:ext cx="2570578" cy="559278"/>
            </a:xfrm>
            <a:custGeom>
              <a:avLst/>
              <a:gdLst>
                <a:gd name="T0" fmla="*/ 193 w 386"/>
                <a:gd name="T1" fmla="*/ 84 h 84"/>
                <a:gd name="T2" fmla="*/ 386 w 386"/>
                <a:gd name="T3" fmla="*/ 0 h 84"/>
                <a:gd name="T4" fmla="*/ 0 w 386"/>
                <a:gd name="T5" fmla="*/ 0 h 84"/>
                <a:gd name="T6" fmla="*/ 193 w 386"/>
                <a:gd name="T7" fmla="*/ 84 h 84"/>
              </a:gdLst>
              <a:ahLst/>
              <a:cxnLst>
                <a:cxn ang="0">
                  <a:pos x="T0" y="T1"/>
                </a:cxn>
                <a:cxn ang="0">
                  <a:pos x="T2" y="T3"/>
                </a:cxn>
                <a:cxn ang="0">
                  <a:pos x="T4" y="T5"/>
                </a:cxn>
                <a:cxn ang="0">
                  <a:pos x="T6" y="T7"/>
                </a:cxn>
              </a:cxnLst>
              <a:rect l="0" t="0" r="r" b="b"/>
              <a:pathLst>
                <a:path w="386" h="84">
                  <a:moveTo>
                    <a:pt x="193" y="84"/>
                  </a:moveTo>
                  <a:cubicBezTo>
                    <a:pt x="269" y="84"/>
                    <a:pt x="338" y="52"/>
                    <a:pt x="386" y="0"/>
                  </a:cubicBezTo>
                  <a:cubicBezTo>
                    <a:pt x="0" y="0"/>
                    <a:pt x="0" y="0"/>
                    <a:pt x="0" y="0"/>
                  </a:cubicBezTo>
                  <a:cubicBezTo>
                    <a:pt x="48" y="52"/>
                    <a:pt x="117" y="84"/>
                    <a:pt x="193" y="84"/>
                  </a:cubicBezTo>
                  <a:close/>
                </a:path>
              </a:pathLst>
            </a:custGeom>
            <a:gradFill flip="none" rotWithShape="1">
              <a:gsLst>
                <a:gs pos="0">
                  <a:schemeClr val="accent1"/>
                </a:gs>
                <a:gs pos="100000">
                  <a:schemeClr val="accent1">
                    <a:lumMod val="40000"/>
                    <a:lumOff val="60000"/>
                  </a:schemeClr>
                </a:gs>
                <a:gs pos="73000">
                  <a:schemeClr val="accent1">
                    <a:lumMod val="60000"/>
                    <a:lumOff val="40000"/>
                  </a:schemeClr>
                </a:gs>
              </a:gsLst>
              <a:lin ang="13500000" scaled="1"/>
              <a:tileRect/>
            </a:gradFill>
            <a:ln w="19050">
              <a:noFill/>
            </a:ln>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22222"/>
                </a:solidFill>
                <a:effectLst/>
                <a:uLnTx/>
                <a:uFillTx/>
                <a:latin typeface="Inter"/>
                <a:ea typeface="+mn-ea"/>
                <a:cs typeface="+mn-cs"/>
              </a:endParaRPr>
            </a:p>
          </p:txBody>
        </p:sp>
        <p:sp>
          <p:nvSpPr>
            <p:cNvPr id="12" name="Freeform 2123">
              <a:extLst>
                <a:ext uri="{FF2B5EF4-FFF2-40B4-BE49-F238E27FC236}">
                  <a16:creationId xmlns:a16="http://schemas.microsoft.com/office/drawing/2014/main" id="{B7962FFB-CF5F-4862-AD7B-FB6897E179EC}"/>
                </a:ext>
              </a:extLst>
            </p:cNvPr>
            <p:cNvSpPr>
              <a:spLocks noEditPoints="1"/>
            </p:cNvSpPr>
            <p:nvPr/>
          </p:nvSpPr>
          <p:spPr bwMode="auto">
            <a:xfrm>
              <a:off x="5949188" y="5395620"/>
              <a:ext cx="344803" cy="375162"/>
            </a:xfrm>
            <a:custGeom>
              <a:avLst/>
              <a:gdLst>
                <a:gd name="T0" fmla="*/ 24 w 148"/>
                <a:gd name="T1" fmla="*/ 74 h 160"/>
                <a:gd name="T2" fmla="*/ 56 w 148"/>
                <a:gd name="T3" fmla="*/ 148 h 160"/>
                <a:gd name="T4" fmla="*/ 62 w 148"/>
                <a:gd name="T5" fmla="*/ 151 h 160"/>
                <a:gd name="T6" fmla="*/ 65 w 148"/>
                <a:gd name="T7" fmla="*/ 160 h 160"/>
                <a:gd name="T8" fmla="*/ 86 w 148"/>
                <a:gd name="T9" fmla="*/ 157 h 160"/>
                <a:gd name="T10" fmla="*/ 89 w 148"/>
                <a:gd name="T11" fmla="*/ 151 h 160"/>
                <a:gd name="T12" fmla="*/ 92 w 148"/>
                <a:gd name="T13" fmla="*/ 121 h 160"/>
                <a:gd name="T14" fmla="*/ 74 w 148"/>
                <a:gd name="T15" fmla="*/ 24 h 160"/>
                <a:gd name="T16" fmla="*/ 80 w 148"/>
                <a:gd name="T17" fmla="*/ 148 h 160"/>
                <a:gd name="T18" fmla="*/ 68 w 148"/>
                <a:gd name="T19" fmla="*/ 154 h 160"/>
                <a:gd name="T20" fmla="*/ 65 w 148"/>
                <a:gd name="T21" fmla="*/ 145 h 160"/>
                <a:gd name="T22" fmla="*/ 62 w 148"/>
                <a:gd name="T23" fmla="*/ 130 h 160"/>
                <a:gd name="T24" fmla="*/ 86 w 148"/>
                <a:gd name="T25" fmla="*/ 145 h 160"/>
                <a:gd name="T26" fmla="*/ 88 w 148"/>
                <a:gd name="T27" fmla="*/ 116 h 160"/>
                <a:gd name="T28" fmla="*/ 86 w 148"/>
                <a:gd name="T29" fmla="*/ 124 h 160"/>
                <a:gd name="T30" fmla="*/ 62 w 148"/>
                <a:gd name="T31" fmla="*/ 119 h 160"/>
                <a:gd name="T32" fmla="*/ 30 w 148"/>
                <a:gd name="T33" fmla="*/ 74 h 160"/>
                <a:gd name="T34" fmla="*/ 119 w 148"/>
                <a:gd name="T35" fmla="*/ 74 h 160"/>
                <a:gd name="T36" fmla="*/ 71 w 148"/>
                <a:gd name="T37" fmla="*/ 15 h 160"/>
                <a:gd name="T38" fmla="*/ 74 w 148"/>
                <a:gd name="T39" fmla="*/ 0 h 160"/>
                <a:gd name="T40" fmla="*/ 77 w 148"/>
                <a:gd name="T41" fmla="*/ 15 h 160"/>
                <a:gd name="T42" fmla="*/ 71 w 148"/>
                <a:gd name="T43" fmla="*/ 15 h 160"/>
                <a:gd name="T44" fmla="*/ 145 w 148"/>
                <a:gd name="T45" fmla="*/ 77 h 160"/>
                <a:gd name="T46" fmla="*/ 130 w 148"/>
                <a:gd name="T47" fmla="*/ 74 h 160"/>
                <a:gd name="T48" fmla="*/ 145 w 148"/>
                <a:gd name="T49" fmla="*/ 71 h 160"/>
                <a:gd name="T50" fmla="*/ 18 w 148"/>
                <a:gd name="T51" fmla="*/ 74 h 160"/>
                <a:gd name="T52" fmla="*/ 3 w 148"/>
                <a:gd name="T53" fmla="*/ 77 h 160"/>
                <a:gd name="T54" fmla="*/ 3 w 148"/>
                <a:gd name="T55" fmla="*/ 71 h 160"/>
                <a:gd name="T56" fmla="*/ 18 w 148"/>
                <a:gd name="T57" fmla="*/ 74 h 160"/>
                <a:gd name="T58" fmla="*/ 126 w 148"/>
                <a:gd name="T59" fmla="*/ 26 h 160"/>
                <a:gd name="T60" fmla="*/ 116 w 148"/>
                <a:gd name="T61" fmla="*/ 35 h 160"/>
                <a:gd name="T62" fmla="*/ 114 w 148"/>
                <a:gd name="T63" fmla="*/ 30 h 160"/>
                <a:gd name="T64" fmla="*/ 126 w 148"/>
                <a:gd name="T65" fmla="*/ 22 h 160"/>
                <a:gd name="T66" fmla="*/ 34 w 148"/>
                <a:gd name="T67" fmla="*/ 118 h 160"/>
                <a:gd name="T68" fmla="*/ 24 w 148"/>
                <a:gd name="T69" fmla="*/ 127 h 160"/>
                <a:gd name="T70" fmla="*/ 22 w 148"/>
                <a:gd name="T71" fmla="*/ 122 h 160"/>
                <a:gd name="T72" fmla="*/ 34 w 148"/>
                <a:gd name="T73" fmla="*/ 114 h 160"/>
                <a:gd name="T74" fmla="*/ 126 w 148"/>
                <a:gd name="T75" fmla="*/ 126 h 160"/>
                <a:gd name="T76" fmla="*/ 122 w 148"/>
                <a:gd name="T77" fmla="*/ 126 h 160"/>
                <a:gd name="T78" fmla="*/ 114 w 148"/>
                <a:gd name="T79" fmla="*/ 114 h 160"/>
                <a:gd name="T80" fmla="*/ 126 w 148"/>
                <a:gd name="T81" fmla="*/ 122 h 160"/>
                <a:gd name="T82" fmla="*/ 22 w 148"/>
                <a:gd name="T83" fmla="*/ 22 h 160"/>
                <a:gd name="T84" fmla="*/ 34 w 148"/>
                <a:gd name="T85" fmla="*/ 30 h 160"/>
                <a:gd name="T86" fmla="*/ 32 w 148"/>
                <a:gd name="T87" fmla="*/ 35 h 160"/>
                <a:gd name="T88" fmla="*/ 22 w 148"/>
                <a:gd name="T89" fmla="*/ 26 h 160"/>
                <a:gd name="T90" fmla="*/ 74 w 148"/>
                <a:gd name="T91" fmla="*/ 44 h 160"/>
                <a:gd name="T92" fmla="*/ 41 w 148"/>
                <a:gd name="T93" fmla="*/ 77 h 160"/>
                <a:gd name="T94" fmla="*/ 74 w 148"/>
                <a:gd name="T95" fmla="*/ 39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48" h="160">
                  <a:moveTo>
                    <a:pt x="74" y="24"/>
                  </a:moveTo>
                  <a:cubicBezTo>
                    <a:pt x="46" y="24"/>
                    <a:pt x="24" y="46"/>
                    <a:pt x="24" y="74"/>
                  </a:cubicBezTo>
                  <a:cubicBezTo>
                    <a:pt x="24" y="95"/>
                    <a:pt x="37" y="114"/>
                    <a:pt x="56" y="121"/>
                  </a:cubicBezTo>
                  <a:cubicBezTo>
                    <a:pt x="56" y="148"/>
                    <a:pt x="56" y="148"/>
                    <a:pt x="56" y="148"/>
                  </a:cubicBezTo>
                  <a:cubicBezTo>
                    <a:pt x="56" y="150"/>
                    <a:pt x="58" y="151"/>
                    <a:pt x="59" y="151"/>
                  </a:cubicBezTo>
                  <a:cubicBezTo>
                    <a:pt x="62" y="151"/>
                    <a:pt x="62" y="151"/>
                    <a:pt x="62" y="151"/>
                  </a:cubicBezTo>
                  <a:cubicBezTo>
                    <a:pt x="62" y="157"/>
                    <a:pt x="62" y="157"/>
                    <a:pt x="62" y="157"/>
                  </a:cubicBezTo>
                  <a:cubicBezTo>
                    <a:pt x="62" y="159"/>
                    <a:pt x="64" y="160"/>
                    <a:pt x="65" y="160"/>
                  </a:cubicBezTo>
                  <a:cubicBezTo>
                    <a:pt x="83" y="160"/>
                    <a:pt x="83" y="160"/>
                    <a:pt x="83" y="160"/>
                  </a:cubicBezTo>
                  <a:cubicBezTo>
                    <a:pt x="85" y="160"/>
                    <a:pt x="86" y="159"/>
                    <a:pt x="86" y="157"/>
                  </a:cubicBezTo>
                  <a:cubicBezTo>
                    <a:pt x="86" y="151"/>
                    <a:pt x="86" y="151"/>
                    <a:pt x="86" y="151"/>
                  </a:cubicBezTo>
                  <a:cubicBezTo>
                    <a:pt x="89" y="151"/>
                    <a:pt x="89" y="151"/>
                    <a:pt x="89" y="151"/>
                  </a:cubicBezTo>
                  <a:cubicBezTo>
                    <a:pt x="91" y="151"/>
                    <a:pt x="92" y="150"/>
                    <a:pt x="92" y="148"/>
                  </a:cubicBezTo>
                  <a:cubicBezTo>
                    <a:pt x="92" y="121"/>
                    <a:pt x="92" y="121"/>
                    <a:pt x="92" y="121"/>
                  </a:cubicBezTo>
                  <a:cubicBezTo>
                    <a:pt x="111" y="114"/>
                    <a:pt x="124" y="95"/>
                    <a:pt x="124" y="74"/>
                  </a:cubicBezTo>
                  <a:cubicBezTo>
                    <a:pt x="124" y="46"/>
                    <a:pt x="102" y="24"/>
                    <a:pt x="74" y="24"/>
                  </a:cubicBezTo>
                  <a:close/>
                  <a:moveTo>
                    <a:pt x="83" y="145"/>
                  </a:moveTo>
                  <a:cubicBezTo>
                    <a:pt x="81" y="145"/>
                    <a:pt x="80" y="147"/>
                    <a:pt x="80" y="148"/>
                  </a:cubicBezTo>
                  <a:cubicBezTo>
                    <a:pt x="80" y="154"/>
                    <a:pt x="80" y="154"/>
                    <a:pt x="80" y="154"/>
                  </a:cubicBezTo>
                  <a:cubicBezTo>
                    <a:pt x="68" y="154"/>
                    <a:pt x="68" y="154"/>
                    <a:pt x="68" y="154"/>
                  </a:cubicBezTo>
                  <a:cubicBezTo>
                    <a:pt x="68" y="148"/>
                    <a:pt x="68" y="148"/>
                    <a:pt x="68" y="148"/>
                  </a:cubicBezTo>
                  <a:cubicBezTo>
                    <a:pt x="68" y="147"/>
                    <a:pt x="67" y="145"/>
                    <a:pt x="65" y="145"/>
                  </a:cubicBezTo>
                  <a:cubicBezTo>
                    <a:pt x="62" y="145"/>
                    <a:pt x="62" y="145"/>
                    <a:pt x="62" y="145"/>
                  </a:cubicBezTo>
                  <a:cubicBezTo>
                    <a:pt x="62" y="130"/>
                    <a:pt x="62" y="130"/>
                    <a:pt x="62" y="130"/>
                  </a:cubicBezTo>
                  <a:cubicBezTo>
                    <a:pt x="86" y="130"/>
                    <a:pt x="86" y="130"/>
                    <a:pt x="86" y="130"/>
                  </a:cubicBezTo>
                  <a:cubicBezTo>
                    <a:pt x="86" y="145"/>
                    <a:pt x="86" y="145"/>
                    <a:pt x="86" y="145"/>
                  </a:cubicBezTo>
                  <a:lnTo>
                    <a:pt x="83" y="145"/>
                  </a:lnTo>
                  <a:close/>
                  <a:moveTo>
                    <a:pt x="88" y="116"/>
                  </a:moveTo>
                  <a:cubicBezTo>
                    <a:pt x="87" y="117"/>
                    <a:pt x="86" y="118"/>
                    <a:pt x="86" y="119"/>
                  </a:cubicBezTo>
                  <a:cubicBezTo>
                    <a:pt x="86" y="124"/>
                    <a:pt x="86" y="124"/>
                    <a:pt x="86" y="124"/>
                  </a:cubicBezTo>
                  <a:cubicBezTo>
                    <a:pt x="62" y="124"/>
                    <a:pt x="62" y="124"/>
                    <a:pt x="62" y="124"/>
                  </a:cubicBezTo>
                  <a:cubicBezTo>
                    <a:pt x="62" y="119"/>
                    <a:pt x="62" y="119"/>
                    <a:pt x="62" y="119"/>
                  </a:cubicBezTo>
                  <a:cubicBezTo>
                    <a:pt x="62" y="118"/>
                    <a:pt x="61" y="117"/>
                    <a:pt x="60" y="116"/>
                  </a:cubicBezTo>
                  <a:cubicBezTo>
                    <a:pt x="42" y="110"/>
                    <a:pt x="30" y="93"/>
                    <a:pt x="30" y="74"/>
                  </a:cubicBezTo>
                  <a:cubicBezTo>
                    <a:pt x="30" y="50"/>
                    <a:pt x="50" y="30"/>
                    <a:pt x="74" y="30"/>
                  </a:cubicBezTo>
                  <a:cubicBezTo>
                    <a:pt x="99" y="30"/>
                    <a:pt x="119" y="50"/>
                    <a:pt x="119" y="74"/>
                  </a:cubicBezTo>
                  <a:cubicBezTo>
                    <a:pt x="119" y="93"/>
                    <a:pt x="106" y="110"/>
                    <a:pt x="88" y="116"/>
                  </a:cubicBezTo>
                  <a:close/>
                  <a:moveTo>
                    <a:pt x="71" y="15"/>
                  </a:moveTo>
                  <a:cubicBezTo>
                    <a:pt x="71" y="3"/>
                    <a:pt x="71" y="3"/>
                    <a:pt x="71" y="3"/>
                  </a:cubicBezTo>
                  <a:cubicBezTo>
                    <a:pt x="71" y="1"/>
                    <a:pt x="72" y="0"/>
                    <a:pt x="74" y="0"/>
                  </a:cubicBezTo>
                  <a:cubicBezTo>
                    <a:pt x="76" y="0"/>
                    <a:pt x="77" y="1"/>
                    <a:pt x="77" y="3"/>
                  </a:cubicBezTo>
                  <a:cubicBezTo>
                    <a:pt x="77" y="15"/>
                    <a:pt x="77" y="15"/>
                    <a:pt x="77" y="15"/>
                  </a:cubicBezTo>
                  <a:cubicBezTo>
                    <a:pt x="77" y="16"/>
                    <a:pt x="76" y="18"/>
                    <a:pt x="74" y="18"/>
                  </a:cubicBezTo>
                  <a:cubicBezTo>
                    <a:pt x="72" y="18"/>
                    <a:pt x="71" y="16"/>
                    <a:pt x="71" y="15"/>
                  </a:cubicBezTo>
                  <a:close/>
                  <a:moveTo>
                    <a:pt x="148" y="74"/>
                  </a:moveTo>
                  <a:cubicBezTo>
                    <a:pt x="148" y="76"/>
                    <a:pt x="147" y="77"/>
                    <a:pt x="145" y="77"/>
                  </a:cubicBezTo>
                  <a:cubicBezTo>
                    <a:pt x="133" y="77"/>
                    <a:pt x="133" y="77"/>
                    <a:pt x="133" y="77"/>
                  </a:cubicBezTo>
                  <a:cubicBezTo>
                    <a:pt x="132" y="77"/>
                    <a:pt x="130" y="76"/>
                    <a:pt x="130" y="74"/>
                  </a:cubicBezTo>
                  <a:cubicBezTo>
                    <a:pt x="130" y="72"/>
                    <a:pt x="132" y="71"/>
                    <a:pt x="133" y="71"/>
                  </a:cubicBezTo>
                  <a:cubicBezTo>
                    <a:pt x="145" y="71"/>
                    <a:pt x="145" y="71"/>
                    <a:pt x="145" y="71"/>
                  </a:cubicBezTo>
                  <a:cubicBezTo>
                    <a:pt x="147" y="71"/>
                    <a:pt x="148" y="72"/>
                    <a:pt x="148" y="74"/>
                  </a:cubicBezTo>
                  <a:close/>
                  <a:moveTo>
                    <a:pt x="18" y="74"/>
                  </a:moveTo>
                  <a:cubicBezTo>
                    <a:pt x="18" y="76"/>
                    <a:pt x="16" y="77"/>
                    <a:pt x="15" y="77"/>
                  </a:cubicBezTo>
                  <a:cubicBezTo>
                    <a:pt x="3" y="77"/>
                    <a:pt x="3" y="77"/>
                    <a:pt x="3" y="77"/>
                  </a:cubicBezTo>
                  <a:cubicBezTo>
                    <a:pt x="1" y="77"/>
                    <a:pt x="0" y="76"/>
                    <a:pt x="0" y="74"/>
                  </a:cubicBezTo>
                  <a:cubicBezTo>
                    <a:pt x="0" y="72"/>
                    <a:pt x="1" y="71"/>
                    <a:pt x="3" y="71"/>
                  </a:cubicBezTo>
                  <a:cubicBezTo>
                    <a:pt x="15" y="71"/>
                    <a:pt x="15" y="71"/>
                    <a:pt x="15" y="71"/>
                  </a:cubicBezTo>
                  <a:cubicBezTo>
                    <a:pt x="16" y="71"/>
                    <a:pt x="18" y="72"/>
                    <a:pt x="18" y="74"/>
                  </a:cubicBezTo>
                  <a:close/>
                  <a:moveTo>
                    <a:pt x="126" y="22"/>
                  </a:moveTo>
                  <a:cubicBezTo>
                    <a:pt x="128" y="23"/>
                    <a:pt x="128" y="25"/>
                    <a:pt x="126" y="26"/>
                  </a:cubicBezTo>
                  <a:cubicBezTo>
                    <a:pt x="118" y="34"/>
                    <a:pt x="118" y="34"/>
                    <a:pt x="118" y="34"/>
                  </a:cubicBezTo>
                  <a:cubicBezTo>
                    <a:pt x="117" y="35"/>
                    <a:pt x="117" y="35"/>
                    <a:pt x="116" y="35"/>
                  </a:cubicBezTo>
                  <a:cubicBezTo>
                    <a:pt x="115" y="35"/>
                    <a:pt x="114" y="35"/>
                    <a:pt x="114" y="34"/>
                  </a:cubicBezTo>
                  <a:cubicBezTo>
                    <a:pt x="113" y="33"/>
                    <a:pt x="113" y="31"/>
                    <a:pt x="114" y="30"/>
                  </a:cubicBezTo>
                  <a:cubicBezTo>
                    <a:pt x="122" y="22"/>
                    <a:pt x="122" y="22"/>
                    <a:pt x="122" y="22"/>
                  </a:cubicBezTo>
                  <a:cubicBezTo>
                    <a:pt x="123" y="21"/>
                    <a:pt x="125" y="21"/>
                    <a:pt x="126" y="22"/>
                  </a:cubicBezTo>
                  <a:close/>
                  <a:moveTo>
                    <a:pt x="34" y="114"/>
                  </a:moveTo>
                  <a:cubicBezTo>
                    <a:pt x="35" y="115"/>
                    <a:pt x="35" y="117"/>
                    <a:pt x="34" y="118"/>
                  </a:cubicBezTo>
                  <a:cubicBezTo>
                    <a:pt x="26" y="126"/>
                    <a:pt x="26" y="126"/>
                    <a:pt x="26" y="126"/>
                  </a:cubicBezTo>
                  <a:cubicBezTo>
                    <a:pt x="25" y="127"/>
                    <a:pt x="25" y="127"/>
                    <a:pt x="24" y="127"/>
                  </a:cubicBezTo>
                  <a:cubicBezTo>
                    <a:pt x="23" y="127"/>
                    <a:pt x="22" y="127"/>
                    <a:pt x="22" y="126"/>
                  </a:cubicBezTo>
                  <a:cubicBezTo>
                    <a:pt x="21" y="125"/>
                    <a:pt x="21" y="123"/>
                    <a:pt x="22" y="122"/>
                  </a:cubicBezTo>
                  <a:cubicBezTo>
                    <a:pt x="30" y="114"/>
                    <a:pt x="30" y="114"/>
                    <a:pt x="30" y="114"/>
                  </a:cubicBezTo>
                  <a:cubicBezTo>
                    <a:pt x="31" y="113"/>
                    <a:pt x="33" y="113"/>
                    <a:pt x="34" y="114"/>
                  </a:cubicBezTo>
                  <a:close/>
                  <a:moveTo>
                    <a:pt x="126" y="122"/>
                  </a:moveTo>
                  <a:cubicBezTo>
                    <a:pt x="128" y="123"/>
                    <a:pt x="128" y="125"/>
                    <a:pt x="126" y="126"/>
                  </a:cubicBezTo>
                  <a:cubicBezTo>
                    <a:pt x="126" y="127"/>
                    <a:pt x="125" y="127"/>
                    <a:pt x="124" y="127"/>
                  </a:cubicBezTo>
                  <a:cubicBezTo>
                    <a:pt x="124" y="127"/>
                    <a:pt x="123" y="127"/>
                    <a:pt x="122" y="126"/>
                  </a:cubicBezTo>
                  <a:cubicBezTo>
                    <a:pt x="114" y="118"/>
                    <a:pt x="114" y="118"/>
                    <a:pt x="114" y="118"/>
                  </a:cubicBezTo>
                  <a:cubicBezTo>
                    <a:pt x="113" y="117"/>
                    <a:pt x="113" y="115"/>
                    <a:pt x="114" y="114"/>
                  </a:cubicBezTo>
                  <a:cubicBezTo>
                    <a:pt x="115" y="113"/>
                    <a:pt x="117" y="113"/>
                    <a:pt x="118" y="114"/>
                  </a:cubicBezTo>
                  <a:lnTo>
                    <a:pt x="126" y="122"/>
                  </a:lnTo>
                  <a:close/>
                  <a:moveTo>
                    <a:pt x="22" y="26"/>
                  </a:moveTo>
                  <a:cubicBezTo>
                    <a:pt x="21" y="25"/>
                    <a:pt x="21" y="23"/>
                    <a:pt x="22" y="22"/>
                  </a:cubicBezTo>
                  <a:cubicBezTo>
                    <a:pt x="23" y="21"/>
                    <a:pt x="25" y="21"/>
                    <a:pt x="26" y="22"/>
                  </a:cubicBezTo>
                  <a:cubicBezTo>
                    <a:pt x="34" y="30"/>
                    <a:pt x="34" y="30"/>
                    <a:pt x="34" y="30"/>
                  </a:cubicBezTo>
                  <a:cubicBezTo>
                    <a:pt x="35" y="31"/>
                    <a:pt x="35" y="33"/>
                    <a:pt x="34" y="34"/>
                  </a:cubicBezTo>
                  <a:cubicBezTo>
                    <a:pt x="34" y="35"/>
                    <a:pt x="33" y="35"/>
                    <a:pt x="32" y="35"/>
                  </a:cubicBezTo>
                  <a:cubicBezTo>
                    <a:pt x="31" y="35"/>
                    <a:pt x="31" y="35"/>
                    <a:pt x="30" y="34"/>
                  </a:cubicBezTo>
                  <a:lnTo>
                    <a:pt x="22" y="26"/>
                  </a:lnTo>
                  <a:close/>
                  <a:moveTo>
                    <a:pt x="77" y="41"/>
                  </a:moveTo>
                  <a:cubicBezTo>
                    <a:pt x="77" y="43"/>
                    <a:pt x="76" y="44"/>
                    <a:pt x="74" y="44"/>
                  </a:cubicBezTo>
                  <a:cubicBezTo>
                    <a:pt x="58" y="44"/>
                    <a:pt x="44" y="58"/>
                    <a:pt x="44" y="74"/>
                  </a:cubicBezTo>
                  <a:cubicBezTo>
                    <a:pt x="44" y="76"/>
                    <a:pt x="43" y="77"/>
                    <a:pt x="41" y="77"/>
                  </a:cubicBezTo>
                  <a:cubicBezTo>
                    <a:pt x="40" y="77"/>
                    <a:pt x="39" y="76"/>
                    <a:pt x="39" y="74"/>
                  </a:cubicBezTo>
                  <a:cubicBezTo>
                    <a:pt x="39" y="54"/>
                    <a:pt x="54" y="39"/>
                    <a:pt x="74" y="39"/>
                  </a:cubicBezTo>
                  <a:cubicBezTo>
                    <a:pt x="76" y="39"/>
                    <a:pt x="77" y="40"/>
                    <a:pt x="77" y="41"/>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22222"/>
                </a:solidFill>
                <a:effectLst/>
                <a:uLnTx/>
                <a:uFillTx/>
                <a:latin typeface="Inter"/>
                <a:ea typeface="+mn-ea"/>
                <a:cs typeface="+mn-cs"/>
              </a:endParaRPr>
            </a:p>
          </p:txBody>
        </p:sp>
      </p:grpSp>
      <p:sp>
        <p:nvSpPr>
          <p:cNvPr id="13" name="Freeform 2073">
            <a:extLst>
              <a:ext uri="{FF2B5EF4-FFF2-40B4-BE49-F238E27FC236}">
                <a16:creationId xmlns:a16="http://schemas.microsoft.com/office/drawing/2014/main" id="{A46C2CBB-55FC-455C-9E36-6CBD9C82E7E3}"/>
              </a:ext>
            </a:extLst>
          </p:cNvPr>
          <p:cNvSpPr>
            <a:spLocks noEditPoints="1"/>
          </p:cNvSpPr>
          <p:nvPr/>
        </p:nvSpPr>
        <p:spPr bwMode="auto">
          <a:xfrm>
            <a:off x="6020587" y="3737504"/>
            <a:ext cx="370825" cy="375162"/>
          </a:xfrm>
          <a:custGeom>
            <a:avLst/>
            <a:gdLst>
              <a:gd name="T0" fmla="*/ 91 w 159"/>
              <a:gd name="T1" fmla="*/ 157 h 160"/>
              <a:gd name="T2" fmla="*/ 88 w 159"/>
              <a:gd name="T3" fmla="*/ 160 h 160"/>
              <a:gd name="T4" fmla="*/ 80 w 159"/>
              <a:gd name="T5" fmla="*/ 74 h 160"/>
              <a:gd name="T6" fmla="*/ 86 w 159"/>
              <a:gd name="T7" fmla="*/ 72 h 160"/>
              <a:gd name="T8" fmla="*/ 83 w 159"/>
              <a:gd name="T9" fmla="*/ 0 h 160"/>
              <a:gd name="T10" fmla="*/ 41 w 159"/>
              <a:gd name="T11" fmla="*/ 13 h 160"/>
              <a:gd name="T12" fmla="*/ 44 w 159"/>
              <a:gd name="T13" fmla="*/ 18 h 160"/>
              <a:gd name="T14" fmla="*/ 83 w 159"/>
              <a:gd name="T15" fmla="*/ 5 h 160"/>
              <a:gd name="T16" fmla="*/ 153 w 159"/>
              <a:gd name="T17" fmla="*/ 87 h 160"/>
              <a:gd name="T18" fmla="*/ 156 w 159"/>
              <a:gd name="T19" fmla="*/ 89 h 160"/>
              <a:gd name="T20" fmla="*/ 150 w 159"/>
              <a:gd name="T21" fmla="*/ 45 h 160"/>
              <a:gd name="T22" fmla="*/ 33 w 159"/>
              <a:gd name="T23" fmla="*/ 23 h 160"/>
              <a:gd name="T24" fmla="*/ 13 w 159"/>
              <a:gd name="T25" fmla="*/ 109 h 160"/>
              <a:gd name="T26" fmla="*/ 17 w 159"/>
              <a:gd name="T27" fmla="*/ 111 h 160"/>
              <a:gd name="T28" fmla="*/ 33 w 159"/>
              <a:gd name="T29" fmla="*/ 26 h 160"/>
              <a:gd name="T30" fmla="*/ 61 w 159"/>
              <a:gd name="T31" fmla="*/ 21 h 160"/>
              <a:gd name="T32" fmla="*/ 30 w 159"/>
              <a:gd name="T33" fmla="*/ 97 h 160"/>
              <a:gd name="T34" fmla="*/ 34 w 159"/>
              <a:gd name="T35" fmla="*/ 138 h 160"/>
              <a:gd name="T36" fmla="*/ 36 w 159"/>
              <a:gd name="T37" fmla="*/ 97 h 160"/>
              <a:gd name="T38" fmla="*/ 63 w 159"/>
              <a:gd name="T39" fmla="*/ 26 h 160"/>
              <a:gd name="T40" fmla="*/ 133 w 159"/>
              <a:gd name="T41" fmla="*/ 59 h 160"/>
              <a:gd name="T42" fmla="*/ 140 w 159"/>
              <a:gd name="T43" fmla="*/ 133 h 160"/>
              <a:gd name="T44" fmla="*/ 138 w 159"/>
              <a:gd name="T45" fmla="*/ 57 h 160"/>
              <a:gd name="T46" fmla="*/ 83 w 159"/>
              <a:gd name="T47" fmla="*/ 33 h 160"/>
              <a:gd name="T48" fmla="*/ 72 w 159"/>
              <a:gd name="T49" fmla="*/ 37 h 160"/>
              <a:gd name="T50" fmla="*/ 83 w 159"/>
              <a:gd name="T51" fmla="*/ 38 h 160"/>
              <a:gd name="T52" fmla="*/ 121 w 159"/>
              <a:gd name="T53" fmla="*/ 144 h 160"/>
              <a:gd name="T54" fmla="*/ 124 w 159"/>
              <a:gd name="T55" fmla="*/ 146 h 160"/>
              <a:gd name="T56" fmla="*/ 120 w 159"/>
              <a:gd name="T57" fmla="*/ 57 h 160"/>
              <a:gd name="T58" fmla="*/ 63 w 159"/>
              <a:gd name="T59" fmla="*/ 44 h 160"/>
              <a:gd name="T60" fmla="*/ 60 w 159"/>
              <a:gd name="T61" fmla="*/ 40 h 160"/>
              <a:gd name="T62" fmla="*/ 50 w 159"/>
              <a:gd name="T63" fmla="*/ 138 h 160"/>
              <a:gd name="T64" fmla="*/ 56 w 159"/>
              <a:gd name="T65" fmla="*/ 138 h 160"/>
              <a:gd name="T66" fmla="*/ 63 w 159"/>
              <a:gd name="T67" fmla="*/ 44 h 160"/>
              <a:gd name="T68" fmla="*/ 107 w 159"/>
              <a:gd name="T69" fmla="*/ 127 h 160"/>
              <a:gd name="T70" fmla="*/ 104 w 159"/>
              <a:gd name="T71" fmla="*/ 130 h 160"/>
              <a:gd name="T72" fmla="*/ 105 w 159"/>
              <a:gd name="T73" fmla="*/ 152 h 160"/>
              <a:gd name="T74" fmla="*/ 107 w 159"/>
              <a:gd name="T75" fmla="*/ 155 h 160"/>
              <a:gd name="T76" fmla="*/ 110 w 159"/>
              <a:gd name="T77" fmla="*/ 138 h 160"/>
              <a:gd name="T78" fmla="*/ 83 w 159"/>
              <a:gd name="T79" fmla="*/ 52 h 160"/>
              <a:gd name="T80" fmla="*/ 63 w 159"/>
              <a:gd name="T81" fmla="*/ 81 h 160"/>
              <a:gd name="T82" fmla="*/ 69 w 159"/>
              <a:gd name="T83" fmla="*/ 155 h 160"/>
              <a:gd name="T84" fmla="*/ 68 w 159"/>
              <a:gd name="T85" fmla="*/ 79 h 160"/>
              <a:gd name="T86" fmla="*/ 83 w 159"/>
              <a:gd name="T87" fmla="*/ 57 h 160"/>
              <a:gd name="T88" fmla="*/ 105 w 159"/>
              <a:gd name="T89" fmla="*/ 117 h 160"/>
              <a:gd name="T90" fmla="*/ 108 w 159"/>
              <a:gd name="T91" fmla="*/ 119 h 160"/>
              <a:gd name="T92" fmla="*/ 103 w 159"/>
              <a:gd name="T93" fmla="*/ 65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59" h="160">
                <a:moveTo>
                  <a:pt x="86" y="72"/>
                </a:moveTo>
                <a:cubicBezTo>
                  <a:pt x="86" y="74"/>
                  <a:pt x="93" y="99"/>
                  <a:pt x="91" y="157"/>
                </a:cubicBezTo>
                <a:cubicBezTo>
                  <a:pt x="91" y="159"/>
                  <a:pt x="90" y="160"/>
                  <a:pt x="88" y="160"/>
                </a:cubicBezTo>
                <a:cubicBezTo>
                  <a:pt x="88" y="160"/>
                  <a:pt x="88" y="160"/>
                  <a:pt x="88" y="160"/>
                </a:cubicBezTo>
                <a:cubicBezTo>
                  <a:pt x="87" y="160"/>
                  <a:pt x="86" y="159"/>
                  <a:pt x="86" y="157"/>
                </a:cubicBezTo>
                <a:cubicBezTo>
                  <a:pt x="88" y="100"/>
                  <a:pt x="80" y="74"/>
                  <a:pt x="80" y="74"/>
                </a:cubicBezTo>
                <a:cubicBezTo>
                  <a:pt x="80" y="73"/>
                  <a:pt x="81" y="71"/>
                  <a:pt x="82" y="71"/>
                </a:cubicBezTo>
                <a:cubicBezTo>
                  <a:pt x="84" y="70"/>
                  <a:pt x="85" y="71"/>
                  <a:pt x="86" y="72"/>
                </a:cubicBezTo>
                <a:close/>
                <a:moveTo>
                  <a:pt x="150" y="45"/>
                </a:moveTo>
                <a:cubicBezTo>
                  <a:pt x="139" y="18"/>
                  <a:pt x="112" y="0"/>
                  <a:pt x="83" y="0"/>
                </a:cubicBezTo>
                <a:cubicBezTo>
                  <a:pt x="73" y="0"/>
                  <a:pt x="64" y="2"/>
                  <a:pt x="55" y="6"/>
                </a:cubicBezTo>
                <a:cubicBezTo>
                  <a:pt x="50" y="8"/>
                  <a:pt x="45" y="10"/>
                  <a:pt x="41" y="13"/>
                </a:cubicBezTo>
                <a:cubicBezTo>
                  <a:pt x="40" y="14"/>
                  <a:pt x="39" y="15"/>
                  <a:pt x="40" y="17"/>
                </a:cubicBezTo>
                <a:cubicBezTo>
                  <a:pt x="41" y="18"/>
                  <a:pt x="42" y="18"/>
                  <a:pt x="44" y="18"/>
                </a:cubicBezTo>
                <a:cubicBezTo>
                  <a:pt x="48" y="15"/>
                  <a:pt x="52" y="13"/>
                  <a:pt x="57" y="11"/>
                </a:cubicBezTo>
                <a:cubicBezTo>
                  <a:pt x="65" y="7"/>
                  <a:pt x="74" y="5"/>
                  <a:pt x="83" y="5"/>
                </a:cubicBezTo>
                <a:cubicBezTo>
                  <a:pt x="110" y="5"/>
                  <a:pt x="135" y="22"/>
                  <a:pt x="145" y="47"/>
                </a:cubicBezTo>
                <a:cubicBezTo>
                  <a:pt x="150" y="57"/>
                  <a:pt x="152" y="77"/>
                  <a:pt x="153" y="87"/>
                </a:cubicBezTo>
                <a:cubicBezTo>
                  <a:pt x="153" y="88"/>
                  <a:pt x="155" y="89"/>
                  <a:pt x="156" y="89"/>
                </a:cubicBezTo>
                <a:cubicBezTo>
                  <a:pt x="156" y="89"/>
                  <a:pt x="156" y="89"/>
                  <a:pt x="156" y="89"/>
                </a:cubicBezTo>
                <a:cubicBezTo>
                  <a:pt x="158" y="89"/>
                  <a:pt x="159" y="88"/>
                  <a:pt x="159" y="87"/>
                </a:cubicBezTo>
                <a:cubicBezTo>
                  <a:pt x="157" y="73"/>
                  <a:pt x="155" y="55"/>
                  <a:pt x="150" y="45"/>
                </a:cubicBezTo>
                <a:close/>
                <a:moveTo>
                  <a:pt x="33" y="26"/>
                </a:moveTo>
                <a:cubicBezTo>
                  <a:pt x="34" y="25"/>
                  <a:pt x="34" y="24"/>
                  <a:pt x="33" y="23"/>
                </a:cubicBezTo>
                <a:cubicBezTo>
                  <a:pt x="32" y="21"/>
                  <a:pt x="30" y="21"/>
                  <a:pt x="29" y="22"/>
                </a:cubicBezTo>
                <a:cubicBezTo>
                  <a:pt x="14" y="37"/>
                  <a:pt x="0" y="64"/>
                  <a:pt x="13" y="109"/>
                </a:cubicBezTo>
                <a:cubicBezTo>
                  <a:pt x="14" y="110"/>
                  <a:pt x="15" y="111"/>
                  <a:pt x="16" y="111"/>
                </a:cubicBezTo>
                <a:cubicBezTo>
                  <a:pt x="16" y="111"/>
                  <a:pt x="17" y="111"/>
                  <a:pt x="17" y="111"/>
                </a:cubicBezTo>
                <a:cubicBezTo>
                  <a:pt x="18" y="111"/>
                  <a:pt x="19" y="109"/>
                  <a:pt x="19" y="108"/>
                </a:cubicBezTo>
                <a:cubicBezTo>
                  <a:pt x="8" y="74"/>
                  <a:pt x="13" y="45"/>
                  <a:pt x="33" y="26"/>
                </a:cubicBezTo>
                <a:close/>
                <a:moveTo>
                  <a:pt x="85" y="16"/>
                </a:moveTo>
                <a:cubicBezTo>
                  <a:pt x="77" y="16"/>
                  <a:pt x="69" y="17"/>
                  <a:pt x="61" y="21"/>
                </a:cubicBezTo>
                <a:cubicBezTo>
                  <a:pt x="34" y="32"/>
                  <a:pt x="20" y="61"/>
                  <a:pt x="28" y="89"/>
                </a:cubicBezTo>
                <a:cubicBezTo>
                  <a:pt x="29" y="91"/>
                  <a:pt x="30" y="94"/>
                  <a:pt x="30" y="97"/>
                </a:cubicBezTo>
                <a:cubicBezTo>
                  <a:pt x="31" y="104"/>
                  <a:pt x="31" y="116"/>
                  <a:pt x="31" y="136"/>
                </a:cubicBezTo>
                <a:cubicBezTo>
                  <a:pt x="31" y="137"/>
                  <a:pt x="32" y="138"/>
                  <a:pt x="34" y="138"/>
                </a:cubicBezTo>
                <a:cubicBezTo>
                  <a:pt x="35" y="138"/>
                  <a:pt x="37" y="137"/>
                  <a:pt x="37" y="136"/>
                </a:cubicBezTo>
                <a:cubicBezTo>
                  <a:pt x="37" y="115"/>
                  <a:pt x="37" y="104"/>
                  <a:pt x="36" y="97"/>
                </a:cubicBezTo>
                <a:cubicBezTo>
                  <a:pt x="35" y="93"/>
                  <a:pt x="34" y="90"/>
                  <a:pt x="33" y="87"/>
                </a:cubicBezTo>
                <a:cubicBezTo>
                  <a:pt x="26" y="62"/>
                  <a:pt x="39" y="36"/>
                  <a:pt x="63" y="26"/>
                </a:cubicBezTo>
                <a:cubicBezTo>
                  <a:pt x="70" y="23"/>
                  <a:pt x="77" y="21"/>
                  <a:pt x="85" y="22"/>
                </a:cubicBezTo>
                <a:cubicBezTo>
                  <a:pt x="104" y="22"/>
                  <a:pt x="126" y="39"/>
                  <a:pt x="133" y="59"/>
                </a:cubicBezTo>
                <a:cubicBezTo>
                  <a:pt x="138" y="76"/>
                  <a:pt x="138" y="104"/>
                  <a:pt x="138" y="130"/>
                </a:cubicBezTo>
                <a:cubicBezTo>
                  <a:pt x="138" y="132"/>
                  <a:pt x="139" y="133"/>
                  <a:pt x="140" y="133"/>
                </a:cubicBezTo>
                <a:cubicBezTo>
                  <a:pt x="142" y="133"/>
                  <a:pt x="143" y="132"/>
                  <a:pt x="143" y="130"/>
                </a:cubicBezTo>
                <a:cubicBezTo>
                  <a:pt x="144" y="104"/>
                  <a:pt x="144" y="75"/>
                  <a:pt x="138" y="57"/>
                </a:cubicBezTo>
                <a:cubicBezTo>
                  <a:pt x="130" y="35"/>
                  <a:pt x="107" y="17"/>
                  <a:pt x="85" y="16"/>
                </a:cubicBezTo>
                <a:close/>
                <a:moveTo>
                  <a:pt x="83" y="33"/>
                </a:moveTo>
                <a:cubicBezTo>
                  <a:pt x="80" y="33"/>
                  <a:pt x="77" y="33"/>
                  <a:pt x="74" y="33"/>
                </a:cubicBezTo>
                <a:cubicBezTo>
                  <a:pt x="73" y="34"/>
                  <a:pt x="72" y="35"/>
                  <a:pt x="72" y="37"/>
                </a:cubicBezTo>
                <a:cubicBezTo>
                  <a:pt x="72" y="38"/>
                  <a:pt x="74" y="39"/>
                  <a:pt x="75" y="39"/>
                </a:cubicBezTo>
                <a:cubicBezTo>
                  <a:pt x="78" y="38"/>
                  <a:pt x="80" y="38"/>
                  <a:pt x="83" y="38"/>
                </a:cubicBezTo>
                <a:cubicBezTo>
                  <a:pt x="97" y="38"/>
                  <a:pt x="110" y="46"/>
                  <a:pt x="115" y="59"/>
                </a:cubicBezTo>
                <a:cubicBezTo>
                  <a:pt x="122" y="75"/>
                  <a:pt x="122" y="100"/>
                  <a:pt x="121" y="144"/>
                </a:cubicBezTo>
                <a:cubicBezTo>
                  <a:pt x="121" y="145"/>
                  <a:pt x="122" y="146"/>
                  <a:pt x="124" y="146"/>
                </a:cubicBezTo>
                <a:cubicBezTo>
                  <a:pt x="124" y="146"/>
                  <a:pt x="124" y="146"/>
                  <a:pt x="124" y="146"/>
                </a:cubicBezTo>
                <a:cubicBezTo>
                  <a:pt x="125" y="146"/>
                  <a:pt x="126" y="145"/>
                  <a:pt x="126" y="144"/>
                </a:cubicBezTo>
                <a:cubicBezTo>
                  <a:pt x="128" y="98"/>
                  <a:pt x="127" y="74"/>
                  <a:pt x="120" y="57"/>
                </a:cubicBezTo>
                <a:cubicBezTo>
                  <a:pt x="114" y="42"/>
                  <a:pt x="99" y="33"/>
                  <a:pt x="83" y="33"/>
                </a:cubicBezTo>
                <a:close/>
                <a:moveTo>
                  <a:pt x="63" y="44"/>
                </a:moveTo>
                <a:cubicBezTo>
                  <a:pt x="64" y="43"/>
                  <a:pt x="64" y="42"/>
                  <a:pt x="63" y="41"/>
                </a:cubicBezTo>
                <a:cubicBezTo>
                  <a:pt x="63" y="39"/>
                  <a:pt x="61" y="39"/>
                  <a:pt x="60" y="40"/>
                </a:cubicBezTo>
                <a:cubicBezTo>
                  <a:pt x="46" y="50"/>
                  <a:pt x="40" y="69"/>
                  <a:pt x="45" y="87"/>
                </a:cubicBezTo>
                <a:cubicBezTo>
                  <a:pt x="45" y="87"/>
                  <a:pt x="50" y="107"/>
                  <a:pt x="50" y="138"/>
                </a:cubicBezTo>
                <a:cubicBezTo>
                  <a:pt x="50" y="140"/>
                  <a:pt x="51" y="141"/>
                  <a:pt x="53" y="141"/>
                </a:cubicBezTo>
                <a:cubicBezTo>
                  <a:pt x="54" y="141"/>
                  <a:pt x="56" y="140"/>
                  <a:pt x="56" y="138"/>
                </a:cubicBezTo>
                <a:cubicBezTo>
                  <a:pt x="56" y="106"/>
                  <a:pt x="50" y="86"/>
                  <a:pt x="50" y="85"/>
                </a:cubicBezTo>
                <a:cubicBezTo>
                  <a:pt x="45" y="69"/>
                  <a:pt x="51" y="53"/>
                  <a:pt x="63" y="44"/>
                </a:cubicBezTo>
                <a:close/>
                <a:moveTo>
                  <a:pt x="110" y="130"/>
                </a:moveTo>
                <a:cubicBezTo>
                  <a:pt x="110" y="129"/>
                  <a:pt x="109" y="127"/>
                  <a:pt x="107" y="127"/>
                </a:cubicBezTo>
                <a:cubicBezTo>
                  <a:pt x="107" y="127"/>
                  <a:pt x="107" y="127"/>
                  <a:pt x="107" y="127"/>
                </a:cubicBezTo>
                <a:cubicBezTo>
                  <a:pt x="106" y="127"/>
                  <a:pt x="104" y="129"/>
                  <a:pt x="104" y="130"/>
                </a:cubicBezTo>
                <a:cubicBezTo>
                  <a:pt x="104" y="132"/>
                  <a:pt x="104" y="135"/>
                  <a:pt x="105" y="138"/>
                </a:cubicBezTo>
                <a:cubicBezTo>
                  <a:pt x="105" y="143"/>
                  <a:pt x="105" y="148"/>
                  <a:pt x="105" y="152"/>
                </a:cubicBezTo>
                <a:cubicBezTo>
                  <a:pt x="105" y="153"/>
                  <a:pt x="106" y="155"/>
                  <a:pt x="107" y="155"/>
                </a:cubicBezTo>
                <a:cubicBezTo>
                  <a:pt x="107" y="155"/>
                  <a:pt x="107" y="155"/>
                  <a:pt x="107" y="155"/>
                </a:cubicBezTo>
                <a:cubicBezTo>
                  <a:pt x="109" y="155"/>
                  <a:pt x="110" y="153"/>
                  <a:pt x="110" y="152"/>
                </a:cubicBezTo>
                <a:cubicBezTo>
                  <a:pt x="110" y="148"/>
                  <a:pt x="110" y="143"/>
                  <a:pt x="110" y="138"/>
                </a:cubicBezTo>
                <a:cubicBezTo>
                  <a:pt x="110" y="135"/>
                  <a:pt x="110" y="132"/>
                  <a:pt x="110" y="130"/>
                </a:cubicBezTo>
                <a:close/>
                <a:moveTo>
                  <a:pt x="83" y="52"/>
                </a:moveTo>
                <a:cubicBezTo>
                  <a:pt x="80" y="52"/>
                  <a:pt x="77" y="52"/>
                  <a:pt x="75" y="53"/>
                </a:cubicBezTo>
                <a:cubicBezTo>
                  <a:pt x="64" y="58"/>
                  <a:pt x="59" y="70"/>
                  <a:pt x="63" y="81"/>
                </a:cubicBezTo>
                <a:cubicBezTo>
                  <a:pt x="65" y="87"/>
                  <a:pt x="66" y="120"/>
                  <a:pt x="66" y="152"/>
                </a:cubicBezTo>
                <a:cubicBezTo>
                  <a:pt x="66" y="153"/>
                  <a:pt x="68" y="155"/>
                  <a:pt x="69" y="155"/>
                </a:cubicBezTo>
                <a:cubicBezTo>
                  <a:pt x="71" y="155"/>
                  <a:pt x="72" y="153"/>
                  <a:pt x="72" y="152"/>
                </a:cubicBezTo>
                <a:cubicBezTo>
                  <a:pt x="72" y="123"/>
                  <a:pt x="70" y="87"/>
                  <a:pt x="68" y="79"/>
                </a:cubicBezTo>
                <a:cubicBezTo>
                  <a:pt x="65" y="71"/>
                  <a:pt x="69" y="62"/>
                  <a:pt x="77" y="58"/>
                </a:cubicBezTo>
                <a:cubicBezTo>
                  <a:pt x="79" y="57"/>
                  <a:pt x="81" y="57"/>
                  <a:pt x="83" y="57"/>
                </a:cubicBezTo>
                <a:cubicBezTo>
                  <a:pt x="89" y="57"/>
                  <a:pt x="95" y="61"/>
                  <a:pt x="98" y="67"/>
                </a:cubicBezTo>
                <a:cubicBezTo>
                  <a:pt x="103" y="79"/>
                  <a:pt x="105" y="101"/>
                  <a:pt x="105" y="117"/>
                </a:cubicBezTo>
                <a:cubicBezTo>
                  <a:pt x="105" y="118"/>
                  <a:pt x="106" y="119"/>
                  <a:pt x="108" y="119"/>
                </a:cubicBezTo>
                <a:cubicBezTo>
                  <a:pt x="108" y="119"/>
                  <a:pt x="108" y="119"/>
                  <a:pt x="108" y="119"/>
                </a:cubicBezTo>
                <a:cubicBezTo>
                  <a:pt x="109" y="119"/>
                  <a:pt x="110" y="118"/>
                  <a:pt x="110" y="117"/>
                </a:cubicBezTo>
                <a:cubicBezTo>
                  <a:pt x="110" y="100"/>
                  <a:pt x="108" y="78"/>
                  <a:pt x="103" y="65"/>
                </a:cubicBezTo>
                <a:cubicBezTo>
                  <a:pt x="100" y="57"/>
                  <a:pt x="92" y="52"/>
                  <a:pt x="83" y="52"/>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22222"/>
              </a:solidFill>
              <a:effectLst/>
              <a:uLnTx/>
              <a:uFillTx/>
              <a:latin typeface="Inter"/>
              <a:ea typeface="+mn-ea"/>
              <a:cs typeface="+mn-cs"/>
            </a:endParaRPr>
          </a:p>
        </p:txBody>
      </p:sp>
      <p:sp>
        <p:nvSpPr>
          <p:cNvPr id="24" name="TextBox 30">
            <a:extLst>
              <a:ext uri="{FF2B5EF4-FFF2-40B4-BE49-F238E27FC236}">
                <a16:creationId xmlns:a16="http://schemas.microsoft.com/office/drawing/2014/main" id="{B1585E2E-4743-4DEC-ADE8-277B7E5BCC2C}"/>
              </a:ext>
            </a:extLst>
          </p:cNvPr>
          <p:cNvSpPr txBox="1"/>
          <p:nvPr/>
        </p:nvSpPr>
        <p:spPr>
          <a:xfrm>
            <a:off x="8688580" y="4239419"/>
            <a:ext cx="2781664" cy="236018"/>
          </a:xfrm>
          <a:prstGeom prst="rect">
            <a:avLst/>
          </a:prstGeom>
          <a:noFill/>
        </p:spPr>
        <p:txBody>
          <a:bodyPr wrap="square" lIns="0" tIns="36000" rIns="0" bIns="36000" rtlCol="0">
            <a:spAutoFit/>
          </a:bodyPr>
          <a:lstStyle/>
          <a:p>
            <a:pPr marL="0" marR="0" lvl="0" indent="0" algn="l" defTabSz="914400" rtl="0" eaLnBrk="1" fontAlgn="auto" latinLnBrk="0" hangingPunct="1">
              <a:lnSpc>
                <a:spcPct val="130000"/>
              </a:lnSpc>
              <a:spcBef>
                <a:spcPts val="1000"/>
              </a:spcBef>
              <a:spcAft>
                <a:spcPts val="0"/>
              </a:spcAft>
              <a:buClrTx/>
              <a:buSzTx/>
              <a:buFontTx/>
              <a:buNone/>
              <a:tabLst/>
              <a:defRPr/>
            </a:pPr>
            <a:r>
              <a:rPr kumimoji="0" lang="en-US" sz="900" b="0" i="0" u="none" strike="noStrike" kern="1200" cap="none" spc="0" normalizeH="0" baseline="0" noProof="0" dirty="0">
                <a:ln>
                  <a:noFill/>
                </a:ln>
                <a:solidFill>
                  <a:prstClr val="black">
                    <a:lumMod val="50000"/>
                    <a:lumOff val="50000"/>
                  </a:prstClr>
                </a:solidFill>
                <a:effectLst/>
                <a:uLnTx/>
                <a:uFillTx/>
                <a:latin typeface="HarmonyOS Sans SC"/>
                <a:cs typeface="+mn-cs"/>
              </a:rPr>
              <a:t>Some distant orb has power to raise and purify. </a:t>
            </a:r>
          </a:p>
        </p:txBody>
      </p:sp>
      <p:sp>
        <p:nvSpPr>
          <p:cNvPr id="25" name="TextBox 31">
            <a:extLst>
              <a:ext uri="{FF2B5EF4-FFF2-40B4-BE49-F238E27FC236}">
                <a16:creationId xmlns:a16="http://schemas.microsoft.com/office/drawing/2014/main" id="{CD12DCDC-6BCA-47A3-B4FA-12FCA752C799}"/>
              </a:ext>
            </a:extLst>
          </p:cNvPr>
          <p:cNvSpPr txBox="1"/>
          <p:nvPr/>
        </p:nvSpPr>
        <p:spPr>
          <a:xfrm>
            <a:off x="8688579" y="3733473"/>
            <a:ext cx="2186997" cy="380480"/>
          </a:xfrm>
          <a:prstGeom prst="rect">
            <a:avLst/>
          </a:prstGeom>
          <a:noFill/>
        </p:spPr>
        <p:txBody>
          <a:bodyPr wrap="square" lIns="0" tIns="36000" rIns="0" bIns="36000" rtlCol="0">
            <a:spAutoFit/>
          </a:bodyPr>
          <a:lstStyle/>
          <a:p>
            <a:pPr marL="0" marR="0" lvl="0" indent="0" algn="l" defTabSz="914400" rtl="0" eaLnBrk="1" fontAlgn="auto" latinLnBrk="0" hangingPunct="1">
              <a:lnSpc>
                <a:spcPct val="100000"/>
              </a:lnSpc>
              <a:spcBef>
                <a:spcPts val="1000"/>
              </a:spcBef>
              <a:spcAft>
                <a:spcPts val="0"/>
              </a:spcAft>
              <a:buClrTx/>
              <a:buSzTx/>
              <a:buFontTx/>
              <a:buNone/>
              <a:tabLst/>
              <a:defRPr/>
            </a:pPr>
            <a:r>
              <a:rPr kumimoji="0" lang="en-US" sz="2000" b="1" i="0" u="none" strike="noStrike" kern="1200" cap="none" spc="0" normalizeH="0" baseline="0" noProof="0" dirty="0">
                <a:ln>
                  <a:noFill/>
                </a:ln>
                <a:solidFill>
                  <a:schemeClr val="accent1"/>
                </a:solidFill>
                <a:effectLst/>
                <a:uLnTx/>
                <a:uFillTx/>
                <a:latin typeface="HarmonyOS Sans SC Black"/>
                <a:ea typeface="+mj-ea"/>
                <a:cs typeface="+mn-cs"/>
              </a:rPr>
              <a:t>Write title here</a:t>
            </a:r>
          </a:p>
        </p:txBody>
      </p:sp>
      <p:sp>
        <p:nvSpPr>
          <p:cNvPr id="26" name="TextBox 34">
            <a:extLst>
              <a:ext uri="{FF2B5EF4-FFF2-40B4-BE49-F238E27FC236}">
                <a16:creationId xmlns:a16="http://schemas.microsoft.com/office/drawing/2014/main" id="{CB28229E-43FE-427C-B99D-37B73A5F3175}"/>
              </a:ext>
            </a:extLst>
          </p:cNvPr>
          <p:cNvSpPr txBox="1"/>
          <p:nvPr/>
        </p:nvSpPr>
        <p:spPr>
          <a:xfrm>
            <a:off x="8688579" y="5940219"/>
            <a:ext cx="2777558" cy="236018"/>
          </a:xfrm>
          <a:prstGeom prst="rect">
            <a:avLst/>
          </a:prstGeom>
          <a:noFill/>
        </p:spPr>
        <p:txBody>
          <a:bodyPr wrap="square" lIns="0" tIns="36000" rIns="0" bIns="36000" rtlCol="0">
            <a:spAutoFit/>
          </a:bodyPr>
          <a:lstStyle/>
          <a:p>
            <a:pPr marL="0" marR="0" lvl="0" indent="0" algn="l" defTabSz="914400" rtl="0" eaLnBrk="1" fontAlgn="auto" latinLnBrk="0" hangingPunct="1">
              <a:lnSpc>
                <a:spcPct val="130000"/>
              </a:lnSpc>
              <a:spcBef>
                <a:spcPts val="1000"/>
              </a:spcBef>
              <a:spcAft>
                <a:spcPts val="0"/>
              </a:spcAft>
              <a:buClrTx/>
              <a:buSzTx/>
              <a:buFontTx/>
              <a:buNone/>
              <a:tabLst/>
              <a:defRPr/>
            </a:pPr>
            <a:r>
              <a:rPr kumimoji="0" lang="en-US" sz="900" b="0" i="0" u="none" strike="noStrike" kern="1200" cap="none" spc="0" normalizeH="0" baseline="0" noProof="0" dirty="0">
                <a:ln>
                  <a:noFill/>
                </a:ln>
                <a:solidFill>
                  <a:prstClr val="black">
                    <a:lumMod val="50000"/>
                    <a:lumOff val="50000"/>
                  </a:prstClr>
                </a:solidFill>
                <a:effectLst/>
                <a:uLnTx/>
                <a:uFillTx/>
                <a:latin typeface="HarmonyOS Sans SC"/>
                <a:cs typeface="+mn-cs"/>
              </a:rPr>
              <a:t>Some distant orb has power to raise and purify. </a:t>
            </a:r>
          </a:p>
        </p:txBody>
      </p:sp>
      <p:sp>
        <p:nvSpPr>
          <p:cNvPr id="27" name="TextBox 35">
            <a:extLst>
              <a:ext uri="{FF2B5EF4-FFF2-40B4-BE49-F238E27FC236}">
                <a16:creationId xmlns:a16="http://schemas.microsoft.com/office/drawing/2014/main" id="{7D5E9073-410E-45CF-BED8-89A1486755EA}"/>
              </a:ext>
            </a:extLst>
          </p:cNvPr>
          <p:cNvSpPr txBox="1"/>
          <p:nvPr/>
        </p:nvSpPr>
        <p:spPr>
          <a:xfrm>
            <a:off x="8688579" y="5434273"/>
            <a:ext cx="2186997" cy="380480"/>
          </a:xfrm>
          <a:prstGeom prst="rect">
            <a:avLst/>
          </a:prstGeom>
          <a:noFill/>
        </p:spPr>
        <p:txBody>
          <a:bodyPr wrap="square" lIns="0" tIns="36000" rIns="0" bIns="36000" rtlCol="0">
            <a:spAutoFit/>
          </a:bodyPr>
          <a:lstStyle/>
          <a:p>
            <a:pPr marL="0" marR="0" lvl="0" indent="0" algn="l" defTabSz="914400" rtl="0" eaLnBrk="1" fontAlgn="auto" latinLnBrk="0" hangingPunct="1">
              <a:lnSpc>
                <a:spcPct val="100000"/>
              </a:lnSpc>
              <a:spcBef>
                <a:spcPts val="1000"/>
              </a:spcBef>
              <a:spcAft>
                <a:spcPts val="0"/>
              </a:spcAft>
              <a:buClrTx/>
              <a:buSzTx/>
              <a:buFontTx/>
              <a:buNone/>
              <a:tabLst/>
              <a:defRPr/>
            </a:pPr>
            <a:r>
              <a:rPr kumimoji="0" lang="en-US" sz="2000" b="1" i="0" u="none" strike="noStrike" kern="1200" cap="none" spc="0" normalizeH="0" baseline="0" noProof="0" dirty="0">
                <a:ln>
                  <a:noFill/>
                </a:ln>
                <a:solidFill>
                  <a:schemeClr val="accent1"/>
                </a:solidFill>
                <a:effectLst/>
                <a:uLnTx/>
                <a:uFillTx/>
                <a:latin typeface="HarmonyOS Sans SC Black"/>
                <a:ea typeface="+mj-ea"/>
                <a:cs typeface="+mn-cs"/>
              </a:rPr>
              <a:t>Write title here</a:t>
            </a:r>
          </a:p>
        </p:txBody>
      </p:sp>
      <p:sp>
        <p:nvSpPr>
          <p:cNvPr id="28" name="TextBox 26">
            <a:extLst>
              <a:ext uri="{FF2B5EF4-FFF2-40B4-BE49-F238E27FC236}">
                <a16:creationId xmlns:a16="http://schemas.microsoft.com/office/drawing/2014/main" id="{7A86E080-9533-4F1D-8B51-6A846791C7D5}"/>
              </a:ext>
            </a:extLst>
          </p:cNvPr>
          <p:cNvSpPr txBox="1"/>
          <p:nvPr/>
        </p:nvSpPr>
        <p:spPr>
          <a:xfrm>
            <a:off x="1052682" y="3018841"/>
            <a:ext cx="2805872" cy="236018"/>
          </a:xfrm>
          <a:prstGeom prst="rect">
            <a:avLst/>
          </a:prstGeom>
          <a:noFill/>
        </p:spPr>
        <p:txBody>
          <a:bodyPr wrap="square" lIns="0" tIns="36000" rIns="0" bIns="36000" rtlCol="0">
            <a:spAutoFit/>
          </a:bodyPr>
          <a:lstStyle/>
          <a:p>
            <a:pPr marL="0" marR="0" lvl="0" indent="0" algn="l" defTabSz="914400" rtl="0" eaLnBrk="1" fontAlgn="auto" latinLnBrk="0" hangingPunct="1">
              <a:lnSpc>
                <a:spcPct val="130000"/>
              </a:lnSpc>
              <a:spcBef>
                <a:spcPts val="1000"/>
              </a:spcBef>
              <a:spcAft>
                <a:spcPts val="0"/>
              </a:spcAft>
              <a:buClrTx/>
              <a:buSzTx/>
              <a:buFontTx/>
              <a:buNone/>
              <a:tabLst/>
              <a:defRPr/>
            </a:pPr>
            <a:r>
              <a:rPr kumimoji="0" lang="en-US" sz="900" b="0" i="0" u="none" strike="noStrike" kern="1200" cap="none" spc="0" normalizeH="0" baseline="0" noProof="0" dirty="0">
                <a:ln>
                  <a:noFill/>
                </a:ln>
                <a:solidFill>
                  <a:prstClr val="black">
                    <a:lumMod val="50000"/>
                    <a:lumOff val="50000"/>
                  </a:prstClr>
                </a:solidFill>
                <a:effectLst/>
                <a:uLnTx/>
                <a:uFillTx/>
                <a:latin typeface="HarmonyOS Sans SC"/>
                <a:cs typeface="+mn-cs"/>
              </a:rPr>
              <a:t>A peep at some distant orb has power to.</a:t>
            </a:r>
          </a:p>
        </p:txBody>
      </p:sp>
      <p:sp>
        <p:nvSpPr>
          <p:cNvPr id="29" name="TextBox 27">
            <a:extLst>
              <a:ext uri="{FF2B5EF4-FFF2-40B4-BE49-F238E27FC236}">
                <a16:creationId xmlns:a16="http://schemas.microsoft.com/office/drawing/2014/main" id="{D5C97485-C563-40DA-AC17-8327378F6959}"/>
              </a:ext>
            </a:extLst>
          </p:cNvPr>
          <p:cNvSpPr txBox="1"/>
          <p:nvPr/>
        </p:nvSpPr>
        <p:spPr>
          <a:xfrm>
            <a:off x="1052681" y="2512895"/>
            <a:ext cx="1519631" cy="380480"/>
          </a:xfrm>
          <a:prstGeom prst="rect">
            <a:avLst/>
          </a:prstGeom>
          <a:noFill/>
        </p:spPr>
        <p:txBody>
          <a:bodyPr wrap="square" lIns="0" tIns="36000" rIns="0" bIns="36000" rtlCol="0">
            <a:spAutoFit/>
          </a:bodyPr>
          <a:lstStyle/>
          <a:p>
            <a:pPr marL="0" marR="0" lvl="0" indent="0" algn="l" defTabSz="914400" rtl="0" eaLnBrk="1" fontAlgn="auto" latinLnBrk="0" hangingPunct="1">
              <a:lnSpc>
                <a:spcPct val="100000"/>
              </a:lnSpc>
              <a:spcBef>
                <a:spcPts val="1000"/>
              </a:spcBef>
              <a:spcAft>
                <a:spcPts val="0"/>
              </a:spcAft>
              <a:buClrTx/>
              <a:buSzTx/>
              <a:buFontTx/>
              <a:buNone/>
              <a:tabLst/>
              <a:defRPr/>
            </a:pPr>
            <a:r>
              <a:rPr kumimoji="0" lang="en-US" sz="2000" b="1" i="0" u="none" strike="noStrike" kern="1200" cap="none" spc="0" normalizeH="0" baseline="0" noProof="0" dirty="0">
                <a:ln>
                  <a:noFill/>
                </a:ln>
                <a:solidFill>
                  <a:schemeClr val="accent1"/>
                </a:solidFill>
                <a:effectLst/>
                <a:uLnTx/>
                <a:uFillTx/>
                <a:latin typeface="HarmonyOS Sans SC Black"/>
                <a:ea typeface="+mj-ea"/>
                <a:cs typeface="+mn-cs"/>
              </a:rPr>
              <a:t>Process</a:t>
            </a:r>
          </a:p>
        </p:txBody>
      </p:sp>
      <p:sp>
        <p:nvSpPr>
          <p:cNvPr id="30" name="TextBox 26">
            <a:extLst>
              <a:ext uri="{FF2B5EF4-FFF2-40B4-BE49-F238E27FC236}">
                <a16:creationId xmlns:a16="http://schemas.microsoft.com/office/drawing/2014/main" id="{97D1D870-5CC4-436F-99DF-BFF9C8A232DD}"/>
              </a:ext>
            </a:extLst>
          </p:cNvPr>
          <p:cNvSpPr txBox="1"/>
          <p:nvPr/>
        </p:nvSpPr>
        <p:spPr>
          <a:xfrm>
            <a:off x="1052682" y="5303772"/>
            <a:ext cx="2300118" cy="236018"/>
          </a:xfrm>
          <a:prstGeom prst="rect">
            <a:avLst/>
          </a:prstGeom>
          <a:noFill/>
        </p:spPr>
        <p:txBody>
          <a:bodyPr wrap="square" lIns="0" tIns="36000" rIns="0" bIns="36000" rtlCol="0">
            <a:spAutoFit/>
          </a:bodyPr>
          <a:lstStyle/>
          <a:p>
            <a:pPr marL="0" marR="0" lvl="0" indent="0" algn="l" defTabSz="914400" rtl="0" eaLnBrk="1" fontAlgn="auto" latinLnBrk="0" hangingPunct="1">
              <a:lnSpc>
                <a:spcPct val="130000"/>
              </a:lnSpc>
              <a:spcBef>
                <a:spcPts val="1000"/>
              </a:spcBef>
              <a:spcAft>
                <a:spcPts val="0"/>
              </a:spcAft>
              <a:buClrTx/>
              <a:buSzTx/>
              <a:buFontTx/>
              <a:buNone/>
              <a:tabLst/>
              <a:defRPr/>
            </a:pPr>
            <a:r>
              <a:rPr kumimoji="0" lang="en-US" sz="900" b="0" i="0" u="none" strike="noStrike" kern="1200" cap="none" spc="0" normalizeH="0" baseline="0" noProof="0" dirty="0">
                <a:ln>
                  <a:noFill/>
                </a:ln>
                <a:solidFill>
                  <a:prstClr val="black">
                    <a:lumMod val="50000"/>
                    <a:lumOff val="50000"/>
                  </a:prstClr>
                </a:solidFill>
                <a:effectLst/>
                <a:uLnTx/>
                <a:uFillTx/>
                <a:latin typeface="HarmonyOS Sans SC"/>
                <a:cs typeface="+mn-cs"/>
              </a:rPr>
              <a:t>A peep at some distant orb has power to.</a:t>
            </a:r>
          </a:p>
        </p:txBody>
      </p:sp>
      <p:sp>
        <p:nvSpPr>
          <p:cNvPr id="31" name="TextBox 27">
            <a:extLst>
              <a:ext uri="{FF2B5EF4-FFF2-40B4-BE49-F238E27FC236}">
                <a16:creationId xmlns:a16="http://schemas.microsoft.com/office/drawing/2014/main" id="{7DD4DA9E-41F6-41F4-9BF3-EA9BB41E15B2}"/>
              </a:ext>
            </a:extLst>
          </p:cNvPr>
          <p:cNvSpPr txBox="1"/>
          <p:nvPr/>
        </p:nvSpPr>
        <p:spPr>
          <a:xfrm>
            <a:off x="1052682" y="4797826"/>
            <a:ext cx="1457934" cy="380480"/>
          </a:xfrm>
          <a:prstGeom prst="rect">
            <a:avLst/>
          </a:prstGeom>
          <a:noFill/>
        </p:spPr>
        <p:txBody>
          <a:bodyPr wrap="square" lIns="0" tIns="36000" rIns="0" bIns="36000" rtlCol="0">
            <a:spAutoFit/>
          </a:bodyPr>
          <a:lstStyle/>
          <a:p>
            <a:pPr marL="0" marR="0" lvl="0" indent="0" algn="l" defTabSz="914400" rtl="0" eaLnBrk="1" fontAlgn="auto" latinLnBrk="0" hangingPunct="1">
              <a:lnSpc>
                <a:spcPct val="100000"/>
              </a:lnSpc>
              <a:spcBef>
                <a:spcPts val="1000"/>
              </a:spcBef>
              <a:spcAft>
                <a:spcPts val="0"/>
              </a:spcAft>
              <a:buClrTx/>
              <a:buSzTx/>
              <a:buFontTx/>
              <a:buNone/>
              <a:tabLst/>
              <a:defRPr/>
            </a:pPr>
            <a:r>
              <a:rPr kumimoji="0" lang="en-US" sz="2000" b="1" i="0" u="none" strike="noStrike" kern="1200" cap="none" spc="0" normalizeH="0" baseline="0" noProof="0" dirty="0">
                <a:ln>
                  <a:noFill/>
                </a:ln>
                <a:solidFill>
                  <a:schemeClr val="accent1"/>
                </a:solidFill>
                <a:effectLst/>
                <a:uLnTx/>
                <a:uFillTx/>
                <a:latin typeface="HarmonyOS Sans SC Black"/>
                <a:ea typeface="+mj-ea"/>
                <a:cs typeface="+mn-cs"/>
              </a:rPr>
              <a:t>Funnel</a:t>
            </a:r>
          </a:p>
        </p:txBody>
      </p:sp>
    </p:spTree>
    <p:extLst>
      <p:ext uri="{BB962C8B-B14F-4D97-AF65-F5344CB8AC3E}">
        <p14:creationId xmlns:p14="http://schemas.microsoft.com/office/powerpoint/2010/main" val="1875534506"/>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4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ight Triangle 61">
            <a:extLst>
              <a:ext uri="{FF2B5EF4-FFF2-40B4-BE49-F238E27FC236}">
                <a16:creationId xmlns:a16="http://schemas.microsoft.com/office/drawing/2014/main" id="{E3BB46C6-3C66-483A-974B-25C6E2F27708}"/>
              </a:ext>
            </a:extLst>
          </p:cNvPr>
          <p:cNvSpPr/>
          <p:nvPr/>
        </p:nvSpPr>
        <p:spPr>
          <a:xfrm flipV="1">
            <a:off x="1055689" y="803583"/>
            <a:ext cx="72580" cy="72177"/>
          </a:xfrm>
          <a:prstGeom prst="r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HarmonyOS Sans SC"/>
              <a:cs typeface="+mn-cs"/>
            </a:endParaRPr>
          </a:p>
        </p:txBody>
      </p:sp>
      <p:sp>
        <p:nvSpPr>
          <p:cNvPr id="5" name="文本框 4">
            <a:extLst>
              <a:ext uri="{FF2B5EF4-FFF2-40B4-BE49-F238E27FC236}">
                <a16:creationId xmlns:a16="http://schemas.microsoft.com/office/drawing/2014/main" id="{F7FB4754-2DB3-4DAD-87C9-406658676760}"/>
              </a:ext>
            </a:extLst>
          </p:cNvPr>
          <p:cNvSpPr txBox="1"/>
          <p:nvPr/>
        </p:nvSpPr>
        <p:spPr>
          <a:xfrm>
            <a:off x="941388" y="918105"/>
            <a:ext cx="3076483"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2800" b="0" i="0" u="none" strike="noStrike" kern="1200" cap="none" spc="0" normalizeH="0" baseline="0" noProof="0" dirty="0">
                <a:ln>
                  <a:noFill/>
                </a:ln>
                <a:solidFill>
                  <a:prstClr val="black"/>
                </a:solidFill>
                <a:effectLst/>
                <a:uLnTx/>
                <a:uFillTx/>
                <a:latin typeface="HarmonyOS Sans Black"/>
                <a:ea typeface="+mj-ea"/>
                <a:cs typeface="+mn-cs"/>
              </a:rPr>
              <a:t>Bazz</a:t>
            </a:r>
            <a:r>
              <a:rPr kumimoji="0" lang="en-US" altLang="zh-CN" sz="1800" b="0" i="0" u="none" strike="noStrike" kern="1200" cap="none" spc="0" normalizeH="0" baseline="0" noProof="0" dirty="0">
                <a:ln>
                  <a:noFill/>
                </a:ln>
                <a:solidFill>
                  <a:prstClr val="black"/>
                </a:solidFill>
                <a:effectLst/>
                <a:uLnTx/>
                <a:uFillTx/>
                <a:latin typeface="HarmonyOS Sans SC"/>
                <a:cs typeface="+mn-cs"/>
              </a:rPr>
              <a:t> </a:t>
            </a:r>
            <a:r>
              <a:rPr kumimoji="0" lang="en-US" altLang="zh-CN" sz="2800" b="0" i="0" u="none" strike="noStrike" kern="1200" cap="none" spc="0" normalizeH="0" baseline="0" noProof="0" dirty="0">
                <a:ln>
                  <a:noFill/>
                </a:ln>
                <a:solidFill>
                  <a:schemeClr val="accent1"/>
                </a:solidFill>
                <a:effectLst/>
                <a:uLnTx/>
                <a:uFillTx/>
                <a:latin typeface="HarmonyOS Sans Black"/>
                <a:ea typeface="+mj-ea"/>
                <a:cs typeface="+mn-cs"/>
              </a:rPr>
              <a:t>Infographic</a:t>
            </a:r>
          </a:p>
        </p:txBody>
      </p:sp>
      <p:grpSp>
        <p:nvGrpSpPr>
          <p:cNvPr id="51" name="组合 50">
            <a:extLst>
              <a:ext uri="{FF2B5EF4-FFF2-40B4-BE49-F238E27FC236}">
                <a16:creationId xmlns:a16="http://schemas.microsoft.com/office/drawing/2014/main" id="{20B6D36C-B8C1-424B-BBFA-170FD5123D10}"/>
              </a:ext>
            </a:extLst>
          </p:cNvPr>
          <p:cNvGrpSpPr/>
          <p:nvPr/>
        </p:nvGrpSpPr>
        <p:grpSpPr>
          <a:xfrm>
            <a:off x="4176200" y="2202182"/>
            <a:ext cx="3547816" cy="3488106"/>
            <a:chOff x="4176200" y="2202182"/>
            <a:chExt cx="3547816" cy="3488106"/>
          </a:xfrm>
          <a:gradFill flip="none" rotWithShape="1">
            <a:gsLst>
              <a:gs pos="13000">
                <a:schemeClr val="accent1">
                  <a:lumMod val="40000"/>
                  <a:lumOff val="60000"/>
                </a:schemeClr>
              </a:gs>
              <a:gs pos="0">
                <a:schemeClr val="accent1">
                  <a:lumMod val="20000"/>
                  <a:lumOff val="80000"/>
                </a:schemeClr>
              </a:gs>
              <a:gs pos="35000">
                <a:schemeClr val="accent1">
                  <a:lumMod val="60000"/>
                  <a:lumOff val="40000"/>
                </a:schemeClr>
              </a:gs>
              <a:gs pos="100000">
                <a:schemeClr val="accent1">
                  <a:lumMod val="60000"/>
                  <a:lumOff val="40000"/>
                </a:schemeClr>
              </a:gs>
              <a:gs pos="72000">
                <a:schemeClr val="accent1">
                  <a:lumMod val="95000"/>
                  <a:lumOff val="5000"/>
                </a:schemeClr>
              </a:gs>
            </a:gsLst>
            <a:path path="circle">
              <a:fillToRect r="100000" b="100000"/>
            </a:path>
            <a:tileRect l="-100000" t="-100000"/>
          </a:gradFill>
        </p:grpSpPr>
        <p:sp>
          <p:nvSpPr>
            <p:cNvPr id="6" name="Freeform 14">
              <a:extLst>
                <a:ext uri="{FF2B5EF4-FFF2-40B4-BE49-F238E27FC236}">
                  <a16:creationId xmlns:a16="http://schemas.microsoft.com/office/drawing/2014/main" id="{A4695282-8973-4A7B-8721-655328E0A28A}"/>
                </a:ext>
              </a:extLst>
            </p:cNvPr>
            <p:cNvSpPr>
              <a:spLocks/>
            </p:cNvSpPr>
            <p:nvPr/>
          </p:nvSpPr>
          <p:spPr bwMode="auto">
            <a:xfrm>
              <a:off x="4351291" y="4609080"/>
              <a:ext cx="3214578" cy="1081208"/>
            </a:xfrm>
            <a:custGeom>
              <a:avLst/>
              <a:gdLst>
                <a:gd name="T0" fmla="*/ 2681 w 2681"/>
                <a:gd name="T1" fmla="*/ 0 h 902"/>
                <a:gd name="T2" fmla="*/ 1334 w 2681"/>
                <a:gd name="T3" fmla="*/ 902 h 902"/>
                <a:gd name="T4" fmla="*/ 0 w 2681"/>
                <a:gd name="T5" fmla="*/ 29 h 902"/>
                <a:gd name="T6" fmla="*/ 1309 w 2681"/>
                <a:gd name="T7" fmla="*/ 269 h 902"/>
                <a:gd name="T8" fmla="*/ 2681 w 2681"/>
                <a:gd name="T9" fmla="*/ 0 h 902"/>
              </a:gdLst>
              <a:ahLst/>
              <a:cxnLst>
                <a:cxn ang="0">
                  <a:pos x="T0" y="T1"/>
                </a:cxn>
                <a:cxn ang="0">
                  <a:pos x="T2" y="T3"/>
                </a:cxn>
                <a:cxn ang="0">
                  <a:pos x="T4" y="T5"/>
                </a:cxn>
                <a:cxn ang="0">
                  <a:pos x="T6" y="T7"/>
                </a:cxn>
                <a:cxn ang="0">
                  <a:pos x="T8" y="T9"/>
                </a:cxn>
              </a:cxnLst>
              <a:rect l="0" t="0" r="r" b="b"/>
              <a:pathLst>
                <a:path w="2681" h="902">
                  <a:moveTo>
                    <a:pt x="2681" y="0"/>
                  </a:moveTo>
                  <a:cubicBezTo>
                    <a:pt x="2463" y="529"/>
                    <a:pt x="1942" y="902"/>
                    <a:pt x="1334" y="902"/>
                  </a:cubicBezTo>
                  <a:cubicBezTo>
                    <a:pt x="738" y="902"/>
                    <a:pt x="225" y="543"/>
                    <a:pt x="0" y="29"/>
                  </a:cubicBezTo>
                  <a:cubicBezTo>
                    <a:pt x="326" y="177"/>
                    <a:pt x="792" y="269"/>
                    <a:pt x="1309" y="269"/>
                  </a:cubicBezTo>
                  <a:cubicBezTo>
                    <a:pt x="1860" y="269"/>
                    <a:pt x="2353" y="165"/>
                    <a:pt x="2681" y="0"/>
                  </a:cubicBezTo>
                  <a:close/>
                </a:path>
              </a:pathLst>
            </a:custGeom>
            <a:grpFill/>
            <a:ln w="6350">
              <a:solidFill>
                <a:schemeClr val="bg1"/>
              </a:solidFill>
            </a:ln>
            <a:effectLst/>
          </p:spPr>
          <p:txBody>
            <a:bodyPr vert="horz" wrap="square" lIns="91440" tIns="2743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Inter"/>
                  <a:ea typeface="+mn-ea"/>
                  <a:cs typeface="+mn-cs"/>
                </a:rPr>
                <a:t>Value</a:t>
              </a:r>
              <a:endParaRPr kumimoji="0" lang="en-US" sz="1400" b="1" i="0" u="none" strike="noStrike" kern="1200" cap="none" spc="0" normalizeH="0" baseline="0" noProof="0" dirty="0">
                <a:ln>
                  <a:noFill/>
                </a:ln>
                <a:solidFill>
                  <a:srgbClr val="FFFFFF"/>
                </a:solidFill>
                <a:effectLst/>
                <a:uLnTx/>
                <a:uFillTx/>
                <a:latin typeface="Inter"/>
                <a:ea typeface="+mn-ea"/>
                <a:cs typeface="+mn-cs"/>
              </a:endParaRPr>
            </a:p>
          </p:txBody>
        </p:sp>
        <p:sp>
          <p:nvSpPr>
            <p:cNvPr id="7" name="Freeform 12">
              <a:extLst>
                <a:ext uri="{FF2B5EF4-FFF2-40B4-BE49-F238E27FC236}">
                  <a16:creationId xmlns:a16="http://schemas.microsoft.com/office/drawing/2014/main" id="{D933E70E-D18D-4C8C-9044-A5BA4D57D88A}"/>
                </a:ext>
              </a:extLst>
            </p:cNvPr>
            <p:cNvSpPr>
              <a:spLocks/>
            </p:cNvSpPr>
            <p:nvPr/>
          </p:nvSpPr>
          <p:spPr bwMode="auto">
            <a:xfrm>
              <a:off x="4573988" y="2202182"/>
              <a:ext cx="2753047" cy="885138"/>
            </a:xfrm>
            <a:custGeom>
              <a:avLst/>
              <a:gdLst>
                <a:gd name="T0" fmla="*/ 1148 w 2296"/>
                <a:gd name="T1" fmla="*/ 0 h 739"/>
                <a:gd name="T2" fmla="*/ 2296 w 2296"/>
                <a:gd name="T3" fmla="*/ 560 h 739"/>
                <a:gd name="T4" fmla="*/ 1148 w 2296"/>
                <a:gd name="T5" fmla="*/ 739 h 739"/>
                <a:gd name="T6" fmla="*/ 0 w 2296"/>
                <a:gd name="T7" fmla="*/ 560 h 739"/>
                <a:gd name="T8" fmla="*/ 1148 w 2296"/>
                <a:gd name="T9" fmla="*/ 0 h 739"/>
              </a:gdLst>
              <a:ahLst/>
              <a:cxnLst>
                <a:cxn ang="0">
                  <a:pos x="T0" y="T1"/>
                </a:cxn>
                <a:cxn ang="0">
                  <a:pos x="T2" y="T3"/>
                </a:cxn>
                <a:cxn ang="0">
                  <a:pos x="T4" y="T5"/>
                </a:cxn>
                <a:cxn ang="0">
                  <a:pos x="T6" y="T7"/>
                </a:cxn>
                <a:cxn ang="0">
                  <a:pos x="T8" y="T9"/>
                </a:cxn>
              </a:cxnLst>
              <a:rect l="0" t="0" r="r" b="b"/>
              <a:pathLst>
                <a:path w="2296" h="739">
                  <a:moveTo>
                    <a:pt x="1148" y="0"/>
                  </a:moveTo>
                  <a:cubicBezTo>
                    <a:pt x="1615" y="0"/>
                    <a:pt x="2030" y="219"/>
                    <a:pt x="2296" y="560"/>
                  </a:cubicBezTo>
                  <a:cubicBezTo>
                    <a:pt x="1982" y="672"/>
                    <a:pt x="1583" y="739"/>
                    <a:pt x="1148" y="739"/>
                  </a:cubicBezTo>
                  <a:cubicBezTo>
                    <a:pt x="713" y="739"/>
                    <a:pt x="315" y="672"/>
                    <a:pt x="0" y="560"/>
                  </a:cubicBezTo>
                  <a:cubicBezTo>
                    <a:pt x="266" y="219"/>
                    <a:pt x="681" y="0"/>
                    <a:pt x="1148" y="0"/>
                  </a:cubicBezTo>
                  <a:close/>
                </a:path>
              </a:pathLst>
            </a:custGeom>
            <a:grpFill/>
            <a:ln w="6350">
              <a:solidFill>
                <a:schemeClr val="bg1"/>
              </a:solidFill>
            </a:ln>
            <a:effectLst/>
          </p:spPr>
          <p:txBody>
            <a:bodyPr vert="horz" wrap="square" lIns="91440" tIns="9144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Inter"/>
                  <a:ea typeface="+mn-ea"/>
                  <a:cs typeface="+mn-cs"/>
                </a:rPr>
                <a:t>Vision</a:t>
              </a:r>
              <a:endParaRPr kumimoji="0" lang="en-US" sz="1400" b="1" i="0" u="none" strike="noStrike" kern="1200" cap="none" spc="0" normalizeH="0" baseline="0" noProof="0" dirty="0">
                <a:ln>
                  <a:noFill/>
                </a:ln>
                <a:solidFill>
                  <a:srgbClr val="FFFFFF"/>
                </a:solidFill>
                <a:effectLst/>
                <a:uLnTx/>
                <a:uFillTx/>
                <a:latin typeface="Inter"/>
                <a:ea typeface="+mn-ea"/>
                <a:cs typeface="+mn-cs"/>
              </a:endParaRPr>
            </a:p>
          </p:txBody>
        </p:sp>
        <p:sp>
          <p:nvSpPr>
            <p:cNvPr id="8" name="Freeform 13">
              <a:extLst>
                <a:ext uri="{FF2B5EF4-FFF2-40B4-BE49-F238E27FC236}">
                  <a16:creationId xmlns:a16="http://schemas.microsoft.com/office/drawing/2014/main" id="{BFC2F200-840D-44D6-9C91-B5D5AA3B2ABE}"/>
                </a:ext>
              </a:extLst>
            </p:cNvPr>
            <p:cNvSpPr>
              <a:spLocks/>
            </p:cNvSpPr>
            <p:nvPr/>
          </p:nvSpPr>
          <p:spPr bwMode="auto">
            <a:xfrm>
              <a:off x="4176200" y="3689247"/>
              <a:ext cx="3547816" cy="1242582"/>
            </a:xfrm>
            <a:custGeom>
              <a:avLst/>
              <a:gdLst>
                <a:gd name="T0" fmla="*/ 2921 w 2959"/>
                <a:gd name="T1" fmla="*/ 0 h 1037"/>
                <a:gd name="T2" fmla="*/ 2827 w 2959"/>
                <a:gd name="T3" fmla="*/ 768 h 1037"/>
                <a:gd name="T4" fmla="*/ 1455 w 2959"/>
                <a:gd name="T5" fmla="*/ 1037 h 1037"/>
                <a:gd name="T6" fmla="*/ 146 w 2959"/>
                <a:gd name="T7" fmla="*/ 797 h 1037"/>
                <a:gd name="T8" fmla="*/ 40 w 2959"/>
                <a:gd name="T9" fmla="*/ 0 h 1037"/>
                <a:gd name="T10" fmla="*/ 1480 w 2959"/>
                <a:gd name="T11" fmla="*/ 309 h 1037"/>
                <a:gd name="T12" fmla="*/ 2921 w 2959"/>
                <a:gd name="T13" fmla="*/ 0 h 1037"/>
              </a:gdLst>
              <a:ahLst/>
              <a:cxnLst>
                <a:cxn ang="0">
                  <a:pos x="T0" y="T1"/>
                </a:cxn>
                <a:cxn ang="0">
                  <a:pos x="T2" y="T3"/>
                </a:cxn>
                <a:cxn ang="0">
                  <a:pos x="T4" y="T5"/>
                </a:cxn>
                <a:cxn ang="0">
                  <a:pos x="T6" y="T7"/>
                </a:cxn>
                <a:cxn ang="0">
                  <a:pos x="T8" y="T9"/>
                </a:cxn>
                <a:cxn ang="0">
                  <a:pos x="T10" y="T11"/>
                </a:cxn>
                <a:cxn ang="0">
                  <a:pos x="T12" y="T13"/>
                </a:cxn>
              </a:cxnLst>
              <a:rect l="0" t="0" r="r" b="b"/>
              <a:pathLst>
                <a:path w="2959" h="1037">
                  <a:moveTo>
                    <a:pt x="2921" y="0"/>
                  </a:moveTo>
                  <a:cubicBezTo>
                    <a:pt x="2959" y="259"/>
                    <a:pt x="2927" y="526"/>
                    <a:pt x="2827" y="768"/>
                  </a:cubicBezTo>
                  <a:cubicBezTo>
                    <a:pt x="2499" y="933"/>
                    <a:pt x="2006" y="1037"/>
                    <a:pt x="1455" y="1037"/>
                  </a:cubicBezTo>
                  <a:cubicBezTo>
                    <a:pt x="938" y="1037"/>
                    <a:pt x="472" y="945"/>
                    <a:pt x="146" y="797"/>
                  </a:cubicBezTo>
                  <a:cubicBezTo>
                    <a:pt x="36" y="548"/>
                    <a:pt x="0" y="270"/>
                    <a:pt x="40" y="0"/>
                  </a:cubicBezTo>
                  <a:cubicBezTo>
                    <a:pt x="376" y="188"/>
                    <a:pt x="896" y="309"/>
                    <a:pt x="1480" y="309"/>
                  </a:cubicBezTo>
                  <a:cubicBezTo>
                    <a:pt x="2064" y="309"/>
                    <a:pt x="2584" y="188"/>
                    <a:pt x="2921" y="0"/>
                  </a:cubicBezTo>
                  <a:close/>
                </a:path>
              </a:pathLst>
            </a:custGeom>
            <a:grpFill/>
            <a:ln w="6350">
              <a:solidFill>
                <a:schemeClr val="bg1"/>
              </a:solidFill>
            </a:ln>
            <a:effectLst/>
          </p:spPr>
          <p:txBody>
            <a:bodyPr vert="horz" wrap="square" lIns="91440" tIns="36576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Inter"/>
                  <a:ea typeface="+mn-ea"/>
                  <a:cs typeface="+mn-cs"/>
                </a:rPr>
                <a:t>Social media</a:t>
              </a:r>
              <a:endParaRPr kumimoji="0" lang="en-US" sz="1400" b="1" i="0" u="none" strike="noStrike" kern="1200" cap="none" spc="0" normalizeH="0" baseline="0" noProof="0" dirty="0">
                <a:ln>
                  <a:noFill/>
                </a:ln>
                <a:solidFill>
                  <a:srgbClr val="FFFFFF"/>
                </a:solidFill>
                <a:effectLst/>
                <a:uLnTx/>
                <a:uFillTx/>
                <a:latin typeface="Inter"/>
                <a:ea typeface="+mn-ea"/>
                <a:cs typeface="+mn-cs"/>
              </a:endParaRPr>
            </a:p>
          </p:txBody>
        </p:sp>
        <p:sp>
          <p:nvSpPr>
            <p:cNvPr id="9" name="Freeform 15">
              <a:extLst>
                <a:ext uri="{FF2B5EF4-FFF2-40B4-BE49-F238E27FC236}">
                  <a16:creationId xmlns:a16="http://schemas.microsoft.com/office/drawing/2014/main" id="{4F050371-343C-4D9A-AC75-8377DAC52867}"/>
                </a:ext>
              </a:extLst>
            </p:cNvPr>
            <p:cNvSpPr>
              <a:spLocks/>
            </p:cNvSpPr>
            <p:nvPr/>
          </p:nvSpPr>
          <p:spPr bwMode="auto">
            <a:xfrm>
              <a:off x="4223805" y="2872693"/>
              <a:ext cx="3454219" cy="1186908"/>
            </a:xfrm>
            <a:custGeom>
              <a:avLst/>
              <a:gdLst>
                <a:gd name="T0" fmla="*/ 2588 w 2881"/>
                <a:gd name="T1" fmla="*/ 0 h 991"/>
                <a:gd name="T2" fmla="*/ 2881 w 2881"/>
                <a:gd name="T3" fmla="*/ 682 h 991"/>
                <a:gd name="T4" fmla="*/ 1440 w 2881"/>
                <a:gd name="T5" fmla="*/ 991 h 991"/>
                <a:gd name="T6" fmla="*/ 0 w 2881"/>
                <a:gd name="T7" fmla="*/ 682 h 991"/>
                <a:gd name="T8" fmla="*/ 292 w 2881"/>
                <a:gd name="T9" fmla="*/ 0 h 991"/>
                <a:gd name="T10" fmla="*/ 1440 w 2881"/>
                <a:gd name="T11" fmla="*/ 179 h 991"/>
                <a:gd name="T12" fmla="*/ 2588 w 2881"/>
                <a:gd name="T13" fmla="*/ 0 h 991"/>
              </a:gdLst>
              <a:ahLst/>
              <a:cxnLst>
                <a:cxn ang="0">
                  <a:pos x="T0" y="T1"/>
                </a:cxn>
                <a:cxn ang="0">
                  <a:pos x="T2" y="T3"/>
                </a:cxn>
                <a:cxn ang="0">
                  <a:pos x="T4" y="T5"/>
                </a:cxn>
                <a:cxn ang="0">
                  <a:pos x="T6" y="T7"/>
                </a:cxn>
                <a:cxn ang="0">
                  <a:pos x="T8" y="T9"/>
                </a:cxn>
                <a:cxn ang="0">
                  <a:pos x="T10" y="T11"/>
                </a:cxn>
                <a:cxn ang="0">
                  <a:pos x="T12" y="T13"/>
                </a:cxn>
              </a:cxnLst>
              <a:rect l="0" t="0" r="r" b="b"/>
              <a:pathLst>
                <a:path w="2881" h="991">
                  <a:moveTo>
                    <a:pt x="2588" y="0"/>
                  </a:moveTo>
                  <a:cubicBezTo>
                    <a:pt x="2740" y="194"/>
                    <a:pt x="2843" y="428"/>
                    <a:pt x="2881" y="682"/>
                  </a:cubicBezTo>
                  <a:cubicBezTo>
                    <a:pt x="2544" y="870"/>
                    <a:pt x="2024" y="991"/>
                    <a:pt x="1440" y="991"/>
                  </a:cubicBezTo>
                  <a:cubicBezTo>
                    <a:pt x="856" y="991"/>
                    <a:pt x="336" y="870"/>
                    <a:pt x="0" y="682"/>
                  </a:cubicBezTo>
                  <a:cubicBezTo>
                    <a:pt x="37" y="428"/>
                    <a:pt x="140" y="194"/>
                    <a:pt x="292" y="0"/>
                  </a:cubicBezTo>
                  <a:cubicBezTo>
                    <a:pt x="606" y="112"/>
                    <a:pt x="1006" y="179"/>
                    <a:pt x="1440" y="179"/>
                  </a:cubicBezTo>
                  <a:cubicBezTo>
                    <a:pt x="1875" y="179"/>
                    <a:pt x="2274" y="112"/>
                    <a:pt x="2588" y="0"/>
                  </a:cubicBezTo>
                  <a:close/>
                </a:path>
              </a:pathLst>
            </a:custGeom>
            <a:grpFill/>
            <a:ln w="6350">
              <a:solidFill>
                <a:schemeClr val="bg1"/>
              </a:solidFill>
            </a:ln>
            <a:effectLst/>
          </p:spPr>
          <p:txBody>
            <a:bodyPr vert="horz" wrap="square" lIns="91440" tIns="2743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Inter"/>
                  <a:ea typeface="+mn-ea"/>
                  <a:cs typeface="+mn-cs"/>
                </a:rPr>
                <a:t>Branding</a:t>
              </a:r>
              <a:endParaRPr kumimoji="0" lang="en-US" sz="1400" b="1" i="0" u="none" strike="noStrike" kern="1200" cap="none" spc="0" normalizeH="0" baseline="0" noProof="0" dirty="0">
                <a:ln>
                  <a:noFill/>
                </a:ln>
                <a:solidFill>
                  <a:srgbClr val="FFFFFF"/>
                </a:solidFill>
                <a:effectLst/>
                <a:uLnTx/>
                <a:uFillTx/>
                <a:latin typeface="Inter"/>
                <a:ea typeface="+mn-ea"/>
                <a:cs typeface="+mn-cs"/>
              </a:endParaRPr>
            </a:p>
          </p:txBody>
        </p:sp>
      </p:grpSp>
      <p:grpSp>
        <p:nvGrpSpPr>
          <p:cNvPr id="10" name="Group 34">
            <a:extLst>
              <a:ext uri="{FF2B5EF4-FFF2-40B4-BE49-F238E27FC236}">
                <a16:creationId xmlns:a16="http://schemas.microsoft.com/office/drawing/2014/main" id="{1460B290-C6B7-4127-9020-5DFCB23791C9}"/>
              </a:ext>
            </a:extLst>
          </p:cNvPr>
          <p:cNvGrpSpPr/>
          <p:nvPr/>
        </p:nvGrpSpPr>
        <p:grpSpPr>
          <a:xfrm>
            <a:off x="3882389" y="5163054"/>
            <a:ext cx="3783013" cy="869950"/>
            <a:chOff x="4027488" y="4646613"/>
            <a:chExt cx="3783013" cy="869950"/>
          </a:xfrm>
          <a:gradFill>
            <a:gsLst>
              <a:gs pos="0">
                <a:schemeClr val="accent1">
                  <a:lumMod val="20000"/>
                  <a:lumOff val="80000"/>
                </a:schemeClr>
              </a:gs>
              <a:gs pos="26000">
                <a:schemeClr val="accent1">
                  <a:lumMod val="40000"/>
                  <a:lumOff val="60000"/>
                </a:schemeClr>
              </a:gs>
              <a:gs pos="98230">
                <a:schemeClr val="accent1"/>
              </a:gs>
              <a:gs pos="48000">
                <a:schemeClr val="accent1">
                  <a:lumMod val="60000"/>
                  <a:lumOff val="40000"/>
                </a:schemeClr>
              </a:gs>
            </a:gsLst>
            <a:lin ang="10800000" scaled="0"/>
          </a:gradFill>
        </p:grpSpPr>
        <p:sp>
          <p:nvSpPr>
            <p:cNvPr id="11" name="Freeform 19">
              <a:extLst>
                <a:ext uri="{FF2B5EF4-FFF2-40B4-BE49-F238E27FC236}">
                  <a16:creationId xmlns:a16="http://schemas.microsoft.com/office/drawing/2014/main" id="{FEE9AE91-7437-42CF-8827-3934F697D432}"/>
                </a:ext>
              </a:extLst>
            </p:cNvPr>
            <p:cNvSpPr>
              <a:spLocks/>
            </p:cNvSpPr>
            <p:nvPr/>
          </p:nvSpPr>
          <p:spPr bwMode="auto">
            <a:xfrm>
              <a:off x="4027488" y="4818063"/>
              <a:ext cx="288925" cy="209550"/>
            </a:xfrm>
            <a:custGeom>
              <a:avLst/>
              <a:gdLst>
                <a:gd name="T0" fmla="*/ 182 w 182"/>
                <a:gd name="T1" fmla="*/ 132 h 132"/>
                <a:gd name="T2" fmla="*/ 0 w 182"/>
                <a:gd name="T3" fmla="*/ 66 h 132"/>
                <a:gd name="T4" fmla="*/ 182 w 182"/>
                <a:gd name="T5" fmla="*/ 0 h 132"/>
                <a:gd name="T6" fmla="*/ 141 w 182"/>
                <a:gd name="T7" fmla="*/ 66 h 132"/>
                <a:gd name="T8" fmla="*/ 182 w 182"/>
                <a:gd name="T9" fmla="*/ 132 h 132"/>
                <a:gd name="T10" fmla="*/ 182 w 182"/>
                <a:gd name="T11" fmla="*/ 132 h 132"/>
              </a:gdLst>
              <a:ahLst/>
              <a:cxnLst>
                <a:cxn ang="0">
                  <a:pos x="T0" y="T1"/>
                </a:cxn>
                <a:cxn ang="0">
                  <a:pos x="T2" y="T3"/>
                </a:cxn>
                <a:cxn ang="0">
                  <a:pos x="T4" y="T5"/>
                </a:cxn>
                <a:cxn ang="0">
                  <a:pos x="T6" y="T7"/>
                </a:cxn>
                <a:cxn ang="0">
                  <a:pos x="T8" y="T9"/>
                </a:cxn>
                <a:cxn ang="0">
                  <a:pos x="T10" y="T11"/>
                </a:cxn>
              </a:cxnLst>
              <a:rect l="0" t="0" r="r" b="b"/>
              <a:pathLst>
                <a:path w="182" h="132">
                  <a:moveTo>
                    <a:pt x="182" y="132"/>
                  </a:moveTo>
                  <a:lnTo>
                    <a:pt x="0" y="66"/>
                  </a:lnTo>
                  <a:lnTo>
                    <a:pt x="182" y="0"/>
                  </a:lnTo>
                  <a:lnTo>
                    <a:pt x="141" y="66"/>
                  </a:lnTo>
                  <a:lnTo>
                    <a:pt x="182" y="132"/>
                  </a:lnTo>
                  <a:lnTo>
                    <a:pt x="182" y="132"/>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22222"/>
                </a:solidFill>
                <a:effectLst/>
                <a:uLnTx/>
                <a:uFillTx/>
                <a:latin typeface="Inter"/>
                <a:ea typeface="+mn-ea"/>
                <a:cs typeface="+mn-cs"/>
              </a:endParaRPr>
            </a:p>
          </p:txBody>
        </p:sp>
        <p:sp>
          <p:nvSpPr>
            <p:cNvPr id="12" name="Freeform 20">
              <a:extLst>
                <a:ext uri="{FF2B5EF4-FFF2-40B4-BE49-F238E27FC236}">
                  <a16:creationId xmlns:a16="http://schemas.microsoft.com/office/drawing/2014/main" id="{475692DA-9C91-4D6D-BFF1-4C16F7885581}"/>
                </a:ext>
              </a:extLst>
            </p:cNvPr>
            <p:cNvSpPr>
              <a:spLocks/>
            </p:cNvSpPr>
            <p:nvPr/>
          </p:nvSpPr>
          <p:spPr bwMode="auto">
            <a:xfrm>
              <a:off x="4310063" y="4646613"/>
              <a:ext cx="3500438" cy="869950"/>
            </a:xfrm>
            <a:custGeom>
              <a:avLst/>
              <a:gdLst>
                <a:gd name="T0" fmla="*/ 300 w 2693"/>
                <a:gd name="T1" fmla="*/ 201 h 670"/>
                <a:gd name="T2" fmla="*/ 309 w 2693"/>
                <a:gd name="T3" fmla="*/ 205 h 670"/>
                <a:gd name="T4" fmla="*/ 1402 w 2693"/>
                <a:gd name="T5" fmla="*/ 644 h 670"/>
                <a:gd name="T6" fmla="*/ 2668 w 2693"/>
                <a:gd name="T7" fmla="*/ 7 h 670"/>
                <a:gd name="T8" fmla="*/ 2686 w 2693"/>
                <a:gd name="T9" fmla="*/ 5 h 670"/>
                <a:gd name="T10" fmla="*/ 2689 w 2693"/>
                <a:gd name="T11" fmla="*/ 23 h 670"/>
                <a:gd name="T12" fmla="*/ 1402 w 2693"/>
                <a:gd name="T13" fmla="*/ 670 h 670"/>
                <a:gd name="T14" fmla="*/ 295 w 2693"/>
                <a:gd name="T15" fmla="*/ 226 h 670"/>
                <a:gd name="T16" fmla="*/ 13 w 2693"/>
                <a:gd name="T17" fmla="*/ 226 h 670"/>
                <a:gd name="T18" fmla="*/ 0 w 2693"/>
                <a:gd name="T19" fmla="*/ 214 h 670"/>
                <a:gd name="T20" fmla="*/ 13 w 2693"/>
                <a:gd name="T21" fmla="*/ 201 h 670"/>
                <a:gd name="T22" fmla="*/ 300 w 2693"/>
                <a:gd name="T23" fmla="*/ 201 h 6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93" h="670">
                  <a:moveTo>
                    <a:pt x="300" y="201"/>
                  </a:moveTo>
                  <a:cubicBezTo>
                    <a:pt x="304" y="201"/>
                    <a:pt x="307" y="202"/>
                    <a:pt x="309" y="205"/>
                  </a:cubicBezTo>
                  <a:cubicBezTo>
                    <a:pt x="603" y="487"/>
                    <a:pt x="995" y="644"/>
                    <a:pt x="1402" y="644"/>
                  </a:cubicBezTo>
                  <a:cubicBezTo>
                    <a:pt x="1901" y="644"/>
                    <a:pt x="2370" y="408"/>
                    <a:pt x="2668" y="7"/>
                  </a:cubicBezTo>
                  <a:cubicBezTo>
                    <a:pt x="2673" y="2"/>
                    <a:pt x="2681" y="0"/>
                    <a:pt x="2686" y="5"/>
                  </a:cubicBezTo>
                  <a:cubicBezTo>
                    <a:pt x="2692" y="9"/>
                    <a:pt x="2693" y="17"/>
                    <a:pt x="2689" y="23"/>
                  </a:cubicBezTo>
                  <a:cubicBezTo>
                    <a:pt x="2386" y="430"/>
                    <a:pt x="1909" y="670"/>
                    <a:pt x="1402" y="670"/>
                  </a:cubicBezTo>
                  <a:cubicBezTo>
                    <a:pt x="990" y="670"/>
                    <a:pt x="593" y="511"/>
                    <a:pt x="295" y="226"/>
                  </a:cubicBezTo>
                  <a:cubicBezTo>
                    <a:pt x="13" y="226"/>
                    <a:pt x="13" y="226"/>
                    <a:pt x="13" y="226"/>
                  </a:cubicBezTo>
                  <a:cubicBezTo>
                    <a:pt x="6" y="226"/>
                    <a:pt x="0" y="221"/>
                    <a:pt x="0" y="214"/>
                  </a:cubicBezTo>
                  <a:cubicBezTo>
                    <a:pt x="0" y="206"/>
                    <a:pt x="6" y="201"/>
                    <a:pt x="13" y="201"/>
                  </a:cubicBezTo>
                  <a:cubicBezTo>
                    <a:pt x="300" y="201"/>
                    <a:pt x="300" y="201"/>
                    <a:pt x="300" y="201"/>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22222"/>
                </a:solidFill>
                <a:effectLst/>
                <a:uLnTx/>
                <a:uFillTx/>
                <a:latin typeface="Inter"/>
                <a:ea typeface="+mn-ea"/>
                <a:cs typeface="+mn-cs"/>
              </a:endParaRPr>
            </a:p>
          </p:txBody>
        </p:sp>
      </p:grpSp>
      <p:grpSp>
        <p:nvGrpSpPr>
          <p:cNvPr id="35" name="组合 34">
            <a:extLst>
              <a:ext uri="{FF2B5EF4-FFF2-40B4-BE49-F238E27FC236}">
                <a16:creationId xmlns:a16="http://schemas.microsoft.com/office/drawing/2014/main" id="{7FA1AF57-7E83-4EF2-A50B-C953C2A25655}"/>
              </a:ext>
            </a:extLst>
          </p:cNvPr>
          <p:cNvGrpSpPr/>
          <p:nvPr/>
        </p:nvGrpSpPr>
        <p:grpSpPr>
          <a:xfrm>
            <a:off x="7925751" y="3553329"/>
            <a:ext cx="693738" cy="1162050"/>
            <a:chOff x="7925751" y="3553329"/>
            <a:chExt cx="693738" cy="1162050"/>
          </a:xfrm>
        </p:grpSpPr>
        <p:sp>
          <p:nvSpPr>
            <p:cNvPr id="14" name="Freeform 21">
              <a:extLst>
                <a:ext uri="{FF2B5EF4-FFF2-40B4-BE49-F238E27FC236}">
                  <a16:creationId xmlns:a16="http://schemas.microsoft.com/office/drawing/2014/main" id="{8A543536-9B94-4889-9074-449EED356140}"/>
                </a:ext>
              </a:extLst>
            </p:cNvPr>
            <p:cNvSpPr>
              <a:spLocks/>
            </p:cNvSpPr>
            <p:nvPr/>
          </p:nvSpPr>
          <p:spPr bwMode="auto">
            <a:xfrm>
              <a:off x="8330564" y="4507416"/>
              <a:ext cx="288925" cy="207963"/>
            </a:xfrm>
            <a:custGeom>
              <a:avLst/>
              <a:gdLst>
                <a:gd name="T0" fmla="*/ 0 w 182"/>
                <a:gd name="T1" fmla="*/ 0 h 131"/>
                <a:gd name="T2" fmla="*/ 182 w 182"/>
                <a:gd name="T3" fmla="*/ 66 h 131"/>
                <a:gd name="T4" fmla="*/ 0 w 182"/>
                <a:gd name="T5" fmla="*/ 131 h 131"/>
                <a:gd name="T6" fmla="*/ 41 w 182"/>
                <a:gd name="T7" fmla="*/ 66 h 131"/>
                <a:gd name="T8" fmla="*/ 0 w 182"/>
                <a:gd name="T9" fmla="*/ 0 h 131"/>
                <a:gd name="T10" fmla="*/ 0 w 182"/>
                <a:gd name="T11" fmla="*/ 0 h 131"/>
              </a:gdLst>
              <a:ahLst/>
              <a:cxnLst>
                <a:cxn ang="0">
                  <a:pos x="T0" y="T1"/>
                </a:cxn>
                <a:cxn ang="0">
                  <a:pos x="T2" y="T3"/>
                </a:cxn>
                <a:cxn ang="0">
                  <a:pos x="T4" y="T5"/>
                </a:cxn>
                <a:cxn ang="0">
                  <a:pos x="T6" y="T7"/>
                </a:cxn>
                <a:cxn ang="0">
                  <a:pos x="T8" y="T9"/>
                </a:cxn>
                <a:cxn ang="0">
                  <a:pos x="T10" y="T11"/>
                </a:cxn>
              </a:cxnLst>
              <a:rect l="0" t="0" r="r" b="b"/>
              <a:pathLst>
                <a:path w="182" h="131">
                  <a:moveTo>
                    <a:pt x="0" y="0"/>
                  </a:moveTo>
                  <a:lnTo>
                    <a:pt x="182" y="66"/>
                  </a:lnTo>
                  <a:lnTo>
                    <a:pt x="0" y="131"/>
                  </a:lnTo>
                  <a:lnTo>
                    <a:pt x="41" y="66"/>
                  </a:lnTo>
                  <a:lnTo>
                    <a:pt x="0" y="0"/>
                  </a:lnTo>
                  <a:lnTo>
                    <a:pt x="0" y="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22222"/>
                </a:solidFill>
                <a:effectLst/>
                <a:uLnTx/>
                <a:uFillTx/>
                <a:latin typeface="Inter"/>
                <a:ea typeface="+mn-ea"/>
                <a:cs typeface="+mn-cs"/>
              </a:endParaRPr>
            </a:p>
          </p:txBody>
        </p:sp>
        <p:sp>
          <p:nvSpPr>
            <p:cNvPr id="15" name="Freeform 22">
              <a:extLst>
                <a:ext uri="{FF2B5EF4-FFF2-40B4-BE49-F238E27FC236}">
                  <a16:creationId xmlns:a16="http://schemas.microsoft.com/office/drawing/2014/main" id="{A5167B8E-5210-4136-92DE-650D5DB95579}"/>
                </a:ext>
              </a:extLst>
            </p:cNvPr>
            <p:cNvSpPr>
              <a:spLocks/>
            </p:cNvSpPr>
            <p:nvPr/>
          </p:nvSpPr>
          <p:spPr bwMode="auto">
            <a:xfrm>
              <a:off x="7925751" y="3553329"/>
              <a:ext cx="409575" cy="1074738"/>
            </a:xfrm>
            <a:custGeom>
              <a:avLst/>
              <a:gdLst>
                <a:gd name="T0" fmla="*/ 33 w 315"/>
                <a:gd name="T1" fmla="*/ 801 h 828"/>
                <a:gd name="T2" fmla="*/ 303 w 315"/>
                <a:gd name="T3" fmla="*/ 801 h 828"/>
                <a:gd name="T4" fmla="*/ 315 w 315"/>
                <a:gd name="T5" fmla="*/ 814 h 828"/>
                <a:gd name="T6" fmla="*/ 303 w 315"/>
                <a:gd name="T7" fmla="*/ 826 h 828"/>
                <a:gd name="T8" fmla="*/ 17 w 315"/>
                <a:gd name="T9" fmla="*/ 826 h 828"/>
                <a:gd name="T10" fmla="*/ 3 w 315"/>
                <a:gd name="T11" fmla="*/ 810 h 828"/>
                <a:gd name="T12" fmla="*/ 86 w 315"/>
                <a:gd name="T13" fmla="*/ 305 h 828"/>
                <a:gd name="T14" fmla="*/ 59 w 315"/>
                <a:gd name="T15" fmla="*/ 16 h 828"/>
                <a:gd name="T16" fmla="*/ 70 w 315"/>
                <a:gd name="T17" fmla="*/ 1 h 828"/>
                <a:gd name="T18" fmla="*/ 85 w 315"/>
                <a:gd name="T19" fmla="*/ 12 h 828"/>
                <a:gd name="T20" fmla="*/ 112 w 315"/>
                <a:gd name="T21" fmla="*/ 305 h 828"/>
                <a:gd name="T22" fmla="*/ 33 w 315"/>
                <a:gd name="T23" fmla="*/ 801 h 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5" h="828">
                  <a:moveTo>
                    <a:pt x="33" y="801"/>
                  </a:moveTo>
                  <a:cubicBezTo>
                    <a:pt x="303" y="801"/>
                    <a:pt x="303" y="801"/>
                    <a:pt x="303" y="801"/>
                  </a:cubicBezTo>
                  <a:cubicBezTo>
                    <a:pt x="310" y="801"/>
                    <a:pt x="315" y="806"/>
                    <a:pt x="315" y="814"/>
                  </a:cubicBezTo>
                  <a:cubicBezTo>
                    <a:pt x="315" y="821"/>
                    <a:pt x="310" y="826"/>
                    <a:pt x="303" y="826"/>
                  </a:cubicBezTo>
                  <a:cubicBezTo>
                    <a:pt x="17" y="826"/>
                    <a:pt x="17" y="826"/>
                    <a:pt x="17" y="826"/>
                  </a:cubicBezTo>
                  <a:cubicBezTo>
                    <a:pt x="8" y="828"/>
                    <a:pt x="0" y="819"/>
                    <a:pt x="3" y="810"/>
                  </a:cubicBezTo>
                  <a:cubicBezTo>
                    <a:pt x="58" y="647"/>
                    <a:pt x="86" y="477"/>
                    <a:pt x="86" y="305"/>
                  </a:cubicBezTo>
                  <a:cubicBezTo>
                    <a:pt x="86" y="208"/>
                    <a:pt x="77" y="112"/>
                    <a:pt x="59" y="16"/>
                  </a:cubicBezTo>
                  <a:cubicBezTo>
                    <a:pt x="58" y="9"/>
                    <a:pt x="63" y="3"/>
                    <a:pt x="70" y="1"/>
                  </a:cubicBezTo>
                  <a:cubicBezTo>
                    <a:pt x="77" y="0"/>
                    <a:pt x="83" y="5"/>
                    <a:pt x="85" y="12"/>
                  </a:cubicBezTo>
                  <a:cubicBezTo>
                    <a:pt x="103" y="108"/>
                    <a:pt x="112" y="207"/>
                    <a:pt x="112" y="305"/>
                  </a:cubicBezTo>
                  <a:cubicBezTo>
                    <a:pt x="112" y="473"/>
                    <a:pt x="85" y="641"/>
                    <a:pt x="33" y="801"/>
                  </a:cubicBezTo>
                  <a:close/>
                </a:path>
              </a:pathLst>
            </a:custGeom>
            <a:gradFill>
              <a:gsLst>
                <a:gs pos="0">
                  <a:schemeClr val="accent1">
                    <a:lumMod val="20000"/>
                    <a:lumOff val="80000"/>
                  </a:schemeClr>
                </a:gs>
                <a:gs pos="26000">
                  <a:schemeClr val="accent1">
                    <a:lumMod val="40000"/>
                    <a:lumOff val="60000"/>
                  </a:schemeClr>
                </a:gs>
                <a:gs pos="100000">
                  <a:schemeClr val="accent1"/>
                </a:gs>
                <a:gs pos="48000">
                  <a:schemeClr val="accent1">
                    <a:lumMod val="60000"/>
                    <a:lumOff val="40000"/>
                  </a:schemeClr>
                </a:gs>
              </a:gsLst>
              <a:lin ang="5400000" scaled="0"/>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22222"/>
                </a:solidFill>
                <a:effectLst/>
                <a:uLnTx/>
                <a:uFillTx/>
                <a:latin typeface="Inter"/>
                <a:ea typeface="+mn-ea"/>
                <a:cs typeface="+mn-cs"/>
              </a:endParaRPr>
            </a:p>
          </p:txBody>
        </p:sp>
      </p:grpSp>
      <p:grpSp>
        <p:nvGrpSpPr>
          <p:cNvPr id="34" name="组合 33">
            <a:extLst>
              <a:ext uri="{FF2B5EF4-FFF2-40B4-BE49-F238E27FC236}">
                <a16:creationId xmlns:a16="http://schemas.microsoft.com/office/drawing/2014/main" id="{247D81FE-6307-4534-966D-C18B14EB5532}"/>
              </a:ext>
            </a:extLst>
          </p:cNvPr>
          <p:cNvGrpSpPr/>
          <p:nvPr/>
        </p:nvGrpSpPr>
        <p:grpSpPr>
          <a:xfrm>
            <a:off x="3282314" y="2696079"/>
            <a:ext cx="1068387" cy="1036638"/>
            <a:chOff x="3282314" y="2696079"/>
            <a:chExt cx="1068387" cy="1036638"/>
          </a:xfrm>
          <a:gradFill>
            <a:gsLst>
              <a:gs pos="0">
                <a:schemeClr val="accent1">
                  <a:lumMod val="20000"/>
                  <a:lumOff val="80000"/>
                </a:schemeClr>
              </a:gs>
              <a:gs pos="26000">
                <a:schemeClr val="accent1">
                  <a:lumMod val="40000"/>
                  <a:lumOff val="60000"/>
                </a:schemeClr>
              </a:gs>
              <a:gs pos="98230">
                <a:schemeClr val="accent1"/>
              </a:gs>
              <a:gs pos="48000">
                <a:schemeClr val="accent1">
                  <a:lumMod val="60000"/>
                  <a:lumOff val="40000"/>
                </a:schemeClr>
              </a:gs>
            </a:gsLst>
            <a:lin ang="5400000" scaled="0"/>
          </a:gradFill>
        </p:grpSpPr>
        <p:sp>
          <p:nvSpPr>
            <p:cNvPr id="17" name="Freeform 23">
              <a:extLst>
                <a:ext uri="{FF2B5EF4-FFF2-40B4-BE49-F238E27FC236}">
                  <a16:creationId xmlns:a16="http://schemas.microsoft.com/office/drawing/2014/main" id="{9C2E2FB4-D690-4082-933F-A73F487E1654}"/>
                </a:ext>
              </a:extLst>
            </p:cNvPr>
            <p:cNvSpPr>
              <a:spLocks/>
            </p:cNvSpPr>
            <p:nvPr/>
          </p:nvSpPr>
          <p:spPr bwMode="auto">
            <a:xfrm>
              <a:off x="3563301" y="2696079"/>
              <a:ext cx="787400" cy="949325"/>
            </a:xfrm>
            <a:custGeom>
              <a:avLst/>
              <a:gdLst>
                <a:gd name="T0" fmla="*/ 314 w 607"/>
                <a:gd name="T1" fmla="*/ 719 h 731"/>
                <a:gd name="T2" fmla="*/ 300 w 607"/>
                <a:gd name="T3" fmla="*/ 731 h 731"/>
                <a:gd name="T4" fmla="*/ 13 w 607"/>
                <a:gd name="T5" fmla="*/ 731 h 731"/>
                <a:gd name="T6" fmla="*/ 0 w 607"/>
                <a:gd name="T7" fmla="*/ 718 h 731"/>
                <a:gd name="T8" fmla="*/ 13 w 607"/>
                <a:gd name="T9" fmla="*/ 705 h 731"/>
                <a:gd name="T10" fmla="*/ 290 w 607"/>
                <a:gd name="T11" fmla="*/ 705 h 731"/>
                <a:gd name="T12" fmla="*/ 582 w 607"/>
                <a:gd name="T13" fmla="*/ 7 h 731"/>
                <a:gd name="T14" fmla="*/ 600 w 607"/>
                <a:gd name="T15" fmla="*/ 4 h 731"/>
                <a:gd name="T16" fmla="*/ 603 w 607"/>
                <a:gd name="T17" fmla="*/ 22 h 731"/>
                <a:gd name="T18" fmla="*/ 314 w 607"/>
                <a:gd name="T19" fmla="*/ 719 h 7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7" h="731">
                  <a:moveTo>
                    <a:pt x="314" y="719"/>
                  </a:moveTo>
                  <a:cubicBezTo>
                    <a:pt x="313" y="726"/>
                    <a:pt x="306" y="731"/>
                    <a:pt x="300" y="731"/>
                  </a:cubicBezTo>
                  <a:cubicBezTo>
                    <a:pt x="13" y="731"/>
                    <a:pt x="13" y="731"/>
                    <a:pt x="13" y="731"/>
                  </a:cubicBezTo>
                  <a:cubicBezTo>
                    <a:pt x="6" y="731"/>
                    <a:pt x="0" y="725"/>
                    <a:pt x="0" y="718"/>
                  </a:cubicBezTo>
                  <a:cubicBezTo>
                    <a:pt x="0" y="711"/>
                    <a:pt x="6" y="705"/>
                    <a:pt x="13" y="705"/>
                  </a:cubicBezTo>
                  <a:cubicBezTo>
                    <a:pt x="290" y="705"/>
                    <a:pt x="290" y="705"/>
                    <a:pt x="290" y="705"/>
                  </a:cubicBezTo>
                  <a:cubicBezTo>
                    <a:pt x="330" y="452"/>
                    <a:pt x="430" y="213"/>
                    <a:pt x="582" y="7"/>
                  </a:cubicBezTo>
                  <a:cubicBezTo>
                    <a:pt x="586" y="1"/>
                    <a:pt x="594" y="0"/>
                    <a:pt x="600" y="4"/>
                  </a:cubicBezTo>
                  <a:cubicBezTo>
                    <a:pt x="606" y="8"/>
                    <a:pt x="607" y="16"/>
                    <a:pt x="603" y="22"/>
                  </a:cubicBezTo>
                  <a:cubicBezTo>
                    <a:pt x="452" y="227"/>
                    <a:pt x="352" y="467"/>
                    <a:pt x="314" y="719"/>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22222"/>
                </a:solidFill>
                <a:effectLst/>
                <a:uLnTx/>
                <a:uFillTx/>
                <a:latin typeface="Inter"/>
                <a:ea typeface="+mn-ea"/>
                <a:cs typeface="+mn-cs"/>
              </a:endParaRPr>
            </a:p>
          </p:txBody>
        </p:sp>
        <p:sp>
          <p:nvSpPr>
            <p:cNvPr id="18" name="Freeform 24">
              <a:extLst>
                <a:ext uri="{FF2B5EF4-FFF2-40B4-BE49-F238E27FC236}">
                  <a16:creationId xmlns:a16="http://schemas.microsoft.com/office/drawing/2014/main" id="{DFAF9B23-4CFD-49F9-8BCF-70BA1295A157}"/>
                </a:ext>
              </a:extLst>
            </p:cNvPr>
            <p:cNvSpPr>
              <a:spLocks/>
            </p:cNvSpPr>
            <p:nvPr/>
          </p:nvSpPr>
          <p:spPr bwMode="auto">
            <a:xfrm>
              <a:off x="3282314" y="3524754"/>
              <a:ext cx="288925" cy="207963"/>
            </a:xfrm>
            <a:custGeom>
              <a:avLst/>
              <a:gdLst>
                <a:gd name="T0" fmla="*/ 182 w 182"/>
                <a:gd name="T1" fmla="*/ 0 h 131"/>
                <a:gd name="T2" fmla="*/ 0 w 182"/>
                <a:gd name="T3" fmla="*/ 66 h 131"/>
                <a:gd name="T4" fmla="*/ 182 w 182"/>
                <a:gd name="T5" fmla="*/ 131 h 131"/>
                <a:gd name="T6" fmla="*/ 140 w 182"/>
                <a:gd name="T7" fmla="*/ 66 h 131"/>
                <a:gd name="T8" fmla="*/ 182 w 182"/>
                <a:gd name="T9" fmla="*/ 0 h 131"/>
                <a:gd name="T10" fmla="*/ 182 w 182"/>
                <a:gd name="T11" fmla="*/ 0 h 131"/>
              </a:gdLst>
              <a:ahLst/>
              <a:cxnLst>
                <a:cxn ang="0">
                  <a:pos x="T0" y="T1"/>
                </a:cxn>
                <a:cxn ang="0">
                  <a:pos x="T2" y="T3"/>
                </a:cxn>
                <a:cxn ang="0">
                  <a:pos x="T4" y="T5"/>
                </a:cxn>
                <a:cxn ang="0">
                  <a:pos x="T6" y="T7"/>
                </a:cxn>
                <a:cxn ang="0">
                  <a:pos x="T8" y="T9"/>
                </a:cxn>
                <a:cxn ang="0">
                  <a:pos x="T10" y="T11"/>
                </a:cxn>
              </a:cxnLst>
              <a:rect l="0" t="0" r="r" b="b"/>
              <a:pathLst>
                <a:path w="182" h="131">
                  <a:moveTo>
                    <a:pt x="182" y="0"/>
                  </a:moveTo>
                  <a:lnTo>
                    <a:pt x="0" y="66"/>
                  </a:lnTo>
                  <a:lnTo>
                    <a:pt x="182" y="131"/>
                  </a:lnTo>
                  <a:lnTo>
                    <a:pt x="140" y="66"/>
                  </a:lnTo>
                  <a:lnTo>
                    <a:pt x="182" y="0"/>
                  </a:lnTo>
                  <a:lnTo>
                    <a:pt x="182" y="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22222"/>
                </a:solidFill>
                <a:effectLst/>
                <a:uLnTx/>
                <a:uFillTx/>
                <a:latin typeface="Inter"/>
                <a:ea typeface="+mn-ea"/>
                <a:cs typeface="+mn-cs"/>
              </a:endParaRPr>
            </a:p>
          </p:txBody>
        </p:sp>
      </p:grpSp>
      <p:grpSp>
        <p:nvGrpSpPr>
          <p:cNvPr id="19" name="Group 43">
            <a:extLst>
              <a:ext uri="{FF2B5EF4-FFF2-40B4-BE49-F238E27FC236}">
                <a16:creationId xmlns:a16="http://schemas.microsoft.com/office/drawing/2014/main" id="{13504F04-B2F0-4F93-B3DD-284FD0F22624}"/>
              </a:ext>
            </a:extLst>
          </p:cNvPr>
          <p:cNvGrpSpPr/>
          <p:nvPr/>
        </p:nvGrpSpPr>
        <p:grpSpPr>
          <a:xfrm>
            <a:off x="4625339" y="1856291"/>
            <a:ext cx="3476625" cy="698500"/>
            <a:chOff x="4770438" y="1339850"/>
            <a:chExt cx="3476625" cy="698500"/>
          </a:xfrm>
          <a:gradFill>
            <a:gsLst>
              <a:gs pos="0">
                <a:schemeClr val="accent1">
                  <a:lumMod val="20000"/>
                  <a:lumOff val="80000"/>
                </a:schemeClr>
              </a:gs>
              <a:gs pos="26000">
                <a:schemeClr val="accent1">
                  <a:lumMod val="40000"/>
                  <a:lumOff val="60000"/>
                </a:schemeClr>
              </a:gs>
              <a:gs pos="98230">
                <a:schemeClr val="accent1"/>
              </a:gs>
              <a:gs pos="48000">
                <a:schemeClr val="accent1">
                  <a:lumMod val="60000"/>
                  <a:lumOff val="40000"/>
                </a:schemeClr>
              </a:gs>
            </a:gsLst>
            <a:lin ang="0" scaled="0"/>
          </a:gradFill>
        </p:grpSpPr>
        <p:sp>
          <p:nvSpPr>
            <p:cNvPr id="20" name="Freeform 25">
              <a:extLst>
                <a:ext uri="{FF2B5EF4-FFF2-40B4-BE49-F238E27FC236}">
                  <a16:creationId xmlns:a16="http://schemas.microsoft.com/office/drawing/2014/main" id="{D6E48918-263C-448A-8DBB-00C4AE0CC284}"/>
                </a:ext>
              </a:extLst>
            </p:cNvPr>
            <p:cNvSpPr>
              <a:spLocks/>
            </p:cNvSpPr>
            <p:nvPr/>
          </p:nvSpPr>
          <p:spPr bwMode="auto">
            <a:xfrm>
              <a:off x="7958138" y="1828800"/>
              <a:ext cx="288925" cy="209550"/>
            </a:xfrm>
            <a:custGeom>
              <a:avLst/>
              <a:gdLst>
                <a:gd name="T0" fmla="*/ 0 w 182"/>
                <a:gd name="T1" fmla="*/ 0 h 132"/>
                <a:gd name="T2" fmla="*/ 182 w 182"/>
                <a:gd name="T3" fmla="*/ 66 h 132"/>
                <a:gd name="T4" fmla="*/ 0 w 182"/>
                <a:gd name="T5" fmla="*/ 132 h 132"/>
                <a:gd name="T6" fmla="*/ 42 w 182"/>
                <a:gd name="T7" fmla="*/ 66 h 132"/>
                <a:gd name="T8" fmla="*/ 0 w 182"/>
                <a:gd name="T9" fmla="*/ 0 h 132"/>
                <a:gd name="T10" fmla="*/ 0 w 182"/>
                <a:gd name="T11" fmla="*/ 0 h 132"/>
              </a:gdLst>
              <a:ahLst/>
              <a:cxnLst>
                <a:cxn ang="0">
                  <a:pos x="T0" y="T1"/>
                </a:cxn>
                <a:cxn ang="0">
                  <a:pos x="T2" y="T3"/>
                </a:cxn>
                <a:cxn ang="0">
                  <a:pos x="T4" y="T5"/>
                </a:cxn>
                <a:cxn ang="0">
                  <a:pos x="T6" y="T7"/>
                </a:cxn>
                <a:cxn ang="0">
                  <a:pos x="T8" y="T9"/>
                </a:cxn>
                <a:cxn ang="0">
                  <a:pos x="T10" y="T11"/>
                </a:cxn>
              </a:cxnLst>
              <a:rect l="0" t="0" r="r" b="b"/>
              <a:pathLst>
                <a:path w="182" h="132">
                  <a:moveTo>
                    <a:pt x="0" y="0"/>
                  </a:moveTo>
                  <a:lnTo>
                    <a:pt x="182" y="66"/>
                  </a:lnTo>
                  <a:lnTo>
                    <a:pt x="0" y="132"/>
                  </a:lnTo>
                  <a:lnTo>
                    <a:pt x="42" y="66"/>
                  </a:lnTo>
                  <a:lnTo>
                    <a:pt x="0" y="0"/>
                  </a:lnTo>
                  <a:lnTo>
                    <a:pt x="0" y="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22222"/>
                </a:solidFill>
                <a:effectLst/>
                <a:uLnTx/>
                <a:uFillTx/>
                <a:latin typeface="Inter"/>
                <a:ea typeface="+mn-ea"/>
                <a:cs typeface="+mn-cs"/>
              </a:endParaRPr>
            </a:p>
          </p:txBody>
        </p:sp>
        <p:sp>
          <p:nvSpPr>
            <p:cNvPr id="21" name="Freeform 26">
              <a:extLst>
                <a:ext uri="{FF2B5EF4-FFF2-40B4-BE49-F238E27FC236}">
                  <a16:creationId xmlns:a16="http://schemas.microsoft.com/office/drawing/2014/main" id="{BD2D7730-087A-4A1F-A12C-AA06D08FD201}"/>
                </a:ext>
              </a:extLst>
            </p:cNvPr>
            <p:cNvSpPr>
              <a:spLocks/>
            </p:cNvSpPr>
            <p:nvPr/>
          </p:nvSpPr>
          <p:spPr bwMode="auto">
            <a:xfrm>
              <a:off x="4770438" y="1339850"/>
              <a:ext cx="3192463" cy="608013"/>
            </a:xfrm>
            <a:custGeom>
              <a:avLst/>
              <a:gdLst>
                <a:gd name="T0" fmla="*/ 23 w 2457"/>
                <a:gd name="T1" fmla="*/ 411 h 469"/>
                <a:gd name="T2" fmla="*/ 5 w 2457"/>
                <a:gd name="T3" fmla="*/ 410 h 469"/>
                <a:gd name="T4" fmla="*/ 6 w 2457"/>
                <a:gd name="T5" fmla="*/ 392 h 469"/>
                <a:gd name="T6" fmla="*/ 1056 w 2457"/>
                <a:gd name="T7" fmla="*/ 0 h 469"/>
                <a:gd name="T8" fmla="*/ 2163 w 2457"/>
                <a:gd name="T9" fmla="*/ 444 h 469"/>
                <a:gd name="T10" fmla="*/ 2445 w 2457"/>
                <a:gd name="T11" fmla="*/ 444 h 469"/>
                <a:gd name="T12" fmla="*/ 2457 w 2457"/>
                <a:gd name="T13" fmla="*/ 456 h 469"/>
                <a:gd name="T14" fmla="*/ 2445 w 2457"/>
                <a:gd name="T15" fmla="*/ 469 h 469"/>
                <a:gd name="T16" fmla="*/ 2158 w 2457"/>
                <a:gd name="T17" fmla="*/ 469 h 469"/>
                <a:gd name="T18" fmla="*/ 2148 w 2457"/>
                <a:gd name="T19" fmla="*/ 465 h 469"/>
                <a:gd name="T20" fmla="*/ 1056 w 2457"/>
                <a:gd name="T21" fmla="*/ 26 h 469"/>
                <a:gd name="T22" fmla="*/ 23 w 2457"/>
                <a:gd name="T23" fmla="*/ 411 h 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57" h="469">
                  <a:moveTo>
                    <a:pt x="23" y="411"/>
                  </a:moveTo>
                  <a:cubicBezTo>
                    <a:pt x="18" y="416"/>
                    <a:pt x="9" y="415"/>
                    <a:pt x="5" y="410"/>
                  </a:cubicBezTo>
                  <a:cubicBezTo>
                    <a:pt x="0" y="405"/>
                    <a:pt x="1" y="396"/>
                    <a:pt x="6" y="392"/>
                  </a:cubicBezTo>
                  <a:cubicBezTo>
                    <a:pt x="298" y="139"/>
                    <a:pt x="671" y="0"/>
                    <a:pt x="1056" y="0"/>
                  </a:cubicBezTo>
                  <a:cubicBezTo>
                    <a:pt x="1468" y="0"/>
                    <a:pt x="1865" y="159"/>
                    <a:pt x="2163" y="444"/>
                  </a:cubicBezTo>
                  <a:cubicBezTo>
                    <a:pt x="2445" y="444"/>
                    <a:pt x="2445" y="444"/>
                    <a:pt x="2445" y="444"/>
                  </a:cubicBezTo>
                  <a:cubicBezTo>
                    <a:pt x="2452" y="444"/>
                    <a:pt x="2457" y="449"/>
                    <a:pt x="2457" y="456"/>
                  </a:cubicBezTo>
                  <a:cubicBezTo>
                    <a:pt x="2457" y="464"/>
                    <a:pt x="2452" y="469"/>
                    <a:pt x="2445" y="469"/>
                  </a:cubicBezTo>
                  <a:cubicBezTo>
                    <a:pt x="2158" y="469"/>
                    <a:pt x="2158" y="469"/>
                    <a:pt x="2158" y="469"/>
                  </a:cubicBezTo>
                  <a:cubicBezTo>
                    <a:pt x="2154" y="469"/>
                    <a:pt x="2151" y="468"/>
                    <a:pt x="2148" y="465"/>
                  </a:cubicBezTo>
                  <a:cubicBezTo>
                    <a:pt x="1854" y="183"/>
                    <a:pt x="1463" y="26"/>
                    <a:pt x="1056" y="26"/>
                  </a:cubicBezTo>
                  <a:cubicBezTo>
                    <a:pt x="677" y="26"/>
                    <a:pt x="310" y="163"/>
                    <a:pt x="23" y="411"/>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22222"/>
                </a:solidFill>
                <a:effectLst/>
                <a:uLnTx/>
                <a:uFillTx/>
                <a:latin typeface="Inter"/>
                <a:ea typeface="+mn-ea"/>
                <a:cs typeface="+mn-cs"/>
              </a:endParaRPr>
            </a:p>
          </p:txBody>
        </p:sp>
      </p:grpSp>
      <p:sp>
        <p:nvSpPr>
          <p:cNvPr id="42" name="TextBox 30">
            <a:extLst>
              <a:ext uri="{FF2B5EF4-FFF2-40B4-BE49-F238E27FC236}">
                <a16:creationId xmlns:a16="http://schemas.microsoft.com/office/drawing/2014/main" id="{E4F2E4C7-6916-486E-B974-F1A332F756F3}"/>
              </a:ext>
            </a:extLst>
          </p:cNvPr>
          <p:cNvSpPr txBox="1"/>
          <p:nvPr/>
        </p:nvSpPr>
        <p:spPr>
          <a:xfrm>
            <a:off x="9103303" y="2787127"/>
            <a:ext cx="2036015" cy="416067"/>
          </a:xfrm>
          <a:prstGeom prst="rect">
            <a:avLst/>
          </a:prstGeom>
          <a:noFill/>
        </p:spPr>
        <p:txBody>
          <a:bodyPr wrap="square" lIns="0" tIns="36000" rIns="0" bIns="36000" rtlCol="0">
            <a:spAutoFit/>
          </a:bodyPr>
          <a:lstStyle/>
          <a:p>
            <a:pPr marL="0" marR="0" lvl="0" indent="0" algn="l" defTabSz="914400" rtl="0" eaLnBrk="1" fontAlgn="auto" latinLnBrk="0" hangingPunct="1">
              <a:lnSpc>
                <a:spcPct val="130000"/>
              </a:lnSpc>
              <a:spcBef>
                <a:spcPts val="1000"/>
              </a:spcBef>
              <a:spcAft>
                <a:spcPts val="0"/>
              </a:spcAft>
              <a:buClrTx/>
              <a:buSzTx/>
              <a:buFontTx/>
              <a:buNone/>
              <a:tabLst/>
              <a:defRPr/>
            </a:pPr>
            <a:r>
              <a:rPr kumimoji="0" lang="en-US" sz="900" b="0" i="0" u="none" strike="noStrike" kern="1200" cap="none" spc="0" normalizeH="0" baseline="0" noProof="0" dirty="0">
                <a:ln>
                  <a:noFill/>
                </a:ln>
                <a:solidFill>
                  <a:prstClr val="black">
                    <a:lumMod val="50000"/>
                    <a:lumOff val="50000"/>
                  </a:prstClr>
                </a:solidFill>
                <a:effectLst/>
                <a:uLnTx/>
                <a:uFillTx/>
                <a:latin typeface="HarmonyOS Sans SC"/>
                <a:cs typeface="+mn-cs"/>
              </a:rPr>
              <a:t>A peep at some distant orb has power to raise and.</a:t>
            </a:r>
          </a:p>
        </p:txBody>
      </p:sp>
      <p:sp>
        <p:nvSpPr>
          <p:cNvPr id="43" name="TextBox 31">
            <a:extLst>
              <a:ext uri="{FF2B5EF4-FFF2-40B4-BE49-F238E27FC236}">
                <a16:creationId xmlns:a16="http://schemas.microsoft.com/office/drawing/2014/main" id="{D84BDC03-B220-4633-964A-5B5FC0735892}"/>
              </a:ext>
            </a:extLst>
          </p:cNvPr>
          <p:cNvSpPr txBox="1"/>
          <p:nvPr/>
        </p:nvSpPr>
        <p:spPr>
          <a:xfrm>
            <a:off x="9103303" y="2281181"/>
            <a:ext cx="1132208" cy="380480"/>
          </a:xfrm>
          <a:prstGeom prst="rect">
            <a:avLst/>
          </a:prstGeom>
          <a:noFill/>
        </p:spPr>
        <p:txBody>
          <a:bodyPr wrap="square" lIns="0" tIns="36000" rIns="0" bIns="36000" rtlCol="0">
            <a:spAutoFit/>
          </a:bodyPr>
          <a:lstStyle/>
          <a:p>
            <a:pPr marL="0" marR="0" lvl="0" indent="0" algn="l" defTabSz="914400" rtl="0" eaLnBrk="1" fontAlgn="auto" latinLnBrk="0" hangingPunct="1">
              <a:lnSpc>
                <a:spcPct val="100000"/>
              </a:lnSpc>
              <a:spcBef>
                <a:spcPts val="1000"/>
              </a:spcBef>
              <a:spcAft>
                <a:spcPts val="0"/>
              </a:spcAft>
              <a:buClrTx/>
              <a:buSzTx/>
              <a:buFontTx/>
              <a:buNone/>
              <a:tabLst/>
              <a:defRPr/>
            </a:pPr>
            <a:r>
              <a:rPr kumimoji="0" lang="en-US" sz="2000" b="1" i="0" u="none" strike="noStrike" kern="1200" cap="none" spc="0" normalizeH="0" baseline="0" noProof="0" dirty="0">
                <a:ln>
                  <a:noFill/>
                </a:ln>
                <a:solidFill>
                  <a:schemeClr val="accent1"/>
                </a:solidFill>
                <a:effectLst/>
                <a:uLnTx/>
                <a:uFillTx/>
                <a:latin typeface="HarmonyOS Sans SC Black"/>
                <a:ea typeface="+mj-ea"/>
                <a:cs typeface="+mn-cs"/>
              </a:rPr>
              <a:t>30%</a:t>
            </a:r>
          </a:p>
        </p:txBody>
      </p:sp>
      <p:sp>
        <p:nvSpPr>
          <p:cNvPr id="44" name="TextBox 34">
            <a:extLst>
              <a:ext uri="{FF2B5EF4-FFF2-40B4-BE49-F238E27FC236}">
                <a16:creationId xmlns:a16="http://schemas.microsoft.com/office/drawing/2014/main" id="{ED35E534-9805-4337-BAB4-30F047E11A0F}"/>
              </a:ext>
            </a:extLst>
          </p:cNvPr>
          <p:cNvSpPr txBox="1"/>
          <p:nvPr/>
        </p:nvSpPr>
        <p:spPr>
          <a:xfrm>
            <a:off x="9103303" y="4931829"/>
            <a:ext cx="2033009" cy="416067"/>
          </a:xfrm>
          <a:prstGeom prst="rect">
            <a:avLst/>
          </a:prstGeom>
          <a:noFill/>
        </p:spPr>
        <p:txBody>
          <a:bodyPr wrap="square" lIns="0" tIns="36000" rIns="0" bIns="36000" rtlCol="0">
            <a:spAutoFit/>
          </a:bodyPr>
          <a:lstStyle/>
          <a:p>
            <a:pPr marL="0" marR="0" lvl="0" indent="0" algn="l" defTabSz="914400" rtl="0" eaLnBrk="1" fontAlgn="auto" latinLnBrk="0" hangingPunct="1">
              <a:lnSpc>
                <a:spcPct val="130000"/>
              </a:lnSpc>
              <a:spcBef>
                <a:spcPts val="1000"/>
              </a:spcBef>
              <a:spcAft>
                <a:spcPts val="0"/>
              </a:spcAft>
              <a:buClrTx/>
              <a:buSzTx/>
              <a:buFontTx/>
              <a:buNone/>
              <a:tabLst/>
              <a:defRPr/>
            </a:pPr>
            <a:r>
              <a:rPr kumimoji="0" lang="en-US" sz="900" b="0" i="0" u="none" strike="noStrike" kern="1200" cap="none" spc="0" normalizeH="0" baseline="0" noProof="0" dirty="0">
                <a:ln>
                  <a:noFill/>
                </a:ln>
                <a:solidFill>
                  <a:prstClr val="black">
                    <a:lumMod val="50000"/>
                    <a:lumOff val="50000"/>
                  </a:prstClr>
                </a:solidFill>
                <a:effectLst/>
                <a:uLnTx/>
                <a:uFillTx/>
                <a:latin typeface="HarmonyOS Sans SC"/>
                <a:cs typeface="+mn-cs"/>
              </a:rPr>
              <a:t>A peep at some distant orb has power to raise and purify our.</a:t>
            </a:r>
          </a:p>
        </p:txBody>
      </p:sp>
      <p:sp>
        <p:nvSpPr>
          <p:cNvPr id="45" name="TextBox 35">
            <a:extLst>
              <a:ext uri="{FF2B5EF4-FFF2-40B4-BE49-F238E27FC236}">
                <a16:creationId xmlns:a16="http://schemas.microsoft.com/office/drawing/2014/main" id="{70E79365-C23A-4F1D-B648-37F8674FB04A}"/>
              </a:ext>
            </a:extLst>
          </p:cNvPr>
          <p:cNvSpPr txBox="1"/>
          <p:nvPr/>
        </p:nvSpPr>
        <p:spPr>
          <a:xfrm>
            <a:off x="9103303" y="4425883"/>
            <a:ext cx="1132208" cy="380480"/>
          </a:xfrm>
          <a:prstGeom prst="rect">
            <a:avLst/>
          </a:prstGeom>
          <a:noFill/>
        </p:spPr>
        <p:txBody>
          <a:bodyPr wrap="square" lIns="0" tIns="36000" rIns="0" bIns="36000" rtlCol="0">
            <a:spAutoFit/>
          </a:bodyPr>
          <a:lstStyle/>
          <a:p>
            <a:pPr marL="0" marR="0" lvl="0" indent="0" algn="l" defTabSz="914400" rtl="0" eaLnBrk="1" fontAlgn="auto" latinLnBrk="0" hangingPunct="1">
              <a:lnSpc>
                <a:spcPct val="100000"/>
              </a:lnSpc>
              <a:spcBef>
                <a:spcPts val="1000"/>
              </a:spcBef>
              <a:spcAft>
                <a:spcPts val="0"/>
              </a:spcAft>
              <a:buClrTx/>
              <a:buSzTx/>
              <a:buFontTx/>
              <a:buNone/>
              <a:tabLst/>
              <a:defRPr/>
            </a:pPr>
            <a:r>
              <a:rPr kumimoji="0" lang="en-US" sz="2000" b="1" i="0" u="none" strike="noStrike" kern="1200" cap="none" spc="0" normalizeH="0" baseline="0" noProof="0" dirty="0">
                <a:ln>
                  <a:noFill/>
                </a:ln>
                <a:solidFill>
                  <a:schemeClr val="accent1"/>
                </a:solidFill>
                <a:effectLst/>
                <a:uLnTx/>
                <a:uFillTx/>
                <a:latin typeface="HarmonyOS Sans SC Black"/>
                <a:ea typeface="+mj-ea"/>
                <a:cs typeface="+mn-cs"/>
              </a:rPr>
              <a:t>80%</a:t>
            </a:r>
          </a:p>
        </p:txBody>
      </p:sp>
      <p:sp>
        <p:nvSpPr>
          <p:cNvPr id="46" name="TextBox 26">
            <a:extLst>
              <a:ext uri="{FF2B5EF4-FFF2-40B4-BE49-F238E27FC236}">
                <a16:creationId xmlns:a16="http://schemas.microsoft.com/office/drawing/2014/main" id="{883692F5-10AC-442F-B494-37D99DA96F16}"/>
              </a:ext>
            </a:extLst>
          </p:cNvPr>
          <p:cNvSpPr txBox="1"/>
          <p:nvPr/>
        </p:nvSpPr>
        <p:spPr>
          <a:xfrm>
            <a:off x="1052682" y="3481213"/>
            <a:ext cx="2141336" cy="416067"/>
          </a:xfrm>
          <a:prstGeom prst="rect">
            <a:avLst/>
          </a:prstGeom>
          <a:noFill/>
        </p:spPr>
        <p:txBody>
          <a:bodyPr wrap="square" lIns="0" tIns="36000" rIns="0" bIns="36000" rtlCol="0">
            <a:spAutoFit/>
          </a:bodyPr>
          <a:lstStyle/>
          <a:p>
            <a:pPr marL="0" marR="0" lvl="0" indent="0" algn="l" defTabSz="914400" rtl="0" eaLnBrk="1" fontAlgn="auto" latinLnBrk="0" hangingPunct="1">
              <a:lnSpc>
                <a:spcPct val="130000"/>
              </a:lnSpc>
              <a:spcBef>
                <a:spcPts val="1000"/>
              </a:spcBef>
              <a:spcAft>
                <a:spcPts val="0"/>
              </a:spcAft>
              <a:buClrTx/>
              <a:buSzTx/>
              <a:buFontTx/>
              <a:buNone/>
              <a:tabLst/>
              <a:defRPr/>
            </a:pPr>
            <a:r>
              <a:rPr kumimoji="0" lang="en-US" sz="900" b="0" i="0" u="none" strike="noStrike" kern="1200" cap="none" spc="0" normalizeH="0" baseline="0" noProof="0" dirty="0">
                <a:ln>
                  <a:noFill/>
                </a:ln>
                <a:solidFill>
                  <a:prstClr val="black">
                    <a:lumMod val="50000"/>
                    <a:lumOff val="50000"/>
                  </a:prstClr>
                </a:solidFill>
                <a:effectLst/>
                <a:uLnTx/>
                <a:uFillTx/>
                <a:latin typeface="HarmonyOS Sans SC"/>
                <a:cs typeface="+mn-cs"/>
              </a:rPr>
              <a:t>A peep at some distant orb has power to raise and purify.</a:t>
            </a:r>
          </a:p>
        </p:txBody>
      </p:sp>
      <p:sp>
        <p:nvSpPr>
          <p:cNvPr id="47" name="TextBox 27">
            <a:extLst>
              <a:ext uri="{FF2B5EF4-FFF2-40B4-BE49-F238E27FC236}">
                <a16:creationId xmlns:a16="http://schemas.microsoft.com/office/drawing/2014/main" id="{0FF523F1-5FE5-4A7B-BC65-457E4BAEB371}"/>
              </a:ext>
            </a:extLst>
          </p:cNvPr>
          <p:cNvSpPr txBox="1"/>
          <p:nvPr/>
        </p:nvSpPr>
        <p:spPr>
          <a:xfrm>
            <a:off x="1052682" y="2975267"/>
            <a:ext cx="754772" cy="380480"/>
          </a:xfrm>
          <a:prstGeom prst="rect">
            <a:avLst/>
          </a:prstGeom>
          <a:noFill/>
        </p:spPr>
        <p:txBody>
          <a:bodyPr wrap="square" lIns="0" tIns="36000" rIns="0" bIns="36000" rtlCol="0">
            <a:spAutoFit/>
          </a:bodyPr>
          <a:lstStyle/>
          <a:p>
            <a:pPr marL="0" marR="0" lvl="0" indent="0" algn="l" defTabSz="914400" rtl="0" eaLnBrk="1" fontAlgn="auto" latinLnBrk="0" hangingPunct="1">
              <a:lnSpc>
                <a:spcPct val="100000"/>
              </a:lnSpc>
              <a:spcBef>
                <a:spcPts val="1000"/>
              </a:spcBef>
              <a:spcAft>
                <a:spcPts val="0"/>
              </a:spcAft>
              <a:buClrTx/>
              <a:buSzTx/>
              <a:buFontTx/>
              <a:buNone/>
              <a:tabLst/>
              <a:defRPr/>
            </a:pPr>
            <a:r>
              <a:rPr kumimoji="0" lang="en-US" sz="2000" b="1" i="0" u="none" strike="noStrike" kern="1200" cap="none" spc="0" normalizeH="0" baseline="0" noProof="0" dirty="0">
                <a:ln>
                  <a:noFill/>
                </a:ln>
                <a:solidFill>
                  <a:schemeClr val="accent1"/>
                </a:solidFill>
                <a:effectLst/>
                <a:uLnTx/>
                <a:uFillTx/>
                <a:latin typeface="HarmonyOS Sans SC Black"/>
                <a:ea typeface="+mj-ea"/>
                <a:cs typeface="+mn-cs"/>
              </a:rPr>
              <a:t>20%</a:t>
            </a:r>
          </a:p>
        </p:txBody>
      </p:sp>
      <p:sp>
        <p:nvSpPr>
          <p:cNvPr id="48" name="TextBox 26">
            <a:extLst>
              <a:ext uri="{FF2B5EF4-FFF2-40B4-BE49-F238E27FC236}">
                <a16:creationId xmlns:a16="http://schemas.microsoft.com/office/drawing/2014/main" id="{642BB8FC-F093-4C04-A05A-CE2A441280FC}"/>
              </a:ext>
            </a:extLst>
          </p:cNvPr>
          <p:cNvSpPr txBox="1"/>
          <p:nvPr/>
        </p:nvSpPr>
        <p:spPr>
          <a:xfrm>
            <a:off x="1052682" y="5765734"/>
            <a:ext cx="2300118" cy="416067"/>
          </a:xfrm>
          <a:prstGeom prst="rect">
            <a:avLst/>
          </a:prstGeom>
          <a:noFill/>
        </p:spPr>
        <p:txBody>
          <a:bodyPr wrap="square" lIns="0" tIns="36000" rIns="0" bIns="36000" rtlCol="0">
            <a:spAutoFit/>
          </a:bodyPr>
          <a:lstStyle/>
          <a:p>
            <a:pPr marL="0" marR="0" lvl="0" indent="0" algn="l" defTabSz="914400" rtl="0" eaLnBrk="1" fontAlgn="auto" latinLnBrk="0" hangingPunct="1">
              <a:lnSpc>
                <a:spcPct val="130000"/>
              </a:lnSpc>
              <a:spcBef>
                <a:spcPts val="1000"/>
              </a:spcBef>
              <a:spcAft>
                <a:spcPts val="0"/>
              </a:spcAft>
              <a:buClrTx/>
              <a:buSzTx/>
              <a:buFontTx/>
              <a:buNone/>
              <a:tabLst/>
              <a:defRPr/>
            </a:pPr>
            <a:r>
              <a:rPr kumimoji="0" lang="en-US" sz="900" b="0" i="0" u="none" strike="noStrike" kern="1200" cap="none" spc="0" normalizeH="0" baseline="0" noProof="0" dirty="0">
                <a:ln>
                  <a:noFill/>
                </a:ln>
                <a:solidFill>
                  <a:prstClr val="black">
                    <a:lumMod val="50000"/>
                    <a:lumOff val="50000"/>
                  </a:prstClr>
                </a:solidFill>
                <a:effectLst/>
                <a:uLnTx/>
                <a:uFillTx/>
                <a:latin typeface="HarmonyOS Sans SC"/>
                <a:cs typeface="+mn-cs"/>
              </a:rPr>
              <a:t>A peep at some distant orb has power to raise and purify.</a:t>
            </a:r>
          </a:p>
        </p:txBody>
      </p:sp>
      <p:sp>
        <p:nvSpPr>
          <p:cNvPr id="49" name="TextBox 27">
            <a:extLst>
              <a:ext uri="{FF2B5EF4-FFF2-40B4-BE49-F238E27FC236}">
                <a16:creationId xmlns:a16="http://schemas.microsoft.com/office/drawing/2014/main" id="{D0270C7D-3EB1-458B-8887-2F60B5515E51}"/>
              </a:ext>
            </a:extLst>
          </p:cNvPr>
          <p:cNvSpPr txBox="1"/>
          <p:nvPr/>
        </p:nvSpPr>
        <p:spPr>
          <a:xfrm>
            <a:off x="1052682" y="5259788"/>
            <a:ext cx="754772" cy="380480"/>
          </a:xfrm>
          <a:prstGeom prst="rect">
            <a:avLst/>
          </a:prstGeom>
          <a:noFill/>
        </p:spPr>
        <p:txBody>
          <a:bodyPr wrap="square" lIns="0" tIns="36000" rIns="0" bIns="36000" rtlCol="0">
            <a:spAutoFit/>
          </a:bodyPr>
          <a:lstStyle/>
          <a:p>
            <a:pPr marL="0" marR="0" lvl="0" indent="0" algn="l" defTabSz="914400" rtl="0" eaLnBrk="1" fontAlgn="auto" latinLnBrk="0" hangingPunct="1">
              <a:lnSpc>
                <a:spcPct val="100000"/>
              </a:lnSpc>
              <a:spcBef>
                <a:spcPts val="1000"/>
              </a:spcBef>
              <a:spcAft>
                <a:spcPts val="0"/>
              </a:spcAft>
              <a:buClrTx/>
              <a:buSzTx/>
              <a:buFontTx/>
              <a:buNone/>
              <a:tabLst/>
              <a:defRPr/>
            </a:pPr>
            <a:r>
              <a:rPr kumimoji="0" lang="en-US" sz="2000" b="1" i="0" u="none" strike="noStrike" kern="1200" cap="none" spc="0" normalizeH="0" baseline="0" noProof="0" dirty="0">
                <a:ln>
                  <a:noFill/>
                </a:ln>
                <a:solidFill>
                  <a:schemeClr val="accent1"/>
                </a:solidFill>
                <a:effectLst/>
                <a:uLnTx/>
                <a:uFillTx/>
                <a:latin typeface="HarmonyOS Sans SC Black"/>
                <a:ea typeface="+mj-ea"/>
                <a:cs typeface="+mn-cs"/>
              </a:rPr>
              <a:t>60%</a:t>
            </a:r>
          </a:p>
        </p:txBody>
      </p:sp>
    </p:spTree>
    <p:extLst>
      <p:ext uri="{BB962C8B-B14F-4D97-AF65-F5344CB8AC3E}">
        <p14:creationId xmlns:p14="http://schemas.microsoft.com/office/powerpoint/2010/main" val="1779052895"/>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4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pecial…">
            <a:extLst>
              <a:ext uri="{FF2B5EF4-FFF2-40B4-BE49-F238E27FC236}">
                <a16:creationId xmlns:a16="http://schemas.microsoft.com/office/drawing/2014/main" id="{7A54A7F5-D887-4A72-AA31-B6536C78B548}"/>
              </a:ext>
            </a:extLst>
          </p:cNvPr>
          <p:cNvSpPr txBox="1"/>
          <p:nvPr/>
        </p:nvSpPr>
        <p:spPr>
          <a:xfrm>
            <a:off x="5518118" y="3145249"/>
            <a:ext cx="1155766" cy="584712"/>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anchor="ctr">
            <a:spAutoFit/>
          </a:bodyPr>
          <a:lstStyle/>
          <a:p>
            <a:pPr marL="0" marR="0" lvl="0" indent="0" algn="ctr" defTabSz="412750" rtl="0" eaLnBrk="1" fontAlgn="auto" latinLnBrk="0" hangingPunct="0">
              <a:lnSpc>
                <a:spcPct val="150000"/>
              </a:lnSpc>
              <a:spcBef>
                <a:spcPts val="0"/>
              </a:spcBef>
              <a:spcAft>
                <a:spcPts val="0"/>
              </a:spcAft>
              <a:buClrTx/>
              <a:buSzTx/>
              <a:buFontTx/>
              <a:buNone/>
              <a:tabLst/>
              <a:defRPr sz="2400" b="0">
                <a:solidFill>
                  <a:srgbClr val="F6F9FF"/>
                </a:solidFill>
                <a:latin typeface="Poppins Bold"/>
                <a:ea typeface="Poppins Bold"/>
                <a:cs typeface="Poppins Bold"/>
                <a:sym typeface="Poppins Bold"/>
              </a:defRPr>
            </a:pPr>
            <a:r>
              <a:rPr kumimoji="0" sz="1600" b="0" i="0" u="none" strike="noStrike" kern="0" cap="none" spc="0" normalizeH="0" baseline="0" noProof="0" dirty="0">
                <a:ln>
                  <a:noFill/>
                </a:ln>
                <a:solidFill>
                  <a:prstClr val="black">
                    <a:lumMod val="75000"/>
                    <a:lumOff val="25000"/>
                  </a:prstClr>
                </a:solidFill>
                <a:effectLst/>
                <a:uLnTx/>
                <a:uFillTx/>
                <a:latin typeface="HarmonyOS Sans SC Black"/>
                <a:ea typeface="+mj-ea"/>
                <a:cs typeface="Poppins Bold"/>
                <a:sym typeface="Poppins Bold"/>
              </a:rPr>
              <a:t>Special</a:t>
            </a:r>
          </a:p>
          <a:p>
            <a:pPr marL="0" marR="0" lvl="0" indent="0" algn="ctr" defTabSz="412750" rtl="0" eaLnBrk="1" fontAlgn="auto" latinLnBrk="0" hangingPunct="0">
              <a:lnSpc>
                <a:spcPct val="150000"/>
              </a:lnSpc>
              <a:spcBef>
                <a:spcPts val="0"/>
              </a:spcBef>
              <a:spcAft>
                <a:spcPts val="0"/>
              </a:spcAft>
              <a:buClrTx/>
              <a:buSzTx/>
              <a:buFontTx/>
              <a:buNone/>
              <a:tabLst/>
              <a:defRPr sz="1800" b="0">
                <a:solidFill>
                  <a:srgbClr val="C8CBD1"/>
                </a:solidFill>
                <a:latin typeface="Poppins Light"/>
                <a:ea typeface="Poppins Light"/>
                <a:cs typeface="Poppins Light"/>
                <a:sym typeface="Poppins Light"/>
              </a:defRPr>
            </a:pPr>
            <a:r>
              <a:rPr kumimoji="0" sz="1050" b="0" i="0" u="none" strike="noStrike" kern="0" cap="none" spc="0" normalizeH="0" baseline="0" noProof="0" dirty="0">
                <a:ln>
                  <a:noFill/>
                </a:ln>
                <a:solidFill>
                  <a:prstClr val="black">
                    <a:lumMod val="75000"/>
                    <a:lumOff val="25000"/>
                  </a:prstClr>
                </a:solidFill>
                <a:effectLst/>
                <a:uLnTx/>
                <a:uFillTx/>
                <a:latin typeface="HarmonyOS Sans SC Black"/>
                <a:ea typeface="+mj-ea"/>
                <a:cs typeface="Poppins Light"/>
                <a:sym typeface="Poppins Light"/>
              </a:rPr>
              <a:t>Main Department</a:t>
            </a:r>
          </a:p>
        </p:txBody>
      </p:sp>
      <p:sp>
        <p:nvSpPr>
          <p:cNvPr id="4" name="Freeform 27">
            <a:extLst>
              <a:ext uri="{FF2B5EF4-FFF2-40B4-BE49-F238E27FC236}">
                <a16:creationId xmlns:a16="http://schemas.microsoft.com/office/drawing/2014/main" id="{ACECB05E-6904-4C9E-B104-BF3A62E0FC9C}"/>
              </a:ext>
            </a:extLst>
          </p:cNvPr>
          <p:cNvSpPr/>
          <p:nvPr/>
        </p:nvSpPr>
        <p:spPr>
          <a:xfrm>
            <a:off x="5483294" y="1712844"/>
            <a:ext cx="1225806" cy="1037057"/>
          </a:xfrm>
          <a:custGeom>
            <a:avLst/>
            <a:gdLst/>
            <a:ahLst/>
            <a:cxnLst>
              <a:cxn ang="0">
                <a:pos x="wd2" y="hd2"/>
              </a:cxn>
              <a:cxn ang="5400000">
                <a:pos x="wd2" y="hd2"/>
              </a:cxn>
              <a:cxn ang="10800000">
                <a:pos x="wd2" y="hd2"/>
              </a:cxn>
              <a:cxn ang="16200000">
                <a:pos x="wd2" y="hd2"/>
              </a:cxn>
            </a:cxnLst>
            <a:rect l="0" t="0" r="r" b="b"/>
            <a:pathLst>
              <a:path w="20831" h="20585" extrusionOk="0">
                <a:moveTo>
                  <a:pt x="20831" y="17147"/>
                </a:moveTo>
                <a:cubicBezTo>
                  <a:pt x="20780" y="16969"/>
                  <a:pt x="20679" y="16792"/>
                  <a:pt x="20629" y="16614"/>
                </a:cubicBezTo>
                <a:cubicBezTo>
                  <a:pt x="17037" y="9868"/>
                  <a:pt x="17037" y="9868"/>
                  <a:pt x="17037" y="9868"/>
                </a:cubicBezTo>
                <a:cubicBezTo>
                  <a:pt x="12535" y="1287"/>
                  <a:pt x="12535" y="1287"/>
                  <a:pt x="12535" y="1287"/>
                </a:cubicBezTo>
                <a:cubicBezTo>
                  <a:pt x="11624" y="-429"/>
                  <a:pt x="9298" y="-429"/>
                  <a:pt x="8387" y="1287"/>
                </a:cubicBezTo>
                <a:cubicBezTo>
                  <a:pt x="3885" y="9868"/>
                  <a:pt x="3885" y="9868"/>
                  <a:pt x="3885" y="9868"/>
                </a:cubicBezTo>
                <a:cubicBezTo>
                  <a:pt x="344" y="16614"/>
                  <a:pt x="344" y="16614"/>
                  <a:pt x="344" y="16614"/>
                </a:cubicBezTo>
                <a:cubicBezTo>
                  <a:pt x="-769" y="18686"/>
                  <a:pt x="1001" y="21171"/>
                  <a:pt x="3075" y="20461"/>
                </a:cubicBezTo>
                <a:cubicBezTo>
                  <a:pt x="9803" y="18271"/>
                  <a:pt x="9803" y="18271"/>
                  <a:pt x="9803" y="18271"/>
                </a:cubicBezTo>
                <a:cubicBezTo>
                  <a:pt x="9854" y="18271"/>
                  <a:pt x="9905" y="18212"/>
                  <a:pt x="10006" y="18212"/>
                </a:cubicBezTo>
                <a:cubicBezTo>
                  <a:pt x="17998" y="15727"/>
                  <a:pt x="17998" y="15727"/>
                  <a:pt x="17998" y="15727"/>
                </a:cubicBezTo>
                <a:cubicBezTo>
                  <a:pt x="19212" y="15372"/>
                  <a:pt x="20325" y="16023"/>
                  <a:pt x="20831" y="17147"/>
                </a:cubicBezTo>
                <a:close/>
              </a:path>
            </a:pathLst>
          </a:custGeom>
          <a:gradFill>
            <a:gsLst>
              <a:gs pos="73000">
                <a:schemeClr val="accent1"/>
              </a:gs>
              <a:gs pos="31000">
                <a:schemeClr val="accent1">
                  <a:lumMod val="60000"/>
                  <a:lumOff val="40000"/>
                </a:schemeClr>
              </a:gs>
              <a:gs pos="0">
                <a:schemeClr val="accent1">
                  <a:lumMod val="40000"/>
                  <a:lumOff val="60000"/>
                </a:schemeClr>
              </a:gs>
            </a:gsLst>
            <a:path path="circle">
              <a:fillToRect r="100000" b="100000"/>
            </a:path>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HarmonyOS Sans SC Black"/>
              <a:ea typeface="+mj-ea"/>
              <a:cs typeface="+mn-cs"/>
              <a:sym typeface="Poppins Regular"/>
            </a:endParaRPr>
          </a:p>
        </p:txBody>
      </p:sp>
      <p:sp>
        <p:nvSpPr>
          <p:cNvPr id="5" name="Freeform 28">
            <a:extLst>
              <a:ext uri="{FF2B5EF4-FFF2-40B4-BE49-F238E27FC236}">
                <a16:creationId xmlns:a16="http://schemas.microsoft.com/office/drawing/2014/main" id="{7965A47A-767E-41B0-9672-A6DF3C22C643}"/>
              </a:ext>
            </a:extLst>
          </p:cNvPr>
          <p:cNvSpPr/>
          <p:nvPr/>
        </p:nvSpPr>
        <p:spPr>
          <a:xfrm>
            <a:off x="6071880" y="2500709"/>
            <a:ext cx="643545" cy="248809"/>
          </a:xfrm>
          <a:custGeom>
            <a:avLst/>
            <a:gdLst/>
            <a:ahLst/>
            <a:cxnLst>
              <a:cxn ang="0">
                <a:pos x="wd2" y="hd2"/>
              </a:cxn>
              <a:cxn ang="5400000">
                <a:pos x="wd2" y="hd2"/>
              </a:cxn>
              <a:cxn ang="10800000">
                <a:pos x="wd2" y="hd2"/>
              </a:cxn>
              <a:cxn ang="16200000">
                <a:pos x="wd2" y="hd2"/>
              </a:cxn>
            </a:cxnLst>
            <a:rect l="0" t="0" r="r" b="b"/>
            <a:pathLst>
              <a:path w="20755" h="18640" extrusionOk="0">
                <a:moveTo>
                  <a:pt x="15168" y="365"/>
                </a:moveTo>
                <a:cubicBezTo>
                  <a:pt x="0" y="9718"/>
                  <a:pt x="0" y="9718"/>
                  <a:pt x="0" y="9718"/>
                </a:cubicBezTo>
                <a:cubicBezTo>
                  <a:pt x="672" y="9272"/>
                  <a:pt x="1440" y="9495"/>
                  <a:pt x="2208" y="9940"/>
                </a:cubicBezTo>
                <a:cubicBezTo>
                  <a:pt x="14880" y="18180"/>
                  <a:pt x="14880" y="18180"/>
                  <a:pt x="14880" y="18180"/>
                </a:cubicBezTo>
                <a:cubicBezTo>
                  <a:pt x="18528" y="20629"/>
                  <a:pt x="21600" y="12835"/>
                  <a:pt x="20544" y="5709"/>
                </a:cubicBezTo>
                <a:cubicBezTo>
                  <a:pt x="19584" y="1478"/>
                  <a:pt x="17472" y="-971"/>
                  <a:pt x="15168" y="365"/>
                </a:cubicBezTo>
                <a:close/>
              </a:path>
            </a:pathLst>
          </a:custGeom>
          <a:solidFill>
            <a:schemeClr val="accent1">
              <a:lumMod val="75000"/>
            </a:schemeClr>
          </a:solidFill>
          <a:ln w="12700" cap="flat">
            <a:noFill/>
            <a:miter lim="400000"/>
          </a:ln>
          <a:effectLst/>
        </p:spPr>
        <p:txBody>
          <a:bodyPr wrap="square" lIns="22860" tIns="22860" rIns="22860" bIns="2286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800" b="0">
                <a:latin typeface="Poppins Regular"/>
                <a:ea typeface="Poppins Regular"/>
                <a:cs typeface="Poppins Regular"/>
                <a:sym typeface="Poppins Regular"/>
              </a:defRPr>
            </a:pPr>
            <a:endParaRPr kumimoji="0" sz="900" b="0" i="0" u="none" strike="noStrike" kern="0" cap="none" spc="0" normalizeH="0" baseline="0" noProof="0">
              <a:ln>
                <a:noFill/>
              </a:ln>
              <a:solidFill>
                <a:srgbClr val="000000"/>
              </a:solidFill>
              <a:effectLst/>
              <a:uLnTx/>
              <a:uFillTx/>
              <a:latin typeface="HarmonyOS Sans SC Black"/>
              <a:ea typeface="+mj-ea"/>
              <a:cs typeface="Poppins Regular"/>
              <a:sym typeface="Poppins Regular"/>
            </a:endParaRPr>
          </a:p>
        </p:txBody>
      </p:sp>
      <p:sp>
        <p:nvSpPr>
          <p:cNvPr id="6" name="Z">
            <a:extLst>
              <a:ext uri="{FF2B5EF4-FFF2-40B4-BE49-F238E27FC236}">
                <a16:creationId xmlns:a16="http://schemas.microsoft.com/office/drawing/2014/main" id="{428AD736-B3A5-4DD5-9C5B-3C0A4492A985}"/>
              </a:ext>
            </a:extLst>
          </p:cNvPr>
          <p:cNvSpPr txBox="1"/>
          <p:nvPr/>
        </p:nvSpPr>
        <p:spPr>
          <a:xfrm>
            <a:off x="6009439" y="1945983"/>
            <a:ext cx="173125" cy="461601"/>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numCol="1" anchor="ctr">
            <a:spAutoFit/>
          </a:bodyPr>
          <a:lstStyle>
            <a:lvl1pPr defTabSz="914400">
              <a:lnSpc>
                <a:spcPct val="150000"/>
              </a:lnSpc>
              <a:tabLst>
                <a:tab pos="1384300" algn="l"/>
              </a:tabLst>
              <a:defRPr sz="4500" b="0">
                <a:solidFill>
                  <a:srgbClr val="F7F9FF"/>
                </a:solidFill>
                <a:latin typeface="linea-basic-10"/>
                <a:ea typeface="linea-basic-10"/>
                <a:cs typeface="linea-basic-10"/>
                <a:sym typeface="linea-basic-10"/>
              </a:defRPr>
            </a:lvl1pPr>
          </a:lstStyle>
          <a:p>
            <a:pPr marL="0" marR="0" lvl="0" indent="0" algn="ctr" defTabSz="457200" rtl="0" eaLnBrk="1" fontAlgn="auto" latinLnBrk="0" hangingPunct="0">
              <a:lnSpc>
                <a:spcPct val="150000"/>
              </a:lnSpc>
              <a:spcBef>
                <a:spcPts val="0"/>
              </a:spcBef>
              <a:spcAft>
                <a:spcPts val="0"/>
              </a:spcAft>
              <a:buClrTx/>
              <a:buSzTx/>
              <a:buFontTx/>
              <a:buNone/>
              <a:tabLst>
                <a:tab pos="692150" algn="l"/>
              </a:tabLst>
              <a:defRPr/>
            </a:pPr>
            <a:r>
              <a:rPr kumimoji="0" sz="2250" b="0" i="0" u="none" strike="noStrike" kern="0" cap="none" spc="0" normalizeH="0" baseline="0" noProof="0">
                <a:ln>
                  <a:noFill/>
                </a:ln>
                <a:solidFill>
                  <a:srgbClr val="F7F9FF"/>
                </a:solidFill>
                <a:effectLst/>
                <a:uLnTx/>
                <a:uFillTx/>
                <a:latin typeface="HarmonyOS Sans SC Black"/>
                <a:ea typeface="+mj-ea"/>
                <a:sym typeface="linea-basic-10"/>
              </a:rPr>
              <a:t>Z</a:t>
            </a:r>
          </a:p>
        </p:txBody>
      </p:sp>
      <p:sp>
        <p:nvSpPr>
          <p:cNvPr id="8" name="Freeform 21">
            <a:extLst>
              <a:ext uri="{FF2B5EF4-FFF2-40B4-BE49-F238E27FC236}">
                <a16:creationId xmlns:a16="http://schemas.microsoft.com/office/drawing/2014/main" id="{F7A8F78E-8E56-4BAD-AB54-34E5E3A01AA2}"/>
              </a:ext>
            </a:extLst>
          </p:cNvPr>
          <p:cNvSpPr/>
          <p:nvPr/>
        </p:nvSpPr>
        <p:spPr>
          <a:xfrm>
            <a:off x="6775693" y="2815809"/>
            <a:ext cx="1034808" cy="1227969"/>
          </a:xfrm>
          <a:custGeom>
            <a:avLst/>
            <a:gdLst/>
            <a:ahLst/>
            <a:cxnLst>
              <a:cxn ang="0">
                <a:pos x="wd2" y="hd2"/>
              </a:cxn>
              <a:cxn ang="5400000">
                <a:pos x="wd2" y="hd2"/>
              </a:cxn>
              <a:cxn ang="10800000">
                <a:pos x="wd2" y="hd2"/>
              </a:cxn>
              <a:cxn ang="16200000">
                <a:pos x="wd2" y="hd2"/>
              </a:cxn>
            </a:cxnLst>
            <a:rect l="0" t="0" r="r" b="b"/>
            <a:pathLst>
              <a:path w="20625" h="20831" extrusionOk="0">
                <a:moveTo>
                  <a:pt x="3431" y="20831"/>
                </a:moveTo>
                <a:cubicBezTo>
                  <a:pt x="3609" y="20780"/>
                  <a:pt x="3787" y="20679"/>
                  <a:pt x="3965" y="20629"/>
                </a:cubicBezTo>
                <a:cubicBezTo>
                  <a:pt x="10730" y="17037"/>
                  <a:pt x="10730" y="17037"/>
                  <a:pt x="10730" y="17037"/>
                </a:cubicBezTo>
                <a:cubicBezTo>
                  <a:pt x="19334" y="12535"/>
                  <a:pt x="19334" y="12535"/>
                  <a:pt x="19334" y="12535"/>
                </a:cubicBezTo>
                <a:cubicBezTo>
                  <a:pt x="21055" y="11624"/>
                  <a:pt x="21055" y="9348"/>
                  <a:pt x="19334" y="8387"/>
                </a:cubicBezTo>
                <a:cubicBezTo>
                  <a:pt x="10730" y="3885"/>
                  <a:pt x="10730" y="3885"/>
                  <a:pt x="10730" y="3885"/>
                </a:cubicBezTo>
                <a:cubicBezTo>
                  <a:pt x="3965" y="344"/>
                  <a:pt x="3965" y="344"/>
                  <a:pt x="3965" y="344"/>
                </a:cubicBezTo>
                <a:cubicBezTo>
                  <a:pt x="1888" y="-769"/>
                  <a:pt x="-545" y="1001"/>
                  <a:pt x="108" y="3075"/>
                </a:cubicBezTo>
                <a:cubicBezTo>
                  <a:pt x="2303" y="9803"/>
                  <a:pt x="2303" y="9803"/>
                  <a:pt x="2303" y="9803"/>
                </a:cubicBezTo>
                <a:cubicBezTo>
                  <a:pt x="2363" y="9854"/>
                  <a:pt x="2363" y="9905"/>
                  <a:pt x="2363" y="10006"/>
                </a:cubicBezTo>
                <a:cubicBezTo>
                  <a:pt x="4855" y="17998"/>
                  <a:pt x="4855" y="17998"/>
                  <a:pt x="4855" y="17998"/>
                </a:cubicBezTo>
                <a:cubicBezTo>
                  <a:pt x="5211" y="19212"/>
                  <a:pt x="4558" y="20325"/>
                  <a:pt x="3431" y="20831"/>
                </a:cubicBezTo>
                <a:close/>
              </a:path>
            </a:pathLst>
          </a:custGeom>
          <a:gradFill>
            <a:gsLst>
              <a:gs pos="73000">
                <a:schemeClr val="accent1"/>
              </a:gs>
              <a:gs pos="31000">
                <a:schemeClr val="accent1">
                  <a:lumMod val="60000"/>
                  <a:lumOff val="40000"/>
                </a:schemeClr>
              </a:gs>
              <a:gs pos="0">
                <a:schemeClr val="accent1">
                  <a:lumMod val="40000"/>
                  <a:lumOff val="60000"/>
                </a:schemeClr>
              </a:gs>
            </a:gsLst>
            <a:path path="circle">
              <a:fillToRect r="100000" b="100000"/>
            </a:path>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HarmonyOS Sans SC Black"/>
              <a:ea typeface="+mj-ea"/>
              <a:cs typeface="+mn-cs"/>
              <a:sym typeface="Poppins Regular"/>
            </a:endParaRPr>
          </a:p>
        </p:txBody>
      </p:sp>
      <p:sp>
        <p:nvSpPr>
          <p:cNvPr id="9" name="Freeform 22">
            <a:extLst>
              <a:ext uri="{FF2B5EF4-FFF2-40B4-BE49-F238E27FC236}">
                <a16:creationId xmlns:a16="http://schemas.microsoft.com/office/drawing/2014/main" id="{07D31492-6DB7-448F-B9F8-7376B32B1E20}"/>
              </a:ext>
            </a:extLst>
          </p:cNvPr>
          <p:cNvSpPr/>
          <p:nvPr/>
        </p:nvSpPr>
        <p:spPr>
          <a:xfrm>
            <a:off x="6774919" y="3405437"/>
            <a:ext cx="248809" cy="644623"/>
          </a:xfrm>
          <a:custGeom>
            <a:avLst/>
            <a:gdLst/>
            <a:ahLst/>
            <a:cxnLst>
              <a:cxn ang="0">
                <a:pos x="wd2" y="hd2"/>
              </a:cxn>
              <a:cxn ang="5400000">
                <a:pos x="wd2" y="hd2"/>
              </a:cxn>
              <a:cxn ang="10800000">
                <a:pos x="wd2" y="hd2"/>
              </a:cxn>
              <a:cxn ang="16200000">
                <a:pos x="wd2" y="hd2"/>
              </a:cxn>
            </a:cxnLst>
            <a:rect l="0" t="0" r="r" b="b"/>
            <a:pathLst>
              <a:path w="18640" h="20755" extrusionOk="0">
                <a:moveTo>
                  <a:pt x="18275" y="15168"/>
                </a:moveTo>
                <a:cubicBezTo>
                  <a:pt x="8922" y="0"/>
                  <a:pt x="8922" y="0"/>
                  <a:pt x="8922" y="0"/>
                </a:cubicBezTo>
                <a:cubicBezTo>
                  <a:pt x="9368" y="672"/>
                  <a:pt x="9145" y="1440"/>
                  <a:pt x="8700" y="2208"/>
                </a:cubicBezTo>
                <a:cubicBezTo>
                  <a:pt x="460" y="14880"/>
                  <a:pt x="460" y="14880"/>
                  <a:pt x="460" y="14880"/>
                </a:cubicBezTo>
                <a:cubicBezTo>
                  <a:pt x="-1989" y="18528"/>
                  <a:pt x="5805" y="21600"/>
                  <a:pt x="12931" y="20544"/>
                </a:cubicBezTo>
                <a:cubicBezTo>
                  <a:pt x="17162" y="19584"/>
                  <a:pt x="19611" y="17472"/>
                  <a:pt x="18275" y="15168"/>
                </a:cubicBezTo>
                <a:close/>
              </a:path>
            </a:pathLst>
          </a:custGeom>
          <a:solidFill>
            <a:schemeClr val="accent1">
              <a:lumMod val="75000"/>
            </a:schemeClr>
          </a:solidFill>
          <a:ln w="12700" cap="flat">
            <a:noFill/>
            <a:miter lim="400000"/>
          </a:ln>
          <a:effectLst/>
        </p:spPr>
        <p:txBody>
          <a:bodyPr wrap="square" lIns="22860" tIns="22860" rIns="22860" bIns="2286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800" b="0">
                <a:latin typeface="Poppins Regular"/>
                <a:ea typeface="Poppins Regular"/>
                <a:cs typeface="Poppins Regular"/>
                <a:sym typeface="Poppins Regular"/>
              </a:defRPr>
            </a:pPr>
            <a:endParaRPr kumimoji="0" sz="900" b="0" i="0" u="none" strike="noStrike" kern="0" cap="none" spc="0" normalizeH="0" baseline="0" noProof="0">
              <a:ln>
                <a:noFill/>
              </a:ln>
              <a:solidFill>
                <a:srgbClr val="000000"/>
              </a:solidFill>
              <a:effectLst/>
              <a:uLnTx/>
              <a:uFillTx/>
              <a:latin typeface="HarmonyOS Sans SC Black"/>
              <a:ea typeface="+mj-ea"/>
              <a:cs typeface="Poppins Regular"/>
              <a:sym typeface="Poppins Regular"/>
            </a:endParaRPr>
          </a:p>
        </p:txBody>
      </p:sp>
      <p:sp>
        <p:nvSpPr>
          <p:cNvPr id="10" name="P">
            <a:extLst>
              <a:ext uri="{FF2B5EF4-FFF2-40B4-BE49-F238E27FC236}">
                <a16:creationId xmlns:a16="http://schemas.microsoft.com/office/drawing/2014/main" id="{BE75760D-23FF-460B-824D-CE4D62B17D1C}"/>
              </a:ext>
            </a:extLst>
          </p:cNvPr>
          <p:cNvSpPr txBox="1"/>
          <p:nvPr/>
        </p:nvSpPr>
        <p:spPr>
          <a:xfrm>
            <a:off x="7198520" y="3198200"/>
            <a:ext cx="189155" cy="461601"/>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numCol="1" anchor="ctr">
            <a:spAutoFit/>
          </a:bodyPr>
          <a:lstStyle>
            <a:lvl1pPr defTabSz="914400">
              <a:lnSpc>
                <a:spcPct val="150000"/>
              </a:lnSpc>
              <a:tabLst>
                <a:tab pos="1384300" algn="l"/>
              </a:tabLst>
              <a:defRPr sz="4500" b="0">
                <a:solidFill>
                  <a:srgbClr val="F7F9FF"/>
                </a:solidFill>
                <a:latin typeface="linea-basic-10"/>
                <a:ea typeface="linea-basic-10"/>
                <a:cs typeface="linea-basic-10"/>
                <a:sym typeface="linea-basic-10"/>
              </a:defRPr>
            </a:lvl1pPr>
          </a:lstStyle>
          <a:p>
            <a:pPr marL="0" marR="0" lvl="0" indent="0" algn="ctr" defTabSz="457200" rtl="0" eaLnBrk="1" fontAlgn="auto" latinLnBrk="0" hangingPunct="0">
              <a:lnSpc>
                <a:spcPct val="150000"/>
              </a:lnSpc>
              <a:spcBef>
                <a:spcPts val="0"/>
              </a:spcBef>
              <a:spcAft>
                <a:spcPts val="0"/>
              </a:spcAft>
              <a:buClrTx/>
              <a:buSzTx/>
              <a:buFontTx/>
              <a:buNone/>
              <a:tabLst>
                <a:tab pos="692150" algn="l"/>
              </a:tabLst>
              <a:defRPr/>
            </a:pPr>
            <a:r>
              <a:rPr kumimoji="0" sz="2250" b="0" i="0" u="none" strike="noStrike" kern="0" cap="none" spc="0" normalizeH="0" baseline="0" noProof="0">
                <a:ln>
                  <a:noFill/>
                </a:ln>
                <a:solidFill>
                  <a:srgbClr val="F7F9FF"/>
                </a:solidFill>
                <a:effectLst/>
                <a:uLnTx/>
                <a:uFillTx/>
                <a:latin typeface="HarmonyOS Sans SC Black"/>
                <a:ea typeface="+mj-ea"/>
                <a:sym typeface="linea-basic-10"/>
              </a:rPr>
              <a:t>P</a:t>
            </a:r>
          </a:p>
        </p:txBody>
      </p:sp>
      <p:sp>
        <p:nvSpPr>
          <p:cNvPr id="12" name="Freeform 23">
            <a:extLst>
              <a:ext uri="{FF2B5EF4-FFF2-40B4-BE49-F238E27FC236}">
                <a16:creationId xmlns:a16="http://schemas.microsoft.com/office/drawing/2014/main" id="{4F07A8CF-E671-4A6A-8CC7-ED8AD210F20C}"/>
              </a:ext>
            </a:extLst>
          </p:cNvPr>
          <p:cNvSpPr/>
          <p:nvPr/>
        </p:nvSpPr>
        <p:spPr>
          <a:xfrm>
            <a:off x="5482901" y="4109278"/>
            <a:ext cx="1225805" cy="1035879"/>
          </a:xfrm>
          <a:custGeom>
            <a:avLst/>
            <a:gdLst/>
            <a:ahLst/>
            <a:cxnLst>
              <a:cxn ang="0">
                <a:pos x="wd2" y="hd2"/>
              </a:cxn>
              <a:cxn ang="5400000">
                <a:pos x="wd2" y="hd2"/>
              </a:cxn>
              <a:cxn ang="10800000">
                <a:pos x="wd2" y="hd2"/>
              </a:cxn>
              <a:cxn ang="16200000">
                <a:pos x="wd2" y="hd2"/>
              </a:cxn>
            </a:cxnLst>
            <a:rect l="0" t="0" r="r" b="b"/>
            <a:pathLst>
              <a:path w="20831" h="20625" extrusionOk="0">
                <a:moveTo>
                  <a:pt x="0" y="3431"/>
                </a:moveTo>
                <a:cubicBezTo>
                  <a:pt x="51" y="3609"/>
                  <a:pt x="152" y="3787"/>
                  <a:pt x="202" y="3965"/>
                </a:cubicBezTo>
                <a:cubicBezTo>
                  <a:pt x="3794" y="10730"/>
                  <a:pt x="3794" y="10730"/>
                  <a:pt x="3794" y="10730"/>
                </a:cubicBezTo>
                <a:cubicBezTo>
                  <a:pt x="8296" y="19334"/>
                  <a:pt x="8296" y="19334"/>
                  <a:pt x="8296" y="19334"/>
                </a:cubicBezTo>
                <a:cubicBezTo>
                  <a:pt x="9207" y="21055"/>
                  <a:pt x="11533" y="21055"/>
                  <a:pt x="12444" y="19334"/>
                </a:cubicBezTo>
                <a:cubicBezTo>
                  <a:pt x="16946" y="10730"/>
                  <a:pt x="16946" y="10730"/>
                  <a:pt x="16946" y="10730"/>
                </a:cubicBezTo>
                <a:cubicBezTo>
                  <a:pt x="20487" y="3965"/>
                  <a:pt x="20487" y="3965"/>
                  <a:pt x="20487" y="3965"/>
                </a:cubicBezTo>
                <a:cubicBezTo>
                  <a:pt x="21600" y="1888"/>
                  <a:pt x="19830" y="-545"/>
                  <a:pt x="17756" y="108"/>
                </a:cubicBezTo>
                <a:cubicBezTo>
                  <a:pt x="11028" y="2303"/>
                  <a:pt x="11028" y="2303"/>
                  <a:pt x="11028" y="2303"/>
                </a:cubicBezTo>
                <a:cubicBezTo>
                  <a:pt x="10977" y="2363"/>
                  <a:pt x="10926" y="2363"/>
                  <a:pt x="10825" y="2363"/>
                </a:cubicBezTo>
                <a:cubicBezTo>
                  <a:pt x="2833" y="4855"/>
                  <a:pt x="2833" y="4855"/>
                  <a:pt x="2833" y="4855"/>
                </a:cubicBezTo>
                <a:cubicBezTo>
                  <a:pt x="1619" y="5270"/>
                  <a:pt x="506" y="4558"/>
                  <a:pt x="0" y="3431"/>
                </a:cubicBezTo>
                <a:close/>
              </a:path>
            </a:pathLst>
          </a:custGeom>
          <a:gradFill>
            <a:gsLst>
              <a:gs pos="73000">
                <a:schemeClr val="accent1"/>
              </a:gs>
              <a:gs pos="31000">
                <a:schemeClr val="accent1">
                  <a:lumMod val="60000"/>
                  <a:lumOff val="40000"/>
                </a:schemeClr>
              </a:gs>
              <a:gs pos="0">
                <a:schemeClr val="accent1">
                  <a:lumMod val="40000"/>
                  <a:lumOff val="60000"/>
                </a:schemeClr>
              </a:gs>
            </a:gsLst>
            <a:path path="circle">
              <a:fillToRect r="100000" b="100000"/>
            </a:path>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HarmonyOS Sans SC Black"/>
              <a:ea typeface="+mj-ea"/>
              <a:cs typeface="+mn-cs"/>
              <a:sym typeface="Poppins Regular"/>
            </a:endParaRPr>
          </a:p>
        </p:txBody>
      </p:sp>
      <p:sp>
        <p:nvSpPr>
          <p:cNvPr id="13" name="Freeform 24">
            <a:extLst>
              <a:ext uri="{FF2B5EF4-FFF2-40B4-BE49-F238E27FC236}">
                <a16:creationId xmlns:a16="http://schemas.microsoft.com/office/drawing/2014/main" id="{151C0B2E-46D5-475C-8964-AA6B747B6F2B}"/>
              </a:ext>
            </a:extLst>
          </p:cNvPr>
          <p:cNvSpPr/>
          <p:nvPr/>
        </p:nvSpPr>
        <p:spPr>
          <a:xfrm>
            <a:off x="5475498" y="4109723"/>
            <a:ext cx="644623" cy="249071"/>
          </a:xfrm>
          <a:custGeom>
            <a:avLst/>
            <a:gdLst/>
            <a:ahLst/>
            <a:cxnLst>
              <a:cxn ang="0">
                <a:pos x="wd2" y="hd2"/>
              </a:cxn>
              <a:cxn ang="5400000">
                <a:pos x="wd2" y="hd2"/>
              </a:cxn>
              <a:cxn ang="10800000">
                <a:pos x="wd2" y="hd2"/>
              </a:cxn>
              <a:cxn ang="16200000">
                <a:pos x="wd2" y="hd2"/>
              </a:cxn>
            </a:cxnLst>
            <a:rect l="0" t="0" r="r" b="b"/>
            <a:pathLst>
              <a:path w="20755" h="18660" extrusionOk="0">
                <a:moveTo>
                  <a:pt x="5587" y="18210"/>
                </a:moveTo>
                <a:cubicBezTo>
                  <a:pt x="20755" y="8858"/>
                  <a:pt x="20755" y="8858"/>
                  <a:pt x="20755" y="8858"/>
                </a:cubicBezTo>
                <a:cubicBezTo>
                  <a:pt x="20083" y="9303"/>
                  <a:pt x="19315" y="9080"/>
                  <a:pt x="18547" y="8635"/>
                </a:cubicBezTo>
                <a:cubicBezTo>
                  <a:pt x="5875" y="396"/>
                  <a:pt x="5875" y="396"/>
                  <a:pt x="5875" y="396"/>
                </a:cubicBezTo>
                <a:cubicBezTo>
                  <a:pt x="2227" y="-1831"/>
                  <a:pt x="-845" y="5740"/>
                  <a:pt x="211" y="12866"/>
                </a:cubicBezTo>
                <a:cubicBezTo>
                  <a:pt x="1171" y="17097"/>
                  <a:pt x="3283" y="19769"/>
                  <a:pt x="5587" y="18210"/>
                </a:cubicBezTo>
                <a:close/>
              </a:path>
            </a:pathLst>
          </a:custGeom>
          <a:solidFill>
            <a:schemeClr val="accent1">
              <a:lumMod val="75000"/>
            </a:schemeClr>
          </a:solidFill>
          <a:ln w="12700" cap="flat">
            <a:noFill/>
            <a:miter lim="400000"/>
          </a:ln>
          <a:effectLst/>
        </p:spPr>
        <p:txBody>
          <a:bodyPr wrap="square" lIns="22860" tIns="22860" rIns="22860" bIns="2286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800" b="0">
                <a:latin typeface="Poppins Regular"/>
                <a:ea typeface="Poppins Regular"/>
                <a:cs typeface="Poppins Regular"/>
                <a:sym typeface="Poppins Regular"/>
              </a:defRPr>
            </a:pPr>
            <a:endParaRPr kumimoji="0" sz="900" b="0" i="0" u="none" strike="noStrike" kern="0" cap="none" spc="0" normalizeH="0" baseline="0" noProof="0">
              <a:ln>
                <a:noFill/>
              </a:ln>
              <a:solidFill>
                <a:srgbClr val="000000"/>
              </a:solidFill>
              <a:effectLst/>
              <a:uLnTx/>
              <a:uFillTx/>
              <a:latin typeface="HarmonyOS Sans SC Black"/>
              <a:ea typeface="+mj-ea"/>
              <a:cs typeface="Poppins Regular"/>
              <a:sym typeface="Poppins Regular"/>
            </a:endParaRPr>
          </a:p>
        </p:txBody>
      </p:sp>
      <p:sp>
        <p:nvSpPr>
          <p:cNvPr id="14" name="#">
            <a:extLst>
              <a:ext uri="{FF2B5EF4-FFF2-40B4-BE49-F238E27FC236}">
                <a16:creationId xmlns:a16="http://schemas.microsoft.com/office/drawing/2014/main" id="{450D6026-77C9-4E20-9A52-D719592A2FA4}"/>
              </a:ext>
            </a:extLst>
          </p:cNvPr>
          <p:cNvSpPr txBox="1"/>
          <p:nvPr/>
        </p:nvSpPr>
        <p:spPr>
          <a:xfrm>
            <a:off x="5969288" y="4396417"/>
            <a:ext cx="205185" cy="461601"/>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numCol="1" anchor="ctr">
            <a:spAutoFit/>
          </a:bodyPr>
          <a:lstStyle>
            <a:lvl1pPr defTabSz="914400">
              <a:lnSpc>
                <a:spcPct val="150000"/>
              </a:lnSpc>
              <a:tabLst>
                <a:tab pos="1384300" algn="l"/>
              </a:tabLst>
              <a:defRPr sz="4500" b="0">
                <a:solidFill>
                  <a:srgbClr val="F7F9FF"/>
                </a:solidFill>
                <a:latin typeface="linea-basic-10"/>
                <a:ea typeface="linea-basic-10"/>
                <a:cs typeface="linea-basic-10"/>
                <a:sym typeface="linea-basic-10"/>
              </a:defRPr>
            </a:lvl1pPr>
          </a:lstStyle>
          <a:p>
            <a:pPr marL="0" marR="0" lvl="0" indent="0" algn="ctr" defTabSz="457200" rtl="0" eaLnBrk="1" fontAlgn="auto" latinLnBrk="0" hangingPunct="0">
              <a:lnSpc>
                <a:spcPct val="150000"/>
              </a:lnSpc>
              <a:spcBef>
                <a:spcPts val="0"/>
              </a:spcBef>
              <a:spcAft>
                <a:spcPts val="0"/>
              </a:spcAft>
              <a:buClrTx/>
              <a:buSzTx/>
              <a:buFontTx/>
              <a:buNone/>
              <a:tabLst>
                <a:tab pos="692150" algn="l"/>
              </a:tabLst>
              <a:defRPr/>
            </a:pPr>
            <a:r>
              <a:rPr kumimoji="0" sz="2250" b="0" i="0" u="none" strike="noStrike" kern="0" cap="none" spc="0" normalizeH="0" baseline="0" noProof="0">
                <a:ln>
                  <a:noFill/>
                </a:ln>
                <a:solidFill>
                  <a:srgbClr val="F7F9FF"/>
                </a:solidFill>
                <a:effectLst/>
                <a:uLnTx/>
                <a:uFillTx/>
                <a:latin typeface="HarmonyOS Sans SC Black"/>
                <a:ea typeface="+mj-ea"/>
                <a:sym typeface="linea-basic-10"/>
              </a:rPr>
              <a:t>#</a:t>
            </a:r>
          </a:p>
        </p:txBody>
      </p:sp>
      <p:sp>
        <p:nvSpPr>
          <p:cNvPr id="16" name="Freeform 25">
            <a:extLst>
              <a:ext uri="{FF2B5EF4-FFF2-40B4-BE49-F238E27FC236}">
                <a16:creationId xmlns:a16="http://schemas.microsoft.com/office/drawing/2014/main" id="{A74D40FC-D86E-4553-9A6A-B9756206FF4D}"/>
              </a:ext>
            </a:extLst>
          </p:cNvPr>
          <p:cNvSpPr/>
          <p:nvPr/>
        </p:nvSpPr>
        <p:spPr>
          <a:xfrm>
            <a:off x="4381500" y="2815336"/>
            <a:ext cx="1034808" cy="1226887"/>
          </a:xfrm>
          <a:custGeom>
            <a:avLst/>
            <a:gdLst/>
            <a:ahLst/>
            <a:cxnLst>
              <a:cxn ang="0">
                <a:pos x="wd2" y="hd2"/>
              </a:cxn>
              <a:cxn ang="5400000">
                <a:pos x="wd2" y="hd2"/>
              </a:cxn>
              <a:cxn ang="10800000">
                <a:pos x="wd2" y="hd2"/>
              </a:cxn>
              <a:cxn ang="16200000">
                <a:pos x="wd2" y="hd2"/>
              </a:cxn>
            </a:cxnLst>
            <a:rect l="0" t="0" r="r" b="b"/>
            <a:pathLst>
              <a:path w="20625" h="20831" extrusionOk="0">
                <a:moveTo>
                  <a:pt x="17194" y="0"/>
                </a:moveTo>
                <a:cubicBezTo>
                  <a:pt x="17016" y="51"/>
                  <a:pt x="16838" y="152"/>
                  <a:pt x="16660" y="202"/>
                </a:cubicBezTo>
                <a:cubicBezTo>
                  <a:pt x="9895" y="3794"/>
                  <a:pt x="9895" y="3794"/>
                  <a:pt x="9895" y="3794"/>
                </a:cubicBezTo>
                <a:cubicBezTo>
                  <a:pt x="1291" y="8296"/>
                  <a:pt x="1291" y="8296"/>
                  <a:pt x="1291" y="8296"/>
                </a:cubicBezTo>
                <a:cubicBezTo>
                  <a:pt x="-430" y="9207"/>
                  <a:pt x="-430" y="11533"/>
                  <a:pt x="1291" y="12444"/>
                </a:cubicBezTo>
                <a:cubicBezTo>
                  <a:pt x="9895" y="16946"/>
                  <a:pt x="9895" y="16946"/>
                  <a:pt x="9895" y="16946"/>
                </a:cubicBezTo>
                <a:cubicBezTo>
                  <a:pt x="16660" y="20487"/>
                  <a:pt x="16660" y="20487"/>
                  <a:pt x="16660" y="20487"/>
                </a:cubicBezTo>
                <a:cubicBezTo>
                  <a:pt x="18737" y="21600"/>
                  <a:pt x="21170" y="19830"/>
                  <a:pt x="20517" y="17756"/>
                </a:cubicBezTo>
                <a:cubicBezTo>
                  <a:pt x="18322" y="11028"/>
                  <a:pt x="18322" y="11028"/>
                  <a:pt x="18322" y="11028"/>
                </a:cubicBezTo>
                <a:cubicBezTo>
                  <a:pt x="18262" y="10977"/>
                  <a:pt x="18262" y="10926"/>
                  <a:pt x="18262" y="10825"/>
                </a:cubicBezTo>
                <a:cubicBezTo>
                  <a:pt x="15770" y="2833"/>
                  <a:pt x="15770" y="2833"/>
                  <a:pt x="15770" y="2833"/>
                </a:cubicBezTo>
                <a:cubicBezTo>
                  <a:pt x="15414" y="1619"/>
                  <a:pt x="16067" y="506"/>
                  <a:pt x="17194" y="0"/>
                </a:cubicBezTo>
                <a:close/>
              </a:path>
            </a:pathLst>
          </a:custGeom>
          <a:gradFill>
            <a:gsLst>
              <a:gs pos="73000">
                <a:schemeClr val="accent1"/>
              </a:gs>
              <a:gs pos="31000">
                <a:schemeClr val="accent1">
                  <a:lumMod val="60000"/>
                  <a:lumOff val="40000"/>
                </a:schemeClr>
              </a:gs>
              <a:gs pos="0">
                <a:schemeClr val="accent1">
                  <a:lumMod val="40000"/>
                  <a:lumOff val="60000"/>
                </a:schemeClr>
              </a:gs>
            </a:gsLst>
            <a:path path="circle">
              <a:fillToRect r="100000" b="100000"/>
            </a:path>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HarmonyOS Sans SC Black"/>
              <a:ea typeface="+mj-ea"/>
              <a:cs typeface="+mn-cs"/>
              <a:sym typeface="Poppins Regular"/>
            </a:endParaRPr>
          </a:p>
        </p:txBody>
      </p:sp>
      <p:sp>
        <p:nvSpPr>
          <p:cNvPr id="17" name="Freeform 26">
            <a:extLst>
              <a:ext uri="{FF2B5EF4-FFF2-40B4-BE49-F238E27FC236}">
                <a16:creationId xmlns:a16="http://schemas.microsoft.com/office/drawing/2014/main" id="{3AF89D68-51EE-40DA-8D64-EF7105BBDC1F}"/>
              </a:ext>
            </a:extLst>
          </p:cNvPr>
          <p:cNvSpPr/>
          <p:nvPr/>
        </p:nvSpPr>
        <p:spPr>
          <a:xfrm>
            <a:off x="5168272" y="2809055"/>
            <a:ext cx="248809" cy="644623"/>
          </a:xfrm>
          <a:custGeom>
            <a:avLst/>
            <a:gdLst/>
            <a:ahLst/>
            <a:cxnLst>
              <a:cxn ang="0">
                <a:pos x="wd2" y="hd2"/>
              </a:cxn>
              <a:cxn ang="5400000">
                <a:pos x="wd2" y="hd2"/>
              </a:cxn>
              <a:cxn ang="10800000">
                <a:pos x="wd2" y="hd2"/>
              </a:cxn>
              <a:cxn ang="16200000">
                <a:pos x="wd2" y="hd2"/>
              </a:cxn>
            </a:cxnLst>
            <a:rect l="0" t="0" r="r" b="b"/>
            <a:pathLst>
              <a:path w="18640" h="20755" extrusionOk="0">
                <a:moveTo>
                  <a:pt x="365" y="5587"/>
                </a:moveTo>
                <a:cubicBezTo>
                  <a:pt x="9718" y="20755"/>
                  <a:pt x="9718" y="20755"/>
                  <a:pt x="9718" y="20755"/>
                </a:cubicBezTo>
                <a:cubicBezTo>
                  <a:pt x="9272" y="20083"/>
                  <a:pt x="9495" y="19315"/>
                  <a:pt x="9940" y="18547"/>
                </a:cubicBezTo>
                <a:cubicBezTo>
                  <a:pt x="18180" y="5875"/>
                  <a:pt x="18180" y="5875"/>
                  <a:pt x="18180" y="5875"/>
                </a:cubicBezTo>
                <a:cubicBezTo>
                  <a:pt x="20629" y="2227"/>
                  <a:pt x="12835" y="-845"/>
                  <a:pt x="5709" y="211"/>
                </a:cubicBezTo>
                <a:cubicBezTo>
                  <a:pt x="1478" y="1171"/>
                  <a:pt x="-971" y="3283"/>
                  <a:pt x="365" y="5587"/>
                </a:cubicBezTo>
                <a:close/>
              </a:path>
            </a:pathLst>
          </a:custGeom>
          <a:solidFill>
            <a:schemeClr val="accent1">
              <a:lumMod val="75000"/>
            </a:schemeClr>
          </a:solidFill>
          <a:ln w="12700" cap="flat">
            <a:noFill/>
            <a:miter lim="400000"/>
          </a:ln>
          <a:effectLst/>
        </p:spPr>
        <p:txBody>
          <a:bodyPr wrap="square" lIns="22860" tIns="22860" rIns="22860" bIns="22860" numCol="1" anchor="t">
            <a:noAutofit/>
          </a:bodyPr>
          <a:lstStyle/>
          <a:p>
            <a:pPr marL="0" marR="0" lvl="0" indent="0" algn="l" defTabSz="457200" rtl="0" eaLnBrk="1" fontAlgn="auto" latinLnBrk="0" hangingPunct="0">
              <a:lnSpc>
                <a:spcPct val="100000"/>
              </a:lnSpc>
              <a:spcBef>
                <a:spcPts val="0"/>
              </a:spcBef>
              <a:spcAft>
                <a:spcPts val="0"/>
              </a:spcAft>
              <a:buClrTx/>
              <a:buSzTx/>
              <a:buFontTx/>
              <a:buNone/>
              <a:tabLst/>
              <a:defRPr sz="1800" b="0">
                <a:latin typeface="Poppins Regular"/>
                <a:ea typeface="Poppins Regular"/>
                <a:cs typeface="Poppins Regular"/>
                <a:sym typeface="Poppins Regular"/>
              </a:defRPr>
            </a:pPr>
            <a:endParaRPr kumimoji="0" sz="900" b="0" i="0" u="none" strike="noStrike" kern="0" cap="none" spc="0" normalizeH="0" baseline="0" noProof="0">
              <a:ln>
                <a:noFill/>
              </a:ln>
              <a:solidFill>
                <a:srgbClr val="000000"/>
              </a:solidFill>
              <a:effectLst/>
              <a:uLnTx/>
              <a:uFillTx/>
              <a:latin typeface="HarmonyOS Sans SC Black"/>
              <a:ea typeface="+mj-ea"/>
              <a:cs typeface="Poppins Regular"/>
              <a:sym typeface="Poppins Regular"/>
            </a:endParaRPr>
          </a:p>
        </p:txBody>
      </p:sp>
      <p:sp>
        <p:nvSpPr>
          <p:cNvPr id="18" name="l">
            <a:extLst>
              <a:ext uri="{FF2B5EF4-FFF2-40B4-BE49-F238E27FC236}">
                <a16:creationId xmlns:a16="http://schemas.microsoft.com/office/drawing/2014/main" id="{E3D19640-8C27-4E66-B663-959FA1628E26}"/>
              </a:ext>
            </a:extLst>
          </p:cNvPr>
          <p:cNvSpPr txBox="1"/>
          <p:nvPr/>
        </p:nvSpPr>
        <p:spPr>
          <a:xfrm>
            <a:off x="4858027" y="3198200"/>
            <a:ext cx="81754" cy="461601"/>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numCol="1" anchor="ctr">
            <a:spAutoFit/>
          </a:bodyPr>
          <a:lstStyle>
            <a:lvl1pPr defTabSz="914400">
              <a:lnSpc>
                <a:spcPct val="150000"/>
              </a:lnSpc>
              <a:tabLst>
                <a:tab pos="1384300" algn="l"/>
              </a:tabLst>
              <a:defRPr sz="4500" b="0">
                <a:solidFill>
                  <a:srgbClr val="F7F9FF"/>
                </a:solidFill>
                <a:latin typeface="linea-basic-10"/>
                <a:ea typeface="linea-basic-10"/>
                <a:cs typeface="linea-basic-10"/>
                <a:sym typeface="linea-basic-10"/>
              </a:defRPr>
            </a:lvl1pPr>
          </a:lstStyle>
          <a:p>
            <a:pPr marL="0" marR="0" lvl="0" indent="0" algn="ctr" defTabSz="457200" rtl="0" eaLnBrk="1" fontAlgn="auto" latinLnBrk="0" hangingPunct="0">
              <a:lnSpc>
                <a:spcPct val="150000"/>
              </a:lnSpc>
              <a:spcBef>
                <a:spcPts val="0"/>
              </a:spcBef>
              <a:spcAft>
                <a:spcPts val="0"/>
              </a:spcAft>
              <a:buClrTx/>
              <a:buSzTx/>
              <a:buFontTx/>
              <a:buNone/>
              <a:tabLst>
                <a:tab pos="692150" algn="l"/>
              </a:tabLst>
              <a:defRPr/>
            </a:pPr>
            <a:r>
              <a:rPr kumimoji="0" sz="2250" b="0" i="0" u="none" strike="noStrike" kern="0" cap="none" spc="0" normalizeH="0" baseline="0" noProof="0" dirty="0">
                <a:ln>
                  <a:noFill/>
                </a:ln>
                <a:solidFill>
                  <a:srgbClr val="F7F9FF"/>
                </a:solidFill>
                <a:effectLst/>
                <a:uLnTx/>
                <a:uFillTx/>
                <a:latin typeface="HarmonyOS Sans SC Black"/>
                <a:ea typeface="+mj-ea"/>
                <a:sym typeface="linea-basic-10"/>
              </a:rPr>
              <a:t>l</a:t>
            </a:r>
          </a:p>
        </p:txBody>
      </p:sp>
      <p:grpSp>
        <p:nvGrpSpPr>
          <p:cNvPr id="28" name="组合 27">
            <a:extLst>
              <a:ext uri="{FF2B5EF4-FFF2-40B4-BE49-F238E27FC236}">
                <a16:creationId xmlns:a16="http://schemas.microsoft.com/office/drawing/2014/main" id="{4829CA24-DD8A-47F2-979B-4C879E11A044}"/>
              </a:ext>
            </a:extLst>
          </p:cNvPr>
          <p:cNvGrpSpPr/>
          <p:nvPr/>
        </p:nvGrpSpPr>
        <p:grpSpPr>
          <a:xfrm>
            <a:off x="976987" y="2181046"/>
            <a:ext cx="2668622" cy="881603"/>
            <a:chOff x="976987" y="2692095"/>
            <a:chExt cx="2668622" cy="881603"/>
          </a:xfrm>
        </p:grpSpPr>
        <p:sp>
          <p:nvSpPr>
            <p:cNvPr id="29" name="TextBox 65">
              <a:extLst>
                <a:ext uri="{FF2B5EF4-FFF2-40B4-BE49-F238E27FC236}">
                  <a16:creationId xmlns:a16="http://schemas.microsoft.com/office/drawing/2014/main" id="{519445D3-E4AA-484F-B09C-DFADD674AA9C}"/>
                </a:ext>
              </a:extLst>
            </p:cNvPr>
            <p:cNvSpPr txBox="1"/>
            <p:nvPr/>
          </p:nvSpPr>
          <p:spPr>
            <a:xfrm>
              <a:off x="1589348" y="2692095"/>
              <a:ext cx="2056261" cy="387598"/>
            </a:xfrm>
            <a:prstGeom prst="rect">
              <a:avLst/>
            </a:prstGeom>
            <a:noFill/>
          </p:spPr>
          <p:txBody>
            <a:bodyPr wrap="square" lIns="0" tIns="36000" rIns="0" bIns="36000" rtlCol="0">
              <a:spAutoFit/>
            </a:bodyPr>
            <a:lstStyle/>
            <a:p>
              <a:pPr marL="0" marR="0" lvl="0" indent="0" algn="r" defTabSz="914400" rtl="0" eaLnBrk="1" fontAlgn="auto" latinLnBrk="0" hangingPunct="1">
                <a:lnSpc>
                  <a:spcPct val="120000"/>
                </a:lnSpc>
                <a:spcBef>
                  <a:spcPts val="600"/>
                </a:spcBef>
                <a:spcAft>
                  <a:spcPts val="0"/>
                </a:spcAft>
                <a:buClrTx/>
                <a:buSzTx/>
                <a:buFontTx/>
                <a:buNone/>
                <a:tabLst/>
                <a:defRPr/>
              </a:pPr>
              <a:r>
                <a:rPr kumimoji="0" lang="zh-CN" altLang="en-US" sz="1800" b="0" i="0" u="none" strike="noStrike" kern="1200" cap="none" spc="0" normalizeH="0" baseline="0" noProof="0" dirty="0">
                  <a:ln>
                    <a:noFill/>
                  </a:ln>
                  <a:solidFill>
                    <a:schemeClr val="accent1"/>
                  </a:solidFill>
                  <a:effectLst/>
                  <a:uLnTx/>
                  <a:uFillTx/>
                  <a:latin typeface="HarmonyOS Sans SC Black"/>
                  <a:ea typeface="+mj-ea"/>
                  <a:cs typeface="+mn-cs"/>
                </a:rPr>
                <a:t>关键词标题</a:t>
              </a:r>
              <a:endParaRPr kumimoji="0" lang="en-US" sz="1800" b="0" i="0" u="none" strike="noStrike" kern="1200" cap="none" spc="0" normalizeH="0" baseline="0" noProof="0" dirty="0">
                <a:ln>
                  <a:noFill/>
                </a:ln>
                <a:solidFill>
                  <a:schemeClr val="accent1"/>
                </a:solidFill>
                <a:effectLst/>
                <a:uLnTx/>
                <a:uFillTx/>
                <a:latin typeface="HarmonyOS Sans SC Black"/>
                <a:ea typeface="+mj-ea"/>
                <a:cs typeface="+mn-cs"/>
              </a:endParaRPr>
            </a:p>
          </p:txBody>
        </p:sp>
        <p:sp>
          <p:nvSpPr>
            <p:cNvPr id="30" name="TextBox 65">
              <a:extLst>
                <a:ext uri="{FF2B5EF4-FFF2-40B4-BE49-F238E27FC236}">
                  <a16:creationId xmlns:a16="http://schemas.microsoft.com/office/drawing/2014/main" id="{A05001FC-C071-4CB1-991E-5F0FE292D3F4}"/>
                </a:ext>
              </a:extLst>
            </p:cNvPr>
            <p:cNvSpPr txBox="1"/>
            <p:nvPr/>
          </p:nvSpPr>
          <p:spPr>
            <a:xfrm>
              <a:off x="976987" y="3075494"/>
              <a:ext cx="2668622" cy="498204"/>
            </a:xfrm>
            <a:prstGeom prst="rect">
              <a:avLst/>
            </a:prstGeom>
            <a:noFill/>
          </p:spPr>
          <p:txBody>
            <a:bodyPr wrap="square" lIns="0" tIns="36000" rIns="0" bIns="36000" rtlCol="0">
              <a:spAutoFit/>
            </a:bodyPr>
            <a:lstStyle/>
            <a:p>
              <a:pPr marL="0" marR="0" lvl="0" indent="0" algn="r" defTabSz="914400" rtl="0" eaLnBrk="1" fontAlgn="auto" latinLnBrk="0" hangingPunct="1">
                <a:lnSpc>
                  <a:spcPct val="120000"/>
                </a:lnSpc>
                <a:spcBef>
                  <a:spcPts val="600"/>
                </a:spcBef>
                <a:spcAft>
                  <a:spcPts val="0"/>
                </a:spcAft>
                <a:buClrTx/>
                <a:buSzTx/>
                <a:buFontTx/>
                <a:buNone/>
                <a:tabLst/>
                <a:defRPr/>
              </a:pPr>
              <a:r>
                <a:rPr kumimoji="0" lang="en-US" sz="1200" b="0" i="0" u="none" strike="noStrike" kern="1200" cap="none" spc="0" normalizeH="0" baseline="0" noProof="0" dirty="0">
                  <a:ln>
                    <a:noFill/>
                  </a:ln>
                  <a:solidFill>
                    <a:prstClr val="black">
                      <a:lumMod val="50000"/>
                      <a:lumOff val="50000"/>
                    </a:prstClr>
                  </a:solidFill>
                  <a:effectLst/>
                  <a:uLnTx/>
                  <a:uFillTx/>
                  <a:latin typeface="HarmonyOS Sans SC"/>
                  <a:cs typeface="+mn-cs"/>
                </a:rPr>
                <a:t>Apparently we had reached a great height in the.</a:t>
              </a:r>
            </a:p>
          </p:txBody>
        </p:sp>
      </p:grpSp>
      <p:sp>
        <p:nvSpPr>
          <p:cNvPr id="31" name="TextBox 65">
            <a:extLst>
              <a:ext uri="{FF2B5EF4-FFF2-40B4-BE49-F238E27FC236}">
                <a16:creationId xmlns:a16="http://schemas.microsoft.com/office/drawing/2014/main" id="{558B1439-2243-418C-BE81-630B92BD6E46}"/>
              </a:ext>
            </a:extLst>
          </p:cNvPr>
          <p:cNvSpPr txBox="1"/>
          <p:nvPr/>
        </p:nvSpPr>
        <p:spPr>
          <a:xfrm>
            <a:off x="1589348" y="4087400"/>
            <a:ext cx="2056261" cy="387598"/>
          </a:xfrm>
          <a:prstGeom prst="rect">
            <a:avLst/>
          </a:prstGeom>
          <a:noFill/>
        </p:spPr>
        <p:txBody>
          <a:bodyPr wrap="square" lIns="0" tIns="36000" rIns="0" bIns="36000" rtlCol="0">
            <a:spAutoFit/>
          </a:bodyPr>
          <a:lstStyle/>
          <a:p>
            <a:pPr marL="0" marR="0" lvl="0" indent="0" algn="r" defTabSz="914400" rtl="0" eaLnBrk="1" fontAlgn="auto" latinLnBrk="0" hangingPunct="1">
              <a:lnSpc>
                <a:spcPct val="120000"/>
              </a:lnSpc>
              <a:spcBef>
                <a:spcPts val="600"/>
              </a:spcBef>
              <a:spcAft>
                <a:spcPts val="0"/>
              </a:spcAft>
              <a:buClrTx/>
              <a:buSzTx/>
              <a:buFontTx/>
              <a:buNone/>
              <a:tabLst/>
              <a:defRPr/>
            </a:pPr>
            <a:r>
              <a:rPr kumimoji="0" lang="zh-CN" altLang="en-US" sz="1800" b="0" i="0" u="none" strike="noStrike" kern="1200" cap="none" spc="0" normalizeH="0" baseline="0" noProof="0" dirty="0">
                <a:ln>
                  <a:noFill/>
                </a:ln>
                <a:solidFill>
                  <a:schemeClr val="accent1"/>
                </a:solidFill>
                <a:effectLst/>
                <a:uLnTx/>
                <a:uFillTx/>
                <a:latin typeface="HarmonyOS Sans SC Black"/>
                <a:ea typeface="+mj-ea"/>
                <a:cs typeface="+mn-cs"/>
              </a:rPr>
              <a:t>关键词标题</a:t>
            </a:r>
            <a:endParaRPr kumimoji="0" lang="en-US" sz="1800" b="0" i="0" u="none" strike="noStrike" kern="1200" cap="none" spc="0" normalizeH="0" baseline="0" noProof="0" dirty="0">
              <a:ln>
                <a:noFill/>
              </a:ln>
              <a:solidFill>
                <a:schemeClr val="accent1"/>
              </a:solidFill>
              <a:effectLst/>
              <a:uLnTx/>
              <a:uFillTx/>
              <a:latin typeface="HarmonyOS Sans SC Black"/>
              <a:ea typeface="+mj-ea"/>
              <a:cs typeface="+mn-cs"/>
            </a:endParaRPr>
          </a:p>
        </p:txBody>
      </p:sp>
      <p:sp>
        <p:nvSpPr>
          <p:cNvPr id="32" name="TextBox 65">
            <a:extLst>
              <a:ext uri="{FF2B5EF4-FFF2-40B4-BE49-F238E27FC236}">
                <a16:creationId xmlns:a16="http://schemas.microsoft.com/office/drawing/2014/main" id="{84CC03C0-6473-4ABF-9F16-0CF38AB6C75F}"/>
              </a:ext>
            </a:extLst>
          </p:cNvPr>
          <p:cNvSpPr txBox="1"/>
          <p:nvPr/>
        </p:nvSpPr>
        <p:spPr>
          <a:xfrm>
            <a:off x="976987" y="4470799"/>
            <a:ext cx="2668622" cy="498204"/>
          </a:xfrm>
          <a:prstGeom prst="rect">
            <a:avLst/>
          </a:prstGeom>
          <a:noFill/>
        </p:spPr>
        <p:txBody>
          <a:bodyPr wrap="square" lIns="0" tIns="36000" rIns="0" bIns="36000" rtlCol="0">
            <a:spAutoFit/>
          </a:bodyPr>
          <a:lstStyle/>
          <a:p>
            <a:pPr marL="0" marR="0" lvl="0" indent="0" algn="r" defTabSz="914400" rtl="0" eaLnBrk="1" fontAlgn="auto" latinLnBrk="0" hangingPunct="1">
              <a:lnSpc>
                <a:spcPct val="120000"/>
              </a:lnSpc>
              <a:spcBef>
                <a:spcPts val="600"/>
              </a:spcBef>
              <a:spcAft>
                <a:spcPts val="0"/>
              </a:spcAft>
              <a:buClrTx/>
              <a:buSzTx/>
              <a:buFontTx/>
              <a:buNone/>
              <a:tabLst/>
              <a:defRPr/>
            </a:pPr>
            <a:r>
              <a:rPr kumimoji="0" lang="en-US" sz="1200" b="0" i="0" u="none" strike="noStrike" kern="1200" cap="none" spc="0" normalizeH="0" baseline="0" noProof="0" dirty="0">
                <a:ln>
                  <a:noFill/>
                </a:ln>
                <a:solidFill>
                  <a:prstClr val="black">
                    <a:lumMod val="50000"/>
                    <a:lumOff val="50000"/>
                  </a:prstClr>
                </a:solidFill>
                <a:effectLst/>
                <a:uLnTx/>
                <a:uFillTx/>
                <a:latin typeface="HarmonyOS Sans SC"/>
                <a:cs typeface="+mn-cs"/>
              </a:rPr>
              <a:t>Apparently we had reached a great height in the.</a:t>
            </a:r>
          </a:p>
        </p:txBody>
      </p:sp>
      <p:grpSp>
        <p:nvGrpSpPr>
          <p:cNvPr id="33" name="组合 32">
            <a:extLst>
              <a:ext uri="{FF2B5EF4-FFF2-40B4-BE49-F238E27FC236}">
                <a16:creationId xmlns:a16="http://schemas.microsoft.com/office/drawing/2014/main" id="{4F520E3E-687B-46F9-A857-CBED7E79D143}"/>
              </a:ext>
            </a:extLst>
          </p:cNvPr>
          <p:cNvGrpSpPr/>
          <p:nvPr/>
        </p:nvGrpSpPr>
        <p:grpSpPr>
          <a:xfrm>
            <a:off x="8546391" y="2181046"/>
            <a:ext cx="2668622" cy="881603"/>
            <a:chOff x="8546391" y="2692095"/>
            <a:chExt cx="2668622" cy="881603"/>
          </a:xfrm>
        </p:grpSpPr>
        <p:sp>
          <p:nvSpPr>
            <p:cNvPr id="34" name="TextBox 65">
              <a:extLst>
                <a:ext uri="{FF2B5EF4-FFF2-40B4-BE49-F238E27FC236}">
                  <a16:creationId xmlns:a16="http://schemas.microsoft.com/office/drawing/2014/main" id="{5BCC7753-F9E7-4B5A-AAD1-A084187629D9}"/>
                </a:ext>
              </a:extLst>
            </p:cNvPr>
            <p:cNvSpPr txBox="1"/>
            <p:nvPr/>
          </p:nvSpPr>
          <p:spPr>
            <a:xfrm flipH="1">
              <a:off x="8546391" y="2692095"/>
              <a:ext cx="2056261" cy="387598"/>
            </a:xfrm>
            <a:prstGeom prst="rect">
              <a:avLst/>
            </a:prstGeom>
            <a:noFill/>
          </p:spPr>
          <p:txBody>
            <a:bodyPr wrap="square" lIns="0" tIns="36000" rIns="0" bIns="36000" rtlCol="0">
              <a:spAutoFit/>
            </a:bodyPr>
            <a:lstStyle/>
            <a:p>
              <a:pPr marL="0" marR="0" lvl="0" indent="0" algn="l" defTabSz="914400" rtl="0" eaLnBrk="1" fontAlgn="auto" latinLnBrk="0" hangingPunct="1">
                <a:lnSpc>
                  <a:spcPct val="120000"/>
                </a:lnSpc>
                <a:spcBef>
                  <a:spcPts val="600"/>
                </a:spcBef>
                <a:spcAft>
                  <a:spcPts val="0"/>
                </a:spcAft>
                <a:buClrTx/>
                <a:buSzTx/>
                <a:buFontTx/>
                <a:buNone/>
                <a:tabLst/>
                <a:defRPr/>
              </a:pPr>
              <a:r>
                <a:rPr kumimoji="0" lang="zh-CN" altLang="en-US" sz="1800" b="0" i="0" u="none" strike="noStrike" kern="1200" cap="none" spc="0" normalizeH="0" baseline="0" noProof="0" dirty="0">
                  <a:ln>
                    <a:noFill/>
                  </a:ln>
                  <a:solidFill>
                    <a:schemeClr val="accent1"/>
                  </a:solidFill>
                  <a:effectLst/>
                  <a:uLnTx/>
                  <a:uFillTx/>
                  <a:latin typeface="HarmonyOS Sans SC Black"/>
                  <a:ea typeface="+mj-ea"/>
                  <a:cs typeface="+mn-cs"/>
                </a:rPr>
                <a:t>关键词标题</a:t>
              </a:r>
              <a:endParaRPr kumimoji="0" lang="en-US" sz="1800" b="0" i="0" u="none" strike="noStrike" kern="1200" cap="none" spc="0" normalizeH="0" baseline="0" noProof="0" dirty="0">
                <a:ln>
                  <a:noFill/>
                </a:ln>
                <a:solidFill>
                  <a:schemeClr val="accent1"/>
                </a:solidFill>
                <a:effectLst/>
                <a:uLnTx/>
                <a:uFillTx/>
                <a:latin typeface="HarmonyOS Sans SC Black"/>
                <a:ea typeface="+mj-ea"/>
                <a:cs typeface="+mn-cs"/>
              </a:endParaRPr>
            </a:p>
          </p:txBody>
        </p:sp>
        <p:sp>
          <p:nvSpPr>
            <p:cNvPr id="35" name="TextBox 65">
              <a:extLst>
                <a:ext uri="{FF2B5EF4-FFF2-40B4-BE49-F238E27FC236}">
                  <a16:creationId xmlns:a16="http://schemas.microsoft.com/office/drawing/2014/main" id="{930CFED0-996A-4632-955C-385D8ECEF33F}"/>
                </a:ext>
              </a:extLst>
            </p:cNvPr>
            <p:cNvSpPr txBox="1"/>
            <p:nvPr/>
          </p:nvSpPr>
          <p:spPr>
            <a:xfrm flipH="1">
              <a:off x="8546391" y="3075494"/>
              <a:ext cx="2668622" cy="498204"/>
            </a:xfrm>
            <a:prstGeom prst="rect">
              <a:avLst/>
            </a:prstGeom>
            <a:noFill/>
          </p:spPr>
          <p:txBody>
            <a:bodyPr wrap="square" lIns="0" tIns="36000" rIns="0" bIns="36000" rtlCol="0">
              <a:spAutoFit/>
            </a:bodyPr>
            <a:lstStyle/>
            <a:p>
              <a:pPr marL="0" marR="0" lvl="0" indent="0" algn="l" defTabSz="914400" rtl="0" eaLnBrk="1" fontAlgn="auto" latinLnBrk="0" hangingPunct="1">
                <a:lnSpc>
                  <a:spcPct val="120000"/>
                </a:lnSpc>
                <a:spcBef>
                  <a:spcPts val="600"/>
                </a:spcBef>
                <a:spcAft>
                  <a:spcPts val="0"/>
                </a:spcAft>
                <a:buClrTx/>
                <a:buSzTx/>
                <a:buFontTx/>
                <a:buNone/>
                <a:tabLst/>
                <a:defRPr/>
              </a:pPr>
              <a:r>
                <a:rPr kumimoji="0" lang="en-US" sz="1200" b="0" i="0" u="none" strike="noStrike" kern="1200" cap="none" spc="0" normalizeH="0" baseline="0" noProof="0" dirty="0">
                  <a:ln>
                    <a:noFill/>
                  </a:ln>
                  <a:solidFill>
                    <a:prstClr val="black">
                      <a:lumMod val="50000"/>
                      <a:lumOff val="50000"/>
                    </a:prstClr>
                  </a:solidFill>
                  <a:effectLst/>
                  <a:uLnTx/>
                  <a:uFillTx/>
                  <a:latin typeface="HarmonyOS Sans SC"/>
                  <a:cs typeface="+mn-cs"/>
                </a:rPr>
                <a:t>Apparently we had reached a great height in the.</a:t>
              </a:r>
            </a:p>
          </p:txBody>
        </p:sp>
      </p:grpSp>
      <p:sp>
        <p:nvSpPr>
          <p:cNvPr id="36" name="TextBox 65">
            <a:extLst>
              <a:ext uri="{FF2B5EF4-FFF2-40B4-BE49-F238E27FC236}">
                <a16:creationId xmlns:a16="http://schemas.microsoft.com/office/drawing/2014/main" id="{39E46387-6C40-461F-851A-5038FAEA1810}"/>
              </a:ext>
            </a:extLst>
          </p:cNvPr>
          <p:cNvSpPr txBox="1"/>
          <p:nvPr/>
        </p:nvSpPr>
        <p:spPr>
          <a:xfrm flipH="1">
            <a:off x="8546391" y="4087400"/>
            <a:ext cx="2056261" cy="387598"/>
          </a:xfrm>
          <a:prstGeom prst="rect">
            <a:avLst/>
          </a:prstGeom>
          <a:noFill/>
        </p:spPr>
        <p:txBody>
          <a:bodyPr wrap="square" lIns="0" tIns="36000" rIns="0" bIns="36000" rtlCol="0">
            <a:spAutoFit/>
          </a:bodyPr>
          <a:lstStyle/>
          <a:p>
            <a:pPr marL="0" marR="0" lvl="0" indent="0" algn="l" defTabSz="914400" rtl="0" eaLnBrk="1" fontAlgn="auto" latinLnBrk="0" hangingPunct="1">
              <a:lnSpc>
                <a:spcPct val="120000"/>
              </a:lnSpc>
              <a:spcBef>
                <a:spcPts val="600"/>
              </a:spcBef>
              <a:spcAft>
                <a:spcPts val="0"/>
              </a:spcAft>
              <a:buClrTx/>
              <a:buSzTx/>
              <a:buFontTx/>
              <a:buNone/>
              <a:tabLst/>
              <a:defRPr/>
            </a:pPr>
            <a:r>
              <a:rPr kumimoji="0" lang="zh-CN" altLang="en-US" sz="1800" b="0" i="0" u="none" strike="noStrike" kern="1200" cap="none" spc="0" normalizeH="0" baseline="0" noProof="0" dirty="0">
                <a:ln>
                  <a:noFill/>
                </a:ln>
                <a:solidFill>
                  <a:schemeClr val="accent1"/>
                </a:solidFill>
                <a:effectLst/>
                <a:uLnTx/>
                <a:uFillTx/>
                <a:latin typeface="HarmonyOS Sans SC Black"/>
                <a:ea typeface="+mj-ea"/>
                <a:cs typeface="+mn-cs"/>
              </a:rPr>
              <a:t>关键词标题</a:t>
            </a:r>
            <a:endParaRPr kumimoji="0" lang="en-US" sz="1800" b="0" i="0" u="none" strike="noStrike" kern="1200" cap="none" spc="0" normalizeH="0" baseline="0" noProof="0" dirty="0">
              <a:ln>
                <a:noFill/>
              </a:ln>
              <a:solidFill>
                <a:schemeClr val="accent1"/>
              </a:solidFill>
              <a:effectLst/>
              <a:uLnTx/>
              <a:uFillTx/>
              <a:latin typeface="HarmonyOS Sans SC Black"/>
              <a:ea typeface="+mj-ea"/>
              <a:cs typeface="+mn-cs"/>
            </a:endParaRPr>
          </a:p>
        </p:txBody>
      </p:sp>
      <p:sp>
        <p:nvSpPr>
          <p:cNvPr id="37" name="TextBox 65">
            <a:extLst>
              <a:ext uri="{FF2B5EF4-FFF2-40B4-BE49-F238E27FC236}">
                <a16:creationId xmlns:a16="http://schemas.microsoft.com/office/drawing/2014/main" id="{6E2A4881-E426-4C28-B6E1-E3C4507765C9}"/>
              </a:ext>
            </a:extLst>
          </p:cNvPr>
          <p:cNvSpPr txBox="1"/>
          <p:nvPr/>
        </p:nvSpPr>
        <p:spPr>
          <a:xfrm flipH="1">
            <a:off x="8546391" y="4470799"/>
            <a:ext cx="2668622" cy="498204"/>
          </a:xfrm>
          <a:prstGeom prst="rect">
            <a:avLst/>
          </a:prstGeom>
          <a:noFill/>
        </p:spPr>
        <p:txBody>
          <a:bodyPr wrap="square" lIns="0" tIns="36000" rIns="0" bIns="36000" rtlCol="0">
            <a:spAutoFit/>
          </a:bodyPr>
          <a:lstStyle/>
          <a:p>
            <a:pPr marL="0" marR="0" lvl="0" indent="0" algn="l" defTabSz="914400" rtl="0" eaLnBrk="1" fontAlgn="auto" latinLnBrk="0" hangingPunct="1">
              <a:lnSpc>
                <a:spcPct val="120000"/>
              </a:lnSpc>
              <a:spcBef>
                <a:spcPts val="600"/>
              </a:spcBef>
              <a:spcAft>
                <a:spcPts val="0"/>
              </a:spcAft>
              <a:buClrTx/>
              <a:buSzTx/>
              <a:buFontTx/>
              <a:buNone/>
              <a:tabLst/>
              <a:defRPr/>
            </a:pPr>
            <a:r>
              <a:rPr kumimoji="0" lang="en-US" sz="1200" b="0" i="0" u="none" strike="noStrike" kern="1200" cap="none" spc="0" normalizeH="0" baseline="0" noProof="0" dirty="0">
                <a:ln>
                  <a:noFill/>
                </a:ln>
                <a:solidFill>
                  <a:prstClr val="black">
                    <a:lumMod val="50000"/>
                    <a:lumOff val="50000"/>
                  </a:prstClr>
                </a:solidFill>
                <a:effectLst/>
                <a:uLnTx/>
                <a:uFillTx/>
                <a:latin typeface="HarmonyOS Sans SC"/>
                <a:cs typeface="+mn-cs"/>
              </a:rPr>
              <a:t>Apparently we had reached a great height in the.</a:t>
            </a:r>
          </a:p>
        </p:txBody>
      </p:sp>
      <p:sp>
        <p:nvSpPr>
          <p:cNvPr id="38" name="01">
            <a:extLst>
              <a:ext uri="{FF2B5EF4-FFF2-40B4-BE49-F238E27FC236}">
                <a16:creationId xmlns:a16="http://schemas.microsoft.com/office/drawing/2014/main" id="{CD29C347-1C2B-4C12-9829-32E9E5008D69}"/>
              </a:ext>
            </a:extLst>
          </p:cNvPr>
          <p:cNvSpPr txBox="1"/>
          <p:nvPr/>
        </p:nvSpPr>
        <p:spPr>
          <a:xfrm>
            <a:off x="7968285" y="2227775"/>
            <a:ext cx="394340" cy="38472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anchor="ctr">
            <a:spAutoFit/>
          </a:bodyPr>
          <a:lstStyle>
            <a:lvl1pPr algn="r">
              <a:defRPr sz="5000" b="0">
                <a:solidFill>
                  <a:srgbClr val="F6F9FF"/>
                </a:solidFill>
                <a:latin typeface="Poppins Bold"/>
                <a:ea typeface="Poppins Bold"/>
                <a:cs typeface="Poppins Bold"/>
                <a:sym typeface="Poppins Bold"/>
              </a:defRPr>
            </a:lvl1pPr>
          </a:lstStyle>
          <a:p>
            <a:pPr marL="0" marR="0" lvl="0" indent="0" algn="r" defTabSz="412750" rtl="0" eaLnBrk="1" fontAlgn="auto" latinLnBrk="0" hangingPunct="0">
              <a:lnSpc>
                <a:spcPct val="100000"/>
              </a:lnSpc>
              <a:spcBef>
                <a:spcPts val="0"/>
              </a:spcBef>
              <a:spcAft>
                <a:spcPts val="0"/>
              </a:spcAft>
              <a:buClrTx/>
              <a:buSzTx/>
              <a:buFontTx/>
              <a:buNone/>
              <a:tabLst/>
              <a:defRPr/>
            </a:pPr>
            <a:r>
              <a:rPr kumimoji="0" sz="2500" b="0" i="0" u="none" strike="noStrike" kern="0" cap="none" spc="0" normalizeH="0" baseline="0" noProof="0" dirty="0">
                <a:ln>
                  <a:noFill/>
                </a:ln>
                <a:solidFill>
                  <a:prstClr val="black">
                    <a:lumMod val="75000"/>
                    <a:lumOff val="25000"/>
                  </a:prstClr>
                </a:solidFill>
                <a:effectLst/>
                <a:uLnTx/>
                <a:uFillTx/>
                <a:latin typeface="HarmonyOS Sans SC Black"/>
                <a:ea typeface="+mj-ea"/>
                <a:sym typeface="Poppins Bold"/>
              </a:rPr>
              <a:t>01</a:t>
            </a:r>
          </a:p>
        </p:txBody>
      </p:sp>
      <p:sp>
        <p:nvSpPr>
          <p:cNvPr id="40" name="03">
            <a:extLst>
              <a:ext uri="{FF2B5EF4-FFF2-40B4-BE49-F238E27FC236}">
                <a16:creationId xmlns:a16="http://schemas.microsoft.com/office/drawing/2014/main" id="{C3F28B02-7C8B-4D2F-97BB-EB28AF2C8108}"/>
              </a:ext>
            </a:extLst>
          </p:cNvPr>
          <p:cNvSpPr txBox="1"/>
          <p:nvPr/>
        </p:nvSpPr>
        <p:spPr>
          <a:xfrm>
            <a:off x="3829376" y="2227775"/>
            <a:ext cx="402354" cy="38472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anchor="ctr">
            <a:spAutoFit/>
          </a:bodyPr>
          <a:lstStyle>
            <a:lvl1pPr algn="l">
              <a:defRPr sz="5000" b="0">
                <a:solidFill>
                  <a:srgbClr val="F6F9FF"/>
                </a:solidFill>
                <a:latin typeface="Poppins Bold"/>
                <a:ea typeface="Poppins Bold"/>
                <a:cs typeface="Poppins Bold"/>
                <a:sym typeface="Poppins Bold"/>
              </a:defRPr>
            </a:lvl1pPr>
          </a:lstStyle>
          <a:p>
            <a:pPr marL="0" marR="0" lvl="0" indent="0" algn="l" defTabSz="412750" rtl="0" eaLnBrk="1" fontAlgn="auto" latinLnBrk="0" hangingPunct="0">
              <a:lnSpc>
                <a:spcPct val="100000"/>
              </a:lnSpc>
              <a:spcBef>
                <a:spcPts val="0"/>
              </a:spcBef>
              <a:spcAft>
                <a:spcPts val="0"/>
              </a:spcAft>
              <a:buClrTx/>
              <a:buSzTx/>
              <a:buFontTx/>
              <a:buNone/>
              <a:tabLst/>
              <a:defRPr/>
            </a:pPr>
            <a:r>
              <a:rPr kumimoji="0" sz="2500" b="0" i="0" u="none" strike="noStrike" kern="0" cap="none" spc="0" normalizeH="0" baseline="0" noProof="0" dirty="0">
                <a:ln>
                  <a:noFill/>
                </a:ln>
                <a:solidFill>
                  <a:prstClr val="black">
                    <a:lumMod val="75000"/>
                    <a:lumOff val="25000"/>
                  </a:prstClr>
                </a:solidFill>
                <a:effectLst/>
                <a:uLnTx/>
                <a:uFillTx/>
                <a:latin typeface="HarmonyOS Sans SC Black"/>
                <a:ea typeface="+mj-ea"/>
                <a:sym typeface="Poppins Bold"/>
              </a:rPr>
              <a:t>03</a:t>
            </a:r>
          </a:p>
        </p:txBody>
      </p:sp>
      <p:sp>
        <p:nvSpPr>
          <p:cNvPr id="39" name="02">
            <a:extLst>
              <a:ext uri="{FF2B5EF4-FFF2-40B4-BE49-F238E27FC236}">
                <a16:creationId xmlns:a16="http://schemas.microsoft.com/office/drawing/2014/main" id="{99823A03-4A5D-4797-9331-D6E7E91D73B7}"/>
              </a:ext>
            </a:extLst>
          </p:cNvPr>
          <p:cNvSpPr txBox="1"/>
          <p:nvPr/>
        </p:nvSpPr>
        <p:spPr>
          <a:xfrm>
            <a:off x="7965880" y="4104947"/>
            <a:ext cx="391134" cy="38472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anchor="ctr">
            <a:spAutoFit/>
          </a:bodyPr>
          <a:lstStyle>
            <a:lvl1pPr algn="r">
              <a:defRPr sz="5000" b="0">
                <a:solidFill>
                  <a:srgbClr val="F6F9FF"/>
                </a:solidFill>
                <a:latin typeface="Poppins Bold"/>
                <a:ea typeface="Poppins Bold"/>
                <a:cs typeface="Poppins Bold"/>
                <a:sym typeface="Poppins Bold"/>
              </a:defRPr>
            </a:lvl1pPr>
          </a:lstStyle>
          <a:p>
            <a:pPr marL="0" marR="0" lvl="0" indent="0" algn="r" defTabSz="412750" rtl="0" eaLnBrk="1" fontAlgn="auto" latinLnBrk="0" hangingPunct="0">
              <a:lnSpc>
                <a:spcPct val="100000"/>
              </a:lnSpc>
              <a:spcBef>
                <a:spcPts val="0"/>
              </a:spcBef>
              <a:spcAft>
                <a:spcPts val="0"/>
              </a:spcAft>
              <a:buClrTx/>
              <a:buSzTx/>
              <a:buFontTx/>
              <a:buNone/>
              <a:tabLst/>
              <a:defRPr/>
            </a:pPr>
            <a:r>
              <a:rPr kumimoji="0" sz="2500" b="0" i="0" u="none" strike="noStrike" kern="0" cap="none" spc="0" normalizeH="0" baseline="0" noProof="0" dirty="0">
                <a:ln>
                  <a:noFill/>
                </a:ln>
                <a:solidFill>
                  <a:prstClr val="black">
                    <a:lumMod val="75000"/>
                    <a:lumOff val="25000"/>
                  </a:prstClr>
                </a:solidFill>
                <a:effectLst/>
                <a:uLnTx/>
                <a:uFillTx/>
                <a:latin typeface="HarmonyOS Sans SC Black"/>
                <a:ea typeface="+mj-ea"/>
                <a:sym typeface="Poppins Bold"/>
              </a:rPr>
              <a:t>02</a:t>
            </a:r>
          </a:p>
        </p:txBody>
      </p:sp>
      <p:sp>
        <p:nvSpPr>
          <p:cNvPr id="41" name="04">
            <a:extLst>
              <a:ext uri="{FF2B5EF4-FFF2-40B4-BE49-F238E27FC236}">
                <a16:creationId xmlns:a16="http://schemas.microsoft.com/office/drawing/2014/main" id="{DA775D23-1EE5-4A21-B36A-1BD9B934E0CF}"/>
              </a:ext>
            </a:extLst>
          </p:cNvPr>
          <p:cNvSpPr txBox="1"/>
          <p:nvPr/>
        </p:nvSpPr>
        <p:spPr>
          <a:xfrm>
            <a:off x="3834986" y="4104947"/>
            <a:ext cx="394339" cy="38472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anchor="ctr">
            <a:spAutoFit/>
          </a:bodyPr>
          <a:lstStyle>
            <a:lvl1pPr algn="l">
              <a:defRPr sz="5000" b="0">
                <a:solidFill>
                  <a:srgbClr val="F6F9FF"/>
                </a:solidFill>
                <a:latin typeface="Poppins Bold"/>
                <a:ea typeface="Poppins Bold"/>
                <a:cs typeface="Poppins Bold"/>
                <a:sym typeface="Poppins Bold"/>
              </a:defRPr>
            </a:lvl1pPr>
          </a:lstStyle>
          <a:p>
            <a:pPr marL="0" marR="0" lvl="0" indent="0" algn="l" defTabSz="412750" rtl="0" eaLnBrk="1" fontAlgn="auto" latinLnBrk="0" hangingPunct="0">
              <a:lnSpc>
                <a:spcPct val="100000"/>
              </a:lnSpc>
              <a:spcBef>
                <a:spcPts val="0"/>
              </a:spcBef>
              <a:spcAft>
                <a:spcPts val="0"/>
              </a:spcAft>
              <a:buClrTx/>
              <a:buSzTx/>
              <a:buFontTx/>
              <a:buNone/>
              <a:tabLst/>
              <a:defRPr/>
            </a:pPr>
            <a:r>
              <a:rPr kumimoji="0" sz="2500" b="0" i="0" u="none" strike="noStrike" kern="0" cap="none" spc="0" normalizeH="0" baseline="0" noProof="0" dirty="0">
                <a:ln>
                  <a:noFill/>
                </a:ln>
                <a:solidFill>
                  <a:prstClr val="black">
                    <a:lumMod val="75000"/>
                    <a:lumOff val="25000"/>
                  </a:prstClr>
                </a:solidFill>
                <a:effectLst/>
                <a:uLnTx/>
                <a:uFillTx/>
                <a:latin typeface="HarmonyOS Sans SC Black"/>
                <a:ea typeface="+mj-ea"/>
                <a:sym typeface="Poppins Bold"/>
              </a:rPr>
              <a:t>04</a:t>
            </a:r>
          </a:p>
        </p:txBody>
      </p:sp>
    </p:spTree>
    <p:extLst>
      <p:ext uri="{BB962C8B-B14F-4D97-AF65-F5344CB8AC3E}">
        <p14:creationId xmlns:p14="http://schemas.microsoft.com/office/powerpoint/2010/main" val="1365299458"/>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4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22">
            <a:extLst>
              <a:ext uri="{FF2B5EF4-FFF2-40B4-BE49-F238E27FC236}">
                <a16:creationId xmlns:a16="http://schemas.microsoft.com/office/drawing/2014/main" id="{B6CBB2D4-AB49-4FA5-AFC1-C108D12FDB16}"/>
              </a:ext>
            </a:extLst>
          </p:cNvPr>
          <p:cNvSpPr/>
          <p:nvPr/>
        </p:nvSpPr>
        <p:spPr>
          <a:xfrm>
            <a:off x="1597091" y="5767307"/>
            <a:ext cx="1608067" cy="165804"/>
          </a:xfrm>
          <a:prstGeom prst="rect">
            <a:avLst/>
          </a:prstGeom>
          <a:solidFill>
            <a:schemeClr val="accent1">
              <a:alpha val="10000"/>
            </a:schemeClr>
          </a:solidFill>
          <a:ln w="38100" cap="rnd" cmpd="sng">
            <a:noFill/>
            <a:prstDash val="sysDash"/>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pPr marL="0" marR="0" lvl="0" indent="0" algn="ctr" defTabSz="914400" rtl="0" eaLnBrk="1" fontAlgn="auto" latinLnBrk="0" hangingPunct="1">
              <a:lnSpc>
                <a:spcPct val="100000"/>
              </a:lnSpc>
              <a:spcBef>
                <a:spcPts val="1000"/>
              </a:spcBef>
              <a:spcAft>
                <a:spcPts val="0"/>
              </a:spcAft>
              <a:buClrTx/>
              <a:buSzTx/>
              <a:buFontTx/>
              <a:buNone/>
              <a:tabLst/>
              <a:defRPr/>
            </a:pPr>
            <a:endParaRPr kumimoji="0" lang="en-US" sz="1400" b="1" i="0" u="none" strike="noStrike" kern="1200" cap="none" spc="0" normalizeH="0" baseline="0" noProof="0" dirty="0">
              <a:ln>
                <a:noFill/>
              </a:ln>
              <a:solidFill>
                <a:srgbClr val="222222"/>
              </a:solidFill>
              <a:effectLst/>
              <a:uLnTx/>
              <a:uFillTx/>
              <a:latin typeface="Inter"/>
              <a:cs typeface="+mn-cs"/>
            </a:endParaRPr>
          </a:p>
        </p:txBody>
      </p:sp>
      <p:sp>
        <p:nvSpPr>
          <p:cNvPr id="5" name="Rectangle 23">
            <a:extLst>
              <a:ext uri="{FF2B5EF4-FFF2-40B4-BE49-F238E27FC236}">
                <a16:creationId xmlns:a16="http://schemas.microsoft.com/office/drawing/2014/main" id="{7C46130C-7B6D-4339-875C-B3FB35FA6A15}"/>
              </a:ext>
            </a:extLst>
          </p:cNvPr>
          <p:cNvSpPr/>
          <p:nvPr/>
        </p:nvSpPr>
        <p:spPr>
          <a:xfrm>
            <a:off x="1597091" y="6017801"/>
            <a:ext cx="1608067" cy="165804"/>
          </a:xfrm>
          <a:prstGeom prst="rect">
            <a:avLst/>
          </a:prstGeom>
          <a:solidFill>
            <a:schemeClr val="accent1">
              <a:alpha val="10000"/>
            </a:schemeClr>
          </a:solidFill>
          <a:ln w="38100" cap="rnd" cmpd="sng">
            <a:noFill/>
            <a:prstDash val="sysDash"/>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pPr marL="0" marR="0" lvl="0" indent="0" algn="ctr" defTabSz="914400" rtl="0" eaLnBrk="1" fontAlgn="auto" latinLnBrk="0" hangingPunct="1">
              <a:lnSpc>
                <a:spcPct val="100000"/>
              </a:lnSpc>
              <a:spcBef>
                <a:spcPts val="1000"/>
              </a:spcBef>
              <a:spcAft>
                <a:spcPts val="0"/>
              </a:spcAft>
              <a:buClrTx/>
              <a:buSzTx/>
              <a:buFontTx/>
              <a:buNone/>
              <a:tabLst/>
              <a:defRPr/>
            </a:pPr>
            <a:endParaRPr kumimoji="0" lang="en-US" sz="1400" b="1" i="0" u="none" strike="noStrike" kern="1200" cap="none" spc="0" normalizeH="0" baseline="0" noProof="0" dirty="0">
              <a:ln>
                <a:noFill/>
              </a:ln>
              <a:solidFill>
                <a:srgbClr val="222222"/>
              </a:solidFill>
              <a:effectLst/>
              <a:uLnTx/>
              <a:uFillTx/>
              <a:latin typeface="Inter"/>
              <a:cs typeface="+mn-cs"/>
            </a:endParaRPr>
          </a:p>
        </p:txBody>
      </p:sp>
      <p:sp>
        <p:nvSpPr>
          <p:cNvPr id="10" name="Rectangle 28">
            <a:extLst>
              <a:ext uri="{FF2B5EF4-FFF2-40B4-BE49-F238E27FC236}">
                <a16:creationId xmlns:a16="http://schemas.microsoft.com/office/drawing/2014/main" id="{62C7F8A4-F3A4-4E22-B76C-9C88BA3093C7}"/>
              </a:ext>
            </a:extLst>
          </p:cNvPr>
          <p:cNvSpPr/>
          <p:nvPr/>
        </p:nvSpPr>
        <p:spPr>
          <a:xfrm>
            <a:off x="1597091" y="5516813"/>
            <a:ext cx="1608067" cy="165804"/>
          </a:xfrm>
          <a:prstGeom prst="rect">
            <a:avLst/>
          </a:prstGeom>
          <a:solidFill>
            <a:schemeClr val="accent1">
              <a:alpha val="10000"/>
            </a:schemeClr>
          </a:solidFill>
          <a:ln w="38100" cap="rnd" cmpd="sng">
            <a:noFill/>
            <a:prstDash val="sysDash"/>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pPr marL="0" marR="0" lvl="0" indent="0" algn="ctr" defTabSz="914400" rtl="0" eaLnBrk="1" fontAlgn="auto" latinLnBrk="0" hangingPunct="1">
              <a:lnSpc>
                <a:spcPct val="100000"/>
              </a:lnSpc>
              <a:spcBef>
                <a:spcPts val="1000"/>
              </a:spcBef>
              <a:spcAft>
                <a:spcPts val="0"/>
              </a:spcAft>
              <a:buClrTx/>
              <a:buSzTx/>
              <a:buFontTx/>
              <a:buNone/>
              <a:tabLst/>
              <a:defRPr/>
            </a:pPr>
            <a:endParaRPr kumimoji="0" lang="en-US" sz="1400" b="1" i="0" u="none" strike="noStrike" kern="1200" cap="none" spc="0" normalizeH="0" baseline="0" noProof="0" dirty="0">
              <a:ln>
                <a:noFill/>
              </a:ln>
              <a:solidFill>
                <a:srgbClr val="222222"/>
              </a:solidFill>
              <a:effectLst/>
              <a:uLnTx/>
              <a:uFillTx/>
              <a:latin typeface="Inter"/>
              <a:ea typeface="+mn-ea"/>
              <a:cs typeface="+mn-cs"/>
            </a:endParaRPr>
          </a:p>
        </p:txBody>
      </p:sp>
      <p:cxnSp>
        <p:nvCxnSpPr>
          <p:cNvPr id="6" name="Connector: Elbow 10">
            <a:extLst>
              <a:ext uri="{FF2B5EF4-FFF2-40B4-BE49-F238E27FC236}">
                <a16:creationId xmlns:a16="http://schemas.microsoft.com/office/drawing/2014/main" id="{C1F8398A-DBA4-49A8-9978-3AE52FF9EA30}"/>
              </a:ext>
            </a:extLst>
          </p:cNvPr>
          <p:cNvCxnSpPr>
            <a:cxnSpLocks/>
          </p:cNvCxnSpPr>
          <p:nvPr/>
        </p:nvCxnSpPr>
        <p:spPr>
          <a:xfrm rot="10800000">
            <a:off x="7505611" y="2457816"/>
            <a:ext cx="1832526" cy="497730"/>
          </a:xfrm>
          <a:prstGeom prst="bentConnector3">
            <a:avLst>
              <a:gd name="adj1" fmla="val 64034"/>
            </a:avLst>
          </a:prstGeom>
          <a:ln w="9525">
            <a:gradFill>
              <a:gsLst>
                <a:gs pos="0">
                  <a:schemeClr val="accent1"/>
                </a:gs>
                <a:gs pos="100000">
                  <a:schemeClr val="accent1">
                    <a:lumMod val="40000"/>
                    <a:lumOff val="60000"/>
                  </a:schemeClr>
                </a:gs>
                <a:gs pos="73000">
                  <a:schemeClr val="accent1">
                    <a:lumMod val="60000"/>
                    <a:lumOff val="40000"/>
                  </a:schemeClr>
                </a:gs>
              </a:gsLst>
              <a:lin ang="0" scaled="0"/>
            </a:gradFill>
            <a:headEnd type="oval"/>
            <a:tailEnd type="none"/>
          </a:ln>
        </p:spPr>
        <p:style>
          <a:lnRef idx="1">
            <a:schemeClr val="accent1"/>
          </a:lnRef>
          <a:fillRef idx="0">
            <a:schemeClr val="accent1"/>
          </a:fillRef>
          <a:effectRef idx="0">
            <a:schemeClr val="accent1"/>
          </a:effectRef>
          <a:fontRef idx="minor">
            <a:schemeClr val="tx1"/>
          </a:fontRef>
        </p:style>
      </p:cxnSp>
      <p:sp>
        <p:nvSpPr>
          <p:cNvPr id="12" name="TextBox 30">
            <a:extLst>
              <a:ext uri="{FF2B5EF4-FFF2-40B4-BE49-F238E27FC236}">
                <a16:creationId xmlns:a16="http://schemas.microsoft.com/office/drawing/2014/main" id="{BB72FFD5-E3E8-441B-8175-3C0CF06F218C}"/>
              </a:ext>
            </a:extLst>
          </p:cNvPr>
          <p:cNvSpPr txBox="1"/>
          <p:nvPr/>
        </p:nvSpPr>
        <p:spPr>
          <a:xfrm>
            <a:off x="9477126" y="3271250"/>
            <a:ext cx="1890225" cy="416067"/>
          </a:xfrm>
          <a:prstGeom prst="rect">
            <a:avLst/>
          </a:prstGeom>
          <a:noFill/>
        </p:spPr>
        <p:txBody>
          <a:bodyPr wrap="square" lIns="0" tIns="36000" rIns="0" bIns="36000" rtlCol="0">
            <a:spAutoFit/>
          </a:bodyPr>
          <a:lstStyle/>
          <a:p>
            <a:pPr marL="0" marR="0" lvl="0" indent="0" algn="l" defTabSz="914400" rtl="0" eaLnBrk="1" fontAlgn="auto" latinLnBrk="0" hangingPunct="1">
              <a:lnSpc>
                <a:spcPct val="130000"/>
              </a:lnSpc>
              <a:spcBef>
                <a:spcPts val="1000"/>
              </a:spcBef>
              <a:spcAft>
                <a:spcPts val="0"/>
              </a:spcAft>
              <a:buClrTx/>
              <a:buSzTx/>
              <a:buFontTx/>
              <a:buNone/>
              <a:tabLst/>
              <a:defRPr/>
            </a:pPr>
            <a:r>
              <a:rPr kumimoji="0" lang="en-US" sz="900" b="0" i="0" u="none" strike="noStrike" kern="1200" cap="none" spc="0" normalizeH="0" baseline="0" noProof="0" dirty="0">
                <a:ln>
                  <a:noFill/>
                </a:ln>
                <a:solidFill>
                  <a:prstClr val="black">
                    <a:lumMod val="50000"/>
                    <a:lumOff val="50000"/>
                  </a:prstClr>
                </a:solidFill>
                <a:effectLst/>
                <a:uLnTx/>
                <a:uFillTx/>
                <a:latin typeface="HarmonyOS Sans SC"/>
                <a:cs typeface="+mn-cs"/>
              </a:rPr>
              <a:t>A peep at some distant orb has power to raise and.</a:t>
            </a:r>
          </a:p>
        </p:txBody>
      </p:sp>
      <p:sp>
        <p:nvSpPr>
          <p:cNvPr id="13" name="TextBox 31">
            <a:extLst>
              <a:ext uri="{FF2B5EF4-FFF2-40B4-BE49-F238E27FC236}">
                <a16:creationId xmlns:a16="http://schemas.microsoft.com/office/drawing/2014/main" id="{3673B7BD-5A0C-41B6-A565-2226162CEA14}"/>
              </a:ext>
            </a:extLst>
          </p:cNvPr>
          <p:cNvSpPr txBox="1"/>
          <p:nvPr/>
        </p:nvSpPr>
        <p:spPr>
          <a:xfrm>
            <a:off x="9477126" y="2765304"/>
            <a:ext cx="1132208" cy="380480"/>
          </a:xfrm>
          <a:prstGeom prst="rect">
            <a:avLst/>
          </a:prstGeom>
          <a:noFill/>
        </p:spPr>
        <p:txBody>
          <a:bodyPr wrap="square" lIns="0" tIns="36000" rIns="0" bIns="36000" rtlCol="0">
            <a:spAutoFit/>
          </a:bodyPr>
          <a:lstStyle/>
          <a:p>
            <a:pPr marL="0" marR="0" lvl="0" indent="0" algn="l" defTabSz="914400" rtl="0" eaLnBrk="1" fontAlgn="auto" latinLnBrk="0" hangingPunct="1">
              <a:lnSpc>
                <a:spcPct val="100000"/>
              </a:lnSpc>
              <a:spcBef>
                <a:spcPts val="1000"/>
              </a:spcBef>
              <a:spcAft>
                <a:spcPts val="0"/>
              </a:spcAft>
              <a:buClrTx/>
              <a:buSzTx/>
              <a:buFontTx/>
              <a:buNone/>
              <a:tabLst/>
              <a:defRPr/>
            </a:pPr>
            <a:r>
              <a:rPr kumimoji="0" lang="en-US" sz="2000" b="1" i="0" u="none" strike="noStrike" kern="1200" cap="none" spc="0" normalizeH="0" baseline="0" noProof="0" dirty="0">
                <a:ln>
                  <a:noFill/>
                </a:ln>
                <a:solidFill>
                  <a:schemeClr val="accent1"/>
                </a:solidFill>
                <a:effectLst/>
                <a:uLnTx/>
                <a:uFillTx/>
                <a:latin typeface="HarmonyOS Sans SC Black"/>
                <a:ea typeface="+mj-ea"/>
                <a:cs typeface="+mn-cs"/>
              </a:rPr>
              <a:t>30%</a:t>
            </a:r>
          </a:p>
        </p:txBody>
      </p:sp>
      <p:cxnSp>
        <p:nvCxnSpPr>
          <p:cNvPr id="14" name="Connector: Elbow 15">
            <a:extLst>
              <a:ext uri="{FF2B5EF4-FFF2-40B4-BE49-F238E27FC236}">
                <a16:creationId xmlns:a16="http://schemas.microsoft.com/office/drawing/2014/main" id="{72DBD2A3-8684-45CD-AA42-73A3B5702B93}"/>
              </a:ext>
            </a:extLst>
          </p:cNvPr>
          <p:cNvCxnSpPr>
            <a:cxnSpLocks/>
            <a:endCxn id="31" idx="6"/>
          </p:cNvCxnSpPr>
          <p:nvPr/>
        </p:nvCxnSpPr>
        <p:spPr>
          <a:xfrm rot="10800000" flipV="1">
            <a:off x="7320729" y="4723214"/>
            <a:ext cx="2017408" cy="754038"/>
          </a:xfrm>
          <a:prstGeom prst="bentConnector3">
            <a:avLst>
              <a:gd name="adj1" fmla="val 58184"/>
            </a:avLst>
          </a:prstGeom>
          <a:ln w="9525">
            <a:gradFill>
              <a:gsLst>
                <a:gs pos="0">
                  <a:schemeClr val="accent1"/>
                </a:gs>
                <a:gs pos="100000">
                  <a:schemeClr val="accent1">
                    <a:lumMod val="40000"/>
                    <a:lumOff val="60000"/>
                  </a:schemeClr>
                </a:gs>
                <a:gs pos="73000">
                  <a:schemeClr val="accent1">
                    <a:lumMod val="60000"/>
                    <a:lumOff val="40000"/>
                  </a:schemeClr>
                </a:gs>
              </a:gsLst>
              <a:lin ang="0" scaled="0"/>
            </a:gradFill>
            <a:headEnd type="oval"/>
            <a:tailEnd type="none"/>
          </a:ln>
        </p:spPr>
        <p:style>
          <a:lnRef idx="1">
            <a:schemeClr val="accent1"/>
          </a:lnRef>
          <a:fillRef idx="0">
            <a:schemeClr val="accent1"/>
          </a:fillRef>
          <a:effectRef idx="0">
            <a:schemeClr val="accent1"/>
          </a:effectRef>
          <a:fontRef idx="minor">
            <a:schemeClr val="tx1"/>
          </a:fontRef>
        </p:style>
      </p:cxnSp>
      <p:sp>
        <p:nvSpPr>
          <p:cNvPr id="16" name="TextBox 34">
            <a:extLst>
              <a:ext uri="{FF2B5EF4-FFF2-40B4-BE49-F238E27FC236}">
                <a16:creationId xmlns:a16="http://schemas.microsoft.com/office/drawing/2014/main" id="{D3FB4806-29DF-4EF1-98A7-F0758C6559F0}"/>
              </a:ext>
            </a:extLst>
          </p:cNvPr>
          <p:cNvSpPr txBox="1"/>
          <p:nvPr/>
        </p:nvSpPr>
        <p:spPr>
          <a:xfrm>
            <a:off x="9477127" y="5038920"/>
            <a:ext cx="1776662" cy="416067"/>
          </a:xfrm>
          <a:prstGeom prst="rect">
            <a:avLst/>
          </a:prstGeom>
          <a:noFill/>
        </p:spPr>
        <p:txBody>
          <a:bodyPr wrap="square" lIns="0" tIns="36000" rIns="0" bIns="36000" rtlCol="0">
            <a:spAutoFit/>
          </a:bodyPr>
          <a:lstStyle/>
          <a:p>
            <a:pPr marL="0" marR="0" lvl="0" indent="0" algn="l" defTabSz="914400" rtl="0" eaLnBrk="1" fontAlgn="auto" latinLnBrk="0" hangingPunct="1">
              <a:lnSpc>
                <a:spcPct val="130000"/>
              </a:lnSpc>
              <a:spcBef>
                <a:spcPts val="1000"/>
              </a:spcBef>
              <a:spcAft>
                <a:spcPts val="0"/>
              </a:spcAft>
              <a:buClrTx/>
              <a:buSzTx/>
              <a:buFontTx/>
              <a:buNone/>
              <a:tabLst/>
              <a:defRPr/>
            </a:pPr>
            <a:r>
              <a:rPr kumimoji="0" lang="en-US" sz="900" b="0" i="0" u="none" strike="noStrike" kern="1200" cap="none" spc="0" normalizeH="0" baseline="0" noProof="0" dirty="0">
                <a:ln>
                  <a:noFill/>
                </a:ln>
                <a:solidFill>
                  <a:prstClr val="black">
                    <a:lumMod val="50000"/>
                    <a:lumOff val="50000"/>
                  </a:prstClr>
                </a:solidFill>
                <a:effectLst/>
                <a:uLnTx/>
                <a:uFillTx/>
                <a:latin typeface="HarmonyOS Sans SC"/>
                <a:cs typeface="+mn-cs"/>
              </a:rPr>
              <a:t>A peep at some distant orb has power to raise and purify our.</a:t>
            </a:r>
          </a:p>
        </p:txBody>
      </p:sp>
      <p:sp>
        <p:nvSpPr>
          <p:cNvPr id="17" name="TextBox 35">
            <a:extLst>
              <a:ext uri="{FF2B5EF4-FFF2-40B4-BE49-F238E27FC236}">
                <a16:creationId xmlns:a16="http://schemas.microsoft.com/office/drawing/2014/main" id="{31A7C6DC-EE35-4395-8D83-38C39C50A558}"/>
              </a:ext>
            </a:extLst>
          </p:cNvPr>
          <p:cNvSpPr txBox="1"/>
          <p:nvPr/>
        </p:nvSpPr>
        <p:spPr>
          <a:xfrm>
            <a:off x="9477126" y="4532974"/>
            <a:ext cx="1132208" cy="380480"/>
          </a:xfrm>
          <a:prstGeom prst="rect">
            <a:avLst/>
          </a:prstGeom>
          <a:noFill/>
        </p:spPr>
        <p:txBody>
          <a:bodyPr wrap="square" lIns="0" tIns="36000" rIns="0" bIns="36000" rtlCol="0">
            <a:spAutoFit/>
          </a:bodyPr>
          <a:lstStyle/>
          <a:p>
            <a:pPr marL="0" marR="0" lvl="0" indent="0" algn="l" defTabSz="914400" rtl="0" eaLnBrk="1" fontAlgn="auto" latinLnBrk="0" hangingPunct="1">
              <a:lnSpc>
                <a:spcPct val="100000"/>
              </a:lnSpc>
              <a:spcBef>
                <a:spcPts val="1000"/>
              </a:spcBef>
              <a:spcAft>
                <a:spcPts val="0"/>
              </a:spcAft>
              <a:buClrTx/>
              <a:buSzTx/>
              <a:buFontTx/>
              <a:buNone/>
              <a:tabLst/>
              <a:defRPr/>
            </a:pPr>
            <a:r>
              <a:rPr kumimoji="0" lang="en-US" sz="2000" b="1" i="0" u="none" strike="noStrike" kern="1200" cap="none" spc="0" normalizeH="0" baseline="0" noProof="0" dirty="0">
                <a:ln>
                  <a:noFill/>
                </a:ln>
                <a:solidFill>
                  <a:schemeClr val="accent1"/>
                </a:solidFill>
                <a:effectLst/>
                <a:uLnTx/>
                <a:uFillTx/>
                <a:latin typeface="HarmonyOS Sans SC Black"/>
                <a:ea typeface="+mj-ea"/>
                <a:cs typeface="+mn-cs"/>
              </a:rPr>
              <a:t>50%</a:t>
            </a:r>
          </a:p>
        </p:txBody>
      </p:sp>
      <p:sp>
        <p:nvSpPr>
          <p:cNvPr id="8" name="TextBox 26">
            <a:extLst>
              <a:ext uri="{FF2B5EF4-FFF2-40B4-BE49-F238E27FC236}">
                <a16:creationId xmlns:a16="http://schemas.microsoft.com/office/drawing/2014/main" id="{17DD04A5-DF3A-4D77-9725-923B554F4325}"/>
              </a:ext>
            </a:extLst>
          </p:cNvPr>
          <p:cNvSpPr txBox="1"/>
          <p:nvPr/>
        </p:nvSpPr>
        <p:spPr>
          <a:xfrm>
            <a:off x="1046441" y="3282850"/>
            <a:ext cx="1608066" cy="416067"/>
          </a:xfrm>
          <a:prstGeom prst="rect">
            <a:avLst/>
          </a:prstGeom>
          <a:noFill/>
        </p:spPr>
        <p:txBody>
          <a:bodyPr wrap="square" lIns="0" tIns="36000" rIns="0" bIns="36000" rtlCol="0">
            <a:spAutoFit/>
          </a:bodyPr>
          <a:lstStyle/>
          <a:p>
            <a:pPr marL="0" marR="0" lvl="0" indent="0" algn="l" defTabSz="914400" rtl="0" eaLnBrk="1" fontAlgn="auto" latinLnBrk="0" hangingPunct="1">
              <a:lnSpc>
                <a:spcPct val="130000"/>
              </a:lnSpc>
              <a:spcBef>
                <a:spcPts val="1000"/>
              </a:spcBef>
              <a:spcAft>
                <a:spcPts val="0"/>
              </a:spcAft>
              <a:buClrTx/>
              <a:buSzTx/>
              <a:buFontTx/>
              <a:buNone/>
              <a:tabLst/>
              <a:defRPr/>
            </a:pPr>
            <a:r>
              <a:rPr kumimoji="0" lang="en-US" sz="900" b="0" i="0" u="none" strike="noStrike" kern="1200" cap="none" spc="0" normalizeH="0" baseline="0" noProof="0" dirty="0">
                <a:ln>
                  <a:noFill/>
                </a:ln>
                <a:solidFill>
                  <a:prstClr val="black">
                    <a:lumMod val="50000"/>
                    <a:lumOff val="50000"/>
                  </a:prstClr>
                </a:solidFill>
                <a:effectLst/>
                <a:uLnTx/>
                <a:uFillTx/>
                <a:latin typeface="HarmonyOS Sans SC"/>
                <a:cs typeface="+mn-cs"/>
              </a:rPr>
              <a:t>A peep at some distant orb has power to raise and purify.</a:t>
            </a:r>
          </a:p>
        </p:txBody>
      </p:sp>
      <p:sp>
        <p:nvSpPr>
          <p:cNvPr id="9" name="TextBox 27">
            <a:extLst>
              <a:ext uri="{FF2B5EF4-FFF2-40B4-BE49-F238E27FC236}">
                <a16:creationId xmlns:a16="http://schemas.microsoft.com/office/drawing/2014/main" id="{73F558DC-B85D-4B59-9916-58C015AEFC70}"/>
              </a:ext>
            </a:extLst>
          </p:cNvPr>
          <p:cNvSpPr txBox="1"/>
          <p:nvPr/>
        </p:nvSpPr>
        <p:spPr>
          <a:xfrm>
            <a:off x="1046441" y="2776904"/>
            <a:ext cx="754772" cy="380480"/>
          </a:xfrm>
          <a:prstGeom prst="rect">
            <a:avLst/>
          </a:prstGeom>
          <a:noFill/>
        </p:spPr>
        <p:txBody>
          <a:bodyPr wrap="square" lIns="0" tIns="36000" rIns="0" bIns="36000" rtlCol="0">
            <a:spAutoFit/>
          </a:bodyPr>
          <a:lstStyle/>
          <a:p>
            <a:pPr marL="0" marR="0" lvl="0" indent="0" algn="l" defTabSz="914400" rtl="0" eaLnBrk="1" fontAlgn="auto" latinLnBrk="0" hangingPunct="1">
              <a:lnSpc>
                <a:spcPct val="100000"/>
              </a:lnSpc>
              <a:spcBef>
                <a:spcPts val="1000"/>
              </a:spcBef>
              <a:spcAft>
                <a:spcPts val="0"/>
              </a:spcAft>
              <a:buClrTx/>
              <a:buSzTx/>
              <a:buFontTx/>
              <a:buNone/>
              <a:tabLst/>
              <a:defRPr/>
            </a:pPr>
            <a:r>
              <a:rPr kumimoji="0" lang="en-US" sz="2000" b="1" i="0" u="none" strike="noStrike" kern="1200" cap="none" spc="0" normalizeH="0" baseline="0" noProof="0" dirty="0">
                <a:ln>
                  <a:noFill/>
                </a:ln>
                <a:solidFill>
                  <a:schemeClr val="accent1"/>
                </a:solidFill>
                <a:effectLst/>
                <a:uLnTx/>
                <a:uFillTx/>
                <a:latin typeface="HarmonyOS Sans SC Black"/>
                <a:ea typeface="+mj-ea"/>
                <a:cs typeface="+mn-cs"/>
              </a:rPr>
              <a:t>20%</a:t>
            </a:r>
          </a:p>
        </p:txBody>
      </p:sp>
      <p:cxnSp>
        <p:nvCxnSpPr>
          <p:cNvPr id="18" name="Connector: Elbow 18">
            <a:extLst>
              <a:ext uri="{FF2B5EF4-FFF2-40B4-BE49-F238E27FC236}">
                <a16:creationId xmlns:a16="http://schemas.microsoft.com/office/drawing/2014/main" id="{E7D57B71-542D-4397-82E6-7D3679603C55}"/>
              </a:ext>
            </a:extLst>
          </p:cNvPr>
          <p:cNvCxnSpPr>
            <a:cxnSpLocks/>
            <a:endCxn id="9" idx="3"/>
          </p:cNvCxnSpPr>
          <p:nvPr/>
        </p:nvCxnSpPr>
        <p:spPr>
          <a:xfrm rot="10800000">
            <a:off x="1801213" y="2967144"/>
            <a:ext cx="2216658" cy="842476"/>
          </a:xfrm>
          <a:prstGeom prst="bentConnector3">
            <a:avLst>
              <a:gd name="adj1" fmla="val 31380"/>
            </a:avLst>
          </a:prstGeom>
          <a:ln w="9525">
            <a:gradFill>
              <a:gsLst>
                <a:gs pos="0">
                  <a:schemeClr val="accent1"/>
                </a:gs>
                <a:gs pos="100000">
                  <a:schemeClr val="accent1">
                    <a:lumMod val="40000"/>
                    <a:lumOff val="60000"/>
                  </a:schemeClr>
                </a:gs>
                <a:gs pos="73000">
                  <a:schemeClr val="accent1">
                    <a:lumMod val="60000"/>
                    <a:lumOff val="40000"/>
                  </a:schemeClr>
                </a:gs>
              </a:gsLst>
              <a:lin ang="10800000" scaled="0"/>
            </a:gradFill>
            <a:headEnd type="none"/>
            <a:tailEnd type="oval"/>
          </a:ln>
        </p:spPr>
        <p:style>
          <a:lnRef idx="1">
            <a:schemeClr val="accent1"/>
          </a:lnRef>
          <a:fillRef idx="0">
            <a:schemeClr val="accent1"/>
          </a:fillRef>
          <a:effectRef idx="0">
            <a:schemeClr val="accent1"/>
          </a:effectRef>
          <a:fontRef idx="minor">
            <a:schemeClr val="tx1"/>
          </a:fontRef>
        </p:style>
      </p:cxnSp>
      <p:sp>
        <p:nvSpPr>
          <p:cNvPr id="19" name="Rectangle 37">
            <a:extLst>
              <a:ext uri="{FF2B5EF4-FFF2-40B4-BE49-F238E27FC236}">
                <a16:creationId xmlns:a16="http://schemas.microsoft.com/office/drawing/2014/main" id="{663F1BA2-1423-4B35-8D6B-8CDC41984888}"/>
              </a:ext>
            </a:extLst>
          </p:cNvPr>
          <p:cNvSpPr/>
          <p:nvPr/>
        </p:nvSpPr>
        <p:spPr>
          <a:xfrm>
            <a:off x="1597091" y="5516813"/>
            <a:ext cx="486975" cy="165804"/>
          </a:xfrm>
          <a:prstGeom prst="rect">
            <a:avLst/>
          </a:prstGeom>
          <a:gradFill flip="none" rotWithShape="1">
            <a:gsLst>
              <a:gs pos="46000">
                <a:schemeClr val="accent1"/>
              </a:gs>
              <a:gs pos="100000">
                <a:schemeClr val="accent1">
                  <a:lumMod val="40000"/>
                  <a:lumOff val="60000"/>
                </a:schemeClr>
              </a:gs>
              <a:gs pos="78000">
                <a:schemeClr val="accent1">
                  <a:lumMod val="60000"/>
                  <a:lumOff val="40000"/>
                </a:schemeClr>
              </a:gs>
            </a:gsLst>
            <a:lin ang="10800000" scaled="1"/>
            <a:tileRect/>
          </a:gradFill>
          <a:ln w="38100" cap="rnd" cmpd="sng">
            <a:noFill/>
            <a:prstDash val="sysDash"/>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pPr marL="0" marR="0" lvl="0" indent="0" algn="ctr" defTabSz="914400" rtl="0" eaLnBrk="1" fontAlgn="auto" latinLnBrk="0" hangingPunct="1">
              <a:lnSpc>
                <a:spcPct val="100000"/>
              </a:lnSpc>
              <a:spcBef>
                <a:spcPts val="1000"/>
              </a:spcBef>
              <a:spcAft>
                <a:spcPts val="0"/>
              </a:spcAft>
              <a:buClrTx/>
              <a:buSzTx/>
              <a:buFontTx/>
              <a:buNone/>
              <a:tabLst/>
              <a:defRPr/>
            </a:pPr>
            <a:endParaRPr kumimoji="0" lang="en-US" sz="1400" b="1" i="0" u="none" strike="noStrike" kern="1200" cap="none" spc="0" normalizeH="0" baseline="0" noProof="0" dirty="0">
              <a:ln>
                <a:noFill/>
              </a:ln>
              <a:solidFill>
                <a:srgbClr val="222222"/>
              </a:solidFill>
              <a:effectLst/>
              <a:uLnTx/>
              <a:uFillTx/>
              <a:latin typeface="Inter"/>
              <a:ea typeface="+mn-ea"/>
              <a:cs typeface="+mn-cs"/>
            </a:endParaRPr>
          </a:p>
        </p:txBody>
      </p:sp>
      <p:sp>
        <p:nvSpPr>
          <p:cNvPr id="20" name="Rectangle 38">
            <a:extLst>
              <a:ext uri="{FF2B5EF4-FFF2-40B4-BE49-F238E27FC236}">
                <a16:creationId xmlns:a16="http://schemas.microsoft.com/office/drawing/2014/main" id="{C3F774C4-280C-4CEC-9877-39FB4FD2FA74}"/>
              </a:ext>
            </a:extLst>
          </p:cNvPr>
          <p:cNvSpPr/>
          <p:nvPr/>
        </p:nvSpPr>
        <p:spPr>
          <a:xfrm>
            <a:off x="1597091" y="5767307"/>
            <a:ext cx="719138" cy="165804"/>
          </a:xfrm>
          <a:prstGeom prst="rect">
            <a:avLst/>
          </a:prstGeom>
          <a:gradFill flip="none" rotWithShape="1">
            <a:gsLst>
              <a:gs pos="46000">
                <a:schemeClr val="accent1"/>
              </a:gs>
              <a:gs pos="100000">
                <a:schemeClr val="accent1">
                  <a:lumMod val="40000"/>
                  <a:lumOff val="60000"/>
                </a:schemeClr>
              </a:gs>
              <a:gs pos="78000">
                <a:schemeClr val="accent1">
                  <a:lumMod val="60000"/>
                  <a:lumOff val="40000"/>
                </a:schemeClr>
              </a:gs>
            </a:gsLst>
            <a:lin ang="10800000" scaled="1"/>
            <a:tileRect/>
          </a:gradFill>
          <a:ln w="38100" cap="rnd" cmpd="sng">
            <a:noFill/>
            <a:prstDash val="sysDash"/>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pPr marL="0" marR="0" lvl="0" indent="0" algn="ctr" defTabSz="914400" rtl="0" eaLnBrk="1" fontAlgn="auto" latinLnBrk="0" hangingPunct="1">
              <a:lnSpc>
                <a:spcPct val="100000"/>
              </a:lnSpc>
              <a:spcBef>
                <a:spcPts val="1000"/>
              </a:spcBef>
              <a:spcAft>
                <a:spcPts val="0"/>
              </a:spcAft>
              <a:buClrTx/>
              <a:buSzTx/>
              <a:buFontTx/>
              <a:buNone/>
              <a:tabLst/>
              <a:defRPr/>
            </a:pPr>
            <a:endParaRPr kumimoji="0" lang="en-US" sz="1400" b="1" i="0" u="none" strike="noStrike" kern="1200" cap="none" spc="0" normalizeH="0" baseline="0" noProof="0" dirty="0">
              <a:ln>
                <a:noFill/>
              </a:ln>
              <a:solidFill>
                <a:srgbClr val="222222"/>
              </a:solidFill>
              <a:effectLst/>
              <a:uLnTx/>
              <a:uFillTx/>
              <a:latin typeface="Inter"/>
              <a:ea typeface="+mn-ea"/>
              <a:cs typeface="+mn-cs"/>
            </a:endParaRPr>
          </a:p>
        </p:txBody>
      </p:sp>
      <p:sp>
        <p:nvSpPr>
          <p:cNvPr id="21" name="Rectangle 39">
            <a:extLst>
              <a:ext uri="{FF2B5EF4-FFF2-40B4-BE49-F238E27FC236}">
                <a16:creationId xmlns:a16="http://schemas.microsoft.com/office/drawing/2014/main" id="{68763C00-A359-4767-9B3C-19C1703F8C37}"/>
              </a:ext>
            </a:extLst>
          </p:cNvPr>
          <p:cNvSpPr/>
          <p:nvPr/>
        </p:nvSpPr>
        <p:spPr>
          <a:xfrm>
            <a:off x="1606371" y="6017801"/>
            <a:ext cx="1438276" cy="165804"/>
          </a:xfrm>
          <a:prstGeom prst="rect">
            <a:avLst/>
          </a:prstGeom>
          <a:gradFill flip="none" rotWithShape="1">
            <a:gsLst>
              <a:gs pos="46000">
                <a:schemeClr val="accent1"/>
              </a:gs>
              <a:gs pos="100000">
                <a:schemeClr val="accent1">
                  <a:lumMod val="40000"/>
                  <a:lumOff val="60000"/>
                </a:schemeClr>
              </a:gs>
              <a:gs pos="78000">
                <a:schemeClr val="accent1">
                  <a:lumMod val="60000"/>
                  <a:lumOff val="40000"/>
                </a:schemeClr>
              </a:gs>
            </a:gsLst>
            <a:lin ang="10800000" scaled="1"/>
            <a:tileRect/>
          </a:gradFill>
          <a:ln w="38100" cap="rnd" cmpd="sng">
            <a:noFill/>
            <a:prstDash val="sysDash"/>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pPr marL="0" marR="0" lvl="0" indent="0" algn="ctr" defTabSz="914400" rtl="0" eaLnBrk="1" fontAlgn="auto" latinLnBrk="0" hangingPunct="1">
              <a:lnSpc>
                <a:spcPct val="100000"/>
              </a:lnSpc>
              <a:spcBef>
                <a:spcPts val="1000"/>
              </a:spcBef>
              <a:spcAft>
                <a:spcPts val="0"/>
              </a:spcAft>
              <a:buClrTx/>
              <a:buSzTx/>
              <a:buFontTx/>
              <a:buNone/>
              <a:tabLst/>
              <a:defRPr/>
            </a:pPr>
            <a:endParaRPr kumimoji="0" lang="en-US" sz="1400" b="1" i="0" u="none" strike="noStrike" kern="1200" cap="none" spc="0" normalizeH="0" baseline="0" noProof="0" dirty="0">
              <a:ln>
                <a:noFill/>
              </a:ln>
              <a:solidFill>
                <a:srgbClr val="222222"/>
              </a:solidFill>
              <a:effectLst/>
              <a:uLnTx/>
              <a:uFillTx/>
              <a:latin typeface="Inter"/>
              <a:ea typeface="+mn-ea"/>
              <a:cs typeface="+mn-cs"/>
            </a:endParaRPr>
          </a:p>
        </p:txBody>
      </p:sp>
      <p:sp>
        <p:nvSpPr>
          <p:cNvPr id="22" name="TextBox 40">
            <a:extLst>
              <a:ext uri="{FF2B5EF4-FFF2-40B4-BE49-F238E27FC236}">
                <a16:creationId xmlns:a16="http://schemas.microsoft.com/office/drawing/2014/main" id="{AC701B14-EE5A-4AB2-B25A-221E7BD52130}"/>
              </a:ext>
            </a:extLst>
          </p:cNvPr>
          <p:cNvSpPr txBox="1"/>
          <p:nvPr/>
        </p:nvSpPr>
        <p:spPr>
          <a:xfrm>
            <a:off x="1055688" y="5455641"/>
            <a:ext cx="491421" cy="288147"/>
          </a:xfrm>
          <a:prstGeom prst="rect">
            <a:avLst/>
          </a:prstGeom>
          <a:noFill/>
        </p:spPr>
        <p:txBody>
          <a:bodyPr wrap="square" lIns="0" tIns="36000" rIns="0" bIns="36000" rtlCol="0">
            <a:spAutoFit/>
          </a:bodyPr>
          <a:lstStyle/>
          <a:p>
            <a:pPr marL="0" marR="0" lvl="0" indent="0" algn="l" defTabSz="914400" rtl="0" eaLnBrk="1" fontAlgn="auto" latinLnBrk="0" hangingPunct="1">
              <a:lnSpc>
                <a:spcPct val="100000"/>
              </a:lnSpc>
              <a:spcBef>
                <a:spcPts val="1000"/>
              </a:spcBef>
              <a:spcAft>
                <a:spcPts val="0"/>
              </a:spcAft>
              <a:buClrTx/>
              <a:buSzTx/>
              <a:buFontTx/>
              <a:buNone/>
              <a:tabLst/>
              <a:defRPr/>
            </a:pPr>
            <a:r>
              <a:rPr kumimoji="0" lang="en-US" sz="1400" b="1" i="0" u="none" strike="noStrike" kern="1200" cap="none" spc="0" normalizeH="0" baseline="0" noProof="0" dirty="0">
                <a:ln>
                  <a:noFill/>
                </a:ln>
                <a:solidFill>
                  <a:prstClr val="black">
                    <a:lumMod val="75000"/>
                    <a:lumOff val="25000"/>
                  </a:prstClr>
                </a:solidFill>
                <a:effectLst/>
                <a:uLnTx/>
                <a:uFillTx/>
                <a:latin typeface="HarmonyOS Sans SC Black"/>
                <a:ea typeface="+mj-ea"/>
                <a:cs typeface="+mn-cs"/>
              </a:rPr>
              <a:t>20%</a:t>
            </a:r>
          </a:p>
        </p:txBody>
      </p:sp>
      <p:sp>
        <p:nvSpPr>
          <p:cNvPr id="23" name="TextBox 41">
            <a:extLst>
              <a:ext uri="{FF2B5EF4-FFF2-40B4-BE49-F238E27FC236}">
                <a16:creationId xmlns:a16="http://schemas.microsoft.com/office/drawing/2014/main" id="{189D3A0E-61CB-414A-BB3C-CE5086962876}"/>
              </a:ext>
            </a:extLst>
          </p:cNvPr>
          <p:cNvSpPr txBox="1"/>
          <p:nvPr/>
        </p:nvSpPr>
        <p:spPr>
          <a:xfrm>
            <a:off x="1055688" y="5715182"/>
            <a:ext cx="491421" cy="288147"/>
          </a:xfrm>
          <a:prstGeom prst="rect">
            <a:avLst/>
          </a:prstGeom>
          <a:noFill/>
        </p:spPr>
        <p:txBody>
          <a:bodyPr wrap="square" lIns="0" tIns="36000" rIns="0" bIns="36000" rtlCol="0">
            <a:spAutoFit/>
          </a:bodyPr>
          <a:lstStyle/>
          <a:p>
            <a:pPr marL="0" marR="0" lvl="0" indent="0" algn="l" defTabSz="914400" rtl="0" eaLnBrk="1" fontAlgn="auto" latinLnBrk="0" hangingPunct="1">
              <a:lnSpc>
                <a:spcPct val="100000"/>
              </a:lnSpc>
              <a:spcBef>
                <a:spcPts val="1000"/>
              </a:spcBef>
              <a:spcAft>
                <a:spcPts val="0"/>
              </a:spcAft>
              <a:buClrTx/>
              <a:buSzTx/>
              <a:buFontTx/>
              <a:buNone/>
              <a:tabLst/>
              <a:defRPr/>
            </a:pPr>
            <a:r>
              <a:rPr kumimoji="0" lang="mn-MN" sz="1400" b="1" i="0" u="none" strike="noStrike" kern="1200" cap="none" spc="0" normalizeH="0" baseline="0" noProof="0" dirty="0">
                <a:ln>
                  <a:noFill/>
                </a:ln>
                <a:solidFill>
                  <a:prstClr val="black">
                    <a:lumMod val="75000"/>
                    <a:lumOff val="25000"/>
                  </a:prstClr>
                </a:solidFill>
                <a:effectLst/>
                <a:uLnTx/>
                <a:uFillTx/>
                <a:latin typeface="HarmonyOS Sans SC Black"/>
                <a:ea typeface="+mj-ea"/>
                <a:cs typeface="+mn-cs"/>
              </a:rPr>
              <a:t>30</a:t>
            </a:r>
            <a:r>
              <a:rPr kumimoji="0" lang="en-US" sz="1400" b="1" i="0" u="none" strike="noStrike" kern="1200" cap="none" spc="0" normalizeH="0" baseline="0" noProof="0" dirty="0">
                <a:ln>
                  <a:noFill/>
                </a:ln>
                <a:solidFill>
                  <a:prstClr val="black">
                    <a:lumMod val="75000"/>
                    <a:lumOff val="25000"/>
                  </a:prstClr>
                </a:solidFill>
                <a:effectLst/>
                <a:uLnTx/>
                <a:uFillTx/>
                <a:latin typeface="HarmonyOS Sans SC Black"/>
                <a:ea typeface="+mj-ea"/>
                <a:cs typeface="+mn-cs"/>
              </a:rPr>
              <a:t>%</a:t>
            </a:r>
          </a:p>
        </p:txBody>
      </p:sp>
      <p:sp>
        <p:nvSpPr>
          <p:cNvPr id="24" name="TextBox 42">
            <a:extLst>
              <a:ext uri="{FF2B5EF4-FFF2-40B4-BE49-F238E27FC236}">
                <a16:creationId xmlns:a16="http://schemas.microsoft.com/office/drawing/2014/main" id="{CC5B2EDC-6C10-43DB-BBF5-D06E7C05F075}"/>
              </a:ext>
            </a:extLst>
          </p:cNvPr>
          <p:cNvSpPr txBox="1"/>
          <p:nvPr/>
        </p:nvSpPr>
        <p:spPr>
          <a:xfrm>
            <a:off x="1055688" y="5956629"/>
            <a:ext cx="491421" cy="288147"/>
          </a:xfrm>
          <a:prstGeom prst="rect">
            <a:avLst/>
          </a:prstGeom>
          <a:noFill/>
        </p:spPr>
        <p:txBody>
          <a:bodyPr wrap="square" lIns="0" tIns="36000" rIns="0" bIns="36000" rtlCol="0">
            <a:spAutoFit/>
          </a:bodyPr>
          <a:lstStyle/>
          <a:p>
            <a:pPr marL="0" marR="0" lvl="0" indent="0" algn="l" defTabSz="914400" rtl="0" eaLnBrk="1" fontAlgn="auto" latinLnBrk="0" hangingPunct="1">
              <a:lnSpc>
                <a:spcPct val="100000"/>
              </a:lnSpc>
              <a:spcBef>
                <a:spcPts val="1000"/>
              </a:spcBef>
              <a:spcAft>
                <a:spcPts val="0"/>
              </a:spcAft>
              <a:buClrTx/>
              <a:buSzTx/>
              <a:buFontTx/>
              <a:buNone/>
              <a:tabLst/>
              <a:defRPr/>
            </a:pPr>
            <a:r>
              <a:rPr kumimoji="0" lang="en-US" sz="1400" b="1" i="0" u="none" strike="noStrike" kern="1200" cap="none" spc="0" normalizeH="0" baseline="0" noProof="0" dirty="0">
                <a:ln>
                  <a:noFill/>
                </a:ln>
                <a:solidFill>
                  <a:prstClr val="black">
                    <a:lumMod val="75000"/>
                    <a:lumOff val="25000"/>
                  </a:prstClr>
                </a:solidFill>
                <a:effectLst/>
                <a:uLnTx/>
                <a:uFillTx/>
                <a:latin typeface="HarmonyOS Sans SC Black"/>
                <a:ea typeface="+mj-ea"/>
                <a:cs typeface="+mn-cs"/>
              </a:rPr>
              <a:t>80%</a:t>
            </a:r>
          </a:p>
        </p:txBody>
      </p:sp>
      <p:sp>
        <p:nvSpPr>
          <p:cNvPr id="35" name="Freeform: Shape 39">
            <a:extLst>
              <a:ext uri="{FF2B5EF4-FFF2-40B4-BE49-F238E27FC236}">
                <a16:creationId xmlns:a16="http://schemas.microsoft.com/office/drawing/2014/main" id="{95088B09-B0F4-4E58-BFA8-737540C89DCA}"/>
              </a:ext>
            </a:extLst>
          </p:cNvPr>
          <p:cNvSpPr>
            <a:spLocks/>
          </p:cNvSpPr>
          <p:nvPr/>
        </p:nvSpPr>
        <p:spPr bwMode="auto">
          <a:xfrm>
            <a:off x="4751863" y="1996677"/>
            <a:ext cx="2685955" cy="3637971"/>
          </a:xfrm>
          <a:custGeom>
            <a:avLst/>
            <a:gdLst>
              <a:gd name="connsiteX0" fmla="*/ 632151 w 2685955"/>
              <a:gd name="connsiteY0" fmla="*/ 25 h 3637971"/>
              <a:gd name="connsiteX1" fmla="*/ 1266958 w 2685955"/>
              <a:gd name="connsiteY1" fmla="*/ 230744 h 3637971"/>
              <a:gd name="connsiteX2" fmla="*/ 2681902 w 2685955"/>
              <a:gd name="connsiteY2" fmla="*/ 2679364 h 3637971"/>
              <a:gd name="connsiteX3" fmla="*/ 2579033 w 2685955"/>
              <a:gd name="connsiteY3" fmla="*/ 3317039 h 3637971"/>
              <a:gd name="connsiteX4" fmla="*/ 2577132 w 2685955"/>
              <a:gd name="connsiteY4" fmla="*/ 3315642 h 3637971"/>
              <a:gd name="connsiteX5" fmla="*/ 2575716 w 2685955"/>
              <a:gd name="connsiteY5" fmla="*/ 3308625 h 3637971"/>
              <a:gd name="connsiteX6" fmla="*/ 2549333 w 2685955"/>
              <a:gd name="connsiteY6" fmla="*/ 3269494 h 3637971"/>
              <a:gd name="connsiteX7" fmla="*/ 2515815 w 2685955"/>
              <a:gd name="connsiteY7" fmla="*/ 3246896 h 3637971"/>
              <a:gd name="connsiteX8" fmla="*/ 2554083 w 2685955"/>
              <a:gd name="connsiteY8" fmla="*/ 3147946 h 3637971"/>
              <a:gd name="connsiteX9" fmla="*/ 2594961 w 2685955"/>
              <a:gd name="connsiteY9" fmla="*/ 2684667 h 3637971"/>
              <a:gd name="connsiteX10" fmla="*/ 1218510 w 2685955"/>
              <a:gd name="connsiteY10" fmla="*/ 302997 h 3637971"/>
              <a:gd name="connsiteX11" fmla="*/ 90935 w 2685955"/>
              <a:gd name="connsiteY11" fmla="*/ 953266 h 3637971"/>
              <a:gd name="connsiteX12" fmla="*/ 1467386 w 2685955"/>
              <a:gd name="connsiteY12" fmla="*/ 3334936 h 3637971"/>
              <a:gd name="connsiteX13" fmla="*/ 1922083 w 2685955"/>
              <a:gd name="connsiteY13" fmla="*/ 3538052 h 3637971"/>
              <a:gd name="connsiteX14" fmla="*/ 2044483 w 2685955"/>
              <a:gd name="connsiteY14" fmla="*/ 3550701 h 3637971"/>
              <a:gd name="connsiteX15" fmla="*/ 2046743 w 2685955"/>
              <a:gd name="connsiteY15" fmla="*/ 3573114 h 3637971"/>
              <a:gd name="connsiteX16" fmla="*/ 2058907 w 2685955"/>
              <a:gd name="connsiteY16" fmla="*/ 3612301 h 3637971"/>
              <a:gd name="connsiteX17" fmla="*/ 2068471 w 2685955"/>
              <a:gd name="connsiteY17" fmla="*/ 3626487 h 3637971"/>
              <a:gd name="connsiteX18" fmla="*/ 2070662 w 2685955"/>
              <a:gd name="connsiteY18" fmla="*/ 3637865 h 3637971"/>
              <a:gd name="connsiteX19" fmla="*/ 1418938 w 2685955"/>
              <a:gd name="connsiteY19" fmla="*/ 3407188 h 3637971"/>
              <a:gd name="connsiteX20" fmla="*/ 3995 w 2685955"/>
              <a:gd name="connsiteY20" fmla="*/ 959232 h 3637971"/>
              <a:gd name="connsiteX21" fmla="*/ 632151 w 2685955"/>
              <a:gd name="connsiteY21" fmla="*/ 25 h 3637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685955" h="3637971">
                <a:moveTo>
                  <a:pt x="632151" y="25"/>
                </a:moveTo>
                <a:cubicBezTo>
                  <a:pt x="817737" y="1577"/>
                  <a:pt x="1034052" y="75800"/>
                  <a:pt x="1266958" y="230744"/>
                </a:cubicBezTo>
                <a:cubicBezTo>
                  <a:pt x="1993676" y="715298"/>
                  <a:pt x="2625490" y="1808360"/>
                  <a:pt x="2681902" y="2679364"/>
                </a:cubicBezTo>
                <a:cubicBezTo>
                  <a:pt x="2699157" y="2943183"/>
                  <a:pt x="2660664" y="3158614"/>
                  <a:pt x="2579033" y="3317039"/>
                </a:cubicBezTo>
                <a:lnTo>
                  <a:pt x="2577132" y="3315642"/>
                </a:lnTo>
                <a:lnTo>
                  <a:pt x="2575716" y="3308625"/>
                </a:lnTo>
                <a:cubicBezTo>
                  <a:pt x="2569486" y="3293897"/>
                  <a:pt x="2560472" y="3280634"/>
                  <a:pt x="2549333" y="3269494"/>
                </a:cubicBezTo>
                <a:lnTo>
                  <a:pt x="2515815" y="3246896"/>
                </a:lnTo>
                <a:lnTo>
                  <a:pt x="2554083" y="3147946"/>
                </a:lnTo>
                <a:cubicBezTo>
                  <a:pt x="2591975" y="3021112"/>
                  <a:pt x="2606907" y="2866126"/>
                  <a:pt x="2594961" y="2684667"/>
                </a:cubicBezTo>
                <a:cubicBezTo>
                  <a:pt x="2540540" y="1840841"/>
                  <a:pt x="1922664" y="772304"/>
                  <a:pt x="1218510" y="302997"/>
                </a:cubicBezTo>
                <a:cubicBezTo>
                  <a:pt x="532939" y="-153717"/>
                  <a:pt x="37842" y="132640"/>
                  <a:pt x="90935" y="953266"/>
                </a:cubicBezTo>
                <a:cubicBezTo>
                  <a:pt x="145356" y="1797092"/>
                  <a:pt x="763233" y="2866291"/>
                  <a:pt x="1467386" y="3334936"/>
                </a:cubicBezTo>
                <a:cubicBezTo>
                  <a:pt x="1631644" y="3444309"/>
                  <a:pt x="1784703" y="3511175"/>
                  <a:pt x="1922083" y="3538052"/>
                </a:cubicBezTo>
                <a:lnTo>
                  <a:pt x="2044483" y="3550701"/>
                </a:lnTo>
                <a:lnTo>
                  <a:pt x="2046743" y="3573114"/>
                </a:lnTo>
                <a:cubicBezTo>
                  <a:pt x="2049523" y="3586704"/>
                  <a:pt x="2053625" y="3599813"/>
                  <a:pt x="2058907" y="3612301"/>
                </a:cubicBezTo>
                <a:lnTo>
                  <a:pt x="2068471" y="3626487"/>
                </a:lnTo>
                <a:lnTo>
                  <a:pt x="2070662" y="3637865"/>
                </a:lnTo>
                <a:cubicBezTo>
                  <a:pt x="1881516" y="3641179"/>
                  <a:pt x="1659187" y="3566938"/>
                  <a:pt x="1418938" y="3407188"/>
                </a:cubicBezTo>
                <a:cubicBezTo>
                  <a:pt x="692220" y="2923298"/>
                  <a:pt x="60406" y="1829572"/>
                  <a:pt x="3995" y="959232"/>
                </a:cubicBezTo>
                <a:cubicBezTo>
                  <a:pt x="-35701" y="344923"/>
                  <a:pt x="223861" y="-3389"/>
                  <a:pt x="632151" y="25"/>
                </a:cubicBezTo>
                <a:close/>
              </a:path>
            </a:pathLst>
          </a:custGeom>
          <a:gradFill>
            <a:gsLst>
              <a:gs pos="46000">
                <a:schemeClr val="accent1"/>
              </a:gs>
              <a:gs pos="100000">
                <a:schemeClr val="accent1">
                  <a:lumMod val="40000"/>
                  <a:lumOff val="60000"/>
                </a:schemeClr>
              </a:gs>
              <a:gs pos="78000">
                <a:schemeClr val="accent1">
                  <a:lumMod val="60000"/>
                  <a:lumOff val="40000"/>
                </a:schemeClr>
              </a:gs>
            </a:gsLst>
            <a:lin ang="5400000" scaled="1"/>
          </a:gradFill>
          <a:ln>
            <a:noFill/>
          </a:ln>
          <a:effectLst>
            <a:outerShdw blurRad="215900" sx="102000" sy="102000" algn="ctr" rotWithShape="0">
              <a:schemeClr val="accent1">
                <a:lumMod val="75000"/>
                <a:alpha val="14000"/>
              </a:schemeClr>
            </a:outerShdw>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22222"/>
              </a:solidFill>
              <a:effectLst/>
              <a:uLnTx/>
              <a:uFillTx/>
              <a:latin typeface="Inter"/>
              <a:cs typeface="+mn-cs"/>
            </a:endParaRPr>
          </a:p>
        </p:txBody>
      </p:sp>
      <p:sp>
        <p:nvSpPr>
          <p:cNvPr id="36" name="Freeform 6">
            <a:extLst>
              <a:ext uri="{FF2B5EF4-FFF2-40B4-BE49-F238E27FC236}">
                <a16:creationId xmlns:a16="http://schemas.microsoft.com/office/drawing/2014/main" id="{10800851-5262-4A70-8EF0-336EA15D6807}"/>
              </a:ext>
            </a:extLst>
          </p:cNvPr>
          <p:cNvSpPr>
            <a:spLocks/>
          </p:cNvSpPr>
          <p:nvPr/>
        </p:nvSpPr>
        <p:spPr bwMode="auto">
          <a:xfrm>
            <a:off x="4702880" y="1904470"/>
            <a:ext cx="2741958" cy="3990444"/>
          </a:xfrm>
          <a:custGeom>
            <a:avLst/>
            <a:gdLst>
              <a:gd name="T0" fmla="*/ 3989 w 4131"/>
              <a:gd name="T1" fmla="*/ 1192 h 6020"/>
              <a:gd name="T2" fmla="*/ 3991 w 4131"/>
              <a:gd name="T3" fmla="*/ 1570 h 6020"/>
              <a:gd name="T4" fmla="*/ 1917 w 4131"/>
              <a:gd name="T5" fmla="*/ 5163 h 6020"/>
              <a:gd name="T6" fmla="*/ 218 w 4131"/>
              <a:gd name="T7" fmla="*/ 4182 h 6020"/>
              <a:gd name="T8" fmla="*/ 2292 w 4131"/>
              <a:gd name="T9" fmla="*/ 589 h 6020"/>
              <a:gd name="T10" fmla="*/ 3764 w 4131"/>
              <a:gd name="T11" fmla="*/ 538 h 6020"/>
              <a:gd name="T12" fmla="*/ 3881 w 4131"/>
              <a:gd name="T13" fmla="*/ 478 h 6020"/>
              <a:gd name="T14" fmla="*/ 2219 w 4131"/>
              <a:gd name="T15" fmla="*/ 480 h 6020"/>
              <a:gd name="T16" fmla="*/ 87 w 4131"/>
              <a:gd name="T17" fmla="*/ 4174 h 6020"/>
              <a:gd name="T18" fmla="*/ 1990 w 4131"/>
              <a:gd name="T19" fmla="*/ 5272 h 6020"/>
              <a:gd name="T20" fmla="*/ 4122 w 4131"/>
              <a:gd name="T21" fmla="*/ 1579 h 6020"/>
              <a:gd name="T22" fmla="*/ 4117 w 4131"/>
              <a:gd name="T23" fmla="*/ 1168 h 6020"/>
              <a:gd name="T24" fmla="*/ 3989 w 4131"/>
              <a:gd name="T25" fmla="*/ 1192 h 60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131" h="6020">
                <a:moveTo>
                  <a:pt x="3989" y="1192"/>
                </a:moveTo>
                <a:cubicBezTo>
                  <a:pt x="3999" y="1308"/>
                  <a:pt x="4000" y="1434"/>
                  <a:pt x="3991" y="1570"/>
                </a:cubicBezTo>
                <a:cubicBezTo>
                  <a:pt x="3909" y="2843"/>
                  <a:pt x="2978" y="4456"/>
                  <a:pt x="1917" y="5163"/>
                </a:cubicBezTo>
                <a:cubicBezTo>
                  <a:pt x="885" y="5852"/>
                  <a:pt x="138" y="5420"/>
                  <a:pt x="218" y="4182"/>
                </a:cubicBezTo>
                <a:cubicBezTo>
                  <a:pt x="300" y="2909"/>
                  <a:pt x="1231" y="1297"/>
                  <a:pt x="2292" y="589"/>
                </a:cubicBezTo>
                <a:cubicBezTo>
                  <a:pt x="2939" y="157"/>
                  <a:pt x="3475" y="166"/>
                  <a:pt x="3764" y="538"/>
                </a:cubicBezTo>
                <a:cubicBezTo>
                  <a:pt x="3799" y="511"/>
                  <a:pt x="3838" y="491"/>
                  <a:pt x="3881" y="478"/>
                </a:cubicBezTo>
                <a:cubicBezTo>
                  <a:pt x="3556" y="35"/>
                  <a:pt x="2940" y="0"/>
                  <a:pt x="2219" y="480"/>
                </a:cubicBezTo>
                <a:cubicBezTo>
                  <a:pt x="1124" y="1210"/>
                  <a:pt x="172" y="2860"/>
                  <a:pt x="87" y="4174"/>
                </a:cubicBezTo>
                <a:cubicBezTo>
                  <a:pt x="0" y="5520"/>
                  <a:pt x="868" y="6020"/>
                  <a:pt x="1990" y="5272"/>
                </a:cubicBezTo>
                <a:cubicBezTo>
                  <a:pt x="3085" y="4542"/>
                  <a:pt x="4037" y="2892"/>
                  <a:pt x="4122" y="1579"/>
                </a:cubicBezTo>
                <a:cubicBezTo>
                  <a:pt x="4131" y="1431"/>
                  <a:pt x="4130" y="1294"/>
                  <a:pt x="4117" y="1168"/>
                </a:cubicBezTo>
                <a:cubicBezTo>
                  <a:pt x="4077" y="1183"/>
                  <a:pt x="4034" y="1192"/>
                  <a:pt x="3989" y="1192"/>
                </a:cubicBezTo>
                <a:close/>
              </a:path>
            </a:pathLst>
          </a:custGeom>
          <a:gradFill>
            <a:gsLst>
              <a:gs pos="46000">
                <a:schemeClr val="accent1"/>
              </a:gs>
              <a:gs pos="100000">
                <a:schemeClr val="accent1">
                  <a:lumMod val="40000"/>
                  <a:lumOff val="60000"/>
                </a:schemeClr>
              </a:gs>
              <a:gs pos="78000">
                <a:schemeClr val="accent1">
                  <a:lumMod val="60000"/>
                  <a:lumOff val="40000"/>
                </a:schemeClr>
              </a:gs>
            </a:gsLst>
            <a:lin ang="5400000" scaled="1"/>
          </a:gradFill>
          <a:ln>
            <a:noFill/>
          </a:ln>
          <a:effectLst>
            <a:outerShdw blurRad="215900" sx="102000" sy="102000" algn="ctr" rotWithShape="0">
              <a:schemeClr val="accent1">
                <a:lumMod val="75000"/>
                <a:alpha val="14000"/>
              </a:schemeClr>
            </a:outerShdw>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22222"/>
              </a:solidFill>
              <a:effectLst/>
              <a:uLnTx/>
              <a:uFillTx/>
              <a:latin typeface="Inter"/>
              <a:cs typeface="+mn-cs"/>
            </a:endParaRPr>
          </a:p>
        </p:txBody>
      </p:sp>
      <p:sp>
        <p:nvSpPr>
          <p:cNvPr id="37" name="Freeform 7">
            <a:extLst>
              <a:ext uri="{FF2B5EF4-FFF2-40B4-BE49-F238E27FC236}">
                <a16:creationId xmlns:a16="http://schemas.microsoft.com/office/drawing/2014/main" id="{BA79EFE0-824B-4C09-9297-0FDB919A2EB8}"/>
              </a:ext>
            </a:extLst>
          </p:cNvPr>
          <p:cNvSpPr>
            <a:spLocks/>
          </p:cNvSpPr>
          <p:nvPr/>
        </p:nvSpPr>
        <p:spPr bwMode="auto">
          <a:xfrm>
            <a:off x="4121150" y="2695824"/>
            <a:ext cx="4194176" cy="2230103"/>
          </a:xfrm>
          <a:custGeom>
            <a:avLst/>
            <a:gdLst>
              <a:gd name="T0" fmla="*/ 5114 w 6320"/>
              <a:gd name="T1" fmla="*/ 584 h 3364"/>
              <a:gd name="T2" fmla="*/ 849 w 6320"/>
              <a:gd name="T3" fmla="*/ 584 h 3364"/>
              <a:gd name="T4" fmla="*/ 0 w 6320"/>
              <a:gd name="T5" fmla="*/ 1386 h 3364"/>
              <a:gd name="T6" fmla="*/ 7 w 6320"/>
              <a:gd name="T7" fmla="*/ 1386 h 3364"/>
              <a:gd name="T8" fmla="*/ 130 w 6320"/>
              <a:gd name="T9" fmla="*/ 1413 h 3364"/>
              <a:gd name="T10" fmla="*/ 907 w 6320"/>
              <a:gd name="T11" fmla="*/ 701 h 3364"/>
              <a:gd name="T12" fmla="*/ 5056 w 6320"/>
              <a:gd name="T13" fmla="*/ 701 h 3364"/>
              <a:gd name="T14" fmla="*/ 5056 w 6320"/>
              <a:gd name="T15" fmla="*/ 2663 h 3364"/>
              <a:gd name="T16" fmla="*/ 907 w 6320"/>
              <a:gd name="T17" fmla="*/ 2663 h 3364"/>
              <a:gd name="T18" fmla="*/ 130 w 6320"/>
              <a:gd name="T19" fmla="*/ 1951 h 3364"/>
              <a:gd name="T20" fmla="*/ 7 w 6320"/>
              <a:gd name="T21" fmla="*/ 1978 h 3364"/>
              <a:gd name="T22" fmla="*/ 0 w 6320"/>
              <a:gd name="T23" fmla="*/ 1978 h 3364"/>
              <a:gd name="T24" fmla="*/ 849 w 6320"/>
              <a:gd name="T25" fmla="*/ 2781 h 3364"/>
              <a:gd name="T26" fmla="*/ 5114 w 6320"/>
              <a:gd name="T27" fmla="*/ 2781 h 3364"/>
              <a:gd name="T28" fmla="*/ 5114 w 6320"/>
              <a:gd name="T29" fmla="*/ 584 h 3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320" h="3364">
                <a:moveTo>
                  <a:pt x="5114" y="584"/>
                </a:moveTo>
                <a:cubicBezTo>
                  <a:pt x="3934" y="0"/>
                  <a:pt x="2029" y="0"/>
                  <a:pt x="849" y="584"/>
                </a:cubicBezTo>
                <a:cubicBezTo>
                  <a:pt x="395" y="808"/>
                  <a:pt x="112" y="1090"/>
                  <a:pt x="0" y="1386"/>
                </a:cubicBezTo>
                <a:cubicBezTo>
                  <a:pt x="3" y="1386"/>
                  <a:pt x="5" y="1386"/>
                  <a:pt x="7" y="1386"/>
                </a:cubicBezTo>
                <a:cubicBezTo>
                  <a:pt x="51" y="1386"/>
                  <a:pt x="93" y="1396"/>
                  <a:pt x="130" y="1413"/>
                </a:cubicBezTo>
                <a:cubicBezTo>
                  <a:pt x="236" y="1153"/>
                  <a:pt x="494" y="905"/>
                  <a:pt x="907" y="701"/>
                </a:cubicBezTo>
                <a:cubicBezTo>
                  <a:pt x="2051" y="135"/>
                  <a:pt x="3912" y="135"/>
                  <a:pt x="5056" y="701"/>
                </a:cubicBezTo>
                <a:cubicBezTo>
                  <a:pt x="6163" y="1248"/>
                  <a:pt x="6163" y="2116"/>
                  <a:pt x="5056" y="2663"/>
                </a:cubicBezTo>
                <a:cubicBezTo>
                  <a:pt x="3912" y="3229"/>
                  <a:pt x="2051" y="3229"/>
                  <a:pt x="907" y="2663"/>
                </a:cubicBezTo>
                <a:cubicBezTo>
                  <a:pt x="494" y="2459"/>
                  <a:pt x="236" y="2211"/>
                  <a:pt x="130" y="1951"/>
                </a:cubicBezTo>
                <a:cubicBezTo>
                  <a:pt x="93" y="1968"/>
                  <a:pt x="51" y="1978"/>
                  <a:pt x="7" y="1978"/>
                </a:cubicBezTo>
                <a:cubicBezTo>
                  <a:pt x="5" y="1978"/>
                  <a:pt x="3" y="1978"/>
                  <a:pt x="0" y="1978"/>
                </a:cubicBezTo>
                <a:cubicBezTo>
                  <a:pt x="112" y="2274"/>
                  <a:pt x="395" y="2556"/>
                  <a:pt x="849" y="2781"/>
                </a:cubicBezTo>
                <a:cubicBezTo>
                  <a:pt x="2029" y="3364"/>
                  <a:pt x="3934" y="3364"/>
                  <a:pt x="5114" y="2781"/>
                </a:cubicBezTo>
                <a:cubicBezTo>
                  <a:pt x="6320" y="2184"/>
                  <a:pt x="6320" y="1180"/>
                  <a:pt x="5114" y="584"/>
                </a:cubicBezTo>
                <a:close/>
              </a:path>
            </a:pathLst>
          </a:custGeom>
          <a:gradFill>
            <a:gsLst>
              <a:gs pos="46000">
                <a:schemeClr val="accent1"/>
              </a:gs>
              <a:gs pos="100000">
                <a:schemeClr val="accent1">
                  <a:lumMod val="40000"/>
                  <a:lumOff val="60000"/>
                </a:schemeClr>
              </a:gs>
              <a:gs pos="78000">
                <a:schemeClr val="accent1">
                  <a:lumMod val="60000"/>
                  <a:lumOff val="40000"/>
                </a:schemeClr>
              </a:gs>
            </a:gsLst>
            <a:lin ang="5400000" scaled="1"/>
          </a:gradFill>
          <a:ln>
            <a:noFill/>
          </a:ln>
          <a:effectLst>
            <a:outerShdw blurRad="215900" sx="102000" sy="102000" algn="ctr" rotWithShape="0">
              <a:schemeClr val="accent1">
                <a:lumMod val="75000"/>
                <a:alpha val="14000"/>
              </a:schemeClr>
            </a:outerShdw>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22222"/>
              </a:solidFill>
              <a:effectLst/>
              <a:uLnTx/>
              <a:uFillTx/>
              <a:latin typeface="Inter"/>
              <a:cs typeface="+mn-cs"/>
            </a:endParaRPr>
          </a:p>
        </p:txBody>
      </p:sp>
      <p:sp>
        <p:nvSpPr>
          <p:cNvPr id="27" name="Oval 45">
            <a:extLst>
              <a:ext uri="{FF2B5EF4-FFF2-40B4-BE49-F238E27FC236}">
                <a16:creationId xmlns:a16="http://schemas.microsoft.com/office/drawing/2014/main" id="{19E24824-3DAF-4DC7-BFEE-6E2F99468ABD}"/>
              </a:ext>
            </a:extLst>
          </p:cNvPr>
          <p:cNvSpPr/>
          <p:nvPr/>
        </p:nvSpPr>
        <p:spPr>
          <a:xfrm>
            <a:off x="7160588" y="2285304"/>
            <a:ext cx="345023" cy="345023"/>
          </a:xfrm>
          <a:prstGeom prst="ellipse">
            <a:avLst/>
          </a:prstGeom>
          <a:noFill/>
          <a:ln w="63500" cap="rnd" cmpd="sng">
            <a:gradFill>
              <a:gsLst>
                <a:gs pos="0">
                  <a:schemeClr val="accent1"/>
                </a:gs>
                <a:gs pos="93805">
                  <a:schemeClr val="accent1">
                    <a:lumMod val="40000"/>
                    <a:lumOff val="60000"/>
                  </a:schemeClr>
                </a:gs>
                <a:gs pos="71000">
                  <a:schemeClr val="accent1">
                    <a:lumMod val="60000"/>
                    <a:lumOff val="40000"/>
                  </a:schemeClr>
                </a:gs>
              </a:gsLst>
              <a:lin ang="5400000" scaled="1"/>
            </a:gra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pPr marL="0" marR="0" lvl="0" indent="0" algn="ctr" defTabSz="914400" rtl="0" eaLnBrk="1" fontAlgn="auto" latinLnBrk="0" hangingPunct="1">
              <a:lnSpc>
                <a:spcPct val="100000"/>
              </a:lnSpc>
              <a:spcBef>
                <a:spcPts val="1000"/>
              </a:spcBef>
              <a:spcAft>
                <a:spcPts val="0"/>
              </a:spcAft>
              <a:buClrTx/>
              <a:buSzTx/>
              <a:buFontTx/>
              <a:buNone/>
              <a:tabLst/>
              <a:defRPr/>
            </a:pPr>
            <a:endParaRPr kumimoji="0" lang="en-US" sz="1400" b="1" i="0" u="none" strike="noStrike" kern="1200" cap="none" spc="0" normalizeH="0" baseline="0" noProof="0" dirty="0">
              <a:ln>
                <a:noFill/>
              </a:ln>
              <a:solidFill>
                <a:srgbClr val="222222"/>
              </a:solidFill>
              <a:effectLst/>
              <a:uLnTx/>
              <a:uFillTx/>
              <a:latin typeface="Inter"/>
              <a:ea typeface="+mn-ea"/>
              <a:cs typeface="+mn-cs"/>
            </a:endParaRPr>
          </a:p>
        </p:txBody>
      </p:sp>
      <p:sp>
        <p:nvSpPr>
          <p:cNvPr id="29" name="Oval 47">
            <a:extLst>
              <a:ext uri="{FF2B5EF4-FFF2-40B4-BE49-F238E27FC236}">
                <a16:creationId xmlns:a16="http://schemas.microsoft.com/office/drawing/2014/main" id="{0876A407-6BC4-4DDB-A897-7E5623BD8866}"/>
              </a:ext>
            </a:extLst>
          </p:cNvPr>
          <p:cNvSpPr/>
          <p:nvPr/>
        </p:nvSpPr>
        <p:spPr>
          <a:xfrm flipV="1">
            <a:off x="7242610" y="2367326"/>
            <a:ext cx="180978" cy="180978"/>
          </a:xfrm>
          <a:prstGeom prst="ellipse">
            <a:avLst/>
          </a:prstGeom>
          <a:gradFill>
            <a:gsLst>
              <a:gs pos="73000">
                <a:schemeClr val="accent1"/>
              </a:gs>
              <a:gs pos="31000">
                <a:schemeClr val="accent1">
                  <a:lumMod val="60000"/>
                  <a:lumOff val="40000"/>
                </a:schemeClr>
              </a:gs>
              <a:gs pos="0">
                <a:schemeClr val="accent1">
                  <a:lumMod val="40000"/>
                  <a:lumOff val="60000"/>
                </a:schemeClr>
              </a:gs>
            </a:gsLst>
            <a:path path="circle">
              <a:fillToRect r="100000" b="100000"/>
            </a:path>
          </a:gradFill>
          <a:ln>
            <a:noFill/>
          </a:ln>
          <a:effectLst>
            <a:reflection blurRad="6350" stA="8000" endPos="38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HarmonyOS Sans SC"/>
              <a:cs typeface="+mn-cs"/>
            </a:endParaRPr>
          </a:p>
        </p:txBody>
      </p:sp>
      <p:sp>
        <p:nvSpPr>
          <p:cNvPr id="30" name="TextBox 48">
            <a:extLst>
              <a:ext uri="{FF2B5EF4-FFF2-40B4-BE49-F238E27FC236}">
                <a16:creationId xmlns:a16="http://schemas.microsoft.com/office/drawing/2014/main" id="{8E814F59-72AD-4EA8-A7E9-6B52635CB96E}"/>
              </a:ext>
            </a:extLst>
          </p:cNvPr>
          <p:cNvSpPr txBox="1"/>
          <p:nvPr/>
        </p:nvSpPr>
        <p:spPr>
          <a:xfrm>
            <a:off x="5234891" y="3332402"/>
            <a:ext cx="1722219" cy="824384"/>
          </a:xfrm>
          <a:prstGeom prst="rect">
            <a:avLst/>
          </a:prstGeom>
          <a:noFill/>
        </p:spPr>
        <p:txBody>
          <a:bodyPr wrap="square" lIns="0" tIns="36000" rIns="0" bIns="36000" rtlCol="0">
            <a:spAutoFit/>
          </a:bodyPr>
          <a:lstStyle/>
          <a:p>
            <a:pPr marL="0" marR="0" lvl="0" indent="0" algn="ctr" defTabSz="914400" rtl="0" eaLnBrk="1" fontAlgn="auto" latinLnBrk="0" hangingPunct="1">
              <a:lnSpc>
                <a:spcPct val="130000"/>
              </a:lnSpc>
              <a:spcBef>
                <a:spcPts val="1000"/>
              </a:spcBef>
              <a:spcAft>
                <a:spcPts val="0"/>
              </a:spcAft>
              <a:buClrTx/>
              <a:buSzTx/>
              <a:buFontTx/>
              <a:buNone/>
              <a:tabLst/>
              <a:defRPr/>
            </a:pPr>
            <a:r>
              <a:rPr kumimoji="0" lang="en-US" sz="1400" b="1" i="0" u="none" strike="noStrike" kern="1200" cap="none" spc="0" normalizeH="0" baseline="0" noProof="0" dirty="0">
                <a:ln>
                  <a:noFill/>
                </a:ln>
                <a:solidFill>
                  <a:prstClr val="black">
                    <a:lumMod val="75000"/>
                    <a:lumOff val="25000"/>
                  </a:prstClr>
                </a:solidFill>
                <a:effectLst/>
                <a:uLnTx/>
                <a:uFillTx/>
                <a:latin typeface="HarmonyOS Sans SC Black"/>
                <a:ea typeface="+mj-ea"/>
                <a:cs typeface="+mn-cs"/>
              </a:rPr>
              <a:t>Overview</a:t>
            </a:r>
          </a:p>
          <a:p>
            <a:pPr marL="0" marR="0" lvl="0" indent="0" algn="ctr" defTabSz="914400" rtl="0" eaLnBrk="1" fontAlgn="auto" latinLnBrk="0" hangingPunct="1">
              <a:lnSpc>
                <a:spcPct val="130000"/>
              </a:lnSpc>
              <a:spcBef>
                <a:spcPts val="1000"/>
              </a:spcBef>
              <a:spcAft>
                <a:spcPts val="0"/>
              </a:spcAft>
              <a:buClrTx/>
              <a:buSzTx/>
              <a:buFontTx/>
              <a:buNone/>
              <a:tabLst/>
              <a:defRPr/>
            </a:pPr>
            <a:r>
              <a:rPr kumimoji="0" lang="en-US" sz="900" b="0" i="0" u="none" strike="noStrike" kern="1200" cap="none" spc="0" normalizeH="0" baseline="0" noProof="0" dirty="0">
                <a:ln>
                  <a:noFill/>
                </a:ln>
                <a:solidFill>
                  <a:prstClr val="black">
                    <a:lumMod val="50000"/>
                    <a:lumOff val="50000"/>
                  </a:prstClr>
                </a:solidFill>
                <a:effectLst/>
                <a:uLnTx/>
                <a:uFillTx/>
                <a:latin typeface="HarmonyOS Sans SC"/>
                <a:cs typeface="+mn-cs"/>
              </a:rPr>
              <a:t>A peep at some distant orb has power to raise and purify our.</a:t>
            </a:r>
          </a:p>
        </p:txBody>
      </p:sp>
      <p:sp>
        <p:nvSpPr>
          <p:cNvPr id="28" name="Oval 46">
            <a:extLst>
              <a:ext uri="{FF2B5EF4-FFF2-40B4-BE49-F238E27FC236}">
                <a16:creationId xmlns:a16="http://schemas.microsoft.com/office/drawing/2014/main" id="{9666B115-FCD6-4C91-8654-8DAF4427CD3B}"/>
              </a:ext>
            </a:extLst>
          </p:cNvPr>
          <p:cNvSpPr/>
          <p:nvPr/>
        </p:nvSpPr>
        <p:spPr>
          <a:xfrm flipV="1">
            <a:off x="7018340" y="5365497"/>
            <a:ext cx="180978" cy="180978"/>
          </a:xfrm>
          <a:prstGeom prst="ellipse">
            <a:avLst/>
          </a:prstGeom>
          <a:solidFill>
            <a:schemeClr val="accent4"/>
          </a:solidFill>
          <a:ln w="63500" cap="rnd" cmpd="sng">
            <a:noFill/>
            <a:prstDash val="solid"/>
            <a:miter lim="800000"/>
          </a:ln>
          <a:effectLst>
            <a:outerShdw blurRad="38100" dist="127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pPr marL="0" marR="0" lvl="0" indent="0" algn="ctr" defTabSz="914400" rtl="0" eaLnBrk="1" fontAlgn="auto" latinLnBrk="0" hangingPunct="1">
              <a:lnSpc>
                <a:spcPct val="100000"/>
              </a:lnSpc>
              <a:spcBef>
                <a:spcPts val="1000"/>
              </a:spcBef>
              <a:spcAft>
                <a:spcPts val="0"/>
              </a:spcAft>
              <a:buClrTx/>
              <a:buSzTx/>
              <a:buFontTx/>
              <a:buNone/>
              <a:tabLst/>
              <a:defRPr/>
            </a:pPr>
            <a:endParaRPr kumimoji="0" lang="en-US" sz="1400" b="1" i="0" u="none" strike="noStrike" kern="1200" cap="none" spc="0" normalizeH="0" baseline="0" noProof="0" dirty="0">
              <a:ln>
                <a:noFill/>
              </a:ln>
              <a:solidFill>
                <a:srgbClr val="222222"/>
              </a:solidFill>
              <a:effectLst/>
              <a:uLnTx/>
              <a:uFillTx/>
              <a:latin typeface="Inter"/>
              <a:ea typeface="+mn-ea"/>
              <a:cs typeface="+mn-cs"/>
            </a:endParaRPr>
          </a:p>
        </p:txBody>
      </p:sp>
      <p:sp>
        <p:nvSpPr>
          <p:cNvPr id="31" name="Oval 49">
            <a:extLst>
              <a:ext uri="{FF2B5EF4-FFF2-40B4-BE49-F238E27FC236}">
                <a16:creationId xmlns:a16="http://schemas.microsoft.com/office/drawing/2014/main" id="{8E63ECE5-0AF1-4847-94E0-53B69B142192}"/>
              </a:ext>
            </a:extLst>
          </p:cNvPr>
          <p:cNvSpPr/>
          <p:nvPr/>
        </p:nvSpPr>
        <p:spPr>
          <a:xfrm>
            <a:off x="6851336" y="5242555"/>
            <a:ext cx="469393" cy="469393"/>
          </a:xfrm>
          <a:prstGeom prst="ellipse">
            <a:avLst/>
          </a:prstGeom>
          <a:noFill/>
          <a:ln w="63500" cap="rnd" cmpd="sng">
            <a:gradFill>
              <a:gsLst>
                <a:gs pos="0">
                  <a:schemeClr val="accent1"/>
                </a:gs>
                <a:gs pos="93805">
                  <a:schemeClr val="accent1">
                    <a:lumMod val="40000"/>
                    <a:lumOff val="60000"/>
                  </a:schemeClr>
                </a:gs>
                <a:gs pos="71000">
                  <a:schemeClr val="accent1">
                    <a:lumMod val="60000"/>
                    <a:lumOff val="40000"/>
                  </a:schemeClr>
                </a:gs>
              </a:gsLst>
              <a:lin ang="5400000" scaled="1"/>
            </a:gra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pPr marL="0" marR="0" lvl="0" indent="0" algn="ctr" defTabSz="914400" rtl="0" eaLnBrk="1" fontAlgn="auto" latinLnBrk="0" hangingPunct="1">
              <a:lnSpc>
                <a:spcPct val="100000"/>
              </a:lnSpc>
              <a:spcBef>
                <a:spcPts val="1000"/>
              </a:spcBef>
              <a:spcAft>
                <a:spcPts val="0"/>
              </a:spcAft>
              <a:buClrTx/>
              <a:buSzTx/>
              <a:buFontTx/>
              <a:buNone/>
              <a:tabLst/>
              <a:defRPr/>
            </a:pPr>
            <a:endParaRPr kumimoji="0" lang="en-US" sz="1400" b="1" i="0" u="none" strike="noStrike" kern="1200" cap="none" spc="0" normalizeH="0" baseline="0" noProof="0" dirty="0">
              <a:ln>
                <a:noFill/>
              </a:ln>
              <a:solidFill>
                <a:srgbClr val="222222"/>
              </a:solidFill>
              <a:effectLst/>
              <a:uLnTx/>
              <a:uFillTx/>
              <a:latin typeface="Inter"/>
              <a:ea typeface="+mn-ea"/>
              <a:cs typeface="+mn-cs"/>
            </a:endParaRPr>
          </a:p>
        </p:txBody>
      </p:sp>
      <p:sp>
        <p:nvSpPr>
          <p:cNvPr id="32" name="Oval 50">
            <a:extLst>
              <a:ext uri="{FF2B5EF4-FFF2-40B4-BE49-F238E27FC236}">
                <a16:creationId xmlns:a16="http://schemas.microsoft.com/office/drawing/2014/main" id="{8189948F-5D28-4F67-8547-5DA00AFC37ED}"/>
              </a:ext>
            </a:extLst>
          </p:cNvPr>
          <p:cNvSpPr/>
          <p:nvPr/>
        </p:nvSpPr>
        <p:spPr>
          <a:xfrm flipV="1">
            <a:off x="6962925" y="5353501"/>
            <a:ext cx="246214" cy="246214"/>
          </a:xfrm>
          <a:prstGeom prst="ellipse">
            <a:avLst/>
          </a:prstGeom>
          <a:gradFill>
            <a:gsLst>
              <a:gs pos="73000">
                <a:schemeClr val="accent1"/>
              </a:gs>
              <a:gs pos="31000">
                <a:schemeClr val="accent1">
                  <a:lumMod val="60000"/>
                  <a:lumOff val="40000"/>
                </a:schemeClr>
              </a:gs>
              <a:gs pos="0">
                <a:schemeClr val="accent1">
                  <a:lumMod val="40000"/>
                  <a:lumOff val="60000"/>
                </a:schemeClr>
              </a:gs>
            </a:gsLst>
            <a:path path="circle">
              <a:fillToRect r="100000" b="100000"/>
            </a:path>
          </a:gradFill>
          <a:ln>
            <a:noFill/>
          </a:ln>
          <a:effectLst>
            <a:reflection blurRad="6350" stA="8000" endPos="38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HarmonyOS Sans SC"/>
              <a:cs typeface="+mn-cs"/>
            </a:endParaRPr>
          </a:p>
        </p:txBody>
      </p:sp>
      <p:sp>
        <p:nvSpPr>
          <p:cNvPr id="33" name="Oval 51">
            <a:extLst>
              <a:ext uri="{FF2B5EF4-FFF2-40B4-BE49-F238E27FC236}">
                <a16:creationId xmlns:a16="http://schemas.microsoft.com/office/drawing/2014/main" id="{029E5559-9D62-4EDB-B51D-9D611CFB6C4E}"/>
              </a:ext>
            </a:extLst>
          </p:cNvPr>
          <p:cNvSpPr/>
          <p:nvPr/>
        </p:nvSpPr>
        <p:spPr>
          <a:xfrm>
            <a:off x="3992889" y="3681361"/>
            <a:ext cx="256519" cy="256517"/>
          </a:xfrm>
          <a:prstGeom prst="ellipse">
            <a:avLst/>
          </a:prstGeom>
          <a:noFill/>
          <a:ln w="63500" cap="rnd" cmpd="sng">
            <a:gradFill>
              <a:gsLst>
                <a:gs pos="0">
                  <a:schemeClr val="accent1"/>
                </a:gs>
                <a:gs pos="93805">
                  <a:schemeClr val="accent1">
                    <a:lumMod val="40000"/>
                    <a:lumOff val="60000"/>
                  </a:schemeClr>
                </a:gs>
                <a:gs pos="71000">
                  <a:schemeClr val="accent1">
                    <a:lumMod val="60000"/>
                    <a:lumOff val="40000"/>
                  </a:schemeClr>
                </a:gs>
              </a:gsLst>
              <a:lin ang="5400000" scaled="1"/>
            </a:gra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pPr marL="0" marR="0" lvl="0" indent="0" algn="ctr" defTabSz="914400" rtl="0" eaLnBrk="1" fontAlgn="auto" latinLnBrk="0" hangingPunct="1">
              <a:lnSpc>
                <a:spcPct val="100000"/>
              </a:lnSpc>
              <a:spcBef>
                <a:spcPts val="1000"/>
              </a:spcBef>
              <a:spcAft>
                <a:spcPts val="0"/>
              </a:spcAft>
              <a:buClrTx/>
              <a:buSzTx/>
              <a:buFontTx/>
              <a:buNone/>
              <a:tabLst/>
              <a:defRPr/>
            </a:pPr>
            <a:endParaRPr kumimoji="0" lang="en-US" sz="1400" b="1" i="0" u="none" strike="noStrike" kern="1200" cap="none" spc="0" normalizeH="0" baseline="0" noProof="0" dirty="0">
              <a:ln>
                <a:noFill/>
              </a:ln>
              <a:solidFill>
                <a:srgbClr val="222222"/>
              </a:solidFill>
              <a:effectLst/>
              <a:uLnTx/>
              <a:uFillTx/>
              <a:latin typeface="Inter"/>
              <a:ea typeface="+mn-ea"/>
              <a:cs typeface="+mn-cs"/>
            </a:endParaRPr>
          </a:p>
        </p:txBody>
      </p:sp>
      <p:sp>
        <p:nvSpPr>
          <p:cNvPr id="34" name="Oval 52">
            <a:extLst>
              <a:ext uri="{FF2B5EF4-FFF2-40B4-BE49-F238E27FC236}">
                <a16:creationId xmlns:a16="http://schemas.microsoft.com/office/drawing/2014/main" id="{F24A96D9-703B-4B55-9F09-0EE31B1807FF}"/>
              </a:ext>
            </a:extLst>
          </p:cNvPr>
          <p:cNvSpPr/>
          <p:nvPr/>
        </p:nvSpPr>
        <p:spPr>
          <a:xfrm flipV="1">
            <a:off x="4056383" y="3744594"/>
            <a:ext cx="134554" cy="134554"/>
          </a:xfrm>
          <a:prstGeom prst="ellipse">
            <a:avLst/>
          </a:prstGeom>
          <a:gradFill>
            <a:gsLst>
              <a:gs pos="73000">
                <a:schemeClr val="accent1"/>
              </a:gs>
              <a:gs pos="31000">
                <a:schemeClr val="accent1">
                  <a:lumMod val="60000"/>
                  <a:lumOff val="40000"/>
                </a:schemeClr>
              </a:gs>
              <a:gs pos="0">
                <a:schemeClr val="accent1">
                  <a:lumMod val="40000"/>
                  <a:lumOff val="60000"/>
                </a:schemeClr>
              </a:gs>
            </a:gsLst>
            <a:path path="circle">
              <a:fillToRect r="100000" b="100000"/>
            </a:path>
          </a:gradFill>
          <a:ln>
            <a:noFill/>
          </a:ln>
          <a:effectLst>
            <a:reflection blurRad="6350" stA="8000" endPos="38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HarmonyOS Sans SC"/>
              <a:cs typeface="+mn-cs"/>
            </a:endParaRPr>
          </a:p>
        </p:txBody>
      </p:sp>
      <p:sp>
        <p:nvSpPr>
          <p:cNvPr id="41" name="Right Triangle 61">
            <a:extLst>
              <a:ext uri="{FF2B5EF4-FFF2-40B4-BE49-F238E27FC236}">
                <a16:creationId xmlns:a16="http://schemas.microsoft.com/office/drawing/2014/main" id="{E54FC93A-7113-45A6-99DA-D23A59E7B94D}"/>
              </a:ext>
            </a:extLst>
          </p:cNvPr>
          <p:cNvSpPr/>
          <p:nvPr/>
        </p:nvSpPr>
        <p:spPr>
          <a:xfrm flipV="1">
            <a:off x="1055689" y="803583"/>
            <a:ext cx="72580" cy="72177"/>
          </a:xfrm>
          <a:prstGeom prst="r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HarmonyOS Sans SC"/>
              <a:cs typeface="+mn-cs"/>
            </a:endParaRPr>
          </a:p>
        </p:txBody>
      </p:sp>
      <p:sp>
        <p:nvSpPr>
          <p:cNvPr id="42" name="文本框 41">
            <a:extLst>
              <a:ext uri="{FF2B5EF4-FFF2-40B4-BE49-F238E27FC236}">
                <a16:creationId xmlns:a16="http://schemas.microsoft.com/office/drawing/2014/main" id="{D2118ED3-E66F-4D7B-9DFA-66805D66641D}"/>
              </a:ext>
            </a:extLst>
          </p:cNvPr>
          <p:cNvSpPr txBox="1"/>
          <p:nvPr/>
        </p:nvSpPr>
        <p:spPr>
          <a:xfrm>
            <a:off x="941388" y="918105"/>
            <a:ext cx="3076483"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2800" b="0" i="0" u="none" strike="noStrike" kern="1200" cap="none" spc="0" normalizeH="0" baseline="0" noProof="0" dirty="0">
                <a:ln>
                  <a:noFill/>
                </a:ln>
                <a:solidFill>
                  <a:prstClr val="black"/>
                </a:solidFill>
                <a:effectLst/>
                <a:uLnTx/>
                <a:uFillTx/>
                <a:latin typeface="HarmonyOS Sans Black"/>
                <a:ea typeface="+mj-ea"/>
                <a:cs typeface="+mn-cs"/>
              </a:rPr>
              <a:t>Bazz</a:t>
            </a:r>
            <a:r>
              <a:rPr kumimoji="0" lang="en-US" altLang="zh-CN" sz="1800" b="0" i="0" u="none" strike="noStrike" kern="1200" cap="none" spc="0" normalizeH="0" baseline="0" noProof="0" dirty="0">
                <a:ln>
                  <a:noFill/>
                </a:ln>
                <a:solidFill>
                  <a:prstClr val="black"/>
                </a:solidFill>
                <a:effectLst/>
                <a:uLnTx/>
                <a:uFillTx/>
                <a:latin typeface="HarmonyOS Sans SC"/>
                <a:cs typeface="+mn-cs"/>
              </a:rPr>
              <a:t> </a:t>
            </a:r>
            <a:r>
              <a:rPr kumimoji="0" lang="en-US" altLang="zh-CN" sz="2800" b="0" i="0" u="none" strike="noStrike" kern="1200" cap="none" spc="0" normalizeH="0" baseline="0" noProof="0" dirty="0">
                <a:ln>
                  <a:noFill/>
                </a:ln>
                <a:solidFill>
                  <a:schemeClr val="accent1"/>
                </a:solidFill>
                <a:effectLst/>
                <a:uLnTx/>
                <a:uFillTx/>
                <a:latin typeface="HarmonyOS Sans Black"/>
                <a:ea typeface="+mj-ea"/>
                <a:cs typeface="+mn-cs"/>
              </a:rPr>
              <a:t>Infographic</a:t>
            </a:r>
          </a:p>
        </p:txBody>
      </p:sp>
    </p:spTree>
    <p:extLst>
      <p:ext uri="{BB962C8B-B14F-4D97-AF65-F5344CB8AC3E}">
        <p14:creationId xmlns:p14="http://schemas.microsoft.com/office/powerpoint/2010/main" val="3280028070"/>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a:extLst>
              <a:ext uri="{FF2B5EF4-FFF2-40B4-BE49-F238E27FC236}">
                <a16:creationId xmlns:a16="http://schemas.microsoft.com/office/drawing/2014/main" id="{4D2947A4-59CC-4023-9F9A-A54A136DCB3F}"/>
              </a:ext>
            </a:extLst>
          </p:cNvPr>
          <p:cNvSpPr/>
          <p:nvPr/>
        </p:nvSpPr>
        <p:spPr>
          <a:xfrm>
            <a:off x="0" y="2028825"/>
            <a:ext cx="12192000" cy="29813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p>
        </p:txBody>
      </p:sp>
      <p:grpSp>
        <p:nvGrpSpPr>
          <p:cNvPr id="6" name="组合 5">
            <a:extLst>
              <a:ext uri="{FF2B5EF4-FFF2-40B4-BE49-F238E27FC236}">
                <a16:creationId xmlns:a16="http://schemas.microsoft.com/office/drawing/2014/main" id="{BB090D6E-ECF5-4E0A-8657-9AE1E6A87463}"/>
              </a:ext>
            </a:extLst>
          </p:cNvPr>
          <p:cNvGrpSpPr/>
          <p:nvPr/>
        </p:nvGrpSpPr>
        <p:grpSpPr>
          <a:xfrm>
            <a:off x="695325" y="2661406"/>
            <a:ext cx="6924974" cy="1805436"/>
            <a:chOff x="3250919" y="2437427"/>
            <a:chExt cx="8417447" cy="2194544"/>
          </a:xfrm>
        </p:grpSpPr>
        <p:sp>
          <p:nvSpPr>
            <p:cNvPr id="11" name="文本框 10">
              <a:extLst>
                <a:ext uri="{FF2B5EF4-FFF2-40B4-BE49-F238E27FC236}">
                  <a16:creationId xmlns:a16="http://schemas.microsoft.com/office/drawing/2014/main" id="{E4393356-E9A7-46D9-B5F5-0D21EC991A29}"/>
                </a:ext>
              </a:extLst>
            </p:cNvPr>
            <p:cNvSpPr txBox="1"/>
            <p:nvPr/>
          </p:nvSpPr>
          <p:spPr>
            <a:xfrm>
              <a:off x="3250919" y="2945542"/>
              <a:ext cx="8417447" cy="1122326"/>
            </a:xfrm>
            <a:prstGeom prst="rect">
              <a:avLst/>
            </a:prstGeom>
            <a:noFill/>
          </p:spPr>
          <p:txBody>
            <a:bodyPr wrap="none" lIns="0" tIns="0" rIns="0" bIns="0" rtlCol="0" anchor="t">
              <a:spAutoFit/>
            </a:bodyPr>
            <a:lstStyle/>
            <a:p>
              <a:pPr algn="ctr"/>
              <a:r>
                <a:rPr lang="zh-CN" altLang="en-US" sz="6000" dirty="0">
                  <a:solidFill>
                    <a:schemeClr val="bg1"/>
                  </a:solidFill>
                  <a:latin typeface="+mj-ea"/>
                  <a:ea typeface="+mj-ea"/>
                </a:rPr>
                <a:t>输入你的封面大标题</a:t>
              </a:r>
            </a:p>
          </p:txBody>
        </p:sp>
        <p:sp>
          <p:nvSpPr>
            <p:cNvPr id="12" name="文本框 11">
              <a:extLst>
                <a:ext uri="{FF2B5EF4-FFF2-40B4-BE49-F238E27FC236}">
                  <a16:creationId xmlns:a16="http://schemas.microsoft.com/office/drawing/2014/main" id="{08D1ED60-C0E7-408E-A5AA-59B489440FCB}"/>
                </a:ext>
              </a:extLst>
            </p:cNvPr>
            <p:cNvSpPr txBox="1"/>
            <p:nvPr/>
          </p:nvSpPr>
          <p:spPr>
            <a:xfrm>
              <a:off x="5433218" y="2437427"/>
              <a:ext cx="4052845" cy="374109"/>
            </a:xfrm>
            <a:prstGeom prst="rect">
              <a:avLst/>
            </a:prstGeom>
            <a:noFill/>
          </p:spPr>
          <p:txBody>
            <a:bodyPr wrap="none" lIns="0" tIns="0" rIns="0" bIns="0" rtlCol="0" anchor="t">
              <a:spAutoFit/>
            </a:bodyPr>
            <a:lstStyle/>
            <a:p>
              <a:pPr algn="ctr"/>
              <a:r>
                <a:rPr lang="zh-CN" altLang="en-US" sz="2000" dirty="0">
                  <a:solidFill>
                    <a:schemeClr val="bg1"/>
                  </a:solidFill>
                  <a:latin typeface="+mn-ea"/>
                </a:rPr>
                <a:t>输入你的副标题或大标题英文</a:t>
              </a:r>
            </a:p>
          </p:txBody>
        </p:sp>
        <p:cxnSp>
          <p:nvCxnSpPr>
            <p:cNvPr id="14" name="直接连接符 13">
              <a:extLst>
                <a:ext uri="{FF2B5EF4-FFF2-40B4-BE49-F238E27FC236}">
                  <a16:creationId xmlns:a16="http://schemas.microsoft.com/office/drawing/2014/main" id="{99FDF5DC-EAFA-4C3B-B052-660243EB047F}"/>
                </a:ext>
              </a:extLst>
            </p:cNvPr>
            <p:cNvCxnSpPr/>
            <p:nvPr/>
          </p:nvCxnSpPr>
          <p:spPr>
            <a:xfrm flipH="1">
              <a:off x="3393609" y="2598071"/>
              <a:ext cx="1901952"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 name="直接连接符 14">
              <a:extLst>
                <a:ext uri="{FF2B5EF4-FFF2-40B4-BE49-F238E27FC236}">
                  <a16:creationId xmlns:a16="http://schemas.microsoft.com/office/drawing/2014/main" id="{C6CC629A-E754-4728-BB95-563C56597B63}"/>
                </a:ext>
              </a:extLst>
            </p:cNvPr>
            <p:cNvCxnSpPr/>
            <p:nvPr/>
          </p:nvCxnSpPr>
          <p:spPr>
            <a:xfrm flipH="1">
              <a:off x="9648105" y="2598071"/>
              <a:ext cx="1901952"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grpSp>
          <p:nvGrpSpPr>
            <p:cNvPr id="18" name="组合 17">
              <a:extLst>
                <a:ext uri="{FF2B5EF4-FFF2-40B4-BE49-F238E27FC236}">
                  <a16:creationId xmlns:a16="http://schemas.microsoft.com/office/drawing/2014/main" id="{FC799265-AC15-410F-82A2-679AB60B288F}"/>
                </a:ext>
              </a:extLst>
            </p:cNvPr>
            <p:cNvGrpSpPr/>
            <p:nvPr/>
          </p:nvGrpSpPr>
          <p:grpSpPr>
            <a:xfrm>
              <a:off x="5695343" y="4401010"/>
              <a:ext cx="1402535" cy="230961"/>
              <a:chOff x="4095451" y="4640913"/>
              <a:chExt cx="1402535" cy="230961"/>
            </a:xfrm>
          </p:grpSpPr>
          <p:sp>
            <p:nvSpPr>
              <p:cNvPr id="16" name="矩形 15">
                <a:extLst>
                  <a:ext uri="{FF2B5EF4-FFF2-40B4-BE49-F238E27FC236}">
                    <a16:creationId xmlns:a16="http://schemas.microsoft.com/office/drawing/2014/main" id="{74C493E7-1B47-4349-BC5B-BF3163490795}"/>
                  </a:ext>
                </a:extLst>
              </p:cNvPr>
              <p:cNvSpPr/>
              <p:nvPr/>
            </p:nvSpPr>
            <p:spPr>
              <a:xfrm>
                <a:off x="4095451" y="4672584"/>
                <a:ext cx="164592" cy="1645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4800" dirty="0">
                  <a:solidFill>
                    <a:schemeClr val="bg1"/>
                  </a:solidFill>
                </a:endParaRPr>
              </a:p>
            </p:txBody>
          </p:sp>
          <p:sp>
            <p:nvSpPr>
              <p:cNvPr id="17" name="文本框 16">
                <a:extLst>
                  <a:ext uri="{FF2B5EF4-FFF2-40B4-BE49-F238E27FC236}">
                    <a16:creationId xmlns:a16="http://schemas.microsoft.com/office/drawing/2014/main" id="{B804F6AA-7656-4EF8-84F0-3B3FB5CF0922}"/>
                  </a:ext>
                </a:extLst>
              </p:cNvPr>
              <p:cNvSpPr txBox="1"/>
              <p:nvPr/>
            </p:nvSpPr>
            <p:spPr>
              <a:xfrm>
                <a:off x="4408487" y="4640913"/>
                <a:ext cx="1089499" cy="230961"/>
              </a:xfrm>
              <a:prstGeom prst="rect">
                <a:avLst/>
              </a:prstGeom>
              <a:noFill/>
            </p:spPr>
            <p:txBody>
              <a:bodyPr wrap="none" lIns="0" tIns="0" rIns="0" bIns="0" rtlCol="0" anchor="t">
                <a:spAutoFit/>
              </a:bodyPr>
              <a:lstStyle/>
              <a:p>
                <a:r>
                  <a:rPr lang="zh-CN" altLang="en-US" sz="1200" dirty="0">
                    <a:solidFill>
                      <a:schemeClr val="bg1"/>
                    </a:solidFill>
                    <a:latin typeface="+mn-ea"/>
                  </a:rPr>
                  <a:t>汇报人：</a:t>
                </a:r>
                <a:r>
                  <a:rPr lang="en-US" altLang="zh-CN" sz="1200" dirty="0">
                    <a:solidFill>
                      <a:schemeClr val="bg1"/>
                    </a:solidFill>
                    <a:latin typeface="+mn-ea"/>
                  </a:rPr>
                  <a:t>xxx</a:t>
                </a:r>
                <a:endParaRPr lang="zh-CN" altLang="en-US" sz="1200" dirty="0">
                  <a:solidFill>
                    <a:schemeClr val="bg1"/>
                  </a:solidFill>
                  <a:latin typeface="+mn-ea"/>
                </a:endParaRPr>
              </a:p>
            </p:txBody>
          </p:sp>
        </p:grpSp>
        <p:grpSp>
          <p:nvGrpSpPr>
            <p:cNvPr id="19" name="组合 18">
              <a:extLst>
                <a:ext uri="{FF2B5EF4-FFF2-40B4-BE49-F238E27FC236}">
                  <a16:creationId xmlns:a16="http://schemas.microsoft.com/office/drawing/2014/main" id="{482B1619-178E-45D1-BC39-C5F4314075B6}"/>
                </a:ext>
              </a:extLst>
            </p:cNvPr>
            <p:cNvGrpSpPr/>
            <p:nvPr/>
          </p:nvGrpSpPr>
          <p:grpSpPr>
            <a:xfrm>
              <a:off x="7953911" y="4401010"/>
              <a:ext cx="1210068" cy="230961"/>
              <a:chOff x="4095451" y="4640913"/>
              <a:chExt cx="1210068" cy="230961"/>
            </a:xfrm>
          </p:grpSpPr>
          <p:sp>
            <p:nvSpPr>
              <p:cNvPr id="20" name="矩形 19">
                <a:extLst>
                  <a:ext uri="{FF2B5EF4-FFF2-40B4-BE49-F238E27FC236}">
                    <a16:creationId xmlns:a16="http://schemas.microsoft.com/office/drawing/2014/main" id="{3A1AE345-38CE-49BE-9E58-2C20078777A3}"/>
                  </a:ext>
                </a:extLst>
              </p:cNvPr>
              <p:cNvSpPr/>
              <p:nvPr/>
            </p:nvSpPr>
            <p:spPr>
              <a:xfrm>
                <a:off x="4095451" y="4672584"/>
                <a:ext cx="164592" cy="1645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4800" dirty="0">
                  <a:solidFill>
                    <a:schemeClr val="bg1"/>
                  </a:solidFill>
                </a:endParaRPr>
              </a:p>
            </p:txBody>
          </p:sp>
          <p:sp>
            <p:nvSpPr>
              <p:cNvPr id="21" name="文本框 20">
                <a:extLst>
                  <a:ext uri="{FF2B5EF4-FFF2-40B4-BE49-F238E27FC236}">
                    <a16:creationId xmlns:a16="http://schemas.microsoft.com/office/drawing/2014/main" id="{FCC3031D-C171-43E7-B549-82FC96054817}"/>
                  </a:ext>
                </a:extLst>
              </p:cNvPr>
              <p:cNvSpPr txBox="1"/>
              <p:nvPr/>
            </p:nvSpPr>
            <p:spPr>
              <a:xfrm>
                <a:off x="4408487" y="4640913"/>
                <a:ext cx="897032" cy="230961"/>
              </a:xfrm>
              <a:prstGeom prst="rect">
                <a:avLst/>
              </a:prstGeom>
              <a:noFill/>
            </p:spPr>
            <p:txBody>
              <a:bodyPr wrap="none" lIns="0" tIns="0" rIns="0" bIns="0" rtlCol="0" anchor="t">
                <a:spAutoFit/>
              </a:bodyPr>
              <a:lstStyle/>
              <a:p>
                <a:r>
                  <a:rPr lang="zh-CN" altLang="en-US" sz="1200" dirty="0">
                    <a:solidFill>
                      <a:schemeClr val="bg1"/>
                    </a:solidFill>
                    <a:latin typeface="+mn-ea"/>
                  </a:rPr>
                  <a:t>单位：</a:t>
                </a:r>
                <a:r>
                  <a:rPr lang="en-US" altLang="zh-CN" sz="1200" dirty="0">
                    <a:solidFill>
                      <a:schemeClr val="bg1"/>
                    </a:solidFill>
                    <a:latin typeface="+mn-ea"/>
                  </a:rPr>
                  <a:t>xxx</a:t>
                </a:r>
                <a:endParaRPr lang="zh-CN" altLang="en-US" sz="1200" dirty="0">
                  <a:solidFill>
                    <a:schemeClr val="bg1"/>
                  </a:solidFill>
                  <a:latin typeface="+mn-ea"/>
                </a:endParaRPr>
              </a:p>
            </p:txBody>
          </p:sp>
        </p:grpSp>
        <p:cxnSp>
          <p:nvCxnSpPr>
            <p:cNvPr id="23" name="直接连接符 22">
              <a:extLst>
                <a:ext uri="{FF2B5EF4-FFF2-40B4-BE49-F238E27FC236}">
                  <a16:creationId xmlns:a16="http://schemas.microsoft.com/office/drawing/2014/main" id="{CE4614EF-B88F-4347-B526-58ECE7F96194}"/>
                </a:ext>
              </a:extLst>
            </p:cNvPr>
            <p:cNvCxnSpPr>
              <a:cxnSpLocks/>
            </p:cNvCxnSpPr>
            <p:nvPr/>
          </p:nvCxnSpPr>
          <p:spPr>
            <a:xfrm flipH="1">
              <a:off x="3393609" y="4122071"/>
              <a:ext cx="8156448"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grpSp>
      <p:pic>
        <p:nvPicPr>
          <p:cNvPr id="22" name="图片 21" descr="形状&#10;&#10;中度可信度描述已自动生成">
            <a:extLst>
              <a:ext uri="{FF2B5EF4-FFF2-40B4-BE49-F238E27FC236}">
                <a16:creationId xmlns:a16="http://schemas.microsoft.com/office/drawing/2014/main" id="{2EA2AD7F-9C14-40BD-B6B3-88BFC19239A8}"/>
              </a:ext>
            </a:extLst>
          </p:cNvPr>
          <p:cNvPicPr>
            <a:picLocks noChangeAspect="1"/>
          </p:cNvPicPr>
          <p:nvPr/>
        </p:nvPicPr>
        <p:blipFill rotWithShape="1">
          <a:blip r:embed="rId3">
            <a:extLst>
              <a:ext uri="{28A0092B-C50C-407E-A947-70E740481C1C}">
                <a14:useLocalDpi xmlns:a14="http://schemas.microsoft.com/office/drawing/2010/main" val="0"/>
              </a:ext>
            </a:extLst>
          </a:blip>
          <a:srcRect l="15463" t="35000" r="52043" b="33195"/>
          <a:stretch/>
        </p:blipFill>
        <p:spPr>
          <a:xfrm>
            <a:off x="7027963" y="291010"/>
            <a:ext cx="5346700" cy="6996539"/>
          </a:xfrm>
          <a:prstGeom prst="rect">
            <a:avLst/>
          </a:prstGeom>
        </p:spPr>
      </p:pic>
    </p:spTree>
    <p:extLst>
      <p:ext uri="{BB962C8B-B14F-4D97-AF65-F5344CB8AC3E}">
        <p14:creationId xmlns:p14="http://schemas.microsoft.com/office/powerpoint/2010/main" val="295511878"/>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4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reeform 23">
            <a:extLst>
              <a:ext uri="{FF2B5EF4-FFF2-40B4-BE49-F238E27FC236}">
                <a16:creationId xmlns:a16="http://schemas.microsoft.com/office/drawing/2014/main" id="{E207AA0B-432F-4000-9435-ED54ED3EE48F}"/>
              </a:ext>
            </a:extLst>
          </p:cNvPr>
          <p:cNvSpPr>
            <a:spLocks/>
          </p:cNvSpPr>
          <p:nvPr/>
        </p:nvSpPr>
        <p:spPr bwMode="auto">
          <a:xfrm>
            <a:off x="2983065" y="2643041"/>
            <a:ext cx="648786" cy="2433701"/>
          </a:xfrm>
          <a:custGeom>
            <a:avLst/>
            <a:gdLst>
              <a:gd name="T0" fmla="*/ 752 w 752"/>
              <a:gd name="T1" fmla="*/ 88 h 595"/>
              <a:gd name="T2" fmla="*/ 752 w 752"/>
              <a:gd name="T3" fmla="*/ 595 h 595"/>
              <a:gd name="T4" fmla="*/ 0 w 752"/>
              <a:gd name="T5" fmla="*/ 395 h 595"/>
              <a:gd name="T6" fmla="*/ 0 w 752"/>
              <a:gd name="T7" fmla="*/ 0 h 595"/>
              <a:gd name="T8" fmla="*/ 752 w 752"/>
              <a:gd name="T9" fmla="*/ 88 h 595"/>
            </a:gdLst>
            <a:ahLst/>
            <a:cxnLst>
              <a:cxn ang="0">
                <a:pos x="T0" y="T1"/>
              </a:cxn>
              <a:cxn ang="0">
                <a:pos x="T2" y="T3"/>
              </a:cxn>
              <a:cxn ang="0">
                <a:pos x="T4" y="T5"/>
              </a:cxn>
              <a:cxn ang="0">
                <a:pos x="T6" y="T7"/>
              </a:cxn>
              <a:cxn ang="0">
                <a:pos x="T8" y="T9"/>
              </a:cxn>
            </a:cxnLst>
            <a:rect l="0" t="0" r="r" b="b"/>
            <a:pathLst>
              <a:path w="752" h="595">
                <a:moveTo>
                  <a:pt x="752" y="88"/>
                </a:moveTo>
                <a:lnTo>
                  <a:pt x="752" y="595"/>
                </a:lnTo>
                <a:lnTo>
                  <a:pt x="0" y="395"/>
                </a:lnTo>
                <a:lnTo>
                  <a:pt x="0" y="0"/>
                </a:lnTo>
                <a:lnTo>
                  <a:pt x="752" y="88"/>
                </a:lnTo>
                <a:close/>
              </a:path>
            </a:pathLst>
          </a:custGeom>
          <a:gradFill flip="none" rotWithShape="1">
            <a:gsLst>
              <a:gs pos="100000">
                <a:schemeClr val="accent1"/>
              </a:gs>
              <a:gs pos="0">
                <a:schemeClr val="accent1">
                  <a:lumMod val="74000"/>
                  <a:lumOff val="26000"/>
                </a:schemeClr>
              </a:gs>
            </a:gsLst>
            <a:lin ang="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351" b="0" i="0" u="none" strike="noStrike" kern="1200" cap="none" spc="0" normalizeH="0" baseline="0" noProof="0" dirty="0">
              <a:ln>
                <a:noFill/>
              </a:ln>
              <a:solidFill>
                <a:prstClr val="black"/>
              </a:solidFill>
              <a:effectLst/>
              <a:uLnTx/>
              <a:uFillTx/>
              <a:latin typeface="Segoe UI" panose="020B0502040204020203" pitchFamily="34" charset="0"/>
              <a:cs typeface="+mn-cs"/>
            </a:endParaRPr>
          </a:p>
        </p:txBody>
      </p:sp>
      <p:sp>
        <p:nvSpPr>
          <p:cNvPr id="4" name="Freeform 24">
            <a:extLst>
              <a:ext uri="{FF2B5EF4-FFF2-40B4-BE49-F238E27FC236}">
                <a16:creationId xmlns:a16="http://schemas.microsoft.com/office/drawing/2014/main" id="{FCA90442-E5A6-4D38-9C93-E1F01E75597F}"/>
              </a:ext>
            </a:extLst>
          </p:cNvPr>
          <p:cNvSpPr>
            <a:spLocks/>
          </p:cNvSpPr>
          <p:nvPr/>
        </p:nvSpPr>
        <p:spPr bwMode="auto">
          <a:xfrm>
            <a:off x="1743298" y="2639120"/>
            <a:ext cx="1239768" cy="2601401"/>
          </a:xfrm>
          <a:custGeom>
            <a:avLst/>
            <a:gdLst>
              <a:gd name="T0" fmla="*/ 1437 w 1437"/>
              <a:gd name="T1" fmla="*/ 0 h 636"/>
              <a:gd name="T2" fmla="*/ 1437 w 1437"/>
              <a:gd name="T3" fmla="*/ 395 h 636"/>
              <a:gd name="T4" fmla="*/ 0 w 1437"/>
              <a:gd name="T5" fmla="*/ 636 h 636"/>
              <a:gd name="T6" fmla="*/ 0 w 1437"/>
              <a:gd name="T7" fmla="*/ 129 h 636"/>
              <a:gd name="T8" fmla="*/ 1437 w 1437"/>
              <a:gd name="T9" fmla="*/ 0 h 636"/>
            </a:gdLst>
            <a:ahLst/>
            <a:cxnLst>
              <a:cxn ang="0">
                <a:pos x="T0" y="T1"/>
              </a:cxn>
              <a:cxn ang="0">
                <a:pos x="T2" y="T3"/>
              </a:cxn>
              <a:cxn ang="0">
                <a:pos x="T4" y="T5"/>
              </a:cxn>
              <a:cxn ang="0">
                <a:pos x="T6" y="T7"/>
              </a:cxn>
              <a:cxn ang="0">
                <a:pos x="T8" y="T9"/>
              </a:cxn>
            </a:cxnLst>
            <a:rect l="0" t="0" r="r" b="b"/>
            <a:pathLst>
              <a:path w="1437" h="636">
                <a:moveTo>
                  <a:pt x="1437" y="0"/>
                </a:moveTo>
                <a:lnTo>
                  <a:pt x="1437" y="395"/>
                </a:lnTo>
                <a:lnTo>
                  <a:pt x="0" y="636"/>
                </a:lnTo>
                <a:lnTo>
                  <a:pt x="0" y="129"/>
                </a:lnTo>
                <a:lnTo>
                  <a:pt x="1437" y="0"/>
                </a:lnTo>
                <a:close/>
              </a:path>
            </a:pathLst>
          </a:custGeom>
          <a:gradFill flip="none" rotWithShape="1">
            <a:gsLst>
              <a:gs pos="95000">
                <a:schemeClr val="accent1"/>
              </a:gs>
              <a:gs pos="0">
                <a:schemeClr val="accent1">
                  <a:lumMod val="20000"/>
                  <a:lumOff val="80000"/>
                </a:schemeClr>
              </a:gs>
            </a:gsLst>
            <a:lin ang="270000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351" b="0" i="0" u="none" strike="noStrike" kern="1200" cap="none" spc="0" normalizeH="0" baseline="0" noProof="0" dirty="0">
              <a:ln>
                <a:noFill/>
              </a:ln>
              <a:solidFill>
                <a:prstClr val="black"/>
              </a:solidFill>
              <a:effectLst/>
              <a:uLnTx/>
              <a:uFillTx/>
              <a:latin typeface="Segoe UI" panose="020B0502040204020203" pitchFamily="34" charset="0"/>
              <a:cs typeface="+mn-cs"/>
            </a:endParaRPr>
          </a:p>
        </p:txBody>
      </p:sp>
      <p:sp>
        <p:nvSpPr>
          <p:cNvPr id="5" name="Freeform 25">
            <a:extLst>
              <a:ext uri="{FF2B5EF4-FFF2-40B4-BE49-F238E27FC236}">
                <a16:creationId xmlns:a16="http://schemas.microsoft.com/office/drawing/2014/main" id="{BF710697-25FD-4854-950D-21B32645BF46}"/>
              </a:ext>
            </a:extLst>
          </p:cNvPr>
          <p:cNvSpPr>
            <a:spLocks/>
          </p:cNvSpPr>
          <p:nvPr/>
        </p:nvSpPr>
        <p:spPr bwMode="auto">
          <a:xfrm>
            <a:off x="1055688" y="3181153"/>
            <a:ext cx="1334670" cy="2822274"/>
          </a:xfrm>
          <a:custGeom>
            <a:avLst/>
            <a:gdLst>
              <a:gd name="T0" fmla="*/ 1547 w 1547"/>
              <a:gd name="T1" fmla="*/ 183 h 690"/>
              <a:gd name="T2" fmla="*/ 1547 w 1547"/>
              <a:gd name="T3" fmla="*/ 690 h 690"/>
              <a:gd name="T4" fmla="*/ 0 w 1547"/>
              <a:gd name="T5" fmla="*/ 504 h 690"/>
              <a:gd name="T6" fmla="*/ 0 w 1547"/>
              <a:gd name="T7" fmla="*/ 0 h 690"/>
              <a:gd name="T8" fmla="*/ 1547 w 1547"/>
              <a:gd name="T9" fmla="*/ 183 h 690"/>
            </a:gdLst>
            <a:ahLst/>
            <a:cxnLst>
              <a:cxn ang="0">
                <a:pos x="T0" y="T1"/>
              </a:cxn>
              <a:cxn ang="0">
                <a:pos x="T2" y="T3"/>
              </a:cxn>
              <a:cxn ang="0">
                <a:pos x="T4" y="T5"/>
              </a:cxn>
              <a:cxn ang="0">
                <a:pos x="T6" y="T7"/>
              </a:cxn>
              <a:cxn ang="0">
                <a:pos x="T8" y="T9"/>
              </a:cxn>
            </a:cxnLst>
            <a:rect l="0" t="0" r="r" b="b"/>
            <a:pathLst>
              <a:path w="1547" h="690">
                <a:moveTo>
                  <a:pt x="1547" y="183"/>
                </a:moveTo>
                <a:lnTo>
                  <a:pt x="1547" y="690"/>
                </a:lnTo>
                <a:lnTo>
                  <a:pt x="0" y="504"/>
                </a:lnTo>
                <a:lnTo>
                  <a:pt x="0" y="0"/>
                </a:lnTo>
                <a:lnTo>
                  <a:pt x="1547" y="183"/>
                </a:lnTo>
                <a:close/>
              </a:path>
            </a:pathLst>
          </a:custGeom>
          <a:gradFill flip="none" rotWithShape="1">
            <a:gsLst>
              <a:gs pos="100000">
                <a:schemeClr val="accent1"/>
              </a:gs>
              <a:gs pos="0">
                <a:schemeClr val="accent1">
                  <a:lumMod val="60000"/>
                  <a:lumOff val="40000"/>
                </a:schemeClr>
              </a:gs>
            </a:gsLst>
            <a:lin ang="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351"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
        <p:nvSpPr>
          <p:cNvPr id="6" name="Freeform 26">
            <a:extLst>
              <a:ext uri="{FF2B5EF4-FFF2-40B4-BE49-F238E27FC236}">
                <a16:creationId xmlns:a16="http://schemas.microsoft.com/office/drawing/2014/main" id="{F5C0CD6D-ED6C-4878-A99F-9DC7BEE51FCC}"/>
              </a:ext>
            </a:extLst>
          </p:cNvPr>
          <p:cNvSpPr>
            <a:spLocks/>
          </p:cNvSpPr>
          <p:nvPr/>
        </p:nvSpPr>
        <p:spPr bwMode="auto">
          <a:xfrm>
            <a:off x="2390358" y="3025723"/>
            <a:ext cx="1927377" cy="2977704"/>
          </a:xfrm>
          <a:custGeom>
            <a:avLst/>
            <a:gdLst>
              <a:gd name="T0" fmla="*/ 2234 w 2234"/>
              <a:gd name="T1" fmla="*/ 0 h 728"/>
              <a:gd name="T2" fmla="*/ 2234 w 2234"/>
              <a:gd name="T3" fmla="*/ 507 h 728"/>
              <a:gd name="T4" fmla="*/ 0 w 2234"/>
              <a:gd name="T5" fmla="*/ 728 h 728"/>
              <a:gd name="T6" fmla="*/ 0 w 2234"/>
              <a:gd name="T7" fmla="*/ 221 h 728"/>
              <a:gd name="T8" fmla="*/ 2234 w 2234"/>
              <a:gd name="T9" fmla="*/ 0 h 728"/>
            </a:gdLst>
            <a:ahLst/>
            <a:cxnLst>
              <a:cxn ang="0">
                <a:pos x="T0" y="T1"/>
              </a:cxn>
              <a:cxn ang="0">
                <a:pos x="T2" y="T3"/>
              </a:cxn>
              <a:cxn ang="0">
                <a:pos x="T4" y="T5"/>
              </a:cxn>
              <a:cxn ang="0">
                <a:pos x="T6" y="T7"/>
              </a:cxn>
              <a:cxn ang="0">
                <a:pos x="T8" y="T9"/>
              </a:cxn>
            </a:cxnLst>
            <a:rect l="0" t="0" r="r" b="b"/>
            <a:pathLst>
              <a:path w="2234" h="728">
                <a:moveTo>
                  <a:pt x="2234" y="0"/>
                </a:moveTo>
                <a:lnTo>
                  <a:pt x="2234" y="507"/>
                </a:lnTo>
                <a:lnTo>
                  <a:pt x="0" y="728"/>
                </a:lnTo>
                <a:lnTo>
                  <a:pt x="0" y="221"/>
                </a:lnTo>
                <a:lnTo>
                  <a:pt x="2234" y="0"/>
                </a:lnTo>
                <a:close/>
              </a:path>
            </a:pathLst>
          </a:custGeom>
          <a:gradFill flip="none" rotWithShape="1">
            <a:gsLst>
              <a:gs pos="100000">
                <a:schemeClr val="accent1"/>
              </a:gs>
              <a:gs pos="0">
                <a:schemeClr val="accent1">
                  <a:lumMod val="74000"/>
                  <a:lumOff val="26000"/>
                </a:schemeClr>
              </a:gs>
            </a:gsLst>
            <a:lin ang="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351" b="0" i="0" u="none" strike="noStrike" kern="1200" cap="none" spc="0" normalizeH="0" baseline="0" noProof="0" dirty="0">
              <a:ln>
                <a:noFill/>
              </a:ln>
              <a:solidFill>
                <a:prstClr val="black"/>
              </a:solidFill>
              <a:effectLst/>
              <a:uLnTx/>
              <a:uFillTx/>
              <a:latin typeface="Segoe UI" panose="020B0502040204020203" pitchFamily="34" charset="0"/>
              <a:cs typeface="+mn-cs"/>
            </a:endParaRPr>
          </a:p>
        </p:txBody>
      </p:sp>
      <p:sp>
        <p:nvSpPr>
          <p:cNvPr id="8" name="Freeform 28">
            <a:extLst>
              <a:ext uri="{FF2B5EF4-FFF2-40B4-BE49-F238E27FC236}">
                <a16:creationId xmlns:a16="http://schemas.microsoft.com/office/drawing/2014/main" id="{B5E0260D-F8BB-4E71-8ED0-BF799A745CD7}"/>
              </a:ext>
            </a:extLst>
          </p:cNvPr>
          <p:cNvSpPr>
            <a:spLocks noEditPoints="1"/>
          </p:cNvSpPr>
          <p:nvPr/>
        </p:nvSpPr>
        <p:spPr bwMode="auto">
          <a:xfrm>
            <a:off x="1055688" y="2277270"/>
            <a:ext cx="3262047" cy="1656555"/>
          </a:xfrm>
          <a:custGeom>
            <a:avLst/>
            <a:gdLst>
              <a:gd name="T0" fmla="*/ 2236 w 3781"/>
              <a:gd name="T1" fmla="*/ 0 h 405"/>
              <a:gd name="T2" fmla="*/ 3781 w 3781"/>
              <a:gd name="T3" fmla="*/ 184 h 405"/>
              <a:gd name="T4" fmla="*/ 1547 w 3781"/>
              <a:gd name="T5" fmla="*/ 405 h 405"/>
              <a:gd name="T6" fmla="*/ 0 w 3781"/>
              <a:gd name="T7" fmla="*/ 222 h 405"/>
              <a:gd name="T8" fmla="*/ 2236 w 3781"/>
              <a:gd name="T9" fmla="*/ 0 h 405"/>
              <a:gd name="T10" fmla="*/ 797 w 3781"/>
              <a:gd name="T11" fmla="*/ 222 h 405"/>
              <a:gd name="T12" fmla="*/ 1550 w 3781"/>
              <a:gd name="T13" fmla="*/ 312 h 405"/>
              <a:gd name="T14" fmla="*/ 2986 w 3781"/>
              <a:gd name="T15" fmla="*/ 181 h 405"/>
              <a:gd name="T16" fmla="*/ 2234 w 3781"/>
              <a:gd name="T17" fmla="*/ 93 h 405"/>
              <a:gd name="T18" fmla="*/ 797 w 3781"/>
              <a:gd name="T19" fmla="*/ 222 h 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781" h="405">
                <a:moveTo>
                  <a:pt x="2236" y="0"/>
                </a:moveTo>
                <a:lnTo>
                  <a:pt x="3781" y="184"/>
                </a:lnTo>
                <a:lnTo>
                  <a:pt x="1547" y="405"/>
                </a:lnTo>
                <a:lnTo>
                  <a:pt x="0" y="222"/>
                </a:lnTo>
                <a:lnTo>
                  <a:pt x="2236" y="0"/>
                </a:lnTo>
                <a:moveTo>
                  <a:pt x="797" y="222"/>
                </a:moveTo>
                <a:lnTo>
                  <a:pt x="1550" y="312"/>
                </a:lnTo>
                <a:lnTo>
                  <a:pt x="2986" y="181"/>
                </a:lnTo>
                <a:lnTo>
                  <a:pt x="2234" y="93"/>
                </a:lnTo>
                <a:lnTo>
                  <a:pt x="797" y="222"/>
                </a:lnTo>
              </a:path>
            </a:pathLst>
          </a:custGeom>
          <a:gradFill flip="none" rotWithShape="1">
            <a:gsLst>
              <a:gs pos="100000">
                <a:schemeClr val="accent1">
                  <a:lumMod val="75000"/>
                  <a:lumOff val="25000"/>
                </a:schemeClr>
              </a:gs>
              <a:gs pos="0">
                <a:schemeClr val="accent1">
                  <a:lumMod val="40000"/>
                  <a:lumOff val="60000"/>
                </a:schemeClr>
              </a:gs>
              <a:gs pos="54000">
                <a:schemeClr val="accent1">
                  <a:lumMod val="60000"/>
                  <a:lumOff val="40000"/>
                </a:schemeClr>
              </a:gs>
            </a:gsLst>
            <a:lin ang="1620000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351"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
        <p:nvSpPr>
          <p:cNvPr id="9" name="Rectangle 11">
            <a:extLst>
              <a:ext uri="{FF2B5EF4-FFF2-40B4-BE49-F238E27FC236}">
                <a16:creationId xmlns:a16="http://schemas.microsoft.com/office/drawing/2014/main" id="{A0062E11-71FE-4E7D-AF3F-FF2F89109B89}"/>
              </a:ext>
            </a:extLst>
          </p:cNvPr>
          <p:cNvSpPr/>
          <p:nvPr/>
        </p:nvSpPr>
        <p:spPr>
          <a:xfrm>
            <a:off x="4926347" y="2826076"/>
            <a:ext cx="3047321" cy="571247"/>
          </a:xfrm>
          <a:prstGeom prst="rect">
            <a:avLst/>
          </a:prstGeom>
        </p:spPr>
        <p:txBody>
          <a:bodyPr wrap="square">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lumMod val="50000"/>
                    <a:lumOff val="50000"/>
                  </a:prstClr>
                </a:solidFill>
                <a:effectLst/>
                <a:uLnTx/>
                <a:uFillTx/>
                <a:latin typeface="HarmonyOS Sans SC"/>
                <a:cs typeface="Segoe UI" panose="020B0502040204020203" pitchFamily="34" charset="0"/>
              </a:rPr>
              <a:t>Quod </a:t>
            </a:r>
            <a:r>
              <a:rPr kumimoji="0" lang="en-US" sz="1100" b="0" i="0" u="none" strike="noStrike" kern="1200" cap="none" spc="0" normalizeH="0" baseline="0" noProof="0" dirty="0" err="1">
                <a:ln>
                  <a:noFill/>
                </a:ln>
                <a:solidFill>
                  <a:prstClr val="black">
                    <a:lumMod val="50000"/>
                    <a:lumOff val="50000"/>
                  </a:prstClr>
                </a:solidFill>
                <a:effectLst/>
                <a:uLnTx/>
                <a:uFillTx/>
                <a:latin typeface="HarmonyOS Sans SC"/>
                <a:cs typeface="Segoe UI" panose="020B0502040204020203" pitchFamily="34" charset="0"/>
              </a:rPr>
              <a:t>errem</a:t>
            </a:r>
            <a:r>
              <a:rPr kumimoji="0" lang="en-US" sz="1100" b="0" i="0" u="none" strike="noStrike" kern="1200" cap="none" spc="0" normalizeH="0" baseline="0" noProof="0" dirty="0">
                <a:ln>
                  <a:noFill/>
                </a:ln>
                <a:solidFill>
                  <a:prstClr val="black">
                    <a:lumMod val="50000"/>
                    <a:lumOff val="50000"/>
                  </a:prstClr>
                </a:solidFill>
                <a:effectLst/>
                <a:uLnTx/>
                <a:uFillTx/>
                <a:latin typeface="HarmonyOS Sans SC"/>
                <a:cs typeface="Segoe UI" panose="020B0502040204020203" pitchFamily="34" charset="0"/>
              </a:rPr>
              <a:t> </a:t>
            </a:r>
            <a:r>
              <a:rPr kumimoji="0" lang="en-US" sz="1100" b="0" i="0" u="none" strike="noStrike" kern="1200" cap="none" spc="0" normalizeH="0" baseline="0" noProof="0" dirty="0" err="1">
                <a:ln>
                  <a:noFill/>
                </a:ln>
                <a:solidFill>
                  <a:prstClr val="black">
                    <a:lumMod val="50000"/>
                    <a:lumOff val="50000"/>
                  </a:prstClr>
                </a:solidFill>
                <a:effectLst/>
                <a:uLnTx/>
                <a:uFillTx/>
                <a:latin typeface="HarmonyOS Sans SC"/>
                <a:cs typeface="Segoe UI" panose="020B0502040204020203" pitchFamily="34" charset="0"/>
              </a:rPr>
              <a:t>accusam</a:t>
            </a:r>
            <a:r>
              <a:rPr kumimoji="0" lang="en-US" sz="1100" b="0" i="0" u="none" strike="noStrike" kern="1200" cap="none" spc="0" normalizeH="0" baseline="0" noProof="0" dirty="0">
                <a:ln>
                  <a:noFill/>
                </a:ln>
                <a:solidFill>
                  <a:prstClr val="black">
                    <a:lumMod val="50000"/>
                    <a:lumOff val="50000"/>
                  </a:prstClr>
                </a:solidFill>
                <a:effectLst/>
                <a:uLnTx/>
                <a:uFillTx/>
                <a:latin typeface="HarmonyOS Sans SC"/>
                <a:cs typeface="Segoe UI" panose="020B0502040204020203" pitchFamily="34" charset="0"/>
              </a:rPr>
              <a:t> ne sed. </a:t>
            </a:r>
            <a:r>
              <a:rPr kumimoji="0" lang="en-US" sz="1100" b="0" i="0" u="none" strike="noStrike" kern="1200" cap="none" spc="0" normalizeH="0" baseline="0" noProof="0" dirty="0" err="1">
                <a:ln>
                  <a:noFill/>
                </a:ln>
                <a:solidFill>
                  <a:prstClr val="black">
                    <a:lumMod val="50000"/>
                    <a:lumOff val="50000"/>
                  </a:prstClr>
                </a:solidFill>
                <a:effectLst/>
                <a:uLnTx/>
                <a:uFillTx/>
                <a:latin typeface="HarmonyOS Sans SC"/>
                <a:cs typeface="Segoe UI" panose="020B0502040204020203" pitchFamily="34" charset="0"/>
              </a:rPr>
              <a:t>volumus</a:t>
            </a:r>
            <a:r>
              <a:rPr kumimoji="0" lang="en-US" sz="1100" b="0" i="0" u="none" strike="noStrike" kern="1200" cap="none" spc="0" normalizeH="0" baseline="0" noProof="0" dirty="0">
                <a:ln>
                  <a:noFill/>
                </a:ln>
                <a:solidFill>
                  <a:prstClr val="black">
                    <a:lumMod val="50000"/>
                    <a:lumOff val="50000"/>
                  </a:prstClr>
                </a:solidFill>
                <a:effectLst/>
                <a:uLnTx/>
                <a:uFillTx/>
                <a:latin typeface="HarmonyOS Sans SC"/>
                <a:cs typeface="Segoe UI" panose="020B0502040204020203" pitchFamily="34" charset="0"/>
              </a:rPr>
              <a:t> </a:t>
            </a:r>
            <a:r>
              <a:rPr kumimoji="0" lang="en-US" sz="1100" b="0" i="0" u="none" strike="noStrike" kern="1200" cap="none" spc="0" normalizeH="0" baseline="0" noProof="0" dirty="0" err="1">
                <a:ln>
                  <a:noFill/>
                </a:ln>
                <a:solidFill>
                  <a:prstClr val="black">
                    <a:lumMod val="50000"/>
                    <a:lumOff val="50000"/>
                  </a:prstClr>
                </a:solidFill>
                <a:effectLst/>
                <a:uLnTx/>
                <a:uFillTx/>
                <a:latin typeface="HarmonyOS Sans SC"/>
                <a:cs typeface="Segoe UI" panose="020B0502040204020203" pitchFamily="34" charset="0"/>
              </a:rPr>
              <a:t>sal</a:t>
            </a:r>
            <a:r>
              <a:rPr kumimoji="0" lang="id-ID" sz="1100" b="0" i="0" u="none" strike="noStrike" kern="1200" cap="none" spc="0" normalizeH="0" baseline="0" noProof="0" dirty="0">
                <a:ln>
                  <a:noFill/>
                </a:ln>
                <a:solidFill>
                  <a:prstClr val="black">
                    <a:lumMod val="50000"/>
                    <a:lumOff val="50000"/>
                  </a:prstClr>
                </a:solidFill>
                <a:effectLst/>
                <a:uLnTx/>
                <a:uFillTx/>
                <a:latin typeface="HarmonyOS Sans SC"/>
                <a:cs typeface="Segoe UI" panose="020B0502040204020203" pitchFamily="34" charset="0"/>
              </a:rPr>
              <a:t> </a:t>
            </a:r>
            <a:r>
              <a:rPr kumimoji="0" lang="en-US" sz="1100" b="0" i="0" u="none" strike="noStrike" kern="1200" cap="none" spc="0" normalizeH="0" baseline="0" noProof="0" dirty="0" err="1">
                <a:ln>
                  <a:noFill/>
                </a:ln>
                <a:solidFill>
                  <a:prstClr val="black">
                    <a:lumMod val="50000"/>
                    <a:lumOff val="50000"/>
                  </a:prstClr>
                </a:solidFill>
                <a:effectLst/>
                <a:uLnTx/>
                <a:uFillTx/>
                <a:latin typeface="HarmonyOS Sans SC"/>
                <a:cs typeface="Segoe UI" panose="020B0502040204020203" pitchFamily="34" charset="0"/>
              </a:rPr>
              <a:t>utatus</a:t>
            </a:r>
            <a:r>
              <a:rPr kumimoji="0" lang="en-US" sz="1100" b="0" i="0" u="none" strike="noStrike" kern="1200" cap="none" spc="0" normalizeH="0" baseline="0" noProof="0" dirty="0">
                <a:ln>
                  <a:noFill/>
                </a:ln>
                <a:solidFill>
                  <a:prstClr val="black">
                    <a:lumMod val="50000"/>
                    <a:lumOff val="50000"/>
                  </a:prstClr>
                </a:solidFill>
                <a:effectLst/>
                <a:uLnTx/>
                <a:uFillTx/>
                <a:latin typeface="HarmonyOS Sans SC"/>
                <a:cs typeface="Segoe UI" panose="020B0502040204020203" pitchFamily="34" charset="0"/>
              </a:rPr>
              <a:t> ne sed. </a:t>
            </a:r>
            <a:r>
              <a:rPr kumimoji="0" lang="en-US" sz="1100" b="0" i="0" u="none" strike="noStrike" kern="1200" cap="none" spc="0" normalizeH="0" baseline="0" noProof="0" dirty="0" err="1">
                <a:ln>
                  <a:noFill/>
                </a:ln>
                <a:solidFill>
                  <a:prstClr val="black">
                    <a:lumMod val="50000"/>
                    <a:lumOff val="50000"/>
                  </a:prstClr>
                </a:solidFill>
                <a:effectLst/>
                <a:uLnTx/>
                <a:uFillTx/>
                <a:latin typeface="HarmonyOS Sans SC"/>
                <a:cs typeface="Segoe UI" panose="020B0502040204020203" pitchFamily="34" charset="0"/>
              </a:rPr>
              <a:t>Atq</a:t>
            </a:r>
            <a:r>
              <a:rPr kumimoji="0" lang="en-US" sz="1100" b="0" i="0" u="none" strike="noStrike" kern="1200" cap="none" spc="0" normalizeH="0" baseline="0" noProof="0" dirty="0">
                <a:ln>
                  <a:noFill/>
                </a:ln>
                <a:solidFill>
                  <a:prstClr val="black">
                    <a:lumMod val="50000"/>
                    <a:lumOff val="50000"/>
                  </a:prstClr>
                </a:solidFill>
                <a:effectLst/>
                <a:uLnTx/>
                <a:uFillTx/>
                <a:latin typeface="HarmonyOS Sans SC"/>
                <a:cs typeface="Segoe UI" panose="020B0502040204020203" pitchFamily="34" charset="0"/>
              </a:rPr>
              <a:t> </a:t>
            </a:r>
            <a:r>
              <a:rPr kumimoji="0" lang="en-US" sz="1100" b="0" i="0" u="none" strike="noStrike" kern="1200" cap="none" spc="0" normalizeH="0" baseline="0" noProof="0" dirty="0" err="1">
                <a:ln>
                  <a:noFill/>
                </a:ln>
                <a:solidFill>
                  <a:prstClr val="black">
                    <a:lumMod val="50000"/>
                    <a:lumOff val="50000"/>
                  </a:prstClr>
                </a:solidFill>
                <a:effectLst/>
                <a:uLnTx/>
                <a:uFillTx/>
                <a:latin typeface="HarmonyOS Sans SC"/>
                <a:cs typeface="Segoe UI" panose="020B0502040204020203" pitchFamily="34" charset="0"/>
              </a:rPr>
              <a:t>Atqui</a:t>
            </a:r>
            <a:r>
              <a:rPr kumimoji="0" lang="en-US" sz="1100" b="0" i="0" u="none" strike="noStrike" kern="1200" cap="none" spc="0" normalizeH="0" baseline="0" noProof="0" dirty="0">
                <a:ln>
                  <a:noFill/>
                </a:ln>
                <a:solidFill>
                  <a:prstClr val="black">
                    <a:lumMod val="50000"/>
                    <a:lumOff val="50000"/>
                  </a:prstClr>
                </a:solidFill>
                <a:effectLst/>
                <a:uLnTx/>
                <a:uFillTx/>
                <a:latin typeface="HarmonyOS Sans SC"/>
                <a:cs typeface="Segoe UI" panose="020B0502040204020203" pitchFamily="34" charset="0"/>
              </a:rPr>
              <a:t> </a:t>
            </a:r>
            <a:r>
              <a:rPr kumimoji="0" lang="id-ID" sz="1100" b="0" i="0" u="none" strike="noStrike" kern="1200" cap="none" spc="0" normalizeH="0" baseline="0" noProof="0" dirty="0">
                <a:ln>
                  <a:noFill/>
                </a:ln>
                <a:solidFill>
                  <a:prstClr val="black">
                    <a:lumMod val="50000"/>
                    <a:lumOff val="50000"/>
                  </a:prstClr>
                </a:solidFill>
                <a:effectLst/>
                <a:uLnTx/>
                <a:uFillTx/>
                <a:latin typeface="HarmonyOS Sans SC"/>
                <a:cs typeface="Segoe UI" panose="020B0502040204020203" pitchFamily="34" charset="0"/>
              </a:rPr>
              <a:t> </a:t>
            </a:r>
            <a:r>
              <a:rPr kumimoji="0" lang="en-US" sz="1100" b="0" i="0" u="none" strike="noStrike" kern="1200" cap="none" spc="0" normalizeH="0" baseline="0" noProof="0" dirty="0" err="1">
                <a:ln>
                  <a:noFill/>
                </a:ln>
                <a:solidFill>
                  <a:prstClr val="black">
                    <a:lumMod val="50000"/>
                    <a:lumOff val="50000"/>
                  </a:prstClr>
                </a:solidFill>
                <a:effectLst/>
                <a:uLnTx/>
                <a:uFillTx/>
                <a:latin typeface="HarmonyOS Sans SC"/>
                <a:cs typeface="Segoe UI" panose="020B0502040204020203" pitchFamily="34" charset="0"/>
              </a:rPr>
              <a:t>ui</a:t>
            </a:r>
            <a:r>
              <a:rPr kumimoji="0" lang="en-US" sz="1100" b="0" i="0" u="none" strike="noStrike" kern="1200" cap="none" spc="0" normalizeH="0" baseline="0" noProof="0" dirty="0">
                <a:ln>
                  <a:noFill/>
                </a:ln>
                <a:solidFill>
                  <a:prstClr val="black">
                    <a:lumMod val="50000"/>
                    <a:lumOff val="50000"/>
                  </a:prstClr>
                </a:solidFill>
                <a:effectLst/>
                <a:uLnTx/>
                <a:uFillTx/>
                <a:latin typeface="HarmonyOS Sans SC"/>
                <a:cs typeface="Segoe UI" panose="020B0502040204020203" pitchFamily="34" charset="0"/>
              </a:rPr>
              <a:t> </a:t>
            </a:r>
            <a:r>
              <a:rPr kumimoji="0" lang="en-US" sz="1100" b="0" i="0" u="none" strike="noStrike" kern="1200" cap="none" spc="0" normalizeH="0" baseline="0" noProof="0" dirty="0" err="1">
                <a:ln>
                  <a:noFill/>
                </a:ln>
                <a:solidFill>
                  <a:prstClr val="black">
                    <a:lumMod val="50000"/>
                    <a:lumOff val="50000"/>
                  </a:prstClr>
                </a:solidFill>
                <a:effectLst/>
                <a:uLnTx/>
                <a:uFillTx/>
                <a:latin typeface="HarmonyOS Sans SC"/>
                <a:cs typeface="Segoe UI" panose="020B0502040204020203" pitchFamily="34" charset="0"/>
              </a:rPr>
              <a:t>volumus</a:t>
            </a:r>
            <a:endParaRPr kumimoji="0" lang="en-US" sz="1100" b="0" i="0" u="none" strike="noStrike" kern="1200" cap="none" spc="0" normalizeH="0" baseline="0" noProof="0" dirty="0">
              <a:ln>
                <a:noFill/>
              </a:ln>
              <a:solidFill>
                <a:prstClr val="black">
                  <a:lumMod val="50000"/>
                  <a:lumOff val="50000"/>
                </a:prstClr>
              </a:solidFill>
              <a:effectLst/>
              <a:uLnTx/>
              <a:uFillTx/>
              <a:latin typeface="HarmonyOS Sans SC"/>
              <a:cs typeface="Segoe UI" panose="020B0502040204020203" pitchFamily="34" charset="0"/>
            </a:endParaRPr>
          </a:p>
        </p:txBody>
      </p:sp>
      <p:sp>
        <p:nvSpPr>
          <p:cNvPr id="10" name="TextBox 12">
            <a:extLst>
              <a:ext uri="{FF2B5EF4-FFF2-40B4-BE49-F238E27FC236}">
                <a16:creationId xmlns:a16="http://schemas.microsoft.com/office/drawing/2014/main" id="{91484A5B-9411-4010-8565-4AD6FF7D6D01}"/>
              </a:ext>
            </a:extLst>
          </p:cNvPr>
          <p:cNvSpPr txBox="1"/>
          <p:nvPr/>
        </p:nvSpPr>
        <p:spPr>
          <a:xfrm>
            <a:off x="4926347" y="2520288"/>
            <a:ext cx="1483053"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chemeClr val="accent1"/>
                </a:solidFill>
                <a:effectLst/>
                <a:uLnTx/>
                <a:uFillTx/>
                <a:latin typeface="HarmonyOS Sans SC"/>
                <a:cs typeface="Segoe UI" panose="020B0502040204020203" pitchFamily="34" charset="0"/>
              </a:rPr>
              <a:t>Short Text</a:t>
            </a:r>
          </a:p>
        </p:txBody>
      </p:sp>
      <p:sp>
        <p:nvSpPr>
          <p:cNvPr id="11" name="TextBox 13">
            <a:extLst>
              <a:ext uri="{FF2B5EF4-FFF2-40B4-BE49-F238E27FC236}">
                <a16:creationId xmlns:a16="http://schemas.microsoft.com/office/drawing/2014/main" id="{FB6C0AD2-37DD-4A08-A4DC-B3F2102AAB5D}"/>
              </a:ext>
            </a:extLst>
          </p:cNvPr>
          <p:cNvSpPr txBox="1"/>
          <p:nvPr/>
        </p:nvSpPr>
        <p:spPr>
          <a:xfrm>
            <a:off x="4926345" y="2239940"/>
            <a:ext cx="775939"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d-ID" sz="1800" b="1" i="0" u="none" strike="noStrike" kern="1200" cap="none" spc="0" normalizeH="0" baseline="0" noProof="0" dirty="0">
                <a:ln>
                  <a:noFill/>
                </a:ln>
                <a:solidFill>
                  <a:prstClr val="black">
                    <a:lumMod val="75000"/>
                    <a:lumOff val="25000"/>
                  </a:prstClr>
                </a:solidFill>
                <a:effectLst/>
                <a:uLnTx/>
                <a:uFillTx/>
                <a:latin typeface="HarmonyOS Sans SC Black"/>
                <a:ea typeface="+mj-ea"/>
                <a:cs typeface="Segoe UI" panose="020B0502040204020203" pitchFamily="34" charset="0"/>
              </a:rPr>
              <a:t>2019</a:t>
            </a:r>
            <a:endParaRPr kumimoji="0" lang="en-US" sz="1800" b="1" i="0" u="none" strike="noStrike" kern="1200" cap="none" spc="0" normalizeH="0" baseline="0" noProof="0" dirty="0">
              <a:ln>
                <a:noFill/>
              </a:ln>
              <a:solidFill>
                <a:prstClr val="black">
                  <a:lumMod val="75000"/>
                  <a:lumOff val="25000"/>
                </a:prstClr>
              </a:solidFill>
              <a:effectLst/>
              <a:uLnTx/>
              <a:uFillTx/>
              <a:latin typeface="HarmonyOS Sans SC Black"/>
              <a:ea typeface="+mj-ea"/>
              <a:cs typeface="Segoe UI" panose="020B0502040204020203" pitchFamily="34" charset="0"/>
            </a:endParaRPr>
          </a:p>
        </p:txBody>
      </p:sp>
      <p:sp>
        <p:nvSpPr>
          <p:cNvPr id="12" name="Rectangle 14">
            <a:extLst>
              <a:ext uri="{FF2B5EF4-FFF2-40B4-BE49-F238E27FC236}">
                <a16:creationId xmlns:a16="http://schemas.microsoft.com/office/drawing/2014/main" id="{33D858B8-B156-4E13-AAD8-6A8046916F81}"/>
              </a:ext>
            </a:extLst>
          </p:cNvPr>
          <p:cNvSpPr/>
          <p:nvPr/>
        </p:nvSpPr>
        <p:spPr>
          <a:xfrm>
            <a:off x="4926347" y="4923848"/>
            <a:ext cx="3047321" cy="571247"/>
          </a:xfrm>
          <a:prstGeom prst="rect">
            <a:avLst/>
          </a:prstGeom>
        </p:spPr>
        <p:txBody>
          <a:bodyPr wrap="square">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lumMod val="50000"/>
                    <a:lumOff val="50000"/>
                  </a:prstClr>
                </a:solidFill>
                <a:effectLst/>
                <a:uLnTx/>
                <a:uFillTx/>
                <a:latin typeface="HarmonyOS Sans SC"/>
                <a:cs typeface="Segoe UI" panose="020B0502040204020203" pitchFamily="34" charset="0"/>
              </a:rPr>
              <a:t>Quod </a:t>
            </a:r>
            <a:r>
              <a:rPr kumimoji="0" lang="en-US" sz="1100" b="0" i="0" u="none" strike="noStrike" kern="1200" cap="none" spc="0" normalizeH="0" baseline="0" noProof="0" dirty="0" err="1">
                <a:ln>
                  <a:noFill/>
                </a:ln>
                <a:solidFill>
                  <a:prstClr val="black">
                    <a:lumMod val="50000"/>
                    <a:lumOff val="50000"/>
                  </a:prstClr>
                </a:solidFill>
                <a:effectLst/>
                <a:uLnTx/>
                <a:uFillTx/>
                <a:latin typeface="HarmonyOS Sans SC"/>
                <a:cs typeface="Segoe UI" panose="020B0502040204020203" pitchFamily="34" charset="0"/>
              </a:rPr>
              <a:t>errem</a:t>
            </a:r>
            <a:r>
              <a:rPr kumimoji="0" lang="en-US" sz="1100" b="0" i="0" u="none" strike="noStrike" kern="1200" cap="none" spc="0" normalizeH="0" baseline="0" noProof="0" dirty="0">
                <a:ln>
                  <a:noFill/>
                </a:ln>
                <a:solidFill>
                  <a:prstClr val="black">
                    <a:lumMod val="50000"/>
                    <a:lumOff val="50000"/>
                  </a:prstClr>
                </a:solidFill>
                <a:effectLst/>
                <a:uLnTx/>
                <a:uFillTx/>
                <a:latin typeface="HarmonyOS Sans SC"/>
                <a:cs typeface="Segoe UI" panose="020B0502040204020203" pitchFamily="34" charset="0"/>
              </a:rPr>
              <a:t> </a:t>
            </a:r>
            <a:r>
              <a:rPr kumimoji="0" lang="en-US" sz="1100" b="0" i="0" u="none" strike="noStrike" kern="1200" cap="none" spc="0" normalizeH="0" baseline="0" noProof="0" dirty="0" err="1">
                <a:ln>
                  <a:noFill/>
                </a:ln>
                <a:solidFill>
                  <a:prstClr val="black">
                    <a:lumMod val="50000"/>
                    <a:lumOff val="50000"/>
                  </a:prstClr>
                </a:solidFill>
                <a:effectLst/>
                <a:uLnTx/>
                <a:uFillTx/>
                <a:latin typeface="HarmonyOS Sans SC"/>
                <a:cs typeface="Segoe UI" panose="020B0502040204020203" pitchFamily="34" charset="0"/>
              </a:rPr>
              <a:t>accusam</a:t>
            </a:r>
            <a:r>
              <a:rPr kumimoji="0" lang="en-US" sz="1100" b="0" i="0" u="none" strike="noStrike" kern="1200" cap="none" spc="0" normalizeH="0" baseline="0" noProof="0" dirty="0">
                <a:ln>
                  <a:noFill/>
                </a:ln>
                <a:solidFill>
                  <a:prstClr val="black">
                    <a:lumMod val="50000"/>
                    <a:lumOff val="50000"/>
                  </a:prstClr>
                </a:solidFill>
                <a:effectLst/>
                <a:uLnTx/>
                <a:uFillTx/>
                <a:latin typeface="HarmonyOS Sans SC"/>
                <a:cs typeface="Segoe UI" panose="020B0502040204020203" pitchFamily="34" charset="0"/>
              </a:rPr>
              <a:t> ne sed. </a:t>
            </a:r>
            <a:r>
              <a:rPr kumimoji="0" lang="en-US" sz="1100" b="0" i="0" u="none" strike="noStrike" kern="1200" cap="none" spc="0" normalizeH="0" baseline="0" noProof="0" dirty="0" err="1">
                <a:ln>
                  <a:noFill/>
                </a:ln>
                <a:solidFill>
                  <a:prstClr val="black">
                    <a:lumMod val="50000"/>
                    <a:lumOff val="50000"/>
                  </a:prstClr>
                </a:solidFill>
                <a:effectLst/>
                <a:uLnTx/>
                <a:uFillTx/>
                <a:latin typeface="HarmonyOS Sans SC"/>
                <a:cs typeface="Segoe UI" panose="020B0502040204020203" pitchFamily="34" charset="0"/>
              </a:rPr>
              <a:t>volumus</a:t>
            </a:r>
            <a:r>
              <a:rPr kumimoji="0" lang="en-US" sz="1100" b="0" i="0" u="none" strike="noStrike" kern="1200" cap="none" spc="0" normalizeH="0" baseline="0" noProof="0" dirty="0">
                <a:ln>
                  <a:noFill/>
                </a:ln>
                <a:solidFill>
                  <a:prstClr val="black">
                    <a:lumMod val="50000"/>
                    <a:lumOff val="50000"/>
                  </a:prstClr>
                </a:solidFill>
                <a:effectLst/>
                <a:uLnTx/>
                <a:uFillTx/>
                <a:latin typeface="HarmonyOS Sans SC"/>
                <a:cs typeface="Segoe UI" panose="020B0502040204020203" pitchFamily="34" charset="0"/>
              </a:rPr>
              <a:t> </a:t>
            </a:r>
            <a:r>
              <a:rPr kumimoji="0" lang="en-US" sz="1100" b="0" i="0" u="none" strike="noStrike" kern="1200" cap="none" spc="0" normalizeH="0" baseline="0" noProof="0" dirty="0" err="1">
                <a:ln>
                  <a:noFill/>
                </a:ln>
                <a:solidFill>
                  <a:prstClr val="black">
                    <a:lumMod val="50000"/>
                    <a:lumOff val="50000"/>
                  </a:prstClr>
                </a:solidFill>
                <a:effectLst/>
                <a:uLnTx/>
                <a:uFillTx/>
                <a:latin typeface="HarmonyOS Sans SC"/>
                <a:cs typeface="Segoe UI" panose="020B0502040204020203" pitchFamily="34" charset="0"/>
              </a:rPr>
              <a:t>sal</a:t>
            </a:r>
            <a:r>
              <a:rPr kumimoji="0" lang="id-ID" sz="1100" b="0" i="0" u="none" strike="noStrike" kern="1200" cap="none" spc="0" normalizeH="0" baseline="0" noProof="0" dirty="0">
                <a:ln>
                  <a:noFill/>
                </a:ln>
                <a:solidFill>
                  <a:prstClr val="black">
                    <a:lumMod val="50000"/>
                    <a:lumOff val="50000"/>
                  </a:prstClr>
                </a:solidFill>
                <a:effectLst/>
                <a:uLnTx/>
                <a:uFillTx/>
                <a:latin typeface="HarmonyOS Sans SC"/>
                <a:cs typeface="Segoe UI" panose="020B0502040204020203" pitchFamily="34" charset="0"/>
              </a:rPr>
              <a:t> </a:t>
            </a:r>
            <a:r>
              <a:rPr kumimoji="0" lang="en-US" sz="1100" b="0" i="0" u="none" strike="noStrike" kern="1200" cap="none" spc="0" normalizeH="0" baseline="0" noProof="0" dirty="0" err="1">
                <a:ln>
                  <a:noFill/>
                </a:ln>
                <a:solidFill>
                  <a:prstClr val="black">
                    <a:lumMod val="50000"/>
                    <a:lumOff val="50000"/>
                  </a:prstClr>
                </a:solidFill>
                <a:effectLst/>
                <a:uLnTx/>
                <a:uFillTx/>
                <a:latin typeface="HarmonyOS Sans SC"/>
                <a:cs typeface="Segoe UI" panose="020B0502040204020203" pitchFamily="34" charset="0"/>
              </a:rPr>
              <a:t>utatus</a:t>
            </a:r>
            <a:r>
              <a:rPr kumimoji="0" lang="en-US" sz="1100" b="0" i="0" u="none" strike="noStrike" kern="1200" cap="none" spc="0" normalizeH="0" baseline="0" noProof="0" dirty="0">
                <a:ln>
                  <a:noFill/>
                </a:ln>
                <a:solidFill>
                  <a:prstClr val="black">
                    <a:lumMod val="50000"/>
                    <a:lumOff val="50000"/>
                  </a:prstClr>
                </a:solidFill>
                <a:effectLst/>
                <a:uLnTx/>
                <a:uFillTx/>
                <a:latin typeface="HarmonyOS Sans SC"/>
                <a:cs typeface="Segoe UI" panose="020B0502040204020203" pitchFamily="34" charset="0"/>
              </a:rPr>
              <a:t> ne sed. </a:t>
            </a:r>
            <a:r>
              <a:rPr kumimoji="0" lang="en-US" sz="1100" b="0" i="0" u="none" strike="noStrike" kern="1200" cap="none" spc="0" normalizeH="0" baseline="0" noProof="0" dirty="0" err="1">
                <a:ln>
                  <a:noFill/>
                </a:ln>
                <a:solidFill>
                  <a:prstClr val="black">
                    <a:lumMod val="50000"/>
                    <a:lumOff val="50000"/>
                  </a:prstClr>
                </a:solidFill>
                <a:effectLst/>
                <a:uLnTx/>
                <a:uFillTx/>
                <a:latin typeface="HarmonyOS Sans SC"/>
                <a:cs typeface="Segoe UI" panose="020B0502040204020203" pitchFamily="34" charset="0"/>
              </a:rPr>
              <a:t>Atq</a:t>
            </a:r>
            <a:r>
              <a:rPr kumimoji="0" lang="en-US" sz="1100" b="0" i="0" u="none" strike="noStrike" kern="1200" cap="none" spc="0" normalizeH="0" baseline="0" noProof="0" dirty="0">
                <a:ln>
                  <a:noFill/>
                </a:ln>
                <a:solidFill>
                  <a:prstClr val="black">
                    <a:lumMod val="50000"/>
                    <a:lumOff val="50000"/>
                  </a:prstClr>
                </a:solidFill>
                <a:effectLst/>
                <a:uLnTx/>
                <a:uFillTx/>
                <a:latin typeface="HarmonyOS Sans SC"/>
                <a:cs typeface="Segoe UI" panose="020B0502040204020203" pitchFamily="34" charset="0"/>
              </a:rPr>
              <a:t> </a:t>
            </a:r>
            <a:r>
              <a:rPr kumimoji="0" lang="en-US" sz="1100" b="0" i="0" u="none" strike="noStrike" kern="1200" cap="none" spc="0" normalizeH="0" baseline="0" noProof="0" dirty="0" err="1">
                <a:ln>
                  <a:noFill/>
                </a:ln>
                <a:solidFill>
                  <a:prstClr val="black">
                    <a:lumMod val="50000"/>
                    <a:lumOff val="50000"/>
                  </a:prstClr>
                </a:solidFill>
                <a:effectLst/>
                <a:uLnTx/>
                <a:uFillTx/>
                <a:latin typeface="HarmonyOS Sans SC"/>
                <a:cs typeface="Segoe UI" panose="020B0502040204020203" pitchFamily="34" charset="0"/>
              </a:rPr>
              <a:t>Atqui</a:t>
            </a:r>
            <a:r>
              <a:rPr kumimoji="0" lang="en-US" sz="1100" b="0" i="0" u="none" strike="noStrike" kern="1200" cap="none" spc="0" normalizeH="0" baseline="0" noProof="0" dirty="0">
                <a:ln>
                  <a:noFill/>
                </a:ln>
                <a:solidFill>
                  <a:prstClr val="black">
                    <a:lumMod val="50000"/>
                    <a:lumOff val="50000"/>
                  </a:prstClr>
                </a:solidFill>
                <a:effectLst/>
                <a:uLnTx/>
                <a:uFillTx/>
                <a:latin typeface="HarmonyOS Sans SC"/>
                <a:cs typeface="Segoe UI" panose="020B0502040204020203" pitchFamily="34" charset="0"/>
              </a:rPr>
              <a:t> </a:t>
            </a:r>
            <a:r>
              <a:rPr kumimoji="0" lang="id-ID" sz="1100" b="0" i="0" u="none" strike="noStrike" kern="1200" cap="none" spc="0" normalizeH="0" baseline="0" noProof="0" dirty="0">
                <a:ln>
                  <a:noFill/>
                </a:ln>
                <a:solidFill>
                  <a:prstClr val="black">
                    <a:lumMod val="50000"/>
                    <a:lumOff val="50000"/>
                  </a:prstClr>
                </a:solidFill>
                <a:effectLst/>
                <a:uLnTx/>
                <a:uFillTx/>
                <a:latin typeface="HarmonyOS Sans SC"/>
                <a:cs typeface="Segoe UI" panose="020B0502040204020203" pitchFamily="34" charset="0"/>
              </a:rPr>
              <a:t> </a:t>
            </a:r>
            <a:r>
              <a:rPr kumimoji="0" lang="en-US" sz="1100" b="0" i="0" u="none" strike="noStrike" kern="1200" cap="none" spc="0" normalizeH="0" baseline="0" noProof="0" dirty="0" err="1">
                <a:ln>
                  <a:noFill/>
                </a:ln>
                <a:solidFill>
                  <a:prstClr val="black">
                    <a:lumMod val="50000"/>
                    <a:lumOff val="50000"/>
                  </a:prstClr>
                </a:solidFill>
                <a:effectLst/>
                <a:uLnTx/>
                <a:uFillTx/>
                <a:latin typeface="HarmonyOS Sans SC"/>
                <a:cs typeface="Segoe UI" panose="020B0502040204020203" pitchFamily="34" charset="0"/>
              </a:rPr>
              <a:t>ui</a:t>
            </a:r>
            <a:r>
              <a:rPr kumimoji="0" lang="en-US" sz="1100" b="0" i="0" u="none" strike="noStrike" kern="1200" cap="none" spc="0" normalizeH="0" baseline="0" noProof="0" dirty="0">
                <a:ln>
                  <a:noFill/>
                </a:ln>
                <a:solidFill>
                  <a:prstClr val="black">
                    <a:lumMod val="50000"/>
                    <a:lumOff val="50000"/>
                  </a:prstClr>
                </a:solidFill>
                <a:effectLst/>
                <a:uLnTx/>
                <a:uFillTx/>
                <a:latin typeface="HarmonyOS Sans SC"/>
                <a:cs typeface="Segoe UI" panose="020B0502040204020203" pitchFamily="34" charset="0"/>
              </a:rPr>
              <a:t> </a:t>
            </a:r>
            <a:r>
              <a:rPr kumimoji="0" lang="en-US" sz="1100" b="0" i="0" u="none" strike="noStrike" kern="1200" cap="none" spc="0" normalizeH="0" baseline="0" noProof="0" dirty="0" err="1">
                <a:ln>
                  <a:noFill/>
                </a:ln>
                <a:solidFill>
                  <a:prstClr val="black">
                    <a:lumMod val="50000"/>
                    <a:lumOff val="50000"/>
                  </a:prstClr>
                </a:solidFill>
                <a:effectLst/>
                <a:uLnTx/>
                <a:uFillTx/>
                <a:latin typeface="HarmonyOS Sans SC"/>
                <a:cs typeface="Segoe UI" panose="020B0502040204020203" pitchFamily="34" charset="0"/>
              </a:rPr>
              <a:t>volumus</a:t>
            </a:r>
            <a:endParaRPr kumimoji="0" lang="en-US" sz="1100" b="0" i="0" u="none" strike="noStrike" kern="1200" cap="none" spc="0" normalizeH="0" baseline="0" noProof="0" dirty="0">
              <a:ln>
                <a:noFill/>
              </a:ln>
              <a:solidFill>
                <a:prstClr val="black">
                  <a:lumMod val="50000"/>
                  <a:lumOff val="50000"/>
                </a:prstClr>
              </a:solidFill>
              <a:effectLst/>
              <a:uLnTx/>
              <a:uFillTx/>
              <a:latin typeface="HarmonyOS Sans SC"/>
              <a:cs typeface="Segoe UI" panose="020B0502040204020203" pitchFamily="34" charset="0"/>
            </a:endParaRPr>
          </a:p>
        </p:txBody>
      </p:sp>
      <p:sp>
        <p:nvSpPr>
          <p:cNvPr id="13" name="TextBox 15">
            <a:extLst>
              <a:ext uri="{FF2B5EF4-FFF2-40B4-BE49-F238E27FC236}">
                <a16:creationId xmlns:a16="http://schemas.microsoft.com/office/drawing/2014/main" id="{137EA261-4846-44FE-BA5C-E44DB4EE1691}"/>
              </a:ext>
            </a:extLst>
          </p:cNvPr>
          <p:cNvSpPr txBox="1"/>
          <p:nvPr/>
        </p:nvSpPr>
        <p:spPr>
          <a:xfrm>
            <a:off x="4926347" y="4618060"/>
            <a:ext cx="1483053"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chemeClr val="accent1"/>
                </a:solidFill>
                <a:effectLst/>
                <a:uLnTx/>
                <a:uFillTx/>
                <a:latin typeface="HarmonyOS Sans SC"/>
                <a:cs typeface="Segoe UI" panose="020B0502040204020203" pitchFamily="34" charset="0"/>
              </a:rPr>
              <a:t>Short Text</a:t>
            </a:r>
          </a:p>
        </p:txBody>
      </p:sp>
      <p:sp>
        <p:nvSpPr>
          <p:cNvPr id="14" name="TextBox 16">
            <a:extLst>
              <a:ext uri="{FF2B5EF4-FFF2-40B4-BE49-F238E27FC236}">
                <a16:creationId xmlns:a16="http://schemas.microsoft.com/office/drawing/2014/main" id="{558D014D-8D0B-4EE1-986D-3CFCFD58024A}"/>
              </a:ext>
            </a:extLst>
          </p:cNvPr>
          <p:cNvSpPr txBox="1"/>
          <p:nvPr/>
        </p:nvSpPr>
        <p:spPr>
          <a:xfrm>
            <a:off x="4926345" y="4337712"/>
            <a:ext cx="775939"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d-ID" sz="1800" b="1" i="0" u="none" strike="noStrike" kern="1200" cap="none" spc="0" normalizeH="0" baseline="0" noProof="0" dirty="0">
                <a:ln>
                  <a:noFill/>
                </a:ln>
                <a:solidFill>
                  <a:prstClr val="black">
                    <a:lumMod val="75000"/>
                    <a:lumOff val="25000"/>
                  </a:prstClr>
                </a:solidFill>
                <a:effectLst/>
                <a:uLnTx/>
                <a:uFillTx/>
                <a:latin typeface="HarmonyOS Sans SC Black"/>
                <a:ea typeface="+mj-ea"/>
                <a:cs typeface="Segoe UI" panose="020B0502040204020203" pitchFamily="34" charset="0"/>
              </a:rPr>
              <a:t>2019</a:t>
            </a:r>
            <a:endParaRPr kumimoji="0" lang="en-US" sz="1800" b="1" i="0" u="none" strike="noStrike" kern="1200" cap="none" spc="0" normalizeH="0" baseline="0" noProof="0" dirty="0">
              <a:ln>
                <a:noFill/>
              </a:ln>
              <a:solidFill>
                <a:prstClr val="black">
                  <a:lumMod val="75000"/>
                  <a:lumOff val="25000"/>
                </a:prstClr>
              </a:solidFill>
              <a:effectLst/>
              <a:uLnTx/>
              <a:uFillTx/>
              <a:latin typeface="HarmonyOS Sans SC Black"/>
              <a:ea typeface="+mj-ea"/>
              <a:cs typeface="Segoe UI" panose="020B0502040204020203" pitchFamily="34" charset="0"/>
            </a:endParaRPr>
          </a:p>
        </p:txBody>
      </p:sp>
      <p:sp>
        <p:nvSpPr>
          <p:cNvPr id="15" name="Rectangle 17">
            <a:extLst>
              <a:ext uri="{FF2B5EF4-FFF2-40B4-BE49-F238E27FC236}">
                <a16:creationId xmlns:a16="http://schemas.microsoft.com/office/drawing/2014/main" id="{196A2454-0FA2-4790-88A2-E67FB1224E6C}"/>
              </a:ext>
            </a:extLst>
          </p:cNvPr>
          <p:cNvSpPr/>
          <p:nvPr/>
        </p:nvSpPr>
        <p:spPr>
          <a:xfrm>
            <a:off x="8362871" y="2826076"/>
            <a:ext cx="3047321" cy="571247"/>
          </a:xfrm>
          <a:prstGeom prst="rect">
            <a:avLst/>
          </a:prstGeom>
        </p:spPr>
        <p:txBody>
          <a:bodyPr wrap="square">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lumMod val="50000"/>
                    <a:lumOff val="50000"/>
                  </a:prstClr>
                </a:solidFill>
                <a:effectLst/>
                <a:uLnTx/>
                <a:uFillTx/>
                <a:latin typeface="HarmonyOS Sans SC"/>
                <a:cs typeface="Segoe UI" panose="020B0502040204020203" pitchFamily="34" charset="0"/>
              </a:rPr>
              <a:t>Quod </a:t>
            </a:r>
            <a:r>
              <a:rPr kumimoji="0" lang="en-US" sz="1100" b="0" i="0" u="none" strike="noStrike" kern="1200" cap="none" spc="0" normalizeH="0" baseline="0" noProof="0" dirty="0" err="1">
                <a:ln>
                  <a:noFill/>
                </a:ln>
                <a:solidFill>
                  <a:prstClr val="black">
                    <a:lumMod val="50000"/>
                    <a:lumOff val="50000"/>
                  </a:prstClr>
                </a:solidFill>
                <a:effectLst/>
                <a:uLnTx/>
                <a:uFillTx/>
                <a:latin typeface="HarmonyOS Sans SC"/>
                <a:cs typeface="Segoe UI" panose="020B0502040204020203" pitchFamily="34" charset="0"/>
              </a:rPr>
              <a:t>errem</a:t>
            </a:r>
            <a:r>
              <a:rPr kumimoji="0" lang="en-US" sz="1100" b="0" i="0" u="none" strike="noStrike" kern="1200" cap="none" spc="0" normalizeH="0" baseline="0" noProof="0" dirty="0">
                <a:ln>
                  <a:noFill/>
                </a:ln>
                <a:solidFill>
                  <a:prstClr val="black">
                    <a:lumMod val="50000"/>
                    <a:lumOff val="50000"/>
                  </a:prstClr>
                </a:solidFill>
                <a:effectLst/>
                <a:uLnTx/>
                <a:uFillTx/>
                <a:latin typeface="HarmonyOS Sans SC"/>
                <a:cs typeface="Segoe UI" panose="020B0502040204020203" pitchFamily="34" charset="0"/>
              </a:rPr>
              <a:t> </a:t>
            </a:r>
            <a:r>
              <a:rPr kumimoji="0" lang="en-US" sz="1100" b="0" i="0" u="none" strike="noStrike" kern="1200" cap="none" spc="0" normalizeH="0" baseline="0" noProof="0" dirty="0" err="1">
                <a:ln>
                  <a:noFill/>
                </a:ln>
                <a:solidFill>
                  <a:prstClr val="black">
                    <a:lumMod val="50000"/>
                    <a:lumOff val="50000"/>
                  </a:prstClr>
                </a:solidFill>
                <a:effectLst/>
                <a:uLnTx/>
                <a:uFillTx/>
                <a:latin typeface="HarmonyOS Sans SC"/>
                <a:cs typeface="Segoe UI" panose="020B0502040204020203" pitchFamily="34" charset="0"/>
              </a:rPr>
              <a:t>accusam</a:t>
            </a:r>
            <a:r>
              <a:rPr kumimoji="0" lang="en-US" sz="1100" b="0" i="0" u="none" strike="noStrike" kern="1200" cap="none" spc="0" normalizeH="0" baseline="0" noProof="0" dirty="0">
                <a:ln>
                  <a:noFill/>
                </a:ln>
                <a:solidFill>
                  <a:prstClr val="black">
                    <a:lumMod val="50000"/>
                    <a:lumOff val="50000"/>
                  </a:prstClr>
                </a:solidFill>
                <a:effectLst/>
                <a:uLnTx/>
                <a:uFillTx/>
                <a:latin typeface="HarmonyOS Sans SC"/>
                <a:cs typeface="Segoe UI" panose="020B0502040204020203" pitchFamily="34" charset="0"/>
              </a:rPr>
              <a:t> ne sed. </a:t>
            </a:r>
            <a:r>
              <a:rPr kumimoji="0" lang="en-US" sz="1100" b="0" i="0" u="none" strike="noStrike" kern="1200" cap="none" spc="0" normalizeH="0" baseline="0" noProof="0" dirty="0" err="1">
                <a:ln>
                  <a:noFill/>
                </a:ln>
                <a:solidFill>
                  <a:prstClr val="black">
                    <a:lumMod val="50000"/>
                    <a:lumOff val="50000"/>
                  </a:prstClr>
                </a:solidFill>
                <a:effectLst/>
                <a:uLnTx/>
                <a:uFillTx/>
                <a:latin typeface="HarmonyOS Sans SC"/>
                <a:cs typeface="Segoe UI" panose="020B0502040204020203" pitchFamily="34" charset="0"/>
              </a:rPr>
              <a:t>volumus</a:t>
            </a:r>
            <a:r>
              <a:rPr kumimoji="0" lang="en-US" sz="1100" b="0" i="0" u="none" strike="noStrike" kern="1200" cap="none" spc="0" normalizeH="0" baseline="0" noProof="0" dirty="0">
                <a:ln>
                  <a:noFill/>
                </a:ln>
                <a:solidFill>
                  <a:prstClr val="black">
                    <a:lumMod val="50000"/>
                    <a:lumOff val="50000"/>
                  </a:prstClr>
                </a:solidFill>
                <a:effectLst/>
                <a:uLnTx/>
                <a:uFillTx/>
                <a:latin typeface="HarmonyOS Sans SC"/>
                <a:cs typeface="Segoe UI" panose="020B0502040204020203" pitchFamily="34" charset="0"/>
              </a:rPr>
              <a:t> </a:t>
            </a:r>
            <a:r>
              <a:rPr kumimoji="0" lang="en-US" sz="1100" b="0" i="0" u="none" strike="noStrike" kern="1200" cap="none" spc="0" normalizeH="0" baseline="0" noProof="0" dirty="0" err="1">
                <a:ln>
                  <a:noFill/>
                </a:ln>
                <a:solidFill>
                  <a:prstClr val="black">
                    <a:lumMod val="50000"/>
                    <a:lumOff val="50000"/>
                  </a:prstClr>
                </a:solidFill>
                <a:effectLst/>
                <a:uLnTx/>
                <a:uFillTx/>
                <a:latin typeface="HarmonyOS Sans SC"/>
                <a:cs typeface="Segoe UI" panose="020B0502040204020203" pitchFamily="34" charset="0"/>
              </a:rPr>
              <a:t>sal</a:t>
            </a:r>
            <a:r>
              <a:rPr kumimoji="0" lang="id-ID" sz="1100" b="0" i="0" u="none" strike="noStrike" kern="1200" cap="none" spc="0" normalizeH="0" baseline="0" noProof="0" dirty="0">
                <a:ln>
                  <a:noFill/>
                </a:ln>
                <a:solidFill>
                  <a:prstClr val="black">
                    <a:lumMod val="50000"/>
                    <a:lumOff val="50000"/>
                  </a:prstClr>
                </a:solidFill>
                <a:effectLst/>
                <a:uLnTx/>
                <a:uFillTx/>
                <a:latin typeface="HarmonyOS Sans SC"/>
                <a:cs typeface="Segoe UI" panose="020B0502040204020203" pitchFamily="34" charset="0"/>
              </a:rPr>
              <a:t> </a:t>
            </a:r>
            <a:r>
              <a:rPr kumimoji="0" lang="en-US" sz="1100" b="0" i="0" u="none" strike="noStrike" kern="1200" cap="none" spc="0" normalizeH="0" baseline="0" noProof="0" dirty="0" err="1">
                <a:ln>
                  <a:noFill/>
                </a:ln>
                <a:solidFill>
                  <a:prstClr val="black">
                    <a:lumMod val="50000"/>
                    <a:lumOff val="50000"/>
                  </a:prstClr>
                </a:solidFill>
                <a:effectLst/>
                <a:uLnTx/>
                <a:uFillTx/>
                <a:latin typeface="HarmonyOS Sans SC"/>
                <a:cs typeface="Segoe UI" panose="020B0502040204020203" pitchFamily="34" charset="0"/>
              </a:rPr>
              <a:t>utatus</a:t>
            </a:r>
            <a:r>
              <a:rPr kumimoji="0" lang="en-US" sz="1100" b="0" i="0" u="none" strike="noStrike" kern="1200" cap="none" spc="0" normalizeH="0" baseline="0" noProof="0" dirty="0">
                <a:ln>
                  <a:noFill/>
                </a:ln>
                <a:solidFill>
                  <a:prstClr val="black">
                    <a:lumMod val="50000"/>
                    <a:lumOff val="50000"/>
                  </a:prstClr>
                </a:solidFill>
                <a:effectLst/>
                <a:uLnTx/>
                <a:uFillTx/>
                <a:latin typeface="HarmonyOS Sans SC"/>
                <a:cs typeface="Segoe UI" panose="020B0502040204020203" pitchFamily="34" charset="0"/>
              </a:rPr>
              <a:t> ne sed. </a:t>
            </a:r>
            <a:r>
              <a:rPr kumimoji="0" lang="en-US" sz="1100" b="0" i="0" u="none" strike="noStrike" kern="1200" cap="none" spc="0" normalizeH="0" baseline="0" noProof="0" dirty="0" err="1">
                <a:ln>
                  <a:noFill/>
                </a:ln>
                <a:solidFill>
                  <a:prstClr val="black">
                    <a:lumMod val="50000"/>
                    <a:lumOff val="50000"/>
                  </a:prstClr>
                </a:solidFill>
                <a:effectLst/>
                <a:uLnTx/>
                <a:uFillTx/>
                <a:latin typeface="HarmonyOS Sans SC"/>
                <a:cs typeface="Segoe UI" panose="020B0502040204020203" pitchFamily="34" charset="0"/>
              </a:rPr>
              <a:t>Atq</a:t>
            </a:r>
            <a:r>
              <a:rPr kumimoji="0" lang="en-US" sz="1100" b="0" i="0" u="none" strike="noStrike" kern="1200" cap="none" spc="0" normalizeH="0" baseline="0" noProof="0" dirty="0">
                <a:ln>
                  <a:noFill/>
                </a:ln>
                <a:solidFill>
                  <a:prstClr val="black">
                    <a:lumMod val="50000"/>
                    <a:lumOff val="50000"/>
                  </a:prstClr>
                </a:solidFill>
                <a:effectLst/>
                <a:uLnTx/>
                <a:uFillTx/>
                <a:latin typeface="HarmonyOS Sans SC"/>
                <a:cs typeface="Segoe UI" panose="020B0502040204020203" pitchFamily="34" charset="0"/>
              </a:rPr>
              <a:t> </a:t>
            </a:r>
            <a:r>
              <a:rPr kumimoji="0" lang="en-US" sz="1100" b="0" i="0" u="none" strike="noStrike" kern="1200" cap="none" spc="0" normalizeH="0" baseline="0" noProof="0" dirty="0" err="1">
                <a:ln>
                  <a:noFill/>
                </a:ln>
                <a:solidFill>
                  <a:prstClr val="black">
                    <a:lumMod val="50000"/>
                    <a:lumOff val="50000"/>
                  </a:prstClr>
                </a:solidFill>
                <a:effectLst/>
                <a:uLnTx/>
                <a:uFillTx/>
                <a:latin typeface="HarmonyOS Sans SC"/>
                <a:cs typeface="Segoe UI" panose="020B0502040204020203" pitchFamily="34" charset="0"/>
              </a:rPr>
              <a:t>Atqui</a:t>
            </a:r>
            <a:r>
              <a:rPr kumimoji="0" lang="en-US" sz="1100" b="0" i="0" u="none" strike="noStrike" kern="1200" cap="none" spc="0" normalizeH="0" baseline="0" noProof="0" dirty="0">
                <a:ln>
                  <a:noFill/>
                </a:ln>
                <a:solidFill>
                  <a:prstClr val="black">
                    <a:lumMod val="50000"/>
                    <a:lumOff val="50000"/>
                  </a:prstClr>
                </a:solidFill>
                <a:effectLst/>
                <a:uLnTx/>
                <a:uFillTx/>
                <a:latin typeface="HarmonyOS Sans SC"/>
                <a:cs typeface="Segoe UI" panose="020B0502040204020203" pitchFamily="34" charset="0"/>
              </a:rPr>
              <a:t> </a:t>
            </a:r>
            <a:r>
              <a:rPr kumimoji="0" lang="id-ID" sz="1100" b="0" i="0" u="none" strike="noStrike" kern="1200" cap="none" spc="0" normalizeH="0" baseline="0" noProof="0" dirty="0">
                <a:ln>
                  <a:noFill/>
                </a:ln>
                <a:solidFill>
                  <a:prstClr val="black">
                    <a:lumMod val="50000"/>
                    <a:lumOff val="50000"/>
                  </a:prstClr>
                </a:solidFill>
                <a:effectLst/>
                <a:uLnTx/>
                <a:uFillTx/>
                <a:latin typeface="HarmonyOS Sans SC"/>
                <a:cs typeface="Segoe UI" panose="020B0502040204020203" pitchFamily="34" charset="0"/>
              </a:rPr>
              <a:t> </a:t>
            </a:r>
            <a:r>
              <a:rPr kumimoji="0" lang="en-US" sz="1100" b="0" i="0" u="none" strike="noStrike" kern="1200" cap="none" spc="0" normalizeH="0" baseline="0" noProof="0" dirty="0" err="1">
                <a:ln>
                  <a:noFill/>
                </a:ln>
                <a:solidFill>
                  <a:prstClr val="black">
                    <a:lumMod val="50000"/>
                    <a:lumOff val="50000"/>
                  </a:prstClr>
                </a:solidFill>
                <a:effectLst/>
                <a:uLnTx/>
                <a:uFillTx/>
                <a:latin typeface="HarmonyOS Sans SC"/>
                <a:cs typeface="Segoe UI" panose="020B0502040204020203" pitchFamily="34" charset="0"/>
              </a:rPr>
              <a:t>ui</a:t>
            </a:r>
            <a:r>
              <a:rPr kumimoji="0" lang="en-US" sz="1100" b="0" i="0" u="none" strike="noStrike" kern="1200" cap="none" spc="0" normalizeH="0" baseline="0" noProof="0" dirty="0">
                <a:ln>
                  <a:noFill/>
                </a:ln>
                <a:solidFill>
                  <a:prstClr val="black">
                    <a:lumMod val="50000"/>
                    <a:lumOff val="50000"/>
                  </a:prstClr>
                </a:solidFill>
                <a:effectLst/>
                <a:uLnTx/>
                <a:uFillTx/>
                <a:latin typeface="HarmonyOS Sans SC"/>
                <a:cs typeface="Segoe UI" panose="020B0502040204020203" pitchFamily="34" charset="0"/>
              </a:rPr>
              <a:t> </a:t>
            </a:r>
            <a:r>
              <a:rPr kumimoji="0" lang="en-US" sz="1100" b="0" i="0" u="none" strike="noStrike" kern="1200" cap="none" spc="0" normalizeH="0" baseline="0" noProof="0" dirty="0" err="1">
                <a:ln>
                  <a:noFill/>
                </a:ln>
                <a:solidFill>
                  <a:prstClr val="black">
                    <a:lumMod val="50000"/>
                    <a:lumOff val="50000"/>
                  </a:prstClr>
                </a:solidFill>
                <a:effectLst/>
                <a:uLnTx/>
                <a:uFillTx/>
                <a:latin typeface="HarmonyOS Sans SC"/>
                <a:cs typeface="Segoe UI" panose="020B0502040204020203" pitchFamily="34" charset="0"/>
              </a:rPr>
              <a:t>volumus</a:t>
            </a:r>
            <a:endParaRPr kumimoji="0" lang="en-US" sz="1100" b="0" i="0" u="none" strike="noStrike" kern="1200" cap="none" spc="0" normalizeH="0" baseline="0" noProof="0" dirty="0">
              <a:ln>
                <a:noFill/>
              </a:ln>
              <a:solidFill>
                <a:prstClr val="black">
                  <a:lumMod val="50000"/>
                  <a:lumOff val="50000"/>
                </a:prstClr>
              </a:solidFill>
              <a:effectLst/>
              <a:uLnTx/>
              <a:uFillTx/>
              <a:latin typeface="HarmonyOS Sans SC"/>
              <a:cs typeface="Segoe UI" panose="020B0502040204020203" pitchFamily="34" charset="0"/>
            </a:endParaRPr>
          </a:p>
        </p:txBody>
      </p:sp>
      <p:sp>
        <p:nvSpPr>
          <p:cNvPr id="16" name="TextBox 18">
            <a:extLst>
              <a:ext uri="{FF2B5EF4-FFF2-40B4-BE49-F238E27FC236}">
                <a16:creationId xmlns:a16="http://schemas.microsoft.com/office/drawing/2014/main" id="{ECEC581B-21F5-4720-870C-3F55A9749F71}"/>
              </a:ext>
            </a:extLst>
          </p:cNvPr>
          <p:cNvSpPr txBox="1"/>
          <p:nvPr/>
        </p:nvSpPr>
        <p:spPr>
          <a:xfrm>
            <a:off x="8362871" y="2520288"/>
            <a:ext cx="1483053"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chemeClr val="accent1"/>
                </a:solidFill>
                <a:effectLst/>
                <a:uLnTx/>
                <a:uFillTx/>
                <a:latin typeface="HarmonyOS Sans SC"/>
                <a:cs typeface="Segoe UI" panose="020B0502040204020203" pitchFamily="34" charset="0"/>
              </a:rPr>
              <a:t>Short Text</a:t>
            </a:r>
          </a:p>
        </p:txBody>
      </p:sp>
      <p:sp>
        <p:nvSpPr>
          <p:cNvPr id="17" name="TextBox 19">
            <a:extLst>
              <a:ext uri="{FF2B5EF4-FFF2-40B4-BE49-F238E27FC236}">
                <a16:creationId xmlns:a16="http://schemas.microsoft.com/office/drawing/2014/main" id="{92946755-8328-49C7-9A90-506CA05C063A}"/>
              </a:ext>
            </a:extLst>
          </p:cNvPr>
          <p:cNvSpPr txBox="1"/>
          <p:nvPr/>
        </p:nvSpPr>
        <p:spPr>
          <a:xfrm>
            <a:off x="8362871" y="2239940"/>
            <a:ext cx="775939"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d-ID" sz="1800" b="1" i="0" u="none" strike="noStrike" kern="1200" cap="none" spc="0" normalizeH="0" baseline="0" noProof="0" dirty="0">
                <a:ln>
                  <a:noFill/>
                </a:ln>
                <a:solidFill>
                  <a:prstClr val="black">
                    <a:lumMod val="75000"/>
                    <a:lumOff val="25000"/>
                  </a:prstClr>
                </a:solidFill>
                <a:effectLst/>
                <a:uLnTx/>
                <a:uFillTx/>
                <a:latin typeface="HarmonyOS Sans SC Black"/>
                <a:ea typeface="+mj-ea"/>
                <a:cs typeface="Segoe UI" panose="020B0502040204020203" pitchFamily="34" charset="0"/>
              </a:rPr>
              <a:t>2019</a:t>
            </a:r>
            <a:endParaRPr kumimoji="0" lang="en-US" sz="1800" b="1" i="0" u="none" strike="noStrike" kern="1200" cap="none" spc="0" normalizeH="0" baseline="0" noProof="0" dirty="0">
              <a:ln>
                <a:noFill/>
              </a:ln>
              <a:solidFill>
                <a:prstClr val="black">
                  <a:lumMod val="75000"/>
                  <a:lumOff val="25000"/>
                </a:prstClr>
              </a:solidFill>
              <a:effectLst/>
              <a:uLnTx/>
              <a:uFillTx/>
              <a:latin typeface="HarmonyOS Sans SC Black"/>
              <a:ea typeface="+mj-ea"/>
              <a:cs typeface="Segoe UI" panose="020B0502040204020203" pitchFamily="34" charset="0"/>
            </a:endParaRPr>
          </a:p>
        </p:txBody>
      </p:sp>
      <p:sp>
        <p:nvSpPr>
          <p:cNvPr id="18" name="Rectangle 20">
            <a:extLst>
              <a:ext uri="{FF2B5EF4-FFF2-40B4-BE49-F238E27FC236}">
                <a16:creationId xmlns:a16="http://schemas.microsoft.com/office/drawing/2014/main" id="{291F290E-F4AF-47DF-9E2A-3510FFB45574}"/>
              </a:ext>
            </a:extLst>
          </p:cNvPr>
          <p:cNvSpPr/>
          <p:nvPr/>
        </p:nvSpPr>
        <p:spPr>
          <a:xfrm>
            <a:off x="8362871" y="4923848"/>
            <a:ext cx="3047321" cy="571247"/>
          </a:xfrm>
          <a:prstGeom prst="rect">
            <a:avLst/>
          </a:prstGeom>
        </p:spPr>
        <p:txBody>
          <a:bodyPr wrap="square">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lumMod val="50000"/>
                    <a:lumOff val="50000"/>
                  </a:prstClr>
                </a:solidFill>
                <a:effectLst/>
                <a:uLnTx/>
                <a:uFillTx/>
                <a:latin typeface="HarmonyOS Sans SC"/>
                <a:cs typeface="Segoe UI" panose="020B0502040204020203" pitchFamily="34" charset="0"/>
              </a:rPr>
              <a:t>Quod </a:t>
            </a:r>
            <a:r>
              <a:rPr kumimoji="0" lang="en-US" sz="1100" b="0" i="0" u="none" strike="noStrike" kern="1200" cap="none" spc="0" normalizeH="0" baseline="0" noProof="0" dirty="0" err="1">
                <a:ln>
                  <a:noFill/>
                </a:ln>
                <a:solidFill>
                  <a:prstClr val="black">
                    <a:lumMod val="50000"/>
                    <a:lumOff val="50000"/>
                  </a:prstClr>
                </a:solidFill>
                <a:effectLst/>
                <a:uLnTx/>
                <a:uFillTx/>
                <a:latin typeface="HarmonyOS Sans SC"/>
                <a:cs typeface="Segoe UI" panose="020B0502040204020203" pitchFamily="34" charset="0"/>
              </a:rPr>
              <a:t>errem</a:t>
            </a:r>
            <a:r>
              <a:rPr kumimoji="0" lang="en-US" sz="1100" b="0" i="0" u="none" strike="noStrike" kern="1200" cap="none" spc="0" normalizeH="0" baseline="0" noProof="0" dirty="0">
                <a:ln>
                  <a:noFill/>
                </a:ln>
                <a:solidFill>
                  <a:prstClr val="black">
                    <a:lumMod val="50000"/>
                    <a:lumOff val="50000"/>
                  </a:prstClr>
                </a:solidFill>
                <a:effectLst/>
                <a:uLnTx/>
                <a:uFillTx/>
                <a:latin typeface="HarmonyOS Sans SC"/>
                <a:cs typeface="Segoe UI" panose="020B0502040204020203" pitchFamily="34" charset="0"/>
              </a:rPr>
              <a:t> </a:t>
            </a:r>
            <a:r>
              <a:rPr kumimoji="0" lang="en-US" sz="1100" b="0" i="0" u="none" strike="noStrike" kern="1200" cap="none" spc="0" normalizeH="0" baseline="0" noProof="0" dirty="0" err="1">
                <a:ln>
                  <a:noFill/>
                </a:ln>
                <a:solidFill>
                  <a:prstClr val="black">
                    <a:lumMod val="50000"/>
                    <a:lumOff val="50000"/>
                  </a:prstClr>
                </a:solidFill>
                <a:effectLst/>
                <a:uLnTx/>
                <a:uFillTx/>
                <a:latin typeface="HarmonyOS Sans SC"/>
                <a:cs typeface="Segoe UI" panose="020B0502040204020203" pitchFamily="34" charset="0"/>
              </a:rPr>
              <a:t>accusam</a:t>
            </a:r>
            <a:r>
              <a:rPr kumimoji="0" lang="en-US" sz="1100" b="0" i="0" u="none" strike="noStrike" kern="1200" cap="none" spc="0" normalizeH="0" baseline="0" noProof="0" dirty="0">
                <a:ln>
                  <a:noFill/>
                </a:ln>
                <a:solidFill>
                  <a:prstClr val="black">
                    <a:lumMod val="50000"/>
                    <a:lumOff val="50000"/>
                  </a:prstClr>
                </a:solidFill>
                <a:effectLst/>
                <a:uLnTx/>
                <a:uFillTx/>
                <a:latin typeface="HarmonyOS Sans SC"/>
                <a:cs typeface="Segoe UI" panose="020B0502040204020203" pitchFamily="34" charset="0"/>
              </a:rPr>
              <a:t> ne sed. </a:t>
            </a:r>
            <a:r>
              <a:rPr kumimoji="0" lang="en-US" sz="1100" b="0" i="0" u="none" strike="noStrike" kern="1200" cap="none" spc="0" normalizeH="0" baseline="0" noProof="0" dirty="0" err="1">
                <a:ln>
                  <a:noFill/>
                </a:ln>
                <a:solidFill>
                  <a:prstClr val="black">
                    <a:lumMod val="50000"/>
                    <a:lumOff val="50000"/>
                  </a:prstClr>
                </a:solidFill>
                <a:effectLst/>
                <a:uLnTx/>
                <a:uFillTx/>
                <a:latin typeface="HarmonyOS Sans SC"/>
                <a:cs typeface="Segoe UI" panose="020B0502040204020203" pitchFamily="34" charset="0"/>
              </a:rPr>
              <a:t>volumus</a:t>
            </a:r>
            <a:r>
              <a:rPr kumimoji="0" lang="en-US" sz="1100" b="0" i="0" u="none" strike="noStrike" kern="1200" cap="none" spc="0" normalizeH="0" baseline="0" noProof="0" dirty="0">
                <a:ln>
                  <a:noFill/>
                </a:ln>
                <a:solidFill>
                  <a:prstClr val="black">
                    <a:lumMod val="50000"/>
                    <a:lumOff val="50000"/>
                  </a:prstClr>
                </a:solidFill>
                <a:effectLst/>
                <a:uLnTx/>
                <a:uFillTx/>
                <a:latin typeface="HarmonyOS Sans SC"/>
                <a:cs typeface="Segoe UI" panose="020B0502040204020203" pitchFamily="34" charset="0"/>
              </a:rPr>
              <a:t> </a:t>
            </a:r>
            <a:r>
              <a:rPr kumimoji="0" lang="en-US" sz="1100" b="0" i="0" u="none" strike="noStrike" kern="1200" cap="none" spc="0" normalizeH="0" baseline="0" noProof="0" dirty="0" err="1">
                <a:ln>
                  <a:noFill/>
                </a:ln>
                <a:solidFill>
                  <a:prstClr val="black">
                    <a:lumMod val="50000"/>
                    <a:lumOff val="50000"/>
                  </a:prstClr>
                </a:solidFill>
                <a:effectLst/>
                <a:uLnTx/>
                <a:uFillTx/>
                <a:latin typeface="HarmonyOS Sans SC"/>
                <a:cs typeface="Segoe UI" panose="020B0502040204020203" pitchFamily="34" charset="0"/>
              </a:rPr>
              <a:t>sal</a:t>
            </a:r>
            <a:r>
              <a:rPr kumimoji="0" lang="id-ID" sz="1100" b="0" i="0" u="none" strike="noStrike" kern="1200" cap="none" spc="0" normalizeH="0" baseline="0" noProof="0" dirty="0">
                <a:ln>
                  <a:noFill/>
                </a:ln>
                <a:solidFill>
                  <a:prstClr val="black">
                    <a:lumMod val="50000"/>
                    <a:lumOff val="50000"/>
                  </a:prstClr>
                </a:solidFill>
                <a:effectLst/>
                <a:uLnTx/>
                <a:uFillTx/>
                <a:latin typeface="HarmonyOS Sans SC"/>
                <a:cs typeface="Segoe UI" panose="020B0502040204020203" pitchFamily="34" charset="0"/>
              </a:rPr>
              <a:t> </a:t>
            </a:r>
            <a:r>
              <a:rPr kumimoji="0" lang="en-US" sz="1100" b="0" i="0" u="none" strike="noStrike" kern="1200" cap="none" spc="0" normalizeH="0" baseline="0" noProof="0" dirty="0" err="1">
                <a:ln>
                  <a:noFill/>
                </a:ln>
                <a:solidFill>
                  <a:prstClr val="black">
                    <a:lumMod val="50000"/>
                    <a:lumOff val="50000"/>
                  </a:prstClr>
                </a:solidFill>
                <a:effectLst/>
                <a:uLnTx/>
                <a:uFillTx/>
                <a:latin typeface="HarmonyOS Sans SC"/>
                <a:cs typeface="Segoe UI" panose="020B0502040204020203" pitchFamily="34" charset="0"/>
              </a:rPr>
              <a:t>utatus</a:t>
            </a:r>
            <a:r>
              <a:rPr kumimoji="0" lang="en-US" sz="1100" b="0" i="0" u="none" strike="noStrike" kern="1200" cap="none" spc="0" normalizeH="0" baseline="0" noProof="0" dirty="0">
                <a:ln>
                  <a:noFill/>
                </a:ln>
                <a:solidFill>
                  <a:prstClr val="black">
                    <a:lumMod val="50000"/>
                    <a:lumOff val="50000"/>
                  </a:prstClr>
                </a:solidFill>
                <a:effectLst/>
                <a:uLnTx/>
                <a:uFillTx/>
                <a:latin typeface="HarmonyOS Sans SC"/>
                <a:cs typeface="Segoe UI" panose="020B0502040204020203" pitchFamily="34" charset="0"/>
              </a:rPr>
              <a:t> ne sed. </a:t>
            </a:r>
            <a:r>
              <a:rPr kumimoji="0" lang="en-US" sz="1100" b="0" i="0" u="none" strike="noStrike" kern="1200" cap="none" spc="0" normalizeH="0" baseline="0" noProof="0" dirty="0" err="1">
                <a:ln>
                  <a:noFill/>
                </a:ln>
                <a:solidFill>
                  <a:prstClr val="black">
                    <a:lumMod val="50000"/>
                    <a:lumOff val="50000"/>
                  </a:prstClr>
                </a:solidFill>
                <a:effectLst/>
                <a:uLnTx/>
                <a:uFillTx/>
                <a:latin typeface="HarmonyOS Sans SC"/>
                <a:cs typeface="Segoe UI" panose="020B0502040204020203" pitchFamily="34" charset="0"/>
              </a:rPr>
              <a:t>Atq</a:t>
            </a:r>
            <a:r>
              <a:rPr kumimoji="0" lang="en-US" sz="1100" b="0" i="0" u="none" strike="noStrike" kern="1200" cap="none" spc="0" normalizeH="0" baseline="0" noProof="0" dirty="0">
                <a:ln>
                  <a:noFill/>
                </a:ln>
                <a:solidFill>
                  <a:prstClr val="black">
                    <a:lumMod val="50000"/>
                    <a:lumOff val="50000"/>
                  </a:prstClr>
                </a:solidFill>
                <a:effectLst/>
                <a:uLnTx/>
                <a:uFillTx/>
                <a:latin typeface="HarmonyOS Sans SC"/>
                <a:cs typeface="Segoe UI" panose="020B0502040204020203" pitchFamily="34" charset="0"/>
              </a:rPr>
              <a:t> </a:t>
            </a:r>
            <a:r>
              <a:rPr kumimoji="0" lang="en-US" sz="1100" b="0" i="0" u="none" strike="noStrike" kern="1200" cap="none" spc="0" normalizeH="0" baseline="0" noProof="0" dirty="0" err="1">
                <a:ln>
                  <a:noFill/>
                </a:ln>
                <a:solidFill>
                  <a:prstClr val="black">
                    <a:lumMod val="50000"/>
                    <a:lumOff val="50000"/>
                  </a:prstClr>
                </a:solidFill>
                <a:effectLst/>
                <a:uLnTx/>
                <a:uFillTx/>
                <a:latin typeface="HarmonyOS Sans SC"/>
                <a:cs typeface="Segoe UI" panose="020B0502040204020203" pitchFamily="34" charset="0"/>
              </a:rPr>
              <a:t>Atqui</a:t>
            </a:r>
            <a:r>
              <a:rPr kumimoji="0" lang="en-US" sz="1100" b="0" i="0" u="none" strike="noStrike" kern="1200" cap="none" spc="0" normalizeH="0" baseline="0" noProof="0" dirty="0">
                <a:ln>
                  <a:noFill/>
                </a:ln>
                <a:solidFill>
                  <a:prstClr val="black">
                    <a:lumMod val="50000"/>
                    <a:lumOff val="50000"/>
                  </a:prstClr>
                </a:solidFill>
                <a:effectLst/>
                <a:uLnTx/>
                <a:uFillTx/>
                <a:latin typeface="HarmonyOS Sans SC"/>
                <a:cs typeface="Segoe UI" panose="020B0502040204020203" pitchFamily="34" charset="0"/>
              </a:rPr>
              <a:t> </a:t>
            </a:r>
            <a:r>
              <a:rPr kumimoji="0" lang="id-ID" sz="1100" b="0" i="0" u="none" strike="noStrike" kern="1200" cap="none" spc="0" normalizeH="0" baseline="0" noProof="0" dirty="0">
                <a:ln>
                  <a:noFill/>
                </a:ln>
                <a:solidFill>
                  <a:prstClr val="black">
                    <a:lumMod val="50000"/>
                    <a:lumOff val="50000"/>
                  </a:prstClr>
                </a:solidFill>
                <a:effectLst/>
                <a:uLnTx/>
                <a:uFillTx/>
                <a:latin typeface="HarmonyOS Sans SC"/>
                <a:cs typeface="Segoe UI" panose="020B0502040204020203" pitchFamily="34" charset="0"/>
              </a:rPr>
              <a:t> </a:t>
            </a:r>
            <a:r>
              <a:rPr kumimoji="0" lang="en-US" sz="1100" b="0" i="0" u="none" strike="noStrike" kern="1200" cap="none" spc="0" normalizeH="0" baseline="0" noProof="0" dirty="0" err="1">
                <a:ln>
                  <a:noFill/>
                </a:ln>
                <a:solidFill>
                  <a:prstClr val="black">
                    <a:lumMod val="50000"/>
                    <a:lumOff val="50000"/>
                  </a:prstClr>
                </a:solidFill>
                <a:effectLst/>
                <a:uLnTx/>
                <a:uFillTx/>
                <a:latin typeface="HarmonyOS Sans SC"/>
                <a:cs typeface="Segoe UI" panose="020B0502040204020203" pitchFamily="34" charset="0"/>
              </a:rPr>
              <a:t>ui</a:t>
            </a:r>
            <a:r>
              <a:rPr kumimoji="0" lang="en-US" sz="1100" b="0" i="0" u="none" strike="noStrike" kern="1200" cap="none" spc="0" normalizeH="0" baseline="0" noProof="0" dirty="0">
                <a:ln>
                  <a:noFill/>
                </a:ln>
                <a:solidFill>
                  <a:prstClr val="black">
                    <a:lumMod val="50000"/>
                    <a:lumOff val="50000"/>
                  </a:prstClr>
                </a:solidFill>
                <a:effectLst/>
                <a:uLnTx/>
                <a:uFillTx/>
                <a:latin typeface="HarmonyOS Sans SC"/>
                <a:cs typeface="Segoe UI" panose="020B0502040204020203" pitchFamily="34" charset="0"/>
              </a:rPr>
              <a:t> </a:t>
            </a:r>
            <a:r>
              <a:rPr kumimoji="0" lang="en-US" sz="1100" b="0" i="0" u="none" strike="noStrike" kern="1200" cap="none" spc="0" normalizeH="0" baseline="0" noProof="0" dirty="0" err="1">
                <a:ln>
                  <a:noFill/>
                </a:ln>
                <a:solidFill>
                  <a:prstClr val="black">
                    <a:lumMod val="50000"/>
                    <a:lumOff val="50000"/>
                  </a:prstClr>
                </a:solidFill>
                <a:effectLst/>
                <a:uLnTx/>
                <a:uFillTx/>
                <a:latin typeface="HarmonyOS Sans SC"/>
                <a:cs typeface="Segoe UI" panose="020B0502040204020203" pitchFamily="34" charset="0"/>
              </a:rPr>
              <a:t>volumus</a:t>
            </a:r>
            <a:endParaRPr kumimoji="0" lang="en-US" sz="1100" b="0" i="0" u="none" strike="noStrike" kern="1200" cap="none" spc="0" normalizeH="0" baseline="0" noProof="0" dirty="0">
              <a:ln>
                <a:noFill/>
              </a:ln>
              <a:solidFill>
                <a:prstClr val="black">
                  <a:lumMod val="50000"/>
                  <a:lumOff val="50000"/>
                </a:prstClr>
              </a:solidFill>
              <a:effectLst/>
              <a:uLnTx/>
              <a:uFillTx/>
              <a:latin typeface="HarmonyOS Sans SC"/>
              <a:cs typeface="Segoe UI" panose="020B0502040204020203" pitchFamily="34" charset="0"/>
            </a:endParaRPr>
          </a:p>
        </p:txBody>
      </p:sp>
      <p:sp>
        <p:nvSpPr>
          <p:cNvPr id="19" name="TextBox 21">
            <a:extLst>
              <a:ext uri="{FF2B5EF4-FFF2-40B4-BE49-F238E27FC236}">
                <a16:creationId xmlns:a16="http://schemas.microsoft.com/office/drawing/2014/main" id="{1E3EE32B-59EC-4B31-B6E5-AE070B8D2C81}"/>
              </a:ext>
            </a:extLst>
          </p:cNvPr>
          <p:cNvSpPr txBox="1"/>
          <p:nvPr/>
        </p:nvSpPr>
        <p:spPr>
          <a:xfrm>
            <a:off x="8362871" y="4618060"/>
            <a:ext cx="1483053"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chemeClr val="accent1"/>
                </a:solidFill>
                <a:effectLst/>
                <a:uLnTx/>
                <a:uFillTx/>
                <a:latin typeface="HarmonyOS Sans SC"/>
                <a:cs typeface="Segoe UI" panose="020B0502040204020203" pitchFamily="34" charset="0"/>
              </a:rPr>
              <a:t>Short Text</a:t>
            </a:r>
          </a:p>
        </p:txBody>
      </p:sp>
      <p:sp>
        <p:nvSpPr>
          <p:cNvPr id="20" name="TextBox 22">
            <a:extLst>
              <a:ext uri="{FF2B5EF4-FFF2-40B4-BE49-F238E27FC236}">
                <a16:creationId xmlns:a16="http://schemas.microsoft.com/office/drawing/2014/main" id="{2A83F6A7-878E-46F5-9807-AA503C389100}"/>
              </a:ext>
            </a:extLst>
          </p:cNvPr>
          <p:cNvSpPr txBox="1"/>
          <p:nvPr/>
        </p:nvSpPr>
        <p:spPr>
          <a:xfrm>
            <a:off x="8362871" y="4337712"/>
            <a:ext cx="775939"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d-ID" sz="1800" b="1" i="0" u="none" strike="noStrike" kern="1200" cap="none" spc="0" normalizeH="0" baseline="0" noProof="0" dirty="0">
                <a:ln>
                  <a:noFill/>
                </a:ln>
                <a:solidFill>
                  <a:prstClr val="black">
                    <a:lumMod val="75000"/>
                    <a:lumOff val="25000"/>
                  </a:prstClr>
                </a:solidFill>
                <a:effectLst/>
                <a:uLnTx/>
                <a:uFillTx/>
                <a:latin typeface="HarmonyOS Sans SC Black"/>
                <a:ea typeface="+mj-ea"/>
                <a:cs typeface="Segoe UI" panose="020B0502040204020203" pitchFamily="34" charset="0"/>
              </a:rPr>
              <a:t>2019</a:t>
            </a:r>
            <a:endParaRPr kumimoji="0" lang="en-US" sz="1800" b="1" i="0" u="none" strike="noStrike" kern="1200" cap="none" spc="0" normalizeH="0" baseline="0" noProof="0" dirty="0">
              <a:ln>
                <a:noFill/>
              </a:ln>
              <a:solidFill>
                <a:prstClr val="black">
                  <a:lumMod val="75000"/>
                  <a:lumOff val="25000"/>
                </a:prstClr>
              </a:solidFill>
              <a:effectLst/>
              <a:uLnTx/>
              <a:uFillTx/>
              <a:latin typeface="HarmonyOS Sans SC Black"/>
              <a:ea typeface="+mj-ea"/>
              <a:cs typeface="Segoe UI" panose="020B0502040204020203" pitchFamily="34" charset="0"/>
            </a:endParaRPr>
          </a:p>
        </p:txBody>
      </p:sp>
      <p:sp>
        <p:nvSpPr>
          <p:cNvPr id="23" name="文本框 22">
            <a:extLst>
              <a:ext uri="{FF2B5EF4-FFF2-40B4-BE49-F238E27FC236}">
                <a16:creationId xmlns:a16="http://schemas.microsoft.com/office/drawing/2014/main" id="{B28C6D8E-9E63-49B0-8EC0-E19B5FD7ACF8}"/>
              </a:ext>
            </a:extLst>
          </p:cNvPr>
          <p:cNvSpPr txBox="1"/>
          <p:nvPr/>
        </p:nvSpPr>
        <p:spPr>
          <a:xfrm>
            <a:off x="4467990" y="918105"/>
            <a:ext cx="3256020" cy="52322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2800" b="0" i="0" u="none" strike="noStrike" kern="1200" cap="none" spc="0" normalizeH="0" baseline="0" noProof="0" dirty="0">
                <a:ln>
                  <a:noFill/>
                </a:ln>
                <a:solidFill>
                  <a:prstClr val="black"/>
                </a:solidFill>
                <a:effectLst/>
                <a:uLnTx/>
                <a:uFillTx/>
                <a:latin typeface="HarmonyOS Sans Black"/>
                <a:ea typeface="+mj-ea"/>
                <a:cs typeface="+mn-cs"/>
              </a:rPr>
              <a:t>The Info Graphics</a:t>
            </a:r>
          </a:p>
        </p:txBody>
      </p:sp>
      <p:sp>
        <p:nvSpPr>
          <p:cNvPr id="24" name="TextBox 26">
            <a:extLst>
              <a:ext uri="{FF2B5EF4-FFF2-40B4-BE49-F238E27FC236}">
                <a16:creationId xmlns:a16="http://schemas.microsoft.com/office/drawing/2014/main" id="{1D311042-301C-42E4-AB4D-1B8E388E5D11}"/>
              </a:ext>
            </a:extLst>
          </p:cNvPr>
          <p:cNvSpPr txBox="1"/>
          <p:nvPr/>
        </p:nvSpPr>
        <p:spPr>
          <a:xfrm>
            <a:off x="3486150" y="663942"/>
            <a:ext cx="5219700" cy="254163"/>
          </a:xfrm>
          <a:prstGeom prst="rect">
            <a:avLst/>
          </a:prstGeom>
          <a:noFill/>
        </p:spPr>
        <p:txBody>
          <a:bodyPr wrap="square" lIns="0" tIns="36000" rIns="0" bIns="36000" rtlCol="0">
            <a:spAutoFit/>
          </a:bodyPr>
          <a:lstStyle/>
          <a:p>
            <a:pPr marL="0" marR="0" lvl="0" indent="0" algn="ctr" defTabSz="914400" rtl="0" eaLnBrk="1" fontAlgn="auto" latinLnBrk="0" hangingPunct="1">
              <a:lnSpc>
                <a:spcPct val="130000"/>
              </a:lnSpc>
              <a:spcBef>
                <a:spcPts val="1000"/>
              </a:spcBef>
              <a:spcAft>
                <a:spcPts val="0"/>
              </a:spcAft>
              <a:buClrTx/>
              <a:buSzTx/>
              <a:buFontTx/>
              <a:buNone/>
              <a:tabLst/>
              <a:defRPr/>
            </a:pPr>
            <a:r>
              <a:rPr kumimoji="0" lang="da-DK" sz="1000" b="0" i="0" u="none" strike="noStrike" kern="1200" cap="none" spc="0" normalizeH="0" baseline="0" noProof="0" dirty="0">
                <a:ln>
                  <a:noFill/>
                </a:ln>
                <a:solidFill>
                  <a:prstClr val="black">
                    <a:lumMod val="50000"/>
                    <a:lumOff val="50000"/>
                    <a:alpha val="70000"/>
                  </a:prstClr>
                </a:solidFill>
                <a:effectLst/>
                <a:uLnTx/>
                <a:uFillTx/>
                <a:latin typeface="HarmonyOS Sans SC"/>
                <a:cs typeface="+mn-cs"/>
              </a:rPr>
              <a:t>The Warm Beach</a:t>
            </a:r>
          </a:p>
        </p:txBody>
      </p:sp>
    </p:spTree>
    <p:extLst>
      <p:ext uri="{BB962C8B-B14F-4D97-AF65-F5344CB8AC3E}">
        <p14:creationId xmlns:p14="http://schemas.microsoft.com/office/powerpoint/2010/main" val="138821646"/>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4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3" name="组合 72">
            <a:extLst>
              <a:ext uri="{FF2B5EF4-FFF2-40B4-BE49-F238E27FC236}">
                <a16:creationId xmlns:a16="http://schemas.microsoft.com/office/drawing/2014/main" id="{2EA57940-3094-4016-8CA4-ECDA952AABF3}"/>
              </a:ext>
            </a:extLst>
          </p:cNvPr>
          <p:cNvGrpSpPr/>
          <p:nvPr/>
        </p:nvGrpSpPr>
        <p:grpSpPr>
          <a:xfrm>
            <a:off x="1613875" y="1790879"/>
            <a:ext cx="8964250" cy="4352746"/>
            <a:chOff x="1672677" y="1698170"/>
            <a:chExt cx="8846646" cy="4295643"/>
          </a:xfrm>
        </p:grpSpPr>
        <p:sp>
          <p:nvSpPr>
            <p:cNvPr id="9" name="Rectangle 81">
              <a:extLst>
                <a:ext uri="{FF2B5EF4-FFF2-40B4-BE49-F238E27FC236}">
                  <a16:creationId xmlns:a16="http://schemas.microsoft.com/office/drawing/2014/main" id="{90D81E53-568B-414E-ABA3-A42DC7A99321}"/>
                </a:ext>
              </a:extLst>
            </p:cNvPr>
            <p:cNvSpPr/>
            <p:nvPr/>
          </p:nvSpPr>
          <p:spPr>
            <a:xfrm>
              <a:off x="8157901" y="2936527"/>
              <a:ext cx="2224677" cy="2491377"/>
            </a:xfrm>
            <a:custGeom>
              <a:avLst/>
              <a:gdLst>
                <a:gd name="connsiteX0" fmla="*/ 0 w 1988457"/>
                <a:gd name="connsiteY0" fmla="*/ 0 h 1988457"/>
                <a:gd name="connsiteX1" fmla="*/ 1988457 w 1988457"/>
                <a:gd name="connsiteY1" fmla="*/ 0 h 1988457"/>
                <a:gd name="connsiteX2" fmla="*/ 1988457 w 1988457"/>
                <a:gd name="connsiteY2" fmla="*/ 1988457 h 1988457"/>
                <a:gd name="connsiteX3" fmla="*/ 0 w 1988457"/>
                <a:gd name="connsiteY3" fmla="*/ 1988457 h 1988457"/>
                <a:gd name="connsiteX4" fmla="*/ 0 w 1988457"/>
                <a:gd name="connsiteY4" fmla="*/ 0 h 1988457"/>
                <a:gd name="connsiteX0" fmla="*/ 0 w 2163717"/>
                <a:gd name="connsiteY0" fmla="*/ 342900 h 2331357"/>
                <a:gd name="connsiteX1" fmla="*/ 2163717 w 2163717"/>
                <a:gd name="connsiteY1" fmla="*/ 0 h 2331357"/>
                <a:gd name="connsiteX2" fmla="*/ 1988457 w 2163717"/>
                <a:gd name="connsiteY2" fmla="*/ 2331357 h 2331357"/>
                <a:gd name="connsiteX3" fmla="*/ 0 w 2163717"/>
                <a:gd name="connsiteY3" fmla="*/ 2331357 h 2331357"/>
                <a:gd name="connsiteX4" fmla="*/ 0 w 2163717"/>
                <a:gd name="connsiteY4" fmla="*/ 342900 h 2331357"/>
                <a:gd name="connsiteX0" fmla="*/ 0 w 2224677"/>
                <a:gd name="connsiteY0" fmla="*/ 342900 h 2331357"/>
                <a:gd name="connsiteX1" fmla="*/ 2163717 w 2224677"/>
                <a:gd name="connsiteY1" fmla="*/ 0 h 2331357"/>
                <a:gd name="connsiteX2" fmla="*/ 2224677 w 2224677"/>
                <a:gd name="connsiteY2" fmla="*/ 2140857 h 2331357"/>
                <a:gd name="connsiteX3" fmla="*/ 0 w 2224677"/>
                <a:gd name="connsiteY3" fmla="*/ 2331357 h 2331357"/>
                <a:gd name="connsiteX4" fmla="*/ 0 w 2224677"/>
                <a:gd name="connsiteY4" fmla="*/ 342900 h 2331357"/>
                <a:gd name="connsiteX0" fmla="*/ 0 w 2224677"/>
                <a:gd name="connsiteY0" fmla="*/ 342900 h 2491377"/>
                <a:gd name="connsiteX1" fmla="*/ 2163717 w 2224677"/>
                <a:gd name="connsiteY1" fmla="*/ 0 h 2491377"/>
                <a:gd name="connsiteX2" fmla="*/ 2224677 w 2224677"/>
                <a:gd name="connsiteY2" fmla="*/ 2140857 h 2491377"/>
                <a:gd name="connsiteX3" fmla="*/ 7620 w 2224677"/>
                <a:gd name="connsiteY3" fmla="*/ 2491377 h 2491377"/>
                <a:gd name="connsiteX4" fmla="*/ 0 w 2224677"/>
                <a:gd name="connsiteY4" fmla="*/ 342900 h 2491377"/>
                <a:gd name="connsiteX0" fmla="*/ 91440 w 2217057"/>
                <a:gd name="connsiteY0" fmla="*/ 502920 h 2491377"/>
                <a:gd name="connsiteX1" fmla="*/ 2156097 w 2217057"/>
                <a:gd name="connsiteY1" fmla="*/ 0 h 2491377"/>
                <a:gd name="connsiteX2" fmla="*/ 2217057 w 2217057"/>
                <a:gd name="connsiteY2" fmla="*/ 2140857 h 2491377"/>
                <a:gd name="connsiteX3" fmla="*/ 0 w 2217057"/>
                <a:gd name="connsiteY3" fmla="*/ 2491377 h 2491377"/>
                <a:gd name="connsiteX4" fmla="*/ 91440 w 2217057"/>
                <a:gd name="connsiteY4" fmla="*/ 502920 h 2491377"/>
                <a:gd name="connsiteX0" fmla="*/ 7620 w 2217057"/>
                <a:gd name="connsiteY0" fmla="*/ 320040 h 2491377"/>
                <a:gd name="connsiteX1" fmla="*/ 2156097 w 2217057"/>
                <a:gd name="connsiteY1" fmla="*/ 0 h 2491377"/>
                <a:gd name="connsiteX2" fmla="*/ 2217057 w 2217057"/>
                <a:gd name="connsiteY2" fmla="*/ 2140857 h 2491377"/>
                <a:gd name="connsiteX3" fmla="*/ 0 w 2217057"/>
                <a:gd name="connsiteY3" fmla="*/ 2491377 h 2491377"/>
                <a:gd name="connsiteX4" fmla="*/ 7620 w 2217057"/>
                <a:gd name="connsiteY4" fmla="*/ 320040 h 2491377"/>
                <a:gd name="connsiteX0" fmla="*/ 0 w 2224677"/>
                <a:gd name="connsiteY0" fmla="*/ 320040 h 2491377"/>
                <a:gd name="connsiteX1" fmla="*/ 2163717 w 2224677"/>
                <a:gd name="connsiteY1" fmla="*/ 0 h 2491377"/>
                <a:gd name="connsiteX2" fmla="*/ 2224677 w 2224677"/>
                <a:gd name="connsiteY2" fmla="*/ 2140857 h 2491377"/>
                <a:gd name="connsiteX3" fmla="*/ 7620 w 2224677"/>
                <a:gd name="connsiteY3" fmla="*/ 2491377 h 2491377"/>
                <a:gd name="connsiteX4" fmla="*/ 0 w 2224677"/>
                <a:gd name="connsiteY4" fmla="*/ 320040 h 2491377"/>
                <a:gd name="connsiteX0" fmla="*/ 0 w 2224677"/>
                <a:gd name="connsiteY0" fmla="*/ 320040 h 2491377"/>
                <a:gd name="connsiteX1" fmla="*/ 2163717 w 2224677"/>
                <a:gd name="connsiteY1" fmla="*/ 0 h 2491377"/>
                <a:gd name="connsiteX2" fmla="*/ 2224677 w 2224677"/>
                <a:gd name="connsiteY2" fmla="*/ 2133237 h 2491377"/>
                <a:gd name="connsiteX3" fmla="*/ 7620 w 2224677"/>
                <a:gd name="connsiteY3" fmla="*/ 2491377 h 2491377"/>
                <a:gd name="connsiteX4" fmla="*/ 0 w 2224677"/>
                <a:gd name="connsiteY4" fmla="*/ 320040 h 2491377"/>
                <a:gd name="connsiteX0" fmla="*/ 0 w 2224677"/>
                <a:gd name="connsiteY0" fmla="*/ 320040 h 2491377"/>
                <a:gd name="connsiteX1" fmla="*/ 2163717 w 2224677"/>
                <a:gd name="connsiteY1" fmla="*/ 0 h 2491377"/>
                <a:gd name="connsiteX2" fmla="*/ 2224677 w 2224677"/>
                <a:gd name="connsiteY2" fmla="*/ 2125617 h 2491377"/>
                <a:gd name="connsiteX3" fmla="*/ 7620 w 2224677"/>
                <a:gd name="connsiteY3" fmla="*/ 2491377 h 2491377"/>
                <a:gd name="connsiteX4" fmla="*/ 0 w 2224677"/>
                <a:gd name="connsiteY4" fmla="*/ 320040 h 24913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4677" h="2491377">
                  <a:moveTo>
                    <a:pt x="0" y="320040"/>
                  </a:moveTo>
                  <a:lnTo>
                    <a:pt x="2163717" y="0"/>
                  </a:lnTo>
                  <a:lnTo>
                    <a:pt x="2224677" y="2125617"/>
                  </a:lnTo>
                  <a:lnTo>
                    <a:pt x="7620" y="2491377"/>
                  </a:lnTo>
                  <a:lnTo>
                    <a:pt x="0" y="320040"/>
                  </a:lnTo>
                  <a:close/>
                </a:path>
              </a:pathLst>
            </a:custGeom>
            <a:solidFill>
              <a:schemeClr val="bg1"/>
            </a:solidFill>
            <a:ln>
              <a:noFill/>
            </a:ln>
            <a:effectLst>
              <a:outerShdw blurRad="203200" dist="114300" dir="2700000" algn="tl" rotWithShape="0">
                <a:schemeClr val="accent1">
                  <a:lumMod val="60000"/>
                  <a:lumOff val="40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Lato"/>
                <a:ea typeface="+mn-ea"/>
                <a:cs typeface="+mn-cs"/>
              </a:endParaRPr>
            </a:p>
          </p:txBody>
        </p:sp>
        <p:sp>
          <p:nvSpPr>
            <p:cNvPr id="11" name="Freeform 11">
              <a:extLst>
                <a:ext uri="{FF2B5EF4-FFF2-40B4-BE49-F238E27FC236}">
                  <a16:creationId xmlns:a16="http://schemas.microsoft.com/office/drawing/2014/main" id="{3DA68DF5-A78F-4098-9704-41528835F7CC}"/>
                </a:ext>
              </a:extLst>
            </p:cNvPr>
            <p:cNvSpPr>
              <a:spLocks/>
            </p:cNvSpPr>
            <p:nvPr/>
          </p:nvSpPr>
          <p:spPr bwMode="auto">
            <a:xfrm>
              <a:off x="10326116" y="1792563"/>
              <a:ext cx="193207" cy="1218124"/>
            </a:xfrm>
            <a:custGeom>
              <a:avLst/>
              <a:gdLst>
                <a:gd name="T0" fmla="*/ 54 w 81"/>
                <a:gd name="T1" fmla="*/ 575 h 628"/>
                <a:gd name="T2" fmla="*/ 54 w 81"/>
                <a:gd name="T3" fmla="*/ 0 h 628"/>
                <a:gd name="T4" fmla="*/ 0 w 81"/>
                <a:gd name="T5" fmla="*/ 11 h 628"/>
                <a:gd name="T6" fmla="*/ 0 w 81"/>
                <a:gd name="T7" fmla="*/ 628 h 628"/>
                <a:gd name="T8" fmla="*/ 54 w 81"/>
                <a:gd name="T9" fmla="*/ 617 h 628"/>
                <a:gd name="T10" fmla="*/ 54 w 81"/>
                <a:gd name="T11" fmla="*/ 617 h 628"/>
                <a:gd name="T12" fmla="*/ 80 w 81"/>
                <a:gd name="T13" fmla="*/ 587 h 628"/>
                <a:gd name="T14" fmla="*/ 54 w 81"/>
                <a:gd name="T15" fmla="*/ 575 h 6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1" h="628">
                  <a:moveTo>
                    <a:pt x="54" y="575"/>
                  </a:moveTo>
                  <a:cubicBezTo>
                    <a:pt x="54" y="0"/>
                    <a:pt x="54" y="0"/>
                    <a:pt x="54" y="0"/>
                  </a:cubicBezTo>
                  <a:cubicBezTo>
                    <a:pt x="0" y="11"/>
                    <a:pt x="0" y="11"/>
                    <a:pt x="0" y="11"/>
                  </a:cubicBezTo>
                  <a:cubicBezTo>
                    <a:pt x="0" y="628"/>
                    <a:pt x="0" y="628"/>
                    <a:pt x="0" y="628"/>
                  </a:cubicBezTo>
                  <a:cubicBezTo>
                    <a:pt x="54" y="617"/>
                    <a:pt x="54" y="617"/>
                    <a:pt x="54" y="617"/>
                  </a:cubicBezTo>
                  <a:cubicBezTo>
                    <a:pt x="54" y="617"/>
                    <a:pt x="54" y="617"/>
                    <a:pt x="54" y="617"/>
                  </a:cubicBezTo>
                  <a:cubicBezTo>
                    <a:pt x="54" y="617"/>
                    <a:pt x="81" y="613"/>
                    <a:pt x="80" y="587"/>
                  </a:cubicBezTo>
                  <a:cubicBezTo>
                    <a:pt x="79" y="568"/>
                    <a:pt x="54" y="575"/>
                    <a:pt x="54" y="575"/>
                  </a:cubicBez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HarmonyOS Sans SC"/>
                <a:cs typeface="+mn-cs"/>
              </a:endParaRPr>
            </a:p>
          </p:txBody>
        </p:sp>
        <p:sp>
          <p:nvSpPr>
            <p:cNvPr id="12" name="Freeform 12">
              <a:extLst>
                <a:ext uri="{FF2B5EF4-FFF2-40B4-BE49-F238E27FC236}">
                  <a16:creationId xmlns:a16="http://schemas.microsoft.com/office/drawing/2014/main" id="{C7A45999-CD0D-48F7-88FF-F35C3D097C8B}"/>
                </a:ext>
              </a:extLst>
            </p:cNvPr>
            <p:cNvSpPr>
              <a:spLocks/>
            </p:cNvSpPr>
            <p:nvPr/>
          </p:nvSpPr>
          <p:spPr bwMode="auto">
            <a:xfrm>
              <a:off x="8161827" y="1698170"/>
              <a:ext cx="2355639" cy="1576218"/>
            </a:xfrm>
            <a:custGeom>
              <a:avLst/>
              <a:gdLst>
                <a:gd name="T0" fmla="*/ 954 w 980"/>
                <a:gd name="T1" fmla="*/ 7 h 813"/>
                <a:gd name="T2" fmla="*/ 954 w 980"/>
                <a:gd name="T3" fmla="*/ 7 h 813"/>
                <a:gd name="T4" fmla="*/ 0 w 980"/>
                <a:gd name="T5" fmla="*/ 196 h 813"/>
                <a:gd name="T6" fmla="*/ 0 w 980"/>
                <a:gd name="T7" fmla="*/ 813 h 813"/>
                <a:gd name="T8" fmla="*/ 954 w 980"/>
                <a:gd name="T9" fmla="*/ 624 h 813"/>
                <a:gd name="T10" fmla="*/ 980 w 980"/>
                <a:gd name="T11" fmla="*/ 636 h 813"/>
                <a:gd name="T12" fmla="*/ 980 w 980"/>
                <a:gd name="T13" fmla="*/ 18 h 813"/>
                <a:gd name="T14" fmla="*/ 954 w 980"/>
                <a:gd name="T15" fmla="*/ 7 h 8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80" h="813">
                  <a:moveTo>
                    <a:pt x="954" y="7"/>
                  </a:moveTo>
                  <a:cubicBezTo>
                    <a:pt x="954" y="7"/>
                    <a:pt x="954" y="7"/>
                    <a:pt x="954" y="7"/>
                  </a:cubicBezTo>
                  <a:cubicBezTo>
                    <a:pt x="0" y="196"/>
                    <a:pt x="0" y="196"/>
                    <a:pt x="0" y="196"/>
                  </a:cubicBezTo>
                  <a:cubicBezTo>
                    <a:pt x="0" y="813"/>
                    <a:pt x="0" y="813"/>
                    <a:pt x="0" y="813"/>
                  </a:cubicBezTo>
                  <a:cubicBezTo>
                    <a:pt x="954" y="624"/>
                    <a:pt x="954" y="624"/>
                    <a:pt x="954" y="624"/>
                  </a:cubicBezTo>
                  <a:cubicBezTo>
                    <a:pt x="954" y="624"/>
                    <a:pt x="979" y="617"/>
                    <a:pt x="980" y="636"/>
                  </a:cubicBezTo>
                  <a:cubicBezTo>
                    <a:pt x="980" y="18"/>
                    <a:pt x="980" y="18"/>
                    <a:pt x="980" y="18"/>
                  </a:cubicBezTo>
                  <a:cubicBezTo>
                    <a:pt x="979" y="0"/>
                    <a:pt x="954" y="7"/>
                    <a:pt x="954" y="7"/>
                  </a:cubicBezTo>
                  <a:close/>
                </a:path>
              </a:pathLst>
            </a:custGeom>
            <a:gradFill flip="none" rotWithShape="1">
              <a:gsLst>
                <a:gs pos="69000">
                  <a:schemeClr val="accent1">
                    <a:lumMod val="60000"/>
                    <a:lumOff val="40000"/>
                  </a:schemeClr>
                </a:gs>
                <a:gs pos="32000">
                  <a:schemeClr val="accent1"/>
                </a:gs>
                <a:gs pos="100000">
                  <a:schemeClr val="accent1">
                    <a:lumMod val="40000"/>
                    <a:lumOff val="60000"/>
                  </a:schemeClr>
                </a:gs>
              </a:gsLst>
              <a:path path="circle">
                <a:fillToRect l="100000" t="100000"/>
              </a:path>
              <a:tileRect r="-100000" b="-100000"/>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HarmonyOS Sans SC"/>
                <a:cs typeface="+mn-cs"/>
              </a:endParaRPr>
            </a:p>
          </p:txBody>
        </p:sp>
        <p:sp>
          <p:nvSpPr>
            <p:cNvPr id="14" name="Freeform 18">
              <a:extLst>
                <a:ext uri="{FF2B5EF4-FFF2-40B4-BE49-F238E27FC236}">
                  <a16:creationId xmlns:a16="http://schemas.microsoft.com/office/drawing/2014/main" id="{18914DA3-E6DA-4C08-BF3A-DAA8F9D11D93}"/>
                </a:ext>
              </a:extLst>
            </p:cNvPr>
            <p:cNvSpPr>
              <a:spLocks/>
            </p:cNvSpPr>
            <p:nvPr/>
          </p:nvSpPr>
          <p:spPr bwMode="auto">
            <a:xfrm>
              <a:off x="8161827" y="5045386"/>
              <a:ext cx="2355639" cy="614305"/>
            </a:xfrm>
            <a:custGeom>
              <a:avLst/>
              <a:gdLst>
                <a:gd name="T0" fmla="*/ 954 w 980"/>
                <a:gd name="T1" fmla="*/ 7 h 317"/>
                <a:gd name="T2" fmla="*/ 954 w 980"/>
                <a:gd name="T3" fmla="*/ 7 h 317"/>
                <a:gd name="T4" fmla="*/ 0 w 980"/>
                <a:gd name="T5" fmla="*/ 196 h 317"/>
                <a:gd name="T6" fmla="*/ 0 w 980"/>
                <a:gd name="T7" fmla="*/ 317 h 317"/>
                <a:gd name="T8" fmla="*/ 954 w 980"/>
                <a:gd name="T9" fmla="*/ 128 h 317"/>
                <a:gd name="T10" fmla="*/ 980 w 980"/>
                <a:gd name="T11" fmla="*/ 140 h 317"/>
                <a:gd name="T12" fmla="*/ 980 w 980"/>
                <a:gd name="T13" fmla="*/ 18 h 317"/>
                <a:gd name="T14" fmla="*/ 954 w 980"/>
                <a:gd name="T15" fmla="*/ 7 h 3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80" h="317">
                  <a:moveTo>
                    <a:pt x="954" y="7"/>
                  </a:moveTo>
                  <a:cubicBezTo>
                    <a:pt x="954" y="7"/>
                    <a:pt x="954" y="7"/>
                    <a:pt x="954" y="7"/>
                  </a:cubicBezTo>
                  <a:cubicBezTo>
                    <a:pt x="0" y="196"/>
                    <a:pt x="0" y="196"/>
                    <a:pt x="0" y="196"/>
                  </a:cubicBezTo>
                  <a:cubicBezTo>
                    <a:pt x="0" y="317"/>
                    <a:pt x="0" y="317"/>
                    <a:pt x="0" y="317"/>
                  </a:cubicBezTo>
                  <a:cubicBezTo>
                    <a:pt x="954" y="128"/>
                    <a:pt x="954" y="128"/>
                    <a:pt x="954" y="128"/>
                  </a:cubicBezTo>
                  <a:cubicBezTo>
                    <a:pt x="954" y="128"/>
                    <a:pt x="979" y="121"/>
                    <a:pt x="980" y="140"/>
                  </a:cubicBezTo>
                  <a:cubicBezTo>
                    <a:pt x="980" y="18"/>
                    <a:pt x="980" y="18"/>
                    <a:pt x="980" y="18"/>
                  </a:cubicBezTo>
                  <a:cubicBezTo>
                    <a:pt x="979" y="0"/>
                    <a:pt x="954" y="7"/>
                    <a:pt x="954" y="7"/>
                  </a:cubicBezTo>
                  <a:close/>
                </a:path>
              </a:pathLst>
            </a:custGeom>
            <a:gradFill flip="none" rotWithShape="1">
              <a:gsLst>
                <a:gs pos="69000">
                  <a:schemeClr val="accent1">
                    <a:lumMod val="60000"/>
                    <a:lumOff val="40000"/>
                  </a:schemeClr>
                </a:gs>
                <a:gs pos="32000">
                  <a:schemeClr val="accent1"/>
                </a:gs>
                <a:gs pos="100000">
                  <a:schemeClr val="accent1">
                    <a:lumMod val="40000"/>
                    <a:lumOff val="60000"/>
                  </a:schemeClr>
                </a:gs>
              </a:gsLst>
              <a:path path="circle">
                <a:fillToRect l="100000" t="100000"/>
              </a:path>
              <a:tileRect r="-100000" b="-100000"/>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HarmonyOS Sans SC"/>
                <a:cs typeface="Posterama" panose="020B0502040204020203" pitchFamily="34" charset="0"/>
              </a:endParaRPr>
            </a:p>
          </p:txBody>
        </p:sp>
        <p:sp>
          <p:nvSpPr>
            <p:cNvPr id="15" name="Freeform 24">
              <a:extLst>
                <a:ext uri="{FF2B5EF4-FFF2-40B4-BE49-F238E27FC236}">
                  <a16:creationId xmlns:a16="http://schemas.microsoft.com/office/drawing/2014/main" id="{863C9953-4A73-4270-BBBA-6352F1DEDC31}"/>
                </a:ext>
              </a:extLst>
            </p:cNvPr>
            <p:cNvSpPr>
              <a:spLocks/>
            </p:cNvSpPr>
            <p:nvPr/>
          </p:nvSpPr>
          <p:spPr bwMode="auto">
            <a:xfrm>
              <a:off x="8161827" y="5379508"/>
              <a:ext cx="2355639" cy="614305"/>
            </a:xfrm>
            <a:custGeom>
              <a:avLst/>
              <a:gdLst>
                <a:gd name="T0" fmla="*/ 954 w 980"/>
                <a:gd name="T1" fmla="*/ 7 h 317"/>
                <a:gd name="T2" fmla="*/ 954 w 980"/>
                <a:gd name="T3" fmla="*/ 7 h 317"/>
                <a:gd name="T4" fmla="*/ 0 w 980"/>
                <a:gd name="T5" fmla="*/ 196 h 317"/>
                <a:gd name="T6" fmla="*/ 0 w 980"/>
                <a:gd name="T7" fmla="*/ 317 h 317"/>
                <a:gd name="T8" fmla="*/ 954 w 980"/>
                <a:gd name="T9" fmla="*/ 128 h 317"/>
                <a:gd name="T10" fmla="*/ 980 w 980"/>
                <a:gd name="T11" fmla="*/ 140 h 317"/>
                <a:gd name="T12" fmla="*/ 980 w 980"/>
                <a:gd name="T13" fmla="*/ 18 h 317"/>
                <a:gd name="T14" fmla="*/ 954 w 980"/>
                <a:gd name="T15" fmla="*/ 7 h 3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80" h="317">
                  <a:moveTo>
                    <a:pt x="954" y="7"/>
                  </a:moveTo>
                  <a:cubicBezTo>
                    <a:pt x="954" y="7"/>
                    <a:pt x="954" y="7"/>
                    <a:pt x="954" y="7"/>
                  </a:cubicBezTo>
                  <a:cubicBezTo>
                    <a:pt x="0" y="196"/>
                    <a:pt x="0" y="196"/>
                    <a:pt x="0" y="196"/>
                  </a:cubicBezTo>
                  <a:cubicBezTo>
                    <a:pt x="0" y="317"/>
                    <a:pt x="0" y="317"/>
                    <a:pt x="0" y="317"/>
                  </a:cubicBezTo>
                  <a:cubicBezTo>
                    <a:pt x="954" y="128"/>
                    <a:pt x="954" y="128"/>
                    <a:pt x="954" y="128"/>
                  </a:cubicBezTo>
                  <a:cubicBezTo>
                    <a:pt x="954" y="128"/>
                    <a:pt x="979" y="121"/>
                    <a:pt x="980" y="140"/>
                  </a:cubicBezTo>
                  <a:cubicBezTo>
                    <a:pt x="980" y="18"/>
                    <a:pt x="980" y="18"/>
                    <a:pt x="980" y="18"/>
                  </a:cubicBezTo>
                  <a:cubicBezTo>
                    <a:pt x="979" y="0"/>
                    <a:pt x="954" y="7"/>
                    <a:pt x="954" y="7"/>
                  </a:cubicBezTo>
                  <a:close/>
                </a:path>
              </a:pathLst>
            </a:custGeom>
            <a:gradFill flip="none" rotWithShape="1">
              <a:gsLst>
                <a:gs pos="69000">
                  <a:schemeClr val="accent1">
                    <a:lumMod val="60000"/>
                    <a:lumOff val="40000"/>
                  </a:schemeClr>
                </a:gs>
                <a:gs pos="32000">
                  <a:schemeClr val="accent1"/>
                </a:gs>
                <a:gs pos="100000">
                  <a:schemeClr val="accent1">
                    <a:lumMod val="40000"/>
                    <a:lumOff val="60000"/>
                  </a:schemeClr>
                </a:gs>
              </a:gsLst>
              <a:path path="circle">
                <a:fillToRect l="100000" t="100000"/>
              </a:path>
              <a:tileRect r="-100000" b="-100000"/>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HarmonyOS Sans SC"/>
                <a:cs typeface="Posterama" panose="020B0502040204020203" pitchFamily="34" charset="0"/>
              </a:endParaRPr>
            </a:p>
          </p:txBody>
        </p:sp>
        <p:grpSp>
          <p:nvGrpSpPr>
            <p:cNvPr id="5" name="Group 4">
              <a:extLst>
                <a:ext uri="{FF2B5EF4-FFF2-40B4-BE49-F238E27FC236}">
                  <a16:creationId xmlns:a16="http://schemas.microsoft.com/office/drawing/2014/main" id="{62D7D28A-511B-47E8-9907-2E2494ED0EDB}"/>
                </a:ext>
              </a:extLst>
            </p:cNvPr>
            <p:cNvGrpSpPr/>
            <p:nvPr/>
          </p:nvGrpSpPr>
          <p:grpSpPr>
            <a:xfrm rot="4856481" flipV="1">
              <a:off x="10040806" y="1876837"/>
              <a:ext cx="245378" cy="278944"/>
              <a:chOff x="9492343" y="537029"/>
              <a:chExt cx="174171" cy="278944"/>
            </a:xfrm>
            <a:solidFill>
              <a:schemeClr val="bg1"/>
            </a:solidFill>
          </p:grpSpPr>
          <p:sp>
            <p:nvSpPr>
              <p:cNvPr id="7" name="Chevron 7">
                <a:extLst>
                  <a:ext uri="{FF2B5EF4-FFF2-40B4-BE49-F238E27FC236}">
                    <a16:creationId xmlns:a16="http://schemas.microsoft.com/office/drawing/2014/main" id="{58526F2F-25B7-4A7D-A2E5-5512A6FA8473}"/>
                  </a:ext>
                </a:extLst>
              </p:cNvPr>
              <p:cNvSpPr/>
              <p:nvPr/>
            </p:nvSpPr>
            <p:spPr>
              <a:xfrm rot="5400000">
                <a:off x="9492343" y="537029"/>
                <a:ext cx="174171" cy="174171"/>
              </a:xfrm>
              <a:prstGeom prst="chevr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armonyOS Sans SC"/>
                  <a:cs typeface="+mn-cs"/>
                </a:endParaRPr>
              </a:p>
            </p:txBody>
          </p:sp>
          <p:sp>
            <p:nvSpPr>
              <p:cNvPr id="8" name="Chevron 8">
                <a:extLst>
                  <a:ext uri="{FF2B5EF4-FFF2-40B4-BE49-F238E27FC236}">
                    <a16:creationId xmlns:a16="http://schemas.microsoft.com/office/drawing/2014/main" id="{3EED05C3-6A38-4906-AAD8-765CE2EF3707}"/>
                  </a:ext>
                </a:extLst>
              </p:cNvPr>
              <p:cNvSpPr/>
              <p:nvPr/>
            </p:nvSpPr>
            <p:spPr>
              <a:xfrm rot="5400000">
                <a:off x="9492343" y="641802"/>
                <a:ext cx="174171" cy="174171"/>
              </a:xfrm>
              <a:prstGeom prst="chevr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armonyOS Sans SC"/>
                  <a:cs typeface="+mn-cs"/>
                </a:endParaRPr>
              </a:p>
            </p:txBody>
          </p:sp>
        </p:grpSp>
        <p:sp>
          <p:nvSpPr>
            <p:cNvPr id="6" name="Freeform 34">
              <a:extLst>
                <a:ext uri="{FF2B5EF4-FFF2-40B4-BE49-F238E27FC236}">
                  <a16:creationId xmlns:a16="http://schemas.microsoft.com/office/drawing/2014/main" id="{9C2CCACD-EBF3-4714-81D1-058CAAF99D56}"/>
                </a:ext>
              </a:extLst>
            </p:cNvPr>
            <p:cNvSpPr>
              <a:spLocks noEditPoints="1"/>
            </p:cNvSpPr>
            <p:nvPr/>
          </p:nvSpPr>
          <p:spPr bwMode="auto">
            <a:xfrm>
              <a:off x="9054690" y="2179257"/>
              <a:ext cx="558402" cy="581271"/>
            </a:xfrm>
            <a:custGeom>
              <a:avLst/>
              <a:gdLst>
                <a:gd name="T0" fmla="*/ 50 w 124"/>
                <a:gd name="T1" fmla="*/ 52 h 128"/>
                <a:gd name="T2" fmla="*/ 56 w 124"/>
                <a:gd name="T3" fmla="*/ 46 h 128"/>
                <a:gd name="T4" fmla="*/ 50 w 124"/>
                <a:gd name="T5" fmla="*/ 40 h 128"/>
                <a:gd name="T6" fmla="*/ 44 w 124"/>
                <a:gd name="T7" fmla="*/ 46 h 128"/>
                <a:gd name="T8" fmla="*/ 50 w 124"/>
                <a:gd name="T9" fmla="*/ 52 h 128"/>
                <a:gd name="T10" fmla="*/ 26 w 124"/>
                <a:gd name="T11" fmla="*/ 52 h 128"/>
                <a:gd name="T12" fmla="*/ 32 w 124"/>
                <a:gd name="T13" fmla="*/ 46 h 128"/>
                <a:gd name="T14" fmla="*/ 26 w 124"/>
                <a:gd name="T15" fmla="*/ 40 h 128"/>
                <a:gd name="T16" fmla="*/ 20 w 124"/>
                <a:gd name="T17" fmla="*/ 46 h 128"/>
                <a:gd name="T18" fmla="*/ 26 w 124"/>
                <a:gd name="T19" fmla="*/ 52 h 128"/>
                <a:gd name="T20" fmla="*/ 74 w 124"/>
                <a:gd name="T21" fmla="*/ 52 h 128"/>
                <a:gd name="T22" fmla="*/ 80 w 124"/>
                <a:gd name="T23" fmla="*/ 46 h 128"/>
                <a:gd name="T24" fmla="*/ 74 w 124"/>
                <a:gd name="T25" fmla="*/ 40 h 128"/>
                <a:gd name="T26" fmla="*/ 68 w 124"/>
                <a:gd name="T27" fmla="*/ 46 h 128"/>
                <a:gd name="T28" fmla="*/ 74 w 124"/>
                <a:gd name="T29" fmla="*/ 52 h 128"/>
                <a:gd name="T30" fmla="*/ 108 w 124"/>
                <a:gd name="T31" fmla="*/ 37 h 128"/>
                <a:gd name="T32" fmla="*/ 108 w 124"/>
                <a:gd name="T33" fmla="*/ 40 h 128"/>
                <a:gd name="T34" fmla="*/ 107 w 124"/>
                <a:gd name="T35" fmla="*/ 47 h 128"/>
                <a:gd name="T36" fmla="*/ 116 w 124"/>
                <a:gd name="T37" fmla="*/ 70 h 128"/>
                <a:gd name="T38" fmla="*/ 96 w 124"/>
                <a:gd name="T39" fmla="*/ 102 h 128"/>
                <a:gd name="T40" fmla="*/ 96 w 124"/>
                <a:gd name="T41" fmla="*/ 116 h 128"/>
                <a:gd name="T42" fmla="*/ 82 w 124"/>
                <a:gd name="T43" fmla="*/ 107 h 128"/>
                <a:gd name="T44" fmla="*/ 72 w 124"/>
                <a:gd name="T45" fmla="*/ 108 h 128"/>
                <a:gd name="T46" fmla="*/ 49 w 124"/>
                <a:gd name="T47" fmla="*/ 100 h 128"/>
                <a:gd name="T48" fmla="*/ 42 w 124"/>
                <a:gd name="T49" fmla="*/ 100 h 128"/>
                <a:gd name="T50" fmla="*/ 37 w 124"/>
                <a:gd name="T51" fmla="*/ 100 h 128"/>
                <a:gd name="T52" fmla="*/ 72 w 124"/>
                <a:gd name="T53" fmla="*/ 115 h 128"/>
                <a:gd name="T54" fmla="*/ 82 w 124"/>
                <a:gd name="T55" fmla="*/ 114 h 128"/>
                <a:gd name="T56" fmla="*/ 104 w 124"/>
                <a:gd name="T57" fmla="*/ 128 h 128"/>
                <a:gd name="T58" fmla="*/ 104 w 124"/>
                <a:gd name="T59" fmla="*/ 105 h 128"/>
                <a:gd name="T60" fmla="*/ 124 w 124"/>
                <a:gd name="T61" fmla="*/ 69 h 128"/>
                <a:gd name="T62" fmla="*/ 108 w 124"/>
                <a:gd name="T63" fmla="*/ 37 h 128"/>
                <a:gd name="T64" fmla="*/ 39 w 124"/>
                <a:gd name="T65" fmla="*/ 91 h 128"/>
                <a:gd name="T66" fmla="*/ 52 w 124"/>
                <a:gd name="T67" fmla="*/ 92 h 128"/>
                <a:gd name="T68" fmla="*/ 100 w 124"/>
                <a:gd name="T69" fmla="*/ 45 h 128"/>
                <a:gd name="T70" fmla="*/ 52 w 124"/>
                <a:gd name="T71" fmla="*/ 0 h 128"/>
                <a:gd name="T72" fmla="*/ 0 w 124"/>
                <a:gd name="T73" fmla="*/ 45 h 128"/>
                <a:gd name="T74" fmla="*/ 16 w 124"/>
                <a:gd name="T75" fmla="*/ 81 h 128"/>
                <a:gd name="T76" fmla="*/ 16 w 124"/>
                <a:gd name="T77" fmla="*/ 104 h 128"/>
                <a:gd name="T78" fmla="*/ 39 w 124"/>
                <a:gd name="T79" fmla="*/ 91 h 128"/>
                <a:gd name="T80" fmla="*/ 8 w 124"/>
                <a:gd name="T81" fmla="*/ 46 h 128"/>
                <a:gd name="T82" fmla="*/ 52 w 124"/>
                <a:gd name="T83" fmla="*/ 8 h 128"/>
                <a:gd name="T84" fmla="*/ 92 w 124"/>
                <a:gd name="T85" fmla="*/ 46 h 128"/>
                <a:gd name="T86" fmla="*/ 52 w 124"/>
                <a:gd name="T87" fmla="*/ 84 h 128"/>
                <a:gd name="T88" fmla="*/ 38 w 124"/>
                <a:gd name="T89" fmla="*/ 83 h 128"/>
                <a:gd name="T90" fmla="*/ 24 w 124"/>
                <a:gd name="T91" fmla="*/ 92 h 128"/>
                <a:gd name="T92" fmla="*/ 24 w 124"/>
                <a:gd name="T93" fmla="*/ 78 h 128"/>
                <a:gd name="T94" fmla="*/ 8 w 124"/>
                <a:gd name="T95" fmla="*/ 46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24" h="128">
                  <a:moveTo>
                    <a:pt x="50" y="52"/>
                  </a:moveTo>
                  <a:cubicBezTo>
                    <a:pt x="53" y="52"/>
                    <a:pt x="56" y="49"/>
                    <a:pt x="56" y="46"/>
                  </a:cubicBezTo>
                  <a:cubicBezTo>
                    <a:pt x="56" y="43"/>
                    <a:pt x="53" y="40"/>
                    <a:pt x="50" y="40"/>
                  </a:cubicBezTo>
                  <a:cubicBezTo>
                    <a:pt x="47" y="40"/>
                    <a:pt x="44" y="43"/>
                    <a:pt x="44" y="46"/>
                  </a:cubicBezTo>
                  <a:cubicBezTo>
                    <a:pt x="44" y="49"/>
                    <a:pt x="47" y="52"/>
                    <a:pt x="50" y="52"/>
                  </a:cubicBezTo>
                  <a:close/>
                  <a:moveTo>
                    <a:pt x="26" y="52"/>
                  </a:moveTo>
                  <a:cubicBezTo>
                    <a:pt x="29" y="52"/>
                    <a:pt x="32" y="49"/>
                    <a:pt x="32" y="46"/>
                  </a:cubicBezTo>
                  <a:cubicBezTo>
                    <a:pt x="32" y="43"/>
                    <a:pt x="29" y="40"/>
                    <a:pt x="26" y="40"/>
                  </a:cubicBezTo>
                  <a:cubicBezTo>
                    <a:pt x="23" y="40"/>
                    <a:pt x="20" y="43"/>
                    <a:pt x="20" y="46"/>
                  </a:cubicBezTo>
                  <a:cubicBezTo>
                    <a:pt x="20" y="49"/>
                    <a:pt x="23" y="52"/>
                    <a:pt x="26" y="52"/>
                  </a:cubicBezTo>
                  <a:close/>
                  <a:moveTo>
                    <a:pt x="74" y="52"/>
                  </a:moveTo>
                  <a:cubicBezTo>
                    <a:pt x="77" y="52"/>
                    <a:pt x="80" y="49"/>
                    <a:pt x="80" y="46"/>
                  </a:cubicBezTo>
                  <a:cubicBezTo>
                    <a:pt x="80" y="43"/>
                    <a:pt x="77" y="40"/>
                    <a:pt x="74" y="40"/>
                  </a:cubicBezTo>
                  <a:cubicBezTo>
                    <a:pt x="71" y="40"/>
                    <a:pt x="68" y="43"/>
                    <a:pt x="68" y="46"/>
                  </a:cubicBezTo>
                  <a:cubicBezTo>
                    <a:pt x="68" y="49"/>
                    <a:pt x="71" y="52"/>
                    <a:pt x="74" y="52"/>
                  </a:cubicBezTo>
                  <a:close/>
                  <a:moveTo>
                    <a:pt x="108" y="37"/>
                  </a:moveTo>
                  <a:cubicBezTo>
                    <a:pt x="108" y="38"/>
                    <a:pt x="108" y="39"/>
                    <a:pt x="108" y="40"/>
                  </a:cubicBezTo>
                  <a:cubicBezTo>
                    <a:pt x="108" y="43"/>
                    <a:pt x="108" y="45"/>
                    <a:pt x="107" y="47"/>
                  </a:cubicBezTo>
                  <a:cubicBezTo>
                    <a:pt x="113" y="54"/>
                    <a:pt x="116" y="62"/>
                    <a:pt x="116" y="70"/>
                  </a:cubicBezTo>
                  <a:cubicBezTo>
                    <a:pt x="116" y="83"/>
                    <a:pt x="108" y="95"/>
                    <a:pt x="96" y="102"/>
                  </a:cubicBezTo>
                  <a:cubicBezTo>
                    <a:pt x="96" y="116"/>
                    <a:pt x="96" y="116"/>
                    <a:pt x="96" y="116"/>
                  </a:cubicBezTo>
                  <a:cubicBezTo>
                    <a:pt x="82" y="107"/>
                    <a:pt x="82" y="107"/>
                    <a:pt x="82" y="107"/>
                  </a:cubicBezTo>
                  <a:cubicBezTo>
                    <a:pt x="79" y="108"/>
                    <a:pt x="76" y="108"/>
                    <a:pt x="72" y="108"/>
                  </a:cubicBezTo>
                  <a:cubicBezTo>
                    <a:pt x="62" y="108"/>
                    <a:pt x="56" y="105"/>
                    <a:pt x="49" y="100"/>
                  </a:cubicBezTo>
                  <a:cubicBezTo>
                    <a:pt x="46" y="100"/>
                    <a:pt x="44" y="100"/>
                    <a:pt x="42" y="100"/>
                  </a:cubicBezTo>
                  <a:cubicBezTo>
                    <a:pt x="40" y="100"/>
                    <a:pt x="39" y="100"/>
                    <a:pt x="37" y="100"/>
                  </a:cubicBezTo>
                  <a:cubicBezTo>
                    <a:pt x="47" y="109"/>
                    <a:pt x="57" y="115"/>
                    <a:pt x="72" y="115"/>
                  </a:cubicBezTo>
                  <a:cubicBezTo>
                    <a:pt x="75" y="115"/>
                    <a:pt x="78" y="115"/>
                    <a:pt x="82" y="114"/>
                  </a:cubicBezTo>
                  <a:cubicBezTo>
                    <a:pt x="104" y="128"/>
                    <a:pt x="104" y="128"/>
                    <a:pt x="104" y="128"/>
                  </a:cubicBezTo>
                  <a:cubicBezTo>
                    <a:pt x="104" y="105"/>
                    <a:pt x="104" y="105"/>
                    <a:pt x="104" y="105"/>
                  </a:cubicBezTo>
                  <a:cubicBezTo>
                    <a:pt x="116" y="97"/>
                    <a:pt x="124" y="84"/>
                    <a:pt x="124" y="69"/>
                  </a:cubicBezTo>
                  <a:cubicBezTo>
                    <a:pt x="124" y="57"/>
                    <a:pt x="118" y="45"/>
                    <a:pt x="108" y="37"/>
                  </a:cubicBezTo>
                  <a:close/>
                  <a:moveTo>
                    <a:pt x="39" y="91"/>
                  </a:moveTo>
                  <a:cubicBezTo>
                    <a:pt x="42" y="91"/>
                    <a:pt x="49" y="92"/>
                    <a:pt x="52" y="92"/>
                  </a:cubicBezTo>
                  <a:cubicBezTo>
                    <a:pt x="81" y="92"/>
                    <a:pt x="100" y="71"/>
                    <a:pt x="100" y="45"/>
                  </a:cubicBezTo>
                  <a:cubicBezTo>
                    <a:pt x="100" y="20"/>
                    <a:pt x="76" y="0"/>
                    <a:pt x="52" y="0"/>
                  </a:cubicBezTo>
                  <a:cubicBezTo>
                    <a:pt x="23" y="0"/>
                    <a:pt x="0" y="20"/>
                    <a:pt x="0" y="45"/>
                  </a:cubicBezTo>
                  <a:cubicBezTo>
                    <a:pt x="0" y="60"/>
                    <a:pt x="6" y="72"/>
                    <a:pt x="16" y="81"/>
                  </a:cubicBezTo>
                  <a:cubicBezTo>
                    <a:pt x="16" y="104"/>
                    <a:pt x="16" y="104"/>
                    <a:pt x="16" y="104"/>
                  </a:cubicBezTo>
                  <a:lnTo>
                    <a:pt x="39" y="91"/>
                  </a:lnTo>
                  <a:close/>
                  <a:moveTo>
                    <a:pt x="8" y="46"/>
                  </a:moveTo>
                  <a:cubicBezTo>
                    <a:pt x="8" y="25"/>
                    <a:pt x="27" y="8"/>
                    <a:pt x="52" y="8"/>
                  </a:cubicBezTo>
                  <a:cubicBezTo>
                    <a:pt x="72" y="8"/>
                    <a:pt x="92" y="25"/>
                    <a:pt x="92" y="46"/>
                  </a:cubicBezTo>
                  <a:cubicBezTo>
                    <a:pt x="92" y="67"/>
                    <a:pt x="76" y="84"/>
                    <a:pt x="52" y="84"/>
                  </a:cubicBezTo>
                  <a:cubicBezTo>
                    <a:pt x="48" y="84"/>
                    <a:pt x="41" y="84"/>
                    <a:pt x="38" y="83"/>
                  </a:cubicBezTo>
                  <a:cubicBezTo>
                    <a:pt x="24" y="92"/>
                    <a:pt x="24" y="92"/>
                    <a:pt x="24" y="92"/>
                  </a:cubicBezTo>
                  <a:cubicBezTo>
                    <a:pt x="24" y="78"/>
                    <a:pt x="24" y="78"/>
                    <a:pt x="24" y="78"/>
                  </a:cubicBezTo>
                  <a:cubicBezTo>
                    <a:pt x="14" y="70"/>
                    <a:pt x="8" y="59"/>
                    <a:pt x="8" y="4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armonyOS Sans SC"/>
                <a:cs typeface="+mn-cs"/>
              </a:endParaRPr>
            </a:p>
          </p:txBody>
        </p:sp>
        <p:sp>
          <p:nvSpPr>
            <p:cNvPr id="22" name="Rectangle 81">
              <a:extLst>
                <a:ext uri="{FF2B5EF4-FFF2-40B4-BE49-F238E27FC236}">
                  <a16:creationId xmlns:a16="http://schemas.microsoft.com/office/drawing/2014/main" id="{245A9DC1-9B77-430D-8AD8-EA6357AF500A}"/>
                </a:ext>
              </a:extLst>
            </p:cNvPr>
            <p:cNvSpPr/>
            <p:nvPr/>
          </p:nvSpPr>
          <p:spPr>
            <a:xfrm>
              <a:off x="6024367" y="2936527"/>
              <a:ext cx="2224677" cy="2491377"/>
            </a:xfrm>
            <a:custGeom>
              <a:avLst/>
              <a:gdLst>
                <a:gd name="connsiteX0" fmla="*/ 0 w 1988457"/>
                <a:gd name="connsiteY0" fmla="*/ 0 h 1988457"/>
                <a:gd name="connsiteX1" fmla="*/ 1988457 w 1988457"/>
                <a:gd name="connsiteY1" fmla="*/ 0 h 1988457"/>
                <a:gd name="connsiteX2" fmla="*/ 1988457 w 1988457"/>
                <a:gd name="connsiteY2" fmla="*/ 1988457 h 1988457"/>
                <a:gd name="connsiteX3" fmla="*/ 0 w 1988457"/>
                <a:gd name="connsiteY3" fmla="*/ 1988457 h 1988457"/>
                <a:gd name="connsiteX4" fmla="*/ 0 w 1988457"/>
                <a:gd name="connsiteY4" fmla="*/ 0 h 1988457"/>
                <a:gd name="connsiteX0" fmla="*/ 0 w 2163717"/>
                <a:gd name="connsiteY0" fmla="*/ 342900 h 2331357"/>
                <a:gd name="connsiteX1" fmla="*/ 2163717 w 2163717"/>
                <a:gd name="connsiteY1" fmla="*/ 0 h 2331357"/>
                <a:gd name="connsiteX2" fmla="*/ 1988457 w 2163717"/>
                <a:gd name="connsiteY2" fmla="*/ 2331357 h 2331357"/>
                <a:gd name="connsiteX3" fmla="*/ 0 w 2163717"/>
                <a:gd name="connsiteY3" fmla="*/ 2331357 h 2331357"/>
                <a:gd name="connsiteX4" fmla="*/ 0 w 2163717"/>
                <a:gd name="connsiteY4" fmla="*/ 342900 h 2331357"/>
                <a:gd name="connsiteX0" fmla="*/ 0 w 2224677"/>
                <a:gd name="connsiteY0" fmla="*/ 342900 h 2331357"/>
                <a:gd name="connsiteX1" fmla="*/ 2163717 w 2224677"/>
                <a:gd name="connsiteY1" fmla="*/ 0 h 2331357"/>
                <a:gd name="connsiteX2" fmla="*/ 2224677 w 2224677"/>
                <a:gd name="connsiteY2" fmla="*/ 2140857 h 2331357"/>
                <a:gd name="connsiteX3" fmla="*/ 0 w 2224677"/>
                <a:gd name="connsiteY3" fmla="*/ 2331357 h 2331357"/>
                <a:gd name="connsiteX4" fmla="*/ 0 w 2224677"/>
                <a:gd name="connsiteY4" fmla="*/ 342900 h 2331357"/>
                <a:gd name="connsiteX0" fmla="*/ 0 w 2224677"/>
                <a:gd name="connsiteY0" fmla="*/ 342900 h 2491377"/>
                <a:gd name="connsiteX1" fmla="*/ 2163717 w 2224677"/>
                <a:gd name="connsiteY1" fmla="*/ 0 h 2491377"/>
                <a:gd name="connsiteX2" fmla="*/ 2224677 w 2224677"/>
                <a:gd name="connsiteY2" fmla="*/ 2140857 h 2491377"/>
                <a:gd name="connsiteX3" fmla="*/ 7620 w 2224677"/>
                <a:gd name="connsiteY3" fmla="*/ 2491377 h 2491377"/>
                <a:gd name="connsiteX4" fmla="*/ 0 w 2224677"/>
                <a:gd name="connsiteY4" fmla="*/ 342900 h 2491377"/>
                <a:gd name="connsiteX0" fmla="*/ 91440 w 2217057"/>
                <a:gd name="connsiteY0" fmla="*/ 502920 h 2491377"/>
                <a:gd name="connsiteX1" fmla="*/ 2156097 w 2217057"/>
                <a:gd name="connsiteY1" fmla="*/ 0 h 2491377"/>
                <a:gd name="connsiteX2" fmla="*/ 2217057 w 2217057"/>
                <a:gd name="connsiteY2" fmla="*/ 2140857 h 2491377"/>
                <a:gd name="connsiteX3" fmla="*/ 0 w 2217057"/>
                <a:gd name="connsiteY3" fmla="*/ 2491377 h 2491377"/>
                <a:gd name="connsiteX4" fmla="*/ 91440 w 2217057"/>
                <a:gd name="connsiteY4" fmla="*/ 502920 h 2491377"/>
                <a:gd name="connsiteX0" fmla="*/ 7620 w 2217057"/>
                <a:gd name="connsiteY0" fmla="*/ 320040 h 2491377"/>
                <a:gd name="connsiteX1" fmla="*/ 2156097 w 2217057"/>
                <a:gd name="connsiteY1" fmla="*/ 0 h 2491377"/>
                <a:gd name="connsiteX2" fmla="*/ 2217057 w 2217057"/>
                <a:gd name="connsiteY2" fmla="*/ 2140857 h 2491377"/>
                <a:gd name="connsiteX3" fmla="*/ 0 w 2217057"/>
                <a:gd name="connsiteY3" fmla="*/ 2491377 h 2491377"/>
                <a:gd name="connsiteX4" fmla="*/ 7620 w 2217057"/>
                <a:gd name="connsiteY4" fmla="*/ 320040 h 2491377"/>
                <a:gd name="connsiteX0" fmla="*/ 0 w 2224677"/>
                <a:gd name="connsiteY0" fmla="*/ 320040 h 2491377"/>
                <a:gd name="connsiteX1" fmla="*/ 2163717 w 2224677"/>
                <a:gd name="connsiteY1" fmla="*/ 0 h 2491377"/>
                <a:gd name="connsiteX2" fmla="*/ 2224677 w 2224677"/>
                <a:gd name="connsiteY2" fmla="*/ 2140857 h 2491377"/>
                <a:gd name="connsiteX3" fmla="*/ 7620 w 2224677"/>
                <a:gd name="connsiteY3" fmla="*/ 2491377 h 2491377"/>
                <a:gd name="connsiteX4" fmla="*/ 0 w 2224677"/>
                <a:gd name="connsiteY4" fmla="*/ 320040 h 2491377"/>
                <a:gd name="connsiteX0" fmla="*/ 0 w 2224677"/>
                <a:gd name="connsiteY0" fmla="*/ 320040 h 2491377"/>
                <a:gd name="connsiteX1" fmla="*/ 2163717 w 2224677"/>
                <a:gd name="connsiteY1" fmla="*/ 0 h 2491377"/>
                <a:gd name="connsiteX2" fmla="*/ 2224677 w 2224677"/>
                <a:gd name="connsiteY2" fmla="*/ 2133237 h 2491377"/>
                <a:gd name="connsiteX3" fmla="*/ 7620 w 2224677"/>
                <a:gd name="connsiteY3" fmla="*/ 2491377 h 2491377"/>
                <a:gd name="connsiteX4" fmla="*/ 0 w 2224677"/>
                <a:gd name="connsiteY4" fmla="*/ 320040 h 2491377"/>
                <a:gd name="connsiteX0" fmla="*/ 0 w 2224677"/>
                <a:gd name="connsiteY0" fmla="*/ 320040 h 2491377"/>
                <a:gd name="connsiteX1" fmla="*/ 2163717 w 2224677"/>
                <a:gd name="connsiteY1" fmla="*/ 0 h 2491377"/>
                <a:gd name="connsiteX2" fmla="*/ 2224677 w 2224677"/>
                <a:gd name="connsiteY2" fmla="*/ 2125617 h 2491377"/>
                <a:gd name="connsiteX3" fmla="*/ 7620 w 2224677"/>
                <a:gd name="connsiteY3" fmla="*/ 2491377 h 2491377"/>
                <a:gd name="connsiteX4" fmla="*/ 0 w 2224677"/>
                <a:gd name="connsiteY4" fmla="*/ 320040 h 24913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4677" h="2491377">
                  <a:moveTo>
                    <a:pt x="0" y="320040"/>
                  </a:moveTo>
                  <a:lnTo>
                    <a:pt x="2163717" y="0"/>
                  </a:lnTo>
                  <a:lnTo>
                    <a:pt x="2224677" y="2125617"/>
                  </a:lnTo>
                  <a:lnTo>
                    <a:pt x="7620" y="2491377"/>
                  </a:lnTo>
                  <a:lnTo>
                    <a:pt x="0" y="320040"/>
                  </a:lnTo>
                  <a:close/>
                </a:path>
              </a:pathLst>
            </a:custGeom>
            <a:solidFill>
              <a:schemeClr val="bg1"/>
            </a:solidFill>
            <a:ln>
              <a:noFill/>
            </a:ln>
            <a:effectLst>
              <a:outerShdw blurRad="203200" dist="114300" dir="2700000" algn="tl" rotWithShape="0">
                <a:schemeClr val="accent1">
                  <a:lumMod val="60000"/>
                  <a:lumOff val="40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Lato"/>
                <a:ea typeface="+mn-ea"/>
                <a:cs typeface="+mn-cs"/>
              </a:endParaRPr>
            </a:p>
          </p:txBody>
        </p:sp>
        <p:sp>
          <p:nvSpPr>
            <p:cNvPr id="24" name="Freeform 7">
              <a:extLst>
                <a:ext uri="{FF2B5EF4-FFF2-40B4-BE49-F238E27FC236}">
                  <a16:creationId xmlns:a16="http://schemas.microsoft.com/office/drawing/2014/main" id="{23E9EA7C-82F7-4612-8D36-DF330EC2E123}"/>
                </a:ext>
              </a:extLst>
            </p:cNvPr>
            <p:cNvSpPr>
              <a:spLocks/>
            </p:cNvSpPr>
            <p:nvPr/>
          </p:nvSpPr>
          <p:spPr bwMode="auto">
            <a:xfrm>
              <a:off x="8161827" y="1792563"/>
              <a:ext cx="195065" cy="1218124"/>
            </a:xfrm>
            <a:custGeom>
              <a:avLst/>
              <a:gdLst>
                <a:gd name="T0" fmla="*/ 54 w 81"/>
                <a:gd name="T1" fmla="*/ 575 h 628"/>
                <a:gd name="T2" fmla="*/ 54 w 81"/>
                <a:gd name="T3" fmla="*/ 0 h 628"/>
                <a:gd name="T4" fmla="*/ 0 w 81"/>
                <a:gd name="T5" fmla="*/ 11 h 628"/>
                <a:gd name="T6" fmla="*/ 0 w 81"/>
                <a:gd name="T7" fmla="*/ 628 h 628"/>
                <a:gd name="T8" fmla="*/ 54 w 81"/>
                <a:gd name="T9" fmla="*/ 617 h 628"/>
                <a:gd name="T10" fmla="*/ 54 w 81"/>
                <a:gd name="T11" fmla="*/ 617 h 628"/>
                <a:gd name="T12" fmla="*/ 80 w 81"/>
                <a:gd name="T13" fmla="*/ 587 h 628"/>
                <a:gd name="T14" fmla="*/ 54 w 81"/>
                <a:gd name="T15" fmla="*/ 575 h 6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1" h="628">
                  <a:moveTo>
                    <a:pt x="54" y="575"/>
                  </a:moveTo>
                  <a:cubicBezTo>
                    <a:pt x="54" y="0"/>
                    <a:pt x="54" y="0"/>
                    <a:pt x="54" y="0"/>
                  </a:cubicBezTo>
                  <a:cubicBezTo>
                    <a:pt x="0" y="11"/>
                    <a:pt x="0" y="11"/>
                    <a:pt x="0" y="11"/>
                  </a:cubicBezTo>
                  <a:cubicBezTo>
                    <a:pt x="0" y="628"/>
                    <a:pt x="0" y="628"/>
                    <a:pt x="0" y="628"/>
                  </a:cubicBezTo>
                  <a:cubicBezTo>
                    <a:pt x="54" y="617"/>
                    <a:pt x="54" y="617"/>
                    <a:pt x="54" y="617"/>
                  </a:cubicBezTo>
                  <a:cubicBezTo>
                    <a:pt x="54" y="617"/>
                    <a:pt x="54" y="617"/>
                    <a:pt x="54" y="617"/>
                  </a:cubicBezTo>
                  <a:cubicBezTo>
                    <a:pt x="54" y="617"/>
                    <a:pt x="81" y="613"/>
                    <a:pt x="80" y="587"/>
                  </a:cubicBezTo>
                  <a:cubicBezTo>
                    <a:pt x="79" y="568"/>
                    <a:pt x="54" y="575"/>
                    <a:pt x="54" y="575"/>
                  </a:cubicBez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HarmonyOS Sans SC"/>
                <a:cs typeface="+mn-cs"/>
              </a:endParaRPr>
            </a:p>
          </p:txBody>
        </p:sp>
        <p:sp>
          <p:nvSpPr>
            <p:cNvPr id="25" name="Freeform 8">
              <a:extLst>
                <a:ext uri="{FF2B5EF4-FFF2-40B4-BE49-F238E27FC236}">
                  <a16:creationId xmlns:a16="http://schemas.microsoft.com/office/drawing/2014/main" id="{10334610-5304-4EEF-9395-B48AF96212FE}"/>
                </a:ext>
              </a:extLst>
            </p:cNvPr>
            <p:cNvSpPr>
              <a:spLocks/>
            </p:cNvSpPr>
            <p:nvPr/>
          </p:nvSpPr>
          <p:spPr bwMode="auto">
            <a:xfrm>
              <a:off x="5999397" y="1698170"/>
              <a:ext cx="2355639" cy="1576218"/>
            </a:xfrm>
            <a:custGeom>
              <a:avLst/>
              <a:gdLst>
                <a:gd name="T0" fmla="*/ 954 w 980"/>
                <a:gd name="T1" fmla="*/ 7 h 813"/>
                <a:gd name="T2" fmla="*/ 954 w 980"/>
                <a:gd name="T3" fmla="*/ 7 h 813"/>
                <a:gd name="T4" fmla="*/ 0 w 980"/>
                <a:gd name="T5" fmla="*/ 196 h 813"/>
                <a:gd name="T6" fmla="*/ 0 w 980"/>
                <a:gd name="T7" fmla="*/ 813 h 813"/>
                <a:gd name="T8" fmla="*/ 954 w 980"/>
                <a:gd name="T9" fmla="*/ 624 h 813"/>
                <a:gd name="T10" fmla="*/ 980 w 980"/>
                <a:gd name="T11" fmla="*/ 636 h 813"/>
                <a:gd name="T12" fmla="*/ 980 w 980"/>
                <a:gd name="T13" fmla="*/ 18 h 813"/>
                <a:gd name="T14" fmla="*/ 954 w 980"/>
                <a:gd name="T15" fmla="*/ 7 h 8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80" h="813">
                  <a:moveTo>
                    <a:pt x="954" y="7"/>
                  </a:moveTo>
                  <a:cubicBezTo>
                    <a:pt x="954" y="7"/>
                    <a:pt x="954" y="7"/>
                    <a:pt x="954" y="7"/>
                  </a:cubicBezTo>
                  <a:cubicBezTo>
                    <a:pt x="0" y="196"/>
                    <a:pt x="0" y="196"/>
                    <a:pt x="0" y="196"/>
                  </a:cubicBezTo>
                  <a:cubicBezTo>
                    <a:pt x="0" y="813"/>
                    <a:pt x="0" y="813"/>
                    <a:pt x="0" y="813"/>
                  </a:cubicBezTo>
                  <a:cubicBezTo>
                    <a:pt x="954" y="624"/>
                    <a:pt x="954" y="624"/>
                    <a:pt x="954" y="624"/>
                  </a:cubicBezTo>
                  <a:cubicBezTo>
                    <a:pt x="954" y="624"/>
                    <a:pt x="979" y="617"/>
                    <a:pt x="980" y="636"/>
                  </a:cubicBezTo>
                  <a:cubicBezTo>
                    <a:pt x="980" y="18"/>
                    <a:pt x="980" y="18"/>
                    <a:pt x="980" y="18"/>
                  </a:cubicBezTo>
                  <a:cubicBezTo>
                    <a:pt x="979" y="0"/>
                    <a:pt x="954" y="7"/>
                    <a:pt x="954" y="7"/>
                  </a:cubicBezTo>
                  <a:close/>
                </a:path>
              </a:pathLst>
            </a:custGeom>
            <a:gradFill flip="none" rotWithShape="1">
              <a:gsLst>
                <a:gs pos="69000">
                  <a:schemeClr val="accent1">
                    <a:lumMod val="60000"/>
                    <a:lumOff val="40000"/>
                  </a:schemeClr>
                </a:gs>
                <a:gs pos="32000">
                  <a:schemeClr val="accent1"/>
                </a:gs>
                <a:gs pos="100000">
                  <a:schemeClr val="accent1">
                    <a:lumMod val="40000"/>
                    <a:lumOff val="60000"/>
                  </a:schemeClr>
                </a:gs>
              </a:gsLst>
              <a:path path="circle">
                <a:fillToRect l="100000" t="100000"/>
              </a:path>
              <a:tileRect r="-100000" b="-100000"/>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HarmonyOS Sans SC"/>
                <a:cs typeface="+mn-cs"/>
              </a:endParaRPr>
            </a:p>
          </p:txBody>
        </p:sp>
        <p:grpSp>
          <p:nvGrpSpPr>
            <p:cNvPr id="26" name="Group 25">
              <a:extLst>
                <a:ext uri="{FF2B5EF4-FFF2-40B4-BE49-F238E27FC236}">
                  <a16:creationId xmlns:a16="http://schemas.microsoft.com/office/drawing/2014/main" id="{F3006DA6-D1C4-4B1A-976B-A0C4A5EB5FA9}"/>
                </a:ext>
              </a:extLst>
            </p:cNvPr>
            <p:cNvGrpSpPr/>
            <p:nvPr/>
          </p:nvGrpSpPr>
          <p:grpSpPr>
            <a:xfrm>
              <a:off x="8161827" y="5139779"/>
              <a:ext cx="195065" cy="590334"/>
              <a:chOff x="5997180" y="6203320"/>
              <a:chExt cx="180783" cy="678367"/>
            </a:xfrm>
            <a:solidFill>
              <a:schemeClr val="accent1">
                <a:lumMod val="75000"/>
              </a:schemeClr>
            </a:solidFill>
          </p:grpSpPr>
          <p:sp>
            <p:nvSpPr>
              <p:cNvPr id="30" name="Freeform 13">
                <a:extLst>
                  <a:ext uri="{FF2B5EF4-FFF2-40B4-BE49-F238E27FC236}">
                    <a16:creationId xmlns:a16="http://schemas.microsoft.com/office/drawing/2014/main" id="{4FF83898-4BB1-4BB0-BED0-8CC1C945B969}"/>
                  </a:ext>
                </a:extLst>
              </p:cNvPr>
              <p:cNvSpPr>
                <a:spLocks/>
              </p:cNvSpPr>
              <p:nvPr/>
            </p:nvSpPr>
            <p:spPr bwMode="auto">
              <a:xfrm>
                <a:off x="5997180" y="6203320"/>
                <a:ext cx="180783" cy="294418"/>
              </a:xfrm>
              <a:custGeom>
                <a:avLst/>
                <a:gdLst>
                  <a:gd name="T0" fmla="*/ 54 w 81"/>
                  <a:gd name="T1" fmla="*/ 79 h 132"/>
                  <a:gd name="T2" fmla="*/ 54 w 81"/>
                  <a:gd name="T3" fmla="*/ 0 h 132"/>
                  <a:gd name="T4" fmla="*/ 0 w 81"/>
                  <a:gd name="T5" fmla="*/ 11 h 132"/>
                  <a:gd name="T6" fmla="*/ 0 w 81"/>
                  <a:gd name="T7" fmla="*/ 132 h 132"/>
                  <a:gd name="T8" fmla="*/ 54 w 81"/>
                  <a:gd name="T9" fmla="*/ 121 h 132"/>
                  <a:gd name="T10" fmla="*/ 54 w 81"/>
                  <a:gd name="T11" fmla="*/ 121 h 132"/>
                  <a:gd name="T12" fmla="*/ 80 w 81"/>
                  <a:gd name="T13" fmla="*/ 91 h 132"/>
                  <a:gd name="T14" fmla="*/ 54 w 81"/>
                  <a:gd name="T15" fmla="*/ 79 h 1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1" h="132">
                    <a:moveTo>
                      <a:pt x="54" y="79"/>
                    </a:moveTo>
                    <a:cubicBezTo>
                      <a:pt x="54" y="0"/>
                      <a:pt x="54" y="0"/>
                      <a:pt x="54" y="0"/>
                    </a:cubicBezTo>
                    <a:cubicBezTo>
                      <a:pt x="0" y="11"/>
                      <a:pt x="0" y="11"/>
                      <a:pt x="0" y="11"/>
                    </a:cubicBezTo>
                    <a:cubicBezTo>
                      <a:pt x="0" y="132"/>
                      <a:pt x="0" y="132"/>
                      <a:pt x="0" y="132"/>
                    </a:cubicBezTo>
                    <a:cubicBezTo>
                      <a:pt x="54" y="121"/>
                      <a:pt x="54" y="121"/>
                      <a:pt x="54" y="121"/>
                    </a:cubicBezTo>
                    <a:cubicBezTo>
                      <a:pt x="54" y="121"/>
                      <a:pt x="54" y="121"/>
                      <a:pt x="54" y="121"/>
                    </a:cubicBezTo>
                    <a:cubicBezTo>
                      <a:pt x="54" y="121"/>
                      <a:pt x="81" y="117"/>
                      <a:pt x="80" y="91"/>
                    </a:cubicBezTo>
                    <a:cubicBezTo>
                      <a:pt x="79" y="72"/>
                      <a:pt x="54" y="79"/>
                      <a:pt x="54" y="79"/>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HarmonyOS Sans SC"/>
                  <a:cs typeface="Posterama" panose="020B0502040204020203" pitchFamily="34" charset="0"/>
                </a:endParaRPr>
              </a:p>
            </p:txBody>
          </p:sp>
          <p:sp>
            <p:nvSpPr>
              <p:cNvPr id="31" name="Freeform 19">
                <a:extLst>
                  <a:ext uri="{FF2B5EF4-FFF2-40B4-BE49-F238E27FC236}">
                    <a16:creationId xmlns:a16="http://schemas.microsoft.com/office/drawing/2014/main" id="{FD4A762F-4715-43E0-8767-EE082EA08C26}"/>
                  </a:ext>
                </a:extLst>
              </p:cNvPr>
              <p:cNvSpPr>
                <a:spLocks/>
              </p:cNvSpPr>
              <p:nvPr/>
            </p:nvSpPr>
            <p:spPr bwMode="auto">
              <a:xfrm>
                <a:off x="5997180" y="6587269"/>
                <a:ext cx="180783" cy="294418"/>
              </a:xfrm>
              <a:custGeom>
                <a:avLst/>
                <a:gdLst>
                  <a:gd name="T0" fmla="*/ 54 w 81"/>
                  <a:gd name="T1" fmla="*/ 79 h 132"/>
                  <a:gd name="T2" fmla="*/ 54 w 81"/>
                  <a:gd name="T3" fmla="*/ 0 h 132"/>
                  <a:gd name="T4" fmla="*/ 0 w 81"/>
                  <a:gd name="T5" fmla="*/ 11 h 132"/>
                  <a:gd name="T6" fmla="*/ 0 w 81"/>
                  <a:gd name="T7" fmla="*/ 132 h 132"/>
                  <a:gd name="T8" fmla="*/ 54 w 81"/>
                  <a:gd name="T9" fmla="*/ 121 h 132"/>
                  <a:gd name="T10" fmla="*/ 54 w 81"/>
                  <a:gd name="T11" fmla="*/ 121 h 132"/>
                  <a:gd name="T12" fmla="*/ 80 w 81"/>
                  <a:gd name="T13" fmla="*/ 91 h 132"/>
                  <a:gd name="T14" fmla="*/ 54 w 81"/>
                  <a:gd name="T15" fmla="*/ 79 h 1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1" h="132">
                    <a:moveTo>
                      <a:pt x="54" y="79"/>
                    </a:moveTo>
                    <a:cubicBezTo>
                      <a:pt x="54" y="0"/>
                      <a:pt x="54" y="0"/>
                      <a:pt x="54" y="0"/>
                    </a:cubicBezTo>
                    <a:cubicBezTo>
                      <a:pt x="0" y="11"/>
                      <a:pt x="0" y="11"/>
                      <a:pt x="0" y="11"/>
                    </a:cubicBezTo>
                    <a:cubicBezTo>
                      <a:pt x="0" y="132"/>
                      <a:pt x="0" y="132"/>
                      <a:pt x="0" y="132"/>
                    </a:cubicBezTo>
                    <a:cubicBezTo>
                      <a:pt x="54" y="121"/>
                      <a:pt x="54" y="121"/>
                      <a:pt x="54" y="121"/>
                    </a:cubicBezTo>
                    <a:cubicBezTo>
                      <a:pt x="54" y="121"/>
                      <a:pt x="54" y="121"/>
                      <a:pt x="54" y="121"/>
                    </a:cubicBezTo>
                    <a:cubicBezTo>
                      <a:pt x="54" y="121"/>
                      <a:pt x="81" y="117"/>
                      <a:pt x="80" y="91"/>
                    </a:cubicBezTo>
                    <a:cubicBezTo>
                      <a:pt x="79" y="72"/>
                      <a:pt x="54" y="79"/>
                      <a:pt x="54" y="79"/>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HarmonyOS Sans SC"/>
                  <a:cs typeface="Posterama" panose="020B0502040204020203" pitchFamily="34" charset="0"/>
                </a:endParaRPr>
              </a:p>
            </p:txBody>
          </p:sp>
        </p:grpSp>
        <p:sp>
          <p:nvSpPr>
            <p:cNvPr id="28" name="Freeform 14">
              <a:extLst>
                <a:ext uri="{FF2B5EF4-FFF2-40B4-BE49-F238E27FC236}">
                  <a16:creationId xmlns:a16="http://schemas.microsoft.com/office/drawing/2014/main" id="{8D5232E7-EA3D-47DB-AA4B-B553B6AE4D28}"/>
                </a:ext>
              </a:extLst>
            </p:cNvPr>
            <p:cNvSpPr>
              <a:spLocks/>
            </p:cNvSpPr>
            <p:nvPr/>
          </p:nvSpPr>
          <p:spPr bwMode="auto">
            <a:xfrm>
              <a:off x="5999397" y="5045386"/>
              <a:ext cx="2355639" cy="614305"/>
            </a:xfrm>
            <a:custGeom>
              <a:avLst/>
              <a:gdLst>
                <a:gd name="T0" fmla="*/ 954 w 980"/>
                <a:gd name="T1" fmla="*/ 7 h 317"/>
                <a:gd name="T2" fmla="*/ 954 w 980"/>
                <a:gd name="T3" fmla="*/ 7 h 317"/>
                <a:gd name="T4" fmla="*/ 0 w 980"/>
                <a:gd name="T5" fmla="*/ 196 h 317"/>
                <a:gd name="T6" fmla="*/ 0 w 980"/>
                <a:gd name="T7" fmla="*/ 317 h 317"/>
                <a:gd name="T8" fmla="*/ 954 w 980"/>
                <a:gd name="T9" fmla="*/ 128 h 317"/>
                <a:gd name="T10" fmla="*/ 980 w 980"/>
                <a:gd name="T11" fmla="*/ 140 h 317"/>
                <a:gd name="T12" fmla="*/ 980 w 980"/>
                <a:gd name="T13" fmla="*/ 18 h 317"/>
                <a:gd name="T14" fmla="*/ 954 w 980"/>
                <a:gd name="T15" fmla="*/ 7 h 3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80" h="317">
                  <a:moveTo>
                    <a:pt x="954" y="7"/>
                  </a:moveTo>
                  <a:cubicBezTo>
                    <a:pt x="954" y="7"/>
                    <a:pt x="954" y="7"/>
                    <a:pt x="954" y="7"/>
                  </a:cubicBezTo>
                  <a:cubicBezTo>
                    <a:pt x="0" y="196"/>
                    <a:pt x="0" y="196"/>
                    <a:pt x="0" y="196"/>
                  </a:cubicBezTo>
                  <a:cubicBezTo>
                    <a:pt x="0" y="317"/>
                    <a:pt x="0" y="317"/>
                    <a:pt x="0" y="317"/>
                  </a:cubicBezTo>
                  <a:cubicBezTo>
                    <a:pt x="954" y="128"/>
                    <a:pt x="954" y="128"/>
                    <a:pt x="954" y="128"/>
                  </a:cubicBezTo>
                  <a:cubicBezTo>
                    <a:pt x="954" y="128"/>
                    <a:pt x="979" y="121"/>
                    <a:pt x="980" y="140"/>
                  </a:cubicBezTo>
                  <a:cubicBezTo>
                    <a:pt x="980" y="18"/>
                    <a:pt x="980" y="18"/>
                    <a:pt x="980" y="18"/>
                  </a:cubicBezTo>
                  <a:cubicBezTo>
                    <a:pt x="979" y="0"/>
                    <a:pt x="954" y="7"/>
                    <a:pt x="954" y="7"/>
                  </a:cubicBezTo>
                  <a:close/>
                </a:path>
              </a:pathLst>
            </a:custGeom>
            <a:gradFill flip="none" rotWithShape="1">
              <a:gsLst>
                <a:gs pos="69000">
                  <a:schemeClr val="accent1">
                    <a:lumMod val="60000"/>
                    <a:lumOff val="40000"/>
                  </a:schemeClr>
                </a:gs>
                <a:gs pos="32000">
                  <a:schemeClr val="accent1"/>
                </a:gs>
                <a:gs pos="100000">
                  <a:schemeClr val="accent1">
                    <a:lumMod val="40000"/>
                    <a:lumOff val="60000"/>
                  </a:schemeClr>
                </a:gs>
              </a:gsLst>
              <a:path path="circle">
                <a:fillToRect l="100000" t="100000"/>
              </a:path>
              <a:tileRect r="-100000" b="-100000"/>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HarmonyOS Sans SC"/>
                <a:cs typeface="Posterama" panose="020B0502040204020203" pitchFamily="34" charset="0"/>
              </a:endParaRPr>
            </a:p>
          </p:txBody>
        </p:sp>
        <p:sp>
          <p:nvSpPr>
            <p:cNvPr id="29" name="Freeform 20">
              <a:extLst>
                <a:ext uri="{FF2B5EF4-FFF2-40B4-BE49-F238E27FC236}">
                  <a16:creationId xmlns:a16="http://schemas.microsoft.com/office/drawing/2014/main" id="{B4CFACBD-F00A-49DC-ABA8-CE1E7039C53E}"/>
                </a:ext>
              </a:extLst>
            </p:cNvPr>
            <p:cNvSpPr>
              <a:spLocks/>
            </p:cNvSpPr>
            <p:nvPr/>
          </p:nvSpPr>
          <p:spPr bwMode="auto">
            <a:xfrm>
              <a:off x="5999397" y="5379508"/>
              <a:ext cx="2355639" cy="614305"/>
            </a:xfrm>
            <a:custGeom>
              <a:avLst/>
              <a:gdLst>
                <a:gd name="T0" fmla="*/ 954 w 980"/>
                <a:gd name="T1" fmla="*/ 7 h 317"/>
                <a:gd name="T2" fmla="*/ 954 w 980"/>
                <a:gd name="T3" fmla="*/ 7 h 317"/>
                <a:gd name="T4" fmla="*/ 0 w 980"/>
                <a:gd name="T5" fmla="*/ 196 h 317"/>
                <a:gd name="T6" fmla="*/ 0 w 980"/>
                <a:gd name="T7" fmla="*/ 317 h 317"/>
                <a:gd name="T8" fmla="*/ 954 w 980"/>
                <a:gd name="T9" fmla="*/ 128 h 317"/>
                <a:gd name="T10" fmla="*/ 980 w 980"/>
                <a:gd name="T11" fmla="*/ 140 h 317"/>
                <a:gd name="T12" fmla="*/ 980 w 980"/>
                <a:gd name="T13" fmla="*/ 18 h 317"/>
                <a:gd name="T14" fmla="*/ 954 w 980"/>
                <a:gd name="T15" fmla="*/ 7 h 3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80" h="317">
                  <a:moveTo>
                    <a:pt x="954" y="7"/>
                  </a:moveTo>
                  <a:cubicBezTo>
                    <a:pt x="954" y="7"/>
                    <a:pt x="954" y="7"/>
                    <a:pt x="954" y="7"/>
                  </a:cubicBezTo>
                  <a:cubicBezTo>
                    <a:pt x="0" y="196"/>
                    <a:pt x="0" y="196"/>
                    <a:pt x="0" y="196"/>
                  </a:cubicBezTo>
                  <a:cubicBezTo>
                    <a:pt x="0" y="317"/>
                    <a:pt x="0" y="317"/>
                    <a:pt x="0" y="317"/>
                  </a:cubicBezTo>
                  <a:cubicBezTo>
                    <a:pt x="954" y="128"/>
                    <a:pt x="954" y="128"/>
                    <a:pt x="954" y="128"/>
                  </a:cubicBezTo>
                  <a:cubicBezTo>
                    <a:pt x="954" y="128"/>
                    <a:pt x="979" y="121"/>
                    <a:pt x="980" y="140"/>
                  </a:cubicBezTo>
                  <a:cubicBezTo>
                    <a:pt x="980" y="18"/>
                    <a:pt x="980" y="18"/>
                    <a:pt x="980" y="18"/>
                  </a:cubicBezTo>
                  <a:cubicBezTo>
                    <a:pt x="979" y="0"/>
                    <a:pt x="954" y="7"/>
                    <a:pt x="954" y="7"/>
                  </a:cubicBezTo>
                  <a:close/>
                </a:path>
              </a:pathLst>
            </a:custGeom>
            <a:gradFill flip="none" rotWithShape="1">
              <a:gsLst>
                <a:gs pos="69000">
                  <a:schemeClr val="accent1">
                    <a:lumMod val="60000"/>
                    <a:lumOff val="40000"/>
                  </a:schemeClr>
                </a:gs>
                <a:gs pos="32000">
                  <a:schemeClr val="accent1"/>
                </a:gs>
                <a:gs pos="100000">
                  <a:schemeClr val="accent1">
                    <a:lumMod val="40000"/>
                    <a:lumOff val="60000"/>
                  </a:schemeClr>
                </a:gs>
              </a:gsLst>
              <a:path path="circle">
                <a:fillToRect l="100000" t="100000"/>
              </a:path>
              <a:tileRect r="-100000" b="-100000"/>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HarmonyOS Sans SC"/>
                <a:cs typeface="Posterama" panose="020B0502040204020203" pitchFamily="34" charset="0"/>
              </a:endParaRPr>
            </a:p>
          </p:txBody>
        </p:sp>
        <p:grpSp>
          <p:nvGrpSpPr>
            <p:cNvPr id="18" name="Group 17">
              <a:extLst>
                <a:ext uri="{FF2B5EF4-FFF2-40B4-BE49-F238E27FC236}">
                  <a16:creationId xmlns:a16="http://schemas.microsoft.com/office/drawing/2014/main" id="{80275788-7318-4C32-9690-61971412E0FC}"/>
                </a:ext>
              </a:extLst>
            </p:cNvPr>
            <p:cNvGrpSpPr/>
            <p:nvPr/>
          </p:nvGrpSpPr>
          <p:grpSpPr>
            <a:xfrm rot="4856481" flipV="1">
              <a:off x="7878161" y="1876838"/>
              <a:ext cx="245378" cy="278944"/>
              <a:chOff x="9492343" y="537029"/>
              <a:chExt cx="174171" cy="278944"/>
            </a:xfrm>
            <a:solidFill>
              <a:schemeClr val="bg1"/>
            </a:solidFill>
          </p:grpSpPr>
          <p:sp>
            <p:nvSpPr>
              <p:cNvPr id="20" name="Chevron 20">
                <a:extLst>
                  <a:ext uri="{FF2B5EF4-FFF2-40B4-BE49-F238E27FC236}">
                    <a16:creationId xmlns:a16="http://schemas.microsoft.com/office/drawing/2014/main" id="{C52531D9-CFC0-4675-8F6A-90B2323AE634}"/>
                  </a:ext>
                </a:extLst>
              </p:cNvPr>
              <p:cNvSpPr/>
              <p:nvPr/>
            </p:nvSpPr>
            <p:spPr>
              <a:xfrm rot="5400000">
                <a:off x="9492343" y="537029"/>
                <a:ext cx="174171" cy="174171"/>
              </a:xfrm>
              <a:prstGeom prst="chevr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armonyOS Sans SC"/>
                  <a:cs typeface="+mn-cs"/>
                </a:endParaRPr>
              </a:p>
            </p:txBody>
          </p:sp>
          <p:sp>
            <p:nvSpPr>
              <p:cNvPr id="21" name="Chevron 21">
                <a:extLst>
                  <a:ext uri="{FF2B5EF4-FFF2-40B4-BE49-F238E27FC236}">
                    <a16:creationId xmlns:a16="http://schemas.microsoft.com/office/drawing/2014/main" id="{50746DDC-8E97-4487-A798-0DE3EF152FC9}"/>
                  </a:ext>
                </a:extLst>
              </p:cNvPr>
              <p:cNvSpPr/>
              <p:nvPr/>
            </p:nvSpPr>
            <p:spPr>
              <a:xfrm rot="5400000">
                <a:off x="9492343" y="641802"/>
                <a:ext cx="174171" cy="174171"/>
              </a:xfrm>
              <a:prstGeom prst="chevr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armonyOS Sans SC"/>
                  <a:cs typeface="+mn-cs"/>
                </a:endParaRPr>
              </a:p>
            </p:txBody>
          </p:sp>
        </p:grpSp>
        <p:sp>
          <p:nvSpPr>
            <p:cNvPr id="19" name="Freeform 45">
              <a:extLst>
                <a:ext uri="{FF2B5EF4-FFF2-40B4-BE49-F238E27FC236}">
                  <a16:creationId xmlns:a16="http://schemas.microsoft.com/office/drawing/2014/main" id="{D0339299-2DAB-479B-AE9F-EAF363B89181}"/>
                </a:ext>
              </a:extLst>
            </p:cNvPr>
            <p:cNvSpPr>
              <a:spLocks noEditPoints="1"/>
            </p:cNvSpPr>
            <p:nvPr/>
          </p:nvSpPr>
          <p:spPr bwMode="auto">
            <a:xfrm>
              <a:off x="6894082" y="2203371"/>
              <a:ext cx="575554" cy="545061"/>
            </a:xfrm>
            <a:custGeom>
              <a:avLst/>
              <a:gdLst>
                <a:gd name="T0" fmla="*/ 112 w 128"/>
                <a:gd name="T1" fmla="*/ 16 h 120"/>
                <a:gd name="T2" fmla="*/ 88 w 128"/>
                <a:gd name="T3" fmla="*/ 16 h 120"/>
                <a:gd name="T4" fmla="*/ 88 w 128"/>
                <a:gd name="T5" fmla="*/ 8 h 120"/>
                <a:gd name="T6" fmla="*/ 80 w 128"/>
                <a:gd name="T7" fmla="*/ 0 h 120"/>
                <a:gd name="T8" fmla="*/ 48 w 128"/>
                <a:gd name="T9" fmla="*/ 0 h 120"/>
                <a:gd name="T10" fmla="*/ 40 w 128"/>
                <a:gd name="T11" fmla="*/ 8 h 120"/>
                <a:gd name="T12" fmla="*/ 40 w 128"/>
                <a:gd name="T13" fmla="*/ 16 h 120"/>
                <a:gd name="T14" fmla="*/ 16 w 128"/>
                <a:gd name="T15" fmla="*/ 16 h 120"/>
                <a:gd name="T16" fmla="*/ 0 w 128"/>
                <a:gd name="T17" fmla="*/ 32 h 120"/>
                <a:gd name="T18" fmla="*/ 0 w 128"/>
                <a:gd name="T19" fmla="*/ 104 h 120"/>
                <a:gd name="T20" fmla="*/ 16 w 128"/>
                <a:gd name="T21" fmla="*/ 120 h 120"/>
                <a:gd name="T22" fmla="*/ 112 w 128"/>
                <a:gd name="T23" fmla="*/ 120 h 120"/>
                <a:gd name="T24" fmla="*/ 128 w 128"/>
                <a:gd name="T25" fmla="*/ 104 h 120"/>
                <a:gd name="T26" fmla="*/ 128 w 128"/>
                <a:gd name="T27" fmla="*/ 32 h 120"/>
                <a:gd name="T28" fmla="*/ 112 w 128"/>
                <a:gd name="T29" fmla="*/ 16 h 120"/>
                <a:gd name="T30" fmla="*/ 48 w 128"/>
                <a:gd name="T31" fmla="*/ 12 h 120"/>
                <a:gd name="T32" fmla="*/ 52 w 128"/>
                <a:gd name="T33" fmla="*/ 8 h 120"/>
                <a:gd name="T34" fmla="*/ 76 w 128"/>
                <a:gd name="T35" fmla="*/ 8 h 120"/>
                <a:gd name="T36" fmla="*/ 80 w 128"/>
                <a:gd name="T37" fmla="*/ 12 h 120"/>
                <a:gd name="T38" fmla="*/ 80 w 128"/>
                <a:gd name="T39" fmla="*/ 16 h 120"/>
                <a:gd name="T40" fmla="*/ 48 w 128"/>
                <a:gd name="T41" fmla="*/ 16 h 120"/>
                <a:gd name="T42" fmla="*/ 48 w 128"/>
                <a:gd name="T43" fmla="*/ 12 h 120"/>
                <a:gd name="T44" fmla="*/ 120 w 128"/>
                <a:gd name="T45" fmla="*/ 104 h 120"/>
                <a:gd name="T46" fmla="*/ 112 w 128"/>
                <a:gd name="T47" fmla="*/ 112 h 120"/>
                <a:gd name="T48" fmla="*/ 16 w 128"/>
                <a:gd name="T49" fmla="*/ 112 h 120"/>
                <a:gd name="T50" fmla="*/ 8 w 128"/>
                <a:gd name="T51" fmla="*/ 104 h 120"/>
                <a:gd name="T52" fmla="*/ 8 w 128"/>
                <a:gd name="T53" fmla="*/ 60 h 120"/>
                <a:gd name="T54" fmla="*/ 49 w 128"/>
                <a:gd name="T55" fmla="*/ 60 h 120"/>
                <a:gd name="T56" fmla="*/ 48 w 128"/>
                <a:gd name="T57" fmla="*/ 64 h 120"/>
                <a:gd name="T58" fmla="*/ 64 w 128"/>
                <a:gd name="T59" fmla="*/ 80 h 120"/>
                <a:gd name="T60" fmla="*/ 80 w 128"/>
                <a:gd name="T61" fmla="*/ 64 h 120"/>
                <a:gd name="T62" fmla="*/ 79 w 128"/>
                <a:gd name="T63" fmla="*/ 60 h 120"/>
                <a:gd name="T64" fmla="*/ 120 w 128"/>
                <a:gd name="T65" fmla="*/ 60 h 120"/>
                <a:gd name="T66" fmla="*/ 120 w 128"/>
                <a:gd name="T67" fmla="*/ 104 h 120"/>
                <a:gd name="T68" fmla="*/ 56 w 128"/>
                <a:gd name="T69" fmla="*/ 64 h 120"/>
                <a:gd name="T70" fmla="*/ 57 w 128"/>
                <a:gd name="T71" fmla="*/ 60 h 120"/>
                <a:gd name="T72" fmla="*/ 71 w 128"/>
                <a:gd name="T73" fmla="*/ 60 h 120"/>
                <a:gd name="T74" fmla="*/ 72 w 128"/>
                <a:gd name="T75" fmla="*/ 64 h 120"/>
                <a:gd name="T76" fmla="*/ 64 w 128"/>
                <a:gd name="T77" fmla="*/ 72 h 120"/>
                <a:gd name="T78" fmla="*/ 56 w 128"/>
                <a:gd name="T79" fmla="*/ 64 h 120"/>
                <a:gd name="T80" fmla="*/ 120 w 128"/>
                <a:gd name="T81" fmla="*/ 52 h 120"/>
                <a:gd name="T82" fmla="*/ 8 w 128"/>
                <a:gd name="T83" fmla="*/ 52 h 120"/>
                <a:gd name="T84" fmla="*/ 8 w 128"/>
                <a:gd name="T85" fmla="*/ 32 h 120"/>
                <a:gd name="T86" fmla="*/ 16 w 128"/>
                <a:gd name="T87" fmla="*/ 24 h 120"/>
                <a:gd name="T88" fmla="*/ 112 w 128"/>
                <a:gd name="T89" fmla="*/ 24 h 120"/>
                <a:gd name="T90" fmla="*/ 120 w 128"/>
                <a:gd name="T91" fmla="*/ 32 h 120"/>
                <a:gd name="T92" fmla="*/ 120 w 128"/>
                <a:gd name="T93" fmla="*/ 52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8" h="120">
                  <a:moveTo>
                    <a:pt x="112" y="16"/>
                  </a:moveTo>
                  <a:cubicBezTo>
                    <a:pt x="88" y="16"/>
                    <a:pt x="88" y="16"/>
                    <a:pt x="88" y="16"/>
                  </a:cubicBezTo>
                  <a:cubicBezTo>
                    <a:pt x="88" y="8"/>
                    <a:pt x="88" y="8"/>
                    <a:pt x="88" y="8"/>
                  </a:cubicBezTo>
                  <a:cubicBezTo>
                    <a:pt x="88" y="4"/>
                    <a:pt x="84" y="0"/>
                    <a:pt x="80" y="0"/>
                  </a:cubicBezTo>
                  <a:cubicBezTo>
                    <a:pt x="48" y="0"/>
                    <a:pt x="48" y="0"/>
                    <a:pt x="48" y="0"/>
                  </a:cubicBezTo>
                  <a:cubicBezTo>
                    <a:pt x="44" y="0"/>
                    <a:pt x="40" y="4"/>
                    <a:pt x="40" y="8"/>
                  </a:cubicBezTo>
                  <a:cubicBezTo>
                    <a:pt x="40" y="16"/>
                    <a:pt x="40" y="16"/>
                    <a:pt x="40" y="16"/>
                  </a:cubicBezTo>
                  <a:cubicBezTo>
                    <a:pt x="16" y="16"/>
                    <a:pt x="16" y="16"/>
                    <a:pt x="16" y="16"/>
                  </a:cubicBezTo>
                  <a:cubicBezTo>
                    <a:pt x="7" y="16"/>
                    <a:pt x="0" y="23"/>
                    <a:pt x="0" y="32"/>
                  </a:cubicBezTo>
                  <a:cubicBezTo>
                    <a:pt x="0" y="104"/>
                    <a:pt x="0" y="104"/>
                    <a:pt x="0" y="104"/>
                  </a:cubicBezTo>
                  <a:cubicBezTo>
                    <a:pt x="0" y="113"/>
                    <a:pt x="7" y="120"/>
                    <a:pt x="16" y="120"/>
                  </a:cubicBezTo>
                  <a:cubicBezTo>
                    <a:pt x="112" y="120"/>
                    <a:pt x="112" y="120"/>
                    <a:pt x="112" y="120"/>
                  </a:cubicBezTo>
                  <a:cubicBezTo>
                    <a:pt x="121" y="120"/>
                    <a:pt x="128" y="113"/>
                    <a:pt x="128" y="104"/>
                  </a:cubicBezTo>
                  <a:cubicBezTo>
                    <a:pt x="128" y="32"/>
                    <a:pt x="128" y="32"/>
                    <a:pt x="128" y="32"/>
                  </a:cubicBezTo>
                  <a:cubicBezTo>
                    <a:pt x="128" y="23"/>
                    <a:pt x="121" y="16"/>
                    <a:pt x="112" y="16"/>
                  </a:cubicBezTo>
                  <a:close/>
                  <a:moveTo>
                    <a:pt x="48" y="12"/>
                  </a:moveTo>
                  <a:cubicBezTo>
                    <a:pt x="48" y="10"/>
                    <a:pt x="50" y="8"/>
                    <a:pt x="52" y="8"/>
                  </a:cubicBezTo>
                  <a:cubicBezTo>
                    <a:pt x="76" y="8"/>
                    <a:pt x="76" y="8"/>
                    <a:pt x="76" y="8"/>
                  </a:cubicBezTo>
                  <a:cubicBezTo>
                    <a:pt x="78" y="8"/>
                    <a:pt x="80" y="10"/>
                    <a:pt x="80" y="12"/>
                  </a:cubicBezTo>
                  <a:cubicBezTo>
                    <a:pt x="80" y="16"/>
                    <a:pt x="80" y="16"/>
                    <a:pt x="80" y="16"/>
                  </a:cubicBezTo>
                  <a:cubicBezTo>
                    <a:pt x="48" y="16"/>
                    <a:pt x="48" y="16"/>
                    <a:pt x="48" y="16"/>
                  </a:cubicBezTo>
                  <a:lnTo>
                    <a:pt x="48" y="12"/>
                  </a:lnTo>
                  <a:close/>
                  <a:moveTo>
                    <a:pt x="120" y="104"/>
                  </a:moveTo>
                  <a:cubicBezTo>
                    <a:pt x="120" y="108"/>
                    <a:pt x="116" y="112"/>
                    <a:pt x="112" y="112"/>
                  </a:cubicBezTo>
                  <a:cubicBezTo>
                    <a:pt x="16" y="112"/>
                    <a:pt x="16" y="112"/>
                    <a:pt x="16" y="112"/>
                  </a:cubicBezTo>
                  <a:cubicBezTo>
                    <a:pt x="12" y="112"/>
                    <a:pt x="8" y="108"/>
                    <a:pt x="8" y="104"/>
                  </a:cubicBezTo>
                  <a:cubicBezTo>
                    <a:pt x="8" y="60"/>
                    <a:pt x="8" y="60"/>
                    <a:pt x="8" y="60"/>
                  </a:cubicBezTo>
                  <a:cubicBezTo>
                    <a:pt x="49" y="60"/>
                    <a:pt x="49" y="60"/>
                    <a:pt x="49" y="60"/>
                  </a:cubicBezTo>
                  <a:cubicBezTo>
                    <a:pt x="48" y="61"/>
                    <a:pt x="48" y="63"/>
                    <a:pt x="48" y="64"/>
                  </a:cubicBezTo>
                  <a:cubicBezTo>
                    <a:pt x="48" y="73"/>
                    <a:pt x="55" y="80"/>
                    <a:pt x="64" y="80"/>
                  </a:cubicBezTo>
                  <a:cubicBezTo>
                    <a:pt x="73" y="80"/>
                    <a:pt x="80" y="73"/>
                    <a:pt x="80" y="64"/>
                  </a:cubicBezTo>
                  <a:cubicBezTo>
                    <a:pt x="80" y="63"/>
                    <a:pt x="80" y="61"/>
                    <a:pt x="79" y="60"/>
                  </a:cubicBezTo>
                  <a:cubicBezTo>
                    <a:pt x="120" y="60"/>
                    <a:pt x="120" y="60"/>
                    <a:pt x="120" y="60"/>
                  </a:cubicBezTo>
                  <a:lnTo>
                    <a:pt x="120" y="104"/>
                  </a:lnTo>
                  <a:close/>
                  <a:moveTo>
                    <a:pt x="56" y="64"/>
                  </a:moveTo>
                  <a:cubicBezTo>
                    <a:pt x="56" y="63"/>
                    <a:pt x="56" y="61"/>
                    <a:pt x="57" y="60"/>
                  </a:cubicBezTo>
                  <a:cubicBezTo>
                    <a:pt x="71" y="60"/>
                    <a:pt x="71" y="60"/>
                    <a:pt x="71" y="60"/>
                  </a:cubicBezTo>
                  <a:cubicBezTo>
                    <a:pt x="72" y="61"/>
                    <a:pt x="72" y="63"/>
                    <a:pt x="72" y="64"/>
                  </a:cubicBezTo>
                  <a:cubicBezTo>
                    <a:pt x="72" y="68"/>
                    <a:pt x="68" y="72"/>
                    <a:pt x="64" y="72"/>
                  </a:cubicBezTo>
                  <a:cubicBezTo>
                    <a:pt x="60" y="72"/>
                    <a:pt x="56" y="68"/>
                    <a:pt x="56" y="64"/>
                  </a:cubicBezTo>
                  <a:close/>
                  <a:moveTo>
                    <a:pt x="120" y="52"/>
                  </a:moveTo>
                  <a:cubicBezTo>
                    <a:pt x="8" y="52"/>
                    <a:pt x="8" y="52"/>
                    <a:pt x="8" y="52"/>
                  </a:cubicBezTo>
                  <a:cubicBezTo>
                    <a:pt x="8" y="32"/>
                    <a:pt x="8" y="32"/>
                    <a:pt x="8" y="32"/>
                  </a:cubicBezTo>
                  <a:cubicBezTo>
                    <a:pt x="8" y="28"/>
                    <a:pt x="12" y="24"/>
                    <a:pt x="16" y="24"/>
                  </a:cubicBezTo>
                  <a:cubicBezTo>
                    <a:pt x="112" y="24"/>
                    <a:pt x="112" y="24"/>
                    <a:pt x="112" y="24"/>
                  </a:cubicBezTo>
                  <a:cubicBezTo>
                    <a:pt x="116" y="24"/>
                    <a:pt x="120" y="28"/>
                    <a:pt x="120" y="32"/>
                  </a:cubicBezTo>
                  <a:lnTo>
                    <a:pt x="120"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armonyOS Sans SC"/>
                <a:cs typeface="+mn-cs"/>
              </a:endParaRPr>
            </a:p>
          </p:txBody>
        </p:sp>
        <p:sp>
          <p:nvSpPr>
            <p:cNvPr id="38" name="Rectangle 81">
              <a:extLst>
                <a:ext uri="{FF2B5EF4-FFF2-40B4-BE49-F238E27FC236}">
                  <a16:creationId xmlns:a16="http://schemas.microsoft.com/office/drawing/2014/main" id="{96610DD7-7F76-4872-BFEC-331FEED16B70}"/>
                </a:ext>
              </a:extLst>
            </p:cNvPr>
            <p:cNvSpPr/>
            <p:nvPr/>
          </p:nvSpPr>
          <p:spPr>
            <a:xfrm>
              <a:off x="3866197" y="2936527"/>
              <a:ext cx="2224677" cy="2491377"/>
            </a:xfrm>
            <a:custGeom>
              <a:avLst/>
              <a:gdLst>
                <a:gd name="connsiteX0" fmla="*/ 0 w 1988457"/>
                <a:gd name="connsiteY0" fmla="*/ 0 h 1988457"/>
                <a:gd name="connsiteX1" fmla="*/ 1988457 w 1988457"/>
                <a:gd name="connsiteY1" fmla="*/ 0 h 1988457"/>
                <a:gd name="connsiteX2" fmla="*/ 1988457 w 1988457"/>
                <a:gd name="connsiteY2" fmla="*/ 1988457 h 1988457"/>
                <a:gd name="connsiteX3" fmla="*/ 0 w 1988457"/>
                <a:gd name="connsiteY3" fmla="*/ 1988457 h 1988457"/>
                <a:gd name="connsiteX4" fmla="*/ 0 w 1988457"/>
                <a:gd name="connsiteY4" fmla="*/ 0 h 1988457"/>
                <a:gd name="connsiteX0" fmla="*/ 0 w 2163717"/>
                <a:gd name="connsiteY0" fmla="*/ 342900 h 2331357"/>
                <a:gd name="connsiteX1" fmla="*/ 2163717 w 2163717"/>
                <a:gd name="connsiteY1" fmla="*/ 0 h 2331357"/>
                <a:gd name="connsiteX2" fmla="*/ 1988457 w 2163717"/>
                <a:gd name="connsiteY2" fmla="*/ 2331357 h 2331357"/>
                <a:gd name="connsiteX3" fmla="*/ 0 w 2163717"/>
                <a:gd name="connsiteY3" fmla="*/ 2331357 h 2331357"/>
                <a:gd name="connsiteX4" fmla="*/ 0 w 2163717"/>
                <a:gd name="connsiteY4" fmla="*/ 342900 h 2331357"/>
                <a:gd name="connsiteX0" fmla="*/ 0 w 2224677"/>
                <a:gd name="connsiteY0" fmla="*/ 342900 h 2331357"/>
                <a:gd name="connsiteX1" fmla="*/ 2163717 w 2224677"/>
                <a:gd name="connsiteY1" fmla="*/ 0 h 2331357"/>
                <a:gd name="connsiteX2" fmla="*/ 2224677 w 2224677"/>
                <a:gd name="connsiteY2" fmla="*/ 2140857 h 2331357"/>
                <a:gd name="connsiteX3" fmla="*/ 0 w 2224677"/>
                <a:gd name="connsiteY3" fmla="*/ 2331357 h 2331357"/>
                <a:gd name="connsiteX4" fmla="*/ 0 w 2224677"/>
                <a:gd name="connsiteY4" fmla="*/ 342900 h 2331357"/>
                <a:gd name="connsiteX0" fmla="*/ 0 w 2224677"/>
                <a:gd name="connsiteY0" fmla="*/ 342900 h 2491377"/>
                <a:gd name="connsiteX1" fmla="*/ 2163717 w 2224677"/>
                <a:gd name="connsiteY1" fmla="*/ 0 h 2491377"/>
                <a:gd name="connsiteX2" fmla="*/ 2224677 w 2224677"/>
                <a:gd name="connsiteY2" fmla="*/ 2140857 h 2491377"/>
                <a:gd name="connsiteX3" fmla="*/ 7620 w 2224677"/>
                <a:gd name="connsiteY3" fmla="*/ 2491377 h 2491377"/>
                <a:gd name="connsiteX4" fmla="*/ 0 w 2224677"/>
                <a:gd name="connsiteY4" fmla="*/ 342900 h 2491377"/>
                <a:gd name="connsiteX0" fmla="*/ 91440 w 2217057"/>
                <a:gd name="connsiteY0" fmla="*/ 502920 h 2491377"/>
                <a:gd name="connsiteX1" fmla="*/ 2156097 w 2217057"/>
                <a:gd name="connsiteY1" fmla="*/ 0 h 2491377"/>
                <a:gd name="connsiteX2" fmla="*/ 2217057 w 2217057"/>
                <a:gd name="connsiteY2" fmla="*/ 2140857 h 2491377"/>
                <a:gd name="connsiteX3" fmla="*/ 0 w 2217057"/>
                <a:gd name="connsiteY3" fmla="*/ 2491377 h 2491377"/>
                <a:gd name="connsiteX4" fmla="*/ 91440 w 2217057"/>
                <a:gd name="connsiteY4" fmla="*/ 502920 h 2491377"/>
                <a:gd name="connsiteX0" fmla="*/ 7620 w 2217057"/>
                <a:gd name="connsiteY0" fmla="*/ 320040 h 2491377"/>
                <a:gd name="connsiteX1" fmla="*/ 2156097 w 2217057"/>
                <a:gd name="connsiteY1" fmla="*/ 0 h 2491377"/>
                <a:gd name="connsiteX2" fmla="*/ 2217057 w 2217057"/>
                <a:gd name="connsiteY2" fmla="*/ 2140857 h 2491377"/>
                <a:gd name="connsiteX3" fmla="*/ 0 w 2217057"/>
                <a:gd name="connsiteY3" fmla="*/ 2491377 h 2491377"/>
                <a:gd name="connsiteX4" fmla="*/ 7620 w 2217057"/>
                <a:gd name="connsiteY4" fmla="*/ 320040 h 2491377"/>
                <a:gd name="connsiteX0" fmla="*/ 0 w 2224677"/>
                <a:gd name="connsiteY0" fmla="*/ 320040 h 2491377"/>
                <a:gd name="connsiteX1" fmla="*/ 2163717 w 2224677"/>
                <a:gd name="connsiteY1" fmla="*/ 0 h 2491377"/>
                <a:gd name="connsiteX2" fmla="*/ 2224677 w 2224677"/>
                <a:gd name="connsiteY2" fmla="*/ 2140857 h 2491377"/>
                <a:gd name="connsiteX3" fmla="*/ 7620 w 2224677"/>
                <a:gd name="connsiteY3" fmla="*/ 2491377 h 2491377"/>
                <a:gd name="connsiteX4" fmla="*/ 0 w 2224677"/>
                <a:gd name="connsiteY4" fmla="*/ 320040 h 2491377"/>
                <a:gd name="connsiteX0" fmla="*/ 0 w 2224677"/>
                <a:gd name="connsiteY0" fmla="*/ 320040 h 2491377"/>
                <a:gd name="connsiteX1" fmla="*/ 2163717 w 2224677"/>
                <a:gd name="connsiteY1" fmla="*/ 0 h 2491377"/>
                <a:gd name="connsiteX2" fmla="*/ 2224677 w 2224677"/>
                <a:gd name="connsiteY2" fmla="*/ 2133237 h 2491377"/>
                <a:gd name="connsiteX3" fmla="*/ 7620 w 2224677"/>
                <a:gd name="connsiteY3" fmla="*/ 2491377 h 2491377"/>
                <a:gd name="connsiteX4" fmla="*/ 0 w 2224677"/>
                <a:gd name="connsiteY4" fmla="*/ 320040 h 2491377"/>
                <a:gd name="connsiteX0" fmla="*/ 0 w 2224677"/>
                <a:gd name="connsiteY0" fmla="*/ 320040 h 2491377"/>
                <a:gd name="connsiteX1" fmla="*/ 2163717 w 2224677"/>
                <a:gd name="connsiteY1" fmla="*/ 0 h 2491377"/>
                <a:gd name="connsiteX2" fmla="*/ 2224677 w 2224677"/>
                <a:gd name="connsiteY2" fmla="*/ 2125617 h 2491377"/>
                <a:gd name="connsiteX3" fmla="*/ 7620 w 2224677"/>
                <a:gd name="connsiteY3" fmla="*/ 2491377 h 2491377"/>
                <a:gd name="connsiteX4" fmla="*/ 0 w 2224677"/>
                <a:gd name="connsiteY4" fmla="*/ 320040 h 24913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4677" h="2491377">
                  <a:moveTo>
                    <a:pt x="0" y="320040"/>
                  </a:moveTo>
                  <a:lnTo>
                    <a:pt x="2163717" y="0"/>
                  </a:lnTo>
                  <a:lnTo>
                    <a:pt x="2224677" y="2125617"/>
                  </a:lnTo>
                  <a:lnTo>
                    <a:pt x="7620" y="2491377"/>
                  </a:lnTo>
                  <a:lnTo>
                    <a:pt x="0" y="320040"/>
                  </a:lnTo>
                  <a:close/>
                </a:path>
              </a:pathLst>
            </a:custGeom>
            <a:solidFill>
              <a:schemeClr val="bg1"/>
            </a:solidFill>
            <a:ln>
              <a:noFill/>
            </a:ln>
            <a:effectLst>
              <a:outerShdw blurRad="203200" dist="114300" dir="2700000" algn="tl" rotWithShape="0">
                <a:schemeClr val="accent1">
                  <a:lumMod val="60000"/>
                  <a:lumOff val="40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Lato"/>
                <a:ea typeface="+mn-ea"/>
                <a:cs typeface="+mn-cs"/>
              </a:endParaRPr>
            </a:p>
          </p:txBody>
        </p:sp>
        <p:sp>
          <p:nvSpPr>
            <p:cNvPr id="40" name="Freeform 9">
              <a:extLst>
                <a:ext uri="{FF2B5EF4-FFF2-40B4-BE49-F238E27FC236}">
                  <a16:creationId xmlns:a16="http://schemas.microsoft.com/office/drawing/2014/main" id="{B986C110-3C83-40AD-BC5E-670309F2761D}"/>
                </a:ext>
              </a:extLst>
            </p:cNvPr>
            <p:cNvSpPr>
              <a:spLocks/>
            </p:cNvSpPr>
            <p:nvPr/>
          </p:nvSpPr>
          <p:spPr bwMode="auto">
            <a:xfrm>
              <a:off x="5999397" y="1784274"/>
              <a:ext cx="196922" cy="1218124"/>
            </a:xfrm>
            <a:custGeom>
              <a:avLst/>
              <a:gdLst>
                <a:gd name="T0" fmla="*/ 54 w 82"/>
                <a:gd name="T1" fmla="*/ 575 h 628"/>
                <a:gd name="T2" fmla="*/ 54 w 82"/>
                <a:gd name="T3" fmla="*/ 0 h 628"/>
                <a:gd name="T4" fmla="*/ 0 w 82"/>
                <a:gd name="T5" fmla="*/ 11 h 628"/>
                <a:gd name="T6" fmla="*/ 0 w 82"/>
                <a:gd name="T7" fmla="*/ 628 h 628"/>
                <a:gd name="T8" fmla="*/ 54 w 82"/>
                <a:gd name="T9" fmla="*/ 617 h 628"/>
                <a:gd name="T10" fmla="*/ 54 w 82"/>
                <a:gd name="T11" fmla="*/ 617 h 628"/>
                <a:gd name="T12" fmla="*/ 80 w 82"/>
                <a:gd name="T13" fmla="*/ 587 h 628"/>
                <a:gd name="T14" fmla="*/ 54 w 82"/>
                <a:gd name="T15" fmla="*/ 575 h 6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 h="628">
                  <a:moveTo>
                    <a:pt x="54" y="575"/>
                  </a:moveTo>
                  <a:cubicBezTo>
                    <a:pt x="54" y="0"/>
                    <a:pt x="54" y="0"/>
                    <a:pt x="54" y="0"/>
                  </a:cubicBezTo>
                  <a:cubicBezTo>
                    <a:pt x="0" y="11"/>
                    <a:pt x="0" y="11"/>
                    <a:pt x="0" y="11"/>
                  </a:cubicBezTo>
                  <a:cubicBezTo>
                    <a:pt x="0" y="628"/>
                    <a:pt x="0" y="628"/>
                    <a:pt x="0" y="628"/>
                  </a:cubicBezTo>
                  <a:cubicBezTo>
                    <a:pt x="54" y="617"/>
                    <a:pt x="54" y="617"/>
                    <a:pt x="54" y="617"/>
                  </a:cubicBezTo>
                  <a:cubicBezTo>
                    <a:pt x="54" y="617"/>
                    <a:pt x="54" y="617"/>
                    <a:pt x="54" y="617"/>
                  </a:cubicBezTo>
                  <a:cubicBezTo>
                    <a:pt x="54" y="617"/>
                    <a:pt x="82" y="613"/>
                    <a:pt x="80" y="587"/>
                  </a:cubicBezTo>
                  <a:cubicBezTo>
                    <a:pt x="79" y="568"/>
                    <a:pt x="54" y="575"/>
                    <a:pt x="54" y="575"/>
                  </a:cubicBez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HarmonyOS Sans SC"/>
                <a:cs typeface="+mn-cs"/>
              </a:endParaRPr>
            </a:p>
          </p:txBody>
        </p:sp>
        <p:sp>
          <p:nvSpPr>
            <p:cNvPr id="41" name="Freeform 10">
              <a:extLst>
                <a:ext uri="{FF2B5EF4-FFF2-40B4-BE49-F238E27FC236}">
                  <a16:creationId xmlns:a16="http://schemas.microsoft.com/office/drawing/2014/main" id="{3BA336E4-189F-463C-A398-7C77D9EC5F8C}"/>
                </a:ext>
              </a:extLst>
            </p:cNvPr>
            <p:cNvSpPr>
              <a:spLocks/>
            </p:cNvSpPr>
            <p:nvPr/>
          </p:nvSpPr>
          <p:spPr bwMode="auto">
            <a:xfrm>
              <a:off x="3836965" y="1698170"/>
              <a:ext cx="2355639" cy="1576218"/>
            </a:xfrm>
            <a:custGeom>
              <a:avLst/>
              <a:gdLst>
                <a:gd name="T0" fmla="*/ 954 w 980"/>
                <a:gd name="T1" fmla="*/ 7 h 813"/>
                <a:gd name="T2" fmla="*/ 954 w 980"/>
                <a:gd name="T3" fmla="*/ 7 h 813"/>
                <a:gd name="T4" fmla="*/ 0 w 980"/>
                <a:gd name="T5" fmla="*/ 196 h 813"/>
                <a:gd name="T6" fmla="*/ 0 w 980"/>
                <a:gd name="T7" fmla="*/ 813 h 813"/>
                <a:gd name="T8" fmla="*/ 954 w 980"/>
                <a:gd name="T9" fmla="*/ 624 h 813"/>
                <a:gd name="T10" fmla="*/ 980 w 980"/>
                <a:gd name="T11" fmla="*/ 636 h 813"/>
                <a:gd name="T12" fmla="*/ 980 w 980"/>
                <a:gd name="T13" fmla="*/ 18 h 813"/>
                <a:gd name="T14" fmla="*/ 954 w 980"/>
                <a:gd name="T15" fmla="*/ 7 h 8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80" h="813">
                  <a:moveTo>
                    <a:pt x="954" y="7"/>
                  </a:moveTo>
                  <a:cubicBezTo>
                    <a:pt x="954" y="7"/>
                    <a:pt x="954" y="7"/>
                    <a:pt x="954" y="7"/>
                  </a:cubicBezTo>
                  <a:cubicBezTo>
                    <a:pt x="0" y="196"/>
                    <a:pt x="0" y="196"/>
                    <a:pt x="0" y="196"/>
                  </a:cubicBezTo>
                  <a:cubicBezTo>
                    <a:pt x="0" y="813"/>
                    <a:pt x="0" y="813"/>
                    <a:pt x="0" y="813"/>
                  </a:cubicBezTo>
                  <a:cubicBezTo>
                    <a:pt x="954" y="624"/>
                    <a:pt x="954" y="624"/>
                    <a:pt x="954" y="624"/>
                  </a:cubicBezTo>
                  <a:cubicBezTo>
                    <a:pt x="954" y="624"/>
                    <a:pt x="979" y="617"/>
                    <a:pt x="980" y="636"/>
                  </a:cubicBezTo>
                  <a:cubicBezTo>
                    <a:pt x="980" y="18"/>
                    <a:pt x="980" y="18"/>
                    <a:pt x="980" y="18"/>
                  </a:cubicBezTo>
                  <a:cubicBezTo>
                    <a:pt x="979" y="0"/>
                    <a:pt x="954" y="7"/>
                    <a:pt x="954" y="7"/>
                  </a:cubicBezTo>
                  <a:close/>
                </a:path>
              </a:pathLst>
            </a:custGeom>
            <a:gradFill flip="none" rotWithShape="1">
              <a:gsLst>
                <a:gs pos="69000">
                  <a:schemeClr val="accent1">
                    <a:lumMod val="60000"/>
                    <a:lumOff val="40000"/>
                  </a:schemeClr>
                </a:gs>
                <a:gs pos="32000">
                  <a:schemeClr val="accent1"/>
                </a:gs>
                <a:gs pos="100000">
                  <a:schemeClr val="accent1">
                    <a:lumMod val="40000"/>
                    <a:lumOff val="60000"/>
                  </a:schemeClr>
                </a:gs>
              </a:gsLst>
              <a:path path="circle">
                <a:fillToRect l="100000" t="100000"/>
              </a:path>
              <a:tileRect r="-100000" b="-100000"/>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HarmonyOS Sans SC"/>
                <a:cs typeface="+mn-cs"/>
              </a:endParaRPr>
            </a:p>
          </p:txBody>
        </p:sp>
        <p:grpSp>
          <p:nvGrpSpPr>
            <p:cNvPr id="42" name="Group 41">
              <a:extLst>
                <a:ext uri="{FF2B5EF4-FFF2-40B4-BE49-F238E27FC236}">
                  <a16:creationId xmlns:a16="http://schemas.microsoft.com/office/drawing/2014/main" id="{29FB78A0-2FA2-4E6C-BF6D-AA5A7D0A2462}"/>
                </a:ext>
              </a:extLst>
            </p:cNvPr>
            <p:cNvGrpSpPr/>
            <p:nvPr/>
          </p:nvGrpSpPr>
          <p:grpSpPr>
            <a:xfrm>
              <a:off x="5999397" y="5139779"/>
              <a:ext cx="196922" cy="590334"/>
              <a:chOff x="3993076" y="6203320"/>
              <a:chExt cx="182504" cy="678367"/>
            </a:xfrm>
            <a:solidFill>
              <a:schemeClr val="accent1">
                <a:lumMod val="75000"/>
              </a:schemeClr>
            </a:solidFill>
          </p:grpSpPr>
          <p:sp>
            <p:nvSpPr>
              <p:cNvPr id="46" name="Freeform 15">
                <a:extLst>
                  <a:ext uri="{FF2B5EF4-FFF2-40B4-BE49-F238E27FC236}">
                    <a16:creationId xmlns:a16="http://schemas.microsoft.com/office/drawing/2014/main" id="{AA735F68-81E3-4756-B298-424D3293B82D}"/>
                  </a:ext>
                </a:extLst>
              </p:cNvPr>
              <p:cNvSpPr>
                <a:spLocks/>
              </p:cNvSpPr>
              <p:nvPr/>
            </p:nvSpPr>
            <p:spPr bwMode="auto">
              <a:xfrm>
                <a:off x="3993076" y="6203320"/>
                <a:ext cx="182504" cy="294418"/>
              </a:xfrm>
              <a:custGeom>
                <a:avLst/>
                <a:gdLst>
                  <a:gd name="T0" fmla="*/ 54 w 82"/>
                  <a:gd name="T1" fmla="*/ 79 h 132"/>
                  <a:gd name="T2" fmla="*/ 54 w 82"/>
                  <a:gd name="T3" fmla="*/ 0 h 132"/>
                  <a:gd name="T4" fmla="*/ 0 w 82"/>
                  <a:gd name="T5" fmla="*/ 11 h 132"/>
                  <a:gd name="T6" fmla="*/ 0 w 82"/>
                  <a:gd name="T7" fmla="*/ 132 h 132"/>
                  <a:gd name="T8" fmla="*/ 54 w 82"/>
                  <a:gd name="T9" fmla="*/ 121 h 132"/>
                  <a:gd name="T10" fmla="*/ 54 w 82"/>
                  <a:gd name="T11" fmla="*/ 121 h 132"/>
                  <a:gd name="T12" fmla="*/ 80 w 82"/>
                  <a:gd name="T13" fmla="*/ 91 h 132"/>
                  <a:gd name="T14" fmla="*/ 54 w 82"/>
                  <a:gd name="T15" fmla="*/ 79 h 1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 h="132">
                    <a:moveTo>
                      <a:pt x="54" y="79"/>
                    </a:moveTo>
                    <a:cubicBezTo>
                      <a:pt x="54" y="0"/>
                      <a:pt x="54" y="0"/>
                      <a:pt x="54" y="0"/>
                    </a:cubicBezTo>
                    <a:cubicBezTo>
                      <a:pt x="0" y="11"/>
                      <a:pt x="0" y="11"/>
                      <a:pt x="0" y="11"/>
                    </a:cubicBezTo>
                    <a:cubicBezTo>
                      <a:pt x="0" y="132"/>
                      <a:pt x="0" y="132"/>
                      <a:pt x="0" y="132"/>
                    </a:cubicBezTo>
                    <a:cubicBezTo>
                      <a:pt x="54" y="121"/>
                      <a:pt x="54" y="121"/>
                      <a:pt x="54" y="121"/>
                    </a:cubicBezTo>
                    <a:cubicBezTo>
                      <a:pt x="54" y="121"/>
                      <a:pt x="54" y="121"/>
                      <a:pt x="54" y="121"/>
                    </a:cubicBezTo>
                    <a:cubicBezTo>
                      <a:pt x="54" y="121"/>
                      <a:pt x="82" y="117"/>
                      <a:pt x="80" y="91"/>
                    </a:cubicBezTo>
                    <a:cubicBezTo>
                      <a:pt x="79" y="72"/>
                      <a:pt x="54" y="79"/>
                      <a:pt x="54" y="79"/>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HarmonyOS Sans SC"/>
                  <a:cs typeface="Posterama" panose="020B0502040204020203" pitchFamily="34" charset="0"/>
                </a:endParaRPr>
              </a:p>
            </p:txBody>
          </p:sp>
          <p:sp>
            <p:nvSpPr>
              <p:cNvPr id="47" name="Freeform 21">
                <a:extLst>
                  <a:ext uri="{FF2B5EF4-FFF2-40B4-BE49-F238E27FC236}">
                    <a16:creationId xmlns:a16="http://schemas.microsoft.com/office/drawing/2014/main" id="{0A075954-1936-470F-9EDB-E56B36B758E3}"/>
                  </a:ext>
                </a:extLst>
              </p:cNvPr>
              <p:cNvSpPr>
                <a:spLocks/>
              </p:cNvSpPr>
              <p:nvPr/>
            </p:nvSpPr>
            <p:spPr bwMode="auto">
              <a:xfrm>
                <a:off x="3993076" y="6587269"/>
                <a:ext cx="182504" cy="294418"/>
              </a:xfrm>
              <a:custGeom>
                <a:avLst/>
                <a:gdLst>
                  <a:gd name="T0" fmla="*/ 54 w 82"/>
                  <a:gd name="T1" fmla="*/ 79 h 132"/>
                  <a:gd name="T2" fmla="*/ 54 w 82"/>
                  <a:gd name="T3" fmla="*/ 0 h 132"/>
                  <a:gd name="T4" fmla="*/ 0 w 82"/>
                  <a:gd name="T5" fmla="*/ 11 h 132"/>
                  <a:gd name="T6" fmla="*/ 0 w 82"/>
                  <a:gd name="T7" fmla="*/ 132 h 132"/>
                  <a:gd name="T8" fmla="*/ 54 w 82"/>
                  <a:gd name="T9" fmla="*/ 121 h 132"/>
                  <a:gd name="T10" fmla="*/ 54 w 82"/>
                  <a:gd name="T11" fmla="*/ 121 h 132"/>
                  <a:gd name="T12" fmla="*/ 80 w 82"/>
                  <a:gd name="T13" fmla="*/ 91 h 132"/>
                  <a:gd name="T14" fmla="*/ 54 w 82"/>
                  <a:gd name="T15" fmla="*/ 79 h 1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 h="132">
                    <a:moveTo>
                      <a:pt x="54" y="79"/>
                    </a:moveTo>
                    <a:cubicBezTo>
                      <a:pt x="54" y="0"/>
                      <a:pt x="54" y="0"/>
                      <a:pt x="54" y="0"/>
                    </a:cubicBezTo>
                    <a:cubicBezTo>
                      <a:pt x="0" y="11"/>
                      <a:pt x="0" y="11"/>
                      <a:pt x="0" y="11"/>
                    </a:cubicBezTo>
                    <a:cubicBezTo>
                      <a:pt x="0" y="132"/>
                      <a:pt x="0" y="132"/>
                      <a:pt x="0" y="132"/>
                    </a:cubicBezTo>
                    <a:cubicBezTo>
                      <a:pt x="54" y="121"/>
                      <a:pt x="54" y="121"/>
                      <a:pt x="54" y="121"/>
                    </a:cubicBezTo>
                    <a:cubicBezTo>
                      <a:pt x="54" y="121"/>
                      <a:pt x="54" y="121"/>
                      <a:pt x="54" y="121"/>
                    </a:cubicBezTo>
                    <a:cubicBezTo>
                      <a:pt x="54" y="121"/>
                      <a:pt x="82" y="117"/>
                      <a:pt x="80" y="91"/>
                    </a:cubicBezTo>
                    <a:cubicBezTo>
                      <a:pt x="79" y="72"/>
                      <a:pt x="54" y="79"/>
                      <a:pt x="54" y="79"/>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HarmonyOS Sans SC"/>
                  <a:cs typeface="Posterama" panose="020B0502040204020203" pitchFamily="34" charset="0"/>
                </a:endParaRPr>
              </a:p>
            </p:txBody>
          </p:sp>
        </p:grpSp>
        <p:sp>
          <p:nvSpPr>
            <p:cNvPr id="44" name="Freeform 16">
              <a:extLst>
                <a:ext uri="{FF2B5EF4-FFF2-40B4-BE49-F238E27FC236}">
                  <a16:creationId xmlns:a16="http://schemas.microsoft.com/office/drawing/2014/main" id="{642A240F-6C6A-49CE-BBEE-A1ED71E65E79}"/>
                </a:ext>
              </a:extLst>
            </p:cNvPr>
            <p:cNvSpPr>
              <a:spLocks/>
            </p:cNvSpPr>
            <p:nvPr/>
          </p:nvSpPr>
          <p:spPr bwMode="auto">
            <a:xfrm>
              <a:off x="3836965" y="5045386"/>
              <a:ext cx="2355639" cy="614305"/>
            </a:xfrm>
            <a:custGeom>
              <a:avLst/>
              <a:gdLst>
                <a:gd name="T0" fmla="*/ 954 w 980"/>
                <a:gd name="T1" fmla="*/ 7 h 317"/>
                <a:gd name="T2" fmla="*/ 954 w 980"/>
                <a:gd name="T3" fmla="*/ 7 h 317"/>
                <a:gd name="T4" fmla="*/ 0 w 980"/>
                <a:gd name="T5" fmla="*/ 196 h 317"/>
                <a:gd name="T6" fmla="*/ 0 w 980"/>
                <a:gd name="T7" fmla="*/ 317 h 317"/>
                <a:gd name="T8" fmla="*/ 954 w 980"/>
                <a:gd name="T9" fmla="*/ 128 h 317"/>
                <a:gd name="T10" fmla="*/ 980 w 980"/>
                <a:gd name="T11" fmla="*/ 140 h 317"/>
                <a:gd name="T12" fmla="*/ 980 w 980"/>
                <a:gd name="T13" fmla="*/ 18 h 317"/>
                <a:gd name="T14" fmla="*/ 954 w 980"/>
                <a:gd name="T15" fmla="*/ 7 h 3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80" h="317">
                  <a:moveTo>
                    <a:pt x="954" y="7"/>
                  </a:moveTo>
                  <a:cubicBezTo>
                    <a:pt x="954" y="7"/>
                    <a:pt x="954" y="7"/>
                    <a:pt x="954" y="7"/>
                  </a:cubicBezTo>
                  <a:cubicBezTo>
                    <a:pt x="0" y="196"/>
                    <a:pt x="0" y="196"/>
                    <a:pt x="0" y="196"/>
                  </a:cubicBezTo>
                  <a:cubicBezTo>
                    <a:pt x="0" y="317"/>
                    <a:pt x="0" y="317"/>
                    <a:pt x="0" y="317"/>
                  </a:cubicBezTo>
                  <a:cubicBezTo>
                    <a:pt x="954" y="128"/>
                    <a:pt x="954" y="128"/>
                    <a:pt x="954" y="128"/>
                  </a:cubicBezTo>
                  <a:cubicBezTo>
                    <a:pt x="954" y="128"/>
                    <a:pt x="979" y="121"/>
                    <a:pt x="980" y="140"/>
                  </a:cubicBezTo>
                  <a:cubicBezTo>
                    <a:pt x="980" y="18"/>
                    <a:pt x="980" y="18"/>
                    <a:pt x="980" y="18"/>
                  </a:cubicBezTo>
                  <a:cubicBezTo>
                    <a:pt x="979" y="0"/>
                    <a:pt x="954" y="7"/>
                    <a:pt x="954" y="7"/>
                  </a:cubicBezTo>
                  <a:close/>
                </a:path>
              </a:pathLst>
            </a:custGeom>
            <a:gradFill flip="none" rotWithShape="1">
              <a:gsLst>
                <a:gs pos="69000">
                  <a:schemeClr val="accent1">
                    <a:lumMod val="60000"/>
                    <a:lumOff val="40000"/>
                  </a:schemeClr>
                </a:gs>
                <a:gs pos="32000">
                  <a:schemeClr val="accent1"/>
                </a:gs>
                <a:gs pos="100000">
                  <a:schemeClr val="accent1">
                    <a:lumMod val="40000"/>
                    <a:lumOff val="60000"/>
                  </a:schemeClr>
                </a:gs>
              </a:gsLst>
              <a:path path="circle">
                <a:fillToRect l="100000" t="100000"/>
              </a:path>
              <a:tileRect r="-100000" b="-100000"/>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HarmonyOS Sans SC"/>
                <a:cs typeface="Posterama" panose="020B0502040204020203" pitchFamily="34" charset="0"/>
              </a:endParaRPr>
            </a:p>
          </p:txBody>
        </p:sp>
        <p:sp>
          <p:nvSpPr>
            <p:cNvPr id="45" name="Freeform 22">
              <a:extLst>
                <a:ext uri="{FF2B5EF4-FFF2-40B4-BE49-F238E27FC236}">
                  <a16:creationId xmlns:a16="http://schemas.microsoft.com/office/drawing/2014/main" id="{372CF0DC-266F-4B4A-925A-AC118931CCF9}"/>
                </a:ext>
              </a:extLst>
            </p:cNvPr>
            <p:cNvSpPr>
              <a:spLocks/>
            </p:cNvSpPr>
            <p:nvPr/>
          </p:nvSpPr>
          <p:spPr bwMode="auto">
            <a:xfrm>
              <a:off x="3836965" y="5379508"/>
              <a:ext cx="2355639" cy="614305"/>
            </a:xfrm>
            <a:custGeom>
              <a:avLst/>
              <a:gdLst>
                <a:gd name="T0" fmla="*/ 954 w 980"/>
                <a:gd name="T1" fmla="*/ 7 h 317"/>
                <a:gd name="T2" fmla="*/ 954 w 980"/>
                <a:gd name="T3" fmla="*/ 7 h 317"/>
                <a:gd name="T4" fmla="*/ 0 w 980"/>
                <a:gd name="T5" fmla="*/ 196 h 317"/>
                <a:gd name="T6" fmla="*/ 0 w 980"/>
                <a:gd name="T7" fmla="*/ 317 h 317"/>
                <a:gd name="T8" fmla="*/ 954 w 980"/>
                <a:gd name="T9" fmla="*/ 128 h 317"/>
                <a:gd name="T10" fmla="*/ 980 w 980"/>
                <a:gd name="T11" fmla="*/ 140 h 317"/>
                <a:gd name="T12" fmla="*/ 980 w 980"/>
                <a:gd name="T13" fmla="*/ 18 h 317"/>
                <a:gd name="T14" fmla="*/ 954 w 980"/>
                <a:gd name="T15" fmla="*/ 7 h 3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80" h="317">
                  <a:moveTo>
                    <a:pt x="954" y="7"/>
                  </a:moveTo>
                  <a:cubicBezTo>
                    <a:pt x="954" y="7"/>
                    <a:pt x="954" y="7"/>
                    <a:pt x="954" y="7"/>
                  </a:cubicBezTo>
                  <a:cubicBezTo>
                    <a:pt x="0" y="196"/>
                    <a:pt x="0" y="196"/>
                    <a:pt x="0" y="196"/>
                  </a:cubicBezTo>
                  <a:cubicBezTo>
                    <a:pt x="0" y="317"/>
                    <a:pt x="0" y="317"/>
                    <a:pt x="0" y="317"/>
                  </a:cubicBezTo>
                  <a:cubicBezTo>
                    <a:pt x="954" y="128"/>
                    <a:pt x="954" y="128"/>
                    <a:pt x="954" y="128"/>
                  </a:cubicBezTo>
                  <a:cubicBezTo>
                    <a:pt x="954" y="128"/>
                    <a:pt x="979" y="121"/>
                    <a:pt x="980" y="140"/>
                  </a:cubicBezTo>
                  <a:cubicBezTo>
                    <a:pt x="980" y="18"/>
                    <a:pt x="980" y="18"/>
                    <a:pt x="980" y="18"/>
                  </a:cubicBezTo>
                  <a:cubicBezTo>
                    <a:pt x="979" y="0"/>
                    <a:pt x="954" y="7"/>
                    <a:pt x="954" y="7"/>
                  </a:cubicBezTo>
                  <a:close/>
                </a:path>
              </a:pathLst>
            </a:custGeom>
            <a:gradFill flip="none" rotWithShape="1">
              <a:gsLst>
                <a:gs pos="69000">
                  <a:schemeClr val="accent1">
                    <a:lumMod val="60000"/>
                    <a:lumOff val="40000"/>
                  </a:schemeClr>
                </a:gs>
                <a:gs pos="32000">
                  <a:schemeClr val="accent1"/>
                </a:gs>
                <a:gs pos="100000">
                  <a:schemeClr val="accent1">
                    <a:lumMod val="40000"/>
                    <a:lumOff val="60000"/>
                  </a:schemeClr>
                </a:gs>
              </a:gsLst>
              <a:path path="circle">
                <a:fillToRect l="100000" t="100000"/>
              </a:path>
              <a:tileRect r="-100000" b="-100000"/>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HarmonyOS Sans SC"/>
                <a:cs typeface="Posterama" panose="020B0502040204020203" pitchFamily="34" charset="0"/>
              </a:endParaRPr>
            </a:p>
          </p:txBody>
        </p:sp>
        <p:grpSp>
          <p:nvGrpSpPr>
            <p:cNvPr id="34" name="Group 33">
              <a:extLst>
                <a:ext uri="{FF2B5EF4-FFF2-40B4-BE49-F238E27FC236}">
                  <a16:creationId xmlns:a16="http://schemas.microsoft.com/office/drawing/2014/main" id="{FD7D0565-EF1A-413E-8467-51894EF85831}"/>
                </a:ext>
              </a:extLst>
            </p:cNvPr>
            <p:cNvGrpSpPr/>
            <p:nvPr/>
          </p:nvGrpSpPr>
          <p:grpSpPr>
            <a:xfrm rot="4856481" flipV="1">
              <a:off x="5744629" y="1876839"/>
              <a:ext cx="245378" cy="278944"/>
              <a:chOff x="9492343" y="537029"/>
              <a:chExt cx="174171" cy="278944"/>
            </a:xfrm>
            <a:solidFill>
              <a:schemeClr val="bg1"/>
            </a:solidFill>
          </p:grpSpPr>
          <p:sp>
            <p:nvSpPr>
              <p:cNvPr id="36" name="Chevron 36">
                <a:extLst>
                  <a:ext uri="{FF2B5EF4-FFF2-40B4-BE49-F238E27FC236}">
                    <a16:creationId xmlns:a16="http://schemas.microsoft.com/office/drawing/2014/main" id="{2ABFC778-5ADD-48C1-B3D2-4BBF041C4A4B}"/>
                  </a:ext>
                </a:extLst>
              </p:cNvPr>
              <p:cNvSpPr/>
              <p:nvPr/>
            </p:nvSpPr>
            <p:spPr>
              <a:xfrm rot="5400000">
                <a:off x="9492343" y="537029"/>
                <a:ext cx="174171" cy="174171"/>
              </a:xfrm>
              <a:prstGeom prst="chevr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armonyOS Sans SC"/>
                  <a:cs typeface="+mn-cs"/>
                </a:endParaRPr>
              </a:p>
            </p:txBody>
          </p:sp>
          <p:sp>
            <p:nvSpPr>
              <p:cNvPr id="37" name="Chevron 37">
                <a:extLst>
                  <a:ext uri="{FF2B5EF4-FFF2-40B4-BE49-F238E27FC236}">
                    <a16:creationId xmlns:a16="http://schemas.microsoft.com/office/drawing/2014/main" id="{17CBC29C-792C-4F7C-B484-D94120B9E521}"/>
                  </a:ext>
                </a:extLst>
              </p:cNvPr>
              <p:cNvSpPr/>
              <p:nvPr/>
            </p:nvSpPr>
            <p:spPr>
              <a:xfrm rot="5400000">
                <a:off x="9492343" y="641802"/>
                <a:ext cx="174171" cy="174171"/>
              </a:xfrm>
              <a:prstGeom prst="chevr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armonyOS Sans SC"/>
                  <a:cs typeface="+mn-cs"/>
                </a:endParaRPr>
              </a:p>
            </p:txBody>
          </p:sp>
        </p:grpSp>
        <p:sp>
          <p:nvSpPr>
            <p:cNvPr id="35" name="Freeform 46">
              <a:extLst>
                <a:ext uri="{FF2B5EF4-FFF2-40B4-BE49-F238E27FC236}">
                  <a16:creationId xmlns:a16="http://schemas.microsoft.com/office/drawing/2014/main" id="{BA31F8F4-DE6C-447C-90C1-D6B1D70381DB}"/>
                </a:ext>
              </a:extLst>
            </p:cNvPr>
            <p:cNvSpPr>
              <a:spLocks noEditPoints="1"/>
            </p:cNvSpPr>
            <p:nvPr/>
          </p:nvSpPr>
          <p:spPr bwMode="auto">
            <a:xfrm>
              <a:off x="4718471" y="2201466"/>
              <a:ext cx="581272" cy="548873"/>
            </a:xfrm>
            <a:custGeom>
              <a:avLst/>
              <a:gdLst>
                <a:gd name="T0" fmla="*/ 65 w 129"/>
                <a:gd name="T1" fmla="*/ 8 h 121"/>
                <a:gd name="T2" fmla="*/ 65 w 129"/>
                <a:gd name="T3" fmla="*/ 8 h 121"/>
                <a:gd name="T4" fmla="*/ 5 w 129"/>
                <a:gd name="T5" fmla="*/ 44 h 121"/>
                <a:gd name="T6" fmla="*/ 59 w 129"/>
                <a:gd name="T7" fmla="*/ 68 h 121"/>
                <a:gd name="T8" fmla="*/ 71 w 129"/>
                <a:gd name="T9" fmla="*/ 68 h 121"/>
                <a:gd name="T10" fmla="*/ 125 w 129"/>
                <a:gd name="T11" fmla="*/ 44 h 121"/>
                <a:gd name="T12" fmla="*/ 125 w 129"/>
                <a:gd name="T13" fmla="*/ 32 h 121"/>
                <a:gd name="T14" fmla="*/ 71 w 129"/>
                <a:gd name="T15" fmla="*/ 3 h 121"/>
                <a:gd name="T16" fmla="*/ 59 w 129"/>
                <a:gd name="T17" fmla="*/ 3 h 121"/>
                <a:gd name="T18" fmla="*/ 5 w 129"/>
                <a:gd name="T19" fmla="*/ 32 h 121"/>
                <a:gd name="T20" fmla="*/ 5 w 129"/>
                <a:gd name="T21" fmla="*/ 44 h 121"/>
                <a:gd name="T22" fmla="*/ 65 w 129"/>
                <a:gd name="T23" fmla="*/ 8 h 121"/>
                <a:gd name="T24" fmla="*/ 120 w 129"/>
                <a:gd name="T25" fmla="*/ 38 h 121"/>
                <a:gd name="T26" fmla="*/ 65 w 129"/>
                <a:gd name="T27" fmla="*/ 61 h 121"/>
                <a:gd name="T28" fmla="*/ 10 w 129"/>
                <a:gd name="T29" fmla="*/ 38 h 121"/>
                <a:gd name="T30" fmla="*/ 65 w 129"/>
                <a:gd name="T31" fmla="*/ 8 h 121"/>
                <a:gd name="T32" fmla="*/ 65 w 129"/>
                <a:gd name="T33" fmla="*/ 114 h 121"/>
                <a:gd name="T34" fmla="*/ 10 w 129"/>
                <a:gd name="T35" fmla="*/ 89 h 121"/>
                <a:gd name="T36" fmla="*/ 1 w 129"/>
                <a:gd name="T37" fmla="*/ 85 h 121"/>
                <a:gd name="T38" fmla="*/ 5 w 129"/>
                <a:gd name="T39" fmla="*/ 95 h 121"/>
                <a:gd name="T40" fmla="*/ 59 w 129"/>
                <a:gd name="T41" fmla="*/ 119 h 121"/>
                <a:gd name="T42" fmla="*/ 71 w 129"/>
                <a:gd name="T43" fmla="*/ 119 h 121"/>
                <a:gd name="T44" fmla="*/ 125 w 129"/>
                <a:gd name="T45" fmla="*/ 95 h 121"/>
                <a:gd name="T46" fmla="*/ 129 w 129"/>
                <a:gd name="T47" fmla="*/ 85 h 121"/>
                <a:gd name="T48" fmla="*/ 120 w 129"/>
                <a:gd name="T49" fmla="*/ 89 h 121"/>
                <a:gd name="T50" fmla="*/ 65 w 129"/>
                <a:gd name="T51" fmla="*/ 114 h 121"/>
                <a:gd name="T52" fmla="*/ 5 w 129"/>
                <a:gd name="T53" fmla="*/ 69 h 121"/>
                <a:gd name="T54" fmla="*/ 59 w 129"/>
                <a:gd name="T55" fmla="*/ 94 h 121"/>
                <a:gd name="T56" fmla="*/ 71 w 129"/>
                <a:gd name="T57" fmla="*/ 94 h 121"/>
                <a:gd name="T58" fmla="*/ 125 w 129"/>
                <a:gd name="T59" fmla="*/ 69 h 121"/>
                <a:gd name="T60" fmla="*/ 129 w 129"/>
                <a:gd name="T61" fmla="*/ 59 h 121"/>
                <a:gd name="T62" fmla="*/ 120 w 129"/>
                <a:gd name="T63" fmla="*/ 63 h 121"/>
                <a:gd name="T64" fmla="*/ 65 w 129"/>
                <a:gd name="T65" fmla="*/ 89 h 121"/>
                <a:gd name="T66" fmla="*/ 10 w 129"/>
                <a:gd name="T67" fmla="*/ 63 h 121"/>
                <a:gd name="T68" fmla="*/ 1 w 129"/>
                <a:gd name="T69" fmla="*/ 59 h 121"/>
                <a:gd name="T70" fmla="*/ 5 w 129"/>
                <a:gd name="T71" fmla="*/ 69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9" h="121">
                  <a:moveTo>
                    <a:pt x="65" y="8"/>
                  </a:moveTo>
                  <a:cubicBezTo>
                    <a:pt x="65" y="8"/>
                    <a:pt x="65" y="8"/>
                    <a:pt x="65" y="8"/>
                  </a:cubicBezTo>
                  <a:close/>
                  <a:moveTo>
                    <a:pt x="5" y="44"/>
                  </a:moveTo>
                  <a:cubicBezTo>
                    <a:pt x="59" y="68"/>
                    <a:pt x="59" y="68"/>
                    <a:pt x="59" y="68"/>
                  </a:cubicBezTo>
                  <a:cubicBezTo>
                    <a:pt x="64" y="70"/>
                    <a:pt x="66" y="70"/>
                    <a:pt x="71" y="68"/>
                  </a:cubicBezTo>
                  <a:cubicBezTo>
                    <a:pt x="125" y="44"/>
                    <a:pt x="125" y="44"/>
                    <a:pt x="125" y="44"/>
                  </a:cubicBezTo>
                  <a:cubicBezTo>
                    <a:pt x="129" y="42"/>
                    <a:pt x="129" y="34"/>
                    <a:pt x="125" y="32"/>
                  </a:cubicBezTo>
                  <a:cubicBezTo>
                    <a:pt x="71" y="3"/>
                    <a:pt x="71" y="3"/>
                    <a:pt x="71" y="3"/>
                  </a:cubicBezTo>
                  <a:cubicBezTo>
                    <a:pt x="67" y="0"/>
                    <a:pt x="64" y="1"/>
                    <a:pt x="59" y="3"/>
                  </a:cubicBezTo>
                  <a:cubicBezTo>
                    <a:pt x="5" y="32"/>
                    <a:pt x="5" y="32"/>
                    <a:pt x="5" y="32"/>
                  </a:cubicBezTo>
                  <a:cubicBezTo>
                    <a:pt x="1" y="34"/>
                    <a:pt x="0" y="41"/>
                    <a:pt x="5" y="44"/>
                  </a:cubicBezTo>
                  <a:close/>
                  <a:moveTo>
                    <a:pt x="65" y="8"/>
                  </a:moveTo>
                  <a:cubicBezTo>
                    <a:pt x="120" y="38"/>
                    <a:pt x="120" y="38"/>
                    <a:pt x="120" y="38"/>
                  </a:cubicBezTo>
                  <a:cubicBezTo>
                    <a:pt x="65" y="61"/>
                    <a:pt x="65" y="61"/>
                    <a:pt x="65" y="61"/>
                  </a:cubicBezTo>
                  <a:cubicBezTo>
                    <a:pt x="10" y="38"/>
                    <a:pt x="10" y="38"/>
                    <a:pt x="10" y="38"/>
                  </a:cubicBezTo>
                  <a:lnTo>
                    <a:pt x="65" y="8"/>
                  </a:lnTo>
                  <a:close/>
                  <a:moveTo>
                    <a:pt x="65" y="114"/>
                  </a:moveTo>
                  <a:cubicBezTo>
                    <a:pt x="10" y="89"/>
                    <a:pt x="10" y="89"/>
                    <a:pt x="10" y="89"/>
                  </a:cubicBezTo>
                  <a:cubicBezTo>
                    <a:pt x="10" y="89"/>
                    <a:pt x="5" y="87"/>
                    <a:pt x="1" y="85"/>
                  </a:cubicBezTo>
                  <a:cubicBezTo>
                    <a:pt x="1" y="88"/>
                    <a:pt x="2" y="93"/>
                    <a:pt x="5" y="95"/>
                  </a:cubicBezTo>
                  <a:cubicBezTo>
                    <a:pt x="59" y="119"/>
                    <a:pt x="59" y="119"/>
                    <a:pt x="59" y="119"/>
                  </a:cubicBezTo>
                  <a:cubicBezTo>
                    <a:pt x="64" y="121"/>
                    <a:pt x="66" y="121"/>
                    <a:pt x="71" y="119"/>
                  </a:cubicBezTo>
                  <a:cubicBezTo>
                    <a:pt x="125" y="95"/>
                    <a:pt x="125" y="95"/>
                    <a:pt x="125" y="95"/>
                  </a:cubicBezTo>
                  <a:cubicBezTo>
                    <a:pt x="128" y="94"/>
                    <a:pt x="129" y="88"/>
                    <a:pt x="129" y="85"/>
                  </a:cubicBezTo>
                  <a:cubicBezTo>
                    <a:pt x="126" y="86"/>
                    <a:pt x="121" y="89"/>
                    <a:pt x="120" y="89"/>
                  </a:cubicBezTo>
                  <a:lnTo>
                    <a:pt x="65" y="114"/>
                  </a:lnTo>
                  <a:close/>
                  <a:moveTo>
                    <a:pt x="5" y="69"/>
                  </a:moveTo>
                  <a:cubicBezTo>
                    <a:pt x="59" y="94"/>
                    <a:pt x="59" y="94"/>
                    <a:pt x="59" y="94"/>
                  </a:cubicBezTo>
                  <a:cubicBezTo>
                    <a:pt x="64" y="96"/>
                    <a:pt x="66" y="96"/>
                    <a:pt x="71" y="94"/>
                  </a:cubicBezTo>
                  <a:cubicBezTo>
                    <a:pt x="125" y="69"/>
                    <a:pt x="125" y="69"/>
                    <a:pt x="125" y="69"/>
                  </a:cubicBezTo>
                  <a:cubicBezTo>
                    <a:pt x="128" y="68"/>
                    <a:pt x="129" y="62"/>
                    <a:pt x="129" y="59"/>
                  </a:cubicBezTo>
                  <a:cubicBezTo>
                    <a:pt x="126" y="61"/>
                    <a:pt x="121" y="63"/>
                    <a:pt x="120" y="63"/>
                  </a:cubicBezTo>
                  <a:cubicBezTo>
                    <a:pt x="65" y="89"/>
                    <a:pt x="65" y="89"/>
                    <a:pt x="65" y="89"/>
                  </a:cubicBezTo>
                  <a:cubicBezTo>
                    <a:pt x="10" y="63"/>
                    <a:pt x="10" y="63"/>
                    <a:pt x="10" y="63"/>
                  </a:cubicBezTo>
                  <a:cubicBezTo>
                    <a:pt x="10" y="63"/>
                    <a:pt x="5" y="61"/>
                    <a:pt x="1" y="59"/>
                  </a:cubicBezTo>
                  <a:cubicBezTo>
                    <a:pt x="1" y="62"/>
                    <a:pt x="2" y="68"/>
                    <a:pt x="5" y="6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armonyOS Sans SC"/>
                <a:cs typeface="+mn-cs"/>
              </a:endParaRPr>
            </a:p>
          </p:txBody>
        </p:sp>
        <p:sp>
          <p:nvSpPr>
            <p:cNvPr id="56" name="Freeform 11">
              <a:extLst>
                <a:ext uri="{FF2B5EF4-FFF2-40B4-BE49-F238E27FC236}">
                  <a16:creationId xmlns:a16="http://schemas.microsoft.com/office/drawing/2014/main" id="{F7AB5F4F-0C28-47FD-9AF1-94417A93FD86}"/>
                </a:ext>
              </a:extLst>
            </p:cNvPr>
            <p:cNvSpPr>
              <a:spLocks/>
            </p:cNvSpPr>
            <p:nvPr/>
          </p:nvSpPr>
          <p:spPr bwMode="auto">
            <a:xfrm>
              <a:off x="3836965" y="1792563"/>
              <a:ext cx="193207" cy="1218124"/>
            </a:xfrm>
            <a:custGeom>
              <a:avLst/>
              <a:gdLst>
                <a:gd name="T0" fmla="*/ 54 w 81"/>
                <a:gd name="T1" fmla="*/ 575 h 628"/>
                <a:gd name="T2" fmla="*/ 54 w 81"/>
                <a:gd name="T3" fmla="*/ 0 h 628"/>
                <a:gd name="T4" fmla="*/ 0 w 81"/>
                <a:gd name="T5" fmla="*/ 11 h 628"/>
                <a:gd name="T6" fmla="*/ 0 w 81"/>
                <a:gd name="T7" fmla="*/ 628 h 628"/>
                <a:gd name="T8" fmla="*/ 54 w 81"/>
                <a:gd name="T9" fmla="*/ 617 h 628"/>
                <a:gd name="T10" fmla="*/ 54 w 81"/>
                <a:gd name="T11" fmla="*/ 617 h 628"/>
                <a:gd name="T12" fmla="*/ 80 w 81"/>
                <a:gd name="T13" fmla="*/ 587 h 628"/>
                <a:gd name="T14" fmla="*/ 54 w 81"/>
                <a:gd name="T15" fmla="*/ 575 h 6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1" h="628">
                  <a:moveTo>
                    <a:pt x="54" y="575"/>
                  </a:moveTo>
                  <a:cubicBezTo>
                    <a:pt x="54" y="0"/>
                    <a:pt x="54" y="0"/>
                    <a:pt x="54" y="0"/>
                  </a:cubicBezTo>
                  <a:cubicBezTo>
                    <a:pt x="0" y="11"/>
                    <a:pt x="0" y="11"/>
                    <a:pt x="0" y="11"/>
                  </a:cubicBezTo>
                  <a:cubicBezTo>
                    <a:pt x="0" y="628"/>
                    <a:pt x="0" y="628"/>
                    <a:pt x="0" y="628"/>
                  </a:cubicBezTo>
                  <a:cubicBezTo>
                    <a:pt x="54" y="617"/>
                    <a:pt x="54" y="617"/>
                    <a:pt x="54" y="617"/>
                  </a:cubicBezTo>
                  <a:cubicBezTo>
                    <a:pt x="54" y="617"/>
                    <a:pt x="54" y="617"/>
                    <a:pt x="54" y="617"/>
                  </a:cubicBezTo>
                  <a:cubicBezTo>
                    <a:pt x="54" y="617"/>
                    <a:pt x="81" y="613"/>
                    <a:pt x="80" y="587"/>
                  </a:cubicBezTo>
                  <a:cubicBezTo>
                    <a:pt x="79" y="568"/>
                    <a:pt x="54" y="575"/>
                    <a:pt x="54" y="575"/>
                  </a:cubicBez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HarmonyOS Sans SC"/>
                <a:cs typeface="+mn-cs"/>
              </a:endParaRPr>
            </a:p>
          </p:txBody>
        </p:sp>
        <p:sp>
          <p:nvSpPr>
            <p:cNvPr id="57" name="Freeform 12">
              <a:extLst>
                <a:ext uri="{FF2B5EF4-FFF2-40B4-BE49-F238E27FC236}">
                  <a16:creationId xmlns:a16="http://schemas.microsoft.com/office/drawing/2014/main" id="{836FB44C-2060-4F96-B113-E56067E6AEC9}"/>
                </a:ext>
              </a:extLst>
            </p:cNvPr>
            <p:cNvSpPr>
              <a:spLocks/>
            </p:cNvSpPr>
            <p:nvPr/>
          </p:nvSpPr>
          <p:spPr bwMode="auto">
            <a:xfrm>
              <a:off x="1672677" y="1698170"/>
              <a:ext cx="2355639" cy="1576218"/>
            </a:xfrm>
            <a:custGeom>
              <a:avLst/>
              <a:gdLst>
                <a:gd name="T0" fmla="*/ 954 w 980"/>
                <a:gd name="T1" fmla="*/ 7 h 813"/>
                <a:gd name="T2" fmla="*/ 954 w 980"/>
                <a:gd name="T3" fmla="*/ 7 h 813"/>
                <a:gd name="T4" fmla="*/ 0 w 980"/>
                <a:gd name="T5" fmla="*/ 196 h 813"/>
                <a:gd name="T6" fmla="*/ 0 w 980"/>
                <a:gd name="T7" fmla="*/ 813 h 813"/>
                <a:gd name="T8" fmla="*/ 954 w 980"/>
                <a:gd name="T9" fmla="*/ 624 h 813"/>
                <a:gd name="T10" fmla="*/ 980 w 980"/>
                <a:gd name="T11" fmla="*/ 636 h 813"/>
                <a:gd name="T12" fmla="*/ 980 w 980"/>
                <a:gd name="T13" fmla="*/ 18 h 813"/>
                <a:gd name="T14" fmla="*/ 954 w 980"/>
                <a:gd name="T15" fmla="*/ 7 h 8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80" h="813">
                  <a:moveTo>
                    <a:pt x="954" y="7"/>
                  </a:moveTo>
                  <a:cubicBezTo>
                    <a:pt x="954" y="7"/>
                    <a:pt x="954" y="7"/>
                    <a:pt x="954" y="7"/>
                  </a:cubicBezTo>
                  <a:cubicBezTo>
                    <a:pt x="0" y="196"/>
                    <a:pt x="0" y="196"/>
                    <a:pt x="0" y="196"/>
                  </a:cubicBezTo>
                  <a:cubicBezTo>
                    <a:pt x="0" y="813"/>
                    <a:pt x="0" y="813"/>
                    <a:pt x="0" y="813"/>
                  </a:cubicBezTo>
                  <a:cubicBezTo>
                    <a:pt x="954" y="624"/>
                    <a:pt x="954" y="624"/>
                    <a:pt x="954" y="624"/>
                  </a:cubicBezTo>
                  <a:cubicBezTo>
                    <a:pt x="954" y="624"/>
                    <a:pt x="979" y="617"/>
                    <a:pt x="980" y="636"/>
                  </a:cubicBezTo>
                  <a:cubicBezTo>
                    <a:pt x="980" y="18"/>
                    <a:pt x="980" y="18"/>
                    <a:pt x="980" y="18"/>
                  </a:cubicBezTo>
                  <a:cubicBezTo>
                    <a:pt x="979" y="0"/>
                    <a:pt x="954" y="7"/>
                    <a:pt x="954" y="7"/>
                  </a:cubicBezTo>
                  <a:close/>
                </a:path>
              </a:pathLst>
            </a:custGeom>
            <a:gradFill flip="none" rotWithShape="1">
              <a:gsLst>
                <a:gs pos="69000">
                  <a:schemeClr val="accent1">
                    <a:lumMod val="60000"/>
                    <a:lumOff val="40000"/>
                  </a:schemeClr>
                </a:gs>
                <a:gs pos="32000">
                  <a:schemeClr val="accent1"/>
                </a:gs>
                <a:gs pos="100000">
                  <a:schemeClr val="accent1">
                    <a:lumMod val="40000"/>
                    <a:lumOff val="60000"/>
                  </a:schemeClr>
                </a:gs>
              </a:gsLst>
              <a:path path="circle">
                <a:fillToRect l="100000" t="100000"/>
              </a:path>
              <a:tileRect r="-100000" b="-100000"/>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HarmonyOS Sans SC"/>
                <a:cs typeface="+mn-cs"/>
              </a:endParaRPr>
            </a:p>
          </p:txBody>
        </p:sp>
        <p:grpSp>
          <p:nvGrpSpPr>
            <p:cNvPr id="58" name="Group 57">
              <a:extLst>
                <a:ext uri="{FF2B5EF4-FFF2-40B4-BE49-F238E27FC236}">
                  <a16:creationId xmlns:a16="http://schemas.microsoft.com/office/drawing/2014/main" id="{30266A00-1102-4533-A282-F4B7F78D3022}"/>
                </a:ext>
              </a:extLst>
            </p:cNvPr>
            <p:cNvGrpSpPr/>
            <p:nvPr/>
          </p:nvGrpSpPr>
          <p:grpSpPr>
            <a:xfrm>
              <a:off x="3836965" y="5139779"/>
              <a:ext cx="193207" cy="590334"/>
              <a:chOff x="1988971" y="6203320"/>
              <a:chExt cx="179061" cy="678367"/>
            </a:xfrm>
            <a:solidFill>
              <a:schemeClr val="accent1">
                <a:lumMod val="75000"/>
              </a:schemeClr>
            </a:solidFill>
          </p:grpSpPr>
          <p:sp>
            <p:nvSpPr>
              <p:cNvPr id="62" name="Freeform 17">
                <a:extLst>
                  <a:ext uri="{FF2B5EF4-FFF2-40B4-BE49-F238E27FC236}">
                    <a16:creationId xmlns:a16="http://schemas.microsoft.com/office/drawing/2014/main" id="{AAB6ACC3-B47E-438E-B097-FFF067BDA51D}"/>
                  </a:ext>
                </a:extLst>
              </p:cNvPr>
              <p:cNvSpPr>
                <a:spLocks/>
              </p:cNvSpPr>
              <p:nvPr/>
            </p:nvSpPr>
            <p:spPr bwMode="auto">
              <a:xfrm>
                <a:off x="1988971" y="6203320"/>
                <a:ext cx="179061" cy="294418"/>
              </a:xfrm>
              <a:custGeom>
                <a:avLst/>
                <a:gdLst>
                  <a:gd name="T0" fmla="*/ 54 w 81"/>
                  <a:gd name="T1" fmla="*/ 79 h 132"/>
                  <a:gd name="T2" fmla="*/ 54 w 81"/>
                  <a:gd name="T3" fmla="*/ 0 h 132"/>
                  <a:gd name="T4" fmla="*/ 0 w 81"/>
                  <a:gd name="T5" fmla="*/ 11 h 132"/>
                  <a:gd name="T6" fmla="*/ 0 w 81"/>
                  <a:gd name="T7" fmla="*/ 132 h 132"/>
                  <a:gd name="T8" fmla="*/ 54 w 81"/>
                  <a:gd name="T9" fmla="*/ 121 h 132"/>
                  <a:gd name="T10" fmla="*/ 54 w 81"/>
                  <a:gd name="T11" fmla="*/ 121 h 132"/>
                  <a:gd name="T12" fmla="*/ 80 w 81"/>
                  <a:gd name="T13" fmla="*/ 91 h 132"/>
                  <a:gd name="T14" fmla="*/ 54 w 81"/>
                  <a:gd name="T15" fmla="*/ 79 h 1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1" h="132">
                    <a:moveTo>
                      <a:pt x="54" y="79"/>
                    </a:moveTo>
                    <a:cubicBezTo>
                      <a:pt x="54" y="0"/>
                      <a:pt x="54" y="0"/>
                      <a:pt x="54" y="0"/>
                    </a:cubicBezTo>
                    <a:cubicBezTo>
                      <a:pt x="0" y="11"/>
                      <a:pt x="0" y="11"/>
                      <a:pt x="0" y="11"/>
                    </a:cubicBezTo>
                    <a:cubicBezTo>
                      <a:pt x="0" y="132"/>
                      <a:pt x="0" y="132"/>
                      <a:pt x="0" y="132"/>
                    </a:cubicBezTo>
                    <a:cubicBezTo>
                      <a:pt x="54" y="121"/>
                      <a:pt x="54" y="121"/>
                      <a:pt x="54" y="121"/>
                    </a:cubicBezTo>
                    <a:cubicBezTo>
                      <a:pt x="54" y="121"/>
                      <a:pt x="54" y="121"/>
                      <a:pt x="54" y="121"/>
                    </a:cubicBezTo>
                    <a:cubicBezTo>
                      <a:pt x="54" y="121"/>
                      <a:pt x="81" y="117"/>
                      <a:pt x="80" y="91"/>
                    </a:cubicBezTo>
                    <a:cubicBezTo>
                      <a:pt x="79" y="72"/>
                      <a:pt x="54" y="79"/>
                      <a:pt x="54" y="79"/>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HarmonyOS Sans SC"/>
                  <a:cs typeface="Posterama" panose="020B0502040204020203" pitchFamily="34" charset="0"/>
                </a:endParaRPr>
              </a:p>
            </p:txBody>
          </p:sp>
          <p:sp>
            <p:nvSpPr>
              <p:cNvPr id="63" name="Freeform 23">
                <a:extLst>
                  <a:ext uri="{FF2B5EF4-FFF2-40B4-BE49-F238E27FC236}">
                    <a16:creationId xmlns:a16="http://schemas.microsoft.com/office/drawing/2014/main" id="{826B8B28-6ADF-43B1-BC52-D6B044264329}"/>
                  </a:ext>
                </a:extLst>
              </p:cNvPr>
              <p:cNvSpPr>
                <a:spLocks/>
              </p:cNvSpPr>
              <p:nvPr/>
            </p:nvSpPr>
            <p:spPr bwMode="auto">
              <a:xfrm>
                <a:off x="1988971" y="6587269"/>
                <a:ext cx="179061" cy="294418"/>
              </a:xfrm>
              <a:custGeom>
                <a:avLst/>
                <a:gdLst>
                  <a:gd name="T0" fmla="*/ 54 w 81"/>
                  <a:gd name="T1" fmla="*/ 79 h 132"/>
                  <a:gd name="T2" fmla="*/ 54 w 81"/>
                  <a:gd name="T3" fmla="*/ 0 h 132"/>
                  <a:gd name="T4" fmla="*/ 0 w 81"/>
                  <a:gd name="T5" fmla="*/ 11 h 132"/>
                  <a:gd name="T6" fmla="*/ 0 w 81"/>
                  <a:gd name="T7" fmla="*/ 132 h 132"/>
                  <a:gd name="T8" fmla="*/ 54 w 81"/>
                  <a:gd name="T9" fmla="*/ 121 h 132"/>
                  <a:gd name="T10" fmla="*/ 54 w 81"/>
                  <a:gd name="T11" fmla="*/ 121 h 132"/>
                  <a:gd name="T12" fmla="*/ 80 w 81"/>
                  <a:gd name="T13" fmla="*/ 91 h 132"/>
                  <a:gd name="T14" fmla="*/ 54 w 81"/>
                  <a:gd name="T15" fmla="*/ 79 h 1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1" h="132">
                    <a:moveTo>
                      <a:pt x="54" y="79"/>
                    </a:moveTo>
                    <a:cubicBezTo>
                      <a:pt x="54" y="0"/>
                      <a:pt x="54" y="0"/>
                      <a:pt x="54" y="0"/>
                    </a:cubicBezTo>
                    <a:cubicBezTo>
                      <a:pt x="0" y="11"/>
                      <a:pt x="0" y="11"/>
                      <a:pt x="0" y="11"/>
                    </a:cubicBezTo>
                    <a:cubicBezTo>
                      <a:pt x="0" y="132"/>
                      <a:pt x="0" y="132"/>
                      <a:pt x="0" y="132"/>
                    </a:cubicBezTo>
                    <a:cubicBezTo>
                      <a:pt x="54" y="121"/>
                      <a:pt x="54" y="121"/>
                      <a:pt x="54" y="121"/>
                    </a:cubicBezTo>
                    <a:cubicBezTo>
                      <a:pt x="54" y="121"/>
                      <a:pt x="54" y="121"/>
                      <a:pt x="54" y="121"/>
                    </a:cubicBezTo>
                    <a:cubicBezTo>
                      <a:pt x="54" y="121"/>
                      <a:pt x="81" y="117"/>
                      <a:pt x="80" y="91"/>
                    </a:cubicBezTo>
                    <a:cubicBezTo>
                      <a:pt x="79" y="72"/>
                      <a:pt x="54" y="79"/>
                      <a:pt x="54" y="79"/>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HarmonyOS Sans SC"/>
                  <a:cs typeface="Posterama" panose="020B0502040204020203" pitchFamily="34" charset="0"/>
                </a:endParaRPr>
              </a:p>
            </p:txBody>
          </p:sp>
        </p:grpSp>
        <p:sp>
          <p:nvSpPr>
            <p:cNvPr id="60" name="Freeform 18">
              <a:extLst>
                <a:ext uri="{FF2B5EF4-FFF2-40B4-BE49-F238E27FC236}">
                  <a16:creationId xmlns:a16="http://schemas.microsoft.com/office/drawing/2014/main" id="{83373595-75F2-42E7-A3E5-E08EA4E55DC5}"/>
                </a:ext>
              </a:extLst>
            </p:cNvPr>
            <p:cNvSpPr>
              <a:spLocks/>
            </p:cNvSpPr>
            <p:nvPr/>
          </p:nvSpPr>
          <p:spPr bwMode="auto">
            <a:xfrm>
              <a:off x="1672677" y="5045386"/>
              <a:ext cx="2355639" cy="614305"/>
            </a:xfrm>
            <a:custGeom>
              <a:avLst/>
              <a:gdLst>
                <a:gd name="T0" fmla="*/ 954 w 980"/>
                <a:gd name="T1" fmla="*/ 7 h 317"/>
                <a:gd name="T2" fmla="*/ 954 w 980"/>
                <a:gd name="T3" fmla="*/ 7 h 317"/>
                <a:gd name="T4" fmla="*/ 0 w 980"/>
                <a:gd name="T5" fmla="*/ 196 h 317"/>
                <a:gd name="T6" fmla="*/ 0 w 980"/>
                <a:gd name="T7" fmla="*/ 317 h 317"/>
                <a:gd name="T8" fmla="*/ 954 w 980"/>
                <a:gd name="T9" fmla="*/ 128 h 317"/>
                <a:gd name="T10" fmla="*/ 980 w 980"/>
                <a:gd name="T11" fmla="*/ 140 h 317"/>
                <a:gd name="T12" fmla="*/ 980 w 980"/>
                <a:gd name="T13" fmla="*/ 18 h 317"/>
                <a:gd name="T14" fmla="*/ 954 w 980"/>
                <a:gd name="T15" fmla="*/ 7 h 3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80" h="317">
                  <a:moveTo>
                    <a:pt x="954" y="7"/>
                  </a:moveTo>
                  <a:cubicBezTo>
                    <a:pt x="954" y="7"/>
                    <a:pt x="954" y="7"/>
                    <a:pt x="954" y="7"/>
                  </a:cubicBezTo>
                  <a:cubicBezTo>
                    <a:pt x="0" y="196"/>
                    <a:pt x="0" y="196"/>
                    <a:pt x="0" y="196"/>
                  </a:cubicBezTo>
                  <a:cubicBezTo>
                    <a:pt x="0" y="317"/>
                    <a:pt x="0" y="317"/>
                    <a:pt x="0" y="317"/>
                  </a:cubicBezTo>
                  <a:cubicBezTo>
                    <a:pt x="954" y="128"/>
                    <a:pt x="954" y="128"/>
                    <a:pt x="954" y="128"/>
                  </a:cubicBezTo>
                  <a:cubicBezTo>
                    <a:pt x="954" y="128"/>
                    <a:pt x="979" y="121"/>
                    <a:pt x="980" y="140"/>
                  </a:cubicBezTo>
                  <a:cubicBezTo>
                    <a:pt x="980" y="18"/>
                    <a:pt x="980" y="18"/>
                    <a:pt x="980" y="18"/>
                  </a:cubicBezTo>
                  <a:cubicBezTo>
                    <a:pt x="979" y="0"/>
                    <a:pt x="954" y="7"/>
                    <a:pt x="954" y="7"/>
                  </a:cubicBezTo>
                  <a:close/>
                </a:path>
              </a:pathLst>
            </a:custGeom>
            <a:gradFill flip="none" rotWithShape="1">
              <a:gsLst>
                <a:gs pos="69000">
                  <a:schemeClr val="accent1">
                    <a:lumMod val="60000"/>
                    <a:lumOff val="40000"/>
                  </a:schemeClr>
                </a:gs>
                <a:gs pos="32000">
                  <a:schemeClr val="accent1"/>
                </a:gs>
                <a:gs pos="100000">
                  <a:schemeClr val="accent1">
                    <a:lumMod val="40000"/>
                    <a:lumOff val="60000"/>
                  </a:schemeClr>
                </a:gs>
              </a:gsLst>
              <a:path path="circle">
                <a:fillToRect l="100000" t="100000"/>
              </a:path>
              <a:tileRect r="-100000" b="-100000"/>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HarmonyOS Sans SC"/>
                <a:cs typeface="Posterama" panose="020B0502040204020203" pitchFamily="34" charset="0"/>
              </a:endParaRPr>
            </a:p>
          </p:txBody>
        </p:sp>
        <p:sp>
          <p:nvSpPr>
            <p:cNvPr id="61" name="Freeform 24">
              <a:extLst>
                <a:ext uri="{FF2B5EF4-FFF2-40B4-BE49-F238E27FC236}">
                  <a16:creationId xmlns:a16="http://schemas.microsoft.com/office/drawing/2014/main" id="{13726E61-A696-4D70-976B-2F8D4E9CEB1F}"/>
                </a:ext>
              </a:extLst>
            </p:cNvPr>
            <p:cNvSpPr>
              <a:spLocks/>
            </p:cNvSpPr>
            <p:nvPr/>
          </p:nvSpPr>
          <p:spPr bwMode="auto">
            <a:xfrm>
              <a:off x="1672677" y="5379508"/>
              <a:ext cx="2355639" cy="614305"/>
            </a:xfrm>
            <a:custGeom>
              <a:avLst/>
              <a:gdLst>
                <a:gd name="T0" fmla="*/ 954 w 980"/>
                <a:gd name="T1" fmla="*/ 7 h 317"/>
                <a:gd name="T2" fmla="*/ 954 w 980"/>
                <a:gd name="T3" fmla="*/ 7 h 317"/>
                <a:gd name="T4" fmla="*/ 0 w 980"/>
                <a:gd name="T5" fmla="*/ 196 h 317"/>
                <a:gd name="T6" fmla="*/ 0 w 980"/>
                <a:gd name="T7" fmla="*/ 317 h 317"/>
                <a:gd name="T8" fmla="*/ 954 w 980"/>
                <a:gd name="T9" fmla="*/ 128 h 317"/>
                <a:gd name="T10" fmla="*/ 980 w 980"/>
                <a:gd name="T11" fmla="*/ 140 h 317"/>
                <a:gd name="T12" fmla="*/ 980 w 980"/>
                <a:gd name="T13" fmla="*/ 18 h 317"/>
                <a:gd name="T14" fmla="*/ 954 w 980"/>
                <a:gd name="T15" fmla="*/ 7 h 3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80" h="317">
                  <a:moveTo>
                    <a:pt x="954" y="7"/>
                  </a:moveTo>
                  <a:cubicBezTo>
                    <a:pt x="954" y="7"/>
                    <a:pt x="954" y="7"/>
                    <a:pt x="954" y="7"/>
                  </a:cubicBezTo>
                  <a:cubicBezTo>
                    <a:pt x="0" y="196"/>
                    <a:pt x="0" y="196"/>
                    <a:pt x="0" y="196"/>
                  </a:cubicBezTo>
                  <a:cubicBezTo>
                    <a:pt x="0" y="317"/>
                    <a:pt x="0" y="317"/>
                    <a:pt x="0" y="317"/>
                  </a:cubicBezTo>
                  <a:cubicBezTo>
                    <a:pt x="954" y="128"/>
                    <a:pt x="954" y="128"/>
                    <a:pt x="954" y="128"/>
                  </a:cubicBezTo>
                  <a:cubicBezTo>
                    <a:pt x="954" y="128"/>
                    <a:pt x="979" y="121"/>
                    <a:pt x="980" y="140"/>
                  </a:cubicBezTo>
                  <a:cubicBezTo>
                    <a:pt x="980" y="18"/>
                    <a:pt x="980" y="18"/>
                    <a:pt x="980" y="18"/>
                  </a:cubicBezTo>
                  <a:cubicBezTo>
                    <a:pt x="979" y="0"/>
                    <a:pt x="954" y="7"/>
                    <a:pt x="954" y="7"/>
                  </a:cubicBezTo>
                  <a:close/>
                </a:path>
              </a:pathLst>
            </a:custGeom>
            <a:gradFill flip="none" rotWithShape="1">
              <a:gsLst>
                <a:gs pos="69000">
                  <a:schemeClr val="accent1">
                    <a:lumMod val="60000"/>
                    <a:lumOff val="40000"/>
                  </a:schemeClr>
                </a:gs>
                <a:gs pos="32000">
                  <a:schemeClr val="accent1"/>
                </a:gs>
                <a:gs pos="100000">
                  <a:schemeClr val="accent1">
                    <a:lumMod val="40000"/>
                    <a:lumOff val="60000"/>
                  </a:schemeClr>
                </a:gs>
              </a:gsLst>
              <a:path path="circle">
                <a:fillToRect l="100000" t="100000"/>
              </a:path>
              <a:tileRect r="-100000" b="-100000"/>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HarmonyOS Sans SC"/>
                <a:cs typeface="Posterama" panose="020B0502040204020203" pitchFamily="34" charset="0"/>
              </a:endParaRPr>
            </a:p>
          </p:txBody>
        </p:sp>
        <p:sp>
          <p:nvSpPr>
            <p:cNvPr id="55" name="Rectangle 81">
              <a:extLst>
                <a:ext uri="{FF2B5EF4-FFF2-40B4-BE49-F238E27FC236}">
                  <a16:creationId xmlns:a16="http://schemas.microsoft.com/office/drawing/2014/main" id="{57CC21FA-D4EC-4F13-A7F5-6366B072456F}"/>
                </a:ext>
              </a:extLst>
            </p:cNvPr>
            <p:cNvSpPr/>
            <p:nvPr/>
          </p:nvSpPr>
          <p:spPr>
            <a:xfrm>
              <a:off x="1676391" y="2936527"/>
              <a:ext cx="2224677" cy="2491377"/>
            </a:xfrm>
            <a:custGeom>
              <a:avLst/>
              <a:gdLst>
                <a:gd name="connsiteX0" fmla="*/ 0 w 1988457"/>
                <a:gd name="connsiteY0" fmla="*/ 0 h 1988457"/>
                <a:gd name="connsiteX1" fmla="*/ 1988457 w 1988457"/>
                <a:gd name="connsiteY1" fmla="*/ 0 h 1988457"/>
                <a:gd name="connsiteX2" fmla="*/ 1988457 w 1988457"/>
                <a:gd name="connsiteY2" fmla="*/ 1988457 h 1988457"/>
                <a:gd name="connsiteX3" fmla="*/ 0 w 1988457"/>
                <a:gd name="connsiteY3" fmla="*/ 1988457 h 1988457"/>
                <a:gd name="connsiteX4" fmla="*/ 0 w 1988457"/>
                <a:gd name="connsiteY4" fmla="*/ 0 h 1988457"/>
                <a:gd name="connsiteX0" fmla="*/ 0 w 2163717"/>
                <a:gd name="connsiteY0" fmla="*/ 342900 h 2331357"/>
                <a:gd name="connsiteX1" fmla="*/ 2163717 w 2163717"/>
                <a:gd name="connsiteY1" fmla="*/ 0 h 2331357"/>
                <a:gd name="connsiteX2" fmla="*/ 1988457 w 2163717"/>
                <a:gd name="connsiteY2" fmla="*/ 2331357 h 2331357"/>
                <a:gd name="connsiteX3" fmla="*/ 0 w 2163717"/>
                <a:gd name="connsiteY3" fmla="*/ 2331357 h 2331357"/>
                <a:gd name="connsiteX4" fmla="*/ 0 w 2163717"/>
                <a:gd name="connsiteY4" fmla="*/ 342900 h 2331357"/>
                <a:gd name="connsiteX0" fmla="*/ 0 w 2224677"/>
                <a:gd name="connsiteY0" fmla="*/ 342900 h 2331357"/>
                <a:gd name="connsiteX1" fmla="*/ 2163717 w 2224677"/>
                <a:gd name="connsiteY1" fmla="*/ 0 h 2331357"/>
                <a:gd name="connsiteX2" fmla="*/ 2224677 w 2224677"/>
                <a:gd name="connsiteY2" fmla="*/ 2140857 h 2331357"/>
                <a:gd name="connsiteX3" fmla="*/ 0 w 2224677"/>
                <a:gd name="connsiteY3" fmla="*/ 2331357 h 2331357"/>
                <a:gd name="connsiteX4" fmla="*/ 0 w 2224677"/>
                <a:gd name="connsiteY4" fmla="*/ 342900 h 2331357"/>
                <a:gd name="connsiteX0" fmla="*/ 0 w 2224677"/>
                <a:gd name="connsiteY0" fmla="*/ 342900 h 2491377"/>
                <a:gd name="connsiteX1" fmla="*/ 2163717 w 2224677"/>
                <a:gd name="connsiteY1" fmla="*/ 0 h 2491377"/>
                <a:gd name="connsiteX2" fmla="*/ 2224677 w 2224677"/>
                <a:gd name="connsiteY2" fmla="*/ 2140857 h 2491377"/>
                <a:gd name="connsiteX3" fmla="*/ 7620 w 2224677"/>
                <a:gd name="connsiteY3" fmla="*/ 2491377 h 2491377"/>
                <a:gd name="connsiteX4" fmla="*/ 0 w 2224677"/>
                <a:gd name="connsiteY4" fmla="*/ 342900 h 2491377"/>
                <a:gd name="connsiteX0" fmla="*/ 91440 w 2217057"/>
                <a:gd name="connsiteY0" fmla="*/ 502920 h 2491377"/>
                <a:gd name="connsiteX1" fmla="*/ 2156097 w 2217057"/>
                <a:gd name="connsiteY1" fmla="*/ 0 h 2491377"/>
                <a:gd name="connsiteX2" fmla="*/ 2217057 w 2217057"/>
                <a:gd name="connsiteY2" fmla="*/ 2140857 h 2491377"/>
                <a:gd name="connsiteX3" fmla="*/ 0 w 2217057"/>
                <a:gd name="connsiteY3" fmla="*/ 2491377 h 2491377"/>
                <a:gd name="connsiteX4" fmla="*/ 91440 w 2217057"/>
                <a:gd name="connsiteY4" fmla="*/ 502920 h 2491377"/>
                <a:gd name="connsiteX0" fmla="*/ 7620 w 2217057"/>
                <a:gd name="connsiteY0" fmla="*/ 320040 h 2491377"/>
                <a:gd name="connsiteX1" fmla="*/ 2156097 w 2217057"/>
                <a:gd name="connsiteY1" fmla="*/ 0 h 2491377"/>
                <a:gd name="connsiteX2" fmla="*/ 2217057 w 2217057"/>
                <a:gd name="connsiteY2" fmla="*/ 2140857 h 2491377"/>
                <a:gd name="connsiteX3" fmla="*/ 0 w 2217057"/>
                <a:gd name="connsiteY3" fmla="*/ 2491377 h 2491377"/>
                <a:gd name="connsiteX4" fmla="*/ 7620 w 2217057"/>
                <a:gd name="connsiteY4" fmla="*/ 320040 h 2491377"/>
                <a:gd name="connsiteX0" fmla="*/ 0 w 2224677"/>
                <a:gd name="connsiteY0" fmla="*/ 320040 h 2491377"/>
                <a:gd name="connsiteX1" fmla="*/ 2163717 w 2224677"/>
                <a:gd name="connsiteY1" fmla="*/ 0 h 2491377"/>
                <a:gd name="connsiteX2" fmla="*/ 2224677 w 2224677"/>
                <a:gd name="connsiteY2" fmla="*/ 2140857 h 2491377"/>
                <a:gd name="connsiteX3" fmla="*/ 7620 w 2224677"/>
                <a:gd name="connsiteY3" fmla="*/ 2491377 h 2491377"/>
                <a:gd name="connsiteX4" fmla="*/ 0 w 2224677"/>
                <a:gd name="connsiteY4" fmla="*/ 320040 h 2491377"/>
                <a:gd name="connsiteX0" fmla="*/ 0 w 2224677"/>
                <a:gd name="connsiteY0" fmla="*/ 320040 h 2491377"/>
                <a:gd name="connsiteX1" fmla="*/ 2163717 w 2224677"/>
                <a:gd name="connsiteY1" fmla="*/ 0 h 2491377"/>
                <a:gd name="connsiteX2" fmla="*/ 2224677 w 2224677"/>
                <a:gd name="connsiteY2" fmla="*/ 2133237 h 2491377"/>
                <a:gd name="connsiteX3" fmla="*/ 7620 w 2224677"/>
                <a:gd name="connsiteY3" fmla="*/ 2491377 h 2491377"/>
                <a:gd name="connsiteX4" fmla="*/ 0 w 2224677"/>
                <a:gd name="connsiteY4" fmla="*/ 320040 h 2491377"/>
                <a:gd name="connsiteX0" fmla="*/ 0 w 2224677"/>
                <a:gd name="connsiteY0" fmla="*/ 320040 h 2491377"/>
                <a:gd name="connsiteX1" fmla="*/ 2163717 w 2224677"/>
                <a:gd name="connsiteY1" fmla="*/ 0 h 2491377"/>
                <a:gd name="connsiteX2" fmla="*/ 2224677 w 2224677"/>
                <a:gd name="connsiteY2" fmla="*/ 2125617 h 2491377"/>
                <a:gd name="connsiteX3" fmla="*/ 7620 w 2224677"/>
                <a:gd name="connsiteY3" fmla="*/ 2491377 h 2491377"/>
                <a:gd name="connsiteX4" fmla="*/ 0 w 2224677"/>
                <a:gd name="connsiteY4" fmla="*/ 320040 h 24913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4677" h="2491377">
                  <a:moveTo>
                    <a:pt x="0" y="320040"/>
                  </a:moveTo>
                  <a:lnTo>
                    <a:pt x="2163717" y="0"/>
                  </a:lnTo>
                  <a:lnTo>
                    <a:pt x="2224677" y="2125617"/>
                  </a:lnTo>
                  <a:lnTo>
                    <a:pt x="7620" y="2491377"/>
                  </a:lnTo>
                  <a:lnTo>
                    <a:pt x="0" y="320040"/>
                  </a:lnTo>
                  <a:close/>
                </a:path>
              </a:pathLst>
            </a:custGeom>
            <a:solidFill>
              <a:schemeClr val="bg1"/>
            </a:solidFill>
            <a:ln>
              <a:noFill/>
            </a:ln>
            <a:effectLst>
              <a:outerShdw blurRad="203200" dist="114300" dir="2700000" algn="tl" rotWithShape="0">
                <a:schemeClr val="accent1">
                  <a:lumMod val="60000"/>
                  <a:lumOff val="40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Lato"/>
                <a:ea typeface="+mn-ea"/>
                <a:cs typeface="+mn-cs"/>
              </a:endParaRPr>
            </a:p>
          </p:txBody>
        </p:sp>
        <p:grpSp>
          <p:nvGrpSpPr>
            <p:cNvPr id="50" name="Group 49">
              <a:extLst>
                <a:ext uri="{FF2B5EF4-FFF2-40B4-BE49-F238E27FC236}">
                  <a16:creationId xmlns:a16="http://schemas.microsoft.com/office/drawing/2014/main" id="{7D69B266-32D7-4BA8-97F9-968F7A5D2E1D}"/>
                </a:ext>
              </a:extLst>
            </p:cNvPr>
            <p:cNvGrpSpPr/>
            <p:nvPr/>
          </p:nvGrpSpPr>
          <p:grpSpPr>
            <a:xfrm rot="4856481" flipV="1">
              <a:off x="3562916" y="1876838"/>
              <a:ext cx="245378" cy="278944"/>
              <a:chOff x="9492343" y="537029"/>
              <a:chExt cx="174171" cy="278944"/>
            </a:xfrm>
            <a:solidFill>
              <a:schemeClr val="bg1"/>
            </a:solidFill>
          </p:grpSpPr>
          <p:sp>
            <p:nvSpPr>
              <p:cNvPr id="52" name="Chevron 52">
                <a:extLst>
                  <a:ext uri="{FF2B5EF4-FFF2-40B4-BE49-F238E27FC236}">
                    <a16:creationId xmlns:a16="http://schemas.microsoft.com/office/drawing/2014/main" id="{810E7DEC-63A2-41AC-B320-748BB6ED2D3D}"/>
                  </a:ext>
                </a:extLst>
              </p:cNvPr>
              <p:cNvSpPr/>
              <p:nvPr/>
            </p:nvSpPr>
            <p:spPr>
              <a:xfrm rot="5400000">
                <a:off x="9492343" y="537029"/>
                <a:ext cx="174171" cy="174171"/>
              </a:xfrm>
              <a:prstGeom prst="chevr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armonyOS Sans SC"/>
                  <a:cs typeface="+mn-cs"/>
                </a:endParaRPr>
              </a:p>
            </p:txBody>
          </p:sp>
          <p:sp>
            <p:nvSpPr>
              <p:cNvPr id="53" name="Chevron 53">
                <a:extLst>
                  <a:ext uri="{FF2B5EF4-FFF2-40B4-BE49-F238E27FC236}">
                    <a16:creationId xmlns:a16="http://schemas.microsoft.com/office/drawing/2014/main" id="{E138BA40-F5AB-4892-8168-2D4E10F98060}"/>
                  </a:ext>
                </a:extLst>
              </p:cNvPr>
              <p:cNvSpPr/>
              <p:nvPr/>
            </p:nvSpPr>
            <p:spPr>
              <a:xfrm rot="5400000">
                <a:off x="9492343" y="641802"/>
                <a:ext cx="174171" cy="174171"/>
              </a:xfrm>
              <a:prstGeom prst="chevr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armonyOS Sans SC"/>
                  <a:cs typeface="+mn-cs"/>
                </a:endParaRPr>
              </a:p>
            </p:txBody>
          </p:sp>
        </p:grpSp>
        <p:sp>
          <p:nvSpPr>
            <p:cNvPr id="51" name="Freeform 47">
              <a:extLst>
                <a:ext uri="{FF2B5EF4-FFF2-40B4-BE49-F238E27FC236}">
                  <a16:creationId xmlns:a16="http://schemas.microsoft.com/office/drawing/2014/main" id="{203E220D-C225-4DB7-A779-573DD16BEF06}"/>
                </a:ext>
              </a:extLst>
            </p:cNvPr>
            <p:cNvSpPr>
              <a:spLocks noEditPoints="1"/>
            </p:cNvSpPr>
            <p:nvPr/>
          </p:nvSpPr>
          <p:spPr bwMode="auto">
            <a:xfrm>
              <a:off x="2500952" y="2222951"/>
              <a:ext cx="575554" cy="508850"/>
            </a:xfrm>
            <a:custGeom>
              <a:avLst/>
              <a:gdLst>
                <a:gd name="T0" fmla="*/ 112 w 128"/>
                <a:gd name="T1" fmla="*/ 60 h 112"/>
                <a:gd name="T2" fmla="*/ 104 w 128"/>
                <a:gd name="T3" fmla="*/ 60 h 112"/>
                <a:gd name="T4" fmla="*/ 104 w 128"/>
                <a:gd name="T5" fmla="*/ 16 h 112"/>
                <a:gd name="T6" fmla="*/ 88 w 128"/>
                <a:gd name="T7" fmla="*/ 0 h 112"/>
                <a:gd name="T8" fmla="*/ 40 w 128"/>
                <a:gd name="T9" fmla="*/ 0 h 112"/>
                <a:gd name="T10" fmla="*/ 24 w 128"/>
                <a:gd name="T11" fmla="*/ 16 h 112"/>
                <a:gd name="T12" fmla="*/ 24 w 128"/>
                <a:gd name="T13" fmla="*/ 60 h 112"/>
                <a:gd name="T14" fmla="*/ 16 w 128"/>
                <a:gd name="T15" fmla="*/ 60 h 112"/>
                <a:gd name="T16" fmla="*/ 0 w 128"/>
                <a:gd name="T17" fmla="*/ 76 h 112"/>
                <a:gd name="T18" fmla="*/ 0 w 128"/>
                <a:gd name="T19" fmla="*/ 84 h 112"/>
                <a:gd name="T20" fmla="*/ 16 w 128"/>
                <a:gd name="T21" fmla="*/ 100 h 112"/>
                <a:gd name="T22" fmla="*/ 25 w 128"/>
                <a:gd name="T23" fmla="*/ 100 h 112"/>
                <a:gd name="T24" fmla="*/ 40 w 128"/>
                <a:gd name="T25" fmla="*/ 112 h 112"/>
                <a:gd name="T26" fmla="*/ 88 w 128"/>
                <a:gd name="T27" fmla="*/ 112 h 112"/>
                <a:gd name="T28" fmla="*/ 103 w 128"/>
                <a:gd name="T29" fmla="*/ 100 h 112"/>
                <a:gd name="T30" fmla="*/ 112 w 128"/>
                <a:gd name="T31" fmla="*/ 100 h 112"/>
                <a:gd name="T32" fmla="*/ 128 w 128"/>
                <a:gd name="T33" fmla="*/ 84 h 112"/>
                <a:gd name="T34" fmla="*/ 128 w 128"/>
                <a:gd name="T35" fmla="*/ 76 h 112"/>
                <a:gd name="T36" fmla="*/ 112 w 128"/>
                <a:gd name="T37" fmla="*/ 60 h 112"/>
                <a:gd name="T38" fmla="*/ 32 w 128"/>
                <a:gd name="T39" fmla="*/ 16 h 112"/>
                <a:gd name="T40" fmla="*/ 40 w 128"/>
                <a:gd name="T41" fmla="*/ 8 h 112"/>
                <a:gd name="T42" fmla="*/ 88 w 128"/>
                <a:gd name="T43" fmla="*/ 8 h 112"/>
                <a:gd name="T44" fmla="*/ 96 w 128"/>
                <a:gd name="T45" fmla="*/ 16 h 112"/>
                <a:gd name="T46" fmla="*/ 96 w 128"/>
                <a:gd name="T47" fmla="*/ 60 h 112"/>
                <a:gd name="T48" fmla="*/ 32 w 128"/>
                <a:gd name="T49" fmla="*/ 60 h 112"/>
                <a:gd name="T50" fmla="*/ 32 w 128"/>
                <a:gd name="T51" fmla="*/ 16 h 112"/>
                <a:gd name="T52" fmla="*/ 88 w 128"/>
                <a:gd name="T53" fmla="*/ 104 h 112"/>
                <a:gd name="T54" fmla="*/ 40 w 128"/>
                <a:gd name="T55" fmla="*/ 104 h 112"/>
                <a:gd name="T56" fmla="*/ 32 w 128"/>
                <a:gd name="T57" fmla="*/ 96 h 112"/>
                <a:gd name="T58" fmla="*/ 40 w 128"/>
                <a:gd name="T59" fmla="*/ 88 h 112"/>
                <a:gd name="T60" fmla="*/ 88 w 128"/>
                <a:gd name="T61" fmla="*/ 88 h 112"/>
                <a:gd name="T62" fmla="*/ 96 w 128"/>
                <a:gd name="T63" fmla="*/ 96 h 112"/>
                <a:gd name="T64" fmla="*/ 88 w 128"/>
                <a:gd name="T65" fmla="*/ 104 h 112"/>
                <a:gd name="T66" fmla="*/ 120 w 128"/>
                <a:gd name="T67" fmla="*/ 84 h 112"/>
                <a:gd name="T68" fmla="*/ 112 w 128"/>
                <a:gd name="T69" fmla="*/ 92 h 112"/>
                <a:gd name="T70" fmla="*/ 103 w 128"/>
                <a:gd name="T71" fmla="*/ 92 h 112"/>
                <a:gd name="T72" fmla="*/ 88 w 128"/>
                <a:gd name="T73" fmla="*/ 80 h 112"/>
                <a:gd name="T74" fmla="*/ 40 w 128"/>
                <a:gd name="T75" fmla="*/ 80 h 112"/>
                <a:gd name="T76" fmla="*/ 25 w 128"/>
                <a:gd name="T77" fmla="*/ 92 h 112"/>
                <a:gd name="T78" fmla="*/ 16 w 128"/>
                <a:gd name="T79" fmla="*/ 92 h 112"/>
                <a:gd name="T80" fmla="*/ 8 w 128"/>
                <a:gd name="T81" fmla="*/ 84 h 112"/>
                <a:gd name="T82" fmla="*/ 8 w 128"/>
                <a:gd name="T83" fmla="*/ 76 h 112"/>
                <a:gd name="T84" fmla="*/ 16 w 128"/>
                <a:gd name="T85" fmla="*/ 68 h 112"/>
                <a:gd name="T86" fmla="*/ 112 w 128"/>
                <a:gd name="T87" fmla="*/ 68 h 112"/>
                <a:gd name="T88" fmla="*/ 120 w 128"/>
                <a:gd name="T89" fmla="*/ 76 h 112"/>
                <a:gd name="T90" fmla="*/ 120 w 128"/>
                <a:gd name="T91" fmla="*/ 84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28" h="112">
                  <a:moveTo>
                    <a:pt x="112" y="60"/>
                  </a:moveTo>
                  <a:cubicBezTo>
                    <a:pt x="104" y="60"/>
                    <a:pt x="104" y="60"/>
                    <a:pt x="104" y="60"/>
                  </a:cubicBezTo>
                  <a:cubicBezTo>
                    <a:pt x="104" y="16"/>
                    <a:pt x="104" y="16"/>
                    <a:pt x="104" y="16"/>
                  </a:cubicBezTo>
                  <a:cubicBezTo>
                    <a:pt x="104" y="7"/>
                    <a:pt x="97" y="0"/>
                    <a:pt x="88" y="0"/>
                  </a:cubicBezTo>
                  <a:cubicBezTo>
                    <a:pt x="40" y="0"/>
                    <a:pt x="40" y="0"/>
                    <a:pt x="40" y="0"/>
                  </a:cubicBezTo>
                  <a:cubicBezTo>
                    <a:pt x="31" y="0"/>
                    <a:pt x="24" y="7"/>
                    <a:pt x="24" y="16"/>
                  </a:cubicBezTo>
                  <a:cubicBezTo>
                    <a:pt x="24" y="16"/>
                    <a:pt x="24" y="57"/>
                    <a:pt x="24" y="60"/>
                  </a:cubicBezTo>
                  <a:cubicBezTo>
                    <a:pt x="16" y="60"/>
                    <a:pt x="16" y="60"/>
                    <a:pt x="16" y="60"/>
                  </a:cubicBezTo>
                  <a:cubicBezTo>
                    <a:pt x="7" y="60"/>
                    <a:pt x="0" y="67"/>
                    <a:pt x="0" y="76"/>
                  </a:cubicBezTo>
                  <a:cubicBezTo>
                    <a:pt x="0" y="84"/>
                    <a:pt x="0" y="84"/>
                    <a:pt x="0" y="84"/>
                  </a:cubicBezTo>
                  <a:cubicBezTo>
                    <a:pt x="0" y="93"/>
                    <a:pt x="7" y="100"/>
                    <a:pt x="16" y="100"/>
                  </a:cubicBezTo>
                  <a:cubicBezTo>
                    <a:pt x="25" y="100"/>
                    <a:pt x="25" y="100"/>
                    <a:pt x="25" y="100"/>
                  </a:cubicBezTo>
                  <a:cubicBezTo>
                    <a:pt x="26" y="107"/>
                    <a:pt x="33" y="112"/>
                    <a:pt x="40" y="112"/>
                  </a:cubicBezTo>
                  <a:cubicBezTo>
                    <a:pt x="88" y="112"/>
                    <a:pt x="88" y="112"/>
                    <a:pt x="88" y="112"/>
                  </a:cubicBezTo>
                  <a:cubicBezTo>
                    <a:pt x="95" y="112"/>
                    <a:pt x="102" y="107"/>
                    <a:pt x="103" y="100"/>
                  </a:cubicBezTo>
                  <a:cubicBezTo>
                    <a:pt x="112" y="100"/>
                    <a:pt x="112" y="100"/>
                    <a:pt x="112" y="100"/>
                  </a:cubicBezTo>
                  <a:cubicBezTo>
                    <a:pt x="121" y="100"/>
                    <a:pt x="128" y="93"/>
                    <a:pt x="128" y="84"/>
                  </a:cubicBezTo>
                  <a:cubicBezTo>
                    <a:pt x="128" y="76"/>
                    <a:pt x="128" y="76"/>
                    <a:pt x="128" y="76"/>
                  </a:cubicBezTo>
                  <a:cubicBezTo>
                    <a:pt x="128" y="67"/>
                    <a:pt x="121" y="60"/>
                    <a:pt x="112" y="60"/>
                  </a:cubicBezTo>
                  <a:close/>
                  <a:moveTo>
                    <a:pt x="32" y="16"/>
                  </a:moveTo>
                  <a:cubicBezTo>
                    <a:pt x="32" y="12"/>
                    <a:pt x="36" y="8"/>
                    <a:pt x="40" y="8"/>
                  </a:cubicBezTo>
                  <a:cubicBezTo>
                    <a:pt x="88" y="8"/>
                    <a:pt x="88" y="8"/>
                    <a:pt x="88" y="8"/>
                  </a:cubicBezTo>
                  <a:cubicBezTo>
                    <a:pt x="92" y="8"/>
                    <a:pt x="96" y="12"/>
                    <a:pt x="96" y="16"/>
                  </a:cubicBezTo>
                  <a:cubicBezTo>
                    <a:pt x="96" y="60"/>
                    <a:pt x="96" y="60"/>
                    <a:pt x="96" y="60"/>
                  </a:cubicBezTo>
                  <a:cubicBezTo>
                    <a:pt x="32" y="60"/>
                    <a:pt x="32" y="60"/>
                    <a:pt x="32" y="60"/>
                  </a:cubicBezTo>
                  <a:lnTo>
                    <a:pt x="32" y="16"/>
                  </a:lnTo>
                  <a:close/>
                  <a:moveTo>
                    <a:pt x="88" y="104"/>
                  </a:moveTo>
                  <a:cubicBezTo>
                    <a:pt x="40" y="104"/>
                    <a:pt x="40" y="104"/>
                    <a:pt x="40" y="104"/>
                  </a:cubicBezTo>
                  <a:cubicBezTo>
                    <a:pt x="36" y="104"/>
                    <a:pt x="32" y="100"/>
                    <a:pt x="32" y="96"/>
                  </a:cubicBezTo>
                  <a:cubicBezTo>
                    <a:pt x="32" y="92"/>
                    <a:pt x="36" y="88"/>
                    <a:pt x="40" y="88"/>
                  </a:cubicBezTo>
                  <a:cubicBezTo>
                    <a:pt x="88" y="88"/>
                    <a:pt x="88" y="88"/>
                    <a:pt x="88" y="88"/>
                  </a:cubicBezTo>
                  <a:cubicBezTo>
                    <a:pt x="92" y="88"/>
                    <a:pt x="96" y="92"/>
                    <a:pt x="96" y="96"/>
                  </a:cubicBezTo>
                  <a:cubicBezTo>
                    <a:pt x="96" y="100"/>
                    <a:pt x="92" y="104"/>
                    <a:pt x="88" y="104"/>
                  </a:cubicBezTo>
                  <a:close/>
                  <a:moveTo>
                    <a:pt x="120" y="84"/>
                  </a:moveTo>
                  <a:cubicBezTo>
                    <a:pt x="120" y="88"/>
                    <a:pt x="116" y="92"/>
                    <a:pt x="112" y="92"/>
                  </a:cubicBezTo>
                  <a:cubicBezTo>
                    <a:pt x="103" y="92"/>
                    <a:pt x="103" y="92"/>
                    <a:pt x="103" y="92"/>
                  </a:cubicBezTo>
                  <a:cubicBezTo>
                    <a:pt x="102" y="85"/>
                    <a:pt x="95" y="80"/>
                    <a:pt x="88" y="80"/>
                  </a:cubicBezTo>
                  <a:cubicBezTo>
                    <a:pt x="40" y="80"/>
                    <a:pt x="40" y="80"/>
                    <a:pt x="40" y="80"/>
                  </a:cubicBezTo>
                  <a:cubicBezTo>
                    <a:pt x="33" y="80"/>
                    <a:pt x="26" y="85"/>
                    <a:pt x="25" y="92"/>
                  </a:cubicBezTo>
                  <a:cubicBezTo>
                    <a:pt x="16" y="92"/>
                    <a:pt x="16" y="92"/>
                    <a:pt x="16" y="92"/>
                  </a:cubicBezTo>
                  <a:cubicBezTo>
                    <a:pt x="12" y="92"/>
                    <a:pt x="8" y="88"/>
                    <a:pt x="8" y="84"/>
                  </a:cubicBezTo>
                  <a:cubicBezTo>
                    <a:pt x="8" y="76"/>
                    <a:pt x="8" y="76"/>
                    <a:pt x="8" y="76"/>
                  </a:cubicBezTo>
                  <a:cubicBezTo>
                    <a:pt x="8" y="72"/>
                    <a:pt x="12" y="68"/>
                    <a:pt x="16" y="68"/>
                  </a:cubicBezTo>
                  <a:cubicBezTo>
                    <a:pt x="112" y="68"/>
                    <a:pt x="112" y="68"/>
                    <a:pt x="112" y="68"/>
                  </a:cubicBezTo>
                  <a:cubicBezTo>
                    <a:pt x="116" y="68"/>
                    <a:pt x="120" y="72"/>
                    <a:pt x="120" y="76"/>
                  </a:cubicBezTo>
                  <a:lnTo>
                    <a:pt x="120" y="8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armonyOS Sans SC"/>
                <a:cs typeface="+mn-cs"/>
              </a:endParaRPr>
            </a:p>
          </p:txBody>
        </p:sp>
        <p:sp>
          <p:nvSpPr>
            <p:cNvPr id="64" name="Rectangle 63">
              <a:extLst>
                <a:ext uri="{FF2B5EF4-FFF2-40B4-BE49-F238E27FC236}">
                  <a16:creationId xmlns:a16="http://schemas.microsoft.com/office/drawing/2014/main" id="{99F95B2E-213F-42E6-865A-196DF3D054C6}"/>
                </a:ext>
              </a:extLst>
            </p:cNvPr>
            <p:cNvSpPr/>
            <p:nvPr/>
          </p:nvSpPr>
          <p:spPr>
            <a:xfrm rot="21051211">
              <a:off x="1849111" y="3725369"/>
              <a:ext cx="2011633" cy="886846"/>
            </a:xfrm>
            <a:prstGeom prst="rect">
              <a:avLst/>
            </a:prstGeom>
          </p:spPr>
          <p:txBody>
            <a:bodyPr wrap="square">
              <a:sp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0" lang="en-US" sz="1200" b="0" i="0" u="none" strike="noStrike" kern="1200" cap="none" spc="0" normalizeH="0" baseline="0" noProof="0" dirty="0" err="1">
                  <a:ln>
                    <a:noFill/>
                  </a:ln>
                  <a:solidFill>
                    <a:prstClr val="black">
                      <a:lumMod val="50000"/>
                      <a:lumOff val="50000"/>
                    </a:prstClr>
                  </a:solidFill>
                  <a:effectLst/>
                  <a:uLnTx/>
                  <a:uFillTx/>
                  <a:latin typeface="HarmonyOS Sans SC"/>
                  <a:cs typeface="+mn-cs"/>
                </a:rPr>
                <a:t>Lorem</a:t>
              </a:r>
              <a:r>
                <a:rPr kumimoji="0" lang="en-US" sz="1200" b="0" i="0" u="none" strike="noStrike" kern="1200" cap="none" spc="0" normalizeH="0" baseline="0" noProof="0" dirty="0">
                  <a:ln>
                    <a:noFill/>
                  </a:ln>
                  <a:solidFill>
                    <a:prstClr val="black">
                      <a:lumMod val="50000"/>
                      <a:lumOff val="50000"/>
                    </a:prstClr>
                  </a:solidFill>
                  <a:effectLst/>
                  <a:uLnTx/>
                  <a:uFillTx/>
                  <a:latin typeface="HarmonyOS Sans SC"/>
                  <a:cs typeface="+mn-cs"/>
                </a:rPr>
                <a:t> </a:t>
              </a:r>
              <a:r>
                <a:rPr kumimoji="0" lang="en-US" sz="1200" b="0" i="0" u="none" strike="noStrike" kern="1200" cap="none" spc="0" normalizeH="0" baseline="0" noProof="0" dirty="0" err="1">
                  <a:ln>
                    <a:noFill/>
                  </a:ln>
                  <a:solidFill>
                    <a:prstClr val="black">
                      <a:lumMod val="50000"/>
                      <a:lumOff val="50000"/>
                    </a:prstClr>
                  </a:solidFill>
                  <a:effectLst/>
                  <a:uLnTx/>
                  <a:uFillTx/>
                  <a:latin typeface="HarmonyOS Sans SC"/>
                  <a:cs typeface="+mn-cs"/>
                </a:rPr>
                <a:t>Ipsum</a:t>
              </a:r>
              <a:r>
                <a:rPr kumimoji="0" lang="en-US" sz="1200" b="0" i="0" u="none" strike="noStrike" kern="1200" cap="none" spc="0" normalizeH="0" baseline="0" noProof="0" dirty="0">
                  <a:ln>
                    <a:noFill/>
                  </a:ln>
                  <a:solidFill>
                    <a:prstClr val="black">
                      <a:lumMod val="50000"/>
                      <a:lumOff val="50000"/>
                    </a:prstClr>
                  </a:solidFill>
                  <a:effectLst/>
                  <a:uLnTx/>
                  <a:uFillTx/>
                  <a:latin typeface="HarmonyOS Sans SC"/>
                  <a:cs typeface="+mn-cs"/>
                </a:rPr>
                <a:t> comes from section Contrary to popular belief.</a:t>
              </a:r>
            </a:p>
          </p:txBody>
        </p:sp>
        <p:sp>
          <p:nvSpPr>
            <p:cNvPr id="65" name="TextBox 64">
              <a:extLst>
                <a:ext uri="{FF2B5EF4-FFF2-40B4-BE49-F238E27FC236}">
                  <a16:creationId xmlns:a16="http://schemas.microsoft.com/office/drawing/2014/main" id="{DEB94141-9571-4F8D-B27E-70F2955685D4}"/>
                </a:ext>
              </a:extLst>
            </p:cNvPr>
            <p:cNvSpPr txBox="1"/>
            <p:nvPr/>
          </p:nvSpPr>
          <p:spPr>
            <a:xfrm rot="21057820">
              <a:off x="2027943" y="3269421"/>
              <a:ext cx="1521571" cy="33855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lumMod val="75000"/>
                      <a:lumOff val="25000"/>
                    </a:prstClr>
                  </a:solidFill>
                  <a:effectLst/>
                  <a:uLnTx/>
                  <a:uFillTx/>
                  <a:latin typeface="HarmonyOS Sans SC Black"/>
                  <a:ea typeface="+mj-ea"/>
                  <a:cs typeface="+mn-cs"/>
                </a:rPr>
                <a:t>Description 1</a:t>
              </a:r>
            </a:p>
          </p:txBody>
        </p:sp>
        <p:sp>
          <p:nvSpPr>
            <p:cNvPr id="66" name="TextBox 65">
              <a:extLst>
                <a:ext uri="{FF2B5EF4-FFF2-40B4-BE49-F238E27FC236}">
                  <a16:creationId xmlns:a16="http://schemas.microsoft.com/office/drawing/2014/main" id="{802FC41F-57EB-43E4-A3FA-06C12978D002}"/>
                </a:ext>
              </a:extLst>
            </p:cNvPr>
            <p:cNvSpPr txBox="1"/>
            <p:nvPr/>
          </p:nvSpPr>
          <p:spPr>
            <a:xfrm rot="21057820">
              <a:off x="4252565" y="3269421"/>
              <a:ext cx="1521571" cy="33855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lumMod val="75000"/>
                      <a:lumOff val="25000"/>
                    </a:prstClr>
                  </a:solidFill>
                  <a:effectLst/>
                  <a:uLnTx/>
                  <a:uFillTx/>
                  <a:latin typeface="HarmonyOS Sans SC Black"/>
                  <a:ea typeface="+mj-ea"/>
                  <a:cs typeface="+mn-cs"/>
                </a:rPr>
                <a:t>Description 2</a:t>
              </a:r>
            </a:p>
          </p:txBody>
        </p:sp>
        <p:sp>
          <p:nvSpPr>
            <p:cNvPr id="67" name="TextBox 66">
              <a:extLst>
                <a:ext uri="{FF2B5EF4-FFF2-40B4-BE49-F238E27FC236}">
                  <a16:creationId xmlns:a16="http://schemas.microsoft.com/office/drawing/2014/main" id="{5100D014-3CB1-4798-84BE-A727204624FB}"/>
                </a:ext>
              </a:extLst>
            </p:cNvPr>
            <p:cNvSpPr txBox="1"/>
            <p:nvPr/>
          </p:nvSpPr>
          <p:spPr>
            <a:xfrm rot="21057820">
              <a:off x="6422098" y="3269420"/>
              <a:ext cx="1521571" cy="33855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lumMod val="75000"/>
                      <a:lumOff val="25000"/>
                    </a:prstClr>
                  </a:solidFill>
                  <a:effectLst/>
                  <a:uLnTx/>
                  <a:uFillTx/>
                  <a:latin typeface="HarmonyOS Sans SC Black"/>
                  <a:ea typeface="+mj-ea"/>
                  <a:cs typeface="+mn-cs"/>
                </a:rPr>
                <a:t>Description 3</a:t>
              </a:r>
            </a:p>
          </p:txBody>
        </p:sp>
        <p:sp>
          <p:nvSpPr>
            <p:cNvPr id="68" name="TextBox 67">
              <a:extLst>
                <a:ext uri="{FF2B5EF4-FFF2-40B4-BE49-F238E27FC236}">
                  <a16:creationId xmlns:a16="http://schemas.microsoft.com/office/drawing/2014/main" id="{11443BA3-9230-4E93-9723-D701D238E2A5}"/>
                </a:ext>
              </a:extLst>
            </p:cNvPr>
            <p:cNvSpPr txBox="1"/>
            <p:nvPr/>
          </p:nvSpPr>
          <p:spPr>
            <a:xfrm rot="21057820">
              <a:off x="8569270" y="3269420"/>
              <a:ext cx="1521571" cy="33855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lumMod val="75000"/>
                      <a:lumOff val="25000"/>
                    </a:prstClr>
                  </a:solidFill>
                  <a:effectLst/>
                  <a:uLnTx/>
                  <a:uFillTx/>
                  <a:latin typeface="HarmonyOS Sans SC Black"/>
                  <a:ea typeface="+mj-ea"/>
                  <a:cs typeface="+mn-cs"/>
                </a:rPr>
                <a:t>Description 4</a:t>
              </a:r>
            </a:p>
          </p:txBody>
        </p:sp>
        <p:sp>
          <p:nvSpPr>
            <p:cNvPr id="69" name="Rectangle 68">
              <a:extLst>
                <a:ext uri="{FF2B5EF4-FFF2-40B4-BE49-F238E27FC236}">
                  <a16:creationId xmlns:a16="http://schemas.microsoft.com/office/drawing/2014/main" id="{D6F8B75D-8B2C-401C-9879-BA6288A1BB53}"/>
                </a:ext>
              </a:extLst>
            </p:cNvPr>
            <p:cNvSpPr/>
            <p:nvPr/>
          </p:nvSpPr>
          <p:spPr>
            <a:xfrm rot="21051211">
              <a:off x="4006909" y="3725369"/>
              <a:ext cx="2011633" cy="886846"/>
            </a:xfrm>
            <a:prstGeom prst="rect">
              <a:avLst/>
            </a:prstGeom>
          </p:spPr>
          <p:txBody>
            <a:bodyPr wrap="square">
              <a:sp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0" lang="en-US" sz="1200" b="0" i="0" u="none" strike="noStrike" kern="1200" cap="none" spc="0" normalizeH="0" baseline="0" noProof="0" dirty="0" err="1">
                  <a:ln>
                    <a:noFill/>
                  </a:ln>
                  <a:solidFill>
                    <a:prstClr val="black">
                      <a:lumMod val="50000"/>
                      <a:lumOff val="50000"/>
                    </a:prstClr>
                  </a:solidFill>
                  <a:effectLst/>
                  <a:uLnTx/>
                  <a:uFillTx/>
                  <a:latin typeface="HarmonyOS Sans SC"/>
                  <a:cs typeface="+mn-cs"/>
                </a:rPr>
                <a:t>Lorem</a:t>
              </a:r>
              <a:r>
                <a:rPr kumimoji="0" lang="en-US" sz="1200" b="0" i="0" u="none" strike="noStrike" kern="1200" cap="none" spc="0" normalizeH="0" baseline="0" noProof="0" dirty="0">
                  <a:ln>
                    <a:noFill/>
                  </a:ln>
                  <a:solidFill>
                    <a:prstClr val="black">
                      <a:lumMod val="50000"/>
                      <a:lumOff val="50000"/>
                    </a:prstClr>
                  </a:solidFill>
                  <a:effectLst/>
                  <a:uLnTx/>
                  <a:uFillTx/>
                  <a:latin typeface="HarmonyOS Sans SC"/>
                  <a:cs typeface="+mn-cs"/>
                </a:rPr>
                <a:t> </a:t>
              </a:r>
              <a:r>
                <a:rPr kumimoji="0" lang="en-US" sz="1200" b="0" i="0" u="none" strike="noStrike" kern="1200" cap="none" spc="0" normalizeH="0" baseline="0" noProof="0" dirty="0" err="1">
                  <a:ln>
                    <a:noFill/>
                  </a:ln>
                  <a:solidFill>
                    <a:prstClr val="black">
                      <a:lumMod val="50000"/>
                      <a:lumOff val="50000"/>
                    </a:prstClr>
                  </a:solidFill>
                  <a:effectLst/>
                  <a:uLnTx/>
                  <a:uFillTx/>
                  <a:latin typeface="HarmonyOS Sans SC"/>
                  <a:cs typeface="+mn-cs"/>
                </a:rPr>
                <a:t>Ipsum</a:t>
              </a:r>
              <a:r>
                <a:rPr kumimoji="0" lang="en-US" sz="1200" b="0" i="0" u="none" strike="noStrike" kern="1200" cap="none" spc="0" normalizeH="0" baseline="0" noProof="0" dirty="0">
                  <a:ln>
                    <a:noFill/>
                  </a:ln>
                  <a:solidFill>
                    <a:prstClr val="black">
                      <a:lumMod val="50000"/>
                      <a:lumOff val="50000"/>
                    </a:prstClr>
                  </a:solidFill>
                  <a:effectLst/>
                  <a:uLnTx/>
                  <a:uFillTx/>
                  <a:latin typeface="HarmonyOS Sans SC"/>
                  <a:cs typeface="+mn-cs"/>
                </a:rPr>
                <a:t> comes from section Contrary to popular belief.</a:t>
              </a:r>
            </a:p>
          </p:txBody>
        </p:sp>
        <p:sp>
          <p:nvSpPr>
            <p:cNvPr id="70" name="Rectangle 69">
              <a:extLst>
                <a:ext uri="{FF2B5EF4-FFF2-40B4-BE49-F238E27FC236}">
                  <a16:creationId xmlns:a16="http://schemas.microsoft.com/office/drawing/2014/main" id="{FEDAFB96-889A-4C92-95A0-EB52E3A6A9E5}"/>
                </a:ext>
              </a:extLst>
            </p:cNvPr>
            <p:cNvSpPr/>
            <p:nvPr/>
          </p:nvSpPr>
          <p:spPr>
            <a:xfrm rot="21051211">
              <a:off x="6165955" y="3725369"/>
              <a:ext cx="2011633" cy="886846"/>
            </a:xfrm>
            <a:prstGeom prst="rect">
              <a:avLst/>
            </a:prstGeom>
          </p:spPr>
          <p:txBody>
            <a:bodyPr wrap="square">
              <a:sp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0" lang="en-US" sz="1200" b="0" i="0" u="none" strike="noStrike" kern="1200" cap="none" spc="0" normalizeH="0" baseline="0" noProof="0" dirty="0" err="1">
                  <a:ln>
                    <a:noFill/>
                  </a:ln>
                  <a:solidFill>
                    <a:prstClr val="black">
                      <a:lumMod val="50000"/>
                      <a:lumOff val="50000"/>
                    </a:prstClr>
                  </a:solidFill>
                  <a:effectLst/>
                  <a:uLnTx/>
                  <a:uFillTx/>
                  <a:latin typeface="HarmonyOS Sans SC"/>
                  <a:cs typeface="+mn-cs"/>
                </a:rPr>
                <a:t>Lorem</a:t>
              </a:r>
              <a:r>
                <a:rPr kumimoji="0" lang="en-US" sz="1200" b="0" i="0" u="none" strike="noStrike" kern="1200" cap="none" spc="0" normalizeH="0" baseline="0" noProof="0" dirty="0">
                  <a:ln>
                    <a:noFill/>
                  </a:ln>
                  <a:solidFill>
                    <a:prstClr val="black">
                      <a:lumMod val="50000"/>
                      <a:lumOff val="50000"/>
                    </a:prstClr>
                  </a:solidFill>
                  <a:effectLst/>
                  <a:uLnTx/>
                  <a:uFillTx/>
                  <a:latin typeface="HarmonyOS Sans SC"/>
                  <a:cs typeface="+mn-cs"/>
                </a:rPr>
                <a:t> </a:t>
              </a:r>
              <a:r>
                <a:rPr kumimoji="0" lang="en-US" sz="1200" b="0" i="0" u="none" strike="noStrike" kern="1200" cap="none" spc="0" normalizeH="0" baseline="0" noProof="0" dirty="0" err="1">
                  <a:ln>
                    <a:noFill/>
                  </a:ln>
                  <a:solidFill>
                    <a:prstClr val="black">
                      <a:lumMod val="50000"/>
                      <a:lumOff val="50000"/>
                    </a:prstClr>
                  </a:solidFill>
                  <a:effectLst/>
                  <a:uLnTx/>
                  <a:uFillTx/>
                  <a:latin typeface="HarmonyOS Sans SC"/>
                  <a:cs typeface="+mn-cs"/>
                </a:rPr>
                <a:t>Ipsum</a:t>
              </a:r>
              <a:r>
                <a:rPr kumimoji="0" lang="en-US" sz="1200" b="0" i="0" u="none" strike="noStrike" kern="1200" cap="none" spc="0" normalizeH="0" baseline="0" noProof="0" dirty="0">
                  <a:ln>
                    <a:noFill/>
                  </a:ln>
                  <a:solidFill>
                    <a:prstClr val="black">
                      <a:lumMod val="50000"/>
                      <a:lumOff val="50000"/>
                    </a:prstClr>
                  </a:solidFill>
                  <a:effectLst/>
                  <a:uLnTx/>
                  <a:uFillTx/>
                  <a:latin typeface="HarmonyOS Sans SC"/>
                  <a:cs typeface="+mn-cs"/>
                </a:rPr>
                <a:t> comes from section Contrary to popular belief.</a:t>
              </a:r>
            </a:p>
          </p:txBody>
        </p:sp>
        <p:sp>
          <p:nvSpPr>
            <p:cNvPr id="71" name="Rectangle 70">
              <a:extLst>
                <a:ext uri="{FF2B5EF4-FFF2-40B4-BE49-F238E27FC236}">
                  <a16:creationId xmlns:a16="http://schemas.microsoft.com/office/drawing/2014/main" id="{2FBBE560-B844-4C12-BB0F-7315ACC55175}"/>
                </a:ext>
              </a:extLst>
            </p:cNvPr>
            <p:cNvSpPr/>
            <p:nvPr/>
          </p:nvSpPr>
          <p:spPr>
            <a:xfrm rot="21051211">
              <a:off x="8334611" y="3725369"/>
              <a:ext cx="2011633" cy="886846"/>
            </a:xfrm>
            <a:prstGeom prst="rect">
              <a:avLst/>
            </a:prstGeom>
          </p:spPr>
          <p:txBody>
            <a:bodyPr wrap="square">
              <a:sp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0" lang="en-US" sz="1200" b="0" i="0" u="none" strike="noStrike" kern="1200" cap="none" spc="0" normalizeH="0" baseline="0" noProof="0" dirty="0" err="1">
                  <a:ln>
                    <a:noFill/>
                  </a:ln>
                  <a:solidFill>
                    <a:prstClr val="black">
                      <a:lumMod val="50000"/>
                      <a:lumOff val="50000"/>
                    </a:prstClr>
                  </a:solidFill>
                  <a:effectLst/>
                  <a:uLnTx/>
                  <a:uFillTx/>
                  <a:latin typeface="HarmonyOS Sans SC"/>
                  <a:cs typeface="+mn-cs"/>
                </a:rPr>
                <a:t>Lorem</a:t>
              </a:r>
              <a:r>
                <a:rPr kumimoji="0" lang="en-US" sz="1200" b="0" i="0" u="none" strike="noStrike" kern="1200" cap="none" spc="0" normalizeH="0" baseline="0" noProof="0" dirty="0">
                  <a:ln>
                    <a:noFill/>
                  </a:ln>
                  <a:solidFill>
                    <a:prstClr val="black">
                      <a:lumMod val="50000"/>
                      <a:lumOff val="50000"/>
                    </a:prstClr>
                  </a:solidFill>
                  <a:effectLst/>
                  <a:uLnTx/>
                  <a:uFillTx/>
                  <a:latin typeface="HarmonyOS Sans SC"/>
                  <a:cs typeface="+mn-cs"/>
                </a:rPr>
                <a:t> </a:t>
              </a:r>
              <a:r>
                <a:rPr kumimoji="0" lang="en-US" sz="1200" b="0" i="0" u="none" strike="noStrike" kern="1200" cap="none" spc="0" normalizeH="0" baseline="0" noProof="0" dirty="0" err="1">
                  <a:ln>
                    <a:noFill/>
                  </a:ln>
                  <a:solidFill>
                    <a:prstClr val="black">
                      <a:lumMod val="50000"/>
                      <a:lumOff val="50000"/>
                    </a:prstClr>
                  </a:solidFill>
                  <a:effectLst/>
                  <a:uLnTx/>
                  <a:uFillTx/>
                  <a:latin typeface="HarmonyOS Sans SC"/>
                  <a:cs typeface="+mn-cs"/>
                </a:rPr>
                <a:t>Ipsum</a:t>
              </a:r>
              <a:r>
                <a:rPr kumimoji="0" lang="en-US" sz="1200" b="0" i="0" u="none" strike="noStrike" kern="1200" cap="none" spc="0" normalizeH="0" baseline="0" noProof="0" dirty="0">
                  <a:ln>
                    <a:noFill/>
                  </a:ln>
                  <a:solidFill>
                    <a:prstClr val="black">
                      <a:lumMod val="50000"/>
                      <a:lumOff val="50000"/>
                    </a:prstClr>
                  </a:solidFill>
                  <a:effectLst/>
                  <a:uLnTx/>
                  <a:uFillTx/>
                  <a:latin typeface="HarmonyOS Sans SC"/>
                  <a:cs typeface="+mn-cs"/>
                </a:rPr>
                <a:t> comes from section Contrary to popular belief.</a:t>
              </a:r>
            </a:p>
          </p:txBody>
        </p:sp>
      </p:grpSp>
      <p:sp>
        <p:nvSpPr>
          <p:cNvPr id="72" name="文本框 71">
            <a:extLst>
              <a:ext uri="{FF2B5EF4-FFF2-40B4-BE49-F238E27FC236}">
                <a16:creationId xmlns:a16="http://schemas.microsoft.com/office/drawing/2014/main" id="{B6F0F33B-088F-4E8E-AEB0-8945D5360C07}"/>
              </a:ext>
            </a:extLst>
          </p:cNvPr>
          <p:cNvSpPr txBox="1"/>
          <p:nvPr/>
        </p:nvSpPr>
        <p:spPr>
          <a:xfrm>
            <a:off x="4432725" y="918105"/>
            <a:ext cx="3326553" cy="52322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2800" b="0" i="0" u="none" strike="noStrike" kern="1200" cap="none" spc="0" normalizeH="0" baseline="0" noProof="0" dirty="0">
                <a:ln>
                  <a:noFill/>
                </a:ln>
                <a:solidFill>
                  <a:schemeClr val="accent1"/>
                </a:solidFill>
                <a:effectLst/>
                <a:uLnTx/>
                <a:uFillTx/>
                <a:latin typeface="HarmonyOS Sans Black"/>
                <a:ea typeface="+mj-ea"/>
                <a:cs typeface="+mn-cs"/>
              </a:rPr>
              <a:t>Infographic </a:t>
            </a:r>
            <a:r>
              <a:rPr kumimoji="0" lang="en-US" altLang="zh-CN" sz="2800" b="0" i="0" u="none" strike="noStrike" kern="1200" cap="none" spc="0" normalizeH="0" baseline="0" noProof="0" dirty="0">
                <a:ln>
                  <a:noFill/>
                </a:ln>
                <a:solidFill>
                  <a:prstClr val="black">
                    <a:lumMod val="75000"/>
                    <a:lumOff val="25000"/>
                  </a:prstClr>
                </a:solidFill>
                <a:effectLst/>
                <a:uLnTx/>
                <a:uFillTx/>
                <a:latin typeface="HarmonyOS Sans Black"/>
                <a:ea typeface="+mj-ea"/>
                <a:cs typeface="+mn-cs"/>
              </a:rPr>
              <a:t>Slides</a:t>
            </a:r>
          </a:p>
        </p:txBody>
      </p:sp>
    </p:spTree>
    <p:extLst>
      <p:ext uri="{BB962C8B-B14F-4D97-AF65-F5344CB8AC3E}">
        <p14:creationId xmlns:p14="http://schemas.microsoft.com/office/powerpoint/2010/main" val="2403202025"/>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4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reeform 11">
            <a:extLst>
              <a:ext uri="{FF2B5EF4-FFF2-40B4-BE49-F238E27FC236}">
                <a16:creationId xmlns:a16="http://schemas.microsoft.com/office/drawing/2014/main" id="{448909DF-8733-45C2-AB50-5824C11F1662}"/>
              </a:ext>
            </a:extLst>
          </p:cNvPr>
          <p:cNvSpPr>
            <a:spLocks/>
          </p:cNvSpPr>
          <p:nvPr/>
        </p:nvSpPr>
        <p:spPr bwMode="auto">
          <a:xfrm>
            <a:off x="5283256" y="4639535"/>
            <a:ext cx="2185814" cy="726110"/>
          </a:xfrm>
          <a:custGeom>
            <a:avLst/>
            <a:gdLst>
              <a:gd name="T0" fmla="*/ 985 w 985"/>
              <a:gd name="T1" fmla="*/ 265 h 449"/>
              <a:gd name="T2" fmla="*/ 492 w 985"/>
              <a:gd name="T3" fmla="*/ 0 h 449"/>
              <a:gd name="T4" fmla="*/ 0 w 985"/>
              <a:gd name="T5" fmla="*/ 265 h 449"/>
              <a:gd name="T6" fmla="*/ 0 w 985"/>
              <a:gd name="T7" fmla="*/ 449 h 449"/>
              <a:gd name="T8" fmla="*/ 492 w 985"/>
              <a:gd name="T9" fmla="*/ 183 h 449"/>
              <a:gd name="T10" fmla="*/ 985 w 985"/>
              <a:gd name="T11" fmla="*/ 449 h 449"/>
              <a:gd name="T12" fmla="*/ 985 w 985"/>
              <a:gd name="T13" fmla="*/ 265 h 449"/>
            </a:gdLst>
            <a:ahLst/>
            <a:cxnLst>
              <a:cxn ang="0">
                <a:pos x="T0" y="T1"/>
              </a:cxn>
              <a:cxn ang="0">
                <a:pos x="T2" y="T3"/>
              </a:cxn>
              <a:cxn ang="0">
                <a:pos x="T4" y="T5"/>
              </a:cxn>
              <a:cxn ang="0">
                <a:pos x="T6" y="T7"/>
              </a:cxn>
              <a:cxn ang="0">
                <a:pos x="T8" y="T9"/>
              </a:cxn>
              <a:cxn ang="0">
                <a:pos x="T10" y="T11"/>
              </a:cxn>
              <a:cxn ang="0">
                <a:pos x="T12" y="T13"/>
              </a:cxn>
            </a:cxnLst>
            <a:rect l="0" t="0" r="r" b="b"/>
            <a:pathLst>
              <a:path w="985" h="449">
                <a:moveTo>
                  <a:pt x="985" y="265"/>
                </a:moveTo>
                <a:cubicBezTo>
                  <a:pt x="985" y="119"/>
                  <a:pt x="764" y="0"/>
                  <a:pt x="492" y="0"/>
                </a:cubicBezTo>
                <a:cubicBezTo>
                  <a:pt x="220" y="0"/>
                  <a:pt x="0" y="119"/>
                  <a:pt x="0" y="265"/>
                </a:cubicBezTo>
                <a:cubicBezTo>
                  <a:pt x="0" y="449"/>
                  <a:pt x="0" y="449"/>
                  <a:pt x="0" y="449"/>
                </a:cubicBezTo>
                <a:cubicBezTo>
                  <a:pt x="0" y="302"/>
                  <a:pt x="220" y="183"/>
                  <a:pt x="492" y="183"/>
                </a:cubicBezTo>
                <a:cubicBezTo>
                  <a:pt x="764" y="183"/>
                  <a:pt x="985" y="302"/>
                  <a:pt x="985" y="449"/>
                </a:cubicBezTo>
                <a:lnTo>
                  <a:pt x="985" y="265"/>
                </a:lnTo>
                <a:close/>
              </a:path>
            </a:pathLst>
          </a:custGeom>
          <a:gradFill flip="none" rotWithShape="1">
            <a:gsLst>
              <a:gs pos="6000">
                <a:schemeClr val="accent1">
                  <a:lumMod val="40000"/>
                  <a:lumOff val="60000"/>
                </a:schemeClr>
              </a:gs>
              <a:gs pos="26000">
                <a:schemeClr val="accent1">
                  <a:lumMod val="60000"/>
                  <a:lumOff val="40000"/>
                </a:schemeClr>
              </a:gs>
              <a:gs pos="82000">
                <a:schemeClr val="accent1"/>
              </a:gs>
            </a:gsLst>
            <a:lin ang="540000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ko-KR" altLang="en-US" sz="1800" b="0" i="0" u="none" strike="noStrike" kern="1200" cap="none" spc="0" normalizeH="0" baseline="0" noProof="0" dirty="0">
              <a:ln>
                <a:noFill/>
              </a:ln>
              <a:solidFill>
                <a:prstClr val="black"/>
              </a:solidFill>
              <a:effectLst/>
              <a:uLnTx/>
              <a:uFillTx/>
              <a:latin typeface="Calibri" panose="020F0502020204030204"/>
              <a:cs typeface="+mn-cs"/>
            </a:endParaRPr>
          </a:p>
        </p:txBody>
      </p:sp>
      <p:sp>
        <p:nvSpPr>
          <p:cNvPr id="4" name="Freeform 12">
            <a:extLst>
              <a:ext uri="{FF2B5EF4-FFF2-40B4-BE49-F238E27FC236}">
                <a16:creationId xmlns:a16="http://schemas.microsoft.com/office/drawing/2014/main" id="{28D58725-A145-4CFC-B9C3-6388FBEEE752}"/>
              </a:ext>
            </a:extLst>
          </p:cNvPr>
          <p:cNvSpPr>
            <a:spLocks noEditPoints="1"/>
          </p:cNvSpPr>
          <p:nvPr/>
        </p:nvSpPr>
        <p:spPr bwMode="auto">
          <a:xfrm>
            <a:off x="5283256" y="4639535"/>
            <a:ext cx="2185814" cy="858353"/>
          </a:xfrm>
          <a:custGeom>
            <a:avLst/>
            <a:gdLst>
              <a:gd name="T0" fmla="*/ 492 w 985"/>
              <a:gd name="T1" fmla="*/ 60 h 531"/>
              <a:gd name="T2" fmla="*/ 925 w 985"/>
              <a:gd name="T3" fmla="*/ 265 h 531"/>
              <a:gd name="T4" fmla="*/ 492 w 985"/>
              <a:gd name="T5" fmla="*/ 471 h 531"/>
              <a:gd name="T6" fmla="*/ 60 w 985"/>
              <a:gd name="T7" fmla="*/ 265 h 531"/>
              <a:gd name="T8" fmla="*/ 492 w 985"/>
              <a:gd name="T9" fmla="*/ 60 h 531"/>
              <a:gd name="T10" fmla="*/ 492 w 985"/>
              <a:gd name="T11" fmla="*/ 0 h 531"/>
              <a:gd name="T12" fmla="*/ 0 w 985"/>
              <a:gd name="T13" fmla="*/ 265 h 531"/>
              <a:gd name="T14" fmla="*/ 492 w 985"/>
              <a:gd name="T15" fmla="*/ 531 h 531"/>
              <a:gd name="T16" fmla="*/ 985 w 985"/>
              <a:gd name="T17" fmla="*/ 265 h 531"/>
              <a:gd name="T18" fmla="*/ 492 w 985"/>
              <a:gd name="T19" fmla="*/ 0 h 5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5" h="531">
                <a:moveTo>
                  <a:pt x="492" y="60"/>
                </a:moveTo>
                <a:cubicBezTo>
                  <a:pt x="747" y="60"/>
                  <a:pt x="925" y="168"/>
                  <a:pt x="925" y="265"/>
                </a:cubicBezTo>
                <a:cubicBezTo>
                  <a:pt x="925" y="362"/>
                  <a:pt x="747" y="471"/>
                  <a:pt x="492" y="471"/>
                </a:cubicBezTo>
                <a:cubicBezTo>
                  <a:pt x="237" y="471"/>
                  <a:pt x="60" y="362"/>
                  <a:pt x="60" y="265"/>
                </a:cubicBezTo>
                <a:cubicBezTo>
                  <a:pt x="60" y="168"/>
                  <a:pt x="237" y="60"/>
                  <a:pt x="492" y="60"/>
                </a:cubicBezTo>
                <a:moveTo>
                  <a:pt x="492" y="0"/>
                </a:moveTo>
                <a:cubicBezTo>
                  <a:pt x="220" y="0"/>
                  <a:pt x="0" y="119"/>
                  <a:pt x="0" y="265"/>
                </a:cubicBezTo>
                <a:cubicBezTo>
                  <a:pt x="0" y="412"/>
                  <a:pt x="220" y="531"/>
                  <a:pt x="492" y="531"/>
                </a:cubicBezTo>
                <a:cubicBezTo>
                  <a:pt x="764" y="531"/>
                  <a:pt x="985" y="412"/>
                  <a:pt x="985" y="265"/>
                </a:cubicBezTo>
                <a:cubicBezTo>
                  <a:pt x="985" y="119"/>
                  <a:pt x="764" y="0"/>
                  <a:pt x="492" y="0"/>
                </a:cubicBezTo>
                <a:close/>
              </a:path>
            </a:pathLst>
          </a:custGeom>
          <a:gradFill flip="none" rotWithShape="1">
            <a:gsLst>
              <a:gs pos="0">
                <a:schemeClr val="accent1">
                  <a:lumMod val="20000"/>
                  <a:lumOff val="80000"/>
                </a:schemeClr>
              </a:gs>
              <a:gs pos="52000">
                <a:schemeClr val="accent1">
                  <a:lumMod val="40000"/>
                  <a:lumOff val="60000"/>
                </a:schemeClr>
              </a:gs>
              <a:gs pos="100000">
                <a:schemeClr val="accent1">
                  <a:lumMod val="60000"/>
                  <a:lumOff val="40000"/>
                </a:schemeClr>
              </a:gs>
            </a:gsLst>
            <a:lin ang="5400000" scaled="1"/>
            <a:tileRect/>
          </a:gradFill>
          <a:ln w="51262"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ko-KR" altLang="en-US" sz="1800" b="0" i="0" u="none" strike="noStrike" kern="1200" cap="none" spc="0" normalizeH="0" baseline="0" noProof="0" dirty="0">
              <a:ln>
                <a:noFill/>
              </a:ln>
              <a:solidFill>
                <a:prstClr val="black"/>
              </a:solidFill>
              <a:effectLst/>
              <a:uLnTx/>
              <a:uFillTx/>
              <a:latin typeface="HarmonyOS Sans SC"/>
              <a:cs typeface="+mn-cs"/>
            </a:endParaRPr>
          </a:p>
        </p:txBody>
      </p:sp>
      <p:sp>
        <p:nvSpPr>
          <p:cNvPr id="5" name="Freeform 13">
            <a:extLst>
              <a:ext uri="{FF2B5EF4-FFF2-40B4-BE49-F238E27FC236}">
                <a16:creationId xmlns:a16="http://schemas.microsoft.com/office/drawing/2014/main" id="{74FA197F-5B99-4E2D-9545-A3161146A8BF}"/>
              </a:ext>
            </a:extLst>
          </p:cNvPr>
          <p:cNvSpPr>
            <a:spLocks/>
          </p:cNvSpPr>
          <p:nvPr/>
        </p:nvSpPr>
        <p:spPr bwMode="auto">
          <a:xfrm>
            <a:off x="5283256" y="5060467"/>
            <a:ext cx="2185814" cy="725288"/>
          </a:xfrm>
          <a:custGeom>
            <a:avLst/>
            <a:gdLst>
              <a:gd name="T0" fmla="*/ 985 w 985"/>
              <a:gd name="T1" fmla="*/ 184 h 449"/>
              <a:gd name="T2" fmla="*/ 492 w 985"/>
              <a:gd name="T3" fmla="*/ 449 h 449"/>
              <a:gd name="T4" fmla="*/ 0 w 985"/>
              <a:gd name="T5" fmla="*/ 184 h 449"/>
              <a:gd name="T6" fmla="*/ 0 w 985"/>
              <a:gd name="T7" fmla="*/ 0 h 449"/>
              <a:gd name="T8" fmla="*/ 492 w 985"/>
              <a:gd name="T9" fmla="*/ 266 h 449"/>
              <a:gd name="T10" fmla="*/ 985 w 985"/>
              <a:gd name="T11" fmla="*/ 0 h 449"/>
              <a:gd name="T12" fmla="*/ 985 w 985"/>
              <a:gd name="T13" fmla="*/ 184 h 449"/>
            </a:gdLst>
            <a:ahLst/>
            <a:cxnLst>
              <a:cxn ang="0">
                <a:pos x="T0" y="T1"/>
              </a:cxn>
              <a:cxn ang="0">
                <a:pos x="T2" y="T3"/>
              </a:cxn>
              <a:cxn ang="0">
                <a:pos x="T4" y="T5"/>
              </a:cxn>
              <a:cxn ang="0">
                <a:pos x="T6" y="T7"/>
              </a:cxn>
              <a:cxn ang="0">
                <a:pos x="T8" y="T9"/>
              </a:cxn>
              <a:cxn ang="0">
                <a:pos x="T10" y="T11"/>
              </a:cxn>
              <a:cxn ang="0">
                <a:pos x="T12" y="T13"/>
              </a:cxn>
            </a:cxnLst>
            <a:rect l="0" t="0" r="r" b="b"/>
            <a:pathLst>
              <a:path w="985" h="449">
                <a:moveTo>
                  <a:pt x="985" y="184"/>
                </a:moveTo>
                <a:cubicBezTo>
                  <a:pt x="985" y="330"/>
                  <a:pt x="764" y="449"/>
                  <a:pt x="492" y="449"/>
                </a:cubicBezTo>
                <a:cubicBezTo>
                  <a:pt x="220" y="449"/>
                  <a:pt x="0" y="330"/>
                  <a:pt x="0" y="184"/>
                </a:cubicBezTo>
                <a:cubicBezTo>
                  <a:pt x="0" y="0"/>
                  <a:pt x="0" y="0"/>
                  <a:pt x="0" y="0"/>
                </a:cubicBezTo>
                <a:cubicBezTo>
                  <a:pt x="0" y="147"/>
                  <a:pt x="220" y="266"/>
                  <a:pt x="492" y="266"/>
                </a:cubicBezTo>
                <a:cubicBezTo>
                  <a:pt x="764" y="266"/>
                  <a:pt x="985" y="147"/>
                  <a:pt x="985" y="0"/>
                </a:cubicBezTo>
                <a:lnTo>
                  <a:pt x="985" y="184"/>
                </a:lnTo>
                <a:close/>
              </a:path>
            </a:pathLst>
          </a:custGeom>
          <a:gradFill flip="none" rotWithShape="1">
            <a:gsLst>
              <a:gs pos="6000">
                <a:schemeClr val="accent1">
                  <a:lumMod val="40000"/>
                  <a:lumOff val="60000"/>
                </a:schemeClr>
              </a:gs>
              <a:gs pos="26000">
                <a:schemeClr val="accent1">
                  <a:lumMod val="60000"/>
                  <a:lumOff val="40000"/>
                </a:schemeClr>
              </a:gs>
              <a:gs pos="82000">
                <a:schemeClr val="accent1"/>
              </a:gs>
            </a:gsLst>
            <a:lin ang="540000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ko-KR" sz="1800" b="0" i="0" u="none" strike="noStrike" kern="1200" cap="none" spc="0" normalizeH="0" baseline="0" noProof="0" dirty="0">
              <a:ln>
                <a:noFill/>
              </a:ln>
              <a:solidFill>
                <a:prstClr val="black"/>
              </a:solidFill>
              <a:effectLst/>
              <a:uLnTx/>
              <a:uFillTx/>
              <a:latin typeface="Calibri" panose="020F0502020204030204"/>
              <a:cs typeface="+mn-cs"/>
            </a:endParaRPr>
          </a:p>
        </p:txBody>
      </p:sp>
      <p:sp>
        <p:nvSpPr>
          <p:cNvPr id="7" name="Freeform 11">
            <a:extLst>
              <a:ext uri="{FF2B5EF4-FFF2-40B4-BE49-F238E27FC236}">
                <a16:creationId xmlns:a16="http://schemas.microsoft.com/office/drawing/2014/main" id="{EF8AAD8E-F84B-49C2-B86B-0208933732B9}"/>
              </a:ext>
            </a:extLst>
          </p:cNvPr>
          <p:cNvSpPr>
            <a:spLocks/>
          </p:cNvSpPr>
          <p:nvPr/>
        </p:nvSpPr>
        <p:spPr bwMode="auto">
          <a:xfrm>
            <a:off x="5057171" y="3913425"/>
            <a:ext cx="2185814" cy="726110"/>
          </a:xfrm>
          <a:custGeom>
            <a:avLst/>
            <a:gdLst>
              <a:gd name="T0" fmla="*/ 985 w 985"/>
              <a:gd name="T1" fmla="*/ 265 h 449"/>
              <a:gd name="T2" fmla="*/ 492 w 985"/>
              <a:gd name="T3" fmla="*/ 0 h 449"/>
              <a:gd name="T4" fmla="*/ 0 w 985"/>
              <a:gd name="T5" fmla="*/ 265 h 449"/>
              <a:gd name="T6" fmla="*/ 0 w 985"/>
              <a:gd name="T7" fmla="*/ 449 h 449"/>
              <a:gd name="T8" fmla="*/ 492 w 985"/>
              <a:gd name="T9" fmla="*/ 183 h 449"/>
              <a:gd name="T10" fmla="*/ 985 w 985"/>
              <a:gd name="T11" fmla="*/ 449 h 449"/>
              <a:gd name="T12" fmla="*/ 985 w 985"/>
              <a:gd name="T13" fmla="*/ 265 h 449"/>
            </a:gdLst>
            <a:ahLst/>
            <a:cxnLst>
              <a:cxn ang="0">
                <a:pos x="T0" y="T1"/>
              </a:cxn>
              <a:cxn ang="0">
                <a:pos x="T2" y="T3"/>
              </a:cxn>
              <a:cxn ang="0">
                <a:pos x="T4" y="T5"/>
              </a:cxn>
              <a:cxn ang="0">
                <a:pos x="T6" y="T7"/>
              </a:cxn>
              <a:cxn ang="0">
                <a:pos x="T8" y="T9"/>
              </a:cxn>
              <a:cxn ang="0">
                <a:pos x="T10" y="T11"/>
              </a:cxn>
              <a:cxn ang="0">
                <a:pos x="T12" y="T13"/>
              </a:cxn>
            </a:cxnLst>
            <a:rect l="0" t="0" r="r" b="b"/>
            <a:pathLst>
              <a:path w="985" h="449">
                <a:moveTo>
                  <a:pt x="985" y="265"/>
                </a:moveTo>
                <a:cubicBezTo>
                  <a:pt x="985" y="119"/>
                  <a:pt x="764" y="0"/>
                  <a:pt x="492" y="0"/>
                </a:cubicBezTo>
                <a:cubicBezTo>
                  <a:pt x="220" y="0"/>
                  <a:pt x="0" y="119"/>
                  <a:pt x="0" y="265"/>
                </a:cubicBezTo>
                <a:cubicBezTo>
                  <a:pt x="0" y="449"/>
                  <a:pt x="0" y="449"/>
                  <a:pt x="0" y="449"/>
                </a:cubicBezTo>
                <a:cubicBezTo>
                  <a:pt x="0" y="302"/>
                  <a:pt x="220" y="183"/>
                  <a:pt x="492" y="183"/>
                </a:cubicBezTo>
                <a:cubicBezTo>
                  <a:pt x="764" y="183"/>
                  <a:pt x="985" y="302"/>
                  <a:pt x="985" y="449"/>
                </a:cubicBezTo>
                <a:lnTo>
                  <a:pt x="985" y="265"/>
                </a:lnTo>
                <a:close/>
              </a:path>
            </a:pathLst>
          </a:custGeom>
          <a:gradFill flip="none" rotWithShape="1">
            <a:gsLst>
              <a:gs pos="6000">
                <a:schemeClr val="accent1">
                  <a:lumMod val="40000"/>
                  <a:lumOff val="60000"/>
                </a:schemeClr>
              </a:gs>
              <a:gs pos="26000">
                <a:schemeClr val="accent1">
                  <a:lumMod val="60000"/>
                  <a:lumOff val="40000"/>
                </a:schemeClr>
              </a:gs>
              <a:gs pos="82000">
                <a:schemeClr val="accent1"/>
              </a:gs>
            </a:gsLst>
            <a:lin ang="540000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ko-KR" altLang="en-US" sz="1800" b="0" i="0" u="none" strike="noStrike" kern="1200" cap="none" spc="0" normalizeH="0" baseline="0" noProof="0" dirty="0">
              <a:ln>
                <a:noFill/>
              </a:ln>
              <a:solidFill>
                <a:prstClr val="black"/>
              </a:solidFill>
              <a:effectLst/>
              <a:uLnTx/>
              <a:uFillTx/>
              <a:latin typeface="Calibri" panose="020F0502020204030204"/>
              <a:cs typeface="+mn-cs"/>
            </a:endParaRPr>
          </a:p>
        </p:txBody>
      </p:sp>
      <p:sp>
        <p:nvSpPr>
          <p:cNvPr id="8" name="Freeform 12">
            <a:extLst>
              <a:ext uri="{FF2B5EF4-FFF2-40B4-BE49-F238E27FC236}">
                <a16:creationId xmlns:a16="http://schemas.microsoft.com/office/drawing/2014/main" id="{F8A125BC-252F-446C-8099-71D23C80974D}"/>
              </a:ext>
            </a:extLst>
          </p:cNvPr>
          <p:cNvSpPr>
            <a:spLocks noEditPoints="1"/>
          </p:cNvSpPr>
          <p:nvPr/>
        </p:nvSpPr>
        <p:spPr bwMode="auto">
          <a:xfrm>
            <a:off x="5057171" y="3913425"/>
            <a:ext cx="2185814" cy="858353"/>
          </a:xfrm>
          <a:custGeom>
            <a:avLst/>
            <a:gdLst>
              <a:gd name="T0" fmla="*/ 492 w 985"/>
              <a:gd name="T1" fmla="*/ 60 h 531"/>
              <a:gd name="T2" fmla="*/ 925 w 985"/>
              <a:gd name="T3" fmla="*/ 265 h 531"/>
              <a:gd name="T4" fmla="*/ 492 w 985"/>
              <a:gd name="T5" fmla="*/ 471 h 531"/>
              <a:gd name="T6" fmla="*/ 60 w 985"/>
              <a:gd name="T7" fmla="*/ 265 h 531"/>
              <a:gd name="T8" fmla="*/ 492 w 985"/>
              <a:gd name="T9" fmla="*/ 60 h 531"/>
              <a:gd name="T10" fmla="*/ 492 w 985"/>
              <a:gd name="T11" fmla="*/ 0 h 531"/>
              <a:gd name="T12" fmla="*/ 0 w 985"/>
              <a:gd name="T13" fmla="*/ 265 h 531"/>
              <a:gd name="T14" fmla="*/ 492 w 985"/>
              <a:gd name="T15" fmla="*/ 531 h 531"/>
              <a:gd name="T16" fmla="*/ 985 w 985"/>
              <a:gd name="T17" fmla="*/ 265 h 531"/>
              <a:gd name="T18" fmla="*/ 492 w 985"/>
              <a:gd name="T19" fmla="*/ 0 h 5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5" h="531">
                <a:moveTo>
                  <a:pt x="492" y="60"/>
                </a:moveTo>
                <a:cubicBezTo>
                  <a:pt x="747" y="60"/>
                  <a:pt x="925" y="168"/>
                  <a:pt x="925" y="265"/>
                </a:cubicBezTo>
                <a:cubicBezTo>
                  <a:pt x="925" y="362"/>
                  <a:pt x="747" y="471"/>
                  <a:pt x="492" y="471"/>
                </a:cubicBezTo>
                <a:cubicBezTo>
                  <a:pt x="237" y="471"/>
                  <a:pt x="60" y="362"/>
                  <a:pt x="60" y="265"/>
                </a:cubicBezTo>
                <a:cubicBezTo>
                  <a:pt x="60" y="168"/>
                  <a:pt x="237" y="60"/>
                  <a:pt x="492" y="60"/>
                </a:cubicBezTo>
                <a:moveTo>
                  <a:pt x="492" y="0"/>
                </a:moveTo>
                <a:cubicBezTo>
                  <a:pt x="220" y="0"/>
                  <a:pt x="0" y="119"/>
                  <a:pt x="0" y="265"/>
                </a:cubicBezTo>
                <a:cubicBezTo>
                  <a:pt x="0" y="412"/>
                  <a:pt x="220" y="531"/>
                  <a:pt x="492" y="531"/>
                </a:cubicBezTo>
                <a:cubicBezTo>
                  <a:pt x="764" y="531"/>
                  <a:pt x="985" y="412"/>
                  <a:pt x="985" y="265"/>
                </a:cubicBezTo>
                <a:cubicBezTo>
                  <a:pt x="985" y="119"/>
                  <a:pt x="764" y="0"/>
                  <a:pt x="492" y="0"/>
                </a:cubicBezTo>
                <a:close/>
              </a:path>
            </a:pathLst>
          </a:custGeom>
          <a:gradFill flip="none" rotWithShape="1">
            <a:gsLst>
              <a:gs pos="0">
                <a:schemeClr val="accent1">
                  <a:lumMod val="20000"/>
                  <a:lumOff val="80000"/>
                </a:schemeClr>
              </a:gs>
              <a:gs pos="52000">
                <a:schemeClr val="accent1">
                  <a:lumMod val="40000"/>
                  <a:lumOff val="60000"/>
                </a:schemeClr>
              </a:gs>
              <a:gs pos="100000">
                <a:schemeClr val="accent1">
                  <a:lumMod val="60000"/>
                  <a:lumOff val="40000"/>
                </a:schemeClr>
              </a:gs>
            </a:gsLst>
            <a:lin ang="5400000" scaled="1"/>
            <a:tileRect/>
          </a:gradFill>
          <a:ln w="51262"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ko-KR" altLang="en-US" sz="1800" b="0" i="0" u="none" strike="noStrike" kern="1200" cap="none" spc="0" normalizeH="0" baseline="0" noProof="0" dirty="0">
              <a:ln>
                <a:noFill/>
              </a:ln>
              <a:solidFill>
                <a:prstClr val="black"/>
              </a:solidFill>
              <a:effectLst/>
              <a:uLnTx/>
              <a:uFillTx/>
              <a:latin typeface="HarmonyOS Sans SC"/>
              <a:cs typeface="+mn-cs"/>
            </a:endParaRPr>
          </a:p>
        </p:txBody>
      </p:sp>
      <p:sp>
        <p:nvSpPr>
          <p:cNvPr id="9" name="Freeform 13">
            <a:extLst>
              <a:ext uri="{FF2B5EF4-FFF2-40B4-BE49-F238E27FC236}">
                <a16:creationId xmlns:a16="http://schemas.microsoft.com/office/drawing/2014/main" id="{170604CF-01F8-4B82-AFC8-3EA7F59485DE}"/>
              </a:ext>
            </a:extLst>
          </p:cNvPr>
          <p:cNvSpPr>
            <a:spLocks/>
          </p:cNvSpPr>
          <p:nvPr/>
        </p:nvSpPr>
        <p:spPr bwMode="auto">
          <a:xfrm>
            <a:off x="5057171" y="4334357"/>
            <a:ext cx="2185814" cy="725288"/>
          </a:xfrm>
          <a:custGeom>
            <a:avLst/>
            <a:gdLst>
              <a:gd name="T0" fmla="*/ 985 w 985"/>
              <a:gd name="T1" fmla="*/ 184 h 449"/>
              <a:gd name="T2" fmla="*/ 492 w 985"/>
              <a:gd name="T3" fmla="*/ 449 h 449"/>
              <a:gd name="T4" fmla="*/ 0 w 985"/>
              <a:gd name="T5" fmla="*/ 184 h 449"/>
              <a:gd name="T6" fmla="*/ 0 w 985"/>
              <a:gd name="T7" fmla="*/ 0 h 449"/>
              <a:gd name="T8" fmla="*/ 492 w 985"/>
              <a:gd name="T9" fmla="*/ 266 h 449"/>
              <a:gd name="T10" fmla="*/ 985 w 985"/>
              <a:gd name="T11" fmla="*/ 0 h 449"/>
              <a:gd name="T12" fmla="*/ 985 w 985"/>
              <a:gd name="T13" fmla="*/ 184 h 449"/>
            </a:gdLst>
            <a:ahLst/>
            <a:cxnLst>
              <a:cxn ang="0">
                <a:pos x="T0" y="T1"/>
              </a:cxn>
              <a:cxn ang="0">
                <a:pos x="T2" y="T3"/>
              </a:cxn>
              <a:cxn ang="0">
                <a:pos x="T4" y="T5"/>
              </a:cxn>
              <a:cxn ang="0">
                <a:pos x="T6" y="T7"/>
              </a:cxn>
              <a:cxn ang="0">
                <a:pos x="T8" y="T9"/>
              </a:cxn>
              <a:cxn ang="0">
                <a:pos x="T10" y="T11"/>
              </a:cxn>
              <a:cxn ang="0">
                <a:pos x="T12" y="T13"/>
              </a:cxn>
            </a:cxnLst>
            <a:rect l="0" t="0" r="r" b="b"/>
            <a:pathLst>
              <a:path w="985" h="449">
                <a:moveTo>
                  <a:pt x="985" y="184"/>
                </a:moveTo>
                <a:cubicBezTo>
                  <a:pt x="985" y="330"/>
                  <a:pt x="764" y="449"/>
                  <a:pt x="492" y="449"/>
                </a:cubicBezTo>
                <a:cubicBezTo>
                  <a:pt x="220" y="449"/>
                  <a:pt x="0" y="330"/>
                  <a:pt x="0" y="184"/>
                </a:cubicBezTo>
                <a:cubicBezTo>
                  <a:pt x="0" y="0"/>
                  <a:pt x="0" y="0"/>
                  <a:pt x="0" y="0"/>
                </a:cubicBezTo>
                <a:cubicBezTo>
                  <a:pt x="0" y="147"/>
                  <a:pt x="220" y="266"/>
                  <a:pt x="492" y="266"/>
                </a:cubicBezTo>
                <a:cubicBezTo>
                  <a:pt x="764" y="266"/>
                  <a:pt x="985" y="147"/>
                  <a:pt x="985" y="0"/>
                </a:cubicBezTo>
                <a:lnTo>
                  <a:pt x="985" y="184"/>
                </a:lnTo>
                <a:close/>
              </a:path>
            </a:pathLst>
          </a:custGeom>
          <a:gradFill flip="none" rotWithShape="1">
            <a:gsLst>
              <a:gs pos="6000">
                <a:schemeClr val="accent1">
                  <a:lumMod val="40000"/>
                  <a:lumOff val="60000"/>
                </a:schemeClr>
              </a:gs>
              <a:gs pos="26000">
                <a:schemeClr val="accent1">
                  <a:lumMod val="60000"/>
                  <a:lumOff val="40000"/>
                </a:schemeClr>
              </a:gs>
              <a:gs pos="82000">
                <a:schemeClr val="accent1"/>
              </a:gs>
            </a:gsLst>
            <a:lin ang="540000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ko-KR" sz="1800" b="0" i="0" u="none" strike="noStrike" kern="1200" cap="none" spc="0" normalizeH="0" baseline="0" noProof="0" dirty="0">
              <a:ln>
                <a:noFill/>
              </a:ln>
              <a:solidFill>
                <a:prstClr val="black"/>
              </a:solidFill>
              <a:effectLst/>
              <a:uLnTx/>
              <a:uFillTx/>
              <a:latin typeface="Calibri" panose="020F0502020204030204"/>
              <a:cs typeface="+mn-cs"/>
            </a:endParaRPr>
          </a:p>
        </p:txBody>
      </p:sp>
      <p:sp>
        <p:nvSpPr>
          <p:cNvPr id="11" name="Freeform 11">
            <a:extLst>
              <a:ext uri="{FF2B5EF4-FFF2-40B4-BE49-F238E27FC236}">
                <a16:creationId xmlns:a16="http://schemas.microsoft.com/office/drawing/2014/main" id="{DC6C2090-7228-4FAC-A448-25CCE6F371B5}"/>
              </a:ext>
            </a:extLst>
          </p:cNvPr>
          <p:cNvSpPr>
            <a:spLocks/>
          </p:cNvSpPr>
          <p:nvPr/>
        </p:nvSpPr>
        <p:spPr bwMode="auto">
          <a:xfrm>
            <a:off x="4831086" y="3195971"/>
            <a:ext cx="2185814" cy="726110"/>
          </a:xfrm>
          <a:custGeom>
            <a:avLst/>
            <a:gdLst>
              <a:gd name="T0" fmla="*/ 985 w 985"/>
              <a:gd name="T1" fmla="*/ 265 h 449"/>
              <a:gd name="T2" fmla="*/ 492 w 985"/>
              <a:gd name="T3" fmla="*/ 0 h 449"/>
              <a:gd name="T4" fmla="*/ 0 w 985"/>
              <a:gd name="T5" fmla="*/ 265 h 449"/>
              <a:gd name="T6" fmla="*/ 0 w 985"/>
              <a:gd name="T7" fmla="*/ 449 h 449"/>
              <a:gd name="T8" fmla="*/ 492 w 985"/>
              <a:gd name="T9" fmla="*/ 183 h 449"/>
              <a:gd name="T10" fmla="*/ 985 w 985"/>
              <a:gd name="T11" fmla="*/ 449 h 449"/>
              <a:gd name="T12" fmla="*/ 985 w 985"/>
              <a:gd name="T13" fmla="*/ 265 h 449"/>
            </a:gdLst>
            <a:ahLst/>
            <a:cxnLst>
              <a:cxn ang="0">
                <a:pos x="T0" y="T1"/>
              </a:cxn>
              <a:cxn ang="0">
                <a:pos x="T2" y="T3"/>
              </a:cxn>
              <a:cxn ang="0">
                <a:pos x="T4" y="T5"/>
              </a:cxn>
              <a:cxn ang="0">
                <a:pos x="T6" y="T7"/>
              </a:cxn>
              <a:cxn ang="0">
                <a:pos x="T8" y="T9"/>
              </a:cxn>
              <a:cxn ang="0">
                <a:pos x="T10" y="T11"/>
              </a:cxn>
              <a:cxn ang="0">
                <a:pos x="T12" y="T13"/>
              </a:cxn>
            </a:cxnLst>
            <a:rect l="0" t="0" r="r" b="b"/>
            <a:pathLst>
              <a:path w="985" h="449">
                <a:moveTo>
                  <a:pt x="985" y="265"/>
                </a:moveTo>
                <a:cubicBezTo>
                  <a:pt x="985" y="119"/>
                  <a:pt x="764" y="0"/>
                  <a:pt x="492" y="0"/>
                </a:cubicBezTo>
                <a:cubicBezTo>
                  <a:pt x="220" y="0"/>
                  <a:pt x="0" y="119"/>
                  <a:pt x="0" y="265"/>
                </a:cubicBezTo>
                <a:cubicBezTo>
                  <a:pt x="0" y="449"/>
                  <a:pt x="0" y="449"/>
                  <a:pt x="0" y="449"/>
                </a:cubicBezTo>
                <a:cubicBezTo>
                  <a:pt x="0" y="302"/>
                  <a:pt x="220" y="183"/>
                  <a:pt x="492" y="183"/>
                </a:cubicBezTo>
                <a:cubicBezTo>
                  <a:pt x="764" y="183"/>
                  <a:pt x="985" y="302"/>
                  <a:pt x="985" y="449"/>
                </a:cubicBezTo>
                <a:lnTo>
                  <a:pt x="985" y="265"/>
                </a:lnTo>
                <a:close/>
              </a:path>
            </a:pathLst>
          </a:custGeom>
          <a:gradFill flip="none" rotWithShape="1">
            <a:gsLst>
              <a:gs pos="6000">
                <a:schemeClr val="accent1">
                  <a:lumMod val="40000"/>
                  <a:lumOff val="60000"/>
                </a:schemeClr>
              </a:gs>
              <a:gs pos="26000">
                <a:schemeClr val="accent1">
                  <a:lumMod val="60000"/>
                  <a:lumOff val="40000"/>
                </a:schemeClr>
              </a:gs>
              <a:gs pos="82000">
                <a:schemeClr val="accent1"/>
              </a:gs>
            </a:gsLst>
            <a:lin ang="540000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ko-KR" altLang="en-US" sz="1800" b="0" i="0" u="none" strike="noStrike" kern="1200" cap="none" spc="0" normalizeH="0" baseline="0" noProof="0" dirty="0">
              <a:ln>
                <a:noFill/>
              </a:ln>
              <a:solidFill>
                <a:prstClr val="black"/>
              </a:solidFill>
              <a:effectLst/>
              <a:uLnTx/>
              <a:uFillTx/>
              <a:latin typeface="Calibri" panose="020F0502020204030204"/>
              <a:cs typeface="+mn-cs"/>
            </a:endParaRPr>
          </a:p>
        </p:txBody>
      </p:sp>
      <p:sp>
        <p:nvSpPr>
          <p:cNvPr id="12" name="Freeform 12">
            <a:extLst>
              <a:ext uri="{FF2B5EF4-FFF2-40B4-BE49-F238E27FC236}">
                <a16:creationId xmlns:a16="http://schemas.microsoft.com/office/drawing/2014/main" id="{23680DA7-EBE5-4F09-9193-A2D9FE4D280A}"/>
              </a:ext>
            </a:extLst>
          </p:cNvPr>
          <p:cNvSpPr>
            <a:spLocks noEditPoints="1"/>
          </p:cNvSpPr>
          <p:nvPr/>
        </p:nvSpPr>
        <p:spPr bwMode="auto">
          <a:xfrm>
            <a:off x="4831086" y="3195971"/>
            <a:ext cx="2185814" cy="858353"/>
          </a:xfrm>
          <a:custGeom>
            <a:avLst/>
            <a:gdLst>
              <a:gd name="T0" fmla="*/ 492 w 985"/>
              <a:gd name="T1" fmla="*/ 60 h 531"/>
              <a:gd name="T2" fmla="*/ 925 w 985"/>
              <a:gd name="T3" fmla="*/ 265 h 531"/>
              <a:gd name="T4" fmla="*/ 492 w 985"/>
              <a:gd name="T5" fmla="*/ 471 h 531"/>
              <a:gd name="T6" fmla="*/ 60 w 985"/>
              <a:gd name="T7" fmla="*/ 265 h 531"/>
              <a:gd name="T8" fmla="*/ 492 w 985"/>
              <a:gd name="T9" fmla="*/ 60 h 531"/>
              <a:gd name="T10" fmla="*/ 492 w 985"/>
              <a:gd name="T11" fmla="*/ 0 h 531"/>
              <a:gd name="T12" fmla="*/ 0 w 985"/>
              <a:gd name="T13" fmla="*/ 265 h 531"/>
              <a:gd name="T14" fmla="*/ 492 w 985"/>
              <a:gd name="T15" fmla="*/ 531 h 531"/>
              <a:gd name="T16" fmla="*/ 985 w 985"/>
              <a:gd name="T17" fmla="*/ 265 h 531"/>
              <a:gd name="T18" fmla="*/ 492 w 985"/>
              <a:gd name="T19" fmla="*/ 0 h 5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5" h="531">
                <a:moveTo>
                  <a:pt x="492" y="60"/>
                </a:moveTo>
                <a:cubicBezTo>
                  <a:pt x="747" y="60"/>
                  <a:pt x="925" y="168"/>
                  <a:pt x="925" y="265"/>
                </a:cubicBezTo>
                <a:cubicBezTo>
                  <a:pt x="925" y="362"/>
                  <a:pt x="747" y="471"/>
                  <a:pt x="492" y="471"/>
                </a:cubicBezTo>
                <a:cubicBezTo>
                  <a:pt x="237" y="471"/>
                  <a:pt x="60" y="362"/>
                  <a:pt x="60" y="265"/>
                </a:cubicBezTo>
                <a:cubicBezTo>
                  <a:pt x="60" y="168"/>
                  <a:pt x="237" y="60"/>
                  <a:pt x="492" y="60"/>
                </a:cubicBezTo>
                <a:moveTo>
                  <a:pt x="492" y="0"/>
                </a:moveTo>
                <a:cubicBezTo>
                  <a:pt x="220" y="0"/>
                  <a:pt x="0" y="119"/>
                  <a:pt x="0" y="265"/>
                </a:cubicBezTo>
                <a:cubicBezTo>
                  <a:pt x="0" y="412"/>
                  <a:pt x="220" y="531"/>
                  <a:pt x="492" y="531"/>
                </a:cubicBezTo>
                <a:cubicBezTo>
                  <a:pt x="764" y="531"/>
                  <a:pt x="985" y="412"/>
                  <a:pt x="985" y="265"/>
                </a:cubicBezTo>
                <a:cubicBezTo>
                  <a:pt x="985" y="119"/>
                  <a:pt x="764" y="0"/>
                  <a:pt x="492" y="0"/>
                </a:cubicBezTo>
                <a:close/>
              </a:path>
            </a:pathLst>
          </a:custGeom>
          <a:gradFill flip="none" rotWithShape="1">
            <a:gsLst>
              <a:gs pos="0">
                <a:schemeClr val="accent1">
                  <a:lumMod val="20000"/>
                  <a:lumOff val="80000"/>
                </a:schemeClr>
              </a:gs>
              <a:gs pos="52000">
                <a:schemeClr val="accent1">
                  <a:lumMod val="40000"/>
                  <a:lumOff val="60000"/>
                </a:schemeClr>
              </a:gs>
              <a:gs pos="100000">
                <a:schemeClr val="accent1">
                  <a:lumMod val="60000"/>
                  <a:lumOff val="40000"/>
                </a:schemeClr>
              </a:gs>
            </a:gsLst>
            <a:lin ang="5400000" scaled="1"/>
            <a:tileRect/>
          </a:gradFill>
          <a:ln w="51262"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ko-KR" altLang="en-US" sz="1800" b="0" i="0" u="none" strike="noStrike" kern="1200" cap="none" spc="0" normalizeH="0" baseline="0" noProof="0" dirty="0">
              <a:ln>
                <a:noFill/>
              </a:ln>
              <a:solidFill>
                <a:prstClr val="black"/>
              </a:solidFill>
              <a:effectLst/>
              <a:uLnTx/>
              <a:uFillTx/>
              <a:latin typeface="HarmonyOS Sans SC"/>
              <a:cs typeface="+mn-cs"/>
            </a:endParaRPr>
          </a:p>
        </p:txBody>
      </p:sp>
      <p:sp>
        <p:nvSpPr>
          <p:cNvPr id="13" name="Freeform 13">
            <a:extLst>
              <a:ext uri="{FF2B5EF4-FFF2-40B4-BE49-F238E27FC236}">
                <a16:creationId xmlns:a16="http://schemas.microsoft.com/office/drawing/2014/main" id="{6B653B1E-63A4-452F-9E1E-4932A9C447D0}"/>
              </a:ext>
            </a:extLst>
          </p:cNvPr>
          <p:cNvSpPr>
            <a:spLocks/>
          </p:cNvSpPr>
          <p:nvPr/>
        </p:nvSpPr>
        <p:spPr bwMode="auto">
          <a:xfrm>
            <a:off x="4831086" y="3616903"/>
            <a:ext cx="2185814" cy="725288"/>
          </a:xfrm>
          <a:custGeom>
            <a:avLst/>
            <a:gdLst>
              <a:gd name="T0" fmla="*/ 985 w 985"/>
              <a:gd name="T1" fmla="*/ 184 h 449"/>
              <a:gd name="T2" fmla="*/ 492 w 985"/>
              <a:gd name="T3" fmla="*/ 449 h 449"/>
              <a:gd name="T4" fmla="*/ 0 w 985"/>
              <a:gd name="T5" fmla="*/ 184 h 449"/>
              <a:gd name="T6" fmla="*/ 0 w 985"/>
              <a:gd name="T7" fmla="*/ 0 h 449"/>
              <a:gd name="T8" fmla="*/ 492 w 985"/>
              <a:gd name="T9" fmla="*/ 266 h 449"/>
              <a:gd name="T10" fmla="*/ 985 w 985"/>
              <a:gd name="T11" fmla="*/ 0 h 449"/>
              <a:gd name="T12" fmla="*/ 985 w 985"/>
              <a:gd name="T13" fmla="*/ 184 h 449"/>
            </a:gdLst>
            <a:ahLst/>
            <a:cxnLst>
              <a:cxn ang="0">
                <a:pos x="T0" y="T1"/>
              </a:cxn>
              <a:cxn ang="0">
                <a:pos x="T2" y="T3"/>
              </a:cxn>
              <a:cxn ang="0">
                <a:pos x="T4" y="T5"/>
              </a:cxn>
              <a:cxn ang="0">
                <a:pos x="T6" y="T7"/>
              </a:cxn>
              <a:cxn ang="0">
                <a:pos x="T8" y="T9"/>
              </a:cxn>
              <a:cxn ang="0">
                <a:pos x="T10" y="T11"/>
              </a:cxn>
              <a:cxn ang="0">
                <a:pos x="T12" y="T13"/>
              </a:cxn>
            </a:cxnLst>
            <a:rect l="0" t="0" r="r" b="b"/>
            <a:pathLst>
              <a:path w="985" h="449">
                <a:moveTo>
                  <a:pt x="985" y="184"/>
                </a:moveTo>
                <a:cubicBezTo>
                  <a:pt x="985" y="330"/>
                  <a:pt x="764" y="449"/>
                  <a:pt x="492" y="449"/>
                </a:cubicBezTo>
                <a:cubicBezTo>
                  <a:pt x="220" y="449"/>
                  <a:pt x="0" y="330"/>
                  <a:pt x="0" y="184"/>
                </a:cubicBezTo>
                <a:cubicBezTo>
                  <a:pt x="0" y="0"/>
                  <a:pt x="0" y="0"/>
                  <a:pt x="0" y="0"/>
                </a:cubicBezTo>
                <a:cubicBezTo>
                  <a:pt x="0" y="147"/>
                  <a:pt x="220" y="266"/>
                  <a:pt x="492" y="266"/>
                </a:cubicBezTo>
                <a:cubicBezTo>
                  <a:pt x="764" y="266"/>
                  <a:pt x="985" y="147"/>
                  <a:pt x="985" y="0"/>
                </a:cubicBezTo>
                <a:lnTo>
                  <a:pt x="985" y="184"/>
                </a:lnTo>
                <a:close/>
              </a:path>
            </a:pathLst>
          </a:custGeom>
          <a:gradFill flip="none" rotWithShape="1">
            <a:gsLst>
              <a:gs pos="6000">
                <a:schemeClr val="accent1">
                  <a:lumMod val="40000"/>
                  <a:lumOff val="60000"/>
                </a:schemeClr>
              </a:gs>
              <a:gs pos="26000">
                <a:schemeClr val="accent1">
                  <a:lumMod val="60000"/>
                  <a:lumOff val="40000"/>
                </a:schemeClr>
              </a:gs>
              <a:gs pos="82000">
                <a:schemeClr val="accent1"/>
              </a:gs>
            </a:gsLst>
            <a:lin ang="540000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ko-KR" sz="1800" b="0" i="0" u="none" strike="noStrike" kern="1200" cap="none" spc="0" normalizeH="0" baseline="0" noProof="0" dirty="0">
              <a:ln>
                <a:noFill/>
              </a:ln>
              <a:solidFill>
                <a:prstClr val="black"/>
              </a:solidFill>
              <a:effectLst/>
              <a:uLnTx/>
              <a:uFillTx/>
              <a:latin typeface="Calibri" panose="020F0502020204030204"/>
              <a:cs typeface="+mn-cs"/>
            </a:endParaRPr>
          </a:p>
        </p:txBody>
      </p:sp>
      <p:sp>
        <p:nvSpPr>
          <p:cNvPr id="15" name="Freeform 11">
            <a:extLst>
              <a:ext uri="{FF2B5EF4-FFF2-40B4-BE49-F238E27FC236}">
                <a16:creationId xmlns:a16="http://schemas.microsoft.com/office/drawing/2014/main" id="{F93AF6AE-2E0D-4FF3-8717-82E11AE971C1}"/>
              </a:ext>
            </a:extLst>
          </p:cNvPr>
          <p:cNvSpPr>
            <a:spLocks/>
          </p:cNvSpPr>
          <p:nvPr/>
        </p:nvSpPr>
        <p:spPr bwMode="auto">
          <a:xfrm>
            <a:off x="4586508" y="2495858"/>
            <a:ext cx="2185814" cy="726110"/>
          </a:xfrm>
          <a:custGeom>
            <a:avLst/>
            <a:gdLst>
              <a:gd name="T0" fmla="*/ 985 w 985"/>
              <a:gd name="T1" fmla="*/ 265 h 449"/>
              <a:gd name="T2" fmla="*/ 492 w 985"/>
              <a:gd name="T3" fmla="*/ 0 h 449"/>
              <a:gd name="T4" fmla="*/ 0 w 985"/>
              <a:gd name="T5" fmla="*/ 265 h 449"/>
              <a:gd name="T6" fmla="*/ 0 w 985"/>
              <a:gd name="T7" fmla="*/ 449 h 449"/>
              <a:gd name="T8" fmla="*/ 492 w 985"/>
              <a:gd name="T9" fmla="*/ 183 h 449"/>
              <a:gd name="T10" fmla="*/ 985 w 985"/>
              <a:gd name="T11" fmla="*/ 449 h 449"/>
              <a:gd name="T12" fmla="*/ 985 w 985"/>
              <a:gd name="T13" fmla="*/ 265 h 449"/>
            </a:gdLst>
            <a:ahLst/>
            <a:cxnLst>
              <a:cxn ang="0">
                <a:pos x="T0" y="T1"/>
              </a:cxn>
              <a:cxn ang="0">
                <a:pos x="T2" y="T3"/>
              </a:cxn>
              <a:cxn ang="0">
                <a:pos x="T4" y="T5"/>
              </a:cxn>
              <a:cxn ang="0">
                <a:pos x="T6" y="T7"/>
              </a:cxn>
              <a:cxn ang="0">
                <a:pos x="T8" y="T9"/>
              </a:cxn>
              <a:cxn ang="0">
                <a:pos x="T10" y="T11"/>
              </a:cxn>
              <a:cxn ang="0">
                <a:pos x="T12" y="T13"/>
              </a:cxn>
            </a:cxnLst>
            <a:rect l="0" t="0" r="r" b="b"/>
            <a:pathLst>
              <a:path w="985" h="449">
                <a:moveTo>
                  <a:pt x="985" y="265"/>
                </a:moveTo>
                <a:cubicBezTo>
                  <a:pt x="985" y="119"/>
                  <a:pt x="764" y="0"/>
                  <a:pt x="492" y="0"/>
                </a:cubicBezTo>
                <a:cubicBezTo>
                  <a:pt x="220" y="0"/>
                  <a:pt x="0" y="119"/>
                  <a:pt x="0" y="265"/>
                </a:cubicBezTo>
                <a:cubicBezTo>
                  <a:pt x="0" y="449"/>
                  <a:pt x="0" y="449"/>
                  <a:pt x="0" y="449"/>
                </a:cubicBezTo>
                <a:cubicBezTo>
                  <a:pt x="0" y="302"/>
                  <a:pt x="220" y="183"/>
                  <a:pt x="492" y="183"/>
                </a:cubicBezTo>
                <a:cubicBezTo>
                  <a:pt x="764" y="183"/>
                  <a:pt x="985" y="302"/>
                  <a:pt x="985" y="449"/>
                </a:cubicBezTo>
                <a:lnTo>
                  <a:pt x="985" y="265"/>
                </a:lnTo>
                <a:close/>
              </a:path>
            </a:pathLst>
          </a:custGeom>
          <a:gradFill flip="none" rotWithShape="1">
            <a:gsLst>
              <a:gs pos="6000">
                <a:schemeClr val="accent1">
                  <a:lumMod val="40000"/>
                  <a:lumOff val="60000"/>
                </a:schemeClr>
              </a:gs>
              <a:gs pos="26000">
                <a:schemeClr val="accent1">
                  <a:lumMod val="60000"/>
                  <a:lumOff val="40000"/>
                </a:schemeClr>
              </a:gs>
              <a:gs pos="82000">
                <a:schemeClr val="accent1"/>
              </a:gs>
            </a:gsLst>
            <a:lin ang="540000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ko-KR" altLang="en-US" sz="1800" b="0" i="0" u="none" strike="noStrike" kern="1200" cap="none" spc="0" normalizeH="0" baseline="0" noProof="0" dirty="0">
              <a:ln>
                <a:noFill/>
              </a:ln>
              <a:solidFill>
                <a:prstClr val="black"/>
              </a:solidFill>
              <a:effectLst/>
              <a:uLnTx/>
              <a:uFillTx/>
              <a:latin typeface="Calibri" panose="020F0502020204030204"/>
              <a:cs typeface="+mn-cs"/>
            </a:endParaRPr>
          </a:p>
        </p:txBody>
      </p:sp>
      <p:sp>
        <p:nvSpPr>
          <p:cNvPr id="16" name="Freeform 12">
            <a:extLst>
              <a:ext uri="{FF2B5EF4-FFF2-40B4-BE49-F238E27FC236}">
                <a16:creationId xmlns:a16="http://schemas.microsoft.com/office/drawing/2014/main" id="{75ABB65B-32BE-4A44-8E4B-8028FACBDCD5}"/>
              </a:ext>
            </a:extLst>
          </p:cNvPr>
          <p:cNvSpPr>
            <a:spLocks noEditPoints="1"/>
          </p:cNvSpPr>
          <p:nvPr/>
        </p:nvSpPr>
        <p:spPr bwMode="auto">
          <a:xfrm>
            <a:off x="4586508" y="2495858"/>
            <a:ext cx="2185814" cy="858353"/>
          </a:xfrm>
          <a:custGeom>
            <a:avLst/>
            <a:gdLst>
              <a:gd name="T0" fmla="*/ 492 w 985"/>
              <a:gd name="T1" fmla="*/ 60 h 531"/>
              <a:gd name="T2" fmla="*/ 925 w 985"/>
              <a:gd name="T3" fmla="*/ 265 h 531"/>
              <a:gd name="T4" fmla="*/ 492 w 985"/>
              <a:gd name="T5" fmla="*/ 471 h 531"/>
              <a:gd name="T6" fmla="*/ 60 w 985"/>
              <a:gd name="T7" fmla="*/ 265 h 531"/>
              <a:gd name="T8" fmla="*/ 492 w 985"/>
              <a:gd name="T9" fmla="*/ 60 h 531"/>
              <a:gd name="T10" fmla="*/ 492 w 985"/>
              <a:gd name="T11" fmla="*/ 0 h 531"/>
              <a:gd name="T12" fmla="*/ 0 w 985"/>
              <a:gd name="T13" fmla="*/ 265 h 531"/>
              <a:gd name="T14" fmla="*/ 492 w 985"/>
              <a:gd name="T15" fmla="*/ 531 h 531"/>
              <a:gd name="T16" fmla="*/ 985 w 985"/>
              <a:gd name="T17" fmla="*/ 265 h 531"/>
              <a:gd name="T18" fmla="*/ 492 w 985"/>
              <a:gd name="T19" fmla="*/ 0 h 5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5" h="531">
                <a:moveTo>
                  <a:pt x="492" y="60"/>
                </a:moveTo>
                <a:cubicBezTo>
                  <a:pt x="747" y="60"/>
                  <a:pt x="925" y="168"/>
                  <a:pt x="925" y="265"/>
                </a:cubicBezTo>
                <a:cubicBezTo>
                  <a:pt x="925" y="362"/>
                  <a:pt x="747" y="471"/>
                  <a:pt x="492" y="471"/>
                </a:cubicBezTo>
                <a:cubicBezTo>
                  <a:pt x="237" y="471"/>
                  <a:pt x="60" y="362"/>
                  <a:pt x="60" y="265"/>
                </a:cubicBezTo>
                <a:cubicBezTo>
                  <a:pt x="60" y="168"/>
                  <a:pt x="237" y="60"/>
                  <a:pt x="492" y="60"/>
                </a:cubicBezTo>
                <a:moveTo>
                  <a:pt x="492" y="0"/>
                </a:moveTo>
                <a:cubicBezTo>
                  <a:pt x="220" y="0"/>
                  <a:pt x="0" y="119"/>
                  <a:pt x="0" y="265"/>
                </a:cubicBezTo>
                <a:cubicBezTo>
                  <a:pt x="0" y="412"/>
                  <a:pt x="220" y="531"/>
                  <a:pt x="492" y="531"/>
                </a:cubicBezTo>
                <a:cubicBezTo>
                  <a:pt x="764" y="531"/>
                  <a:pt x="985" y="412"/>
                  <a:pt x="985" y="265"/>
                </a:cubicBezTo>
                <a:cubicBezTo>
                  <a:pt x="985" y="119"/>
                  <a:pt x="764" y="0"/>
                  <a:pt x="492" y="0"/>
                </a:cubicBezTo>
                <a:close/>
              </a:path>
            </a:pathLst>
          </a:custGeom>
          <a:gradFill flip="none" rotWithShape="1">
            <a:gsLst>
              <a:gs pos="0">
                <a:schemeClr val="accent1">
                  <a:lumMod val="20000"/>
                  <a:lumOff val="80000"/>
                </a:schemeClr>
              </a:gs>
              <a:gs pos="52000">
                <a:schemeClr val="accent1">
                  <a:lumMod val="40000"/>
                  <a:lumOff val="60000"/>
                </a:schemeClr>
              </a:gs>
              <a:gs pos="100000">
                <a:schemeClr val="accent1">
                  <a:lumMod val="60000"/>
                  <a:lumOff val="40000"/>
                </a:schemeClr>
              </a:gs>
            </a:gsLst>
            <a:lin ang="5400000" scaled="1"/>
            <a:tileRect/>
          </a:gradFill>
          <a:ln w="51262"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ko-KR" altLang="en-US" sz="1800" b="0" i="0" u="none" strike="noStrike" kern="1200" cap="none" spc="0" normalizeH="0" baseline="0" noProof="0" dirty="0">
              <a:ln>
                <a:noFill/>
              </a:ln>
              <a:solidFill>
                <a:prstClr val="black"/>
              </a:solidFill>
              <a:effectLst/>
              <a:uLnTx/>
              <a:uFillTx/>
              <a:latin typeface="HarmonyOS Sans SC"/>
              <a:cs typeface="+mn-cs"/>
            </a:endParaRPr>
          </a:p>
        </p:txBody>
      </p:sp>
      <p:sp>
        <p:nvSpPr>
          <p:cNvPr id="17" name="Freeform 13">
            <a:extLst>
              <a:ext uri="{FF2B5EF4-FFF2-40B4-BE49-F238E27FC236}">
                <a16:creationId xmlns:a16="http://schemas.microsoft.com/office/drawing/2014/main" id="{6AE39DA3-1152-4E1A-899B-F3114FA11E3C}"/>
              </a:ext>
            </a:extLst>
          </p:cNvPr>
          <p:cNvSpPr>
            <a:spLocks/>
          </p:cNvSpPr>
          <p:nvPr/>
        </p:nvSpPr>
        <p:spPr bwMode="auto">
          <a:xfrm>
            <a:off x="4586508" y="2916790"/>
            <a:ext cx="2185814" cy="725288"/>
          </a:xfrm>
          <a:custGeom>
            <a:avLst/>
            <a:gdLst>
              <a:gd name="T0" fmla="*/ 985 w 985"/>
              <a:gd name="T1" fmla="*/ 184 h 449"/>
              <a:gd name="T2" fmla="*/ 492 w 985"/>
              <a:gd name="T3" fmla="*/ 449 h 449"/>
              <a:gd name="T4" fmla="*/ 0 w 985"/>
              <a:gd name="T5" fmla="*/ 184 h 449"/>
              <a:gd name="T6" fmla="*/ 0 w 985"/>
              <a:gd name="T7" fmla="*/ 0 h 449"/>
              <a:gd name="T8" fmla="*/ 492 w 985"/>
              <a:gd name="T9" fmla="*/ 266 h 449"/>
              <a:gd name="T10" fmla="*/ 985 w 985"/>
              <a:gd name="T11" fmla="*/ 0 h 449"/>
              <a:gd name="T12" fmla="*/ 985 w 985"/>
              <a:gd name="T13" fmla="*/ 184 h 449"/>
            </a:gdLst>
            <a:ahLst/>
            <a:cxnLst>
              <a:cxn ang="0">
                <a:pos x="T0" y="T1"/>
              </a:cxn>
              <a:cxn ang="0">
                <a:pos x="T2" y="T3"/>
              </a:cxn>
              <a:cxn ang="0">
                <a:pos x="T4" y="T5"/>
              </a:cxn>
              <a:cxn ang="0">
                <a:pos x="T6" y="T7"/>
              </a:cxn>
              <a:cxn ang="0">
                <a:pos x="T8" y="T9"/>
              </a:cxn>
              <a:cxn ang="0">
                <a:pos x="T10" y="T11"/>
              </a:cxn>
              <a:cxn ang="0">
                <a:pos x="T12" y="T13"/>
              </a:cxn>
            </a:cxnLst>
            <a:rect l="0" t="0" r="r" b="b"/>
            <a:pathLst>
              <a:path w="985" h="449">
                <a:moveTo>
                  <a:pt x="985" y="184"/>
                </a:moveTo>
                <a:cubicBezTo>
                  <a:pt x="985" y="330"/>
                  <a:pt x="764" y="449"/>
                  <a:pt x="492" y="449"/>
                </a:cubicBezTo>
                <a:cubicBezTo>
                  <a:pt x="220" y="449"/>
                  <a:pt x="0" y="330"/>
                  <a:pt x="0" y="184"/>
                </a:cubicBezTo>
                <a:cubicBezTo>
                  <a:pt x="0" y="0"/>
                  <a:pt x="0" y="0"/>
                  <a:pt x="0" y="0"/>
                </a:cubicBezTo>
                <a:cubicBezTo>
                  <a:pt x="0" y="147"/>
                  <a:pt x="220" y="266"/>
                  <a:pt x="492" y="266"/>
                </a:cubicBezTo>
                <a:cubicBezTo>
                  <a:pt x="764" y="266"/>
                  <a:pt x="985" y="147"/>
                  <a:pt x="985" y="0"/>
                </a:cubicBezTo>
                <a:lnTo>
                  <a:pt x="985" y="184"/>
                </a:lnTo>
                <a:close/>
              </a:path>
            </a:pathLst>
          </a:custGeom>
          <a:gradFill flip="none" rotWithShape="1">
            <a:gsLst>
              <a:gs pos="6000">
                <a:schemeClr val="accent1">
                  <a:lumMod val="40000"/>
                  <a:lumOff val="60000"/>
                </a:schemeClr>
              </a:gs>
              <a:gs pos="26000">
                <a:schemeClr val="accent1">
                  <a:lumMod val="60000"/>
                  <a:lumOff val="40000"/>
                </a:schemeClr>
              </a:gs>
              <a:gs pos="82000">
                <a:schemeClr val="accent1"/>
              </a:gs>
            </a:gsLst>
            <a:lin ang="540000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ko-KR" sz="1800" b="0" i="0" u="none" strike="noStrike" kern="1200" cap="none" spc="0" normalizeH="0" baseline="0" noProof="0" dirty="0">
              <a:ln>
                <a:noFill/>
              </a:ln>
              <a:solidFill>
                <a:prstClr val="black"/>
              </a:solidFill>
              <a:effectLst/>
              <a:uLnTx/>
              <a:uFillTx/>
              <a:latin typeface="Calibri" panose="020F0502020204030204"/>
              <a:cs typeface="+mn-cs"/>
            </a:endParaRPr>
          </a:p>
        </p:txBody>
      </p:sp>
      <p:sp>
        <p:nvSpPr>
          <p:cNvPr id="27" name="文本框 26">
            <a:extLst>
              <a:ext uri="{FF2B5EF4-FFF2-40B4-BE49-F238E27FC236}">
                <a16:creationId xmlns:a16="http://schemas.microsoft.com/office/drawing/2014/main" id="{EB26B119-32D2-47FB-A0F2-A170746BEAAA}"/>
              </a:ext>
            </a:extLst>
          </p:cNvPr>
          <p:cNvSpPr txBox="1"/>
          <p:nvPr/>
        </p:nvSpPr>
        <p:spPr>
          <a:xfrm>
            <a:off x="4054416" y="918105"/>
            <a:ext cx="4083170" cy="52322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2800" b="0" i="0" u="none" strike="noStrike" kern="1200" cap="none" spc="0" normalizeH="0" baseline="0" noProof="0" dirty="0">
                <a:ln>
                  <a:noFill/>
                </a:ln>
                <a:solidFill>
                  <a:prstClr val="black"/>
                </a:solidFill>
                <a:effectLst/>
                <a:uLnTx/>
                <a:uFillTx/>
                <a:latin typeface="HarmonyOS Sans Black"/>
                <a:ea typeface="+mj-ea"/>
                <a:cs typeface="+mn-cs"/>
              </a:rPr>
              <a:t>Familients </a:t>
            </a:r>
            <a:r>
              <a:rPr kumimoji="0" lang="en-US" altLang="zh-CN" sz="2800" b="0" i="0" u="none" strike="noStrike" kern="1200" cap="none" spc="0" normalizeH="0" baseline="0" noProof="0" dirty="0">
                <a:ln>
                  <a:noFill/>
                </a:ln>
                <a:solidFill>
                  <a:schemeClr val="accent1"/>
                </a:solidFill>
                <a:effectLst/>
                <a:uLnTx/>
                <a:uFillTx/>
                <a:latin typeface="HarmonyOS Sans Black"/>
                <a:ea typeface="+mj-ea"/>
                <a:cs typeface="+mn-cs"/>
              </a:rPr>
              <a:t>infographic</a:t>
            </a:r>
          </a:p>
        </p:txBody>
      </p:sp>
      <p:grpSp>
        <p:nvGrpSpPr>
          <p:cNvPr id="46" name="组合 45">
            <a:extLst>
              <a:ext uri="{FF2B5EF4-FFF2-40B4-BE49-F238E27FC236}">
                <a16:creationId xmlns:a16="http://schemas.microsoft.com/office/drawing/2014/main" id="{1BB0874E-513A-40A3-AAAB-7E36FFFC4340}"/>
              </a:ext>
            </a:extLst>
          </p:cNvPr>
          <p:cNvGrpSpPr/>
          <p:nvPr/>
        </p:nvGrpSpPr>
        <p:grpSpPr>
          <a:xfrm>
            <a:off x="1082004" y="2199246"/>
            <a:ext cx="2281175" cy="846145"/>
            <a:chOff x="1082004" y="2199246"/>
            <a:chExt cx="2281175" cy="846145"/>
          </a:xfrm>
        </p:grpSpPr>
        <p:sp>
          <p:nvSpPr>
            <p:cNvPr id="40" name="TextBox 65">
              <a:extLst>
                <a:ext uri="{FF2B5EF4-FFF2-40B4-BE49-F238E27FC236}">
                  <a16:creationId xmlns:a16="http://schemas.microsoft.com/office/drawing/2014/main" id="{8C0362E9-B127-4D7D-81E0-372BC214FDFD}"/>
                </a:ext>
              </a:extLst>
            </p:cNvPr>
            <p:cNvSpPr txBox="1"/>
            <p:nvPr/>
          </p:nvSpPr>
          <p:spPr>
            <a:xfrm>
              <a:off x="1306918" y="2199246"/>
              <a:ext cx="2056261" cy="345598"/>
            </a:xfrm>
            <a:prstGeom prst="rect">
              <a:avLst/>
            </a:prstGeom>
            <a:noFill/>
          </p:spPr>
          <p:txBody>
            <a:bodyPr wrap="square" lIns="0" tIns="36000" rIns="0" bIns="36000" rtlCol="0">
              <a:spAutoFit/>
            </a:bodyPr>
            <a:lstStyle/>
            <a:p>
              <a:pPr marL="0" marR="0" lvl="0" indent="0" algn="r" defTabSz="914400" rtl="0" eaLnBrk="1" fontAlgn="auto" latinLnBrk="0" hangingPunct="1">
                <a:lnSpc>
                  <a:spcPct val="120000"/>
                </a:lnSpc>
                <a:spcBef>
                  <a:spcPts val="600"/>
                </a:spcBef>
                <a:spcAft>
                  <a:spcPts val="0"/>
                </a:spcAft>
                <a:buClrTx/>
                <a:buSzTx/>
                <a:buFontTx/>
                <a:buNone/>
                <a:tabLst/>
                <a:defRPr/>
              </a:pPr>
              <a:r>
                <a:rPr kumimoji="0" lang="en-US" sz="1600" b="0" i="0" u="none" strike="noStrike" kern="1200" cap="none" spc="0" normalizeH="0" baseline="0" noProof="0" dirty="0">
                  <a:ln>
                    <a:noFill/>
                  </a:ln>
                  <a:solidFill>
                    <a:schemeClr val="accent1"/>
                  </a:solidFill>
                  <a:effectLst/>
                  <a:uLnTx/>
                  <a:uFillTx/>
                  <a:latin typeface="HarmonyOS Sans SC Black"/>
                  <a:ea typeface="+mj-ea"/>
                  <a:cs typeface="+mn-cs"/>
                </a:rPr>
                <a:t>Insert Title Here</a:t>
              </a:r>
            </a:p>
          </p:txBody>
        </p:sp>
        <p:sp>
          <p:nvSpPr>
            <p:cNvPr id="41" name="TextBox 65">
              <a:extLst>
                <a:ext uri="{FF2B5EF4-FFF2-40B4-BE49-F238E27FC236}">
                  <a16:creationId xmlns:a16="http://schemas.microsoft.com/office/drawing/2014/main" id="{C17BE1AB-0F02-4187-9026-0612AE96FB07}"/>
                </a:ext>
              </a:extLst>
            </p:cNvPr>
            <p:cNvSpPr txBox="1"/>
            <p:nvPr/>
          </p:nvSpPr>
          <p:spPr>
            <a:xfrm>
              <a:off x="1082004" y="2582645"/>
              <a:ext cx="2281175" cy="462746"/>
            </a:xfrm>
            <a:prstGeom prst="rect">
              <a:avLst/>
            </a:prstGeom>
            <a:noFill/>
          </p:spPr>
          <p:txBody>
            <a:bodyPr wrap="square" lIns="0" tIns="36000" rIns="0" bIns="36000" rtlCol="0">
              <a:spAutoFit/>
            </a:bodyPr>
            <a:lstStyle/>
            <a:p>
              <a:pPr marL="0" marR="0" lvl="0" indent="0" algn="r" defTabSz="914400" rtl="0" eaLnBrk="1" fontAlgn="auto" latinLnBrk="0" hangingPunct="1">
                <a:lnSpc>
                  <a:spcPct val="120000"/>
                </a:lnSpc>
                <a:spcBef>
                  <a:spcPts val="600"/>
                </a:spcBef>
                <a:spcAft>
                  <a:spcPts val="0"/>
                </a:spcAft>
                <a:buClrTx/>
                <a:buSzTx/>
                <a:buFontTx/>
                <a:buNone/>
                <a:tabLst/>
                <a:defRPr/>
              </a:pPr>
              <a:r>
                <a:rPr kumimoji="0" lang="en-US" sz="1100" b="0" i="0" u="none" strike="noStrike" kern="1200" cap="none" spc="0" normalizeH="0" baseline="0" noProof="0" dirty="0">
                  <a:ln>
                    <a:noFill/>
                  </a:ln>
                  <a:solidFill>
                    <a:prstClr val="black">
                      <a:lumMod val="50000"/>
                      <a:lumOff val="50000"/>
                    </a:prstClr>
                  </a:solidFill>
                  <a:effectLst/>
                  <a:uLnTx/>
                  <a:uFillTx/>
                  <a:latin typeface="HarmonyOS Sans SC"/>
                  <a:cs typeface="+mn-cs"/>
                </a:rPr>
                <a:t>Sed </a:t>
              </a:r>
              <a:r>
                <a:rPr kumimoji="0" lang="en-US" sz="1100" b="0" i="0" u="none" strike="noStrike" kern="1200" cap="none" spc="0" normalizeH="0" baseline="0" noProof="0" dirty="0" err="1">
                  <a:ln>
                    <a:noFill/>
                  </a:ln>
                  <a:solidFill>
                    <a:prstClr val="black">
                      <a:lumMod val="50000"/>
                      <a:lumOff val="50000"/>
                    </a:prstClr>
                  </a:solidFill>
                  <a:effectLst/>
                  <a:uLnTx/>
                  <a:uFillTx/>
                  <a:latin typeface="HarmonyOS Sans SC"/>
                  <a:cs typeface="+mn-cs"/>
                </a:rPr>
                <a:t>Perspiciati</a:t>
              </a:r>
              <a:r>
                <a:rPr kumimoji="0" lang="en-US" sz="1100" b="0" i="0" u="none" strike="noStrike" kern="1200" cap="none" spc="0" normalizeH="0" baseline="0" noProof="0" dirty="0">
                  <a:ln>
                    <a:noFill/>
                  </a:ln>
                  <a:solidFill>
                    <a:prstClr val="black">
                      <a:lumMod val="50000"/>
                      <a:lumOff val="50000"/>
                    </a:prstClr>
                  </a:solidFill>
                  <a:effectLst/>
                  <a:uLnTx/>
                  <a:uFillTx/>
                  <a:latin typeface="HarmonyOS Sans SC"/>
                  <a:cs typeface="+mn-cs"/>
                </a:rPr>
                <a:t> </a:t>
              </a:r>
              <a:r>
                <a:rPr kumimoji="0" lang="en-US" sz="1100" b="0" i="0" u="none" strike="noStrike" kern="1200" cap="none" spc="0" normalizeH="0" baseline="0" noProof="0" dirty="0" err="1">
                  <a:ln>
                    <a:noFill/>
                  </a:ln>
                  <a:solidFill>
                    <a:prstClr val="black">
                      <a:lumMod val="50000"/>
                      <a:lumOff val="50000"/>
                    </a:prstClr>
                  </a:solidFill>
                  <a:effectLst/>
                  <a:uLnTx/>
                  <a:uFillTx/>
                  <a:latin typeface="HarmonyOS Sans SC"/>
                  <a:cs typeface="+mn-cs"/>
                </a:rPr>
                <a:t>Unde</a:t>
              </a:r>
              <a:r>
                <a:rPr kumimoji="0" lang="en-US" sz="1100" b="0" i="0" u="none" strike="noStrike" kern="1200" cap="none" spc="0" normalizeH="0" baseline="0" noProof="0" dirty="0">
                  <a:ln>
                    <a:noFill/>
                  </a:ln>
                  <a:solidFill>
                    <a:prstClr val="black">
                      <a:lumMod val="50000"/>
                      <a:lumOff val="50000"/>
                    </a:prstClr>
                  </a:solidFill>
                  <a:effectLst/>
                  <a:uLnTx/>
                  <a:uFillTx/>
                  <a:latin typeface="HarmonyOS Sans SC"/>
                  <a:cs typeface="+mn-cs"/>
                </a:rPr>
                <a:t> Omnis </a:t>
              </a:r>
              <a:r>
                <a:rPr kumimoji="0" lang="en-US" sz="1100" b="0" i="0" u="none" strike="noStrike" kern="1200" cap="none" spc="0" normalizeH="0" baseline="0" noProof="0" dirty="0" err="1">
                  <a:ln>
                    <a:noFill/>
                  </a:ln>
                  <a:solidFill>
                    <a:prstClr val="black">
                      <a:lumMod val="50000"/>
                      <a:lumOff val="50000"/>
                    </a:prstClr>
                  </a:solidFill>
                  <a:effectLst/>
                  <a:uLnTx/>
                  <a:uFillTx/>
                  <a:latin typeface="HarmonyOS Sans SC"/>
                  <a:cs typeface="+mn-cs"/>
                </a:rPr>
                <a:t>Iste</a:t>
              </a:r>
              <a:r>
                <a:rPr kumimoji="0" lang="en-US" sz="1100" b="0" i="0" u="none" strike="noStrike" kern="1200" cap="none" spc="0" normalizeH="0" baseline="0" noProof="0" dirty="0">
                  <a:ln>
                    <a:noFill/>
                  </a:ln>
                  <a:solidFill>
                    <a:prstClr val="black">
                      <a:lumMod val="50000"/>
                      <a:lumOff val="50000"/>
                    </a:prstClr>
                  </a:solidFill>
                  <a:effectLst/>
                  <a:uLnTx/>
                  <a:uFillTx/>
                  <a:latin typeface="HarmonyOS Sans SC"/>
                  <a:cs typeface="+mn-cs"/>
                </a:rPr>
                <a:t> </a:t>
              </a:r>
              <a:r>
                <a:rPr kumimoji="0" lang="en-US" sz="1100" b="0" i="0" u="none" strike="noStrike" kern="1200" cap="none" spc="0" normalizeH="0" baseline="0" noProof="0" dirty="0" err="1">
                  <a:ln>
                    <a:noFill/>
                  </a:ln>
                  <a:solidFill>
                    <a:prstClr val="black">
                      <a:lumMod val="50000"/>
                      <a:lumOff val="50000"/>
                    </a:prstClr>
                  </a:solidFill>
                  <a:effectLst/>
                  <a:uLnTx/>
                  <a:uFillTx/>
                  <a:latin typeface="HarmonyOS Sans SC"/>
                  <a:cs typeface="+mn-cs"/>
                </a:rPr>
                <a:t>Elit</a:t>
              </a:r>
              <a:r>
                <a:rPr kumimoji="0" lang="en-US" sz="1100" b="0" i="0" u="none" strike="noStrike" kern="1200" cap="none" spc="0" normalizeH="0" baseline="0" noProof="0" dirty="0">
                  <a:ln>
                    <a:noFill/>
                  </a:ln>
                  <a:solidFill>
                    <a:prstClr val="black">
                      <a:lumMod val="50000"/>
                      <a:lumOff val="50000"/>
                    </a:prstClr>
                  </a:solidFill>
                  <a:effectLst/>
                  <a:uLnTx/>
                  <a:uFillTx/>
                  <a:latin typeface="HarmonyOS Sans SC"/>
                  <a:cs typeface="+mn-cs"/>
                </a:rPr>
                <a:t> </a:t>
              </a:r>
              <a:r>
                <a:rPr kumimoji="0" lang="en-US" sz="1100" b="0" i="0" u="none" strike="noStrike" kern="1200" cap="none" spc="0" normalizeH="0" baseline="0" noProof="0" dirty="0" err="1">
                  <a:ln>
                    <a:noFill/>
                  </a:ln>
                  <a:solidFill>
                    <a:prstClr val="black">
                      <a:lumMod val="50000"/>
                      <a:lumOff val="50000"/>
                    </a:prstClr>
                  </a:solidFill>
                  <a:effectLst/>
                  <a:uLnTx/>
                  <a:uFillTx/>
                  <a:latin typeface="HarmonyOS Sans SC"/>
                  <a:cs typeface="+mn-cs"/>
                </a:rPr>
                <a:t>Voluptatem</a:t>
              </a:r>
              <a:r>
                <a:rPr kumimoji="0" lang="en-US" sz="1100" b="0" i="0" u="none" strike="noStrike" kern="1200" cap="none" spc="0" normalizeH="0" baseline="0" noProof="0" dirty="0">
                  <a:ln>
                    <a:noFill/>
                  </a:ln>
                  <a:solidFill>
                    <a:prstClr val="black">
                      <a:lumMod val="50000"/>
                      <a:lumOff val="50000"/>
                    </a:prstClr>
                  </a:solidFill>
                  <a:effectLst/>
                  <a:uLnTx/>
                  <a:uFillTx/>
                  <a:latin typeface="HarmonyOS Sans SC"/>
                  <a:cs typeface="+mn-cs"/>
                </a:rPr>
                <a:t> Fringilla.</a:t>
              </a:r>
            </a:p>
          </p:txBody>
        </p:sp>
      </p:grpSp>
      <p:grpSp>
        <p:nvGrpSpPr>
          <p:cNvPr id="61" name="组合 60">
            <a:extLst>
              <a:ext uri="{FF2B5EF4-FFF2-40B4-BE49-F238E27FC236}">
                <a16:creationId xmlns:a16="http://schemas.microsoft.com/office/drawing/2014/main" id="{86AC7E2D-3B93-451B-A247-D20FEEAF57AC}"/>
              </a:ext>
            </a:extLst>
          </p:cNvPr>
          <p:cNvGrpSpPr/>
          <p:nvPr/>
        </p:nvGrpSpPr>
        <p:grpSpPr>
          <a:xfrm>
            <a:off x="1082004" y="4866968"/>
            <a:ext cx="2281175" cy="846145"/>
            <a:chOff x="1082004" y="4866968"/>
            <a:chExt cx="2281175" cy="846145"/>
          </a:xfrm>
        </p:grpSpPr>
        <p:sp>
          <p:nvSpPr>
            <p:cNvPr id="43" name="TextBox 65">
              <a:extLst>
                <a:ext uri="{FF2B5EF4-FFF2-40B4-BE49-F238E27FC236}">
                  <a16:creationId xmlns:a16="http://schemas.microsoft.com/office/drawing/2014/main" id="{589620A2-1BAD-40A4-BDC1-43FB0C126727}"/>
                </a:ext>
              </a:extLst>
            </p:cNvPr>
            <p:cNvSpPr txBox="1"/>
            <p:nvPr/>
          </p:nvSpPr>
          <p:spPr>
            <a:xfrm>
              <a:off x="1306918" y="4866968"/>
              <a:ext cx="2056261" cy="345598"/>
            </a:xfrm>
            <a:prstGeom prst="rect">
              <a:avLst/>
            </a:prstGeom>
            <a:noFill/>
          </p:spPr>
          <p:txBody>
            <a:bodyPr wrap="square" lIns="0" tIns="36000" rIns="0" bIns="36000" rtlCol="0">
              <a:spAutoFit/>
            </a:bodyPr>
            <a:lstStyle/>
            <a:p>
              <a:pPr marL="0" marR="0" lvl="0" indent="0" algn="r" defTabSz="914400" rtl="0" eaLnBrk="1" fontAlgn="auto" latinLnBrk="0" hangingPunct="1">
                <a:lnSpc>
                  <a:spcPct val="120000"/>
                </a:lnSpc>
                <a:spcBef>
                  <a:spcPts val="600"/>
                </a:spcBef>
                <a:spcAft>
                  <a:spcPts val="0"/>
                </a:spcAft>
                <a:buClrTx/>
                <a:buSzTx/>
                <a:buFontTx/>
                <a:buNone/>
                <a:tabLst/>
                <a:defRPr/>
              </a:pPr>
              <a:r>
                <a:rPr kumimoji="0" lang="en-US" sz="1600" b="0" i="0" u="none" strike="noStrike" kern="1200" cap="none" spc="0" normalizeH="0" baseline="0" noProof="0" dirty="0">
                  <a:ln>
                    <a:noFill/>
                  </a:ln>
                  <a:solidFill>
                    <a:schemeClr val="accent1"/>
                  </a:solidFill>
                  <a:effectLst/>
                  <a:uLnTx/>
                  <a:uFillTx/>
                  <a:latin typeface="HarmonyOS Sans SC Black"/>
                  <a:ea typeface="+mj-ea"/>
                  <a:cs typeface="+mn-cs"/>
                </a:rPr>
                <a:t>Insert Title Here</a:t>
              </a:r>
            </a:p>
          </p:txBody>
        </p:sp>
        <p:sp>
          <p:nvSpPr>
            <p:cNvPr id="44" name="TextBox 65">
              <a:extLst>
                <a:ext uri="{FF2B5EF4-FFF2-40B4-BE49-F238E27FC236}">
                  <a16:creationId xmlns:a16="http://schemas.microsoft.com/office/drawing/2014/main" id="{9D17DD0D-42EF-4224-B9E8-194BFB5D0B55}"/>
                </a:ext>
              </a:extLst>
            </p:cNvPr>
            <p:cNvSpPr txBox="1"/>
            <p:nvPr/>
          </p:nvSpPr>
          <p:spPr>
            <a:xfrm>
              <a:off x="1082004" y="5250367"/>
              <a:ext cx="2281175" cy="462746"/>
            </a:xfrm>
            <a:prstGeom prst="rect">
              <a:avLst/>
            </a:prstGeom>
            <a:noFill/>
          </p:spPr>
          <p:txBody>
            <a:bodyPr wrap="square" lIns="0" tIns="36000" rIns="0" bIns="36000" rtlCol="0">
              <a:spAutoFit/>
            </a:bodyPr>
            <a:lstStyle/>
            <a:p>
              <a:pPr marL="0" marR="0" lvl="0" indent="0" algn="r" defTabSz="914400" rtl="0" eaLnBrk="1" fontAlgn="auto" latinLnBrk="0" hangingPunct="1">
                <a:lnSpc>
                  <a:spcPct val="120000"/>
                </a:lnSpc>
                <a:spcBef>
                  <a:spcPts val="600"/>
                </a:spcBef>
                <a:spcAft>
                  <a:spcPts val="0"/>
                </a:spcAft>
                <a:buClrTx/>
                <a:buSzTx/>
                <a:buFontTx/>
                <a:buNone/>
                <a:tabLst/>
                <a:defRPr/>
              </a:pPr>
              <a:r>
                <a:rPr kumimoji="0" lang="en-US" sz="1100" b="0" i="0" u="none" strike="noStrike" kern="1200" cap="none" spc="0" normalizeH="0" baseline="0" noProof="0" dirty="0">
                  <a:ln>
                    <a:noFill/>
                  </a:ln>
                  <a:solidFill>
                    <a:prstClr val="black">
                      <a:lumMod val="50000"/>
                      <a:lumOff val="50000"/>
                    </a:prstClr>
                  </a:solidFill>
                  <a:effectLst/>
                  <a:uLnTx/>
                  <a:uFillTx/>
                  <a:latin typeface="HarmonyOS Sans SC"/>
                  <a:cs typeface="+mn-cs"/>
                </a:rPr>
                <a:t>Sed </a:t>
              </a:r>
              <a:r>
                <a:rPr kumimoji="0" lang="en-US" sz="1100" b="0" i="0" u="none" strike="noStrike" kern="1200" cap="none" spc="0" normalizeH="0" baseline="0" noProof="0" dirty="0" err="1">
                  <a:ln>
                    <a:noFill/>
                  </a:ln>
                  <a:solidFill>
                    <a:prstClr val="black">
                      <a:lumMod val="50000"/>
                      <a:lumOff val="50000"/>
                    </a:prstClr>
                  </a:solidFill>
                  <a:effectLst/>
                  <a:uLnTx/>
                  <a:uFillTx/>
                  <a:latin typeface="HarmonyOS Sans SC"/>
                  <a:cs typeface="+mn-cs"/>
                </a:rPr>
                <a:t>Perspiciati</a:t>
              </a:r>
              <a:r>
                <a:rPr kumimoji="0" lang="en-US" sz="1100" b="0" i="0" u="none" strike="noStrike" kern="1200" cap="none" spc="0" normalizeH="0" baseline="0" noProof="0" dirty="0">
                  <a:ln>
                    <a:noFill/>
                  </a:ln>
                  <a:solidFill>
                    <a:prstClr val="black">
                      <a:lumMod val="50000"/>
                      <a:lumOff val="50000"/>
                    </a:prstClr>
                  </a:solidFill>
                  <a:effectLst/>
                  <a:uLnTx/>
                  <a:uFillTx/>
                  <a:latin typeface="HarmonyOS Sans SC"/>
                  <a:cs typeface="+mn-cs"/>
                </a:rPr>
                <a:t> </a:t>
              </a:r>
              <a:r>
                <a:rPr kumimoji="0" lang="en-US" sz="1100" b="0" i="0" u="none" strike="noStrike" kern="1200" cap="none" spc="0" normalizeH="0" baseline="0" noProof="0" dirty="0" err="1">
                  <a:ln>
                    <a:noFill/>
                  </a:ln>
                  <a:solidFill>
                    <a:prstClr val="black">
                      <a:lumMod val="50000"/>
                      <a:lumOff val="50000"/>
                    </a:prstClr>
                  </a:solidFill>
                  <a:effectLst/>
                  <a:uLnTx/>
                  <a:uFillTx/>
                  <a:latin typeface="HarmonyOS Sans SC"/>
                  <a:cs typeface="+mn-cs"/>
                </a:rPr>
                <a:t>Unde</a:t>
              </a:r>
              <a:r>
                <a:rPr kumimoji="0" lang="en-US" sz="1100" b="0" i="0" u="none" strike="noStrike" kern="1200" cap="none" spc="0" normalizeH="0" baseline="0" noProof="0" dirty="0">
                  <a:ln>
                    <a:noFill/>
                  </a:ln>
                  <a:solidFill>
                    <a:prstClr val="black">
                      <a:lumMod val="50000"/>
                      <a:lumOff val="50000"/>
                    </a:prstClr>
                  </a:solidFill>
                  <a:effectLst/>
                  <a:uLnTx/>
                  <a:uFillTx/>
                  <a:latin typeface="HarmonyOS Sans SC"/>
                  <a:cs typeface="+mn-cs"/>
                </a:rPr>
                <a:t> Omnis </a:t>
              </a:r>
              <a:r>
                <a:rPr kumimoji="0" lang="en-US" sz="1100" b="0" i="0" u="none" strike="noStrike" kern="1200" cap="none" spc="0" normalizeH="0" baseline="0" noProof="0" dirty="0" err="1">
                  <a:ln>
                    <a:noFill/>
                  </a:ln>
                  <a:solidFill>
                    <a:prstClr val="black">
                      <a:lumMod val="50000"/>
                      <a:lumOff val="50000"/>
                    </a:prstClr>
                  </a:solidFill>
                  <a:effectLst/>
                  <a:uLnTx/>
                  <a:uFillTx/>
                  <a:latin typeface="HarmonyOS Sans SC"/>
                  <a:cs typeface="+mn-cs"/>
                </a:rPr>
                <a:t>Iste</a:t>
              </a:r>
              <a:r>
                <a:rPr kumimoji="0" lang="en-US" sz="1100" b="0" i="0" u="none" strike="noStrike" kern="1200" cap="none" spc="0" normalizeH="0" baseline="0" noProof="0" dirty="0">
                  <a:ln>
                    <a:noFill/>
                  </a:ln>
                  <a:solidFill>
                    <a:prstClr val="black">
                      <a:lumMod val="50000"/>
                      <a:lumOff val="50000"/>
                    </a:prstClr>
                  </a:solidFill>
                  <a:effectLst/>
                  <a:uLnTx/>
                  <a:uFillTx/>
                  <a:latin typeface="HarmonyOS Sans SC"/>
                  <a:cs typeface="+mn-cs"/>
                </a:rPr>
                <a:t> </a:t>
              </a:r>
              <a:r>
                <a:rPr kumimoji="0" lang="en-US" sz="1100" b="0" i="0" u="none" strike="noStrike" kern="1200" cap="none" spc="0" normalizeH="0" baseline="0" noProof="0" dirty="0" err="1">
                  <a:ln>
                    <a:noFill/>
                  </a:ln>
                  <a:solidFill>
                    <a:prstClr val="black">
                      <a:lumMod val="50000"/>
                      <a:lumOff val="50000"/>
                    </a:prstClr>
                  </a:solidFill>
                  <a:effectLst/>
                  <a:uLnTx/>
                  <a:uFillTx/>
                  <a:latin typeface="HarmonyOS Sans SC"/>
                  <a:cs typeface="+mn-cs"/>
                </a:rPr>
                <a:t>Elit</a:t>
              </a:r>
              <a:r>
                <a:rPr kumimoji="0" lang="en-US" sz="1100" b="0" i="0" u="none" strike="noStrike" kern="1200" cap="none" spc="0" normalizeH="0" baseline="0" noProof="0" dirty="0">
                  <a:ln>
                    <a:noFill/>
                  </a:ln>
                  <a:solidFill>
                    <a:prstClr val="black">
                      <a:lumMod val="50000"/>
                      <a:lumOff val="50000"/>
                    </a:prstClr>
                  </a:solidFill>
                  <a:effectLst/>
                  <a:uLnTx/>
                  <a:uFillTx/>
                  <a:latin typeface="HarmonyOS Sans SC"/>
                  <a:cs typeface="+mn-cs"/>
                </a:rPr>
                <a:t> </a:t>
              </a:r>
              <a:r>
                <a:rPr kumimoji="0" lang="en-US" sz="1100" b="0" i="0" u="none" strike="noStrike" kern="1200" cap="none" spc="0" normalizeH="0" baseline="0" noProof="0" dirty="0" err="1">
                  <a:ln>
                    <a:noFill/>
                  </a:ln>
                  <a:solidFill>
                    <a:prstClr val="black">
                      <a:lumMod val="50000"/>
                      <a:lumOff val="50000"/>
                    </a:prstClr>
                  </a:solidFill>
                  <a:effectLst/>
                  <a:uLnTx/>
                  <a:uFillTx/>
                  <a:latin typeface="HarmonyOS Sans SC"/>
                  <a:cs typeface="+mn-cs"/>
                </a:rPr>
                <a:t>Voluptatem</a:t>
              </a:r>
              <a:r>
                <a:rPr kumimoji="0" lang="en-US" sz="1100" b="0" i="0" u="none" strike="noStrike" kern="1200" cap="none" spc="0" normalizeH="0" baseline="0" noProof="0" dirty="0">
                  <a:ln>
                    <a:noFill/>
                  </a:ln>
                  <a:solidFill>
                    <a:prstClr val="black">
                      <a:lumMod val="50000"/>
                      <a:lumOff val="50000"/>
                    </a:prstClr>
                  </a:solidFill>
                  <a:effectLst/>
                  <a:uLnTx/>
                  <a:uFillTx/>
                  <a:latin typeface="HarmonyOS Sans SC"/>
                  <a:cs typeface="+mn-cs"/>
                </a:rPr>
                <a:t> Fringilla.</a:t>
              </a:r>
            </a:p>
          </p:txBody>
        </p:sp>
      </p:grpSp>
      <p:grpSp>
        <p:nvGrpSpPr>
          <p:cNvPr id="55" name="组合 54">
            <a:extLst>
              <a:ext uri="{FF2B5EF4-FFF2-40B4-BE49-F238E27FC236}">
                <a16:creationId xmlns:a16="http://schemas.microsoft.com/office/drawing/2014/main" id="{F88EAC5D-E803-4555-80EF-5ABAFAD92C47}"/>
              </a:ext>
            </a:extLst>
          </p:cNvPr>
          <p:cNvGrpSpPr/>
          <p:nvPr/>
        </p:nvGrpSpPr>
        <p:grpSpPr>
          <a:xfrm flipH="1">
            <a:off x="8783700" y="2199246"/>
            <a:ext cx="2281175" cy="846145"/>
            <a:chOff x="1082004" y="2199246"/>
            <a:chExt cx="2281175" cy="846145"/>
          </a:xfrm>
        </p:grpSpPr>
        <p:sp>
          <p:nvSpPr>
            <p:cNvPr id="59" name="TextBox 65">
              <a:extLst>
                <a:ext uri="{FF2B5EF4-FFF2-40B4-BE49-F238E27FC236}">
                  <a16:creationId xmlns:a16="http://schemas.microsoft.com/office/drawing/2014/main" id="{BB2E4F4B-25F1-4B58-ADDF-8F55D64E9B98}"/>
                </a:ext>
              </a:extLst>
            </p:cNvPr>
            <p:cNvSpPr txBox="1"/>
            <p:nvPr/>
          </p:nvSpPr>
          <p:spPr>
            <a:xfrm>
              <a:off x="1306918" y="2199246"/>
              <a:ext cx="2056261" cy="345598"/>
            </a:xfrm>
            <a:prstGeom prst="rect">
              <a:avLst/>
            </a:prstGeom>
            <a:noFill/>
          </p:spPr>
          <p:txBody>
            <a:bodyPr wrap="square" lIns="0" tIns="36000" rIns="0" bIns="36000" rtlCol="0">
              <a:spAutoFit/>
            </a:bodyPr>
            <a:lstStyle/>
            <a:p>
              <a:pPr marL="0" marR="0" lvl="0" indent="0" algn="l" defTabSz="914400" rtl="0" eaLnBrk="1" fontAlgn="auto" latinLnBrk="0" hangingPunct="1">
                <a:lnSpc>
                  <a:spcPct val="120000"/>
                </a:lnSpc>
                <a:spcBef>
                  <a:spcPts val="600"/>
                </a:spcBef>
                <a:spcAft>
                  <a:spcPts val="0"/>
                </a:spcAft>
                <a:buClrTx/>
                <a:buSzTx/>
                <a:buFontTx/>
                <a:buNone/>
                <a:tabLst/>
                <a:defRPr/>
              </a:pPr>
              <a:r>
                <a:rPr kumimoji="0" lang="en-US" sz="1600" b="0" i="0" u="none" strike="noStrike" kern="1200" cap="none" spc="0" normalizeH="0" baseline="0" noProof="0" dirty="0">
                  <a:ln>
                    <a:noFill/>
                  </a:ln>
                  <a:solidFill>
                    <a:schemeClr val="accent1"/>
                  </a:solidFill>
                  <a:effectLst/>
                  <a:uLnTx/>
                  <a:uFillTx/>
                  <a:latin typeface="HarmonyOS Sans SC Black"/>
                  <a:ea typeface="+mj-ea"/>
                  <a:cs typeface="+mn-cs"/>
                </a:rPr>
                <a:t>Insert Title Here</a:t>
              </a:r>
            </a:p>
          </p:txBody>
        </p:sp>
        <p:sp>
          <p:nvSpPr>
            <p:cNvPr id="60" name="TextBox 65">
              <a:extLst>
                <a:ext uri="{FF2B5EF4-FFF2-40B4-BE49-F238E27FC236}">
                  <a16:creationId xmlns:a16="http://schemas.microsoft.com/office/drawing/2014/main" id="{F624A773-BFA4-433A-8032-59DBA506883D}"/>
                </a:ext>
              </a:extLst>
            </p:cNvPr>
            <p:cNvSpPr txBox="1"/>
            <p:nvPr/>
          </p:nvSpPr>
          <p:spPr>
            <a:xfrm>
              <a:off x="1082004" y="2582645"/>
              <a:ext cx="2281175" cy="462746"/>
            </a:xfrm>
            <a:prstGeom prst="rect">
              <a:avLst/>
            </a:prstGeom>
            <a:noFill/>
          </p:spPr>
          <p:txBody>
            <a:bodyPr wrap="square" lIns="0" tIns="36000" rIns="0" bIns="36000" rtlCol="0">
              <a:spAutoFit/>
            </a:bodyPr>
            <a:lstStyle/>
            <a:p>
              <a:pPr marL="0" marR="0" lvl="0" indent="0" algn="l" defTabSz="914400" rtl="0" eaLnBrk="1" fontAlgn="auto" latinLnBrk="0" hangingPunct="1">
                <a:lnSpc>
                  <a:spcPct val="120000"/>
                </a:lnSpc>
                <a:spcBef>
                  <a:spcPts val="600"/>
                </a:spcBef>
                <a:spcAft>
                  <a:spcPts val="0"/>
                </a:spcAft>
                <a:buClrTx/>
                <a:buSzTx/>
                <a:buFontTx/>
                <a:buNone/>
                <a:tabLst/>
                <a:defRPr/>
              </a:pPr>
              <a:r>
                <a:rPr kumimoji="0" lang="en-US" sz="1100" b="0" i="0" u="none" strike="noStrike" kern="1200" cap="none" spc="0" normalizeH="0" baseline="0" noProof="0" dirty="0">
                  <a:ln>
                    <a:noFill/>
                  </a:ln>
                  <a:solidFill>
                    <a:prstClr val="black">
                      <a:lumMod val="50000"/>
                      <a:lumOff val="50000"/>
                    </a:prstClr>
                  </a:solidFill>
                  <a:effectLst/>
                  <a:uLnTx/>
                  <a:uFillTx/>
                  <a:latin typeface="HarmonyOS Sans SC"/>
                  <a:cs typeface="+mn-cs"/>
                </a:rPr>
                <a:t>Sed </a:t>
              </a:r>
              <a:r>
                <a:rPr kumimoji="0" lang="en-US" sz="1100" b="0" i="0" u="none" strike="noStrike" kern="1200" cap="none" spc="0" normalizeH="0" baseline="0" noProof="0" dirty="0" err="1">
                  <a:ln>
                    <a:noFill/>
                  </a:ln>
                  <a:solidFill>
                    <a:prstClr val="black">
                      <a:lumMod val="50000"/>
                      <a:lumOff val="50000"/>
                    </a:prstClr>
                  </a:solidFill>
                  <a:effectLst/>
                  <a:uLnTx/>
                  <a:uFillTx/>
                  <a:latin typeface="HarmonyOS Sans SC"/>
                  <a:cs typeface="+mn-cs"/>
                </a:rPr>
                <a:t>Perspiciati</a:t>
              </a:r>
              <a:r>
                <a:rPr kumimoji="0" lang="en-US" sz="1100" b="0" i="0" u="none" strike="noStrike" kern="1200" cap="none" spc="0" normalizeH="0" baseline="0" noProof="0" dirty="0">
                  <a:ln>
                    <a:noFill/>
                  </a:ln>
                  <a:solidFill>
                    <a:prstClr val="black">
                      <a:lumMod val="50000"/>
                      <a:lumOff val="50000"/>
                    </a:prstClr>
                  </a:solidFill>
                  <a:effectLst/>
                  <a:uLnTx/>
                  <a:uFillTx/>
                  <a:latin typeface="HarmonyOS Sans SC"/>
                  <a:cs typeface="+mn-cs"/>
                </a:rPr>
                <a:t> </a:t>
              </a:r>
              <a:r>
                <a:rPr kumimoji="0" lang="en-US" sz="1100" b="0" i="0" u="none" strike="noStrike" kern="1200" cap="none" spc="0" normalizeH="0" baseline="0" noProof="0" dirty="0" err="1">
                  <a:ln>
                    <a:noFill/>
                  </a:ln>
                  <a:solidFill>
                    <a:prstClr val="black">
                      <a:lumMod val="50000"/>
                      <a:lumOff val="50000"/>
                    </a:prstClr>
                  </a:solidFill>
                  <a:effectLst/>
                  <a:uLnTx/>
                  <a:uFillTx/>
                  <a:latin typeface="HarmonyOS Sans SC"/>
                  <a:cs typeface="+mn-cs"/>
                </a:rPr>
                <a:t>Unde</a:t>
              </a:r>
              <a:r>
                <a:rPr kumimoji="0" lang="en-US" sz="1100" b="0" i="0" u="none" strike="noStrike" kern="1200" cap="none" spc="0" normalizeH="0" baseline="0" noProof="0" dirty="0">
                  <a:ln>
                    <a:noFill/>
                  </a:ln>
                  <a:solidFill>
                    <a:prstClr val="black">
                      <a:lumMod val="50000"/>
                      <a:lumOff val="50000"/>
                    </a:prstClr>
                  </a:solidFill>
                  <a:effectLst/>
                  <a:uLnTx/>
                  <a:uFillTx/>
                  <a:latin typeface="HarmonyOS Sans SC"/>
                  <a:cs typeface="+mn-cs"/>
                </a:rPr>
                <a:t> Omnis </a:t>
              </a:r>
              <a:r>
                <a:rPr kumimoji="0" lang="en-US" sz="1100" b="0" i="0" u="none" strike="noStrike" kern="1200" cap="none" spc="0" normalizeH="0" baseline="0" noProof="0" dirty="0" err="1">
                  <a:ln>
                    <a:noFill/>
                  </a:ln>
                  <a:solidFill>
                    <a:prstClr val="black">
                      <a:lumMod val="50000"/>
                      <a:lumOff val="50000"/>
                    </a:prstClr>
                  </a:solidFill>
                  <a:effectLst/>
                  <a:uLnTx/>
                  <a:uFillTx/>
                  <a:latin typeface="HarmonyOS Sans SC"/>
                  <a:cs typeface="+mn-cs"/>
                </a:rPr>
                <a:t>Iste</a:t>
              </a:r>
              <a:r>
                <a:rPr kumimoji="0" lang="en-US" sz="1100" b="0" i="0" u="none" strike="noStrike" kern="1200" cap="none" spc="0" normalizeH="0" baseline="0" noProof="0" dirty="0">
                  <a:ln>
                    <a:noFill/>
                  </a:ln>
                  <a:solidFill>
                    <a:prstClr val="black">
                      <a:lumMod val="50000"/>
                      <a:lumOff val="50000"/>
                    </a:prstClr>
                  </a:solidFill>
                  <a:effectLst/>
                  <a:uLnTx/>
                  <a:uFillTx/>
                  <a:latin typeface="HarmonyOS Sans SC"/>
                  <a:cs typeface="+mn-cs"/>
                </a:rPr>
                <a:t> </a:t>
              </a:r>
              <a:r>
                <a:rPr kumimoji="0" lang="en-US" sz="1100" b="0" i="0" u="none" strike="noStrike" kern="1200" cap="none" spc="0" normalizeH="0" baseline="0" noProof="0" dirty="0" err="1">
                  <a:ln>
                    <a:noFill/>
                  </a:ln>
                  <a:solidFill>
                    <a:prstClr val="black">
                      <a:lumMod val="50000"/>
                      <a:lumOff val="50000"/>
                    </a:prstClr>
                  </a:solidFill>
                  <a:effectLst/>
                  <a:uLnTx/>
                  <a:uFillTx/>
                  <a:latin typeface="HarmonyOS Sans SC"/>
                  <a:cs typeface="+mn-cs"/>
                </a:rPr>
                <a:t>Elit</a:t>
              </a:r>
              <a:r>
                <a:rPr kumimoji="0" lang="en-US" sz="1100" b="0" i="0" u="none" strike="noStrike" kern="1200" cap="none" spc="0" normalizeH="0" baseline="0" noProof="0" dirty="0">
                  <a:ln>
                    <a:noFill/>
                  </a:ln>
                  <a:solidFill>
                    <a:prstClr val="black">
                      <a:lumMod val="50000"/>
                      <a:lumOff val="50000"/>
                    </a:prstClr>
                  </a:solidFill>
                  <a:effectLst/>
                  <a:uLnTx/>
                  <a:uFillTx/>
                  <a:latin typeface="HarmonyOS Sans SC"/>
                  <a:cs typeface="+mn-cs"/>
                </a:rPr>
                <a:t> </a:t>
              </a:r>
              <a:r>
                <a:rPr kumimoji="0" lang="en-US" sz="1100" b="0" i="0" u="none" strike="noStrike" kern="1200" cap="none" spc="0" normalizeH="0" baseline="0" noProof="0" dirty="0" err="1">
                  <a:ln>
                    <a:noFill/>
                  </a:ln>
                  <a:solidFill>
                    <a:prstClr val="black">
                      <a:lumMod val="50000"/>
                      <a:lumOff val="50000"/>
                    </a:prstClr>
                  </a:solidFill>
                  <a:effectLst/>
                  <a:uLnTx/>
                  <a:uFillTx/>
                  <a:latin typeface="HarmonyOS Sans SC"/>
                  <a:cs typeface="+mn-cs"/>
                </a:rPr>
                <a:t>Voluptatem</a:t>
              </a:r>
              <a:r>
                <a:rPr kumimoji="0" lang="en-US" sz="1100" b="0" i="0" u="none" strike="noStrike" kern="1200" cap="none" spc="0" normalizeH="0" baseline="0" noProof="0" dirty="0">
                  <a:ln>
                    <a:noFill/>
                  </a:ln>
                  <a:solidFill>
                    <a:prstClr val="black">
                      <a:lumMod val="50000"/>
                      <a:lumOff val="50000"/>
                    </a:prstClr>
                  </a:solidFill>
                  <a:effectLst/>
                  <a:uLnTx/>
                  <a:uFillTx/>
                  <a:latin typeface="HarmonyOS Sans SC"/>
                  <a:cs typeface="+mn-cs"/>
                </a:rPr>
                <a:t> Fringilla.</a:t>
              </a:r>
            </a:p>
          </p:txBody>
        </p:sp>
      </p:grpSp>
      <p:grpSp>
        <p:nvGrpSpPr>
          <p:cNvPr id="56" name="组合 55">
            <a:extLst>
              <a:ext uri="{FF2B5EF4-FFF2-40B4-BE49-F238E27FC236}">
                <a16:creationId xmlns:a16="http://schemas.microsoft.com/office/drawing/2014/main" id="{289BC323-54B9-4637-9E3B-FB3820896A09}"/>
              </a:ext>
            </a:extLst>
          </p:cNvPr>
          <p:cNvGrpSpPr/>
          <p:nvPr/>
        </p:nvGrpSpPr>
        <p:grpSpPr>
          <a:xfrm flipH="1">
            <a:off x="8783700" y="4866968"/>
            <a:ext cx="2281175" cy="846145"/>
            <a:chOff x="1082004" y="4866968"/>
            <a:chExt cx="2281175" cy="846145"/>
          </a:xfrm>
        </p:grpSpPr>
        <p:sp>
          <p:nvSpPr>
            <p:cNvPr id="57" name="TextBox 65">
              <a:extLst>
                <a:ext uri="{FF2B5EF4-FFF2-40B4-BE49-F238E27FC236}">
                  <a16:creationId xmlns:a16="http://schemas.microsoft.com/office/drawing/2014/main" id="{7B3ADB75-5A74-4F23-B4A5-C8755BEB1A4F}"/>
                </a:ext>
              </a:extLst>
            </p:cNvPr>
            <p:cNvSpPr txBox="1"/>
            <p:nvPr/>
          </p:nvSpPr>
          <p:spPr>
            <a:xfrm>
              <a:off x="1306918" y="4866968"/>
              <a:ext cx="2056261" cy="345598"/>
            </a:xfrm>
            <a:prstGeom prst="rect">
              <a:avLst/>
            </a:prstGeom>
            <a:noFill/>
          </p:spPr>
          <p:txBody>
            <a:bodyPr wrap="square" lIns="0" tIns="36000" rIns="0" bIns="36000" rtlCol="0">
              <a:spAutoFit/>
            </a:bodyPr>
            <a:lstStyle/>
            <a:p>
              <a:pPr marL="0" marR="0" lvl="0" indent="0" algn="l" defTabSz="914400" rtl="0" eaLnBrk="1" fontAlgn="auto" latinLnBrk="0" hangingPunct="1">
                <a:lnSpc>
                  <a:spcPct val="120000"/>
                </a:lnSpc>
                <a:spcBef>
                  <a:spcPts val="600"/>
                </a:spcBef>
                <a:spcAft>
                  <a:spcPts val="0"/>
                </a:spcAft>
                <a:buClrTx/>
                <a:buSzTx/>
                <a:buFontTx/>
                <a:buNone/>
                <a:tabLst/>
                <a:defRPr/>
              </a:pPr>
              <a:r>
                <a:rPr kumimoji="0" lang="en-US" sz="1600" b="0" i="0" u="none" strike="noStrike" kern="1200" cap="none" spc="0" normalizeH="0" baseline="0" noProof="0" dirty="0">
                  <a:ln>
                    <a:noFill/>
                  </a:ln>
                  <a:solidFill>
                    <a:schemeClr val="accent1"/>
                  </a:solidFill>
                  <a:effectLst/>
                  <a:uLnTx/>
                  <a:uFillTx/>
                  <a:latin typeface="HarmonyOS Sans SC Black"/>
                  <a:ea typeface="+mj-ea"/>
                  <a:cs typeface="+mn-cs"/>
                </a:rPr>
                <a:t>Insert Title Here</a:t>
              </a:r>
            </a:p>
          </p:txBody>
        </p:sp>
        <p:sp>
          <p:nvSpPr>
            <p:cNvPr id="58" name="TextBox 65">
              <a:extLst>
                <a:ext uri="{FF2B5EF4-FFF2-40B4-BE49-F238E27FC236}">
                  <a16:creationId xmlns:a16="http://schemas.microsoft.com/office/drawing/2014/main" id="{FF70E102-5D8C-4F51-9833-881C9905339F}"/>
                </a:ext>
              </a:extLst>
            </p:cNvPr>
            <p:cNvSpPr txBox="1"/>
            <p:nvPr/>
          </p:nvSpPr>
          <p:spPr>
            <a:xfrm>
              <a:off x="1082004" y="5250367"/>
              <a:ext cx="2281175" cy="462746"/>
            </a:xfrm>
            <a:prstGeom prst="rect">
              <a:avLst/>
            </a:prstGeom>
            <a:noFill/>
          </p:spPr>
          <p:txBody>
            <a:bodyPr wrap="square" lIns="0" tIns="36000" rIns="0" bIns="36000" rtlCol="0">
              <a:spAutoFit/>
            </a:bodyPr>
            <a:lstStyle/>
            <a:p>
              <a:pPr marL="0" marR="0" lvl="0" indent="0" algn="l" defTabSz="914400" rtl="0" eaLnBrk="1" fontAlgn="auto" latinLnBrk="0" hangingPunct="1">
                <a:lnSpc>
                  <a:spcPct val="120000"/>
                </a:lnSpc>
                <a:spcBef>
                  <a:spcPts val="600"/>
                </a:spcBef>
                <a:spcAft>
                  <a:spcPts val="0"/>
                </a:spcAft>
                <a:buClrTx/>
                <a:buSzTx/>
                <a:buFontTx/>
                <a:buNone/>
                <a:tabLst/>
                <a:defRPr/>
              </a:pPr>
              <a:r>
                <a:rPr kumimoji="0" lang="en-US" sz="1100" b="0" i="0" u="none" strike="noStrike" kern="1200" cap="none" spc="0" normalizeH="0" baseline="0" noProof="0" dirty="0">
                  <a:ln>
                    <a:noFill/>
                  </a:ln>
                  <a:solidFill>
                    <a:prstClr val="black">
                      <a:lumMod val="50000"/>
                      <a:lumOff val="50000"/>
                    </a:prstClr>
                  </a:solidFill>
                  <a:effectLst/>
                  <a:uLnTx/>
                  <a:uFillTx/>
                  <a:latin typeface="HarmonyOS Sans SC"/>
                  <a:cs typeface="+mn-cs"/>
                </a:rPr>
                <a:t>Sed </a:t>
              </a:r>
              <a:r>
                <a:rPr kumimoji="0" lang="en-US" sz="1100" b="0" i="0" u="none" strike="noStrike" kern="1200" cap="none" spc="0" normalizeH="0" baseline="0" noProof="0" dirty="0" err="1">
                  <a:ln>
                    <a:noFill/>
                  </a:ln>
                  <a:solidFill>
                    <a:prstClr val="black">
                      <a:lumMod val="50000"/>
                      <a:lumOff val="50000"/>
                    </a:prstClr>
                  </a:solidFill>
                  <a:effectLst/>
                  <a:uLnTx/>
                  <a:uFillTx/>
                  <a:latin typeface="HarmonyOS Sans SC"/>
                  <a:cs typeface="+mn-cs"/>
                </a:rPr>
                <a:t>Perspiciati</a:t>
              </a:r>
              <a:r>
                <a:rPr kumimoji="0" lang="en-US" sz="1100" b="0" i="0" u="none" strike="noStrike" kern="1200" cap="none" spc="0" normalizeH="0" baseline="0" noProof="0" dirty="0">
                  <a:ln>
                    <a:noFill/>
                  </a:ln>
                  <a:solidFill>
                    <a:prstClr val="black">
                      <a:lumMod val="50000"/>
                      <a:lumOff val="50000"/>
                    </a:prstClr>
                  </a:solidFill>
                  <a:effectLst/>
                  <a:uLnTx/>
                  <a:uFillTx/>
                  <a:latin typeface="HarmonyOS Sans SC"/>
                  <a:cs typeface="+mn-cs"/>
                </a:rPr>
                <a:t> </a:t>
              </a:r>
              <a:r>
                <a:rPr kumimoji="0" lang="en-US" sz="1100" b="0" i="0" u="none" strike="noStrike" kern="1200" cap="none" spc="0" normalizeH="0" baseline="0" noProof="0" dirty="0" err="1">
                  <a:ln>
                    <a:noFill/>
                  </a:ln>
                  <a:solidFill>
                    <a:prstClr val="black">
                      <a:lumMod val="50000"/>
                      <a:lumOff val="50000"/>
                    </a:prstClr>
                  </a:solidFill>
                  <a:effectLst/>
                  <a:uLnTx/>
                  <a:uFillTx/>
                  <a:latin typeface="HarmonyOS Sans SC"/>
                  <a:cs typeface="+mn-cs"/>
                </a:rPr>
                <a:t>Unde</a:t>
              </a:r>
              <a:r>
                <a:rPr kumimoji="0" lang="en-US" sz="1100" b="0" i="0" u="none" strike="noStrike" kern="1200" cap="none" spc="0" normalizeH="0" baseline="0" noProof="0" dirty="0">
                  <a:ln>
                    <a:noFill/>
                  </a:ln>
                  <a:solidFill>
                    <a:prstClr val="black">
                      <a:lumMod val="50000"/>
                      <a:lumOff val="50000"/>
                    </a:prstClr>
                  </a:solidFill>
                  <a:effectLst/>
                  <a:uLnTx/>
                  <a:uFillTx/>
                  <a:latin typeface="HarmonyOS Sans SC"/>
                  <a:cs typeface="+mn-cs"/>
                </a:rPr>
                <a:t> Omnis </a:t>
              </a:r>
              <a:r>
                <a:rPr kumimoji="0" lang="en-US" sz="1100" b="0" i="0" u="none" strike="noStrike" kern="1200" cap="none" spc="0" normalizeH="0" baseline="0" noProof="0" dirty="0" err="1">
                  <a:ln>
                    <a:noFill/>
                  </a:ln>
                  <a:solidFill>
                    <a:prstClr val="black">
                      <a:lumMod val="50000"/>
                      <a:lumOff val="50000"/>
                    </a:prstClr>
                  </a:solidFill>
                  <a:effectLst/>
                  <a:uLnTx/>
                  <a:uFillTx/>
                  <a:latin typeface="HarmonyOS Sans SC"/>
                  <a:cs typeface="+mn-cs"/>
                </a:rPr>
                <a:t>Iste</a:t>
              </a:r>
              <a:r>
                <a:rPr kumimoji="0" lang="en-US" sz="1100" b="0" i="0" u="none" strike="noStrike" kern="1200" cap="none" spc="0" normalizeH="0" baseline="0" noProof="0" dirty="0">
                  <a:ln>
                    <a:noFill/>
                  </a:ln>
                  <a:solidFill>
                    <a:prstClr val="black">
                      <a:lumMod val="50000"/>
                      <a:lumOff val="50000"/>
                    </a:prstClr>
                  </a:solidFill>
                  <a:effectLst/>
                  <a:uLnTx/>
                  <a:uFillTx/>
                  <a:latin typeface="HarmonyOS Sans SC"/>
                  <a:cs typeface="+mn-cs"/>
                </a:rPr>
                <a:t> </a:t>
              </a:r>
              <a:r>
                <a:rPr kumimoji="0" lang="en-US" sz="1100" b="0" i="0" u="none" strike="noStrike" kern="1200" cap="none" spc="0" normalizeH="0" baseline="0" noProof="0" dirty="0" err="1">
                  <a:ln>
                    <a:noFill/>
                  </a:ln>
                  <a:solidFill>
                    <a:prstClr val="black">
                      <a:lumMod val="50000"/>
                      <a:lumOff val="50000"/>
                    </a:prstClr>
                  </a:solidFill>
                  <a:effectLst/>
                  <a:uLnTx/>
                  <a:uFillTx/>
                  <a:latin typeface="HarmonyOS Sans SC"/>
                  <a:cs typeface="+mn-cs"/>
                </a:rPr>
                <a:t>Elit</a:t>
              </a:r>
              <a:r>
                <a:rPr kumimoji="0" lang="en-US" sz="1100" b="0" i="0" u="none" strike="noStrike" kern="1200" cap="none" spc="0" normalizeH="0" baseline="0" noProof="0" dirty="0">
                  <a:ln>
                    <a:noFill/>
                  </a:ln>
                  <a:solidFill>
                    <a:prstClr val="black">
                      <a:lumMod val="50000"/>
                      <a:lumOff val="50000"/>
                    </a:prstClr>
                  </a:solidFill>
                  <a:effectLst/>
                  <a:uLnTx/>
                  <a:uFillTx/>
                  <a:latin typeface="HarmonyOS Sans SC"/>
                  <a:cs typeface="+mn-cs"/>
                </a:rPr>
                <a:t> </a:t>
              </a:r>
              <a:r>
                <a:rPr kumimoji="0" lang="en-US" sz="1100" b="0" i="0" u="none" strike="noStrike" kern="1200" cap="none" spc="0" normalizeH="0" baseline="0" noProof="0" dirty="0" err="1">
                  <a:ln>
                    <a:noFill/>
                  </a:ln>
                  <a:solidFill>
                    <a:prstClr val="black">
                      <a:lumMod val="50000"/>
                      <a:lumOff val="50000"/>
                    </a:prstClr>
                  </a:solidFill>
                  <a:effectLst/>
                  <a:uLnTx/>
                  <a:uFillTx/>
                  <a:latin typeface="HarmonyOS Sans SC"/>
                  <a:cs typeface="+mn-cs"/>
                </a:rPr>
                <a:t>Voluptatem</a:t>
              </a:r>
              <a:r>
                <a:rPr kumimoji="0" lang="en-US" sz="1100" b="0" i="0" u="none" strike="noStrike" kern="1200" cap="none" spc="0" normalizeH="0" baseline="0" noProof="0" dirty="0">
                  <a:ln>
                    <a:noFill/>
                  </a:ln>
                  <a:solidFill>
                    <a:prstClr val="black">
                      <a:lumMod val="50000"/>
                      <a:lumOff val="50000"/>
                    </a:prstClr>
                  </a:solidFill>
                  <a:effectLst/>
                  <a:uLnTx/>
                  <a:uFillTx/>
                  <a:latin typeface="HarmonyOS Sans SC"/>
                  <a:cs typeface="+mn-cs"/>
                </a:rPr>
                <a:t> Fringilla.</a:t>
              </a:r>
            </a:p>
          </p:txBody>
        </p:sp>
      </p:grpSp>
    </p:spTree>
    <p:extLst>
      <p:ext uri="{BB962C8B-B14F-4D97-AF65-F5344CB8AC3E}">
        <p14:creationId xmlns:p14="http://schemas.microsoft.com/office/powerpoint/2010/main" val="2584340306"/>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4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a:extLst>
              <a:ext uri="{FF2B5EF4-FFF2-40B4-BE49-F238E27FC236}">
                <a16:creationId xmlns:a16="http://schemas.microsoft.com/office/drawing/2014/main" id="{91D31387-72D8-4FEE-BD9D-8FE2E9801C15}"/>
              </a:ext>
            </a:extLst>
          </p:cNvPr>
          <p:cNvSpPr txBox="1"/>
          <p:nvPr/>
        </p:nvSpPr>
        <p:spPr>
          <a:xfrm>
            <a:off x="3960640" y="918105"/>
            <a:ext cx="4270721" cy="52322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2800" b="0" i="0" u="none" strike="noStrike" kern="1200" cap="none" spc="0" normalizeH="0" baseline="0" noProof="0" dirty="0">
                <a:ln>
                  <a:noFill/>
                </a:ln>
                <a:solidFill>
                  <a:prstClr val="black"/>
                </a:solidFill>
                <a:effectLst/>
                <a:uLnTx/>
                <a:uFillTx/>
                <a:latin typeface="HarmonyOS Sans Black"/>
                <a:ea typeface="+mj-ea"/>
                <a:cs typeface="+mn-cs"/>
              </a:rPr>
              <a:t>XESZPO INFOGRAPHIC</a:t>
            </a:r>
          </a:p>
        </p:txBody>
      </p:sp>
      <p:sp>
        <p:nvSpPr>
          <p:cNvPr id="4" name="Freeform 81">
            <a:extLst>
              <a:ext uri="{FF2B5EF4-FFF2-40B4-BE49-F238E27FC236}">
                <a16:creationId xmlns:a16="http://schemas.microsoft.com/office/drawing/2014/main" id="{D2054C42-A47D-4A3E-B264-B549224CE0C3}"/>
              </a:ext>
            </a:extLst>
          </p:cNvPr>
          <p:cNvSpPr>
            <a:spLocks/>
          </p:cNvSpPr>
          <p:nvPr/>
        </p:nvSpPr>
        <p:spPr bwMode="auto">
          <a:xfrm rot="19847212">
            <a:off x="1936369" y="3876709"/>
            <a:ext cx="1845035" cy="2011445"/>
          </a:xfrm>
          <a:custGeom>
            <a:avLst/>
            <a:gdLst>
              <a:gd name="T0" fmla="*/ 240 w 260"/>
              <a:gd name="T1" fmla="*/ 258 h 258"/>
              <a:gd name="T2" fmla="*/ 153 w 260"/>
              <a:gd name="T3" fmla="*/ 215 h 258"/>
              <a:gd name="T4" fmla="*/ 3 w 260"/>
              <a:gd name="T5" fmla="*/ 33 h 258"/>
              <a:gd name="T6" fmla="*/ 5 w 260"/>
              <a:gd name="T7" fmla="*/ 6 h 258"/>
              <a:gd name="T8" fmla="*/ 20 w 260"/>
              <a:gd name="T9" fmla="*/ 0 h 258"/>
              <a:gd name="T10" fmla="*/ 107 w 260"/>
              <a:gd name="T11" fmla="*/ 43 h 258"/>
              <a:gd name="T12" fmla="*/ 256 w 260"/>
              <a:gd name="T13" fmla="*/ 225 h 258"/>
              <a:gd name="T14" fmla="*/ 255 w 260"/>
              <a:gd name="T15" fmla="*/ 252 h 258"/>
              <a:gd name="T16" fmla="*/ 240 w 260"/>
              <a:gd name="T17" fmla="*/ 258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0" h="258">
                <a:moveTo>
                  <a:pt x="240" y="258"/>
                </a:moveTo>
                <a:cubicBezTo>
                  <a:pt x="221" y="258"/>
                  <a:pt x="189" y="242"/>
                  <a:pt x="153" y="215"/>
                </a:cubicBezTo>
                <a:cubicBezTo>
                  <a:pt x="84" y="161"/>
                  <a:pt x="16" y="80"/>
                  <a:pt x="3" y="33"/>
                </a:cubicBezTo>
                <a:cubicBezTo>
                  <a:pt x="0" y="20"/>
                  <a:pt x="0" y="11"/>
                  <a:pt x="5" y="6"/>
                </a:cubicBezTo>
                <a:cubicBezTo>
                  <a:pt x="8" y="2"/>
                  <a:pt x="13" y="0"/>
                  <a:pt x="20" y="0"/>
                </a:cubicBezTo>
                <a:cubicBezTo>
                  <a:pt x="39" y="0"/>
                  <a:pt x="70" y="15"/>
                  <a:pt x="107" y="43"/>
                </a:cubicBezTo>
                <a:cubicBezTo>
                  <a:pt x="176" y="96"/>
                  <a:pt x="243" y="178"/>
                  <a:pt x="256" y="225"/>
                </a:cubicBezTo>
                <a:cubicBezTo>
                  <a:pt x="260" y="237"/>
                  <a:pt x="259" y="246"/>
                  <a:pt x="255" y="252"/>
                </a:cubicBezTo>
                <a:cubicBezTo>
                  <a:pt x="252" y="256"/>
                  <a:pt x="247" y="258"/>
                  <a:pt x="240" y="258"/>
                </a:cubicBezTo>
                <a:close/>
              </a:path>
            </a:pathLst>
          </a:custGeom>
          <a:gradFill flip="none" rotWithShape="1">
            <a:gsLst>
              <a:gs pos="0">
                <a:schemeClr val="accent1">
                  <a:lumMod val="20000"/>
                  <a:lumOff val="80000"/>
                </a:schemeClr>
              </a:gs>
              <a:gs pos="52000">
                <a:schemeClr val="accent1">
                  <a:lumMod val="40000"/>
                  <a:lumOff val="60000"/>
                </a:schemeClr>
              </a:gs>
              <a:gs pos="100000">
                <a:schemeClr val="accent1">
                  <a:lumMod val="60000"/>
                  <a:lumOff val="40000"/>
                </a:schemeClr>
              </a:gs>
            </a:gsLst>
            <a:lin ang="5400000" scaled="1"/>
            <a:tileRect/>
          </a:gradFill>
          <a:ln w="51262"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HarmonyOS Sans SC"/>
              <a:cs typeface="+mn-cs"/>
            </a:endParaRPr>
          </a:p>
        </p:txBody>
      </p:sp>
      <p:sp>
        <p:nvSpPr>
          <p:cNvPr id="5" name="Freeform 82">
            <a:extLst>
              <a:ext uri="{FF2B5EF4-FFF2-40B4-BE49-F238E27FC236}">
                <a16:creationId xmlns:a16="http://schemas.microsoft.com/office/drawing/2014/main" id="{C90939CB-3B67-463E-81BD-96B653F6FFA7}"/>
              </a:ext>
            </a:extLst>
          </p:cNvPr>
          <p:cNvSpPr>
            <a:spLocks/>
          </p:cNvSpPr>
          <p:nvPr/>
        </p:nvSpPr>
        <p:spPr bwMode="auto">
          <a:xfrm rot="19847212">
            <a:off x="2340675" y="3018569"/>
            <a:ext cx="2239759" cy="2448574"/>
          </a:xfrm>
          <a:custGeom>
            <a:avLst/>
            <a:gdLst>
              <a:gd name="T0" fmla="*/ 292 w 316"/>
              <a:gd name="T1" fmla="*/ 314 h 314"/>
              <a:gd name="T2" fmla="*/ 186 w 316"/>
              <a:gd name="T3" fmla="*/ 262 h 314"/>
              <a:gd name="T4" fmla="*/ 4 w 316"/>
              <a:gd name="T5" fmla="*/ 40 h 314"/>
              <a:gd name="T6" fmla="*/ 6 w 316"/>
              <a:gd name="T7" fmla="*/ 7 h 314"/>
              <a:gd name="T8" fmla="*/ 24 w 316"/>
              <a:gd name="T9" fmla="*/ 0 h 314"/>
              <a:gd name="T10" fmla="*/ 130 w 316"/>
              <a:gd name="T11" fmla="*/ 53 h 314"/>
              <a:gd name="T12" fmla="*/ 312 w 316"/>
              <a:gd name="T13" fmla="*/ 274 h 314"/>
              <a:gd name="T14" fmla="*/ 311 w 316"/>
              <a:gd name="T15" fmla="*/ 307 h 314"/>
              <a:gd name="T16" fmla="*/ 292 w 316"/>
              <a:gd name="T17" fmla="*/ 314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6" h="314">
                <a:moveTo>
                  <a:pt x="292" y="314"/>
                </a:moveTo>
                <a:cubicBezTo>
                  <a:pt x="269" y="314"/>
                  <a:pt x="230" y="295"/>
                  <a:pt x="186" y="262"/>
                </a:cubicBezTo>
                <a:cubicBezTo>
                  <a:pt x="102" y="197"/>
                  <a:pt x="20" y="98"/>
                  <a:pt x="4" y="40"/>
                </a:cubicBezTo>
                <a:cubicBezTo>
                  <a:pt x="0" y="25"/>
                  <a:pt x="0" y="14"/>
                  <a:pt x="6" y="7"/>
                </a:cubicBezTo>
                <a:cubicBezTo>
                  <a:pt x="9" y="2"/>
                  <a:pt x="16" y="0"/>
                  <a:pt x="24" y="0"/>
                </a:cubicBezTo>
                <a:cubicBezTo>
                  <a:pt x="47" y="0"/>
                  <a:pt x="86" y="19"/>
                  <a:pt x="130" y="53"/>
                </a:cubicBezTo>
                <a:cubicBezTo>
                  <a:pt x="214" y="117"/>
                  <a:pt x="296" y="217"/>
                  <a:pt x="312" y="274"/>
                </a:cubicBezTo>
                <a:cubicBezTo>
                  <a:pt x="316" y="289"/>
                  <a:pt x="316" y="300"/>
                  <a:pt x="311" y="307"/>
                </a:cubicBezTo>
                <a:cubicBezTo>
                  <a:pt x="307" y="312"/>
                  <a:pt x="300" y="314"/>
                  <a:pt x="292" y="314"/>
                </a:cubicBezTo>
                <a:close/>
              </a:path>
            </a:pathLst>
          </a:custGeom>
          <a:gradFill flip="none" rotWithShape="1">
            <a:gsLst>
              <a:gs pos="0">
                <a:schemeClr val="accent1">
                  <a:lumMod val="20000"/>
                  <a:lumOff val="80000"/>
                </a:schemeClr>
              </a:gs>
              <a:gs pos="52000">
                <a:schemeClr val="accent1">
                  <a:lumMod val="40000"/>
                  <a:lumOff val="60000"/>
                </a:schemeClr>
              </a:gs>
              <a:gs pos="100000">
                <a:schemeClr val="accent1">
                  <a:lumMod val="60000"/>
                  <a:lumOff val="40000"/>
                </a:schemeClr>
              </a:gs>
            </a:gsLst>
            <a:lin ang="5400000" scaled="1"/>
            <a:tileRect/>
          </a:gradFill>
          <a:ln w="51262"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HarmonyOS Sans SC"/>
              <a:cs typeface="+mn-cs"/>
            </a:endParaRPr>
          </a:p>
        </p:txBody>
      </p:sp>
      <p:sp>
        <p:nvSpPr>
          <p:cNvPr id="6" name="Freeform 83">
            <a:extLst>
              <a:ext uri="{FF2B5EF4-FFF2-40B4-BE49-F238E27FC236}">
                <a16:creationId xmlns:a16="http://schemas.microsoft.com/office/drawing/2014/main" id="{B6DC9DF7-BD11-406C-A7E0-44D726E3D9DA}"/>
              </a:ext>
            </a:extLst>
          </p:cNvPr>
          <p:cNvSpPr>
            <a:spLocks/>
          </p:cNvSpPr>
          <p:nvPr/>
        </p:nvSpPr>
        <p:spPr bwMode="auto">
          <a:xfrm rot="19847212">
            <a:off x="2203794" y="2213939"/>
            <a:ext cx="2033425" cy="2225080"/>
          </a:xfrm>
          <a:custGeom>
            <a:avLst/>
            <a:gdLst>
              <a:gd name="T0" fmla="*/ 265 w 287"/>
              <a:gd name="T1" fmla="*/ 285 h 285"/>
              <a:gd name="T2" fmla="*/ 169 w 287"/>
              <a:gd name="T3" fmla="*/ 237 h 285"/>
              <a:gd name="T4" fmla="*/ 4 w 287"/>
              <a:gd name="T5" fmla="*/ 36 h 285"/>
              <a:gd name="T6" fmla="*/ 5 w 287"/>
              <a:gd name="T7" fmla="*/ 6 h 285"/>
              <a:gd name="T8" fmla="*/ 22 w 287"/>
              <a:gd name="T9" fmla="*/ 0 h 285"/>
              <a:gd name="T10" fmla="*/ 118 w 287"/>
              <a:gd name="T11" fmla="*/ 47 h 285"/>
              <a:gd name="T12" fmla="*/ 283 w 287"/>
              <a:gd name="T13" fmla="*/ 248 h 285"/>
              <a:gd name="T14" fmla="*/ 282 w 287"/>
              <a:gd name="T15" fmla="*/ 278 h 285"/>
              <a:gd name="T16" fmla="*/ 265 w 287"/>
              <a:gd name="T17" fmla="*/ 285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7" h="285">
                <a:moveTo>
                  <a:pt x="265" y="285"/>
                </a:moveTo>
                <a:cubicBezTo>
                  <a:pt x="244" y="285"/>
                  <a:pt x="209" y="267"/>
                  <a:pt x="169" y="237"/>
                </a:cubicBezTo>
                <a:cubicBezTo>
                  <a:pt x="92" y="178"/>
                  <a:pt x="18" y="88"/>
                  <a:pt x="4" y="36"/>
                </a:cubicBezTo>
                <a:cubicBezTo>
                  <a:pt x="0" y="22"/>
                  <a:pt x="0" y="13"/>
                  <a:pt x="5" y="6"/>
                </a:cubicBezTo>
                <a:cubicBezTo>
                  <a:pt x="8" y="2"/>
                  <a:pt x="14" y="0"/>
                  <a:pt x="22" y="0"/>
                </a:cubicBezTo>
                <a:cubicBezTo>
                  <a:pt x="43" y="0"/>
                  <a:pt x="78" y="17"/>
                  <a:pt x="118" y="47"/>
                </a:cubicBezTo>
                <a:cubicBezTo>
                  <a:pt x="194" y="106"/>
                  <a:pt x="269" y="196"/>
                  <a:pt x="283" y="248"/>
                </a:cubicBezTo>
                <a:cubicBezTo>
                  <a:pt x="287" y="262"/>
                  <a:pt x="286" y="272"/>
                  <a:pt x="282" y="278"/>
                </a:cubicBezTo>
                <a:cubicBezTo>
                  <a:pt x="278" y="283"/>
                  <a:pt x="273" y="285"/>
                  <a:pt x="265" y="285"/>
                </a:cubicBezTo>
                <a:close/>
              </a:path>
            </a:pathLst>
          </a:custGeom>
          <a:gradFill flip="none" rotWithShape="1">
            <a:gsLst>
              <a:gs pos="0">
                <a:schemeClr val="accent1">
                  <a:lumMod val="20000"/>
                  <a:lumOff val="80000"/>
                </a:schemeClr>
              </a:gs>
              <a:gs pos="52000">
                <a:schemeClr val="accent1">
                  <a:lumMod val="40000"/>
                  <a:lumOff val="60000"/>
                </a:schemeClr>
              </a:gs>
              <a:gs pos="100000">
                <a:schemeClr val="accent1">
                  <a:lumMod val="60000"/>
                  <a:lumOff val="40000"/>
                </a:schemeClr>
              </a:gs>
            </a:gsLst>
            <a:lin ang="5400000" scaled="1"/>
            <a:tileRect/>
          </a:gradFill>
          <a:ln w="51262"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HarmonyOS Sans SC"/>
              <a:cs typeface="+mn-cs"/>
            </a:endParaRPr>
          </a:p>
        </p:txBody>
      </p:sp>
      <p:sp>
        <p:nvSpPr>
          <p:cNvPr id="7" name="Freeform 84">
            <a:extLst>
              <a:ext uri="{FF2B5EF4-FFF2-40B4-BE49-F238E27FC236}">
                <a16:creationId xmlns:a16="http://schemas.microsoft.com/office/drawing/2014/main" id="{7D411E0F-0CCF-4998-AB53-4E15D6B4FF10}"/>
              </a:ext>
            </a:extLst>
          </p:cNvPr>
          <p:cNvSpPr>
            <a:spLocks/>
          </p:cNvSpPr>
          <p:nvPr/>
        </p:nvSpPr>
        <p:spPr bwMode="auto">
          <a:xfrm rot="19847212">
            <a:off x="1968473" y="4006415"/>
            <a:ext cx="1737383" cy="1919418"/>
          </a:xfrm>
          <a:custGeom>
            <a:avLst/>
            <a:gdLst>
              <a:gd name="T0" fmla="*/ 245 w 245"/>
              <a:gd name="T1" fmla="*/ 243 h 246"/>
              <a:gd name="T2" fmla="*/ 154 w 245"/>
              <a:gd name="T3" fmla="*/ 200 h 246"/>
              <a:gd name="T4" fmla="*/ 3 w 245"/>
              <a:gd name="T5" fmla="*/ 0 h 246"/>
              <a:gd name="T6" fmla="*/ 3 w 245"/>
              <a:gd name="T7" fmla="*/ 0 h 246"/>
              <a:gd name="T8" fmla="*/ 1 w 245"/>
              <a:gd name="T9" fmla="*/ 21 h 246"/>
              <a:gd name="T10" fmla="*/ 1 w 245"/>
              <a:gd name="T11" fmla="*/ 23 h 246"/>
              <a:gd name="T12" fmla="*/ 1 w 245"/>
              <a:gd name="T13" fmla="*/ 31 h 246"/>
              <a:gd name="T14" fmla="*/ 1 w 245"/>
              <a:gd name="T15" fmla="*/ 43 h 246"/>
              <a:gd name="T16" fmla="*/ 2 w 245"/>
              <a:gd name="T17" fmla="*/ 53 h 246"/>
              <a:gd name="T18" fmla="*/ 6 w 245"/>
              <a:gd name="T19" fmla="*/ 79 h 246"/>
              <a:gd name="T20" fmla="*/ 7 w 245"/>
              <a:gd name="T21" fmla="*/ 84 h 246"/>
              <a:gd name="T22" fmla="*/ 8 w 245"/>
              <a:gd name="T23" fmla="*/ 86 h 246"/>
              <a:gd name="T24" fmla="*/ 10 w 245"/>
              <a:gd name="T25" fmla="*/ 93 h 246"/>
              <a:gd name="T26" fmla="*/ 11 w 245"/>
              <a:gd name="T27" fmla="*/ 97 h 246"/>
              <a:gd name="T28" fmla="*/ 12 w 245"/>
              <a:gd name="T29" fmla="*/ 101 h 246"/>
              <a:gd name="T30" fmla="*/ 12 w 245"/>
              <a:gd name="T31" fmla="*/ 102 h 246"/>
              <a:gd name="T32" fmla="*/ 15 w 245"/>
              <a:gd name="T33" fmla="*/ 110 h 246"/>
              <a:gd name="T34" fmla="*/ 24 w 245"/>
              <a:gd name="T35" fmla="*/ 129 h 246"/>
              <a:gd name="T36" fmla="*/ 26 w 245"/>
              <a:gd name="T37" fmla="*/ 132 h 246"/>
              <a:gd name="T38" fmla="*/ 30 w 245"/>
              <a:gd name="T39" fmla="*/ 139 h 246"/>
              <a:gd name="T40" fmla="*/ 32 w 245"/>
              <a:gd name="T41" fmla="*/ 143 h 246"/>
              <a:gd name="T42" fmla="*/ 34 w 245"/>
              <a:gd name="T43" fmla="*/ 147 h 246"/>
              <a:gd name="T44" fmla="*/ 36 w 245"/>
              <a:gd name="T45" fmla="*/ 150 h 246"/>
              <a:gd name="T46" fmla="*/ 42 w 245"/>
              <a:gd name="T47" fmla="*/ 158 h 246"/>
              <a:gd name="T48" fmla="*/ 54 w 245"/>
              <a:gd name="T49" fmla="*/ 173 h 246"/>
              <a:gd name="T50" fmla="*/ 56 w 245"/>
              <a:gd name="T51" fmla="*/ 176 h 246"/>
              <a:gd name="T52" fmla="*/ 63 w 245"/>
              <a:gd name="T53" fmla="*/ 183 h 246"/>
              <a:gd name="T54" fmla="*/ 67 w 245"/>
              <a:gd name="T55" fmla="*/ 186 h 246"/>
              <a:gd name="T56" fmla="*/ 80 w 245"/>
              <a:gd name="T57" fmla="*/ 198 h 246"/>
              <a:gd name="T58" fmla="*/ 85 w 245"/>
              <a:gd name="T59" fmla="*/ 202 h 246"/>
              <a:gd name="T60" fmla="*/ 90 w 245"/>
              <a:gd name="T61" fmla="*/ 206 h 246"/>
              <a:gd name="T62" fmla="*/ 98 w 245"/>
              <a:gd name="T63" fmla="*/ 211 h 246"/>
              <a:gd name="T64" fmla="*/ 109 w 245"/>
              <a:gd name="T65" fmla="*/ 218 h 246"/>
              <a:gd name="T66" fmla="*/ 112 w 245"/>
              <a:gd name="T67" fmla="*/ 219 h 246"/>
              <a:gd name="T68" fmla="*/ 116 w 245"/>
              <a:gd name="T69" fmla="*/ 221 h 246"/>
              <a:gd name="T70" fmla="*/ 120 w 245"/>
              <a:gd name="T71" fmla="*/ 223 h 246"/>
              <a:gd name="T72" fmla="*/ 123 w 245"/>
              <a:gd name="T73" fmla="*/ 225 h 246"/>
              <a:gd name="T74" fmla="*/ 137 w 245"/>
              <a:gd name="T75" fmla="*/ 231 h 246"/>
              <a:gd name="T76" fmla="*/ 149 w 245"/>
              <a:gd name="T77" fmla="*/ 235 h 246"/>
              <a:gd name="T78" fmla="*/ 163 w 245"/>
              <a:gd name="T79" fmla="*/ 239 h 246"/>
              <a:gd name="T80" fmla="*/ 166 w 245"/>
              <a:gd name="T81" fmla="*/ 240 h 246"/>
              <a:gd name="T82" fmla="*/ 172 w 245"/>
              <a:gd name="T83" fmla="*/ 241 h 246"/>
              <a:gd name="T84" fmla="*/ 182 w 245"/>
              <a:gd name="T85" fmla="*/ 243 h 246"/>
              <a:gd name="T86" fmla="*/ 190 w 245"/>
              <a:gd name="T87" fmla="*/ 244 h 246"/>
              <a:gd name="T88" fmla="*/ 197 w 245"/>
              <a:gd name="T89" fmla="*/ 245 h 246"/>
              <a:gd name="T90" fmla="*/ 203 w 245"/>
              <a:gd name="T91" fmla="*/ 245 h 246"/>
              <a:gd name="T92" fmla="*/ 222 w 245"/>
              <a:gd name="T93" fmla="*/ 245 h 246"/>
              <a:gd name="T94" fmla="*/ 239 w 245"/>
              <a:gd name="T95" fmla="*/ 244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45" h="246">
                <a:moveTo>
                  <a:pt x="245" y="243"/>
                </a:moveTo>
                <a:cubicBezTo>
                  <a:pt x="245" y="243"/>
                  <a:pt x="245" y="243"/>
                  <a:pt x="245" y="243"/>
                </a:cubicBezTo>
                <a:cubicBezTo>
                  <a:pt x="245" y="243"/>
                  <a:pt x="245" y="243"/>
                  <a:pt x="245" y="243"/>
                </a:cubicBezTo>
                <a:cubicBezTo>
                  <a:pt x="227" y="246"/>
                  <a:pt x="195" y="231"/>
                  <a:pt x="154" y="200"/>
                </a:cubicBezTo>
                <a:cubicBezTo>
                  <a:pt x="85" y="147"/>
                  <a:pt x="18" y="66"/>
                  <a:pt x="5" y="18"/>
                </a:cubicBezTo>
                <a:cubicBezTo>
                  <a:pt x="3" y="11"/>
                  <a:pt x="2" y="5"/>
                  <a:pt x="3" y="0"/>
                </a:cubicBezTo>
                <a:cubicBezTo>
                  <a:pt x="2" y="5"/>
                  <a:pt x="2" y="11"/>
                  <a:pt x="1" y="16"/>
                </a:cubicBezTo>
                <a:cubicBezTo>
                  <a:pt x="2" y="11"/>
                  <a:pt x="2" y="5"/>
                  <a:pt x="3" y="0"/>
                </a:cubicBezTo>
                <a:cubicBezTo>
                  <a:pt x="2" y="7"/>
                  <a:pt x="1" y="14"/>
                  <a:pt x="1" y="21"/>
                </a:cubicBezTo>
                <a:cubicBezTo>
                  <a:pt x="1" y="21"/>
                  <a:pt x="1" y="21"/>
                  <a:pt x="1" y="21"/>
                </a:cubicBezTo>
                <a:cubicBezTo>
                  <a:pt x="1" y="21"/>
                  <a:pt x="1" y="21"/>
                  <a:pt x="1" y="22"/>
                </a:cubicBezTo>
                <a:cubicBezTo>
                  <a:pt x="1" y="22"/>
                  <a:pt x="1" y="22"/>
                  <a:pt x="1" y="23"/>
                </a:cubicBezTo>
                <a:cubicBezTo>
                  <a:pt x="1" y="24"/>
                  <a:pt x="1" y="25"/>
                  <a:pt x="1" y="26"/>
                </a:cubicBezTo>
                <a:cubicBezTo>
                  <a:pt x="1" y="28"/>
                  <a:pt x="1" y="29"/>
                  <a:pt x="1" y="31"/>
                </a:cubicBezTo>
                <a:cubicBezTo>
                  <a:pt x="1" y="31"/>
                  <a:pt x="1" y="32"/>
                  <a:pt x="1" y="32"/>
                </a:cubicBezTo>
                <a:cubicBezTo>
                  <a:pt x="0" y="36"/>
                  <a:pt x="1" y="39"/>
                  <a:pt x="1" y="43"/>
                </a:cubicBezTo>
                <a:cubicBezTo>
                  <a:pt x="1" y="44"/>
                  <a:pt x="1" y="44"/>
                  <a:pt x="1" y="45"/>
                </a:cubicBezTo>
                <a:cubicBezTo>
                  <a:pt x="1" y="47"/>
                  <a:pt x="1" y="50"/>
                  <a:pt x="2" y="53"/>
                </a:cubicBezTo>
                <a:cubicBezTo>
                  <a:pt x="2" y="53"/>
                  <a:pt x="2" y="53"/>
                  <a:pt x="2" y="54"/>
                </a:cubicBezTo>
                <a:cubicBezTo>
                  <a:pt x="2" y="55"/>
                  <a:pt x="3" y="65"/>
                  <a:pt x="6" y="79"/>
                </a:cubicBezTo>
                <a:cubicBezTo>
                  <a:pt x="6" y="79"/>
                  <a:pt x="6" y="80"/>
                  <a:pt x="6" y="80"/>
                </a:cubicBezTo>
                <a:cubicBezTo>
                  <a:pt x="6" y="81"/>
                  <a:pt x="7" y="82"/>
                  <a:pt x="7" y="84"/>
                </a:cubicBezTo>
                <a:cubicBezTo>
                  <a:pt x="7" y="84"/>
                  <a:pt x="7" y="84"/>
                  <a:pt x="7" y="84"/>
                </a:cubicBezTo>
                <a:cubicBezTo>
                  <a:pt x="7" y="85"/>
                  <a:pt x="8" y="86"/>
                  <a:pt x="8" y="86"/>
                </a:cubicBezTo>
                <a:cubicBezTo>
                  <a:pt x="8" y="87"/>
                  <a:pt x="8" y="88"/>
                  <a:pt x="8" y="88"/>
                </a:cubicBezTo>
                <a:cubicBezTo>
                  <a:pt x="8" y="89"/>
                  <a:pt x="9" y="90"/>
                  <a:pt x="10" y="93"/>
                </a:cubicBezTo>
                <a:cubicBezTo>
                  <a:pt x="10" y="94"/>
                  <a:pt x="10" y="94"/>
                  <a:pt x="10" y="95"/>
                </a:cubicBezTo>
                <a:cubicBezTo>
                  <a:pt x="10" y="95"/>
                  <a:pt x="10" y="96"/>
                  <a:pt x="11" y="97"/>
                </a:cubicBezTo>
                <a:cubicBezTo>
                  <a:pt x="11" y="97"/>
                  <a:pt x="11" y="97"/>
                  <a:pt x="11" y="98"/>
                </a:cubicBezTo>
                <a:cubicBezTo>
                  <a:pt x="11" y="99"/>
                  <a:pt x="12" y="100"/>
                  <a:pt x="12" y="101"/>
                </a:cubicBezTo>
                <a:cubicBezTo>
                  <a:pt x="12" y="101"/>
                  <a:pt x="12" y="101"/>
                  <a:pt x="12" y="101"/>
                </a:cubicBezTo>
                <a:cubicBezTo>
                  <a:pt x="12" y="102"/>
                  <a:pt x="12" y="102"/>
                  <a:pt x="12" y="102"/>
                </a:cubicBezTo>
                <a:cubicBezTo>
                  <a:pt x="13" y="104"/>
                  <a:pt x="14" y="106"/>
                  <a:pt x="15" y="109"/>
                </a:cubicBezTo>
                <a:cubicBezTo>
                  <a:pt x="15" y="109"/>
                  <a:pt x="15" y="110"/>
                  <a:pt x="15" y="110"/>
                </a:cubicBezTo>
                <a:cubicBezTo>
                  <a:pt x="15" y="110"/>
                  <a:pt x="16" y="110"/>
                  <a:pt x="16" y="110"/>
                </a:cubicBezTo>
                <a:cubicBezTo>
                  <a:pt x="18" y="117"/>
                  <a:pt x="20" y="120"/>
                  <a:pt x="24" y="129"/>
                </a:cubicBezTo>
                <a:cubicBezTo>
                  <a:pt x="24" y="129"/>
                  <a:pt x="24" y="130"/>
                  <a:pt x="26" y="132"/>
                </a:cubicBezTo>
                <a:cubicBezTo>
                  <a:pt x="26" y="132"/>
                  <a:pt x="26" y="132"/>
                  <a:pt x="26" y="132"/>
                </a:cubicBezTo>
                <a:cubicBezTo>
                  <a:pt x="27" y="134"/>
                  <a:pt x="28" y="137"/>
                  <a:pt x="30" y="139"/>
                </a:cubicBezTo>
                <a:cubicBezTo>
                  <a:pt x="30" y="139"/>
                  <a:pt x="30" y="139"/>
                  <a:pt x="30" y="139"/>
                </a:cubicBezTo>
                <a:cubicBezTo>
                  <a:pt x="30" y="139"/>
                  <a:pt x="30" y="140"/>
                  <a:pt x="30" y="140"/>
                </a:cubicBezTo>
                <a:cubicBezTo>
                  <a:pt x="31" y="141"/>
                  <a:pt x="31" y="142"/>
                  <a:pt x="32" y="143"/>
                </a:cubicBezTo>
                <a:cubicBezTo>
                  <a:pt x="33" y="144"/>
                  <a:pt x="33" y="145"/>
                  <a:pt x="34" y="147"/>
                </a:cubicBezTo>
                <a:cubicBezTo>
                  <a:pt x="34" y="147"/>
                  <a:pt x="34" y="147"/>
                  <a:pt x="34" y="147"/>
                </a:cubicBezTo>
                <a:cubicBezTo>
                  <a:pt x="35" y="148"/>
                  <a:pt x="35" y="148"/>
                  <a:pt x="36" y="149"/>
                </a:cubicBezTo>
                <a:cubicBezTo>
                  <a:pt x="36" y="149"/>
                  <a:pt x="36" y="149"/>
                  <a:pt x="36" y="150"/>
                </a:cubicBezTo>
                <a:cubicBezTo>
                  <a:pt x="36" y="150"/>
                  <a:pt x="36" y="150"/>
                  <a:pt x="37" y="150"/>
                </a:cubicBezTo>
                <a:cubicBezTo>
                  <a:pt x="38" y="153"/>
                  <a:pt x="40" y="155"/>
                  <a:pt x="42" y="158"/>
                </a:cubicBezTo>
                <a:cubicBezTo>
                  <a:pt x="42" y="158"/>
                  <a:pt x="42" y="159"/>
                  <a:pt x="43" y="159"/>
                </a:cubicBezTo>
                <a:cubicBezTo>
                  <a:pt x="45" y="163"/>
                  <a:pt x="49" y="168"/>
                  <a:pt x="54" y="173"/>
                </a:cubicBezTo>
                <a:cubicBezTo>
                  <a:pt x="55" y="174"/>
                  <a:pt x="55" y="175"/>
                  <a:pt x="56" y="176"/>
                </a:cubicBezTo>
                <a:cubicBezTo>
                  <a:pt x="56" y="176"/>
                  <a:pt x="56" y="176"/>
                  <a:pt x="56" y="176"/>
                </a:cubicBezTo>
                <a:cubicBezTo>
                  <a:pt x="58" y="178"/>
                  <a:pt x="60" y="180"/>
                  <a:pt x="62" y="182"/>
                </a:cubicBezTo>
                <a:cubicBezTo>
                  <a:pt x="62" y="182"/>
                  <a:pt x="63" y="182"/>
                  <a:pt x="63" y="183"/>
                </a:cubicBezTo>
                <a:cubicBezTo>
                  <a:pt x="64" y="184"/>
                  <a:pt x="65" y="185"/>
                  <a:pt x="66" y="185"/>
                </a:cubicBezTo>
                <a:cubicBezTo>
                  <a:pt x="66" y="186"/>
                  <a:pt x="67" y="186"/>
                  <a:pt x="67" y="186"/>
                </a:cubicBezTo>
                <a:cubicBezTo>
                  <a:pt x="67" y="187"/>
                  <a:pt x="68" y="188"/>
                  <a:pt x="69" y="188"/>
                </a:cubicBezTo>
                <a:cubicBezTo>
                  <a:pt x="73" y="192"/>
                  <a:pt x="76" y="195"/>
                  <a:pt x="80" y="198"/>
                </a:cubicBezTo>
                <a:cubicBezTo>
                  <a:pt x="80" y="198"/>
                  <a:pt x="80" y="198"/>
                  <a:pt x="81" y="199"/>
                </a:cubicBezTo>
                <a:cubicBezTo>
                  <a:pt x="82" y="200"/>
                  <a:pt x="83" y="201"/>
                  <a:pt x="85" y="202"/>
                </a:cubicBezTo>
                <a:cubicBezTo>
                  <a:pt x="85" y="202"/>
                  <a:pt x="85" y="202"/>
                  <a:pt x="86" y="202"/>
                </a:cubicBezTo>
                <a:cubicBezTo>
                  <a:pt x="87" y="204"/>
                  <a:pt x="89" y="205"/>
                  <a:pt x="90" y="206"/>
                </a:cubicBezTo>
                <a:cubicBezTo>
                  <a:pt x="90" y="206"/>
                  <a:pt x="90" y="206"/>
                  <a:pt x="90" y="206"/>
                </a:cubicBezTo>
                <a:cubicBezTo>
                  <a:pt x="94" y="208"/>
                  <a:pt x="97" y="210"/>
                  <a:pt x="98" y="211"/>
                </a:cubicBezTo>
                <a:cubicBezTo>
                  <a:pt x="102" y="213"/>
                  <a:pt x="105" y="215"/>
                  <a:pt x="108" y="217"/>
                </a:cubicBezTo>
                <a:cubicBezTo>
                  <a:pt x="108" y="217"/>
                  <a:pt x="108" y="217"/>
                  <a:pt x="109" y="218"/>
                </a:cubicBezTo>
                <a:cubicBezTo>
                  <a:pt x="110" y="218"/>
                  <a:pt x="110" y="218"/>
                  <a:pt x="111" y="219"/>
                </a:cubicBezTo>
                <a:cubicBezTo>
                  <a:pt x="112" y="219"/>
                  <a:pt x="112" y="219"/>
                  <a:pt x="112" y="219"/>
                </a:cubicBezTo>
                <a:cubicBezTo>
                  <a:pt x="113" y="220"/>
                  <a:pt x="114" y="221"/>
                  <a:pt x="115" y="221"/>
                </a:cubicBezTo>
                <a:cubicBezTo>
                  <a:pt x="116" y="221"/>
                  <a:pt x="116" y="221"/>
                  <a:pt x="116" y="221"/>
                </a:cubicBezTo>
                <a:cubicBezTo>
                  <a:pt x="117" y="222"/>
                  <a:pt x="118" y="222"/>
                  <a:pt x="119" y="223"/>
                </a:cubicBezTo>
                <a:cubicBezTo>
                  <a:pt x="119" y="223"/>
                  <a:pt x="119" y="223"/>
                  <a:pt x="120" y="223"/>
                </a:cubicBezTo>
                <a:cubicBezTo>
                  <a:pt x="120" y="224"/>
                  <a:pt x="121" y="224"/>
                  <a:pt x="122" y="224"/>
                </a:cubicBezTo>
                <a:cubicBezTo>
                  <a:pt x="122" y="225"/>
                  <a:pt x="123" y="225"/>
                  <a:pt x="123" y="225"/>
                </a:cubicBezTo>
                <a:cubicBezTo>
                  <a:pt x="124" y="225"/>
                  <a:pt x="124" y="226"/>
                  <a:pt x="125" y="226"/>
                </a:cubicBezTo>
                <a:cubicBezTo>
                  <a:pt x="129" y="228"/>
                  <a:pt x="134" y="230"/>
                  <a:pt x="137" y="231"/>
                </a:cubicBezTo>
                <a:cubicBezTo>
                  <a:pt x="140" y="232"/>
                  <a:pt x="145" y="234"/>
                  <a:pt x="148" y="235"/>
                </a:cubicBezTo>
                <a:cubicBezTo>
                  <a:pt x="148" y="235"/>
                  <a:pt x="149" y="235"/>
                  <a:pt x="149" y="235"/>
                </a:cubicBezTo>
                <a:cubicBezTo>
                  <a:pt x="153" y="236"/>
                  <a:pt x="156" y="237"/>
                  <a:pt x="161" y="239"/>
                </a:cubicBezTo>
                <a:cubicBezTo>
                  <a:pt x="162" y="239"/>
                  <a:pt x="162" y="239"/>
                  <a:pt x="163" y="239"/>
                </a:cubicBezTo>
                <a:cubicBezTo>
                  <a:pt x="163" y="239"/>
                  <a:pt x="163" y="239"/>
                  <a:pt x="164" y="239"/>
                </a:cubicBezTo>
                <a:cubicBezTo>
                  <a:pt x="164" y="239"/>
                  <a:pt x="165" y="240"/>
                  <a:pt x="166" y="240"/>
                </a:cubicBezTo>
                <a:cubicBezTo>
                  <a:pt x="166" y="240"/>
                  <a:pt x="166" y="240"/>
                  <a:pt x="167" y="240"/>
                </a:cubicBezTo>
                <a:cubicBezTo>
                  <a:pt x="169" y="240"/>
                  <a:pt x="170" y="241"/>
                  <a:pt x="172" y="241"/>
                </a:cubicBezTo>
                <a:cubicBezTo>
                  <a:pt x="175" y="242"/>
                  <a:pt x="177" y="242"/>
                  <a:pt x="180" y="243"/>
                </a:cubicBezTo>
                <a:cubicBezTo>
                  <a:pt x="180" y="243"/>
                  <a:pt x="181" y="243"/>
                  <a:pt x="182" y="243"/>
                </a:cubicBezTo>
                <a:cubicBezTo>
                  <a:pt x="182" y="243"/>
                  <a:pt x="182" y="243"/>
                  <a:pt x="182" y="243"/>
                </a:cubicBezTo>
                <a:cubicBezTo>
                  <a:pt x="186" y="244"/>
                  <a:pt x="190" y="244"/>
                  <a:pt x="190" y="244"/>
                </a:cubicBezTo>
                <a:cubicBezTo>
                  <a:pt x="190" y="244"/>
                  <a:pt x="190" y="244"/>
                  <a:pt x="191" y="244"/>
                </a:cubicBezTo>
                <a:cubicBezTo>
                  <a:pt x="193" y="244"/>
                  <a:pt x="196" y="245"/>
                  <a:pt x="197" y="245"/>
                </a:cubicBezTo>
                <a:cubicBezTo>
                  <a:pt x="198" y="245"/>
                  <a:pt x="199" y="245"/>
                  <a:pt x="200" y="245"/>
                </a:cubicBezTo>
                <a:cubicBezTo>
                  <a:pt x="201" y="245"/>
                  <a:pt x="203" y="245"/>
                  <a:pt x="203" y="245"/>
                </a:cubicBezTo>
                <a:cubicBezTo>
                  <a:pt x="213" y="245"/>
                  <a:pt x="216" y="245"/>
                  <a:pt x="222" y="245"/>
                </a:cubicBezTo>
                <a:cubicBezTo>
                  <a:pt x="222" y="245"/>
                  <a:pt x="222" y="245"/>
                  <a:pt x="222" y="245"/>
                </a:cubicBezTo>
                <a:cubicBezTo>
                  <a:pt x="222" y="245"/>
                  <a:pt x="229" y="245"/>
                  <a:pt x="239" y="244"/>
                </a:cubicBezTo>
                <a:cubicBezTo>
                  <a:pt x="239" y="244"/>
                  <a:pt x="239" y="244"/>
                  <a:pt x="239" y="244"/>
                </a:cubicBezTo>
                <a:cubicBezTo>
                  <a:pt x="241" y="244"/>
                  <a:pt x="243" y="243"/>
                  <a:pt x="245" y="243"/>
                </a:cubicBezTo>
                <a:close/>
              </a:path>
            </a:pathLst>
          </a:custGeom>
          <a:gradFill flip="none" rotWithShape="1">
            <a:gsLst>
              <a:gs pos="6000">
                <a:schemeClr val="accent1">
                  <a:lumMod val="40000"/>
                  <a:lumOff val="60000"/>
                </a:schemeClr>
              </a:gs>
              <a:gs pos="26000">
                <a:schemeClr val="accent1">
                  <a:lumMod val="60000"/>
                  <a:lumOff val="40000"/>
                </a:schemeClr>
              </a:gs>
              <a:gs pos="82000">
                <a:schemeClr val="accent1"/>
              </a:gs>
            </a:gsLst>
            <a:lin ang="540000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Calibri" panose="020F0502020204030204"/>
              <a:cs typeface="+mn-cs"/>
            </a:endParaRPr>
          </a:p>
        </p:txBody>
      </p:sp>
      <p:sp>
        <p:nvSpPr>
          <p:cNvPr id="8" name="Line 85">
            <a:extLst>
              <a:ext uri="{FF2B5EF4-FFF2-40B4-BE49-F238E27FC236}">
                <a16:creationId xmlns:a16="http://schemas.microsoft.com/office/drawing/2014/main" id="{8F811956-881E-4465-AE74-2F03228760DF}"/>
              </a:ext>
            </a:extLst>
          </p:cNvPr>
          <p:cNvSpPr>
            <a:spLocks noChangeShapeType="1"/>
          </p:cNvSpPr>
          <p:nvPr/>
        </p:nvSpPr>
        <p:spPr bwMode="auto">
          <a:xfrm rot="19847212">
            <a:off x="4437613" y="4767824"/>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Line 86">
            <a:extLst>
              <a:ext uri="{FF2B5EF4-FFF2-40B4-BE49-F238E27FC236}">
                <a16:creationId xmlns:a16="http://schemas.microsoft.com/office/drawing/2014/main" id="{3449182D-F86C-4361-9879-571B53C9365A}"/>
              </a:ext>
            </a:extLst>
          </p:cNvPr>
          <p:cNvSpPr>
            <a:spLocks noChangeShapeType="1"/>
          </p:cNvSpPr>
          <p:nvPr/>
        </p:nvSpPr>
        <p:spPr bwMode="auto">
          <a:xfrm rot="19847212">
            <a:off x="4437613" y="4767824"/>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87">
            <a:extLst>
              <a:ext uri="{FF2B5EF4-FFF2-40B4-BE49-F238E27FC236}">
                <a16:creationId xmlns:a16="http://schemas.microsoft.com/office/drawing/2014/main" id="{EC944CEF-3316-4029-9D49-F027F6EBAD70}"/>
              </a:ext>
            </a:extLst>
          </p:cNvPr>
          <p:cNvSpPr>
            <a:spLocks/>
          </p:cNvSpPr>
          <p:nvPr/>
        </p:nvSpPr>
        <p:spPr bwMode="auto">
          <a:xfrm rot="19847212">
            <a:off x="2194907" y="3123951"/>
            <a:ext cx="2440111" cy="2718080"/>
          </a:xfrm>
          <a:custGeom>
            <a:avLst/>
            <a:gdLst>
              <a:gd name="T0" fmla="*/ 223 w 344"/>
              <a:gd name="T1" fmla="*/ 254 h 348"/>
              <a:gd name="T2" fmla="*/ 40 w 344"/>
              <a:gd name="T3" fmla="*/ 33 h 348"/>
              <a:gd name="T4" fmla="*/ 39 w 344"/>
              <a:gd name="T5" fmla="*/ 6 h 348"/>
              <a:gd name="T6" fmla="*/ 43 w 344"/>
              <a:gd name="T7" fmla="*/ 0 h 348"/>
              <a:gd name="T8" fmla="*/ 39 w 344"/>
              <a:gd name="T9" fmla="*/ 5 h 348"/>
              <a:gd name="T10" fmla="*/ 37 w 344"/>
              <a:gd name="T11" fmla="*/ 6 h 348"/>
              <a:gd name="T12" fmla="*/ 34 w 344"/>
              <a:gd name="T13" fmla="*/ 11 h 348"/>
              <a:gd name="T14" fmla="*/ 33 w 344"/>
              <a:gd name="T15" fmla="*/ 12 h 348"/>
              <a:gd name="T16" fmla="*/ 30 w 344"/>
              <a:gd name="T17" fmla="*/ 17 h 348"/>
              <a:gd name="T18" fmla="*/ 29 w 344"/>
              <a:gd name="T19" fmla="*/ 18 h 348"/>
              <a:gd name="T20" fmla="*/ 26 w 344"/>
              <a:gd name="T21" fmla="*/ 22 h 348"/>
              <a:gd name="T22" fmla="*/ 25 w 344"/>
              <a:gd name="T23" fmla="*/ 23 h 348"/>
              <a:gd name="T24" fmla="*/ 23 w 344"/>
              <a:gd name="T25" fmla="*/ 26 h 348"/>
              <a:gd name="T26" fmla="*/ 22 w 344"/>
              <a:gd name="T27" fmla="*/ 28 h 348"/>
              <a:gd name="T28" fmla="*/ 20 w 344"/>
              <a:gd name="T29" fmla="*/ 31 h 348"/>
              <a:gd name="T30" fmla="*/ 19 w 344"/>
              <a:gd name="T31" fmla="*/ 33 h 348"/>
              <a:gd name="T32" fmla="*/ 18 w 344"/>
              <a:gd name="T33" fmla="*/ 35 h 348"/>
              <a:gd name="T34" fmla="*/ 16 w 344"/>
              <a:gd name="T35" fmla="*/ 39 h 348"/>
              <a:gd name="T36" fmla="*/ 16 w 344"/>
              <a:gd name="T37" fmla="*/ 40 h 348"/>
              <a:gd name="T38" fmla="*/ 13 w 344"/>
              <a:gd name="T39" fmla="*/ 44 h 348"/>
              <a:gd name="T40" fmla="*/ 13 w 344"/>
              <a:gd name="T41" fmla="*/ 45 h 348"/>
              <a:gd name="T42" fmla="*/ 10 w 344"/>
              <a:gd name="T43" fmla="*/ 51 h 348"/>
              <a:gd name="T44" fmla="*/ 10 w 344"/>
              <a:gd name="T45" fmla="*/ 51 h 348"/>
              <a:gd name="T46" fmla="*/ 8 w 344"/>
              <a:gd name="T47" fmla="*/ 57 h 348"/>
              <a:gd name="T48" fmla="*/ 7 w 344"/>
              <a:gd name="T49" fmla="*/ 58 h 348"/>
              <a:gd name="T50" fmla="*/ 5 w 344"/>
              <a:gd name="T51" fmla="*/ 63 h 348"/>
              <a:gd name="T52" fmla="*/ 4 w 344"/>
              <a:gd name="T53" fmla="*/ 65 h 348"/>
              <a:gd name="T54" fmla="*/ 2 w 344"/>
              <a:gd name="T55" fmla="*/ 71 h 348"/>
              <a:gd name="T56" fmla="*/ 3 w 344"/>
              <a:gd name="T57" fmla="*/ 95 h 348"/>
              <a:gd name="T58" fmla="*/ 169 w 344"/>
              <a:gd name="T59" fmla="*/ 296 h 348"/>
              <a:gd name="T60" fmla="*/ 273 w 344"/>
              <a:gd name="T61" fmla="*/ 342 h 348"/>
              <a:gd name="T62" fmla="*/ 279 w 344"/>
              <a:gd name="T63" fmla="*/ 340 h 348"/>
              <a:gd name="T64" fmla="*/ 281 w 344"/>
              <a:gd name="T65" fmla="*/ 339 h 348"/>
              <a:gd name="T66" fmla="*/ 286 w 344"/>
              <a:gd name="T67" fmla="*/ 337 h 348"/>
              <a:gd name="T68" fmla="*/ 287 w 344"/>
              <a:gd name="T69" fmla="*/ 337 h 348"/>
              <a:gd name="T70" fmla="*/ 293 w 344"/>
              <a:gd name="T71" fmla="*/ 334 h 348"/>
              <a:gd name="T72" fmla="*/ 293 w 344"/>
              <a:gd name="T73" fmla="*/ 334 h 348"/>
              <a:gd name="T74" fmla="*/ 299 w 344"/>
              <a:gd name="T75" fmla="*/ 332 h 348"/>
              <a:gd name="T76" fmla="*/ 299 w 344"/>
              <a:gd name="T77" fmla="*/ 331 h 348"/>
              <a:gd name="T78" fmla="*/ 304 w 344"/>
              <a:gd name="T79" fmla="*/ 329 h 348"/>
              <a:gd name="T80" fmla="*/ 305 w 344"/>
              <a:gd name="T81" fmla="*/ 329 h 348"/>
              <a:gd name="T82" fmla="*/ 309 w 344"/>
              <a:gd name="T83" fmla="*/ 327 h 348"/>
              <a:gd name="T84" fmla="*/ 310 w 344"/>
              <a:gd name="T85" fmla="*/ 326 h 348"/>
              <a:gd name="T86" fmla="*/ 313 w 344"/>
              <a:gd name="T87" fmla="*/ 324 h 348"/>
              <a:gd name="T88" fmla="*/ 315 w 344"/>
              <a:gd name="T89" fmla="*/ 323 h 348"/>
              <a:gd name="T90" fmla="*/ 317 w 344"/>
              <a:gd name="T91" fmla="*/ 322 h 348"/>
              <a:gd name="T92" fmla="*/ 321 w 344"/>
              <a:gd name="T93" fmla="*/ 319 h 348"/>
              <a:gd name="T94" fmla="*/ 322 w 344"/>
              <a:gd name="T95" fmla="*/ 318 h 348"/>
              <a:gd name="T96" fmla="*/ 326 w 344"/>
              <a:gd name="T97" fmla="*/ 316 h 348"/>
              <a:gd name="T98" fmla="*/ 327 w 344"/>
              <a:gd name="T99" fmla="*/ 315 h 348"/>
              <a:gd name="T100" fmla="*/ 332 w 344"/>
              <a:gd name="T101" fmla="*/ 312 h 348"/>
              <a:gd name="T102" fmla="*/ 333 w 344"/>
              <a:gd name="T103" fmla="*/ 311 h 348"/>
              <a:gd name="T104" fmla="*/ 337 w 344"/>
              <a:gd name="T105" fmla="*/ 308 h 348"/>
              <a:gd name="T106" fmla="*/ 339 w 344"/>
              <a:gd name="T107" fmla="*/ 306 h 348"/>
              <a:gd name="T108" fmla="*/ 344 w 344"/>
              <a:gd name="T109" fmla="*/ 302 h 348"/>
              <a:gd name="T110" fmla="*/ 338 w 344"/>
              <a:gd name="T111" fmla="*/ 306 h 348"/>
              <a:gd name="T112" fmla="*/ 223 w 344"/>
              <a:gd name="T113" fmla="*/ 254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44" h="348">
                <a:moveTo>
                  <a:pt x="223" y="254"/>
                </a:moveTo>
                <a:cubicBezTo>
                  <a:pt x="138" y="190"/>
                  <a:pt x="56" y="90"/>
                  <a:pt x="40" y="33"/>
                </a:cubicBezTo>
                <a:cubicBezTo>
                  <a:pt x="37" y="22"/>
                  <a:pt x="37" y="13"/>
                  <a:pt x="39" y="6"/>
                </a:cubicBezTo>
                <a:cubicBezTo>
                  <a:pt x="40" y="4"/>
                  <a:pt x="41" y="2"/>
                  <a:pt x="43" y="0"/>
                </a:cubicBezTo>
                <a:cubicBezTo>
                  <a:pt x="41" y="1"/>
                  <a:pt x="40" y="3"/>
                  <a:pt x="39" y="5"/>
                </a:cubicBezTo>
                <a:cubicBezTo>
                  <a:pt x="38" y="5"/>
                  <a:pt x="38" y="6"/>
                  <a:pt x="37" y="6"/>
                </a:cubicBezTo>
                <a:cubicBezTo>
                  <a:pt x="36" y="8"/>
                  <a:pt x="35" y="9"/>
                  <a:pt x="34" y="11"/>
                </a:cubicBezTo>
                <a:cubicBezTo>
                  <a:pt x="34" y="11"/>
                  <a:pt x="33" y="11"/>
                  <a:pt x="33" y="12"/>
                </a:cubicBezTo>
                <a:cubicBezTo>
                  <a:pt x="32" y="13"/>
                  <a:pt x="31" y="15"/>
                  <a:pt x="30" y="17"/>
                </a:cubicBezTo>
                <a:cubicBezTo>
                  <a:pt x="29" y="17"/>
                  <a:pt x="29" y="17"/>
                  <a:pt x="29" y="18"/>
                </a:cubicBezTo>
                <a:cubicBezTo>
                  <a:pt x="28" y="19"/>
                  <a:pt x="27" y="20"/>
                  <a:pt x="26" y="22"/>
                </a:cubicBezTo>
                <a:cubicBezTo>
                  <a:pt x="26" y="22"/>
                  <a:pt x="26" y="23"/>
                  <a:pt x="25" y="23"/>
                </a:cubicBezTo>
                <a:cubicBezTo>
                  <a:pt x="25" y="24"/>
                  <a:pt x="24" y="25"/>
                  <a:pt x="23" y="26"/>
                </a:cubicBezTo>
                <a:cubicBezTo>
                  <a:pt x="23" y="27"/>
                  <a:pt x="22" y="28"/>
                  <a:pt x="22" y="28"/>
                </a:cubicBezTo>
                <a:cubicBezTo>
                  <a:pt x="21" y="29"/>
                  <a:pt x="21" y="30"/>
                  <a:pt x="20" y="31"/>
                </a:cubicBezTo>
                <a:cubicBezTo>
                  <a:pt x="20" y="32"/>
                  <a:pt x="19" y="33"/>
                  <a:pt x="19" y="33"/>
                </a:cubicBezTo>
                <a:cubicBezTo>
                  <a:pt x="19" y="34"/>
                  <a:pt x="18" y="34"/>
                  <a:pt x="18" y="35"/>
                </a:cubicBezTo>
                <a:cubicBezTo>
                  <a:pt x="17" y="36"/>
                  <a:pt x="17" y="38"/>
                  <a:pt x="16" y="39"/>
                </a:cubicBezTo>
                <a:cubicBezTo>
                  <a:pt x="16" y="39"/>
                  <a:pt x="16" y="39"/>
                  <a:pt x="16" y="40"/>
                </a:cubicBezTo>
                <a:cubicBezTo>
                  <a:pt x="15" y="41"/>
                  <a:pt x="14" y="43"/>
                  <a:pt x="13" y="44"/>
                </a:cubicBezTo>
                <a:cubicBezTo>
                  <a:pt x="13" y="45"/>
                  <a:pt x="13" y="45"/>
                  <a:pt x="13" y="45"/>
                </a:cubicBezTo>
                <a:cubicBezTo>
                  <a:pt x="12" y="47"/>
                  <a:pt x="11" y="49"/>
                  <a:pt x="10" y="51"/>
                </a:cubicBezTo>
                <a:cubicBezTo>
                  <a:pt x="10" y="51"/>
                  <a:pt x="10" y="51"/>
                  <a:pt x="10" y="51"/>
                </a:cubicBezTo>
                <a:cubicBezTo>
                  <a:pt x="9" y="53"/>
                  <a:pt x="8" y="55"/>
                  <a:pt x="8" y="57"/>
                </a:cubicBezTo>
                <a:cubicBezTo>
                  <a:pt x="7" y="57"/>
                  <a:pt x="7" y="57"/>
                  <a:pt x="7" y="58"/>
                </a:cubicBezTo>
                <a:cubicBezTo>
                  <a:pt x="6" y="59"/>
                  <a:pt x="6" y="61"/>
                  <a:pt x="5" y="63"/>
                </a:cubicBezTo>
                <a:cubicBezTo>
                  <a:pt x="5" y="63"/>
                  <a:pt x="5" y="64"/>
                  <a:pt x="4" y="65"/>
                </a:cubicBezTo>
                <a:cubicBezTo>
                  <a:pt x="3" y="67"/>
                  <a:pt x="3" y="69"/>
                  <a:pt x="2" y="71"/>
                </a:cubicBezTo>
                <a:cubicBezTo>
                  <a:pt x="0" y="76"/>
                  <a:pt x="1" y="85"/>
                  <a:pt x="3" y="95"/>
                </a:cubicBezTo>
                <a:cubicBezTo>
                  <a:pt x="18" y="147"/>
                  <a:pt x="92" y="237"/>
                  <a:pt x="169" y="296"/>
                </a:cubicBezTo>
                <a:cubicBezTo>
                  <a:pt x="217" y="332"/>
                  <a:pt x="255" y="348"/>
                  <a:pt x="273" y="342"/>
                </a:cubicBezTo>
                <a:cubicBezTo>
                  <a:pt x="275" y="342"/>
                  <a:pt x="276" y="341"/>
                  <a:pt x="279" y="340"/>
                </a:cubicBezTo>
                <a:cubicBezTo>
                  <a:pt x="279" y="340"/>
                  <a:pt x="280" y="340"/>
                  <a:pt x="281" y="339"/>
                </a:cubicBezTo>
                <a:cubicBezTo>
                  <a:pt x="282" y="339"/>
                  <a:pt x="284" y="338"/>
                  <a:pt x="286" y="337"/>
                </a:cubicBezTo>
                <a:cubicBezTo>
                  <a:pt x="286" y="337"/>
                  <a:pt x="287" y="337"/>
                  <a:pt x="287" y="337"/>
                </a:cubicBezTo>
                <a:cubicBezTo>
                  <a:pt x="289" y="336"/>
                  <a:pt x="291" y="335"/>
                  <a:pt x="293" y="334"/>
                </a:cubicBezTo>
                <a:cubicBezTo>
                  <a:pt x="293" y="334"/>
                  <a:pt x="293" y="334"/>
                  <a:pt x="293" y="334"/>
                </a:cubicBezTo>
                <a:cubicBezTo>
                  <a:pt x="295" y="334"/>
                  <a:pt x="297" y="333"/>
                  <a:pt x="299" y="332"/>
                </a:cubicBezTo>
                <a:cubicBezTo>
                  <a:pt x="299" y="332"/>
                  <a:pt x="299" y="332"/>
                  <a:pt x="299" y="331"/>
                </a:cubicBezTo>
                <a:cubicBezTo>
                  <a:pt x="301" y="331"/>
                  <a:pt x="302" y="330"/>
                  <a:pt x="304" y="329"/>
                </a:cubicBezTo>
                <a:cubicBezTo>
                  <a:pt x="304" y="329"/>
                  <a:pt x="305" y="329"/>
                  <a:pt x="305" y="329"/>
                </a:cubicBezTo>
                <a:cubicBezTo>
                  <a:pt x="306" y="328"/>
                  <a:pt x="307" y="327"/>
                  <a:pt x="309" y="327"/>
                </a:cubicBezTo>
                <a:cubicBezTo>
                  <a:pt x="309" y="326"/>
                  <a:pt x="310" y="326"/>
                  <a:pt x="310" y="326"/>
                </a:cubicBezTo>
                <a:cubicBezTo>
                  <a:pt x="311" y="325"/>
                  <a:pt x="312" y="325"/>
                  <a:pt x="313" y="324"/>
                </a:cubicBezTo>
                <a:cubicBezTo>
                  <a:pt x="314" y="324"/>
                  <a:pt x="315" y="323"/>
                  <a:pt x="315" y="323"/>
                </a:cubicBezTo>
                <a:cubicBezTo>
                  <a:pt x="316" y="322"/>
                  <a:pt x="317" y="322"/>
                  <a:pt x="317" y="322"/>
                </a:cubicBezTo>
                <a:cubicBezTo>
                  <a:pt x="318" y="321"/>
                  <a:pt x="319" y="320"/>
                  <a:pt x="321" y="319"/>
                </a:cubicBezTo>
                <a:cubicBezTo>
                  <a:pt x="321" y="319"/>
                  <a:pt x="322" y="319"/>
                  <a:pt x="322" y="318"/>
                </a:cubicBezTo>
                <a:cubicBezTo>
                  <a:pt x="323" y="318"/>
                  <a:pt x="325" y="317"/>
                  <a:pt x="326" y="316"/>
                </a:cubicBezTo>
                <a:cubicBezTo>
                  <a:pt x="326" y="316"/>
                  <a:pt x="327" y="315"/>
                  <a:pt x="327" y="315"/>
                </a:cubicBezTo>
                <a:cubicBezTo>
                  <a:pt x="329" y="314"/>
                  <a:pt x="330" y="313"/>
                  <a:pt x="332" y="312"/>
                </a:cubicBezTo>
                <a:cubicBezTo>
                  <a:pt x="332" y="311"/>
                  <a:pt x="333" y="311"/>
                  <a:pt x="333" y="311"/>
                </a:cubicBezTo>
                <a:cubicBezTo>
                  <a:pt x="335" y="310"/>
                  <a:pt x="336" y="308"/>
                  <a:pt x="337" y="308"/>
                </a:cubicBezTo>
                <a:cubicBezTo>
                  <a:pt x="338" y="307"/>
                  <a:pt x="339" y="307"/>
                  <a:pt x="339" y="306"/>
                </a:cubicBezTo>
                <a:cubicBezTo>
                  <a:pt x="341" y="305"/>
                  <a:pt x="343" y="303"/>
                  <a:pt x="344" y="302"/>
                </a:cubicBezTo>
                <a:cubicBezTo>
                  <a:pt x="342" y="304"/>
                  <a:pt x="340" y="305"/>
                  <a:pt x="338" y="306"/>
                </a:cubicBezTo>
                <a:cubicBezTo>
                  <a:pt x="318" y="312"/>
                  <a:pt x="276" y="295"/>
                  <a:pt x="223" y="254"/>
                </a:cubicBezTo>
                <a:close/>
              </a:path>
            </a:pathLst>
          </a:custGeom>
          <a:gradFill flip="none" rotWithShape="1">
            <a:gsLst>
              <a:gs pos="6000">
                <a:schemeClr val="accent1">
                  <a:lumMod val="40000"/>
                  <a:lumOff val="60000"/>
                </a:schemeClr>
              </a:gs>
              <a:gs pos="26000">
                <a:schemeClr val="accent1">
                  <a:lumMod val="60000"/>
                  <a:lumOff val="40000"/>
                </a:schemeClr>
              </a:gs>
              <a:gs pos="82000">
                <a:schemeClr val="accent1"/>
              </a:gs>
            </a:gsLst>
            <a:lin ang="540000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Calibri" panose="020F0502020204030204"/>
              <a:cs typeface="+mn-cs"/>
            </a:endParaRPr>
          </a:p>
        </p:txBody>
      </p:sp>
      <p:sp>
        <p:nvSpPr>
          <p:cNvPr id="11" name="Freeform 108">
            <a:extLst>
              <a:ext uri="{FF2B5EF4-FFF2-40B4-BE49-F238E27FC236}">
                <a16:creationId xmlns:a16="http://schemas.microsoft.com/office/drawing/2014/main" id="{B56FC585-75F3-4D9A-8A3F-9951B3D3B043}"/>
              </a:ext>
            </a:extLst>
          </p:cNvPr>
          <p:cNvSpPr>
            <a:spLocks/>
          </p:cNvSpPr>
          <p:nvPr/>
        </p:nvSpPr>
        <p:spPr bwMode="auto">
          <a:xfrm rot="19847212">
            <a:off x="1909869" y="2302564"/>
            <a:ext cx="2481975" cy="2803535"/>
          </a:xfrm>
          <a:custGeom>
            <a:avLst/>
            <a:gdLst>
              <a:gd name="T0" fmla="*/ 310 w 350"/>
              <a:gd name="T1" fmla="*/ 342 h 359"/>
              <a:gd name="T2" fmla="*/ 350 w 350"/>
              <a:gd name="T3" fmla="*/ 272 h 359"/>
              <a:gd name="T4" fmla="*/ 235 w 350"/>
              <a:gd name="T5" fmla="*/ 236 h 359"/>
              <a:gd name="T6" fmla="*/ 70 w 350"/>
              <a:gd name="T7" fmla="*/ 35 h 359"/>
              <a:gd name="T8" fmla="*/ 79 w 350"/>
              <a:gd name="T9" fmla="*/ 0 h 359"/>
              <a:gd name="T10" fmla="*/ 8 w 350"/>
              <a:gd name="T11" fmla="*/ 40 h 359"/>
              <a:gd name="T12" fmla="*/ 4 w 350"/>
              <a:gd name="T13" fmla="*/ 75 h 359"/>
              <a:gd name="T14" fmla="*/ 187 w 350"/>
              <a:gd name="T15" fmla="*/ 296 h 359"/>
              <a:gd name="T16" fmla="*/ 310 w 350"/>
              <a:gd name="T17" fmla="*/ 342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 h="359">
                <a:moveTo>
                  <a:pt x="310" y="342"/>
                </a:moveTo>
                <a:cubicBezTo>
                  <a:pt x="336" y="312"/>
                  <a:pt x="346" y="283"/>
                  <a:pt x="350" y="272"/>
                </a:cubicBezTo>
                <a:cubicBezTo>
                  <a:pt x="342" y="296"/>
                  <a:pt x="297" y="283"/>
                  <a:pt x="235" y="236"/>
                </a:cubicBezTo>
                <a:cubicBezTo>
                  <a:pt x="158" y="177"/>
                  <a:pt x="84" y="87"/>
                  <a:pt x="70" y="35"/>
                </a:cubicBezTo>
                <a:cubicBezTo>
                  <a:pt x="65" y="15"/>
                  <a:pt x="68" y="4"/>
                  <a:pt x="79" y="0"/>
                </a:cubicBezTo>
                <a:cubicBezTo>
                  <a:pt x="41" y="13"/>
                  <a:pt x="17" y="33"/>
                  <a:pt x="8" y="40"/>
                </a:cubicBezTo>
                <a:cubicBezTo>
                  <a:pt x="1" y="46"/>
                  <a:pt x="0" y="58"/>
                  <a:pt x="4" y="75"/>
                </a:cubicBezTo>
                <a:cubicBezTo>
                  <a:pt x="20" y="133"/>
                  <a:pt x="102" y="232"/>
                  <a:pt x="187" y="296"/>
                </a:cubicBezTo>
                <a:cubicBezTo>
                  <a:pt x="249" y="344"/>
                  <a:pt x="295" y="359"/>
                  <a:pt x="310" y="342"/>
                </a:cubicBezTo>
                <a:close/>
              </a:path>
            </a:pathLst>
          </a:custGeom>
          <a:gradFill flip="none" rotWithShape="1">
            <a:gsLst>
              <a:gs pos="6000">
                <a:schemeClr val="accent1">
                  <a:lumMod val="40000"/>
                  <a:lumOff val="60000"/>
                </a:schemeClr>
              </a:gs>
              <a:gs pos="26000">
                <a:schemeClr val="accent1">
                  <a:lumMod val="60000"/>
                  <a:lumOff val="40000"/>
                </a:schemeClr>
              </a:gs>
              <a:gs pos="82000">
                <a:schemeClr val="accent1"/>
              </a:gs>
            </a:gsLst>
            <a:lin ang="540000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Calibri" panose="020F0502020204030204"/>
              <a:cs typeface="+mn-cs"/>
            </a:endParaRPr>
          </a:p>
        </p:txBody>
      </p:sp>
      <p:sp>
        <p:nvSpPr>
          <p:cNvPr id="12" name="Freeform 109">
            <a:extLst>
              <a:ext uri="{FF2B5EF4-FFF2-40B4-BE49-F238E27FC236}">
                <a16:creationId xmlns:a16="http://schemas.microsoft.com/office/drawing/2014/main" id="{8C4E4D62-8684-4AAA-A82F-BA66081A6925}"/>
              </a:ext>
            </a:extLst>
          </p:cNvPr>
          <p:cNvSpPr>
            <a:spLocks/>
          </p:cNvSpPr>
          <p:nvPr/>
        </p:nvSpPr>
        <p:spPr bwMode="auto">
          <a:xfrm rot="19847212">
            <a:off x="2786495" y="2189115"/>
            <a:ext cx="1856997" cy="2113333"/>
          </a:xfrm>
          <a:custGeom>
            <a:avLst/>
            <a:gdLst>
              <a:gd name="T0" fmla="*/ 259 w 262"/>
              <a:gd name="T1" fmla="*/ 245 h 271"/>
              <a:gd name="T2" fmla="*/ 261 w 262"/>
              <a:gd name="T3" fmla="*/ 200 h 271"/>
              <a:gd name="T4" fmla="*/ 259 w 262"/>
              <a:gd name="T5" fmla="*/ 180 h 271"/>
              <a:gd name="T6" fmla="*/ 256 w 262"/>
              <a:gd name="T7" fmla="*/ 167 h 271"/>
              <a:gd name="T8" fmla="*/ 254 w 262"/>
              <a:gd name="T9" fmla="*/ 157 h 271"/>
              <a:gd name="T10" fmla="*/ 242 w 262"/>
              <a:gd name="T11" fmla="*/ 124 h 271"/>
              <a:gd name="T12" fmla="*/ 226 w 262"/>
              <a:gd name="T13" fmla="*/ 96 h 271"/>
              <a:gd name="T14" fmla="*/ 203 w 262"/>
              <a:gd name="T15" fmla="*/ 67 h 271"/>
              <a:gd name="T16" fmla="*/ 178 w 262"/>
              <a:gd name="T17" fmla="*/ 44 h 271"/>
              <a:gd name="T18" fmla="*/ 102 w 262"/>
              <a:gd name="T19" fmla="*/ 7 h 271"/>
              <a:gd name="T20" fmla="*/ 60 w 262"/>
              <a:gd name="T21" fmla="*/ 0 h 271"/>
              <a:gd name="T22" fmla="*/ 39 w 262"/>
              <a:gd name="T23" fmla="*/ 0 h 271"/>
              <a:gd name="T24" fmla="*/ 28 w 262"/>
              <a:gd name="T25" fmla="*/ 1 h 271"/>
              <a:gd name="T26" fmla="*/ 17 w 262"/>
              <a:gd name="T27" fmla="*/ 2 h 271"/>
              <a:gd name="T28" fmla="*/ 5 w 262"/>
              <a:gd name="T29" fmla="*/ 34 h 271"/>
              <a:gd name="T30" fmla="*/ 155 w 262"/>
              <a:gd name="T31" fmla="*/ 216 h 271"/>
              <a:gd name="T32" fmla="*/ 259 w 262"/>
              <a:gd name="T33" fmla="*/ 245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62" h="271">
                <a:moveTo>
                  <a:pt x="259" y="245"/>
                </a:moveTo>
                <a:cubicBezTo>
                  <a:pt x="261" y="232"/>
                  <a:pt x="262" y="217"/>
                  <a:pt x="261" y="200"/>
                </a:cubicBezTo>
                <a:cubicBezTo>
                  <a:pt x="261" y="194"/>
                  <a:pt x="260" y="186"/>
                  <a:pt x="259" y="180"/>
                </a:cubicBezTo>
                <a:cubicBezTo>
                  <a:pt x="258" y="176"/>
                  <a:pt x="257" y="171"/>
                  <a:pt x="256" y="167"/>
                </a:cubicBezTo>
                <a:cubicBezTo>
                  <a:pt x="256" y="164"/>
                  <a:pt x="255" y="160"/>
                  <a:pt x="254" y="157"/>
                </a:cubicBezTo>
                <a:cubicBezTo>
                  <a:pt x="251" y="145"/>
                  <a:pt x="247" y="136"/>
                  <a:pt x="242" y="124"/>
                </a:cubicBezTo>
                <a:cubicBezTo>
                  <a:pt x="237" y="113"/>
                  <a:pt x="230" y="102"/>
                  <a:pt x="226" y="96"/>
                </a:cubicBezTo>
                <a:cubicBezTo>
                  <a:pt x="222" y="90"/>
                  <a:pt x="216" y="80"/>
                  <a:pt x="203" y="67"/>
                </a:cubicBezTo>
                <a:cubicBezTo>
                  <a:pt x="196" y="59"/>
                  <a:pt x="187" y="51"/>
                  <a:pt x="178" y="44"/>
                </a:cubicBezTo>
                <a:cubicBezTo>
                  <a:pt x="162" y="32"/>
                  <a:pt x="136" y="16"/>
                  <a:pt x="102" y="7"/>
                </a:cubicBezTo>
                <a:cubicBezTo>
                  <a:pt x="97" y="6"/>
                  <a:pt x="81" y="2"/>
                  <a:pt x="60" y="0"/>
                </a:cubicBezTo>
                <a:cubicBezTo>
                  <a:pt x="57" y="0"/>
                  <a:pt x="49" y="0"/>
                  <a:pt x="39" y="0"/>
                </a:cubicBezTo>
                <a:cubicBezTo>
                  <a:pt x="35" y="0"/>
                  <a:pt x="31" y="1"/>
                  <a:pt x="28" y="1"/>
                </a:cubicBezTo>
                <a:cubicBezTo>
                  <a:pt x="24" y="1"/>
                  <a:pt x="20" y="2"/>
                  <a:pt x="17" y="2"/>
                </a:cubicBezTo>
                <a:cubicBezTo>
                  <a:pt x="5" y="4"/>
                  <a:pt x="0" y="15"/>
                  <a:pt x="5" y="34"/>
                </a:cubicBezTo>
                <a:cubicBezTo>
                  <a:pt x="18" y="82"/>
                  <a:pt x="85" y="163"/>
                  <a:pt x="155" y="216"/>
                </a:cubicBezTo>
                <a:cubicBezTo>
                  <a:pt x="214" y="261"/>
                  <a:pt x="256" y="271"/>
                  <a:pt x="259" y="245"/>
                </a:cubicBezTo>
                <a:close/>
              </a:path>
            </a:pathLst>
          </a:custGeom>
          <a:gradFill flip="none" rotWithShape="1">
            <a:gsLst>
              <a:gs pos="6000">
                <a:schemeClr val="accent1">
                  <a:lumMod val="40000"/>
                  <a:lumOff val="60000"/>
                </a:schemeClr>
              </a:gs>
              <a:gs pos="26000">
                <a:schemeClr val="accent1">
                  <a:lumMod val="60000"/>
                  <a:lumOff val="40000"/>
                </a:schemeClr>
              </a:gs>
              <a:gs pos="82000">
                <a:schemeClr val="accent1"/>
              </a:gs>
            </a:gsLst>
            <a:lin ang="540000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Shape 25">
            <a:extLst>
              <a:ext uri="{FF2B5EF4-FFF2-40B4-BE49-F238E27FC236}">
                <a16:creationId xmlns:a16="http://schemas.microsoft.com/office/drawing/2014/main" id="{6B6368D4-0C9B-4908-914E-28316F9639EE}"/>
              </a:ext>
            </a:extLst>
          </p:cNvPr>
          <p:cNvSpPr/>
          <p:nvPr/>
        </p:nvSpPr>
        <p:spPr>
          <a:xfrm flipH="1">
            <a:off x="5246464" y="4550774"/>
            <a:ext cx="16966" cy="35540"/>
          </a:xfrm>
          <a:custGeom>
            <a:avLst/>
            <a:gdLst>
              <a:gd name="connsiteX0" fmla="*/ 11360 w 0"/>
              <a:gd name="connsiteY0" fmla="*/ 25412 h 25412"/>
              <a:gd name="connsiteX1" fmla="*/ 0 w 0"/>
              <a:gd name="connsiteY1" fmla="*/ 0 h 25412"/>
              <a:gd name="connsiteX2" fmla="*/ 11360 w 0"/>
              <a:gd name="connsiteY2" fmla="*/ 25412 h 25412"/>
            </a:gdLst>
            <a:ahLst/>
            <a:cxnLst>
              <a:cxn ang="0">
                <a:pos x="connsiteX0" y="connsiteY0"/>
              </a:cxn>
              <a:cxn ang="0">
                <a:pos x="connsiteX1" y="connsiteY1"/>
              </a:cxn>
              <a:cxn ang="0">
                <a:pos x="connsiteX2" y="connsiteY2"/>
              </a:cxn>
            </a:cxnLst>
            <a:rect l="l" t="t" r="r" b="b"/>
            <a:pathLst>
              <a:path h="25412">
                <a:moveTo>
                  <a:pt x="11360" y="25412"/>
                </a:moveTo>
                <a:cubicBezTo>
                  <a:pt x="7484" y="16975"/>
                  <a:pt x="3672" y="8488"/>
                  <a:pt x="0" y="0"/>
                </a:cubicBezTo>
                <a:cubicBezTo>
                  <a:pt x="3672" y="8488"/>
                  <a:pt x="7484" y="16975"/>
                  <a:pt x="11360" y="25412"/>
                </a:cubicBezTo>
                <a:close/>
              </a:path>
            </a:pathLst>
          </a:custGeom>
          <a:solidFill>
            <a:srgbClr val="FFC868"/>
          </a:solidFill>
          <a:ln w="127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Shape 34">
            <a:extLst>
              <a:ext uri="{FF2B5EF4-FFF2-40B4-BE49-F238E27FC236}">
                <a16:creationId xmlns:a16="http://schemas.microsoft.com/office/drawing/2014/main" id="{A0C59D6E-1634-4558-BBCF-1DF2354984E7}"/>
              </a:ext>
            </a:extLst>
          </p:cNvPr>
          <p:cNvSpPr/>
          <p:nvPr/>
        </p:nvSpPr>
        <p:spPr>
          <a:xfrm flipH="1">
            <a:off x="5295055" y="4416521"/>
            <a:ext cx="16966" cy="35540"/>
          </a:xfrm>
          <a:custGeom>
            <a:avLst/>
            <a:gdLst>
              <a:gd name="connsiteX0" fmla="*/ 10025 w 0"/>
              <a:gd name="connsiteY0" fmla="*/ 29326 h 25412"/>
              <a:gd name="connsiteX1" fmla="*/ 0 w 0"/>
              <a:gd name="connsiteY1" fmla="*/ 0 h 25412"/>
              <a:gd name="connsiteX2" fmla="*/ 10025 w 0"/>
              <a:gd name="connsiteY2" fmla="*/ 29326 h 25412"/>
            </a:gdLst>
            <a:ahLst/>
            <a:cxnLst>
              <a:cxn ang="0">
                <a:pos x="connsiteX0" y="connsiteY0"/>
              </a:cxn>
              <a:cxn ang="0">
                <a:pos x="connsiteX1" y="connsiteY1"/>
              </a:cxn>
              <a:cxn ang="0">
                <a:pos x="connsiteX2" y="connsiteY2"/>
              </a:cxn>
            </a:cxnLst>
            <a:rect l="l" t="t" r="r" b="b"/>
            <a:pathLst>
              <a:path h="25412">
                <a:moveTo>
                  <a:pt x="10025" y="29326"/>
                </a:moveTo>
                <a:cubicBezTo>
                  <a:pt x="6607" y="19606"/>
                  <a:pt x="3227" y="9873"/>
                  <a:pt x="0" y="0"/>
                </a:cubicBezTo>
                <a:cubicBezTo>
                  <a:pt x="3227" y="9873"/>
                  <a:pt x="6607" y="19606"/>
                  <a:pt x="10025" y="29326"/>
                </a:cubicBezTo>
                <a:close/>
              </a:path>
            </a:pathLst>
          </a:custGeom>
          <a:solidFill>
            <a:srgbClr val="FFC868"/>
          </a:solidFill>
          <a:ln w="127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eform: Shape 35">
            <a:extLst>
              <a:ext uri="{FF2B5EF4-FFF2-40B4-BE49-F238E27FC236}">
                <a16:creationId xmlns:a16="http://schemas.microsoft.com/office/drawing/2014/main" id="{9A3FF7CE-39FB-48AA-867D-EA95796FA217}"/>
              </a:ext>
            </a:extLst>
          </p:cNvPr>
          <p:cNvSpPr/>
          <p:nvPr/>
        </p:nvSpPr>
        <p:spPr>
          <a:xfrm flipH="1">
            <a:off x="5277427" y="4469475"/>
            <a:ext cx="16966" cy="17770"/>
          </a:xfrm>
          <a:custGeom>
            <a:avLst/>
            <a:gdLst>
              <a:gd name="connsiteX0" fmla="*/ 7852 w 0"/>
              <a:gd name="connsiteY0" fmla="*/ 20851 h 12706"/>
              <a:gd name="connsiteX1" fmla="*/ 0 w 0"/>
              <a:gd name="connsiteY1" fmla="*/ 0 h 12706"/>
              <a:gd name="connsiteX2" fmla="*/ 7852 w 0"/>
              <a:gd name="connsiteY2" fmla="*/ 20851 h 12706"/>
            </a:gdLst>
            <a:ahLst/>
            <a:cxnLst>
              <a:cxn ang="0">
                <a:pos x="connsiteX0" y="connsiteY0"/>
              </a:cxn>
              <a:cxn ang="0">
                <a:pos x="connsiteX1" y="connsiteY1"/>
              </a:cxn>
              <a:cxn ang="0">
                <a:pos x="connsiteX2" y="connsiteY2"/>
              </a:cxn>
            </a:cxnLst>
            <a:rect l="l" t="t" r="r" b="b"/>
            <a:pathLst>
              <a:path h="12706">
                <a:moveTo>
                  <a:pt x="7852" y="20851"/>
                </a:moveTo>
                <a:cubicBezTo>
                  <a:pt x="5171" y="13951"/>
                  <a:pt x="2541" y="7001"/>
                  <a:pt x="0" y="0"/>
                </a:cubicBezTo>
                <a:cubicBezTo>
                  <a:pt x="2541" y="7001"/>
                  <a:pt x="5171" y="13951"/>
                  <a:pt x="7852" y="20851"/>
                </a:cubicBezTo>
                <a:close/>
              </a:path>
            </a:pathLst>
          </a:custGeom>
          <a:solidFill>
            <a:srgbClr val="FFC868"/>
          </a:solidFill>
          <a:ln w="127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eeform: Shape 36">
            <a:extLst>
              <a:ext uri="{FF2B5EF4-FFF2-40B4-BE49-F238E27FC236}">
                <a16:creationId xmlns:a16="http://schemas.microsoft.com/office/drawing/2014/main" id="{CF14CB6D-CE70-4FD0-B544-CEC486862500}"/>
              </a:ext>
            </a:extLst>
          </p:cNvPr>
          <p:cNvSpPr/>
          <p:nvPr/>
        </p:nvSpPr>
        <p:spPr>
          <a:xfrm flipH="1">
            <a:off x="5262174" y="4511199"/>
            <a:ext cx="16966" cy="17770"/>
          </a:xfrm>
          <a:custGeom>
            <a:avLst/>
            <a:gdLst>
              <a:gd name="connsiteX0" fmla="*/ 8640 w 0"/>
              <a:gd name="connsiteY0" fmla="*/ 20940 h 12706"/>
              <a:gd name="connsiteX1" fmla="*/ 0 w 0"/>
              <a:gd name="connsiteY1" fmla="*/ 0 h 12706"/>
              <a:gd name="connsiteX2" fmla="*/ 8640 w 0"/>
              <a:gd name="connsiteY2" fmla="*/ 20940 h 12706"/>
            </a:gdLst>
            <a:ahLst/>
            <a:cxnLst>
              <a:cxn ang="0">
                <a:pos x="connsiteX0" y="connsiteY0"/>
              </a:cxn>
              <a:cxn ang="0">
                <a:pos x="connsiteX1" y="connsiteY1"/>
              </a:cxn>
              <a:cxn ang="0">
                <a:pos x="connsiteX2" y="connsiteY2"/>
              </a:cxn>
            </a:cxnLst>
            <a:rect l="l" t="t" r="r" b="b"/>
            <a:pathLst>
              <a:path h="12706">
                <a:moveTo>
                  <a:pt x="8640" y="20940"/>
                </a:moveTo>
                <a:cubicBezTo>
                  <a:pt x="5705" y="14040"/>
                  <a:pt x="2821" y="7052"/>
                  <a:pt x="0" y="0"/>
                </a:cubicBezTo>
                <a:cubicBezTo>
                  <a:pt x="2821" y="7052"/>
                  <a:pt x="5705" y="14040"/>
                  <a:pt x="8640" y="20940"/>
                </a:cubicBezTo>
                <a:close/>
              </a:path>
            </a:pathLst>
          </a:custGeom>
          <a:solidFill>
            <a:srgbClr val="FFC868"/>
          </a:solidFill>
          <a:ln w="1270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TextBox 38">
            <a:extLst>
              <a:ext uri="{FF2B5EF4-FFF2-40B4-BE49-F238E27FC236}">
                <a16:creationId xmlns:a16="http://schemas.microsoft.com/office/drawing/2014/main" id="{6B2C2B34-E1C9-4B55-870D-C19EDC97D860}"/>
              </a:ext>
            </a:extLst>
          </p:cNvPr>
          <p:cNvSpPr txBox="1"/>
          <p:nvPr/>
        </p:nvSpPr>
        <p:spPr>
          <a:xfrm flipH="1">
            <a:off x="5861073" y="2474241"/>
            <a:ext cx="3182281"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d-ID" sz="2800" b="0" i="0" u="none" strike="noStrike" kern="1200" cap="none" spc="0" normalizeH="0" baseline="0" noProof="0" dirty="0">
                <a:ln>
                  <a:noFill/>
                </a:ln>
                <a:solidFill>
                  <a:prstClr val="black">
                    <a:lumMod val="75000"/>
                    <a:lumOff val="25000"/>
                  </a:prstClr>
                </a:solidFill>
                <a:effectLst/>
                <a:uLnTx/>
                <a:uFillTx/>
                <a:latin typeface="HarmonyOS Sans SC Black"/>
                <a:ea typeface="+mj-ea"/>
                <a:cs typeface="+mn-cs"/>
              </a:rPr>
              <a:t>Best Teamworks.</a:t>
            </a:r>
            <a:endParaRPr kumimoji="0" lang="en-US" sz="2800" b="0" i="0" u="none" strike="noStrike" kern="1200" cap="none" spc="0" normalizeH="0" baseline="0" noProof="0" dirty="0">
              <a:ln>
                <a:noFill/>
              </a:ln>
              <a:solidFill>
                <a:prstClr val="black">
                  <a:lumMod val="75000"/>
                  <a:lumOff val="25000"/>
                </a:prstClr>
              </a:solidFill>
              <a:effectLst/>
              <a:uLnTx/>
              <a:uFillTx/>
              <a:latin typeface="HarmonyOS Sans SC Black"/>
              <a:ea typeface="+mj-ea"/>
              <a:cs typeface="+mn-cs"/>
            </a:endParaRPr>
          </a:p>
        </p:txBody>
      </p:sp>
      <p:sp>
        <p:nvSpPr>
          <p:cNvPr id="18" name="Shape 12428">
            <a:extLst>
              <a:ext uri="{FF2B5EF4-FFF2-40B4-BE49-F238E27FC236}">
                <a16:creationId xmlns:a16="http://schemas.microsoft.com/office/drawing/2014/main" id="{AB16A919-B84B-4D67-95BD-52A9F89A0FAA}"/>
              </a:ext>
            </a:extLst>
          </p:cNvPr>
          <p:cNvSpPr/>
          <p:nvPr/>
        </p:nvSpPr>
        <p:spPr>
          <a:xfrm>
            <a:off x="5948026" y="3282951"/>
            <a:ext cx="4608834" cy="1037179"/>
          </a:xfrm>
          <a:prstGeom prst="rect">
            <a:avLst/>
          </a:prstGeom>
          <a:ln w="12700">
            <a:miter lim="400000"/>
          </a:ln>
          <a:extLst>
            <a:ext uri="{C572A759-6A51-4108-AA02-DFA0A04FC94B}">
              <ma14:wrappingTextBoxFlag xmlns:ma14="http://schemas.microsoft.com/office/mac/drawingml/2011/main" xmlns="" val="1"/>
            </a:ext>
          </a:extLst>
        </p:spPr>
        <p:txBody>
          <a:bodyPr lIns="0" tIns="0" rIns="0" bIns="0"/>
          <a:lstStyle/>
          <a:p>
            <a:pPr marL="0" marR="0" lvl="0" indent="0" algn="l" defTabSz="914400" rtl="0" eaLnBrk="1" fontAlgn="auto" latinLnBrk="0" hangingPunct="1">
              <a:lnSpc>
                <a:spcPct val="100000"/>
              </a:lnSpc>
              <a:spcBef>
                <a:spcPts val="300"/>
              </a:spcBef>
              <a:spcAft>
                <a:spcPts val="0"/>
              </a:spcAft>
              <a:buClrTx/>
              <a:buSzTx/>
              <a:buFontTx/>
              <a:buNone/>
              <a:tabLst/>
              <a:defRPr sz="1800"/>
            </a:pPr>
            <a:r>
              <a:rPr kumimoji="0" sz="1400" b="0" i="0" u="none" strike="noStrike" kern="1200" cap="none" spc="0" normalizeH="0" baseline="0" noProof="0" dirty="0" err="1">
                <a:ln>
                  <a:noFill/>
                </a:ln>
                <a:solidFill>
                  <a:prstClr val="black">
                    <a:lumMod val="50000"/>
                    <a:lumOff val="50000"/>
                  </a:prstClr>
                </a:solidFill>
                <a:effectLst/>
                <a:uLnTx/>
                <a:uFillTx/>
                <a:latin typeface="HarmonyOS Sans SC"/>
                <a:cs typeface="Roboto Regular"/>
                <a:sym typeface="Roboto Regular"/>
              </a:rPr>
              <a:t>magana</a:t>
            </a:r>
            <a:r>
              <a:rPr kumimoji="0" sz="1400" b="0" i="0" u="none" strike="noStrike" kern="1200" cap="none" spc="0" normalizeH="0" baseline="0" noProof="0" dirty="0">
                <a:ln>
                  <a:noFill/>
                </a:ln>
                <a:solidFill>
                  <a:prstClr val="black">
                    <a:lumMod val="50000"/>
                    <a:lumOff val="50000"/>
                  </a:prstClr>
                </a:solidFill>
                <a:effectLst/>
                <a:uLnTx/>
                <a:uFillTx/>
                <a:latin typeface="HarmonyOS Sans SC"/>
                <a:cs typeface="Roboto Regular"/>
                <a:sym typeface="Roboto Regular"/>
              </a:rPr>
              <a:t> aliquam erat volutpat. ut wish enim ad minim veniam, quis nostrud exerci tation ullamcorper suscipit lobortis nisl ut wisi enim ad minim veniam, </a:t>
            </a:r>
            <a:r>
              <a:rPr kumimoji="0" sz="1400" b="0" i="0" u="none" strike="noStrike" kern="1200" cap="none" spc="0" normalizeH="0" baseline="0" noProof="0" dirty="0" err="1">
                <a:ln>
                  <a:noFill/>
                </a:ln>
                <a:solidFill>
                  <a:prstClr val="black">
                    <a:lumMod val="50000"/>
                    <a:lumOff val="50000"/>
                  </a:prstClr>
                </a:solidFill>
                <a:effectLst/>
                <a:uLnTx/>
                <a:uFillTx/>
                <a:latin typeface="HarmonyOS Sans SC"/>
                <a:cs typeface="Roboto Regular"/>
                <a:sym typeface="Roboto Regular"/>
              </a:rPr>
              <a:t>quis</a:t>
            </a:r>
            <a:r>
              <a:rPr kumimoji="0" sz="1400" b="0" i="0" u="none" strike="noStrike" kern="1200" cap="none" spc="0" normalizeH="0" baseline="0" noProof="0" dirty="0">
                <a:ln>
                  <a:noFill/>
                </a:ln>
                <a:solidFill>
                  <a:prstClr val="black">
                    <a:lumMod val="50000"/>
                    <a:lumOff val="50000"/>
                  </a:prstClr>
                </a:solidFill>
                <a:effectLst/>
                <a:uLnTx/>
                <a:uFillTx/>
                <a:latin typeface="HarmonyOS Sans SC"/>
                <a:cs typeface="Roboto Regular"/>
                <a:sym typeface="Roboto Regular"/>
              </a:rPr>
              <a:t> </a:t>
            </a:r>
            <a:r>
              <a:rPr kumimoji="0" sz="1400" b="0" i="0" u="none" strike="noStrike" kern="1200" cap="none" spc="0" normalizeH="0" baseline="0" noProof="0" dirty="0" err="1">
                <a:ln>
                  <a:noFill/>
                </a:ln>
                <a:solidFill>
                  <a:prstClr val="black">
                    <a:lumMod val="50000"/>
                    <a:lumOff val="50000"/>
                  </a:prstClr>
                </a:solidFill>
                <a:effectLst/>
                <a:uLnTx/>
                <a:uFillTx/>
                <a:latin typeface="HarmonyOS Sans SC"/>
                <a:cs typeface="Roboto Regular"/>
                <a:sym typeface="Roboto Regular"/>
              </a:rPr>
              <a:t>nostrud</a:t>
            </a:r>
            <a:endParaRPr kumimoji="0" sz="1400" b="0" i="0" u="none" strike="noStrike" kern="1200" cap="none" spc="0" normalizeH="0" baseline="0" noProof="0" dirty="0">
              <a:ln>
                <a:noFill/>
              </a:ln>
              <a:solidFill>
                <a:prstClr val="black">
                  <a:lumMod val="50000"/>
                  <a:lumOff val="50000"/>
                </a:prstClr>
              </a:solidFill>
              <a:effectLst/>
              <a:uLnTx/>
              <a:uFillTx/>
              <a:latin typeface="HarmonyOS Sans SC"/>
              <a:cs typeface="Roboto Regular"/>
              <a:sym typeface="Roboto Regular"/>
            </a:endParaRPr>
          </a:p>
        </p:txBody>
      </p:sp>
      <p:sp>
        <p:nvSpPr>
          <p:cNvPr id="19" name="Shape 13863">
            <a:extLst>
              <a:ext uri="{FF2B5EF4-FFF2-40B4-BE49-F238E27FC236}">
                <a16:creationId xmlns:a16="http://schemas.microsoft.com/office/drawing/2014/main" id="{7EC86BBE-6B4D-47ED-A92A-44E32E127EBB}"/>
              </a:ext>
            </a:extLst>
          </p:cNvPr>
          <p:cNvSpPr/>
          <p:nvPr/>
        </p:nvSpPr>
        <p:spPr>
          <a:xfrm>
            <a:off x="5965699" y="4482660"/>
            <a:ext cx="2170898" cy="605434"/>
          </a:xfrm>
          <a:prstGeom prst="roundRect">
            <a:avLst>
              <a:gd name="adj" fmla="val 1616"/>
            </a:avLst>
          </a:prstGeom>
          <a:solidFill>
            <a:schemeClr val="accent1"/>
          </a:solidFill>
          <a:ln w="12700" cap="flat">
            <a:noFill/>
            <a:miter lim="400000"/>
          </a:ln>
          <a:effectLst/>
        </p:spPr>
        <p:txBody>
          <a:bodyPr wrap="square" lIns="60960" tIns="60960" rIns="60960" bIns="60960" numCol="1" anchor="t">
            <a:noAutofit/>
          </a:bodyPr>
          <a:lstStyle/>
          <a:p>
            <a:pPr marL="0" marR="0" lvl="0" indent="0" algn="l" defTabSz="457200" rtl="0" eaLnBrk="1" fontAlgn="auto" latinLnBrk="0" hangingPunct="1">
              <a:lnSpc>
                <a:spcPct val="100000"/>
              </a:lnSpc>
              <a:spcBef>
                <a:spcPts val="0"/>
              </a:spcBef>
              <a:spcAft>
                <a:spcPts val="0"/>
              </a:spcAft>
              <a:buClrTx/>
              <a:buSzTx/>
              <a:buFontTx/>
              <a:buNone/>
              <a:tabLst/>
              <a:defRPr sz="14800">
                <a:latin typeface="Gill Sans"/>
                <a:ea typeface="Gill Sans"/>
                <a:cs typeface="Gill Sans"/>
                <a:sym typeface="Gill Sans"/>
              </a:defRPr>
            </a:pPr>
            <a:endParaRPr kumimoji="0" sz="7400" b="0" i="0" u="none" strike="noStrike" kern="1200" cap="none" spc="0" normalizeH="0" baseline="0" noProof="0">
              <a:ln>
                <a:noFill/>
              </a:ln>
              <a:solidFill>
                <a:prstClr val="black"/>
              </a:solidFill>
              <a:effectLst/>
              <a:uLnTx/>
              <a:uFillTx/>
              <a:latin typeface="Gill Sans"/>
              <a:sym typeface="Gill Sans"/>
            </a:endParaRPr>
          </a:p>
        </p:txBody>
      </p:sp>
      <p:sp>
        <p:nvSpPr>
          <p:cNvPr id="20" name="Shape 13863">
            <a:extLst>
              <a:ext uri="{FF2B5EF4-FFF2-40B4-BE49-F238E27FC236}">
                <a16:creationId xmlns:a16="http://schemas.microsoft.com/office/drawing/2014/main" id="{750715EB-9F87-4AE1-9942-2779A6C7357F}"/>
              </a:ext>
            </a:extLst>
          </p:cNvPr>
          <p:cNvSpPr/>
          <p:nvPr/>
        </p:nvSpPr>
        <p:spPr>
          <a:xfrm>
            <a:off x="8318098" y="4482660"/>
            <a:ext cx="2170898" cy="605434"/>
          </a:xfrm>
          <a:prstGeom prst="roundRect">
            <a:avLst>
              <a:gd name="adj" fmla="val 1616"/>
            </a:avLst>
          </a:prstGeom>
          <a:solidFill>
            <a:schemeClr val="accent1"/>
          </a:solidFill>
          <a:ln w="12700" cap="flat">
            <a:noFill/>
            <a:miter lim="400000"/>
          </a:ln>
          <a:effectLst/>
        </p:spPr>
        <p:txBody>
          <a:bodyPr wrap="square" lIns="60960" tIns="60960" rIns="60960" bIns="60960" numCol="1" anchor="t">
            <a:noAutofit/>
          </a:bodyPr>
          <a:lstStyle/>
          <a:p>
            <a:pPr marL="0" marR="0" lvl="0" indent="0" algn="l" defTabSz="457200" rtl="0" eaLnBrk="1" fontAlgn="auto" latinLnBrk="0" hangingPunct="1">
              <a:lnSpc>
                <a:spcPct val="100000"/>
              </a:lnSpc>
              <a:spcBef>
                <a:spcPts val="0"/>
              </a:spcBef>
              <a:spcAft>
                <a:spcPts val="0"/>
              </a:spcAft>
              <a:buClrTx/>
              <a:buSzTx/>
              <a:buFontTx/>
              <a:buNone/>
              <a:tabLst/>
              <a:defRPr sz="14800">
                <a:latin typeface="Gill Sans"/>
                <a:ea typeface="Gill Sans"/>
                <a:cs typeface="Gill Sans"/>
                <a:sym typeface="Gill Sans"/>
              </a:defRPr>
            </a:pPr>
            <a:endParaRPr kumimoji="0" sz="7400" b="0" i="0" u="none" strike="noStrike" kern="1200" cap="none" spc="0" normalizeH="0" baseline="0" noProof="0" dirty="0">
              <a:ln>
                <a:noFill/>
              </a:ln>
              <a:solidFill>
                <a:prstClr val="black"/>
              </a:solidFill>
              <a:effectLst/>
              <a:uLnTx/>
              <a:uFillTx/>
              <a:latin typeface="Gill Sans"/>
              <a:sym typeface="Gill Sans"/>
            </a:endParaRPr>
          </a:p>
        </p:txBody>
      </p:sp>
      <p:sp>
        <p:nvSpPr>
          <p:cNvPr id="21" name="Shape 13863">
            <a:extLst>
              <a:ext uri="{FF2B5EF4-FFF2-40B4-BE49-F238E27FC236}">
                <a16:creationId xmlns:a16="http://schemas.microsoft.com/office/drawing/2014/main" id="{7D10DD64-76B4-4FD8-B665-77CF4C7CB6B4}"/>
              </a:ext>
            </a:extLst>
          </p:cNvPr>
          <p:cNvSpPr/>
          <p:nvPr/>
        </p:nvSpPr>
        <p:spPr>
          <a:xfrm>
            <a:off x="5948026" y="5257774"/>
            <a:ext cx="2170898" cy="605434"/>
          </a:xfrm>
          <a:prstGeom prst="roundRect">
            <a:avLst>
              <a:gd name="adj" fmla="val 1616"/>
            </a:avLst>
          </a:prstGeom>
          <a:solidFill>
            <a:schemeClr val="accent1"/>
          </a:solidFill>
          <a:ln w="12700" cap="flat">
            <a:noFill/>
            <a:miter lim="400000"/>
          </a:ln>
          <a:effectLst/>
        </p:spPr>
        <p:txBody>
          <a:bodyPr wrap="square" lIns="60960" tIns="60960" rIns="60960" bIns="60960" numCol="1" anchor="t">
            <a:noAutofit/>
          </a:bodyPr>
          <a:lstStyle/>
          <a:p>
            <a:pPr marL="0" marR="0" lvl="0" indent="0" algn="l" defTabSz="457200" rtl="0" eaLnBrk="1" fontAlgn="auto" latinLnBrk="0" hangingPunct="1">
              <a:lnSpc>
                <a:spcPct val="100000"/>
              </a:lnSpc>
              <a:spcBef>
                <a:spcPts val="0"/>
              </a:spcBef>
              <a:spcAft>
                <a:spcPts val="0"/>
              </a:spcAft>
              <a:buClrTx/>
              <a:buSzTx/>
              <a:buFontTx/>
              <a:buNone/>
              <a:tabLst/>
              <a:defRPr sz="14800">
                <a:latin typeface="Gill Sans"/>
                <a:ea typeface="Gill Sans"/>
                <a:cs typeface="Gill Sans"/>
                <a:sym typeface="Gill Sans"/>
              </a:defRPr>
            </a:pPr>
            <a:endParaRPr kumimoji="0" sz="7400" b="0" i="0" u="none" strike="noStrike" kern="1200" cap="none" spc="0" normalizeH="0" baseline="0" noProof="0">
              <a:ln>
                <a:noFill/>
              </a:ln>
              <a:solidFill>
                <a:prstClr val="black"/>
              </a:solidFill>
              <a:effectLst/>
              <a:uLnTx/>
              <a:uFillTx/>
              <a:latin typeface="Gill Sans"/>
              <a:sym typeface="Gill Sans"/>
            </a:endParaRPr>
          </a:p>
        </p:txBody>
      </p:sp>
      <p:sp>
        <p:nvSpPr>
          <p:cNvPr id="22" name="Shape 13863">
            <a:extLst>
              <a:ext uri="{FF2B5EF4-FFF2-40B4-BE49-F238E27FC236}">
                <a16:creationId xmlns:a16="http://schemas.microsoft.com/office/drawing/2014/main" id="{4B68FB4F-12E9-46D2-96C4-9E60D90763A2}"/>
              </a:ext>
            </a:extLst>
          </p:cNvPr>
          <p:cNvSpPr/>
          <p:nvPr/>
        </p:nvSpPr>
        <p:spPr>
          <a:xfrm>
            <a:off x="8300425" y="5257774"/>
            <a:ext cx="2170898" cy="605434"/>
          </a:xfrm>
          <a:prstGeom prst="roundRect">
            <a:avLst>
              <a:gd name="adj" fmla="val 1616"/>
            </a:avLst>
          </a:prstGeom>
          <a:solidFill>
            <a:schemeClr val="accent1"/>
          </a:solidFill>
          <a:ln w="12700" cap="flat">
            <a:noFill/>
            <a:miter lim="400000"/>
          </a:ln>
          <a:effectLst/>
        </p:spPr>
        <p:txBody>
          <a:bodyPr wrap="square" lIns="60960" tIns="60960" rIns="60960" bIns="60960" numCol="1" anchor="t">
            <a:noAutofit/>
          </a:bodyPr>
          <a:lstStyle/>
          <a:p>
            <a:pPr marL="0" marR="0" lvl="0" indent="0" algn="l" defTabSz="457200" rtl="0" eaLnBrk="1" fontAlgn="auto" latinLnBrk="0" hangingPunct="1">
              <a:lnSpc>
                <a:spcPct val="100000"/>
              </a:lnSpc>
              <a:spcBef>
                <a:spcPts val="0"/>
              </a:spcBef>
              <a:spcAft>
                <a:spcPts val="0"/>
              </a:spcAft>
              <a:buClrTx/>
              <a:buSzTx/>
              <a:buFontTx/>
              <a:buNone/>
              <a:tabLst/>
              <a:defRPr sz="14800">
                <a:latin typeface="Gill Sans"/>
                <a:ea typeface="Gill Sans"/>
                <a:cs typeface="Gill Sans"/>
                <a:sym typeface="Gill Sans"/>
              </a:defRPr>
            </a:pPr>
            <a:endParaRPr kumimoji="0" sz="7400" b="0" i="0" u="none" strike="noStrike" kern="1200" cap="none" spc="0" normalizeH="0" baseline="0" noProof="0">
              <a:ln>
                <a:noFill/>
              </a:ln>
              <a:solidFill>
                <a:prstClr val="black"/>
              </a:solidFill>
              <a:effectLst/>
              <a:uLnTx/>
              <a:uFillTx/>
              <a:latin typeface="Gill Sans"/>
              <a:sym typeface="Gill Sans"/>
            </a:endParaRPr>
          </a:p>
        </p:txBody>
      </p:sp>
      <p:grpSp>
        <p:nvGrpSpPr>
          <p:cNvPr id="23" name="Group 898">
            <a:extLst>
              <a:ext uri="{FF2B5EF4-FFF2-40B4-BE49-F238E27FC236}">
                <a16:creationId xmlns:a16="http://schemas.microsoft.com/office/drawing/2014/main" id="{0CB6C6C8-45AA-4C42-A4C8-DD4542AFE903}"/>
              </a:ext>
            </a:extLst>
          </p:cNvPr>
          <p:cNvGrpSpPr>
            <a:grpSpLocks noChangeAspect="1"/>
          </p:cNvGrpSpPr>
          <p:nvPr/>
        </p:nvGrpSpPr>
        <p:grpSpPr bwMode="auto">
          <a:xfrm>
            <a:off x="6955952" y="4585091"/>
            <a:ext cx="222053" cy="341561"/>
            <a:chOff x="1549" y="475"/>
            <a:chExt cx="589" cy="906"/>
          </a:xfrm>
          <a:solidFill>
            <a:schemeClr val="bg1"/>
          </a:solidFill>
        </p:grpSpPr>
        <p:sp>
          <p:nvSpPr>
            <p:cNvPr id="24" name="Freeform 900">
              <a:extLst>
                <a:ext uri="{FF2B5EF4-FFF2-40B4-BE49-F238E27FC236}">
                  <a16:creationId xmlns:a16="http://schemas.microsoft.com/office/drawing/2014/main" id="{65F9AF45-2AF2-4896-A55C-75462CAEE5EE}"/>
                </a:ext>
              </a:extLst>
            </p:cNvPr>
            <p:cNvSpPr>
              <a:spLocks/>
            </p:cNvSpPr>
            <p:nvPr/>
          </p:nvSpPr>
          <p:spPr bwMode="auto">
            <a:xfrm>
              <a:off x="1549" y="475"/>
              <a:ext cx="589" cy="673"/>
            </a:xfrm>
            <a:custGeom>
              <a:avLst/>
              <a:gdLst>
                <a:gd name="T0" fmla="*/ 1426 w 2355"/>
                <a:gd name="T1" fmla="*/ 26 h 2692"/>
                <a:gd name="T2" fmla="*/ 1738 w 2355"/>
                <a:gd name="T3" fmla="*/ 142 h 2692"/>
                <a:gd name="T4" fmla="*/ 2005 w 2355"/>
                <a:gd name="T5" fmla="*/ 340 h 2692"/>
                <a:gd name="T6" fmla="*/ 2197 w 2355"/>
                <a:gd name="T7" fmla="*/ 589 h 2692"/>
                <a:gd name="T8" fmla="*/ 2315 w 2355"/>
                <a:gd name="T9" fmla="*/ 873 h 2692"/>
                <a:gd name="T10" fmla="*/ 2355 w 2355"/>
                <a:gd name="T11" fmla="*/ 1180 h 2692"/>
                <a:gd name="T12" fmla="*/ 2315 w 2355"/>
                <a:gd name="T13" fmla="*/ 1488 h 2692"/>
                <a:gd name="T14" fmla="*/ 2197 w 2355"/>
                <a:gd name="T15" fmla="*/ 1771 h 2692"/>
                <a:gd name="T16" fmla="*/ 2014 w 2355"/>
                <a:gd name="T17" fmla="*/ 2011 h 2692"/>
                <a:gd name="T18" fmla="*/ 1853 w 2355"/>
                <a:gd name="T19" fmla="*/ 2184 h 2692"/>
                <a:gd name="T20" fmla="*/ 1790 w 2355"/>
                <a:gd name="T21" fmla="*/ 2362 h 2692"/>
                <a:gd name="T22" fmla="*/ 1788 w 2355"/>
                <a:gd name="T23" fmla="*/ 2415 h 2692"/>
                <a:gd name="T24" fmla="*/ 1764 w 2355"/>
                <a:gd name="T25" fmla="*/ 2634 h 2692"/>
                <a:gd name="T26" fmla="*/ 1680 w 2355"/>
                <a:gd name="T27" fmla="*/ 2690 h 2692"/>
                <a:gd name="T28" fmla="*/ 1600 w 2355"/>
                <a:gd name="T29" fmla="*/ 2681 h 2692"/>
                <a:gd name="T30" fmla="*/ 1530 w 2355"/>
                <a:gd name="T31" fmla="*/ 2610 h 2692"/>
                <a:gd name="T32" fmla="*/ 1524 w 2355"/>
                <a:gd name="T33" fmla="*/ 2349 h 2692"/>
                <a:gd name="T34" fmla="*/ 1587 w 2355"/>
                <a:gd name="T35" fmla="*/ 2116 h 2692"/>
                <a:gd name="T36" fmla="*/ 1734 w 2355"/>
                <a:gd name="T37" fmla="*/ 1911 h 2692"/>
                <a:gd name="T38" fmla="*/ 1908 w 2355"/>
                <a:gd name="T39" fmla="*/ 1728 h 2692"/>
                <a:gd name="T40" fmla="*/ 2039 w 2355"/>
                <a:gd name="T41" fmla="*/ 1483 h 2692"/>
                <a:gd name="T42" fmla="*/ 2089 w 2355"/>
                <a:gd name="T43" fmla="*/ 1215 h 2692"/>
                <a:gd name="T44" fmla="*/ 2060 w 2355"/>
                <a:gd name="T45" fmla="*/ 945 h 2692"/>
                <a:gd name="T46" fmla="*/ 1950 w 2355"/>
                <a:gd name="T47" fmla="*/ 692 h 2692"/>
                <a:gd name="T48" fmla="*/ 1762 w 2355"/>
                <a:gd name="T49" fmla="*/ 479 h 2692"/>
                <a:gd name="T50" fmla="*/ 1522 w 2355"/>
                <a:gd name="T51" fmla="*/ 335 h 2692"/>
                <a:gd name="T52" fmla="*/ 1249 w 2355"/>
                <a:gd name="T53" fmla="*/ 270 h 2692"/>
                <a:gd name="T54" fmla="*/ 968 w 2355"/>
                <a:gd name="T55" fmla="*/ 292 h 2692"/>
                <a:gd name="T56" fmla="*/ 709 w 2355"/>
                <a:gd name="T57" fmla="*/ 397 h 2692"/>
                <a:gd name="T58" fmla="*/ 493 w 2355"/>
                <a:gd name="T59" fmla="*/ 578 h 2692"/>
                <a:gd name="T60" fmla="*/ 341 w 2355"/>
                <a:gd name="T61" fmla="*/ 816 h 2692"/>
                <a:gd name="T62" fmla="*/ 271 w 2355"/>
                <a:gd name="T63" fmla="*/ 1080 h 2692"/>
                <a:gd name="T64" fmla="*/ 282 w 2355"/>
                <a:gd name="T65" fmla="*/ 1352 h 2692"/>
                <a:gd name="T66" fmla="*/ 373 w 2355"/>
                <a:gd name="T67" fmla="*/ 1611 h 2692"/>
                <a:gd name="T68" fmla="*/ 532 w 2355"/>
                <a:gd name="T69" fmla="*/ 1825 h 2692"/>
                <a:gd name="T70" fmla="*/ 709 w 2355"/>
                <a:gd name="T71" fmla="*/ 2013 h 2692"/>
                <a:gd name="T72" fmla="*/ 814 w 2355"/>
                <a:gd name="T73" fmla="*/ 2234 h 2692"/>
                <a:gd name="T74" fmla="*/ 837 w 2355"/>
                <a:gd name="T75" fmla="*/ 2420 h 2692"/>
                <a:gd name="T76" fmla="*/ 812 w 2355"/>
                <a:gd name="T77" fmla="*/ 2633 h 2692"/>
                <a:gd name="T78" fmla="*/ 728 w 2355"/>
                <a:gd name="T79" fmla="*/ 2688 h 2692"/>
                <a:gd name="T80" fmla="*/ 649 w 2355"/>
                <a:gd name="T81" fmla="*/ 2680 h 2692"/>
                <a:gd name="T82" fmla="*/ 578 w 2355"/>
                <a:gd name="T83" fmla="*/ 2607 h 2692"/>
                <a:gd name="T84" fmla="*/ 567 w 2355"/>
                <a:gd name="T85" fmla="*/ 2366 h 2692"/>
                <a:gd name="T86" fmla="*/ 504 w 2355"/>
                <a:gd name="T87" fmla="*/ 2186 h 2692"/>
                <a:gd name="T88" fmla="*/ 343 w 2355"/>
                <a:gd name="T89" fmla="*/ 2013 h 2692"/>
                <a:gd name="T90" fmla="*/ 158 w 2355"/>
                <a:gd name="T91" fmla="*/ 1774 h 2692"/>
                <a:gd name="T92" fmla="*/ 41 w 2355"/>
                <a:gd name="T93" fmla="*/ 1490 h 2692"/>
                <a:gd name="T94" fmla="*/ 0 w 2355"/>
                <a:gd name="T95" fmla="*/ 1182 h 2692"/>
                <a:gd name="T96" fmla="*/ 40 w 2355"/>
                <a:gd name="T97" fmla="*/ 874 h 2692"/>
                <a:gd name="T98" fmla="*/ 156 w 2355"/>
                <a:gd name="T99" fmla="*/ 590 h 2692"/>
                <a:gd name="T100" fmla="*/ 350 w 2355"/>
                <a:gd name="T101" fmla="*/ 340 h 2692"/>
                <a:gd name="T102" fmla="*/ 617 w 2355"/>
                <a:gd name="T103" fmla="*/ 142 h 2692"/>
                <a:gd name="T104" fmla="*/ 927 w 2355"/>
                <a:gd name="T105" fmla="*/ 26 h 26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355" h="2692">
                  <a:moveTo>
                    <a:pt x="1177" y="0"/>
                  </a:moveTo>
                  <a:lnTo>
                    <a:pt x="1261" y="3"/>
                  </a:lnTo>
                  <a:lnTo>
                    <a:pt x="1345" y="12"/>
                  </a:lnTo>
                  <a:lnTo>
                    <a:pt x="1426" y="26"/>
                  </a:lnTo>
                  <a:lnTo>
                    <a:pt x="1508" y="47"/>
                  </a:lnTo>
                  <a:lnTo>
                    <a:pt x="1586" y="74"/>
                  </a:lnTo>
                  <a:lnTo>
                    <a:pt x="1663" y="105"/>
                  </a:lnTo>
                  <a:lnTo>
                    <a:pt x="1738" y="142"/>
                  </a:lnTo>
                  <a:lnTo>
                    <a:pt x="1809" y="184"/>
                  </a:lnTo>
                  <a:lnTo>
                    <a:pt x="1877" y="231"/>
                  </a:lnTo>
                  <a:lnTo>
                    <a:pt x="1943" y="283"/>
                  </a:lnTo>
                  <a:lnTo>
                    <a:pt x="2005" y="340"/>
                  </a:lnTo>
                  <a:lnTo>
                    <a:pt x="2063" y="401"/>
                  </a:lnTo>
                  <a:lnTo>
                    <a:pt x="2113" y="461"/>
                  </a:lnTo>
                  <a:lnTo>
                    <a:pt x="2158" y="524"/>
                  </a:lnTo>
                  <a:lnTo>
                    <a:pt x="2197" y="589"/>
                  </a:lnTo>
                  <a:lnTo>
                    <a:pt x="2234" y="657"/>
                  </a:lnTo>
                  <a:lnTo>
                    <a:pt x="2265" y="726"/>
                  </a:lnTo>
                  <a:lnTo>
                    <a:pt x="2292" y="799"/>
                  </a:lnTo>
                  <a:lnTo>
                    <a:pt x="2315" y="873"/>
                  </a:lnTo>
                  <a:lnTo>
                    <a:pt x="2333" y="948"/>
                  </a:lnTo>
                  <a:lnTo>
                    <a:pt x="2345" y="1025"/>
                  </a:lnTo>
                  <a:lnTo>
                    <a:pt x="2352" y="1102"/>
                  </a:lnTo>
                  <a:lnTo>
                    <a:pt x="2355" y="1180"/>
                  </a:lnTo>
                  <a:lnTo>
                    <a:pt x="2352" y="1258"/>
                  </a:lnTo>
                  <a:lnTo>
                    <a:pt x="2345" y="1336"/>
                  </a:lnTo>
                  <a:lnTo>
                    <a:pt x="2333" y="1413"/>
                  </a:lnTo>
                  <a:lnTo>
                    <a:pt x="2315" y="1488"/>
                  </a:lnTo>
                  <a:lnTo>
                    <a:pt x="2292" y="1562"/>
                  </a:lnTo>
                  <a:lnTo>
                    <a:pt x="2265" y="1633"/>
                  </a:lnTo>
                  <a:lnTo>
                    <a:pt x="2234" y="1704"/>
                  </a:lnTo>
                  <a:lnTo>
                    <a:pt x="2197" y="1771"/>
                  </a:lnTo>
                  <a:lnTo>
                    <a:pt x="2158" y="1837"/>
                  </a:lnTo>
                  <a:lnTo>
                    <a:pt x="2113" y="1900"/>
                  </a:lnTo>
                  <a:lnTo>
                    <a:pt x="2063" y="1959"/>
                  </a:lnTo>
                  <a:lnTo>
                    <a:pt x="2014" y="2011"/>
                  </a:lnTo>
                  <a:lnTo>
                    <a:pt x="1962" y="2060"/>
                  </a:lnTo>
                  <a:lnTo>
                    <a:pt x="1919" y="2101"/>
                  </a:lnTo>
                  <a:lnTo>
                    <a:pt x="1884" y="2142"/>
                  </a:lnTo>
                  <a:lnTo>
                    <a:pt x="1853" y="2184"/>
                  </a:lnTo>
                  <a:lnTo>
                    <a:pt x="1830" y="2225"/>
                  </a:lnTo>
                  <a:lnTo>
                    <a:pt x="1811" y="2268"/>
                  </a:lnTo>
                  <a:lnTo>
                    <a:pt x="1798" y="2313"/>
                  </a:lnTo>
                  <a:lnTo>
                    <a:pt x="1790" y="2362"/>
                  </a:lnTo>
                  <a:lnTo>
                    <a:pt x="1788" y="2411"/>
                  </a:lnTo>
                  <a:lnTo>
                    <a:pt x="1788" y="2413"/>
                  </a:lnTo>
                  <a:lnTo>
                    <a:pt x="1788" y="2414"/>
                  </a:lnTo>
                  <a:lnTo>
                    <a:pt x="1788" y="2415"/>
                  </a:lnTo>
                  <a:lnTo>
                    <a:pt x="1787" y="2560"/>
                  </a:lnTo>
                  <a:lnTo>
                    <a:pt x="1784" y="2586"/>
                  </a:lnTo>
                  <a:lnTo>
                    <a:pt x="1776" y="2612"/>
                  </a:lnTo>
                  <a:lnTo>
                    <a:pt x="1764" y="2634"/>
                  </a:lnTo>
                  <a:lnTo>
                    <a:pt x="1747" y="2654"/>
                  </a:lnTo>
                  <a:lnTo>
                    <a:pt x="1728" y="2670"/>
                  </a:lnTo>
                  <a:lnTo>
                    <a:pt x="1705" y="2682"/>
                  </a:lnTo>
                  <a:lnTo>
                    <a:pt x="1680" y="2690"/>
                  </a:lnTo>
                  <a:lnTo>
                    <a:pt x="1654" y="2692"/>
                  </a:lnTo>
                  <a:lnTo>
                    <a:pt x="1652" y="2692"/>
                  </a:lnTo>
                  <a:lnTo>
                    <a:pt x="1625" y="2689"/>
                  </a:lnTo>
                  <a:lnTo>
                    <a:pt x="1600" y="2681"/>
                  </a:lnTo>
                  <a:lnTo>
                    <a:pt x="1578" y="2669"/>
                  </a:lnTo>
                  <a:lnTo>
                    <a:pt x="1558" y="2652"/>
                  </a:lnTo>
                  <a:lnTo>
                    <a:pt x="1542" y="2632"/>
                  </a:lnTo>
                  <a:lnTo>
                    <a:pt x="1530" y="2610"/>
                  </a:lnTo>
                  <a:lnTo>
                    <a:pt x="1523" y="2584"/>
                  </a:lnTo>
                  <a:lnTo>
                    <a:pt x="1520" y="2557"/>
                  </a:lnTo>
                  <a:lnTo>
                    <a:pt x="1522" y="2411"/>
                  </a:lnTo>
                  <a:lnTo>
                    <a:pt x="1524" y="2349"/>
                  </a:lnTo>
                  <a:lnTo>
                    <a:pt x="1532" y="2287"/>
                  </a:lnTo>
                  <a:lnTo>
                    <a:pt x="1545" y="2229"/>
                  </a:lnTo>
                  <a:lnTo>
                    <a:pt x="1563" y="2171"/>
                  </a:lnTo>
                  <a:lnTo>
                    <a:pt x="1587" y="2116"/>
                  </a:lnTo>
                  <a:lnTo>
                    <a:pt x="1615" y="2063"/>
                  </a:lnTo>
                  <a:lnTo>
                    <a:pt x="1650" y="2011"/>
                  </a:lnTo>
                  <a:lnTo>
                    <a:pt x="1689" y="1960"/>
                  </a:lnTo>
                  <a:lnTo>
                    <a:pt x="1734" y="1911"/>
                  </a:lnTo>
                  <a:lnTo>
                    <a:pt x="1785" y="1862"/>
                  </a:lnTo>
                  <a:lnTo>
                    <a:pt x="1824" y="1824"/>
                  </a:lnTo>
                  <a:lnTo>
                    <a:pt x="1863" y="1783"/>
                  </a:lnTo>
                  <a:lnTo>
                    <a:pt x="1908" y="1728"/>
                  </a:lnTo>
                  <a:lnTo>
                    <a:pt x="1949" y="1670"/>
                  </a:lnTo>
                  <a:lnTo>
                    <a:pt x="1984" y="1609"/>
                  </a:lnTo>
                  <a:lnTo>
                    <a:pt x="2015" y="1546"/>
                  </a:lnTo>
                  <a:lnTo>
                    <a:pt x="2039" y="1483"/>
                  </a:lnTo>
                  <a:lnTo>
                    <a:pt x="2060" y="1416"/>
                  </a:lnTo>
                  <a:lnTo>
                    <a:pt x="2075" y="1350"/>
                  </a:lnTo>
                  <a:lnTo>
                    <a:pt x="2085" y="1283"/>
                  </a:lnTo>
                  <a:lnTo>
                    <a:pt x="2089" y="1215"/>
                  </a:lnTo>
                  <a:lnTo>
                    <a:pt x="2089" y="1147"/>
                  </a:lnTo>
                  <a:lnTo>
                    <a:pt x="2085" y="1080"/>
                  </a:lnTo>
                  <a:lnTo>
                    <a:pt x="2075" y="1011"/>
                  </a:lnTo>
                  <a:lnTo>
                    <a:pt x="2060" y="945"/>
                  </a:lnTo>
                  <a:lnTo>
                    <a:pt x="2040" y="879"/>
                  </a:lnTo>
                  <a:lnTo>
                    <a:pt x="2015" y="816"/>
                  </a:lnTo>
                  <a:lnTo>
                    <a:pt x="1985" y="753"/>
                  </a:lnTo>
                  <a:lnTo>
                    <a:pt x="1950" y="692"/>
                  </a:lnTo>
                  <a:lnTo>
                    <a:pt x="1909" y="634"/>
                  </a:lnTo>
                  <a:lnTo>
                    <a:pt x="1864" y="578"/>
                  </a:lnTo>
                  <a:lnTo>
                    <a:pt x="1815" y="526"/>
                  </a:lnTo>
                  <a:lnTo>
                    <a:pt x="1762" y="479"/>
                  </a:lnTo>
                  <a:lnTo>
                    <a:pt x="1706" y="436"/>
                  </a:lnTo>
                  <a:lnTo>
                    <a:pt x="1647" y="397"/>
                  </a:lnTo>
                  <a:lnTo>
                    <a:pt x="1586" y="363"/>
                  </a:lnTo>
                  <a:lnTo>
                    <a:pt x="1522" y="335"/>
                  </a:lnTo>
                  <a:lnTo>
                    <a:pt x="1456" y="310"/>
                  </a:lnTo>
                  <a:lnTo>
                    <a:pt x="1389" y="292"/>
                  </a:lnTo>
                  <a:lnTo>
                    <a:pt x="1320" y="278"/>
                  </a:lnTo>
                  <a:lnTo>
                    <a:pt x="1249" y="270"/>
                  </a:lnTo>
                  <a:lnTo>
                    <a:pt x="1178" y="266"/>
                  </a:lnTo>
                  <a:lnTo>
                    <a:pt x="1107" y="270"/>
                  </a:lnTo>
                  <a:lnTo>
                    <a:pt x="1037" y="278"/>
                  </a:lnTo>
                  <a:lnTo>
                    <a:pt x="968" y="292"/>
                  </a:lnTo>
                  <a:lnTo>
                    <a:pt x="901" y="310"/>
                  </a:lnTo>
                  <a:lnTo>
                    <a:pt x="835" y="335"/>
                  </a:lnTo>
                  <a:lnTo>
                    <a:pt x="771" y="363"/>
                  </a:lnTo>
                  <a:lnTo>
                    <a:pt x="709" y="397"/>
                  </a:lnTo>
                  <a:lnTo>
                    <a:pt x="650" y="436"/>
                  </a:lnTo>
                  <a:lnTo>
                    <a:pt x="594" y="479"/>
                  </a:lnTo>
                  <a:lnTo>
                    <a:pt x="541" y="526"/>
                  </a:lnTo>
                  <a:lnTo>
                    <a:pt x="493" y="578"/>
                  </a:lnTo>
                  <a:lnTo>
                    <a:pt x="446" y="634"/>
                  </a:lnTo>
                  <a:lnTo>
                    <a:pt x="407" y="692"/>
                  </a:lnTo>
                  <a:lnTo>
                    <a:pt x="371" y="753"/>
                  </a:lnTo>
                  <a:lnTo>
                    <a:pt x="341" y="816"/>
                  </a:lnTo>
                  <a:lnTo>
                    <a:pt x="316" y="880"/>
                  </a:lnTo>
                  <a:lnTo>
                    <a:pt x="296" y="945"/>
                  </a:lnTo>
                  <a:lnTo>
                    <a:pt x="280" y="1013"/>
                  </a:lnTo>
                  <a:lnTo>
                    <a:pt x="271" y="1080"/>
                  </a:lnTo>
                  <a:lnTo>
                    <a:pt x="265" y="1148"/>
                  </a:lnTo>
                  <a:lnTo>
                    <a:pt x="266" y="1216"/>
                  </a:lnTo>
                  <a:lnTo>
                    <a:pt x="271" y="1284"/>
                  </a:lnTo>
                  <a:lnTo>
                    <a:pt x="282" y="1352"/>
                  </a:lnTo>
                  <a:lnTo>
                    <a:pt x="296" y="1419"/>
                  </a:lnTo>
                  <a:lnTo>
                    <a:pt x="317" y="1484"/>
                  </a:lnTo>
                  <a:lnTo>
                    <a:pt x="342" y="1549"/>
                  </a:lnTo>
                  <a:lnTo>
                    <a:pt x="373" y="1611"/>
                  </a:lnTo>
                  <a:lnTo>
                    <a:pt x="408" y="1672"/>
                  </a:lnTo>
                  <a:lnTo>
                    <a:pt x="449" y="1730"/>
                  </a:lnTo>
                  <a:lnTo>
                    <a:pt x="495" y="1785"/>
                  </a:lnTo>
                  <a:lnTo>
                    <a:pt x="532" y="1825"/>
                  </a:lnTo>
                  <a:lnTo>
                    <a:pt x="572" y="1862"/>
                  </a:lnTo>
                  <a:lnTo>
                    <a:pt x="622" y="1912"/>
                  </a:lnTo>
                  <a:lnTo>
                    <a:pt x="669" y="1962"/>
                  </a:lnTo>
                  <a:lnTo>
                    <a:pt x="709" y="2013"/>
                  </a:lnTo>
                  <a:lnTo>
                    <a:pt x="743" y="2066"/>
                  </a:lnTo>
                  <a:lnTo>
                    <a:pt x="772" y="2120"/>
                  </a:lnTo>
                  <a:lnTo>
                    <a:pt x="796" y="2176"/>
                  </a:lnTo>
                  <a:lnTo>
                    <a:pt x="814" y="2234"/>
                  </a:lnTo>
                  <a:lnTo>
                    <a:pt x="827" y="2294"/>
                  </a:lnTo>
                  <a:lnTo>
                    <a:pt x="835" y="2355"/>
                  </a:lnTo>
                  <a:lnTo>
                    <a:pt x="837" y="2419"/>
                  </a:lnTo>
                  <a:lnTo>
                    <a:pt x="837" y="2420"/>
                  </a:lnTo>
                  <a:lnTo>
                    <a:pt x="835" y="2559"/>
                  </a:lnTo>
                  <a:lnTo>
                    <a:pt x="832" y="2585"/>
                  </a:lnTo>
                  <a:lnTo>
                    <a:pt x="824" y="2611"/>
                  </a:lnTo>
                  <a:lnTo>
                    <a:pt x="812" y="2633"/>
                  </a:lnTo>
                  <a:lnTo>
                    <a:pt x="795" y="2652"/>
                  </a:lnTo>
                  <a:lnTo>
                    <a:pt x="776" y="2668"/>
                  </a:lnTo>
                  <a:lnTo>
                    <a:pt x="753" y="2680"/>
                  </a:lnTo>
                  <a:lnTo>
                    <a:pt x="728" y="2688"/>
                  </a:lnTo>
                  <a:lnTo>
                    <a:pt x="702" y="2691"/>
                  </a:lnTo>
                  <a:lnTo>
                    <a:pt x="701" y="2691"/>
                  </a:lnTo>
                  <a:lnTo>
                    <a:pt x="673" y="2688"/>
                  </a:lnTo>
                  <a:lnTo>
                    <a:pt x="649" y="2680"/>
                  </a:lnTo>
                  <a:lnTo>
                    <a:pt x="626" y="2667"/>
                  </a:lnTo>
                  <a:lnTo>
                    <a:pt x="607" y="2650"/>
                  </a:lnTo>
                  <a:lnTo>
                    <a:pt x="591" y="2630"/>
                  </a:lnTo>
                  <a:lnTo>
                    <a:pt x="578" y="2607"/>
                  </a:lnTo>
                  <a:lnTo>
                    <a:pt x="571" y="2583"/>
                  </a:lnTo>
                  <a:lnTo>
                    <a:pt x="569" y="2556"/>
                  </a:lnTo>
                  <a:lnTo>
                    <a:pt x="570" y="2417"/>
                  </a:lnTo>
                  <a:lnTo>
                    <a:pt x="567" y="2366"/>
                  </a:lnTo>
                  <a:lnTo>
                    <a:pt x="560" y="2318"/>
                  </a:lnTo>
                  <a:lnTo>
                    <a:pt x="547" y="2273"/>
                  </a:lnTo>
                  <a:lnTo>
                    <a:pt x="528" y="2229"/>
                  </a:lnTo>
                  <a:lnTo>
                    <a:pt x="504" y="2186"/>
                  </a:lnTo>
                  <a:lnTo>
                    <a:pt x="473" y="2144"/>
                  </a:lnTo>
                  <a:lnTo>
                    <a:pt x="437" y="2102"/>
                  </a:lnTo>
                  <a:lnTo>
                    <a:pt x="394" y="2061"/>
                  </a:lnTo>
                  <a:lnTo>
                    <a:pt x="343" y="2013"/>
                  </a:lnTo>
                  <a:lnTo>
                    <a:pt x="295" y="1962"/>
                  </a:lnTo>
                  <a:lnTo>
                    <a:pt x="245" y="1902"/>
                  </a:lnTo>
                  <a:lnTo>
                    <a:pt x="199" y="1839"/>
                  </a:lnTo>
                  <a:lnTo>
                    <a:pt x="158" y="1774"/>
                  </a:lnTo>
                  <a:lnTo>
                    <a:pt x="122" y="1706"/>
                  </a:lnTo>
                  <a:lnTo>
                    <a:pt x="90" y="1637"/>
                  </a:lnTo>
                  <a:lnTo>
                    <a:pt x="63" y="1564"/>
                  </a:lnTo>
                  <a:lnTo>
                    <a:pt x="41" y="1490"/>
                  </a:lnTo>
                  <a:lnTo>
                    <a:pt x="23" y="1415"/>
                  </a:lnTo>
                  <a:lnTo>
                    <a:pt x="10" y="1338"/>
                  </a:lnTo>
                  <a:lnTo>
                    <a:pt x="2" y="1261"/>
                  </a:lnTo>
                  <a:lnTo>
                    <a:pt x="0" y="1182"/>
                  </a:lnTo>
                  <a:lnTo>
                    <a:pt x="2" y="1104"/>
                  </a:lnTo>
                  <a:lnTo>
                    <a:pt x="10" y="1026"/>
                  </a:lnTo>
                  <a:lnTo>
                    <a:pt x="22" y="950"/>
                  </a:lnTo>
                  <a:lnTo>
                    <a:pt x="40" y="874"/>
                  </a:lnTo>
                  <a:lnTo>
                    <a:pt x="62" y="800"/>
                  </a:lnTo>
                  <a:lnTo>
                    <a:pt x="88" y="728"/>
                  </a:lnTo>
                  <a:lnTo>
                    <a:pt x="120" y="658"/>
                  </a:lnTo>
                  <a:lnTo>
                    <a:pt x="156" y="590"/>
                  </a:lnTo>
                  <a:lnTo>
                    <a:pt x="197" y="524"/>
                  </a:lnTo>
                  <a:lnTo>
                    <a:pt x="242" y="461"/>
                  </a:lnTo>
                  <a:lnTo>
                    <a:pt x="291" y="402"/>
                  </a:lnTo>
                  <a:lnTo>
                    <a:pt x="350" y="340"/>
                  </a:lnTo>
                  <a:lnTo>
                    <a:pt x="411" y="283"/>
                  </a:lnTo>
                  <a:lnTo>
                    <a:pt x="477" y="231"/>
                  </a:lnTo>
                  <a:lnTo>
                    <a:pt x="545" y="184"/>
                  </a:lnTo>
                  <a:lnTo>
                    <a:pt x="617" y="142"/>
                  </a:lnTo>
                  <a:lnTo>
                    <a:pt x="692" y="105"/>
                  </a:lnTo>
                  <a:lnTo>
                    <a:pt x="769" y="74"/>
                  </a:lnTo>
                  <a:lnTo>
                    <a:pt x="847" y="47"/>
                  </a:lnTo>
                  <a:lnTo>
                    <a:pt x="927" y="26"/>
                  </a:lnTo>
                  <a:lnTo>
                    <a:pt x="1010" y="12"/>
                  </a:lnTo>
                  <a:lnTo>
                    <a:pt x="1093" y="3"/>
                  </a:lnTo>
                  <a:lnTo>
                    <a:pt x="117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5" name="Freeform 901">
              <a:extLst>
                <a:ext uri="{FF2B5EF4-FFF2-40B4-BE49-F238E27FC236}">
                  <a16:creationId xmlns:a16="http://schemas.microsoft.com/office/drawing/2014/main" id="{34083220-4652-4CB3-8A31-50E6B0A3FD27}"/>
                </a:ext>
              </a:extLst>
            </p:cNvPr>
            <p:cNvSpPr>
              <a:spLocks/>
            </p:cNvSpPr>
            <p:nvPr/>
          </p:nvSpPr>
          <p:spPr bwMode="auto">
            <a:xfrm>
              <a:off x="1691" y="1203"/>
              <a:ext cx="304" cy="67"/>
            </a:xfrm>
            <a:custGeom>
              <a:avLst/>
              <a:gdLst>
                <a:gd name="T0" fmla="*/ 133 w 1217"/>
                <a:gd name="T1" fmla="*/ 0 h 268"/>
                <a:gd name="T2" fmla="*/ 1084 w 1217"/>
                <a:gd name="T3" fmla="*/ 0 h 268"/>
                <a:gd name="T4" fmla="*/ 1110 w 1217"/>
                <a:gd name="T5" fmla="*/ 4 h 268"/>
                <a:gd name="T6" fmla="*/ 1136 w 1217"/>
                <a:gd name="T7" fmla="*/ 11 h 268"/>
                <a:gd name="T8" fmla="*/ 1158 w 1217"/>
                <a:gd name="T9" fmla="*/ 23 h 268"/>
                <a:gd name="T10" fmla="*/ 1177 w 1217"/>
                <a:gd name="T11" fmla="*/ 40 h 268"/>
                <a:gd name="T12" fmla="*/ 1194 w 1217"/>
                <a:gd name="T13" fmla="*/ 60 h 268"/>
                <a:gd name="T14" fmla="*/ 1207 w 1217"/>
                <a:gd name="T15" fmla="*/ 83 h 268"/>
                <a:gd name="T16" fmla="*/ 1215 w 1217"/>
                <a:gd name="T17" fmla="*/ 107 h 268"/>
                <a:gd name="T18" fmla="*/ 1217 w 1217"/>
                <a:gd name="T19" fmla="*/ 135 h 268"/>
                <a:gd name="T20" fmla="*/ 1215 w 1217"/>
                <a:gd name="T21" fmla="*/ 161 h 268"/>
                <a:gd name="T22" fmla="*/ 1207 w 1217"/>
                <a:gd name="T23" fmla="*/ 186 h 268"/>
                <a:gd name="T24" fmla="*/ 1195 w 1217"/>
                <a:gd name="T25" fmla="*/ 209 h 268"/>
                <a:gd name="T26" fmla="*/ 1178 w 1217"/>
                <a:gd name="T27" fmla="*/ 229 h 268"/>
                <a:gd name="T28" fmla="*/ 1159 w 1217"/>
                <a:gd name="T29" fmla="*/ 245 h 268"/>
                <a:gd name="T30" fmla="*/ 1136 w 1217"/>
                <a:gd name="T31" fmla="*/ 257 h 268"/>
                <a:gd name="T32" fmla="*/ 1111 w 1217"/>
                <a:gd name="T33" fmla="*/ 264 h 268"/>
                <a:gd name="T34" fmla="*/ 1085 w 1217"/>
                <a:gd name="T35" fmla="*/ 268 h 268"/>
                <a:gd name="T36" fmla="*/ 133 w 1217"/>
                <a:gd name="T37" fmla="*/ 268 h 268"/>
                <a:gd name="T38" fmla="*/ 106 w 1217"/>
                <a:gd name="T39" fmla="*/ 264 h 268"/>
                <a:gd name="T40" fmla="*/ 81 w 1217"/>
                <a:gd name="T41" fmla="*/ 257 h 268"/>
                <a:gd name="T42" fmla="*/ 58 w 1217"/>
                <a:gd name="T43" fmla="*/ 245 h 268"/>
                <a:gd name="T44" fmla="*/ 39 w 1217"/>
                <a:gd name="T45" fmla="*/ 228 h 268"/>
                <a:gd name="T46" fmla="*/ 23 w 1217"/>
                <a:gd name="T47" fmla="*/ 208 h 268"/>
                <a:gd name="T48" fmla="*/ 9 w 1217"/>
                <a:gd name="T49" fmla="*/ 186 h 268"/>
                <a:gd name="T50" fmla="*/ 2 w 1217"/>
                <a:gd name="T51" fmla="*/ 161 h 268"/>
                <a:gd name="T52" fmla="*/ 0 w 1217"/>
                <a:gd name="T53" fmla="*/ 135 h 268"/>
                <a:gd name="T54" fmla="*/ 2 w 1217"/>
                <a:gd name="T55" fmla="*/ 107 h 268"/>
                <a:gd name="T56" fmla="*/ 9 w 1217"/>
                <a:gd name="T57" fmla="*/ 83 h 268"/>
                <a:gd name="T58" fmla="*/ 23 w 1217"/>
                <a:gd name="T59" fmla="*/ 60 h 268"/>
                <a:gd name="T60" fmla="*/ 39 w 1217"/>
                <a:gd name="T61" fmla="*/ 40 h 268"/>
                <a:gd name="T62" fmla="*/ 58 w 1217"/>
                <a:gd name="T63" fmla="*/ 23 h 268"/>
                <a:gd name="T64" fmla="*/ 81 w 1217"/>
                <a:gd name="T65" fmla="*/ 11 h 268"/>
                <a:gd name="T66" fmla="*/ 106 w 1217"/>
                <a:gd name="T67" fmla="*/ 4 h 268"/>
                <a:gd name="T68" fmla="*/ 133 w 1217"/>
                <a:gd name="T69" fmla="*/ 0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17" h="268">
                  <a:moveTo>
                    <a:pt x="133" y="0"/>
                  </a:moveTo>
                  <a:lnTo>
                    <a:pt x="1084" y="0"/>
                  </a:lnTo>
                  <a:lnTo>
                    <a:pt x="1110" y="4"/>
                  </a:lnTo>
                  <a:lnTo>
                    <a:pt x="1136" y="11"/>
                  </a:lnTo>
                  <a:lnTo>
                    <a:pt x="1158" y="23"/>
                  </a:lnTo>
                  <a:lnTo>
                    <a:pt x="1177" y="40"/>
                  </a:lnTo>
                  <a:lnTo>
                    <a:pt x="1194" y="60"/>
                  </a:lnTo>
                  <a:lnTo>
                    <a:pt x="1207" y="83"/>
                  </a:lnTo>
                  <a:lnTo>
                    <a:pt x="1215" y="107"/>
                  </a:lnTo>
                  <a:lnTo>
                    <a:pt x="1217" y="135"/>
                  </a:lnTo>
                  <a:lnTo>
                    <a:pt x="1215" y="161"/>
                  </a:lnTo>
                  <a:lnTo>
                    <a:pt x="1207" y="186"/>
                  </a:lnTo>
                  <a:lnTo>
                    <a:pt x="1195" y="209"/>
                  </a:lnTo>
                  <a:lnTo>
                    <a:pt x="1178" y="229"/>
                  </a:lnTo>
                  <a:lnTo>
                    <a:pt x="1159" y="245"/>
                  </a:lnTo>
                  <a:lnTo>
                    <a:pt x="1136" y="257"/>
                  </a:lnTo>
                  <a:lnTo>
                    <a:pt x="1111" y="264"/>
                  </a:lnTo>
                  <a:lnTo>
                    <a:pt x="1085" y="268"/>
                  </a:lnTo>
                  <a:lnTo>
                    <a:pt x="133" y="268"/>
                  </a:lnTo>
                  <a:lnTo>
                    <a:pt x="106" y="264"/>
                  </a:lnTo>
                  <a:lnTo>
                    <a:pt x="81" y="257"/>
                  </a:lnTo>
                  <a:lnTo>
                    <a:pt x="58" y="245"/>
                  </a:lnTo>
                  <a:lnTo>
                    <a:pt x="39" y="228"/>
                  </a:lnTo>
                  <a:lnTo>
                    <a:pt x="23" y="208"/>
                  </a:lnTo>
                  <a:lnTo>
                    <a:pt x="9" y="186"/>
                  </a:lnTo>
                  <a:lnTo>
                    <a:pt x="2" y="161"/>
                  </a:lnTo>
                  <a:lnTo>
                    <a:pt x="0" y="135"/>
                  </a:lnTo>
                  <a:lnTo>
                    <a:pt x="2" y="107"/>
                  </a:lnTo>
                  <a:lnTo>
                    <a:pt x="9" y="83"/>
                  </a:lnTo>
                  <a:lnTo>
                    <a:pt x="23" y="60"/>
                  </a:lnTo>
                  <a:lnTo>
                    <a:pt x="39" y="40"/>
                  </a:lnTo>
                  <a:lnTo>
                    <a:pt x="58" y="23"/>
                  </a:lnTo>
                  <a:lnTo>
                    <a:pt x="81" y="11"/>
                  </a:lnTo>
                  <a:lnTo>
                    <a:pt x="106" y="4"/>
                  </a:lnTo>
                  <a:lnTo>
                    <a:pt x="13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 name="Freeform 902">
              <a:extLst>
                <a:ext uri="{FF2B5EF4-FFF2-40B4-BE49-F238E27FC236}">
                  <a16:creationId xmlns:a16="http://schemas.microsoft.com/office/drawing/2014/main" id="{810BD4EE-3740-4F1C-827A-1A99650D94F8}"/>
                </a:ext>
              </a:extLst>
            </p:cNvPr>
            <p:cNvSpPr>
              <a:spLocks/>
            </p:cNvSpPr>
            <p:nvPr/>
          </p:nvSpPr>
          <p:spPr bwMode="auto">
            <a:xfrm>
              <a:off x="1746" y="1314"/>
              <a:ext cx="195" cy="67"/>
            </a:xfrm>
            <a:custGeom>
              <a:avLst/>
              <a:gdLst>
                <a:gd name="T0" fmla="*/ 133 w 780"/>
                <a:gd name="T1" fmla="*/ 0 h 267"/>
                <a:gd name="T2" fmla="*/ 646 w 780"/>
                <a:gd name="T3" fmla="*/ 0 h 267"/>
                <a:gd name="T4" fmla="*/ 673 w 780"/>
                <a:gd name="T5" fmla="*/ 3 h 267"/>
                <a:gd name="T6" fmla="*/ 699 w 780"/>
                <a:gd name="T7" fmla="*/ 11 h 267"/>
                <a:gd name="T8" fmla="*/ 721 w 780"/>
                <a:gd name="T9" fmla="*/ 23 h 267"/>
                <a:gd name="T10" fmla="*/ 741 w 780"/>
                <a:gd name="T11" fmla="*/ 39 h 267"/>
                <a:gd name="T12" fmla="*/ 757 w 780"/>
                <a:gd name="T13" fmla="*/ 59 h 267"/>
                <a:gd name="T14" fmla="*/ 769 w 780"/>
                <a:gd name="T15" fmla="*/ 81 h 267"/>
                <a:gd name="T16" fmla="*/ 777 w 780"/>
                <a:gd name="T17" fmla="*/ 106 h 267"/>
                <a:gd name="T18" fmla="*/ 780 w 780"/>
                <a:gd name="T19" fmla="*/ 133 h 267"/>
                <a:gd name="T20" fmla="*/ 777 w 780"/>
                <a:gd name="T21" fmla="*/ 160 h 267"/>
                <a:gd name="T22" fmla="*/ 769 w 780"/>
                <a:gd name="T23" fmla="*/ 185 h 267"/>
                <a:gd name="T24" fmla="*/ 757 w 780"/>
                <a:gd name="T25" fmla="*/ 208 h 267"/>
                <a:gd name="T26" fmla="*/ 741 w 780"/>
                <a:gd name="T27" fmla="*/ 227 h 267"/>
                <a:gd name="T28" fmla="*/ 721 w 780"/>
                <a:gd name="T29" fmla="*/ 244 h 267"/>
                <a:gd name="T30" fmla="*/ 699 w 780"/>
                <a:gd name="T31" fmla="*/ 256 h 267"/>
                <a:gd name="T32" fmla="*/ 673 w 780"/>
                <a:gd name="T33" fmla="*/ 264 h 267"/>
                <a:gd name="T34" fmla="*/ 646 w 780"/>
                <a:gd name="T35" fmla="*/ 267 h 267"/>
                <a:gd name="T36" fmla="*/ 133 w 780"/>
                <a:gd name="T37" fmla="*/ 267 h 267"/>
                <a:gd name="T38" fmla="*/ 106 w 780"/>
                <a:gd name="T39" fmla="*/ 264 h 267"/>
                <a:gd name="T40" fmla="*/ 82 w 780"/>
                <a:gd name="T41" fmla="*/ 256 h 267"/>
                <a:gd name="T42" fmla="*/ 59 w 780"/>
                <a:gd name="T43" fmla="*/ 244 h 267"/>
                <a:gd name="T44" fmla="*/ 39 w 780"/>
                <a:gd name="T45" fmla="*/ 227 h 267"/>
                <a:gd name="T46" fmla="*/ 22 w 780"/>
                <a:gd name="T47" fmla="*/ 208 h 267"/>
                <a:gd name="T48" fmla="*/ 10 w 780"/>
                <a:gd name="T49" fmla="*/ 185 h 267"/>
                <a:gd name="T50" fmla="*/ 3 w 780"/>
                <a:gd name="T51" fmla="*/ 160 h 267"/>
                <a:gd name="T52" fmla="*/ 0 w 780"/>
                <a:gd name="T53" fmla="*/ 133 h 267"/>
                <a:gd name="T54" fmla="*/ 3 w 780"/>
                <a:gd name="T55" fmla="*/ 106 h 267"/>
                <a:gd name="T56" fmla="*/ 10 w 780"/>
                <a:gd name="T57" fmla="*/ 81 h 267"/>
                <a:gd name="T58" fmla="*/ 22 w 780"/>
                <a:gd name="T59" fmla="*/ 59 h 267"/>
                <a:gd name="T60" fmla="*/ 39 w 780"/>
                <a:gd name="T61" fmla="*/ 39 h 267"/>
                <a:gd name="T62" fmla="*/ 59 w 780"/>
                <a:gd name="T63" fmla="*/ 23 h 267"/>
                <a:gd name="T64" fmla="*/ 82 w 780"/>
                <a:gd name="T65" fmla="*/ 11 h 267"/>
                <a:gd name="T66" fmla="*/ 106 w 780"/>
                <a:gd name="T67" fmla="*/ 3 h 267"/>
                <a:gd name="T68" fmla="*/ 133 w 780"/>
                <a:gd name="T69" fmla="*/ 0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80" h="267">
                  <a:moveTo>
                    <a:pt x="133" y="0"/>
                  </a:moveTo>
                  <a:lnTo>
                    <a:pt x="646" y="0"/>
                  </a:lnTo>
                  <a:lnTo>
                    <a:pt x="673" y="3"/>
                  </a:lnTo>
                  <a:lnTo>
                    <a:pt x="699" y="11"/>
                  </a:lnTo>
                  <a:lnTo>
                    <a:pt x="721" y="23"/>
                  </a:lnTo>
                  <a:lnTo>
                    <a:pt x="741" y="39"/>
                  </a:lnTo>
                  <a:lnTo>
                    <a:pt x="757" y="59"/>
                  </a:lnTo>
                  <a:lnTo>
                    <a:pt x="769" y="81"/>
                  </a:lnTo>
                  <a:lnTo>
                    <a:pt x="777" y="106"/>
                  </a:lnTo>
                  <a:lnTo>
                    <a:pt x="780" y="133"/>
                  </a:lnTo>
                  <a:lnTo>
                    <a:pt x="777" y="160"/>
                  </a:lnTo>
                  <a:lnTo>
                    <a:pt x="769" y="185"/>
                  </a:lnTo>
                  <a:lnTo>
                    <a:pt x="757" y="208"/>
                  </a:lnTo>
                  <a:lnTo>
                    <a:pt x="741" y="227"/>
                  </a:lnTo>
                  <a:lnTo>
                    <a:pt x="721" y="244"/>
                  </a:lnTo>
                  <a:lnTo>
                    <a:pt x="699" y="256"/>
                  </a:lnTo>
                  <a:lnTo>
                    <a:pt x="673" y="264"/>
                  </a:lnTo>
                  <a:lnTo>
                    <a:pt x="646" y="267"/>
                  </a:lnTo>
                  <a:lnTo>
                    <a:pt x="133" y="267"/>
                  </a:lnTo>
                  <a:lnTo>
                    <a:pt x="106" y="264"/>
                  </a:lnTo>
                  <a:lnTo>
                    <a:pt x="82" y="256"/>
                  </a:lnTo>
                  <a:lnTo>
                    <a:pt x="59" y="244"/>
                  </a:lnTo>
                  <a:lnTo>
                    <a:pt x="39" y="227"/>
                  </a:lnTo>
                  <a:lnTo>
                    <a:pt x="22" y="208"/>
                  </a:lnTo>
                  <a:lnTo>
                    <a:pt x="10" y="185"/>
                  </a:lnTo>
                  <a:lnTo>
                    <a:pt x="3" y="160"/>
                  </a:lnTo>
                  <a:lnTo>
                    <a:pt x="0" y="133"/>
                  </a:lnTo>
                  <a:lnTo>
                    <a:pt x="3" y="106"/>
                  </a:lnTo>
                  <a:lnTo>
                    <a:pt x="10" y="81"/>
                  </a:lnTo>
                  <a:lnTo>
                    <a:pt x="22" y="59"/>
                  </a:lnTo>
                  <a:lnTo>
                    <a:pt x="39" y="39"/>
                  </a:lnTo>
                  <a:lnTo>
                    <a:pt x="59" y="23"/>
                  </a:lnTo>
                  <a:lnTo>
                    <a:pt x="82" y="11"/>
                  </a:lnTo>
                  <a:lnTo>
                    <a:pt x="106" y="3"/>
                  </a:lnTo>
                  <a:lnTo>
                    <a:pt x="13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 name="Freeform 903">
              <a:extLst>
                <a:ext uri="{FF2B5EF4-FFF2-40B4-BE49-F238E27FC236}">
                  <a16:creationId xmlns:a16="http://schemas.microsoft.com/office/drawing/2014/main" id="{44B64EB2-F79A-417E-BA08-C9210F24FEA7}"/>
                </a:ext>
              </a:extLst>
            </p:cNvPr>
            <p:cNvSpPr>
              <a:spLocks/>
            </p:cNvSpPr>
            <p:nvPr/>
          </p:nvSpPr>
          <p:spPr bwMode="auto">
            <a:xfrm>
              <a:off x="1718" y="764"/>
              <a:ext cx="159" cy="384"/>
            </a:xfrm>
            <a:custGeom>
              <a:avLst/>
              <a:gdLst>
                <a:gd name="T0" fmla="*/ 134 w 636"/>
                <a:gd name="T1" fmla="*/ 0 h 1533"/>
                <a:gd name="T2" fmla="*/ 160 w 636"/>
                <a:gd name="T3" fmla="*/ 2 h 1533"/>
                <a:gd name="T4" fmla="*/ 184 w 636"/>
                <a:gd name="T5" fmla="*/ 9 h 1533"/>
                <a:gd name="T6" fmla="*/ 207 w 636"/>
                <a:gd name="T7" fmla="*/ 22 h 1533"/>
                <a:gd name="T8" fmla="*/ 228 w 636"/>
                <a:gd name="T9" fmla="*/ 38 h 1533"/>
                <a:gd name="T10" fmla="*/ 596 w 636"/>
                <a:gd name="T11" fmla="*/ 407 h 1533"/>
                <a:gd name="T12" fmla="*/ 608 w 636"/>
                <a:gd name="T13" fmla="*/ 421 h 1533"/>
                <a:gd name="T14" fmla="*/ 619 w 636"/>
                <a:gd name="T15" fmla="*/ 439 h 1533"/>
                <a:gd name="T16" fmla="*/ 628 w 636"/>
                <a:gd name="T17" fmla="*/ 460 h 1533"/>
                <a:gd name="T18" fmla="*/ 634 w 636"/>
                <a:gd name="T19" fmla="*/ 484 h 1533"/>
                <a:gd name="T20" fmla="*/ 636 w 636"/>
                <a:gd name="T21" fmla="*/ 512 h 1533"/>
                <a:gd name="T22" fmla="*/ 636 w 636"/>
                <a:gd name="T23" fmla="*/ 1399 h 1533"/>
                <a:gd name="T24" fmla="*/ 633 w 636"/>
                <a:gd name="T25" fmla="*/ 1426 h 1533"/>
                <a:gd name="T26" fmla="*/ 625 w 636"/>
                <a:gd name="T27" fmla="*/ 1452 h 1533"/>
                <a:gd name="T28" fmla="*/ 613 w 636"/>
                <a:gd name="T29" fmla="*/ 1474 h 1533"/>
                <a:gd name="T30" fmla="*/ 596 w 636"/>
                <a:gd name="T31" fmla="*/ 1493 h 1533"/>
                <a:gd name="T32" fmla="*/ 576 w 636"/>
                <a:gd name="T33" fmla="*/ 1510 h 1533"/>
                <a:gd name="T34" fmla="*/ 554 w 636"/>
                <a:gd name="T35" fmla="*/ 1522 h 1533"/>
                <a:gd name="T36" fmla="*/ 529 w 636"/>
                <a:gd name="T37" fmla="*/ 1530 h 1533"/>
                <a:gd name="T38" fmla="*/ 502 w 636"/>
                <a:gd name="T39" fmla="*/ 1533 h 1533"/>
                <a:gd name="T40" fmla="*/ 475 w 636"/>
                <a:gd name="T41" fmla="*/ 1530 h 1533"/>
                <a:gd name="T42" fmla="*/ 450 w 636"/>
                <a:gd name="T43" fmla="*/ 1522 h 1533"/>
                <a:gd name="T44" fmla="*/ 428 w 636"/>
                <a:gd name="T45" fmla="*/ 1510 h 1533"/>
                <a:gd name="T46" fmla="*/ 408 w 636"/>
                <a:gd name="T47" fmla="*/ 1493 h 1533"/>
                <a:gd name="T48" fmla="*/ 392 w 636"/>
                <a:gd name="T49" fmla="*/ 1474 h 1533"/>
                <a:gd name="T50" fmla="*/ 380 w 636"/>
                <a:gd name="T51" fmla="*/ 1452 h 1533"/>
                <a:gd name="T52" fmla="*/ 372 w 636"/>
                <a:gd name="T53" fmla="*/ 1426 h 1533"/>
                <a:gd name="T54" fmla="*/ 369 w 636"/>
                <a:gd name="T55" fmla="*/ 1399 h 1533"/>
                <a:gd name="T56" fmla="*/ 369 w 636"/>
                <a:gd name="T57" fmla="*/ 557 h 1533"/>
                <a:gd name="T58" fmla="*/ 40 w 636"/>
                <a:gd name="T59" fmla="*/ 228 h 1533"/>
                <a:gd name="T60" fmla="*/ 22 w 636"/>
                <a:gd name="T61" fmla="*/ 207 h 1533"/>
                <a:gd name="T62" fmla="*/ 10 w 636"/>
                <a:gd name="T63" fmla="*/ 183 h 1533"/>
                <a:gd name="T64" fmla="*/ 2 w 636"/>
                <a:gd name="T65" fmla="*/ 158 h 1533"/>
                <a:gd name="T66" fmla="*/ 0 w 636"/>
                <a:gd name="T67" fmla="*/ 133 h 1533"/>
                <a:gd name="T68" fmla="*/ 2 w 636"/>
                <a:gd name="T69" fmla="*/ 107 h 1533"/>
                <a:gd name="T70" fmla="*/ 10 w 636"/>
                <a:gd name="T71" fmla="*/ 82 h 1533"/>
                <a:gd name="T72" fmla="*/ 22 w 636"/>
                <a:gd name="T73" fmla="*/ 59 h 1533"/>
                <a:gd name="T74" fmla="*/ 40 w 636"/>
                <a:gd name="T75" fmla="*/ 38 h 1533"/>
                <a:gd name="T76" fmla="*/ 61 w 636"/>
                <a:gd name="T77" fmla="*/ 22 h 1533"/>
                <a:gd name="T78" fmla="*/ 84 w 636"/>
                <a:gd name="T79" fmla="*/ 9 h 1533"/>
                <a:gd name="T80" fmla="*/ 108 w 636"/>
                <a:gd name="T81" fmla="*/ 2 h 1533"/>
                <a:gd name="T82" fmla="*/ 134 w 636"/>
                <a:gd name="T83" fmla="*/ 0 h 15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36" h="1533">
                  <a:moveTo>
                    <a:pt x="134" y="0"/>
                  </a:moveTo>
                  <a:lnTo>
                    <a:pt x="160" y="2"/>
                  </a:lnTo>
                  <a:lnTo>
                    <a:pt x="184" y="9"/>
                  </a:lnTo>
                  <a:lnTo>
                    <a:pt x="207" y="22"/>
                  </a:lnTo>
                  <a:lnTo>
                    <a:pt x="228" y="38"/>
                  </a:lnTo>
                  <a:lnTo>
                    <a:pt x="596" y="407"/>
                  </a:lnTo>
                  <a:lnTo>
                    <a:pt x="608" y="421"/>
                  </a:lnTo>
                  <a:lnTo>
                    <a:pt x="619" y="439"/>
                  </a:lnTo>
                  <a:lnTo>
                    <a:pt x="628" y="460"/>
                  </a:lnTo>
                  <a:lnTo>
                    <a:pt x="634" y="484"/>
                  </a:lnTo>
                  <a:lnTo>
                    <a:pt x="636" y="512"/>
                  </a:lnTo>
                  <a:lnTo>
                    <a:pt x="636" y="1399"/>
                  </a:lnTo>
                  <a:lnTo>
                    <a:pt x="633" y="1426"/>
                  </a:lnTo>
                  <a:lnTo>
                    <a:pt x="625" y="1452"/>
                  </a:lnTo>
                  <a:lnTo>
                    <a:pt x="613" y="1474"/>
                  </a:lnTo>
                  <a:lnTo>
                    <a:pt x="596" y="1493"/>
                  </a:lnTo>
                  <a:lnTo>
                    <a:pt x="576" y="1510"/>
                  </a:lnTo>
                  <a:lnTo>
                    <a:pt x="554" y="1522"/>
                  </a:lnTo>
                  <a:lnTo>
                    <a:pt x="529" y="1530"/>
                  </a:lnTo>
                  <a:lnTo>
                    <a:pt x="502" y="1533"/>
                  </a:lnTo>
                  <a:lnTo>
                    <a:pt x="475" y="1530"/>
                  </a:lnTo>
                  <a:lnTo>
                    <a:pt x="450" y="1522"/>
                  </a:lnTo>
                  <a:lnTo>
                    <a:pt x="428" y="1510"/>
                  </a:lnTo>
                  <a:lnTo>
                    <a:pt x="408" y="1493"/>
                  </a:lnTo>
                  <a:lnTo>
                    <a:pt x="392" y="1474"/>
                  </a:lnTo>
                  <a:lnTo>
                    <a:pt x="380" y="1452"/>
                  </a:lnTo>
                  <a:lnTo>
                    <a:pt x="372" y="1426"/>
                  </a:lnTo>
                  <a:lnTo>
                    <a:pt x="369" y="1399"/>
                  </a:lnTo>
                  <a:lnTo>
                    <a:pt x="369" y="557"/>
                  </a:lnTo>
                  <a:lnTo>
                    <a:pt x="40" y="228"/>
                  </a:lnTo>
                  <a:lnTo>
                    <a:pt x="22" y="207"/>
                  </a:lnTo>
                  <a:lnTo>
                    <a:pt x="10" y="183"/>
                  </a:lnTo>
                  <a:lnTo>
                    <a:pt x="2" y="158"/>
                  </a:lnTo>
                  <a:lnTo>
                    <a:pt x="0" y="133"/>
                  </a:lnTo>
                  <a:lnTo>
                    <a:pt x="2" y="107"/>
                  </a:lnTo>
                  <a:lnTo>
                    <a:pt x="10" y="82"/>
                  </a:lnTo>
                  <a:lnTo>
                    <a:pt x="22" y="59"/>
                  </a:lnTo>
                  <a:lnTo>
                    <a:pt x="40" y="38"/>
                  </a:lnTo>
                  <a:lnTo>
                    <a:pt x="61" y="22"/>
                  </a:lnTo>
                  <a:lnTo>
                    <a:pt x="84" y="9"/>
                  </a:lnTo>
                  <a:lnTo>
                    <a:pt x="108" y="2"/>
                  </a:lnTo>
                  <a:lnTo>
                    <a:pt x="13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 name="Freeform 904">
              <a:extLst>
                <a:ext uri="{FF2B5EF4-FFF2-40B4-BE49-F238E27FC236}">
                  <a16:creationId xmlns:a16="http://schemas.microsoft.com/office/drawing/2014/main" id="{70679F8C-F1DA-47BC-990C-CDEA2EF820C0}"/>
                </a:ext>
              </a:extLst>
            </p:cNvPr>
            <p:cNvSpPr>
              <a:spLocks/>
            </p:cNvSpPr>
            <p:nvPr/>
          </p:nvSpPr>
          <p:spPr bwMode="auto">
            <a:xfrm>
              <a:off x="1884" y="764"/>
              <a:ext cx="85" cy="85"/>
            </a:xfrm>
            <a:custGeom>
              <a:avLst/>
              <a:gdLst>
                <a:gd name="T0" fmla="*/ 204 w 337"/>
                <a:gd name="T1" fmla="*/ 0 h 338"/>
                <a:gd name="T2" fmla="*/ 230 w 337"/>
                <a:gd name="T3" fmla="*/ 2 h 338"/>
                <a:gd name="T4" fmla="*/ 254 w 337"/>
                <a:gd name="T5" fmla="*/ 10 h 338"/>
                <a:gd name="T6" fmla="*/ 277 w 337"/>
                <a:gd name="T7" fmla="*/ 22 h 338"/>
                <a:gd name="T8" fmla="*/ 298 w 337"/>
                <a:gd name="T9" fmla="*/ 38 h 338"/>
                <a:gd name="T10" fmla="*/ 315 w 337"/>
                <a:gd name="T11" fmla="*/ 59 h 338"/>
                <a:gd name="T12" fmla="*/ 327 w 337"/>
                <a:gd name="T13" fmla="*/ 83 h 338"/>
                <a:gd name="T14" fmla="*/ 335 w 337"/>
                <a:gd name="T15" fmla="*/ 108 h 338"/>
                <a:gd name="T16" fmla="*/ 337 w 337"/>
                <a:gd name="T17" fmla="*/ 133 h 338"/>
                <a:gd name="T18" fmla="*/ 335 w 337"/>
                <a:gd name="T19" fmla="*/ 159 h 338"/>
                <a:gd name="T20" fmla="*/ 327 w 337"/>
                <a:gd name="T21" fmla="*/ 184 h 338"/>
                <a:gd name="T22" fmla="*/ 315 w 337"/>
                <a:gd name="T23" fmla="*/ 207 h 338"/>
                <a:gd name="T24" fmla="*/ 298 w 337"/>
                <a:gd name="T25" fmla="*/ 228 h 338"/>
                <a:gd name="T26" fmla="*/ 227 w 337"/>
                <a:gd name="T27" fmla="*/ 298 h 338"/>
                <a:gd name="T28" fmla="*/ 206 w 337"/>
                <a:gd name="T29" fmla="*/ 316 h 338"/>
                <a:gd name="T30" fmla="*/ 183 w 337"/>
                <a:gd name="T31" fmla="*/ 328 h 338"/>
                <a:gd name="T32" fmla="*/ 158 w 337"/>
                <a:gd name="T33" fmla="*/ 335 h 338"/>
                <a:gd name="T34" fmla="*/ 133 w 337"/>
                <a:gd name="T35" fmla="*/ 338 h 338"/>
                <a:gd name="T36" fmla="*/ 107 w 337"/>
                <a:gd name="T37" fmla="*/ 334 h 338"/>
                <a:gd name="T38" fmla="*/ 83 w 337"/>
                <a:gd name="T39" fmla="*/ 328 h 338"/>
                <a:gd name="T40" fmla="*/ 60 w 337"/>
                <a:gd name="T41" fmla="*/ 316 h 338"/>
                <a:gd name="T42" fmla="*/ 39 w 337"/>
                <a:gd name="T43" fmla="*/ 298 h 338"/>
                <a:gd name="T44" fmla="*/ 22 w 337"/>
                <a:gd name="T45" fmla="*/ 277 h 338"/>
                <a:gd name="T46" fmla="*/ 10 w 337"/>
                <a:gd name="T47" fmla="*/ 254 h 338"/>
                <a:gd name="T48" fmla="*/ 3 w 337"/>
                <a:gd name="T49" fmla="*/ 229 h 338"/>
                <a:gd name="T50" fmla="*/ 0 w 337"/>
                <a:gd name="T51" fmla="*/ 203 h 338"/>
                <a:gd name="T52" fmla="*/ 3 w 337"/>
                <a:gd name="T53" fmla="*/ 178 h 338"/>
                <a:gd name="T54" fmla="*/ 10 w 337"/>
                <a:gd name="T55" fmla="*/ 153 h 338"/>
                <a:gd name="T56" fmla="*/ 22 w 337"/>
                <a:gd name="T57" fmla="*/ 130 h 338"/>
                <a:gd name="T58" fmla="*/ 39 w 337"/>
                <a:gd name="T59" fmla="*/ 109 h 338"/>
                <a:gd name="T60" fmla="*/ 110 w 337"/>
                <a:gd name="T61" fmla="*/ 38 h 338"/>
                <a:gd name="T62" fmla="*/ 131 w 337"/>
                <a:gd name="T63" fmla="*/ 22 h 338"/>
                <a:gd name="T64" fmla="*/ 154 w 337"/>
                <a:gd name="T65" fmla="*/ 10 h 338"/>
                <a:gd name="T66" fmla="*/ 179 w 337"/>
                <a:gd name="T67" fmla="*/ 2 h 338"/>
                <a:gd name="T68" fmla="*/ 204 w 337"/>
                <a:gd name="T69" fmla="*/ 0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37" h="338">
                  <a:moveTo>
                    <a:pt x="204" y="0"/>
                  </a:moveTo>
                  <a:lnTo>
                    <a:pt x="230" y="2"/>
                  </a:lnTo>
                  <a:lnTo>
                    <a:pt x="254" y="10"/>
                  </a:lnTo>
                  <a:lnTo>
                    <a:pt x="277" y="22"/>
                  </a:lnTo>
                  <a:lnTo>
                    <a:pt x="298" y="38"/>
                  </a:lnTo>
                  <a:lnTo>
                    <a:pt x="315" y="59"/>
                  </a:lnTo>
                  <a:lnTo>
                    <a:pt x="327" y="83"/>
                  </a:lnTo>
                  <a:lnTo>
                    <a:pt x="335" y="108"/>
                  </a:lnTo>
                  <a:lnTo>
                    <a:pt x="337" y="133"/>
                  </a:lnTo>
                  <a:lnTo>
                    <a:pt x="335" y="159"/>
                  </a:lnTo>
                  <a:lnTo>
                    <a:pt x="327" y="184"/>
                  </a:lnTo>
                  <a:lnTo>
                    <a:pt x="315" y="207"/>
                  </a:lnTo>
                  <a:lnTo>
                    <a:pt x="298" y="228"/>
                  </a:lnTo>
                  <a:lnTo>
                    <a:pt x="227" y="298"/>
                  </a:lnTo>
                  <a:lnTo>
                    <a:pt x="206" y="316"/>
                  </a:lnTo>
                  <a:lnTo>
                    <a:pt x="183" y="328"/>
                  </a:lnTo>
                  <a:lnTo>
                    <a:pt x="158" y="335"/>
                  </a:lnTo>
                  <a:lnTo>
                    <a:pt x="133" y="338"/>
                  </a:lnTo>
                  <a:lnTo>
                    <a:pt x="107" y="334"/>
                  </a:lnTo>
                  <a:lnTo>
                    <a:pt x="83" y="328"/>
                  </a:lnTo>
                  <a:lnTo>
                    <a:pt x="60" y="316"/>
                  </a:lnTo>
                  <a:lnTo>
                    <a:pt x="39" y="298"/>
                  </a:lnTo>
                  <a:lnTo>
                    <a:pt x="22" y="277"/>
                  </a:lnTo>
                  <a:lnTo>
                    <a:pt x="10" y="254"/>
                  </a:lnTo>
                  <a:lnTo>
                    <a:pt x="3" y="229"/>
                  </a:lnTo>
                  <a:lnTo>
                    <a:pt x="0" y="203"/>
                  </a:lnTo>
                  <a:lnTo>
                    <a:pt x="3" y="178"/>
                  </a:lnTo>
                  <a:lnTo>
                    <a:pt x="10" y="153"/>
                  </a:lnTo>
                  <a:lnTo>
                    <a:pt x="22" y="130"/>
                  </a:lnTo>
                  <a:lnTo>
                    <a:pt x="39" y="109"/>
                  </a:lnTo>
                  <a:lnTo>
                    <a:pt x="110" y="38"/>
                  </a:lnTo>
                  <a:lnTo>
                    <a:pt x="131" y="22"/>
                  </a:lnTo>
                  <a:lnTo>
                    <a:pt x="154" y="10"/>
                  </a:lnTo>
                  <a:lnTo>
                    <a:pt x="179" y="2"/>
                  </a:lnTo>
                  <a:lnTo>
                    <a:pt x="20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38" name="Group 836">
            <a:extLst>
              <a:ext uri="{FF2B5EF4-FFF2-40B4-BE49-F238E27FC236}">
                <a16:creationId xmlns:a16="http://schemas.microsoft.com/office/drawing/2014/main" id="{4D3577DE-BA56-40BE-ACF6-00B3447B5E6F}"/>
              </a:ext>
            </a:extLst>
          </p:cNvPr>
          <p:cNvGrpSpPr>
            <a:grpSpLocks noChangeAspect="1"/>
          </p:cNvGrpSpPr>
          <p:nvPr/>
        </p:nvGrpSpPr>
        <p:grpSpPr bwMode="auto">
          <a:xfrm>
            <a:off x="9252522" y="4592850"/>
            <a:ext cx="245571" cy="338867"/>
            <a:chOff x="536" y="300"/>
            <a:chExt cx="687" cy="948"/>
          </a:xfrm>
          <a:solidFill>
            <a:schemeClr val="bg1"/>
          </a:solidFill>
        </p:grpSpPr>
        <p:sp>
          <p:nvSpPr>
            <p:cNvPr id="39" name="Freeform 838">
              <a:extLst>
                <a:ext uri="{FF2B5EF4-FFF2-40B4-BE49-F238E27FC236}">
                  <a16:creationId xmlns:a16="http://schemas.microsoft.com/office/drawing/2014/main" id="{99EE3904-7E6D-4B0D-8359-9BD3E337BD51}"/>
                </a:ext>
              </a:extLst>
            </p:cNvPr>
            <p:cNvSpPr>
              <a:spLocks noEditPoints="1"/>
            </p:cNvSpPr>
            <p:nvPr/>
          </p:nvSpPr>
          <p:spPr bwMode="auto">
            <a:xfrm>
              <a:off x="536" y="300"/>
              <a:ext cx="687" cy="948"/>
            </a:xfrm>
            <a:custGeom>
              <a:avLst/>
              <a:gdLst>
                <a:gd name="T0" fmla="*/ 2126 w 2748"/>
                <a:gd name="T1" fmla="*/ 3169 h 3792"/>
                <a:gd name="T2" fmla="*/ 2126 w 2748"/>
                <a:gd name="T3" fmla="*/ 3535 h 3792"/>
                <a:gd name="T4" fmla="*/ 2490 w 2748"/>
                <a:gd name="T5" fmla="*/ 3169 h 3792"/>
                <a:gd name="T6" fmla="*/ 2126 w 2748"/>
                <a:gd name="T7" fmla="*/ 3169 h 3792"/>
                <a:gd name="T8" fmla="*/ 152 w 2748"/>
                <a:gd name="T9" fmla="*/ 151 h 3792"/>
                <a:gd name="T10" fmla="*/ 152 w 2748"/>
                <a:gd name="T11" fmla="*/ 3641 h 3792"/>
                <a:gd name="T12" fmla="*/ 1974 w 2748"/>
                <a:gd name="T13" fmla="*/ 3641 h 3792"/>
                <a:gd name="T14" fmla="*/ 1974 w 2748"/>
                <a:gd name="T15" fmla="*/ 3093 h 3792"/>
                <a:gd name="T16" fmla="*/ 1977 w 2748"/>
                <a:gd name="T17" fmla="*/ 3074 h 3792"/>
                <a:gd name="T18" fmla="*/ 1985 w 2748"/>
                <a:gd name="T19" fmla="*/ 3057 h 3792"/>
                <a:gd name="T20" fmla="*/ 1996 w 2748"/>
                <a:gd name="T21" fmla="*/ 3040 h 3792"/>
                <a:gd name="T22" fmla="*/ 2012 w 2748"/>
                <a:gd name="T23" fmla="*/ 3028 h 3792"/>
                <a:gd name="T24" fmla="*/ 2031 w 2748"/>
                <a:gd name="T25" fmla="*/ 3021 h 3792"/>
                <a:gd name="T26" fmla="*/ 2050 w 2748"/>
                <a:gd name="T27" fmla="*/ 3019 h 3792"/>
                <a:gd name="T28" fmla="*/ 2050 w 2748"/>
                <a:gd name="T29" fmla="*/ 3019 h 3792"/>
                <a:gd name="T30" fmla="*/ 2597 w 2748"/>
                <a:gd name="T31" fmla="*/ 3019 h 3792"/>
                <a:gd name="T32" fmla="*/ 2597 w 2748"/>
                <a:gd name="T33" fmla="*/ 151 h 3792"/>
                <a:gd name="T34" fmla="*/ 152 w 2748"/>
                <a:gd name="T35" fmla="*/ 151 h 3792"/>
                <a:gd name="T36" fmla="*/ 76 w 2748"/>
                <a:gd name="T37" fmla="*/ 0 h 3792"/>
                <a:gd name="T38" fmla="*/ 2673 w 2748"/>
                <a:gd name="T39" fmla="*/ 0 h 3792"/>
                <a:gd name="T40" fmla="*/ 2693 w 2748"/>
                <a:gd name="T41" fmla="*/ 2 h 3792"/>
                <a:gd name="T42" fmla="*/ 2711 w 2748"/>
                <a:gd name="T43" fmla="*/ 10 h 3792"/>
                <a:gd name="T44" fmla="*/ 2726 w 2748"/>
                <a:gd name="T45" fmla="*/ 22 h 3792"/>
                <a:gd name="T46" fmla="*/ 2738 w 2748"/>
                <a:gd name="T47" fmla="*/ 38 h 3792"/>
                <a:gd name="T48" fmla="*/ 2746 w 2748"/>
                <a:gd name="T49" fmla="*/ 55 h 3792"/>
                <a:gd name="T50" fmla="*/ 2748 w 2748"/>
                <a:gd name="T51" fmla="*/ 76 h 3792"/>
                <a:gd name="T52" fmla="*/ 2748 w 2748"/>
                <a:gd name="T53" fmla="*/ 3095 h 3792"/>
                <a:gd name="T54" fmla="*/ 2746 w 2748"/>
                <a:gd name="T55" fmla="*/ 3114 h 3792"/>
                <a:gd name="T56" fmla="*/ 2739 w 2748"/>
                <a:gd name="T57" fmla="*/ 3132 h 3792"/>
                <a:gd name="T58" fmla="*/ 2726 w 2748"/>
                <a:gd name="T59" fmla="*/ 3147 h 3792"/>
                <a:gd name="T60" fmla="*/ 2104 w 2748"/>
                <a:gd name="T61" fmla="*/ 3770 h 3792"/>
                <a:gd name="T62" fmla="*/ 2088 w 2748"/>
                <a:gd name="T63" fmla="*/ 3782 h 3792"/>
                <a:gd name="T64" fmla="*/ 2070 w 2748"/>
                <a:gd name="T65" fmla="*/ 3790 h 3792"/>
                <a:gd name="T66" fmla="*/ 2050 w 2748"/>
                <a:gd name="T67" fmla="*/ 3792 h 3792"/>
                <a:gd name="T68" fmla="*/ 76 w 2748"/>
                <a:gd name="T69" fmla="*/ 3792 h 3792"/>
                <a:gd name="T70" fmla="*/ 56 w 2748"/>
                <a:gd name="T71" fmla="*/ 3790 h 3792"/>
                <a:gd name="T72" fmla="*/ 38 w 2748"/>
                <a:gd name="T73" fmla="*/ 3782 h 3792"/>
                <a:gd name="T74" fmla="*/ 23 w 2748"/>
                <a:gd name="T75" fmla="*/ 3770 h 3792"/>
                <a:gd name="T76" fmla="*/ 10 w 2748"/>
                <a:gd name="T77" fmla="*/ 3754 h 3792"/>
                <a:gd name="T78" fmla="*/ 3 w 2748"/>
                <a:gd name="T79" fmla="*/ 3737 h 3792"/>
                <a:gd name="T80" fmla="*/ 0 w 2748"/>
                <a:gd name="T81" fmla="*/ 3716 h 3792"/>
                <a:gd name="T82" fmla="*/ 0 w 2748"/>
                <a:gd name="T83" fmla="*/ 76 h 3792"/>
                <a:gd name="T84" fmla="*/ 3 w 2748"/>
                <a:gd name="T85" fmla="*/ 55 h 3792"/>
                <a:gd name="T86" fmla="*/ 10 w 2748"/>
                <a:gd name="T87" fmla="*/ 38 h 3792"/>
                <a:gd name="T88" fmla="*/ 23 w 2748"/>
                <a:gd name="T89" fmla="*/ 22 h 3792"/>
                <a:gd name="T90" fmla="*/ 38 w 2748"/>
                <a:gd name="T91" fmla="*/ 10 h 3792"/>
                <a:gd name="T92" fmla="*/ 56 w 2748"/>
                <a:gd name="T93" fmla="*/ 2 h 3792"/>
                <a:gd name="T94" fmla="*/ 76 w 2748"/>
                <a:gd name="T95" fmla="*/ 0 h 37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748" h="3792">
                  <a:moveTo>
                    <a:pt x="2126" y="3169"/>
                  </a:moveTo>
                  <a:lnTo>
                    <a:pt x="2126" y="3535"/>
                  </a:lnTo>
                  <a:lnTo>
                    <a:pt x="2490" y="3169"/>
                  </a:lnTo>
                  <a:lnTo>
                    <a:pt x="2126" y="3169"/>
                  </a:lnTo>
                  <a:close/>
                  <a:moveTo>
                    <a:pt x="152" y="151"/>
                  </a:moveTo>
                  <a:lnTo>
                    <a:pt x="152" y="3641"/>
                  </a:lnTo>
                  <a:lnTo>
                    <a:pt x="1974" y="3641"/>
                  </a:lnTo>
                  <a:lnTo>
                    <a:pt x="1974" y="3093"/>
                  </a:lnTo>
                  <a:lnTo>
                    <a:pt x="1977" y="3074"/>
                  </a:lnTo>
                  <a:lnTo>
                    <a:pt x="1985" y="3057"/>
                  </a:lnTo>
                  <a:lnTo>
                    <a:pt x="1996" y="3040"/>
                  </a:lnTo>
                  <a:lnTo>
                    <a:pt x="2012" y="3028"/>
                  </a:lnTo>
                  <a:lnTo>
                    <a:pt x="2031" y="3021"/>
                  </a:lnTo>
                  <a:lnTo>
                    <a:pt x="2050" y="3019"/>
                  </a:lnTo>
                  <a:lnTo>
                    <a:pt x="2050" y="3019"/>
                  </a:lnTo>
                  <a:lnTo>
                    <a:pt x="2597" y="3019"/>
                  </a:lnTo>
                  <a:lnTo>
                    <a:pt x="2597" y="151"/>
                  </a:lnTo>
                  <a:lnTo>
                    <a:pt x="152" y="151"/>
                  </a:lnTo>
                  <a:close/>
                  <a:moveTo>
                    <a:pt x="76" y="0"/>
                  </a:moveTo>
                  <a:lnTo>
                    <a:pt x="2673" y="0"/>
                  </a:lnTo>
                  <a:lnTo>
                    <a:pt x="2693" y="2"/>
                  </a:lnTo>
                  <a:lnTo>
                    <a:pt x="2711" y="10"/>
                  </a:lnTo>
                  <a:lnTo>
                    <a:pt x="2726" y="22"/>
                  </a:lnTo>
                  <a:lnTo>
                    <a:pt x="2738" y="38"/>
                  </a:lnTo>
                  <a:lnTo>
                    <a:pt x="2746" y="55"/>
                  </a:lnTo>
                  <a:lnTo>
                    <a:pt x="2748" y="76"/>
                  </a:lnTo>
                  <a:lnTo>
                    <a:pt x="2748" y="3095"/>
                  </a:lnTo>
                  <a:lnTo>
                    <a:pt x="2746" y="3114"/>
                  </a:lnTo>
                  <a:lnTo>
                    <a:pt x="2739" y="3132"/>
                  </a:lnTo>
                  <a:lnTo>
                    <a:pt x="2726" y="3147"/>
                  </a:lnTo>
                  <a:lnTo>
                    <a:pt x="2104" y="3770"/>
                  </a:lnTo>
                  <a:lnTo>
                    <a:pt x="2088" y="3782"/>
                  </a:lnTo>
                  <a:lnTo>
                    <a:pt x="2070" y="3790"/>
                  </a:lnTo>
                  <a:lnTo>
                    <a:pt x="2050" y="3792"/>
                  </a:lnTo>
                  <a:lnTo>
                    <a:pt x="76" y="3792"/>
                  </a:lnTo>
                  <a:lnTo>
                    <a:pt x="56" y="3790"/>
                  </a:lnTo>
                  <a:lnTo>
                    <a:pt x="38" y="3782"/>
                  </a:lnTo>
                  <a:lnTo>
                    <a:pt x="23" y="3770"/>
                  </a:lnTo>
                  <a:lnTo>
                    <a:pt x="10" y="3754"/>
                  </a:lnTo>
                  <a:lnTo>
                    <a:pt x="3" y="3737"/>
                  </a:lnTo>
                  <a:lnTo>
                    <a:pt x="0" y="3716"/>
                  </a:lnTo>
                  <a:lnTo>
                    <a:pt x="0" y="76"/>
                  </a:lnTo>
                  <a:lnTo>
                    <a:pt x="3" y="55"/>
                  </a:lnTo>
                  <a:lnTo>
                    <a:pt x="10" y="38"/>
                  </a:lnTo>
                  <a:lnTo>
                    <a:pt x="23" y="22"/>
                  </a:lnTo>
                  <a:lnTo>
                    <a:pt x="38" y="10"/>
                  </a:lnTo>
                  <a:lnTo>
                    <a:pt x="56" y="2"/>
                  </a:lnTo>
                  <a:lnTo>
                    <a:pt x="7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0" name="Freeform 839">
              <a:extLst>
                <a:ext uri="{FF2B5EF4-FFF2-40B4-BE49-F238E27FC236}">
                  <a16:creationId xmlns:a16="http://schemas.microsoft.com/office/drawing/2014/main" id="{D34ED2BC-561B-4BB9-8ADC-8C7B5D4E9590}"/>
                </a:ext>
              </a:extLst>
            </p:cNvPr>
            <p:cNvSpPr>
              <a:spLocks/>
            </p:cNvSpPr>
            <p:nvPr/>
          </p:nvSpPr>
          <p:spPr bwMode="auto">
            <a:xfrm>
              <a:off x="637" y="453"/>
              <a:ext cx="133" cy="107"/>
            </a:xfrm>
            <a:custGeom>
              <a:avLst/>
              <a:gdLst>
                <a:gd name="T0" fmla="*/ 460 w 536"/>
                <a:gd name="T1" fmla="*/ 0 h 426"/>
                <a:gd name="T2" fmla="*/ 480 w 536"/>
                <a:gd name="T3" fmla="*/ 2 h 426"/>
                <a:gd name="T4" fmla="*/ 498 w 536"/>
                <a:gd name="T5" fmla="*/ 9 h 426"/>
                <a:gd name="T6" fmla="*/ 514 w 536"/>
                <a:gd name="T7" fmla="*/ 21 h 426"/>
                <a:gd name="T8" fmla="*/ 525 w 536"/>
                <a:gd name="T9" fmla="*/ 38 h 426"/>
                <a:gd name="T10" fmla="*/ 534 w 536"/>
                <a:gd name="T11" fmla="*/ 56 h 426"/>
                <a:gd name="T12" fmla="*/ 536 w 536"/>
                <a:gd name="T13" fmla="*/ 74 h 426"/>
                <a:gd name="T14" fmla="*/ 534 w 536"/>
                <a:gd name="T15" fmla="*/ 94 h 426"/>
                <a:gd name="T16" fmla="*/ 525 w 536"/>
                <a:gd name="T17" fmla="*/ 112 h 426"/>
                <a:gd name="T18" fmla="*/ 514 w 536"/>
                <a:gd name="T19" fmla="*/ 128 h 426"/>
                <a:gd name="T20" fmla="*/ 238 w 536"/>
                <a:gd name="T21" fmla="*/ 404 h 426"/>
                <a:gd name="T22" fmla="*/ 222 w 536"/>
                <a:gd name="T23" fmla="*/ 416 h 426"/>
                <a:gd name="T24" fmla="*/ 204 w 536"/>
                <a:gd name="T25" fmla="*/ 424 h 426"/>
                <a:gd name="T26" fmla="*/ 184 w 536"/>
                <a:gd name="T27" fmla="*/ 426 h 426"/>
                <a:gd name="T28" fmla="*/ 165 w 536"/>
                <a:gd name="T29" fmla="*/ 424 h 426"/>
                <a:gd name="T30" fmla="*/ 147 w 536"/>
                <a:gd name="T31" fmla="*/ 416 h 426"/>
                <a:gd name="T32" fmla="*/ 131 w 536"/>
                <a:gd name="T33" fmla="*/ 404 h 426"/>
                <a:gd name="T34" fmla="*/ 22 w 536"/>
                <a:gd name="T35" fmla="*/ 295 h 426"/>
                <a:gd name="T36" fmla="*/ 11 w 536"/>
                <a:gd name="T37" fmla="*/ 279 h 426"/>
                <a:gd name="T38" fmla="*/ 3 w 536"/>
                <a:gd name="T39" fmla="*/ 262 h 426"/>
                <a:gd name="T40" fmla="*/ 0 w 536"/>
                <a:gd name="T41" fmla="*/ 242 h 426"/>
                <a:gd name="T42" fmla="*/ 3 w 536"/>
                <a:gd name="T43" fmla="*/ 223 h 426"/>
                <a:gd name="T44" fmla="*/ 11 w 536"/>
                <a:gd name="T45" fmla="*/ 204 h 426"/>
                <a:gd name="T46" fmla="*/ 22 w 536"/>
                <a:gd name="T47" fmla="*/ 188 h 426"/>
                <a:gd name="T48" fmla="*/ 38 w 536"/>
                <a:gd name="T49" fmla="*/ 177 h 426"/>
                <a:gd name="T50" fmla="*/ 57 w 536"/>
                <a:gd name="T51" fmla="*/ 169 h 426"/>
                <a:gd name="T52" fmla="*/ 76 w 536"/>
                <a:gd name="T53" fmla="*/ 166 h 426"/>
                <a:gd name="T54" fmla="*/ 96 w 536"/>
                <a:gd name="T55" fmla="*/ 169 h 426"/>
                <a:gd name="T56" fmla="*/ 113 w 536"/>
                <a:gd name="T57" fmla="*/ 177 h 426"/>
                <a:gd name="T58" fmla="*/ 129 w 536"/>
                <a:gd name="T59" fmla="*/ 188 h 426"/>
                <a:gd name="T60" fmla="*/ 184 w 536"/>
                <a:gd name="T61" fmla="*/ 243 h 426"/>
                <a:gd name="T62" fmla="*/ 407 w 536"/>
                <a:gd name="T63" fmla="*/ 21 h 426"/>
                <a:gd name="T64" fmla="*/ 423 w 536"/>
                <a:gd name="T65" fmla="*/ 9 h 426"/>
                <a:gd name="T66" fmla="*/ 442 w 536"/>
                <a:gd name="T67" fmla="*/ 2 h 426"/>
                <a:gd name="T68" fmla="*/ 460 w 536"/>
                <a:gd name="T69" fmla="*/ 0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36" h="426">
                  <a:moveTo>
                    <a:pt x="460" y="0"/>
                  </a:moveTo>
                  <a:lnTo>
                    <a:pt x="480" y="2"/>
                  </a:lnTo>
                  <a:lnTo>
                    <a:pt x="498" y="9"/>
                  </a:lnTo>
                  <a:lnTo>
                    <a:pt x="514" y="21"/>
                  </a:lnTo>
                  <a:lnTo>
                    <a:pt x="525" y="38"/>
                  </a:lnTo>
                  <a:lnTo>
                    <a:pt x="534" y="56"/>
                  </a:lnTo>
                  <a:lnTo>
                    <a:pt x="536" y="74"/>
                  </a:lnTo>
                  <a:lnTo>
                    <a:pt x="534" y="94"/>
                  </a:lnTo>
                  <a:lnTo>
                    <a:pt x="525" y="112"/>
                  </a:lnTo>
                  <a:lnTo>
                    <a:pt x="514" y="128"/>
                  </a:lnTo>
                  <a:lnTo>
                    <a:pt x="238" y="404"/>
                  </a:lnTo>
                  <a:lnTo>
                    <a:pt x="222" y="416"/>
                  </a:lnTo>
                  <a:lnTo>
                    <a:pt x="204" y="424"/>
                  </a:lnTo>
                  <a:lnTo>
                    <a:pt x="184" y="426"/>
                  </a:lnTo>
                  <a:lnTo>
                    <a:pt x="165" y="424"/>
                  </a:lnTo>
                  <a:lnTo>
                    <a:pt x="147" y="416"/>
                  </a:lnTo>
                  <a:lnTo>
                    <a:pt x="131" y="404"/>
                  </a:lnTo>
                  <a:lnTo>
                    <a:pt x="22" y="295"/>
                  </a:lnTo>
                  <a:lnTo>
                    <a:pt x="11" y="279"/>
                  </a:lnTo>
                  <a:lnTo>
                    <a:pt x="3" y="262"/>
                  </a:lnTo>
                  <a:lnTo>
                    <a:pt x="0" y="242"/>
                  </a:lnTo>
                  <a:lnTo>
                    <a:pt x="3" y="223"/>
                  </a:lnTo>
                  <a:lnTo>
                    <a:pt x="11" y="204"/>
                  </a:lnTo>
                  <a:lnTo>
                    <a:pt x="22" y="188"/>
                  </a:lnTo>
                  <a:lnTo>
                    <a:pt x="38" y="177"/>
                  </a:lnTo>
                  <a:lnTo>
                    <a:pt x="57" y="169"/>
                  </a:lnTo>
                  <a:lnTo>
                    <a:pt x="76" y="166"/>
                  </a:lnTo>
                  <a:lnTo>
                    <a:pt x="96" y="169"/>
                  </a:lnTo>
                  <a:lnTo>
                    <a:pt x="113" y="177"/>
                  </a:lnTo>
                  <a:lnTo>
                    <a:pt x="129" y="188"/>
                  </a:lnTo>
                  <a:lnTo>
                    <a:pt x="184" y="243"/>
                  </a:lnTo>
                  <a:lnTo>
                    <a:pt x="407" y="21"/>
                  </a:lnTo>
                  <a:lnTo>
                    <a:pt x="423" y="9"/>
                  </a:lnTo>
                  <a:lnTo>
                    <a:pt x="442" y="2"/>
                  </a:lnTo>
                  <a:lnTo>
                    <a:pt x="46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1" name="Freeform 840">
              <a:extLst>
                <a:ext uri="{FF2B5EF4-FFF2-40B4-BE49-F238E27FC236}">
                  <a16:creationId xmlns:a16="http://schemas.microsoft.com/office/drawing/2014/main" id="{57E863FC-E059-46D0-86DF-757DC5DA5FBA}"/>
                </a:ext>
              </a:extLst>
            </p:cNvPr>
            <p:cNvSpPr>
              <a:spLocks/>
            </p:cNvSpPr>
            <p:nvPr/>
          </p:nvSpPr>
          <p:spPr bwMode="auto">
            <a:xfrm>
              <a:off x="1078" y="496"/>
              <a:ext cx="44" cy="38"/>
            </a:xfrm>
            <a:custGeom>
              <a:avLst/>
              <a:gdLst>
                <a:gd name="T0" fmla="*/ 76 w 179"/>
                <a:gd name="T1" fmla="*/ 0 h 151"/>
                <a:gd name="T2" fmla="*/ 103 w 179"/>
                <a:gd name="T3" fmla="*/ 0 h 151"/>
                <a:gd name="T4" fmla="*/ 122 w 179"/>
                <a:gd name="T5" fmla="*/ 2 h 151"/>
                <a:gd name="T6" fmla="*/ 141 w 179"/>
                <a:gd name="T7" fmla="*/ 10 h 151"/>
                <a:gd name="T8" fmla="*/ 156 w 179"/>
                <a:gd name="T9" fmla="*/ 22 h 151"/>
                <a:gd name="T10" fmla="*/ 168 w 179"/>
                <a:gd name="T11" fmla="*/ 38 h 151"/>
                <a:gd name="T12" fmla="*/ 175 w 179"/>
                <a:gd name="T13" fmla="*/ 55 h 151"/>
                <a:gd name="T14" fmla="*/ 179 w 179"/>
                <a:gd name="T15" fmla="*/ 76 h 151"/>
                <a:gd name="T16" fmla="*/ 175 w 179"/>
                <a:gd name="T17" fmla="*/ 95 h 151"/>
                <a:gd name="T18" fmla="*/ 168 w 179"/>
                <a:gd name="T19" fmla="*/ 114 h 151"/>
                <a:gd name="T20" fmla="*/ 156 w 179"/>
                <a:gd name="T21" fmla="*/ 129 h 151"/>
                <a:gd name="T22" fmla="*/ 141 w 179"/>
                <a:gd name="T23" fmla="*/ 140 h 151"/>
                <a:gd name="T24" fmla="*/ 122 w 179"/>
                <a:gd name="T25" fmla="*/ 148 h 151"/>
                <a:gd name="T26" fmla="*/ 103 w 179"/>
                <a:gd name="T27" fmla="*/ 151 h 151"/>
                <a:gd name="T28" fmla="*/ 76 w 179"/>
                <a:gd name="T29" fmla="*/ 151 h 151"/>
                <a:gd name="T30" fmla="*/ 56 w 179"/>
                <a:gd name="T31" fmla="*/ 148 h 151"/>
                <a:gd name="T32" fmla="*/ 38 w 179"/>
                <a:gd name="T33" fmla="*/ 140 h 151"/>
                <a:gd name="T34" fmla="*/ 22 w 179"/>
                <a:gd name="T35" fmla="*/ 129 h 151"/>
                <a:gd name="T36" fmla="*/ 11 w 179"/>
                <a:gd name="T37" fmla="*/ 114 h 151"/>
                <a:gd name="T38" fmla="*/ 3 w 179"/>
                <a:gd name="T39" fmla="*/ 95 h 151"/>
                <a:gd name="T40" fmla="*/ 0 w 179"/>
                <a:gd name="T41" fmla="*/ 76 h 151"/>
                <a:gd name="T42" fmla="*/ 3 w 179"/>
                <a:gd name="T43" fmla="*/ 55 h 151"/>
                <a:gd name="T44" fmla="*/ 11 w 179"/>
                <a:gd name="T45" fmla="*/ 38 h 151"/>
                <a:gd name="T46" fmla="*/ 22 w 179"/>
                <a:gd name="T47" fmla="*/ 22 h 151"/>
                <a:gd name="T48" fmla="*/ 38 w 179"/>
                <a:gd name="T49" fmla="*/ 10 h 151"/>
                <a:gd name="T50" fmla="*/ 56 w 179"/>
                <a:gd name="T51" fmla="*/ 2 h 151"/>
                <a:gd name="T52" fmla="*/ 76 w 179"/>
                <a:gd name="T53" fmla="*/ 0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79" h="151">
                  <a:moveTo>
                    <a:pt x="76" y="0"/>
                  </a:moveTo>
                  <a:lnTo>
                    <a:pt x="103" y="0"/>
                  </a:lnTo>
                  <a:lnTo>
                    <a:pt x="122" y="2"/>
                  </a:lnTo>
                  <a:lnTo>
                    <a:pt x="141" y="10"/>
                  </a:lnTo>
                  <a:lnTo>
                    <a:pt x="156" y="22"/>
                  </a:lnTo>
                  <a:lnTo>
                    <a:pt x="168" y="38"/>
                  </a:lnTo>
                  <a:lnTo>
                    <a:pt x="175" y="55"/>
                  </a:lnTo>
                  <a:lnTo>
                    <a:pt x="179" y="76"/>
                  </a:lnTo>
                  <a:lnTo>
                    <a:pt x="175" y="95"/>
                  </a:lnTo>
                  <a:lnTo>
                    <a:pt x="168" y="114"/>
                  </a:lnTo>
                  <a:lnTo>
                    <a:pt x="156" y="129"/>
                  </a:lnTo>
                  <a:lnTo>
                    <a:pt x="141" y="140"/>
                  </a:lnTo>
                  <a:lnTo>
                    <a:pt x="122" y="148"/>
                  </a:lnTo>
                  <a:lnTo>
                    <a:pt x="103" y="151"/>
                  </a:lnTo>
                  <a:lnTo>
                    <a:pt x="76" y="151"/>
                  </a:lnTo>
                  <a:lnTo>
                    <a:pt x="56" y="148"/>
                  </a:lnTo>
                  <a:lnTo>
                    <a:pt x="38" y="140"/>
                  </a:lnTo>
                  <a:lnTo>
                    <a:pt x="22" y="129"/>
                  </a:lnTo>
                  <a:lnTo>
                    <a:pt x="11" y="114"/>
                  </a:lnTo>
                  <a:lnTo>
                    <a:pt x="3" y="95"/>
                  </a:lnTo>
                  <a:lnTo>
                    <a:pt x="0" y="76"/>
                  </a:lnTo>
                  <a:lnTo>
                    <a:pt x="3" y="55"/>
                  </a:lnTo>
                  <a:lnTo>
                    <a:pt x="11" y="38"/>
                  </a:lnTo>
                  <a:lnTo>
                    <a:pt x="22" y="22"/>
                  </a:lnTo>
                  <a:lnTo>
                    <a:pt x="38" y="10"/>
                  </a:lnTo>
                  <a:lnTo>
                    <a:pt x="56" y="2"/>
                  </a:lnTo>
                  <a:lnTo>
                    <a:pt x="7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2" name="Freeform 841">
              <a:extLst>
                <a:ext uri="{FF2B5EF4-FFF2-40B4-BE49-F238E27FC236}">
                  <a16:creationId xmlns:a16="http://schemas.microsoft.com/office/drawing/2014/main" id="{7F9D2756-1684-4DD4-AD08-6855EB4D0B56}"/>
                </a:ext>
              </a:extLst>
            </p:cNvPr>
            <p:cNvSpPr>
              <a:spLocks/>
            </p:cNvSpPr>
            <p:nvPr/>
          </p:nvSpPr>
          <p:spPr bwMode="auto">
            <a:xfrm>
              <a:off x="806" y="496"/>
              <a:ext cx="249" cy="38"/>
            </a:xfrm>
            <a:custGeom>
              <a:avLst/>
              <a:gdLst>
                <a:gd name="T0" fmla="*/ 75 w 997"/>
                <a:gd name="T1" fmla="*/ 0 h 151"/>
                <a:gd name="T2" fmla="*/ 921 w 997"/>
                <a:gd name="T3" fmla="*/ 0 h 151"/>
                <a:gd name="T4" fmla="*/ 941 w 997"/>
                <a:gd name="T5" fmla="*/ 2 h 151"/>
                <a:gd name="T6" fmla="*/ 960 w 997"/>
                <a:gd name="T7" fmla="*/ 10 h 151"/>
                <a:gd name="T8" fmla="*/ 975 w 997"/>
                <a:gd name="T9" fmla="*/ 22 h 151"/>
                <a:gd name="T10" fmla="*/ 986 w 997"/>
                <a:gd name="T11" fmla="*/ 38 h 151"/>
                <a:gd name="T12" fmla="*/ 994 w 997"/>
                <a:gd name="T13" fmla="*/ 55 h 151"/>
                <a:gd name="T14" fmla="*/ 997 w 997"/>
                <a:gd name="T15" fmla="*/ 76 h 151"/>
                <a:gd name="T16" fmla="*/ 994 w 997"/>
                <a:gd name="T17" fmla="*/ 95 h 151"/>
                <a:gd name="T18" fmla="*/ 986 w 997"/>
                <a:gd name="T19" fmla="*/ 114 h 151"/>
                <a:gd name="T20" fmla="*/ 975 w 997"/>
                <a:gd name="T21" fmla="*/ 129 h 151"/>
                <a:gd name="T22" fmla="*/ 960 w 997"/>
                <a:gd name="T23" fmla="*/ 140 h 151"/>
                <a:gd name="T24" fmla="*/ 941 w 997"/>
                <a:gd name="T25" fmla="*/ 148 h 151"/>
                <a:gd name="T26" fmla="*/ 921 w 997"/>
                <a:gd name="T27" fmla="*/ 151 h 151"/>
                <a:gd name="T28" fmla="*/ 75 w 997"/>
                <a:gd name="T29" fmla="*/ 151 h 151"/>
                <a:gd name="T30" fmla="*/ 55 w 997"/>
                <a:gd name="T31" fmla="*/ 148 h 151"/>
                <a:gd name="T32" fmla="*/ 37 w 997"/>
                <a:gd name="T33" fmla="*/ 140 h 151"/>
                <a:gd name="T34" fmla="*/ 22 w 997"/>
                <a:gd name="T35" fmla="*/ 129 h 151"/>
                <a:gd name="T36" fmla="*/ 11 w 997"/>
                <a:gd name="T37" fmla="*/ 114 h 151"/>
                <a:gd name="T38" fmla="*/ 3 w 997"/>
                <a:gd name="T39" fmla="*/ 95 h 151"/>
                <a:gd name="T40" fmla="*/ 0 w 997"/>
                <a:gd name="T41" fmla="*/ 76 h 151"/>
                <a:gd name="T42" fmla="*/ 3 w 997"/>
                <a:gd name="T43" fmla="*/ 55 h 151"/>
                <a:gd name="T44" fmla="*/ 11 w 997"/>
                <a:gd name="T45" fmla="*/ 38 h 151"/>
                <a:gd name="T46" fmla="*/ 22 w 997"/>
                <a:gd name="T47" fmla="*/ 22 h 151"/>
                <a:gd name="T48" fmla="*/ 37 w 997"/>
                <a:gd name="T49" fmla="*/ 10 h 151"/>
                <a:gd name="T50" fmla="*/ 55 w 997"/>
                <a:gd name="T51" fmla="*/ 2 h 151"/>
                <a:gd name="T52" fmla="*/ 75 w 997"/>
                <a:gd name="T53" fmla="*/ 0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97" h="151">
                  <a:moveTo>
                    <a:pt x="75" y="0"/>
                  </a:moveTo>
                  <a:lnTo>
                    <a:pt x="921" y="0"/>
                  </a:lnTo>
                  <a:lnTo>
                    <a:pt x="941" y="2"/>
                  </a:lnTo>
                  <a:lnTo>
                    <a:pt x="960" y="10"/>
                  </a:lnTo>
                  <a:lnTo>
                    <a:pt x="975" y="22"/>
                  </a:lnTo>
                  <a:lnTo>
                    <a:pt x="986" y="38"/>
                  </a:lnTo>
                  <a:lnTo>
                    <a:pt x="994" y="55"/>
                  </a:lnTo>
                  <a:lnTo>
                    <a:pt x="997" y="76"/>
                  </a:lnTo>
                  <a:lnTo>
                    <a:pt x="994" y="95"/>
                  </a:lnTo>
                  <a:lnTo>
                    <a:pt x="986" y="114"/>
                  </a:lnTo>
                  <a:lnTo>
                    <a:pt x="975" y="129"/>
                  </a:lnTo>
                  <a:lnTo>
                    <a:pt x="960" y="140"/>
                  </a:lnTo>
                  <a:lnTo>
                    <a:pt x="941" y="148"/>
                  </a:lnTo>
                  <a:lnTo>
                    <a:pt x="921" y="151"/>
                  </a:lnTo>
                  <a:lnTo>
                    <a:pt x="75" y="151"/>
                  </a:lnTo>
                  <a:lnTo>
                    <a:pt x="55" y="148"/>
                  </a:lnTo>
                  <a:lnTo>
                    <a:pt x="37" y="140"/>
                  </a:lnTo>
                  <a:lnTo>
                    <a:pt x="22" y="129"/>
                  </a:lnTo>
                  <a:lnTo>
                    <a:pt x="11" y="114"/>
                  </a:lnTo>
                  <a:lnTo>
                    <a:pt x="3" y="95"/>
                  </a:lnTo>
                  <a:lnTo>
                    <a:pt x="0" y="76"/>
                  </a:lnTo>
                  <a:lnTo>
                    <a:pt x="3" y="55"/>
                  </a:lnTo>
                  <a:lnTo>
                    <a:pt x="11" y="38"/>
                  </a:lnTo>
                  <a:lnTo>
                    <a:pt x="22" y="22"/>
                  </a:lnTo>
                  <a:lnTo>
                    <a:pt x="37" y="10"/>
                  </a:lnTo>
                  <a:lnTo>
                    <a:pt x="55" y="2"/>
                  </a:lnTo>
                  <a:lnTo>
                    <a:pt x="7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3" name="Freeform 842">
              <a:extLst>
                <a:ext uri="{FF2B5EF4-FFF2-40B4-BE49-F238E27FC236}">
                  <a16:creationId xmlns:a16="http://schemas.microsoft.com/office/drawing/2014/main" id="{5ABB2E29-EC11-45B1-A4C0-0ED79BCCAB86}"/>
                </a:ext>
              </a:extLst>
            </p:cNvPr>
            <p:cNvSpPr>
              <a:spLocks/>
            </p:cNvSpPr>
            <p:nvPr/>
          </p:nvSpPr>
          <p:spPr bwMode="auto">
            <a:xfrm>
              <a:off x="637" y="636"/>
              <a:ext cx="133" cy="107"/>
            </a:xfrm>
            <a:custGeom>
              <a:avLst/>
              <a:gdLst>
                <a:gd name="T0" fmla="*/ 460 w 536"/>
                <a:gd name="T1" fmla="*/ 0 h 428"/>
                <a:gd name="T2" fmla="*/ 480 w 536"/>
                <a:gd name="T3" fmla="*/ 3 h 428"/>
                <a:gd name="T4" fmla="*/ 498 w 536"/>
                <a:gd name="T5" fmla="*/ 11 h 428"/>
                <a:gd name="T6" fmla="*/ 514 w 536"/>
                <a:gd name="T7" fmla="*/ 22 h 428"/>
                <a:gd name="T8" fmla="*/ 525 w 536"/>
                <a:gd name="T9" fmla="*/ 38 h 428"/>
                <a:gd name="T10" fmla="*/ 534 w 536"/>
                <a:gd name="T11" fmla="*/ 57 h 428"/>
                <a:gd name="T12" fmla="*/ 536 w 536"/>
                <a:gd name="T13" fmla="*/ 76 h 428"/>
                <a:gd name="T14" fmla="*/ 534 w 536"/>
                <a:gd name="T15" fmla="*/ 96 h 428"/>
                <a:gd name="T16" fmla="*/ 525 w 536"/>
                <a:gd name="T17" fmla="*/ 113 h 428"/>
                <a:gd name="T18" fmla="*/ 514 w 536"/>
                <a:gd name="T19" fmla="*/ 129 h 428"/>
                <a:gd name="T20" fmla="*/ 238 w 536"/>
                <a:gd name="T21" fmla="*/ 405 h 428"/>
                <a:gd name="T22" fmla="*/ 222 w 536"/>
                <a:gd name="T23" fmla="*/ 418 h 428"/>
                <a:gd name="T24" fmla="*/ 204 w 536"/>
                <a:gd name="T25" fmla="*/ 424 h 428"/>
                <a:gd name="T26" fmla="*/ 184 w 536"/>
                <a:gd name="T27" fmla="*/ 428 h 428"/>
                <a:gd name="T28" fmla="*/ 165 w 536"/>
                <a:gd name="T29" fmla="*/ 424 h 428"/>
                <a:gd name="T30" fmla="*/ 147 w 536"/>
                <a:gd name="T31" fmla="*/ 418 h 428"/>
                <a:gd name="T32" fmla="*/ 131 w 536"/>
                <a:gd name="T33" fmla="*/ 405 h 428"/>
                <a:gd name="T34" fmla="*/ 22 w 536"/>
                <a:gd name="T35" fmla="*/ 297 h 428"/>
                <a:gd name="T36" fmla="*/ 11 w 536"/>
                <a:gd name="T37" fmla="*/ 281 h 428"/>
                <a:gd name="T38" fmla="*/ 3 w 536"/>
                <a:gd name="T39" fmla="*/ 262 h 428"/>
                <a:gd name="T40" fmla="*/ 0 w 536"/>
                <a:gd name="T41" fmla="*/ 243 h 428"/>
                <a:gd name="T42" fmla="*/ 3 w 536"/>
                <a:gd name="T43" fmla="*/ 225 h 428"/>
                <a:gd name="T44" fmla="*/ 11 w 536"/>
                <a:gd name="T45" fmla="*/ 206 h 428"/>
                <a:gd name="T46" fmla="*/ 22 w 536"/>
                <a:gd name="T47" fmla="*/ 190 h 428"/>
                <a:gd name="T48" fmla="*/ 38 w 536"/>
                <a:gd name="T49" fmla="*/ 177 h 428"/>
                <a:gd name="T50" fmla="*/ 57 w 536"/>
                <a:gd name="T51" fmla="*/ 171 h 428"/>
                <a:gd name="T52" fmla="*/ 76 w 536"/>
                <a:gd name="T53" fmla="*/ 168 h 428"/>
                <a:gd name="T54" fmla="*/ 96 w 536"/>
                <a:gd name="T55" fmla="*/ 171 h 428"/>
                <a:gd name="T56" fmla="*/ 113 w 536"/>
                <a:gd name="T57" fmla="*/ 177 h 428"/>
                <a:gd name="T58" fmla="*/ 129 w 536"/>
                <a:gd name="T59" fmla="*/ 190 h 428"/>
                <a:gd name="T60" fmla="*/ 184 w 536"/>
                <a:gd name="T61" fmla="*/ 245 h 428"/>
                <a:gd name="T62" fmla="*/ 407 w 536"/>
                <a:gd name="T63" fmla="*/ 22 h 428"/>
                <a:gd name="T64" fmla="*/ 423 w 536"/>
                <a:gd name="T65" fmla="*/ 11 h 428"/>
                <a:gd name="T66" fmla="*/ 442 w 536"/>
                <a:gd name="T67" fmla="*/ 3 h 428"/>
                <a:gd name="T68" fmla="*/ 460 w 536"/>
                <a:gd name="T69" fmla="*/ 0 h 4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36" h="428">
                  <a:moveTo>
                    <a:pt x="460" y="0"/>
                  </a:moveTo>
                  <a:lnTo>
                    <a:pt x="480" y="3"/>
                  </a:lnTo>
                  <a:lnTo>
                    <a:pt x="498" y="11"/>
                  </a:lnTo>
                  <a:lnTo>
                    <a:pt x="514" y="22"/>
                  </a:lnTo>
                  <a:lnTo>
                    <a:pt x="525" y="38"/>
                  </a:lnTo>
                  <a:lnTo>
                    <a:pt x="534" y="57"/>
                  </a:lnTo>
                  <a:lnTo>
                    <a:pt x="536" y="76"/>
                  </a:lnTo>
                  <a:lnTo>
                    <a:pt x="534" y="96"/>
                  </a:lnTo>
                  <a:lnTo>
                    <a:pt x="525" y="113"/>
                  </a:lnTo>
                  <a:lnTo>
                    <a:pt x="514" y="129"/>
                  </a:lnTo>
                  <a:lnTo>
                    <a:pt x="238" y="405"/>
                  </a:lnTo>
                  <a:lnTo>
                    <a:pt x="222" y="418"/>
                  </a:lnTo>
                  <a:lnTo>
                    <a:pt x="204" y="424"/>
                  </a:lnTo>
                  <a:lnTo>
                    <a:pt x="184" y="428"/>
                  </a:lnTo>
                  <a:lnTo>
                    <a:pt x="165" y="424"/>
                  </a:lnTo>
                  <a:lnTo>
                    <a:pt x="147" y="418"/>
                  </a:lnTo>
                  <a:lnTo>
                    <a:pt x="131" y="405"/>
                  </a:lnTo>
                  <a:lnTo>
                    <a:pt x="22" y="297"/>
                  </a:lnTo>
                  <a:lnTo>
                    <a:pt x="11" y="281"/>
                  </a:lnTo>
                  <a:lnTo>
                    <a:pt x="3" y="262"/>
                  </a:lnTo>
                  <a:lnTo>
                    <a:pt x="0" y="243"/>
                  </a:lnTo>
                  <a:lnTo>
                    <a:pt x="3" y="225"/>
                  </a:lnTo>
                  <a:lnTo>
                    <a:pt x="11" y="206"/>
                  </a:lnTo>
                  <a:lnTo>
                    <a:pt x="22" y="190"/>
                  </a:lnTo>
                  <a:lnTo>
                    <a:pt x="38" y="177"/>
                  </a:lnTo>
                  <a:lnTo>
                    <a:pt x="57" y="171"/>
                  </a:lnTo>
                  <a:lnTo>
                    <a:pt x="76" y="168"/>
                  </a:lnTo>
                  <a:lnTo>
                    <a:pt x="96" y="171"/>
                  </a:lnTo>
                  <a:lnTo>
                    <a:pt x="113" y="177"/>
                  </a:lnTo>
                  <a:lnTo>
                    <a:pt x="129" y="190"/>
                  </a:lnTo>
                  <a:lnTo>
                    <a:pt x="184" y="245"/>
                  </a:lnTo>
                  <a:lnTo>
                    <a:pt x="407" y="22"/>
                  </a:lnTo>
                  <a:lnTo>
                    <a:pt x="423" y="11"/>
                  </a:lnTo>
                  <a:lnTo>
                    <a:pt x="442" y="3"/>
                  </a:lnTo>
                  <a:lnTo>
                    <a:pt x="46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4" name="Freeform 843">
              <a:extLst>
                <a:ext uri="{FF2B5EF4-FFF2-40B4-BE49-F238E27FC236}">
                  <a16:creationId xmlns:a16="http://schemas.microsoft.com/office/drawing/2014/main" id="{B726D5FE-705A-495A-989C-55C2FEE253F0}"/>
                </a:ext>
              </a:extLst>
            </p:cNvPr>
            <p:cNvSpPr>
              <a:spLocks/>
            </p:cNvSpPr>
            <p:nvPr/>
          </p:nvSpPr>
          <p:spPr bwMode="auto">
            <a:xfrm>
              <a:off x="806" y="679"/>
              <a:ext cx="316" cy="38"/>
            </a:xfrm>
            <a:custGeom>
              <a:avLst/>
              <a:gdLst>
                <a:gd name="T0" fmla="*/ 75 w 1266"/>
                <a:gd name="T1" fmla="*/ 0 h 151"/>
                <a:gd name="T2" fmla="*/ 1190 w 1266"/>
                <a:gd name="T3" fmla="*/ 0 h 151"/>
                <a:gd name="T4" fmla="*/ 1209 w 1266"/>
                <a:gd name="T5" fmla="*/ 3 h 151"/>
                <a:gd name="T6" fmla="*/ 1228 w 1266"/>
                <a:gd name="T7" fmla="*/ 10 h 151"/>
                <a:gd name="T8" fmla="*/ 1243 w 1266"/>
                <a:gd name="T9" fmla="*/ 23 h 151"/>
                <a:gd name="T10" fmla="*/ 1255 w 1266"/>
                <a:gd name="T11" fmla="*/ 38 h 151"/>
                <a:gd name="T12" fmla="*/ 1262 w 1266"/>
                <a:gd name="T13" fmla="*/ 56 h 151"/>
                <a:gd name="T14" fmla="*/ 1266 w 1266"/>
                <a:gd name="T15" fmla="*/ 76 h 151"/>
                <a:gd name="T16" fmla="*/ 1262 w 1266"/>
                <a:gd name="T17" fmla="*/ 96 h 151"/>
                <a:gd name="T18" fmla="*/ 1255 w 1266"/>
                <a:gd name="T19" fmla="*/ 114 h 151"/>
                <a:gd name="T20" fmla="*/ 1243 w 1266"/>
                <a:gd name="T21" fmla="*/ 130 h 151"/>
                <a:gd name="T22" fmla="*/ 1228 w 1266"/>
                <a:gd name="T23" fmla="*/ 141 h 151"/>
                <a:gd name="T24" fmla="*/ 1209 w 1266"/>
                <a:gd name="T25" fmla="*/ 149 h 151"/>
                <a:gd name="T26" fmla="*/ 1190 w 1266"/>
                <a:gd name="T27" fmla="*/ 151 h 151"/>
                <a:gd name="T28" fmla="*/ 75 w 1266"/>
                <a:gd name="T29" fmla="*/ 151 h 151"/>
                <a:gd name="T30" fmla="*/ 55 w 1266"/>
                <a:gd name="T31" fmla="*/ 149 h 151"/>
                <a:gd name="T32" fmla="*/ 37 w 1266"/>
                <a:gd name="T33" fmla="*/ 141 h 151"/>
                <a:gd name="T34" fmla="*/ 22 w 1266"/>
                <a:gd name="T35" fmla="*/ 130 h 151"/>
                <a:gd name="T36" fmla="*/ 11 w 1266"/>
                <a:gd name="T37" fmla="*/ 114 h 151"/>
                <a:gd name="T38" fmla="*/ 3 w 1266"/>
                <a:gd name="T39" fmla="*/ 96 h 151"/>
                <a:gd name="T40" fmla="*/ 0 w 1266"/>
                <a:gd name="T41" fmla="*/ 76 h 151"/>
                <a:gd name="T42" fmla="*/ 3 w 1266"/>
                <a:gd name="T43" fmla="*/ 56 h 151"/>
                <a:gd name="T44" fmla="*/ 11 w 1266"/>
                <a:gd name="T45" fmla="*/ 38 h 151"/>
                <a:gd name="T46" fmla="*/ 22 w 1266"/>
                <a:gd name="T47" fmla="*/ 23 h 151"/>
                <a:gd name="T48" fmla="*/ 37 w 1266"/>
                <a:gd name="T49" fmla="*/ 10 h 151"/>
                <a:gd name="T50" fmla="*/ 55 w 1266"/>
                <a:gd name="T51" fmla="*/ 3 h 151"/>
                <a:gd name="T52" fmla="*/ 75 w 1266"/>
                <a:gd name="T53" fmla="*/ 0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66" h="151">
                  <a:moveTo>
                    <a:pt x="75" y="0"/>
                  </a:moveTo>
                  <a:lnTo>
                    <a:pt x="1190" y="0"/>
                  </a:lnTo>
                  <a:lnTo>
                    <a:pt x="1209" y="3"/>
                  </a:lnTo>
                  <a:lnTo>
                    <a:pt x="1228" y="10"/>
                  </a:lnTo>
                  <a:lnTo>
                    <a:pt x="1243" y="23"/>
                  </a:lnTo>
                  <a:lnTo>
                    <a:pt x="1255" y="38"/>
                  </a:lnTo>
                  <a:lnTo>
                    <a:pt x="1262" y="56"/>
                  </a:lnTo>
                  <a:lnTo>
                    <a:pt x="1266" y="76"/>
                  </a:lnTo>
                  <a:lnTo>
                    <a:pt x="1262" y="96"/>
                  </a:lnTo>
                  <a:lnTo>
                    <a:pt x="1255" y="114"/>
                  </a:lnTo>
                  <a:lnTo>
                    <a:pt x="1243" y="130"/>
                  </a:lnTo>
                  <a:lnTo>
                    <a:pt x="1228" y="141"/>
                  </a:lnTo>
                  <a:lnTo>
                    <a:pt x="1209" y="149"/>
                  </a:lnTo>
                  <a:lnTo>
                    <a:pt x="1190" y="151"/>
                  </a:lnTo>
                  <a:lnTo>
                    <a:pt x="75" y="151"/>
                  </a:lnTo>
                  <a:lnTo>
                    <a:pt x="55" y="149"/>
                  </a:lnTo>
                  <a:lnTo>
                    <a:pt x="37" y="141"/>
                  </a:lnTo>
                  <a:lnTo>
                    <a:pt x="22" y="130"/>
                  </a:lnTo>
                  <a:lnTo>
                    <a:pt x="11" y="114"/>
                  </a:lnTo>
                  <a:lnTo>
                    <a:pt x="3" y="96"/>
                  </a:lnTo>
                  <a:lnTo>
                    <a:pt x="0" y="76"/>
                  </a:lnTo>
                  <a:lnTo>
                    <a:pt x="3" y="56"/>
                  </a:lnTo>
                  <a:lnTo>
                    <a:pt x="11" y="38"/>
                  </a:lnTo>
                  <a:lnTo>
                    <a:pt x="22" y="23"/>
                  </a:lnTo>
                  <a:lnTo>
                    <a:pt x="37" y="10"/>
                  </a:lnTo>
                  <a:lnTo>
                    <a:pt x="55" y="3"/>
                  </a:lnTo>
                  <a:lnTo>
                    <a:pt x="7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5" name="Freeform 844">
              <a:extLst>
                <a:ext uri="{FF2B5EF4-FFF2-40B4-BE49-F238E27FC236}">
                  <a16:creationId xmlns:a16="http://schemas.microsoft.com/office/drawing/2014/main" id="{13FCAB03-5A22-46AC-BE8A-D3E02D557734}"/>
                </a:ext>
              </a:extLst>
            </p:cNvPr>
            <p:cNvSpPr>
              <a:spLocks/>
            </p:cNvSpPr>
            <p:nvPr/>
          </p:nvSpPr>
          <p:spPr bwMode="auto">
            <a:xfrm>
              <a:off x="637" y="818"/>
              <a:ext cx="133" cy="107"/>
            </a:xfrm>
            <a:custGeom>
              <a:avLst/>
              <a:gdLst>
                <a:gd name="T0" fmla="*/ 460 w 536"/>
                <a:gd name="T1" fmla="*/ 0 h 427"/>
                <a:gd name="T2" fmla="*/ 480 w 536"/>
                <a:gd name="T3" fmla="*/ 3 h 427"/>
                <a:gd name="T4" fmla="*/ 498 w 536"/>
                <a:gd name="T5" fmla="*/ 10 h 427"/>
                <a:gd name="T6" fmla="*/ 514 w 536"/>
                <a:gd name="T7" fmla="*/ 23 h 427"/>
                <a:gd name="T8" fmla="*/ 525 w 536"/>
                <a:gd name="T9" fmla="*/ 39 h 427"/>
                <a:gd name="T10" fmla="*/ 534 w 536"/>
                <a:gd name="T11" fmla="*/ 57 h 427"/>
                <a:gd name="T12" fmla="*/ 536 w 536"/>
                <a:gd name="T13" fmla="*/ 76 h 427"/>
                <a:gd name="T14" fmla="*/ 534 w 536"/>
                <a:gd name="T15" fmla="*/ 95 h 427"/>
                <a:gd name="T16" fmla="*/ 525 w 536"/>
                <a:gd name="T17" fmla="*/ 114 h 427"/>
                <a:gd name="T18" fmla="*/ 514 w 536"/>
                <a:gd name="T19" fmla="*/ 130 h 427"/>
                <a:gd name="T20" fmla="*/ 238 w 536"/>
                <a:gd name="T21" fmla="*/ 406 h 427"/>
                <a:gd name="T22" fmla="*/ 222 w 536"/>
                <a:gd name="T23" fmla="*/ 417 h 427"/>
                <a:gd name="T24" fmla="*/ 204 w 536"/>
                <a:gd name="T25" fmla="*/ 425 h 427"/>
                <a:gd name="T26" fmla="*/ 184 w 536"/>
                <a:gd name="T27" fmla="*/ 427 h 427"/>
                <a:gd name="T28" fmla="*/ 165 w 536"/>
                <a:gd name="T29" fmla="*/ 425 h 427"/>
                <a:gd name="T30" fmla="*/ 147 w 536"/>
                <a:gd name="T31" fmla="*/ 417 h 427"/>
                <a:gd name="T32" fmla="*/ 131 w 536"/>
                <a:gd name="T33" fmla="*/ 406 h 427"/>
                <a:gd name="T34" fmla="*/ 22 w 536"/>
                <a:gd name="T35" fmla="*/ 296 h 427"/>
                <a:gd name="T36" fmla="*/ 11 w 536"/>
                <a:gd name="T37" fmla="*/ 280 h 427"/>
                <a:gd name="T38" fmla="*/ 3 w 536"/>
                <a:gd name="T39" fmla="*/ 262 h 427"/>
                <a:gd name="T40" fmla="*/ 0 w 536"/>
                <a:gd name="T41" fmla="*/ 244 h 427"/>
                <a:gd name="T42" fmla="*/ 3 w 536"/>
                <a:gd name="T43" fmla="*/ 224 h 427"/>
                <a:gd name="T44" fmla="*/ 11 w 536"/>
                <a:gd name="T45" fmla="*/ 206 h 427"/>
                <a:gd name="T46" fmla="*/ 22 w 536"/>
                <a:gd name="T47" fmla="*/ 190 h 427"/>
                <a:gd name="T48" fmla="*/ 38 w 536"/>
                <a:gd name="T49" fmla="*/ 177 h 427"/>
                <a:gd name="T50" fmla="*/ 57 w 536"/>
                <a:gd name="T51" fmla="*/ 170 h 427"/>
                <a:gd name="T52" fmla="*/ 76 w 536"/>
                <a:gd name="T53" fmla="*/ 168 h 427"/>
                <a:gd name="T54" fmla="*/ 96 w 536"/>
                <a:gd name="T55" fmla="*/ 170 h 427"/>
                <a:gd name="T56" fmla="*/ 113 w 536"/>
                <a:gd name="T57" fmla="*/ 177 h 427"/>
                <a:gd name="T58" fmla="*/ 129 w 536"/>
                <a:gd name="T59" fmla="*/ 190 h 427"/>
                <a:gd name="T60" fmla="*/ 184 w 536"/>
                <a:gd name="T61" fmla="*/ 245 h 427"/>
                <a:gd name="T62" fmla="*/ 407 w 536"/>
                <a:gd name="T63" fmla="*/ 23 h 427"/>
                <a:gd name="T64" fmla="*/ 423 w 536"/>
                <a:gd name="T65" fmla="*/ 10 h 427"/>
                <a:gd name="T66" fmla="*/ 442 w 536"/>
                <a:gd name="T67" fmla="*/ 3 h 427"/>
                <a:gd name="T68" fmla="*/ 460 w 536"/>
                <a:gd name="T69" fmla="*/ 0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36" h="427">
                  <a:moveTo>
                    <a:pt x="460" y="0"/>
                  </a:moveTo>
                  <a:lnTo>
                    <a:pt x="480" y="3"/>
                  </a:lnTo>
                  <a:lnTo>
                    <a:pt x="498" y="10"/>
                  </a:lnTo>
                  <a:lnTo>
                    <a:pt x="514" y="23"/>
                  </a:lnTo>
                  <a:lnTo>
                    <a:pt x="525" y="39"/>
                  </a:lnTo>
                  <a:lnTo>
                    <a:pt x="534" y="57"/>
                  </a:lnTo>
                  <a:lnTo>
                    <a:pt x="536" y="76"/>
                  </a:lnTo>
                  <a:lnTo>
                    <a:pt x="534" y="95"/>
                  </a:lnTo>
                  <a:lnTo>
                    <a:pt x="525" y="114"/>
                  </a:lnTo>
                  <a:lnTo>
                    <a:pt x="514" y="130"/>
                  </a:lnTo>
                  <a:lnTo>
                    <a:pt x="238" y="406"/>
                  </a:lnTo>
                  <a:lnTo>
                    <a:pt x="222" y="417"/>
                  </a:lnTo>
                  <a:lnTo>
                    <a:pt x="204" y="425"/>
                  </a:lnTo>
                  <a:lnTo>
                    <a:pt x="184" y="427"/>
                  </a:lnTo>
                  <a:lnTo>
                    <a:pt x="165" y="425"/>
                  </a:lnTo>
                  <a:lnTo>
                    <a:pt x="147" y="417"/>
                  </a:lnTo>
                  <a:lnTo>
                    <a:pt x="131" y="406"/>
                  </a:lnTo>
                  <a:lnTo>
                    <a:pt x="22" y="296"/>
                  </a:lnTo>
                  <a:lnTo>
                    <a:pt x="11" y="280"/>
                  </a:lnTo>
                  <a:lnTo>
                    <a:pt x="3" y="262"/>
                  </a:lnTo>
                  <a:lnTo>
                    <a:pt x="0" y="244"/>
                  </a:lnTo>
                  <a:lnTo>
                    <a:pt x="3" y="224"/>
                  </a:lnTo>
                  <a:lnTo>
                    <a:pt x="11" y="206"/>
                  </a:lnTo>
                  <a:lnTo>
                    <a:pt x="22" y="190"/>
                  </a:lnTo>
                  <a:lnTo>
                    <a:pt x="38" y="177"/>
                  </a:lnTo>
                  <a:lnTo>
                    <a:pt x="57" y="170"/>
                  </a:lnTo>
                  <a:lnTo>
                    <a:pt x="76" y="168"/>
                  </a:lnTo>
                  <a:lnTo>
                    <a:pt x="96" y="170"/>
                  </a:lnTo>
                  <a:lnTo>
                    <a:pt x="113" y="177"/>
                  </a:lnTo>
                  <a:lnTo>
                    <a:pt x="129" y="190"/>
                  </a:lnTo>
                  <a:lnTo>
                    <a:pt x="184" y="245"/>
                  </a:lnTo>
                  <a:lnTo>
                    <a:pt x="407" y="23"/>
                  </a:lnTo>
                  <a:lnTo>
                    <a:pt x="423" y="10"/>
                  </a:lnTo>
                  <a:lnTo>
                    <a:pt x="442" y="3"/>
                  </a:lnTo>
                  <a:lnTo>
                    <a:pt x="46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6" name="Freeform 845">
              <a:extLst>
                <a:ext uri="{FF2B5EF4-FFF2-40B4-BE49-F238E27FC236}">
                  <a16:creationId xmlns:a16="http://schemas.microsoft.com/office/drawing/2014/main" id="{17864BAC-7442-4A1D-8D1B-0795DD36DE3E}"/>
                </a:ext>
              </a:extLst>
            </p:cNvPr>
            <p:cNvSpPr>
              <a:spLocks/>
            </p:cNvSpPr>
            <p:nvPr/>
          </p:nvSpPr>
          <p:spPr bwMode="auto">
            <a:xfrm>
              <a:off x="806" y="862"/>
              <a:ext cx="316" cy="37"/>
            </a:xfrm>
            <a:custGeom>
              <a:avLst/>
              <a:gdLst>
                <a:gd name="T0" fmla="*/ 75 w 1266"/>
                <a:gd name="T1" fmla="*/ 0 h 151"/>
                <a:gd name="T2" fmla="*/ 1190 w 1266"/>
                <a:gd name="T3" fmla="*/ 0 h 151"/>
                <a:gd name="T4" fmla="*/ 1209 w 1266"/>
                <a:gd name="T5" fmla="*/ 3 h 151"/>
                <a:gd name="T6" fmla="*/ 1228 w 1266"/>
                <a:gd name="T7" fmla="*/ 11 h 151"/>
                <a:gd name="T8" fmla="*/ 1243 w 1266"/>
                <a:gd name="T9" fmla="*/ 22 h 151"/>
                <a:gd name="T10" fmla="*/ 1255 w 1266"/>
                <a:gd name="T11" fmla="*/ 37 h 151"/>
                <a:gd name="T12" fmla="*/ 1262 w 1266"/>
                <a:gd name="T13" fmla="*/ 56 h 151"/>
                <a:gd name="T14" fmla="*/ 1266 w 1266"/>
                <a:gd name="T15" fmla="*/ 75 h 151"/>
                <a:gd name="T16" fmla="*/ 1262 w 1266"/>
                <a:gd name="T17" fmla="*/ 96 h 151"/>
                <a:gd name="T18" fmla="*/ 1255 w 1266"/>
                <a:gd name="T19" fmla="*/ 114 h 151"/>
                <a:gd name="T20" fmla="*/ 1243 w 1266"/>
                <a:gd name="T21" fmla="*/ 129 h 151"/>
                <a:gd name="T22" fmla="*/ 1228 w 1266"/>
                <a:gd name="T23" fmla="*/ 141 h 151"/>
                <a:gd name="T24" fmla="*/ 1209 w 1266"/>
                <a:gd name="T25" fmla="*/ 149 h 151"/>
                <a:gd name="T26" fmla="*/ 1190 w 1266"/>
                <a:gd name="T27" fmla="*/ 151 h 151"/>
                <a:gd name="T28" fmla="*/ 75 w 1266"/>
                <a:gd name="T29" fmla="*/ 151 h 151"/>
                <a:gd name="T30" fmla="*/ 55 w 1266"/>
                <a:gd name="T31" fmla="*/ 149 h 151"/>
                <a:gd name="T32" fmla="*/ 37 w 1266"/>
                <a:gd name="T33" fmla="*/ 141 h 151"/>
                <a:gd name="T34" fmla="*/ 22 w 1266"/>
                <a:gd name="T35" fmla="*/ 129 h 151"/>
                <a:gd name="T36" fmla="*/ 11 w 1266"/>
                <a:gd name="T37" fmla="*/ 114 h 151"/>
                <a:gd name="T38" fmla="*/ 3 w 1266"/>
                <a:gd name="T39" fmla="*/ 96 h 151"/>
                <a:gd name="T40" fmla="*/ 0 w 1266"/>
                <a:gd name="T41" fmla="*/ 75 h 151"/>
                <a:gd name="T42" fmla="*/ 3 w 1266"/>
                <a:gd name="T43" fmla="*/ 56 h 151"/>
                <a:gd name="T44" fmla="*/ 11 w 1266"/>
                <a:gd name="T45" fmla="*/ 37 h 151"/>
                <a:gd name="T46" fmla="*/ 22 w 1266"/>
                <a:gd name="T47" fmla="*/ 22 h 151"/>
                <a:gd name="T48" fmla="*/ 37 w 1266"/>
                <a:gd name="T49" fmla="*/ 11 h 151"/>
                <a:gd name="T50" fmla="*/ 55 w 1266"/>
                <a:gd name="T51" fmla="*/ 3 h 151"/>
                <a:gd name="T52" fmla="*/ 75 w 1266"/>
                <a:gd name="T53" fmla="*/ 0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66" h="151">
                  <a:moveTo>
                    <a:pt x="75" y="0"/>
                  </a:moveTo>
                  <a:lnTo>
                    <a:pt x="1190" y="0"/>
                  </a:lnTo>
                  <a:lnTo>
                    <a:pt x="1209" y="3"/>
                  </a:lnTo>
                  <a:lnTo>
                    <a:pt x="1228" y="11"/>
                  </a:lnTo>
                  <a:lnTo>
                    <a:pt x="1243" y="22"/>
                  </a:lnTo>
                  <a:lnTo>
                    <a:pt x="1255" y="37"/>
                  </a:lnTo>
                  <a:lnTo>
                    <a:pt x="1262" y="56"/>
                  </a:lnTo>
                  <a:lnTo>
                    <a:pt x="1266" y="75"/>
                  </a:lnTo>
                  <a:lnTo>
                    <a:pt x="1262" y="96"/>
                  </a:lnTo>
                  <a:lnTo>
                    <a:pt x="1255" y="114"/>
                  </a:lnTo>
                  <a:lnTo>
                    <a:pt x="1243" y="129"/>
                  </a:lnTo>
                  <a:lnTo>
                    <a:pt x="1228" y="141"/>
                  </a:lnTo>
                  <a:lnTo>
                    <a:pt x="1209" y="149"/>
                  </a:lnTo>
                  <a:lnTo>
                    <a:pt x="1190" y="151"/>
                  </a:lnTo>
                  <a:lnTo>
                    <a:pt x="75" y="151"/>
                  </a:lnTo>
                  <a:lnTo>
                    <a:pt x="55" y="149"/>
                  </a:lnTo>
                  <a:lnTo>
                    <a:pt x="37" y="141"/>
                  </a:lnTo>
                  <a:lnTo>
                    <a:pt x="22" y="129"/>
                  </a:lnTo>
                  <a:lnTo>
                    <a:pt x="11" y="114"/>
                  </a:lnTo>
                  <a:lnTo>
                    <a:pt x="3" y="96"/>
                  </a:lnTo>
                  <a:lnTo>
                    <a:pt x="0" y="75"/>
                  </a:lnTo>
                  <a:lnTo>
                    <a:pt x="3" y="56"/>
                  </a:lnTo>
                  <a:lnTo>
                    <a:pt x="11" y="37"/>
                  </a:lnTo>
                  <a:lnTo>
                    <a:pt x="22" y="22"/>
                  </a:lnTo>
                  <a:lnTo>
                    <a:pt x="37" y="11"/>
                  </a:lnTo>
                  <a:lnTo>
                    <a:pt x="55" y="3"/>
                  </a:lnTo>
                  <a:lnTo>
                    <a:pt x="7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47" name="Group 210">
            <a:extLst>
              <a:ext uri="{FF2B5EF4-FFF2-40B4-BE49-F238E27FC236}">
                <a16:creationId xmlns:a16="http://schemas.microsoft.com/office/drawing/2014/main" id="{AD7CC693-76A9-457A-BC3F-6A7FE4901216}"/>
              </a:ext>
            </a:extLst>
          </p:cNvPr>
          <p:cNvGrpSpPr>
            <a:grpSpLocks noChangeAspect="1"/>
          </p:cNvGrpSpPr>
          <p:nvPr/>
        </p:nvGrpSpPr>
        <p:grpSpPr bwMode="auto">
          <a:xfrm>
            <a:off x="9227304" y="5422231"/>
            <a:ext cx="296006" cy="294052"/>
            <a:chOff x="5144" y="3228"/>
            <a:chExt cx="303" cy="301"/>
          </a:xfrm>
          <a:solidFill>
            <a:schemeClr val="bg1"/>
          </a:solidFill>
        </p:grpSpPr>
        <p:sp>
          <p:nvSpPr>
            <p:cNvPr id="48" name="Freeform 212">
              <a:extLst>
                <a:ext uri="{FF2B5EF4-FFF2-40B4-BE49-F238E27FC236}">
                  <a16:creationId xmlns:a16="http://schemas.microsoft.com/office/drawing/2014/main" id="{148BFC4C-9D2F-4FD6-8A7A-A1A92F70CBDE}"/>
                </a:ext>
              </a:extLst>
            </p:cNvPr>
            <p:cNvSpPr>
              <a:spLocks/>
            </p:cNvSpPr>
            <p:nvPr/>
          </p:nvSpPr>
          <p:spPr bwMode="auto">
            <a:xfrm>
              <a:off x="5144" y="3228"/>
              <a:ext cx="303" cy="301"/>
            </a:xfrm>
            <a:custGeom>
              <a:avLst/>
              <a:gdLst>
                <a:gd name="T0" fmla="*/ 434 w 3331"/>
                <a:gd name="T1" fmla="*/ 0 h 3307"/>
                <a:gd name="T2" fmla="*/ 467 w 3331"/>
                <a:gd name="T3" fmla="*/ 12 h 3307"/>
                <a:gd name="T4" fmla="*/ 827 w 3331"/>
                <a:gd name="T5" fmla="*/ 437 h 3307"/>
                <a:gd name="T6" fmla="*/ 849 w 3331"/>
                <a:gd name="T7" fmla="*/ 471 h 3307"/>
                <a:gd name="T8" fmla="*/ 850 w 3331"/>
                <a:gd name="T9" fmla="*/ 510 h 3307"/>
                <a:gd name="T10" fmla="*/ 831 w 3331"/>
                <a:gd name="T11" fmla="*/ 541 h 3307"/>
                <a:gd name="T12" fmla="*/ 800 w 3331"/>
                <a:gd name="T13" fmla="*/ 559 h 3307"/>
                <a:gd name="T14" fmla="*/ 781 w 3331"/>
                <a:gd name="T15" fmla="*/ 561 h 3307"/>
                <a:gd name="T16" fmla="*/ 567 w 3331"/>
                <a:gd name="T17" fmla="*/ 562 h 3307"/>
                <a:gd name="T18" fmla="*/ 2764 w 3331"/>
                <a:gd name="T19" fmla="*/ 2744 h 3307"/>
                <a:gd name="T20" fmla="*/ 2766 w 3331"/>
                <a:gd name="T21" fmla="*/ 2516 h 3307"/>
                <a:gd name="T22" fmla="*/ 2780 w 3331"/>
                <a:gd name="T23" fmla="*/ 2488 h 3307"/>
                <a:gd name="T24" fmla="*/ 2805 w 3331"/>
                <a:gd name="T25" fmla="*/ 2469 h 3307"/>
                <a:gd name="T26" fmla="*/ 2845 w 3331"/>
                <a:gd name="T27" fmla="*/ 2463 h 3307"/>
                <a:gd name="T28" fmla="*/ 2880 w 3331"/>
                <a:gd name="T29" fmla="*/ 2479 h 3307"/>
                <a:gd name="T30" fmla="*/ 3317 w 3331"/>
                <a:gd name="T31" fmla="*/ 2842 h 3307"/>
                <a:gd name="T32" fmla="*/ 3329 w 3331"/>
                <a:gd name="T33" fmla="*/ 2869 h 3307"/>
                <a:gd name="T34" fmla="*/ 3329 w 3331"/>
                <a:gd name="T35" fmla="*/ 2900 h 3307"/>
                <a:gd name="T36" fmla="*/ 3317 w 3331"/>
                <a:gd name="T37" fmla="*/ 2928 h 3307"/>
                <a:gd name="T38" fmla="*/ 2880 w 3331"/>
                <a:gd name="T39" fmla="*/ 3291 h 3307"/>
                <a:gd name="T40" fmla="*/ 2851 w 3331"/>
                <a:gd name="T41" fmla="*/ 3306 h 3307"/>
                <a:gd name="T42" fmla="*/ 2819 w 3331"/>
                <a:gd name="T43" fmla="*/ 3306 h 3307"/>
                <a:gd name="T44" fmla="*/ 2791 w 3331"/>
                <a:gd name="T45" fmla="*/ 3292 h 3307"/>
                <a:gd name="T46" fmla="*/ 2771 w 3331"/>
                <a:gd name="T47" fmla="*/ 3268 h 3307"/>
                <a:gd name="T48" fmla="*/ 2764 w 3331"/>
                <a:gd name="T49" fmla="*/ 3237 h 3307"/>
                <a:gd name="T50" fmla="*/ 426 w 3331"/>
                <a:gd name="T51" fmla="*/ 3026 h 3307"/>
                <a:gd name="T52" fmla="*/ 371 w 3331"/>
                <a:gd name="T53" fmla="*/ 3014 h 3307"/>
                <a:gd name="T54" fmla="*/ 326 w 3331"/>
                <a:gd name="T55" fmla="*/ 2984 h 3307"/>
                <a:gd name="T56" fmla="*/ 295 w 3331"/>
                <a:gd name="T57" fmla="*/ 2939 h 3307"/>
                <a:gd name="T58" fmla="*/ 284 w 3331"/>
                <a:gd name="T59" fmla="*/ 2884 h 3307"/>
                <a:gd name="T60" fmla="*/ 71 w 3331"/>
                <a:gd name="T61" fmla="*/ 562 h 3307"/>
                <a:gd name="T62" fmla="*/ 40 w 3331"/>
                <a:gd name="T63" fmla="*/ 555 h 3307"/>
                <a:gd name="T64" fmla="*/ 16 w 3331"/>
                <a:gd name="T65" fmla="*/ 535 h 3307"/>
                <a:gd name="T66" fmla="*/ 2 w 3331"/>
                <a:gd name="T67" fmla="*/ 506 h 3307"/>
                <a:gd name="T68" fmla="*/ 0 w 3331"/>
                <a:gd name="T69" fmla="*/ 489 h 3307"/>
                <a:gd name="T70" fmla="*/ 7 w 3331"/>
                <a:gd name="T71" fmla="*/ 459 h 3307"/>
                <a:gd name="T72" fmla="*/ 371 w 3331"/>
                <a:gd name="T73" fmla="*/ 23 h 3307"/>
                <a:gd name="T74" fmla="*/ 400 w 3331"/>
                <a:gd name="T75" fmla="*/ 4 h 3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331" h="3307">
                  <a:moveTo>
                    <a:pt x="417" y="0"/>
                  </a:moveTo>
                  <a:lnTo>
                    <a:pt x="434" y="0"/>
                  </a:lnTo>
                  <a:lnTo>
                    <a:pt x="451" y="4"/>
                  </a:lnTo>
                  <a:lnTo>
                    <a:pt x="467" y="12"/>
                  </a:lnTo>
                  <a:lnTo>
                    <a:pt x="479" y="23"/>
                  </a:lnTo>
                  <a:lnTo>
                    <a:pt x="827" y="437"/>
                  </a:lnTo>
                  <a:lnTo>
                    <a:pt x="841" y="452"/>
                  </a:lnTo>
                  <a:lnTo>
                    <a:pt x="849" y="471"/>
                  </a:lnTo>
                  <a:lnTo>
                    <a:pt x="852" y="491"/>
                  </a:lnTo>
                  <a:lnTo>
                    <a:pt x="850" y="510"/>
                  </a:lnTo>
                  <a:lnTo>
                    <a:pt x="843" y="527"/>
                  </a:lnTo>
                  <a:lnTo>
                    <a:pt x="831" y="541"/>
                  </a:lnTo>
                  <a:lnTo>
                    <a:pt x="817" y="552"/>
                  </a:lnTo>
                  <a:lnTo>
                    <a:pt x="800" y="559"/>
                  </a:lnTo>
                  <a:lnTo>
                    <a:pt x="781" y="562"/>
                  </a:lnTo>
                  <a:lnTo>
                    <a:pt x="781" y="561"/>
                  </a:lnTo>
                  <a:lnTo>
                    <a:pt x="780" y="562"/>
                  </a:lnTo>
                  <a:lnTo>
                    <a:pt x="567" y="562"/>
                  </a:lnTo>
                  <a:lnTo>
                    <a:pt x="567" y="2744"/>
                  </a:lnTo>
                  <a:lnTo>
                    <a:pt x="2764" y="2744"/>
                  </a:lnTo>
                  <a:lnTo>
                    <a:pt x="2764" y="2533"/>
                  </a:lnTo>
                  <a:lnTo>
                    <a:pt x="2766" y="2516"/>
                  </a:lnTo>
                  <a:lnTo>
                    <a:pt x="2771" y="2502"/>
                  </a:lnTo>
                  <a:lnTo>
                    <a:pt x="2780" y="2488"/>
                  </a:lnTo>
                  <a:lnTo>
                    <a:pt x="2791" y="2478"/>
                  </a:lnTo>
                  <a:lnTo>
                    <a:pt x="2805" y="2469"/>
                  </a:lnTo>
                  <a:lnTo>
                    <a:pt x="2825" y="2463"/>
                  </a:lnTo>
                  <a:lnTo>
                    <a:pt x="2845" y="2463"/>
                  </a:lnTo>
                  <a:lnTo>
                    <a:pt x="2863" y="2468"/>
                  </a:lnTo>
                  <a:lnTo>
                    <a:pt x="2880" y="2479"/>
                  </a:lnTo>
                  <a:lnTo>
                    <a:pt x="3305" y="2830"/>
                  </a:lnTo>
                  <a:lnTo>
                    <a:pt x="3317" y="2842"/>
                  </a:lnTo>
                  <a:lnTo>
                    <a:pt x="3325" y="2855"/>
                  </a:lnTo>
                  <a:lnTo>
                    <a:pt x="3329" y="2869"/>
                  </a:lnTo>
                  <a:lnTo>
                    <a:pt x="3331" y="2884"/>
                  </a:lnTo>
                  <a:lnTo>
                    <a:pt x="3329" y="2900"/>
                  </a:lnTo>
                  <a:lnTo>
                    <a:pt x="3325" y="2915"/>
                  </a:lnTo>
                  <a:lnTo>
                    <a:pt x="3317" y="2928"/>
                  </a:lnTo>
                  <a:lnTo>
                    <a:pt x="3305" y="2938"/>
                  </a:lnTo>
                  <a:lnTo>
                    <a:pt x="2880" y="3291"/>
                  </a:lnTo>
                  <a:lnTo>
                    <a:pt x="2867" y="3299"/>
                  </a:lnTo>
                  <a:lnTo>
                    <a:pt x="2851" y="3306"/>
                  </a:lnTo>
                  <a:lnTo>
                    <a:pt x="2835" y="3307"/>
                  </a:lnTo>
                  <a:lnTo>
                    <a:pt x="2819" y="3306"/>
                  </a:lnTo>
                  <a:lnTo>
                    <a:pt x="2805" y="3300"/>
                  </a:lnTo>
                  <a:lnTo>
                    <a:pt x="2791" y="3292"/>
                  </a:lnTo>
                  <a:lnTo>
                    <a:pt x="2780" y="3281"/>
                  </a:lnTo>
                  <a:lnTo>
                    <a:pt x="2771" y="3268"/>
                  </a:lnTo>
                  <a:lnTo>
                    <a:pt x="2766" y="3253"/>
                  </a:lnTo>
                  <a:lnTo>
                    <a:pt x="2764" y="3237"/>
                  </a:lnTo>
                  <a:lnTo>
                    <a:pt x="2764" y="3026"/>
                  </a:lnTo>
                  <a:lnTo>
                    <a:pt x="426" y="3026"/>
                  </a:lnTo>
                  <a:lnTo>
                    <a:pt x="397" y="3023"/>
                  </a:lnTo>
                  <a:lnTo>
                    <a:pt x="371" y="3014"/>
                  </a:lnTo>
                  <a:lnTo>
                    <a:pt x="346" y="3002"/>
                  </a:lnTo>
                  <a:lnTo>
                    <a:pt x="326" y="2984"/>
                  </a:lnTo>
                  <a:lnTo>
                    <a:pt x="308" y="2963"/>
                  </a:lnTo>
                  <a:lnTo>
                    <a:pt x="295" y="2939"/>
                  </a:lnTo>
                  <a:lnTo>
                    <a:pt x="287" y="2913"/>
                  </a:lnTo>
                  <a:lnTo>
                    <a:pt x="284" y="2884"/>
                  </a:lnTo>
                  <a:lnTo>
                    <a:pt x="284" y="562"/>
                  </a:lnTo>
                  <a:lnTo>
                    <a:pt x="71" y="562"/>
                  </a:lnTo>
                  <a:lnTo>
                    <a:pt x="55" y="560"/>
                  </a:lnTo>
                  <a:lnTo>
                    <a:pt x="40" y="555"/>
                  </a:lnTo>
                  <a:lnTo>
                    <a:pt x="27" y="546"/>
                  </a:lnTo>
                  <a:lnTo>
                    <a:pt x="16" y="535"/>
                  </a:lnTo>
                  <a:lnTo>
                    <a:pt x="7" y="521"/>
                  </a:lnTo>
                  <a:lnTo>
                    <a:pt x="2" y="506"/>
                  </a:lnTo>
                  <a:lnTo>
                    <a:pt x="0" y="490"/>
                  </a:lnTo>
                  <a:lnTo>
                    <a:pt x="0" y="489"/>
                  </a:lnTo>
                  <a:lnTo>
                    <a:pt x="2" y="475"/>
                  </a:lnTo>
                  <a:lnTo>
                    <a:pt x="7" y="459"/>
                  </a:lnTo>
                  <a:lnTo>
                    <a:pt x="17" y="446"/>
                  </a:lnTo>
                  <a:lnTo>
                    <a:pt x="371" y="23"/>
                  </a:lnTo>
                  <a:lnTo>
                    <a:pt x="384" y="12"/>
                  </a:lnTo>
                  <a:lnTo>
                    <a:pt x="400" y="4"/>
                  </a:lnTo>
                  <a:lnTo>
                    <a:pt x="41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9" name="Freeform 213">
              <a:extLst>
                <a:ext uri="{FF2B5EF4-FFF2-40B4-BE49-F238E27FC236}">
                  <a16:creationId xmlns:a16="http://schemas.microsoft.com/office/drawing/2014/main" id="{94F0800D-0BD9-43B8-9BDA-D12B99A8F96F}"/>
                </a:ext>
              </a:extLst>
            </p:cNvPr>
            <p:cNvSpPr>
              <a:spLocks/>
            </p:cNvSpPr>
            <p:nvPr/>
          </p:nvSpPr>
          <p:spPr bwMode="auto">
            <a:xfrm>
              <a:off x="5215" y="3407"/>
              <a:ext cx="167" cy="39"/>
            </a:xfrm>
            <a:custGeom>
              <a:avLst/>
              <a:gdLst>
                <a:gd name="T0" fmla="*/ 212 w 1843"/>
                <a:gd name="T1" fmla="*/ 0 h 422"/>
                <a:gd name="T2" fmla="*/ 1630 w 1843"/>
                <a:gd name="T3" fmla="*/ 0 h 422"/>
                <a:gd name="T4" fmla="*/ 1665 w 1843"/>
                <a:gd name="T5" fmla="*/ 3 h 422"/>
                <a:gd name="T6" fmla="*/ 1697 w 1843"/>
                <a:gd name="T7" fmla="*/ 12 h 422"/>
                <a:gd name="T8" fmla="*/ 1727 w 1843"/>
                <a:gd name="T9" fmla="*/ 24 h 422"/>
                <a:gd name="T10" fmla="*/ 1756 w 1843"/>
                <a:gd name="T11" fmla="*/ 42 h 422"/>
                <a:gd name="T12" fmla="*/ 1781 w 1843"/>
                <a:gd name="T13" fmla="*/ 63 h 422"/>
                <a:gd name="T14" fmla="*/ 1802 w 1843"/>
                <a:gd name="T15" fmla="*/ 86 h 422"/>
                <a:gd name="T16" fmla="*/ 1819 w 1843"/>
                <a:gd name="T17" fmla="*/ 115 h 422"/>
                <a:gd name="T18" fmla="*/ 1832 w 1843"/>
                <a:gd name="T19" fmla="*/ 145 h 422"/>
                <a:gd name="T20" fmla="*/ 1839 w 1843"/>
                <a:gd name="T21" fmla="*/ 177 h 422"/>
                <a:gd name="T22" fmla="*/ 1843 w 1843"/>
                <a:gd name="T23" fmla="*/ 211 h 422"/>
                <a:gd name="T24" fmla="*/ 1839 w 1843"/>
                <a:gd name="T25" fmla="*/ 246 h 422"/>
                <a:gd name="T26" fmla="*/ 1832 w 1843"/>
                <a:gd name="T27" fmla="*/ 278 h 422"/>
                <a:gd name="T28" fmla="*/ 1819 w 1843"/>
                <a:gd name="T29" fmla="*/ 309 h 422"/>
                <a:gd name="T30" fmla="*/ 1802 w 1843"/>
                <a:gd name="T31" fmla="*/ 336 h 422"/>
                <a:gd name="T32" fmla="*/ 1781 w 1843"/>
                <a:gd name="T33" fmla="*/ 361 h 422"/>
                <a:gd name="T34" fmla="*/ 1756 w 1843"/>
                <a:gd name="T35" fmla="*/ 382 h 422"/>
                <a:gd name="T36" fmla="*/ 1727 w 1843"/>
                <a:gd name="T37" fmla="*/ 400 h 422"/>
                <a:gd name="T38" fmla="*/ 1697 w 1843"/>
                <a:gd name="T39" fmla="*/ 412 h 422"/>
                <a:gd name="T40" fmla="*/ 1665 w 1843"/>
                <a:gd name="T41" fmla="*/ 420 h 422"/>
                <a:gd name="T42" fmla="*/ 1630 w 1843"/>
                <a:gd name="T43" fmla="*/ 422 h 422"/>
                <a:gd name="T44" fmla="*/ 212 w 1843"/>
                <a:gd name="T45" fmla="*/ 422 h 422"/>
                <a:gd name="T46" fmla="*/ 178 w 1843"/>
                <a:gd name="T47" fmla="*/ 420 h 422"/>
                <a:gd name="T48" fmla="*/ 145 w 1843"/>
                <a:gd name="T49" fmla="*/ 412 h 422"/>
                <a:gd name="T50" fmla="*/ 115 w 1843"/>
                <a:gd name="T51" fmla="*/ 400 h 422"/>
                <a:gd name="T52" fmla="*/ 87 w 1843"/>
                <a:gd name="T53" fmla="*/ 382 h 422"/>
                <a:gd name="T54" fmla="*/ 62 w 1843"/>
                <a:gd name="T55" fmla="*/ 361 h 422"/>
                <a:gd name="T56" fmla="*/ 41 w 1843"/>
                <a:gd name="T57" fmla="*/ 336 h 422"/>
                <a:gd name="T58" fmla="*/ 24 w 1843"/>
                <a:gd name="T59" fmla="*/ 309 h 422"/>
                <a:gd name="T60" fmla="*/ 10 w 1843"/>
                <a:gd name="T61" fmla="*/ 278 h 422"/>
                <a:gd name="T62" fmla="*/ 3 w 1843"/>
                <a:gd name="T63" fmla="*/ 246 h 422"/>
                <a:gd name="T64" fmla="*/ 0 w 1843"/>
                <a:gd name="T65" fmla="*/ 211 h 422"/>
                <a:gd name="T66" fmla="*/ 3 w 1843"/>
                <a:gd name="T67" fmla="*/ 177 h 422"/>
                <a:gd name="T68" fmla="*/ 10 w 1843"/>
                <a:gd name="T69" fmla="*/ 145 h 422"/>
                <a:gd name="T70" fmla="*/ 24 w 1843"/>
                <a:gd name="T71" fmla="*/ 115 h 422"/>
                <a:gd name="T72" fmla="*/ 41 w 1843"/>
                <a:gd name="T73" fmla="*/ 86 h 422"/>
                <a:gd name="T74" fmla="*/ 62 w 1843"/>
                <a:gd name="T75" fmla="*/ 63 h 422"/>
                <a:gd name="T76" fmla="*/ 87 w 1843"/>
                <a:gd name="T77" fmla="*/ 42 h 422"/>
                <a:gd name="T78" fmla="*/ 115 w 1843"/>
                <a:gd name="T79" fmla="*/ 24 h 422"/>
                <a:gd name="T80" fmla="*/ 145 w 1843"/>
                <a:gd name="T81" fmla="*/ 12 h 422"/>
                <a:gd name="T82" fmla="*/ 178 w 1843"/>
                <a:gd name="T83" fmla="*/ 3 h 422"/>
                <a:gd name="T84" fmla="*/ 212 w 1843"/>
                <a:gd name="T85" fmla="*/ 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843" h="422">
                  <a:moveTo>
                    <a:pt x="212" y="0"/>
                  </a:moveTo>
                  <a:lnTo>
                    <a:pt x="1630" y="0"/>
                  </a:lnTo>
                  <a:lnTo>
                    <a:pt x="1665" y="3"/>
                  </a:lnTo>
                  <a:lnTo>
                    <a:pt x="1697" y="12"/>
                  </a:lnTo>
                  <a:lnTo>
                    <a:pt x="1727" y="24"/>
                  </a:lnTo>
                  <a:lnTo>
                    <a:pt x="1756" y="42"/>
                  </a:lnTo>
                  <a:lnTo>
                    <a:pt x="1781" y="63"/>
                  </a:lnTo>
                  <a:lnTo>
                    <a:pt x="1802" y="86"/>
                  </a:lnTo>
                  <a:lnTo>
                    <a:pt x="1819" y="115"/>
                  </a:lnTo>
                  <a:lnTo>
                    <a:pt x="1832" y="145"/>
                  </a:lnTo>
                  <a:lnTo>
                    <a:pt x="1839" y="177"/>
                  </a:lnTo>
                  <a:lnTo>
                    <a:pt x="1843" y="211"/>
                  </a:lnTo>
                  <a:lnTo>
                    <a:pt x="1839" y="246"/>
                  </a:lnTo>
                  <a:lnTo>
                    <a:pt x="1832" y="278"/>
                  </a:lnTo>
                  <a:lnTo>
                    <a:pt x="1819" y="309"/>
                  </a:lnTo>
                  <a:lnTo>
                    <a:pt x="1802" y="336"/>
                  </a:lnTo>
                  <a:lnTo>
                    <a:pt x="1781" y="361"/>
                  </a:lnTo>
                  <a:lnTo>
                    <a:pt x="1756" y="382"/>
                  </a:lnTo>
                  <a:lnTo>
                    <a:pt x="1727" y="400"/>
                  </a:lnTo>
                  <a:lnTo>
                    <a:pt x="1697" y="412"/>
                  </a:lnTo>
                  <a:lnTo>
                    <a:pt x="1665" y="420"/>
                  </a:lnTo>
                  <a:lnTo>
                    <a:pt x="1630" y="422"/>
                  </a:lnTo>
                  <a:lnTo>
                    <a:pt x="212" y="422"/>
                  </a:lnTo>
                  <a:lnTo>
                    <a:pt x="178" y="420"/>
                  </a:lnTo>
                  <a:lnTo>
                    <a:pt x="145" y="412"/>
                  </a:lnTo>
                  <a:lnTo>
                    <a:pt x="115" y="400"/>
                  </a:lnTo>
                  <a:lnTo>
                    <a:pt x="87" y="382"/>
                  </a:lnTo>
                  <a:lnTo>
                    <a:pt x="62" y="361"/>
                  </a:lnTo>
                  <a:lnTo>
                    <a:pt x="41" y="336"/>
                  </a:lnTo>
                  <a:lnTo>
                    <a:pt x="24" y="309"/>
                  </a:lnTo>
                  <a:lnTo>
                    <a:pt x="10" y="278"/>
                  </a:lnTo>
                  <a:lnTo>
                    <a:pt x="3" y="246"/>
                  </a:lnTo>
                  <a:lnTo>
                    <a:pt x="0" y="211"/>
                  </a:lnTo>
                  <a:lnTo>
                    <a:pt x="3" y="177"/>
                  </a:lnTo>
                  <a:lnTo>
                    <a:pt x="10" y="145"/>
                  </a:lnTo>
                  <a:lnTo>
                    <a:pt x="24" y="115"/>
                  </a:lnTo>
                  <a:lnTo>
                    <a:pt x="41" y="86"/>
                  </a:lnTo>
                  <a:lnTo>
                    <a:pt x="62" y="63"/>
                  </a:lnTo>
                  <a:lnTo>
                    <a:pt x="87" y="42"/>
                  </a:lnTo>
                  <a:lnTo>
                    <a:pt x="115" y="24"/>
                  </a:lnTo>
                  <a:lnTo>
                    <a:pt x="145" y="12"/>
                  </a:lnTo>
                  <a:lnTo>
                    <a:pt x="178" y="3"/>
                  </a:lnTo>
                  <a:lnTo>
                    <a:pt x="21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0" name="Freeform 214">
              <a:extLst>
                <a:ext uri="{FF2B5EF4-FFF2-40B4-BE49-F238E27FC236}">
                  <a16:creationId xmlns:a16="http://schemas.microsoft.com/office/drawing/2014/main" id="{B48177D3-6D8D-44F5-811B-92480EB06EC1}"/>
                </a:ext>
              </a:extLst>
            </p:cNvPr>
            <p:cNvSpPr>
              <a:spLocks/>
            </p:cNvSpPr>
            <p:nvPr/>
          </p:nvSpPr>
          <p:spPr bwMode="auto">
            <a:xfrm>
              <a:off x="5215" y="3356"/>
              <a:ext cx="103" cy="39"/>
            </a:xfrm>
            <a:custGeom>
              <a:avLst/>
              <a:gdLst>
                <a:gd name="T0" fmla="*/ 212 w 1134"/>
                <a:gd name="T1" fmla="*/ 0 h 422"/>
                <a:gd name="T2" fmla="*/ 921 w 1134"/>
                <a:gd name="T3" fmla="*/ 0 h 422"/>
                <a:gd name="T4" fmla="*/ 956 w 1134"/>
                <a:gd name="T5" fmla="*/ 2 h 422"/>
                <a:gd name="T6" fmla="*/ 988 w 1134"/>
                <a:gd name="T7" fmla="*/ 10 h 422"/>
                <a:gd name="T8" fmla="*/ 1019 w 1134"/>
                <a:gd name="T9" fmla="*/ 22 h 422"/>
                <a:gd name="T10" fmla="*/ 1047 w 1134"/>
                <a:gd name="T11" fmla="*/ 40 h 422"/>
                <a:gd name="T12" fmla="*/ 1072 w 1134"/>
                <a:gd name="T13" fmla="*/ 61 h 422"/>
                <a:gd name="T14" fmla="*/ 1093 w 1134"/>
                <a:gd name="T15" fmla="*/ 86 h 422"/>
                <a:gd name="T16" fmla="*/ 1110 w 1134"/>
                <a:gd name="T17" fmla="*/ 113 h 422"/>
                <a:gd name="T18" fmla="*/ 1123 w 1134"/>
                <a:gd name="T19" fmla="*/ 144 h 422"/>
                <a:gd name="T20" fmla="*/ 1132 w 1134"/>
                <a:gd name="T21" fmla="*/ 176 h 422"/>
                <a:gd name="T22" fmla="*/ 1134 w 1134"/>
                <a:gd name="T23" fmla="*/ 211 h 422"/>
                <a:gd name="T24" fmla="*/ 1132 w 1134"/>
                <a:gd name="T25" fmla="*/ 245 h 422"/>
                <a:gd name="T26" fmla="*/ 1123 w 1134"/>
                <a:gd name="T27" fmla="*/ 277 h 422"/>
                <a:gd name="T28" fmla="*/ 1110 w 1134"/>
                <a:gd name="T29" fmla="*/ 307 h 422"/>
                <a:gd name="T30" fmla="*/ 1093 w 1134"/>
                <a:gd name="T31" fmla="*/ 335 h 422"/>
                <a:gd name="T32" fmla="*/ 1072 w 1134"/>
                <a:gd name="T33" fmla="*/ 359 h 422"/>
                <a:gd name="T34" fmla="*/ 1047 w 1134"/>
                <a:gd name="T35" fmla="*/ 381 h 422"/>
                <a:gd name="T36" fmla="*/ 1019 w 1134"/>
                <a:gd name="T37" fmla="*/ 398 h 422"/>
                <a:gd name="T38" fmla="*/ 988 w 1134"/>
                <a:gd name="T39" fmla="*/ 410 h 422"/>
                <a:gd name="T40" fmla="*/ 956 w 1134"/>
                <a:gd name="T41" fmla="*/ 419 h 422"/>
                <a:gd name="T42" fmla="*/ 921 w 1134"/>
                <a:gd name="T43" fmla="*/ 422 h 422"/>
                <a:gd name="T44" fmla="*/ 212 w 1134"/>
                <a:gd name="T45" fmla="*/ 422 h 422"/>
                <a:gd name="T46" fmla="*/ 178 w 1134"/>
                <a:gd name="T47" fmla="*/ 419 h 422"/>
                <a:gd name="T48" fmla="*/ 145 w 1134"/>
                <a:gd name="T49" fmla="*/ 410 h 422"/>
                <a:gd name="T50" fmla="*/ 115 w 1134"/>
                <a:gd name="T51" fmla="*/ 398 h 422"/>
                <a:gd name="T52" fmla="*/ 87 w 1134"/>
                <a:gd name="T53" fmla="*/ 381 h 422"/>
                <a:gd name="T54" fmla="*/ 62 w 1134"/>
                <a:gd name="T55" fmla="*/ 359 h 422"/>
                <a:gd name="T56" fmla="*/ 41 w 1134"/>
                <a:gd name="T57" fmla="*/ 335 h 422"/>
                <a:gd name="T58" fmla="*/ 24 w 1134"/>
                <a:gd name="T59" fmla="*/ 307 h 422"/>
                <a:gd name="T60" fmla="*/ 10 w 1134"/>
                <a:gd name="T61" fmla="*/ 277 h 422"/>
                <a:gd name="T62" fmla="*/ 3 w 1134"/>
                <a:gd name="T63" fmla="*/ 245 h 422"/>
                <a:gd name="T64" fmla="*/ 0 w 1134"/>
                <a:gd name="T65" fmla="*/ 211 h 422"/>
                <a:gd name="T66" fmla="*/ 3 w 1134"/>
                <a:gd name="T67" fmla="*/ 176 h 422"/>
                <a:gd name="T68" fmla="*/ 10 w 1134"/>
                <a:gd name="T69" fmla="*/ 144 h 422"/>
                <a:gd name="T70" fmla="*/ 24 w 1134"/>
                <a:gd name="T71" fmla="*/ 113 h 422"/>
                <a:gd name="T72" fmla="*/ 41 w 1134"/>
                <a:gd name="T73" fmla="*/ 86 h 422"/>
                <a:gd name="T74" fmla="*/ 62 w 1134"/>
                <a:gd name="T75" fmla="*/ 61 h 422"/>
                <a:gd name="T76" fmla="*/ 87 w 1134"/>
                <a:gd name="T77" fmla="*/ 40 h 422"/>
                <a:gd name="T78" fmla="*/ 115 w 1134"/>
                <a:gd name="T79" fmla="*/ 22 h 422"/>
                <a:gd name="T80" fmla="*/ 145 w 1134"/>
                <a:gd name="T81" fmla="*/ 10 h 422"/>
                <a:gd name="T82" fmla="*/ 178 w 1134"/>
                <a:gd name="T83" fmla="*/ 2 h 422"/>
                <a:gd name="T84" fmla="*/ 212 w 1134"/>
                <a:gd name="T85" fmla="*/ 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134" h="422">
                  <a:moveTo>
                    <a:pt x="212" y="0"/>
                  </a:moveTo>
                  <a:lnTo>
                    <a:pt x="921" y="0"/>
                  </a:lnTo>
                  <a:lnTo>
                    <a:pt x="956" y="2"/>
                  </a:lnTo>
                  <a:lnTo>
                    <a:pt x="988" y="10"/>
                  </a:lnTo>
                  <a:lnTo>
                    <a:pt x="1019" y="22"/>
                  </a:lnTo>
                  <a:lnTo>
                    <a:pt x="1047" y="40"/>
                  </a:lnTo>
                  <a:lnTo>
                    <a:pt x="1072" y="61"/>
                  </a:lnTo>
                  <a:lnTo>
                    <a:pt x="1093" y="86"/>
                  </a:lnTo>
                  <a:lnTo>
                    <a:pt x="1110" y="113"/>
                  </a:lnTo>
                  <a:lnTo>
                    <a:pt x="1123" y="144"/>
                  </a:lnTo>
                  <a:lnTo>
                    <a:pt x="1132" y="176"/>
                  </a:lnTo>
                  <a:lnTo>
                    <a:pt x="1134" y="211"/>
                  </a:lnTo>
                  <a:lnTo>
                    <a:pt x="1132" y="245"/>
                  </a:lnTo>
                  <a:lnTo>
                    <a:pt x="1123" y="277"/>
                  </a:lnTo>
                  <a:lnTo>
                    <a:pt x="1110" y="307"/>
                  </a:lnTo>
                  <a:lnTo>
                    <a:pt x="1093" y="335"/>
                  </a:lnTo>
                  <a:lnTo>
                    <a:pt x="1072" y="359"/>
                  </a:lnTo>
                  <a:lnTo>
                    <a:pt x="1047" y="381"/>
                  </a:lnTo>
                  <a:lnTo>
                    <a:pt x="1019" y="398"/>
                  </a:lnTo>
                  <a:lnTo>
                    <a:pt x="988" y="410"/>
                  </a:lnTo>
                  <a:lnTo>
                    <a:pt x="956" y="419"/>
                  </a:lnTo>
                  <a:lnTo>
                    <a:pt x="921" y="422"/>
                  </a:lnTo>
                  <a:lnTo>
                    <a:pt x="212" y="422"/>
                  </a:lnTo>
                  <a:lnTo>
                    <a:pt x="178" y="419"/>
                  </a:lnTo>
                  <a:lnTo>
                    <a:pt x="145" y="410"/>
                  </a:lnTo>
                  <a:lnTo>
                    <a:pt x="115" y="398"/>
                  </a:lnTo>
                  <a:lnTo>
                    <a:pt x="87" y="381"/>
                  </a:lnTo>
                  <a:lnTo>
                    <a:pt x="62" y="359"/>
                  </a:lnTo>
                  <a:lnTo>
                    <a:pt x="41" y="335"/>
                  </a:lnTo>
                  <a:lnTo>
                    <a:pt x="24" y="307"/>
                  </a:lnTo>
                  <a:lnTo>
                    <a:pt x="10" y="277"/>
                  </a:lnTo>
                  <a:lnTo>
                    <a:pt x="3" y="245"/>
                  </a:lnTo>
                  <a:lnTo>
                    <a:pt x="0" y="211"/>
                  </a:lnTo>
                  <a:lnTo>
                    <a:pt x="3" y="176"/>
                  </a:lnTo>
                  <a:lnTo>
                    <a:pt x="10" y="144"/>
                  </a:lnTo>
                  <a:lnTo>
                    <a:pt x="24" y="113"/>
                  </a:lnTo>
                  <a:lnTo>
                    <a:pt x="41" y="86"/>
                  </a:lnTo>
                  <a:lnTo>
                    <a:pt x="62" y="61"/>
                  </a:lnTo>
                  <a:lnTo>
                    <a:pt x="87" y="40"/>
                  </a:lnTo>
                  <a:lnTo>
                    <a:pt x="115" y="22"/>
                  </a:lnTo>
                  <a:lnTo>
                    <a:pt x="145" y="10"/>
                  </a:lnTo>
                  <a:lnTo>
                    <a:pt x="178" y="2"/>
                  </a:lnTo>
                  <a:lnTo>
                    <a:pt x="21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1" name="Freeform 215">
              <a:extLst>
                <a:ext uri="{FF2B5EF4-FFF2-40B4-BE49-F238E27FC236}">
                  <a16:creationId xmlns:a16="http://schemas.microsoft.com/office/drawing/2014/main" id="{432E6531-A113-4306-A262-7AE02EF01E80}"/>
                </a:ext>
              </a:extLst>
            </p:cNvPr>
            <p:cNvSpPr>
              <a:spLocks/>
            </p:cNvSpPr>
            <p:nvPr/>
          </p:nvSpPr>
          <p:spPr bwMode="auto">
            <a:xfrm>
              <a:off x="5215" y="3305"/>
              <a:ext cx="135" cy="38"/>
            </a:xfrm>
            <a:custGeom>
              <a:avLst/>
              <a:gdLst>
                <a:gd name="T0" fmla="*/ 212 w 1489"/>
                <a:gd name="T1" fmla="*/ 0 h 422"/>
                <a:gd name="T2" fmla="*/ 1275 w 1489"/>
                <a:gd name="T3" fmla="*/ 0 h 422"/>
                <a:gd name="T4" fmla="*/ 1310 w 1489"/>
                <a:gd name="T5" fmla="*/ 3 h 422"/>
                <a:gd name="T6" fmla="*/ 1343 w 1489"/>
                <a:gd name="T7" fmla="*/ 11 h 422"/>
                <a:gd name="T8" fmla="*/ 1374 w 1489"/>
                <a:gd name="T9" fmla="*/ 24 h 422"/>
                <a:gd name="T10" fmla="*/ 1401 w 1489"/>
                <a:gd name="T11" fmla="*/ 40 h 422"/>
                <a:gd name="T12" fmla="*/ 1426 w 1489"/>
                <a:gd name="T13" fmla="*/ 62 h 422"/>
                <a:gd name="T14" fmla="*/ 1447 w 1489"/>
                <a:gd name="T15" fmla="*/ 86 h 422"/>
                <a:gd name="T16" fmla="*/ 1465 w 1489"/>
                <a:gd name="T17" fmla="*/ 114 h 422"/>
                <a:gd name="T18" fmla="*/ 1477 w 1489"/>
                <a:gd name="T19" fmla="*/ 144 h 422"/>
                <a:gd name="T20" fmla="*/ 1486 w 1489"/>
                <a:gd name="T21" fmla="*/ 177 h 422"/>
                <a:gd name="T22" fmla="*/ 1489 w 1489"/>
                <a:gd name="T23" fmla="*/ 211 h 422"/>
                <a:gd name="T24" fmla="*/ 1486 w 1489"/>
                <a:gd name="T25" fmla="*/ 245 h 422"/>
                <a:gd name="T26" fmla="*/ 1477 w 1489"/>
                <a:gd name="T27" fmla="*/ 278 h 422"/>
                <a:gd name="T28" fmla="*/ 1465 w 1489"/>
                <a:gd name="T29" fmla="*/ 309 h 422"/>
                <a:gd name="T30" fmla="*/ 1447 w 1489"/>
                <a:gd name="T31" fmla="*/ 336 h 422"/>
                <a:gd name="T32" fmla="*/ 1426 w 1489"/>
                <a:gd name="T33" fmla="*/ 361 h 422"/>
                <a:gd name="T34" fmla="*/ 1401 w 1489"/>
                <a:gd name="T35" fmla="*/ 382 h 422"/>
                <a:gd name="T36" fmla="*/ 1374 w 1489"/>
                <a:gd name="T37" fmla="*/ 399 h 422"/>
                <a:gd name="T38" fmla="*/ 1343 w 1489"/>
                <a:gd name="T39" fmla="*/ 412 h 422"/>
                <a:gd name="T40" fmla="*/ 1310 w 1489"/>
                <a:gd name="T41" fmla="*/ 420 h 422"/>
                <a:gd name="T42" fmla="*/ 1275 w 1489"/>
                <a:gd name="T43" fmla="*/ 422 h 422"/>
                <a:gd name="T44" fmla="*/ 212 w 1489"/>
                <a:gd name="T45" fmla="*/ 422 h 422"/>
                <a:gd name="T46" fmla="*/ 178 w 1489"/>
                <a:gd name="T47" fmla="*/ 420 h 422"/>
                <a:gd name="T48" fmla="*/ 145 w 1489"/>
                <a:gd name="T49" fmla="*/ 412 h 422"/>
                <a:gd name="T50" fmla="*/ 115 w 1489"/>
                <a:gd name="T51" fmla="*/ 399 h 422"/>
                <a:gd name="T52" fmla="*/ 87 w 1489"/>
                <a:gd name="T53" fmla="*/ 382 h 422"/>
                <a:gd name="T54" fmla="*/ 62 w 1489"/>
                <a:gd name="T55" fmla="*/ 361 h 422"/>
                <a:gd name="T56" fmla="*/ 41 w 1489"/>
                <a:gd name="T57" fmla="*/ 336 h 422"/>
                <a:gd name="T58" fmla="*/ 24 w 1489"/>
                <a:gd name="T59" fmla="*/ 309 h 422"/>
                <a:gd name="T60" fmla="*/ 10 w 1489"/>
                <a:gd name="T61" fmla="*/ 278 h 422"/>
                <a:gd name="T62" fmla="*/ 3 w 1489"/>
                <a:gd name="T63" fmla="*/ 245 h 422"/>
                <a:gd name="T64" fmla="*/ 0 w 1489"/>
                <a:gd name="T65" fmla="*/ 211 h 422"/>
                <a:gd name="T66" fmla="*/ 3 w 1489"/>
                <a:gd name="T67" fmla="*/ 177 h 422"/>
                <a:gd name="T68" fmla="*/ 10 w 1489"/>
                <a:gd name="T69" fmla="*/ 144 h 422"/>
                <a:gd name="T70" fmla="*/ 24 w 1489"/>
                <a:gd name="T71" fmla="*/ 114 h 422"/>
                <a:gd name="T72" fmla="*/ 41 w 1489"/>
                <a:gd name="T73" fmla="*/ 86 h 422"/>
                <a:gd name="T74" fmla="*/ 62 w 1489"/>
                <a:gd name="T75" fmla="*/ 62 h 422"/>
                <a:gd name="T76" fmla="*/ 87 w 1489"/>
                <a:gd name="T77" fmla="*/ 40 h 422"/>
                <a:gd name="T78" fmla="*/ 115 w 1489"/>
                <a:gd name="T79" fmla="*/ 24 h 422"/>
                <a:gd name="T80" fmla="*/ 145 w 1489"/>
                <a:gd name="T81" fmla="*/ 11 h 422"/>
                <a:gd name="T82" fmla="*/ 178 w 1489"/>
                <a:gd name="T83" fmla="*/ 3 h 422"/>
                <a:gd name="T84" fmla="*/ 212 w 1489"/>
                <a:gd name="T85" fmla="*/ 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89" h="422">
                  <a:moveTo>
                    <a:pt x="212" y="0"/>
                  </a:moveTo>
                  <a:lnTo>
                    <a:pt x="1275" y="0"/>
                  </a:lnTo>
                  <a:lnTo>
                    <a:pt x="1310" y="3"/>
                  </a:lnTo>
                  <a:lnTo>
                    <a:pt x="1343" y="11"/>
                  </a:lnTo>
                  <a:lnTo>
                    <a:pt x="1374" y="24"/>
                  </a:lnTo>
                  <a:lnTo>
                    <a:pt x="1401" y="40"/>
                  </a:lnTo>
                  <a:lnTo>
                    <a:pt x="1426" y="62"/>
                  </a:lnTo>
                  <a:lnTo>
                    <a:pt x="1447" y="86"/>
                  </a:lnTo>
                  <a:lnTo>
                    <a:pt x="1465" y="114"/>
                  </a:lnTo>
                  <a:lnTo>
                    <a:pt x="1477" y="144"/>
                  </a:lnTo>
                  <a:lnTo>
                    <a:pt x="1486" y="177"/>
                  </a:lnTo>
                  <a:lnTo>
                    <a:pt x="1489" y="211"/>
                  </a:lnTo>
                  <a:lnTo>
                    <a:pt x="1486" y="245"/>
                  </a:lnTo>
                  <a:lnTo>
                    <a:pt x="1477" y="278"/>
                  </a:lnTo>
                  <a:lnTo>
                    <a:pt x="1465" y="309"/>
                  </a:lnTo>
                  <a:lnTo>
                    <a:pt x="1447" y="336"/>
                  </a:lnTo>
                  <a:lnTo>
                    <a:pt x="1426" y="361"/>
                  </a:lnTo>
                  <a:lnTo>
                    <a:pt x="1401" y="382"/>
                  </a:lnTo>
                  <a:lnTo>
                    <a:pt x="1374" y="399"/>
                  </a:lnTo>
                  <a:lnTo>
                    <a:pt x="1343" y="412"/>
                  </a:lnTo>
                  <a:lnTo>
                    <a:pt x="1310" y="420"/>
                  </a:lnTo>
                  <a:lnTo>
                    <a:pt x="1275" y="422"/>
                  </a:lnTo>
                  <a:lnTo>
                    <a:pt x="212" y="422"/>
                  </a:lnTo>
                  <a:lnTo>
                    <a:pt x="178" y="420"/>
                  </a:lnTo>
                  <a:lnTo>
                    <a:pt x="145" y="412"/>
                  </a:lnTo>
                  <a:lnTo>
                    <a:pt x="115" y="399"/>
                  </a:lnTo>
                  <a:lnTo>
                    <a:pt x="87" y="382"/>
                  </a:lnTo>
                  <a:lnTo>
                    <a:pt x="62" y="361"/>
                  </a:lnTo>
                  <a:lnTo>
                    <a:pt x="41" y="336"/>
                  </a:lnTo>
                  <a:lnTo>
                    <a:pt x="24" y="309"/>
                  </a:lnTo>
                  <a:lnTo>
                    <a:pt x="10" y="278"/>
                  </a:lnTo>
                  <a:lnTo>
                    <a:pt x="3" y="245"/>
                  </a:lnTo>
                  <a:lnTo>
                    <a:pt x="0" y="211"/>
                  </a:lnTo>
                  <a:lnTo>
                    <a:pt x="3" y="177"/>
                  </a:lnTo>
                  <a:lnTo>
                    <a:pt x="10" y="144"/>
                  </a:lnTo>
                  <a:lnTo>
                    <a:pt x="24" y="114"/>
                  </a:lnTo>
                  <a:lnTo>
                    <a:pt x="41" y="86"/>
                  </a:lnTo>
                  <a:lnTo>
                    <a:pt x="62" y="62"/>
                  </a:lnTo>
                  <a:lnTo>
                    <a:pt x="87" y="40"/>
                  </a:lnTo>
                  <a:lnTo>
                    <a:pt x="115" y="24"/>
                  </a:lnTo>
                  <a:lnTo>
                    <a:pt x="145" y="11"/>
                  </a:lnTo>
                  <a:lnTo>
                    <a:pt x="178" y="3"/>
                  </a:lnTo>
                  <a:lnTo>
                    <a:pt x="21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52" name="Group 630">
            <a:extLst>
              <a:ext uri="{FF2B5EF4-FFF2-40B4-BE49-F238E27FC236}">
                <a16:creationId xmlns:a16="http://schemas.microsoft.com/office/drawing/2014/main" id="{414277AF-D4F5-4341-8BCA-2BB2827A2BF0}"/>
              </a:ext>
            </a:extLst>
          </p:cNvPr>
          <p:cNvGrpSpPr>
            <a:grpSpLocks noChangeAspect="1"/>
          </p:cNvGrpSpPr>
          <p:nvPr/>
        </p:nvGrpSpPr>
        <p:grpSpPr bwMode="auto">
          <a:xfrm>
            <a:off x="6900169" y="5434014"/>
            <a:ext cx="291884" cy="290458"/>
            <a:chOff x="3028" y="3937"/>
            <a:chExt cx="205" cy="204"/>
          </a:xfrm>
          <a:solidFill>
            <a:schemeClr val="bg1"/>
          </a:solidFill>
        </p:grpSpPr>
        <p:sp>
          <p:nvSpPr>
            <p:cNvPr id="53" name="Freeform 632">
              <a:extLst>
                <a:ext uri="{FF2B5EF4-FFF2-40B4-BE49-F238E27FC236}">
                  <a16:creationId xmlns:a16="http://schemas.microsoft.com/office/drawing/2014/main" id="{F6BD77EF-3339-4C0C-B098-CDBD1BB85A7B}"/>
                </a:ext>
              </a:extLst>
            </p:cNvPr>
            <p:cNvSpPr>
              <a:spLocks/>
            </p:cNvSpPr>
            <p:nvPr/>
          </p:nvSpPr>
          <p:spPr bwMode="auto">
            <a:xfrm>
              <a:off x="3071" y="4013"/>
              <a:ext cx="76" cy="91"/>
            </a:xfrm>
            <a:custGeom>
              <a:avLst/>
              <a:gdLst>
                <a:gd name="T0" fmla="*/ 695 w 1228"/>
                <a:gd name="T1" fmla="*/ 7 h 1457"/>
                <a:gd name="T2" fmla="*/ 789 w 1228"/>
                <a:gd name="T3" fmla="*/ 42 h 1457"/>
                <a:gd name="T4" fmla="*/ 857 w 1228"/>
                <a:gd name="T5" fmla="*/ 101 h 1457"/>
                <a:gd name="T6" fmla="*/ 902 w 1228"/>
                <a:gd name="T7" fmla="*/ 175 h 1457"/>
                <a:gd name="T8" fmla="*/ 928 w 1228"/>
                <a:gd name="T9" fmla="*/ 261 h 1457"/>
                <a:gd name="T10" fmla="*/ 940 w 1228"/>
                <a:gd name="T11" fmla="*/ 350 h 1457"/>
                <a:gd name="T12" fmla="*/ 949 w 1228"/>
                <a:gd name="T13" fmla="*/ 407 h 1457"/>
                <a:gd name="T14" fmla="*/ 973 w 1228"/>
                <a:gd name="T15" fmla="*/ 407 h 1457"/>
                <a:gd name="T16" fmla="*/ 1000 w 1228"/>
                <a:gd name="T17" fmla="*/ 435 h 1457"/>
                <a:gd name="T18" fmla="*/ 1009 w 1228"/>
                <a:gd name="T19" fmla="*/ 485 h 1457"/>
                <a:gd name="T20" fmla="*/ 1009 w 1228"/>
                <a:gd name="T21" fmla="*/ 550 h 1457"/>
                <a:gd name="T22" fmla="*/ 985 w 1228"/>
                <a:gd name="T23" fmla="*/ 623 h 1457"/>
                <a:gd name="T24" fmla="*/ 944 w 1228"/>
                <a:gd name="T25" fmla="*/ 679 h 1457"/>
                <a:gd name="T26" fmla="*/ 903 w 1228"/>
                <a:gd name="T27" fmla="*/ 690 h 1457"/>
                <a:gd name="T28" fmla="*/ 856 w 1228"/>
                <a:gd name="T29" fmla="*/ 759 h 1457"/>
                <a:gd name="T30" fmla="*/ 781 w 1228"/>
                <a:gd name="T31" fmla="*/ 855 h 1457"/>
                <a:gd name="T32" fmla="*/ 764 w 1228"/>
                <a:gd name="T33" fmla="*/ 894 h 1457"/>
                <a:gd name="T34" fmla="*/ 786 w 1228"/>
                <a:gd name="T35" fmla="*/ 948 h 1457"/>
                <a:gd name="T36" fmla="*/ 839 w 1228"/>
                <a:gd name="T37" fmla="*/ 970 h 1457"/>
                <a:gd name="T38" fmla="*/ 1001 w 1228"/>
                <a:gd name="T39" fmla="*/ 980 h 1457"/>
                <a:gd name="T40" fmla="*/ 1107 w 1228"/>
                <a:gd name="T41" fmla="*/ 1033 h 1457"/>
                <a:gd name="T42" fmla="*/ 1186 w 1228"/>
                <a:gd name="T43" fmla="*/ 1121 h 1457"/>
                <a:gd name="T44" fmla="*/ 1225 w 1228"/>
                <a:gd name="T45" fmla="*/ 1234 h 1457"/>
                <a:gd name="T46" fmla="*/ 1225 w 1228"/>
                <a:gd name="T47" fmla="*/ 1382 h 1457"/>
                <a:gd name="T48" fmla="*/ 1191 w 1228"/>
                <a:gd name="T49" fmla="*/ 1436 h 1457"/>
                <a:gd name="T50" fmla="*/ 1131 w 1228"/>
                <a:gd name="T51" fmla="*/ 1457 h 1457"/>
                <a:gd name="T52" fmla="*/ 55 w 1228"/>
                <a:gd name="T53" fmla="*/ 1447 h 1457"/>
                <a:gd name="T54" fmla="*/ 10 w 1228"/>
                <a:gd name="T55" fmla="*/ 1403 h 1457"/>
                <a:gd name="T56" fmla="*/ 0 w 1228"/>
                <a:gd name="T57" fmla="*/ 1276 h 1457"/>
                <a:gd name="T58" fmla="*/ 24 w 1228"/>
                <a:gd name="T59" fmla="*/ 1156 h 1457"/>
                <a:gd name="T60" fmla="*/ 91 w 1228"/>
                <a:gd name="T61" fmla="*/ 1059 h 1457"/>
                <a:gd name="T62" fmla="*/ 189 w 1228"/>
                <a:gd name="T63" fmla="*/ 994 h 1457"/>
                <a:gd name="T64" fmla="*/ 310 w 1228"/>
                <a:gd name="T65" fmla="*/ 970 h 1457"/>
                <a:gd name="T66" fmla="*/ 427 w 1228"/>
                <a:gd name="T67" fmla="*/ 959 h 1457"/>
                <a:gd name="T68" fmla="*/ 461 w 1228"/>
                <a:gd name="T69" fmla="*/ 914 h 1457"/>
                <a:gd name="T70" fmla="*/ 456 w 1228"/>
                <a:gd name="T71" fmla="*/ 866 h 1457"/>
                <a:gd name="T72" fmla="*/ 396 w 1228"/>
                <a:gd name="T73" fmla="*/ 795 h 1457"/>
                <a:gd name="T74" fmla="*/ 334 w 1228"/>
                <a:gd name="T75" fmla="*/ 687 h 1457"/>
                <a:gd name="T76" fmla="*/ 318 w 1228"/>
                <a:gd name="T77" fmla="*/ 692 h 1457"/>
                <a:gd name="T78" fmla="*/ 274 w 1228"/>
                <a:gd name="T79" fmla="*/ 664 h 1457"/>
                <a:gd name="T80" fmla="*/ 237 w 1228"/>
                <a:gd name="T81" fmla="*/ 599 h 1457"/>
                <a:gd name="T82" fmla="*/ 221 w 1228"/>
                <a:gd name="T83" fmla="*/ 527 h 1457"/>
                <a:gd name="T84" fmla="*/ 224 w 1228"/>
                <a:gd name="T85" fmla="*/ 466 h 1457"/>
                <a:gd name="T86" fmla="*/ 239 w 1228"/>
                <a:gd name="T87" fmla="*/ 422 h 1457"/>
                <a:gd name="T88" fmla="*/ 272 w 1228"/>
                <a:gd name="T89" fmla="*/ 405 h 1457"/>
                <a:gd name="T90" fmla="*/ 286 w 1228"/>
                <a:gd name="T91" fmla="*/ 378 h 1457"/>
                <a:gd name="T92" fmla="*/ 293 w 1228"/>
                <a:gd name="T93" fmla="*/ 289 h 1457"/>
                <a:gd name="T94" fmla="*/ 312 w 1228"/>
                <a:gd name="T95" fmla="*/ 202 h 1457"/>
                <a:gd name="T96" fmla="*/ 348 w 1228"/>
                <a:gd name="T97" fmla="*/ 124 h 1457"/>
                <a:gd name="T98" fmla="*/ 407 w 1228"/>
                <a:gd name="T99" fmla="*/ 60 h 1457"/>
                <a:gd name="T100" fmla="*/ 494 w 1228"/>
                <a:gd name="T101" fmla="*/ 16 h 1457"/>
                <a:gd name="T102" fmla="*/ 614 w 1228"/>
                <a:gd name="T103" fmla="*/ 0 h 1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228" h="1457">
                  <a:moveTo>
                    <a:pt x="614" y="0"/>
                  </a:moveTo>
                  <a:lnTo>
                    <a:pt x="656" y="2"/>
                  </a:lnTo>
                  <a:lnTo>
                    <a:pt x="695" y="7"/>
                  </a:lnTo>
                  <a:lnTo>
                    <a:pt x="730" y="16"/>
                  </a:lnTo>
                  <a:lnTo>
                    <a:pt x="762" y="28"/>
                  </a:lnTo>
                  <a:lnTo>
                    <a:pt x="789" y="42"/>
                  </a:lnTo>
                  <a:lnTo>
                    <a:pt x="815" y="60"/>
                  </a:lnTo>
                  <a:lnTo>
                    <a:pt x="838" y="79"/>
                  </a:lnTo>
                  <a:lnTo>
                    <a:pt x="857" y="101"/>
                  </a:lnTo>
                  <a:lnTo>
                    <a:pt x="875" y="124"/>
                  </a:lnTo>
                  <a:lnTo>
                    <a:pt x="890" y="149"/>
                  </a:lnTo>
                  <a:lnTo>
                    <a:pt x="902" y="175"/>
                  </a:lnTo>
                  <a:lnTo>
                    <a:pt x="913" y="203"/>
                  </a:lnTo>
                  <a:lnTo>
                    <a:pt x="921" y="231"/>
                  </a:lnTo>
                  <a:lnTo>
                    <a:pt x="928" y="261"/>
                  </a:lnTo>
                  <a:lnTo>
                    <a:pt x="933" y="290"/>
                  </a:lnTo>
                  <a:lnTo>
                    <a:pt x="937" y="320"/>
                  </a:lnTo>
                  <a:lnTo>
                    <a:pt x="940" y="350"/>
                  </a:lnTo>
                  <a:lnTo>
                    <a:pt x="942" y="379"/>
                  </a:lnTo>
                  <a:lnTo>
                    <a:pt x="942" y="408"/>
                  </a:lnTo>
                  <a:lnTo>
                    <a:pt x="949" y="407"/>
                  </a:lnTo>
                  <a:lnTo>
                    <a:pt x="954" y="406"/>
                  </a:lnTo>
                  <a:lnTo>
                    <a:pt x="959" y="405"/>
                  </a:lnTo>
                  <a:lnTo>
                    <a:pt x="973" y="407"/>
                  </a:lnTo>
                  <a:lnTo>
                    <a:pt x="984" y="414"/>
                  </a:lnTo>
                  <a:lnTo>
                    <a:pt x="993" y="422"/>
                  </a:lnTo>
                  <a:lnTo>
                    <a:pt x="1000" y="435"/>
                  </a:lnTo>
                  <a:lnTo>
                    <a:pt x="1004" y="448"/>
                  </a:lnTo>
                  <a:lnTo>
                    <a:pt x="1007" y="466"/>
                  </a:lnTo>
                  <a:lnTo>
                    <a:pt x="1009" y="485"/>
                  </a:lnTo>
                  <a:lnTo>
                    <a:pt x="1010" y="505"/>
                  </a:lnTo>
                  <a:lnTo>
                    <a:pt x="1010" y="527"/>
                  </a:lnTo>
                  <a:lnTo>
                    <a:pt x="1009" y="550"/>
                  </a:lnTo>
                  <a:lnTo>
                    <a:pt x="1004" y="575"/>
                  </a:lnTo>
                  <a:lnTo>
                    <a:pt x="995" y="599"/>
                  </a:lnTo>
                  <a:lnTo>
                    <a:pt x="985" y="623"/>
                  </a:lnTo>
                  <a:lnTo>
                    <a:pt x="972" y="645"/>
                  </a:lnTo>
                  <a:lnTo>
                    <a:pt x="958" y="664"/>
                  </a:lnTo>
                  <a:lnTo>
                    <a:pt x="944" y="679"/>
                  </a:lnTo>
                  <a:lnTo>
                    <a:pt x="929" y="688"/>
                  </a:lnTo>
                  <a:lnTo>
                    <a:pt x="913" y="692"/>
                  </a:lnTo>
                  <a:lnTo>
                    <a:pt x="903" y="690"/>
                  </a:lnTo>
                  <a:lnTo>
                    <a:pt x="895" y="685"/>
                  </a:lnTo>
                  <a:lnTo>
                    <a:pt x="876" y="723"/>
                  </a:lnTo>
                  <a:lnTo>
                    <a:pt x="856" y="759"/>
                  </a:lnTo>
                  <a:lnTo>
                    <a:pt x="832" y="794"/>
                  </a:lnTo>
                  <a:lnTo>
                    <a:pt x="808" y="825"/>
                  </a:lnTo>
                  <a:lnTo>
                    <a:pt x="781" y="855"/>
                  </a:lnTo>
                  <a:lnTo>
                    <a:pt x="771" y="866"/>
                  </a:lnTo>
                  <a:lnTo>
                    <a:pt x="766" y="880"/>
                  </a:lnTo>
                  <a:lnTo>
                    <a:pt x="764" y="894"/>
                  </a:lnTo>
                  <a:lnTo>
                    <a:pt x="766" y="914"/>
                  </a:lnTo>
                  <a:lnTo>
                    <a:pt x="774" y="932"/>
                  </a:lnTo>
                  <a:lnTo>
                    <a:pt x="786" y="948"/>
                  </a:lnTo>
                  <a:lnTo>
                    <a:pt x="801" y="959"/>
                  </a:lnTo>
                  <a:lnTo>
                    <a:pt x="819" y="967"/>
                  </a:lnTo>
                  <a:lnTo>
                    <a:pt x="839" y="970"/>
                  </a:lnTo>
                  <a:lnTo>
                    <a:pt x="919" y="970"/>
                  </a:lnTo>
                  <a:lnTo>
                    <a:pt x="960" y="972"/>
                  </a:lnTo>
                  <a:lnTo>
                    <a:pt x="1001" y="980"/>
                  </a:lnTo>
                  <a:lnTo>
                    <a:pt x="1039" y="994"/>
                  </a:lnTo>
                  <a:lnTo>
                    <a:pt x="1075" y="1011"/>
                  </a:lnTo>
                  <a:lnTo>
                    <a:pt x="1107" y="1033"/>
                  </a:lnTo>
                  <a:lnTo>
                    <a:pt x="1137" y="1059"/>
                  </a:lnTo>
                  <a:lnTo>
                    <a:pt x="1164" y="1088"/>
                  </a:lnTo>
                  <a:lnTo>
                    <a:pt x="1186" y="1121"/>
                  </a:lnTo>
                  <a:lnTo>
                    <a:pt x="1204" y="1156"/>
                  </a:lnTo>
                  <a:lnTo>
                    <a:pt x="1216" y="1194"/>
                  </a:lnTo>
                  <a:lnTo>
                    <a:pt x="1225" y="1234"/>
                  </a:lnTo>
                  <a:lnTo>
                    <a:pt x="1228" y="1276"/>
                  </a:lnTo>
                  <a:lnTo>
                    <a:pt x="1228" y="1360"/>
                  </a:lnTo>
                  <a:lnTo>
                    <a:pt x="1225" y="1382"/>
                  </a:lnTo>
                  <a:lnTo>
                    <a:pt x="1217" y="1403"/>
                  </a:lnTo>
                  <a:lnTo>
                    <a:pt x="1206" y="1421"/>
                  </a:lnTo>
                  <a:lnTo>
                    <a:pt x="1191" y="1436"/>
                  </a:lnTo>
                  <a:lnTo>
                    <a:pt x="1173" y="1447"/>
                  </a:lnTo>
                  <a:lnTo>
                    <a:pt x="1153" y="1455"/>
                  </a:lnTo>
                  <a:lnTo>
                    <a:pt x="1131" y="1457"/>
                  </a:lnTo>
                  <a:lnTo>
                    <a:pt x="97" y="1457"/>
                  </a:lnTo>
                  <a:lnTo>
                    <a:pt x="75" y="1455"/>
                  </a:lnTo>
                  <a:lnTo>
                    <a:pt x="55" y="1447"/>
                  </a:lnTo>
                  <a:lnTo>
                    <a:pt x="37" y="1436"/>
                  </a:lnTo>
                  <a:lnTo>
                    <a:pt x="21" y="1421"/>
                  </a:lnTo>
                  <a:lnTo>
                    <a:pt x="10" y="1403"/>
                  </a:lnTo>
                  <a:lnTo>
                    <a:pt x="3" y="1382"/>
                  </a:lnTo>
                  <a:lnTo>
                    <a:pt x="0" y="1360"/>
                  </a:lnTo>
                  <a:lnTo>
                    <a:pt x="0" y="1276"/>
                  </a:lnTo>
                  <a:lnTo>
                    <a:pt x="3" y="1234"/>
                  </a:lnTo>
                  <a:lnTo>
                    <a:pt x="11" y="1194"/>
                  </a:lnTo>
                  <a:lnTo>
                    <a:pt x="24" y="1156"/>
                  </a:lnTo>
                  <a:lnTo>
                    <a:pt x="42" y="1121"/>
                  </a:lnTo>
                  <a:lnTo>
                    <a:pt x="65" y="1088"/>
                  </a:lnTo>
                  <a:lnTo>
                    <a:pt x="91" y="1059"/>
                  </a:lnTo>
                  <a:lnTo>
                    <a:pt x="121" y="1033"/>
                  </a:lnTo>
                  <a:lnTo>
                    <a:pt x="154" y="1011"/>
                  </a:lnTo>
                  <a:lnTo>
                    <a:pt x="189" y="994"/>
                  </a:lnTo>
                  <a:lnTo>
                    <a:pt x="228" y="980"/>
                  </a:lnTo>
                  <a:lnTo>
                    <a:pt x="268" y="972"/>
                  </a:lnTo>
                  <a:lnTo>
                    <a:pt x="310" y="970"/>
                  </a:lnTo>
                  <a:lnTo>
                    <a:pt x="389" y="970"/>
                  </a:lnTo>
                  <a:lnTo>
                    <a:pt x="409" y="967"/>
                  </a:lnTo>
                  <a:lnTo>
                    <a:pt x="427" y="959"/>
                  </a:lnTo>
                  <a:lnTo>
                    <a:pt x="442" y="948"/>
                  </a:lnTo>
                  <a:lnTo>
                    <a:pt x="454" y="932"/>
                  </a:lnTo>
                  <a:lnTo>
                    <a:pt x="461" y="914"/>
                  </a:lnTo>
                  <a:lnTo>
                    <a:pt x="464" y="894"/>
                  </a:lnTo>
                  <a:lnTo>
                    <a:pt x="462" y="880"/>
                  </a:lnTo>
                  <a:lnTo>
                    <a:pt x="456" y="866"/>
                  </a:lnTo>
                  <a:lnTo>
                    <a:pt x="448" y="855"/>
                  </a:lnTo>
                  <a:lnTo>
                    <a:pt x="420" y="826"/>
                  </a:lnTo>
                  <a:lnTo>
                    <a:pt x="396" y="795"/>
                  </a:lnTo>
                  <a:lnTo>
                    <a:pt x="373" y="761"/>
                  </a:lnTo>
                  <a:lnTo>
                    <a:pt x="352" y="725"/>
                  </a:lnTo>
                  <a:lnTo>
                    <a:pt x="334" y="687"/>
                  </a:lnTo>
                  <a:lnTo>
                    <a:pt x="329" y="690"/>
                  </a:lnTo>
                  <a:lnTo>
                    <a:pt x="324" y="691"/>
                  </a:lnTo>
                  <a:lnTo>
                    <a:pt x="318" y="692"/>
                  </a:lnTo>
                  <a:lnTo>
                    <a:pt x="304" y="688"/>
                  </a:lnTo>
                  <a:lnTo>
                    <a:pt x="289" y="679"/>
                  </a:lnTo>
                  <a:lnTo>
                    <a:pt x="274" y="664"/>
                  </a:lnTo>
                  <a:lnTo>
                    <a:pt x="259" y="645"/>
                  </a:lnTo>
                  <a:lnTo>
                    <a:pt x="248" y="623"/>
                  </a:lnTo>
                  <a:lnTo>
                    <a:pt x="237" y="599"/>
                  </a:lnTo>
                  <a:lnTo>
                    <a:pt x="229" y="575"/>
                  </a:lnTo>
                  <a:lnTo>
                    <a:pt x="223" y="550"/>
                  </a:lnTo>
                  <a:lnTo>
                    <a:pt x="221" y="527"/>
                  </a:lnTo>
                  <a:lnTo>
                    <a:pt x="221" y="505"/>
                  </a:lnTo>
                  <a:lnTo>
                    <a:pt x="222" y="485"/>
                  </a:lnTo>
                  <a:lnTo>
                    <a:pt x="224" y="466"/>
                  </a:lnTo>
                  <a:lnTo>
                    <a:pt x="228" y="448"/>
                  </a:lnTo>
                  <a:lnTo>
                    <a:pt x="233" y="435"/>
                  </a:lnTo>
                  <a:lnTo>
                    <a:pt x="239" y="422"/>
                  </a:lnTo>
                  <a:lnTo>
                    <a:pt x="248" y="414"/>
                  </a:lnTo>
                  <a:lnTo>
                    <a:pt x="259" y="407"/>
                  </a:lnTo>
                  <a:lnTo>
                    <a:pt x="272" y="405"/>
                  </a:lnTo>
                  <a:lnTo>
                    <a:pt x="278" y="406"/>
                  </a:lnTo>
                  <a:lnTo>
                    <a:pt x="285" y="407"/>
                  </a:lnTo>
                  <a:lnTo>
                    <a:pt x="286" y="378"/>
                  </a:lnTo>
                  <a:lnTo>
                    <a:pt x="287" y="349"/>
                  </a:lnTo>
                  <a:lnTo>
                    <a:pt x="289" y="319"/>
                  </a:lnTo>
                  <a:lnTo>
                    <a:pt x="293" y="289"/>
                  </a:lnTo>
                  <a:lnTo>
                    <a:pt x="297" y="260"/>
                  </a:lnTo>
                  <a:lnTo>
                    <a:pt x="304" y="230"/>
                  </a:lnTo>
                  <a:lnTo>
                    <a:pt x="312" y="202"/>
                  </a:lnTo>
                  <a:lnTo>
                    <a:pt x="322" y="175"/>
                  </a:lnTo>
                  <a:lnTo>
                    <a:pt x="334" y="149"/>
                  </a:lnTo>
                  <a:lnTo>
                    <a:pt x="348" y="124"/>
                  </a:lnTo>
                  <a:lnTo>
                    <a:pt x="365" y="101"/>
                  </a:lnTo>
                  <a:lnTo>
                    <a:pt x="385" y="79"/>
                  </a:lnTo>
                  <a:lnTo>
                    <a:pt x="407" y="60"/>
                  </a:lnTo>
                  <a:lnTo>
                    <a:pt x="433" y="42"/>
                  </a:lnTo>
                  <a:lnTo>
                    <a:pt x="461" y="28"/>
                  </a:lnTo>
                  <a:lnTo>
                    <a:pt x="494" y="16"/>
                  </a:lnTo>
                  <a:lnTo>
                    <a:pt x="530" y="7"/>
                  </a:lnTo>
                  <a:lnTo>
                    <a:pt x="570" y="2"/>
                  </a:lnTo>
                  <a:lnTo>
                    <a:pt x="61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4" name="Freeform 633">
              <a:extLst>
                <a:ext uri="{FF2B5EF4-FFF2-40B4-BE49-F238E27FC236}">
                  <a16:creationId xmlns:a16="http://schemas.microsoft.com/office/drawing/2014/main" id="{8B4514EE-CF31-46B4-9474-2D2483D8109D}"/>
                </a:ext>
              </a:extLst>
            </p:cNvPr>
            <p:cNvSpPr>
              <a:spLocks/>
            </p:cNvSpPr>
            <p:nvPr/>
          </p:nvSpPr>
          <p:spPr bwMode="auto">
            <a:xfrm>
              <a:off x="3132" y="4021"/>
              <a:ext cx="58" cy="16"/>
            </a:xfrm>
            <a:custGeom>
              <a:avLst/>
              <a:gdLst>
                <a:gd name="T0" fmla="*/ 0 w 939"/>
                <a:gd name="T1" fmla="*/ 0 h 256"/>
                <a:gd name="T2" fmla="*/ 867 w 939"/>
                <a:gd name="T3" fmla="*/ 0 h 256"/>
                <a:gd name="T4" fmla="*/ 886 w 939"/>
                <a:gd name="T5" fmla="*/ 2 h 256"/>
                <a:gd name="T6" fmla="*/ 904 w 939"/>
                <a:gd name="T7" fmla="*/ 9 h 256"/>
                <a:gd name="T8" fmla="*/ 917 w 939"/>
                <a:gd name="T9" fmla="*/ 21 h 256"/>
                <a:gd name="T10" fmla="*/ 929 w 939"/>
                <a:gd name="T11" fmla="*/ 35 h 256"/>
                <a:gd name="T12" fmla="*/ 936 w 939"/>
                <a:gd name="T13" fmla="*/ 52 h 256"/>
                <a:gd name="T14" fmla="*/ 939 w 939"/>
                <a:gd name="T15" fmla="*/ 72 h 256"/>
                <a:gd name="T16" fmla="*/ 939 w 939"/>
                <a:gd name="T17" fmla="*/ 185 h 256"/>
                <a:gd name="T18" fmla="*/ 936 w 939"/>
                <a:gd name="T19" fmla="*/ 204 h 256"/>
                <a:gd name="T20" fmla="*/ 929 w 939"/>
                <a:gd name="T21" fmla="*/ 222 h 256"/>
                <a:gd name="T22" fmla="*/ 917 w 939"/>
                <a:gd name="T23" fmla="*/ 235 h 256"/>
                <a:gd name="T24" fmla="*/ 904 w 939"/>
                <a:gd name="T25" fmla="*/ 247 h 256"/>
                <a:gd name="T26" fmla="*/ 886 w 939"/>
                <a:gd name="T27" fmla="*/ 254 h 256"/>
                <a:gd name="T28" fmla="*/ 867 w 939"/>
                <a:gd name="T29" fmla="*/ 256 h 256"/>
                <a:gd name="T30" fmla="*/ 96 w 939"/>
                <a:gd name="T31" fmla="*/ 256 h 256"/>
                <a:gd name="T32" fmla="*/ 83 w 939"/>
                <a:gd name="T33" fmla="*/ 237 h 256"/>
                <a:gd name="T34" fmla="*/ 68 w 939"/>
                <a:gd name="T35" fmla="*/ 219 h 256"/>
                <a:gd name="T36" fmla="*/ 51 w 939"/>
                <a:gd name="T37" fmla="*/ 205 h 256"/>
                <a:gd name="T38" fmla="*/ 46 w 939"/>
                <a:gd name="T39" fmla="*/ 157 h 256"/>
                <a:gd name="T40" fmla="*/ 37 w 939"/>
                <a:gd name="T41" fmla="*/ 113 h 256"/>
                <a:gd name="T42" fmla="*/ 27 w 939"/>
                <a:gd name="T43" fmla="*/ 72 h 256"/>
                <a:gd name="T44" fmla="*/ 15 w 939"/>
                <a:gd name="T45" fmla="*/ 34 h 256"/>
                <a:gd name="T46" fmla="*/ 0 w 939"/>
                <a:gd name="T47" fmla="*/ 0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39" h="256">
                  <a:moveTo>
                    <a:pt x="0" y="0"/>
                  </a:moveTo>
                  <a:lnTo>
                    <a:pt x="867" y="0"/>
                  </a:lnTo>
                  <a:lnTo>
                    <a:pt x="886" y="2"/>
                  </a:lnTo>
                  <a:lnTo>
                    <a:pt x="904" y="9"/>
                  </a:lnTo>
                  <a:lnTo>
                    <a:pt x="917" y="21"/>
                  </a:lnTo>
                  <a:lnTo>
                    <a:pt x="929" y="35"/>
                  </a:lnTo>
                  <a:lnTo>
                    <a:pt x="936" y="52"/>
                  </a:lnTo>
                  <a:lnTo>
                    <a:pt x="939" y="72"/>
                  </a:lnTo>
                  <a:lnTo>
                    <a:pt x="939" y="185"/>
                  </a:lnTo>
                  <a:lnTo>
                    <a:pt x="936" y="204"/>
                  </a:lnTo>
                  <a:lnTo>
                    <a:pt x="929" y="222"/>
                  </a:lnTo>
                  <a:lnTo>
                    <a:pt x="917" y="235"/>
                  </a:lnTo>
                  <a:lnTo>
                    <a:pt x="904" y="247"/>
                  </a:lnTo>
                  <a:lnTo>
                    <a:pt x="886" y="254"/>
                  </a:lnTo>
                  <a:lnTo>
                    <a:pt x="867" y="256"/>
                  </a:lnTo>
                  <a:lnTo>
                    <a:pt x="96" y="256"/>
                  </a:lnTo>
                  <a:lnTo>
                    <a:pt x="83" y="237"/>
                  </a:lnTo>
                  <a:lnTo>
                    <a:pt x="68" y="219"/>
                  </a:lnTo>
                  <a:lnTo>
                    <a:pt x="51" y="205"/>
                  </a:lnTo>
                  <a:lnTo>
                    <a:pt x="46" y="157"/>
                  </a:lnTo>
                  <a:lnTo>
                    <a:pt x="37" y="113"/>
                  </a:lnTo>
                  <a:lnTo>
                    <a:pt x="27" y="72"/>
                  </a:lnTo>
                  <a:lnTo>
                    <a:pt x="15" y="34"/>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5" name="Freeform 634">
              <a:extLst>
                <a:ext uri="{FF2B5EF4-FFF2-40B4-BE49-F238E27FC236}">
                  <a16:creationId xmlns:a16="http://schemas.microsoft.com/office/drawing/2014/main" id="{E4735B25-A037-46FF-9B4F-9D05A44F3298}"/>
                </a:ext>
              </a:extLst>
            </p:cNvPr>
            <p:cNvSpPr>
              <a:spLocks/>
            </p:cNvSpPr>
            <p:nvPr/>
          </p:nvSpPr>
          <p:spPr bwMode="auto">
            <a:xfrm>
              <a:off x="3130" y="4051"/>
              <a:ext cx="60" cy="16"/>
            </a:xfrm>
            <a:custGeom>
              <a:avLst/>
              <a:gdLst>
                <a:gd name="T0" fmla="*/ 147 w 973"/>
                <a:gd name="T1" fmla="*/ 0 h 258"/>
                <a:gd name="T2" fmla="*/ 901 w 973"/>
                <a:gd name="T3" fmla="*/ 0 h 258"/>
                <a:gd name="T4" fmla="*/ 920 w 973"/>
                <a:gd name="T5" fmla="*/ 3 h 258"/>
                <a:gd name="T6" fmla="*/ 938 w 973"/>
                <a:gd name="T7" fmla="*/ 10 h 258"/>
                <a:gd name="T8" fmla="*/ 951 w 973"/>
                <a:gd name="T9" fmla="*/ 21 h 258"/>
                <a:gd name="T10" fmla="*/ 963 w 973"/>
                <a:gd name="T11" fmla="*/ 36 h 258"/>
                <a:gd name="T12" fmla="*/ 970 w 973"/>
                <a:gd name="T13" fmla="*/ 52 h 258"/>
                <a:gd name="T14" fmla="*/ 973 w 973"/>
                <a:gd name="T15" fmla="*/ 72 h 258"/>
                <a:gd name="T16" fmla="*/ 973 w 973"/>
                <a:gd name="T17" fmla="*/ 185 h 258"/>
                <a:gd name="T18" fmla="*/ 970 w 973"/>
                <a:gd name="T19" fmla="*/ 205 h 258"/>
                <a:gd name="T20" fmla="*/ 963 w 973"/>
                <a:gd name="T21" fmla="*/ 222 h 258"/>
                <a:gd name="T22" fmla="*/ 951 w 973"/>
                <a:gd name="T23" fmla="*/ 237 h 258"/>
                <a:gd name="T24" fmla="*/ 937 w 973"/>
                <a:gd name="T25" fmla="*/ 247 h 258"/>
                <a:gd name="T26" fmla="*/ 920 w 973"/>
                <a:gd name="T27" fmla="*/ 254 h 258"/>
                <a:gd name="T28" fmla="*/ 901 w 973"/>
                <a:gd name="T29" fmla="*/ 258 h 258"/>
                <a:gd name="T30" fmla="*/ 0 w 973"/>
                <a:gd name="T31" fmla="*/ 258 h 258"/>
                <a:gd name="T32" fmla="*/ 0 w 973"/>
                <a:gd name="T33" fmla="*/ 190 h 258"/>
                <a:gd name="T34" fmla="*/ 3 w 973"/>
                <a:gd name="T35" fmla="*/ 184 h 258"/>
                <a:gd name="T36" fmla="*/ 6 w 973"/>
                <a:gd name="T37" fmla="*/ 178 h 258"/>
                <a:gd name="T38" fmla="*/ 31 w 973"/>
                <a:gd name="T39" fmla="*/ 168 h 258"/>
                <a:gd name="T40" fmla="*/ 55 w 973"/>
                <a:gd name="T41" fmla="*/ 152 h 258"/>
                <a:gd name="T42" fmla="*/ 76 w 973"/>
                <a:gd name="T43" fmla="*/ 133 h 258"/>
                <a:gd name="T44" fmla="*/ 95 w 973"/>
                <a:gd name="T45" fmla="*/ 110 h 258"/>
                <a:gd name="T46" fmla="*/ 112 w 973"/>
                <a:gd name="T47" fmla="*/ 85 h 258"/>
                <a:gd name="T48" fmla="*/ 126 w 973"/>
                <a:gd name="T49" fmla="*/ 58 h 258"/>
                <a:gd name="T50" fmla="*/ 138 w 973"/>
                <a:gd name="T51" fmla="*/ 29 h 258"/>
                <a:gd name="T52" fmla="*/ 147 w 973"/>
                <a:gd name="T53" fmla="*/ 0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73" h="258">
                  <a:moveTo>
                    <a:pt x="147" y="0"/>
                  </a:moveTo>
                  <a:lnTo>
                    <a:pt x="901" y="0"/>
                  </a:lnTo>
                  <a:lnTo>
                    <a:pt x="920" y="3"/>
                  </a:lnTo>
                  <a:lnTo>
                    <a:pt x="938" y="10"/>
                  </a:lnTo>
                  <a:lnTo>
                    <a:pt x="951" y="21"/>
                  </a:lnTo>
                  <a:lnTo>
                    <a:pt x="963" y="36"/>
                  </a:lnTo>
                  <a:lnTo>
                    <a:pt x="970" y="52"/>
                  </a:lnTo>
                  <a:lnTo>
                    <a:pt x="973" y="72"/>
                  </a:lnTo>
                  <a:lnTo>
                    <a:pt x="973" y="185"/>
                  </a:lnTo>
                  <a:lnTo>
                    <a:pt x="970" y="205"/>
                  </a:lnTo>
                  <a:lnTo>
                    <a:pt x="963" y="222"/>
                  </a:lnTo>
                  <a:lnTo>
                    <a:pt x="951" y="237"/>
                  </a:lnTo>
                  <a:lnTo>
                    <a:pt x="937" y="247"/>
                  </a:lnTo>
                  <a:lnTo>
                    <a:pt x="920" y="254"/>
                  </a:lnTo>
                  <a:lnTo>
                    <a:pt x="901" y="258"/>
                  </a:lnTo>
                  <a:lnTo>
                    <a:pt x="0" y="258"/>
                  </a:lnTo>
                  <a:lnTo>
                    <a:pt x="0" y="190"/>
                  </a:lnTo>
                  <a:lnTo>
                    <a:pt x="3" y="184"/>
                  </a:lnTo>
                  <a:lnTo>
                    <a:pt x="6" y="178"/>
                  </a:lnTo>
                  <a:lnTo>
                    <a:pt x="31" y="168"/>
                  </a:lnTo>
                  <a:lnTo>
                    <a:pt x="55" y="152"/>
                  </a:lnTo>
                  <a:lnTo>
                    <a:pt x="76" y="133"/>
                  </a:lnTo>
                  <a:lnTo>
                    <a:pt x="95" y="110"/>
                  </a:lnTo>
                  <a:lnTo>
                    <a:pt x="112" y="85"/>
                  </a:lnTo>
                  <a:lnTo>
                    <a:pt x="126" y="58"/>
                  </a:lnTo>
                  <a:lnTo>
                    <a:pt x="138" y="29"/>
                  </a:lnTo>
                  <a:lnTo>
                    <a:pt x="14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6" name="Freeform 635">
              <a:extLst>
                <a:ext uri="{FF2B5EF4-FFF2-40B4-BE49-F238E27FC236}">
                  <a16:creationId xmlns:a16="http://schemas.microsoft.com/office/drawing/2014/main" id="{B3225A20-E8E1-4B4E-8BB0-FD29A55FAB7E}"/>
                </a:ext>
              </a:extLst>
            </p:cNvPr>
            <p:cNvSpPr>
              <a:spLocks/>
            </p:cNvSpPr>
            <p:nvPr/>
          </p:nvSpPr>
          <p:spPr bwMode="auto">
            <a:xfrm>
              <a:off x="3149" y="4080"/>
              <a:ext cx="41" cy="16"/>
            </a:xfrm>
            <a:custGeom>
              <a:avLst/>
              <a:gdLst>
                <a:gd name="T0" fmla="*/ 0 w 661"/>
                <a:gd name="T1" fmla="*/ 0 h 258"/>
                <a:gd name="T2" fmla="*/ 589 w 661"/>
                <a:gd name="T3" fmla="*/ 0 h 258"/>
                <a:gd name="T4" fmla="*/ 608 w 661"/>
                <a:gd name="T5" fmla="*/ 3 h 258"/>
                <a:gd name="T6" fmla="*/ 626 w 661"/>
                <a:gd name="T7" fmla="*/ 11 h 258"/>
                <a:gd name="T8" fmla="*/ 639 w 661"/>
                <a:gd name="T9" fmla="*/ 21 h 258"/>
                <a:gd name="T10" fmla="*/ 651 w 661"/>
                <a:gd name="T11" fmla="*/ 36 h 258"/>
                <a:gd name="T12" fmla="*/ 658 w 661"/>
                <a:gd name="T13" fmla="*/ 53 h 258"/>
                <a:gd name="T14" fmla="*/ 661 w 661"/>
                <a:gd name="T15" fmla="*/ 72 h 258"/>
                <a:gd name="T16" fmla="*/ 661 w 661"/>
                <a:gd name="T17" fmla="*/ 185 h 258"/>
                <a:gd name="T18" fmla="*/ 658 w 661"/>
                <a:gd name="T19" fmla="*/ 204 h 258"/>
                <a:gd name="T20" fmla="*/ 651 w 661"/>
                <a:gd name="T21" fmla="*/ 222 h 258"/>
                <a:gd name="T22" fmla="*/ 639 w 661"/>
                <a:gd name="T23" fmla="*/ 237 h 258"/>
                <a:gd name="T24" fmla="*/ 625 w 661"/>
                <a:gd name="T25" fmla="*/ 247 h 258"/>
                <a:gd name="T26" fmla="*/ 608 w 661"/>
                <a:gd name="T27" fmla="*/ 255 h 258"/>
                <a:gd name="T28" fmla="*/ 589 w 661"/>
                <a:gd name="T29" fmla="*/ 258 h 258"/>
                <a:gd name="T30" fmla="*/ 62 w 661"/>
                <a:gd name="T31" fmla="*/ 258 h 258"/>
                <a:gd name="T32" fmla="*/ 62 w 661"/>
                <a:gd name="T33" fmla="*/ 211 h 258"/>
                <a:gd name="T34" fmla="*/ 59 w 661"/>
                <a:gd name="T35" fmla="*/ 165 h 258"/>
                <a:gd name="T36" fmla="*/ 51 w 661"/>
                <a:gd name="T37" fmla="*/ 121 h 258"/>
                <a:gd name="T38" fmla="*/ 39 w 661"/>
                <a:gd name="T39" fmla="*/ 79 h 258"/>
                <a:gd name="T40" fmla="*/ 22 w 661"/>
                <a:gd name="T41" fmla="*/ 38 h 258"/>
                <a:gd name="T42" fmla="*/ 0 w 661"/>
                <a:gd name="T43" fmla="*/ 0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61" h="258">
                  <a:moveTo>
                    <a:pt x="0" y="0"/>
                  </a:moveTo>
                  <a:lnTo>
                    <a:pt x="589" y="0"/>
                  </a:lnTo>
                  <a:lnTo>
                    <a:pt x="608" y="3"/>
                  </a:lnTo>
                  <a:lnTo>
                    <a:pt x="626" y="11"/>
                  </a:lnTo>
                  <a:lnTo>
                    <a:pt x="639" y="21"/>
                  </a:lnTo>
                  <a:lnTo>
                    <a:pt x="651" y="36"/>
                  </a:lnTo>
                  <a:lnTo>
                    <a:pt x="658" y="53"/>
                  </a:lnTo>
                  <a:lnTo>
                    <a:pt x="661" y="72"/>
                  </a:lnTo>
                  <a:lnTo>
                    <a:pt x="661" y="185"/>
                  </a:lnTo>
                  <a:lnTo>
                    <a:pt x="658" y="204"/>
                  </a:lnTo>
                  <a:lnTo>
                    <a:pt x="651" y="222"/>
                  </a:lnTo>
                  <a:lnTo>
                    <a:pt x="639" y="237"/>
                  </a:lnTo>
                  <a:lnTo>
                    <a:pt x="625" y="247"/>
                  </a:lnTo>
                  <a:lnTo>
                    <a:pt x="608" y="255"/>
                  </a:lnTo>
                  <a:lnTo>
                    <a:pt x="589" y="258"/>
                  </a:lnTo>
                  <a:lnTo>
                    <a:pt x="62" y="258"/>
                  </a:lnTo>
                  <a:lnTo>
                    <a:pt x="62" y="211"/>
                  </a:lnTo>
                  <a:lnTo>
                    <a:pt x="59" y="165"/>
                  </a:lnTo>
                  <a:lnTo>
                    <a:pt x="51" y="121"/>
                  </a:lnTo>
                  <a:lnTo>
                    <a:pt x="39" y="79"/>
                  </a:lnTo>
                  <a:lnTo>
                    <a:pt x="22" y="38"/>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7" name="Freeform 636">
              <a:extLst>
                <a:ext uri="{FF2B5EF4-FFF2-40B4-BE49-F238E27FC236}">
                  <a16:creationId xmlns:a16="http://schemas.microsoft.com/office/drawing/2014/main" id="{C129F8B1-617A-41D8-8A87-5F59D3FDF652}"/>
                </a:ext>
              </a:extLst>
            </p:cNvPr>
            <p:cNvSpPr>
              <a:spLocks noEditPoints="1"/>
            </p:cNvSpPr>
            <p:nvPr/>
          </p:nvSpPr>
          <p:spPr bwMode="auto">
            <a:xfrm>
              <a:off x="3028" y="3937"/>
              <a:ext cx="205" cy="204"/>
            </a:xfrm>
            <a:custGeom>
              <a:avLst/>
              <a:gdLst>
                <a:gd name="T0" fmla="*/ 406 w 3283"/>
                <a:gd name="T1" fmla="*/ 847 h 3265"/>
                <a:gd name="T2" fmla="*/ 337 w 3283"/>
                <a:gd name="T3" fmla="*/ 870 h 3265"/>
                <a:gd name="T4" fmla="*/ 279 w 3283"/>
                <a:gd name="T5" fmla="*/ 912 h 3265"/>
                <a:gd name="T6" fmla="*/ 236 w 3283"/>
                <a:gd name="T7" fmla="*/ 970 h 3265"/>
                <a:gd name="T8" fmla="*/ 214 w 3283"/>
                <a:gd name="T9" fmla="*/ 1039 h 3265"/>
                <a:gd name="T10" fmla="*/ 210 w 3283"/>
                <a:gd name="T11" fmla="*/ 2824 h 3265"/>
                <a:gd name="T12" fmla="*/ 222 w 3283"/>
                <a:gd name="T13" fmla="*/ 2898 h 3265"/>
                <a:gd name="T14" fmla="*/ 256 w 3283"/>
                <a:gd name="T15" fmla="*/ 2962 h 3265"/>
                <a:gd name="T16" fmla="*/ 307 w 3283"/>
                <a:gd name="T17" fmla="*/ 3012 h 3265"/>
                <a:gd name="T18" fmla="*/ 370 w 3283"/>
                <a:gd name="T19" fmla="*/ 3045 h 3265"/>
                <a:gd name="T20" fmla="*/ 444 w 3283"/>
                <a:gd name="T21" fmla="*/ 3057 h 3265"/>
                <a:gd name="T22" fmla="*/ 2877 w 3283"/>
                <a:gd name="T23" fmla="*/ 3054 h 3265"/>
                <a:gd name="T24" fmla="*/ 2946 w 3283"/>
                <a:gd name="T25" fmla="*/ 3032 h 3265"/>
                <a:gd name="T26" fmla="*/ 3005 w 3283"/>
                <a:gd name="T27" fmla="*/ 2989 h 3265"/>
                <a:gd name="T28" fmla="*/ 3047 w 3283"/>
                <a:gd name="T29" fmla="*/ 2931 h 3265"/>
                <a:gd name="T30" fmla="*/ 3070 w 3283"/>
                <a:gd name="T31" fmla="*/ 2862 h 3265"/>
                <a:gd name="T32" fmla="*/ 3073 w 3283"/>
                <a:gd name="T33" fmla="*/ 1076 h 3265"/>
                <a:gd name="T34" fmla="*/ 3061 w 3283"/>
                <a:gd name="T35" fmla="*/ 1003 h 3265"/>
                <a:gd name="T36" fmla="*/ 3028 w 3283"/>
                <a:gd name="T37" fmla="*/ 939 h 3265"/>
                <a:gd name="T38" fmla="*/ 2977 w 3283"/>
                <a:gd name="T39" fmla="*/ 889 h 3265"/>
                <a:gd name="T40" fmla="*/ 2913 w 3283"/>
                <a:gd name="T41" fmla="*/ 857 h 3265"/>
                <a:gd name="T42" fmla="*/ 2839 w 3283"/>
                <a:gd name="T43" fmla="*/ 844 h 3265"/>
                <a:gd name="T44" fmla="*/ 2094 w 3283"/>
                <a:gd name="T45" fmla="*/ 1066 h 3265"/>
                <a:gd name="T46" fmla="*/ 1245 w 3283"/>
                <a:gd name="T47" fmla="*/ 844 h 3265"/>
                <a:gd name="T48" fmla="*/ 1455 w 3283"/>
                <a:gd name="T49" fmla="*/ 208 h 3265"/>
                <a:gd name="T50" fmla="*/ 1884 w 3283"/>
                <a:gd name="T51" fmla="*/ 858 h 3265"/>
                <a:gd name="T52" fmla="*/ 1455 w 3283"/>
                <a:gd name="T53" fmla="*/ 208 h 3265"/>
                <a:gd name="T54" fmla="*/ 2094 w 3283"/>
                <a:gd name="T55" fmla="*/ 0 h 3265"/>
                <a:gd name="T56" fmla="*/ 2839 w 3283"/>
                <a:gd name="T57" fmla="*/ 637 h 3265"/>
                <a:gd name="T58" fmla="*/ 2940 w 3283"/>
                <a:gd name="T59" fmla="*/ 648 h 3265"/>
                <a:gd name="T60" fmla="*/ 3034 w 3283"/>
                <a:gd name="T61" fmla="*/ 681 h 3265"/>
                <a:gd name="T62" fmla="*/ 3117 w 3283"/>
                <a:gd name="T63" fmla="*/ 733 h 3265"/>
                <a:gd name="T64" fmla="*/ 3185 w 3283"/>
                <a:gd name="T65" fmla="*/ 801 h 3265"/>
                <a:gd name="T66" fmla="*/ 3238 w 3283"/>
                <a:gd name="T67" fmla="*/ 883 h 3265"/>
                <a:gd name="T68" fmla="*/ 3271 w 3283"/>
                <a:gd name="T69" fmla="*/ 976 h 3265"/>
                <a:gd name="T70" fmla="*/ 3283 w 3283"/>
                <a:gd name="T71" fmla="*/ 1076 h 3265"/>
                <a:gd name="T72" fmla="*/ 3280 w 3283"/>
                <a:gd name="T73" fmla="*/ 2876 h 3265"/>
                <a:gd name="T74" fmla="*/ 3257 w 3283"/>
                <a:gd name="T75" fmla="*/ 2973 h 3265"/>
                <a:gd name="T76" fmla="*/ 3214 w 3283"/>
                <a:gd name="T77" fmla="*/ 3061 h 3265"/>
                <a:gd name="T78" fmla="*/ 3153 w 3283"/>
                <a:gd name="T79" fmla="*/ 3135 h 3265"/>
                <a:gd name="T80" fmla="*/ 3077 w 3283"/>
                <a:gd name="T81" fmla="*/ 3196 h 3265"/>
                <a:gd name="T82" fmla="*/ 2989 w 3283"/>
                <a:gd name="T83" fmla="*/ 3239 h 3265"/>
                <a:gd name="T84" fmla="*/ 2890 w 3283"/>
                <a:gd name="T85" fmla="*/ 3262 h 3265"/>
                <a:gd name="T86" fmla="*/ 444 w 3283"/>
                <a:gd name="T87" fmla="*/ 3265 h 3265"/>
                <a:gd name="T88" fmla="*/ 343 w 3283"/>
                <a:gd name="T89" fmla="*/ 3253 h 3265"/>
                <a:gd name="T90" fmla="*/ 250 w 3283"/>
                <a:gd name="T91" fmla="*/ 3220 h 3265"/>
                <a:gd name="T92" fmla="*/ 166 w 3283"/>
                <a:gd name="T93" fmla="*/ 3168 h 3265"/>
                <a:gd name="T94" fmla="*/ 97 w 3283"/>
                <a:gd name="T95" fmla="*/ 3100 h 3265"/>
                <a:gd name="T96" fmla="*/ 45 w 3283"/>
                <a:gd name="T97" fmla="*/ 3018 h 3265"/>
                <a:gd name="T98" fmla="*/ 12 w 3283"/>
                <a:gd name="T99" fmla="*/ 2926 h 3265"/>
                <a:gd name="T100" fmla="*/ 0 w 3283"/>
                <a:gd name="T101" fmla="*/ 2824 h 3265"/>
                <a:gd name="T102" fmla="*/ 3 w 3283"/>
                <a:gd name="T103" fmla="*/ 1025 h 3265"/>
                <a:gd name="T104" fmla="*/ 26 w 3283"/>
                <a:gd name="T105" fmla="*/ 928 h 3265"/>
                <a:gd name="T106" fmla="*/ 70 w 3283"/>
                <a:gd name="T107" fmla="*/ 841 h 3265"/>
                <a:gd name="T108" fmla="*/ 130 w 3283"/>
                <a:gd name="T109" fmla="*/ 765 h 3265"/>
                <a:gd name="T110" fmla="*/ 206 w 3283"/>
                <a:gd name="T111" fmla="*/ 705 h 3265"/>
                <a:gd name="T112" fmla="*/ 295 w 3283"/>
                <a:gd name="T113" fmla="*/ 662 h 3265"/>
                <a:gd name="T114" fmla="*/ 392 w 3283"/>
                <a:gd name="T115" fmla="*/ 640 h 3265"/>
                <a:gd name="T116" fmla="*/ 1246 w 3283"/>
                <a:gd name="T117" fmla="*/ 637 h 3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283" h="3265">
                  <a:moveTo>
                    <a:pt x="444" y="844"/>
                  </a:moveTo>
                  <a:lnTo>
                    <a:pt x="406" y="847"/>
                  </a:lnTo>
                  <a:lnTo>
                    <a:pt x="370" y="857"/>
                  </a:lnTo>
                  <a:lnTo>
                    <a:pt x="337" y="870"/>
                  </a:lnTo>
                  <a:lnTo>
                    <a:pt x="307" y="889"/>
                  </a:lnTo>
                  <a:lnTo>
                    <a:pt x="279" y="912"/>
                  </a:lnTo>
                  <a:lnTo>
                    <a:pt x="256" y="939"/>
                  </a:lnTo>
                  <a:lnTo>
                    <a:pt x="236" y="970"/>
                  </a:lnTo>
                  <a:lnTo>
                    <a:pt x="222" y="1003"/>
                  </a:lnTo>
                  <a:lnTo>
                    <a:pt x="214" y="1039"/>
                  </a:lnTo>
                  <a:lnTo>
                    <a:pt x="210" y="1076"/>
                  </a:lnTo>
                  <a:lnTo>
                    <a:pt x="210" y="2824"/>
                  </a:lnTo>
                  <a:lnTo>
                    <a:pt x="214" y="2862"/>
                  </a:lnTo>
                  <a:lnTo>
                    <a:pt x="222" y="2898"/>
                  </a:lnTo>
                  <a:lnTo>
                    <a:pt x="236" y="2931"/>
                  </a:lnTo>
                  <a:lnTo>
                    <a:pt x="256" y="2962"/>
                  </a:lnTo>
                  <a:lnTo>
                    <a:pt x="279" y="2989"/>
                  </a:lnTo>
                  <a:lnTo>
                    <a:pt x="307" y="3012"/>
                  </a:lnTo>
                  <a:lnTo>
                    <a:pt x="337" y="3032"/>
                  </a:lnTo>
                  <a:lnTo>
                    <a:pt x="370" y="3045"/>
                  </a:lnTo>
                  <a:lnTo>
                    <a:pt x="406" y="3054"/>
                  </a:lnTo>
                  <a:lnTo>
                    <a:pt x="444" y="3057"/>
                  </a:lnTo>
                  <a:lnTo>
                    <a:pt x="2839" y="3057"/>
                  </a:lnTo>
                  <a:lnTo>
                    <a:pt x="2877" y="3054"/>
                  </a:lnTo>
                  <a:lnTo>
                    <a:pt x="2913" y="3045"/>
                  </a:lnTo>
                  <a:lnTo>
                    <a:pt x="2946" y="3032"/>
                  </a:lnTo>
                  <a:lnTo>
                    <a:pt x="2977" y="3012"/>
                  </a:lnTo>
                  <a:lnTo>
                    <a:pt x="3005" y="2989"/>
                  </a:lnTo>
                  <a:lnTo>
                    <a:pt x="3028" y="2962"/>
                  </a:lnTo>
                  <a:lnTo>
                    <a:pt x="3047" y="2931"/>
                  </a:lnTo>
                  <a:lnTo>
                    <a:pt x="3061" y="2898"/>
                  </a:lnTo>
                  <a:lnTo>
                    <a:pt x="3070" y="2862"/>
                  </a:lnTo>
                  <a:lnTo>
                    <a:pt x="3073" y="2824"/>
                  </a:lnTo>
                  <a:lnTo>
                    <a:pt x="3073" y="1076"/>
                  </a:lnTo>
                  <a:lnTo>
                    <a:pt x="3070" y="1039"/>
                  </a:lnTo>
                  <a:lnTo>
                    <a:pt x="3061" y="1003"/>
                  </a:lnTo>
                  <a:lnTo>
                    <a:pt x="3047" y="970"/>
                  </a:lnTo>
                  <a:lnTo>
                    <a:pt x="3028" y="939"/>
                  </a:lnTo>
                  <a:lnTo>
                    <a:pt x="3005" y="912"/>
                  </a:lnTo>
                  <a:lnTo>
                    <a:pt x="2977" y="889"/>
                  </a:lnTo>
                  <a:lnTo>
                    <a:pt x="2946" y="870"/>
                  </a:lnTo>
                  <a:lnTo>
                    <a:pt x="2913" y="857"/>
                  </a:lnTo>
                  <a:lnTo>
                    <a:pt x="2877" y="847"/>
                  </a:lnTo>
                  <a:lnTo>
                    <a:pt x="2839" y="844"/>
                  </a:lnTo>
                  <a:lnTo>
                    <a:pt x="2094" y="844"/>
                  </a:lnTo>
                  <a:lnTo>
                    <a:pt x="2094" y="1066"/>
                  </a:lnTo>
                  <a:lnTo>
                    <a:pt x="1245" y="1066"/>
                  </a:lnTo>
                  <a:lnTo>
                    <a:pt x="1245" y="844"/>
                  </a:lnTo>
                  <a:lnTo>
                    <a:pt x="444" y="844"/>
                  </a:lnTo>
                  <a:close/>
                  <a:moveTo>
                    <a:pt x="1455" y="208"/>
                  </a:moveTo>
                  <a:lnTo>
                    <a:pt x="1455" y="858"/>
                  </a:lnTo>
                  <a:lnTo>
                    <a:pt x="1884" y="858"/>
                  </a:lnTo>
                  <a:lnTo>
                    <a:pt x="1884" y="208"/>
                  </a:lnTo>
                  <a:lnTo>
                    <a:pt x="1455" y="208"/>
                  </a:lnTo>
                  <a:close/>
                  <a:moveTo>
                    <a:pt x="1246" y="0"/>
                  </a:moveTo>
                  <a:lnTo>
                    <a:pt x="2094" y="0"/>
                  </a:lnTo>
                  <a:lnTo>
                    <a:pt x="2094" y="637"/>
                  </a:lnTo>
                  <a:lnTo>
                    <a:pt x="2839" y="637"/>
                  </a:lnTo>
                  <a:lnTo>
                    <a:pt x="2890" y="640"/>
                  </a:lnTo>
                  <a:lnTo>
                    <a:pt x="2940" y="648"/>
                  </a:lnTo>
                  <a:lnTo>
                    <a:pt x="2989" y="662"/>
                  </a:lnTo>
                  <a:lnTo>
                    <a:pt x="3034" y="681"/>
                  </a:lnTo>
                  <a:lnTo>
                    <a:pt x="3077" y="705"/>
                  </a:lnTo>
                  <a:lnTo>
                    <a:pt x="3117" y="733"/>
                  </a:lnTo>
                  <a:lnTo>
                    <a:pt x="3153" y="765"/>
                  </a:lnTo>
                  <a:lnTo>
                    <a:pt x="3185" y="801"/>
                  </a:lnTo>
                  <a:lnTo>
                    <a:pt x="3214" y="841"/>
                  </a:lnTo>
                  <a:lnTo>
                    <a:pt x="3238" y="883"/>
                  </a:lnTo>
                  <a:lnTo>
                    <a:pt x="3257" y="928"/>
                  </a:lnTo>
                  <a:lnTo>
                    <a:pt x="3271" y="976"/>
                  </a:lnTo>
                  <a:lnTo>
                    <a:pt x="3280" y="1025"/>
                  </a:lnTo>
                  <a:lnTo>
                    <a:pt x="3283" y="1076"/>
                  </a:lnTo>
                  <a:lnTo>
                    <a:pt x="3283" y="2824"/>
                  </a:lnTo>
                  <a:lnTo>
                    <a:pt x="3280" y="2876"/>
                  </a:lnTo>
                  <a:lnTo>
                    <a:pt x="3271" y="2926"/>
                  </a:lnTo>
                  <a:lnTo>
                    <a:pt x="3257" y="2973"/>
                  </a:lnTo>
                  <a:lnTo>
                    <a:pt x="3238" y="3018"/>
                  </a:lnTo>
                  <a:lnTo>
                    <a:pt x="3214" y="3061"/>
                  </a:lnTo>
                  <a:lnTo>
                    <a:pt x="3185" y="3100"/>
                  </a:lnTo>
                  <a:lnTo>
                    <a:pt x="3153" y="3135"/>
                  </a:lnTo>
                  <a:lnTo>
                    <a:pt x="3117" y="3168"/>
                  </a:lnTo>
                  <a:lnTo>
                    <a:pt x="3077" y="3196"/>
                  </a:lnTo>
                  <a:lnTo>
                    <a:pt x="3034" y="3220"/>
                  </a:lnTo>
                  <a:lnTo>
                    <a:pt x="2989" y="3239"/>
                  </a:lnTo>
                  <a:lnTo>
                    <a:pt x="2940" y="3253"/>
                  </a:lnTo>
                  <a:lnTo>
                    <a:pt x="2890" y="3262"/>
                  </a:lnTo>
                  <a:lnTo>
                    <a:pt x="2839" y="3265"/>
                  </a:lnTo>
                  <a:lnTo>
                    <a:pt x="444" y="3265"/>
                  </a:lnTo>
                  <a:lnTo>
                    <a:pt x="392" y="3262"/>
                  </a:lnTo>
                  <a:lnTo>
                    <a:pt x="343" y="3253"/>
                  </a:lnTo>
                  <a:lnTo>
                    <a:pt x="295" y="3239"/>
                  </a:lnTo>
                  <a:lnTo>
                    <a:pt x="250" y="3220"/>
                  </a:lnTo>
                  <a:lnTo>
                    <a:pt x="206" y="3196"/>
                  </a:lnTo>
                  <a:lnTo>
                    <a:pt x="166" y="3168"/>
                  </a:lnTo>
                  <a:lnTo>
                    <a:pt x="130" y="3135"/>
                  </a:lnTo>
                  <a:lnTo>
                    <a:pt x="97" y="3100"/>
                  </a:lnTo>
                  <a:lnTo>
                    <a:pt x="70" y="3061"/>
                  </a:lnTo>
                  <a:lnTo>
                    <a:pt x="45" y="3018"/>
                  </a:lnTo>
                  <a:lnTo>
                    <a:pt x="26" y="2973"/>
                  </a:lnTo>
                  <a:lnTo>
                    <a:pt x="12" y="2926"/>
                  </a:lnTo>
                  <a:lnTo>
                    <a:pt x="3" y="2876"/>
                  </a:lnTo>
                  <a:lnTo>
                    <a:pt x="0" y="2824"/>
                  </a:lnTo>
                  <a:lnTo>
                    <a:pt x="0" y="1076"/>
                  </a:lnTo>
                  <a:lnTo>
                    <a:pt x="3" y="1025"/>
                  </a:lnTo>
                  <a:lnTo>
                    <a:pt x="12" y="976"/>
                  </a:lnTo>
                  <a:lnTo>
                    <a:pt x="26" y="928"/>
                  </a:lnTo>
                  <a:lnTo>
                    <a:pt x="45" y="883"/>
                  </a:lnTo>
                  <a:lnTo>
                    <a:pt x="70" y="841"/>
                  </a:lnTo>
                  <a:lnTo>
                    <a:pt x="97" y="801"/>
                  </a:lnTo>
                  <a:lnTo>
                    <a:pt x="130" y="765"/>
                  </a:lnTo>
                  <a:lnTo>
                    <a:pt x="166" y="733"/>
                  </a:lnTo>
                  <a:lnTo>
                    <a:pt x="206" y="705"/>
                  </a:lnTo>
                  <a:lnTo>
                    <a:pt x="250" y="681"/>
                  </a:lnTo>
                  <a:lnTo>
                    <a:pt x="295" y="662"/>
                  </a:lnTo>
                  <a:lnTo>
                    <a:pt x="343" y="648"/>
                  </a:lnTo>
                  <a:lnTo>
                    <a:pt x="392" y="640"/>
                  </a:lnTo>
                  <a:lnTo>
                    <a:pt x="444" y="637"/>
                  </a:lnTo>
                  <a:lnTo>
                    <a:pt x="1246" y="637"/>
                  </a:lnTo>
                  <a:lnTo>
                    <a:pt x="124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8" name="Freeform 637">
              <a:extLst>
                <a:ext uri="{FF2B5EF4-FFF2-40B4-BE49-F238E27FC236}">
                  <a16:creationId xmlns:a16="http://schemas.microsoft.com/office/drawing/2014/main" id="{D3740251-70B3-427D-A340-A4B9EB0D7BF7}"/>
                </a:ext>
              </a:extLst>
            </p:cNvPr>
            <p:cNvSpPr>
              <a:spLocks/>
            </p:cNvSpPr>
            <p:nvPr/>
          </p:nvSpPr>
          <p:spPr bwMode="auto">
            <a:xfrm>
              <a:off x="3127" y="3961"/>
              <a:ext cx="12" cy="12"/>
            </a:xfrm>
            <a:custGeom>
              <a:avLst/>
              <a:gdLst>
                <a:gd name="T0" fmla="*/ 92 w 184"/>
                <a:gd name="T1" fmla="*/ 0 h 183"/>
                <a:gd name="T2" fmla="*/ 117 w 184"/>
                <a:gd name="T3" fmla="*/ 4 h 183"/>
                <a:gd name="T4" fmla="*/ 139 w 184"/>
                <a:gd name="T5" fmla="*/ 13 h 183"/>
                <a:gd name="T6" fmla="*/ 158 w 184"/>
                <a:gd name="T7" fmla="*/ 27 h 183"/>
                <a:gd name="T8" fmla="*/ 172 w 184"/>
                <a:gd name="T9" fmla="*/ 45 h 183"/>
                <a:gd name="T10" fmla="*/ 181 w 184"/>
                <a:gd name="T11" fmla="*/ 67 h 183"/>
                <a:gd name="T12" fmla="*/ 184 w 184"/>
                <a:gd name="T13" fmla="*/ 92 h 183"/>
                <a:gd name="T14" fmla="*/ 182 w 184"/>
                <a:gd name="T15" fmla="*/ 112 h 183"/>
                <a:gd name="T16" fmla="*/ 175 w 184"/>
                <a:gd name="T17" fmla="*/ 131 h 183"/>
                <a:gd name="T18" fmla="*/ 164 w 184"/>
                <a:gd name="T19" fmla="*/ 148 h 183"/>
                <a:gd name="T20" fmla="*/ 149 w 184"/>
                <a:gd name="T21" fmla="*/ 163 h 183"/>
                <a:gd name="T22" fmla="*/ 132 w 184"/>
                <a:gd name="T23" fmla="*/ 173 h 183"/>
                <a:gd name="T24" fmla="*/ 113 w 184"/>
                <a:gd name="T25" fmla="*/ 180 h 183"/>
                <a:gd name="T26" fmla="*/ 92 w 184"/>
                <a:gd name="T27" fmla="*/ 183 h 183"/>
                <a:gd name="T28" fmla="*/ 71 w 184"/>
                <a:gd name="T29" fmla="*/ 180 h 183"/>
                <a:gd name="T30" fmla="*/ 52 w 184"/>
                <a:gd name="T31" fmla="*/ 173 h 183"/>
                <a:gd name="T32" fmla="*/ 35 w 184"/>
                <a:gd name="T33" fmla="*/ 163 h 183"/>
                <a:gd name="T34" fmla="*/ 20 w 184"/>
                <a:gd name="T35" fmla="*/ 148 h 183"/>
                <a:gd name="T36" fmla="*/ 10 w 184"/>
                <a:gd name="T37" fmla="*/ 131 h 183"/>
                <a:gd name="T38" fmla="*/ 3 w 184"/>
                <a:gd name="T39" fmla="*/ 112 h 183"/>
                <a:gd name="T40" fmla="*/ 0 w 184"/>
                <a:gd name="T41" fmla="*/ 92 h 183"/>
                <a:gd name="T42" fmla="*/ 3 w 184"/>
                <a:gd name="T43" fmla="*/ 71 h 183"/>
                <a:gd name="T44" fmla="*/ 10 w 184"/>
                <a:gd name="T45" fmla="*/ 52 h 183"/>
                <a:gd name="T46" fmla="*/ 20 w 184"/>
                <a:gd name="T47" fmla="*/ 34 h 183"/>
                <a:gd name="T48" fmla="*/ 35 w 184"/>
                <a:gd name="T49" fmla="*/ 20 h 183"/>
                <a:gd name="T50" fmla="*/ 52 w 184"/>
                <a:gd name="T51" fmla="*/ 10 h 183"/>
                <a:gd name="T52" fmla="*/ 71 w 184"/>
                <a:gd name="T53" fmla="*/ 3 h 183"/>
                <a:gd name="T54" fmla="*/ 92 w 184"/>
                <a:gd name="T55" fmla="*/ 0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4" h="183">
                  <a:moveTo>
                    <a:pt x="92" y="0"/>
                  </a:moveTo>
                  <a:lnTo>
                    <a:pt x="117" y="4"/>
                  </a:lnTo>
                  <a:lnTo>
                    <a:pt x="139" y="13"/>
                  </a:lnTo>
                  <a:lnTo>
                    <a:pt x="158" y="27"/>
                  </a:lnTo>
                  <a:lnTo>
                    <a:pt x="172" y="45"/>
                  </a:lnTo>
                  <a:lnTo>
                    <a:pt x="181" y="67"/>
                  </a:lnTo>
                  <a:lnTo>
                    <a:pt x="184" y="92"/>
                  </a:lnTo>
                  <a:lnTo>
                    <a:pt x="182" y="112"/>
                  </a:lnTo>
                  <a:lnTo>
                    <a:pt x="175" y="131"/>
                  </a:lnTo>
                  <a:lnTo>
                    <a:pt x="164" y="148"/>
                  </a:lnTo>
                  <a:lnTo>
                    <a:pt x="149" y="163"/>
                  </a:lnTo>
                  <a:lnTo>
                    <a:pt x="132" y="173"/>
                  </a:lnTo>
                  <a:lnTo>
                    <a:pt x="113" y="180"/>
                  </a:lnTo>
                  <a:lnTo>
                    <a:pt x="92" y="183"/>
                  </a:lnTo>
                  <a:lnTo>
                    <a:pt x="71" y="180"/>
                  </a:lnTo>
                  <a:lnTo>
                    <a:pt x="52" y="173"/>
                  </a:lnTo>
                  <a:lnTo>
                    <a:pt x="35" y="163"/>
                  </a:lnTo>
                  <a:lnTo>
                    <a:pt x="20" y="148"/>
                  </a:lnTo>
                  <a:lnTo>
                    <a:pt x="10" y="131"/>
                  </a:lnTo>
                  <a:lnTo>
                    <a:pt x="3" y="112"/>
                  </a:lnTo>
                  <a:lnTo>
                    <a:pt x="0" y="92"/>
                  </a:lnTo>
                  <a:lnTo>
                    <a:pt x="3" y="71"/>
                  </a:lnTo>
                  <a:lnTo>
                    <a:pt x="10" y="52"/>
                  </a:lnTo>
                  <a:lnTo>
                    <a:pt x="20" y="34"/>
                  </a:lnTo>
                  <a:lnTo>
                    <a:pt x="35" y="20"/>
                  </a:lnTo>
                  <a:lnTo>
                    <a:pt x="52" y="10"/>
                  </a:lnTo>
                  <a:lnTo>
                    <a:pt x="71" y="3"/>
                  </a:lnTo>
                  <a:lnTo>
                    <a:pt x="9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59" name="文本框 58">
            <a:extLst>
              <a:ext uri="{FF2B5EF4-FFF2-40B4-BE49-F238E27FC236}">
                <a16:creationId xmlns:a16="http://schemas.microsoft.com/office/drawing/2014/main" id="{F1B88288-EC6C-488B-A700-537E87E259FD}"/>
              </a:ext>
            </a:extLst>
          </p:cNvPr>
          <p:cNvSpPr txBox="1"/>
          <p:nvPr/>
        </p:nvSpPr>
        <p:spPr>
          <a:xfrm>
            <a:off x="5152855" y="621880"/>
            <a:ext cx="1886290" cy="276999"/>
          </a:xfrm>
          <a:prstGeom prst="rect">
            <a:avLst/>
          </a:prstGeom>
          <a:noFill/>
        </p:spPr>
        <p:txBody>
          <a:bodyPr wrap="square" rtlCol="0">
            <a:spAutoFit/>
          </a:bodyPr>
          <a:lstStyle/>
          <a:p>
            <a:pPr marL="0" marR="0" lvl="0" indent="0" algn="dist" defTabSz="914400" rtl="0" eaLnBrk="1" fontAlgn="auto" latinLnBrk="0" hangingPunct="1">
              <a:lnSpc>
                <a:spcPct val="100000"/>
              </a:lnSpc>
              <a:spcBef>
                <a:spcPts val="0"/>
              </a:spcBef>
              <a:spcAft>
                <a:spcPts val="0"/>
              </a:spcAft>
              <a:buClrTx/>
              <a:buSzTx/>
              <a:buFontTx/>
              <a:buNone/>
              <a:tabLst/>
              <a:defRPr/>
            </a:pPr>
            <a:r>
              <a:rPr kumimoji="0" lang="en-US" altLang="zh-CN" sz="1200" b="0" i="0" u="none" strike="noStrike" kern="1200" cap="none" spc="0" normalizeH="0" baseline="0" noProof="0">
                <a:ln>
                  <a:noFill/>
                </a:ln>
                <a:solidFill>
                  <a:srgbClr val="E7E6E6">
                    <a:lumMod val="50000"/>
                  </a:srgbClr>
                </a:solidFill>
                <a:effectLst/>
                <a:uLnTx/>
                <a:uFillTx/>
                <a:latin typeface="HarmonyOS Sans SC"/>
                <a:cs typeface="+mn-cs"/>
              </a:rPr>
              <a:t>Your website design</a:t>
            </a:r>
          </a:p>
        </p:txBody>
      </p:sp>
      <p:sp>
        <p:nvSpPr>
          <p:cNvPr id="61" name="文本框 60">
            <a:extLst>
              <a:ext uri="{FF2B5EF4-FFF2-40B4-BE49-F238E27FC236}">
                <a16:creationId xmlns:a16="http://schemas.microsoft.com/office/drawing/2014/main" id="{B26A0843-D63C-4CB6-AE1C-95DE5655B0A9}"/>
              </a:ext>
            </a:extLst>
          </p:cNvPr>
          <p:cNvSpPr txBox="1"/>
          <p:nvPr/>
        </p:nvSpPr>
        <p:spPr>
          <a:xfrm>
            <a:off x="5152855" y="1517312"/>
            <a:ext cx="1886290" cy="276999"/>
          </a:xfrm>
          <a:prstGeom prst="rect">
            <a:avLst/>
          </a:prstGeom>
          <a:solidFill>
            <a:schemeClr val="accent1"/>
          </a:solidFill>
        </p:spPr>
        <p:txBody>
          <a:bodyPr wrap="square" rtlCol="0">
            <a:spAutoFit/>
          </a:bodyPr>
          <a:lstStyle/>
          <a:p>
            <a:pPr marL="0" marR="0" lvl="0" indent="0" algn="dist" defTabSz="914400" rtl="0" eaLnBrk="1" fontAlgn="auto" latinLnBrk="0" hangingPunct="1">
              <a:lnSpc>
                <a:spcPct val="100000"/>
              </a:lnSpc>
              <a:spcBef>
                <a:spcPts val="0"/>
              </a:spcBef>
              <a:spcAft>
                <a:spcPts val="0"/>
              </a:spcAft>
              <a:buClrTx/>
              <a:buSzTx/>
              <a:buFontTx/>
              <a:buNone/>
              <a:tabLst/>
              <a:defRPr/>
            </a:pPr>
            <a:r>
              <a:rPr kumimoji="0" lang="en-US" altLang="zh-CN" sz="1200" b="0" i="0" u="none" strike="noStrike" kern="1200" cap="none" spc="0" normalizeH="0" baseline="0" noProof="0">
                <a:ln>
                  <a:noFill/>
                </a:ln>
                <a:solidFill>
                  <a:prstClr val="white"/>
                </a:solidFill>
                <a:effectLst/>
                <a:uLnTx/>
                <a:uFillTx/>
                <a:latin typeface="HarmonyOS Sans SC"/>
                <a:cs typeface="+mn-cs"/>
              </a:rPr>
              <a:t>Your website design</a:t>
            </a:r>
          </a:p>
        </p:txBody>
      </p:sp>
    </p:spTree>
    <p:extLst>
      <p:ext uri="{BB962C8B-B14F-4D97-AF65-F5344CB8AC3E}">
        <p14:creationId xmlns:p14="http://schemas.microsoft.com/office/powerpoint/2010/main" val="1824462419"/>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4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ight Triangle 61">
            <a:extLst>
              <a:ext uri="{FF2B5EF4-FFF2-40B4-BE49-F238E27FC236}">
                <a16:creationId xmlns:a16="http://schemas.microsoft.com/office/drawing/2014/main" id="{4A09D5DF-FEB8-4880-8598-C956AFD8531E}"/>
              </a:ext>
            </a:extLst>
          </p:cNvPr>
          <p:cNvSpPr/>
          <p:nvPr/>
        </p:nvSpPr>
        <p:spPr>
          <a:xfrm flipV="1">
            <a:off x="1055689" y="803583"/>
            <a:ext cx="72580" cy="72177"/>
          </a:xfrm>
          <a:prstGeom prst="r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HarmonyOS Sans SC"/>
              <a:cs typeface="+mn-cs"/>
            </a:endParaRPr>
          </a:p>
        </p:txBody>
      </p:sp>
      <p:sp>
        <p:nvSpPr>
          <p:cNvPr id="5" name="文本框 4">
            <a:extLst>
              <a:ext uri="{FF2B5EF4-FFF2-40B4-BE49-F238E27FC236}">
                <a16:creationId xmlns:a16="http://schemas.microsoft.com/office/drawing/2014/main" id="{8D08FC60-9C59-4773-AD64-F26704F91195}"/>
              </a:ext>
            </a:extLst>
          </p:cNvPr>
          <p:cNvSpPr txBox="1"/>
          <p:nvPr/>
        </p:nvSpPr>
        <p:spPr>
          <a:xfrm>
            <a:off x="941388" y="918105"/>
            <a:ext cx="3539752"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2800" b="0" i="0" u="none" strike="noStrike" kern="1200" cap="none" spc="0" normalizeH="0" baseline="0" noProof="0" dirty="0">
                <a:ln>
                  <a:noFill/>
                </a:ln>
                <a:solidFill>
                  <a:prstClr val="black"/>
                </a:solidFill>
                <a:effectLst/>
                <a:uLnTx/>
                <a:uFillTx/>
                <a:latin typeface="HarmonyOS Sans Black"/>
                <a:ea typeface="+mj-ea"/>
                <a:cs typeface="+mn-cs"/>
              </a:rPr>
              <a:t>Crypto </a:t>
            </a:r>
            <a:r>
              <a:rPr kumimoji="0" lang="en-US" altLang="zh-CN" sz="2800" b="0" i="0" u="none" strike="noStrike" kern="1200" cap="none" spc="0" normalizeH="0" baseline="0" noProof="0" dirty="0">
                <a:ln>
                  <a:noFill/>
                </a:ln>
                <a:solidFill>
                  <a:schemeClr val="accent1"/>
                </a:solidFill>
                <a:effectLst/>
                <a:uLnTx/>
                <a:uFillTx/>
                <a:latin typeface="HarmonyOS Sans Black"/>
                <a:ea typeface="+mj-ea"/>
                <a:cs typeface="+mn-cs"/>
              </a:rPr>
              <a:t>Infographic</a:t>
            </a:r>
          </a:p>
        </p:txBody>
      </p:sp>
      <p:grpSp>
        <p:nvGrpSpPr>
          <p:cNvPr id="6" name="Group 229">
            <a:extLst>
              <a:ext uri="{FF2B5EF4-FFF2-40B4-BE49-F238E27FC236}">
                <a16:creationId xmlns:a16="http://schemas.microsoft.com/office/drawing/2014/main" id="{44A868D1-73CE-4299-BBC9-A64A6D62E78C}"/>
              </a:ext>
            </a:extLst>
          </p:cNvPr>
          <p:cNvGrpSpPr/>
          <p:nvPr/>
        </p:nvGrpSpPr>
        <p:grpSpPr>
          <a:xfrm>
            <a:off x="8956555" y="2836697"/>
            <a:ext cx="1833201" cy="750481"/>
            <a:chOff x="8544544" y="2453376"/>
            <a:chExt cx="1833201" cy="750481"/>
          </a:xfrm>
        </p:grpSpPr>
        <p:grpSp>
          <p:nvGrpSpPr>
            <p:cNvPr id="7" name="Group 215">
              <a:extLst>
                <a:ext uri="{FF2B5EF4-FFF2-40B4-BE49-F238E27FC236}">
                  <a16:creationId xmlns:a16="http://schemas.microsoft.com/office/drawing/2014/main" id="{69A90973-28F2-4249-BBEA-20F4BE1A2341}"/>
                </a:ext>
              </a:extLst>
            </p:cNvPr>
            <p:cNvGrpSpPr/>
            <p:nvPr/>
          </p:nvGrpSpPr>
          <p:grpSpPr>
            <a:xfrm>
              <a:off x="9508378" y="2707966"/>
              <a:ext cx="869367" cy="495891"/>
              <a:chOff x="4728581" y="3825959"/>
              <a:chExt cx="869367" cy="495891"/>
            </a:xfrm>
          </p:grpSpPr>
          <p:cxnSp>
            <p:nvCxnSpPr>
              <p:cNvPr id="11" name="Straight Connector 216">
                <a:extLst>
                  <a:ext uri="{FF2B5EF4-FFF2-40B4-BE49-F238E27FC236}">
                    <a16:creationId xmlns:a16="http://schemas.microsoft.com/office/drawing/2014/main" id="{18304D0F-6A7D-4238-8C41-08F5EB3C8F1E}"/>
                  </a:ext>
                </a:extLst>
              </p:cNvPr>
              <p:cNvCxnSpPr/>
              <p:nvPr/>
            </p:nvCxnSpPr>
            <p:spPr>
              <a:xfrm flipV="1">
                <a:off x="4730657" y="3825959"/>
                <a:ext cx="433645" cy="246908"/>
              </a:xfrm>
              <a:prstGeom prst="line">
                <a:avLst/>
              </a:prstGeom>
              <a:ln w="3810">
                <a:solidFill>
                  <a:schemeClr val="accent1">
                    <a:alpha val="60000"/>
                  </a:schemeClr>
                </a:solidFill>
              </a:ln>
            </p:spPr>
            <p:style>
              <a:lnRef idx="1">
                <a:schemeClr val="accent1"/>
              </a:lnRef>
              <a:fillRef idx="0">
                <a:schemeClr val="accent1"/>
              </a:fillRef>
              <a:effectRef idx="0">
                <a:schemeClr val="accent1"/>
              </a:effectRef>
              <a:fontRef idx="minor">
                <a:schemeClr val="tx1"/>
              </a:fontRef>
            </p:style>
          </p:cxnSp>
          <p:cxnSp>
            <p:nvCxnSpPr>
              <p:cNvPr id="12" name="Straight Connector 217">
                <a:extLst>
                  <a:ext uri="{FF2B5EF4-FFF2-40B4-BE49-F238E27FC236}">
                    <a16:creationId xmlns:a16="http://schemas.microsoft.com/office/drawing/2014/main" id="{57F87205-9820-46C5-AE21-3269E24D9398}"/>
                  </a:ext>
                </a:extLst>
              </p:cNvPr>
              <p:cNvCxnSpPr>
                <a:cxnSpLocks/>
              </p:cNvCxnSpPr>
              <p:nvPr/>
            </p:nvCxnSpPr>
            <p:spPr>
              <a:xfrm>
                <a:off x="4728581" y="4070792"/>
                <a:ext cx="433647" cy="248983"/>
              </a:xfrm>
              <a:prstGeom prst="line">
                <a:avLst/>
              </a:prstGeom>
              <a:ln w="3810">
                <a:solidFill>
                  <a:schemeClr val="accent1">
                    <a:alpha val="60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218">
                <a:extLst>
                  <a:ext uri="{FF2B5EF4-FFF2-40B4-BE49-F238E27FC236}">
                    <a16:creationId xmlns:a16="http://schemas.microsoft.com/office/drawing/2014/main" id="{DF7F6AA0-5034-4680-976B-6CB93367E927}"/>
                  </a:ext>
                </a:extLst>
              </p:cNvPr>
              <p:cNvCxnSpPr/>
              <p:nvPr/>
            </p:nvCxnSpPr>
            <p:spPr>
              <a:xfrm flipV="1">
                <a:off x="5162228" y="4072867"/>
                <a:ext cx="435720" cy="248983"/>
              </a:xfrm>
              <a:prstGeom prst="line">
                <a:avLst/>
              </a:prstGeom>
              <a:ln w="3810">
                <a:solidFill>
                  <a:schemeClr val="accent1">
                    <a:alpha val="60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219">
                <a:extLst>
                  <a:ext uri="{FF2B5EF4-FFF2-40B4-BE49-F238E27FC236}">
                    <a16:creationId xmlns:a16="http://schemas.microsoft.com/office/drawing/2014/main" id="{AB1D060C-4D9E-4E3A-8EF2-F09F5C9FBA1A}"/>
                  </a:ext>
                </a:extLst>
              </p:cNvPr>
              <p:cNvCxnSpPr/>
              <p:nvPr/>
            </p:nvCxnSpPr>
            <p:spPr>
              <a:xfrm flipH="1" flipV="1">
                <a:off x="5162228" y="3825959"/>
                <a:ext cx="435720" cy="246908"/>
              </a:xfrm>
              <a:prstGeom prst="line">
                <a:avLst/>
              </a:prstGeom>
              <a:ln w="3810">
                <a:solidFill>
                  <a:schemeClr val="accent1">
                    <a:alpha val="60000"/>
                  </a:schemeClr>
                </a:solidFill>
              </a:ln>
            </p:spPr>
            <p:style>
              <a:lnRef idx="1">
                <a:schemeClr val="accent1"/>
              </a:lnRef>
              <a:fillRef idx="0">
                <a:schemeClr val="accent1"/>
              </a:fillRef>
              <a:effectRef idx="0">
                <a:schemeClr val="accent1"/>
              </a:effectRef>
              <a:fontRef idx="minor">
                <a:schemeClr val="tx1"/>
              </a:fontRef>
            </p:style>
          </p:cxnSp>
        </p:grpSp>
        <p:grpSp>
          <p:nvGrpSpPr>
            <p:cNvPr id="8" name="Group 228">
              <a:extLst>
                <a:ext uri="{FF2B5EF4-FFF2-40B4-BE49-F238E27FC236}">
                  <a16:creationId xmlns:a16="http://schemas.microsoft.com/office/drawing/2014/main" id="{E1B92D65-21A0-4CDF-A506-177048942598}"/>
                </a:ext>
              </a:extLst>
            </p:cNvPr>
            <p:cNvGrpSpPr/>
            <p:nvPr/>
          </p:nvGrpSpPr>
          <p:grpSpPr>
            <a:xfrm>
              <a:off x="8544544" y="2453376"/>
              <a:ext cx="1168825" cy="385925"/>
              <a:chOff x="8547719" y="2456551"/>
              <a:chExt cx="1168825" cy="385925"/>
            </a:xfrm>
          </p:grpSpPr>
          <p:cxnSp>
            <p:nvCxnSpPr>
              <p:cNvPr id="9" name="Straight Connector 224">
                <a:extLst>
                  <a:ext uri="{FF2B5EF4-FFF2-40B4-BE49-F238E27FC236}">
                    <a16:creationId xmlns:a16="http://schemas.microsoft.com/office/drawing/2014/main" id="{235A8B7A-949F-42EB-A529-1F915BB39E83}"/>
                  </a:ext>
                </a:extLst>
              </p:cNvPr>
              <p:cNvCxnSpPr/>
              <p:nvPr/>
            </p:nvCxnSpPr>
            <p:spPr>
              <a:xfrm flipH="1" flipV="1">
                <a:off x="9011092" y="2456552"/>
                <a:ext cx="705452" cy="385924"/>
              </a:xfrm>
              <a:prstGeom prst="line">
                <a:avLst/>
              </a:prstGeom>
              <a:ln w="3810">
                <a:solidFill>
                  <a:schemeClr val="accent1">
                    <a:alpha val="60000"/>
                  </a:schemeClr>
                </a:solidFill>
              </a:ln>
            </p:spPr>
            <p:style>
              <a:lnRef idx="1">
                <a:schemeClr val="accent1"/>
              </a:lnRef>
              <a:fillRef idx="0">
                <a:schemeClr val="accent1"/>
              </a:fillRef>
              <a:effectRef idx="0">
                <a:schemeClr val="accent1"/>
              </a:effectRef>
              <a:fontRef idx="minor">
                <a:schemeClr val="tx1"/>
              </a:fontRef>
            </p:style>
          </p:cxnSp>
          <p:cxnSp>
            <p:nvCxnSpPr>
              <p:cNvPr id="10" name="Straight Connector 225">
                <a:extLst>
                  <a:ext uri="{FF2B5EF4-FFF2-40B4-BE49-F238E27FC236}">
                    <a16:creationId xmlns:a16="http://schemas.microsoft.com/office/drawing/2014/main" id="{7916B1B5-28ED-4F2C-9BEF-D01BFF889B6A}"/>
                  </a:ext>
                </a:extLst>
              </p:cNvPr>
              <p:cNvCxnSpPr>
                <a:cxnSpLocks/>
              </p:cNvCxnSpPr>
              <p:nvPr/>
            </p:nvCxnSpPr>
            <p:spPr>
              <a:xfrm flipH="1">
                <a:off x="8547719" y="2456551"/>
                <a:ext cx="463373" cy="298535"/>
              </a:xfrm>
              <a:prstGeom prst="line">
                <a:avLst/>
              </a:prstGeom>
              <a:ln w="3810">
                <a:solidFill>
                  <a:schemeClr val="accent1">
                    <a:alpha val="60000"/>
                  </a:schemeClr>
                </a:solidFill>
              </a:ln>
            </p:spPr>
            <p:style>
              <a:lnRef idx="1">
                <a:schemeClr val="accent1"/>
              </a:lnRef>
              <a:fillRef idx="0">
                <a:schemeClr val="accent1"/>
              </a:fillRef>
              <a:effectRef idx="0">
                <a:schemeClr val="accent1"/>
              </a:effectRef>
              <a:fontRef idx="minor">
                <a:schemeClr val="tx1"/>
              </a:fontRef>
            </p:style>
          </p:cxnSp>
        </p:grpSp>
      </p:grpSp>
      <p:grpSp>
        <p:nvGrpSpPr>
          <p:cNvPr id="15" name="Group 2">
            <a:extLst>
              <a:ext uri="{FF2B5EF4-FFF2-40B4-BE49-F238E27FC236}">
                <a16:creationId xmlns:a16="http://schemas.microsoft.com/office/drawing/2014/main" id="{BB1148AB-0414-43B6-B7C4-94072666D1E5}"/>
              </a:ext>
            </a:extLst>
          </p:cNvPr>
          <p:cNvGrpSpPr/>
          <p:nvPr/>
        </p:nvGrpSpPr>
        <p:grpSpPr>
          <a:xfrm>
            <a:off x="6463143" y="3456574"/>
            <a:ext cx="3162085" cy="2012613"/>
            <a:chOff x="6469765" y="3307349"/>
            <a:chExt cx="3162085" cy="2012613"/>
          </a:xfrm>
        </p:grpSpPr>
        <p:sp>
          <p:nvSpPr>
            <p:cNvPr id="16" name="Freeform 1169">
              <a:extLst>
                <a:ext uri="{FF2B5EF4-FFF2-40B4-BE49-F238E27FC236}">
                  <a16:creationId xmlns:a16="http://schemas.microsoft.com/office/drawing/2014/main" id="{59E2A29B-7D7F-47DC-B217-0D232CFE978D}"/>
                </a:ext>
              </a:extLst>
            </p:cNvPr>
            <p:cNvSpPr>
              <a:spLocks/>
            </p:cNvSpPr>
            <p:nvPr/>
          </p:nvSpPr>
          <p:spPr bwMode="auto">
            <a:xfrm>
              <a:off x="6469765" y="4222361"/>
              <a:ext cx="3162085" cy="1097601"/>
            </a:xfrm>
            <a:custGeom>
              <a:avLst/>
              <a:gdLst>
                <a:gd name="T0" fmla="*/ 1524 w 1524"/>
                <a:gd name="T1" fmla="*/ 0 h 529"/>
                <a:gd name="T2" fmla="*/ 1524 w 1524"/>
                <a:gd name="T3" fmla="*/ 88 h 529"/>
                <a:gd name="T4" fmla="*/ 762 w 1524"/>
                <a:gd name="T5" fmla="*/ 529 h 529"/>
                <a:gd name="T6" fmla="*/ 0 w 1524"/>
                <a:gd name="T7" fmla="*/ 88 h 529"/>
                <a:gd name="T8" fmla="*/ 0 w 1524"/>
                <a:gd name="T9" fmla="*/ 0 h 529"/>
                <a:gd name="T10" fmla="*/ 1524 w 1524"/>
                <a:gd name="T11" fmla="*/ 0 h 529"/>
              </a:gdLst>
              <a:ahLst/>
              <a:cxnLst>
                <a:cxn ang="0">
                  <a:pos x="T0" y="T1"/>
                </a:cxn>
                <a:cxn ang="0">
                  <a:pos x="T2" y="T3"/>
                </a:cxn>
                <a:cxn ang="0">
                  <a:pos x="T4" y="T5"/>
                </a:cxn>
                <a:cxn ang="0">
                  <a:pos x="T6" y="T7"/>
                </a:cxn>
                <a:cxn ang="0">
                  <a:pos x="T8" y="T9"/>
                </a:cxn>
                <a:cxn ang="0">
                  <a:pos x="T10" y="T11"/>
                </a:cxn>
              </a:cxnLst>
              <a:rect l="0" t="0" r="r" b="b"/>
              <a:pathLst>
                <a:path w="1524" h="529">
                  <a:moveTo>
                    <a:pt x="1524" y="0"/>
                  </a:moveTo>
                  <a:lnTo>
                    <a:pt x="1524" y="88"/>
                  </a:lnTo>
                  <a:lnTo>
                    <a:pt x="762" y="529"/>
                  </a:lnTo>
                  <a:lnTo>
                    <a:pt x="0" y="88"/>
                  </a:lnTo>
                  <a:lnTo>
                    <a:pt x="0" y="0"/>
                  </a:lnTo>
                  <a:lnTo>
                    <a:pt x="1524"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22222"/>
                </a:solidFill>
                <a:effectLst/>
                <a:uLnTx/>
                <a:uFillTx/>
                <a:latin typeface="Inter"/>
                <a:ea typeface="+mn-ea"/>
                <a:cs typeface="+mn-cs"/>
              </a:endParaRPr>
            </a:p>
          </p:txBody>
        </p:sp>
        <p:sp>
          <p:nvSpPr>
            <p:cNvPr id="17" name="Freeform 1171">
              <a:extLst>
                <a:ext uri="{FF2B5EF4-FFF2-40B4-BE49-F238E27FC236}">
                  <a16:creationId xmlns:a16="http://schemas.microsoft.com/office/drawing/2014/main" id="{AD5F3DDF-3CA1-41AB-AC91-519760ED96C2}"/>
                </a:ext>
              </a:extLst>
            </p:cNvPr>
            <p:cNvSpPr>
              <a:spLocks/>
            </p:cNvSpPr>
            <p:nvPr/>
          </p:nvSpPr>
          <p:spPr bwMode="auto">
            <a:xfrm>
              <a:off x="6469765" y="3307349"/>
              <a:ext cx="3162085" cy="1825876"/>
            </a:xfrm>
            <a:custGeom>
              <a:avLst/>
              <a:gdLst>
                <a:gd name="T0" fmla="*/ 762 w 1524"/>
                <a:gd name="T1" fmla="*/ 880 h 880"/>
                <a:gd name="T2" fmla="*/ 0 w 1524"/>
                <a:gd name="T3" fmla="*/ 441 h 880"/>
                <a:gd name="T4" fmla="*/ 762 w 1524"/>
                <a:gd name="T5" fmla="*/ 0 h 880"/>
                <a:gd name="T6" fmla="*/ 1524 w 1524"/>
                <a:gd name="T7" fmla="*/ 441 h 880"/>
                <a:gd name="T8" fmla="*/ 762 w 1524"/>
                <a:gd name="T9" fmla="*/ 880 h 880"/>
              </a:gdLst>
              <a:ahLst/>
              <a:cxnLst>
                <a:cxn ang="0">
                  <a:pos x="T0" y="T1"/>
                </a:cxn>
                <a:cxn ang="0">
                  <a:pos x="T2" y="T3"/>
                </a:cxn>
                <a:cxn ang="0">
                  <a:pos x="T4" y="T5"/>
                </a:cxn>
                <a:cxn ang="0">
                  <a:pos x="T6" y="T7"/>
                </a:cxn>
                <a:cxn ang="0">
                  <a:pos x="T8" y="T9"/>
                </a:cxn>
              </a:cxnLst>
              <a:rect l="0" t="0" r="r" b="b"/>
              <a:pathLst>
                <a:path w="1524" h="880">
                  <a:moveTo>
                    <a:pt x="762" y="880"/>
                  </a:moveTo>
                  <a:lnTo>
                    <a:pt x="0" y="441"/>
                  </a:lnTo>
                  <a:lnTo>
                    <a:pt x="762" y="0"/>
                  </a:lnTo>
                  <a:lnTo>
                    <a:pt x="1524" y="441"/>
                  </a:lnTo>
                  <a:lnTo>
                    <a:pt x="762" y="88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22222"/>
                </a:solidFill>
                <a:effectLst/>
                <a:uLnTx/>
                <a:uFillTx/>
                <a:latin typeface="Inter"/>
                <a:ea typeface="+mn-ea"/>
                <a:cs typeface="+mn-cs"/>
              </a:endParaRPr>
            </a:p>
          </p:txBody>
        </p:sp>
      </p:grpSp>
      <p:grpSp>
        <p:nvGrpSpPr>
          <p:cNvPr id="18" name="Group 1">
            <a:extLst>
              <a:ext uri="{FF2B5EF4-FFF2-40B4-BE49-F238E27FC236}">
                <a16:creationId xmlns:a16="http://schemas.microsoft.com/office/drawing/2014/main" id="{BA38A87C-67BE-4E48-ACC1-9B05A72E201B}"/>
              </a:ext>
            </a:extLst>
          </p:cNvPr>
          <p:cNvGrpSpPr/>
          <p:nvPr/>
        </p:nvGrpSpPr>
        <p:grpSpPr>
          <a:xfrm>
            <a:off x="5168075" y="4223460"/>
            <a:ext cx="2213449" cy="905144"/>
            <a:chOff x="4756595" y="4440522"/>
            <a:chExt cx="2213449" cy="905144"/>
          </a:xfrm>
        </p:grpSpPr>
        <p:grpSp>
          <p:nvGrpSpPr>
            <p:cNvPr id="19" name="Group 214">
              <a:extLst>
                <a:ext uri="{FF2B5EF4-FFF2-40B4-BE49-F238E27FC236}">
                  <a16:creationId xmlns:a16="http://schemas.microsoft.com/office/drawing/2014/main" id="{BCE4AC4C-51F3-43ED-97E0-8A80DD05CF11}"/>
                </a:ext>
              </a:extLst>
            </p:cNvPr>
            <p:cNvGrpSpPr/>
            <p:nvPr/>
          </p:nvGrpSpPr>
          <p:grpSpPr>
            <a:xfrm>
              <a:off x="4756595" y="4440522"/>
              <a:ext cx="869367" cy="495891"/>
              <a:chOff x="4728581" y="3825959"/>
              <a:chExt cx="869367" cy="495891"/>
            </a:xfrm>
          </p:grpSpPr>
          <p:cxnSp>
            <p:nvCxnSpPr>
              <p:cNvPr id="21" name="Straight Connector 207">
                <a:extLst>
                  <a:ext uri="{FF2B5EF4-FFF2-40B4-BE49-F238E27FC236}">
                    <a16:creationId xmlns:a16="http://schemas.microsoft.com/office/drawing/2014/main" id="{6BDCB767-3D2A-45B1-96A0-7EEA067B7431}"/>
                  </a:ext>
                </a:extLst>
              </p:cNvPr>
              <p:cNvCxnSpPr/>
              <p:nvPr/>
            </p:nvCxnSpPr>
            <p:spPr>
              <a:xfrm flipV="1">
                <a:off x="4730657" y="3825959"/>
                <a:ext cx="433645" cy="246908"/>
              </a:xfrm>
              <a:prstGeom prst="line">
                <a:avLst/>
              </a:prstGeom>
              <a:ln>
                <a:solidFill>
                  <a:schemeClr val="accent1">
                    <a:alpha val="60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08">
                <a:extLst>
                  <a:ext uri="{FF2B5EF4-FFF2-40B4-BE49-F238E27FC236}">
                    <a16:creationId xmlns:a16="http://schemas.microsoft.com/office/drawing/2014/main" id="{EC000623-167B-4082-AB49-89F183833065}"/>
                  </a:ext>
                </a:extLst>
              </p:cNvPr>
              <p:cNvCxnSpPr>
                <a:cxnSpLocks/>
              </p:cNvCxnSpPr>
              <p:nvPr/>
            </p:nvCxnSpPr>
            <p:spPr>
              <a:xfrm>
                <a:off x="4728581" y="4070792"/>
                <a:ext cx="433647" cy="248983"/>
              </a:xfrm>
              <a:prstGeom prst="line">
                <a:avLst/>
              </a:prstGeom>
              <a:ln>
                <a:solidFill>
                  <a:schemeClr val="accent1">
                    <a:alpha val="60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09">
                <a:extLst>
                  <a:ext uri="{FF2B5EF4-FFF2-40B4-BE49-F238E27FC236}">
                    <a16:creationId xmlns:a16="http://schemas.microsoft.com/office/drawing/2014/main" id="{A1E1C565-9FF7-408A-8A58-52F3150523A7}"/>
                  </a:ext>
                </a:extLst>
              </p:cNvPr>
              <p:cNvCxnSpPr/>
              <p:nvPr/>
            </p:nvCxnSpPr>
            <p:spPr>
              <a:xfrm flipV="1">
                <a:off x="5162228" y="4072867"/>
                <a:ext cx="435720" cy="248983"/>
              </a:xfrm>
              <a:prstGeom prst="line">
                <a:avLst/>
              </a:prstGeom>
              <a:ln>
                <a:solidFill>
                  <a:schemeClr val="accent1">
                    <a:alpha val="60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10">
                <a:extLst>
                  <a:ext uri="{FF2B5EF4-FFF2-40B4-BE49-F238E27FC236}">
                    <a16:creationId xmlns:a16="http://schemas.microsoft.com/office/drawing/2014/main" id="{FE4AE93E-6FC4-4638-B7DA-EDCC389D646F}"/>
                  </a:ext>
                </a:extLst>
              </p:cNvPr>
              <p:cNvCxnSpPr/>
              <p:nvPr/>
            </p:nvCxnSpPr>
            <p:spPr>
              <a:xfrm flipH="1" flipV="1">
                <a:off x="5162228" y="3825959"/>
                <a:ext cx="435720" cy="246908"/>
              </a:xfrm>
              <a:prstGeom prst="line">
                <a:avLst/>
              </a:prstGeom>
              <a:ln>
                <a:solidFill>
                  <a:schemeClr val="accent1">
                    <a:alpha val="60000"/>
                  </a:schemeClr>
                </a:solidFill>
              </a:ln>
            </p:spPr>
            <p:style>
              <a:lnRef idx="1">
                <a:schemeClr val="accent1"/>
              </a:lnRef>
              <a:fillRef idx="0">
                <a:schemeClr val="accent1"/>
              </a:fillRef>
              <a:effectRef idx="0">
                <a:schemeClr val="accent1"/>
              </a:effectRef>
              <a:fontRef idx="minor">
                <a:schemeClr val="tx1"/>
              </a:fontRef>
            </p:style>
          </p:cxnSp>
        </p:grpSp>
        <p:sp>
          <p:nvSpPr>
            <p:cNvPr id="20" name="Freeform 1391">
              <a:extLst>
                <a:ext uri="{FF2B5EF4-FFF2-40B4-BE49-F238E27FC236}">
                  <a16:creationId xmlns:a16="http://schemas.microsoft.com/office/drawing/2014/main" id="{3DEB30DE-5C63-4372-9348-0D0C8DAD10F5}"/>
                </a:ext>
              </a:extLst>
            </p:cNvPr>
            <p:cNvSpPr>
              <a:spLocks/>
            </p:cNvSpPr>
            <p:nvPr/>
          </p:nvSpPr>
          <p:spPr bwMode="auto">
            <a:xfrm>
              <a:off x="5378627" y="4729433"/>
              <a:ext cx="1591417" cy="616233"/>
            </a:xfrm>
            <a:custGeom>
              <a:avLst/>
              <a:gdLst>
                <a:gd name="T0" fmla="*/ 322 w 323"/>
                <a:gd name="T1" fmla="*/ 0 h 123"/>
                <a:gd name="T2" fmla="*/ 314 w 323"/>
                <a:gd name="T3" fmla="*/ 5 h 123"/>
                <a:gd name="T4" fmla="*/ 300 w 323"/>
                <a:gd name="T5" fmla="*/ 28 h 123"/>
                <a:gd name="T6" fmla="*/ 300 w 323"/>
                <a:gd name="T7" fmla="*/ 38 h 123"/>
                <a:gd name="T8" fmla="*/ 288 w 323"/>
                <a:gd name="T9" fmla="*/ 60 h 123"/>
                <a:gd name="T10" fmla="*/ 246 w 323"/>
                <a:gd name="T11" fmla="*/ 84 h 123"/>
                <a:gd name="T12" fmla="*/ 179 w 323"/>
                <a:gd name="T13" fmla="*/ 122 h 123"/>
                <a:gd name="T14" fmla="*/ 0 w 323"/>
                <a:gd name="T15" fmla="*/ 19 h 123"/>
                <a:gd name="T16" fmla="*/ 0 w 323"/>
                <a:gd name="T17" fmla="*/ 21 h 123"/>
                <a:gd name="T18" fmla="*/ 178 w 323"/>
                <a:gd name="T19" fmla="*/ 123 h 123"/>
                <a:gd name="T20" fmla="*/ 179 w 323"/>
                <a:gd name="T21" fmla="*/ 123 h 123"/>
                <a:gd name="T22" fmla="*/ 247 w 323"/>
                <a:gd name="T23" fmla="*/ 85 h 123"/>
                <a:gd name="T24" fmla="*/ 289 w 323"/>
                <a:gd name="T25" fmla="*/ 61 h 123"/>
                <a:gd name="T26" fmla="*/ 302 w 323"/>
                <a:gd name="T27" fmla="*/ 38 h 123"/>
                <a:gd name="T28" fmla="*/ 302 w 323"/>
                <a:gd name="T29" fmla="*/ 28 h 123"/>
                <a:gd name="T30" fmla="*/ 314 w 323"/>
                <a:gd name="T31" fmla="*/ 7 h 123"/>
                <a:gd name="T32" fmla="*/ 323 w 323"/>
                <a:gd name="T33" fmla="*/ 1 h 123"/>
                <a:gd name="T34" fmla="*/ 322 w 323"/>
                <a:gd name="T35" fmla="*/ 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23" h="123">
                  <a:moveTo>
                    <a:pt x="322" y="0"/>
                  </a:moveTo>
                  <a:cubicBezTo>
                    <a:pt x="314" y="5"/>
                    <a:pt x="314" y="5"/>
                    <a:pt x="314" y="5"/>
                  </a:cubicBezTo>
                  <a:cubicBezTo>
                    <a:pt x="306" y="10"/>
                    <a:pt x="300" y="20"/>
                    <a:pt x="300" y="28"/>
                  </a:cubicBezTo>
                  <a:cubicBezTo>
                    <a:pt x="300" y="38"/>
                    <a:pt x="300" y="38"/>
                    <a:pt x="300" y="38"/>
                  </a:cubicBezTo>
                  <a:cubicBezTo>
                    <a:pt x="300" y="46"/>
                    <a:pt x="295" y="56"/>
                    <a:pt x="288" y="60"/>
                  </a:cubicBezTo>
                  <a:cubicBezTo>
                    <a:pt x="246" y="84"/>
                    <a:pt x="246" y="84"/>
                    <a:pt x="246" y="84"/>
                  </a:cubicBezTo>
                  <a:cubicBezTo>
                    <a:pt x="179" y="122"/>
                    <a:pt x="179" y="122"/>
                    <a:pt x="179" y="122"/>
                  </a:cubicBezTo>
                  <a:cubicBezTo>
                    <a:pt x="0" y="19"/>
                    <a:pt x="0" y="19"/>
                    <a:pt x="0" y="19"/>
                  </a:cubicBezTo>
                  <a:cubicBezTo>
                    <a:pt x="0" y="21"/>
                    <a:pt x="0" y="21"/>
                    <a:pt x="0" y="21"/>
                  </a:cubicBezTo>
                  <a:cubicBezTo>
                    <a:pt x="178" y="123"/>
                    <a:pt x="178" y="123"/>
                    <a:pt x="178" y="123"/>
                  </a:cubicBezTo>
                  <a:cubicBezTo>
                    <a:pt x="179" y="123"/>
                    <a:pt x="179" y="123"/>
                    <a:pt x="179" y="123"/>
                  </a:cubicBezTo>
                  <a:cubicBezTo>
                    <a:pt x="247" y="85"/>
                    <a:pt x="247" y="85"/>
                    <a:pt x="247" y="85"/>
                  </a:cubicBezTo>
                  <a:cubicBezTo>
                    <a:pt x="289" y="61"/>
                    <a:pt x="289" y="61"/>
                    <a:pt x="289" y="61"/>
                  </a:cubicBezTo>
                  <a:cubicBezTo>
                    <a:pt x="296" y="57"/>
                    <a:pt x="302" y="47"/>
                    <a:pt x="302" y="38"/>
                  </a:cubicBezTo>
                  <a:cubicBezTo>
                    <a:pt x="302" y="28"/>
                    <a:pt x="302" y="28"/>
                    <a:pt x="302" y="28"/>
                  </a:cubicBezTo>
                  <a:cubicBezTo>
                    <a:pt x="302" y="20"/>
                    <a:pt x="307" y="10"/>
                    <a:pt x="314" y="7"/>
                  </a:cubicBezTo>
                  <a:cubicBezTo>
                    <a:pt x="323" y="1"/>
                    <a:pt x="323" y="1"/>
                    <a:pt x="323" y="1"/>
                  </a:cubicBezTo>
                  <a:cubicBezTo>
                    <a:pt x="322" y="0"/>
                    <a:pt x="322" y="0"/>
                    <a:pt x="322" y="0"/>
                  </a:cubicBezTo>
                </a:path>
              </a:pathLst>
            </a:custGeom>
            <a:solidFill>
              <a:schemeClr val="accent1">
                <a:alpha val="6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22222"/>
                </a:solidFill>
                <a:effectLst/>
                <a:uLnTx/>
                <a:uFillTx/>
                <a:latin typeface="Inter"/>
                <a:ea typeface="+mn-ea"/>
                <a:cs typeface="+mn-cs"/>
              </a:endParaRPr>
            </a:p>
          </p:txBody>
        </p:sp>
      </p:grpSp>
      <p:sp>
        <p:nvSpPr>
          <p:cNvPr id="25" name="Freeform 1172">
            <a:extLst>
              <a:ext uri="{FF2B5EF4-FFF2-40B4-BE49-F238E27FC236}">
                <a16:creationId xmlns:a16="http://schemas.microsoft.com/office/drawing/2014/main" id="{7AFAB47F-CDD1-4C91-A655-9A610E759683}"/>
              </a:ext>
            </a:extLst>
          </p:cNvPr>
          <p:cNvSpPr>
            <a:spLocks/>
          </p:cNvSpPr>
          <p:nvPr/>
        </p:nvSpPr>
        <p:spPr bwMode="auto">
          <a:xfrm>
            <a:off x="6455523" y="3456574"/>
            <a:ext cx="3162085" cy="1825876"/>
          </a:xfrm>
          <a:custGeom>
            <a:avLst/>
            <a:gdLst>
              <a:gd name="T0" fmla="*/ 762 w 1524"/>
              <a:gd name="T1" fmla="*/ 880 h 880"/>
              <a:gd name="T2" fmla="*/ 0 w 1524"/>
              <a:gd name="T3" fmla="*/ 441 h 880"/>
              <a:gd name="T4" fmla="*/ 762 w 1524"/>
              <a:gd name="T5" fmla="*/ 0 h 880"/>
              <a:gd name="T6" fmla="*/ 1524 w 1524"/>
              <a:gd name="T7" fmla="*/ 441 h 880"/>
              <a:gd name="T8" fmla="*/ 762 w 1524"/>
              <a:gd name="T9" fmla="*/ 880 h 880"/>
            </a:gdLst>
            <a:ahLst/>
            <a:cxnLst>
              <a:cxn ang="0">
                <a:pos x="T0" y="T1"/>
              </a:cxn>
              <a:cxn ang="0">
                <a:pos x="T2" y="T3"/>
              </a:cxn>
              <a:cxn ang="0">
                <a:pos x="T4" y="T5"/>
              </a:cxn>
              <a:cxn ang="0">
                <a:pos x="T6" y="T7"/>
              </a:cxn>
              <a:cxn ang="0">
                <a:pos x="T8" y="T9"/>
              </a:cxn>
            </a:cxnLst>
            <a:rect l="0" t="0" r="r" b="b"/>
            <a:pathLst>
              <a:path w="1524" h="880">
                <a:moveTo>
                  <a:pt x="762" y="880"/>
                </a:moveTo>
                <a:lnTo>
                  <a:pt x="0" y="441"/>
                </a:lnTo>
                <a:lnTo>
                  <a:pt x="762" y="0"/>
                </a:lnTo>
                <a:lnTo>
                  <a:pt x="1524" y="441"/>
                </a:lnTo>
                <a:lnTo>
                  <a:pt x="762" y="88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22222"/>
              </a:solidFill>
              <a:effectLst/>
              <a:uLnTx/>
              <a:uFillTx/>
              <a:latin typeface="Inter"/>
              <a:ea typeface="+mn-ea"/>
              <a:cs typeface="+mn-cs"/>
            </a:endParaRPr>
          </a:p>
        </p:txBody>
      </p:sp>
      <p:grpSp>
        <p:nvGrpSpPr>
          <p:cNvPr id="26" name="Group 9">
            <a:extLst>
              <a:ext uri="{FF2B5EF4-FFF2-40B4-BE49-F238E27FC236}">
                <a16:creationId xmlns:a16="http://schemas.microsoft.com/office/drawing/2014/main" id="{9245AB99-1E14-4460-A08E-DA4DE8E7C46C}"/>
              </a:ext>
            </a:extLst>
          </p:cNvPr>
          <p:cNvGrpSpPr/>
          <p:nvPr/>
        </p:nvGrpSpPr>
        <p:grpSpPr>
          <a:xfrm>
            <a:off x="6822773" y="3500145"/>
            <a:ext cx="2433810" cy="1583118"/>
            <a:chOff x="6837015" y="3350920"/>
            <a:chExt cx="2433810" cy="1583118"/>
          </a:xfrm>
        </p:grpSpPr>
        <p:sp>
          <p:nvSpPr>
            <p:cNvPr id="27" name="Freeform 1176">
              <a:extLst>
                <a:ext uri="{FF2B5EF4-FFF2-40B4-BE49-F238E27FC236}">
                  <a16:creationId xmlns:a16="http://schemas.microsoft.com/office/drawing/2014/main" id="{53E2CB4F-D4F2-4794-A103-494D90000341}"/>
                </a:ext>
              </a:extLst>
            </p:cNvPr>
            <p:cNvSpPr>
              <a:spLocks/>
            </p:cNvSpPr>
            <p:nvPr/>
          </p:nvSpPr>
          <p:spPr bwMode="auto">
            <a:xfrm>
              <a:off x="6837015" y="3527284"/>
              <a:ext cx="2433810" cy="1406754"/>
            </a:xfrm>
            <a:custGeom>
              <a:avLst/>
              <a:gdLst>
                <a:gd name="T0" fmla="*/ 585 w 1173"/>
                <a:gd name="T1" fmla="*/ 678 h 678"/>
                <a:gd name="T2" fmla="*/ 0 w 1173"/>
                <a:gd name="T3" fmla="*/ 340 h 678"/>
                <a:gd name="T4" fmla="*/ 585 w 1173"/>
                <a:gd name="T5" fmla="*/ 0 h 678"/>
                <a:gd name="T6" fmla="*/ 1173 w 1173"/>
                <a:gd name="T7" fmla="*/ 340 h 678"/>
                <a:gd name="T8" fmla="*/ 585 w 1173"/>
                <a:gd name="T9" fmla="*/ 678 h 678"/>
              </a:gdLst>
              <a:ahLst/>
              <a:cxnLst>
                <a:cxn ang="0">
                  <a:pos x="T0" y="T1"/>
                </a:cxn>
                <a:cxn ang="0">
                  <a:pos x="T2" y="T3"/>
                </a:cxn>
                <a:cxn ang="0">
                  <a:pos x="T4" y="T5"/>
                </a:cxn>
                <a:cxn ang="0">
                  <a:pos x="T6" y="T7"/>
                </a:cxn>
                <a:cxn ang="0">
                  <a:pos x="T8" y="T9"/>
                </a:cxn>
              </a:cxnLst>
              <a:rect l="0" t="0" r="r" b="b"/>
              <a:pathLst>
                <a:path w="1173" h="678">
                  <a:moveTo>
                    <a:pt x="585" y="678"/>
                  </a:moveTo>
                  <a:lnTo>
                    <a:pt x="0" y="340"/>
                  </a:lnTo>
                  <a:lnTo>
                    <a:pt x="585" y="0"/>
                  </a:lnTo>
                  <a:lnTo>
                    <a:pt x="1173" y="340"/>
                  </a:lnTo>
                  <a:lnTo>
                    <a:pt x="585" y="67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22222"/>
                </a:solidFill>
                <a:effectLst/>
                <a:uLnTx/>
                <a:uFillTx/>
                <a:latin typeface="Inter"/>
                <a:ea typeface="+mn-ea"/>
                <a:cs typeface="+mn-cs"/>
              </a:endParaRPr>
            </a:p>
          </p:txBody>
        </p:sp>
        <p:sp>
          <p:nvSpPr>
            <p:cNvPr id="28" name="Freeform 1178">
              <a:extLst>
                <a:ext uri="{FF2B5EF4-FFF2-40B4-BE49-F238E27FC236}">
                  <a16:creationId xmlns:a16="http://schemas.microsoft.com/office/drawing/2014/main" id="{9C2FE57A-6C98-4621-BF59-E0BB8D746B89}"/>
                </a:ext>
              </a:extLst>
            </p:cNvPr>
            <p:cNvSpPr>
              <a:spLocks/>
            </p:cNvSpPr>
            <p:nvPr/>
          </p:nvSpPr>
          <p:spPr bwMode="auto">
            <a:xfrm>
              <a:off x="6837015" y="3350920"/>
              <a:ext cx="2433810" cy="1406754"/>
            </a:xfrm>
            <a:custGeom>
              <a:avLst/>
              <a:gdLst>
                <a:gd name="T0" fmla="*/ 585 w 1173"/>
                <a:gd name="T1" fmla="*/ 678 h 678"/>
                <a:gd name="T2" fmla="*/ 0 w 1173"/>
                <a:gd name="T3" fmla="*/ 340 h 678"/>
                <a:gd name="T4" fmla="*/ 585 w 1173"/>
                <a:gd name="T5" fmla="*/ 0 h 678"/>
                <a:gd name="T6" fmla="*/ 1173 w 1173"/>
                <a:gd name="T7" fmla="*/ 340 h 678"/>
                <a:gd name="T8" fmla="*/ 585 w 1173"/>
                <a:gd name="T9" fmla="*/ 678 h 678"/>
              </a:gdLst>
              <a:ahLst/>
              <a:cxnLst>
                <a:cxn ang="0">
                  <a:pos x="T0" y="T1"/>
                </a:cxn>
                <a:cxn ang="0">
                  <a:pos x="T2" y="T3"/>
                </a:cxn>
                <a:cxn ang="0">
                  <a:pos x="T4" y="T5"/>
                </a:cxn>
                <a:cxn ang="0">
                  <a:pos x="T6" y="T7"/>
                </a:cxn>
                <a:cxn ang="0">
                  <a:pos x="T8" y="T9"/>
                </a:cxn>
              </a:cxnLst>
              <a:rect l="0" t="0" r="r" b="b"/>
              <a:pathLst>
                <a:path w="1173" h="678">
                  <a:moveTo>
                    <a:pt x="585" y="678"/>
                  </a:moveTo>
                  <a:lnTo>
                    <a:pt x="0" y="340"/>
                  </a:lnTo>
                  <a:lnTo>
                    <a:pt x="585" y="0"/>
                  </a:lnTo>
                  <a:lnTo>
                    <a:pt x="1173" y="340"/>
                  </a:lnTo>
                  <a:lnTo>
                    <a:pt x="585" y="678"/>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22222"/>
                </a:solidFill>
                <a:effectLst/>
                <a:uLnTx/>
                <a:uFillTx/>
                <a:latin typeface="Inter"/>
                <a:ea typeface="+mn-ea"/>
                <a:cs typeface="+mn-cs"/>
              </a:endParaRPr>
            </a:p>
          </p:txBody>
        </p:sp>
        <p:sp>
          <p:nvSpPr>
            <p:cNvPr id="29" name="Freeform 1179">
              <a:extLst>
                <a:ext uri="{FF2B5EF4-FFF2-40B4-BE49-F238E27FC236}">
                  <a16:creationId xmlns:a16="http://schemas.microsoft.com/office/drawing/2014/main" id="{9164CC0B-8009-4F20-96A3-BEF9B4478D33}"/>
                </a:ext>
              </a:extLst>
            </p:cNvPr>
            <p:cNvSpPr>
              <a:spLocks/>
            </p:cNvSpPr>
            <p:nvPr/>
          </p:nvSpPr>
          <p:spPr bwMode="auto">
            <a:xfrm>
              <a:off x="6837015" y="3350920"/>
              <a:ext cx="2433810" cy="1406754"/>
            </a:xfrm>
            <a:custGeom>
              <a:avLst/>
              <a:gdLst>
                <a:gd name="T0" fmla="*/ 585 w 1173"/>
                <a:gd name="T1" fmla="*/ 678 h 678"/>
                <a:gd name="T2" fmla="*/ 0 w 1173"/>
                <a:gd name="T3" fmla="*/ 340 h 678"/>
                <a:gd name="T4" fmla="*/ 585 w 1173"/>
                <a:gd name="T5" fmla="*/ 0 h 678"/>
                <a:gd name="T6" fmla="*/ 1173 w 1173"/>
                <a:gd name="T7" fmla="*/ 340 h 678"/>
                <a:gd name="T8" fmla="*/ 585 w 1173"/>
                <a:gd name="T9" fmla="*/ 678 h 678"/>
              </a:gdLst>
              <a:ahLst/>
              <a:cxnLst>
                <a:cxn ang="0">
                  <a:pos x="T0" y="T1"/>
                </a:cxn>
                <a:cxn ang="0">
                  <a:pos x="T2" y="T3"/>
                </a:cxn>
                <a:cxn ang="0">
                  <a:pos x="T4" y="T5"/>
                </a:cxn>
                <a:cxn ang="0">
                  <a:pos x="T6" y="T7"/>
                </a:cxn>
                <a:cxn ang="0">
                  <a:pos x="T8" y="T9"/>
                </a:cxn>
              </a:cxnLst>
              <a:rect l="0" t="0" r="r" b="b"/>
              <a:pathLst>
                <a:path w="1173" h="678">
                  <a:moveTo>
                    <a:pt x="585" y="678"/>
                  </a:moveTo>
                  <a:lnTo>
                    <a:pt x="0" y="340"/>
                  </a:lnTo>
                  <a:lnTo>
                    <a:pt x="585" y="0"/>
                  </a:lnTo>
                  <a:lnTo>
                    <a:pt x="1173" y="340"/>
                  </a:lnTo>
                  <a:lnTo>
                    <a:pt x="585" y="67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22222"/>
                </a:solidFill>
                <a:effectLst/>
                <a:uLnTx/>
                <a:uFillTx/>
                <a:latin typeface="Inter"/>
                <a:ea typeface="+mn-ea"/>
                <a:cs typeface="+mn-cs"/>
              </a:endParaRPr>
            </a:p>
          </p:txBody>
        </p:sp>
        <p:sp>
          <p:nvSpPr>
            <p:cNvPr id="30" name="Freeform 1186">
              <a:extLst>
                <a:ext uri="{FF2B5EF4-FFF2-40B4-BE49-F238E27FC236}">
                  <a16:creationId xmlns:a16="http://schemas.microsoft.com/office/drawing/2014/main" id="{AD9ACE38-305F-4691-BDE9-24A91A6E0B4F}"/>
                </a:ext>
              </a:extLst>
            </p:cNvPr>
            <p:cNvSpPr>
              <a:spLocks/>
            </p:cNvSpPr>
            <p:nvPr/>
          </p:nvSpPr>
          <p:spPr bwMode="auto">
            <a:xfrm>
              <a:off x="8050808" y="4056372"/>
              <a:ext cx="1220017" cy="877666"/>
            </a:xfrm>
            <a:custGeom>
              <a:avLst/>
              <a:gdLst>
                <a:gd name="T0" fmla="*/ 0 w 588"/>
                <a:gd name="T1" fmla="*/ 338 h 423"/>
                <a:gd name="T2" fmla="*/ 0 w 588"/>
                <a:gd name="T3" fmla="*/ 423 h 423"/>
                <a:gd name="T4" fmla="*/ 588 w 588"/>
                <a:gd name="T5" fmla="*/ 85 h 423"/>
                <a:gd name="T6" fmla="*/ 588 w 588"/>
                <a:gd name="T7" fmla="*/ 0 h 423"/>
                <a:gd name="T8" fmla="*/ 0 w 588"/>
                <a:gd name="T9" fmla="*/ 338 h 423"/>
              </a:gdLst>
              <a:ahLst/>
              <a:cxnLst>
                <a:cxn ang="0">
                  <a:pos x="T0" y="T1"/>
                </a:cxn>
                <a:cxn ang="0">
                  <a:pos x="T2" y="T3"/>
                </a:cxn>
                <a:cxn ang="0">
                  <a:pos x="T4" y="T5"/>
                </a:cxn>
                <a:cxn ang="0">
                  <a:pos x="T6" y="T7"/>
                </a:cxn>
                <a:cxn ang="0">
                  <a:pos x="T8" y="T9"/>
                </a:cxn>
              </a:cxnLst>
              <a:rect l="0" t="0" r="r" b="b"/>
              <a:pathLst>
                <a:path w="588" h="423">
                  <a:moveTo>
                    <a:pt x="0" y="338"/>
                  </a:moveTo>
                  <a:lnTo>
                    <a:pt x="0" y="423"/>
                  </a:lnTo>
                  <a:lnTo>
                    <a:pt x="588" y="85"/>
                  </a:lnTo>
                  <a:lnTo>
                    <a:pt x="588" y="0"/>
                  </a:lnTo>
                  <a:lnTo>
                    <a:pt x="0" y="338"/>
                  </a:lnTo>
                  <a:close/>
                </a:path>
              </a:pathLst>
            </a:custGeom>
            <a:gradFill flip="none" rotWithShape="1">
              <a:gsLst>
                <a:gs pos="51300">
                  <a:schemeClr val="accent1"/>
                </a:gs>
                <a:gs pos="0">
                  <a:schemeClr val="accent1">
                    <a:lumMod val="60000"/>
                    <a:lumOff val="40000"/>
                  </a:schemeClr>
                </a:gs>
                <a:gs pos="100000">
                  <a:schemeClr val="accent1">
                    <a:lumMod val="75000"/>
                  </a:schemeClr>
                </a:gs>
              </a:gsLst>
              <a:lin ang="270000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22222"/>
                </a:solidFill>
                <a:effectLst/>
                <a:uLnTx/>
                <a:uFillTx/>
                <a:latin typeface="Inter"/>
                <a:ea typeface="+mn-ea"/>
                <a:cs typeface="+mn-cs"/>
              </a:endParaRPr>
            </a:p>
          </p:txBody>
        </p:sp>
        <p:sp>
          <p:nvSpPr>
            <p:cNvPr id="31" name="Freeform 1187">
              <a:extLst>
                <a:ext uri="{FF2B5EF4-FFF2-40B4-BE49-F238E27FC236}">
                  <a16:creationId xmlns:a16="http://schemas.microsoft.com/office/drawing/2014/main" id="{3D817D3B-27B5-42A4-8861-B024C8E96E5E}"/>
                </a:ext>
              </a:extLst>
            </p:cNvPr>
            <p:cNvSpPr>
              <a:spLocks/>
            </p:cNvSpPr>
            <p:nvPr/>
          </p:nvSpPr>
          <p:spPr bwMode="auto">
            <a:xfrm>
              <a:off x="8050808" y="4056372"/>
              <a:ext cx="1220017" cy="877666"/>
            </a:xfrm>
            <a:custGeom>
              <a:avLst/>
              <a:gdLst>
                <a:gd name="T0" fmla="*/ 0 w 588"/>
                <a:gd name="T1" fmla="*/ 338 h 423"/>
                <a:gd name="T2" fmla="*/ 0 w 588"/>
                <a:gd name="T3" fmla="*/ 423 h 423"/>
                <a:gd name="T4" fmla="*/ 588 w 588"/>
                <a:gd name="T5" fmla="*/ 85 h 423"/>
                <a:gd name="T6" fmla="*/ 588 w 588"/>
                <a:gd name="T7" fmla="*/ 0 h 423"/>
                <a:gd name="T8" fmla="*/ 0 w 588"/>
                <a:gd name="T9" fmla="*/ 338 h 423"/>
              </a:gdLst>
              <a:ahLst/>
              <a:cxnLst>
                <a:cxn ang="0">
                  <a:pos x="T0" y="T1"/>
                </a:cxn>
                <a:cxn ang="0">
                  <a:pos x="T2" y="T3"/>
                </a:cxn>
                <a:cxn ang="0">
                  <a:pos x="T4" y="T5"/>
                </a:cxn>
                <a:cxn ang="0">
                  <a:pos x="T6" y="T7"/>
                </a:cxn>
                <a:cxn ang="0">
                  <a:pos x="T8" y="T9"/>
                </a:cxn>
              </a:cxnLst>
              <a:rect l="0" t="0" r="r" b="b"/>
              <a:pathLst>
                <a:path w="588" h="423">
                  <a:moveTo>
                    <a:pt x="0" y="338"/>
                  </a:moveTo>
                  <a:lnTo>
                    <a:pt x="0" y="423"/>
                  </a:lnTo>
                  <a:lnTo>
                    <a:pt x="588" y="85"/>
                  </a:lnTo>
                  <a:lnTo>
                    <a:pt x="588" y="0"/>
                  </a:lnTo>
                  <a:lnTo>
                    <a:pt x="0" y="33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22222"/>
                </a:solidFill>
                <a:effectLst/>
                <a:uLnTx/>
                <a:uFillTx/>
                <a:latin typeface="Inter"/>
                <a:ea typeface="+mn-ea"/>
                <a:cs typeface="+mn-cs"/>
              </a:endParaRPr>
            </a:p>
          </p:txBody>
        </p:sp>
        <p:sp>
          <p:nvSpPr>
            <p:cNvPr id="32" name="Freeform 1188">
              <a:extLst>
                <a:ext uri="{FF2B5EF4-FFF2-40B4-BE49-F238E27FC236}">
                  <a16:creationId xmlns:a16="http://schemas.microsoft.com/office/drawing/2014/main" id="{FDC0B485-450D-4802-AF22-0B01FD3B4288}"/>
                </a:ext>
              </a:extLst>
            </p:cNvPr>
            <p:cNvSpPr>
              <a:spLocks/>
            </p:cNvSpPr>
            <p:nvPr/>
          </p:nvSpPr>
          <p:spPr bwMode="auto">
            <a:xfrm>
              <a:off x="6837015" y="4053262"/>
              <a:ext cx="1213793" cy="877666"/>
            </a:xfrm>
            <a:custGeom>
              <a:avLst/>
              <a:gdLst>
                <a:gd name="T0" fmla="*/ 0 w 585"/>
                <a:gd name="T1" fmla="*/ 0 h 423"/>
                <a:gd name="T2" fmla="*/ 0 w 585"/>
                <a:gd name="T3" fmla="*/ 85 h 423"/>
                <a:gd name="T4" fmla="*/ 585 w 585"/>
                <a:gd name="T5" fmla="*/ 423 h 423"/>
                <a:gd name="T6" fmla="*/ 585 w 585"/>
                <a:gd name="T7" fmla="*/ 338 h 423"/>
                <a:gd name="T8" fmla="*/ 0 w 585"/>
                <a:gd name="T9" fmla="*/ 0 h 423"/>
              </a:gdLst>
              <a:ahLst/>
              <a:cxnLst>
                <a:cxn ang="0">
                  <a:pos x="T0" y="T1"/>
                </a:cxn>
                <a:cxn ang="0">
                  <a:pos x="T2" y="T3"/>
                </a:cxn>
                <a:cxn ang="0">
                  <a:pos x="T4" y="T5"/>
                </a:cxn>
                <a:cxn ang="0">
                  <a:pos x="T6" y="T7"/>
                </a:cxn>
                <a:cxn ang="0">
                  <a:pos x="T8" y="T9"/>
                </a:cxn>
              </a:cxnLst>
              <a:rect l="0" t="0" r="r" b="b"/>
              <a:pathLst>
                <a:path w="585" h="423">
                  <a:moveTo>
                    <a:pt x="0" y="0"/>
                  </a:moveTo>
                  <a:lnTo>
                    <a:pt x="0" y="85"/>
                  </a:lnTo>
                  <a:lnTo>
                    <a:pt x="585" y="423"/>
                  </a:lnTo>
                  <a:lnTo>
                    <a:pt x="585" y="338"/>
                  </a:lnTo>
                  <a:lnTo>
                    <a:pt x="0" y="0"/>
                  </a:lnTo>
                  <a:close/>
                </a:path>
              </a:pathLst>
            </a:custGeom>
            <a:gradFill>
              <a:gsLst>
                <a:gs pos="51300">
                  <a:schemeClr val="accent1">
                    <a:lumMod val="75000"/>
                  </a:schemeClr>
                </a:gs>
                <a:gs pos="0">
                  <a:schemeClr val="accent1"/>
                </a:gs>
                <a:gs pos="100000">
                  <a:schemeClr val="accent1">
                    <a:lumMod val="60000"/>
                    <a:lumOff val="40000"/>
                  </a:schemeClr>
                </a:gs>
              </a:gsLst>
              <a:lin ang="2700000" scaled="1"/>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22222"/>
                </a:solidFill>
                <a:effectLst/>
                <a:uLnTx/>
                <a:uFillTx/>
                <a:latin typeface="Inter"/>
                <a:ea typeface="+mn-ea"/>
                <a:cs typeface="+mn-cs"/>
              </a:endParaRPr>
            </a:p>
          </p:txBody>
        </p:sp>
        <p:sp>
          <p:nvSpPr>
            <p:cNvPr id="33" name="Freeform 1189">
              <a:extLst>
                <a:ext uri="{FF2B5EF4-FFF2-40B4-BE49-F238E27FC236}">
                  <a16:creationId xmlns:a16="http://schemas.microsoft.com/office/drawing/2014/main" id="{AEAD61FF-A8D9-4619-9837-EE8D5ADE8724}"/>
                </a:ext>
              </a:extLst>
            </p:cNvPr>
            <p:cNvSpPr>
              <a:spLocks/>
            </p:cNvSpPr>
            <p:nvPr/>
          </p:nvSpPr>
          <p:spPr bwMode="auto">
            <a:xfrm>
              <a:off x="6839396" y="4053991"/>
              <a:ext cx="1213793" cy="877666"/>
            </a:xfrm>
            <a:custGeom>
              <a:avLst/>
              <a:gdLst>
                <a:gd name="T0" fmla="*/ 0 w 585"/>
                <a:gd name="T1" fmla="*/ 0 h 423"/>
                <a:gd name="T2" fmla="*/ 0 w 585"/>
                <a:gd name="T3" fmla="*/ 85 h 423"/>
                <a:gd name="T4" fmla="*/ 585 w 585"/>
                <a:gd name="T5" fmla="*/ 423 h 423"/>
                <a:gd name="T6" fmla="*/ 585 w 585"/>
                <a:gd name="T7" fmla="*/ 338 h 423"/>
                <a:gd name="T8" fmla="*/ 0 w 585"/>
                <a:gd name="T9" fmla="*/ 0 h 423"/>
              </a:gdLst>
              <a:ahLst/>
              <a:cxnLst>
                <a:cxn ang="0">
                  <a:pos x="T0" y="T1"/>
                </a:cxn>
                <a:cxn ang="0">
                  <a:pos x="T2" y="T3"/>
                </a:cxn>
                <a:cxn ang="0">
                  <a:pos x="T4" y="T5"/>
                </a:cxn>
                <a:cxn ang="0">
                  <a:pos x="T6" y="T7"/>
                </a:cxn>
                <a:cxn ang="0">
                  <a:pos x="T8" y="T9"/>
                </a:cxn>
              </a:cxnLst>
              <a:rect l="0" t="0" r="r" b="b"/>
              <a:pathLst>
                <a:path w="585" h="423">
                  <a:moveTo>
                    <a:pt x="0" y="0"/>
                  </a:moveTo>
                  <a:lnTo>
                    <a:pt x="0" y="85"/>
                  </a:lnTo>
                  <a:lnTo>
                    <a:pt x="585" y="423"/>
                  </a:lnTo>
                  <a:lnTo>
                    <a:pt x="585" y="33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22222"/>
                </a:solidFill>
                <a:effectLst/>
                <a:uLnTx/>
                <a:uFillTx/>
                <a:latin typeface="Inter"/>
                <a:ea typeface="+mn-ea"/>
                <a:cs typeface="+mn-cs"/>
              </a:endParaRPr>
            </a:p>
          </p:txBody>
        </p:sp>
        <p:sp>
          <p:nvSpPr>
            <p:cNvPr id="34" name="Freeform 1190">
              <a:extLst>
                <a:ext uri="{FF2B5EF4-FFF2-40B4-BE49-F238E27FC236}">
                  <a16:creationId xmlns:a16="http://schemas.microsoft.com/office/drawing/2014/main" id="{ED107A9D-7F2D-4A8A-8DBE-0416466642F1}"/>
                </a:ext>
              </a:extLst>
            </p:cNvPr>
            <p:cNvSpPr>
              <a:spLocks/>
            </p:cNvSpPr>
            <p:nvPr/>
          </p:nvSpPr>
          <p:spPr bwMode="auto">
            <a:xfrm>
              <a:off x="9250076" y="4045998"/>
              <a:ext cx="20749" cy="10375"/>
            </a:xfrm>
            <a:custGeom>
              <a:avLst/>
              <a:gdLst>
                <a:gd name="T0" fmla="*/ 0 w 10"/>
                <a:gd name="T1" fmla="*/ 0 h 5"/>
                <a:gd name="T2" fmla="*/ 0 w 10"/>
                <a:gd name="T3" fmla="*/ 0 h 5"/>
                <a:gd name="T4" fmla="*/ 10 w 10"/>
                <a:gd name="T5" fmla="*/ 5 h 5"/>
                <a:gd name="T6" fmla="*/ 10 w 10"/>
                <a:gd name="T7" fmla="*/ 5 h 5"/>
                <a:gd name="T8" fmla="*/ 0 w 10"/>
                <a:gd name="T9" fmla="*/ 0 h 5"/>
              </a:gdLst>
              <a:ahLst/>
              <a:cxnLst>
                <a:cxn ang="0">
                  <a:pos x="T0" y="T1"/>
                </a:cxn>
                <a:cxn ang="0">
                  <a:pos x="T2" y="T3"/>
                </a:cxn>
                <a:cxn ang="0">
                  <a:pos x="T4" y="T5"/>
                </a:cxn>
                <a:cxn ang="0">
                  <a:pos x="T6" y="T7"/>
                </a:cxn>
                <a:cxn ang="0">
                  <a:pos x="T8" y="T9"/>
                </a:cxn>
              </a:cxnLst>
              <a:rect l="0" t="0" r="r" b="b"/>
              <a:pathLst>
                <a:path w="10" h="5">
                  <a:moveTo>
                    <a:pt x="0" y="0"/>
                  </a:moveTo>
                  <a:lnTo>
                    <a:pt x="0" y="0"/>
                  </a:lnTo>
                  <a:lnTo>
                    <a:pt x="10" y="5"/>
                  </a:lnTo>
                  <a:lnTo>
                    <a:pt x="10" y="5"/>
                  </a:lnTo>
                  <a:lnTo>
                    <a:pt x="0"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22222"/>
                </a:solidFill>
                <a:effectLst/>
                <a:uLnTx/>
                <a:uFillTx/>
                <a:latin typeface="Inter"/>
                <a:ea typeface="+mn-ea"/>
                <a:cs typeface="+mn-cs"/>
              </a:endParaRPr>
            </a:p>
          </p:txBody>
        </p:sp>
        <p:sp>
          <p:nvSpPr>
            <p:cNvPr id="35" name="Freeform 1191">
              <a:extLst>
                <a:ext uri="{FF2B5EF4-FFF2-40B4-BE49-F238E27FC236}">
                  <a16:creationId xmlns:a16="http://schemas.microsoft.com/office/drawing/2014/main" id="{3CD966C4-54A6-4A05-AC28-82BB97294F10}"/>
                </a:ext>
              </a:extLst>
            </p:cNvPr>
            <p:cNvSpPr>
              <a:spLocks/>
            </p:cNvSpPr>
            <p:nvPr/>
          </p:nvSpPr>
          <p:spPr bwMode="auto">
            <a:xfrm>
              <a:off x="9250076" y="4045998"/>
              <a:ext cx="20749" cy="10375"/>
            </a:xfrm>
            <a:custGeom>
              <a:avLst/>
              <a:gdLst>
                <a:gd name="T0" fmla="*/ 0 w 10"/>
                <a:gd name="T1" fmla="*/ 0 h 5"/>
                <a:gd name="T2" fmla="*/ 0 w 10"/>
                <a:gd name="T3" fmla="*/ 0 h 5"/>
                <a:gd name="T4" fmla="*/ 10 w 10"/>
                <a:gd name="T5" fmla="*/ 5 h 5"/>
                <a:gd name="T6" fmla="*/ 10 w 10"/>
                <a:gd name="T7" fmla="*/ 5 h 5"/>
                <a:gd name="T8" fmla="*/ 0 w 10"/>
                <a:gd name="T9" fmla="*/ 0 h 5"/>
              </a:gdLst>
              <a:ahLst/>
              <a:cxnLst>
                <a:cxn ang="0">
                  <a:pos x="T0" y="T1"/>
                </a:cxn>
                <a:cxn ang="0">
                  <a:pos x="T2" y="T3"/>
                </a:cxn>
                <a:cxn ang="0">
                  <a:pos x="T4" y="T5"/>
                </a:cxn>
                <a:cxn ang="0">
                  <a:pos x="T6" y="T7"/>
                </a:cxn>
                <a:cxn ang="0">
                  <a:pos x="T8" y="T9"/>
                </a:cxn>
              </a:cxnLst>
              <a:rect l="0" t="0" r="r" b="b"/>
              <a:pathLst>
                <a:path w="10" h="5">
                  <a:moveTo>
                    <a:pt x="0" y="0"/>
                  </a:moveTo>
                  <a:lnTo>
                    <a:pt x="0" y="0"/>
                  </a:lnTo>
                  <a:lnTo>
                    <a:pt x="10" y="5"/>
                  </a:lnTo>
                  <a:lnTo>
                    <a:pt x="10" y="5"/>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22222"/>
                </a:solidFill>
                <a:effectLst/>
                <a:uLnTx/>
                <a:uFillTx/>
                <a:latin typeface="Inter"/>
                <a:ea typeface="+mn-ea"/>
                <a:cs typeface="+mn-cs"/>
              </a:endParaRPr>
            </a:p>
          </p:txBody>
        </p:sp>
      </p:grpSp>
      <p:grpSp>
        <p:nvGrpSpPr>
          <p:cNvPr id="36" name="Group 21">
            <a:extLst>
              <a:ext uri="{FF2B5EF4-FFF2-40B4-BE49-F238E27FC236}">
                <a16:creationId xmlns:a16="http://schemas.microsoft.com/office/drawing/2014/main" id="{5445D39F-C40A-4DAA-A5D4-3495D4E9F00C}"/>
              </a:ext>
            </a:extLst>
          </p:cNvPr>
          <p:cNvGrpSpPr/>
          <p:nvPr/>
        </p:nvGrpSpPr>
        <p:grpSpPr>
          <a:xfrm>
            <a:off x="6213950" y="2408769"/>
            <a:ext cx="593410" cy="680554"/>
            <a:chOff x="6175135" y="2259544"/>
            <a:chExt cx="593410" cy="680554"/>
          </a:xfrm>
        </p:grpSpPr>
        <p:sp>
          <p:nvSpPr>
            <p:cNvPr id="37" name="Freeform 1195">
              <a:extLst>
                <a:ext uri="{FF2B5EF4-FFF2-40B4-BE49-F238E27FC236}">
                  <a16:creationId xmlns:a16="http://schemas.microsoft.com/office/drawing/2014/main" id="{36C03BA7-E0AE-4BD4-8DF7-CD589D0D91CF}"/>
                </a:ext>
              </a:extLst>
            </p:cNvPr>
            <p:cNvSpPr>
              <a:spLocks/>
            </p:cNvSpPr>
            <p:nvPr/>
          </p:nvSpPr>
          <p:spPr bwMode="auto">
            <a:xfrm>
              <a:off x="6175135" y="2425532"/>
              <a:ext cx="294630" cy="514565"/>
            </a:xfrm>
            <a:custGeom>
              <a:avLst/>
              <a:gdLst>
                <a:gd name="T0" fmla="*/ 142 w 142"/>
                <a:gd name="T1" fmla="*/ 248 h 248"/>
                <a:gd name="T2" fmla="*/ 0 w 142"/>
                <a:gd name="T3" fmla="*/ 166 h 248"/>
                <a:gd name="T4" fmla="*/ 0 w 142"/>
                <a:gd name="T5" fmla="*/ 0 h 248"/>
                <a:gd name="T6" fmla="*/ 142 w 142"/>
                <a:gd name="T7" fmla="*/ 83 h 248"/>
                <a:gd name="T8" fmla="*/ 142 w 142"/>
                <a:gd name="T9" fmla="*/ 248 h 248"/>
              </a:gdLst>
              <a:ahLst/>
              <a:cxnLst>
                <a:cxn ang="0">
                  <a:pos x="T0" y="T1"/>
                </a:cxn>
                <a:cxn ang="0">
                  <a:pos x="T2" y="T3"/>
                </a:cxn>
                <a:cxn ang="0">
                  <a:pos x="T4" y="T5"/>
                </a:cxn>
                <a:cxn ang="0">
                  <a:pos x="T6" y="T7"/>
                </a:cxn>
                <a:cxn ang="0">
                  <a:pos x="T8" y="T9"/>
                </a:cxn>
              </a:cxnLst>
              <a:rect l="0" t="0" r="r" b="b"/>
              <a:pathLst>
                <a:path w="142" h="248">
                  <a:moveTo>
                    <a:pt x="142" y="248"/>
                  </a:moveTo>
                  <a:lnTo>
                    <a:pt x="0" y="166"/>
                  </a:lnTo>
                  <a:lnTo>
                    <a:pt x="0" y="0"/>
                  </a:lnTo>
                  <a:lnTo>
                    <a:pt x="142" y="83"/>
                  </a:lnTo>
                  <a:lnTo>
                    <a:pt x="142" y="248"/>
                  </a:ln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22222"/>
                </a:solidFill>
                <a:effectLst/>
                <a:uLnTx/>
                <a:uFillTx/>
                <a:latin typeface="Inter"/>
                <a:ea typeface="+mn-ea"/>
                <a:cs typeface="+mn-cs"/>
              </a:endParaRPr>
            </a:p>
          </p:txBody>
        </p:sp>
        <p:sp>
          <p:nvSpPr>
            <p:cNvPr id="38" name="Freeform 1196">
              <a:extLst>
                <a:ext uri="{FF2B5EF4-FFF2-40B4-BE49-F238E27FC236}">
                  <a16:creationId xmlns:a16="http://schemas.microsoft.com/office/drawing/2014/main" id="{44E08DDA-E0D7-4596-982E-7B8647E21E95}"/>
                </a:ext>
              </a:extLst>
            </p:cNvPr>
            <p:cNvSpPr>
              <a:spLocks/>
            </p:cNvSpPr>
            <p:nvPr/>
          </p:nvSpPr>
          <p:spPr bwMode="auto">
            <a:xfrm>
              <a:off x="6469765" y="2425533"/>
              <a:ext cx="298780" cy="514565"/>
            </a:xfrm>
            <a:custGeom>
              <a:avLst/>
              <a:gdLst>
                <a:gd name="T0" fmla="*/ 144 w 144"/>
                <a:gd name="T1" fmla="*/ 166 h 248"/>
                <a:gd name="T2" fmla="*/ 0 w 144"/>
                <a:gd name="T3" fmla="*/ 248 h 248"/>
                <a:gd name="T4" fmla="*/ 0 w 144"/>
                <a:gd name="T5" fmla="*/ 83 h 248"/>
                <a:gd name="T6" fmla="*/ 144 w 144"/>
                <a:gd name="T7" fmla="*/ 0 h 248"/>
                <a:gd name="T8" fmla="*/ 144 w 144"/>
                <a:gd name="T9" fmla="*/ 166 h 248"/>
              </a:gdLst>
              <a:ahLst/>
              <a:cxnLst>
                <a:cxn ang="0">
                  <a:pos x="T0" y="T1"/>
                </a:cxn>
                <a:cxn ang="0">
                  <a:pos x="T2" y="T3"/>
                </a:cxn>
                <a:cxn ang="0">
                  <a:pos x="T4" y="T5"/>
                </a:cxn>
                <a:cxn ang="0">
                  <a:pos x="T6" y="T7"/>
                </a:cxn>
                <a:cxn ang="0">
                  <a:pos x="T8" y="T9"/>
                </a:cxn>
              </a:cxnLst>
              <a:rect l="0" t="0" r="r" b="b"/>
              <a:pathLst>
                <a:path w="144" h="248">
                  <a:moveTo>
                    <a:pt x="144" y="166"/>
                  </a:moveTo>
                  <a:lnTo>
                    <a:pt x="0" y="248"/>
                  </a:lnTo>
                  <a:lnTo>
                    <a:pt x="0" y="83"/>
                  </a:lnTo>
                  <a:lnTo>
                    <a:pt x="144" y="0"/>
                  </a:lnTo>
                  <a:lnTo>
                    <a:pt x="144" y="166"/>
                  </a:lnTo>
                  <a:close/>
                </a:path>
              </a:pathLst>
            </a:custGeom>
            <a:solidFill>
              <a:schemeClr val="accent1">
                <a:lumMod val="60000"/>
                <a:lumOff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22222"/>
                </a:solidFill>
                <a:effectLst/>
                <a:uLnTx/>
                <a:uFillTx/>
                <a:latin typeface="Inter"/>
                <a:ea typeface="+mn-ea"/>
                <a:cs typeface="+mn-cs"/>
              </a:endParaRPr>
            </a:p>
          </p:txBody>
        </p:sp>
        <p:sp>
          <p:nvSpPr>
            <p:cNvPr id="39" name="Freeform 1197">
              <a:extLst>
                <a:ext uri="{FF2B5EF4-FFF2-40B4-BE49-F238E27FC236}">
                  <a16:creationId xmlns:a16="http://schemas.microsoft.com/office/drawing/2014/main" id="{C45D4D20-5BB5-43D1-BA96-660D8CB21FAD}"/>
                </a:ext>
              </a:extLst>
            </p:cNvPr>
            <p:cNvSpPr>
              <a:spLocks/>
            </p:cNvSpPr>
            <p:nvPr/>
          </p:nvSpPr>
          <p:spPr bwMode="auto">
            <a:xfrm>
              <a:off x="6175135" y="2259544"/>
              <a:ext cx="593410" cy="338203"/>
            </a:xfrm>
            <a:custGeom>
              <a:avLst/>
              <a:gdLst>
                <a:gd name="T0" fmla="*/ 142 w 286"/>
                <a:gd name="T1" fmla="*/ 163 h 163"/>
                <a:gd name="T2" fmla="*/ 0 w 286"/>
                <a:gd name="T3" fmla="*/ 80 h 163"/>
                <a:gd name="T4" fmla="*/ 142 w 286"/>
                <a:gd name="T5" fmla="*/ 0 h 163"/>
                <a:gd name="T6" fmla="*/ 286 w 286"/>
                <a:gd name="T7" fmla="*/ 80 h 163"/>
                <a:gd name="T8" fmla="*/ 142 w 286"/>
                <a:gd name="T9" fmla="*/ 163 h 163"/>
              </a:gdLst>
              <a:ahLst/>
              <a:cxnLst>
                <a:cxn ang="0">
                  <a:pos x="T0" y="T1"/>
                </a:cxn>
                <a:cxn ang="0">
                  <a:pos x="T2" y="T3"/>
                </a:cxn>
                <a:cxn ang="0">
                  <a:pos x="T4" y="T5"/>
                </a:cxn>
                <a:cxn ang="0">
                  <a:pos x="T6" y="T7"/>
                </a:cxn>
                <a:cxn ang="0">
                  <a:pos x="T8" y="T9"/>
                </a:cxn>
              </a:cxnLst>
              <a:rect l="0" t="0" r="r" b="b"/>
              <a:pathLst>
                <a:path w="286" h="163">
                  <a:moveTo>
                    <a:pt x="142" y="163"/>
                  </a:moveTo>
                  <a:lnTo>
                    <a:pt x="0" y="80"/>
                  </a:lnTo>
                  <a:lnTo>
                    <a:pt x="142" y="0"/>
                  </a:lnTo>
                  <a:lnTo>
                    <a:pt x="286" y="80"/>
                  </a:lnTo>
                  <a:lnTo>
                    <a:pt x="142" y="163"/>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22222"/>
                </a:solidFill>
                <a:effectLst/>
                <a:uLnTx/>
                <a:uFillTx/>
                <a:latin typeface="Inter"/>
                <a:ea typeface="+mn-ea"/>
                <a:cs typeface="+mn-cs"/>
              </a:endParaRPr>
            </a:p>
          </p:txBody>
        </p:sp>
      </p:grpSp>
      <p:grpSp>
        <p:nvGrpSpPr>
          <p:cNvPr id="40" name="Group 28">
            <a:extLst>
              <a:ext uri="{FF2B5EF4-FFF2-40B4-BE49-F238E27FC236}">
                <a16:creationId xmlns:a16="http://schemas.microsoft.com/office/drawing/2014/main" id="{51AA51DF-88C4-4B89-A053-D86E5FA68032}"/>
              </a:ext>
            </a:extLst>
          </p:cNvPr>
          <p:cNvGrpSpPr/>
          <p:nvPr/>
        </p:nvGrpSpPr>
        <p:grpSpPr>
          <a:xfrm>
            <a:off x="6210775" y="1894204"/>
            <a:ext cx="593410" cy="680555"/>
            <a:chOff x="6175135" y="1744979"/>
            <a:chExt cx="593410" cy="680555"/>
          </a:xfrm>
        </p:grpSpPr>
        <p:sp>
          <p:nvSpPr>
            <p:cNvPr id="41" name="Freeform 1201">
              <a:extLst>
                <a:ext uri="{FF2B5EF4-FFF2-40B4-BE49-F238E27FC236}">
                  <a16:creationId xmlns:a16="http://schemas.microsoft.com/office/drawing/2014/main" id="{309AEBC5-BC62-488A-A085-A2656F7584B8}"/>
                </a:ext>
              </a:extLst>
            </p:cNvPr>
            <p:cNvSpPr>
              <a:spLocks/>
            </p:cNvSpPr>
            <p:nvPr/>
          </p:nvSpPr>
          <p:spPr bwMode="auto">
            <a:xfrm>
              <a:off x="6175135" y="1917193"/>
              <a:ext cx="294630" cy="508341"/>
            </a:xfrm>
            <a:custGeom>
              <a:avLst/>
              <a:gdLst>
                <a:gd name="T0" fmla="*/ 142 w 142"/>
                <a:gd name="T1" fmla="*/ 245 h 245"/>
                <a:gd name="T2" fmla="*/ 0 w 142"/>
                <a:gd name="T3" fmla="*/ 165 h 245"/>
                <a:gd name="T4" fmla="*/ 0 w 142"/>
                <a:gd name="T5" fmla="*/ 0 h 245"/>
                <a:gd name="T6" fmla="*/ 142 w 142"/>
                <a:gd name="T7" fmla="*/ 83 h 245"/>
                <a:gd name="T8" fmla="*/ 142 w 142"/>
                <a:gd name="T9" fmla="*/ 245 h 245"/>
              </a:gdLst>
              <a:ahLst/>
              <a:cxnLst>
                <a:cxn ang="0">
                  <a:pos x="T0" y="T1"/>
                </a:cxn>
                <a:cxn ang="0">
                  <a:pos x="T2" y="T3"/>
                </a:cxn>
                <a:cxn ang="0">
                  <a:pos x="T4" y="T5"/>
                </a:cxn>
                <a:cxn ang="0">
                  <a:pos x="T6" y="T7"/>
                </a:cxn>
                <a:cxn ang="0">
                  <a:pos x="T8" y="T9"/>
                </a:cxn>
              </a:cxnLst>
              <a:rect l="0" t="0" r="r" b="b"/>
              <a:pathLst>
                <a:path w="142" h="245">
                  <a:moveTo>
                    <a:pt x="142" y="245"/>
                  </a:moveTo>
                  <a:lnTo>
                    <a:pt x="0" y="165"/>
                  </a:lnTo>
                  <a:lnTo>
                    <a:pt x="0" y="0"/>
                  </a:lnTo>
                  <a:lnTo>
                    <a:pt x="142" y="83"/>
                  </a:lnTo>
                  <a:lnTo>
                    <a:pt x="142" y="245"/>
                  </a:ln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22222"/>
                </a:solidFill>
                <a:effectLst/>
                <a:uLnTx/>
                <a:uFillTx/>
                <a:latin typeface="Inter"/>
                <a:ea typeface="+mn-ea"/>
                <a:cs typeface="+mn-cs"/>
              </a:endParaRPr>
            </a:p>
          </p:txBody>
        </p:sp>
        <p:sp>
          <p:nvSpPr>
            <p:cNvPr id="42" name="Freeform 1202">
              <a:extLst>
                <a:ext uri="{FF2B5EF4-FFF2-40B4-BE49-F238E27FC236}">
                  <a16:creationId xmlns:a16="http://schemas.microsoft.com/office/drawing/2014/main" id="{0B0D7DD1-BEB7-4FE5-961D-774A6563607B}"/>
                </a:ext>
              </a:extLst>
            </p:cNvPr>
            <p:cNvSpPr>
              <a:spLocks/>
            </p:cNvSpPr>
            <p:nvPr/>
          </p:nvSpPr>
          <p:spPr bwMode="auto">
            <a:xfrm>
              <a:off x="6469765" y="1912159"/>
              <a:ext cx="298780" cy="508341"/>
            </a:xfrm>
            <a:custGeom>
              <a:avLst/>
              <a:gdLst>
                <a:gd name="T0" fmla="*/ 144 w 144"/>
                <a:gd name="T1" fmla="*/ 165 h 245"/>
                <a:gd name="T2" fmla="*/ 0 w 144"/>
                <a:gd name="T3" fmla="*/ 245 h 245"/>
                <a:gd name="T4" fmla="*/ 0 w 144"/>
                <a:gd name="T5" fmla="*/ 83 h 245"/>
                <a:gd name="T6" fmla="*/ 144 w 144"/>
                <a:gd name="T7" fmla="*/ 0 h 245"/>
                <a:gd name="T8" fmla="*/ 144 w 144"/>
                <a:gd name="T9" fmla="*/ 165 h 245"/>
              </a:gdLst>
              <a:ahLst/>
              <a:cxnLst>
                <a:cxn ang="0">
                  <a:pos x="T0" y="T1"/>
                </a:cxn>
                <a:cxn ang="0">
                  <a:pos x="T2" y="T3"/>
                </a:cxn>
                <a:cxn ang="0">
                  <a:pos x="T4" y="T5"/>
                </a:cxn>
                <a:cxn ang="0">
                  <a:pos x="T6" y="T7"/>
                </a:cxn>
                <a:cxn ang="0">
                  <a:pos x="T8" y="T9"/>
                </a:cxn>
              </a:cxnLst>
              <a:rect l="0" t="0" r="r" b="b"/>
              <a:pathLst>
                <a:path w="144" h="245">
                  <a:moveTo>
                    <a:pt x="144" y="165"/>
                  </a:moveTo>
                  <a:lnTo>
                    <a:pt x="0" y="245"/>
                  </a:lnTo>
                  <a:lnTo>
                    <a:pt x="0" y="83"/>
                  </a:lnTo>
                  <a:lnTo>
                    <a:pt x="144" y="0"/>
                  </a:lnTo>
                  <a:lnTo>
                    <a:pt x="144" y="165"/>
                  </a:lnTo>
                  <a:close/>
                </a:path>
              </a:pathLst>
            </a:custGeom>
            <a:solidFill>
              <a:schemeClr val="accent1">
                <a:lumMod val="60000"/>
                <a:lumOff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22222"/>
                </a:solidFill>
                <a:effectLst/>
                <a:uLnTx/>
                <a:uFillTx/>
                <a:latin typeface="Inter"/>
                <a:ea typeface="+mn-ea"/>
                <a:cs typeface="+mn-cs"/>
              </a:endParaRPr>
            </a:p>
          </p:txBody>
        </p:sp>
        <p:sp>
          <p:nvSpPr>
            <p:cNvPr id="43" name="Freeform 1203">
              <a:extLst>
                <a:ext uri="{FF2B5EF4-FFF2-40B4-BE49-F238E27FC236}">
                  <a16:creationId xmlns:a16="http://schemas.microsoft.com/office/drawing/2014/main" id="{89F1A5A9-6F54-4E3C-B5BA-F9FB7848EB75}"/>
                </a:ext>
              </a:extLst>
            </p:cNvPr>
            <p:cNvSpPr>
              <a:spLocks/>
            </p:cNvSpPr>
            <p:nvPr/>
          </p:nvSpPr>
          <p:spPr bwMode="auto">
            <a:xfrm>
              <a:off x="6175135" y="1744979"/>
              <a:ext cx="593410" cy="344427"/>
            </a:xfrm>
            <a:custGeom>
              <a:avLst/>
              <a:gdLst>
                <a:gd name="T0" fmla="*/ 142 w 286"/>
                <a:gd name="T1" fmla="*/ 166 h 166"/>
                <a:gd name="T2" fmla="*/ 0 w 286"/>
                <a:gd name="T3" fmla="*/ 83 h 166"/>
                <a:gd name="T4" fmla="*/ 142 w 286"/>
                <a:gd name="T5" fmla="*/ 0 h 166"/>
                <a:gd name="T6" fmla="*/ 286 w 286"/>
                <a:gd name="T7" fmla="*/ 83 h 166"/>
                <a:gd name="T8" fmla="*/ 142 w 286"/>
                <a:gd name="T9" fmla="*/ 166 h 166"/>
              </a:gdLst>
              <a:ahLst/>
              <a:cxnLst>
                <a:cxn ang="0">
                  <a:pos x="T0" y="T1"/>
                </a:cxn>
                <a:cxn ang="0">
                  <a:pos x="T2" y="T3"/>
                </a:cxn>
                <a:cxn ang="0">
                  <a:pos x="T4" y="T5"/>
                </a:cxn>
                <a:cxn ang="0">
                  <a:pos x="T6" y="T7"/>
                </a:cxn>
                <a:cxn ang="0">
                  <a:pos x="T8" y="T9"/>
                </a:cxn>
              </a:cxnLst>
              <a:rect l="0" t="0" r="r" b="b"/>
              <a:pathLst>
                <a:path w="286" h="166">
                  <a:moveTo>
                    <a:pt x="142" y="166"/>
                  </a:moveTo>
                  <a:lnTo>
                    <a:pt x="0" y="83"/>
                  </a:lnTo>
                  <a:lnTo>
                    <a:pt x="142" y="0"/>
                  </a:lnTo>
                  <a:lnTo>
                    <a:pt x="286" y="83"/>
                  </a:lnTo>
                  <a:lnTo>
                    <a:pt x="142" y="166"/>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22222"/>
                </a:solidFill>
                <a:effectLst/>
                <a:uLnTx/>
                <a:uFillTx/>
                <a:latin typeface="Inter"/>
                <a:ea typeface="+mn-ea"/>
                <a:cs typeface="+mn-cs"/>
              </a:endParaRPr>
            </a:p>
          </p:txBody>
        </p:sp>
      </p:grpSp>
      <p:grpSp>
        <p:nvGrpSpPr>
          <p:cNvPr id="44" name="Group 37">
            <a:extLst>
              <a:ext uri="{FF2B5EF4-FFF2-40B4-BE49-F238E27FC236}">
                <a16:creationId xmlns:a16="http://schemas.microsoft.com/office/drawing/2014/main" id="{4E9E0E9B-AA9C-42E5-8697-9F4BF7C12810}"/>
              </a:ext>
            </a:extLst>
          </p:cNvPr>
          <p:cNvGrpSpPr/>
          <p:nvPr/>
        </p:nvGrpSpPr>
        <p:grpSpPr>
          <a:xfrm>
            <a:off x="10042954" y="2605881"/>
            <a:ext cx="593410" cy="678173"/>
            <a:chOff x="10057196" y="2456656"/>
            <a:chExt cx="593410" cy="678173"/>
          </a:xfrm>
        </p:grpSpPr>
        <p:sp>
          <p:nvSpPr>
            <p:cNvPr id="45" name="Freeform 1210">
              <a:extLst>
                <a:ext uri="{FF2B5EF4-FFF2-40B4-BE49-F238E27FC236}">
                  <a16:creationId xmlns:a16="http://schemas.microsoft.com/office/drawing/2014/main" id="{DD74CE03-E0F4-4B47-A235-F7B80878B74F}"/>
                </a:ext>
              </a:extLst>
            </p:cNvPr>
            <p:cNvSpPr>
              <a:spLocks/>
            </p:cNvSpPr>
            <p:nvPr/>
          </p:nvSpPr>
          <p:spPr bwMode="auto">
            <a:xfrm>
              <a:off x="10057196" y="2620263"/>
              <a:ext cx="298780" cy="514565"/>
            </a:xfrm>
            <a:custGeom>
              <a:avLst/>
              <a:gdLst>
                <a:gd name="T0" fmla="*/ 144 w 144"/>
                <a:gd name="T1" fmla="*/ 248 h 248"/>
                <a:gd name="T2" fmla="*/ 0 w 144"/>
                <a:gd name="T3" fmla="*/ 165 h 248"/>
                <a:gd name="T4" fmla="*/ 0 w 144"/>
                <a:gd name="T5" fmla="*/ 0 h 248"/>
                <a:gd name="T6" fmla="*/ 144 w 144"/>
                <a:gd name="T7" fmla="*/ 82 h 248"/>
                <a:gd name="T8" fmla="*/ 144 w 144"/>
                <a:gd name="T9" fmla="*/ 248 h 248"/>
              </a:gdLst>
              <a:ahLst/>
              <a:cxnLst>
                <a:cxn ang="0">
                  <a:pos x="T0" y="T1"/>
                </a:cxn>
                <a:cxn ang="0">
                  <a:pos x="T2" y="T3"/>
                </a:cxn>
                <a:cxn ang="0">
                  <a:pos x="T4" y="T5"/>
                </a:cxn>
                <a:cxn ang="0">
                  <a:pos x="T6" y="T7"/>
                </a:cxn>
                <a:cxn ang="0">
                  <a:pos x="T8" y="T9"/>
                </a:cxn>
              </a:cxnLst>
              <a:rect l="0" t="0" r="r" b="b"/>
              <a:pathLst>
                <a:path w="144" h="248">
                  <a:moveTo>
                    <a:pt x="144" y="248"/>
                  </a:moveTo>
                  <a:lnTo>
                    <a:pt x="0" y="165"/>
                  </a:lnTo>
                  <a:lnTo>
                    <a:pt x="0" y="0"/>
                  </a:lnTo>
                  <a:lnTo>
                    <a:pt x="144" y="82"/>
                  </a:lnTo>
                  <a:lnTo>
                    <a:pt x="144" y="248"/>
                  </a:ln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22222"/>
                </a:solidFill>
                <a:effectLst/>
                <a:uLnTx/>
                <a:uFillTx/>
                <a:latin typeface="Inter"/>
                <a:ea typeface="+mn-ea"/>
                <a:cs typeface="+mn-cs"/>
              </a:endParaRPr>
            </a:p>
          </p:txBody>
        </p:sp>
        <p:sp>
          <p:nvSpPr>
            <p:cNvPr id="46" name="Freeform 1211">
              <a:extLst>
                <a:ext uri="{FF2B5EF4-FFF2-40B4-BE49-F238E27FC236}">
                  <a16:creationId xmlns:a16="http://schemas.microsoft.com/office/drawing/2014/main" id="{52A3353B-6753-4750-9B6C-920F7F73C746}"/>
                </a:ext>
              </a:extLst>
            </p:cNvPr>
            <p:cNvSpPr>
              <a:spLocks/>
            </p:cNvSpPr>
            <p:nvPr/>
          </p:nvSpPr>
          <p:spPr bwMode="auto">
            <a:xfrm>
              <a:off x="10355976" y="2620264"/>
              <a:ext cx="294630" cy="514565"/>
            </a:xfrm>
            <a:custGeom>
              <a:avLst/>
              <a:gdLst>
                <a:gd name="T0" fmla="*/ 142 w 142"/>
                <a:gd name="T1" fmla="*/ 165 h 248"/>
                <a:gd name="T2" fmla="*/ 0 w 142"/>
                <a:gd name="T3" fmla="*/ 248 h 248"/>
                <a:gd name="T4" fmla="*/ 0 w 142"/>
                <a:gd name="T5" fmla="*/ 82 h 248"/>
                <a:gd name="T6" fmla="*/ 142 w 142"/>
                <a:gd name="T7" fmla="*/ 0 h 248"/>
                <a:gd name="T8" fmla="*/ 142 w 142"/>
                <a:gd name="T9" fmla="*/ 165 h 248"/>
              </a:gdLst>
              <a:ahLst/>
              <a:cxnLst>
                <a:cxn ang="0">
                  <a:pos x="T0" y="T1"/>
                </a:cxn>
                <a:cxn ang="0">
                  <a:pos x="T2" y="T3"/>
                </a:cxn>
                <a:cxn ang="0">
                  <a:pos x="T4" y="T5"/>
                </a:cxn>
                <a:cxn ang="0">
                  <a:pos x="T6" y="T7"/>
                </a:cxn>
                <a:cxn ang="0">
                  <a:pos x="T8" y="T9"/>
                </a:cxn>
              </a:cxnLst>
              <a:rect l="0" t="0" r="r" b="b"/>
              <a:pathLst>
                <a:path w="142" h="248">
                  <a:moveTo>
                    <a:pt x="142" y="165"/>
                  </a:moveTo>
                  <a:lnTo>
                    <a:pt x="0" y="248"/>
                  </a:lnTo>
                  <a:lnTo>
                    <a:pt x="0" y="82"/>
                  </a:lnTo>
                  <a:lnTo>
                    <a:pt x="142" y="0"/>
                  </a:lnTo>
                  <a:lnTo>
                    <a:pt x="142" y="165"/>
                  </a:lnTo>
                  <a:close/>
                </a:path>
              </a:pathLst>
            </a:custGeom>
            <a:solidFill>
              <a:schemeClr val="accent1">
                <a:lumMod val="60000"/>
                <a:lumOff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22222"/>
                </a:solidFill>
                <a:effectLst/>
                <a:uLnTx/>
                <a:uFillTx/>
                <a:latin typeface="Inter"/>
                <a:ea typeface="+mn-ea"/>
                <a:cs typeface="+mn-cs"/>
              </a:endParaRPr>
            </a:p>
          </p:txBody>
        </p:sp>
        <p:sp>
          <p:nvSpPr>
            <p:cNvPr id="47" name="Freeform 1212">
              <a:extLst>
                <a:ext uri="{FF2B5EF4-FFF2-40B4-BE49-F238E27FC236}">
                  <a16:creationId xmlns:a16="http://schemas.microsoft.com/office/drawing/2014/main" id="{F5002EDC-EA3D-4A93-9891-2A66CEAAFD89}"/>
                </a:ext>
              </a:extLst>
            </p:cNvPr>
            <p:cNvSpPr>
              <a:spLocks/>
            </p:cNvSpPr>
            <p:nvPr/>
          </p:nvSpPr>
          <p:spPr bwMode="auto">
            <a:xfrm>
              <a:off x="10057196" y="2456656"/>
              <a:ext cx="593410" cy="336127"/>
            </a:xfrm>
            <a:custGeom>
              <a:avLst/>
              <a:gdLst>
                <a:gd name="T0" fmla="*/ 144 w 286"/>
                <a:gd name="T1" fmla="*/ 162 h 162"/>
                <a:gd name="T2" fmla="*/ 0 w 286"/>
                <a:gd name="T3" fmla="*/ 80 h 162"/>
                <a:gd name="T4" fmla="*/ 144 w 286"/>
                <a:gd name="T5" fmla="*/ 0 h 162"/>
                <a:gd name="T6" fmla="*/ 286 w 286"/>
                <a:gd name="T7" fmla="*/ 80 h 162"/>
                <a:gd name="T8" fmla="*/ 144 w 286"/>
                <a:gd name="T9" fmla="*/ 162 h 162"/>
              </a:gdLst>
              <a:ahLst/>
              <a:cxnLst>
                <a:cxn ang="0">
                  <a:pos x="T0" y="T1"/>
                </a:cxn>
                <a:cxn ang="0">
                  <a:pos x="T2" y="T3"/>
                </a:cxn>
                <a:cxn ang="0">
                  <a:pos x="T4" y="T5"/>
                </a:cxn>
                <a:cxn ang="0">
                  <a:pos x="T6" y="T7"/>
                </a:cxn>
                <a:cxn ang="0">
                  <a:pos x="T8" y="T9"/>
                </a:cxn>
              </a:cxnLst>
              <a:rect l="0" t="0" r="r" b="b"/>
              <a:pathLst>
                <a:path w="286" h="162">
                  <a:moveTo>
                    <a:pt x="144" y="162"/>
                  </a:moveTo>
                  <a:lnTo>
                    <a:pt x="0" y="80"/>
                  </a:lnTo>
                  <a:lnTo>
                    <a:pt x="144" y="0"/>
                  </a:lnTo>
                  <a:lnTo>
                    <a:pt x="286" y="80"/>
                  </a:lnTo>
                  <a:lnTo>
                    <a:pt x="144" y="162"/>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22222"/>
                </a:solidFill>
                <a:effectLst/>
                <a:uLnTx/>
                <a:uFillTx/>
                <a:latin typeface="Inter"/>
                <a:ea typeface="+mn-ea"/>
                <a:cs typeface="+mn-cs"/>
              </a:endParaRPr>
            </a:p>
          </p:txBody>
        </p:sp>
      </p:grpSp>
      <p:grpSp>
        <p:nvGrpSpPr>
          <p:cNvPr id="48" name="Group 43">
            <a:extLst>
              <a:ext uri="{FF2B5EF4-FFF2-40B4-BE49-F238E27FC236}">
                <a16:creationId xmlns:a16="http://schemas.microsoft.com/office/drawing/2014/main" id="{808D45A0-E0C1-4E6F-BAA4-0883D6BCF88C}"/>
              </a:ext>
            </a:extLst>
          </p:cNvPr>
          <p:cNvGrpSpPr/>
          <p:nvPr/>
        </p:nvGrpSpPr>
        <p:grpSpPr>
          <a:xfrm>
            <a:off x="5281153" y="3722156"/>
            <a:ext cx="591335" cy="680553"/>
            <a:chOff x="5295395" y="3572931"/>
            <a:chExt cx="591335" cy="680553"/>
          </a:xfrm>
        </p:grpSpPr>
        <p:sp>
          <p:nvSpPr>
            <p:cNvPr id="49" name="Freeform 1217">
              <a:extLst>
                <a:ext uri="{FF2B5EF4-FFF2-40B4-BE49-F238E27FC236}">
                  <a16:creationId xmlns:a16="http://schemas.microsoft.com/office/drawing/2014/main" id="{7F6867D2-3D49-4A42-8F6B-0B8F43E8CA6D}"/>
                </a:ext>
              </a:extLst>
            </p:cNvPr>
            <p:cNvSpPr>
              <a:spLocks/>
            </p:cNvSpPr>
            <p:nvPr/>
          </p:nvSpPr>
          <p:spPr bwMode="auto">
            <a:xfrm>
              <a:off x="5295395" y="3738918"/>
              <a:ext cx="296705" cy="514565"/>
            </a:xfrm>
            <a:custGeom>
              <a:avLst/>
              <a:gdLst>
                <a:gd name="T0" fmla="*/ 143 w 143"/>
                <a:gd name="T1" fmla="*/ 248 h 248"/>
                <a:gd name="T2" fmla="*/ 0 w 143"/>
                <a:gd name="T3" fmla="*/ 165 h 248"/>
                <a:gd name="T4" fmla="*/ 0 w 143"/>
                <a:gd name="T5" fmla="*/ 0 h 248"/>
                <a:gd name="T6" fmla="*/ 143 w 143"/>
                <a:gd name="T7" fmla="*/ 82 h 248"/>
                <a:gd name="T8" fmla="*/ 143 w 143"/>
                <a:gd name="T9" fmla="*/ 248 h 248"/>
              </a:gdLst>
              <a:ahLst/>
              <a:cxnLst>
                <a:cxn ang="0">
                  <a:pos x="T0" y="T1"/>
                </a:cxn>
                <a:cxn ang="0">
                  <a:pos x="T2" y="T3"/>
                </a:cxn>
                <a:cxn ang="0">
                  <a:pos x="T4" y="T5"/>
                </a:cxn>
                <a:cxn ang="0">
                  <a:pos x="T6" y="T7"/>
                </a:cxn>
                <a:cxn ang="0">
                  <a:pos x="T8" y="T9"/>
                </a:cxn>
              </a:cxnLst>
              <a:rect l="0" t="0" r="r" b="b"/>
              <a:pathLst>
                <a:path w="143" h="248">
                  <a:moveTo>
                    <a:pt x="143" y="248"/>
                  </a:moveTo>
                  <a:lnTo>
                    <a:pt x="0" y="165"/>
                  </a:lnTo>
                  <a:lnTo>
                    <a:pt x="0" y="0"/>
                  </a:lnTo>
                  <a:lnTo>
                    <a:pt x="143" y="82"/>
                  </a:lnTo>
                  <a:lnTo>
                    <a:pt x="143" y="248"/>
                  </a:ln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22222"/>
                </a:solidFill>
                <a:effectLst/>
                <a:uLnTx/>
                <a:uFillTx/>
                <a:latin typeface="Inter"/>
                <a:ea typeface="+mn-ea"/>
                <a:cs typeface="+mn-cs"/>
              </a:endParaRPr>
            </a:p>
          </p:txBody>
        </p:sp>
        <p:sp>
          <p:nvSpPr>
            <p:cNvPr id="50" name="Freeform 1218">
              <a:extLst>
                <a:ext uri="{FF2B5EF4-FFF2-40B4-BE49-F238E27FC236}">
                  <a16:creationId xmlns:a16="http://schemas.microsoft.com/office/drawing/2014/main" id="{C9775DDA-2CEE-45A7-A3C1-CDB1547769CF}"/>
                </a:ext>
              </a:extLst>
            </p:cNvPr>
            <p:cNvSpPr>
              <a:spLocks/>
            </p:cNvSpPr>
            <p:nvPr/>
          </p:nvSpPr>
          <p:spPr bwMode="auto">
            <a:xfrm>
              <a:off x="5592099" y="3738919"/>
              <a:ext cx="294630" cy="514565"/>
            </a:xfrm>
            <a:custGeom>
              <a:avLst/>
              <a:gdLst>
                <a:gd name="T0" fmla="*/ 142 w 142"/>
                <a:gd name="T1" fmla="*/ 165 h 248"/>
                <a:gd name="T2" fmla="*/ 0 w 142"/>
                <a:gd name="T3" fmla="*/ 248 h 248"/>
                <a:gd name="T4" fmla="*/ 0 w 142"/>
                <a:gd name="T5" fmla="*/ 82 h 248"/>
                <a:gd name="T6" fmla="*/ 142 w 142"/>
                <a:gd name="T7" fmla="*/ 0 h 248"/>
                <a:gd name="T8" fmla="*/ 142 w 142"/>
                <a:gd name="T9" fmla="*/ 165 h 248"/>
              </a:gdLst>
              <a:ahLst/>
              <a:cxnLst>
                <a:cxn ang="0">
                  <a:pos x="T0" y="T1"/>
                </a:cxn>
                <a:cxn ang="0">
                  <a:pos x="T2" y="T3"/>
                </a:cxn>
                <a:cxn ang="0">
                  <a:pos x="T4" y="T5"/>
                </a:cxn>
                <a:cxn ang="0">
                  <a:pos x="T6" y="T7"/>
                </a:cxn>
                <a:cxn ang="0">
                  <a:pos x="T8" y="T9"/>
                </a:cxn>
              </a:cxnLst>
              <a:rect l="0" t="0" r="r" b="b"/>
              <a:pathLst>
                <a:path w="142" h="248">
                  <a:moveTo>
                    <a:pt x="142" y="165"/>
                  </a:moveTo>
                  <a:lnTo>
                    <a:pt x="0" y="248"/>
                  </a:lnTo>
                  <a:lnTo>
                    <a:pt x="0" y="82"/>
                  </a:lnTo>
                  <a:lnTo>
                    <a:pt x="142" y="0"/>
                  </a:lnTo>
                  <a:lnTo>
                    <a:pt x="142" y="165"/>
                  </a:lnTo>
                  <a:close/>
                </a:path>
              </a:pathLst>
            </a:custGeom>
            <a:solidFill>
              <a:schemeClr val="accent1">
                <a:lumMod val="60000"/>
                <a:lumOff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22222"/>
                </a:solidFill>
                <a:effectLst/>
                <a:uLnTx/>
                <a:uFillTx/>
                <a:latin typeface="Inter"/>
                <a:ea typeface="+mn-ea"/>
                <a:cs typeface="+mn-cs"/>
              </a:endParaRPr>
            </a:p>
          </p:txBody>
        </p:sp>
        <p:sp>
          <p:nvSpPr>
            <p:cNvPr id="51" name="Freeform 1219">
              <a:extLst>
                <a:ext uri="{FF2B5EF4-FFF2-40B4-BE49-F238E27FC236}">
                  <a16:creationId xmlns:a16="http://schemas.microsoft.com/office/drawing/2014/main" id="{AB301DAB-0A65-4724-B0B5-A83AEC7486BD}"/>
                </a:ext>
              </a:extLst>
            </p:cNvPr>
            <p:cNvSpPr>
              <a:spLocks/>
            </p:cNvSpPr>
            <p:nvPr/>
          </p:nvSpPr>
          <p:spPr bwMode="auto">
            <a:xfrm>
              <a:off x="5295395" y="3572931"/>
              <a:ext cx="591335" cy="336127"/>
            </a:xfrm>
            <a:custGeom>
              <a:avLst/>
              <a:gdLst>
                <a:gd name="T0" fmla="*/ 143 w 285"/>
                <a:gd name="T1" fmla="*/ 162 h 162"/>
                <a:gd name="T2" fmla="*/ 0 w 285"/>
                <a:gd name="T3" fmla="*/ 80 h 162"/>
                <a:gd name="T4" fmla="*/ 143 w 285"/>
                <a:gd name="T5" fmla="*/ 0 h 162"/>
                <a:gd name="T6" fmla="*/ 285 w 285"/>
                <a:gd name="T7" fmla="*/ 80 h 162"/>
                <a:gd name="T8" fmla="*/ 143 w 285"/>
                <a:gd name="T9" fmla="*/ 162 h 162"/>
              </a:gdLst>
              <a:ahLst/>
              <a:cxnLst>
                <a:cxn ang="0">
                  <a:pos x="T0" y="T1"/>
                </a:cxn>
                <a:cxn ang="0">
                  <a:pos x="T2" y="T3"/>
                </a:cxn>
                <a:cxn ang="0">
                  <a:pos x="T4" y="T5"/>
                </a:cxn>
                <a:cxn ang="0">
                  <a:pos x="T6" y="T7"/>
                </a:cxn>
                <a:cxn ang="0">
                  <a:pos x="T8" y="T9"/>
                </a:cxn>
              </a:cxnLst>
              <a:rect l="0" t="0" r="r" b="b"/>
              <a:pathLst>
                <a:path w="285" h="162">
                  <a:moveTo>
                    <a:pt x="143" y="162"/>
                  </a:moveTo>
                  <a:lnTo>
                    <a:pt x="0" y="80"/>
                  </a:lnTo>
                  <a:lnTo>
                    <a:pt x="143" y="0"/>
                  </a:lnTo>
                  <a:lnTo>
                    <a:pt x="285" y="80"/>
                  </a:lnTo>
                  <a:lnTo>
                    <a:pt x="143" y="162"/>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22222"/>
                </a:solidFill>
                <a:effectLst/>
                <a:uLnTx/>
                <a:uFillTx/>
                <a:latin typeface="Inter"/>
                <a:ea typeface="+mn-ea"/>
                <a:cs typeface="+mn-cs"/>
              </a:endParaRPr>
            </a:p>
          </p:txBody>
        </p:sp>
      </p:grpSp>
      <p:sp>
        <p:nvSpPr>
          <p:cNvPr id="52" name="Freeform 1221">
            <a:extLst>
              <a:ext uri="{FF2B5EF4-FFF2-40B4-BE49-F238E27FC236}">
                <a16:creationId xmlns:a16="http://schemas.microsoft.com/office/drawing/2014/main" id="{4EEF09AB-9FD5-456B-8039-24FC3CE494D1}"/>
              </a:ext>
            </a:extLst>
          </p:cNvPr>
          <p:cNvSpPr>
            <a:spLocks noEditPoints="1"/>
          </p:cNvSpPr>
          <p:nvPr/>
        </p:nvSpPr>
        <p:spPr bwMode="auto">
          <a:xfrm>
            <a:off x="9725501" y="4979520"/>
            <a:ext cx="1522946" cy="875591"/>
          </a:xfrm>
          <a:custGeom>
            <a:avLst/>
            <a:gdLst>
              <a:gd name="T0" fmla="*/ 156 w 311"/>
              <a:gd name="T1" fmla="*/ 178 h 179"/>
              <a:gd name="T2" fmla="*/ 47 w 311"/>
              <a:gd name="T3" fmla="*/ 152 h 179"/>
              <a:gd name="T4" fmla="*/ 2 w 311"/>
              <a:gd name="T5" fmla="*/ 89 h 179"/>
              <a:gd name="T6" fmla="*/ 47 w 311"/>
              <a:gd name="T7" fmla="*/ 27 h 179"/>
              <a:gd name="T8" fmla="*/ 156 w 311"/>
              <a:gd name="T9" fmla="*/ 1 h 179"/>
              <a:gd name="T10" fmla="*/ 265 w 311"/>
              <a:gd name="T11" fmla="*/ 27 h 179"/>
              <a:gd name="T12" fmla="*/ 310 w 311"/>
              <a:gd name="T13" fmla="*/ 89 h 179"/>
              <a:gd name="T14" fmla="*/ 265 w 311"/>
              <a:gd name="T15" fmla="*/ 152 h 179"/>
              <a:gd name="T16" fmla="*/ 156 w 311"/>
              <a:gd name="T17" fmla="*/ 178 h 179"/>
              <a:gd name="T18" fmla="*/ 156 w 311"/>
              <a:gd name="T19" fmla="*/ 0 h 179"/>
              <a:gd name="T20" fmla="*/ 46 w 311"/>
              <a:gd name="T21" fmla="*/ 26 h 179"/>
              <a:gd name="T22" fmla="*/ 0 w 311"/>
              <a:gd name="T23" fmla="*/ 89 h 179"/>
              <a:gd name="T24" fmla="*/ 46 w 311"/>
              <a:gd name="T25" fmla="*/ 153 h 179"/>
              <a:gd name="T26" fmla="*/ 156 w 311"/>
              <a:gd name="T27" fmla="*/ 179 h 179"/>
              <a:gd name="T28" fmla="*/ 265 w 311"/>
              <a:gd name="T29" fmla="*/ 153 h 179"/>
              <a:gd name="T30" fmla="*/ 311 w 311"/>
              <a:gd name="T31" fmla="*/ 89 h 179"/>
              <a:gd name="T32" fmla="*/ 265 w 311"/>
              <a:gd name="T33" fmla="*/ 26 h 179"/>
              <a:gd name="T34" fmla="*/ 156 w 311"/>
              <a:gd name="T35" fmla="*/ 0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11" h="179">
                <a:moveTo>
                  <a:pt x="156" y="178"/>
                </a:moveTo>
                <a:cubicBezTo>
                  <a:pt x="116" y="178"/>
                  <a:pt x="77" y="169"/>
                  <a:pt x="47" y="152"/>
                </a:cubicBezTo>
                <a:cubicBezTo>
                  <a:pt x="18" y="135"/>
                  <a:pt x="2" y="113"/>
                  <a:pt x="2" y="89"/>
                </a:cubicBezTo>
                <a:cubicBezTo>
                  <a:pt x="2" y="66"/>
                  <a:pt x="18" y="44"/>
                  <a:pt x="47" y="27"/>
                </a:cubicBezTo>
                <a:cubicBezTo>
                  <a:pt x="77" y="9"/>
                  <a:pt x="116" y="1"/>
                  <a:pt x="156" y="1"/>
                </a:cubicBezTo>
                <a:cubicBezTo>
                  <a:pt x="195" y="1"/>
                  <a:pt x="235" y="9"/>
                  <a:pt x="265" y="27"/>
                </a:cubicBezTo>
                <a:cubicBezTo>
                  <a:pt x="294" y="44"/>
                  <a:pt x="310" y="66"/>
                  <a:pt x="310" y="89"/>
                </a:cubicBezTo>
                <a:cubicBezTo>
                  <a:pt x="310" y="113"/>
                  <a:pt x="294" y="135"/>
                  <a:pt x="265" y="152"/>
                </a:cubicBezTo>
                <a:cubicBezTo>
                  <a:pt x="235" y="169"/>
                  <a:pt x="195" y="178"/>
                  <a:pt x="156" y="178"/>
                </a:cubicBezTo>
                <a:moveTo>
                  <a:pt x="156" y="0"/>
                </a:moveTo>
                <a:cubicBezTo>
                  <a:pt x="116" y="0"/>
                  <a:pt x="76" y="8"/>
                  <a:pt x="46" y="26"/>
                </a:cubicBezTo>
                <a:cubicBezTo>
                  <a:pt x="17" y="43"/>
                  <a:pt x="0" y="65"/>
                  <a:pt x="0" y="89"/>
                </a:cubicBezTo>
                <a:cubicBezTo>
                  <a:pt x="0" y="113"/>
                  <a:pt x="17" y="136"/>
                  <a:pt x="46" y="153"/>
                </a:cubicBezTo>
                <a:cubicBezTo>
                  <a:pt x="76" y="171"/>
                  <a:pt x="116" y="179"/>
                  <a:pt x="156" y="179"/>
                </a:cubicBezTo>
                <a:cubicBezTo>
                  <a:pt x="195" y="179"/>
                  <a:pt x="235" y="171"/>
                  <a:pt x="265" y="153"/>
                </a:cubicBezTo>
                <a:cubicBezTo>
                  <a:pt x="295" y="136"/>
                  <a:pt x="311" y="113"/>
                  <a:pt x="311" y="89"/>
                </a:cubicBezTo>
                <a:cubicBezTo>
                  <a:pt x="311" y="65"/>
                  <a:pt x="295" y="43"/>
                  <a:pt x="265" y="26"/>
                </a:cubicBezTo>
                <a:cubicBezTo>
                  <a:pt x="235" y="8"/>
                  <a:pt x="195" y="0"/>
                  <a:pt x="156" y="0"/>
                </a:cubicBezTo>
              </a:path>
            </a:pathLst>
          </a:custGeom>
          <a:solidFill>
            <a:schemeClr val="accent1">
              <a:alpha val="6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22222"/>
              </a:solidFill>
              <a:effectLst/>
              <a:uLnTx/>
              <a:uFillTx/>
              <a:latin typeface="Inter"/>
              <a:ea typeface="+mn-ea"/>
              <a:cs typeface="+mn-cs"/>
            </a:endParaRPr>
          </a:p>
        </p:txBody>
      </p:sp>
      <p:sp>
        <p:nvSpPr>
          <p:cNvPr id="53" name="Freeform 1222">
            <a:extLst>
              <a:ext uri="{FF2B5EF4-FFF2-40B4-BE49-F238E27FC236}">
                <a16:creationId xmlns:a16="http://schemas.microsoft.com/office/drawing/2014/main" id="{534D66D1-8554-466A-8B53-D12087BAEB5E}"/>
              </a:ext>
            </a:extLst>
          </p:cNvPr>
          <p:cNvSpPr>
            <a:spLocks noEditPoints="1"/>
          </p:cNvSpPr>
          <p:nvPr/>
        </p:nvSpPr>
        <p:spPr bwMode="auto">
          <a:xfrm>
            <a:off x="9524239" y="4857103"/>
            <a:ext cx="1929619" cy="1116274"/>
          </a:xfrm>
          <a:custGeom>
            <a:avLst/>
            <a:gdLst>
              <a:gd name="T0" fmla="*/ 197 w 394"/>
              <a:gd name="T1" fmla="*/ 227 h 228"/>
              <a:gd name="T2" fmla="*/ 58 w 394"/>
              <a:gd name="T3" fmla="*/ 194 h 228"/>
              <a:gd name="T4" fmla="*/ 1 w 394"/>
              <a:gd name="T5" fmla="*/ 114 h 228"/>
              <a:gd name="T6" fmla="*/ 58 w 394"/>
              <a:gd name="T7" fmla="*/ 35 h 228"/>
              <a:gd name="T8" fmla="*/ 197 w 394"/>
              <a:gd name="T9" fmla="*/ 2 h 228"/>
              <a:gd name="T10" fmla="*/ 335 w 394"/>
              <a:gd name="T11" fmla="*/ 35 h 228"/>
              <a:gd name="T12" fmla="*/ 392 w 394"/>
              <a:gd name="T13" fmla="*/ 114 h 228"/>
              <a:gd name="T14" fmla="*/ 335 w 394"/>
              <a:gd name="T15" fmla="*/ 194 h 228"/>
              <a:gd name="T16" fmla="*/ 197 w 394"/>
              <a:gd name="T17" fmla="*/ 227 h 228"/>
              <a:gd name="T18" fmla="*/ 197 w 394"/>
              <a:gd name="T19" fmla="*/ 0 h 228"/>
              <a:gd name="T20" fmla="*/ 58 w 394"/>
              <a:gd name="T21" fmla="*/ 34 h 228"/>
              <a:gd name="T22" fmla="*/ 0 w 394"/>
              <a:gd name="T23" fmla="*/ 114 h 228"/>
              <a:gd name="T24" fmla="*/ 58 w 394"/>
              <a:gd name="T25" fmla="*/ 195 h 228"/>
              <a:gd name="T26" fmla="*/ 197 w 394"/>
              <a:gd name="T27" fmla="*/ 228 h 228"/>
              <a:gd name="T28" fmla="*/ 336 w 394"/>
              <a:gd name="T29" fmla="*/ 195 h 228"/>
              <a:gd name="T30" fmla="*/ 336 w 394"/>
              <a:gd name="T31" fmla="*/ 195 h 228"/>
              <a:gd name="T32" fmla="*/ 336 w 394"/>
              <a:gd name="T33" fmla="*/ 195 h 228"/>
              <a:gd name="T34" fmla="*/ 394 w 394"/>
              <a:gd name="T35" fmla="*/ 114 h 228"/>
              <a:gd name="T36" fmla="*/ 336 w 394"/>
              <a:gd name="T37" fmla="*/ 34 h 228"/>
              <a:gd name="T38" fmla="*/ 197 w 394"/>
              <a:gd name="T39" fmla="*/ 0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94" h="228">
                <a:moveTo>
                  <a:pt x="197" y="227"/>
                </a:moveTo>
                <a:cubicBezTo>
                  <a:pt x="147" y="227"/>
                  <a:pt x="96" y="216"/>
                  <a:pt x="58" y="194"/>
                </a:cubicBezTo>
                <a:cubicBezTo>
                  <a:pt x="21" y="173"/>
                  <a:pt x="1" y="144"/>
                  <a:pt x="1" y="114"/>
                </a:cubicBezTo>
                <a:cubicBezTo>
                  <a:pt x="1" y="84"/>
                  <a:pt x="21" y="56"/>
                  <a:pt x="58" y="35"/>
                </a:cubicBezTo>
                <a:cubicBezTo>
                  <a:pt x="96" y="13"/>
                  <a:pt x="147" y="2"/>
                  <a:pt x="197" y="2"/>
                </a:cubicBezTo>
                <a:cubicBezTo>
                  <a:pt x="247" y="2"/>
                  <a:pt x="297" y="13"/>
                  <a:pt x="335" y="35"/>
                </a:cubicBezTo>
                <a:cubicBezTo>
                  <a:pt x="372" y="56"/>
                  <a:pt x="392" y="84"/>
                  <a:pt x="392" y="114"/>
                </a:cubicBezTo>
                <a:cubicBezTo>
                  <a:pt x="392" y="144"/>
                  <a:pt x="372" y="173"/>
                  <a:pt x="335" y="194"/>
                </a:cubicBezTo>
                <a:cubicBezTo>
                  <a:pt x="297" y="216"/>
                  <a:pt x="247" y="227"/>
                  <a:pt x="197" y="227"/>
                </a:cubicBezTo>
                <a:moveTo>
                  <a:pt x="197" y="0"/>
                </a:moveTo>
                <a:cubicBezTo>
                  <a:pt x="146" y="0"/>
                  <a:pt x="96" y="12"/>
                  <a:pt x="58" y="34"/>
                </a:cubicBezTo>
                <a:cubicBezTo>
                  <a:pt x="20" y="55"/>
                  <a:pt x="0" y="84"/>
                  <a:pt x="0" y="114"/>
                </a:cubicBezTo>
                <a:cubicBezTo>
                  <a:pt x="0" y="145"/>
                  <a:pt x="20" y="174"/>
                  <a:pt x="58" y="195"/>
                </a:cubicBezTo>
                <a:cubicBezTo>
                  <a:pt x="96" y="217"/>
                  <a:pt x="146" y="228"/>
                  <a:pt x="197" y="228"/>
                </a:cubicBezTo>
                <a:cubicBezTo>
                  <a:pt x="247" y="228"/>
                  <a:pt x="298" y="217"/>
                  <a:pt x="336" y="195"/>
                </a:cubicBezTo>
                <a:cubicBezTo>
                  <a:pt x="336" y="195"/>
                  <a:pt x="336" y="195"/>
                  <a:pt x="336" y="195"/>
                </a:cubicBezTo>
                <a:cubicBezTo>
                  <a:pt x="336" y="195"/>
                  <a:pt x="336" y="195"/>
                  <a:pt x="336" y="195"/>
                </a:cubicBezTo>
                <a:cubicBezTo>
                  <a:pt x="373" y="174"/>
                  <a:pt x="394" y="145"/>
                  <a:pt x="394" y="114"/>
                </a:cubicBezTo>
                <a:cubicBezTo>
                  <a:pt x="394" y="84"/>
                  <a:pt x="373" y="55"/>
                  <a:pt x="336" y="34"/>
                </a:cubicBezTo>
                <a:cubicBezTo>
                  <a:pt x="298" y="12"/>
                  <a:pt x="247" y="0"/>
                  <a:pt x="197" y="0"/>
                </a:cubicBezTo>
              </a:path>
            </a:pathLst>
          </a:custGeom>
          <a:solidFill>
            <a:schemeClr val="accent1">
              <a:alpha val="5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22222"/>
              </a:solidFill>
              <a:effectLst/>
              <a:uLnTx/>
              <a:uFillTx/>
              <a:latin typeface="Inter"/>
              <a:ea typeface="+mn-ea"/>
              <a:cs typeface="+mn-cs"/>
            </a:endParaRPr>
          </a:p>
        </p:txBody>
      </p:sp>
      <p:sp>
        <p:nvSpPr>
          <p:cNvPr id="54" name="Freeform 1223">
            <a:extLst>
              <a:ext uri="{FF2B5EF4-FFF2-40B4-BE49-F238E27FC236}">
                <a16:creationId xmlns:a16="http://schemas.microsoft.com/office/drawing/2014/main" id="{AB17C29A-70E4-4709-9E0D-88D12617E5D4}"/>
              </a:ext>
            </a:extLst>
          </p:cNvPr>
          <p:cNvSpPr>
            <a:spLocks noEditPoints="1"/>
          </p:cNvSpPr>
          <p:nvPr/>
        </p:nvSpPr>
        <p:spPr bwMode="auto">
          <a:xfrm>
            <a:off x="9887340" y="5037616"/>
            <a:ext cx="1199268" cy="755249"/>
          </a:xfrm>
          <a:custGeom>
            <a:avLst/>
            <a:gdLst>
              <a:gd name="T0" fmla="*/ 123 w 245"/>
              <a:gd name="T1" fmla="*/ 148 h 154"/>
              <a:gd name="T2" fmla="*/ 36 w 245"/>
              <a:gd name="T3" fmla="*/ 128 h 154"/>
              <a:gd name="T4" fmla="*/ 0 w 245"/>
              <a:gd name="T5" fmla="*/ 77 h 154"/>
              <a:gd name="T6" fmla="*/ 36 w 245"/>
              <a:gd name="T7" fmla="*/ 27 h 154"/>
              <a:gd name="T8" fmla="*/ 209 w 245"/>
              <a:gd name="T9" fmla="*/ 27 h 154"/>
              <a:gd name="T10" fmla="*/ 245 w 245"/>
              <a:gd name="T11" fmla="*/ 77 h 154"/>
              <a:gd name="T12" fmla="*/ 209 w 245"/>
              <a:gd name="T13" fmla="*/ 128 h 154"/>
              <a:gd name="T14" fmla="*/ 123 w 245"/>
              <a:gd name="T15" fmla="*/ 148 h 154"/>
              <a:gd name="T16" fmla="*/ 123 w 245"/>
              <a:gd name="T17" fmla="*/ 8 h 154"/>
              <a:gd name="T18" fmla="*/ 37 w 245"/>
              <a:gd name="T19" fmla="*/ 28 h 154"/>
              <a:gd name="T20" fmla="*/ 2 w 245"/>
              <a:gd name="T21" fmla="*/ 77 h 154"/>
              <a:gd name="T22" fmla="*/ 37 w 245"/>
              <a:gd name="T23" fmla="*/ 127 h 154"/>
              <a:gd name="T24" fmla="*/ 209 w 245"/>
              <a:gd name="T25" fmla="*/ 127 h 154"/>
              <a:gd name="T26" fmla="*/ 209 w 245"/>
              <a:gd name="T27" fmla="*/ 127 h 154"/>
              <a:gd name="T28" fmla="*/ 209 w 245"/>
              <a:gd name="T29" fmla="*/ 127 h 154"/>
              <a:gd name="T30" fmla="*/ 244 w 245"/>
              <a:gd name="T31" fmla="*/ 77 h 154"/>
              <a:gd name="T32" fmla="*/ 209 w 245"/>
              <a:gd name="T33" fmla="*/ 28 h 154"/>
              <a:gd name="T34" fmla="*/ 123 w 245"/>
              <a:gd name="T35" fmla="*/ 8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5" h="154">
                <a:moveTo>
                  <a:pt x="123" y="148"/>
                </a:moveTo>
                <a:cubicBezTo>
                  <a:pt x="91" y="148"/>
                  <a:pt x="60" y="141"/>
                  <a:pt x="36" y="128"/>
                </a:cubicBezTo>
                <a:cubicBezTo>
                  <a:pt x="13" y="114"/>
                  <a:pt x="0" y="96"/>
                  <a:pt x="0" y="77"/>
                </a:cubicBezTo>
                <a:cubicBezTo>
                  <a:pt x="0" y="58"/>
                  <a:pt x="13" y="41"/>
                  <a:pt x="36" y="27"/>
                </a:cubicBezTo>
                <a:cubicBezTo>
                  <a:pt x="84" y="0"/>
                  <a:pt x="162" y="0"/>
                  <a:pt x="209" y="27"/>
                </a:cubicBezTo>
                <a:cubicBezTo>
                  <a:pt x="232" y="41"/>
                  <a:pt x="245" y="58"/>
                  <a:pt x="245" y="77"/>
                </a:cubicBezTo>
                <a:cubicBezTo>
                  <a:pt x="245" y="96"/>
                  <a:pt x="232" y="114"/>
                  <a:pt x="209" y="128"/>
                </a:cubicBezTo>
                <a:cubicBezTo>
                  <a:pt x="185" y="141"/>
                  <a:pt x="154" y="148"/>
                  <a:pt x="123" y="148"/>
                </a:cubicBezTo>
                <a:moveTo>
                  <a:pt x="123" y="8"/>
                </a:moveTo>
                <a:cubicBezTo>
                  <a:pt x="92" y="8"/>
                  <a:pt x="61" y="15"/>
                  <a:pt x="37" y="28"/>
                </a:cubicBezTo>
                <a:cubicBezTo>
                  <a:pt x="14" y="41"/>
                  <a:pt x="2" y="59"/>
                  <a:pt x="2" y="77"/>
                </a:cubicBezTo>
                <a:cubicBezTo>
                  <a:pt x="2" y="96"/>
                  <a:pt x="14" y="113"/>
                  <a:pt x="37" y="127"/>
                </a:cubicBezTo>
                <a:cubicBezTo>
                  <a:pt x="84" y="154"/>
                  <a:pt x="161" y="154"/>
                  <a:pt x="209" y="127"/>
                </a:cubicBezTo>
                <a:cubicBezTo>
                  <a:pt x="209" y="127"/>
                  <a:pt x="209" y="127"/>
                  <a:pt x="209" y="127"/>
                </a:cubicBezTo>
                <a:cubicBezTo>
                  <a:pt x="209" y="127"/>
                  <a:pt x="209" y="127"/>
                  <a:pt x="209" y="127"/>
                </a:cubicBezTo>
                <a:cubicBezTo>
                  <a:pt x="231" y="113"/>
                  <a:pt x="244" y="96"/>
                  <a:pt x="244" y="77"/>
                </a:cubicBezTo>
                <a:cubicBezTo>
                  <a:pt x="244" y="59"/>
                  <a:pt x="231" y="41"/>
                  <a:pt x="209" y="28"/>
                </a:cubicBezTo>
                <a:cubicBezTo>
                  <a:pt x="185" y="15"/>
                  <a:pt x="154" y="8"/>
                  <a:pt x="123" y="8"/>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22222"/>
              </a:solidFill>
              <a:effectLst/>
              <a:uLnTx/>
              <a:uFillTx/>
              <a:latin typeface="Inter"/>
              <a:ea typeface="+mn-ea"/>
              <a:cs typeface="+mn-cs"/>
            </a:endParaRPr>
          </a:p>
        </p:txBody>
      </p:sp>
      <p:grpSp>
        <p:nvGrpSpPr>
          <p:cNvPr id="55" name="Group 52">
            <a:extLst>
              <a:ext uri="{FF2B5EF4-FFF2-40B4-BE49-F238E27FC236}">
                <a16:creationId xmlns:a16="http://schemas.microsoft.com/office/drawing/2014/main" id="{1F3DB77F-E96C-4BBD-A712-8E2F79734029}"/>
              </a:ext>
            </a:extLst>
          </p:cNvPr>
          <p:cNvGrpSpPr/>
          <p:nvPr/>
        </p:nvGrpSpPr>
        <p:grpSpPr>
          <a:xfrm>
            <a:off x="10144928" y="4753360"/>
            <a:ext cx="618003" cy="674330"/>
            <a:chOff x="10159170" y="4604135"/>
            <a:chExt cx="618003" cy="674330"/>
          </a:xfrm>
        </p:grpSpPr>
        <p:sp>
          <p:nvSpPr>
            <p:cNvPr id="56" name="Freeform 1225">
              <a:extLst>
                <a:ext uri="{FF2B5EF4-FFF2-40B4-BE49-F238E27FC236}">
                  <a16:creationId xmlns:a16="http://schemas.microsoft.com/office/drawing/2014/main" id="{C70754BE-9C56-44FB-A603-2713EA384521}"/>
                </a:ext>
              </a:extLst>
            </p:cNvPr>
            <p:cNvSpPr>
              <a:spLocks/>
            </p:cNvSpPr>
            <p:nvPr/>
          </p:nvSpPr>
          <p:spPr bwMode="auto">
            <a:xfrm>
              <a:off x="10159170" y="4604135"/>
              <a:ext cx="313304" cy="535314"/>
            </a:xfrm>
            <a:custGeom>
              <a:avLst/>
              <a:gdLst>
                <a:gd name="T0" fmla="*/ 16 w 151"/>
                <a:gd name="T1" fmla="*/ 258 h 258"/>
                <a:gd name="T2" fmla="*/ 0 w 151"/>
                <a:gd name="T3" fmla="*/ 95 h 258"/>
                <a:gd name="T4" fmla="*/ 134 w 151"/>
                <a:gd name="T5" fmla="*/ 0 h 258"/>
                <a:gd name="T6" fmla="*/ 151 w 151"/>
                <a:gd name="T7" fmla="*/ 163 h 258"/>
                <a:gd name="T8" fmla="*/ 16 w 151"/>
                <a:gd name="T9" fmla="*/ 258 h 258"/>
              </a:gdLst>
              <a:ahLst/>
              <a:cxnLst>
                <a:cxn ang="0">
                  <a:pos x="T0" y="T1"/>
                </a:cxn>
                <a:cxn ang="0">
                  <a:pos x="T2" y="T3"/>
                </a:cxn>
                <a:cxn ang="0">
                  <a:pos x="T4" y="T5"/>
                </a:cxn>
                <a:cxn ang="0">
                  <a:pos x="T6" y="T7"/>
                </a:cxn>
                <a:cxn ang="0">
                  <a:pos x="T8" y="T9"/>
                </a:cxn>
              </a:cxnLst>
              <a:rect l="0" t="0" r="r" b="b"/>
              <a:pathLst>
                <a:path w="151" h="258">
                  <a:moveTo>
                    <a:pt x="16" y="258"/>
                  </a:moveTo>
                  <a:lnTo>
                    <a:pt x="0" y="95"/>
                  </a:lnTo>
                  <a:lnTo>
                    <a:pt x="134" y="0"/>
                  </a:lnTo>
                  <a:lnTo>
                    <a:pt x="151" y="163"/>
                  </a:lnTo>
                  <a:lnTo>
                    <a:pt x="16" y="258"/>
                  </a:ln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22222"/>
                </a:solidFill>
                <a:effectLst/>
                <a:uLnTx/>
                <a:uFillTx/>
                <a:latin typeface="Inter"/>
                <a:ea typeface="+mn-ea"/>
                <a:cs typeface="+mn-cs"/>
              </a:endParaRPr>
            </a:p>
          </p:txBody>
        </p:sp>
        <p:sp>
          <p:nvSpPr>
            <p:cNvPr id="57" name="Freeform 1226">
              <a:extLst>
                <a:ext uri="{FF2B5EF4-FFF2-40B4-BE49-F238E27FC236}">
                  <a16:creationId xmlns:a16="http://schemas.microsoft.com/office/drawing/2014/main" id="{2857D9DA-0C47-4044-8BCC-5529DA9F65FB}"/>
                </a:ext>
              </a:extLst>
            </p:cNvPr>
            <p:cNvSpPr>
              <a:spLocks/>
            </p:cNvSpPr>
            <p:nvPr/>
          </p:nvSpPr>
          <p:spPr bwMode="auto">
            <a:xfrm>
              <a:off x="10189987" y="4940262"/>
              <a:ext cx="587186" cy="338203"/>
            </a:xfrm>
            <a:custGeom>
              <a:avLst/>
              <a:gdLst>
                <a:gd name="T0" fmla="*/ 151 w 283"/>
                <a:gd name="T1" fmla="*/ 163 h 163"/>
                <a:gd name="T2" fmla="*/ 0 w 283"/>
                <a:gd name="T3" fmla="*/ 95 h 163"/>
                <a:gd name="T4" fmla="*/ 135 w 283"/>
                <a:gd name="T5" fmla="*/ 0 h 163"/>
                <a:gd name="T6" fmla="*/ 283 w 283"/>
                <a:gd name="T7" fmla="*/ 66 h 163"/>
                <a:gd name="T8" fmla="*/ 151 w 283"/>
                <a:gd name="T9" fmla="*/ 163 h 163"/>
              </a:gdLst>
              <a:ahLst/>
              <a:cxnLst>
                <a:cxn ang="0">
                  <a:pos x="T0" y="T1"/>
                </a:cxn>
                <a:cxn ang="0">
                  <a:pos x="T2" y="T3"/>
                </a:cxn>
                <a:cxn ang="0">
                  <a:pos x="T4" y="T5"/>
                </a:cxn>
                <a:cxn ang="0">
                  <a:pos x="T6" y="T7"/>
                </a:cxn>
                <a:cxn ang="0">
                  <a:pos x="T8" y="T9"/>
                </a:cxn>
              </a:cxnLst>
              <a:rect l="0" t="0" r="r" b="b"/>
              <a:pathLst>
                <a:path w="283" h="163">
                  <a:moveTo>
                    <a:pt x="151" y="163"/>
                  </a:moveTo>
                  <a:lnTo>
                    <a:pt x="0" y="95"/>
                  </a:lnTo>
                  <a:lnTo>
                    <a:pt x="135" y="0"/>
                  </a:lnTo>
                  <a:lnTo>
                    <a:pt x="283" y="66"/>
                  </a:lnTo>
                  <a:lnTo>
                    <a:pt x="151" y="163"/>
                  </a:lnTo>
                  <a:close/>
                </a:path>
              </a:pathLst>
            </a:custGeom>
            <a:solidFill>
              <a:schemeClr val="accent1">
                <a:lumMod val="60000"/>
                <a:lumOff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22222"/>
                </a:solidFill>
                <a:effectLst/>
                <a:uLnTx/>
                <a:uFillTx/>
                <a:latin typeface="Inter"/>
                <a:ea typeface="+mn-ea"/>
                <a:cs typeface="+mn-cs"/>
              </a:endParaRPr>
            </a:p>
          </p:txBody>
        </p:sp>
        <p:sp>
          <p:nvSpPr>
            <p:cNvPr id="58" name="Freeform 1227">
              <a:extLst>
                <a:ext uri="{FF2B5EF4-FFF2-40B4-BE49-F238E27FC236}">
                  <a16:creationId xmlns:a16="http://schemas.microsoft.com/office/drawing/2014/main" id="{9BE4E16A-FD72-42F0-B313-F16F4510430A}"/>
                </a:ext>
              </a:extLst>
            </p:cNvPr>
            <p:cNvSpPr>
              <a:spLocks/>
            </p:cNvSpPr>
            <p:nvPr/>
          </p:nvSpPr>
          <p:spPr bwMode="auto">
            <a:xfrm>
              <a:off x="10434820" y="4604135"/>
              <a:ext cx="342352" cy="475143"/>
            </a:xfrm>
            <a:custGeom>
              <a:avLst/>
              <a:gdLst>
                <a:gd name="T0" fmla="*/ 17 w 165"/>
                <a:gd name="T1" fmla="*/ 163 h 229"/>
                <a:gd name="T2" fmla="*/ 0 w 165"/>
                <a:gd name="T3" fmla="*/ 0 h 229"/>
                <a:gd name="T4" fmla="*/ 149 w 165"/>
                <a:gd name="T5" fmla="*/ 66 h 229"/>
                <a:gd name="T6" fmla="*/ 165 w 165"/>
                <a:gd name="T7" fmla="*/ 229 h 229"/>
                <a:gd name="T8" fmla="*/ 17 w 165"/>
                <a:gd name="T9" fmla="*/ 163 h 229"/>
              </a:gdLst>
              <a:ahLst/>
              <a:cxnLst>
                <a:cxn ang="0">
                  <a:pos x="T0" y="T1"/>
                </a:cxn>
                <a:cxn ang="0">
                  <a:pos x="T2" y="T3"/>
                </a:cxn>
                <a:cxn ang="0">
                  <a:pos x="T4" y="T5"/>
                </a:cxn>
                <a:cxn ang="0">
                  <a:pos x="T6" y="T7"/>
                </a:cxn>
                <a:cxn ang="0">
                  <a:pos x="T8" y="T9"/>
                </a:cxn>
              </a:cxnLst>
              <a:rect l="0" t="0" r="r" b="b"/>
              <a:pathLst>
                <a:path w="165" h="229">
                  <a:moveTo>
                    <a:pt x="17" y="163"/>
                  </a:moveTo>
                  <a:lnTo>
                    <a:pt x="0" y="0"/>
                  </a:lnTo>
                  <a:lnTo>
                    <a:pt x="149" y="66"/>
                  </a:lnTo>
                  <a:lnTo>
                    <a:pt x="165" y="229"/>
                  </a:lnTo>
                  <a:lnTo>
                    <a:pt x="17" y="163"/>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22222"/>
                </a:solidFill>
                <a:effectLst/>
                <a:uLnTx/>
                <a:uFillTx/>
                <a:latin typeface="Inter"/>
                <a:ea typeface="+mn-ea"/>
                <a:cs typeface="+mn-cs"/>
              </a:endParaRPr>
            </a:p>
          </p:txBody>
        </p:sp>
      </p:grpSp>
      <p:grpSp>
        <p:nvGrpSpPr>
          <p:cNvPr id="59" name="Group 58">
            <a:extLst>
              <a:ext uri="{FF2B5EF4-FFF2-40B4-BE49-F238E27FC236}">
                <a16:creationId xmlns:a16="http://schemas.microsoft.com/office/drawing/2014/main" id="{14B8A966-C3FF-4A8B-B871-2D44CE1395A2}"/>
              </a:ext>
            </a:extLst>
          </p:cNvPr>
          <p:cNvGrpSpPr/>
          <p:nvPr/>
        </p:nvGrpSpPr>
        <p:grpSpPr>
          <a:xfrm>
            <a:off x="6983627" y="2261455"/>
            <a:ext cx="2125268" cy="2491905"/>
            <a:chOff x="6990249" y="2191074"/>
            <a:chExt cx="2125268" cy="2491905"/>
          </a:xfrm>
        </p:grpSpPr>
        <p:sp>
          <p:nvSpPr>
            <p:cNvPr id="60" name="Freeform 1181">
              <a:extLst>
                <a:ext uri="{FF2B5EF4-FFF2-40B4-BE49-F238E27FC236}">
                  <a16:creationId xmlns:a16="http://schemas.microsoft.com/office/drawing/2014/main" id="{D5E57660-6F50-4618-928B-D384AB2BF2A8}"/>
                </a:ext>
              </a:extLst>
            </p:cNvPr>
            <p:cNvSpPr>
              <a:spLocks/>
            </p:cNvSpPr>
            <p:nvPr/>
          </p:nvSpPr>
          <p:spPr bwMode="auto">
            <a:xfrm>
              <a:off x="7565291" y="3772117"/>
              <a:ext cx="975184" cy="564362"/>
            </a:xfrm>
            <a:custGeom>
              <a:avLst/>
              <a:gdLst>
                <a:gd name="T0" fmla="*/ 234 w 470"/>
                <a:gd name="T1" fmla="*/ 272 h 272"/>
                <a:gd name="T2" fmla="*/ 0 w 470"/>
                <a:gd name="T3" fmla="*/ 137 h 272"/>
                <a:gd name="T4" fmla="*/ 234 w 470"/>
                <a:gd name="T5" fmla="*/ 0 h 272"/>
                <a:gd name="T6" fmla="*/ 470 w 470"/>
                <a:gd name="T7" fmla="*/ 137 h 272"/>
                <a:gd name="T8" fmla="*/ 234 w 470"/>
                <a:gd name="T9" fmla="*/ 272 h 272"/>
              </a:gdLst>
              <a:ahLst/>
              <a:cxnLst>
                <a:cxn ang="0">
                  <a:pos x="T0" y="T1"/>
                </a:cxn>
                <a:cxn ang="0">
                  <a:pos x="T2" y="T3"/>
                </a:cxn>
                <a:cxn ang="0">
                  <a:pos x="T4" y="T5"/>
                </a:cxn>
                <a:cxn ang="0">
                  <a:pos x="T6" y="T7"/>
                </a:cxn>
                <a:cxn ang="0">
                  <a:pos x="T8" y="T9"/>
                </a:cxn>
              </a:cxnLst>
              <a:rect l="0" t="0" r="r" b="b"/>
              <a:pathLst>
                <a:path w="470" h="272">
                  <a:moveTo>
                    <a:pt x="234" y="272"/>
                  </a:moveTo>
                  <a:lnTo>
                    <a:pt x="0" y="137"/>
                  </a:lnTo>
                  <a:lnTo>
                    <a:pt x="234" y="0"/>
                  </a:lnTo>
                  <a:lnTo>
                    <a:pt x="470" y="137"/>
                  </a:lnTo>
                  <a:lnTo>
                    <a:pt x="234" y="27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22222"/>
                </a:solidFill>
                <a:effectLst/>
                <a:uLnTx/>
                <a:uFillTx/>
                <a:latin typeface="Inter"/>
                <a:ea typeface="+mn-ea"/>
                <a:cs typeface="+mn-cs"/>
              </a:endParaRPr>
            </a:p>
          </p:txBody>
        </p:sp>
        <p:sp>
          <p:nvSpPr>
            <p:cNvPr id="61" name="Freeform 1182">
              <a:extLst>
                <a:ext uri="{FF2B5EF4-FFF2-40B4-BE49-F238E27FC236}">
                  <a16:creationId xmlns:a16="http://schemas.microsoft.com/office/drawing/2014/main" id="{243725FA-E398-4CFB-81D2-1CD66632DD31}"/>
                </a:ext>
              </a:extLst>
            </p:cNvPr>
            <p:cNvSpPr>
              <a:spLocks/>
            </p:cNvSpPr>
            <p:nvPr/>
          </p:nvSpPr>
          <p:spPr bwMode="auto">
            <a:xfrm>
              <a:off x="8515576" y="4056372"/>
              <a:ext cx="24898" cy="10375"/>
            </a:xfrm>
            <a:custGeom>
              <a:avLst/>
              <a:gdLst>
                <a:gd name="T0" fmla="*/ 12 w 12"/>
                <a:gd name="T1" fmla="*/ 0 h 5"/>
                <a:gd name="T2" fmla="*/ 0 w 12"/>
                <a:gd name="T3" fmla="*/ 5 h 5"/>
                <a:gd name="T4" fmla="*/ 0 w 12"/>
                <a:gd name="T5" fmla="*/ 5 h 5"/>
                <a:gd name="T6" fmla="*/ 12 w 12"/>
                <a:gd name="T7" fmla="*/ 0 h 5"/>
              </a:gdLst>
              <a:ahLst/>
              <a:cxnLst>
                <a:cxn ang="0">
                  <a:pos x="T0" y="T1"/>
                </a:cxn>
                <a:cxn ang="0">
                  <a:pos x="T2" y="T3"/>
                </a:cxn>
                <a:cxn ang="0">
                  <a:pos x="T4" y="T5"/>
                </a:cxn>
                <a:cxn ang="0">
                  <a:pos x="T6" y="T7"/>
                </a:cxn>
              </a:cxnLst>
              <a:rect l="0" t="0" r="r" b="b"/>
              <a:pathLst>
                <a:path w="12" h="5">
                  <a:moveTo>
                    <a:pt x="12" y="0"/>
                  </a:moveTo>
                  <a:lnTo>
                    <a:pt x="0" y="5"/>
                  </a:lnTo>
                  <a:lnTo>
                    <a:pt x="0" y="5"/>
                  </a:lnTo>
                  <a:lnTo>
                    <a:pt x="12"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22222"/>
                </a:solidFill>
                <a:effectLst/>
                <a:uLnTx/>
                <a:uFillTx/>
                <a:latin typeface="Inter"/>
                <a:ea typeface="+mn-ea"/>
                <a:cs typeface="+mn-cs"/>
              </a:endParaRPr>
            </a:p>
          </p:txBody>
        </p:sp>
        <p:sp>
          <p:nvSpPr>
            <p:cNvPr id="62" name="Freeform 1183">
              <a:extLst>
                <a:ext uri="{FF2B5EF4-FFF2-40B4-BE49-F238E27FC236}">
                  <a16:creationId xmlns:a16="http://schemas.microsoft.com/office/drawing/2014/main" id="{578A09DF-062C-4250-8668-9D347D0159D2}"/>
                </a:ext>
              </a:extLst>
            </p:cNvPr>
            <p:cNvSpPr>
              <a:spLocks/>
            </p:cNvSpPr>
            <p:nvPr/>
          </p:nvSpPr>
          <p:spPr bwMode="auto">
            <a:xfrm>
              <a:off x="8515576" y="4056372"/>
              <a:ext cx="24898" cy="10375"/>
            </a:xfrm>
            <a:custGeom>
              <a:avLst/>
              <a:gdLst>
                <a:gd name="T0" fmla="*/ 12 w 12"/>
                <a:gd name="T1" fmla="*/ 0 h 5"/>
                <a:gd name="T2" fmla="*/ 0 w 12"/>
                <a:gd name="T3" fmla="*/ 5 h 5"/>
                <a:gd name="T4" fmla="*/ 0 w 12"/>
                <a:gd name="T5" fmla="*/ 5 h 5"/>
                <a:gd name="T6" fmla="*/ 12 w 12"/>
                <a:gd name="T7" fmla="*/ 0 h 5"/>
              </a:gdLst>
              <a:ahLst/>
              <a:cxnLst>
                <a:cxn ang="0">
                  <a:pos x="T0" y="T1"/>
                </a:cxn>
                <a:cxn ang="0">
                  <a:pos x="T2" y="T3"/>
                </a:cxn>
                <a:cxn ang="0">
                  <a:pos x="T4" y="T5"/>
                </a:cxn>
                <a:cxn ang="0">
                  <a:pos x="T6" y="T7"/>
                </a:cxn>
              </a:cxnLst>
              <a:rect l="0" t="0" r="r" b="b"/>
              <a:pathLst>
                <a:path w="12" h="5">
                  <a:moveTo>
                    <a:pt x="12" y="0"/>
                  </a:moveTo>
                  <a:lnTo>
                    <a:pt x="0" y="5"/>
                  </a:lnTo>
                  <a:lnTo>
                    <a:pt x="0" y="5"/>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22222"/>
                </a:solidFill>
                <a:effectLst/>
                <a:uLnTx/>
                <a:uFillTx/>
                <a:latin typeface="Inter"/>
                <a:ea typeface="+mn-ea"/>
                <a:cs typeface="+mn-cs"/>
              </a:endParaRPr>
            </a:p>
          </p:txBody>
        </p:sp>
        <p:sp>
          <p:nvSpPr>
            <p:cNvPr id="63" name="Freeform 1185">
              <a:extLst>
                <a:ext uri="{FF2B5EF4-FFF2-40B4-BE49-F238E27FC236}">
                  <a16:creationId xmlns:a16="http://schemas.microsoft.com/office/drawing/2014/main" id="{E8EB857D-3F45-41C6-BE53-1242F1A91EF7}"/>
                </a:ext>
              </a:extLst>
            </p:cNvPr>
            <p:cNvSpPr>
              <a:spLocks/>
            </p:cNvSpPr>
            <p:nvPr/>
          </p:nvSpPr>
          <p:spPr bwMode="auto">
            <a:xfrm>
              <a:off x="7565291" y="3772117"/>
              <a:ext cx="975184" cy="294630"/>
            </a:xfrm>
            <a:custGeom>
              <a:avLst/>
              <a:gdLst>
                <a:gd name="T0" fmla="*/ 234 w 470"/>
                <a:gd name="T1" fmla="*/ 0 h 142"/>
                <a:gd name="T2" fmla="*/ 0 w 470"/>
                <a:gd name="T3" fmla="*/ 137 h 142"/>
                <a:gd name="T4" fmla="*/ 12 w 470"/>
                <a:gd name="T5" fmla="*/ 142 h 142"/>
                <a:gd name="T6" fmla="*/ 234 w 470"/>
                <a:gd name="T7" fmla="*/ 14 h 142"/>
                <a:gd name="T8" fmla="*/ 458 w 470"/>
                <a:gd name="T9" fmla="*/ 142 h 142"/>
                <a:gd name="T10" fmla="*/ 470 w 470"/>
                <a:gd name="T11" fmla="*/ 137 h 142"/>
                <a:gd name="T12" fmla="*/ 234 w 470"/>
                <a:gd name="T13" fmla="*/ 0 h 142"/>
              </a:gdLst>
              <a:ahLst/>
              <a:cxnLst>
                <a:cxn ang="0">
                  <a:pos x="T0" y="T1"/>
                </a:cxn>
                <a:cxn ang="0">
                  <a:pos x="T2" y="T3"/>
                </a:cxn>
                <a:cxn ang="0">
                  <a:pos x="T4" y="T5"/>
                </a:cxn>
                <a:cxn ang="0">
                  <a:pos x="T6" y="T7"/>
                </a:cxn>
                <a:cxn ang="0">
                  <a:pos x="T8" y="T9"/>
                </a:cxn>
                <a:cxn ang="0">
                  <a:pos x="T10" y="T11"/>
                </a:cxn>
                <a:cxn ang="0">
                  <a:pos x="T12" y="T13"/>
                </a:cxn>
              </a:cxnLst>
              <a:rect l="0" t="0" r="r" b="b"/>
              <a:pathLst>
                <a:path w="470" h="142">
                  <a:moveTo>
                    <a:pt x="234" y="0"/>
                  </a:moveTo>
                  <a:lnTo>
                    <a:pt x="0" y="137"/>
                  </a:lnTo>
                  <a:lnTo>
                    <a:pt x="12" y="142"/>
                  </a:lnTo>
                  <a:lnTo>
                    <a:pt x="234" y="14"/>
                  </a:lnTo>
                  <a:lnTo>
                    <a:pt x="458" y="142"/>
                  </a:lnTo>
                  <a:lnTo>
                    <a:pt x="470" y="137"/>
                  </a:lnTo>
                  <a:lnTo>
                    <a:pt x="23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22222"/>
                </a:solidFill>
                <a:effectLst/>
                <a:uLnTx/>
                <a:uFillTx/>
                <a:latin typeface="Inter"/>
                <a:ea typeface="+mn-ea"/>
                <a:cs typeface="+mn-cs"/>
              </a:endParaRPr>
            </a:p>
          </p:txBody>
        </p:sp>
        <p:sp>
          <p:nvSpPr>
            <p:cNvPr id="64" name="Freeform 1233">
              <a:extLst>
                <a:ext uri="{FF2B5EF4-FFF2-40B4-BE49-F238E27FC236}">
                  <a16:creationId xmlns:a16="http://schemas.microsoft.com/office/drawing/2014/main" id="{22AF854C-F26C-485F-BE87-F87C73CCFDC1}"/>
                </a:ext>
              </a:extLst>
            </p:cNvPr>
            <p:cNvSpPr>
              <a:spLocks/>
            </p:cNvSpPr>
            <p:nvPr/>
          </p:nvSpPr>
          <p:spPr bwMode="auto">
            <a:xfrm>
              <a:off x="7756178" y="3274151"/>
              <a:ext cx="593410" cy="180513"/>
            </a:xfrm>
            <a:custGeom>
              <a:avLst/>
              <a:gdLst>
                <a:gd name="T0" fmla="*/ 142 w 286"/>
                <a:gd name="T1" fmla="*/ 80 h 87"/>
                <a:gd name="T2" fmla="*/ 8 w 286"/>
                <a:gd name="T3" fmla="*/ 0 h 87"/>
                <a:gd name="T4" fmla="*/ 0 w 286"/>
                <a:gd name="T5" fmla="*/ 4 h 87"/>
                <a:gd name="T6" fmla="*/ 142 w 286"/>
                <a:gd name="T7" fmla="*/ 87 h 87"/>
                <a:gd name="T8" fmla="*/ 286 w 286"/>
                <a:gd name="T9" fmla="*/ 4 h 87"/>
                <a:gd name="T10" fmla="*/ 279 w 286"/>
                <a:gd name="T11" fmla="*/ 0 h 87"/>
                <a:gd name="T12" fmla="*/ 142 w 286"/>
                <a:gd name="T13" fmla="*/ 80 h 87"/>
              </a:gdLst>
              <a:ahLst/>
              <a:cxnLst>
                <a:cxn ang="0">
                  <a:pos x="T0" y="T1"/>
                </a:cxn>
                <a:cxn ang="0">
                  <a:pos x="T2" y="T3"/>
                </a:cxn>
                <a:cxn ang="0">
                  <a:pos x="T4" y="T5"/>
                </a:cxn>
                <a:cxn ang="0">
                  <a:pos x="T6" y="T7"/>
                </a:cxn>
                <a:cxn ang="0">
                  <a:pos x="T8" y="T9"/>
                </a:cxn>
                <a:cxn ang="0">
                  <a:pos x="T10" y="T11"/>
                </a:cxn>
                <a:cxn ang="0">
                  <a:pos x="T12" y="T13"/>
                </a:cxn>
              </a:cxnLst>
              <a:rect l="0" t="0" r="r" b="b"/>
              <a:pathLst>
                <a:path w="286" h="87">
                  <a:moveTo>
                    <a:pt x="142" y="80"/>
                  </a:moveTo>
                  <a:lnTo>
                    <a:pt x="8" y="0"/>
                  </a:lnTo>
                  <a:lnTo>
                    <a:pt x="0" y="4"/>
                  </a:lnTo>
                  <a:lnTo>
                    <a:pt x="142" y="87"/>
                  </a:lnTo>
                  <a:lnTo>
                    <a:pt x="286" y="4"/>
                  </a:lnTo>
                  <a:lnTo>
                    <a:pt x="279" y="0"/>
                  </a:lnTo>
                  <a:lnTo>
                    <a:pt x="142" y="8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22222"/>
                </a:solidFill>
                <a:effectLst/>
                <a:uLnTx/>
                <a:uFillTx/>
                <a:latin typeface="Inter"/>
                <a:ea typeface="+mn-ea"/>
                <a:cs typeface="+mn-cs"/>
              </a:endParaRPr>
            </a:p>
          </p:txBody>
        </p:sp>
        <p:sp>
          <p:nvSpPr>
            <p:cNvPr id="65" name="Freeform 1234">
              <a:extLst>
                <a:ext uri="{FF2B5EF4-FFF2-40B4-BE49-F238E27FC236}">
                  <a16:creationId xmlns:a16="http://schemas.microsoft.com/office/drawing/2014/main" id="{9AF2D4FD-ED19-48F0-83CE-10B97FEAFFF3}"/>
                </a:ext>
              </a:extLst>
            </p:cNvPr>
            <p:cNvSpPr>
              <a:spLocks/>
            </p:cNvSpPr>
            <p:nvPr/>
          </p:nvSpPr>
          <p:spPr bwMode="auto">
            <a:xfrm>
              <a:off x="8137952" y="3483711"/>
              <a:ext cx="593410" cy="514565"/>
            </a:xfrm>
            <a:custGeom>
              <a:avLst/>
              <a:gdLst>
                <a:gd name="T0" fmla="*/ 144 w 286"/>
                <a:gd name="T1" fmla="*/ 83 h 248"/>
                <a:gd name="T2" fmla="*/ 0 w 286"/>
                <a:gd name="T3" fmla="*/ 0 h 248"/>
                <a:gd name="T4" fmla="*/ 0 w 286"/>
                <a:gd name="T5" fmla="*/ 165 h 248"/>
                <a:gd name="T6" fmla="*/ 144 w 286"/>
                <a:gd name="T7" fmla="*/ 248 h 248"/>
                <a:gd name="T8" fmla="*/ 286 w 286"/>
                <a:gd name="T9" fmla="*/ 165 h 248"/>
                <a:gd name="T10" fmla="*/ 286 w 286"/>
                <a:gd name="T11" fmla="*/ 0 h 248"/>
                <a:gd name="T12" fmla="*/ 144 w 286"/>
                <a:gd name="T13" fmla="*/ 83 h 248"/>
              </a:gdLst>
              <a:ahLst/>
              <a:cxnLst>
                <a:cxn ang="0">
                  <a:pos x="T0" y="T1"/>
                </a:cxn>
                <a:cxn ang="0">
                  <a:pos x="T2" y="T3"/>
                </a:cxn>
                <a:cxn ang="0">
                  <a:pos x="T4" y="T5"/>
                </a:cxn>
                <a:cxn ang="0">
                  <a:pos x="T6" y="T7"/>
                </a:cxn>
                <a:cxn ang="0">
                  <a:pos x="T8" y="T9"/>
                </a:cxn>
                <a:cxn ang="0">
                  <a:pos x="T10" y="T11"/>
                </a:cxn>
                <a:cxn ang="0">
                  <a:pos x="T12" y="T13"/>
                </a:cxn>
              </a:cxnLst>
              <a:rect l="0" t="0" r="r" b="b"/>
              <a:pathLst>
                <a:path w="286" h="248">
                  <a:moveTo>
                    <a:pt x="144" y="83"/>
                  </a:moveTo>
                  <a:lnTo>
                    <a:pt x="0" y="0"/>
                  </a:lnTo>
                  <a:lnTo>
                    <a:pt x="0" y="165"/>
                  </a:lnTo>
                  <a:lnTo>
                    <a:pt x="144" y="248"/>
                  </a:lnTo>
                  <a:lnTo>
                    <a:pt x="286" y="165"/>
                  </a:lnTo>
                  <a:lnTo>
                    <a:pt x="286" y="0"/>
                  </a:lnTo>
                  <a:lnTo>
                    <a:pt x="144" y="83"/>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22222"/>
                </a:solidFill>
                <a:effectLst/>
                <a:uLnTx/>
                <a:uFillTx/>
                <a:latin typeface="Inter"/>
                <a:ea typeface="+mn-ea"/>
                <a:cs typeface="+mn-cs"/>
              </a:endParaRPr>
            </a:p>
          </p:txBody>
        </p:sp>
        <p:sp>
          <p:nvSpPr>
            <p:cNvPr id="66" name="Freeform 1235">
              <a:extLst>
                <a:ext uri="{FF2B5EF4-FFF2-40B4-BE49-F238E27FC236}">
                  <a16:creationId xmlns:a16="http://schemas.microsoft.com/office/drawing/2014/main" id="{736E5175-8F0E-4FA1-84A3-8B60308BE81A}"/>
                </a:ext>
              </a:extLst>
            </p:cNvPr>
            <p:cNvSpPr>
              <a:spLocks/>
            </p:cNvSpPr>
            <p:nvPr/>
          </p:nvSpPr>
          <p:spPr bwMode="auto">
            <a:xfrm>
              <a:off x="8137952" y="3483711"/>
              <a:ext cx="298780" cy="514565"/>
            </a:xfrm>
            <a:custGeom>
              <a:avLst/>
              <a:gdLst>
                <a:gd name="T0" fmla="*/ 144 w 144"/>
                <a:gd name="T1" fmla="*/ 248 h 248"/>
                <a:gd name="T2" fmla="*/ 0 w 144"/>
                <a:gd name="T3" fmla="*/ 165 h 248"/>
                <a:gd name="T4" fmla="*/ 0 w 144"/>
                <a:gd name="T5" fmla="*/ 0 h 248"/>
                <a:gd name="T6" fmla="*/ 144 w 144"/>
                <a:gd name="T7" fmla="*/ 83 h 248"/>
                <a:gd name="T8" fmla="*/ 144 w 144"/>
                <a:gd name="T9" fmla="*/ 248 h 248"/>
              </a:gdLst>
              <a:ahLst/>
              <a:cxnLst>
                <a:cxn ang="0">
                  <a:pos x="T0" y="T1"/>
                </a:cxn>
                <a:cxn ang="0">
                  <a:pos x="T2" y="T3"/>
                </a:cxn>
                <a:cxn ang="0">
                  <a:pos x="T4" y="T5"/>
                </a:cxn>
                <a:cxn ang="0">
                  <a:pos x="T6" y="T7"/>
                </a:cxn>
                <a:cxn ang="0">
                  <a:pos x="T8" y="T9"/>
                </a:cxn>
              </a:cxnLst>
              <a:rect l="0" t="0" r="r" b="b"/>
              <a:pathLst>
                <a:path w="144" h="248">
                  <a:moveTo>
                    <a:pt x="144" y="248"/>
                  </a:moveTo>
                  <a:lnTo>
                    <a:pt x="0" y="165"/>
                  </a:lnTo>
                  <a:lnTo>
                    <a:pt x="0" y="0"/>
                  </a:lnTo>
                  <a:lnTo>
                    <a:pt x="144" y="83"/>
                  </a:lnTo>
                  <a:lnTo>
                    <a:pt x="144" y="248"/>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22222"/>
                </a:solidFill>
                <a:effectLst/>
                <a:uLnTx/>
                <a:uFillTx/>
                <a:latin typeface="Inter"/>
                <a:ea typeface="+mn-ea"/>
                <a:cs typeface="+mn-cs"/>
              </a:endParaRPr>
            </a:p>
          </p:txBody>
        </p:sp>
        <p:sp>
          <p:nvSpPr>
            <p:cNvPr id="67" name="Freeform 1236">
              <a:extLst>
                <a:ext uri="{FF2B5EF4-FFF2-40B4-BE49-F238E27FC236}">
                  <a16:creationId xmlns:a16="http://schemas.microsoft.com/office/drawing/2014/main" id="{8B4607C5-C73D-4B86-9FD4-3AEBDAB6DD86}"/>
                </a:ext>
              </a:extLst>
            </p:cNvPr>
            <p:cNvSpPr>
              <a:spLocks/>
            </p:cNvSpPr>
            <p:nvPr/>
          </p:nvSpPr>
          <p:spPr bwMode="auto">
            <a:xfrm>
              <a:off x="8436732" y="3483711"/>
              <a:ext cx="294630" cy="514565"/>
            </a:xfrm>
            <a:custGeom>
              <a:avLst/>
              <a:gdLst>
                <a:gd name="T0" fmla="*/ 142 w 142"/>
                <a:gd name="T1" fmla="*/ 165 h 248"/>
                <a:gd name="T2" fmla="*/ 0 w 142"/>
                <a:gd name="T3" fmla="*/ 248 h 248"/>
                <a:gd name="T4" fmla="*/ 0 w 142"/>
                <a:gd name="T5" fmla="*/ 83 h 248"/>
                <a:gd name="T6" fmla="*/ 142 w 142"/>
                <a:gd name="T7" fmla="*/ 0 h 248"/>
                <a:gd name="T8" fmla="*/ 142 w 142"/>
                <a:gd name="T9" fmla="*/ 165 h 248"/>
              </a:gdLst>
              <a:ahLst/>
              <a:cxnLst>
                <a:cxn ang="0">
                  <a:pos x="T0" y="T1"/>
                </a:cxn>
                <a:cxn ang="0">
                  <a:pos x="T2" y="T3"/>
                </a:cxn>
                <a:cxn ang="0">
                  <a:pos x="T4" y="T5"/>
                </a:cxn>
                <a:cxn ang="0">
                  <a:pos x="T6" y="T7"/>
                </a:cxn>
                <a:cxn ang="0">
                  <a:pos x="T8" y="T9"/>
                </a:cxn>
              </a:cxnLst>
              <a:rect l="0" t="0" r="r" b="b"/>
              <a:pathLst>
                <a:path w="142" h="248">
                  <a:moveTo>
                    <a:pt x="142" y="165"/>
                  </a:moveTo>
                  <a:lnTo>
                    <a:pt x="0" y="248"/>
                  </a:lnTo>
                  <a:lnTo>
                    <a:pt x="0" y="83"/>
                  </a:lnTo>
                  <a:lnTo>
                    <a:pt x="142" y="0"/>
                  </a:lnTo>
                  <a:lnTo>
                    <a:pt x="142" y="165"/>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22222"/>
                </a:solidFill>
                <a:effectLst/>
                <a:uLnTx/>
                <a:uFillTx/>
                <a:latin typeface="Inter"/>
                <a:ea typeface="+mn-ea"/>
                <a:cs typeface="+mn-cs"/>
              </a:endParaRPr>
            </a:p>
          </p:txBody>
        </p:sp>
        <p:sp>
          <p:nvSpPr>
            <p:cNvPr id="68" name="Freeform 1237">
              <a:extLst>
                <a:ext uri="{FF2B5EF4-FFF2-40B4-BE49-F238E27FC236}">
                  <a16:creationId xmlns:a16="http://schemas.microsoft.com/office/drawing/2014/main" id="{FAF2E1BD-2711-478F-8D6A-15ADFA6EA15B}"/>
                </a:ext>
              </a:extLst>
            </p:cNvPr>
            <p:cNvSpPr>
              <a:spLocks/>
            </p:cNvSpPr>
            <p:nvPr/>
          </p:nvSpPr>
          <p:spPr bwMode="auto">
            <a:xfrm>
              <a:off x="8137952" y="3317722"/>
              <a:ext cx="593410" cy="338203"/>
            </a:xfrm>
            <a:custGeom>
              <a:avLst/>
              <a:gdLst>
                <a:gd name="T0" fmla="*/ 144 w 286"/>
                <a:gd name="T1" fmla="*/ 163 h 163"/>
                <a:gd name="T2" fmla="*/ 0 w 286"/>
                <a:gd name="T3" fmla="*/ 80 h 163"/>
                <a:gd name="T4" fmla="*/ 144 w 286"/>
                <a:gd name="T5" fmla="*/ 0 h 163"/>
                <a:gd name="T6" fmla="*/ 286 w 286"/>
                <a:gd name="T7" fmla="*/ 80 h 163"/>
                <a:gd name="T8" fmla="*/ 144 w 286"/>
                <a:gd name="T9" fmla="*/ 163 h 163"/>
              </a:gdLst>
              <a:ahLst/>
              <a:cxnLst>
                <a:cxn ang="0">
                  <a:pos x="T0" y="T1"/>
                </a:cxn>
                <a:cxn ang="0">
                  <a:pos x="T2" y="T3"/>
                </a:cxn>
                <a:cxn ang="0">
                  <a:pos x="T4" y="T5"/>
                </a:cxn>
                <a:cxn ang="0">
                  <a:pos x="T6" y="T7"/>
                </a:cxn>
                <a:cxn ang="0">
                  <a:pos x="T8" y="T9"/>
                </a:cxn>
              </a:cxnLst>
              <a:rect l="0" t="0" r="r" b="b"/>
              <a:pathLst>
                <a:path w="286" h="163">
                  <a:moveTo>
                    <a:pt x="144" y="163"/>
                  </a:moveTo>
                  <a:lnTo>
                    <a:pt x="0" y="80"/>
                  </a:lnTo>
                  <a:lnTo>
                    <a:pt x="144" y="0"/>
                  </a:lnTo>
                  <a:lnTo>
                    <a:pt x="286" y="80"/>
                  </a:lnTo>
                  <a:lnTo>
                    <a:pt x="144" y="163"/>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22222"/>
                </a:solidFill>
                <a:effectLst/>
                <a:uLnTx/>
                <a:uFillTx/>
                <a:latin typeface="Inter"/>
                <a:ea typeface="+mn-ea"/>
                <a:cs typeface="+mn-cs"/>
              </a:endParaRPr>
            </a:p>
          </p:txBody>
        </p:sp>
        <p:sp>
          <p:nvSpPr>
            <p:cNvPr id="69" name="Freeform 1238">
              <a:extLst>
                <a:ext uri="{FF2B5EF4-FFF2-40B4-BE49-F238E27FC236}">
                  <a16:creationId xmlns:a16="http://schemas.microsoft.com/office/drawing/2014/main" id="{A7878834-5193-4B5D-9E87-B8AC259FA36A}"/>
                </a:ext>
              </a:extLst>
            </p:cNvPr>
            <p:cNvSpPr>
              <a:spLocks/>
            </p:cNvSpPr>
            <p:nvPr/>
          </p:nvSpPr>
          <p:spPr bwMode="auto">
            <a:xfrm>
              <a:off x="8137952" y="3494086"/>
              <a:ext cx="593410" cy="176364"/>
            </a:xfrm>
            <a:custGeom>
              <a:avLst/>
              <a:gdLst>
                <a:gd name="T0" fmla="*/ 144 w 286"/>
                <a:gd name="T1" fmla="*/ 78 h 85"/>
                <a:gd name="T2" fmla="*/ 8 w 286"/>
                <a:gd name="T3" fmla="*/ 0 h 85"/>
                <a:gd name="T4" fmla="*/ 0 w 286"/>
                <a:gd name="T5" fmla="*/ 2 h 85"/>
                <a:gd name="T6" fmla="*/ 144 w 286"/>
                <a:gd name="T7" fmla="*/ 85 h 85"/>
                <a:gd name="T8" fmla="*/ 286 w 286"/>
                <a:gd name="T9" fmla="*/ 2 h 85"/>
                <a:gd name="T10" fmla="*/ 279 w 286"/>
                <a:gd name="T11" fmla="*/ 0 h 85"/>
                <a:gd name="T12" fmla="*/ 144 w 286"/>
                <a:gd name="T13" fmla="*/ 78 h 85"/>
              </a:gdLst>
              <a:ahLst/>
              <a:cxnLst>
                <a:cxn ang="0">
                  <a:pos x="T0" y="T1"/>
                </a:cxn>
                <a:cxn ang="0">
                  <a:pos x="T2" y="T3"/>
                </a:cxn>
                <a:cxn ang="0">
                  <a:pos x="T4" y="T5"/>
                </a:cxn>
                <a:cxn ang="0">
                  <a:pos x="T6" y="T7"/>
                </a:cxn>
                <a:cxn ang="0">
                  <a:pos x="T8" y="T9"/>
                </a:cxn>
                <a:cxn ang="0">
                  <a:pos x="T10" y="T11"/>
                </a:cxn>
                <a:cxn ang="0">
                  <a:pos x="T12" y="T13"/>
                </a:cxn>
              </a:cxnLst>
              <a:rect l="0" t="0" r="r" b="b"/>
              <a:pathLst>
                <a:path w="286" h="85">
                  <a:moveTo>
                    <a:pt x="144" y="78"/>
                  </a:moveTo>
                  <a:lnTo>
                    <a:pt x="8" y="0"/>
                  </a:lnTo>
                  <a:lnTo>
                    <a:pt x="0" y="2"/>
                  </a:lnTo>
                  <a:lnTo>
                    <a:pt x="144" y="85"/>
                  </a:lnTo>
                  <a:lnTo>
                    <a:pt x="286" y="2"/>
                  </a:lnTo>
                  <a:lnTo>
                    <a:pt x="279" y="0"/>
                  </a:lnTo>
                  <a:lnTo>
                    <a:pt x="144"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22222"/>
                </a:solidFill>
                <a:effectLst/>
                <a:uLnTx/>
                <a:uFillTx/>
                <a:latin typeface="Inter"/>
                <a:ea typeface="+mn-ea"/>
                <a:cs typeface="+mn-cs"/>
              </a:endParaRPr>
            </a:p>
          </p:txBody>
        </p:sp>
        <p:sp>
          <p:nvSpPr>
            <p:cNvPr id="70" name="Freeform 1240">
              <a:extLst>
                <a:ext uri="{FF2B5EF4-FFF2-40B4-BE49-F238E27FC236}">
                  <a16:creationId xmlns:a16="http://schemas.microsoft.com/office/drawing/2014/main" id="{633C6F7A-F65C-468C-9539-773AB579ADB4}"/>
                </a:ext>
              </a:extLst>
            </p:cNvPr>
            <p:cNvSpPr>
              <a:spLocks/>
            </p:cNvSpPr>
            <p:nvPr/>
          </p:nvSpPr>
          <p:spPr bwMode="auto">
            <a:xfrm>
              <a:off x="8525950" y="3703646"/>
              <a:ext cx="292556" cy="510415"/>
            </a:xfrm>
            <a:custGeom>
              <a:avLst/>
              <a:gdLst>
                <a:gd name="T0" fmla="*/ 141 w 141"/>
                <a:gd name="T1" fmla="*/ 246 h 246"/>
                <a:gd name="T2" fmla="*/ 0 w 141"/>
                <a:gd name="T3" fmla="*/ 165 h 246"/>
                <a:gd name="T4" fmla="*/ 0 w 141"/>
                <a:gd name="T5" fmla="*/ 0 h 246"/>
                <a:gd name="T6" fmla="*/ 141 w 141"/>
                <a:gd name="T7" fmla="*/ 83 h 246"/>
                <a:gd name="T8" fmla="*/ 141 w 141"/>
                <a:gd name="T9" fmla="*/ 246 h 246"/>
              </a:gdLst>
              <a:ahLst/>
              <a:cxnLst>
                <a:cxn ang="0">
                  <a:pos x="T0" y="T1"/>
                </a:cxn>
                <a:cxn ang="0">
                  <a:pos x="T2" y="T3"/>
                </a:cxn>
                <a:cxn ang="0">
                  <a:pos x="T4" y="T5"/>
                </a:cxn>
                <a:cxn ang="0">
                  <a:pos x="T6" y="T7"/>
                </a:cxn>
                <a:cxn ang="0">
                  <a:pos x="T8" y="T9"/>
                </a:cxn>
              </a:cxnLst>
              <a:rect l="0" t="0" r="r" b="b"/>
              <a:pathLst>
                <a:path w="141" h="246">
                  <a:moveTo>
                    <a:pt x="141" y="246"/>
                  </a:moveTo>
                  <a:lnTo>
                    <a:pt x="0" y="165"/>
                  </a:lnTo>
                  <a:lnTo>
                    <a:pt x="0" y="0"/>
                  </a:lnTo>
                  <a:lnTo>
                    <a:pt x="141" y="83"/>
                  </a:lnTo>
                  <a:lnTo>
                    <a:pt x="141" y="246"/>
                  </a:ln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22222"/>
                </a:solidFill>
                <a:effectLst/>
                <a:uLnTx/>
                <a:uFillTx/>
                <a:latin typeface="Inter"/>
                <a:ea typeface="+mn-ea"/>
                <a:cs typeface="+mn-cs"/>
              </a:endParaRPr>
            </a:p>
          </p:txBody>
        </p:sp>
        <p:sp>
          <p:nvSpPr>
            <p:cNvPr id="71" name="Freeform 1241">
              <a:extLst>
                <a:ext uri="{FF2B5EF4-FFF2-40B4-BE49-F238E27FC236}">
                  <a16:creationId xmlns:a16="http://schemas.microsoft.com/office/drawing/2014/main" id="{2C11FC60-FA61-487D-990F-0E821FA03AF7}"/>
                </a:ext>
              </a:extLst>
            </p:cNvPr>
            <p:cNvSpPr>
              <a:spLocks/>
            </p:cNvSpPr>
            <p:nvPr/>
          </p:nvSpPr>
          <p:spPr bwMode="auto">
            <a:xfrm>
              <a:off x="8818506" y="3701741"/>
              <a:ext cx="294630" cy="510415"/>
            </a:xfrm>
            <a:custGeom>
              <a:avLst/>
              <a:gdLst>
                <a:gd name="T0" fmla="*/ 142 w 142"/>
                <a:gd name="T1" fmla="*/ 165 h 246"/>
                <a:gd name="T2" fmla="*/ 0 w 142"/>
                <a:gd name="T3" fmla="*/ 246 h 246"/>
                <a:gd name="T4" fmla="*/ 0 w 142"/>
                <a:gd name="T5" fmla="*/ 83 h 246"/>
                <a:gd name="T6" fmla="*/ 142 w 142"/>
                <a:gd name="T7" fmla="*/ 0 h 246"/>
                <a:gd name="T8" fmla="*/ 142 w 142"/>
                <a:gd name="T9" fmla="*/ 165 h 246"/>
              </a:gdLst>
              <a:ahLst/>
              <a:cxnLst>
                <a:cxn ang="0">
                  <a:pos x="T0" y="T1"/>
                </a:cxn>
                <a:cxn ang="0">
                  <a:pos x="T2" y="T3"/>
                </a:cxn>
                <a:cxn ang="0">
                  <a:pos x="T4" y="T5"/>
                </a:cxn>
                <a:cxn ang="0">
                  <a:pos x="T6" y="T7"/>
                </a:cxn>
                <a:cxn ang="0">
                  <a:pos x="T8" y="T9"/>
                </a:cxn>
              </a:cxnLst>
              <a:rect l="0" t="0" r="r" b="b"/>
              <a:pathLst>
                <a:path w="142" h="246">
                  <a:moveTo>
                    <a:pt x="142" y="165"/>
                  </a:moveTo>
                  <a:lnTo>
                    <a:pt x="0" y="246"/>
                  </a:lnTo>
                  <a:lnTo>
                    <a:pt x="0" y="83"/>
                  </a:lnTo>
                  <a:lnTo>
                    <a:pt x="142" y="0"/>
                  </a:lnTo>
                  <a:lnTo>
                    <a:pt x="142" y="165"/>
                  </a:lnTo>
                  <a:close/>
                </a:path>
              </a:pathLst>
            </a:custGeom>
            <a:solidFill>
              <a:schemeClr val="accent1">
                <a:lumMod val="60000"/>
                <a:lumOff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22222"/>
                </a:solidFill>
                <a:effectLst/>
                <a:uLnTx/>
                <a:uFillTx/>
                <a:latin typeface="Inter"/>
                <a:ea typeface="+mn-ea"/>
                <a:cs typeface="+mn-cs"/>
              </a:endParaRPr>
            </a:p>
          </p:txBody>
        </p:sp>
        <p:sp>
          <p:nvSpPr>
            <p:cNvPr id="72" name="Freeform 1242">
              <a:extLst>
                <a:ext uri="{FF2B5EF4-FFF2-40B4-BE49-F238E27FC236}">
                  <a16:creationId xmlns:a16="http://schemas.microsoft.com/office/drawing/2014/main" id="{291395F6-DEF8-4C19-B3DF-1BFA2F0BA5DB}"/>
                </a:ext>
              </a:extLst>
            </p:cNvPr>
            <p:cNvSpPr>
              <a:spLocks/>
            </p:cNvSpPr>
            <p:nvPr/>
          </p:nvSpPr>
          <p:spPr bwMode="auto">
            <a:xfrm>
              <a:off x="8525950" y="3533508"/>
              <a:ext cx="587186" cy="342352"/>
            </a:xfrm>
            <a:custGeom>
              <a:avLst/>
              <a:gdLst>
                <a:gd name="T0" fmla="*/ 141 w 283"/>
                <a:gd name="T1" fmla="*/ 165 h 165"/>
                <a:gd name="T2" fmla="*/ 0 w 283"/>
                <a:gd name="T3" fmla="*/ 82 h 165"/>
                <a:gd name="T4" fmla="*/ 141 w 283"/>
                <a:gd name="T5" fmla="*/ 0 h 165"/>
                <a:gd name="T6" fmla="*/ 283 w 283"/>
                <a:gd name="T7" fmla="*/ 82 h 165"/>
                <a:gd name="T8" fmla="*/ 141 w 283"/>
                <a:gd name="T9" fmla="*/ 165 h 165"/>
              </a:gdLst>
              <a:ahLst/>
              <a:cxnLst>
                <a:cxn ang="0">
                  <a:pos x="T0" y="T1"/>
                </a:cxn>
                <a:cxn ang="0">
                  <a:pos x="T2" y="T3"/>
                </a:cxn>
                <a:cxn ang="0">
                  <a:pos x="T4" y="T5"/>
                </a:cxn>
                <a:cxn ang="0">
                  <a:pos x="T6" y="T7"/>
                </a:cxn>
                <a:cxn ang="0">
                  <a:pos x="T8" y="T9"/>
                </a:cxn>
              </a:cxnLst>
              <a:rect l="0" t="0" r="r" b="b"/>
              <a:pathLst>
                <a:path w="283" h="165">
                  <a:moveTo>
                    <a:pt x="141" y="165"/>
                  </a:moveTo>
                  <a:lnTo>
                    <a:pt x="0" y="82"/>
                  </a:lnTo>
                  <a:lnTo>
                    <a:pt x="141" y="0"/>
                  </a:lnTo>
                  <a:lnTo>
                    <a:pt x="283" y="82"/>
                  </a:lnTo>
                  <a:lnTo>
                    <a:pt x="141" y="165"/>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22222"/>
                </a:solidFill>
                <a:effectLst/>
                <a:uLnTx/>
                <a:uFillTx/>
                <a:latin typeface="Inter"/>
                <a:ea typeface="+mn-ea"/>
                <a:cs typeface="+mn-cs"/>
              </a:endParaRPr>
            </a:p>
          </p:txBody>
        </p:sp>
        <p:sp>
          <p:nvSpPr>
            <p:cNvPr id="73" name="Freeform 1244">
              <a:extLst>
                <a:ext uri="{FF2B5EF4-FFF2-40B4-BE49-F238E27FC236}">
                  <a16:creationId xmlns:a16="http://schemas.microsoft.com/office/drawing/2014/main" id="{5A37B931-FFF5-4899-A1E0-8FA3995923A5}"/>
                </a:ext>
              </a:extLst>
            </p:cNvPr>
            <p:cNvSpPr>
              <a:spLocks/>
            </p:cNvSpPr>
            <p:nvPr/>
          </p:nvSpPr>
          <p:spPr bwMode="auto">
            <a:xfrm>
              <a:off x="7374404" y="3498236"/>
              <a:ext cx="589260" cy="514565"/>
            </a:xfrm>
            <a:custGeom>
              <a:avLst/>
              <a:gdLst>
                <a:gd name="T0" fmla="*/ 142 w 284"/>
                <a:gd name="T1" fmla="*/ 83 h 248"/>
                <a:gd name="T2" fmla="*/ 0 w 284"/>
                <a:gd name="T3" fmla="*/ 0 h 248"/>
                <a:gd name="T4" fmla="*/ 0 w 284"/>
                <a:gd name="T5" fmla="*/ 165 h 248"/>
                <a:gd name="T6" fmla="*/ 142 w 284"/>
                <a:gd name="T7" fmla="*/ 248 h 248"/>
                <a:gd name="T8" fmla="*/ 284 w 284"/>
                <a:gd name="T9" fmla="*/ 165 h 248"/>
                <a:gd name="T10" fmla="*/ 284 w 284"/>
                <a:gd name="T11" fmla="*/ 0 h 248"/>
                <a:gd name="T12" fmla="*/ 142 w 284"/>
                <a:gd name="T13" fmla="*/ 83 h 248"/>
              </a:gdLst>
              <a:ahLst/>
              <a:cxnLst>
                <a:cxn ang="0">
                  <a:pos x="T0" y="T1"/>
                </a:cxn>
                <a:cxn ang="0">
                  <a:pos x="T2" y="T3"/>
                </a:cxn>
                <a:cxn ang="0">
                  <a:pos x="T4" y="T5"/>
                </a:cxn>
                <a:cxn ang="0">
                  <a:pos x="T6" y="T7"/>
                </a:cxn>
                <a:cxn ang="0">
                  <a:pos x="T8" y="T9"/>
                </a:cxn>
                <a:cxn ang="0">
                  <a:pos x="T10" y="T11"/>
                </a:cxn>
                <a:cxn ang="0">
                  <a:pos x="T12" y="T13"/>
                </a:cxn>
              </a:cxnLst>
              <a:rect l="0" t="0" r="r" b="b"/>
              <a:pathLst>
                <a:path w="284" h="248">
                  <a:moveTo>
                    <a:pt x="142" y="83"/>
                  </a:moveTo>
                  <a:lnTo>
                    <a:pt x="0" y="0"/>
                  </a:lnTo>
                  <a:lnTo>
                    <a:pt x="0" y="165"/>
                  </a:lnTo>
                  <a:lnTo>
                    <a:pt x="142" y="248"/>
                  </a:lnTo>
                  <a:lnTo>
                    <a:pt x="284" y="165"/>
                  </a:lnTo>
                  <a:lnTo>
                    <a:pt x="284" y="0"/>
                  </a:lnTo>
                  <a:lnTo>
                    <a:pt x="142" y="83"/>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22222"/>
                </a:solidFill>
                <a:effectLst/>
                <a:uLnTx/>
                <a:uFillTx/>
                <a:latin typeface="Inter"/>
                <a:ea typeface="+mn-ea"/>
                <a:cs typeface="+mn-cs"/>
              </a:endParaRPr>
            </a:p>
          </p:txBody>
        </p:sp>
        <p:sp>
          <p:nvSpPr>
            <p:cNvPr id="74" name="Freeform 1245">
              <a:extLst>
                <a:ext uri="{FF2B5EF4-FFF2-40B4-BE49-F238E27FC236}">
                  <a16:creationId xmlns:a16="http://schemas.microsoft.com/office/drawing/2014/main" id="{5D3050D8-1D80-4F7B-99CF-5D282D2E6A40}"/>
                </a:ext>
              </a:extLst>
            </p:cNvPr>
            <p:cNvSpPr>
              <a:spLocks/>
            </p:cNvSpPr>
            <p:nvPr/>
          </p:nvSpPr>
          <p:spPr bwMode="auto">
            <a:xfrm>
              <a:off x="7374404" y="3498236"/>
              <a:ext cx="294630" cy="514565"/>
            </a:xfrm>
            <a:custGeom>
              <a:avLst/>
              <a:gdLst>
                <a:gd name="T0" fmla="*/ 142 w 142"/>
                <a:gd name="T1" fmla="*/ 248 h 248"/>
                <a:gd name="T2" fmla="*/ 0 w 142"/>
                <a:gd name="T3" fmla="*/ 165 h 248"/>
                <a:gd name="T4" fmla="*/ 0 w 142"/>
                <a:gd name="T5" fmla="*/ 0 h 248"/>
                <a:gd name="T6" fmla="*/ 142 w 142"/>
                <a:gd name="T7" fmla="*/ 83 h 248"/>
                <a:gd name="T8" fmla="*/ 142 w 142"/>
                <a:gd name="T9" fmla="*/ 248 h 248"/>
              </a:gdLst>
              <a:ahLst/>
              <a:cxnLst>
                <a:cxn ang="0">
                  <a:pos x="T0" y="T1"/>
                </a:cxn>
                <a:cxn ang="0">
                  <a:pos x="T2" y="T3"/>
                </a:cxn>
                <a:cxn ang="0">
                  <a:pos x="T4" y="T5"/>
                </a:cxn>
                <a:cxn ang="0">
                  <a:pos x="T6" y="T7"/>
                </a:cxn>
                <a:cxn ang="0">
                  <a:pos x="T8" y="T9"/>
                </a:cxn>
              </a:cxnLst>
              <a:rect l="0" t="0" r="r" b="b"/>
              <a:pathLst>
                <a:path w="142" h="248">
                  <a:moveTo>
                    <a:pt x="142" y="248"/>
                  </a:moveTo>
                  <a:lnTo>
                    <a:pt x="0" y="165"/>
                  </a:lnTo>
                  <a:lnTo>
                    <a:pt x="0" y="0"/>
                  </a:lnTo>
                  <a:lnTo>
                    <a:pt x="142" y="83"/>
                  </a:lnTo>
                  <a:lnTo>
                    <a:pt x="142" y="248"/>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22222"/>
                </a:solidFill>
                <a:effectLst/>
                <a:uLnTx/>
                <a:uFillTx/>
                <a:latin typeface="Inter"/>
                <a:ea typeface="+mn-ea"/>
                <a:cs typeface="+mn-cs"/>
              </a:endParaRPr>
            </a:p>
          </p:txBody>
        </p:sp>
        <p:sp>
          <p:nvSpPr>
            <p:cNvPr id="75" name="Freeform 1246">
              <a:extLst>
                <a:ext uri="{FF2B5EF4-FFF2-40B4-BE49-F238E27FC236}">
                  <a16:creationId xmlns:a16="http://schemas.microsoft.com/office/drawing/2014/main" id="{20D46A96-CED1-440F-91ED-0EF3F8A1B49E}"/>
                </a:ext>
              </a:extLst>
            </p:cNvPr>
            <p:cNvSpPr>
              <a:spLocks/>
            </p:cNvSpPr>
            <p:nvPr/>
          </p:nvSpPr>
          <p:spPr bwMode="auto">
            <a:xfrm>
              <a:off x="7669034" y="3498236"/>
              <a:ext cx="294630" cy="514565"/>
            </a:xfrm>
            <a:custGeom>
              <a:avLst/>
              <a:gdLst>
                <a:gd name="T0" fmla="*/ 142 w 142"/>
                <a:gd name="T1" fmla="*/ 165 h 248"/>
                <a:gd name="T2" fmla="*/ 0 w 142"/>
                <a:gd name="T3" fmla="*/ 248 h 248"/>
                <a:gd name="T4" fmla="*/ 0 w 142"/>
                <a:gd name="T5" fmla="*/ 83 h 248"/>
                <a:gd name="T6" fmla="*/ 142 w 142"/>
                <a:gd name="T7" fmla="*/ 0 h 248"/>
                <a:gd name="T8" fmla="*/ 142 w 142"/>
                <a:gd name="T9" fmla="*/ 165 h 248"/>
              </a:gdLst>
              <a:ahLst/>
              <a:cxnLst>
                <a:cxn ang="0">
                  <a:pos x="T0" y="T1"/>
                </a:cxn>
                <a:cxn ang="0">
                  <a:pos x="T2" y="T3"/>
                </a:cxn>
                <a:cxn ang="0">
                  <a:pos x="T4" y="T5"/>
                </a:cxn>
                <a:cxn ang="0">
                  <a:pos x="T6" y="T7"/>
                </a:cxn>
                <a:cxn ang="0">
                  <a:pos x="T8" y="T9"/>
                </a:cxn>
              </a:cxnLst>
              <a:rect l="0" t="0" r="r" b="b"/>
              <a:pathLst>
                <a:path w="142" h="248">
                  <a:moveTo>
                    <a:pt x="142" y="165"/>
                  </a:moveTo>
                  <a:lnTo>
                    <a:pt x="0" y="248"/>
                  </a:lnTo>
                  <a:lnTo>
                    <a:pt x="0" y="83"/>
                  </a:lnTo>
                  <a:lnTo>
                    <a:pt x="142" y="0"/>
                  </a:lnTo>
                  <a:lnTo>
                    <a:pt x="142" y="165"/>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22222"/>
                </a:solidFill>
                <a:effectLst/>
                <a:uLnTx/>
                <a:uFillTx/>
                <a:latin typeface="Inter"/>
                <a:ea typeface="+mn-ea"/>
                <a:cs typeface="+mn-cs"/>
              </a:endParaRPr>
            </a:p>
          </p:txBody>
        </p:sp>
        <p:sp>
          <p:nvSpPr>
            <p:cNvPr id="76" name="Freeform 1247">
              <a:extLst>
                <a:ext uri="{FF2B5EF4-FFF2-40B4-BE49-F238E27FC236}">
                  <a16:creationId xmlns:a16="http://schemas.microsoft.com/office/drawing/2014/main" id="{740BF5D2-222F-4693-B39B-945B1574ABE0}"/>
                </a:ext>
              </a:extLst>
            </p:cNvPr>
            <p:cNvSpPr>
              <a:spLocks/>
            </p:cNvSpPr>
            <p:nvPr/>
          </p:nvSpPr>
          <p:spPr bwMode="auto">
            <a:xfrm>
              <a:off x="7374404" y="3332247"/>
              <a:ext cx="589260" cy="338203"/>
            </a:xfrm>
            <a:custGeom>
              <a:avLst/>
              <a:gdLst>
                <a:gd name="T0" fmla="*/ 142 w 284"/>
                <a:gd name="T1" fmla="*/ 163 h 163"/>
                <a:gd name="T2" fmla="*/ 0 w 284"/>
                <a:gd name="T3" fmla="*/ 80 h 163"/>
                <a:gd name="T4" fmla="*/ 142 w 284"/>
                <a:gd name="T5" fmla="*/ 0 h 163"/>
                <a:gd name="T6" fmla="*/ 284 w 284"/>
                <a:gd name="T7" fmla="*/ 80 h 163"/>
                <a:gd name="T8" fmla="*/ 142 w 284"/>
                <a:gd name="T9" fmla="*/ 163 h 163"/>
              </a:gdLst>
              <a:ahLst/>
              <a:cxnLst>
                <a:cxn ang="0">
                  <a:pos x="T0" y="T1"/>
                </a:cxn>
                <a:cxn ang="0">
                  <a:pos x="T2" y="T3"/>
                </a:cxn>
                <a:cxn ang="0">
                  <a:pos x="T4" y="T5"/>
                </a:cxn>
                <a:cxn ang="0">
                  <a:pos x="T6" y="T7"/>
                </a:cxn>
                <a:cxn ang="0">
                  <a:pos x="T8" y="T9"/>
                </a:cxn>
              </a:cxnLst>
              <a:rect l="0" t="0" r="r" b="b"/>
              <a:pathLst>
                <a:path w="284" h="163">
                  <a:moveTo>
                    <a:pt x="142" y="163"/>
                  </a:moveTo>
                  <a:lnTo>
                    <a:pt x="0" y="80"/>
                  </a:lnTo>
                  <a:lnTo>
                    <a:pt x="142" y="0"/>
                  </a:lnTo>
                  <a:lnTo>
                    <a:pt x="284" y="80"/>
                  </a:lnTo>
                  <a:lnTo>
                    <a:pt x="142" y="163"/>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22222"/>
                </a:solidFill>
                <a:effectLst/>
                <a:uLnTx/>
                <a:uFillTx/>
                <a:latin typeface="Inter"/>
                <a:ea typeface="+mn-ea"/>
                <a:cs typeface="+mn-cs"/>
              </a:endParaRPr>
            </a:p>
          </p:txBody>
        </p:sp>
        <p:sp>
          <p:nvSpPr>
            <p:cNvPr id="77" name="Freeform 1248">
              <a:extLst>
                <a:ext uri="{FF2B5EF4-FFF2-40B4-BE49-F238E27FC236}">
                  <a16:creationId xmlns:a16="http://schemas.microsoft.com/office/drawing/2014/main" id="{D1E37774-9A86-45C9-9619-1C0D08809ECC}"/>
                </a:ext>
              </a:extLst>
            </p:cNvPr>
            <p:cNvSpPr>
              <a:spLocks/>
            </p:cNvSpPr>
            <p:nvPr/>
          </p:nvSpPr>
          <p:spPr bwMode="auto">
            <a:xfrm>
              <a:off x="7374404" y="3508609"/>
              <a:ext cx="589260" cy="176364"/>
            </a:xfrm>
            <a:custGeom>
              <a:avLst/>
              <a:gdLst>
                <a:gd name="T0" fmla="*/ 142 w 284"/>
                <a:gd name="T1" fmla="*/ 78 h 85"/>
                <a:gd name="T2" fmla="*/ 5 w 284"/>
                <a:gd name="T3" fmla="*/ 0 h 85"/>
                <a:gd name="T4" fmla="*/ 0 w 284"/>
                <a:gd name="T5" fmla="*/ 2 h 85"/>
                <a:gd name="T6" fmla="*/ 142 w 284"/>
                <a:gd name="T7" fmla="*/ 85 h 85"/>
                <a:gd name="T8" fmla="*/ 284 w 284"/>
                <a:gd name="T9" fmla="*/ 2 h 85"/>
                <a:gd name="T10" fmla="*/ 279 w 284"/>
                <a:gd name="T11" fmla="*/ 0 h 85"/>
                <a:gd name="T12" fmla="*/ 142 w 284"/>
                <a:gd name="T13" fmla="*/ 78 h 85"/>
              </a:gdLst>
              <a:ahLst/>
              <a:cxnLst>
                <a:cxn ang="0">
                  <a:pos x="T0" y="T1"/>
                </a:cxn>
                <a:cxn ang="0">
                  <a:pos x="T2" y="T3"/>
                </a:cxn>
                <a:cxn ang="0">
                  <a:pos x="T4" y="T5"/>
                </a:cxn>
                <a:cxn ang="0">
                  <a:pos x="T6" y="T7"/>
                </a:cxn>
                <a:cxn ang="0">
                  <a:pos x="T8" y="T9"/>
                </a:cxn>
                <a:cxn ang="0">
                  <a:pos x="T10" y="T11"/>
                </a:cxn>
                <a:cxn ang="0">
                  <a:pos x="T12" y="T13"/>
                </a:cxn>
              </a:cxnLst>
              <a:rect l="0" t="0" r="r" b="b"/>
              <a:pathLst>
                <a:path w="284" h="85">
                  <a:moveTo>
                    <a:pt x="142" y="78"/>
                  </a:moveTo>
                  <a:lnTo>
                    <a:pt x="5" y="0"/>
                  </a:lnTo>
                  <a:lnTo>
                    <a:pt x="0" y="2"/>
                  </a:lnTo>
                  <a:lnTo>
                    <a:pt x="142" y="85"/>
                  </a:lnTo>
                  <a:lnTo>
                    <a:pt x="284" y="2"/>
                  </a:lnTo>
                  <a:lnTo>
                    <a:pt x="279" y="0"/>
                  </a:lnTo>
                  <a:lnTo>
                    <a:pt x="142"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22222"/>
                </a:solidFill>
                <a:effectLst/>
                <a:uLnTx/>
                <a:uFillTx/>
                <a:latin typeface="Inter"/>
                <a:ea typeface="+mn-ea"/>
                <a:cs typeface="+mn-cs"/>
              </a:endParaRPr>
            </a:p>
          </p:txBody>
        </p:sp>
        <p:sp>
          <p:nvSpPr>
            <p:cNvPr id="78" name="Freeform 1250">
              <a:extLst>
                <a:ext uri="{FF2B5EF4-FFF2-40B4-BE49-F238E27FC236}">
                  <a16:creationId xmlns:a16="http://schemas.microsoft.com/office/drawing/2014/main" id="{41C88135-F171-464D-8E54-E295668EAC33}"/>
                </a:ext>
              </a:extLst>
            </p:cNvPr>
            <p:cNvSpPr>
              <a:spLocks/>
            </p:cNvSpPr>
            <p:nvPr/>
          </p:nvSpPr>
          <p:spPr bwMode="auto">
            <a:xfrm>
              <a:off x="7756178" y="3718171"/>
              <a:ext cx="294630" cy="510415"/>
            </a:xfrm>
            <a:custGeom>
              <a:avLst/>
              <a:gdLst>
                <a:gd name="T0" fmla="*/ 142 w 142"/>
                <a:gd name="T1" fmla="*/ 246 h 246"/>
                <a:gd name="T2" fmla="*/ 0 w 142"/>
                <a:gd name="T3" fmla="*/ 166 h 246"/>
                <a:gd name="T4" fmla="*/ 0 w 142"/>
                <a:gd name="T5" fmla="*/ 0 h 246"/>
                <a:gd name="T6" fmla="*/ 142 w 142"/>
                <a:gd name="T7" fmla="*/ 83 h 246"/>
                <a:gd name="T8" fmla="*/ 142 w 142"/>
                <a:gd name="T9" fmla="*/ 246 h 246"/>
              </a:gdLst>
              <a:ahLst/>
              <a:cxnLst>
                <a:cxn ang="0">
                  <a:pos x="T0" y="T1"/>
                </a:cxn>
                <a:cxn ang="0">
                  <a:pos x="T2" y="T3"/>
                </a:cxn>
                <a:cxn ang="0">
                  <a:pos x="T4" y="T5"/>
                </a:cxn>
                <a:cxn ang="0">
                  <a:pos x="T6" y="T7"/>
                </a:cxn>
                <a:cxn ang="0">
                  <a:pos x="T8" y="T9"/>
                </a:cxn>
              </a:cxnLst>
              <a:rect l="0" t="0" r="r" b="b"/>
              <a:pathLst>
                <a:path w="142" h="246">
                  <a:moveTo>
                    <a:pt x="142" y="246"/>
                  </a:moveTo>
                  <a:lnTo>
                    <a:pt x="0" y="166"/>
                  </a:lnTo>
                  <a:lnTo>
                    <a:pt x="0" y="0"/>
                  </a:lnTo>
                  <a:lnTo>
                    <a:pt x="142" y="83"/>
                  </a:lnTo>
                  <a:lnTo>
                    <a:pt x="142" y="246"/>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22222"/>
                </a:solidFill>
                <a:effectLst/>
                <a:uLnTx/>
                <a:uFillTx/>
                <a:latin typeface="Inter"/>
                <a:ea typeface="+mn-ea"/>
                <a:cs typeface="+mn-cs"/>
              </a:endParaRPr>
            </a:p>
          </p:txBody>
        </p:sp>
        <p:sp>
          <p:nvSpPr>
            <p:cNvPr id="79" name="Freeform 1253">
              <a:extLst>
                <a:ext uri="{FF2B5EF4-FFF2-40B4-BE49-F238E27FC236}">
                  <a16:creationId xmlns:a16="http://schemas.microsoft.com/office/drawing/2014/main" id="{452A930D-05E0-4807-9B59-38F19DAF0E2F}"/>
                </a:ext>
              </a:extLst>
            </p:cNvPr>
            <p:cNvSpPr>
              <a:spLocks/>
            </p:cNvSpPr>
            <p:nvPr/>
          </p:nvSpPr>
          <p:spPr bwMode="auto">
            <a:xfrm>
              <a:off x="7756178" y="3728544"/>
              <a:ext cx="593410" cy="176364"/>
            </a:xfrm>
            <a:custGeom>
              <a:avLst/>
              <a:gdLst>
                <a:gd name="T0" fmla="*/ 142 w 286"/>
                <a:gd name="T1" fmla="*/ 78 h 85"/>
                <a:gd name="T2" fmla="*/ 8 w 286"/>
                <a:gd name="T3" fmla="*/ 0 h 85"/>
                <a:gd name="T4" fmla="*/ 0 w 286"/>
                <a:gd name="T5" fmla="*/ 2 h 85"/>
                <a:gd name="T6" fmla="*/ 142 w 286"/>
                <a:gd name="T7" fmla="*/ 85 h 85"/>
                <a:gd name="T8" fmla="*/ 286 w 286"/>
                <a:gd name="T9" fmla="*/ 2 h 85"/>
                <a:gd name="T10" fmla="*/ 279 w 286"/>
                <a:gd name="T11" fmla="*/ 0 h 85"/>
                <a:gd name="T12" fmla="*/ 142 w 286"/>
                <a:gd name="T13" fmla="*/ 78 h 85"/>
              </a:gdLst>
              <a:ahLst/>
              <a:cxnLst>
                <a:cxn ang="0">
                  <a:pos x="T0" y="T1"/>
                </a:cxn>
                <a:cxn ang="0">
                  <a:pos x="T2" y="T3"/>
                </a:cxn>
                <a:cxn ang="0">
                  <a:pos x="T4" y="T5"/>
                </a:cxn>
                <a:cxn ang="0">
                  <a:pos x="T6" y="T7"/>
                </a:cxn>
                <a:cxn ang="0">
                  <a:pos x="T8" y="T9"/>
                </a:cxn>
                <a:cxn ang="0">
                  <a:pos x="T10" y="T11"/>
                </a:cxn>
                <a:cxn ang="0">
                  <a:pos x="T12" y="T13"/>
                </a:cxn>
              </a:cxnLst>
              <a:rect l="0" t="0" r="r" b="b"/>
              <a:pathLst>
                <a:path w="286" h="85">
                  <a:moveTo>
                    <a:pt x="142" y="78"/>
                  </a:moveTo>
                  <a:lnTo>
                    <a:pt x="8" y="0"/>
                  </a:lnTo>
                  <a:lnTo>
                    <a:pt x="0" y="2"/>
                  </a:lnTo>
                  <a:lnTo>
                    <a:pt x="142" y="85"/>
                  </a:lnTo>
                  <a:lnTo>
                    <a:pt x="286" y="2"/>
                  </a:lnTo>
                  <a:lnTo>
                    <a:pt x="279" y="0"/>
                  </a:lnTo>
                  <a:lnTo>
                    <a:pt x="142"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22222"/>
                </a:solidFill>
                <a:effectLst/>
                <a:uLnTx/>
                <a:uFillTx/>
                <a:latin typeface="Inter"/>
                <a:ea typeface="+mn-ea"/>
                <a:cs typeface="+mn-cs"/>
              </a:endParaRPr>
            </a:p>
          </p:txBody>
        </p:sp>
        <p:sp>
          <p:nvSpPr>
            <p:cNvPr id="80" name="Freeform 1255">
              <a:extLst>
                <a:ext uri="{FF2B5EF4-FFF2-40B4-BE49-F238E27FC236}">
                  <a16:creationId xmlns:a16="http://schemas.microsoft.com/office/drawing/2014/main" id="{D783280F-79DD-4992-8722-789D559D474D}"/>
                </a:ext>
              </a:extLst>
            </p:cNvPr>
            <p:cNvSpPr>
              <a:spLocks/>
            </p:cNvSpPr>
            <p:nvPr/>
          </p:nvSpPr>
          <p:spPr bwMode="auto">
            <a:xfrm>
              <a:off x="8137952" y="3940180"/>
              <a:ext cx="298780" cy="508341"/>
            </a:xfrm>
            <a:custGeom>
              <a:avLst/>
              <a:gdLst>
                <a:gd name="T0" fmla="*/ 144 w 144"/>
                <a:gd name="T1" fmla="*/ 245 h 245"/>
                <a:gd name="T2" fmla="*/ 0 w 144"/>
                <a:gd name="T3" fmla="*/ 162 h 245"/>
                <a:gd name="T4" fmla="*/ 0 w 144"/>
                <a:gd name="T5" fmla="*/ 0 h 245"/>
                <a:gd name="T6" fmla="*/ 144 w 144"/>
                <a:gd name="T7" fmla="*/ 82 h 245"/>
                <a:gd name="T8" fmla="*/ 144 w 144"/>
                <a:gd name="T9" fmla="*/ 245 h 245"/>
              </a:gdLst>
              <a:ahLst/>
              <a:cxnLst>
                <a:cxn ang="0">
                  <a:pos x="T0" y="T1"/>
                </a:cxn>
                <a:cxn ang="0">
                  <a:pos x="T2" y="T3"/>
                </a:cxn>
                <a:cxn ang="0">
                  <a:pos x="T4" y="T5"/>
                </a:cxn>
                <a:cxn ang="0">
                  <a:pos x="T6" y="T7"/>
                </a:cxn>
                <a:cxn ang="0">
                  <a:pos x="T8" y="T9"/>
                </a:cxn>
              </a:cxnLst>
              <a:rect l="0" t="0" r="r" b="b"/>
              <a:pathLst>
                <a:path w="144" h="245">
                  <a:moveTo>
                    <a:pt x="144" y="245"/>
                  </a:moveTo>
                  <a:lnTo>
                    <a:pt x="0" y="162"/>
                  </a:lnTo>
                  <a:lnTo>
                    <a:pt x="0" y="0"/>
                  </a:lnTo>
                  <a:lnTo>
                    <a:pt x="144" y="82"/>
                  </a:lnTo>
                  <a:lnTo>
                    <a:pt x="144" y="245"/>
                  </a:ln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22222"/>
                </a:solidFill>
                <a:effectLst/>
                <a:uLnTx/>
                <a:uFillTx/>
                <a:latin typeface="Inter"/>
                <a:ea typeface="+mn-ea"/>
                <a:cs typeface="+mn-cs"/>
              </a:endParaRPr>
            </a:p>
          </p:txBody>
        </p:sp>
        <p:sp>
          <p:nvSpPr>
            <p:cNvPr id="81" name="Freeform 1256">
              <a:extLst>
                <a:ext uri="{FF2B5EF4-FFF2-40B4-BE49-F238E27FC236}">
                  <a16:creationId xmlns:a16="http://schemas.microsoft.com/office/drawing/2014/main" id="{AE9FC1D7-9FCD-4587-90A7-2ABB599269A8}"/>
                </a:ext>
              </a:extLst>
            </p:cNvPr>
            <p:cNvSpPr>
              <a:spLocks/>
            </p:cNvSpPr>
            <p:nvPr/>
          </p:nvSpPr>
          <p:spPr bwMode="auto">
            <a:xfrm>
              <a:off x="8436732" y="3938275"/>
              <a:ext cx="294630" cy="508341"/>
            </a:xfrm>
            <a:custGeom>
              <a:avLst/>
              <a:gdLst>
                <a:gd name="T0" fmla="*/ 142 w 142"/>
                <a:gd name="T1" fmla="*/ 162 h 245"/>
                <a:gd name="T2" fmla="*/ 0 w 142"/>
                <a:gd name="T3" fmla="*/ 245 h 245"/>
                <a:gd name="T4" fmla="*/ 0 w 142"/>
                <a:gd name="T5" fmla="*/ 82 h 245"/>
                <a:gd name="T6" fmla="*/ 142 w 142"/>
                <a:gd name="T7" fmla="*/ 0 h 245"/>
                <a:gd name="T8" fmla="*/ 142 w 142"/>
                <a:gd name="T9" fmla="*/ 162 h 245"/>
              </a:gdLst>
              <a:ahLst/>
              <a:cxnLst>
                <a:cxn ang="0">
                  <a:pos x="T0" y="T1"/>
                </a:cxn>
                <a:cxn ang="0">
                  <a:pos x="T2" y="T3"/>
                </a:cxn>
                <a:cxn ang="0">
                  <a:pos x="T4" y="T5"/>
                </a:cxn>
                <a:cxn ang="0">
                  <a:pos x="T6" y="T7"/>
                </a:cxn>
                <a:cxn ang="0">
                  <a:pos x="T8" y="T9"/>
                </a:cxn>
              </a:cxnLst>
              <a:rect l="0" t="0" r="r" b="b"/>
              <a:pathLst>
                <a:path w="142" h="245">
                  <a:moveTo>
                    <a:pt x="142" y="162"/>
                  </a:moveTo>
                  <a:lnTo>
                    <a:pt x="0" y="245"/>
                  </a:lnTo>
                  <a:lnTo>
                    <a:pt x="0" y="82"/>
                  </a:lnTo>
                  <a:lnTo>
                    <a:pt x="142" y="0"/>
                  </a:lnTo>
                  <a:lnTo>
                    <a:pt x="142" y="162"/>
                  </a:lnTo>
                  <a:close/>
                </a:path>
              </a:pathLst>
            </a:custGeom>
            <a:solidFill>
              <a:schemeClr val="accent1">
                <a:lumMod val="60000"/>
                <a:lumOff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22222"/>
                </a:solidFill>
                <a:effectLst/>
                <a:uLnTx/>
                <a:uFillTx/>
                <a:latin typeface="Inter"/>
                <a:ea typeface="+mn-ea"/>
                <a:cs typeface="+mn-cs"/>
              </a:endParaRPr>
            </a:p>
          </p:txBody>
        </p:sp>
        <p:sp>
          <p:nvSpPr>
            <p:cNvPr id="82" name="Freeform 1257">
              <a:extLst>
                <a:ext uri="{FF2B5EF4-FFF2-40B4-BE49-F238E27FC236}">
                  <a16:creationId xmlns:a16="http://schemas.microsoft.com/office/drawing/2014/main" id="{8059CF83-BC98-4EA2-A5C1-3BF477D05917}"/>
                </a:ext>
              </a:extLst>
            </p:cNvPr>
            <p:cNvSpPr>
              <a:spLocks/>
            </p:cNvSpPr>
            <p:nvPr/>
          </p:nvSpPr>
          <p:spPr bwMode="auto">
            <a:xfrm>
              <a:off x="8137952" y="3767967"/>
              <a:ext cx="593410" cy="342352"/>
            </a:xfrm>
            <a:custGeom>
              <a:avLst/>
              <a:gdLst>
                <a:gd name="T0" fmla="*/ 144 w 286"/>
                <a:gd name="T1" fmla="*/ 165 h 165"/>
                <a:gd name="T2" fmla="*/ 0 w 286"/>
                <a:gd name="T3" fmla="*/ 83 h 165"/>
                <a:gd name="T4" fmla="*/ 144 w 286"/>
                <a:gd name="T5" fmla="*/ 0 h 165"/>
                <a:gd name="T6" fmla="*/ 286 w 286"/>
                <a:gd name="T7" fmla="*/ 83 h 165"/>
                <a:gd name="T8" fmla="*/ 144 w 286"/>
                <a:gd name="T9" fmla="*/ 165 h 165"/>
              </a:gdLst>
              <a:ahLst/>
              <a:cxnLst>
                <a:cxn ang="0">
                  <a:pos x="T0" y="T1"/>
                </a:cxn>
                <a:cxn ang="0">
                  <a:pos x="T2" y="T3"/>
                </a:cxn>
                <a:cxn ang="0">
                  <a:pos x="T4" y="T5"/>
                </a:cxn>
                <a:cxn ang="0">
                  <a:pos x="T6" y="T7"/>
                </a:cxn>
                <a:cxn ang="0">
                  <a:pos x="T8" y="T9"/>
                </a:cxn>
              </a:cxnLst>
              <a:rect l="0" t="0" r="r" b="b"/>
              <a:pathLst>
                <a:path w="286" h="165">
                  <a:moveTo>
                    <a:pt x="144" y="165"/>
                  </a:moveTo>
                  <a:lnTo>
                    <a:pt x="0" y="83"/>
                  </a:lnTo>
                  <a:lnTo>
                    <a:pt x="144" y="0"/>
                  </a:lnTo>
                  <a:lnTo>
                    <a:pt x="286" y="83"/>
                  </a:lnTo>
                  <a:lnTo>
                    <a:pt x="144" y="165"/>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22222"/>
                </a:solidFill>
                <a:effectLst/>
                <a:uLnTx/>
                <a:uFillTx/>
                <a:latin typeface="Inter"/>
                <a:ea typeface="+mn-ea"/>
                <a:cs typeface="+mn-cs"/>
              </a:endParaRPr>
            </a:p>
          </p:txBody>
        </p:sp>
        <p:sp>
          <p:nvSpPr>
            <p:cNvPr id="83" name="Freeform 1260">
              <a:extLst>
                <a:ext uri="{FF2B5EF4-FFF2-40B4-BE49-F238E27FC236}">
                  <a16:creationId xmlns:a16="http://schemas.microsoft.com/office/drawing/2014/main" id="{72DFFAA5-B71D-43BB-8400-EAEFC6B00AA4}"/>
                </a:ext>
              </a:extLst>
            </p:cNvPr>
            <p:cNvSpPr>
              <a:spLocks/>
            </p:cNvSpPr>
            <p:nvPr/>
          </p:nvSpPr>
          <p:spPr bwMode="auto">
            <a:xfrm>
              <a:off x="6992630" y="3733730"/>
              <a:ext cx="294630" cy="510415"/>
            </a:xfrm>
            <a:custGeom>
              <a:avLst/>
              <a:gdLst>
                <a:gd name="T0" fmla="*/ 142 w 142"/>
                <a:gd name="T1" fmla="*/ 246 h 246"/>
                <a:gd name="T2" fmla="*/ 0 w 142"/>
                <a:gd name="T3" fmla="*/ 166 h 246"/>
                <a:gd name="T4" fmla="*/ 0 w 142"/>
                <a:gd name="T5" fmla="*/ 0 h 246"/>
                <a:gd name="T6" fmla="*/ 142 w 142"/>
                <a:gd name="T7" fmla="*/ 83 h 246"/>
                <a:gd name="T8" fmla="*/ 142 w 142"/>
                <a:gd name="T9" fmla="*/ 246 h 246"/>
              </a:gdLst>
              <a:ahLst/>
              <a:cxnLst>
                <a:cxn ang="0">
                  <a:pos x="T0" y="T1"/>
                </a:cxn>
                <a:cxn ang="0">
                  <a:pos x="T2" y="T3"/>
                </a:cxn>
                <a:cxn ang="0">
                  <a:pos x="T4" y="T5"/>
                </a:cxn>
                <a:cxn ang="0">
                  <a:pos x="T6" y="T7"/>
                </a:cxn>
                <a:cxn ang="0">
                  <a:pos x="T8" y="T9"/>
                </a:cxn>
              </a:cxnLst>
              <a:rect l="0" t="0" r="r" b="b"/>
              <a:pathLst>
                <a:path w="142" h="246">
                  <a:moveTo>
                    <a:pt x="142" y="246"/>
                  </a:moveTo>
                  <a:lnTo>
                    <a:pt x="0" y="166"/>
                  </a:lnTo>
                  <a:lnTo>
                    <a:pt x="0" y="0"/>
                  </a:lnTo>
                  <a:lnTo>
                    <a:pt x="142" y="83"/>
                  </a:lnTo>
                  <a:lnTo>
                    <a:pt x="142" y="246"/>
                  </a:ln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22222"/>
                </a:solidFill>
                <a:effectLst/>
                <a:uLnTx/>
                <a:uFillTx/>
                <a:latin typeface="Inter"/>
                <a:ea typeface="+mn-ea"/>
                <a:cs typeface="+mn-cs"/>
              </a:endParaRPr>
            </a:p>
          </p:txBody>
        </p:sp>
        <p:sp>
          <p:nvSpPr>
            <p:cNvPr id="84" name="Freeform 1261">
              <a:extLst>
                <a:ext uri="{FF2B5EF4-FFF2-40B4-BE49-F238E27FC236}">
                  <a16:creationId xmlns:a16="http://schemas.microsoft.com/office/drawing/2014/main" id="{786C2CD5-F44B-47C4-97A3-8D1CA0B8C393}"/>
                </a:ext>
              </a:extLst>
            </p:cNvPr>
            <p:cNvSpPr>
              <a:spLocks/>
            </p:cNvSpPr>
            <p:nvPr/>
          </p:nvSpPr>
          <p:spPr bwMode="auto">
            <a:xfrm>
              <a:off x="7287260" y="3732694"/>
              <a:ext cx="292556" cy="510415"/>
            </a:xfrm>
            <a:custGeom>
              <a:avLst/>
              <a:gdLst>
                <a:gd name="T0" fmla="*/ 141 w 141"/>
                <a:gd name="T1" fmla="*/ 166 h 246"/>
                <a:gd name="T2" fmla="*/ 0 w 141"/>
                <a:gd name="T3" fmla="*/ 246 h 246"/>
                <a:gd name="T4" fmla="*/ 0 w 141"/>
                <a:gd name="T5" fmla="*/ 83 h 246"/>
                <a:gd name="T6" fmla="*/ 141 w 141"/>
                <a:gd name="T7" fmla="*/ 0 h 246"/>
                <a:gd name="T8" fmla="*/ 141 w 141"/>
                <a:gd name="T9" fmla="*/ 166 h 246"/>
              </a:gdLst>
              <a:ahLst/>
              <a:cxnLst>
                <a:cxn ang="0">
                  <a:pos x="T0" y="T1"/>
                </a:cxn>
                <a:cxn ang="0">
                  <a:pos x="T2" y="T3"/>
                </a:cxn>
                <a:cxn ang="0">
                  <a:pos x="T4" y="T5"/>
                </a:cxn>
                <a:cxn ang="0">
                  <a:pos x="T6" y="T7"/>
                </a:cxn>
                <a:cxn ang="0">
                  <a:pos x="T8" y="T9"/>
                </a:cxn>
              </a:cxnLst>
              <a:rect l="0" t="0" r="r" b="b"/>
              <a:pathLst>
                <a:path w="141" h="246">
                  <a:moveTo>
                    <a:pt x="141" y="166"/>
                  </a:moveTo>
                  <a:lnTo>
                    <a:pt x="0" y="246"/>
                  </a:lnTo>
                  <a:lnTo>
                    <a:pt x="0" y="83"/>
                  </a:lnTo>
                  <a:lnTo>
                    <a:pt x="141" y="0"/>
                  </a:lnTo>
                  <a:lnTo>
                    <a:pt x="141" y="166"/>
                  </a:lnTo>
                  <a:close/>
                </a:path>
              </a:pathLst>
            </a:custGeom>
            <a:solidFill>
              <a:schemeClr val="accent1">
                <a:lumMod val="60000"/>
                <a:lumOff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22222"/>
                </a:solidFill>
                <a:effectLst/>
                <a:uLnTx/>
                <a:uFillTx/>
                <a:latin typeface="Inter"/>
                <a:ea typeface="+mn-ea"/>
                <a:cs typeface="+mn-cs"/>
              </a:endParaRPr>
            </a:p>
          </p:txBody>
        </p:sp>
        <p:sp>
          <p:nvSpPr>
            <p:cNvPr id="85" name="Freeform 1262">
              <a:extLst>
                <a:ext uri="{FF2B5EF4-FFF2-40B4-BE49-F238E27FC236}">
                  <a16:creationId xmlns:a16="http://schemas.microsoft.com/office/drawing/2014/main" id="{98259690-612B-45AD-81E4-76ECD1314D80}"/>
                </a:ext>
              </a:extLst>
            </p:cNvPr>
            <p:cNvSpPr>
              <a:spLocks/>
            </p:cNvSpPr>
            <p:nvPr/>
          </p:nvSpPr>
          <p:spPr bwMode="auto">
            <a:xfrm>
              <a:off x="6990249" y="3562556"/>
              <a:ext cx="587186" cy="342352"/>
            </a:xfrm>
            <a:custGeom>
              <a:avLst/>
              <a:gdLst>
                <a:gd name="T0" fmla="*/ 142 w 283"/>
                <a:gd name="T1" fmla="*/ 165 h 165"/>
                <a:gd name="T2" fmla="*/ 0 w 283"/>
                <a:gd name="T3" fmla="*/ 82 h 165"/>
                <a:gd name="T4" fmla="*/ 142 w 283"/>
                <a:gd name="T5" fmla="*/ 0 h 165"/>
                <a:gd name="T6" fmla="*/ 283 w 283"/>
                <a:gd name="T7" fmla="*/ 82 h 165"/>
                <a:gd name="T8" fmla="*/ 142 w 283"/>
                <a:gd name="T9" fmla="*/ 165 h 165"/>
              </a:gdLst>
              <a:ahLst/>
              <a:cxnLst>
                <a:cxn ang="0">
                  <a:pos x="T0" y="T1"/>
                </a:cxn>
                <a:cxn ang="0">
                  <a:pos x="T2" y="T3"/>
                </a:cxn>
                <a:cxn ang="0">
                  <a:pos x="T4" y="T5"/>
                </a:cxn>
                <a:cxn ang="0">
                  <a:pos x="T6" y="T7"/>
                </a:cxn>
                <a:cxn ang="0">
                  <a:pos x="T8" y="T9"/>
                </a:cxn>
              </a:cxnLst>
              <a:rect l="0" t="0" r="r" b="b"/>
              <a:pathLst>
                <a:path w="283" h="165">
                  <a:moveTo>
                    <a:pt x="142" y="165"/>
                  </a:moveTo>
                  <a:lnTo>
                    <a:pt x="0" y="82"/>
                  </a:lnTo>
                  <a:lnTo>
                    <a:pt x="142" y="0"/>
                  </a:lnTo>
                  <a:lnTo>
                    <a:pt x="283" y="82"/>
                  </a:lnTo>
                  <a:lnTo>
                    <a:pt x="142" y="165"/>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22222"/>
                </a:solidFill>
                <a:effectLst/>
                <a:uLnTx/>
                <a:uFillTx/>
                <a:latin typeface="Inter"/>
                <a:ea typeface="+mn-ea"/>
                <a:cs typeface="+mn-cs"/>
              </a:endParaRPr>
            </a:p>
          </p:txBody>
        </p:sp>
        <p:sp>
          <p:nvSpPr>
            <p:cNvPr id="86" name="Freeform 1265">
              <a:extLst>
                <a:ext uri="{FF2B5EF4-FFF2-40B4-BE49-F238E27FC236}">
                  <a16:creationId xmlns:a16="http://schemas.microsoft.com/office/drawing/2014/main" id="{2D544A5A-11C4-4282-BF08-4D412669AB7F}"/>
                </a:ext>
              </a:extLst>
            </p:cNvPr>
            <p:cNvSpPr>
              <a:spLocks/>
            </p:cNvSpPr>
            <p:nvPr/>
          </p:nvSpPr>
          <p:spPr bwMode="auto">
            <a:xfrm>
              <a:off x="7374404" y="3955741"/>
              <a:ext cx="294630" cy="508341"/>
            </a:xfrm>
            <a:custGeom>
              <a:avLst/>
              <a:gdLst>
                <a:gd name="T0" fmla="*/ 142 w 142"/>
                <a:gd name="T1" fmla="*/ 245 h 245"/>
                <a:gd name="T2" fmla="*/ 0 w 142"/>
                <a:gd name="T3" fmla="*/ 162 h 245"/>
                <a:gd name="T4" fmla="*/ 0 w 142"/>
                <a:gd name="T5" fmla="*/ 0 h 245"/>
                <a:gd name="T6" fmla="*/ 142 w 142"/>
                <a:gd name="T7" fmla="*/ 82 h 245"/>
                <a:gd name="T8" fmla="*/ 142 w 142"/>
                <a:gd name="T9" fmla="*/ 245 h 245"/>
              </a:gdLst>
              <a:ahLst/>
              <a:cxnLst>
                <a:cxn ang="0">
                  <a:pos x="T0" y="T1"/>
                </a:cxn>
                <a:cxn ang="0">
                  <a:pos x="T2" y="T3"/>
                </a:cxn>
                <a:cxn ang="0">
                  <a:pos x="T4" y="T5"/>
                </a:cxn>
                <a:cxn ang="0">
                  <a:pos x="T6" y="T7"/>
                </a:cxn>
                <a:cxn ang="0">
                  <a:pos x="T8" y="T9"/>
                </a:cxn>
              </a:cxnLst>
              <a:rect l="0" t="0" r="r" b="b"/>
              <a:pathLst>
                <a:path w="142" h="245">
                  <a:moveTo>
                    <a:pt x="142" y="245"/>
                  </a:moveTo>
                  <a:lnTo>
                    <a:pt x="0" y="162"/>
                  </a:lnTo>
                  <a:lnTo>
                    <a:pt x="0" y="0"/>
                  </a:lnTo>
                  <a:lnTo>
                    <a:pt x="142" y="82"/>
                  </a:lnTo>
                  <a:lnTo>
                    <a:pt x="142" y="245"/>
                  </a:ln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22222"/>
                </a:solidFill>
                <a:effectLst/>
                <a:uLnTx/>
                <a:uFillTx/>
                <a:latin typeface="Inter"/>
                <a:ea typeface="+mn-ea"/>
                <a:cs typeface="+mn-cs"/>
              </a:endParaRPr>
            </a:p>
          </p:txBody>
        </p:sp>
        <p:sp>
          <p:nvSpPr>
            <p:cNvPr id="87" name="Freeform 1266">
              <a:extLst>
                <a:ext uri="{FF2B5EF4-FFF2-40B4-BE49-F238E27FC236}">
                  <a16:creationId xmlns:a16="http://schemas.microsoft.com/office/drawing/2014/main" id="{6995112F-B535-49EE-82EA-5926FB8C0383}"/>
                </a:ext>
              </a:extLst>
            </p:cNvPr>
            <p:cNvSpPr>
              <a:spLocks/>
            </p:cNvSpPr>
            <p:nvPr/>
          </p:nvSpPr>
          <p:spPr bwMode="auto">
            <a:xfrm>
              <a:off x="7669034" y="3954705"/>
              <a:ext cx="294630" cy="508341"/>
            </a:xfrm>
            <a:custGeom>
              <a:avLst/>
              <a:gdLst>
                <a:gd name="T0" fmla="*/ 142 w 142"/>
                <a:gd name="T1" fmla="*/ 162 h 245"/>
                <a:gd name="T2" fmla="*/ 0 w 142"/>
                <a:gd name="T3" fmla="*/ 245 h 245"/>
                <a:gd name="T4" fmla="*/ 0 w 142"/>
                <a:gd name="T5" fmla="*/ 82 h 245"/>
                <a:gd name="T6" fmla="*/ 142 w 142"/>
                <a:gd name="T7" fmla="*/ 0 h 245"/>
                <a:gd name="T8" fmla="*/ 142 w 142"/>
                <a:gd name="T9" fmla="*/ 162 h 245"/>
              </a:gdLst>
              <a:ahLst/>
              <a:cxnLst>
                <a:cxn ang="0">
                  <a:pos x="T0" y="T1"/>
                </a:cxn>
                <a:cxn ang="0">
                  <a:pos x="T2" y="T3"/>
                </a:cxn>
                <a:cxn ang="0">
                  <a:pos x="T4" y="T5"/>
                </a:cxn>
                <a:cxn ang="0">
                  <a:pos x="T6" y="T7"/>
                </a:cxn>
                <a:cxn ang="0">
                  <a:pos x="T8" y="T9"/>
                </a:cxn>
              </a:cxnLst>
              <a:rect l="0" t="0" r="r" b="b"/>
              <a:pathLst>
                <a:path w="142" h="245">
                  <a:moveTo>
                    <a:pt x="142" y="162"/>
                  </a:moveTo>
                  <a:lnTo>
                    <a:pt x="0" y="245"/>
                  </a:lnTo>
                  <a:lnTo>
                    <a:pt x="0" y="82"/>
                  </a:lnTo>
                  <a:lnTo>
                    <a:pt x="142" y="0"/>
                  </a:lnTo>
                  <a:lnTo>
                    <a:pt x="142" y="162"/>
                  </a:lnTo>
                  <a:close/>
                </a:path>
              </a:pathLst>
            </a:custGeom>
            <a:solidFill>
              <a:schemeClr val="accent1">
                <a:lumMod val="60000"/>
                <a:lumOff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22222"/>
                </a:solidFill>
                <a:effectLst/>
                <a:uLnTx/>
                <a:uFillTx/>
                <a:latin typeface="Inter"/>
                <a:ea typeface="+mn-ea"/>
                <a:cs typeface="+mn-cs"/>
              </a:endParaRPr>
            </a:p>
          </p:txBody>
        </p:sp>
        <p:sp>
          <p:nvSpPr>
            <p:cNvPr id="88" name="Freeform 1267">
              <a:extLst>
                <a:ext uri="{FF2B5EF4-FFF2-40B4-BE49-F238E27FC236}">
                  <a16:creationId xmlns:a16="http://schemas.microsoft.com/office/drawing/2014/main" id="{F3414E2C-7B96-4DFF-9EE0-38AA845CDC46}"/>
                </a:ext>
              </a:extLst>
            </p:cNvPr>
            <p:cNvSpPr>
              <a:spLocks/>
            </p:cNvSpPr>
            <p:nvPr/>
          </p:nvSpPr>
          <p:spPr bwMode="auto">
            <a:xfrm>
              <a:off x="7374404" y="3782491"/>
              <a:ext cx="589260" cy="342352"/>
            </a:xfrm>
            <a:custGeom>
              <a:avLst/>
              <a:gdLst>
                <a:gd name="T0" fmla="*/ 142 w 284"/>
                <a:gd name="T1" fmla="*/ 165 h 165"/>
                <a:gd name="T2" fmla="*/ 0 w 284"/>
                <a:gd name="T3" fmla="*/ 83 h 165"/>
                <a:gd name="T4" fmla="*/ 142 w 284"/>
                <a:gd name="T5" fmla="*/ 0 h 165"/>
                <a:gd name="T6" fmla="*/ 284 w 284"/>
                <a:gd name="T7" fmla="*/ 83 h 165"/>
                <a:gd name="T8" fmla="*/ 142 w 284"/>
                <a:gd name="T9" fmla="*/ 165 h 165"/>
              </a:gdLst>
              <a:ahLst/>
              <a:cxnLst>
                <a:cxn ang="0">
                  <a:pos x="T0" y="T1"/>
                </a:cxn>
                <a:cxn ang="0">
                  <a:pos x="T2" y="T3"/>
                </a:cxn>
                <a:cxn ang="0">
                  <a:pos x="T4" y="T5"/>
                </a:cxn>
                <a:cxn ang="0">
                  <a:pos x="T6" y="T7"/>
                </a:cxn>
                <a:cxn ang="0">
                  <a:pos x="T8" y="T9"/>
                </a:cxn>
              </a:cxnLst>
              <a:rect l="0" t="0" r="r" b="b"/>
              <a:pathLst>
                <a:path w="284" h="165">
                  <a:moveTo>
                    <a:pt x="142" y="165"/>
                  </a:moveTo>
                  <a:lnTo>
                    <a:pt x="0" y="83"/>
                  </a:lnTo>
                  <a:lnTo>
                    <a:pt x="142" y="0"/>
                  </a:lnTo>
                  <a:lnTo>
                    <a:pt x="284" y="83"/>
                  </a:lnTo>
                  <a:lnTo>
                    <a:pt x="142" y="165"/>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22222"/>
                </a:solidFill>
                <a:effectLst/>
                <a:uLnTx/>
                <a:uFillTx/>
                <a:latin typeface="Inter"/>
                <a:ea typeface="+mn-ea"/>
                <a:cs typeface="+mn-cs"/>
              </a:endParaRPr>
            </a:p>
          </p:txBody>
        </p:sp>
        <p:sp>
          <p:nvSpPr>
            <p:cNvPr id="89" name="Freeform 1270">
              <a:extLst>
                <a:ext uri="{FF2B5EF4-FFF2-40B4-BE49-F238E27FC236}">
                  <a16:creationId xmlns:a16="http://schemas.microsoft.com/office/drawing/2014/main" id="{0216C993-2F08-486C-95D8-2967D2ABF320}"/>
                </a:ext>
              </a:extLst>
            </p:cNvPr>
            <p:cNvSpPr>
              <a:spLocks/>
            </p:cNvSpPr>
            <p:nvPr/>
          </p:nvSpPr>
          <p:spPr bwMode="auto">
            <a:xfrm>
              <a:off x="7756178" y="4168414"/>
              <a:ext cx="294630" cy="514565"/>
            </a:xfrm>
            <a:custGeom>
              <a:avLst/>
              <a:gdLst>
                <a:gd name="T0" fmla="*/ 142 w 142"/>
                <a:gd name="T1" fmla="*/ 248 h 248"/>
                <a:gd name="T2" fmla="*/ 0 w 142"/>
                <a:gd name="T3" fmla="*/ 166 h 248"/>
                <a:gd name="T4" fmla="*/ 0 w 142"/>
                <a:gd name="T5" fmla="*/ 0 h 248"/>
                <a:gd name="T6" fmla="*/ 142 w 142"/>
                <a:gd name="T7" fmla="*/ 83 h 248"/>
                <a:gd name="T8" fmla="*/ 142 w 142"/>
                <a:gd name="T9" fmla="*/ 248 h 248"/>
              </a:gdLst>
              <a:ahLst/>
              <a:cxnLst>
                <a:cxn ang="0">
                  <a:pos x="T0" y="T1"/>
                </a:cxn>
                <a:cxn ang="0">
                  <a:pos x="T2" y="T3"/>
                </a:cxn>
                <a:cxn ang="0">
                  <a:pos x="T4" y="T5"/>
                </a:cxn>
                <a:cxn ang="0">
                  <a:pos x="T6" y="T7"/>
                </a:cxn>
                <a:cxn ang="0">
                  <a:pos x="T8" y="T9"/>
                </a:cxn>
              </a:cxnLst>
              <a:rect l="0" t="0" r="r" b="b"/>
              <a:pathLst>
                <a:path w="142" h="248">
                  <a:moveTo>
                    <a:pt x="142" y="248"/>
                  </a:moveTo>
                  <a:lnTo>
                    <a:pt x="0" y="166"/>
                  </a:lnTo>
                  <a:lnTo>
                    <a:pt x="0" y="0"/>
                  </a:lnTo>
                  <a:lnTo>
                    <a:pt x="142" y="83"/>
                  </a:lnTo>
                  <a:lnTo>
                    <a:pt x="142" y="248"/>
                  </a:ln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22222"/>
                </a:solidFill>
                <a:effectLst/>
                <a:uLnTx/>
                <a:uFillTx/>
                <a:latin typeface="Inter"/>
                <a:ea typeface="+mn-ea"/>
                <a:cs typeface="+mn-cs"/>
              </a:endParaRPr>
            </a:p>
          </p:txBody>
        </p:sp>
        <p:sp>
          <p:nvSpPr>
            <p:cNvPr id="90" name="Freeform 1271">
              <a:extLst>
                <a:ext uri="{FF2B5EF4-FFF2-40B4-BE49-F238E27FC236}">
                  <a16:creationId xmlns:a16="http://schemas.microsoft.com/office/drawing/2014/main" id="{9545B5BB-DC34-4A66-B5A8-48F86879EC17}"/>
                </a:ext>
              </a:extLst>
            </p:cNvPr>
            <p:cNvSpPr>
              <a:spLocks/>
            </p:cNvSpPr>
            <p:nvPr/>
          </p:nvSpPr>
          <p:spPr bwMode="auto">
            <a:xfrm>
              <a:off x="8050808" y="4166509"/>
              <a:ext cx="298780" cy="514565"/>
            </a:xfrm>
            <a:custGeom>
              <a:avLst/>
              <a:gdLst>
                <a:gd name="T0" fmla="*/ 144 w 144"/>
                <a:gd name="T1" fmla="*/ 166 h 248"/>
                <a:gd name="T2" fmla="*/ 0 w 144"/>
                <a:gd name="T3" fmla="*/ 248 h 248"/>
                <a:gd name="T4" fmla="*/ 0 w 144"/>
                <a:gd name="T5" fmla="*/ 83 h 248"/>
                <a:gd name="T6" fmla="*/ 144 w 144"/>
                <a:gd name="T7" fmla="*/ 0 h 248"/>
                <a:gd name="T8" fmla="*/ 144 w 144"/>
                <a:gd name="T9" fmla="*/ 166 h 248"/>
              </a:gdLst>
              <a:ahLst/>
              <a:cxnLst>
                <a:cxn ang="0">
                  <a:pos x="T0" y="T1"/>
                </a:cxn>
                <a:cxn ang="0">
                  <a:pos x="T2" y="T3"/>
                </a:cxn>
                <a:cxn ang="0">
                  <a:pos x="T4" y="T5"/>
                </a:cxn>
                <a:cxn ang="0">
                  <a:pos x="T6" y="T7"/>
                </a:cxn>
                <a:cxn ang="0">
                  <a:pos x="T8" y="T9"/>
                </a:cxn>
              </a:cxnLst>
              <a:rect l="0" t="0" r="r" b="b"/>
              <a:pathLst>
                <a:path w="144" h="248">
                  <a:moveTo>
                    <a:pt x="144" y="166"/>
                  </a:moveTo>
                  <a:lnTo>
                    <a:pt x="0" y="248"/>
                  </a:lnTo>
                  <a:lnTo>
                    <a:pt x="0" y="83"/>
                  </a:lnTo>
                  <a:lnTo>
                    <a:pt x="144" y="0"/>
                  </a:lnTo>
                  <a:lnTo>
                    <a:pt x="144" y="166"/>
                  </a:lnTo>
                  <a:close/>
                </a:path>
              </a:pathLst>
            </a:custGeom>
            <a:solidFill>
              <a:schemeClr val="accent1">
                <a:lumMod val="60000"/>
                <a:lumOff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22222"/>
                </a:solidFill>
                <a:effectLst/>
                <a:uLnTx/>
                <a:uFillTx/>
                <a:latin typeface="Inter"/>
                <a:ea typeface="+mn-ea"/>
                <a:cs typeface="+mn-cs"/>
              </a:endParaRPr>
            </a:p>
          </p:txBody>
        </p:sp>
        <p:sp>
          <p:nvSpPr>
            <p:cNvPr id="91" name="Freeform 1272">
              <a:extLst>
                <a:ext uri="{FF2B5EF4-FFF2-40B4-BE49-F238E27FC236}">
                  <a16:creationId xmlns:a16="http://schemas.microsoft.com/office/drawing/2014/main" id="{D782D0DD-45D4-4650-B345-0777C11B0719}"/>
                </a:ext>
              </a:extLst>
            </p:cNvPr>
            <p:cNvSpPr>
              <a:spLocks/>
            </p:cNvSpPr>
            <p:nvPr/>
          </p:nvSpPr>
          <p:spPr bwMode="auto">
            <a:xfrm>
              <a:off x="7756178" y="4002426"/>
              <a:ext cx="593410" cy="338203"/>
            </a:xfrm>
            <a:custGeom>
              <a:avLst/>
              <a:gdLst>
                <a:gd name="T0" fmla="*/ 142 w 286"/>
                <a:gd name="T1" fmla="*/ 163 h 163"/>
                <a:gd name="T2" fmla="*/ 0 w 286"/>
                <a:gd name="T3" fmla="*/ 80 h 163"/>
                <a:gd name="T4" fmla="*/ 142 w 286"/>
                <a:gd name="T5" fmla="*/ 0 h 163"/>
                <a:gd name="T6" fmla="*/ 286 w 286"/>
                <a:gd name="T7" fmla="*/ 80 h 163"/>
                <a:gd name="T8" fmla="*/ 142 w 286"/>
                <a:gd name="T9" fmla="*/ 163 h 163"/>
              </a:gdLst>
              <a:ahLst/>
              <a:cxnLst>
                <a:cxn ang="0">
                  <a:pos x="T0" y="T1"/>
                </a:cxn>
                <a:cxn ang="0">
                  <a:pos x="T2" y="T3"/>
                </a:cxn>
                <a:cxn ang="0">
                  <a:pos x="T4" y="T5"/>
                </a:cxn>
                <a:cxn ang="0">
                  <a:pos x="T6" y="T7"/>
                </a:cxn>
                <a:cxn ang="0">
                  <a:pos x="T8" y="T9"/>
                </a:cxn>
              </a:cxnLst>
              <a:rect l="0" t="0" r="r" b="b"/>
              <a:pathLst>
                <a:path w="286" h="163">
                  <a:moveTo>
                    <a:pt x="142" y="163"/>
                  </a:moveTo>
                  <a:lnTo>
                    <a:pt x="0" y="80"/>
                  </a:lnTo>
                  <a:lnTo>
                    <a:pt x="142" y="0"/>
                  </a:lnTo>
                  <a:lnTo>
                    <a:pt x="286" y="80"/>
                  </a:lnTo>
                  <a:lnTo>
                    <a:pt x="142" y="163"/>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22222"/>
                </a:solidFill>
                <a:effectLst/>
                <a:uLnTx/>
                <a:uFillTx/>
                <a:latin typeface="Inter"/>
                <a:ea typeface="+mn-ea"/>
                <a:cs typeface="+mn-cs"/>
              </a:endParaRPr>
            </a:p>
          </p:txBody>
        </p:sp>
        <p:sp>
          <p:nvSpPr>
            <p:cNvPr id="92" name="Freeform 1274">
              <a:extLst>
                <a:ext uri="{FF2B5EF4-FFF2-40B4-BE49-F238E27FC236}">
                  <a16:creationId xmlns:a16="http://schemas.microsoft.com/office/drawing/2014/main" id="{072A263A-13F6-42D4-980C-6AA459D267A9}"/>
                </a:ext>
              </a:extLst>
            </p:cNvPr>
            <p:cNvSpPr>
              <a:spLocks/>
            </p:cNvSpPr>
            <p:nvPr/>
          </p:nvSpPr>
          <p:spPr bwMode="auto">
            <a:xfrm>
              <a:off x="7756178" y="2813532"/>
              <a:ext cx="593410" cy="514565"/>
            </a:xfrm>
            <a:custGeom>
              <a:avLst/>
              <a:gdLst>
                <a:gd name="T0" fmla="*/ 142 w 286"/>
                <a:gd name="T1" fmla="*/ 82 h 248"/>
                <a:gd name="T2" fmla="*/ 0 w 286"/>
                <a:gd name="T3" fmla="*/ 0 h 248"/>
                <a:gd name="T4" fmla="*/ 0 w 286"/>
                <a:gd name="T5" fmla="*/ 165 h 248"/>
                <a:gd name="T6" fmla="*/ 142 w 286"/>
                <a:gd name="T7" fmla="*/ 248 h 248"/>
                <a:gd name="T8" fmla="*/ 286 w 286"/>
                <a:gd name="T9" fmla="*/ 165 h 248"/>
                <a:gd name="T10" fmla="*/ 286 w 286"/>
                <a:gd name="T11" fmla="*/ 0 h 248"/>
                <a:gd name="T12" fmla="*/ 142 w 286"/>
                <a:gd name="T13" fmla="*/ 82 h 248"/>
              </a:gdLst>
              <a:ahLst/>
              <a:cxnLst>
                <a:cxn ang="0">
                  <a:pos x="T0" y="T1"/>
                </a:cxn>
                <a:cxn ang="0">
                  <a:pos x="T2" y="T3"/>
                </a:cxn>
                <a:cxn ang="0">
                  <a:pos x="T4" y="T5"/>
                </a:cxn>
                <a:cxn ang="0">
                  <a:pos x="T6" y="T7"/>
                </a:cxn>
                <a:cxn ang="0">
                  <a:pos x="T8" y="T9"/>
                </a:cxn>
                <a:cxn ang="0">
                  <a:pos x="T10" y="T11"/>
                </a:cxn>
                <a:cxn ang="0">
                  <a:pos x="T12" y="T13"/>
                </a:cxn>
              </a:cxnLst>
              <a:rect l="0" t="0" r="r" b="b"/>
              <a:pathLst>
                <a:path w="286" h="248">
                  <a:moveTo>
                    <a:pt x="142" y="82"/>
                  </a:moveTo>
                  <a:lnTo>
                    <a:pt x="0" y="0"/>
                  </a:lnTo>
                  <a:lnTo>
                    <a:pt x="0" y="165"/>
                  </a:lnTo>
                  <a:lnTo>
                    <a:pt x="142" y="248"/>
                  </a:lnTo>
                  <a:lnTo>
                    <a:pt x="286" y="165"/>
                  </a:lnTo>
                  <a:lnTo>
                    <a:pt x="286" y="0"/>
                  </a:lnTo>
                  <a:lnTo>
                    <a:pt x="142" y="82"/>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22222"/>
                </a:solidFill>
                <a:effectLst/>
                <a:uLnTx/>
                <a:uFillTx/>
                <a:latin typeface="Inter"/>
                <a:ea typeface="+mn-ea"/>
                <a:cs typeface="+mn-cs"/>
              </a:endParaRPr>
            </a:p>
          </p:txBody>
        </p:sp>
        <p:sp>
          <p:nvSpPr>
            <p:cNvPr id="93" name="Freeform 1275">
              <a:extLst>
                <a:ext uri="{FF2B5EF4-FFF2-40B4-BE49-F238E27FC236}">
                  <a16:creationId xmlns:a16="http://schemas.microsoft.com/office/drawing/2014/main" id="{0DB4376D-6EC6-49C5-86C0-74548A0B31DE}"/>
                </a:ext>
              </a:extLst>
            </p:cNvPr>
            <p:cNvSpPr>
              <a:spLocks/>
            </p:cNvSpPr>
            <p:nvPr/>
          </p:nvSpPr>
          <p:spPr bwMode="auto">
            <a:xfrm>
              <a:off x="7756178" y="2813532"/>
              <a:ext cx="294630" cy="514565"/>
            </a:xfrm>
            <a:custGeom>
              <a:avLst/>
              <a:gdLst>
                <a:gd name="T0" fmla="*/ 142 w 142"/>
                <a:gd name="T1" fmla="*/ 248 h 248"/>
                <a:gd name="T2" fmla="*/ 0 w 142"/>
                <a:gd name="T3" fmla="*/ 165 h 248"/>
                <a:gd name="T4" fmla="*/ 0 w 142"/>
                <a:gd name="T5" fmla="*/ 0 h 248"/>
                <a:gd name="T6" fmla="*/ 142 w 142"/>
                <a:gd name="T7" fmla="*/ 82 h 248"/>
                <a:gd name="T8" fmla="*/ 142 w 142"/>
                <a:gd name="T9" fmla="*/ 248 h 248"/>
              </a:gdLst>
              <a:ahLst/>
              <a:cxnLst>
                <a:cxn ang="0">
                  <a:pos x="T0" y="T1"/>
                </a:cxn>
                <a:cxn ang="0">
                  <a:pos x="T2" y="T3"/>
                </a:cxn>
                <a:cxn ang="0">
                  <a:pos x="T4" y="T5"/>
                </a:cxn>
                <a:cxn ang="0">
                  <a:pos x="T6" y="T7"/>
                </a:cxn>
                <a:cxn ang="0">
                  <a:pos x="T8" y="T9"/>
                </a:cxn>
              </a:cxnLst>
              <a:rect l="0" t="0" r="r" b="b"/>
              <a:pathLst>
                <a:path w="142" h="248">
                  <a:moveTo>
                    <a:pt x="142" y="248"/>
                  </a:moveTo>
                  <a:lnTo>
                    <a:pt x="0" y="165"/>
                  </a:lnTo>
                  <a:lnTo>
                    <a:pt x="0" y="0"/>
                  </a:lnTo>
                  <a:lnTo>
                    <a:pt x="142" y="82"/>
                  </a:lnTo>
                  <a:lnTo>
                    <a:pt x="142" y="248"/>
                  </a:ln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22222"/>
                </a:solidFill>
                <a:effectLst/>
                <a:uLnTx/>
                <a:uFillTx/>
                <a:latin typeface="Inter"/>
                <a:ea typeface="+mn-ea"/>
                <a:cs typeface="+mn-cs"/>
              </a:endParaRPr>
            </a:p>
          </p:txBody>
        </p:sp>
        <p:sp>
          <p:nvSpPr>
            <p:cNvPr id="94" name="Freeform 1276">
              <a:extLst>
                <a:ext uri="{FF2B5EF4-FFF2-40B4-BE49-F238E27FC236}">
                  <a16:creationId xmlns:a16="http://schemas.microsoft.com/office/drawing/2014/main" id="{6E88B7E4-60F8-47D0-B4F2-2D5D1E4AB65E}"/>
                </a:ext>
              </a:extLst>
            </p:cNvPr>
            <p:cNvSpPr>
              <a:spLocks/>
            </p:cNvSpPr>
            <p:nvPr/>
          </p:nvSpPr>
          <p:spPr bwMode="auto">
            <a:xfrm>
              <a:off x="8050808" y="2813532"/>
              <a:ext cx="298780" cy="514565"/>
            </a:xfrm>
            <a:custGeom>
              <a:avLst/>
              <a:gdLst>
                <a:gd name="T0" fmla="*/ 144 w 144"/>
                <a:gd name="T1" fmla="*/ 165 h 248"/>
                <a:gd name="T2" fmla="*/ 0 w 144"/>
                <a:gd name="T3" fmla="*/ 248 h 248"/>
                <a:gd name="T4" fmla="*/ 0 w 144"/>
                <a:gd name="T5" fmla="*/ 82 h 248"/>
                <a:gd name="T6" fmla="*/ 144 w 144"/>
                <a:gd name="T7" fmla="*/ 0 h 248"/>
                <a:gd name="T8" fmla="*/ 144 w 144"/>
                <a:gd name="T9" fmla="*/ 165 h 248"/>
              </a:gdLst>
              <a:ahLst/>
              <a:cxnLst>
                <a:cxn ang="0">
                  <a:pos x="T0" y="T1"/>
                </a:cxn>
                <a:cxn ang="0">
                  <a:pos x="T2" y="T3"/>
                </a:cxn>
                <a:cxn ang="0">
                  <a:pos x="T4" y="T5"/>
                </a:cxn>
                <a:cxn ang="0">
                  <a:pos x="T6" y="T7"/>
                </a:cxn>
                <a:cxn ang="0">
                  <a:pos x="T8" y="T9"/>
                </a:cxn>
              </a:cxnLst>
              <a:rect l="0" t="0" r="r" b="b"/>
              <a:pathLst>
                <a:path w="144" h="248">
                  <a:moveTo>
                    <a:pt x="144" y="165"/>
                  </a:moveTo>
                  <a:lnTo>
                    <a:pt x="0" y="248"/>
                  </a:lnTo>
                  <a:lnTo>
                    <a:pt x="0" y="82"/>
                  </a:lnTo>
                  <a:lnTo>
                    <a:pt x="144" y="0"/>
                  </a:lnTo>
                  <a:lnTo>
                    <a:pt x="144" y="165"/>
                  </a:lnTo>
                  <a:close/>
                </a:path>
              </a:pathLst>
            </a:custGeom>
            <a:solidFill>
              <a:schemeClr val="accent1">
                <a:lumMod val="60000"/>
                <a:lumOff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22222"/>
                </a:solidFill>
                <a:effectLst/>
                <a:uLnTx/>
                <a:uFillTx/>
                <a:latin typeface="Inter"/>
                <a:ea typeface="+mn-ea"/>
                <a:cs typeface="+mn-cs"/>
              </a:endParaRPr>
            </a:p>
          </p:txBody>
        </p:sp>
        <p:sp>
          <p:nvSpPr>
            <p:cNvPr id="95" name="Freeform 1277">
              <a:extLst>
                <a:ext uri="{FF2B5EF4-FFF2-40B4-BE49-F238E27FC236}">
                  <a16:creationId xmlns:a16="http://schemas.microsoft.com/office/drawing/2014/main" id="{6CCDC6FE-6C4B-4868-A3DD-BE94B59CCF23}"/>
                </a:ext>
              </a:extLst>
            </p:cNvPr>
            <p:cNvSpPr>
              <a:spLocks/>
            </p:cNvSpPr>
            <p:nvPr/>
          </p:nvSpPr>
          <p:spPr bwMode="auto">
            <a:xfrm>
              <a:off x="7756178" y="2649924"/>
              <a:ext cx="593410" cy="336127"/>
            </a:xfrm>
            <a:custGeom>
              <a:avLst/>
              <a:gdLst>
                <a:gd name="T0" fmla="*/ 142 w 286"/>
                <a:gd name="T1" fmla="*/ 162 h 162"/>
                <a:gd name="T2" fmla="*/ 0 w 286"/>
                <a:gd name="T3" fmla="*/ 80 h 162"/>
                <a:gd name="T4" fmla="*/ 142 w 286"/>
                <a:gd name="T5" fmla="*/ 0 h 162"/>
                <a:gd name="T6" fmla="*/ 286 w 286"/>
                <a:gd name="T7" fmla="*/ 80 h 162"/>
                <a:gd name="T8" fmla="*/ 142 w 286"/>
                <a:gd name="T9" fmla="*/ 162 h 162"/>
              </a:gdLst>
              <a:ahLst/>
              <a:cxnLst>
                <a:cxn ang="0">
                  <a:pos x="T0" y="T1"/>
                </a:cxn>
                <a:cxn ang="0">
                  <a:pos x="T2" y="T3"/>
                </a:cxn>
                <a:cxn ang="0">
                  <a:pos x="T4" y="T5"/>
                </a:cxn>
                <a:cxn ang="0">
                  <a:pos x="T6" y="T7"/>
                </a:cxn>
                <a:cxn ang="0">
                  <a:pos x="T8" y="T9"/>
                </a:cxn>
              </a:cxnLst>
              <a:rect l="0" t="0" r="r" b="b"/>
              <a:pathLst>
                <a:path w="286" h="162">
                  <a:moveTo>
                    <a:pt x="142" y="162"/>
                  </a:moveTo>
                  <a:lnTo>
                    <a:pt x="0" y="80"/>
                  </a:lnTo>
                  <a:lnTo>
                    <a:pt x="142" y="0"/>
                  </a:lnTo>
                  <a:lnTo>
                    <a:pt x="286" y="80"/>
                  </a:lnTo>
                  <a:lnTo>
                    <a:pt x="142" y="162"/>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22222"/>
                </a:solidFill>
                <a:effectLst/>
                <a:uLnTx/>
                <a:uFillTx/>
                <a:latin typeface="Inter"/>
                <a:ea typeface="+mn-ea"/>
                <a:cs typeface="+mn-cs"/>
              </a:endParaRPr>
            </a:p>
          </p:txBody>
        </p:sp>
        <p:sp>
          <p:nvSpPr>
            <p:cNvPr id="96" name="Freeform 1284">
              <a:extLst>
                <a:ext uri="{FF2B5EF4-FFF2-40B4-BE49-F238E27FC236}">
                  <a16:creationId xmlns:a16="http://schemas.microsoft.com/office/drawing/2014/main" id="{7569C1C1-FFDB-47A7-8410-57503E49FB3C}"/>
                </a:ext>
              </a:extLst>
            </p:cNvPr>
            <p:cNvSpPr>
              <a:spLocks/>
            </p:cNvSpPr>
            <p:nvPr/>
          </p:nvSpPr>
          <p:spPr bwMode="auto">
            <a:xfrm>
              <a:off x="8137952" y="3033467"/>
              <a:ext cx="593410" cy="508341"/>
            </a:xfrm>
            <a:custGeom>
              <a:avLst/>
              <a:gdLst>
                <a:gd name="T0" fmla="*/ 144 w 286"/>
                <a:gd name="T1" fmla="*/ 83 h 245"/>
                <a:gd name="T2" fmla="*/ 0 w 286"/>
                <a:gd name="T3" fmla="*/ 0 h 245"/>
                <a:gd name="T4" fmla="*/ 0 w 286"/>
                <a:gd name="T5" fmla="*/ 165 h 245"/>
                <a:gd name="T6" fmla="*/ 144 w 286"/>
                <a:gd name="T7" fmla="*/ 245 h 245"/>
                <a:gd name="T8" fmla="*/ 286 w 286"/>
                <a:gd name="T9" fmla="*/ 165 h 245"/>
                <a:gd name="T10" fmla="*/ 286 w 286"/>
                <a:gd name="T11" fmla="*/ 0 h 245"/>
                <a:gd name="T12" fmla="*/ 144 w 286"/>
                <a:gd name="T13" fmla="*/ 83 h 245"/>
              </a:gdLst>
              <a:ahLst/>
              <a:cxnLst>
                <a:cxn ang="0">
                  <a:pos x="T0" y="T1"/>
                </a:cxn>
                <a:cxn ang="0">
                  <a:pos x="T2" y="T3"/>
                </a:cxn>
                <a:cxn ang="0">
                  <a:pos x="T4" y="T5"/>
                </a:cxn>
                <a:cxn ang="0">
                  <a:pos x="T6" y="T7"/>
                </a:cxn>
                <a:cxn ang="0">
                  <a:pos x="T8" y="T9"/>
                </a:cxn>
                <a:cxn ang="0">
                  <a:pos x="T10" y="T11"/>
                </a:cxn>
                <a:cxn ang="0">
                  <a:pos x="T12" y="T13"/>
                </a:cxn>
              </a:cxnLst>
              <a:rect l="0" t="0" r="r" b="b"/>
              <a:pathLst>
                <a:path w="286" h="245">
                  <a:moveTo>
                    <a:pt x="144" y="83"/>
                  </a:moveTo>
                  <a:lnTo>
                    <a:pt x="0" y="0"/>
                  </a:lnTo>
                  <a:lnTo>
                    <a:pt x="0" y="165"/>
                  </a:lnTo>
                  <a:lnTo>
                    <a:pt x="144" y="245"/>
                  </a:lnTo>
                  <a:lnTo>
                    <a:pt x="286" y="165"/>
                  </a:lnTo>
                  <a:lnTo>
                    <a:pt x="286" y="0"/>
                  </a:lnTo>
                  <a:lnTo>
                    <a:pt x="144" y="83"/>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22222"/>
                </a:solidFill>
                <a:effectLst/>
                <a:uLnTx/>
                <a:uFillTx/>
                <a:latin typeface="Inter"/>
                <a:ea typeface="+mn-ea"/>
                <a:cs typeface="+mn-cs"/>
              </a:endParaRPr>
            </a:p>
          </p:txBody>
        </p:sp>
        <p:sp>
          <p:nvSpPr>
            <p:cNvPr id="97" name="Freeform 1285">
              <a:extLst>
                <a:ext uri="{FF2B5EF4-FFF2-40B4-BE49-F238E27FC236}">
                  <a16:creationId xmlns:a16="http://schemas.microsoft.com/office/drawing/2014/main" id="{1F00C097-8FFE-40F3-B2C1-F1C1A792B794}"/>
                </a:ext>
              </a:extLst>
            </p:cNvPr>
            <p:cNvSpPr>
              <a:spLocks/>
            </p:cNvSpPr>
            <p:nvPr/>
          </p:nvSpPr>
          <p:spPr bwMode="auto">
            <a:xfrm>
              <a:off x="8137952" y="3033467"/>
              <a:ext cx="593410" cy="508341"/>
            </a:xfrm>
            <a:custGeom>
              <a:avLst/>
              <a:gdLst>
                <a:gd name="T0" fmla="*/ 144 w 286"/>
                <a:gd name="T1" fmla="*/ 83 h 245"/>
                <a:gd name="T2" fmla="*/ 0 w 286"/>
                <a:gd name="T3" fmla="*/ 0 h 245"/>
                <a:gd name="T4" fmla="*/ 0 w 286"/>
                <a:gd name="T5" fmla="*/ 165 h 245"/>
                <a:gd name="T6" fmla="*/ 144 w 286"/>
                <a:gd name="T7" fmla="*/ 245 h 245"/>
                <a:gd name="T8" fmla="*/ 286 w 286"/>
                <a:gd name="T9" fmla="*/ 165 h 245"/>
                <a:gd name="T10" fmla="*/ 286 w 286"/>
                <a:gd name="T11" fmla="*/ 0 h 245"/>
                <a:gd name="T12" fmla="*/ 144 w 286"/>
                <a:gd name="T13" fmla="*/ 83 h 245"/>
              </a:gdLst>
              <a:ahLst/>
              <a:cxnLst>
                <a:cxn ang="0">
                  <a:pos x="T0" y="T1"/>
                </a:cxn>
                <a:cxn ang="0">
                  <a:pos x="T2" y="T3"/>
                </a:cxn>
                <a:cxn ang="0">
                  <a:pos x="T4" y="T5"/>
                </a:cxn>
                <a:cxn ang="0">
                  <a:pos x="T6" y="T7"/>
                </a:cxn>
                <a:cxn ang="0">
                  <a:pos x="T8" y="T9"/>
                </a:cxn>
                <a:cxn ang="0">
                  <a:pos x="T10" y="T11"/>
                </a:cxn>
                <a:cxn ang="0">
                  <a:pos x="T12" y="T13"/>
                </a:cxn>
              </a:cxnLst>
              <a:rect l="0" t="0" r="r" b="b"/>
              <a:pathLst>
                <a:path w="286" h="245">
                  <a:moveTo>
                    <a:pt x="144" y="83"/>
                  </a:moveTo>
                  <a:lnTo>
                    <a:pt x="0" y="0"/>
                  </a:lnTo>
                  <a:lnTo>
                    <a:pt x="0" y="165"/>
                  </a:lnTo>
                  <a:lnTo>
                    <a:pt x="144" y="245"/>
                  </a:lnTo>
                  <a:lnTo>
                    <a:pt x="286" y="165"/>
                  </a:lnTo>
                  <a:lnTo>
                    <a:pt x="286" y="0"/>
                  </a:lnTo>
                  <a:lnTo>
                    <a:pt x="144" y="8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22222"/>
                </a:solidFill>
                <a:effectLst/>
                <a:uLnTx/>
                <a:uFillTx/>
                <a:latin typeface="Inter"/>
                <a:ea typeface="+mn-ea"/>
                <a:cs typeface="+mn-cs"/>
              </a:endParaRPr>
            </a:p>
          </p:txBody>
        </p:sp>
        <p:sp>
          <p:nvSpPr>
            <p:cNvPr id="98" name="Freeform 1286">
              <a:extLst>
                <a:ext uri="{FF2B5EF4-FFF2-40B4-BE49-F238E27FC236}">
                  <a16:creationId xmlns:a16="http://schemas.microsoft.com/office/drawing/2014/main" id="{6CAF800D-1679-4A80-AF1E-23DC1DEFA5BD}"/>
                </a:ext>
              </a:extLst>
            </p:cNvPr>
            <p:cNvSpPr>
              <a:spLocks/>
            </p:cNvSpPr>
            <p:nvPr/>
          </p:nvSpPr>
          <p:spPr bwMode="auto">
            <a:xfrm>
              <a:off x="8137952" y="3033467"/>
              <a:ext cx="298780" cy="508341"/>
            </a:xfrm>
            <a:custGeom>
              <a:avLst/>
              <a:gdLst>
                <a:gd name="T0" fmla="*/ 144 w 144"/>
                <a:gd name="T1" fmla="*/ 245 h 245"/>
                <a:gd name="T2" fmla="*/ 0 w 144"/>
                <a:gd name="T3" fmla="*/ 165 h 245"/>
                <a:gd name="T4" fmla="*/ 0 w 144"/>
                <a:gd name="T5" fmla="*/ 0 h 245"/>
                <a:gd name="T6" fmla="*/ 144 w 144"/>
                <a:gd name="T7" fmla="*/ 83 h 245"/>
                <a:gd name="T8" fmla="*/ 144 w 144"/>
                <a:gd name="T9" fmla="*/ 245 h 245"/>
              </a:gdLst>
              <a:ahLst/>
              <a:cxnLst>
                <a:cxn ang="0">
                  <a:pos x="T0" y="T1"/>
                </a:cxn>
                <a:cxn ang="0">
                  <a:pos x="T2" y="T3"/>
                </a:cxn>
                <a:cxn ang="0">
                  <a:pos x="T4" y="T5"/>
                </a:cxn>
                <a:cxn ang="0">
                  <a:pos x="T6" y="T7"/>
                </a:cxn>
                <a:cxn ang="0">
                  <a:pos x="T8" y="T9"/>
                </a:cxn>
              </a:cxnLst>
              <a:rect l="0" t="0" r="r" b="b"/>
              <a:pathLst>
                <a:path w="144" h="245">
                  <a:moveTo>
                    <a:pt x="144" y="245"/>
                  </a:moveTo>
                  <a:lnTo>
                    <a:pt x="0" y="165"/>
                  </a:lnTo>
                  <a:lnTo>
                    <a:pt x="0" y="0"/>
                  </a:lnTo>
                  <a:lnTo>
                    <a:pt x="144" y="83"/>
                  </a:lnTo>
                  <a:lnTo>
                    <a:pt x="144" y="245"/>
                  </a:ln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22222"/>
                </a:solidFill>
                <a:effectLst/>
                <a:uLnTx/>
                <a:uFillTx/>
                <a:latin typeface="Inter"/>
                <a:ea typeface="+mn-ea"/>
                <a:cs typeface="+mn-cs"/>
              </a:endParaRPr>
            </a:p>
          </p:txBody>
        </p:sp>
        <p:sp>
          <p:nvSpPr>
            <p:cNvPr id="99" name="Freeform 1287">
              <a:extLst>
                <a:ext uri="{FF2B5EF4-FFF2-40B4-BE49-F238E27FC236}">
                  <a16:creationId xmlns:a16="http://schemas.microsoft.com/office/drawing/2014/main" id="{79B65648-375D-4ED7-BBCD-EFD88C2B7312}"/>
                </a:ext>
              </a:extLst>
            </p:cNvPr>
            <p:cNvSpPr>
              <a:spLocks/>
            </p:cNvSpPr>
            <p:nvPr/>
          </p:nvSpPr>
          <p:spPr bwMode="auto">
            <a:xfrm>
              <a:off x="8436732" y="3033467"/>
              <a:ext cx="294630" cy="508341"/>
            </a:xfrm>
            <a:custGeom>
              <a:avLst/>
              <a:gdLst>
                <a:gd name="T0" fmla="*/ 142 w 142"/>
                <a:gd name="T1" fmla="*/ 165 h 245"/>
                <a:gd name="T2" fmla="*/ 0 w 142"/>
                <a:gd name="T3" fmla="*/ 245 h 245"/>
                <a:gd name="T4" fmla="*/ 0 w 142"/>
                <a:gd name="T5" fmla="*/ 83 h 245"/>
                <a:gd name="T6" fmla="*/ 142 w 142"/>
                <a:gd name="T7" fmla="*/ 0 h 245"/>
                <a:gd name="T8" fmla="*/ 142 w 142"/>
                <a:gd name="T9" fmla="*/ 165 h 245"/>
              </a:gdLst>
              <a:ahLst/>
              <a:cxnLst>
                <a:cxn ang="0">
                  <a:pos x="T0" y="T1"/>
                </a:cxn>
                <a:cxn ang="0">
                  <a:pos x="T2" y="T3"/>
                </a:cxn>
                <a:cxn ang="0">
                  <a:pos x="T4" y="T5"/>
                </a:cxn>
                <a:cxn ang="0">
                  <a:pos x="T6" y="T7"/>
                </a:cxn>
                <a:cxn ang="0">
                  <a:pos x="T8" y="T9"/>
                </a:cxn>
              </a:cxnLst>
              <a:rect l="0" t="0" r="r" b="b"/>
              <a:pathLst>
                <a:path w="142" h="245">
                  <a:moveTo>
                    <a:pt x="142" y="165"/>
                  </a:moveTo>
                  <a:lnTo>
                    <a:pt x="0" y="245"/>
                  </a:lnTo>
                  <a:lnTo>
                    <a:pt x="0" y="83"/>
                  </a:lnTo>
                  <a:lnTo>
                    <a:pt x="142" y="0"/>
                  </a:lnTo>
                  <a:lnTo>
                    <a:pt x="142" y="165"/>
                  </a:lnTo>
                  <a:close/>
                </a:path>
              </a:pathLst>
            </a:custGeom>
            <a:solidFill>
              <a:schemeClr val="accent1">
                <a:lumMod val="60000"/>
                <a:lumOff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22222"/>
                </a:solidFill>
                <a:effectLst/>
                <a:uLnTx/>
                <a:uFillTx/>
                <a:latin typeface="Inter"/>
                <a:ea typeface="+mn-ea"/>
                <a:cs typeface="+mn-cs"/>
              </a:endParaRPr>
            </a:p>
          </p:txBody>
        </p:sp>
        <p:sp>
          <p:nvSpPr>
            <p:cNvPr id="100" name="Freeform 1288">
              <a:extLst>
                <a:ext uri="{FF2B5EF4-FFF2-40B4-BE49-F238E27FC236}">
                  <a16:creationId xmlns:a16="http://schemas.microsoft.com/office/drawing/2014/main" id="{949079B3-B0B3-4B18-B65F-1284826B7599}"/>
                </a:ext>
              </a:extLst>
            </p:cNvPr>
            <p:cNvSpPr>
              <a:spLocks/>
            </p:cNvSpPr>
            <p:nvPr/>
          </p:nvSpPr>
          <p:spPr bwMode="auto">
            <a:xfrm>
              <a:off x="8436732" y="3033467"/>
              <a:ext cx="294630" cy="508341"/>
            </a:xfrm>
            <a:custGeom>
              <a:avLst/>
              <a:gdLst>
                <a:gd name="T0" fmla="*/ 142 w 142"/>
                <a:gd name="T1" fmla="*/ 165 h 245"/>
                <a:gd name="T2" fmla="*/ 0 w 142"/>
                <a:gd name="T3" fmla="*/ 245 h 245"/>
                <a:gd name="T4" fmla="*/ 0 w 142"/>
                <a:gd name="T5" fmla="*/ 83 h 245"/>
                <a:gd name="T6" fmla="*/ 142 w 142"/>
                <a:gd name="T7" fmla="*/ 0 h 245"/>
                <a:gd name="T8" fmla="*/ 142 w 142"/>
                <a:gd name="T9" fmla="*/ 165 h 245"/>
              </a:gdLst>
              <a:ahLst/>
              <a:cxnLst>
                <a:cxn ang="0">
                  <a:pos x="T0" y="T1"/>
                </a:cxn>
                <a:cxn ang="0">
                  <a:pos x="T2" y="T3"/>
                </a:cxn>
                <a:cxn ang="0">
                  <a:pos x="T4" y="T5"/>
                </a:cxn>
                <a:cxn ang="0">
                  <a:pos x="T6" y="T7"/>
                </a:cxn>
                <a:cxn ang="0">
                  <a:pos x="T8" y="T9"/>
                </a:cxn>
              </a:cxnLst>
              <a:rect l="0" t="0" r="r" b="b"/>
              <a:pathLst>
                <a:path w="142" h="245">
                  <a:moveTo>
                    <a:pt x="142" y="165"/>
                  </a:moveTo>
                  <a:lnTo>
                    <a:pt x="0" y="245"/>
                  </a:lnTo>
                  <a:lnTo>
                    <a:pt x="0" y="83"/>
                  </a:lnTo>
                  <a:lnTo>
                    <a:pt x="142" y="0"/>
                  </a:lnTo>
                  <a:lnTo>
                    <a:pt x="142" y="16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22222"/>
                </a:solidFill>
                <a:effectLst/>
                <a:uLnTx/>
                <a:uFillTx/>
                <a:latin typeface="Inter"/>
                <a:ea typeface="+mn-ea"/>
                <a:cs typeface="+mn-cs"/>
              </a:endParaRPr>
            </a:p>
          </p:txBody>
        </p:sp>
        <p:sp>
          <p:nvSpPr>
            <p:cNvPr id="101" name="Freeform 1289">
              <a:extLst>
                <a:ext uri="{FF2B5EF4-FFF2-40B4-BE49-F238E27FC236}">
                  <a16:creationId xmlns:a16="http://schemas.microsoft.com/office/drawing/2014/main" id="{90C2D066-5F6E-491D-9281-64F75B1BF6BE}"/>
                </a:ext>
              </a:extLst>
            </p:cNvPr>
            <p:cNvSpPr>
              <a:spLocks/>
            </p:cNvSpPr>
            <p:nvPr/>
          </p:nvSpPr>
          <p:spPr bwMode="auto">
            <a:xfrm>
              <a:off x="8137952" y="2863634"/>
              <a:ext cx="593410" cy="344427"/>
            </a:xfrm>
            <a:custGeom>
              <a:avLst/>
              <a:gdLst>
                <a:gd name="T0" fmla="*/ 144 w 286"/>
                <a:gd name="T1" fmla="*/ 166 h 166"/>
                <a:gd name="T2" fmla="*/ 0 w 286"/>
                <a:gd name="T3" fmla="*/ 83 h 166"/>
                <a:gd name="T4" fmla="*/ 144 w 286"/>
                <a:gd name="T5" fmla="*/ 0 h 166"/>
                <a:gd name="T6" fmla="*/ 286 w 286"/>
                <a:gd name="T7" fmla="*/ 83 h 166"/>
                <a:gd name="T8" fmla="*/ 144 w 286"/>
                <a:gd name="T9" fmla="*/ 166 h 166"/>
              </a:gdLst>
              <a:ahLst/>
              <a:cxnLst>
                <a:cxn ang="0">
                  <a:pos x="T0" y="T1"/>
                </a:cxn>
                <a:cxn ang="0">
                  <a:pos x="T2" y="T3"/>
                </a:cxn>
                <a:cxn ang="0">
                  <a:pos x="T4" y="T5"/>
                </a:cxn>
                <a:cxn ang="0">
                  <a:pos x="T6" y="T7"/>
                </a:cxn>
                <a:cxn ang="0">
                  <a:pos x="T8" y="T9"/>
                </a:cxn>
              </a:cxnLst>
              <a:rect l="0" t="0" r="r" b="b"/>
              <a:pathLst>
                <a:path w="286" h="166">
                  <a:moveTo>
                    <a:pt x="144" y="166"/>
                  </a:moveTo>
                  <a:lnTo>
                    <a:pt x="0" y="83"/>
                  </a:lnTo>
                  <a:lnTo>
                    <a:pt x="144" y="0"/>
                  </a:lnTo>
                  <a:lnTo>
                    <a:pt x="286" y="83"/>
                  </a:lnTo>
                  <a:lnTo>
                    <a:pt x="144" y="166"/>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22222"/>
                </a:solidFill>
                <a:effectLst/>
                <a:uLnTx/>
                <a:uFillTx/>
                <a:latin typeface="Inter"/>
                <a:ea typeface="+mn-ea"/>
                <a:cs typeface="+mn-cs"/>
              </a:endParaRPr>
            </a:p>
          </p:txBody>
        </p:sp>
        <p:sp>
          <p:nvSpPr>
            <p:cNvPr id="102" name="Freeform 1292">
              <a:extLst>
                <a:ext uri="{FF2B5EF4-FFF2-40B4-BE49-F238E27FC236}">
                  <a16:creationId xmlns:a16="http://schemas.microsoft.com/office/drawing/2014/main" id="{63FBA33A-1CEC-4522-A200-F4781D1BC686}"/>
                </a:ext>
              </a:extLst>
            </p:cNvPr>
            <p:cNvSpPr>
              <a:spLocks/>
            </p:cNvSpPr>
            <p:nvPr/>
          </p:nvSpPr>
          <p:spPr bwMode="auto">
            <a:xfrm>
              <a:off x="8525950" y="3253402"/>
              <a:ext cx="587186" cy="510415"/>
            </a:xfrm>
            <a:custGeom>
              <a:avLst/>
              <a:gdLst>
                <a:gd name="T0" fmla="*/ 141 w 283"/>
                <a:gd name="T1" fmla="*/ 80 h 246"/>
                <a:gd name="T2" fmla="*/ 0 w 283"/>
                <a:gd name="T3" fmla="*/ 0 h 246"/>
                <a:gd name="T4" fmla="*/ 0 w 283"/>
                <a:gd name="T5" fmla="*/ 163 h 246"/>
                <a:gd name="T6" fmla="*/ 141 w 283"/>
                <a:gd name="T7" fmla="*/ 246 h 246"/>
                <a:gd name="T8" fmla="*/ 283 w 283"/>
                <a:gd name="T9" fmla="*/ 163 h 246"/>
                <a:gd name="T10" fmla="*/ 283 w 283"/>
                <a:gd name="T11" fmla="*/ 0 h 246"/>
                <a:gd name="T12" fmla="*/ 141 w 283"/>
                <a:gd name="T13" fmla="*/ 80 h 246"/>
              </a:gdLst>
              <a:ahLst/>
              <a:cxnLst>
                <a:cxn ang="0">
                  <a:pos x="T0" y="T1"/>
                </a:cxn>
                <a:cxn ang="0">
                  <a:pos x="T2" y="T3"/>
                </a:cxn>
                <a:cxn ang="0">
                  <a:pos x="T4" y="T5"/>
                </a:cxn>
                <a:cxn ang="0">
                  <a:pos x="T6" y="T7"/>
                </a:cxn>
                <a:cxn ang="0">
                  <a:pos x="T8" y="T9"/>
                </a:cxn>
                <a:cxn ang="0">
                  <a:pos x="T10" y="T11"/>
                </a:cxn>
                <a:cxn ang="0">
                  <a:pos x="T12" y="T13"/>
                </a:cxn>
              </a:cxnLst>
              <a:rect l="0" t="0" r="r" b="b"/>
              <a:pathLst>
                <a:path w="283" h="246">
                  <a:moveTo>
                    <a:pt x="141" y="80"/>
                  </a:moveTo>
                  <a:lnTo>
                    <a:pt x="0" y="0"/>
                  </a:lnTo>
                  <a:lnTo>
                    <a:pt x="0" y="163"/>
                  </a:lnTo>
                  <a:lnTo>
                    <a:pt x="141" y="246"/>
                  </a:lnTo>
                  <a:lnTo>
                    <a:pt x="283" y="163"/>
                  </a:lnTo>
                  <a:lnTo>
                    <a:pt x="283" y="0"/>
                  </a:lnTo>
                  <a:lnTo>
                    <a:pt x="141" y="8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22222"/>
                </a:solidFill>
                <a:effectLst/>
                <a:uLnTx/>
                <a:uFillTx/>
                <a:latin typeface="Inter"/>
                <a:ea typeface="+mn-ea"/>
                <a:cs typeface="+mn-cs"/>
              </a:endParaRPr>
            </a:p>
          </p:txBody>
        </p:sp>
        <p:sp>
          <p:nvSpPr>
            <p:cNvPr id="103" name="Freeform 1293">
              <a:extLst>
                <a:ext uri="{FF2B5EF4-FFF2-40B4-BE49-F238E27FC236}">
                  <a16:creationId xmlns:a16="http://schemas.microsoft.com/office/drawing/2014/main" id="{CCAAB705-F7DB-47D4-95A4-7533AEEFDB11}"/>
                </a:ext>
              </a:extLst>
            </p:cNvPr>
            <p:cNvSpPr>
              <a:spLocks/>
            </p:cNvSpPr>
            <p:nvPr/>
          </p:nvSpPr>
          <p:spPr bwMode="auto">
            <a:xfrm>
              <a:off x="8525950" y="3253402"/>
              <a:ext cx="292556" cy="510415"/>
            </a:xfrm>
            <a:custGeom>
              <a:avLst/>
              <a:gdLst>
                <a:gd name="T0" fmla="*/ 141 w 141"/>
                <a:gd name="T1" fmla="*/ 246 h 246"/>
                <a:gd name="T2" fmla="*/ 0 w 141"/>
                <a:gd name="T3" fmla="*/ 163 h 246"/>
                <a:gd name="T4" fmla="*/ 0 w 141"/>
                <a:gd name="T5" fmla="*/ 0 h 246"/>
                <a:gd name="T6" fmla="*/ 141 w 141"/>
                <a:gd name="T7" fmla="*/ 80 h 246"/>
                <a:gd name="T8" fmla="*/ 141 w 141"/>
                <a:gd name="T9" fmla="*/ 246 h 246"/>
              </a:gdLst>
              <a:ahLst/>
              <a:cxnLst>
                <a:cxn ang="0">
                  <a:pos x="T0" y="T1"/>
                </a:cxn>
                <a:cxn ang="0">
                  <a:pos x="T2" y="T3"/>
                </a:cxn>
                <a:cxn ang="0">
                  <a:pos x="T4" y="T5"/>
                </a:cxn>
                <a:cxn ang="0">
                  <a:pos x="T6" y="T7"/>
                </a:cxn>
                <a:cxn ang="0">
                  <a:pos x="T8" y="T9"/>
                </a:cxn>
              </a:cxnLst>
              <a:rect l="0" t="0" r="r" b="b"/>
              <a:pathLst>
                <a:path w="141" h="246">
                  <a:moveTo>
                    <a:pt x="141" y="246"/>
                  </a:moveTo>
                  <a:lnTo>
                    <a:pt x="0" y="163"/>
                  </a:lnTo>
                  <a:lnTo>
                    <a:pt x="0" y="0"/>
                  </a:lnTo>
                  <a:lnTo>
                    <a:pt x="141" y="80"/>
                  </a:lnTo>
                  <a:lnTo>
                    <a:pt x="141" y="246"/>
                  </a:ln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22222"/>
                </a:solidFill>
                <a:effectLst/>
                <a:uLnTx/>
                <a:uFillTx/>
                <a:latin typeface="Inter"/>
                <a:ea typeface="+mn-ea"/>
                <a:cs typeface="+mn-cs"/>
              </a:endParaRPr>
            </a:p>
          </p:txBody>
        </p:sp>
        <p:sp>
          <p:nvSpPr>
            <p:cNvPr id="104" name="Freeform 1294">
              <a:extLst>
                <a:ext uri="{FF2B5EF4-FFF2-40B4-BE49-F238E27FC236}">
                  <a16:creationId xmlns:a16="http://schemas.microsoft.com/office/drawing/2014/main" id="{2758AD2B-9E6D-4262-9180-4A61AF8B0331}"/>
                </a:ext>
              </a:extLst>
            </p:cNvPr>
            <p:cNvSpPr>
              <a:spLocks/>
            </p:cNvSpPr>
            <p:nvPr/>
          </p:nvSpPr>
          <p:spPr bwMode="auto">
            <a:xfrm>
              <a:off x="8818506" y="3255025"/>
              <a:ext cx="294630" cy="510415"/>
            </a:xfrm>
            <a:custGeom>
              <a:avLst/>
              <a:gdLst>
                <a:gd name="T0" fmla="*/ 142 w 142"/>
                <a:gd name="T1" fmla="*/ 163 h 246"/>
                <a:gd name="T2" fmla="*/ 0 w 142"/>
                <a:gd name="T3" fmla="*/ 246 h 246"/>
                <a:gd name="T4" fmla="*/ 0 w 142"/>
                <a:gd name="T5" fmla="*/ 80 h 246"/>
                <a:gd name="T6" fmla="*/ 142 w 142"/>
                <a:gd name="T7" fmla="*/ 0 h 246"/>
                <a:gd name="T8" fmla="*/ 142 w 142"/>
                <a:gd name="T9" fmla="*/ 163 h 246"/>
              </a:gdLst>
              <a:ahLst/>
              <a:cxnLst>
                <a:cxn ang="0">
                  <a:pos x="T0" y="T1"/>
                </a:cxn>
                <a:cxn ang="0">
                  <a:pos x="T2" y="T3"/>
                </a:cxn>
                <a:cxn ang="0">
                  <a:pos x="T4" y="T5"/>
                </a:cxn>
                <a:cxn ang="0">
                  <a:pos x="T6" y="T7"/>
                </a:cxn>
                <a:cxn ang="0">
                  <a:pos x="T8" y="T9"/>
                </a:cxn>
              </a:cxnLst>
              <a:rect l="0" t="0" r="r" b="b"/>
              <a:pathLst>
                <a:path w="142" h="246">
                  <a:moveTo>
                    <a:pt x="142" y="163"/>
                  </a:moveTo>
                  <a:lnTo>
                    <a:pt x="0" y="246"/>
                  </a:lnTo>
                  <a:lnTo>
                    <a:pt x="0" y="80"/>
                  </a:lnTo>
                  <a:lnTo>
                    <a:pt x="142" y="0"/>
                  </a:lnTo>
                  <a:lnTo>
                    <a:pt x="142" y="163"/>
                  </a:lnTo>
                  <a:close/>
                </a:path>
              </a:pathLst>
            </a:custGeom>
            <a:solidFill>
              <a:schemeClr val="accent1">
                <a:lumMod val="60000"/>
                <a:lumOff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22222"/>
                </a:solidFill>
                <a:effectLst/>
                <a:uLnTx/>
                <a:uFillTx/>
                <a:latin typeface="Inter"/>
                <a:ea typeface="+mn-ea"/>
                <a:cs typeface="+mn-cs"/>
              </a:endParaRPr>
            </a:p>
          </p:txBody>
        </p:sp>
        <p:sp>
          <p:nvSpPr>
            <p:cNvPr id="105" name="Freeform 1295">
              <a:extLst>
                <a:ext uri="{FF2B5EF4-FFF2-40B4-BE49-F238E27FC236}">
                  <a16:creationId xmlns:a16="http://schemas.microsoft.com/office/drawing/2014/main" id="{B406CD4A-37FF-4F38-84CC-F0721B2B046C}"/>
                </a:ext>
              </a:extLst>
            </p:cNvPr>
            <p:cNvSpPr>
              <a:spLocks/>
            </p:cNvSpPr>
            <p:nvPr/>
          </p:nvSpPr>
          <p:spPr bwMode="auto">
            <a:xfrm>
              <a:off x="8528331" y="3088027"/>
              <a:ext cx="587186" cy="336127"/>
            </a:xfrm>
            <a:custGeom>
              <a:avLst/>
              <a:gdLst>
                <a:gd name="T0" fmla="*/ 141 w 283"/>
                <a:gd name="T1" fmla="*/ 162 h 162"/>
                <a:gd name="T2" fmla="*/ 0 w 283"/>
                <a:gd name="T3" fmla="*/ 82 h 162"/>
                <a:gd name="T4" fmla="*/ 141 w 283"/>
                <a:gd name="T5" fmla="*/ 0 h 162"/>
                <a:gd name="T6" fmla="*/ 283 w 283"/>
                <a:gd name="T7" fmla="*/ 82 h 162"/>
                <a:gd name="T8" fmla="*/ 141 w 283"/>
                <a:gd name="T9" fmla="*/ 162 h 162"/>
              </a:gdLst>
              <a:ahLst/>
              <a:cxnLst>
                <a:cxn ang="0">
                  <a:pos x="T0" y="T1"/>
                </a:cxn>
                <a:cxn ang="0">
                  <a:pos x="T2" y="T3"/>
                </a:cxn>
                <a:cxn ang="0">
                  <a:pos x="T4" y="T5"/>
                </a:cxn>
                <a:cxn ang="0">
                  <a:pos x="T6" y="T7"/>
                </a:cxn>
                <a:cxn ang="0">
                  <a:pos x="T8" y="T9"/>
                </a:cxn>
              </a:cxnLst>
              <a:rect l="0" t="0" r="r" b="b"/>
              <a:pathLst>
                <a:path w="283" h="162">
                  <a:moveTo>
                    <a:pt x="141" y="162"/>
                  </a:moveTo>
                  <a:lnTo>
                    <a:pt x="0" y="82"/>
                  </a:lnTo>
                  <a:lnTo>
                    <a:pt x="141" y="0"/>
                  </a:lnTo>
                  <a:lnTo>
                    <a:pt x="283" y="82"/>
                  </a:lnTo>
                  <a:lnTo>
                    <a:pt x="141" y="162"/>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22222"/>
                </a:solidFill>
                <a:effectLst/>
                <a:uLnTx/>
                <a:uFillTx/>
                <a:latin typeface="Inter"/>
                <a:ea typeface="+mn-ea"/>
                <a:cs typeface="+mn-cs"/>
              </a:endParaRPr>
            </a:p>
          </p:txBody>
        </p:sp>
        <p:sp>
          <p:nvSpPr>
            <p:cNvPr id="106" name="Freeform 1296">
              <a:extLst>
                <a:ext uri="{FF2B5EF4-FFF2-40B4-BE49-F238E27FC236}">
                  <a16:creationId xmlns:a16="http://schemas.microsoft.com/office/drawing/2014/main" id="{D494747C-C672-46AA-9DF8-948BA6621B25}"/>
                </a:ext>
              </a:extLst>
            </p:cNvPr>
            <p:cNvSpPr>
              <a:spLocks/>
            </p:cNvSpPr>
            <p:nvPr/>
          </p:nvSpPr>
          <p:spPr bwMode="auto">
            <a:xfrm>
              <a:off x="8525950" y="3083264"/>
              <a:ext cx="587186" cy="336127"/>
            </a:xfrm>
            <a:custGeom>
              <a:avLst/>
              <a:gdLst>
                <a:gd name="T0" fmla="*/ 141 w 283"/>
                <a:gd name="T1" fmla="*/ 162 h 162"/>
                <a:gd name="T2" fmla="*/ 0 w 283"/>
                <a:gd name="T3" fmla="*/ 82 h 162"/>
                <a:gd name="T4" fmla="*/ 141 w 283"/>
                <a:gd name="T5" fmla="*/ 0 h 162"/>
                <a:gd name="T6" fmla="*/ 283 w 283"/>
                <a:gd name="T7" fmla="*/ 82 h 162"/>
                <a:gd name="T8" fmla="*/ 141 w 283"/>
                <a:gd name="T9" fmla="*/ 162 h 162"/>
              </a:gdLst>
              <a:ahLst/>
              <a:cxnLst>
                <a:cxn ang="0">
                  <a:pos x="T0" y="T1"/>
                </a:cxn>
                <a:cxn ang="0">
                  <a:pos x="T2" y="T3"/>
                </a:cxn>
                <a:cxn ang="0">
                  <a:pos x="T4" y="T5"/>
                </a:cxn>
                <a:cxn ang="0">
                  <a:pos x="T6" y="T7"/>
                </a:cxn>
                <a:cxn ang="0">
                  <a:pos x="T8" y="T9"/>
                </a:cxn>
              </a:cxnLst>
              <a:rect l="0" t="0" r="r" b="b"/>
              <a:pathLst>
                <a:path w="283" h="162">
                  <a:moveTo>
                    <a:pt x="141" y="162"/>
                  </a:moveTo>
                  <a:lnTo>
                    <a:pt x="0" y="82"/>
                  </a:lnTo>
                  <a:lnTo>
                    <a:pt x="141" y="0"/>
                  </a:lnTo>
                  <a:lnTo>
                    <a:pt x="283" y="82"/>
                  </a:lnTo>
                  <a:lnTo>
                    <a:pt x="141" y="16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22222"/>
                </a:solidFill>
                <a:effectLst/>
                <a:uLnTx/>
                <a:uFillTx/>
                <a:latin typeface="Inter"/>
                <a:ea typeface="+mn-ea"/>
                <a:cs typeface="+mn-cs"/>
              </a:endParaRPr>
            </a:p>
          </p:txBody>
        </p:sp>
        <p:sp>
          <p:nvSpPr>
            <p:cNvPr id="107" name="Freeform 1299">
              <a:extLst>
                <a:ext uri="{FF2B5EF4-FFF2-40B4-BE49-F238E27FC236}">
                  <a16:creationId xmlns:a16="http://schemas.microsoft.com/office/drawing/2014/main" id="{FF0D9D37-BD54-493E-B877-E264B5011E84}"/>
                </a:ext>
              </a:extLst>
            </p:cNvPr>
            <p:cNvSpPr>
              <a:spLocks/>
            </p:cNvSpPr>
            <p:nvPr/>
          </p:nvSpPr>
          <p:spPr bwMode="auto">
            <a:xfrm>
              <a:off x="7374404" y="3047991"/>
              <a:ext cx="589260" cy="508341"/>
            </a:xfrm>
            <a:custGeom>
              <a:avLst/>
              <a:gdLst>
                <a:gd name="T0" fmla="*/ 142 w 284"/>
                <a:gd name="T1" fmla="*/ 83 h 245"/>
                <a:gd name="T2" fmla="*/ 0 w 284"/>
                <a:gd name="T3" fmla="*/ 0 h 245"/>
                <a:gd name="T4" fmla="*/ 0 w 284"/>
                <a:gd name="T5" fmla="*/ 165 h 245"/>
                <a:gd name="T6" fmla="*/ 142 w 284"/>
                <a:gd name="T7" fmla="*/ 245 h 245"/>
                <a:gd name="T8" fmla="*/ 284 w 284"/>
                <a:gd name="T9" fmla="*/ 165 h 245"/>
                <a:gd name="T10" fmla="*/ 284 w 284"/>
                <a:gd name="T11" fmla="*/ 0 h 245"/>
                <a:gd name="T12" fmla="*/ 142 w 284"/>
                <a:gd name="T13" fmla="*/ 83 h 245"/>
              </a:gdLst>
              <a:ahLst/>
              <a:cxnLst>
                <a:cxn ang="0">
                  <a:pos x="T0" y="T1"/>
                </a:cxn>
                <a:cxn ang="0">
                  <a:pos x="T2" y="T3"/>
                </a:cxn>
                <a:cxn ang="0">
                  <a:pos x="T4" y="T5"/>
                </a:cxn>
                <a:cxn ang="0">
                  <a:pos x="T6" y="T7"/>
                </a:cxn>
                <a:cxn ang="0">
                  <a:pos x="T8" y="T9"/>
                </a:cxn>
                <a:cxn ang="0">
                  <a:pos x="T10" y="T11"/>
                </a:cxn>
                <a:cxn ang="0">
                  <a:pos x="T12" y="T13"/>
                </a:cxn>
              </a:cxnLst>
              <a:rect l="0" t="0" r="r" b="b"/>
              <a:pathLst>
                <a:path w="284" h="245">
                  <a:moveTo>
                    <a:pt x="142" y="83"/>
                  </a:moveTo>
                  <a:lnTo>
                    <a:pt x="0" y="0"/>
                  </a:lnTo>
                  <a:lnTo>
                    <a:pt x="0" y="165"/>
                  </a:lnTo>
                  <a:lnTo>
                    <a:pt x="142" y="245"/>
                  </a:lnTo>
                  <a:lnTo>
                    <a:pt x="284" y="165"/>
                  </a:lnTo>
                  <a:lnTo>
                    <a:pt x="284" y="0"/>
                  </a:lnTo>
                  <a:lnTo>
                    <a:pt x="142" y="83"/>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22222"/>
                </a:solidFill>
                <a:effectLst/>
                <a:uLnTx/>
                <a:uFillTx/>
                <a:latin typeface="Inter"/>
                <a:ea typeface="+mn-ea"/>
                <a:cs typeface="+mn-cs"/>
              </a:endParaRPr>
            </a:p>
          </p:txBody>
        </p:sp>
        <p:sp>
          <p:nvSpPr>
            <p:cNvPr id="108" name="Freeform 1300">
              <a:extLst>
                <a:ext uri="{FF2B5EF4-FFF2-40B4-BE49-F238E27FC236}">
                  <a16:creationId xmlns:a16="http://schemas.microsoft.com/office/drawing/2014/main" id="{8977DABC-51BC-4EC1-9D9A-0494685AD4A8}"/>
                </a:ext>
              </a:extLst>
            </p:cNvPr>
            <p:cNvSpPr>
              <a:spLocks/>
            </p:cNvSpPr>
            <p:nvPr/>
          </p:nvSpPr>
          <p:spPr bwMode="auto">
            <a:xfrm>
              <a:off x="7374404" y="3047991"/>
              <a:ext cx="589260" cy="508341"/>
            </a:xfrm>
            <a:custGeom>
              <a:avLst/>
              <a:gdLst>
                <a:gd name="T0" fmla="*/ 142 w 284"/>
                <a:gd name="T1" fmla="*/ 83 h 245"/>
                <a:gd name="T2" fmla="*/ 0 w 284"/>
                <a:gd name="T3" fmla="*/ 0 h 245"/>
                <a:gd name="T4" fmla="*/ 0 w 284"/>
                <a:gd name="T5" fmla="*/ 165 h 245"/>
                <a:gd name="T6" fmla="*/ 142 w 284"/>
                <a:gd name="T7" fmla="*/ 245 h 245"/>
                <a:gd name="T8" fmla="*/ 284 w 284"/>
                <a:gd name="T9" fmla="*/ 165 h 245"/>
                <a:gd name="T10" fmla="*/ 284 w 284"/>
                <a:gd name="T11" fmla="*/ 0 h 245"/>
                <a:gd name="T12" fmla="*/ 142 w 284"/>
                <a:gd name="T13" fmla="*/ 83 h 245"/>
              </a:gdLst>
              <a:ahLst/>
              <a:cxnLst>
                <a:cxn ang="0">
                  <a:pos x="T0" y="T1"/>
                </a:cxn>
                <a:cxn ang="0">
                  <a:pos x="T2" y="T3"/>
                </a:cxn>
                <a:cxn ang="0">
                  <a:pos x="T4" y="T5"/>
                </a:cxn>
                <a:cxn ang="0">
                  <a:pos x="T6" y="T7"/>
                </a:cxn>
                <a:cxn ang="0">
                  <a:pos x="T8" y="T9"/>
                </a:cxn>
                <a:cxn ang="0">
                  <a:pos x="T10" y="T11"/>
                </a:cxn>
                <a:cxn ang="0">
                  <a:pos x="T12" y="T13"/>
                </a:cxn>
              </a:cxnLst>
              <a:rect l="0" t="0" r="r" b="b"/>
              <a:pathLst>
                <a:path w="284" h="245">
                  <a:moveTo>
                    <a:pt x="142" y="83"/>
                  </a:moveTo>
                  <a:lnTo>
                    <a:pt x="0" y="0"/>
                  </a:lnTo>
                  <a:lnTo>
                    <a:pt x="0" y="165"/>
                  </a:lnTo>
                  <a:lnTo>
                    <a:pt x="142" y="245"/>
                  </a:lnTo>
                  <a:lnTo>
                    <a:pt x="284" y="165"/>
                  </a:lnTo>
                  <a:lnTo>
                    <a:pt x="284" y="0"/>
                  </a:lnTo>
                  <a:lnTo>
                    <a:pt x="142" y="8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22222"/>
                </a:solidFill>
                <a:effectLst/>
                <a:uLnTx/>
                <a:uFillTx/>
                <a:latin typeface="Inter"/>
                <a:ea typeface="+mn-ea"/>
                <a:cs typeface="+mn-cs"/>
              </a:endParaRPr>
            </a:p>
          </p:txBody>
        </p:sp>
        <p:sp>
          <p:nvSpPr>
            <p:cNvPr id="109" name="Freeform 1301">
              <a:extLst>
                <a:ext uri="{FF2B5EF4-FFF2-40B4-BE49-F238E27FC236}">
                  <a16:creationId xmlns:a16="http://schemas.microsoft.com/office/drawing/2014/main" id="{3BD3D221-60BA-44BF-BE22-D33C0F67376E}"/>
                </a:ext>
              </a:extLst>
            </p:cNvPr>
            <p:cNvSpPr>
              <a:spLocks/>
            </p:cNvSpPr>
            <p:nvPr/>
          </p:nvSpPr>
          <p:spPr bwMode="auto">
            <a:xfrm>
              <a:off x="7374404" y="3047991"/>
              <a:ext cx="294630" cy="508341"/>
            </a:xfrm>
            <a:custGeom>
              <a:avLst/>
              <a:gdLst>
                <a:gd name="T0" fmla="*/ 142 w 142"/>
                <a:gd name="T1" fmla="*/ 245 h 245"/>
                <a:gd name="T2" fmla="*/ 0 w 142"/>
                <a:gd name="T3" fmla="*/ 165 h 245"/>
                <a:gd name="T4" fmla="*/ 0 w 142"/>
                <a:gd name="T5" fmla="*/ 0 h 245"/>
                <a:gd name="T6" fmla="*/ 142 w 142"/>
                <a:gd name="T7" fmla="*/ 83 h 245"/>
                <a:gd name="T8" fmla="*/ 142 w 142"/>
                <a:gd name="T9" fmla="*/ 245 h 245"/>
              </a:gdLst>
              <a:ahLst/>
              <a:cxnLst>
                <a:cxn ang="0">
                  <a:pos x="T0" y="T1"/>
                </a:cxn>
                <a:cxn ang="0">
                  <a:pos x="T2" y="T3"/>
                </a:cxn>
                <a:cxn ang="0">
                  <a:pos x="T4" y="T5"/>
                </a:cxn>
                <a:cxn ang="0">
                  <a:pos x="T6" y="T7"/>
                </a:cxn>
                <a:cxn ang="0">
                  <a:pos x="T8" y="T9"/>
                </a:cxn>
              </a:cxnLst>
              <a:rect l="0" t="0" r="r" b="b"/>
              <a:pathLst>
                <a:path w="142" h="245">
                  <a:moveTo>
                    <a:pt x="142" y="245"/>
                  </a:moveTo>
                  <a:lnTo>
                    <a:pt x="0" y="165"/>
                  </a:lnTo>
                  <a:lnTo>
                    <a:pt x="0" y="0"/>
                  </a:lnTo>
                  <a:lnTo>
                    <a:pt x="142" y="83"/>
                  </a:lnTo>
                  <a:lnTo>
                    <a:pt x="142" y="245"/>
                  </a:ln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22222"/>
                </a:solidFill>
                <a:effectLst/>
                <a:uLnTx/>
                <a:uFillTx/>
                <a:latin typeface="Inter"/>
                <a:ea typeface="+mn-ea"/>
                <a:cs typeface="+mn-cs"/>
              </a:endParaRPr>
            </a:p>
          </p:txBody>
        </p:sp>
        <p:sp>
          <p:nvSpPr>
            <p:cNvPr id="110" name="Freeform 1302">
              <a:extLst>
                <a:ext uri="{FF2B5EF4-FFF2-40B4-BE49-F238E27FC236}">
                  <a16:creationId xmlns:a16="http://schemas.microsoft.com/office/drawing/2014/main" id="{227A040B-29ED-4FE3-A9F8-1C1963A2246A}"/>
                </a:ext>
              </a:extLst>
            </p:cNvPr>
            <p:cNvSpPr>
              <a:spLocks/>
            </p:cNvSpPr>
            <p:nvPr/>
          </p:nvSpPr>
          <p:spPr bwMode="auto">
            <a:xfrm>
              <a:off x="7374404" y="3047991"/>
              <a:ext cx="294630" cy="508341"/>
            </a:xfrm>
            <a:custGeom>
              <a:avLst/>
              <a:gdLst>
                <a:gd name="T0" fmla="*/ 142 w 142"/>
                <a:gd name="T1" fmla="*/ 245 h 245"/>
                <a:gd name="T2" fmla="*/ 0 w 142"/>
                <a:gd name="T3" fmla="*/ 165 h 245"/>
                <a:gd name="T4" fmla="*/ 0 w 142"/>
                <a:gd name="T5" fmla="*/ 0 h 245"/>
                <a:gd name="T6" fmla="*/ 142 w 142"/>
                <a:gd name="T7" fmla="*/ 83 h 245"/>
                <a:gd name="T8" fmla="*/ 142 w 142"/>
                <a:gd name="T9" fmla="*/ 245 h 245"/>
              </a:gdLst>
              <a:ahLst/>
              <a:cxnLst>
                <a:cxn ang="0">
                  <a:pos x="T0" y="T1"/>
                </a:cxn>
                <a:cxn ang="0">
                  <a:pos x="T2" y="T3"/>
                </a:cxn>
                <a:cxn ang="0">
                  <a:pos x="T4" y="T5"/>
                </a:cxn>
                <a:cxn ang="0">
                  <a:pos x="T6" y="T7"/>
                </a:cxn>
                <a:cxn ang="0">
                  <a:pos x="T8" y="T9"/>
                </a:cxn>
              </a:cxnLst>
              <a:rect l="0" t="0" r="r" b="b"/>
              <a:pathLst>
                <a:path w="142" h="245">
                  <a:moveTo>
                    <a:pt x="142" y="245"/>
                  </a:moveTo>
                  <a:lnTo>
                    <a:pt x="0" y="165"/>
                  </a:lnTo>
                  <a:lnTo>
                    <a:pt x="0" y="0"/>
                  </a:lnTo>
                  <a:lnTo>
                    <a:pt x="142" y="83"/>
                  </a:lnTo>
                  <a:lnTo>
                    <a:pt x="142" y="24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22222"/>
                </a:solidFill>
                <a:effectLst/>
                <a:uLnTx/>
                <a:uFillTx/>
                <a:latin typeface="Inter"/>
                <a:ea typeface="+mn-ea"/>
                <a:cs typeface="+mn-cs"/>
              </a:endParaRPr>
            </a:p>
          </p:txBody>
        </p:sp>
        <p:sp>
          <p:nvSpPr>
            <p:cNvPr id="111" name="Freeform 1303">
              <a:extLst>
                <a:ext uri="{FF2B5EF4-FFF2-40B4-BE49-F238E27FC236}">
                  <a16:creationId xmlns:a16="http://schemas.microsoft.com/office/drawing/2014/main" id="{5C0B5270-B0D7-49DC-944F-821EE409E42A}"/>
                </a:ext>
              </a:extLst>
            </p:cNvPr>
            <p:cNvSpPr>
              <a:spLocks/>
            </p:cNvSpPr>
            <p:nvPr/>
          </p:nvSpPr>
          <p:spPr bwMode="auto">
            <a:xfrm>
              <a:off x="7669034" y="3047991"/>
              <a:ext cx="294630" cy="508341"/>
            </a:xfrm>
            <a:custGeom>
              <a:avLst/>
              <a:gdLst>
                <a:gd name="T0" fmla="*/ 142 w 142"/>
                <a:gd name="T1" fmla="*/ 165 h 245"/>
                <a:gd name="T2" fmla="*/ 0 w 142"/>
                <a:gd name="T3" fmla="*/ 245 h 245"/>
                <a:gd name="T4" fmla="*/ 0 w 142"/>
                <a:gd name="T5" fmla="*/ 83 h 245"/>
                <a:gd name="T6" fmla="*/ 142 w 142"/>
                <a:gd name="T7" fmla="*/ 0 h 245"/>
                <a:gd name="T8" fmla="*/ 142 w 142"/>
                <a:gd name="T9" fmla="*/ 165 h 245"/>
              </a:gdLst>
              <a:ahLst/>
              <a:cxnLst>
                <a:cxn ang="0">
                  <a:pos x="T0" y="T1"/>
                </a:cxn>
                <a:cxn ang="0">
                  <a:pos x="T2" y="T3"/>
                </a:cxn>
                <a:cxn ang="0">
                  <a:pos x="T4" y="T5"/>
                </a:cxn>
                <a:cxn ang="0">
                  <a:pos x="T6" y="T7"/>
                </a:cxn>
                <a:cxn ang="0">
                  <a:pos x="T8" y="T9"/>
                </a:cxn>
              </a:cxnLst>
              <a:rect l="0" t="0" r="r" b="b"/>
              <a:pathLst>
                <a:path w="142" h="245">
                  <a:moveTo>
                    <a:pt x="142" y="165"/>
                  </a:moveTo>
                  <a:lnTo>
                    <a:pt x="0" y="245"/>
                  </a:lnTo>
                  <a:lnTo>
                    <a:pt x="0" y="83"/>
                  </a:lnTo>
                  <a:lnTo>
                    <a:pt x="142" y="0"/>
                  </a:lnTo>
                  <a:lnTo>
                    <a:pt x="142" y="165"/>
                  </a:lnTo>
                  <a:close/>
                </a:path>
              </a:pathLst>
            </a:custGeom>
            <a:solidFill>
              <a:schemeClr val="accent1">
                <a:lumMod val="60000"/>
                <a:lumOff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22222"/>
                </a:solidFill>
                <a:effectLst/>
                <a:uLnTx/>
                <a:uFillTx/>
                <a:latin typeface="Inter"/>
                <a:ea typeface="+mn-ea"/>
                <a:cs typeface="+mn-cs"/>
              </a:endParaRPr>
            </a:p>
          </p:txBody>
        </p:sp>
        <p:sp>
          <p:nvSpPr>
            <p:cNvPr id="112" name="Freeform 1304">
              <a:extLst>
                <a:ext uri="{FF2B5EF4-FFF2-40B4-BE49-F238E27FC236}">
                  <a16:creationId xmlns:a16="http://schemas.microsoft.com/office/drawing/2014/main" id="{A6F50F5C-4767-4952-A4EF-4D2F3BEA4DC3}"/>
                </a:ext>
              </a:extLst>
            </p:cNvPr>
            <p:cNvSpPr>
              <a:spLocks/>
            </p:cNvSpPr>
            <p:nvPr/>
          </p:nvSpPr>
          <p:spPr bwMode="auto">
            <a:xfrm>
              <a:off x="7374404" y="2878159"/>
              <a:ext cx="589260" cy="344427"/>
            </a:xfrm>
            <a:custGeom>
              <a:avLst/>
              <a:gdLst>
                <a:gd name="T0" fmla="*/ 142 w 284"/>
                <a:gd name="T1" fmla="*/ 166 h 166"/>
                <a:gd name="T2" fmla="*/ 0 w 284"/>
                <a:gd name="T3" fmla="*/ 83 h 166"/>
                <a:gd name="T4" fmla="*/ 142 w 284"/>
                <a:gd name="T5" fmla="*/ 0 h 166"/>
                <a:gd name="T6" fmla="*/ 284 w 284"/>
                <a:gd name="T7" fmla="*/ 83 h 166"/>
                <a:gd name="T8" fmla="*/ 142 w 284"/>
                <a:gd name="T9" fmla="*/ 166 h 166"/>
              </a:gdLst>
              <a:ahLst/>
              <a:cxnLst>
                <a:cxn ang="0">
                  <a:pos x="T0" y="T1"/>
                </a:cxn>
                <a:cxn ang="0">
                  <a:pos x="T2" y="T3"/>
                </a:cxn>
                <a:cxn ang="0">
                  <a:pos x="T4" y="T5"/>
                </a:cxn>
                <a:cxn ang="0">
                  <a:pos x="T6" y="T7"/>
                </a:cxn>
                <a:cxn ang="0">
                  <a:pos x="T8" y="T9"/>
                </a:cxn>
              </a:cxnLst>
              <a:rect l="0" t="0" r="r" b="b"/>
              <a:pathLst>
                <a:path w="284" h="166">
                  <a:moveTo>
                    <a:pt x="142" y="166"/>
                  </a:moveTo>
                  <a:lnTo>
                    <a:pt x="0" y="83"/>
                  </a:lnTo>
                  <a:lnTo>
                    <a:pt x="142" y="0"/>
                  </a:lnTo>
                  <a:lnTo>
                    <a:pt x="284" y="83"/>
                  </a:lnTo>
                  <a:lnTo>
                    <a:pt x="142" y="166"/>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22222"/>
                </a:solidFill>
                <a:effectLst/>
                <a:uLnTx/>
                <a:uFillTx/>
                <a:latin typeface="Inter"/>
                <a:ea typeface="+mn-ea"/>
                <a:cs typeface="+mn-cs"/>
              </a:endParaRPr>
            </a:p>
          </p:txBody>
        </p:sp>
        <p:sp>
          <p:nvSpPr>
            <p:cNvPr id="113" name="Freeform 1307">
              <a:extLst>
                <a:ext uri="{FF2B5EF4-FFF2-40B4-BE49-F238E27FC236}">
                  <a16:creationId xmlns:a16="http://schemas.microsoft.com/office/drawing/2014/main" id="{FDBDA2E5-F3E0-421A-AA62-AF022821DA7A}"/>
                </a:ext>
              </a:extLst>
            </p:cNvPr>
            <p:cNvSpPr>
              <a:spLocks/>
            </p:cNvSpPr>
            <p:nvPr/>
          </p:nvSpPr>
          <p:spPr bwMode="auto">
            <a:xfrm>
              <a:off x="7756178" y="3262220"/>
              <a:ext cx="294630" cy="510415"/>
            </a:xfrm>
            <a:custGeom>
              <a:avLst/>
              <a:gdLst>
                <a:gd name="T0" fmla="*/ 142 w 142"/>
                <a:gd name="T1" fmla="*/ 246 h 246"/>
                <a:gd name="T2" fmla="*/ 0 w 142"/>
                <a:gd name="T3" fmla="*/ 163 h 246"/>
                <a:gd name="T4" fmla="*/ 0 w 142"/>
                <a:gd name="T5" fmla="*/ 0 h 246"/>
                <a:gd name="T6" fmla="*/ 142 w 142"/>
                <a:gd name="T7" fmla="*/ 83 h 246"/>
                <a:gd name="T8" fmla="*/ 142 w 142"/>
                <a:gd name="T9" fmla="*/ 246 h 246"/>
              </a:gdLst>
              <a:ahLst/>
              <a:cxnLst>
                <a:cxn ang="0">
                  <a:pos x="T0" y="T1"/>
                </a:cxn>
                <a:cxn ang="0">
                  <a:pos x="T2" y="T3"/>
                </a:cxn>
                <a:cxn ang="0">
                  <a:pos x="T4" y="T5"/>
                </a:cxn>
                <a:cxn ang="0">
                  <a:pos x="T6" y="T7"/>
                </a:cxn>
                <a:cxn ang="0">
                  <a:pos x="T8" y="T9"/>
                </a:cxn>
              </a:cxnLst>
              <a:rect l="0" t="0" r="r" b="b"/>
              <a:pathLst>
                <a:path w="142" h="246">
                  <a:moveTo>
                    <a:pt x="142" y="246"/>
                  </a:moveTo>
                  <a:lnTo>
                    <a:pt x="0" y="163"/>
                  </a:lnTo>
                  <a:lnTo>
                    <a:pt x="0" y="0"/>
                  </a:lnTo>
                  <a:lnTo>
                    <a:pt x="142" y="83"/>
                  </a:lnTo>
                  <a:lnTo>
                    <a:pt x="142" y="246"/>
                  </a:ln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22222"/>
                </a:solidFill>
                <a:effectLst/>
                <a:uLnTx/>
                <a:uFillTx/>
                <a:latin typeface="Inter"/>
                <a:ea typeface="+mn-ea"/>
                <a:cs typeface="+mn-cs"/>
              </a:endParaRPr>
            </a:p>
          </p:txBody>
        </p:sp>
        <p:sp>
          <p:nvSpPr>
            <p:cNvPr id="114" name="Freeform 1308">
              <a:extLst>
                <a:ext uri="{FF2B5EF4-FFF2-40B4-BE49-F238E27FC236}">
                  <a16:creationId xmlns:a16="http://schemas.microsoft.com/office/drawing/2014/main" id="{18566EA5-AA6F-4A5E-BB13-B2EE46A60F2F}"/>
                </a:ext>
              </a:extLst>
            </p:cNvPr>
            <p:cNvSpPr>
              <a:spLocks/>
            </p:cNvSpPr>
            <p:nvPr/>
          </p:nvSpPr>
          <p:spPr bwMode="auto">
            <a:xfrm>
              <a:off x="8050808" y="3268108"/>
              <a:ext cx="298780" cy="510415"/>
            </a:xfrm>
            <a:custGeom>
              <a:avLst/>
              <a:gdLst>
                <a:gd name="T0" fmla="*/ 144 w 144"/>
                <a:gd name="T1" fmla="*/ 163 h 246"/>
                <a:gd name="T2" fmla="*/ 0 w 144"/>
                <a:gd name="T3" fmla="*/ 246 h 246"/>
                <a:gd name="T4" fmla="*/ 0 w 144"/>
                <a:gd name="T5" fmla="*/ 83 h 246"/>
                <a:gd name="T6" fmla="*/ 144 w 144"/>
                <a:gd name="T7" fmla="*/ 0 h 246"/>
                <a:gd name="T8" fmla="*/ 144 w 144"/>
                <a:gd name="T9" fmla="*/ 163 h 246"/>
              </a:gdLst>
              <a:ahLst/>
              <a:cxnLst>
                <a:cxn ang="0">
                  <a:pos x="T0" y="T1"/>
                </a:cxn>
                <a:cxn ang="0">
                  <a:pos x="T2" y="T3"/>
                </a:cxn>
                <a:cxn ang="0">
                  <a:pos x="T4" y="T5"/>
                </a:cxn>
                <a:cxn ang="0">
                  <a:pos x="T6" y="T7"/>
                </a:cxn>
                <a:cxn ang="0">
                  <a:pos x="T8" y="T9"/>
                </a:cxn>
              </a:cxnLst>
              <a:rect l="0" t="0" r="r" b="b"/>
              <a:pathLst>
                <a:path w="144" h="246">
                  <a:moveTo>
                    <a:pt x="144" y="163"/>
                  </a:moveTo>
                  <a:lnTo>
                    <a:pt x="0" y="246"/>
                  </a:lnTo>
                  <a:lnTo>
                    <a:pt x="0" y="83"/>
                  </a:lnTo>
                  <a:lnTo>
                    <a:pt x="144" y="0"/>
                  </a:lnTo>
                  <a:lnTo>
                    <a:pt x="144" y="163"/>
                  </a:lnTo>
                  <a:close/>
                </a:path>
              </a:pathLst>
            </a:custGeom>
            <a:solidFill>
              <a:schemeClr val="accent1">
                <a:lumMod val="60000"/>
                <a:lumOff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22222"/>
                </a:solidFill>
                <a:effectLst/>
                <a:uLnTx/>
                <a:uFillTx/>
                <a:latin typeface="Inter"/>
                <a:ea typeface="+mn-ea"/>
                <a:cs typeface="+mn-cs"/>
              </a:endParaRPr>
            </a:p>
          </p:txBody>
        </p:sp>
        <p:sp>
          <p:nvSpPr>
            <p:cNvPr id="115" name="Freeform 1309">
              <a:extLst>
                <a:ext uri="{FF2B5EF4-FFF2-40B4-BE49-F238E27FC236}">
                  <a16:creationId xmlns:a16="http://schemas.microsoft.com/office/drawing/2014/main" id="{9CA702D9-914F-4C01-B2EE-0ADF17950336}"/>
                </a:ext>
              </a:extLst>
            </p:cNvPr>
            <p:cNvSpPr>
              <a:spLocks/>
            </p:cNvSpPr>
            <p:nvPr/>
          </p:nvSpPr>
          <p:spPr bwMode="auto">
            <a:xfrm>
              <a:off x="7756178" y="3103547"/>
              <a:ext cx="593410" cy="342352"/>
            </a:xfrm>
            <a:custGeom>
              <a:avLst/>
              <a:gdLst>
                <a:gd name="T0" fmla="*/ 142 w 286"/>
                <a:gd name="T1" fmla="*/ 165 h 165"/>
                <a:gd name="T2" fmla="*/ 0 w 286"/>
                <a:gd name="T3" fmla="*/ 82 h 165"/>
                <a:gd name="T4" fmla="*/ 142 w 286"/>
                <a:gd name="T5" fmla="*/ 0 h 165"/>
                <a:gd name="T6" fmla="*/ 286 w 286"/>
                <a:gd name="T7" fmla="*/ 82 h 165"/>
                <a:gd name="T8" fmla="*/ 142 w 286"/>
                <a:gd name="T9" fmla="*/ 165 h 165"/>
              </a:gdLst>
              <a:ahLst/>
              <a:cxnLst>
                <a:cxn ang="0">
                  <a:pos x="T0" y="T1"/>
                </a:cxn>
                <a:cxn ang="0">
                  <a:pos x="T2" y="T3"/>
                </a:cxn>
                <a:cxn ang="0">
                  <a:pos x="T4" y="T5"/>
                </a:cxn>
                <a:cxn ang="0">
                  <a:pos x="T6" y="T7"/>
                </a:cxn>
                <a:cxn ang="0">
                  <a:pos x="T8" y="T9"/>
                </a:cxn>
              </a:cxnLst>
              <a:rect l="0" t="0" r="r" b="b"/>
              <a:pathLst>
                <a:path w="286" h="165">
                  <a:moveTo>
                    <a:pt x="142" y="165"/>
                  </a:moveTo>
                  <a:lnTo>
                    <a:pt x="0" y="82"/>
                  </a:lnTo>
                  <a:lnTo>
                    <a:pt x="142" y="0"/>
                  </a:lnTo>
                  <a:lnTo>
                    <a:pt x="286" y="82"/>
                  </a:lnTo>
                  <a:lnTo>
                    <a:pt x="142" y="165"/>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22222"/>
                </a:solidFill>
                <a:effectLst/>
                <a:uLnTx/>
                <a:uFillTx/>
                <a:latin typeface="Inter"/>
                <a:ea typeface="+mn-ea"/>
                <a:cs typeface="+mn-cs"/>
              </a:endParaRPr>
            </a:p>
          </p:txBody>
        </p:sp>
        <p:sp>
          <p:nvSpPr>
            <p:cNvPr id="116" name="Freeform 1312">
              <a:extLst>
                <a:ext uri="{FF2B5EF4-FFF2-40B4-BE49-F238E27FC236}">
                  <a16:creationId xmlns:a16="http://schemas.microsoft.com/office/drawing/2014/main" id="{134BF85D-C91D-46CD-ADA4-6B8ED8C9A64C}"/>
                </a:ext>
              </a:extLst>
            </p:cNvPr>
            <p:cNvSpPr>
              <a:spLocks/>
            </p:cNvSpPr>
            <p:nvPr/>
          </p:nvSpPr>
          <p:spPr bwMode="auto">
            <a:xfrm>
              <a:off x="8137952" y="3483711"/>
              <a:ext cx="298780" cy="514565"/>
            </a:xfrm>
            <a:custGeom>
              <a:avLst/>
              <a:gdLst>
                <a:gd name="T0" fmla="*/ 144 w 144"/>
                <a:gd name="T1" fmla="*/ 248 h 248"/>
                <a:gd name="T2" fmla="*/ 0 w 144"/>
                <a:gd name="T3" fmla="*/ 165 h 248"/>
                <a:gd name="T4" fmla="*/ 0 w 144"/>
                <a:gd name="T5" fmla="*/ 0 h 248"/>
                <a:gd name="T6" fmla="*/ 144 w 144"/>
                <a:gd name="T7" fmla="*/ 83 h 248"/>
                <a:gd name="T8" fmla="*/ 144 w 144"/>
                <a:gd name="T9" fmla="*/ 248 h 248"/>
              </a:gdLst>
              <a:ahLst/>
              <a:cxnLst>
                <a:cxn ang="0">
                  <a:pos x="T0" y="T1"/>
                </a:cxn>
                <a:cxn ang="0">
                  <a:pos x="T2" y="T3"/>
                </a:cxn>
                <a:cxn ang="0">
                  <a:pos x="T4" y="T5"/>
                </a:cxn>
                <a:cxn ang="0">
                  <a:pos x="T6" y="T7"/>
                </a:cxn>
                <a:cxn ang="0">
                  <a:pos x="T8" y="T9"/>
                </a:cxn>
              </a:cxnLst>
              <a:rect l="0" t="0" r="r" b="b"/>
              <a:pathLst>
                <a:path w="144" h="248">
                  <a:moveTo>
                    <a:pt x="144" y="248"/>
                  </a:moveTo>
                  <a:lnTo>
                    <a:pt x="0" y="165"/>
                  </a:lnTo>
                  <a:lnTo>
                    <a:pt x="0" y="0"/>
                  </a:lnTo>
                  <a:lnTo>
                    <a:pt x="144" y="83"/>
                  </a:lnTo>
                  <a:lnTo>
                    <a:pt x="144" y="248"/>
                  </a:ln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22222"/>
                </a:solidFill>
                <a:effectLst/>
                <a:uLnTx/>
                <a:uFillTx/>
                <a:latin typeface="Inter"/>
                <a:ea typeface="+mn-ea"/>
                <a:cs typeface="+mn-cs"/>
              </a:endParaRPr>
            </a:p>
          </p:txBody>
        </p:sp>
        <p:sp>
          <p:nvSpPr>
            <p:cNvPr id="117" name="Freeform 1313">
              <a:extLst>
                <a:ext uri="{FF2B5EF4-FFF2-40B4-BE49-F238E27FC236}">
                  <a16:creationId xmlns:a16="http://schemas.microsoft.com/office/drawing/2014/main" id="{A6FE65F9-12C6-4140-8F69-A720A320F3A6}"/>
                </a:ext>
              </a:extLst>
            </p:cNvPr>
            <p:cNvSpPr>
              <a:spLocks/>
            </p:cNvSpPr>
            <p:nvPr/>
          </p:nvSpPr>
          <p:spPr bwMode="auto">
            <a:xfrm>
              <a:off x="8436732" y="3485334"/>
              <a:ext cx="294630" cy="514565"/>
            </a:xfrm>
            <a:custGeom>
              <a:avLst/>
              <a:gdLst>
                <a:gd name="T0" fmla="*/ 142 w 142"/>
                <a:gd name="T1" fmla="*/ 165 h 248"/>
                <a:gd name="T2" fmla="*/ 0 w 142"/>
                <a:gd name="T3" fmla="*/ 248 h 248"/>
                <a:gd name="T4" fmla="*/ 0 w 142"/>
                <a:gd name="T5" fmla="*/ 83 h 248"/>
                <a:gd name="T6" fmla="*/ 142 w 142"/>
                <a:gd name="T7" fmla="*/ 0 h 248"/>
                <a:gd name="T8" fmla="*/ 142 w 142"/>
                <a:gd name="T9" fmla="*/ 165 h 248"/>
              </a:gdLst>
              <a:ahLst/>
              <a:cxnLst>
                <a:cxn ang="0">
                  <a:pos x="T0" y="T1"/>
                </a:cxn>
                <a:cxn ang="0">
                  <a:pos x="T2" y="T3"/>
                </a:cxn>
                <a:cxn ang="0">
                  <a:pos x="T4" y="T5"/>
                </a:cxn>
                <a:cxn ang="0">
                  <a:pos x="T6" y="T7"/>
                </a:cxn>
                <a:cxn ang="0">
                  <a:pos x="T8" y="T9"/>
                </a:cxn>
              </a:cxnLst>
              <a:rect l="0" t="0" r="r" b="b"/>
              <a:pathLst>
                <a:path w="142" h="248">
                  <a:moveTo>
                    <a:pt x="142" y="165"/>
                  </a:moveTo>
                  <a:lnTo>
                    <a:pt x="0" y="248"/>
                  </a:lnTo>
                  <a:lnTo>
                    <a:pt x="0" y="83"/>
                  </a:lnTo>
                  <a:lnTo>
                    <a:pt x="142" y="0"/>
                  </a:lnTo>
                  <a:lnTo>
                    <a:pt x="142" y="165"/>
                  </a:lnTo>
                  <a:close/>
                </a:path>
              </a:pathLst>
            </a:custGeom>
            <a:solidFill>
              <a:schemeClr val="accent1">
                <a:lumMod val="60000"/>
                <a:lumOff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22222"/>
                </a:solidFill>
                <a:effectLst/>
                <a:uLnTx/>
                <a:uFillTx/>
                <a:latin typeface="Inter"/>
                <a:ea typeface="+mn-ea"/>
                <a:cs typeface="+mn-cs"/>
              </a:endParaRPr>
            </a:p>
          </p:txBody>
        </p:sp>
        <p:sp>
          <p:nvSpPr>
            <p:cNvPr id="118" name="Freeform 1314">
              <a:extLst>
                <a:ext uri="{FF2B5EF4-FFF2-40B4-BE49-F238E27FC236}">
                  <a16:creationId xmlns:a16="http://schemas.microsoft.com/office/drawing/2014/main" id="{00DACEA3-9011-4100-987D-FC9AD86BE37C}"/>
                </a:ext>
              </a:extLst>
            </p:cNvPr>
            <p:cNvSpPr>
              <a:spLocks/>
            </p:cNvSpPr>
            <p:nvPr/>
          </p:nvSpPr>
          <p:spPr bwMode="auto">
            <a:xfrm>
              <a:off x="8137952" y="3320103"/>
              <a:ext cx="593410" cy="338203"/>
            </a:xfrm>
            <a:custGeom>
              <a:avLst/>
              <a:gdLst>
                <a:gd name="T0" fmla="*/ 144 w 286"/>
                <a:gd name="T1" fmla="*/ 163 h 163"/>
                <a:gd name="T2" fmla="*/ 0 w 286"/>
                <a:gd name="T3" fmla="*/ 80 h 163"/>
                <a:gd name="T4" fmla="*/ 144 w 286"/>
                <a:gd name="T5" fmla="*/ 0 h 163"/>
                <a:gd name="T6" fmla="*/ 286 w 286"/>
                <a:gd name="T7" fmla="*/ 80 h 163"/>
                <a:gd name="T8" fmla="*/ 144 w 286"/>
                <a:gd name="T9" fmla="*/ 163 h 163"/>
              </a:gdLst>
              <a:ahLst/>
              <a:cxnLst>
                <a:cxn ang="0">
                  <a:pos x="T0" y="T1"/>
                </a:cxn>
                <a:cxn ang="0">
                  <a:pos x="T2" y="T3"/>
                </a:cxn>
                <a:cxn ang="0">
                  <a:pos x="T4" y="T5"/>
                </a:cxn>
                <a:cxn ang="0">
                  <a:pos x="T6" y="T7"/>
                </a:cxn>
                <a:cxn ang="0">
                  <a:pos x="T8" y="T9"/>
                </a:cxn>
              </a:cxnLst>
              <a:rect l="0" t="0" r="r" b="b"/>
              <a:pathLst>
                <a:path w="286" h="163">
                  <a:moveTo>
                    <a:pt x="144" y="163"/>
                  </a:moveTo>
                  <a:lnTo>
                    <a:pt x="0" y="80"/>
                  </a:lnTo>
                  <a:lnTo>
                    <a:pt x="144" y="0"/>
                  </a:lnTo>
                  <a:lnTo>
                    <a:pt x="286" y="80"/>
                  </a:lnTo>
                  <a:lnTo>
                    <a:pt x="144" y="163"/>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22222"/>
                </a:solidFill>
                <a:effectLst/>
                <a:uLnTx/>
                <a:uFillTx/>
                <a:latin typeface="Inter"/>
                <a:ea typeface="+mn-ea"/>
                <a:cs typeface="+mn-cs"/>
              </a:endParaRPr>
            </a:p>
          </p:txBody>
        </p:sp>
        <p:sp>
          <p:nvSpPr>
            <p:cNvPr id="119" name="Freeform 1317">
              <a:extLst>
                <a:ext uri="{FF2B5EF4-FFF2-40B4-BE49-F238E27FC236}">
                  <a16:creationId xmlns:a16="http://schemas.microsoft.com/office/drawing/2014/main" id="{D4243446-9917-4CD7-8EF8-F78546C46C19}"/>
                </a:ext>
              </a:extLst>
            </p:cNvPr>
            <p:cNvSpPr>
              <a:spLocks/>
            </p:cNvSpPr>
            <p:nvPr/>
          </p:nvSpPr>
          <p:spPr bwMode="auto">
            <a:xfrm>
              <a:off x="6992630" y="3282450"/>
              <a:ext cx="587186" cy="510415"/>
            </a:xfrm>
            <a:custGeom>
              <a:avLst/>
              <a:gdLst>
                <a:gd name="T0" fmla="*/ 142 w 283"/>
                <a:gd name="T1" fmla="*/ 83 h 246"/>
                <a:gd name="T2" fmla="*/ 0 w 283"/>
                <a:gd name="T3" fmla="*/ 0 h 246"/>
                <a:gd name="T4" fmla="*/ 0 w 283"/>
                <a:gd name="T5" fmla="*/ 163 h 246"/>
                <a:gd name="T6" fmla="*/ 142 w 283"/>
                <a:gd name="T7" fmla="*/ 246 h 246"/>
                <a:gd name="T8" fmla="*/ 283 w 283"/>
                <a:gd name="T9" fmla="*/ 163 h 246"/>
                <a:gd name="T10" fmla="*/ 283 w 283"/>
                <a:gd name="T11" fmla="*/ 0 h 246"/>
                <a:gd name="T12" fmla="*/ 142 w 283"/>
                <a:gd name="T13" fmla="*/ 83 h 246"/>
              </a:gdLst>
              <a:ahLst/>
              <a:cxnLst>
                <a:cxn ang="0">
                  <a:pos x="T0" y="T1"/>
                </a:cxn>
                <a:cxn ang="0">
                  <a:pos x="T2" y="T3"/>
                </a:cxn>
                <a:cxn ang="0">
                  <a:pos x="T4" y="T5"/>
                </a:cxn>
                <a:cxn ang="0">
                  <a:pos x="T6" y="T7"/>
                </a:cxn>
                <a:cxn ang="0">
                  <a:pos x="T8" y="T9"/>
                </a:cxn>
                <a:cxn ang="0">
                  <a:pos x="T10" y="T11"/>
                </a:cxn>
                <a:cxn ang="0">
                  <a:pos x="T12" y="T13"/>
                </a:cxn>
              </a:cxnLst>
              <a:rect l="0" t="0" r="r" b="b"/>
              <a:pathLst>
                <a:path w="283" h="246">
                  <a:moveTo>
                    <a:pt x="142" y="83"/>
                  </a:moveTo>
                  <a:lnTo>
                    <a:pt x="0" y="0"/>
                  </a:lnTo>
                  <a:lnTo>
                    <a:pt x="0" y="163"/>
                  </a:lnTo>
                  <a:lnTo>
                    <a:pt x="142" y="246"/>
                  </a:lnTo>
                  <a:lnTo>
                    <a:pt x="283" y="163"/>
                  </a:lnTo>
                  <a:lnTo>
                    <a:pt x="283" y="0"/>
                  </a:lnTo>
                  <a:lnTo>
                    <a:pt x="142" y="8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22222"/>
                </a:solidFill>
                <a:effectLst/>
                <a:uLnTx/>
                <a:uFillTx/>
                <a:latin typeface="Inter"/>
                <a:ea typeface="+mn-ea"/>
                <a:cs typeface="+mn-cs"/>
              </a:endParaRPr>
            </a:p>
          </p:txBody>
        </p:sp>
        <p:sp>
          <p:nvSpPr>
            <p:cNvPr id="120" name="Freeform 1318">
              <a:extLst>
                <a:ext uri="{FF2B5EF4-FFF2-40B4-BE49-F238E27FC236}">
                  <a16:creationId xmlns:a16="http://schemas.microsoft.com/office/drawing/2014/main" id="{AC431AEE-E328-45B3-8DCD-162F4D483832}"/>
                </a:ext>
              </a:extLst>
            </p:cNvPr>
            <p:cNvSpPr>
              <a:spLocks/>
            </p:cNvSpPr>
            <p:nvPr/>
          </p:nvSpPr>
          <p:spPr bwMode="auto">
            <a:xfrm>
              <a:off x="6992630" y="3280898"/>
              <a:ext cx="294630" cy="510415"/>
            </a:xfrm>
            <a:custGeom>
              <a:avLst/>
              <a:gdLst>
                <a:gd name="T0" fmla="*/ 142 w 142"/>
                <a:gd name="T1" fmla="*/ 246 h 246"/>
                <a:gd name="T2" fmla="*/ 0 w 142"/>
                <a:gd name="T3" fmla="*/ 163 h 246"/>
                <a:gd name="T4" fmla="*/ 0 w 142"/>
                <a:gd name="T5" fmla="*/ 0 h 246"/>
                <a:gd name="T6" fmla="*/ 142 w 142"/>
                <a:gd name="T7" fmla="*/ 83 h 246"/>
                <a:gd name="T8" fmla="*/ 142 w 142"/>
                <a:gd name="T9" fmla="*/ 246 h 246"/>
              </a:gdLst>
              <a:ahLst/>
              <a:cxnLst>
                <a:cxn ang="0">
                  <a:pos x="T0" y="T1"/>
                </a:cxn>
                <a:cxn ang="0">
                  <a:pos x="T2" y="T3"/>
                </a:cxn>
                <a:cxn ang="0">
                  <a:pos x="T4" y="T5"/>
                </a:cxn>
                <a:cxn ang="0">
                  <a:pos x="T6" y="T7"/>
                </a:cxn>
                <a:cxn ang="0">
                  <a:pos x="T8" y="T9"/>
                </a:cxn>
              </a:cxnLst>
              <a:rect l="0" t="0" r="r" b="b"/>
              <a:pathLst>
                <a:path w="142" h="246">
                  <a:moveTo>
                    <a:pt x="142" y="246"/>
                  </a:moveTo>
                  <a:lnTo>
                    <a:pt x="0" y="163"/>
                  </a:lnTo>
                  <a:lnTo>
                    <a:pt x="0" y="0"/>
                  </a:lnTo>
                  <a:lnTo>
                    <a:pt x="142" y="83"/>
                  </a:lnTo>
                  <a:lnTo>
                    <a:pt x="142" y="246"/>
                  </a:ln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22222"/>
                </a:solidFill>
                <a:effectLst/>
                <a:uLnTx/>
                <a:uFillTx/>
                <a:latin typeface="Inter"/>
                <a:ea typeface="+mn-ea"/>
                <a:cs typeface="+mn-cs"/>
              </a:endParaRPr>
            </a:p>
          </p:txBody>
        </p:sp>
        <p:sp>
          <p:nvSpPr>
            <p:cNvPr id="121" name="Freeform 1319">
              <a:extLst>
                <a:ext uri="{FF2B5EF4-FFF2-40B4-BE49-F238E27FC236}">
                  <a16:creationId xmlns:a16="http://schemas.microsoft.com/office/drawing/2014/main" id="{C7A37E5A-FECF-41CC-B6DB-D7516BBBFAD3}"/>
                </a:ext>
              </a:extLst>
            </p:cNvPr>
            <p:cNvSpPr>
              <a:spLocks/>
            </p:cNvSpPr>
            <p:nvPr/>
          </p:nvSpPr>
          <p:spPr bwMode="auto">
            <a:xfrm>
              <a:off x="7287260" y="3282450"/>
              <a:ext cx="292556" cy="510415"/>
            </a:xfrm>
            <a:custGeom>
              <a:avLst/>
              <a:gdLst>
                <a:gd name="T0" fmla="*/ 141 w 141"/>
                <a:gd name="T1" fmla="*/ 163 h 246"/>
                <a:gd name="T2" fmla="*/ 0 w 141"/>
                <a:gd name="T3" fmla="*/ 246 h 246"/>
                <a:gd name="T4" fmla="*/ 0 w 141"/>
                <a:gd name="T5" fmla="*/ 83 h 246"/>
                <a:gd name="T6" fmla="*/ 141 w 141"/>
                <a:gd name="T7" fmla="*/ 0 h 246"/>
                <a:gd name="T8" fmla="*/ 141 w 141"/>
                <a:gd name="T9" fmla="*/ 163 h 246"/>
              </a:gdLst>
              <a:ahLst/>
              <a:cxnLst>
                <a:cxn ang="0">
                  <a:pos x="T0" y="T1"/>
                </a:cxn>
                <a:cxn ang="0">
                  <a:pos x="T2" y="T3"/>
                </a:cxn>
                <a:cxn ang="0">
                  <a:pos x="T4" y="T5"/>
                </a:cxn>
                <a:cxn ang="0">
                  <a:pos x="T6" y="T7"/>
                </a:cxn>
                <a:cxn ang="0">
                  <a:pos x="T8" y="T9"/>
                </a:cxn>
              </a:cxnLst>
              <a:rect l="0" t="0" r="r" b="b"/>
              <a:pathLst>
                <a:path w="141" h="246">
                  <a:moveTo>
                    <a:pt x="141" y="163"/>
                  </a:moveTo>
                  <a:lnTo>
                    <a:pt x="0" y="246"/>
                  </a:lnTo>
                  <a:lnTo>
                    <a:pt x="0" y="83"/>
                  </a:lnTo>
                  <a:lnTo>
                    <a:pt x="141" y="0"/>
                  </a:lnTo>
                  <a:lnTo>
                    <a:pt x="141" y="163"/>
                  </a:lnTo>
                  <a:close/>
                </a:path>
              </a:pathLst>
            </a:custGeom>
            <a:solidFill>
              <a:schemeClr val="accent1">
                <a:lumMod val="60000"/>
                <a:lumOff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22222"/>
                </a:solidFill>
                <a:effectLst/>
                <a:uLnTx/>
                <a:uFillTx/>
                <a:latin typeface="Inter"/>
                <a:ea typeface="+mn-ea"/>
                <a:cs typeface="+mn-cs"/>
              </a:endParaRPr>
            </a:p>
          </p:txBody>
        </p:sp>
        <p:sp>
          <p:nvSpPr>
            <p:cNvPr id="122" name="Freeform 1320">
              <a:extLst>
                <a:ext uri="{FF2B5EF4-FFF2-40B4-BE49-F238E27FC236}">
                  <a16:creationId xmlns:a16="http://schemas.microsoft.com/office/drawing/2014/main" id="{FCC6683D-9F99-458D-846E-D5B4B5E594FA}"/>
                </a:ext>
              </a:extLst>
            </p:cNvPr>
            <p:cNvSpPr>
              <a:spLocks/>
            </p:cNvSpPr>
            <p:nvPr/>
          </p:nvSpPr>
          <p:spPr bwMode="auto">
            <a:xfrm>
              <a:off x="6990249" y="3117074"/>
              <a:ext cx="587186" cy="342352"/>
            </a:xfrm>
            <a:custGeom>
              <a:avLst/>
              <a:gdLst>
                <a:gd name="T0" fmla="*/ 142 w 283"/>
                <a:gd name="T1" fmla="*/ 165 h 165"/>
                <a:gd name="T2" fmla="*/ 0 w 283"/>
                <a:gd name="T3" fmla="*/ 82 h 165"/>
                <a:gd name="T4" fmla="*/ 142 w 283"/>
                <a:gd name="T5" fmla="*/ 0 h 165"/>
                <a:gd name="T6" fmla="*/ 283 w 283"/>
                <a:gd name="T7" fmla="*/ 82 h 165"/>
                <a:gd name="T8" fmla="*/ 142 w 283"/>
                <a:gd name="T9" fmla="*/ 165 h 165"/>
              </a:gdLst>
              <a:ahLst/>
              <a:cxnLst>
                <a:cxn ang="0">
                  <a:pos x="T0" y="T1"/>
                </a:cxn>
                <a:cxn ang="0">
                  <a:pos x="T2" y="T3"/>
                </a:cxn>
                <a:cxn ang="0">
                  <a:pos x="T4" y="T5"/>
                </a:cxn>
                <a:cxn ang="0">
                  <a:pos x="T6" y="T7"/>
                </a:cxn>
                <a:cxn ang="0">
                  <a:pos x="T8" y="T9"/>
                </a:cxn>
              </a:cxnLst>
              <a:rect l="0" t="0" r="r" b="b"/>
              <a:pathLst>
                <a:path w="283" h="165">
                  <a:moveTo>
                    <a:pt x="142" y="165"/>
                  </a:moveTo>
                  <a:lnTo>
                    <a:pt x="0" y="82"/>
                  </a:lnTo>
                  <a:lnTo>
                    <a:pt x="142" y="0"/>
                  </a:lnTo>
                  <a:lnTo>
                    <a:pt x="283" y="82"/>
                  </a:lnTo>
                  <a:lnTo>
                    <a:pt x="142" y="165"/>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22222"/>
                </a:solidFill>
                <a:effectLst/>
                <a:uLnTx/>
                <a:uFillTx/>
                <a:latin typeface="Inter"/>
                <a:ea typeface="+mn-ea"/>
                <a:cs typeface="+mn-cs"/>
              </a:endParaRPr>
            </a:p>
          </p:txBody>
        </p:sp>
        <p:sp>
          <p:nvSpPr>
            <p:cNvPr id="123" name="Freeform 1321">
              <a:extLst>
                <a:ext uri="{FF2B5EF4-FFF2-40B4-BE49-F238E27FC236}">
                  <a16:creationId xmlns:a16="http://schemas.microsoft.com/office/drawing/2014/main" id="{6494C36F-1237-4D84-BC89-9F88A688EBA4}"/>
                </a:ext>
              </a:extLst>
            </p:cNvPr>
            <p:cNvSpPr>
              <a:spLocks/>
            </p:cNvSpPr>
            <p:nvPr/>
          </p:nvSpPr>
          <p:spPr bwMode="auto">
            <a:xfrm>
              <a:off x="6992630" y="3112312"/>
              <a:ext cx="587186" cy="342352"/>
            </a:xfrm>
            <a:custGeom>
              <a:avLst/>
              <a:gdLst>
                <a:gd name="T0" fmla="*/ 142 w 283"/>
                <a:gd name="T1" fmla="*/ 165 h 165"/>
                <a:gd name="T2" fmla="*/ 0 w 283"/>
                <a:gd name="T3" fmla="*/ 82 h 165"/>
                <a:gd name="T4" fmla="*/ 142 w 283"/>
                <a:gd name="T5" fmla="*/ 0 h 165"/>
                <a:gd name="T6" fmla="*/ 283 w 283"/>
                <a:gd name="T7" fmla="*/ 82 h 165"/>
                <a:gd name="T8" fmla="*/ 142 w 283"/>
                <a:gd name="T9" fmla="*/ 165 h 165"/>
              </a:gdLst>
              <a:ahLst/>
              <a:cxnLst>
                <a:cxn ang="0">
                  <a:pos x="T0" y="T1"/>
                </a:cxn>
                <a:cxn ang="0">
                  <a:pos x="T2" y="T3"/>
                </a:cxn>
                <a:cxn ang="0">
                  <a:pos x="T4" y="T5"/>
                </a:cxn>
                <a:cxn ang="0">
                  <a:pos x="T6" y="T7"/>
                </a:cxn>
                <a:cxn ang="0">
                  <a:pos x="T8" y="T9"/>
                </a:cxn>
              </a:cxnLst>
              <a:rect l="0" t="0" r="r" b="b"/>
              <a:pathLst>
                <a:path w="283" h="165">
                  <a:moveTo>
                    <a:pt x="142" y="165"/>
                  </a:moveTo>
                  <a:lnTo>
                    <a:pt x="0" y="82"/>
                  </a:lnTo>
                  <a:lnTo>
                    <a:pt x="142" y="0"/>
                  </a:lnTo>
                  <a:lnTo>
                    <a:pt x="283" y="82"/>
                  </a:lnTo>
                  <a:lnTo>
                    <a:pt x="142" y="16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22222"/>
                </a:solidFill>
                <a:effectLst/>
                <a:uLnTx/>
                <a:uFillTx/>
                <a:latin typeface="Inter"/>
                <a:ea typeface="+mn-ea"/>
                <a:cs typeface="+mn-cs"/>
              </a:endParaRPr>
            </a:p>
          </p:txBody>
        </p:sp>
        <p:sp>
          <p:nvSpPr>
            <p:cNvPr id="124" name="Freeform 1325">
              <a:extLst>
                <a:ext uri="{FF2B5EF4-FFF2-40B4-BE49-F238E27FC236}">
                  <a16:creationId xmlns:a16="http://schemas.microsoft.com/office/drawing/2014/main" id="{E0F845AE-DA19-4321-ADE3-4E9F29FC9A13}"/>
                </a:ext>
              </a:extLst>
            </p:cNvPr>
            <p:cNvSpPr>
              <a:spLocks/>
            </p:cNvSpPr>
            <p:nvPr/>
          </p:nvSpPr>
          <p:spPr bwMode="auto">
            <a:xfrm>
              <a:off x="7374404" y="3499859"/>
              <a:ext cx="294630" cy="514565"/>
            </a:xfrm>
            <a:custGeom>
              <a:avLst/>
              <a:gdLst>
                <a:gd name="T0" fmla="*/ 142 w 142"/>
                <a:gd name="T1" fmla="*/ 248 h 248"/>
                <a:gd name="T2" fmla="*/ 0 w 142"/>
                <a:gd name="T3" fmla="*/ 165 h 248"/>
                <a:gd name="T4" fmla="*/ 0 w 142"/>
                <a:gd name="T5" fmla="*/ 0 h 248"/>
                <a:gd name="T6" fmla="*/ 142 w 142"/>
                <a:gd name="T7" fmla="*/ 83 h 248"/>
                <a:gd name="T8" fmla="*/ 142 w 142"/>
                <a:gd name="T9" fmla="*/ 248 h 248"/>
              </a:gdLst>
              <a:ahLst/>
              <a:cxnLst>
                <a:cxn ang="0">
                  <a:pos x="T0" y="T1"/>
                </a:cxn>
                <a:cxn ang="0">
                  <a:pos x="T2" y="T3"/>
                </a:cxn>
                <a:cxn ang="0">
                  <a:pos x="T4" y="T5"/>
                </a:cxn>
                <a:cxn ang="0">
                  <a:pos x="T6" y="T7"/>
                </a:cxn>
                <a:cxn ang="0">
                  <a:pos x="T8" y="T9"/>
                </a:cxn>
              </a:cxnLst>
              <a:rect l="0" t="0" r="r" b="b"/>
              <a:pathLst>
                <a:path w="142" h="248">
                  <a:moveTo>
                    <a:pt x="142" y="248"/>
                  </a:moveTo>
                  <a:lnTo>
                    <a:pt x="0" y="165"/>
                  </a:lnTo>
                  <a:lnTo>
                    <a:pt x="0" y="0"/>
                  </a:lnTo>
                  <a:lnTo>
                    <a:pt x="142" y="83"/>
                  </a:lnTo>
                  <a:lnTo>
                    <a:pt x="142" y="248"/>
                  </a:ln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22222"/>
                </a:solidFill>
                <a:effectLst/>
                <a:uLnTx/>
                <a:uFillTx/>
                <a:latin typeface="Inter"/>
                <a:ea typeface="+mn-ea"/>
                <a:cs typeface="+mn-cs"/>
              </a:endParaRPr>
            </a:p>
          </p:txBody>
        </p:sp>
        <p:sp>
          <p:nvSpPr>
            <p:cNvPr id="125" name="Freeform 1326">
              <a:extLst>
                <a:ext uri="{FF2B5EF4-FFF2-40B4-BE49-F238E27FC236}">
                  <a16:creationId xmlns:a16="http://schemas.microsoft.com/office/drawing/2014/main" id="{3E4F9106-EACB-41C0-8972-4D10D46001BE}"/>
                </a:ext>
              </a:extLst>
            </p:cNvPr>
            <p:cNvSpPr>
              <a:spLocks/>
            </p:cNvSpPr>
            <p:nvPr/>
          </p:nvSpPr>
          <p:spPr bwMode="auto">
            <a:xfrm>
              <a:off x="7669034" y="3498236"/>
              <a:ext cx="294630" cy="514565"/>
            </a:xfrm>
            <a:custGeom>
              <a:avLst/>
              <a:gdLst>
                <a:gd name="T0" fmla="*/ 142 w 142"/>
                <a:gd name="T1" fmla="*/ 165 h 248"/>
                <a:gd name="T2" fmla="*/ 0 w 142"/>
                <a:gd name="T3" fmla="*/ 248 h 248"/>
                <a:gd name="T4" fmla="*/ 0 w 142"/>
                <a:gd name="T5" fmla="*/ 83 h 248"/>
                <a:gd name="T6" fmla="*/ 142 w 142"/>
                <a:gd name="T7" fmla="*/ 0 h 248"/>
                <a:gd name="T8" fmla="*/ 142 w 142"/>
                <a:gd name="T9" fmla="*/ 165 h 248"/>
              </a:gdLst>
              <a:ahLst/>
              <a:cxnLst>
                <a:cxn ang="0">
                  <a:pos x="T0" y="T1"/>
                </a:cxn>
                <a:cxn ang="0">
                  <a:pos x="T2" y="T3"/>
                </a:cxn>
                <a:cxn ang="0">
                  <a:pos x="T4" y="T5"/>
                </a:cxn>
                <a:cxn ang="0">
                  <a:pos x="T6" y="T7"/>
                </a:cxn>
                <a:cxn ang="0">
                  <a:pos x="T8" y="T9"/>
                </a:cxn>
              </a:cxnLst>
              <a:rect l="0" t="0" r="r" b="b"/>
              <a:pathLst>
                <a:path w="142" h="248">
                  <a:moveTo>
                    <a:pt x="142" y="165"/>
                  </a:moveTo>
                  <a:lnTo>
                    <a:pt x="0" y="248"/>
                  </a:lnTo>
                  <a:lnTo>
                    <a:pt x="0" y="83"/>
                  </a:lnTo>
                  <a:lnTo>
                    <a:pt x="142" y="0"/>
                  </a:lnTo>
                  <a:lnTo>
                    <a:pt x="142" y="165"/>
                  </a:lnTo>
                  <a:close/>
                </a:path>
              </a:pathLst>
            </a:custGeom>
            <a:solidFill>
              <a:schemeClr val="accent1">
                <a:lumMod val="60000"/>
                <a:lumOff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22222"/>
                </a:solidFill>
                <a:effectLst/>
                <a:uLnTx/>
                <a:uFillTx/>
                <a:latin typeface="Inter"/>
                <a:ea typeface="+mn-ea"/>
                <a:cs typeface="+mn-cs"/>
              </a:endParaRPr>
            </a:p>
          </p:txBody>
        </p:sp>
        <p:sp>
          <p:nvSpPr>
            <p:cNvPr id="126" name="Freeform 1327">
              <a:extLst>
                <a:ext uri="{FF2B5EF4-FFF2-40B4-BE49-F238E27FC236}">
                  <a16:creationId xmlns:a16="http://schemas.microsoft.com/office/drawing/2014/main" id="{FF85658F-A501-469D-975F-87C2D917BB0E}"/>
                </a:ext>
              </a:extLst>
            </p:cNvPr>
            <p:cNvSpPr>
              <a:spLocks/>
            </p:cNvSpPr>
            <p:nvPr/>
          </p:nvSpPr>
          <p:spPr bwMode="auto">
            <a:xfrm>
              <a:off x="7374404" y="3334628"/>
              <a:ext cx="589260" cy="338203"/>
            </a:xfrm>
            <a:custGeom>
              <a:avLst/>
              <a:gdLst>
                <a:gd name="T0" fmla="*/ 142 w 284"/>
                <a:gd name="T1" fmla="*/ 163 h 163"/>
                <a:gd name="T2" fmla="*/ 0 w 284"/>
                <a:gd name="T3" fmla="*/ 80 h 163"/>
                <a:gd name="T4" fmla="*/ 142 w 284"/>
                <a:gd name="T5" fmla="*/ 0 h 163"/>
                <a:gd name="T6" fmla="*/ 284 w 284"/>
                <a:gd name="T7" fmla="*/ 80 h 163"/>
                <a:gd name="T8" fmla="*/ 142 w 284"/>
                <a:gd name="T9" fmla="*/ 163 h 163"/>
              </a:gdLst>
              <a:ahLst/>
              <a:cxnLst>
                <a:cxn ang="0">
                  <a:pos x="T0" y="T1"/>
                </a:cxn>
                <a:cxn ang="0">
                  <a:pos x="T2" y="T3"/>
                </a:cxn>
                <a:cxn ang="0">
                  <a:pos x="T4" y="T5"/>
                </a:cxn>
                <a:cxn ang="0">
                  <a:pos x="T6" y="T7"/>
                </a:cxn>
                <a:cxn ang="0">
                  <a:pos x="T8" y="T9"/>
                </a:cxn>
              </a:cxnLst>
              <a:rect l="0" t="0" r="r" b="b"/>
              <a:pathLst>
                <a:path w="284" h="163">
                  <a:moveTo>
                    <a:pt x="142" y="163"/>
                  </a:moveTo>
                  <a:lnTo>
                    <a:pt x="0" y="80"/>
                  </a:lnTo>
                  <a:lnTo>
                    <a:pt x="142" y="0"/>
                  </a:lnTo>
                  <a:lnTo>
                    <a:pt x="284" y="80"/>
                  </a:lnTo>
                  <a:lnTo>
                    <a:pt x="142" y="163"/>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22222"/>
                </a:solidFill>
                <a:effectLst/>
                <a:uLnTx/>
                <a:uFillTx/>
                <a:latin typeface="Inter"/>
                <a:ea typeface="+mn-ea"/>
                <a:cs typeface="+mn-cs"/>
              </a:endParaRPr>
            </a:p>
          </p:txBody>
        </p:sp>
        <p:sp>
          <p:nvSpPr>
            <p:cNvPr id="127" name="Freeform 1330">
              <a:extLst>
                <a:ext uri="{FF2B5EF4-FFF2-40B4-BE49-F238E27FC236}">
                  <a16:creationId xmlns:a16="http://schemas.microsoft.com/office/drawing/2014/main" id="{58674924-3FB1-45C1-BFF2-21EDFC6F717C}"/>
                </a:ext>
              </a:extLst>
            </p:cNvPr>
            <p:cNvSpPr>
              <a:spLocks/>
            </p:cNvSpPr>
            <p:nvPr/>
          </p:nvSpPr>
          <p:spPr bwMode="auto">
            <a:xfrm>
              <a:off x="7756178" y="3718171"/>
              <a:ext cx="294630" cy="510415"/>
            </a:xfrm>
            <a:custGeom>
              <a:avLst/>
              <a:gdLst>
                <a:gd name="T0" fmla="*/ 142 w 142"/>
                <a:gd name="T1" fmla="*/ 246 h 246"/>
                <a:gd name="T2" fmla="*/ 0 w 142"/>
                <a:gd name="T3" fmla="*/ 166 h 246"/>
                <a:gd name="T4" fmla="*/ 0 w 142"/>
                <a:gd name="T5" fmla="*/ 0 h 246"/>
                <a:gd name="T6" fmla="*/ 142 w 142"/>
                <a:gd name="T7" fmla="*/ 83 h 246"/>
                <a:gd name="T8" fmla="*/ 142 w 142"/>
                <a:gd name="T9" fmla="*/ 246 h 246"/>
              </a:gdLst>
              <a:ahLst/>
              <a:cxnLst>
                <a:cxn ang="0">
                  <a:pos x="T0" y="T1"/>
                </a:cxn>
                <a:cxn ang="0">
                  <a:pos x="T2" y="T3"/>
                </a:cxn>
                <a:cxn ang="0">
                  <a:pos x="T4" y="T5"/>
                </a:cxn>
                <a:cxn ang="0">
                  <a:pos x="T6" y="T7"/>
                </a:cxn>
                <a:cxn ang="0">
                  <a:pos x="T8" y="T9"/>
                </a:cxn>
              </a:cxnLst>
              <a:rect l="0" t="0" r="r" b="b"/>
              <a:pathLst>
                <a:path w="142" h="246">
                  <a:moveTo>
                    <a:pt x="142" y="246"/>
                  </a:moveTo>
                  <a:lnTo>
                    <a:pt x="0" y="166"/>
                  </a:lnTo>
                  <a:lnTo>
                    <a:pt x="0" y="0"/>
                  </a:lnTo>
                  <a:lnTo>
                    <a:pt x="142" y="83"/>
                  </a:lnTo>
                  <a:lnTo>
                    <a:pt x="142" y="246"/>
                  </a:ln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22222"/>
                </a:solidFill>
                <a:effectLst/>
                <a:uLnTx/>
                <a:uFillTx/>
                <a:latin typeface="Inter"/>
                <a:ea typeface="+mn-ea"/>
                <a:cs typeface="+mn-cs"/>
              </a:endParaRPr>
            </a:p>
          </p:txBody>
        </p:sp>
        <p:sp>
          <p:nvSpPr>
            <p:cNvPr id="128" name="Freeform 1331">
              <a:extLst>
                <a:ext uri="{FF2B5EF4-FFF2-40B4-BE49-F238E27FC236}">
                  <a16:creationId xmlns:a16="http://schemas.microsoft.com/office/drawing/2014/main" id="{F69EE8B7-13D7-40D0-ADC3-D6DFAF9E98E0}"/>
                </a:ext>
              </a:extLst>
            </p:cNvPr>
            <p:cNvSpPr>
              <a:spLocks/>
            </p:cNvSpPr>
            <p:nvPr/>
          </p:nvSpPr>
          <p:spPr bwMode="auto">
            <a:xfrm>
              <a:off x="8050808" y="3714056"/>
              <a:ext cx="298780" cy="510415"/>
            </a:xfrm>
            <a:custGeom>
              <a:avLst/>
              <a:gdLst>
                <a:gd name="T0" fmla="*/ 144 w 144"/>
                <a:gd name="T1" fmla="*/ 166 h 246"/>
                <a:gd name="T2" fmla="*/ 0 w 144"/>
                <a:gd name="T3" fmla="*/ 246 h 246"/>
                <a:gd name="T4" fmla="*/ 0 w 144"/>
                <a:gd name="T5" fmla="*/ 83 h 246"/>
                <a:gd name="T6" fmla="*/ 144 w 144"/>
                <a:gd name="T7" fmla="*/ 0 h 246"/>
                <a:gd name="T8" fmla="*/ 144 w 144"/>
                <a:gd name="T9" fmla="*/ 166 h 246"/>
              </a:gdLst>
              <a:ahLst/>
              <a:cxnLst>
                <a:cxn ang="0">
                  <a:pos x="T0" y="T1"/>
                </a:cxn>
                <a:cxn ang="0">
                  <a:pos x="T2" y="T3"/>
                </a:cxn>
                <a:cxn ang="0">
                  <a:pos x="T4" y="T5"/>
                </a:cxn>
                <a:cxn ang="0">
                  <a:pos x="T6" y="T7"/>
                </a:cxn>
                <a:cxn ang="0">
                  <a:pos x="T8" y="T9"/>
                </a:cxn>
              </a:cxnLst>
              <a:rect l="0" t="0" r="r" b="b"/>
              <a:pathLst>
                <a:path w="144" h="246">
                  <a:moveTo>
                    <a:pt x="144" y="166"/>
                  </a:moveTo>
                  <a:lnTo>
                    <a:pt x="0" y="246"/>
                  </a:lnTo>
                  <a:lnTo>
                    <a:pt x="0" y="83"/>
                  </a:lnTo>
                  <a:lnTo>
                    <a:pt x="144" y="0"/>
                  </a:lnTo>
                  <a:lnTo>
                    <a:pt x="144" y="166"/>
                  </a:lnTo>
                  <a:close/>
                </a:path>
              </a:pathLst>
            </a:custGeom>
            <a:solidFill>
              <a:schemeClr val="accent1">
                <a:lumMod val="60000"/>
                <a:lumOff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22222"/>
                </a:solidFill>
                <a:effectLst/>
                <a:uLnTx/>
                <a:uFillTx/>
                <a:latin typeface="Inter"/>
                <a:ea typeface="+mn-ea"/>
                <a:cs typeface="+mn-cs"/>
              </a:endParaRPr>
            </a:p>
          </p:txBody>
        </p:sp>
        <p:sp>
          <p:nvSpPr>
            <p:cNvPr id="129" name="Freeform 1332">
              <a:extLst>
                <a:ext uri="{FF2B5EF4-FFF2-40B4-BE49-F238E27FC236}">
                  <a16:creationId xmlns:a16="http://schemas.microsoft.com/office/drawing/2014/main" id="{F92F5674-4D04-4B27-AA83-7D26A22F0E77}"/>
                </a:ext>
              </a:extLst>
            </p:cNvPr>
            <p:cNvSpPr>
              <a:spLocks/>
            </p:cNvSpPr>
            <p:nvPr/>
          </p:nvSpPr>
          <p:spPr bwMode="auto">
            <a:xfrm>
              <a:off x="7756178" y="3548713"/>
              <a:ext cx="593410" cy="342352"/>
            </a:xfrm>
            <a:custGeom>
              <a:avLst/>
              <a:gdLst>
                <a:gd name="T0" fmla="*/ 142 w 286"/>
                <a:gd name="T1" fmla="*/ 165 h 165"/>
                <a:gd name="T2" fmla="*/ 0 w 286"/>
                <a:gd name="T3" fmla="*/ 82 h 165"/>
                <a:gd name="T4" fmla="*/ 142 w 286"/>
                <a:gd name="T5" fmla="*/ 0 h 165"/>
                <a:gd name="T6" fmla="*/ 286 w 286"/>
                <a:gd name="T7" fmla="*/ 82 h 165"/>
                <a:gd name="T8" fmla="*/ 142 w 286"/>
                <a:gd name="T9" fmla="*/ 165 h 165"/>
              </a:gdLst>
              <a:ahLst/>
              <a:cxnLst>
                <a:cxn ang="0">
                  <a:pos x="T0" y="T1"/>
                </a:cxn>
                <a:cxn ang="0">
                  <a:pos x="T2" y="T3"/>
                </a:cxn>
                <a:cxn ang="0">
                  <a:pos x="T4" y="T5"/>
                </a:cxn>
                <a:cxn ang="0">
                  <a:pos x="T6" y="T7"/>
                </a:cxn>
                <a:cxn ang="0">
                  <a:pos x="T8" y="T9"/>
                </a:cxn>
              </a:cxnLst>
              <a:rect l="0" t="0" r="r" b="b"/>
              <a:pathLst>
                <a:path w="286" h="165">
                  <a:moveTo>
                    <a:pt x="142" y="165"/>
                  </a:moveTo>
                  <a:lnTo>
                    <a:pt x="0" y="82"/>
                  </a:lnTo>
                  <a:lnTo>
                    <a:pt x="142" y="0"/>
                  </a:lnTo>
                  <a:lnTo>
                    <a:pt x="286" y="82"/>
                  </a:lnTo>
                  <a:lnTo>
                    <a:pt x="142" y="165"/>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22222"/>
                </a:solidFill>
                <a:effectLst/>
                <a:uLnTx/>
                <a:uFillTx/>
                <a:latin typeface="Inter"/>
                <a:ea typeface="+mn-ea"/>
                <a:cs typeface="+mn-cs"/>
              </a:endParaRPr>
            </a:p>
          </p:txBody>
        </p:sp>
        <p:sp>
          <p:nvSpPr>
            <p:cNvPr id="130" name="Freeform 1335">
              <a:extLst>
                <a:ext uri="{FF2B5EF4-FFF2-40B4-BE49-F238E27FC236}">
                  <a16:creationId xmlns:a16="http://schemas.microsoft.com/office/drawing/2014/main" id="{5554B7D5-9485-46AB-B64C-3AD8A615C980}"/>
                </a:ext>
              </a:extLst>
            </p:cNvPr>
            <p:cNvSpPr>
              <a:spLocks/>
            </p:cNvSpPr>
            <p:nvPr/>
          </p:nvSpPr>
          <p:spPr bwMode="auto">
            <a:xfrm>
              <a:off x="8619319" y="3141360"/>
              <a:ext cx="400448" cy="230310"/>
            </a:xfrm>
            <a:custGeom>
              <a:avLst/>
              <a:gdLst>
                <a:gd name="T0" fmla="*/ 96 w 193"/>
                <a:gd name="T1" fmla="*/ 0 h 111"/>
                <a:gd name="T2" fmla="*/ 0 w 193"/>
                <a:gd name="T3" fmla="*/ 54 h 111"/>
                <a:gd name="T4" fmla="*/ 96 w 193"/>
                <a:gd name="T5" fmla="*/ 111 h 111"/>
                <a:gd name="T6" fmla="*/ 193 w 193"/>
                <a:gd name="T7" fmla="*/ 54 h 111"/>
                <a:gd name="T8" fmla="*/ 96 w 193"/>
                <a:gd name="T9" fmla="*/ 0 h 111"/>
              </a:gdLst>
              <a:ahLst/>
              <a:cxnLst>
                <a:cxn ang="0">
                  <a:pos x="T0" y="T1"/>
                </a:cxn>
                <a:cxn ang="0">
                  <a:pos x="T2" y="T3"/>
                </a:cxn>
                <a:cxn ang="0">
                  <a:pos x="T4" y="T5"/>
                </a:cxn>
                <a:cxn ang="0">
                  <a:pos x="T6" y="T7"/>
                </a:cxn>
                <a:cxn ang="0">
                  <a:pos x="T8" y="T9"/>
                </a:cxn>
              </a:cxnLst>
              <a:rect l="0" t="0" r="r" b="b"/>
              <a:pathLst>
                <a:path w="193" h="111">
                  <a:moveTo>
                    <a:pt x="96" y="0"/>
                  </a:moveTo>
                  <a:lnTo>
                    <a:pt x="0" y="54"/>
                  </a:lnTo>
                  <a:lnTo>
                    <a:pt x="96" y="111"/>
                  </a:lnTo>
                  <a:lnTo>
                    <a:pt x="193" y="54"/>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22222"/>
                </a:solidFill>
                <a:effectLst/>
                <a:uLnTx/>
                <a:uFillTx/>
                <a:latin typeface="Inter"/>
                <a:ea typeface="+mn-ea"/>
                <a:cs typeface="+mn-cs"/>
              </a:endParaRPr>
            </a:p>
          </p:txBody>
        </p:sp>
        <p:sp>
          <p:nvSpPr>
            <p:cNvPr id="131" name="Freeform 1339">
              <a:extLst>
                <a:ext uri="{FF2B5EF4-FFF2-40B4-BE49-F238E27FC236}">
                  <a16:creationId xmlns:a16="http://schemas.microsoft.com/office/drawing/2014/main" id="{785E68E8-66F8-4796-9DC8-D092DF90F8E9}"/>
                </a:ext>
              </a:extLst>
            </p:cNvPr>
            <p:cNvSpPr>
              <a:spLocks/>
            </p:cNvSpPr>
            <p:nvPr/>
          </p:nvSpPr>
          <p:spPr bwMode="auto">
            <a:xfrm>
              <a:off x="7756178" y="2360726"/>
              <a:ext cx="294630" cy="508341"/>
            </a:xfrm>
            <a:custGeom>
              <a:avLst/>
              <a:gdLst>
                <a:gd name="T0" fmla="*/ 142 w 142"/>
                <a:gd name="T1" fmla="*/ 245 h 245"/>
                <a:gd name="T2" fmla="*/ 0 w 142"/>
                <a:gd name="T3" fmla="*/ 165 h 245"/>
                <a:gd name="T4" fmla="*/ 0 w 142"/>
                <a:gd name="T5" fmla="*/ 0 h 245"/>
                <a:gd name="T6" fmla="*/ 142 w 142"/>
                <a:gd name="T7" fmla="*/ 82 h 245"/>
                <a:gd name="T8" fmla="*/ 142 w 142"/>
                <a:gd name="T9" fmla="*/ 245 h 245"/>
              </a:gdLst>
              <a:ahLst/>
              <a:cxnLst>
                <a:cxn ang="0">
                  <a:pos x="T0" y="T1"/>
                </a:cxn>
                <a:cxn ang="0">
                  <a:pos x="T2" y="T3"/>
                </a:cxn>
                <a:cxn ang="0">
                  <a:pos x="T4" y="T5"/>
                </a:cxn>
                <a:cxn ang="0">
                  <a:pos x="T6" y="T7"/>
                </a:cxn>
                <a:cxn ang="0">
                  <a:pos x="T8" y="T9"/>
                </a:cxn>
              </a:cxnLst>
              <a:rect l="0" t="0" r="r" b="b"/>
              <a:pathLst>
                <a:path w="142" h="245">
                  <a:moveTo>
                    <a:pt x="142" y="245"/>
                  </a:moveTo>
                  <a:lnTo>
                    <a:pt x="0" y="165"/>
                  </a:lnTo>
                  <a:lnTo>
                    <a:pt x="0" y="0"/>
                  </a:lnTo>
                  <a:lnTo>
                    <a:pt x="142" y="82"/>
                  </a:lnTo>
                  <a:lnTo>
                    <a:pt x="142" y="245"/>
                  </a:ln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22222"/>
                </a:solidFill>
                <a:effectLst/>
                <a:uLnTx/>
                <a:uFillTx/>
                <a:latin typeface="Inter"/>
                <a:ea typeface="+mn-ea"/>
                <a:cs typeface="+mn-cs"/>
              </a:endParaRPr>
            </a:p>
          </p:txBody>
        </p:sp>
        <p:sp>
          <p:nvSpPr>
            <p:cNvPr id="132" name="Freeform 1340">
              <a:extLst>
                <a:ext uri="{FF2B5EF4-FFF2-40B4-BE49-F238E27FC236}">
                  <a16:creationId xmlns:a16="http://schemas.microsoft.com/office/drawing/2014/main" id="{C41A0602-A0B4-4F16-B25C-89B5896B4539}"/>
                </a:ext>
              </a:extLst>
            </p:cNvPr>
            <p:cNvSpPr>
              <a:spLocks/>
            </p:cNvSpPr>
            <p:nvPr/>
          </p:nvSpPr>
          <p:spPr bwMode="auto">
            <a:xfrm>
              <a:off x="8050808" y="2363287"/>
              <a:ext cx="298780" cy="508341"/>
            </a:xfrm>
            <a:custGeom>
              <a:avLst/>
              <a:gdLst>
                <a:gd name="T0" fmla="*/ 144 w 144"/>
                <a:gd name="T1" fmla="*/ 165 h 245"/>
                <a:gd name="T2" fmla="*/ 0 w 144"/>
                <a:gd name="T3" fmla="*/ 245 h 245"/>
                <a:gd name="T4" fmla="*/ 0 w 144"/>
                <a:gd name="T5" fmla="*/ 82 h 245"/>
                <a:gd name="T6" fmla="*/ 144 w 144"/>
                <a:gd name="T7" fmla="*/ 0 h 245"/>
                <a:gd name="T8" fmla="*/ 144 w 144"/>
                <a:gd name="T9" fmla="*/ 165 h 245"/>
              </a:gdLst>
              <a:ahLst/>
              <a:cxnLst>
                <a:cxn ang="0">
                  <a:pos x="T0" y="T1"/>
                </a:cxn>
                <a:cxn ang="0">
                  <a:pos x="T2" y="T3"/>
                </a:cxn>
                <a:cxn ang="0">
                  <a:pos x="T4" y="T5"/>
                </a:cxn>
                <a:cxn ang="0">
                  <a:pos x="T6" y="T7"/>
                </a:cxn>
                <a:cxn ang="0">
                  <a:pos x="T8" y="T9"/>
                </a:cxn>
              </a:cxnLst>
              <a:rect l="0" t="0" r="r" b="b"/>
              <a:pathLst>
                <a:path w="144" h="245">
                  <a:moveTo>
                    <a:pt x="144" y="165"/>
                  </a:moveTo>
                  <a:lnTo>
                    <a:pt x="0" y="245"/>
                  </a:lnTo>
                  <a:lnTo>
                    <a:pt x="0" y="82"/>
                  </a:lnTo>
                  <a:lnTo>
                    <a:pt x="144" y="0"/>
                  </a:lnTo>
                  <a:lnTo>
                    <a:pt x="144" y="165"/>
                  </a:lnTo>
                  <a:close/>
                </a:path>
              </a:pathLst>
            </a:custGeom>
            <a:solidFill>
              <a:schemeClr val="accent1">
                <a:lumMod val="60000"/>
                <a:lumOff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22222"/>
                </a:solidFill>
                <a:effectLst/>
                <a:uLnTx/>
                <a:uFillTx/>
                <a:latin typeface="Inter"/>
                <a:ea typeface="+mn-ea"/>
                <a:cs typeface="+mn-cs"/>
              </a:endParaRPr>
            </a:p>
          </p:txBody>
        </p:sp>
        <p:sp>
          <p:nvSpPr>
            <p:cNvPr id="133" name="Freeform 1341">
              <a:extLst>
                <a:ext uri="{FF2B5EF4-FFF2-40B4-BE49-F238E27FC236}">
                  <a16:creationId xmlns:a16="http://schemas.microsoft.com/office/drawing/2014/main" id="{719581FE-237E-41E4-A3EF-88C99102F55B}"/>
                </a:ext>
              </a:extLst>
            </p:cNvPr>
            <p:cNvSpPr>
              <a:spLocks/>
            </p:cNvSpPr>
            <p:nvPr/>
          </p:nvSpPr>
          <p:spPr bwMode="auto">
            <a:xfrm>
              <a:off x="7756178" y="2191074"/>
              <a:ext cx="593410" cy="342352"/>
            </a:xfrm>
            <a:custGeom>
              <a:avLst/>
              <a:gdLst>
                <a:gd name="T0" fmla="*/ 142 w 286"/>
                <a:gd name="T1" fmla="*/ 165 h 165"/>
                <a:gd name="T2" fmla="*/ 0 w 286"/>
                <a:gd name="T3" fmla="*/ 83 h 165"/>
                <a:gd name="T4" fmla="*/ 142 w 286"/>
                <a:gd name="T5" fmla="*/ 0 h 165"/>
                <a:gd name="T6" fmla="*/ 286 w 286"/>
                <a:gd name="T7" fmla="*/ 83 h 165"/>
                <a:gd name="T8" fmla="*/ 142 w 286"/>
                <a:gd name="T9" fmla="*/ 165 h 165"/>
              </a:gdLst>
              <a:ahLst/>
              <a:cxnLst>
                <a:cxn ang="0">
                  <a:pos x="T0" y="T1"/>
                </a:cxn>
                <a:cxn ang="0">
                  <a:pos x="T2" y="T3"/>
                </a:cxn>
                <a:cxn ang="0">
                  <a:pos x="T4" y="T5"/>
                </a:cxn>
                <a:cxn ang="0">
                  <a:pos x="T6" y="T7"/>
                </a:cxn>
                <a:cxn ang="0">
                  <a:pos x="T8" y="T9"/>
                </a:cxn>
              </a:cxnLst>
              <a:rect l="0" t="0" r="r" b="b"/>
              <a:pathLst>
                <a:path w="286" h="165">
                  <a:moveTo>
                    <a:pt x="142" y="165"/>
                  </a:moveTo>
                  <a:lnTo>
                    <a:pt x="0" y="83"/>
                  </a:lnTo>
                  <a:lnTo>
                    <a:pt x="142" y="0"/>
                  </a:lnTo>
                  <a:lnTo>
                    <a:pt x="286" y="83"/>
                  </a:lnTo>
                  <a:lnTo>
                    <a:pt x="142" y="165"/>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22222"/>
                </a:solidFill>
                <a:effectLst/>
                <a:uLnTx/>
                <a:uFillTx/>
                <a:latin typeface="Inter"/>
                <a:ea typeface="+mn-ea"/>
                <a:cs typeface="+mn-cs"/>
              </a:endParaRPr>
            </a:p>
          </p:txBody>
        </p:sp>
        <p:sp>
          <p:nvSpPr>
            <p:cNvPr id="134" name="Freeform 1344">
              <a:extLst>
                <a:ext uri="{FF2B5EF4-FFF2-40B4-BE49-F238E27FC236}">
                  <a16:creationId xmlns:a16="http://schemas.microsoft.com/office/drawing/2014/main" id="{00A20CFE-EC8C-47DD-90CB-9056EED5BFC8}"/>
                </a:ext>
              </a:extLst>
            </p:cNvPr>
            <p:cNvSpPr>
              <a:spLocks/>
            </p:cNvSpPr>
            <p:nvPr/>
          </p:nvSpPr>
          <p:spPr bwMode="auto">
            <a:xfrm>
              <a:off x="8137952" y="2580661"/>
              <a:ext cx="298780" cy="508341"/>
            </a:xfrm>
            <a:custGeom>
              <a:avLst/>
              <a:gdLst>
                <a:gd name="T0" fmla="*/ 144 w 144"/>
                <a:gd name="T1" fmla="*/ 245 h 245"/>
                <a:gd name="T2" fmla="*/ 0 w 144"/>
                <a:gd name="T3" fmla="*/ 163 h 245"/>
                <a:gd name="T4" fmla="*/ 0 w 144"/>
                <a:gd name="T5" fmla="*/ 0 h 245"/>
                <a:gd name="T6" fmla="*/ 144 w 144"/>
                <a:gd name="T7" fmla="*/ 80 h 245"/>
                <a:gd name="T8" fmla="*/ 144 w 144"/>
                <a:gd name="T9" fmla="*/ 245 h 245"/>
              </a:gdLst>
              <a:ahLst/>
              <a:cxnLst>
                <a:cxn ang="0">
                  <a:pos x="T0" y="T1"/>
                </a:cxn>
                <a:cxn ang="0">
                  <a:pos x="T2" y="T3"/>
                </a:cxn>
                <a:cxn ang="0">
                  <a:pos x="T4" y="T5"/>
                </a:cxn>
                <a:cxn ang="0">
                  <a:pos x="T6" y="T7"/>
                </a:cxn>
                <a:cxn ang="0">
                  <a:pos x="T8" y="T9"/>
                </a:cxn>
              </a:cxnLst>
              <a:rect l="0" t="0" r="r" b="b"/>
              <a:pathLst>
                <a:path w="144" h="245">
                  <a:moveTo>
                    <a:pt x="144" y="245"/>
                  </a:moveTo>
                  <a:lnTo>
                    <a:pt x="0" y="163"/>
                  </a:lnTo>
                  <a:lnTo>
                    <a:pt x="0" y="0"/>
                  </a:lnTo>
                  <a:lnTo>
                    <a:pt x="144" y="80"/>
                  </a:lnTo>
                  <a:lnTo>
                    <a:pt x="144" y="245"/>
                  </a:ln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22222"/>
                </a:solidFill>
                <a:effectLst/>
                <a:uLnTx/>
                <a:uFillTx/>
                <a:latin typeface="Inter"/>
                <a:ea typeface="+mn-ea"/>
                <a:cs typeface="+mn-cs"/>
              </a:endParaRPr>
            </a:p>
          </p:txBody>
        </p:sp>
        <p:sp>
          <p:nvSpPr>
            <p:cNvPr id="135" name="Freeform 1345">
              <a:extLst>
                <a:ext uri="{FF2B5EF4-FFF2-40B4-BE49-F238E27FC236}">
                  <a16:creationId xmlns:a16="http://schemas.microsoft.com/office/drawing/2014/main" id="{231DA6BE-94ED-45DF-846A-33B3864A243D}"/>
                </a:ext>
              </a:extLst>
            </p:cNvPr>
            <p:cNvSpPr>
              <a:spLocks/>
            </p:cNvSpPr>
            <p:nvPr/>
          </p:nvSpPr>
          <p:spPr bwMode="auto">
            <a:xfrm>
              <a:off x="8436732" y="2583222"/>
              <a:ext cx="294630" cy="508341"/>
            </a:xfrm>
            <a:custGeom>
              <a:avLst/>
              <a:gdLst>
                <a:gd name="T0" fmla="*/ 142 w 142"/>
                <a:gd name="T1" fmla="*/ 163 h 245"/>
                <a:gd name="T2" fmla="*/ 0 w 142"/>
                <a:gd name="T3" fmla="*/ 245 h 245"/>
                <a:gd name="T4" fmla="*/ 0 w 142"/>
                <a:gd name="T5" fmla="*/ 80 h 245"/>
                <a:gd name="T6" fmla="*/ 142 w 142"/>
                <a:gd name="T7" fmla="*/ 0 h 245"/>
                <a:gd name="T8" fmla="*/ 142 w 142"/>
                <a:gd name="T9" fmla="*/ 163 h 245"/>
              </a:gdLst>
              <a:ahLst/>
              <a:cxnLst>
                <a:cxn ang="0">
                  <a:pos x="T0" y="T1"/>
                </a:cxn>
                <a:cxn ang="0">
                  <a:pos x="T2" y="T3"/>
                </a:cxn>
                <a:cxn ang="0">
                  <a:pos x="T4" y="T5"/>
                </a:cxn>
                <a:cxn ang="0">
                  <a:pos x="T6" y="T7"/>
                </a:cxn>
                <a:cxn ang="0">
                  <a:pos x="T8" y="T9"/>
                </a:cxn>
              </a:cxnLst>
              <a:rect l="0" t="0" r="r" b="b"/>
              <a:pathLst>
                <a:path w="142" h="245">
                  <a:moveTo>
                    <a:pt x="142" y="163"/>
                  </a:moveTo>
                  <a:lnTo>
                    <a:pt x="0" y="245"/>
                  </a:lnTo>
                  <a:lnTo>
                    <a:pt x="0" y="80"/>
                  </a:lnTo>
                  <a:lnTo>
                    <a:pt x="142" y="0"/>
                  </a:lnTo>
                  <a:lnTo>
                    <a:pt x="142" y="163"/>
                  </a:lnTo>
                  <a:close/>
                </a:path>
              </a:pathLst>
            </a:custGeom>
            <a:solidFill>
              <a:schemeClr val="accent1">
                <a:lumMod val="60000"/>
                <a:lumOff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22222"/>
                </a:solidFill>
                <a:effectLst/>
                <a:uLnTx/>
                <a:uFillTx/>
                <a:latin typeface="Inter"/>
                <a:ea typeface="+mn-ea"/>
                <a:cs typeface="+mn-cs"/>
              </a:endParaRPr>
            </a:p>
          </p:txBody>
        </p:sp>
        <p:sp>
          <p:nvSpPr>
            <p:cNvPr id="136" name="Freeform 1346">
              <a:extLst>
                <a:ext uri="{FF2B5EF4-FFF2-40B4-BE49-F238E27FC236}">
                  <a16:creationId xmlns:a16="http://schemas.microsoft.com/office/drawing/2014/main" id="{B91B9D1D-7FFE-44B7-B226-C6BACEAB5980}"/>
                </a:ext>
              </a:extLst>
            </p:cNvPr>
            <p:cNvSpPr>
              <a:spLocks/>
            </p:cNvSpPr>
            <p:nvPr/>
          </p:nvSpPr>
          <p:spPr bwMode="auto">
            <a:xfrm>
              <a:off x="8140333" y="2413390"/>
              <a:ext cx="593410" cy="338203"/>
            </a:xfrm>
            <a:custGeom>
              <a:avLst/>
              <a:gdLst>
                <a:gd name="T0" fmla="*/ 144 w 286"/>
                <a:gd name="T1" fmla="*/ 163 h 163"/>
                <a:gd name="T2" fmla="*/ 0 w 286"/>
                <a:gd name="T3" fmla="*/ 83 h 163"/>
                <a:gd name="T4" fmla="*/ 144 w 286"/>
                <a:gd name="T5" fmla="*/ 0 h 163"/>
                <a:gd name="T6" fmla="*/ 286 w 286"/>
                <a:gd name="T7" fmla="*/ 83 h 163"/>
                <a:gd name="T8" fmla="*/ 144 w 286"/>
                <a:gd name="T9" fmla="*/ 163 h 163"/>
              </a:gdLst>
              <a:ahLst/>
              <a:cxnLst>
                <a:cxn ang="0">
                  <a:pos x="T0" y="T1"/>
                </a:cxn>
                <a:cxn ang="0">
                  <a:pos x="T2" y="T3"/>
                </a:cxn>
                <a:cxn ang="0">
                  <a:pos x="T4" y="T5"/>
                </a:cxn>
                <a:cxn ang="0">
                  <a:pos x="T6" y="T7"/>
                </a:cxn>
                <a:cxn ang="0">
                  <a:pos x="T8" y="T9"/>
                </a:cxn>
              </a:cxnLst>
              <a:rect l="0" t="0" r="r" b="b"/>
              <a:pathLst>
                <a:path w="286" h="163">
                  <a:moveTo>
                    <a:pt x="144" y="163"/>
                  </a:moveTo>
                  <a:lnTo>
                    <a:pt x="0" y="83"/>
                  </a:lnTo>
                  <a:lnTo>
                    <a:pt x="144" y="0"/>
                  </a:lnTo>
                  <a:lnTo>
                    <a:pt x="286" y="83"/>
                  </a:lnTo>
                  <a:lnTo>
                    <a:pt x="144" y="163"/>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22222"/>
                </a:solidFill>
                <a:effectLst/>
                <a:uLnTx/>
                <a:uFillTx/>
                <a:latin typeface="Inter"/>
                <a:ea typeface="+mn-ea"/>
                <a:cs typeface="+mn-cs"/>
              </a:endParaRPr>
            </a:p>
          </p:txBody>
        </p:sp>
        <p:sp>
          <p:nvSpPr>
            <p:cNvPr id="137" name="Freeform 1349">
              <a:extLst>
                <a:ext uri="{FF2B5EF4-FFF2-40B4-BE49-F238E27FC236}">
                  <a16:creationId xmlns:a16="http://schemas.microsoft.com/office/drawing/2014/main" id="{E6B1A9D8-974C-4D46-8429-150224609E81}"/>
                </a:ext>
              </a:extLst>
            </p:cNvPr>
            <p:cNvSpPr>
              <a:spLocks/>
            </p:cNvSpPr>
            <p:nvPr/>
          </p:nvSpPr>
          <p:spPr bwMode="auto">
            <a:xfrm>
              <a:off x="8525950" y="2799007"/>
              <a:ext cx="292556" cy="514565"/>
            </a:xfrm>
            <a:custGeom>
              <a:avLst/>
              <a:gdLst>
                <a:gd name="T0" fmla="*/ 141 w 141"/>
                <a:gd name="T1" fmla="*/ 248 h 248"/>
                <a:gd name="T2" fmla="*/ 0 w 141"/>
                <a:gd name="T3" fmla="*/ 165 h 248"/>
                <a:gd name="T4" fmla="*/ 0 w 141"/>
                <a:gd name="T5" fmla="*/ 0 h 248"/>
                <a:gd name="T6" fmla="*/ 141 w 141"/>
                <a:gd name="T7" fmla="*/ 82 h 248"/>
                <a:gd name="T8" fmla="*/ 141 w 141"/>
                <a:gd name="T9" fmla="*/ 248 h 248"/>
              </a:gdLst>
              <a:ahLst/>
              <a:cxnLst>
                <a:cxn ang="0">
                  <a:pos x="T0" y="T1"/>
                </a:cxn>
                <a:cxn ang="0">
                  <a:pos x="T2" y="T3"/>
                </a:cxn>
                <a:cxn ang="0">
                  <a:pos x="T4" y="T5"/>
                </a:cxn>
                <a:cxn ang="0">
                  <a:pos x="T6" y="T7"/>
                </a:cxn>
                <a:cxn ang="0">
                  <a:pos x="T8" y="T9"/>
                </a:cxn>
              </a:cxnLst>
              <a:rect l="0" t="0" r="r" b="b"/>
              <a:pathLst>
                <a:path w="141" h="248">
                  <a:moveTo>
                    <a:pt x="141" y="248"/>
                  </a:moveTo>
                  <a:lnTo>
                    <a:pt x="0" y="165"/>
                  </a:lnTo>
                  <a:lnTo>
                    <a:pt x="0" y="0"/>
                  </a:lnTo>
                  <a:lnTo>
                    <a:pt x="141" y="82"/>
                  </a:lnTo>
                  <a:lnTo>
                    <a:pt x="141" y="248"/>
                  </a:ln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22222"/>
                </a:solidFill>
                <a:effectLst/>
                <a:uLnTx/>
                <a:uFillTx/>
                <a:latin typeface="Inter"/>
                <a:ea typeface="+mn-ea"/>
                <a:cs typeface="+mn-cs"/>
              </a:endParaRPr>
            </a:p>
          </p:txBody>
        </p:sp>
        <p:sp>
          <p:nvSpPr>
            <p:cNvPr id="138" name="Freeform 1350">
              <a:extLst>
                <a:ext uri="{FF2B5EF4-FFF2-40B4-BE49-F238E27FC236}">
                  <a16:creationId xmlns:a16="http://schemas.microsoft.com/office/drawing/2014/main" id="{29A20D35-65ED-47B5-95F3-8B2AA4455522}"/>
                </a:ext>
              </a:extLst>
            </p:cNvPr>
            <p:cNvSpPr>
              <a:spLocks/>
            </p:cNvSpPr>
            <p:nvPr/>
          </p:nvSpPr>
          <p:spPr bwMode="auto">
            <a:xfrm>
              <a:off x="8818506" y="2796446"/>
              <a:ext cx="294630" cy="514565"/>
            </a:xfrm>
            <a:custGeom>
              <a:avLst/>
              <a:gdLst>
                <a:gd name="T0" fmla="*/ 142 w 142"/>
                <a:gd name="T1" fmla="*/ 165 h 248"/>
                <a:gd name="T2" fmla="*/ 0 w 142"/>
                <a:gd name="T3" fmla="*/ 248 h 248"/>
                <a:gd name="T4" fmla="*/ 0 w 142"/>
                <a:gd name="T5" fmla="*/ 82 h 248"/>
                <a:gd name="T6" fmla="*/ 142 w 142"/>
                <a:gd name="T7" fmla="*/ 0 h 248"/>
                <a:gd name="T8" fmla="*/ 142 w 142"/>
                <a:gd name="T9" fmla="*/ 165 h 248"/>
              </a:gdLst>
              <a:ahLst/>
              <a:cxnLst>
                <a:cxn ang="0">
                  <a:pos x="T0" y="T1"/>
                </a:cxn>
                <a:cxn ang="0">
                  <a:pos x="T2" y="T3"/>
                </a:cxn>
                <a:cxn ang="0">
                  <a:pos x="T4" y="T5"/>
                </a:cxn>
                <a:cxn ang="0">
                  <a:pos x="T6" y="T7"/>
                </a:cxn>
                <a:cxn ang="0">
                  <a:pos x="T8" y="T9"/>
                </a:cxn>
              </a:cxnLst>
              <a:rect l="0" t="0" r="r" b="b"/>
              <a:pathLst>
                <a:path w="142" h="248">
                  <a:moveTo>
                    <a:pt x="142" y="165"/>
                  </a:moveTo>
                  <a:lnTo>
                    <a:pt x="0" y="248"/>
                  </a:lnTo>
                  <a:lnTo>
                    <a:pt x="0" y="82"/>
                  </a:lnTo>
                  <a:lnTo>
                    <a:pt x="142" y="0"/>
                  </a:lnTo>
                  <a:lnTo>
                    <a:pt x="142" y="165"/>
                  </a:lnTo>
                  <a:close/>
                </a:path>
              </a:pathLst>
            </a:custGeom>
            <a:solidFill>
              <a:schemeClr val="accent1">
                <a:lumMod val="60000"/>
                <a:lumOff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22222"/>
                </a:solidFill>
                <a:effectLst/>
                <a:uLnTx/>
                <a:uFillTx/>
                <a:latin typeface="Inter"/>
                <a:ea typeface="+mn-ea"/>
                <a:cs typeface="+mn-cs"/>
              </a:endParaRPr>
            </a:p>
          </p:txBody>
        </p:sp>
        <p:sp>
          <p:nvSpPr>
            <p:cNvPr id="139" name="Freeform 1351">
              <a:extLst>
                <a:ext uri="{FF2B5EF4-FFF2-40B4-BE49-F238E27FC236}">
                  <a16:creationId xmlns:a16="http://schemas.microsoft.com/office/drawing/2014/main" id="{3EA38BF2-494C-4CB0-9FFE-4DCEAAA3EB4F}"/>
                </a:ext>
              </a:extLst>
            </p:cNvPr>
            <p:cNvSpPr>
              <a:spLocks/>
            </p:cNvSpPr>
            <p:nvPr/>
          </p:nvSpPr>
          <p:spPr bwMode="auto">
            <a:xfrm>
              <a:off x="8525950" y="2633019"/>
              <a:ext cx="587186" cy="336127"/>
            </a:xfrm>
            <a:custGeom>
              <a:avLst/>
              <a:gdLst>
                <a:gd name="T0" fmla="*/ 141 w 283"/>
                <a:gd name="T1" fmla="*/ 162 h 162"/>
                <a:gd name="T2" fmla="*/ 0 w 283"/>
                <a:gd name="T3" fmla="*/ 80 h 162"/>
                <a:gd name="T4" fmla="*/ 141 w 283"/>
                <a:gd name="T5" fmla="*/ 0 h 162"/>
                <a:gd name="T6" fmla="*/ 283 w 283"/>
                <a:gd name="T7" fmla="*/ 80 h 162"/>
                <a:gd name="T8" fmla="*/ 141 w 283"/>
                <a:gd name="T9" fmla="*/ 162 h 162"/>
              </a:gdLst>
              <a:ahLst/>
              <a:cxnLst>
                <a:cxn ang="0">
                  <a:pos x="T0" y="T1"/>
                </a:cxn>
                <a:cxn ang="0">
                  <a:pos x="T2" y="T3"/>
                </a:cxn>
                <a:cxn ang="0">
                  <a:pos x="T4" y="T5"/>
                </a:cxn>
                <a:cxn ang="0">
                  <a:pos x="T6" y="T7"/>
                </a:cxn>
                <a:cxn ang="0">
                  <a:pos x="T8" y="T9"/>
                </a:cxn>
              </a:cxnLst>
              <a:rect l="0" t="0" r="r" b="b"/>
              <a:pathLst>
                <a:path w="283" h="162">
                  <a:moveTo>
                    <a:pt x="141" y="162"/>
                  </a:moveTo>
                  <a:lnTo>
                    <a:pt x="0" y="80"/>
                  </a:lnTo>
                  <a:lnTo>
                    <a:pt x="141" y="0"/>
                  </a:lnTo>
                  <a:lnTo>
                    <a:pt x="283" y="80"/>
                  </a:lnTo>
                  <a:lnTo>
                    <a:pt x="141" y="162"/>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22222"/>
                </a:solidFill>
                <a:effectLst/>
                <a:uLnTx/>
                <a:uFillTx/>
                <a:latin typeface="Inter"/>
                <a:ea typeface="+mn-ea"/>
                <a:cs typeface="+mn-cs"/>
              </a:endParaRPr>
            </a:p>
          </p:txBody>
        </p:sp>
        <p:sp>
          <p:nvSpPr>
            <p:cNvPr id="140" name="Freeform 1354">
              <a:extLst>
                <a:ext uri="{FF2B5EF4-FFF2-40B4-BE49-F238E27FC236}">
                  <a16:creationId xmlns:a16="http://schemas.microsoft.com/office/drawing/2014/main" id="{27013152-72BA-486A-966F-295F0253DA61}"/>
                </a:ext>
              </a:extLst>
            </p:cNvPr>
            <p:cNvSpPr>
              <a:spLocks/>
            </p:cNvSpPr>
            <p:nvPr/>
          </p:nvSpPr>
          <p:spPr bwMode="auto">
            <a:xfrm>
              <a:off x="7374404" y="2597747"/>
              <a:ext cx="294630" cy="508341"/>
            </a:xfrm>
            <a:custGeom>
              <a:avLst/>
              <a:gdLst>
                <a:gd name="T0" fmla="*/ 142 w 142"/>
                <a:gd name="T1" fmla="*/ 245 h 245"/>
                <a:gd name="T2" fmla="*/ 0 w 142"/>
                <a:gd name="T3" fmla="*/ 163 h 245"/>
                <a:gd name="T4" fmla="*/ 0 w 142"/>
                <a:gd name="T5" fmla="*/ 0 h 245"/>
                <a:gd name="T6" fmla="*/ 142 w 142"/>
                <a:gd name="T7" fmla="*/ 80 h 245"/>
                <a:gd name="T8" fmla="*/ 142 w 142"/>
                <a:gd name="T9" fmla="*/ 245 h 245"/>
              </a:gdLst>
              <a:ahLst/>
              <a:cxnLst>
                <a:cxn ang="0">
                  <a:pos x="T0" y="T1"/>
                </a:cxn>
                <a:cxn ang="0">
                  <a:pos x="T2" y="T3"/>
                </a:cxn>
                <a:cxn ang="0">
                  <a:pos x="T4" y="T5"/>
                </a:cxn>
                <a:cxn ang="0">
                  <a:pos x="T6" y="T7"/>
                </a:cxn>
                <a:cxn ang="0">
                  <a:pos x="T8" y="T9"/>
                </a:cxn>
              </a:cxnLst>
              <a:rect l="0" t="0" r="r" b="b"/>
              <a:pathLst>
                <a:path w="142" h="245">
                  <a:moveTo>
                    <a:pt x="142" y="245"/>
                  </a:moveTo>
                  <a:lnTo>
                    <a:pt x="0" y="163"/>
                  </a:lnTo>
                  <a:lnTo>
                    <a:pt x="0" y="0"/>
                  </a:lnTo>
                  <a:lnTo>
                    <a:pt x="142" y="80"/>
                  </a:lnTo>
                  <a:lnTo>
                    <a:pt x="142" y="245"/>
                  </a:ln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22222"/>
                </a:solidFill>
                <a:effectLst/>
                <a:uLnTx/>
                <a:uFillTx/>
                <a:latin typeface="Inter"/>
                <a:ea typeface="+mn-ea"/>
                <a:cs typeface="+mn-cs"/>
              </a:endParaRPr>
            </a:p>
          </p:txBody>
        </p:sp>
        <p:sp>
          <p:nvSpPr>
            <p:cNvPr id="141" name="Freeform 1355">
              <a:extLst>
                <a:ext uri="{FF2B5EF4-FFF2-40B4-BE49-F238E27FC236}">
                  <a16:creationId xmlns:a16="http://schemas.microsoft.com/office/drawing/2014/main" id="{7F5A7FA9-D929-45BE-86C7-9378531BE19A}"/>
                </a:ext>
              </a:extLst>
            </p:cNvPr>
            <p:cNvSpPr>
              <a:spLocks/>
            </p:cNvSpPr>
            <p:nvPr/>
          </p:nvSpPr>
          <p:spPr bwMode="auto">
            <a:xfrm>
              <a:off x="7669034" y="2595186"/>
              <a:ext cx="294630" cy="508341"/>
            </a:xfrm>
            <a:custGeom>
              <a:avLst/>
              <a:gdLst>
                <a:gd name="T0" fmla="*/ 142 w 142"/>
                <a:gd name="T1" fmla="*/ 163 h 245"/>
                <a:gd name="T2" fmla="*/ 0 w 142"/>
                <a:gd name="T3" fmla="*/ 245 h 245"/>
                <a:gd name="T4" fmla="*/ 0 w 142"/>
                <a:gd name="T5" fmla="*/ 80 h 245"/>
                <a:gd name="T6" fmla="*/ 142 w 142"/>
                <a:gd name="T7" fmla="*/ 0 h 245"/>
                <a:gd name="T8" fmla="*/ 142 w 142"/>
                <a:gd name="T9" fmla="*/ 163 h 245"/>
              </a:gdLst>
              <a:ahLst/>
              <a:cxnLst>
                <a:cxn ang="0">
                  <a:pos x="T0" y="T1"/>
                </a:cxn>
                <a:cxn ang="0">
                  <a:pos x="T2" y="T3"/>
                </a:cxn>
                <a:cxn ang="0">
                  <a:pos x="T4" y="T5"/>
                </a:cxn>
                <a:cxn ang="0">
                  <a:pos x="T6" y="T7"/>
                </a:cxn>
                <a:cxn ang="0">
                  <a:pos x="T8" y="T9"/>
                </a:cxn>
              </a:cxnLst>
              <a:rect l="0" t="0" r="r" b="b"/>
              <a:pathLst>
                <a:path w="142" h="245">
                  <a:moveTo>
                    <a:pt x="142" y="163"/>
                  </a:moveTo>
                  <a:lnTo>
                    <a:pt x="0" y="245"/>
                  </a:lnTo>
                  <a:lnTo>
                    <a:pt x="0" y="80"/>
                  </a:lnTo>
                  <a:lnTo>
                    <a:pt x="142" y="0"/>
                  </a:lnTo>
                  <a:lnTo>
                    <a:pt x="142" y="163"/>
                  </a:lnTo>
                  <a:close/>
                </a:path>
              </a:pathLst>
            </a:custGeom>
            <a:solidFill>
              <a:schemeClr val="accent1">
                <a:lumMod val="60000"/>
                <a:lumOff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22222"/>
                </a:solidFill>
                <a:effectLst/>
                <a:uLnTx/>
                <a:uFillTx/>
                <a:latin typeface="Inter"/>
                <a:ea typeface="+mn-ea"/>
                <a:cs typeface="+mn-cs"/>
              </a:endParaRPr>
            </a:p>
          </p:txBody>
        </p:sp>
        <p:sp>
          <p:nvSpPr>
            <p:cNvPr id="142" name="Freeform 1356">
              <a:extLst>
                <a:ext uri="{FF2B5EF4-FFF2-40B4-BE49-F238E27FC236}">
                  <a16:creationId xmlns:a16="http://schemas.microsoft.com/office/drawing/2014/main" id="{2C0967AB-CDCC-4D44-97B8-AA3F5AA6502D}"/>
                </a:ext>
              </a:extLst>
            </p:cNvPr>
            <p:cNvSpPr>
              <a:spLocks/>
            </p:cNvSpPr>
            <p:nvPr/>
          </p:nvSpPr>
          <p:spPr bwMode="auto">
            <a:xfrm>
              <a:off x="7374404" y="2427914"/>
              <a:ext cx="589260" cy="338203"/>
            </a:xfrm>
            <a:custGeom>
              <a:avLst/>
              <a:gdLst>
                <a:gd name="T0" fmla="*/ 142 w 284"/>
                <a:gd name="T1" fmla="*/ 163 h 163"/>
                <a:gd name="T2" fmla="*/ 0 w 284"/>
                <a:gd name="T3" fmla="*/ 83 h 163"/>
                <a:gd name="T4" fmla="*/ 142 w 284"/>
                <a:gd name="T5" fmla="*/ 0 h 163"/>
                <a:gd name="T6" fmla="*/ 284 w 284"/>
                <a:gd name="T7" fmla="*/ 83 h 163"/>
                <a:gd name="T8" fmla="*/ 142 w 284"/>
                <a:gd name="T9" fmla="*/ 163 h 163"/>
              </a:gdLst>
              <a:ahLst/>
              <a:cxnLst>
                <a:cxn ang="0">
                  <a:pos x="T0" y="T1"/>
                </a:cxn>
                <a:cxn ang="0">
                  <a:pos x="T2" y="T3"/>
                </a:cxn>
                <a:cxn ang="0">
                  <a:pos x="T4" y="T5"/>
                </a:cxn>
                <a:cxn ang="0">
                  <a:pos x="T6" y="T7"/>
                </a:cxn>
                <a:cxn ang="0">
                  <a:pos x="T8" y="T9"/>
                </a:cxn>
              </a:cxnLst>
              <a:rect l="0" t="0" r="r" b="b"/>
              <a:pathLst>
                <a:path w="284" h="163">
                  <a:moveTo>
                    <a:pt x="142" y="163"/>
                  </a:moveTo>
                  <a:lnTo>
                    <a:pt x="0" y="83"/>
                  </a:lnTo>
                  <a:lnTo>
                    <a:pt x="142" y="0"/>
                  </a:lnTo>
                  <a:lnTo>
                    <a:pt x="284" y="83"/>
                  </a:lnTo>
                  <a:lnTo>
                    <a:pt x="142" y="163"/>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22222"/>
                </a:solidFill>
                <a:effectLst/>
                <a:uLnTx/>
                <a:uFillTx/>
                <a:latin typeface="Inter"/>
                <a:ea typeface="+mn-ea"/>
                <a:cs typeface="+mn-cs"/>
              </a:endParaRPr>
            </a:p>
          </p:txBody>
        </p:sp>
        <p:sp>
          <p:nvSpPr>
            <p:cNvPr id="143" name="Freeform 1359">
              <a:extLst>
                <a:ext uri="{FF2B5EF4-FFF2-40B4-BE49-F238E27FC236}">
                  <a16:creationId xmlns:a16="http://schemas.microsoft.com/office/drawing/2014/main" id="{E28A3BD9-49BF-4E3C-A9EA-11E8E60DA6CE}"/>
                </a:ext>
              </a:extLst>
            </p:cNvPr>
            <p:cNvSpPr>
              <a:spLocks/>
            </p:cNvSpPr>
            <p:nvPr/>
          </p:nvSpPr>
          <p:spPr bwMode="auto">
            <a:xfrm>
              <a:off x="6992630" y="2824880"/>
              <a:ext cx="294630" cy="514565"/>
            </a:xfrm>
            <a:custGeom>
              <a:avLst/>
              <a:gdLst>
                <a:gd name="T0" fmla="*/ 142 w 142"/>
                <a:gd name="T1" fmla="*/ 248 h 248"/>
                <a:gd name="T2" fmla="*/ 0 w 142"/>
                <a:gd name="T3" fmla="*/ 165 h 248"/>
                <a:gd name="T4" fmla="*/ 0 w 142"/>
                <a:gd name="T5" fmla="*/ 0 h 248"/>
                <a:gd name="T6" fmla="*/ 142 w 142"/>
                <a:gd name="T7" fmla="*/ 82 h 248"/>
                <a:gd name="T8" fmla="*/ 142 w 142"/>
                <a:gd name="T9" fmla="*/ 248 h 248"/>
              </a:gdLst>
              <a:ahLst/>
              <a:cxnLst>
                <a:cxn ang="0">
                  <a:pos x="T0" y="T1"/>
                </a:cxn>
                <a:cxn ang="0">
                  <a:pos x="T2" y="T3"/>
                </a:cxn>
                <a:cxn ang="0">
                  <a:pos x="T4" y="T5"/>
                </a:cxn>
                <a:cxn ang="0">
                  <a:pos x="T6" y="T7"/>
                </a:cxn>
                <a:cxn ang="0">
                  <a:pos x="T8" y="T9"/>
                </a:cxn>
              </a:cxnLst>
              <a:rect l="0" t="0" r="r" b="b"/>
              <a:pathLst>
                <a:path w="142" h="248">
                  <a:moveTo>
                    <a:pt x="142" y="248"/>
                  </a:moveTo>
                  <a:lnTo>
                    <a:pt x="0" y="165"/>
                  </a:lnTo>
                  <a:lnTo>
                    <a:pt x="0" y="0"/>
                  </a:lnTo>
                  <a:lnTo>
                    <a:pt x="142" y="82"/>
                  </a:lnTo>
                  <a:lnTo>
                    <a:pt x="142" y="248"/>
                  </a:ln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22222"/>
                </a:solidFill>
                <a:effectLst/>
                <a:uLnTx/>
                <a:uFillTx/>
                <a:latin typeface="Inter"/>
                <a:ea typeface="+mn-ea"/>
                <a:cs typeface="+mn-cs"/>
              </a:endParaRPr>
            </a:p>
          </p:txBody>
        </p:sp>
        <p:sp>
          <p:nvSpPr>
            <p:cNvPr id="144" name="Freeform 1360">
              <a:extLst>
                <a:ext uri="{FF2B5EF4-FFF2-40B4-BE49-F238E27FC236}">
                  <a16:creationId xmlns:a16="http://schemas.microsoft.com/office/drawing/2014/main" id="{BCCBA61A-34F2-4B9A-AF6D-916DB0354B5D}"/>
                </a:ext>
              </a:extLst>
            </p:cNvPr>
            <p:cNvSpPr>
              <a:spLocks/>
            </p:cNvSpPr>
            <p:nvPr/>
          </p:nvSpPr>
          <p:spPr bwMode="auto">
            <a:xfrm>
              <a:off x="7287260" y="2825494"/>
              <a:ext cx="292556" cy="514565"/>
            </a:xfrm>
            <a:custGeom>
              <a:avLst/>
              <a:gdLst>
                <a:gd name="T0" fmla="*/ 141 w 141"/>
                <a:gd name="T1" fmla="*/ 165 h 248"/>
                <a:gd name="T2" fmla="*/ 0 w 141"/>
                <a:gd name="T3" fmla="*/ 248 h 248"/>
                <a:gd name="T4" fmla="*/ 0 w 141"/>
                <a:gd name="T5" fmla="*/ 82 h 248"/>
                <a:gd name="T6" fmla="*/ 141 w 141"/>
                <a:gd name="T7" fmla="*/ 0 h 248"/>
                <a:gd name="T8" fmla="*/ 141 w 141"/>
                <a:gd name="T9" fmla="*/ 165 h 248"/>
              </a:gdLst>
              <a:ahLst/>
              <a:cxnLst>
                <a:cxn ang="0">
                  <a:pos x="T0" y="T1"/>
                </a:cxn>
                <a:cxn ang="0">
                  <a:pos x="T2" y="T3"/>
                </a:cxn>
                <a:cxn ang="0">
                  <a:pos x="T4" y="T5"/>
                </a:cxn>
                <a:cxn ang="0">
                  <a:pos x="T6" y="T7"/>
                </a:cxn>
                <a:cxn ang="0">
                  <a:pos x="T8" y="T9"/>
                </a:cxn>
              </a:cxnLst>
              <a:rect l="0" t="0" r="r" b="b"/>
              <a:pathLst>
                <a:path w="141" h="248">
                  <a:moveTo>
                    <a:pt x="141" y="165"/>
                  </a:moveTo>
                  <a:lnTo>
                    <a:pt x="0" y="248"/>
                  </a:lnTo>
                  <a:lnTo>
                    <a:pt x="0" y="82"/>
                  </a:lnTo>
                  <a:lnTo>
                    <a:pt x="141" y="0"/>
                  </a:lnTo>
                  <a:lnTo>
                    <a:pt x="141" y="165"/>
                  </a:lnTo>
                  <a:close/>
                </a:path>
              </a:pathLst>
            </a:custGeom>
            <a:solidFill>
              <a:schemeClr val="accent1">
                <a:lumMod val="60000"/>
                <a:lumOff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22222"/>
                </a:solidFill>
                <a:effectLst/>
                <a:uLnTx/>
                <a:uFillTx/>
                <a:latin typeface="Inter"/>
                <a:ea typeface="+mn-ea"/>
                <a:cs typeface="+mn-cs"/>
              </a:endParaRPr>
            </a:p>
          </p:txBody>
        </p:sp>
        <p:sp>
          <p:nvSpPr>
            <p:cNvPr id="145" name="Freeform 1361">
              <a:extLst>
                <a:ext uri="{FF2B5EF4-FFF2-40B4-BE49-F238E27FC236}">
                  <a16:creationId xmlns:a16="http://schemas.microsoft.com/office/drawing/2014/main" id="{FC40B9DA-1130-4336-84D5-60DC5A1C16E2}"/>
                </a:ext>
              </a:extLst>
            </p:cNvPr>
            <p:cNvSpPr>
              <a:spLocks/>
            </p:cNvSpPr>
            <p:nvPr/>
          </p:nvSpPr>
          <p:spPr bwMode="auto">
            <a:xfrm>
              <a:off x="6992630" y="2662067"/>
              <a:ext cx="587186" cy="336127"/>
            </a:xfrm>
            <a:custGeom>
              <a:avLst/>
              <a:gdLst>
                <a:gd name="T0" fmla="*/ 142 w 283"/>
                <a:gd name="T1" fmla="*/ 162 h 162"/>
                <a:gd name="T2" fmla="*/ 0 w 283"/>
                <a:gd name="T3" fmla="*/ 80 h 162"/>
                <a:gd name="T4" fmla="*/ 142 w 283"/>
                <a:gd name="T5" fmla="*/ 0 h 162"/>
                <a:gd name="T6" fmla="*/ 283 w 283"/>
                <a:gd name="T7" fmla="*/ 80 h 162"/>
                <a:gd name="T8" fmla="*/ 142 w 283"/>
                <a:gd name="T9" fmla="*/ 162 h 162"/>
              </a:gdLst>
              <a:ahLst/>
              <a:cxnLst>
                <a:cxn ang="0">
                  <a:pos x="T0" y="T1"/>
                </a:cxn>
                <a:cxn ang="0">
                  <a:pos x="T2" y="T3"/>
                </a:cxn>
                <a:cxn ang="0">
                  <a:pos x="T4" y="T5"/>
                </a:cxn>
                <a:cxn ang="0">
                  <a:pos x="T6" y="T7"/>
                </a:cxn>
                <a:cxn ang="0">
                  <a:pos x="T8" y="T9"/>
                </a:cxn>
              </a:cxnLst>
              <a:rect l="0" t="0" r="r" b="b"/>
              <a:pathLst>
                <a:path w="283" h="162">
                  <a:moveTo>
                    <a:pt x="142" y="162"/>
                  </a:moveTo>
                  <a:lnTo>
                    <a:pt x="0" y="80"/>
                  </a:lnTo>
                  <a:lnTo>
                    <a:pt x="142" y="0"/>
                  </a:lnTo>
                  <a:lnTo>
                    <a:pt x="283" y="80"/>
                  </a:lnTo>
                  <a:lnTo>
                    <a:pt x="142" y="162"/>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22222"/>
                </a:solidFill>
                <a:effectLst/>
                <a:uLnTx/>
                <a:uFillTx/>
                <a:latin typeface="Inter"/>
                <a:ea typeface="+mn-ea"/>
                <a:cs typeface="+mn-cs"/>
              </a:endParaRPr>
            </a:p>
          </p:txBody>
        </p:sp>
      </p:grpSp>
      <p:cxnSp>
        <p:nvCxnSpPr>
          <p:cNvPr id="147" name="Straight Connector 239">
            <a:extLst>
              <a:ext uri="{FF2B5EF4-FFF2-40B4-BE49-F238E27FC236}">
                <a16:creationId xmlns:a16="http://schemas.microsoft.com/office/drawing/2014/main" id="{DD94D012-0B8A-4FBD-BBFE-D629EAA9D4DA}"/>
              </a:ext>
            </a:extLst>
          </p:cNvPr>
          <p:cNvCxnSpPr/>
          <p:nvPr/>
        </p:nvCxnSpPr>
        <p:spPr>
          <a:xfrm>
            <a:off x="1076008" y="2712909"/>
            <a:ext cx="970082" cy="0"/>
          </a:xfrm>
          <a:prstGeom prst="line">
            <a:avLst/>
          </a:prstGeom>
          <a:ln w="508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49" name="TextBox 26">
            <a:extLst>
              <a:ext uri="{FF2B5EF4-FFF2-40B4-BE49-F238E27FC236}">
                <a16:creationId xmlns:a16="http://schemas.microsoft.com/office/drawing/2014/main" id="{CBAA9279-0F79-4908-B01D-9638D0EE4890}"/>
              </a:ext>
            </a:extLst>
          </p:cNvPr>
          <p:cNvSpPr txBox="1"/>
          <p:nvPr/>
        </p:nvSpPr>
        <p:spPr>
          <a:xfrm>
            <a:off x="1055689" y="3705292"/>
            <a:ext cx="2874433" cy="1250718"/>
          </a:xfrm>
          <a:prstGeom prst="rect">
            <a:avLst/>
          </a:prstGeom>
          <a:noFill/>
        </p:spPr>
        <p:txBody>
          <a:bodyPr wrap="square" lIns="0" tIns="36000" rIns="0" bIns="36000" rtlCol="0">
            <a:spAutoFit/>
          </a:bodyPr>
          <a:lstStyle/>
          <a:p>
            <a:pPr marL="0" marR="0" lvl="0" indent="0" algn="l" defTabSz="914400" rtl="0" eaLnBrk="1" fontAlgn="auto" latinLnBrk="0" hangingPunct="1">
              <a:lnSpc>
                <a:spcPct val="130000"/>
              </a:lnSpc>
              <a:spcBef>
                <a:spcPts val="1000"/>
              </a:spcBef>
              <a:spcAft>
                <a:spcPts val="0"/>
              </a:spcAft>
              <a:buClrTx/>
              <a:buSzTx/>
              <a:buFontTx/>
              <a:buNone/>
              <a:tabLst/>
              <a:defRPr/>
            </a:pPr>
            <a:r>
              <a:rPr kumimoji="0" lang="en-US" sz="1200" b="0" i="0" u="none" strike="noStrike" kern="1200" cap="none" spc="0" normalizeH="0" baseline="0" noProof="0" dirty="0">
                <a:ln>
                  <a:noFill/>
                </a:ln>
                <a:solidFill>
                  <a:prstClr val="black">
                    <a:lumMod val="50000"/>
                    <a:lumOff val="50000"/>
                  </a:prstClr>
                </a:solidFill>
                <a:effectLst/>
                <a:uLnTx/>
                <a:uFillTx/>
                <a:latin typeface="HarmonyOS Sans SC"/>
                <a:cs typeface="+mn-cs"/>
              </a:rPr>
              <a:t>A peep at some distant orb has power to raise and purify our thoughts like a strain of sacred music, or a noble picture, or a passage from the grander poets. It always does one good. </a:t>
            </a:r>
          </a:p>
        </p:txBody>
      </p:sp>
      <p:sp>
        <p:nvSpPr>
          <p:cNvPr id="150" name="TextBox 27">
            <a:extLst>
              <a:ext uri="{FF2B5EF4-FFF2-40B4-BE49-F238E27FC236}">
                <a16:creationId xmlns:a16="http://schemas.microsoft.com/office/drawing/2014/main" id="{6B86B01C-8C10-4448-8589-B7F403EDEDEB}"/>
              </a:ext>
            </a:extLst>
          </p:cNvPr>
          <p:cNvSpPr txBox="1"/>
          <p:nvPr/>
        </p:nvSpPr>
        <p:spPr>
          <a:xfrm>
            <a:off x="1055688" y="2997490"/>
            <a:ext cx="3539752" cy="442035"/>
          </a:xfrm>
          <a:prstGeom prst="rect">
            <a:avLst/>
          </a:prstGeom>
          <a:noFill/>
        </p:spPr>
        <p:txBody>
          <a:bodyPr wrap="square" lIns="0" tIns="36000" rIns="0" bIns="36000" rtlCol="0">
            <a:spAutoFit/>
          </a:bodyPr>
          <a:lstStyle/>
          <a:p>
            <a:pPr marL="0" marR="0" lvl="0" indent="0" algn="l" defTabSz="914400" rtl="0" eaLnBrk="1" fontAlgn="auto" latinLnBrk="0" hangingPunct="1">
              <a:lnSpc>
                <a:spcPct val="100000"/>
              </a:lnSpc>
              <a:spcBef>
                <a:spcPts val="1000"/>
              </a:spcBef>
              <a:spcAft>
                <a:spcPts val="0"/>
              </a:spcAft>
              <a:buClrTx/>
              <a:buSzTx/>
              <a:buFontTx/>
              <a:buNone/>
              <a:tabLst/>
              <a:defRPr/>
            </a:pPr>
            <a:r>
              <a:rPr kumimoji="0" lang="en-US" sz="2400" b="1" i="0" u="none" strike="noStrike" kern="1200" cap="none" spc="0" normalizeH="0" baseline="0" noProof="0" dirty="0">
                <a:ln>
                  <a:noFill/>
                </a:ln>
                <a:solidFill>
                  <a:prstClr val="black">
                    <a:lumMod val="75000"/>
                    <a:lumOff val="25000"/>
                  </a:prstClr>
                </a:solidFill>
                <a:effectLst/>
                <a:uLnTx/>
                <a:uFillTx/>
                <a:latin typeface="HarmonyOS Sans SC Black"/>
                <a:ea typeface="+mj-ea"/>
                <a:cs typeface="+mn-cs"/>
              </a:rPr>
              <a:t>Write title here</a:t>
            </a:r>
          </a:p>
        </p:txBody>
      </p:sp>
    </p:spTree>
    <p:extLst>
      <p:ext uri="{BB962C8B-B14F-4D97-AF65-F5344CB8AC3E}">
        <p14:creationId xmlns:p14="http://schemas.microsoft.com/office/powerpoint/2010/main" val="2104684669"/>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4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TextBox 37">
            <a:extLst>
              <a:ext uri="{FF2B5EF4-FFF2-40B4-BE49-F238E27FC236}">
                <a16:creationId xmlns:a16="http://schemas.microsoft.com/office/drawing/2014/main" id="{C6AFF69A-25A7-4975-81B6-F1C35542D28C}"/>
              </a:ext>
            </a:extLst>
          </p:cNvPr>
          <p:cNvSpPr txBox="1"/>
          <p:nvPr/>
        </p:nvSpPr>
        <p:spPr>
          <a:xfrm>
            <a:off x="1056295" y="2650685"/>
            <a:ext cx="1920398" cy="369332"/>
          </a:xfrm>
          <a:prstGeom prst="rect">
            <a:avLst/>
          </a:prstGeom>
          <a:noFill/>
        </p:spPr>
        <p:txBody>
          <a:bodyPr wrap="non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d-ID" sz="1800" b="1" i="0" u="none" strike="noStrike" kern="1200" cap="none" spc="300" normalizeH="0" baseline="0" noProof="0" dirty="0">
                <a:ln>
                  <a:noFill/>
                </a:ln>
                <a:solidFill>
                  <a:schemeClr val="accent1"/>
                </a:solidFill>
                <a:effectLst/>
                <a:uLnTx/>
                <a:uFillTx/>
                <a:latin typeface="HarmonyOS Sans SC Black"/>
                <a:ea typeface="+mj-ea"/>
                <a:cs typeface="Open Sans" charset="0"/>
              </a:rPr>
              <a:t>MAIN THING </a:t>
            </a:r>
            <a:endParaRPr kumimoji="0" lang="en-US" sz="1800" b="1" i="0" u="none" strike="noStrike" kern="1200" cap="none" spc="300" normalizeH="0" baseline="0" noProof="0" dirty="0">
              <a:ln>
                <a:noFill/>
              </a:ln>
              <a:solidFill>
                <a:schemeClr val="accent1"/>
              </a:solidFill>
              <a:effectLst/>
              <a:uLnTx/>
              <a:uFillTx/>
              <a:latin typeface="HarmonyOS Sans SC Black"/>
              <a:ea typeface="+mj-ea"/>
              <a:cs typeface="Open Sans" charset="0"/>
            </a:endParaRPr>
          </a:p>
        </p:txBody>
      </p:sp>
      <p:sp>
        <p:nvSpPr>
          <p:cNvPr id="35" name="TextBox 38">
            <a:extLst>
              <a:ext uri="{FF2B5EF4-FFF2-40B4-BE49-F238E27FC236}">
                <a16:creationId xmlns:a16="http://schemas.microsoft.com/office/drawing/2014/main" id="{FF5A6184-EE55-424A-BA82-B00B681A7CCC}"/>
              </a:ext>
            </a:extLst>
          </p:cNvPr>
          <p:cNvSpPr txBox="1"/>
          <p:nvPr/>
        </p:nvSpPr>
        <p:spPr>
          <a:xfrm>
            <a:off x="1056295" y="3082610"/>
            <a:ext cx="1947858" cy="634020"/>
          </a:xfrm>
          <a:prstGeom prst="rect">
            <a:avLst/>
          </a:prstGeom>
          <a:noFill/>
        </p:spPr>
        <p:txBody>
          <a:bodyPr wrap="square" lIns="0" rIns="0" rtlCol="0">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44546A">
                    <a:lumMod val="50000"/>
                    <a:alpha val="70000"/>
                  </a:srgbClr>
                </a:solidFill>
                <a:effectLst/>
                <a:uLnTx/>
                <a:uFillTx/>
                <a:latin typeface="HarmonyOS Sans SC"/>
                <a:cs typeface="Open Sans" charset="0"/>
              </a:rPr>
              <a:t>A peep at some distant orb has power to raise and purify our thoughts like a strain of</a:t>
            </a:r>
          </a:p>
        </p:txBody>
      </p:sp>
      <p:sp>
        <p:nvSpPr>
          <p:cNvPr id="36" name="TextBox 39">
            <a:extLst>
              <a:ext uri="{FF2B5EF4-FFF2-40B4-BE49-F238E27FC236}">
                <a16:creationId xmlns:a16="http://schemas.microsoft.com/office/drawing/2014/main" id="{F6CD9E1B-BEF2-45B5-83B6-3E484667B4B3}"/>
              </a:ext>
            </a:extLst>
          </p:cNvPr>
          <p:cNvSpPr txBox="1"/>
          <p:nvPr/>
        </p:nvSpPr>
        <p:spPr>
          <a:xfrm>
            <a:off x="4068652" y="2650685"/>
            <a:ext cx="1920398" cy="369332"/>
          </a:xfrm>
          <a:prstGeom prst="rect">
            <a:avLst/>
          </a:prstGeom>
          <a:noFill/>
        </p:spPr>
        <p:txBody>
          <a:bodyPr wrap="non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d-ID" sz="1800" b="1" i="0" u="none" strike="noStrike" kern="1200" cap="none" spc="300" normalizeH="0" baseline="0" noProof="0" dirty="0">
                <a:ln>
                  <a:noFill/>
                </a:ln>
                <a:solidFill>
                  <a:schemeClr val="accent1"/>
                </a:solidFill>
                <a:effectLst/>
                <a:uLnTx/>
                <a:uFillTx/>
                <a:latin typeface="HarmonyOS Sans SC Black"/>
                <a:ea typeface="+mj-ea"/>
                <a:cs typeface="Open Sans" charset="0"/>
              </a:rPr>
              <a:t>MAIN THING </a:t>
            </a:r>
            <a:endParaRPr kumimoji="0" lang="en-US" sz="1800" b="1" i="0" u="none" strike="noStrike" kern="1200" cap="none" spc="300" normalizeH="0" baseline="0" noProof="0" dirty="0">
              <a:ln>
                <a:noFill/>
              </a:ln>
              <a:solidFill>
                <a:schemeClr val="accent1"/>
              </a:solidFill>
              <a:effectLst/>
              <a:uLnTx/>
              <a:uFillTx/>
              <a:latin typeface="HarmonyOS Sans SC Black"/>
              <a:ea typeface="+mj-ea"/>
              <a:cs typeface="Open Sans" charset="0"/>
            </a:endParaRPr>
          </a:p>
        </p:txBody>
      </p:sp>
      <p:sp>
        <p:nvSpPr>
          <p:cNvPr id="37" name="TextBox 40">
            <a:extLst>
              <a:ext uri="{FF2B5EF4-FFF2-40B4-BE49-F238E27FC236}">
                <a16:creationId xmlns:a16="http://schemas.microsoft.com/office/drawing/2014/main" id="{B055DA55-159A-41E6-BBBE-B29A8BBF40C3}"/>
              </a:ext>
            </a:extLst>
          </p:cNvPr>
          <p:cNvSpPr txBox="1"/>
          <p:nvPr/>
        </p:nvSpPr>
        <p:spPr>
          <a:xfrm>
            <a:off x="4068652" y="3082610"/>
            <a:ext cx="1947858" cy="634020"/>
          </a:xfrm>
          <a:prstGeom prst="rect">
            <a:avLst/>
          </a:prstGeom>
          <a:noFill/>
        </p:spPr>
        <p:txBody>
          <a:bodyPr wrap="square" lIns="0" rIns="0" rtlCol="0">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44546A">
                    <a:lumMod val="50000"/>
                    <a:alpha val="70000"/>
                  </a:srgbClr>
                </a:solidFill>
                <a:effectLst/>
                <a:uLnTx/>
                <a:uFillTx/>
                <a:latin typeface="HarmonyOS Sans SC"/>
                <a:cs typeface="Open Sans" charset="0"/>
              </a:rPr>
              <a:t>A peep at some distant orb has power to raise and purify our thoughts like a strain of</a:t>
            </a:r>
          </a:p>
        </p:txBody>
      </p:sp>
      <p:sp>
        <p:nvSpPr>
          <p:cNvPr id="38" name="TextBox 41">
            <a:extLst>
              <a:ext uri="{FF2B5EF4-FFF2-40B4-BE49-F238E27FC236}">
                <a16:creationId xmlns:a16="http://schemas.microsoft.com/office/drawing/2014/main" id="{D2228371-9261-45D5-B366-F9463CBD6EA8}"/>
              </a:ext>
            </a:extLst>
          </p:cNvPr>
          <p:cNvSpPr txBox="1"/>
          <p:nvPr/>
        </p:nvSpPr>
        <p:spPr>
          <a:xfrm>
            <a:off x="1056295" y="4266125"/>
            <a:ext cx="1920398" cy="369332"/>
          </a:xfrm>
          <a:prstGeom prst="rect">
            <a:avLst/>
          </a:prstGeom>
          <a:noFill/>
        </p:spPr>
        <p:txBody>
          <a:bodyPr wrap="non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d-ID" sz="1800" b="1" i="0" u="none" strike="noStrike" kern="1200" cap="none" spc="300" normalizeH="0" baseline="0" noProof="0" dirty="0">
                <a:ln>
                  <a:noFill/>
                </a:ln>
                <a:solidFill>
                  <a:schemeClr val="accent1"/>
                </a:solidFill>
                <a:effectLst/>
                <a:uLnTx/>
                <a:uFillTx/>
                <a:latin typeface="HarmonyOS Sans SC Black"/>
                <a:ea typeface="+mj-ea"/>
                <a:cs typeface="Open Sans" charset="0"/>
              </a:rPr>
              <a:t>MAIN THING </a:t>
            </a:r>
            <a:endParaRPr kumimoji="0" lang="en-US" sz="1800" b="1" i="0" u="none" strike="noStrike" kern="1200" cap="none" spc="300" normalizeH="0" baseline="0" noProof="0" dirty="0">
              <a:ln>
                <a:noFill/>
              </a:ln>
              <a:solidFill>
                <a:schemeClr val="accent1"/>
              </a:solidFill>
              <a:effectLst/>
              <a:uLnTx/>
              <a:uFillTx/>
              <a:latin typeface="HarmonyOS Sans SC Black"/>
              <a:ea typeface="+mj-ea"/>
              <a:cs typeface="Open Sans" charset="0"/>
            </a:endParaRPr>
          </a:p>
        </p:txBody>
      </p:sp>
      <p:sp>
        <p:nvSpPr>
          <p:cNvPr id="39" name="TextBox 42">
            <a:extLst>
              <a:ext uri="{FF2B5EF4-FFF2-40B4-BE49-F238E27FC236}">
                <a16:creationId xmlns:a16="http://schemas.microsoft.com/office/drawing/2014/main" id="{492DE0C7-15C1-445C-8879-CF56F640977D}"/>
              </a:ext>
            </a:extLst>
          </p:cNvPr>
          <p:cNvSpPr txBox="1"/>
          <p:nvPr/>
        </p:nvSpPr>
        <p:spPr>
          <a:xfrm>
            <a:off x="1056295" y="4698050"/>
            <a:ext cx="1947858" cy="634020"/>
          </a:xfrm>
          <a:prstGeom prst="rect">
            <a:avLst/>
          </a:prstGeom>
          <a:noFill/>
        </p:spPr>
        <p:txBody>
          <a:bodyPr wrap="square" lIns="0" rIns="0" rtlCol="0">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44546A">
                    <a:lumMod val="50000"/>
                    <a:alpha val="70000"/>
                  </a:srgbClr>
                </a:solidFill>
                <a:effectLst/>
                <a:uLnTx/>
                <a:uFillTx/>
                <a:latin typeface="HarmonyOS Sans SC"/>
                <a:cs typeface="Open Sans" charset="0"/>
              </a:rPr>
              <a:t>A peep at some distant orb has power to raise and purify our thoughts like a strain of</a:t>
            </a:r>
          </a:p>
        </p:txBody>
      </p:sp>
      <p:sp>
        <p:nvSpPr>
          <p:cNvPr id="40" name="TextBox 43">
            <a:extLst>
              <a:ext uri="{FF2B5EF4-FFF2-40B4-BE49-F238E27FC236}">
                <a16:creationId xmlns:a16="http://schemas.microsoft.com/office/drawing/2014/main" id="{42F5BD8E-789D-4F93-850A-40A69168FA4A}"/>
              </a:ext>
            </a:extLst>
          </p:cNvPr>
          <p:cNvSpPr txBox="1"/>
          <p:nvPr/>
        </p:nvSpPr>
        <p:spPr>
          <a:xfrm>
            <a:off x="4068652" y="4266125"/>
            <a:ext cx="1920398" cy="369332"/>
          </a:xfrm>
          <a:prstGeom prst="rect">
            <a:avLst/>
          </a:prstGeom>
          <a:noFill/>
        </p:spPr>
        <p:txBody>
          <a:bodyPr wrap="none" lIns="0" r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d-ID" sz="1800" b="1" i="0" u="none" strike="noStrike" kern="1200" cap="none" spc="300" normalizeH="0" baseline="0" noProof="0" dirty="0">
                <a:ln>
                  <a:noFill/>
                </a:ln>
                <a:solidFill>
                  <a:schemeClr val="accent1"/>
                </a:solidFill>
                <a:effectLst/>
                <a:uLnTx/>
                <a:uFillTx/>
                <a:latin typeface="HarmonyOS Sans SC Black"/>
                <a:ea typeface="+mj-ea"/>
                <a:cs typeface="Open Sans" charset="0"/>
              </a:rPr>
              <a:t>MAIN THING </a:t>
            </a:r>
            <a:endParaRPr kumimoji="0" lang="en-US" sz="1800" b="1" i="0" u="none" strike="noStrike" kern="1200" cap="none" spc="300" normalizeH="0" baseline="0" noProof="0" dirty="0">
              <a:ln>
                <a:noFill/>
              </a:ln>
              <a:solidFill>
                <a:schemeClr val="accent1"/>
              </a:solidFill>
              <a:effectLst/>
              <a:uLnTx/>
              <a:uFillTx/>
              <a:latin typeface="HarmonyOS Sans SC Black"/>
              <a:ea typeface="+mj-ea"/>
              <a:cs typeface="Open Sans" charset="0"/>
            </a:endParaRPr>
          </a:p>
        </p:txBody>
      </p:sp>
      <p:sp>
        <p:nvSpPr>
          <p:cNvPr id="41" name="TextBox 44">
            <a:extLst>
              <a:ext uri="{FF2B5EF4-FFF2-40B4-BE49-F238E27FC236}">
                <a16:creationId xmlns:a16="http://schemas.microsoft.com/office/drawing/2014/main" id="{F92F911B-25D5-4094-8083-DB693393E0E3}"/>
              </a:ext>
            </a:extLst>
          </p:cNvPr>
          <p:cNvSpPr txBox="1"/>
          <p:nvPr/>
        </p:nvSpPr>
        <p:spPr>
          <a:xfrm>
            <a:off x="4068652" y="4698050"/>
            <a:ext cx="1947858" cy="634020"/>
          </a:xfrm>
          <a:prstGeom prst="rect">
            <a:avLst/>
          </a:prstGeom>
          <a:noFill/>
        </p:spPr>
        <p:txBody>
          <a:bodyPr wrap="square" lIns="0" rIns="0" rtlCol="0">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44546A">
                    <a:lumMod val="50000"/>
                    <a:alpha val="70000"/>
                  </a:srgbClr>
                </a:solidFill>
                <a:effectLst/>
                <a:uLnTx/>
                <a:uFillTx/>
                <a:latin typeface="HarmonyOS Sans SC"/>
                <a:cs typeface="Open Sans" charset="0"/>
              </a:rPr>
              <a:t>A peep at some distant orb has power to raise and purify our thoughts like a strain of</a:t>
            </a:r>
          </a:p>
        </p:txBody>
      </p:sp>
      <p:sp>
        <p:nvSpPr>
          <p:cNvPr id="46" name="文本框 45">
            <a:extLst>
              <a:ext uri="{FF2B5EF4-FFF2-40B4-BE49-F238E27FC236}">
                <a16:creationId xmlns:a16="http://schemas.microsoft.com/office/drawing/2014/main" id="{29608F3D-D73A-4243-8A6F-4D81CF56B77B}"/>
              </a:ext>
            </a:extLst>
          </p:cNvPr>
          <p:cNvSpPr txBox="1"/>
          <p:nvPr/>
        </p:nvSpPr>
        <p:spPr>
          <a:xfrm>
            <a:off x="4375016" y="918105"/>
            <a:ext cx="3441968" cy="52322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2800" b="0" i="0" u="none" strike="noStrike" kern="1200" cap="none" spc="0" normalizeH="0" baseline="0" noProof="0" dirty="0">
                <a:ln>
                  <a:noFill/>
                </a:ln>
                <a:solidFill>
                  <a:prstClr val="black"/>
                </a:solidFill>
                <a:effectLst/>
                <a:uLnTx/>
                <a:uFillTx/>
                <a:latin typeface="HarmonyOS Sans Black"/>
                <a:ea typeface="+mj-ea"/>
                <a:cs typeface="+mn-cs"/>
              </a:rPr>
              <a:t>Diving </a:t>
            </a:r>
            <a:r>
              <a:rPr kumimoji="0" lang="en-US" altLang="zh-CN" sz="2800" b="0" i="0" u="none" strike="noStrike" kern="1200" cap="none" spc="0" normalizeH="0" baseline="0" noProof="0" dirty="0">
                <a:ln>
                  <a:noFill/>
                </a:ln>
                <a:solidFill>
                  <a:schemeClr val="accent1"/>
                </a:solidFill>
                <a:effectLst/>
                <a:uLnTx/>
                <a:uFillTx/>
                <a:latin typeface="HarmonyOS Sans Black"/>
                <a:ea typeface="+mj-ea"/>
                <a:cs typeface="+mn-cs"/>
              </a:rPr>
              <a:t>Infographic</a:t>
            </a:r>
          </a:p>
        </p:txBody>
      </p:sp>
      <p:sp>
        <p:nvSpPr>
          <p:cNvPr id="47" name="TextBox 26">
            <a:extLst>
              <a:ext uri="{FF2B5EF4-FFF2-40B4-BE49-F238E27FC236}">
                <a16:creationId xmlns:a16="http://schemas.microsoft.com/office/drawing/2014/main" id="{904DC6A4-8BBA-4549-B625-79D510E07808}"/>
              </a:ext>
            </a:extLst>
          </p:cNvPr>
          <p:cNvSpPr txBox="1"/>
          <p:nvPr/>
        </p:nvSpPr>
        <p:spPr>
          <a:xfrm>
            <a:off x="3486150" y="1427611"/>
            <a:ext cx="5219700" cy="254163"/>
          </a:xfrm>
          <a:prstGeom prst="rect">
            <a:avLst/>
          </a:prstGeom>
          <a:noFill/>
        </p:spPr>
        <p:txBody>
          <a:bodyPr wrap="square" lIns="0" tIns="36000" rIns="0" bIns="36000" rtlCol="0">
            <a:spAutoFit/>
          </a:bodyPr>
          <a:lstStyle/>
          <a:p>
            <a:pPr marL="0" marR="0" lvl="0" indent="0" algn="ctr" defTabSz="914400" rtl="0" eaLnBrk="1" fontAlgn="auto" latinLnBrk="0" hangingPunct="1">
              <a:lnSpc>
                <a:spcPct val="130000"/>
              </a:lnSpc>
              <a:spcBef>
                <a:spcPts val="100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alpha val="70000"/>
                  </a:prstClr>
                </a:solidFill>
                <a:effectLst/>
                <a:uLnTx/>
                <a:uFillTx/>
                <a:latin typeface="HarmonyOS Sans SC"/>
                <a:cs typeface="+mn-cs"/>
              </a:rPr>
              <a:t>Trendy will show you The easiest and more</a:t>
            </a:r>
          </a:p>
        </p:txBody>
      </p:sp>
      <p:sp>
        <p:nvSpPr>
          <p:cNvPr id="3" name="Freeform 7">
            <a:extLst>
              <a:ext uri="{FF2B5EF4-FFF2-40B4-BE49-F238E27FC236}">
                <a16:creationId xmlns:a16="http://schemas.microsoft.com/office/drawing/2014/main" id="{C0CE05C2-CEBC-486D-90E0-4CDCDFEE174F}"/>
              </a:ext>
            </a:extLst>
          </p:cNvPr>
          <p:cNvSpPr>
            <a:spLocks/>
          </p:cNvSpPr>
          <p:nvPr/>
        </p:nvSpPr>
        <p:spPr bwMode="auto">
          <a:xfrm>
            <a:off x="7108469" y="2191280"/>
            <a:ext cx="1360281" cy="2849675"/>
          </a:xfrm>
          <a:custGeom>
            <a:avLst/>
            <a:gdLst>
              <a:gd name="T0" fmla="*/ 697 w 1770"/>
              <a:gd name="T1" fmla="*/ 0 h 3708"/>
              <a:gd name="T2" fmla="*/ 0 w 1770"/>
              <a:gd name="T3" fmla="*/ 265 h 3708"/>
              <a:gd name="T4" fmla="*/ 14 w 1770"/>
              <a:gd name="T5" fmla="*/ 3304 h 3708"/>
              <a:gd name="T6" fmla="*/ 1073 w 1770"/>
              <a:gd name="T7" fmla="*/ 3708 h 3708"/>
              <a:gd name="T8" fmla="*/ 1770 w 1770"/>
              <a:gd name="T9" fmla="*/ 3443 h 3708"/>
              <a:gd name="T10" fmla="*/ 1756 w 1770"/>
              <a:gd name="T11" fmla="*/ 405 h 3708"/>
              <a:gd name="T12" fmla="*/ 697 w 1770"/>
              <a:gd name="T13" fmla="*/ 0 h 3708"/>
            </a:gdLst>
            <a:ahLst/>
            <a:cxnLst>
              <a:cxn ang="0">
                <a:pos x="T0" y="T1"/>
              </a:cxn>
              <a:cxn ang="0">
                <a:pos x="T2" y="T3"/>
              </a:cxn>
              <a:cxn ang="0">
                <a:pos x="T4" y="T5"/>
              </a:cxn>
              <a:cxn ang="0">
                <a:pos x="T6" y="T7"/>
              </a:cxn>
              <a:cxn ang="0">
                <a:pos x="T8" y="T9"/>
              </a:cxn>
              <a:cxn ang="0">
                <a:pos x="T10" y="T11"/>
              </a:cxn>
              <a:cxn ang="0">
                <a:pos x="T12" y="T13"/>
              </a:cxn>
            </a:cxnLst>
            <a:rect l="0" t="0" r="r" b="b"/>
            <a:pathLst>
              <a:path w="1770" h="3708">
                <a:moveTo>
                  <a:pt x="697" y="0"/>
                </a:moveTo>
                <a:lnTo>
                  <a:pt x="0" y="265"/>
                </a:lnTo>
                <a:lnTo>
                  <a:pt x="14" y="3304"/>
                </a:lnTo>
                <a:lnTo>
                  <a:pt x="1073" y="3708"/>
                </a:lnTo>
                <a:lnTo>
                  <a:pt x="1770" y="3443"/>
                </a:lnTo>
                <a:lnTo>
                  <a:pt x="1756" y="405"/>
                </a:lnTo>
                <a:lnTo>
                  <a:pt x="697" y="0"/>
                </a:lnTo>
                <a:close/>
              </a:path>
            </a:pathLst>
          </a:custGeom>
          <a:solidFill>
            <a:schemeClr val="accent6">
              <a:lumMod val="60000"/>
              <a:lumOff val="40000"/>
            </a:schemeClr>
          </a:solidFill>
          <a:ln>
            <a:noFill/>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HarmonyOS Sans SC"/>
              <a:cs typeface="Cordia New" panose="020B0304020202020204" pitchFamily="34" charset="-34"/>
            </a:endParaRPr>
          </a:p>
        </p:txBody>
      </p:sp>
      <p:sp>
        <p:nvSpPr>
          <p:cNvPr id="4" name="Freeform 8">
            <a:extLst>
              <a:ext uri="{FF2B5EF4-FFF2-40B4-BE49-F238E27FC236}">
                <a16:creationId xmlns:a16="http://schemas.microsoft.com/office/drawing/2014/main" id="{21598073-5C3A-43EA-B7F4-5B7106D6565A}"/>
              </a:ext>
            </a:extLst>
          </p:cNvPr>
          <p:cNvSpPr>
            <a:spLocks/>
          </p:cNvSpPr>
          <p:nvPr/>
        </p:nvSpPr>
        <p:spPr bwMode="auto">
          <a:xfrm>
            <a:off x="7108469" y="2191280"/>
            <a:ext cx="1360281" cy="2849675"/>
          </a:xfrm>
          <a:custGeom>
            <a:avLst/>
            <a:gdLst>
              <a:gd name="T0" fmla="*/ 697 w 1770"/>
              <a:gd name="T1" fmla="*/ 0 h 3708"/>
              <a:gd name="T2" fmla="*/ 0 w 1770"/>
              <a:gd name="T3" fmla="*/ 265 h 3708"/>
              <a:gd name="T4" fmla="*/ 14 w 1770"/>
              <a:gd name="T5" fmla="*/ 3304 h 3708"/>
              <a:gd name="T6" fmla="*/ 1073 w 1770"/>
              <a:gd name="T7" fmla="*/ 3708 h 3708"/>
              <a:gd name="T8" fmla="*/ 1770 w 1770"/>
              <a:gd name="T9" fmla="*/ 3443 h 3708"/>
              <a:gd name="T10" fmla="*/ 1756 w 1770"/>
              <a:gd name="T11" fmla="*/ 405 h 3708"/>
              <a:gd name="T12" fmla="*/ 697 w 1770"/>
              <a:gd name="T13" fmla="*/ 0 h 3708"/>
            </a:gdLst>
            <a:ahLst/>
            <a:cxnLst>
              <a:cxn ang="0">
                <a:pos x="T0" y="T1"/>
              </a:cxn>
              <a:cxn ang="0">
                <a:pos x="T2" y="T3"/>
              </a:cxn>
              <a:cxn ang="0">
                <a:pos x="T4" y="T5"/>
              </a:cxn>
              <a:cxn ang="0">
                <a:pos x="T6" y="T7"/>
              </a:cxn>
              <a:cxn ang="0">
                <a:pos x="T8" y="T9"/>
              </a:cxn>
              <a:cxn ang="0">
                <a:pos x="T10" y="T11"/>
              </a:cxn>
              <a:cxn ang="0">
                <a:pos x="T12" y="T13"/>
              </a:cxn>
            </a:cxnLst>
            <a:rect l="0" t="0" r="r" b="b"/>
            <a:pathLst>
              <a:path w="1770" h="3708">
                <a:moveTo>
                  <a:pt x="697" y="0"/>
                </a:moveTo>
                <a:lnTo>
                  <a:pt x="0" y="265"/>
                </a:lnTo>
                <a:lnTo>
                  <a:pt x="14" y="3304"/>
                </a:lnTo>
                <a:lnTo>
                  <a:pt x="1073" y="3708"/>
                </a:lnTo>
                <a:lnTo>
                  <a:pt x="1770" y="3443"/>
                </a:lnTo>
                <a:lnTo>
                  <a:pt x="1756" y="405"/>
                </a:lnTo>
                <a:lnTo>
                  <a:pt x="697" y="0"/>
                </a:lnTo>
              </a:path>
            </a:pathLst>
          </a:custGeom>
          <a:gradFill flip="none" rotWithShape="1">
            <a:gsLst>
              <a:gs pos="0">
                <a:schemeClr val="accent1"/>
              </a:gs>
              <a:gs pos="75000">
                <a:schemeClr val="accent1">
                  <a:lumMod val="40000"/>
                  <a:lumOff val="60000"/>
                </a:schemeClr>
              </a:gs>
              <a:gs pos="11000">
                <a:schemeClr val="accent1">
                  <a:lumMod val="60000"/>
                  <a:lumOff val="40000"/>
                </a:schemeClr>
              </a:gs>
            </a:gsLst>
            <a:lin ang="540000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1800" b="0" i="0" u="none" strike="noStrike" kern="1200" cap="none" spc="0" normalizeH="0" baseline="0" noProof="0">
              <a:ln>
                <a:noFill/>
              </a:ln>
              <a:solidFill>
                <a:srgbClr val="222222"/>
              </a:solidFill>
              <a:effectLst/>
              <a:uLnTx/>
              <a:uFillTx/>
              <a:latin typeface="Inter"/>
              <a:cs typeface="+mn-cs"/>
            </a:endParaRPr>
          </a:p>
        </p:txBody>
      </p:sp>
      <p:sp>
        <p:nvSpPr>
          <p:cNvPr id="5" name="Freeform 9">
            <a:extLst>
              <a:ext uri="{FF2B5EF4-FFF2-40B4-BE49-F238E27FC236}">
                <a16:creationId xmlns:a16="http://schemas.microsoft.com/office/drawing/2014/main" id="{5B4372AA-48B3-4990-BFFB-586ACA315CFC}"/>
              </a:ext>
            </a:extLst>
          </p:cNvPr>
          <p:cNvSpPr>
            <a:spLocks/>
          </p:cNvSpPr>
          <p:nvPr/>
        </p:nvSpPr>
        <p:spPr bwMode="auto">
          <a:xfrm>
            <a:off x="7933091" y="2502531"/>
            <a:ext cx="535659" cy="2538424"/>
          </a:xfrm>
          <a:custGeom>
            <a:avLst/>
            <a:gdLst>
              <a:gd name="T0" fmla="*/ 683 w 697"/>
              <a:gd name="T1" fmla="*/ 0 h 3303"/>
              <a:gd name="T2" fmla="*/ 0 w 697"/>
              <a:gd name="T3" fmla="*/ 278 h 3303"/>
              <a:gd name="T4" fmla="*/ 0 w 697"/>
              <a:gd name="T5" fmla="*/ 3303 h 3303"/>
              <a:gd name="T6" fmla="*/ 697 w 697"/>
              <a:gd name="T7" fmla="*/ 3038 h 3303"/>
              <a:gd name="T8" fmla="*/ 683 w 697"/>
              <a:gd name="T9" fmla="*/ 0 h 3303"/>
            </a:gdLst>
            <a:ahLst/>
            <a:cxnLst>
              <a:cxn ang="0">
                <a:pos x="T0" y="T1"/>
              </a:cxn>
              <a:cxn ang="0">
                <a:pos x="T2" y="T3"/>
              </a:cxn>
              <a:cxn ang="0">
                <a:pos x="T4" y="T5"/>
              </a:cxn>
              <a:cxn ang="0">
                <a:pos x="T6" y="T7"/>
              </a:cxn>
              <a:cxn ang="0">
                <a:pos x="T8" y="T9"/>
              </a:cxn>
            </a:cxnLst>
            <a:rect l="0" t="0" r="r" b="b"/>
            <a:pathLst>
              <a:path w="697" h="3303">
                <a:moveTo>
                  <a:pt x="683" y="0"/>
                </a:moveTo>
                <a:lnTo>
                  <a:pt x="0" y="278"/>
                </a:lnTo>
                <a:lnTo>
                  <a:pt x="0" y="3303"/>
                </a:lnTo>
                <a:lnTo>
                  <a:pt x="697" y="3038"/>
                </a:lnTo>
                <a:lnTo>
                  <a:pt x="683" y="0"/>
                </a:lnTo>
                <a:close/>
              </a:path>
            </a:pathLst>
          </a:custGeom>
          <a:gradFill flip="none" rotWithShape="1">
            <a:gsLst>
              <a:gs pos="0">
                <a:schemeClr val="accent1"/>
              </a:gs>
              <a:gs pos="92000">
                <a:schemeClr val="accent1">
                  <a:lumMod val="60000"/>
                  <a:lumOff val="40000"/>
                </a:schemeClr>
              </a:gs>
            </a:gsLst>
            <a:lin ang="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1800" b="0" i="0" u="none" strike="noStrike" kern="1200" cap="none" spc="0" normalizeH="0" baseline="0" noProof="0">
              <a:ln>
                <a:noFill/>
              </a:ln>
              <a:solidFill>
                <a:srgbClr val="222222"/>
              </a:solidFill>
              <a:effectLst/>
              <a:uLnTx/>
              <a:uFillTx/>
              <a:latin typeface="Inter"/>
              <a:cs typeface="+mn-cs"/>
            </a:endParaRPr>
          </a:p>
        </p:txBody>
      </p:sp>
      <p:sp>
        <p:nvSpPr>
          <p:cNvPr id="6" name="Freeform 10">
            <a:extLst>
              <a:ext uri="{FF2B5EF4-FFF2-40B4-BE49-F238E27FC236}">
                <a16:creationId xmlns:a16="http://schemas.microsoft.com/office/drawing/2014/main" id="{157CFB63-D4BD-4575-81CE-CFD480F9B9B9}"/>
              </a:ext>
            </a:extLst>
          </p:cNvPr>
          <p:cNvSpPr>
            <a:spLocks/>
          </p:cNvSpPr>
          <p:nvPr/>
        </p:nvSpPr>
        <p:spPr bwMode="auto">
          <a:xfrm>
            <a:off x="7933091" y="2502531"/>
            <a:ext cx="535659" cy="2538424"/>
          </a:xfrm>
          <a:custGeom>
            <a:avLst/>
            <a:gdLst>
              <a:gd name="T0" fmla="*/ 683 w 697"/>
              <a:gd name="T1" fmla="*/ 0 h 3303"/>
              <a:gd name="T2" fmla="*/ 0 w 697"/>
              <a:gd name="T3" fmla="*/ 278 h 3303"/>
              <a:gd name="T4" fmla="*/ 0 w 697"/>
              <a:gd name="T5" fmla="*/ 3303 h 3303"/>
              <a:gd name="T6" fmla="*/ 697 w 697"/>
              <a:gd name="T7" fmla="*/ 3038 h 3303"/>
              <a:gd name="T8" fmla="*/ 683 w 697"/>
              <a:gd name="T9" fmla="*/ 0 h 3303"/>
            </a:gdLst>
            <a:ahLst/>
            <a:cxnLst>
              <a:cxn ang="0">
                <a:pos x="T0" y="T1"/>
              </a:cxn>
              <a:cxn ang="0">
                <a:pos x="T2" y="T3"/>
              </a:cxn>
              <a:cxn ang="0">
                <a:pos x="T4" y="T5"/>
              </a:cxn>
              <a:cxn ang="0">
                <a:pos x="T6" y="T7"/>
              </a:cxn>
              <a:cxn ang="0">
                <a:pos x="T8" y="T9"/>
              </a:cxn>
            </a:cxnLst>
            <a:rect l="0" t="0" r="r" b="b"/>
            <a:pathLst>
              <a:path w="697" h="3303">
                <a:moveTo>
                  <a:pt x="683" y="0"/>
                </a:moveTo>
                <a:lnTo>
                  <a:pt x="0" y="278"/>
                </a:lnTo>
                <a:lnTo>
                  <a:pt x="0" y="3303"/>
                </a:lnTo>
                <a:lnTo>
                  <a:pt x="697" y="3038"/>
                </a:lnTo>
                <a:lnTo>
                  <a:pt x="68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HarmonyOS Sans SC"/>
              <a:cs typeface="Cordia New" panose="020B0304020202020204" pitchFamily="34" charset="-34"/>
            </a:endParaRPr>
          </a:p>
        </p:txBody>
      </p:sp>
      <p:sp>
        <p:nvSpPr>
          <p:cNvPr id="7" name="Freeform 11">
            <a:extLst>
              <a:ext uri="{FF2B5EF4-FFF2-40B4-BE49-F238E27FC236}">
                <a16:creationId xmlns:a16="http://schemas.microsoft.com/office/drawing/2014/main" id="{37103E6E-CFAC-475E-BCB5-2E5940C3FAD0}"/>
              </a:ext>
            </a:extLst>
          </p:cNvPr>
          <p:cNvSpPr>
            <a:spLocks/>
          </p:cNvSpPr>
          <p:nvPr/>
        </p:nvSpPr>
        <p:spPr bwMode="auto">
          <a:xfrm>
            <a:off x="7108469" y="2394939"/>
            <a:ext cx="824622" cy="2646016"/>
          </a:xfrm>
          <a:custGeom>
            <a:avLst/>
            <a:gdLst>
              <a:gd name="T0" fmla="*/ 0 w 1073"/>
              <a:gd name="T1" fmla="*/ 0 h 3443"/>
              <a:gd name="T2" fmla="*/ 0 w 1073"/>
              <a:gd name="T3" fmla="*/ 0 h 3443"/>
              <a:gd name="T4" fmla="*/ 14 w 1073"/>
              <a:gd name="T5" fmla="*/ 3039 h 3443"/>
              <a:gd name="T6" fmla="*/ 1073 w 1073"/>
              <a:gd name="T7" fmla="*/ 3443 h 3443"/>
              <a:gd name="T8" fmla="*/ 1073 w 1073"/>
              <a:gd name="T9" fmla="*/ 418 h 3443"/>
              <a:gd name="T10" fmla="*/ 0 w 1073"/>
              <a:gd name="T11" fmla="*/ 0 h 3443"/>
            </a:gdLst>
            <a:ahLst/>
            <a:cxnLst>
              <a:cxn ang="0">
                <a:pos x="T0" y="T1"/>
              </a:cxn>
              <a:cxn ang="0">
                <a:pos x="T2" y="T3"/>
              </a:cxn>
              <a:cxn ang="0">
                <a:pos x="T4" y="T5"/>
              </a:cxn>
              <a:cxn ang="0">
                <a:pos x="T6" y="T7"/>
              </a:cxn>
              <a:cxn ang="0">
                <a:pos x="T8" y="T9"/>
              </a:cxn>
              <a:cxn ang="0">
                <a:pos x="T10" y="T11"/>
              </a:cxn>
            </a:cxnLst>
            <a:rect l="0" t="0" r="r" b="b"/>
            <a:pathLst>
              <a:path w="1073" h="3443">
                <a:moveTo>
                  <a:pt x="0" y="0"/>
                </a:moveTo>
                <a:lnTo>
                  <a:pt x="0" y="0"/>
                </a:lnTo>
                <a:lnTo>
                  <a:pt x="14" y="3039"/>
                </a:lnTo>
                <a:lnTo>
                  <a:pt x="1073" y="3443"/>
                </a:lnTo>
                <a:lnTo>
                  <a:pt x="1073" y="418"/>
                </a:lnTo>
                <a:lnTo>
                  <a:pt x="0" y="0"/>
                </a:lnTo>
                <a:close/>
              </a:path>
            </a:pathLst>
          </a:custGeom>
          <a:gradFill flip="none" rotWithShape="1">
            <a:gsLst>
              <a:gs pos="24000">
                <a:schemeClr val="accent1"/>
              </a:gs>
              <a:gs pos="100000">
                <a:schemeClr val="accent1">
                  <a:lumMod val="60000"/>
                  <a:lumOff val="40000"/>
                </a:schemeClr>
              </a:gs>
            </a:gsLst>
            <a:lin ang="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1800" b="0" i="0" u="none" strike="noStrike" kern="1200" cap="none" spc="0" normalizeH="0" baseline="0" noProof="0">
              <a:ln>
                <a:noFill/>
              </a:ln>
              <a:solidFill>
                <a:srgbClr val="222222"/>
              </a:solidFill>
              <a:effectLst/>
              <a:uLnTx/>
              <a:uFillTx/>
              <a:latin typeface="Inter"/>
              <a:cs typeface="+mn-cs"/>
            </a:endParaRPr>
          </a:p>
        </p:txBody>
      </p:sp>
      <p:sp>
        <p:nvSpPr>
          <p:cNvPr id="8" name="Freeform 12">
            <a:extLst>
              <a:ext uri="{FF2B5EF4-FFF2-40B4-BE49-F238E27FC236}">
                <a16:creationId xmlns:a16="http://schemas.microsoft.com/office/drawing/2014/main" id="{13AB65D0-73B6-49F0-8C92-3FCC36AE3AC9}"/>
              </a:ext>
            </a:extLst>
          </p:cNvPr>
          <p:cNvSpPr>
            <a:spLocks/>
          </p:cNvSpPr>
          <p:nvPr/>
        </p:nvSpPr>
        <p:spPr bwMode="auto">
          <a:xfrm>
            <a:off x="7108469" y="2394939"/>
            <a:ext cx="824622" cy="2646016"/>
          </a:xfrm>
          <a:custGeom>
            <a:avLst/>
            <a:gdLst>
              <a:gd name="T0" fmla="*/ 0 w 1073"/>
              <a:gd name="T1" fmla="*/ 0 h 3443"/>
              <a:gd name="T2" fmla="*/ 0 w 1073"/>
              <a:gd name="T3" fmla="*/ 0 h 3443"/>
              <a:gd name="T4" fmla="*/ 14 w 1073"/>
              <a:gd name="T5" fmla="*/ 3039 h 3443"/>
              <a:gd name="T6" fmla="*/ 1073 w 1073"/>
              <a:gd name="T7" fmla="*/ 3443 h 3443"/>
              <a:gd name="T8" fmla="*/ 1073 w 1073"/>
              <a:gd name="T9" fmla="*/ 418 h 3443"/>
              <a:gd name="T10" fmla="*/ 0 w 1073"/>
              <a:gd name="T11" fmla="*/ 0 h 3443"/>
            </a:gdLst>
            <a:ahLst/>
            <a:cxnLst>
              <a:cxn ang="0">
                <a:pos x="T0" y="T1"/>
              </a:cxn>
              <a:cxn ang="0">
                <a:pos x="T2" y="T3"/>
              </a:cxn>
              <a:cxn ang="0">
                <a:pos x="T4" y="T5"/>
              </a:cxn>
              <a:cxn ang="0">
                <a:pos x="T6" y="T7"/>
              </a:cxn>
              <a:cxn ang="0">
                <a:pos x="T8" y="T9"/>
              </a:cxn>
              <a:cxn ang="0">
                <a:pos x="T10" y="T11"/>
              </a:cxn>
            </a:cxnLst>
            <a:rect l="0" t="0" r="r" b="b"/>
            <a:pathLst>
              <a:path w="1073" h="3443">
                <a:moveTo>
                  <a:pt x="0" y="0"/>
                </a:moveTo>
                <a:lnTo>
                  <a:pt x="0" y="0"/>
                </a:lnTo>
                <a:lnTo>
                  <a:pt x="14" y="3039"/>
                </a:lnTo>
                <a:lnTo>
                  <a:pt x="1073" y="3443"/>
                </a:lnTo>
                <a:lnTo>
                  <a:pt x="1073" y="41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HarmonyOS Sans SC"/>
              <a:cs typeface="Cordia New" panose="020B0304020202020204" pitchFamily="34" charset="-34"/>
            </a:endParaRPr>
          </a:p>
        </p:txBody>
      </p:sp>
      <p:sp>
        <p:nvSpPr>
          <p:cNvPr id="10" name="Freeform 13">
            <a:extLst>
              <a:ext uri="{FF2B5EF4-FFF2-40B4-BE49-F238E27FC236}">
                <a16:creationId xmlns:a16="http://schemas.microsoft.com/office/drawing/2014/main" id="{8231ACD6-2F8E-4B02-9C48-034DBD20AE30}"/>
              </a:ext>
            </a:extLst>
          </p:cNvPr>
          <p:cNvSpPr>
            <a:spLocks/>
          </p:cNvSpPr>
          <p:nvPr/>
        </p:nvSpPr>
        <p:spPr bwMode="auto">
          <a:xfrm>
            <a:off x="7933091" y="3145781"/>
            <a:ext cx="1360281" cy="2206423"/>
          </a:xfrm>
          <a:custGeom>
            <a:avLst/>
            <a:gdLst>
              <a:gd name="T0" fmla="*/ 697 w 1770"/>
              <a:gd name="T1" fmla="*/ 0 h 2871"/>
              <a:gd name="T2" fmla="*/ 14 w 1770"/>
              <a:gd name="T3" fmla="*/ 265 h 2871"/>
              <a:gd name="T4" fmla="*/ 0 w 1770"/>
              <a:gd name="T5" fmla="*/ 2453 h 2871"/>
              <a:gd name="T6" fmla="*/ 1073 w 1770"/>
              <a:gd name="T7" fmla="*/ 2871 h 2871"/>
              <a:gd name="T8" fmla="*/ 1770 w 1770"/>
              <a:gd name="T9" fmla="*/ 2606 h 2871"/>
              <a:gd name="T10" fmla="*/ 1770 w 1770"/>
              <a:gd name="T11" fmla="*/ 404 h 2871"/>
              <a:gd name="T12" fmla="*/ 697 w 1770"/>
              <a:gd name="T13" fmla="*/ 0 h 2871"/>
            </a:gdLst>
            <a:ahLst/>
            <a:cxnLst>
              <a:cxn ang="0">
                <a:pos x="T0" y="T1"/>
              </a:cxn>
              <a:cxn ang="0">
                <a:pos x="T2" y="T3"/>
              </a:cxn>
              <a:cxn ang="0">
                <a:pos x="T4" y="T5"/>
              </a:cxn>
              <a:cxn ang="0">
                <a:pos x="T6" y="T7"/>
              </a:cxn>
              <a:cxn ang="0">
                <a:pos x="T8" y="T9"/>
              </a:cxn>
              <a:cxn ang="0">
                <a:pos x="T10" y="T11"/>
              </a:cxn>
              <a:cxn ang="0">
                <a:pos x="T12" y="T13"/>
              </a:cxn>
            </a:cxnLst>
            <a:rect l="0" t="0" r="r" b="b"/>
            <a:pathLst>
              <a:path w="1770" h="2871">
                <a:moveTo>
                  <a:pt x="697" y="0"/>
                </a:moveTo>
                <a:lnTo>
                  <a:pt x="14" y="265"/>
                </a:lnTo>
                <a:lnTo>
                  <a:pt x="0" y="2453"/>
                </a:lnTo>
                <a:lnTo>
                  <a:pt x="1073" y="2871"/>
                </a:lnTo>
                <a:lnTo>
                  <a:pt x="1770" y="2606"/>
                </a:lnTo>
                <a:lnTo>
                  <a:pt x="1770" y="404"/>
                </a:lnTo>
                <a:lnTo>
                  <a:pt x="697" y="0"/>
                </a:lnTo>
                <a:close/>
              </a:path>
            </a:pathLst>
          </a:custGeom>
          <a:solidFill>
            <a:schemeClr val="accent1"/>
          </a:solidFill>
          <a:ln>
            <a:noFill/>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HarmonyOS Sans SC"/>
              <a:cs typeface="Cordia New" panose="020B0304020202020204" pitchFamily="34" charset="-34"/>
            </a:endParaRPr>
          </a:p>
        </p:txBody>
      </p:sp>
      <p:sp>
        <p:nvSpPr>
          <p:cNvPr id="11" name="Freeform 14">
            <a:extLst>
              <a:ext uri="{FF2B5EF4-FFF2-40B4-BE49-F238E27FC236}">
                <a16:creationId xmlns:a16="http://schemas.microsoft.com/office/drawing/2014/main" id="{6D305076-D5AF-448D-8827-AFFE49AE2818}"/>
              </a:ext>
            </a:extLst>
          </p:cNvPr>
          <p:cNvSpPr>
            <a:spLocks/>
          </p:cNvSpPr>
          <p:nvPr/>
        </p:nvSpPr>
        <p:spPr bwMode="auto">
          <a:xfrm>
            <a:off x="7933091" y="3145781"/>
            <a:ext cx="1360281" cy="2206423"/>
          </a:xfrm>
          <a:custGeom>
            <a:avLst/>
            <a:gdLst>
              <a:gd name="T0" fmla="*/ 697 w 1770"/>
              <a:gd name="T1" fmla="*/ 0 h 2871"/>
              <a:gd name="T2" fmla="*/ 14 w 1770"/>
              <a:gd name="T3" fmla="*/ 265 h 2871"/>
              <a:gd name="T4" fmla="*/ 0 w 1770"/>
              <a:gd name="T5" fmla="*/ 2453 h 2871"/>
              <a:gd name="T6" fmla="*/ 1073 w 1770"/>
              <a:gd name="T7" fmla="*/ 2871 h 2871"/>
              <a:gd name="T8" fmla="*/ 1770 w 1770"/>
              <a:gd name="T9" fmla="*/ 2606 h 2871"/>
              <a:gd name="T10" fmla="*/ 1770 w 1770"/>
              <a:gd name="T11" fmla="*/ 404 h 2871"/>
              <a:gd name="T12" fmla="*/ 697 w 1770"/>
              <a:gd name="T13" fmla="*/ 0 h 2871"/>
            </a:gdLst>
            <a:ahLst/>
            <a:cxnLst>
              <a:cxn ang="0">
                <a:pos x="T0" y="T1"/>
              </a:cxn>
              <a:cxn ang="0">
                <a:pos x="T2" y="T3"/>
              </a:cxn>
              <a:cxn ang="0">
                <a:pos x="T4" y="T5"/>
              </a:cxn>
              <a:cxn ang="0">
                <a:pos x="T6" y="T7"/>
              </a:cxn>
              <a:cxn ang="0">
                <a:pos x="T8" y="T9"/>
              </a:cxn>
              <a:cxn ang="0">
                <a:pos x="T10" y="T11"/>
              </a:cxn>
              <a:cxn ang="0">
                <a:pos x="T12" y="T13"/>
              </a:cxn>
            </a:cxnLst>
            <a:rect l="0" t="0" r="r" b="b"/>
            <a:pathLst>
              <a:path w="1770" h="2871">
                <a:moveTo>
                  <a:pt x="697" y="0"/>
                </a:moveTo>
                <a:lnTo>
                  <a:pt x="14" y="265"/>
                </a:lnTo>
                <a:lnTo>
                  <a:pt x="0" y="2453"/>
                </a:lnTo>
                <a:lnTo>
                  <a:pt x="1073" y="2871"/>
                </a:lnTo>
                <a:lnTo>
                  <a:pt x="1770" y="2606"/>
                </a:lnTo>
                <a:lnTo>
                  <a:pt x="1770" y="404"/>
                </a:lnTo>
                <a:lnTo>
                  <a:pt x="697" y="0"/>
                </a:lnTo>
              </a:path>
            </a:pathLst>
          </a:custGeom>
          <a:gradFill flip="none" rotWithShape="1">
            <a:gsLst>
              <a:gs pos="0">
                <a:schemeClr val="accent1"/>
              </a:gs>
              <a:gs pos="75000">
                <a:schemeClr val="accent1">
                  <a:lumMod val="40000"/>
                  <a:lumOff val="60000"/>
                </a:schemeClr>
              </a:gs>
              <a:gs pos="11000">
                <a:schemeClr val="accent1">
                  <a:lumMod val="60000"/>
                  <a:lumOff val="40000"/>
                </a:schemeClr>
              </a:gs>
            </a:gsLst>
            <a:lin ang="540000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1800" b="0" i="0" u="none" strike="noStrike" kern="1200" cap="none" spc="0" normalizeH="0" baseline="0" noProof="0">
              <a:ln>
                <a:noFill/>
              </a:ln>
              <a:solidFill>
                <a:srgbClr val="222222"/>
              </a:solidFill>
              <a:effectLst/>
              <a:uLnTx/>
              <a:uFillTx/>
              <a:latin typeface="Inter"/>
              <a:cs typeface="+mn-cs"/>
            </a:endParaRPr>
          </a:p>
        </p:txBody>
      </p:sp>
      <p:sp>
        <p:nvSpPr>
          <p:cNvPr id="12" name="Freeform 15">
            <a:extLst>
              <a:ext uri="{FF2B5EF4-FFF2-40B4-BE49-F238E27FC236}">
                <a16:creationId xmlns:a16="http://schemas.microsoft.com/office/drawing/2014/main" id="{77F969C6-EE89-4A04-B001-20AFCBD3FDF7}"/>
              </a:ext>
            </a:extLst>
          </p:cNvPr>
          <p:cNvSpPr>
            <a:spLocks/>
          </p:cNvSpPr>
          <p:nvPr/>
        </p:nvSpPr>
        <p:spPr bwMode="auto">
          <a:xfrm>
            <a:off x="8757714" y="3456263"/>
            <a:ext cx="535659" cy="1895941"/>
          </a:xfrm>
          <a:custGeom>
            <a:avLst/>
            <a:gdLst>
              <a:gd name="T0" fmla="*/ 697 w 697"/>
              <a:gd name="T1" fmla="*/ 0 h 2467"/>
              <a:gd name="T2" fmla="*/ 0 w 697"/>
              <a:gd name="T3" fmla="*/ 279 h 2467"/>
              <a:gd name="T4" fmla="*/ 0 w 697"/>
              <a:gd name="T5" fmla="*/ 2467 h 2467"/>
              <a:gd name="T6" fmla="*/ 697 w 697"/>
              <a:gd name="T7" fmla="*/ 2202 h 2467"/>
              <a:gd name="T8" fmla="*/ 697 w 697"/>
              <a:gd name="T9" fmla="*/ 0 h 2467"/>
            </a:gdLst>
            <a:ahLst/>
            <a:cxnLst>
              <a:cxn ang="0">
                <a:pos x="T0" y="T1"/>
              </a:cxn>
              <a:cxn ang="0">
                <a:pos x="T2" y="T3"/>
              </a:cxn>
              <a:cxn ang="0">
                <a:pos x="T4" y="T5"/>
              </a:cxn>
              <a:cxn ang="0">
                <a:pos x="T6" y="T7"/>
              </a:cxn>
              <a:cxn ang="0">
                <a:pos x="T8" y="T9"/>
              </a:cxn>
            </a:cxnLst>
            <a:rect l="0" t="0" r="r" b="b"/>
            <a:pathLst>
              <a:path w="697" h="2467">
                <a:moveTo>
                  <a:pt x="697" y="0"/>
                </a:moveTo>
                <a:lnTo>
                  <a:pt x="0" y="279"/>
                </a:lnTo>
                <a:lnTo>
                  <a:pt x="0" y="2467"/>
                </a:lnTo>
                <a:lnTo>
                  <a:pt x="697" y="2202"/>
                </a:lnTo>
                <a:lnTo>
                  <a:pt x="697" y="0"/>
                </a:lnTo>
                <a:close/>
              </a:path>
            </a:pathLst>
          </a:custGeom>
          <a:solidFill>
            <a:schemeClr val="accent5"/>
          </a:solidFill>
          <a:ln>
            <a:noFill/>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HarmonyOS Sans SC"/>
              <a:cs typeface="Cordia New" panose="020B0304020202020204" pitchFamily="34" charset="-34"/>
            </a:endParaRPr>
          </a:p>
        </p:txBody>
      </p:sp>
      <p:sp>
        <p:nvSpPr>
          <p:cNvPr id="13" name="Freeform 16">
            <a:extLst>
              <a:ext uri="{FF2B5EF4-FFF2-40B4-BE49-F238E27FC236}">
                <a16:creationId xmlns:a16="http://schemas.microsoft.com/office/drawing/2014/main" id="{0E092877-96D7-4BDD-97DC-ACD95BBC698C}"/>
              </a:ext>
            </a:extLst>
          </p:cNvPr>
          <p:cNvSpPr>
            <a:spLocks/>
          </p:cNvSpPr>
          <p:nvPr/>
        </p:nvSpPr>
        <p:spPr bwMode="auto">
          <a:xfrm>
            <a:off x="8757714" y="3456263"/>
            <a:ext cx="535659" cy="1895941"/>
          </a:xfrm>
          <a:custGeom>
            <a:avLst/>
            <a:gdLst>
              <a:gd name="T0" fmla="*/ 697 w 697"/>
              <a:gd name="T1" fmla="*/ 0 h 2467"/>
              <a:gd name="T2" fmla="*/ 0 w 697"/>
              <a:gd name="T3" fmla="*/ 279 h 2467"/>
              <a:gd name="T4" fmla="*/ 0 w 697"/>
              <a:gd name="T5" fmla="*/ 2467 h 2467"/>
              <a:gd name="T6" fmla="*/ 697 w 697"/>
              <a:gd name="T7" fmla="*/ 2202 h 2467"/>
              <a:gd name="T8" fmla="*/ 697 w 697"/>
              <a:gd name="T9" fmla="*/ 0 h 2467"/>
            </a:gdLst>
            <a:ahLst/>
            <a:cxnLst>
              <a:cxn ang="0">
                <a:pos x="T0" y="T1"/>
              </a:cxn>
              <a:cxn ang="0">
                <a:pos x="T2" y="T3"/>
              </a:cxn>
              <a:cxn ang="0">
                <a:pos x="T4" y="T5"/>
              </a:cxn>
              <a:cxn ang="0">
                <a:pos x="T6" y="T7"/>
              </a:cxn>
              <a:cxn ang="0">
                <a:pos x="T8" y="T9"/>
              </a:cxn>
            </a:cxnLst>
            <a:rect l="0" t="0" r="r" b="b"/>
            <a:pathLst>
              <a:path w="697" h="2467">
                <a:moveTo>
                  <a:pt x="697" y="0"/>
                </a:moveTo>
                <a:lnTo>
                  <a:pt x="0" y="279"/>
                </a:lnTo>
                <a:lnTo>
                  <a:pt x="0" y="2467"/>
                </a:lnTo>
                <a:lnTo>
                  <a:pt x="697" y="2202"/>
                </a:lnTo>
                <a:lnTo>
                  <a:pt x="69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HarmonyOS Sans SC"/>
              <a:cs typeface="Cordia New" panose="020B0304020202020204" pitchFamily="34" charset="-34"/>
            </a:endParaRPr>
          </a:p>
        </p:txBody>
      </p:sp>
      <p:sp>
        <p:nvSpPr>
          <p:cNvPr id="14" name="Freeform 17">
            <a:extLst>
              <a:ext uri="{FF2B5EF4-FFF2-40B4-BE49-F238E27FC236}">
                <a16:creationId xmlns:a16="http://schemas.microsoft.com/office/drawing/2014/main" id="{A5207F60-4873-498F-982E-4A21B8261218}"/>
              </a:ext>
            </a:extLst>
          </p:cNvPr>
          <p:cNvSpPr>
            <a:spLocks/>
          </p:cNvSpPr>
          <p:nvPr/>
        </p:nvSpPr>
        <p:spPr bwMode="auto">
          <a:xfrm>
            <a:off x="7933091" y="3349439"/>
            <a:ext cx="824622" cy="2002764"/>
          </a:xfrm>
          <a:custGeom>
            <a:avLst/>
            <a:gdLst>
              <a:gd name="T0" fmla="*/ 14 w 1073"/>
              <a:gd name="T1" fmla="*/ 0 h 2606"/>
              <a:gd name="T2" fmla="*/ 14 w 1073"/>
              <a:gd name="T3" fmla="*/ 0 h 2606"/>
              <a:gd name="T4" fmla="*/ 0 w 1073"/>
              <a:gd name="T5" fmla="*/ 2188 h 2606"/>
              <a:gd name="T6" fmla="*/ 1073 w 1073"/>
              <a:gd name="T7" fmla="*/ 2606 h 2606"/>
              <a:gd name="T8" fmla="*/ 1073 w 1073"/>
              <a:gd name="T9" fmla="*/ 418 h 2606"/>
              <a:gd name="T10" fmla="*/ 14 w 1073"/>
              <a:gd name="T11" fmla="*/ 0 h 2606"/>
            </a:gdLst>
            <a:ahLst/>
            <a:cxnLst>
              <a:cxn ang="0">
                <a:pos x="T0" y="T1"/>
              </a:cxn>
              <a:cxn ang="0">
                <a:pos x="T2" y="T3"/>
              </a:cxn>
              <a:cxn ang="0">
                <a:pos x="T4" y="T5"/>
              </a:cxn>
              <a:cxn ang="0">
                <a:pos x="T6" y="T7"/>
              </a:cxn>
              <a:cxn ang="0">
                <a:pos x="T8" y="T9"/>
              </a:cxn>
              <a:cxn ang="0">
                <a:pos x="T10" y="T11"/>
              </a:cxn>
            </a:cxnLst>
            <a:rect l="0" t="0" r="r" b="b"/>
            <a:pathLst>
              <a:path w="1073" h="2606">
                <a:moveTo>
                  <a:pt x="14" y="0"/>
                </a:moveTo>
                <a:lnTo>
                  <a:pt x="14" y="0"/>
                </a:lnTo>
                <a:lnTo>
                  <a:pt x="0" y="2188"/>
                </a:lnTo>
                <a:lnTo>
                  <a:pt x="1073" y="2606"/>
                </a:lnTo>
                <a:lnTo>
                  <a:pt x="1073" y="418"/>
                </a:lnTo>
                <a:lnTo>
                  <a:pt x="14" y="0"/>
                </a:lnTo>
                <a:close/>
              </a:path>
            </a:pathLst>
          </a:custGeom>
          <a:gradFill flip="none" rotWithShape="1">
            <a:gsLst>
              <a:gs pos="24000">
                <a:schemeClr val="accent1"/>
              </a:gs>
              <a:gs pos="100000">
                <a:schemeClr val="accent1">
                  <a:lumMod val="60000"/>
                  <a:lumOff val="40000"/>
                </a:schemeClr>
              </a:gs>
            </a:gsLst>
            <a:lin ang="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1800" b="0" i="0" u="none" strike="noStrike" kern="1200" cap="none" spc="0" normalizeH="0" baseline="0" noProof="0">
              <a:ln>
                <a:noFill/>
              </a:ln>
              <a:solidFill>
                <a:srgbClr val="222222"/>
              </a:solidFill>
              <a:effectLst/>
              <a:uLnTx/>
              <a:uFillTx/>
              <a:latin typeface="Inter"/>
              <a:cs typeface="+mn-cs"/>
            </a:endParaRPr>
          </a:p>
        </p:txBody>
      </p:sp>
      <p:sp>
        <p:nvSpPr>
          <p:cNvPr id="15" name="Freeform 18">
            <a:extLst>
              <a:ext uri="{FF2B5EF4-FFF2-40B4-BE49-F238E27FC236}">
                <a16:creationId xmlns:a16="http://schemas.microsoft.com/office/drawing/2014/main" id="{C1A83E47-F139-4A45-9CEF-6F1DDFD3769F}"/>
              </a:ext>
            </a:extLst>
          </p:cNvPr>
          <p:cNvSpPr>
            <a:spLocks/>
          </p:cNvSpPr>
          <p:nvPr/>
        </p:nvSpPr>
        <p:spPr bwMode="auto">
          <a:xfrm>
            <a:off x="7933091" y="3349439"/>
            <a:ext cx="824622" cy="2002764"/>
          </a:xfrm>
          <a:custGeom>
            <a:avLst/>
            <a:gdLst>
              <a:gd name="T0" fmla="*/ 14 w 1073"/>
              <a:gd name="T1" fmla="*/ 0 h 2606"/>
              <a:gd name="T2" fmla="*/ 14 w 1073"/>
              <a:gd name="T3" fmla="*/ 0 h 2606"/>
              <a:gd name="T4" fmla="*/ 0 w 1073"/>
              <a:gd name="T5" fmla="*/ 2188 h 2606"/>
              <a:gd name="T6" fmla="*/ 1073 w 1073"/>
              <a:gd name="T7" fmla="*/ 2606 h 2606"/>
              <a:gd name="T8" fmla="*/ 1073 w 1073"/>
              <a:gd name="T9" fmla="*/ 418 h 2606"/>
              <a:gd name="T10" fmla="*/ 14 w 1073"/>
              <a:gd name="T11" fmla="*/ 0 h 2606"/>
            </a:gdLst>
            <a:ahLst/>
            <a:cxnLst>
              <a:cxn ang="0">
                <a:pos x="T0" y="T1"/>
              </a:cxn>
              <a:cxn ang="0">
                <a:pos x="T2" y="T3"/>
              </a:cxn>
              <a:cxn ang="0">
                <a:pos x="T4" y="T5"/>
              </a:cxn>
              <a:cxn ang="0">
                <a:pos x="T6" y="T7"/>
              </a:cxn>
              <a:cxn ang="0">
                <a:pos x="T8" y="T9"/>
              </a:cxn>
              <a:cxn ang="0">
                <a:pos x="T10" y="T11"/>
              </a:cxn>
            </a:cxnLst>
            <a:rect l="0" t="0" r="r" b="b"/>
            <a:pathLst>
              <a:path w="1073" h="2606">
                <a:moveTo>
                  <a:pt x="14" y="0"/>
                </a:moveTo>
                <a:lnTo>
                  <a:pt x="14" y="0"/>
                </a:lnTo>
                <a:lnTo>
                  <a:pt x="0" y="2188"/>
                </a:lnTo>
                <a:lnTo>
                  <a:pt x="1073" y="2606"/>
                </a:lnTo>
                <a:lnTo>
                  <a:pt x="1073" y="418"/>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HarmonyOS Sans SC"/>
              <a:cs typeface="Cordia New" panose="020B0304020202020204" pitchFamily="34" charset="-34"/>
            </a:endParaRPr>
          </a:p>
        </p:txBody>
      </p:sp>
      <p:sp>
        <p:nvSpPr>
          <p:cNvPr id="17" name="Freeform 19">
            <a:extLst>
              <a:ext uri="{FF2B5EF4-FFF2-40B4-BE49-F238E27FC236}">
                <a16:creationId xmlns:a16="http://schemas.microsoft.com/office/drawing/2014/main" id="{2B372095-738A-43CF-9598-71E3333EAEB3}"/>
              </a:ext>
            </a:extLst>
          </p:cNvPr>
          <p:cNvSpPr>
            <a:spLocks/>
          </p:cNvSpPr>
          <p:nvPr/>
        </p:nvSpPr>
        <p:spPr bwMode="auto">
          <a:xfrm>
            <a:off x="8738808" y="3092323"/>
            <a:ext cx="1349523" cy="2570701"/>
          </a:xfrm>
          <a:custGeom>
            <a:avLst/>
            <a:gdLst>
              <a:gd name="T0" fmla="*/ 683 w 1756"/>
              <a:gd name="T1" fmla="*/ 0 h 3345"/>
              <a:gd name="T2" fmla="*/ 0 w 1756"/>
              <a:gd name="T3" fmla="*/ 265 h 3345"/>
              <a:gd name="T4" fmla="*/ 0 w 1756"/>
              <a:gd name="T5" fmla="*/ 2941 h 3345"/>
              <a:gd name="T6" fmla="*/ 1059 w 1756"/>
              <a:gd name="T7" fmla="*/ 3345 h 3345"/>
              <a:gd name="T8" fmla="*/ 1756 w 1756"/>
              <a:gd name="T9" fmla="*/ 3080 h 3345"/>
              <a:gd name="T10" fmla="*/ 1756 w 1756"/>
              <a:gd name="T11" fmla="*/ 418 h 3345"/>
              <a:gd name="T12" fmla="*/ 683 w 1756"/>
              <a:gd name="T13" fmla="*/ 0 h 3345"/>
            </a:gdLst>
            <a:ahLst/>
            <a:cxnLst>
              <a:cxn ang="0">
                <a:pos x="T0" y="T1"/>
              </a:cxn>
              <a:cxn ang="0">
                <a:pos x="T2" y="T3"/>
              </a:cxn>
              <a:cxn ang="0">
                <a:pos x="T4" y="T5"/>
              </a:cxn>
              <a:cxn ang="0">
                <a:pos x="T6" y="T7"/>
              </a:cxn>
              <a:cxn ang="0">
                <a:pos x="T8" y="T9"/>
              </a:cxn>
              <a:cxn ang="0">
                <a:pos x="T10" y="T11"/>
              </a:cxn>
              <a:cxn ang="0">
                <a:pos x="T12" y="T13"/>
              </a:cxn>
            </a:cxnLst>
            <a:rect l="0" t="0" r="r" b="b"/>
            <a:pathLst>
              <a:path w="1756" h="3345">
                <a:moveTo>
                  <a:pt x="683" y="0"/>
                </a:moveTo>
                <a:lnTo>
                  <a:pt x="0" y="265"/>
                </a:lnTo>
                <a:lnTo>
                  <a:pt x="0" y="2941"/>
                </a:lnTo>
                <a:lnTo>
                  <a:pt x="1059" y="3345"/>
                </a:lnTo>
                <a:lnTo>
                  <a:pt x="1756" y="3080"/>
                </a:lnTo>
                <a:lnTo>
                  <a:pt x="1756" y="418"/>
                </a:lnTo>
                <a:lnTo>
                  <a:pt x="683" y="0"/>
                </a:lnTo>
                <a:close/>
              </a:path>
            </a:pathLst>
          </a:custGeom>
          <a:gradFill flip="none" rotWithShape="1">
            <a:gsLst>
              <a:gs pos="0">
                <a:schemeClr val="accent1"/>
              </a:gs>
              <a:gs pos="75000">
                <a:schemeClr val="accent1">
                  <a:lumMod val="40000"/>
                  <a:lumOff val="60000"/>
                </a:schemeClr>
              </a:gs>
              <a:gs pos="11000">
                <a:schemeClr val="accent1">
                  <a:lumMod val="60000"/>
                  <a:lumOff val="40000"/>
                </a:schemeClr>
              </a:gs>
            </a:gsLst>
            <a:lin ang="540000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1800" b="0" i="0" u="none" strike="noStrike" kern="1200" cap="none" spc="0" normalizeH="0" baseline="0" noProof="0">
              <a:ln>
                <a:noFill/>
              </a:ln>
              <a:solidFill>
                <a:srgbClr val="222222"/>
              </a:solidFill>
              <a:effectLst/>
              <a:uLnTx/>
              <a:uFillTx/>
              <a:latin typeface="Inter"/>
              <a:cs typeface="+mn-cs"/>
            </a:endParaRPr>
          </a:p>
        </p:txBody>
      </p:sp>
      <p:sp>
        <p:nvSpPr>
          <p:cNvPr id="18" name="Freeform 20">
            <a:extLst>
              <a:ext uri="{FF2B5EF4-FFF2-40B4-BE49-F238E27FC236}">
                <a16:creationId xmlns:a16="http://schemas.microsoft.com/office/drawing/2014/main" id="{238701EF-85E3-462E-AE5F-BC0A6DB0A45E}"/>
              </a:ext>
            </a:extLst>
          </p:cNvPr>
          <p:cNvSpPr>
            <a:spLocks/>
          </p:cNvSpPr>
          <p:nvPr/>
        </p:nvSpPr>
        <p:spPr bwMode="auto">
          <a:xfrm>
            <a:off x="8738808" y="3092323"/>
            <a:ext cx="1349523" cy="2570701"/>
          </a:xfrm>
          <a:custGeom>
            <a:avLst/>
            <a:gdLst>
              <a:gd name="T0" fmla="*/ 683 w 1756"/>
              <a:gd name="T1" fmla="*/ 0 h 3345"/>
              <a:gd name="T2" fmla="*/ 0 w 1756"/>
              <a:gd name="T3" fmla="*/ 265 h 3345"/>
              <a:gd name="T4" fmla="*/ 0 w 1756"/>
              <a:gd name="T5" fmla="*/ 2941 h 3345"/>
              <a:gd name="T6" fmla="*/ 1059 w 1756"/>
              <a:gd name="T7" fmla="*/ 3345 h 3345"/>
              <a:gd name="T8" fmla="*/ 1756 w 1756"/>
              <a:gd name="T9" fmla="*/ 3080 h 3345"/>
              <a:gd name="T10" fmla="*/ 1756 w 1756"/>
              <a:gd name="T11" fmla="*/ 418 h 3345"/>
              <a:gd name="T12" fmla="*/ 683 w 1756"/>
              <a:gd name="T13" fmla="*/ 0 h 3345"/>
            </a:gdLst>
            <a:ahLst/>
            <a:cxnLst>
              <a:cxn ang="0">
                <a:pos x="T0" y="T1"/>
              </a:cxn>
              <a:cxn ang="0">
                <a:pos x="T2" y="T3"/>
              </a:cxn>
              <a:cxn ang="0">
                <a:pos x="T4" y="T5"/>
              </a:cxn>
              <a:cxn ang="0">
                <a:pos x="T6" y="T7"/>
              </a:cxn>
              <a:cxn ang="0">
                <a:pos x="T8" y="T9"/>
              </a:cxn>
              <a:cxn ang="0">
                <a:pos x="T10" y="T11"/>
              </a:cxn>
              <a:cxn ang="0">
                <a:pos x="T12" y="T13"/>
              </a:cxn>
            </a:cxnLst>
            <a:rect l="0" t="0" r="r" b="b"/>
            <a:pathLst>
              <a:path w="1756" h="3345">
                <a:moveTo>
                  <a:pt x="683" y="0"/>
                </a:moveTo>
                <a:lnTo>
                  <a:pt x="0" y="265"/>
                </a:lnTo>
                <a:lnTo>
                  <a:pt x="0" y="2941"/>
                </a:lnTo>
                <a:lnTo>
                  <a:pt x="1059" y="3345"/>
                </a:lnTo>
                <a:lnTo>
                  <a:pt x="1756" y="3080"/>
                </a:lnTo>
                <a:lnTo>
                  <a:pt x="1756" y="418"/>
                </a:lnTo>
                <a:lnTo>
                  <a:pt x="68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HarmonyOS Sans SC"/>
              <a:cs typeface="Cordia New" panose="020B0304020202020204" pitchFamily="34" charset="-34"/>
            </a:endParaRPr>
          </a:p>
        </p:txBody>
      </p:sp>
      <p:sp>
        <p:nvSpPr>
          <p:cNvPr id="19" name="Freeform 21">
            <a:extLst>
              <a:ext uri="{FF2B5EF4-FFF2-40B4-BE49-F238E27FC236}">
                <a16:creationId xmlns:a16="http://schemas.microsoft.com/office/drawing/2014/main" id="{2CF3F4F8-7F4B-4C3D-BFEE-4759B46BE85E}"/>
              </a:ext>
            </a:extLst>
          </p:cNvPr>
          <p:cNvSpPr>
            <a:spLocks/>
          </p:cNvSpPr>
          <p:nvPr/>
        </p:nvSpPr>
        <p:spPr bwMode="auto">
          <a:xfrm>
            <a:off x="9552672" y="3399661"/>
            <a:ext cx="535659" cy="2249459"/>
          </a:xfrm>
          <a:custGeom>
            <a:avLst/>
            <a:gdLst>
              <a:gd name="T0" fmla="*/ 697 w 697"/>
              <a:gd name="T1" fmla="*/ 0 h 2927"/>
              <a:gd name="T2" fmla="*/ 14 w 697"/>
              <a:gd name="T3" fmla="*/ 265 h 2927"/>
              <a:gd name="T4" fmla="*/ 0 w 697"/>
              <a:gd name="T5" fmla="*/ 2927 h 2927"/>
              <a:gd name="T6" fmla="*/ 697 w 697"/>
              <a:gd name="T7" fmla="*/ 2662 h 2927"/>
              <a:gd name="T8" fmla="*/ 697 w 697"/>
              <a:gd name="T9" fmla="*/ 0 h 2927"/>
            </a:gdLst>
            <a:ahLst/>
            <a:cxnLst>
              <a:cxn ang="0">
                <a:pos x="T0" y="T1"/>
              </a:cxn>
              <a:cxn ang="0">
                <a:pos x="T2" y="T3"/>
              </a:cxn>
              <a:cxn ang="0">
                <a:pos x="T4" y="T5"/>
              </a:cxn>
              <a:cxn ang="0">
                <a:pos x="T6" y="T7"/>
              </a:cxn>
              <a:cxn ang="0">
                <a:pos x="T8" y="T9"/>
              </a:cxn>
            </a:cxnLst>
            <a:rect l="0" t="0" r="r" b="b"/>
            <a:pathLst>
              <a:path w="697" h="2927">
                <a:moveTo>
                  <a:pt x="697" y="0"/>
                </a:moveTo>
                <a:lnTo>
                  <a:pt x="14" y="265"/>
                </a:lnTo>
                <a:lnTo>
                  <a:pt x="0" y="2927"/>
                </a:lnTo>
                <a:lnTo>
                  <a:pt x="697" y="2662"/>
                </a:lnTo>
                <a:lnTo>
                  <a:pt x="697" y="0"/>
                </a:lnTo>
                <a:close/>
              </a:path>
            </a:pathLst>
          </a:custGeom>
          <a:solidFill>
            <a:schemeClr val="accent3"/>
          </a:solidFill>
          <a:ln>
            <a:noFill/>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HarmonyOS Sans SC"/>
              <a:cs typeface="Cordia New" panose="020B0304020202020204" pitchFamily="34" charset="-34"/>
            </a:endParaRPr>
          </a:p>
        </p:txBody>
      </p:sp>
      <p:sp>
        <p:nvSpPr>
          <p:cNvPr id="20" name="Freeform 22">
            <a:extLst>
              <a:ext uri="{FF2B5EF4-FFF2-40B4-BE49-F238E27FC236}">
                <a16:creationId xmlns:a16="http://schemas.microsoft.com/office/drawing/2014/main" id="{7DE83471-0AB6-40F8-AA45-49A0E3A4A759}"/>
              </a:ext>
            </a:extLst>
          </p:cNvPr>
          <p:cNvSpPr>
            <a:spLocks/>
          </p:cNvSpPr>
          <p:nvPr/>
        </p:nvSpPr>
        <p:spPr bwMode="auto">
          <a:xfrm>
            <a:off x="9552672" y="3399661"/>
            <a:ext cx="535659" cy="2249459"/>
          </a:xfrm>
          <a:custGeom>
            <a:avLst/>
            <a:gdLst>
              <a:gd name="T0" fmla="*/ 697 w 697"/>
              <a:gd name="T1" fmla="*/ 0 h 2927"/>
              <a:gd name="T2" fmla="*/ 14 w 697"/>
              <a:gd name="T3" fmla="*/ 265 h 2927"/>
              <a:gd name="T4" fmla="*/ 0 w 697"/>
              <a:gd name="T5" fmla="*/ 2927 h 2927"/>
              <a:gd name="T6" fmla="*/ 697 w 697"/>
              <a:gd name="T7" fmla="*/ 2662 h 2927"/>
              <a:gd name="T8" fmla="*/ 697 w 697"/>
              <a:gd name="T9" fmla="*/ 0 h 2927"/>
            </a:gdLst>
            <a:ahLst/>
            <a:cxnLst>
              <a:cxn ang="0">
                <a:pos x="T0" y="T1"/>
              </a:cxn>
              <a:cxn ang="0">
                <a:pos x="T2" y="T3"/>
              </a:cxn>
              <a:cxn ang="0">
                <a:pos x="T4" y="T5"/>
              </a:cxn>
              <a:cxn ang="0">
                <a:pos x="T6" y="T7"/>
              </a:cxn>
              <a:cxn ang="0">
                <a:pos x="T8" y="T9"/>
              </a:cxn>
            </a:cxnLst>
            <a:rect l="0" t="0" r="r" b="b"/>
            <a:pathLst>
              <a:path w="697" h="2927">
                <a:moveTo>
                  <a:pt x="697" y="0"/>
                </a:moveTo>
                <a:lnTo>
                  <a:pt x="14" y="265"/>
                </a:lnTo>
                <a:lnTo>
                  <a:pt x="0" y="2927"/>
                </a:lnTo>
                <a:lnTo>
                  <a:pt x="697" y="2662"/>
                </a:lnTo>
                <a:lnTo>
                  <a:pt x="69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HarmonyOS Sans SC"/>
              <a:cs typeface="Cordia New" panose="020B0304020202020204" pitchFamily="34" charset="-34"/>
            </a:endParaRPr>
          </a:p>
        </p:txBody>
      </p:sp>
      <p:sp>
        <p:nvSpPr>
          <p:cNvPr id="21" name="Freeform 23">
            <a:extLst>
              <a:ext uri="{FF2B5EF4-FFF2-40B4-BE49-F238E27FC236}">
                <a16:creationId xmlns:a16="http://schemas.microsoft.com/office/drawing/2014/main" id="{F1BC1274-6219-46BC-AA95-EE288B6453A7}"/>
              </a:ext>
            </a:extLst>
          </p:cNvPr>
          <p:cNvSpPr>
            <a:spLocks/>
          </p:cNvSpPr>
          <p:nvPr/>
        </p:nvSpPr>
        <p:spPr bwMode="auto">
          <a:xfrm>
            <a:off x="8738808" y="3295981"/>
            <a:ext cx="824622" cy="2367042"/>
          </a:xfrm>
          <a:custGeom>
            <a:avLst/>
            <a:gdLst>
              <a:gd name="T0" fmla="*/ 0 w 1073"/>
              <a:gd name="T1" fmla="*/ 0 h 3080"/>
              <a:gd name="T2" fmla="*/ 0 w 1073"/>
              <a:gd name="T3" fmla="*/ 0 h 3080"/>
              <a:gd name="T4" fmla="*/ 0 w 1073"/>
              <a:gd name="T5" fmla="*/ 2676 h 3080"/>
              <a:gd name="T6" fmla="*/ 1059 w 1073"/>
              <a:gd name="T7" fmla="*/ 3080 h 3080"/>
              <a:gd name="T8" fmla="*/ 1073 w 1073"/>
              <a:gd name="T9" fmla="*/ 418 h 3080"/>
              <a:gd name="T10" fmla="*/ 0 w 1073"/>
              <a:gd name="T11" fmla="*/ 0 h 3080"/>
            </a:gdLst>
            <a:ahLst/>
            <a:cxnLst>
              <a:cxn ang="0">
                <a:pos x="T0" y="T1"/>
              </a:cxn>
              <a:cxn ang="0">
                <a:pos x="T2" y="T3"/>
              </a:cxn>
              <a:cxn ang="0">
                <a:pos x="T4" y="T5"/>
              </a:cxn>
              <a:cxn ang="0">
                <a:pos x="T6" y="T7"/>
              </a:cxn>
              <a:cxn ang="0">
                <a:pos x="T8" y="T9"/>
              </a:cxn>
              <a:cxn ang="0">
                <a:pos x="T10" y="T11"/>
              </a:cxn>
            </a:cxnLst>
            <a:rect l="0" t="0" r="r" b="b"/>
            <a:pathLst>
              <a:path w="1073" h="3080">
                <a:moveTo>
                  <a:pt x="0" y="0"/>
                </a:moveTo>
                <a:lnTo>
                  <a:pt x="0" y="0"/>
                </a:lnTo>
                <a:lnTo>
                  <a:pt x="0" y="2676"/>
                </a:lnTo>
                <a:lnTo>
                  <a:pt x="1059" y="3080"/>
                </a:lnTo>
                <a:lnTo>
                  <a:pt x="1073" y="418"/>
                </a:lnTo>
                <a:lnTo>
                  <a:pt x="0" y="0"/>
                </a:lnTo>
                <a:close/>
              </a:path>
            </a:pathLst>
          </a:custGeom>
          <a:gradFill flip="none" rotWithShape="1">
            <a:gsLst>
              <a:gs pos="24000">
                <a:schemeClr val="accent1"/>
              </a:gs>
              <a:gs pos="100000">
                <a:schemeClr val="accent1">
                  <a:lumMod val="60000"/>
                  <a:lumOff val="40000"/>
                </a:schemeClr>
              </a:gs>
            </a:gsLst>
            <a:lin ang="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1800" b="0" i="0" u="none" strike="noStrike" kern="1200" cap="none" spc="0" normalizeH="0" baseline="0" noProof="0">
              <a:ln>
                <a:noFill/>
              </a:ln>
              <a:solidFill>
                <a:srgbClr val="222222"/>
              </a:solidFill>
              <a:effectLst/>
              <a:uLnTx/>
              <a:uFillTx/>
              <a:latin typeface="Inter"/>
              <a:cs typeface="+mn-cs"/>
            </a:endParaRPr>
          </a:p>
        </p:txBody>
      </p:sp>
      <p:sp>
        <p:nvSpPr>
          <p:cNvPr id="22" name="Freeform 24">
            <a:extLst>
              <a:ext uri="{FF2B5EF4-FFF2-40B4-BE49-F238E27FC236}">
                <a16:creationId xmlns:a16="http://schemas.microsoft.com/office/drawing/2014/main" id="{DC66AA48-FA5A-4229-A785-BD1C54B8E921}"/>
              </a:ext>
            </a:extLst>
          </p:cNvPr>
          <p:cNvSpPr>
            <a:spLocks/>
          </p:cNvSpPr>
          <p:nvPr/>
        </p:nvSpPr>
        <p:spPr bwMode="auto">
          <a:xfrm>
            <a:off x="8738808" y="3295981"/>
            <a:ext cx="824622" cy="2367042"/>
          </a:xfrm>
          <a:custGeom>
            <a:avLst/>
            <a:gdLst>
              <a:gd name="T0" fmla="*/ 0 w 1073"/>
              <a:gd name="T1" fmla="*/ 0 h 3080"/>
              <a:gd name="T2" fmla="*/ 0 w 1073"/>
              <a:gd name="T3" fmla="*/ 0 h 3080"/>
              <a:gd name="T4" fmla="*/ 0 w 1073"/>
              <a:gd name="T5" fmla="*/ 2676 h 3080"/>
              <a:gd name="T6" fmla="*/ 1059 w 1073"/>
              <a:gd name="T7" fmla="*/ 3080 h 3080"/>
              <a:gd name="T8" fmla="*/ 1073 w 1073"/>
              <a:gd name="T9" fmla="*/ 418 h 3080"/>
              <a:gd name="T10" fmla="*/ 0 w 1073"/>
              <a:gd name="T11" fmla="*/ 0 h 3080"/>
            </a:gdLst>
            <a:ahLst/>
            <a:cxnLst>
              <a:cxn ang="0">
                <a:pos x="T0" y="T1"/>
              </a:cxn>
              <a:cxn ang="0">
                <a:pos x="T2" y="T3"/>
              </a:cxn>
              <a:cxn ang="0">
                <a:pos x="T4" y="T5"/>
              </a:cxn>
              <a:cxn ang="0">
                <a:pos x="T6" y="T7"/>
              </a:cxn>
              <a:cxn ang="0">
                <a:pos x="T8" y="T9"/>
              </a:cxn>
              <a:cxn ang="0">
                <a:pos x="T10" y="T11"/>
              </a:cxn>
            </a:cxnLst>
            <a:rect l="0" t="0" r="r" b="b"/>
            <a:pathLst>
              <a:path w="1073" h="3080">
                <a:moveTo>
                  <a:pt x="0" y="0"/>
                </a:moveTo>
                <a:lnTo>
                  <a:pt x="0" y="0"/>
                </a:lnTo>
                <a:lnTo>
                  <a:pt x="0" y="2676"/>
                </a:lnTo>
                <a:lnTo>
                  <a:pt x="1059" y="3080"/>
                </a:lnTo>
                <a:lnTo>
                  <a:pt x="1073" y="41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HarmonyOS Sans SC"/>
              <a:cs typeface="Cordia New" panose="020B0304020202020204" pitchFamily="34" charset="-34"/>
            </a:endParaRPr>
          </a:p>
        </p:txBody>
      </p:sp>
      <p:sp>
        <p:nvSpPr>
          <p:cNvPr id="24" name="Freeform 25">
            <a:extLst>
              <a:ext uri="{FF2B5EF4-FFF2-40B4-BE49-F238E27FC236}">
                <a16:creationId xmlns:a16="http://schemas.microsoft.com/office/drawing/2014/main" id="{65C81917-52E2-4554-984C-57E5B6552270}"/>
              </a:ext>
            </a:extLst>
          </p:cNvPr>
          <p:cNvSpPr>
            <a:spLocks/>
          </p:cNvSpPr>
          <p:nvPr/>
        </p:nvSpPr>
        <p:spPr bwMode="auto">
          <a:xfrm>
            <a:off x="9532137" y="2751414"/>
            <a:ext cx="1350290" cy="3224712"/>
          </a:xfrm>
          <a:custGeom>
            <a:avLst/>
            <a:gdLst>
              <a:gd name="T0" fmla="*/ 684 w 1757"/>
              <a:gd name="T1" fmla="*/ 0 h 4196"/>
              <a:gd name="T2" fmla="*/ 0 w 1757"/>
              <a:gd name="T3" fmla="*/ 265 h 4196"/>
              <a:gd name="T4" fmla="*/ 0 w 1757"/>
              <a:gd name="T5" fmla="*/ 3778 h 4196"/>
              <a:gd name="T6" fmla="*/ 1060 w 1757"/>
              <a:gd name="T7" fmla="*/ 4196 h 4196"/>
              <a:gd name="T8" fmla="*/ 1757 w 1757"/>
              <a:gd name="T9" fmla="*/ 3917 h 4196"/>
              <a:gd name="T10" fmla="*/ 1757 w 1757"/>
              <a:gd name="T11" fmla="*/ 404 h 4196"/>
              <a:gd name="T12" fmla="*/ 684 w 1757"/>
              <a:gd name="T13" fmla="*/ 0 h 4196"/>
            </a:gdLst>
            <a:ahLst/>
            <a:cxnLst>
              <a:cxn ang="0">
                <a:pos x="T0" y="T1"/>
              </a:cxn>
              <a:cxn ang="0">
                <a:pos x="T2" y="T3"/>
              </a:cxn>
              <a:cxn ang="0">
                <a:pos x="T4" y="T5"/>
              </a:cxn>
              <a:cxn ang="0">
                <a:pos x="T6" y="T7"/>
              </a:cxn>
              <a:cxn ang="0">
                <a:pos x="T8" y="T9"/>
              </a:cxn>
              <a:cxn ang="0">
                <a:pos x="T10" y="T11"/>
              </a:cxn>
              <a:cxn ang="0">
                <a:pos x="T12" y="T13"/>
              </a:cxn>
            </a:cxnLst>
            <a:rect l="0" t="0" r="r" b="b"/>
            <a:pathLst>
              <a:path w="1757" h="4196">
                <a:moveTo>
                  <a:pt x="684" y="0"/>
                </a:moveTo>
                <a:lnTo>
                  <a:pt x="0" y="265"/>
                </a:lnTo>
                <a:lnTo>
                  <a:pt x="0" y="3778"/>
                </a:lnTo>
                <a:lnTo>
                  <a:pt x="1060" y="4196"/>
                </a:lnTo>
                <a:lnTo>
                  <a:pt x="1757" y="3917"/>
                </a:lnTo>
                <a:lnTo>
                  <a:pt x="1757" y="404"/>
                </a:lnTo>
                <a:lnTo>
                  <a:pt x="684" y="0"/>
                </a:lnTo>
                <a:close/>
              </a:path>
            </a:pathLst>
          </a:custGeom>
          <a:gradFill flip="none" rotWithShape="1">
            <a:gsLst>
              <a:gs pos="0">
                <a:schemeClr val="accent1"/>
              </a:gs>
              <a:gs pos="75000">
                <a:schemeClr val="accent1">
                  <a:lumMod val="40000"/>
                  <a:lumOff val="60000"/>
                </a:schemeClr>
              </a:gs>
              <a:gs pos="11000">
                <a:schemeClr val="accent1">
                  <a:lumMod val="60000"/>
                  <a:lumOff val="40000"/>
                </a:schemeClr>
              </a:gs>
            </a:gsLst>
            <a:lin ang="540000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1800" b="0" i="0" u="none" strike="noStrike" kern="1200" cap="none" spc="0" normalizeH="0" baseline="0" noProof="0">
              <a:ln>
                <a:noFill/>
              </a:ln>
              <a:solidFill>
                <a:srgbClr val="222222"/>
              </a:solidFill>
              <a:effectLst/>
              <a:uLnTx/>
              <a:uFillTx/>
              <a:latin typeface="Inter"/>
              <a:cs typeface="+mn-cs"/>
            </a:endParaRPr>
          </a:p>
        </p:txBody>
      </p:sp>
      <p:sp>
        <p:nvSpPr>
          <p:cNvPr id="25" name="Freeform 26">
            <a:extLst>
              <a:ext uri="{FF2B5EF4-FFF2-40B4-BE49-F238E27FC236}">
                <a16:creationId xmlns:a16="http://schemas.microsoft.com/office/drawing/2014/main" id="{8FDD7677-7454-457C-9B4E-D1C0F97CC50F}"/>
              </a:ext>
            </a:extLst>
          </p:cNvPr>
          <p:cNvSpPr>
            <a:spLocks/>
          </p:cNvSpPr>
          <p:nvPr/>
        </p:nvSpPr>
        <p:spPr bwMode="auto">
          <a:xfrm>
            <a:off x="9532137" y="2751414"/>
            <a:ext cx="1350290" cy="3224712"/>
          </a:xfrm>
          <a:custGeom>
            <a:avLst/>
            <a:gdLst>
              <a:gd name="T0" fmla="*/ 684 w 1757"/>
              <a:gd name="T1" fmla="*/ 0 h 4196"/>
              <a:gd name="T2" fmla="*/ 0 w 1757"/>
              <a:gd name="T3" fmla="*/ 265 h 4196"/>
              <a:gd name="T4" fmla="*/ 0 w 1757"/>
              <a:gd name="T5" fmla="*/ 3778 h 4196"/>
              <a:gd name="T6" fmla="*/ 1060 w 1757"/>
              <a:gd name="T7" fmla="*/ 4196 h 4196"/>
              <a:gd name="T8" fmla="*/ 1757 w 1757"/>
              <a:gd name="T9" fmla="*/ 3917 h 4196"/>
              <a:gd name="T10" fmla="*/ 1757 w 1757"/>
              <a:gd name="T11" fmla="*/ 404 h 4196"/>
              <a:gd name="T12" fmla="*/ 684 w 1757"/>
              <a:gd name="T13" fmla="*/ 0 h 4196"/>
            </a:gdLst>
            <a:ahLst/>
            <a:cxnLst>
              <a:cxn ang="0">
                <a:pos x="T0" y="T1"/>
              </a:cxn>
              <a:cxn ang="0">
                <a:pos x="T2" y="T3"/>
              </a:cxn>
              <a:cxn ang="0">
                <a:pos x="T4" y="T5"/>
              </a:cxn>
              <a:cxn ang="0">
                <a:pos x="T6" y="T7"/>
              </a:cxn>
              <a:cxn ang="0">
                <a:pos x="T8" y="T9"/>
              </a:cxn>
              <a:cxn ang="0">
                <a:pos x="T10" y="T11"/>
              </a:cxn>
              <a:cxn ang="0">
                <a:pos x="T12" y="T13"/>
              </a:cxn>
            </a:cxnLst>
            <a:rect l="0" t="0" r="r" b="b"/>
            <a:pathLst>
              <a:path w="1757" h="4196">
                <a:moveTo>
                  <a:pt x="684" y="0"/>
                </a:moveTo>
                <a:lnTo>
                  <a:pt x="0" y="265"/>
                </a:lnTo>
                <a:lnTo>
                  <a:pt x="0" y="3778"/>
                </a:lnTo>
                <a:lnTo>
                  <a:pt x="1060" y="4196"/>
                </a:lnTo>
                <a:lnTo>
                  <a:pt x="1757" y="3917"/>
                </a:lnTo>
                <a:lnTo>
                  <a:pt x="1757" y="404"/>
                </a:lnTo>
                <a:lnTo>
                  <a:pt x="68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HarmonyOS Sans SC"/>
              <a:cs typeface="Cordia New" panose="020B0304020202020204" pitchFamily="34" charset="-34"/>
            </a:endParaRPr>
          </a:p>
        </p:txBody>
      </p:sp>
      <p:sp>
        <p:nvSpPr>
          <p:cNvPr id="26" name="Freeform 27">
            <a:extLst>
              <a:ext uri="{FF2B5EF4-FFF2-40B4-BE49-F238E27FC236}">
                <a16:creationId xmlns:a16="http://schemas.microsoft.com/office/drawing/2014/main" id="{7F4FCC1B-EA5D-4238-A016-684D12510F4C}"/>
              </a:ext>
            </a:extLst>
          </p:cNvPr>
          <p:cNvSpPr>
            <a:spLocks/>
          </p:cNvSpPr>
          <p:nvPr/>
        </p:nvSpPr>
        <p:spPr bwMode="auto">
          <a:xfrm>
            <a:off x="10346769" y="3061896"/>
            <a:ext cx="535659" cy="2914229"/>
          </a:xfrm>
          <a:custGeom>
            <a:avLst/>
            <a:gdLst>
              <a:gd name="T0" fmla="*/ 697 w 697"/>
              <a:gd name="T1" fmla="*/ 0 h 3792"/>
              <a:gd name="T2" fmla="*/ 0 w 697"/>
              <a:gd name="T3" fmla="*/ 265 h 3792"/>
              <a:gd name="T4" fmla="*/ 0 w 697"/>
              <a:gd name="T5" fmla="*/ 3792 h 3792"/>
              <a:gd name="T6" fmla="*/ 697 w 697"/>
              <a:gd name="T7" fmla="*/ 3513 h 3792"/>
              <a:gd name="T8" fmla="*/ 697 w 697"/>
              <a:gd name="T9" fmla="*/ 0 h 3792"/>
            </a:gdLst>
            <a:ahLst/>
            <a:cxnLst>
              <a:cxn ang="0">
                <a:pos x="T0" y="T1"/>
              </a:cxn>
              <a:cxn ang="0">
                <a:pos x="T2" y="T3"/>
              </a:cxn>
              <a:cxn ang="0">
                <a:pos x="T4" y="T5"/>
              </a:cxn>
              <a:cxn ang="0">
                <a:pos x="T6" y="T7"/>
              </a:cxn>
              <a:cxn ang="0">
                <a:pos x="T8" y="T9"/>
              </a:cxn>
            </a:cxnLst>
            <a:rect l="0" t="0" r="r" b="b"/>
            <a:pathLst>
              <a:path w="697" h="3792">
                <a:moveTo>
                  <a:pt x="697" y="0"/>
                </a:moveTo>
                <a:lnTo>
                  <a:pt x="0" y="265"/>
                </a:lnTo>
                <a:lnTo>
                  <a:pt x="0" y="3792"/>
                </a:lnTo>
                <a:lnTo>
                  <a:pt x="697" y="3513"/>
                </a:lnTo>
                <a:lnTo>
                  <a:pt x="697" y="0"/>
                </a:lnTo>
                <a:close/>
              </a:path>
            </a:pathLst>
          </a:custGeom>
          <a:gradFill flip="none" rotWithShape="1">
            <a:gsLst>
              <a:gs pos="0">
                <a:schemeClr val="accent1"/>
              </a:gs>
              <a:gs pos="92000">
                <a:schemeClr val="accent1">
                  <a:lumMod val="60000"/>
                  <a:lumOff val="40000"/>
                </a:schemeClr>
              </a:gs>
            </a:gsLst>
            <a:lin ang="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1800" b="0" i="0" u="none" strike="noStrike" kern="1200" cap="none" spc="0" normalizeH="0" baseline="0" noProof="0">
              <a:ln>
                <a:noFill/>
              </a:ln>
              <a:solidFill>
                <a:srgbClr val="222222"/>
              </a:solidFill>
              <a:effectLst/>
              <a:uLnTx/>
              <a:uFillTx/>
              <a:latin typeface="Inter"/>
              <a:cs typeface="+mn-cs"/>
            </a:endParaRPr>
          </a:p>
        </p:txBody>
      </p:sp>
      <p:sp>
        <p:nvSpPr>
          <p:cNvPr id="27" name="Freeform 28">
            <a:extLst>
              <a:ext uri="{FF2B5EF4-FFF2-40B4-BE49-F238E27FC236}">
                <a16:creationId xmlns:a16="http://schemas.microsoft.com/office/drawing/2014/main" id="{1C1840B4-F0C2-4A06-933C-89BA54B53059}"/>
              </a:ext>
            </a:extLst>
          </p:cNvPr>
          <p:cNvSpPr>
            <a:spLocks/>
          </p:cNvSpPr>
          <p:nvPr/>
        </p:nvSpPr>
        <p:spPr bwMode="auto">
          <a:xfrm>
            <a:off x="10346769" y="3061896"/>
            <a:ext cx="535659" cy="2914229"/>
          </a:xfrm>
          <a:custGeom>
            <a:avLst/>
            <a:gdLst>
              <a:gd name="T0" fmla="*/ 697 w 697"/>
              <a:gd name="T1" fmla="*/ 0 h 3792"/>
              <a:gd name="T2" fmla="*/ 0 w 697"/>
              <a:gd name="T3" fmla="*/ 265 h 3792"/>
              <a:gd name="T4" fmla="*/ 0 w 697"/>
              <a:gd name="T5" fmla="*/ 3792 h 3792"/>
              <a:gd name="T6" fmla="*/ 697 w 697"/>
              <a:gd name="T7" fmla="*/ 3513 h 3792"/>
              <a:gd name="T8" fmla="*/ 697 w 697"/>
              <a:gd name="T9" fmla="*/ 0 h 3792"/>
            </a:gdLst>
            <a:ahLst/>
            <a:cxnLst>
              <a:cxn ang="0">
                <a:pos x="T0" y="T1"/>
              </a:cxn>
              <a:cxn ang="0">
                <a:pos x="T2" y="T3"/>
              </a:cxn>
              <a:cxn ang="0">
                <a:pos x="T4" y="T5"/>
              </a:cxn>
              <a:cxn ang="0">
                <a:pos x="T6" y="T7"/>
              </a:cxn>
              <a:cxn ang="0">
                <a:pos x="T8" y="T9"/>
              </a:cxn>
            </a:cxnLst>
            <a:rect l="0" t="0" r="r" b="b"/>
            <a:pathLst>
              <a:path w="697" h="3792">
                <a:moveTo>
                  <a:pt x="697" y="0"/>
                </a:moveTo>
                <a:lnTo>
                  <a:pt x="0" y="265"/>
                </a:lnTo>
                <a:lnTo>
                  <a:pt x="0" y="3792"/>
                </a:lnTo>
                <a:lnTo>
                  <a:pt x="697" y="3513"/>
                </a:lnTo>
                <a:lnTo>
                  <a:pt x="69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HarmonyOS Sans SC"/>
              <a:cs typeface="Cordia New" panose="020B0304020202020204" pitchFamily="34" charset="-34"/>
            </a:endParaRPr>
          </a:p>
        </p:txBody>
      </p:sp>
      <p:sp>
        <p:nvSpPr>
          <p:cNvPr id="28" name="Freeform 29">
            <a:extLst>
              <a:ext uri="{FF2B5EF4-FFF2-40B4-BE49-F238E27FC236}">
                <a16:creationId xmlns:a16="http://schemas.microsoft.com/office/drawing/2014/main" id="{26B49E8E-1870-4170-9D79-DCB5EC71C87D}"/>
              </a:ext>
            </a:extLst>
          </p:cNvPr>
          <p:cNvSpPr>
            <a:spLocks/>
          </p:cNvSpPr>
          <p:nvPr/>
        </p:nvSpPr>
        <p:spPr bwMode="auto">
          <a:xfrm>
            <a:off x="9532137" y="2955072"/>
            <a:ext cx="814631" cy="3021054"/>
          </a:xfrm>
          <a:custGeom>
            <a:avLst/>
            <a:gdLst>
              <a:gd name="T0" fmla="*/ 0 w 1060"/>
              <a:gd name="T1" fmla="*/ 0 h 3931"/>
              <a:gd name="T2" fmla="*/ 0 w 1060"/>
              <a:gd name="T3" fmla="*/ 0 h 3931"/>
              <a:gd name="T4" fmla="*/ 0 w 1060"/>
              <a:gd name="T5" fmla="*/ 3513 h 3931"/>
              <a:gd name="T6" fmla="*/ 1060 w 1060"/>
              <a:gd name="T7" fmla="*/ 3931 h 3931"/>
              <a:gd name="T8" fmla="*/ 1060 w 1060"/>
              <a:gd name="T9" fmla="*/ 404 h 3931"/>
              <a:gd name="T10" fmla="*/ 0 w 1060"/>
              <a:gd name="T11" fmla="*/ 0 h 3931"/>
            </a:gdLst>
            <a:ahLst/>
            <a:cxnLst>
              <a:cxn ang="0">
                <a:pos x="T0" y="T1"/>
              </a:cxn>
              <a:cxn ang="0">
                <a:pos x="T2" y="T3"/>
              </a:cxn>
              <a:cxn ang="0">
                <a:pos x="T4" y="T5"/>
              </a:cxn>
              <a:cxn ang="0">
                <a:pos x="T6" y="T7"/>
              </a:cxn>
              <a:cxn ang="0">
                <a:pos x="T8" y="T9"/>
              </a:cxn>
              <a:cxn ang="0">
                <a:pos x="T10" y="T11"/>
              </a:cxn>
            </a:cxnLst>
            <a:rect l="0" t="0" r="r" b="b"/>
            <a:pathLst>
              <a:path w="1060" h="3931">
                <a:moveTo>
                  <a:pt x="0" y="0"/>
                </a:moveTo>
                <a:lnTo>
                  <a:pt x="0" y="0"/>
                </a:lnTo>
                <a:lnTo>
                  <a:pt x="0" y="3513"/>
                </a:lnTo>
                <a:lnTo>
                  <a:pt x="1060" y="3931"/>
                </a:lnTo>
                <a:lnTo>
                  <a:pt x="1060" y="404"/>
                </a:lnTo>
                <a:lnTo>
                  <a:pt x="0" y="0"/>
                </a:lnTo>
                <a:close/>
              </a:path>
            </a:pathLst>
          </a:custGeom>
          <a:gradFill flip="none" rotWithShape="1">
            <a:gsLst>
              <a:gs pos="24000">
                <a:schemeClr val="accent1"/>
              </a:gs>
              <a:gs pos="100000">
                <a:schemeClr val="accent1">
                  <a:lumMod val="60000"/>
                  <a:lumOff val="40000"/>
                </a:schemeClr>
              </a:gs>
            </a:gsLst>
            <a:lin ang="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1800" b="0" i="0" u="none" strike="noStrike" kern="1200" cap="none" spc="0" normalizeH="0" baseline="0" noProof="0">
              <a:ln>
                <a:noFill/>
              </a:ln>
              <a:solidFill>
                <a:srgbClr val="222222"/>
              </a:solidFill>
              <a:effectLst/>
              <a:uLnTx/>
              <a:uFillTx/>
              <a:latin typeface="Inter"/>
              <a:cs typeface="+mn-cs"/>
            </a:endParaRPr>
          </a:p>
        </p:txBody>
      </p:sp>
      <p:sp>
        <p:nvSpPr>
          <p:cNvPr id="29" name="Freeform 30">
            <a:extLst>
              <a:ext uri="{FF2B5EF4-FFF2-40B4-BE49-F238E27FC236}">
                <a16:creationId xmlns:a16="http://schemas.microsoft.com/office/drawing/2014/main" id="{273E2F98-1B7E-49C3-AF34-CEF11FD15BFA}"/>
              </a:ext>
            </a:extLst>
          </p:cNvPr>
          <p:cNvSpPr>
            <a:spLocks/>
          </p:cNvSpPr>
          <p:nvPr/>
        </p:nvSpPr>
        <p:spPr bwMode="auto">
          <a:xfrm>
            <a:off x="9532137" y="2955072"/>
            <a:ext cx="814631" cy="3021054"/>
          </a:xfrm>
          <a:custGeom>
            <a:avLst/>
            <a:gdLst>
              <a:gd name="T0" fmla="*/ 0 w 1060"/>
              <a:gd name="T1" fmla="*/ 0 h 3931"/>
              <a:gd name="T2" fmla="*/ 0 w 1060"/>
              <a:gd name="T3" fmla="*/ 0 h 3931"/>
              <a:gd name="T4" fmla="*/ 0 w 1060"/>
              <a:gd name="T5" fmla="*/ 3513 h 3931"/>
              <a:gd name="T6" fmla="*/ 1060 w 1060"/>
              <a:gd name="T7" fmla="*/ 3931 h 3931"/>
              <a:gd name="T8" fmla="*/ 1060 w 1060"/>
              <a:gd name="T9" fmla="*/ 404 h 3931"/>
              <a:gd name="T10" fmla="*/ 0 w 1060"/>
              <a:gd name="T11" fmla="*/ 0 h 3931"/>
            </a:gdLst>
            <a:ahLst/>
            <a:cxnLst>
              <a:cxn ang="0">
                <a:pos x="T0" y="T1"/>
              </a:cxn>
              <a:cxn ang="0">
                <a:pos x="T2" y="T3"/>
              </a:cxn>
              <a:cxn ang="0">
                <a:pos x="T4" y="T5"/>
              </a:cxn>
              <a:cxn ang="0">
                <a:pos x="T6" y="T7"/>
              </a:cxn>
              <a:cxn ang="0">
                <a:pos x="T8" y="T9"/>
              </a:cxn>
              <a:cxn ang="0">
                <a:pos x="T10" y="T11"/>
              </a:cxn>
            </a:cxnLst>
            <a:rect l="0" t="0" r="r" b="b"/>
            <a:pathLst>
              <a:path w="1060" h="3931">
                <a:moveTo>
                  <a:pt x="0" y="0"/>
                </a:moveTo>
                <a:lnTo>
                  <a:pt x="0" y="0"/>
                </a:lnTo>
                <a:lnTo>
                  <a:pt x="0" y="3513"/>
                </a:lnTo>
                <a:lnTo>
                  <a:pt x="1060" y="3931"/>
                </a:lnTo>
                <a:lnTo>
                  <a:pt x="1060" y="404"/>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h-TH" sz="900" b="0" i="0" u="none" strike="noStrike" kern="1200" cap="none" spc="0" normalizeH="0" baseline="0" noProof="0">
              <a:ln>
                <a:noFill/>
              </a:ln>
              <a:solidFill>
                <a:prstClr val="black"/>
              </a:solidFill>
              <a:effectLst/>
              <a:uLnTx/>
              <a:uFillTx/>
              <a:latin typeface="HarmonyOS Sans SC"/>
              <a:cs typeface="Cordia New" panose="020B0304020202020204" pitchFamily="34" charset="-34"/>
            </a:endParaRPr>
          </a:p>
        </p:txBody>
      </p:sp>
      <p:sp>
        <p:nvSpPr>
          <p:cNvPr id="51" name="TextBox 33">
            <a:extLst>
              <a:ext uri="{FF2B5EF4-FFF2-40B4-BE49-F238E27FC236}">
                <a16:creationId xmlns:a16="http://schemas.microsoft.com/office/drawing/2014/main" id="{EE349774-292A-4005-B82D-8552BC390B3B}"/>
              </a:ext>
            </a:extLst>
          </p:cNvPr>
          <p:cNvSpPr txBox="1"/>
          <p:nvPr/>
        </p:nvSpPr>
        <p:spPr>
          <a:xfrm>
            <a:off x="7146219" y="2268475"/>
            <a:ext cx="1327357" cy="370650"/>
          </a:xfrm>
          <a:prstGeom prst="rect">
            <a:avLst/>
          </a:prstGeom>
          <a:noFill/>
        </p:spPr>
        <p:txBody>
          <a:bodyPr wrap="square"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HarmonyOS Sans SC Black"/>
                <a:ea typeface="+mj-ea"/>
                <a:cs typeface="Lato Black" charset="0"/>
              </a:rPr>
              <a:t>30%</a:t>
            </a:r>
            <a:endParaRPr kumimoji="0" lang="en-US" sz="1200" b="1" i="0" u="none" strike="noStrike" kern="1200" cap="none" spc="0" normalizeH="0" baseline="0" noProof="0" dirty="0">
              <a:ln>
                <a:noFill/>
              </a:ln>
              <a:solidFill>
                <a:prstClr val="white"/>
              </a:solidFill>
              <a:effectLst/>
              <a:uLnTx/>
              <a:uFillTx/>
              <a:latin typeface="HarmonyOS Sans SC Black"/>
              <a:ea typeface="+mj-ea"/>
              <a:cs typeface="Lato Black" charset="0"/>
            </a:endParaRPr>
          </a:p>
        </p:txBody>
      </p:sp>
      <p:sp>
        <p:nvSpPr>
          <p:cNvPr id="52" name="TextBox 34">
            <a:extLst>
              <a:ext uri="{FF2B5EF4-FFF2-40B4-BE49-F238E27FC236}">
                <a16:creationId xmlns:a16="http://schemas.microsoft.com/office/drawing/2014/main" id="{2AB59CE1-B885-455B-9482-9172DADBFDC1}"/>
              </a:ext>
            </a:extLst>
          </p:cNvPr>
          <p:cNvSpPr txBox="1"/>
          <p:nvPr/>
        </p:nvSpPr>
        <p:spPr>
          <a:xfrm>
            <a:off x="7788609" y="3137385"/>
            <a:ext cx="1327357" cy="370650"/>
          </a:xfrm>
          <a:prstGeom prst="rect">
            <a:avLst/>
          </a:prstGeom>
          <a:noFill/>
        </p:spPr>
        <p:txBody>
          <a:bodyPr wrap="square"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HarmonyOS Sans SC Black"/>
                <a:ea typeface="+mj-ea"/>
                <a:cs typeface="Lato Black" charset="0"/>
              </a:rPr>
              <a:t>30%</a:t>
            </a:r>
            <a:endParaRPr kumimoji="0" lang="en-US" sz="1200" b="1" i="0" u="none" strike="noStrike" kern="1200" cap="none" spc="0" normalizeH="0" baseline="0" noProof="0" dirty="0">
              <a:ln>
                <a:noFill/>
              </a:ln>
              <a:solidFill>
                <a:prstClr val="white"/>
              </a:solidFill>
              <a:effectLst/>
              <a:uLnTx/>
              <a:uFillTx/>
              <a:latin typeface="HarmonyOS Sans SC Black"/>
              <a:ea typeface="+mj-ea"/>
              <a:cs typeface="Lato Black" charset="0"/>
            </a:endParaRPr>
          </a:p>
        </p:txBody>
      </p:sp>
      <p:sp>
        <p:nvSpPr>
          <p:cNvPr id="53" name="TextBox 35">
            <a:extLst>
              <a:ext uri="{FF2B5EF4-FFF2-40B4-BE49-F238E27FC236}">
                <a16:creationId xmlns:a16="http://schemas.microsoft.com/office/drawing/2014/main" id="{A6A6D0F0-A69F-4E05-A297-2C8A36FD9D47}"/>
              </a:ext>
            </a:extLst>
          </p:cNvPr>
          <p:cNvSpPr txBox="1"/>
          <p:nvPr/>
        </p:nvSpPr>
        <p:spPr>
          <a:xfrm>
            <a:off x="8588409" y="3094100"/>
            <a:ext cx="1327357" cy="370650"/>
          </a:xfrm>
          <a:prstGeom prst="rect">
            <a:avLst/>
          </a:prstGeom>
          <a:noFill/>
        </p:spPr>
        <p:txBody>
          <a:bodyPr wrap="square"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HarmonyOS Sans SC Black"/>
                <a:ea typeface="+mj-ea"/>
                <a:cs typeface="Lato Black" charset="0"/>
              </a:rPr>
              <a:t>30%</a:t>
            </a:r>
            <a:endParaRPr kumimoji="0" lang="en-US" sz="1200" b="1" i="0" u="none" strike="noStrike" kern="1200" cap="none" spc="0" normalizeH="0" baseline="0" noProof="0" dirty="0">
              <a:ln>
                <a:noFill/>
              </a:ln>
              <a:solidFill>
                <a:prstClr val="white"/>
              </a:solidFill>
              <a:effectLst/>
              <a:uLnTx/>
              <a:uFillTx/>
              <a:latin typeface="HarmonyOS Sans SC Black"/>
              <a:ea typeface="+mj-ea"/>
              <a:cs typeface="Lato Black" charset="0"/>
            </a:endParaRPr>
          </a:p>
        </p:txBody>
      </p:sp>
      <p:sp>
        <p:nvSpPr>
          <p:cNvPr id="54" name="TextBox 36">
            <a:extLst>
              <a:ext uri="{FF2B5EF4-FFF2-40B4-BE49-F238E27FC236}">
                <a16:creationId xmlns:a16="http://schemas.microsoft.com/office/drawing/2014/main" id="{5FCE04C4-AADA-46E1-AD87-3F556DD80C10}"/>
              </a:ext>
            </a:extLst>
          </p:cNvPr>
          <p:cNvSpPr txBox="1"/>
          <p:nvPr/>
        </p:nvSpPr>
        <p:spPr>
          <a:xfrm>
            <a:off x="9575237" y="2812606"/>
            <a:ext cx="1327357" cy="370650"/>
          </a:xfrm>
          <a:prstGeom prst="rect">
            <a:avLst/>
          </a:prstGeom>
          <a:noFill/>
        </p:spPr>
        <p:txBody>
          <a:bodyPr wrap="square"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HarmonyOS Sans SC Black"/>
                <a:ea typeface="+mj-ea"/>
                <a:cs typeface="Lato Black" charset="0"/>
              </a:rPr>
              <a:t>30%</a:t>
            </a:r>
            <a:endParaRPr kumimoji="0" lang="en-US" sz="1200" b="1" i="0" u="none" strike="noStrike" kern="1200" cap="none" spc="0" normalizeH="0" baseline="0" noProof="0" dirty="0">
              <a:ln>
                <a:noFill/>
              </a:ln>
              <a:solidFill>
                <a:prstClr val="white"/>
              </a:solidFill>
              <a:effectLst/>
              <a:uLnTx/>
              <a:uFillTx/>
              <a:latin typeface="HarmonyOS Sans SC Black"/>
              <a:ea typeface="+mj-ea"/>
              <a:cs typeface="Lato Black" charset="0"/>
            </a:endParaRPr>
          </a:p>
        </p:txBody>
      </p:sp>
    </p:spTree>
    <p:extLst>
      <p:ext uri="{BB962C8B-B14F-4D97-AF65-F5344CB8AC3E}">
        <p14:creationId xmlns:p14="http://schemas.microsoft.com/office/powerpoint/2010/main" val="2041920888"/>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4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任意多边形: 形状 46">
            <a:extLst>
              <a:ext uri="{FF2B5EF4-FFF2-40B4-BE49-F238E27FC236}">
                <a16:creationId xmlns:a16="http://schemas.microsoft.com/office/drawing/2014/main" id="{2D091F47-EBBE-4BFF-8757-4E39AB05A2E0}"/>
              </a:ext>
            </a:extLst>
          </p:cNvPr>
          <p:cNvSpPr>
            <a:spLocks/>
          </p:cNvSpPr>
          <p:nvPr/>
        </p:nvSpPr>
        <p:spPr bwMode="auto">
          <a:xfrm>
            <a:off x="6244511" y="3009287"/>
            <a:ext cx="1963385" cy="3848713"/>
          </a:xfrm>
          <a:custGeom>
            <a:avLst/>
            <a:gdLst>
              <a:gd name="connsiteX0" fmla="*/ 0 w 1963385"/>
              <a:gd name="connsiteY0" fmla="*/ 2114914 h 3848713"/>
              <a:gd name="connsiteX1" fmla="*/ 311016 w 1963385"/>
              <a:gd name="connsiteY1" fmla="*/ 2114914 h 3848713"/>
              <a:gd name="connsiteX2" fmla="*/ 311016 w 1963385"/>
              <a:gd name="connsiteY2" fmla="*/ 2122875 h 3848713"/>
              <a:gd name="connsiteX3" fmla="*/ 1963385 w 1963385"/>
              <a:gd name="connsiteY3" fmla="*/ 3848713 h 3848713"/>
              <a:gd name="connsiteX4" fmla="*/ 550258 w 1963385"/>
              <a:gd name="connsiteY4" fmla="*/ 3848713 h 3848713"/>
              <a:gd name="connsiteX5" fmla="*/ 0 w 1963385"/>
              <a:gd name="connsiteY5" fmla="*/ 2122875 h 3848713"/>
              <a:gd name="connsiteX6" fmla="*/ 0 w 1963385"/>
              <a:gd name="connsiteY6" fmla="*/ 2114914 h 3848713"/>
              <a:gd name="connsiteX7" fmla="*/ 161634 w 1963385"/>
              <a:gd name="connsiteY7" fmla="*/ 0 h 3848713"/>
              <a:gd name="connsiteX8" fmla="*/ 311155 w 1963385"/>
              <a:gd name="connsiteY8" fmla="*/ 140299 h 3848713"/>
              <a:gd name="connsiteX9" fmla="*/ 311155 w 1963385"/>
              <a:gd name="connsiteY9" fmla="*/ 2114906 h 3848713"/>
              <a:gd name="connsiteX10" fmla="*/ 12113 w 1963385"/>
              <a:gd name="connsiteY10" fmla="*/ 2114906 h 3848713"/>
              <a:gd name="connsiteX11" fmla="*/ 12113 w 1963385"/>
              <a:gd name="connsiteY11" fmla="*/ 140299 h 3848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963385" h="3848713">
                <a:moveTo>
                  <a:pt x="0" y="2114914"/>
                </a:moveTo>
                <a:cubicBezTo>
                  <a:pt x="103672" y="2114914"/>
                  <a:pt x="207344" y="2114914"/>
                  <a:pt x="311016" y="2114914"/>
                </a:cubicBezTo>
                <a:cubicBezTo>
                  <a:pt x="311016" y="2116506"/>
                  <a:pt x="311016" y="2119691"/>
                  <a:pt x="311016" y="2122875"/>
                </a:cubicBezTo>
                <a:cubicBezTo>
                  <a:pt x="311016" y="2512940"/>
                  <a:pt x="569398" y="3466609"/>
                  <a:pt x="1963385" y="3848713"/>
                </a:cubicBezTo>
                <a:cubicBezTo>
                  <a:pt x="1492875" y="3848713"/>
                  <a:pt x="1022364" y="3848713"/>
                  <a:pt x="550258" y="3848713"/>
                </a:cubicBezTo>
                <a:cubicBezTo>
                  <a:pt x="86128" y="3466609"/>
                  <a:pt x="0" y="2512940"/>
                  <a:pt x="0" y="2122875"/>
                </a:cubicBezTo>
                <a:cubicBezTo>
                  <a:pt x="0" y="2119691"/>
                  <a:pt x="0" y="2116506"/>
                  <a:pt x="0" y="2114914"/>
                </a:cubicBezTo>
                <a:close/>
                <a:moveTo>
                  <a:pt x="161634" y="0"/>
                </a:moveTo>
                <a:lnTo>
                  <a:pt x="311155" y="140299"/>
                </a:lnTo>
                <a:lnTo>
                  <a:pt x="311155" y="2114906"/>
                </a:lnTo>
                <a:lnTo>
                  <a:pt x="12113" y="2114906"/>
                </a:lnTo>
                <a:lnTo>
                  <a:pt x="12113" y="140299"/>
                </a:lnTo>
                <a:close/>
              </a:path>
            </a:pathLst>
          </a:custGeom>
          <a:gradFill flip="none" rotWithShape="1">
            <a:gsLst>
              <a:gs pos="73000">
                <a:schemeClr val="accent1"/>
              </a:gs>
              <a:gs pos="31000">
                <a:schemeClr val="accent1">
                  <a:lumMod val="60000"/>
                  <a:lumOff val="40000"/>
                </a:schemeClr>
              </a:gs>
              <a:gs pos="0">
                <a:schemeClr val="accent1">
                  <a:lumMod val="40000"/>
                  <a:lumOff val="60000"/>
                </a:schemeClr>
              </a:gs>
            </a:gsLst>
            <a:lin ang="2700000" scaled="1"/>
            <a:tileRect/>
          </a:gra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lumMod val="50000"/>
                  <a:lumOff val="50000"/>
                </a:prstClr>
              </a:solidFill>
              <a:effectLst/>
              <a:uLnTx/>
              <a:uFillTx/>
              <a:latin typeface="HarmonyOS Sans SC"/>
              <a:cs typeface="+mn-cs"/>
            </a:endParaRPr>
          </a:p>
        </p:txBody>
      </p:sp>
      <p:sp>
        <p:nvSpPr>
          <p:cNvPr id="5" name="Rectangle 27">
            <a:extLst>
              <a:ext uri="{FF2B5EF4-FFF2-40B4-BE49-F238E27FC236}">
                <a16:creationId xmlns:a16="http://schemas.microsoft.com/office/drawing/2014/main" id="{84F23B52-D5DF-42BB-B853-2132DDB14F8C}"/>
              </a:ext>
            </a:extLst>
          </p:cNvPr>
          <p:cNvSpPr>
            <a:spLocks noChangeArrowheads="1"/>
          </p:cNvSpPr>
          <p:nvPr/>
        </p:nvSpPr>
        <p:spPr bwMode="auto">
          <a:xfrm>
            <a:off x="5933313" y="2107330"/>
            <a:ext cx="310978" cy="30168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lumMod val="50000"/>
                  <a:lumOff val="50000"/>
                </a:prstClr>
              </a:solidFill>
              <a:effectLst/>
              <a:uLnTx/>
              <a:uFillTx/>
              <a:latin typeface="HarmonyOS Sans SC"/>
              <a:cs typeface="+mn-cs"/>
            </a:endParaRPr>
          </a:p>
        </p:txBody>
      </p:sp>
      <p:sp>
        <p:nvSpPr>
          <p:cNvPr id="50" name="任意多边形: 形状 49">
            <a:extLst>
              <a:ext uri="{FF2B5EF4-FFF2-40B4-BE49-F238E27FC236}">
                <a16:creationId xmlns:a16="http://schemas.microsoft.com/office/drawing/2014/main" id="{C74361CE-1900-4F25-AA2A-398806B4BE7C}"/>
              </a:ext>
            </a:extLst>
          </p:cNvPr>
          <p:cNvSpPr>
            <a:spLocks/>
          </p:cNvSpPr>
          <p:nvPr/>
        </p:nvSpPr>
        <p:spPr bwMode="auto">
          <a:xfrm>
            <a:off x="3994867" y="3795417"/>
            <a:ext cx="1962618" cy="3062582"/>
          </a:xfrm>
          <a:custGeom>
            <a:avLst/>
            <a:gdLst>
              <a:gd name="connsiteX0" fmla="*/ 1651724 w 1962618"/>
              <a:gd name="connsiteY0" fmla="*/ 1328783 h 3062582"/>
              <a:gd name="connsiteX1" fmla="*/ 1962618 w 1962618"/>
              <a:gd name="connsiteY1" fmla="*/ 1328783 h 3062582"/>
              <a:gd name="connsiteX2" fmla="*/ 1962618 w 1962618"/>
              <a:gd name="connsiteY2" fmla="*/ 1336744 h 3062582"/>
              <a:gd name="connsiteX3" fmla="*/ 1412575 w 1962618"/>
              <a:gd name="connsiteY3" fmla="*/ 3062582 h 3062582"/>
              <a:gd name="connsiteX4" fmla="*/ 0 w 1962618"/>
              <a:gd name="connsiteY4" fmla="*/ 3062582 h 3062582"/>
              <a:gd name="connsiteX5" fmla="*/ 1651724 w 1962618"/>
              <a:gd name="connsiteY5" fmla="*/ 1336744 h 3062582"/>
              <a:gd name="connsiteX6" fmla="*/ 1651724 w 1962618"/>
              <a:gd name="connsiteY6" fmla="*/ 1328783 h 3062582"/>
              <a:gd name="connsiteX7" fmla="*/ 1799513 w 1962618"/>
              <a:gd name="connsiteY7" fmla="*/ 0 h 3062582"/>
              <a:gd name="connsiteX8" fmla="*/ 1948398 w 1962618"/>
              <a:gd name="connsiteY8" fmla="*/ 139702 h 3062582"/>
              <a:gd name="connsiteX9" fmla="*/ 1948398 w 1962618"/>
              <a:gd name="connsiteY9" fmla="*/ 1328774 h 3062582"/>
              <a:gd name="connsiteX10" fmla="*/ 1650627 w 1962618"/>
              <a:gd name="connsiteY10" fmla="*/ 1328774 h 3062582"/>
              <a:gd name="connsiteX11" fmla="*/ 1650627 w 1962618"/>
              <a:gd name="connsiteY11" fmla="*/ 139702 h 3062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962618" h="3062582">
                <a:moveTo>
                  <a:pt x="1651724" y="1328783"/>
                </a:moveTo>
                <a:cubicBezTo>
                  <a:pt x="1755356" y="1328783"/>
                  <a:pt x="1858987" y="1328783"/>
                  <a:pt x="1962618" y="1328783"/>
                </a:cubicBezTo>
                <a:cubicBezTo>
                  <a:pt x="1962618" y="1330375"/>
                  <a:pt x="1962618" y="1333560"/>
                  <a:pt x="1962618" y="1336744"/>
                </a:cubicBezTo>
                <a:cubicBezTo>
                  <a:pt x="1962618" y="1728401"/>
                  <a:pt x="1876524" y="2680478"/>
                  <a:pt x="1412575" y="3062582"/>
                </a:cubicBezTo>
                <a:cubicBezTo>
                  <a:pt x="940654" y="3062582"/>
                  <a:pt x="470327" y="3062582"/>
                  <a:pt x="0" y="3062582"/>
                </a:cubicBezTo>
                <a:cubicBezTo>
                  <a:pt x="1393443" y="2680478"/>
                  <a:pt x="1651724" y="1726809"/>
                  <a:pt x="1651724" y="1336744"/>
                </a:cubicBezTo>
                <a:cubicBezTo>
                  <a:pt x="1651724" y="1333560"/>
                  <a:pt x="1651724" y="1330375"/>
                  <a:pt x="1651724" y="1328783"/>
                </a:cubicBezTo>
                <a:close/>
                <a:moveTo>
                  <a:pt x="1799513" y="0"/>
                </a:moveTo>
                <a:lnTo>
                  <a:pt x="1948398" y="139702"/>
                </a:lnTo>
                <a:lnTo>
                  <a:pt x="1948398" y="1328774"/>
                </a:lnTo>
                <a:lnTo>
                  <a:pt x="1650627" y="1328774"/>
                </a:lnTo>
                <a:lnTo>
                  <a:pt x="1650627" y="139702"/>
                </a:lnTo>
                <a:close/>
              </a:path>
            </a:pathLst>
          </a:custGeom>
          <a:gradFill flip="none" rotWithShape="1">
            <a:gsLst>
              <a:gs pos="73000">
                <a:schemeClr val="accent1"/>
              </a:gs>
              <a:gs pos="31000">
                <a:schemeClr val="accent1">
                  <a:lumMod val="60000"/>
                  <a:lumOff val="40000"/>
                </a:schemeClr>
              </a:gs>
              <a:gs pos="0">
                <a:schemeClr val="accent1">
                  <a:lumMod val="40000"/>
                  <a:lumOff val="60000"/>
                </a:schemeClr>
              </a:gs>
            </a:gsLst>
            <a:lin ang="2700000" scaled="1"/>
            <a:tileRect/>
          </a:gra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lumMod val="50000"/>
                  <a:lumOff val="50000"/>
                </a:prstClr>
              </a:solidFill>
              <a:effectLst/>
              <a:uLnTx/>
              <a:uFillTx/>
              <a:latin typeface="HarmonyOS Sans SC"/>
              <a:cs typeface="+mn-cs"/>
            </a:endParaRPr>
          </a:p>
        </p:txBody>
      </p:sp>
      <p:sp>
        <p:nvSpPr>
          <p:cNvPr id="9" name="Freeform 29">
            <a:extLst>
              <a:ext uri="{FF2B5EF4-FFF2-40B4-BE49-F238E27FC236}">
                <a16:creationId xmlns:a16="http://schemas.microsoft.com/office/drawing/2014/main" id="{A5FFD38F-DAA2-4A69-A4FE-39A3E0FEC87A}"/>
              </a:ext>
            </a:extLst>
          </p:cNvPr>
          <p:cNvSpPr>
            <a:spLocks/>
          </p:cNvSpPr>
          <p:nvPr/>
        </p:nvSpPr>
        <p:spPr bwMode="auto">
          <a:xfrm>
            <a:off x="5933313" y="2107330"/>
            <a:ext cx="310978" cy="3016871"/>
          </a:xfrm>
          <a:custGeom>
            <a:avLst/>
            <a:gdLst>
              <a:gd name="T0" fmla="*/ 405 w 405"/>
              <a:gd name="T1" fmla="*/ 0 h 3929"/>
              <a:gd name="T2" fmla="*/ 405 w 405"/>
              <a:gd name="T3" fmla="*/ 0 h 3929"/>
              <a:gd name="T4" fmla="*/ 0 w 405"/>
              <a:gd name="T5" fmla="*/ 0 h 3929"/>
              <a:gd name="T6" fmla="*/ 0 w 405"/>
              <a:gd name="T7" fmla="*/ 3929 h 3929"/>
              <a:gd name="T8" fmla="*/ 405 w 405"/>
              <a:gd name="T9" fmla="*/ 3929 h 3929"/>
              <a:gd name="T10" fmla="*/ 405 w 405"/>
              <a:gd name="T11" fmla="*/ 1397 h 3929"/>
              <a:gd name="T12" fmla="*/ 405 w 405"/>
              <a:gd name="T13" fmla="*/ 0 h 3929"/>
            </a:gdLst>
            <a:ahLst/>
            <a:cxnLst>
              <a:cxn ang="0">
                <a:pos x="T0" y="T1"/>
              </a:cxn>
              <a:cxn ang="0">
                <a:pos x="T2" y="T3"/>
              </a:cxn>
              <a:cxn ang="0">
                <a:pos x="T4" y="T5"/>
              </a:cxn>
              <a:cxn ang="0">
                <a:pos x="T6" y="T7"/>
              </a:cxn>
              <a:cxn ang="0">
                <a:pos x="T8" y="T9"/>
              </a:cxn>
              <a:cxn ang="0">
                <a:pos x="T10" y="T11"/>
              </a:cxn>
              <a:cxn ang="0">
                <a:pos x="T12" y="T13"/>
              </a:cxn>
            </a:cxnLst>
            <a:rect l="0" t="0" r="r" b="b"/>
            <a:pathLst>
              <a:path w="405" h="3929">
                <a:moveTo>
                  <a:pt x="405" y="0"/>
                </a:moveTo>
                <a:lnTo>
                  <a:pt x="405" y="0"/>
                </a:lnTo>
                <a:lnTo>
                  <a:pt x="0" y="0"/>
                </a:lnTo>
                <a:lnTo>
                  <a:pt x="0" y="3929"/>
                </a:lnTo>
                <a:lnTo>
                  <a:pt x="405" y="3929"/>
                </a:lnTo>
                <a:lnTo>
                  <a:pt x="405" y="1397"/>
                </a:lnTo>
                <a:lnTo>
                  <a:pt x="40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lumMod val="50000"/>
                  <a:lumOff val="50000"/>
                </a:prstClr>
              </a:solidFill>
              <a:effectLst/>
              <a:uLnTx/>
              <a:uFillTx/>
              <a:latin typeface="HarmonyOS Sans SC"/>
              <a:cs typeface="+mn-cs"/>
            </a:endParaRPr>
          </a:p>
        </p:txBody>
      </p:sp>
      <p:cxnSp>
        <p:nvCxnSpPr>
          <p:cNvPr id="13" name="Straight Connector 60">
            <a:extLst>
              <a:ext uri="{FF2B5EF4-FFF2-40B4-BE49-F238E27FC236}">
                <a16:creationId xmlns:a16="http://schemas.microsoft.com/office/drawing/2014/main" id="{3C4C49D6-8982-4B29-B1DA-50E4621CE2DB}"/>
              </a:ext>
            </a:extLst>
          </p:cNvPr>
          <p:cNvCxnSpPr>
            <a:cxnSpLocks/>
            <a:endCxn id="15" idx="6"/>
          </p:cNvCxnSpPr>
          <p:nvPr/>
        </p:nvCxnSpPr>
        <p:spPr>
          <a:xfrm>
            <a:off x="4657525" y="4142053"/>
            <a:ext cx="630719" cy="0"/>
          </a:xfrm>
          <a:prstGeom prst="line">
            <a:avLst/>
          </a:prstGeom>
          <a:ln w="12700">
            <a:solidFill>
              <a:schemeClr val="accent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sp>
        <p:nvSpPr>
          <p:cNvPr id="15" name="Oval 62">
            <a:extLst>
              <a:ext uri="{FF2B5EF4-FFF2-40B4-BE49-F238E27FC236}">
                <a16:creationId xmlns:a16="http://schemas.microsoft.com/office/drawing/2014/main" id="{1482B7C6-FAA3-4B60-BD63-5B8C39BD5B01}"/>
              </a:ext>
            </a:extLst>
          </p:cNvPr>
          <p:cNvSpPr/>
          <p:nvPr/>
        </p:nvSpPr>
        <p:spPr>
          <a:xfrm flipH="1">
            <a:off x="5288244" y="4037278"/>
            <a:ext cx="209550" cy="209550"/>
          </a:xfrm>
          <a:prstGeom prst="ellipse">
            <a:avLst/>
          </a:prstGeom>
          <a:solidFill>
            <a:schemeClr val="accent1">
              <a:lumMod val="20000"/>
              <a:lumOff val="80000"/>
              <a:alpha val="5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800" b="0" i="0" u="none" strike="noStrike" kern="1200" cap="none" spc="0" normalizeH="0" baseline="0" noProof="0">
              <a:ln>
                <a:noFill/>
              </a:ln>
              <a:solidFill>
                <a:prstClr val="black">
                  <a:lumMod val="50000"/>
                  <a:lumOff val="50000"/>
                </a:prstClr>
              </a:solidFill>
              <a:effectLst/>
              <a:uLnTx/>
              <a:uFillTx/>
              <a:latin typeface="HarmonyOS Sans SC"/>
              <a:cs typeface="+mn-cs"/>
            </a:endParaRPr>
          </a:p>
        </p:txBody>
      </p:sp>
      <p:sp>
        <p:nvSpPr>
          <p:cNvPr id="16" name="Oval 63">
            <a:extLst>
              <a:ext uri="{FF2B5EF4-FFF2-40B4-BE49-F238E27FC236}">
                <a16:creationId xmlns:a16="http://schemas.microsoft.com/office/drawing/2014/main" id="{8C4AE51D-1EAB-45BF-9FB8-BD97399CE8AB}"/>
              </a:ext>
            </a:extLst>
          </p:cNvPr>
          <p:cNvSpPr/>
          <p:nvPr/>
        </p:nvSpPr>
        <p:spPr>
          <a:xfrm flipH="1" flipV="1">
            <a:off x="5357677" y="4106711"/>
            <a:ext cx="70684" cy="70684"/>
          </a:xfrm>
          <a:prstGeom prst="ellipse">
            <a:avLst/>
          </a:prstGeom>
          <a:gradFill>
            <a:gsLst>
              <a:gs pos="73000">
                <a:schemeClr val="accent1"/>
              </a:gs>
              <a:gs pos="31000">
                <a:schemeClr val="accent1">
                  <a:lumMod val="60000"/>
                  <a:lumOff val="40000"/>
                </a:schemeClr>
              </a:gs>
              <a:gs pos="0">
                <a:schemeClr val="accent1">
                  <a:lumMod val="40000"/>
                  <a:lumOff val="60000"/>
                </a:schemeClr>
              </a:gs>
            </a:gsLst>
            <a:lin ang="2700000" scaled="1"/>
          </a:gra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800" b="0" i="0" u="none" strike="noStrike" kern="1200" cap="none" spc="0" normalizeH="0" baseline="0" noProof="0">
              <a:ln>
                <a:noFill/>
              </a:ln>
              <a:solidFill>
                <a:prstClr val="black">
                  <a:lumMod val="50000"/>
                  <a:lumOff val="50000"/>
                </a:prstClr>
              </a:solidFill>
              <a:effectLst/>
              <a:uLnTx/>
              <a:uFillTx/>
              <a:latin typeface="HarmonyOS Sans SC"/>
              <a:cs typeface="+mn-cs"/>
            </a:endParaRPr>
          </a:p>
        </p:txBody>
      </p:sp>
      <p:sp>
        <p:nvSpPr>
          <p:cNvPr id="49" name="任意多边形: 形状 48">
            <a:extLst>
              <a:ext uri="{FF2B5EF4-FFF2-40B4-BE49-F238E27FC236}">
                <a16:creationId xmlns:a16="http://schemas.microsoft.com/office/drawing/2014/main" id="{44964150-517C-43A0-8275-7A3A35F812C3}"/>
              </a:ext>
            </a:extLst>
          </p:cNvPr>
          <p:cNvSpPr>
            <a:spLocks/>
          </p:cNvSpPr>
          <p:nvPr/>
        </p:nvSpPr>
        <p:spPr bwMode="auto">
          <a:xfrm>
            <a:off x="5394607" y="1943473"/>
            <a:ext cx="1411303" cy="4914527"/>
          </a:xfrm>
          <a:custGeom>
            <a:avLst/>
            <a:gdLst>
              <a:gd name="connsiteX0" fmla="*/ 550169 w 1411303"/>
              <a:gd name="connsiteY0" fmla="*/ 3180728 h 4914527"/>
              <a:gd name="connsiteX1" fmla="*/ 861134 w 1411303"/>
              <a:gd name="connsiteY1" fmla="*/ 3180728 h 4914527"/>
              <a:gd name="connsiteX2" fmla="*/ 861134 w 1411303"/>
              <a:gd name="connsiteY2" fmla="*/ 3188689 h 4914527"/>
              <a:gd name="connsiteX3" fmla="*/ 1411303 w 1411303"/>
              <a:gd name="connsiteY3" fmla="*/ 4914527 h 4914527"/>
              <a:gd name="connsiteX4" fmla="*/ 0 w 1411303"/>
              <a:gd name="connsiteY4" fmla="*/ 4914527 h 4914527"/>
              <a:gd name="connsiteX5" fmla="*/ 550169 w 1411303"/>
              <a:gd name="connsiteY5" fmla="*/ 3188689 h 4914527"/>
              <a:gd name="connsiteX6" fmla="*/ 550169 w 1411303"/>
              <a:gd name="connsiteY6" fmla="*/ 3180728 h 4914527"/>
              <a:gd name="connsiteX7" fmla="*/ 705338 w 1411303"/>
              <a:gd name="connsiteY7" fmla="*/ 0 h 4914527"/>
              <a:gd name="connsiteX8" fmla="*/ 862017 w 1411303"/>
              <a:gd name="connsiteY8" fmla="*/ 147014 h 4914527"/>
              <a:gd name="connsiteX9" fmla="*/ 862017 w 1411303"/>
              <a:gd name="connsiteY9" fmla="*/ 3180718 h 4914527"/>
              <a:gd name="connsiteX10" fmla="*/ 548659 w 1411303"/>
              <a:gd name="connsiteY10" fmla="*/ 3180718 h 4914527"/>
              <a:gd name="connsiteX11" fmla="*/ 548659 w 1411303"/>
              <a:gd name="connsiteY11" fmla="*/ 147014 h 4914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11303" h="4914527">
                <a:moveTo>
                  <a:pt x="550169" y="3180728"/>
                </a:moveTo>
                <a:cubicBezTo>
                  <a:pt x="653824" y="3180728"/>
                  <a:pt x="757479" y="3180728"/>
                  <a:pt x="861134" y="3180728"/>
                </a:cubicBezTo>
                <a:cubicBezTo>
                  <a:pt x="861134" y="3182320"/>
                  <a:pt x="861134" y="3185505"/>
                  <a:pt x="861134" y="3188689"/>
                </a:cubicBezTo>
                <a:cubicBezTo>
                  <a:pt x="861134" y="3578754"/>
                  <a:pt x="947248" y="4532423"/>
                  <a:pt x="1411303" y="4914527"/>
                </a:cubicBezTo>
                <a:cubicBezTo>
                  <a:pt x="940869" y="4914527"/>
                  <a:pt x="470435" y="4914527"/>
                  <a:pt x="0" y="4914527"/>
                </a:cubicBezTo>
                <a:cubicBezTo>
                  <a:pt x="464056" y="4532423"/>
                  <a:pt x="550169" y="3580346"/>
                  <a:pt x="550169" y="3188689"/>
                </a:cubicBezTo>
                <a:cubicBezTo>
                  <a:pt x="550169" y="3185505"/>
                  <a:pt x="550169" y="3182320"/>
                  <a:pt x="550169" y="3180728"/>
                </a:cubicBezTo>
                <a:close/>
                <a:moveTo>
                  <a:pt x="705338" y="0"/>
                </a:moveTo>
                <a:lnTo>
                  <a:pt x="862017" y="147014"/>
                </a:lnTo>
                <a:lnTo>
                  <a:pt x="862017" y="3180718"/>
                </a:lnTo>
                <a:lnTo>
                  <a:pt x="548659" y="3180718"/>
                </a:lnTo>
                <a:lnTo>
                  <a:pt x="548659" y="147014"/>
                </a:lnTo>
                <a:close/>
              </a:path>
            </a:pathLst>
          </a:custGeom>
          <a:gradFill flip="none" rotWithShape="1">
            <a:gsLst>
              <a:gs pos="73000">
                <a:schemeClr val="accent1"/>
              </a:gs>
              <a:gs pos="31000">
                <a:schemeClr val="accent1">
                  <a:lumMod val="60000"/>
                  <a:lumOff val="40000"/>
                </a:schemeClr>
              </a:gs>
              <a:gs pos="0">
                <a:schemeClr val="accent1">
                  <a:lumMod val="40000"/>
                  <a:lumOff val="60000"/>
                </a:schemeClr>
              </a:gs>
            </a:gsLst>
            <a:lin ang="2700000" scaled="1"/>
            <a:tileRect/>
          </a:gra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lumMod val="50000"/>
                  <a:lumOff val="50000"/>
                </a:prstClr>
              </a:solidFill>
              <a:effectLst/>
              <a:uLnTx/>
              <a:uFillTx/>
              <a:latin typeface="HarmonyOS Sans SC"/>
              <a:cs typeface="+mn-cs"/>
            </a:endParaRPr>
          </a:p>
        </p:txBody>
      </p:sp>
      <p:cxnSp>
        <p:nvCxnSpPr>
          <p:cNvPr id="23" name="Straight Connector 67">
            <a:extLst>
              <a:ext uri="{FF2B5EF4-FFF2-40B4-BE49-F238E27FC236}">
                <a16:creationId xmlns:a16="http://schemas.microsoft.com/office/drawing/2014/main" id="{0BC2E122-C3DC-4465-8513-2F3556DEF404}"/>
              </a:ext>
            </a:extLst>
          </p:cNvPr>
          <p:cNvCxnSpPr>
            <a:cxnSpLocks/>
            <a:endCxn id="25" idx="6"/>
          </p:cNvCxnSpPr>
          <p:nvPr/>
        </p:nvCxnSpPr>
        <p:spPr>
          <a:xfrm>
            <a:off x="3140075" y="2334066"/>
            <a:ext cx="2445475" cy="0"/>
          </a:xfrm>
          <a:prstGeom prst="line">
            <a:avLst/>
          </a:prstGeom>
          <a:ln w="12700">
            <a:solidFill>
              <a:schemeClr val="accent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grpSp>
        <p:nvGrpSpPr>
          <p:cNvPr id="57" name="组合 56">
            <a:extLst>
              <a:ext uri="{FF2B5EF4-FFF2-40B4-BE49-F238E27FC236}">
                <a16:creationId xmlns:a16="http://schemas.microsoft.com/office/drawing/2014/main" id="{517BE055-BD9A-4083-9F62-F382E7A62449}"/>
              </a:ext>
            </a:extLst>
          </p:cNvPr>
          <p:cNvGrpSpPr/>
          <p:nvPr/>
        </p:nvGrpSpPr>
        <p:grpSpPr>
          <a:xfrm>
            <a:off x="5585550" y="2229291"/>
            <a:ext cx="209550" cy="209550"/>
            <a:chOff x="5585550" y="2229291"/>
            <a:chExt cx="209550" cy="209550"/>
          </a:xfrm>
        </p:grpSpPr>
        <p:sp>
          <p:nvSpPr>
            <p:cNvPr id="25" name="Oval 69">
              <a:extLst>
                <a:ext uri="{FF2B5EF4-FFF2-40B4-BE49-F238E27FC236}">
                  <a16:creationId xmlns:a16="http://schemas.microsoft.com/office/drawing/2014/main" id="{C3B0E26E-ADAB-4F8A-942A-06030146248D}"/>
                </a:ext>
              </a:extLst>
            </p:cNvPr>
            <p:cNvSpPr/>
            <p:nvPr/>
          </p:nvSpPr>
          <p:spPr>
            <a:xfrm flipH="1">
              <a:off x="5585550" y="2229291"/>
              <a:ext cx="209550" cy="209550"/>
            </a:xfrm>
            <a:prstGeom prst="ellipse">
              <a:avLst/>
            </a:prstGeom>
            <a:solidFill>
              <a:schemeClr val="accent1">
                <a:lumMod val="20000"/>
                <a:lumOff val="80000"/>
                <a:alpha val="5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800" b="0" i="0" u="none" strike="noStrike" kern="1200" cap="none" spc="0" normalizeH="0" baseline="0" noProof="0">
                <a:ln>
                  <a:noFill/>
                </a:ln>
                <a:solidFill>
                  <a:prstClr val="black">
                    <a:lumMod val="50000"/>
                    <a:lumOff val="50000"/>
                  </a:prstClr>
                </a:solidFill>
                <a:effectLst/>
                <a:uLnTx/>
                <a:uFillTx/>
                <a:latin typeface="HarmonyOS Sans SC"/>
                <a:cs typeface="+mn-cs"/>
              </a:endParaRPr>
            </a:p>
          </p:txBody>
        </p:sp>
        <p:sp>
          <p:nvSpPr>
            <p:cNvPr id="26" name="Oval 70">
              <a:extLst>
                <a:ext uri="{FF2B5EF4-FFF2-40B4-BE49-F238E27FC236}">
                  <a16:creationId xmlns:a16="http://schemas.microsoft.com/office/drawing/2014/main" id="{9671769F-84EB-41C7-BF8E-0761DDF1D69C}"/>
                </a:ext>
              </a:extLst>
            </p:cNvPr>
            <p:cNvSpPr/>
            <p:nvPr/>
          </p:nvSpPr>
          <p:spPr>
            <a:xfrm flipH="1" flipV="1">
              <a:off x="5654983" y="2298724"/>
              <a:ext cx="70684" cy="70684"/>
            </a:xfrm>
            <a:prstGeom prst="ellipse">
              <a:avLst/>
            </a:prstGeom>
            <a:gradFill>
              <a:gsLst>
                <a:gs pos="73000">
                  <a:schemeClr val="accent1"/>
                </a:gs>
                <a:gs pos="31000">
                  <a:schemeClr val="accent1">
                    <a:lumMod val="60000"/>
                    <a:lumOff val="40000"/>
                  </a:schemeClr>
                </a:gs>
                <a:gs pos="0">
                  <a:schemeClr val="accent1">
                    <a:lumMod val="40000"/>
                    <a:lumOff val="60000"/>
                  </a:schemeClr>
                </a:gs>
              </a:gsLst>
              <a:lin ang="2700000" scaled="1"/>
            </a:gra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800" b="0" i="0" u="none" strike="noStrike" kern="1200" cap="none" spc="0" normalizeH="0" baseline="0" noProof="0">
                <a:ln>
                  <a:noFill/>
                </a:ln>
                <a:solidFill>
                  <a:prstClr val="black">
                    <a:lumMod val="50000"/>
                    <a:lumOff val="50000"/>
                  </a:prstClr>
                </a:solidFill>
                <a:effectLst/>
                <a:uLnTx/>
                <a:uFillTx/>
                <a:latin typeface="HarmonyOS Sans SC"/>
                <a:cs typeface="+mn-cs"/>
              </a:endParaRPr>
            </a:p>
          </p:txBody>
        </p:sp>
      </p:grpSp>
      <p:cxnSp>
        <p:nvCxnSpPr>
          <p:cNvPr id="30" name="Straight Connector 74">
            <a:extLst>
              <a:ext uri="{FF2B5EF4-FFF2-40B4-BE49-F238E27FC236}">
                <a16:creationId xmlns:a16="http://schemas.microsoft.com/office/drawing/2014/main" id="{593518E2-0C73-41EC-971F-8CE1D5BE46DF}"/>
              </a:ext>
            </a:extLst>
          </p:cNvPr>
          <p:cNvCxnSpPr>
            <a:cxnSpLocks/>
            <a:endCxn id="32" idx="6"/>
          </p:cNvCxnSpPr>
          <p:nvPr/>
        </p:nvCxnSpPr>
        <p:spPr>
          <a:xfrm flipH="1">
            <a:off x="6907139" y="3286709"/>
            <a:ext cx="658886" cy="0"/>
          </a:xfrm>
          <a:prstGeom prst="line">
            <a:avLst/>
          </a:prstGeom>
          <a:ln w="12700">
            <a:solidFill>
              <a:schemeClr val="accent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sp>
        <p:nvSpPr>
          <p:cNvPr id="32" name="Oval 76">
            <a:extLst>
              <a:ext uri="{FF2B5EF4-FFF2-40B4-BE49-F238E27FC236}">
                <a16:creationId xmlns:a16="http://schemas.microsoft.com/office/drawing/2014/main" id="{0F59D382-B2DC-4D3D-934D-75337C67569F}"/>
              </a:ext>
            </a:extLst>
          </p:cNvPr>
          <p:cNvSpPr/>
          <p:nvPr/>
        </p:nvSpPr>
        <p:spPr>
          <a:xfrm>
            <a:off x="6697589" y="3181934"/>
            <a:ext cx="209550" cy="209550"/>
          </a:xfrm>
          <a:prstGeom prst="ellipse">
            <a:avLst/>
          </a:prstGeom>
          <a:solidFill>
            <a:schemeClr val="accent1">
              <a:lumMod val="20000"/>
              <a:lumOff val="80000"/>
              <a:alpha val="5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800" b="0" i="0" u="none" strike="noStrike" kern="1200" cap="none" spc="0" normalizeH="0" baseline="0" noProof="0">
              <a:ln>
                <a:noFill/>
              </a:ln>
              <a:solidFill>
                <a:prstClr val="black">
                  <a:lumMod val="50000"/>
                  <a:lumOff val="50000"/>
                </a:prstClr>
              </a:solidFill>
              <a:effectLst/>
              <a:uLnTx/>
              <a:uFillTx/>
              <a:latin typeface="HarmonyOS Sans SC"/>
              <a:cs typeface="+mn-cs"/>
            </a:endParaRPr>
          </a:p>
        </p:txBody>
      </p:sp>
      <p:sp>
        <p:nvSpPr>
          <p:cNvPr id="33" name="Oval 77">
            <a:extLst>
              <a:ext uri="{FF2B5EF4-FFF2-40B4-BE49-F238E27FC236}">
                <a16:creationId xmlns:a16="http://schemas.microsoft.com/office/drawing/2014/main" id="{76981DBB-721F-4402-96DE-42BE3DE3E0C3}"/>
              </a:ext>
            </a:extLst>
          </p:cNvPr>
          <p:cNvSpPr/>
          <p:nvPr/>
        </p:nvSpPr>
        <p:spPr>
          <a:xfrm flipV="1">
            <a:off x="6767022" y="3251367"/>
            <a:ext cx="70684" cy="70684"/>
          </a:xfrm>
          <a:prstGeom prst="ellipse">
            <a:avLst/>
          </a:prstGeom>
          <a:gradFill>
            <a:gsLst>
              <a:gs pos="73000">
                <a:schemeClr val="accent1"/>
              </a:gs>
              <a:gs pos="31000">
                <a:schemeClr val="accent1">
                  <a:lumMod val="60000"/>
                  <a:lumOff val="40000"/>
                </a:schemeClr>
              </a:gs>
              <a:gs pos="0">
                <a:schemeClr val="accent1">
                  <a:lumMod val="40000"/>
                  <a:lumOff val="60000"/>
                </a:schemeClr>
              </a:gs>
            </a:gsLst>
            <a:lin ang="2700000" scaled="1"/>
          </a:gra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800" b="0" i="0" u="none" strike="noStrike" kern="1200" cap="none" spc="0" normalizeH="0" baseline="0" noProof="0">
              <a:ln>
                <a:noFill/>
              </a:ln>
              <a:solidFill>
                <a:prstClr val="black">
                  <a:lumMod val="50000"/>
                  <a:lumOff val="50000"/>
                </a:prstClr>
              </a:solidFill>
              <a:effectLst/>
              <a:uLnTx/>
              <a:uFillTx/>
              <a:latin typeface="HarmonyOS Sans SC"/>
              <a:cs typeface="+mn-cs"/>
            </a:endParaRPr>
          </a:p>
        </p:txBody>
      </p:sp>
      <p:sp>
        <p:nvSpPr>
          <p:cNvPr id="35" name="Freeform 33">
            <a:extLst>
              <a:ext uri="{FF2B5EF4-FFF2-40B4-BE49-F238E27FC236}">
                <a16:creationId xmlns:a16="http://schemas.microsoft.com/office/drawing/2014/main" id="{A7FBACEC-9397-4130-8B05-30F63A56E3AC}"/>
              </a:ext>
            </a:extLst>
          </p:cNvPr>
          <p:cNvSpPr>
            <a:spLocks noEditPoints="1"/>
          </p:cNvSpPr>
          <p:nvPr/>
        </p:nvSpPr>
        <p:spPr bwMode="auto">
          <a:xfrm>
            <a:off x="5700111" y="4685246"/>
            <a:ext cx="182506" cy="112703"/>
          </a:xfrm>
          <a:custGeom>
            <a:avLst/>
            <a:gdLst>
              <a:gd name="T0" fmla="*/ 68 w 118"/>
              <a:gd name="T1" fmla="*/ 4 h 73"/>
              <a:gd name="T2" fmla="*/ 64 w 118"/>
              <a:gd name="T3" fmla="*/ 0 h 73"/>
              <a:gd name="T4" fmla="*/ 50 w 118"/>
              <a:gd name="T5" fmla="*/ 0 h 73"/>
              <a:gd name="T6" fmla="*/ 47 w 118"/>
              <a:gd name="T7" fmla="*/ 4 h 73"/>
              <a:gd name="T8" fmla="*/ 47 w 118"/>
              <a:gd name="T9" fmla="*/ 54 h 73"/>
              <a:gd name="T10" fmla="*/ 68 w 118"/>
              <a:gd name="T11" fmla="*/ 54 h 73"/>
              <a:gd name="T12" fmla="*/ 68 w 118"/>
              <a:gd name="T13" fmla="*/ 4 h 73"/>
              <a:gd name="T14" fmla="*/ 98 w 118"/>
              <a:gd name="T15" fmla="*/ 11 h 73"/>
              <a:gd name="T16" fmla="*/ 95 w 118"/>
              <a:gd name="T17" fmla="*/ 7 h 73"/>
              <a:gd name="T18" fmla="*/ 81 w 118"/>
              <a:gd name="T19" fmla="*/ 7 h 73"/>
              <a:gd name="T20" fmla="*/ 77 w 118"/>
              <a:gd name="T21" fmla="*/ 11 h 73"/>
              <a:gd name="T22" fmla="*/ 77 w 118"/>
              <a:gd name="T23" fmla="*/ 54 h 73"/>
              <a:gd name="T24" fmla="*/ 98 w 118"/>
              <a:gd name="T25" fmla="*/ 54 h 73"/>
              <a:gd name="T26" fmla="*/ 98 w 118"/>
              <a:gd name="T27" fmla="*/ 11 h 73"/>
              <a:gd name="T28" fmla="*/ 113 w 118"/>
              <a:gd name="T29" fmla="*/ 63 h 73"/>
              <a:gd name="T30" fmla="*/ 6 w 118"/>
              <a:gd name="T31" fmla="*/ 63 h 73"/>
              <a:gd name="T32" fmla="*/ 0 w 118"/>
              <a:gd name="T33" fmla="*/ 68 h 73"/>
              <a:gd name="T34" fmla="*/ 6 w 118"/>
              <a:gd name="T35" fmla="*/ 73 h 73"/>
              <a:gd name="T36" fmla="*/ 113 w 118"/>
              <a:gd name="T37" fmla="*/ 73 h 73"/>
              <a:gd name="T38" fmla="*/ 118 w 118"/>
              <a:gd name="T39" fmla="*/ 68 h 73"/>
              <a:gd name="T40" fmla="*/ 113 w 118"/>
              <a:gd name="T41" fmla="*/ 63 h 73"/>
              <a:gd name="T42" fmla="*/ 38 w 118"/>
              <a:gd name="T43" fmla="*/ 22 h 73"/>
              <a:gd name="T44" fmla="*/ 34 w 118"/>
              <a:gd name="T45" fmla="*/ 18 h 73"/>
              <a:gd name="T46" fmla="*/ 20 w 118"/>
              <a:gd name="T47" fmla="*/ 18 h 73"/>
              <a:gd name="T48" fmla="*/ 16 w 118"/>
              <a:gd name="T49" fmla="*/ 22 h 73"/>
              <a:gd name="T50" fmla="*/ 16 w 118"/>
              <a:gd name="T51" fmla="*/ 54 h 73"/>
              <a:gd name="T52" fmla="*/ 38 w 118"/>
              <a:gd name="T53" fmla="*/ 54 h 73"/>
              <a:gd name="T54" fmla="*/ 38 w 118"/>
              <a:gd name="T55" fmla="*/ 22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18" h="73">
                <a:moveTo>
                  <a:pt x="68" y="4"/>
                </a:moveTo>
                <a:cubicBezTo>
                  <a:pt x="68" y="2"/>
                  <a:pt x="66" y="0"/>
                  <a:pt x="64" y="0"/>
                </a:cubicBezTo>
                <a:cubicBezTo>
                  <a:pt x="50" y="0"/>
                  <a:pt x="50" y="0"/>
                  <a:pt x="50" y="0"/>
                </a:cubicBezTo>
                <a:cubicBezTo>
                  <a:pt x="48" y="0"/>
                  <a:pt x="47" y="2"/>
                  <a:pt x="47" y="4"/>
                </a:cubicBezTo>
                <a:cubicBezTo>
                  <a:pt x="47" y="54"/>
                  <a:pt x="47" y="54"/>
                  <a:pt x="47" y="54"/>
                </a:cubicBezTo>
                <a:cubicBezTo>
                  <a:pt x="68" y="54"/>
                  <a:pt x="68" y="54"/>
                  <a:pt x="68" y="54"/>
                </a:cubicBezTo>
                <a:lnTo>
                  <a:pt x="68" y="4"/>
                </a:lnTo>
                <a:close/>
                <a:moveTo>
                  <a:pt x="98" y="11"/>
                </a:moveTo>
                <a:cubicBezTo>
                  <a:pt x="98" y="9"/>
                  <a:pt x="97" y="7"/>
                  <a:pt x="95" y="7"/>
                </a:cubicBezTo>
                <a:cubicBezTo>
                  <a:pt x="81" y="7"/>
                  <a:pt x="81" y="7"/>
                  <a:pt x="81" y="7"/>
                </a:cubicBezTo>
                <a:cubicBezTo>
                  <a:pt x="79" y="7"/>
                  <a:pt x="77" y="9"/>
                  <a:pt x="77" y="11"/>
                </a:cubicBezTo>
                <a:cubicBezTo>
                  <a:pt x="77" y="54"/>
                  <a:pt x="77" y="54"/>
                  <a:pt x="77" y="54"/>
                </a:cubicBezTo>
                <a:cubicBezTo>
                  <a:pt x="98" y="54"/>
                  <a:pt x="98" y="54"/>
                  <a:pt x="98" y="54"/>
                </a:cubicBezTo>
                <a:lnTo>
                  <a:pt x="98" y="11"/>
                </a:lnTo>
                <a:close/>
                <a:moveTo>
                  <a:pt x="113" y="63"/>
                </a:moveTo>
                <a:cubicBezTo>
                  <a:pt x="6" y="63"/>
                  <a:pt x="6" y="63"/>
                  <a:pt x="6" y="63"/>
                </a:cubicBezTo>
                <a:cubicBezTo>
                  <a:pt x="3" y="63"/>
                  <a:pt x="0" y="65"/>
                  <a:pt x="0" y="68"/>
                </a:cubicBezTo>
                <a:cubicBezTo>
                  <a:pt x="0" y="71"/>
                  <a:pt x="3" y="73"/>
                  <a:pt x="6" y="73"/>
                </a:cubicBezTo>
                <a:cubicBezTo>
                  <a:pt x="113" y="73"/>
                  <a:pt x="113" y="73"/>
                  <a:pt x="113" y="73"/>
                </a:cubicBezTo>
                <a:cubicBezTo>
                  <a:pt x="116" y="73"/>
                  <a:pt x="118" y="71"/>
                  <a:pt x="118" y="68"/>
                </a:cubicBezTo>
                <a:cubicBezTo>
                  <a:pt x="118" y="65"/>
                  <a:pt x="116" y="63"/>
                  <a:pt x="113" y="63"/>
                </a:cubicBezTo>
                <a:close/>
                <a:moveTo>
                  <a:pt x="38" y="22"/>
                </a:moveTo>
                <a:cubicBezTo>
                  <a:pt x="38" y="20"/>
                  <a:pt x="36" y="18"/>
                  <a:pt x="34" y="18"/>
                </a:cubicBezTo>
                <a:cubicBezTo>
                  <a:pt x="20" y="18"/>
                  <a:pt x="20" y="18"/>
                  <a:pt x="20" y="18"/>
                </a:cubicBezTo>
                <a:cubicBezTo>
                  <a:pt x="18" y="18"/>
                  <a:pt x="16" y="20"/>
                  <a:pt x="16" y="22"/>
                </a:cubicBezTo>
                <a:cubicBezTo>
                  <a:pt x="16" y="54"/>
                  <a:pt x="16" y="54"/>
                  <a:pt x="16" y="54"/>
                </a:cubicBezTo>
                <a:cubicBezTo>
                  <a:pt x="38" y="54"/>
                  <a:pt x="38" y="54"/>
                  <a:pt x="38" y="54"/>
                </a:cubicBezTo>
                <a:lnTo>
                  <a:pt x="38" y="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lumMod val="50000"/>
                  <a:lumOff val="50000"/>
                </a:prstClr>
              </a:solidFill>
              <a:effectLst/>
              <a:uLnTx/>
              <a:uFillTx/>
              <a:latin typeface="HarmonyOS Sans SC"/>
              <a:cs typeface="+mn-cs"/>
            </a:endParaRPr>
          </a:p>
        </p:txBody>
      </p:sp>
      <p:sp>
        <p:nvSpPr>
          <p:cNvPr id="36" name="Freeform 34">
            <a:extLst>
              <a:ext uri="{FF2B5EF4-FFF2-40B4-BE49-F238E27FC236}">
                <a16:creationId xmlns:a16="http://schemas.microsoft.com/office/drawing/2014/main" id="{1383CB98-5EED-4D40-BA85-5F3E6C5D6EAA}"/>
              </a:ext>
            </a:extLst>
          </p:cNvPr>
          <p:cNvSpPr>
            <a:spLocks/>
          </p:cNvSpPr>
          <p:nvPr/>
        </p:nvSpPr>
        <p:spPr bwMode="auto">
          <a:xfrm>
            <a:off x="5718289" y="4616170"/>
            <a:ext cx="147604" cy="70530"/>
          </a:xfrm>
          <a:custGeom>
            <a:avLst/>
            <a:gdLst>
              <a:gd name="T0" fmla="*/ 92 w 95"/>
              <a:gd name="T1" fmla="*/ 1 h 46"/>
              <a:gd name="T2" fmla="*/ 75 w 95"/>
              <a:gd name="T3" fmla="*/ 3 h 46"/>
              <a:gd name="T4" fmla="*/ 74 w 95"/>
              <a:gd name="T5" fmla="*/ 8 h 46"/>
              <a:gd name="T6" fmla="*/ 77 w 95"/>
              <a:gd name="T7" fmla="*/ 12 h 46"/>
              <a:gd name="T8" fmla="*/ 64 w 95"/>
              <a:gd name="T9" fmla="*/ 25 h 46"/>
              <a:gd name="T10" fmla="*/ 43 w 95"/>
              <a:gd name="T11" fmla="*/ 9 h 46"/>
              <a:gd name="T12" fmla="*/ 37 w 95"/>
              <a:gd name="T13" fmla="*/ 9 h 46"/>
              <a:gd name="T14" fmla="*/ 3 w 95"/>
              <a:gd name="T15" fmla="*/ 37 h 46"/>
              <a:gd name="T16" fmla="*/ 2 w 95"/>
              <a:gd name="T17" fmla="*/ 44 h 46"/>
              <a:gd name="T18" fmla="*/ 6 w 95"/>
              <a:gd name="T19" fmla="*/ 46 h 46"/>
              <a:gd name="T20" fmla="*/ 9 w 95"/>
              <a:gd name="T21" fmla="*/ 45 h 46"/>
              <a:gd name="T22" fmla="*/ 40 w 95"/>
              <a:gd name="T23" fmla="*/ 20 h 46"/>
              <a:gd name="T24" fmla="*/ 62 w 95"/>
              <a:gd name="T25" fmla="*/ 36 h 46"/>
              <a:gd name="T26" fmla="*/ 69 w 95"/>
              <a:gd name="T27" fmla="*/ 36 h 46"/>
              <a:gd name="T28" fmla="*/ 85 w 95"/>
              <a:gd name="T29" fmla="*/ 19 h 46"/>
              <a:gd name="T30" fmla="*/ 87 w 95"/>
              <a:gd name="T31" fmla="*/ 22 h 46"/>
              <a:gd name="T32" fmla="*/ 93 w 95"/>
              <a:gd name="T33" fmla="*/ 20 h 46"/>
              <a:gd name="T34" fmla="*/ 95 w 95"/>
              <a:gd name="T35" fmla="*/ 4 h 46"/>
              <a:gd name="T36" fmla="*/ 92 w 95"/>
              <a:gd name="T37" fmla="*/ 1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5" h="46">
                <a:moveTo>
                  <a:pt x="92" y="1"/>
                </a:moveTo>
                <a:cubicBezTo>
                  <a:pt x="75" y="3"/>
                  <a:pt x="75" y="3"/>
                  <a:pt x="75" y="3"/>
                </a:cubicBezTo>
                <a:cubicBezTo>
                  <a:pt x="73" y="3"/>
                  <a:pt x="72" y="6"/>
                  <a:pt x="74" y="8"/>
                </a:cubicBezTo>
                <a:cubicBezTo>
                  <a:pt x="77" y="12"/>
                  <a:pt x="77" y="12"/>
                  <a:pt x="77" y="12"/>
                </a:cubicBezTo>
                <a:cubicBezTo>
                  <a:pt x="64" y="25"/>
                  <a:pt x="64" y="25"/>
                  <a:pt x="64" y="25"/>
                </a:cubicBezTo>
                <a:cubicBezTo>
                  <a:pt x="43" y="9"/>
                  <a:pt x="43" y="9"/>
                  <a:pt x="43" y="9"/>
                </a:cubicBezTo>
                <a:cubicBezTo>
                  <a:pt x="41" y="7"/>
                  <a:pt x="38" y="7"/>
                  <a:pt x="37" y="9"/>
                </a:cubicBezTo>
                <a:cubicBezTo>
                  <a:pt x="3" y="37"/>
                  <a:pt x="3" y="37"/>
                  <a:pt x="3" y="37"/>
                </a:cubicBezTo>
                <a:cubicBezTo>
                  <a:pt x="0" y="39"/>
                  <a:pt x="0" y="42"/>
                  <a:pt x="2" y="44"/>
                </a:cubicBezTo>
                <a:cubicBezTo>
                  <a:pt x="3" y="46"/>
                  <a:pt x="5" y="46"/>
                  <a:pt x="6" y="46"/>
                </a:cubicBezTo>
                <a:cubicBezTo>
                  <a:pt x="7" y="46"/>
                  <a:pt x="8" y="46"/>
                  <a:pt x="9" y="45"/>
                </a:cubicBezTo>
                <a:cubicBezTo>
                  <a:pt x="40" y="20"/>
                  <a:pt x="40" y="20"/>
                  <a:pt x="40" y="20"/>
                </a:cubicBezTo>
                <a:cubicBezTo>
                  <a:pt x="62" y="36"/>
                  <a:pt x="62" y="36"/>
                  <a:pt x="62" y="36"/>
                </a:cubicBezTo>
                <a:cubicBezTo>
                  <a:pt x="64" y="38"/>
                  <a:pt x="67" y="38"/>
                  <a:pt x="69" y="36"/>
                </a:cubicBezTo>
                <a:cubicBezTo>
                  <a:pt x="85" y="19"/>
                  <a:pt x="85" y="19"/>
                  <a:pt x="85" y="19"/>
                </a:cubicBezTo>
                <a:cubicBezTo>
                  <a:pt x="87" y="22"/>
                  <a:pt x="87" y="22"/>
                  <a:pt x="87" y="22"/>
                </a:cubicBezTo>
                <a:cubicBezTo>
                  <a:pt x="89" y="24"/>
                  <a:pt x="92" y="23"/>
                  <a:pt x="93" y="20"/>
                </a:cubicBezTo>
                <a:cubicBezTo>
                  <a:pt x="95" y="4"/>
                  <a:pt x="95" y="4"/>
                  <a:pt x="95" y="4"/>
                </a:cubicBezTo>
                <a:cubicBezTo>
                  <a:pt x="95" y="2"/>
                  <a:pt x="94" y="0"/>
                  <a:pt x="92" y="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lumMod val="50000"/>
                  <a:lumOff val="50000"/>
                </a:prstClr>
              </a:solidFill>
              <a:effectLst/>
              <a:uLnTx/>
              <a:uFillTx/>
              <a:latin typeface="HarmonyOS Sans SC"/>
              <a:cs typeface="+mn-cs"/>
            </a:endParaRPr>
          </a:p>
        </p:txBody>
      </p:sp>
      <p:sp>
        <p:nvSpPr>
          <p:cNvPr id="38" name="Freeform 38">
            <a:extLst>
              <a:ext uri="{FF2B5EF4-FFF2-40B4-BE49-F238E27FC236}">
                <a16:creationId xmlns:a16="http://schemas.microsoft.com/office/drawing/2014/main" id="{A62302F9-DDBC-4106-BAD6-318A9DFCB88A}"/>
              </a:ext>
            </a:extLst>
          </p:cNvPr>
          <p:cNvSpPr>
            <a:spLocks/>
          </p:cNvSpPr>
          <p:nvPr/>
        </p:nvSpPr>
        <p:spPr bwMode="auto">
          <a:xfrm>
            <a:off x="6058955" y="4774487"/>
            <a:ext cx="73037" cy="38900"/>
          </a:xfrm>
          <a:custGeom>
            <a:avLst/>
            <a:gdLst>
              <a:gd name="T0" fmla="*/ 38 w 43"/>
              <a:gd name="T1" fmla="*/ 0 h 23"/>
              <a:gd name="T2" fmla="*/ 5 w 43"/>
              <a:gd name="T3" fmla="*/ 0 h 23"/>
              <a:gd name="T4" fmla="*/ 0 w 43"/>
              <a:gd name="T5" fmla="*/ 5 h 23"/>
              <a:gd name="T6" fmla="*/ 0 w 43"/>
              <a:gd name="T7" fmla="*/ 6 h 23"/>
              <a:gd name="T8" fmla="*/ 5 w 43"/>
              <a:gd name="T9" fmla="*/ 11 h 23"/>
              <a:gd name="T10" fmla="*/ 11 w 43"/>
              <a:gd name="T11" fmla="*/ 11 h 23"/>
              <a:gd name="T12" fmla="*/ 11 w 43"/>
              <a:gd name="T13" fmla="*/ 13 h 23"/>
              <a:gd name="T14" fmla="*/ 21 w 43"/>
              <a:gd name="T15" fmla="*/ 23 h 23"/>
              <a:gd name="T16" fmla="*/ 22 w 43"/>
              <a:gd name="T17" fmla="*/ 23 h 23"/>
              <a:gd name="T18" fmla="*/ 32 w 43"/>
              <a:gd name="T19" fmla="*/ 13 h 23"/>
              <a:gd name="T20" fmla="*/ 32 w 43"/>
              <a:gd name="T21" fmla="*/ 11 h 23"/>
              <a:gd name="T22" fmla="*/ 38 w 43"/>
              <a:gd name="T23" fmla="*/ 11 h 23"/>
              <a:gd name="T24" fmla="*/ 43 w 43"/>
              <a:gd name="T25" fmla="*/ 6 h 23"/>
              <a:gd name="T26" fmla="*/ 43 w 43"/>
              <a:gd name="T27" fmla="*/ 5 h 23"/>
              <a:gd name="T28" fmla="*/ 38 w 43"/>
              <a:gd name="T29"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3" h="23">
                <a:moveTo>
                  <a:pt x="38" y="0"/>
                </a:moveTo>
                <a:cubicBezTo>
                  <a:pt x="5" y="0"/>
                  <a:pt x="5" y="0"/>
                  <a:pt x="5" y="0"/>
                </a:cubicBezTo>
                <a:cubicBezTo>
                  <a:pt x="2" y="0"/>
                  <a:pt x="0" y="2"/>
                  <a:pt x="0" y="5"/>
                </a:cubicBezTo>
                <a:cubicBezTo>
                  <a:pt x="0" y="6"/>
                  <a:pt x="0" y="6"/>
                  <a:pt x="0" y="6"/>
                </a:cubicBezTo>
                <a:cubicBezTo>
                  <a:pt x="0" y="9"/>
                  <a:pt x="2" y="11"/>
                  <a:pt x="5" y="11"/>
                </a:cubicBezTo>
                <a:cubicBezTo>
                  <a:pt x="11" y="11"/>
                  <a:pt x="11" y="11"/>
                  <a:pt x="11" y="11"/>
                </a:cubicBezTo>
                <a:cubicBezTo>
                  <a:pt x="11" y="13"/>
                  <a:pt x="11" y="13"/>
                  <a:pt x="11" y="13"/>
                </a:cubicBezTo>
                <a:cubicBezTo>
                  <a:pt x="11" y="18"/>
                  <a:pt x="15" y="23"/>
                  <a:pt x="21" y="23"/>
                </a:cubicBezTo>
                <a:cubicBezTo>
                  <a:pt x="22" y="23"/>
                  <a:pt x="22" y="23"/>
                  <a:pt x="22" y="23"/>
                </a:cubicBezTo>
                <a:cubicBezTo>
                  <a:pt x="28" y="23"/>
                  <a:pt x="32" y="18"/>
                  <a:pt x="32" y="13"/>
                </a:cubicBezTo>
                <a:cubicBezTo>
                  <a:pt x="32" y="11"/>
                  <a:pt x="32" y="11"/>
                  <a:pt x="32" y="11"/>
                </a:cubicBezTo>
                <a:cubicBezTo>
                  <a:pt x="38" y="11"/>
                  <a:pt x="38" y="11"/>
                  <a:pt x="38" y="11"/>
                </a:cubicBezTo>
                <a:cubicBezTo>
                  <a:pt x="41" y="11"/>
                  <a:pt x="43" y="9"/>
                  <a:pt x="43" y="6"/>
                </a:cubicBezTo>
                <a:cubicBezTo>
                  <a:pt x="43" y="5"/>
                  <a:pt x="43" y="5"/>
                  <a:pt x="43" y="5"/>
                </a:cubicBezTo>
                <a:cubicBezTo>
                  <a:pt x="43" y="2"/>
                  <a:pt x="41" y="0"/>
                  <a:pt x="38"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lumMod val="50000"/>
                  <a:lumOff val="50000"/>
                </a:prstClr>
              </a:solidFill>
              <a:effectLst/>
              <a:uLnTx/>
              <a:uFillTx/>
              <a:latin typeface="HarmonyOS Sans SC"/>
              <a:cs typeface="+mn-cs"/>
            </a:endParaRPr>
          </a:p>
        </p:txBody>
      </p:sp>
      <p:sp>
        <p:nvSpPr>
          <p:cNvPr id="39" name="Freeform 39">
            <a:extLst>
              <a:ext uri="{FF2B5EF4-FFF2-40B4-BE49-F238E27FC236}">
                <a16:creationId xmlns:a16="http://schemas.microsoft.com/office/drawing/2014/main" id="{FB881BE4-AD4A-419D-A953-A4489D044FC7}"/>
              </a:ext>
            </a:extLst>
          </p:cNvPr>
          <p:cNvSpPr>
            <a:spLocks noEditPoints="1"/>
          </p:cNvSpPr>
          <p:nvPr/>
        </p:nvSpPr>
        <p:spPr bwMode="auto">
          <a:xfrm>
            <a:off x="6020055" y="4587927"/>
            <a:ext cx="147661" cy="171477"/>
          </a:xfrm>
          <a:custGeom>
            <a:avLst/>
            <a:gdLst>
              <a:gd name="T0" fmla="*/ 39 w 87"/>
              <a:gd name="T1" fmla="*/ 3 h 102"/>
              <a:gd name="T2" fmla="*/ 2 w 87"/>
              <a:gd name="T3" fmla="*/ 41 h 102"/>
              <a:gd name="T4" fmla="*/ 14 w 87"/>
              <a:gd name="T5" fmla="*/ 76 h 102"/>
              <a:gd name="T6" fmla="*/ 21 w 87"/>
              <a:gd name="T7" fmla="*/ 95 h 102"/>
              <a:gd name="T8" fmla="*/ 21 w 87"/>
              <a:gd name="T9" fmla="*/ 95 h 102"/>
              <a:gd name="T10" fmla="*/ 28 w 87"/>
              <a:gd name="T11" fmla="*/ 102 h 102"/>
              <a:gd name="T12" fmla="*/ 61 w 87"/>
              <a:gd name="T13" fmla="*/ 102 h 102"/>
              <a:gd name="T14" fmla="*/ 68 w 87"/>
              <a:gd name="T15" fmla="*/ 95 h 102"/>
              <a:gd name="T16" fmla="*/ 75 w 87"/>
              <a:gd name="T17" fmla="*/ 76 h 102"/>
              <a:gd name="T18" fmla="*/ 87 w 87"/>
              <a:gd name="T19" fmla="*/ 46 h 102"/>
              <a:gd name="T20" fmla="*/ 39 w 87"/>
              <a:gd name="T21" fmla="*/ 3 h 102"/>
              <a:gd name="T22" fmla="*/ 40 w 87"/>
              <a:gd name="T23" fmla="*/ 85 h 102"/>
              <a:gd name="T24" fmla="*/ 36 w 87"/>
              <a:gd name="T25" fmla="*/ 89 h 102"/>
              <a:gd name="T26" fmla="*/ 32 w 87"/>
              <a:gd name="T27" fmla="*/ 85 h 102"/>
              <a:gd name="T28" fmla="*/ 32 w 87"/>
              <a:gd name="T29" fmla="*/ 67 h 102"/>
              <a:gd name="T30" fmla="*/ 22 w 87"/>
              <a:gd name="T31" fmla="*/ 57 h 102"/>
              <a:gd name="T32" fmla="*/ 17 w 87"/>
              <a:gd name="T33" fmla="*/ 52 h 102"/>
              <a:gd name="T34" fmla="*/ 22 w 87"/>
              <a:gd name="T35" fmla="*/ 48 h 102"/>
              <a:gd name="T36" fmla="*/ 40 w 87"/>
              <a:gd name="T37" fmla="*/ 67 h 102"/>
              <a:gd name="T38" fmla="*/ 40 w 87"/>
              <a:gd name="T39" fmla="*/ 85 h 102"/>
              <a:gd name="T40" fmla="*/ 67 w 87"/>
              <a:gd name="T41" fmla="*/ 57 h 102"/>
              <a:gd name="T42" fmla="*/ 57 w 87"/>
              <a:gd name="T43" fmla="*/ 67 h 102"/>
              <a:gd name="T44" fmla="*/ 57 w 87"/>
              <a:gd name="T45" fmla="*/ 85 h 102"/>
              <a:gd name="T46" fmla="*/ 53 w 87"/>
              <a:gd name="T47" fmla="*/ 89 h 102"/>
              <a:gd name="T48" fmla="*/ 49 w 87"/>
              <a:gd name="T49" fmla="*/ 85 h 102"/>
              <a:gd name="T50" fmla="*/ 49 w 87"/>
              <a:gd name="T51" fmla="*/ 67 h 102"/>
              <a:gd name="T52" fmla="*/ 67 w 87"/>
              <a:gd name="T53" fmla="*/ 48 h 102"/>
              <a:gd name="T54" fmla="*/ 72 w 87"/>
              <a:gd name="T55" fmla="*/ 52 h 102"/>
              <a:gd name="T56" fmla="*/ 67 w 87"/>
              <a:gd name="T57" fmla="*/ 57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7" h="102">
                <a:moveTo>
                  <a:pt x="39" y="3"/>
                </a:moveTo>
                <a:cubicBezTo>
                  <a:pt x="21" y="5"/>
                  <a:pt x="4" y="23"/>
                  <a:pt x="2" y="41"/>
                </a:cubicBezTo>
                <a:cubicBezTo>
                  <a:pt x="0" y="54"/>
                  <a:pt x="5" y="67"/>
                  <a:pt x="14" y="76"/>
                </a:cubicBezTo>
                <a:cubicBezTo>
                  <a:pt x="19" y="81"/>
                  <a:pt x="21" y="88"/>
                  <a:pt x="21" y="95"/>
                </a:cubicBezTo>
                <a:cubicBezTo>
                  <a:pt x="21" y="95"/>
                  <a:pt x="21" y="95"/>
                  <a:pt x="21" y="95"/>
                </a:cubicBezTo>
                <a:cubicBezTo>
                  <a:pt x="21" y="99"/>
                  <a:pt x="24" y="102"/>
                  <a:pt x="28" y="102"/>
                </a:cubicBezTo>
                <a:cubicBezTo>
                  <a:pt x="61" y="102"/>
                  <a:pt x="61" y="102"/>
                  <a:pt x="61" y="102"/>
                </a:cubicBezTo>
                <a:cubicBezTo>
                  <a:pt x="65" y="102"/>
                  <a:pt x="68" y="99"/>
                  <a:pt x="68" y="95"/>
                </a:cubicBezTo>
                <a:cubicBezTo>
                  <a:pt x="68" y="88"/>
                  <a:pt x="70" y="81"/>
                  <a:pt x="75" y="76"/>
                </a:cubicBezTo>
                <a:cubicBezTo>
                  <a:pt x="83" y="68"/>
                  <a:pt x="87" y="58"/>
                  <a:pt x="87" y="46"/>
                </a:cubicBezTo>
                <a:cubicBezTo>
                  <a:pt x="87" y="21"/>
                  <a:pt x="65" y="0"/>
                  <a:pt x="39" y="3"/>
                </a:cubicBezTo>
                <a:close/>
                <a:moveTo>
                  <a:pt x="40" y="85"/>
                </a:moveTo>
                <a:cubicBezTo>
                  <a:pt x="40" y="87"/>
                  <a:pt x="38" y="89"/>
                  <a:pt x="36" y="89"/>
                </a:cubicBezTo>
                <a:cubicBezTo>
                  <a:pt x="34" y="89"/>
                  <a:pt x="32" y="87"/>
                  <a:pt x="32" y="85"/>
                </a:cubicBezTo>
                <a:cubicBezTo>
                  <a:pt x="32" y="67"/>
                  <a:pt x="32" y="67"/>
                  <a:pt x="32" y="67"/>
                </a:cubicBezTo>
                <a:cubicBezTo>
                  <a:pt x="32" y="61"/>
                  <a:pt x="27" y="57"/>
                  <a:pt x="22" y="57"/>
                </a:cubicBezTo>
                <a:cubicBezTo>
                  <a:pt x="19" y="57"/>
                  <a:pt x="17" y="55"/>
                  <a:pt x="17" y="52"/>
                </a:cubicBezTo>
                <a:cubicBezTo>
                  <a:pt x="17" y="50"/>
                  <a:pt x="19" y="48"/>
                  <a:pt x="22" y="48"/>
                </a:cubicBezTo>
                <a:cubicBezTo>
                  <a:pt x="32" y="48"/>
                  <a:pt x="40" y="57"/>
                  <a:pt x="40" y="67"/>
                </a:cubicBezTo>
                <a:lnTo>
                  <a:pt x="40" y="85"/>
                </a:lnTo>
                <a:close/>
                <a:moveTo>
                  <a:pt x="67" y="57"/>
                </a:moveTo>
                <a:cubicBezTo>
                  <a:pt x="62" y="57"/>
                  <a:pt x="57" y="61"/>
                  <a:pt x="57" y="67"/>
                </a:cubicBezTo>
                <a:cubicBezTo>
                  <a:pt x="57" y="85"/>
                  <a:pt x="57" y="85"/>
                  <a:pt x="57" y="85"/>
                </a:cubicBezTo>
                <a:cubicBezTo>
                  <a:pt x="57" y="87"/>
                  <a:pt x="55" y="89"/>
                  <a:pt x="53" y="89"/>
                </a:cubicBezTo>
                <a:cubicBezTo>
                  <a:pt x="51" y="89"/>
                  <a:pt x="49" y="87"/>
                  <a:pt x="49" y="85"/>
                </a:cubicBezTo>
                <a:cubicBezTo>
                  <a:pt x="49" y="67"/>
                  <a:pt x="49" y="67"/>
                  <a:pt x="49" y="67"/>
                </a:cubicBezTo>
                <a:cubicBezTo>
                  <a:pt x="49" y="57"/>
                  <a:pt x="57" y="48"/>
                  <a:pt x="67" y="48"/>
                </a:cubicBezTo>
                <a:cubicBezTo>
                  <a:pt x="70" y="48"/>
                  <a:pt x="72" y="50"/>
                  <a:pt x="72" y="52"/>
                </a:cubicBezTo>
                <a:cubicBezTo>
                  <a:pt x="72" y="55"/>
                  <a:pt x="70" y="57"/>
                  <a:pt x="67" y="5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lumMod val="50000"/>
                  <a:lumOff val="50000"/>
                </a:prstClr>
              </a:solidFill>
              <a:effectLst/>
              <a:uLnTx/>
              <a:uFillTx/>
              <a:latin typeface="HarmonyOS Sans SC"/>
              <a:cs typeface="+mn-cs"/>
            </a:endParaRPr>
          </a:p>
        </p:txBody>
      </p:sp>
      <p:sp>
        <p:nvSpPr>
          <p:cNvPr id="41" name="Freeform 43">
            <a:extLst>
              <a:ext uri="{FF2B5EF4-FFF2-40B4-BE49-F238E27FC236}">
                <a16:creationId xmlns:a16="http://schemas.microsoft.com/office/drawing/2014/main" id="{FFDC9FAD-C1A6-4A7A-85A1-14175C4561E9}"/>
              </a:ext>
            </a:extLst>
          </p:cNvPr>
          <p:cNvSpPr>
            <a:spLocks/>
          </p:cNvSpPr>
          <p:nvPr/>
        </p:nvSpPr>
        <p:spPr bwMode="auto">
          <a:xfrm>
            <a:off x="6392242" y="4643376"/>
            <a:ext cx="60516" cy="22603"/>
          </a:xfrm>
          <a:custGeom>
            <a:avLst/>
            <a:gdLst>
              <a:gd name="T0" fmla="*/ 37 w 39"/>
              <a:gd name="T1" fmla="*/ 7 h 15"/>
              <a:gd name="T2" fmla="*/ 19 w 39"/>
              <a:gd name="T3" fmla="*/ 0 h 15"/>
              <a:gd name="T4" fmla="*/ 1 w 39"/>
              <a:gd name="T5" fmla="*/ 7 h 15"/>
              <a:gd name="T6" fmla="*/ 1 w 39"/>
              <a:gd name="T7" fmla="*/ 13 h 15"/>
              <a:gd name="T8" fmla="*/ 8 w 39"/>
              <a:gd name="T9" fmla="*/ 13 h 15"/>
              <a:gd name="T10" fmla="*/ 19 w 39"/>
              <a:gd name="T11" fmla="*/ 9 h 15"/>
              <a:gd name="T12" fmla="*/ 31 w 39"/>
              <a:gd name="T13" fmla="*/ 13 h 15"/>
              <a:gd name="T14" fmla="*/ 34 w 39"/>
              <a:gd name="T15" fmla="*/ 15 h 15"/>
              <a:gd name="T16" fmla="*/ 37 w 39"/>
              <a:gd name="T17" fmla="*/ 13 h 15"/>
              <a:gd name="T18" fmla="*/ 37 w 39"/>
              <a:gd name="T19" fmla="*/ 7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 h="15">
                <a:moveTo>
                  <a:pt x="37" y="7"/>
                </a:moveTo>
                <a:cubicBezTo>
                  <a:pt x="32" y="2"/>
                  <a:pt x="26" y="0"/>
                  <a:pt x="19" y="0"/>
                </a:cubicBezTo>
                <a:cubicBezTo>
                  <a:pt x="12" y="0"/>
                  <a:pt x="6" y="2"/>
                  <a:pt x="1" y="7"/>
                </a:cubicBezTo>
                <a:cubicBezTo>
                  <a:pt x="0" y="9"/>
                  <a:pt x="0" y="12"/>
                  <a:pt x="1" y="13"/>
                </a:cubicBezTo>
                <a:cubicBezTo>
                  <a:pt x="3" y="15"/>
                  <a:pt x="6" y="15"/>
                  <a:pt x="8" y="13"/>
                </a:cubicBezTo>
                <a:cubicBezTo>
                  <a:pt x="11" y="10"/>
                  <a:pt x="15" y="9"/>
                  <a:pt x="19" y="9"/>
                </a:cubicBezTo>
                <a:cubicBezTo>
                  <a:pt x="23" y="9"/>
                  <a:pt x="28" y="10"/>
                  <a:pt x="31" y="13"/>
                </a:cubicBezTo>
                <a:cubicBezTo>
                  <a:pt x="31" y="14"/>
                  <a:pt x="33" y="15"/>
                  <a:pt x="34" y="15"/>
                </a:cubicBezTo>
                <a:cubicBezTo>
                  <a:pt x="35" y="15"/>
                  <a:pt x="36" y="14"/>
                  <a:pt x="37" y="13"/>
                </a:cubicBezTo>
                <a:cubicBezTo>
                  <a:pt x="39" y="12"/>
                  <a:pt x="39" y="9"/>
                  <a:pt x="37" y="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lumMod val="50000"/>
                  <a:lumOff val="50000"/>
                </a:prstClr>
              </a:solidFill>
              <a:effectLst/>
              <a:uLnTx/>
              <a:uFillTx/>
              <a:latin typeface="HarmonyOS Sans SC"/>
              <a:cs typeface="+mn-cs"/>
            </a:endParaRPr>
          </a:p>
        </p:txBody>
      </p:sp>
      <p:sp>
        <p:nvSpPr>
          <p:cNvPr id="42" name="Freeform 44">
            <a:extLst>
              <a:ext uri="{FF2B5EF4-FFF2-40B4-BE49-F238E27FC236}">
                <a16:creationId xmlns:a16="http://schemas.microsoft.com/office/drawing/2014/main" id="{13C5859B-645A-4EFA-BD8F-89ACD6730CB9}"/>
              </a:ext>
            </a:extLst>
          </p:cNvPr>
          <p:cNvSpPr>
            <a:spLocks noEditPoints="1"/>
          </p:cNvSpPr>
          <p:nvPr/>
        </p:nvSpPr>
        <p:spPr bwMode="auto">
          <a:xfrm>
            <a:off x="6297457" y="4609108"/>
            <a:ext cx="198319" cy="188841"/>
          </a:xfrm>
          <a:custGeom>
            <a:avLst/>
            <a:gdLst>
              <a:gd name="T0" fmla="*/ 111 w 128"/>
              <a:gd name="T1" fmla="*/ 13 h 122"/>
              <a:gd name="T2" fmla="*/ 80 w 128"/>
              <a:gd name="T3" fmla="*/ 0 h 122"/>
              <a:gd name="T4" fmla="*/ 48 w 128"/>
              <a:gd name="T5" fmla="*/ 13 h 122"/>
              <a:gd name="T6" fmla="*/ 42 w 128"/>
              <a:gd name="T7" fmla="*/ 69 h 122"/>
              <a:gd name="T8" fmla="*/ 34 w 128"/>
              <a:gd name="T9" fmla="*/ 77 h 122"/>
              <a:gd name="T10" fmla="*/ 33 w 128"/>
              <a:gd name="T11" fmla="*/ 76 h 122"/>
              <a:gd name="T12" fmla="*/ 30 w 128"/>
              <a:gd name="T13" fmla="*/ 76 h 122"/>
              <a:gd name="T14" fmla="*/ 1 w 128"/>
              <a:gd name="T15" fmla="*/ 105 h 122"/>
              <a:gd name="T16" fmla="*/ 1 w 128"/>
              <a:gd name="T17" fmla="*/ 110 h 122"/>
              <a:gd name="T18" fmla="*/ 12 w 128"/>
              <a:gd name="T19" fmla="*/ 120 h 122"/>
              <a:gd name="T20" fmla="*/ 17 w 128"/>
              <a:gd name="T21" fmla="*/ 120 h 122"/>
              <a:gd name="T22" fmla="*/ 46 w 128"/>
              <a:gd name="T23" fmla="*/ 91 h 122"/>
              <a:gd name="T24" fmla="*/ 46 w 128"/>
              <a:gd name="T25" fmla="*/ 89 h 122"/>
              <a:gd name="T26" fmla="*/ 44 w 128"/>
              <a:gd name="T27" fmla="*/ 87 h 122"/>
              <a:gd name="T28" fmla="*/ 52 w 128"/>
              <a:gd name="T29" fmla="*/ 80 h 122"/>
              <a:gd name="T30" fmla="*/ 80 w 128"/>
              <a:gd name="T31" fmla="*/ 89 h 122"/>
              <a:gd name="T32" fmla="*/ 111 w 128"/>
              <a:gd name="T33" fmla="*/ 76 h 122"/>
              <a:gd name="T34" fmla="*/ 111 w 128"/>
              <a:gd name="T35" fmla="*/ 13 h 122"/>
              <a:gd name="T36" fmla="*/ 101 w 128"/>
              <a:gd name="T37" fmla="*/ 66 h 122"/>
              <a:gd name="T38" fmla="*/ 80 w 128"/>
              <a:gd name="T39" fmla="*/ 75 h 122"/>
              <a:gd name="T40" fmla="*/ 58 w 128"/>
              <a:gd name="T41" fmla="*/ 66 h 122"/>
              <a:gd name="T42" fmla="*/ 49 w 128"/>
              <a:gd name="T43" fmla="*/ 45 h 122"/>
              <a:gd name="T44" fmla="*/ 58 w 128"/>
              <a:gd name="T45" fmla="*/ 23 h 122"/>
              <a:gd name="T46" fmla="*/ 80 w 128"/>
              <a:gd name="T47" fmla="*/ 14 h 122"/>
              <a:gd name="T48" fmla="*/ 101 w 128"/>
              <a:gd name="T49" fmla="*/ 23 h 122"/>
              <a:gd name="T50" fmla="*/ 110 w 128"/>
              <a:gd name="T51" fmla="*/ 45 h 122"/>
              <a:gd name="T52" fmla="*/ 101 w 128"/>
              <a:gd name="T53" fmla="*/ 66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8" h="122">
                <a:moveTo>
                  <a:pt x="111" y="13"/>
                </a:moveTo>
                <a:cubicBezTo>
                  <a:pt x="102" y="5"/>
                  <a:pt x="91" y="0"/>
                  <a:pt x="80" y="0"/>
                </a:cubicBezTo>
                <a:cubicBezTo>
                  <a:pt x="68" y="0"/>
                  <a:pt x="57" y="5"/>
                  <a:pt x="48" y="13"/>
                </a:cubicBezTo>
                <a:cubicBezTo>
                  <a:pt x="33" y="28"/>
                  <a:pt x="31" y="52"/>
                  <a:pt x="42" y="69"/>
                </a:cubicBezTo>
                <a:cubicBezTo>
                  <a:pt x="34" y="77"/>
                  <a:pt x="34" y="77"/>
                  <a:pt x="34" y="77"/>
                </a:cubicBezTo>
                <a:cubicBezTo>
                  <a:pt x="33" y="76"/>
                  <a:pt x="33" y="76"/>
                  <a:pt x="33" y="76"/>
                </a:cubicBezTo>
                <a:cubicBezTo>
                  <a:pt x="32" y="75"/>
                  <a:pt x="31" y="75"/>
                  <a:pt x="30" y="76"/>
                </a:cubicBezTo>
                <a:cubicBezTo>
                  <a:pt x="1" y="105"/>
                  <a:pt x="1" y="105"/>
                  <a:pt x="1" y="105"/>
                </a:cubicBezTo>
                <a:cubicBezTo>
                  <a:pt x="0" y="107"/>
                  <a:pt x="0" y="109"/>
                  <a:pt x="1" y="110"/>
                </a:cubicBezTo>
                <a:cubicBezTo>
                  <a:pt x="12" y="120"/>
                  <a:pt x="12" y="120"/>
                  <a:pt x="12" y="120"/>
                </a:cubicBezTo>
                <a:cubicBezTo>
                  <a:pt x="13" y="122"/>
                  <a:pt x="15" y="122"/>
                  <a:pt x="17" y="120"/>
                </a:cubicBezTo>
                <a:cubicBezTo>
                  <a:pt x="46" y="91"/>
                  <a:pt x="46" y="91"/>
                  <a:pt x="46" y="91"/>
                </a:cubicBezTo>
                <a:cubicBezTo>
                  <a:pt x="46" y="91"/>
                  <a:pt x="46" y="89"/>
                  <a:pt x="46" y="89"/>
                </a:cubicBezTo>
                <a:cubicBezTo>
                  <a:pt x="44" y="87"/>
                  <a:pt x="44" y="87"/>
                  <a:pt x="44" y="87"/>
                </a:cubicBezTo>
                <a:cubicBezTo>
                  <a:pt x="52" y="80"/>
                  <a:pt x="52" y="80"/>
                  <a:pt x="52" y="80"/>
                </a:cubicBezTo>
                <a:cubicBezTo>
                  <a:pt x="60" y="86"/>
                  <a:pt x="70" y="89"/>
                  <a:pt x="80" y="89"/>
                </a:cubicBezTo>
                <a:cubicBezTo>
                  <a:pt x="91" y="89"/>
                  <a:pt x="102" y="85"/>
                  <a:pt x="111" y="76"/>
                </a:cubicBezTo>
                <a:cubicBezTo>
                  <a:pt x="128" y="59"/>
                  <a:pt x="128" y="31"/>
                  <a:pt x="111" y="13"/>
                </a:cubicBezTo>
                <a:close/>
                <a:moveTo>
                  <a:pt x="101" y="66"/>
                </a:moveTo>
                <a:cubicBezTo>
                  <a:pt x="95" y="72"/>
                  <a:pt x="88" y="75"/>
                  <a:pt x="80" y="75"/>
                </a:cubicBezTo>
                <a:cubicBezTo>
                  <a:pt x="71" y="75"/>
                  <a:pt x="64" y="72"/>
                  <a:pt x="58" y="66"/>
                </a:cubicBezTo>
                <a:cubicBezTo>
                  <a:pt x="52" y="60"/>
                  <a:pt x="49" y="53"/>
                  <a:pt x="49" y="45"/>
                </a:cubicBezTo>
                <a:cubicBezTo>
                  <a:pt x="49" y="37"/>
                  <a:pt x="52" y="29"/>
                  <a:pt x="58" y="23"/>
                </a:cubicBezTo>
                <a:cubicBezTo>
                  <a:pt x="64" y="18"/>
                  <a:pt x="71" y="14"/>
                  <a:pt x="80" y="14"/>
                </a:cubicBezTo>
                <a:cubicBezTo>
                  <a:pt x="88" y="14"/>
                  <a:pt x="95" y="18"/>
                  <a:pt x="101" y="23"/>
                </a:cubicBezTo>
                <a:cubicBezTo>
                  <a:pt x="107" y="29"/>
                  <a:pt x="110" y="37"/>
                  <a:pt x="110" y="45"/>
                </a:cubicBezTo>
                <a:cubicBezTo>
                  <a:pt x="110" y="53"/>
                  <a:pt x="107" y="60"/>
                  <a:pt x="101" y="6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lumMod val="50000"/>
                  <a:lumOff val="50000"/>
                </a:prstClr>
              </a:solidFill>
              <a:effectLst/>
              <a:uLnTx/>
              <a:uFillTx/>
              <a:latin typeface="HarmonyOS Sans SC"/>
              <a:cs typeface="+mn-cs"/>
            </a:endParaRPr>
          </a:p>
        </p:txBody>
      </p:sp>
      <p:sp>
        <p:nvSpPr>
          <p:cNvPr id="44" name="Freeform 48">
            <a:extLst>
              <a:ext uri="{FF2B5EF4-FFF2-40B4-BE49-F238E27FC236}">
                <a16:creationId xmlns:a16="http://schemas.microsoft.com/office/drawing/2014/main" id="{98FD4C74-1440-4176-811F-E305CDAA9C18}"/>
              </a:ext>
            </a:extLst>
          </p:cNvPr>
          <p:cNvSpPr>
            <a:spLocks/>
          </p:cNvSpPr>
          <p:nvPr/>
        </p:nvSpPr>
        <p:spPr bwMode="auto">
          <a:xfrm>
            <a:off x="6025141" y="2116628"/>
            <a:ext cx="131565" cy="76248"/>
          </a:xfrm>
          <a:custGeom>
            <a:avLst/>
            <a:gdLst>
              <a:gd name="T0" fmla="*/ 41 w 82"/>
              <a:gd name="T1" fmla="*/ 0 h 48"/>
              <a:gd name="T2" fmla="*/ 41 w 82"/>
              <a:gd name="T3" fmla="*/ 0 h 48"/>
              <a:gd name="T4" fmla="*/ 38 w 82"/>
              <a:gd name="T5" fmla="*/ 1 h 48"/>
              <a:gd name="T6" fmla="*/ 2 w 82"/>
              <a:gd name="T7" fmla="*/ 38 h 48"/>
              <a:gd name="T8" fmla="*/ 2 w 82"/>
              <a:gd name="T9" fmla="*/ 44 h 48"/>
              <a:gd name="T10" fmla="*/ 4 w 82"/>
              <a:gd name="T11" fmla="*/ 47 h 48"/>
              <a:gd name="T12" fmla="*/ 7 w 82"/>
              <a:gd name="T13" fmla="*/ 48 h 48"/>
              <a:gd name="T14" fmla="*/ 11 w 82"/>
              <a:gd name="T15" fmla="*/ 47 h 48"/>
              <a:gd name="T16" fmla="*/ 41 w 82"/>
              <a:gd name="T17" fmla="*/ 16 h 48"/>
              <a:gd name="T18" fmla="*/ 71 w 82"/>
              <a:gd name="T19" fmla="*/ 47 h 48"/>
              <a:gd name="T20" fmla="*/ 75 w 82"/>
              <a:gd name="T21" fmla="*/ 48 h 48"/>
              <a:gd name="T22" fmla="*/ 78 w 82"/>
              <a:gd name="T23" fmla="*/ 47 h 48"/>
              <a:gd name="T24" fmla="*/ 80 w 82"/>
              <a:gd name="T25" fmla="*/ 44 h 48"/>
              <a:gd name="T26" fmla="*/ 82 w 82"/>
              <a:gd name="T27" fmla="*/ 41 h 48"/>
              <a:gd name="T28" fmla="*/ 80 w 82"/>
              <a:gd name="T29" fmla="*/ 38 h 48"/>
              <a:gd name="T30" fmla="*/ 44 w 82"/>
              <a:gd name="T31" fmla="*/ 1 h 48"/>
              <a:gd name="T32" fmla="*/ 41 w 82"/>
              <a:gd name="T3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2" h="48">
                <a:moveTo>
                  <a:pt x="41" y="0"/>
                </a:moveTo>
                <a:cubicBezTo>
                  <a:pt x="41" y="0"/>
                  <a:pt x="41" y="0"/>
                  <a:pt x="41" y="0"/>
                </a:cubicBezTo>
                <a:cubicBezTo>
                  <a:pt x="40" y="0"/>
                  <a:pt x="39" y="1"/>
                  <a:pt x="38" y="1"/>
                </a:cubicBezTo>
                <a:cubicBezTo>
                  <a:pt x="2" y="38"/>
                  <a:pt x="2" y="38"/>
                  <a:pt x="2" y="38"/>
                </a:cubicBezTo>
                <a:cubicBezTo>
                  <a:pt x="0" y="39"/>
                  <a:pt x="0" y="42"/>
                  <a:pt x="2" y="44"/>
                </a:cubicBezTo>
                <a:cubicBezTo>
                  <a:pt x="4" y="47"/>
                  <a:pt x="4" y="47"/>
                  <a:pt x="4" y="47"/>
                </a:cubicBezTo>
                <a:cubicBezTo>
                  <a:pt x="5" y="48"/>
                  <a:pt x="6" y="48"/>
                  <a:pt x="7" y="48"/>
                </a:cubicBezTo>
                <a:cubicBezTo>
                  <a:pt x="9" y="48"/>
                  <a:pt x="10" y="48"/>
                  <a:pt x="11" y="47"/>
                </a:cubicBezTo>
                <a:cubicBezTo>
                  <a:pt x="41" y="16"/>
                  <a:pt x="41" y="16"/>
                  <a:pt x="41" y="16"/>
                </a:cubicBezTo>
                <a:cubicBezTo>
                  <a:pt x="71" y="47"/>
                  <a:pt x="71" y="47"/>
                  <a:pt x="71" y="47"/>
                </a:cubicBezTo>
                <a:cubicBezTo>
                  <a:pt x="72" y="47"/>
                  <a:pt x="73" y="48"/>
                  <a:pt x="75" y="48"/>
                </a:cubicBezTo>
                <a:cubicBezTo>
                  <a:pt x="76" y="48"/>
                  <a:pt x="77" y="47"/>
                  <a:pt x="78" y="47"/>
                </a:cubicBezTo>
                <a:cubicBezTo>
                  <a:pt x="80" y="44"/>
                  <a:pt x="80" y="44"/>
                  <a:pt x="80" y="44"/>
                </a:cubicBezTo>
                <a:cubicBezTo>
                  <a:pt x="81" y="43"/>
                  <a:pt x="82" y="42"/>
                  <a:pt x="82" y="41"/>
                </a:cubicBezTo>
                <a:cubicBezTo>
                  <a:pt x="82" y="40"/>
                  <a:pt x="81" y="38"/>
                  <a:pt x="80" y="38"/>
                </a:cubicBezTo>
                <a:cubicBezTo>
                  <a:pt x="44" y="1"/>
                  <a:pt x="44" y="1"/>
                  <a:pt x="44" y="1"/>
                </a:cubicBezTo>
                <a:cubicBezTo>
                  <a:pt x="43" y="1"/>
                  <a:pt x="42" y="0"/>
                  <a:pt x="41" y="0"/>
                </a:cubicBezTo>
              </a:path>
            </a:pathLst>
          </a:custGeom>
          <a:solidFill>
            <a:srgbClr val="FFFFFF">
              <a:alpha val="7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lumMod val="50000"/>
                  <a:lumOff val="50000"/>
                </a:prstClr>
              </a:solidFill>
              <a:effectLst/>
              <a:uLnTx/>
              <a:uFillTx/>
              <a:latin typeface="HarmonyOS Sans SC"/>
              <a:cs typeface="+mn-cs"/>
            </a:endParaRPr>
          </a:p>
        </p:txBody>
      </p:sp>
      <p:sp>
        <p:nvSpPr>
          <p:cNvPr id="45" name="Freeform 49">
            <a:extLst>
              <a:ext uri="{FF2B5EF4-FFF2-40B4-BE49-F238E27FC236}">
                <a16:creationId xmlns:a16="http://schemas.microsoft.com/office/drawing/2014/main" id="{DD59EA6E-472F-4D4D-BF19-B5D13BF52898}"/>
              </a:ext>
            </a:extLst>
          </p:cNvPr>
          <p:cNvSpPr>
            <a:spLocks/>
          </p:cNvSpPr>
          <p:nvPr/>
        </p:nvSpPr>
        <p:spPr bwMode="auto">
          <a:xfrm>
            <a:off x="6025141" y="2192876"/>
            <a:ext cx="131565" cy="75501"/>
          </a:xfrm>
          <a:custGeom>
            <a:avLst/>
            <a:gdLst>
              <a:gd name="T0" fmla="*/ 41 w 82"/>
              <a:gd name="T1" fmla="*/ 0 h 48"/>
              <a:gd name="T2" fmla="*/ 41 w 82"/>
              <a:gd name="T3" fmla="*/ 0 h 48"/>
              <a:gd name="T4" fmla="*/ 38 w 82"/>
              <a:gd name="T5" fmla="*/ 1 h 48"/>
              <a:gd name="T6" fmla="*/ 2 w 82"/>
              <a:gd name="T7" fmla="*/ 38 h 48"/>
              <a:gd name="T8" fmla="*/ 2 w 82"/>
              <a:gd name="T9" fmla="*/ 44 h 48"/>
              <a:gd name="T10" fmla="*/ 4 w 82"/>
              <a:gd name="T11" fmla="*/ 47 h 48"/>
              <a:gd name="T12" fmla="*/ 7 w 82"/>
              <a:gd name="T13" fmla="*/ 48 h 48"/>
              <a:gd name="T14" fmla="*/ 11 w 82"/>
              <a:gd name="T15" fmla="*/ 47 h 48"/>
              <a:gd name="T16" fmla="*/ 41 w 82"/>
              <a:gd name="T17" fmla="*/ 16 h 48"/>
              <a:gd name="T18" fmla="*/ 71 w 82"/>
              <a:gd name="T19" fmla="*/ 47 h 48"/>
              <a:gd name="T20" fmla="*/ 75 w 82"/>
              <a:gd name="T21" fmla="*/ 48 h 48"/>
              <a:gd name="T22" fmla="*/ 78 w 82"/>
              <a:gd name="T23" fmla="*/ 47 h 48"/>
              <a:gd name="T24" fmla="*/ 80 w 82"/>
              <a:gd name="T25" fmla="*/ 44 h 48"/>
              <a:gd name="T26" fmla="*/ 82 w 82"/>
              <a:gd name="T27" fmla="*/ 41 h 48"/>
              <a:gd name="T28" fmla="*/ 80 w 82"/>
              <a:gd name="T29" fmla="*/ 38 h 48"/>
              <a:gd name="T30" fmla="*/ 44 w 82"/>
              <a:gd name="T31" fmla="*/ 1 h 48"/>
              <a:gd name="T32" fmla="*/ 41 w 82"/>
              <a:gd name="T3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2" h="48">
                <a:moveTo>
                  <a:pt x="41" y="0"/>
                </a:moveTo>
                <a:cubicBezTo>
                  <a:pt x="41" y="0"/>
                  <a:pt x="41" y="0"/>
                  <a:pt x="41" y="0"/>
                </a:cubicBezTo>
                <a:cubicBezTo>
                  <a:pt x="40" y="0"/>
                  <a:pt x="39" y="1"/>
                  <a:pt x="38" y="1"/>
                </a:cubicBezTo>
                <a:cubicBezTo>
                  <a:pt x="2" y="38"/>
                  <a:pt x="2" y="38"/>
                  <a:pt x="2" y="38"/>
                </a:cubicBezTo>
                <a:cubicBezTo>
                  <a:pt x="0" y="39"/>
                  <a:pt x="0" y="42"/>
                  <a:pt x="2" y="44"/>
                </a:cubicBezTo>
                <a:cubicBezTo>
                  <a:pt x="4" y="47"/>
                  <a:pt x="4" y="47"/>
                  <a:pt x="4" y="47"/>
                </a:cubicBezTo>
                <a:cubicBezTo>
                  <a:pt x="5" y="48"/>
                  <a:pt x="6" y="48"/>
                  <a:pt x="7" y="48"/>
                </a:cubicBezTo>
                <a:cubicBezTo>
                  <a:pt x="9" y="48"/>
                  <a:pt x="10" y="48"/>
                  <a:pt x="11" y="47"/>
                </a:cubicBezTo>
                <a:cubicBezTo>
                  <a:pt x="41" y="16"/>
                  <a:pt x="41" y="16"/>
                  <a:pt x="41" y="16"/>
                </a:cubicBezTo>
                <a:cubicBezTo>
                  <a:pt x="71" y="47"/>
                  <a:pt x="71" y="47"/>
                  <a:pt x="71" y="47"/>
                </a:cubicBezTo>
                <a:cubicBezTo>
                  <a:pt x="72" y="47"/>
                  <a:pt x="73" y="48"/>
                  <a:pt x="75" y="48"/>
                </a:cubicBezTo>
                <a:cubicBezTo>
                  <a:pt x="76" y="48"/>
                  <a:pt x="77" y="47"/>
                  <a:pt x="78" y="47"/>
                </a:cubicBezTo>
                <a:cubicBezTo>
                  <a:pt x="80" y="44"/>
                  <a:pt x="80" y="44"/>
                  <a:pt x="80" y="44"/>
                </a:cubicBezTo>
                <a:cubicBezTo>
                  <a:pt x="81" y="43"/>
                  <a:pt x="82" y="42"/>
                  <a:pt x="82" y="41"/>
                </a:cubicBezTo>
                <a:cubicBezTo>
                  <a:pt x="82" y="40"/>
                  <a:pt x="81" y="38"/>
                  <a:pt x="80" y="38"/>
                </a:cubicBezTo>
                <a:cubicBezTo>
                  <a:pt x="44" y="1"/>
                  <a:pt x="44" y="1"/>
                  <a:pt x="44" y="1"/>
                </a:cubicBezTo>
                <a:cubicBezTo>
                  <a:pt x="43" y="1"/>
                  <a:pt x="42" y="0"/>
                  <a:pt x="41" y="0"/>
                </a:cubicBezTo>
              </a:path>
            </a:pathLst>
          </a:custGeom>
          <a:solidFill>
            <a:srgbClr val="FFFFFF">
              <a:alpha val="4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lumMod val="50000"/>
                  <a:lumOff val="50000"/>
                </a:prstClr>
              </a:solidFill>
              <a:effectLst/>
              <a:uLnTx/>
              <a:uFillTx/>
              <a:latin typeface="HarmonyOS Sans SC"/>
              <a:cs typeface="+mn-cs"/>
            </a:endParaRPr>
          </a:p>
        </p:txBody>
      </p:sp>
      <p:sp>
        <p:nvSpPr>
          <p:cNvPr id="46" name="Freeform 50">
            <a:extLst>
              <a:ext uri="{FF2B5EF4-FFF2-40B4-BE49-F238E27FC236}">
                <a16:creationId xmlns:a16="http://schemas.microsoft.com/office/drawing/2014/main" id="{976CA4E3-CE05-453E-AD49-8A360CC9BE11}"/>
              </a:ext>
            </a:extLst>
          </p:cNvPr>
          <p:cNvSpPr>
            <a:spLocks/>
          </p:cNvSpPr>
          <p:nvPr/>
        </p:nvSpPr>
        <p:spPr bwMode="auto">
          <a:xfrm>
            <a:off x="6025141" y="2268377"/>
            <a:ext cx="131565" cy="76248"/>
          </a:xfrm>
          <a:custGeom>
            <a:avLst/>
            <a:gdLst>
              <a:gd name="T0" fmla="*/ 41 w 82"/>
              <a:gd name="T1" fmla="*/ 0 h 48"/>
              <a:gd name="T2" fmla="*/ 41 w 82"/>
              <a:gd name="T3" fmla="*/ 0 h 48"/>
              <a:gd name="T4" fmla="*/ 38 w 82"/>
              <a:gd name="T5" fmla="*/ 1 h 48"/>
              <a:gd name="T6" fmla="*/ 2 w 82"/>
              <a:gd name="T7" fmla="*/ 38 h 48"/>
              <a:gd name="T8" fmla="*/ 2 w 82"/>
              <a:gd name="T9" fmla="*/ 44 h 48"/>
              <a:gd name="T10" fmla="*/ 4 w 82"/>
              <a:gd name="T11" fmla="*/ 47 h 48"/>
              <a:gd name="T12" fmla="*/ 7 w 82"/>
              <a:gd name="T13" fmla="*/ 48 h 48"/>
              <a:gd name="T14" fmla="*/ 11 w 82"/>
              <a:gd name="T15" fmla="*/ 47 h 48"/>
              <a:gd name="T16" fmla="*/ 41 w 82"/>
              <a:gd name="T17" fmla="*/ 16 h 48"/>
              <a:gd name="T18" fmla="*/ 71 w 82"/>
              <a:gd name="T19" fmla="*/ 47 h 48"/>
              <a:gd name="T20" fmla="*/ 75 w 82"/>
              <a:gd name="T21" fmla="*/ 48 h 48"/>
              <a:gd name="T22" fmla="*/ 78 w 82"/>
              <a:gd name="T23" fmla="*/ 47 h 48"/>
              <a:gd name="T24" fmla="*/ 80 w 82"/>
              <a:gd name="T25" fmla="*/ 44 h 48"/>
              <a:gd name="T26" fmla="*/ 82 w 82"/>
              <a:gd name="T27" fmla="*/ 41 h 48"/>
              <a:gd name="T28" fmla="*/ 80 w 82"/>
              <a:gd name="T29" fmla="*/ 38 h 48"/>
              <a:gd name="T30" fmla="*/ 44 w 82"/>
              <a:gd name="T31" fmla="*/ 1 h 48"/>
              <a:gd name="T32" fmla="*/ 41 w 82"/>
              <a:gd name="T3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2" h="48">
                <a:moveTo>
                  <a:pt x="41" y="0"/>
                </a:moveTo>
                <a:cubicBezTo>
                  <a:pt x="41" y="0"/>
                  <a:pt x="41" y="0"/>
                  <a:pt x="41" y="0"/>
                </a:cubicBezTo>
                <a:cubicBezTo>
                  <a:pt x="40" y="0"/>
                  <a:pt x="39" y="1"/>
                  <a:pt x="38" y="1"/>
                </a:cubicBezTo>
                <a:cubicBezTo>
                  <a:pt x="2" y="38"/>
                  <a:pt x="2" y="38"/>
                  <a:pt x="2" y="38"/>
                </a:cubicBezTo>
                <a:cubicBezTo>
                  <a:pt x="0" y="39"/>
                  <a:pt x="0" y="42"/>
                  <a:pt x="2" y="44"/>
                </a:cubicBezTo>
                <a:cubicBezTo>
                  <a:pt x="4" y="47"/>
                  <a:pt x="4" y="47"/>
                  <a:pt x="4" y="47"/>
                </a:cubicBezTo>
                <a:cubicBezTo>
                  <a:pt x="5" y="48"/>
                  <a:pt x="6" y="48"/>
                  <a:pt x="7" y="48"/>
                </a:cubicBezTo>
                <a:cubicBezTo>
                  <a:pt x="9" y="48"/>
                  <a:pt x="10" y="48"/>
                  <a:pt x="11" y="47"/>
                </a:cubicBezTo>
                <a:cubicBezTo>
                  <a:pt x="41" y="16"/>
                  <a:pt x="41" y="16"/>
                  <a:pt x="41" y="16"/>
                </a:cubicBezTo>
                <a:cubicBezTo>
                  <a:pt x="71" y="47"/>
                  <a:pt x="71" y="47"/>
                  <a:pt x="71" y="47"/>
                </a:cubicBezTo>
                <a:cubicBezTo>
                  <a:pt x="72" y="47"/>
                  <a:pt x="73" y="48"/>
                  <a:pt x="75" y="48"/>
                </a:cubicBezTo>
                <a:cubicBezTo>
                  <a:pt x="76" y="48"/>
                  <a:pt x="77" y="47"/>
                  <a:pt x="78" y="47"/>
                </a:cubicBezTo>
                <a:cubicBezTo>
                  <a:pt x="80" y="44"/>
                  <a:pt x="80" y="44"/>
                  <a:pt x="80" y="44"/>
                </a:cubicBezTo>
                <a:cubicBezTo>
                  <a:pt x="81" y="43"/>
                  <a:pt x="82" y="42"/>
                  <a:pt x="82" y="41"/>
                </a:cubicBezTo>
                <a:cubicBezTo>
                  <a:pt x="82" y="40"/>
                  <a:pt x="81" y="38"/>
                  <a:pt x="80" y="38"/>
                </a:cubicBezTo>
                <a:cubicBezTo>
                  <a:pt x="44" y="1"/>
                  <a:pt x="44" y="1"/>
                  <a:pt x="44" y="1"/>
                </a:cubicBezTo>
                <a:cubicBezTo>
                  <a:pt x="43" y="1"/>
                  <a:pt x="42" y="0"/>
                  <a:pt x="41" y="0"/>
                </a:cubicBezTo>
              </a:path>
            </a:pathLst>
          </a:custGeom>
          <a:solidFill>
            <a:srgbClr val="FFFFFF">
              <a:alpha val="1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lumMod val="50000"/>
                  <a:lumOff val="50000"/>
                </a:prstClr>
              </a:solidFill>
              <a:effectLst/>
              <a:uLnTx/>
              <a:uFillTx/>
              <a:latin typeface="HarmonyOS Sans SC"/>
              <a:cs typeface="+mn-cs"/>
            </a:endParaRPr>
          </a:p>
        </p:txBody>
      </p:sp>
      <p:sp>
        <p:nvSpPr>
          <p:cNvPr id="51" name="TextBox 65">
            <a:extLst>
              <a:ext uri="{FF2B5EF4-FFF2-40B4-BE49-F238E27FC236}">
                <a16:creationId xmlns:a16="http://schemas.microsoft.com/office/drawing/2014/main" id="{E4586CDB-83FC-4040-8984-3B4B4147EB0C}"/>
              </a:ext>
            </a:extLst>
          </p:cNvPr>
          <p:cNvSpPr txBox="1"/>
          <p:nvPr/>
        </p:nvSpPr>
        <p:spPr>
          <a:xfrm>
            <a:off x="1459553" y="2137810"/>
            <a:ext cx="1538928" cy="345598"/>
          </a:xfrm>
          <a:prstGeom prst="rect">
            <a:avLst/>
          </a:prstGeom>
          <a:noFill/>
        </p:spPr>
        <p:txBody>
          <a:bodyPr wrap="square" lIns="0" tIns="36000" rIns="0" bIns="36000" rtlCol="0">
            <a:spAutoFit/>
          </a:bodyPr>
          <a:lstStyle/>
          <a:p>
            <a:pPr marL="0" marR="0" lvl="0" indent="0" algn="r" defTabSz="914400" rtl="0" eaLnBrk="1" fontAlgn="auto" latinLnBrk="0" hangingPunct="1">
              <a:lnSpc>
                <a:spcPct val="120000"/>
              </a:lnSpc>
              <a:spcBef>
                <a:spcPts val="600"/>
              </a:spcBef>
              <a:spcAft>
                <a:spcPts val="0"/>
              </a:spcAft>
              <a:buClrTx/>
              <a:buSzTx/>
              <a:buFontTx/>
              <a:buNone/>
              <a:tabLst/>
              <a:defRPr/>
            </a:pPr>
            <a:r>
              <a:rPr kumimoji="0" lang="en-US" sz="1600" b="0" i="0" u="none" strike="noStrike" kern="1200" cap="none" spc="0" normalizeH="0" baseline="0" noProof="0" dirty="0">
                <a:ln>
                  <a:noFill/>
                </a:ln>
                <a:solidFill>
                  <a:schemeClr val="accent1"/>
                </a:solidFill>
                <a:effectLst/>
                <a:uLnTx/>
                <a:uFillTx/>
                <a:latin typeface="HarmonyOS Sans SC Black"/>
                <a:ea typeface="+mj-ea"/>
                <a:cs typeface="+mn-cs"/>
              </a:rPr>
              <a:t>Subtitle Here</a:t>
            </a:r>
            <a:endParaRPr kumimoji="0" lang="en-US" sz="1100" b="0" i="0" u="none" strike="noStrike" kern="1200" cap="none" spc="0" normalizeH="0" baseline="0" noProof="0" dirty="0">
              <a:ln>
                <a:noFill/>
              </a:ln>
              <a:solidFill>
                <a:schemeClr val="accent1"/>
              </a:solidFill>
              <a:effectLst/>
              <a:uLnTx/>
              <a:uFillTx/>
              <a:latin typeface="HarmonyOS Sans SC Black"/>
              <a:ea typeface="+mj-ea"/>
              <a:cs typeface="+mn-cs"/>
            </a:endParaRPr>
          </a:p>
        </p:txBody>
      </p:sp>
      <p:sp>
        <p:nvSpPr>
          <p:cNvPr id="52" name="TextBox 65">
            <a:extLst>
              <a:ext uri="{FF2B5EF4-FFF2-40B4-BE49-F238E27FC236}">
                <a16:creationId xmlns:a16="http://schemas.microsoft.com/office/drawing/2014/main" id="{BBB6F9C2-5105-4311-A7EA-671EF29D3364}"/>
              </a:ext>
            </a:extLst>
          </p:cNvPr>
          <p:cNvSpPr txBox="1"/>
          <p:nvPr/>
        </p:nvSpPr>
        <p:spPr>
          <a:xfrm>
            <a:off x="955964" y="2521209"/>
            <a:ext cx="2042517" cy="462746"/>
          </a:xfrm>
          <a:prstGeom prst="rect">
            <a:avLst/>
          </a:prstGeom>
          <a:noFill/>
        </p:spPr>
        <p:txBody>
          <a:bodyPr wrap="square" lIns="0" tIns="36000" rIns="0" bIns="36000" rtlCol="0">
            <a:spAutoFit/>
          </a:bodyPr>
          <a:lstStyle/>
          <a:p>
            <a:pPr marL="0" marR="0" lvl="0" indent="0" algn="r" defTabSz="914400" rtl="0" eaLnBrk="1" fontAlgn="auto" latinLnBrk="0" hangingPunct="1">
              <a:lnSpc>
                <a:spcPct val="120000"/>
              </a:lnSpc>
              <a:spcBef>
                <a:spcPts val="600"/>
              </a:spcBef>
              <a:spcAft>
                <a:spcPts val="0"/>
              </a:spcAft>
              <a:buClrTx/>
              <a:buSzTx/>
              <a:buFontTx/>
              <a:buNone/>
              <a:tabLst/>
              <a:defRPr/>
            </a:pPr>
            <a:r>
              <a:rPr kumimoji="0" lang="en-US" sz="1100" b="0" i="0" u="none" strike="noStrike" kern="1200" cap="none" spc="0" normalizeH="0" baseline="0" noProof="0" dirty="0">
                <a:ln>
                  <a:noFill/>
                </a:ln>
                <a:solidFill>
                  <a:prstClr val="black">
                    <a:lumMod val="50000"/>
                    <a:lumOff val="50000"/>
                  </a:prstClr>
                </a:solidFill>
                <a:effectLst/>
                <a:uLnTx/>
                <a:uFillTx/>
                <a:latin typeface="HarmonyOS Sans SC"/>
                <a:cs typeface="+mn-cs"/>
              </a:rPr>
              <a:t>As the minuteness of the parts formed a great.</a:t>
            </a:r>
          </a:p>
        </p:txBody>
      </p:sp>
      <p:sp>
        <p:nvSpPr>
          <p:cNvPr id="53" name="TextBox 58">
            <a:extLst>
              <a:ext uri="{FF2B5EF4-FFF2-40B4-BE49-F238E27FC236}">
                <a16:creationId xmlns:a16="http://schemas.microsoft.com/office/drawing/2014/main" id="{1EB7E365-E545-496F-9170-81D8EC8446D5}"/>
              </a:ext>
            </a:extLst>
          </p:cNvPr>
          <p:cNvSpPr txBox="1"/>
          <p:nvPr/>
        </p:nvSpPr>
        <p:spPr>
          <a:xfrm>
            <a:off x="2980414" y="3955322"/>
            <a:ext cx="1538928" cy="345598"/>
          </a:xfrm>
          <a:prstGeom prst="rect">
            <a:avLst/>
          </a:prstGeom>
          <a:noFill/>
        </p:spPr>
        <p:txBody>
          <a:bodyPr wrap="square" lIns="0" tIns="36000" rIns="0" bIns="36000" rtlCol="0">
            <a:spAutoFit/>
          </a:bodyPr>
          <a:lstStyle/>
          <a:p>
            <a:pPr marL="0" marR="0" lvl="0" indent="0" algn="r" defTabSz="914400" rtl="0" eaLnBrk="1" fontAlgn="auto" latinLnBrk="0" hangingPunct="1">
              <a:lnSpc>
                <a:spcPct val="120000"/>
              </a:lnSpc>
              <a:spcBef>
                <a:spcPts val="600"/>
              </a:spcBef>
              <a:spcAft>
                <a:spcPts val="0"/>
              </a:spcAft>
              <a:buClrTx/>
              <a:buSzTx/>
              <a:buFontTx/>
              <a:buNone/>
              <a:tabLst/>
              <a:defRPr/>
            </a:pPr>
            <a:r>
              <a:rPr kumimoji="0" lang="en-US" sz="1600" b="0" i="0" u="none" strike="noStrike" kern="1200" cap="none" spc="0" normalizeH="0" baseline="0" noProof="0">
                <a:ln>
                  <a:noFill/>
                </a:ln>
                <a:solidFill>
                  <a:schemeClr val="accent1"/>
                </a:solidFill>
                <a:effectLst/>
                <a:uLnTx/>
                <a:uFillTx/>
                <a:latin typeface="HarmonyOS Sans SC Black"/>
                <a:ea typeface="+mj-ea"/>
                <a:cs typeface="+mn-cs"/>
              </a:rPr>
              <a:t>Subtitle Here</a:t>
            </a:r>
            <a:endParaRPr kumimoji="0" lang="en-US" sz="1100" b="0" i="0" u="none" strike="noStrike" kern="1200" cap="none" spc="0" normalizeH="0" baseline="0" noProof="0" dirty="0">
              <a:ln>
                <a:noFill/>
              </a:ln>
              <a:solidFill>
                <a:schemeClr val="accent1"/>
              </a:solidFill>
              <a:effectLst/>
              <a:uLnTx/>
              <a:uFillTx/>
              <a:latin typeface="HarmonyOS Sans SC Black"/>
              <a:ea typeface="+mj-ea"/>
              <a:cs typeface="+mn-cs"/>
            </a:endParaRPr>
          </a:p>
        </p:txBody>
      </p:sp>
      <p:sp>
        <p:nvSpPr>
          <p:cNvPr id="54" name="TextBox 58">
            <a:extLst>
              <a:ext uri="{FF2B5EF4-FFF2-40B4-BE49-F238E27FC236}">
                <a16:creationId xmlns:a16="http://schemas.microsoft.com/office/drawing/2014/main" id="{0520A867-822F-4B66-8D40-FAC49E295ECD}"/>
              </a:ext>
            </a:extLst>
          </p:cNvPr>
          <p:cNvSpPr txBox="1"/>
          <p:nvPr/>
        </p:nvSpPr>
        <p:spPr>
          <a:xfrm>
            <a:off x="1529542" y="4338721"/>
            <a:ext cx="2989800" cy="259614"/>
          </a:xfrm>
          <a:prstGeom prst="rect">
            <a:avLst/>
          </a:prstGeom>
          <a:noFill/>
        </p:spPr>
        <p:txBody>
          <a:bodyPr wrap="square" lIns="0" tIns="36000" rIns="0" bIns="36000" rtlCol="0">
            <a:spAutoFit/>
          </a:bodyPr>
          <a:lstStyle/>
          <a:p>
            <a:pPr marL="0" marR="0" lvl="0" indent="0" algn="r" defTabSz="914400" rtl="0" eaLnBrk="1" fontAlgn="auto" latinLnBrk="0" hangingPunct="1">
              <a:lnSpc>
                <a:spcPct val="120000"/>
              </a:lnSpc>
              <a:spcBef>
                <a:spcPts val="600"/>
              </a:spcBef>
              <a:spcAft>
                <a:spcPts val="0"/>
              </a:spcAft>
              <a:buClrTx/>
              <a:buSzTx/>
              <a:buFontTx/>
              <a:buNone/>
              <a:tabLst/>
              <a:defRPr/>
            </a:pPr>
            <a:r>
              <a:rPr kumimoji="0" lang="en-US" sz="1100" b="0" i="0" u="none" strike="noStrike" kern="1200" cap="none" spc="0" normalizeH="0" baseline="0" noProof="0" dirty="0">
                <a:ln>
                  <a:noFill/>
                </a:ln>
                <a:solidFill>
                  <a:prstClr val="black">
                    <a:lumMod val="50000"/>
                    <a:lumOff val="50000"/>
                  </a:prstClr>
                </a:solidFill>
                <a:effectLst/>
                <a:uLnTx/>
                <a:uFillTx/>
                <a:latin typeface="HarmonyOS Sans SC"/>
                <a:cs typeface="+mn-cs"/>
              </a:rPr>
              <a:t>As the minuteness of the parts formed a great.</a:t>
            </a:r>
          </a:p>
        </p:txBody>
      </p:sp>
      <p:sp>
        <p:nvSpPr>
          <p:cNvPr id="55" name="TextBox 72">
            <a:extLst>
              <a:ext uri="{FF2B5EF4-FFF2-40B4-BE49-F238E27FC236}">
                <a16:creationId xmlns:a16="http://schemas.microsoft.com/office/drawing/2014/main" id="{F4AECEA7-B92A-46AF-AEC7-13738892798D}"/>
              </a:ext>
            </a:extLst>
          </p:cNvPr>
          <p:cNvSpPr txBox="1"/>
          <p:nvPr/>
        </p:nvSpPr>
        <p:spPr>
          <a:xfrm flipH="1">
            <a:off x="7683500" y="3093628"/>
            <a:ext cx="1651417" cy="345598"/>
          </a:xfrm>
          <a:prstGeom prst="rect">
            <a:avLst/>
          </a:prstGeom>
          <a:noFill/>
        </p:spPr>
        <p:txBody>
          <a:bodyPr wrap="square" lIns="0" tIns="36000" rIns="0" bIns="36000" rtlCol="0">
            <a:spAutoFit/>
          </a:bodyPr>
          <a:lstStyle/>
          <a:p>
            <a:pPr marL="0" marR="0" lvl="0" indent="0" algn="l" defTabSz="914400" rtl="0" eaLnBrk="1" fontAlgn="auto" latinLnBrk="0" hangingPunct="1">
              <a:lnSpc>
                <a:spcPct val="120000"/>
              </a:lnSpc>
              <a:spcBef>
                <a:spcPts val="600"/>
              </a:spcBef>
              <a:spcAft>
                <a:spcPts val="0"/>
              </a:spcAft>
              <a:buClrTx/>
              <a:buSzTx/>
              <a:buFontTx/>
              <a:buNone/>
              <a:tabLst/>
              <a:defRPr/>
            </a:pPr>
            <a:r>
              <a:rPr kumimoji="0" lang="en-US" sz="1600" b="0" i="0" u="none" strike="noStrike" kern="1200" cap="none" spc="0" normalizeH="0" baseline="0" noProof="0" dirty="0">
                <a:ln>
                  <a:noFill/>
                </a:ln>
                <a:solidFill>
                  <a:schemeClr val="accent1"/>
                </a:solidFill>
                <a:effectLst/>
                <a:uLnTx/>
                <a:uFillTx/>
                <a:latin typeface="HarmonyOS Sans SC Black"/>
                <a:ea typeface="+mj-ea"/>
                <a:cs typeface="+mn-cs"/>
              </a:rPr>
              <a:t>Subtitle Here</a:t>
            </a:r>
            <a:endParaRPr kumimoji="0" lang="en-US" sz="1100" b="0" i="0" u="none" strike="noStrike" kern="1200" cap="none" spc="0" normalizeH="0" baseline="0" noProof="0" dirty="0">
              <a:ln>
                <a:noFill/>
              </a:ln>
              <a:solidFill>
                <a:schemeClr val="accent1"/>
              </a:solidFill>
              <a:effectLst/>
              <a:uLnTx/>
              <a:uFillTx/>
              <a:latin typeface="HarmonyOS Sans SC Black"/>
              <a:ea typeface="+mj-ea"/>
              <a:cs typeface="+mn-cs"/>
            </a:endParaRPr>
          </a:p>
        </p:txBody>
      </p:sp>
      <p:sp>
        <p:nvSpPr>
          <p:cNvPr id="56" name="TextBox 72">
            <a:extLst>
              <a:ext uri="{FF2B5EF4-FFF2-40B4-BE49-F238E27FC236}">
                <a16:creationId xmlns:a16="http://schemas.microsoft.com/office/drawing/2014/main" id="{68C155BF-5548-45D2-9C7C-9DFD93AD7F6B}"/>
              </a:ext>
            </a:extLst>
          </p:cNvPr>
          <p:cNvSpPr txBox="1"/>
          <p:nvPr/>
        </p:nvSpPr>
        <p:spPr>
          <a:xfrm flipH="1">
            <a:off x="7683499" y="3477027"/>
            <a:ext cx="3189547" cy="259614"/>
          </a:xfrm>
          <a:prstGeom prst="rect">
            <a:avLst/>
          </a:prstGeom>
          <a:noFill/>
        </p:spPr>
        <p:txBody>
          <a:bodyPr wrap="square" lIns="0" tIns="36000" rIns="0" bIns="36000" rtlCol="0">
            <a:spAutoFit/>
          </a:bodyPr>
          <a:lstStyle/>
          <a:p>
            <a:pPr marL="0" marR="0" lvl="0" indent="0" algn="l" defTabSz="914400" rtl="0" eaLnBrk="1" fontAlgn="auto" latinLnBrk="0" hangingPunct="1">
              <a:lnSpc>
                <a:spcPct val="120000"/>
              </a:lnSpc>
              <a:spcBef>
                <a:spcPts val="600"/>
              </a:spcBef>
              <a:spcAft>
                <a:spcPts val="0"/>
              </a:spcAft>
              <a:buClrTx/>
              <a:buSzTx/>
              <a:buFontTx/>
              <a:buNone/>
              <a:tabLst/>
              <a:defRPr/>
            </a:pPr>
            <a:r>
              <a:rPr kumimoji="0" lang="en-US" sz="1100" b="0" i="0" u="none" strike="noStrike" kern="1200" cap="none" spc="0" normalizeH="0" baseline="0" noProof="0" dirty="0">
                <a:ln>
                  <a:noFill/>
                </a:ln>
                <a:solidFill>
                  <a:prstClr val="black">
                    <a:lumMod val="50000"/>
                    <a:lumOff val="50000"/>
                  </a:prstClr>
                </a:solidFill>
                <a:effectLst/>
                <a:uLnTx/>
                <a:uFillTx/>
                <a:latin typeface="HarmonyOS Sans SC"/>
                <a:cs typeface="+mn-cs"/>
              </a:rPr>
              <a:t>As the minuteness of the parts formed a great.</a:t>
            </a:r>
          </a:p>
        </p:txBody>
      </p:sp>
    </p:spTree>
    <p:extLst>
      <p:ext uri="{BB962C8B-B14F-4D97-AF65-F5344CB8AC3E}">
        <p14:creationId xmlns:p14="http://schemas.microsoft.com/office/powerpoint/2010/main" val="2516805400"/>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4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 name="任意多边形: 形状 59">
            <a:extLst>
              <a:ext uri="{FF2B5EF4-FFF2-40B4-BE49-F238E27FC236}">
                <a16:creationId xmlns:a16="http://schemas.microsoft.com/office/drawing/2014/main" id="{7F244030-91F3-4AA0-9C96-3600D2278A68}"/>
              </a:ext>
            </a:extLst>
          </p:cNvPr>
          <p:cNvSpPr/>
          <p:nvPr/>
        </p:nvSpPr>
        <p:spPr>
          <a:xfrm rot="16200000">
            <a:off x="4336269" y="3970232"/>
            <a:ext cx="4648977" cy="1126563"/>
          </a:xfrm>
          <a:custGeom>
            <a:avLst/>
            <a:gdLst>
              <a:gd name="connsiteX0" fmla="*/ 4648977 w 4648977"/>
              <a:gd name="connsiteY0" fmla="*/ 163188 h 1126563"/>
              <a:gd name="connsiteX1" fmla="*/ 4495855 w 4648977"/>
              <a:gd name="connsiteY1" fmla="*/ 326375 h 1126563"/>
              <a:gd name="connsiteX2" fmla="*/ 1817305 w 4648977"/>
              <a:gd name="connsiteY2" fmla="*/ 326375 h 1126563"/>
              <a:gd name="connsiteX3" fmla="*/ 1817305 w 4648977"/>
              <a:gd name="connsiteY3" fmla="*/ 327943 h 1126563"/>
              <a:gd name="connsiteX4" fmla="*/ 1809383 w 4648977"/>
              <a:gd name="connsiteY4" fmla="*/ 327943 h 1126563"/>
              <a:gd name="connsiteX5" fmla="*/ 0 w 4648977"/>
              <a:gd name="connsiteY5" fmla="*/ 1126563 h 1126563"/>
              <a:gd name="connsiteX6" fmla="*/ 0 w 4648977"/>
              <a:gd name="connsiteY6" fmla="*/ 874 h 1126563"/>
              <a:gd name="connsiteX7" fmla="*/ 1642129 w 4648977"/>
              <a:gd name="connsiteY7" fmla="*/ 874 h 1126563"/>
              <a:gd name="connsiteX8" fmla="*/ 1805759 w 4648977"/>
              <a:gd name="connsiteY8" fmla="*/ 874 h 1126563"/>
              <a:gd name="connsiteX9" fmla="*/ 1805759 w 4648977"/>
              <a:gd name="connsiteY9" fmla="*/ 0 h 1126563"/>
              <a:gd name="connsiteX10" fmla="*/ 4495855 w 4648977"/>
              <a:gd name="connsiteY10" fmla="*/ 0 h 11265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648977" h="1126563">
                <a:moveTo>
                  <a:pt x="4648977" y="163188"/>
                </a:moveTo>
                <a:lnTo>
                  <a:pt x="4495855" y="326375"/>
                </a:lnTo>
                <a:lnTo>
                  <a:pt x="1817305" y="326375"/>
                </a:lnTo>
                <a:lnTo>
                  <a:pt x="1817305" y="327943"/>
                </a:lnTo>
                <a:cubicBezTo>
                  <a:pt x="1814136" y="327943"/>
                  <a:pt x="1812552" y="327943"/>
                  <a:pt x="1809383" y="327943"/>
                </a:cubicBezTo>
                <a:cubicBezTo>
                  <a:pt x="1411698" y="327943"/>
                  <a:pt x="391346" y="475600"/>
                  <a:pt x="0" y="1126563"/>
                </a:cubicBezTo>
                <a:cubicBezTo>
                  <a:pt x="0" y="751862"/>
                  <a:pt x="0" y="377162"/>
                  <a:pt x="0" y="874"/>
                </a:cubicBezTo>
                <a:cubicBezTo>
                  <a:pt x="345201" y="874"/>
                  <a:pt x="1175623" y="874"/>
                  <a:pt x="1642129" y="874"/>
                </a:cubicBezTo>
                <a:lnTo>
                  <a:pt x="1805759" y="874"/>
                </a:lnTo>
                <a:lnTo>
                  <a:pt x="1805759" y="0"/>
                </a:lnTo>
                <a:lnTo>
                  <a:pt x="4495855" y="0"/>
                </a:lnTo>
                <a:close/>
              </a:path>
            </a:pathLst>
          </a:custGeom>
          <a:gradFill flip="none" rotWithShape="1">
            <a:gsLst>
              <a:gs pos="73000">
                <a:schemeClr val="accent1"/>
              </a:gs>
              <a:gs pos="31000">
                <a:schemeClr val="accent1">
                  <a:lumMod val="60000"/>
                  <a:lumOff val="40000"/>
                </a:schemeClr>
              </a:gs>
              <a:gs pos="0">
                <a:schemeClr val="accent1">
                  <a:lumMod val="40000"/>
                  <a:lumOff val="60000"/>
                </a:schemeClr>
              </a:gs>
            </a:gsLst>
            <a:lin ang="2700000" scaled="1"/>
            <a:tileRect/>
          </a:gra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lumMod val="50000"/>
                  <a:lumOff val="50000"/>
                </a:prstClr>
              </a:solidFill>
              <a:effectLst/>
              <a:uLnTx/>
              <a:uFillTx/>
              <a:latin typeface="HarmonyOS Sans SC"/>
              <a:cs typeface="+mn-cs"/>
            </a:endParaRPr>
          </a:p>
        </p:txBody>
      </p:sp>
      <p:sp>
        <p:nvSpPr>
          <p:cNvPr id="59" name="任意多边形: 形状 58">
            <a:extLst>
              <a:ext uri="{FF2B5EF4-FFF2-40B4-BE49-F238E27FC236}">
                <a16:creationId xmlns:a16="http://schemas.microsoft.com/office/drawing/2014/main" id="{F823D11E-0BE0-41A1-BF9C-8EA4D1BAE5D6}"/>
              </a:ext>
            </a:extLst>
          </p:cNvPr>
          <p:cNvSpPr/>
          <p:nvPr/>
        </p:nvSpPr>
        <p:spPr>
          <a:xfrm rot="16200000">
            <a:off x="2843697" y="3924861"/>
            <a:ext cx="3941823" cy="1924458"/>
          </a:xfrm>
          <a:custGeom>
            <a:avLst/>
            <a:gdLst>
              <a:gd name="connsiteX0" fmla="*/ 1817304 w 3941823"/>
              <a:gd name="connsiteY0" fmla="*/ 1595055 h 1924458"/>
              <a:gd name="connsiteX1" fmla="*/ 1817304 w 3941823"/>
              <a:gd name="connsiteY1" fmla="*/ 1922002 h 1924458"/>
              <a:gd name="connsiteX2" fmla="*/ 1809382 w 3941823"/>
              <a:gd name="connsiteY2" fmla="*/ 1922002 h 1924458"/>
              <a:gd name="connsiteX3" fmla="*/ 0 w 3941823"/>
              <a:gd name="connsiteY3" fmla="*/ 1123680 h 1924458"/>
              <a:gd name="connsiteX4" fmla="*/ 0 w 3941823"/>
              <a:gd name="connsiteY4" fmla="*/ 0 h 1924458"/>
              <a:gd name="connsiteX5" fmla="*/ 1809382 w 3941823"/>
              <a:gd name="connsiteY5" fmla="*/ 1595055 h 1924458"/>
              <a:gd name="connsiteX6" fmla="*/ 1817304 w 3941823"/>
              <a:gd name="connsiteY6" fmla="*/ 1595055 h 1924458"/>
              <a:gd name="connsiteX7" fmla="*/ 3941823 w 3941823"/>
              <a:gd name="connsiteY7" fmla="*/ 1758896 h 1924458"/>
              <a:gd name="connsiteX8" fmla="*/ 3786472 w 3941823"/>
              <a:gd name="connsiteY8" fmla="*/ 1924458 h 1924458"/>
              <a:gd name="connsiteX9" fmla="*/ 1817305 w 3941823"/>
              <a:gd name="connsiteY9" fmla="*/ 1924458 h 1924458"/>
              <a:gd name="connsiteX10" fmla="*/ 1817305 w 3941823"/>
              <a:gd name="connsiteY10" fmla="*/ 1593333 h 1924458"/>
              <a:gd name="connsiteX11" fmla="*/ 3786472 w 3941823"/>
              <a:gd name="connsiteY11" fmla="*/ 1593333 h 1924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941823" h="1924458">
                <a:moveTo>
                  <a:pt x="1817304" y="1595055"/>
                </a:moveTo>
                <a:cubicBezTo>
                  <a:pt x="1817304" y="1704567"/>
                  <a:pt x="1817304" y="1812491"/>
                  <a:pt x="1817304" y="1922002"/>
                </a:cubicBezTo>
                <a:cubicBezTo>
                  <a:pt x="1814135" y="1922002"/>
                  <a:pt x="1812551" y="1922002"/>
                  <a:pt x="1809382" y="1922002"/>
                </a:cubicBezTo>
                <a:cubicBezTo>
                  <a:pt x="1411698" y="1922002"/>
                  <a:pt x="391346" y="1774400"/>
                  <a:pt x="0" y="1123680"/>
                </a:cubicBezTo>
                <a:cubicBezTo>
                  <a:pt x="0" y="749120"/>
                  <a:pt x="0" y="374560"/>
                  <a:pt x="0" y="0"/>
                </a:cubicBezTo>
                <a:cubicBezTo>
                  <a:pt x="391346" y="1299851"/>
                  <a:pt x="1411698" y="1595055"/>
                  <a:pt x="1809382" y="1595055"/>
                </a:cubicBezTo>
                <a:cubicBezTo>
                  <a:pt x="1812551" y="1595055"/>
                  <a:pt x="1814135" y="1595055"/>
                  <a:pt x="1817304" y="1595055"/>
                </a:cubicBezTo>
                <a:close/>
                <a:moveTo>
                  <a:pt x="3941823" y="1758896"/>
                </a:moveTo>
                <a:lnTo>
                  <a:pt x="3786472" y="1924458"/>
                </a:lnTo>
                <a:lnTo>
                  <a:pt x="1817305" y="1924458"/>
                </a:lnTo>
                <a:lnTo>
                  <a:pt x="1817305" y="1593333"/>
                </a:lnTo>
                <a:lnTo>
                  <a:pt x="3786472" y="1593333"/>
                </a:lnTo>
                <a:close/>
              </a:path>
            </a:pathLst>
          </a:custGeom>
          <a:gradFill flip="none" rotWithShape="1">
            <a:gsLst>
              <a:gs pos="73000">
                <a:schemeClr val="accent1"/>
              </a:gs>
              <a:gs pos="31000">
                <a:schemeClr val="accent1">
                  <a:lumMod val="60000"/>
                  <a:lumOff val="40000"/>
                </a:schemeClr>
              </a:gs>
              <a:gs pos="0">
                <a:schemeClr val="accent1">
                  <a:lumMod val="40000"/>
                  <a:lumOff val="60000"/>
                </a:schemeClr>
              </a:gs>
            </a:gsLst>
            <a:lin ang="2700000" scaled="1"/>
            <a:tileRect/>
          </a:gra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lumMod val="50000"/>
                  <a:lumOff val="50000"/>
                </a:prstClr>
              </a:solidFill>
              <a:effectLst/>
              <a:uLnTx/>
              <a:uFillTx/>
              <a:latin typeface="HarmonyOS Sans SC"/>
              <a:cs typeface="+mn-cs"/>
            </a:endParaRPr>
          </a:p>
        </p:txBody>
      </p:sp>
      <p:sp>
        <p:nvSpPr>
          <p:cNvPr id="61" name="任意多边形: 形状 60">
            <a:extLst>
              <a:ext uri="{FF2B5EF4-FFF2-40B4-BE49-F238E27FC236}">
                <a16:creationId xmlns:a16="http://schemas.microsoft.com/office/drawing/2014/main" id="{50C9567A-88AE-4436-B681-5B4A5AC59596}"/>
              </a:ext>
            </a:extLst>
          </p:cNvPr>
          <p:cNvSpPr>
            <a:spLocks/>
          </p:cNvSpPr>
          <p:nvPr/>
        </p:nvSpPr>
        <p:spPr bwMode="auto">
          <a:xfrm>
            <a:off x="6421466" y="3490912"/>
            <a:ext cx="1922001" cy="3367089"/>
          </a:xfrm>
          <a:custGeom>
            <a:avLst/>
            <a:gdLst>
              <a:gd name="connsiteX0" fmla="*/ 164503 w 1922001"/>
              <a:gd name="connsiteY0" fmla="*/ 0 h 3367089"/>
              <a:gd name="connsiteX1" fmla="*/ 327690 w 1922001"/>
              <a:gd name="connsiteY1" fmla="*/ 153122 h 3367089"/>
              <a:gd name="connsiteX2" fmla="*/ 327690 w 1922001"/>
              <a:gd name="connsiteY2" fmla="*/ 1561331 h 3367089"/>
              <a:gd name="connsiteX3" fmla="*/ 327108 w 1922001"/>
              <a:gd name="connsiteY3" fmla="*/ 1561331 h 3367089"/>
              <a:gd name="connsiteX4" fmla="*/ 330579 w 1922001"/>
              <a:gd name="connsiteY4" fmla="*/ 1639264 h 3367089"/>
              <a:gd name="connsiteX5" fmla="*/ 1922001 w 1922001"/>
              <a:gd name="connsiteY5" fmla="*/ 3367089 h 3367089"/>
              <a:gd name="connsiteX6" fmla="*/ 798321 w 1922001"/>
              <a:gd name="connsiteY6" fmla="*/ 3367089 h 3367089"/>
              <a:gd name="connsiteX7" fmla="*/ 0 w 1922001"/>
              <a:gd name="connsiteY7" fmla="*/ 1557707 h 3367089"/>
              <a:gd name="connsiteX8" fmla="*/ 0 w 1922001"/>
              <a:gd name="connsiteY8" fmla="*/ 1549785 h 3367089"/>
              <a:gd name="connsiteX9" fmla="*/ 1315 w 1922001"/>
              <a:gd name="connsiteY9" fmla="*/ 1549785 h 3367089"/>
              <a:gd name="connsiteX10" fmla="*/ 1315 w 1922001"/>
              <a:gd name="connsiteY10" fmla="*/ 153122 h 3367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922001" h="3367089">
                <a:moveTo>
                  <a:pt x="164503" y="0"/>
                </a:moveTo>
                <a:lnTo>
                  <a:pt x="327690" y="153122"/>
                </a:lnTo>
                <a:lnTo>
                  <a:pt x="327690" y="1561331"/>
                </a:lnTo>
                <a:lnTo>
                  <a:pt x="327108" y="1561331"/>
                </a:lnTo>
                <a:lnTo>
                  <a:pt x="330579" y="1639264"/>
                </a:lnTo>
                <a:cubicBezTo>
                  <a:pt x="367772" y="2080478"/>
                  <a:pt x="703391" y="3000202"/>
                  <a:pt x="1922001" y="3367089"/>
                </a:cubicBezTo>
                <a:cubicBezTo>
                  <a:pt x="1547441" y="3367089"/>
                  <a:pt x="1172881" y="3367089"/>
                  <a:pt x="798321" y="3367089"/>
                </a:cubicBezTo>
                <a:cubicBezTo>
                  <a:pt x="147602" y="2975743"/>
                  <a:pt x="0" y="1955391"/>
                  <a:pt x="0" y="1557707"/>
                </a:cubicBezTo>
                <a:cubicBezTo>
                  <a:pt x="0" y="1554538"/>
                  <a:pt x="0" y="1552954"/>
                  <a:pt x="0" y="1549785"/>
                </a:cubicBezTo>
                <a:lnTo>
                  <a:pt x="1315" y="1549785"/>
                </a:lnTo>
                <a:lnTo>
                  <a:pt x="1315" y="153122"/>
                </a:lnTo>
                <a:close/>
              </a:path>
            </a:pathLst>
          </a:custGeom>
          <a:gradFill flip="none" rotWithShape="1">
            <a:gsLst>
              <a:gs pos="73000">
                <a:schemeClr val="accent1"/>
              </a:gs>
              <a:gs pos="31000">
                <a:schemeClr val="accent1">
                  <a:lumMod val="60000"/>
                  <a:lumOff val="40000"/>
                </a:schemeClr>
              </a:gs>
              <a:gs pos="0">
                <a:schemeClr val="accent1">
                  <a:lumMod val="40000"/>
                  <a:lumOff val="60000"/>
                </a:schemeClr>
              </a:gs>
            </a:gsLst>
            <a:lin ang="2700000" scaled="1"/>
            <a:tileRect/>
          </a:gra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lumMod val="50000"/>
                  <a:lumOff val="50000"/>
                </a:prstClr>
              </a:solidFill>
              <a:effectLst/>
              <a:uLnTx/>
              <a:uFillTx/>
              <a:latin typeface="HarmonyOS Sans SC"/>
              <a:cs typeface="+mn-cs"/>
            </a:endParaRPr>
          </a:p>
        </p:txBody>
      </p:sp>
      <p:cxnSp>
        <p:nvCxnSpPr>
          <p:cNvPr id="14" name="Straight Connector 118">
            <a:extLst>
              <a:ext uri="{FF2B5EF4-FFF2-40B4-BE49-F238E27FC236}">
                <a16:creationId xmlns:a16="http://schemas.microsoft.com/office/drawing/2014/main" id="{C2FC1E18-1727-4688-819E-6990E88429C1}"/>
              </a:ext>
            </a:extLst>
          </p:cNvPr>
          <p:cNvCxnSpPr>
            <a:cxnSpLocks/>
          </p:cNvCxnSpPr>
          <p:nvPr/>
        </p:nvCxnSpPr>
        <p:spPr>
          <a:xfrm>
            <a:off x="4632628" y="2016154"/>
            <a:ext cx="830381" cy="0"/>
          </a:xfrm>
          <a:prstGeom prst="line">
            <a:avLst/>
          </a:prstGeom>
          <a:ln w="12700">
            <a:solidFill>
              <a:schemeClr val="accent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sp>
        <p:nvSpPr>
          <p:cNvPr id="58" name="任意多边形: 形状 57">
            <a:extLst>
              <a:ext uri="{FF2B5EF4-FFF2-40B4-BE49-F238E27FC236}">
                <a16:creationId xmlns:a16="http://schemas.microsoft.com/office/drawing/2014/main" id="{012B8B3F-3BD3-4608-81C2-B52B2D30DA89}"/>
              </a:ext>
            </a:extLst>
          </p:cNvPr>
          <p:cNvSpPr>
            <a:spLocks/>
          </p:cNvSpPr>
          <p:nvPr/>
        </p:nvSpPr>
        <p:spPr bwMode="auto">
          <a:xfrm>
            <a:off x="4974189" y="1722472"/>
            <a:ext cx="1124226" cy="5135529"/>
          </a:xfrm>
          <a:custGeom>
            <a:avLst/>
            <a:gdLst>
              <a:gd name="connsiteX0" fmla="*/ 798662 w 1124226"/>
              <a:gd name="connsiteY0" fmla="*/ 3318225 h 5135529"/>
              <a:gd name="connsiteX1" fmla="*/ 1124160 w 1124226"/>
              <a:gd name="connsiteY1" fmla="*/ 3318225 h 5135529"/>
              <a:gd name="connsiteX2" fmla="*/ 1124160 w 1124226"/>
              <a:gd name="connsiteY2" fmla="*/ 5135529 h 5135529"/>
              <a:gd name="connsiteX3" fmla="*/ 0 w 1124226"/>
              <a:gd name="connsiteY3" fmla="*/ 5135529 h 5135529"/>
              <a:gd name="connsiteX4" fmla="*/ 798662 w 1124226"/>
              <a:gd name="connsiteY4" fmla="*/ 3326147 h 5135529"/>
              <a:gd name="connsiteX5" fmla="*/ 798662 w 1124226"/>
              <a:gd name="connsiteY5" fmla="*/ 3318225 h 5135529"/>
              <a:gd name="connsiteX6" fmla="*/ 962210 w 1124226"/>
              <a:gd name="connsiteY6" fmla="*/ 0 h 5135529"/>
              <a:gd name="connsiteX7" fmla="*/ 1124226 w 1124226"/>
              <a:gd name="connsiteY7" fmla="*/ 152024 h 5135529"/>
              <a:gd name="connsiteX8" fmla="*/ 1124226 w 1124226"/>
              <a:gd name="connsiteY8" fmla="*/ 3318223 h 5135529"/>
              <a:gd name="connsiteX9" fmla="*/ 800194 w 1124226"/>
              <a:gd name="connsiteY9" fmla="*/ 3318223 h 5135529"/>
              <a:gd name="connsiteX10" fmla="*/ 800194 w 1124226"/>
              <a:gd name="connsiteY10" fmla="*/ 152024 h 5135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24226" h="5135529">
                <a:moveTo>
                  <a:pt x="798662" y="3318225"/>
                </a:moveTo>
                <a:cubicBezTo>
                  <a:pt x="906632" y="3318225"/>
                  <a:pt x="1016190" y="3318225"/>
                  <a:pt x="1124160" y="3318225"/>
                </a:cubicBezTo>
                <a:cubicBezTo>
                  <a:pt x="1124160" y="3712740"/>
                  <a:pt x="1124160" y="4741014"/>
                  <a:pt x="1124160" y="5135529"/>
                </a:cubicBezTo>
                <a:cubicBezTo>
                  <a:pt x="749440" y="5135529"/>
                  <a:pt x="374720" y="5135529"/>
                  <a:pt x="0" y="5135529"/>
                </a:cubicBezTo>
                <a:cubicBezTo>
                  <a:pt x="650997" y="4744183"/>
                  <a:pt x="798662" y="3723831"/>
                  <a:pt x="798662" y="3326147"/>
                </a:cubicBezTo>
                <a:cubicBezTo>
                  <a:pt x="798662" y="3322978"/>
                  <a:pt x="798662" y="3321394"/>
                  <a:pt x="798662" y="3318225"/>
                </a:cubicBezTo>
                <a:close/>
                <a:moveTo>
                  <a:pt x="962210" y="0"/>
                </a:moveTo>
                <a:lnTo>
                  <a:pt x="1124226" y="152024"/>
                </a:lnTo>
                <a:lnTo>
                  <a:pt x="1124226" y="3318223"/>
                </a:lnTo>
                <a:lnTo>
                  <a:pt x="800194" y="3318223"/>
                </a:lnTo>
                <a:lnTo>
                  <a:pt x="800194" y="152024"/>
                </a:lnTo>
                <a:close/>
              </a:path>
            </a:pathLst>
          </a:custGeom>
          <a:gradFill flip="none" rotWithShape="1">
            <a:gsLst>
              <a:gs pos="73000">
                <a:schemeClr val="accent1"/>
              </a:gs>
              <a:gs pos="31000">
                <a:schemeClr val="accent1">
                  <a:lumMod val="60000"/>
                  <a:lumOff val="40000"/>
                </a:schemeClr>
              </a:gs>
              <a:gs pos="0">
                <a:schemeClr val="accent1">
                  <a:lumMod val="40000"/>
                  <a:lumOff val="60000"/>
                </a:schemeClr>
              </a:gs>
            </a:gsLst>
            <a:lin ang="2700000" scaled="1"/>
            <a:tileRect/>
          </a:gra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lumMod val="50000"/>
                  <a:lumOff val="50000"/>
                </a:prstClr>
              </a:solidFill>
              <a:effectLst/>
              <a:uLnTx/>
              <a:uFillTx/>
              <a:latin typeface="HarmonyOS Sans SC"/>
              <a:cs typeface="+mn-cs"/>
            </a:endParaRPr>
          </a:p>
        </p:txBody>
      </p:sp>
      <p:cxnSp>
        <p:nvCxnSpPr>
          <p:cNvPr id="24" name="Straight Connector 125">
            <a:extLst>
              <a:ext uri="{FF2B5EF4-FFF2-40B4-BE49-F238E27FC236}">
                <a16:creationId xmlns:a16="http://schemas.microsoft.com/office/drawing/2014/main" id="{7AA2A826-F1FB-44F5-886E-C4FD994C2554}"/>
              </a:ext>
            </a:extLst>
          </p:cNvPr>
          <p:cNvCxnSpPr>
            <a:cxnSpLocks/>
          </p:cNvCxnSpPr>
          <p:nvPr/>
        </p:nvCxnSpPr>
        <p:spPr>
          <a:xfrm>
            <a:off x="3146612" y="3255755"/>
            <a:ext cx="1988112" cy="0"/>
          </a:xfrm>
          <a:prstGeom prst="line">
            <a:avLst/>
          </a:prstGeom>
          <a:ln w="12700">
            <a:solidFill>
              <a:schemeClr val="accent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1" name="Straight Connector 132">
            <a:extLst>
              <a:ext uri="{FF2B5EF4-FFF2-40B4-BE49-F238E27FC236}">
                <a16:creationId xmlns:a16="http://schemas.microsoft.com/office/drawing/2014/main" id="{1F5F7D6D-B481-49A8-AC20-49BE0F8D2353}"/>
              </a:ext>
            </a:extLst>
          </p:cNvPr>
          <p:cNvCxnSpPr>
            <a:cxnSpLocks/>
          </p:cNvCxnSpPr>
          <p:nvPr/>
        </p:nvCxnSpPr>
        <p:spPr>
          <a:xfrm flipH="1" flipV="1">
            <a:off x="6766175" y="2557778"/>
            <a:ext cx="766309" cy="980"/>
          </a:xfrm>
          <a:prstGeom prst="line">
            <a:avLst/>
          </a:prstGeom>
          <a:ln w="12700">
            <a:solidFill>
              <a:schemeClr val="accent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8" name="Straight Connector 139">
            <a:extLst>
              <a:ext uri="{FF2B5EF4-FFF2-40B4-BE49-F238E27FC236}">
                <a16:creationId xmlns:a16="http://schemas.microsoft.com/office/drawing/2014/main" id="{5B305008-5353-4307-9334-1FFE0F778BB0}"/>
              </a:ext>
            </a:extLst>
          </p:cNvPr>
          <p:cNvCxnSpPr>
            <a:cxnSpLocks/>
          </p:cNvCxnSpPr>
          <p:nvPr/>
        </p:nvCxnSpPr>
        <p:spPr>
          <a:xfrm flipH="1">
            <a:off x="7133993" y="3943668"/>
            <a:ext cx="1944639" cy="0"/>
          </a:xfrm>
          <a:prstGeom prst="line">
            <a:avLst/>
          </a:prstGeom>
          <a:ln w="12700">
            <a:solidFill>
              <a:schemeClr val="accent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sp>
        <p:nvSpPr>
          <p:cNvPr id="43" name="Freeform 25">
            <a:extLst>
              <a:ext uri="{FF2B5EF4-FFF2-40B4-BE49-F238E27FC236}">
                <a16:creationId xmlns:a16="http://schemas.microsoft.com/office/drawing/2014/main" id="{FCC28073-A9DC-43F2-B179-1EE7BB4B333E}"/>
              </a:ext>
            </a:extLst>
          </p:cNvPr>
          <p:cNvSpPr>
            <a:spLocks/>
          </p:cNvSpPr>
          <p:nvPr/>
        </p:nvSpPr>
        <p:spPr bwMode="auto">
          <a:xfrm>
            <a:off x="5532442" y="4533352"/>
            <a:ext cx="147307" cy="98327"/>
          </a:xfrm>
          <a:custGeom>
            <a:avLst/>
            <a:gdLst>
              <a:gd name="T0" fmla="*/ 176 w 191"/>
              <a:gd name="T1" fmla="*/ 62 h 128"/>
              <a:gd name="T2" fmla="*/ 174 w 191"/>
              <a:gd name="T3" fmla="*/ 62 h 128"/>
              <a:gd name="T4" fmla="*/ 96 w 191"/>
              <a:gd name="T5" fmla="*/ 0 h 128"/>
              <a:gd name="T6" fmla="*/ 18 w 191"/>
              <a:gd name="T7" fmla="*/ 62 h 128"/>
              <a:gd name="T8" fmla="*/ 15 w 191"/>
              <a:gd name="T9" fmla="*/ 62 h 128"/>
              <a:gd name="T10" fmla="*/ 0 w 191"/>
              <a:gd name="T11" fmla="*/ 77 h 128"/>
              <a:gd name="T12" fmla="*/ 0 w 191"/>
              <a:gd name="T13" fmla="*/ 95 h 128"/>
              <a:gd name="T14" fmla="*/ 15 w 191"/>
              <a:gd name="T15" fmla="*/ 110 h 128"/>
              <a:gd name="T16" fmla="*/ 21 w 191"/>
              <a:gd name="T17" fmla="*/ 109 h 128"/>
              <a:gd name="T18" fmla="*/ 49 w 191"/>
              <a:gd name="T19" fmla="*/ 128 h 128"/>
              <a:gd name="T20" fmla="*/ 55 w 191"/>
              <a:gd name="T21" fmla="*/ 122 h 128"/>
              <a:gd name="T22" fmla="*/ 49 w 191"/>
              <a:gd name="T23" fmla="*/ 116 h 128"/>
              <a:gd name="T24" fmla="*/ 31 w 191"/>
              <a:gd name="T25" fmla="*/ 98 h 128"/>
              <a:gd name="T26" fmla="*/ 31 w 191"/>
              <a:gd name="T27" fmla="*/ 79 h 128"/>
              <a:gd name="T28" fmla="*/ 96 w 191"/>
              <a:gd name="T29" fmla="*/ 15 h 128"/>
              <a:gd name="T30" fmla="*/ 161 w 191"/>
              <a:gd name="T31" fmla="*/ 81 h 128"/>
              <a:gd name="T32" fmla="*/ 161 w 191"/>
              <a:gd name="T33" fmla="*/ 82 h 128"/>
              <a:gd name="T34" fmla="*/ 161 w 191"/>
              <a:gd name="T35" fmla="*/ 95 h 128"/>
              <a:gd name="T36" fmla="*/ 176 w 191"/>
              <a:gd name="T37" fmla="*/ 110 h 128"/>
              <a:gd name="T38" fmla="*/ 191 w 191"/>
              <a:gd name="T39" fmla="*/ 95 h 128"/>
              <a:gd name="T40" fmla="*/ 191 w 191"/>
              <a:gd name="T41" fmla="*/ 77 h 128"/>
              <a:gd name="T42" fmla="*/ 176 w 191"/>
              <a:gd name="T43" fmla="*/ 62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91" h="128">
                <a:moveTo>
                  <a:pt x="176" y="62"/>
                </a:moveTo>
                <a:cubicBezTo>
                  <a:pt x="175" y="62"/>
                  <a:pt x="174" y="62"/>
                  <a:pt x="174" y="62"/>
                </a:cubicBezTo>
                <a:cubicBezTo>
                  <a:pt x="165" y="26"/>
                  <a:pt x="133" y="0"/>
                  <a:pt x="96" y="0"/>
                </a:cubicBezTo>
                <a:cubicBezTo>
                  <a:pt x="58" y="0"/>
                  <a:pt x="26" y="26"/>
                  <a:pt x="18" y="62"/>
                </a:cubicBezTo>
                <a:cubicBezTo>
                  <a:pt x="17" y="62"/>
                  <a:pt x="16" y="62"/>
                  <a:pt x="15" y="62"/>
                </a:cubicBezTo>
                <a:cubicBezTo>
                  <a:pt x="7" y="62"/>
                  <a:pt x="0" y="68"/>
                  <a:pt x="0" y="77"/>
                </a:cubicBezTo>
                <a:cubicBezTo>
                  <a:pt x="0" y="95"/>
                  <a:pt x="0" y="95"/>
                  <a:pt x="0" y="95"/>
                </a:cubicBezTo>
                <a:cubicBezTo>
                  <a:pt x="0" y="103"/>
                  <a:pt x="7" y="110"/>
                  <a:pt x="15" y="110"/>
                </a:cubicBezTo>
                <a:cubicBezTo>
                  <a:pt x="17" y="110"/>
                  <a:pt x="19" y="110"/>
                  <a:pt x="21" y="109"/>
                </a:cubicBezTo>
                <a:cubicBezTo>
                  <a:pt x="25" y="120"/>
                  <a:pt x="36" y="128"/>
                  <a:pt x="49" y="128"/>
                </a:cubicBezTo>
                <a:cubicBezTo>
                  <a:pt x="52" y="128"/>
                  <a:pt x="55" y="126"/>
                  <a:pt x="55" y="122"/>
                </a:cubicBezTo>
                <a:cubicBezTo>
                  <a:pt x="55" y="119"/>
                  <a:pt x="52" y="116"/>
                  <a:pt x="49" y="116"/>
                </a:cubicBezTo>
                <a:cubicBezTo>
                  <a:pt x="39" y="116"/>
                  <a:pt x="31" y="108"/>
                  <a:pt x="31" y="98"/>
                </a:cubicBezTo>
                <a:cubicBezTo>
                  <a:pt x="31" y="79"/>
                  <a:pt x="31" y="79"/>
                  <a:pt x="31" y="79"/>
                </a:cubicBezTo>
                <a:cubicBezTo>
                  <a:pt x="32" y="43"/>
                  <a:pt x="61" y="15"/>
                  <a:pt x="96" y="15"/>
                </a:cubicBezTo>
                <a:cubicBezTo>
                  <a:pt x="132" y="15"/>
                  <a:pt x="161" y="45"/>
                  <a:pt x="161" y="81"/>
                </a:cubicBezTo>
                <a:cubicBezTo>
                  <a:pt x="161" y="81"/>
                  <a:pt x="161" y="82"/>
                  <a:pt x="161" y="82"/>
                </a:cubicBezTo>
                <a:cubicBezTo>
                  <a:pt x="161" y="95"/>
                  <a:pt x="161" y="95"/>
                  <a:pt x="161" y="95"/>
                </a:cubicBezTo>
                <a:cubicBezTo>
                  <a:pt x="161" y="103"/>
                  <a:pt x="168" y="110"/>
                  <a:pt x="176" y="110"/>
                </a:cubicBezTo>
                <a:cubicBezTo>
                  <a:pt x="184" y="110"/>
                  <a:pt x="191" y="103"/>
                  <a:pt x="191" y="95"/>
                </a:cubicBezTo>
                <a:cubicBezTo>
                  <a:pt x="191" y="77"/>
                  <a:pt x="191" y="77"/>
                  <a:pt x="191" y="77"/>
                </a:cubicBezTo>
                <a:cubicBezTo>
                  <a:pt x="191" y="68"/>
                  <a:pt x="184" y="62"/>
                  <a:pt x="176" y="6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Inter"/>
              <a:ea typeface="+mn-ea"/>
              <a:cs typeface="+mn-cs"/>
            </a:endParaRPr>
          </a:p>
        </p:txBody>
      </p:sp>
      <p:sp>
        <p:nvSpPr>
          <p:cNvPr id="44" name="Freeform 26">
            <a:extLst>
              <a:ext uri="{FF2B5EF4-FFF2-40B4-BE49-F238E27FC236}">
                <a16:creationId xmlns:a16="http://schemas.microsoft.com/office/drawing/2014/main" id="{ECD872BE-806B-4165-B30E-6A635C0B3451}"/>
              </a:ext>
            </a:extLst>
          </p:cNvPr>
          <p:cNvSpPr>
            <a:spLocks noEditPoints="1"/>
          </p:cNvSpPr>
          <p:nvPr/>
        </p:nvSpPr>
        <p:spPr bwMode="auto">
          <a:xfrm>
            <a:off x="5536463" y="4557111"/>
            <a:ext cx="139265" cy="138535"/>
          </a:xfrm>
          <a:custGeom>
            <a:avLst/>
            <a:gdLst>
              <a:gd name="T0" fmla="*/ 140 w 181"/>
              <a:gd name="T1" fmla="*/ 115 h 180"/>
              <a:gd name="T2" fmla="*/ 123 w 181"/>
              <a:gd name="T3" fmla="*/ 115 h 180"/>
              <a:gd name="T4" fmla="*/ 113 w 181"/>
              <a:gd name="T5" fmla="*/ 121 h 180"/>
              <a:gd name="T6" fmla="*/ 100 w 181"/>
              <a:gd name="T7" fmla="*/ 138 h 180"/>
              <a:gd name="T8" fmla="*/ 80 w 181"/>
              <a:gd name="T9" fmla="*/ 138 h 180"/>
              <a:gd name="T10" fmla="*/ 68 w 181"/>
              <a:gd name="T11" fmla="*/ 121 h 180"/>
              <a:gd name="T12" fmla="*/ 58 w 181"/>
              <a:gd name="T13" fmla="*/ 115 h 180"/>
              <a:gd name="T14" fmla="*/ 41 w 181"/>
              <a:gd name="T15" fmla="*/ 115 h 180"/>
              <a:gd name="T16" fmla="*/ 0 w 181"/>
              <a:gd name="T17" fmla="*/ 156 h 180"/>
              <a:gd name="T18" fmla="*/ 0 w 181"/>
              <a:gd name="T19" fmla="*/ 174 h 180"/>
              <a:gd name="T20" fmla="*/ 6 w 181"/>
              <a:gd name="T21" fmla="*/ 180 h 180"/>
              <a:gd name="T22" fmla="*/ 175 w 181"/>
              <a:gd name="T23" fmla="*/ 180 h 180"/>
              <a:gd name="T24" fmla="*/ 181 w 181"/>
              <a:gd name="T25" fmla="*/ 174 h 180"/>
              <a:gd name="T26" fmla="*/ 181 w 181"/>
              <a:gd name="T27" fmla="*/ 156 h 180"/>
              <a:gd name="T28" fmla="*/ 140 w 181"/>
              <a:gd name="T29" fmla="*/ 115 h 180"/>
              <a:gd name="T30" fmla="*/ 91 w 181"/>
              <a:gd name="T31" fmla="*/ 100 h 180"/>
              <a:gd name="T32" fmla="*/ 141 w 181"/>
              <a:gd name="T33" fmla="*/ 50 h 180"/>
              <a:gd name="T34" fmla="*/ 91 w 181"/>
              <a:gd name="T35" fmla="*/ 0 h 180"/>
              <a:gd name="T36" fmla="*/ 41 w 181"/>
              <a:gd name="T37" fmla="*/ 50 h 180"/>
              <a:gd name="T38" fmla="*/ 91 w 181"/>
              <a:gd name="T39" fmla="*/ 10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81" h="180">
                <a:moveTo>
                  <a:pt x="140" y="115"/>
                </a:moveTo>
                <a:cubicBezTo>
                  <a:pt x="123" y="115"/>
                  <a:pt x="123" y="115"/>
                  <a:pt x="123" y="115"/>
                </a:cubicBezTo>
                <a:cubicBezTo>
                  <a:pt x="119" y="115"/>
                  <a:pt x="115" y="117"/>
                  <a:pt x="113" y="121"/>
                </a:cubicBezTo>
                <a:cubicBezTo>
                  <a:pt x="100" y="138"/>
                  <a:pt x="100" y="138"/>
                  <a:pt x="100" y="138"/>
                </a:cubicBezTo>
                <a:cubicBezTo>
                  <a:pt x="95" y="145"/>
                  <a:pt x="85" y="145"/>
                  <a:pt x="80" y="138"/>
                </a:cubicBezTo>
                <a:cubicBezTo>
                  <a:pt x="68" y="121"/>
                  <a:pt x="68" y="121"/>
                  <a:pt x="68" y="121"/>
                </a:cubicBezTo>
                <a:cubicBezTo>
                  <a:pt x="66" y="117"/>
                  <a:pt x="62" y="115"/>
                  <a:pt x="58" y="115"/>
                </a:cubicBezTo>
                <a:cubicBezTo>
                  <a:pt x="41" y="115"/>
                  <a:pt x="41" y="115"/>
                  <a:pt x="41" y="115"/>
                </a:cubicBezTo>
                <a:cubicBezTo>
                  <a:pt x="18" y="115"/>
                  <a:pt x="0" y="134"/>
                  <a:pt x="0" y="156"/>
                </a:cubicBezTo>
                <a:cubicBezTo>
                  <a:pt x="0" y="174"/>
                  <a:pt x="0" y="174"/>
                  <a:pt x="0" y="174"/>
                </a:cubicBezTo>
                <a:cubicBezTo>
                  <a:pt x="0" y="178"/>
                  <a:pt x="3" y="180"/>
                  <a:pt x="6" y="180"/>
                </a:cubicBezTo>
                <a:cubicBezTo>
                  <a:pt x="175" y="180"/>
                  <a:pt x="175" y="180"/>
                  <a:pt x="175" y="180"/>
                </a:cubicBezTo>
                <a:cubicBezTo>
                  <a:pt x="178" y="180"/>
                  <a:pt x="181" y="178"/>
                  <a:pt x="181" y="174"/>
                </a:cubicBezTo>
                <a:cubicBezTo>
                  <a:pt x="181" y="156"/>
                  <a:pt x="181" y="156"/>
                  <a:pt x="181" y="156"/>
                </a:cubicBezTo>
                <a:cubicBezTo>
                  <a:pt x="181" y="134"/>
                  <a:pt x="163" y="115"/>
                  <a:pt x="140" y="115"/>
                </a:cubicBezTo>
                <a:close/>
                <a:moveTo>
                  <a:pt x="91" y="100"/>
                </a:moveTo>
                <a:cubicBezTo>
                  <a:pt x="118" y="100"/>
                  <a:pt x="141" y="78"/>
                  <a:pt x="141" y="50"/>
                </a:cubicBezTo>
                <a:cubicBezTo>
                  <a:pt x="141" y="23"/>
                  <a:pt x="118" y="0"/>
                  <a:pt x="91" y="0"/>
                </a:cubicBezTo>
                <a:cubicBezTo>
                  <a:pt x="63" y="0"/>
                  <a:pt x="41" y="23"/>
                  <a:pt x="41" y="50"/>
                </a:cubicBezTo>
                <a:cubicBezTo>
                  <a:pt x="41" y="78"/>
                  <a:pt x="63" y="100"/>
                  <a:pt x="91" y="10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Inter"/>
              <a:ea typeface="+mn-ea"/>
              <a:cs typeface="+mn-cs"/>
            </a:endParaRPr>
          </a:p>
        </p:txBody>
      </p:sp>
      <p:sp>
        <p:nvSpPr>
          <p:cNvPr id="46" name="Freeform 30">
            <a:extLst>
              <a:ext uri="{FF2B5EF4-FFF2-40B4-BE49-F238E27FC236}">
                <a16:creationId xmlns:a16="http://schemas.microsoft.com/office/drawing/2014/main" id="{C1EA339F-6765-4FC2-AC59-5D0BABD892FB}"/>
              </a:ext>
            </a:extLst>
          </p:cNvPr>
          <p:cNvSpPr>
            <a:spLocks noEditPoints="1"/>
          </p:cNvSpPr>
          <p:nvPr/>
        </p:nvSpPr>
        <p:spPr bwMode="auto">
          <a:xfrm>
            <a:off x="5890381" y="4536103"/>
            <a:ext cx="102262" cy="127916"/>
          </a:xfrm>
          <a:custGeom>
            <a:avLst/>
            <a:gdLst>
              <a:gd name="T0" fmla="*/ 63 w 138"/>
              <a:gd name="T1" fmla="*/ 5 h 173"/>
              <a:gd name="T2" fmla="*/ 4 w 138"/>
              <a:gd name="T3" fmla="*/ 79 h 173"/>
              <a:gd name="T4" fmla="*/ 65 w 138"/>
              <a:gd name="T5" fmla="*/ 171 h 173"/>
              <a:gd name="T6" fmla="*/ 75 w 138"/>
              <a:gd name="T7" fmla="*/ 171 h 173"/>
              <a:gd name="T8" fmla="*/ 138 w 138"/>
              <a:gd name="T9" fmla="*/ 72 h 173"/>
              <a:gd name="T10" fmla="*/ 63 w 138"/>
              <a:gd name="T11" fmla="*/ 5 h 173"/>
              <a:gd name="T12" fmla="*/ 70 w 138"/>
              <a:gd name="T13" fmla="*/ 98 h 173"/>
              <a:gd name="T14" fmla="*/ 44 w 138"/>
              <a:gd name="T15" fmla="*/ 72 h 173"/>
              <a:gd name="T16" fmla="*/ 70 w 138"/>
              <a:gd name="T17" fmla="*/ 45 h 173"/>
              <a:gd name="T18" fmla="*/ 97 w 138"/>
              <a:gd name="T19" fmla="*/ 72 h 173"/>
              <a:gd name="T20" fmla="*/ 70 w 138"/>
              <a:gd name="T21" fmla="*/ 98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8" h="173">
                <a:moveTo>
                  <a:pt x="63" y="5"/>
                </a:moveTo>
                <a:cubicBezTo>
                  <a:pt x="27" y="9"/>
                  <a:pt x="0" y="43"/>
                  <a:pt x="4" y="79"/>
                </a:cubicBezTo>
                <a:cubicBezTo>
                  <a:pt x="8" y="126"/>
                  <a:pt x="51" y="161"/>
                  <a:pt x="65" y="171"/>
                </a:cubicBezTo>
                <a:cubicBezTo>
                  <a:pt x="68" y="173"/>
                  <a:pt x="72" y="173"/>
                  <a:pt x="75" y="171"/>
                </a:cubicBezTo>
                <a:cubicBezTo>
                  <a:pt x="91" y="159"/>
                  <a:pt x="138" y="118"/>
                  <a:pt x="138" y="72"/>
                </a:cubicBezTo>
                <a:cubicBezTo>
                  <a:pt x="138" y="32"/>
                  <a:pt x="103" y="0"/>
                  <a:pt x="63" y="5"/>
                </a:cubicBezTo>
                <a:close/>
                <a:moveTo>
                  <a:pt x="70" y="98"/>
                </a:moveTo>
                <a:cubicBezTo>
                  <a:pt x="56" y="98"/>
                  <a:pt x="44" y="86"/>
                  <a:pt x="44" y="72"/>
                </a:cubicBezTo>
                <a:cubicBezTo>
                  <a:pt x="44" y="57"/>
                  <a:pt x="56" y="45"/>
                  <a:pt x="70" y="45"/>
                </a:cubicBezTo>
                <a:cubicBezTo>
                  <a:pt x="85" y="45"/>
                  <a:pt x="97" y="57"/>
                  <a:pt x="97" y="72"/>
                </a:cubicBezTo>
                <a:cubicBezTo>
                  <a:pt x="97" y="86"/>
                  <a:pt x="85" y="98"/>
                  <a:pt x="70" y="9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Inter"/>
              <a:ea typeface="+mn-ea"/>
              <a:cs typeface="+mn-cs"/>
            </a:endParaRPr>
          </a:p>
        </p:txBody>
      </p:sp>
      <p:sp>
        <p:nvSpPr>
          <p:cNvPr id="47" name="Freeform 31">
            <a:extLst>
              <a:ext uri="{FF2B5EF4-FFF2-40B4-BE49-F238E27FC236}">
                <a16:creationId xmlns:a16="http://schemas.microsoft.com/office/drawing/2014/main" id="{4C9CABD9-A367-4DCC-929E-67F9EDF7663A}"/>
              </a:ext>
            </a:extLst>
          </p:cNvPr>
          <p:cNvSpPr>
            <a:spLocks/>
          </p:cNvSpPr>
          <p:nvPr/>
        </p:nvSpPr>
        <p:spPr bwMode="auto">
          <a:xfrm>
            <a:off x="5880190" y="4640825"/>
            <a:ext cx="124401" cy="54821"/>
          </a:xfrm>
          <a:custGeom>
            <a:avLst/>
            <a:gdLst>
              <a:gd name="T0" fmla="*/ 167 w 168"/>
              <a:gd name="T1" fmla="*/ 59 h 74"/>
              <a:gd name="T2" fmla="*/ 156 w 168"/>
              <a:gd name="T3" fmla="*/ 9 h 74"/>
              <a:gd name="T4" fmla="*/ 143 w 168"/>
              <a:gd name="T5" fmla="*/ 0 h 74"/>
              <a:gd name="T6" fmla="*/ 140 w 168"/>
              <a:gd name="T7" fmla="*/ 0 h 74"/>
              <a:gd name="T8" fmla="*/ 99 w 168"/>
              <a:gd name="T9" fmla="*/ 41 h 74"/>
              <a:gd name="T10" fmla="*/ 84 w 168"/>
              <a:gd name="T11" fmla="*/ 46 h 74"/>
              <a:gd name="T12" fmla="*/ 71 w 168"/>
              <a:gd name="T13" fmla="*/ 42 h 74"/>
              <a:gd name="T14" fmla="*/ 28 w 168"/>
              <a:gd name="T15" fmla="*/ 0 h 74"/>
              <a:gd name="T16" fmla="*/ 25 w 168"/>
              <a:gd name="T17" fmla="*/ 0 h 74"/>
              <a:gd name="T18" fmla="*/ 13 w 168"/>
              <a:gd name="T19" fmla="*/ 9 h 74"/>
              <a:gd name="T20" fmla="*/ 2 w 168"/>
              <a:gd name="T21" fmla="*/ 59 h 74"/>
              <a:gd name="T22" fmla="*/ 14 w 168"/>
              <a:gd name="T23" fmla="*/ 74 h 74"/>
              <a:gd name="T24" fmla="*/ 154 w 168"/>
              <a:gd name="T25" fmla="*/ 74 h 74"/>
              <a:gd name="T26" fmla="*/ 167 w 168"/>
              <a:gd name="T27" fmla="*/ 59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8" h="74">
                <a:moveTo>
                  <a:pt x="167" y="59"/>
                </a:moveTo>
                <a:cubicBezTo>
                  <a:pt x="156" y="9"/>
                  <a:pt x="156" y="9"/>
                  <a:pt x="156" y="9"/>
                </a:cubicBezTo>
                <a:cubicBezTo>
                  <a:pt x="154" y="4"/>
                  <a:pt x="149" y="0"/>
                  <a:pt x="143" y="0"/>
                </a:cubicBezTo>
                <a:cubicBezTo>
                  <a:pt x="140" y="0"/>
                  <a:pt x="140" y="0"/>
                  <a:pt x="140" y="0"/>
                </a:cubicBezTo>
                <a:cubicBezTo>
                  <a:pt x="130" y="13"/>
                  <a:pt x="117" y="27"/>
                  <a:pt x="99" y="41"/>
                </a:cubicBezTo>
                <a:cubicBezTo>
                  <a:pt x="94" y="44"/>
                  <a:pt x="89" y="46"/>
                  <a:pt x="84" y="46"/>
                </a:cubicBezTo>
                <a:cubicBezTo>
                  <a:pt x="79" y="46"/>
                  <a:pt x="75" y="44"/>
                  <a:pt x="71" y="42"/>
                </a:cubicBezTo>
                <a:cubicBezTo>
                  <a:pt x="60" y="34"/>
                  <a:pt x="43" y="20"/>
                  <a:pt x="28" y="0"/>
                </a:cubicBezTo>
                <a:cubicBezTo>
                  <a:pt x="25" y="0"/>
                  <a:pt x="25" y="0"/>
                  <a:pt x="25" y="0"/>
                </a:cubicBezTo>
                <a:cubicBezTo>
                  <a:pt x="19" y="0"/>
                  <a:pt x="14" y="4"/>
                  <a:pt x="13" y="9"/>
                </a:cubicBezTo>
                <a:cubicBezTo>
                  <a:pt x="2" y="59"/>
                  <a:pt x="2" y="59"/>
                  <a:pt x="2" y="59"/>
                </a:cubicBezTo>
                <a:cubicBezTo>
                  <a:pt x="0" y="67"/>
                  <a:pt x="6" y="74"/>
                  <a:pt x="14" y="74"/>
                </a:cubicBezTo>
                <a:cubicBezTo>
                  <a:pt x="154" y="74"/>
                  <a:pt x="154" y="74"/>
                  <a:pt x="154" y="74"/>
                </a:cubicBezTo>
                <a:cubicBezTo>
                  <a:pt x="162" y="74"/>
                  <a:pt x="168" y="67"/>
                  <a:pt x="167" y="5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Inter"/>
              <a:ea typeface="+mn-ea"/>
              <a:cs typeface="+mn-cs"/>
            </a:endParaRPr>
          </a:p>
        </p:txBody>
      </p:sp>
      <p:sp>
        <p:nvSpPr>
          <p:cNvPr id="49" name="Freeform 33">
            <a:extLst>
              <a:ext uri="{FF2B5EF4-FFF2-40B4-BE49-F238E27FC236}">
                <a16:creationId xmlns:a16="http://schemas.microsoft.com/office/drawing/2014/main" id="{3330F412-6DA5-4BB1-BE7D-AAB2A0CE0942}"/>
              </a:ext>
            </a:extLst>
          </p:cNvPr>
          <p:cNvSpPr>
            <a:spLocks noEditPoints="1"/>
          </p:cNvSpPr>
          <p:nvPr/>
        </p:nvSpPr>
        <p:spPr bwMode="auto">
          <a:xfrm>
            <a:off x="6197004" y="4594614"/>
            <a:ext cx="161862" cy="99955"/>
          </a:xfrm>
          <a:custGeom>
            <a:avLst/>
            <a:gdLst>
              <a:gd name="T0" fmla="*/ 68 w 118"/>
              <a:gd name="T1" fmla="*/ 4 h 73"/>
              <a:gd name="T2" fmla="*/ 64 w 118"/>
              <a:gd name="T3" fmla="*/ 0 h 73"/>
              <a:gd name="T4" fmla="*/ 50 w 118"/>
              <a:gd name="T5" fmla="*/ 0 h 73"/>
              <a:gd name="T6" fmla="*/ 47 w 118"/>
              <a:gd name="T7" fmla="*/ 4 h 73"/>
              <a:gd name="T8" fmla="*/ 47 w 118"/>
              <a:gd name="T9" fmla="*/ 54 h 73"/>
              <a:gd name="T10" fmla="*/ 68 w 118"/>
              <a:gd name="T11" fmla="*/ 54 h 73"/>
              <a:gd name="T12" fmla="*/ 68 w 118"/>
              <a:gd name="T13" fmla="*/ 4 h 73"/>
              <a:gd name="T14" fmla="*/ 98 w 118"/>
              <a:gd name="T15" fmla="*/ 11 h 73"/>
              <a:gd name="T16" fmla="*/ 95 w 118"/>
              <a:gd name="T17" fmla="*/ 7 h 73"/>
              <a:gd name="T18" fmla="*/ 81 w 118"/>
              <a:gd name="T19" fmla="*/ 7 h 73"/>
              <a:gd name="T20" fmla="*/ 77 w 118"/>
              <a:gd name="T21" fmla="*/ 11 h 73"/>
              <a:gd name="T22" fmla="*/ 77 w 118"/>
              <a:gd name="T23" fmla="*/ 54 h 73"/>
              <a:gd name="T24" fmla="*/ 98 w 118"/>
              <a:gd name="T25" fmla="*/ 54 h 73"/>
              <a:gd name="T26" fmla="*/ 98 w 118"/>
              <a:gd name="T27" fmla="*/ 11 h 73"/>
              <a:gd name="T28" fmla="*/ 113 w 118"/>
              <a:gd name="T29" fmla="*/ 63 h 73"/>
              <a:gd name="T30" fmla="*/ 6 w 118"/>
              <a:gd name="T31" fmla="*/ 63 h 73"/>
              <a:gd name="T32" fmla="*/ 0 w 118"/>
              <a:gd name="T33" fmla="*/ 68 h 73"/>
              <a:gd name="T34" fmla="*/ 6 w 118"/>
              <a:gd name="T35" fmla="*/ 73 h 73"/>
              <a:gd name="T36" fmla="*/ 113 w 118"/>
              <a:gd name="T37" fmla="*/ 73 h 73"/>
              <a:gd name="T38" fmla="*/ 118 w 118"/>
              <a:gd name="T39" fmla="*/ 68 h 73"/>
              <a:gd name="T40" fmla="*/ 113 w 118"/>
              <a:gd name="T41" fmla="*/ 63 h 73"/>
              <a:gd name="T42" fmla="*/ 38 w 118"/>
              <a:gd name="T43" fmla="*/ 22 h 73"/>
              <a:gd name="T44" fmla="*/ 34 w 118"/>
              <a:gd name="T45" fmla="*/ 18 h 73"/>
              <a:gd name="T46" fmla="*/ 20 w 118"/>
              <a:gd name="T47" fmla="*/ 18 h 73"/>
              <a:gd name="T48" fmla="*/ 16 w 118"/>
              <a:gd name="T49" fmla="*/ 22 h 73"/>
              <a:gd name="T50" fmla="*/ 16 w 118"/>
              <a:gd name="T51" fmla="*/ 54 h 73"/>
              <a:gd name="T52" fmla="*/ 38 w 118"/>
              <a:gd name="T53" fmla="*/ 54 h 73"/>
              <a:gd name="T54" fmla="*/ 38 w 118"/>
              <a:gd name="T55" fmla="*/ 22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18" h="73">
                <a:moveTo>
                  <a:pt x="68" y="4"/>
                </a:moveTo>
                <a:cubicBezTo>
                  <a:pt x="68" y="2"/>
                  <a:pt x="66" y="0"/>
                  <a:pt x="64" y="0"/>
                </a:cubicBezTo>
                <a:cubicBezTo>
                  <a:pt x="50" y="0"/>
                  <a:pt x="50" y="0"/>
                  <a:pt x="50" y="0"/>
                </a:cubicBezTo>
                <a:cubicBezTo>
                  <a:pt x="48" y="0"/>
                  <a:pt x="47" y="2"/>
                  <a:pt x="47" y="4"/>
                </a:cubicBezTo>
                <a:cubicBezTo>
                  <a:pt x="47" y="54"/>
                  <a:pt x="47" y="54"/>
                  <a:pt x="47" y="54"/>
                </a:cubicBezTo>
                <a:cubicBezTo>
                  <a:pt x="68" y="54"/>
                  <a:pt x="68" y="54"/>
                  <a:pt x="68" y="54"/>
                </a:cubicBezTo>
                <a:lnTo>
                  <a:pt x="68" y="4"/>
                </a:lnTo>
                <a:close/>
                <a:moveTo>
                  <a:pt x="98" y="11"/>
                </a:moveTo>
                <a:cubicBezTo>
                  <a:pt x="98" y="9"/>
                  <a:pt x="97" y="7"/>
                  <a:pt x="95" y="7"/>
                </a:cubicBezTo>
                <a:cubicBezTo>
                  <a:pt x="81" y="7"/>
                  <a:pt x="81" y="7"/>
                  <a:pt x="81" y="7"/>
                </a:cubicBezTo>
                <a:cubicBezTo>
                  <a:pt x="79" y="7"/>
                  <a:pt x="77" y="9"/>
                  <a:pt x="77" y="11"/>
                </a:cubicBezTo>
                <a:cubicBezTo>
                  <a:pt x="77" y="54"/>
                  <a:pt x="77" y="54"/>
                  <a:pt x="77" y="54"/>
                </a:cubicBezTo>
                <a:cubicBezTo>
                  <a:pt x="98" y="54"/>
                  <a:pt x="98" y="54"/>
                  <a:pt x="98" y="54"/>
                </a:cubicBezTo>
                <a:lnTo>
                  <a:pt x="98" y="11"/>
                </a:lnTo>
                <a:close/>
                <a:moveTo>
                  <a:pt x="113" y="63"/>
                </a:moveTo>
                <a:cubicBezTo>
                  <a:pt x="6" y="63"/>
                  <a:pt x="6" y="63"/>
                  <a:pt x="6" y="63"/>
                </a:cubicBezTo>
                <a:cubicBezTo>
                  <a:pt x="3" y="63"/>
                  <a:pt x="0" y="65"/>
                  <a:pt x="0" y="68"/>
                </a:cubicBezTo>
                <a:cubicBezTo>
                  <a:pt x="0" y="71"/>
                  <a:pt x="3" y="73"/>
                  <a:pt x="6" y="73"/>
                </a:cubicBezTo>
                <a:cubicBezTo>
                  <a:pt x="113" y="73"/>
                  <a:pt x="113" y="73"/>
                  <a:pt x="113" y="73"/>
                </a:cubicBezTo>
                <a:cubicBezTo>
                  <a:pt x="116" y="73"/>
                  <a:pt x="118" y="71"/>
                  <a:pt x="118" y="68"/>
                </a:cubicBezTo>
                <a:cubicBezTo>
                  <a:pt x="118" y="65"/>
                  <a:pt x="116" y="63"/>
                  <a:pt x="113" y="63"/>
                </a:cubicBezTo>
                <a:close/>
                <a:moveTo>
                  <a:pt x="38" y="22"/>
                </a:moveTo>
                <a:cubicBezTo>
                  <a:pt x="38" y="20"/>
                  <a:pt x="36" y="18"/>
                  <a:pt x="34" y="18"/>
                </a:cubicBezTo>
                <a:cubicBezTo>
                  <a:pt x="20" y="18"/>
                  <a:pt x="20" y="18"/>
                  <a:pt x="20" y="18"/>
                </a:cubicBezTo>
                <a:cubicBezTo>
                  <a:pt x="18" y="18"/>
                  <a:pt x="16" y="20"/>
                  <a:pt x="16" y="22"/>
                </a:cubicBezTo>
                <a:cubicBezTo>
                  <a:pt x="16" y="54"/>
                  <a:pt x="16" y="54"/>
                  <a:pt x="16" y="54"/>
                </a:cubicBezTo>
                <a:cubicBezTo>
                  <a:pt x="38" y="54"/>
                  <a:pt x="38" y="54"/>
                  <a:pt x="38" y="54"/>
                </a:cubicBezTo>
                <a:lnTo>
                  <a:pt x="38" y="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Inter"/>
              <a:ea typeface="+mn-ea"/>
              <a:cs typeface="+mn-cs"/>
            </a:endParaRPr>
          </a:p>
        </p:txBody>
      </p:sp>
      <p:sp>
        <p:nvSpPr>
          <p:cNvPr id="50" name="Freeform 34">
            <a:extLst>
              <a:ext uri="{FF2B5EF4-FFF2-40B4-BE49-F238E27FC236}">
                <a16:creationId xmlns:a16="http://schemas.microsoft.com/office/drawing/2014/main" id="{1342A2E2-86CE-4AE7-8AE3-C80A82620A1A}"/>
              </a:ext>
            </a:extLst>
          </p:cNvPr>
          <p:cNvSpPr>
            <a:spLocks/>
          </p:cNvSpPr>
          <p:nvPr/>
        </p:nvSpPr>
        <p:spPr bwMode="auto">
          <a:xfrm>
            <a:off x="6213126" y="4533352"/>
            <a:ext cx="130908" cy="62552"/>
          </a:xfrm>
          <a:custGeom>
            <a:avLst/>
            <a:gdLst>
              <a:gd name="T0" fmla="*/ 92 w 95"/>
              <a:gd name="T1" fmla="*/ 1 h 46"/>
              <a:gd name="T2" fmla="*/ 75 w 95"/>
              <a:gd name="T3" fmla="*/ 3 h 46"/>
              <a:gd name="T4" fmla="*/ 74 w 95"/>
              <a:gd name="T5" fmla="*/ 8 h 46"/>
              <a:gd name="T6" fmla="*/ 77 w 95"/>
              <a:gd name="T7" fmla="*/ 12 h 46"/>
              <a:gd name="T8" fmla="*/ 64 w 95"/>
              <a:gd name="T9" fmla="*/ 25 h 46"/>
              <a:gd name="T10" fmla="*/ 43 w 95"/>
              <a:gd name="T11" fmla="*/ 9 h 46"/>
              <a:gd name="T12" fmla="*/ 37 w 95"/>
              <a:gd name="T13" fmla="*/ 9 h 46"/>
              <a:gd name="T14" fmla="*/ 3 w 95"/>
              <a:gd name="T15" fmla="*/ 37 h 46"/>
              <a:gd name="T16" fmla="*/ 2 w 95"/>
              <a:gd name="T17" fmla="*/ 44 h 46"/>
              <a:gd name="T18" fmla="*/ 6 w 95"/>
              <a:gd name="T19" fmla="*/ 46 h 46"/>
              <a:gd name="T20" fmla="*/ 9 w 95"/>
              <a:gd name="T21" fmla="*/ 45 h 46"/>
              <a:gd name="T22" fmla="*/ 40 w 95"/>
              <a:gd name="T23" fmla="*/ 20 h 46"/>
              <a:gd name="T24" fmla="*/ 62 w 95"/>
              <a:gd name="T25" fmla="*/ 36 h 46"/>
              <a:gd name="T26" fmla="*/ 69 w 95"/>
              <a:gd name="T27" fmla="*/ 36 h 46"/>
              <a:gd name="T28" fmla="*/ 85 w 95"/>
              <a:gd name="T29" fmla="*/ 19 h 46"/>
              <a:gd name="T30" fmla="*/ 87 w 95"/>
              <a:gd name="T31" fmla="*/ 22 h 46"/>
              <a:gd name="T32" fmla="*/ 93 w 95"/>
              <a:gd name="T33" fmla="*/ 20 h 46"/>
              <a:gd name="T34" fmla="*/ 95 w 95"/>
              <a:gd name="T35" fmla="*/ 4 h 46"/>
              <a:gd name="T36" fmla="*/ 92 w 95"/>
              <a:gd name="T37" fmla="*/ 1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5" h="46">
                <a:moveTo>
                  <a:pt x="92" y="1"/>
                </a:moveTo>
                <a:cubicBezTo>
                  <a:pt x="75" y="3"/>
                  <a:pt x="75" y="3"/>
                  <a:pt x="75" y="3"/>
                </a:cubicBezTo>
                <a:cubicBezTo>
                  <a:pt x="73" y="3"/>
                  <a:pt x="72" y="6"/>
                  <a:pt x="74" y="8"/>
                </a:cubicBezTo>
                <a:cubicBezTo>
                  <a:pt x="77" y="12"/>
                  <a:pt x="77" y="12"/>
                  <a:pt x="77" y="12"/>
                </a:cubicBezTo>
                <a:cubicBezTo>
                  <a:pt x="64" y="25"/>
                  <a:pt x="64" y="25"/>
                  <a:pt x="64" y="25"/>
                </a:cubicBezTo>
                <a:cubicBezTo>
                  <a:pt x="43" y="9"/>
                  <a:pt x="43" y="9"/>
                  <a:pt x="43" y="9"/>
                </a:cubicBezTo>
                <a:cubicBezTo>
                  <a:pt x="41" y="7"/>
                  <a:pt x="38" y="7"/>
                  <a:pt x="37" y="9"/>
                </a:cubicBezTo>
                <a:cubicBezTo>
                  <a:pt x="3" y="37"/>
                  <a:pt x="3" y="37"/>
                  <a:pt x="3" y="37"/>
                </a:cubicBezTo>
                <a:cubicBezTo>
                  <a:pt x="0" y="39"/>
                  <a:pt x="0" y="42"/>
                  <a:pt x="2" y="44"/>
                </a:cubicBezTo>
                <a:cubicBezTo>
                  <a:pt x="3" y="46"/>
                  <a:pt x="5" y="46"/>
                  <a:pt x="6" y="46"/>
                </a:cubicBezTo>
                <a:cubicBezTo>
                  <a:pt x="7" y="46"/>
                  <a:pt x="8" y="46"/>
                  <a:pt x="9" y="45"/>
                </a:cubicBezTo>
                <a:cubicBezTo>
                  <a:pt x="40" y="20"/>
                  <a:pt x="40" y="20"/>
                  <a:pt x="40" y="20"/>
                </a:cubicBezTo>
                <a:cubicBezTo>
                  <a:pt x="62" y="36"/>
                  <a:pt x="62" y="36"/>
                  <a:pt x="62" y="36"/>
                </a:cubicBezTo>
                <a:cubicBezTo>
                  <a:pt x="64" y="38"/>
                  <a:pt x="67" y="38"/>
                  <a:pt x="69" y="36"/>
                </a:cubicBezTo>
                <a:cubicBezTo>
                  <a:pt x="85" y="19"/>
                  <a:pt x="85" y="19"/>
                  <a:pt x="85" y="19"/>
                </a:cubicBezTo>
                <a:cubicBezTo>
                  <a:pt x="87" y="22"/>
                  <a:pt x="87" y="22"/>
                  <a:pt x="87" y="22"/>
                </a:cubicBezTo>
                <a:cubicBezTo>
                  <a:pt x="89" y="24"/>
                  <a:pt x="92" y="23"/>
                  <a:pt x="93" y="20"/>
                </a:cubicBezTo>
                <a:cubicBezTo>
                  <a:pt x="95" y="4"/>
                  <a:pt x="95" y="4"/>
                  <a:pt x="95" y="4"/>
                </a:cubicBezTo>
                <a:cubicBezTo>
                  <a:pt x="95" y="2"/>
                  <a:pt x="94" y="0"/>
                  <a:pt x="92" y="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Inter"/>
              <a:ea typeface="+mn-ea"/>
              <a:cs typeface="+mn-cs"/>
            </a:endParaRPr>
          </a:p>
        </p:txBody>
      </p:sp>
      <p:sp>
        <p:nvSpPr>
          <p:cNvPr id="52" name="Freeform 38">
            <a:extLst>
              <a:ext uri="{FF2B5EF4-FFF2-40B4-BE49-F238E27FC236}">
                <a16:creationId xmlns:a16="http://schemas.microsoft.com/office/drawing/2014/main" id="{8F399334-94BC-41F6-89EA-BDD48E7A20A6}"/>
              </a:ext>
            </a:extLst>
          </p:cNvPr>
          <p:cNvSpPr>
            <a:spLocks/>
          </p:cNvSpPr>
          <p:nvPr/>
        </p:nvSpPr>
        <p:spPr bwMode="auto">
          <a:xfrm>
            <a:off x="6562197" y="4679018"/>
            <a:ext cx="61419" cy="32713"/>
          </a:xfrm>
          <a:custGeom>
            <a:avLst/>
            <a:gdLst>
              <a:gd name="T0" fmla="*/ 38 w 43"/>
              <a:gd name="T1" fmla="*/ 0 h 23"/>
              <a:gd name="T2" fmla="*/ 5 w 43"/>
              <a:gd name="T3" fmla="*/ 0 h 23"/>
              <a:gd name="T4" fmla="*/ 0 w 43"/>
              <a:gd name="T5" fmla="*/ 5 h 23"/>
              <a:gd name="T6" fmla="*/ 0 w 43"/>
              <a:gd name="T7" fmla="*/ 6 h 23"/>
              <a:gd name="T8" fmla="*/ 5 w 43"/>
              <a:gd name="T9" fmla="*/ 11 h 23"/>
              <a:gd name="T10" fmla="*/ 11 w 43"/>
              <a:gd name="T11" fmla="*/ 11 h 23"/>
              <a:gd name="T12" fmla="*/ 11 w 43"/>
              <a:gd name="T13" fmla="*/ 13 h 23"/>
              <a:gd name="T14" fmla="*/ 21 w 43"/>
              <a:gd name="T15" fmla="*/ 23 h 23"/>
              <a:gd name="T16" fmla="*/ 22 w 43"/>
              <a:gd name="T17" fmla="*/ 23 h 23"/>
              <a:gd name="T18" fmla="*/ 32 w 43"/>
              <a:gd name="T19" fmla="*/ 13 h 23"/>
              <a:gd name="T20" fmla="*/ 32 w 43"/>
              <a:gd name="T21" fmla="*/ 11 h 23"/>
              <a:gd name="T22" fmla="*/ 38 w 43"/>
              <a:gd name="T23" fmla="*/ 11 h 23"/>
              <a:gd name="T24" fmla="*/ 43 w 43"/>
              <a:gd name="T25" fmla="*/ 6 h 23"/>
              <a:gd name="T26" fmla="*/ 43 w 43"/>
              <a:gd name="T27" fmla="*/ 5 h 23"/>
              <a:gd name="T28" fmla="*/ 38 w 43"/>
              <a:gd name="T29"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3" h="23">
                <a:moveTo>
                  <a:pt x="38" y="0"/>
                </a:moveTo>
                <a:cubicBezTo>
                  <a:pt x="5" y="0"/>
                  <a:pt x="5" y="0"/>
                  <a:pt x="5" y="0"/>
                </a:cubicBezTo>
                <a:cubicBezTo>
                  <a:pt x="2" y="0"/>
                  <a:pt x="0" y="2"/>
                  <a:pt x="0" y="5"/>
                </a:cubicBezTo>
                <a:cubicBezTo>
                  <a:pt x="0" y="6"/>
                  <a:pt x="0" y="6"/>
                  <a:pt x="0" y="6"/>
                </a:cubicBezTo>
                <a:cubicBezTo>
                  <a:pt x="0" y="9"/>
                  <a:pt x="2" y="11"/>
                  <a:pt x="5" y="11"/>
                </a:cubicBezTo>
                <a:cubicBezTo>
                  <a:pt x="11" y="11"/>
                  <a:pt x="11" y="11"/>
                  <a:pt x="11" y="11"/>
                </a:cubicBezTo>
                <a:cubicBezTo>
                  <a:pt x="11" y="13"/>
                  <a:pt x="11" y="13"/>
                  <a:pt x="11" y="13"/>
                </a:cubicBezTo>
                <a:cubicBezTo>
                  <a:pt x="11" y="18"/>
                  <a:pt x="15" y="23"/>
                  <a:pt x="21" y="23"/>
                </a:cubicBezTo>
                <a:cubicBezTo>
                  <a:pt x="22" y="23"/>
                  <a:pt x="22" y="23"/>
                  <a:pt x="22" y="23"/>
                </a:cubicBezTo>
                <a:cubicBezTo>
                  <a:pt x="28" y="23"/>
                  <a:pt x="32" y="18"/>
                  <a:pt x="32" y="13"/>
                </a:cubicBezTo>
                <a:cubicBezTo>
                  <a:pt x="32" y="11"/>
                  <a:pt x="32" y="11"/>
                  <a:pt x="32" y="11"/>
                </a:cubicBezTo>
                <a:cubicBezTo>
                  <a:pt x="38" y="11"/>
                  <a:pt x="38" y="11"/>
                  <a:pt x="38" y="11"/>
                </a:cubicBezTo>
                <a:cubicBezTo>
                  <a:pt x="41" y="11"/>
                  <a:pt x="43" y="9"/>
                  <a:pt x="43" y="6"/>
                </a:cubicBezTo>
                <a:cubicBezTo>
                  <a:pt x="43" y="5"/>
                  <a:pt x="43" y="5"/>
                  <a:pt x="43" y="5"/>
                </a:cubicBezTo>
                <a:cubicBezTo>
                  <a:pt x="43" y="2"/>
                  <a:pt x="41" y="0"/>
                  <a:pt x="38"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Inter"/>
              <a:ea typeface="+mn-ea"/>
              <a:cs typeface="+mn-cs"/>
            </a:endParaRPr>
          </a:p>
        </p:txBody>
      </p:sp>
      <p:sp>
        <p:nvSpPr>
          <p:cNvPr id="53" name="Freeform 39">
            <a:extLst>
              <a:ext uri="{FF2B5EF4-FFF2-40B4-BE49-F238E27FC236}">
                <a16:creationId xmlns:a16="http://schemas.microsoft.com/office/drawing/2014/main" id="{DF331403-26E8-4144-A7D6-7E0ACA5BC93F}"/>
              </a:ext>
            </a:extLst>
          </p:cNvPr>
          <p:cNvSpPr>
            <a:spLocks noEditPoints="1"/>
          </p:cNvSpPr>
          <p:nvPr/>
        </p:nvSpPr>
        <p:spPr bwMode="auto">
          <a:xfrm>
            <a:off x="6529484" y="4522132"/>
            <a:ext cx="124174" cy="144202"/>
          </a:xfrm>
          <a:custGeom>
            <a:avLst/>
            <a:gdLst>
              <a:gd name="T0" fmla="*/ 39 w 87"/>
              <a:gd name="T1" fmla="*/ 3 h 102"/>
              <a:gd name="T2" fmla="*/ 2 w 87"/>
              <a:gd name="T3" fmla="*/ 41 h 102"/>
              <a:gd name="T4" fmla="*/ 14 w 87"/>
              <a:gd name="T5" fmla="*/ 76 h 102"/>
              <a:gd name="T6" fmla="*/ 21 w 87"/>
              <a:gd name="T7" fmla="*/ 95 h 102"/>
              <a:gd name="T8" fmla="*/ 21 w 87"/>
              <a:gd name="T9" fmla="*/ 95 h 102"/>
              <a:gd name="T10" fmla="*/ 28 w 87"/>
              <a:gd name="T11" fmla="*/ 102 h 102"/>
              <a:gd name="T12" fmla="*/ 61 w 87"/>
              <a:gd name="T13" fmla="*/ 102 h 102"/>
              <a:gd name="T14" fmla="*/ 68 w 87"/>
              <a:gd name="T15" fmla="*/ 95 h 102"/>
              <a:gd name="T16" fmla="*/ 75 w 87"/>
              <a:gd name="T17" fmla="*/ 76 h 102"/>
              <a:gd name="T18" fmla="*/ 87 w 87"/>
              <a:gd name="T19" fmla="*/ 46 h 102"/>
              <a:gd name="T20" fmla="*/ 39 w 87"/>
              <a:gd name="T21" fmla="*/ 3 h 102"/>
              <a:gd name="T22" fmla="*/ 40 w 87"/>
              <a:gd name="T23" fmla="*/ 85 h 102"/>
              <a:gd name="T24" fmla="*/ 36 w 87"/>
              <a:gd name="T25" fmla="*/ 89 h 102"/>
              <a:gd name="T26" fmla="*/ 32 w 87"/>
              <a:gd name="T27" fmla="*/ 85 h 102"/>
              <a:gd name="T28" fmla="*/ 32 w 87"/>
              <a:gd name="T29" fmla="*/ 67 h 102"/>
              <a:gd name="T30" fmla="*/ 22 w 87"/>
              <a:gd name="T31" fmla="*/ 57 h 102"/>
              <a:gd name="T32" fmla="*/ 17 w 87"/>
              <a:gd name="T33" fmla="*/ 52 h 102"/>
              <a:gd name="T34" fmla="*/ 22 w 87"/>
              <a:gd name="T35" fmla="*/ 48 h 102"/>
              <a:gd name="T36" fmla="*/ 40 w 87"/>
              <a:gd name="T37" fmla="*/ 67 h 102"/>
              <a:gd name="T38" fmla="*/ 40 w 87"/>
              <a:gd name="T39" fmla="*/ 85 h 102"/>
              <a:gd name="T40" fmla="*/ 67 w 87"/>
              <a:gd name="T41" fmla="*/ 57 h 102"/>
              <a:gd name="T42" fmla="*/ 57 w 87"/>
              <a:gd name="T43" fmla="*/ 67 h 102"/>
              <a:gd name="T44" fmla="*/ 57 w 87"/>
              <a:gd name="T45" fmla="*/ 85 h 102"/>
              <a:gd name="T46" fmla="*/ 53 w 87"/>
              <a:gd name="T47" fmla="*/ 89 h 102"/>
              <a:gd name="T48" fmla="*/ 49 w 87"/>
              <a:gd name="T49" fmla="*/ 85 h 102"/>
              <a:gd name="T50" fmla="*/ 49 w 87"/>
              <a:gd name="T51" fmla="*/ 67 h 102"/>
              <a:gd name="T52" fmla="*/ 67 w 87"/>
              <a:gd name="T53" fmla="*/ 48 h 102"/>
              <a:gd name="T54" fmla="*/ 72 w 87"/>
              <a:gd name="T55" fmla="*/ 52 h 102"/>
              <a:gd name="T56" fmla="*/ 67 w 87"/>
              <a:gd name="T57" fmla="*/ 57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7" h="102">
                <a:moveTo>
                  <a:pt x="39" y="3"/>
                </a:moveTo>
                <a:cubicBezTo>
                  <a:pt x="21" y="5"/>
                  <a:pt x="4" y="23"/>
                  <a:pt x="2" y="41"/>
                </a:cubicBezTo>
                <a:cubicBezTo>
                  <a:pt x="0" y="54"/>
                  <a:pt x="5" y="67"/>
                  <a:pt x="14" y="76"/>
                </a:cubicBezTo>
                <a:cubicBezTo>
                  <a:pt x="19" y="81"/>
                  <a:pt x="21" y="88"/>
                  <a:pt x="21" y="95"/>
                </a:cubicBezTo>
                <a:cubicBezTo>
                  <a:pt x="21" y="95"/>
                  <a:pt x="21" y="95"/>
                  <a:pt x="21" y="95"/>
                </a:cubicBezTo>
                <a:cubicBezTo>
                  <a:pt x="21" y="99"/>
                  <a:pt x="24" y="102"/>
                  <a:pt x="28" y="102"/>
                </a:cubicBezTo>
                <a:cubicBezTo>
                  <a:pt x="61" y="102"/>
                  <a:pt x="61" y="102"/>
                  <a:pt x="61" y="102"/>
                </a:cubicBezTo>
                <a:cubicBezTo>
                  <a:pt x="65" y="102"/>
                  <a:pt x="68" y="99"/>
                  <a:pt x="68" y="95"/>
                </a:cubicBezTo>
                <a:cubicBezTo>
                  <a:pt x="68" y="88"/>
                  <a:pt x="70" y="81"/>
                  <a:pt x="75" y="76"/>
                </a:cubicBezTo>
                <a:cubicBezTo>
                  <a:pt x="83" y="68"/>
                  <a:pt x="87" y="58"/>
                  <a:pt x="87" y="46"/>
                </a:cubicBezTo>
                <a:cubicBezTo>
                  <a:pt x="87" y="21"/>
                  <a:pt x="65" y="0"/>
                  <a:pt x="39" y="3"/>
                </a:cubicBezTo>
                <a:close/>
                <a:moveTo>
                  <a:pt x="40" y="85"/>
                </a:moveTo>
                <a:cubicBezTo>
                  <a:pt x="40" y="87"/>
                  <a:pt x="38" y="89"/>
                  <a:pt x="36" y="89"/>
                </a:cubicBezTo>
                <a:cubicBezTo>
                  <a:pt x="34" y="89"/>
                  <a:pt x="32" y="87"/>
                  <a:pt x="32" y="85"/>
                </a:cubicBezTo>
                <a:cubicBezTo>
                  <a:pt x="32" y="67"/>
                  <a:pt x="32" y="67"/>
                  <a:pt x="32" y="67"/>
                </a:cubicBezTo>
                <a:cubicBezTo>
                  <a:pt x="32" y="61"/>
                  <a:pt x="27" y="57"/>
                  <a:pt x="22" y="57"/>
                </a:cubicBezTo>
                <a:cubicBezTo>
                  <a:pt x="19" y="57"/>
                  <a:pt x="17" y="55"/>
                  <a:pt x="17" y="52"/>
                </a:cubicBezTo>
                <a:cubicBezTo>
                  <a:pt x="17" y="50"/>
                  <a:pt x="19" y="48"/>
                  <a:pt x="22" y="48"/>
                </a:cubicBezTo>
                <a:cubicBezTo>
                  <a:pt x="32" y="48"/>
                  <a:pt x="40" y="57"/>
                  <a:pt x="40" y="67"/>
                </a:cubicBezTo>
                <a:lnTo>
                  <a:pt x="40" y="85"/>
                </a:lnTo>
                <a:close/>
                <a:moveTo>
                  <a:pt x="67" y="57"/>
                </a:moveTo>
                <a:cubicBezTo>
                  <a:pt x="62" y="57"/>
                  <a:pt x="57" y="61"/>
                  <a:pt x="57" y="67"/>
                </a:cubicBezTo>
                <a:cubicBezTo>
                  <a:pt x="57" y="85"/>
                  <a:pt x="57" y="85"/>
                  <a:pt x="57" y="85"/>
                </a:cubicBezTo>
                <a:cubicBezTo>
                  <a:pt x="57" y="87"/>
                  <a:pt x="55" y="89"/>
                  <a:pt x="53" y="89"/>
                </a:cubicBezTo>
                <a:cubicBezTo>
                  <a:pt x="51" y="89"/>
                  <a:pt x="49" y="87"/>
                  <a:pt x="49" y="85"/>
                </a:cubicBezTo>
                <a:cubicBezTo>
                  <a:pt x="49" y="67"/>
                  <a:pt x="49" y="67"/>
                  <a:pt x="49" y="67"/>
                </a:cubicBezTo>
                <a:cubicBezTo>
                  <a:pt x="49" y="57"/>
                  <a:pt x="57" y="48"/>
                  <a:pt x="67" y="48"/>
                </a:cubicBezTo>
                <a:cubicBezTo>
                  <a:pt x="70" y="48"/>
                  <a:pt x="72" y="50"/>
                  <a:pt x="72" y="52"/>
                </a:cubicBezTo>
                <a:cubicBezTo>
                  <a:pt x="72" y="55"/>
                  <a:pt x="70" y="57"/>
                  <a:pt x="67" y="5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Inter"/>
              <a:ea typeface="+mn-ea"/>
              <a:cs typeface="+mn-cs"/>
            </a:endParaRPr>
          </a:p>
        </p:txBody>
      </p:sp>
      <p:sp>
        <p:nvSpPr>
          <p:cNvPr id="55" name="Freeform 48">
            <a:extLst>
              <a:ext uri="{FF2B5EF4-FFF2-40B4-BE49-F238E27FC236}">
                <a16:creationId xmlns:a16="http://schemas.microsoft.com/office/drawing/2014/main" id="{69F09F8A-36C8-495B-8949-FAF02A26469A}"/>
              </a:ext>
            </a:extLst>
          </p:cNvPr>
          <p:cNvSpPr>
            <a:spLocks/>
          </p:cNvSpPr>
          <p:nvPr/>
        </p:nvSpPr>
        <p:spPr bwMode="auto">
          <a:xfrm>
            <a:off x="5864427" y="1844228"/>
            <a:ext cx="131565" cy="76248"/>
          </a:xfrm>
          <a:custGeom>
            <a:avLst/>
            <a:gdLst>
              <a:gd name="T0" fmla="*/ 41 w 82"/>
              <a:gd name="T1" fmla="*/ 0 h 48"/>
              <a:gd name="T2" fmla="*/ 41 w 82"/>
              <a:gd name="T3" fmla="*/ 0 h 48"/>
              <a:gd name="T4" fmla="*/ 38 w 82"/>
              <a:gd name="T5" fmla="*/ 1 h 48"/>
              <a:gd name="T6" fmla="*/ 2 w 82"/>
              <a:gd name="T7" fmla="*/ 38 h 48"/>
              <a:gd name="T8" fmla="*/ 2 w 82"/>
              <a:gd name="T9" fmla="*/ 44 h 48"/>
              <a:gd name="T10" fmla="*/ 4 w 82"/>
              <a:gd name="T11" fmla="*/ 47 h 48"/>
              <a:gd name="T12" fmla="*/ 7 w 82"/>
              <a:gd name="T13" fmla="*/ 48 h 48"/>
              <a:gd name="T14" fmla="*/ 11 w 82"/>
              <a:gd name="T15" fmla="*/ 47 h 48"/>
              <a:gd name="T16" fmla="*/ 41 w 82"/>
              <a:gd name="T17" fmla="*/ 16 h 48"/>
              <a:gd name="T18" fmla="*/ 71 w 82"/>
              <a:gd name="T19" fmla="*/ 47 h 48"/>
              <a:gd name="T20" fmla="*/ 75 w 82"/>
              <a:gd name="T21" fmla="*/ 48 h 48"/>
              <a:gd name="T22" fmla="*/ 78 w 82"/>
              <a:gd name="T23" fmla="*/ 47 h 48"/>
              <a:gd name="T24" fmla="*/ 80 w 82"/>
              <a:gd name="T25" fmla="*/ 44 h 48"/>
              <a:gd name="T26" fmla="*/ 82 w 82"/>
              <a:gd name="T27" fmla="*/ 41 h 48"/>
              <a:gd name="T28" fmla="*/ 80 w 82"/>
              <a:gd name="T29" fmla="*/ 38 h 48"/>
              <a:gd name="T30" fmla="*/ 44 w 82"/>
              <a:gd name="T31" fmla="*/ 1 h 48"/>
              <a:gd name="T32" fmla="*/ 41 w 82"/>
              <a:gd name="T3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2" h="48">
                <a:moveTo>
                  <a:pt x="41" y="0"/>
                </a:moveTo>
                <a:cubicBezTo>
                  <a:pt x="41" y="0"/>
                  <a:pt x="41" y="0"/>
                  <a:pt x="41" y="0"/>
                </a:cubicBezTo>
                <a:cubicBezTo>
                  <a:pt x="40" y="0"/>
                  <a:pt x="39" y="1"/>
                  <a:pt x="38" y="1"/>
                </a:cubicBezTo>
                <a:cubicBezTo>
                  <a:pt x="2" y="38"/>
                  <a:pt x="2" y="38"/>
                  <a:pt x="2" y="38"/>
                </a:cubicBezTo>
                <a:cubicBezTo>
                  <a:pt x="0" y="39"/>
                  <a:pt x="0" y="42"/>
                  <a:pt x="2" y="44"/>
                </a:cubicBezTo>
                <a:cubicBezTo>
                  <a:pt x="4" y="47"/>
                  <a:pt x="4" y="47"/>
                  <a:pt x="4" y="47"/>
                </a:cubicBezTo>
                <a:cubicBezTo>
                  <a:pt x="5" y="48"/>
                  <a:pt x="6" y="48"/>
                  <a:pt x="7" y="48"/>
                </a:cubicBezTo>
                <a:cubicBezTo>
                  <a:pt x="9" y="48"/>
                  <a:pt x="10" y="48"/>
                  <a:pt x="11" y="47"/>
                </a:cubicBezTo>
                <a:cubicBezTo>
                  <a:pt x="41" y="16"/>
                  <a:pt x="41" y="16"/>
                  <a:pt x="41" y="16"/>
                </a:cubicBezTo>
                <a:cubicBezTo>
                  <a:pt x="71" y="47"/>
                  <a:pt x="71" y="47"/>
                  <a:pt x="71" y="47"/>
                </a:cubicBezTo>
                <a:cubicBezTo>
                  <a:pt x="72" y="47"/>
                  <a:pt x="73" y="48"/>
                  <a:pt x="75" y="48"/>
                </a:cubicBezTo>
                <a:cubicBezTo>
                  <a:pt x="76" y="48"/>
                  <a:pt x="77" y="47"/>
                  <a:pt x="78" y="47"/>
                </a:cubicBezTo>
                <a:cubicBezTo>
                  <a:pt x="80" y="44"/>
                  <a:pt x="80" y="44"/>
                  <a:pt x="80" y="44"/>
                </a:cubicBezTo>
                <a:cubicBezTo>
                  <a:pt x="81" y="43"/>
                  <a:pt x="82" y="42"/>
                  <a:pt x="82" y="41"/>
                </a:cubicBezTo>
                <a:cubicBezTo>
                  <a:pt x="82" y="40"/>
                  <a:pt x="81" y="38"/>
                  <a:pt x="80" y="38"/>
                </a:cubicBezTo>
                <a:cubicBezTo>
                  <a:pt x="44" y="1"/>
                  <a:pt x="44" y="1"/>
                  <a:pt x="44" y="1"/>
                </a:cubicBezTo>
                <a:cubicBezTo>
                  <a:pt x="43" y="1"/>
                  <a:pt x="42" y="0"/>
                  <a:pt x="41" y="0"/>
                </a:cubicBezTo>
              </a:path>
            </a:pathLst>
          </a:custGeom>
          <a:solidFill>
            <a:srgbClr val="FFFFFF">
              <a:alpha val="7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Inter"/>
              <a:ea typeface="+mn-ea"/>
              <a:cs typeface="+mn-cs"/>
            </a:endParaRPr>
          </a:p>
        </p:txBody>
      </p:sp>
      <p:sp>
        <p:nvSpPr>
          <p:cNvPr id="56" name="Freeform 49">
            <a:extLst>
              <a:ext uri="{FF2B5EF4-FFF2-40B4-BE49-F238E27FC236}">
                <a16:creationId xmlns:a16="http://schemas.microsoft.com/office/drawing/2014/main" id="{D8D59804-1579-42ED-A7B4-BAF62DA45516}"/>
              </a:ext>
            </a:extLst>
          </p:cNvPr>
          <p:cNvSpPr>
            <a:spLocks/>
          </p:cNvSpPr>
          <p:nvPr/>
        </p:nvSpPr>
        <p:spPr bwMode="auto">
          <a:xfrm>
            <a:off x="5864427" y="1920476"/>
            <a:ext cx="131565" cy="75501"/>
          </a:xfrm>
          <a:custGeom>
            <a:avLst/>
            <a:gdLst>
              <a:gd name="T0" fmla="*/ 41 w 82"/>
              <a:gd name="T1" fmla="*/ 0 h 48"/>
              <a:gd name="T2" fmla="*/ 41 w 82"/>
              <a:gd name="T3" fmla="*/ 0 h 48"/>
              <a:gd name="T4" fmla="*/ 38 w 82"/>
              <a:gd name="T5" fmla="*/ 1 h 48"/>
              <a:gd name="T6" fmla="*/ 2 w 82"/>
              <a:gd name="T7" fmla="*/ 38 h 48"/>
              <a:gd name="T8" fmla="*/ 2 w 82"/>
              <a:gd name="T9" fmla="*/ 44 h 48"/>
              <a:gd name="T10" fmla="*/ 4 w 82"/>
              <a:gd name="T11" fmla="*/ 47 h 48"/>
              <a:gd name="T12" fmla="*/ 7 w 82"/>
              <a:gd name="T13" fmla="*/ 48 h 48"/>
              <a:gd name="T14" fmla="*/ 11 w 82"/>
              <a:gd name="T15" fmla="*/ 47 h 48"/>
              <a:gd name="T16" fmla="*/ 41 w 82"/>
              <a:gd name="T17" fmla="*/ 16 h 48"/>
              <a:gd name="T18" fmla="*/ 71 w 82"/>
              <a:gd name="T19" fmla="*/ 47 h 48"/>
              <a:gd name="T20" fmla="*/ 75 w 82"/>
              <a:gd name="T21" fmla="*/ 48 h 48"/>
              <a:gd name="T22" fmla="*/ 78 w 82"/>
              <a:gd name="T23" fmla="*/ 47 h 48"/>
              <a:gd name="T24" fmla="*/ 80 w 82"/>
              <a:gd name="T25" fmla="*/ 44 h 48"/>
              <a:gd name="T26" fmla="*/ 82 w 82"/>
              <a:gd name="T27" fmla="*/ 41 h 48"/>
              <a:gd name="T28" fmla="*/ 80 w 82"/>
              <a:gd name="T29" fmla="*/ 38 h 48"/>
              <a:gd name="T30" fmla="*/ 44 w 82"/>
              <a:gd name="T31" fmla="*/ 1 h 48"/>
              <a:gd name="T32" fmla="*/ 41 w 82"/>
              <a:gd name="T3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2" h="48">
                <a:moveTo>
                  <a:pt x="41" y="0"/>
                </a:moveTo>
                <a:cubicBezTo>
                  <a:pt x="41" y="0"/>
                  <a:pt x="41" y="0"/>
                  <a:pt x="41" y="0"/>
                </a:cubicBezTo>
                <a:cubicBezTo>
                  <a:pt x="40" y="0"/>
                  <a:pt x="39" y="1"/>
                  <a:pt x="38" y="1"/>
                </a:cubicBezTo>
                <a:cubicBezTo>
                  <a:pt x="2" y="38"/>
                  <a:pt x="2" y="38"/>
                  <a:pt x="2" y="38"/>
                </a:cubicBezTo>
                <a:cubicBezTo>
                  <a:pt x="0" y="39"/>
                  <a:pt x="0" y="42"/>
                  <a:pt x="2" y="44"/>
                </a:cubicBezTo>
                <a:cubicBezTo>
                  <a:pt x="4" y="47"/>
                  <a:pt x="4" y="47"/>
                  <a:pt x="4" y="47"/>
                </a:cubicBezTo>
                <a:cubicBezTo>
                  <a:pt x="5" y="48"/>
                  <a:pt x="6" y="48"/>
                  <a:pt x="7" y="48"/>
                </a:cubicBezTo>
                <a:cubicBezTo>
                  <a:pt x="9" y="48"/>
                  <a:pt x="10" y="48"/>
                  <a:pt x="11" y="47"/>
                </a:cubicBezTo>
                <a:cubicBezTo>
                  <a:pt x="41" y="16"/>
                  <a:pt x="41" y="16"/>
                  <a:pt x="41" y="16"/>
                </a:cubicBezTo>
                <a:cubicBezTo>
                  <a:pt x="71" y="47"/>
                  <a:pt x="71" y="47"/>
                  <a:pt x="71" y="47"/>
                </a:cubicBezTo>
                <a:cubicBezTo>
                  <a:pt x="72" y="47"/>
                  <a:pt x="73" y="48"/>
                  <a:pt x="75" y="48"/>
                </a:cubicBezTo>
                <a:cubicBezTo>
                  <a:pt x="76" y="48"/>
                  <a:pt x="77" y="47"/>
                  <a:pt x="78" y="47"/>
                </a:cubicBezTo>
                <a:cubicBezTo>
                  <a:pt x="80" y="44"/>
                  <a:pt x="80" y="44"/>
                  <a:pt x="80" y="44"/>
                </a:cubicBezTo>
                <a:cubicBezTo>
                  <a:pt x="81" y="43"/>
                  <a:pt x="82" y="42"/>
                  <a:pt x="82" y="41"/>
                </a:cubicBezTo>
                <a:cubicBezTo>
                  <a:pt x="82" y="40"/>
                  <a:pt x="81" y="38"/>
                  <a:pt x="80" y="38"/>
                </a:cubicBezTo>
                <a:cubicBezTo>
                  <a:pt x="44" y="1"/>
                  <a:pt x="44" y="1"/>
                  <a:pt x="44" y="1"/>
                </a:cubicBezTo>
                <a:cubicBezTo>
                  <a:pt x="43" y="1"/>
                  <a:pt x="42" y="0"/>
                  <a:pt x="41" y="0"/>
                </a:cubicBezTo>
              </a:path>
            </a:pathLst>
          </a:custGeom>
          <a:solidFill>
            <a:srgbClr val="FFFFFF">
              <a:alpha val="4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Inter"/>
              <a:ea typeface="+mn-ea"/>
              <a:cs typeface="+mn-cs"/>
            </a:endParaRPr>
          </a:p>
        </p:txBody>
      </p:sp>
      <p:sp>
        <p:nvSpPr>
          <p:cNvPr id="57" name="Freeform 50">
            <a:extLst>
              <a:ext uri="{FF2B5EF4-FFF2-40B4-BE49-F238E27FC236}">
                <a16:creationId xmlns:a16="http://schemas.microsoft.com/office/drawing/2014/main" id="{71CC4A85-BB22-4F68-A126-74B8BEB1DAE3}"/>
              </a:ext>
            </a:extLst>
          </p:cNvPr>
          <p:cNvSpPr>
            <a:spLocks/>
          </p:cNvSpPr>
          <p:nvPr/>
        </p:nvSpPr>
        <p:spPr bwMode="auto">
          <a:xfrm>
            <a:off x="5864427" y="1995977"/>
            <a:ext cx="131565" cy="76248"/>
          </a:xfrm>
          <a:custGeom>
            <a:avLst/>
            <a:gdLst>
              <a:gd name="T0" fmla="*/ 41 w 82"/>
              <a:gd name="T1" fmla="*/ 0 h 48"/>
              <a:gd name="T2" fmla="*/ 41 w 82"/>
              <a:gd name="T3" fmla="*/ 0 h 48"/>
              <a:gd name="T4" fmla="*/ 38 w 82"/>
              <a:gd name="T5" fmla="*/ 1 h 48"/>
              <a:gd name="T6" fmla="*/ 2 w 82"/>
              <a:gd name="T7" fmla="*/ 38 h 48"/>
              <a:gd name="T8" fmla="*/ 2 w 82"/>
              <a:gd name="T9" fmla="*/ 44 h 48"/>
              <a:gd name="T10" fmla="*/ 4 w 82"/>
              <a:gd name="T11" fmla="*/ 47 h 48"/>
              <a:gd name="T12" fmla="*/ 7 w 82"/>
              <a:gd name="T13" fmla="*/ 48 h 48"/>
              <a:gd name="T14" fmla="*/ 11 w 82"/>
              <a:gd name="T15" fmla="*/ 47 h 48"/>
              <a:gd name="T16" fmla="*/ 41 w 82"/>
              <a:gd name="T17" fmla="*/ 16 h 48"/>
              <a:gd name="T18" fmla="*/ 71 w 82"/>
              <a:gd name="T19" fmla="*/ 47 h 48"/>
              <a:gd name="T20" fmla="*/ 75 w 82"/>
              <a:gd name="T21" fmla="*/ 48 h 48"/>
              <a:gd name="T22" fmla="*/ 78 w 82"/>
              <a:gd name="T23" fmla="*/ 47 h 48"/>
              <a:gd name="T24" fmla="*/ 80 w 82"/>
              <a:gd name="T25" fmla="*/ 44 h 48"/>
              <a:gd name="T26" fmla="*/ 82 w 82"/>
              <a:gd name="T27" fmla="*/ 41 h 48"/>
              <a:gd name="T28" fmla="*/ 80 w 82"/>
              <a:gd name="T29" fmla="*/ 38 h 48"/>
              <a:gd name="T30" fmla="*/ 44 w 82"/>
              <a:gd name="T31" fmla="*/ 1 h 48"/>
              <a:gd name="T32" fmla="*/ 41 w 82"/>
              <a:gd name="T3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2" h="48">
                <a:moveTo>
                  <a:pt x="41" y="0"/>
                </a:moveTo>
                <a:cubicBezTo>
                  <a:pt x="41" y="0"/>
                  <a:pt x="41" y="0"/>
                  <a:pt x="41" y="0"/>
                </a:cubicBezTo>
                <a:cubicBezTo>
                  <a:pt x="40" y="0"/>
                  <a:pt x="39" y="1"/>
                  <a:pt x="38" y="1"/>
                </a:cubicBezTo>
                <a:cubicBezTo>
                  <a:pt x="2" y="38"/>
                  <a:pt x="2" y="38"/>
                  <a:pt x="2" y="38"/>
                </a:cubicBezTo>
                <a:cubicBezTo>
                  <a:pt x="0" y="39"/>
                  <a:pt x="0" y="42"/>
                  <a:pt x="2" y="44"/>
                </a:cubicBezTo>
                <a:cubicBezTo>
                  <a:pt x="4" y="47"/>
                  <a:pt x="4" y="47"/>
                  <a:pt x="4" y="47"/>
                </a:cubicBezTo>
                <a:cubicBezTo>
                  <a:pt x="5" y="48"/>
                  <a:pt x="6" y="48"/>
                  <a:pt x="7" y="48"/>
                </a:cubicBezTo>
                <a:cubicBezTo>
                  <a:pt x="9" y="48"/>
                  <a:pt x="10" y="48"/>
                  <a:pt x="11" y="47"/>
                </a:cubicBezTo>
                <a:cubicBezTo>
                  <a:pt x="41" y="16"/>
                  <a:pt x="41" y="16"/>
                  <a:pt x="41" y="16"/>
                </a:cubicBezTo>
                <a:cubicBezTo>
                  <a:pt x="71" y="47"/>
                  <a:pt x="71" y="47"/>
                  <a:pt x="71" y="47"/>
                </a:cubicBezTo>
                <a:cubicBezTo>
                  <a:pt x="72" y="47"/>
                  <a:pt x="73" y="48"/>
                  <a:pt x="75" y="48"/>
                </a:cubicBezTo>
                <a:cubicBezTo>
                  <a:pt x="76" y="48"/>
                  <a:pt x="77" y="47"/>
                  <a:pt x="78" y="47"/>
                </a:cubicBezTo>
                <a:cubicBezTo>
                  <a:pt x="80" y="44"/>
                  <a:pt x="80" y="44"/>
                  <a:pt x="80" y="44"/>
                </a:cubicBezTo>
                <a:cubicBezTo>
                  <a:pt x="81" y="43"/>
                  <a:pt x="82" y="42"/>
                  <a:pt x="82" y="41"/>
                </a:cubicBezTo>
                <a:cubicBezTo>
                  <a:pt x="82" y="40"/>
                  <a:pt x="81" y="38"/>
                  <a:pt x="80" y="38"/>
                </a:cubicBezTo>
                <a:cubicBezTo>
                  <a:pt x="44" y="1"/>
                  <a:pt x="44" y="1"/>
                  <a:pt x="44" y="1"/>
                </a:cubicBezTo>
                <a:cubicBezTo>
                  <a:pt x="43" y="1"/>
                  <a:pt x="42" y="0"/>
                  <a:pt x="41" y="0"/>
                </a:cubicBezTo>
              </a:path>
            </a:pathLst>
          </a:custGeom>
          <a:solidFill>
            <a:srgbClr val="FFFFFF">
              <a:alpha val="1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Inter"/>
              <a:ea typeface="+mn-ea"/>
              <a:cs typeface="+mn-cs"/>
            </a:endParaRPr>
          </a:p>
        </p:txBody>
      </p:sp>
      <p:grpSp>
        <p:nvGrpSpPr>
          <p:cNvPr id="75" name="组合 74">
            <a:extLst>
              <a:ext uri="{FF2B5EF4-FFF2-40B4-BE49-F238E27FC236}">
                <a16:creationId xmlns:a16="http://schemas.microsoft.com/office/drawing/2014/main" id="{153AEC89-95B3-46F4-8F7B-C9E7874C12DF}"/>
              </a:ext>
            </a:extLst>
          </p:cNvPr>
          <p:cNvGrpSpPr/>
          <p:nvPr/>
        </p:nvGrpSpPr>
        <p:grpSpPr>
          <a:xfrm>
            <a:off x="5457017" y="1911379"/>
            <a:ext cx="209550" cy="209550"/>
            <a:chOff x="5585550" y="2229291"/>
            <a:chExt cx="209550" cy="209550"/>
          </a:xfrm>
        </p:grpSpPr>
        <p:sp>
          <p:nvSpPr>
            <p:cNvPr id="76" name="Oval 69">
              <a:extLst>
                <a:ext uri="{FF2B5EF4-FFF2-40B4-BE49-F238E27FC236}">
                  <a16:creationId xmlns:a16="http://schemas.microsoft.com/office/drawing/2014/main" id="{7C293217-86FC-45FC-B14A-228395B2C397}"/>
                </a:ext>
              </a:extLst>
            </p:cNvPr>
            <p:cNvSpPr/>
            <p:nvPr/>
          </p:nvSpPr>
          <p:spPr>
            <a:xfrm flipH="1">
              <a:off x="5585550" y="2229291"/>
              <a:ext cx="209550" cy="209550"/>
            </a:xfrm>
            <a:prstGeom prst="ellipse">
              <a:avLst/>
            </a:prstGeom>
            <a:solidFill>
              <a:schemeClr val="accent1">
                <a:lumMod val="20000"/>
                <a:lumOff val="80000"/>
                <a:alpha val="5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800" b="0" i="0" u="none" strike="noStrike" kern="1200" cap="none" spc="0" normalizeH="0" baseline="0" noProof="0">
                <a:ln>
                  <a:noFill/>
                </a:ln>
                <a:solidFill>
                  <a:prstClr val="black">
                    <a:lumMod val="50000"/>
                    <a:lumOff val="50000"/>
                  </a:prstClr>
                </a:solidFill>
                <a:effectLst/>
                <a:uLnTx/>
                <a:uFillTx/>
                <a:latin typeface="HarmonyOS Sans SC"/>
                <a:cs typeface="+mn-cs"/>
              </a:endParaRPr>
            </a:p>
          </p:txBody>
        </p:sp>
        <p:sp>
          <p:nvSpPr>
            <p:cNvPr id="77" name="Oval 70">
              <a:extLst>
                <a:ext uri="{FF2B5EF4-FFF2-40B4-BE49-F238E27FC236}">
                  <a16:creationId xmlns:a16="http://schemas.microsoft.com/office/drawing/2014/main" id="{7A0BE03D-6189-44FC-B468-A5B4A0BD3948}"/>
                </a:ext>
              </a:extLst>
            </p:cNvPr>
            <p:cNvSpPr/>
            <p:nvPr/>
          </p:nvSpPr>
          <p:spPr>
            <a:xfrm flipH="1" flipV="1">
              <a:off x="5654983" y="2298724"/>
              <a:ext cx="70684" cy="70684"/>
            </a:xfrm>
            <a:prstGeom prst="ellipse">
              <a:avLst/>
            </a:prstGeom>
            <a:gradFill>
              <a:gsLst>
                <a:gs pos="73000">
                  <a:schemeClr val="accent1"/>
                </a:gs>
                <a:gs pos="31000">
                  <a:schemeClr val="accent1">
                    <a:lumMod val="60000"/>
                    <a:lumOff val="40000"/>
                  </a:schemeClr>
                </a:gs>
                <a:gs pos="0">
                  <a:schemeClr val="accent1">
                    <a:lumMod val="40000"/>
                    <a:lumOff val="60000"/>
                  </a:schemeClr>
                </a:gs>
              </a:gsLst>
              <a:lin ang="2700000" scaled="1"/>
            </a:gra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800" b="0" i="0" u="none" strike="noStrike" kern="1200" cap="none" spc="0" normalizeH="0" baseline="0" noProof="0">
                <a:ln>
                  <a:noFill/>
                </a:ln>
                <a:solidFill>
                  <a:prstClr val="black">
                    <a:lumMod val="50000"/>
                    <a:lumOff val="50000"/>
                  </a:prstClr>
                </a:solidFill>
                <a:effectLst/>
                <a:uLnTx/>
                <a:uFillTx/>
                <a:latin typeface="HarmonyOS Sans SC"/>
                <a:cs typeface="+mn-cs"/>
              </a:endParaRPr>
            </a:p>
          </p:txBody>
        </p:sp>
      </p:grpSp>
      <p:grpSp>
        <p:nvGrpSpPr>
          <p:cNvPr id="78" name="组合 77">
            <a:extLst>
              <a:ext uri="{FF2B5EF4-FFF2-40B4-BE49-F238E27FC236}">
                <a16:creationId xmlns:a16="http://schemas.microsoft.com/office/drawing/2014/main" id="{28501C79-77B8-4960-A419-EB2B48C598C0}"/>
              </a:ext>
            </a:extLst>
          </p:cNvPr>
          <p:cNvGrpSpPr/>
          <p:nvPr/>
        </p:nvGrpSpPr>
        <p:grpSpPr>
          <a:xfrm>
            <a:off x="5135145" y="3150980"/>
            <a:ext cx="209550" cy="209550"/>
            <a:chOff x="5585550" y="2229291"/>
            <a:chExt cx="209550" cy="209550"/>
          </a:xfrm>
        </p:grpSpPr>
        <p:sp>
          <p:nvSpPr>
            <p:cNvPr id="79" name="Oval 69">
              <a:extLst>
                <a:ext uri="{FF2B5EF4-FFF2-40B4-BE49-F238E27FC236}">
                  <a16:creationId xmlns:a16="http://schemas.microsoft.com/office/drawing/2014/main" id="{6ED7B9E2-257F-474D-9C97-41FEB2983B6C}"/>
                </a:ext>
              </a:extLst>
            </p:cNvPr>
            <p:cNvSpPr/>
            <p:nvPr/>
          </p:nvSpPr>
          <p:spPr>
            <a:xfrm flipH="1">
              <a:off x="5585550" y="2229291"/>
              <a:ext cx="209550" cy="209550"/>
            </a:xfrm>
            <a:prstGeom prst="ellipse">
              <a:avLst/>
            </a:prstGeom>
            <a:solidFill>
              <a:schemeClr val="accent1">
                <a:lumMod val="20000"/>
                <a:lumOff val="80000"/>
                <a:alpha val="5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800" b="0" i="0" u="none" strike="noStrike" kern="1200" cap="none" spc="0" normalizeH="0" baseline="0" noProof="0">
                <a:ln>
                  <a:noFill/>
                </a:ln>
                <a:solidFill>
                  <a:prstClr val="black">
                    <a:lumMod val="50000"/>
                    <a:lumOff val="50000"/>
                  </a:prstClr>
                </a:solidFill>
                <a:effectLst/>
                <a:uLnTx/>
                <a:uFillTx/>
                <a:latin typeface="HarmonyOS Sans SC"/>
                <a:cs typeface="+mn-cs"/>
              </a:endParaRPr>
            </a:p>
          </p:txBody>
        </p:sp>
        <p:sp>
          <p:nvSpPr>
            <p:cNvPr id="80" name="Oval 70">
              <a:extLst>
                <a:ext uri="{FF2B5EF4-FFF2-40B4-BE49-F238E27FC236}">
                  <a16:creationId xmlns:a16="http://schemas.microsoft.com/office/drawing/2014/main" id="{A0743CB7-F027-423A-A2B9-5943A91AF9DA}"/>
                </a:ext>
              </a:extLst>
            </p:cNvPr>
            <p:cNvSpPr/>
            <p:nvPr/>
          </p:nvSpPr>
          <p:spPr>
            <a:xfrm flipH="1" flipV="1">
              <a:off x="5654983" y="2298724"/>
              <a:ext cx="70684" cy="70684"/>
            </a:xfrm>
            <a:prstGeom prst="ellipse">
              <a:avLst/>
            </a:prstGeom>
            <a:gradFill>
              <a:gsLst>
                <a:gs pos="73000">
                  <a:schemeClr val="accent1"/>
                </a:gs>
                <a:gs pos="31000">
                  <a:schemeClr val="accent1">
                    <a:lumMod val="60000"/>
                    <a:lumOff val="40000"/>
                  </a:schemeClr>
                </a:gs>
                <a:gs pos="0">
                  <a:schemeClr val="accent1">
                    <a:lumMod val="40000"/>
                    <a:lumOff val="60000"/>
                  </a:schemeClr>
                </a:gs>
              </a:gsLst>
              <a:lin ang="2700000" scaled="1"/>
            </a:gra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800" b="0" i="0" u="none" strike="noStrike" kern="1200" cap="none" spc="0" normalizeH="0" baseline="0" noProof="0">
                <a:ln>
                  <a:noFill/>
                </a:ln>
                <a:solidFill>
                  <a:prstClr val="black">
                    <a:lumMod val="50000"/>
                    <a:lumOff val="50000"/>
                  </a:prstClr>
                </a:solidFill>
                <a:effectLst/>
                <a:uLnTx/>
                <a:uFillTx/>
                <a:latin typeface="HarmonyOS Sans SC"/>
                <a:cs typeface="+mn-cs"/>
              </a:endParaRPr>
            </a:p>
          </p:txBody>
        </p:sp>
      </p:grpSp>
      <p:grpSp>
        <p:nvGrpSpPr>
          <p:cNvPr id="81" name="组合 80">
            <a:extLst>
              <a:ext uri="{FF2B5EF4-FFF2-40B4-BE49-F238E27FC236}">
                <a16:creationId xmlns:a16="http://schemas.microsoft.com/office/drawing/2014/main" id="{6D4728C5-1768-44E4-B458-280C4E798849}"/>
              </a:ext>
            </a:extLst>
          </p:cNvPr>
          <p:cNvGrpSpPr/>
          <p:nvPr/>
        </p:nvGrpSpPr>
        <p:grpSpPr>
          <a:xfrm>
            <a:off x="6553354" y="2453002"/>
            <a:ext cx="209550" cy="209550"/>
            <a:chOff x="5585550" y="2229291"/>
            <a:chExt cx="209550" cy="209550"/>
          </a:xfrm>
        </p:grpSpPr>
        <p:sp>
          <p:nvSpPr>
            <p:cNvPr id="82" name="Oval 69">
              <a:extLst>
                <a:ext uri="{FF2B5EF4-FFF2-40B4-BE49-F238E27FC236}">
                  <a16:creationId xmlns:a16="http://schemas.microsoft.com/office/drawing/2014/main" id="{A27B260C-881A-479E-8AB4-C526A226B18F}"/>
                </a:ext>
              </a:extLst>
            </p:cNvPr>
            <p:cNvSpPr/>
            <p:nvPr/>
          </p:nvSpPr>
          <p:spPr>
            <a:xfrm flipH="1">
              <a:off x="5585550" y="2229291"/>
              <a:ext cx="209550" cy="209550"/>
            </a:xfrm>
            <a:prstGeom prst="ellipse">
              <a:avLst/>
            </a:prstGeom>
            <a:solidFill>
              <a:schemeClr val="accent1">
                <a:lumMod val="20000"/>
                <a:lumOff val="80000"/>
                <a:alpha val="5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800" b="0" i="0" u="none" strike="noStrike" kern="1200" cap="none" spc="0" normalizeH="0" baseline="0" noProof="0">
                <a:ln>
                  <a:noFill/>
                </a:ln>
                <a:solidFill>
                  <a:prstClr val="black">
                    <a:lumMod val="50000"/>
                    <a:lumOff val="50000"/>
                  </a:prstClr>
                </a:solidFill>
                <a:effectLst/>
                <a:uLnTx/>
                <a:uFillTx/>
                <a:latin typeface="HarmonyOS Sans SC"/>
                <a:cs typeface="+mn-cs"/>
              </a:endParaRPr>
            </a:p>
          </p:txBody>
        </p:sp>
        <p:sp>
          <p:nvSpPr>
            <p:cNvPr id="83" name="Oval 70">
              <a:extLst>
                <a:ext uri="{FF2B5EF4-FFF2-40B4-BE49-F238E27FC236}">
                  <a16:creationId xmlns:a16="http://schemas.microsoft.com/office/drawing/2014/main" id="{DEC32604-6C48-4F04-89ED-08AB1EF0BC16}"/>
                </a:ext>
              </a:extLst>
            </p:cNvPr>
            <p:cNvSpPr/>
            <p:nvPr/>
          </p:nvSpPr>
          <p:spPr>
            <a:xfrm flipH="1" flipV="1">
              <a:off x="5654983" y="2298724"/>
              <a:ext cx="70684" cy="70684"/>
            </a:xfrm>
            <a:prstGeom prst="ellipse">
              <a:avLst/>
            </a:prstGeom>
            <a:gradFill>
              <a:gsLst>
                <a:gs pos="73000">
                  <a:schemeClr val="accent1"/>
                </a:gs>
                <a:gs pos="31000">
                  <a:schemeClr val="accent1">
                    <a:lumMod val="60000"/>
                    <a:lumOff val="40000"/>
                  </a:schemeClr>
                </a:gs>
                <a:gs pos="0">
                  <a:schemeClr val="accent1">
                    <a:lumMod val="40000"/>
                    <a:lumOff val="60000"/>
                  </a:schemeClr>
                </a:gs>
              </a:gsLst>
              <a:lin ang="2700000" scaled="1"/>
            </a:gra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800" b="0" i="0" u="none" strike="noStrike" kern="1200" cap="none" spc="0" normalizeH="0" baseline="0" noProof="0">
                <a:ln>
                  <a:noFill/>
                </a:ln>
                <a:solidFill>
                  <a:prstClr val="black">
                    <a:lumMod val="50000"/>
                    <a:lumOff val="50000"/>
                  </a:prstClr>
                </a:solidFill>
                <a:effectLst/>
                <a:uLnTx/>
                <a:uFillTx/>
                <a:latin typeface="HarmonyOS Sans SC"/>
                <a:cs typeface="+mn-cs"/>
              </a:endParaRPr>
            </a:p>
          </p:txBody>
        </p:sp>
      </p:grpSp>
      <p:grpSp>
        <p:nvGrpSpPr>
          <p:cNvPr id="84" name="组合 83">
            <a:extLst>
              <a:ext uri="{FF2B5EF4-FFF2-40B4-BE49-F238E27FC236}">
                <a16:creationId xmlns:a16="http://schemas.microsoft.com/office/drawing/2014/main" id="{7319C0AA-F515-4EAC-A807-E2A1EEB1C552}"/>
              </a:ext>
            </a:extLst>
          </p:cNvPr>
          <p:cNvGrpSpPr/>
          <p:nvPr/>
        </p:nvGrpSpPr>
        <p:grpSpPr>
          <a:xfrm>
            <a:off x="6920875" y="3841166"/>
            <a:ext cx="209550" cy="209550"/>
            <a:chOff x="5585550" y="2229291"/>
            <a:chExt cx="209550" cy="209550"/>
          </a:xfrm>
        </p:grpSpPr>
        <p:sp>
          <p:nvSpPr>
            <p:cNvPr id="85" name="Oval 69">
              <a:extLst>
                <a:ext uri="{FF2B5EF4-FFF2-40B4-BE49-F238E27FC236}">
                  <a16:creationId xmlns:a16="http://schemas.microsoft.com/office/drawing/2014/main" id="{A019E22B-8DF5-4696-9948-ABDCA881A220}"/>
                </a:ext>
              </a:extLst>
            </p:cNvPr>
            <p:cNvSpPr/>
            <p:nvPr/>
          </p:nvSpPr>
          <p:spPr>
            <a:xfrm flipH="1">
              <a:off x="5585550" y="2229291"/>
              <a:ext cx="209550" cy="209550"/>
            </a:xfrm>
            <a:prstGeom prst="ellipse">
              <a:avLst/>
            </a:prstGeom>
            <a:solidFill>
              <a:schemeClr val="accent1">
                <a:lumMod val="20000"/>
                <a:lumOff val="80000"/>
                <a:alpha val="5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800" b="0" i="0" u="none" strike="noStrike" kern="1200" cap="none" spc="0" normalizeH="0" baseline="0" noProof="0">
                <a:ln>
                  <a:noFill/>
                </a:ln>
                <a:solidFill>
                  <a:prstClr val="black">
                    <a:lumMod val="50000"/>
                    <a:lumOff val="50000"/>
                  </a:prstClr>
                </a:solidFill>
                <a:effectLst/>
                <a:uLnTx/>
                <a:uFillTx/>
                <a:latin typeface="HarmonyOS Sans SC"/>
                <a:cs typeface="+mn-cs"/>
              </a:endParaRPr>
            </a:p>
          </p:txBody>
        </p:sp>
        <p:sp>
          <p:nvSpPr>
            <p:cNvPr id="86" name="Oval 70">
              <a:extLst>
                <a:ext uri="{FF2B5EF4-FFF2-40B4-BE49-F238E27FC236}">
                  <a16:creationId xmlns:a16="http://schemas.microsoft.com/office/drawing/2014/main" id="{66883870-7CEB-4D93-8B42-2566B47460CE}"/>
                </a:ext>
              </a:extLst>
            </p:cNvPr>
            <p:cNvSpPr/>
            <p:nvPr/>
          </p:nvSpPr>
          <p:spPr>
            <a:xfrm flipH="1" flipV="1">
              <a:off x="5654983" y="2298724"/>
              <a:ext cx="70684" cy="70684"/>
            </a:xfrm>
            <a:prstGeom prst="ellipse">
              <a:avLst/>
            </a:prstGeom>
            <a:gradFill>
              <a:gsLst>
                <a:gs pos="73000">
                  <a:schemeClr val="accent1"/>
                </a:gs>
                <a:gs pos="31000">
                  <a:schemeClr val="accent1">
                    <a:lumMod val="60000"/>
                    <a:lumOff val="40000"/>
                  </a:schemeClr>
                </a:gs>
                <a:gs pos="0">
                  <a:schemeClr val="accent1">
                    <a:lumMod val="40000"/>
                    <a:lumOff val="60000"/>
                  </a:schemeClr>
                </a:gs>
              </a:gsLst>
              <a:lin ang="2700000" scaled="1"/>
            </a:gra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800" b="0" i="0" u="none" strike="noStrike" kern="1200" cap="none" spc="0" normalizeH="0" baseline="0" noProof="0">
                <a:ln>
                  <a:noFill/>
                </a:ln>
                <a:solidFill>
                  <a:prstClr val="black">
                    <a:lumMod val="50000"/>
                    <a:lumOff val="50000"/>
                  </a:prstClr>
                </a:solidFill>
                <a:effectLst/>
                <a:uLnTx/>
                <a:uFillTx/>
                <a:latin typeface="HarmonyOS Sans SC"/>
                <a:cs typeface="+mn-cs"/>
              </a:endParaRPr>
            </a:p>
          </p:txBody>
        </p:sp>
      </p:grpSp>
      <p:sp>
        <p:nvSpPr>
          <p:cNvPr id="88" name="TextBox 65">
            <a:extLst>
              <a:ext uri="{FF2B5EF4-FFF2-40B4-BE49-F238E27FC236}">
                <a16:creationId xmlns:a16="http://schemas.microsoft.com/office/drawing/2014/main" id="{61A48BD9-4721-4195-8A3F-85B9C4775B23}"/>
              </a:ext>
            </a:extLst>
          </p:cNvPr>
          <p:cNvSpPr txBox="1"/>
          <p:nvPr/>
        </p:nvSpPr>
        <p:spPr>
          <a:xfrm>
            <a:off x="2913848" y="1808013"/>
            <a:ext cx="1538928" cy="345598"/>
          </a:xfrm>
          <a:prstGeom prst="rect">
            <a:avLst/>
          </a:prstGeom>
          <a:noFill/>
        </p:spPr>
        <p:txBody>
          <a:bodyPr wrap="square" lIns="0" tIns="36000" rIns="0" bIns="36000" rtlCol="0">
            <a:spAutoFit/>
          </a:bodyPr>
          <a:lstStyle/>
          <a:p>
            <a:pPr marL="0" marR="0" lvl="0" indent="0" algn="r" defTabSz="914400" rtl="0" eaLnBrk="1" fontAlgn="auto" latinLnBrk="0" hangingPunct="1">
              <a:lnSpc>
                <a:spcPct val="120000"/>
              </a:lnSpc>
              <a:spcBef>
                <a:spcPts val="600"/>
              </a:spcBef>
              <a:spcAft>
                <a:spcPts val="0"/>
              </a:spcAft>
              <a:buClrTx/>
              <a:buSzTx/>
              <a:buFontTx/>
              <a:buNone/>
              <a:tabLst/>
              <a:defRPr/>
            </a:pPr>
            <a:r>
              <a:rPr kumimoji="0" lang="en-US" sz="1600" b="0" i="0" u="none" strike="noStrike" kern="1200" cap="none" spc="0" normalizeH="0" baseline="0" noProof="0" dirty="0">
                <a:ln>
                  <a:noFill/>
                </a:ln>
                <a:solidFill>
                  <a:schemeClr val="accent1"/>
                </a:solidFill>
                <a:effectLst/>
                <a:uLnTx/>
                <a:uFillTx/>
                <a:latin typeface="HarmonyOS Sans SC Black"/>
                <a:ea typeface="+mj-ea"/>
                <a:cs typeface="+mn-cs"/>
              </a:rPr>
              <a:t>Subtitle Here</a:t>
            </a:r>
            <a:endParaRPr kumimoji="0" lang="en-US" sz="1100" b="0" i="0" u="none" strike="noStrike" kern="1200" cap="none" spc="0" normalizeH="0" baseline="0" noProof="0" dirty="0">
              <a:ln>
                <a:noFill/>
              </a:ln>
              <a:solidFill>
                <a:schemeClr val="accent1"/>
              </a:solidFill>
              <a:effectLst/>
              <a:uLnTx/>
              <a:uFillTx/>
              <a:latin typeface="HarmonyOS Sans SC Black"/>
              <a:ea typeface="+mj-ea"/>
              <a:cs typeface="+mn-cs"/>
            </a:endParaRPr>
          </a:p>
        </p:txBody>
      </p:sp>
      <p:sp>
        <p:nvSpPr>
          <p:cNvPr id="89" name="TextBox 65">
            <a:extLst>
              <a:ext uri="{FF2B5EF4-FFF2-40B4-BE49-F238E27FC236}">
                <a16:creationId xmlns:a16="http://schemas.microsoft.com/office/drawing/2014/main" id="{F4774B5F-005D-407C-9877-364608A36892}"/>
              </a:ext>
            </a:extLst>
          </p:cNvPr>
          <p:cNvSpPr txBox="1"/>
          <p:nvPr/>
        </p:nvSpPr>
        <p:spPr>
          <a:xfrm>
            <a:off x="1263535" y="2191412"/>
            <a:ext cx="3189241" cy="259614"/>
          </a:xfrm>
          <a:prstGeom prst="rect">
            <a:avLst/>
          </a:prstGeom>
          <a:noFill/>
        </p:spPr>
        <p:txBody>
          <a:bodyPr wrap="square" lIns="0" tIns="36000" rIns="0" bIns="36000" rtlCol="0">
            <a:spAutoFit/>
          </a:bodyPr>
          <a:lstStyle/>
          <a:p>
            <a:pPr marL="0" marR="0" lvl="0" indent="0" algn="r" defTabSz="914400" rtl="0" eaLnBrk="1" fontAlgn="auto" latinLnBrk="0" hangingPunct="1">
              <a:lnSpc>
                <a:spcPct val="120000"/>
              </a:lnSpc>
              <a:spcBef>
                <a:spcPts val="600"/>
              </a:spcBef>
              <a:spcAft>
                <a:spcPts val="0"/>
              </a:spcAft>
              <a:buClrTx/>
              <a:buSzTx/>
              <a:buFontTx/>
              <a:buNone/>
              <a:tabLst/>
              <a:defRPr/>
            </a:pPr>
            <a:r>
              <a:rPr kumimoji="0" lang="en-US" sz="1100" b="0" i="0" u="none" strike="noStrike" kern="1200" cap="none" spc="0" normalizeH="0" baseline="0" noProof="0" dirty="0">
                <a:ln>
                  <a:noFill/>
                </a:ln>
                <a:solidFill>
                  <a:prstClr val="black">
                    <a:lumMod val="50000"/>
                    <a:lumOff val="50000"/>
                  </a:prstClr>
                </a:solidFill>
                <a:effectLst/>
                <a:uLnTx/>
                <a:uFillTx/>
                <a:latin typeface="HarmonyOS Sans SC"/>
                <a:cs typeface="+mn-cs"/>
              </a:rPr>
              <a:t>As the minuteness of the parts formed a great.</a:t>
            </a:r>
          </a:p>
        </p:txBody>
      </p:sp>
      <p:sp>
        <p:nvSpPr>
          <p:cNvPr id="90" name="TextBox 72">
            <a:extLst>
              <a:ext uri="{FF2B5EF4-FFF2-40B4-BE49-F238E27FC236}">
                <a16:creationId xmlns:a16="http://schemas.microsoft.com/office/drawing/2014/main" id="{49914984-FF5D-471E-ACA4-0C2C63EFE78C}"/>
              </a:ext>
            </a:extLst>
          </p:cNvPr>
          <p:cNvSpPr txBox="1"/>
          <p:nvPr/>
        </p:nvSpPr>
        <p:spPr>
          <a:xfrm flipH="1">
            <a:off x="7678979" y="2371827"/>
            <a:ext cx="1651417" cy="345598"/>
          </a:xfrm>
          <a:prstGeom prst="rect">
            <a:avLst/>
          </a:prstGeom>
          <a:noFill/>
        </p:spPr>
        <p:txBody>
          <a:bodyPr wrap="square" lIns="0" tIns="36000" rIns="0" bIns="36000" rtlCol="0">
            <a:spAutoFit/>
          </a:bodyPr>
          <a:lstStyle/>
          <a:p>
            <a:pPr marL="0" marR="0" lvl="0" indent="0" algn="l" defTabSz="914400" rtl="0" eaLnBrk="1" fontAlgn="auto" latinLnBrk="0" hangingPunct="1">
              <a:lnSpc>
                <a:spcPct val="120000"/>
              </a:lnSpc>
              <a:spcBef>
                <a:spcPts val="600"/>
              </a:spcBef>
              <a:spcAft>
                <a:spcPts val="0"/>
              </a:spcAft>
              <a:buClrTx/>
              <a:buSzTx/>
              <a:buFontTx/>
              <a:buNone/>
              <a:tabLst/>
              <a:defRPr/>
            </a:pPr>
            <a:r>
              <a:rPr kumimoji="0" lang="en-US" sz="1600" b="0" i="0" u="none" strike="noStrike" kern="1200" cap="none" spc="0" normalizeH="0" baseline="0" noProof="0" dirty="0">
                <a:ln>
                  <a:noFill/>
                </a:ln>
                <a:solidFill>
                  <a:schemeClr val="accent1"/>
                </a:solidFill>
                <a:effectLst/>
                <a:uLnTx/>
                <a:uFillTx/>
                <a:latin typeface="HarmonyOS Sans SC Black"/>
                <a:ea typeface="+mj-ea"/>
                <a:cs typeface="+mn-cs"/>
              </a:rPr>
              <a:t>Subtitle Here</a:t>
            </a:r>
            <a:endParaRPr kumimoji="0" lang="en-US" sz="1100" b="0" i="0" u="none" strike="noStrike" kern="1200" cap="none" spc="0" normalizeH="0" baseline="0" noProof="0" dirty="0">
              <a:ln>
                <a:noFill/>
              </a:ln>
              <a:solidFill>
                <a:schemeClr val="accent1"/>
              </a:solidFill>
              <a:effectLst/>
              <a:uLnTx/>
              <a:uFillTx/>
              <a:latin typeface="HarmonyOS Sans SC Black"/>
              <a:ea typeface="+mj-ea"/>
              <a:cs typeface="+mn-cs"/>
            </a:endParaRPr>
          </a:p>
        </p:txBody>
      </p:sp>
      <p:sp>
        <p:nvSpPr>
          <p:cNvPr id="91" name="TextBox 72">
            <a:extLst>
              <a:ext uri="{FF2B5EF4-FFF2-40B4-BE49-F238E27FC236}">
                <a16:creationId xmlns:a16="http://schemas.microsoft.com/office/drawing/2014/main" id="{5D67DEA6-C806-46AC-9812-D876E1E5CF59}"/>
              </a:ext>
            </a:extLst>
          </p:cNvPr>
          <p:cNvSpPr txBox="1"/>
          <p:nvPr/>
        </p:nvSpPr>
        <p:spPr>
          <a:xfrm flipH="1">
            <a:off x="7678978" y="2755226"/>
            <a:ext cx="3189547" cy="259614"/>
          </a:xfrm>
          <a:prstGeom prst="rect">
            <a:avLst/>
          </a:prstGeom>
          <a:noFill/>
        </p:spPr>
        <p:txBody>
          <a:bodyPr wrap="square" lIns="0" tIns="36000" rIns="0" bIns="36000" rtlCol="0">
            <a:spAutoFit/>
          </a:bodyPr>
          <a:lstStyle/>
          <a:p>
            <a:pPr marL="0" marR="0" lvl="0" indent="0" algn="l" defTabSz="914400" rtl="0" eaLnBrk="1" fontAlgn="auto" latinLnBrk="0" hangingPunct="1">
              <a:lnSpc>
                <a:spcPct val="120000"/>
              </a:lnSpc>
              <a:spcBef>
                <a:spcPts val="600"/>
              </a:spcBef>
              <a:spcAft>
                <a:spcPts val="0"/>
              </a:spcAft>
              <a:buClrTx/>
              <a:buSzTx/>
              <a:buFontTx/>
              <a:buNone/>
              <a:tabLst/>
              <a:defRPr/>
            </a:pPr>
            <a:r>
              <a:rPr kumimoji="0" lang="en-US" sz="1100" b="0" i="0" u="none" strike="noStrike" kern="1200" cap="none" spc="0" normalizeH="0" baseline="0" noProof="0" dirty="0">
                <a:ln>
                  <a:noFill/>
                </a:ln>
                <a:solidFill>
                  <a:prstClr val="black">
                    <a:lumMod val="50000"/>
                    <a:lumOff val="50000"/>
                  </a:prstClr>
                </a:solidFill>
                <a:effectLst/>
                <a:uLnTx/>
                <a:uFillTx/>
                <a:latin typeface="HarmonyOS Sans SC"/>
                <a:cs typeface="+mn-cs"/>
              </a:rPr>
              <a:t>As the minuteness of the parts formed a great.</a:t>
            </a:r>
          </a:p>
        </p:txBody>
      </p:sp>
      <p:sp>
        <p:nvSpPr>
          <p:cNvPr id="92" name="TextBox 65">
            <a:extLst>
              <a:ext uri="{FF2B5EF4-FFF2-40B4-BE49-F238E27FC236}">
                <a16:creationId xmlns:a16="http://schemas.microsoft.com/office/drawing/2014/main" id="{3B05787A-1CBE-45F2-AD5F-4A034635A150}"/>
              </a:ext>
            </a:extLst>
          </p:cNvPr>
          <p:cNvSpPr txBox="1"/>
          <p:nvPr/>
        </p:nvSpPr>
        <p:spPr>
          <a:xfrm>
            <a:off x="1547903" y="3058097"/>
            <a:ext cx="1538928" cy="345598"/>
          </a:xfrm>
          <a:prstGeom prst="rect">
            <a:avLst/>
          </a:prstGeom>
          <a:noFill/>
        </p:spPr>
        <p:txBody>
          <a:bodyPr wrap="square" lIns="0" tIns="36000" rIns="0" bIns="36000" rtlCol="0">
            <a:spAutoFit/>
          </a:bodyPr>
          <a:lstStyle/>
          <a:p>
            <a:pPr marL="0" marR="0" lvl="0" indent="0" algn="r" defTabSz="914400" rtl="0" eaLnBrk="1" fontAlgn="auto" latinLnBrk="0" hangingPunct="1">
              <a:lnSpc>
                <a:spcPct val="120000"/>
              </a:lnSpc>
              <a:spcBef>
                <a:spcPts val="600"/>
              </a:spcBef>
              <a:spcAft>
                <a:spcPts val="0"/>
              </a:spcAft>
              <a:buClrTx/>
              <a:buSzTx/>
              <a:buFontTx/>
              <a:buNone/>
              <a:tabLst/>
              <a:defRPr/>
            </a:pPr>
            <a:r>
              <a:rPr kumimoji="0" lang="en-US" sz="1600" b="0" i="0" u="none" strike="noStrike" kern="1200" cap="none" spc="0" normalizeH="0" baseline="0" noProof="0" dirty="0">
                <a:ln>
                  <a:noFill/>
                </a:ln>
                <a:solidFill>
                  <a:schemeClr val="accent1"/>
                </a:solidFill>
                <a:effectLst/>
                <a:uLnTx/>
                <a:uFillTx/>
                <a:latin typeface="HarmonyOS Sans SC Black"/>
                <a:ea typeface="+mj-ea"/>
                <a:cs typeface="+mn-cs"/>
              </a:rPr>
              <a:t>Subtitle Here</a:t>
            </a:r>
            <a:endParaRPr kumimoji="0" lang="en-US" sz="1100" b="0" i="0" u="none" strike="noStrike" kern="1200" cap="none" spc="0" normalizeH="0" baseline="0" noProof="0" dirty="0">
              <a:ln>
                <a:noFill/>
              </a:ln>
              <a:solidFill>
                <a:schemeClr val="accent1"/>
              </a:solidFill>
              <a:effectLst/>
              <a:uLnTx/>
              <a:uFillTx/>
              <a:latin typeface="HarmonyOS Sans SC Black"/>
              <a:ea typeface="+mj-ea"/>
              <a:cs typeface="+mn-cs"/>
            </a:endParaRPr>
          </a:p>
        </p:txBody>
      </p:sp>
      <p:sp>
        <p:nvSpPr>
          <p:cNvPr id="93" name="TextBox 65">
            <a:extLst>
              <a:ext uri="{FF2B5EF4-FFF2-40B4-BE49-F238E27FC236}">
                <a16:creationId xmlns:a16="http://schemas.microsoft.com/office/drawing/2014/main" id="{743685F3-B944-4177-A068-F219738B22A8}"/>
              </a:ext>
            </a:extLst>
          </p:cNvPr>
          <p:cNvSpPr txBox="1"/>
          <p:nvPr/>
        </p:nvSpPr>
        <p:spPr>
          <a:xfrm>
            <a:off x="1044314" y="3441496"/>
            <a:ext cx="2042517" cy="462746"/>
          </a:xfrm>
          <a:prstGeom prst="rect">
            <a:avLst/>
          </a:prstGeom>
          <a:noFill/>
        </p:spPr>
        <p:txBody>
          <a:bodyPr wrap="square" lIns="0" tIns="36000" rIns="0" bIns="36000" rtlCol="0">
            <a:spAutoFit/>
          </a:bodyPr>
          <a:lstStyle/>
          <a:p>
            <a:pPr marL="0" marR="0" lvl="0" indent="0" algn="r" defTabSz="914400" rtl="0" eaLnBrk="1" fontAlgn="auto" latinLnBrk="0" hangingPunct="1">
              <a:lnSpc>
                <a:spcPct val="120000"/>
              </a:lnSpc>
              <a:spcBef>
                <a:spcPts val="600"/>
              </a:spcBef>
              <a:spcAft>
                <a:spcPts val="0"/>
              </a:spcAft>
              <a:buClrTx/>
              <a:buSzTx/>
              <a:buFontTx/>
              <a:buNone/>
              <a:tabLst/>
              <a:defRPr/>
            </a:pPr>
            <a:r>
              <a:rPr kumimoji="0" lang="en-US" sz="1100" b="0" i="0" u="none" strike="noStrike" kern="1200" cap="none" spc="0" normalizeH="0" baseline="0" noProof="0" dirty="0">
                <a:ln>
                  <a:noFill/>
                </a:ln>
                <a:solidFill>
                  <a:prstClr val="black">
                    <a:lumMod val="50000"/>
                    <a:lumOff val="50000"/>
                  </a:prstClr>
                </a:solidFill>
                <a:effectLst/>
                <a:uLnTx/>
                <a:uFillTx/>
                <a:latin typeface="HarmonyOS Sans SC"/>
                <a:cs typeface="+mn-cs"/>
              </a:rPr>
              <a:t>As the minuteness of the parts formed a great.</a:t>
            </a:r>
          </a:p>
        </p:txBody>
      </p:sp>
      <p:sp>
        <p:nvSpPr>
          <p:cNvPr id="94" name="TextBox 72">
            <a:extLst>
              <a:ext uri="{FF2B5EF4-FFF2-40B4-BE49-F238E27FC236}">
                <a16:creationId xmlns:a16="http://schemas.microsoft.com/office/drawing/2014/main" id="{693E0712-AF09-4669-A79E-1ACAD2900703}"/>
              </a:ext>
            </a:extLst>
          </p:cNvPr>
          <p:cNvSpPr txBox="1"/>
          <p:nvPr/>
        </p:nvSpPr>
        <p:spPr>
          <a:xfrm flipH="1">
            <a:off x="9217108" y="3770869"/>
            <a:ext cx="1651417" cy="345598"/>
          </a:xfrm>
          <a:prstGeom prst="rect">
            <a:avLst/>
          </a:prstGeom>
          <a:noFill/>
        </p:spPr>
        <p:txBody>
          <a:bodyPr wrap="square" lIns="0" tIns="36000" rIns="0" bIns="36000" rtlCol="0">
            <a:spAutoFit/>
          </a:bodyPr>
          <a:lstStyle/>
          <a:p>
            <a:pPr marL="0" marR="0" lvl="0" indent="0" algn="l" defTabSz="914400" rtl="0" eaLnBrk="1" fontAlgn="auto" latinLnBrk="0" hangingPunct="1">
              <a:lnSpc>
                <a:spcPct val="120000"/>
              </a:lnSpc>
              <a:spcBef>
                <a:spcPts val="600"/>
              </a:spcBef>
              <a:spcAft>
                <a:spcPts val="0"/>
              </a:spcAft>
              <a:buClrTx/>
              <a:buSzTx/>
              <a:buFontTx/>
              <a:buNone/>
              <a:tabLst/>
              <a:defRPr/>
            </a:pPr>
            <a:r>
              <a:rPr kumimoji="0" lang="en-US" sz="1600" b="0" i="0" u="none" strike="noStrike" kern="1200" cap="none" spc="0" normalizeH="0" baseline="0" noProof="0" dirty="0">
                <a:ln>
                  <a:noFill/>
                </a:ln>
                <a:solidFill>
                  <a:schemeClr val="accent1"/>
                </a:solidFill>
                <a:effectLst/>
                <a:uLnTx/>
                <a:uFillTx/>
                <a:latin typeface="HarmonyOS Sans SC Black"/>
                <a:ea typeface="+mj-ea"/>
                <a:cs typeface="+mn-cs"/>
              </a:rPr>
              <a:t>Subtitle Here</a:t>
            </a:r>
            <a:endParaRPr kumimoji="0" lang="en-US" sz="1100" b="0" i="0" u="none" strike="noStrike" kern="1200" cap="none" spc="0" normalizeH="0" baseline="0" noProof="0" dirty="0">
              <a:ln>
                <a:noFill/>
              </a:ln>
              <a:solidFill>
                <a:schemeClr val="accent1"/>
              </a:solidFill>
              <a:effectLst/>
              <a:uLnTx/>
              <a:uFillTx/>
              <a:latin typeface="HarmonyOS Sans SC Black"/>
              <a:ea typeface="+mj-ea"/>
              <a:cs typeface="+mn-cs"/>
            </a:endParaRPr>
          </a:p>
        </p:txBody>
      </p:sp>
      <p:sp>
        <p:nvSpPr>
          <p:cNvPr id="95" name="TextBox 72">
            <a:extLst>
              <a:ext uri="{FF2B5EF4-FFF2-40B4-BE49-F238E27FC236}">
                <a16:creationId xmlns:a16="http://schemas.microsoft.com/office/drawing/2014/main" id="{5CC04555-4E89-4479-B283-5E6DA28AA1B5}"/>
              </a:ext>
            </a:extLst>
          </p:cNvPr>
          <p:cNvSpPr txBox="1"/>
          <p:nvPr/>
        </p:nvSpPr>
        <p:spPr>
          <a:xfrm flipH="1">
            <a:off x="9217107" y="4154268"/>
            <a:ext cx="1922000" cy="462746"/>
          </a:xfrm>
          <a:prstGeom prst="rect">
            <a:avLst/>
          </a:prstGeom>
          <a:noFill/>
        </p:spPr>
        <p:txBody>
          <a:bodyPr wrap="square" lIns="0" tIns="36000" rIns="0" bIns="36000" rtlCol="0">
            <a:spAutoFit/>
          </a:bodyPr>
          <a:lstStyle/>
          <a:p>
            <a:pPr marL="0" marR="0" lvl="0" indent="0" algn="l" defTabSz="914400" rtl="0" eaLnBrk="1" fontAlgn="auto" latinLnBrk="0" hangingPunct="1">
              <a:lnSpc>
                <a:spcPct val="120000"/>
              </a:lnSpc>
              <a:spcBef>
                <a:spcPts val="600"/>
              </a:spcBef>
              <a:spcAft>
                <a:spcPts val="0"/>
              </a:spcAft>
              <a:buClrTx/>
              <a:buSzTx/>
              <a:buFontTx/>
              <a:buNone/>
              <a:tabLst/>
              <a:defRPr/>
            </a:pPr>
            <a:r>
              <a:rPr kumimoji="0" lang="en-US" sz="1100" b="0" i="0" u="none" strike="noStrike" kern="1200" cap="none" spc="0" normalizeH="0" baseline="0" noProof="0" dirty="0">
                <a:ln>
                  <a:noFill/>
                </a:ln>
                <a:solidFill>
                  <a:prstClr val="black">
                    <a:lumMod val="50000"/>
                    <a:lumOff val="50000"/>
                  </a:prstClr>
                </a:solidFill>
                <a:effectLst/>
                <a:uLnTx/>
                <a:uFillTx/>
                <a:latin typeface="HarmonyOS Sans SC"/>
                <a:cs typeface="+mn-cs"/>
              </a:rPr>
              <a:t>As the minuteness of the parts formed a great.</a:t>
            </a:r>
          </a:p>
        </p:txBody>
      </p:sp>
    </p:spTree>
    <p:extLst>
      <p:ext uri="{BB962C8B-B14F-4D97-AF65-F5344CB8AC3E}">
        <p14:creationId xmlns:p14="http://schemas.microsoft.com/office/powerpoint/2010/main" val="2801570401"/>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4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306">
            <a:extLst>
              <a:ext uri="{FF2B5EF4-FFF2-40B4-BE49-F238E27FC236}">
                <a16:creationId xmlns:a16="http://schemas.microsoft.com/office/drawing/2014/main" id="{CA2AA625-6C18-4D33-AE82-FF756CB14D65}"/>
              </a:ext>
            </a:extLst>
          </p:cNvPr>
          <p:cNvSpPr>
            <a:spLocks/>
          </p:cNvSpPr>
          <p:nvPr/>
        </p:nvSpPr>
        <p:spPr bwMode="auto">
          <a:xfrm>
            <a:off x="4378829" y="2922088"/>
            <a:ext cx="7815138" cy="3935912"/>
          </a:xfrm>
          <a:custGeom>
            <a:avLst/>
            <a:gdLst>
              <a:gd name="T0" fmla="*/ 1484 w 1916"/>
              <a:gd name="T1" fmla="*/ 711 h 965"/>
              <a:gd name="T2" fmla="*/ 515 w 1916"/>
              <a:gd name="T3" fmla="*/ 310 h 965"/>
              <a:gd name="T4" fmla="*/ 282 w 1916"/>
              <a:gd name="T5" fmla="*/ 0 h 965"/>
              <a:gd name="T6" fmla="*/ 0 w 1916"/>
              <a:gd name="T7" fmla="*/ 0 h 965"/>
              <a:gd name="T8" fmla="*/ 336 w 1916"/>
              <a:gd name="T9" fmla="*/ 489 h 965"/>
              <a:gd name="T10" fmla="*/ 852 w 1916"/>
              <a:gd name="T11" fmla="*/ 837 h 965"/>
              <a:gd name="T12" fmla="*/ 1484 w 1916"/>
              <a:gd name="T13" fmla="*/ 965 h 965"/>
              <a:gd name="T14" fmla="*/ 1916 w 1916"/>
              <a:gd name="T15" fmla="*/ 965 h 965"/>
              <a:gd name="T16" fmla="*/ 1916 w 1916"/>
              <a:gd name="T17" fmla="*/ 711 h 965"/>
              <a:gd name="T18" fmla="*/ 1484 w 1916"/>
              <a:gd name="T19" fmla="*/ 711 h 9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16" h="965">
                <a:moveTo>
                  <a:pt x="1484" y="711"/>
                </a:moveTo>
                <a:cubicBezTo>
                  <a:pt x="1118" y="711"/>
                  <a:pt x="774" y="569"/>
                  <a:pt x="515" y="310"/>
                </a:cubicBezTo>
                <a:cubicBezTo>
                  <a:pt x="422" y="217"/>
                  <a:pt x="344" y="112"/>
                  <a:pt x="282" y="0"/>
                </a:cubicBezTo>
                <a:cubicBezTo>
                  <a:pt x="0" y="0"/>
                  <a:pt x="0" y="0"/>
                  <a:pt x="0" y="0"/>
                </a:cubicBezTo>
                <a:cubicBezTo>
                  <a:pt x="81" y="182"/>
                  <a:pt x="194" y="347"/>
                  <a:pt x="336" y="489"/>
                </a:cubicBezTo>
                <a:cubicBezTo>
                  <a:pt x="485" y="638"/>
                  <a:pt x="659" y="755"/>
                  <a:pt x="852" y="837"/>
                </a:cubicBezTo>
                <a:cubicBezTo>
                  <a:pt x="1053" y="922"/>
                  <a:pt x="1265" y="965"/>
                  <a:pt x="1484" y="965"/>
                </a:cubicBezTo>
                <a:cubicBezTo>
                  <a:pt x="1916" y="965"/>
                  <a:pt x="1916" y="965"/>
                  <a:pt x="1916" y="965"/>
                </a:cubicBezTo>
                <a:cubicBezTo>
                  <a:pt x="1916" y="711"/>
                  <a:pt x="1916" y="711"/>
                  <a:pt x="1916" y="711"/>
                </a:cubicBezTo>
                <a:cubicBezTo>
                  <a:pt x="1484" y="711"/>
                  <a:pt x="1484" y="711"/>
                  <a:pt x="1484" y="711"/>
                </a:cubicBezTo>
              </a:path>
            </a:pathLst>
          </a:custGeom>
          <a:gradFill>
            <a:gsLst>
              <a:gs pos="57000">
                <a:schemeClr val="accent1">
                  <a:lumMod val="60000"/>
                  <a:lumOff val="40000"/>
                </a:schemeClr>
              </a:gs>
              <a:gs pos="0">
                <a:schemeClr val="accent1"/>
              </a:gs>
              <a:gs pos="100000">
                <a:schemeClr val="accent1">
                  <a:lumMod val="40000"/>
                  <a:lumOff val="60000"/>
                </a:schemeClr>
              </a:gs>
            </a:gsLst>
            <a:lin ang="13500000" scaled="1"/>
          </a:gra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HarmonyOS Sans SC"/>
              <a:cs typeface="+mn-cs"/>
            </a:endParaRPr>
          </a:p>
        </p:txBody>
      </p:sp>
      <p:sp>
        <p:nvSpPr>
          <p:cNvPr id="4" name="Oval 312">
            <a:extLst>
              <a:ext uri="{FF2B5EF4-FFF2-40B4-BE49-F238E27FC236}">
                <a16:creationId xmlns:a16="http://schemas.microsoft.com/office/drawing/2014/main" id="{D72CA033-A951-4C4D-B525-34057DCD14C5}"/>
              </a:ext>
            </a:extLst>
          </p:cNvPr>
          <p:cNvSpPr>
            <a:spLocks noChangeArrowheads="1"/>
          </p:cNvSpPr>
          <p:nvPr/>
        </p:nvSpPr>
        <p:spPr bwMode="auto">
          <a:xfrm>
            <a:off x="4773744" y="2708571"/>
            <a:ext cx="423257" cy="42514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5" name="Oval 313">
            <a:extLst>
              <a:ext uri="{FF2B5EF4-FFF2-40B4-BE49-F238E27FC236}">
                <a16:creationId xmlns:a16="http://schemas.microsoft.com/office/drawing/2014/main" id="{4130599C-7C73-45C2-AC8B-2DB6FC4C3E5A}"/>
              </a:ext>
            </a:extLst>
          </p:cNvPr>
          <p:cNvSpPr>
            <a:spLocks noChangeArrowheads="1"/>
          </p:cNvSpPr>
          <p:nvPr/>
        </p:nvSpPr>
        <p:spPr bwMode="auto">
          <a:xfrm>
            <a:off x="4879558" y="2816273"/>
            <a:ext cx="211628" cy="211628"/>
          </a:xfrm>
          <a:prstGeom prst="ellipse">
            <a:avLst/>
          </a:prstGeom>
          <a:gradFill>
            <a:gsLst>
              <a:gs pos="73000">
                <a:schemeClr val="accent1"/>
              </a:gs>
              <a:gs pos="31000">
                <a:schemeClr val="accent1">
                  <a:lumMod val="60000"/>
                  <a:lumOff val="40000"/>
                </a:schemeClr>
              </a:gs>
              <a:gs pos="0">
                <a:schemeClr val="accent1">
                  <a:lumMod val="40000"/>
                  <a:lumOff val="60000"/>
                </a:schemeClr>
              </a:gs>
            </a:gsLst>
            <a:path path="circle">
              <a:fillToRect r="100000" b="100000"/>
            </a:path>
          </a:gradFill>
          <a:ln>
            <a:noFill/>
          </a:ln>
          <a:effectLst>
            <a:outerShdw blurRad="444500" dist="317500" dir="5400000" sx="92000" sy="92000" algn="t" rotWithShape="0">
              <a:schemeClr val="accent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7" name="Freeform 307">
            <a:extLst>
              <a:ext uri="{FF2B5EF4-FFF2-40B4-BE49-F238E27FC236}">
                <a16:creationId xmlns:a16="http://schemas.microsoft.com/office/drawing/2014/main" id="{3AB5808C-E697-44F7-A89C-1DB8EEDBFEB9}"/>
              </a:ext>
            </a:extLst>
          </p:cNvPr>
          <p:cNvSpPr>
            <a:spLocks/>
          </p:cNvSpPr>
          <p:nvPr/>
        </p:nvSpPr>
        <p:spPr bwMode="auto">
          <a:xfrm>
            <a:off x="5042058" y="1767579"/>
            <a:ext cx="7151910" cy="4066290"/>
          </a:xfrm>
          <a:custGeom>
            <a:avLst/>
            <a:gdLst>
              <a:gd name="T0" fmla="*/ 1320 w 1753"/>
              <a:gd name="T1" fmla="*/ 744 h 997"/>
              <a:gd name="T2" fmla="*/ 529 w 1753"/>
              <a:gd name="T3" fmla="*/ 416 h 997"/>
              <a:gd name="T4" fmla="*/ 266 w 1753"/>
              <a:gd name="T5" fmla="*/ 0 h 997"/>
              <a:gd name="T6" fmla="*/ 0 w 1753"/>
              <a:gd name="T7" fmla="*/ 0 h 997"/>
              <a:gd name="T8" fmla="*/ 56 w 1753"/>
              <a:gd name="T9" fmla="*/ 159 h 997"/>
              <a:gd name="T10" fmla="*/ 350 w 1753"/>
              <a:gd name="T11" fmla="*/ 595 h 997"/>
              <a:gd name="T12" fmla="*/ 786 w 1753"/>
              <a:gd name="T13" fmla="*/ 889 h 997"/>
              <a:gd name="T14" fmla="*/ 1320 w 1753"/>
              <a:gd name="T15" fmla="*/ 997 h 997"/>
              <a:gd name="T16" fmla="*/ 1753 w 1753"/>
              <a:gd name="T17" fmla="*/ 997 h 997"/>
              <a:gd name="T18" fmla="*/ 1753 w 1753"/>
              <a:gd name="T19" fmla="*/ 744 h 997"/>
              <a:gd name="T20" fmla="*/ 1320 w 1753"/>
              <a:gd name="T21" fmla="*/ 744 h 9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53" h="997">
                <a:moveTo>
                  <a:pt x="1320" y="744"/>
                </a:moveTo>
                <a:cubicBezTo>
                  <a:pt x="1022" y="744"/>
                  <a:pt x="741" y="627"/>
                  <a:pt x="529" y="416"/>
                </a:cubicBezTo>
                <a:cubicBezTo>
                  <a:pt x="410" y="297"/>
                  <a:pt x="321" y="155"/>
                  <a:pt x="266" y="0"/>
                </a:cubicBezTo>
                <a:cubicBezTo>
                  <a:pt x="0" y="0"/>
                  <a:pt x="0" y="0"/>
                  <a:pt x="0" y="0"/>
                </a:cubicBezTo>
                <a:cubicBezTo>
                  <a:pt x="16" y="54"/>
                  <a:pt x="34" y="107"/>
                  <a:pt x="56" y="159"/>
                </a:cubicBezTo>
                <a:cubicBezTo>
                  <a:pt x="125" y="322"/>
                  <a:pt x="224" y="469"/>
                  <a:pt x="350" y="595"/>
                </a:cubicBezTo>
                <a:cubicBezTo>
                  <a:pt x="476" y="721"/>
                  <a:pt x="623" y="820"/>
                  <a:pt x="786" y="889"/>
                </a:cubicBezTo>
                <a:cubicBezTo>
                  <a:pt x="956" y="961"/>
                  <a:pt x="1135" y="997"/>
                  <a:pt x="1320" y="997"/>
                </a:cubicBezTo>
                <a:cubicBezTo>
                  <a:pt x="1753" y="997"/>
                  <a:pt x="1753" y="997"/>
                  <a:pt x="1753" y="997"/>
                </a:cubicBezTo>
                <a:cubicBezTo>
                  <a:pt x="1753" y="744"/>
                  <a:pt x="1753" y="744"/>
                  <a:pt x="1753" y="744"/>
                </a:cubicBezTo>
                <a:cubicBezTo>
                  <a:pt x="1320" y="744"/>
                  <a:pt x="1320" y="744"/>
                  <a:pt x="1320" y="744"/>
                </a:cubicBezTo>
              </a:path>
            </a:pathLst>
          </a:custGeom>
          <a:gradFill>
            <a:gsLst>
              <a:gs pos="57000">
                <a:schemeClr val="accent1">
                  <a:lumMod val="60000"/>
                  <a:lumOff val="40000"/>
                </a:schemeClr>
              </a:gs>
              <a:gs pos="0">
                <a:schemeClr val="accent1"/>
              </a:gs>
              <a:gs pos="100000">
                <a:schemeClr val="accent1">
                  <a:lumMod val="40000"/>
                  <a:lumOff val="60000"/>
                </a:schemeClr>
              </a:gs>
            </a:gsLst>
            <a:lin ang="13500000" scaled="1"/>
          </a:gra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8" name="Freeform 311">
            <a:extLst>
              <a:ext uri="{FF2B5EF4-FFF2-40B4-BE49-F238E27FC236}">
                <a16:creationId xmlns:a16="http://schemas.microsoft.com/office/drawing/2014/main" id="{E1AE4892-C90B-4F10-9C98-5CC7BCFA0FD4}"/>
              </a:ext>
            </a:extLst>
          </p:cNvPr>
          <p:cNvSpPr>
            <a:spLocks/>
          </p:cNvSpPr>
          <p:nvPr/>
        </p:nvSpPr>
        <p:spPr bwMode="auto">
          <a:xfrm>
            <a:off x="5038279" y="1767580"/>
            <a:ext cx="7146241" cy="4087076"/>
          </a:xfrm>
          <a:custGeom>
            <a:avLst/>
            <a:gdLst>
              <a:gd name="T0" fmla="*/ 1301 w 1752"/>
              <a:gd name="T1" fmla="*/ 990 h 1002"/>
              <a:gd name="T2" fmla="*/ 842 w 1752"/>
              <a:gd name="T3" fmla="*/ 909 h 1002"/>
              <a:gd name="T4" fmla="*/ 453 w 1752"/>
              <a:gd name="T5" fmla="*/ 686 h 1002"/>
              <a:gd name="T6" fmla="*/ 13 w 1752"/>
              <a:gd name="T7" fmla="*/ 0 h 1002"/>
              <a:gd name="T8" fmla="*/ 0 w 1752"/>
              <a:gd name="T9" fmla="*/ 0 h 1002"/>
              <a:gd name="T10" fmla="*/ 445 w 1752"/>
              <a:gd name="T11" fmla="*/ 695 h 1002"/>
              <a:gd name="T12" fmla="*/ 838 w 1752"/>
              <a:gd name="T13" fmla="*/ 920 h 1002"/>
              <a:gd name="T14" fmla="*/ 1301 w 1752"/>
              <a:gd name="T15" fmla="*/ 1002 h 1002"/>
              <a:gd name="T16" fmla="*/ 1752 w 1752"/>
              <a:gd name="T17" fmla="*/ 1002 h 1002"/>
              <a:gd name="T18" fmla="*/ 1752 w 1752"/>
              <a:gd name="T19" fmla="*/ 990 h 1002"/>
              <a:gd name="T20" fmla="*/ 1301 w 1752"/>
              <a:gd name="T21" fmla="*/ 990 h 10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52" h="1002">
                <a:moveTo>
                  <a:pt x="1301" y="990"/>
                </a:moveTo>
                <a:cubicBezTo>
                  <a:pt x="1143" y="990"/>
                  <a:pt x="989" y="963"/>
                  <a:pt x="842" y="909"/>
                </a:cubicBezTo>
                <a:cubicBezTo>
                  <a:pt x="701" y="857"/>
                  <a:pt x="570" y="782"/>
                  <a:pt x="453" y="686"/>
                </a:cubicBezTo>
                <a:cubicBezTo>
                  <a:pt x="238" y="508"/>
                  <a:pt x="84" y="267"/>
                  <a:pt x="13" y="0"/>
                </a:cubicBezTo>
                <a:cubicBezTo>
                  <a:pt x="0" y="0"/>
                  <a:pt x="0" y="0"/>
                  <a:pt x="0" y="0"/>
                </a:cubicBezTo>
                <a:cubicBezTo>
                  <a:pt x="72" y="271"/>
                  <a:pt x="228" y="515"/>
                  <a:pt x="445" y="695"/>
                </a:cubicBezTo>
                <a:cubicBezTo>
                  <a:pt x="563" y="792"/>
                  <a:pt x="695" y="868"/>
                  <a:pt x="838" y="920"/>
                </a:cubicBezTo>
                <a:cubicBezTo>
                  <a:pt x="986" y="975"/>
                  <a:pt x="1142" y="1002"/>
                  <a:pt x="1301" y="1002"/>
                </a:cubicBezTo>
                <a:cubicBezTo>
                  <a:pt x="1752" y="1002"/>
                  <a:pt x="1752" y="1002"/>
                  <a:pt x="1752" y="1002"/>
                </a:cubicBezTo>
                <a:cubicBezTo>
                  <a:pt x="1752" y="990"/>
                  <a:pt x="1752" y="990"/>
                  <a:pt x="1752" y="990"/>
                </a:cubicBezTo>
                <a:cubicBezTo>
                  <a:pt x="1301" y="990"/>
                  <a:pt x="1301" y="990"/>
                  <a:pt x="1301" y="99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9" name="Oval 318">
            <a:extLst>
              <a:ext uri="{FF2B5EF4-FFF2-40B4-BE49-F238E27FC236}">
                <a16:creationId xmlns:a16="http://schemas.microsoft.com/office/drawing/2014/main" id="{C4A71FBA-2946-4955-89E4-596CBFABB761}"/>
              </a:ext>
            </a:extLst>
          </p:cNvPr>
          <p:cNvSpPr>
            <a:spLocks noChangeArrowheads="1"/>
          </p:cNvSpPr>
          <p:nvPr/>
        </p:nvSpPr>
        <p:spPr bwMode="auto">
          <a:xfrm>
            <a:off x="5425635" y="1550283"/>
            <a:ext cx="425147" cy="42514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10" name="Oval 319">
            <a:extLst>
              <a:ext uri="{FF2B5EF4-FFF2-40B4-BE49-F238E27FC236}">
                <a16:creationId xmlns:a16="http://schemas.microsoft.com/office/drawing/2014/main" id="{A9A7BA87-4D32-4A2E-A660-565EDCFA86C6}"/>
              </a:ext>
            </a:extLst>
          </p:cNvPr>
          <p:cNvSpPr>
            <a:spLocks noChangeArrowheads="1"/>
          </p:cNvSpPr>
          <p:nvPr/>
        </p:nvSpPr>
        <p:spPr bwMode="auto">
          <a:xfrm>
            <a:off x="5531449" y="1656097"/>
            <a:ext cx="213519" cy="213519"/>
          </a:xfrm>
          <a:prstGeom prst="ellipse">
            <a:avLst/>
          </a:prstGeom>
          <a:gradFill>
            <a:gsLst>
              <a:gs pos="73000">
                <a:schemeClr val="accent1"/>
              </a:gs>
              <a:gs pos="31000">
                <a:schemeClr val="accent1">
                  <a:lumMod val="60000"/>
                  <a:lumOff val="40000"/>
                </a:schemeClr>
              </a:gs>
              <a:gs pos="0">
                <a:schemeClr val="accent1">
                  <a:lumMod val="40000"/>
                  <a:lumOff val="60000"/>
                </a:schemeClr>
              </a:gs>
            </a:gsLst>
            <a:path path="circle">
              <a:fillToRect r="100000" b="100000"/>
            </a:path>
          </a:gradFill>
          <a:ln>
            <a:noFill/>
          </a:ln>
          <a:effectLst>
            <a:outerShdw blurRad="444500" dist="317500" dir="5400000" sx="92000" sy="92000" algn="t" rotWithShape="0">
              <a:schemeClr val="accent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12" name="Freeform 308">
            <a:extLst>
              <a:ext uri="{FF2B5EF4-FFF2-40B4-BE49-F238E27FC236}">
                <a16:creationId xmlns:a16="http://schemas.microsoft.com/office/drawing/2014/main" id="{1739DC33-AE18-4BDD-B3DB-5D13F3310070}"/>
              </a:ext>
            </a:extLst>
          </p:cNvPr>
          <p:cNvSpPr>
            <a:spLocks/>
          </p:cNvSpPr>
          <p:nvPr/>
        </p:nvSpPr>
        <p:spPr bwMode="auto">
          <a:xfrm>
            <a:off x="5879124" y="788798"/>
            <a:ext cx="6314843" cy="4024720"/>
          </a:xfrm>
          <a:custGeom>
            <a:avLst/>
            <a:gdLst>
              <a:gd name="T0" fmla="*/ 1112 w 1548"/>
              <a:gd name="T1" fmla="*/ 734 h 987"/>
              <a:gd name="T2" fmla="*/ 256 w 1548"/>
              <a:gd name="T3" fmla="*/ 0 h 987"/>
              <a:gd name="T4" fmla="*/ 0 w 1548"/>
              <a:gd name="T5" fmla="*/ 0 h 987"/>
              <a:gd name="T6" fmla="*/ 320 w 1548"/>
              <a:gd name="T7" fmla="*/ 659 h 987"/>
              <a:gd name="T8" fmla="*/ 1112 w 1548"/>
              <a:gd name="T9" fmla="*/ 987 h 987"/>
              <a:gd name="T10" fmla="*/ 1548 w 1548"/>
              <a:gd name="T11" fmla="*/ 987 h 987"/>
              <a:gd name="T12" fmla="*/ 1548 w 1548"/>
              <a:gd name="T13" fmla="*/ 734 h 987"/>
              <a:gd name="T14" fmla="*/ 1112 w 1548"/>
              <a:gd name="T15" fmla="*/ 734 h 98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48" h="987">
                <a:moveTo>
                  <a:pt x="1112" y="734"/>
                </a:moveTo>
                <a:cubicBezTo>
                  <a:pt x="679" y="734"/>
                  <a:pt x="319" y="415"/>
                  <a:pt x="256" y="0"/>
                </a:cubicBezTo>
                <a:cubicBezTo>
                  <a:pt x="0" y="0"/>
                  <a:pt x="0" y="0"/>
                  <a:pt x="0" y="0"/>
                </a:cubicBezTo>
                <a:cubicBezTo>
                  <a:pt x="29" y="249"/>
                  <a:pt x="140" y="479"/>
                  <a:pt x="320" y="659"/>
                </a:cubicBezTo>
                <a:cubicBezTo>
                  <a:pt x="532" y="871"/>
                  <a:pt x="813" y="987"/>
                  <a:pt x="1112" y="987"/>
                </a:cubicBezTo>
                <a:cubicBezTo>
                  <a:pt x="1548" y="987"/>
                  <a:pt x="1548" y="987"/>
                  <a:pt x="1548" y="987"/>
                </a:cubicBezTo>
                <a:cubicBezTo>
                  <a:pt x="1548" y="734"/>
                  <a:pt x="1548" y="734"/>
                  <a:pt x="1548" y="734"/>
                </a:cubicBezTo>
                <a:cubicBezTo>
                  <a:pt x="1112" y="734"/>
                  <a:pt x="1112" y="734"/>
                  <a:pt x="1112" y="734"/>
                </a:cubicBezTo>
              </a:path>
            </a:pathLst>
          </a:custGeom>
          <a:gradFill>
            <a:gsLst>
              <a:gs pos="57000">
                <a:schemeClr val="accent1">
                  <a:lumMod val="60000"/>
                  <a:lumOff val="40000"/>
                </a:schemeClr>
              </a:gs>
              <a:gs pos="0">
                <a:schemeClr val="accent1"/>
              </a:gs>
              <a:gs pos="100000">
                <a:schemeClr val="accent1">
                  <a:lumMod val="40000"/>
                  <a:lumOff val="60000"/>
                </a:schemeClr>
              </a:gs>
            </a:gsLst>
            <a:lin ang="13500000" scaled="1"/>
          </a:gra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white"/>
              </a:solidFill>
              <a:effectLst/>
              <a:uLnTx/>
              <a:uFillTx/>
              <a:latin typeface="HarmonyOS Sans SC"/>
              <a:cs typeface="+mn-cs"/>
            </a:endParaRPr>
          </a:p>
        </p:txBody>
      </p:sp>
      <p:sp>
        <p:nvSpPr>
          <p:cNvPr id="13" name="Freeform 310">
            <a:extLst>
              <a:ext uri="{FF2B5EF4-FFF2-40B4-BE49-F238E27FC236}">
                <a16:creationId xmlns:a16="http://schemas.microsoft.com/office/drawing/2014/main" id="{C017AABD-4E47-4E08-9C22-0390498AD3CE}"/>
              </a:ext>
            </a:extLst>
          </p:cNvPr>
          <p:cNvSpPr>
            <a:spLocks/>
          </p:cNvSpPr>
          <p:nvPr/>
        </p:nvSpPr>
        <p:spPr bwMode="auto">
          <a:xfrm>
            <a:off x="5867787" y="783128"/>
            <a:ext cx="6333738" cy="4060622"/>
          </a:xfrm>
          <a:custGeom>
            <a:avLst/>
            <a:gdLst>
              <a:gd name="T0" fmla="*/ 1100 w 1553"/>
              <a:gd name="T1" fmla="*/ 983 h 995"/>
              <a:gd name="T2" fmla="*/ 327 w 1553"/>
              <a:gd name="T3" fmla="*/ 663 h 995"/>
              <a:gd name="T4" fmla="*/ 12 w 1553"/>
              <a:gd name="T5" fmla="*/ 0 h 995"/>
              <a:gd name="T6" fmla="*/ 0 w 1553"/>
              <a:gd name="T7" fmla="*/ 0 h 995"/>
              <a:gd name="T8" fmla="*/ 319 w 1553"/>
              <a:gd name="T9" fmla="*/ 671 h 995"/>
              <a:gd name="T10" fmla="*/ 1100 w 1553"/>
              <a:gd name="T11" fmla="*/ 995 h 995"/>
              <a:gd name="T12" fmla="*/ 1553 w 1553"/>
              <a:gd name="T13" fmla="*/ 995 h 995"/>
              <a:gd name="T14" fmla="*/ 1553 w 1553"/>
              <a:gd name="T15" fmla="*/ 983 h 995"/>
              <a:gd name="T16" fmla="*/ 1100 w 1553"/>
              <a:gd name="T17" fmla="*/ 983 h 9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53" h="995">
                <a:moveTo>
                  <a:pt x="1100" y="983"/>
                </a:moveTo>
                <a:cubicBezTo>
                  <a:pt x="808" y="983"/>
                  <a:pt x="533" y="869"/>
                  <a:pt x="327" y="663"/>
                </a:cubicBezTo>
                <a:cubicBezTo>
                  <a:pt x="147" y="483"/>
                  <a:pt x="37" y="251"/>
                  <a:pt x="12" y="0"/>
                </a:cubicBezTo>
                <a:cubicBezTo>
                  <a:pt x="0" y="0"/>
                  <a:pt x="0" y="0"/>
                  <a:pt x="0" y="0"/>
                </a:cubicBezTo>
                <a:cubicBezTo>
                  <a:pt x="25" y="254"/>
                  <a:pt x="136" y="489"/>
                  <a:pt x="319" y="671"/>
                </a:cubicBezTo>
                <a:cubicBezTo>
                  <a:pt x="527" y="880"/>
                  <a:pt x="805" y="995"/>
                  <a:pt x="1100" y="995"/>
                </a:cubicBezTo>
                <a:cubicBezTo>
                  <a:pt x="1553" y="995"/>
                  <a:pt x="1553" y="995"/>
                  <a:pt x="1553" y="995"/>
                </a:cubicBezTo>
                <a:cubicBezTo>
                  <a:pt x="1553" y="983"/>
                  <a:pt x="1553" y="983"/>
                  <a:pt x="1553" y="983"/>
                </a:cubicBezTo>
                <a:cubicBezTo>
                  <a:pt x="1100" y="983"/>
                  <a:pt x="1100" y="983"/>
                  <a:pt x="1100" y="983"/>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white"/>
              </a:solidFill>
              <a:effectLst/>
              <a:uLnTx/>
              <a:uFillTx/>
              <a:latin typeface="HarmonyOS Sans SC"/>
              <a:cs typeface="+mn-cs"/>
            </a:endParaRPr>
          </a:p>
        </p:txBody>
      </p:sp>
      <p:sp>
        <p:nvSpPr>
          <p:cNvPr id="14" name="Oval 314">
            <a:extLst>
              <a:ext uri="{FF2B5EF4-FFF2-40B4-BE49-F238E27FC236}">
                <a16:creationId xmlns:a16="http://schemas.microsoft.com/office/drawing/2014/main" id="{75D6E14E-C791-4D54-A678-D66480E7B35C}"/>
              </a:ext>
            </a:extLst>
          </p:cNvPr>
          <p:cNvSpPr>
            <a:spLocks noChangeArrowheads="1"/>
          </p:cNvSpPr>
          <p:nvPr/>
        </p:nvSpPr>
        <p:spPr bwMode="auto">
          <a:xfrm>
            <a:off x="6209795" y="571501"/>
            <a:ext cx="423257" cy="42514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white"/>
              </a:solidFill>
              <a:effectLst/>
              <a:uLnTx/>
              <a:uFillTx/>
              <a:latin typeface="HarmonyOS Sans SC"/>
              <a:cs typeface="+mn-cs"/>
            </a:endParaRPr>
          </a:p>
        </p:txBody>
      </p:sp>
      <p:sp>
        <p:nvSpPr>
          <p:cNvPr id="15" name="Oval 315">
            <a:extLst>
              <a:ext uri="{FF2B5EF4-FFF2-40B4-BE49-F238E27FC236}">
                <a16:creationId xmlns:a16="http://schemas.microsoft.com/office/drawing/2014/main" id="{D3F36605-C61A-467A-982F-CEFAEF51F00A}"/>
              </a:ext>
            </a:extLst>
          </p:cNvPr>
          <p:cNvSpPr>
            <a:spLocks noChangeArrowheads="1"/>
          </p:cNvSpPr>
          <p:nvPr/>
        </p:nvSpPr>
        <p:spPr bwMode="auto">
          <a:xfrm>
            <a:off x="6315608" y="677315"/>
            <a:ext cx="211628" cy="213519"/>
          </a:xfrm>
          <a:prstGeom prst="ellipse">
            <a:avLst/>
          </a:prstGeom>
          <a:gradFill>
            <a:gsLst>
              <a:gs pos="73000">
                <a:schemeClr val="accent1"/>
              </a:gs>
              <a:gs pos="31000">
                <a:schemeClr val="accent1">
                  <a:lumMod val="60000"/>
                  <a:lumOff val="40000"/>
                </a:schemeClr>
              </a:gs>
              <a:gs pos="0">
                <a:schemeClr val="accent1">
                  <a:lumMod val="40000"/>
                  <a:lumOff val="60000"/>
                </a:schemeClr>
              </a:gs>
            </a:gsLst>
            <a:path path="circle">
              <a:fillToRect r="100000" b="100000"/>
            </a:path>
          </a:gradFill>
          <a:ln>
            <a:noFill/>
          </a:ln>
          <a:effectLst>
            <a:outerShdw blurRad="444500" dist="317500" dir="5400000" sx="92000" sy="92000" algn="t" rotWithShape="0">
              <a:schemeClr val="accent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17" name="Freeform 305">
            <a:extLst>
              <a:ext uri="{FF2B5EF4-FFF2-40B4-BE49-F238E27FC236}">
                <a16:creationId xmlns:a16="http://schemas.microsoft.com/office/drawing/2014/main" id="{ABB79D92-FC30-4A68-A110-009143373040}"/>
              </a:ext>
            </a:extLst>
          </p:cNvPr>
          <p:cNvSpPr>
            <a:spLocks/>
          </p:cNvSpPr>
          <p:nvPr/>
        </p:nvSpPr>
        <p:spPr bwMode="auto">
          <a:xfrm>
            <a:off x="7033634" y="1327316"/>
            <a:ext cx="5160335" cy="2471518"/>
          </a:xfrm>
          <a:custGeom>
            <a:avLst/>
            <a:gdLst>
              <a:gd name="T0" fmla="*/ 826 w 1265"/>
              <a:gd name="T1" fmla="*/ 353 h 606"/>
              <a:gd name="T2" fmla="*/ 272 w 1265"/>
              <a:gd name="T3" fmla="*/ 0 h 606"/>
              <a:gd name="T4" fmla="*/ 0 w 1265"/>
              <a:gd name="T5" fmla="*/ 0 h 606"/>
              <a:gd name="T6" fmla="*/ 826 w 1265"/>
              <a:gd name="T7" fmla="*/ 606 h 606"/>
              <a:gd name="T8" fmla="*/ 1265 w 1265"/>
              <a:gd name="T9" fmla="*/ 606 h 606"/>
              <a:gd name="T10" fmla="*/ 1265 w 1265"/>
              <a:gd name="T11" fmla="*/ 353 h 606"/>
              <a:gd name="T12" fmla="*/ 826 w 1265"/>
              <a:gd name="T13" fmla="*/ 353 h 606"/>
            </a:gdLst>
            <a:ahLst/>
            <a:cxnLst>
              <a:cxn ang="0">
                <a:pos x="T0" y="T1"/>
              </a:cxn>
              <a:cxn ang="0">
                <a:pos x="T2" y="T3"/>
              </a:cxn>
              <a:cxn ang="0">
                <a:pos x="T4" y="T5"/>
              </a:cxn>
              <a:cxn ang="0">
                <a:pos x="T6" y="T7"/>
              </a:cxn>
              <a:cxn ang="0">
                <a:pos x="T8" y="T9"/>
              </a:cxn>
              <a:cxn ang="0">
                <a:pos x="T10" y="T11"/>
              </a:cxn>
              <a:cxn ang="0">
                <a:pos x="T12" y="T13"/>
              </a:cxn>
            </a:cxnLst>
            <a:rect l="0" t="0" r="r" b="b"/>
            <a:pathLst>
              <a:path w="1265" h="606">
                <a:moveTo>
                  <a:pt x="826" y="353"/>
                </a:moveTo>
                <a:cubicBezTo>
                  <a:pt x="581" y="353"/>
                  <a:pt x="370" y="208"/>
                  <a:pt x="272" y="0"/>
                </a:cubicBezTo>
                <a:cubicBezTo>
                  <a:pt x="0" y="0"/>
                  <a:pt x="0" y="0"/>
                  <a:pt x="0" y="0"/>
                </a:cubicBezTo>
                <a:cubicBezTo>
                  <a:pt x="111" y="351"/>
                  <a:pt x="439" y="606"/>
                  <a:pt x="826" y="606"/>
                </a:cubicBezTo>
                <a:cubicBezTo>
                  <a:pt x="1265" y="606"/>
                  <a:pt x="1265" y="606"/>
                  <a:pt x="1265" y="606"/>
                </a:cubicBezTo>
                <a:cubicBezTo>
                  <a:pt x="1265" y="353"/>
                  <a:pt x="1265" y="353"/>
                  <a:pt x="1265" y="353"/>
                </a:cubicBezTo>
                <a:cubicBezTo>
                  <a:pt x="826" y="353"/>
                  <a:pt x="826" y="353"/>
                  <a:pt x="826" y="353"/>
                </a:cubicBezTo>
              </a:path>
            </a:pathLst>
          </a:custGeom>
          <a:gradFill>
            <a:gsLst>
              <a:gs pos="57000">
                <a:schemeClr val="accent1">
                  <a:lumMod val="60000"/>
                  <a:lumOff val="40000"/>
                </a:schemeClr>
              </a:gs>
              <a:gs pos="0">
                <a:schemeClr val="accent1"/>
              </a:gs>
              <a:gs pos="100000">
                <a:schemeClr val="accent1">
                  <a:lumMod val="40000"/>
                  <a:lumOff val="60000"/>
                </a:schemeClr>
              </a:gs>
            </a:gsLst>
            <a:lin ang="13500000" scaled="1"/>
          </a:gra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HarmonyOS Sans SC"/>
              <a:cs typeface="+mn-cs"/>
            </a:endParaRPr>
          </a:p>
        </p:txBody>
      </p:sp>
      <p:sp>
        <p:nvSpPr>
          <p:cNvPr id="18" name="Freeform 309">
            <a:extLst>
              <a:ext uri="{FF2B5EF4-FFF2-40B4-BE49-F238E27FC236}">
                <a16:creationId xmlns:a16="http://schemas.microsoft.com/office/drawing/2014/main" id="{7B5A7DC8-CEC4-4F81-A719-1248FC9ECEE3}"/>
              </a:ext>
            </a:extLst>
          </p:cNvPr>
          <p:cNvSpPr>
            <a:spLocks/>
          </p:cNvSpPr>
          <p:nvPr/>
        </p:nvSpPr>
        <p:spPr bwMode="auto">
          <a:xfrm>
            <a:off x="7044142" y="1316203"/>
            <a:ext cx="5164114" cy="2463960"/>
          </a:xfrm>
          <a:custGeom>
            <a:avLst/>
            <a:gdLst>
              <a:gd name="T0" fmla="*/ 805 w 1266"/>
              <a:gd name="T1" fmla="*/ 592 h 604"/>
              <a:gd name="T2" fmla="*/ 305 w 1266"/>
              <a:gd name="T3" fmla="*/ 424 h 604"/>
              <a:gd name="T4" fmla="*/ 13 w 1266"/>
              <a:gd name="T5" fmla="*/ 0 h 604"/>
              <a:gd name="T6" fmla="*/ 0 w 1266"/>
              <a:gd name="T7" fmla="*/ 0 h 604"/>
              <a:gd name="T8" fmla="*/ 298 w 1266"/>
              <a:gd name="T9" fmla="*/ 433 h 604"/>
              <a:gd name="T10" fmla="*/ 805 w 1266"/>
              <a:gd name="T11" fmla="*/ 604 h 604"/>
              <a:gd name="T12" fmla="*/ 1266 w 1266"/>
              <a:gd name="T13" fmla="*/ 604 h 604"/>
              <a:gd name="T14" fmla="*/ 1266 w 1266"/>
              <a:gd name="T15" fmla="*/ 592 h 604"/>
              <a:gd name="T16" fmla="*/ 805 w 1266"/>
              <a:gd name="T17" fmla="*/ 592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66" h="604">
                <a:moveTo>
                  <a:pt x="805" y="592"/>
                </a:moveTo>
                <a:cubicBezTo>
                  <a:pt x="623" y="592"/>
                  <a:pt x="450" y="534"/>
                  <a:pt x="305" y="424"/>
                </a:cubicBezTo>
                <a:cubicBezTo>
                  <a:pt x="166" y="317"/>
                  <a:pt x="62" y="167"/>
                  <a:pt x="13" y="0"/>
                </a:cubicBezTo>
                <a:cubicBezTo>
                  <a:pt x="0" y="0"/>
                  <a:pt x="0" y="0"/>
                  <a:pt x="0" y="0"/>
                </a:cubicBezTo>
                <a:cubicBezTo>
                  <a:pt x="50" y="171"/>
                  <a:pt x="156" y="325"/>
                  <a:pt x="298" y="433"/>
                </a:cubicBezTo>
                <a:cubicBezTo>
                  <a:pt x="445" y="545"/>
                  <a:pt x="620" y="604"/>
                  <a:pt x="805" y="604"/>
                </a:cubicBezTo>
                <a:cubicBezTo>
                  <a:pt x="1266" y="604"/>
                  <a:pt x="1266" y="604"/>
                  <a:pt x="1266" y="604"/>
                </a:cubicBezTo>
                <a:cubicBezTo>
                  <a:pt x="1266" y="592"/>
                  <a:pt x="1266" y="592"/>
                  <a:pt x="1266" y="592"/>
                </a:cubicBezTo>
                <a:cubicBezTo>
                  <a:pt x="805" y="592"/>
                  <a:pt x="805" y="592"/>
                  <a:pt x="805" y="592"/>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19" name="Oval 316">
            <a:extLst>
              <a:ext uri="{FF2B5EF4-FFF2-40B4-BE49-F238E27FC236}">
                <a16:creationId xmlns:a16="http://schemas.microsoft.com/office/drawing/2014/main" id="{9ED822F9-00C0-4767-B16A-8E5FEF3CF53E}"/>
              </a:ext>
            </a:extLst>
          </p:cNvPr>
          <p:cNvSpPr>
            <a:spLocks noChangeArrowheads="1"/>
          </p:cNvSpPr>
          <p:nvPr/>
        </p:nvSpPr>
        <p:spPr bwMode="auto">
          <a:xfrm>
            <a:off x="7432327" y="1110020"/>
            <a:ext cx="425147" cy="42514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20" name="Oval 317">
            <a:extLst>
              <a:ext uri="{FF2B5EF4-FFF2-40B4-BE49-F238E27FC236}">
                <a16:creationId xmlns:a16="http://schemas.microsoft.com/office/drawing/2014/main" id="{3ACB26A8-6BD1-4490-B245-9DC620B2902D}"/>
              </a:ext>
            </a:extLst>
          </p:cNvPr>
          <p:cNvSpPr>
            <a:spLocks noChangeArrowheads="1"/>
          </p:cNvSpPr>
          <p:nvPr/>
        </p:nvSpPr>
        <p:spPr bwMode="auto">
          <a:xfrm>
            <a:off x="7540030" y="1215835"/>
            <a:ext cx="211628" cy="213519"/>
          </a:xfrm>
          <a:prstGeom prst="ellipse">
            <a:avLst/>
          </a:prstGeom>
          <a:gradFill>
            <a:gsLst>
              <a:gs pos="73000">
                <a:schemeClr val="accent1"/>
              </a:gs>
              <a:gs pos="31000">
                <a:schemeClr val="accent1">
                  <a:lumMod val="60000"/>
                  <a:lumOff val="40000"/>
                </a:schemeClr>
              </a:gs>
              <a:gs pos="0">
                <a:schemeClr val="accent1">
                  <a:lumMod val="40000"/>
                  <a:lumOff val="60000"/>
                </a:schemeClr>
              </a:gs>
            </a:gsLst>
            <a:path path="circle">
              <a:fillToRect r="100000" b="100000"/>
            </a:path>
          </a:gradFill>
          <a:ln>
            <a:noFill/>
          </a:ln>
          <a:effectLst>
            <a:outerShdw blurRad="444500" dist="317500" dir="5400000" sx="92000" sy="92000" algn="t" rotWithShape="0">
              <a:schemeClr val="accent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21" name="Rectangle 416">
            <a:extLst>
              <a:ext uri="{FF2B5EF4-FFF2-40B4-BE49-F238E27FC236}">
                <a16:creationId xmlns:a16="http://schemas.microsoft.com/office/drawing/2014/main" id="{8898F4F4-E615-4200-8128-CBDF60E18496}"/>
              </a:ext>
            </a:extLst>
          </p:cNvPr>
          <p:cNvSpPr>
            <a:spLocks noChangeArrowheads="1"/>
          </p:cNvSpPr>
          <p:nvPr/>
        </p:nvSpPr>
        <p:spPr bwMode="auto">
          <a:xfrm>
            <a:off x="7563083" y="1655719"/>
            <a:ext cx="506549"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11" rtl="0" eaLnBrk="0" fontAlgn="base" latinLnBrk="0" hangingPunct="0">
              <a:lnSpc>
                <a:spcPct val="100000"/>
              </a:lnSpc>
              <a:spcBef>
                <a:spcPct val="0"/>
              </a:spcBef>
              <a:spcAft>
                <a:spcPct val="0"/>
              </a:spcAft>
              <a:buClrTx/>
              <a:buSzTx/>
              <a:buFontTx/>
              <a:buNone/>
              <a:tabLst/>
              <a:defRPr/>
            </a:pPr>
            <a:r>
              <a:rPr kumimoji="0" lang="en-US" altLang="en-US" sz="1600" b="0" i="0" u="none" strike="noStrike" kern="1200" cap="none" spc="0" normalizeH="0" baseline="0" noProof="0" dirty="0">
                <a:ln>
                  <a:noFill/>
                </a:ln>
                <a:solidFill>
                  <a:srgbClr val="FFFFFF"/>
                </a:solidFill>
                <a:effectLst/>
                <a:uLnTx/>
                <a:uFillTx/>
                <a:latin typeface="HarmonyOS Sans SC Black"/>
                <a:ea typeface="+mj-ea"/>
                <a:cs typeface="+mn-cs"/>
              </a:rPr>
              <a:t>2016</a:t>
            </a:r>
            <a:endParaRPr kumimoji="0" lang="en-US" altLang="en-US" sz="1800" b="0" i="0" u="none" strike="noStrike" kern="1200" cap="none" spc="0" normalizeH="0" baseline="0" noProof="0" dirty="0">
              <a:ln>
                <a:noFill/>
              </a:ln>
              <a:solidFill>
                <a:prstClr val="white"/>
              </a:solidFill>
              <a:effectLst/>
              <a:uLnTx/>
              <a:uFillTx/>
              <a:latin typeface="HarmonyOS Sans SC Black"/>
              <a:ea typeface="+mj-ea"/>
              <a:cs typeface="+mn-cs"/>
            </a:endParaRPr>
          </a:p>
        </p:txBody>
      </p:sp>
      <p:sp>
        <p:nvSpPr>
          <p:cNvPr id="22" name="Rectangle 417">
            <a:extLst>
              <a:ext uri="{FF2B5EF4-FFF2-40B4-BE49-F238E27FC236}">
                <a16:creationId xmlns:a16="http://schemas.microsoft.com/office/drawing/2014/main" id="{737FA07D-F1C2-44CB-8C50-A6E9E23D0DFA}"/>
              </a:ext>
            </a:extLst>
          </p:cNvPr>
          <p:cNvSpPr>
            <a:spLocks noChangeArrowheads="1"/>
          </p:cNvSpPr>
          <p:nvPr/>
        </p:nvSpPr>
        <p:spPr bwMode="auto">
          <a:xfrm>
            <a:off x="6272528" y="1117200"/>
            <a:ext cx="506549"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11" rtl="0" eaLnBrk="0" fontAlgn="base" latinLnBrk="0" hangingPunct="0">
              <a:lnSpc>
                <a:spcPct val="100000"/>
              </a:lnSpc>
              <a:spcBef>
                <a:spcPct val="0"/>
              </a:spcBef>
              <a:spcAft>
                <a:spcPct val="0"/>
              </a:spcAft>
              <a:buClrTx/>
              <a:buSzTx/>
              <a:buFontTx/>
              <a:buNone/>
              <a:tabLst/>
              <a:defRPr/>
            </a:pPr>
            <a:r>
              <a:rPr kumimoji="0" lang="en-US" altLang="en-US" sz="1600" b="0" i="0" u="none" strike="noStrike" kern="1200" cap="none" spc="0" normalizeH="0" baseline="0" noProof="0" dirty="0">
                <a:ln>
                  <a:noFill/>
                </a:ln>
                <a:solidFill>
                  <a:srgbClr val="FFFFFF"/>
                </a:solidFill>
                <a:effectLst/>
                <a:uLnTx/>
                <a:uFillTx/>
                <a:latin typeface="HarmonyOS Sans SC Black"/>
                <a:ea typeface="+mj-ea"/>
                <a:cs typeface="+mn-cs"/>
              </a:rPr>
              <a:t>2015</a:t>
            </a:r>
            <a:endParaRPr kumimoji="0" lang="en-US" altLang="en-US" sz="1800" b="0" i="0" u="none" strike="noStrike" kern="1200" cap="none" spc="0" normalizeH="0" baseline="0" noProof="0" dirty="0">
              <a:ln>
                <a:noFill/>
              </a:ln>
              <a:solidFill>
                <a:prstClr val="white"/>
              </a:solidFill>
              <a:effectLst/>
              <a:uLnTx/>
              <a:uFillTx/>
              <a:latin typeface="HarmonyOS Sans SC Black"/>
              <a:ea typeface="+mj-ea"/>
              <a:cs typeface="+mn-cs"/>
            </a:endParaRPr>
          </a:p>
        </p:txBody>
      </p:sp>
      <p:sp>
        <p:nvSpPr>
          <p:cNvPr id="23" name="Rectangle 418">
            <a:extLst>
              <a:ext uri="{FF2B5EF4-FFF2-40B4-BE49-F238E27FC236}">
                <a16:creationId xmlns:a16="http://schemas.microsoft.com/office/drawing/2014/main" id="{892EEB8B-ACE9-4831-B929-99F74DD76107}"/>
              </a:ext>
            </a:extLst>
          </p:cNvPr>
          <p:cNvSpPr>
            <a:spLocks noChangeArrowheads="1"/>
          </p:cNvSpPr>
          <p:nvPr/>
        </p:nvSpPr>
        <p:spPr bwMode="auto">
          <a:xfrm>
            <a:off x="5490257" y="2111097"/>
            <a:ext cx="506549"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11" rtl="0" eaLnBrk="0" fontAlgn="base" latinLnBrk="0" hangingPunct="0">
              <a:lnSpc>
                <a:spcPct val="100000"/>
              </a:lnSpc>
              <a:spcBef>
                <a:spcPct val="0"/>
              </a:spcBef>
              <a:spcAft>
                <a:spcPct val="0"/>
              </a:spcAft>
              <a:buClrTx/>
              <a:buSzTx/>
              <a:buFontTx/>
              <a:buNone/>
              <a:tabLst/>
              <a:defRPr/>
            </a:pPr>
            <a:r>
              <a:rPr kumimoji="0" lang="en-US" altLang="en-US" sz="1600" b="0" i="0" u="none" strike="noStrike" kern="1200" cap="none" spc="0" normalizeH="0" baseline="0" noProof="0" dirty="0">
                <a:ln>
                  <a:noFill/>
                </a:ln>
                <a:solidFill>
                  <a:srgbClr val="FFFFFF"/>
                </a:solidFill>
                <a:effectLst/>
                <a:uLnTx/>
                <a:uFillTx/>
                <a:latin typeface="HarmonyOS Sans SC Black"/>
                <a:ea typeface="+mj-ea"/>
                <a:cs typeface="+mn-cs"/>
              </a:rPr>
              <a:t>2010</a:t>
            </a:r>
            <a:endParaRPr kumimoji="0" lang="en-US" altLang="en-US" sz="1800" b="0" i="0" u="none" strike="noStrike" kern="1200" cap="none" spc="0" normalizeH="0" baseline="0" noProof="0" dirty="0">
              <a:ln>
                <a:noFill/>
              </a:ln>
              <a:solidFill>
                <a:prstClr val="white"/>
              </a:solidFill>
              <a:effectLst/>
              <a:uLnTx/>
              <a:uFillTx/>
              <a:latin typeface="HarmonyOS Sans SC Black"/>
              <a:ea typeface="+mj-ea"/>
              <a:cs typeface="+mn-cs"/>
            </a:endParaRPr>
          </a:p>
        </p:txBody>
      </p:sp>
      <p:sp>
        <p:nvSpPr>
          <p:cNvPr id="24" name="Rectangle 419">
            <a:extLst>
              <a:ext uri="{FF2B5EF4-FFF2-40B4-BE49-F238E27FC236}">
                <a16:creationId xmlns:a16="http://schemas.microsoft.com/office/drawing/2014/main" id="{50135C7C-D858-4730-96F0-5194A1F56F53}"/>
              </a:ext>
            </a:extLst>
          </p:cNvPr>
          <p:cNvSpPr>
            <a:spLocks noChangeArrowheads="1"/>
          </p:cNvSpPr>
          <p:nvPr/>
        </p:nvSpPr>
        <p:spPr bwMode="auto">
          <a:xfrm>
            <a:off x="4902610" y="3254269"/>
            <a:ext cx="506549"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11" rtl="0" eaLnBrk="0" fontAlgn="base" latinLnBrk="0" hangingPunct="0">
              <a:lnSpc>
                <a:spcPct val="100000"/>
              </a:lnSpc>
              <a:spcBef>
                <a:spcPct val="0"/>
              </a:spcBef>
              <a:spcAft>
                <a:spcPct val="0"/>
              </a:spcAft>
              <a:buClrTx/>
              <a:buSzTx/>
              <a:buFontTx/>
              <a:buNone/>
              <a:tabLst/>
              <a:defRPr/>
            </a:pPr>
            <a:r>
              <a:rPr kumimoji="0" lang="en-US" altLang="en-US" sz="1600" b="0" i="0" u="none" strike="noStrike" kern="1200" cap="none" spc="0" normalizeH="0" baseline="0" noProof="0" dirty="0">
                <a:ln>
                  <a:noFill/>
                </a:ln>
                <a:solidFill>
                  <a:srgbClr val="FFFFFF"/>
                </a:solidFill>
                <a:effectLst/>
                <a:uLnTx/>
                <a:uFillTx/>
                <a:latin typeface="HarmonyOS Sans SC Black"/>
                <a:ea typeface="+mj-ea"/>
                <a:cs typeface="+mn-cs"/>
              </a:rPr>
              <a:t>2005</a:t>
            </a:r>
            <a:endParaRPr kumimoji="0" lang="en-US" altLang="en-US" sz="1800" b="0" i="0" u="none" strike="noStrike" kern="1200" cap="none" spc="0" normalizeH="0" baseline="0" noProof="0" dirty="0">
              <a:ln>
                <a:noFill/>
              </a:ln>
              <a:solidFill>
                <a:prstClr val="white"/>
              </a:solidFill>
              <a:effectLst/>
              <a:uLnTx/>
              <a:uFillTx/>
              <a:latin typeface="HarmonyOS Sans SC Black"/>
              <a:ea typeface="+mj-ea"/>
              <a:cs typeface="+mn-cs"/>
            </a:endParaRPr>
          </a:p>
        </p:txBody>
      </p:sp>
      <p:sp>
        <p:nvSpPr>
          <p:cNvPr id="25" name="Freeform 420">
            <a:extLst>
              <a:ext uri="{FF2B5EF4-FFF2-40B4-BE49-F238E27FC236}">
                <a16:creationId xmlns:a16="http://schemas.microsoft.com/office/drawing/2014/main" id="{5156631D-B92F-4934-A622-1B1184881EE5}"/>
              </a:ext>
            </a:extLst>
          </p:cNvPr>
          <p:cNvSpPr>
            <a:spLocks noEditPoints="1"/>
          </p:cNvSpPr>
          <p:nvPr/>
        </p:nvSpPr>
        <p:spPr bwMode="auto">
          <a:xfrm>
            <a:off x="5741188" y="2166272"/>
            <a:ext cx="3756406" cy="2766286"/>
          </a:xfrm>
          <a:custGeom>
            <a:avLst/>
            <a:gdLst>
              <a:gd name="T0" fmla="*/ 6 w 921"/>
              <a:gd name="T1" fmla="*/ 678 h 678"/>
              <a:gd name="T2" fmla="*/ 6 w 921"/>
              <a:gd name="T3" fmla="*/ 678 h 678"/>
              <a:gd name="T4" fmla="*/ 6 w 921"/>
              <a:gd name="T5" fmla="*/ 678 h 678"/>
              <a:gd name="T6" fmla="*/ 5 w 921"/>
              <a:gd name="T7" fmla="*/ 677 h 678"/>
              <a:gd name="T8" fmla="*/ 6 w 921"/>
              <a:gd name="T9" fmla="*/ 677 h 678"/>
              <a:gd name="T10" fmla="*/ 5 w 921"/>
              <a:gd name="T11" fmla="*/ 677 h 678"/>
              <a:gd name="T12" fmla="*/ 5 w 921"/>
              <a:gd name="T13" fmla="*/ 676 h 678"/>
              <a:gd name="T14" fmla="*/ 5 w 921"/>
              <a:gd name="T15" fmla="*/ 677 h 678"/>
              <a:gd name="T16" fmla="*/ 5 w 921"/>
              <a:gd name="T17" fmla="*/ 676 h 678"/>
              <a:gd name="T18" fmla="*/ 4 w 921"/>
              <a:gd name="T19" fmla="*/ 675 h 678"/>
              <a:gd name="T20" fmla="*/ 4 w 921"/>
              <a:gd name="T21" fmla="*/ 676 h 678"/>
              <a:gd name="T22" fmla="*/ 4 w 921"/>
              <a:gd name="T23" fmla="*/ 675 h 678"/>
              <a:gd name="T24" fmla="*/ 2 w 921"/>
              <a:gd name="T25" fmla="*/ 674 h 678"/>
              <a:gd name="T26" fmla="*/ 3 w 921"/>
              <a:gd name="T27" fmla="*/ 675 h 678"/>
              <a:gd name="T28" fmla="*/ 2 w 921"/>
              <a:gd name="T29" fmla="*/ 674 h 678"/>
              <a:gd name="T30" fmla="*/ 1 w 921"/>
              <a:gd name="T31" fmla="*/ 673 h 678"/>
              <a:gd name="T32" fmla="*/ 1 w 921"/>
              <a:gd name="T33" fmla="*/ 673 h 678"/>
              <a:gd name="T34" fmla="*/ 1 w 921"/>
              <a:gd name="T35" fmla="*/ 673 h 678"/>
              <a:gd name="T36" fmla="*/ 0 w 921"/>
              <a:gd name="T37" fmla="*/ 672 h 678"/>
              <a:gd name="T38" fmla="*/ 0 w 921"/>
              <a:gd name="T39" fmla="*/ 672 h 678"/>
              <a:gd name="T40" fmla="*/ 0 w 921"/>
              <a:gd name="T41" fmla="*/ 672 h 678"/>
              <a:gd name="T42" fmla="*/ 746 w 921"/>
              <a:gd name="T43" fmla="*/ 0 h 678"/>
              <a:gd name="T44" fmla="*/ 746 w 921"/>
              <a:gd name="T45" fmla="*/ 0 h 678"/>
              <a:gd name="T46" fmla="*/ 921 w 921"/>
              <a:gd name="T47" fmla="*/ 105 h 678"/>
              <a:gd name="T48" fmla="*/ 921 w 921"/>
              <a:gd name="T49" fmla="*/ 105 h 678"/>
              <a:gd name="T50" fmla="*/ 746 w 921"/>
              <a:gd name="T51" fmla="*/ 0 h 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21" h="678">
                <a:moveTo>
                  <a:pt x="6" y="678"/>
                </a:moveTo>
                <a:cubicBezTo>
                  <a:pt x="6" y="678"/>
                  <a:pt x="6" y="678"/>
                  <a:pt x="6" y="678"/>
                </a:cubicBezTo>
                <a:cubicBezTo>
                  <a:pt x="6" y="678"/>
                  <a:pt x="6" y="678"/>
                  <a:pt x="6" y="678"/>
                </a:cubicBezTo>
                <a:moveTo>
                  <a:pt x="5" y="677"/>
                </a:moveTo>
                <a:cubicBezTo>
                  <a:pt x="6" y="677"/>
                  <a:pt x="6" y="677"/>
                  <a:pt x="6" y="677"/>
                </a:cubicBezTo>
                <a:cubicBezTo>
                  <a:pt x="6" y="677"/>
                  <a:pt x="5" y="677"/>
                  <a:pt x="5" y="677"/>
                </a:cubicBezTo>
                <a:moveTo>
                  <a:pt x="5" y="676"/>
                </a:moveTo>
                <a:cubicBezTo>
                  <a:pt x="5" y="676"/>
                  <a:pt x="5" y="676"/>
                  <a:pt x="5" y="677"/>
                </a:cubicBezTo>
                <a:cubicBezTo>
                  <a:pt x="5" y="676"/>
                  <a:pt x="5" y="676"/>
                  <a:pt x="5" y="676"/>
                </a:cubicBezTo>
                <a:moveTo>
                  <a:pt x="4" y="675"/>
                </a:moveTo>
                <a:cubicBezTo>
                  <a:pt x="4" y="676"/>
                  <a:pt x="4" y="676"/>
                  <a:pt x="4" y="676"/>
                </a:cubicBezTo>
                <a:cubicBezTo>
                  <a:pt x="4" y="676"/>
                  <a:pt x="4" y="676"/>
                  <a:pt x="4" y="675"/>
                </a:cubicBezTo>
                <a:moveTo>
                  <a:pt x="2" y="674"/>
                </a:moveTo>
                <a:cubicBezTo>
                  <a:pt x="2" y="674"/>
                  <a:pt x="3" y="675"/>
                  <a:pt x="3" y="675"/>
                </a:cubicBezTo>
                <a:cubicBezTo>
                  <a:pt x="3" y="675"/>
                  <a:pt x="2" y="674"/>
                  <a:pt x="2" y="674"/>
                </a:cubicBezTo>
                <a:moveTo>
                  <a:pt x="1" y="673"/>
                </a:moveTo>
                <a:cubicBezTo>
                  <a:pt x="1" y="673"/>
                  <a:pt x="1" y="673"/>
                  <a:pt x="1" y="673"/>
                </a:cubicBezTo>
                <a:cubicBezTo>
                  <a:pt x="1" y="673"/>
                  <a:pt x="1" y="673"/>
                  <a:pt x="1" y="673"/>
                </a:cubicBezTo>
                <a:moveTo>
                  <a:pt x="0" y="672"/>
                </a:moveTo>
                <a:cubicBezTo>
                  <a:pt x="0" y="672"/>
                  <a:pt x="0" y="672"/>
                  <a:pt x="0" y="672"/>
                </a:cubicBezTo>
                <a:cubicBezTo>
                  <a:pt x="0" y="672"/>
                  <a:pt x="0" y="672"/>
                  <a:pt x="0" y="672"/>
                </a:cubicBezTo>
                <a:moveTo>
                  <a:pt x="746" y="0"/>
                </a:moveTo>
                <a:cubicBezTo>
                  <a:pt x="746" y="0"/>
                  <a:pt x="746" y="0"/>
                  <a:pt x="746" y="0"/>
                </a:cubicBezTo>
                <a:cubicBezTo>
                  <a:pt x="798" y="44"/>
                  <a:pt x="857" y="80"/>
                  <a:pt x="921" y="105"/>
                </a:cubicBezTo>
                <a:cubicBezTo>
                  <a:pt x="921" y="105"/>
                  <a:pt x="921" y="105"/>
                  <a:pt x="921" y="105"/>
                </a:cubicBezTo>
                <a:cubicBezTo>
                  <a:pt x="857" y="80"/>
                  <a:pt x="798" y="44"/>
                  <a:pt x="746"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26" name="Freeform 421">
            <a:extLst>
              <a:ext uri="{FF2B5EF4-FFF2-40B4-BE49-F238E27FC236}">
                <a16:creationId xmlns:a16="http://schemas.microsoft.com/office/drawing/2014/main" id="{4B282786-8104-4C44-91D8-428B52422BB6}"/>
              </a:ext>
            </a:extLst>
          </p:cNvPr>
          <p:cNvSpPr>
            <a:spLocks/>
          </p:cNvSpPr>
          <p:nvPr/>
        </p:nvSpPr>
        <p:spPr bwMode="auto">
          <a:xfrm>
            <a:off x="7970846" y="2166272"/>
            <a:ext cx="1526748" cy="1337794"/>
          </a:xfrm>
          <a:custGeom>
            <a:avLst/>
            <a:gdLst>
              <a:gd name="T0" fmla="*/ 199 w 374"/>
              <a:gd name="T1" fmla="*/ 0 h 328"/>
              <a:gd name="T2" fmla="*/ 0 w 374"/>
              <a:gd name="T3" fmla="*/ 154 h 328"/>
              <a:gd name="T4" fmla="*/ 74 w 374"/>
              <a:gd name="T5" fmla="*/ 218 h 328"/>
              <a:gd name="T6" fmla="*/ 270 w 374"/>
              <a:gd name="T7" fmla="*/ 328 h 328"/>
              <a:gd name="T8" fmla="*/ 374 w 374"/>
              <a:gd name="T9" fmla="*/ 105 h 328"/>
              <a:gd name="T10" fmla="*/ 199 w 374"/>
              <a:gd name="T11" fmla="*/ 0 h 328"/>
            </a:gdLst>
            <a:ahLst/>
            <a:cxnLst>
              <a:cxn ang="0">
                <a:pos x="T0" y="T1"/>
              </a:cxn>
              <a:cxn ang="0">
                <a:pos x="T2" y="T3"/>
              </a:cxn>
              <a:cxn ang="0">
                <a:pos x="T4" y="T5"/>
              </a:cxn>
              <a:cxn ang="0">
                <a:pos x="T6" y="T7"/>
              </a:cxn>
              <a:cxn ang="0">
                <a:pos x="T8" y="T9"/>
              </a:cxn>
              <a:cxn ang="0">
                <a:pos x="T10" y="T11"/>
              </a:cxn>
            </a:cxnLst>
            <a:rect l="0" t="0" r="r" b="b"/>
            <a:pathLst>
              <a:path w="374" h="328">
                <a:moveTo>
                  <a:pt x="199" y="0"/>
                </a:moveTo>
                <a:cubicBezTo>
                  <a:pt x="0" y="154"/>
                  <a:pt x="0" y="154"/>
                  <a:pt x="0" y="154"/>
                </a:cubicBezTo>
                <a:cubicBezTo>
                  <a:pt x="23" y="176"/>
                  <a:pt x="48" y="198"/>
                  <a:pt x="74" y="218"/>
                </a:cubicBezTo>
                <a:cubicBezTo>
                  <a:pt x="135" y="264"/>
                  <a:pt x="201" y="301"/>
                  <a:pt x="270" y="328"/>
                </a:cubicBezTo>
                <a:cubicBezTo>
                  <a:pt x="374" y="105"/>
                  <a:pt x="374" y="105"/>
                  <a:pt x="374" y="105"/>
                </a:cubicBezTo>
                <a:cubicBezTo>
                  <a:pt x="310" y="80"/>
                  <a:pt x="251" y="44"/>
                  <a:pt x="199" y="0"/>
                </a:cubicBezTo>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27" name="Freeform 422">
            <a:extLst>
              <a:ext uri="{FF2B5EF4-FFF2-40B4-BE49-F238E27FC236}">
                <a16:creationId xmlns:a16="http://schemas.microsoft.com/office/drawing/2014/main" id="{383BD3FB-407B-4960-9560-6D3595C9ABE7}"/>
              </a:ext>
            </a:extLst>
          </p:cNvPr>
          <p:cNvSpPr>
            <a:spLocks/>
          </p:cNvSpPr>
          <p:nvPr/>
        </p:nvSpPr>
        <p:spPr bwMode="auto">
          <a:xfrm>
            <a:off x="5527670" y="4080377"/>
            <a:ext cx="2651025" cy="2214541"/>
          </a:xfrm>
          <a:custGeom>
            <a:avLst/>
            <a:gdLst>
              <a:gd name="T0" fmla="*/ 191 w 650"/>
              <a:gd name="T1" fmla="*/ 0 h 543"/>
              <a:gd name="T2" fmla="*/ 0 w 650"/>
              <a:gd name="T3" fmla="*/ 148 h 543"/>
              <a:gd name="T4" fmla="*/ 52 w 650"/>
              <a:gd name="T5" fmla="*/ 203 h 543"/>
              <a:gd name="T6" fmla="*/ 52 w 650"/>
              <a:gd name="T7" fmla="*/ 203 h 543"/>
              <a:gd name="T8" fmla="*/ 53 w 650"/>
              <a:gd name="T9" fmla="*/ 204 h 543"/>
              <a:gd name="T10" fmla="*/ 53 w 650"/>
              <a:gd name="T11" fmla="*/ 204 h 543"/>
              <a:gd name="T12" fmla="*/ 54 w 650"/>
              <a:gd name="T13" fmla="*/ 205 h 543"/>
              <a:gd name="T14" fmla="*/ 54 w 650"/>
              <a:gd name="T15" fmla="*/ 205 h 543"/>
              <a:gd name="T16" fmla="*/ 55 w 650"/>
              <a:gd name="T17" fmla="*/ 206 h 543"/>
              <a:gd name="T18" fmla="*/ 56 w 650"/>
              <a:gd name="T19" fmla="*/ 206 h 543"/>
              <a:gd name="T20" fmla="*/ 56 w 650"/>
              <a:gd name="T21" fmla="*/ 207 h 543"/>
              <a:gd name="T22" fmla="*/ 57 w 650"/>
              <a:gd name="T23" fmla="*/ 207 h 543"/>
              <a:gd name="T24" fmla="*/ 57 w 650"/>
              <a:gd name="T25" fmla="*/ 208 h 543"/>
              <a:gd name="T26" fmla="*/ 57 w 650"/>
              <a:gd name="T27" fmla="*/ 208 h 543"/>
              <a:gd name="T28" fmla="*/ 58 w 650"/>
              <a:gd name="T29" fmla="*/ 208 h 543"/>
              <a:gd name="T30" fmla="*/ 58 w 650"/>
              <a:gd name="T31" fmla="*/ 209 h 543"/>
              <a:gd name="T32" fmla="*/ 58 w 650"/>
              <a:gd name="T33" fmla="*/ 209 h 543"/>
              <a:gd name="T34" fmla="*/ 549 w 650"/>
              <a:gd name="T35" fmla="*/ 543 h 543"/>
              <a:gd name="T36" fmla="*/ 650 w 650"/>
              <a:gd name="T37" fmla="*/ 326 h 543"/>
              <a:gd name="T38" fmla="*/ 325 w 650"/>
              <a:gd name="T39" fmla="*/ 128 h 543"/>
              <a:gd name="T40" fmla="*/ 191 w 650"/>
              <a:gd name="T41" fmla="*/ 0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0" h="543">
                <a:moveTo>
                  <a:pt x="191" y="0"/>
                </a:moveTo>
                <a:cubicBezTo>
                  <a:pt x="0" y="148"/>
                  <a:pt x="0" y="148"/>
                  <a:pt x="0" y="148"/>
                </a:cubicBezTo>
                <a:cubicBezTo>
                  <a:pt x="17" y="167"/>
                  <a:pt x="34" y="185"/>
                  <a:pt x="52" y="203"/>
                </a:cubicBezTo>
                <a:cubicBezTo>
                  <a:pt x="52" y="203"/>
                  <a:pt x="52" y="203"/>
                  <a:pt x="52" y="203"/>
                </a:cubicBezTo>
                <a:cubicBezTo>
                  <a:pt x="53" y="203"/>
                  <a:pt x="53" y="204"/>
                  <a:pt x="53" y="204"/>
                </a:cubicBezTo>
                <a:cubicBezTo>
                  <a:pt x="53" y="204"/>
                  <a:pt x="53" y="204"/>
                  <a:pt x="53" y="204"/>
                </a:cubicBezTo>
                <a:cubicBezTo>
                  <a:pt x="54" y="204"/>
                  <a:pt x="54" y="205"/>
                  <a:pt x="54" y="205"/>
                </a:cubicBezTo>
                <a:cubicBezTo>
                  <a:pt x="54" y="205"/>
                  <a:pt x="54" y="205"/>
                  <a:pt x="54" y="205"/>
                </a:cubicBezTo>
                <a:cubicBezTo>
                  <a:pt x="54" y="205"/>
                  <a:pt x="55" y="206"/>
                  <a:pt x="55" y="206"/>
                </a:cubicBezTo>
                <a:cubicBezTo>
                  <a:pt x="55" y="206"/>
                  <a:pt x="55" y="206"/>
                  <a:pt x="56" y="206"/>
                </a:cubicBezTo>
                <a:cubicBezTo>
                  <a:pt x="56" y="207"/>
                  <a:pt x="56" y="207"/>
                  <a:pt x="56" y="207"/>
                </a:cubicBezTo>
                <a:cubicBezTo>
                  <a:pt x="56" y="207"/>
                  <a:pt x="56" y="207"/>
                  <a:pt x="57" y="207"/>
                </a:cubicBezTo>
                <a:cubicBezTo>
                  <a:pt x="57" y="207"/>
                  <a:pt x="57" y="207"/>
                  <a:pt x="57" y="208"/>
                </a:cubicBezTo>
                <a:cubicBezTo>
                  <a:pt x="57" y="208"/>
                  <a:pt x="57" y="208"/>
                  <a:pt x="57" y="208"/>
                </a:cubicBezTo>
                <a:cubicBezTo>
                  <a:pt x="57" y="208"/>
                  <a:pt x="58" y="208"/>
                  <a:pt x="58" y="208"/>
                </a:cubicBezTo>
                <a:cubicBezTo>
                  <a:pt x="58" y="209"/>
                  <a:pt x="58" y="209"/>
                  <a:pt x="58" y="209"/>
                </a:cubicBezTo>
                <a:cubicBezTo>
                  <a:pt x="58" y="209"/>
                  <a:pt x="58" y="209"/>
                  <a:pt x="58" y="209"/>
                </a:cubicBezTo>
                <a:cubicBezTo>
                  <a:pt x="201" y="351"/>
                  <a:pt x="366" y="463"/>
                  <a:pt x="549" y="543"/>
                </a:cubicBezTo>
                <a:cubicBezTo>
                  <a:pt x="650" y="326"/>
                  <a:pt x="650" y="326"/>
                  <a:pt x="650" y="326"/>
                </a:cubicBezTo>
                <a:cubicBezTo>
                  <a:pt x="533" y="276"/>
                  <a:pt x="424" y="210"/>
                  <a:pt x="325" y="128"/>
                </a:cubicBezTo>
                <a:cubicBezTo>
                  <a:pt x="277" y="88"/>
                  <a:pt x="232" y="46"/>
                  <a:pt x="191" y="0"/>
                </a:cubicBezTo>
              </a:path>
            </a:pathLst>
          </a:custGeom>
          <a:solidFill>
            <a:schemeClr val="bg1">
              <a:alpha val="10000"/>
            </a:schemeClr>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28" name="Freeform 423">
            <a:extLst>
              <a:ext uri="{FF2B5EF4-FFF2-40B4-BE49-F238E27FC236}">
                <a16:creationId xmlns:a16="http://schemas.microsoft.com/office/drawing/2014/main" id="{EBAC5003-870A-49C4-AD9C-19872CEDC729}"/>
              </a:ext>
            </a:extLst>
          </p:cNvPr>
          <p:cNvSpPr>
            <a:spLocks/>
          </p:cNvSpPr>
          <p:nvPr/>
        </p:nvSpPr>
        <p:spPr bwMode="auto">
          <a:xfrm>
            <a:off x="6343952" y="3464387"/>
            <a:ext cx="2263669" cy="1900877"/>
          </a:xfrm>
          <a:custGeom>
            <a:avLst/>
            <a:gdLst>
              <a:gd name="T0" fmla="*/ 187 w 555"/>
              <a:gd name="T1" fmla="*/ 0 h 466"/>
              <a:gd name="T2" fmla="*/ 0 w 555"/>
              <a:gd name="T3" fmla="*/ 144 h 466"/>
              <a:gd name="T4" fmla="*/ 133 w 555"/>
              <a:gd name="T5" fmla="*/ 270 h 466"/>
              <a:gd name="T6" fmla="*/ 455 w 555"/>
              <a:gd name="T7" fmla="*/ 466 h 466"/>
              <a:gd name="T8" fmla="*/ 555 w 555"/>
              <a:gd name="T9" fmla="*/ 253 h 466"/>
              <a:gd name="T10" fmla="*/ 202 w 555"/>
              <a:gd name="T11" fmla="*/ 14 h 466"/>
              <a:gd name="T12" fmla="*/ 187 w 555"/>
              <a:gd name="T13" fmla="*/ 0 h 466"/>
            </a:gdLst>
            <a:ahLst/>
            <a:cxnLst>
              <a:cxn ang="0">
                <a:pos x="T0" y="T1"/>
              </a:cxn>
              <a:cxn ang="0">
                <a:pos x="T2" y="T3"/>
              </a:cxn>
              <a:cxn ang="0">
                <a:pos x="T4" y="T5"/>
              </a:cxn>
              <a:cxn ang="0">
                <a:pos x="T6" y="T7"/>
              </a:cxn>
              <a:cxn ang="0">
                <a:pos x="T8" y="T9"/>
              </a:cxn>
              <a:cxn ang="0">
                <a:pos x="T10" y="T11"/>
              </a:cxn>
              <a:cxn ang="0">
                <a:pos x="T12" y="T13"/>
              </a:cxn>
            </a:cxnLst>
            <a:rect l="0" t="0" r="r" b="b"/>
            <a:pathLst>
              <a:path w="555" h="466">
                <a:moveTo>
                  <a:pt x="187" y="0"/>
                </a:moveTo>
                <a:cubicBezTo>
                  <a:pt x="0" y="144"/>
                  <a:pt x="0" y="144"/>
                  <a:pt x="0" y="144"/>
                </a:cubicBezTo>
                <a:cubicBezTo>
                  <a:pt x="41" y="189"/>
                  <a:pt x="86" y="231"/>
                  <a:pt x="133" y="270"/>
                </a:cubicBezTo>
                <a:cubicBezTo>
                  <a:pt x="231" y="351"/>
                  <a:pt x="339" y="417"/>
                  <a:pt x="455" y="466"/>
                </a:cubicBezTo>
                <a:cubicBezTo>
                  <a:pt x="555" y="253"/>
                  <a:pt x="555" y="253"/>
                  <a:pt x="555" y="253"/>
                </a:cubicBezTo>
                <a:cubicBezTo>
                  <a:pt x="425" y="198"/>
                  <a:pt x="305" y="118"/>
                  <a:pt x="202" y="14"/>
                </a:cubicBezTo>
                <a:cubicBezTo>
                  <a:pt x="197" y="10"/>
                  <a:pt x="192" y="5"/>
                  <a:pt x="187" y="0"/>
                </a:cubicBezTo>
              </a:path>
            </a:pathLst>
          </a:custGeom>
          <a:solidFill>
            <a:schemeClr val="bg1">
              <a:alpha val="10000"/>
            </a:schemeClr>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29" name="Freeform 424">
            <a:extLst>
              <a:ext uri="{FF2B5EF4-FFF2-40B4-BE49-F238E27FC236}">
                <a16:creationId xmlns:a16="http://schemas.microsoft.com/office/drawing/2014/main" id="{5009CD93-0ACC-435F-AE4D-8285524EF304}"/>
              </a:ext>
            </a:extLst>
          </p:cNvPr>
          <p:cNvSpPr>
            <a:spLocks/>
          </p:cNvSpPr>
          <p:nvPr/>
        </p:nvSpPr>
        <p:spPr bwMode="auto">
          <a:xfrm>
            <a:off x="7151079" y="2814524"/>
            <a:ext cx="1904656" cy="1626894"/>
          </a:xfrm>
          <a:custGeom>
            <a:avLst/>
            <a:gdLst>
              <a:gd name="T0" fmla="*/ 192 w 467"/>
              <a:gd name="T1" fmla="*/ 0 h 399"/>
              <a:gd name="T2" fmla="*/ 0 w 467"/>
              <a:gd name="T3" fmla="*/ 149 h 399"/>
              <a:gd name="T4" fmla="*/ 13 w 467"/>
              <a:gd name="T5" fmla="*/ 163 h 399"/>
              <a:gd name="T6" fmla="*/ 364 w 467"/>
              <a:gd name="T7" fmla="*/ 399 h 399"/>
              <a:gd name="T8" fmla="*/ 467 w 467"/>
              <a:gd name="T9" fmla="*/ 178 h 399"/>
              <a:gd name="T10" fmla="*/ 269 w 467"/>
              <a:gd name="T11" fmla="*/ 66 h 399"/>
              <a:gd name="T12" fmla="*/ 192 w 467"/>
              <a:gd name="T13" fmla="*/ 0 h 399"/>
            </a:gdLst>
            <a:ahLst/>
            <a:cxnLst>
              <a:cxn ang="0">
                <a:pos x="T0" y="T1"/>
              </a:cxn>
              <a:cxn ang="0">
                <a:pos x="T2" y="T3"/>
              </a:cxn>
              <a:cxn ang="0">
                <a:pos x="T4" y="T5"/>
              </a:cxn>
              <a:cxn ang="0">
                <a:pos x="T6" y="T7"/>
              </a:cxn>
              <a:cxn ang="0">
                <a:pos x="T8" y="T9"/>
              </a:cxn>
              <a:cxn ang="0">
                <a:pos x="T10" y="T11"/>
              </a:cxn>
              <a:cxn ang="0">
                <a:pos x="T12" y="T13"/>
              </a:cxn>
            </a:cxnLst>
            <a:rect l="0" t="0" r="r" b="b"/>
            <a:pathLst>
              <a:path w="467" h="399">
                <a:moveTo>
                  <a:pt x="192" y="0"/>
                </a:moveTo>
                <a:cubicBezTo>
                  <a:pt x="0" y="149"/>
                  <a:pt x="0" y="149"/>
                  <a:pt x="0" y="149"/>
                </a:cubicBezTo>
                <a:cubicBezTo>
                  <a:pt x="4" y="154"/>
                  <a:pt x="8" y="158"/>
                  <a:pt x="13" y="163"/>
                </a:cubicBezTo>
                <a:cubicBezTo>
                  <a:pt x="115" y="265"/>
                  <a:pt x="234" y="345"/>
                  <a:pt x="364" y="399"/>
                </a:cubicBezTo>
                <a:cubicBezTo>
                  <a:pt x="467" y="178"/>
                  <a:pt x="467" y="178"/>
                  <a:pt x="467" y="178"/>
                </a:cubicBezTo>
                <a:cubicBezTo>
                  <a:pt x="397" y="150"/>
                  <a:pt x="330" y="113"/>
                  <a:pt x="269" y="66"/>
                </a:cubicBezTo>
                <a:cubicBezTo>
                  <a:pt x="242" y="46"/>
                  <a:pt x="217" y="24"/>
                  <a:pt x="192" y="0"/>
                </a:cubicBezTo>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grpSp>
        <p:nvGrpSpPr>
          <p:cNvPr id="30" name="Group 5">
            <a:extLst>
              <a:ext uri="{FF2B5EF4-FFF2-40B4-BE49-F238E27FC236}">
                <a16:creationId xmlns:a16="http://schemas.microsoft.com/office/drawing/2014/main" id="{CA114598-2722-46F7-8A22-5E5EC08EA45E}"/>
              </a:ext>
            </a:extLst>
          </p:cNvPr>
          <p:cNvGrpSpPr/>
          <p:nvPr/>
        </p:nvGrpSpPr>
        <p:grpSpPr>
          <a:xfrm>
            <a:off x="8494247" y="2553628"/>
            <a:ext cx="574420" cy="400583"/>
            <a:chOff x="8494247" y="2553628"/>
            <a:chExt cx="574420" cy="400583"/>
          </a:xfrm>
        </p:grpSpPr>
        <p:sp>
          <p:nvSpPr>
            <p:cNvPr id="31" name="Freeform 428">
              <a:extLst>
                <a:ext uri="{FF2B5EF4-FFF2-40B4-BE49-F238E27FC236}">
                  <a16:creationId xmlns:a16="http://schemas.microsoft.com/office/drawing/2014/main" id="{74D0D610-D805-4C34-A0AD-756B9DD5C297}"/>
                </a:ext>
              </a:extLst>
            </p:cNvPr>
            <p:cNvSpPr>
              <a:spLocks/>
            </p:cNvSpPr>
            <p:nvPr/>
          </p:nvSpPr>
          <p:spPr bwMode="auto">
            <a:xfrm>
              <a:off x="8494247" y="2791710"/>
              <a:ext cx="35902" cy="32123"/>
            </a:xfrm>
            <a:custGeom>
              <a:avLst/>
              <a:gdLst>
                <a:gd name="T0" fmla="*/ 7 w 9"/>
                <a:gd name="T1" fmla="*/ 0 h 8"/>
                <a:gd name="T2" fmla="*/ 0 w 9"/>
                <a:gd name="T3" fmla="*/ 6 h 8"/>
                <a:gd name="T4" fmla="*/ 0 w 9"/>
                <a:gd name="T5" fmla="*/ 8 h 8"/>
                <a:gd name="T6" fmla="*/ 9 w 9"/>
                <a:gd name="T7" fmla="*/ 0 h 8"/>
                <a:gd name="T8" fmla="*/ 7 w 9"/>
                <a:gd name="T9" fmla="*/ 0 h 8"/>
              </a:gdLst>
              <a:ahLst/>
              <a:cxnLst>
                <a:cxn ang="0">
                  <a:pos x="T0" y="T1"/>
                </a:cxn>
                <a:cxn ang="0">
                  <a:pos x="T2" y="T3"/>
                </a:cxn>
                <a:cxn ang="0">
                  <a:pos x="T4" y="T5"/>
                </a:cxn>
                <a:cxn ang="0">
                  <a:pos x="T6" y="T7"/>
                </a:cxn>
                <a:cxn ang="0">
                  <a:pos x="T8" y="T9"/>
                </a:cxn>
              </a:cxnLst>
              <a:rect l="0" t="0" r="r" b="b"/>
              <a:pathLst>
                <a:path w="9" h="8">
                  <a:moveTo>
                    <a:pt x="7" y="0"/>
                  </a:moveTo>
                  <a:cubicBezTo>
                    <a:pt x="3" y="0"/>
                    <a:pt x="0" y="3"/>
                    <a:pt x="0" y="6"/>
                  </a:cubicBezTo>
                  <a:cubicBezTo>
                    <a:pt x="0" y="8"/>
                    <a:pt x="0" y="8"/>
                    <a:pt x="0" y="8"/>
                  </a:cubicBezTo>
                  <a:cubicBezTo>
                    <a:pt x="9" y="0"/>
                    <a:pt x="9" y="0"/>
                    <a:pt x="9" y="0"/>
                  </a:cubicBezTo>
                  <a:lnTo>
                    <a:pt x="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32" name="Freeform 429">
              <a:extLst>
                <a:ext uri="{FF2B5EF4-FFF2-40B4-BE49-F238E27FC236}">
                  <a16:creationId xmlns:a16="http://schemas.microsoft.com/office/drawing/2014/main" id="{FDB65E94-42EE-4B70-A98A-D04416C35731}"/>
                </a:ext>
              </a:extLst>
            </p:cNvPr>
            <p:cNvSpPr>
              <a:spLocks/>
            </p:cNvSpPr>
            <p:nvPr/>
          </p:nvSpPr>
          <p:spPr bwMode="auto">
            <a:xfrm>
              <a:off x="8494247" y="2791710"/>
              <a:ext cx="88809" cy="77472"/>
            </a:xfrm>
            <a:custGeom>
              <a:avLst/>
              <a:gdLst>
                <a:gd name="T0" fmla="*/ 21 w 22"/>
                <a:gd name="T1" fmla="*/ 0 h 19"/>
                <a:gd name="T2" fmla="*/ 14 w 22"/>
                <a:gd name="T3" fmla="*/ 0 h 19"/>
                <a:gd name="T4" fmla="*/ 0 w 22"/>
                <a:gd name="T5" fmla="*/ 12 h 19"/>
                <a:gd name="T6" fmla="*/ 0 w 22"/>
                <a:gd name="T7" fmla="*/ 19 h 19"/>
                <a:gd name="T8" fmla="*/ 22 w 22"/>
                <a:gd name="T9" fmla="*/ 1 h 19"/>
                <a:gd name="T10" fmla="*/ 21 w 22"/>
                <a:gd name="T11" fmla="*/ 0 h 19"/>
              </a:gdLst>
              <a:ahLst/>
              <a:cxnLst>
                <a:cxn ang="0">
                  <a:pos x="T0" y="T1"/>
                </a:cxn>
                <a:cxn ang="0">
                  <a:pos x="T2" y="T3"/>
                </a:cxn>
                <a:cxn ang="0">
                  <a:pos x="T4" y="T5"/>
                </a:cxn>
                <a:cxn ang="0">
                  <a:pos x="T6" y="T7"/>
                </a:cxn>
                <a:cxn ang="0">
                  <a:pos x="T8" y="T9"/>
                </a:cxn>
                <a:cxn ang="0">
                  <a:pos x="T10" y="T11"/>
                </a:cxn>
              </a:cxnLst>
              <a:rect l="0" t="0" r="r" b="b"/>
              <a:pathLst>
                <a:path w="22" h="19">
                  <a:moveTo>
                    <a:pt x="21" y="0"/>
                  </a:moveTo>
                  <a:cubicBezTo>
                    <a:pt x="14" y="0"/>
                    <a:pt x="14" y="0"/>
                    <a:pt x="14" y="0"/>
                  </a:cubicBezTo>
                  <a:cubicBezTo>
                    <a:pt x="0" y="12"/>
                    <a:pt x="0" y="12"/>
                    <a:pt x="0" y="12"/>
                  </a:cubicBezTo>
                  <a:cubicBezTo>
                    <a:pt x="0" y="19"/>
                    <a:pt x="0" y="19"/>
                    <a:pt x="0" y="19"/>
                  </a:cubicBezTo>
                  <a:cubicBezTo>
                    <a:pt x="22" y="1"/>
                    <a:pt x="22" y="1"/>
                    <a:pt x="22" y="1"/>
                  </a:cubicBezTo>
                  <a:cubicBezTo>
                    <a:pt x="22" y="0"/>
                    <a:pt x="21" y="0"/>
                    <a:pt x="21"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33" name="Freeform 430">
              <a:extLst>
                <a:ext uri="{FF2B5EF4-FFF2-40B4-BE49-F238E27FC236}">
                  <a16:creationId xmlns:a16="http://schemas.microsoft.com/office/drawing/2014/main" id="{66417762-117F-4961-9502-83567F5EDB4E}"/>
                </a:ext>
              </a:extLst>
            </p:cNvPr>
            <p:cNvSpPr>
              <a:spLocks/>
            </p:cNvSpPr>
            <p:nvPr/>
          </p:nvSpPr>
          <p:spPr bwMode="auto">
            <a:xfrm>
              <a:off x="8571719" y="2929646"/>
              <a:ext cx="32123" cy="24565"/>
            </a:xfrm>
            <a:custGeom>
              <a:avLst/>
              <a:gdLst>
                <a:gd name="T0" fmla="*/ 17 w 17"/>
                <a:gd name="T1" fmla="*/ 13 h 13"/>
                <a:gd name="T2" fmla="*/ 17 w 17"/>
                <a:gd name="T3" fmla="*/ 0 h 13"/>
                <a:gd name="T4" fmla="*/ 0 w 17"/>
                <a:gd name="T5" fmla="*/ 13 h 13"/>
                <a:gd name="T6" fmla="*/ 17 w 17"/>
                <a:gd name="T7" fmla="*/ 13 h 13"/>
              </a:gdLst>
              <a:ahLst/>
              <a:cxnLst>
                <a:cxn ang="0">
                  <a:pos x="T0" y="T1"/>
                </a:cxn>
                <a:cxn ang="0">
                  <a:pos x="T2" y="T3"/>
                </a:cxn>
                <a:cxn ang="0">
                  <a:pos x="T4" y="T5"/>
                </a:cxn>
                <a:cxn ang="0">
                  <a:pos x="T6" y="T7"/>
                </a:cxn>
              </a:cxnLst>
              <a:rect l="0" t="0" r="r" b="b"/>
              <a:pathLst>
                <a:path w="17" h="13">
                  <a:moveTo>
                    <a:pt x="17" y="13"/>
                  </a:moveTo>
                  <a:lnTo>
                    <a:pt x="17" y="0"/>
                  </a:lnTo>
                  <a:lnTo>
                    <a:pt x="0" y="13"/>
                  </a:lnTo>
                  <a:lnTo>
                    <a:pt x="17" y="1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34" name="Freeform 431">
              <a:extLst>
                <a:ext uri="{FF2B5EF4-FFF2-40B4-BE49-F238E27FC236}">
                  <a16:creationId xmlns:a16="http://schemas.microsoft.com/office/drawing/2014/main" id="{17665872-E39A-449C-B8D0-1D44FB9FDCD7}"/>
                </a:ext>
              </a:extLst>
            </p:cNvPr>
            <p:cNvSpPr>
              <a:spLocks/>
            </p:cNvSpPr>
            <p:nvPr/>
          </p:nvSpPr>
          <p:spPr bwMode="auto">
            <a:xfrm>
              <a:off x="8518812" y="2884297"/>
              <a:ext cx="85030" cy="69914"/>
            </a:xfrm>
            <a:custGeom>
              <a:avLst/>
              <a:gdLst>
                <a:gd name="T0" fmla="*/ 17 w 45"/>
                <a:gd name="T1" fmla="*/ 37 h 37"/>
                <a:gd name="T2" fmla="*/ 45 w 45"/>
                <a:gd name="T3" fmla="*/ 13 h 37"/>
                <a:gd name="T4" fmla="*/ 45 w 45"/>
                <a:gd name="T5" fmla="*/ 0 h 37"/>
                <a:gd name="T6" fmla="*/ 0 w 45"/>
                <a:gd name="T7" fmla="*/ 37 h 37"/>
                <a:gd name="T8" fmla="*/ 17 w 45"/>
                <a:gd name="T9" fmla="*/ 37 h 37"/>
              </a:gdLst>
              <a:ahLst/>
              <a:cxnLst>
                <a:cxn ang="0">
                  <a:pos x="T0" y="T1"/>
                </a:cxn>
                <a:cxn ang="0">
                  <a:pos x="T2" y="T3"/>
                </a:cxn>
                <a:cxn ang="0">
                  <a:pos x="T4" y="T5"/>
                </a:cxn>
                <a:cxn ang="0">
                  <a:pos x="T6" y="T7"/>
                </a:cxn>
                <a:cxn ang="0">
                  <a:pos x="T8" y="T9"/>
                </a:cxn>
              </a:cxnLst>
              <a:rect l="0" t="0" r="r" b="b"/>
              <a:pathLst>
                <a:path w="45" h="37">
                  <a:moveTo>
                    <a:pt x="17" y="37"/>
                  </a:moveTo>
                  <a:lnTo>
                    <a:pt x="45" y="13"/>
                  </a:lnTo>
                  <a:lnTo>
                    <a:pt x="45" y="0"/>
                  </a:lnTo>
                  <a:lnTo>
                    <a:pt x="0" y="37"/>
                  </a:lnTo>
                  <a:lnTo>
                    <a:pt x="17" y="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35" name="Freeform 432">
              <a:extLst>
                <a:ext uri="{FF2B5EF4-FFF2-40B4-BE49-F238E27FC236}">
                  <a16:creationId xmlns:a16="http://schemas.microsoft.com/office/drawing/2014/main" id="{B723E768-9B38-41B4-B164-B205F98C7854}"/>
                </a:ext>
              </a:extLst>
            </p:cNvPr>
            <p:cNvSpPr>
              <a:spLocks/>
            </p:cNvSpPr>
            <p:nvPr/>
          </p:nvSpPr>
          <p:spPr bwMode="auto">
            <a:xfrm>
              <a:off x="8494247" y="2840838"/>
              <a:ext cx="109593" cy="113372"/>
            </a:xfrm>
            <a:custGeom>
              <a:avLst/>
              <a:gdLst>
                <a:gd name="T0" fmla="*/ 58 w 58"/>
                <a:gd name="T1" fmla="*/ 12 h 60"/>
                <a:gd name="T2" fmla="*/ 58 w 58"/>
                <a:gd name="T3" fmla="*/ 0 h 60"/>
                <a:gd name="T4" fmla="*/ 0 w 58"/>
                <a:gd name="T5" fmla="*/ 47 h 60"/>
                <a:gd name="T6" fmla="*/ 0 w 58"/>
                <a:gd name="T7" fmla="*/ 60 h 60"/>
                <a:gd name="T8" fmla="*/ 2 w 58"/>
                <a:gd name="T9" fmla="*/ 60 h 60"/>
                <a:gd name="T10" fmla="*/ 58 w 58"/>
                <a:gd name="T11" fmla="*/ 12 h 60"/>
              </a:gdLst>
              <a:ahLst/>
              <a:cxnLst>
                <a:cxn ang="0">
                  <a:pos x="T0" y="T1"/>
                </a:cxn>
                <a:cxn ang="0">
                  <a:pos x="T2" y="T3"/>
                </a:cxn>
                <a:cxn ang="0">
                  <a:pos x="T4" y="T5"/>
                </a:cxn>
                <a:cxn ang="0">
                  <a:pos x="T6" y="T7"/>
                </a:cxn>
                <a:cxn ang="0">
                  <a:pos x="T8" y="T9"/>
                </a:cxn>
                <a:cxn ang="0">
                  <a:pos x="T10" y="T11"/>
                </a:cxn>
              </a:cxnLst>
              <a:rect l="0" t="0" r="r" b="b"/>
              <a:pathLst>
                <a:path w="58" h="60">
                  <a:moveTo>
                    <a:pt x="58" y="12"/>
                  </a:moveTo>
                  <a:lnTo>
                    <a:pt x="58" y="0"/>
                  </a:lnTo>
                  <a:lnTo>
                    <a:pt x="0" y="47"/>
                  </a:lnTo>
                  <a:lnTo>
                    <a:pt x="0" y="60"/>
                  </a:lnTo>
                  <a:lnTo>
                    <a:pt x="2" y="60"/>
                  </a:lnTo>
                  <a:lnTo>
                    <a:pt x="58" y="1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36" name="Freeform 433">
              <a:extLst>
                <a:ext uri="{FF2B5EF4-FFF2-40B4-BE49-F238E27FC236}">
                  <a16:creationId xmlns:a16="http://schemas.microsoft.com/office/drawing/2014/main" id="{589D1641-29EC-4C39-B923-11DA1F894152}"/>
                </a:ext>
              </a:extLst>
            </p:cNvPr>
            <p:cNvSpPr>
              <a:spLocks/>
            </p:cNvSpPr>
            <p:nvPr/>
          </p:nvSpPr>
          <p:spPr bwMode="auto">
            <a:xfrm>
              <a:off x="8494247" y="2799268"/>
              <a:ext cx="109593" cy="109593"/>
            </a:xfrm>
            <a:custGeom>
              <a:avLst/>
              <a:gdLst>
                <a:gd name="T0" fmla="*/ 27 w 27"/>
                <a:gd name="T1" fmla="*/ 4 h 27"/>
                <a:gd name="T2" fmla="*/ 25 w 27"/>
                <a:gd name="T3" fmla="*/ 0 h 27"/>
                <a:gd name="T4" fmla="*/ 0 w 27"/>
                <a:gd name="T5" fmla="*/ 21 h 27"/>
                <a:gd name="T6" fmla="*/ 0 w 27"/>
                <a:gd name="T7" fmla="*/ 27 h 27"/>
                <a:gd name="T8" fmla="*/ 27 w 27"/>
                <a:gd name="T9" fmla="*/ 5 h 27"/>
                <a:gd name="T10" fmla="*/ 27 w 27"/>
                <a:gd name="T11" fmla="*/ 4 h 27"/>
              </a:gdLst>
              <a:ahLst/>
              <a:cxnLst>
                <a:cxn ang="0">
                  <a:pos x="T0" y="T1"/>
                </a:cxn>
                <a:cxn ang="0">
                  <a:pos x="T2" y="T3"/>
                </a:cxn>
                <a:cxn ang="0">
                  <a:pos x="T4" y="T5"/>
                </a:cxn>
                <a:cxn ang="0">
                  <a:pos x="T6" y="T7"/>
                </a:cxn>
                <a:cxn ang="0">
                  <a:pos x="T8" y="T9"/>
                </a:cxn>
                <a:cxn ang="0">
                  <a:pos x="T10" y="T11"/>
                </a:cxn>
              </a:cxnLst>
              <a:rect l="0" t="0" r="r" b="b"/>
              <a:pathLst>
                <a:path w="27" h="27">
                  <a:moveTo>
                    <a:pt x="27" y="4"/>
                  </a:moveTo>
                  <a:cubicBezTo>
                    <a:pt x="27" y="2"/>
                    <a:pt x="26" y="1"/>
                    <a:pt x="25" y="0"/>
                  </a:cubicBezTo>
                  <a:cubicBezTo>
                    <a:pt x="0" y="21"/>
                    <a:pt x="0" y="21"/>
                    <a:pt x="0" y="21"/>
                  </a:cubicBezTo>
                  <a:cubicBezTo>
                    <a:pt x="0" y="27"/>
                    <a:pt x="0" y="27"/>
                    <a:pt x="0" y="27"/>
                  </a:cubicBezTo>
                  <a:cubicBezTo>
                    <a:pt x="27" y="5"/>
                    <a:pt x="27" y="5"/>
                    <a:pt x="27" y="5"/>
                  </a:cubicBezTo>
                  <a:lnTo>
                    <a:pt x="27"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37" name="Freeform 434">
              <a:extLst>
                <a:ext uri="{FF2B5EF4-FFF2-40B4-BE49-F238E27FC236}">
                  <a16:creationId xmlns:a16="http://schemas.microsoft.com/office/drawing/2014/main" id="{B48CC6AA-DA71-481C-94C3-F576A3B5D3A2}"/>
                </a:ext>
              </a:extLst>
            </p:cNvPr>
            <p:cNvSpPr>
              <a:spLocks/>
            </p:cNvSpPr>
            <p:nvPr/>
          </p:nvSpPr>
          <p:spPr bwMode="auto">
            <a:xfrm>
              <a:off x="8702097" y="2714238"/>
              <a:ext cx="102035" cy="239972"/>
            </a:xfrm>
            <a:custGeom>
              <a:avLst/>
              <a:gdLst>
                <a:gd name="T0" fmla="*/ 25 w 25"/>
                <a:gd name="T1" fmla="*/ 7 h 59"/>
                <a:gd name="T2" fmla="*/ 18 w 25"/>
                <a:gd name="T3" fmla="*/ 0 h 59"/>
                <a:gd name="T4" fmla="*/ 7 w 25"/>
                <a:gd name="T5" fmla="*/ 0 h 59"/>
                <a:gd name="T6" fmla="*/ 0 w 25"/>
                <a:gd name="T7" fmla="*/ 7 h 59"/>
                <a:gd name="T8" fmla="*/ 0 w 25"/>
                <a:gd name="T9" fmla="*/ 59 h 59"/>
                <a:gd name="T10" fmla="*/ 25 w 25"/>
                <a:gd name="T11" fmla="*/ 59 h 59"/>
                <a:gd name="T12" fmla="*/ 25 w 25"/>
                <a:gd name="T13" fmla="*/ 7 h 59"/>
              </a:gdLst>
              <a:ahLst/>
              <a:cxnLst>
                <a:cxn ang="0">
                  <a:pos x="T0" y="T1"/>
                </a:cxn>
                <a:cxn ang="0">
                  <a:pos x="T2" y="T3"/>
                </a:cxn>
                <a:cxn ang="0">
                  <a:pos x="T4" y="T5"/>
                </a:cxn>
                <a:cxn ang="0">
                  <a:pos x="T6" y="T7"/>
                </a:cxn>
                <a:cxn ang="0">
                  <a:pos x="T8" y="T9"/>
                </a:cxn>
                <a:cxn ang="0">
                  <a:pos x="T10" y="T11"/>
                </a:cxn>
                <a:cxn ang="0">
                  <a:pos x="T12" y="T13"/>
                </a:cxn>
              </a:cxnLst>
              <a:rect l="0" t="0" r="r" b="b"/>
              <a:pathLst>
                <a:path w="25" h="59">
                  <a:moveTo>
                    <a:pt x="25" y="7"/>
                  </a:moveTo>
                  <a:cubicBezTo>
                    <a:pt x="25" y="3"/>
                    <a:pt x="22" y="0"/>
                    <a:pt x="18" y="0"/>
                  </a:cubicBezTo>
                  <a:cubicBezTo>
                    <a:pt x="7" y="0"/>
                    <a:pt x="7" y="0"/>
                    <a:pt x="7" y="0"/>
                  </a:cubicBezTo>
                  <a:cubicBezTo>
                    <a:pt x="3" y="0"/>
                    <a:pt x="0" y="3"/>
                    <a:pt x="0" y="7"/>
                  </a:cubicBezTo>
                  <a:cubicBezTo>
                    <a:pt x="0" y="59"/>
                    <a:pt x="0" y="59"/>
                    <a:pt x="0" y="59"/>
                  </a:cubicBezTo>
                  <a:cubicBezTo>
                    <a:pt x="25" y="59"/>
                    <a:pt x="25" y="59"/>
                    <a:pt x="25" y="59"/>
                  </a:cubicBezTo>
                  <a:lnTo>
                    <a:pt x="25" y="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38" name="Freeform 435">
              <a:extLst>
                <a:ext uri="{FF2B5EF4-FFF2-40B4-BE49-F238E27FC236}">
                  <a16:creationId xmlns:a16="http://schemas.microsoft.com/office/drawing/2014/main" id="{35195FDA-4A5D-4A97-848B-3639E8F72701}"/>
                </a:ext>
              </a:extLst>
            </p:cNvPr>
            <p:cNvSpPr>
              <a:spLocks/>
            </p:cNvSpPr>
            <p:nvPr/>
          </p:nvSpPr>
          <p:spPr bwMode="auto">
            <a:xfrm>
              <a:off x="8868376" y="2553628"/>
              <a:ext cx="200291" cy="400582"/>
            </a:xfrm>
            <a:custGeom>
              <a:avLst/>
              <a:gdLst>
                <a:gd name="T0" fmla="*/ 5 w 49"/>
                <a:gd name="T1" fmla="*/ 40 h 98"/>
                <a:gd name="T2" fmla="*/ 11 w 49"/>
                <a:gd name="T3" fmla="*/ 38 h 98"/>
                <a:gd name="T4" fmla="*/ 11 w 49"/>
                <a:gd name="T5" fmla="*/ 98 h 98"/>
                <a:gd name="T6" fmla="*/ 37 w 49"/>
                <a:gd name="T7" fmla="*/ 98 h 98"/>
                <a:gd name="T8" fmla="*/ 37 w 49"/>
                <a:gd name="T9" fmla="*/ 38 h 98"/>
                <a:gd name="T10" fmla="*/ 44 w 49"/>
                <a:gd name="T11" fmla="*/ 40 h 98"/>
                <a:gd name="T12" fmla="*/ 47 w 49"/>
                <a:gd name="T13" fmla="*/ 37 h 98"/>
                <a:gd name="T14" fmla="*/ 29 w 49"/>
                <a:gd name="T15" fmla="*/ 3 h 98"/>
                <a:gd name="T16" fmla="*/ 20 w 49"/>
                <a:gd name="T17" fmla="*/ 3 h 98"/>
                <a:gd name="T18" fmla="*/ 1 w 49"/>
                <a:gd name="T19" fmla="*/ 37 h 98"/>
                <a:gd name="T20" fmla="*/ 5 w 49"/>
                <a:gd name="T21" fmla="*/ 4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9" h="98">
                  <a:moveTo>
                    <a:pt x="5" y="40"/>
                  </a:moveTo>
                  <a:cubicBezTo>
                    <a:pt x="11" y="38"/>
                    <a:pt x="11" y="38"/>
                    <a:pt x="11" y="38"/>
                  </a:cubicBezTo>
                  <a:cubicBezTo>
                    <a:pt x="11" y="98"/>
                    <a:pt x="11" y="98"/>
                    <a:pt x="11" y="98"/>
                  </a:cubicBezTo>
                  <a:cubicBezTo>
                    <a:pt x="37" y="98"/>
                    <a:pt x="37" y="98"/>
                    <a:pt x="37" y="98"/>
                  </a:cubicBezTo>
                  <a:cubicBezTo>
                    <a:pt x="37" y="38"/>
                    <a:pt x="37" y="38"/>
                    <a:pt x="37" y="38"/>
                  </a:cubicBezTo>
                  <a:cubicBezTo>
                    <a:pt x="44" y="40"/>
                    <a:pt x="44" y="40"/>
                    <a:pt x="44" y="40"/>
                  </a:cubicBezTo>
                  <a:cubicBezTo>
                    <a:pt x="46" y="41"/>
                    <a:pt x="49" y="39"/>
                    <a:pt x="47" y="37"/>
                  </a:cubicBezTo>
                  <a:cubicBezTo>
                    <a:pt x="29" y="3"/>
                    <a:pt x="29" y="3"/>
                    <a:pt x="29" y="3"/>
                  </a:cubicBezTo>
                  <a:cubicBezTo>
                    <a:pt x="27" y="0"/>
                    <a:pt x="22" y="0"/>
                    <a:pt x="20" y="3"/>
                  </a:cubicBezTo>
                  <a:cubicBezTo>
                    <a:pt x="1" y="37"/>
                    <a:pt x="1" y="37"/>
                    <a:pt x="1" y="37"/>
                  </a:cubicBezTo>
                  <a:cubicBezTo>
                    <a:pt x="0" y="39"/>
                    <a:pt x="2" y="41"/>
                    <a:pt x="5" y="4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grpSp>
      <p:grpSp>
        <p:nvGrpSpPr>
          <p:cNvPr id="39" name="Group 7">
            <a:extLst>
              <a:ext uri="{FF2B5EF4-FFF2-40B4-BE49-F238E27FC236}">
                <a16:creationId xmlns:a16="http://schemas.microsoft.com/office/drawing/2014/main" id="{8F6A333F-4F42-4D1A-856B-7E8612ECC489}"/>
              </a:ext>
            </a:extLst>
          </p:cNvPr>
          <p:cNvGrpSpPr/>
          <p:nvPr/>
        </p:nvGrpSpPr>
        <p:grpSpPr>
          <a:xfrm>
            <a:off x="6642498" y="4940117"/>
            <a:ext cx="504508" cy="506397"/>
            <a:chOff x="6642498" y="4940117"/>
            <a:chExt cx="504508" cy="506397"/>
          </a:xfrm>
        </p:grpSpPr>
        <p:sp>
          <p:nvSpPr>
            <p:cNvPr id="40" name="Freeform 436">
              <a:extLst>
                <a:ext uri="{FF2B5EF4-FFF2-40B4-BE49-F238E27FC236}">
                  <a16:creationId xmlns:a16="http://schemas.microsoft.com/office/drawing/2014/main" id="{D8E15B4E-153B-4C06-8FDF-CD4D8E00DAB8}"/>
                </a:ext>
              </a:extLst>
            </p:cNvPr>
            <p:cNvSpPr>
              <a:spLocks noEditPoints="1"/>
            </p:cNvSpPr>
            <p:nvPr/>
          </p:nvSpPr>
          <p:spPr bwMode="auto">
            <a:xfrm>
              <a:off x="6642498" y="4940117"/>
              <a:ext cx="504508" cy="506397"/>
            </a:xfrm>
            <a:custGeom>
              <a:avLst/>
              <a:gdLst>
                <a:gd name="T0" fmla="*/ 83 w 124"/>
                <a:gd name="T1" fmla="*/ 18 h 124"/>
                <a:gd name="T2" fmla="*/ 18 w 124"/>
                <a:gd name="T3" fmla="*/ 18 h 124"/>
                <a:gd name="T4" fmla="*/ 18 w 124"/>
                <a:gd name="T5" fmla="*/ 84 h 124"/>
                <a:gd name="T6" fmla="*/ 76 w 124"/>
                <a:gd name="T7" fmla="*/ 90 h 124"/>
                <a:gd name="T8" fmla="*/ 77 w 124"/>
                <a:gd name="T9" fmla="*/ 91 h 124"/>
                <a:gd name="T10" fmla="*/ 106 w 124"/>
                <a:gd name="T11" fmla="*/ 121 h 124"/>
                <a:gd name="T12" fmla="*/ 120 w 124"/>
                <a:gd name="T13" fmla="*/ 121 h 124"/>
                <a:gd name="T14" fmla="*/ 120 w 124"/>
                <a:gd name="T15" fmla="*/ 107 h 124"/>
                <a:gd name="T16" fmla="*/ 90 w 124"/>
                <a:gd name="T17" fmla="*/ 77 h 124"/>
                <a:gd name="T18" fmla="*/ 89 w 124"/>
                <a:gd name="T19" fmla="*/ 77 h 124"/>
                <a:gd name="T20" fmla="*/ 83 w 124"/>
                <a:gd name="T21" fmla="*/ 18 h 124"/>
                <a:gd name="T22" fmla="*/ 70 w 124"/>
                <a:gd name="T23" fmla="*/ 71 h 124"/>
                <a:gd name="T24" fmla="*/ 31 w 124"/>
                <a:gd name="T25" fmla="*/ 71 h 124"/>
                <a:gd name="T26" fmla="*/ 31 w 124"/>
                <a:gd name="T27" fmla="*/ 32 h 124"/>
                <a:gd name="T28" fmla="*/ 70 w 124"/>
                <a:gd name="T29" fmla="*/ 32 h 124"/>
                <a:gd name="T30" fmla="*/ 70 w 124"/>
                <a:gd name="T31" fmla="*/ 71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4" h="124">
                  <a:moveTo>
                    <a:pt x="83" y="18"/>
                  </a:moveTo>
                  <a:cubicBezTo>
                    <a:pt x="65" y="0"/>
                    <a:pt x="36" y="0"/>
                    <a:pt x="18" y="18"/>
                  </a:cubicBezTo>
                  <a:cubicBezTo>
                    <a:pt x="0" y="37"/>
                    <a:pt x="0" y="66"/>
                    <a:pt x="18" y="84"/>
                  </a:cubicBezTo>
                  <a:cubicBezTo>
                    <a:pt x="33" y="100"/>
                    <a:pt x="58" y="102"/>
                    <a:pt x="76" y="90"/>
                  </a:cubicBezTo>
                  <a:cubicBezTo>
                    <a:pt x="77" y="91"/>
                    <a:pt x="77" y="91"/>
                    <a:pt x="77" y="91"/>
                  </a:cubicBezTo>
                  <a:cubicBezTo>
                    <a:pt x="106" y="121"/>
                    <a:pt x="106" y="121"/>
                    <a:pt x="106" y="121"/>
                  </a:cubicBezTo>
                  <a:cubicBezTo>
                    <a:pt x="110" y="124"/>
                    <a:pt x="116" y="124"/>
                    <a:pt x="120" y="121"/>
                  </a:cubicBezTo>
                  <a:cubicBezTo>
                    <a:pt x="124" y="117"/>
                    <a:pt x="124" y="111"/>
                    <a:pt x="120" y="107"/>
                  </a:cubicBezTo>
                  <a:cubicBezTo>
                    <a:pt x="90" y="77"/>
                    <a:pt x="90" y="77"/>
                    <a:pt x="90" y="77"/>
                  </a:cubicBezTo>
                  <a:cubicBezTo>
                    <a:pt x="89" y="77"/>
                    <a:pt x="89" y="77"/>
                    <a:pt x="89" y="77"/>
                  </a:cubicBezTo>
                  <a:cubicBezTo>
                    <a:pt x="101" y="59"/>
                    <a:pt x="99" y="34"/>
                    <a:pt x="83" y="18"/>
                  </a:cubicBezTo>
                  <a:close/>
                  <a:moveTo>
                    <a:pt x="70" y="71"/>
                  </a:moveTo>
                  <a:cubicBezTo>
                    <a:pt x="59" y="81"/>
                    <a:pt x="42" y="81"/>
                    <a:pt x="31" y="71"/>
                  </a:cubicBezTo>
                  <a:cubicBezTo>
                    <a:pt x="20" y="60"/>
                    <a:pt x="20" y="43"/>
                    <a:pt x="31" y="32"/>
                  </a:cubicBezTo>
                  <a:cubicBezTo>
                    <a:pt x="42" y="21"/>
                    <a:pt x="59" y="21"/>
                    <a:pt x="70" y="32"/>
                  </a:cubicBezTo>
                  <a:cubicBezTo>
                    <a:pt x="81" y="43"/>
                    <a:pt x="81" y="60"/>
                    <a:pt x="70" y="7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41" name="Oval 437">
              <a:extLst>
                <a:ext uri="{FF2B5EF4-FFF2-40B4-BE49-F238E27FC236}">
                  <a16:creationId xmlns:a16="http://schemas.microsoft.com/office/drawing/2014/main" id="{F7973CCF-B2EB-41AC-BC61-26E32E1FDA16}"/>
                </a:ext>
              </a:extLst>
            </p:cNvPr>
            <p:cNvSpPr>
              <a:spLocks noChangeArrowheads="1"/>
            </p:cNvSpPr>
            <p:nvPr/>
          </p:nvSpPr>
          <p:spPr bwMode="auto">
            <a:xfrm>
              <a:off x="6816336" y="5066717"/>
              <a:ext cx="66134" cy="6235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grpSp>
      <p:sp>
        <p:nvSpPr>
          <p:cNvPr id="42" name="Freeform 438">
            <a:extLst>
              <a:ext uri="{FF2B5EF4-FFF2-40B4-BE49-F238E27FC236}">
                <a16:creationId xmlns:a16="http://schemas.microsoft.com/office/drawing/2014/main" id="{6362CAD8-3099-44B5-9490-5427FD55B0EF}"/>
              </a:ext>
            </a:extLst>
          </p:cNvPr>
          <p:cNvSpPr>
            <a:spLocks noEditPoints="1"/>
          </p:cNvSpPr>
          <p:nvPr/>
        </p:nvSpPr>
        <p:spPr bwMode="auto">
          <a:xfrm>
            <a:off x="7307616" y="4140842"/>
            <a:ext cx="296658" cy="461048"/>
          </a:xfrm>
          <a:custGeom>
            <a:avLst/>
            <a:gdLst>
              <a:gd name="T0" fmla="*/ 37 w 73"/>
              <a:gd name="T1" fmla="*/ 0 h 113"/>
              <a:gd name="T2" fmla="*/ 0 w 73"/>
              <a:gd name="T3" fmla="*/ 36 h 113"/>
              <a:gd name="T4" fmla="*/ 37 w 73"/>
              <a:gd name="T5" fmla="*/ 113 h 113"/>
              <a:gd name="T6" fmla="*/ 73 w 73"/>
              <a:gd name="T7" fmla="*/ 36 h 113"/>
              <a:gd name="T8" fmla="*/ 37 w 73"/>
              <a:gd name="T9" fmla="*/ 0 h 113"/>
              <a:gd name="T10" fmla="*/ 37 w 73"/>
              <a:gd name="T11" fmla="*/ 52 h 113"/>
              <a:gd name="T12" fmla="*/ 19 w 73"/>
              <a:gd name="T13" fmla="*/ 34 h 113"/>
              <a:gd name="T14" fmla="*/ 37 w 73"/>
              <a:gd name="T15" fmla="*/ 16 h 113"/>
              <a:gd name="T16" fmla="*/ 55 w 73"/>
              <a:gd name="T17" fmla="*/ 34 h 113"/>
              <a:gd name="T18" fmla="*/ 37 w 73"/>
              <a:gd name="T19" fmla="*/ 52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 h="113">
                <a:moveTo>
                  <a:pt x="37" y="0"/>
                </a:moveTo>
                <a:cubicBezTo>
                  <a:pt x="17" y="0"/>
                  <a:pt x="0" y="16"/>
                  <a:pt x="0" y="36"/>
                </a:cubicBezTo>
                <a:cubicBezTo>
                  <a:pt x="0" y="56"/>
                  <a:pt x="37" y="113"/>
                  <a:pt x="37" y="113"/>
                </a:cubicBezTo>
                <a:cubicBezTo>
                  <a:pt x="37" y="113"/>
                  <a:pt x="73" y="56"/>
                  <a:pt x="73" y="36"/>
                </a:cubicBezTo>
                <a:cubicBezTo>
                  <a:pt x="73" y="16"/>
                  <a:pt x="57" y="0"/>
                  <a:pt x="37" y="0"/>
                </a:cubicBezTo>
                <a:close/>
                <a:moveTo>
                  <a:pt x="37" y="52"/>
                </a:moveTo>
                <a:cubicBezTo>
                  <a:pt x="27" y="52"/>
                  <a:pt x="19" y="44"/>
                  <a:pt x="19" y="34"/>
                </a:cubicBezTo>
                <a:cubicBezTo>
                  <a:pt x="19" y="24"/>
                  <a:pt x="27" y="16"/>
                  <a:pt x="37" y="16"/>
                </a:cubicBezTo>
                <a:cubicBezTo>
                  <a:pt x="47" y="16"/>
                  <a:pt x="55" y="24"/>
                  <a:pt x="55" y="34"/>
                </a:cubicBezTo>
                <a:cubicBezTo>
                  <a:pt x="55" y="44"/>
                  <a:pt x="47" y="52"/>
                  <a:pt x="37" y="5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grpSp>
        <p:nvGrpSpPr>
          <p:cNvPr id="43" name="Group 6">
            <a:extLst>
              <a:ext uri="{FF2B5EF4-FFF2-40B4-BE49-F238E27FC236}">
                <a16:creationId xmlns:a16="http://schemas.microsoft.com/office/drawing/2014/main" id="{62EA1D74-AFC3-4A96-BA76-0A18DA00AEBB}"/>
              </a:ext>
            </a:extLst>
          </p:cNvPr>
          <p:cNvGrpSpPr/>
          <p:nvPr/>
        </p:nvGrpSpPr>
        <p:grpSpPr>
          <a:xfrm>
            <a:off x="7865032" y="3309444"/>
            <a:ext cx="502617" cy="559304"/>
            <a:chOff x="7865032" y="3309444"/>
            <a:chExt cx="502617" cy="559304"/>
          </a:xfrm>
        </p:grpSpPr>
        <p:sp>
          <p:nvSpPr>
            <p:cNvPr id="44" name="Freeform 439">
              <a:extLst>
                <a:ext uri="{FF2B5EF4-FFF2-40B4-BE49-F238E27FC236}">
                  <a16:creationId xmlns:a16="http://schemas.microsoft.com/office/drawing/2014/main" id="{250E7A52-1B25-421C-8655-8F84D3DB221E}"/>
                </a:ext>
              </a:extLst>
            </p:cNvPr>
            <p:cNvSpPr>
              <a:spLocks noEditPoints="1"/>
            </p:cNvSpPr>
            <p:nvPr/>
          </p:nvSpPr>
          <p:spPr bwMode="auto">
            <a:xfrm>
              <a:off x="7865032" y="3541857"/>
              <a:ext cx="326891" cy="326891"/>
            </a:xfrm>
            <a:custGeom>
              <a:avLst/>
              <a:gdLst>
                <a:gd name="T0" fmla="*/ 68 w 80"/>
                <a:gd name="T1" fmla="*/ 19 h 80"/>
                <a:gd name="T2" fmla="*/ 68 w 80"/>
                <a:gd name="T3" fmla="*/ 19 h 80"/>
                <a:gd name="T4" fmla="*/ 64 w 80"/>
                <a:gd name="T5" fmla="*/ 15 h 80"/>
                <a:gd name="T6" fmla="*/ 65 w 80"/>
                <a:gd name="T7" fmla="*/ 13 h 80"/>
                <a:gd name="T8" fmla="*/ 62 w 80"/>
                <a:gd name="T9" fmla="*/ 5 h 80"/>
                <a:gd name="T10" fmla="*/ 54 w 80"/>
                <a:gd name="T11" fmla="*/ 1 h 80"/>
                <a:gd name="T12" fmla="*/ 46 w 80"/>
                <a:gd name="T13" fmla="*/ 4 h 80"/>
                <a:gd name="T14" fmla="*/ 46 w 80"/>
                <a:gd name="T15" fmla="*/ 5 h 80"/>
                <a:gd name="T16" fmla="*/ 38 w 80"/>
                <a:gd name="T17" fmla="*/ 5 h 80"/>
                <a:gd name="T18" fmla="*/ 30 w 80"/>
                <a:gd name="T19" fmla="*/ 1 h 80"/>
                <a:gd name="T20" fmla="*/ 22 w 80"/>
                <a:gd name="T21" fmla="*/ 4 h 80"/>
                <a:gd name="T22" fmla="*/ 18 w 80"/>
                <a:gd name="T23" fmla="*/ 12 h 80"/>
                <a:gd name="T24" fmla="*/ 13 w 80"/>
                <a:gd name="T25" fmla="*/ 17 h 80"/>
                <a:gd name="T26" fmla="*/ 13 w 80"/>
                <a:gd name="T27" fmla="*/ 17 h 80"/>
                <a:gd name="T28" fmla="*/ 5 w 80"/>
                <a:gd name="T29" fmla="*/ 20 h 80"/>
                <a:gd name="T30" fmla="*/ 1 w 80"/>
                <a:gd name="T31" fmla="*/ 28 h 80"/>
                <a:gd name="T32" fmla="*/ 4 w 80"/>
                <a:gd name="T33" fmla="*/ 36 h 80"/>
                <a:gd name="T34" fmla="*/ 5 w 80"/>
                <a:gd name="T35" fmla="*/ 36 h 80"/>
                <a:gd name="T36" fmla="*/ 4 w 80"/>
                <a:gd name="T37" fmla="*/ 42 h 80"/>
                <a:gd name="T38" fmla="*/ 1 w 80"/>
                <a:gd name="T39" fmla="*/ 50 h 80"/>
                <a:gd name="T40" fmla="*/ 4 w 80"/>
                <a:gd name="T41" fmla="*/ 58 h 80"/>
                <a:gd name="T42" fmla="*/ 12 w 80"/>
                <a:gd name="T43" fmla="*/ 62 h 80"/>
                <a:gd name="T44" fmla="*/ 13 w 80"/>
                <a:gd name="T45" fmla="*/ 61 h 80"/>
                <a:gd name="T46" fmla="*/ 18 w 80"/>
                <a:gd name="T47" fmla="*/ 66 h 80"/>
                <a:gd name="T48" fmla="*/ 21 w 80"/>
                <a:gd name="T49" fmla="*/ 74 h 80"/>
                <a:gd name="T50" fmla="*/ 29 w 80"/>
                <a:gd name="T51" fmla="*/ 78 h 80"/>
                <a:gd name="T52" fmla="*/ 37 w 80"/>
                <a:gd name="T53" fmla="*/ 75 h 80"/>
                <a:gd name="T54" fmla="*/ 42 w 80"/>
                <a:gd name="T55" fmla="*/ 75 h 80"/>
                <a:gd name="T56" fmla="*/ 42 w 80"/>
                <a:gd name="T57" fmla="*/ 76 h 80"/>
                <a:gd name="T58" fmla="*/ 50 w 80"/>
                <a:gd name="T59" fmla="*/ 79 h 80"/>
                <a:gd name="T60" fmla="*/ 58 w 80"/>
                <a:gd name="T61" fmla="*/ 76 h 80"/>
                <a:gd name="T62" fmla="*/ 61 w 80"/>
                <a:gd name="T63" fmla="*/ 68 h 80"/>
                <a:gd name="T64" fmla="*/ 61 w 80"/>
                <a:gd name="T65" fmla="*/ 68 h 80"/>
                <a:gd name="T66" fmla="*/ 66 w 80"/>
                <a:gd name="T67" fmla="*/ 64 h 80"/>
                <a:gd name="T68" fmla="*/ 74 w 80"/>
                <a:gd name="T69" fmla="*/ 61 h 80"/>
                <a:gd name="T70" fmla="*/ 78 w 80"/>
                <a:gd name="T71" fmla="*/ 53 h 80"/>
                <a:gd name="T72" fmla="*/ 75 w 80"/>
                <a:gd name="T73" fmla="*/ 45 h 80"/>
                <a:gd name="T74" fmla="*/ 75 w 80"/>
                <a:gd name="T75" fmla="*/ 38 h 80"/>
                <a:gd name="T76" fmla="*/ 75 w 80"/>
                <a:gd name="T77" fmla="*/ 38 h 80"/>
                <a:gd name="T78" fmla="*/ 79 w 80"/>
                <a:gd name="T79" fmla="*/ 30 h 80"/>
                <a:gd name="T80" fmla="*/ 76 w 80"/>
                <a:gd name="T81" fmla="*/ 22 h 80"/>
                <a:gd name="T82" fmla="*/ 68 w 80"/>
                <a:gd name="T83" fmla="*/ 19 h 80"/>
                <a:gd name="T84" fmla="*/ 51 w 80"/>
                <a:gd name="T85" fmla="*/ 59 h 80"/>
                <a:gd name="T86" fmla="*/ 19 w 80"/>
                <a:gd name="T87" fmla="*/ 44 h 80"/>
                <a:gd name="T88" fmla="*/ 29 w 80"/>
                <a:gd name="T89" fmla="*/ 22 h 80"/>
                <a:gd name="T90" fmla="*/ 61 w 80"/>
                <a:gd name="T91" fmla="*/ 37 h 80"/>
                <a:gd name="T92" fmla="*/ 51 w 80"/>
                <a:gd name="T93" fmla="*/ 59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0" h="80">
                  <a:moveTo>
                    <a:pt x="68" y="19"/>
                  </a:moveTo>
                  <a:cubicBezTo>
                    <a:pt x="68" y="19"/>
                    <a:pt x="68" y="19"/>
                    <a:pt x="68" y="19"/>
                  </a:cubicBezTo>
                  <a:cubicBezTo>
                    <a:pt x="65" y="20"/>
                    <a:pt x="63" y="17"/>
                    <a:pt x="64" y="15"/>
                  </a:cubicBezTo>
                  <a:cubicBezTo>
                    <a:pt x="65" y="13"/>
                    <a:pt x="65" y="13"/>
                    <a:pt x="65" y="13"/>
                  </a:cubicBezTo>
                  <a:cubicBezTo>
                    <a:pt x="66" y="10"/>
                    <a:pt x="65" y="6"/>
                    <a:pt x="62" y="5"/>
                  </a:cubicBezTo>
                  <a:cubicBezTo>
                    <a:pt x="54" y="1"/>
                    <a:pt x="54" y="1"/>
                    <a:pt x="54" y="1"/>
                  </a:cubicBezTo>
                  <a:cubicBezTo>
                    <a:pt x="51" y="0"/>
                    <a:pt x="47" y="1"/>
                    <a:pt x="46" y="4"/>
                  </a:cubicBezTo>
                  <a:cubicBezTo>
                    <a:pt x="46" y="5"/>
                    <a:pt x="46" y="5"/>
                    <a:pt x="46" y="5"/>
                  </a:cubicBezTo>
                  <a:cubicBezTo>
                    <a:pt x="44" y="9"/>
                    <a:pt x="39" y="8"/>
                    <a:pt x="38" y="5"/>
                  </a:cubicBezTo>
                  <a:cubicBezTo>
                    <a:pt x="37" y="2"/>
                    <a:pt x="33" y="0"/>
                    <a:pt x="30" y="1"/>
                  </a:cubicBezTo>
                  <a:cubicBezTo>
                    <a:pt x="22" y="4"/>
                    <a:pt x="22" y="4"/>
                    <a:pt x="22" y="4"/>
                  </a:cubicBezTo>
                  <a:cubicBezTo>
                    <a:pt x="19" y="5"/>
                    <a:pt x="17" y="9"/>
                    <a:pt x="18" y="12"/>
                  </a:cubicBezTo>
                  <a:cubicBezTo>
                    <a:pt x="19" y="15"/>
                    <a:pt x="16" y="18"/>
                    <a:pt x="13" y="17"/>
                  </a:cubicBezTo>
                  <a:cubicBezTo>
                    <a:pt x="13" y="17"/>
                    <a:pt x="13" y="17"/>
                    <a:pt x="13" y="17"/>
                  </a:cubicBezTo>
                  <a:cubicBezTo>
                    <a:pt x="10" y="15"/>
                    <a:pt x="6" y="17"/>
                    <a:pt x="5" y="20"/>
                  </a:cubicBezTo>
                  <a:cubicBezTo>
                    <a:pt x="1" y="28"/>
                    <a:pt x="1" y="28"/>
                    <a:pt x="1" y="28"/>
                  </a:cubicBezTo>
                  <a:cubicBezTo>
                    <a:pt x="0" y="31"/>
                    <a:pt x="1" y="34"/>
                    <a:pt x="4" y="36"/>
                  </a:cubicBezTo>
                  <a:cubicBezTo>
                    <a:pt x="5" y="36"/>
                    <a:pt x="5" y="36"/>
                    <a:pt x="5" y="36"/>
                  </a:cubicBezTo>
                  <a:cubicBezTo>
                    <a:pt x="7" y="37"/>
                    <a:pt x="7" y="41"/>
                    <a:pt x="4" y="42"/>
                  </a:cubicBezTo>
                  <a:cubicBezTo>
                    <a:pt x="1" y="43"/>
                    <a:pt x="0" y="47"/>
                    <a:pt x="1" y="50"/>
                  </a:cubicBezTo>
                  <a:cubicBezTo>
                    <a:pt x="4" y="58"/>
                    <a:pt x="4" y="58"/>
                    <a:pt x="4" y="58"/>
                  </a:cubicBezTo>
                  <a:cubicBezTo>
                    <a:pt x="5" y="61"/>
                    <a:pt x="8" y="63"/>
                    <a:pt x="12" y="62"/>
                  </a:cubicBezTo>
                  <a:cubicBezTo>
                    <a:pt x="13" y="61"/>
                    <a:pt x="13" y="61"/>
                    <a:pt x="13" y="61"/>
                  </a:cubicBezTo>
                  <a:cubicBezTo>
                    <a:pt x="16" y="60"/>
                    <a:pt x="19" y="63"/>
                    <a:pt x="18" y="66"/>
                  </a:cubicBezTo>
                  <a:cubicBezTo>
                    <a:pt x="16" y="69"/>
                    <a:pt x="18" y="73"/>
                    <a:pt x="21" y="74"/>
                  </a:cubicBezTo>
                  <a:cubicBezTo>
                    <a:pt x="29" y="78"/>
                    <a:pt x="29" y="78"/>
                    <a:pt x="29" y="78"/>
                  </a:cubicBezTo>
                  <a:cubicBezTo>
                    <a:pt x="32" y="79"/>
                    <a:pt x="35" y="78"/>
                    <a:pt x="37" y="75"/>
                  </a:cubicBezTo>
                  <a:cubicBezTo>
                    <a:pt x="38" y="73"/>
                    <a:pt x="41" y="73"/>
                    <a:pt x="42" y="75"/>
                  </a:cubicBezTo>
                  <a:cubicBezTo>
                    <a:pt x="42" y="76"/>
                    <a:pt x="42" y="76"/>
                    <a:pt x="42" y="76"/>
                  </a:cubicBezTo>
                  <a:cubicBezTo>
                    <a:pt x="43" y="79"/>
                    <a:pt x="47" y="80"/>
                    <a:pt x="50" y="79"/>
                  </a:cubicBezTo>
                  <a:cubicBezTo>
                    <a:pt x="58" y="76"/>
                    <a:pt x="58" y="76"/>
                    <a:pt x="58" y="76"/>
                  </a:cubicBezTo>
                  <a:cubicBezTo>
                    <a:pt x="61" y="75"/>
                    <a:pt x="63" y="72"/>
                    <a:pt x="61" y="68"/>
                  </a:cubicBezTo>
                  <a:cubicBezTo>
                    <a:pt x="61" y="68"/>
                    <a:pt x="61" y="68"/>
                    <a:pt x="61" y="68"/>
                  </a:cubicBezTo>
                  <a:cubicBezTo>
                    <a:pt x="60" y="65"/>
                    <a:pt x="63" y="63"/>
                    <a:pt x="66" y="64"/>
                  </a:cubicBezTo>
                  <a:cubicBezTo>
                    <a:pt x="69" y="65"/>
                    <a:pt x="73" y="64"/>
                    <a:pt x="74" y="61"/>
                  </a:cubicBezTo>
                  <a:cubicBezTo>
                    <a:pt x="78" y="53"/>
                    <a:pt x="78" y="53"/>
                    <a:pt x="78" y="53"/>
                  </a:cubicBezTo>
                  <a:cubicBezTo>
                    <a:pt x="79" y="50"/>
                    <a:pt x="78" y="46"/>
                    <a:pt x="75" y="45"/>
                  </a:cubicBezTo>
                  <a:cubicBezTo>
                    <a:pt x="72" y="44"/>
                    <a:pt x="72" y="39"/>
                    <a:pt x="75" y="38"/>
                  </a:cubicBezTo>
                  <a:cubicBezTo>
                    <a:pt x="75" y="38"/>
                    <a:pt x="75" y="38"/>
                    <a:pt x="75" y="38"/>
                  </a:cubicBezTo>
                  <a:cubicBezTo>
                    <a:pt x="78" y="37"/>
                    <a:pt x="80" y="33"/>
                    <a:pt x="79" y="30"/>
                  </a:cubicBezTo>
                  <a:cubicBezTo>
                    <a:pt x="76" y="22"/>
                    <a:pt x="76" y="22"/>
                    <a:pt x="76" y="22"/>
                  </a:cubicBezTo>
                  <a:cubicBezTo>
                    <a:pt x="75" y="19"/>
                    <a:pt x="71" y="17"/>
                    <a:pt x="68" y="19"/>
                  </a:cubicBezTo>
                  <a:close/>
                  <a:moveTo>
                    <a:pt x="51" y="59"/>
                  </a:moveTo>
                  <a:cubicBezTo>
                    <a:pt x="38" y="66"/>
                    <a:pt x="21" y="59"/>
                    <a:pt x="19" y="44"/>
                  </a:cubicBezTo>
                  <a:cubicBezTo>
                    <a:pt x="17" y="35"/>
                    <a:pt x="21" y="26"/>
                    <a:pt x="29" y="22"/>
                  </a:cubicBezTo>
                  <a:cubicBezTo>
                    <a:pt x="42" y="14"/>
                    <a:pt x="58" y="22"/>
                    <a:pt x="61" y="37"/>
                  </a:cubicBezTo>
                  <a:cubicBezTo>
                    <a:pt x="62" y="45"/>
                    <a:pt x="58" y="54"/>
                    <a:pt x="51" y="5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45" name="Freeform 440">
              <a:extLst>
                <a:ext uri="{FF2B5EF4-FFF2-40B4-BE49-F238E27FC236}">
                  <a16:creationId xmlns:a16="http://schemas.microsoft.com/office/drawing/2014/main" id="{65246F74-C465-4E83-802A-4B3BAAD785B3}"/>
                </a:ext>
              </a:extLst>
            </p:cNvPr>
            <p:cNvSpPr>
              <a:spLocks/>
            </p:cNvSpPr>
            <p:nvPr/>
          </p:nvSpPr>
          <p:spPr bwMode="auto">
            <a:xfrm>
              <a:off x="7970846" y="3647671"/>
              <a:ext cx="115263" cy="113372"/>
            </a:xfrm>
            <a:custGeom>
              <a:avLst/>
              <a:gdLst>
                <a:gd name="T0" fmla="*/ 25 w 28"/>
                <a:gd name="T1" fmla="*/ 10 h 28"/>
                <a:gd name="T2" fmla="*/ 18 w 28"/>
                <a:gd name="T3" fmla="*/ 26 h 28"/>
                <a:gd name="T4" fmla="*/ 2 w 28"/>
                <a:gd name="T5" fmla="*/ 19 h 28"/>
                <a:gd name="T6" fmla="*/ 10 w 28"/>
                <a:gd name="T7" fmla="*/ 3 h 28"/>
                <a:gd name="T8" fmla="*/ 25 w 28"/>
                <a:gd name="T9" fmla="*/ 10 h 28"/>
              </a:gdLst>
              <a:ahLst/>
              <a:cxnLst>
                <a:cxn ang="0">
                  <a:pos x="T0" y="T1"/>
                </a:cxn>
                <a:cxn ang="0">
                  <a:pos x="T2" y="T3"/>
                </a:cxn>
                <a:cxn ang="0">
                  <a:pos x="T4" y="T5"/>
                </a:cxn>
                <a:cxn ang="0">
                  <a:pos x="T6" y="T7"/>
                </a:cxn>
                <a:cxn ang="0">
                  <a:pos x="T8" y="T9"/>
                </a:cxn>
              </a:cxnLst>
              <a:rect l="0" t="0" r="r" b="b"/>
              <a:pathLst>
                <a:path w="28" h="28">
                  <a:moveTo>
                    <a:pt x="25" y="10"/>
                  </a:moveTo>
                  <a:cubicBezTo>
                    <a:pt x="28" y="16"/>
                    <a:pt x="25" y="23"/>
                    <a:pt x="18" y="26"/>
                  </a:cubicBezTo>
                  <a:cubicBezTo>
                    <a:pt x="12" y="28"/>
                    <a:pt x="5" y="25"/>
                    <a:pt x="2" y="19"/>
                  </a:cubicBezTo>
                  <a:cubicBezTo>
                    <a:pt x="0" y="12"/>
                    <a:pt x="3" y="5"/>
                    <a:pt x="10" y="3"/>
                  </a:cubicBezTo>
                  <a:cubicBezTo>
                    <a:pt x="16" y="0"/>
                    <a:pt x="23" y="4"/>
                    <a:pt x="25" y="1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46" name="Freeform 441">
              <a:extLst>
                <a:ext uri="{FF2B5EF4-FFF2-40B4-BE49-F238E27FC236}">
                  <a16:creationId xmlns:a16="http://schemas.microsoft.com/office/drawing/2014/main" id="{FA570211-6277-4662-88BD-A0F4470F4F10}"/>
                </a:ext>
              </a:extLst>
            </p:cNvPr>
            <p:cNvSpPr>
              <a:spLocks noEditPoints="1"/>
            </p:cNvSpPr>
            <p:nvPr/>
          </p:nvSpPr>
          <p:spPr bwMode="auto">
            <a:xfrm>
              <a:off x="8101223" y="3309444"/>
              <a:ext cx="266426" cy="264536"/>
            </a:xfrm>
            <a:custGeom>
              <a:avLst/>
              <a:gdLst>
                <a:gd name="T0" fmla="*/ 56 w 65"/>
                <a:gd name="T1" fmla="*/ 15 h 65"/>
                <a:gd name="T2" fmla="*/ 56 w 65"/>
                <a:gd name="T3" fmla="*/ 15 h 65"/>
                <a:gd name="T4" fmla="*/ 53 w 65"/>
                <a:gd name="T5" fmla="*/ 12 h 65"/>
                <a:gd name="T6" fmla="*/ 53 w 65"/>
                <a:gd name="T7" fmla="*/ 11 h 65"/>
                <a:gd name="T8" fmla="*/ 51 w 65"/>
                <a:gd name="T9" fmla="*/ 4 h 65"/>
                <a:gd name="T10" fmla="*/ 44 w 65"/>
                <a:gd name="T11" fmla="*/ 1 h 65"/>
                <a:gd name="T12" fmla="*/ 38 w 65"/>
                <a:gd name="T13" fmla="*/ 4 h 65"/>
                <a:gd name="T14" fmla="*/ 38 w 65"/>
                <a:gd name="T15" fmla="*/ 4 h 65"/>
                <a:gd name="T16" fmla="*/ 31 w 65"/>
                <a:gd name="T17" fmla="*/ 4 h 65"/>
                <a:gd name="T18" fmla="*/ 25 w 65"/>
                <a:gd name="T19" fmla="*/ 1 h 65"/>
                <a:gd name="T20" fmla="*/ 18 w 65"/>
                <a:gd name="T21" fmla="*/ 3 h 65"/>
                <a:gd name="T22" fmla="*/ 15 w 65"/>
                <a:gd name="T23" fmla="*/ 10 h 65"/>
                <a:gd name="T24" fmla="*/ 11 w 65"/>
                <a:gd name="T25" fmla="*/ 14 h 65"/>
                <a:gd name="T26" fmla="*/ 11 w 65"/>
                <a:gd name="T27" fmla="*/ 14 h 65"/>
                <a:gd name="T28" fmla="*/ 5 w 65"/>
                <a:gd name="T29" fmla="*/ 16 h 65"/>
                <a:gd name="T30" fmla="*/ 2 w 65"/>
                <a:gd name="T31" fmla="*/ 22 h 65"/>
                <a:gd name="T32" fmla="*/ 4 w 65"/>
                <a:gd name="T33" fmla="*/ 29 h 65"/>
                <a:gd name="T34" fmla="*/ 4 w 65"/>
                <a:gd name="T35" fmla="*/ 29 h 65"/>
                <a:gd name="T36" fmla="*/ 4 w 65"/>
                <a:gd name="T37" fmla="*/ 34 h 65"/>
                <a:gd name="T38" fmla="*/ 1 w 65"/>
                <a:gd name="T39" fmla="*/ 41 h 65"/>
                <a:gd name="T40" fmla="*/ 4 w 65"/>
                <a:gd name="T41" fmla="*/ 47 h 65"/>
                <a:gd name="T42" fmla="*/ 10 w 65"/>
                <a:gd name="T43" fmla="*/ 50 h 65"/>
                <a:gd name="T44" fmla="*/ 11 w 65"/>
                <a:gd name="T45" fmla="*/ 50 h 65"/>
                <a:gd name="T46" fmla="*/ 15 w 65"/>
                <a:gd name="T47" fmla="*/ 54 h 65"/>
                <a:gd name="T48" fmla="*/ 17 w 65"/>
                <a:gd name="T49" fmla="*/ 60 h 65"/>
                <a:gd name="T50" fmla="*/ 24 w 65"/>
                <a:gd name="T51" fmla="*/ 63 h 65"/>
                <a:gd name="T52" fmla="*/ 30 w 65"/>
                <a:gd name="T53" fmla="*/ 61 h 65"/>
                <a:gd name="T54" fmla="*/ 34 w 65"/>
                <a:gd name="T55" fmla="*/ 61 h 65"/>
                <a:gd name="T56" fmla="*/ 35 w 65"/>
                <a:gd name="T57" fmla="*/ 61 h 65"/>
                <a:gd name="T58" fmla="*/ 41 w 65"/>
                <a:gd name="T59" fmla="*/ 64 h 65"/>
                <a:gd name="T60" fmla="*/ 48 w 65"/>
                <a:gd name="T61" fmla="*/ 62 h 65"/>
                <a:gd name="T62" fmla="*/ 50 w 65"/>
                <a:gd name="T63" fmla="*/ 55 h 65"/>
                <a:gd name="T64" fmla="*/ 50 w 65"/>
                <a:gd name="T65" fmla="*/ 55 h 65"/>
                <a:gd name="T66" fmla="*/ 54 w 65"/>
                <a:gd name="T67" fmla="*/ 52 h 65"/>
                <a:gd name="T68" fmla="*/ 61 w 65"/>
                <a:gd name="T69" fmla="*/ 49 h 65"/>
                <a:gd name="T70" fmla="*/ 63 w 65"/>
                <a:gd name="T71" fmla="*/ 43 h 65"/>
                <a:gd name="T72" fmla="*/ 61 w 65"/>
                <a:gd name="T73" fmla="*/ 36 h 65"/>
                <a:gd name="T74" fmla="*/ 61 w 65"/>
                <a:gd name="T75" fmla="*/ 31 h 65"/>
                <a:gd name="T76" fmla="*/ 62 w 65"/>
                <a:gd name="T77" fmla="*/ 31 h 65"/>
                <a:gd name="T78" fmla="*/ 65 w 65"/>
                <a:gd name="T79" fmla="*/ 25 h 65"/>
                <a:gd name="T80" fmla="*/ 62 w 65"/>
                <a:gd name="T81" fmla="*/ 18 h 65"/>
                <a:gd name="T82" fmla="*/ 56 w 65"/>
                <a:gd name="T83" fmla="*/ 15 h 65"/>
                <a:gd name="T84" fmla="*/ 42 w 65"/>
                <a:gd name="T85" fmla="*/ 47 h 65"/>
                <a:gd name="T86" fmla="*/ 16 w 65"/>
                <a:gd name="T87" fmla="*/ 35 h 65"/>
                <a:gd name="T88" fmla="*/ 24 w 65"/>
                <a:gd name="T89" fmla="*/ 18 h 65"/>
                <a:gd name="T90" fmla="*/ 50 w 65"/>
                <a:gd name="T91" fmla="*/ 30 h 65"/>
                <a:gd name="T92" fmla="*/ 42 w 65"/>
                <a:gd name="T93" fmla="*/ 47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5" h="65">
                  <a:moveTo>
                    <a:pt x="56" y="15"/>
                  </a:moveTo>
                  <a:cubicBezTo>
                    <a:pt x="56" y="15"/>
                    <a:pt x="56" y="15"/>
                    <a:pt x="56" y="15"/>
                  </a:cubicBezTo>
                  <a:cubicBezTo>
                    <a:pt x="54" y="16"/>
                    <a:pt x="52" y="14"/>
                    <a:pt x="53" y="12"/>
                  </a:cubicBezTo>
                  <a:cubicBezTo>
                    <a:pt x="53" y="11"/>
                    <a:pt x="53" y="11"/>
                    <a:pt x="53" y="11"/>
                  </a:cubicBezTo>
                  <a:cubicBezTo>
                    <a:pt x="54" y="8"/>
                    <a:pt x="53" y="5"/>
                    <a:pt x="51" y="4"/>
                  </a:cubicBezTo>
                  <a:cubicBezTo>
                    <a:pt x="44" y="1"/>
                    <a:pt x="44" y="1"/>
                    <a:pt x="44" y="1"/>
                  </a:cubicBezTo>
                  <a:cubicBezTo>
                    <a:pt x="42" y="0"/>
                    <a:pt x="39" y="1"/>
                    <a:pt x="38" y="4"/>
                  </a:cubicBezTo>
                  <a:cubicBezTo>
                    <a:pt x="38" y="4"/>
                    <a:pt x="38" y="4"/>
                    <a:pt x="38" y="4"/>
                  </a:cubicBezTo>
                  <a:cubicBezTo>
                    <a:pt x="36" y="7"/>
                    <a:pt x="32" y="7"/>
                    <a:pt x="31" y="4"/>
                  </a:cubicBezTo>
                  <a:cubicBezTo>
                    <a:pt x="30" y="1"/>
                    <a:pt x="27" y="0"/>
                    <a:pt x="25" y="1"/>
                  </a:cubicBezTo>
                  <a:cubicBezTo>
                    <a:pt x="18" y="3"/>
                    <a:pt x="18" y="3"/>
                    <a:pt x="18" y="3"/>
                  </a:cubicBezTo>
                  <a:cubicBezTo>
                    <a:pt x="16" y="4"/>
                    <a:pt x="15" y="7"/>
                    <a:pt x="15" y="10"/>
                  </a:cubicBezTo>
                  <a:cubicBezTo>
                    <a:pt x="16" y="12"/>
                    <a:pt x="14" y="15"/>
                    <a:pt x="11" y="14"/>
                  </a:cubicBezTo>
                  <a:cubicBezTo>
                    <a:pt x="11" y="14"/>
                    <a:pt x="11" y="14"/>
                    <a:pt x="11" y="14"/>
                  </a:cubicBezTo>
                  <a:cubicBezTo>
                    <a:pt x="9" y="12"/>
                    <a:pt x="6" y="14"/>
                    <a:pt x="5" y="16"/>
                  </a:cubicBezTo>
                  <a:cubicBezTo>
                    <a:pt x="2" y="22"/>
                    <a:pt x="2" y="22"/>
                    <a:pt x="2" y="22"/>
                  </a:cubicBezTo>
                  <a:cubicBezTo>
                    <a:pt x="1" y="25"/>
                    <a:pt x="2" y="28"/>
                    <a:pt x="4" y="29"/>
                  </a:cubicBezTo>
                  <a:cubicBezTo>
                    <a:pt x="4" y="29"/>
                    <a:pt x="4" y="29"/>
                    <a:pt x="4" y="29"/>
                  </a:cubicBezTo>
                  <a:cubicBezTo>
                    <a:pt x="7" y="30"/>
                    <a:pt x="7" y="33"/>
                    <a:pt x="4" y="34"/>
                  </a:cubicBezTo>
                  <a:cubicBezTo>
                    <a:pt x="2" y="35"/>
                    <a:pt x="0" y="38"/>
                    <a:pt x="1" y="41"/>
                  </a:cubicBezTo>
                  <a:cubicBezTo>
                    <a:pt x="4" y="47"/>
                    <a:pt x="4" y="47"/>
                    <a:pt x="4" y="47"/>
                  </a:cubicBezTo>
                  <a:cubicBezTo>
                    <a:pt x="5" y="50"/>
                    <a:pt x="8" y="51"/>
                    <a:pt x="10" y="50"/>
                  </a:cubicBezTo>
                  <a:cubicBezTo>
                    <a:pt x="11" y="50"/>
                    <a:pt x="11" y="50"/>
                    <a:pt x="11" y="50"/>
                  </a:cubicBezTo>
                  <a:cubicBezTo>
                    <a:pt x="14" y="49"/>
                    <a:pt x="16" y="51"/>
                    <a:pt x="15" y="54"/>
                  </a:cubicBezTo>
                  <a:cubicBezTo>
                    <a:pt x="14" y="56"/>
                    <a:pt x="15" y="59"/>
                    <a:pt x="17" y="60"/>
                  </a:cubicBezTo>
                  <a:cubicBezTo>
                    <a:pt x="24" y="63"/>
                    <a:pt x="24" y="63"/>
                    <a:pt x="24" y="63"/>
                  </a:cubicBezTo>
                  <a:cubicBezTo>
                    <a:pt x="26" y="64"/>
                    <a:pt x="29" y="63"/>
                    <a:pt x="30" y="61"/>
                  </a:cubicBezTo>
                  <a:cubicBezTo>
                    <a:pt x="31" y="59"/>
                    <a:pt x="34" y="59"/>
                    <a:pt x="34" y="61"/>
                  </a:cubicBezTo>
                  <a:cubicBezTo>
                    <a:pt x="35" y="61"/>
                    <a:pt x="35" y="61"/>
                    <a:pt x="35" y="61"/>
                  </a:cubicBezTo>
                  <a:cubicBezTo>
                    <a:pt x="36" y="64"/>
                    <a:pt x="38" y="65"/>
                    <a:pt x="41" y="64"/>
                  </a:cubicBezTo>
                  <a:cubicBezTo>
                    <a:pt x="48" y="62"/>
                    <a:pt x="48" y="62"/>
                    <a:pt x="48" y="62"/>
                  </a:cubicBezTo>
                  <a:cubicBezTo>
                    <a:pt x="50" y="61"/>
                    <a:pt x="51" y="58"/>
                    <a:pt x="50" y="55"/>
                  </a:cubicBezTo>
                  <a:cubicBezTo>
                    <a:pt x="50" y="55"/>
                    <a:pt x="50" y="55"/>
                    <a:pt x="50" y="55"/>
                  </a:cubicBezTo>
                  <a:cubicBezTo>
                    <a:pt x="50" y="53"/>
                    <a:pt x="52" y="51"/>
                    <a:pt x="54" y="52"/>
                  </a:cubicBezTo>
                  <a:cubicBezTo>
                    <a:pt x="57" y="53"/>
                    <a:pt x="59" y="52"/>
                    <a:pt x="61" y="49"/>
                  </a:cubicBezTo>
                  <a:cubicBezTo>
                    <a:pt x="63" y="43"/>
                    <a:pt x="63" y="43"/>
                    <a:pt x="63" y="43"/>
                  </a:cubicBezTo>
                  <a:cubicBezTo>
                    <a:pt x="65" y="41"/>
                    <a:pt x="64" y="38"/>
                    <a:pt x="61" y="36"/>
                  </a:cubicBezTo>
                  <a:cubicBezTo>
                    <a:pt x="59" y="35"/>
                    <a:pt x="59" y="32"/>
                    <a:pt x="61" y="31"/>
                  </a:cubicBezTo>
                  <a:cubicBezTo>
                    <a:pt x="62" y="31"/>
                    <a:pt x="62" y="31"/>
                    <a:pt x="62" y="31"/>
                  </a:cubicBezTo>
                  <a:cubicBezTo>
                    <a:pt x="64" y="30"/>
                    <a:pt x="65" y="27"/>
                    <a:pt x="65" y="25"/>
                  </a:cubicBezTo>
                  <a:cubicBezTo>
                    <a:pt x="62" y="18"/>
                    <a:pt x="62" y="18"/>
                    <a:pt x="62" y="18"/>
                  </a:cubicBezTo>
                  <a:cubicBezTo>
                    <a:pt x="61" y="15"/>
                    <a:pt x="58" y="14"/>
                    <a:pt x="56" y="15"/>
                  </a:cubicBezTo>
                  <a:close/>
                  <a:moveTo>
                    <a:pt x="42" y="47"/>
                  </a:moveTo>
                  <a:cubicBezTo>
                    <a:pt x="31" y="54"/>
                    <a:pt x="18" y="48"/>
                    <a:pt x="16" y="35"/>
                  </a:cubicBezTo>
                  <a:cubicBezTo>
                    <a:pt x="15" y="28"/>
                    <a:pt x="18" y="21"/>
                    <a:pt x="24" y="18"/>
                  </a:cubicBezTo>
                  <a:cubicBezTo>
                    <a:pt x="34" y="11"/>
                    <a:pt x="48" y="17"/>
                    <a:pt x="50" y="30"/>
                  </a:cubicBezTo>
                  <a:cubicBezTo>
                    <a:pt x="51" y="37"/>
                    <a:pt x="48" y="44"/>
                    <a:pt x="42" y="4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47" name="Freeform 442">
              <a:extLst>
                <a:ext uri="{FF2B5EF4-FFF2-40B4-BE49-F238E27FC236}">
                  <a16:creationId xmlns:a16="http://schemas.microsoft.com/office/drawing/2014/main" id="{305E28DA-AF37-4176-A1FF-0B66986ED378}"/>
                </a:ext>
              </a:extLst>
            </p:cNvPr>
            <p:cNvSpPr>
              <a:spLocks/>
            </p:cNvSpPr>
            <p:nvPr/>
          </p:nvSpPr>
          <p:spPr bwMode="auto">
            <a:xfrm>
              <a:off x="8191921" y="3394473"/>
              <a:ext cx="88809" cy="94477"/>
            </a:xfrm>
            <a:custGeom>
              <a:avLst/>
              <a:gdLst>
                <a:gd name="T0" fmla="*/ 20 w 22"/>
                <a:gd name="T1" fmla="*/ 8 h 23"/>
                <a:gd name="T2" fmla="*/ 14 w 22"/>
                <a:gd name="T3" fmla="*/ 21 h 23"/>
                <a:gd name="T4" fmla="*/ 2 w 22"/>
                <a:gd name="T5" fmla="*/ 15 h 23"/>
                <a:gd name="T6" fmla="*/ 7 w 22"/>
                <a:gd name="T7" fmla="*/ 2 h 23"/>
                <a:gd name="T8" fmla="*/ 20 w 22"/>
                <a:gd name="T9" fmla="*/ 8 h 23"/>
              </a:gdLst>
              <a:ahLst/>
              <a:cxnLst>
                <a:cxn ang="0">
                  <a:pos x="T0" y="T1"/>
                </a:cxn>
                <a:cxn ang="0">
                  <a:pos x="T2" y="T3"/>
                </a:cxn>
                <a:cxn ang="0">
                  <a:pos x="T4" y="T5"/>
                </a:cxn>
                <a:cxn ang="0">
                  <a:pos x="T6" y="T7"/>
                </a:cxn>
                <a:cxn ang="0">
                  <a:pos x="T8" y="T9"/>
                </a:cxn>
              </a:cxnLst>
              <a:rect l="0" t="0" r="r" b="b"/>
              <a:pathLst>
                <a:path w="22" h="23">
                  <a:moveTo>
                    <a:pt x="20" y="8"/>
                  </a:moveTo>
                  <a:cubicBezTo>
                    <a:pt x="22" y="13"/>
                    <a:pt x="20" y="19"/>
                    <a:pt x="14" y="21"/>
                  </a:cubicBezTo>
                  <a:cubicBezTo>
                    <a:pt x="9" y="23"/>
                    <a:pt x="4" y="20"/>
                    <a:pt x="2" y="15"/>
                  </a:cubicBezTo>
                  <a:cubicBezTo>
                    <a:pt x="0" y="10"/>
                    <a:pt x="2" y="4"/>
                    <a:pt x="7" y="2"/>
                  </a:cubicBezTo>
                  <a:cubicBezTo>
                    <a:pt x="13" y="0"/>
                    <a:pt x="18" y="3"/>
                    <a:pt x="20" y="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grpSp>
      <p:sp>
        <p:nvSpPr>
          <p:cNvPr id="48" name="TextBox 483">
            <a:extLst>
              <a:ext uri="{FF2B5EF4-FFF2-40B4-BE49-F238E27FC236}">
                <a16:creationId xmlns:a16="http://schemas.microsoft.com/office/drawing/2014/main" id="{63EF7F06-3830-4BA8-A4B1-D14A0D2C72EC}"/>
              </a:ext>
            </a:extLst>
          </p:cNvPr>
          <p:cNvSpPr txBox="1"/>
          <p:nvPr/>
        </p:nvSpPr>
        <p:spPr>
          <a:xfrm>
            <a:off x="9106459" y="2955141"/>
            <a:ext cx="1967221" cy="583237"/>
          </a:xfrm>
          <a:prstGeom prst="rect">
            <a:avLst/>
          </a:prstGeom>
          <a:noFill/>
        </p:spPr>
        <p:txBody>
          <a:bodyPr wrap="square" lIns="0" tIns="0" rIns="0" bIns="0" rtlCol="0">
            <a:spAutoFit/>
          </a:bodyPr>
          <a:lstStyle/>
          <a:p>
            <a:pPr marL="0" marR="0" lvl="0" indent="0" algn="r" defTabSz="457200" rtl="0" eaLnBrk="1" fontAlgn="auto" latinLnBrk="0" hangingPunct="1">
              <a:lnSpc>
                <a:spcPct val="13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alpha val="70000"/>
                  </a:prstClr>
                </a:solidFill>
                <a:effectLst/>
                <a:uLnTx/>
                <a:uFillTx/>
                <a:latin typeface="HarmonyOS Sans SC"/>
                <a:cs typeface="+mn-cs"/>
              </a:rPr>
              <a:t>It is a long established </a:t>
            </a:r>
          </a:p>
          <a:p>
            <a:pPr marL="0" marR="0" lvl="0" indent="0" algn="r" defTabSz="457200" rtl="0" eaLnBrk="1" fontAlgn="auto" latinLnBrk="0" hangingPunct="1">
              <a:lnSpc>
                <a:spcPct val="13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alpha val="70000"/>
                  </a:prstClr>
                </a:solidFill>
                <a:effectLst/>
                <a:uLnTx/>
                <a:uFillTx/>
                <a:latin typeface="HarmonyOS Sans SC"/>
                <a:cs typeface="+mn-cs"/>
              </a:rPr>
              <a:t>fact that a reader will be distracted by the.</a:t>
            </a:r>
          </a:p>
        </p:txBody>
      </p:sp>
      <p:sp>
        <p:nvSpPr>
          <p:cNvPr id="49" name="TextBox 484">
            <a:extLst>
              <a:ext uri="{FF2B5EF4-FFF2-40B4-BE49-F238E27FC236}">
                <a16:creationId xmlns:a16="http://schemas.microsoft.com/office/drawing/2014/main" id="{A8F6F392-D12E-430F-93F1-5B5F8D997A31}"/>
              </a:ext>
            </a:extLst>
          </p:cNvPr>
          <p:cNvSpPr txBox="1"/>
          <p:nvPr/>
        </p:nvSpPr>
        <p:spPr>
          <a:xfrm>
            <a:off x="8809847" y="4021882"/>
            <a:ext cx="2263833" cy="583237"/>
          </a:xfrm>
          <a:prstGeom prst="rect">
            <a:avLst/>
          </a:prstGeom>
          <a:noFill/>
        </p:spPr>
        <p:txBody>
          <a:bodyPr wrap="square" lIns="0" tIns="0" rIns="0" bIns="0" rtlCol="0">
            <a:spAutoFit/>
          </a:bodyPr>
          <a:lstStyle/>
          <a:p>
            <a:pPr marL="0" marR="0" lvl="0" indent="0" algn="r" defTabSz="457200" rtl="0" eaLnBrk="1" fontAlgn="auto" latinLnBrk="0" hangingPunct="1">
              <a:lnSpc>
                <a:spcPct val="13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alpha val="70000"/>
                  </a:prstClr>
                </a:solidFill>
                <a:effectLst/>
                <a:uLnTx/>
                <a:uFillTx/>
                <a:latin typeface="HarmonyOS Sans SC"/>
                <a:cs typeface="+mn-cs"/>
              </a:rPr>
              <a:t>It is a long established </a:t>
            </a:r>
          </a:p>
          <a:p>
            <a:pPr marL="0" marR="0" lvl="0" indent="0" algn="r" defTabSz="457200" rtl="0" eaLnBrk="1" fontAlgn="auto" latinLnBrk="0" hangingPunct="1">
              <a:lnSpc>
                <a:spcPct val="13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alpha val="70000"/>
                  </a:prstClr>
                </a:solidFill>
                <a:effectLst/>
                <a:uLnTx/>
                <a:uFillTx/>
                <a:latin typeface="HarmonyOS Sans SC"/>
                <a:cs typeface="+mn-cs"/>
              </a:rPr>
              <a:t>fact that a reader will be distracted </a:t>
            </a:r>
            <a:br>
              <a:rPr kumimoji="0" lang="en-US" sz="1000" b="0" i="0" u="none" strike="noStrike" kern="1200" cap="none" spc="0" normalizeH="0" baseline="0" noProof="0" dirty="0">
                <a:ln>
                  <a:noFill/>
                </a:ln>
                <a:solidFill>
                  <a:prstClr val="white">
                    <a:alpha val="70000"/>
                  </a:prstClr>
                </a:solidFill>
                <a:effectLst/>
                <a:uLnTx/>
                <a:uFillTx/>
                <a:latin typeface="HarmonyOS Sans SC"/>
                <a:cs typeface="+mn-cs"/>
              </a:rPr>
            </a:br>
            <a:r>
              <a:rPr kumimoji="0" lang="en-US" sz="1000" b="0" i="0" u="none" strike="noStrike" kern="1200" cap="none" spc="0" normalizeH="0" baseline="0" noProof="0" dirty="0">
                <a:ln>
                  <a:noFill/>
                </a:ln>
                <a:solidFill>
                  <a:prstClr val="white">
                    <a:alpha val="70000"/>
                  </a:prstClr>
                </a:solidFill>
                <a:effectLst/>
                <a:uLnTx/>
                <a:uFillTx/>
                <a:latin typeface="HarmonyOS Sans SC"/>
                <a:cs typeface="+mn-cs"/>
              </a:rPr>
              <a:t>by the.</a:t>
            </a:r>
          </a:p>
        </p:txBody>
      </p:sp>
      <p:sp>
        <p:nvSpPr>
          <p:cNvPr id="50" name="TextBox 485">
            <a:extLst>
              <a:ext uri="{FF2B5EF4-FFF2-40B4-BE49-F238E27FC236}">
                <a16:creationId xmlns:a16="http://schemas.microsoft.com/office/drawing/2014/main" id="{E4113B34-FEE2-429E-8865-57B3F8A9AFD3}"/>
              </a:ext>
            </a:extLst>
          </p:cNvPr>
          <p:cNvSpPr txBox="1"/>
          <p:nvPr/>
        </p:nvSpPr>
        <p:spPr>
          <a:xfrm>
            <a:off x="8556769" y="5028698"/>
            <a:ext cx="2516912" cy="583237"/>
          </a:xfrm>
          <a:prstGeom prst="rect">
            <a:avLst/>
          </a:prstGeom>
          <a:noFill/>
        </p:spPr>
        <p:txBody>
          <a:bodyPr wrap="square" lIns="0" tIns="0" rIns="0" bIns="0" rtlCol="0">
            <a:spAutoFit/>
          </a:bodyPr>
          <a:lstStyle/>
          <a:p>
            <a:pPr marL="0" marR="0" lvl="0" indent="0" algn="r" defTabSz="457200" rtl="0" eaLnBrk="1" fontAlgn="auto" latinLnBrk="0" hangingPunct="1">
              <a:lnSpc>
                <a:spcPct val="13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alpha val="70000"/>
                  </a:prstClr>
                </a:solidFill>
                <a:effectLst/>
                <a:uLnTx/>
                <a:uFillTx/>
                <a:latin typeface="HarmonyOS Sans SC"/>
                <a:cs typeface="+mn-cs"/>
              </a:rPr>
              <a:t>It is a long established </a:t>
            </a:r>
          </a:p>
          <a:p>
            <a:pPr marL="0" marR="0" lvl="0" indent="0" algn="r" defTabSz="457200" rtl="0" eaLnBrk="1" fontAlgn="auto" latinLnBrk="0" hangingPunct="1">
              <a:lnSpc>
                <a:spcPct val="13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alpha val="70000"/>
                  </a:prstClr>
                </a:solidFill>
                <a:effectLst/>
                <a:uLnTx/>
                <a:uFillTx/>
                <a:latin typeface="HarmonyOS Sans SC"/>
                <a:cs typeface="+mn-cs"/>
              </a:rPr>
              <a:t>fact that a reader will be </a:t>
            </a:r>
            <a:br>
              <a:rPr kumimoji="0" lang="en-US" sz="1000" b="0" i="0" u="none" strike="noStrike" kern="1200" cap="none" spc="0" normalizeH="0" baseline="0" noProof="0" dirty="0">
                <a:ln>
                  <a:noFill/>
                </a:ln>
                <a:solidFill>
                  <a:prstClr val="white">
                    <a:alpha val="70000"/>
                  </a:prstClr>
                </a:solidFill>
                <a:effectLst/>
                <a:uLnTx/>
                <a:uFillTx/>
                <a:latin typeface="HarmonyOS Sans SC"/>
                <a:cs typeface="+mn-cs"/>
              </a:rPr>
            </a:br>
            <a:r>
              <a:rPr kumimoji="0" lang="en-US" sz="1000" b="0" i="0" u="none" strike="noStrike" kern="1200" cap="none" spc="0" normalizeH="0" baseline="0" noProof="0" dirty="0">
                <a:ln>
                  <a:noFill/>
                </a:ln>
                <a:solidFill>
                  <a:prstClr val="white">
                    <a:alpha val="70000"/>
                  </a:prstClr>
                </a:solidFill>
                <a:effectLst/>
                <a:uLnTx/>
                <a:uFillTx/>
                <a:latin typeface="HarmonyOS Sans SC"/>
                <a:cs typeface="+mn-cs"/>
              </a:rPr>
              <a:t>distracted by the.</a:t>
            </a:r>
          </a:p>
        </p:txBody>
      </p:sp>
      <p:sp>
        <p:nvSpPr>
          <p:cNvPr id="51" name="TextBox 486">
            <a:extLst>
              <a:ext uri="{FF2B5EF4-FFF2-40B4-BE49-F238E27FC236}">
                <a16:creationId xmlns:a16="http://schemas.microsoft.com/office/drawing/2014/main" id="{2AEC6DF6-8358-40CE-847C-BEC437BF5C5C}"/>
              </a:ext>
            </a:extLst>
          </p:cNvPr>
          <p:cNvSpPr txBox="1"/>
          <p:nvPr/>
        </p:nvSpPr>
        <p:spPr>
          <a:xfrm>
            <a:off x="8356474" y="6151911"/>
            <a:ext cx="2717206" cy="383182"/>
          </a:xfrm>
          <a:prstGeom prst="rect">
            <a:avLst/>
          </a:prstGeom>
          <a:noFill/>
        </p:spPr>
        <p:txBody>
          <a:bodyPr wrap="square" lIns="0" tIns="0" rIns="0" bIns="0" rtlCol="0">
            <a:spAutoFit/>
          </a:bodyPr>
          <a:lstStyle/>
          <a:p>
            <a:pPr marL="0" marR="0" lvl="0" indent="0" algn="r" defTabSz="457200" rtl="0" eaLnBrk="1" fontAlgn="auto" latinLnBrk="0" hangingPunct="1">
              <a:lnSpc>
                <a:spcPct val="13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alpha val="70000"/>
                  </a:prstClr>
                </a:solidFill>
                <a:effectLst/>
                <a:uLnTx/>
                <a:uFillTx/>
                <a:latin typeface="HarmonyOS Sans SC"/>
                <a:cs typeface="+mn-cs"/>
              </a:rPr>
              <a:t>It is a long established </a:t>
            </a:r>
          </a:p>
          <a:p>
            <a:pPr marL="0" marR="0" lvl="0" indent="0" algn="r" defTabSz="457200" rtl="0" eaLnBrk="1" fontAlgn="auto" latinLnBrk="0" hangingPunct="1">
              <a:lnSpc>
                <a:spcPct val="13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alpha val="70000"/>
                  </a:prstClr>
                </a:solidFill>
                <a:effectLst/>
                <a:uLnTx/>
                <a:uFillTx/>
                <a:latin typeface="HarmonyOS Sans SC"/>
                <a:cs typeface="+mn-cs"/>
              </a:rPr>
              <a:t>fact that a reader will be distracted by the.</a:t>
            </a:r>
          </a:p>
        </p:txBody>
      </p:sp>
      <p:sp>
        <p:nvSpPr>
          <p:cNvPr id="52" name="TextBox 487">
            <a:extLst>
              <a:ext uri="{FF2B5EF4-FFF2-40B4-BE49-F238E27FC236}">
                <a16:creationId xmlns:a16="http://schemas.microsoft.com/office/drawing/2014/main" id="{87E8CA3B-B98E-4459-A86C-45B345FDC420}"/>
              </a:ext>
            </a:extLst>
          </p:cNvPr>
          <p:cNvSpPr txBox="1"/>
          <p:nvPr/>
        </p:nvSpPr>
        <p:spPr>
          <a:xfrm>
            <a:off x="1076165" y="3573980"/>
            <a:ext cx="3302662" cy="1981953"/>
          </a:xfrm>
          <a:prstGeom prst="rect">
            <a:avLst/>
          </a:prstGeom>
          <a:noFill/>
        </p:spPr>
        <p:txBody>
          <a:bodyPr wrap="square" lIns="0" tIns="0" rIns="0" bIns="0" rtlCol="0">
            <a:spAutoFit/>
          </a:bodyPr>
          <a:lstStyle/>
          <a:p>
            <a:pPr marL="0" marR="0" lvl="0" indent="0" algn="l" defTabSz="457200" rtl="0" eaLnBrk="1" fontAlgn="auto" latinLnBrk="0" hangingPunct="1">
              <a:lnSpc>
                <a:spcPct val="13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HarmonyOS Sans SC"/>
                <a:cs typeface="+mn-cs"/>
              </a:rPr>
              <a:t>Lorem Ipsum is simply dummy text </a:t>
            </a:r>
          </a:p>
          <a:p>
            <a:pPr marL="0" marR="0" lvl="0" indent="0" algn="l" defTabSz="457200" rtl="0" eaLnBrk="1" fontAlgn="auto" latinLnBrk="0" hangingPunct="1">
              <a:lnSpc>
                <a:spcPct val="13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HarmonyOS Sans SC"/>
                <a:cs typeface="+mn-cs"/>
              </a:rPr>
              <a:t>of the printing and typesetting industry. Lorem Ipsum </a:t>
            </a:r>
          </a:p>
          <a:p>
            <a:pPr marL="0" marR="0" lvl="0" indent="0" algn="l" defTabSz="457200" rtl="0" eaLnBrk="1" fontAlgn="auto" latinLnBrk="0" hangingPunct="1">
              <a:lnSpc>
                <a:spcPct val="13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HarmonyOS Sans SC"/>
                <a:cs typeface="+mn-cs"/>
              </a:rPr>
              <a:t>has been the industry's standard dummy text ever since the 1500s, when an unknown printer took a galley </a:t>
            </a:r>
          </a:p>
          <a:p>
            <a:pPr marL="0" marR="0" lvl="0" indent="0" algn="l" defTabSz="457200" rtl="0" eaLnBrk="1" fontAlgn="auto" latinLnBrk="0" hangingPunct="1">
              <a:lnSpc>
                <a:spcPct val="13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HarmonyOS Sans SC"/>
                <a:cs typeface="+mn-cs"/>
              </a:rPr>
              <a:t>of type and scrambled it to make a </a:t>
            </a:r>
          </a:p>
          <a:p>
            <a:pPr marL="0" marR="0" lvl="0" indent="0" algn="l" defTabSz="457200" rtl="0" eaLnBrk="1" fontAlgn="auto" latinLnBrk="0" hangingPunct="1">
              <a:lnSpc>
                <a:spcPct val="13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HarmonyOS Sans SC"/>
                <a:cs typeface="+mn-cs"/>
              </a:rPr>
              <a:t>type specimen book. </a:t>
            </a:r>
          </a:p>
          <a:p>
            <a:pPr marL="0" marR="0" lvl="0" indent="0" algn="l" defTabSz="457200" rtl="0" eaLnBrk="1" fontAlgn="auto" latinLnBrk="0" hangingPunct="1">
              <a:lnSpc>
                <a:spcPct val="13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lumMod val="50000"/>
                  <a:lumOff val="50000"/>
                </a:prstClr>
              </a:solidFill>
              <a:effectLst/>
              <a:uLnTx/>
              <a:uFillTx/>
              <a:latin typeface="HarmonyOS Sans SC"/>
              <a:cs typeface="+mn-cs"/>
            </a:endParaRPr>
          </a:p>
          <a:p>
            <a:pPr marL="0" marR="0" lvl="0" indent="0" algn="l" defTabSz="457200" rtl="0" eaLnBrk="1" fontAlgn="auto" latinLnBrk="0" hangingPunct="1">
              <a:lnSpc>
                <a:spcPct val="13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HarmonyOS Sans SC"/>
                <a:cs typeface="+mn-cs"/>
              </a:rPr>
              <a:t>It has survived not only five centuries, but also the leap into electronic typesetting, remaining essentially unchanged. </a:t>
            </a:r>
          </a:p>
        </p:txBody>
      </p:sp>
      <p:sp>
        <p:nvSpPr>
          <p:cNvPr id="53" name="TextBox 488">
            <a:extLst>
              <a:ext uri="{FF2B5EF4-FFF2-40B4-BE49-F238E27FC236}">
                <a16:creationId xmlns:a16="http://schemas.microsoft.com/office/drawing/2014/main" id="{B5982AED-8AE4-49E5-9673-0D6CC0856C3C}"/>
              </a:ext>
            </a:extLst>
          </p:cNvPr>
          <p:cNvSpPr txBox="1"/>
          <p:nvPr/>
        </p:nvSpPr>
        <p:spPr>
          <a:xfrm>
            <a:off x="1044608" y="2437122"/>
            <a:ext cx="3219232" cy="886397"/>
          </a:xfrm>
          <a:prstGeom prst="rect">
            <a:avLst/>
          </a:prstGeom>
          <a:noFill/>
        </p:spPr>
        <p:txBody>
          <a:bodyPr wrap="square" lIns="0" tIns="0" rIns="0" bIns="0" rtlCol="0">
            <a:spAutoFit/>
          </a:bodyPr>
          <a:lstStyle/>
          <a:p>
            <a:pPr marL="0" marR="0" lvl="0" indent="0" algn="l" defTabSz="457200" rtl="0" eaLnBrk="1" fontAlgn="auto" latinLnBrk="0" hangingPunct="1">
              <a:lnSpc>
                <a:spcPct val="90000"/>
              </a:lnSpc>
              <a:spcBef>
                <a:spcPts val="0"/>
              </a:spcBef>
              <a:spcAft>
                <a:spcPts val="0"/>
              </a:spcAft>
              <a:buClrTx/>
              <a:buSzTx/>
              <a:buFontTx/>
              <a:buNone/>
              <a:tabLst/>
              <a:defRPr/>
            </a:pPr>
            <a:r>
              <a:rPr kumimoji="0" lang="en-US" sz="3200" b="0" i="0" u="none" strike="noStrike" kern="1200" cap="none" spc="0" normalizeH="0" baseline="0" noProof="0" dirty="0">
                <a:ln>
                  <a:noFill/>
                </a:ln>
                <a:solidFill>
                  <a:prstClr val="black">
                    <a:lumMod val="75000"/>
                    <a:lumOff val="25000"/>
                  </a:prstClr>
                </a:solidFill>
                <a:effectLst/>
                <a:uLnTx/>
                <a:uFillTx/>
                <a:latin typeface="HarmonyOS Sans SC Black"/>
                <a:ea typeface="+mj-ea"/>
                <a:cs typeface="+mn-cs"/>
              </a:rPr>
              <a:t>TIMELINE </a:t>
            </a:r>
          </a:p>
          <a:p>
            <a:pPr marL="0" marR="0" lvl="0" indent="0" algn="l" defTabSz="457200" rtl="0" eaLnBrk="1" fontAlgn="auto" latinLnBrk="0" hangingPunct="1">
              <a:lnSpc>
                <a:spcPct val="90000"/>
              </a:lnSpc>
              <a:spcBef>
                <a:spcPts val="0"/>
              </a:spcBef>
              <a:spcAft>
                <a:spcPts val="0"/>
              </a:spcAft>
              <a:buClrTx/>
              <a:buSzTx/>
              <a:buFontTx/>
              <a:buNone/>
              <a:tabLst/>
              <a:defRPr/>
            </a:pPr>
            <a:r>
              <a:rPr kumimoji="0" lang="en-US" sz="3200" b="0" i="0" u="none" strike="noStrike" kern="1200" cap="none" spc="0" normalizeH="0" baseline="0" noProof="0" dirty="0">
                <a:ln>
                  <a:noFill/>
                </a:ln>
                <a:solidFill>
                  <a:schemeClr val="accent1"/>
                </a:solidFill>
                <a:effectLst/>
                <a:uLnTx/>
                <a:uFillTx/>
                <a:latin typeface="HarmonyOS Sans SC Black"/>
                <a:ea typeface="+mj-ea"/>
                <a:cs typeface="+mn-cs"/>
              </a:rPr>
              <a:t>INFOGRAPHIC</a:t>
            </a:r>
          </a:p>
        </p:txBody>
      </p:sp>
    </p:spTree>
    <p:extLst>
      <p:ext uri="{BB962C8B-B14F-4D97-AF65-F5344CB8AC3E}">
        <p14:creationId xmlns:p14="http://schemas.microsoft.com/office/powerpoint/2010/main" val="3568563600"/>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4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9">
            <a:extLst>
              <a:ext uri="{FF2B5EF4-FFF2-40B4-BE49-F238E27FC236}">
                <a16:creationId xmlns:a16="http://schemas.microsoft.com/office/drawing/2014/main" id="{262FDE06-BA6E-462F-89B1-7C60FD6D5A14}"/>
              </a:ext>
            </a:extLst>
          </p:cNvPr>
          <p:cNvSpPr>
            <a:spLocks/>
          </p:cNvSpPr>
          <p:nvPr/>
        </p:nvSpPr>
        <p:spPr bwMode="auto">
          <a:xfrm>
            <a:off x="8011202" y="5848942"/>
            <a:ext cx="7937" cy="7937"/>
          </a:xfrm>
          <a:custGeom>
            <a:avLst/>
            <a:gdLst>
              <a:gd name="T0" fmla="*/ 2 w 2"/>
              <a:gd name="T1" fmla="*/ 0 h 2"/>
              <a:gd name="T2" fmla="*/ 0 w 2"/>
              <a:gd name="T3" fmla="*/ 0 h 2"/>
              <a:gd name="T4" fmla="*/ 0 w 2"/>
              <a:gd name="T5" fmla="*/ 2 h 2"/>
              <a:gd name="T6" fmla="*/ 2 w 2"/>
              <a:gd name="T7" fmla="*/ 2 h 2"/>
              <a:gd name="T8" fmla="*/ 2 w 2"/>
              <a:gd name="T9" fmla="*/ 2 h 2"/>
              <a:gd name="T10" fmla="*/ 2 w 2"/>
              <a:gd name="T11" fmla="*/ 2 h 2"/>
              <a:gd name="T12" fmla="*/ 2 w 2"/>
              <a:gd name="T13" fmla="*/ 0 h 2"/>
              <a:gd name="T14" fmla="*/ 2 w 2"/>
              <a:gd name="T15" fmla="*/ 0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2">
                <a:moveTo>
                  <a:pt x="2" y="0"/>
                </a:moveTo>
                <a:cubicBezTo>
                  <a:pt x="0" y="0"/>
                  <a:pt x="0" y="0"/>
                  <a:pt x="0" y="0"/>
                </a:cubicBezTo>
                <a:cubicBezTo>
                  <a:pt x="0" y="2"/>
                  <a:pt x="0" y="2"/>
                  <a:pt x="0" y="2"/>
                </a:cubicBezTo>
                <a:cubicBezTo>
                  <a:pt x="2" y="2"/>
                  <a:pt x="2" y="2"/>
                  <a:pt x="2" y="2"/>
                </a:cubicBezTo>
                <a:cubicBezTo>
                  <a:pt x="2" y="2"/>
                  <a:pt x="2" y="2"/>
                  <a:pt x="2" y="2"/>
                </a:cubicBezTo>
                <a:cubicBezTo>
                  <a:pt x="2" y="2"/>
                  <a:pt x="2" y="2"/>
                  <a:pt x="2" y="2"/>
                </a:cubicBezTo>
                <a:cubicBezTo>
                  <a:pt x="2" y="0"/>
                  <a:pt x="2" y="0"/>
                  <a:pt x="2" y="0"/>
                </a:cubicBezTo>
                <a:cubicBezTo>
                  <a:pt x="2" y="0"/>
                  <a:pt x="2" y="0"/>
                  <a:pt x="2" y="0"/>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sp>
        <p:nvSpPr>
          <p:cNvPr id="4" name="Freeform 6">
            <a:extLst>
              <a:ext uri="{FF2B5EF4-FFF2-40B4-BE49-F238E27FC236}">
                <a16:creationId xmlns:a16="http://schemas.microsoft.com/office/drawing/2014/main" id="{C0ED622C-29A7-4718-8811-9F7A1F79FD8A}"/>
              </a:ext>
            </a:extLst>
          </p:cNvPr>
          <p:cNvSpPr>
            <a:spLocks/>
          </p:cNvSpPr>
          <p:nvPr/>
        </p:nvSpPr>
        <p:spPr bwMode="auto">
          <a:xfrm>
            <a:off x="8075492" y="5747342"/>
            <a:ext cx="757237" cy="1184275"/>
          </a:xfrm>
          <a:custGeom>
            <a:avLst/>
            <a:gdLst>
              <a:gd name="T0" fmla="*/ 187 w 187"/>
              <a:gd name="T1" fmla="*/ 271 h 293"/>
              <a:gd name="T2" fmla="*/ 162 w 187"/>
              <a:gd name="T3" fmla="*/ 293 h 293"/>
              <a:gd name="T4" fmla="*/ 25 w 187"/>
              <a:gd name="T5" fmla="*/ 293 h 293"/>
              <a:gd name="T6" fmla="*/ 0 w 187"/>
              <a:gd name="T7" fmla="*/ 271 h 293"/>
              <a:gd name="T8" fmla="*/ 0 w 187"/>
              <a:gd name="T9" fmla="*/ 21 h 293"/>
              <a:gd name="T10" fmla="*/ 25 w 187"/>
              <a:gd name="T11" fmla="*/ 0 h 293"/>
              <a:gd name="T12" fmla="*/ 162 w 187"/>
              <a:gd name="T13" fmla="*/ 0 h 293"/>
              <a:gd name="T14" fmla="*/ 187 w 187"/>
              <a:gd name="T15" fmla="*/ 21 h 293"/>
              <a:gd name="T16" fmla="*/ 187 w 187"/>
              <a:gd name="T17" fmla="*/ 271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7" h="293">
                <a:moveTo>
                  <a:pt x="187" y="271"/>
                </a:moveTo>
                <a:cubicBezTo>
                  <a:pt x="187" y="283"/>
                  <a:pt x="176" y="293"/>
                  <a:pt x="162" y="293"/>
                </a:cubicBezTo>
                <a:cubicBezTo>
                  <a:pt x="25" y="293"/>
                  <a:pt x="25" y="293"/>
                  <a:pt x="25" y="293"/>
                </a:cubicBezTo>
                <a:cubicBezTo>
                  <a:pt x="11" y="293"/>
                  <a:pt x="0" y="283"/>
                  <a:pt x="0" y="271"/>
                </a:cubicBezTo>
                <a:cubicBezTo>
                  <a:pt x="0" y="21"/>
                  <a:pt x="0" y="21"/>
                  <a:pt x="0" y="21"/>
                </a:cubicBezTo>
                <a:cubicBezTo>
                  <a:pt x="0" y="9"/>
                  <a:pt x="11" y="0"/>
                  <a:pt x="25" y="0"/>
                </a:cubicBezTo>
                <a:cubicBezTo>
                  <a:pt x="162" y="0"/>
                  <a:pt x="162" y="0"/>
                  <a:pt x="162" y="0"/>
                </a:cubicBezTo>
                <a:cubicBezTo>
                  <a:pt x="176" y="0"/>
                  <a:pt x="187" y="9"/>
                  <a:pt x="187" y="21"/>
                </a:cubicBezTo>
                <a:cubicBezTo>
                  <a:pt x="187" y="271"/>
                  <a:pt x="187" y="271"/>
                  <a:pt x="187" y="271"/>
                </a:cubicBezTo>
              </a:path>
            </a:pathLst>
          </a:custGeom>
          <a:gradFill>
            <a:gsLst>
              <a:gs pos="73000">
                <a:schemeClr val="accent1"/>
              </a:gs>
              <a:gs pos="31000">
                <a:schemeClr val="accent1">
                  <a:lumMod val="60000"/>
                  <a:lumOff val="40000"/>
                </a:schemeClr>
              </a:gs>
              <a:gs pos="0">
                <a:schemeClr val="accent1">
                  <a:lumMod val="40000"/>
                  <a:lumOff val="60000"/>
                </a:schemeClr>
              </a:gs>
            </a:gsLst>
            <a:path path="circle">
              <a:fillToRect r="100000" b="100000"/>
            </a:path>
          </a:gra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cs typeface="+mn-cs"/>
            </a:endParaRPr>
          </a:p>
        </p:txBody>
      </p:sp>
      <p:sp>
        <p:nvSpPr>
          <p:cNvPr id="5" name="Freeform 7">
            <a:extLst>
              <a:ext uri="{FF2B5EF4-FFF2-40B4-BE49-F238E27FC236}">
                <a16:creationId xmlns:a16="http://schemas.microsoft.com/office/drawing/2014/main" id="{5E6107A5-7B1B-4FF0-8BFD-3D053EC1C57C}"/>
              </a:ext>
            </a:extLst>
          </p:cNvPr>
          <p:cNvSpPr>
            <a:spLocks/>
          </p:cNvSpPr>
          <p:nvPr/>
        </p:nvSpPr>
        <p:spPr bwMode="auto">
          <a:xfrm>
            <a:off x="8075492" y="5747342"/>
            <a:ext cx="376237" cy="1184275"/>
          </a:xfrm>
          <a:custGeom>
            <a:avLst/>
            <a:gdLst>
              <a:gd name="T0" fmla="*/ 0 w 93"/>
              <a:gd name="T1" fmla="*/ 271 h 293"/>
              <a:gd name="T2" fmla="*/ 0 w 93"/>
              <a:gd name="T3" fmla="*/ 21 h 293"/>
              <a:gd name="T4" fmla="*/ 25 w 93"/>
              <a:gd name="T5" fmla="*/ 0 h 293"/>
              <a:gd name="T6" fmla="*/ 93 w 93"/>
              <a:gd name="T7" fmla="*/ 0 h 293"/>
              <a:gd name="T8" fmla="*/ 93 w 93"/>
              <a:gd name="T9" fmla="*/ 293 h 293"/>
              <a:gd name="T10" fmla="*/ 25 w 93"/>
              <a:gd name="T11" fmla="*/ 293 h 293"/>
              <a:gd name="T12" fmla="*/ 0 w 93"/>
              <a:gd name="T13" fmla="*/ 271 h 293"/>
            </a:gdLst>
            <a:ahLst/>
            <a:cxnLst>
              <a:cxn ang="0">
                <a:pos x="T0" y="T1"/>
              </a:cxn>
              <a:cxn ang="0">
                <a:pos x="T2" y="T3"/>
              </a:cxn>
              <a:cxn ang="0">
                <a:pos x="T4" y="T5"/>
              </a:cxn>
              <a:cxn ang="0">
                <a:pos x="T6" y="T7"/>
              </a:cxn>
              <a:cxn ang="0">
                <a:pos x="T8" y="T9"/>
              </a:cxn>
              <a:cxn ang="0">
                <a:pos x="T10" y="T11"/>
              </a:cxn>
              <a:cxn ang="0">
                <a:pos x="T12" y="T13"/>
              </a:cxn>
            </a:cxnLst>
            <a:rect l="0" t="0" r="r" b="b"/>
            <a:pathLst>
              <a:path w="93" h="293">
                <a:moveTo>
                  <a:pt x="0" y="271"/>
                </a:moveTo>
                <a:cubicBezTo>
                  <a:pt x="0" y="21"/>
                  <a:pt x="0" y="21"/>
                  <a:pt x="0" y="21"/>
                </a:cubicBezTo>
                <a:cubicBezTo>
                  <a:pt x="0" y="9"/>
                  <a:pt x="11" y="0"/>
                  <a:pt x="25" y="0"/>
                </a:cubicBezTo>
                <a:cubicBezTo>
                  <a:pt x="93" y="0"/>
                  <a:pt x="93" y="0"/>
                  <a:pt x="93" y="0"/>
                </a:cubicBezTo>
                <a:cubicBezTo>
                  <a:pt x="93" y="293"/>
                  <a:pt x="93" y="293"/>
                  <a:pt x="93" y="293"/>
                </a:cubicBezTo>
                <a:cubicBezTo>
                  <a:pt x="25" y="293"/>
                  <a:pt x="25" y="293"/>
                  <a:pt x="25" y="293"/>
                </a:cubicBezTo>
                <a:cubicBezTo>
                  <a:pt x="11" y="293"/>
                  <a:pt x="0" y="283"/>
                  <a:pt x="0" y="271"/>
                </a:cubicBezTo>
              </a:path>
            </a:pathLst>
          </a:custGeom>
          <a:gradFill flip="none" rotWithShape="1">
            <a:gsLst>
              <a:gs pos="100000">
                <a:schemeClr val="accent1"/>
              </a:gs>
              <a:gs pos="31000">
                <a:schemeClr val="accent1">
                  <a:lumMod val="60000"/>
                  <a:lumOff val="40000"/>
                </a:schemeClr>
              </a:gs>
              <a:gs pos="0">
                <a:schemeClr val="accent1">
                  <a:lumMod val="40000"/>
                  <a:lumOff val="60000"/>
                </a:schemeClr>
              </a:gs>
            </a:gsLst>
            <a:lin ang="1620000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cs typeface="+mn-cs"/>
            </a:endParaRPr>
          </a:p>
        </p:txBody>
      </p:sp>
      <p:sp>
        <p:nvSpPr>
          <p:cNvPr id="7" name="Freeform 12">
            <a:extLst>
              <a:ext uri="{FF2B5EF4-FFF2-40B4-BE49-F238E27FC236}">
                <a16:creationId xmlns:a16="http://schemas.microsoft.com/office/drawing/2014/main" id="{2F8FD277-6F97-47FE-907E-442DC6A41A4C}"/>
              </a:ext>
            </a:extLst>
          </p:cNvPr>
          <p:cNvSpPr>
            <a:spLocks/>
          </p:cNvSpPr>
          <p:nvPr/>
        </p:nvSpPr>
        <p:spPr bwMode="auto">
          <a:xfrm>
            <a:off x="6813430" y="5071067"/>
            <a:ext cx="2071687" cy="1379537"/>
          </a:xfrm>
          <a:custGeom>
            <a:avLst/>
            <a:gdLst>
              <a:gd name="T0" fmla="*/ 10 w 512"/>
              <a:gd name="T1" fmla="*/ 99 h 341"/>
              <a:gd name="T2" fmla="*/ 53 w 512"/>
              <a:gd name="T3" fmla="*/ 67 h 341"/>
              <a:gd name="T4" fmla="*/ 91 w 512"/>
              <a:gd name="T5" fmla="*/ 40 h 341"/>
              <a:gd name="T6" fmla="*/ 134 w 512"/>
              <a:gd name="T7" fmla="*/ 8 h 341"/>
              <a:gd name="T8" fmla="*/ 153 w 512"/>
              <a:gd name="T9" fmla="*/ 16 h 341"/>
              <a:gd name="T10" fmla="*/ 153 w 512"/>
              <a:gd name="T11" fmla="*/ 31 h 341"/>
              <a:gd name="T12" fmla="*/ 312 w 512"/>
              <a:gd name="T13" fmla="*/ 31 h 341"/>
              <a:gd name="T14" fmla="*/ 499 w 512"/>
              <a:gd name="T15" fmla="*/ 192 h 341"/>
              <a:gd name="T16" fmla="*/ 499 w 512"/>
              <a:gd name="T17" fmla="*/ 341 h 341"/>
              <a:gd name="T18" fmla="*/ 312 w 512"/>
              <a:gd name="T19" fmla="*/ 192 h 341"/>
              <a:gd name="T20" fmla="*/ 153 w 512"/>
              <a:gd name="T21" fmla="*/ 192 h 341"/>
              <a:gd name="T22" fmla="*/ 153 w 512"/>
              <a:gd name="T23" fmla="*/ 210 h 341"/>
              <a:gd name="T24" fmla="*/ 134 w 512"/>
              <a:gd name="T25" fmla="*/ 218 h 341"/>
              <a:gd name="T26" fmla="*/ 91 w 512"/>
              <a:gd name="T27" fmla="*/ 186 h 341"/>
              <a:gd name="T28" fmla="*/ 53 w 512"/>
              <a:gd name="T29" fmla="*/ 158 h 341"/>
              <a:gd name="T30" fmla="*/ 10 w 512"/>
              <a:gd name="T31" fmla="*/ 127 h 341"/>
              <a:gd name="T32" fmla="*/ 10 w 512"/>
              <a:gd name="T33" fmla="*/ 99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12" h="341">
                <a:moveTo>
                  <a:pt x="10" y="99"/>
                </a:moveTo>
                <a:cubicBezTo>
                  <a:pt x="53" y="67"/>
                  <a:pt x="53" y="67"/>
                  <a:pt x="53" y="67"/>
                </a:cubicBezTo>
                <a:cubicBezTo>
                  <a:pt x="64" y="60"/>
                  <a:pt x="80" y="47"/>
                  <a:pt x="91" y="40"/>
                </a:cubicBezTo>
                <a:cubicBezTo>
                  <a:pt x="134" y="8"/>
                  <a:pt x="134" y="8"/>
                  <a:pt x="134" y="8"/>
                </a:cubicBezTo>
                <a:cubicBezTo>
                  <a:pt x="144" y="0"/>
                  <a:pt x="153" y="4"/>
                  <a:pt x="153" y="16"/>
                </a:cubicBezTo>
                <a:cubicBezTo>
                  <a:pt x="153" y="31"/>
                  <a:pt x="153" y="31"/>
                  <a:pt x="153" y="31"/>
                </a:cubicBezTo>
                <a:cubicBezTo>
                  <a:pt x="312" y="31"/>
                  <a:pt x="312" y="31"/>
                  <a:pt x="312" y="31"/>
                </a:cubicBezTo>
                <a:cubicBezTo>
                  <a:pt x="512" y="36"/>
                  <a:pt x="499" y="192"/>
                  <a:pt x="499" y="192"/>
                </a:cubicBezTo>
                <a:cubicBezTo>
                  <a:pt x="499" y="341"/>
                  <a:pt x="499" y="341"/>
                  <a:pt x="499" y="341"/>
                </a:cubicBezTo>
                <a:cubicBezTo>
                  <a:pt x="497" y="304"/>
                  <a:pt x="478" y="192"/>
                  <a:pt x="312" y="192"/>
                </a:cubicBezTo>
                <a:cubicBezTo>
                  <a:pt x="153" y="192"/>
                  <a:pt x="153" y="192"/>
                  <a:pt x="153" y="192"/>
                </a:cubicBezTo>
                <a:cubicBezTo>
                  <a:pt x="153" y="210"/>
                  <a:pt x="153" y="210"/>
                  <a:pt x="153" y="210"/>
                </a:cubicBezTo>
                <a:cubicBezTo>
                  <a:pt x="153" y="222"/>
                  <a:pt x="144" y="225"/>
                  <a:pt x="134" y="218"/>
                </a:cubicBezTo>
                <a:cubicBezTo>
                  <a:pt x="91" y="186"/>
                  <a:pt x="91" y="186"/>
                  <a:pt x="91" y="186"/>
                </a:cubicBezTo>
                <a:cubicBezTo>
                  <a:pt x="80" y="178"/>
                  <a:pt x="64" y="166"/>
                  <a:pt x="53" y="158"/>
                </a:cubicBezTo>
                <a:cubicBezTo>
                  <a:pt x="10" y="127"/>
                  <a:pt x="10" y="127"/>
                  <a:pt x="10" y="127"/>
                </a:cubicBezTo>
                <a:cubicBezTo>
                  <a:pt x="0" y="119"/>
                  <a:pt x="0" y="107"/>
                  <a:pt x="10" y="99"/>
                </a:cubicBezTo>
              </a:path>
            </a:pathLst>
          </a:custGeom>
          <a:gradFill>
            <a:gsLst>
              <a:gs pos="73000">
                <a:schemeClr val="accent1"/>
              </a:gs>
              <a:gs pos="31000">
                <a:schemeClr val="accent1">
                  <a:lumMod val="60000"/>
                  <a:lumOff val="40000"/>
                </a:schemeClr>
              </a:gs>
              <a:gs pos="0">
                <a:schemeClr val="accent1">
                  <a:lumMod val="40000"/>
                  <a:lumOff val="60000"/>
                </a:schemeClr>
              </a:gs>
            </a:gsLst>
            <a:path path="circle">
              <a:fillToRect r="100000" b="100000"/>
            </a:path>
          </a:gra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Open Sans"/>
              <a:ea typeface="+mn-ea"/>
              <a:cs typeface="+mn-cs"/>
            </a:endParaRPr>
          </a:p>
        </p:txBody>
      </p:sp>
      <p:sp>
        <p:nvSpPr>
          <p:cNvPr id="8" name="Freeform 14">
            <a:extLst>
              <a:ext uri="{FF2B5EF4-FFF2-40B4-BE49-F238E27FC236}">
                <a16:creationId xmlns:a16="http://schemas.microsoft.com/office/drawing/2014/main" id="{4F48AF54-AE08-41F2-9584-7B26EA821B2D}"/>
              </a:ext>
            </a:extLst>
          </p:cNvPr>
          <p:cNvSpPr>
            <a:spLocks/>
          </p:cNvSpPr>
          <p:nvPr/>
        </p:nvSpPr>
        <p:spPr bwMode="auto">
          <a:xfrm>
            <a:off x="6821367" y="5533029"/>
            <a:ext cx="2011362" cy="917575"/>
          </a:xfrm>
          <a:custGeom>
            <a:avLst/>
            <a:gdLst>
              <a:gd name="T0" fmla="*/ 310 w 497"/>
              <a:gd name="T1" fmla="*/ 78 h 227"/>
              <a:gd name="T2" fmla="*/ 153 w 497"/>
              <a:gd name="T3" fmla="*/ 78 h 227"/>
              <a:gd name="T4" fmla="*/ 151 w 497"/>
              <a:gd name="T5" fmla="*/ 80 h 227"/>
              <a:gd name="T6" fmla="*/ 151 w 497"/>
              <a:gd name="T7" fmla="*/ 96 h 227"/>
              <a:gd name="T8" fmla="*/ 132 w 497"/>
              <a:gd name="T9" fmla="*/ 104 h 227"/>
              <a:gd name="T10" fmla="*/ 89 w 497"/>
              <a:gd name="T11" fmla="*/ 72 h 227"/>
              <a:gd name="T12" fmla="*/ 51 w 497"/>
              <a:gd name="T13" fmla="*/ 44 h 227"/>
              <a:gd name="T14" fmla="*/ 8 w 497"/>
              <a:gd name="T15" fmla="*/ 13 h 227"/>
              <a:gd name="T16" fmla="*/ 0 w 497"/>
              <a:gd name="T17" fmla="*/ 0 h 227"/>
              <a:gd name="T18" fmla="*/ 310 w 497"/>
              <a:gd name="T19" fmla="*/ 0 h 227"/>
              <a:gd name="T20" fmla="*/ 497 w 497"/>
              <a:gd name="T21" fmla="*/ 148 h 227"/>
              <a:gd name="T22" fmla="*/ 497 w 497"/>
              <a:gd name="T23" fmla="*/ 227 h 227"/>
              <a:gd name="T24" fmla="*/ 310 w 497"/>
              <a:gd name="T25" fmla="*/ 78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7" h="227">
                <a:moveTo>
                  <a:pt x="310" y="78"/>
                </a:moveTo>
                <a:cubicBezTo>
                  <a:pt x="153" y="78"/>
                  <a:pt x="153" y="78"/>
                  <a:pt x="153" y="78"/>
                </a:cubicBezTo>
                <a:cubicBezTo>
                  <a:pt x="152" y="78"/>
                  <a:pt x="151" y="79"/>
                  <a:pt x="151" y="80"/>
                </a:cubicBezTo>
                <a:cubicBezTo>
                  <a:pt x="151" y="96"/>
                  <a:pt x="151" y="96"/>
                  <a:pt x="151" y="96"/>
                </a:cubicBezTo>
                <a:cubicBezTo>
                  <a:pt x="151" y="108"/>
                  <a:pt x="142" y="111"/>
                  <a:pt x="132" y="104"/>
                </a:cubicBezTo>
                <a:cubicBezTo>
                  <a:pt x="89" y="72"/>
                  <a:pt x="89" y="72"/>
                  <a:pt x="89" y="72"/>
                </a:cubicBezTo>
                <a:cubicBezTo>
                  <a:pt x="78" y="64"/>
                  <a:pt x="62" y="52"/>
                  <a:pt x="51" y="44"/>
                </a:cubicBezTo>
                <a:cubicBezTo>
                  <a:pt x="8" y="13"/>
                  <a:pt x="8" y="13"/>
                  <a:pt x="8" y="13"/>
                </a:cubicBezTo>
                <a:cubicBezTo>
                  <a:pt x="3" y="9"/>
                  <a:pt x="1" y="5"/>
                  <a:pt x="0" y="0"/>
                </a:cubicBezTo>
                <a:cubicBezTo>
                  <a:pt x="310" y="0"/>
                  <a:pt x="310" y="0"/>
                  <a:pt x="310" y="0"/>
                </a:cubicBezTo>
                <a:cubicBezTo>
                  <a:pt x="474" y="4"/>
                  <a:pt x="495" y="110"/>
                  <a:pt x="497" y="148"/>
                </a:cubicBezTo>
                <a:cubicBezTo>
                  <a:pt x="497" y="227"/>
                  <a:pt x="497" y="227"/>
                  <a:pt x="497" y="227"/>
                </a:cubicBezTo>
                <a:cubicBezTo>
                  <a:pt x="495" y="190"/>
                  <a:pt x="476" y="78"/>
                  <a:pt x="310" y="78"/>
                </a:cubicBezTo>
              </a:path>
            </a:pathLst>
          </a:custGeom>
          <a:gradFill flip="none" rotWithShape="1">
            <a:gsLst>
              <a:gs pos="100000">
                <a:schemeClr val="accent1"/>
              </a:gs>
              <a:gs pos="31000">
                <a:schemeClr val="accent1">
                  <a:lumMod val="60000"/>
                  <a:lumOff val="40000"/>
                </a:schemeClr>
              </a:gs>
              <a:gs pos="0">
                <a:schemeClr val="accent1">
                  <a:lumMod val="40000"/>
                  <a:lumOff val="60000"/>
                </a:schemeClr>
              </a:gs>
            </a:gsLst>
            <a:lin ang="1620000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cs typeface="+mn-cs"/>
            </a:endParaRPr>
          </a:p>
        </p:txBody>
      </p:sp>
      <p:sp>
        <p:nvSpPr>
          <p:cNvPr id="11" name="Freeform 16">
            <a:extLst>
              <a:ext uri="{FF2B5EF4-FFF2-40B4-BE49-F238E27FC236}">
                <a16:creationId xmlns:a16="http://schemas.microsoft.com/office/drawing/2014/main" id="{6E23CE1A-2731-4961-8263-BF5AECAFA6E6}"/>
              </a:ext>
            </a:extLst>
          </p:cNvPr>
          <p:cNvSpPr>
            <a:spLocks/>
          </p:cNvSpPr>
          <p:nvPr/>
        </p:nvSpPr>
        <p:spPr bwMode="auto">
          <a:xfrm>
            <a:off x="8824398" y="4339229"/>
            <a:ext cx="752475" cy="2592387"/>
          </a:xfrm>
          <a:custGeom>
            <a:avLst/>
            <a:gdLst>
              <a:gd name="T0" fmla="*/ 186 w 186"/>
              <a:gd name="T1" fmla="*/ 619 h 641"/>
              <a:gd name="T2" fmla="*/ 161 w 186"/>
              <a:gd name="T3" fmla="*/ 641 h 641"/>
              <a:gd name="T4" fmla="*/ 24 w 186"/>
              <a:gd name="T5" fmla="*/ 641 h 641"/>
              <a:gd name="T6" fmla="*/ 0 w 186"/>
              <a:gd name="T7" fmla="*/ 619 h 641"/>
              <a:gd name="T8" fmla="*/ 0 w 186"/>
              <a:gd name="T9" fmla="*/ 22 h 641"/>
              <a:gd name="T10" fmla="*/ 24 w 186"/>
              <a:gd name="T11" fmla="*/ 0 h 641"/>
              <a:gd name="T12" fmla="*/ 161 w 186"/>
              <a:gd name="T13" fmla="*/ 0 h 641"/>
              <a:gd name="T14" fmla="*/ 186 w 186"/>
              <a:gd name="T15" fmla="*/ 22 h 641"/>
              <a:gd name="T16" fmla="*/ 186 w 186"/>
              <a:gd name="T17" fmla="*/ 619 h 6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6" h="641">
                <a:moveTo>
                  <a:pt x="186" y="619"/>
                </a:moveTo>
                <a:cubicBezTo>
                  <a:pt x="186" y="631"/>
                  <a:pt x="175" y="641"/>
                  <a:pt x="161" y="641"/>
                </a:cubicBezTo>
                <a:cubicBezTo>
                  <a:pt x="24" y="641"/>
                  <a:pt x="24" y="641"/>
                  <a:pt x="24" y="641"/>
                </a:cubicBezTo>
                <a:cubicBezTo>
                  <a:pt x="11" y="641"/>
                  <a:pt x="0" y="631"/>
                  <a:pt x="0" y="619"/>
                </a:cubicBezTo>
                <a:cubicBezTo>
                  <a:pt x="0" y="22"/>
                  <a:pt x="0" y="22"/>
                  <a:pt x="0" y="22"/>
                </a:cubicBezTo>
                <a:cubicBezTo>
                  <a:pt x="0" y="10"/>
                  <a:pt x="11" y="0"/>
                  <a:pt x="24" y="0"/>
                </a:cubicBezTo>
                <a:cubicBezTo>
                  <a:pt x="161" y="0"/>
                  <a:pt x="161" y="0"/>
                  <a:pt x="161" y="0"/>
                </a:cubicBezTo>
                <a:cubicBezTo>
                  <a:pt x="175" y="0"/>
                  <a:pt x="186" y="10"/>
                  <a:pt x="186" y="22"/>
                </a:cubicBezTo>
                <a:cubicBezTo>
                  <a:pt x="186" y="619"/>
                  <a:pt x="186" y="619"/>
                  <a:pt x="186" y="619"/>
                </a:cubicBezTo>
              </a:path>
            </a:pathLst>
          </a:custGeom>
          <a:gradFill>
            <a:gsLst>
              <a:gs pos="73000">
                <a:schemeClr val="accent1"/>
              </a:gs>
              <a:gs pos="31000">
                <a:schemeClr val="accent1">
                  <a:lumMod val="60000"/>
                  <a:lumOff val="40000"/>
                </a:schemeClr>
              </a:gs>
              <a:gs pos="0">
                <a:schemeClr val="accent1">
                  <a:lumMod val="40000"/>
                  <a:lumOff val="60000"/>
                </a:schemeClr>
              </a:gs>
            </a:gsLst>
            <a:path path="circle">
              <a:fillToRect r="100000" b="100000"/>
            </a:path>
          </a:gra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cs typeface="+mn-cs"/>
            </a:endParaRPr>
          </a:p>
        </p:txBody>
      </p:sp>
      <p:sp>
        <p:nvSpPr>
          <p:cNvPr id="12" name="Freeform 17">
            <a:extLst>
              <a:ext uri="{FF2B5EF4-FFF2-40B4-BE49-F238E27FC236}">
                <a16:creationId xmlns:a16="http://schemas.microsoft.com/office/drawing/2014/main" id="{54441FB0-BB09-46B4-A465-AE023F2D1C12}"/>
              </a:ext>
            </a:extLst>
          </p:cNvPr>
          <p:cNvSpPr>
            <a:spLocks/>
          </p:cNvSpPr>
          <p:nvPr/>
        </p:nvSpPr>
        <p:spPr bwMode="auto">
          <a:xfrm>
            <a:off x="8824398" y="4339229"/>
            <a:ext cx="376237" cy="2592387"/>
          </a:xfrm>
          <a:custGeom>
            <a:avLst/>
            <a:gdLst>
              <a:gd name="T0" fmla="*/ 0 w 93"/>
              <a:gd name="T1" fmla="*/ 619 h 641"/>
              <a:gd name="T2" fmla="*/ 0 w 93"/>
              <a:gd name="T3" fmla="*/ 22 h 641"/>
              <a:gd name="T4" fmla="*/ 24 w 93"/>
              <a:gd name="T5" fmla="*/ 0 h 641"/>
              <a:gd name="T6" fmla="*/ 93 w 93"/>
              <a:gd name="T7" fmla="*/ 0 h 641"/>
              <a:gd name="T8" fmla="*/ 93 w 93"/>
              <a:gd name="T9" fmla="*/ 641 h 641"/>
              <a:gd name="T10" fmla="*/ 24 w 93"/>
              <a:gd name="T11" fmla="*/ 641 h 641"/>
              <a:gd name="T12" fmla="*/ 0 w 93"/>
              <a:gd name="T13" fmla="*/ 619 h 641"/>
            </a:gdLst>
            <a:ahLst/>
            <a:cxnLst>
              <a:cxn ang="0">
                <a:pos x="T0" y="T1"/>
              </a:cxn>
              <a:cxn ang="0">
                <a:pos x="T2" y="T3"/>
              </a:cxn>
              <a:cxn ang="0">
                <a:pos x="T4" y="T5"/>
              </a:cxn>
              <a:cxn ang="0">
                <a:pos x="T6" y="T7"/>
              </a:cxn>
              <a:cxn ang="0">
                <a:pos x="T8" y="T9"/>
              </a:cxn>
              <a:cxn ang="0">
                <a:pos x="T10" y="T11"/>
              </a:cxn>
              <a:cxn ang="0">
                <a:pos x="T12" y="T13"/>
              </a:cxn>
            </a:cxnLst>
            <a:rect l="0" t="0" r="r" b="b"/>
            <a:pathLst>
              <a:path w="93" h="641">
                <a:moveTo>
                  <a:pt x="0" y="619"/>
                </a:moveTo>
                <a:cubicBezTo>
                  <a:pt x="0" y="22"/>
                  <a:pt x="0" y="22"/>
                  <a:pt x="0" y="22"/>
                </a:cubicBezTo>
                <a:cubicBezTo>
                  <a:pt x="0" y="10"/>
                  <a:pt x="11" y="0"/>
                  <a:pt x="24" y="0"/>
                </a:cubicBezTo>
                <a:cubicBezTo>
                  <a:pt x="93" y="0"/>
                  <a:pt x="93" y="0"/>
                  <a:pt x="93" y="0"/>
                </a:cubicBezTo>
                <a:cubicBezTo>
                  <a:pt x="93" y="641"/>
                  <a:pt x="93" y="641"/>
                  <a:pt x="93" y="641"/>
                </a:cubicBezTo>
                <a:cubicBezTo>
                  <a:pt x="24" y="641"/>
                  <a:pt x="24" y="641"/>
                  <a:pt x="24" y="641"/>
                </a:cubicBezTo>
                <a:cubicBezTo>
                  <a:pt x="11" y="641"/>
                  <a:pt x="0" y="631"/>
                  <a:pt x="0" y="619"/>
                </a:cubicBezTo>
              </a:path>
            </a:pathLst>
          </a:custGeom>
          <a:gradFill flip="none" rotWithShape="1">
            <a:gsLst>
              <a:gs pos="100000">
                <a:schemeClr val="accent1"/>
              </a:gs>
              <a:gs pos="31000">
                <a:schemeClr val="accent1">
                  <a:lumMod val="60000"/>
                  <a:lumOff val="40000"/>
                </a:schemeClr>
              </a:gs>
              <a:gs pos="0">
                <a:schemeClr val="accent1">
                  <a:lumMod val="40000"/>
                  <a:lumOff val="60000"/>
                </a:schemeClr>
              </a:gs>
            </a:gsLst>
            <a:lin ang="1620000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cs typeface="+mn-cs"/>
            </a:endParaRPr>
          </a:p>
        </p:txBody>
      </p:sp>
      <p:sp>
        <p:nvSpPr>
          <p:cNvPr id="14" name="Freeform 22">
            <a:extLst>
              <a:ext uri="{FF2B5EF4-FFF2-40B4-BE49-F238E27FC236}">
                <a16:creationId xmlns:a16="http://schemas.microsoft.com/office/drawing/2014/main" id="{AADC78D1-2935-4C3C-84E1-F296272FA009}"/>
              </a:ext>
            </a:extLst>
          </p:cNvPr>
          <p:cNvSpPr>
            <a:spLocks/>
          </p:cNvSpPr>
          <p:nvPr/>
        </p:nvSpPr>
        <p:spPr bwMode="auto">
          <a:xfrm>
            <a:off x="7557573" y="3667717"/>
            <a:ext cx="2071687" cy="1379537"/>
          </a:xfrm>
          <a:custGeom>
            <a:avLst/>
            <a:gdLst>
              <a:gd name="T0" fmla="*/ 10 w 512"/>
              <a:gd name="T1" fmla="*/ 99 h 341"/>
              <a:gd name="T2" fmla="*/ 54 w 512"/>
              <a:gd name="T3" fmla="*/ 67 h 341"/>
              <a:gd name="T4" fmla="*/ 91 w 512"/>
              <a:gd name="T5" fmla="*/ 40 h 341"/>
              <a:gd name="T6" fmla="*/ 134 w 512"/>
              <a:gd name="T7" fmla="*/ 8 h 341"/>
              <a:gd name="T8" fmla="*/ 153 w 512"/>
              <a:gd name="T9" fmla="*/ 15 h 341"/>
              <a:gd name="T10" fmla="*/ 153 w 512"/>
              <a:gd name="T11" fmla="*/ 31 h 341"/>
              <a:gd name="T12" fmla="*/ 313 w 512"/>
              <a:gd name="T13" fmla="*/ 31 h 341"/>
              <a:gd name="T14" fmla="*/ 499 w 512"/>
              <a:gd name="T15" fmla="*/ 192 h 341"/>
              <a:gd name="T16" fmla="*/ 499 w 512"/>
              <a:gd name="T17" fmla="*/ 341 h 341"/>
              <a:gd name="T18" fmla="*/ 313 w 512"/>
              <a:gd name="T19" fmla="*/ 192 h 341"/>
              <a:gd name="T20" fmla="*/ 153 w 512"/>
              <a:gd name="T21" fmla="*/ 192 h 341"/>
              <a:gd name="T22" fmla="*/ 153 w 512"/>
              <a:gd name="T23" fmla="*/ 210 h 341"/>
              <a:gd name="T24" fmla="*/ 134 w 512"/>
              <a:gd name="T25" fmla="*/ 218 h 341"/>
              <a:gd name="T26" fmla="*/ 91 w 512"/>
              <a:gd name="T27" fmla="*/ 186 h 341"/>
              <a:gd name="T28" fmla="*/ 54 w 512"/>
              <a:gd name="T29" fmla="*/ 158 h 341"/>
              <a:gd name="T30" fmla="*/ 10 w 512"/>
              <a:gd name="T31" fmla="*/ 127 h 341"/>
              <a:gd name="T32" fmla="*/ 10 w 512"/>
              <a:gd name="T33" fmla="*/ 99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12" h="341">
                <a:moveTo>
                  <a:pt x="10" y="99"/>
                </a:moveTo>
                <a:cubicBezTo>
                  <a:pt x="54" y="67"/>
                  <a:pt x="54" y="67"/>
                  <a:pt x="54" y="67"/>
                </a:cubicBezTo>
                <a:cubicBezTo>
                  <a:pt x="64" y="60"/>
                  <a:pt x="81" y="47"/>
                  <a:pt x="91" y="40"/>
                </a:cubicBezTo>
                <a:cubicBezTo>
                  <a:pt x="134" y="8"/>
                  <a:pt x="134" y="8"/>
                  <a:pt x="134" y="8"/>
                </a:cubicBezTo>
                <a:cubicBezTo>
                  <a:pt x="145" y="0"/>
                  <a:pt x="153" y="4"/>
                  <a:pt x="153" y="15"/>
                </a:cubicBezTo>
                <a:cubicBezTo>
                  <a:pt x="153" y="31"/>
                  <a:pt x="153" y="31"/>
                  <a:pt x="153" y="31"/>
                </a:cubicBezTo>
                <a:cubicBezTo>
                  <a:pt x="313" y="31"/>
                  <a:pt x="313" y="31"/>
                  <a:pt x="313" y="31"/>
                </a:cubicBezTo>
                <a:cubicBezTo>
                  <a:pt x="512" y="36"/>
                  <a:pt x="499" y="192"/>
                  <a:pt x="499" y="192"/>
                </a:cubicBezTo>
                <a:cubicBezTo>
                  <a:pt x="499" y="341"/>
                  <a:pt x="499" y="341"/>
                  <a:pt x="499" y="341"/>
                </a:cubicBezTo>
                <a:cubicBezTo>
                  <a:pt x="497" y="304"/>
                  <a:pt x="479" y="192"/>
                  <a:pt x="313" y="192"/>
                </a:cubicBezTo>
                <a:cubicBezTo>
                  <a:pt x="153" y="192"/>
                  <a:pt x="153" y="192"/>
                  <a:pt x="153" y="192"/>
                </a:cubicBezTo>
                <a:cubicBezTo>
                  <a:pt x="153" y="210"/>
                  <a:pt x="153" y="210"/>
                  <a:pt x="153" y="210"/>
                </a:cubicBezTo>
                <a:cubicBezTo>
                  <a:pt x="153" y="222"/>
                  <a:pt x="145" y="225"/>
                  <a:pt x="134" y="218"/>
                </a:cubicBezTo>
                <a:cubicBezTo>
                  <a:pt x="91" y="186"/>
                  <a:pt x="91" y="186"/>
                  <a:pt x="91" y="186"/>
                </a:cubicBezTo>
                <a:cubicBezTo>
                  <a:pt x="81" y="178"/>
                  <a:pt x="64" y="166"/>
                  <a:pt x="54" y="158"/>
                </a:cubicBezTo>
                <a:cubicBezTo>
                  <a:pt x="10" y="127"/>
                  <a:pt x="10" y="127"/>
                  <a:pt x="10" y="127"/>
                </a:cubicBezTo>
                <a:cubicBezTo>
                  <a:pt x="0" y="119"/>
                  <a:pt x="0" y="107"/>
                  <a:pt x="10" y="99"/>
                </a:cubicBezTo>
              </a:path>
            </a:pathLst>
          </a:custGeom>
          <a:gradFill>
            <a:gsLst>
              <a:gs pos="73000">
                <a:schemeClr val="accent1"/>
              </a:gs>
              <a:gs pos="31000">
                <a:schemeClr val="accent1">
                  <a:lumMod val="60000"/>
                  <a:lumOff val="40000"/>
                </a:schemeClr>
              </a:gs>
              <a:gs pos="0">
                <a:schemeClr val="accent1">
                  <a:lumMod val="40000"/>
                  <a:lumOff val="60000"/>
                </a:schemeClr>
              </a:gs>
            </a:gsLst>
            <a:path path="circle">
              <a:fillToRect r="100000" b="100000"/>
            </a:path>
          </a:gra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sp>
        <p:nvSpPr>
          <p:cNvPr id="15" name="Freeform 24">
            <a:extLst>
              <a:ext uri="{FF2B5EF4-FFF2-40B4-BE49-F238E27FC236}">
                <a16:creationId xmlns:a16="http://schemas.microsoft.com/office/drawing/2014/main" id="{7395F02A-71C4-40D9-8224-A9AAA362796D}"/>
              </a:ext>
            </a:extLst>
          </p:cNvPr>
          <p:cNvSpPr>
            <a:spLocks/>
          </p:cNvSpPr>
          <p:nvPr/>
        </p:nvSpPr>
        <p:spPr bwMode="auto">
          <a:xfrm>
            <a:off x="7568686" y="4129679"/>
            <a:ext cx="2008187" cy="917575"/>
          </a:xfrm>
          <a:custGeom>
            <a:avLst/>
            <a:gdLst>
              <a:gd name="T0" fmla="*/ 310 w 496"/>
              <a:gd name="T1" fmla="*/ 78 h 227"/>
              <a:gd name="T2" fmla="*/ 152 w 496"/>
              <a:gd name="T3" fmla="*/ 78 h 227"/>
              <a:gd name="T4" fmla="*/ 150 w 496"/>
              <a:gd name="T5" fmla="*/ 80 h 227"/>
              <a:gd name="T6" fmla="*/ 150 w 496"/>
              <a:gd name="T7" fmla="*/ 96 h 227"/>
              <a:gd name="T8" fmla="*/ 131 w 496"/>
              <a:gd name="T9" fmla="*/ 104 h 227"/>
              <a:gd name="T10" fmla="*/ 88 w 496"/>
              <a:gd name="T11" fmla="*/ 72 h 227"/>
              <a:gd name="T12" fmla="*/ 51 w 496"/>
              <a:gd name="T13" fmla="*/ 44 h 227"/>
              <a:gd name="T14" fmla="*/ 8 w 496"/>
              <a:gd name="T15" fmla="*/ 13 h 227"/>
              <a:gd name="T16" fmla="*/ 0 w 496"/>
              <a:gd name="T17" fmla="*/ 0 h 227"/>
              <a:gd name="T18" fmla="*/ 310 w 496"/>
              <a:gd name="T19" fmla="*/ 0 h 227"/>
              <a:gd name="T20" fmla="*/ 496 w 496"/>
              <a:gd name="T21" fmla="*/ 147 h 227"/>
              <a:gd name="T22" fmla="*/ 496 w 496"/>
              <a:gd name="T23" fmla="*/ 227 h 227"/>
              <a:gd name="T24" fmla="*/ 310 w 496"/>
              <a:gd name="T25" fmla="*/ 78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6" h="227">
                <a:moveTo>
                  <a:pt x="310" y="78"/>
                </a:moveTo>
                <a:cubicBezTo>
                  <a:pt x="152" y="78"/>
                  <a:pt x="152" y="78"/>
                  <a:pt x="152" y="78"/>
                </a:cubicBezTo>
                <a:cubicBezTo>
                  <a:pt x="151" y="78"/>
                  <a:pt x="150" y="79"/>
                  <a:pt x="150" y="80"/>
                </a:cubicBezTo>
                <a:cubicBezTo>
                  <a:pt x="150" y="96"/>
                  <a:pt x="150" y="96"/>
                  <a:pt x="150" y="96"/>
                </a:cubicBezTo>
                <a:cubicBezTo>
                  <a:pt x="150" y="108"/>
                  <a:pt x="142" y="111"/>
                  <a:pt x="131" y="104"/>
                </a:cubicBezTo>
                <a:cubicBezTo>
                  <a:pt x="88" y="72"/>
                  <a:pt x="88" y="72"/>
                  <a:pt x="88" y="72"/>
                </a:cubicBezTo>
                <a:cubicBezTo>
                  <a:pt x="78" y="64"/>
                  <a:pt x="61" y="52"/>
                  <a:pt x="51" y="44"/>
                </a:cubicBezTo>
                <a:cubicBezTo>
                  <a:pt x="8" y="13"/>
                  <a:pt x="8" y="13"/>
                  <a:pt x="8" y="13"/>
                </a:cubicBezTo>
                <a:cubicBezTo>
                  <a:pt x="3" y="9"/>
                  <a:pt x="0" y="4"/>
                  <a:pt x="0" y="0"/>
                </a:cubicBezTo>
                <a:cubicBezTo>
                  <a:pt x="310" y="0"/>
                  <a:pt x="310" y="0"/>
                  <a:pt x="310" y="0"/>
                </a:cubicBezTo>
                <a:cubicBezTo>
                  <a:pt x="473" y="4"/>
                  <a:pt x="494" y="110"/>
                  <a:pt x="496" y="147"/>
                </a:cubicBezTo>
                <a:cubicBezTo>
                  <a:pt x="496" y="227"/>
                  <a:pt x="496" y="227"/>
                  <a:pt x="496" y="227"/>
                </a:cubicBezTo>
                <a:cubicBezTo>
                  <a:pt x="494" y="190"/>
                  <a:pt x="476" y="78"/>
                  <a:pt x="310" y="78"/>
                </a:cubicBezTo>
                <a:close/>
              </a:path>
            </a:pathLst>
          </a:custGeom>
          <a:gradFill flip="none" rotWithShape="1">
            <a:gsLst>
              <a:gs pos="100000">
                <a:schemeClr val="accent1"/>
              </a:gs>
              <a:gs pos="31000">
                <a:schemeClr val="accent1">
                  <a:lumMod val="60000"/>
                  <a:lumOff val="40000"/>
                </a:schemeClr>
              </a:gs>
              <a:gs pos="0">
                <a:schemeClr val="accent1">
                  <a:lumMod val="40000"/>
                  <a:lumOff val="60000"/>
                </a:schemeClr>
              </a:gs>
            </a:gsLst>
            <a:lin ang="1620000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cs typeface="+mn-cs"/>
            </a:endParaRPr>
          </a:p>
        </p:txBody>
      </p:sp>
      <p:sp>
        <p:nvSpPr>
          <p:cNvPr id="17" name="Freeform 26">
            <a:extLst>
              <a:ext uri="{FF2B5EF4-FFF2-40B4-BE49-F238E27FC236}">
                <a16:creationId xmlns:a16="http://schemas.microsoft.com/office/drawing/2014/main" id="{A3598EBB-2BCD-4396-9538-7D4B8284069A}"/>
              </a:ext>
            </a:extLst>
          </p:cNvPr>
          <p:cNvSpPr>
            <a:spLocks/>
          </p:cNvSpPr>
          <p:nvPr/>
        </p:nvSpPr>
        <p:spPr bwMode="auto">
          <a:xfrm>
            <a:off x="9580442" y="2935879"/>
            <a:ext cx="752475" cy="3995737"/>
          </a:xfrm>
          <a:custGeom>
            <a:avLst/>
            <a:gdLst>
              <a:gd name="T0" fmla="*/ 186 w 186"/>
              <a:gd name="T1" fmla="*/ 966 h 988"/>
              <a:gd name="T2" fmla="*/ 162 w 186"/>
              <a:gd name="T3" fmla="*/ 988 h 988"/>
              <a:gd name="T4" fmla="*/ 25 w 186"/>
              <a:gd name="T5" fmla="*/ 988 h 988"/>
              <a:gd name="T6" fmla="*/ 0 w 186"/>
              <a:gd name="T7" fmla="*/ 966 h 988"/>
              <a:gd name="T8" fmla="*/ 0 w 186"/>
              <a:gd name="T9" fmla="*/ 22 h 988"/>
              <a:gd name="T10" fmla="*/ 25 w 186"/>
              <a:gd name="T11" fmla="*/ 0 h 988"/>
              <a:gd name="T12" fmla="*/ 162 w 186"/>
              <a:gd name="T13" fmla="*/ 0 h 988"/>
              <a:gd name="T14" fmla="*/ 186 w 186"/>
              <a:gd name="T15" fmla="*/ 22 h 988"/>
              <a:gd name="T16" fmla="*/ 186 w 186"/>
              <a:gd name="T17" fmla="*/ 966 h 9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6" h="988">
                <a:moveTo>
                  <a:pt x="186" y="966"/>
                </a:moveTo>
                <a:cubicBezTo>
                  <a:pt x="186" y="978"/>
                  <a:pt x="175" y="988"/>
                  <a:pt x="162" y="988"/>
                </a:cubicBezTo>
                <a:cubicBezTo>
                  <a:pt x="25" y="988"/>
                  <a:pt x="25" y="988"/>
                  <a:pt x="25" y="988"/>
                </a:cubicBezTo>
                <a:cubicBezTo>
                  <a:pt x="11" y="988"/>
                  <a:pt x="0" y="978"/>
                  <a:pt x="0" y="966"/>
                </a:cubicBezTo>
                <a:cubicBezTo>
                  <a:pt x="0" y="22"/>
                  <a:pt x="0" y="22"/>
                  <a:pt x="0" y="22"/>
                </a:cubicBezTo>
                <a:cubicBezTo>
                  <a:pt x="0" y="10"/>
                  <a:pt x="11" y="0"/>
                  <a:pt x="25" y="0"/>
                </a:cubicBezTo>
                <a:cubicBezTo>
                  <a:pt x="162" y="0"/>
                  <a:pt x="162" y="0"/>
                  <a:pt x="162" y="0"/>
                </a:cubicBezTo>
                <a:cubicBezTo>
                  <a:pt x="175" y="0"/>
                  <a:pt x="186" y="10"/>
                  <a:pt x="186" y="22"/>
                </a:cubicBezTo>
                <a:cubicBezTo>
                  <a:pt x="186" y="966"/>
                  <a:pt x="186" y="966"/>
                  <a:pt x="186" y="966"/>
                </a:cubicBezTo>
              </a:path>
            </a:pathLst>
          </a:custGeom>
          <a:gradFill>
            <a:gsLst>
              <a:gs pos="73000">
                <a:schemeClr val="accent1"/>
              </a:gs>
              <a:gs pos="31000">
                <a:schemeClr val="accent1">
                  <a:lumMod val="60000"/>
                  <a:lumOff val="40000"/>
                </a:schemeClr>
              </a:gs>
              <a:gs pos="0">
                <a:schemeClr val="accent1">
                  <a:lumMod val="40000"/>
                  <a:lumOff val="60000"/>
                </a:schemeClr>
              </a:gs>
            </a:gsLst>
            <a:path path="circle">
              <a:fillToRect r="100000" b="100000"/>
            </a:path>
          </a:gra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cs typeface="+mn-cs"/>
            </a:endParaRPr>
          </a:p>
        </p:txBody>
      </p:sp>
      <p:sp>
        <p:nvSpPr>
          <p:cNvPr id="18" name="Freeform 27">
            <a:extLst>
              <a:ext uri="{FF2B5EF4-FFF2-40B4-BE49-F238E27FC236}">
                <a16:creationId xmlns:a16="http://schemas.microsoft.com/office/drawing/2014/main" id="{AD393A4C-754D-4B98-9590-50BD128739CB}"/>
              </a:ext>
            </a:extLst>
          </p:cNvPr>
          <p:cNvSpPr>
            <a:spLocks/>
          </p:cNvSpPr>
          <p:nvPr/>
        </p:nvSpPr>
        <p:spPr bwMode="auto">
          <a:xfrm>
            <a:off x="9580442" y="2935879"/>
            <a:ext cx="376237" cy="3995737"/>
          </a:xfrm>
          <a:custGeom>
            <a:avLst/>
            <a:gdLst>
              <a:gd name="T0" fmla="*/ 0 w 93"/>
              <a:gd name="T1" fmla="*/ 966 h 988"/>
              <a:gd name="T2" fmla="*/ 0 w 93"/>
              <a:gd name="T3" fmla="*/ 22 h 988"/>
              <a:gd name="T4" fmla="*/ 25 w 93"/>
              <a:gd name="T5" fmla="*/ 0 h 988"/>
              <a:gd name="T6" fmla="*/ 93 w 93"/>
              <a:gd name="T7" fmla="*/ 0 h 988"/>
              <a:gd name="T8" fmla="*/ 93 w 93"/>
              <a:gd name="T9" fmla="*/ 988 h 988"/>
              <a:gd name="T10" fmla="*/ 25 w 93"/>
              <a:gd name="T11" fmla="*/ 988 h 988"/>
              <a:gd name="T12" fmla="*/ 0 w 93"/>
              <a:gd name="T13" fmla="*/ 966 h 988"/>
            </a:gdLst>
            <a:ahLst/>
            <a:cxnLst>
              <a:cxn ang="0">
                <a:pos x="T0" y="T1"/>
              </a:cxn>
              <a:cxn ang="0">
                <a:pos x="T2" y="T3"/>
              </a:cxn>
              <a:cxn ang="0">
                <a:pos x="T4" y="T5"/>
              </a:cxn>
              <a:cxn ang="0">
                <a:pos x="T6" y="T7"/>
              </a:cxn>
              <a:cxn ang="0">
                <a:pos x="T8" y="T9"/>
              </a:cxn>
              <a:cxn ang="0">
                <a:pos x="T10" y="T11"/>
              </a:cxn>
              <a:cxn ang="0">
                <a:pos x="T12" y="T13"/>
              </a:cxn>
            </a:cxnLst>
            <a:rect l="0" t="0" r="r" b="b"/>
            <a:pathLst>
              <a:path w="93" h="988">
                <a:moveTo>
                  <a:pt x="0" y="966"/>
                </a:moveTo>
                <a:cubicBezTo>
                  <a:pt x="0" y="22"/>
                  <a:pt x="0" y="22"/>
                  <a:pt x="0" y="22"/>
                </a:cubicBezTo>
                <a:cubicBezTo>
                  <a:pt x="0" y="10"/>
                  <a:pt x="11" y="0"/>
                  <a:pt x="25" y="0"/>
                </a:cubicBezTo>
                <a:cubicBezTo>
                  <a:pt x="93" y="0"/>
                  <a:pt x="93" y="0"/>
                  <a:pt x="93" y="0"/>
                </a:cubicBezTo>
                <a:cubicBezTo>
                  <a:pt x="93" y="988"/>
                  <a:pt x="93" y="988"/>
                  <a:pt x="93" y="988"/>
                </a:cubicBezTo>
                <a:cubicBezTo>
                  <a:pt x="25" y="988"/>
                  <a:pt x="25" y="988"/>
                  <a:pt x="25" y="988"/>
                </a:cubicBezTo>
                <a:cubicBezTo>
                  <a:pt x="11" y="988"/>
                  <a:pt x="0" y="978"/>
                  <a:pt x="0" y="966"/>
                </a:cubicBezTo>
              </a:path>
            </a:pathLst>
          </a:custGeom>
          <a:gradFill flip="none" rotWithShape="1">
            <a:gsLst>
              <a:gs pos="100000">
                <a:schemeClr val="accent1"/>
              </a:gs>
              <a:gs pos="31000">
                <a:schemeClr val="accent1">
                  <a:lumMod val="60000"/>
                  <a:lumOff val="40000"/>
                </a:schemeClr>
              </a:gs>
              <a:gs pos="0">
                <a:schemeClr val="accent1">
                  <a:lumMod val="40000"/>
                  <a:lumOff val="60000"/>
                </a:schemeClr>
              </a:gs>
            </a:gsLst>
            <a:lin ang="1620000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cs typeface="+mn-cs"/>
            </a:endParaRPr>
          </a:p>
        </p:txBody>
      </p:sp>
      <p:sp>
        <p:nvSpPr>
          <p:cNvPr id="20" name="Freeform 32">
            <a:extLst>
              <a:ext uri="{FF2B5EF4-FFF2-40B4-BE49-F238E27FC236}">
                <a16:creationId xmlns:a16="http://schemas.microsoft.com/office/drawing/2014/main" id="{A7F0C3E8-907E-4436-B6ED-134D3A440403}"/>
              </a:ext>
            </a:extLst>
          </p:cNvPr>
          <p:cNvSpPr>
            <a:spLocks/>
          </p:cNvSpPr>
          <p:nvPr/>
        </p:nvSpPr>
        <p:spPr bwMode="auto">
          <a:xfrm>
            <a:off x="8316792" y="2264367"/>
            <a:ext cx="2073275" cy="1379537"/>
          </a:xfrm>
          <a:custGeom>
            <a:avLst/>
            <a:gdLst>
              <a:gd name="T0" fmla="*/ 10 w 512"/>
              <a:gd name="T1" fmla="*/ 99 h 341"/>
              <a:gd name="T2" fmla="*/ 53 w 512"/>
              <a:gd name="T3" fmla="*/ 67 h 341"/>
              <a:gd name="T4" fmla="*/ 91 w 512"/>
              <a:gd name="T5" fmla="*/ 40 h 341"/>
              <a:gd name="T6" fmla="*/ 134 w 512"/>
              <a:gd name="T7" fmla="*/ 8 h 341"/>
              <a:gd name="T8" fmla="*/ 153 w 512"/>
              <a:gd name="T9" fmla="*/ 15 h 341"/>
              <a:gd name="T10" fmla="*/ 153 w 512"/>
              <a:gd name="T11" fmla="*/ 31 h 341"/>
              <a:gd name="T12" fmla="*/ 312 w 512"/>
              <a:gd name="T13" fmla="*/ 31 h 341"/>
              <a:gd name="T14" fmla="*/ 498 w 512"/>
              <a:gd name="T15" fmla="*/ 192 h 341"/>
              <a:gd name="T16" fmla="*/ 498 w 512"/>
              <a:gd name="T17" fmla="*/ 341 h 341"/>
              <a:gd name="T18" fmla="*/ 312 w 512"/>
              <a:gd name="T19" fmla="*/ 192 h 341"/>
              <a:gd name="T20" fmla="*/ 153 w 512"/>
              <a:gd name="T21" fmla="*/ 192 h 341"/>
              <a:gd name="T22" fmla="*/ 153 w 512"/>
              <a:gd name="T23" fmla="*/ 210 h 341"/>
              <a:gd name="T24" fmla="*/ 134 w 512"/>
              <a:gd name="T25" fmla="*/ 218 h 341"/>
              <a:gd name="T26" fmla="*/ 91 w 512"/>
              <a:gd name="T27" fmla="*/ 186 h 341"/>
              <a:gd name="T28" fmla="*/ 53 w 512"/>
              <a:gd name="T29" fmla="*/ 158 h 341"/>
              <a:gd name="T30" fmla="*/ 10 w 512"/>
              <a:gd name="T31" fmla="*/ 126 h 341"/>
              <a:gd name="T32" fmla="*/ 10 w 512"/>
              <a:gd name="T33" fmla="*/ 99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12" h="341">
                <a:moveTo>
                  <a:pt x="10" y="99"/>
                </a:moveTo>
                <a:cubicBezTo>
                  <a:pt x="53" y="67"/>
                  <a:pt x="53" y="67"/>
                  <a:pt x="53" y="67"/>
                </a:cubicBezTo>
                <a:cubicBezTo>
                  <a:pt x="63" y="60"/>
                  <a:pt x="80" y="47"/>
                  <a:pt x="91" y="40"/>
                </a:cubicBezTo>
                <a:cubicBezTo>
                  <a:pt x="134" y="8"/>
                  <a:pt x="134" y="8"/>
                  <a:pt x="134" y="8"/>
                </a:cubicBezTo>
                <a:cubicBezTo>
                  <a:pt x="144" y="0"/>
                  <a:pt x="153" y="4"/>
                  <a:pt x="153" y="15"/>
                </a:cubicBezTo>
                <a:cubicBezTo>
                  <a:pt x="153" y="31"/>
                  <a:pt x="153" y="31"/>
                  <a:pt x="153" y="31"/>
                </a:cubicBezTo>
                <a:cubicBezTo>
                  <a:pt x="312" y="31"/>
                  <a:pt x="312" y="31"/>
                  <a:pt x="312" y="31"/>
                </a:cubicBezTo>
                <a:cubicBezTo>
                  <a:pt x="512" y="36"/>
                  <a:pt x="498" y="192"/>
                  <a:pt x="498" y="192"/>
                </a:cubicBezTo>
                <a:cubicBezTo>
                  <a:pt x="498" y="341"/>
                  <a:pt x="498" y="341"/>
                  <a:pt x="498" y="341"/>
                </a:cubicBezTo>
                <a:cubicBezTo>
                  <a:pt x="497" y="304"/>
                  <a:pt x="478" y="192"/>
                  <a:pt x="312" y="192"/>
                </a:cubicBezTo>
                <a:cubicBezTo>
                  <a:pt x="153" y="192"/>
                  <a:pt x="153" y="192"/>
                  <a:pt x="153" y="192"/>
                </a:cubicBezTo>
                <a:cubicBezTo>
                  <a:pt x="153" y="210"/>
                  <a:pt x="153" y="210"/>
                  <a:pt x="153" y="210"/>
                </a:cubicBezTo>
                <a:cubicBezTo>
                  <a:pt x="153" y="222"/>
                  <a:pt x="144" y="225"/>
                  <a:pt x="134" y="218"/>
                </a:cubicBezTo>
                <a:cubicBezTo>
                  <a:pt x="91" y="186"/>
                  <a:pt x="91" y="186"/>
                  <a:pt x="91" y="186"/>
                </a:cubicBezTo>
                <a:cubicBezTo>
                  <a:pt x="80" y="178"/>
                  <a:pt x="63" y="166"/>
                  <a:pt x="53" y="158"/>
                </a:cubicBezTo>
                <a:cubicBezTo>
                  <a:pt x="10" y="126"/>
                  <a:pt x="10" y="126"/>
                  <a:pt x="10" y="126"/>
                </a:cubicBezTo>
                <a:cubicBezTo>
                  <a:pt x="0" y="119"/>
                  <a:pt x="0" y="107"/>
                  <a:pt x="10" y="99"/>
                </a:cubicBezTo>
                <a:close/>
              </a:path>
            </a:pathLst>
          </a:custGeom>
          <a:gradFill>
            <a:gsLst>
              <a:gs pos="73000">
                <a:schemeClr val="accent1"/>
              </a:gs>
              <a:gs pos="31000">
                <a:schemeClr val="accent1">
                  <a:lumMod val="60000"/>
                  <a:lumOff val="40000"/>
                </a:schemeClr>
              </a:gs>
              <a:gs pos="0">
                <a:schemeClr val="accent1">
                  <a:lumMod val="40000"/>
                  <a:lumOff val="60000"/>
                </a:schemeClr>
              </a:gs>
            </a:gsLst>
            <a:path path="circle">
              <a:fillToRect r="100000" b="100000"/>
            </a:path>
          </a:gra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sp>
        <p:nvSpPr>
          <p:cNvPr id="21" name="Freeform 34">
            <a:extLst>
              <a:ext uri="{FF2B5EF4-FFF2-40B4-BE49-F238E27FC236}">
                <a16:creationId xmlns:a16="http://schemas.microsoft.com/office/drawing/2014/main" id="{E0EE1EF9-978C-4838-8602-15CC53E38700}"/>
              </a:ext>
            </a:extLst>
          </p:cNvPr>
          <p:cNvSpPr>
            <a:spLocks/>
          </p:cNvSpPr>
          <p:nvPr/>
        </p:nvSpPr>
        <p:spPr bwMode="auto">
          <a:xfrm>
            <a:off x="8324729" y="2724742"/>
            <a:ext cx="2008187" cy="919162"/>
          </a:xfrm>
          <a:custGeom>
            <a:avLst/>
            <a:gdLst>
              <a:gd name="T0" fmla="*/ 310 w 496"/>
              <a:gd name="T1" fmla="*/ 78 h 227"/>
              <a:gd name="T2" fmla="*/ 153 w 496"/>
              <a:gd name="T3" fmla="*/ 78 h 227"/>
              <a:gd name="T4" fmla="*/ 151 w 496"/>
              <a:gd name="T5" fmla="*/ 80 h 227"/>
              <a:gd name="T6" fmla="*/ 151 w 496"/>
              <a:gd name="T7" fmla="*/ 96 h 227"/>
              <a:gd name="T8" fmla="*/ 132 w 496"/>
              <a:gd name="T9" fmla="*/ 104 h 227"/>
              <a:gd name="T10" fmla="*/ 89 w 496"/>
              <a:gd name="T11" fmla="*/ 72 h 227"/>
              <a:gd name="T12" fmla="*/ 51 w 496"/>
              <a:gd name="T13" fmla="*/ 44 h 227"/>
              <a:gd name="T14" fmla="*/ 8 w 496"/>
              <a:gd name="T15" fmla="*/ 12 h 227"/>
              <a:gd name="T16" fmla="*/ 0 w 496"/>
              <a:gd name="T17" fmla="*/ 0 h 227"/>
              <a:gd name="T18" fmla="*/ 310 w 496"/>
              <a:gd name="T19" fmla="*/ 0 h 227"/>
              <a:gd name="T20" fmla="*/ 496 w 496"/>
              <a:gd name="T21" fmla="*/ 147 h 227"/>
              <a:gd name="T22" fmla="*/ 496 w 496"/>
              <a:gd name="T23" fmla="*/ 227 h 227"/>
              <a:gd name="T24" fmla="*/ 310 w 496"/>
              <a:gd name="T25" fmla="*/ 78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6" h="227">
                <a:moveTo>
                  <a:pt x="310" y="78"/>
                </a:moveTo>
                <a:cubicBezTo>
                  <a:pt x="153" y="78"/>
                  <a:pt x="153" y="78"/>
                  <a:pt x="153" y="78"/>
                </a:cubicBezTo>
                <a:cubicBezTo>
                  <a:pt x="152" y="78"/>
                  <a:pt x="151" y="79"/>
                  <a:pt x="151" y="80"/>
                </a:cubicBezTo>
                <a:cubicBezTo>
                  <a:pt x="151" y="96"/>
                  <a:pt x="151" y="96"/>
                  <a:pt x="151" y="96"/>
                </a:cubicBezTo>
                <a:cubicBezTo>
                  <a:pt x="151" y="108"/>
                  <a:pt x="142" y="111"/>
                  <a:pt x="132" y="104"/>
                </a:cubicBezTo>
                <a:cubicBezTo>
                  <a:pt x="89" y="72"/>
                  <a:pt x="89" y="72"/>
                  <a:pt x="89" y="72"/>
                </a:cubicBezTo>
                <a:cubicBezTo>
                  <a:pt x="78" y="64"/>
                  <a:pt x="61" y="52"/>
                  <a:pt x="51" y="44"/>
                </a:cubicBezTo>
                <a:cubicBezTo>
                  <a:pt x="8" y="12"/>
                  <a:pt x="8" y="12"/>
                  <a:pt x="8" y="12"/>
                </a:cubicBezTo>
                <a:cubicBezTo>
                  <a:pt x="3" y="9"/>
                  <a:pt x="1" y="4"/>
                  <a:pt x="0" y="0"/>
                </a:cubicBezTo>
                <a:cubicBezTo>
                  <a:pt x="310" y="0"/>
                  <a:pt x="310" y="0"/>
                  <a:pt x="310" y="0"/>
                </a:cubicBezTo>
                <a:cubicBezTo>
                  <a:pt x="474" y="4"/>
                  <a:pt x="494" y="110"/>
                  <a:pt x="496" y="147"/>
                </a:cubicBezTo>
                <a:cubicBezTo>
                  <a:pt x="496" y="227"/>
                  <a:pt x="496" y="227"/>
                  <a:pt x="496" y="227"/>
                </a:cubicBezTo>
                <a:cubicBezTo>
                  <a:pt x="495" y="190"/>
                  <a:pt x="476" y="78"/>
                  <a:pt x="310" y="78"/>
                </a:cubicBezTo>
                <a:close/>
              </a:path>
            </a:pathLst>
          </a:custGeom>
          <a:gradFill flip="none" rotWithShape="1">
            <a:gsLst>
              <a:gs pos="100000">
                <a:schemeClr val="accent1"/>
              </a:gs>
              <a:gs pos="31000">
                <a:schemeClr val="accent1">
                  <a:lumMod val="60000"/>
                  <a:lumOff val="40000"/>
                </a:schemeClr>
              </a:gs>
              <a:gs pos="0">
                <a:schemeClr val="accent1">
                  <a:lumMod val="40000"/>
                  <a:lumOff val="60000"/>
                </a:schemeClr>
              </a:gs>
            </a:gsLst>
            <a:lin ang="1620000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cs typeface="+mn-cs"/>
            </a:endParaRPr>
          </a:p>
        </p:txBody>
      </p:sp>
      <p:sp>
        <p:nvSpPr>
          <p:cNvPr id="23" name="Freeform 36">
            <a:extLst>
              <a:ext uri="{FF2B5EF4-FFF2-40B4-BE49-F238E27FC236}">
                <a16:creationId xmlns:a16="http://schemas.microsoft.com/office/drawing/2014/main" id="{F3E22A49-3735-48EB-9995-AB708B174950}"/>
              </a:ext>
            </a:extLst>
          </p:cNvPr>
          <p:cNvSpPr>
            <a:spLocks/>
          </p:cNvSpPr>
          <p:nvPr/>
        </p:nvSpPr>
        <p:spPr bwMode="auto">
          <a:xfrm>
            <a:off x="10330538" y="1689692"/>
            <a:ext cx="757237" cy="5241925"/>
          </a:xfrm>
          <a:custGeom>
            <a:avLst/>
            <a:gdLst>
              <a:gd name="T0" fmla="*/ 187 w 187"/>
              <a:gd name="T1" fmla="*/ 1274 h 1296"/>
              <a:gd name="T2" fmla="*/ 162 w 187"/>
              <a:gd name="T3" fmla="*/ 1296 h 1296"/>
              <a:gd name="T4" fmla="*/ 25 w 187"/>
              <a:gd name="T5" fmla="*/ 1296 h 1296"/>
              <a:gd name="T6" fmla="*/ 0 w 187"/>
              <a:gd name="T7" fmla="*/ 1274 h 1296"/>
              <a:gd name="T8" fmla="*/ 0 w 187"/>
              <a:gd name="T9" fmla="*/ 21 h 1296"/>
              <a:gd name="T10" fmla="*/ 25 w 187"/>
              <a:gd name="T11" fmla="*/ 0 h 1296"/>
              <a:gd name="T12" fmla="*/ 162 w 187"/>
              <a:gd name="T13" fmla="*/ 0 h 1296"/>
              <a:gd name="T14" fmla="*/ 187 w 187"/>
              <a:gd name="T15" fmla="*/ 21 h 1296"/>
              <a:gd name="T16" fmla="*/ 187 w 187"/>
              <a:gd name="T17" fmla="*/ 1274 h 1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7" h="1296">
                <a:moveTo>
                  <a:pt x="187" y="1274"/>
                </a:moveTo>
                <a:cubicBezTo>
                  <a:pt x="187" y="1286"/>
                  <a:pt x="176" y="1296"/>
                  <a:pt x="162" y="1296"/>
                </a:cubicBezTo>
                <a:cubicBezTo>
                  <a:pt x="25" y="1296"/>
                  <a:pt x="25" y="1296"/>
                  <a:pt x="25" y="1296"/>
                </a:cubicBezTo>
                <a:cubicBezTo>
                  <a:pt x="11" y="1296"/>
                  <a:pt x="0" y="1286"/>
                  <a:pt x="0" y="1274"/>
                </a:cubicBezTo>
                <a:cubicBezTo>
                  <a:pt x="0" y="21"/>
                  <a:pt x="0" y="21"/>
                  <a:pt x="0" y="21"/>
                </a:cubicBezTo>
                <a:cubicBezTo>
                  <a:pt x="0" y="9"/>
                  <a:pt x="11" y="0"/>
                  <a:pt x="25" y="0"/>
                </a:cubicBezTo>
                <a:cubicBezTo>
                  <a:pt x="162" y="0"/>
                  <a:pt x="162" y="0"/>
                  <a:pt x="162" y="0"/>
                </a:cubicBezTo>
                <a:cubicBezTo>
                  <a:pt x="176" y="0"/>
                  <a:pt x="187" y="9"/>
                  <a:pt x="187" y="21"/>
                </a:cubicBezTo>
                <a:cubicBezTo>
                  <a:pt x="187" y="1274"/>
                  <a:pt x="187" y="1274"/>
                  <a:pt x="187" y="1274"/>
                </a:cubicBezTo>
              </a:path>
            </a:pathLst>
          </a:custGeom>
          <a:gradFill>
            <a:gsLst>
              <a:gs pos="73000">
                <a:schemeClr val="accent1"/>
              </a:gs>
              <a:gs pos="31000">
                <a:schemeClr val="accent1">
                  <a:lumMod val="60000"/>
                  <a:lumOff val="40000"/>
                </a:schemeClr>
              </a:gs>
              <a:gs pos="0">
                <a:schemeClr val="accent1">
                  <a:lumMod val="40000"/>
                  <a:lumOff val="60000"/>
                </a:schemeClr>
              </a:gs>
            </a:gsLst>
            <a:path path="circle">
              <a:fillToRect r="100000" b="100000"/>
            </a:path>
          </a:gra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cs typeface="+mn-cs"/>
            </a:endParaRPr>
          </a:p>
        </p:txBody>
      </p:sp>
      <p:sp>
        <p:nvSpPr>
          <p:cNvPr id="24" name="Freeform 37">
            <a:extLst>
              <a:ext uri="{FF2B5EF4-FFF2-40B4-BE49-F238E27FC236}">
                <a16:creationId xmlns:a16="http://schemas.microsoft.com/office/drawing/2014/main" id="{644D7DDE-B83A-41B1-A825-F220DCEDBA13}"/>
              </a:ext>
            </a:extLst>
          </p:cNvPr>
          <p:cNvSpPr>
            <a:spLocks/>
          </p:cNvSpPr>
          <p:nvPr/>
        </p:nvSpPr>
        <p:spPr bwMode="auto">
          <a:xfrm>
            <a:off x="10330538" y="1689692"/>
            <a:ext cx="379412" cy="5241925"/>
          </a:xfrm>
          <a:custGeom>
            <a:avLst/>
            <a:gdLst>
              <a:gd name="T0" fmla="*/ 0 w 94"/>
              <a:gd name="T1" fmla="*/ 1274 h 1296"/>
              <a:gd name="T2" fmla="*/ 0 w 94"/>
              <a:gd name="T3" fmla="*/ 21 h 1296"/>
              <a:gd name="T4" fmla="*/ 25 w 94"/>
              <a:gd name="T5" fmla="*/ 0 h 1296"/>
              <a:gd name="T6" fmla="*/ 94 w 94"/>
              <a:gd name="T7" fmla="*/ 0 h 1296"/>
              <a:gd name="T8" fmla="*/ 94 w 94"/>
              <a:gd name="T9" fmla="*/ 1296 h 1296"/>
              <a:gd name="T10" fmla="*/ 25 w 94"/>
              <a:gd name="T11" fmla="*/ 1296 h 1296"/>
              <a:gd name="T12" fmla="*/ 0 w 94"/>
              <a:gd name="T13" fmla="*/ 1274 h 1296"/>
            </a:gdLst>
            <a:ahLst/>
            <a:cxnLst>
              <a:cxn ang="0">
                <a:pos x="T0" y="T1"/>
              </a:cxn>
              <a:cxn ang="0">
                <a:pos x="T2" y="T3"/>
              </a:cxn>
              <a:cxn ang="0">
                <a:pos x="T4" y="T5"/>
              </a:cxn>
              <a:cxn ang="0">
                <a:pos x="T6" y="T7"/>
              </a:cxn>
              <a:cxn ang="0">
                <a:pos x="T8" y="T9"/>
              </a:cxn>
              <a:cxn ang="0">
                <a:pos x="T10" y="T11"/>
              </a:cxn>
              <a:cxn ang="0">
                <a:pos x="T12" y="T13"/>
              </a:cxn>
            </a:cxnLst>
            <a:rect l="0" t="0" r="r" b="b"/>
            <a:pathLst>
              <a:path w="94" h="1296">
                <a:moveTo>
                  <a:pt x="0" y="1274"/>
                </a:moveTo>
                <a:cubicBezTo>
                  <a:pt x="0" y="21"/>
                  <a:pt x="0" y="21"/>
                  <a:pt x="0" y="21"/>
                </a:cubicBezTo>
                <a:cubicBezTo>
                  <a:pt x="0" y="9"/>
                  <a:pt x="11" y="0"/>
                  <a:pt x="25" y="0"/>
                </a:cubicBezTo>
                <a:cubicBezTo>
                  <a:pt x="94" y="0"/>
                  <a:pt x="94" y="0"/>
                  <a:pt x="94" y="0"/>
                </a:cubicBezTo>
                <a:cubicBezTo>
                  <a:pt x="94" y="1296"/>
                  <a:pt x="94" y="1296"/>
                  <a:pt x="94" y="1296"/>
                </a:cubicBezTo>
                <a:cubicBezTo>
                  <a:pt x="25" y="1296"/>
                  <a:pt x="25" y="1296"/>
                  <a:pt x="25" y="1296"/>
                </a:cubicBezTo>
                <a:cubicBezTo>
                  <a:pt x="11" y="1296"/>
                  <a:pt x="0" y="1286"/>
                  <a:pt x="0" y="1274"/>
                </a:cubicBezTo>
              </a:path>
            </a:pathLst>
          </a:custGeom>
          <a:gradFill flip="none" rotWithShape="1">
            <a:gsLst>
              <a:gs pos="100000">
                <a:schemeClr val="accent1"/>
              </a:gs>
              <a:gs pos="31000">
                <a:schemeClr val="accent1">
                  <a:lumMod val="60000"/>
                  <a:lumOff val="40000"/>
                </a:schemeClr>
              </a:gs>
              <a:gs pos="0">
                <a:schemeClr val="accent1">
                  <a:lumMod val="40000"/>
                  <a:lumOff val="60000"/>
                </a:schemeClr>
              </a:gs>
            </a:gsLst>
            <a:lin ang="1620000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cs typeface="+mn-cs"/>
            </a:endParaRPr>
          </a:p>
        </p:txBody>
      </p:sp>
      <p:sp>
        <p:nvSpPr>
          <p:cNvPr id="26" name="Freeform 42">
            <a:extLst>
              <a:ext uri="{FF2B5EF4-FFF2-40B4-BE49-F238E27FC236}">
                <a16:creationId xmlns:a16="http://schemas.microsoft.com/office/drawing/2014/main" id="{1472890B-2293-4A6A-8FF2-7ACE30B60E4D}"/>
              </a:ext>
            </a:extLst>
          </p:cNvPr>
          <p:cNvSpPr>
            <a:spLocks/>
          </p:cNvSpPr>
          <p:nvPr/>
        </p:nvSpPr>
        <p:spPr bwMode="auto">
          <a:xfrm>
            <a:off x="9066888" y="1033338"/>
            <a:ext cx="2073275" cy="1379537"/>
          </a:xfrm>
          <a:custGeom>
            <a:avLst/>
            <a:gdLst>
              <a:gd name="T0" fmla="*/ 10 w 512"/>
              <a:gd name="T1" fmla="*/ 98 h 341"/>
              <a:gd name="T2" fmla="*/ 53 w 512"/>
              <a:gd name="T3" fmla="*/ 67 h 341"/>
              <a:gd name="T4" fmla="*/ 91 w 512"/>
              <a:gd name="T5" fmla="*/ 39 h 341"/>
              <a:gd name="T6" fmla="*/ 134 w 512"/>
              <a:gd name="T7" fmla="*/ 7 h 341"/>
              <a:gd name="T8" fmla="*/ 153 w 512"/>
              <a:gd name="T9" fmla="*/ 15 h 341"/>
              <a:gd name="T10" fmla="*/ 153 w 512"/>
              <a:gd name="T11" fmla="*/ 30 h 341"/>
              <a:gd name="T12" fmla="*/ 312 w 512"/>
              <a:gd name="T13" fmla="*/ 30 h 341"/>
              <a:gd name="T14" fmla="*/ 499 w 512"/>
              <a:gd name="T15" fmla="*/ 191 h 341"/>
              <a:gd name="T16" fmla="*/ 499 w 512"/>
              <a:gd name="T17" fmla="*/ 341 h 341"/>
              <a:gd name="T18" fmla="*/ 312 w 512"/>
              <a:gd name="T19" fmla="*/ 191 h 341"/>
              <a:gd name="T20" fmla="*/ 153 w 512"/>
              <a:gd name="T21" fmla="*/ 191 h 341"/>
              <a:gd name="T22" fmla="*/ 153 w 512"/>
              <a:gd name="T23" fmla="*/ 210 h 341"/>
              <a:gd name="T24" fmla="*/ 134 w 512"/>
              <a:gd name="T25" fmla="*/ 217 h 341"/>
              <a:gd name="T26" fmla="*/ 91 w 512"/>
              <a:gd name="T27" fmla="*/ 185 h 341"/>
              <a:gd name="T28" fmla="*/ 53 w 512"/>
              <a:gd name="T29" fmla="*/ 158 h 341"/>
              <a:gd name="T30" fmla="*/ 10 w 512"/>
              <a:gd name="T31" fmla="*/ 126 h 341"/>
              <a:gd name="T32" fmla="*/ 10 w 512"/>
              <a:gd name="T33" fmla="*/ 98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12" h="341">
                <a:moveTo>
                  <a:pt x="10" y="98"/>
                </a:moveTo>
                <a:cubicBezTo>
                  <a:pt x="53" y="67"/>
                  <a:pt x="53" y="67"/>
                  <a:pt x="53" y="67"/>
                </a:cubicBezTo>
                <a:cubicBezTo>
                  <a:pt x="64" y="59"/>
                  <a:pt x="81" y="47"/>
                  <a:pt x="91" y="39"/>
                </a:cubicBezTo>
                <a:cubicBezTo>
                  <a:pt x="134" y="7"/>
                  <a:pt x="134" y="7"/>
                  <a:pt x="134" y="7"/>
                </a:cubicBezTo>
                <a:cubicBezTo>
                  <a:pt x="144" y="0"/>
                  <a:pt x="153" y="3"/>
                  <a:pt x="153" y="15"/>
                </a:cubicBezTo>
                <a:cubicBezTo>
                  <a:pt x="153" y="30"/>
                  <a:pt x="153" y="30"/>
                  <a:pt x="153" y="30"/>
                </a:cubicBezTo>
                <a:cubicBezTo>
                  <a:pt x="312" y="30"/>
                  <a:pt x="312" y="30"/>
                  <a:pt x="312" y="30"/>
                </a:cubicBezTo>
                <a:cubicBezTo>
                  <a:pt x="512" y="35"/>
                  <a:pt x="499" y="191"/>
                  <a:pt x="499" y="191"/>
                </a:cubicBezTo>
                <a:cubicBezTo>
                  <a:pt x="499" y="341"/>
                  <a:pt x="499" y="341"/>
                  <a:pt x="499" y="341"/>
                </a:cubicBezTo>
                <a:cubicBezTo>
                  <a:pt x="497" y="304"/>
                  <a:pt x="478" y="191"/>
                  <a:pt x="312" y="191"/>
                </a:cubicBezTo>
                <a:cubicBezTo>
                  <a:pt x="153" y="191"/>
                  <a:pt x="153" y="191"/>
                  <a:pt x="153" y="191"/>
                </a:cubicBezTo>
                <a:cubicBezTo>
                  <a:pt x="153" y="210"/>
                  <a:pt x="153" y="210"/>
                  <a:pt x="153" y="210"/>
                </a:cubicBezTo>
                <a:cubicBezTo>
                  <a:pt x="153" y="221"/>
                  <a:pt x="144" y="225"/>
                  <a:pt x="134" y="217"/>
                </a:cubicBezTo>
                <a:cubicBezTo>
                  <a:pt x="91" y="185"/>
                  <a:pt x="91" y="185"/>
                  <a:pt x="91" y="185"/>
                </a:cubicBezTo>
                <a:cubicBezTo>
                  <a:pt x="81" y="178"/>
                  <a:pt x="64" y="165"/>
                  <a:pt x="53" y="158"/>
                </a:cubicBezTo>
                <a:cubicBezTo>
                  <a:pt x="10" y="126"/>
                  <a:pt x="10" y="126"/>
                  <a:pt x="10" y="126"/>
                </a:cubicBezTo>
                <a:cubicBezTo>
                  <a:pt x="0" y="118"/>
                  <a:pt x="0" y="106"/>
                  <a:pt x="10" y="98"/>
                </a:cubicBezTo>
                <a:close/>
              </a:path>
            </a:pathLst>
          </a:custGeom>
          <a:gradFill>
            <a:gsLst>
              <a:gs pos="73000">
                <a:schemeClr val="accent1"/>
              </a:gs>
              <a:gs pos="31000">
                <a:schemeClr val="accent1">
                  <a:lumMod val="60000"/>
                  <a:lumOff val="40000"/>
                </a:schemeClr>
              </a:gs>
              <a:gs pos="0">
                <a:schemeClr val="accent1">
                  <a:lumMod val="40000"/>
                  <a:lumOff val="60000"/>
                </a:schemeClr>
              </a:gs>
            </a:gsLst>
            <a:path path="circle">
              <a:fillToRect r="100000" b="100000"/>
            </a:path>
          </a:gra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sp>
        <p:nvSpPr>
          <p:cNvPr id="27" name="Freeform 44">
            <a:extLst>
              <a:ext uri="{FF2B5EF4-FFF2-40B4-BE49-F238E27FC236}">
                <a16:creationId xmlns:a16="http://schemas.microsoft.com/office/drawing/2014/main" id="{582CBECE-44E6-4431-922B-7DBD6192762E}"/>
              </a:ext>
            </a:extLst>
          </p:cNvPr>
          <p:cNvSpPr>
            <a:spLocks/>
          </p:cNvSpPr>
          <p:nvPr/>
        </p:nvSpPr>
        <p:spPr bwMode="auto">
          <a:xfrm>
            <a:off x="9079588" y="1490537"/>
            <a:ext cx="2008187" cy="922337"/>
          </a:xfrm>
          <a:custGeom>
            <a:avLst/>
            <a:gdLst>
              <a:gd name="T0" fmla="*/ 309 w 496"/>
              <a:gd name="T1" fmla="*/ 78 h 228"/>
              <a:gd name="T2" fmla="*/ 153 w 496"/>
              <a:gd name="T3" fmla="*/ 78 h 228"/>
              <a:gd name="T4" fmla="*/ 150 w 496"/>
              <a:gd name="T5" fmla="*/ 82 h 228"/>
              <a:gd name="T6" fmla="*/ 150 w 496"/>
              <a:gd name="T7" fmla="*/ 97 h 228"/>
              <a:gd name="T8" fmla="*/ 131 w 496"/>
              <a:gd name="T9" fmla="*/ 104 h 228"/>
              <a:gd name="T10" fmla="*/ 88 w 496"/>
              <a:gd name="T11" fmla="*/ 72 h 228"/>
              <a:gd name="T12" fmla="*/ 50 w 496"/>
              <a:gd name="T13" fmla="*/ 45 h 228"/>
              <a:gd name="T14" fmla="*/ 7 w 496"/>
              <a:gd name="T15" fmla="*/ 13 h 228"/>
              <a:gd name="T16" fmla="*/ 0 w 496"/>
              <a:gd name="T17" fmla="*/ 0 h 228"/>
              <a:gd name="T18" fmla="*/ 309 w 496"/>
              <a:gd name="T19" fmla="*/ 0 h 228"/>
              <a:gd name="T20" fmla="*/ 496 w 496"/>
              <a:gd name="T21" fmla="*/ 148 h 228"/>
              <a:gd name="T22" fmla="*/ 496 w 496"/>
              <a:gd name="T23" fmla="*/ 228 h 228"/>
              <a:gd name="T24" fmla="*/ 309 w 496"/>
              <a:gd name="T25" fmla="*/ 78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6" h="228">
                <a:moveTo>
                  <a:pt x="309" y="78"/>
                </a:moveTo>
                <a:cubicBezTo>
                  <a:pt x="153" y="78"/>
                  <a:pt x="153" y="78"/>
                  <a:pt x="153" y="78"/>
                </a:cubicBezTo>
                <a:cubicBezTo>
                  <a:pt x="151" y="78"/>
                  <a:pt x="150" y="80"/>
                  <a:pt x="150" y="82"/>
                </a:cubicBezTo>
                <a:cubicBezTo>
                  <a:pt x="150" y="97"/>
                  <a:pt x="150" y="97"/>
                  <a:pt x="150" y="97"/>
                </a:cubicBezTo>
                <a:cubicBezTo>
                  <a:pt x="150" y="108"/>
                  <a:pt x="141" y="112"/>
                  <a:pt x="131" y="104"/>
                </a:cubicBezTo>
                <a:cubicBezTo>
                  <a:pt x="88" y="72"/>
                  <a:pt x="88" y="72"/>
                  <a:pt x="88" y="72"/>
                </a:cubicBezTo>
                <a:cubicBezTo>
                  <a:pt x="78" y="65"/>
                  <a:pt x="61" y="52"/>
                  <a:pt x="50" y="45"/>
                </a:cubicBezTo>
                <a:cubicBezTo>
                  <a:pt x="7" y="13"/>
                  <a:pt x="7" y="13"/>
                  <a:pt x="7" y="13"/>
                </a:cubicBezTo>
                <a:cubicBezTo>
                  <a:pt x="2" y="9"/>
                  <a:pt x="0" y="5"/>
                  <a:pt x="0" y="0"/>
                </a:cubicBezTo>
                <a:cubicBezTo>
                  <a:pt x="309" y="0"/>
                  <a:pt x="309" y="0"/>
                  <a:pt x="309" y="0"/>
                </a:cubicBezTo>
                <a:cubicBezTo>
                  <a:pt x="473" y="4"/>
                  <a:pt x="494" y="110"/>
                  <a:pt x="496" y="148"/>
                </a:cubicBezTo>
                <a:cubicBezTo>
                  <a:pt x="496" y="228"/>
                  <a:pt x="496" y="228"/>
                  <a:pt x="496" y="228"/>
                </a:cubicBezTo>
                <a:cubicBezTo>
                  <a:pt x="494" y="191"/>
                  <a:pt x="475" y="78"/>
                  <a:pt x="309" y="78"/>
                </a:cubicBezTo>
                <a:close/>
              </a:path>
            </a:pathLst>
          </a:custGeom>
          <a:gradFill flip="none" rotWithShape="1">
            <a:gsLst>
              <a:gs pos="100000">
                <a:schemeClr val="accent1"/>
              </a:gs>
              <a:gs pos="31000">
                <a:schemeClr val="accent1">
                  <a:lumMod val="60000"/>
                  <a:lumOff val="40000"/>
                </a:schemeClr>
              </a:gs>
              <a:gs pos="0">
                <a:schemeClr val="accent1">
                  <a:lumMod val="40000"/>
                  <a:lumOff val="60000"/>
                </a:schemeClr>
              </a:gs>
            </a:gsLst>
            <a:lin ang="1620000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cs typeface="+mn-cs"/>
            </a:endParaRPr>
          </a:p>
        </p:txBody>
      </p:sp>
      <p:sp>
        <p:nvSpPr>
          <p:cNvPr id="28" name="Freeform 45">
            <a:extLst>
              <a:ext uri="{FF2B5EF4-FFF2-40B4-BE49-F238E27FC236}">
                <a16:creationId xmlns:a16="http://schemas.microsoft.com/office/drawing/2014/main" id="{00355269-AB43-4620-BF41-2F9A85BD7CA5}"/>
              </a:ext>
            </a:extLst>
          </p:cNvPr>
          <p:cNvSpPr>
            <a:spLocks noEditPoints="1"/>
          </p:cNvSpPr>
          <p:nvPr/>
        </p:nvSpPr>
        <p:spPr bwMode="auto">
          <a:xfrm>
            <a:off x="6133189" y="1478554"/>
            <a:ext cx="2825750" cy="0"/>
          </a:xfrm>
          <a:custGeom>
            <a:avLst/>
            <a:gdLst>
              <a:gd name="T0" fmla="*/ 0 w 1780"/>
              <a:gd name="T1" fmla="*/ 61 w 1780"/>
              <a:gd name="T2" fmla="*/ 153 w 1780"/>
              <a:gd name="T3" fmla="*/ 92 w 1780"/>
              <a:gd name="T4" fmla="*/ 153 w 1780"/>
              <a:gd name="T5" fmla="*/ 184 w 1780"/>
              <a:gd name="T6" fmla="*/ 245 w 1780"/>
              <a:gd name="T7" fmla="*/ 337 w 1780"/>
              <a:gd name="T8" fmla="*/ 275 w 1780"/>
              <a:gd name="T9" fmla="*/ 337 w 1780"/>
              <a:gd name="T10" fmla="*/ 367 w 1780"/>
              <a:gd name="T11" fmla="*/ 428 w 1780"/>
              <a:gd name="T12" fmla="*/ 520 w 1780"/>
              <a:gd name="T13" fmla="*/ 459 w 1780"/>
              <a:gd name="T14" fmla="*/ 520 w 1780"/>
              <a:gd name="T15" fmla="*/ 551 w 1780"/>
              <a:gd name="T16" fmla="*/ 612 w 1780"/>
              <a:gd name="T17" fmla="*/ 704 w 1780"/>
              <a:gd name="T18" fmla="*/ 643 w 1780"/>
              <a:gd name="T19" fmla="*/ 704 w 1780"/>
              <a:gd name="T20" fmla="*/ 734 w 1780"/>
              <a:gd name="T21" fmla="*/ 796 w 1780"/>
              <a:gd name="T22" fmla="*/ 887 w 1780"/>
              <a:gd name="T23" fmla="*/ 826 w 1780"/>
              <a:gd name="T24" fmla="*/ 887 w 1780"/>
              <a:gd name="T25" fmla="*/ 918 w 1780"/>
              <a:gd name="T26" fmla="*/ 979 w 1780"/>
              <a:gd name="T27" fmla="*/ 1071 w 1780"/>
              <a:gd name="T28" fmla="*/ 1010 w 1780"/>
              <a:gd name="T29" fmla="*/ 1071 w 1780"/>
              <a:gd name="T30" fmla="*/ 1102 w 1780"/>
              <a:gd name="T31" fmla="*/ 1163 w 1780"/>
              <a:gd name="T32" fmla="*/ 1255 w 1780"/>
              <a:gd name="T33" fmla="*/ 1193 w 1780"/>
              <a:gd name="T34" fmla="*/ 1255 w 1780"/>
              <a:gd name="T35" fmla="*/ 1285 w 1780"/>
              <a:gd name="T36" fmla="*/ 1346 w 1780"/>
              <a:gd name="T37" fmla="*/ 1438 w 1780"/>
              <a:gd name="T38" fmla="*/ 1377 w 1780"/>
              <a:gd name="T39" fmla="*/ 1438 w 1780"/>
              <a:gd name="T40" fmla="*/ 1469 w 1780"/>
              <a:gd name="T41" fmla="*/ 1530 w 1780"/>
              <a:gd name="T42" fmla="*/ 1622 w 1780"/>
              <a:gd name="T43" fmla="*/ 1561 w 1780"/>
              <a:gd name="T44" fmla="*/ 1622 w 1780"/>
              <a:gd name="T45" fmla="*/ 1652 w 1780"/>
              <a:gd name="T46" fmla="*/ 1714 w 1780"/>
              <a:gd name="T47" fmla="*/ 1780 w 1780"/>
              <a:gd name="T48" fmla="*/ 1744 w 1780"/>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 ang="0">
                <a:pos x="T11" y="0"/>
              </a:cxn>
              <a:cxn ang="0">
                <a:pos x="T12" y="0"/>
              </a:cxn>
              <a:cxn ang="0">
                <a:pos x="T13" y="0"/>
              </a:cxn>
              <a:cxn ang="0">
                <a:pos x="T14" y="0"/>
              </a:cxn>
              <a:cxn ang="0">
                <a:pos x="T15" y="0"/>
              </a:cxn>
              <a:cxn ang="0">
                <a:pos x="T16" y="0"/>
              </a:cxn>
              <a:cxn ang="0">
                <a:pos x="T17" y="0"/>
              </a:cxn>
              <a:cxn ang="0">
                <a:pos x="T18" y="0"/>
              </a:cxn>
              <a:cxn ang="0">
                <a:pos x="T19" y="0"/>
              </a:cxn>
              <a:cxn ang="0">
                <a:pos x="T20" y="0"/>
              </a:cxn>
              <a:cxn ang="0">
                <a:pos x="T21" y="0"/>
              </a:cxn>
              <a:cxn ang="0">
                <a:pos x="T22" y="0"/>
              </a:cxn>
              <a:cxn ang="0">
                <a:pos x="T23" y="0"/>
              </a:cxn>
              <a:cxn ang="0">
                <a:pos x="T24" y="0"/>
              </a:cxn>
              <a:cxn ang="0">
                <a:pos x="T25" y="0"/>
              </a:cxn>
              <a:cxn ang="0">
                <a:pos x="T26" y="0"/>
              </a:cxn>
              <a:cxn ang="0">
                <a:pos x="T27" y="0"/>
              </a:cxn>
              <a:cxn ang="0">
                <a:pos x="T28" y="0"/>
              </a:cxn>
              <a:cxn ang="0">
                <a:pos x="T29" y="0"/>
              </a:cxn>
              <a:cxn ang="0">
                <a:pos x="T30" y="0"/>
              </a:cxn>
              <a:cxn ang="0">
                <a:pos x="T31" y="0"/>
              </a:cxn>
              <a:cxn ang="0">
                <a:pos x="T32" y="0"/>
              </a:cxn>
              <a:cxn ang="0">
                <a:pos x="T33" y="0"/>
              </a:cxn>
              <a:cxn ang="0">
                <a:pos x="T34" y="0"/>
              </a:cxn>
              <a:cxn ang="0">
                <a:pos x="T35" y="0"/>
              </a:cxn>
              <a:cxn ang="0">
                <a:pos x="T36" y="0"/>
              </a:cxn>
              <a:cxn ang="0">
                <a:pos x="T37" y="0"/>
              </a:cxn>
              <a:cxn ang="0">
                <a:pos x="T38" y="0"/>
              </a:cxn>
              <a:cxn ang="0">
                <a:pos x="T39" y="0"/>
              </a:cxn>
              <a:cxn ang="0">
                <a:pos x="T40" y="0"/>
              </a:cxn>
              <a:cxn ang="0">
                <a:pos x="T41" y="0"/>
              </a:cxn>
              <a:cxn ang="0">
                <a:pos x="T42" y="0"/>
              </a:cxn>
              <a:cxn ang="0">
                <a:pos x="T43" y="0"/>
              </a:cxn>
              <a:cxn ang="0">
                <a:pos x="T44" y="0"/>
              </a:cxn>
              <a:cxn ang="0">
                <a:pos x="T45" y="0"/>
              </a:cxn>
              <a:cxn ang="0">
                <a:pos x="T46" y="0"/>
              </a:cxn>
              <a:cxn ang="0">
                <a:pos x="T47" y="0"/>
              </a:cxn>
              <a:cxn ang="0">
                <a:pos x="T48" y="0"/>
              </a:cxn>
            </a:cxnLst>
            <a:rect l="0" t="0" r="r" b="b"/>
            <a:pathLst>
              <a:path w="1780">
                <a:moveTo>
                  <a:pt x="61" y="0"/>
                </a:moveTo>
                <a:lnTo>
                  <a:pt x="0" y="0"/>
                </a:lnTo>
                <a:lnTo>
                  <a:pt x="0" y="0"/>
                </a:lnTo>
                <a:lnTo>
                  <a:pt x="61" y="0"/>
                </a:lnTo>
                <a:lnTo>
                  <a:pt x="61" y="0"/>
                </a:lnTo>
                <a:close/>
                <a:moveTo>
                  <a:pt x="153" y="0"/>
                </a:moveTo>
                <a:lnTo>
                  <a:pt x="92" y="0"/>
                </a:lnTo>
                <a:lnTo>
                  <a:pt x="92" y="0"/>
                </a:lnTo>
                <a:lnTo>
                  <a:pt x="153" y="0"/>
                </a:lnTo>
                <a:lnTo>
                  <a:pt x="153" y="0"/>
                </a:lnTo>
                <a:close/>
                <a:moveTo>
                  <a:pt x="245" y="0"/>
                </a:moveTo>
                <a:lnTo>
                  <a:pt x="184" y="0"/>
                </a:lnTo>
                <a:lnTo>
                  <a:pt x="184" y="0"/>
                </a:lnTo>
                <a:lnTo>
                  <a:pt x="245" y="0"/>
                </a:lnTo>
                <a:lnTo>
                  <a:pt x="245" y="0"/>
                </a:lnTo>
                <a:close/>
                <a:moveTo>
                  <a:pt x="337" y="0"/>
                </a:moveTo>
                <a:lnTo>
                  <a:pt x="275" y="0"/>
                </a:lnTo>
                <a:lnTo>
                  <a:pt x="275" y="0"/>
                </a:lnTo>
                <a:lnTo>
                  <a:pt x="337" y="0"/>
                </a:lnTo>
                <a:lnTo>
                  <a:pt x="337" y="0"/>
                </a:lnTo>
                <a:close/>
                <a:moveTo>
                  <a:pt x="428" y="0"/>
                </a:moveTo>
                <a:lnTo>
                  <a:pt x="367" y="0"/>
                </a:lnTo>
                <a:lnTo>
                  <a:pt x="367" y="0"/>
                </a:lnTo>
                <a:lnTo>
                  <a:pt x="428" y="0"/>
                </a:lnTo>
                <a:lnTo>
                  <a:pt x="428" y="0"/>
                </a:lnTo>
                <a:close/>
                <a:moveTo>
                  <a:pt x="520" y="0"/>
                </a:moveTo>
                <a:lnTo>
                  <a:pt x="459" y="0"/>
                </a:lnTo>
                <a:lnTo>
                  <a:pt x="459" y="0"/>
                </a:lnTo>
                <a:lnTo>
                  <a:pt x="520" y="0"/>
                </a:lnTo>
                <a:lnTo>
                  <a:pt x="520" y="0"/>
                </a:lnTo>
                <a:close/>
                <a:moveTo>
                  <a:pt x="612" y="0"/>
                </a:moveTo>
                <a:lnTo>
                  <a:pt x="551" y="0"/>
                </a:lnTo>
                <a:lnTo>
                  <a:pt x="551" y="0"/>
                </a:lnTo>
                <a:lnTo>
                  <a:pt x="612" y="0"/>
                </a:lnTo>
                <a:lnTo>
                  <a:pt x="612" y="0"/>
                </a:lnTo>
                <a:close/>
                <a:moveTo>
                  <a:pt x="704" y="0"/>
                </a:moveTo>
                <a:lnTo>
                  <a:pt x="643" y="0"/>
                </a:lnTo>
                <a:lnTo>
                  <a:pt x="643" y="0"/>
                </a:lnTo>
                <a:lnTo>
                  <a:pt x="704" y="0"/>
                </a:lnTo>
                <a:lnTo>
                  <a:pt x="704" y="0"/>
                </a:lnTo>
                <a:close/>
                <a:moveTo>
                  <a:pt x="796" y="0"/>
                </a:moveTo>
                <a:lnTo>
                  <a:pt x="734" y="0"/>
                </a:lnTo>
                <a:lnTo>
                  <a:pt x="734" y="0"/>
                </a:lnTo>
                <a:lnTo>
                  <a:pt x="796" y="0"/>
                </a:lnTo>
                <a:lnTo>
                  <a:pt x="796" y="0"/>
                </a:lnTo>
                <a:close/>
                <a:moveTo>
                  <a:pt x="887" y="0"/>
                </a:moveTo>
                <a:lnTo>
                  <a:pt x="826" y="0"/>
                </a:lnTo>
                <a:lnTo>
                  <a:pt x="826" y="0"/>
                </a:lnTo>
                <a:lnTo>
                  <a:pt x="887" y="0"/>
                </a:lnTo>
                <a:lnTo>
                  <a:pt x="887" y="0"/>
                </a:lnTo>
                <a:close/>
                <a:moveTo>
                  <a:pt x="979" y="0"/>
                </a:moveTo>
                <a:lnTo>
                  <a:pt x="918" y="0"/>
                </a:lnTo>
                <a:lnTo>
                  <a:pt x="918" y="0"/>
                </a:lnTo>
                <a:lnTo>
                  <a:pt x="979" y="0"/>
                </a:lnTo>
                <a:lnTo>
                  <a:pt x="979" y="0"/>
                </a:lnTo>
                <a:close/>
                <a:moveTo>
                  <a:pt x="1071" y="0"/>
                </a:moveTo>
                <a:lnTo>
                  <a:pt x="1010" y="0"/>
                </a:lnTo>
                <a:lnTo>
                  <a:pt x="1010" y="0"/>
                </a:lnTo>
                <a:lnTo>
                  <a:pt x="1071" y="0"/>
                </a:lnTo>
                <a:lnTo>
                  <a:pt x="1071" y="0"/>
                </a:lnTo>
                <a:close/>
                <a:moveTo>
                  <a:pt x="1163" y="0"/>
                </a:moveTo>
                <a:lnTo>
                  <a:pt x="1102" y="0"/>
                </a:lnTo>
                <a:lnTo>
                  <a:pt x="1102" y="0"/>
                </a:lnTo>
                <a:lnTo>
                  <a:pt x="1163" y="0"/>
                </a:lnTo>
                <a:lnTo>
                  <a:pt x="1163" y="0"/>
                </a:lnTo>
                <a:close/>
                <a:moveTo>
                  <a:pt x="1255" y="0"/>
                </a:moveTo>
                <a:lnTo>
                  <a:pt x="1193" y="0"/>
                </a:lnTo>
                <a:lnTo>
                  <a:pt x="1193" y="0"/>
                </a:lnTo>
                <a:lnTo>
                  <a:pt x="1255" y="0"/>
                </a:lnTo>
                <a:lnTo>
                  <a:pt x="1255" y="0"/>
                </a:lnTo>
                <a:close/>
                <a:moveTo>
                  <a:pt x="1346" y="0"/>
                </a:moveTo>
                <a:lnTo>
                  <a:pt x="1285" y="0"/>
                </a:lnTo>
                <a:lnTo>
                  <a:pt x="1285" y="0"/>
                </a:lnTo>
                <a:lnTo>
                  <a:pt x="1346" y="0"/>
                </a:lnTo>
                <a:lnTo>
                  <a:pt x="1346" y="0"/>
                </a:lnTo>
                <a:close/>
                <a:moveTo>
                  <a:pt x="1438" y="0"/>
                </a:moveTo>
                <a:lnTo>
                  <a:pt x="1377" y="0"/>
                </a:lnTo>
                <a:lnTo>
                  <a:pt x="1377" y="0"/>
                </a:lnTo>
                <a:lnTo>
                  <a:pt x="1438" y="0"/>
                </a:lnTo>
                <a:lnTo>
                  <a:pt x="1438" y="0"/>
                </a:lnTo>
                <a:close/>
                <a:moveTo>
                  <a:pt x="1530" y="0"/>
                </a:moveTo>
                <a:lnTo>
                  <a:pt x="1469" y="0"/>
                </a:lnTo>
                <a:lnTo>
                  <a:pt x="1469" y="0"/>
                </a:lnTo>
                <a:lnTo>
                  <a:pt x="1530" y="0"/>
                </a:lnTo>
                <a:lnTo>
                  <a:pt x="1530" y="0"/>
                </a:lnTo>
                <a:close/>
                <a:moveTo>
                  <a:pt x="1622" y="0"/>
                </a:moveTo>
                <a:lnTo>
                  <a:pt x="1561" y="0"/>
                </a:lnTo>
                <a:lnTo>
                  <a:pt x="1561" y="0"/>
                </a:lnTo>
                <a:lnTo>
                  <a:pt x="1622" y="0"/>
                </a:lnTo>
                <a:lnTo>
                  <a:pt x="1622" y="0"/>
                </a:lnTo>
                <a:close/>
                <a:moveTo>
                  <a:pt x="1714" y="0"/>
                </a:moveTo>
                <a:lnTo>
                  <a:pt x="1652" y="0"/>
                </a:lnTo>
                <a:lnTo>
                  <a:pt x="1652" y="0"/>
                </a:lnTo>
                <a:lnTo>
                  <a:pt x="1714" y="0"/>
                </a:lnTo>
                <a:lnTo>
                  <a:pt x="1714" y="0"/>
                </a:lnTo>
                <a:close/>
                <a:moveTo>
                  <a:pt x="1780" y="0"/>
                </a:moveTo>
                <a:lnTo>
                  <a:pt x="1744" y="0"/>
                </a:lnTo>
                <a:lnTo>
                  <a:pt x="1744" y="0"/>
                </a:lnTo>
                <a:lnTo>
                  <a:pt x="1780" y="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sp>
        <p:nvSpPr>
          <p:cNvPr id="29" name="Freeform 46">
            <a:extLst>
              <a:ext uri="{FF2B5EF4-FFF2-40B4-BE49-F238E27FC236}">
                <a16:creationId xmlns:a16="http://schemas.microsoft.com/office/drawing/2014/main" id="{5F458F2E-C0CD-4BA8-8D97-02C712EA4339}"/>
              </a:ext>
            </a:extLst>
          </p:cNvPr>
          <p:cNvSpPr>
            <a:spLocks noEditPoints="1"/>
          </p:cNvSpPr>
          <p:nvPr/>
        </p:nvSpPr>
        <p:spPr bwMode="auto">
          <a:xfrm>
            <a:off x="6133189" y="1478554"/>
            <a:ext cx="2825750" cy="0"/>
          </a:xfrm>
          <a:custGeom>
            <a:avLst/>
            <a:gdLst>
              <a:gd name="T0" fmla="*/ 0 w 1780"/>
              <a:gd name="T1" fmla="*/ 61 w 1780"/>
              <a:gd name="T2" fmla="*/ 153 w 1780"/>
              <a:gd name="T3" fmla="*/ 92 w 1780"/>
              <a:gd name="T4" fmla="*/ 153 w 1780"/>
              <a:gd name="T5" fmla="*/ 184 w 1780"/>
              <a:gd name="T6" fmla="*/ 245 w 1780"/>
              <a:gd name="T7" fmla="*/ 337 w 1780"/>
              <a:gd name="T8" fmla="*/ 275 w 1780"/>
              <a:gd name="T9" fmla="*/ 337 w 1780"/>
              <a:gd name="T10" fmla="*/ 367 w 1780"/>
              <a:gd name="T11" fmla="*/ 428 w 1780"/>
              <a:gd name="T12" fmla="*/ 520 w 1780"/>
              <a:gd name="T13" fmla="*/ 459 w 1780"/>
              <a:gd name="T14" fmla="*/ 520 w 1780"/>
              <a:gd name="T15" fmla="*/ 551 w 1780"/>
              <a:gd name="T16" fmla="*/ 612 w 1780"/>
              <a:gd name="T17" fmla="*/ 704 w 1780"/>
              <a:gd name="T18" fmla="*/ 643 w 1780"/>
              <a:gd name="T19" fmla="*/ 704 w 1780"/>
              <a:gd name="T20" fmla="*/ 734 w 1780"/>
              <a:gd name="T21" fmla="*/ 796 w 1780"/>
              <a:gd name="T22" fmla="*/ 887 w 1780"/>
              <a:gd name="T23" fmla="*/ 826 w 1780"/>
              <a:gd name="T24" fmla="*/ 887 w 1780"/>
              <a:gd name="T25" fmla="*/ 918 w 1780"/>
              <a:gd name="T26" fmla="*/ 979 w 1780"/>
              <a:gd name="T27" fmla="*/ 1071 w 1780"/>
              <a:gd name="T28" fmla="*/ 1010 w 1780"/>
              <a:gd name="T29" fmla="*/ 1071 w 1780"/>
              <a:gd name="T30" fmla="*/ 1102 w 1780"/>
              <a:gd name="T31" fmla="*/ 1163 w 1780"/>
              <a:gd name="T32" fmla="*/ 1255 w 1780"/>
              <a:gd name="T33" fmla="*/ 1193 w 1780"/>
              <a:gd name="T34" fmla="*/ 1255 w 1780"/>
              <a:gd name="T35" fmla="*/ 1285 w 1780"/>
              <a:gd name="T36" fmla="*/ 1346 w 1780"/>
              <a:gd name="T37" fmla="*/ 1438 w 1780"/>
              <a:gd name="T38" fmla="*/ 1377 w 1780"/>
              <a:gd name="T39" fmla="*/ 1438 w 1780"/>
              <a:gd name="T40" fmla="*/ 1469 w 1780"/>
              <a:gd name="T41" fmla="*/ 1530 w 1780"/>
              <a:gd name="T42" fmla="*/ 1622 w 1780"/>
              <a:gd name="T43" fmla="*/ 1561 w 1780"/>
              <a:gd name="T44" fmla="*/ 1622 w 1780"/>
              <a:gd name="T45" fmla="*/ 1652 w 1780"/>
              <a:gd name="T46" fmla="*/ 1714 w 1780"/>
              <a:gd name="T47" fmla="*/ 1780 w 1780"/>
              <a:gd name="T48" fmla="*/ 1744 w 1780"/>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 ang="0">
                <a:pos x="T11" y="0"/>
              </a:cxn>
              <a:cxn ang="0">
                <a:pos x="T12" y="0"/>
              </a:cxn>
              <a:cxn ang="0">
                <a:pos x="T13" y="0"/>
              </a:cxn>
              <a:cxn ang="0">
                <a:pos x="T14" y="0"/>
              </a:cxn>
              <a:cxn ang="0">
                <a:pos x="T15" y="0"/>
              </a:cxn>
              <a:cxn ang="0">
                <a:pos x="T16" y="0"/>
              </a:cxn>
              <a:cxn ang="0">
                <a:pos x="T17" y="0"/>
              </a:cxn>
              <a:cxn ang="0">
                <a:pos x="T18" y="0"/>
              </a:cxn>
              <a:cxn ang="0">
                <a:pos x="T19" y="0"/>
              </a:cxn>
              <a:cxn ang="0">
                <a:pos x="T20" y="0"/>
              </a:cxn>
              <a:cxn ang="0">
                <a:pos x="T21" y="0"/>
              </a:cxn>
              <a:cxn ang="0">
                <a:pos x="T22" y="0"/>
              </a:cxn>
              <a:cxn ang="0">
                <a:pos x="T23" y="0"/>
              </a:cxn>
              <a:cxn ang="0">
                <a:pos x="T24" y="0"/>
              </a:cxn>
              <a:cxn ang="0">
                <a:pos x="T25" y="0"/>
              </a:cxn>
              <a:cxn ang="0">
                <a:pos x="T26" y="0"/>
              </a:cxn>
              <a:cxn ang="0">
                <a:pos x="T27" y="0"/>
              </a:cxn>
              <a:cxn ang="0">
                <a:pos x="T28" y="0"/>
              </a:cxn>
              <a:cxn ang="0">
                <a:pos x="T29" y="0"/>
              </a:cxn>
              <a:cxn ang="0">
                <a:pos x="T30" y="0"/>
              </a:cxn>
              <a:cxn ang="0">
                <a:pos x="T31" y="0"/>
              </a:cxn>
              <a:cxn ang="0">
                <a:pos x="T32" y="0"/>
              </a:cxn>
              <a:cxn ang="0">
                <a:pos x="T33" y="0"/>
              </a:cxn>
              <a:cxn ang="0">
                <a:pos x="T34" y="0"/>
              </a:cxn>
              <a:cxn ang="0">
                <a:pos x="T35" y="0"/>
              </a:cxn>
              <a:cxn ang="0">
                <a:pos x="T36" y="0"/>
              </a:cxn>
              <a:cxn ang="0">
                <a:pos x="T37" y="0"/>
              </a:cxn>
              <a:cxn ang="0">
                <a:pos x="T38" y="0"/>
              </a:cxn>
              <a:cxn ang="0">
                <a:pos x="T39" y="0"/>
              </a:cxn>
              <a:cxn ang="0">
                <a:pos x="T40" y="0"/>
              </a:cxn>
              <a:cxn ang="0">
                <a:pos x="T41" y="0"/>
              </a:cxn>
              <a:cxn ang="0">
                <a:pos x="T42" y="0"/>
              </a:cxn>
              <a:cxn ang="0">
                <a:pos x="T43" y="0"/>
              </a:cxn>
              <a:cxn ang="0">
                <a:pos x="T44" y="0"/>
              </a:cxn>
              <a:cxn ang="0">
                <a:pos x="T45" y="0"/>
              </a:cxn>
              <a:cxn ang="0">
                <a:pos x="T46" y="0"/>
              </a:cxn>
              <a:cxn ang="0">
                <a:pos x="T47" y="0"/>
              </a:cxn>
              <a:cxn ang="0">
                <a:pos x="T48" y="0"/>
              </a:cxn>
            </a:cxnLst>
            <a:rect l="0" t="0" r="r" b="b"/>
            <a:pathLst>
              <a:path w="1780">
                <a:moveTo>
                  <a:pt x="61" y="0"/>
                </a:moveTo>
                <a:lnTo>
                  <a:pt x="0" y="0"/>
                </a:lnTo>
                <a:lnTo>
                  <a:pt x="0" y="0"/>
                </a:lnTo>
                <a:lnTo>
                  <a:pt x="61" y="0"/>
                </a:lnTo>
                <a:lnTo>
                  <a:pt x="61" y="0"/>
                </a:lnTo>
                <a:moveTo>
                  <a:pt x="153" y="0"/>
                </a:moveTo>
                <a:lnTo>
                  <a:pt x="92" y="0"/>
                </a:lnTo>
                <a:lnTo>
                  <a:pt x="92" y="0"/>
                </a:lnTo>
                <a:lnTo>
                  <a:pt x="153" y="0"/>
                </a:lnTo>
                <a:lnTo>
                  <a:pt x="153" y="0"/>
                </a:lnTo>
                <a:moveTo>
                  <a:pt x="245" y="0"/>
                </a:moveTo>
                <a:lnTo>
                  <a:pt x="184" y="0"/>
                </a:lnTo>
                <a:lnTo>
                  <a:pt x="184" y="0"/>
                </a:lnTo>
                <a:lnTo>
                  <a:pt x="245" y="0"/>
                </a:lnTo>
                <a:lnTo>
                  <a:pt x="245" y="0"/>
                </a:lnTo>
                <a:moveTo>
                  <a:pt x="337" y="0"/>
                </a:moveTo>
                <a:lnTo>
                  <a:pt x="275" y="0"/>
                </a:lnTo>
                <a:lnTo>
                  <a:pt x="275" y="0"/>
                </a:lnTo>
                <a:lnTo>
                  <a:pt x="337" y="0"/>
                </a:lnTo>
                <a:lnTo>
                  <a:pt x="337" y="0"/>
                </a:lnTo>
                <a:moveTo>
                  <a:pt x="428" y="0"/>
                </a:moveTo>
                <a:lnTo>
                  <a:pt x="367" y="0"/>
                </a:lnTo>
                <a:lnTo>
                  <a:pt x="367" y="0"/>
                </a:lnTo>
                <a:lnTo>
                  <a:pt x="428" y="0"/>
                </a:lnTo>
                <a:lnTo>
                  <a:pt x="428" y="0"/>
                </a:lnTo>
                <a:moveTo>
                  <a:pt x="520" y="0"/>
                </a:moveTo>
                <a:lnTo>
                  <a:pt x="459" y="0"/>
                </a:lnTo>
                <a:lnTo>
                  <a:pt x="459" y="0"/>
                </a:lnTo>
                <a:lnTo>
                  <a:pt x="520" y="0"/>
                </a:lnTo>
                <a:lnTo>
                  <a:pt x="520" y="0"/>
                </a:lnTo>
                <a:moveTo>
                  <a:pt x="612" y="0"/>
                </a:moveTo>
                <a:lnTo>
                  <a:pt x="551" y="0"/>
                </a:lnTo>
                <a:lnTo>
                  <a:pt x="551" y="0"/>
                </a:lnTo>
                <a:lnTo>
                  <a:pt x="612" y="0"/>
                </a:lnTo>
                <a:lnTo>
                  <a:pt x="612" y="0"/>
                </a:lnTo>
                <a:moveTo>
                  <a:pt x="704" y="0"/>
                </a:moveTo>
                <a:lnTo>
                  <a:pt x="643" y="0"/>
                </a:lnTo>
                <a:lnTo>
                  <a:pt x="643" y="0"/>
                </a:lnTo>
                <a:lnTo>
                  <a:pt x="704" y="0"/>
                </a:lnTo>
                <a:lnTo>
                  <a:pt x="704" y="0"/>
                </a:lnTo>
                <a:moveTo>
                  <a:pt x="796" y="0"/>
                </a:moveTo>
                <a:lnTo>
                  <a:pt x="734" y="0"/>
                </a:lnTo>
                <a:lnTo>
                  <a:pt x="734" y="0"/>
                </a:lnTo>
                <a:lnTo>
                  <a:pt x="796" y="0"/>
                </a:lnTo>
                <a:lnTo>
                  <a:pt x="796" y="0"/>
                </a:lnTo>
                <a:moveTo>
                  <a:pt x="887" y="0"/>
                </a:moveTo>
                <a:lnTo>
                  <a:pt x="826" y="0"/>
                </a:lnTo>
                <a:lnTo>
                  <a:pt x="826" y="0"/>
                </a:lnTo>
                <a:lnTo>
                  <a:pt x="887" y="0"/>
                </a:lnTo>
                <a:lnTo>
                  <a:pt x="887" y="0"/>
                </a:lnTo>
                <a:moveTo>
                  <a:pt x="979" y="0"/>
                </a:moveTo>
                <a:lnTo>
                  <a:pt x="918" y="0"/>
                </a:lnTo>
                <a:lnTo>
                  <a:pt x="918" y="0"/>
                </a:lnTo>
                <a:lnTo>
                  <a:pt x="979" y="0"/>
                </a:lnTo>
                <a:lnTo>
                  <a:pt x="979" y="0"/>
                </a:lnTo>
                <a:moveTo>
                  <a:pt x="1071" y="0"/>
                </a:moveTo>
                <a:lnTo>
                  <a:pt x="1010" y="0"/>
                </a:lnTo>
                <a:lnTo>
                  <a:pt x="1010" y="0"/>
                </a:lnTo>
                <a:lnTo>
                  <a:pt x="1071" y="0"/>
                </a:lnTo>
                <a:lnTo>
                  <a:pt x="1071" y="0"/>
                </a:lnTo>
                <a:moveTo>
                  <a:pt x="1163" y="0"/>
                </a:moveTo>
                <a:lnTo>
                  <a:pt x="1102" y="0"/>
                </a:lnTo>
                <a:lnTo>
                  <a:pt x="1102" y="0"/>
                </a:lnTo>
                <a:lnTo>
                  <a:pt x="1163" y="0"/>
                </a:lnTo>
                <a:lnTo>
                  <a:pt x="1163" y="0"/>
                </a:lnTo>
                <a:moveTo>
                  <a:pt x="1255" y="0"/>
                </a:moveTo>
                <a:lnTo>
                  <a:pt x="1193" y="0"/>
                </a:lnTo>
                <a:lnTo>
                  <a:pt x="1193" y="0"/>
                </a:lnTo>
                <a:lnTo>
                  <a:pt x="1255" y="0"/>
                </a:lnTo>
                <a:lnTo>
                  <a:pt x="1255" y="0"/>
                </a:lnTo>
                <a:moveTo>
                  <a:pt x="1346" y="0"/>
                </a:moveTo>
                <a:lnTo>
                  <a:pt x="1285" y="0"/>
                </a:lnTo>
                <a:lnTo>
                  <a:pt x="1285" y="0"/>
                </a:lnTo>
                <a:lnTo>
                  <a:pt x="1346" y="0"/>
                </a:lnTo>
                <a:lnTo>
                  <a:pt x="1346" y="0"/>
                </a:lnTo>
                <a:moveTo>
                  <a:pt x="1438" y="0"/>
                </a:moveTo>
                <a:lnTo>
                  <a:pt x="1377" y="0"/>
                </a:lnTo>
                <a:lnTo>
                  <a:pt x="1377" y="0"/>
                </a:lnTo>
                <a:lnTo>
                  <a:pt x="1438" y="0"/>
                </a:lnTo>
                <a:lnTo>
                  <a:pt x="1438" y="0"/>
                </a:lnTo>
                <a:moveTo>
                  <a:pt x="1530" y="0"/>
                </a:moveTo>
                <a:lnTo>
                  <a:pt x="1469" y="0"/>
                </a:lnTo>
                <a:lnTo>
                  <a:pt x="1469" y="0"/>
                </a:lnTo>
                <a:lnTo>
                  <a:pt x="1530" y="0"/>
                </a:lnTo>
                <a:lnTo>
                  <a:pt x="1530" y="0"/>
                </a:lnTo>
                <a:moveTo>
                  <a:pt x="1622" y="0"/>
                </a:moveTo>
                <a:lnTo>
                  <a:pt x="1561" y="0"/>
                </a:lnTo>
                <a:lnTo>
                  <a:pt x="1561" y="0"/>
                </a:lnTo>
                <a:lnTo>
                  <a:pt x="1622" y="0"/>
                </a:lnTo>
                <a:lnTo>
                  <a:pt x="1622" y="0"/>
                </a:lnTo>
                <a:moveTo>
                  <a:pt x="1714" y="0"/>
                </a:moveTo>
                <a:lnTo>
                  <a:pt x="1652" y="0"/>
                </a:lnTo>
                <a:lnTo>
                  <a:pt x="1652" y="0"/>
                </a:lnTo>
                <a:lnTo>
                  <a:pt x="1714" y="0"/>
                </a:lnTo>
                <a:lnTo>
                  <a:pt x="1714" y="0"/>
                </a:lnTo>
                <a:moveTo>
                  <a:pt x="1780" y="0"/>
                </a:moveTo>
                <a:lnTo>
                  <a:pt x="1744" y="0"/>
                </a:lnTo>
                <a:lnTo>
                  <a:pt x="1744" y="0"/>
                </a:lnTo>
                <a:lnTo>
                  <a:pt x="178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sp>
        <p:nvSpPr>
          <p:cNvPr id="30" name="Freeform 47">
            <a:extLst>
              <a:ext uri="{FF2B5EF4-FFF2-40B4-BE49-F238E27FC236}">
                <a16:creationId xmlns:a16="http://schemas.microsoft.com/office/drawing/2014/main" id="{7BFB58BA-B8EB-4D1B-93BE-2EB92A917D72}"/>
              </a:ext>
            </a:extLst>
          </p:cNvPr>
          <p:cNvSpPr>
            <a:spLocks noEditPoints="1"/>
          </p:cNvSpPr>
          <p:nvPr/>
        </p:nvSpPr>
        <p:spPr bwMode="auto">
          <a:xfrm>
            <a:off x="6085564" y="1476253"/>
            <a:ext cx="2816225" cy="49212"/>
          </a:xfrm>
          <a:custGeom>
            <a:avLst/>
            <a:gdLst>
              <a:gd name="T0" fmla="*/ 6 w 696"/>
              <a:gd name="T1" fmla="*/ 12 h 12"/>
              <a:gd name="T2" fmla="*/ 12 w 696"/>
              <a:gd name="T3" fmla="*/ 6 h 12"/>
              <a:gd name="T4" fmla="*/ 36 w 696"/>
              <a:gd name="T5" fmla="*/ 6 h 12"/>
              <a:gd name="T6" fmla="*/ 42 w 696"/>
              <a:gd name="T7" fmla="*/ 12 h 12"/>
              <a:gd name="T8" fmla="*/ 48 w 696"/>
              <a:gd name="T9" fmla="*/ 6 h 12"/>
              <a:gd name="T10" fmla="*/ 72 w 696"/>
              <a:gd name="T11" fmla="*/ 6 h 12"/>
              <a:gd name="T12" fmla="*/ 78 w 696"/>
              <a:gd name="T13" fmla="*/ 12 h 12"/>
              <a:gd name="T14" fmla="*/ 84 w 696"/>
              <a:gd name="T15" fmla="*/ 6 h 12"/>
              <a:gd name="T16" fmla="*/ 108 w 696"/>
              <a:gd name="T17" fmla="*/ 6 h 12"/>
              <a:gd name="T18" fmla="*/ 114 w 696"/>
              <a:gd name="T19" fmla="*/ 12 h 12"/>
              <a:gd name="T20" fmla="*/ 120 w 696"/>
              <a:gd name="T21" fmla="*/ 6 h 12"/>
              <a:gd name="T22" fmla="*/ 144 w 696"/>
              <a:gd name="T23" fmla="*/ 6 h 12"/>
              <a:gd name="T24" fmla="*/ 150 w 696"/>
              <a:gd name="T25" fmla="*/ 12 h 12"/>
              <a:gd name="T26" fmla="*/ 156 w 696"/>
              <a:gd name="T27" fmla="*/ 6 h 12"/>
              <a:gd name="T28" fmla="*/ 180 w 696"/>
              <a:gd name="T29" fmla="*/ 6 h 12"/>
              <a:gd name="T30" fmla="*/ 186 w 696"/>
              <a:gd name="T31" fmla="*/ 12 h 12"/>
              <a:gd name="T32" fmla="*/ 192 w 696"/>
              <a:gd name="T33" fmla="*/ 6 h 12"/>
              <a:gd name="T34" fmla="*/ 216 w 696"/>
              <a:gd name="T35" fmla="*/ 6 h 12"/>
              <a:gd name="T36" fmla="*/ 222 w 696"/>
              <a:gd name="T37" fmla="*/ 12 h 12"/>
              <a:gd name="T38" fmla="*/ 228 w 696"/>
              <a:gd name="T39" fmla="*/ 6 h 12"/>
              <a:gd name="T40" fmla="*/ 252 w 696"/>
              <a:gd name="T41" fmla="*/ 6 h 12"/>
              <a:gd name="T42" fmla="*/ 258 w 696"/>
              <a:gd name="T43" fmla="*/ 12 h 12"/>
              <a:gd name="T44" fmla="*/ 264 w 696"/>
              <a:gd name="T45" fmla="*/ 6 h 12"/>
              <a:gd name="T46" fmla="*/ 288 w 696"/>
              <a:gd name="T47" fmla="*/ 6 h 12"/>
              <a:gd name="T48" fmla="*/ 294 w 696"/>
              <a:gd name="T49" fmla="*/ 12 h 12"/>
              <a:gd name="T50" fmla="*/ 300 w 696"/>
              <a:gd name="T51" fmla="*/ 6 h 12"/>
              <a:gd name="T52" fmla="*/ 324 w 696"/>
              <a:gd name="T53" fmla="*/ 6 h 12"/>
              <a:gd name="T54" fmla="*/ 330 w 696"/>
              <a:gd name="T55" fmla="*/ 12 h 12"/>
              <a:gd name="T56" fmla="*/ 336 w 696"/>
              <a:gd name="T57" fmla="*/ 6 h 12"/>
              <a:gd name="T58" fmla="*/ 360 w 696"/>
              <a:gd name="T59" fmla="*/ 6 h 12"/>
              <a:gd name="T60" fmla="*/ 366 w 696"/>
              <a:gd name="T61" fmla="*/ 12 h 12"/>
              <a:gd name="T62" fmla="*/ 372 w 696"/>
              <a:gd name="T63" fmla="*/ 6 h 12"/>
              <a:gd name="T64" fmla="*/ 396 w 696"/>
              <a:gd name="T65" fmla="*/ 6 h 12"/>
              <a:gd name="T66" fmla="*/ 402 w 696"/>
              <a:gd name="T67" fmla="*/ 12 h 12"/>
              <a:gd name="T68" fmla="*/ 408 w 696"/>
              <a:gd name="T69" fmla="*/ 6 h 12"/>
              <a:gd name="T70" fmla="*/ 432 w 696"/>
              <a:gd name="T71" fmla="*/ 6 h 12"/>
              <a:gd name="T72" fmla="*/ 438 w 696"/>
              <a:gd name="T73" fmla="*/ 12 h 12"/>
              <a:gd name="T74" fmla="*/ 444 w 696"/>
              <a:gd name="T75" fmla="*/ 6 h 12"/>
              <a:gd name="T76" fmla="*/ 468 w 696"/>
              <a:gd name="T77" fmla="*/ 6 h 12"/>
              <a:gd name="T78" fmla="*/ 474 w 696"/>
              <a:gd name="T79" fmla="*/ 12 h 12"/>
              <a:gd name="T80" fmla="*/ 480 w 696"/>
              <a:gd name="T81" fmla="*/ 6 h 12"/>
              <a:gd name="T82" fmla="*/ 504 w 696"/>
              <a:gd name="T83" fmla="*/ 6 h 12"/>
              <a:gd name="T84" fmla="*/ 510 w 696"/>
              <a:gd name="T85" fmla="*/ 12 h 12"/>
              <a:gd name="T86" fmla="*/ 516 w 696"/>
              <a:gd name="T87" fmla="*/ 6 h 12"/>
              <a:gd name="T88" fmla="*/ 540 w 696"/>
              <a:gd name="T89" fmla="*/ 6 h 12"/>
              <a:gd name="T90" fmla="*/ 546 w 696"/>
              <a:gd name="T91" fmla="*/ 12 h 12"/>
              <a:gd name="T92" fmla="*/ 552 w 696"/>
              <a:gd name="T93" fmla="*/ 6 h 12"/>
              <a:gd name="T94" fmla="*/ 576 w 696"/>
              <a:gd name="T95" fmla="*/ 6 h 12"/>
              <a:gd name="T96" fmla="*/ 582 w 696"/>
              <a:gd name="T97" fmla="*/ 12 h 12"/>
              <a:gd name="T98" fmla="*/ 588 w 696"/>
              <a:gd name="T99" fmla="*/ 6 h 12"/>
              <a:gd name="T100" fmla="*/ 612 w 696"/>
              <a:gd name="T101" fmla="*/ 6 h 12"/>
              <a:gd name="T102" fmla="*/ 618 w 696"/>
              <a:gd name="T103" fmla="*/ 12 h 12"/>
              <a:gd name="T104" fmla="*/ 624 w 696"/>
              <a:gd name="T105" fmla="*/ 6 h 12"/>
              <a:gd name="T106" fmla="*/ 648 w 696"/>
              <a:gd name="T107" fmla="*/ 6 h 12"/>
              <a:gd name="T108" fmla="*/ 654 w 696"/>
              <a:gd name="T109" fmla="*/ 12 h 12"/>
              <a:gd name="T110" fmla="*/ 660 w 696"/>
              <a:gd name="T111" fmla="*/ 6 h 12"/>
              <a:gd name="T112" fmla="*/ 684 w 696"/>
              <a:gd name="T113" fmla="*/ 6 h 12"/>
              <a:gd name="T114" fmla="*/ 690 w 696"/>
              <a:gd name="T115" fmla="*/ 12 h 12"/>
              <a:gd name="T116" fmla="*/ 696 w 696"/>
              <a:gd name="T117"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96" h="12">
                <a:moveTo>
                  <a:pt x="6" y="0"/>
                </a:moveTo>
                <a:cubicBezTo>
                  <a:pt x="3" y="0"/>
                  <a:pt x="0" y="3"/>
                  <a:pt x="0" y="6"/>
                </a:cubicBezTo>
                <a:cubicBezTo>
                  <a:pt x="0" y="10"/>
                  <a:pt x="3" y="12"/>
                  <a:pt x="6" y="12"/>
                </a:cubicBezTo>
                <a:cubicBezTo>
                  <a:pt x="10" y="12"/>
                  <a:pt x="12" y="10"/>
                  <a:pt x="12" y="6"/>
                </a:cubicBezTo>
                <a:cubicBezTo>
                  <a:pt x="12" y="6"/>
                  <a:pt x="12" y="6"/>
                  <a:pt x="12" y="6"/>
                </a:cubicBezTo>
                <a:cubicBezTo>
                  <a:pt x="12" y="6"/>
                  <a:pt x="12" y="6"/>
                  <a:pt x="12" y="6"/>
                </a:cubicBezTo>
                <a:cubicBezTo>
                  <a:pt x="12" y="3"/>
                  <a:pt x="10" y="0"/>
                  <a:pt x="6" y="0"/>
                </a:cubicBezTo>
                <a:moveTo>
                  <a:pt x="42" y="0"/>
                </a:moveTo>
                <a:cubicBezTo>
                  <a:pt x="39" y="0"/>
                  <a:pt x="36" y="3"/>
                  <a:pt x="36" y="6"/>
                </a:cubicBezTo>
                <a:cubicBezTo>
                  <a:pt x="36" y="6"/>
                  <a:pt x="36" y="6"/>
                  <a:pt x="36" y="6"/>
                </a:cubicBezTo>
                <a:cubicBezTo>
                  <a:pt x="36" y="6"/>
                  <a:pt x="36" y="6"/>
                  <a:pt x="36" y="6"/>
                </a:cubicBezTo>
                <a:cubicBezTo>
                  <a:pt x="36" y="10"/>
                  <a:pt x="39" y="12"/>
                  <a:pt x="42" y="12"/>
                </a:cubicBezTo>
                <a:cubicBezTo>
                  <a:pt x="46" y="12"/>
                  <a:pt x="48" y="10"/>
                  <a:pt x="48" y="6"/>
                </a:cubicBezTo>
                <a:cubicBezTo>
                  <a:pt x="48" y="6"/>
                  <a:pt x="48" y="6"/>
                  <a:pt x="48" y="6"/>
                </a:cubicBezTo>
                <a:cubicBezTo>
                  <a:pt x="48" y="6"/>
                  <a:pt x="48" y="6"/>
                  <a:pt x="48" y="6"/>
                </a:cubicBezTo>
                <a:cubicBezTo>
                  <a:pt x="48" y="3"/>
                  <a:pt x="46" y="0"/>
                  <a:pt x="42" y="0"/>
                </a:cubicBezTo>
                <a:moveTo>
                  <a:pt x="78" y="0"/>
                </a:moveTo>
                <a:cubicBezTo>
                  <a:pt x="75" y="0"/>
                  <a:pt x="72" y="3"/>
                  <a:pt x="72" y="6"/>
                </a:cubicBezTo>
                <a:cubicBezTo>
                  <a:pt x="72" y="6"/>
                  <a:pt x="72" y="6"/>
                  <a:pt x="72" y="6"/>
                </a:cubicBezTo>
                <a:cubicBezTo>
                  <a:pt x="72" y="6"/>
                  <a:pt x="72" y="6"/>
                  <a:pt x="72" y="6"/>
                </a:cubicBezTo>
                <a:cubicBezTo>
                  <a:pt x="72" y="10"/>
                  <a:pt x="75" y="12"/>
                  <a:pt x="78" y="12"/>
                </a:cubicBezTo>
                <a:cubicBezTo>
                  <a:pt x="82" y="12"/>
                  <a:pt x="84" y="10"/>
                  <a:pt x="84" y="6"/>
                </a:cubicBezTo>
                <a:cubicBezTo>
                  <a:pt x="84" y="6"/>
                  <a:pt x="84" y="6"/>
                  <a:pt x="84" y="6"/>
                </a:cubicBezTo>
                <a:cubicBezTo>
                  <a:pt x="84" y="6"/>
                  <a:pt x="84" y="6"/>
                  <a:pt x="84" y="6"/>
                </a:cubicBezTo>
                <a:cubicBezTo>
                  <a:pt x="84" y="3"/>
                  <a:pt x="82" y="0"/>
                  <a:pt x="78" y="0"/>
                </a:cubicBezTo>
                <a:moveTo>
                  <a:pt x="114" y="0"/>
                </a:moveTo>
                <a:cubicBezTo>
                  <a:pt x="111" y="0"/>
                  <a:pt x="108" y="3"/>
                  <a:pt x="108" y="6"/>
                </a:cubicBezTo>
                <a:cubicBezTo>
                  <a:pt x="108" y="6"/>
                  <a:pt x="108" y="6"/>
                  <a:pt x="108" y="6"/>
                </a:cubicBezTo>
                <a:cubicBezTo>
                  <a:pt x="108" y="6"/>
                  <a:pt x="108" y="6"/>
                  <a:pt x="108" y="6"/>
                </a:cubicBezTo>
                <a:cubicBezTo>
                  <a:pt x="108" y="10"/>
                  <a:pt x="111" y="12"/>
                  <a:pt x="114" y="12"/>
                </a:cubicBezTo>
                <a:cubicBezTo>
                  <a:pt x="118" y="12"/>
                  <a:pt x="120" y="10"/>
                  <a:pt x="120" y="6"/>
                </a:cubicBezTo>
                <a:cubicBezTo>
                  <a:pt x="120" y="6"/>
                  <a:pt x="120" y="6"/>
                  <a:pt x="120" y="6"/>
                </a:cubicBezTo>
                <a:cubicBezTo>
                  <a:pt x="120" y="6"/>
                  <a:pt x="120" y="6"/>
                  <a:pt x="120" y="6"/>
                </a:cubicBezTo>
                <a:cubicBezTo>
                  <a:pt x="120" y="3"/>
                  <a:pt x="118" y="0"/>
                  <a:pt x="114" y="0"/>
                </a:cubicBezTo>
                <a:moveTo>
                  <a:pt x="150" y="0"/>
                </a:moveTo>
                <a:cubicBezTo>
                  <a:pt x="147" y="0"/>
                  <a:pt x="144" y="3"/>
                  <a:pt x="144" y="6"/>
                </a:cubicBezTo>
                <a:cubicBezTo>
                  <a:pt x="144" y="6"/>
                  <a:pt x="144" y="6"/>
                  <a:pt x="144" y="6"/>
                </a:cubicBezTo>
                <a:cubicBezTo>
                  <a:pt x="144" y="6"/>
                  <a:pt x="144" y="6"/>
                  <a:pt x="144" y="6"/>
                </a:cubicBezTo>
                <a:cubicBezTo>
                  <a:pt x="144" y="10"/>
                  <a:pt x="147" y="12"/>
                  <a:pt x="150" y="12"/>
                </a:cubicBezTo>
                <a:cubicBezTo>
                  <a:pt x="154" y="12"/>
                  <a:pt x="156" y="10"/>
                  <a:pt x="156" y="6"/>
                </a:cubicBezTo>
                <a:cubicBezTo>
                  <a:pt x="156" y="6"/>
                  <a:pt x="156" y="6"/>
                  <a:pt x="156" y="6"/>
                </a:cubicBezTo>
                <a:cubicBezTo>
                  <a:pt x="156" y="6"/>
                  <a:pt x="156" y="6"/>
                  <a:pt x="156" y="6"/>
                </a:cubicBezTo>
                <a:cubicBezTo>
                  <a:pt x="156" y="3"/>
                  <a:pt x="154" y="0"/>
                  <a:pt x="150" y="0"/>
                </a:cubicBezTo>
                <a:moveTo>
                  <a:pt x="186" y="0"/>
                </a:moveTo>
                <a:cubicBezTo>
                  <a:pt x="183" y="0"/>
                  <a:pt x="180" y="3"/>
                  <a:pt x="180" y="6"/>
                </a:cubicBezTo>
                <a:cubicBezTo>
                  <a:pt x="180" y="6"/>
                  <a:pt x="180" y="6"/>
                  <a:pt x="180" y="6"/>
                </a:cubicBezTo>
                <a:cubicBezTo>
                  <a:pt x="180" y="6"/>
                  <a:pt x="180" y="6"/>
                  <a:pt x="180" y="6"/>
                </a:cubicBezTo>
                <a:cubicBezTo>
                  <a:pt x="180" y="10"/>
                  <a:pt x="183" y="12"/>
                  <a:pt x="186" y="12"/>
                </a:cubicBezTo>
                <a:cubicBezTo>
                  <a:pt x="190" y="12"/>
                  <a:pt x="192" y="10"/>
                  <a:pt x="192" y="6"/>
                </a:cubicBezTo>
                <a:cubicBezTo>
                  <a:pt x="192" y="6"/>
                  <a:pt x="192" y="6"/>
                  <a:pt x="192" y="6"/>
                </a:cubicBezTo>
                <a:cubicBezTo>
                  <a:pt x="192" y="6"/>
                  <a:pt x="192" y="6"/>
                  <a:pt x="192" y="6"/>
                </a:cubicBezTo>
                <a:cubicBezTo>
                  <a:pt x="192" y="3"/>
                  <a:pt x="190" y="0"/>
                  <a:pt x="186" y="0"/>
                </a:cubicBezTo>
                <a:moveTo>
                  <a:pt x="222" y="0"/>
                </a:moveTo>
                <a:cubicBezTo>
                  <a:pt x="219" y="0"/>
                  <a:pt x="216" y="3"/>
                  <a:pt x="216" y="6"/>
                </a:cubicBezTo>
                <a:cubicBezTo>
                  <a:pt x="216" y="6"/>
                  <a:pt x="216" y="6"/>
                  <a:pt x="216" y="6"/>
                </a:cubicBezTo>
                <a:cubicBezTo>
                  <a:pt x="216" y="6"/>
                  <a:pt x="216" y="6"/>
                  <a:pt x="216" y="6"/>
                </a:cubicBezTo>
                <a:cubicBezTo>
                  <a:pt x="216" y="10"/>
                  <a:pt x="219" y="12"/>
                  <a:pt x="222" y="12"/>
                </a:cubicBezTo>
                <a:cubicBezTo>
                  <a:pt x="226" y="12"/>
                  <a:pt x="228" y="10"/>
                  <a:pt x="228" y="6"/>
                </a:cubicBezTo>
                <a:cubicBezTo>
                  <a:pt x="228" y="6"/>
                  <a:pt x="228" y="6"/>
                  <a:pt x="228" y="6"/>
                </a:cubicBezTo>
                <a:cubicBezTo>
                  <a:pt x="228" y="6"/>
                  <a:pt x="228" y="6"/>
                  <a:pt x="228" y="6"/>
                </a:cubicBezTo>
                <a:cubicBezTo>
                  <a:pt x="228" y="3"/>
                  <a:pt x="226" y="0"/>
                  <a:pt x="222" y="0"/>
                </a:cubicBezTo>
                <a:moveTo>
                  <a:pt x="258" y="0"/>
                </a:moveTo>
                <a:cubicBezTo>
                  <a:pt x="255" y="0"/>
                  <a:pt x="252" y="3"/>
                  <a:pt x="252" y="6"/>
                </a:cubicBezTo>
                <a:cubicBezTo>
                  <a:pt x="252" y="6"/>
                  <a:pt x="252" y="6"/>
                  <a:pt x="252" y="6"/>
                </a:cubicBezTo>
                <a:cubicBezTo>
                  <a:pt x="252" y="6"/>
                  <a:pt x="252" y="6"/>
                  <a:pt x="252" y="6"/>
                </a:cubicBezTo>
                <a:cubicBezTo>
                  <a:pt x="252" y="10"/>
                  <a:pt x="255" y="12"/>
                  <a:pt x="258" y="12"/>
                </a:cubicBezTo>
                <a:cubicBezTo>
                  <a:pt x="262" y="12"/>
                  <a:pt x="264" y="10"/>
                  <a:pt x="264" y="6"/>
                </a:cubicBezTo>
                <a:cubicBezTo>
                  <a:pt x="264" y="6"/>
                  <a:pt x="264" y="6"/>
                  <a:pt x="264" y="6"/>
                </a:cubicBezTo>
                <a:cubicBezTo>
                  <a:pt x="264" y="6"/>
                  <a:pt x="264" y="6"/>
                  <a:pt x="264" y="6"/>
                </a:cubicBezTo>
                <a:cubicBezTo>
                  <a:pt x="264" y="3"/>
                  <a:pt x="262" y="0"/>
                  <a:pt x="258" y="0"/>
                </a:cubicBezTo>
                <a:moveTo>
                  <a:pt x="294" y="0"/>
                </a:moveTo>
                <a:cubicBezTo>
                  <a:pt x="291" y="0"/>
                  <a:pt x="288" y="3"/>
                  <a:pt x="288" y="6"/>
                </a:cubicBezTo>
                <a:cubicBezTo>
                  <a:pt x="288" y="6"/>
                  <a:pt x="288" y="6"/>
                  <a:pt x="288" y="6"/>
                </a:cubicBezTo>
                <a:cubicBezTo>
                  <a:pt x="288" y="6"/>
                  <a:pt x="288" y="6"/>
                  <a:pt x="288" y="6"/>
                </a:cubicBezTo>
                <a:cubicBezTo>
                  <a:pt x="288" y="10"/>
                  <a:pt x="291" y="12"/>
                  <a:pt x="294" y="12"/>
                </a:cubicBezTo>
                <a:cubicBezTo>
                  <a:pt x="298" y="12"/>
                  <a:pt x="300" y="10"/>
                  <a:pt x="300" y="6"/>
                </a:cubicBezTo>
                <a:cubicBezTo>
                  <a:pt x="300" y="6"/>
                  <a:pt x="300" y="6"/>
                  <a:pt x="300" y="6"/>
                </a:cubicBezTo>
                <a:cubicBezTo>
                  <a:pt x="300" y="6"/>
                  <a:pt x="300" y="6"/>
                  <a:pt x="300" y="6"/>
                </a:cubicBezTo>
                <a:cubicBezTo>
                  <a:pt x="300" y="3"/>
                  <a:pt x="298" y="0"/>
                  <a:pt x="294" y="0"/>
                </a:cubicBezTo>
                <a:moveTo>
                  <a:pt x="330" y="0"/>
                </a:moveTo>
                <a:cubicBezTo>
                  <a:pt x="327" y="0"/>
                  <a:pt x="324" y="3"/>
                  <a:pt x="324" y="6"/>
                </a:cubicBezTo>
                <a:cubicBezTo>
                  <a:pt x="324" y="6"/>
                  <a:pt x="324" y="6"/>
                  <a:pt x="324" y="6"/>
                </a:cubicBezTo>
                <a:cubicBezTo>
                  <a:pt x="324" y="6"/>
                  <a:pt x="324" y="6"/>
                  <a:pt x="324" y="6"/>
                </a:cubicBezTo>
                <a:cubicBezTo>
                  <a:pt x="324" y="10"/>
                  <a:pt x="327" y="12"/>
                  <a:pt x="330" y="12"/>
                </a:cubicBezTo>
                <a:cubicBezTo>
                  <a:pt x="334" y="12"/>
                  <a:pt x="336" y="10"/>
                  <a:pt x="336" y="6"/>
                </a:cubicBezTo>
                <a:cubicBezTo>
                  <a:pt x="336" y="6"/>
                  <a:pt x="336" y="6"/>
                  <a:pt x="336" y="6"/>
                </a:cubicBezTo>
                <a:cubicBezTo>
                  <a:pt x="336" y="6"/>
                  <a:pt x="336" y="6"/>
                  <a:pt x="336" y="6"/>
                </a:cubicBezTo>
                <a:cubicBezTo>
                  <a:pt x="336" y="3"/>
                  <a:pt x="334" y="0"/>
                  <a:pt x="330" y="0"/>
                </a:cubicBezTo>
                <a:moveTo>
                  <a:pt x="366" y="0"/>
                </a:moveTo>
                <a:cubicBezTo>
                  <a:pt x="363" y="0"/>
                  <a:pt x="360" y="3"/>
                  <a:pt x="360" y="6"/>
                </a:cubicBezTo>
                <a:cubicBezTo>
                  <a:pt x="360" y="6"/>
                  <a:pt x="360" y="6"/>
                  <a:pt x="360" y="6"/>
                </a:cubicBezTo>
                <a:cubicBezTo>
                  <a:pt x="360" y="6"/>
                  <a:pt x="360" y="6"/>
                  <a:pt x="360" y="6"/>
                </a:cubicBezTo>
                <a:cubicBezTo>
                  <a:pt x="360" y="10"/>
                  <a:pt x="363" y="12"/>
                  <a:pt x="366" y="12"/>
                </a:cubicBezTo>
                <a:cubicBezTo>
                  <a:pt x="370" y="12"/>
                  <a:pt x="372" y="10"/>
                  <a:pt x="372" y="6"/>
                </a:cubicBezTo>
                <a:cubicBezTo>
                  <a:pt x="372" y="6"/>
                  <a:pt x="372" y="6"/>
                  <a:pt x="372" y="6"/>
                </a:cubicBezTo>
                <a:cubicBezTo>
                  <a:pt x="372" y="6"/>
                  <a:pt x="372" y="6"/>
                  <a:pt x="372" y="6"/>
                </a:cubicBezTo>
                <a:cubicBezTo>
                  <a:pt x="372" y="3"/>
                  <a:pt x="370" y="0"/>
                  <a:pt x="366" y="0"/>
                </a:cubicBezTo>
                <a:moveTo>
                  <a:pt x="402" y="0"/>
                </a:moveTo>
                <a:cubicBezTo>
                  <a:pt x="399" y="0"/>
                  <a:pt x="396" y="3"/>
                  <a:pt x="396" y="6"/>
                </a:cubicBezTo>
                <a:cubicBezTo>
                  <a:pt x="396" y="6"/>
                  <a:pt x="396" y="6"/>
                  <a:pt x="396" y="6"/>
                </a:cubicBezTo>
                <a:cubicBezTo>
                  <a:pt x="396" y="6"/>
                  <a:pt x="396" y="6"/>
                  <a:pt x="396" y="6"/>
                </a:cubicBezTo>
                <a:cubicBezTo>
                  <a:pt x="396" y="10"/>
                  <a:pt x="399" y="12"/>
                  <a:pt x="402" y="12"/>
                </a:cubicBezTo>
                <a:cubicBezTo>
                  <a:pt x="406" y="12"/>
                  <a:pt x="408" y="10"/>
                  <a:pt x="408" y="6"/>
                </a:cubicBezTo>
                <a:cubicBezTo>
                  <a:pt x="408" y="6"/>
                  <a:pt x="408" y="6"/>
                  <a:pt x="408" y="6"/>
                </a:cubicBezTo>
                <a:cubicBezTo>
                  <a:pt x="408" y="6"/>
                  <a:pt x="408" y="6"/>
                  <a:pt x="408" y="6"/>
                </a:cubicBezTo>
                <a:cubicBezTo>
                  <a:pt x="408" y="3"/>
                  <a:pt x="406" y="0"/>
                  <a:pt x="402" y="0"/>
                </a:cubicBezTo>
                <a:moveTo>
                  <a:pt x="438" y="0"/>
                </a:moveTo>
                <a:cubicBezTo>
                  <a:pt x="435" y="0"/>
                  <a:pt x="432" y="3"/>
                  <a:pt x="432" y="6"/>
                </a:cubicBezTo>
                <a:cubicBezTo>
                  <a:pt x="432" y="6"/>
                  <a:pt x="432" y="6"/>
                  <a:pt x="432" y="6"/>
                </a:cubicBezTo>
                <a:cubicBezTo>
                  <a:pt x="432" y="6"/>
                  <a:pt x="432" y="6"/>
                  <a:pt x="432" y="6"/>
                </a:cubicBezTo>
                <a:cubicBezTo>
                  <a:pt x="432" y="10"/>
                  <a:pt x="435" y="12"/>
                  <a:pt x="438" y="12"/>
                </a:cubicBezTo>
                <a:cubicBezTo>
                  <a:pt x="442" y="12"/>
                  <a:pt x="444" y="10"/>
                  <a:pt x="444" y="6"/>
                </a:cubicBezTo>
                <a:cubicBezTo>
                  <a:pt x="444" y="6"/>
                  <a:pt x="444" y="6"/>
                  <a:pt x="444" y="6"/>
                </a:cubicBezTo>
                <a:cubicBezTo>
                  <a:pt x="444" y="6"/>
                  <a:pt x="444" y="6"/>
                  <a:pt x="444" y="6"/>
                </a:cubicBezTo>
                <a:cubicBezTo>
                  <a:pt x="444" y="3"/>
                  <a:pt x="442" y="0"/>
                  <a:pt x="438" y="0"/>
                </a:cubicBezTo>
                <a:moveTo>
                  <a:pt x="474" y="0"/>
                </a:moveTo>
                <a:cubicBezTo>
                  <a:pt x="471" y="0"/>
                  <a:pt x="468" y="3"/>
                  <a:pt x="468" y="6"/>
                </a:cubicBezTo>
                <a:cubicBezTo>
                  <a:pt x="468" y="6"/>
                  <a:pt x="468" y="6"/>
                  <a:pt x="468" y="6"/>
                </a:cubicBezTo>
                <a:cubicBezTo>
                  <a:pt x="468" y="6"/>
                  <a:pt x="468" y="6"/>
                  <a:pt x="468" y="6"/>
                </a:cubicBezTo>
                <a:cubicBezTo>
                  <a:pt x="468" y="10"/>
                  <a:pt x="471" y="12"/>
                  <a:pt x="474" y="12"/>
                </a:cubicBezTo>
                <a:cubicBezTo>
                  <a:pt x="478" y="12"/>
                  <a:pt x="480" y="10"/>
                  <a:pt x="480" y="6"/>
                </a:cubicBezTo>
                <a:cubicBezTo>
                  <a:pt x="480" y="6"/>
                  <a:pt x="480" y="6"/>
                  <a:pt x="480" y="6"/>
                </a:cubicBezTo>
                <a:cubicBezTo>
                  <a:pt x="480" y="6"/>
                  <a:pt x="480" y="6"/>
                  <a:pt x="480" y="6"/>
                </a:cubicBezTo>
                <a:cubicBezTo>
                  <a:pt x="480" y="3"/>
                  <a:pt x="478" y="0"/>
                  <a:pt x="474" y="0"/>
                </a:cubicBezTo>
                <a:moveTo>
                  <a:pt x="510" y="0"/>
                </a:moveTo>
                <a:cubicBezTo>
                  <a:pt x="507" y="0"/>
                  <a:pt x="504" y="3"/>
                  <a:pt x="504" y="6"/>
                </a:cubicBezTo>
                <a:cubicBezTo>
                  <a:pt x="504" y="6"/>
                  <a:pt x="504" y="6"/>
                  <a:pt x="504" y="6"/>
                </a:cubicBezTo>
                <a:cubicBezTo>
                  <a:pt x="504" y="6"/>
                  <a:pt x="504" y="6"/>
                  <a:pt x="504" y="6"/>
                </a:cubicBezTo>
                <a:cubicBezTo>
                  <a:pt x="504" y="10"/>
                  <a:pt x="507" y="12"/>
                  <a:pt x="510" y="12"/>
                </a:cubicBezTo>
                <a:cubicBezTo>
                  <a:pt x="514" y="12"/>
                  <a:pt x="516" y="10"/>
                  <a:pt x="516" y="6"/>
                </a:cubicBezTo>
                <a:cubicBezTo>
                  <a:pt x="516" y="6"/>
                  <a:pt x="516" y="6"/>
                  <a:pt x="516" y="6"/>
                </a:cubicBezTo>
                <a:cubicBezTo>
                  <a:pt x="516" y="6"/>
                  <a:pt x="516" y="6"/>
                  <a:pt x="516" y="6"/>
                </a:cubicBezTo>
                <a:cubicBezTo>
                  <a:pt x="516" y="3"/>
                  <a:pt x="514" y="0"/>
                  <a:pt x="510" y="0"/>
                </a:cubicBezTo>
                <a:moveTo>
                  <a:pt x="546" y="0"/>
                </a:moveTo>
                <a:cubicBezTo>
                  <a:pt x="543" y="0"/>
                  <a:pt x="540" y="3"/>
                  <a:pt x="540" y="6"/>
                </a:cubicBezTo>
                <a:cubicBezTo>
                  <a:pt x="540" y="6"/>
                  <a:pt x="540" y="6"/>
                  <a:pt x="540" y="6"/>
                </a:cubicBezTo>
                <a:cubicBezTo>
                  <a:pt x="540" y="6"/>
                  <a:pt x="540" y="6"/>
                  <a:pt x="540" y="6"/>
                </a:cubicBezTo>
                <a:cubicBezTo>
                  <a:pt x="540" y="10"/>
                  <a:pt x="543" y="12"/>
                  <a:pt x="546" y="12"/>
                </a:cubicBezTo>
                <a:cubicBezTo>
                  <a:pt x="550" y="12"/>
                  <a:pt x="552" y="10"/>
                  <a:pt x="552" y="6"/>
                </a:cubicBezTo>
                <a:cubicBezTo>
                  <a:pt x="552" y="6"/>
                  <a:pt x="552" y="6"/>
                  <a:pt x="552" y="6"/>
                </a:cubicBezTo>
                <a:cubicBezTo>
                  <a:pt x="552" y="6"/>
                  <a:pt x="552" y="6"/>
                  <a:pt x="552" y="6"/>
                </a:cubicBezTo>
                <a:cubicBezTo>
                  <a:pt x="552" y="3"/>
                  <a:pt x="550" y="0"/>
                  <a:pt x="546" y="0"/>
                </a:cubicBezTo>
                <a:moveTo>
                  <a:pt x="582" y="0"/>
                </a:moveTo>
                <a:cubicBezTo>
                  <a:pt x="579" y="0"/>
                  <a:pt x="576" y="3"/>
                  <a:pt x="576" y="6"/>
                </a:cubicBezTo>
                <a:cubicBezTo>
                  <a:pt x="576" y="6"/>
                  <a:pt x="576" y="6"/>
                  <a:pt x="576" y="6"/>
                </a:cubicBezTo>
                <a:cubicBezTo>
                  <a:pt x="576" y="6"/>
                  <a:pt x="576" y="6"/>
                  <a:pt x="576" y="6"/>
                </a:cubicBezTo>
                <a:cubicBezTo>
                  <a:pt x="576" y="10"/>
                  <a:pt x="579" y="12"/>
                  <a:pt x="582" y="12"/>
                </a:cubicBezTo>
                <a:cubicBezTo>
                  <a:pt x="586" y="12"/>
                  <a:pt x="588" y="10"/>
                  <a:pt x="588" y="6"/>
                </a:cubicBezTo>
                <a:cubicBezTo>
                  <a:pt x="588" y="6"/>
                  <a:pt x="588" y="6"/>
                  <a:pt x="588" y="6"/>
                </a:cubicBezTo>
                <a:cubicBezTo>
                  <a:pt x="588" y="6"/>
                  <a:pt x="588" y="6"/>
                  <a:pt x="588" y="6"/>
                </a:cubicBezTo>
                <a:cubicBezTo>
                  <a:pt x="588" y="3"/>
                  <a:pt x="586" y="0"/>
                  <a:pt x="582" y="0"/>
                </a:cubicBezTo>
                <a:moveTo>
                  <a:pt x="618" y="0"/>
                </a:moveTo>
                <a:cubicBezTo>
                  <a:pt x="615" y="0"/>
                  <a:pt x="612" y="3"/>
                  <a:pt x="612" y="6"/>
                </a:cubicBezTo>
                <a:cubicBezTo>
                  <a:pt x="612" y="6"/>
                  <a:pt x="612" y="6"/>
                  <a:pt x="612" y="6"/>
                </a:cubicBezTo>
                <a:cubicBezTo>
                  <a:pt x="612" y="6"/>
                  <a:pt x="612" y="6"/>
                  <a:pt x="612" y="6"/>
                </a:cubicBezTo>
                <a:cubicBezTo>
                  <a:pt x="612" y="10"/>
                  <a:pt x="615" y="12"/>
                  <a:pt x="618" y="12"/>
                </a:cubicBezTo>
                <a:cubicBezTo>
                  <a:pt x="622" y="12"/>
                  <a:pt x="624" y="10"/>
                  <a:pt x="624" y="6"/>
                </a:cubicBezTo>
                <a:cubicBezTo>
                  <a:pt x="624" y="6"/>
                  <a:pt x="624" y="6"/>
                  <a:pt x="624" y="6"/>
                </a:cubicBezTo>
                <a:cubicBezTo>
                  <a:pt x="624" y="6"/>
                  <a:pt x="624" y="6"/>
                  <a:pt x="624" y="6"/>
                </a:cubicBezTo>
                <a:cubicBezTo>
                  <a:pt x="624" y="3"/>
                  <a:pt x="622" y="0"/>
                  <a:pt x="618" y="0"/>
                </a:cubicBezTo>
                <a:moveTo>
                  <a:pt x="654" y="0"/>
                </a:moveTo>
                <a:cubicBezTo>
                  <a:pt x="651" y="0"/>
                  <a:pt x="648" y="3"/>
                  <a:pt x="648" y="6"/>
                </a:cubicBezTo>
                <a:cubicBezTo>
                  <a:pt x="648" y="6"/>
                  <a:pt x="648" y="6"/>
                  <a:pt x="648" y="6"/>
                </a:cubicBezTo>
                <a:cubicBezTo>
                  <a:pt x="648" y="6"/>
                  <a:pt x="648" y="6"/>
                  <a:pt x="648" y="6"/>
                </a:cubicBezTo>
                <a:cubicBezTo>
                  <a:pt x="648" y="10"/>
                  <a:pt x="651" y="12"/>
                  <a:pt x="654" y="12"/>
                </a:cubicBezTo>
                <a:cubicBezTo>
                  <a:pt x="658" y="12"/>
                  <a:pt x="660" y="10"/>
                  <a:pt x="660" y="6"/>
                </a:cubicBezTo>
                <a:cubicBezTo>
                  <a:pt x="660" y="6"/>
                  <a:pt x="660" y="6"/>
                  <a:pt x="660" y="6"/>
                </a:cubicBezTo>
                <a:cubicBezTo>
                  <a:pt x="660" y="6"/>
                  <a:pt x="660" y="6"/>
                  <a:pt x="660" y="6"/>
                </a:cubicBezTo>
                <a:cubicBezTo>
                  <a:pt x="660" y="3"/>
                  <a:pt x="658" y="0"/>
                  <a:pt x="654" y="0"/>
                </a:cubicBezTo>
                <a:moveTo>
                  <a:pt x="690" y="0"/>
                </a:moveTo>
                <a:cubicBezTo>
                  <a:pt x="687" y="0"/>
                  <a:pt x="684" y="3"/>
                  <a:pt x="684" y="6"/>
                </a:cubicBezTo>
                <a:cubicBezTo>
                  <a:pt x="684" y="6"/>
                  <a:pt x="684" y="6"/>
                  <a:pt x="684" y="6"/>
                </a:cubicBezTo>
                <a:cubicBezTo>
                  <a:pt x="684" y="6"/>
                  <a:pt x="684" y="6"/>
                  <a:pt x="684" y="6"/>
                </a:cubicBezTo>
                <a:cubicBezTo>
                  <a:pt x="684" y="10"/>
                  <a:pt x="687" y="12"/>
                  <a:pt x="690" y="12"/>
                </a:cubicBezTo>
                <a:cubicBezTo>
                  <a:pt x="694" y="12"/>
                  <a:pt x="696" y="10"/>
                  <a:pt x="696" y="6"/>
                </a:cubicBezTo>
                <a:cubicBezTo>
                  <a:pt x="696" y="6"/>
                  <a:pt x="696" y="6"/>
                  <a:pt x="696" y="6"/>
                </a:cubicBezTo>
                <a:cubicBezTo>
                  <a:pt x="696" y="6"/>
                  <a:pt x="696" y="6"/>
                  <a:pt x="696" y="6"/>
                </a:cubicBezTo>
                <a:cubicBezTo>
                  <a:pt x="696" y="3"/>
                  <a:pt x="694" y="0"/>
                  <a:pt x="690" y="0"/>
                </a:cubicBezTo>
              </a:path>
            </a:pathLst>
          </a:cu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grpSp>
        <p:nvGrpSpPr>
          <p:cNvPr id="62" name="Group 84">
            <a:extLst>
              <a:ext uri="{FF2B5EF4-FFF2-40B4-BE49-F238E27FC236}">
                <a16:creationId xmlns:a16="http://schemas.microsoft.com/office/drawing/2014/main" id="{0C2F2AE4-57DC-477F-9DF5-680FB6CB6F1C}"/>
              </a:ext>
            </a:extLst>
          </p:cNvPr>
          <p:cNvGrpSpPr/>
          <p:nvPr/>
        </p:nvGrpSpPr>
        <p:grpSpPr>
          <a:xfrm>
            <a:off x="1163177" y="1226614"/>
            <a:ext cx="893370" cy="548490"/>
            <a:chOff x="6411913" y="1622425"/>
            <a:chExt cx="1023937" cy="628651"/>
          </a:xfrm>
          <a:gradFill>
            <a:gsLst>
              <a:gs pos="73000">
                <a:schemeClr val="accent1"/>
              </a:gs>
              <a:gs pos="31000">
                <a:schemeClr val="accent1">
                  <a:lumMod val="60000"/>
                  <a:lumOff val="40000"/>
                </a:schemeClr>
              </a:gs>
              <a:gs pos="0">
                <a:schemeClr val="accent1">
                  <a:lumMod val="40000"/>
                  <a:lumOff val="60000"/>
                </a:schemeClr>
              </a:gs>
            </a:gsLst>
            <a:path path="circle">
              <a:fillToRect r="100000" b="100000"/>
            </a:path>
          </a:gradFill>
        </p:grpSpPr>
        <p:sp>
          <p:nvSpPr>
            <p:cNvPr id="63" name="Freeform 21">
              <a:extLst>
                <a:ext uri="{FF2B5EF4-FFF2-40B4-BE49-F238E27FC236}">
                  <a16:creationId xmlns:a16="http://schemas.microsoft.com/office/drawing/2014/main" id="{7BF7696F-3ABC-4997-92DC-EF8076BA8FD3}"/>
                </a:ext>
              </a:extLst>
            </p:cNvPr>
            <p:cNvSpPr>
              <a:spLocks/>
            </p:cNvSpPr>
            <p:nvPr/>
          </p:nvSpPr>
          <p:spPr bwMode="auto">
            <a:xfrm>
              <a:off x="6648450" y="2005013"/>
              <a:ext cx="550862" cy="246063"/>
            </a:xfrm>
            <a:custGeom>
              <a:avLst/>
              <a:gdLst>
                <a:gd name="T0" fmla="*/ 622 w 1100"/>
                <a:gd name="T1" fmla="*/ 159 h 493"/>
                <a:gd name="T2" fmla="*/ 550 w 1100"/>
                <a:gd name="T3" fmla="*/ 171 h 493"/>
                <a:gd name="T4" fmla="*/ 478 w 1100"/>
                <a:gd name="T5" fmla="*/ 159 h 493"/>
                <a:gd name="T6" fmla="*/ 0 w 1100"/>
                <a:gd name="T7" fmla="*/ 0 h 493"/>
                <a:gd name="T8" fmla="*/ 0 w 1100"/>
                <a:gd name="T9" fmla="*/ 259 h 493"/>
                <a:gd name="T10" fmla="*/ 52 w 1100"/>
                <a:gd name="T11" fmla="*/ 331 h 493"/>
                <a:gd name="T12" fmla="*/ 526 w 1100"/>
                <a:gd name="T13" fmla="*/ 489 h 493"/>
                <a:gd name="T14" fmla="*/ 550 w 1100"/>
                <a:gd name="T15" fmla="*/ 493 h 493"/>
                <a:gd name="T16" fmla="*/ 574 w 1100"/>
                <a:gd name="T17" fmla="*/ 489 h 493"/>
                <a:gd name="T18" fmla="*/ 1048 w 1100"/>
                <a:gd name="T19" fmla="*/ 331 h 493"/>
                <a:gd name="T20" fmla="*/ 1100 w 1100"/>
                <a:gd name="T21" fmla="*/ 259 h 493"/>
                <a:gd name="T22" fmla="*/ 1100 w 1100"/>
                <a:gd name="T23" fmla="*/ 0 h 493"/>
                <a:gd name="T24" fmla="*/ 622 w 1100"/>
                <a:gd name="T25" fmla="*/ 159 h 4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00" h="493">
                  <a:moveTo>
                    <a:pt x="622" y="159"/>
                  </a:moveTo>
                  <a:cubicBezTo>
                    <a:pt x="599" y="167"/>
                    <a:pt x="575" y="171"/>
                    <a:pt x="550" y="171"/>
                  </a:cubicBezTo>
                  <a:cubicBezTo>
                    <a:pt x="525" y="171"/>
                    <a:pt x="501" y="167"/>
                    <a:pt x="478" y="159"/>
                  </a:cubicBezTo>
                  <a:cubicBezTo>
                    <a:pt x="0" y="0"/>
                    <a:pt x="0" y="0"/>
                    <a:pt x="0" y="0"/>
                  </a:cubicBezTo>
                  <a:cubicBezTo>
                    <a:pt x="0" y="259"/>
                    <a:pt x="0" y="259"/>
                    <a:pt x="0" y="259"/>
                  </a:cubicBezTo>
                  <a:cubicBezTo>
                    <a:pt x="0" y="292"/>
                    <a:pt x="21" y="321"/>
                    <a:pt x="52" y="331"/>
                  </a:cubicBezTo>
                  <a:cubicBezTo>
                    <a:pt x="526" y="489"/>
                    <a:pt x="526" y="489"/>
                    <a:pt x="526" y="489"/>
                  </a:cubicBezTo>
                  <a:cubicBezTo>
                    <a:pt x="534" y="492"/>
                    <a:pt x="542" y="493"/>
                    <a:pt x="550" y="493"/>
                  </a:cubicBezTo>
                  <a:cubicBezTo>
                    <a:pt x="558" y="493"/>
                    <a:pt x="566" y="492"/>
                    <a:pt x="574" y="489"/>
                  </a:cubicBezTo>
                  <a:cubicBezTo>
                    <a:pt x="1048" y="331"/>
                    <a:pt x="1048" y="331"/>
                    <a:pt x="1048" y="331"/>
                  </a:cubicBezTo>
                  <a:cubicBezTo>
                    <a:pt x="1079" y="321"/>
                    <a:pt x="1100" y="292"/>
                    <a:pt x="1100" y="259"/>
                  </a:cubicBezTo>
                  <a:cubicBezTo>
                    <a:pt x="1100" y="0"/>
                    <a:pt x="1100" y="0"/>
                    <a:pt x="1100" y="0"/>
                  </a:cubicBezTo>
                  <a:lnTo>
                    <a:pt x="622" y="1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sp>
          <p:nvSpPr>
            <p:cNvPr id="64" name="Freeform 22">
              <a:extLst>
                <a:ext uri="{FF2B5EF4-FFF2-40B4-BE49-F238E27FC236}">
                  <a16:creationId xmlns:a16="http://schemas.microsoft.com/office/drawing/2014/main" id="{C58577A9-7D60-4B35-9387-8138899C435C}"/>
                </a:ext>
              </a:extLst>
            </p:cNvPr>
            <p:cNvSpPr>
              <a:spLocks/>
            </p:cNvSpPr>
            <p:nvPr/>
          </p:nvSpPr>
          <p:spPr bwMode="auto">
            <a:xfrm>
              <a:off x="6411913" y="1622425"/>
              <a:ext cx="1023937" cy="457200"/>
            </a:xfrm>
            <a:custGeom>
              <a:avLst/>
              <a:gdLst>
                <a:gd name="T0" fmla="*/ 1996 w 2048"/>
                <a:gd name="T1" fmla="*/ 320 h 915"/>
                <a:gd name="T2" fmla="*/ 1048 w 2048"/>
                <a:gd name="T3" fmla="*/ 4 h 915"/>
                <a:gd name="T4" fmla="*/ 1024 w 2048"/>
                <a:gd name="T5" fmla="*/ 0 h 915"/>
                <a:gd name="T6" fmla="*/ 1000 w 2048"/>
                <a:gd name="T7" fmla="*/ 4 h 915"/>
                <a:gd name="T8" fmla="*/ 52 w 2048"/>
                <a:gd name="T9" fmla="*/ 320 h 915"/>
                <a:gd name="T10" fmla="*/ 0 w 2048"/>
                <a:gd name="T11" fmla="*/ 392 h 915"/>
                <a:gd name="T12" fmla="*/ 52 w 2048"/>
                <a:gd name="T13" fmla="*/ 464 h 915"/>
                <a:gd name="T14" fmla="*/ 474 w 2048"/>
                <a:gd name="T15" fmla="*/ 605 h 915"/>
                <a:gd name="T16" fmla="*/ 1000 w 2048"/>
                <a:gd name="T17" fmla="*/ 780 h 915"/>
                <a:gd name="T18" fmla="*/ 1024 w 2048"/>
                <a:gd name="T19" fmla="*/ 784 h 915"/>
                <a:gd name="T20" fmla="*/ 1048 w 2048"/>
                <a:gd name="T21" fmla="*/ 780 h 915"/>
                <a:gd name="T22" fmla="*/ 1574 w 2048"/>
                <a:gd name="T23" fmla="*/ 605 h 915"/>
                <a:gd name="T24" fmla="*/ 1896 w 2048"/>
                <a:gd name="T25" fmla="*/ 497 h 915"/>
                <a:gd name="T26" fmla="*/ 1896 w 2048"/>
                <a:gd name="T27" fmla="*/ 840 h 915"/>
                <a:gd name="T28" fmla="*/ 1972 w 2048"/>
                <a:gd name="T29" fmla="*/ 915 h 915"/>
                <a:gd name="T30" fmla="*/ 2048 w 2048"/>
                <a:gd name="T31" fmla="*/ 840 h 915"/>
                <a:gd name="T32" fmla="*/ 2048 w 2048"/>
                <a:gd name="T33" fmla="*/ 392 h 915"/>
                <a:gd name="T34" fmla="*/ 1996 w 2048"/>
                <a:gd name="T35" fmla="*/ 320 h 9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48" h="915">
                  <a:moveTo>
                    <a:pt x="1996" y="320"/>
                  </a:moveTo>
                  <a:cubicBezTo>
                    <a:pt x="1048" y="4"/>
                    <a:pt x="1048" y="4"/>
                    <a:pt x="1048" y="4"/>
                  </a:cubicBezTo>
                  <a:cubicBezTo>
                    <a:pt x="1040" y="1"/>
                    <a:pt x="1032" y="0"/>
                    <a:pt x="1024" y="0"/>
                  </a:cubicBezTo>
                  <a:cubicBezTo>
                    <a:pt x="1016" y="0"/>
                    <a:pt x="1008" y="1"/>
                    <a:pt x="1000" y="4"/>
                  </a:cubicBezTo>
                  <a:cubicBezTo>
                    <a:pt x="52" y="320"/>
                    <a:pt x="52" y="320"/>
                    <a:pt x="52" y="320"/>
                  </a:cubicBezTo>
                  <a:cubicBezTo>
                    <a:pt x="21" y="330"/>
                    <a:pt x="0" y="359"/>
                    <a:pt x="0" y="392"/>
                  </a:cubicBezTo>
                  <a:cubicBezTo>
                    <a:pt x="0" y="425"/>
                    <a:pt x="21" y="454"/>
                    <a:pt x="52" y="464"/>
                  </a:cubicBezTo>
                  <a:cubicBezTo>
                    <a:pt x="474" y="605"/>
                    <a:pt x="474" y="605"/>
                    <a:pt x="474" y="605"/>
                  </a:cubicBezTo>
                  <a:cubicBezTo>
                    <a:pt x="1000" y="780"/>
                    <a:pt x="1000" y="780"/>
                    <a:pt x="1000" y="780"/>
                  </a:cubicBezTo>
                  <a:cubicBezTo>
                    <a:pt x="1008" y="783"/>
                    <a:pt x="1016" y="784"/>
                    <a:pt x="1024" y="784"/>
                  </a:cubicBezTo>
                  <a:cubicBezTo>
                    <a:pt x="1032" y="784"/>
                    <a:pt x="1040" y="783"/>
                    <a:pt x="1048" y="780"/>
                  </a:cubicBezTo>
                  <a:cubicBezTo>
                    <a:pt x="1574" y="605"/>
                    <a:pt x="1574" y="605"/>
                    <a:pt x="1574" y="605"/>
                  </a:cubicBezTo>
                  <a:cubicBezTo>
                    <a:pt x="1896" y="497"/>
                    <a:pt x="1896" y="497"/>
                    <a:pt x="1896" y="497"/>
                  </a:cubicBezTo>
                  <a:cubicBezTo>
                    <a:pt x="1896" y="840"/>
                    <a:pt x="1896" y="840"/>
                    <a:pt x="1896" y="840"/>
                  </a:cubicBezTo>
                  <a:cubicBezTo>
                    <a:pt x="1896" y="881"/>
                    <a:pt x="1930" y="915"/>
                    <a:pt x="1972" y="915"/>
                  </a:cubicBezTo>
                  <a:cubicBezTo>
                    <a:pt x="2014" y="915"/>
                    <a:pt x="2048" y="881"/>
                    <a:pt x="2048" y="840"/>
                  </a:cubicBezTo>
                  <a:cubicBezTo>
                    <a:pt x="2048" y="392"/>
                    <a:pt x="2048" y="392"/>
                    <a:pt x="2048" y="392"/>
                  </a:cubicBezTo>
                  <a:cubicBezTo>
                    <a:pt x="2048" y="359"/>
                    <a:pt x="2027" y="330"/>
                    <a:pt x="1996" y="3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grpSp>
      <p:grpSp>
        <p:nvGrpSpPr>
          <p:cNvPr id="93" name="组合 92">
            <a:extLst>
              <a:ext uri="{FF2B5EF4-FFF2-40B4-BE49-F238E27FC236}">
                <a16:creationId xmlns:a16="http://schemas.microsoft.com/office/drawing/2014/main" id="{BF0C778A-47FE-4726-9A13-39B176394E5C}"/>
              </a:ext>
            </a:extLst>
          </p:cNvPr>
          <p:cNvGrpSpPr/>
          <p:nvPr/>
        </p:nvGrpSpPr>
        <p:grpSpPr>
          <a:xfrm>
            <a:off x="2777088" y="1060058"/>
            <a:ext cx="2859171" cy="881603"/>
            <a:chOff x="2802488" y="1224486"/>
            <a:chExt cx="2859171" cy="881603"/>
          </a:xfrm>
        </p:grpSpPr>
        <p:sp>
          <p:nvSpPr>
            <p:cNvPr id="78" name="TextBox 65">
              <a:extLst>
                <a:ext uri="{FF2B5EF4-FFF2-40B4-BE49-F238E27FC236}">
                  <a16:creationId xmlns:a16="http://schemas.microsoft.com/office/drawing/2014/main" id="{7D610230-200B-4517-B172-D5FDADB1188B}"/>
                </a:ext>
              </a:extLst>
            </p:cNvPr>
            <p:cNvSpPr txBox="1"/>
            <p:nvPr/>
          </p:nvSpPr>
          <p:spPr>
            <a:xfrm flipH="1">
              <a:off x="2802489" y="1224486"/>
              <a:ext cx="2056261" cy="387598"/>
            </a:xfrm>
            <a:prstGeom prst="rect">
              <a:avLst/>
            </a:prstGeom>
            <a:noFill/>
          </p:spPr>
          <p:txBody>
            <a:bodyPr wrap="square" lIns="0" tIns="36000" rIns="0" bIns="36000" rtlCol="0">
              <a:spAutoFit/>
            </a:bodyPr>
            <a:lstStyle/>
            <a:p>
              <a:pPr marL="0" marR="0" lvl="0" indent="0" algn="l" defTabSz="914400" rtl="0" eaLnBrk="1" fontAlgn="auto" latinLnBrk="0" hangingPunct="1">
                <a:lnSpc>
                  <a:spcPct val="120000"/>
                </a:lnSpc>
                <a:spcBef>
                  <a:spcPts val="600"/>
                </a:spcBef>
                <a:spcAft>
                  <a:spcPts val="0"/>
                </a:spcAft>
                <a:buClrTx/>
                <a:buSzTx/>
                <a:buFontTx/>
                <a:buNone/>
                <a:tabLst/>
                <a:defRPr/>
              </a:pPr>
              <a:r>
                <a:rPr kumimoji="0" lang="zh-CN" altLang="en-US" sz="1800" b="0" i="0" u="none" strike="noStrike" kern="1200" cap="none" spc="0" normalizeH="0" baseline="0" noProof="0" dirty="0">
                  <a:ln>
                    <a:noFill/>
                  </a:ln>
                  <a:solidFill>
                    <a:schemeClr val="accent1"/>
                  </a:solidFill>
                  <a:effectLst/>
                  <a:uLnTx/>
                  <a:uFillTx/>
                  <a:latin typeface="HarmonyOS Sans SC Black"/>
                  <a:ea typeface="+mj-ea"/>
                  <a:cs typeface="+mn-cs"/>
                </a:rPr>
                <a:t>关键词标题</a:t>
              </a:r>
              <a:endParaRPr kumimoji="0" lang="en-US" sz="1800" b="0" i="0" u="none" strike="noStrike" kern="1200" cap="none" spc="0" normalizeH="0" baseline="0" noProof="0" dirty="0">
                <a:ln>
                  <a:noFill/>
                </a:ln>
                <a:solidFill>
                  <a:schemeClr val="accent1"/>
                </a:solidFill>
                <a:effectLst/>
                <a:uLnTx/>
                <a:uFillTx/>
                <a:latin typeface="HarmonyOS Sans SC Black"/>
                <a:ea typeface="+mj-ea"/>
                <a:cs typeface="+mn-cs"/>
              </a:endParaRPr>
            </a:p>
          </p:txBody>
        </p:sp>
        <p:sp>
          <p:nvSpPr>
            <p:cNvPr id="79" name="TextBox 65">
              <a:extLst>
                <a:ext uri="{FF2B5EF4-FFF2-40B4-BE49-F238E27FC236}">
                  <a16:creationId xmlns:a16="http://schemas.microsoft.com/office/drawing/2014/main" id="{1259508D-CACF-47E5-B45B-410C0F0EFAC5}"/>
                </a:ext>
              </a:extLst>
            </p:cNvPr>
            <p:cNvSpPr txBox="1"/>
            <p:nvPr/>
          </p:nvSpPr>
          <p:spPr>
            <a:xfrm flipH="1">
              <a:off x="2802488" y="1607885"/>
              <a:ext cx="2859171" cy="498204"/>
            </a:xfrm>
            <a:prstGeom prst="rect">
              <a:avLst/>
            </a:prstGeom>
            <a:noFill/>
          </p:spPr>
          <p:txBody>
            <a:bodyPr wrap="square" lIns="0" tIns="36000" rIns="0" bIns="36000" rtlCol="0">
              <a:spAutoFit/>
            </a:bodyPr>
            <a:lstStyle/>
            <a:p>
              <a:pPr marL="0" marR="0" lvl="0" indent="0" algn="l" defTabSz="914400" rtl="0" eaLnBrk="1" fontAlgn="auto" latinLnBrk="0" hangingPunct="1">
                <a:lnSpc>
                  <a:spcPct val="120000"/>
                </a:lnSpc>
                <a:spcBef>
                  <a:spcPts val="600"/>
                </a:spcBef>
                <a:spcAft>
                  <a:spcPts val="0"/>
                </a:spcAft>
                <a:buClrTx/>
                <a:buSzTx/>
                <a:buFontTx/>
                <a:buNone/>
                <a:tabLst/>
                <a:defRPr/>
              </a:pPr>
              <a:r>
                <a:rPr kumimoji="0" lang="en-US" sz="1200" b="0" i="0" u="none" strike="noStrike" kern="1200" cap="none" spc="0" normalizeH="0" baseline="0" noProof="0" dirty="0">
                  <a:ln>
                    <a:noFill/>
                  </a:ln>
                  <a:solidFill>
                    <a:prstClr val="black">
                      <a:lumMod val="50000"/>
                      <a:lumOff val="50000"/>
                    </a:prstClr>
                  </a:solidFill>
                  <a:effectLst/>
                  <a:uLnTx/>
                  <a:uFillTx/>
                  <a:latin typeface="HarmonyOS Sans SC"/>
                  <a:cs typeface="+mn-cs"/>
                </a:rPr>
                <a:t>Apparently we had reached a great height in the.</a:t>
              </a:r>
            </a:p>
          </p:txBody>
        </p:sp>
      </p:grpSp>
      <p:sp>
        <p:nvSpPr>
          <p:cNvPr id="31" name="Freeform 48">
            <a:extLst>
              <a:ext uri="{FF2B5EF4-FFF2-40B4-BE49-F238E27FC236}">
                <a16:creationId xmlns:a16="http://schemas.microsoft.com/office/drawing/2014/main" id="{1A8884CE-232F-4184-ADDF-262992F9E5CB}"/>
              </a:ext>
            </a:extLst>
          </p:cNvPr>
          <p:cNvSpPr>
            <a:spLocks noEditPoints="1"/>
          </p:cNvSpPr>
          <p:nvPr/>
        </p:nvSpPr>
        <p:spPr bwMode="auto">
          <a:xfrm>
            <a:off x="6133189" y="2452358"/>
            <a:ext cx="1982787" cy="0"/>
          </a:xfrm>
          <a:custGeom>
            <a:avLst/>
            <a:gdLst>
              <a:gd name="T0" fmla="*/ 0 w 1249"/>
              <a:gd name="T1" fmla="*/ 61 w 1249"/>
              <a:gd name="T2" fmla="*/ 153 w 1249"/>
              <a:gd name="T3" fmla="*/ 92 w 1249"/>
              <a:gd name="T4" fmla="*/ 153 w 1249"/>
              <a:gd name="T5" fmla="*/ 184 w 1249"/>
              <a:gd name="T6" fmla="*/ 245 w 1249"/>
              <a:gd name="T7" fmla="*/ 337 w 1249"/>
              <a:gd name="T8" fmla="*/ 275 w 1249"/>
              <a:gd name="T9" fmla="*/ 337 w 1249"/>
              <a:gd name="T10" fmla="*/ 367 w 1249"/>
              <a:gd name="T11" fmla="*/ 428 w 1249"/>
              <a:gd name="T12" fmla="*/ 520 w 1249"/>
              <a:gd name="T13" fmla="*/ 459 w 1249"/>
              <a:gd name="T14" fmla="*/ 520 w 1249"/>
              <a:gd name="T15" fmla="*/ 551 w 1249"/>
              <a:gd name="T16" fmla="*/ 612 w 1249"/>
              <a:gd name="T17" fmla="*/ 704 w 1249"/>
              <a:gd name="T18" fmla="*/ 643 w 1249"/>
              <a:gd name="T19" fmla="*/ 704 w 1249"/>
              <a:gd name="T20" fmla="*/ 734 w 1249"/>
              <a:gd name="T21" fmla="*/ 796 w 1249"/>
              <a:gd name="T22" fmla="*/ 887 w 1249"/>
              <a:gd name="T23" fmla="*/ 826 w 1249"/>
              <a:gd name="T24" fmla="*/ 887 w 1249"/>
              <a:gd name="T25" fmla="*/ 918 w 1249"/>
              <a:gd name="T26" fmla="*/ 979 w 1249"/>
              <a:gd name="T27" fmla="*/ 1071 w 1249"/>
              <a:gd name="T28" fmla="*/ 1010 w 1249"/>
              <a:gd name="T29" fmla="*/ 1071 w 1249"/>
              <a:gd name="T30" fmla="*/ 1102 w 1249"/>
              <a:gd name="T31" fmla="*/ 1163 w 1249"/>
              <a:gd name="T32" fmla="*/ 1249 w 1249"/>
              <a:gd name="T33" fmla="*/ 1193 w 1249"/>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 ang="0">
                <a:pos x="T11" y="0"/>
              </a:cxn>
              <a:cxn ang="0">
                <a:pos x="T12" y="0"/>
              </a:cxn>
              <a:cxn ang="0">
                <a:pos x="T13" y="0"/>
              </a:cxn>
              <a:cxn ang="0">
                <a:pos x="T14" y="0"/>
              </a:cxn>
              <a:cxn ang="0">
                <a:pos x="T15" y="0"/>
              </a:cxn>
              <a:cxn ang="0">
                <a:pos x="T16" y="0"/>
              </a:cxn>
              <a:cxn ang="0">
                <a:pos x="T17" y="0"/>
              </a:cxn>
              <a:cxn ang="0">
                <a:pos x="T18" y="0"/>
              </a:cxn>
              <a:cxn ang="0">
                <a:pos x="T19" y="0"/>
              </a:cxn>
              <a:cxn ang="0">
                <a:pos x="T20" y="0"/>
              </a:cxn>
              <a:cxn ang="0">
                <a:pos x="T21" y="0"/>
              </a:cxn>
              <a:cxn ang="0">
                <a:pos x="T22" y="0"/>
              </a:cxn>
              <a:cxn ang="0">
                <a:pos x="T23" y="0"/>
              </a:cxn>
              <a:cxn ang="0">
                <a:pos x="T24" y="0"/>
              </a:cxn>
              <a:cxn ang="0">
                <a:pos x="T25" y="0"/>
              </a:cxn>
              <a:cxn ang="0">
                <a:pos x="T26" y="0"/>
              </a:cxn>
              <a:cxn ang="0">
                <a:pos x="T27" y="0"/>
              </a:cxn>
              <a:cxn ang="0">
                <a:pos x="T28" y="0"/>
              </a:cxn>
              <a:cxn ang="0">
                <a:pos x="T29" y="0"/>
              </a:cxn>
              <a:cxn ang="0">
                <a:pos x="T30" y="0"/>
              </a:cxn>
              <a:cxn ang="0">
                <a:pos x="T31" y="0"/>
              </a:cxn>
              <a:cxn ang="0">
                <a:pos x="T32" y="0"/>
              </a:cxn>
              <a:cxn ang="0">
                <a:pos x="T33" y="0"/>
              </a:cxn>
            </a:cxnLst>
            <a:rect l="0" t="0" r="r" b="b"/>
            <a:pathLst>
              <a:path w="1249">
                <a:moveTo>
                  <a:pt x="61" y="0"/>
                </a:moveTo>
                <a:lnTo>
                  <a:pt x="0" y="0"/>
                </a:lnTo>
                <a:lnTo>
                  <a:pt x="0" y="0"/>
                </a:lnTo>
                <a:lnTo>
                  <a:pt x="61" y="0"/>
                </a:lnTo>
                <a:lnTo>
                  <a:pt x="61" y="0"/>
                </a:lnTo>
                <a:close/>
                <a:moveTo>
                  <a:pt x="153" y="0"/>
                </a:moveTo>
                <a:lnTo>
                  <a:pt x="92" y="0"/>
                </a:lnTo>
                <a:lnTo>
                  <a:pt x="92" y="0"/>
                </a:lnTo>
                <a:lnTo>
                  <a:pt x="153" y="0"/>
                </a:lnTo>
                <a:lnTo>
                  <a:pt x="153" y="0"/>
                </a:lnTo>
                <a:close/>
                <a:moveTo>
                  <a:pt x="245" y="0"/>
                </a:moveTo>
                <a:lnTo>
                  <a:pt x="184" y="0"/>
                </a:lnTo>
                <a:lnTo>
                  <a:pt x="184" y="0"/>
                </a:lnTo>
                <a:lnTo>
                  <a:pt x="245" y="0"/>
                </a:lnTo>
                <a:lnTo>
                  <a:pt x="245" y="0"/>
                </a:lnTo>
                <a:close/>
                <a:moveTo>
                  <a:pt x="337" y="0"/>
                </a:moveTo>
                <a:lnTo>
                  <a:pt x="275" y="0"/>
                </a:lnTo>
                <a:lnTo>
                  <a:pt x="275" y="0"/>
                </a:lnTo>
                <a:lnTo>
                  <a:pt x="337" y="0"/>
                </a:lnTo>
                <a:lnTo>
                  <a:pt x="337" y="0"/>
                </a:lnTo>
                <a:close/>
                <a:moveTo>
                  <a:pt x="428" y="0"/>
                </a:moveTo>
                <a:lnTo>
                  <a:pt x="367" y="0"/>
                </a:lnTo>
                <a:lnTo>
                  <a:pt x="367" y="0"/>
                </a:lnTo>
                <a:lnTo>
                  <a:pt x="428" y="0"/>
                </a:lnTo>
                <a:lnTo>
                  <a:pt x="428" y="0"/>
                </a:lnTo>
                <a:close/>
                <a:moveTo>
                  <a:pt x="520" y="0"/>
                </a:moveTo>
                <a:lnTo>
                  <a:pt x="459" y="0"/>
                </a:lnTo>
                <a:lnTo>
                  <a:pt x="459" y="0"/>
                </a:lnTo>
                <a:lnTo>
                  <a:pt x="520" y="0"/>
                </a:lnTo>
                <a:lnTo>
                  <a:pt x="520" y="0"/>
                </a:lnTo>
                <a:close/>
                <a:moveTo>
                  <a:pt x="612" y="0"/>
                </a:moveTo>
                <a:lnTo>
                  <a:pt x="551" y="0"/>
                </a:lnTo>
                <a:lnTo>
                  <a:pt x="551" y="0"/>
                </a:lnTo>
                <a:lnTo>
                  <a:pt x="612" y="0"/>
                </a:lnTo>
                <a:lnTo>
                  <a:pt x="612" y="0"/>
                </a:lnTo>
                <a:close/>
                <a:moveTo>
                  <a:pt x="704" y="0"/>
                </a:moveTo>
                <a:lnTo>
                  <a:pt x="643" y="0"/>
                </a:lnTo>
                <a:lnTo>
                  <a:pt x="643" y="0"/>
                </a:lnTo>
                <a:lnTo>
                  <a:pt x="704" y="0"/>
                </a:lnTo>
                <a:lnTo>
                  <a:pt x="704" y="0"/>
                </a:lnTo>
                <a:close/>
                <a:moveTo>
                  <a:pt x="796" y="0"/>
                </a:moveTo>
                <a:lnTo>
                  <a:pt x="734" y="0"/>
                </a:lnTo>
                <a:lnTo>
                  <a:pt x="734" y="0"/>
                </a:lnTo>
                <a:lnTo>
                  <a:pt x="796" y="0"/>
                </a:lnTo>
                <a:lnTo>
                  <a:pt x="796" y="0"/>
                </a:lnTo>
                <a:close/>
                <a:moveTo>
                  <a:pt x="887" y="0"/>
                </a:moveTo>
                <a:lnTo>
                  <a:pt x="826" y="0"/>
                </a:lnTo>
                <a:lnTo>
                  <a:pt x="826" y="0"/>
                </a:lnTo>
                <a:lnTo>
                  <a:pt x="887" y="0"/>
                </a:lnTo>
                <a:lnTo>
                  <a:pt x="887" y="0"/>
                </a:lnTo>
                <a:close/>
                <a:moveTo>
                  <a:pt x="979" y="0"/>
                </a:moveTo>
                <a:lnTo>
                  <a:pt x="918" y="0"/>
                </a:lnTo>
                <a:lnTo>
                  <a:pt x="918" y="0"/>
                </a:lnTo>
                <a:lnTo>
                  <a:pt x="979" y="0"/>
                </a:lnTo>
                <a:lnTo>
                  <a:pt x="979" y="0"/>
                </a:lnTo>
                <a:close/>
                <a:moveTo>
                  <a:pt x="1071" y="0"/>
                </a:moveTo>
                <a:lnTo>
                  <a:pt x="1010" y="0"/>
                </a:lnTo>
                <a:lnTo>
                  <a:pt x="1010" y="0"/>
                </a:lnTo>
                <a:lnTo>
                  <a:pt x="1071" y="0"/>
                </a:lnTo>
                <a:lnTo>
                  <a:pt x="1071" y="0"/>
                </a:lnTo>
                <a:close/>
                <a:moveTo>
                  <a:pt x="1163" y="0"/>
                </a:moveTo>
                <a:lnTo>
                  <a:pt x="1102" y="0"/>
                </a:lnTo>
                <a:lnTo>
                  <a:pt x="1102" y="0"/>
                </a:lnTo>
                <a:lnTo>
                  <a:pt x="1163" y="0"/>
                </a:lnTo>
                <a:lnTo>
                  <a:pt x="1163" y="0"/>
                </a:lnTo>
                <a:close/>
                <a:moveTo>
                  <a:pt x="1249" y="0"/>
                </a:moveTo>
                <a:lnTo>
                  <a:pt x="1193" y="0"/>
                </a:lnTo>
                <a:lnTo>
                  <a:pt x="1193" y="0"/>
                </a:lnTo>
                <a:lnTo>
                  <a:pt x="1249" y="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sp>
        <p:nvSpPr>
          <p:cNvPr id="32" name="Freeform 49">
            <a:extLst>
              <a:ext uri="{FF2B5EF4-FFF2-40B4-BE49-F238E27FC236}">
                <a16:creationId xmlns:a16="http://schemas.microsoft.com/office/drawing/2014/main" id="{1AC0378F-9411-4785-94F8-94F73F0BC946}"/>
              </a:ext>
            </a:extLst>
          </p:cNvPr>
          <p:cNvSpPr>
            <a:spLocks noEditPoints="1"/>
          </p:cNvSpPr>
          <p:nvPr/>
        </p:nvSpPr>
        <p:spPr bwMode="auto">
          <a:xfrm>
            <a:off x="6133189" y="2452358"/>
            <a:ext cx="1982787" cy="0"/>
          </a:xfrm>
          <a:custGeom>
            <a:avLst/>
            <a:gdLst>
              <a:gd name="T0" fmla="*/ 0 w 1249"/>
              <a:gd name="T1" fmla="*/ 61 w 1249"/>
              <a:gd name="T2" fmla="*/ 153 w 1249"/>
              <a:gd name="T3" fmla="*/ 92 w 1249"/>
              <a:gd name="T4" fmla="*/ 153 w 1249"/>
              <a:gd name="T5" fmla="*/ 184 w 1249"/>
              <a:gd name="T6" fmla="*/ 245 w 1249"/>
              <a:gd name="T7" fmla="*/ 337 w 1249"/>
              <a:gd name="T8" fmla="*/ 275 w 1249"/>
              <a:gd name="T9" fmla="*/ 337 w 1249"/>
              <a:gd name="T10" fmla="*/ 367 w 1249"/>
              <a:gd name="T11" fmla="*/ 428 w 1249"/>
              <a:gd name="T12" fmla="*/ 520 w 1249"/>
              <a:gd name="T13" fmla="*/ 459 w 1249"/>
              <a:gd name="T14" fmla="*/ 520 w 1249"/>
              <a:gd name="T15" fmla="*/ 551 w 1249"/>
              <a:gd name="T16" fmla="*/ 612 w 1249"/>
              <a:gd name="T17" fmla="*/ 704 w 1249"/>
              <a:gd name="T18" fmla="*/ 643 w 1249"/>
              <a:gd name="T19" fmla="*/ 704 w 1249"/>
              <a:gd name="T20" fmla="*/ 734 w 1249"/>
              <a:gd name="T21" fmla="*/ 796 w 1249"/>
              <a:gd name="T22" fmla="*/ 887 w 1249"/>
              <a:gd name="T23" fmla="*/ 826 w 1249"/>
              <a:gd name="T24" fmla="*/ 887 w 1249"/>
              <a:gd name="T25" fmla="*/ 918 w 1249"/>
              <a:gd name="T26" fmla="*/ 979 w 1249"/>
              <a:gd name="T27" fmla="*/ 1071 w 1249"/>
              <a:gd name="T28" fmla="*/ 1010 w 1249"/>
              <a:gd name="T29" fmla="*/ 1071 w 1249"/>
              <a:gd name="T30" fmla="*/ 1102 w 1249"/>
              <a:gd name="T31" fmla="*/ 1163 w 1249"/>
              <a:gd name="T32" fmla="*/ 1249 w 1249"/>
              <a:gd name="T33" fmla="*/ 1193 w 1249"/>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 ang="0">
                <a:pos x="T11" y="0"/>
              </a:cxn>
              <a:cxn ang="0">
                <a:pos x="T12" y="0"/>
              </a:cxn>
              <a:cxn ang="0">
                <a:pos x="T13" y="0"/>
              </a:cxn>
              <a:cxn ang="0">
                <a:pos x="T14" y="0"/>
              </a:cxn>
              <a:cxn ang="0">
                <a:pos x="T15" y="0"/>
              </a:cxn>
              <a:cxn ang="0">
                <a:pos x="T16" y="0"/>
              </a:cxn>
              <a:cxn ang="0">
                <a:pos x="T17" y="0"/>
              </a:cxn>
              <a:cxn ang="0">
                <a:pos x="T18" y="0"/>
              </a:cxn>
              <a:cxn ang="0">
                <a:pos x="T19" y="0"/>
              </a:cxn>
              <a:cxn ang="0">
                <a:pos x="T20" y="0"/>
              </a:cxn>
              <a:cxn ang="0">
                <a:pos x="T21" y="0"/>
              </a:cxn>
              <a:cxn ang="0">
                <a:pos x="T22" y="0"/>
              </a:cxn>
              <a:cxn ang="0">
                <a:pos x="T23" y="0"/>
              </a:cxn>
              <a:cxn ang="0">
                <a:pos x="T24" y="0"/>
              </a:cxn>
              <a:cxn ang="0">
                <a:pos x="T25" y="0"/>
              </a:cxn>
              <a:cxn ang="0">
                <a:pos x="T26" y="0"/>
              </a:cxn>
              <a:cxn ang="0">
                <a:pos x="T27" y="0"/>
              </a:cxn>
              <a:cxn ang="0">
                <a:pos x="T28" y="0"/>
              </a:cxn>
              <a:cxn ang="0">
                <a:pos x="T29" y="0"/>
              </a:cxn>
              <a:cxn ang="0">
                <a:pos x="T30" y="0"/>
              </a:cxn>
              <a:cxn ang="0">
                <a:pos x="T31" y="0"/>
              </a:cxn>
              <a:cxn ang="0">
                <a:pos x="T32" y="0"/>
              </a:cxn>
              <a:cxn ang="0">
                <a:pos x="T33" y="0"/>
              </a:cxn>
            </a:cxnLst>
            <a:rect l="0" t="0" r="r" b="b"/>
            <a:pathLst>
              <a:path w="1249">
                <a:moveTo>
                  <a:pt x="61" y="0"/>
                </a:moveTo>
                <a:lnTo>
                  <a:pt x="0" y="0"/>
                </a:lnTo>
                <a:lnTo>
                  <a:pt x="0" y="0"/>
                </a:lnTo>
                <a:lnTo>
                  <a:pt x="61" y="0"/>
                </a:lnTo>
                <a:lnTo>
                  <a:pt x="61" y="0"/>
                </a:lnTo>
                <a:moveTo>
                  <a:pt x="153" y="0"/>
                </a:moveTo>
                <a:lnTo>
                  <a:pt x="92" y="0"/>
                </a:lnTo>
                <a:lnTo>
                  <a:pt x="92" y="0"/>
                </a:lnTo>
                <a:lnTo>
                  <a:pt x="153" y="0"/>
                </a:lnTo>
                <a:lnTo>
                  <a:pt x="153" y="0"/>
                </a:lnTo>
                <a:moveTo>
                  <a:pt x="245" y="0"/>
                </a:moveTo>
                <a:lnTo>
                  <a:pt x="184" y="0"/>
                </a:lnTo>
                <a:lnTo>
                  <a:pt x="184" y="0"/>
                </a:lnTo>
                <a:lnTo>
                  <a:pt x="245" y="0"/>
                </a:lnTo>
                <a:lnTo>
                  <a:pt x="245" y="0"/>
                </a:lnTo>
                <a:moveTo>
                  <a:pt x="337" y="0"/>
                </a:moveTo>
                <a:lnTo>
                  <a:pt x="275" y="0"/>
                </a:lnTo>
                <a:lnTo>
                  <a:pt x="275" y="0"/>
                </a:lnTo>
                <a:lnTo>
                  <a:pt x="337" y="0"/>
                </a:lnTo>
                <a:lnTo>
                  <a:pt x="337" y="0"/>
                </a:lnTo>
                <a:moveTo>
                  <a:pt x="428" y="0"/>
                </a:moveTo>
                <a:lnTo>
                  <a:pt x="367" y="0"/>
                </a:lnTo>
                <a:lnTo>
                  <a:pt x="367" y="0"/>
                </a:lnTo>
                <a:lnTo>
                  <a:pt x="428" y="0"/>
                </a:lnTo>
                <a:lnTo>
                  <a:pt x="428" y="0"/>
                </a:lnTo>
                <a:moveTo>
                  <a:pt x="520" y="0"/>
                </a:moveTo>
                <a:lnTo>
                  <a:pt x="459" y="0"/>
                </a:lnTo>
                <a:lnTo>
                  <a:pt x="459" y="0"/>
                </a:lnTo>
                <a:lnTo>
                  <a:pt x="520" y="0"/>
                </a:lnTo>
                <a:lnTo>
                  <a:pt x="520" y="0"/>
                </a:lnTo>
                <a:moveTo>
                  <a:pt x="612" y="0"/>
                </a:moveTo>
                <a:lnTo>
                  <a:pt x="551" y="0"/>
                </a:lnTo>
                <a:lnTo>
                  <a:pt x="551" y="0"/>
                </a:lnTo>
                <a:lnTo>
                  <a:pt x="612" y="0"/>
                </a:lnTo>
                <a:lnTo>
                  <a:pt x="612" y="0"/>
                </a:lnTo>
                <a:moveTo>
                  <a:pt x="704" y="0"/>
                </a:moveTo>
                <a:lnTo>
                  <a:pt x="643" y="0"/>
                </a:lnTo>
                <a:lnTo>
                  <a:pt x="643" y="0"/>
                </a:lnTo>
                <a:lnTo>
                  <a:pt x="704" y="0"/>
                </a:lnTo>
                <a:lnTo>
                  <a:pt x="704" y="0"/>
                </a:lnTo>
                <a:moveTo>
                  <a:pt x="796" y="0"/>
                </a:moveTo>
                <a:lnTo>
                  <a:pt x="734" y="0"/>
                </a:lnTo>
                <a:lnTo>
                  <a:pt x="734" y="0"/>
                </a:lnTo>
                <a:lnTo>
                  <a:pt x="796" y="0"/>
                </a:lnTo>
                <a:lnTo>
                  <a:pt x="796" y="0"/>
                </a:lnTo>
                <a:moveTo>
                  <a:pt x="887" y="0"/>
                </a:moveTo>
                <a:lnTo>
                  <a:pt x="826" y="0"/>
                </a:lnTo>
                <a:lnTo>
                  <a:pt x="826" y="0"/>
                </a:lnTo>
                <a:lnTo>
                  <a:pt x="887" y="0"/>
                </a:lnTo>
                <a:lnTo>
                  <a:pt x="887" y="0"/>
                </a:lnTo>
                <a:moveTo>
                  <a:pt x="979" y="0"/>
                </a:moveTo>
                <a:lnTo>
                  <a:pt x="918" y="0"/>
                </a:lnTo>
                <a:lnTo>
                  <a:pt x="918" y="0"/>
                </a:lnTo>
                <a:lnTo>
                  <a:pt x="979" y="0"/>
                </a:lnTo>
                <a:lnTo>
                  <a:pt x="979" y="0"/>
                </a:lnTo>
                <a:moveTo>
                  <a:pt x="1071" y="0"/>
                </a:moveTo>
                <a:lnTo>
                  <a:pt x="1010" y="0"/>
                </a:lnTo>
                <a:lnTo>
                  <a:pt x="1010" y="0"/>
                </a:lnTo>
                <a:lnTo>
                  <a:pt x="1071" y="0"/>
                </a:lnTo>
                <a:lnTo>
                  <a:pt x="1071" y="0"/>
                </a:lnTo>
                <a:moveTo>
                  <a:pt x="1163" y="0"/>
                </a:moveTo>
                <a:lnTo>
                  <a:pt x="1102" y="0"/>
                </a:lnTo>
                <a:lnTo>
                  <a:pt x="1102" y="0"/>
                </a:lnTo>
                <a:lnTo>
                  <a:pt x="1163" y="0"/>
                </a:lnTo>
                <a:lnTo>
                  <a:pt x="1163" y="0"/>
                </a:lnTo>
                <a:moveTo>
                  <a:pt x="1249" y="0"/>
                </a:moveTo>
                <a:lnTo>
                  <a:pt x="1193" y="0"/>
                </a:lnTo>
                <a:lnTo>
                  <a:pt x="1193" y="0"/>
                </a:lnTo>
                <a:lnTo>
                  <a:pt x="124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sp>
        <p:nvSpPr>
          <p:cNvPr id="33" name="Freeform 50">
            <a:extLst>
              <a:ext uri="{FF2B5EF4-FFF2-40B4-BE49-F238E27FC236}">
                <a16:creationId xmlns:a16="http://schemas.microsoft.com/office/drawing/2014/main" id="{E531C6E4-1F2D-4662-8249-C16E86C8885B}"/>
              </a:ext>
            </a:extLst>
          </p:cNvPr>
          <p:cNvSpPr>
            <a:spLocks noEditPoints="1"/>
          </p:cNvSpPr>
          <p:nvPr/>
        </p:nvSpPr>
        <p:spPr bwMode="auto">
          <a:xfrm>
            <a:off x="6085564" y="2753352"/>
            <a:ext cx="1941512" cy="49212"/>
          </a:xfrm>
          <a:custGeom>
            <a:avLst/>
            <a:gdLst>
              <a:gd name="T0" fmla="*/ 0 w 480"/>
              <a:gd name="T1" fmla="*/ 6 h 12"/>
              <a:gd name="T2" fmla="*/ 12 w 480"/>
              <a:gd name="T3" fmla="*/ 6 h 12"/>
              <a:gd name="T4" fmla="*/ 12 w 480"/>
              <a:gd name="T5" fmla="*/ 6 h 12"/>
              <a:gd name="T6" fmla="*/ 42 w 480"/>
              <a:gd name="T7" fmla="*/ 0 h 12"/>
              <a:gd name="T8" fmla="*/ 36 w 480"/>
              <a:gd name="T9" fmla="*/ 6 h 12"/>
              <a:gd name="T10" fmla="*/ 42 w 480"/>
              <a:gd name="T11" fmla="*/ 12 h 12"/>
              <a:gd name="T12" fmla="*/ 48 w 480"/>
              <a:gd name="T13" fmla="*/ 6 h 12"/>
              <a:gd name="T14" fmla="*/ 42 w 480"/>
              <a:gd name="T15" fmla="*/ 0 h 12"/>
              <a:gd name="T16" fmla="*/ 72 w 480"/>
              <a:gd name="T17" fmla="*/ 6 h 12"/>
              <a:gd name="T18" fmla="*/ 72 w 480"/>
              <a:gd name="T19" fmla="*/ 6 h 12"/>
              <a:gd name="T20" fmla="*/ 84 w 480"/>
              <a:gd name="T21" fmla="*/ 6 h 12"/>
              <a:gd name="T22" fmla="*/ 84 w 480"/>
              <a:gd name="T23" fmla="*/ 6 h 12"/>
              <a:gd name="T24" fmla="*/ 114 w 480"/>
              <a:gd name="T25" fmla="*/ 0 h 12"/>
              <a:gd name="T26" fmla="*/ 108 w 480"/>
              <a:gd name="T27" fmla="*/ 6 h 12"/>
              <a:gd name="T28" fmla="*/ 114 w 480"/>
              <a:gd name="T29" fmla="*/ 12 h 12"/>
              <a:gd name="T30" fmla="*/ 120 w 480"/>
              <a:gd name="T31" fmla="*/ 6 h 12"/>
              <a:gd name="T32" fmla="*/ 114 w 480"/>
              <a:gd name="T33" fmla="*/ 0 h 12"/>
              <a:gd name="T34" fmla="*/ 144 w 480"/>
              <a:gd name="T35" fmla="*/ 6 h 12"/>
              <a:gd name="T36" fmla="*/ 144 w 480"/>
              <a:gd name="T37" fmla="*/ 6 h 12"/>
              <a:gd name="T38" fmla="*/ 156 w 480"/>
              <a:gd name="T39" fmla="*/ 6 h 12"/>
              <a:gd name="T40" fmla="*/ 156 w 480"/>
              <a:gd name="T41" fmla="*/ 6 h 12"/>
              <a:gd name="T42" fmla="*/ 186 w 480"/>
              <a:gd name="T43" fmla="*/ 0 h 12"/>
              <a:gd name="T44" fmla="*/ 180 w 480"/>
              <a:gd name="T45" fmla="*/ 6 h 12"/>
              <a:gd name="T46" fmla="*/ 186 w 480"/>
              <a:gd name="T47" fmla="*/ 12 h 12"/>
              <a:gd name="T48" fmla="*/ 192 w 480"/>
              <a:gd name="T49" fmla="*/ 6 h 12"/>
              <a:gd name="T50" fmla="*/ 186 w 480"/>
              <a:gd name="T51" fmla="*/ 0 h 12"/>
              <a:gd name="T52" fmla="*/ 216 w 480"/>
              <a:gd name="T53" fmla="*/ 6 h 12"/>
              <a:gd name="T54" fmla="*/ 216 w 480"/>
              <a:gd name="T55" fmla="*/ 6 h 12"/>
              <a:gd name="T56" fmla="*/ 228 w 480"/>
              <a:gd name="T57" fmla="*/ 6 h 12"/>
              <a:gd name="T58" fmla="*/ 228 w 480"/>
              <a:gd name="T59" fmla="*/ 6 h 12"/>
              <a:gd name="T60" fmla="*/ 258 w 480"/>
              <a:gd name="T61" fmla="*/ 0 h 12"/>
              <a:gd name="T62" fmla="*/ 252 w 480"/>
              <a:gd name="T63" fmla="*/ 6 h 12"/>
              <a:gd name="T64" fmla="*/ 258 w 480"/>
              <a:gd name="T65" fmla="*/ 12 h 12"/>
              <a:gd name="T66" fmla="*/ 264 w 480"/>
              <a:gd name="T67" fmla="*/ 6 h 12"/>
              <a:gd name="T68" fmla="*/ 258 w 480"/>
              <a:gd name="T69" fmla="*/ 0 h 12"/>
              <a:gd name="T70" fmla="*/ 288 w 480"/>
              <a:gd name="T71" fmla="*/ 6 h 12"/>
              <a:gd name="T72" fmla="*/ 288 w 480"/>
              <a:gd name="T73" fmla="*/ 6 h 12"/>
              <a:gd name="T74" fmla="*/ 300 w 480"/>
              <a:gd name="T75" fmla="*/ 6 h 12"/>
              <a:gd name="T76" fmla="*/ 300 w 480"/>
              <a:gd name="T77" fmla="*/ 6 h 12"/>
              <a:gd name="T78" fmla="*/ 330 w 480"/>
              <a:gd name="T79" fmla="*/ 0 h 12"/>
              <a:gd name="T80" fmla="*/ 324 w 480"/>
              <a:gd name="T81" fmla="*/ 6 h 12"/>
              <a:gd name="T82" fmla="*/ 330 w 480"/>
              <a:gd name="T83" fmla="*/ 12 h 12"/>
              <a:gd name="T84" fmla="*/ 336 w 480"/>
              <a:gd name="T85" fmla="*/ 6 h 12"/>
              <a:gd name="T86" fmla="*/ 330 w 480"/>
              <a:gd name="T87" fmla="*/ 0 h 12"/>
              <a:gd name="T88" fmla="*/ 360 w 480"/>
              <a:gd name="T89" fmla="*/ 6 h 12"/>
              <a:gd name="T90" fmla="*/ 360 w 480"/>
              <a:gd name="T91" fmla="*/ 6 h 12"/>
              <a:gd name="T92" fmla="*/ 372 w 480"/>
              <a:gd name="T93" fmla="*/ 6 h 12"/>
              <a:gd name="T94" fmla="*/ 372 w 480"/>
              <a:gd name="T95" fmla="*/ 6 h 12"/>
              <a:gd name="T96" fmla="*/ 402 w 480"/>
              <a:gd name="T97" fmla="*/ 0 h 12"/>
              <a:gd name="T98" fmla="*/ 396 w 480"/>
              <a:gd name="T99" fmla="*/ 6 h 12"/>
              <a:gd name="T100" fmla="*/ 402 w 480"/>
              <a:gd name="T101" fmla="*/ 12 h 12"/>
              <a:gd name="T102" fmla="*/ 408 w 480"/>
              <a:gd name="T103" fmla="*/ 6 h 12"/>
              <a:gd name="T104" fmla="*/ 402 w 480"/>
              <a:gd name="T105" fmla="*/ 0 h 12"/>
              <a:gd name="T106" fmla="*/ 432 w 480"/>
              <a:gd name="T107" fmla="*/ 6 h 12"/>
              <a:gd name="T108" fmla="*/ 432 w 480"/>
              <a:gd name="T109" fmla="*/ 6 h 12"/>
              <a:gd name="T110" fmla="*/ 444 w 480"/>
              <a:gd name="T111" fmla="*/ 6 h 12"/>
              <a:gd name="T112" fmla="*/ 444 w 480"/>
              <a:gd name="T113" fmla="*/ 6 h 12"/>
              <a:gd name="T114" fmla="*/ 474 w 480"/>
              <a:gd name="T115" fmla="*/ 0 h 12"/>
              <a:gd name="T116" fmla="*/ 468 w 480"/>
              <a:gd name="T117" fmla="*/ 6 h 12"/>
              <a:gd name="T118" fmla="*/ 474 w 480"/>
              <a:gd name="T119" fmla="*/ 12 h 12"/>
              <a:gd name="T120" fmla="*/ 480 w 480"/>
              <a:gd name="T121" fmla="*/ 6 h 12"/>
              <a:gd name="T122" fmla="*/ 474 w 480"/>
              <a:gd name="T123"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80" h="12">
                <a:moveTo>
                  <a:pt x="6" y="0"/>
                </a:moveTo>
                <a:cubicBezTo>
                  <a:pt x="3" y="0"/>
                  <a:pt x="0" y="3"/>
                  <a:pt x="0" y="6"/>
                </a:cubicBezTo>
                <a:cubicBezTo>
                  <a:pt x="0" y="10"/>
                  <a:pt x="3" y="12"/>
                  <a:pt x="6" y="12"/>
                </a:cubicBezTo>
                <a:cubicBezTo>
                  <a:pt x="10" y="12"/>
                  <a:pt x="12" y="10"/>
                  <a:pt x="12" y="6"/>
                </a:cubicBezTo>
                <a:cubicBezTo>
                  <a:pt x="12" y="6"/>
                  <a:pt x="12" y="6"/>
                  <a:pt x="12" y="6"/>
                </a:cubicBezTo>
                <a:cubicBezTo>
                  <a:pt x="12" y="6"/>
                  <a:pt x="12" y="6"/>
                  <a:pt x="12" y="6"/>
                </a:cubicBezTo>
                <a:cubicBezTo>
                  <a:pt x="12" y="3"/>
                  <a:pt x="10" y="0"/>
                  <a:pt x="6" y="0"/>
                </a:cubicBezTo>
                <a:moveTo>
                  <a:pt x="42" y="0"/>
                </a:moveTo>
                <a:cubicBezTo>
                  <a:pt x="39" y="0"/>
                  <a:pt x="36" y="3"/>
                  <a:pt x="36" y="6"/>
                </a:cubicBezTo>
                <a:cubicBezTo>
                  <a:pt x="36" y="6"/>
                  <a:pt x="36" y="6"/>
                  <a:pt x="36" y="6"/>
                </a:cubicBezTo>
                <a:cubicBezTo>
                  <a:pt x="36" y="6"/>
                  <a:pt x="36" y="6"/>
                  <a:pt x="36" y="6"/>
                </a:cubicBezTo>
                <a:cubicBezTo>
                  <a:pt x="36" y="10"/>
                  <a:pt x="39" y="12"/>
                  <a:pt x="42" y="12"/>
                </a:cubicBezTo>
                <a:cubicBezTo>
                  <a:pt x="46" y="12"/>
                  <a:pt x="48" y="10"/>
                  <a:pt x="48" y="6"/>
                </a:cubicBezTo>
                <a:cubicBezTo>
                  <a:pt x="48" y="6"/>
                  <a:pt x="48" y="6"/>
                  <a:pt x="48" y="6"/>
                </a:cubicBezTo>
                <a:cubicBezTo>
                  <a:pt x="48" y="6"/>
                  <a:pt x="48" y="6"/>
                  <a:pt x="48" y="6"/>
                </a:cubicBezTo>
                <a:cubicBezTo>
                  <a:pt x="48" y="3"/>
                  <a:pt x="46" y="0"/>
                  <a:pt x="42" y="0"/>
                </a:cubicBezTo>
                <a:moveTo>
                  <a:pt x="78" y="0"/>
                </a:moveTo>
                <a:cubicBezTo>
                  <a:pt x="75" y="0"/>
                  <a:pt x="72" y="3"/>
                  <a:pt x="72" y="6"/>
                </a:cubicBezTo>
                <a:cubicBezTo>
                  <a:pt x="72" y="6"/>
                  <a:pt x="72" y="6"/>
                  <a:pt x="72" y="6"/>
                </a:cubicBezTo>
                <a:cubicBezTo>
                  <a:pt x="72" y="6"/>
                  <a:pt x="72" y="6"/>
                  <a:pt x="72" y="6"/>
                </a:cubicBezTo>
                <a:cubicBezTo>
                  <a:pt x="72" y="10"/>
                  <a:pt x="75" y="12"/>
                  <a:pt x="78" y="12"/>
                </a:cubicBezTo>
                <a:cubicBezTo>
                  <a:pt x="82" y="12"/>
                  <a:pt x="84" y="10"/>
                  <a:pt x="84" y="6"/>
                </a:cubicBezTo>
                <a:cubicBezTo>
                  <a:pt x="84" y="6"/>
                  <a:pt x="84" y="6"/>
                  <a:pt x="84" y="6"/>
                </a:cubicBezTo>
                <a:cubicBezTo>
                  <a:pt x="84" y="6"/>
                  <a:pt x="84" y="6"/>
                  <a:pt x="84" y="6"/>
                </a:cubicBezTo>
                <a:cubicBezTo>
                  <a:pt x="84" y="3"/>
                  <a:pt x="82" y="0"/>
                  <a:pt x="78" y="0"/>
                </a:cubicBezTo>
                <a:moveTo>
                  <a:pt x="114" y="0"/>
                </a:moveTo>
                <a:cubicBezTo>
                  <a:pt x="111" y="0"/>
                  <a:pt x="108" y="3"/>
                  <a:pt x="108" y="6"/>
                </a:cubicBezTo>
                <a:cubicBezTo>
                  <a:pt x="108" y="6"/>
                  <a:pt x="108" y="6"/>
                  <a:pt x="108" y="6"/>
                </a:cubicBezTo>
                <a:cubicBezTo>
                  <a:pt x="108" y="6"/>
                  <a:pt x="108" y="6"/>
                  <a:pt x="108" y="6"/>
                </a:cubicBezTo>
                <a:cubicBezTo>
                  <a:pt x="108" y="10"/>
                  <a:pt x="111" y="12"/>
                  <a:pt x="114" y="12"/>
                </a:cubicBezTo>
                <a:cubicBezTo>
                  <a:pt x="118" y="12"/>
                  <a:pt x="120" y="10"/>
                  <a:pt x="120" y="6"/>
                </a:cubicBezTo>
                <a:cubicBezTo>
                  <a:pt x="120" y="6"/>
                  <a:pt x="120" y="6"/>
                  <a:pt x="120" y="6"/>
                </a:cubicBezTo>
                <a:cubicBezTo>
                  <a:pt x="120" y="6"/>
                  <a:pt x="120" y="6"/>
                  <a:pt x="120" y="6"/>
                </a:cubicBezTo>
                <a:cubicBezTo>
                  <a:pt x="120" y="3"/>
                  <a:pt x="118" y="0"/>
                  <a:pt x="114" y="0"/>
                </a:cubicBezTo>
                <a:moveTo>
                  <a:pt x="150" y="0"/>
                </a:moveTo>
                <a:cubicBezTo>
                  <a:pt x="147" y="0"/>
                  <a:pt x="144" y="3"/>
                  <a:pt x="144" y="6"/>
                </a:cubicBezTo>
                <a:cubicBezTo>
                  <a:pt x="144" y="6"/>
                  <a:pt x="144" y="6"/>
                  <a:pt x="144" y="6"/>
                </a:cubicBezTo>
                <a:cubicBezTo>
                  <a:pt x="144" y="6"/>
                  <a:pt x="144" y="6"/>
                  <a:pt x="144" y="6"/>
                </a:cubicBezTo>
                <a:cubicBezTo>
                  <a:pt x="144" y="10"/>
                  <a:pt x="147" y="12"/>
                  <a:pt x="150" y="12"/>
                </a:cubicBezTo>
                <a:cubicBezTo>
                  <a:pt x="154" y="12"/>
                  <a:pt x="156" y="10"/>
                  <a:pt x="156" y="6"/>
                </a:cubicBezTo>
                <a:cubicBezTo>
                  <a:pt x="156" y="6"/>
                  <a:pt x="156" y="6"/>
                  <a:pt x="156" y="6"/>
                </a:cubicBezTo>
                <a:cubicBezTo>
                  <a:pt x="156" y="6"/>
                  <a:pt x="156" y="6"/>
                  <a:pt x="156" y="6"/>
                </a:cubicBezTo>
                <a:cubicBezTo>
                  <a:pt x="156" y="3"/>
                  <a:pt x="154" y="0"/>
                  <a:pt x="150" y="0"/>
                </a:cubicBezTo>
                <a:moveTo>
                  <a:pt x="186" y="0"/>
                </a:moveTo>
                <a:cubicBezTo>
                  <a:pt x="183" y="0"/>
                  <a:pt x="180" y="3"/>
                  <a:pt x="180" y="6"/>
                </a:cubicBezTo>
                <a:cubicBezTo>
                  <a:pt x="180" y="6"/>
                  <a:pt x="180" y="6"/>
                  <a:pt x="180" y="6"/>
                </a:cubicBezTo>
                <a:cubicBezTo>
                  <a:pt x="180" y="6"/>
                  <a:pt x="180" y="6"/>
                  <a:pt x="180" y="6"/>
                </a:cubicBezTo>
                <a:cubicBezTo>
                  <a:pt x="180" y="10"/>
                  <a:pt x="183" y="12"/>
                  <a:pt x="186" y="12"/>
                </a:cubicBezTo>
                <a:cubicBezTo>
                  <a:pt x="190" y="12"/>
                  <a:pt x="192" y="10"/>
                  <a:pt x="192" y="6"/>
                </a:cubicBezTo>
                <a:cubicBezTo>
                  <a:pt x="192" y="6"/>
                  <a:pt x="192" y="6"/>
                  <a:pt x="192" y="6"/>
                </a:cubicBezTo>
                <a:cubicBezTo>
                  <a:pt x="192" y="6"/>
                  <a:pt x="192" y="6"/>
                  <a:pt x="192" y="6"/>
                </a:cubicBezTo>
                <a:cubicBezTo>
                  <a:pt x="192" y="3"/>
                  <a:pt x="190" y="0"/>
                  <a:pt x="186" y="0"/>
                </a:cubicBezTo>
                <a:moveTo>
                  <a:pt x="222" y="0"/>
                </a:moveTo>
                <a:cubicBezTo>
                  <a:pt x="219" y="0"/>
                  <a:pt x="216" y="3"/>
                  <a:pt x="216" y="6"/>
                </a:cubicBezTo>
                <a:cubicBezTo>
                  <a:pt x="216" y="6"/>
                  <a:pt x="216" y="6"/>
                  <a:pt x="216" y="6"/>
                </a:cubicBezTo>
                <a:cubicBezTo>
                  <a:pt x="216" y="6"/>
                  <a:pt x="216" y="6"/>
                  <a:pt x="216" y="6"/>
                </a:cubicBezTo>
                <a:cubicBezTo>
                  <a:pt x="216" y="10"/>
                  <a:pt x="219" y="12"/>
                  <a:pt x="222" y="12"/>
                </a:cubicBezTo>
                <a:cubicBezTo>
                  <a:pt x="226" y="12"/>
                  <a:pt x="228" y="10"/>
                  <a:pt x="228" y="6"/>
                </a:cubicBezTo>
                <a:cubicBezTo>
                  <a:pt x="228" y="6"/>
                  <a:pt x="228" y="6"/>
                  <a:pt x="228" y="6"/>
                </a:cubicBezTo>
                <a:cubicBezTo>
                  <a:pt x="228" y="6"/>
                  <a:pt x="228" y="6"/>
                  <a:pt x="228" y="6"/>
                </a:cubicBezTo>
                <a:cubicBezTo>
                  <a:pt x="228" y="3"/>
                  <a:pt x="226" y="0"/>
                  <a:pt x="222" y="0"/>
                </a:cubicBezTo>
                <a:moveTo>
                  <a:pt x="258" y="0"/>
                </a:moveTo>
                <a:cubicBezTo>
                  <a:pt x="255" y="0"/>
                  <a:pt x="252" y="3"/>
                  <a:pt x="252" y="6"/>
                </a:cubicBezTo>
                <a:cubicBezTo>
                  <a:pt x="252" y="6"/>
                  <a:pt x="252" y="6"/>
                  <a:pt x="252" y="6"/>
                </a:cubicBezTo>
                <a:cubicBezTo>
                  <a:pt x="252" y="6"/>
                  <a:pt x="252" y="6"/>
                  <a:pt x="252" y="6"/>
                </a:cubicBezTo>
                <a:cubicBezTo>
                  <a:pt x="252" y="10"/>
                  <a:pt x="255" y="12"/>
                  <a:pt x="258" y="12"/>
                </a:cubicBezTo>
                <a:cubicBezTo>
                  <a:pt x="262" y="12"/>
                  <a:pt x="264" y="10"/>
                  <a:pt x="264" y="6"/>
                </a:cubicBezTo>
                <a:cubicBezTo>
                  <a:pt x="264" y="6"/>
                  <a:pt x="264" y="6"/>
                  <a:pt x="264" y="6"/>
                </a:cubicBezTo>
                <a:cubicBezTo>
                  <a:pt x="264" y="6"/>
                  <a:pt x="264" y="6"/>
                  <a:pt x="264" y="6"/>
                </a:cubicBezTo>
                <a:cubicBezTo>
                  <a:pt x="264" y="3"/>
                  <a:pt x="262" y="0"/>
                  <a:pt x="258" y="0"/>
                </a:cubicBezTo>
                <a:moveTo>
                  <a:pt x="294" y="0"/>
                </a:moveTo>
                <a:cubicBezTo>
                  <a:pt x="291" y="0"/>
                  <a:pt x="288" y="3"/>
                  <a:pt x="288" y="6"/>
                </a:cubicBezTo>
                <a:cubicBezTo>
                  <a:pt x="288" y="6"/>
                  <a:pt x="288" y="6"/>
                  <a:pt x="288" y="6"/>
                </a:cubicBezTo>
                <a:cubicBezTo>
                  <a:pt x="288" y="6"/>
                  <a:pt x="288" y="6"/>
                  <a:pt x="288" y="6"/>
                </a:cubicBezTo>
                <a:cubicBezTo>
                  <a:pt x="288" y="10"/>
                  <a:pt x="291" y="12"/>
                  <a:pt x="294" y="12"/>
                </a:cubicBezTo>
                <a:cubicBezTo>
                  <a:pt x="298" y="12"/>
                  <a:pt x="300" y="10"/>
                  <a:pt x="300" y="6"/>
                </a:cubicBezTo>
                <a:cubicBezTo>
                  <a:pt x="300" y="6"/>
                  <a:pt x="300" y="6"/>
                  <a:pt x="300" y="6"/>
                </a:cubicBezTo>
                <a:cubicBezTo>
                  <a:pt x="300" y="6"/>
                  <a:pt x="300" y="6"/>
                  <a:pt x="300" y="6"/>
                </a:cubicBezTo>
                <a:cubicBezTo>
                  <a:pt x="300" y="3"/>
                  <a:pt x="298" y="0"/>
                  <a:pt x="294" y="0"/>
                </a:cubicBezTo>
                <a:moveTo>
                  <a:pt x="330" y="0"/>
                </a:moveTo>
                <a:cubicBezTo>
                  <a:pt x="327" y="0"/>
                  <a:pt x="324" y="3"/>
                  <a:pt x="324" y="6"/>
                </a:cubicBezTo>
                <a:cubicBezTo>
                  <a:pt x="324" y="6"/>
                  <a:pt x="324" y="6"/>
                  <a:pt x="324" y="6"/>
                </a:cubicBezTo>
                <a:cubicBezTo>
                  <a:pt x="324" y="6"/>
                  <a:pt x="324" y="6"/>
                  <a:pt x="324" y="6"/>
                </a:cubicBezTo>
                <a:cubicBezTo>
                  <a:pt x="324" y="10"/>
                  <a:pt x="327" y="12"/>
                  <a:pt x="330" y="12"/>
                </a:cubicBezTo>
                <a:cubicBezTo>
                  <a:pt x="334" y="12"/>
                  <a:pt x="336" y="10"/>
                  <a:pt x="336" y="6"/>
                </a:cubicBezTo>
                <a:cubicBezTo>
                  <a:pt x="336" y="6"/>
                  <a:pt x="336" y="6"/>
                  <a:pt x="336" y="6"/>
                </a:cubicBezTo>
                <a:cubicBezTo>
                  <a:pt x="336" y="6"/>
                  <a:pt x="336" y="6"/>
                  <a:pt x="336" y="6"/>
                </a:cubicBezTo>
                <a:cubicBezTo>
                  <a:pt x="336" y="3"/>
                  <a:pt x="334" y="0"/>
                  <a:pt x="330" y="0"/>
                </a:cubicBezTo>
                <a:moveTo>
                  <a:pt x="366" y="0"/>
                </a:moveTo>
                <a:cubicBezTo>
                  <a:pt x="363" y="0"/>
                  <a:pt x="360" y="3"/>
                  <a:pt x="360" y="6"/>
                </a:cubicBezTo>
                <a:cubicBezTo>
                  <a:pt x="360" y="6"/>
                  <a:pt x="360" y="6"/>
                  <a:pt x="360" y="6"/>
                </a:cubicBezTo>
                <a:cubicBezTo>
                  <a:pt x="360" y="6"/>
                  <a:pt x="360" y="6"/>
                  <a:pt x="360" y="6"/>
                </a:cubicBezTo>
                <a:cubicBezTo>
                  <a:pt x="360" y="10"/>
                  <a:pt x="363" y="12"/>
                  <a:pt x="366" y="12"/>
                </a:cubicBezTo>
                <a:cubicBezTo>
                  <a:pt x="370" y="12"/>
                  <a:pt x="372" y="10"/>
                  <a:pt x="372" y="6"/>
                </a:cubicBezTo>
                <a:cubicBezTo>
                  <a:pt x="372" y="6"/>
                  <a:pt x="372" y="6"/>
                  <a:pt x="372" y="6"/>
                </a:cubicBezTo>
                <a:cubicBezTo>
                  <a:pt x="372" y="6"/>
                  <a:pt x="372" y="6"/>
                  <a:pt x="372" y="6"/>
                </a:cubicBezTo>
                <a:cubicBezTo>
                  <a:pt x="372" y="3"/>
                  <a:pt x="370" y="0"/>
                  <a:pt x="366" y="0"/>
                </a:cubicBezTo>
                <a:moveTo>
                  <a:pt x="402" y="0"/>
                </a:moveTo>
                <a:cubicBezTo>
                  <a:pt x="399" y="0"/>
                  <a:pt x="396" y="3"/>
                  <a:pt x="396" y="6"/>
                </a:cubicBezTo>
                <a:cubicBezTo>
                  <a:pt x="396" y="6"/>
                  <a:pt x="396" y="6"/>
                  <a:pt x="396" y="6"/>
                </a:cubicBezTo>
                <a:cubicBezTo>
                  <a:pt x="396" y="6"/>
                  <a:pt x="396" y="6"/>
                  <a:pt x="396" y="6"/>
                </a:cubicBezTo>
                <a:cubicBezTo>
                  <a:pt x="396" y="10"/>
                  <a:pt x="399" y="12"/>
                  <a:pt x="402" y="12"/>
                </a:cubicBezTo>
                <a:cubicBezTo>
                  <a:pt x="406" y="12"/>
                  <a:pt x="408" y="10"/>
                  <a:pt x="408" y="6"/>
                </a:cubicBezTo>
                <a:cubicBezTo>
                  <a:pt x="408" y="6"/>
                  <a:pt x="408" y="6"/>
                  <a:pt x="408" y="6"/>
                </a:cubicBezTo>
                <a:cubicBezTo>
                  <a:pt x="408" y="6"/>
                  <a:pt x="408" y="6"/>
                  <a:pt x="408" y="6"/>
                </a:cubicBezTo>
                <a:cubicBezTo>
                  <a:pt x="408" y="3"/>
                  <a:pt x="406" y="0"/>
                  <a:pt x="402" y="0"/>
                </a:cubicBezTo>
                <a:moveTo>
                  <a:pt x="438" y="0"/>
                </a:moveTo>
                <a:cubicBezTo>
                  <a:pt x="435" y="0"/>
                  <a:pt x="432" y="3"/>
                  <a:pt x="432" y="6"/>
                </a:cubicBezTo>
                <a:cubicBezTo>
                  <a:pt x="432" y="6"/>
                  <a:pt x="432" y="6"/>
                  <a:pt x="432" y="6"/>
                </a:cubicBezTo>
                <a:cubicBezTo>
                  <a:pt x="432" y="6"/>
                  <a:pt x="432" y="6"/>
                  <a:pt x="432" y="6"/>
                </a:cubicBezTo>
                <a:cubicBezTo>
                  <a:pt x="432" y="10"/>
                  <a:pt x="435" y="12"/>
                  <a:pt x="438" y="12"/>
                </a:cubicBezTo>
                <a:cubicBezTo>
                  <a:pt x="442" y="12"/>
                  <a:pt x="444" y="10"/>
                  <a:pt x="444" y="6"/>
                </a:cubicBezTo>
                <a:cubicBezTo>
                  <a:pt x="444" y="6"/>
                  <a:pt x="444" y="6"/>
                  <a:pt x="444" y="6"/>
                </a:cubicBezTo>
                <a:cubicBezTo>
                  <a:pt x="444" y="6"/>
                  <a:pt x="444" y="6"/>
                  <a:pt x="444" y="6"/>
                </a:cubicBezTo>
                <a:cubicBezTo>
                  <a:pt x="444" y="3"/>
                  <a:pt x="442" y="0"/>
                  <a:pt x="438" y="0"/>
                </a:cubicBezTo>
                <a:moveTo>
                  <a:pt x="474" y="0"/>
                </a:moveTo>
                <a:cubicBezTo>
                  <a:pt x="471" y="0"/>
                  <a:pt x="468" y="3"/>
                  <a:pt x="468" y="6"/>
                </a:cubicBezTo>
                <a:cubicBezTo>
                  <a:pt x="468" y="6"/>
                  <a:pt x="468" y="6"/>
                  <a:pt x="468" y="6"/>
                </a:cubicBezTo>
                <a:cubicBezTo>
                  <a:pt x="468" y="6"/>
                  <a:pt x="468" y="6"/>
                  <a:pt x="468" y="6"/>
                </a:cubicBezTo>
                <a:cubicBezTo>
                  <a:pt x="468" y="10"/>
                  <a:pt x="471" y="12"/>
                  <a:pt x="474" y="12"/>
                </a:cubicBezTo>
                <a:cubicBezTo>
                  <a:pt x="478" y="12"/>
                  <a:pt x="480" y="10"/>
                  <a:pt x="480" y="6"/>
                </a:cubicBezTo>
                <a:cubicBezTo>
                  <a:pt x="480" y="6"/>
                  <a:pt x="480" y="6"/>
                  <a:pt x="480" y="6"/>
                </a:cubicBezTo>
                <a:cubicBezTo>
                  <a:pt x="480" y="6"/>
                  <a:pt x="480" y="6"/>
                  <a:pt x="480" y="6"/>
                </a:cubicBezTo>
                <a:cubicBezTo>
                  <a:pt x="480" y="3"/>
                  <a:pt x="478" y="0"/>
                  <a:pt x="474" y="0"/>
                </a:cubicBezTo>
              </a:path>
            </a:pathLst>
          </a:cu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grpSp>
        <p:nvGrpSpPr>
          <p:cNvPr id="51" name="Group 73">
            <a:extLst>
              <a:ext uri="{FF2B5EF4-FFF2-40B4-BE49-F238E27FC236}">
                <a16:creationId xmlns:a16="http://schemas.microsoft.com/office/drawing/2014/main" id="{5DCBDD4E-D327-46E5-887E-C91C1CC31BA1}"/>
              </a:ext>
            </a:extLst>
          </p:cNvPr>
          <p:cNvGrpSpPr/>
          <p:nvPr/>
        </p:nvGrpSpPr>
        <p:grpSpPr>
          <a:xfrm>
            <a:off x="1244306" y="2489584"/>
            <a:ext cx="731113" cy="576748"/>
            <a:chOff x="4949825" y="1755776"/>
            <a:chExt cx="2052638" cy="1619250"/>
          </a:xfrm>
          <a:gradFill>
            <a:gsLst>
              <a:gs pos="73000">
                <a:schemeClr val="accent1"/>
              </a:gs>
              <a:gs pos="31000">
                <a:schemeClr val="accent1">
                  <a:lumMod val="60000"/>
                  <a:lumOff val="40000"/>
                </a:schemeClr>
              </a:gs>
              <a:gs pos="0">
                <a:schemeClr val="accent1">
                  <a:lumMod val="40000"/>
                  <a:lumOff val="60000"/>
                </a:schemeClr>
              </a:gs>
            </a:gsLst>
            <a:path path="circle">
              <a:fillToRect r="100000" b="100000"/>
            </a:path>
          </a:gradFill>
        </p:grpSpPr>
        <p:sp>
          <p:nvSpPr>
            <p:cNvPr id="52" name="Freeform 18">
              <a:extLst>
                <a:ext uri="{FF2B5EF4-FFF2-40B4-BE49-F238E27FC236}">
                  <a16:creationId xmlns:a16="http://schemas.microsoft.com/office/drawing/2014/main" id="{0787D299-D1F4-42D3-9837-436DA6042D2D}"/>
                </a:ext>
              </a:extLst>
            </p:cNvPr>
            <p:cNvSpPr>
              <a:spLocks/>
            </p:cNvSpPr>
            <p:nvPr/>
          </p:nvSpPr>
          <p:spPr bwMode="auto">
            <a:xfrm>
              <a:off x="4949825" y="1943101"/>
              <a:ext cx="185738" cy="560388"/>
            </a:xfrm>
            <a:custGeom>
              <a:avLst/>
              <a:gdLst>
                <a:gd name="T0" fmla="*/ 93 w 186"/>
                <a:gd name="T1" fmla="*/ 0 h 559"/>
                <a:gd name="T2" fmla="*/ 0 w 186"/>
                <a:gd name="T3" fmla="*/ 93 h 559"/>
                <a:gd name="T4" fmla="*/ 0 w 186"/>
                <a:gd name="T5" fmla="*/ 466 h 559"/>
                <a:gd name="T6" fmla="*/ 93 w 186"/>
                <a:gd name="T7" fmla="*/ 559 h 559"/>
                <a:gd name="T8" fmla="*/ 186 w 186"/>
                <a:gd name="T9" fmla="*/ 466 h 559"/>
                <a:gd name="T10" fmla="*/ 186 w 186"/>
                <a:gd name="T11" fmla="*/ 373 h 559"/>
                <a:gd name="T12" fmla="*/ 186 w 186"/>
                <a:gd name="T13" fmla="*/ 187 h 559"/>
                <a:gd name="T14" fmla="*/ 186 w 186"/>
                <a:gd name="T15" fmla="*/ 93 h 559"/>
                <a:gd name="T16" fmla="*/ 93 w 186"/>
                <a:gd name="T17" fmla="*/ 0 h 5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6" h="559">
                  <a:moveTo>
                    <a:pt x="93" y="0"/>
                  </a:moveTo>
                  <a:cubicBezTo>
                    <a:pt x="42" y="0"/>
                    <a:pt x="0" y="42"/>
                    <a:pt x="0" y="93"/>
                  </a:cubicBezTo>
                  <a:cubicBezTo>
                    <a:pt x="0" y="466"/>
                    <a:pt x="0" y="466"/>
                    <a:pt x="0" y="466"/>
                  </a:cubicBezTo>
                  <a:cubicBezTo>
                    <a:pt x="0" y="517"/>
                    <a:pt x="42" y="559"/>
                    <a:pt x="93" y="559"/>
                  </a:cubicBezTo>
                  <a:cubicBezTo>
                    <a:pt x="145" y="559"/>
                    <a:pt x="186" y="517"/>
                    <a:pt x="186" y="466"/>
                  </a:cubicBezTo>
                  <a:cubicBezTo>
                    <a:pt x="186" y="373"/>
                    <a:pt x="186" y="373"/>
                    <a:pt x="186" y="373"/>
                  </a:cubicBezTo>
                  <a:cubicBezTo>
                    <a:pt x="186" y="187"/>
                    <a:pt x="186" y="187"/>
                    <a:pt x="186" y="187"/>
                  </a:cubicBezTo>
                  <a:cubicBezTo>
                    <a:pt x="186" y="93"/>
                    <a:pt x="186" y="93"/>
                    <a:pt x="186" y="93"/>
                  </a:cubicBezTo>
                  <a:cubicBezTo>
                    <a:pt x="186" y="42"/>
                    <a:pt x="145" y="0"/>
                    <a:pt x="9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sp>
          <p:nvSpPr>
            <p:cNvPr id="53" name="Freeform 19">
              <a:extLst>
                <a:ext uri="{FF2B5EF4-FFF2-40B4-BE49-F238E27FC236}">
                  <a16:creationId xmlns:a16="http://schemas.microsoft.com/office/drawing/2014/main" id="{CC984142-819A-4D6E-8077-F20728E62373}"/>
                </a:ext>
              </a:extLst>
            </p:cNvPr>
            <p:cNvSpPr>
              <a:spLocks/>
            </p:cNvSpPr>
            <p:nvPr/>
          </p:nvSpPr>
          <p:spPr bwMode="auto">
            <a:xfrm>
              <a:off x="5435600" y="2752726"/>
              <a:ext cx="957263" cy="622300"/>
            </a:xfrm>
            <a:custGeom>
              <a:avLst/>
              <a:gdLst>
                <a:gd name="T0" fmla="*/ 935 w 956"/>
                <a:gd name="T1" fmla="*/ 489 h 621"/>
                <a:gd name="T2" fmla="*/ 709 w 956"/>
                <a:gd name="T3" fmla="*/ 0 h 621"/>
                <a:gd name="T4" fmla="*/ 478 w 956"/>
                <a:gd name="T5" fmla="*/ 0 h 621"/>
                <a:gd name="T6" fmla="*/ 247 w 956"/>
                <a:gd name="T7" fmla="*/ 0 h 621"/>
                <a:gd name="T8" fmla="*/ 21 w 956"/>
                <a:gd name="T9" fmla="*/ 489 h 621"/>
                <a:gd name="T10" fmla="*/ 67 w 956"/>
                <a:gd name="T11" fmla="*/ 612 h 621"/>
                <a:gd name="T12" fmla="*/ 106 w 956"/>
                <a:gd name="T13" fmla="*/ 621 h 621"/>
                <a:gd name="T14" fmla="*/ 190 w 956"/>
                <a:gd name="T15" fmla="*/ 567 h 621"/>
                <a:gd name="T16" fmla="*/ 385 w 956"/>
                <a:gd name="T17" fmla="*/ 145 h 621"/>
                <a:gd name="T18" fmla="*/ 385 w 956"/>
                <a:gd name="T19" fmla="*/ 528 h 621"/>
                <a:gd name="T20" fmla="*/ 478 w 956"/>
                <a:gd name="T21" fmla="*/ 621 h 621"/>
                <a:gd name="T22" fmla="*/ 571 w 956"/>
                <a:gd name="T23" fmla="*/ 528 h 621"/>
                <a:gd name="T24" fmla="*/ 571 w 956"/>
                <a:gd name="T25" fmla="*/ 145 h 621"/>
                <a:gd name="T26" fmla="*/ 766 w 956"/>
                <a:gd name="T27" fmla="*/ 567 h 621"/>
                <a:gd name="T28" fmla="*/ 850 w 956"/>
                <a:gd name="T29" fmla="*/ 621 h 621"/>
                <a:gd name="T30" fmla="*/ 889 w 956"/>
                <a:gd name="T31" fmla="*/ 612 h 621"/>
                <a:gd name="T32" fmla="*/ 935 w 956"/>
                <a:gd name="T33" fmla="*/ 489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56" h="621">
                  <a:moveTo>
                    <a:pt x="935" y="489"/>
                  </a:moveTo>
                  <a:cubicBezTo>
                    <a:pt x="709" y="0"/>
                    <a:pt x="709" y="0"/>
                    <a:pt x="709" y="0"/>
                  </a:cubicBezTo>
                  <a:cubicBezTo>
                    <a:pt x="478" y="0"/>
                    <a:pt x="478" y="0"/>
                    <a:pt x="478" y="0"/>
                  </a:cubicBezTo>
                  <a:cubicBezTo>
                    <a:pt x="247" y="0"/>
                    <a:pt x="247" y="0"/>
                    <a:pt x="247" y="0"/>
                  </a:cubicBezTo>
                  <a:cubicBezTo>
                    <a:pt x="21" y="489"/>
                    <a:pt x="21" y="489"/>
                    <a:pt x="21" y="489"/>
                  </a:cubicBezTo>
                  <a:cubicBezTo>
                    <a:pt x="0" y="535"/>
                    <a:pt x="20" y="591"/>
                    <a:pt x="67" y="612"/>
                  </a:cubicBezTo>
                  <a:cubicBezTo>
                    <a:pt x="79" y="618"/>
                    <a:pt x="92" y="621"/>
                    <a:pt x="106" y="621"/>
                  </a:cubicBezTo>
                  <a:cubicBezTo>
                    <a:pt x="141" y="621"/>
                    <a:pt x="174" y="601"/>
                    <a:pt x="190" y="567"/>
                  </a:cubicBezTo>
                  <a:cubicBezTo>
                    <a:pt x="385" y="145"/>
                    <a:pt x="385" y="145"/>
                    <a:pt x="385" y="145"/>
                  </a:cubicBezTo>
                  <a:cubicBezTo>
                    <a:pt x="385" y="528"/>
                    <a:pt x="385" y="528"/>
                    <a:pt x="385" y="528"/>
                  </a:cubicBezTo>
                  <a:cubicBezTo>
                    <a:pt x="385" y="579"/>
                    <a:pt x="427" y="621"/>
                    <a:pt x="478" y="621"/>
                  </a:cubicBezTo>
                  <a:cubicBezTo>
                    <a:pt x="529" y="621"/>
                    <a:pt x="571" y="579"/>
                    <a:pt x="571" y="528"/>
                  </a:cubicBezTo>
                  <a:cubicBezTo>
                    <a:pt x="571" y="145"/>
                    <a:pt x="571" y="145"/>
                    <a:pt x="571" y="145"/>
                  </a:cubicBezTo>
                  <a:cubicBezTo>
                    <a:pt x="766" y="567"/>
                    <a:pt x="766" y="567"/>
                    <a:pt x="766" y="567"/>
                  </a:cubicBezTo>
                  <a:cubicBezTo>
                    <a:pt x="781" y="601"/>
                    <a:pt x="815" y="621"/>
                    <a:pt x="850" y="621"/>
                  </a:cubicBezTo>
                  <a:cubicBezTo>
                    <a:pt x="863" y="621"/>
                    <a:pt x="877" y="618"/>
                    <a:pt x="889" y="612"/>
                  </a:cubicBezTo>
                  <a:cubicBezTo>
                    <a:pt x="936" y="591"/>
                    <a:pt x="956" y="535"/>
                    <a:pt x="935" y="48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sp>
          <p:nvSpPr>
            <p:cNvPr id="54" name="Freeform 20">
              <a:extLst>
                <a:ext uri="{FF2B5EF4-FFF2-40B4-BE49-F238E27FC236}">
                  <a16:creationId xmlns:a16="http://schemas.microsoft.com/office/drawing/2014/main" id="{C05DC97E-FF27-4A1E-889A-AE842110A93E}"/>
                </a:ext>
              </a:extLst>
            </p:cNvPr>
            <p:cNvSpPr>
              <a:spLocks/>
            </p:cNvSpPr>
            <p:nvPr/>
          </p:nvSpPr>
          <p:spPr bwMode="auto">
            <a:xfrm>
              <a:off x="5322888" y="1943101"/>
              <a:ext cx="312738" cy="560388"/>
            </a:xfrm>
            <a:custGeom>
              <a:avLst/>
              <a:gdLst>
                <a:gd name="T0" fmla="*/ 311 w 312"/>
                <a:gd name="T1" fmla="*/ 31 h 559"/>
                <a:gd name="T2" fmla="*/ 312 w 312"/>
                <a:gd name="T3" fmla="*/ 0 h 559"/>
                <a:gd name="T4" fmla="*/ 93 w 312"/>
                <a:gd name="T5" fmla="*/ 0 h 559"/>
                <a:gd name="T6" fmla="*/ 0 w 312"/>
                <a:gd name="T7" fmla="*/ 93 h 559"/>
                <a:gd name="T8" fmla="*/ 0 w 312"/>
                <a:gd name="T9" fmla="*/ 187 h 559"/>
                <a:gd name="T10" fmla="*/ 0 w 312"/>
                <a:gd name="T11" fmla="*/ 373 h 559"/>
                <a:gd name="T12" fmla="*/ 0 w 312"/>
                <a:gd name="T13" fmla="*/ 466 h 559"/>
                <a:gd name="T14" fmla="*/ 93 w 312"/>
                <a:gd name="T15" fmla="*/ 559 h 559"/>
                <a:gd name="T16" fmla="*/ 312 w 312"/>
                <a:gd name="T17" fmla="*/ 559 h 559"/>
                <a:gd name="T18" fmla="*/ 311 w 312"/>
                <a:gd name="T19" fmla="*/ 528 h 559"/>
                <a:gd name="T20" fmla="*/ 311 w 312"/>
                <a:gd name="T21" fmla="*/ 31 h 5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2" h="559">
                  <a:moveTo>
                    <a:pt x="311" y="31"/>
                  </a:moveTo>
                  <a:cubicBezTo>
                    <a:pt x="311" y="21"/>
                    <a:pt x="311" y="11"/>
                    <a:pt x="312" y="0"/>
                  </a:cubicBezTo>
                  <a:cubicBezTo>
                    <a:pt x="93" y="0"/>
                    <a:pt x="93" y="0"/>
                    <a:pt x="93" y="0"/>
                  </a:cubicBezTo>
                  <a:cubicBezTo>
                    <a:pt x="42" y="0"/>
                    <a:pt x="0" y="42"/>
                    <a:pt x="0" y="93"/>
                  </a:cubicBezTo>
                  <a:cubicBezTo>
                    <a:pt x="0" y="187"/>
                    <a:pt x="0" y="187"/>
                    <a:pt x="0" y="187"/>
                  </a:cubicBezTo>
                  <a:cubicBezTo>
                    <a:pt x="0" y="373"/>
                    <a:pt x="0" y="373"/>
                    <a:pt x="0" y="373"/>
                  </a:cubicBezTo>
                  <a:cubicBezTo>
                    <a:pt x="0" y="466"/>
                    <a:pt x="0" y="466"/>
                    <a:pt x="0" y="466"/>
                  </a:cubicBezTo>
                  <a:cubicBezTo>
                    <a:pt x="0" y="517"/>
                    <a:pt x="42" y="559"/>
                    <a:pt x="93" y="559"/>
                  </a:cubicBezTo>
                  <a:cubicBezTo>
                    <a:pt x="312" y="559"/>
                    <a:pt x="312" y="559"/>
                    <a:pt x="312" y="559"/>
                  </a:cubicBezTo>
                  <a:cubicBezTo>
                    <a:pt x="311" y="549"/>
                    <a:pt x="311" y="538"/>
                    <a:pt x="311" y="528"/>
                  </a:cubicBezTo>
                  <a:lnTo>
                    <a:pt x="31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sp>
          <p:nvSpPr>
            <p:cNvPr id="55" name="Freeform 21">
              <a:extLst>
                <a:ext uri="{FF2B5EF4-FFF2-40B4-BE49-F238E27FC236}">
                  <a16:creationId xmlns:a16="http://schemas.microsoft.com/office/drawing/2014/main" id="{781C6CFE-3AAA-4413-BA26-032FF3AF0ADB}"/>
                </a:ext>
              </a:extLst>
            </p:cNvPr>
            <p:cNvSpPr>
              <a:spLocks/>
            </p:cNvSpPr>
            <p:nvPr/>
          </p:nvSpPr>
          <p:spPr bwMode="auto">
            <a:xfrm>
              <a:off x="5821363" y="1755776"/>
              <a:ext cx="1181100" cy="935038"/>
            </a:xfrm>
            <a:custGeom>
              <a:avLst/>
              <a:gdLst>
                <a:gd name="T0" fmla="*/ 1086 w 1179"/>
                <a:gd name="T1" fmla="*/ 0 h 931"/>
                <a:gd name="T2" fmla="*/ 993 w 1179"/>
                <a:gd name="T3" fmla="*/ 93 h 931"/>
                <a:gd name="T4" fmla="*/ 993 w 1179"/>
                <a:gd name="T5" fmla="*/ 124 h 931"/>
                <a:gd name="T6" fmla="*/ 325 w 1179"/>
                <a:gd name="T7" fmla="*/ 124 h 931"/>
                <a:gd name="T8" fmla="*/ 196 w 1179"/>
                <a:gd name="T9" fmla="*/ 124 h 931"/>
                <a:gd name="T10" fmla="*/ 93 w 1179"/>
                <a:gd name="T11" fmla="*/ 124 h 931"/>
                <a:gd name="T12" fmla="*/ 5 w 1179"/>
                <a:gd name="T13" fmla="*/ 186 h 931"/>
                <a:gd name="T14" fmla="*/ 0 w 1179"/>
                <a:gd name="T15" fmla="*/ 217 h 931"/>
                <a:gd name="T16" fmla="*/ 0 w 1179"/>
                <a:gd name="T17" fmla="*/ 693 h 931"/>
                <a:gd name="T18" fmla="*/ 0 w 1179"/>
                <a:gd name="T19" fmla="*/ 714 h 931"/>
                <a:gd name="T20" fmla="*/ 5 w 1179"/>
                <a:gd name="T21" fmla="*/ 745 h 931"/>
                <a:gd name="T22" fmla="*/ 93 w 1179"/>
                <a:gd name="T23" fmla="*/ 807 h 931"/>
                <a:gd name="T24" fmla="*/ 196 w 1179"/>
                <a:gd name="T25" fmla="*/ 807 h 931"/>
                <a:gd name="T26" fmla="*/ 238 w 1179"/>
                <a:gd name="T27" fmla="*/ 807 h 931"/>
                <a:gd name="T28" fmla="*/ 325 w 1179"/>
                <a:gd name="T29" fmla="*/ 807 h 931"/>
                <a:gd name="T30" fmla="*/ 854 w 1179"/>
                <a:gd name="T31" fmla="*/ 807 h 931"/>
                <a:gd name="T32" fmla="*/ 993 w 1179"/>
                <a:gd name="T33" fmla="*/ 807 h 931"/>
                <a:gd name="T34" fmla="*/ 993 w 1179"/>
                <a:gd name="T35" fmla="*/ 838 h 931"/>
                <a:gd name="T36" fmla="*/ 1086 w 1179"/>
                <a:gd name="T37" fmla="*/ 931 h 931"/>
                <a:gd name="T38" fmla="*/ 1179 w 1179"/>
                <a:gd name="T39" fmla="*/ 838 h 931"/>
                <a:gd name="T40" fmla="*/ 1179 w 1179"/>
                <a:gd name="T41" fmla="*/ 714 h 931"/>
                <a:gd name="T42" fmla="*/ 1179 w 1179"/>
                <a:gd name="T43" fmla="*/ 217 h 931"/>
                <a:gd name="T44" fmla="*/ 1179 w 1179"/>
                <a:gd name="T45" fmla="*/ 93 h 931"/>
                <a:gd name="T46" fmla="*/ 1086 w 1179"/>
                <a:gd name="T47" fmla="*/ 0 h 9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79" h="931">
                  <a:moveTo>
                    <a:pt x="1086" y="0"/>
                  </a:moveTo>
                  <a:cubicBezTo>
                    <a:pt x="1034" y="0"/>
                    <a:pt x="993" y="42"/>
                    <a:pt x="993" y="93"/>
                  </a:cubicBezTo>
                  <a:cubicBezTo>
                    <a:pt x="993" y="124"/>
                    <a:pt x="993" y="124"/>
                    <a:pt x="993" y="124"/>
                  </a:cubicBezTo>
                  <a:cubicBezTo>
                    <a:pt x="325" y="124"/>
                    <a:pt x="325" y="124"/>
                    <a:pt x="325" y="124"/>
                  </a:cubicBezTo>
                  <a:cubicBezTo>
                    <a:pt x="196" y="124"/>
                    <a:pt x="196" y="124"/>
                    <a:pt x="196" y="124"/>
                  </a:cubicBezTo>
                  <a:cubicBezTo>
                    <a:pt x="93" y="124"/>
                    <a:pt x="93" y="124"/>
                    <a:pt x="93" y="124"/>
                  </a:cubicBezTo>
                  <a:cubicBezTo>
                    <a:pt x="52" y="124"/>
                    <a:pt x="18" y="150"/>
                    <a:pt x="5" y="186"/>
                  </a:cubicBezTo>
                  <a:cubicBezTo>
                    <a:pt x="2" y="196"/>
                    <a:pt x="0" y="207"/>
                    <a:pt x="0" y="217"/>
                  </a:cubicBezTo>
                  <a:cubicBezTo>
                    <a:pt x="0" y="693"/>
                    <a:pt x="0" y="693"/>
                    <a:pt x="0" y="693"/>
                  </a:cubicBezTo>
                  <a:cubicBezTo>
                    <a:pt x="0" y="714"/>
                    <a:pt x="0" y="714"/>
                    <a:pt x="0" y="714"/>
                  </a:cubicBezTo>
                  <a:cubicBezTo>
                    <a:pt x="0" y="725"/>
                    <a:pt x="2" y="735"/>
                    <a:pt x="5" y="745"/>
                  </a:cubicBezTo>
                  <a:cubicBezTo>
                    <a:pt x="18" y="781"/>
                    <a:pt x="52" y="807"/>
                    <a:pt x="93" y="807"/>
                  </a:cubicBezTo>
                  <a:cubicBezTo>
                    <a:pt x="196" y="807"/>
                    <a:pt x="196" y="807"/>
                    <a:pt x="196" y="807"/>
                  </a:cubicBezTo>
                  <a:cubicBezTo>
                    <a:pt x="238" y="807"/>
                    <a:pt x="238" y="807"/>
                    <a:pt x="238" y="807"/>
                  </a:cubicBezTo>
                  <a:cubicBezTo>
                    <a:pt x="325" y="807"/>
                    <a:pt x="325" y="807"/>
                    <a:pt x="325" y="807"/>
                  </a:cubicBezTo>
                  <a:cubicBezTo>
                    <a:pt x="854" y="807"/>
                    <a:pt x="854" y="807"/>
                    <a:pt x="854" y="807"/>
                  </a:cubicBezTo>
                  <a:cubicBezTo>
                    <a:pt x="993" y="807"/>
                    <a:pt x="993" y="807"/>
                    <a:pt x="993" y="807"/>
                  </a:cubicBezTo>
                  <a:cubicBezTo>
                    <a:pt x="993" y="838"/>
                    <a:pt x="993" y="838"/>
                    <a:pt x="993" y="838"/>
                  </a:cubicBezTo>
                  <a:cubicBezTo>
                    <a:pt x="993" y="889"/>
                    <a:pt x="1035" y="931"/>
                    <a:pt x="1086" y="931"/>
                  </a:cubicBezTo>
                  <a:cubicBezTo>
                    <a:pt x="1137" y="931"/>
                    <a:pt x="1179" y="889"/>
                    <a:pt x="1179" y="838"/>
                  </a:cubicBezTo>
                  <a:cubicBezTo>
                    <a:pt x="1179" y="714"/>
                    <a:pt x="1179" y="714"/>
                    <a:pt x="1179" y="714"/>
                  </a:cubicBezTo>
                  <a:cubicBezTo>
                    <a:pt x="1179" y="217"/>
                    <a:pt x="1179" y="217"/>
                    <a:pt x="1179" y="217"/>
                  </a:cubicBezTo>
                  <a:cubicBezTo>
                    <a:pt x="1179" y="93"/>
                    <a:pt x="1179" y="93"/>
                    <a:pt x="1179" y="93"/>
                  </a:cubicBezTo>
                  <a:cubicBezTo>
                    <a:pt x="1179" y="42"/>
                    <a:pt x="1137" y="0"/>
                    <a:pt x="108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grpSp>
      <p:grpSp>
        <p:nvGrpSpPr>
          <p:cNvPr id="92" name="组合 91">
            <a:extLst>
              <a:ext uri="{FF2B5EF4-FFF2-40B4-BE49-F238E27FC236}">
                <a16:creationId xmlns:a16="http://schemas.microsoft.com/office/drawing/2014/main" id="{92E37C69-94DC-40D9-809B-1173A754826E}"/>
              </a:ext>
            </a:extLst>
          </p:cNvPr>
          <p:cNvGrpSpPr/>
          <p:nvPr/>
        </p:nvGrpSpPr>
        <p:grpSpPr>
          <a:xfrm>
            <a:off x="2777088" y="2337157"/>
            <a:ext cx="2859171" cy="881603"/>
            <a:chOff x="2802488" y="2609541"/>
            <a:chExt cx="2859171" cy="881603"/>
          </a:xfrm>
        </p:grpSpPr>
        <p:sp>
          <p:nvSpPr>
            <p:cNvPr id="81" name="TextBox 65">
              <a:extLst>
                <a:ext uri="{FF2B5EF4-FFF2-40B4-BE49-F238E27FC236}">
                  <a16:creationId xmlns:a16="http://schemas.microsoft.com/office/drawing/2014/main" id="{18B46AE0-5027-4164-A0F2-2AE593FD1A5E}"/>
                </a:ext>
              </a:extLst>
            </p:cNvPr>
            <p:cNvSpPr txBox="1"/>
            <p:nvPr/>
          </p:nvSpPr>
          <p:spPr>
            <a:xfrm flipH="1">
              <a:off x="2802489" y="2609541"/>
              <a:ext cx="2056261" cy="387598"/>
            </a:xfrm>
            <a:prstGeom prst="rect">
              <a:avLst/>
            </a:prstGeom>
            <a:noFill/>
          </p:spPr>
          <p:txBody>
            <a:bodyPr wrap="square" lIns="0" tIns="36000" rIns="0" bIns="36000" rtlCol="0">
              <a:spAutoFit/>
            </a:bodyPr>
            <a:lstStyle/>
            <a:p>
              <a:pPr marL="0" marR="0" lvl="0" indent="0" algn="l" defTabSz="914400" rtl="0" eaLnBrk="1" fontAlgn="auto" latinLnBrk="0" hangingPunct="1">
                <a:lnSpc>
                  <a:spcPct val="120000"/>
                </a:lnSpc>
                <a:spcBef>
                  <a:spcPts val="600"/>
                </a:spcBef>
                <a:spcAft>
                  <a:spcPts val="0"/>
                </a:spcAft>
                <a:buClrTx/>
                <a:buSzTx/>
                <a:buFontTx/>
                <a:buNone/>
                <a:tabLst/>
                <a:defRPr/>
              </a:pPr>
              <a:r>
                <a:rPr kumimoji="0" lang="zh-CN" altLang="en-US" sz="1800" b="0" i="0" u="none" strike="noStrike" kern="1200" cap="none" spc="0" normalizeH="0" baseline="0" noProof="0" dirty="0">
                  <a:ln>
                    <a:noFill/>
                  </a:ln>
                  <a:solidFill>
                    <a:schemeClr val="accent1"/>
                  </a:solidFill>
                  <a:effectLst/>
                  <a:uLnTx/>
                  <a:uFillTx/>
                  <a:latin typeface="HarmonyOS Sans SC Black"/>
                  <a:ea typeface="+mj-ea"/>
                  <a:cs typeface="+mn-cs"/>
                </a:rPr>
                <a:t>关键词标题</a:t>
              </a:r>
              <a:endParaRPr kumimoji="0" lang="en-US" sz="1800" b="0" i="0" u="none" strike="noStrike" kern="1200" cap="none" spc="0" normalizeH="0" baseline="0" noProof="0" dirty="0">
                <a:ln>
                  <a:noFill/>
                </a:ln>
                <a:solidFill>
                  <a:schemeClr val="accent1"/>
                </a:solidFill>
                <a:effectLst/>
                <a:uLnTx/>
                <a:uFillTx/>
                <a:latin typeface="HarmonyOS Sans SC Black"/>
                <a:ea typeface="+mj-ea"/>
                <a:cs typeface="+mn-cs"/>
              </a:endParaRPr>
            </a:p>
          </p:txBody>
        </p:sp>
        <p:sp>
          <p:nvSpPr>
            <p:cNvPr id="82" name="TextBox 65">
              <a:extLst>
                <a:ext uri="{FF2B5EF4-FFF2-40B4-BE49-F238E27FC236}">
                  <a16:creationId xmlns:a16="http://schemas.microsoft.com/office/drawing/2014/main" id="{C2A3FA6F-A167-4F0F-9B61-36C75A170F37}"/>
                </a:ext>
              </a:extLst>
            </p:cNvPr>
            <p:cNvSpPr txBox="1"/>
            <p:nvPr/>
          </p:nvSpPr>
          <p:spPr>
            <a:xfrm flipH="1">
              <a:off x="2802488" y="2992940"/>
              <a:ext cx="2859171" cy="498204"/>
            </a:xfrm>
            <a:prstGeom prst="rect">
              <a:avLst/>
            </a:prstGeom>
            <a:noFill/>
          </p:spPr>
          <p:txBody>
            <a:bodyPr wrap="square" lIns="0" tIns="36000" rIns="0" bIns="36000" rtlCol="0">
              <a:spAutoFit/>
            </a:bodyPr>
            <a:lstStyle/>
            <a:p>
              <a:pPr marL="0" marR="0" lvl="0" indent="0" algn="l" defTabSz="914400" rtl="0" eaLnBrk="1" fontAlgn="auto" latinLnBrk="0" hangingPunct="1">
                <a:lnSpc>
                  <a:spcPct val="120000"/>
                </a:lnSpc>
                <a:spcBef>
                  <a:spcPts val="600"/>
                </a:spcBef>
                <a:spcAft>
                  <a:spcPts val="0"/>
                </a:spcAft>
                <a:buClrTx/>
                <a:buSzTx/>
                <a:buFontTx/>
                <a:buNone/>
                <a:tabLst/>
                <a:defRPr/>
              </a:pPr>
              <a:r>
                <a:rPr kumimoji="0" lang="en-US" sz="1200" b="0" i="0" u="none" strike="noStrike" kern="1200" cap="none" spc="0" normalizeH="0" baseline="0" noProof="0" dirty="0">
                  <a:ln>
                    <a:noFill/>
                  </a:ln>
                  <a:solidFill>
                    <a:prstClr val="black">
                      <a:lumMod val="50000"/>
                      <a:lumOff val="50000"/>
                    </a:prstClr>
                  </a:solidFill>
                  <a:effectLst/>
                  <a:uLnTx/>
                  <a:uFillTx/>
                  <a:latin typeface="HarmonyOS Sans SC"/>
                  <a:cs typeface="+mn-cs"/>
                </a:rPr>
                <a:t>Apparently we had reached a great height in the.</a:t>
              </a:r>
            </a:p>
          </p:txBody>
        </p:sp>
      </p:grpSp>
      <p:sp>
        <p:nvSpPr>
          <p:cNvPr id="9" name="Freeform 19">
            <a:extLst>
              <a:ext uri="{FF2B5EF4-FFF2-40B4-BE49-F238E27FC236}">
                <a16:creationId xmlns:a16="http://schemas.microsoft.com/office/drawing/2014/main" id="{11FE75B5-4A4B-4E29-97B8-1D9C53F1CB37}"/>
              </a:ext>
            </a:extLst>
          </p:cNvPr>
          <p:cNvSpPr>
            <a:spLocks/>
          </p:cNvSpPr>
          <p:nvPr/>
        </p:nvSpPr>
        <p:spPr bwMode="auto">
          <a:xfrm>
            <a:off x="8784314" y="4121862"/>
            <a:ext cx="12700" cy="7937"/>
          </a:xfrm>
          <a:custGeom>
            <a:avLst/>
            <a:gdLst>
              <a:gd name="T0" fmla="*/ 3 w 3"/>
              <a:gd name="T1" fmla="*/ 0 h 2"/>
              <a:gd name="T2" fmla="*/ 0 w 3"/>
              <a:gd name="T3" fmla="*/ 0 h 2"/>
              <a:gd name="T4" fmla="*/ 0 w 3"/>
              <a:gd name="T5" fmla="*/ 2 h 2"/>
              <a:gd name="T6" fmla="*/ 3 w 3"/>
              <a:gd name="T7" fmla="*/ 2 h 2"/>
              <a:gd name="T8" fmla="*/ 3 w 3"/>
              <a:gd name="T9" fmla="*/ 2 h 2"/>
              <a:gd name="T10" fmla="*/ 3 w 3"/>
              <a:gd name="T11" fmla="*/ 2 h 2"/>
              <a:gd name="T12" fmla="*/ 3 w 3"/>
              <a:gd name="T13" fmla="*/ 0 h 2"/>
              <a:gd name="T14" fmla="*/ 3 w 3"/>
              <a:gd name="T15" fmla="*/ 0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2">
                <a:moveTo>
                  <a:pt x="3" y="0"/>
                </a:moveTo>
                <a:cubicBezTo>
                  <a:pt x="0" y="0"/>
                  <a:pt x="0" y="0"/>
                  <a:pt x="0" y="0"/>
                </a:cubicBezTo>
                <a:cubicBezTo>
                  <a:pt x="0" y="2"/>
                  <a:pt x="0" y="2"/>
                  <a:pt x="0" y="2"/>
                </a:cubicBezTo>
                <a:cubicBezTo>
                  <a:pt x="3" y="2"/>
                  <a:pt x="3" y="2"/>
                  <a:pt x="3" y="2"/>
                </a:cubicBezTo>
                <a:cubicBezTo>
                  <a:pt x="3" y="2"/>
                  <a:pt x="3" y="2"/>
                  <a:pt x="3" y="2"/>
                </a:cubicBezTo>
                <a:cubicBezTo>
                  <a:pt x="3" y="2"/>
                  <a:pt x="3" y="2"/>
                  <a:pt x="3" y="2"/>
                </a:cubicBezTo>
                <a:cubicBezTo>
                  <a:pt x="3" y="0"/>
                  <a:pt x="3" y="0"/>
                  <a:pt x="3" y="0"/>
                </a:cubicBezTo>
                <a:cubicBezTo>
                  <a:pt x="3" y="0"/>
                  <a:pt x="3" y="0"/>
                  <a:pt x="3" y="0"/>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sp>
        <p:nvSpPr>
          <p:cNvPr id="34" name="Freeform 51">
            <a:extLst>
              <a:ext uri="{FF2B5EF4-FFF2-40B4-BE49-F238E27FC236}">
                <a16:creationId xmlns:a16="http://schemas.microsoft.com/office/drawing/2014/main" id="{40AA263B-88BE-47AF-B48D-C384495E3BB4}"/>
              </a:ext>
            </a:extLst>
          </p:cNvPr>
          <p:cNvSpPr>
            <a:spLocks noEditPoints="1"/>
          </p:cNvSpPr>
          <p:nvPr/>
        </p:nvSpPr>
        <p:spPr bwMode="auto">
          <a:xfrm>
            <a:off x="6133189" y="3810712"/>
            <a:ext cx="1287462" cy="0"/>
          </a:xfrm>
          <a:custGeom>
            <a:avLst/>
            <a:gdLst>
              <a:gd name="T0" fmla="*/ 61 w 811"/>
              <a:gd name="T1" fmla="*/ 0 w 811"/>
              <a:gd name="T2" fmla="*/ 0 w 811"/>
              <a:gd name="T3" fmla="*/ 61 w 811"/>
              <a:gd name="T4" fmla="*/ 61 w 811"/>
              <a:gd name="T5" fmla="*/ 153 w 811"/>
              <a:gd name="T6" fmla="*/ 92 w 811"/>
              <a:gd name="T7" fmla="*/ 92 w 811"/>
              <a:gd name="T8" fmla="*/ 153 w 811"/>
              <a:gd name="T9" fmla="*/ 153 w 811"/>
              <a:gd name="T10" fmla="*/ 245 w 811"/>
              <a:gd name="T11" fmla="*/ 184 w 811"/>
              <a:gd name="T12" fmla="*/ 184 w 811"/>
              <a:gd name="T13" fmla="*/ 245 w 811"/>
              <a:gd name="T14" fmla="*/ 245 w 811"/>
              <a:gd name="T15" fmla="*/ 337 w 811"/>
              <a:gd name="T16" fmla="*/ 275 w 811"/>
              <a:gd name="T17" fmla="*/ 275 w 811"/>
              <a:gd name="T18" fmla="*/ 337 w 811"/>
              <a:gd name="T19" fmla="*/ 337 w 811"/>
              <a:gd name="T20" fmla="*/ 428 w 811"/>
              <a:gd name="T21" fmla="*/ 367 w 811"/>
              <a:gd name="T22" fmla="*/ 367 w 811"/>
              <a:gd name="T23" fmla="*/ 428 w 811"/>
              <a:gd name="T24" fmla="*/ 428 w 811"/>
              <a:gd name="T25" fmla="*/ 520 w 811"/>
              <a:gd name="T26" fmla="*/ 459 w 811"/>
              <a:gd name="T27" fmla="*/ 459 w 811"/>
              <a:gd name="T28" fmla="*/ 520 w 811"/>
              <a:gd name="T29" fmla="*/ 520 w 811"/>
              <a:gd name="T30" fmla="*/ 612 w 811"/>
              <a:gd name="T31" fmla="*/ 551 w 811"/>
              <a:gd name="T32" fmla="*/ 551 w 811"/>
              <a:gd name="T33" fmla="*/ 612 w 811"/>
              <a:gd name="T34" fmla="*/ 612 w 811"/>
              <a:gd name="T35" fmla="*/ 704 w 811"/>
              <a:gd name="T36" fmla="*/ 643 w 811"/>
              <a:gd name="T37" fmla="*/ 643 w 811"/>
              <a:gd name="T38" fmla="*/ 704 w 811"/>
              <a:gd name="T39" fmla="*/ 704 w 811"/>
              <a:gd name="T40" fmla="*/ 811 w 811"/>
              <a:gd name="T41" fmla="*/ 734 w 811"/>
              <a:gd name="T42" fmla="*/ 734 w 811"/>
              <a:gd name="T43" fmla="*/ 811 w 811"/>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 ang="0">
                <a:pos x="T11" y="0"/>
              </a:cxn>
              <a:cxn ang="0">
                <a:pos x="T12" y="0"/>
              </a:cxn>
              <a:cxn ang="0">
                <a:pos x="T13" y="0"/>
              </a:cxn>
              <a:cxn ang="0">
                <a:pos x="T14" y="0"/>
              </a:cxn>
              <a:cxn ang="0">
                <a:pos x="T15" y="0"/>
              </a:cxn>
              <a:cxn ang="0">
                <a:pos x="T16" y="0"/>
              </a:cxn>
              <a:cxn ang="0">
                <a:pos x="T17" y="0"/>
              </a:cxn>
              <a:cxn ang="0">
                <a:pos x="T18" y="0"/>
              </a:cxn>
              <a:cxn ang="0">
                <a:pos x="T19" y="0"/>
              </a:cxn>
              <a:cxn ang="0">
                <a:pos x="T20" y="0"/>
              </a:cxn>
              <a:cxn ang="0">
                <a:pos x="T21" y="0"/>
              </a:cxn>
              <a:cxn ang="0">
                <a:pos x="T22" y="0"/>
              </a:cxn>
              <a:cxn ang="0">
                <a:pos x="T23" y="0"/>
              </a:cxn>
              <a:cxn ang="0">
                <a:pos x="T24" y="0"/>
              </a:cxn>
              <a:cxn ang="0">
                <a:pos x="T25" y="0"/>
              </a:cxn>
              <a:cxn ang="0">
                <a:pos x="T26" y="0"/>
              </a:cxn>
              <a:cxn ang="0">
                <a:pos x="T27" y="0"/>
              </a:cxn>
              <a:cxn ang="0">
                <a:pos x="T28" y="0"/>
              </a:cxn>
              <a:cxn ang="0">
                <a:pos x="T29" y="0"/>
              </a:cxn>
              <a:cxn ang="0">
                <a:pos x="T30" y="0"/>
              </a:cxn>
              <a:cxn ang="0">
                <a:pos x="T31" y="0"/>
              </a:cxn>
              <a:cxn ang="0">
                <a:pos x="T32" y="0"/>
              </a:cxn>
              <a:cxn ang="0">
                <a:pos x="T33" y="0"/>
              </a:cxn>
              <a:cxn ang="0">
                <a:pos x="T34" y="0"/>
              </a:cxn>
              <a:cxn ang="0">
                <a:pos x="T35" y="0"/>
              </a:cxn>
              <a:cxn ang="0">
                <a:pos x="T36" y="0"/>
              </a:cxn>
              <a:cxn ang="0">
                <a:pos x="T37" y="0"/>
              </a:cxn>
              <a:cxn ang="0">
                <a:pos x="T38" y="0"/>
              </a:cxn>
              <a:cxn ang="0">
                <a:pos x="T39" y="0"/>
              </a:cxn>
              <a:cxn ang="0">
                <a:pos x="T40" y="0"/>
              </a:cxn>
              <a:cxn ang="0">
                <a:pos x="T41" y="0"/>
              </a:cxn>
              <a:cxn ang="0">
                <a:pos x="T42" y="0"/>
              </a:cxn>
              <a:cxn ang="0">
                <a:pos x="T43" y="0"/>
              </a:cxn>
            </a:cxnLst>
            <a:rect l="0" t="0" r="r" b="b"/>
            <a:pathLst>
              <a:path w="811">
                <a:moveTo>
                  <a:pt x="61" y="0"/>
                </a:moveTo>
                <a:lnTo>
                  <a:pt x="0" y="0"/>
                </a:lnTo>
                <a:lnTo>
                  <a:pt x="0" y="0"/>
                </a:lnTo>
                <a:lnTo>
                  <a:pt x="61" y="0"/>
                </a:lnTo>
                <a:lnTo>
                  <a:pt x="61" y="0"/>
                </a:lnTo>
                <a:close/>
                <a:moveTo>
                  <a:pt x="153" y="0"/>
                </a:moveTo>
                <a:lnTo>
                  <a:pt x="92" y="0"/>
                </a:lnTo>
                <a:lnTo>
                  <a:pt x="92" y="0"/>
                </a:lnTo>
                <a:lnTo>
                  <a:pt x="153" y="0"/>
                </a:lnTo>
                <a:lnTo>
                  <a:pt x="153" y="0"/>
                </a:lnTo>
                <a:close/>
                <a:moveTo>
                  <a:pt x="245" y="0"/>
                </a:moveTo>
                <a:lnTo>
                  <a:pt x="184" y="0"/>
                </a:lnTo>
                <a:lnTo>
                  <a:pt x="184" y="0"/>
                </a:lnTo>
                <a:lnTo>
                  <a:pt x="245" y="0"/>
                </a:lnTo>
                <a:lnTo>
                  <a:pt x="245" y="0"/>
                </a:lnTo>
                <a:close/>
                <a:moveTo>
                  <a:pt x="337" y="0"/>
                </a:moveTo>
                <a:lnTo>
                  <a:pt x="275" y="0"/>
                </a:lnTo>
                <a:lnTo>
                  <a:pt x="275" y="0"/>
                </a:lnTo>
                <a:lnTo>
                  <a:pt x="337" y="0"/>
                </a:lnTo>
                <a:lnTo>
                  <a:pt x="337" y="0"/>
                </a:lnTo>
                <a:close/>
                <a:moveTo>
                  <a:pt x="428" y="0"/>
                </a:moveTo>
                <a:lnTo>
                  <a:pt x="367" y="0"/>
                </a:lnTo>
                <a:lnTo>
                  <a:pt x="367" y="0"/>
                </a:lnTo>
                <a:lnTo>
                  <a:pt x="428" y="0"/>
                </a:lnTo>
                <a:lnTo>
                  <a:pt x="428" y="0"/>
                </a:lnTo>
                <a:close/>
                <a:moveTo>
                  <a:pt x="520" y="0"/>
                </a:moveTo>
                <a:lnTo>
                  <a:pt x="459" y="0"/>
                </a:lnTo>
                <a:lnTo>
                  <a:pt x="459" y="0"/>
                </a:lnTo>
                <a:lnTo>
                  <a:pt x="520" y="0"/>
                </a:lnTo>
                <a:lnTo>
                  <a:pt x="520" y="0"/>
                </a:lnTo>
                <a:close/>
                <a:moveTo>
                  <a:pt x="612" y="0"/>
                </a:moveTo>
                <a:lnTo>
                  <a:pt x="551" y="0"/>
                </a:lnTo>
                <a:lnTo>
                  <a:pt x="551" y="0"/>
                </a:lnTo>
                <a:lnTo>
                  <a:pt x="612" y="0"/>
                </a:lnTo>
                <a:lnTo>
                  <a:pt x="612" y="0"/>
                </a:lnTo>
                <a:close/>
                <a:moveTo>
                  <a:pt x="704" y="0"/>
                </a:moveTo>
                <a:lnTo>
                  <a:pt x="643" y="0"/>
                </a:lnTo>
                <a:lnTo>
                  <a:pt x="643" y="0"/>
                </a:lnTo>
                <a:lnTo>
                  <a:pt x="704" y="0"/>
                </a:lnTo>
                <a:lnTo>
                  <a:pt x="704" y="0"/>
                </a:lnTo>
                <a:close/>
                <a:moveTo>
                  <a:pt x="811" y="0"/>
                </a:moveTo>
                <a:lnTo>
                  <a:pt x="734" y="0"/>
                </a:lnTo>
                <a:lnTo>
                  <a:pt x="734" y="0"/>
                </a:lnTo>
                <a:lnTo>
                  <a:pt x="811" y="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sp>
        <p:nvSpPr>
          <p:cNvPr id="35" name="Freeform 52">
            <a:extLst>
              <a:ext uri="{FF2B5EF4-FFF2-40B4-BE49-F238E27FC236}">
                <a16:creationId xmlns:a16="http://schemas.microsoft.com/office/drawing/2014/main" id="{B96E44D3-C0D5-4258-A0A8-6BB0F84201BF}"/>
              </a:ext>
            </a:extLst>
          </p:cNvPr>
          <p:cNvSpPr>
            <a:spLocks noEditPoints="1"/>
          </p:cNvSpPr>
          <p:nvPr/>
        </p:nvSpPr>
        <p:spPr bwMode="auto">
          <a:xfrm>
            <a:off x="6133189" y="3810712"/>
            <a:ext cx="1287462" cy="0"/>
          </a:xfrm>
          <a:custGeom>
            <a:avLst/>
            <a:gdLst>
              <a:gd name="T0" fmla="*/ 61 w 811"/>
              <a:gd name="T1" fmla="*/ 0 w 811"/>
              <a:gd name="T2" fmla="*/ 0 w 811"/>
              <a:gd name="T3" fmla="*/ 61 w 811"/>
              <a:gd name="T4" fmla="*/ 61 w 811"/>
              <a:gd name="T5" fmla="*/ 153 w 811"/>
              <a:gd name="T6" fmla="*/ 92 w 811"/>
              <a:gd name="T7" fmla="*/ 92 w 811"/>
              <a:gd name="T8" fmla="*/ 153 w 811"/>
              <a:gd name="T9" fmla="*/ 153 w 811"/>
              <a:gd name="T10" fmla="*/ 245 w 811"/>
              <a:gd name="T11" fmla="*/ 184 w 811"/>
              <a:gd name="T12" fmla="*/ 184 w 811"/>
              <a:gd name="T13" fmla="*/ 245 w 811"/>
              <a:gd name="T14" fmla="*/ 245 w 811"/>
              <a:gd name="T15" fmla="*/ 337 w 811"/>
              <a:gd name="T16" fmla="*/ 275 w 811"/>
              <a:gd name="T17" fmla="*/ 275 w 811"/>
              <a:gd name="T18" fmla="*/ 337 w 811"/>
              <a:gd name="T19" fmla="*/ 337 w 811"/>
              <a:gd name="T20" fmla="*/ 428 w 811"/>
              <a:gd name="T21" fmla="*/ 367 w 811"/>
              <a:gd name="T22" fmla="*/ 367 w 811"/>
              <a:gd name="T23" fmla="*/ 428 w 811"/>
              <a:gd name="T24" fmla="*/ 428 w 811"/>
              <a:gd name="T25" fmla="*/ 520 w 811"/>
              <a:gd name="T26" fmla="*/ 459 w 811"/>
              <a:gd name="T27" fmla="*/ 459 w 811"/>
              <a:gd name="T28" fmla="*/ 520 w 811"/>
              <a:gd name="T29" fmla="*/ 520 w 811"/>
              <a:gd name="T30" fmla="*/ 612 w 811"/>
              <a:gd name="T31" fmla="*/ 551 w 811"/>
              <a:gd name="T32" fmla="*/ 551 w 811"/>
              <a:gd name="T33" fmla="*/ 612 w 811"/>
              <a:gd name="T34" fmla="*/ 612 w 811"/>
              <a:gd name="T35" fmla="*/ 704 w 811"/>
              <a:gd name="T36" fmla="*/ 643 w 811"/>
              <a:gd name="T37" fmla="*/ 643 w 811"/>
              <a:gd name="T38" fmla="*/ 704 w 811"/>
              <a:gd name="T39" fmla="*/ 704 w 811"/>
              <a:gd name="T40" fmla="*/ 811 w 811"/>
              <a:gd name="T41" fmla="*/ 734 w 811"/>
              <a:gd name="T42" fmla="*/ 734 w 811"/>
              <a:gd name="T43" fmla="*/ 811 w 811"/>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 ang="0">
                <a:pos x="T11" y="0"/>
              </a:cxn>
              <a:cxn ang="0">
                <a:pos x="T12" y="0"/>
              </a:cxn>
              <a:cxn ang="0">
                <a:pos x="T13" y="0"/>
              </a:cxn>
              <a:cxn ang="0">
                <a:pos x="T14" y="0"/>
              </a:cxn>
              <a:cxn ang="0">
                <a:pos x="T15" y="0"/>
              </a:cxn>
              <a:cxn ang="0">
                <a:pos x="T16" y="0"/>
              </a:cxn>
              <a:cxn ang="0">
                <a:pos x="T17" y="0"/>
              </a:cxn>
              <a:cxn ang="0">
                <a:pos x="T18" y="0"/>
              </a:cxn>
              <a:cxn ang="0">
                <a:pos x="T19" y="0"/>
              </a:cxn>
              <a:cxn ang="0">
                <a:pos x="T20" y="0"/>
              </a:cxn>
              <a:cxn ang="0">
                <a:pos x="T21" y="0"/>
              </a:cxn>
              <a:cxn ang="0">
                <a:pos x="T22" y="0"/>
              </a:cxn>
              <a:cxn ang="0">
                <a:pos x="T23" y="0"/>
              </a:cxn>
              <a:cxn ang="0">
                <a:pos x="T24" y="0"/>
              </a:cxn>
              <a:cxn ang="0">
                <a:pos x="T25" y="0"/>
              </a:cxn>
              <a:cxn ang="0">
                <a:pos x="T26" y="0"/>
              </a:cxn>
              <a:cxn ang="0">
                <a:pos x="T27" y="0"/>
              </a:cxn>
              <a:cxn ang="0">
                <a:pos x="T28" y="0"/>
              </a:cxn>
              <a:cxn ang="0">
                <a:pos x="T29" y="0"/>
              </a:cxn>
              <a:cxn ang="0">
                <a:pos x="T30" y="0"/>
              </a:cxn>
              <a:cxn ang="0">
                <a:pos x="T31" y="0"/>
              </a:cxn>
              <a:cxn ang="0">
                <a:pos x="T32" y="0"/>
              </a:cxn>
              <a:cxn ang="0">
                <a:pos x="T33" y="0"/>
              </a:cxn>
              <a:cxn ang="0">
                <a:pos x="T34" y="0"/>
              </a:cxn>
              <a:cxn ang="0">
                <a:pos x="T35" y="0"/>
              </a:cxn>
              <a:cxn ang="0">
                <a:pos x="T36" y="0"/>
              </a:cxn>
              <a:cxn ang="0">
                <a:pos x="T37" y="0"/>
              </a:cxn>
              <a:cxn ang="0">
                <a:pos x="T38" y="0"/>
              </a:cxn>
              <a:cxn ang="0">
                <a:pos x="T39" y="0"/>
              </a:cxn>
              <a:cxn ang="0">
                <a:pos x="T40" y="0"/>
              </a:cxn>
              <a:cxn ang="0">
                <a:pos x="T41" y="0"/>
              </a:cxn>
              <a:cxn ang="0">
                <a:pos x="T42" y="0"/>
              </a:cxn>
              <a:cxn ang="0">
                <a:pos x="T43" y="0"/>
              </a:cxn>
            </a:cxnLst>
            <a:rect l="0" t="0" r="r" b="b"/>
            <a:pathLst>
              <a:path w="811">
                <a:moveTo>
                  <a:pt x="61" y="0"/>
                </a:moveTo>
                <a:lnTo>
                  <a:pt x="0" y="0"/>
                </a:lnTo>
                <a:lnTo>
                  <a:pt x="0" y="0"/>
                </a:lnTo>
                <a:lnTo>
                  <a:pt x="61" y="0"/>
                </a:lnTo>
                <a:lnTo>
                  <a:pt x="61" y="0"/>
                </a:lnTo>
                <a:moveTo>
                  <a:pt x="153" y="0"/>
                </a:moveTo>
                <a:lnTo>
                  <a:pt x="92" y="0"/>
                </a:lnTo>
                <a:lnTo>
                  <a:pt x="92" y="0"/>
                </a:lnTo>
                <a:lnTo>
                  <a:pt x="153" y="0"/>
                </a:lnTo>
                <a:lnTo>
                  <a:pt x="153" y="0"/>
                </a:lnTo>
                <a:moveTo>
                  <a:pt x="245" y="0"/>
                </a:moveTo>
                <a:lnTo>
                  <a:pt x="184" y="0"/>
                </a:lnTo>
                <a:lnTo>
                  <a:pt x="184" y="0"/>
                </a:lnTo>
                <a:lnTo>
                  <a:pt x="245" y="0"/>
                </a:lnTo>
                <a:lnTo>
                  <a:pt x="245" y="0"/>
                </a:lnTo>
                <a:moveTo>
                  <a:pt x="337" y="0"/>
                </a:moveTo>
                <a:lnTo>
                  <a:pt x="275" y="0"/>
                </a:lnTo>
                <a:lnTo>
                  <a:pt x="275" y="0"/>
                </a:lnTo>
                <a:lnTo>
                  <a:pt x="337" y="0"/>
                </a:lnTo>
                <a:lnTo>
                  <a:pt x="337" y="0"/>
                </a:lnTo>
                <a:moveTo>
                  <a:pt x="428" y="0"/>
                </a:moveTo>
                <a:lnTo>
                  <a:pt x="367" y="0"/>
                </a:lnTo>
                <a:lnTo>
                  <a:pt x="367" y="0"/>
                </a:lnTo>
                <a:lnTo>
                  <a:pt x="428" y="0"/>
                </a:lnTo>
                <a:lnTo>
                  <a:pt x="428" y="0"/>
                </a:lnTo>
                <a:moveTo>
                  <a:pt x="520" y="0"/>
                </a:moveTo>
                <a:lnTo>
                  <a:pt x="459" y="0"/>
                </a:lnTo>
                <a:lnTo>
                  <a:pt x="459" y="0"/>
                </a:lnTo>
                <a:lnTo>
                  <a:pt x="520" y="0"/>
                </a:lnTo>
                <a:lnTo>
                  <a:pt x="520" y="0"/>
                </a:lnTo>
                <a:moveTo>
                  <a:pt x="612" y="0"/>
                </a:moveTo>
                <a:lnTo>
                  <a:pt x="551" y="0"/>
                </a:lnTo>
                <a:lnTo>
                  <a:pt x="551" y="0"/>
                </a:lnTo>
                <a:lnTo>
                  <a:pt x="612" y="0"/>
                </a:lnTo>
                <a:lnTo>
                  <a:pt x="612" y="0"/>
                </a:lnTo>
                <a:moveTo>
                  <a:pt x="704" y="0"/>
                </a:moveTo>
                <a:lnTo>
                  <a:pt x="643" y="0"/>
                </a:lnTo>
                <a:lnTo>
                  <a:pt x="643" y="0"/>
                </a:lnTo>
                <a:lnTo>
                  <a:pt x="704" y="0"/>
                </a:lnTo>
                <a:lnTo>
                  <a:pt x="704" y="0"/>
                </a:lnTo>
                <a:moveTo>
                  <a:pt x="811" y="0"/>
                </a:moveTo>
                <a:lnTo>
                  <a:pt x="734" y="0"/>
                </a:lnTo>
                <a:lnTo>
                  <a:pt x="734" y="0"/>
                </a:lnTo>
                <a:lnTo>
                  <a:pt x="81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sp>
        <p:nvSpPr>
          <p:cNvPr id="36" name="Freeform 53">
            <a:extLst>
              <a:ext uri="{FF2B5EF4-FFF2-40B4-BE49-F238E27FC236}">
                <a16:creationId xmlns:a16="http://schemas.microsoft.com/office/drawing/2014/main" id="{A636FC1B-B7A7-4EB5-B79B-8778D9006001}"/>
              </a:ext>
            </a:extLst>
          </p:cNvPr>
          <p:cNvSpPr>
            <a:spLocks noEditPoints="1"/>
          </p:cNvSpPr>
          <p:nvPr/>
        </p:nvSpPr>
        <p:spPr bwMode="auto">
          <a:xfrm>
            <a:off x="6085564" y="4095048"/>
            <a:ext cx="1212850" cy="47625"/>
          </a:xfrm>
          <a:custGeom>
            <a:avLst/>
            <a:gdLst>
              <a:gd name="T0" fmla="*/ 0 w 300"/>
              <a:gd name="T1" fmla="*/ 6 h 12"/>
              <a:gd name="T2" fmla="*/ 12 w 300"/>
              <a:gd name="T3" fmla="*/ 6 h 12"/>
              <a:gd name="T4" fmla="*/ 12 w 300"/>
              <a:gd name="T5" fmla="*/ 6 h 12"/>
              <a:gd name="T6" fmla="*/ 42 w 300"/>
              <a:gd name="T7" fmla="*/ 0 h 12"/>
              <a:gd name="T8" fmla="*/ 36 w 300"/>
              <a:gd name="T9" fmla="*/ 6 h 12"/>
              <a:gd name="T10" fmla="*/ 42 w 300"/>
              <a:gd name="T11" fmla="*/ 12 h 12"/>
              <a:gd name="T12" fmla="*/ 48 w 300"/>
              <a:gd name="T13" fmla="*/ 6 h 12"/>
              <a:gd name="T14" fmla="*/ 42 w 300"/>
              <a:gd name="T15" fmla="*/ 0 h 12"/>
              <a:gd name="T16" fmla="*/ 72 w 300"/>
              <a:gd name="T17" fmla="*/ 6 h 12"/>
              <a:gd name="T18" fmla="*/ 72 w 300"/>
              <a:gd name="T19" fmla="*/ 6 h 12"/>
              <a:gd name="T20" fmla="*/ 84 w 300"/>
              <a:gd name="T21" fmla="*/ 6 h 12"/>
              <a:gd name="T22" fmla="*/ 84 w 300"/>
              <a:gd name="T23" fmla="*/ 6 h 12"/>
              <a:gd name="T24" fmla="*/ 114 w 300"/>
              <a:gd name="T25" fmla="*/ 0 h 12"/>
              <a:gd name="T26" fmla="*/ 108 w 300"/>
              <a:gd name="T27" fmla="*/ 6 h 12"/>
              <a:gd name="T28" fmla="*/ 114 w 300"/>
              <a:gd name="T29" fmla="*/ 12 h 12"/>
              <a:gd name="T30" fmla="*/ 120 w 300"/>
              <a:gd name="T31" fmla="*/ 6 h 12"/>
              <a:gd name="T32" fmla="*/ 114 w 300"/>
              <a:gd name="T33" fmla="*/ 0 h 12"/>
              <a:gd name="T34" fmla="*/ 144 w 300"/>
              <a:gd name="T35" fmla="*/ 6 h 12"/>
              <a:gd name="T36" fmla="*/ 144 w 300"/>
              <a:gd name="T37" fmla="*/ 6 h 12"/>
              <a:gd name="T38" fmla="*/ 156 w 300"/>
              <a:gd name="T39" fmla="*/ 6 h 12"/>
              <a:gd name="T40" fmla="*/ 156 w 300"/>
              <a:gd name="T41" fmla="*/ 6 h 12"/>
              <a:gd name="T42" fmla="*/ 186 w 300"/>
              <a:gd name="T43" fmla="*/ 0 h 12"/>
              <a:gd name="T44" fmla="*/ 180 w 300"/>
              <a:gd name="T45" fmla="*/ 6 h 12"/>
              <a:gd name="T46" fmla="*/ 186 w 300"/>
              <a:gd name="T47" fmla="*/ 12 h 12"/>
              <a:gd name="T48" fmla="*/ 192 w 300"/>
              <a:gd name="T49" fmla="*/ 6 h 12"/>
              <a:gd name="T50" fmla="*/ 186 w 300"/>
              <a:gd name="T51" fmla="*/ 0 h 12"/>
              <a:gd name="T52" fmla="*/ 216 w 300"/>
              <a:gd name="T53" fmla="*/ 6 h 12"/>
              <a:gd name="T54" fmla="*/ 216 w 300"/>
              <a:gd name="T55" fmla="*/ 6 h 12"/>
              <a:gd name="T56" fmla="*/ 228 w 300"/>
              <a:gd name="T57" fmla="*/ 6 h 12"/>
              <a:gd name="T58" fmla="*/ 228 w 300"/>
              <a:gd name="T59" fmla="*/ 6 h 12"/>
              <a:gd name="T60" fmla="*/ 258 w 300"/>
              <a:gd name="T61" fmla="*/ 0 h 12"/>
              <a:gd name="T62" fmla="*/ 252 w 300"/>
              <a:gd name="T63" fmla="*/ 6 h 12"/>
              <a:gd name="T64" fmla="*/ 258 w 300"/>
              <a:gd name="T65" fmla="*/ 12 h 12"/>
              <a:gd name="T66" fmla="*/ 264 w 300"/>
              <a:gd name="T67" fmla="*/ 6 h 12"/>
              <a:gd name="T68" fmla="*/ 258 w 300"/>
              <a:gd name="T69" fmla="*/ 0 h 12"/>
              <a:gd name="T70" fmla="*/ 288 w 300"/>
              <a:gd name="T71" fmla="*/ 6 h 12"/>
              <a:gd name="T72" fmla="*/ 288 w 300"/>
              <a:gd name="T73" fmla="*/ 6 h 12"/>
              <a:gd name="T74" fmla="*/ 300 w 300"/>
              <a:gd name="T75" fmla="*/ 6 h 12"/>
              <a:gd name="T76" fmla="*/ 300 w 300"/>
              <a:gd name="T77"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00" h="12">
                <a:moveTo>
                  <a:pt x="6" y="0"/>
                </a:moveTo>
                <a:cubicBezTo>
                  <a:pt x="3" y="0"/>
                  <a:pt x="0" y="3"/>
                  <a:pt x="0" y="6"/>
                </a:cubicBezTo>
                <a:cubicBezTo>
                  <a:pt x="0" y="10"/>
                  <a:pt x="3" y="12"/>
                  <a:pt x="6" y="12"/>
                </a:cubicBezTo>
                <a:cubicBezTo>
                  <a:pt x="10" y="12"/>
                  <a:pt x="12" y="10"/>
                  <a:pt x="12" y="6"/>
                </a:cubicBezTo>
                <a:cubicBezTo>
                  <a:pt x="12" y="6"/>
                  <a:pt x="12" y="6"/>
                  <a:pt x="12" y="6"/>
                </a:cubicBezTo>
                <a:cubicBezTo>
                  <a:pt x="12" y="6"/>
                  <a:pt x="12" y="6"/>
                  <a:pt x="12" y="6"/>
                </a:cubicBezTo>
                <a:cubicBezTo>
                  <a:pt x="12" y="3"/>
                  <a:pt x="10" y="0"/>
                  <a:pt x="6" y="0"/>
                </a:cubicBezTo>
                <a:moveTo>
                  <a:pt x="42" y="0"/>
                </a:moveTo>
                <a:cubicBezTo>
                  <a:pt x="39" y="0"/>
                  <a:pt x="36" y="3"/>
                  <a:pt x="36" y="6"/>
                </a:cubicBezTo>
                <a:cubicBezTo>
                  <a:pt x="36" y="6"/>
                  <a:pt x="36" y="6"/>
                  <a:pt x="36" y="6"/>
                </a:cubicBezTo>
                <a:cubicBezTo>
                  <a:pt x="36" y="6"/>
                  <a:pt x="36" y="6"/>
                  <a:pt x="36" y="6"/>
                </a:cubicBezTo>
                <a:cubicBezTo>
                  <a:pt x="36" y="10"/>
                  <a:pt x="39" y="12"/>
                  <a:pt x="42" y="12"/>
                </a:cubicBezTo>
                <a:cubicBezTo>
                  <a:pt x="46" y="12"/>
                  <a:pt x="48" y="10"/>
                  <a:pt x="48" y="6"/>
                </a:cubicBezTo>
                <a:cubicBezTo>
                  <a:pt x="48" y="6"/>
                  <a:pt x="48" y="6"/>
                  <a:pt x="48" y="6"/>
                </a:cubicBezTo>
                <a:cubicBezTo>
                  <a:pt x="48" y="6"/>
                  <a:pt x="48" y="6"/>
                  <a:pt x="48" y="6"/>
                </a:cubicBezTo>
                <a:cubicBezTo>
                  <a:pt x="48" y="3"/>
                  <a:pt x="46" y="0"/>
                  <a:pt x="42" y="0"/>
                </a:cubicBezTo>
                <a:moveTo>
                  <a:pt x="78" y="0"/>
                </a:moveTo>
                <a:cubicBezTo>
                  <a:pt x="75" y="0"/>
                  <a:pt x="72" y="3"/>
                  <a:pt x="72" y="6"/>
                </a:cubicBezTo>
                <a:cubicBezTo>
                  <a:pt x="72" y="6"/>
                  <a:pt x="72" y="6"/>
                  <a:pt x="72" y="6"/>
                </a:cubicBezTo>
                <a:cubicBezTo>
                  <a:pt x="72" y="6"/>
                  <a:pt x="72" y="6"/>
                  <a:pt x="72" y="6"/>
                </a:cubicBezTo>
                <a:cubicBezTo>
                  <a:pt x="72" y="10"/>
                  <a:pt x="75" y="12"/>
                  <a:pt x="78" y="12"/>
                </a:cubicBezTo>
                <a:cubicBezTo>
                  <a:pt x="82" y="12"/>
                  <a:pt x="84" y="10"/>
                  <a:pt x="84" y="6"/>
                </a:cubicBezTo>
                <a:cubicBezTo>
                  <a:pt x="84" y="6"/>
                  <a:pt x="84" y="6"/>
                  <a:pt x="84" y="6"/>
                </a:cubicBezTo>
                <a:cubicBezTo>
                  <a:pt x="84" y="6"/>
                  <a:pt x="84" y="6"/>
                  <a:pt x="84" y="6"/>
                </a:cubicBezTo>
                <a:cubicBezTo>
                  <a:pt x="84" y="3"/>
                  <a:pt x="82" y="0"/>
                  <a:pt x="78" y="0"/>
                </a:cubicBezTo>
                <a:moveTo>
                  <a:pt x="114" y="0"/>
                </a:moveTo>
                <a:cubicBezTo>
                  <a:pt x="111" y="0"/>
                  <a:pt x="108" y="3"/>
                  <a:pt x="108" y="6"/>
                </a:cubicBezTo>
                <a:cubicBezTo>
                  <a:pt x="108" y="6"/>
                  <a:pt x="108" y="6"/>
                  <a:pt x="108" y="6"/>
                </a:cubicBezTo>
                <a:cubicBezTo>
                  <a:pt x="108" y="6"/>
                  <a:pt x="108" y="6"/>
                  <a:pt x="108" y="6"/>
                </a:cubicBezTo>
                <a:cubicBezTo>
                  <a:pt x="108" y="10"/>
                  <a:pt x="111" y="12"/>
                  <a:pt x="114" y="12"/>
                </a:cubicBezTo>
                <a:cubicBezTo>
                  <a:pt x="118" y="12"/>
                  <a:pt x="120" y="10"/>
                  <a:pt x="120" y="6"/>
                </a:cubicBezTo>
                <a:cubicBezTo>
                  <a:pt x="120" y="6"/>
                  <a:pt x="120" y="6"/>
                  <a:pt x="120" y="6"/>
                </a:cubicBezTo>
                <a:cubicBezTo>
                  <a:pt x="120" y="6"/>
                  <a:pt x="120" y="6"/>
                  <a:pt x="120" y="6"/>
                </a:cubicBezTo>
                <a:cubicBezTo>
                  <a:pt x="120" y="3"/>
                  <a:pt x="118" y="0"/>
                  <a:pt x="114" y="0"/>
                </a:cubicBezTo>
                <a:moveTo>
                  <a:pt x="150" y="0"/>
                </a:moveTo>
                <a:cubicBezTo>
                  <a:pt x="147" y="0"/>
                  <a:pt x="144" y="3"/>
                  <a:pt x="144" y="6"/>
                </a:cubicBezTo>
                <a:cubicBezTo>
                  <a:pt x="144" y="6"/>
                  <a:pt x="144" y="6"/>
                  <a:pt x="144" y="6"/>
                </a:cubicBezTo>
                <a:cubicBezTo>
                  <a:pt x="144" y="6"/>
                  <a:pt x="144" y="6"/>
                  <a:pt x="144" y="6"/>
                </a:cubicBezTo>
                <a:cubicBezTo>
                  <a:pt x="144" y="10"/>
                  <a:pt x="147" y="12"/>
                  <a:pt x="150" y="12"/>
                </a:cubicBezTo>
                <a:cubicBezTo>
                  <a:pt x="154" y="12"/>
                  <a:pt x="156" y="10"/>
                  <a:pt x="156" y="6"/>
                </a:cubicBezTo>
                <a:cubicBezTo>
                  <a:pt x="156" y="6"/>
                  <a:pt x="156" y="6"/>
                  <a:pt x="156" y="6"/>
                </a:cubicBezTo>
                <a:cubicBezTo>
                  <a:pt x="156" y="6"/>
                  <a:pt x="156" y="6"/>
                  <a:pt x="156" y="6"/>
                </a:cubicBezTo>
                <a:cubicBezTo>
                  <a:pt x="156" y="3"/>
                  <a:pt x="154" y="0"/>
                  <a:pt x="150" y="0"/>
                </a:cubicBezTo>
                <a:moveTo>
                  <a:pt x="186" y="0"/>
                </a:moveTo>
                <a:cubicBezTo>
                  <a:pt x="183" y="0"/>
                  <a:pt x="180" y="3"/>
                  <a:pt x="180" y="6"/>
                </a:cubicBezTo>
                <a:cubicBezTo>
                  <a:pt x="180" y="6"/>
                  <a:pt x="180" y="6"/>
                  <a:pt x="180" y="6"/>
                </a:cubicBezTo>
                <a:cubicBezTo>
                  <a:pt x="180" y="6"/>
                  <a:pt x="180" y="6"/>
                  <a:pt x="180" y="6"/>
                </a:cubicBezTo>
                <a:cubicBezTo>
                  <a:pt x="180" y="10"/>
                  <a:pt x="183" y="12"/>
                  <a:pt x="186" y="12"/>
                </a:cubicBezTo>
                <a:cubicBezTo>
                  <a:pt x="190" y="12"/>
                  <a:pt x="192" y="10"/>
                  <a:pt x="192" y="6"/>
                </a:cubicBezTo>
                <a:cubicBezTo>
                  <a:pt x="192" y="6"/>
                  <a:pt x="192" y="6"/>
                  <a:pt x="192" y="6"/>
                </a:cubicBezTo>
                <a:cubicBezTo>
                  <a:pt x="192" y="6"/>
                  <a:pt x="192" y="6"/>
                  <a:pt x="192" y="6"/>
                </a:cubicBezTo>
                <a:cubicBezTo>
                  <a:pt x="192" y="3"/>
                  <a:pt x="190" y="0"/>
                  <a:pt x="186" y="0"/>
                </a:cubicBezTo>
                <a:moveTo>
                  <a:pt x="222" y="0"/>
                </a:moveTo>
                <a:cubicBezTo>
                  <a:pt x="219" y="0"/>
                  <a:pt x="216" y="3"/>
                  <a:pt x="216" y="6"/>
                </a:cubicBezTo>
                <a:cubicBezTo>
                  <a:pt x="216" y="6"/>
                  <a:pt x="216" y="6"/>
                  <a:pt x="216" y="6"/>
                </a:cubicBezTo>
                <a:cubicBezTo>
                  <a:pt x="216" y="6"/>
                  <a:pt x="216" y="6"/>
                  <a:pt x="216" y="6"/>
                </a:cubicBezTo>
                <a:cubicBezTo>
                  <a:pt x="216" y="10"/>
                  <a:pt x="219" y="12"/>
                  <a:pt x="222" y="12"/>
                </a:cubicBezTo>
                <a:cubicBezTo>
                  <a:pt x="226" y="12"/>
                  <a:pt x="228" y="10"/>
                  <a:pt x="228" y="6"/>
                </a:cubicBezTo>
                <a:cubicBezTo>
                  <a:pt x="228" y="6"/>
                  <a:pt x="228" y="6"/>
                  <a:pt x="228" y="6"/>
                </a:cubicBezTo>
                <a:cubicBezTo>
                  <a:pt x="228" y="6"/>
                  <a:pt x="228" y="6"/>
                  <a:pt x="228" y="6"/>
                </a:cubicBezTo>
                <a:cubicBezTo>
                  <a:pt x="228" y="3"/>
                  <a:pt x="226" y="0"/>
                  <a:pt x="222" y="0"/>
                </a:cubicBezTo>
                <a:moveTo>
                  <a:pt x="258" y="0"/>
                </a:moveTo>
                <a:cubicBezTo>
                  <a:pt x="255" y="0"/>
                  <a:pt x="252" y="3"/>
                  <a:pt x="252" y="6"/>
                </a:cubicBezTo>
                <a:cubicBezTo>
                  <a:pt x="252" y="6"/>
                  <a:pt x="252" y="6"/>
                  <a:pt x="252" y="6"/>
                </a:cubicBezTo>
                <a:cubicBezTo>
                  <a:pt x="252" y="6"/>
                  <a:pt x="252" y="6"/>
                  <a:pt x="252" y="6"/>
                </a:cubicBezTo>
                <a:cubicBezTo>
                  <a:pt x="252" y="10"/>
                  <a:pt x="255" y="12"/>
                  <a:pt x="258" y="12"/>
                </a:cubicBezTo>
                <a:cubicBezTo>
                  <a:pt x="262" y="12"/>
                  <a:pt x="264" y="10"/>
                  <a:pt x="264" y="6"/>
                </a:cubicBezTo>
                <a:cubicBezTo>
                  <a:pt x="264" y="6"/>
                  <a:pt x="264" y="6"/>
                  <a:pt x="264" y="6"/>
                </a:cubicBezTo>
                <a:cubicBezTo>
                  <a:pt x="264" y="6"/>
                  <a:pt x="264" y="6"/>
                  <a:pt x="264" y="6"/>
                </a:cubicBezTo>
                <a:cubicBezTo>
                  <a:pt x="264" y="3"/>
                  <a:pt x="262" y="0"/>
                  <a:pt x="258" y="0"/>
                </a:cubicBezTo>
                <a:moveTo>
                  <a:pt x="294" y="0"/>
                </a:moveTo>
                <a:cubicBezTo>
                  <a:pt x="291" y="0"/>
                  <a:pt x="288" y="3"/>
                  <a:pt x="288" y="6"/>
                </a:cubicBezTo>
                <a:cubicBezTo>
                  <a:pt x="288" y="6"/>
                  <a:pt x="288" y="6"/>
                  <a:pt x="288" y="6"/>
                </a:cubicBezTo>
                <a:cubicBezTo>
                  <a:pt x="288" y="6"/>
                  <a:pt x="288" y="6"/>
                  <a:pt x="288" y="6"/>
                </a:cubicBezTo>
                <a:cubicBezTo>
                  <a:pt x="288" y="10"/>
                  <a:pt x="291" y="12"/>
                  <a:pt x="294" y="12"/>
                </a:cubicBezTo>
                <a:cubicBezTo>
                  <a:pt x="298" y="12"/>
                  <a:pt x="300" y="10"/>
                  <a:pt x="300" y="6"/>
                </a:cubicBezTo>
                <a:cubicBezTo>
                  <a:pt x="300" y="6"/>
                  <a:pt x="300" y="6"/>
                  <a:pt x="300" y="6"/>
                </a:cubicBezTo>
                <a:cubicBezTo>
                  <a:pt x="300" y="6"/>
                  <a:pt x="300" y="6"/>
                  <a:pt x="300" y="6"/>
                </a:cubicBezTo>
                <a:cubicBezTo>
                  <a:pt x="300" y="3"/>
                  <a:pt x="298" y="0"/>
                  <a:pt x="294" y="0"/>
                </a:cubicBezTo>
              </a:path>
            </a:pathLst>
          </a:cu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grpSp>
        <p:nvGrpSpPr>
          <p:cNvPr id="44" name="Group 66">
            <a:extLst>
              <a:ext uri="{FF2B5EF4-FFF2-40B4-BE49-F238E27FC236}">
                <a16:creationId xmlns:a16="http://schemas.microsoft.com/office/drawing/2014/main" id="{B845DC56-DDEA-414B-B772-F6E265162881}"/>
              </a:ext>
            </a:extLst>
          </p:cNvPr>
          <p:cNvGrpSpPr/>
          <p:nvPr/>
        </p:nvGrpSpPr>
        <p:grpSpPr>
          <a:xfrm>
            <a:off x="1152325" y="3839010"/>
            <a:ext cx="841581" cy="559701"/>
            <a:chOff x="7953375" y="1320800"/>
            <a:chExt cx="2303463" cy="1531938"/>
          </a:xfrm>
          <a:gradFill>
            <a:gsLst>
              <a:gs pos="73000">
                <a:schemeClr val="accent1"/>
              </a:gs>
              <a:gs pos="31000">
                <a:schemeClr val="accent1">
                  <a:lumMod val="60000"/>
                  <a:lumOff val="40000"/>
                </a:schemeClr>
              </a:gs>
              <a:gs pos="0">
                <a:schemeClr val="accent1">
                  <a:lumMod val="40000"/>
                  <a:lumOff val="60000"/>
                </a:schemeClr>
              </a:gs>
            </a:gsLst>
            <a:path path="circle">
              <a:fillToRect r="100000" b="100000"/>
            </a:path>
          </a:gradFill>
        </p:grpSpPr>
        <p:sp>
          <p:nvSpPr>
            <p:cNvPr id="45" name="Freeform 9">
              <a:extLst>
                <a:ext uri="{FF2B5EF4-FFF2-40B4-BE49-F238E27FC236}">
                  <a16:creationId xmlns:a16="http://schemas.microsoft.com/office/drawing/2014/main" id="{C1DBCD44-31A7-4937-B1EC-7065C5792F02}"/>
                </a:ext>
              </a:extLst>
            </p:cNvPr>
            <p:cNvSpPr>
              <a:spLocks/>
            </p:cNvSpPr>
            <p:nvPr/>
          </p:nvSpPr>
          <p:spPr bwMode="auto">
            <a:xfrm>
              <a:off x="9498013" y="1320800"/>
              <a:ext cx="479425" cy="673100"/>
            </a:xfrm>
            <a:custGeom>
              <a:avLst/>
              <a:gdLst>
                <a:gd name="T0" fmla="*/ 127 w 426"/>
                <a:gd name="T1" fmla="*/ 0 h 598"/>
                <a:gd name="T2" fmla="*/ 0 w 426"/>
                <a:gd name="T3" fmla="*/ 29 h 598"/>
                <a:gd name="T4" fmla="*/ 40 w 426"/>
                <a:gd name="T5" fmla="*/ 89 h 598"/>
                <a:gd name="T6" fmla="*/ 68 w 426"/>
                <a:gd name="T7" fmla="*/ 155 h 598"/>
                <a:gd name="T8" fmla="*/ 93 w 426"/>
                <a:gd name="T9" fmla="*/ 299 h 598"/>
                <a:gd name="T10" fmla="*/ 68 w 426"/>
                <a:gd name="T11" fmla="*/ 443 h 598"/>
                <a:gd name="T12" fmla="*/ 40 w 426"/>
                <a:gd name="T13" fmla="*/ 509 h 598"/>
                <a:gd name="T14" fmla="*/ 0 w 426"/>
                <a:gd name="T15" fmla="*/ 569 h 598"/>
                <a:gd name="T16" fmla="*/ 127 w 426"/>
                <a:gd name="T17" fmla="*/ 598 h 598"/>
                <a:gd name="T18" fmla="*/ 426 w 426"/>
                <a:gd name="T19" fmla="*/ 299 h 598"/>
                <a:gd name="T20" fmla="*/ 127 w 426"/>
                <a:gd name="T21" fmla="*/ 0 h 5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26" h="598">
                  <a:moveTo>
                    <a:pt x="127" y="0"/>
                  </a:moveTo>
                  <a:cubicBezTo>
                    <a:pt x="82" y="0"/>
                    <a:pt x="39" y="10"/>
                    <a:pt x="0" y="29"/>
                  </a:cubicBezTo>
                  <a:cubicBezTo>
                    <a:pt x="15" y="48"/>
                    <a:pt x="28" y="68"/>
                    <a:pt x="40" y="89"/>
                  </a:cubicBezTo>
                  <a:cubicBezTo>
                    <a:pt x="51" y="110"/>
                    <a:pt x="61" y="132"/>
                    <a:pt x="68" y="155"/>
                  </a:cubicBezTo>
                  <a:cubicBezTo>
                    <a:pt x="84" y="200"/>
                    <a:pt x="93" y="248"/>
                    <a:pt x="93" y="299"/>
                  </a:cubicBezTo>
                  <a:cubicBezTo>
                    <a:pt x="93" y="350"/>
                    <a:pt x="84" y="398"/>
                    <a:pt x="68" y="443"/>
                  </a:cubicBezTo>
                  <a:cubicBezTo>
                    <a:pt x="61" y="466"/>
                    <a:pt x="51" y="488"/>
                    <a:pt x="40" y="509"/>
                  </a:cubicBezTo>
                  <a:cubicBezTo>
                    <a:pt x="28" y="530"/>
                    <a:pt x="15" y="550"/>
                    <a:pt x="0" y="569"/>
                  </a:cubicBezTo>
                  <a:cubicBezTo>
                    <a:pt x="39" y="588"/>
                    <a:pt x="82" y="598"/>
                    <a:pt x="127" y="598"/>
                  </a:cubicBezTo>
                  <a:cubicBezTo>
                    <a:pt x="292" y="598"/>
                    <a:pt x="426" y="464"/>
                    <a:pt x="426" y="299"/>
                  </a:cubicBezTo>
                  <a:cubicBezTo>
                    <a:pt x="426" y="134"/>
                    <a:pt x="292" y="0"/>
                    <a:pt x="12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sp>
          <p:nvSpPr>
            <p:cNvPr id="46" name="Freeform 10">
              <a:extLst>
                <a:ext uri="{FF2B5EF4-FFF2-40B4-BE49-F238E27FC236}">
                  <a16:creationId xmlns:a16="http://schemas.microsoft.com/office/drawing/2014/main" id="{A5B6DC2A-A157-4376-830E-24F056F11AB4}"/>
                </a:ext>
              </a:extLst>
            </p:cNvPr>
            <p:cNvSpPr>
              <a:spLocks/>
            </p:cNvSpPr>
            <p:nvPr/>
          </p:nvSpPr>
          <p:spPr bwMode="auto">
            <a:xfrm>
              <a:off x="9580563" y="2155825"/>
              <a:ext cx="676275" cy="696913"/>
            </a:xfrm>
            <a:custGeom>
              <a:avLst/>
              <a:gdLst>
                <a:gd name="T0" fmla="*/ 53 w 601"/>
                <a:gd name="T1" fmla="*/ 0 h 619"/>
                <a:gd name="T2" fmla="*/ 0 w 601"/>
                <a:gd name="T3" fmla="*/ 2 h 619"/>
                <a:gd name="T4" fmla="*/ 77 w 601"/>
                <a:gd name="T5" fmla="*/ 72 h 619"/>
                <a:gd name="T6" fmla="*/ 143 w 601"/>
                <a:gd name="T7" fmla="*/ 153 h 619"/>
                <a:gd name="T8" fmla="*/ 264 w 601"/>
                <a:gd name="T9" fmla="*/ 476 h 619"/>
                <a:gd name="T10" fmla="*/ 268 w 601"/>
                <a:gd name="T11" fmla="*/ 547 h 619"/>
                <a:gd name="T12" fmla="*/ 255 w 601"/>
                <a:gd name="T13" fmla="*/ 619 h 619"/>
                <a:gd name="T14" fmla="*/ 530 w 601"/>
                <a:gd name="T15" fmla="*/ 619 h 619"/>
                <a:gd name="T16" fmla="*/ 601 w 601"/>
                <a:gd name="T17" fmla="*/ 547 h 619"/>
                <a:gd name="T18" fmla="*/ 53 w 601"/>
                <a:gd name="T19" fmla="*/ 0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1" h="619">
                  <a:moveTo>
                    <a:pt x="53" y="0"/>
                  </a:moveTo>
                  <a:cubicBezTo>
                    <a:pt x="36" y="0"/>
                    <a:pt x="18" y="1"/>
                    <a:pt x="0" y="2"/>
                  </a:cubicBezTo>
                  <a:cubicBezTo>
                    <a:pt x="28" y="24"/>
                    <a:pt x="53" y="47"/>
                    <a:pt x="77" y="72"/>
                  </a:cubicBezTo>
                  <a:cubicBezTo>
                    <a:pt x="101" y="97"/>
                    <a:pt x="123" y="124"/>
                    <a:pt x="143" y="153"/>
                  </a:cubicBezTo>
                  <a:cubicBezTo>
                    <a:pt x="209" y="246"/>
                    <a:pt x="252" y="357"/>
                    <a:pt x="264" y="476"/>
                  </a:cubicBezTo>
                  <a:cubicBezTo>
                    <a:pt x="266" y="499"/>
                    <a:pt x="268" y="523"/>
                    <a:pt x="268" y="547"/>
                  </a:cubicBezTo>
                  <a:cubicBezTo>
                    <a:pt x="268" y="572"/>
                    <a:pt x="263" y="597"/>
                    <a:pt x="255" y="619"/>
                  </a:cubicBezTo>
                  <a:cubicBezTo>
                    <a:pt x="530" y="619"/>
                    <a:pt x="530" y="619"/>
                    <a:pt x="530" y="619"/>
                  </a:cubicBezTo>
                  <a:cubicBezTo>
                    <a:pt x="569" y="619"/>
                    <a:pt x="601" y="587"/>
                    <a:pt x="601" y="547"/>
                  </a:cubicBezTo>
                  <a:cubicBezTo>
                    <a:pt x="601" y="245"/>
                    <a:pt x="355" y="0"/>
                    <a:pt x="5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sp>
          <p:nvSpPr>
            <p:cNvPr id="47" name="Freeform 11">
              <a:extLst>
                <a:ext uri="{FF2B5EF4-FFF2-40B4-BE49-F238E27FC236}">
                  <a16:creationId xmlns:a16="http://schemas.microsoft.com/office/drawing/2014/main" id="{D978CD31-0374-4861-ACAD-5D76C5570ED0}"/>
                </a:ext>
              </a:extLst>
            </p:cNvPr>
            <p:cNvSpPr>
              <a:spLocks/>
            </p:cNvSpPr>
            <p:nvPr/>
          </p:nvSpPr>
          <p:spPr bwMode="auto">
            <a:xfrm>
              <a:off x="8232775" y="1320800"/>
              <a:ext cx="479425" cy="673100"/>
            </a:xfrm>
            <a:custGeom>
              <a:avLst/>
              <a:gdLst>
                <a:gd name="T0" fmla="*/ 358 w 426"/>
                <a:gd name="T1" fmla="*/ 443 h 598"/>
                <a:gd name="T2" fmla="*/ 333 w 426"/>
                <a:gd name="T3" fmla="*/ 299 h 598"/>
                <a:gd name="T4" fmla="*/ 358 w 426"/>
                <a:gd name="T5" fmla="*/ 155 h 598"/>
                <a:gd name="T6" fmla="*/ 386 w 426"/>
                <a:gd name="T7" fmla="*/ 89 h 598"/>
                <a:gd name="T8" fmla="*/ 426 w 426"/>
                <a:gd name="T9" fmla="*/ 29 h 598"/>
                <a:gd name="T10" fmla="*/ 299 w 426"/>
                <a:gd name="T11" fmla="*/ 0 h 598"/>
                <a:gd name="T12" fmla="*/ 0 w 426"/>
                <a:gd name="T13" fmla="*/ 299 h 598"/>
                <a:gd name="T14" fmla="*/ 299 w 426"/>
                <a:gd name="T15" fmla="*/ 598 h 598"/>
                <a:gd name="T16" fmla="*/ 426 w 426"/>
                <a:gd name="T17" fmla="*/ 569 h 598"/>
                <a:gd name="T18" fmla="*/ 386 w 426"/>
                <a:gd name="T19" fmla="*/ 509 h 598"/>
                <a:gd name="T20" fmla="*/ 358 w 426"/>
                <a:gd name="T21" fmla="*/ 443 h 5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26" h="598">
                  <a:moveTo>
                    <a:pt x="358" y="443"/>
                  </a:moveTo>
                  <a:cubicBezTo>
                    <a:pt x="342" y="398"/>
                    <a:pt x="333" y="350"/>
                    <a:pt x="333" y="299"/>
                  </a:cubicBezTo>
                  <a:cubicBezTo>
                    <a:pt x="333" y="248"/>
                    <a:pt x="342" y="200"/>
                    <a:pt x="358" y="155"/>
                  </a:cubicBezTo>
                  <a:cubicBezTo>
                    <a:pt x="365" y="132"/>
                    <a:pt x="375" y="110"/>
                    <a:pt x="386" y="89"/>
                  </a:cubicBezTo>
                  <a:cubicBezTo>
                    <a:pt x="398" y="68"/>
                    <a:pt x="411" y="48"/>
                    <a:pt x="426" y="29"/>
                  </a:cubicBezTo>
                  <a:cubicBezTo>
                    <a:pt x="387" y="10"/>
                    <a:pt x="344" y="0"/>
                    <a:pt x="299" y="0"/>
                  </a:cubicBezTo>
                  <a:cubicBezTo>
                    <a:pt x="134" y="0"/>
                    <a:pt x="0" y="134"/>
                    <a:pt x="0" y="299"/>
                  </a:cubicBezTo>
                  <a:cubicBezTo>
                    <a:pt x="0" y="464"/>
                    <a:pt x="134" y="598"/>
                    <a:pt x="299" y="598"/>
                  </a:cubicBezTo>
                  <a:cubicBezTo>
                    <a:pt x="344" y="598"/>
                    <a:pt x="387" y="588"/>
                    <a:pt x="426" y="569"/>
                  </a:cubicBezTo>
                  <a:cubicBezTo>
                    <a:pt x="411" y="550"/>
                    <a:pt x="398" y="530"/>
                    <a:pt x="386" y="509"/>
                  </a:cubicBezTo>
                  <a:cubicBezTo>
                    <a:pt x="375" y="488"/>
                    <a:pt x="365" y="466"/>
                    <a:pt x="358" y="4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sp>
          <p:nvSpPr>
            <p:cNvPr id="48" name="Freeform 12">
              <a:extLst>
                <a:ext uri="{FF2B5EF4-FFF2-40B4-BE49-F238E27FC236}">
                  <a16:creationId xmlns:a16="http://schemas.microsoft.com/office/drawing/2014/main" id="{0952F7EF-41DD-4A5D-A9CF-14B0A778FBA6}"/>
                </a:ext>
              </a:extLst>
            </p:cNvPr>
            <p:cNvSpPr>
              <a:spLocks/>
            </p:cNvSpPr>
            <p:nvPr/>
          </p:nvSpPr>
          <p:spPr bwMode="auto">
            <a:xfrm>
              <a:off x="7953375" y="2155825"/>
              <a:ext cx="676275" cy="696913"/>
            </a:xfrm>
            <a:custGeom>
              <a:avLst/>
              <a:gdLst>
                <a:gd name="T0" fmla="*/ 548 w 601"/>
                <a:gd name="T1" fmla="*/ 0 h 619"/>
                <a:gd name="T2" fmla="*/ 0 w 601"/>
                <a:gd name="T3" fmla="*/ 547 h 619"/>
                <a:gd name="T4" fmla="*/ 71 w 601"/>
                <a:gd name="T5" fmla="*/ 619 h 619"/>
                <a:gd name="T6" fmla="*/ 346 w 601"/>
                <a:gd name="T7" fmla="*/ 619 h 619"/>
                <a:gd name="T8" fmla="*/ 333 w 601"/>
                <a:gd name="T9" fmla="*/ 547 h 619"/>
                <a:gd name="T10" fmla="*/ 337 w 601"/>
                <a:gd name="T11" fmla="*/ 476 h 619"/>
                <a:gd name="T12" fmla="*/ 458 w 601"/>
                <a:gd name="T13" fmla="*/ 153 h 619"/>
                <a:gd name="T14" fmla="*/ 524 w 601"/>
                <a:gd name="T15" fmla="*/ 72 h 619"/>
                <a:gd name="T16" fmla="*/ 601 w 601"/>
                <a:gd name="T17" fmla="*/ 2 h 619"/>
                <a:gd name="T18" fmla="*/ 548 w 601"/>
                <a:gd name="T19" fmla="*/ 0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1" h="619">
                  <a:moveTo>
                    <a:pt x="548" y="0"/>
                  </a:moveTo>
                  <a:cubicBezTo>
                    <a:pt x="246" y="0"/>
                    <a:pt x="0" y="245"/>
                    <a:pt x="0" y="547"/>
                  </a:cubicBezTo>
                  <a:cubicBezTo>
                    <a:pt x="0" y="587"/>
                    <a:pt x="32" y="619"/>
                    <a:pt x="71" y="619"/>
                  </a:cubicBezTo>
                  <a:cubicBezTo>
                    <a:pt x="346" y="619"/>
                    <a:pt x="346" y="619"/>
                    <a:pt x="346" y="619"/>
                  </a:cubicBezTo>
                  <a:cubicBezTo>
                    <a:pt x="338" y="597"/>
                    <a:pt x="333" y="572"/>
                    <a:pt x="333" y="547"/>
                  </a:cubicBezTo>
                  <a:cubicBezTo>
                    <a:pt x="333" y="523"/>
                    <a:pt x="335" y="499"/>
                    <a:pt x="337" y="476"/>
                  </a:cubicBezTo>
                  <a:cubicBezTo>
                    <a:pt x="349" y="357"/>
                    <a:pt x="392" y="246"/>
                    <a:pt x="458" y="153"/>
                  </a:cubicBezTo>
                  <a:cubicBezTo>
                    <a:pt x="478" y="124"/>
                    <a:pt x="500" y="97"/>
                    <a:pt x="524" y="72"/>
                  </a:cubicBezTo>
                  <a:cubicBezTo>
                    <a:pt x="548" y="47"/>
                    <a:pt x="573" y="24"/>
                    <a:pt x="601" y="2"/>
                  </a:cubicBezTo>
                  <a:cubicBezTo>
                    <a:pt x="583" y="1"/>
                    <a:pt x="565" y="0"/>
                    <a:pt x="54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sp>
          <p:nvSpPr>
            <p:cNvPr id="49" name="Freeform 13">
              <a:extLst>
                <a:ext uri="{FF2B5EF4-FFF2-40B4-BE49-F238E27FC236}">
                  <a16:creationId xmlns:a16="http://schemas.microsoft.com/office/drawing/2014/main" id="{A3C775CD-8DC9-4C35-A746-FDF9CDA27CED}"/>
                </a:ext>
              </a:extLst>
            </p:cNvPr>
            <p:cNvSpPr>
              <a:spLocks/>
            </p:cNvSpPr>
            <p:nvPr/>
          </p:nvSpPr>
          <p:spPr bwMode="auto">
            <a:xfrm>
              <a:off x="8769350" y="1320800"/>
              <a:ext cx="673100" cy="673100"/>
            </a:xfrm>
            <a:custGeom>
              <a:avLst/>
              <a:gdLst>
                <a:gd name="T0" fmla="*/ 577 w 598"/>
                <a:gd name="T1" fmla="*/ 188 h 598"/>
                <a:gd name="T2" fmla="*/ 537 w 598"/>
                <a:gd name="T3" fmla="*/ 119 h 598"/>
                <a:gd name="T4" fmla="*/ 299 w 598"/>
                <a:gd name="T5" fmla="*/ 0 h 598"/>
                <a:gd name="T6" fmla="*/ 61 w 598"/>
                <a:gd name="T7" fmla="*/ 119 h 598"/>
                <a:gd name="T8" fmla="*/ 21 w 598"/>
                <a:gd name="T9" fmla="*/ 188 h 598"/>
                <a:gd name="T10" fmla="*/ 0 w 598"/>
                <a:gd name="T11" fmla="*/ 299 h 598"/>
                <a:gd name="T12" fmla="*/ 21 w 598"/>
                <a:gd name="T13" fmla="*/ 410 h 598"/>
                <a:gd name="T14" fmla="*/ 61 w 598"/>
                <a:gd name="T15" fmla="*/ 479 h 598"/>
                <a:gd name="T16" fmla="*/ 299 w 598"/>
                <a:gd name="T17" fmla="*/ 598 h 598"/>
                <a:gd name="T18" fmla="*/ 537 w 598"/>
                <a:gd name="T19" fmla="*/ 479 h 598"/>
                <a:gd name="T20" fmla="*/ 577 w 598"/>
                <a:gd name="T21" fmla="*/ 410 h 598"/>
                <a:gd name="T22" fmla="*/ 598 w 598"/>
                <a:gd name="T23" fmla="*/ 299 h 598"/>
                <a:gd name="T24" fmla="*/ 577 w 598"/>
                <a:gd name="T25" fmla="*/ 188 h 5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98" h="598">
                  <a:moveTo>
                    <a:pt x="577" y="188"/>
                  </a:moveTo>
                  <a:cubicBezTo>
                    <a:pt x="567" y="163"/>
                    <a:pt x="553" y="140"/>
                    <a:pt x="537" y="119"/>
                  </a:cubicBezTo>
                  <a:cubicBezTo>
                    <a:pt x="483" y="47"/>
                    <a:pt x="396" y="0"/>
                    <a:pt x="299" y="0"/>
                  </a:cubicBezTo>
                  <a:cubicBezTo>
                    <a:pt x="202" y="0"/>
                    <a:pt x="115" y="47"/>
                    <a:pt x="61" y="119"/>
                  </a:cubicBezTo>
                  <a:cubicBezTo>
                    <a:pt x="45" y="140"/>
                    <a:pt x="31" y="163"/>
                    <a:pt x="21" y="188"/>
                  </a:cubicBezTo>
                  <a:cubicBezTo>
                    <a:pt x="8" y="223"/>
                    <a:pt x="0" y="260"/>
                    <a:pt x="0" y="299"/>
                  </a:cubicBezTo>
                  <a:cubicBezTo>
                    <a:pt x="0" y="338"/>
                    <a:pt x="8" y="375"/>
                    <a:pt x="21" y="410"/>
                  </a:cubicBezTo>
                  <a:cubicBezTo>
                    <a:pt x="31" y="435"/>
                    <a:pt x="45" y="458"/>
                    <a:pt x="61" y="479"/>
                  </a:cubicBezTo>
                  <a:cubicBezTo>
                    <a:pt x="115" y="551"/>
                    <a:pt x="202" y="598"/>
                    <a:pt x="299" y="598"/>
                  </a:cubicBezTo>
                  <a:cubicBezTo>
                    <a:pt x="396" y="598"/>
                    <a:pt x="483" y="551"/>
                    <a:pt x="537" y="479"/>
                  </a:cubicBezTo>
                  <a:cubicBezTo>
                    <a:pt x="553" y="458"/>
                    <a:pt x="567" y="435"/>
                    <a:pt x="577" y="410"/>
                  </a:cubicBezTo>
                  <a:cubicBezTo>
                    <a:pt x="590" y="375"/>
                    <a:pt x="598" y="338"/>
                    <a:pt x="598" y="299"/>
                  </a:cubicBezTo>
                  <a:cubicBezTo>
                    <a:pt x="598" y="260"/>
                    <a:pt x="590" y="223"/>
                    <a:pt x="577" y="1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sp>
          <p:nvSpPr>
            <p:cNvPr id="50" name="Freeform 14">
              <a:extLst>
                <a:ext uri="{FF2B5EF4-FFF2-40B4-BE49-F238E27FC236}">
                  <a16:creationId xmlns:a16="http://schemas.microsoft.com/office/drawing/2014/main" id="{25629BE9-4B35-45ED-B8E2-71B726F405A5}"/>
                </a:ext>
              </a:extLst>
            </p:cNvPr>
            <p:cNvSpPr>
              <a:spLocks/>
            </p:cNvSpPr>
            <p:nvPr/>
          </p:nvSpPr>
          <p:spPr bwMode="auto">
            <a:xfrm>
              <a:off x="8488363" y="2160588"/>
              <a:ext cx="1233488" cy="692150"/>
            </a:xfrm>
            <a:custGeom>
              <a:avLst/>
              <a:gdLst>
                <a:gd name="T0" fmla="*/ 1091 w 1096"/>
                <a:gd name="T1" fmla="*/ 472 h 615"/>
                <a:gd name="T2" fmla="*/ 929 w 1096"/>
                <a:gd name="T3" fmla="*/ 150 h 615"/>
                <a:gd name="T4" fmla="*/ 863 w 1096"/>
                <a:gd name="T5" fmla="*/ 95 h 615"/>
                <a:gd name="T6" fmla="*/ 786 w 1096"/>
                <a:gd name="T7" fmla="*/ 50 h 615"/>
                <a:gd name="T8" fmla="*/ 619 w 1096"/>
                <a:gd name="T9" fmla="*/ 0 h 615"/>
                <a:gd name="T10" fmla="*/ 619 w 1096"/>
                <a:gd name="T11" fmla="*/ 448 h 615"/>
                <a:gd name="T12" fmla="*/ 548 w 1096"/>
                <a:gd name="T13" fmla="*/ 520 h 615"/>
                <a:gd name="T14" fmla="*/ 477 w 1096"/>
                <a:gd name="T15" fmla="*/ 448 h 615"/>
                <a:gd name="T16" fmla="*/ 477 w 1096"/>
                <a:gd name="T17" fmla="*/ 0 h 615"/>
                <a:gd name="T18" fmla="*/ 310 w 1096"/>
                <a:gd name="T19" fmla="*/ 50 h 615"/>
                <a:gd name="T20" fmla="*/ 233 w 1096"/>
                <a:gd name="T21" fmla="*/ 95 h 615"/>
                <a:gd name="T22" fmla="*/ 167 w 1096"/>
                <a:gd name="T23" fmla="*/ 150 h 615"/>
                <a:gd name="T24" fmla="*/ 5 w 1096"/>
                <a:gd name="T25" fmla="*/ 472 h 615"/>
                <a:gd name="T26" fmla="*/ 0 w 1096"/>
                <a:gd name="T27" fmla="*/ 543 h 615"/>
                <a:gd name="T28" fmla="*/ 72 w 1096"/>
                <a:gd name="T29" fmla="*/ 615 h 615"/>
                <a:gd name="T30" fmla="*/ 1024 w 1096"/>
                <a:gd name="T31" fmla="*/ 615 h 615"/>
                <a:gd name="T32" fmla="*/ 1096 w 1096"/>
                <a:gd name="T33" fmla="*/ 543 h 615"/>
                <a:gd name="T34" fmla="*/ 1091 w 1096"/>
                <a:gd name="T35" fmla="*/ 472 h 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96" h="615">
                  <a:moveTo>
                    <a:pt x="1091" y="472"/>
                  </a:moveTo>
                  <a:cubicBezTo>
                    <a:pt x="1075" y="346"/>
                    <a:pt x="1015" y="234"/>
                    <a:pt x="929" y="150"/>
                  </a:cubicBezTo>
                  <a:cubicBezTo>
                    <a:pt x="908" y="130"/>
                    <a:pt x="886" y="112"/>
                    <a:pt x="863" y="95"/>
                  </a:cubicBezTo>
                  <a:cubicBezTo>
                    <a:pt x="838" y="78"/>
                    <a:pt x="813" y="63"/>
                    <a:pt x="786" y="50"/>
                  </a:cubicBezTo>
                  <a:cubicBezTo>
                    <a:pt x="734" y="25"/>
                    <a:pt x="678" y="8"/>
                    <a:pt x="619" y="0"/>
                  </a:cubicBezTo>
                  <a:cubicBezTo>
                    <a:pt x="619" y="448"/>
                    <a:pt x="619" y="448"/>
                    <a:pt x="619" y="448"/>
                  </a:cubicBezTo>
                  <a:cubicBezTo>
                    <a:pt x="619" y="488"/>
                    <a:pt x="587" y="520"/>
                    <a:pt x="548" y="520"/>
                  </a:cubicBezTo>
                  <a:cubicBezTo>
                    <a:pt x="509" y="520"/>
                    <a:pt x="477" y="488"/>
                    <a:pt x="477" y="448"/>
                  </a:cubicBezTo>
                  <a:cubicBezTo>
                    <a:pt x="477" y="0"/>
                    <a:pt x="477" y="0"/>
                    <a:pt x="477" y="0"/>
                  </a:cubicBezTo>
                  <a:cubicBezTo>
                    <a:pt x="418" y="8"/>
                    <a:pt x="362" y="25"/>
                    <a:pt x="310" y="50"/>
                  </a:cubicBezTo>
                  <a:cubicBezTo>
                    <a:pt x="283" y="63"/>
                    <a:pt x="258" y="78"/>
                    <a:pt x="233" y="95"/>
                  </a:cubicBezTo>
                  <a:cubicBezTo>
                    <a:pt x="210" y="112"/>
                    <a:pt x="188" y="130"/>
                    <a:pt x="167" y="150"/>
                  </a:cubicBezTo>
                  <a:cubicBezTo>
                    <a:pt x="81" y="234"/>
                    <a:pt x="21" y="346"/>
                    <a:pt x="5" y="472"/>
                  </a:cubicBezTo>
                  <a:cubicBezTo>
                    <a:pt x="2" y="495"/>
                    <a:pt x="0" y="519"/>
                    <a:pt x="0" y="543"/>
                  </a:cubicBezTo>
                  <a:cubicBezTo>
                    <a:pt x="0" y="583"/>
                    <a:pt x="32" y="615"/>
                    <a:pt x="72" y="615"/>
                  </a:cubicBezTo>
                  <a:cubicBezTo>
                    <a:pt x="1024" y="615"/>
                    <a:pt x="1024" y="615"/>
                    <a:pt x="1024" y="615"/>
                  </a:cubicBezTo>
                  <a:cubicBezTo>
                    <a:pt x="1064" y="615"/>
                    <a:pt x="1096" y="583"/>
                    <a:pt x="1096" y="543"/>
                  </a:cubicBezTo>
                  <a:cubicBezTo>
                    <a:pt x="1096" y="519"/>
                    <a:pt x="1094" y="495"/>
                    <a:pt x="1091" y="4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grpSp>
      <p:grpSp>
        <p:nvGrpSpPr>
          <p:cNvPr id="98" name="组合 97">
            <a:extLst>
              <a:ext uri="{FF2B5EF4-FFF2-40B4-BE49-F238E27FC236}">
                <a16:creationId xmlns:a16="http://schemas.microsoft.com/office/drawing/2014/main" id="{C1B7DF05-5689-486E-9284-CB52867BBF1B}"/>
              </a:ext>
            </a:extLst>
          </p:cNvPr>
          <p:cNvGrpSpPr/>
          <p:nvPr/>
        </p:nvGrpSpPr>
        <p:grpSpPr>
          <a:xfrm>
            <a:off x="2777088" y="3678059"/>
            <a:ext cx="2859171" cy="881603"/>
            <a:chOff x="2777088" y="3678059"/>
            <a:chExt cx="2859171" cy="881603"/>
          </a:xfrm>
        </p:grpSpPr>
        <p:sp>
          <p:nvSpPr>
            <p:cNvPr id="84" name="TextBox 65">
              <a:extLst>
                <a:ext uri="{FF2B5EF4-FFF2-40B4-BE49-F238E27FC236}">
                  <a16:creationId xmlns:a16="http://schemas.microsoft.com/office/drawing/2014/main" id="{A88D465D-D302-4636-89F9-74B45F212386}"/>
                </a:ext>
              </a:extLst>
            </p:cNvPr>
            <p:cNvSpPr txBox="1"/>
            <p:nvPr/>
          </p:nvSpPr>
          <p:spPr>
            <a:xfrm flipH="1">
              <a:off x="2777089" y="3678059"/>
              <a:ext cx="2056261" cy="387598"/>
            </a:xfrm>
            <a:prstGeom prst="rect">
              <a:avLst/>
            </a:prstGeom>
            <a:noFill/>
          </p:spPr>
          <p:txBody>
            <a:bodyPr wrap="square" lIns="0" tIns="36000" rIns="0" bIns="36000" rtlCol="0">
              <a:spAutoFit/>
            </a:bodyPr>
            <a:lstStyle/>
            <a:p>
              <a:pPr marL="0" marR="0" lvl="0" indent="0" algn="l" defTabSz="914400" rtl="0" eaLnBrk="1" fontAlgn="auto" latinLnBrk="0" hangingPunct="1">
                <a:lnSpc>
                  <a:spcPct val="120000"/>
                </a:lnSpc>
                <a:spcBef>
                  <a:spcPts val="600"/>
                </a:spcBef>
                <a:spcAft>
                  <a:spcPts val="0"/>
                </a:spcAft>
                <a:buClrTx/>
                <a:buSzTx/>
                <a:buFontTx/>
                <a:buNone/>
                <a:tabLst/>
                <a:defRPr/>
              </a:pPr>
              <a:r>
                <a:rPr kumimoji="0" lang="zh-CN" altLang="en-US" sz="1800" b="0" i="0" u="none" strike="noStrike" kern="1200" cap="none" spc="0" normalizeH="0" baseline="0" noProof="0" dirty="0">
                  <a:ln>
                    <a:noFill/>
                  </a:ln>
                  <a:solidFill>
                    <a:schemeClr val="accent1"/>
                  </a:solidFill>
                  <a:effectLst/>
                  <a:uLnTx/>
                  <a:uFillTx/>
                  <a:latin typeface="HarmonyOS Sans SC Black"/>
                  <a:ea typeface="+mj-ea"/>
                  <a:cs typeface="+mn-cs"/>
                </a:rPr>
                <a:t>关键词标题</a:t>
              </a:r>
              <a:endParaRPr kumimoji="0" lang="en-US" sz="1800" b="0" i="0" u="none" strike="noStrike" kern="1200" cap="none" spc="0" normalizeH="0" baseline="0" noProof="0" dirty="0">
                <a:ln>
                  <a:noFill/>
                </a:ln>
                <a:solidFill>
                  <a:schemeClr val="accent1"/>
                </a:solidFill>
                <a:effectLst/>
                <a:uLnTx/>
                <a:uFillTx/>
                <a:latin typeface="HarmonyOS Sans SC Black"/>
                <a:ea typeface="+mj-ea"/>
                <a:cs typeface="+mn-cs"/>
              </a:endParaRPr>
            </a:p>
          </p:txBody>
        </p:sp>
        <p:sp>
          <p:nvSpPr>
            <p:cNvPr id="85" name="TextBox 65">
              <a:extLst>
                <a:ext uri="{FF2B5EF4-FFF2-40B4-BE49-F238E27FC236}">
                  <a16:creationId xmlns:a16="http://schemas.microsoft.com/office/drawing/2014/main" id="{BB0E3947-FB22-4672-9366-DAF772BA507E}"/>
                </a:ext>
              </a:extLst>
            </p:cNvPr>
            <p:cNvSpPr txBox="1"/>
            <p:nvPr/>
          </p:nvSpPr>
          <p:spPr>
            <a:xfrm flipH="1">
              <a:off x="2777088" y="4061458"/>
              <a:ext cx="2859171" cy="498204"/>
            </a:xfrm>
            <a:prstGeom prst="rect">
              <a:avLst/>
            </a:prstGeom>
            <a:noFill/>
          </p:spPr>
          <p:txBody>
            <a:bodyPr wrap="square" lIns="0" tIns="36000" rIns="0" bIns="36000" rtlCol="0">
              <a:spAutoFit/>
            </a:bodyPr>
            <a:lstStyle/>
            <a:p>
              <a:pPr marL="0" marR="0" lvl="0" indent="0" algn="l" defTabSz="914400" rtl="0" eaLnBrk="1" fontAlgn="auto" latinLnBrk="0" hangingPunct="1">
                <a:lnSpc>
                  <a:spcPct val="120000"/>
                </a:lnSpc>
                <a:spcBef>
                  <a:spcPts val="600"/>
                </a:spcBef>
                <a:spcAft>
                  <a:spcPts val="0"/>
                </a:spcAft>
                <a:buClrTx/>
                <a:buSzTx/>
                <a:buFontTx/>
                <a:buNone/>
                <a:tabLst/>
                <a:defRPr/>
              </a:pPr>
              <a:r>
                <a:rPr kumimoji="0" lang="en-US" sz="1200" b="0" i="0" u="none" strike="noStrike" kern="1200" cap="none" spc="0" normalizeH="0" baseline="0" noProof="0" dirty="0">
                  <a:ln>
                    <a:noFill/>
                  </a:ln>
                  <a:solidFill>
                    <a:prstClr val="black">
                      <a:lumMod val="50000"/>
                      <a:lumOff val="50000"/>
                    </a:prstClr>
                  </a:solidFill>
                  <a:effectLst/>
                  <a:uLnTx/>
                  <a:uFillTx/>
                  <a:latin typeface="HarmonyOS Sans SC"/>
                  <a:cs typeface="+mn-cs"/>
                </a:rPr>
                <a:t>Apparently we had reached a great height in the.</a:t>
              </a:r>
            </a:p>
          </p:txBody>
        </p:sp>
      </p:grpSp>
      <p:sp>
        <p:nvSpPr>
          <p:cNvPr id="37" name="Freeform 54">
            <a:extLst>
              <a:ext uri="{FF2B5EF4-FFF2-40B4-BE49-F238E27FC236}">
                <a16:creationId xmlns:a16="http://schemas.microsoft.com/office/drawing/2014/main" id="{B9B02345-51F0-42D3-BECA-5C62E5E5DECE}"/>
              </a:ext>
            </a:extLst>
          </p:cNvPr>
          <p:cNvSpPr>
            <a:spLocks noEditPoints="1"/>
          </p:cNvSpPr>
          <p:nvPr/>
        </p:nvSpPr>
        <p:spPr bwMode="auto">
          <a:xfrm>
            <a:off x="6133189" y="5540967"/>
            <a:ext cx="493712" cy="0"/>
          </a:xfrm>
          <a:custGeom>
            <a:avLst/>
            <a:gdLst>
              <a:gd name="T0" fmla="*/ 61 w 311"/>
              <a:gd name="T1" fmla="*/ 0 w 311"/>
              <a:gd name="T2" fmla="*/ 0 w 311"/>
              <a:gd name="T3" fmla="*/ 61 w 311"/>
              <a:gd name="T4" fmla="*/ 61 w 311"/>
              <a:gd name="T5" fmla="*/ 153 w 311"/>
              <a:gd name="T6" fmla="*/ 92 w 311"/>
              <a:gd name="T7" fmla="*/ 92 w 311"/>
              <a:gd name="T8" fmla="*/ 153 w 311"/>
              <a:gd name="T9" fmla="*/ 153 w 311"/>
              <a:gd name="T10" fmla="*/ 245 w 311"/>
              <a:gd name="T11" fmla="*/ 184 w 311"/>
              <a:gd name="T12" fmla="*/ 184 w 311"/>
              <a:gd name="T13" fmla="*/ 245 w 311"/>
              <a:gd name="T14" fmla="*/ 245 w 311"/>
              <a:gd name="T15" fmla="*/ 311 w 311"/>
              <a:gd name="T16" fmla="*/ 275 w 311"/>
              <a:gd name="T17" fmla="*/ 275 w 311"/>
              <a:gd name="T18" fmla="*/ 311 w 311"/>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 ang="0">
                <a:pos x="T11" y="0"/>
              </a:cxn>
              <a:cxn ang="0">
                <a:pos x="T12" y="0"/>
              </a:cxn>
              <a:cxn ang="0">
                <a:pos x="T13" y="0"/>
              </a:cxn>
              <a:cxn ang="0">
                <a:pos x="T14" y="0"/>
              </a:cxn>
              <a:cxn ang="0">
                <a:pos x="T15" y="0"/>
              </a:cxn>
              <a:cxn ang="0">
                <a:pos x="T16" y="0"/>
              </a:cxn>
              <a:cxn ang="0">
                <a:pos x="T17" y="0"/>
              </a:cxn>
              <a:cxn ang="0">
                <a:pos x="T18" y="0"/>
              </a:cxn>
            </a:cxnLst>
            <a:rect l="0" t="0" r="r" b="b"/>
            <a:pathLst>
              <a:path w="311">
                <a:moveTo>
                  <a:pt x="61" y="0"/>
                </a:moveTo>
                <a:lnTo>
                  <a:pt x="0" y="0"/>
                </a:lnTo>
                <a:lnTo>
                  <a:pt x="0" y="0"/>
                </a:lnTo>
                <a:lnTo>
                  <a:pt x="61" y="0"/>
                </a:lnTo>
                <a:lnTo>
                  <a:pt x="61" y="0"/>
                </a:lnTo>
                <a:close/>
                <a:moveTo>
                  <a:pt x="153" y="0"/>
                </a:moveTo>
                <a:lnTo>
                  <a:pt x="92" y="0"/>
                </a:lnTo>
                <a:lnTo>
                  <a:pt x="92" y="0"/>
                </a:lnTo>
                <a:lnTo>
                  <a:pt x="153" y="0"/>
                </a:lnTo>
                <a:lnTo>
                  <a:pt x="153" y="0"/>
                </a:lnTo>
                <a:close/>
                <a:moveTo>
                  <a:pt x="245" y="0"/>
                </a:moveTo>
                <a:lnTo>
                  <a:pt x="184" y="0"/>
                </a:lnTo>
                <a:lnTo>
                  <a:pt x="184" y="0"/>
                </a:lnTo>
                <a:lnTo>
                  <a:pt x="245" y="0"/>
                </a:lnTo>
                <a:lnTo>
                  <a:pt x="245" y="0"/>
                </a:lnTo>
                <a:close/>
                <a:moveTo>
                  <a:pt x="311" y="0"/>
                </a:moveTo>
                <a:lnTo>
                  <a:pt x="275" y="0"/>
                </a:lnTo>
                <a:lnTo>
                  <a:pt x="275" y="0"/>
                </a:lnTo>
                <a:lnTo>
                  <a:pt x="311" y="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sp>
        <p:nvSpPr>
          <p:cNvPr id="38" name="Freeform 55">
            <a:extLst>
              <a:ext uri="{FF2B5EF4-FFF2-40B4-BE49-F238E27FC236}">
                <a16:creationId xmlns:a16="http://schemas.microsoft.com/office/drawing/2014/main" id="{37608D8D-4D88-46BB-A08C-C1D57F7D7475}"/>
              </a:ext>
            </a:extLst>
          </p:cNvPr>
          <p:cNvSpPr>
            <a:spLocks noEditPoints="1"/>
          </p:cNvSpPr>
          <p:nvPr/>
        </p:nvSpPr>
        <p:spPr bwMode="auto">
          <a:xfrm>
            <a:off x="6133189" y="5540967"/>
            <a:ext cx="493712" cy="0"/>
          </a:xfrm>
          <a:custGeom>
            <a:avLst/>
            <a:gdLst>
              <a:gd name="T0" fmla="*/ 61 w 311"/>
              <a:gd name="T1" fmla="*/ 0 w 311"/>
              <a:gd name="T2" fmla="*/ 0 w 311"/>
              <a:gd name="T3" fmla="*/ 61 w 311"/>
              <a:gd name="T4" fmla="*/ 61 w 311"/>
              <a:gd name="T5" fmla="*/ 153 w 311"/>
              <a:gd name="T6" fmla="*/ 92 w 311"/>
              <a:gd name="T7" fmla="*/ 92 w 311"/>
              <a:gd name="T8" fmla="*/ 153 w 311"/>
              <a:gd name="T9" fmla="*/ 153 w 311"/>
              <a:gd name="T10" fmla="*/ 245 w 311"/>
              <a:gd name="T11" fmla="*/ 184 w 311"/>
              <a:gd name="T12" fmla="*/ 184 w 311"/>
              <a:gd name="T13" fmla="*/ 245 w 311"/>
              <a:gd name="T14" fmla="*/ 245 w 311"/>
              <a:gd name="T15" fmla="*/ 311 w 311"/>
              <a:gd name="T16" fmla="*/ 275 w 311"/>
              <a:gd name="T17" fmla="*/ 275 w 311"/>
              <a:gd name="T18" fmla="*/ 311 w 311"/>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 ang="0">
                <a:pos x="T11" y="0"/>
              </a:cxn>
              <a:cxn ang="0">
                <a:pos x="T12" y="0"/>
              </a:cxn>
              <a:cxn ang="0">
                <a:pos x="T13" y="0"/>
              </a:cxn>
              <a:cxn ang="0">
                <a:pos x="T14" y="0"/>
              </a:cxn>
              <a:cxn ang="0">
                <a:pos x="T15" y="0"/>
              </a:cxn>
              <a:cxn ang="0">
                <a:pos x="T16" y="0"/>
              </a:cxn>
              <a:cxn ang="0">
                <a:pos x="T17" y="0"/>
              </a:cxn>
              <a:cxn ang="0">
                <a:pos x="T18" y="0"/>
              </a:cxn>
            </a:cxnLst>
            <a:rect l="0" t="0" r="r" b="b"/>
            <a:pathLst>
              <a:path w="311">
                <a:moveTo>
                  <a:pt x="61" y="0"/>
                </a:moveTo>
                <a:lnTo>
                  <a:pt x="0" y="0"/>
                </a:lnTo>
                <a:lnTo>
                  <a:pt x="0" y="0"/>
                </a:lnTo>
                <a:lnTo>
                  <a:pt x="61" y="0"/>
                </a:lnTo>
                <a:lnTo>
                  <a:pt x="61" y="0"/>
                </a:lnTo>
                <a:moveTo>
                  <a:pt x="153" y="0"/>
                </a:moveTo>
                <a:lnTo>
                  <a:pt x="92" y="0"/>
                </a:lnTo>
                <a:lnTo>
                  <a:pt x="92" y="0"/>
                </a:lnTo>
                <a:lnTo>
                  <a:pt x="153" y="0"/>
                </a:lnTo>
                <a:lnTo>
                  <a:pt x="153" y="0"/>
                </a:lnTo>
                <a:moveTo>
                  <a:pt x="245" y="0"/>
                </a:moveTo>
                <a:lnTo>
                  <a:pt x="184" y="0"/>
                </a:lnTo>
                <a:lnTo>
                  <a:pt x="184" y="0"/>
                </a:lnTo>
                <a:lnTo>
                  <a:pt x="245" y="0"/>
                </a:lnTo>
                <a:lnTo>
                  <a:pt x="245" y="0"/>
                </a:lnTo>
                <a:moveTo>
                  <a:pt x="311" y="0"/>
                </a:moveTo>
                <a:lnTo>
                  <a:pt x="275" y="0"/>
                </a:lnTo>
                <a:lnTo>
                  <a:pt x="275" y="0"/>
                </a:lnTo>
                <a:lnTo>
                  <a:pt x="31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grpSp>
        <p:nvGrpSpPr>
          <p:cNvPr id="90" name="组合 89">
            <a:extLst>
              <a:ext uri="{FF2B5EF4-FFF2-40B4-BE49-F238E27FC236}">
                <a16:creationId xmlns:a16="http://schemas.microsoft.com/office/drawing/2014/main" id="{D1608A00-B7F7-420E-84E1-B1ADF1185DE1}"/>
              </a:ext>
            </a:extLst>
          </p:cNvPr>
          <p:cNvGrpSpPr/>
          <p:nvPr/>
        </p:nvGrpSpPr>
        <p:grpSpPr>
          <a:xfrm>
            <a:off x="1148036" y="5124150"/>
            <a:ext cx="4970308" cy="881603"/>
            <a:chOff x="1173436" y="5124150"/>
            <a:chExt cx="4970308" cy="881603"/>
          </a:xfrm>
        </p:grpSpPr>
        <p:sp>
          <p:nvSpPr>
            <p:cNvPr id="39" name="Freeform 56">
              <a:extLst>
                <a:ext uri="{FF2B5EF4-FFF2-40B4-BE49-F238E27FC236}">
                  <a16:creationId xmlns:a16="http://schemas.microsoft.com/office/drawing/2014/main" id="{B83D4441-29EC-416B-B650-DE938CD02511}"/>
                </a:ext>
              </a:extLst>
            </p:cNvPr>
            <p:cNvSpPr>
              <a:spLocks noEditPoints="1"/>
            </p:cNvSpPr>
            <p:nvPr/>
          </p:nvSpPr>
          <p:spPr bwMode="auto">
            <a:xfrm>
              <a:off x="5659557" y="5541139"/>
              <a:ext cx="484187" cy="47625"/>
            </a:xfrm>
            <a:custGeom>
              <a:avLst/>
              <a:gdLst>
                <a:gd name="T0" fmla="*/ 6 w 120"/>
                <a:gd name="T1" fmla="*/ 0 h 12"/>
                <a:gd name="T2" fmla="*/ 0 w 120"/>
                <a:gd name="T3" fmla="*/ 6 h 12"/>
                <a:gd name="T4" fmla="*/ 6 w 120"/>
                <a:gd name="T5" fmla="*/ 12 h 12"/>
                <a:gd name="T6" fmla="*/ 12 w 120"/>
                <a:gd name="T7" fmla="*/ 6 h 12"/>
                <a:gd name="T8" fmla="*/ 12 w 120"/>
                <a:gd name="T9" fmla="*/ 6 h 12"/>
                <a:gd name="T10" fmla="*/ 12 w 120"/>
                <a:gd name="T11" fmla="*/ 6 h 12"/>
                <a:gd name="T12" fmla="*/ 6 w 120"/>
                <a:gd name="T13" fmla="*/ 0 h 12"/>
                <a:gd name="T14" fmla="*/ 42 w 120"/>
                <a:gd name="T15" fmla="*/ 0 h 12"/>
                <a:gd name="T16" fmla="*/ 36 w 120"/>
                <a:gd name="T17" fmla="*/ 6 h 12"/>
                <a:gd name="T18" fmla="*/ 36 w 120"/>
                <a:gd name="T19" fmla="*/ 6 h 12"/>
                <a:gd name="T20" fmla="*/ 36 w 120"/>
                <a:gd name="T21" fmla="*/ 6 h 12"/>
                <a:gd name="T22" fmla="*/ 42 w 120"/>
                <a:gd name="T23" fmla="*/ 12 h 12"/>
                <a:gd name="T24" fmla="*/ 48 w 120"/>
                <a:gd name="T25" fmla="*/ 6 h 12"/>
                <a:gd name="T26" fmla="*/ 48 w 120"/>
                <a:gd name="T27" fmla="*/ 6 h 12"/>
                <a:gd name="T28" fmla="*/ 48 w 120"/>
                <a:gd name="T29" fmla="*/ 6 h 12"/>
                <a:gd name="T30" fmla="*/ 42 w 120"/>
                <a:gd name="T31" fmla="*/ 0 h 12"/>
                <a:gd name="T32" fmla="*/ 78 w 120"/>
                <a:gd name="T33" fmla="*/ 0 h 12"/>
                <a:gd name="T34" fmla="*/ 72 w 120"/>
                <a:gd name="T35" fmla="*/ 6 h 12"/>
                <a:gd name="T36" fmla="*/ 72 w 120"/>
                <a:gd name="T37" fmla="*/ 6 h 12"/>
                <a:gd name="T38" fmla="*/ 72 w 120"/>
                <a:gd name="T39" fmla="*/ 6 h 12"/>
                <a:gd name="T40" fmla="*/ 78 w 120"/>
                <a:gd name="T41" fmla="*/ 12 h 12"/>
                <a:gd name="T42" fmla="*/ 84 w 120"/>
                <a:gd name="T43" fmla="*/ 6 h 12"/>
                <a:gd name="T44" fmla="*/ 84 w 120"/>
                <a:gd name="T45" fmla="*/ 6 h 12"/>
                <a:gd name="T46" fmla="*/ 84 w 120"/>
                <a:gd name="T47" fmla="*/ 6 h 12"/>
                <a:gd name="T48" fmla="*/ 78 w 120"/>
                <a:gd name="T49" fmla="*/ 0 h 12"/>
                <a:gd name="T50" fmla="*/ 114 w 120"/>
                <a:gd name="T51" fmla="*/ 0 h 12"/>
                <a:gd name="T52" fmla="*/ 108 w 120"/>
                <a:gd name="T53" fmla="*/ 6 h 12"/>
                <a:gd name="T54" fmla="*/ 108 w 120"/>
                <a:gd name="T55" fmla="*/ 6 h 12"/>
                <a:gd name="T56" fmla="*/ 108 w 120"/>
                <a:gd name="T57" fmla="*/ 6 h 12"/>
                <a:gd name="T58" fmla="*/ 114 w 120"/>
                <a:gd name="T59" fmla="*/ 12 h 12"/>
                <a:gd name="T60" fmla="*/ 120 w 120"/>
                <a:gd name="T61" fmla="*/ 6 h 12"/>
                <a:gd name="T62" fmla="*/ 120 w 120"/>
                <a:gd name="T63" fmla="*/ 6 h 12"/>
                <a:gd name="T64" fmla="*/ 120 w 120"/>
                <a:gd name="T65" fmla="*/ 6 h 12"/>
                <a:gd name="T66" fmla="*/ 114 w 120"/>
                <a:gd name="T6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20" h="12">
                  <a:moveTo>
                    <a:pt x="6" y="0"/>
                  </a:moveTo>
                  <a:cubicBezTo>
                    <a:pt x="3" y="0"/>
                    <a:pt x="0" y="3"/>
                    <a:pt x="0" y="6"/>
                  </a:cubicBezTo>
                  <a:cubicBezTo>
                    <a:pt x="0" y="10"/>
                    <a:pt x="3" y="12"/>
                    <a:pt x="6" y="12"/>
                  </a:cubicBezTo>
                  <a:cubicBezTo>
                    <a:pt x="10" y="12"/>
                    <a:pt x="12" y="10"/>
                    <a:pt x="12" y="6"/>
                  </a:cubicBezTo>
                  <a:cubicBezTo>
                    <a:pt x="12" y="6"/>
                    <a:pt x="12" y="6"/>
                    <a:pt x="12" y="6"/>
                  </a:cubicBezTo>
                  <a:cubicBezTo>
                    <a:pt x="12" y="6"/>
                    <a:pt x="12" y="6"/>
                    <a:pt x="12" y="6"/>
                  </a:cubicBezTo>
                  <a:cubicBezTo>
                    <a:pt x="12" y="3"/>
                    <a:pt x="10" y="0"/>
                    <a:pt x="6" y="0"/>
                  </a:cubicBezTo>
                  <a:moveTo>
                    <a:pt x="42" y="0"/>
                  </a:moveTo>
                  <a:cubicBezTo>
                    <a:pt x="39" y="0"/>
                    <a:pt x="36" y="3"/>
                    <a:pt x="36" y="6"/>
                  </a:cubicBezTo>
                  <a:cubicBezTo>
                    <a:pt x="36" y="6"/>
                    <a:pt x="36" y="6"/>
                    <a:pt x="36" y="6"/>
                  </a:cubicBezTo>
                  <a:cubicBezTo>
                    <a:pt x="36" y="6"/>
                    <a:pt x="36" y="6"/>
                    <a:pt x="36" y="6"/>
                  </a:cubicBezTo>
                  <a:cubicBezTo>
                    <a:pt x="36" y="10"/>
                    <a:pt x="39" y="12"/>
                    <a:pt x="42" y="12"/>
                  </a:cubicBezTo>
                  <a:cubicBezTo>
                    <a:pt x="46" y="12"/>
                    <a:pt x="48" y="10"/>
                    <a:pt x="48" y="6"/>
                  </a:cubicBezTo>
                  <a:cubicBezTo>
                    <a:pt x="48" y="6"/>
                    <a:pt x="48" y="6"/>
                    <a:pt x="48" y="6"/>
                  </a:cubicBezTo>
                  <a:cubicBezTo>
                    <a:pt x="48" y="6"/>
                    <a:pt x="48" y="6"/>
                    <a:pt x="48" y="6"/>
                  </a:cubicBezTo>
                  <a:cubicBezTo>
                    <a:pt x="48" y="3"/>
                    <a:pt x="46" y="0"/>
                    <a:pt x="42" y="0"/>
                  </a:cubicBezTo>
                  <a:moveTo>
                    <a:pt x="78" y="0"/>
                  </a:moveTo>
                  <a:cubicBezTo>
                    <a:pt x="75" y="0"/>
                    <a:pt x="72" y="3"/>
                    <a:pt x="72" y="6"/>
                  </a:cubicBezTo>
                  <a:cubicBezTo>
                    <a:pt x="72" y="6"/>
                    <a:pt x="72" y="6"/>
                    <a:pt x="72" y="6"/>
                  </a:cubicBezTo>
                  <a:cubicBezTo>
                    <a:pt x="72" y="6"/>
                    <a:pt x="72" y="6"/>
                    <a:pt x="72" y="6"/>
                  </a:cubicBezTo>
                  <a:cubicBezTo>
                    <a:pt x="72" y="10"/>
                    <a:pt x="75" y="12"/>
                    <a:pt x="78" y="12"/>
                  </a:cubicBezTo>
                  <a:cubicBezTo>
                    <a:pt x="82" y="12"/>
                    <a:pt x="84" y="10"/>
                    <a:pt x="84" y="6"/>
                  </a:cubicBezTo>
                  <a:cubicBezTo>
                    <a:pt x="84" y="6"/>
                    <a:pt x="84" y="6"/>
                    <a:pt x="84" y="6"/>
                  </a:cubicBezTo>
                  <a:cubicBezTo>
                    <a:pt x="84" y="6"/>
                    <a:pt x="84" y="6"/>
                    <a:pt x="84" y="6"/>
                  </a:cubicBezTo>
                  <a:cubicBezTo>
                    <a:pt x="84" y="3"/>
                    <a:pt x="82" y="0"/>
                    <a:pt x="78" y="0"/>
                  </a:cubicBezTo>
                  <a:moveTo>
                    <a:pt x="114" y="0"/>
                  </a:moveTo>
                  <a:cubicBezTo>
                    <a:pt x="111" y="0"/>
                    <a:pt x="108" y="3"/>
                    <a:pt x="108" y="6"/>
                  </a:cubicBezTo>
                  <a:cubicBezTo>
                    <a:pt x="108" y="6"/>
                    <a:pt x="108" y="6"/>
                    <a:pt x="108" y="6"/>
                  </a:cubicBezTo>
                  <a:cubicBezTo>
                    <a:pt x="108" y="6"/>
                    <a:pt x="108" y="6"/>
                    <a:pt x="108" y="6"/>
                  </a:cubicBezTo>
                  <a:cubicBezTo>
                    <a:pt x="108" y="10"/>
                    <a:pt x="111" y="12"/>
                    <a:pt x="114" y="12"/>
                  </a:cubicBezTo>
                  <a:cubicBezTo>
                    <a:pt x="118" y="12"/>
                    <a:pt x="120" y="10"/>
                    <a:pt x="120" y="6"/>
                  </a:cubicBezTo>
                  <a:cubicBezTo>
                    <a:pt x="120" y="6"/>
                    <a:pt x="120" y="6"/>
                    <a:pt x="120" y="6"/>
                  </a:cubicBezTo>
                  <a:cubicBezTo>
                    <a:pt x="120" y="6"/>
                    <a:pt x="120" y="6"/>
                    <a:pt x="120" y="6"/>
                  </a:cubicBezTo>
                  <a:cubicBezTo>
                    <a:pt x="120" y="3"/>
                    <a:pt x="118" y="0"/>
                    <a:pt x="114" y="0"/>
                  </a:cubicBezTo>
                </a:path>
              </a:pathLst>
            </a:cu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grpSp>
          <p:nvGrpSpPr>
            <p:cNvPr id="56" name="Group 78">
              <a:extLst>
                <a:ext uri="{FF2B5EF4-FFF2-40B4-BE49-F238E27FC236}">
                  <a16:creationId xmlns:a16="http://schemas.microsoft.com/office/drawing/2014/main" id="{50207733-0DCA-4392-AA7A-B55CC89A02A6}"/>
                </a:ext>
              </a:extLst>
            </p:cNvPr>
            <p:cNvGrpSpPr/>
            <p:nvPr/>
          </p:nvGrpSpPr>
          <p:grpSpPr>
            <a:xfrm>
              <a:off x="1173436" y="5278037"/>
              <a:ext cx="923652" cy="573828"/>
              <a:chOff x="8420100" y="1390651"/>
              <a:chExt cx="2493963" cy="1549400"/>
            </a:xfrm>
            <a:gradFill>
              <a:gsLst>
                <a:gs pos="73000">
                  <a:schemeClr val="accent1"/>
                </a:gs>
                <a:gs pos="31000">
                  <a:schemeClr val="accent1">
                    <a:lumMod val="60000"/>
                    <a:lumOff val="40000"/>
                  </a:schemeClr>
                </a:gs>
                <a:gs pos="0">
                  <a:schemeClr val="accent1">
                    <a:lumMod val="40000"/>
                    <a:lumOff val="60000"/>
                  </a:schemeClr>
                </a:gs>
              </a:gsLst>
              <a:path path="circle">
                <a:fillToRect r="100000" b="100000"/>
              </a:path>
            </a:gradFill>
          </p:grpSpPr>
          <p:sp>
            <p:nvSpPr>
              <p:cNvPr id="57" name="Freeform 25">
                <a:extLst>
                  <a:ext uri="{FF2B5EF4-FFF2-40B4-BE49-F238E27FC236}">
                    <a16:creationId xmlns:a16="http://schemas.microsoft.com/office/drawing/2014/main" id="{8211834A-7695-4966-B90E-32A4999C3623}"/>
                  </a:ext>
                </a:extLst>
              </p:cNvPr>
              <p:cNvSpPr>
                <a:spLocks/>
              </p:cNvSpPr>
              <p:nvPr/>
            </p:nvSpPr>
            <p:spPr bwMode="auto">
              <a:xfrm>
                <a:off x="9567863" y="2698751"/>
                <a:ext cx="198438" cy="241300"/>
              </a:xfrm>
              <a:custGeom>
                <a:avLst/>
                <a:gdLst>
                  <a:gd name="T0" fmla="*/ 81 w 162"/>
                  <a:gd name="T1" fmla="*/ 1 h 199"/>
                  <a:gd name="T2" fmla="*/ 0 w 162"/>
                  <a:gd name="T3" fmla="*/ 0 h 199"/>
                  <a:gd name="T4" fmla="*/ 0 w 162"/>
                  <a:gd name="T5" fmla="*/ 118 h 199"/>
                  <a:gd name="T6" fmla="*/ 81 w 162"/>
                  <a:gd name="T7" fmla="*/ 199 h 199"/>
                  <a:gd name="T8" fmla="*/ 162 w 162"/>
                  <a:gd name="T9" fmla="*/ 118 h 199"/>
                  <a:gd name="T10" fmla="*/ 162 w 162"/>
                  <a:gd name="T11" fmla="*/ 0 h 199"/>
                  <a:gd name="T12" fmla="*/ 81 w 162"/>
                  <a:gd name="T13" fmla="*/ 1 h 199"/>
                </a:gdLst>
                <a:ahLst/>
                <a:cxnLst>
                  <a:cxn ang="0">
                    <a:pos x="T0" y="T1"/>
                  </a:cxn>
                  <a:cxn ang="0">
                    <a:pos x="T2" y="T3"/>
                  </a:cxn>
                  <a:cxn ang="0">
                    <a:pos x="T4" y="T5"/>
                  </a:cxn>
                  <a:cxn ang="0">
                    <a:pos x="T6" y="T7"/>
                  </a:cxn>
                  <a:cxn ang="0">
                    <a:pos x="T8" y="T9"/>
                  </a:cxn>
                  <a:cxn ang="0">
                    <a:pos x="T10" y="T11"/>
                  </a:cxn>
                  <a:cxn ang="0">
                    <a:pos x="T12" y="T13"/>
                  </a:cxn>
                </a:cxnLst>
                <a:rect l="0" t="0" r="r" b="b"/>
                <a:pathLst>
                  <a:path w="162" h="199">
                    <a:moveTo>
                      <a:pt x="81" y="1"/>
                    </a:moveTo>
                    <a:cubicBezTo>
                      <a:pt x="54" y="1"/>
                      <a:pt x="27" y="1"/>
                      <a:pt x="0" y="0"/>
                    </a:cubicBezTo>
                    <a:cubicBezTo>
                      <a:pt x="0" y="118"/>
                      <a:pt x="0" y="118"/>
                      <a:pt x="0" y="118"/>
                    </a:cubicBezTo>
                    <a:cubicBezTo>
                      <a:pt x="0" y="162"/>
                      <a:pt x="36" y="199"/>
                      <a:pt x="81" y="199"/>
                    </a:cubicBezTo>
                    <a:cubicBezTo>
                      <a:pt x="126" y="199"/>
                      <a:pt x="162" y="162"/>
                      <a:pt x="162" y="118"/>
                    </a:cubicBezTo>
                    <a:cubicBezTo>
                      <a:pt x="162" y="0"/>
                      <a:pt x="162" y="0"/>
                      <a:pt x="162" y="0"/>
                    </a:cubicBezTo>
                    <a:cubicBezTo>
                      <a:pt x="135" y="1"/>
                      <a:pt x="108" y="1"/>
                      <a:pt x="8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sp>
            <p:nvSpPr>
              <p:cNvPr id="58" name="Freeform 26">
                <a:extLst>
                  <a:ext uri="{FF2B5EF4-FFF2-40B4-BE49-F238E27FC236}">
                    <a16:creationId xmlns:a16="http://schemas.microsoft.com/office/drawing/2014/main" id="{F59C82A4-7A12-484A-B339-95DA06335FF8}"/>
                  </a:ext>
                </a:extLst>
              </p:cNvPr>
              <p:cNvSpPr>
                <a:spLocks/>
              </p:cNvSpPr>
              <p:nvPr/>
            </p:nvSpPr>
            <p:spPr bwMode="auto">
              <a:xfrm>
                <a:off x="8943975" y="2646363"/>
                <a:ext cx="273050" cy="293688"/>
              </a:xfrm>
              <a:custGeom>
                <a:avLst/>
                <a:gdLst>
                  <a:gd name="T0" fmla="*/ 61 w 224"/>
                  <a:gd name="T1" fmla="*/ 0 h 241"/>
                  <a:gd name="T2" fmla="*/ 15 w 224"/>
                  <a:gd name="T3" fmla="*/ 133 h 241"/>
                  <a:gd name="T4" fmla="*/ 64 w 224"/>
                  <a:gd name="T5" fmla="*/ 236 h 241"/>
                  <a:gd name="T6" fmla="*/ 91 w 224"/>
                  <a:gd name="T7" fmla="*/ 241 h 241"/>
                  <a:gd name="T8" fmla="*/ 167 w 224"/>
                  <a:gd name="T9" fmla="*/ 187 h 241"/>
                  <a:gd name="T10" fmla="*/ 224 w 224"/>
                  <a:gd name="T11" fmla="*/ 23 h 241"/>
                  <a:gd name="T12" fmla="*/ 61 w 224"/>
                  <a:gd name="T13" fmla="*/ 0 h 241"/>
                </a:gdLst>
                <a:ahLst/>
                <a:cxnLst>
                  <a:cxn ang="0">
                    <a:pos x="T0" y="T1"/>
                  </a:cxn>
                  <a:cxn ang="0">
                    <a:pos x="T2" y="T3"/>
                  </a:cxn>
                  <a:cxn ang="0">
                    <a:pos x="T4" y="T5"/>
                  </a:cxn>
                  <a:cxn ang="0">
                    <a:pos x="T6" y="T7"/>
                  </a:cxn>
                  <a:cxn ang="0">
                    <a:pos x="T8" y="T9"/>
                  </a:cxn>
                  <a:cxn ang="0">
                    <a:pos x="T10" y="T11"/>
                  </a:cxn>
                  <a:cxn ang="0">
                    <a:pos x="T12" y="T13"/>
                  </a:cxn>
                </a:cxnLst>
                <a:rect l="0" t="0" r="r" b="b"/>
                <a:pathLst>
                  <a:path w="224" h="241">
                    <a:moveTo>
                      <a:pt x="61" y="0"/>
                    </a:moveTo>
                    <a:cubicBezTo>
                      <a:pt x="15" y="133"/>
                      <a:pt x="15" y="133"/>
                      <a:pt x="15" y="133"/>
                    </a:cubicBezTo>
                    <a:cubicBezTo>
                      <a:pt x="0" y="175"/>
                      <a:pt x="22" y="221"/>
                      <a:pt x="64" y="236"/>
                    </a:cubicBezTo>
                    <a:cubicBezTo>
                      <a:pt x="73" y="239"/>
                      <a:pt x="82" y="241"/>
                      <a:pt x="91" y="241"/>
                    </a:cubicBezTo>
                    <a:cubicBezTo>
                      <a:pt x="124" y="241"/>
                      <a:pt x="156" y="220"/>
                      <a:pt x="167" y="187"/>
                    </a:cubicBezTo>
                    <a:cubicBezTo>
                      <a:pt x="224" y="23"/>
                      <a:pt x="224" y="23"/>
                      <a:pt x="224" y="23"/>
                    </a:cubicBezTo>
                    <a:cubicBezTo>
                      <a:pt x="168" y="17"/>
                      <a:pt x="114" y="9"/>
                      <a:pt x="6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sp>
            <p:nvSpPr>
              <p:cNvPr id="59" name="Freeform 27">
                <a:extLst>
                  <a:ext uri="{FF2B5EF4-FFF2-40B4-BE49-F238E27FC236}">
                    <a16:creationId xmlns:a16="http://schemas.microsoft.com/office/drawing/2014/main" id="{1E9122BA-A406-4367-9774-132C79FF56AF}"/>
                  </a:ext>
                </a:extLst>
              </p:cNvPr>
              <p:cNvSpPr>
                <a:spLocks/>
              </p:cNvSpPr>
              <p:nvPr/>
            </p:nvSpPr>
            <p:spPr bwMode="auto">
              <a:xfrm>
                <a:off x="10118725" y="2646363"/>
                <a:ext cx="271463" cy="293688"/>
              </a:xfrm>
              <a:custGeom>
                <a:avLst/>
                <a:gdLst>
                  <a:gd name="T0" fmla="*/ 209 w 224"/>
                  <a:gd name="T1" fmla="*/ 133 h 241"/>
                  <a:gd name="T2" fmla="*/ 163 w 224"/>
                  <a:gd name="T3" fmla="*/ 0 h 241"/>
                  <a:gd name="T4" fmla="*/ 0 w 224"/>
                  <a:gd name="T5" fmla="*/ 23 h 241"/>
                  <a:gd name="T6" fmla="*/ 57 w 224"/>
                  <a:gd name="T7" fmla="*/ 187 h 241"/>
                  <a:gd name="T8" fmla="*/ 133 w 224"/>
                  <a:gd name="T9" fmla="*/ 241 h 241"/>
                  <a:gd name="T10" fmla="*/ 160 w 224"/>
                  <a:gd name="T11" fmla="*/ 236 h 241"/>
                  <a:gd name="T12" fmla="*/ 209 w 224"/>
                  <a:gd name="T13" fmla="*/ 133 h 241"/>
                </a:gdLst>
                <a:ahLst/>
                <a:cxnLst>
                  <a:cxn ang="0">
                    <a:pos x="T0" y="T1"/>
                  </a:cxn>
                  <a:cxn ang="0">
                    <a:pos x="T2" y="T3"/>
                  </a:cxn>
                  <a:cxn ang="0">
                    <a:pos x="T4" y="T5"/>
                  </a:cxn>
                  <a:cxn ang="0">
                    <a:pos x="T6" y="T7"/>
                  </a:cxn>
                  <a:cxn ang="0">
                    <a:pos x="T8" y="T9"/>
                  </a:cxn>
                  <a:cxn ang="0">
                    <a:pos x="T10" y="T11"/>
                  </a:cxn>
                  <a:cxn ang="0">
                    <a:pos x="T12" y="T13"/>
                  </a:cxn>
                </a:cxnLst>
                <a:rect l="0" t="0" r="r" b="b"/>
                <a:pathLst>
                  <a:path w="224" h="241">
                    <a:moveTo>
                      <a:pt x="209" y="133"/>
                    </a:moveTo>
                    <a:cubicBezTo>
                      <a:pt x="163" y="0"/>
                      <a:pt x="163" y="0"/>
                      <a:pt x="163" y="0"/>
                    </a:cubicBezTo>
                    <a:cubicBezTo>
                      <a:pt x="110" y="9"/>
                      <a:pt x="56" y="17"/>
                      <a:pt x="0" y="23"/>
                    </a:cubicBezTo>
                    <a:cubicBezTo>
                      <a:pt x="57" y="187"/>
                      <a:pt x="57" y="187"/>
                      <a:pt x="57" y="187"/>
                    </a:cubicBezTo>
                    <a:cubicBezTo>
                      <a:pt x="68" y="220"/>
                      <a:pt x="100" y="241"/>
                      <a:pt x="133" y="241"/>
                    </a:cubicBezTo>
                    <a:cubicBezTo>
                      <a:pt x="142" y="241"/>
                      <a:pt x="151" y="239"/>
                      <a:pt x="160" y="236"/>
                    </a:cubicBezTo>
                    <a:cubicBezTo>
                      <a:pt x="202" y="221"/>
                      <a:pt x="224" y="175"/>
                      <a:pt x="209" y="1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sp>
            <p:nvSpPr>
              <p:cNvPr id="60" name="Freeform 28">
                <a:extLst>
                  <a:ext uri="{FF2B5EF4-FFF2-40B4-BE49-F238E27FC236}">
                    <a16:creationId xmlns:a16="http://schemas.microsoft.com/office/drawing/2014/main" id="{831FB2C6-E499-4EF3-83A0-6C9317680158}"/>
                  </a:ext>
                </a:extLst>
              </p:cNvPr>
              <p:cNvSpPr>
                <a:spLocks/>
              </p:cNvSpPr>
              <p:nvPr/>
            </p:nvSpPr>
            <p:spPr bwMode="auto">
              <a:xfrm>
                <a:off x="8420100" y="1709738"/>
                <a:ext cx="2493963" cy="792163"/>
              </a:xfrm>
              <a:custGeom>
                <a:avLst/>
                <a:gdLst>
                  <a:gd name="T0" fmla="*/ 1592 w 2048"/>
                  <a:gd name="T1" fmla="*/ 3 h 651"/>
                  <a:gd name="T2" fmla="*/ 1615 w 2048"/>
                  <a:gd name="T3" fmla="*/ 163 h 651"/>
                  <a:gd name="T4" fmla="*/ 1519 w 2048"/>
                  <a:gd name="T5" fmla="*/ 311 h 651"/>
                  <a:gd name="T6" fmla="*/ 1029 w 2048"/>
                  <a:gd name="T7" fmla="*/ 409 h 651"/>
                  <a:gd name="T8" fmla="*/ 539 w 2048"/>
                  <a:gd name="T9" fmla="*/ 311 h 651"/>
                  <a:gd name="T10" fmla="*/ 443 w 2048"/>
                  <a:gd name="T11" fmla="*/ 163 h 651"/>
                  <a:gd name="T12" fmla="*/ 466 w 2048"/>
                  <a:gd name="T13" fmla="*/ 0 h 651"/>
                  <a:gd name="T14" fmla="*/ 0 w 2048"/>
                  <a:gd name="T15" fmla="*/ 301 h 651"/>
                  <a:gd name="T16" fmla="*/ 335 w 2048"/>
                  <a:gd name="T17" fmla="*/ 569 h 651"/>
                  <a:gd name="T18" fmla="*/ 545 w 2048"/>
                  <a:gd name="T19" fmla="*/ 615 h 651"/>
                  <a:gd name="T20" fmla="*/ 709 w 2048"/>
                  <a:gd name="T21" fmla="*/ 636 h 651"/>
                  <a:gd name="T22" fmla="*/ 943 w 2048"/>
                  <a:gd name="T23" fmla="*/ 650 h 651"/>
                  <a:gd name="T24" fmla="*/ 1024 w 2048"/>
                  <a:gd name="T25" fmla="*/ 651 h 651"/>
                  <a:gd name="T26" fmla="*/ 1105 w 2048"/>
                  <a:gd name="T27" fmla="*/ 650 h 651"/>
                  <a:gd name="T28" fmla="*/ 1339 w 2048"/>
                  <a:gd name="T29" fmla="*/ 636 h 651"/>
                  <a:gd name="T30" fmla="*/ 1503 w 2048"/>
                  <a:gd name="T31" fmla="*/ 615 h 651"/>
                  <a:gd name="T32" fmla="*/ 1713 w 2048"/>
                  <a:gd name="T33" fmla="*/ 569 h 651"/>
                  <a:gd name="T34" fmla="*/ 2048 w 2048"/>
                  <a:gd name="T35" fmla="*/ 301 h 651"/>
                  <a:gd name="T36" fmla="*/ 1592 w 2048"/>
                  <a:gd name="T37" fmla="*/ 3 h 6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048" h="651">
                    <a:moveTo>
                      <a:pt x="1592" y="3"/>
                    </a:moveTo>
                    <a:cubicBezTo>
                      <a:pt x="1607" y="54"/>
                      <a:pt x="1615" y="108"/>
                      <a:pt x="1615" y="163"/>
                    </a:cubicBezTo>
                    <a:cubicBezTo>
                      <a:pt x="1615" y="227"/>
                      <a:pt x="1577" y="285"/>
                      <a:pt x="1519" y="311"/>
                    </a:cubicBezTo>
                    <a:cubicBezTo>
                      <a:pt x="1510" y="315"/>
                      <a:pt x="1294" y="409"/>
                      <a:pt x="1029" y="409"/>
                    </a:cubicBezTo>
                    <a:cubicBezTo>
                      <a:pt x="763" y="409"/>
                      <a:pt x="548" y="315"/>
                      <a:pt x="539" y="311"/>
                    </a:cubicBezTo>
                    <a:cubicBezTo>
                      <a:pt x="481" y="285"/>
                      <a:pt x="443" y="227"/>
                      <a:pt x="443" y="163"/>
                    </a:cubicBezTo>
                    <a:cubicBezTo>
                      <a:pt x="443" y="107"/>
                      <a:pt x="451" y="53"/>
                      <a:pt x="466" y="0"/>
                    </a:cubicBezTo>
                    <a:cubicBezTo>
                      <a:pt x="250" y="44"/>
                      <a:pt x="0" y="131"/>
                      <a:pt x="0" y="301"/>
                    </a:cubicBezTo>
                    <a:cubicBezTo>
                      <a:pt x="0" y="415"/>
                      <a:pt x="113" y="506"/>
                      <a:pt x="335" y="569"/>
                    </a:cubicBezTo>
                    <a:cubicBezTo>
                      <a:pt x="399" y="587"/>
                      <a:pt x="469" y="603"/>
                      <a:pt x="545" y="615"/>
                    </a:cubicBezTo>
                    <a:cubicBezTo>
                      <a:pt x="598" y="624"/>
                      <a:pt x="653" y="631"/>
                      <a:pt x="709" y="636"/>
                    </a:cubicBezTo>
                    <a:cubicBezTo>
                      <a:pt x="784" y="644"/>
                      <a:pt x="863" y="648"/>
                      <a:pt x="943" y="650"/>
                    </a:cubicBezTo>
                    <a:cubicBezTo>
                      <a:pt x="970" y="651"/>
                      <a:pt x="997" y="651"/>
                      <a:pt x="1024" y="651"/>
                    </a:cubicBezTo>
                    <a:cubicBezTo>
                      <a:pt x="1051" y="651"/>
                      <a:pt x="1078" y="651"/>
                      <a:pt x="1105" y="650"/>
                    </a:cubicBezTo>
                    <a:cubicBezTo>
                      <a:pt x="1185" y="648"/>
                      <a:pt x="1264" y="644"/>
                      <a:pt x="1339" y="636"/>
                    </a:cubicBezTo>
                    <a:cubicBezTo>
                      <a:pt x="1395" y="631"/>
                      <a:pt x="1450" y="624"/>
                      <a:pt x="1503" y="615"/>
                    </a:cubicBezTo>
                    <a:cubicBezTo>
                      <a:pt x="1579" y="603"/>
                      <a:pt x="1649" y="587"/>
                      <a:pt x="1713" y="569"/>
                    </a:cubicBezTo>
                    <a:cubicBezTo>
                      <a:pt x="1935" y="506"/>
                      <a:pt x="2048" y="415"/>
                      <a:pt x="2048" y="301"/>
                    </a:cubicBezTo>
                    <a:cubicBezTo>
                      <a:pt x="2048" y="133"/>
                      <a:pt x="1804" y="46"/>
                      <a:pt x="1592"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Open Sans"/>
                  <a:ea typeface="+mn-ea"/>
                  <a:cs typeface="+mn-cs"/>
                </a:endParaRPr>
              </a:p>
            </p:txBody>
          </p:sp>
          <p:sp>
            <p:nvSpPr>
              <p:cNvPr id="61" name="Freeform 29">
                <a:extLst>
                  <a:ext uri="{FF2B5EF4-FFF2-40B4-BE49-F238E27FC236}">
                    <a16:creationId xmlns:a16="http://schemas.microsoft.com/office/drawing/2014/main" id="{1104387E-6AB8-4CA3-9518-984CBDA35D31}"/>
                  </a:ext>
                </a:extLst>
              </p:cNvPr>
              <p:cNvSpPr>
                <a:spLocks/>
              </p:cNvSpPr>
              <p:nvPr/>
            </p:nvSpPr>
            <p:spPr bwMode="auto">
              <a:xfrm>
                <a:off x="9156700" y="1390651"/>
                <a:ext cx="1033463" cy="620713"/>
              </a:xfrm>
              <a:custGeom>
                <a:avLst/>
                <a:gdLst>
                  <a:gd name="T0" fmla="*/ 807 w 848"/>
                  <a:gd name="T1" fmla="*/ 243 h 509"/>
                  <a:gd name="T2" fmla="*/ 766 w 848"/>
                  <a:gd name="T3" fmla="*/ 173 h 509"/>
                  <a:gd name="T4" fmla="*/ 710 w 848"/>
                  <a:gd name="T5" fmla="*/ 111 h 509"/>
                  <a:gd name="T6" fmla="*/ 424 w 848"/>
                  <a:gd name="T7" fmla="*/ 0 h 509"/>
                  <a:gd name="T8" fmla="*/ 139 w 848"/>
                  <a:gd name="T9" fmla="*/ 111 h 509"/>
                  <a:gd name="T10" fmla="*/ 83 w 848"/>
                  <a:gd name="T11" fmla="*/ 172 h 509"/>
                  <a:gd name="T12" fmla="*/ 41 w 848"/>
                  <a:gd name="T13" fmla="*/ 242 h 509"/>
                  <a:gd name="T14" fmla="*/ 0 w 848"/>
                  <a:gd name="T15" fmla="*/ 424 h 509"/>
                  <a:gd name="T16" fmla="*/ 424 w 848"/>
                  <a:gd name="T17" fmla="*/ 509 h 509"/>
                  <a:gd name="T18" fmla="*/ 848 w 848"/>
                  <a:gd name="T19" fmla="*/ 424 h 509"/>
                  <a:gd name="T20" fmla="*/ 807 w 848"/>
                  <a:gd name="T21" fmla="*/ 243 h 5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48" h="509">
                    <a:moveTo>
                      <a:pt x="807" y="243"/>
                    </a:moveTo>
                    <a:cubicBezTo>
                      <a:pt x="796" y="219"/>
                      <a:pt x="782" y="195"/>
                      <a:pt x="766" y="173"/>
                    </a:cubicBezTo>
                    <a:cubicBezTo>
                      <a:pt x="749" y="151"/>
                      <a:pt x="730" y="130"/>
                      <a:pt x="710" y="111"/>
                    </a:cubicBezTo>
                    <a:cubicBezTo>
                      <a:pt x="635" y="42"/>
                      <a:pt x="534" y="0"/>
                      <a:pt x="424" y="0"/>
                    </a:cubicBezTo>
                    <a:cubicBezTo>
                      <a:pt x="314" y="0"/>
                      <a:pt x="214" y="42"/>
                      <a:pt x="139" y="111"/>
                    </a:cubicBezTo>
                    <a:cubicBezTo>
                      <a:pt x="118" y="129"/>
                      <a:pt x="100" y="150"/>
                      <a:pt x="83" y="172"/>
                    </a:cubicBezTo>
                    <a:cubicBezTo>
                      <a:pt x="67" y="194"/>
                      <a:pt x="53" y="217"/>
                      <a:pt x="41" y="242"/>
                    </a:cubicBezTo>
                    <a:cubicBezTo>
                      <a:pt x="15" y="297"/>
                      <a:pt x="0" y="359"/>
                      <a:pt x="0" y="424"/>
                    </a:cubicBezTo>
                    <a:cubicBezTo>
                      <a:pt x="0" y="424"/>
                      <a:pt x="190" y="509"/>
                      <a:pt x="424" y="509"/>
                    </a:cubicBezTo>
                    <a:cubicBezTo>
                      <a:pt x="658" y="509"/>
                      <a:pt x="848" y="424"/>
                      <a:pt x="848" y="424"/>
                    </a:cubicBezTo>
                    <a:cubicBezTo>
                      <a:pt x="848" y="359"/>
                      <a:pt x="833" y="298"/>
                      <a:pt x="807" y="2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grpSp>
        <p:grpSp>
          <p:nvGrpSpPr>
            <p:cNvPr id="89" name="组合 88">
              <a:extLst>
                <a:ext uri="{FF2B5EF4-FFF2-40B4-BE49-F238E27FC236}">
                  <a16:creationId xmlns:a16="http://schemas.microsoft.com/office/drawing/2014/main" id="{D0BE41DA-AB72-45EE-8136-AA7DD3E4FA52}"/>
                </a:ext>
              </a:extLst>
            </p:cNvPr>
            <p:cNvGrpSpPr/>
            <p:nvPr/>
          </p:nvGrpSpPr>
          <p:grpSpPr>
            <a:xfrm>
              <a:off x="2802488" y="5124150"/>
              <a:ext cx="2859171" cy="881603"/>
              <a:chOff x="2802488" y="5389400"/>
              <a:chExt cx="2859171" cy="881603"/>
            </a:xfrm>
          </p:grpSpPr>
          <p:sp>
            <p:nvSpPr>
              <p:cNvPr id="87" name="TextBox 65">
                <a:extLst>
                  <a:ext uri="{FF2B5EF4-FFF2-40B4-BE49-F238E27FC236}">
                    <a16:creationId xmlns:a16="http://schemas.microsoft.com/office/drawing/2014/main" id="{55543338-8023-4016-AEF3-973B12A2C983}"/>
                  </a:ext>
                </a:extLst>
              </p:cNvPr>
              <p:cNvSpPr txBox="1"/>
              <p:nvPr/>
            </p:nvSpPr>
            <p:spPr>
              <a:xfrm flipH="1">
                <a:off x="2802489" y="5389400"/>
                <a:ext cx="2056261" cy="387598"/>
              </a:xfrm>
              <a:prstGeom prst="rect">
                <a:avLst/>
              </a:prstGeom>
              <a:noFill/>
            </p:spPr>
            <p:txBody>
              <a:bodyPr wrap="square" lIns="0" tIns="36000" rIns="0" bIns="36000" rtlCol="0">
                <a:spAutoFit/>
              </a:bodyPr>
              <a:lstStyle/>
              <a:p>
                <a:pPr marL="0" marR="0" lvl="0" indent="0" algn="l" defTabSz="914400" rtl="0" eaLnBrk="1" fontAlgn="auto" latinLnBrk="0" hangingPunct="1">
                  <a:lnSpc>
                    <a:spcPct val="120000"/>
                  </a:lnSpc>
                  <a:spcBef>
                    <a:spcPts val="600"/>
                  </a:spcBef>
                  <a:spcAft>
                    <a:spcPts val="0"/>
                  </a:spcAft>
                  <a:buClrTx/>
                  <a:buSzTx/>
                  <a:buFontTx/>
                  <a:buNone/>
                  <a:tabLst/>
                  <a:defRPr/>
                </a:pPr>
                <a:r>
                  <a:rPr kumimoji="0" lang="zh-CN" altLang="en-US" sz="1800" b="0" i="0" u="none" strike="noStrike" kern="1200" cap="none" spc="0" normalizeH="0" baseline="0" noProof="0" dirty="0">
                    <a:ln>
                      <a:noFill/>
                    </a:ln>
                    <a:solidFill>
                      <a:schemeClr val="accent1"/>
                    </a:solidFill>
                    <a:effectLst/>
                    <a:uLnTx/>
                    <a:uFillTx/>
                    <a:latin typeface="HarmonyOS Sans SC Black"/>
                    <a:ea typeface="+mj-ea"/>
                    <a:cs typeface="+mn-cs"/>
                  </a:rPr>
                  <a:t>关键词标题</a:t>
                </a:r>
                <a:endParaRPr kumimoji="0" lang="en-US" sz="1800" b="0" i="0" u="none" strike="noStrike" kern="1200" cap="none" spc="0" normalizeH="0" baseline="0" noProof="0" dirty="0">
                  <a:ln>
                    <a:noFill/>
                  </a:ln>
                  <a:solidFill>
                    <a:schemeClr val="accent1"/>
                  </a:solidFill>
                  <a:effectLst/>
                  <a:uLnTx/>
                  <a:uFillTx/>
                  <a:latin typeface="HarmonyOS Sans SC Black"/>
                  <a:ea typeface="+mj-ea"/>
                  <a:cs typeface="+mn-cs"/>
                </a:endParaRPr>
              </a:p>
            </p:txBody>
          </p:sp>
          <p:sp>
            <p:nvSpPr>
              <p:cNvPr id="88" name="TextBox 65">
                <a:extLst>
                  <a:ext uri="{FF2B5EF4-FFF2-40B4-BE49-F238E27FC236}">
                    <a16:creationId xmlns:a16="http://schemas.microsoft.com/office/drawing/2014/main" id="{555875D6-C663-4C2D-8FBD-D27BE7AA38C6}"/>
                  </a:ext>
                </a:extLst>
              </p:cNvPr>
              <p:cNvSpPr txBox="1"/>
              <p:nvPr/>
            </p:nvSpPr>
            <p:spPr>
              <a:xfrm flipH="1">
                <a:off x="2802488" y="5772799"/>
                <a:ext cx="2859171" cy="498204"/>
              </a:xfrm>
              <a:prstGeom prst="rect">
                <a:avLst/>
              </a:prstGeom>
              <a:noFill/>
            </p:spPr>
            <p:txBody>
              <a:bodyPr wrap="square" lIns="0" tIns="36000" rIns="0" bIns="36000" rtlCol="0">
                <a:spAutoFit/>
              </a:bodyPr>
              <a:lstStyle/>
              <a:p>
                <a:pPr marL="0" marR="0" lvl="0" indent="0" algn="l" defTabSz="914400" rtl="0" eaLnBrk="1" fontAlgn="auto" latinLnBrk="0" hangingPunct="1">
                  <a:lnSpc>
                    <a:spcPct val="120000"/>
                  </a:lnSpc>
                  <a:spcBef>
                    <a:spcPts val="600"/>
                  </a:spcBef>
                  <a:spcAft>
                    <a:spcPts val="0"/>
                  </a:spcAft>
                  <a:buClrTx/>
                  <a:buSzTx/>
                  <a:buFontTx/>
                  <a:buNone/>
                  <a:tabLst/>
                  <a:defRPr/>
                </a:pPr>
                <a:r>
                  <a:rPr kumimoji="0" lang="en-US" sz="1200" b="0" i="0" u="none" strike="noStrike" kern="1200" cap="none" spc="0" normalizeH="0" baseline="0" noProof="0" dirty="0">
                    <a:ln>
                      <a:noFill/>
                    </a:ln>
                    <a:solidFill>
                      <a:prstClr val="black">
                        <a:lumMod val="50000"/>
                        <a:lumOff val="50000"/>
                      </a:prstClr>
                    </a:solidFill>
                    <a:effectLst/>
                    <a:uLnTx/>
                    <a:uFillTx/>
                    <a:latin typeface="HarmonyOS Sans SC"/>
                    <a:cs typeface="+mn-cs"/>
                  </a:rPr>
                  <a:t>Apparently we had reached a great height in the.</a:t>
                </a:r>
              </a:p>
            </p:txBody>
          </p:sp>
        </p:grpSp>
      </p:grpSp>
    </p:spTree>
    <p:extLst>
      <p:ext uri="{BB962C8B-B14F-4D97-AF65-F5344CB8AC3E}">
        <p14:creationId xmlns:p14="http://schemas.microsoft.com/office/powerpoint/2010/main" val="93524648"/>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a:extLst>
              <a:ext uri="{FF2B5EF4-FFF2-40B4-BE49-F238E27FC236}">
                <a16:creationId xmlns:a16="http://schemas.microsoft.com/office/drawing/2014/main" id="{4D2947A4-59CC-4023-9F9A-A54A136DCB3F}"/>
              </a:ext>
            </a:extLst>
          </p:cNvPr>
          <p:cNvSpPr/>
          <p:nvPr/>
        </p:nvSpPr>
        <p:spPr>
          <a:xfrm>
            <a:off x="457201" y="1039091"/>
            <a:ext cx="11277598" cy="4779818"/>
          </a:xfrm>
          <a:prstGeom prst="rect">
            <a:avLst/>
          </a:prstGeom>
          <a:noFill/>
          <a:ln w="38100">
            <a:solidFill>
              <a:schemeClr val="accent1">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p>
        </p:txBody>
      </p:sp>
      <p:pic>
        <p:nvPicPr>
          <p:cNvPr id="22" name="图片 21" descr="形状&#10;&#10;中度可信度描述已自动生成">
            <a:extLst>
              <a:ext uri="{FF2B5EF4-FFF2-40B4-BE49-F238E27FC236}">
                <a16:creationId xmlns:a16="http://schemas.microsoft.com/office/drawing/2014/main" id="{2EA2AD7F-9C14-40BD-B6B3-88BFC19239A8}"/>
              </a:ext>
            </a:extLst>
          </p:cNvPr>
          <p:cNvPicPr>
            <a:picLocks noChangeAspect="1"/>
          </p:cNvPicPr>
          <p:nvPr/>
        </p:nvPicPr>
        <p:blipFill rotWithShape="1">
          <a:blip r:embed="rId3">
            <a:extLst>
              <a:ext uri="{28A0092B-C50C-407E-A947-70E740481C1C}">
                <a14:useLocalDpi xmlns:a14="http://schemas.microsoft.com/office/drawing/2010/main" val="0"/>
              </a:ext>
            </a:extLst>
          </a:blip>
          <a:srcRect l="15463" t="35000" r="52043" b="33195"/>
          <a:stretch/>
        </p:blipFill>
        <p:spPr>
          <a:xfrm>
            <a:off x="6609528" y="84222"/>
            <a:ext cx="5525036" cy="7229905"/>
          </a:xfrm>
          <a:prstGeom prst="rect">
            <a:avLst/>
          </a:prstGeom>
        </p:spPr>
      </p:pic>
      <p:sp>
        <p:nvSpPr>
          <p:cNvPr id="24" name="文本框 23">
            <a:extLst>
              <a:ext uri="{FF2B5EF4-FFF2-40B4-BE49-F238E27FC236}">
                <a16:creationId xmlns:a16="http://schemas.microsoft.com/office/drawing/2014/main" id="{041E0F78-CDCC-4426-822B-6511EECAD8A8}"/>
              </a:ext>
            </a:extLst>
          </p:cNvPr>
          <p:cNvSpPr txBox="1"/>
          <p:nvPr/>
        </p:nvSpPr>
        <p:spPr>
          <a:xfrm>
            <a:off x="1032291" y="2997473"/>
            <a:ext cx="6232475" cy="830997"/>
          </a:xfrm>
          <a:prstGeom prst="rect">
            <a:avLst/>
          </a:prstGeom>
          <a:noFill/>
        </p:spPr>
        <p:txBody>
          <a:bodyPr wrap="none" lIns="0" tIns="0" rIns="0" bIns="0" rtlCol="0" anchor="t">
            <a:spAutoFit/>
          </a:bodyPr>
          <a:lstStyle/>
          <a:p>
            <a:pPr algn="ctr"/>
            <a:r>
              <a:rPr lang="zh-CN" altLang="en-US" sz="5400" dirty="0">
                <a:solidFill>
                  <a:schemeClr val="accent1">
                    <a:lumMod val="100000"/>
                  </a:schemeClr>
                </a:solidFill>
                <a:latin typeface="+mj-ea"/>
                <a:ea typeface="+mj-ea"/>
              </a:rPr>
              <a:t>输入你的封面大标题</a:t>
            </a:r>
          </a:p>
        </p:txBody>
      </p:sp>
      <p:sp>
        <p:nvSpPr>
          <p:cNvPr id="25" name="文本框 24">
            <a:extLst>
              <a:ext uri="{FF2B5EF4-FFF2-40B4-BE49-F238E27FC236}">
                <a16:creationId xmlns:a16="http://schemas.microsoft.com/office/drawing/2014/main" id="{86BDBB1F-11EE-4CDB-8D94-E2B5949C821A}"/>
              </a:ext>
            </a:extLst>
          </p:cNvPr>
          <p:cNvSpPr txBox="1"/>
          <p:nvPr/>
        </p:nvSpPr>
        <p:spPr>
          <a:xfrm>
            <a:off x="1032291" y="2590735"/>
            <a:ext cx="2667397" cy="246221"/>
          </a:xfrm>
          <a:prstGeom prst="rect">
            <a:avLst/>
          </a:prstGeom>
          <a:noFill/>
        </p:spPr>
        <p:txBody>
          <a:bodyPr wrap="none" lIns="0" tIns="0" rIns="0" bIns="0" rtlCol="0" anchor="t">
            <a:spAutoFit/>
          </a:bodyPr>
          <a:lstStyle/>
          <a:p>
            <a:pPr algn="ctr"/>
            <a:r>
              <a:rPr lang="zh-CN" altLang="en-US" sz="1600" dirty="0">
                <a:solidFill>
                  <a:schemeClr val="accent1">
                    <a:lumMod val="100000"/>
                  </a:schemeClr>
                </a:solidFill>
                <a:latin typeface="+mn-ea"/>
              </a:rPr>
              <a:t>输入你的副标题或大标题英文</a:t>
            </a:r>
          </a:p>
        </p:txBody>
      </p:sp>
      <p:cxnSp>
        <p:nvCxnSpPr>
          <p:cNvPr id="26" name="直接连接符 25">
            <a:extLst>
              <a:ext uri="{FF2B5EF4-FFF2-40B4-BE49-F238E27FC236}">
                <a16:creationId xmlns:a16="http://schemas.microsoft.com/office/drawing/2014/main" id="{FBBAAB85-4E4D-434C-A81B-A5D2311AF849}"/>
              </a:ext>
            </a:extLst>
          </p:cNvPr>
          <p:cNvCxnSpPr>
            <a:cxnSpLocks/>
          </p:cNvCxnSpPr>
          <p:nvPr/>
        </p:nvCxnSpPr>
        <p:spPr>
          <a:xfrm flipH="1">
            <a:off x="3793395" y="2713845"/>
            <a:ext cx="3035248" cy="0"/>
          </a:xfrm>
          <a:prstGeom prst="line">
            <a:avLst/>
          </a:prstGeom>
          <a:ln w="19050">
            <a:solidFill>
              <a:schemeClr val="accent1">
                <a:lumMod val="100000"/>
              </a:schemeClr>
            </a:solidFill>
          </a:ln>
        </p:spPr>
        <p:style>
          <a:lnRef idx="1">
            <a:schemeClr val="accent1"/>
          </a:lnRef>
          <a:fillRef idx="0">
            <a:schemeClr val="accent1"/>
          </a:fillRef>
          <a:effectRef idx="0">
            <a:schemeClr val="accent1"/>
          </a:effectRef>
          <a:fontRef idx="minor">
            <a:schemeClr val="tx1"/>
          </a:fontRef>
        </p:style>
      </p:cxnSp>
      <p:sp>
        <p:nvSpPr>
          <p:cNvPr id="28" name="矩形 27">
            <a:extLst>
              <a:ext uri="{FF2B5EF4-FFF2-40B4-BE49-F238E27FC236}">
                <a16:creationId xmlns:a16="http://schemas.microsoft.com/office/drawing/2014/main" id="{5F2179CB-661A-4AF5-A56D-AB358C6F256E}"/>
              </a:ext>
            </a:extLst>
          </p:cNvPr>
          <p:cNvSpPr/>
          <p:nvPr/>
        </p:nvSpPr>
        <p:spPr>
          <a:xfrm>
            <a:off x="830983" y="4118448"/>
            <a:ext cx="189488" cy="189488"/>
          </a:xfrm>
          <a:prstGeom prst="rect">
            <a:avLst/>
          </a:prstGeom>
          <a:solidFill>
            <a:schemeClr val="accent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5400" dirty="0"/>
          </a:p>
        </p:txBody>
      </p:sp>
      <p:sp>
        <p:nvSpPr>
          <p:cNvPr id="29" name="文本框 28">
            <a:extLst>
              <a:ext uri="{FF2B5EF4-FFF2-40B4-BE49-F238E27FC236}">
                <a16:creationId xmlns:a16="http://schemas.microsoft.com/office/drawing/2014/main" id="{716FAEB9-E85C-48F7-8165-778E4FD3C8F2}"/>
              </a:ext>
            </a:extLst>
          </p:cNvPr>
          <p:cNvSpPr txBox="1"/>
          <p:nvPr/>
        </p:nvSpPr>
        <p:spPr>
          <a:xfrm>
            <a:off x="1191368" y="4117656"/>
            <a:ext cx="1016304" cy="215444"/>
          </a:xfrm>
          <a:prstGeom prst="rect">
            <a:avLst/>
          </a:prstGeom>
          <a:noFill/>
        </p:spPr>
        <p:txBody>
          <a:bodyPr wrap="none" lIns="0" tIns="0" rIns="0" bIns="0" rtlCol="0" anchor="t">
            <a:spAutoFit/>
          </a:bodyPr>
          <a:lstStyle/>
          <a:p>
            <a:r>
              <a:rPr lang="zh-CN" altLang="en-US" sz="1400" dirty="0">
                <a:solidFill>
                  <a:schemeClr val="accent1">
                    <a:lumMod val="100000"/>
                  </a:schemeClr>
                </a:solidFill>
                <a:latin typeface="+mn-ea"/>
              </a:rPr>
              <a:t>汇报人：</a:t>
            </a:r>
            <a:r>
              <a:rPr lang="en-US" altLang="zh-CN" sz="1400" dirty="0">
                <a:solidFill>
                  <a:schemeClr val="accent1">
                    <a:lumMod val="100000"/>
                  </a:schemeClr>
                </a:solidFill>
                <a:latin typeface="+mn-ea"/>
              </a:rPr>
              <a:t>xxx</a:t>
            </a:r>
            <a:endParaRPr lang="zh-CN" altLang="en-US" sz="1400" dirty="0">
              <a:solidFill>
                <a:schemeClr val="accent1">
                  <a:lumMod val="100000"/>
                </a:schemeClr>
              </a:solidFill>
              <a:latin typeface="+mn-ea"/>
            </a:endParaRPr>
          </a:p>
        </p:txBody>
      </p:sp>
      <p:sp>
        <p:nvSpPr>
          <p:cNvPr id="31" name="矩形 30">
            <a:extLst>
              <a:ext uri="{FF2B5EF4-FFF2-40B4-BE49-F238E27FC236}">
                <a16:creationId xmlns:a16="http://schemas.microsoft.com/office/drawing/2014/main" id="{81DE20A5-25A0-49F6-993B-6F192D53654F}"/>
              </a:ext>
            </a:extLst>
          </p:cNvPr>
          <p:cNvSpPr/>
          <p:nvPr/>
        </p:nvSpPr>
        <p:spPr>
          <a:xfrm>
            <a:off x="2697373" y="4118448"/>
            <a:ext cx="189488" cy="189488"/>
          </a:xfrm>
          <a:prstGeom prst="rect">
            <a:avLst/>
          </a:prstGeom>
          <a:solidFill>
            <a:schemeClr val="accent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5400" dirty="0"/>
          </a:p>
        </p:txBody>
      </p:sp>
      <p:sp>
        <p:nvSpPr>
          <p:cNvPr id="32" name="文本框 31">
            <a:extLst>
              <a:ext uri="{FF2B5EF4-FFF2-40B4-BE49-F238E27FC236}">
                <a16:creationId xmlns:a16="http://schemas.microsoft.com/office/drawing/2014/main" id="{20D23C57-76FC-4D78-91E7-A913E614CB88}"/>
              </a:ext>
            </a:extLst>
          </p:cNvPr>
          <p:cNvSpPr txBox="1"/>
          <p:nvPr/>
        </p:nvSpPr>
        <p:spPr>
          <a:xfrm>
            <a:off x="3057759" y="4117656"/>
            <a:ext cx="836768" cy="215444"/>
          </a:xfrm>
          <a:prstGeom prst="rect">
            <a:avLst/>
          </a:prstGeom>
          <a:noFill/>
        </p:spPr>
        <p:txBody>
          <a:bodyPr wrap="none" lIns="0" tIns="0" rIns="0" bIns="0" rtlCol="0" anchor="t">
            <a:spAutoFit/>
          </a:bodyPr>
          <a:lstStyle/>
          <a:p>
            <a:r>
              <a:rPr lang="zh-CN" altLang="en-US" sz="1400" dirty="0">
                <a:solidFill>
                  <a:schemeClr val="accent1">
                    <a:lumMod val="100000"/>
                  </a:schemeClr>
                </a:solidFill>
                <a:latin typeface="+mn-ea"/>
              </a:rPr>
              <a:t>单位：</a:t>
            </a:r>
            <a:r>
              <a:rPr lang="en-US" altLang="zh-CN" sz="1400" dirty="0">
                <a:solidFill>
                  <a:schemeClr val="accent1">
                    <a:lumMod val="100000"/>
                  </a:schemeClr>
                </a:solidFill>
                <a:latin typeface="+mn-ea"/>
              </a:rPr>
              <a:t>xxx</a:t>
            </a:r>
            <a:endParaRPr lang="zh-CN" altLang="en-US" sz="1400" dirty="0">
              <a:solidFill>
                <a:schemeClr val="accent1">
                  <a:lumMod val="100000"/>
                </a:schemeClr>
              </a:solidFill>
              <a:latin typeface="+mn-ea"/>
            </a:endParaRPr>
          </a:p>
        </p:txBody>
      </p:sp>
      <p:sp>
        <p:nvSpPr>
          <p:cNvPr id="33" name="矩形 32">
            <a:extLst>
              <a:ext uri="{FF2B5EF4-FFF2-40B4-BE49-F238E27FC236}">
                <a16:creationId xmlns:a16="http://schemas.microsoft.com/office/drawing/2014/main" id="{D450724D-FD1F-44AB-AA77-741BC655B412}"/>
              </a:ext>
            </a:extLst>
          </p:cNvPr>
          <p:cNvSpPr/>
          <p:nvPr/>
        </p:nvSpPr>
        <p:spPr>
          <a:xfrm flipH="1">
            <a:off x="830985" y="2590735"/>
            <a:ext cx="69140" cy="1148732"/>
          </a:xfrm>
          <a:prstGeom prst="rect">
            <a:avLst/>
          </a:prstGeom>
          <a:solidFill>
            <a:schemeClr val="accent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4400" dirty="0"/>
          </a:p>
        </p:txBody>
      </p:sp>
    </p:spTree>
    <p:extLst>
      <p:ext uri="{BB962C8B-B14F-4D97-AF65-F5344CB8AC3E}">
        <p14:creationId xmlns:p14="http://schemas.microsoft.com/office/powerpoint/2010/main" val="3269265034"/>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4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reeform 19">
            <a:extLst>
              <a:ext uri="{FF2B5EF4-FFF2-40B4-BE49-F238E27FC236}">
                <a16:creationId xmlns:a16="http://schemas.microsoft.com/office/drawing/2014/main" id="{51FEDD79-CF76-424E-B11A-F6BAACC1FF46}"/>
              </a:ext>
            </a:extLst>
          </p:cNvPr>
          <p:cNvSpPr>
            <a:spLocks/>
          </p:cNvSpPr>
          <p:nvPr/>
        </p:nvSpPr>
        <p:spPr bwMode="auto">
          <a:xfrm rot="16200000">
            <a:off x="2616517" y="922337"/>
            <a:ext cx="5013325" cy="6858000"/>
          </a:xfrm>
          <a:custGeom>
            <a:avLst/>
            <a:gdLst>
              <a:gd name="T0" fmla="*/ 0 w 1620"/>
              <a:gd name="T1" fmla="*/ 0 h 2217"/>
              <a:gd name="T2" fmla="*/ 1203 w 1620"/>
              <a:gd name="T3" fmla="*/ 0 h 2217"/>
              <a:gd name="T4" fmla="*/ 1553 w 1620"/>
              <a:gd name="T5" fmla="*/ 349 h 2217"/>
              <a:gd name="T6" fmla="*/ 1553 w 1620"/>
              <a:gd name="T7" fmla="*/ 2019 h 2217"/>
              <a:gd name="T8" fmla="*/ 1620 w 1620"/>
              <a:gd name="T9" fmla="*/ 2019 h 2217"/>
              <a:gd name="T10" fmla="*/ 1483 w 1620"/>
              <a:gd name="T11" fmla="*/ 2217 h 2217"/>
              <a:gd name="T12" fmla="*/ 1345 w 1620"/>
              <a:gd name="T13" fmla="*/ 2019 h 2217"/>
              <a:gd name="T14" fmla="*/ 1412 w 1620"/>
              <a:gd name="T15" fmla="*/ 2019 h 2217"/>
              <a:gd name="T16" fmla="*/ 1412 w 1620"/>
              <a:gd name="T17" fmla="*/ 349 h 2217"/>
              <a:gd name="T18" fmla="*/ 1203 w 1620"/>
              <a:gd name="T19" fmla="*/ 140 h 2217"/>
              <a:gd name="T20" fmla="*/ 0 w 1620"/>
              <a:gd name="T21" fmla="*/ 140 h 2217"/>
              <a:gd name="T22" fmla="*/ 0 w 1620"/>
              <a:gd name="T23" fmla="*/ 0 h 2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20" h="2217">
                <a:moveTo>
                  <a:pt x="0" y="0"/>
                </a:moveTo>
                <a:cubicBezTo>
                  <a:pt x="1203" y="0"/>
                  <a:pt x="1203" y="0"/>
                  <a:pt x="1203" y="0"/>
                </a:cubicBezTo>
                <a:cubicBezTo>
                  <a:pt x="1396" y="0"/>
                  <a:pt x="1553" y="156"/>
                  <a:pt x="1553" y="349"/>
                </a:cubicBezTo>
                <a:cubicBezTo>
                  <a:pt x="1553" y="2019"/>
                  <a:pt x="1553" y="2019"/>
                  <a:pt x="1553" y="2019"/>
                </a:cubicBezTo>
                <a:cubicBezTo>
                  <a:pt x="1620" y="2019"/>
                  <a:pt x="1620" y="2019"/>
                  <a:pt x="1620" y="2019"/>
                </a:cubicBezTo>
                <a:cubicBezTo>
                  <a:pt x="1483" y="2217"/>
                  <a:pt x="1483" y="2217"/>
                  <a:pt x="1483" y="2217"/>
                </a:cubicBezTo>
                <a:cubicBezTo>
                  <a:pt x="1345" y="2019"/>
                  <a:pt x="1345" y="2019"/>
                  <a:pt x="1345" y="2019"/>
                </a:cubicBezTo>
                <a:cubicBezTo>
                  <a:pt x="1412" y="2019"/>
                  <a:pt x="1412" y="2019"/>
                  <a:pt x="1412" y="2019"/>
                </a:cubicBezTo>
                <a:cubicBezTo>
                  <a:pt x="1412" y="349"/>
                  <a:pt x="1412" y="349"/>
                  <a:pt x="1412" y="349"/>
                </a:cubicBezTo>
                <a:cubicBezTo>
                  <a:pt x="1412" y="234"/>
                  <a:pt x="1319" y="140"/>
                  <a:pt x="1203" y="140"/>
                </a:cubicBezTo>
                <a:cubicBezTo>
                  <a:pt x="0" y="140"/>
                  <a:pt x="0" y="140"/>
                  <a:pt x="0" y="140"/>
                </a:cubicBezTo>
                <a:lnTo>
                  <a:pt x="0" y="0"/>
                </a:lnTo>
                <a:close/>
              </a:path>
            </a:pathLst>
          </a:custGeom>
          <a:gradFill flip="none" rotWithShape="1">
            <a:gsLst>
              <a:gs pos="100000">
                <a:schemeClr val="accent1"/>
              </a:gs>
              <a:gs pos="31000">
                <a:schemeClr val="accent1">
                  <a:lumMod val="60000"/>
                  <a:lumOff val="40000"/>
                </a:schemeClr>
              </a:gs>
              <a:gs pos="0">
                <a:schemeClr val="accent1">
                  <a:lumMod val="40000"/>
                  <a:lumOff val="60000"/>
                </a:schemeClr>
              </a:gs>
            </a:gsLst>
            <a:lin ang="1620000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11" name="Freeform 20">
            <a:extLst>
              <a:ext uri="{FF2B5EF4-FFF2-40B4-BE49-F238E27FC236}">
                <a16:creationId xmlns:a16="http://schemas.microsoft.com/office/drawing/2014/main" id="{622AB516-7666-4CF0-9A8E-DA7608651A71}"/>
              </a:ext>
            </a:extLst>
          </p:cNvPr>
          <p:cNvSpPr>
            <a:spLocks/>
          </p:cNvSpPr>
          <p:nvPr/>
        </p:nvSpPr>
        <p:spPr bwMode="auto">
          <a:xfrm rot="16200000">
            <a:off x="3018949" y="2162968"/>
            <a:ext cx="3917950" cy="5472113"/>
          </a:xfrm>
          <a:custGeom>
            <a:avLst/>
            <a:gdLst>
              <a:gd name="T0" fmla="*/ 0 w 1266"/>
              <a:gd name="T1" fmla="*/ 0 h 1769"/>
              <a:gd name="T2" fmla="*/ 865 w 1266"/>
              <a:gd name="T3" fmla="*/ 0 h 1769"/>
              <a:gd name="T4" fmla="*/ 1204 w 1266"/>
              <a:gd name="T5" fmla="*/ 339 h 1769"/>
              <a:gd name="T6" fmla="*/ 1204 w 1266"/>
              <a:gd name="T7" fmla="*/ 1589 h 1769"/>
              <a:gd name="T8" fmla="*/ 1266 w 1266"/>
              <a:gd name="T9" fmla="*/ 1589 h 1769"/>
              <a:gd name="T10" fmla="*/ 1135 w 1266"/>
              <a:gd name="T11" fmla="*/ 1769 h 1769"/>
              <a:gd name="T12" fmla="*/ 1004 w 1266"/>
              <a:gd name="T13" fmla="*/ 1589 h 1769"/>
              <a:gd name="T14" fmla="*/ 1066 w 1266"/>
              <a:gd name="T15" fmla="*/ 1589 h 1769"/>
              <a:gd name="T16" fmla="*/ 1066 w 1266"/>
              <a:gd name="T17" fmla="*/ 339 h 1769"/>
              <a:gd name="T18" fmla="*/ 865 w 1266"/>
              <a:gd name="T19" fmla="*/ 138 h 1769"/>
              <a:gd name="T20" fmla="*/ 0 w 1266"/>
              <a:gd name="T21" fmla="*/ 138 h 1769"/>
              <a:gd name="T22" fmla="*/ 0 w 1266"/>
              <a:gd name="T23" fmla="*/ 0 h 17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66" h="1769">
                <a:moveTo>
                  <a:pt x="0" y="0"/>
                </a:moveTo>
                <a:cubicBezTo>
                  <a:pt x="865" y="0"/>
                  <a:pt x="865" y="0"/>
                  <a:pt x="865" y="0"/>
                </a:cubicBezTo>
                <a:cubicBezTo>
                  <a:pt x="1052" y="0"/>
                  <a:pt x="1204" y="152"/>
                  <a:pt x="1204" y="339"/>
                </a:cubicBezTo>
                <a:cubicBezTo>
                  <a:pt x="1204" y="1589"/>
                  <a:pt x="1204" y="1589"/>
                  <a:pt x="1204" y="1589"/>
                </a:cubicBezTo>
                <a:cubicBezTo>
                  <a:pt x="1266" y="1589"/>
                  <a:pt x="1266" y="1589"/>
                  <a:pt x="1266" y="1589"/>
                </a:cubicBezTo>
                <a:cubicBezTo>
                  <a:pt x="1135" y="1769"/>
                  <a:pt x="1135" y="1769"/>
                  <a:pt x="1135" y="1769"/>
                </a:cubicBezTo>
                <a:cubicBezTo>
                  <a:pt x="1004" y="1589"/>
                  <a:pt x="1004" y="1589"/>
                  <a:pt x="1004" y="1589"/>
                </a:cubicBezTo>
                <a:cubicBezTo>
                  <a:pt x="1066" y="1589"/>
                  <a:pt x="1066" y="1589"/>
                  <a:pt x="1066" y="1589"/>
                </a:cubicBezTo>
                <a:cubicBezTo>
                  <a:pt x="1066" y="339"/>
                  <a:pt x="1066" y="339"/>
                  <a:pt x="1066" y="339"/>
                </a:cubicBezTo>
                <a:cubicBezTo>
                  <a:pt x="1066" y="228"/>
                  <a:pt x="976" y="138"/>
                  <a:pt x="865" y="138"/>
                </a:cubicBezTo>
                <a:cubicBezTo>
                  <a:pt x="0" y="138"/>
                  <a:pt x="0" y="138"/>
                  <a:pt x="0" y="138"/>
                </a:cubicBezTo>
                <a:lnTo>
                  <a:pt x="0" y="0"/>
                </a:lnTo>
                <a:close/>
              </a:path>
            </a:pathLst>
          </a:custGeom>
          <a:gradFill flip="none" rotWithShape="1">
            <a:gsLst>
              <a:gs pos="100000">
                <a:schemeClr val="accent1"/>
              </a:gs>
              <a:gs pos="31000">
                <a:schemeClr val="accent1">
                  <a:lumMod val="60000"/>
                  <a:lumOff val="40000"/>
                </a:schemeClr>
              </a:gs>
              <a:gs pos="0">
                <a:schemeClr val="accent1">
                  <a:lumMod val="40000"/>
                  <a:lumOff val="60000"/>
                </a:schemeClr>
              </a:gs>
            </a:gsLst>
            <a:lin ang="1620000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12" name="Freeform 21">
            <a:extLst>
              <a:ext uri="{FF2B5EF4-FFF2-40B4-BE49-F238E27FC236}">
                <a16:creationId xmlns:a16="http://schemas.microsoft.com/office/drawing/2014/main" id="{02F6D188-A1E5-40CC-A998-CAEB9DC9EA04}"/>
              </a:ext>
            </a:extLst>
          </p:cNvPr>
          <p:cNvSpPr>
            <a:spLocks/>
          </p:cNvSpPr>
          <p:nvPr/>
        </p:nvSpPr>
        <p:spPr bwMode="auto">
          <a:xfrm rot="16200000">
            <a:off x="3738880" y="4803774"/>
            <a:ext cx="1620838" cy="2487613"/>
          </a:xfrm>
          <a:custGeom>
            <a:avLst/>
            <a:gdLst>
              <a:gd name="T0" fmla="*/ 0 w 524"/>
              <a:gd name="T1" fmla="*/ 0 h 804"/>
              <a:gd name="T2" fmla="*/ 268 w 524"/>
              <a:gd name="T3" fmla="*/ 0 h 804"/>
              <a:gd name="T4" fmla="*/ 456 w 524"/>
              <a:gd name="T5" fmla="*/ 188 h 804"/>
              <a:gd name="T6" fmla="*/ 456 w 524"/>
              <a:gd name="T7" fmla="*/ 647 h 804"/>
              <a:gd name="T8" fmla="*/ 524 w 524"/>
              <a:gd name="T9" fmla="*/ 647 h 804"/>
              <a:gd name="T10" fmla="*/ 386 w 524"/>
              <a:gd name="T11" fmla="*/ 804 h 804"/>
              <a:gd name="T12" fmla="*/ 249 w 524"/>
              <a:gd name="T13" fmla="*/ 647 h 804"/>
              <a:gd name="T14" fmla="*/ 317 w 524"/>
              <a:gd name="T15" fmla="*/ 647 h 804"/>
              <a:gd name="T16" fmla="*/ 317 w 524"/>
              <a:gd name="T17" fmla="*/ 188 h 804"/>
              <a:gd name="T18" fmla="*/ 268 w 524"/>
              <a:gd name="T19" fmla="*/ 139 h 804"/>
              <a:gd name="T20" fmla="*/ 0 w 524"/>
              <a:gd name="T21" fmla="*/ 139 h 804"/>
              <a:gd name="T22" fmla="*/ 0 w 524"/>
              <a:gd name="T23" fmla="*/ 0 h 8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24" h="804">
                <a:moveTo>
                  <a:pt x="0" y="0"/>
                </a:moveTo>
                <a:cubicBezTo>
                  <a:pt x="268" y="0"/>
                  <a:pt x="268" y="0"/>
                  <a:pt x="268" y="0"/>
                </a:cubicBezTo>
                <a:cubicBezTo>
                  <a:pt x="372" y="0"/>
                  <a:pt x="456" y="84"/>
                  <a:pt x="456" y="188"/>
                </a:cubicBezTo>
                <a:cubicBezTo>
                  <a:pt x="456" y="647"/>
                  <a:pt x="456" y="647"/>
                  <a:pt x="456" y="647"/>
                </a:cubicBezTo>
                <a:cubicBezTo>
                  <a:pt x="524" y="647"/>
                  <a:pt x="524" y="647"/>
                  <a:pt x="524" y="647"/>
                </a:cubicBezTo>
                <a:cubicBezTo>
                  <a:pt x="386" y="804"/>
                  <a:pt x="386" y="804"/>
                  <a:pt x="386" y="804"/>
                </a:cubicBezTo>
                <a:cubicBezTo>
                  <a:pt x="249" y="647"/>
                  <a:pt x="249" y="647"/>
                  <a:pt x="249" y="647"/>
                </a:cubicBezTo>
                <a:cubicBezTo>
                  <a:pt x="317" y="647"/>
                  <a:pt x="317" y="647"/>
                  <a:pt x="317" y="647"/>
                </a:cubicBezTo>
                <a:cubicBezTo>
                  <a:pt x="317" y="188"/>
                  <a:pt x="317" y="188"/>
                  <a:pt x="317" y="188"/>
                </a:cubicBezTo>
                <a:cubicBezTo>
                  <a:pt x="317" y="161"/>
                  <a:pt x="295" y="139"/>
                  <a:pt x="268" y="139"/>
                </a:cubicBezTo>
                <a:cubicBezTo>
                  <a:pt x="0" y="139"/>
                  <a:pt x="0" y="139"/>
                  <a:pt x="0" y="139"/>
                </a:cubicBezTo>
                <a:lnTo>
                  <a:pt x="0" y="0"/>
                </a:lnTo>
                <a:close/>
              </a:path>
            </a:pathLst>
          </a:custGeom>
          <a:gradFill flip="none" rotWithShape="1">
            <a:gsLst>
              <a:gs pos="100000">
                <a:schemeClr val="accent1"/>
              </a:gs>
              <a:gs pos="31000">
                <a:schemeClr val="accent1">
                  <a:lumMod val="60000"/>
                  <a:lumOff val="40000"/>
                </a:schemeClr>
              </a:gs>
              <a:gs pos="0">
                <a:schemeClr val="accent1">
                  <a:lumMod val="40000"/>
                  <a:lumOff val="60000"/>
                </a:schemeClr>
              </a:gs>
            </a:gsLst>
            <a:lin ang="1620000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13" name="Freeform 22">
            <a:extLst>
              <a:ext uri="{FF2B5EF4-FFF2-40B4-BE49-F238E27FC236}">
                <a16:creationId xmlns:a16="http://schemas.microsoft.com/office/drawing/2014/main" id="{E00F5DC0-98EE-4C71-BF39-3D09A94E772E}"/>
              </a:ext>
            </a:extLst>
          </p:cNvPr>
          <p:cNvSpPr>
            <a:spLocks/>
          </p:cNvSpPr>
          <p:nvPr/>
        </p:nvSpPr>
        <p:spPr bwMode="auto">
          <a:xfrm rot="16200000">
            <a:off x="3403123" y="3493293"/>
            <a:ext cx="2738438" cy="3990975"/>
          </a:xfrm>
          <a:custGeom>
            <a:avLst/>
            <a:gdLst>
              <a:gd name="T0" fmla="*/ 0 w 885"/>
              <a:gd name="T1" fmla="*/ 0 h 1290"/>
              <a:gd name="T2" fmla="*/ 550 w 885"/>
              <a:gd name="T3" fmla="*/ 0 h 1290"/>
              <a:gd name="T4" fmla="*/ 833 w 885"/>
              <a:gd name="T5" fmla="*/ 283 h 1290"/>
              <a:gd name="T6" fmla="*/ 833 w 885"/>
              <a:gd name="T7" fmla="*/ 1114 h 1290"/>
              <a:gd name="T8" fmla="*/ 885 w 885"/>
              <a:gd name="T9" fmla="*/ 1114 h 1290"/>
              <a:gd name="T10" fmla="*/ 764 w 885"/>
              <a:gd name="T11" fmla="*/ 1290 h 1290"/>
              <a:gd name="T12" fmla="*/ 642 w 885"/>
              <a:gd name="T13" fmla="*/ 1114 h 1290"/>
              <a:gd name="T14" fmla="*/ 694 w 885"/>
              <a:gd name="T15" fmla="*/ 1114 h 1290"/>
              <a:gd name="T16" fmla="*/ 694 w 885"/>
              <a:gd name="T17" fmla="*/ 283 h 1290"/>
              <a:gd name="T18" fmla="*/ 550 w 885"/>
              <a:gd name="T19" fmla="*/ 140 h 1290"/>
              <a:gd name="T20" fmla="*/ 0 w 885"/>
              <a:gd name="T21" fmla="*/ 140 h 1290"/>
              <a:gd name="T22" fmla="*/ 0 w 885"/>
              <a:gd name="T23" fmla="*/ 0 h 1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85" h="1290">
                <a:moveTo>
                  <a:pt x="0" y="0"/>
                </a:moveTo>
                <a:cubicBezTo>
                  <a:pt x="550" y="0"/>
                  <a:pt x="550" y="0"/>
                  <a:pt x="550" y="0"/>
                </a:cubicBezTo>
                <a:cubicBezTo>
                  <a:pt x="707" y="0"/>
                  <a:pt x="833" y="127"/>
                  <a:pt x="833" y="283"/>
                </a:cubicBezTo>
                <a:cubicBezTo>
                  <a:pt x="833" y="1114"/>
                  <a:pt x="833" y="1114"/>
                  <a:pt x="833" y="1114"/>
                </a:cubicBezTo>
                <a:cubicBezTo>
                  <a:pt x="885" y="1114"/>
                  <a:pt x="885" y="1114"/>
                  <a:pt x="885" y="1114"/>
                </a:cubicBezTo>
                <a:cubicBezTo>
                  <a:pt x="764" y="1290"/>
                  <a:pt x="764" y="1290"/>
                  <a:pt x="764" y="1290"/>
                </a:cubicBezTo>
                <a:cubicBezTo>
                  <a:pt x="642" y="1114"/>
                  <a:pt x="642" y="1114"/>
                  <a:pt x="642" y="1114"/>
                </a:cubicBezTo>
                <a:cubicBezTo>
                  <a:pt x="694" y="1114"/>
                  <a:pt x="694" y="1114"/>
                  <a:pt x="694" y="1114"/>
                </a:cubicBezTo>
                <a:cubicBezTo>
                  <a:pt x="694" y="283"/>
                  <a:pt x="694" y="283"/>
                  <a:pt x="694" y="283"/>
                </a:cubicBezTo>
                <a:cubicBezTo>
                  <a:pt x="694" y="204"/>
                  <a:pt x="629" y="140"/>
                  <a:pt x="550" y="140"/>
                </a:cubicBezTo>
                <a:cubicBezTo>
                  <a:pt x="0" y="140"/>
                  <a:pt x="0" y="140"/>
                  <a:pt x="0" y="140"/>
                </a:cubicBezTo>
                <a:lnTo>
                  <a:pt x="0" y="0"/>
                </a:lnTo>
                <a:close/>
              </a:path>
            </a:pathLst>
          </a:custGeom>
          <a:gradFill flip="none" rotWithShape="1">
            <a:gsLst>
              <a:gs pos="100000">
                <a:schemeClr val="accent1"/>
              </a:gs>
              <a:gs pos="31000">
                <a:schemeClr val="accent1">
                  <a:lumMod val="60000"/>
                  <a:lumOff val="40000"/>
                </a:schemeClr>
              </a:gs>
              <a:gs pos="0">
                <a:schemeClr val="accent1">
                  <a:lumMod val="40000"/>
                  <a:lumOff val="60000"/>
                </a:schemeClr>
              </a:gs>
            </a:gsLst>
            <a:lin ang="1620000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26" name="TextBox 65">
            <a:extLst>
              <a:ext uri="{FF2B5EF4-FFF2-40B4-BE49-F238E27FC236}">
                <a16:creationId xmlns:a16="http://schemas.microsoft.com/office/drawing/2014/main" id="{9A273CBC-4DA5-4A58-8FB6-71D3363848AC}"/>
              </a:ext>
            </a:extLst>
          </p:cNvPr>
          <p:cNvSpPr txBox="1"/>
          <p:nvPr/>
        </p:nvSpPr>
        <p:spPr>
          <a:xfrm flipH="1">
            <a:off x="6186358" y="5278682"/>
            <a:ext cx="2056261" cy="387598"/>
          </a:xfrm>
          <a:prstGeom prst="rect">
            <a:avLst/>
          </a:prstGeom>
          <a:noFill/>
        </p:spPr>
        <p:txBody>
          <a:bodyPr wrap="square" lIns="0" tIns="36000" rIns="0" bIns="36000" rtlCol="0">
            <a:spAutoFit/>
          </a:bodyPr>
          <a:lstStyle/>
          <a:p>
            <a:pPr marL="0" marR="0" lvl="0" indent="0" algn="l" defTabSz="914400" rtl="0" eaLnBrk="1" fontAlgn="auto" latinLnBrk="0" hangingPunct="1">
              <a:lnSpc>
                <a:spcPct val="120000"/>
              </a:lnSpc>
              <a:spcBef>
                <a:spcPts val="600"/>
              </a:spcBef>
              <a:spcAft>
                <a:spcPts val="0"/>
              </a:spcAft>
              <a:buClrTx/>
              <a:buSzTx/>
              <a:buFontTx/>
              <a:buNone/>
              <a:tabLst/>
              <a:defRPr/>
            </a:pPr>
            <a:r>
              <a:rPr kumimoji="0" lang="zh-CN" altLang="en-US" sz="1800" b="0" i="0" u="none" strike="noStrike" kern="1200" cap="none" spc="0" normalizeH="0" baseline="0" noProof="0" dirty="0">
                <a:ln>
                  <a:noFill/>
                </a:ln>
                <a:solidFill>
                  <a:schemeClr val="accent1"/>
                </a:solidFill>
                <a:effectLst/>
                <a:uLnTx/>
                <a:uFillTx/>
                <a:latin typeface="HarmonyOS Sans SC Black"/>
                <a:ea typeface="+mj-ea"/>
                <a:cs typeface="+mn-cs"/>
              </a:rPr>
              <a:t>关键词标题</a:t>
            </a:r>
            <a:endParaRPr kumimoji="0" lang="en-US" sz="1800" b="0" i="0" u="none" strike="noStrike" kern="1200" cap="none" spc="0" normalizeH="0" baseline="0" noProof="0" dirty="0">
              <a:ln>
                <a:noFill/>
              </a:ln>
              <a:solidFill>
                <a:schemeClr val="accent1"/>
              </a:solidFill>
              <a:effectLst/>
              <a:uLnTx/>
              <a:uFillTx/>
              <a:latin typeface="HarmonyOS Sans SC Black"/>
              <a:ea typeface="+mj-ea"/>
              <a:cs typeface="+mn-cs"/>
            </a:endParaRPr>
          </a:p>
        </p:txBody>
      </p:sp>
      <p:sp>
        <p:nvSpPr>
          <p:cNvPr id="27" name="TextBox 65">
            <a:extLst>
              <a:ext uri="{FF2B5EF4-FFF2-40B4-BE49-F238E27FC236}">
                <a16:creationId xmlns:a16="http://schemas.microsoft.com/office/drawing/2014/main" id="{AC4D63CE-8FCC-4DB5-865A-64470F0C33CC}"/>
              </a:ext>
            </a:extLst>
          </p:cNvPr>
          <p:cNvSpPr txBox="1"/>
          <p:nvPr/>
        </p:nvSpPr>
        <p:spPr>
          <a:xfrm flipH="1">
            <a:off x="6186357" y="5662081"/>
            <a:ext cx="1987912" cy="498204"/>
          </a:xfrm>
          <a:prstGeom prst="rect">
            <a:avLst/>
          </a:prstGeom>
          <a:noFill/>
        </p:spPr>
        <p:txBody>
          <a:bodyPr wrap="square" lIns="0" tIns="36000" rIns="0" bIns="36000" rtlCol="0">
            <a:spAutoFit/>
          </a:bodyPr>
          <a:lstStyle/>
          <a:p>
            <a:pPr marL="0" marR="0" lvl="0" indent="0" algn="l" defTabSz="914400" rtl="0" eaLnBrk="1" fontAlgn="auto" latinLnBrk="0" hangingPunct="1">
              <a:lnSpc>
                <a:spcPct val="120000"/>
              </a:lnSpc>
              <a:spcBef>
                <a:spcPts val="600"/>
              </a:spcBef>
              <a:spcAft>
                <a:spcPts val="0"/>
              </a:spcAft>
              <a:buClrTx/>
              <a:buSzTx/>
              <a:buFontTx/>
              <a:buNone/>
              <a:tabLst/>
              <a:defRPr/>
            </a:pPr>
            <a:r>
              <a:rPr kumimoji="0" lang="en-US" sz="1200" b="0" i="0" u="none" strike="noStrike" kern="1200" cap="none" spc="0" normalizeH="0" baseline="0" noProof="0" dirty="0">
                <a:ln>
                  <a:noFill/>
                </a:ln>
                <a:solidFill>
                  <a:prstClr val="black">
                    <a:lumMod val="50000"/>
                    <a:lumOff val="50000"/>
                  </a:prstClr>
                </a:solidFill>
                <a:effectLst/>
                <a:uLnTx/>
                <a:uFillTx/>
                <a:latin typeface="HarmonyOS Sans SC"/>
                <a:cs typeface="+mn-cs"/>
              </a:rPr>
              <a:t>Apparently we had reached a great height in the.</a:t>
            </a:r>
          </a:p>
        </p:txBody>
      </p:sp>
      <p:sp>
        <p:nvSpPr>
          <p:cNvPr id="28" name="TextBox 65">
            <a:extLst>
              <a:ext uri="{FF2B5EF4-FFF2-40B4-BE49-F238E27FC236}">
                <a16:creationId xmlns:a16="http://schemas.microsoft.com/office/drawing/2014/main" id="{5AFC0B88-AFD6-4DFE-8EDA-A33CB80876B9}"/>
              </a:ext>
            </a:extLst>
          </p:cNvPr>
          <p:cNvSpPr txBox="1"/>
          <p:nvPr/>
        </p:nvSpPr>
        <p:spPr>
          <a:xfrm flipH="1">
            <a:off x="7099170" y="4098494"/>
            <a:ext cx="2056261" cy="387598"/>
          </a:xfrm>
          <a:prstGeom prst="rect">
            <a:avLst/>
          </a:prstGeom>
          <a:noFill/>
        </p:spPr>
        <p:txBody>
          <a:bodyPr wrap="square" lIns="0" tIns="36000" rIns="0" bIns="36000" rtlCol="0">
            <a:spAutoFit/>
          </a:bodyPr>
          <a:lstStyle/>
          <a:p>
            <a:pPr marL="0" marR="0" lvl="0" indent="0" algn="l" defTabSz="914400" rtl="0" eaLnBrk="1" fontAlgn="auto" latinLnBrk="0" hangingPunct="1">
              <a:lnSpc>
                <a:spcPct val="120000"/>
              </a:lnSpc>
              <a:spcBef>
                <a:spcPts val="600"/>
              </a:spcBef>
              <a:spcAft>
                <a:spcPts val="0"/>
              </a:spcAft>
              <a:buClrTx/>
              <a:buSzTx/>
              <a:buFontTx/>
              <a:buNone/>
              <a:tabLst/>
              <a:defRPr/>
            </a:pPr>
            <a:r>
              <a:rPr kumimoji="0" lang="zh-CN" altLang="en-US" sz="1800" b="0" i="0" u="none" strike="noStrike" kern="1200" cap="none" spc="0" normalizeH="0" baseline="0" noProof="0" dirty="0">
                <a:ln>
                  <a:noFill/>
                </a:ln>
                <a:solidFill>
                  <a:schemeClr val="accent1"/>
                </a:solidFill>
                <a:effectLst/>
                <a:uLnTx/>
                <a:uFillTx/>
                <a:latin typeface="HarmonyOS Sans SC Black"/>
                <a:ea typeface="+mj-ea"/>
                <a:cs typeface="+mn-cs"/>
              </a:rPr>
              <a:t>关键词标题</a:t>
            </a:r>
            <a:endParaRPr kumimoji="0" lang="en-US" sz="1800" b="0" i="0" u="none" strike="noStrike" kern="1200" cap="none" spc="0" normalizeH="0" baseline="0" noProof="0" dirty="0">
              <a:ln>
                <a:noFill/>
              </a:ln>
              <a:solidFill>
                <a:schemeClr val="accent1"/>
              </a:solidFill>
              <a:effectLst/>
              <a:uLnTx/>
              <a:uFillTx/>
              <a:latin typeface="HarmonyOS Sans SC Black"/>
              <a:ea typeface="+mj-ea"/>
              <a:cs typeface="+mn-cs"/>
            </a:endParaRPr>
          </a:p>
        </p:txBody>
      </p:sp>
      <p:sp>
        <p:nvSpPr>
          <p:cNvPr id="29" name="TextBox 65">
            <a:extLst>
              <a:ext uri="{FF2B5EF4-FFF2-40B4-BE49-F238E27FC236}">
                <a16:creationId xmlns:a16="http://schemas.microsoft.com/office/drawing/2014/main" id="{B3DA6228-7505-4967-BA3E-FE1A68A5FD86}"/>
              </a:ext>
            </a:extLst>
          </p:cNvPr>
          <p:cNvSpPr txBox="1"/>
          <p:nvPr/>
        </p:nvSpPr>
        <p:spPr>
          <a:xfrm flipH="1">
            <a:off x="7099169" y="4481893"/>
            <a:ext cx="1987912" cy="498204"/>
          </a:xfrm>
          <a:prstGeom prst="rect">
            <a:avLst/>
          </a:prstGeom>
          <a:noFill/>
        </p:spPr>
        <p:txBody>
          <a:bodyPr wrap="square" lIns="0" tIns="36000" rIns="0" bIns="36000" rtlCol="0">
            <a:spAutoFit/>
          </a:bodyPr>
          <a:lstStyle/>
          <a:p>
            <a:pPr marL="0" marR="0" lvl="0" indent="0" algn="l" defTabSz="914400" rtl="0" eaLnBrk="1" fontAlgn="auto" latinLnBrk="0" hangingPunct="1">
              <a:lnSpc>
                <a:spcPct val="120000"/>
              </a:lnSpc>
              <a:spcBef>
                <a:spcPts val="600"/>
              </a:spcBef>
              <a:spcAft>
                <a:spcPts val="0"/>
              </a:spcAft>
              <a:buClrTx/>
              <a:buSzTx/>
              <a:buFontTx/>
              <a:buNone/>
              <a:tabLst/>
              <a:defRPr/>
            </a:pPr>
            <a:r>
              <a:rPr kumimoji="0" lang="en-US" sz="1200" b="0" i="0" u="none" strike="noStrike" kern="1200" cap="none" spc="0" normalizeH="0" baseline="0" noProof="0" dirty="0">
                <a:ln>
                  <a:noFill/>
                </a:ln>
                <a:solidFill>
                  <a:prstClr val="black">
                    <a:lumMod val="50000"/>
                    <a:lumOff val="50000"/>
                  </a:prstClr>
                </a:solidFill>
                <a:effectLst/>
                <a:uLnTx/>
                <a:uFillTx/>
                <a:latin typeface="HarmonyOS Sans SC"/>
                <a:cs typeface="+mn-cs"/>
              </a:rPr>
              <a:t>Apparently we had reached a great height in the.</a:t>
            </a:r>
          </a:p>
        </p:txBody>
      </p:sp>
      <p:sp>
        <p:nvSpPr>
          <p:cNvPr id="30" name="TextBox 65">
            <a:extLst>
              <a:ext uri="{FF2B5EF4-FFF2-40B4-BE49-F238E27FC236}">
                <a16:creationId xmlns:a16="http://schemas.microsoft.com/office/drawing/2014/main" id="{B3ED690D-085D-4E57-8AC0-8D59B8DE06AD}"/>
              </a:ext>
            </a:extLst>
          </p:cNvPr>
          <p:cNvSpPr txBox="1"/>
          <p:nvPr/>
        </p:nvSpPr>
        <p:spPr>
          <a:xfrm flipH="1">
            <a:off x="8011982" y="2918306"/>
            <a:ext cx="2056261" cy="387598"/>
          </a:xfrm>
          <a:prstGeom prst="rect">
            <a:avLst/>
          </a:prstGeom>
          <a:noFill/>
        </p:spPr>
        <p:txBody>
          <a:bodyPr wrap="square" lIns="0" tIns="36000" rIns="0" bIns="36000" rtlCol="0">
            <a:spAutoFit/>
          </a:bodyPr>
          <a:lstStyle/>
          <a:p>
            <a:pPr marL="0" marR="0" lvl="0" indent="0" algn="l" defTabSz="914400" rtl="0" eaLnBrk="1" fontAlgn="auto" latinLnBrk="0" hangingPunct="1">
              <a:lnSpc>
                <a:spcPct val="120000"/>
              </a:lnSpc>
              <a:spcBef>
                <a:spcPts val="600"/>
              </a:spcBef>
              <a:spcAft>
                <a:spcPts val="0"/>
              </a:spcAft>
              <a:buClrTx/>
              <a:buSzTx/>
              <a:buFontTx/>
              <a:buNone/>
              <a:tabLst/>
              <a:defRPr/>
            </a:pPr>
            <a:r>
              <a:rPr kumimoji="0" lang="zh-CN" altLang="en-US" sz="1800" b="0" i="0" u="none" strike="noStrike" kern="1200" cap="none" spc="0" normalizeH="0" baseline="0" noProof="0" dirty="0">
                <a:ln>
                  <a:noFill/>
                </a:ln>
                <a:solidFill>
                  <a:schemeClr val="accent1"/>
                </a:solidFill>
                <a:effectLst/>
                <a:uLnTx/>
                <a:uFillTx/>
                <a:latin typeface="HarmonyOS Sans SC Black"/>
                <a:ea typeface="+mj-ea"/>
                <a:cs typeface="+mn-cs"/>
              </a:rPr>
              <a:t>关键词标题</a:t>
            </a:r>
            <a:endParaRPr kumimoji="0" lang="en-US" sz="1800" b="0" i="0" u="none" strike="noStrike" kern="1200" cap="none" spc="0" normalizeH="0" baseline="0" noProof="0" dirty="0">
              <a:ln>
                <a:noFill/>
              </a:ln>
              <a:solidFill>
                <a:schemeClr val="accent1"/>
              </a:solidFill>
              <a:effectLst/>
              <a:uLnTx/>
              <a:uFillTx/>
              <a:latin typeface="HarmonyOS Sans SC Black"/>
              <a:ea typeface="+mj-ea"/>
              <a:cs typeface="+mn-cs"/>
            </a:endParaRPr>
          </a:p>
        </p:txBody>
      </p:sp>
      <p:sp>
        <p:nvSpPr>
          <p:cNvPr id="31" name="TextBox 65">
            <a:extLst>
              <a:ext uri="{FF2B5EF4-FFF2-40B4-BE49-F238E27FC236}">
                <a16:creationId xmlns:a16="http://schemas.microsoft.com/office/drawing/2014/main" id="{2C1A2F6A-A368-44FC-B067-3FEA2E45826D}"/>
              </a:ext>
            </a:extLst>
          </p:cNvPr>
          <p:cNvSpPr txBox="1"/>
          <p:nvPr/>
        </p:nvSpPr>
        <p:spPr>
          <a:xfrm flipH="1">
            <a:off x="8011981" y="3301705"/>
            <a:ext cx="1987912" cy="498204"/>
          </a:xfrm>
          <a:prstGeom prst="rect">
            <a:avLst/>
          </a:prstGeom>
          <a:noFill/>
        </p:spPr>
        <p:txBody>
          <a:bodyPr wrap="square" lIns="0" tIns="36000" rIns="0" bIns="36000" rtlCol="0">
            <a:spAutoFit/>
          </a:bodyPr>
          <a:lstStyle/>
          <a:p>
            <a:pPr marL="0" marR="0" lvl="0" indent="0" algn="l" defTabSz="914400" rtl="0" eaLnBrk="1" fontAlgn="auto" latinLnBrk="0" hangingPunct="1">
              <a:lnSpc>
                <a:spcPct val="120000"/>
              </a:lnSpc>
              <a:spcBef>
                <a:spcPts val="600"/>
              </a:spcBef>
              <a:spcAft>
                <a:spcPts val="0"/>
              </a:spcAft>
              <a:buClrTx/>
              <a:buSzTx/>
              <a:buFontTx/>
              <a:buNone/>
              <a:tabLst/>
              <a:defRPr/>
            </a:pPr>
            <a:r>
              <a:rPr kumimoji="0" lang="en-US" sz="1200" b="0" i="0" u="none" strike="noStrike" kern="1200" cap="none" spc="0" normalizeH="0" baseline="0" noProof="0" dirty="0">
                <a:ln>
                  <a:noFill/>
                </a:ln>
                <a:solidFill>
                  <a:prstClr val="black">
                    <a:lumMod val="50000"/>
                    <a:lumOff val="50000"/>
                  </a:prstClr>
                </a:solidFill>
                <a:effectLst/>
                <a:uLnTx/>
                <a:uFillTx/>
                <a:latin typeface="HarmonyOS Sans SC"/>
                <a:cs typeface="+mn-cs"/>
              </a:rPr>
              <a:t>Apparently we had reached a great height in the.</a:t>
            </a:r>
          </a:p>
        </p:txBody>
      </p:sp>
      <p:grpSp>
        <p:nvGrpSpPr>
          <p:cNvPr id="35" name="组合 34">
            <a:extLst>
              <a:ext uri="{FF2B5EF4-FFF2-40B4-BE49-F238E27FC236}">
                <a16:creationId xmlns:a16="http://schemas.microsoft.com/office/drawing/2014/main" id="{CE80866A-18FE-4CA8-922D-51CEA30FAD1C}"/>
              </a:ext>
            </a:extLst>
          </p:cNvPr>
          <p:cNvGrpSpPr/>
          <p:nvPr/>
        </p:nvGrpSpPr>
        <p:grpSpPr>
          <a:xfrm>
            <a:off x="8924793" y="1788672"/>
            <a:ext cx="2056262" cy="881603"/>
            <a:chOff x="8924793" y="1788672"/>
            <a:chExt cx="2056262" cy="881603"/>
          </a:xfrm>
        </p:grpSpPr>
        <p:sp>
          <p:nvSpPr>
            <p:cNvPr id="32" name="TextBox 65">
              <a:extLst>
                <a:ext uri="{FF2B5EF4-FFF2-40B4-BE49-F238E27FC236}">
                  <a16:creationId xmlns:a16="http://schemas.microsoft.com/office/drawing/2014/main" id="{967AF792-C23A-4A9C-ACB7-5BCA0C2F2FB4}"/>
                </a:ext>
              </a:extLst>
            </p:cNvPr>
            <p:cNvSpPr txBox="1"/>
            <p:nvPr/>
          </p:nvSpPr>
          <p:spPr>
            <a:xfrm flipH="1">
              <a:off x="8924794" y="1788672"/>
              <a:ext cx="2056261" cy="387598"/>
            </a:xfrm>
            <a:prstGeom prst="rect">
              <a:avLst/>
            </a:prstGeom>
            <a:noFill/>
          </p:spPr>
          <p:txBody>
            <a:bodyPr wrap="square" lIns="0" tIns="36000" rIns="0" bIns="36000" rtlCol="0">
              <a:spAutoFit/>
            </a:bodyPr>
            <a:lstStyle/>
            <a:p>
              <a:pPr marL="0" marR="0" lvl="0" indent="0" algn="l" defTabSz="914400" rtl="0" eaLnBrk="1" fontAlgn="auto" latinLnBrk="0" hangingPunct="1">
                <a:lnSpc>
                  <a:spcPct val="120000"/>
                </a:lnSpc>
                <a:spcBef>
                  <a:spcPts val="600"/>
                </a:spcBef>
                <a:spcAft>
                  <a:spcPts val="0"/>
                </a:spcAft>
                <a:buClrTx/>
                <a:buSzTx/>
                <a:buFontTx/>
                <a:buNone/>
                <a:tabLst/>
                <a:defRPr/>
              </a:pPr>
              <a:r>
                <a:rPr kumimoji="0" lang="zh-CN" altLang="en-US" sz="1800" b="0" i="0" u="none" strike="noStrike" kern="1200" cap="none" spc="0" normalizeH="0" baseline="0" noProof="0" dirty="0">
                  <a:ln>
                    <a:noFill/>
                  </a:ln>
                  <a:solidFill>
                    <a:schemeClr val="accent1"/>
                  </a:solidFill>
                  <a:effectLst/>
                  <a:uLnTx/>
                  <a:uFillTx/>
                  <a:latin typeface="HarmonyOS Sans SC Black"/>
                  <a:ea typeface="+mj-ea"/>
                  <a:cs typeface="+mn-cs"/>
                </a:rPr>
                <a:t>关键词标题</a:t>
              </a:r>
              <a:endParaRPr kumimoji="0" lang="en-US" sz="1800" b="0" i="0" u="none" strike="noStrike" kern="1200" cap="none" spc="0" normalizeH="0" baseline="0" noProof="0" dirty="0">
                <a:ln>
                  <a:noFill/>
                </a:ln>
                <a:solidFill>
                  <a:schemeClr val="accent1"/>
                </a:solidFill>
                <a:effectLst/>
                <a:uLnTx/>
                <a:uFillTx/>
                <a:latin typeface="HarmonyOS Sans SC Black"/>
                <a:ea typeface="+mj-ea"/>
                <a:cs typeface="+mn-cs"/>
              </a:endParaRPr>
            </a:p>
          </p:txBody>
        </p:sp>
        <p:sp>
          <p:nvSpPr>
            <p:cNvPr id="33" name="TextBox 65">
              <a:extLst>
                <a:ext uri="{FF2B5EF4-FFF2-40B4-BE49-F238E27FC236}">
                  <a16:creationId xmlns:a16="http://schemas.microsoft.com/office/drawing/2014/main" id="{03E1DCFF-DE90-45EE-8568-D70D1E8C0CC7}"/>
                </a:ext>
              </a:extLst>
            </p:cNvPr>
            <p:cNvSpPr txBox="1"/>
            <p:nvPr/>
          </p:nvSpPr>
          <p:spPr>
            <a:xfrm flipH="1">
              <a:off x="8924793" y="2172071"/>
              <a:ext cx="1987912" cy="498204"/>
            </a:xfrm>
            <a:prstGeom prst="rect">
              <a:avLst/>
            </a:prstGeom>
            <a:noFill/>
          </p:spPr>
          <p:txBody>
            <a:bodyPr wrap="square" lIns="0" tIns="36000" rIns="0" bIns="36000" rtlCol="0">
              <a:spAutoFit/>
            </a:bodyPr>
            <a:lstStyle/>
            <a:p>
              <a:pPr marL="0" marR="0" lvl="0" indent="0" algn="l" defTabSz="914400" rtl="0" eaLnBrk="1" fontAlgn="auto" latinLnBrk="0" hangingPunct="1">
                <a:lnSpc>
                  <a:spcPct val="120000"/>
                </a:lnSpc>
                <a:spcBef>
                  <a:spcPts val="600"/>
                </a:spcBef>
                <a:spcAft>
                  <a:spcPts val="0"/>
                </a:spcAft>
                <a:buClrTx/>
                <a:buSzTx/>
                <a:buFontTx/>
                <a:buNone/>
                <a:tabLst/>
                <a:defRPr/>
              </a:pPr>
              <a:r>
                <a:rPr kumimoji="0" lang="en-US" sz="1200" b="0" i="0" u="none" strike="noStrike" kern="1200" cap="none" spc="0" normalizeH="0" baseline="0" noProof="0" dirty="0">
                  <a:ln>
                    <a:noFill/>
                  </a:ln>
                  <a:solidFill>
                    <a:prstClr val="black">
                      <a:lumMod val="50000"/>
                      <a:lumOff val="50000"/>
                    </a:prstClr>
                  </a:solidFill>
                  <a:effectLst/>
                  <a:uLnTx/>
                  <a:uFillTx/>
                  <a:latin typeface="HarmonyOS Sans SC"/>
                  <a:cs typeface="+mn-cs"/>
                </a:rPr>
                <a:t>Apparently we had reached a great height in the.</a:t>
              </a:r>
            </a:p>
          </p:txBody>
        </p:sp>
      </p:grpSp>
    </p:spTree>
    <p:extLst>
      <p:ext uri="{BB962C8B-B14F-4D97-AF65-F5344CB8AC3E}">
        <p14:creationId xmlns:p14="http://schemas.microsoft.com/office/powerpoint/2010/main" val="1597282269"/>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4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41">
            <a:extLst>
              <a:ext uri="{FF2B5EF4-FFF2-40B4-BE49-F238E27FC236}">
                <a16:creationId xmlns:a16="http://schemas.microsoft.com/office/drawing/2014/main" id="{8E4F3C64-A782-4AEF-A997-46DE15AF7794}"/>
              </a:ext>
            </a:extLst>
          </p:cNvPr>
          <p:cNvSpPr>
            <a:spLocks/>
          </p:cNvSpPr>
          <p:nvPr/>
        </p:nvSpPr>
        <p:spPr bwMode="auto">
          <a:xfrm>
            <a:off x="6148389" y="1914525"/>
            <a:ext cx="487363" cy="4943475"/>
          </a:xfrm>
          <a:custGeom>
            <a:avLst/>
            <a:gdLst>
              <a:gd name="T0" fmla="*/ 307 w 307"/>
              <a:gd name="T1" fmla="*/ 0 h 3114"/>
              <a:gd name="T2" fmla="*/ 307 w 307"/>
              <a:gd name="T3" fmla="*/ 3114 h 3114"/>
              <a:gd name="T4" fmla="*/ 0 w 307"/>
              <a:gd name="T5" fmla="*/ 3114 h 3114"/>
              <a:gd name="T6" fmla="*/ 0 w 307"/>
              <a:gd name="T7" fmla="*/ 307 h 3114"/>
              <a:gd name="T8" fmla="*/ 307 w 307"/>
              <a:gd name="T9" fmla="*/ 0 h 3114"/>
            </a:gdLst>
            <a:ahLst/>
            <a:cxnLst>
              <a:cxn ang="0">
                <a:pos x="T0" y="T1"/>
              </a:cxn>
              <a:cxn ang="0">
                <a:pos x="T2" y="T3"/>
              </a:cxn>
              <a:cxn ang="0">
                <a:pos x="T4" y="T5"/>
              </a:cxn>
              <a:cxn ang="0">
                <a:pos x="T6" y="T7"/>
              </a:cxn>
              <a:cxn ang="0">
                <a:pos x="T8" y="T9"/>
              </a:cxn>
            </a:cxnLst>
            <a:rect l="0" t="0" r="r" b="b"/>
            <a:pathLst>
              <a:path w="307" h="3114">
                <a:moveTo>
                  <a:pt x="307" y="0"/>
                </a:moveTo>
                <a:lnTo>
                  <a:pt x="307" y="3114"/>
                </a:lnTo>
                <a:lnTo>
                  <a:pt x="0" y="3114"/>
                </a:lnTo>
                <a:lnTo>
                  <a:pt x="0" y="307"/>
                </a:lnTo>
                <a:lnTo>
                  <a:pt x="307" y="0"/>
                </a:lnTo>
              </a:path>
            </a:pathLst>
          </a:custGeom>
          <a:gradFill flip="none" rotWithShape="1">
            <a:gsLst>
              <a:gs pos="68000">
                <a:schemeClr val="accent1"/>
              </a:gs>
              <a:gs pos="31000">
                <a:schemeClr val="accent1">
                  <a:lumMod val="60000"/>
                  <a:lumOff val="40000"/>
                </a:schemeClr>
              </a:gs>
              <a:gs pos="0">
                <a:schemeClr val="accent1">
                  <a:lumMod val="40000"/>
                  <a:lumOff val="60000"/>
                </a:schemeClr>
              </a:gs>
            </a:gsLst>
            <a:lin ang="1620000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cs typeface="+mn-cs"/>
            </a:endParaRPr>
          </a:p>
        </p:txBody>
      </p:sp>
      <p:sp>
        <p:nvSpPr>
          <p:cNvPr id="3" name="Freeform 43">
            <a:extLst>
              <a:ext uri="{FF2B5EF4-FFF2-40B4-BE49-F238E27FC236}">
                <a16:creationId xmlns:a16="http://schemas.microsoft.com/office/drawing/2014/main" id="{635BF02D-4796-4854-9D6F-56DE5366448E}"/>
              </a:ext>
            </a:extLst>
          </p:cNvPr>
          <p:cNvSpPr>
            <a:spLocks/>
          </p:cNvSpPr>
          <p:nvPr/>
        </p:nvSpPr>
        <p:spPr bwMode="auto">
          <a:xfrm>
            <a:off x="6142039" y="1914525"/>
            <a:ext cx="1243013" cy="487362"/>
          </a:xfrm>
          <a:custGeom>
            <a:avLst/>
            <a:gdLst>
              <a:gd name="T0" fmla="*/ 783 w 783"/>
              <a:gd name="T1" fmla="*/ 307 h 307"/>
              <a:gd name="T2" fmla="*/ 0 w 783"/>
              <a:gd name="T3" fmla="*/ 307 h 307"/>
              <a:gd name="T4" fmla="*/ 307 w 783"/>
              <a:gd name="T5" fmla="*/ 0 h 307"/>
              <a:gd name="T6" fmla="*/ 783 w 783"/>
              <a:gd name="T7" fmla="*/ 0 h 307"/>
              <a:gd name="T8" fmla="*/ 783 w 783"/>
              <a:gd name="T9" fmla="*/ 307 h 307"/>
            </a:gdLst>
            <a:ahLst/>
            <a:cxnLst>
              <a:cxn ang="0">
                <a:pos x="T0" y="T1"/>
              </a:cxn>
              <a:cxn ang="0">
                <a:pos x="T2" y="T3"/>
              </a:cxn>
              <a:cxn ang="0">
                <a:pos x="T4" y="T5"/>
              </a:cxn>
              <a:cxn ang="0">
                <a:pos x="T6" y="T7"/>
              </a:cxn>
              <a:cxn ang="0">
                <a:pos x="T8" y="T9"/>
              </a:cxn>
            </a:cxnLst>
            <a:rect l="0" t="0" r="r" b="b"/>
            <a:pathLst>
              <a:path w="783" h="307">
                <a:moveTo>
                  <a:pt x="783" y="307"/>
                </a:moveTo>
                <a:lnTo>
                  <a:pt x="0" y="307"/>
                </a:lnTo>
                <a:lnTo>
                  <a:pt x="307" y="0"/>
                </a:lnTo>
                <a:lnTo>
                  <a:pt x="783" y="0"/>
                </a:lnTo>
                <a:lnTo>
                  <a:pt x="783" y="30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sp>
        <p:nvSpPr>
          <p:cNvPr id="69" name="任意多边形: 形状 68">
            <a:extLst>
              <a:ext uri="{FF2B5EF4-FFF2-40B4-BE49-F238E27FC236}">
                <a16:creationId xmlns:a16="http://schemas.microsoft.com/office/drawing/2014/main" id="{6339296A-5B12-4DA7-8ABD-98572E003A36}"/>
              </a:ext>
            </a:extLst>
          </p:cNvPr>
          <p:cNvSpPr>
            <a:spLocks/>
          </p:cNvSpPr>
          <p:nvPr/>
        </p:nvSpPr>
        <p:spPr bwMode="auto">
          <a:xfrm>
            <a:off x="6142039" y="1681163"/>
            <a:ext cx="1709737" cy="960437"/>
          </a:xfrm>
          <a:custGeom>
            <a:avLst/>
            <a:gdLst>
              <a:gd name="connsiteX0" fmla="*/ 1189037 w 1709737"/>
              <a:gd name="connsiteY0" fmla="*/ 0 h 960437"/>
              <a:gd name="connsiteX1" fmla="*/ 1709737 w 1709737"/>
              <a:gd name="connsiteY1" fmla="*/ 479425 h 960437"/>
              <a:gd name="connsiteX2" fmla="*/ 1189037 w 1709737"/>
              <a:gd name="connsiteY2" fmla="*/ 960437 h 960437"/>
              <a:gd name="connsiteX3" fmla="*/ 1189037 w 1709737"/>
              <a:gd name="connsiteY3" fmla="*/ 720724 h 960437"/>
              <a:gd name="connsiteX4" fmla="*/ 0 w 1709737"/>
              <a:gd name="connsiteY4" fmla="*/ 720724 h 960437"/>
              <a:gd name="connsiteX5" fmla="*/ 487363 w 1709737"/>
              <a:gd name="connsiteY5" fmla="*/ 233362 h 960437"/>
              <a:gd name="connsiteX6" fmla="*/ 1189037 w 1709737"/>
              <a:gd name="connsiteY6" fmla="*/ 233362 h 960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09737" h="960437">
                <a:moveTo>
                  <a:pt x="1189037" y="0"/>
                </a:moveTo>
                <a:lnTo>
                  <a:pt x="1709737" y="479425"/>
                </a:lnTo>
                <a:lnTo>
                  <a:pt x="1189037" y="960437"/>
                </a:lnTo>
                <a:lnTo>
                  <a:pt x="1189037" y="720724"/>
                </a:lnTo>
                <a:lnTo>
                  <a:pt x="0" y="720724"/>
                </a:lnTo>
                <a:lnTo>
                  <a:pt x="487363" y="233362"/>
                </a:lnTo>
                <a:lnTo>
                  <a:pt x="1189037" y="233362"/>
                </a:lnTo>
                <a:close/>
              </a:path>
            </a:pathLst>
          </a:custGeom>
          <a:gradFill flip="none" rotWithShape="1">
            <a:gsLst>
              <a:gs pos="73000">
                <a:schemeClr val="accent1"/>
              </a:gs>
              <a:gs pos="31000">
                <a:schemeClr val="accent1">
                  <a:lumMod val="60000"/>
                  <a:lumOff val="40000"/>
                </a:schemeClr>
              </a:gs>
              <a:gs pos="0">
                <a:schemeClr val="accent1">
                  <a:lumMod val="40000"/>
                  <a:lumOff val="60000"/>
                </a:schemeClr>
              </a:gs>
            </a:gsLst>
            <a:lin ang="0" scaled="0"/>
            <a:tileRect/>
          </a:gradFill>
          <a:ln>
            <a:noFill/>
          </a:ln>
        </p:spPr>
        <p:txBody>
          <a:bodyPr vert="horz" wrap="square" lIns="91440" tIns="45720" rIns="91440" bIns="45720" numCol="1" anchor="t"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cs typeface="+mn-cs"/>
            </a:endParaRPr>
          </a:p>
        </p:txBody>
      </p:sp>
      <p:sp>
        <p:nvSpPr>
          <p:cNvPr id="7" name="Freeform 45">
            <a:extLst>
              <a:ext uri="{FF2B5EF4-FFF2-40B4-BE49-F238E27FC236}">
                <a16:creationId xmlns:a16="http://schemas.microsoft.com/office/drawing/2014/main" id="{A21D5912-95AB-40ED-9E29-CCBE94008EA8}"/>
              </a:ext>
            </a:extLst>
          </p:cNvPr>
          <p:cNvSpPr>
            <a:spLocks/>
          </p:cNvSpPr>
          <p:nvPr/>
        </p:nvSpPr>
        <p:spPr bwMode="auto">
          <a:xfrm>
            <a:off x="7331076" y="1681163"/>
            <a:ext cx="520700" cy="960437"/>
          </a:xfrm>
          <a:custGeom>
            <a:avLst/>
            <a:gdLst>
              <a:gd name="T0" fmla="*/ 328 w 328"/>
              <a:gd name="T1" fmla="*/ 302 h 605"/>
              <a:gd name="T2" fmla="*/ 0 w 328"/>
              <a:gd name="T3" fmla="*/ 0 h 605"/>
              <a:gd name="T4" fmla="*/ 0 w 328"/>
              <a:gd name="T5" fmla="*/ 302 h 605"/>
              <a:gd name="T6" fmla="*/ 0 w 328"/>
              <a:gd name="T7" fmla="*/ 605 h 605"/>
              <a:gd name="T8" fmla="*/ 328 w 328"/>
              <a:gd name="T9" fmla="*/ 302 h 605"/>
            </a:gdLst>
            <a:ahLst/>
            <a:cxnLst>
              <a:cxn ang="0">
                <a:pos x="T0" y="T1"/>
              </a:cxn>
              <a:cxn ang="0">
                <a:pos x="T2" y="T3"/>
              </a:cxn>
              <a:cxn ang="0">
                <a:pos x="T4" y="T5"/>
              </a:cxn>
              <a:cxn ang="0">
                <a:pos x="T6" y="T7"/>
              </a:cxn>
              <a:cxn ang="0">
                <a:pos x="T8" y="T9"/>
              </a:cxn>
            </a:cxnLst>
            <a:rect l="0" t="0" r="r" b="b"/>
            <a:pathLst>
              <a:path w="328" h="605">
                <a:moveTo>
                  <a:pt x="328" y="302"/>
                </a:moveTo>
                <a:lnTo>
                  <a:pt x="0" y="0"/>
                </a:lnTo>
                <a:lnTo>
                  <a:pt x="0" y="302"/>
                </a:lnTo>
                <a:lnTo>
                  <a:pt x="0" y="605"/>
                </a:lnTo>
                <a:lnTo>
                  <a:pt x="328" y="30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sp>
        <p:nvSpPr>
          <p:cNvPr id="8" name="Freeform 47">
            <a:extLst>
              <a:ext uri="{FF2B5EF4-FFF2-40B4-BE49-F238E27FC236}">
                <a16:creationId xmlns:a16="http://schemas.microsoft.com/office/drawing/2014/main" id="{3B63B205-7CF8-4D27-86C3-12362A648D56}"/>
              </a:ext>
            </a:extLst>
          </p:cNvPr>
          <p:cNvSpPr>
            <a:spLocks/>
          </p:cNvSpPr>
          <p:nvPr/>
        </p:nvSpPr>
        <p:spPr bwMode="auto">
          <a:xfrm>
            <a:off x="6142039" y="1914525"/>
            <a:ext cx="1189038" cy="487362"/>
          </a:xfrm>
          <a:custGeom>
            <a:avLst/>
            <a:gdLst>
              <a:gd name="T0" fmla="*/ 749 w 749"/>
              <a:gd name="T1" fmla="*/ 0 h 307"/>
              <a:gd name="T2" fmla="*/ 307 w 749"/>
              <a:gd name="T3" fmla="*/ 0 h 307"/>
              <a:gd name="T4" fmla="*/ 0 w 749"/>
              <a:gd name="T5" fmla="*/ 307 h 307"/>
              <a:gd name="T6" fmla="*/ 749 w 749"/>
              <a:gd name="T7" fmla="*/ 307 h 307"/>
              <a:gd name="T8" fmla="*/ 749 w 749"/>
              <a:gd name="T9" fmla="*/ 155 h 307"/>
              <a:gd name="T10" fmla="*/ 749 w 749"/>
              <a:gd name="T11" fmla="*/ 0 h 307"/>
            </a:gdLst>
            <a:ahLst/>
            <a:cxnLst>
              <a:cxn ang="0">
                <a:pos x="T0" y="T1"/>
              </a:cxn>
              <a:cxn ang="0">
                <a:pos x="T2" y="T3"/>
              </a:cxn>
              <a:cxn ang="0">
                <a:pos x="T4" y="T5"/>
              </a:cxn>
              <a:cxn ang="0">
                <a:pos x="T6" y="T7"/>
              </a:cxn>
              <a:cxn ang="0">
                <a:pos x="T8" y="T9"/>
              </a:cxn>
              <a:cxn ang="0">
                <a:pos x="T10" y="T11"/>
              </a:cxn>
            </a:cxnLst>
            <a:rect l="0" t="0" r="r" b="b"/>
            <a:pathLst>
              <a:path w="749" h="307">
                <a:moveTo>
                  <a:pt x="749" y="0"/>
                </a:moveTo>
                <a:lnTo>
                  <a:pt x="307" y="0"/>
                </a:lnTo>
                <a:lnTo>
                  <a:pt x="0" y="307"/>
                </a:lnTo>
                <a:lnTo>
                  <a:pt x="749" y="307"/>
                </a:lnTo>
                <a:lnTo>
                  <a:pt x="749" y="155"/>
                </a:lnTo>
                <a:lnTo>
                  <a:pt x="74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sp>
        <p:nvSpPr>
          <p:cNvPr id="9" name="Freeform 49">
            <a:extLst>
              <a:ext uri="{FF2B5EF4-FFF2-40B4-BE49-F238E27FC236}">
                <a16:creationId xmlns:a16="http://schemas.microsoft.com/office/drawing/2014/main" id="{D85F1ADC-D416-4EE4-864D-0B7723EB2B96}"/>
              </a:ext>
            </a:extLst>
          </p:cNvPr>
          <p:cNvSpPr>
            <a:spLocks/>
          </p:cNvSpPr>
          <p:nvPr/>
        </p:nvSpPr>
        <p:spPr bwMode="auto">
          <a:xfrm>
            <a:off x="7331076" y="1681163"/>
            <a:ext cx="520700" cy="960437"/>
          </a:xfrm>
          <a:custGeom>
            <a:avLst/>
            <a:gdLst>
              <a:gd name="T0" fmla="*/ 0 w 328"/>
              <a:gd name="T1" fmla="*/ 0 h 605"/>
              <a:gd name="T2" fmla="*/ 0 w 328"/>
              <a:gd name="T3" fmla="*/ 147 h 605"/>
              <a:gd name="T4" fmla="*/ 0 w 328"/>
              <a:gd name="T5" fmla="*/ 302 h 605"/>
              <a:gd name="T6" fmla="*/ 0 w 328"/>
              <a:gd name="T7" fmla="*/ 454 h 605"/>
              <a:gd name="T8" fmla="*/ 0 w 328"/>
              <a:gd name="T9" fmla="*/ 605 h 605"/>
              <a:gd name="T10" fmla="*/ 328 w 328"/>
              <a:gd name="T11" fmla="*/ 302 h 605"/>
              <a:gd name="T12" fmla="*/ 0 w 328"/>
              <a:gd name="T13" fmla="*/ 0 h 605"/>
            </a:gdLst>
            <a:ahLst/>
            <a:cxnLst>
              <a:cxn ang="0">
                <a:pos x="T0" y="T1"/>
              </a:cxn>
              <a:cxn ang="0">
                <a:pos x="T2" y="T3"/>
              </a:cxn>
              <a:cxn ang="0">
                <a:pos x="T4" y="T5"/>
              </a:cxn>
              <a:cxn ang="0">
                <a:pos x="T6" y="T7"/>
              </a:cxn>
              <a:cxn ang="0">
                <a:pos x="T8" y="T9"/>
              </a:cxn>
              <a:cxn ang="0">
                <a:pos x="T10" y="T11"/>
              </a:cxn>
              <a:cxn ang="0">
                <a:pos x="T12" y="T13"/>
              </a:cxn>
            </a:cxnLst>
            <a:rect l="0" t="0" r="r" b="b"/>
            <a:pathLst>
              <a:path w="328" h="605">
                <a:moveTo>
                  <a:pt x="0" y="0"/>
                </a:moveTo>
                <a:lnTo>
                  <a:pt x="0" y="147"/>
                </a:lnTo>
                <a:lnTo>
                  <a:pt x="0" y="302"/>
                </a:lnTo>
                <a:lnTo>
                  <a:pt x="0" y="454"/>
                </a:lnTo>
                <a:lnTo>
                  <a:pt x="0" y="605"/>
                </a:lnTo>
                <a:lnTo>
                  <a:pt x="328" y="30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sp>
        <p:nvSpPr>
          <p:cNvPr id="10" name="Freeform 50">
            <a:extLst>
              <a:ext uri="{FF2B5EF4-FFF2-40B4-BE49-F238E27FC236}">
                <a16:creationId xmlns:a16="http://schemas.microsoft.com/office/drawing/2014/main" id="{56955FA0-7DAF-48C7-B4A0-FB4134A4E09A}"/>
              </a:ext>
            </a:extLst>
          </p:cNvPr>
          <p:cNvSpPr>
            <a:spLocks/>
          </p:cNvSpPr>
          <p:nvPr/>
        </p:nvSpPr>
        <p:spPr bwMode="auto">
          <a:xfrm>
            <a:off x="5548314" y="2954338"/>
            <a:ext cx="487363" cy="3903662"/>
          </a:xfrm>
          <a:custGeom>
            <a:avLst/>
            <a:gdLst>
              <a:gd name="T0" fmla="*/ 0 w 307"/>
              <a:gd name="T1" fmla="*/ 0 h 2459"/>
              <a:gd name="T2" fmla="*/ 0 w 307"/>
              <a:gd name="T3" fmla="*/ 2459 h 2459"/>
              <a:gd name="T4" fmla="*/ 307 w 307"/>
              <a:gd name="T5" fmla="*/ 2459 h 2459"/>
              <a:gd name="T6" fmla="*/ 307 w 307"/>
              <a:gd name="T7" fmla="*/ 307 h 2459"/>
              <a:gd name="T8" fmla="*/ 0 w 307"/>
              <a:gd name="T9" fmla="*/ 0 h 2459"/>
            </a:gdLst>
            <a:ahLst/>
            <a:cxnLst>
              <a:cxn ang="0">
                <a:pos x="T0" y="T1"/>
              </a:cxn>
              <a:cxn ang="0">
                <a:pos x="T2" y="T3"/>
              </a:cxn>
              <a:cxn ang="0">
                <a:pos x="T4" y="T5"/>
              </a:cxn>
              <a:cxn ang="0">
                <a:pos x="T6" y="T7"/>
              </a:cxn>
              <a:cxn ang="0">
                <a:pos x="T8" y="T9"/>
              </a:cxn>
            </a:cxnLst>
            <a:rect l="0" t="0" r="r" b="b"/>
            <a:pathLst>
              <a:path w="307" h="2459">
                <a:moveTo>
                  <a:pt x="0" y="0"/>
                </a:moveTo>
                <a:lnTo>
                  <a:pt x="0" y="2459"/>
                </a:lnTo>
                <a:lnTo>
                  <a:pt x="307" y="2459"/>
                </a:lnTo>
                <a:lnTo>
                  <a:pt x="307" y="307"/>
                </a:lnTo>
                <a:lnTo>
                  <a:pt x="0" y="0"/>
                </a:lnTo>
                <a:close/>
              </a:path>
            </a:pathLst>
          </a:custGeom>
          <a:gradFill flip="none" rotWithShape="1">
            <a:gsLst>
              <a:gs pos="68000">
                <a:schemeClr val="accent1"/>
              </a:gs>
              <a:gs pos="31000">
                <a:schemeClr val="accent1">
                  <a:lumMod val="60000"/>
                  <a:lumOff val="40000"/>
                </a:schemeClr>
              </a:gs>
              <a:gs pos="0">
                <a:schemeClr val="accent1">
                  <a:lumMod val="40000"/>
                  <a:lumOff val="60000"/>
                </a:schemeClr>
              </a:gs>
            </a:gsLst>
            <a:lin ang="1620000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cs typeface="+mn-cs"/>
            </a:endParaRPr>
          </a:p>
        </p:txBody>
      </p:sp>
      <p:sp>
        <p:nvSpPr>
          <p:cNvPr id="11" name="Freeform 51">
            <a:extLst>
              <a:ext uri="{FF2B5EF4-FFF2-40B4-BE49-F238E27FC236}">
                <a16:creationId xmlns:a16="http://schemas.microsoft.com/office/drawing/2014/main" id="{89248A2A-738B-431D-BA86-3395916B9577}"/>
              </a:ext>
            </a:extLst>
          </p:cNvPr>
          <p:cNvSpPr>
            <a:spLocks/>
          </p:cNvSpPr>
          <p:nvPr/>
        </p:nvSpPr>
        <p:spPr bwMode="auto">
          <a:xfrm>
            <a:off x="5548314" y="2954338"/>
            <a:ext cx="487363" cy="3903662"/>
          </a:xfrm>
          <a:custGeom>
            <a:avLst/>
            <a:gdLst>
              <a:gd name="T0" fmla="*/ 0 w 307"/>
              <a:gd name="T1" fmla="*/ 0 h 2459"/>
              <a:gd name="T2" fmla="*/ 0 w 307"/>
              <a:gd name="T3" fmla="*/ 2459 h 2459"/>
              <a:gd name="T4" fmla="*/ 307 w 307"/>
              <a:gd name="T5" fmla="*/ 2459 h 2459"/>
              <a:gd name="T6" fmla="*/ 307 w 307"/>
              <a:gd name="T7" fmla="*/ 307 h 2459"/>
              <a:gd name="T8" fmla="*/ 0 w 307"/>
              <a:gd name="T9" fmla="*/ 0 h 2459"/>
            </a:gdLst>
            <a:ahLst/>
            <a:cxnLst>
              <a:cxn ang="0">
                <a:pos x="T0" y="T1"/>
              </a:cxn>
              <a:cxn ang="0">
                <a:pos x="T2" y="T3"/>
              </a:cxn>
              <a:cxn ang="0">
                <a:pos x="T4" y="T5"/>
              </a:cxn>
              <a:cxn ang="0">
                <a:pos x="T6" y="T7"/>
              </a:cxn>
              <a:cxn ang="0">
                <a:pos x="T8" y="T9"/>
              </a:cxn>
            </a:cxnLst>
            <a:rect l="0" t="0" r="r" b="b"/>
            <a:pathLst>
              <a:path w="307" h="2459">
                <a:moveTo>
                  <a:pt x="0" y="0"/>
                </a:moveTo>
                <a:lnTo>
                  <a:pt x="0" y="2459"/>
                </a:lnTo>
                <a:lnTo>
                  <a:pt x="307" y="2459"/>
                </a:lnTo>
                <a:lnTo>
                  <a:pt x="307" y="307"/>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sp>
        <p:nvSpPr>
          <p:cNvPr id="12" name="Freeform 53">
            <a:extLst>
              <a:ext uri="{FF2B5EF4-FFF2-40B4-BE49-F238E27FC236}">
                <a16:creationId xmlns:a16="http://schemas.microsoft.com/office/drawing/2014/main" id="{F7E3004E-03EB-4159-84D1-A26817CA4D8D}"/>
              </a:ext>
            </a:extLst>
          </p:cNvPr>
          <p:cNvSpPr>
            <a:spLocks/>
          </p:cNvSpPr>
          <p:nvPr/>
        </p:nvSpPr>
        <p:spPr bwMode="auto">
          <a:xfrm>
            <a:off x="4846639" y="2954338"/>
            <a:ext cx="1189038" cy="487362"/>
          </a:xfrm>
          <a:custGeom>
            <a:avLst/>
            <a:gdLst>
              <a:gd name="T0" fmla="*/ 0 w 749"/>
              <a:gd name="T1" fmla="*/ 307 h 307"/>
              <a:gd name="T2" fmla="*/ 749 w 749"/>
              <a:gd name="T3" fmla="*/ 307 h 307"/>
              <a:gd name="T4" fmla="*/ 442 w 749"/>
              <a:gd name="T5" fmla="*/ 0 h 307"/>
              <a:gd name="T6" fmla="*/ 0 w 749"/>
              <a:gd name="T7" fmla="*/ 0 h 307"/>
              <a:gd name="T8" fmla="*/ 0 w 749"/>
              <a:gd name="T9" fmla="*/ 307 h 307"/>
            </a:gdLst>
            <a:ahLst/>
            <a:cxnLst>
              <a:cxn ang="0">
                <a:pos x="T0" y="T1"/>
              </a:cxn>
              <a:cxn ang="0">
                <a:pos x="T2" y="T3"/>
              </a:cxn>
              <a:cxn ang="0">
                <a:pos x="T4" y="T5"/>
              </a:cxn>
              <a:cxn ang="0">
                <a:pos x="T6" y="T7"/>
              </a:cxn>
              <a:cxn ang="0">
                <a:pos x="T8" y="T9"/>
              </a:cxn>
            </a:cxnLst>
            <a:rect l="0" t="0" r="r" b="b"/>
            <a:pathLst>
              <a:path w="749" h="307">
                <a:moveTo>
                  <a:pt x="0" y="307"/>
                </a:moveTo>
                <a:lnTo>
                  <a:pt x="749" y="307"/>
                </a:lnTo>
                <a:lnTo>
                  <a:pt x="442" y="0"/>
                </a:lnTo>
                <a:lnTo>
                  <a:pt x="0" y="0"/>
                </a:lnTo>
                <a:lnTo>
                  <a:pt x="0" y="30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sp>
        <p:nvSpPr>
          <p:cNvPr id="68" name="任意多边形: 形状 67">
            <a:extLst>
              <a:ext uri="{FF2B5EF4-FFF2-40B4-BE49-F238E27FC236}">
                <a16:creationId xmlns:a16="http://schemas.microsoft.com/office/drawing/2014/main" id="{78B0DF05-E778-46B4-9F96-5481587CD861}"/>
              </a:ext>
            </a:extLst>
          </p:cNvPr>
          <p:cNvSpPr>
            <a:spLocks/>
          </p:cNvSpPr>
          <p:nvPr/>
        </p:nvSpPr>
        <p:spPr bwMode="auto">
          <a:xfrm>
            <a:off x="4379914" y="2714625"/>
            <a:ext cx="1655763" cy="960437"/>
          </a:xfrm>
          <a:custGeom>
            <a:avLst/>
            <a:gdLst>
              <a:gd name="connsiteX0" fmla="*/ 520700 w 1655763"/>
              <a:gd name="connsiteY0" fmla="*/ 0 h 960437"/>
              <a:gd name="connsiteX1" fmla="*/ 520700 w 1655763"/>
              <a:gd name="connsiteY1" fmla="*/ 239713 h 960437"/>
              <a:gd name="connsiteX2" fmla="*/ 1168401 w 1655763"/>
              <a:gd name="connsiteY2" fmla="*/ 239713 h 960437"/>
              <a:gd name="connsiteX3" fmla="*/ 1655763 w 1655763"/>
              <a:gd name="connsiteY3" fmla="*/ 727075 h 960437"/>
              <a:gd name="connsiteX4" fmla="*/ 520700 w 1655763"/>
              <a:gd name="connsiteY4" fmla="*/ 727075 h 960437"/>
              <a:gd name="connsiteX5" fmla="*/ 520700 w 1655763"/>
              <a:gd name="connsiteY5" fmla="*/ 960437 h 960437"/>
              <a:gd name="connsiteX6" fmla="*/ 0 w 1655763"/>
              <a:gd name="connsiteY6" fmla="*/ 481012 h 960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55763" h="960437">
                <a:moveTo>
                  <a:pt x="520700" y="0"/>
                </a:moveTo>
                <a:lnTo>
                  <a:pt x="520700" y="239713"/>
                </a:lnTo>
                <a:lnTo>
                  <a:pt x="1168401" y="239713"/>
                </a:lnTo>
                <a:lnTo>
                  <a:pt x="1655763" y="727075"/>
                </a:lnTo>
                <a:lnTo>
                  <a:pt x="520700" y="727075"/>
                </a:lnTo>
                <a:lnTo>
                  <a:pt x="520700" y="960437"/>
                </a:lnTo>
                <a:lnTo>
                  <a:pt x="0" y="481012"/>
                </a:lnTo>
                <a:close/>
              </a:path>
            </a:pathLst>
          </a:custGeom>
          <a:gradFill flip="none" rotWithShape="1">
            <a:gsLst>
              <a:gs pos="73000">
                <a:schemeClr val="accent1"/>
              </a:gs>
              <a:gs pos="31000">
                <a:schemeClr val="accent1">
                  <a:lumMod val="60000"/>
                  <a:lumOff val="40000"/>
                </a:schemeClr>
              </a:gs>
              <a:gs pos="0">
                <a:schemeClr val="accent1">
                  <a:lumMod val="40000"/>
                  <a:lumOff val="60000"/>
                </a:schemeClr>
              </a:gs>
            </a:gsLst>
            <a:lin ang="10800000" scaled="1"/>
            <a:tileRect/>
          </a:gradFill>
          <a:ln>
            <a:noFill/>
          </a:ln>
        </p:spPr>
        <p:txBody>
          <a:bodyPr vert="horz" wrap="square" lIns="91440" tIns="45720" rIns="91440" bIns="45720" numCol="1" anchor="t"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cs typeface="+mn-cs"/>
            </a:endParaRPr>
          </a:p>
        </p:txBody>
      </p:sp>
      <p:sp>
        <p:nvSpPr>
          <p:cNvPr id="16" name="Freeform 55">
            <a:extLst>
              <a:ext uri="{FF2B5EF4-FFF2-40B4-BE49-F238E27FC236}">
                <a16:creationId xmlns:a16="http://schemas.microsoft.com/office/drawing/2014/main" id="{7EC0EFB3-E573-4854-8A4A-4AD225E32BFC}"/>
              </a:ext>
            </a:extLst>
          </p:cNvPr>
          <p:cNvSpPr>
            <a:spLocks/>
          </p:cNvSpPr>
          <p:nvPr/>
        </p:nvSpPr>
        <p:spPr bwMode="auto">
          <a:xfrm>
            <a:off x="4379914" y="2714625"/>
            <a:ext cx="520700" cy="960437"/>
          </a:xfrm>
          <a:custGeom>
            <a:avLst/>
            <a:gdLst>
              <a:gd name="T0" fmla="*/ 0 w 328"/>
              <a:gd name="T1" fmla="*/ 303 h 605"/>
              <a:gd name="T2" fmla="*/ 328 w 328"/>
              <a:gd name="T3" fmla="*/ 0 h 605"/>
              <a:gd name="T4" fmla="*/ 328 w 328"/>
              <a:gd name="T5" fmla="*/ 303 h 605"/>
              <a:gd name="T6" fmla="*/ 328 w 328"/>
              <a:gd name="T7" fmla="*/ 605 h 605"/>
              <a:gd name="T8" fmla="*/ 0 w 328"/>
              <a:gd name="T9" fmla="*/ 303 h 605"/>
            </a:gdLst>
            <a:ahLst/>
            <a:cxnLst>
              <a:cxn ang="0">
                <a:pos x="T0" y="T1"/>
              </a:cxn>
              <a:cxn ang="0">
                <a:pos x="T2" y="T3"/>
              </a:cxn>
              <a:cxn ang="0">
                <a:pos x="T4" y="T5"/>
              </a:cxn>
              <a:cxn ang="0">
                <a:pos x="T6" y="T7"/>
              </a:cxn>
              <a:cxn ang="0">
                <a:pos x="T8" y="T9"/>
              </a:cxn>
            </a:cxnLst>
            <a:rect l="0" t="0" r="r" b="b"/>
            <a:pathLst>
              <a:path w="328" h="605">
                <a:moveTo>
                  <a:pt x="0" y="303"/>
                </a:moveTo>
                <a:lnTo>
                  <a:pt x="328" y="0"/>
                </a:lnTo>
                <a:lnTo>
                  <a:pt x="328" y="303"/>
                </a:lnTo>
                <a:lnTo>
                  <a:pt x="328" y="605"/>
                </a:lnTo>
                <a:lnTo>
                  <a:pt x="0" y="30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sp>
        <p:nvSpPr>
          <p:cNvPr id="17" name="Freeform 57">
            <a:extLst>
              <a:ext uri="{FF2B5EF4-FFF2-40B4-BE49-F238E27FC236}">
                <a16:creationId xmlns:a16="http://schemas.microsoft.com/office/drawing/2014/main" id="{384E3B41-39AF-48B7-B6EA-2B5ECF863C40}"/>
              </a:ext>
            </a:extLst>
          </p:cNvPr>
          <p:cNvSpPr>
            <a:spLocks/>
          </p:cNvSpPr>
          <p:nvPr/>
        </p:nvSpPr>
        <p:spPr bwMode="auto">
          <a:xfrm>
            <a:off x="4900614" y="2954338"/>
            <a:ext cx="1135063" cy="487362"/>
          </a:xfrm>
          <a:custGeom>
            <a:avLst/>
            <a:gdLst>
              <a:gd name="T0" fmla="*/ 408 w 715"/>
              <a:gd name="T1" fmla="*/ 0 h 307"/>
              <a:gd name="T2" fmla="*/ 0 w 715"/>
              <a:gd name="T3" fmla="*/ 0 h 307"/>
              <a:gd name="T4" fmla="*/ 0 w 715"/>
              <a:gd name="T5" fmla="*/ 152 h 307"/>
              <a:gd name="T6" fmla="*/ 0 w 715"/>
              <a:gd name="T7" fmla="*/ 307 h 307"/>
              <a:gd name="T8" fmla="*/ 715 w 715"/>
              <a:gd name="T9" fmla="*/ 307 h 307"/>
              <a:gd name="T10" fmla="*/ 408 w 715"/>
              <a:gd name="T11" fmla="*/ 0 h 307"/>
            </a:gdLst>
            <a:ahLst/>
            <a:cxnLst>
              <a:cxn ang="0">
                <a:pos x="T0" y="T1"/>
              </a:cxn>
              <a:cxn ang="0">
                <a:pos x="T2" y="T3"/>
              </a:cxn>
              <a:cxn ang="0">
                <a:pos x="T4" y="T5"/>
              </a:cxn>
              <a:cxn ang="0">
                <a:pos x="T6" y="T7"/>
              </a:cxn>
              <a:cxn ang="0">
                <a:pos x="T8" y="T9"/>
              </a:cxn>
              <a:cxn ang="0">
                <a:pos x="T10" y="T11"/>
              </a:cxn>
            </a:cxnLst>
            <a:rect l="0" t="0" r="r" b="b"/>
            <a:pathLst>
              <a:path w="715" h="307">
                <a:moveTo>
                  <a:pt x="408" y="0"/>
                </a:moveTo>
                <a:lnTo>
                  <a:pt x="0" y="0"/>
                </a:lnTo>
                <a:lnTo>
                  <a:pt x="0" y="152"/>
                </a:lnTo>
                <a:lnTo>
                  <a:pt x="0" y="307"/>
                </a:lnTo>
                <a:lnTo>
                  <a:pt x="715" y="307"/>
                </a:lnTo>
                <a:lnTo>
                  <a:pt x="40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sp>
        <p:nvSpPr>
          <p:cNvPr id="18" name="Freeform 59">
            <a:extLst>
              <a:ext uri="{FF2B5EF4-FFF2-40B4-BE49-F238E27FC236}">
                <a16:creationId xmlns:a16="http://schemas.microsoft.com/office/drawing/2014/main" id="{DAD64E9C-0765-49CB-AA4F-75EBD3932FC9}"/>
              </a:ext>
            </a:extLst>
          </p:cNvPr>
          <p:cNvSpPr>
            <a:spLocks/>
          </p:cNvSpPr>
          <p:nvPr/>
        </p:nvSpPr>
        <p:spPr bwMode="auto">
          <a:xfrm>
            <a:off x="4379914" y="2714625"/>
            <a:ext cx="520700" cy="960437"/>
          </a:xfrm>
          <a:custGeom>
            <a:avLst/>
            <a:gdLst>
              <a:gd name="T0" fmla="*/ 328 w 328"/>
              <a:gd name="T1" fmla="*/ 0 h 605"/>
              <a:gd name="T2" fmla="*/ 0 w 328"/>
              <a:gd name="T3" fmla="*/ 303 h 605"/>
              <a:gd name="T4" fmla="*/ 328 w 328"/>
              <a:gd name="T5" fmla="*/ 605 h 605"/>
              <a:gd name="T6" fmla="*/ 328 w 328"/>
              <a:gd name="T7" fmla="*/ 458 h 605"/>
              <a:gd name="T8" fmla="*/ 328 w 328"/>
              <a:gd name="T9" fmla="*/ 303 h 605"/>
              <a:gd name="T10" fmla="*/ 328 w 328"/>
              <a:gd name="T11" fmla="*/ 151 h 605"/>
              <a:gd name="T12" fmla="*/ 328 w 328"/>
              <a:gd name="T13" fmla="*/ 0 h 605"/>
            </a:gdLst>
            <a:ahLst/>
            <a:cxnLst>
              <a:cxn ang="0">
                <a:pos x="T0" y="T1"/>
              </a:cxn>
              <a:cxn ang="0">
                <a:pos x="T2" y="T3"/>
              </a:cxn>
              <a:cxn ang="0">
                <a:pos x="T4" y="T5"/>
              </a:cxn>
              <a:cxn ang="0">
                <a:pos x="T6" y="T7"/>
              </a:cxn>
              <a:cxn ang="0">
                <a:pos x="T8" y="T9"/>
              </a:cxn>
              <a:cxn ang="0">
                <a:pos x="T10" y="T11"/>
              </a:cxn>
              <a:cxn ang="0">
                <a:pos x="T12" y="T13"/>
              </a:cxn>
            </a:cxnLst>
            <a:rect l="0" t="0" r="r" b="b"/>
            <a:pathLst>
              <a:path w="328" h="605">
                <a:moveTo>
                  <a:pt x="328" y="0"/>
                </a:moveTo>
                <a:lnTo>
                  <a:pt x="0" y="303"/>
                </a:lnTo>
                <a:lnTo>
                  <a:pt x="328" y="605"/>
                </a:lnTo>
                <a:lnTo>
                  <a:pt x="328" y="458"/>
                </a:lnTo>
                <a:lnTo>
                  <a:pt x="328" y="303"/>
                </a:lnTo>
                <a:lnTo>
                  <a:pt x="328" y="151"/>
                </a:lnTo>
                <a:lnTo>
                  <a:pt x="32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sp>
        <p:nvSpPr>
          <p:cNvPr id="19" name="Freeform 60">
            <a:extLst>
              <a:ext uri="{FF2B5EF4-FFF2-40B4-BE49-F238E27FC236}">
                <a16:creationId xmlns:a16="http://schemas.microsoft.com/office/drawing/2014/main" id="{EA17B781-48FB-4ADC-98A0-E473A4FAD9E4}"/>
              </a:ext>
            </a:extLst>
          </p:cNvPr>
          <p:cNvSpPr>
            <a:spLocks/>
          </p:cNvSpPr>
          <p:nvPr/>
        </p:nvSpPr>
        <p:spPr bwMode="auto">
          <a:xfrm>
            <a:off x="6737351" y="3489325"/>
            <a:ext cx="487363" cy="3368675"/>
          </a:xfrm>
          <a:custGeom>
            <a:avLst/>
            <a:gdLst>
              <a:gd name="T0" fmla="*/ 307 w 307"/>
              <a:gd name="T1" fmla="*/ 0 h 2122"/>
              <a:gd name="T2" fmla="*/ 307 w 307"/>
              <a:gd name="T3" fmla="*/ 2122 h 2122"/>
              <a:gd name="T4" fmla="*/ 0 w 307"/>
              <a:gd name="T5" fmla="*/ 2122 h 2122"/>
              <a:gd name="T6" fmla="*/ 0 w 307"/>
              <a:gd name="T7" fmla="*/ 306 h 2122"/>
              <a:gd name="T8" fmla="*/ 307 w 307"/>
              <a:gd name="T9" fmla="*/ 0 h 2122"/>
            </a:gdLst>
            <a:ahLst/>
            <a:cxnLst>
              <a:cxn ang="0">
                <a:pos x="T0" y="T1"/>
              </a:cxn>
              <a:cxn ang="0">
                <a:pos x="T2" y="T3"/>
              </a:cxn>
              <a:cxn ang="0">
                <a:pos x="T4" y="T5"/>
              </a:cxn>
              <a:cxn ang="0">
                <a:pos x="T6" y="T7"/>
              </a:cxn>
              <a:cxn ang="0">
                <a:pos x="T8" y="T9"/>
              </a:cxn>
            </a:cxnLst>
            <a:rect l="0" t="0" r="r" b="b"/>
            <a:pathLst>
              <a:path w="307" h="2122">
                <a:moveTo>
                  <a:pt x="307" y="0"/>
                </a:moveTo>
                <a:lnTo>
                  <a:pt x="307" y="2122"/>
                </a:lnTo>
                <a:lnTo>
                  <a:pt x="0" y="2122"/>
                </a:lnTo>
                <a:lnTo>
                  <a:pt x="0" y="306"/>
                </a:lnTo>
                <a:lnTo>
                  <a:pt x="307" y="0"/>
                </a:lnTo>
                <a:close/>
              </a:path>
            </a:pathLst>
          </a:custGeom>
          <a:gradFill flip="none" rotWithShape="1">
            <a:gsLst>
              <a:gs pos="68000">
                <a:schemeClr val="accent1"/>
              </a:gs>
              <a:gs pos="31000">
                <a:schemeClr val="accent1">
                  <a:lumMod val="60000"/>
                  <a:lumOff val="40000"/>
                </a:schemeClr>
              </a:gs>
              <a:gs pos="0">
                <a:schemeClr val="accent1">
                  <a:lumMod val="40000"/>
                  <a:lumOff val="60000"/>
                </a:schemeClr>
              </a:gs>
            </a:gsLst>
            <a:lin ang="1620000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cs typeface="+mn-cs"/>
            </a:endParaRPr>
          </a:p>
        </p:txBody>
      </p:sp>
      <p:sp>
        <p:nvSpPr>
          <p:cNvPr id="20" name="Freeform 61">
            <a:extLst>
              <a:ext uri="{FF2B5EF4-FFF2-40B4-BE49-F238E27FC236}">
                <a16:creationId xmlns:a16="http://schemas.microsoft.com/office/drawing/2014/main" id="{1DADC98F-3EDF-4C5C-8F3E-0F360B94B149}"/>
              </a:ext>
            </a:extLst>
          </p:cNvPr>
          <p:cNvSpPr>
            <a:spLocks/>
          </p:cNvSpPr>
          <p:nvPr/>
        </p:nvSpPr>
        <p:spPr bwMode="auto">
          <a:xfrm>
            <a:off x="6737351" y="3489325"/>
            <a:ext cx="487363" cy="3368675"/>
          </a:xfrm>
          <a:custGeom>
            <a:avLst/>
            <a:gdLst>
              <a:gd name="T0" fmla="*/ 307 w 307"/>
              <a:gd name="T1" fmla="*/ 0 h 2122"/>
              <a:gd name="T2" fmla="*/ 307 w 307"/>
              <a:gd name="T3" fmla="*/ 2122 h 2122"/>
              <a:gd name="T4" fmla="*/ 0 w 307"/>
              <a:gd name="T5" fmla="*/ 2122 h 2122"/>
              <a:gd name="T6" fmla="*/ 0 w 307"/>
              <a:gd name="T7" fmla="*/ 306 h 2122"/>
              <a:gd name="T8" fmla="*/ 307 w 307"/>
              <a:gd name="T9" fmla="*/ 0 h 2122"/>
            </a:gdLst>
            <a:ahLst/>
            <a:cxnLst>
              <a:cxn ang="0">
                <a:pos x="T0" y="T1"/>
              </a:cxn>
              <a:cxn ang="0">
                <a:pos x="T2" y="T3"/>
              </a:cxn>
              <a:cxn ang="0">
                <a:pos x="T4" y="T5"/>
              </a:cxn>
              <a:cxn ang="0">
                <a:pos x="T6" y="T7"/>
              </a:cxn>
              <a:cxn ang="0">
                <a:pos x="T8" y="T9"/>
              </a:cxn>
            </a:cxnLst>
            <a:rect l="0" t="0" r="r" b="b"/>
            <a:pathLst>
              <a:path w="307" h="2122">
                <a:moveTo>
                  <a:pt x="307" y="0"/>
                </a:moveTo>
                <a:lnTo>
                  <a:pt x="307" y="2122"/>
                </a:lnTo>
                <a:lnTo>
                  <a:pt x="0" y="2122"/>
                </a:lnTo>
                <a:lnTo>
                  <a:pt x="0" y="306"/>
                </a:lnTo>
                <a:lnTo>
                  <a:pt x="30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sp>
        <p:nvSpPr>
          <p:cNvPr id="21" name="Freeform 63">
            <a:extLst>
              <a:ext uri="{FF2B5EF4-FFF2-40B4-BE49-F238E27FC236}">
                <a16:creationId xmlns:a16="http://schemas.microsoft.com/office/drawing/2014/main" id="{A4D68A9C-2592-42D1-871F-AC2461D0674F}"/>
              </a:ext>
            </a:extLst>
          </p:cNvPr>
          <p:cNvSpPr>
            <a:spLocks/>
          </p:cNvSpPr>
          <p:nvPr/>
        </p:nvSpPr>
        <p:spPr bwMode="auto">
          <a:xfrm>
            <a:off x="6737351" y="3489325"/>
            <a:ext cx="1093788" cy="485775"/>
          </a:xfrm>
          <a:custGeom>
            <a:avLst/>
            <a:gdLst>
              <a:gd name="T0" fmla="*/ 689 w 689"/>
              <a:gd name="T1" fmla="*/ 306 h 306"/>
              <a:gd name="T2" fmla="*/ 0 w 689"/>
              <a:gd name="T3" fmla="*/ 306 h 306"/>
              <a:gd name="T4" fmla="*/ 307 w 689"/>
              <a:gd name="T5" fmla="*/ 0 h 306"/>
              <a:gd name="T6" fmla="*/ 689 w 689"/>
              <a:gd name="T7" fmla="*/ 0 h 306"/>
              <a:gd name="T8" fmla="*/ 689 w 689"/>
              <a:gd name="T9" fmla="*/ 306 h 306"/>
            </a:gdLst>
            <a:ahLst/>
            <a:cxnLst>
              <a:cxn ang="0">
                <a:pos x="T0" y="T1"/>
              </a:cxn>
              <a:cxn ang="0">
                <a:pos x="T2" y="T3"/>
              </a:cxn>
              <a:cxn ang="0">
                <a:pos x="T4" y="T5"/>
              </a:cxn>
              <a:cxn ang="0">
                <a:pos x="T6" y="T7"/>
              </a:cxn>
              <a:cxn ang="0">
                <a:pos x="T8" y="T9"/>
              </a:cxn>
            </a:cxnLst>
            <a:rect l="0" t="0" r="r" b="b"/>
            <a:pathLst>
              <a:path w="689" h="306">
                <a:moveTo>
                  <a:pt x="689" y="306"/>
                </a:moveTo>
                <a:lnTo>
                  <a:pt x="0" y="306"/>
                </a:lnTo>
                <a:lnTo>
                  <a:pt x="307" y="0"/>
                </a:lnTo>
                <a:lnTo>
                  <a:pt x="689" y="0"/>
                </a:lnTo>
                <a:lnTo>
                  <a:pt x="689" y="30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sp>
        <p:nvSpPr>
          <p:cNvPr id="70" name="任意多边形: 形状 69">
            <a:extLst>
              <a:ext uri="{FF2B5EF4-FFF2-40B4-BE49-F238E27FC236}">
                <a16:creationId xmlns:a16="http://schemas.microsoft.com/office/drawing/2014/main" id="{16E29C24-50F1-4EA0-AD9D-2302872D398F}"/>
              </a:ext>
            </a:extLst>
          </p:cNvPr>
          <p:cNvSpPr>
            <a:spLocks/>
          </p:cNvSpPr>
          <p:nvPr/>
        </p:nvSpPr>
        <p:spPr bwMode="auto">
          <a:xfrm>
            <a:off x="6737351" y="3255963"/>
            <a:ext cx="1562100" cy="960437"/>
          </a:xfrm>
          <a:custGeom>
            <a:avLst/>
            <a:gdLst>
              <a:gd name="connsiteX0" fmla="*/ 1041400 w 1562100"/>
              <a:gd name="connsiteY0" fmla="*/ 0 h 960437"/>
              <a:gd name="connsiteX1" fmla="*/ 1562100 w 1562100"/>
              <a:gd name="connsiteY1" fmla="*/ 479425 h 960437"/>
              <a:gd name="connsiteX2" fmla="*/ 1041400 w 1562100"/>
              <a:gd name="connsiteY2" fmla="*/ 960437 h 960437"/>
              <a:gd name="connsiteX3" fmla="*/ 1041400 w 1562100"/>
              <a:gd name="connsiteY3" fmla="*/ 719137 h 960437"/>
              <a:gd name="connsiteX4" fmla="*/ 0 w 1562100"/>
              <a:gd name="connsiteY4" fmla="*/ 719137 h 960437"/>
              <a:gd name="connsiteX5" fmla="*/ 487363 w 1562100"/>
              <a:gd name="connsiteY5" fmla="*/ 233362 h 960437"/>
              <a:gd name="connsiteX6" fmla="*/ 1041400 w 1562100"/>
              <a:gd name="connsiteY6" fmla="*/ 233362 h 960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62100" h="960437">
                <a:moveTo>
                  <a:pt x="1041400" y="0"/>
                </a:moveTo>
                <a:lnTo>
                  <a:pt x="1562100" y="479425"/>
                </a:lnTo>
                <a:lnTo>
                  <a:pt x="1041400" y="960437"/>
                </a:lnTo>
                <a:lnTo>
                  <a:pt x="1041400" y="719137"/>
                </a:lnTo>
                <a:lnTo>
                  <a:pt x="0" y="719137"/>
                </a:lnTo>
                <a:lnTo>
                  <a:pt x="487363" y="233362"/>
                </a:lnTo>
                <a:lnTo>
                  <a:pt x="1041400" y="233362"/>
                </a:lnTo>
                <a:close/>
              </a:path>
            </a:pathLst>
          </a:custGeom>
          <a:gradFill flip="none" rotWithShape="1">
            <a:gsLst>
              <a:gs pos="73000">
                <a:schemeClr val="accent1"/>
              </a:gs>
              <a:gs pos="31000">
                <a:schemeClr val="accent1">
                  <a:lumMod val="60000"/>
                  <a:lumOff val="40000"/>
                </a:schemeClr>
              </a:gs>
              <a:gs pos="0">
                <a:schemeClr val="accent1">
                  <a:lumMod val="40000"/>
                  <a:lumOff val="60000"/>
                </a:schemeClr>
              </a:gs>
            </a:gsLst>
            <a:lin ang="0" scaled="0"/>
            <a:tileRect/>
          </a:gradFill>
          <a:ln>
            <a:noFill/>
          </a:ln>
        </p:spPr>
        <p:txBody>
          <a:bodyPr vert="horz" wrap="square" lIns="91440" tIns="45720" rIns="91440" bIns="45720" numCol="1" anchor="t"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cs typeface="+mn-cs"/>
            </a:endParaRPr>
          </a:p>
        </p:txBody>
      </p:sp>
      <p:sp>
        <p:nvSpPr>
          <p:cNvPr id="25" name="Freeform 65">
            <a:extLst>
              <a:ext uri="{FF2B5EF4-FFF2-40B4-BE49-F238E27FC236}">
                <a16:creationId xmlns:a16="http://schemas.microsoft.com/office/drawing/2014/main" id="{BD4B1D0E-A9BE-44A0-A2B0-6C7D7142167B}"/>
              </a:ext>
            </a:extLst>
          </p:cNvPr>
          <p:cNvSpPr>
            <a:spLocks/>
          </p:cNvSpPr>
          <p:nvPr/>
        </p:nvSpPr>
        <p:spPr bwMode="auto">
          <a:xfrm>
            <a:off x="7778751" y="3255963"/>
            <a:ext cx="520700" cy="960437"/>
          </a:xfrm>
          <a:custGeom>
            <a:avLst/>
            <a:gdLst>
              <a:gd name="T0" fmla="*/ 328 w 328"/>
              <a:gd name="T1" fmla="*/ 302 h 605"/>
              <a:gd name="T2" fmla="*/ 0 w 328"/>
              <a:gd name="T3" fmla="*/ 0 h 605"/>
              <a:gd name="T4" fmla="*/ 0 w 328"/>
              <a:gd name="T5" fmla="*/ 302 h 605"/>
              <a:gd name="T6" fmla="*/ 0 w 328"/>
              <a:gd name="T7" fmla="*/ 605 h 605"/>
              <a:gd name="T8" fmla="*/ 328 w 328"/>
              <a:gd name="T9" fmla="*/ 302 h 605"/>
            </a:gdLst>
            <a:ahLst/>
            <a:cxnLst>
              <a:cxn ang="0">
                <a:pos x="T0" y="T1"/>
              </a:cxn>
              <a:cxn ang="0">
                <a:pos x="T2" y="T3"/>
              </a:cxn>
              <a:cxn ang="0">
                <a:pos x="T4" y="T5"/>
              </a:cxn>
              <a:cxn ang="0">
                <a:pos x="T6" y="T7"/>
              </a:cxn>
              <a:cxn ang="0">
                <a:pos x="T8" y="T9"/>
              </a:cxn>
            </a:cxnLst>
            <a:rect l="0" t="0" r="r" b="b"/>
            <a:pathLst>
              <a:path w="328" h="605">
                <a:moveTo>
                  <a:pt x="328" y="302"/>
                </a:moveTo>
                <a:lnTo>
                  <a:pt x="0" y="0"/>
                </a:lnTo>
                <a:lnTo>
                  <a:pt x="0" y="302"/>
                </a:lnTo>
                <a:lnTo>
                  <a:pt x="0" y="605"/>
                </a:lnTo>
                <a:lnTo>
                  <a:pt x="328" y="30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sp>
        <p:nvSpPr>
          <p:cNvPr id="26" name="Freeform 67">
            <a:extLst>
              <a:ext uri="{FF2B5EF4-FFF2-40B4-BE49-F238E27FC236}">
                <a16:creationId xmlns:a16="http://schemas.microsoft.com/office/drawing/2014/main" id="{54EB08CD-31DB-4639-ADD8-D5A565893ADB}"/>
              </a:ext>
            </a:extLst>
          </p:cNvPr>
          <p:cNvSpPr>
            <a:spLocks/>
          </p:cNvSpPr>
          <p:nvPr/>
        </p:nvSpPr>
        <p:spPr bwMode="auto">
          <a:xfrm>
            <a:off x="6737351" y="3489325"/>
            <a:ext cx="1041400" cy="485775"/>
          </a:xfrm>
          <a:custGeom>
            <a:avLst/>
            <a:gdLst>
              <a:gd name="T0" fmla="*/ 656 w 656"/>
              <a:gd name="T1" fmla="*/ 0 h 306"/>
              <a:gd name="T2" fmla="*/ 307 w 656"/>
              <a:gd name="T3" fmla="*/ 0 h 306"/>
              <a:gd name="T4" fmla="*/ 0 w 656"/>
              <a:gd name="T5" fmla="*/ 306 h 306"/>
              <a:gd name="T6" fmla="*/ 656 w 656"/>
              <a:gd name="T7" fmla="*/ 306 h 306"/>
              <a:gd name="T8" fmla="*/ 656 w 656"/>
              <a:gd name="T9" fmla="*/ 155 h 306"/>
              <a:gd name="T10" fmla="*/ 656 w 656"/>
              <a:gd name="T11" fmla="*/ 0 h 306"/>
            </a:gdLst>
            <a:ahLst/>
            <a:cxnLst>
              <a:cxn ang="0">
                <a:pos x="T0" y="T1"/>
              </a:cxn>
              <a:cxn ang="0">
                <a:pos x="T2" y="T3"/>
              </a:cxn>
              <a:cxn ang="0">
                <a:pos x="T4" y="T5"/>
              </a:cxn>
              <a:cxn ang="0">
                <a:pos x="T6" y="T7"/>
              </a:cxn>
              <a:cxn ang="0">
                <a:pos x="T8" y="T9"/>
              </a:cxn>
              <a:cxn ang="0">
                <a:pos x="T10" y="T11"/>
              </a:cxn>
            </a:cxnLst>
            <a:rect l="0" t="0" r="r" b="b"/>
            <a:pathLst>
              <a:path w="656" h="306">
                <a:moveTo>
                  <a:pt x="656" y="0"/>
                </a:moveTo>
                <a:lnTo>
                  <a:pt x="307" y="0"/>
                </a:lnTo>
                <a:lnTo>
                  <a:pt x="0" y="306"/>
                </a:lnTo>
                <a:lnTo>
                  <a:pt x="656" y="306"/>
                </a:lnTo>
                <a:lnTo>
                  <a:pt x="656" y="155"/>
                </a:lnTo>
                <a:lnTo>
                  <a:pt x="65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sp>
        <p:nvSpPr>
          <p:cNvPr id="27" name="Freeform 69">
            <a:extLst>
              <a:ext uri="{FF2B5EF4-FFF2-40B4-BE49-F238E27FC236}">
                <a16:creationId xmlns:a16="http://schemas.microsoft.com/office/drawing/2014/main" id="{301C8F5A-D7C9-4A86-A301-4890D3A24E69}"/>
              </a:ext>
            </a:extLst>
          </p:cNvPr>
          <p:cNvSpPr>
            <a:spLocks/>
          </p:cNvSpPr>
          <p:nvPr/>
        </p:nvSpPr>
        <p:spPr bwMode="auto">
          <a:xfrm>
            <a:off x="7778751" y="3255963"/>
            <a:ext cx="520700" cy="960437"/>
          </a:xfrm>
          <a:custGeom>
            <a:avLst/>
            <a:gdLst>
              <a:gd name="T0" fmla="*/ 0 w 328"/>
              <a:gd name="T1" fmla="*/ 0 h 605"/>
              <a:gd name="T2" fmla="*/ 0 w 328"/>
              <a:gd name="T3" fmla="*/ 147 h 605"/>
              <a:gd name="T4" fmla="*/ 0 w 328"/>
              <a:gd name="T5" fmla="*/ 302 h 605"/>
              <a:gd name="T6" fmla="*/ 0 w 328"/>
              <a:gd name="T7" fmla="*/ 453 h 605"/>
              <a:gd name="T8" fmla="*/ 0 w 328"/>
              <a:gd name="T9" fmla="*/ 605 h 605"/>
              <a:gd name="T10" fmla="*/ 328 w 328"/>
              <a:gd name="T11" fmla="*/ 302 h 605"/>
              <a:gd name="T12" fmla="*/ 0 w 328"/>
              <a:gd name="T13" fmla="*/ 0 h 605"/>
            </a:gdLst>
            <a:ahLst/>
            <a:cxnLst>
              <a:cxn ang="0">
                <a:pos x="T0" y="T1"/>
              </a:cxn>
              <a:cxn ang="0">
                <a:pos x="T2" y="T3"/>
              </a:cxn>
              <a:cxn ang="0">
                <a:pos x="T4" y="T5"/>
              </a:cxn>
              <a:cxn ang="0">
                <a:pos x="T6" y="T7"/>
              </a:cxn>
              <a:cxn ang="0">
                <a:pos x="T8" y="T9"/>
              </a:cxn>
              <a:cxn ang="0">
                <a:pos x="T10" y="T11"/>
              </a:cxn>
              <a:cxn ang="0">
                <a:pos x="T12" y="T13"/>
              </a:cxn>
            </a:cxnLst>
            <a:rect l="0" t="0" r="r" b="b"/>
            <a:pathLst>
              <a:path w="328" h="605">
                <a:moveTo>
                  <a:pt x="0" y="0"/>
                </a:moveTo>
                <a:lnTo>
                  <a:pt x="0" y="147"/>
                </a:lnTo>
                <a:lnTo>
                  <a:pt x="0" y="302"/>
                </a:lnTo>
                <a:lnTo>
                  <a:pt x="0" y="453"/>
                </a:lnTo>
                <a:lnTo>
                  <a:pt x="0" y="605"/>
                </a:lnTo>
                <a:lnTo>
                  <a:pt x="328" y="30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sp>
        <p:nvSpPr>
          <p:cNvPr id="28" name="Freeform 70">
            <a:extLst>
              <a:ext uri="{FF2B5EF4-FFF2-40B4-BE49-F238E27FC236}">
                <a16:creationId xmlns:a16="http://schemas.microsoft.com/office/drawing/2014/main" id="{FBDA0BED-6B8B-4BCC-8552-121D0BD2386E}"/>
              </a:ext>
            </a:extLst>
          </p:cNvPr>
          <p:cNvSpPr>
            <a:spLocks/>
          </p:cNvSpPr>
          <p:nvPr/>
        </p:nvSpPr>
        <p:spPr bwMode="auto">
          <a:xfrm>
            <a:off x="4954589" y="4449763"/>
            <a:ext cx="487363" cy="2408237"/>
          </a:xfrm>
          <a:custGeom>
            <a:avLst/>
            <a:gdLst>
              <a:gd name="T0" fmla="*/ 0 w 307"/>
              <a:gd name="T1" fmla="*/ 0 h 1517"/>
              <a:gd name="T2" fmla="*/ 0 w 307"/>
              <a:gd name="T3" fmla="*/ 1517 h 1517"/>
              <a:gd name="T4" fmla="*/ 307 w 307"/>
              <a:gd name="T5" fmla="*/ 1517 h 1517"/>
              <a:gd name="T6" fmla="*/ 307 w 307"/>
              <a:gd name="T7" fmla="*/ 307 h 1517"/>
              <a:gd name="T8" fmla="*/ 0 w 307"/>
              <a:gd name="T9" fmla="*/ 0 h 1517"/>
            </a:gdLst>
            <a:ahLst/>
            <a:cxnLst>
              <a:cxn ang="0">
                <a:pos x="T0" y="T1"/>
              </a:cxn>
              <a:cxn ang="0">
                <a:pos x="T2" y="T3"/>
              </a:cxn>
              <a:cxn ang="0">
                <a:pos x="T4" y="T5"/>
              </a:cxn>
              <a:cxn ang="0">
                <a:pos x="T6" y="T7"/>
              </a:cxn>
              <a:cxn ang="0">
                <a:pos x="T8" y="T9"/>
              </a:cxn>
            </a:cxnLst>
            <a:rect l="0" t="0" r="r" b="b"/>
            <a:pathLst>
              <a:path w="307" h="1517">
                <a:moveTo>
                  <a:pt x="0" y="0"/>
                </a:moveTo>
                <a:lnTo>
                  <a:pt x="0" y="1517"/>
                </a:lnTo>
                <a:lnTo>
                  <a:pt x="307" y="1517"/>
                </a:lnTo>
                <a:lnTo>
                  <a:pt x="307" y="307"/>
                </a:lnTo>
                <a:lnTo>
                  <a:pt x="0" y="0"/>
                </a:lnTo>
                <a:close/>
              </a:path>
            </a:pathLst>
          </a:custGeom>
          <a:gradFill flip="none" rotWithShape="1">
            <a:gsLst>
              <a:gs pos="68000">
                <a:schemeClr val="accent1"/>
              </a:gs>
              <a:gs pos="31000">
                <a:schemeClr val="accent1">
                  <a:lumMod val="60000"/>
                  <a:lumOff val="40000"/>
                </a:schemeClr>
              </a:gs>
              <a:gs pos="0">
                <a:schemeClr val="accent1">
                  <a:lumMod val="40000"/>
                  <a:lumOff val="60000"/>
                </a:schemeClr>
              </a:gs>
            </a:gsLst>
            <a:lin ang="1620000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cs typeface="+mn-cs"/>
            </a:endParaRPr>
          </a:p>
        </p:txBody>
      </p:sp>
      <p:sp>
        <p:nvSpPr>
          <p:cNvPr id="29" name="Freeform 71">
            <a:extLst>
              <a:ext uri="{FF2B5EF4-FFF2-40B4-BE49-F238E27FC236}">
                <a16:creationId xmlns:a16="http://schemas.microsoft.com/office/drawing/2014/main" id="{0EC69127-6757-41EA-81D8-3653007FE694}"/>
              </a:ext>
            </a:extLst>
          </p:cNvPr>
          <p:cNvSpPr>
            <a:spLocks/>
          </p:cNvSpPr>
          <p:nvPr/>
        </p:nvSpPr>
        <p:spPr bwMode="auto">
          <a:xfrm>
            <a:off x="4954589" y="4449763"/>
            <a:ext cx="487363" cy="2408237"/>
          </a:xfrm>
          <a:custGeom>
            <a:avLst/>
            <a:gdLst>
              <a:gd name="T0" fmla="*/ 0 w 307"/>
              <a:gd name="T1" fmla="*/ 0 h 1517"/>
              <a:gd name="T2" fmla="*/ 0 w 307"/>
              <a:gd name="T3" fmla="*/ 1517 h 1517"/>
              <a:gd name="T4" fmla="*/ 307 w 307"/>
              <a:gd name="T5" fmla="*/ 1517 h 1517"/>
              <a:gd name="T6" fmla="*/ 307 w 307"/>
              <a:gd name="T7" fmla="*/ 307 h 1517"/>
              <a:gd name="T8" fmla="*/ 0 w 307"/>
              <a:gd name="T9" fmla="*/ 0 h 1517"/>
            </a:gdLst>
            <a:ahLst/>
            <a:cxnLst>
              <a:cxn ang="0">
                <a:pos x="T0" y="T1"/>
              </a:cxn>
              <a:cxn ang="0">
                <a:pos x="T2" y="T3"/>
              </a:cxn>
              <a:cxn ang="0">
                <a:pos x="T4" y="T5"/>
              </a:cxn>
              <a:cxn ang="0">
                <a:pos x="T6" y="T7"/>
              </a:cxn>
              <a:cxn ang="0">
                <a:pos x="T8" y="T9"/>
              </a:cxn>
            </a:cxnLst>
            <a:rect l="0" t="0" r="r" b="b"/>
            <a:pathLst>
              <a:path w="307" h="1517">
                <a:moveTo>
                  <a:pt x="0" y="0"/>
                </a:moveTo>
                <a:lnTo>
                  <a:pt x="0" y="1517"/>
                </a:lnTo>
                <a:lnTo>
                  <a:pt x="307" y="1517"/>
                </a:lnTo>
                <a:lnTo>
                  <a:pt x="307" y="307"/>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sp>
        <p:nvSpPr>
          <p:cNvPr id="30" name="Freeform 73">
            <a:extLst>
              <a:ext uri="{FF2B5EF4-FFF2-40B4-BE49-F238E27FC236}">
                <a16:creationId xmlns:a16="http://schemas.microsoft.com/office/drawing/2014/main" id="{B73DFDAC-E21E-4A41-9879-3E701CA2A8AE}"/>
              </a:ext>
            </a:extLst>
          </p:cNvPr>
          <p:cNvSpPr>
            <a:spLocks/>
          </p:cNvSpPr>
          <p:nvPr/>
        </p:nvSpPr>
        <p:spPr bwMode="auto">
          <a:xfrm>
            <a:off x="4492626" y="4449763"/>
            <a:ext cx="949325" cy="487362"/>
          </a:xfrm>
          <a:custGeom>
            <a:avLst/>
            <a:gdLst>
              <a:gd name="T0" fmla="*/ 0 w 598"/>
              <a:gd name="T1" fmla="*/ 307 h 307"/>
              <a:gd name="T2" fmla="*/ 598 w 598"/>
              <a:gd name="T3" fmla="*/ 307 h 307"/>
              <a:gd name="T4" fmla="*/ 291 w 598"/>
              <a:gd name="T5" fmla="*/ 0 h 307"/>
              <a:gd name="T6" fmla="*/ 0 w 598"/>
              <a:gd name="T7" fmla="*/ 0 h 307"/>
              <a:gd name="T8" fmla="*/ 0 w 598"/>
              <a:gd name="T9" fmla="*/ 307 h 307"/>
            </a:gdLst>
            <a:ahLst/>
            <a:cxnLst>
              <a:cxn ang="0">
                <a:pos x="T0" y="T1"/>
              </a:cxn>
              <a:cxn ang="0">
                <a:pos x="T2" y="T3"/>
              </a:cxn>
              <a:cxn ang="0">
                <a:pos x="T4" y="T5"/>
              </a:cxn>
              <a:cxn ang="0">
                <a:pos x="T6" y="T7"/>
              </a:cxn>
              <a:cxn ang="0">
                <a:pos x="T8" y="T9"/>
              </a:cxn>
            </a:cxnLst>
            <a:rect l="0" t="0" r="r" b="b"/>
            <a:pathLst>
              <a:path w="598" h="307">
                <a:moveTo>
                  <a:pt x="0" y="307"/>
                </a:moveTo>
                <a:lnTo>
                  <a:pt x="598" y="307"/>
                </a:lnTo>
                <a:lnTo>
                  <a:pt x="291" y="0"/>
                </a:lnTo>
                <a:lnTo>
                  <a:pt x="0" y="0"/>
                </a:lnTo>
                <a:lnTo>
                  <a:pt x="0" y="30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sp>
        <p:nvSpPr>
          <p:cNvPr id="67" name="任意多边形: 形状 66">
            <a:extLst>
              <a:ext uri="{FF2B5EF4-FFF2-40B4-BE49-F238E27FC236}">
                <a16:creationId xmlns:a16="http://schemas.microsoft.com/office/drawing/2014/main" id="{104933A8-2390-4C72-8C01-E037BD4E6522}"/>
              </a:ext>
            </a:extLst>
          </p:cNvPr>
          <p:cNvSpPr>
            <a:spLocks/>
          </p:cNvSpPr>
          <p:nvPr/>
        </p:nvSpPr>
        <p:spPr bwMode="auto">
          <a:xfrm>
            <a:off x="4025900" y="4216400"/>
            <a:ext cx="1416050" cy="960437"/>
          </a:xfrm>
          <a:custGeom>
            <a:avLst/>
            <a:gdLst>
              <a:gd name="connsiteX0" fmla="*/ 527050 w 1416050"/>
              <a:gd name="connsiteY0" fmla="*/ 0 h 960437"/>
              <a:gd name="connsiteX1" fmla="*/ 527050 w 1416050"/>
              <a:gd name="connsiteY1" fmla="*/ 233363 h 960437"/>
              <a:gd name="connsiteX2" fmla="*/ 928688 w 1416050"/>
              <a:gd name="connsiteY2" fmla="*/ 233363 h 960437"/>
              <a:gd name="connsiteX3" fmla="*/ 1416050 w 1416050"/>
              <a:gd name="connsiteY3" fmla="*/ 720725 h 960437"/>
              <a:gd name="connsiteX4" fmla="*/ 527050 w 1416050"/>
              <a:gd name="connsiteY4" fmla="*/ 720725 h 960437"/>
              <a:gd name="connsiteX5" fmla="*/ 527050 w 1416050"/>
              <a:gd name="connsiteY5" fmla="*/ 960437 h 960437"/>
              <a:gd name="connsiteX6" fmla="*/ 0 w 1416050"/>
              <a:gd name="connsiteY6" fmla="*/ 479425 h 960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16050" h="960437">
                <a:moveTo>
                  <a:pt x="527050" y="0"/>
                </a:moveTo>
                <a:lnTo>
                  <a:pt x="527050" y="233363"/>
                </a:lnTo>
                <a:lnTo>
                  <a:pt x="928688" y="233363"/>
                </a:lnTo>
                <a:lnTo>
                  <a:pt x="1416050" y="720725"/>
                </a:lnTo>
                <a:lnTo>
                  <a:pt x="527050" y="720725"/>
                </a:lnTo>
                <a:lnTo>
                  <a:pt x="527050" y="960437"/>
                </a:lnTo>
                <a:lnTo>
                  <a:pt x="0" y="479425"/>
                </a:lnTo>
                <a:close/>
              </a:path>
            </a:pathLst>
          </a:custGeom>
          <a:gradFill flip="none" rotWithShape="1">
            <a:gsLst>
              <a:gs pos="73000">
                <a:schemeClr val="accent1"/>
              </a:gs>
              <a:gs pos="31000">
                <a:schemeClr val="accent1">
                  <a:lumMod val="60000"/>
                  <a:lumOff val="40000"/>
                </a:schemeClr>
              </a:gs>
              <a:gs pos="0">
                <a:schemeClr val="accent1">
                  <a:lumMod val="40000"/>
                  <a:lumOff val="60000"/>
                </a:schemeClr>
              </a:gs>
            </a:gsLst>
            <a:lin ang="10800000" scaled="1"/>
            <a:tileRect/>
          </a:gradFill>
          <a:ln>
            <a:noFill/>
          </a:ln>
        </p:spPr>
        <p:txBody>
          <a:bodyPr vert="horz" wrap="square" lIns="91440" tIns="45720" rIns="91440" bIns="45720" numCol="1" anchor="t"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cs typeface="+mn-cs"/>
            </a:endParaRPr>
          </a:p>
        </p:txBody>
      </p:sp>
      <p:sp>
        <p:nvSpPr>
          <p:cNvPr id="34" name="Freeform 75">
            <a:extLst>
              <a:ext uri="{FF2B5EF4-FFF2-40B4-BE49-F238E27FC236}">
                <a16:creationId xmlns:a16="http://schemas.microsoft.com/office/drawing/2014/main" id="{BA2DF658-8F32-4F24-B7AF-8BBE5C58E991}"/>
              </a:ext>
            </a:extLst>
          </p:cNvPr>
          <p:cNvSpPr>
            <a:spLocks/>
          </p:cNvSpPr>
          <p:nvPr/>
        </p:nvSpPr>
        <p:spPr bwMode="auto">
          <a:xfrm>
            <a:off x="4025901" y="4216400"/>
            <a:ext cx="527050" cy="960437"/>
          </a:xfrm>
          <a:custGeom>
            <a:avLst/>
            <a:gdLst>
              <a:gd name="T0" fmla="*/ 0 w 332"/>
              <a:gd name="T1" fmla="*/ 302 h 605"/>
              <a:gd name="T2" fmla="*/ 332 w 332"/>
              <a:gd name="T3" fmla="*/ 0 h 605"/>
              <a:gd name="T4" fmla="*/ 332 w 332"/>
              <a:gd name="T5" fmla="*/ 302 h 605"/>
              <a:gd name="T6" fmla="*/ 332 w 332"/>
              <a:gd name="T7" fmla="*/ 605 h 605"/>
              <a:gd name="T8" fmla="*/ 0 w 332"/>
              <a:gd name="T9" fmla="*/ 302 h 605"/>
            </a:gdLst>
            <a:ahLst/>
            <a:cxnLst>
              <a:cxn ang="0">
                <a:pos x="T0" y="T1"/>
              </a:cxn>
              <a:cxn ang="0">
                <a:pos x="T2" y="T3"/>
              </a:cxn>
              <a:cxn ang="0">
                <a:pos x="T4" y="T5"/>
              </a:cxn>
              <a:cxn ang="0">
                <a:pos x="T6" y="T7"/>
              </a:cxn>
              <a:cxn ang="0">
                <a:pos x="T8" y="T9"/>
              </a:cxn>
            </a:cxnLst>
            <a:rect l="0" t="0" r="r" b="b"/>
            <a:pathLst>
              <a:path w="332" h="605">
                <a:moveTo>
                  <a:pt x="0" y="302"/>
                </a:moveTo>
                <a:lnTo>
                  <a:pt x="332" y="0"/>
                </a:lnTo>
                <a:lnTo>
                  <a:pt x="332" y="302"/>
                </a:lnTo>
                <a:lnTo>
                  <a:pt x="332" y="605"/>
                </a:lnTo>
                <a:lnTo>
                  <a:pt x="0" y="30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grpSp>
        <p:nvGrpSpPr>
          <p:cNvPr id="86" name="组合 85">
            <a:extLst>
              <a:ext uri="{FF2B5EF4-FFF2-40B4-BE49-F238E27FC236}">
                <a16:creationId xmlns:a16="http://schemas.microsoft.com/office/drawing/2014/main" id="{D67A778C-1693-47F7-9209-F13DB0E7BDD9}"/>
              </a:ext>
            </a:extLst>
          </p:cNvPr>
          <p:cNvGrpSpPr/>
          <p:nvPr/>
        </p:nvGrpSpPr>
        <p:grpSpPr>
          <a:xfrm>
            <a:off x="8359775" y="1779165"/>
            <a:ext cx="2859171" cy="881603"/>
            <a:chOff x="2777088" y="3678059"/>
            <a:chExt cx="2859171" cy="881603"/>
          </a:xfrm>
        </p:grpSpPr>
        <p:sp>
          <p:nvSpPr>
            <p:cNvPr id="90" name="TextBox 65">
              <a:extLst>
                <a:ext uri="{FF2B5EF4-FFF2-40B4-BE49-F238E27FC236}">
                  <a16:creationId xmlns:a16="http://schemas.microsoft.com/office/drawing/2014/main" id="{ABC326F0-08AE-4CB9-90EA-076FEC104A5C}"/>
                </a:ext>
              </a:extLst>
            </p:cNvPr>
            <p:cNvSpPr txBox="1"/>
            <p:nvPr/>
          </p:nvSpPr>
          <p:spPr>
            <a:xfrm flipH="1">
              <a:off x="2777089" y="3678059"/>
              <a:ext cx="2056261" cy="387598"/>
            </a:xfrm>
            <a:prstGeom prst="rect">
              <a:avLst/>
            </a:prstGeom>
            <a:noFill/>
          </p:spPr>
          <p:txBody>
            <a:bodyPr wrap="square" lIns="0" tIns="36000" rIns="0" bIns="36000" rtlCol="0">
              <a:spAutoFit/>
            </a:bodyPr>
            <a:lstStyle/>
            <a:p>
              <a:pPr marL="0" marR="0" lvl="0" indent="0" algn="l" defTabSz="914400" rtl="0" eaLnBrk="1" fontAlgn="auto" latinLnBrk="0" hangingPunct="1">
                <a:lnSpc>
                  <a:spcPct val="120000"/>
                </a:lnSpc>
                <a:spcBef>
                  <a:spcPts val="600"/>
                </a:spcBef>
                <a:spcAft>
                  <a:spcPts val="0"/>
                </a:spcAft>
                <a:buClrTx/>
                <a:buSzTx/>
                <a:buFontTx/>
                <a:buNone/>
                <a:tabLst/>
                <a:defRPr/>
              </a:pPr>
              <a:r>
                <a:rPr kumimoji="0" lang="zh-CN" altLang="en-US" sz="1800" b="0" i="0" u="none" strike="noStrike" kern="1200" cap="none" spc="0" normalizeH="0" baseline="0" noProof="0" dirty="0">
                  <a:ln>
                    <a:noFill/>
                  </a:ln>
                  <a:solidFill>
                    <a:schemeClr val="accent1"/>
                  </a:solidFill>
                  <a:effectLst/>
                  <a:uLnTx/>
                  <a:uFillTx/>
                  <a:latin typeface="HarmonyOS Sans SC Black"/>
                  <a:ea typeface="+mj-ea"/>
                  <a:cs typeface="+mn-cs"/>
                </a:rPr>
                <a:t>关键词标题</a:t>
              </a:r>
              <a:endParaRPr kumimoji="0" lang="en-US" sz="1800" b="0" i="0" u="none" strike="noStrike" kern="1200" cap="none" spc="0" normalizeH="0" baseline="0" noProof="0" dirty="0">
                <a:ln>
                  <a:noFill/>
                </a:ln>
                <a:solidFill>
                  <a:schemeClr val="accent1"/>
                </a:solidFill>
                <a:effectLst/>
                <a:uLnTx/>
                <a:uFillTx/>
                <a:latin typeface="HarmonyOS Sans SC Black"/>
                <a:ea typeface="+mj-ea"/>
                <a:cs typeface="+mn-cs"/>
              </a:endParaRPr>
            </a:p>
          </p:txBody>
        </p:sp>
        <p:sp>
          <p:nvSpPr>
            <p:cNvPr id="91" name="TextBox 65">
              <a:extLst>
                <a:ext uri="{FF2B5EF4-FFF2-40B4-BE49-F238E27FC236}">
                  <a16:creationId xmlns:a16="http://schemas.microsoft.com/office/drawing/2014/main" id="{ECD4D21B-1071-4971-BBE4-55C85378BAAF}"/>
                </a:ext>
              </a:extLst>
            </p:cNvPr>
            <p:cNvSpPr txBox="1"/>
            <p:nvPr/>
          </p:nvSpPr>
          <p:spPr>
            <a:xfrm flipH="1">
              <a:off x="2777088" y="4061458"/>
              <a:ext cx="2859171" cy="498204"/>
            </a:xfrm>
            <a:prstGeom prst="rect">
              <a:avLst/>
            </a:prstGeom>
            <a:noFill/>
          </p:spPr>
          <p:txBody>
            <a:bodyPr wrap="square" lIns="0" tIns="36000" rIns="0" bIns="36000" rtlCol="0">
              <a:spAutoFit/>
            </a:bodyPr>
            <a:lstStyle/>
            <a:p>
              <a:pPr marL="0" marR="0" lvl="0" indent="0" algn="l" defTabSz="914400" rtl="0" eaLnBrk="1" fontAlgn="auto" latinLnBrk="0" hangingPunct="1">
                <a:lnSpc>
                  <a:spcPct val="120000"/>
                </a:lnSpc>
                <a:spcBef>
                  <a:spcPts val="600"/>
                </a:spcBef>
                <a:spcAft>
                  <a:spcPts val="0"/>
                </a:spcAft>
                <a:buClrTx/>
                <a:buSzTx/>
                <a:buFontTx/>
                <a:buNone/>
                <a:tabLst/>
                <a:defRPr/>
              </a:pPr>
              <a:r>
                <a:rPr kumimoji="0" lang="en-US" sz="1200" b="0" i="0" u="none" strike="noStrike" kern="1200" cap="none" spc="0" normalizeH="0" baseline="0" noProof="0" dirty="0">
                  <a:ln>
                    <a:noFill/>
                  </a:ln>
                  <a:solidFill>
                    <a:prstClr val="black">
                      <a:lumMod val="50000"/>
                      <a:lumOff val="50000"/>
                    </a:prstClr>
                  </a:solidFill>
                  <a:effectLst/>
                  <a:uLnTx/>
                  <a:uFillTx/>
                  <a:latin typeface="HarmonyOS Sans SC"/>
                  <a:cs typeface="+mn-cs"/>
                </a:rPr>
                <a:t>Apparently we had reached a great height in the.</a:t>
              </a:r>
            </a:p>
          </p:txBody>
        </p:sp>
      </p:grpSp>
      <p:grpSp>
        <p:nvGrpSpPr>
          <p:cNvPr id="87" name="组合 86">
            <a:extLst>
              <a:ext uri="{FF2B5EF4-FFF2-40B4-BE49-F238E27FC236}">
                <a16:creationId xmlns:a16="http://schemas.microsoft.com/office/drawing/2014/main" id="{50783948-2875-41C2-B59F-A0D986CA23B3}"/>
              </a:ext>
            </a:extLst>
          </p:cNvPr>
          <p:cNvGrpSpPr/>
          <p:nvPr/>
        </p:nvGrpSpPr>
        <p:grpSpPr>
          <a:xfrm>
            <a:off x="8624951" y="3128751"/>
            <a:ext cx="2859171" cy="881603"/>
            <a:chOff x="2777088" y="3678059"/>
            <a:chExt cx="2859171" cy="881603"/>
          </a:xfrm>
        </p:grpSpPr>
        <p:sp>
          <p:nvSpPr>
            <p:cNvPr id="88" name="TextBox 65">
              <a:extLst>
                <a:ext uri="{FF2B5EF4-FFF2-40B4-BE49-F238E27FC236}">
                  <a16:creationId xmlns:a16="http://schemas.microsoft.com/office/drawing/2014/main" id="{FD17967F-4EA0-4E8A-B491-DE4A2AEBF451}"/>
                </a:ext>
              </a:extLst>
            </p:cNvPr>
            <p:cNvSpPr txBox="1"/>
            <p:nvPr/>
          </p:nvSpPr>
          <p:spPr>
            <a:xfrm flipH="1">
              <a:off x="2777089" y="3678059"/>
              <a:ext cx="2056261" cy="387598"/>
            </a:xfrm>
            <a:prstGeom prst="rect">
              <a:avLst/>
            </a:prstGeom>
            <a:noFill/>
          </p:spPr>
          <p:txBody>
            <a:bodyPr wrap="square" lIns="0" tIns="36000" rIns="0" bIns="36000" rtlCol="0">
              <a:spAutoFit/>
            </a:bodyPr>
            <a:lstStyle/>
            <a:p>
              <a:pPr marL="0" marR="0" lvl="0" indent="0" algn="l" defTabSz="914400" rtl="0" eaLnBrk="1" fontAlgn="auto" latinLnBrk="0" hangingPunct="1">
                <a:lnSpc>
                  <a:spcPct val="120000"/>
                </a:lnSpc>
                <a:spcBef>
                  <a:spcPts val="600"/>
                </a:spcBef>
                <a:spcAft>
                  <a:spcPts val="0"/>
                </a:spcAft>
                <a:buClrTx/>
                <a:buSzTx/>
                <a:buFontTx/>
                <a:buNone/>
                <a:tabLst/>
                <a:defRPr/>
              </a:pPr>
              <a:r>
                <a:rPr kumimoji="0" lang="zh-CN" altLang="en-US" sz="1800" b="0" i="0" u="none" strike="noStrike" kern="1200" cap="none" spc="0" normalizeH="0" baseline="0" noProof="0" dirty="0">
                  <a:ln>
                    <a:noFill/>
                  </a:ln>
                  <a:solidFill>
                    <a:schemeClr val="accent1"/>
                  </a:solidFill>
                  <a:effectLst/>
                  <a:uLnTx/>
                  <a:uFillTx/>
                  <a:latin typeface="HarmonyOS Sans SC Black"/>
                  <a:ea typeface="+mj-ea"/>
                  <a:cs typeface="+mn-cs"/>
                </a:rPr>
                <a:t>关键词标题</a:t>
              </a:r>
              <a:endParaRPr kumimoji="0" lang="en-US" sz="1800" b="0" i="0" u="none" strike="noStrike" kern="1200" cap="none" spc="0" normalizeH="0" baseline="0" noProof="0" dirty="0">
                <a:ln>
                  <a:noFill/>
                </a:ln>
                <a:solidFill>
                  <a:schemeClr val="accent1"/>
                </a:solidFill>
                <a:effectLst/>
                <a:uLnTx/>
                <a:uFillTx/>
                <a:latin typeface="HarmonyOS Sans SC Black"/>
                <a:ea typeface="+mj-ea"/>
                <a:cs typeface="+mn-cs"/>
              </a:endParaRPr>
            </a:p>
          </p:txBody>
        </p:sp>
        <p:sp>
          <p:nvSpPr>
            <p:cNvPr id="89" name="TextBox 65">
              <a:extLst>
                <a:ext uri="{FF2B5EF4-FFF2-40B4-BE49-F238E27FC236}">
                  <a16:creationId xmlns:a16="http://schemas.microsoft.com/office/drawing/2014/main" id="{423A356A-B4B1-472A-BDBB-C833BEE935E4}"/>
                </a:ext>
              </a:extLst>
            </p:cNvPr>
            <p:cNvSpPr txBox="1"/>
            <p:nvPr/>
          </p:nvSpPr>
          <p:spPr>
            <a:xfrm flipH="1">
              <a:off x="2777088" y="4061458"/>
              <a:ext cx="2859171" cy="498204"/>
            </a:xfrm>
            <a:prstGeom prst="rect">
              <a:avLst/>
            </a:prstGeom>
            <a:noFill/>
          </p:spPr>
          <p:txBody>
            <a:bodyPr wrap="square" lIns="0" tIns="36000" rIns="0" bIns="36000" rtlCol="0">
              <a:spAutoFit/>
            </a:bodyPr>
            <a:lstStyle/>
            <a:p>
              <a:pPr marL="0" marR="0" lvl="0" indent="0" algn="l" defTabSz="914400" rtl="0" eaLnBrk="1" fontAlgn="auto" latinLnBrk="0" hangingPunct="1">
                <a:lnSpc>
                  <a:spcPct val="120000"/>
                </a:lnSpc>
                <a:spcBef>
                  <a:spcPts val="600"/>
                </a:spcBef>
                <a:spcAft>
                  <a:spcPts val="0"/>
                </a:spcAft>
                <a:buClrTx/>
                <a:buSzTx/>
                <a:buFontTx/>
                <a:buNone/>
                <a:tabLst/>
                <a:defRPr/>
              </a:pPr>
              <a:r>
                <a:rPr kumimoji="0" lang="en-US" sz="1200" b="0" i="0" u="none" strike="noStrike" kern="1200" cap="none" spc="0" normalizeH="0" baseline="0" noProof="0" dirty="0">
                  <a:ln>
                    <a:noFill/>
                  </a:ln>
                  <a:solidFill>
                    <a:prstClr val="black">
                      <a:lumMod val="50000"/>
                      <a:lumOff val="50000"/>
                    </a:prstClr>
                  </a:solidFill>
                  <a:effectLst/>
                  <a:uLnTx/>
                  <a:uFillTx/>
                  <a:latin typeface="HarmonyOS Sans SC"/>
                  <a:cs typeface="+mn-cs"/>
                </a:rPr>
                <a:t>Apparently we had reached a great height in the.</a:t>
              </a:r>
            </a:p>
          </p:txBody>
        </p:sp>
      </p:grpSp>
      <p:sp>
        <p:nvSpPr>
          <p:cNvPr id="97" name="TextBox 65">
            <a:extLst>
              <a:ext uri="{FF2B5EF4-FFF2-40B4-BE49-F238E27FC236}">
                <a16:creationId xmlns:a16="http://schemas.microsoft.com/office/drawing/2014/main" id="{4F2C6BA7-C46F-4520-A810-67A180FD4E8B}"/>
              </a:ext>
            </a:extLst>
          </p:cNvPr>
          <p:cNvSpPr txBox="1"/>
          <p:nvPr/>
        </p:nvSpPr>
        <p:spPr>
          <a:xfrm>
            <a:off x="1815652" y="2818230"/>
            <a:ext cx="2056261" cy="387598"/>
          </a:xfrm>
          <a:prstGeom prst="rect">
            <a:avLst/>
          </a:prstGeom>
          <a:noFill/>
        </p:spPr>
        <p:txBody>
          <a:bodyPr wrap="square" lIns="0" tIns="36000" rIns="0" bIns="36000" rtlCol="0">
            <a:spAutoFit/>
          </a:bodyPr>
          <a:lstStyle/>
          <a:p>
            <a:pPr marL="0" marR="0" lvl="0" indent="0" algn="r" defTabSz="914400" rtl="0" eaLnBrk="1" fontAlgn="auto" latinLnBrk="0" hangingPunct="1">
              <a:lnSpc>
                <a:spcPct val="120000"/>
              </a:lnSpc>
              <a:spcBef>
                <a:spcPts val="600"/>
              </a:spcBef>
              <a:spcAft>
                <a:spcPts val="0"/>
              </a:spcAft>
              <a:buClrTx/>
              <a:buSzTx/>
              <a:buFontTx/>
              <a:buNone/>
              <a:tabLst/>
              <a:defRPr/>
            </a:pPr>
            <a:r>
              <a:rPr kumimoji="0" lang="zh-CN" altLang="en-US" sz="1800" b="0" i="0" u="none" strike="noStrike" kern="1200" cap="none" spc="0" normalizeH="0" baseline="0" noProof="0" dirty="0">
                <a:ln>
                  <a:noFill/>
                </a:ln>
                <a:solidFill>
                  <a:schemeClr val="accent1"/>
                </a:solidFill>
                <a:effectLst/>
                <a:uLnTx/>
                <a:uFillTx/>
                <a:latin typeface="HarmonyOS Sans SC Black"/>
                <a:ea typeface="+mj-ea"/>
                <a:cs typeface="+mn-cs"/>
              </a:rPr>
              <a:t>关键词标题</a:t>
            </a:r>
            <a:endParaRPr kumimoji="0" lang="en-US" sz="1800" b="0" i="0" u="none" strike="noStrike" kern="1200" cap="none" spc="0" normalizeH="0" baseline="0" noProof="0" dirty="0">
              <a:ln>
                <a:noFill/>
              </a:ln>
              <a:solidFill>
                <a:schemeClr val="accent1"/>
              </a:solidFill>
              <a:effectLst/>
              <a:uLnTx/>
              <a:uFillTx/>
              <a:latin typeface="HarmonyOS Sans SC Black"/>
              <a:ea typeface="+mj-ea"/>
              <a:cs typeface="+mn-cs"/>
            </a:endParaRPr>
          </a:p>
        </p:txBody>
      </p:sp>
      <p:sp>
        <p:nvSpPr>
          <p:cNvPr id="98" name="TextBox 65">
            <a:extLst>
              <a:ext uri="{FF2B5EF4-FFF2-40B4-BE49-F238E27FC236}">
                <a16:creationId xmlns:a16="http://schemas.microsoft.com/office/drawing/2014/main" id="{1FA4DF30-8557-47E9-ACE0-01F4B17E5B52}"/>
              </a:ext>
            </a:extLst>
          </p:cNvPr>
          <p:cNvSpPr txBox="1"/>
          <p:nvPr/>
        </p:nvSpPr>
        <p:spPr>
          <a:xfrm>
            <a:off x="1012743" y="3201629"/>
            <a:ext cx="2859171" cy="498204"/>
          </a:xfrm>
          <a:prstGeom prst="rect">
            <a:avLst/>
          </a:prstGeom>
          <a:noFill/>
        </p:spPr>
        <p:txBody>
          <a:bodyPr wrap="square" lIns="0" tIns="36000" rIns="0" bIns="36000" rtlCol="0">
            <a:spAutoFit/>
          </a:bodyPr>
          <a:lstStyle/>
          <a:p>
            <a:pPr marL="0" marR="0" lvl="0" indent="0" algn="r" defTabSz="914400" rtl="0" eaLnBrk="1" fontAlgn="auto" latinLnBrk="0" hangingPunct="1">
              <a:lnSpc>
                <a:spcPct val="120000"/>
              </a:lnSpc>
              <a:spcBef>
                <a:spcPts val="600"/>
              </a:spcBef>
              <a:spcAft>
                <a:spcPts val="0"/>
              </a:spcAft>
              <a:buClrTx/>
              <a:buSzTx/>
              <a:buFontTx/>
              <a:buNone/>
              <a:tabLst/>
              <a:defRPr/>
            </a:pPr>
            <a:r>
              <a:rPr kumimoji="0" lang="en-US" sz="1200" b="0" i="0" u="none" strike="noStrike" kern="1200" cap="none" spc="0" normalizeH="0" baseline="0" noProof="0" dirty="0">
                <a:ln>
                  <a:noFill/>
                </a:ln>
                <a:solidFill>
                  <a:prstClr val="black">
                    <a:lumMod val="50000"/>
                    <a:lumOff val="50000"/>
                  </a:prstClr>
                </a:solidFill>
                <a:effectLst/>
                <a:uLnTx/>
                <a:uFillTx/>
                <a:latin typeface="HarmonyOS Sans SC"/>
                <a:cs typeface="+mn-cs"/>
              </a:rPr>
              <a:t>Apparently we had reached a great height in the.</a:t>
            </a:r>
          </a:p>
        </p:txBody>
      </p:sp>
      <p:sp>
        <p:nvSpPr>
          <p:cNvPr id="95" name="TextBox 65">
            <a:extLst>
              <a:ext uri="{FF2B5EF4-FFF2-40B4-BE49-F238E27FC236}">
                <a16:creationId xmlns:a16="http://schemas.microsoft.com/office/drawing/2014/main" id="{7ED44BE0-A829-4C3A-B5B3-1E45ED6A7219}"/>
              </a:ext>
            </a:extLst>
          </p:cNvPr>
          <p:cNvSpPr txBox="1"/>
          <p:nvPr/>
        </p:nvSpPr>
        <p:spPr>
          <a:xfrm>
            <a:off x="1550476" y="4167816"/>
            <a:ext cx="2056261" cy="387598"/>
          </a:xfrm>
          <a:prstGeom prst="rect">
            <a:avLst/>
          </a:prstGeom>
          <a:noFill/>
        </p:spPr>
        <p:txBody>
          <a:bodyPr wrap="square" lIns="0" tIns="36000" rIns="0" bIns="36000" rtlCol="0">
            <a:spAutoFit/>
          </a:bodyPr>
          <a:lstStyle/>
          <a:p>
            <a:pPr marL="0" marR="0" lvl="0" indent="0" algn="r" defTabSz="914400" rtl="0" eaLnBrk="1" fontAlgn="auto" latinLnBrk="0" hangingPunct="1">
              <a:lnSpc>
                <a:spcPct val="120000"/>
              </a:lnSpc>
              <a:spcBef>
                <a:spcPts val="600"/>
              </a:spcBef>
              <a:spcAft>
                <a:spcPts val="0"/>
              </a:spcAft>
              <a:buClrTx/>
              <a:buSzTx/>
              <a:buFontTx/>
              <a:buNone/>
              <a:tabLst/>
              <a:defRPr/>
            </a:pPr>
            <a:r>
              <a:rPr kumimoji="0" lang="zh-CN" altLang="en-US" sz="1800" b="0" i="0" u="none" strike="noStrike" kern="1200" cap="none" spc="0" normalizeH="0" baseline="0" noProof="0" dirty="0">
                <a:ln>
                  <a:noFill/>
                </a:ln>
                <a:solidFill>
                  <a:schemeClr val="accent1"/>
                </a:solidFill>
                <a:effectLst/>
                <a:uLnTx/>
                <a:uFillTx/>
                <a:latin typeface="HarmonyOS Sans SC Black"/>
                <a:ea typeface="+mj-ea"/>
                <a:cs typeface="+mn-cs"/>
              </a:rPr>
              <a:t>关键词标题</a:t>
            </a:r>
            <a:endParaRPr kumimoji="0" lang="en-US" sz="1800" b="0" i="0" u="none" strike="noStrike" kern="1200" cap="none" spc="0" normalizeH="0" baseline="0" noProof="0" dirty="0">
              <a:ln>
                <a:noFill/>
              </a:ln>
              <a:solidFill>
                <a:schemeClr val="accent1"/>
              </a:solidFill>
              <a:effectLst/>
              <a:uLnTx/>
              <a:uFillTx/>
              <a:latin typeface="HarmonyOS Sans SC Black"/>
              <a:ea typeface="+mj-ea"/>
              <a:cs typeface="+mn-cs"/>
            </a:endParaRPr>
          </a:p>
        </p:txBody>
      </p:sp>
      <p:sp>
        <p:nvSpPr>
          <p:cNvPr id="96" name="TextBox 65">
            <a:extLst>
              <a:ext uri="{FF2B5EF4-FFF2-40B4-BE49-F238E27FC236}">
                <a16:creationId xmlns:a16="http://schemas.microsoft.com/office/drawing/2014/main" id="{E3327664-9DCE-4880-9DBF-F660A483B897}"/>
              </a:ext>
            </a:extLst>
          </p:cNvPr>
          <p:cNvSpPr txBox="1"/>
          <p:nvPr/>
        </p:nvSpPr>
        <p:spPr>
          <a:xfrm>
            <a:off x="747567" y="4551215"/>
            <a:ext cx="2859171" cy="498204"/>
          </a:xfrm>
          <a:prstGeom prst="rect">
            <a:avLst/>
          </a:prstGeom>
          <a:noFill/>
        </p:spPr>
        <p:txBody>
          <a:bodyPr wrap="square" lIns="0" tIns="36000" rIns="0" bIns="36000" rtlCol="0">
            <a:spAutoFit/>
          </a:bodyPr>
          <a:lstStyle/>
          <a:p>
            <a:pPr marL="0" marR="0" lvl="0" indent="0" algn="r" defTabSz="914400" rtl="0" eaLnBrk="1" fontAlgn="auto" latinLnBrk="0" hangingPunct="1">
              <a:lnSpc>
                <a:spcPct val="120000"/>
              </a:lnSpc>
              <a:spcBef>
                <a:spcPts val="600"/>
              </a:spcBef>
              <a:spcAft>
                <a:spcPts val="0"/>
              </a:spcAft>
              <a:buClrTx/>
              <a:buSzTx/>
              <a:buFontTx/>
              <a:buNone/>
              <a:tabLst/>
              <a:defRPr/>
            </a:pPr>
            <a:r>
              <a:rPr kumimoji="0" lang="en-US" sz="1200" b="0" i="0" u="none" strike="noStrike" kern="1200" cap="none" spc="0" normalizeH="0" baseline="0" noProof="0" dirty="0">
                <a:ln>
                  <a:noFill/>
                </a:ln>
                <a:solidFill>
                  <a:prstClr val="black">
                    <a:lumMod val="50000"/>
                    <a:lumOff val="50000"/>
                  </a:prstClr>
                </a:solidFill>
                <a:effectLst/>
                <a:uLnTx/>
                <a:uFillTx/>
                <a:latin typeface="HarmonyOS Sans SC"/>
                <a:cs typeface="+mn-cs"/>
              </a:rPr>
              <a:t>Apparently we had reached a great height in the.</a:t>
            </a:r>
          </a:p>
        </p:txBody>
      </p:sp>
    </p:spTree>
    <p:extLst>
      <p:ext uri="{BB962C8B-B14F-4D97-AF65-F5344CB8AC3E}">
        <p14:creationId xmlns:p14="http://schemas.microsoft.com/office/powerpoint/2010/main" val="250161637"/>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4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Shape 45">
            <a:extLst>
              <a:ext uri="{FF2B5EF4-FFF2-40B4-BE49-F238E27FC236}">
                <a16:creationId xmlns:a16="http://schemas.microsoft.com/office/drawing/2014/main" id="{4C039ECD-54AD-4472-A04F-0A11BB4DED9B}"/>
              </a:ext>
            </a:extLst>
          </p:cNvPr>
          <p:cNvSpPr/>
          <p:nvPr/>
        </p:nvSpPr>
        <p:spPr>
          <a:xfrm>
            <a:off x="5094857" y="2524691"/>
            <a:ext cx="2002286" cy="1989302"/>
          </a:xfrm>
          <a:custGeom>
            <a:avLst/>
            <a:gdLst>
              <a:gd name="connsiteX0" fmla="*/ 1008992 w 2017986"/>
              <a:gd name="connsiteY0" fmla="*/ 451848 h 2004901"/>
              <a:gd name="connsiteX1" fmla="*/ 451847 w 2017986"/>
              <a:gd name="connsiteY1" fmla="*/ 1008993 h 2004901"/>
              <a:gd name="connsiteX2" fmla="*/ 1008992 w 2017986"/>
              <a:gd name="connsiteY2" fmla="*/ 1566138 h 2004901"/>
              <a:gd name="connsiteX3" fmla="*/ 1566137 w 2017986"/>
              <a:gd name="connsiteY3" fmla="*/ 1008993 h 2004901"/>
              <a:gd name="connsiteX4" fmla="*/ 1008992 w 2017986"/>
              <a:gd name="connsiteY4" fmla="*/ 451848 h 2004901"/>
              <a:gd name="connsiteX5" fmla="*/ 1008993 w 2017986"/>
              <a:gd name="connsiteY5" fmla="*/ 0 h 2004901"/>
              <a:gd name="connsiteX6" fmla="*/ 2017986 w 2017986"/>
              <a:gd name="connsiteY6" fmla="*/ 1008993 h 2004901"/>
              <a:gd name="connsiteX7" fmla="*/ 1212340 w 2017986"/>
              <a:gd name="connsiteY7" fmla="*/ 1997487 h 2004901"/>
              <a:gd name="connsiteX8" fmla="*/ 1163759 w 2017986"/>
              <a:gd name="connsiteY8" fmla="*/ 2004901 h 2004901"/>
              <a:gd name="connsiteX9" fmla="*/ 1150665 w 2017986"/>
              <a:gd name="connsiteY9" fmla="*/ 1969126 h 2004901"/>
              <a:gd name="connsiteX10" fmla="*/ 220963 w 2017986"/>
              <a:gd name="connsiteY10" fmla="*/ 1352878 h 2004901"/>
              <a:gd name="connsiteX11" fmla="*/ 117800 w 2017986"/>
              <a:gd name="connsiteY11" fmla="*/ 1358087 h 2004901"/>
              <a:gd name="connsiteX12" fmla="*/ 66198 w 2017986"/>
              <a:gd name="connsiteY12" fmla="*/ 1365963 h 2004901"/>
              <a:gd name="connsiteX13" fmla="*/ 45363 w 2017986"/>
              <a:gd name="connsiteY13" fmla="*/ 1309037 h 2004901"/>
              <a:gd name="connsiteX14" fmla="*/ 0 w 2017986"/>
              <a:gd name="connsiteY14" fmla="*/ 1008993 h 2004901"/>
              <a:gd name="connsiteX15" fmla="*/ 1008993 w 2017986"/>
              <a:gd name="connsiteY15" fmla="*/ 0 h 2004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017986" h="2004901">
                <a:moveTo>
                  <a:pt x="1008992" y="451848"/>
                </a:moveTo>
                <a:cubicBezTo>
                  <a:pt x="701289" y="451848"/>
                  <a:pt x="451847" y="701290"/>
                  <a:pt x="451847" y="1008993"/>
                </a:cubicBezTo>
                <a:cubicBezTo>
                  <a:pt x="451847" y="1316696"/>
                  <a:pt x="701289" y="1566138"/>
                  <a:pt x="1008992" y="1566138"/>
                </a:cubicBezTo>
                <a:cubicBezTo>
                  <a:pt x="1316695" y="1566138"/>
                  <a:pt x="1566137" y="1316696"/>
                  <a:pt x="1566137" y="1008993"/>
                </a:cubicBezTo>
                <a:cubicBezTo>
                  <a:pt x="1566137" y="701290"/>
                  <a:pt x="1316695" y="451848"/>
                  <a:pt x="1008992" y="451848"/>
                </a:cubicBezTo>
                <a:close/>
                <a:moveTo>
                  <a:pt x="1008993" y="0"/>
                </a:moveTo>
                <a:cubicBezTo>
                  <a:pt x="1566244" y="0"/>
                  <a:pt x="2017986" y="451742"/>
                  <a:pt x="2017986" y="1008993"/>
                </a:cubicBezTo>
                <a:cubicBezTo>
                  <a:pt x="2017986" y="1496588"/>
                  <a:pt x="1672121" y="1903402"/>
                  <a:pt x="1212340" y="1997487"/>
                </a:cubicBezTo>
                <a:lnTo>
                  <a:pt x="1163759" y="2004901"/>
                </a:lnTo>
                <a:lnTo>
                  <a:pt x="1150665" y="1969126"/>
                </a:lnTo>
                <a:cubicBezTo>
                  <a:pt x="997491" y="1606983"/>
                  <a:pt x="638902" y="1352878"/>
                  <a:pt x="220963" y="1352878"/>
                </a:cubicBezTo>
                <a:cubicBezTo>
                  <a:pt x="186135" y="1352878"/>
                  <a:pt x="151719" y="1354643"/>
                  <a:pt x="117800" y="1358087"/>
                </a:cubicBezTo>
                <a:lnTo>
                  <a:pt x="66198" y="1365963"/>
                </a:lnTo>
                <a:lnTo>
                  <a:pt x="45363" y="1309037"/>
                </a:lnTo>
                <a:cubicBezTo>
                  <a:pt x="15882" y="1214253"/>
                  <a:pt x="0" y="1113478"/>
                  <a:pt x="0" y="1008993"/>
                </a:cubicBezTo>
                <a:cubicBezTo>
                  <a:pt x="0" y="451742"/>
                  <a:pt x="451742" y="0"/>
                  <a:pt x="1008993" y="0"/>
                </a:cubicBezTo>
                <a:close/>
              </a:path>
            </a:pathLst>
          </a:custGeom>
          <a:gradFill flip="none" rotWithShape="1">
            <a:gsLst>
              <a:gs pos="0">
                <a:schemeClr val="accent1">
                  <a:lumMod val="40000"/>
                  <a:lumOff val="60000"/>
                </a:schemeClr>
              </a:gs>
              <a:gs pos="20000">
                <a:schemeClr val="accent1">
                  <a:lumMod val="60000"/>
                  <a:lumOff val="40000"/>
                </a:schemeClr>
              </a:gs>
              <a:gs pos="73000">
                <a:schemeClr val="accent1"/>
              </a:gs>
            </a:gsLst>
            <a:lin ang="54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armonyOS Sans SC"/>
              <a:cs typeface="+mn-cs"/>
            </a:endParaRPr>
          </a:p>
        </p:txBody>
      </p:sp>
      <p:sp>
        <p:nvSpPr>
          <p:cNvPr id="3" name="Freeform: Shape 46">
            <a:extLst>
              <a:ext uri="{FF2B5EF4-FFF2-40B4-BE49-F238E27FC236}">
                <a16:creationId xmlns:a16="http://schemas.microsoft.com/office/drawing/2014/main" id="{FCD2C31D-825F-47FE-B923-937C7E4DAB73}"/>
              </a:ext>
            </a:extLst>
          </p:cNvPr>
          <p:cNvSpPr/>
          <p:nvPr/>
        </p:nvSpPr>
        <p:spPr>
          <a:xfrm>
            <a:off x="4312959" y="3867042"/>
            <a:ext cx="1783042" cy="2002285"/>
          </a:xfrm>
          <a:custGeom>
            <a:avLst/>
            <a:gdLst>
              <a:gd name="connsiteX0" fmla="*/ 1008992 w 1797023"/>
              <a:gd name="connsiteY0" fmla="*/ 451848 h 2017986"/>
              <a:gd name="connsiteX1" fmla="*/ 451847 w 1797023"/>
              <a:gd name="connsiteY1" fmla="*/ 1008993 h 2017986"/>
              <a:gd name="connsiteX2" fmla="*/ 1008992 w 1797023"/>
              <a:gd name="connsiteY2" fmla="*/ 1566138 h 2017986"/>
              <a:gd name="connsiteX3" fmla="*/ 1566137 w 1797023"/>
              <a:gd name="connsiteY3" fmla="*/ 1008993 h 2017986"/>
              <a:gd name="connsiteX4" fmla="*/ 1008992 w 1797023"/>
              <a:gd name="connsiteY4" fmla="*/ 451848 h 2017986"/>
              <a:gd name="connsiteX5" fmla="*/ 1008993 w 1797023"/>
              <a:gd name="connsiteY5" fmla="*/ 0 h 2017986"/>
              <a:gd name="connsiteX6" fmla="*/ 1722459 w 1797023"/>
              <a:gd name="connsiteY6" fmla="*/ 295528 h 2017986"/>
              <a:gd name="connsiteX7" fmla="*/ 1797023 w 1797023"/>
              <a:gd name="connsiteY7" fmla="*/ 385900 h 2017986"/>
              <a:gd name="connsiteX8" fmla="*/ 1748380 w 1797023"/>
              <a:gd name="connsiteY8" fmla="*/ 444856 h 2017986"/>
              <a:gd name="connsiteX9" fmla="*/ 1576059 w 1797023"/>
              <a:gd name="connsiteY9" fmla="*/ 1008993 h 2017986"/>
              <a:gd name="connsiteX10" fmla="*/ 1748380 w 1797023"/>
              <a:gd name="connsiteY10" fmla="*/ 1573131 h 2017986"/>
              <a:gd name="connsiteX11" fmla="*/ 1797023 w 1797023"/>
              <a:gd name="connsiteY11" fmla="*/ 1632087 h 2017986"/>
              <a:gd name="connsiteX12" fmla="*/ 1722459 w 1797023"/>
              <a:gd name="connsiteY12" fmla="*/ 1722459 h 2017986"/>
              <a:gd name="connsiteX13" fmla="*/ 1008993 w 1797023"/>
              <a:gd name="connsiteY13" fmla="*/ 2017986 h 2017986"/>
              <a:gd name="connsiteX14" fmla="*/ 0 w 1797023"/>
              <a:gd name="connsiteY14" fmla="*/ 1008993 h 2017986"/>
              <a:gd name="connsiteX15" fmla="*/ 1008993 w 1797023"/>
              <a:gd name="connsiteY15" fmla="*/ 0 h 20179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797023" h="2017986">
                <a:moveTo>
                  <a:pt x="1008992" y="451848"/>
                </a:moveTo>
                <a:cubicBezTo>
                  <a:pt x="701289" y="451848"/>
                  <a:pt x="451847" y="701290"/>
                  <a:pt x="451847" y="1008993"/>
                </a:cubicBezTo>
                <a:cubicBezTo>
                  <a:pt x="451847" y="1316696"/>
                  <a:pt x="701289" y="1566138"/>
                  <a:pt x="1008992" y="1566138"/>
                </a:cubicBezTo>
                <a:cubicBezTo>
                  <a:pt x="1316695" y="1566138"/>
                  <a:pt x="1566137" y="1316696"/>
                  <a:pt x="1566137" y="1008993"/>
                </a:cubicBezTo>
                <a:cubicBezTo>
                  <a:pt x="1566137" y="701290"/>
                  <a:pt x="1316695" y="451848"/>
                  <a:pt x="1008992" y="451848"/>
                </a:cubicBezTo>
                <a:close/>
                <a:moveTo>
                  <a:pt x="1008993" y="0"/>
                </a:moveTo>
                <a:cubicBezTo>
                  <a:pt x="1287619" y="0"/>
                  <a:pt x="1539867" y="112936"/>
                  <a:pt x="1722459" y="295528"/>
                </a:cubicBezTo>
                <a:lnTo>
                  <a:pt x="1797023" y="385900"/>
                </a:lnTo>
                <a:lnTo>
                  <a:pt x="1748380" y="444856"/>
                </a:lnTo>
                <a:cubicBezTo>
                  <a:pt x="1639585" y="605892"/>
                  <a:pt x="1576059" y="800024"/>
                  <a:pt x="1576059" y="1008993"/>
                </a:cubicBezTo>
                <a:cubicBezTo>
                  <a:pt x="1576059" y="1217962"/>
                  <a:pt x="1639585" y="1412094"/>
                  <a:pt x="1748380" y="1573131"/>
                </a:cubicBezTo>
                <a:lnTo>
                  <a:pt x="1797023" y="1632087"/>
                </a:lnTo>
                <a:lnTo>
                  <a:pt x="1722459" y="1722459"/>
                </a:lnTo>
                <a:cubicBezTo>
                  <a:pt x="1539867" y="1905051"/>
                  <a:pt x="1287619" y="2017986"/>
                  <a:pt x="1008993" y="2017986"/>
                </a:cubicBezTo>
                <a:cubicBezTo>
                  <a:pt x="451742" y="2017986"/>
                  <a:pt x="0" y="1566244"/>
                  <a:pt x="0" y="1008993"/>
                </a:cubicBezTo>
                <a:cubicBezTo>
                  <a:pt x="0" y="451742"/>
                  <a:pt x="451742" y="0"/>
                  <a:pt x="1008993" y="0"/>
                </a:cubicBezTo>
                <a:close/>
              </a:path>
            </a:pathLst>
          </a:custGeom>
          <a:gradFill flip="none" rotWithShape="1">
            <a:gsLst>
              <a:gs pos="0">
                <a:schemeClr val="accent1">
                  <a:lumMod val="40000"/>
                  <a:lumOff val="60000"/>
                </a:schemeClr>
              </a:gs>
              <a:gs pos="20000">
                <a:schemeClr val="accent1">
                  <a:lumMod val="60000"/>
                  <a:lumOff val="40000"/>
                </a:schemeClr>
              </a:gs>
              <a:gs pos="73000">
                <a:schemeClr val="accent1"/>
              </a:gs>
            </a:gsLst>
            <a:lin ang="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armonyOS Sans SC"/>
              <a:cs typeface="+mn-cs"/>
            </a:endParaRPr>
          </a:p>
        </p:txBody>
      </p:sp>
      <p:sp>
        <p:nvSpPr>
          <p:cNvPr id="4" name="Circle: Hollow 47">
            <a:extLst>
              <a:ext uri="{FF2B5EF4-FFF2-40B4-BE49-F238E27FC236}">
                <a16:creationId xmlns:a16="http://schemas.microsoft.com/office/drawing/2014/main" id="{E3F77C7F-26FB-4D5A-B4E9-06A49059E8E2}"/>
              </a:ext>
            </a:extLst>
          </p:cNvPr>
          <p:cNvSpPr/>
          <p:nvPr/>
        </p:nvSpPr>
        <p:spPr>
          <a:xfrm>
            <a:off x="5876757" y="3867043"/>
            <a:ext cx="2002284" cy="2002284"/>
          </a:xfrm>
          <a:prstGeom prst="donut">
            <a:avLst>
              <a:gd name="adj" fmla="val 22391"/>
            </a:avLst>
          </a:prstGeom>
          <a:gradFill flip="none" rotWithShape="1">
            <a:gsLst>
              <a:gs pos="0">
                <a:schemeClr val="accent1">
                  <a:lumMod val="40000"/>
                  <a:lumOff val="60000"/>
                </a:schemeClr>
              </a:gs>
              <a:gs pos="20000">
                <a:schemeClr val="accent1">
                  <a:lumMod val="60000"/>
                  <a:lumOff val="40000"/>
                </a:schemeClr>
              </a:gs>
              <a:gs pos="73000">
                <a:schemeClr val="accent1"/>
              </a:gs>
            </a:gsLst>
            <a:lin ang="108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armonyOS Sans SC"/>
              <a:cs typeface="+mn-cs"/>
            </a:endParaRPr>
          </a:p>
        </p:txBody>
      </p:sp>
      <p:sp>
        <p:nvSpPr>
          <p:cNvPr id="5" name="Freeform: Shape 48">
            <a:extLst>
              <a:ext uri="{FF2B5EF4-FFF2-40B4-BE49-F238E27FC236}">
                <a16:creationId xmlns:a16="http://schemas.microsoft.com/office/drawing/2014/main" id="{02D68A26-191F-45E3-9A4F-D8B6D8CEE222}"/>
              </a:ext>
            </a:extLst>
          </p:cNvPr>
          <p:cNvSpPr/>
          <p:nvPr/>
        </p:nvSpPr>
        <p:spPr>
          <a:xfrm>
            <a:off x="5493595" y="3938200"/>
            <a:ext cx="1204808" cy="929984"/>
          </a:xfrm>
          <a:custGeom>
            <a:avLst/>
            <a:gdLst>
              <a:gd name="connsiteX0" fmla="*/ 239396 w 1214255"/>
              <a:gd name="connsiteY0" fmla="*/ 0 h 937276"/>
              <a:gd name="connsiteX1" fmla="*/ 295623 w 1214255"/>
              <a:gd name="connsiteY1" fmla="*/ 46392 h 937276"/>
              <a:gd name="connsiteX2" fmla="*/ 607128 w 1214255"/>
              <a:gd name="connsiteY2" fmla="*/ 141543 h 937276"/>
              <a:gd name="connsiteX3" fmla="*/ 918633 w 1214255"/>
              <a:gd name="connsiteY3" fmla="*/ 46392 h 937276"/>
              <a:gd name="connsiteX4" fmla="*/ 974860 w 1214255"/>
              <a:gd name="connsiteY4" fmla="*/ 0 h 937276"/>
              <a:gd name="connsiteX5" fmla="*/ 1214255 w 1214255"/>
              <a:gd name="connsiteY5" fmla="*/ 412750 h 937276"/>
              <a:gd name="connsiteX6" fmla="*/ 1178291 w 1214255"/>
              <a:gd name="connsiteY6" fmla="*/ 423914 h 937276"/>
              <a:gd name="connsiteX7" fmla="*/ 838012 w 1214255"/>
              <a:gd name="connsiteY7" fmla="*/ 937276 h 937276"/>
              <a:gd name="connsiteX8" fmla="*/ 376243 w 1214255"/>
              <a:gd name="connsiteY8" fmla="*/ 937276 h 937276"/>
              <a:gd name="connsiteX9" fmla="*/ 35964 w 1214255"/>
              <a:gd name="connsiteY9" fmla="*/ 423914 h 937276"/>
              <a:gd name="connsiteX10" fmla="*/ 0 w 1214255"/>
              <a:gd name="connsiteY10" fmla="*/ 412750 h 937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4255" h="937276">
                <a:moveTo>
                  <a:pt x="239396" y="0"/>
                </a:moveTo>
                <a:lnTo>
                  <a:pt x="295623" y="46392"/>
                </a:lnTo>
                <a:cubicBezTo>
                  <a:pt x="384544" y="106465"/>
                  <a:pt x="491740" y="141543"/>
                  <a:pt x="607128" y="141543"/>
                </a:cubicBezTo>
                <a:cubicBezTo>
                  <a:pt x="722517" y="141543"/>
                  <a:pt x="829713" y="106465"/>
                  <a:pt x="918633" y="46392"/>
                </a:cubicBezTo>
                <a:lnTo>
                  <a:pt x="974860" y="0"/>
                </a:lnTo>
                <a:lnTo>
                  <a:pt x="1214255" y="412750"/>
                </a:lnTo>
                <a:lnTo>
                  <a:pt x="1178291" y="423914"/>
                </a:lnTo>
                <a:cubicBezTo>
                  <a:pt x="978323" y="508493"/>
                  <a:pt x="838012" y="706499"/>
                  <a:pt x="838012" y="937276"/>
                </a:cubicBezTo>
                <a:lnTo>
                  <a:pt x="376243" y="937276"/>
                </a:lnTo>
                <a:cubicBezTo>
                  <a:pt x="376243" y="706499"/>
                  <a:pt x="235932" y="508493"/>
                  <a:pt x="35964" y="423914"/>
                </a:cubicBezTo>
                <a:lnTo>
                  <a:pt x="0" y="412750"/>
                </a:lnTo>
                <a:close/>
              </a:path>
            </a:pathLst>
          </a:cu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 name="Freeform 7">
            <a:extLst>
              <a:ext uri="{FF2B5EF4-FFF2-40B4-BE49-F238E27FC236}">
                <a16:creationId xmlns:a16="http://schemas.microsoft.com/office/drawing/2014/main" id="{22DA29D4-7001-44E1-AE62-0A77205B2B7C}"/>
              </a:ext>
            </a:extLst>
          </p:cNvPr>
          <p:cNvSpPr>
            <a:spLocks noEditPoints="1"/>
          </p:cNvSpPr>
          <p:nvPr/>
        </p:nvSpPr>
        <p:spPr bwMode="auto">
          <a:xfrm>
            <a:off x="6741082" y="4700902"/>
            <a:ext cx="273633" cy="334564"/>
          </a:xfrm>
          <a:custGeom>
            <a:avLst/>
            <a:gdLst>
              <a:gd name="T0" fmla="*/ 2473 w 2473"/>
              <a:gd name="T1" fmla="*/ 408 h 3024"/>
              <a:gd name="T2" fmla="*/ 2473 w 2473"/>
              <a:gd name="T3" fmla="*/ 408 h 3024"/>
              <a:gd name="T4" fmla="*/ 2065 w 2473"/>
              <a:gd name="T5" fmla="*/ 0 h 3024"/>
              <a:gd name="T6" fmla="*/ 408 w 2473"/>
              <a:gd name="T7" fmla="*/ 0 h 3024"/>
              <a:gd name="T8" fmla="*/ 0 w 2473"/>
              <a:gd name="T9" fmla="*/ 408 h 3024"/>
              <a:gd name="T10" fmla="*/ 0 w 2473"/>
              <a:gd name="T11" fmla="*/ 1497 h 3024"/>
              <a:gd name="T12" fmla="*/ 0 w 2473"/>
              <a:gd name="T13" fmla="*/ 1497 h 3024"/>
              <a:gd name="T14" fmla="*/ 0 w 2473"/>
              <a:gd name="T15" fmla="*/ 1512 h 3024"/>
              <a:gd name="T16" fmla="*/ 1236 w 2473"/>
              <a:gd name="T17" fmla="*/ 3024 h 3024"/>
              <a:gd name="T18" fmla="*/ 2473 w 2473"/>
              <a:gd name="T19" fmla="*/ 1512 h 3024"/>
              <a:gd name="T20" fmla="*/ 2473 w 2473"/>
              <a:gd name="T21" fmla="*/ 1497 h 3024"/>
              <a:gd name="T22" fmla="*/ 2473 w 2473"/>
              <a:gd name="T23" fmla="*/ 1497 h 3024"/>
              <a:gd name="T24" fmla="*/ 2473 w 2473"/>
              <a:gd name="T25" fmla="*/ 408 h 3024"/>
              <a:gd name="T26" fmla="*/ 2019 w 2473"/>
              <a:gd name="T27" fmla="*/ 1455 h 3024"/>
              <a:gd name="T28" fmla="*/ 2019 w 2473"/>
              <a:gd name="T29" fmla="*/ 1455 h 3024"/>
              <a:gd name="T30" fmla="*/ 1773 w 2473"/>
              <a:gd name="T31" fmla="*/ 1702 h 3024"/>
              <a:gd name="T32" fmla="*/ 1523 w 2473"/>
              <a:gd name="T33" fmla="*/ 1951 h 3024"/>
              <a:gd name="T34" fmla="*/ 1523 w 2473"/>
              <a:gd name="T35" fmla="*/ 2127 h 3024"/>
              <a:gd name="T36" fmla="*/ 1773 w 2473"/>
              <a:gd name="T37" fmla="*/ 2376 h 3024"/>
              <a:gd name="T38" fmla="*/ 1810 w 2473"/>
              <a:gd name="T39" fmla="*/ 2453 h 3024"/>
              <a:gd name="T40" fmla="*/ 662 w 2473"/>
              <a:gd name="T41" fmla="*/ 2453 h 3024"/>
              <a:gd name="T42" fmla="*/ 700 w 2473"/>
              <a:gd name="T43" fmla="*/ 2376 h 3024"/>
              <a:gd name="T44" fmla="*/ 949 w 2473"/>
              <a:gd name="T45" fmla="*/ 2127 h 3024"/>
              <a:gd name="T46" fmla="*/ 949 w 2473"/>
              <a:gd name="T47" fmla="*/ 1951 h 3024"/>
              <a:gd name="T48" fmla="*/ 700 w 2473"/>
              <a:gd name="T49" fmla="*/ 1702 h 3024"/>
              <a:gd name="T50" fmla="*/ 453 w 2473"/>
              <a:gd name="T51" fmla="*/ 1455 h 3024"/>
              <a:gd name="T52" fmla="*/ 453 w 2473"/>
              <a:gd name="T53" fmla="*/ 1103 h 3024"/>
              <a:gd name="T54" fmla="*/ 712 w 2473"/>
              <a:gd name="T55" fmla="*/ 845 h 3024"/>
              <a:gd name="T56" fmla="*/ 1761 w 2473"/>
              <a:gd name="T57" fmla="*/ 845 h 3024"/>
              <a:gd name="T58" fmla="*/ 2019 w 2473"/>
              <a:gd name="T59" fmla="*/ 1103 h 3024"/>
              <a:gd name="T60" fmla="*/ 2019 w 2473"/>
              <a:gd name="T61" fmla="*/ 1455 h 30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473" h="3024">
                <a:moveTo>
                  <a:pt x="2473" y="408"/>
                </a:moveTo>
                <a:lnTo>
                  <a:pt x="2473" y="408"/>
                </a:lnTo>
                <a:cubicBezTo>
                  <a:pt x="2473" y="183"/>
                  <a:pt x="2290" y="0"/>
                  <a:pt x="2065" y="0"/>
                </a:cubicBezTo>
                <a:cubicBezTo>
                  <a:pt x="1992" y="0"/>
                  <a:pt x="480" y="0"/>
                  <a:pt x="408" y="0"/>
                </a:cubicBezTo>
                <a:cubicBezTo>
                  <a:pt x="182" y="0"/>
                  <a:pt x="0" y="183"/>
                  <a:pt x="0" y="408"/>
                </a:cubicBezTo>
                <a:lnTo>
                  <a:pt x="0" y="1497"/>
                </a:lnTo>
                <a:lnTo>
                  <a:pt x="0" y="1497"/>
                </a:lnTo>
                <a:cubicBezTo>
                  <a:pt x="0" y="1502"/>
                  <a:pt x="0" y="1507"/>
                  <a:pt x="0" y="1512"/>
                </a:cubicBezTo>
                <a:cubicBezTo>
                  <a:pt x="0" y="2347"/>
                  <a:pt x="553" y="3024"/>
                  <a:pt x="1236" y="3024"/>
                </a:cubicBezTo>
                <a:cubicBezTo>
                  <a:pt x="1919" y="3024"/>
                  <a:pt x="2473" y="2347"/>
                  <a:pt x="2473" y="1512"/>
                </a:cubicBezTo>
                <a:cubicBezTo>
                  <a:pt x="2473" y="1507"/>
                  <a:pt x="2473" y="1502"/>
                  <a:pt x="2473" y="1497"/>
                </a:cubicBezTo>
                <a:lnTo>
                  <a:pt x="2473" y="1497"/>
                </a:lnTo>
                <a:lnTo>
                  <a:pt x="2473" y="408"/>
                </a:lnTo>
                <a:close/>
                <a:moveTo>
                  <a:pt x="2019" y="1455"/>
                </a:moveTo>
                <a:lnTo>
                  <a:pt x="2019" y="1455"/>
                </a:lnTo>
                <a:cubicBezTo>
                  <a:pt x="2019" y="1591"/>
                  <a:pt x="1909" y="1702"/>
                  <a:pt x="1773" y="1702"/>
                </a:cubicBezTo>
                <a:cubicBezTo>
                  <a:pt x="1635" y="1702"/>
                  <a:pt x="1523" y="1813"/>
                  <a:pt x="1523" y="1951"/>
                </a:cubicBezTo>
                <a:lnTo>
                  <a:pt x="1523" y="2127"/>
                </a:lnTo>
                <a:cubicBezTo>
                  <a:pt x="1523" y="2265"/>
                  <a:pt x="1635" y="2376"/>
                  <a:pt x="1773" y="2376"/>
                </a:cubicBezTo>
                <a:cubicBezTo>
                  <a:pt x="1812" y="2376"/>
                  <a:pt x="1834" y="2421"/>
                  <a:pt x="1810" y="2453"/>
                </a:cubicBezTo>
                <a:cubicBezTo>
                  <a:pt x="1501" y="2861"/>
                  <a:pt x="972" y="2861"/>
                  <a:pt x="662" y="2453"/>
                </a:cubicBezTo>
                <a:cubicBezTo>
                  <a:pt x="639" y="2421"/>
                  <a:pt x="661" y="2376"/>
                  <a:pt x="700" y="2376"/>
                </a:cubicBezTo>
                <a:cubicBezTo>
                  <a:pt x="838" y="2376"/>
                  <a:pt x="949" y="2265"/>
                  <a:pt x="949" y="2127"/>
                </a:cubicBezTo>
                <a:lnTo>
                  <a:pt x="949" y="1951"/>
                </a:lnTo>
                <a:cubicBezTo>
                  <a:pt x="949" y="1813"/>
                  <a:pt x="838" y="1702"/>
                  <a:pt x="700" y="1702"/>
                </a:cubicBezTo>
                <a:cubicBezTo>
                  <a:pt x="564" y="1702"/>
                  <a:pt x="453" y="1591"/>
                  <a:pt x="453" y="1455"/>
                </a:cubicBezTo>
                <a:lnTo>
                  <a:pt x="453" y="1103"/>
                </a:lnTo>
                <a:cubicBezTo>
                  <a:pt x="453" y="960"/>
                  <a:pt x="569" y="845"/>
                  <a:pt x="712" y="845"/>
                </a:cubicBezTo>
                <a:cubicBezTo>
                  <a:pt x="758" y="845"/>
                  <a:pt x="1715" y="845"/>
                  <a:pt x="1761" y="845"/>
                </a:cubicBezTo>
                <a:cubicBezTo>
                  <a:pt x="1904" y="845"/>
                  <a:pt x="2019" y="960"/>
                  <a:pt x="2019" y="1103"/>
                </a:cubicBezTo>
                <a:lnTo>
                  <a:pt x="2019" y="1455"/>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7" name="Group 50">
            <a:extLst>
              <a:ext uri="{FF2B5EF4-FFF2-40B4-BE49-F238E27FC236}">
                <a16:creationId xmlns:a16="http://schemas.microsoft.com/office/drawing/2014/main" id="{B1AC5116-61D8-476D-9501-72DEFE117286}"/>
              </a:ext>
            </a:extLst>
          </p:cNvPr>
          <p:cNvGrpSpPr/>
          <p:nvPr/>
        </p:nvGrpSpPr>
        <p:grpSpPr>
          <a:xfrm>
            <a:off x="5959182" y="3352614"/>
            <a:ext cx="273633" cy="333456"/>
            <a:chOff x="4300538" y="2333626"/>
            <a:chExt cx="392113" cy="477838"/>
          </a:xfrm>
          <a:solidFill>
            <a:schemeClr val="accent1"/>
          </a:solidFill>
        </p:grpSpPr>
        <p:sp>
          <p:nvSpPr>
            <p:cNvPr id="8" name="Freeform 30">
              <a:extLst>
                <a:ext uri="{FF2B5EF4-FFF2-40B4-BE49-F238E27FC236}">
                  <a16:creationId xmlns:a16="http://schemas.microsoft.com/office/drawing/2014/main" id="{FAF84632-BEE9-4AF4-BAC2-D3E7F9E01EF9}"/>
                </a:ext>
              </a:extLst>
            </p:cNvPr>
            <p:cNvSpPr>
              <a:spLocks noEditPoints="1"/>
            </p:cNvSpPr>
            <p:nvPr/>
          </p:nvSpPr>
          <p:spPr bwMode="auto">
            <a:xfrm>
              <a:off x="4300538" y="2393951"/>
              <a:ext cx="392113" cy="417513"/>
            </a:xfrm>
            <a:custGeom>
              <a:avLst/>
              <a:gdLst>
                <a:gd name="T0" fmla="*/ 2209 w 2476"/>
                <a:gd name="T1" fmla="*/ 632 h 2638"/>
                <a:gd name="T2" fmla="*/ 2396 w 2476"/>
                <a:gd name="T3" fmla="*/ 367 h 2638"/>
                <a:gd name="T4" fmla="*/ 2370 w 2476"/>
                <a:gd name="T5" fmla="*/ 221 h 2638"/>
                <a:gd name="T6" fmla="*/ 2104 w 2476"/>
                <a:gd name="T7" fmla="*/ 34 h 2638"/>
                <a:gd name="T8" fmla="*/ 1958 w 2476"/>
                <a:gd name="T9" fmla="*/ 59 h 2638"/>
                <a:gd name="T10" fmla="*/ 1793 w 2476"/>
                <a:gd name="T11" fmla="*/ 293 h 2638"/>
                <a:gd name="T12" fmla="*/ 1238 w 2476"/>
                <a:gd name="T13" fmla="*/ 157 h 2638"/>
                <a:gd name="T14" fmla="*/ 683 w 2476"/>
                <a:gd name="T15" fmla="*/ 293 h 2638"/>
                <a:gd name="T16" fmla="*/ 518 w 2476"/>
                <a:gd name="T17" fmla="*/ 59 h 2638"/>
                <a:gd name="T18" fmla="*/ 372 w 2476"/>
                <a:gd name="T19" fmla="*/ 34 h 2638"/>
                <a:gd name="T20" fmla="*/ 106 w 2476"/>
                <a:gd name="T21" fmla="*/ 221 h 2638"/>
                <a:gd name="T22" fmla="*/ 81 w 2476"/>
                <a:gd name="T23" fmla="*/ 367 h 2638"/>
                <a:gd name="T24" fmla="*/ 267 w 2476"/>
                <a:gd name="T25" fmla="*/ 632 h 2638"/>
                <a:gd name="T26" fmla="*/ 0 w 2476"/>
                <a:gd name="T27" fmla="*/ 1399 h 2638"/>
                <a:gd name="T28" fmla="*/ 1238 w 2476"/>
                <a:gd name="T29" fmla="*/ 2638 h 2638"/>
                <a:gd name="T30" fmla="*/ 2476 w 2476"/>
                <a:gd name="T31" fmla="*/ 1399 h 2638"/>
                <a:gd name="T32" fmla="*/ 2209 w 2476"/>
                <a:gd name="T33" fmla="*/ 632 h 2638"/>
                <a:gd name="T34" fmla="*/ 1238 w 2476"/>
                <a:gd name="T35" fmla="*/ 1574 h 2638"/>
                <a:gd name="T36" fmla="*/ 1063 w 2476"/>
                <a:gd name="T37" fmla="*/ 1399 h 2638"/>
                <a:gd name="T38" fmla="*/ 1133 w 2476"/>
                <a:gd name="T39" fmla="*/ 1259 h 2638"/>
                <a:gd name="T40" fmla="*/ 1133 w 2476"/>
                <a:gd name="T41" fmla="*/ 646 h 2638"/>
                <a:gd name="T42" fmla="*/ 1238 w 2476"/>
                <a:gd name="T43" fmla="*/ 541 h 2638"/>
                <a:gd name="T44" fmla="*/ 1343 w 2476"/>
                <a:gd name="T45" fmla="*/ 646 h 2638"/>
                <a:gd name="T46" fmla="*/ 1343 w 2476"/>
                <a:gd name="T47" fmla="*/ 1259 h 2638"/>
                <a:gd name="T48" fmla="*/ 1413 w 2476"/>
                <a:gd name="T49" fmla="*/ 1399 h 2638"/>
                <a:gd name="T50" fmla="*/ 1238 w 2476"/>
                <a:gd name="T51" fmla="*/ 1574 h 26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476" h="2638">
                  <a:moveTo>
                    <a:pt x="2209" y="632"/>
                  </a:moveTo>
                  <a:lnTo>
                    <a:pt x="2396" y="367"/>
                  </a:lnTo>
                  <a:cubicBezTo>
                    <a:pt x="2429" y="320"/>
                    <a:pt x="2418" y="254"/>
                    <a:pt x="2370" y="221"/>
                  </a:cubicBezTo>
                  <a:lnTo>
                    <a:pt x="2104" y="34"/>
                  </a:lnTo>
                  <a:cubicBezTo>
                    <a:pt x="2057" y="0"/>
                    <a:pt x="1992" y="11"/>
                    <a:pt x="1958" y="59"/>
                  </a:cubicBezTo>
                  <a:lnTo>
                    <a:pt x="1793" y="293"/>
                  </a:lnTo>
                  <a:cubicBezTo>
                    <a:pt x="1716" y="254"/>
                    <a:pt x="1540" y="157"/>
                    <a:pt x="1238" y="157"/>
                  </a:cubicBezTo>
                  <a:cubicBezTo>
                    <a:pt x="940" y="157"/>
                    <a:pt x="760" y="254"/>
                    <a:pt x="683" y="293"/>
                  </a:cubicBezTo>
                  <a:lnTo>
                    <a:pt x="518" y="59"/>
                  </a:lnTo>
                  <a:cubicBezTo>
                    <a:pt x="484" y="11"/>
                    <a:pt x="419" y="0"/>
                    <a:pt x="372" y="34"/>
                  </a:cubicBezTo>
                  <a:lnTo>
                    <a:pt x="106" y="221"/>
                  </a:lnTo>
                  <a:cubicBezTo>
                    <a:pt x="58" y="254"/>
                    <a:pt x="47" y="320"/>
                    <a:pt x="81" y="367"/>
                  </a:cubicBezTo>
                  <a:lnTo>
                    <a:pt x="267" y="632"/>
                  </a:lnTo>
                  <a:cubicBezTo>
                    <a:pt x="100" y="843"/>
                    <a:pt x="0" y="1110"/>
                    <a:pt x="0" y="1399"/>
                  </a:cubicBezTo>
                  <a:cubicBezTo>
                    <a:pt x="0" y="2082"/>
                    <a:pt x="555" y="2638"/>
                    <a:pt x="1238" y="2638"/>
                  </a:cubicBezTo>
                  <a:cubicBezTo>
                    <a:pt x="1921" y="2638"/>
                    <a:pt x="2476" y="2082"/>
                    <a:pt x="2476" y="1399"/>
                  </a:cubicBezTo>
                  <a:cubicBezTo>
                    <a:pt x="2476" y="1110"/>
                    <a:pt x="2376" y="843"/>
                    <a:pt x="2209" y="632"/>
                  </a:cubicBezTo>
                  <a:close/>
                  <a:moveTo>
                    <a:pt x="1238" y="1574"/>
                  </a:moveTo>
                  <a:cubicBezTo>
                    <a:pt x="1141" y="1574"/>
                    <a:pt x="1063" y="1496"/>
                    <a:pt x="1063" y="1399"/>
                  </a:cubicBezTo>
                  <a:cubicBezTo>
                    <a:pt x="1063" y="1342"/>
                    <a:pt x="1091" y="1291"/>
                    <a:pt x="1133" y="1259"/>
                  </a:cubicBezTo>
                  <a:lnTo>
                    <a:pt x="1133" y="646"/>
                  </a:lnTo>
                  <a:cubicBezTo>
                    <a:pt x="1133" y="588"/>
                    <a:pt x="1180" y="541"/>
                    <a:pt x="1238" y="541"/>
                  </a:cubicBezTo>
                  <a:cubicBezTo>
                    <a:pt x="1296" y="541"/>
                    <a:pt x="1343" y="588"/>
                    <a:pt x="1343" y="646"/>
                  </a:cubicBezTo>
                  <a:lnTo>
                    <a:pt x="1343" y="1259"/>
                  </a:lnTo>
                  <a:cubicBezTo>
                    <a:pt x="1385" y="1291"/>
                    <a:pt x="1413" y="1342"/>
                    <a:pt x="1413" y="1399"/>
                  </a:cubicBezTo>
                  <a:cubicBezTo>
                    <a:pt x="1413" y="1496"/>
                    <a:pt x="1335" y="1574"/>
                    <a:pt x="1238" y="157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31">
              <a:extLst>
                <a:ext uri="{FF2B5EF4-FFF2-40B4-BE49-F238E27FC236}">
                  <a16:creationId xmlns:a16="http://schemas.microsoft.com/office/drawing/2014/main" id="{0A27AC86-7CE6-40DC-BB15-AC724CBCEAF0}"/>
                </a:ext>
              </a:extLst>
            </p:cNvPr>
            <p:cNvSpPr>
              <a:spLocks/>
            </p:cNvSpPr>
            <p:nvPr/>
          </p:nvSpPr>
          <p:spPr bwMode="auto">
            <a:xfrm>
              <a:off x="4406900" y="2333626"/>
              <a:ext cx="179388" cy="58738"/>
            </a:xfrm>
            <a:custGeom>
              <a:avLst/>
              <a:gdLst>
                <a:gd name="T0" fmla="*/ 1028 w 1133"/>
                <a:gd name="T1" fmla="*/ 0 h 379"/>
                <a:gd name="T2" fmla="*/ 104 w 1133"/>
                <a:gd name="T3" fmla="*/ 0 h 379"/>
                <a:gd name="T4" fmla="*/ 0 w 1133"/>
                <a:gd name="T5" fmla="*/ 105 h 379"/>
                <a:gd name="T6" fmla="*/ 104 w 1133"/>
                <a:gd name="T7" fmla="*/ 210 h 379"/>
                <a:gd name="T8" fmla="*/ 257 w 1133"/>
                <a:gd name="T9" fmla="*/ 210 h 379"/>
                <a:gd name="T10" fmla="*/ 257 w 1133"/>
                <a:gd name="T11" fmla="*/ 379 h 379"/>
                <a:gd name="T12" fmla="*/ 566 w 1133"/>
                <a:gd name="T13" fmla="*/ 345 h 379"/>
                <a:gd name="T14" fmla="*/ 876 w 1133"/>
                <a:gd name="T15" fmla="*/ 379 h 379"/>
                <a:gd name="T16" fmla="*/ 876 w 1133"/>
                <a:gd name="T17" fmla="*/ 210 h 379"/>
                <a:gd name="T18" fmla="*/ 1028 w 1133"/>
                <a:gd name="T19" fmla="*/ 210 h 379"/>
                <a:gd name="T20" fmla="*/ 1133 w 1133"/>
                <a:gd name="T21" fmla="*/ 105 h 379"/>
                <a:gd name="T22" fmla="*/ 1028 w 1133"/>
                <a:gd name="T23" fmla="*/ 0 h 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33" h="379">
                  <a:moveTo>
                    <a:pt x="1028" y="0"/>
                  </a:moveTo>
                  <a:cubicBezTo>
                    <a:pt x="997" y="0"/>
                    <a:pt x="143" y="0"/>
                    <a:pt x="104" y="0"/>
                  </a:cubicBezTo>
                  <a:cubicBezTo>
                    <a:pt x="46" y="0"/>
                    <a:pt x="0" y="47"/>
                    <a:pt x="0" y="105"/>
                  </a:cubicBezTo>
                  <a:cubicBezTo>
                    <a:pt x="0" y="163"/>
                    <a:pt x="46" y="210"/>
                    <a:pt x="104" y="210"/>
                  </a:cubicBezTo>
                  <a:lnTo>
                    <a:pt x="257" y="210"/>
                  </a:lnTo>
                  <a:lnTo>
                    <a:pt x="257" y="379"/>
                  </a:lnTo>
                  <a:cubicBezTo>
                    <a:pt x="357" y="357"/>
                    <a:pt x="461" y="345"/>
                    <a:pt x="566" y="345"/>
                  </a:cubicBezTo>
                  <a:cubicBezTo>
                    <a:pt x="671" y="345"/>
                    <a:pt x="775" y="357"/>
                    <a:pt x="876" y="379"/>
                  </a:cubicBezTo>
                  <a:lnTo>
                    <a:pt x="876" y="210"/>
                  </a:lnTo>
                  <a:lnTo>
                    <a:pt x="1028" y="210"/>
                  </a:lnTo>
                  <a:cubicBezTo>
                    <a:pt x="1086" y="210"/>
                    <a:pt x="1133" y="163"/>
                    <a:pt x="1133" y="105"/>
                  </a:cubicBezTo>
                  <a:cubicBezTo>
                    <a:pt x="1133" y="47"/>
                    <a:pt x="1086" y="0"/>
                    <a:pt x="102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0" name="Freeform 84">
            <a:extLst>
              <a:ext uri="{FF2B5EF4-FFF2-40B4-BE49-F238E27FC236}">
                <a16:creationId xmlns:a16="http://schemas.microsoft.com/office/drawing/2014/main" id="{C8350258-3F8C-4239-8F76-B3EC3D40DBF5}"/>
              </a:ext>
            </a:extLst>
          </p:cNvPr>
          <p:cNvSpPr>
            <a:spLocks noEditPoints="1"/>
          </p:cNvSpPr>
          <p:nvPr/>
        </p:nvSpPr>
        <p:spPr bwMode="auto">
          <a:xfrm>
            <a:off x="5184917" y="4700902"/>
            <a:ext cx="289143" cy="334564"/>
          </a:xfrm>
          <a:custGeom>
            <a:avLst/>
            <a:gdLst>
              <a:gd name="T0" fmla="*/ 2583 w 2608"/>
              <a:gd name="T1" fmla="*/ 1366 h 3024"/>
              <a:gd name="T2" fmla="*/ 2271 w 2608"/>
              <a:gd name="T3" fmla="*/ 1064 h 3024"/>
              <a:gd name="T4" fmla="*/ 2182 w 2608"/>
              <a:gd name="T5" fmla="*/ 1066 h 3024"/>
              <a:gd name="T6" fmla="*/ 1976 w 2608"/>
              <a:gd name="T7" fmla="*/ 1279 h 3024"/>
              <a:gd name="T8" fmla="*/ 2090 w 2608"/>
              <a:gd name="T9" fmla="*/ 168 h 3024"/>
              <a:gd name="T10" fmla="*/ 2035 w 2608"/>
              <a:gd name="T11" fmla="*/ 100 h 3024"/>
              <a:gd name="T12" fmla="*/ 1672 w 2608"/>
              <a:gd name="T13" fmla="*/ 53 h 3024"/>
              <a:gd name="T14" fmla="*/ 1603 w 2608"/>
              <a:gd name="T15" fmla="*/ 107 h 3024"/>
              <a:gd name="T16" fmla="*/ 1525 w 2608"/>
              <a:gd name="T17" fmla="*/ 714 h 3024"/>
              <a:gd name="T18" fmla="*/ 1525 w 2608"/>
              <a:gd name="T19" fmla="*/ 63 h 3024"/>
              <a:gd name="T20" fmla="*/ 1462 w 2608"/>
              <a:gd name="T21" fmla="*/ 0 h 3024"/>
              <a:gd name="T22" fmla="*/ 1098 w 2608"/>
              <a:gd name="T23" fmla="*/ 0 h 3024"/>
              <a:gd name="T24" fmla="*/ 1036 w 2608"/>
              <a:gd name="T25" fmla="*/ 63 h 3024"/>
              <a:gd name="T26" fmla="*/ 1036 w 2608"/>
              <a:gd name="T27" fmla="*/ 750 h 3024"/>
              <a:gd name="T28" fmla="*/ 943 w 2608"/>
              <a:gd name="T29" fmla="*/ 104 h 3024"/>
              <a:gd name="T30" fmla="*/ 873 w 2608"/>
              <a:gd name="T31" fmla="*/ 51 h 3024"/>
              <a:gd name="T32" fmla="*/ 512 w 2608"/>
              <a:gd name="T33" fmla="*/ 102 h 3024"/>
              <a:gd name="T34" fmla="*/ 459 w 2608"/>
              <a:gd name="T35" fmla="*/ 173 h 3024"/>
              <a:gd name="T36" fmla="*/ 531 w 2608"/>
              <a:gd name="T37" fmla="*/ 679 h 3024"/>
              <a:gd name="T38" fmla="*/ 408 w 2608"/>
              <a:gd name="T39" fmla="*/ 314 h 3024"/>
              <a:gd name="T40" fmla="*/ 329 w 2608"/>
              <a:gd name="T41" fmla="*/ 274 h 3024"/>
              <a:gd name="T42" fmla="*/ 50 w 2608"/>
              <a:gd name="T43" fmla="*/ 368 h 3024"/>
              <a:gd name="T44" fmla="*/ 11 w 2608"/>
              <a:gd name="T45" fmla="*/ 447 h 3024"/>
              <a:gd name="T46" fmla="*/ 156 w 2608"/>
              <a:gd name="T47" fmla="*/ 879 h 3024"/>
              <a:gd name="T48" fmla="*/ 203 w 2608"/>
              <a:gd name="T49" fmla="*/ 1086 h 3024"/>
              <a:gd name="T50" fmla="*/ 394 w 2608"/>
              <a:gd name="T51" fmla="*/ 2643 h 3024"/>
              <a:gd name="T52" fmla="*/ 394 w 2608"/>
              <a:gd name="T53" fmla="*/ 2860 h 3024"/>
              <a:gd name="T54" fmla="*/ 558 w 2608"/>
              <a:gd name="T55" fmla="*/ 3024 h 3024"/>
              <a:gd name="T56" fmla="*/ 1657 w 2608"/>
              <a:gd name="T57" fmla="*/ 3024 h 3024"/>
              <a:gd name="T58" fmla="*/ 1820 w 2608"/>
              <a:gd name="T59" fmla="*/ 2860 h 3024"/>
              <a:gd name="T60" fmla="*/ 1820 w 2608"/>
              <a:gd name="T61" fmla="*/ 2643 h 3024"/>
              <a:gd name="T62" fmla="*/ 1904 w 2608"/>
              <a:gd name="T63" fmla="*/ 2343 h 3024"/>
              <a:gd name="T64" fmla="*/ 2163 w 2608"/>
              <a:gd name="T65" fmla="*/ 1890 h 3024"/>
              <a:gd name="T66" fmla="*/ 2584 w 2608"/>
              <a:gd name="T67" fmla="*/ 1454 h 3024"/>
              <a:gd name="T68" fmla="*/ 2583 w 2608"/>
              <a:gd name="T69" fmla="*/ 1366 h 3024"/>
              <a:gd name="T70" fmla="*/ 1540 w 2608"/>
              <a:gd name="T71" fmla="*/ 2643 h 3024"/>
              <a:gd name="T72" fmla="*/ 711 w 2608"/>
              <a:gd name="T73" fmla="*/ 2643 h 3024"/>
              <a:gd name="T74" fmla="*/ 711 w 2608"/>
              <a:gd name="T75" fmla="*/ 2390 h 3024"/>
              <a:gd name="T76" fmla="*/ 944 w 2608"/>
              <a:gd name="T77" fmla="*/ 2157 h 3024"/>
              <a:gd name="T78" fmla="*/ 1307 w 2608"/>
              <a:gd name="T79" fmla="*/ 2157 h 3024"/>
              <a:gd name="T80" fmla="*/ 1540 w 2608"/>
              <a:gd name="T81" fmla="*/ 2390 h 3024"/>
              <a:gd name="T82" fmla="*/ 1540 w 2608"/>
              <a:gd name="T83" fmla="*/ 2643 h 30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608" h="3024">
                <a:moveTo>
                  <a:pt x="2583" y="1366"/>
                </a:moveTo>
                <a:lnTo>
                  <a:pt x="2271" y="1064"/>
                </a:lnTo>
                <a:cubicBezTo>
                  <a:pt x="2246" y="1040"/>
                  <a:pt x="2206" y="1041"/>
                  <a:pt x="2182" y="1066"/>
                </a:cubicBezTo>
                <a:lnTo>
                  <a:pt x="1976" y="1279"/>
                </a:lnTo>
                <a:lnTo>
                  <a:pt x="2090" y="168"/>
                </a:lnTo>
                <a:cubicBezTo>
                  <a:pt x="2093" y="134"/>
                  <a:pt x="2069" y="104"/>
                  <a:pt x="2035" y="100"/>
                </a:cubicBezTo>
                <a:lnTo>
                  <a:pt x="1672" y="53"/>
                </a:lnTo>
                <a:cubicBezTo>
                  <a:pt x="1638" y="49"/>
                  <a:pt x="1607" y="73"/>
                  <a:pt x="1603" y="107"/>
                </a:cubicBezTo>
                <a:lnTo>
                  <a:pt x="1525" y="714"/>
                </a:lnTo>
                <a:lnTo>
                  <a:pt x="1525" y="63"/>
                </a:lnTo>
                <a:cubicBezTo>
                  <a:pt x="1525" y="28"/>
                  <a:pt x="1497" y="0"/>
                  <a:pt x="1462" y="0"/>
                </a:cubicBezTo>
                <a:lnTo>
                  <a:pt x="1098" y="0"/>
                </a:lnTo>
                <a:cubicBezTo>
                  <a:pt x="1063" y="0"/>
                  <a:pt x="1036" y="28"/>
                  <a:pt x="1036" y="63"/>
                </a:cubicBezTo>
                <a:lnTo>
                  <a:pt x="1036" y="750"/>
                </a:lnTo>
                <a:lnTo>
                  <a:pt x="943" y="104"/>
                </a:lnTo>
                <a:cubicBezTo>
                  <a:pt x="938" y="70"/>
                  <a:pt x="907" y="46"/>
                  <a:pt x="873" y="51"/>
                </a:cubicBezTo>
                <a:lnTo>
                  <a:pt x="512" y="102"/>
                </a:lnTo>
                <a:cubicBezTo>
                  <a:pt x="478" y="107"/>
                  <a:pt x="454" y="139"/>
                  <a:pt x="459" y="173"/>
                </a:cubicBezTo>
                <a:lnTo>
                  <a:pt x="531" y="679"/>
                </a:lnTo>
                <a:lnTo>
                  <a:pt x="408" y="314"/>
                </a:lnTo>
                <a:cubicBezTo>
                  <a:pt x="397" y="281"/>
                  <a:pt x="362" y="263"/>
                  <a:pt x="329" y="274"/>
                </a:cubicBezTo>
                <a:lnTo>
                  <a:pt x="50" y="368"/>
                </a:lnTo>
                <a:cubicBezTo>
                  <a:pt x="17" y="379"/>
                  <a:pt x="0" y="414"/>
                  <a:pt x="11" y="447"/>
                </a:cubicBezTo>
                <a:lnTo>
                  <a:pt x="156" y="879"/>
                </a:lnTo>
                <a:cubicBezTo>
                  <a:pt x="178" y="946"/>
                  <a:pt x="194" y="1016"/>
                  <a:pt x="203" y="1086"/>
                </a:cubicBezTo>
                <a:lnTo>
                  <a:pt x="394" y="2643"/>
                </a:lnTo>
                <a:lnTo>
                  <a:pt x="394" y="2860"/>
                </a:lnTo>
                <a:cubicBezTo>
                  <a:pt x="394" y="2951"/>
                  <a:pt x="467" y="3024"/>
                  <a:pt x="558" y="3024"/>
                </a:cubicBezTo>
                <a:lnTo>
                  <a:pt x="1657" y="3024"/>
                </a:lnTo>
                <a:cubicBezTo>
                  <a:pt x="1747" y="3024"/>
                  <a:pt x="1820" y="2951"/>
                  <a:pt x="1820" y="2860"/>
                </a:cubicBezTo>
                <a:lnTo>
                  <a:pt x="1820" y="2643"/>
                </a:lnTo>
                <a:lnTo>
                  <a:pt x="1904" y="2343"/>
                </a:lnTo>
                <a:cubicBezTo>
                  <a:pt x="1951" y="2173"/>
                  <a:pt x="2040" y="2017"/>
                  <a:pt x="2163" y="1890"/>
                </a:cubicBezTo>
                <a:lnTo>
                  <a:pt x="2584" y="1454"/>
                </a:lnTo>
                <a:cubicBezTo>
                  <a:pt x="2608" y="1430"/>
                  <a:pt x="2608" y="1390"/>
                  <a:pt x="2583" y="1366"/>
                </a:cubicBezTo>
                <a:close/>
                <a:moveTo>
                  <a:pt x="1540" y="2643"/>
                </a:moveTo>
                <a:lnTo>
                  <a:pt x="711" y="2643"/>
                </a:lnTo>
                <a:lnTo>
                  <a:pt x="711" y="2390"/>
                </a:lnTo>
                <a:cubicBezTo>
                  <a:pt x="711" y="2261"/>
                  <a:pt x="816" y="2157"/>
                  <a:pt x="944" y="2157"/>
                </a:cubicBezTo>
                <a:lnTo>
                  <a:pt x="1307" y="2157"/>
                </a:lnTo>
                <a:cubicBezTo>
                  <a:pt x="1436" y="2157"/>
                  <a:pt x="1540" y="2261"/>
                  <a:pt x="1540" y="2390"/>
                </a:cubicBezTo>
                <a:lnTo>
                  <a:pt x="1540" y="2643"/>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11" name="Group 54">
            <a:extLst>
              <a:ext uri="{FF2B5EF4-FFF2-40B4-BE49-F238E27FC236}">
                <a16:creationId xmlns:a16="http://schemas.microsoft.com/office/drawing/2014/main" id="{E8A77476-B16A-4B93-90F8-6EA6AA357BB2}"/>
              </a:ext>
            </a:extLst>
          </p:cNvPr>
          <p:cNvGrpSpPr/>
          <p:nvPr/>
        </p:nvGrpSpPr>
        <p:grpSpPr>
          <a:xfrm>
            <a:off x="5929271" y="4335615"/>
            <a:ext cx="333456" cy="135155"/>
            <a:chOff x="3149600" y="979488"/>
            <a:chExt cx="477838" cy="193675"/>
          </a:xfrm>
          <a:solidFill>
            <a:schemeClr val="accent1"/>
          </a:solidFill>
        </p:grpSpPr>
        <p:sp>
          <p:nvSpPr>
            <p:cNvPr id="12" name="Freeform 51">
              <a:extLst>
                <a:ext uri="{FF2B5EF4-FFF2-40B4-BE49-F238E27FC236}">
                  <a16:creationId xmlns:a16="http://schemas.microsoft.com/office/drawing/2014/main" id="{B3F61599-B039-41D9-BA61-BEB862264B8D}"/>
                </a:ext>
              </a:extLst>
            </p:cNvPr>
            <p:cNvSpPr>
              <a:spLocks/>
            </p:cNvSpPr>
            <p:nvPr/>
          </p:nvSpPr>
          <p:spPr bwMode="auto">
            <a:xfrm>
              <a:off x="3149600" y="979488"/>
              <a:ext cx="222250" cy="193675"/>
            </a:xfrm>
            <a:custGeom>
              <a:avLst/>
              <a:gdLst>
                <a:gd name="T0" fmla="*/ 1304 w 1408"/>
                <a:gd name="T1" fmla="*/ 0 h 1220"/>
                <a:gd name="T2" fmla="*/ 964 w 1408"/>
                <a:gd name="T3" fmla="*/ 0 h 1220"/>
                <a:gd name="T4" fmla="*/ 861 w 1408"/>
                <a:gd name="T5" fmla="*/ 103 h 1220"/>
                <a:gd name="T6" fmla="*/ 861 w 1408"/>
                <a:gd name="T7" fmla="*/ 507 h 1220"/>
                <a:gd name="T8" fmla="*/ 103 w 1408"/>
                <a:gd name="T9" fmla="*/ 507 h 1220"/>
                <a:gd name="T10" fmla="*/ 0 w 1408"/>
                <a:gd name="T11" fmla="*/ 610 h 1220"/>
                <a:gd name="T12" fmla="*/ 103 w 1408"/>
                <a:gd name="T13" fmla="*/ 713 h 1220"/>
                <a:gd name="T14" fmla="*/ 861 w 1408"/>
                <a:gd name="T15" fmla="*/ 713 h 1220"/>
                <a:gd name="T16" fmla="*/ 861 w 1408"/>
                <a:gd name="T17" fmla="*/ 1117 h 1220"/>
                <a:gd name="T18" fmla="*/ 964 w 1408"/>
                <a:gd name="T19" fmla="*/ 1220 h 1220"/>
                <a:gd name="T20" fmla="*/ 1304 w 1408"/>
                <a:gd name="T21" fmla="*/ 1220 h 1220"/>
                <a:gd name="T22" fmla="*/ 1408 w 1408"/>
                <a:gd name="T23" fmla="*/ 1117 h 1220"/>
                <a:gd name="T24" fmla="*/ 1408 w 1408"/>
                <a:gd name="T25" fmla="*/ 103 h 1220"/>
                <a:gd name="T26" fmla="*/ 1304 w 1408"/>
                <a:gd name="T27" fmla="*/ 0 h 1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08" h="1220">
                  <a:moveTo>
                    <a:pt x="1304" y="0"/>
                  </a:moveTo>
                  <a:lnTo>
                    <a:pt x="964" y="0"/>
                  </a:lnTo>
                  <a:cubicBezTo>
                    <a:pt x="907" y="0"/>
                    <a:pt x="861" y="46"/>
                    <a:pt x="861" y="103"/>
                  </a:cubicBezTo>
                  <a:lnTo>
                    <a:pt x="861" y="507"/>
                  </a:lnTo>
                  <a:lnTo>
                    <a:pt x="103" y="507"/>
                  </a:lnTo>
                  <a:cubicBezTo>
                    <a:pt x="46" y="507"/>
                    <a:pt x="0" y="553"/>
                    <a:pt x="0" y="610"/>
                  </a:cubicBezTo>
                  <a:cubicBezTo>
                    <a:pt x="0" y="667"/>
                    <a:pt x="46" y="713"/>
                    <a:pt x="103" y="713"/>
                  </a:cubicBezTo>
                  <a:lnTo>
                    <a:pt x="861" y="713"/>
                  </a:lnTo>
                  <a:lnTo>
                    <a:pt x="861" y="1117"/>
                  </a:lnTo>
                  <a:cubicBezTo>
                    <a:pt x="861" y="1174"/>
                    <a:pt x="907" y="1220"/>
                    <a:pt x="964" y="1220"/>
                  </a:cubicBezTo>
                  <a:lnTo>
                    <a:pt x="1304" y="1220"/>
                  </a:lnTo>
                  <a:cubicBezTo>
                    <a:pt x="1361" y="1220"/>
                    <a:pt x="1408" y="1174"/>
                    <a:pt x="1408" y="1117"/>
                  </a:cubicBezTo>
                  <a:lnTo>
                    <a:pt x="1408" y="103"/>
                  </a:lnTo>
                  <a:cubicBezTo>
                    <a:pt x="1408" y="46"/>
                    <a:pt x="1361" y="0"/>
                    <a:pt x="130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52">
              <a:extLst>
                <a:ext uri="{FF2B5EF4-FFF2-40B4-BE49-F238E27FC236}">
                  <a16:creationId xmlns:a16="http://schemas.microsoft.com/office/drawing/2014/main" id="{75655853-03F5-471B-A209-29AAA0BEB37F}"/>
                </a:ext>
              </a:extLst>
            </p:cNvPr>
            <p:cNvSpPr>
              <a:spLocks/>
            </p:cNvSpPr>
            <p:nvPr/>
          </p:nvSpPr>
          <p:spPr bwMode="auto">
            <a:xfrm>
              <a:off x="3405188" y="979488"/>
              <a:ext cx="222250" cy="193675"/>
            </a:xfrm>
            <a:custGeom>
              <a:avLst/>
              <a:gdLst>
                <a:gd name="T0" fmla="*/ 1304 w 1407"/>
                <a:gd name="T1" fmla="*/ 507 h 1220"/>
                <a:gd name="T2" fmla="*/ 546 w 1407"/>
                <a:gd name="T3" fmla="*/ 507 h 1220"/>
                <a:gd name="T4" fmla="*/ 546 w 1407"/>
                <a:gd name="T5" fmla="*/ 103 h 1220"/>
                <a:gd name="T6" fmla="*/ 443 w 1407"/>
                <a:gd name="T7" fmla="*/ 0 h 1220"/>
                <a:gd name="T8" fmla="*/ 103 w 1407"/>
                <a:gd name="T9" fmla="*/ 0 h 1220"/>
                <a:gd name="T10" fmla="*/ 0 w 1407"/>
                <a:gd name="T11" fmla="*/ 103 h 1220"/>
                <a:gd name="T12" fmla="*/ 0 w 1407"/>
                <a:gd name="T13" fmla="*/ 1117 h 1220"/>
                <a:gd name="T14" fmla="*/ 103 w 1407"/>
                <a:gd name="T15" fmla="*/ 1220 h 1220"/>
                <a:gd name="T16" fmla="*/ 443 w 1407"/>
                <a:gd name="T17" fmla="*/ 1220 h 1220"/>
                <a:gd name="T18" fmla="*/ 546 w 1407"/>
                <a:gd name="T19" fmla="*/ 1117 h 1220"/>
                <a:gd name="T20" fmla="*/ 546 w 1407"/>
                <a:gd name="T21" fmla="*/ 713 h 1220"/>
                <a:gd name="T22" fmla="*/ 1304 w 1407"/>
                <a:gd name="T23" fmla="*/ 713 h 1220"/>
                <a:gd name="T24" fmla="*/ 1407 w 1407"/>
                <a:gd name="T25" fmla="*/ 610 h 1220"/>
                <a:gd name="T26" fmla="*/ 1304 w 1407"/>
                <a:gd name="T27" fmla="*/ 507 h 1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07" h="1220">
                  <a:moveTo>
                    <a:pt x="1304" y="507"/>
                  </a:moveTo>
                  <a:lnTo>
                    <a:pt x="546" y="507"/>
                  </a:lnTo>
                  <a:lnTo>
                    <a:pt x="546" y="103"/>
                  </a:lnTo>
                  <a:cubicBezTo>
                    <a:pt x="546" y="46"/>
                    <a:pt x="500" y="0"/>
                    <a:pt x="443" y="0"/>
                  </a:cubicBezTo>
                  <a:lnTo>
                    <a:pt x="103" y="0"/>
                  </a:lnTo>
                  <a:cubicBezTo>
                    <a:pt x="46" y="0"/>
                    <a:pt x="0" y="46"/>
                    <a:pt x="0" y="103"/>
                  </a:cubicBezTo>
                  <a:lnTo>
                    <a:pt x="0" y="1117"/>
                  </a:lnTo>
                  <a:cubicBezTo>
                    <a:pt x="0" y="1174"/>
                    <a:pt x="46" y="1220"/>
                    <a:pt x="103" y="1220"/>
                  </a:cubicBezTo>
                  <a:lnTo>
                    <a:pt x="443" y="1220"/>
                  </a:lnTo>
                  <a:cubicBezTo>
                    <a:pt x="500" y="1220"/>
                    <a:pt x="546" y="1174"/>
                    <a:pt x="546" y="1117"/>
                  </a:cubicBezTo>
                  <a:lnTo>
                    <a:pt x="546" y="713"/>
                  </a:lnTo>
                  <a:lnTo>
                    <a:pt x="1304" y="713"/>
                  </a:lnTo>
                  <a:cubicBezTo>
                    <a:pt x="1361" y="713"/>
                    <a:pt x="1407" y="667"/>
                    <a:pt x="1407" y="610"/>
                  </a:cubicBezTo>
                  <a:cubicBezTo>
                    <a:pt x="1407" y="553"/>
                    <a:pt x="1361" y="507"/>
                    <a:pt x="1304" y="50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4" name="TextBox 57">
            <a:extLst>
              <a:ext uri="{FF2B5EF4-FFF2-40B4-BE49-F238E27FC236}">
                <a16:creationId xmlns:a16="http://schemas.microsoft.com/office/drawing/2014/main" id="{47D75FBE-EB88-4536-A9BB-07768A3F12B8}"/>
              </a:ext>
            </a:extLst>
          </p:cNvPr>
          <p:cNvSpPr txBox="1"/>
          <p:nvPr/>
        </p:nvSpPr>
        <p:spPr>
          <a:xfrm>
            <a:off x="841961" y="4475230"/>
            <a:ext cx="2937088" cy="786497"/>
          </a:xfrm>
          <a:prstGeom prst="rect">
            <a:avLst/>
          </a:prstGeom>
          <a:noFill/>
        </p:spPr>
        <p:txBody>
          <a:bodyPr wrap="square" rtlCol="0">
            <a:spAutoFit/>
          </a:bodyPr>
          <a:lstStyle/>
          <a:p>
            <a:pPr marL="0" marR="0" lvl="0" indent="0" algn="r" defTabSz="914400" rtl="0" eaLnBrk="1" fontAlgn="auto" latinLnBrk="0" hangingPunct="1">
              <a:lnSpc>
                <a:spcPts val="19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lumMod val="50000"/>
                    <a:lumOff val="50000"/>
                  </a:prstClr>
                </a:solidFill>
                <a:effectLst/>
                <a:uLnTx/>
                <a:uFillTx/>
                <a:latin typeface="HarmonyOS Sans SC"/>
                <a:cs typeface="+mn-cs"/>
              </a:rPr>
              <a:t>Lorem ipsum dolor sit </a:t>
            </a:r>
            <a:r>
              <a:rPr kumimoji="0" lang="en-US" sz="800" b="0" i="0" u="none" strike="noStrike" kern="1200" cap="none" spc="0" normalizeH="0" baseline="0" noProof="0" dirty="0" err="1">
                <a:ln>
                  <a:noFill/>
                </a:ln>
                <a:solidFill>
                  <a:prstClr val="black">
                    <a:lumMod val="50000"/>
                    <a:lumOff val="50000"/>
                  </a:prstClr>
                </a:solidFill>
                <a:effectLst/>
                <a:uLnTx/>
                <a:uFillTx/>
                <a:latin typeface="HarmonyOS Sans SC"/>
                <a:cs typeface="+mn-cs"/>
              </a:rPr>
              <a:t>amet</a:t>
            </a:r>
            <a:r>
              <a:rPr kumimoji="0" lang="en-US" sz="800" b="0" i="0" u="none" strike="noStrike" kern="1200" cap="none" spc="0" normalizeH="0" baseline="0" noProof="0" dirty="0">
                <a:ln>
                  <a:noFill/>
                </a:ln>
                <a:solidFill>
                  <a:prstClr val="black">
                    <a:lumMod val="50000"/>
                    <a:lumOff val="50000"/>
                  </a:prstClr>
                </a:solidFill>
                <a:effectLst/>
                <a:uLnTx/>
                <a:uFillTx/>
                <a:latin typeface="HarmonyOS Sans SC"/>
                <a:cs typeface="+mn-cs"/>
              </a:rPr>
              <a:t>, </a:t>
            </a:r>
            <a:r>
              <a:rPr kumimoji="0" lang="en-US" sz="800" b="0" i="0" u="none" strike="noStrike" kern="1200" cap="none" spc="0" normalizeH="0" baseline="0" noProof="0" dirty="0" err="1">
                <a:ln>
                  <a:noFill/>
                </a:ln>
                <a:solidFill>
                  <a:prstClr val="black">
                    <a:lumMod val="50000"/>
                    <a:lumOff val="50000"/>
                  </a:prstClr>
                </a:solidFill>
                <a:effectLst/>
                <a:uLnTx/>
                <a:uFillTx/>
                <a:latin typeface="HarmonyOS Sans SC"/>
                <a:cs typeface="+mn-cs"/>
              </a:rPr>
              <a:t>consectetur</a:t>
            </a:r>
            <a:r>
              <a:rPr kumimoji="0" lang="en-US" sz="800" b="0" i="0" u="none" strike="noStrike" kern="1200" cap="none" spc="0" normalizeH="0" baseline="0" noProof="0" dirty="0">
                <a:ln>
                  <a:noFill/>
                </a:ln>
                <a:solidFill>
                  <a:prstClr val="black">
                    <a:lumMod val="50000"/>
                    <a:lumOff val="50000"/>
                  </a:prstClr>
                </a:solidFill>
                <a:effectLst/>
                <a:uLnTx/>
                <a:uFillTx/>
                <a:latin typeface="HarmonyOS Sans SC"/>
                <a:cs typeface="+mn-cs"/>
              </a:rPr>
              <a:t> </a:t>
            </a:r>
            <a:r>
              <a:rPr kumimoji="0" lang="en-US" sz="800" b="0" i="0" u="none" strike="noStrike" kern="1200" cap="none" spc="0" normalizeH="0" baseline="0" noProof="0" dirty="0" err="1">
                <a:ln>
                  <a:noFill/>
                </a:ln>
                <a:solidFill>
                  <a:prstClr val="black">
                    <a:lumMod val="50000"/>
                    <a:lumOff val="50000"/>
                  </a:prstClr>
                </a:solidFill>
                <a:effectLst/>
                <a:uLnTx/>
                <a:uFillTx/>
                <a:latin typeface="HarmonyOS Sans SC"/>
                <a:cs typeface="+mn-cs"/>
              </a:rPr>
              <a:t>adipiscing</a:t>
            </a:r>
            <a:r>
              <a:rPr kumimoji="0" lang="en-US" sz="800" b="0" i="0" u="none" strike="noStrike" kern="1200" cap="none" spc="0" normalizeH="0" baseline="0" noProof="0" dirty="0">
                <a:ln>
                  <a:noFill/>
                </a:ln>
                <a:solidFill>
                  <a:prstClr val="black">
                    <a:lumMod val="50000"/>
                    <a:lumOff val="50000"/>
                  </a:prstClr>
                </a:solidFill>
                <a:effectLst/>
                <a:uLnTx/>
                <a:uFillTx/>
                <a:latin typeface="HarmonyOS Sans SC"/>
                <a:cs typeface="+mn-cs"/>
              </a:rPr>
              <a:t> </a:t>
            </a:r>
            <a:r>
              <a:rPr kumimoji="0" lang="en-US" sz="800" b="0" i="0" u="none" strike="noStrike" kern="1200" cap="none" spc="0" normalizeH="0" baseline="0" noProof="0" dirty="0" err="1">
                <a:ln>
                  <a:noFill/>
                </a:ln>
                <a:solidFill>
                  <a:prstClr val="black">
                    <a:lumMod val="50000"/>
                    <a:lumOff val="50000"/>
                  </a:prstClr>
                </a:solidFill>
                <a:effectLst/>
                <a:uLnTx/>
                <a:uFillTx/>
                <a:latin typeface="HarmonyOS Sans SC"/>
                <a:cs typeface="+mn-cs"/>
              </a:rPr>
              <a:t>elit</a:t>
            </a:r>
            <a:r>
              <a:rPr kumimoji="0" lang="en-US" sz="800" b="0" i="0" u="none" strike="noStrike" kern="1200" cap="none" spc="0" normalizeH="0" baseline="0" noProof="0" dirty="0">
                <a:ln>
                  <a:noFill/>
                </a:ln>
                <a:solidFill>
                  <a:prstClr val="black">
                    <a:lumMod val="50000"/>
                    <a:lumOff val="50000"/>
                  </a:prstClr>
                </a:solidFill>
                <a:effectLst/>
                <a:uLnTx/>
                <a:uFillTx/>
                <a:latin typeface="HarmonyOS Sans SC"/>
                <a:cs typeface="+mn-cs"/>
              </a:rPr>
              <a:t>. </a:t>
            </a:r>
            <a:r>
              <a:rPr kumimoji="0" lang="en-US" sz="800" b="0" i="0" u="none" strike="noStrike" kern="1200" cap="none" spc="0" normalizeH="0" baseline="0" noProof="0" dirty="0" err="1">
                <a:ln>
                  <a:noFill/>
                </a:ln>
                <a:solidFill>
                  <a:prstClr val="black">
                    <a:lumMod val="50000"/>
                    <a:lumOff val="50000"/>
                  </a:prstClr>
                </a:solidFill>
                <a:effectLst/>
                <a:uLnTx/>
                <a:uFillTx/>
                <a:latin typeface="HarmonyOS Sans SC"/>
                <a:cs typeface="+mn-cs"/>
              </a:rPr>
              <a:t>Etiam</a:t>
            </a:r>
            <a:r>
              <a:rPr kumimoji="0" lang="en-US" sz="800" b="0" i="0" u="none" strike="noStrike" kern="1200" cap="none" spc="0" normalizeH="0" baseline="0" noProof="0" dirty="0">
                <a:ln>
                  <a:noFill/>
                </a:ln>
                <a:solidFill>
                  <a:prstClr val="black">
                    <a:lumMod val="50000"/>
                    <a:lumOff val="50000"/>
                  </a:prstClr>
                </a:solidFill>
                <a:effectLst/>
                <a:uLnTx/>
                <a:uFillTx/>
                <a:latin typeface="HarmonyOS Sans SC"/>
                <a:cs typeface="+mn-cs"/>
              </a:rPr>
              <a:t> </a:t>
            </a:r>
            <a:r>
              <a:rPr kumimoji="0" lang="en-US" sz="800" b="0" i="0" u="none" strike="noStrike" kern="1200" cap="none" spc="0" normalizeH="0" baseline="0" noProof="0" dirty="0" err="1">
                <a:ln>
                  <a:noFill/>
                </a:ln>
                <a:solidFill>
                  <a:prstClr val="black">
                    <a:lumMod val="50000"/>
                    <a:lumOff val="50000"/>
                  </a:prstClr>
                </a:solidFill>
                <a:effectLst/>
                <a:uLnTx/>
                <a:uFillTx/>
                <a:latin typeface="HarmonyOS Sans SC"/>
                <a:cs typeface="+mn-cs"/>
              </a:rPr>
              <a:t>eget</a:t>
            </a:r>
            <a:r>
              <a:rPr kumimoji="0" lang="en-US" sz="800" b="0" i="0" u="none" strike="noStrike" kern="1200" cap="none" spc="0" normalizeH="0" baseline="0" noProof="0" dirty="0">
                <a:ln>
                  <a:noFill/>
                </a:ln>
                <a:solidFill>
                  <a:prstClr val="black">
                    <a:lumMod val="50000"/>
                    <a:lumOff val="50000"/>
                  </a:prstClr>
                </a:solidFill>
                <a:effectLst/>
                <a:uLnTx/>
                <a:uFillTx/>
                <a:latin typeface="HarmonyOS Sans SC"/>
                <a:cs typeface="+mn-cs"/>
              </a:rPr>
              <a:t> </a:t>
            </a:r>
            <a:r>
              <a:rPr kumimoji="0" lang="en-US" sz="800" b="0" i="0" u="none" strike="noStrike" kern="1200" cap="none" spc="0" normalizeH="0" baseline="0" noProof="0" dirty="0" err="1">
                <a:ln>
                  <a:noFill/>
                </a:ln>
                <a:solidFill>
                  <a:prstClr val="black">
                    <a:lumMod val="50000"/>
                    <a:lumOff val="50000"/>
                  </a:prstClr>
                </a:solidFill>
                <a:effectLst/>
                <a:uLnTx/>
                <a:uFillTx/>
                <a:latin typeface="HarmonyOS Sans SC"/>
                <a:cs typeface="+mn-cs"/>
              </a:rPr>
              <a:t>quam</a:t>
            </a:r>
            <a:r>
              <a:rPr kumimoji="0" lang="en-US" sz="800" b="0" i="0" u="none" strike="noStrike" kern="1200" cap="none" spc="0" normalizeH="0" baseline="0" noProof="0" dirty="0">
                <a:ln>
                  <a:noFill/>
                </a:ln>
                <a:solidFill>
                  <a:prstClr val="black">
                    <a:lumMod val="50000"/>
                    <a:lumOff val="50000"/>
                  </a:prstClr>
                </a:solidFill>
                <a:effectLst/>
                <a:uLnTx/>
                <a:uFillTx/>
                <a:latin typeface="HarmonyOS Sans SC"/>
                <a:cs typeface="+mn-cs"/>
              </a:rPr>
              <a:t> </a:t>
            </a:r>
            <a:r>
              <a:rPr kumimoji="0" lang="en-US" sz="800" b="0" i="0" u="none" strike="noStrike" kern="1200" cap="none" spc="0" normalizeH="0" baseline="0" noProof="0" dirty="0" err="1">
                <a:ln>
                  <a:noFill/>
                </a:ln>
                <a:solidFill>
                  <a:prstClr val="black">
                    <a:lumMod val="50000"/>
                    <a:lumOff val="50000"/>
                  </a:prstClr>
                </a:solidFill>
                <a:effectLst/>
                <a:uLnTx/>
                <a:uFillTx/>
                <a:latin typeface="HarmonyOS Sans SC"/>
                <a:cs typeface="+mn-cs"/>
              </a:rPr>
              <a:t>lacus</a:t>
            </a:r>
            <a:r>
              <a:rPr kumimoji="0" lang="en-US" sz="800" b="0" i="0" u="none" strike="noStrike" kern="1200" cap="none" spc="0" normalizeH="0" baseline="0" noProof="0" dirty="0">
                <a:ln>
                  <a:noFill/>
                </a:ln>
                <a:solidFill>
                  <a:prstClr val="black">
                    <a:lumMod val="50000"/>
                    <a:lumOff val="50000"/>
                  </a:prstClr>
                </a:solidFill>
                <a:effectLst/>
                <a:uLnTx/>
                <a:uFillTx/>
                <a:latin typeface="HarmonyOS Sans SC"/>
                <a:cs typeface="+mn-cs"/>
              </a:rPr>
              <a:t>. </a:t>
            </a:r>
            <a:r>
              <a:rPr kumimoji="0" lang="en-US" sz="800" b="0" i="0" u="none" strike="noStrike" kern="1200" cap="none" spc="0" normalizeH="0" baseline="0" noProof="0" dirty="0" err="1">
                <a:ln>
                  <a:noFill/>
                </a:ln>
                <a:solidFill>
                  <a:prstClr val="black">
                    <a:lumMod val="50000"/>
                    <a:lumOff val="50000"/>
                  </a:prstClr>
                </a:solidFill>
                <a:effectLst/>
                <a:uLnTx/>
                <a:uFillTx/>
                <a:latin typeface="HarmonyOS Sans SC"/>
                <a:cs typeface="+mn-cs"/>
              </a:rPr>
              <a:t>Vivamus</a:t>
            </a:r>
            <a:r>
              <a:rPr kumimoji="0" lang="en-US" sz="800" b="0" i="0" u="none" strike="noStrike" kern="1200" cap="none" spc="0" normalizeH="0" baseline="0" noProof="0" dirty="0">
                <a:ln>
                  <a:noFill/>
                </a:ln>
                <a:solidFill>
                  <a:prstClr val="black">
                    <a:lumMod val="50000"/>
                    <a:lumOff val="50000"/>
                  </a:prstClr>
                </a:solidFill>
                <a:effectLst/>
                <a:uLnTx/>
                <a:uFillTx/>
                <a:latin typeface="HarmonyOS Sans SC"/>
                <a:cs typeface="+mn-cs"/>
              </a:rPr>
              <a:t> </a:t>
            </a:r>
            <a:r>
              <a:rPr kumimoji="0" lang="en-US" sz="800" b="0" i="0" u="none" strike="noStrike" kern="1200" cap="none" spc="0" normalizeH="0" baseline="0" noProof="0" dirty="0" err="1">
                <a:ln>
                  <a:noFill/>
                </a:ln>
                <a:solidFill>
                  <a:prstClr val="black">
                    <a:lumMod val="50000"/>
                    <a:lumOff val="50000"/>
                  </a:prstClr>
                </a:solidFill>
                <a:effectLst/>
                <a:uLnTx/>
                <a:uFillTx/>
                <a:latin typeface="HarmonyOS Sans SC"/>
                <a:cs typeface="+mn-cs"/>
              </a:rPr>
              <a:t>laoreet</a:t>
            </a:r>
            <a:r>
              <a:rPr kumimoji="0" lang="en-US" sz="800" b="0" i="0" u="none" strike="noStrike" kern="1200" cap="none" spc="0" normalizeH="0" baseline="0" noProof="0" dirty="0">
                <a:ln>
                  <a:noFill/>
                </a:ln>
                <a:solidFill>
                  <a:prstClr val="black">
                    <a:lumMod val="50000"/>
                    <a:lumOff val="50000"/>
                  </a:prstClr>
                </a:solidFill>
                <a:effectLst/>
                <a:uLnTx/>
                <a:uFillTx/>
                <a:latin typeface="HarmonyOS Sans SC"/>
                <a:cs typeface="+mn-cs"/>
              </a:rPr>
              <a:t> tempus </a:t>
            </a:r>
            <a:r>
              <a:rPr kumimoji="0" lang="en-US" sz="800" b="0" i="0" u="none" strike="noStrike" kern="1200" cap="none" spc="0" normalizeH="0" baseline="0" noProof="0" dirty="0" err="1">
                <a:ln>
                  <a:noFill/>
                </a:ln>
                <a:solidFill>
                  <a:prstClr val="black">
                    <a:lumMod val="50000"/>
                    <a:lumOff val="50000"/>
                  </a:prstClr>
                </a:solidFill>
                <a:effectLst/>
                <a:uLnTx/>
                <a:uFillTx/>
                <a:latin typeface="HarmonyOS Sans SC"/>
                <a:cs typeface="+mn-cs"/>
              </a:rPr>
              <a:t>lacus</a:t>
            </a:r>
            <a:r>
              <a:rPr kumimoji="0" lang="en-US" sz="800" b="0" i="0" u="none" strike="noStrike" kern="1200" cap="none" spc="0" normalizeH="0" baseline="0" noProof="0" dirty="0">
                <a:ln>
                  <a:noFill/>
                </a:ln>
                <a:solidFill>
                  <a:prstClr val="black">
                    <a:lumMod val="50000"/>
                    <a:lumOff val="50000"/>
                  </a:prstClr>
                </a:solidFill>
                <a:effectLst/>
                <a:uLnTx/>
                <a:uFillTx/>
                <a:latin typeface="HarmonyOS Sans SC"/>
                <a:cs typeface="+mn-cs"/>
              </a:rPr>
              <a:t>, in </a:t>
            </a:r>
            <a:r>
              <a:rPr kumimoji="0" lang="en-US" sz="800" b="0" i="0" u="none" strike="noStrike" kern="1200" cap="none" spc="0" normalizeH="0" baseline="0" noProof="0" dirty="0" err="1">
                <a:ln>
                  <a:noFill/>
                </a:ln>
                <a:solidFill>
                  <a:prstClr val="black">
                    <a:lumMod val="50000"/>
                    <a:lumOff val="50000"/>
                  </a:prstClr>
                </a:solidFill>
                <a:effectLst/>
                <a:uLnTx/>
                <a:uFillTx/>
                <a:latin typeface="HarmonyOS Sans SC"/>
                <a:cs typeface="+mn-cs"/>
              </a:rPr>
              <a:t>ultricies</a:t>
            </a:r>
            <a:r>
              <a:rPr kumimoji="0" lang="en-US" sz="800" b="0" i="0" u="none" strike="noStrike" kern="1200" cap="none" spc="0" normalizeH="0" baseline="0" noProof="0" dirty="0">
                <a:ln>
                  <a:noFill/>
                </a:ln>
                <a:solidFill>
                  <a:prstClr val="black">
                    <a:lumMod val="50000"/>
                    <a:lumOff val="50000"/>
                  </a:prstClr>
                </a:solidFill>
                <a:effectLst/>
                <a:uLnTx/>
                <a:uFillTx/>
                <a:latin typeface="HarmonyOS Sans SC"/>
                <a:cs typeface="+mn-cs"/>
              </a:rPr>
              <a:t> dui </a:t>
            </a:r>
            <a:r>
              <a:rPr kumimoji="0" lang="en-US" sz="800" b="0" i="0" u="none" strike="noStrike" kern="1200" cap="none" spc="0" normalizeH="0" baseline="0" noProof="0" dirty="0" err="1">
                <a:ln>
                  <a:noFill/>
                </a:ln>
                <a:solidFill>
                  <a:prstClr val="black">
                    <a:lumMod val="50000"/>
                    <a:lumOff val="50000"/>
                  </a:prstClr>
                </a:solidFill>
                <a:effectLst/>
                <a:uLnTx/>
                <a:uFillTx/>
                <a:latin typeface="HarmonyOS Sans SC"/>
                <a:cs typeface="+mn-cs"/>
              </a:rPr>
              <a:t>vehicula</a:t>
            </a:r>
            <a:r>
              <a:rPr kumimoji="0" lang="en-US" sz="800" b="0" i="0" u="none" strike="noStrike" kern="1200" cap="none" spc="0" normalizeH="0" baseline="0" noProof="0" dirty="0">
                <a:ln>
                  <a:noFill/>
                </a:ln>
                <a:solidFill>
                  <a:prstClr val="black">
                    <a:lumMod val="50000"/>
                    <a:lumOff val="50000"/>
                  </a:prstClr>
                </a:solidFill>
                <a:effectLst/>
                <a:uLnTx/>
                <a:uFillTx/>
                <a:latin typeface="HarmonyOS Sans SC"/>
                <a:cs typeface="+mn-cs"/>
              </a:rPr>
              <a:t> in. </a:t>
            </a:r>
          </a:p>
        </p:txBody>
      </p:sp>
      <p:sp>
        <p:nvSpPr>
          <p:cNvPr id="15" name="TextBox 58">
            <a:extLst>
              <a:ext uri="{FF2B5EF4-FFF2-40B4-BE49-F238E27FC236}">
                <a16:creationId xmlns:a16="http://schemas.microsoft.com/office/drawing/2014/main" id="{2BF672AB-E28D-4400-9A9D-2898B3B7A1C5}"/>
              </a:ext>
            </a:extLst>
          </p:cNvPr>
          <p:cNvSpPr txBox="1"/>
          <p:nvPr/>
        </p:nvSpPr>
        <p:spPr>
          <a:xfrm>
            <a:off x="1318039" y="4197009"/>
            <a:ext cx="2461010" cy="307777"/>
          </a:xfrm>
          <a:prstGeom prst="rect">
            <a:avLst/>
          </a:prstGeom>
          <a:noFill/>
        </p:spPr>
        <p:txBody>
          <a:bodyPr wrap="square"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lumMod val="75000"/>
                    <a:lumOff val="25000"/>
                  </a:prstClr>
                </a:solidFill>
                <a:effectLst/>
                <a:uLnTx/>
                <a:uFillTx/>
                <a:latin typeface="HarmonyOS Sans SC Black"/>
                <a:ea typeface="+mj-ea"/>
                <a:cs typeface="+mn-cs"/>
              </a:rPr>
              <a:t>CREATIVE LINE</a:t>
            </a:r>
          </a:p>
        </p:txBody>
      </p:sp>
      <p:sp>
        <p:nvSpPr>
          <p:cNvPr id="17" name="TextBox 59">
            <a:extLst>
              <a:ext uri="{FF2B5EF4-FFF2-40B4-BE49-F238E27FC236}">
                <a16:creationId xmlns:a16="http://schemas.microsoft.com/office/drawing/2014/main" id="{5D0535C3-6AAA-4E13-AE7E-A33D66EDE79E}"/>
              </a:ext>
            </a:extLst>
          </p:cNvPr>
          <p:cNvSpPr txBox="1"/>
          <p:nvPr/>
        </p:nvSpPr>
        <p:spPr>
          <a:xfrm>
            <a:off x="8393217" y="4475230"/>
            <a:ext cx="2937088" cy="786497"/>
          </a:xfrm>
          <a:prstGeom prst="rect">
            <a:avLst/>
          </a:prstGeom>
          <a:noFill/>
        </p:spPr>
        <p:txBody>
          <a:bodyPr wrap="square" rtlCol="0">
            <a:spAutoFit/>
          </a:bodyPr>
          <a:lstStyle/>
          <a:p>
            <a:pPr marL="0" marR="0" lvl="0" indent="0" algn="l" defTabSz="914400" rtl="0" eaLnBrk="1" fontAlgn="auto" latinLnBrk="0" hangingPunct="1">
              <a:lnSpc>
                <a:spcPts val="19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lumMod val="50000"/>
                    <a:lumOff val="50000"/>
                  </a:prstClr>
                </a:solidFill>
                <a:effectLst/>
                <a:uLnTx/>
                <a:uFillTx/>
                <a:latin typeface="HarmonyOS Sans SC"/>
                <a:cs typeface="+mn-cs"/>
              </a:rPr>
              <a:t>Lorem ipsum dolor sit </a:t>
            </a:r>
            <a:r>
              <a:rPr kumimoji="0" lang="en-US" sz="800" b="0" i="0" u="none" strike="noStrike" kern="1200" cap="none" spc="0" normalizeH="0" baseline="0" noProof="0" dirty="0" err="1">
                <a:ln>
                  <a:noFill/>
                </a:ln>
                <a:solidFill>
                  <a:prstClr val="black">
                    <a:lumMod val="50000"/>
                    <a:lumOff val="50000"/>
                  </a:prstClr>
                </a:solidFill>
                <a:effectLst/>
                <a:uLnTx/>
                <a:uFillTx/>
                <a:latin typeface="HarmonyOS Sans SC"/>
                <a:cs typeface="+mn-cs"/>
              </a:rPr>
              <a:t>amet</a:t>
            </a:r>
            <a:r>
              <a:rPr kumimoji="0" lang="en-US" sz="800" b="0" i="0" u="none" strike="noStrike" kern="1200" cap="none" spc="0" normalizeH="0" baseline="0" noProof="0" dirty="0">
                <a:ln>
                  <a:noFill/>
                </a:ln>
                <a:solidFill>
                  <a:prstClr val="black">
                    <a:lumMod val="50000"/>
                    <a:lumOff val="50000"/>
                  </a:prstClr>
                </a:solidFill>
                <a:effectLst/>
                <a:uLnTx/>
                <a:uFillTx/>
                <a:latin typeface="HarmonyOS Sans SC"/>
                <a:cs typeface="+mn-cs"/>
              </a:rPr>
              <a:t>, </a:t>
            </a:r>
            <a:r>
              <a:rPr kumimoji="0" lang="en-US" sz="800" b="0" i="0" u="none" strike="noStrike" kern="1200" cap="none" spc="0" normalizeH="0" baseline="0" noProof="0" dirty="0" err="1">
                <a:ln>
                  <a:noFill/>
                </a:ln>
                <a:solidFill>
                  <a:prstClr val="black">
                    <a:lumMod val="50000"/>
                    <a:lumOff val="50000"/>
                  </a:prstClr>
                </a:solidFill>
                <a:effectLst/>
                <a:uLnTx/>
                <a:uFillTx/>
                <a:latin typeface="HarmonyOS Sans SC"/>
                <a:cs typeface="+mn-cs"/>
              </a:rPr>
              <a:t>consectetur</a:t>
            </a:r>
            <a:r>
              <a:rPr kumimoji="0" lang="en-US" sz="800" b="0" i="0" u="none" strike="noStrike" kern="1200" cap="none" spc="0" normalizeH="0" baseline="0" noProof="0" dirty="0">
                <a:ln>
                  <a:noFill/>
                </a:ln>
                <a:solidFill>
                  <a:prstClr val="black">
                    <a:lumMod val="50000"/>
                    <a:lumOff val="50000"/>
                  </a:prstClr>
                </a:solidFill>
                <a:effectLst/>
                <a:uLnTx/>
                <a:uFillTx/>
                <a:latin typeface="HarmonyOS Sans SC"/>
                <a:cs typeface="+mn-cs"/>
              </a:rPr>
              <a:t> </a:t>
            </a:r>
            <a:r>
              <a:rPr kumimoji="0" lang="en-US" sz="800" b="0" i="0" u="none" strike="noStrike" kern="1200" cap="none" spc="0" normalizeH="0" baseline="0" noProof="0" dirty="0" err="1">
                <a:ln>
                  <a:noFill/>
                </a:ln>
                <a:solidFill>
                  <a:prstClr val="black">
                    <a:lumMod val="50000"/>
                    <a:lumOff val="50000"/>
                  </a:prstClr>
                </a:solidFill>
                <a:effectLst/>
                <a:uLnTx/>
                <a:uFillTx/>
                <a:latin typeface="HarmonyOS Sans SC"/>
                <a:cs typeface="+mn-cs"/>
              </a:rPr>
              <a:t>adipiscing</a:t>
            </a:r>
            <a:r>
              <a:rPr kumimoji="0" lang="en-US" sz="800" b="0" i="0" u="none" strike="noStrike" kern="1200" cap="none" spc="0" normalizeH="0" baseline="0" noProof="0" dirty="0">
                <a:ln>
                  <a:noFill/>
                </a:ln>
                <a:solidFill>
                  <a:prstClr val="black">
                    <a:lumMod val="50000"/>
                    <a:lumOff val="50000"/>
                  </a:prstClr>
                </a:solidFill>
                <a:effectLst/>
                <a:uLnTx/>
                <a:uFillTx/>
                <a:latin typeface="HarmonyOS Sans SC"/>
                <a:cs typeface="+mn-cs"/>
              </a:rPr>
              <a:t> </a:t>
            </a:r>
            <a:r>
              <a:rPr kumimoji="0" lang="en-US" sz="800" b="0" i="0" u="none" strike="noStrike" kern="1200" cap="none" spc="0" normalizeH="0" baseline="0" noProof="0" dirty="0" err="1">
                <a:ln>
                  <a:noFill/>
                </a:ln>
                <a:solidFill>
                  <a:prstClr val="black">
                    <a:lumMod val="50000"/>
                    <a:lumOff val="50000"/>
                  </a:prstClr>
                </a:solidFill>
                <a:effectLst/>
                <a:uLnTx/>
                <a:uFillTx/>
                <a:latin typeface="HarmonyOS Sans SC"/>
                <a:cs typeface="+mn-cs"/>
              </a:rPr>
              <a:t>elit</a:t>
            </a:r>
            <a:r>
              <a:rPr kumimoji="0" lang="en-US" sz="800" b="0" i="0" u="none" strike="noStrike" kern="1200" cap="none" spc="0" normalizeH="0" baseline="0" noProof="0" dirty="0">
                <a:ln>
                  <a:noFill/>
                </a:ln>
                <a:solidFill>
                  <a:prstClr val="black">
                    <a:lumMod val="50000"/>
                    <a:lumOff val="50000"/>
                  </a:prstClr>
                </a:solidFill>
                <a:effectLst/>
                <a:uLnTx/>
                <a:uFillTx/>
                <a:latin typeface="HarmonyOS Sans SC"/>
                <a:cs typeface="+mn-cs"/>
              </a:rPr>
              <a:t>. </a:t>
            </a:r>
            <a:r>
              <a:rPr kumimoji="0" lang="en-US" sz="800" b="0" i="0" u="none" strike="noStrike" kern="1200" cap="none" spc="0" normalizeH="0" baseline="0" noProof="0" dirty="0" err="1">
                <a:ln>
                  <a:noFill/>
                </a:ln>
                <a:solidFill>
                  <a:prstClr val="black">
                    <a:lumMod val="50000"/>
                    <a:lumOff val="50000"/>
                  </a:prstClr>
                </a:solidFill>
                <a:effectLst/>
                <a:uLnTx/>
                <a:uFillTx/>
                <a:latin typeface="HarmonyOS Sans SC"/>
                <a:cs typeface="+mn-cs"/>
              </a:rPr>
              <a:t>Etiam</a:t>
            </a:r>
            <a:r>
              <a:rPr kumimoji="0" lang="en-US" sz="800" b="0" i="0" u="none" strike="noStrike" kern="1200" cap="none" spc="0" normalizeH="0" baseline="0" noProof="0" dirty="0">
                <a:ln>
                  <a:noFill/>
                </a:ln>
                <a:solidFill>
                  <a:prstClr val="black">
                    <a:lumMod val="50000"/>
                    <a:lumOff val="50000"/>
                  </a:prstClr>
                </a:solidFill>
                <a:effectLst/>
                <a:uLnTx/>
                <a:uFillTx/>
                <a:latin typeface="HarmonyOS Sans SC"/>
                <a:cs typeface="+mn-cs"/>
              </a:rPr>
              <a:t> </a:t>
            </a:r>
            <a:r>
              <a:rPr kumimoji="0" lang="en-US" sz="800" b="0" i="0" u="none" strike="noStrike" kern="1200" cap="none" spc="0" normalizeH="0" baseline="0" noProof="0" dirty="0" err="1">
                <a:ln>
                  <a:noFill/>
                </a:ln>
                <a:solidFill>
                  <a:prstClr val="black">
                    <a:lumMod val="50000"/>
                    <a:lumOff val="50000"/>
                  </a:prstClr>
                </a:solidFill>
                <a:effectLst/>
                <a:uLnTx/>
                <a:uFillTx/>
                <a:latin typeface="HarmonyOS Sans SC"/>
                <a:cs typeface="+mn-cs"/>
              </a:rPr>
              <a:t>eget</a:t>
            </a:r>
            <a:r>
              <a:rPr kumimoji="0" lang="en-US" sz="800" b="0" i="0" u="none" strike="noStrike" kern="1200" cap="none" spc="0" normalizeH="0" baseline="0" noProof="0" dirty="0">
                <a:ln>
                  <a:noFill/>
                </a:ln>
                <a:solidFill>
                  <a:prstClr val="black">
                    <a:lumMod val="50000"/>
                    <a:lumOff val="50000"/>
                  </a:prstClr>
                </a:solidFill>
                <a:effectLst/>
                <a:uLnTx/>
                <a:uFillTx/>
                <a:latin typeface="HarmonyOS Sans SC"/>
                <a:cs typeface="+mn-cs"/>
              </a:rPr>
              <a:t> </a:t>
            </a:r>
            <a:r>
              <a:rPr kumimoji="0" lang="en-US" sz="800" b="0" i="0" u="none" strike="noStrike" kern="1200" cap="none" spc="0" normalizeH="0" baseline="0" noProof="0" dirty="0" err="1">
                <a:ln>
                  <a:noFill/>
                </a:ln>
                <a:solidFill>
                  <a:prstClr val="black">
                    <a:lumMod val="50000"/>
                    <a:lumOff val="50000"/>
                  </a:prstClr>
                </a:solidFill>
                <a:effectLst/>
                <a:uLnTx/>
                <a:uFillTx/>
                <a:latin typeface="HarmonyOS Sans SC"/>
                <a:cs typeface="+mn-cs"/>
              </a:rPr>
              <a:t>quam</a:t>
            </a:r>
            <a:r>
              <a:rPr kumimoji="0" lang="en-US" sz="800" b="0" i="0" u="none" strike="noStrike" kern="1200" cap="none" spc="0" normalizeH="0" baseline="0" noProof="0" dirty="0">
                <a:ln>
                  <a:noFill/>
                </a:ln>
                <a:solidFill>
                  <a:prstClr val="black">
                    <a:lumMod val="50000"/>
                    <a:lumOff val="50000"/>
                  </a:prstClr>
                </a:solidFill>
                <a:effectLst/>
                <a:uLnTx/>
                <a:uFillTx/>
                <a:latin typeface="HarmonyOS Sans SC"/>
                <a:cs typeface="+mn-cs"/>
              </a:rPr>
              <a:t> </a:t>
            </a:r>
            <a:r>
              <a:rPr kumimoji="0" lang="en-US" sz="800" b="0" i="0" u="none" strike="noStrike" kern="1200" cap="none" spc="0" normalizeH="0" baseline="0" noProof="0" dirty="0" err="1">
                <a:ln>
                  <a:noFill/>
                </a:ln>
                <a:solidFill>
                  <a:prstClr val="black">
                    <a:lumMod val="50000"/>
                    <a:lumOff val="50000"/>
                  </a:prstClr>
                </a:solidFill>
                <a:effectLst/>
                <a:uLnTx/>
                <a:uFillTx/>
                <a:latin typeface="HarmonyOS Sans SC"/>
                <a:cs typeface="+mn-cs"/>
              </a:rPr>
              <a:t>lacus</a:t>
            </a:r>
            <a:r>
              <a:rPr kumimoji="0" lang="en-US" sz="800" b="0" i="0" u="none" strike="noStrike" kern="1200" cap="none" spc="0" normalizeH="0" baseline="0" noProof="0" dirty="0">
                <a:ln>
                  <a:noFill/>
                </a:ln>
                <a:solidFill>
                  <a:prstClr val="black">
                    <a:lumMod val="50000"/>
                    <a:lumOff val="50000"/>
                  </a:prstClr>
                </a:solidFill>
                <a:effectLst/>
                <a:uLnTx/>
                <a:uFillTx/>
                <a:latin typeface="HarmonyOS Sans SC"/>
                <a:cs typeface="+mn-cs"/>
              </a:rPr>
              <a:t>. </a:t>
            </a:r>
            <a:r>
              <a:rPr kumimoji="0" lang="en-US" sz="800" b="0" i="0" u="none" strike="noStrike" kern="1200" cap="none" spc="0" normalizeH="0" baseline="0" noProof="0" dirty="0" err="1">
                <a:ln>
                  <a:noFill/>
                </a:ln>
                <a:solidFill>
                  <a:prstClr val="black">
                    <a:lumMod val="50000"/>
                    <a:lumOff val="50000"/>
                  </a:prstClr>
                </a:solidFill>
                <a:effectLst/>
                <a:uLnTx/>
                <a:uFillTx/>
                <a:latin typeface="HarmonyOS Sans SC"/>
                <a:cs typeface="+mn-cs"/>
              </a:rPr>
              <a:t>Vivamus</a:t>
            </a:r>
            <a:r>
              <a:rPr kumimoji="0" lang="en-US" sz="800" b="0" i="0" u="none" strike="noStrike" kern="1200" cap="none" spc="0" normalizeH="0" baseline="0" noProof="0" dirty="0">
                <a:ln>
                  <a:noFill/>
                </a:ln>
                <a:solidFill>
                  <a:prstClr val="black">
                    <a:lumMod val="50000"/>
                    <a:lumOff val="50000"/>
                  </a:prstClr>
                </a:solidFill>
                <a:effectLst/>
                <a:uLnTx/>
                <a:uFillTx/>
                <a:latin typeface="HarmonyOS Sans SC"/>
                <a:cs typeface="+mn-cs"/>
              </a:rPr>
              <a:t> </a:t>
            </a:r>
            <a:r>
              <a:rPr kumimoji="0" lang="en-US" sz="800" b="0" i="0" u="none" strike="noStrike" kern="1200" cap="none" spc="0" normalizeH="0" baseline="0" noProof="0" dirty="0" err="1">
                <a:ln>
                  <a:noFill/>
                </a:ln>
                <a:solidFill>
                  <a:prstClr val="black">
                    <a:lumMod val="50000"/>
                    <a:lumOff val="50000"/>
                  </a:prstClr>
                </a:solidFill>
                <a:effectLst/>
                <a:uLnTx/>
                <a:uFillTx/>
                <a:latin typeface="HarmonyOS Sans SC"/>
                <a:cs typeface="+mn-cs"/>
              </a:rPr>
              <a:t>laoreet</a:t>
            </a:r>
            <a:r>
              <a:rPr kumimoji="0" lang="en-US" sz="800" b="0" i="0" u="none" strike="noStrike" kern="1200" cap="none" spc="0" normalizeH="0" baseline="0" noProof="0" dirty="0">
                <a:ln>
                  <a:noFill/>
                </a:ln>
                <a:solidFill>
                  <a:prstClr val="black">
                    <a:lumMod val="50000"/>
                    <a:lumOff val="50000"/>
                  </a:prstClr>
                </a:solidFill>
                <a:effectLst/>
                <a:uLnTx/>
                <a:uFillTx/>
                <a:latin typeface="HarmonyOS Sans SC"/>
                <a:cs typeface="+mn-cs"/>
              </a:rPr>
              <a:t> tempus </a:t>
            </a:r>
            <a:r>
              <a:rPr kumimoji="0" lang="en-US" sz="800" b="0" i="0" u="none" strike="noStrike" kern="1200" cap="none" spc="0" normalizeH="0" baseline="0" noProof="0" dirty="0" err="1">
                <a:ln>
                  <a:noFill/>
                </a:ln>
                <a:solidFill>
                  <a:prstClr val="black">
                    <a:lumMod val="50000"/>
                    <a:lumOff val="50000"/>
                  </a:prstClr>
                </a:solidFill>
                <a:effectLst/>
                <a:uLnTx/>
                <a:uFillTx/>
                <a:latin typeface="HarmonyOS Sans SC"/>
                <a:cs typeface="+mn-cs"/>
              </a:rPr>
              <a:t>lacus</a:t>
            </a:r>
            <a:r>
              <a:rPr kumimoji="0" lang="en-US" sz="800" b="0" i="0" u="none" strike="noStrike" kern="1200" cap="none" spc="0" normalizeH="0" baseline="0" noProof="0" dirty="0">
                <a:ln>
                  <a:noFill/>
                </a:ln>
                <a:solidFill>
                  <a:prstClr val="black">
                    <a:lumMod val="50000"/>
                    <a:lumOff val="50000"/>
                  </a:prstClr>
                </a:solidFill>
                <a:effectLst/>
                <a:uLnTx/>
                <a:uFillTx/>
                <a:latin typeface="HarmonyOS Sans SC"/>
                <a:cs typeface="+mn-cs"/>
              </a:rPr>
              <a:t>, in </a:t>
            </a:r>
            <a:r>
              <a:rPr kumimoji="0" lang="en-US" sz="800" b="0" i="0" u="none" strike="noStrike" kern="1200" cap="none" spc="0" normalizeH="0" baseline="0" noProof="0" dirty="0" err="1">
                <a:ln>
                  <a:noFill/>
                </a:ln>
                <a:solidFill>
                  <a:prstClr val="black">
                    <a:lumMod val="50000"/>
                    <a:lumOff val="50000"/>
                  </a:prstClr>
                </a:solidFill>
                <a:effectLst/>
                <a:uLnTx/>
                <a:uFillTx/>
                <a:latin typeface="HarmonyOS Sans SC"/>
                <a:cs typeface="+mn-cs"/>
              </a:rPr>
              <a:t>ultricies</a:t>
            </a:r>
            <a:r>
              <a:rPr kumimoji="0" lang="en-US" sz="800" b="0" i="0" u="none" strike="noStrike" kern="1200" cap="none" spc="0" normalizeH="0" baseline="0" noProof="0" dirty="0">
                <a:ln>
                  <a:noFill/>
                </a:ln>
                <a:solidFill>
                  <a:prstClr val="black">
                    <a:lumMod val="50000"/>
                    <a:lumOff val="50000"/>
                  </a:prstClr>
                </a:solidFill>
                <a:effectLst/>
                <a:uLnTx/>
                <a:uFillTx/>
                <a:latin typeface="HarmonyOS Sans SC"/>
                <a:cs typeface="+mn-cs"/>
              </a:rPr>
              <a:t> dui </a:t>
            </a:r>
            <a:r>
              <a:rPr kumimoji="0" lang="en-US" sz="800" b="0" i="0" u="none" strike="noStrike" kern="1200" cap="none" spc="0" normalizeH="0" baseline="0" noProof="0" dirty="0" err="1">
                <a:ln>
                  <a:noFill/>
                </a:ln>
                <a:solidFill>
                  <a:prstClr val="black">
                    <a:lumMod val="50000"/>
                    <a:lumOff val="50000"/>
                  </a:prstClr>
                </a:solidFill>
                <a:effectLst/>
                <a:uLnTx/>
                <a:uFillTx/>
                <a:latin typeface="HarmonyOS Sans SC"/>
                <a:cs typeface="+mn-cs"/>
              </a:rPr>
              <a:t>vehicula</a:t>
            </a:r>
            <a:r>
              <a:rPr kumimoji="0" lang="en-US" sz="800" b="0" i="0" u="none" strike="noStrike" kern="1200" cap="none" spc="0" normalizeH="0" baseline="0" noProof="0" dirty="0">
                <a:ln>
                  <a:noFill/>
                </a:ln>
                <a:solidFill>
                  <a:prstClr val="black">
                    <a:lumMod val="50000"/>
                    <a:lumOff val="50000"/>
                  </a:prstClr>
                </a:solidFill>
                <a:effectLst/>
                <a:uLnTx/>
                <a:uFillTx/>
                <a:latin typeface="HarmonyOS Sans SC"/>
                <a:cs typeface="+mn-cs"/>
              </a:rPr>
              <a:t> in. </a:t>
            </a:r>
          </a:p>
        </p:txBody>
      </p:sp>
      <p:sp>
        <p:nvSpPr>
          <p:cNvPr id="18" name="TextBox 60">
            <a:extLst>
              <a:ext uri="{FF2B5EF4-FFF2-40B4-BE49-F238E27FC236}">
                <a16:creationId xmlns:a16="http://schemas.microsoft.com/office/drawing/2014/main" id="{73961FA9-3C8F-49B4-BDA4-CE7E33268577}"/>
              </a:ext>
            </a:extLst>
          </p:cNvPr>
          <p:cNvSpPr txBox="1"/>
          <p:nvPr/>
        </p:nvSpPr>
        <p:spPr>
          <a:xfrm>
            <a:off x="8393217" y="4197009"/>
            <a:ext cx="2461010" cy="307777"/>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lumMod val="75000"/>
                    <a:lumOff val="25000"/>
                  </a:prstClr>
                </a:solidFill>
                <a:effectLst/>
                <a:uLnTx/>
                <a:uFillTx/>
                <a:latin typeface="HarmonyOS Sans SC Black"/>
                <a:ea typeface="+mj-ea"/>
                <a:cs typeface="+mn-cs"/>
              </a:rPr>
              <a:t>CREATIVE LINE</a:t>
            </a:r>
          </a:p>
        </p:txBody>
      </p:sp>
      <p:sp>
        <p:nvSpPr>
          <p:cNvPr id="19" name="TextBox 62">
            <a:extLst>
              <a:ext uri="{FF2B5EF4-FFF2-40B4-BE49-F238E27FC236}">
                <a16:creationId xmlns:a16="http://schemas.microsoft.com/office/drawing/2014/main" id="{2E9E39B9-7B59-4D61-9FFB-2F42B84C0FB1}"/>
              </a:ext>
            </a:extLst>
          </p:cNvPr>
          <p:cNvSpPr txBox="1"/>
          <p:nvPr/>
        </p:nvSpPr>
        <p:spPr>
          <a:xfrm>
            <a:off x="4197346" y="1870484"/>
            <a:ext cx="3797304" cy="543867"/>
          </a:xfrm>
          <a:prstGeom prst="rect">
            <a:avLst/>
          </a:prstGeom>
          <a:noFill/>
        </p:spPr>
        <p:txBody>
          <a:bodyPr wrap="square" rtlCol="0">
            <a:spAutoFit/>
          </a:bodyPr>
          <a:lstStyle/>
          <a:p>
            <a:pPr marL="0" marR="0" lvl="0" indent="0" algn="ctr" defTabSz="914400" rtl="0" eaLnBrk="1" fontAlgn="auto" latinLnBrk="0" hangingPunct="1">
              <a:lnSpc>
                <a:spcPts val="19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lumMod val="50000"/>
                    <a:lumOff val="50000"/>
                  </a:prstClr>
                </a:solidFill>
                <a:effectLst/>
                <a:uLnTx/>
                <a:uFillTx/>
                <a:latin typeface="HarmonyOS Sans SC"/>
                <a:cs typeface="+mn-cs"/>
              </a:rPr>
              <a:t>Lorem ipsum dolor sit </a:t>
            </a:r>
            <a:r>
              <a:rPr kumimoji="0" lang="en-US" sz="800" b="0" i="0" u="none" strike="noStrike" kern="1200" cap="none" spc="0" normalizeH="0" baseline="0" noProof="0" dirty="0" err="1">
                <a:ln>
                  <a:noFill/>
                </a:ln>
                <a:solidFill>
                  <a:prstClr val="black">
                    <a:lumMod val="50000"/>
                    <a:lumOff val="50000"/>
                  </a:prstClr>
                </a:solidFill>
                <a:effectLst/>
                <a:uLnTx/>
                <a:uFillTx/>
                <a:latin typeface="HarmonyOS Sans SC"/>
                <a:cs typeface="+mn-cs"/>
              </a:rPr>
              <a:t>amet</a:t>
            </a:r>
            <a:r>
              <a:rPr kumimoji="0" lang="en-US" sz="800" b="0" i="0" u="none" strike="noStrike" kern="1200" cap="none" spc="0" normalizeH="0" baseline="0" noProof="0" dirty="0">
                <a:ln>
                  <a:noFill/>
                </a:ln>
                <a:solidFill>
                  <a:prstClr val="black">
                    <a:lumMod val="50000"/>
                    <a:lumOff val="50000"/>
                  </a:prstClr>
                </a:solidFill>
                <a:effectLst/>
                <a:uLnTx/>
                <a:uFillTx/>
                <a:latin typeface="HarmonyOS Sans SC"/>
                <a:cs typeface="+mn-cs"/>
              </a:rPr>
              <a:t>, </a:t>
            </a:r>
            <a:r>
              <a:rPr kumimoji="0" lang="en-US" sz="800" b="0" i="0" u="none" strike="noStrike" kern="1200" cap="none" spc="0" normalizeH="0" baseline="0" noProof="0" dirty="0" err="1">
                <a:ln>
                  <a:noFill/>
                </a:ln>
                <a:solidFill>
                  <a:prstClr val="black">
                    <a:lumMod val="50000"/>
                    <a:lumOff val="50000"/>
                  </a:prstClr>
                </a:solidFill>
                <a:effectLst/>
                <a:uLnTx/>
                <a:uFillTx/>
                <a:latin typeface="HarmonyOS Sans SC"/>
                <a:cs typeface="+mn-cs"/>
              </a:rPr>
              <a:t>consectetur</a:t>
            </a:r>
            <a:r>
              <a:rPr kumimoji="0" lang="en-US" sz="800" b="0" i="0" u="none" strike="noStrike" kern="1200" cap="none" spc="0" normalizeH="0" baseline="0" noProof="0" dirty="0">
                <a:ln>
                  <a:noFill/>
                </a:ln>
                <a:solidFill>
                  <a:prstClr val="black">
                    <a:lumMod val="50000"/>
                    <a:lumOff val="50000"/>
                  </a:prstClr>
                </a:solidFill>
                <a:effectLst/>
                <a:uLnTx/>
                <a:uFillTx/>
                <a:latin typeface="HarmonyOS Sans SC"/>
                <a:cs typeface="+mn-cs"/>
              </a:rPr>
              <a:t> </a:t>
            </a:r>
            <a:r>
              <a:rPr kumimoji="0" lang="en-US" sz="800" b="0" i="0" u="none" strike="noStrike" kern="1200" cap="none" spc="0" normalizeH="0" baseline="0" noProof="0" dirty="0" err="1">
                <a:ln>
                  <a:noFill/>
                </a:ln>
                <a:solidFill>
                  <a:prstClr val="black">
                    <a:lumMod val="50000"/>
                    <a:lumOff val="50000"/>
                  </a:prstClr>
                </a:solidFill>
                <a:effectLst/>
                <a:uLnTx/>
                <a:uFillTx/>
                <a:latin typeface="HarmonyOS Sans SC"/>
                <a:cs typeface="+mn-cs"/>
              </a:rPr>
              <a:t>adipiscing</a:t>
            </a:r>
            <a:r>
              <a:rPr kumimoji="0" lang="en-US" sz="800" b="0" i="0" u="none" strike="noStrike" kern="1200" cap="none" spc="0" normalizeH="0" baseline="0" noProof="0" dirty="0">
                <a:ln>
                  <a:noFill/>
                </a:ln>
                <a:solidFill>
                  <a:prstClr val="black">
                    <a:lumMod val="50000"/>
                    <a:lumOff val="50000"/>
                  </a:prstClr>
                </a:solidFill>
                <a:effectLst/>
                <a:uLnTx/>
                <a:uFillTx/>
                <a:latin typeface="HarmonyOS Sans SC"/>
                <a:cs typeface="+mn-cs"/>
              </a:rPr>
              <a:t> </a:t>
            </a:r>
            <a:r>
              <a:rPr kumimoji="0" lang="en-US" sz="800" b="0" i="0" u="none" strike="noStrike" kern="1200" cap="none" spc="0" normalizeH="0" baseline="0" noProof="0" dirty="0" err="1">
                <a:ln>
                  <a:noFill/>
                </a:ln>
                <a:solidFill>
                  <a:prstClr val="black">
                    <a:lumMod val="50000"/>
                    <a:lumOff val="50000"/>
                  </a:prstClr>
                </a:solidFill>
                <a:effectLst/>
                <a:uLnTx/>
                <a:uFillTx/>
                <a:latin typeface="HarmonyOS Sans SC"/>
                <a:cs typeface="+mn-cs"/>
              </a:rPr>
              <a:t>elit</a:t>
            </a:r>
            <a:r>
              <a:rPr kumimoji="0" lang="en-US" sz="800" b="0" i="0" u="none" strike="noStrike" kern="1200" cap="none" spc="0" normalizeH="0" baseline="0" noProof="0" dirty="0">
                <a:ln>
                  <a:noFill/>
                </a:ln>
                <a:solidFill>
                  <a:prstClr val="black">
                    <a:lumMod val="50000"/>
                    <a:lumOff val="50000"/>
                  </a:prstClr>
                </a:solidFill>
                <a:effectLst/>
                <a:uLnTx/>
                <a:uFillTx/>
                <a:latin typeface="HarmonyOS Sans SC"/>
                <a:cs typeface="+mn-cs"/>
              </a:rPr>
              <a:t>. </a:t>
            </a:r>
            <a:r>
              <a:rPr kumimoji="0" lang="en-US" sz="800" b="0" i="0" u="none" strike="noStrike" kern="1200" cap="none" spc="0" normalizeH="0" baseline="0" noProof="0" dirty="0" err="1">
                <a:ln>
                  <a:noFill/>
                </a:ln>
                <a:solidFill>
                  <a:prstClr val="black">
                    <a:lumMod val="50000"/>
                    <a:lumOff val="50000"/>
                  </a:prstClr>
                </a:solidFill>
                <a:effectLst/>
                <a:uLnTx/>
                <a:uFillTx/>
                <a:latin typeface="HarmonyOS Sans SC"/>
                <a:cs typeface="+mn-cs"/>
              </a:rPr>
              <a:t>Etiam</a:t>
            </a:r>
            <a:r>
              <a:rPr kumimoji="0" lang="en-US" sz="800" b="0" i="0" u="none" strike="noStrike" kern="1200" cap="none" spc="0" normalizeH="0" baseline="0" noProof="0" dirty="0">
                <a:ln>
                  <a:noFill/>
                </a:ln>
                <a:solidFill>
                  <a:prstClr val="black">
                    <a:lumMod val="50000"/>
                    <a:lumOff val="50000"/>
                  </a:prstClr>
                </a:solidFill>
                <a:effectLst/>
                <a:uLnTx/>
                <a:uFillTx/>
                <a:latin typeface="HarmonyOS Sans SC"/>
                <a:cs typeface="+mn-cs"/>
              </a:rPr>
              <a:t> </a:t>
            </a:r>
            <a:r>
              <a:rPr kumimoji="0" lang="en-US" sz="800" b="0" i="0" u="none" strike="noStrike" kern="1200" cap="none" spc="0" normalizeH="0" baseline="0" noProof="0" dirty="0" err="1">
                <a:ln>
                  <a:noFill/>
                </a:ln>
                <a:solidFill>
                  <a:prstClr val="black">
                    <a:lumMod val="50000"/>
                    <a:lumOff val="50000"/>
                  </a:prstClr>
                </a:solidFill>
                <a:effectLst/>
                <a:uLnTx/>
                <a:uFillTx/>
                <a:latin typeface="HarmonyOS Sans SC"/>
                <a:cs typeface="+mn-cs"/>
              </a:rPr>
              <a:t>eget</a:t>
            </a:r>
            <a:r>
              <a:rPr kumimoji="0" lang="en-US" sz="800" b="0" i="0" u="none" strike="noStrike" kern="1200" cap="none" spc="0" normalizeH="0" baseline="0" noProof="0" dirty="0">
                <a:ln>
                  <a:noFill/>
                </a:ln>
                <a:solidFill>
                  <a:prstClr val="black">
                    <a:lumMod val="50000"/>
                    <a:lumOff val="50000"/>
                  </a:prstClr>
                </a:solidFill>
                <a:effectLst/>
                <a:uLnTx/>
                <a:uFillTx/>
                <a:latin typeface="HarmonyOS Sans SC"/>
                <a:cs typeface="+mn-cs"/>
              </a:rPr>
              <a:t> </a:t>
            </a:r>
            <a:r>
              <a:rPr kumimoji="0" lang="en-US" sz="800" b="0" i="0" u="none" strike="noStrike" kern="1200" cap="none" spc="0" normalizeH="0" baseline="0" noProof="0" dirty="0" err="1">
                <a:ln>
                  <a:noFill/>
                </a:ln>
                <a:solidFill>
                  <a:prstClr val="black">
                    <a:lumMod val="50000"/>
                    <a:lumOff val="50000"/>
                  </a:prstClr>
                </a:solidFill>
                <a:effectLst/>
                <a:uLnTx/>
                <a:uFillTx/>
                <a:latin typeface="HarmonyOS Sans SC"/>
                <a:cs typeface="+mn-cs"/>
              </a:rPr>
              <a:t>quam</a:t>
            </a:r>
            <a:r>
              <a:rPr kumimoji="0" lang="en-US" sz="800" b="0" i="0" u="none" strike="noStrike" kern="1200" cap="none" spc="0" normalizeH="0" baseline="0" noProof="0" dirty="0">
                <a:ln>
                  <a:noFill/>
                </a:ln>
                <a:solidFill>
                  <a:prstClr val="black">
                    <a:lumMod val="50000"/>
                    <a:lumOff val="50000"/>
                  </a:prstClr>
                </a:solidFill>
                <a:effectLst/>
                <a:uLnTx/>
                <a:uFillTx/>
                <a:latin typeface="HarmonyOS Sans SC"/>
                <a:cs typeface="+mn-cs"/>
              </a:rPr>
              <a:t> </a:t>
            </a:r>
            <a:r>
              <a:rPr kumimoji="0" lang="en-US" sz="800" b="0" i="0" u="none" strike="noStrike" kern="1200" cap="none" spc="0" normalizeH="0" baseline="0" noProof="0" dirty="0" err="1">
                <a:ln>
                  <a:noFill/>
                </a:ln>
                <a:solidFill>
                  <a:prstClr val="black">
                    <a:lumMod val="50000"/>
                    <a:lumOff val="50000"/>
                  </a:prstClr>
                </a:solidFill>
                <a:effectLst/>
                <a:uLnTx/>
                <a:uFillTx/>
                <a:latin typeface="HarmonyOS Sans SC"/>
                <a:cs typeface="+mn-cs"/>
              </a:rPr>
              <a:t>lacus</a:t>
            </a:r>
            <a:r>
              <a:rPr kumimoji="0" lang="en-US" sz="800" b="0" i="0" u="none" strike="noStrike" kern="1200" cap="none" spc="0" normalizeH="0" baseline="0" noProof="0" dirty="0">
                <a:ln>
                  <a:noFill/>
                </a:ln>
                <a:solidFill>
                  <a:prstClr val="black">
                    <a:lumMod val="50000"/>
                    <a:lumOff val="50000"/>
                  </a:prstClr>
                </a:solidFill>
                <a:effectLst/>
                <a:uLnTx/>
                <a:uFillTx/>
                <a:latin typeface="HarmonyOS Sans SC"/>
                <a:cs typeface="+mn-cs"/>
              </a:rPr>
              <a:t>. </a:t>
            </a:r>
            <a:r>
              <a:rPr kumimoji="0" lang="en-US" sz="800" b="0" i="0" u="none" strike="noStrike" kern="1200" cap="none" spc="0" normalizeH="0" baseline="0" noProof="0" dirty="0" err="1">
                <a:ln>
                  <a:noFill/>
                </a:ln>
                <a:solidFill>
                  <a:prstClr val="black">
                    <a:lumMod val="50000"/>
                    <a:lumOff val="50000"/>
                  </a:prstClr>
                </a:solidFill>
                <a:effectLst/>
                <a:uLnTx/>
                <a:uFillTx/>
                <a:latin typeface="HarmonyOS Sans SC"/>
                <a:cs typeface="+mn-cs"/>
              </a:rPr>
              <a:t>Vivamus</a:t>
            </a:r>
            <a:r>
              <a:rPr kumimoji="0" lang="en-US" sz="800" b="0" i="0" u="none" strike="noStrike" kern="1200" cap="none" spc="0" normalizeH="0" baseline="0" noProof="0" dirty="0">
                <a:ln>
                  <a:noFill/>
                </a:ln>
                <a:solidFill>
                  <a:prstClr val="black">
                    <a:lumMod val="50000"/>
                    <a:lumOff val="50000"/>
                  </a:prstClr>
                </a:solidFill>
                <a:effectLst/>
                <a:uLnTx/>
                <a:uFillTx/>
                <a:latin typeface="HarmonyOS Sans SC"/>
                <a:cs typeface="+mn-cs"/>
              </a:rPr>
              <a:t> </a:t>
            </a:r>
            <a:r>
              <a:rPr kumimoji="0" lang="en-US" sz="800" b="0" i="0" u="none" strike="noStrike" kern="1200" cap="none" spc="0" normalizeH="0" baseline="0" noProof="0" dirty="0" err="1">
                <a:ln>
                  <a:noFill/>
                </a:ln>
                <a:solidFill>
                  <a:prstClr val="black">
                    <a:lumMod val="50000"/>
                    <a:lumOff val="50000"/>
                  </a:prstClr>
                </a:solidFill>
                <a:effectLst/>
                <a:uLnTx/>
                <a:uFillTx/>
                <a:latin typeface="HarmonyOS Sans SC"/>
                <a:cs typeface="+mn-cs"/>
              </a:rPr>
              <a:t>laoreet</a:t>
            </a:r>
            <a:r>
              <a:rPr kumimoji="0" lang="en-US" sz="800" b="0" i="0" u="none" strike="noStrike" kern="1200" cap="none" spc="0" normalizeH="0" baseline="0" noProof="0" dirty="0">
                <a:ln>
                  <a:noFill/>
                </a:ln>
                <a:solidFill>
                  <a:prstClr val="black">
                    <a:lumMod val="50000"/>
                    <a:lumOff val="50000"/>
                  </a:prstClr>
                </a:solidFill>
                <a:effectLst/>
                <a:uLnTx/>
                <a:uFillTx/>
                <a:latin typeface="HarmonyOS Sans SC"/>
                <a:cs typeface="+mn-cs"/>
              </a:rPr>
              <a:t> tempus </a:t>
            </a:r>
            <a:r>
              <a:rPr kumimoji="0" lang="en-US" sz="800" b="0" i="0" u="none" strike="noStrike" kern="1200" cap="none" spc="0" normalizeH="0" baseline="0" noProof="0" dirty="0" err="1">
                <a:ln>
                  <a:noFill/>
                </a:ln>
                <a:solidFill>
                  <a:prstClr val="black">
                    <a:lumMod val="50000"/>
                    <a:lumOff val="50000"/>
                  </a:prstClr>
                </a:solidFill>
                <a:effectLst/>
                <a:uLnTx/>
                <a:uFillTx/>
                <a:latin typeface="HarmonyOS Sans SC"/>
                <a:cs typeface="+mn-cs"/>
              </a:rPr>
              <a:t>lacus</a:t>
            </a:r>
            <a:r>
              <a:rPr kumimoji="0" lang="en-US" sz="800" b="0" i="0" u="none" strike="noStrike" kern="1200" cap="none" spc="0" normalizeH="0" baseline="0" noProof="0" dirty="0">
                <a:ln>
                  <a:noFill/>
                </a:ln>
                <a:solidFill>
                  <a:prstClr val="black">
                    <a:lumMod val="50000"/>
                    <a:lumOff val="50000"/>
                  </a:prstClr>
                </a:solidFill>
                <a:effectLst/>
                <a:uLnTx/>
                <a:uFillTx/>
                <a:latin typeface="HarmonyOS Sans SC"/>
                <a:cs typeface="+mn-cs"/>
              </a:rPr>
              <a:t>, in </a:t>
            </a:r>
            <a:r>
              <a:rPr kumimoji="0" lang="en-US" sz="800" b="0" i="0" u="none" strike="noStrike" kern="1200" cap="none" spc="0" normalizeH="0" baseline="0" noProof="0" dirty="0" err="1">
                <a:ln>
                  <a:noFill/>
                </a:ln>
                <a:solidFill>
                  <a:prstClr val="black">
                    <a:lumMod val="50000"/>
                    <a:lumOff val="50000"/>
                  </a:prstClr>
                </a:solidFill>
                <a:effectLst/>
                <a:uLnTx/>
                <a:uFillTx/>
                <a:latin typeface="HarmonyOS Sans SC"/>
                <a:cs typeface="+mn-cs"/>
              </a:rPr>
              <a:t>ultricies</a:t>
            </a:r>
            <a:r>
              <a:rPr kumimoji="0" lang="en-US" sz="800" b="0" i="0" u="none" strike="noStrike" kern="1200" cap="none" spc="0" normalizeH="0" baseline="0" noProof="0" dirty="0">
                <a:ln>
                  <a:noFill/>
                </a:ln>
                <a:solidFill>
                  <a:prstClr val="black">
                    <a:lumMod val="50000"/>
                    <a:lumOff val="50000"/>
                  </a:prstClr>
                </a:solidFill>
                <a:effectLst/>
                <a:uLnTx/>
                <a:uFillTx/>
                <a:latin typeface="HarmonyOS Sans SC"/>
                <a:cs typeface="+mn-cs"/>
              </a:rPr>
              <a:t> dui </a:t>
            </a:r>
            <a:r>
              <a:rPr kumimoji="0" lang="en-US" sz="800" b="0" i="0" u="none" strike="noStrike" kern="1200" cap="none" spc="0" normalizeH="0" baseline="0" noProof="0" dirty="0" err="1">
                <a:ln>
                  <a:noFill/>
                </a:ln>
                <a:solidFill>
                  <a:prstClr val="black">
                    <a:lumMod val="50000"/>
                    <a:lumOff val="50000"/>
                  </a:prstClr>
                </a:solidFill>
                <a:effectLst/>
                <a:uLnTx/>
                <a:uFillTx/>
                <a:latin typeface="HarmonyOS Sans SC"/>
                <a:cs typeface="+mn-cs"/>
              </a:rPr>
              <a:t>vehicula</a:t>
            </a:r>
            <a:r>
              <a:rPr kumimoji="0" lang="en-US" sz="800" b="0" i="0" u="none" strike="noStrike" kern="1200" cap="none" spc="0" normalizeH="0" baseline="0" noProof="0" dirty="0">
                <a:ln>
                  <a:noFill/>
                </a:ln>
                <a:solidFill>
                  <a:prstClr val="black">
                    <a:lumMod val="50000"/>
                    <a:lumOff val="50000"/>
                  </a:prstClr>
                </a:solidFill>
                <a:effectLst/>
                <a:uLnTx/>
                <a:uFillTx/>
                <a:latin typeface="HarmonyOS Sans SC"/>
                <a:cs typeface="+mn-cs"/>
              </a:rPr>
              <a:t> in. </a:t>
            </a:r>
          </a:p>
        </p:txBody>
      </p:sp>
      <p:sp>
        <p:nvSpPr>
          <p:cNvPr id="20" name="TextBox 63">
            <a:extLst>
              <a:ext uri="{FF2B5EF4-FFF2-40B4-BE49-F238E27FC236}">
                <a16:creationId xmlns:a16="http://schemas.microsoft.com/office/drawing/2014/main" id="{B5734745-7090-4C7E-B19B-1AD8798B0F03}"/>
              </a:ext>
            </a:extLst>
          </p:cNvPr>
          <p:cNvSpPr txBox="1"/>
          <p:nvPr/>
        </p:nvSpPr>
        <p:spPr>
          <a:xfrm>
            <a:off x="4865493" y="1592263"/>
            <a:ext cx="2461010" cy="307777"/>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lumMod val="75000"/>
                    <a:lumOff val="25000"/>
                  </a:prstClr>
                </a:solidFill>
                <a:effectLst/>
                <a:uLnTx/>
                <a:uFillTx/>
                <a:latin typeface="HarmonyOS Sans SC Black"/>
                <a:ea typeface="+mj-ea"/>
                <a:cs typeface="+mn-cs"/>
              </a:rPr>
              <a:t>CREATIVE LINE</a:t>
            </a:r>
          </a:p>
        </p:txBody>
      </p:sp>
    </p:spTree>
    <p:extLst>
      <p:ext uri="{BB962C8B-B14F-4D97-AF65-F5344CB8AC3E}">
        <p14:creationId xmlns:p14="http://schemas.microsoft.com/office/powerpoint/2010/main" val="3963591304"/>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4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Line">
            <a:extLst>
              <a:ext uri="{FF2B5EF4-FFF2-40B4-BE49-F238E27FC236}">
                <a16:creationId xmlns:a16="http://schemas.microsoft.com/office/drawing/2014/main" id="{855BE8BC-70BE-4C4D-AAB5-30985FEF3745}"/>
              </a:ext>
            </a:extLst>
          </p:cNvPr>
          <p:cNvSpPr/>
          <p:nvPr/>
        </p:nvSpPr>
        <p:spPr>
          <a:xfrm>
            <a:off x="6765001" y="2359177"/>
            <a:ext cx="2320797" cy="1"/>
          </a:xfrm>
          <a:prstGeom prst="line">
            <a:avLst/>
          </a:prstGeom>
          <a:ln w="12700">
            <a:solidFill>
              <a:schemeClr val="accent1">
                <a:lumMod val="20000"/>
                <a:lumOff val="80000"/>
              </a:schemeClr>
            </a:solidFill>
            <a:miter lim="400000"/>
            <a:tailEnd type="oval"/>
          </a:ln>
        </p:spPr>
        <p:txBody>
          <a:bodyPr lIns="0" tIns="0" rIns="0" bIns="0" anchor="ctr"/>
          <a:lstStyle/>
          <a:p>
            <a:pPr marL="0" marR="0" lvl="0" indent="0" algn="ctr" defTabSz="412750" rtl="0" eaLnBrk="1" fontAlgn="auto" latinLnBrk="0" hangingPunct="0">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1600" b="0" i="0" u="none" strike="noStrike" kern="0" cap="none" spc="0" normalizeH="0" baseline="0" noProof="0">
              <a:ln>
                <a:noFill/>
              </a:ln>
              <a:solidFill>
                <a:srgbClr val="FFFFFF"/>
              </a:solidFill>
              <a:effectLst/>
              <a:uLnTx/>
              <a:uFillTx/>
              <a:latin typeface="HarmonyOS Sans SC"/>
              <a:cs typeface="+mn-cs"/>
              <a:sym typeface="Helvetica Neue Medium"/>
            </a:endParaRPr>
          </a:p>
        </p:txBody>
      </p:sp>
      <p:sp>
        <p:nvSpPr>
          <p:cNvPr id="4" name="Line">
            <a:extLst>
              <a:ext uri="{FF2B5EF4-FFF2-40B4-BE49-F238E27FC236}">
                <a16:creationId xmlns:a16="http://schemas.microsoft.com/office/drawing/2014/main" id="{021B5ED0-F13F-4884-945F-649D660013B5}"/>
              </a:ext>
            </a:extLst>
          </p:cNvPr>
          <p:cNvSpPr/>
          <p:nvPr/>
        </p:nvSpPr>
        <p:spPr>
          <a:xfrm>
            <a:off x="8035001" y="4374783"/>
            <a:ext cx="1050797" cy="1"/>
          </a:xfrm>
          <a:prstGeom prst="line">
            <a:avLst/>
          </a:prstGeom>
          <a:ln w="12700">
            <a:solidFill>
              <a:schemeClr val="accent1">
                <a:lumMod val="20000"/>
                <a:lumOff val="80000"/>
              </a:schemeClr>
            </a:solidFill>
            <a:miter lim="400000"/>
            <a:tailEnd type="oval"/>
          </a:ln>
        </p:spPr>
        <p:txBody>
          <a:bodyPr lIns="0" tIns="0" rIns="0" bIns="0" anchor="ctr"/>
          <a:lstStyle/>
          <a:p>
            <a:pPr marL="0" marR="0" lvl="0" indent="0" algn="ctr" defTabSz="412750" rtl="0" eaLnBrk="1" fontAlgn="auto" latinLnBrk="0" hangingPunct="0">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1600" b="0" i="0" u="none" strike="noStrike" kern="0" cap="none" spc="0" normalizeH="0" baseline="0" noProof="0">
              <a:ln>
                <a:noFill/>
              </a:ln>
              <a:solidFill>
                <a:srgbClr val="FFFFFF"/>
              </a:solidFill>
              <a:effectLst/>
              <a:uLnTx/>
              <a:uFillTx/>
              <a:latin typeface="HarmonyOS Sans SC"/>
              <a:cs typeface="+mn-cs"/>
              <a:sym typeface="Helvetica Neue Medium"/>
            </a:endParaRPr>
          </a:p>
        </p:txBody>
      </p:sp>
      <p:sp>
        <p:nvSpPr>
          <p:cNvPr id="12" name="Line">
            <a:extLst>
              <a:ext uri="{FF2B5EF4-FFF2-40B4-BE49-F238E27FC236}">
                <a16:creationId xmlns:a16="http://schemas.microsoft.com/office/drawing/2014/main" id="{A99415A2-86FC-40EE-8604-3AC4558E37D0}"/>
              </a:ext>
            </a:extLst>
          </p:cNvPr>
          <p:cNvSpPr/>
          <p:nvPr/>
        </p:nvSpPr>
        <p:spPr>
          <a:xfrm>
            <a:off x="3106203" y="4374783"/>
            <a:ext cx="1050797" cy="1"/>
          </a:xfrm>
          <a:prstGeom prst="line">
            <a:avLst/>
          </a:prstGeom>
          <a:ln w="12700">
            <a:solidFill>
              <a:schemeClr val="accent1">
                <a:lumMod val="20000"/>
                <a:lumOff val="80000"/>
              </a:schemeClr>
            </a:solidFill>
            <a:miter lim="400000"/>
            <a:headEnd type="oval"/>
          </a:ln>
        </p:spPr>
        <p:txBody>
          <a:bodyPr lIns="0" tIns="0" rIns="0" bIns="0" anchor="ctr"/>
          <a:lstStyle/>
          <a:p>
            <a:pPr marL="0" marR="0" lvl="0" indent="0" algn="ctr" defTabSz="412750" rtl="0" eaLnBrk="1" fontAlgn="auto" latinLnBrk="0" hangingPunct="0">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1600" b="0" i="0" u="none" strike="noStrike" kern="0" cap="none" spc="0" normalizeH="0" baseline="0" noProof="0">
              <a:ln>
                <a:noFill/>
              </a:ln>
              <a:solidFill>
                <a:srgbClr val="FFFFFF"/>
              </a:solidFill>
              <a:effectLst/>
              <a:uLnTx/>
              <a:uFillTx/>
              <a:latin typeface="HarmonyOS Sans SC"/>
              <a:cs typeface="+mn-cs"/>
              <a:sym typeface="Helvetica Neue Medium"/>
            </a:endParaRPr>
          </a:p>
        </p:txBody>
      </p:sp>
      <p:sp>
        <p:nvSpPr>
          <p:cNvPr id="5" name="Shape">
            <a:extLst>
              <a:ext uri="{FF2B5EF4-FFF2-40B4-BE49-F238E27FC236}">
                <a16:creationId xmlns:a16="http://schemas.microsoft.com/office/drawing/2014/main" id="{F27602C5-A1CC-45F5-A0F9-FF475AC31FCE}"/>
              </a:ext>
            </a:extLst>
          </p:cNvPr>
          <p:cNvSpPr/>
          <p:nvPr/>
        </p:nvSpPr>
        <p:spPr>
          <a:xfrm>
            <a:off x="4831735" y="1269736"/>
            <a:ext cx="2527813" cy="2178883"/>
          </a:xfrm>
          <a:custGeom>
            <a:avLst/>
            <a:gdLst/>
            <a:ahLst/>
            <a:cxnLst>
              <a:cxn ang="0">
                <a:pos x="wd2" y="hd2"/>
              </a:cxn>
              <a:cxn ang="5400000">
                <a:pos x="wd2" y="hd2"/>
              </a:cxn>
              <a:cxn ang="10800000">
                <a:pos x="wd2" y="hd2"/>
              </a:cxn>
              <a:cxn ang="16200000">
                <a:pos x="wd2" y="hd2"/>
              </a:cxn>
            </a:cxnLst>
            <a:rect l="0" t="0" r="r" b="b"/>
            <a:pathLst>
              <a:path w="21600" h="21600" extrusionOk="0">
                <a:moveTo>
                  <a:pt x="18098" y="21591"/>
                </a:moveTo>
                <a:lnTo>
                  <a:pt x="21600" y="19242"/>
                </a:lnTo>
                <a:lnTo>
                  <a:pt x="12881" y="1722"/>
                </a:lnTo>
                <a:cubicBezTo>
                  <a:pt x="12310" y="574"/>
                  <a:pt x="11557" y="0"/>
                  <a:pt x="10804" y="0"/>
                </a:cubicBezTo>
                <a:cubicBezTo>
                  <a:pt x="10050" y="0"/>
                  <a:pt x="9297" y="574"/>
                  <a:pt x="8726" y="1722"/>
                </a:cubicBezTo>
                <a:lnTo>
                  <a:pt x="0" y="19256"/>
                </a:lnTo>
                <a:lnTo>
                  <a:pt x="3503" y="21600"/>
                </a:lnTo>
                <a:cubicBezTo>
                  <a:pt x="5163" y="19021"/>
                  <a:pt x="7815" y="17351"/>
                  <a:pt x="10804" y="17351"/>
                </a:cubicBezTo>
                <a:cubicBezTo>
                  <a:pt x="13788" y="17351"/>
                  <a:pt x="16437" y="19017"/>
                  <a:pt x="18098" y="21591"/>
                </a:cubicBezTo>
                <a:close/>
              </a:path>
            </a:pathLst>
          </a:custGeom>
          <a:gradFill flip="none" rotWithShape="1">
            <a:gsLst>
              <a:gs pos="73000">
                <a:schemeClr val="accent1">
                  <a:lumMod val="60000"/>
                  <a:lumOff val="40000"/>
                </a:schemeClr>
              </a:gs>
              <a:gs pos="0">
                <a:schemeClr val="accent1"/>
              </a:gs>
              <a:gs pos="100000">
                <a:schemeClr val="accent1">
                  <a:lumMod val="40000"/>
                  <a:lumOff val="60000"/>
                </a:schemeClr>
              </a:gs>
            </a:gsLst>
            <a:path path="circle">
              <a:fillToRect l="100000" t="100000"/>
            </a:path>
            <a:tileRect r="-100000" b="-100000"/>
          </a:gradFill>
          <a:ln w="12700">
            <a:miter lim="400000"/>
          </a:ln>
        </p:spPr>
        <p:txBody>
          <a:bodyPr lIns="22860" rIns="22860" anchor="ctr"/>
          <a:lstStyle/>
          <a:p>
            <a:pPr marL="0" marR="0" lvl="0" indent="0" algn="ctr" defTabSz="412750" rtl="0" eaLnBrk="1" fontAlgn="auto" latinLnBrk="0" hangingPunct="0">
              <a:lnSpc>
                <a:spcPct val="120000"/>
              </a:lnSpc>
              <a:spcBef>
                <a:spcPts val="0"/>
              </a:spcBef>
              <a:spcAft>
                <a:spcPts val="0"/>
              </a:spcAft>
              <a:buClrTx/>
              <a:buSzTx/>
              <a:buFontTx/>
              <a:buNone/>
              <a:tabLst/>
              <a:defRPr sz="5500" b="0">
                <a:solidFill>
                  <a:srgbClr val="F6F8FF"/>
                </a:solidFill>
                <a:latin typeface="Aileron Heavy"/>
                <a:ea typeface="Aileron Heavy"/>
                <a:cs typeface="Aileron Heavy"/>
                <a:sym typeface="Aileron Heavy"/>
              </a:defRPr>
            </a:pPr>
            <a:r>
              <a:rPr kumimoji="0" lang="en-US" sz="2750" b="0" i="0" u="none" strike="noStrike" kern="0" cap="none" spc="0" normalizeH="0" baseline="0" noProof="0">
                <a:ln>
                  <a:noFill/>
                </a:ln>
                <a:solidFill>
                  <a:srgbClr val="F6F8FF"/>
                </a:solidFill>
                <a:effectLst/>
                <a:uLnTx/>
                <a:uFillTx/>
                <a:latin typeface="HarmonyOS Sans SC Black"/>
                <a:ea typeface="+mj-ea"/>
                <a:sym typeface="Aileron Heavy"/>
              </a:rPr>
              <a:t>30</a:t>
            </a:r>
            <a:r>
              <a:rPr kumimoji="0" lang="en-US" sz="500" b="0" i="0" u="none" strike="noStrike" kern="0" cap="none" spc="0" normalizeH="0" baseline="0" noProof="0">
                <a:ln>
                  <a:noFill/>
                </a:ln>
                <a:solidFill>
                  <a:srgbClr val="F6F8FF"/>
                </a:solidFill>
                <a:effectLst/>
                <a:uLnTx/>
                <a:uFillTx/>
                <a:latin typeface="HarmonyOS Sans SC Black"/>
                <a:ea typeface="+mj-ea"/>
                <a:sym typeface="Aileron Heavy"/>
              </a:rPr>
              <a:t>%</a:t>
            </a:r>
            <a:endParaRPr kumimoji="0" lang="en-US" sz="500" b="0" i="0" u="none" strike="noStrike" kern="0" cap="none" spc="0" normalizeH="0" baseline="0" noProof="0" dirty="0">
              <a:ln>
                <a:noFill/>
              </a:ln>
              <a:solidFill>
                <a:srgbClr val="F6F8FF"/>
              </a:solidFill>
              <a:effectLst/>
              <a:uLnTx/>
              <a:uFillTx/>
              <a:latin typeface="HarmonyOS Sans SC Black"/>
              <a:ea typeface="+mj-ea"/>
              <a:sym typeface="Aileron Heavy"/>
            </a:endParaRPr>
          </a:p>
        </p:txBody>
      </p:sp>
      <p:sp>
        <p:nvSpPr>
          <p:cNvPr id="6" name="Shape">
            <a:extLst>
              <a:ext uri="{FF2B5EF4-FFF2-40B4-BE49-F238E27FC236}">
                <a16:creationId xmlns:a16="http://schemas.microsoft.com/office/drawing/2014/main" id="{41DC1AE2-B43C-4875-8C2E-C5454B836EA3}"/>
              </a:ext>
            </a:extLst>
          </p:cNvPr>
          <p:cNvSpPr/>
          <p:nvPr/>
        </p:nvSpPr>
        <p:spPr>
          <a:xfrm>
            <a:off x="6219198" y="3416999"/>
            <a:ext cx="2330321" cy="2171266"/>
          </a:xfrm>
          <a:custGeom>
            <a:avLst/>
            <a:gdLst/>
            <a:ahLst/>
            <a:cxnLst>
              <a:cxn ang="0">
                <a:pos x="wd2" y="hd2"/>
              </a:cxn>
              <a:cxn ang="5400000">
                <a:pos x="wd2" y="hd2"/>
              </a:cxn>
              <a:cxn ang="10800000">
                <a:pos x="wd2" y="hd2"/>
              </a:cxn>
              <a:cxn ang="16200000">
                <a:pos x="wd2" y="hd2"/>
              </a:cxn>
            </a:cxnLst>
            <a:rect l="0" t="0" r="r" b="b"/>
            <a:pathLst>
              <a:path w="21451" h="21600" extrusionOk="0">
                <a:moveTo>
                  <a:pt x="20927" y="17411"/>
                </a:moveTo>
                <a:lnTo>
                  <a:pt x="11625" y="0"/>
                </a:lnTo>
                <a:lnTo>
                  <a:pt x="7861" y="2351"/>
                </a:lnTo>
                <a:cubicBezTo>
                  <a:pt x="8391" y="3654"/>
                  <a:pt x="8685" y="5094"/>
                  <a:pt x="8685" y="6609"/>
                </a:cubicBezTo>
                <a:cubicBezTo>
                  <a:pt x="8685" y="8527"/>
                  <a:pt x="8213" y="10327"/>
                  <a:pt x="7388" y="11879"/>
                </a:cubicBezTo>
                <a:cubicBezTo>
                  <a:pt x="5873" y="14732"/>
                  <a:pt x="3165" y="16750"/>
                  <a:pt x="0" y="17141"/>
                </a:cubicBezTo>
                <a:lnTo>
                  <a:pt x="2" y="21600"/>
                </a:lnTo>
                <a:lnTo>
                  <a:pt x="18688" y="21600"/>
                </a:lnTo>
                <a:cubicBezTo>
                  <a:pt x="19869" y="21600"/>
                  <a:pt x="20714" y="21165"/>
                  <a:pt x="21139" y="20459"/>
                </a:cubicBezTo>
                <a:cubicBezTo>
                  <a:pt x="21600" y="19694"/>
                  <a:pt x="21566" y="18609"/>
                  <a:pt x="20927" y="17411"/>
                </a:cubicBezTo>
                <a:close/>
              </a:path>
            </a:pathLst>
          </a:custGeom>
          <a:gradFill flip="none" rotWithShape="1">
            <a:gsLst>
              <a:gs pos="73000">
                <a:schemeClr val="accent1">
                  <a:lumMod val="60000"/>
                  <a:lumOff val="40000"/>
                </a:schemeClr>
              </a:gs>
              <a:gs pos="0">
                <a:schemeClr val="accent1"/>
              </a:gs>
              <a:gs pos="100000">
                <a:schemeClr val="accent1">
                  <a:lumMod val="40000"/>
                  <a:lumOff val="60000"/>
                </a:schemeClr>
              </a:gs>
            </a:gsLst>
            <a:path path="circle">
              <a:fillToRect l="100000" t="100000"/>
            </a:path>
            <a:tileRect r="-100000" b="-100000"/>
          </a:gradFill>
          <a:ln w="12700">
            <a:miter lim="400000"/>
          </a:ln>
        </p:spPr>
        <p:txBody>
          <a:bodyPr lIns="457200" tIns="0" rIns="0" bIns="457200" anchor="b" anchorCtr="0"/>
          <a:lstStyle/>
          <a:p>
            <a:pPr marL="0" marR="0" lvl="0" indent="0" algn="ctr" defTabSz="412750" rtl="0" eaLnBrk="1" fontAlgn="auto" latinLnBrk="0" hangingPunct="0">
              <a:lnSpc>
                <a:spcPct val="120000"/>
              </a:lnSpc>
              <a:spcBef>
                <a:spcPts val="0"/>
              </a:spcBef>
              <a:spcAft>
                <a:spcPts val="0"/>
              </a:spcAft>
              <a:buClrTx/>
              <a:buSzTx/>
              <a:buFontTx/>
              <a:buNone/>
              <a:tabLst/>
              <a:defRPr sz="5500" b="0">
                <a:solidFill>
                  <a:srgbClr val="F6F8FF"/>
                </a:solidFill>
                <a:latin typeface="Aileron Heavy"/>
                <a:ea typeface="Aileron Heavy"/>
                <a:cs typeface="Aileron Heavy"/>
                <a:sym typeface="Aileron Heavy"/>
              </a:defRPr>
            </a:pPr>
            <a:r>
              <a:rPr kumimoji="0" lang="en-US" sz="2750" b="0" i="0" u="none" strike="noStrike" kern="0" cap="none" spc="0" normalizeH="0" baseline="0" noProof="0">
                <a:ln>
                  <a:noFill/>
                </a:ln>
                <a:solidFill>
                  <a:srgbClr val="F6F8FF"/>
                </a:solidFill>
                <a:effectLst/>
                <a:uLnTx/>
                <a:uFillTx/>
                <a:latin typeface="HarmonyOS Sans SC Black"/>
                <a:ea typeface="+mj-ea"/>
                <a:sym typeface="Aileron Heavy"/>
              </a:rPr>
              <a:t>25</a:t>
            </a:r>
            <a:r>
              <a:rPr kumimoji="0" lang="en-US" sz="500" b="0" i="0" u="none" strike="noStrike" kern="0" cap="none" spc="0" normalizeH="0" baseline="0" noProof="0">
                <a:ln>
                  <a:noFill/>
                </a:ln>
                <a:solidFill>
                  <a:srgbClr val="F6F8FF"/>
                </a:solidFill>
                <a:effectLst/>
                <a:uLnTx/>
                <a:uFillTx/>
                <a:latin typeface="HarmonyOS Sans SC Black"/>
                <a:ea typeface="+mj-ea"/>
                <a:sym typeface="Aileron Heavy"/>
              </a:rPr>
              <a:t>%</a:t>
            </a:r>
            <a:endParaRPr kumimoji="0" lang="en-US" sz="500" b="0" i="0" u="none" strike="noStrike" kern="0" cap="none" spc="0" normalizeH="0" baseline="0" noProof="0" dirty="0">
              <a:ln>
                <a:noFill/>
              </a:ln>
              <a:solidFill>
                <a:srgbClr val="F6F8FF"/>
              </a:solidFill>
              <a:effectLst/>
              <a:uLnTx/>
              <a:uFillTx/>
              <a:latin typeface="HarmonyOS Sans SC Black"/>
              <a:ea typeface="+mj-ea"/>
              <a:sym typeface="Aileron Heavy"/>
            </a:endParaRPr>
          </a:p>
        </p:txBody>
      </p:sp>
      <p:sp>
        <p:nvSpPr>
          <p:cNvPr id="7" name="Shape">
            <a:extLst>
              <a:ext uri="{FF2B5EF4-FFF2-40B4-BE49-F238E27FC236}">
                <a16:creationId xmlns:a16="http://schemas.microsoft.com/office/drawing/2014/main" id="{C07B5D6B-A94C-4D66-AC2C-12CD83C3F37F}"/>
              </a:ext>
            </a:extLst>
          </p:cNvPr>
          <p:cNvSpPr/>
          <p:nvPr/>
        </p:nvSpPr>
        <p:spPr>
          <a:xfrm>
            <a:off x="3642482" y="3416999"/>
            <a:ext cx="2331759" cy="2169863"/>
          </a:xfrm>
          <a:custGeom>
            <a:avLst/>
            <a:gdLst/>
            <a:ahLst/>
            <a:cxnLst>
              <a:cxn ang="0">
                <a:pos x="wd2" y="hd2"/>
              </a:cxn>
              <a:cxn ang="5400000">
                <a:pos x="wd2" y="hd2"/>
              </a:cxn>
              <a:cxn ang="10800000">
                <a:pos x="wd2" y="hd2"/>
              </a:cxn>
              <a:cxn ang="16200000">
                <a:pos x="wd2" y="hd2"/>
              </a:cxn>
            </a:cxnLst>
            <a:rect l="0" t="0" r="r" b="b"/>
            <a:pathLst>
              <a:path w="21451" h="21600" extrusionOk="0">
                <a:moveTo>
                  <a:pt x="14054" y="11873"/>
                </a:moveTo>
                <a:cubicBezTo>
                  <a:pt x="13230" y="10320"/>
                  <a:pt x="12758" y="8519"/>
                  <a:pt x="12758" y="6599"/>
                </a:cubicBezTo>
                <a:cubicBezTo>
                  <a:pt x="12758" y="5087"/>
                  <a:pt x="13051" y="3651"/>
                  <a:pt x="13577" y="2349"/>
                </a:cubicBezTo>
                <a:lnTo>
                  <a:pt x="9812" y="0"/>
                </a:lnTo>
                <a:lnTo>
                  <a:pt x="524" y="17408"/>
                </a:lnTo>
                <a:cubicBezTo>
                  <a:pt x="-116" y="18607"/>
                  <a:pt x="-149" y="19693"/>
                  <a:pt x="312" y="20459"/>
                </a:cubicBezTo>
                <a:cubicBezTo>
                  <a:pt x="737" y="21165"/>
                  <a:pt x="1581" y="21600"/>
                  <a:pt x="2761" y="21600"/>
                </a:cubicBezTo>
                <a:lnTo>
                  <a:pt x="21451" y="21600"/>
                </a:lnTo>
                <a:lnTo>
                  <a:pt x="21449" y="17139"/>
                </a:lnTo>
                <a:cubicBezTo>
                  <a:pt x="18281" y="16752"/>
                  <a:pt x="15571" y="14730"/>
                  <a:pt x="14054" y="11873"/>
                </a:cubicBezTo>
                <a:close/>
              </a:path>
            </a:pathLst>
          </a:custGeom>
          <a:gradFill flip="none" rotWithShape="1">
            <a:gsLst>
              <a:gs pos="73000">
                <a:schemeClr val="accent1">
                  <a:lumMod val="60000"/>
                  <a:lumOff val="40000"/>
                </a:schemeClr>
              </a:gs>
              <a:gs pos="0">
                <a:schemeClr val="accent1"/>
              </a:gs>
              <a:gs pos="100000">
                <a:schemeClr val="accent1">
                  <a:lumMod val="40000"/>
                  <a:lumOff val="60000"/>
                </a:schemeClr>
              </a:gs>
            </a:gsLst>
            <a:path path="circle">
              <a:fillToRect l="100000" t="100000"/>
            </a:path>
            <a:tileRect r="-100000" b="-100000"/>
          </a:gradFill>
          <a:ln w="12700">
            <a:miter lim="400000"/>
          </a:ln>
        </p:spPr>
        <p:txBody>
          <a:bodyPr lIns="0" tIns="0" rIns="457200" bIns="457200" anchor="b" anchorCtr="0"/>
          <a:lstStyle/>
          <a:p>
            <a:pPr marL="0" marR="0" lvl="0" indent="0" algn="ctr" defTabSz="412750" rtl="0" eaLnBrk="1" fontAlgn="auto" latinLnBrk="0" hangingPunct="0">
              <a:lnSpc>
                <a:spcPct val="120000"/>
              </a:lnSpc>
              <a:spcBef>
                <a:spcPts val="0"/>
              </a:spcBef>
              <a:spcAft>
                <a:spcPts val="0"/>
              </a:spcAft>
              <a:buClrTx/>
              <a:buSzTx/>
              <a:buFontTx/>
              <a:buNone/>
              <a:tabLst/>
              <a:defRPr sz="5500" b="0">
                <a:solidFill>
                  <a:srgbClr val="F6F8FF"/>
                </a:solidFill>
                <a:latin typeface="Aileron Heavy"/>
                <a:ea typeface="Aileron Heavy"/>
                <a:cs typeface="Aileron Heavy"/>
                <a:sym typeface="Aileron Heavy"/>
              </a:defRPr>
            </a:pPr>
            <a:r>
              <a:rPr kumimoji="0" lang="en-US" sz="2750" b="0" i="0" u="none" strike="noStrike" kern="0" cap="none" spc="0" normalizeH="0" baseline="0" noProof="0" dirty="0">
                <a:ln>
                  <a:noFill/>
                </a:ln>
                <a:solidFill>
                  <a:srgbClr val="F6F8FF"/>
                </a:solidFill>
                <a:effectLst/>
                <a:uLnTx/>
                <a:uFillTx/>
                <a:latin typeface="HarmonyOS Sans SC Black"/>
                <a:ea typeface="+mj-ea"/>
                <a:sym typeface="Aileron Heavy"/>
              </a:rPr>
              <a:t>45</a:t>
            </a:r>
            <a:r>
              <a:rPr kumimoji="0" lang="en-US" sz="500" b="0" i="0" u="none" strike="noStrike" kern="0" cap="none" spc="0" normalizeH="0" baseline="0" noProof="0" dirty="0">
                <a:ln>
                  <a:noFill/>
                </a:ln>
                <a:solidFill>
                  <a:srgbClr val="F6F8FF"/>
                </a:solidFill>
                <a:effectLst/>
                <a:uLnTx/>
                <a:uFillTx/>
                <a:latin typeface="HarmonyOS Sans SC Black"/>
                <a:ea typeface="+mj-ea"/>
                <a:sym typeface="Aileron Heavy"/>
              </a:rPr>
              <a:t>%</a:t>
            </a:r>
          </a:p>
        </p:txBody>
      </p:sp>
      <p:sp>
        <p:nvSpPr>
          <p:cNvPr id="9" name="Shape">
            <a:extLst>
              <a:ext uri="{FF2B5EF4-FFF2-40B4-BE49-F238E27FC236}">
                <a16:creationId xmlns:a16="http://schemas.microsoft.com/office/drawing/2014/main" id="{FF007F7A-BF07-41C4-AC00-4CA3A7A7B745}"/>
              </a:ext>
            </a:extLst>
          </p:cNvPr>
          <p:cNvSpPr/>
          <p:nvPr/>
        </p:nvSpPr>
        <p:spPr>
          <a:xfrm>
            <a:off x="5905500" y="3374600"/>
            <a:ext cx="381001" cy="346337"/>
          </a:xfrm>
          <a:custGeom>
            <a:avLst/>
            <a:gdLst/>
            <a:ahLst/>
            <a:cxnLst>
              <a:cxn ang="0">
                <a:pos x="wd2" y="hd2"/>
              </a:cxn>
              <a:cxn ang="5400000">
                <a:pos x="wd2" y="hd2"/>
              </a:cxn>
              <a:cxn ang="10800000">
                <a:pos x="wd2" y="hd2"/>
              </a:cxn>
              <a:cxn ang="16200000">
                <a:pos x="wd2" y="hd2"/>
              </a:cxn>
            </a:cxnLst>
            <a:rect l="0" t="0" r="r" b="b"/>
            <a:pathLst>
              <a:path w="21600" h="21600" extrusionOk="0">
                <a:moveTo>
                  <a:pt x="7855" y="18900"/>
                </a:moveTo>
                <a:cubicBezTo>
                  <a:pt x="7279" y="18900"/>
                  <a:pt x="6684" y="18827"/>
                  <a:pt x="6086" y="18683"/>
                </a:cubicBezTo>
                <a:cubicBezTo>
                  <a:pt x="6017" y="18666"/>
                  <a:pt x="5946" y="18658"/>
                  <a:pt x="5876" y="18658"/>
                </a:cubicBezTo>
                <a:cubicBezTo>
                  <a:pt x="5756" y="18658"/>
                  <a:pt x="5636" y="18682"/>
                  <a:pt x="5523" y="18729"/>
                </a:cubicBezTo>
                <a:lnTo>
                  <a:pt x="2957" y="19815"/>
                </a:lnTo>
                <a:lnTo>
                  <a:pt x="3365" y="18243"/>
                </a:lnTo>
                <a:cubicBezTo>
                  <a:pt x="3474" y="17827"/>
                  <a:pt x="3345" y="17380"/>
                  <a:pt x="3039" y="17108"/>
                </a:cubicBezTo>
                <a:cubicBezTo>
                  <a:pt x="1712" y="15926"/>
                  <a:pt x="982" y="14358"/>
                  <a:pt x="982" y="12690"/>
                </a:cubicBezTo>
                <a:cubicBezTo>
                  <a:pt x="982" y="9266"/>
                  <a:pt x="4065" y="6480"/>
                  <a:pt x="7855" y="6480"/>
                </a:cubicBezTo>
                <a:cubicBezTo>
                  <a:pt x="11644" y="6480"/>
                  <a:pt x="14727" y="9266"/>
                  <a:pt x="14727" y="12690"/>
                </a:cubicBezTo>
                <a:cubicBezTo>
                  <a:pt x="14727" y="16114"/>
                  <a:pt x="11644" y="18900"/>
                  <a:pt x="7855" y="18900"/>
                </a:cubicBezTo>
                <a:moveTo>
                  <a:pt x="7855" y="5400"/>
                </a:moveTo>
                <a:cubicBezTo>
                  <a:pt x="3517" y="5400"/>
                  <a:pt x="0" y="8664"/>
                  <a:pt x="0" y="12690"/>
                </a:cubicBezTo>
                <a:cubicBezTo>
                  <a:pt x="0" y="14758"/>
                  <a:pt x="932" y="16620"/>
                  <a:pt x="2422" y="17947"/>
                </a:cubicBezTo>
                <a:lnTo>
                  <a:pt x="1473" y="21600"/>
                </a:lnTo>
                <a:lnTo>
                  <a:pt x="5876" y="19738"/>
                </a:lnTo>
                <a:cubicBezTo>
                  <a:pt x="6509" y="19891"/>
                  <a:pt x="7169" y="19980"/>
                  <a:pt x="7855" y="19980"/>
                </a:cubicBezTo>
                <a:cubicBezTo>
                  <a:pt x="12192" y="19980"/>
                  <a:pt x="15709" y="16716"/>
                  <a:pt x="15709" y="12690"/>
                </a:cubicBezTo>
                <a:cubicBezTo>
                  <a:pt x="15709" y="8664"/>
                  <a:pt x="12192" y="5400"/>
                  <a:pt x="7855" y="5400"/>
                </a:cubicBezTo>
                <a:moveTo>
                  <a:pt x="21600" y="7290"/>
                </a:moveTo>
                <a:cubicBezTo>
                  <a:pt x="21600" y="3264"/>
                  <a:pt x="18084" y="0"/>
                  <a:pt x="13745" y="0"/>
                </a:cubicBezTo>
                <a:cubicBezTo>
                  <a:pt x="10506" y="0"/>
                  <a:pt x="7725" y="1821"/>
                  <a:pt x="6525" y="4422"/>
                </a:cubicBezTo>
                <a:cubicBezTo>
                  <a:pt x="6912" y="4367"/>
                  <a:pt x="7306" y="4332"/>
                  <a:pt x="7708" y="4326"/>
                </a:cubicBezTo>
                <a:cubicBezTo>
                  <a:pt x="8875" y="2394"/>
                  <a:pt x="11143" y="1080"/>
                  <a:pt x="13745" y="1080"/>
                </a:cubicBezTo>
                <a:cubicBezTo>
                  <a:pt x="17535" y="1080"/>
                  <a:pt x="20618" y="3866"/>
                  <a:pt x="20618" y="7290"/>
                </a:cubicBezTo>
                <a:cubicBezTo>
                  <a:pt x="20618" y="8958"/>
                  <a:pt x="19888" y="10526"/>
                  <a:pt x="18561" y="11707"/>
                </a:cubicBezTo>
                <a:cubicBezTo>
                  <a:pt x="18255" y="11980"/>
                  <a:pt x="18126" y="12428"/>
                  <a:pt x="18234" y="12843"/>
                </a:cubicBezTo>
                <a:lnTo>
                  <a:pt x="18643" y="14415"/>
                </a:lnTo>
                <a:lnTo>
                  <a:pt x="16613" y="13556"/>
                </a:lnTo>
                <a:cubicBezTo>
                  <a:pt x="16573" y="13922"/>
                  <a:pt x="16500" y="14278"/>
                  <a:pt x="16411" y="14628"/>
                </a:cubicBezTo>
                <a:lnTo>
                  <a:pt x="20127" y="16200"/>
                </a:lnTo>
                <a:lnTo>
                  <a:pt x="19178" y="12547"/>
                </a:lnTo>
                <a:cubicBezTo>
                  <a:pt x="20669" y="11220"/>
                  <a:pt x="21600" y="9358"/>
                  <a:pt x="21600" y="7290"/>
                </a:cubicBezTo>
              </a:path>
            </a:pathLst>
          </a:custGeom>
          <a:gradFill>
            <a:gsLst>
              <a:gs pos="73000">
                <a:schemeClr val="accent1">
                  <a:lumMod val="60000"/>
                  <a:lumOff val="40000"/>
                </a:schemeClr>
              </a:gs>
              <a:gs pos="0">
                <a:schemeClr val="accent1"/>
              </a:gs>
              <a:gs pos="100000">
                <a:schemeClr val="accent1">
                  <a:lumMod val="40000"/>
                  <a:lumOff val="60000"/>
                </a:schemeClr>
              </a:gs>
            </a:gsLst>
            <a:path path="circle">
              <a:fillToRect l="100000" t="100000"/>
            </a:path>
          </a:gradFill>
          <a:ln w="12700">
            <a:miter lim="400000"/>
          </a:ln>
        </p:spPr>
        <p:txBody>
          <a:bodyPr lIns="22860" rIns="22860" anchor="ctr"/>
          <a:lstStyle/>
          <a:p>
            <a:pPr marL="0" marR="0" lvl="0" indent="0" algn="ctr" defTabSz="219451" rtl="0" eaLnBrk="1" fontAlgn="auto" latinLnBrk="0" hangingPunct="0">
              <a:lnSpc>
                <a:spcPct val="100000"/>
              </a:lnSpc>
              <a:spcBef>
                <a:spcPts val="0"/>
              </a:spcBef>
              <a:spcAft>
                <a:spcPts val="0"/>
              </a:spcAft>
              <a:buClrTx/>
              <a:buSzTx/>
              <a:buFontTx/>
              <a:buNone/>
              <a:tabLst/>
              <a:defRPr b="0">
                <a:solidFill>
                  <a:srgbClr val="FFFFFF"/>
                </a:solidFill>
                <a:effectLst>
                  <a:outerShdw blurRad="38100" dist="12700" dir="5400000" rotWithShape="0">
                    <a:srgbClr val="000000">
                      <a:alpha val="50000"/>
                    </a:srgbClr>
                  </a:outerShdw>
                </a:effectLst>
                <a:latin typeface="Aileron Bold"/>
                <a:ea typeface="Aileron Bold"/>
                <a:cs typeface="Aileron Bold"/>
                <a:sym typeface="Aileron"/>
              </a:defRPr>
            </a:pPr>
            <a:endParaRPr kumimoji="0" sz="150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HarmonyOS Sans SC"/>
              <a:sym typeface="Aileron"/>
            </a:endParaRPr>
          </a:p>
        </p:txBody>
      </p:sp>
      <p:grpSp>
        <p:nvGrpSpPr>
          <p:cNvPr id="23" name="组合 22">
            <a:extLst>
              <a:ext uri="{FF2B5EF4-FFF2-40B4-BE49-F238E27FC236}">
                <a16:creationId xmlns:a16="http://schemas.microsoft.com/office/drawing/2014/main" id="{9A8EF0F0-7320-47DD-968F-7637158D8970}"/>
              </a:ext>
            </a:extLst>
          </p:cNvPr>
          <p:cNvGrpSpPr/>
          <p:nvPr/>
        </p:nvGrpSpPr>
        <p:grpSpPr>
          <a:xfrm>
            <a:off x="9292814" y="2035606"/>
            <a:ext cx="2859171" cy="881603"/>
            <a:chOff x="2777088" y="3678059"/>
            <a:chExt cx="2859171" cy="881603"/>
          </a:xfrm>
        </p:grpSpPr>
        <p:sp>
          <p:nvSpPr>
            <p:cNvPr id="24" name="TextBox 65">
              <a:extLst>
                <a:ext uri="{FF2B5EF4-FFF2-40B4-BE49-F238E27FC236}">
                  <a16:creationId xmlns:a16="http://schemas.microsoft.com/office/drawing/2014/main" id="{905D86E1-C6BF-4E56-A17B-713C7B3DD746}"/>
                </a:ext>
              </a:extLst>
            </p:cNvPr>
            <p:cNvSpPr txBox="1"/>
            <p:nvPr/>
          </p:nvSpPr>
          <p:spPr>
            <a:xfrm flipH="1">
              <a:off x="2777089" y="3678059"/>
              <a:ext cx="2056261" cy="387598"/>
            </a:xfrm>
            <a:prstGeom prst="rect">
              <a:avLst/>
            </a:prstGeom>
            <a:noFill/>
          </p:spPr>
          <p:txBody>
            <a:bodyPr wrap="square" lIns="0" tIns="36000" rIns="0" bIns="36000" rtlCol="0">
              <a:spAutoFit/>
            </a:bodyPr>
            <a:lstStyle/>
            <a:p>
              <a:pPr marL="0" marR="0" lvl="0" indent="0" algn="l" defTabSz="914400" rtl="0" eaLnBrk="1" fontAlgn="auto" latinLnBrk="0" hangingPunct="1">
                <a:lnSpc>
                  <a:spcPct val="120000"/>
                </a:lnSpc>
                <a:spcBef>
                  <a:spcPts val="600"/>
                </a:spcBef>
                <a:spcAft>
                  <a:spcPts val="0"/>
                </a:spcAft>
                <a:buClrTx/>
                <a:buSzTx/>
                <a:buFontTx/>
                <a:buNone/>
                <a:tabLst/>
                <a:defRPr/>
              </a:pPr>
              <a:r>
                <a:rPr kumimoji="0" lang="zh-CN" altLang="en-US" sz="1800" b="0" i="0" u="none" strike="noStrike" kern="1200" cap="none" spc="0" normalizeH="0" baseline="0" noProof="0" dirty="0">
                  <a:ln>
                    <a:noFill/>
                  </a:ln>
                  <a:solidFill>
                    <a:schemeClr val="accent1"/>
                  </a:solidFill>
                  <a:effectLst/>
                  <a:uLnTx/>
                  <a:uFillTx/>
                  <a:latin typeface="HarmonyOS Sans SC Black"/>
                  <a:ea typeface="+mj-ea"/>
                  <a:cs typeface="+mn-cs"/>
                </a:rPr>
                <a:t>关键词标题</a:t>
              </a:r>
              <a:endParaRPr kumimoji="0" lang="en-US" sz="1800" b="0" i="0" u="none" strike="noStrike" kern="1200" cap="none" spc="0" normalizeH="0" baseline="0" noProof="0" dirty="0">
                <a:ln>
                  <a:noFill/>
                </a:ln>
                <a:solidFill>
                  <a:schemeClr val="accent1"/>
                </a:solidFill>
                <a:effectLst/>
                <a:uLnTx/>
                <a:uFillTx/>
                <a:latin typeface="HarmonyOS Sans SC Black"/>
                <a:ea typeface="+mj-ea"/>
                <a:cs typeface="+mn-cs"/>
              </a:endParaRPr>
            </a:p>
          </p:txBody>
        </p:sp>
        <p:sp>
          <p:nvSpPr>
            <p:cNvPr id="25" name="TextBox 65">
              <a:extLst>
                <a:ext uri="{FF2B5EF4-FFF2-40B4-BE49-F238E27FC236}">
                  <a16:creationId xmlns:a16="http://schemas.microsoft.com/office/drawing/2014/main" id="{617E9283-BDF0-4EC3-994F-5FED8C221762}"/>
                </a:ext>
              </a:extLst>
            </p:cNvPr>
            <p:cNvSpPr txBox="1"/>
            <p:nvPr/>
          </p:nvSpPr>
          <p:spPr>
            <a:xfrm flipH="1">
              <a:off x="2777088" y="4061458"/>
              <a:ext cx="2859171" cy="498204"/>
            </a:xfrm>
            <a:prstGeom prst="rect">
              <a:avLst/>
            </a:prstGeom>
            <a:noFill/>
          </p:spPr>
          <p:txBody>
            <a:bodyPr wrap="square" lIns="0" tIns="36000" rIns="0" bIns="36000" rtlCol="0">
              <a:spAutoFit/>
            </a:bodyPr>
            <a:lstStyle/>
            <a:p>
              <a:pPr marL="0" marR="0" lvl="0" indent="0" algn="l" defTabSz="914400" rtl="0" eaLnBrk="1" fontAlgn="auto" latinLnBrk="0" hangingPunct="1">
                <a:lnSpc>
                  <a:spcPct val="120000"/>
                </a:lnSpc>
                <a:spcBef>
                  <a:spcPts val="600"/>
                </a:spcBef>
                <a:spcAft>
                  <a:spcPts val="0"/>
                </a:spcAft>
                <a:buClrTx/>
                <a:buSzTx/>
                <a:buFontTx/>
                <a:buNone/>
                <a:tabLst/>
                <a:defRPr/>
              </a:pPr>
              <a:r>
                <a:rPr kumimoji="0" lang="en-US" sz="1200" b="0" i="0" u="none" strike="noStrike" kern="1200" cap="none" spc="0" normalizeH="0" baseline="0" noProof="0" dirty="0">
                  <a:ln>
                    <a:noFill/>
                  </a:ln>
                  <a:solidFill>
                    <a:prstClr val="black">
                      <a:lumMod val="50000"/>
                      <a:lumOff val="50000"/>
                    </a:prstClr>
                  </a:solidFill>
                  <a:effectLst/>
                  <a:uLnTx/>
                  <a:uFillTx/>
                  <a:latin typeface="HarmonyOS Sans SC"/>
                  <a:cs typeface="+mn-cs"/>
                </a:rPr>
                <a:t>Apparently we had reached a great height in the.</a:t>
              </a:r>
            </a:p>
          </p:txBody>
        </p:sp>
      </p:grpSp>
      <p:grpSp>
        <p:nvGrpSpPr>
          <p:cNvPr id="26" name="组合 25">
            <a:extLst>
              <a:ext uri="{FF2B5EF4-FFF2-40B4-BE49-F238E27FC236}">
                <a16:creationId xmlns:a16="http://schemas.microsoft.com/office/drawing/2014/main" id="{7A1A3ACD-8387-46B6-8FC7-6F67C0B187EC}"/>
              </a:ext>
            </a:extLst>
          </p:cNvPr>
          <p:cNvGrpSpPr/>
          <p:nvPr/>
        </p:nvGrpSpPr>
        <p:grpSpPr>
          <a:xfrm>
            <a:off x="9292814" y="4161312"/>
            <a:ext cx="2859171" cy="881603"/>
            <a:chOff x="2777088" y="3678059"/>
            <a:chExt cx="2859171" cy="881603"/>
          </a:xfrm>
        </p:grpSpPr>
        <p:sp>
          <p:nvSpPr>
            <p:cNvPr id="27" name="TextBox 65">
              <a:extLst>
                <a:ext uri="{FF2B5EF4-FFF2-40B4-BE49-F238E27FC236}">
                  <a16:creationId xmlns:a16="http://schemas.microsoft.com/office/drawing/2014/main" id="{F56949B0-A8C4-4EB0-B452-575D6400CDCA}"/>
                </a:ext>
              </a:extLst>
            </p:cNvPr>
            <p:cNvSpPr txBox="1"/>
            <p:nvPr/>
          </p:nvSpPr>
          <p:spPr>
            <a:xfrm flipH="1">
              <a:off x="2777089" y="3678059"/>
              <a:ext cx="2056261" cy="387598"/>
            </a:xfrm>
            <a:prstGeom prst="rect">
              <a:avLst/>
            </a:prstGeom>
            <a:noFill/>
          </p:spPr>
          <p:txBody>
            <a:bodyPr wrap="square" lIns="0" tIns="36000" rIns="0" bIns="36000" rtlCol="0">
              <a:spAutoFit/>
            </a:bodyPr>
            <a:lstStyle/>
            <a:p>
              <a:pPr marL="0" marR="0" lvl="0" indent="0" algn="l" defTabSz="914400" rtl="0" eaLnBrk="1" fontAlgn="auto" latinLnBrk="0" hangingPunct="1">
                <a:lnSpc>
                  <a:spcPct val="120000"/>
                </a:lnSpc>
                <a:spcBef>
                  <a:spcPts val="600"/>
                </a:spcBef>
                <a:spcAft>
                  <a:spcPts val="0"/>
                </a:spcAft>
                <a:buClrTx/>
                <a:buSzTx/>
                <a:buFontTx/>
                <a:buNone/>
                <a:tabLst/>
                <a:defRPr/>
              </a:pPr>
              <a:r>
                <a:rPr kumimoji="0" lang="zh-CN" altLang="en-US" sz="1800" b="0" i="0" u="none" strike="noStrike" kern="1200" cap="none" spc="0" normalizeH="0" baseline="0" noProof="0" dirty="0">
                  <a:ln>
                    <a:noFill/>
                  </a:ln>
                  <a:solidFill>
                    <a:schemeClr val="accent1"/>
                  </a:solidFill>
                  <a:effectLst/>
                  <a:uLnTx/>
                  <a:uFillTx/>
                  <a:latin typeface="HarmonyOS Sans SC Black"/>
                  <a:ea typeface="+mj-ea"/>
                  <a:cs typeface="+mn-cs"/>
                </a:rPr>
                <a:t>关键词标题</a:t>
              </a:r>
              <a:endParaRPr kumimoji="0" lang="en-US" sz="1800" b="0" i="0" u="none" strike="noStrike" kern="1200" cap="none" spc="0" normalizeH="0" baseline="0" noProof="0" dirty="0">
                <a:ln>
                  <a:noFill/>
                </a:ln>
                <a:solidFill>
                  <a:schemeClr val="accent1"/>
                </a:solidFill>
                <a:effectLst/>
                <a:uLnTx/>
                <a:uFillTx/>
                <a:latin typeface="HarmonyOS Sans SC Black"/>
                <a:ea typeface="+mj-ea"/>
                <a:cs typeface="+mn-cs"/>
              </a:endParaRPr>
            </a:p>
          </p:txBody>
        </p:sp>
        <p:sp>
          <p:nvSpPr>
            <p:cNvPr id="28" name="TextBox 65">
              <a:extLst>
                <a:ext uri="{FF2B5EF4-FFF2-40B4-BE49-F238E27FC236}">
                  <a16:creationId xmlns:a16="http://schemas.microsoft.com/office/drawing/2014/main" id="{F70457FD-D51F-4BD5-9A20-74D76D5C7435}"/>
                </a:ext>
              </a:extLst>
            </p:cNvPr>
            <p:cNvSpPr txBox="1"/>
            <p:nvPr/>
          </p:nvSpPr>
          <p:spPr>
            <a:xfrm flipH="1">
              <a:off x="2777088" y="4061458"/>
              <a:ext cx="2859171" cy="498204"/>
            </a:xfrm>
            <a:prstGeom prst="rect">
              <a:avLst/>
            </a:prstGeom>
            <a:noFill/>
          </p:spPr>
          <p:txBody>
            <a:bodyPr wrap="square" lIns="0" tIns="36000" rIns="0" bIns="36000" rtlCol="0">
              <a:spAutoFit/>
            </a:bodyPr>
            <a:lstStyle/>
            <a:p>
              <a:pPr marL="0" marR="0" lvl="0" indent="0" algn="l" defTabSz="914400" rtl="0" eaLnBrk="1" fontAlgn="auto" latinLnBrk="0" hangingPunct="1">
                <a:lnSpc>
                  <a:spcPct val="120000"/>
                </a:lnSpc>
                <a:spcBef>
                  <a:spcPts val="600"/>
                </a:spcBef>
                <a:spcAft>
                  <a:spcPts val="0"/>
                </a:spcAft>
                <a:buClrTx/>
                <a:buSzTx/>
                <a:buFontTx/>
                <a:buNone/>
                <a:tabLst/>
                <a:defRPr/>
              </a:pPr>
              <a:r>
                <a:rPr kumimoji="0" lang="en-US" sz="1200" b="0" i="0" u="none" strike="noStrike" kern="1200" cap="none" spc="0" normalizeH="0" baseline="0" noProof="0" dirty="0">
                  <a:ln>
                    <a:noFill/>
                  </a:ln>
                  <a:solidFill>
                    <a:prstClr val="black">
                      <a:lumMod val="50000"/>
                      <a:lumOff val="50000"/>
                    </a:prstClr>
                  </a:solidFill>
                  <a:effectLst/>
                  <a:uLnTx/>
                  <a:uFillTx/>
                  <a:latin typeface="HarmonyOS Sans SC"/>
                  <a:cs typeface="+mn-cs"/>
                </a:rPr>
                <a:t>Apparently we had reached a great height in the.</a:t>
              </a:r>
            </a:p>
          </p:txBody>
        </p:sp>
      </p:grpSp>
      <p:grpSp>
        <p:nvGrpSpPr>
          <p:cNvPr id="29" name="组合 28">
            <a:extLst>
              <a:ext uri="{FF2B5EF4-FFF2-40B4-BE49-F238E27FC236}">
                <a16:creationId xmlns:a16="http://schemas.microsoft.com/office/drawing/2014/main" id="{312C08BE-DD12-45F6-A9EF-8EA376979DB4}"/>
              </a:ext>
            </a:extLst>
          </p:cNvPr>
          <p:cNvGrpSpPr/>
          <p:nvPr/>
        </p:nvGrpSpPr>
        <p:grpSpPr>
          <a:xfrm>
            <a:off x="143523" y="4161312"/>
            <a:ext cx="2859171" cy="881603"/>
            <a:chOff x="2777088" y="3678059"/>
            <a:chExt cx="2859171" cy="881603"/>
          </a:xfrm>
        </p:grpSpPr>
        <p:sp>
          <p:nvSpPr>
            <p:cNvPr id="30" name="TextBox 65">
              <a:extLst>
                <a:ext uri="{FF2B5EF4-FFF2-40B4-BE49-F238E27FC236}">
                  <a16:creationId xmlns:a16="http://schemas.microsoft.com/office/drawing/2014/main" id="{FB9428FE-0452-4EAA-A8D9-D84450E163DA}"/>
                </a:ext>
              </a:extLst>
            </p:cNvPr>
            <p:cNvSpPr txBox="1"/>
            <p:nvPr/>
          </p:nvSpPr>
          <p:spPr>
            <a:xfrm flipH="1">
              <a:off x="3579998" y="3678059"/>
              <a:ext cx="2056261" cy="387598"/>
            </a:xfrm>
            <a:prstGeom prst="rect">
              <a:avLst/>
            </a:prstGeom>
            <a:noFill/>
          </p:spPr>
          <p:txBody>
            <a:bodyPr wrap="square" lIns="0" tIns="36000" rIns="0" bIns="36000" rtlCol="0">
              <a:spAutoFit/>
            </a:bodyPr>
            <a:lstStyle/>
            <a:p>
              <a:pPr marL="0" marR="0" lvl="0" indent="0" algn="r" defTabSz="914400" rtl="0" eaLnBrk="1" fontAlgn="auto" latinLnBrk="0" hangingPunct="1">
                <a:lnSpc>
                  <a:spcPct val="120000"/>
                </a:lnSpc>
                <a:spcBef>
                  <a:spcPts val="600"/>
                </a:spcBef>
                <a:spcAft>
                  <a:spcPts val="0"/>
                </a:spcAft>
                <a:buClrTx/>
                <a:buSzTx/>
                <a:buFontTx/>
                <a:buNone/>
                <a:tabLst/>
                <a:defRPr/>
              </a:pPr>
              <a:r>
                <a:rPr kumimoji="0" lang="zh-CN" altLang="en-US" sz="1800" b="0" i="0" u="none" strike="noStrike" kern="1200" cap="none" spc="0" normalizeH="0" baseline="0" noProof="0" dirty="0">
                  <a:ln>
                    <a:noFill/>
                  </a:ln>
                  <a:solidFill>
                    <a:schemeClr val="accent1"/>
                  </a:solidFill>
                  <a:effectLst/>
                  <a:uLnTx/>
                  <a:uFillTx/>
                  <a:latin typeface="HarmonyOS Sans SC Black"/>
                  <a:ea typeface="+mj-ea"/>
                  <a:cs typeface="+mn-cs"/>
                </a:rPr>
                <a:t>关键词标题</a:t>
              </a:r>
              <a:endParaRPr kumimoji="0" lang="en-US" sz="1800" b="0" i="0" u="none" strike="noStrike" kern="1200" cap="none" spc="0" normalizeH="0" baseline="0" noProof="0" dirty="0">
                <a:ln>
                  <a:noFill/>
                </a:ln>
                <a:solidFill>
                  <a:schemeClr val="accent1"/>
                </a:solidFill>
                <a:effectLst/>
                <a:uLnTx/>
                <a:uFillTx/>
                <a:latin typeface="HarmonyOS Sans SC Black"/>
                <a:ea typeface="+mj-ea"/>
                <a:cs typeface="+mn-cs"/>
              </a:endParaRPr>
            </a:p>
          </p:txBody>
        </p:sp>
        <p:sp>
          <p:nvSpPr>
            <p:cNvPr id="31" name="TextBox 65">
              <a:extLst>
                <a:ext uri="{FF2B5EF4-FFF2-40B4-BE49-F238E27FC236}">
                  <a16:creationId xmlns:a16="http://schemas.microsoft.com/office/drawing/2014/main" id="{8864B452-6588-434F-BE2A-22A50661CFF3}"/>
                </a:ext>
              </a:extLst>
            </p:cNvPr>
            <p:cNvSpPr txBox="1"/>
            <p:nvPr/>
          </p:nvSpPr>
          <p:spPr>
            <a:xfrm flipH="1">
              <a:off x="2777088" y="4061458"/>
              <a:ext cx="2859171" cy="498204"/>
            </a:xfrm>
            <a:prstGeom prst="rect">
              <a:avLst/>
            </a:prstGeom>
            <a:noFill/>
          </p:spPr>
          <p:txBody>
            <a:bodyPr wrap="square" lIns="0" tIns="36000" rIns="0" bIns="36000" rtlCol="0">
              <a:spAutoFit/>
            </a:bodyPr>
            <a:lstStyle/>
            <a:p>
              <a:pPr marL="0" marR="0" lvl="0" indent="0" algn="r" defTabSz="914400" rtl="0" eaLnBrk="1" fontAlgn="auto" latinLnBrk="0" hangingPunct="1">
                <a:lnSpc>
                  <a:spcPct val="120000"/>
                </a:lnSpc>
                <a:spcBef>
                  <a:spcPts val="600"/>
                </a:spcBef>
                <a:spcAft>
                  <a:spcPts val="0"/>
                </a:spcAft>
                <a:buClrTx/>
                <a:buSzTx/>
                <a:buFontTx/>
                <a:buNone/>
                <a:tabLst/>
                <a:defRPr/>
              </a:pPr>
              <a:r>
                <a:rPr kumimoji="0" lang="en-US" sz="1200" b="0" i="0" u="none" strike="noStrike" kern="1200" cap="none" spc="0" normalizeH="0" baseline="0" noProof="0" dirty="0">
                  <a:ln>
                    <a:noFill/>
                  </a:ln>
                  <a:solidFill>
                    <a:prstClr val="black">
                      <a:lumMod val="50000"/>
                      <a:lumOff val="50000"/>
                    </a:prstClr>
                  </a:solidFill>
                  <a:effectLst/>
                  <a:uLnTx/>
                  <a:uFillTx/>
                  <a:latin typeface="HarmonyOS Sans SC"/>
                  <a:cs typeface="+mn-cs"/>
                </a:rPr>
                <a:t>Apparently we had reached a great height in the.</a:t>
              </a:r>
            </a:p>
          </p:txBody>
        </p:sp>
      </p:grpSp>
      <p:grpSp>
        <p:nvGrpSpPr>
          <p:cNvPr id="32" name="组合 31">
            <a:extLst>
              <a:ext uri="{FF2B5EF4-FFF2-40B4-BE49-F238E27FC236}">
                <a16:creationId xmlns:a16="http://schemas.microsoft.com/office/drawing/2014/main" id="{EA544AC6-F4EB-45FA-9B76-BE222D2D496B}"/>
              </a:ext>
            </a:extLst>
          </p:cNvPr>
          <p:cNvGrpSpPr/>
          <p:nvPr/>
        </p:nvGrpSpPr>
        <p:grpSpPr>
          <a:xfrm>
            <a:off x="5067870" y="3824288"/>
            <a:ext cx="2056261" cy="871600"/>
            <a:chOff x="3178543" y="3678059"/>
            <a:chExt cx="2056261" cy="871600"/>
          </a:xfrm>
        </p:grpSpPr>
        <p:sp>
          <p:nvSpPr>
            <p:cNvPr id="33" name="TextBox 65">
              <a:extLst>
                <a:ext uri="{FF2B5EF4-FFF2-40B4-BE49-F238E27FC236}">
                  <a16:creationId xmlns:a16="http://schemas.microsoft.com/office/drawing/2014/main" id="{30B01ED5-6D08-4647-9F27-916D2039106B}"/>
                </a:ext>
              </a:extLst>
            </p:cNvPr>
            <p:cNvSpPr txBox="1"/>
            <p:nvPr/>
          </p:nvSpPr>
          <p:spPr>
            <a:xfrm flipH="1">
              <a:off x="3178543" y="3678059"/>
              <a:ext cx="2056261" cy="311423"/>
            </a:xfrm>
            <a:prstGeom prst="rect">
              <a:avLst/>
            </a:prstGeom>
            <a:noFill/>
          </p:spPr>
          <p:txBody>
            <a:bodyPr wrap="square" lIns="0" tIns="36000" rIns="0" bIns="36000" rtlCol="0">
              <a:spAutoFit/>
            </a:bodyPr>
            <a:lstStyle/>
            <a:p>
              <a:pPr marL="0" marR="0" lvl="0" indent="0" algn="ctr" defTabSz="914400" rtl="0" eaLnBrk="1" fontAlgn="auto" latinLnBrk="0" hangingPunct="1">
                <a:lnSpc>
                  <a:spcPct val="120000"/>
                </a:lnSpc>
                <a:spcBef>
                  <a:spcPts val="600"/>
                </a:spcBef>
                <a:spcAft>
                  <a:spcPts val="0"/>
                </a:spcAft>
                <a:buClrTx/>
                <a:buSzTx/>
                <a:buFontTx/>
                <a:buNone/>
                <a:tabLst/>
                <a:defRPr/>
              </a:pPr>
              <a:r>
                <a:rPr kumimoji="0" lang="en-US" sz="1400" b="0" i="0" u="none" strike="noStrike" kern="1200" cap="none" spc="0" normalizeH="0" baseline="0" noProof="0" dirty="0">
                  <a:ln>
                    <a:noFill/>
                  </a:ln>
                  <a:solidFill>
                    <a:schemeClr val="accent1"/>
                  </a:solidFill>
                  <a:effectLst/>
                  <a:uLnTx/>
                  <a:uFillTx/>
                  <a:latin typeface="HarmonyOS Sans SC Black"/>
                  <a:ea typeface="+mj-ea"/>
                  <a:cs typeface="+mn-cs"/>
                </a:rPr>
                <a:t>SUPPORT CONCEPT</a:t>
              </a:r>
            </a:p>
          </p:txBody>
        </p:sp>
        <p:sp>
          <p:nvSpPr>
            <p:cNvPr id="34" name="TextBox 65">
              <a:extLst>
                <a:ext uri="{FF2B5EF4-FFF2-40B4-BE49-F238E27FC236}">
                  <a16:creationId xmlns:a16="http://schemas.microsoft.com/office/drawing/2014/main" id="{8FB9E71D-01F1-4E50-BEEF-EAD5E76186AE}"/>
                </a:ext>
              </a:extLst>
            </p:cNvPr>
            <p:cNvSpPr txBox="1"/>
            <p:nvPr/>
          </p:nvSpPr>
          <p:spPr>
            <a:xfrm flipH="1">
              <a:off x="3208349" y="4061458"/>
              <a:ext cx="1996648" cy="488201"/>
            </a:xfrm>
            <a:prstGeom prst="rect">
              <a:avLst/>
            </a:prstGeom>
            <a:noFill/>
          </p:spPr>
          <p:txBody>
            <a:bodyPr wrap="square" lIns="0" tIns="36000" rIns="0" bIns="36000" rtlCol="0">
              <a:sp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050" b="0" i="0" u="none" strike="noStrike" kern="1200" cap="none" spc="0" normalizeH="0" baseline="0" noProof="0" dirty="0">
                  <a:ln>
                    <a:noFill/>
                  </a:ln>
                  <a:solidFill>
                    <a:prstClr val="black">
                      <a:lumMod val="50000"/>
                      <a:lumOff val="50000"/>
                    </a:prstClr>
                  </a:solidFill>
                  <a:effectLst/>
                  <a:uLnTx/>
                  <a:uFillTx/>
                  <a:latin typeface="HarmonyOS Sans SC"/>
                  <a:cs typeface="+mn-cs"/>
                </a:rPr>
                <a:t>Globally administrate focused </a:t>
              </a:r>
            </a:p>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050" b="0" i="0" u="none" strike="noStrike" kern="1200" cap="none" spc="0" normalizeH="0" baseline="0" noProof="0" dirty="0">
                  <a:ln>
                    <a:noFill/>
                  </a:ln>
                  <a:solidFill>
                    <a:prstClr val="black">
                      <a:lumMod val="50000"/>
                      <a:lumOff val="50000"/>
                    </a:prstClr>
                  </a:solidFill>
                  <a:effectLst/>
                  <a:uLnTx/>
                  <a:uFillTx/>
                  <a:latin typeface="HarmonyOS Sans SC"/>
                  <a:cs typeface="+mn-cs"/>
                </a:rPr>
                <a:t>meta services with B2C.</a:t>
              </a:r>
            </a:p>
          </p:txBody>
        </p:sp>
      </p:grpSp>
    </p:spTree>
    <p:extLst>
      <p:ext uri="{BB962C8B-B14F-4D97-AF65-F5344CB8AC3E}">
        <p14:creationId xmlns:p14="http://schemas.microsoft.com/office/powerpoint/2010/main" val="3053221924"/>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4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reeform 20">
            <a:extLst>
              <a:ext uri="{FF2B5EF4-FFF2-40B4-BE49-F238E27FC236}">
                <a16:creationId xmlns:a16="http://schemas.microsoft.com/office/drawing/2014/main" id="{7844EDE9-2180-4A4F-ABF1-6CB578B051D6}"/>
              </a:ext>
            </a:extLst>
          </p:cNvPr>
          <p:cNvSpPr/>
          <p:nvPr/>
        </p:nvSpPr>
        <p:spPr>
          <a:xfrm>
            <a:off x="5296007" y="1836699"/>
            <a:ext cx="1604840" cy="1455672"/>
          </a:xfrm>
          <a:custGeom>
            <a:avLst/>
            <a:gdLst/>
            <a:ahLst/>
            <a:cxnLst>
              <a:cxn ang="0">
                <a:pos x="wd2" y="hd2"/>
              </a:cxn>
              <a:cxn ang="5400000">
                <a:pos x="wd2" y="hd2"/>
              </a:cxn>
              <a:cxn ang="10800000">
                <a:pos x="wd2" y="hd2"/>
              </a:cxn>
              <a:cxn ang="16200000">
                <a:pos x="wd2" y="hd2"/>
              </a:cxn>
            </a:cxnLst>
            <a:rect l="0" t="0" r="r" b="b"/>
            <a:pathLst>
              <a:path w="20846" h="20588" extrusionOk="0">
                <a:moveTo>
                  <a:pt x="20846" y="17168"/>
                </a:moveTo>
                <a:cubicBezTo>
                  <a:pt x="20776" y="16978"/>
                  <a:pt x="20707" y="16826"/>
                  <a:pt x="20637" y="16675"/>
                </a:cubicBezTo>
                <a:cubicBezTo>
                  <a:pt x="17049" y="9879"/>
                  <a:pt x="17049" y="9879"/>
                  <a:pt x="17049" y="9879"/>
                </a:cubicBezTo>
                <a:cubicBezTo>
                  <a:pt x="12554" y="1338"/>
                  <a:pt x="12554" y="1338"/>
                  <a:pt x="12554" y="1338"/>
                </a:cubicBezTo>
                <a:cubicBezTo>
                  <a:pt x="11649" y="-446"/>
                  <a:pt x="9349" y="-446"/>
                  <a:pt x="8409" y="1338"/>
                </a:cubicBezTo>
                <a:cubicBezTo>
                  <a:pt x="3914" y="9879"/>
                  <a:pt x="3914" y="9879"/>
                  <a:pt x="3914" y="9879"/>
                </a:cubicBezTo>
                <a:cubicBezTo>
                  <a:pt x="326" y="16675"/>
                  <a:pt x="326" y="16675"/>
                  <a:pt x="326" y="16675"/>
                </a:cubicBezTo>
                <a:cubicBezTo>
                  <a:pt x="-754" y="18724"/>
                  <a:pt x="1023" y="21154"/>
                  <a:pt x="3113" y="20471"/>
                </a:cubicBezTo>
                <a:cubicBezTo>
                  <a:pt x="9802" y="18269"/>
                  <a:pt x="9802" y="18269"/>
                  <a:pt x="9802" y="18269"/>
                </a:cubicBezTo>
                <a:cubicBezTo>
                  <a:pt x="9872" y="18269"/>
                  <a:pt x="9941" y="18231"/>
                  <a:pt x="10011" y="18231"/>
                </a:cubicBezTo>
                <a:cubicBezTo>
                  <a:pt x="18024" y="15726"/>
                  <a:pt x="18024" y="15726"/>
                  <a:pt x="18024" y="15726"/>
                </a:cubicBezTo>
                <a:cubicBezTo>
                  <a:pt x="19209" y="15384"/>
                  <a:pt x="20358" y="16067"/>
                  <a:pt x="20846" y="17168"/>
                </a:cubicBezTo>
                <a:close/>
              </a:path>
            </a:pathLst>
          </a:custGeom>
          <a:gradFill>
            <a:gsLst>
              <a:gs pos="73000">
                <a:schemeClr val="accent1"/>
              </a:gs>
              <a:gs pos="31000">
                <a:schemeClr val="accent1">
                  <a:lumMod val="60000"/>
                  <a:lumOff val="40000"/>
                </a:schemeClr>
              </a:gs>
              <a:gs pos="0">
                <a:schemeClr val="accent1">
                  <a:lumMod val="40000"/>
                  <a:lumOff val="60000"/>
                </a:schemeClr>
              </a:gs>
            </a:gsLst>
            <a:path path="circle">
              <a:fillToRect r="100000" b="100000"/>
            </a:path>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HarmonyOS Sans SC Black"/>
              <a:ea typeface="+mj-ea"/>
              <a:cs typeface="+mn-cs"/>
              <a:sym typeface="Poppins Regular"/>
            </a:endParaRPr>
          </a:p>
        </p:txBody>
      </p:sp>
      <p:sp>
        <p:nvSpPr>
          <p:cNvPr id="6" name="Freeform 21">
            <a:extLst>
              <a:ext uri="{FF2B5EF4-FFF2-40B4-BE49-F238E27FC236}">
                <a16:creationId xmlns:a16="http://schemas.microsoft.com/office/drawing/2014/main" id="{319E8D82-BF17-4BAB-B252-91FAACCC8ADC}"/>
              </a:ext>
            </a:extLst>
          </p:cNvPr>
          <p:cNvSpPr/>
          <p:nvPr/>
        </p:nvSpPr>
        <p:spPr>
          <a:xfrm>
            <a:off x="6066148" y="2937835"/>
            <a:ext cx="844139" cy="351026"/>
          </a:xfrm>
          <a:custGeom>
            <a:avLst/>
            <a:gdLst/>
            <a:ahLst/>
            <a:cxnLst>
              <a:cxn ang="0">
                <a:pos x="wd2" y="hd2"/>
              </a:cxn>
              <a:cxn ang="5400000">
                <a:pos x="wd2" y="hd2"/>
              </a:cxn>
              <a:cxn ang="10800000">
                <a:pos x="wd2" y="hd2"/>
              </a:cxn>
              <a:cxn ang="16200000">
                <a:pos x="wd2" y="hd2"/>
              </a:cxn>
            </a:cxnLst>
            <a:rect l="0" t="0" r="r" b="b"/>
            <a:pathLst>
              <a:path w="20713" h="18677" extrusionOk="0">
                <a:moveTo>
                  <a:pt x="15146" y="333"/>
                </a:moveTo>
                <a:cubicBezTo>
                  <a:pt x="0" y="9774"/>
                  <a:pt x="0" y="9774"/>
                  <a:pt x="0" y="9774"/>
                </a:cubicBezTo>
                <a:cubicBezTo>
                  <a:pt x="724" y="9488"/>
                  <a:pt x="1515" y="9488"/>
                  <a:pt x="2173" y="9918"/>
                </a:cubicBezTo>
                <a:cubicBezTo>
                  <a:pt x="14883" y="18214"/>
                  <a:pt x="14883" y="18214"/>
                  <a:pt x="14883" y="18214"/>
                </a:cubicBezTo>
                <a:cubicBezTo>
                  <a:pt x="18505" y="20646"/>
                  <a:pt x="21600" y="13065"/>
                  <a:pt x="20480" y="5769"/>
                </a:cubicBezTo>
                <a:cubicBezTo>
                  <a:pt x="19559" y="1621"/>
                  <a:pt x="17385" y="-954"/>
                  <a:pt x="15146" y="333"/>
                </a:cubicBezTo>
                <a:close/>
              </a:path>
            </a:pathLst>
          </a:custGeom>
          <a:gradFill flip="none" rotWithShape="1">
            <a:gsLst>
              <a:gs pos="100000">
                <a:schemeClr val="accent1">
                  <a:lumMod val="91000"/>
                </a:schemeClr>
              </a:gs>
              <a:gs pos="0">
                <a:schemeClr val="accent1">
                  <a:lumMod val="87000"/>
                </a:schemeClr>
              </a:gs>
            </a:gsLst>
            <a:lin ang="5400000" scaled="1"/>
            <a:tileRect/>
          </a:gradFill>
          <a:ln w="512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HarmonyOS Sans SC Black"/>
              <a:ea typeface="+mj-ea"/>
              <a:cs typeface="+mn-cs"/>
              <a:sym typeface="Poppins Regular"/>
            </a:endParaRPr>
          </a:p>
        </p:txBody>
      </p:sp>
      <p:sp>
        <p:nvSpPr>
          <p:cNvPr id="7" name="/">
            <a:extLst>
              <a:ext uri="{FF2B5EF4-FFF2-40B4-BE49-F238E27FC236}">
                <a16:creationId xmlns:a16="http://schemas.microsoft.com/office/drawing/2014/main" id="{E0A9B60F-A25A-40D5-A335-9871FFC31F9E}"/>
              </a:ext>
            </a:extLst>
          </p:cNvPr>
          <p:cNvSpPr txBox="1"/>
          <p:nvPr/>
        </p:nvSpPr>
        <p:spPr>
          <a:xfrm>
            <a:off x="6011865" y="2256789"/>
            <a:ext cx="173125" cy="615490"/>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numCol="1" anchor="ctr">
            <a:spAutoFit/>
          </a:bodyPr>
          <a:lstStyle>
            <a:lvl1pPr defTabSz="914400">
              <a:lnSpc>
                <a:spcPct val="150000"/>
              </a:lnSpc>
              <a:tabLst>
                <a:tab pos="1384300" algn="l"/>
              </a:tabLst>
              <a:defRPr sz="6000" b="0">
                <a:solidFill>
                  <a:srgbClr val="F7F9FF"/>
                </a:solidFill>
                <a:latin typeface="linea-basic-10"/>
                <a:ea typeface="linea-basic-10"/>
                <a:cs typeface="linea-basic-10"/>
                <a:sym typeface="linea-basic-10"/>
              </a:defRPr>
            </a:lvl1pPr>
          </a:lstStyle>
          <a:p>
            <a:pPr marL="0" marR="0" lvl="0" indent="0" algn="ctr" defTabSz="457200" rtl="0" eaLnBrk="1" fontAlgn="auto" latinLnBrk="0" hangingPunct="0">
              <a:lnSpc>
                <a:spcPct val="150000"/>
              </a:lnSpc>
              <a:spcBef>
                <a:spcPts val="0"/>
              </a:spcBef>
              <a:spcAft>
                <a:spcPts val="0"/>
              </a:spcAft>
              <a:buClrTx/>
              <a:buSzTx/>
              <a:buFontTx/>
              <a:buNone/>
              <a:tabLst>
                <a:tab pos="692150" algn="l"/>
              </a:tabLst>
              <a:defRPr/>
            </a:pPr>
            <a:r>
              <a:rPr kumimoji="0" sz="3000" b="0" i="0" u="none" strike="noStrike" kern="0" cap="none" spc="0" normalizeH="0" baseline="0" noProof="0" dirty="0">
                <a:ln>
                  <a:noFill/>
                </a:ln>
                <a:solidFill>
                  <a:prstClr val="white"/>
                </a:solidFill>
                <a:effectLst/>
                <a:uLnTx/>
                <a:uFillTx/>
                <a:latin typeface="HarmonyOS Sans SC Black"/>
                <a:ea typeface="+mj-ea"/>
                <a:sym typeface="linea-basic-10"/>
              </a:rPr>
              <a:t>/</a:t>
            </a:r>
          </a:p>
        </p:txBody>
      </p:sp>
      <p:sp>
        <p:nvSpPr>
          <p:cNvPr id="9" name="Freeform 16">
            <a:extLst>
              <a:ext uri="{FF2B5EF4-FFF2-40B4-BE49-F238E27FC236}">
                <a16:creationId xmlns:a16="http://schemas.microsoft.com/office/drawing/2014/main" id="{20120629-2CF1-48F0-9623-800B87E65FC3}"/>
              </a:ext>
            </a:extLst>
          </p:cNvPr>
          <p:cNvSpPr/>
          <p:nvPr/>
        </p:nvSpPr>
        <p:spPr>
          <a:xfrm>
            <a:off x="6428682" y="3570363"/>
            <a:ext cx="1473085" cy="1450938"/>
          </a:xfrm>
          <a:custGeom>
            <a:avLst/>
            <a:gdLst/>
            <a:ahLst/>
            <a:cxnLst>
              <a:cxn ang="0">
                <a:pos x="wd2" y="hd2"/>
              </a:cxn>
              <a:cxn ang="5400000">
                <a:pos x="wd2" y="hd2"/>
              </a:cxn>
              <a:cxn ang="10800000">
                <a:pos x="wd2" y="hd2"/>
              </a:cxn>
              <a:cxn ang="16200000">
                <a:pos x="wd2" y="hd2"/>
              </a:cxn>
            </a:cxnLst>
            <a:rect l="0" t="0" r="r" b="b"/>
            <a:pathLst>
              <a:path w="20954" h="20847" extrusionOk="0">
                <a:moveTo>
                  <a:pt x="0" y="20731"/>
                </a:moveTo>
                <a:cubicBezTo>
                  <a:pt x="191" y="20770"/>
                  <a:pt x="343" y="20770"/>
                  <a:pt x="534" y="20770"/>
                </a:cubicBezTo>
                <a:cubicBezTo>
                  <a:pt x="8396" y="20808"/>
                  <a:pt x="8396" y="20808"/>
                  <a:pt x="8396" y="20808"/>
                </a:cubicBezTo>
                <a:cubicBezTo>
                  <a:pt x="18318" y="20847"/>
                  <a:pt x="18318" y="20847"/>
                  <a:pt x="18318" y="20847"/>
                </a:cubicBezTo>
                <a:cubicBezTo>
                  <a:pt x="20341" y="20847"/>
                  <a:pt x="21600" y="18648"/>
                  <a:pt x="20608" y="16874"/>
                </a:cubicBezTo>
                <a:cubicBezTo>
                  <a:pt x="15608" y="8196"/>
                  <a:pt x="15608" y="8196"/>
                  <a:pt x="15608" y="8196"/>
                </a:cubicBezTo>
                <a:cubicBezTo>
                  <a:pt x="11678" y="1330"/>
                  <a:pt x="11678" y="1330"/>
                  <a:pt x="11678" y="1330"/>
                </a:cubicBezTo>
                <a:cubicBezTo>
                  <a:pt x="10457" y="-753"/>
                  <a:pt x="7365" y="-290"/>
                  <a:pt x="6831" y="2024"/>
                </a:cubicBezTo>
                <a:cubicBezTo>
                  <a:pt x="5076" y="9584"/>
                  <a:pt x="5076" y="9584"/>
                  <a:pt x="5076" y="9584"/>
                </a:cubicBezTo>
                <a:cubicBezTo>
                  <a:pt x="5037" y="9661"/>
                  <a:pt x="5037" y="9738"/>
                  <a:pt x="4999" y="9816"/>
                </a:cubicBezTo>
                <a:cubicBezTo>
                  <a:pt x="2786" y="18726"/>
                  <a:pt x="2786" y="18726"/>
                  <a:pt x="2786" y="18726"/>
                </a:cubicBezTo>
                <a:cubicBezTo>
                  <a:pt x="2442" y="20076"/>
                  <a:pt x="1221" y="20847"/>
                  <a:pt x="0" y="20731"/>
                </a:cubicBezTo>
                <a:close/>
              </a:path>
            </a:pathLst>
          </a:custGeom>
          <a:gradFill>
            <a:gsLst>
              <a:gs pos="73000">
                <a:schemeClr val="accent1"/>
              </a:gs>
              <a:gs pos="31000">
                <a:schemeClr val="accent1">
                  <a:lumMod val="60000"/>
                  <a:lumOff val="40000"/>
                </a:schemeClr>
              </a:gs>
              <a:gs pos="0">
                <a:schemeClr val="accent1">
                  <a:lumMod val="40000"/>
                  <a:lumOff val="60000"/>
                </a:schemeClr>
              </a:gs>
            </a:gsLst>
            <a:path path="circle">
              <a:fillToRect r="100000" b="100000"/>
            </a:path>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HarmonyOS Sans SC Black"/>
              <a:ea typeface="+mj-ea"/>
              <a:cs typeface="+mn-cs"/>
              <a:sym typeface="Poppins Regular"/>
            </a:endParaRPr>
          </a:p>
        </p:txBody>
      </p:sp>
      <p:sp>
        <p:nvSpPr>
          <p:cNvPr id="10" name="Freeform 17">
            <a:extLst>
              <a:ext uri="{FF2B5EF4-FFF2-40B4-BE49-F238E27FC236}">
                <a16:creationId xmlns:a16="http://schemas.microsoft.com/office/drawing/2014/main" id="{98DF8D31-76D4-4101-9B8F-022851889D5A}"/>
              </a:ext>
            </a:extLst>
          </p:cNvPr>
          <p:cNvSpPr/>
          <p:nvPr/>
        </p:nvSpPr>
        <p:spPr>
          <a:xfrm>
            <a:off x="6282139" y="4253899"/>
            <a:ext cx="498224" cy="760147"/>
          </a:xfrm>
          <a:custGeom>
            <a:avLst/>
            <a:gdLst/>
            <a:ahLst/>
            <a:cxnLst>
              <a:cxn ang="0">
                <a:pos x="wd2" y="hd2"/>
              </a:cxn>
              <a:cxn ang="5400000">
                <a:pos x="wd2" y="hd2"/>
              </a:cxn>
              <a:cxn ang="10800000">
                <a:pos x="wd2" y="hd2"/>
              </a:cxn>
              <a:cxn ang="16200000">
                <a:pos x="wd2" y="hd2"/>
              </a:cxn>
            </a:cxnLst>
            <a:rect l="0" t="0" r="r" b="b"/>
            <a:pathLst>
              <a:path w="19479" h="21396" extrusionOk="0">
                <a:moveTo>
                  <a:pt x="13397" y="17446"/>
                </a:moveTo>
                <a:cubicBezTo>
                  <a:pt x="19479" y="0"/>
                  <a:pt x="19479" y="0"/>
                  <a:pt x="19479" y="0"/>
                </a:cubicBezTo>
                <a:cubicBezTo>
                  <a:pt x="19060" y="755"/>
                  <a:pt x="18430" y="1510"/>
                  <a:pt x="17592" y="2115"/>
                </a:cubicBezTo>
                <a:cubicBezTo>
                  <a:pt x="2283" y="12537"/>
                  <a:pt x="2283" y="12537"/>
                  <a:pt x="2283" y="12537"/>
                </a:cubicBezTo>
                <a:cubicBezTo>
                  <a:pt x="-2121" y="15483"/>
                  <a:pt x="291" y="20543"/>
                  <a:pt x="5743" y="21373"/>
                </a:cubicBezTo>
                <a:cubicBezTo>
                  <a:pt x="9098" y="21600"/>
                  <a:pt x="12454" y="20090"/>
                  <a:pt x="13397" y="17446"/>
                </a:cubicBezTo>
                <a:close/>
              </a:path>
            </a:pathLst>
          </a:custGeom>
          <a:gradFill flip="none" rotWithShape="1">
            <a:gsLst>
              <a:gs pos="100000">
                <a:schemeClr val="accent1">
                  <a:lumMod val="91000"/>
                </a:schemeClr>
              </a:gs>
              <a:gs pos="0">
                <a:schemeClr val="accent1">
                  <a:lumMod val="87000"/>
                </a:schemeClr>
              </a:gs>
            </a:gsLst>
            <a:lin ang="5400000" scaled="1"/>
            <a:tileRect/>
          </a:gradFill>
          <a:ln w="512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HarmonyOS Sans SC Black"/>
              <a:ea typeface="+mj-ea"/>
              <a:cs typeface="+mn-cs"/>
              <a:sym typeface="Poppins Regular"/>
            </a:endParaRPr>
          </a:p>
        </p:txBody>
      </p:sp>
      <p:sp>
        <p:nvSpPr>
          <p:cNvPr id="11" name="6">
            <a:extLst>
              <a:ext uri="{FF2B5EF4-FFF2-40B4-BE49-F238E27FC236}">
                <a16:creationId xmlns:a16="http://schemas.microsoft.com/office/drawing/2014/main" id="{DB512A5C-0BAB-45F6-B3B1-F25587B5C994}"/>
              </a:ext>
            </a:extLst>
          </p:cNvPr>
          <p:cNvSpPr txBox="1"/>
          <p:nvPr/>
        </p:nvSpPr>
        <p:spPr>
          <a:xfrm>
            <a:off x="7047403" y="4278701"/>
            <a:ext cx="235642" cy="615490"/>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numCol="1" anchor="ctr">
            <a:spAutoFit/>
          </a:bodyPr>
          <a:lstStyle>
            <a:lvl1pPr defTabSz="914400">
              <a:lnSpc>
                <a:spcPct val="150000"/>
              </a:lnSpc>
              <a:tabLst>
                <a:tab pos="1384300" algn="l"/>
              </a:tabLst>
              <a:defRPr sz="6000" b="0">
                <a:solidFill>
                  <a:srgbClr val="F7F9FF"/>
                </a:solidFill>
                <a:latin typeface="linea-basic-10"/>
                <a:ea typeface="linea-basic-10"/>
                <a:cs typeface="linea-basic-10"/>
                <a:sym typeface="linea-basic-10"/>
              </a:defRPr>
            </a:lvl1pPr>
          </a:lstStyle>
          <a:p>
            <a:pPr marL="0" marR="0" lvl="0" indent="0" algn="ctr" defTabSz="457200" rtl="0" eaLnBrk="1" fontAlgn="auto" latinLnBrk="0" hangingPunct="0">
              <a:lnSpc>
                <a:spcPct val="150000"/>
              </a:lnSpc>
              <a:spcBef>
                <a:spcPts val="0"/>
              </a:spcBef>
              <a:spcAft>
                <a:spcPts val="0"/>
              </a:spcAft>
              <a:buClrTx/>
              <a:buSzTx/>
              <a:buFontTx/>
              <a:buNone/>
              <a:tabLst>
                <a:tab pos="692150" algn="l"/>
              </a:tabLst>
              <a:defRPr/>
            </a:pPr>
            <a:r>
              <a:rPr kumimoji="0" sz="3000" b="0" i="0" u="none" strike="noStrike" kern="0" cap="none" spc="0" normalizeH="0" baseline="0" noProof="0" dirty="0">
                <a:ln>
                  <a:noFill/>
                </a:ln>
                <a:solidFill>
                  <a:prstClr val="white"/>
                </a:solidFill>
                <a:effectLst/>
                <a:uLnTx/>
                <a:uFillTx/>
                <a:latin typeface="HarmonyOS Sans SC Black"/>
                <a:ea typeface="+mj-ea"/>
                <a:sym typeface="linea-basic-10"/>
              </a:rPr>
              <a:t>6</a:t>
            </a:r>
          </a:p>
        </p:txBody>
      </p:sp>
      <p:sp>
        <p:nvSpPr>
          <p:cNvPr id="13" name="Freeform 18">
            <a:extLst>
              <a:ext uri="{FF2B5EF4-FFF2-40B4-BE49-F238E27FC236}">
                <a16:creationId xmlns:a16="http://schemas.microsoft.com/office/drawing/2014/main" id="{C940CACF-23F8-4739-9EA1-6413422F5593}"/>
              </a:ext>
            </a:extLst>
          </p:cNvPr>
          <p:cNvSpPr/>
          <p:nvPr/>
        </p:nvSpPr>
        <p:spPr>
          <a:xfrm>
            <a:off x="4290234" y="3623263"/>
            <a:ext cx="1619761" cy="1390441"/>
          </a:xfrm>
          <a:custGeom>
            <a:avLst/>
            <a:gdLst/>
            <a:ahLst/>
            <a:cxnLst>
              <a:cxn ang="0">
                <a:pos x="wd2" y="hd2"/>
              </a:cxn>
              <a:cxn ang="5400000">
                <a:pos x="wd2" y="hd2"/>
              </a:cxn>
              <a:cxn ang="10800000">
                <a:pos x="wd2" y="hd2"/>
              </a:cxn>
              <a:cxn ang="16200000">
                <a:pos x="wd2" y="hd2"/>
              </a:cxn>
            </a:cxnLst>
            <a:rect l="0" t="0" r="r" b="b"/>
            <a:pathLst>
              <a:path w="20247" h="21600" extrusionOk="0">
                <a:moveTo>
                  <a:pt x="8454" y="0"/>
                </a:moveTo>
                <a:cubicBezTo>
                  <a:pt x="8354" y="167"/>
                  <a:pt x="8253" y="334"/>
                  <a:pt x="8152" y="500"/>
                </a:cubicBezTo>
                <a:cubicBezTo>
                  <a:pt x="4698" y="7923"/>
                  <a:pt x="4698" y="7923"/>
                  <a:pt x="4698" y="7923"/>
                </a:cubicBezTo>
                <a:cubicBezTo>
                  <a:pt x="304" y="17305"/>
                  <a:pt x="304" y="17305"/>
                  <a:pt x="304" y="17305"/>
                </a:cubicBezTo>
                <a:cubicBezTo>
                  <a:pt x="-568" y="19223"/>
                  <a:pt x="539" y="21600"/>
                  <a:pt x="2316" y="21600"/>
                </a:cubicBezTo>
                <a:cubicBezTo>
                  <a:pt x="11037" y="21558"/>
                  <a:pt x="11037" y="21558"/>
                  <a:pt x="11037" y="21558"/>
                </a:cubicBezTo>
                <a:cubicBezTo>
                  <a:pt x="17946" y="21517"/>
                  <a:pt x="17946" y="21517"/>
                  <a:pt x="17946" y="21517"/>
                </a:cubicBezTo>
                <a:cubicBezTo>
                  <a:pt x="20026" y="21517"/>
                  <a:pt x="21032" y="18347"/>
                  <a:pt x="19523" y="16554"/>
                </a:cubicBezTo>
                <a:cubicBezTo>
                  <a:pt x="14626" y="10842"/>
                  <a:pt x="14626" y="10842"/>
                  <a:pt x="14626" y="10842"/>
                </a:cubicBezTo>
                <a:cubicBezTo>
                  <a:pt x="14559" y="10758"/>
                  <a:pt x="14525" y="10717"/>
                  <a:pt x="14458" y="10633"/>
                </a:cubicBezTo>
                <a:cubicBezTo>
                  <a:pt x="8723" y="3711"/>
                  <a:pt x="8723" y="3711"/>
                  <a:pt x="8723" y="3711"/>
                </a:cubicBezTo>
                <a:cubicBezTo>
                  <a:pt x="7851" y="2669"/>
                  <a:pt x="7817" y="1084"/>
                  <a:pt x="8454" y="0"/>
                </a:cubicBezTo>
                <a:close/>
              </a:path>
            </a:pathLst>
          </a:custGeom>
          <a:gradFill>
            <a:gsLst>
              <a:gs pos="73000">
                <a:schemeClr val="accent1"/>
              </a:gs>
              <a:gs pos="31000">
                <a:schemeClr val="accent1">
                  <a:lumMod val="60000"/>
                  <a:lumOff val="40000"/>
                </a:schemeClr>
              </a:gs>
              <a:gs pos="0">
                <a:schemeClr val="accent1">
                  <a:lumMod val="40000"/>
                  <a:lumOff val="60000"/>
                </a:schemeClr>
              </a:gs>
            </a:gsLst>
            <a:path path="circle">
              <a:fillToRect r="100000" b="100000"/>
            </a:path>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HarmonyOS Sans SC Black"/>
              <a:ea typeface="+mj-ea"/>
              <a:cs typeface="+mn-cs"/>
              <a:sym typeface="Poppins Regular"/>
            </a:endParaRPr>
          </a:p>
        </p:txBody>
      </p:sp>
      <p:sp>
        <p:nvSpPr>
          <p:cNvPr id="14" name="Freeform 19">
            <a:extLst>
              <a:ext uri="{FF2B5EF4-FFF2-40B4-BE49-F238E27FC236}">
                <a16:creationId xmlns:a16="http://schemas.microsoft.com/office/drawing/2014/main" id="{E6086F93-3EF0-4A18-BD84-EDA143E790BC}"/>
              </a:ext>
            </a:extLst>
          </p:cNvPr>
          <p:cNvSpPr/>
          <p:nvPr/>
        </p:nvSpPr>
        <p:spPr>
          <a:xfrm>
            <a:off x="4931554" y="3561744"/>
            <a:ext cx="514813" cy="745342"/>
          </a:xfrm>
          <a:custGeom>
            <a:avLst/>
            <a:gdLst/>
            <a:ahLst/>
            <a:cxnLst>
              <a:cxn ang="0">
                <a:pos x="wd2" y="hd2"/>
              </a:cxn>
              <a:cxn ang="5400000">
                <a:pos x="wd2" y="hd2"/>
              </a:cxn>
              <a:cxn ang="10800000">
                <a:pos x="wd2" y="hd2"/>
              </a:cxn>
              <a:cxn ang="16200000">
                <a:pos x="wd2" y="hd2"/>
              </a:cxn>
            </a:cxnLst>
            <a:rect l="0" t="0" r="r" b="b"/>
            <a:pathLst>
              <a:path w="20950" h="20346" extrusionOk="0">
                <a:moveTo>
                  <a:pt x="2295" y="8191"/>
                </a:moveTo>
                <a:cubicBezTo>
                  <a:pt x="20950" y="20346"/>
                  <a:pt x="20950" y="20346"/>
                  <a:pt x="20950" y="20346"/>
                </a:cubicBezTo>
                <a:cubicBezTo>
                  <a:pt x="20186" y="19760"/>
                  <a:pt x="19641" y="19028"/>
                  <a:pt x="19314" y="18223"/>
                </a:cubicBezTo>
                <a:cubicBezTo>
                  <a:pt x="14295" y="3871"/>
                  <a:pt x="14295" y="3871"/>
                  <a:pt x="14295" y="3871"/>
                </a:cubicBezTo>
                <a:cubicBezTo>
                  <a:pt x="12877" y="-229"/>
                  <a:pt x="5241" y="-1254"/>
                  <a:pt x="1423" y="1675"/>
                </a:cubicBezTo>
                <a:cubicBezTo>
                  <a:pt x="-650" y="3579"/>
                  <a:pt x="-541" y="6361"/>
                  <a:pt x="2295" y="8191"/>
                </a:cubicBezTo>
                <a:close/>
              </a:path>
            </a:pathLst>
          </a:custGeom>
          <a:gradFill flip="none" rotWithShape="1">
            <a:gsLst>
              <a:gs pos="100000">
                <a:schemeClr val="accent1">
                  <a:lumMod val="91000"/>
                </a:schemeClr>
              </a:gs>
              <a:gs pos="0">
                <a:schemeClr val="accent1">
                  <a:lumMod val="87000"/>
                </a:schemeClr>
              </a:gs>
            </a:gsLst>
            <a:lin ang="5400000" scaled="1"/>
            <a:tileRect/>
          </a:gradFill>
          <a:ln w="512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HarmonyOS Sans SC Black"/>
              <a:ea typeface="+mj-ea"/>
              <a:cs typeface="+mn-cs"/>
              <a:sym typeface="Poppins Regular"/>
            </a:endParaRPr>
          </a:p>
        </p:txBody>
      </p:sp>
      <p:sp>
        <p:nvSpPr>
          <p:cNvPr id="15" name="#">
            <a:extLst>
              <a:ext uri="{FF2B5EF4-FFF2-40B4-BE49-F238E27FC236}">
                <a16:creationId xmlns:a16="http://schemas.microsoft.com/office/drawing/2014/main" id="{D5AC3285-7204-4912-9EC3-3A7687506F89}"/>
              </a:ext>
            </a:extLst>
          </p:cNvPr>
          <p:cNvSpPr txBox="1"/>
          <p:nvPr/>
        </p:nvSpPr>
        <p:spPr>
          <a:xfrm>
            <a:off x="4794496" y="4278701"/>
            <a:ext cx="274114" cy="615490"/>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numCol="1" anchor="ctr">
            <a:spAutoFit/>
          </a:bodyPr>
          <a:lstStyle>
            <a:lvl1pPr defTabSz="914400">
              <a:lnSpc>
                <a:spcPct val="150000"/>
              </a:lnSpc>
              <a:tabLst>
                <a:tab pos="1384300" algn="l"/>
              </a:tabLst>
              <a:defRPr sz="6000" b="0">
                <a:solidFill>
                  <a:srgbClr val="F7F9FF"/>
                </a:solidFill>
                <a:latin typeface="linea-basic-10"/>
                <a:ea typeface="linea-basic-10"/>
                <a:cs typeface="linea-basic-10"/>
                <a:sym typeface="linea-basic-10"/>
              </a:defRPr>
            </a:lvl1pPr>
          </a:lstStyle>
          <a:p>
            <a:pPr marL="0" marR="0" lvl="0" indent="0" algn="ctr" defTabSz="457200" rtl="0" eaLnBrk="1" fontAlgn="auto" latinLnBrk="0" hangingPunct="0">
              <a:lnSpc>
                <a:spcPct val="150000"/>
              </a:lnSpc>
              <a:spcBef>
                <a:spcPts val="0"/>
              </a:spcBef>
              <a:spcAft>
                <a:spcPts val="0"/>
              </a:spcAft>
              <a:buClrTx/>
              <a:buSzTx/>
              <a:buFontTx/>
              <a:buNone/>
              <a:tabLst>
                <a:tab pos="692150" algn="l"/>
              </a:tabLst>
              <a:defRPr/>
            </a:pPr>
            <a:r>
              <a:rPr kumimoji="0" sz="3000" b="0" i="0" u="none" strike="noStrike" kern="0" cap="none" spc="0" normalizeH="0" baseline="0" noProof="0">
                <a:ln>
                  <a:noFill/>
                </a:ln>
                <a:solidFill>
                  <a:prstClr val="white"/>
                </a:solidFill>
                <a:effectLst/>
                <a:uLnTx/>
                <a:uFillTx/>
                <a:latin typeface="HarmonyOS Sans SC Black"/>
                <a:ea typeface="+mj-ea"/>
                <a:sym typeface="linea-basic-10"/>
              </a:rPr>
              <a:t>#</a:t>
            </a:r>
          </a:p>
        </p:txBody>
      </p:sp>
      <p:sp>
        <p:nvSpPr>
          <p:cNvPr id="28" name="01">
            <a:extLst>
              <a:ext uri="{FF2B5EF4-FFF2-40B4-BE49-F238E27FC236}">
                <a16:creationId xmlns:a16="http://schemas.microsoft.com/office/drawing/2014/main" id="{0876B411-7D47-48C9-B9E2-46A84C9B6DA1}"/>
              </a:ext>
            </a:extLst>
          </p:cNvPr>
          <p:cNvSpPr txBox="1"/>
          <p:nvPr/>
        </p:nvSpPr>
        <p:spPr>
          <a:xfrm>
            <a:off x="8385525" y="2175526"/>
            <a:ext cx="394339" cy="38472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anchor="ctr">
            <a:spAutoFit/>
          </a:bodyPr>
          <a:lstStyle>
            <a:lvl1pPr algn="r">
              <a:defRPr sz="5000" b="0">
                <a:solidFill>
                  <a:srgbClr val="C22B48"/>
                </a:solidFill>
                <a:latin typeface="Poppins Bold"/>
                <a:ea typeface="Poppins Bold"/>
                <a:cs typeface="Poppins Bold"/>
                <a:sym typeface="Poppins Bold"/>
              </a:defRPr>
            </a:lvl1pPr>
          </a:lstStyle>
          <a:p>
            <a:pPr marL="0" marR="0" lvl="0" indent="0" algn="l" defTabSz="412750" rtl="0" eaLnBrk="1" fontAlgn="auto" latinLnBrk="0" hangingPunct="0">
              <a:lnSpc>
                <a:spcPct val="100000"/>
              </a:lnSpc>
              <a:spcBef>
                <a:spcPts val="0"/>
              </a:spcBef>
              <a:spcAft>
                <a:spcPts val="0"/>
              </a:spcAft>
              <a:buClrTx/>
              <a:buSzTx/>
              <a:buFontTx/>
              <a:buNone/>
              <a:tabLst/>
              <a:defRPr/>
            </a:pPr>
            <a:r>
              <a:rPr kumimoji="0" sz="2500" b="0" i="0" u="none" strike="noStrike" kern="0" cap="none" spc="0" normalizeH="0" baseline="0" noProof="0">
                <a:ln>
                  <a:noFill/>
                </a:ln>
                <a:solidFill>
                  <a:schemeClr val="accent1"/>
                </a:solidFill>
                <a:effectLst/>
                <a:uLnTx/>
                <a:uFillTx/>
                <a:latin typeface="HarmonyOS Sans SC Black"/>
                <a:ea typeface="+mj-ea"/>
                <a:cs typeface="Poppins Bold"/>
                <a:sym typeface="Poppins Bold"/>
              </a:rPr>
              <a:t>01</a:t>
            </a:r>
          </a:p>
        </p:txBody>
      </p:sp>
      <p:sp>
        <p:nvSpPr>
          <p:cNvPr id="29" name="02">
            <a:extLst>
              <a:ext uri="{FF2B5EF4-FFF2-40B4-BE49-F238E27FC236}">
                <a16:creationId xmlns:a16="http://schemas.microsoft.com/office/drawing/2014/main" id="{C9DE0F7D-0283-4022-9BEC-C7F23FF4BF10}"/>
              </a:ext>
            </a:extLst>
          </p:cNvPr>
          <p:cNvSpPr txBox="1"/>
          <p:nvPr/>
        </p:nvSpPr>
        <p:spPr>
          <a:xfrm>
            <a:off x="8385525" y="3447008"/>
            <a:ext cx="394339" cy="38472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anchor="ctr">
            <a:spAutoFit/>
          </a:bodyPr>
          <a:lstStyle>
            <a:lvl1pPr algn="r">
              <a:defRPr sz="5000" b="0">
                <a:solidFill>
                  <a:srgbClr val="7FEB9F"/>
                </a:solidFill>
                <a:latin typeface="Poppins Bold"/>
                <a:ea typeface="Poppins Bold"/>
                <a:cs typeface="Poppins Bold"/>
                <a:sym typeface="Poppins Bold"/>
              </a:defRPr>
            </a:lvl1pPr>
          </a:lstStyle>
          <a:p>
            <a:pPr marL="0" marR="0" lvl="0" indent="0" algn="l" defTabSz="412750" rtl="0" eaLnBrk="1" fontAlgn="auto" latinLnBrk="0" hangingPunct="0">
              <a:lnSpc>
                <a:spcPct val="100000"/>
              </a:lnSpc>
              <a:spcBef>
                <a:spcPts val="0"/>
              </a:spcBef>
              <a:spcAft>
                <a:spcPts val="0"/>
              </a:spcAft>
              <a:buClrTx/>
              <a:buSzTx/>
              <a:buFontTx/>
              <a:buNone/>
              <a:tabLst/>
              <a:defRPr/>
            </a:pPr>
            <a:r>
              <a:rPr kumimoji="0" sz="2500" b="0" i="0" u="none" strike="noStrike" kern="0" cap="none" spc="0" normalizeH="0" baseline="0" noProof="0">
                <a:ln>
                  <a:noFill/>
                </a:ln>
                <a:solidFill>
                  <a:schemeClr val="accent1"/>
                </a:solidFill>
                <a:effectLst/>
                <a:uLnTx/>
                <a:uFillTx/>
                <a:latin typeface="HarmonyOS Sans SC Black"/>
                <a:ea typeface="+mj-ea"/>
                <a:cs typeface="Poppins Bold"/>
                <a:sym typeface="Poppins Bold"/>
              </a:rPr>
              <a:t>02</a:t>
            </a:r>
          </a:p>
        </p:txBody>
      </p:sp>
      <p:sp>
        <p:nvSpPr>
          <p:cNvPr id="30" name="03">
            <a:extLst>
              <a:ext uri="{FF2B5EF4-FFF2-40B4-BE49-F238E27FC236}">
                <a16:creationId xmlns:a16="http://schemas.microsoft.com/office/drawing/2014/main" id="{5E276467-5F65-40F0-B815-C8B4F46155C9}"/>
              </a:ext>
            </a:extLst>
          </p:cNvPr>
          <p:cNvSpPr txBox="1"/>
          <p:nvPr/>
        </p:nvSpPr>
        <p:spPr>
          <a:xfrm>
            <a:off x="8385525" y="4718489"/>
            <a:ext cx="394339" cy="38472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anchor="ctr">
            <a:spAutoFit/>
          </a:bodyPr>
          <a:lstStyle>
            <a:lvl1pPr algn="r">
              <a:defRPr sz="5000" b="0">
                <a:solidFill>
                  <a:srgbClr val="1AAEC8"/>
                </a:solidFill>
                <a:latin typeface="Poppins Bold"/>
                <a:ea typeface="Poppins Bold"/>
                <a:cs typeface="Poppins Bold"/>
                <a:sym typeface="Poppins Bold"/>
              </a:defRPr>
            </a:lvl1pPr>
          </a:lstStyle>
          <a:p>
            <a:pPr marL="0" marR="0" lvl="0" indent="0" algn="l" defTabSz="412750" rtl="0" eaLnBrk="1" fontAlgn="auto" latinLnBrk="0" hangingPunct="0">
              <a:lnSpc>
                <a:spcPct val="100000"/>
              </a:lnSpc>
              <a:spcBef>
                <a:spcPts val="0"/>
              </a:spcBef>
              <a:spcAft>
                <a:spcPts val="0"/>
              </a:spcAft>
              <a:buClrTx/>
              <a:buSzTx/>
              <a:buFontTx/>
              <a:buNone/>
              <a:tabLst/>
              <a:defRPr/>
            </a:pPr>
            <a:r>
              <a:rPr kumimoji="0" sz="2500" b="0" i="0" u="none" strike="noStrike" kern="0" cap="none" spc="0" normalizeH="0" baseline="0" noProof="0">
                <a:ln>
                  <a:noFill/>
                </a:ln>
                <a:solidFill>
                  <a:schemeClr val="accent1"/>
                </a:solidFill>
                <a:effectLst/>
                <a:uLnTx/>
                <a:uFillTx/>
                <a:latin typeface="HarmonyOS Sans SC Black"/>
                <a:ea typeface="+mj-ea"/>
                <a:cs typeface="Poppins Bold"/>
                <a:sym typeface="Poppins Bold"/>
              </a:rPr>
              <a:t>03</a:t>
            </a:r>
          </a:p>
        </p:txBody>
      </p:sp>
      <p:grpSp>
        <p:nvGrpSpPr>
          <p:cNvPr id="31" name="组合 30">
            <a:extLst>
              <a:ext uri="{FF2B5EF4-FFF2-40B4-BE49-F238E27FC236}">
                <a16:creationId xmlns:a16="http://schemas.microsoft.com/office/drawing/2014/main" id="{DA164109-0E82-4067-95DF-7D5F085798AC}"/>
              </a:ext>
            </a:extLst>
          </p:cNvPr>
          <p:cNvGrpSpPr/>
          <p:nvPr/>
        </p:nvGrpSpPr>
        <p:grpSpPr>
          <a:xfrm>
            <a:off x="950412" y="3242782"/>
            <a:ext cx="2739853" cy="1224210"/>
            <a:chOff x="950412" y="2483653"/>
            <a:chExt cx="2739853" cy="1224210"/>
          </a:xfrm>
        </p:grpSpPr>
        <p:sp>
          <p:nvSpPr>
            <p:cNvPr id="32" name="文本框 31">
              <a:extLst>
                <a:ext uri="{FF2B5EF4-FFF2-40B4-BE49-F238E27FC236}">
                  <a16:creationId xmlns:a16="http://schemas.microsoft.com/office/drawing/2014/main" id="{DD007961-C81D-4B01-872B-9D8F17739C9E}"/>
                </a:ext>
              </a:extLst>
            </p:cNvPr>
            <p:cNvSpPr txBox="1"/>
            <p:nvPr/>
          </p:nvSpPr>
          <p:spPr>
            <a:xfrm>
              <a:off x="950412" y="2483653"/>
              <a:ext cx="2730235" cy="83099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2400" b="0" i="0" u="none" strike="noStrike" kern="1200" cap="none" spc="0" normalizeH="0" baseline="0" noProof="0" dirty="0">
                  <a:ln>
                    <a:noFill/>
                  </a:ln>
                  <a:solidFill>
                    <a:schemeClr val="accent1"/>
                  </a:solidFill>
                  <a:effectLst/>
                  <a:uLnTx/>
                  <a:uFillTx/>
                  <a:latin typeface="HarmonyOS Sans Black"/>
                  <a:ea typeface="+mj-ea"/>
                  <a:cs typeface="+mn-cs"/>
                </a:rPr>
                <a:t>Infographic</a:t>
              </a:r>
              <a:r>
                <a:rPr kumimoji="0" lang="en-US" altLang="zh-CN" sz="2400" b="0" i="0" u="none" strike="noStrike" kern="1200" cap="none" spc="0" normalizeH="0" baseline="0" noProof="0" dirty="0">
                  <a:ln>
                    <a:noFill/>
                  </a:ln>
                  <a:solidFill>
                    <a:prstClr val="black"/>
                  </a:solidFill>
                  <a:effectLst/>
                  <a:uLnTx/>
                  <a:uFillTx/>
                  <a:latin typeface="HarmonyOS Sans Black"/>
                  <a:ea typeface="+mj-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2400" b="0" i="0" u="none" strike="noStrike" kern="1200" cap="none" spc="0" normalizeH="0" baseline="0" noProof="0" dirty="0">
                  <a:ln>
                    <a:noFill/>
                  </a:ln>
                  <a:solidFill>
                    <a:prstClr val="black"/>
                  </a:solidFill>
                  <a:effectLst/>
                  <a:uLnTx/>
                  <a:uFillTx/>
                  <a:latin typeface="HarmonyOS Sans Black"/>
                  <a:ea typeface="+mj-ea"/>
                  <a:cs typeface="+mn-cs"/>
                </a:rPr>
                <a:t>Element Analysis</a:t>
              </a:r>
            </a:p>
          </p:txBody>
        </p:sp>
        <p:sp>
          <p:nvSpPr>
            <p:cNvPr id="33" name="文本框 32">
              <a:extLst>
                <a:ext uri="{FF2B5EF4-FFF2-40B4-BE49-F238E27FC236}">
                  <a16:creationId xmlns:a16="http://schemas.microsoft.com/office/drawing/2014/main" id="{21D40487-2ADE-446E-8049-FAACB3F5EB23}"/>
                </a:ext>
              </a:extLst>
            </p:cNvPr>
            <p:cNvSpPr txBox="1"/>
            <p:nvPr/>
          </p:nvSpPr>
          <p:spPr>
            <a:xfrm>
              <a:off x="950412" y="3446253"/>
              <a:ext cx="2739853"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050" b="0" i="0" u="none" strike="noStrike" kern="1200" cap="none" spc="0" normalizeH="0" baseline="0" noProof="0" dirty="0">
                  <a:ln>
                    <a:noFill/>
                  </a:ln>
                  <a:solidFill>
                    <a:prstClr val="black">
                      <a:lumMod val="50000"/>
                      <a:lumOff val="50000"/>
                    </a:prstClr>
                  </a:solidFill>
                  <a:effectLst/>
                  <a:uLnTx/>
                  <a:uFillTx/>
                  <a:latin typeface="HarmonyOS Sans SC"/>
                  <a:cs typeface="+mn-cs"/>
                </a:rPr>
                <a:t>Motion Creative Multipurpose Template</a:t>
              </a:r>
            </a:p>
          </p:txBody>
        </p:sp>
      </p:grpSp>
      <p:sp>
        <p:nvSpPr>
          <p:cNvPr id="34" name="Easy Editable…">
            <a:extLst>
              <a:ext uri="{FF2B5EF4-FFF2-40B4-BE49-F238E27FC236}">
                <a16:creationId xmlns:a16="http://schemas.microsoft.com/office/drawing/2014/main" id="{E89217CF-E230-4EDC-9B2A-780B62F950D5}"/>
              </a:ext>
            </a:extLst>
          </p:cNvPr>
          <p:cNvSpPr txBox="1"/>
          <p:nvPr/>
        </p:nvSpPr>
        <p:spPr>
          <a:xfrm>
            <a:off x="9062021" y="2170763"/>
            <a:ext cx="2213747" cy="245452"/>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nchor="ctr">
            <a:spAutoFit/>
          </a:bodyPr>
          <a:lstStyle/>
          <a:p>
            <a:pPr marL="0" marR="0" lvl="0" indent="0" algn="l" defTabSz="412750" rtl="0" eaLnBrk="1" fontAlgn="auto" latinLnBrk="0" hangingPunct="0">
              <a:lnSpc>
                <a:spcPct val="150000"/>
              </a:lnSpc>
              <a:spcBef>
                <a:spcPts val="500"/>
              </a:spcBef>
              <a:spcAft>
                <a:spcPts val="0"/>
              </a:spcAft>
              <a:buClrTx/>
              <a:buSzTx/>
              <a:buFontTx/>
              <a:buNone/>
              <a:tabLst/>
              <a:defRPr sz="2400" b="0">
                <a:solidFill>
                  <a:srgbClr val="F7F9FF"/>
                </a:solidFill>
                <a:latin typeface="Poppins Bold"/>
                <a:ea typeface="Poppins Bold"/>
                <a:cs typeface="Poppins Bold"/>
                <a:sym typeface="Poppins Bold"/>
              </a:defRPr>
            </a:pPr>
            <a:r>
              <a:rPr kumimoji="0" sz="1200" b="0" i="0" u="none" strike="noStrike" kern="0" cap="none" spc="0" normalizeH="0" baseline="0" noProof="0" dirty="0">
                <a:ln>
                  <a:noFill/>
                </a:ln>
                <a:solidFill>
                  <a:schemeClr val="accent1"/>
                </a:solidFill>
                <a:effectLst/>
                <a:uLnTx/>
                <a:uFillTx/>
                <a:latin typeface="HarmonyOS Sans SC Black"/>
                <a:ea typeface="+mj-ea"/>
                <a:cs typeface="Poppins Bold"/>
                <a:sym typeface="Poppins Bold"/>
              </a:rPr>
              <a:t>Easy Editable</a:t>
            </a:r>
            <a:endParaRPr kumimoji="0" sz="900" b="0" i="0" u="none" strike="noStrike" kern="0" cap="none" spc="0" normalizeH="0" baseline="0" noProof="0" dirty="0">
              <a:ln>
                <a:noFill/>
              </a:ln>
              <a:solidFill>
                <a:schemeClr val="accent1"/>
              </a:solidFill>
              <a:effectLst/>
              <a:uLnTx/>
              <a:uFillTx/>
              <a:latin typeface="HarmonyOS Sans SC Black"/>
              <a:ea typeface="+mj-ea"/>
              <a:cs typeface="Poppins Light"/>
              <a:sym typeface="Poppins Light"/>
            </a:endParaRPr>
          </a:p>
        </p:txBody>
      </p:sp>
      <p:sp>
        <p:nvSpPr>
          <p:cNvPr id="35" name="Easy Editable…">
            <a:extLst>
              <a:ext uri="{FF2B5EF4-FFF2-40B4-BE49-F238E27FC236}">
                <a16:creationId xmlns:a16="http://schemas.microsoft.com/office/drawing/2014/main" id="{5399BD67-6394-4594-9F34-AAE1EC4D5648}"/>
              </a:ext>
            </a:extLst>
          </p:cNvPr>
          <p:cNvSpPr txBox="1"/>
          <p:nvPr/>
        </p:nvSpPr>
        <p:spPr>
          <a:xfrm>
            <a:off x="9062021" y="2491664"/>
            <a:ext cx="2213747" cy="39183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nchor="ctr">
            <a:spAutoFit/>
          </a:bodyPr>
          <a:lstStyle/>
          <a:p>
            <a:pPr marL="0" marR="0" lvl="0" indent="0" algn="l" defTabSz="412750" rtl="0" eaLnBrk="1" fontAlgn="auto" latinLnBrk="0" hangingPunct="0">
              <a:lnSpc>
                <a:spcPct val="150000"/>
              </a:lnSpc>
              <a:spcBef>
                <a:spcPts val="500"/>
              </a:spcBef>
              <a:spcAft>
                <a:spcPts val="0"/>
              </a:spcAft>
              <a:buClrTx/>
              <a:buSzTx/>
              <a:buFontTx/>
              <a:buNone/>
              <a:tabLst/>
              <a:defRPr sz="1800" b="0">
                <a:solidFill>
                  <a:srgbClr val="C8CBD1"/>
                </a:solidFill>
                <a:latin typeface="Poppins Light"/>
                <a:ea typeface="Poppins Light"/>
                <a:cs typeface="Poppins Light"/>
                <a:sym typeface="Poppins Light"/>
              </a:defRPr>
            </a:pPr>
            <a:r>
              <a:rPr kumimoji="0" sz="900" b="0" i="0" u="none" strike="noStrike" kern="0" cap="none" spc="0" normalizeH="0" baseline="0" noProof="0" dirty="0">
                <a:ln>
                  <a:noFill/>
                </a:ln>
                <a:solidFill>
                  <a:prstClr val="black">
                    <a:lumMod val="50000"/>
                    <a:lumOff val="50000"/>
                  </a:prstClr>
                </a:solidFill>
                <a:effectLst/>
                <a:uLnTx/>
                <a:uFillTx/>
                <a:latin typeface="HarmonyOS Sans SC"/>
                <a:cs typeface="Poppins Light"/>
                <a:sym typeface="Poppins Light"/>
              </a:rPr>
              <a:t>Uniquely incubate timely infomediaries</a:t>
            </a:r>
            <a:r>
              <a:rPr kumimoji="0" lang="en-US" sz="900" b="0" i="0" u="none" strike="noStrike" kern="0" cap="none" spc="0" normalizeH="0" baseline="0" noProof="0" dirty="0">
                <a:ln>
                  <a:noFill/>
                </a:ln>
                <a:solidFill>
                  <a:prstClr val="black">
                    <a:lumMod val="50000"/>
                    <a:lumOff val="50000"/>
                  </a:prstClr>
                </a:solidFill>
                <a:effectLst/>
                <a:uLnTx/>
                <a:uFillTx/>
                <a:latin typeface="HarmonyOS Sans SC"/>
                <a:cs typeface="Poppins Light"/>
                <a:sym typeface="Poppins Light"/>
              </a:rPr>
              <a:t> </a:t>
            </a:r>
            <a:r>
              <a:rPr kumimoji="0" sz="900" b="0" i="0" u="none" strike="noStrike" kern="0" cap="none" spc="0" normalizeH="0" baseline="0" noProof="0" dirty="0" err="1">
                <a:ln>
                  <a:noFill/>
                </a:ln>
                <a:solidFill>
                  <a:prstClr val="black">
                    <a:lumMod val="50000"/>
                    <a:lumOff val="50000"/>
                  </a:prstClr>
                </a:solidFill>
                <a:effectLst/>
                <a:uLnTx/>
                <a:uFillTx/>
                <a:latin typeface="HarmonyOS Sans SC"/>
                <a:cs typeface="Poppins Light"/>
                <a:sym typeface="Poppins Light"/>
              </a:rPr>
              <a:t>infomediaries</a:t>
            </a:r>
            <a:r>
              <a:rPr kumimoji="0" sz="900" b="0" i="0" u="none" strike="noStrike" kern="0" cap="none" spc="0" normalizeH="0" baseline="0" noProof="0" dirty="0">
                <a:ln>
                  <a:noFill/>
                </a:ln>
                <a:solidFill>
                  <a:prstClr val="black">
                    <a:lumMod val="50000"/>
                    <a:lumOff val="50000"/>
                  </a:prstClr>
                </a:solidFill>
                <a:effectLst/>
                <a:uLnTx/>
                <a:uFillTx/>
                <a:latin typeface="HarmonyOS Sans SC"/>
                <a:cs typeface="Poppins Light"/>
                <a:sym typeface="Poppins Light"/>
              </a:rPr>
              <a:t>.</a:t>
            </a:r>
          </a:p>
        </p:txBody>
      </p:sp>
      <p:sp>
        <p:nvSpPr>
          <p:cNvPr id="36" name="Safety…">
            <a:extLst>
              <a:ext uri="{FF2B5EF4-FFF2-40B4-BE49-F238E27FC236}">
                <a16:creationId xmlns:a16="http://schemas.microsoft.com/office/drawing/2014/main" id="{DB143933-55A0-42FE-87E7-435D1BA8E823}"/>
              </a:ext>
            </a:extLst>
          </p:cNvPr>
          <p:cNvSpPr txBox="1"/>
          <p:nvPr/>
        </p:nvSpPr>
        <p:spPr>
          <a:xfrm>
            <a:off x="9062021" y="3442245"/>
            <a:ext cx="2213747" cy="245452"/>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nchor="ctr">
            <a:spAutoFit/>
          </a:bodyPr>
          <a:lstStyle/>
          <a:p>
            <a:pPr marL="0" marR="0" lvl="0" indent="0" algn="l" defTabSz="412750" rtl="0" eaLnBrk="1" fontAlgn="auto" latinLnBrk="0" hangingPunct="0">
              <a:lnSpc>
                <a:spcPct val="150000"/>
              </a:lnSpc>
              <a:spcBef>
                <a:spcPts val="500"/>
              </a:spcBef>
              <a:spcAft>
                <a:spcPts val="0"/>
              </a:spcAft>
              <a:buClrTx/>
              <a:buSzTx/>
              <a:buFontTx/>
              <a:buNone/>
              <a:tabLst/>
              <a:defRPr sz="2400" b="0">
                <a:solidFill>
                  <a:srgbClr val="F7F9FF"/>
                </a:solidFill>
                <a:latin typeface="Poppins Bold"/>
                <a:ea typeface="Poppins Bold"/>
                <a:cs typeface="Poppins Bold"/>
                <a:sym typeface="Poppins Bold"/>
              </a:defRPr>
            </a:pPr>
            <a:r>
              <a:rPr kumimoji="0" lang="en-US" sz="1200" b="0" i="0" u="none" strike="noStrike" kern="0" cap="none" spc="0" normalizeH="0" baseline="0" noProof="0">
                <a:ln>
                  <a:noFill/>
                </a:ln>
                <a:solidFill>
                  <a:schemeClr val="accent1"/>
                </a:solidFill>
                <a:effectLst/>
                <a:uLnTx/>
                <a:uFillTx/>
                <a:latin typeface="HarmonyOS Sans SC Black"/>
                <a:ea typeface="+mj-ea"/>
                <a:cs typeface="Poppins Bold"/>
                <a:sym typeface="Poppins Bold"/>
              </a:rPr>
              <a:t>Safety</a:t>
            </a:r>
            <a:endParaRPr kumimoji="0" lang="en-US" sz="900" b="0" i="0" u="none" strike="noStrike" kern="0" cap="none" spc="0" normalizeH="0" baseline="0" noProof="0" dirty="0">
              <a:ln>
                <a:noFill/>
              </a:ln>
              <a:solidFill>
                <a:schemeClr val="accent1"/>
              </a:solidFill>
              <a:effectLst/>
              <a:uLnTx/>
              <a:uFillTx/>
              <a:latin typeface="HarmonyOS Sans SC Black"/>
              <a:ea typeface="+mj-ea"/>
              <a:cs typeface="Poppins Light"/>
              <a:sym typeface="Poppins Light"/>
            </a:endParaRPr>
          </a:p>
        </p:txBody>
      </p:sp>
      <p:sp>
        <p:nvSpPr>
          <p:cNvPr id="37" name="Safety…">
            <a:extLst>
              <a:ext uri="{FF2B5EF4-FFF2-40B4-BE49-F238E27FC236}">
                <a16:creationId xmlns:a16="http://schemas.microsoft.com/office/drawing/2014/main" id="{11308E97-A405-4416-AFE0-0A13824A0343}"/>
              </a:ext>
            </a:extLst>
          </p:cNvPr>
          <p:cNvSpPr txBox="1"/>
          <p:nvPr/>
        </p:nvSpPr>
        <p:spPr>
          <a:xfrm>
            <a:off x="9062021" y="3763146"/>
            <a:ext cx="2213747" cy="39183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nchor="ctr">
            <a:spAutoFit/>
          </a:bodyPr>
          <a:lstStyle/>
          <a:p>
            <a:pPr marL="0" marR="0" lvl="0" indent="0" algn="l" defTabSz="412750" rtl="0" eaLnBrk="1" fontAlgn="auto" latinLnBrk="0" hangingPunct="0">
              <a:lnSpc>
                <a:spcPct val="150000"/>
              </a:lnSpc>
              <a:spcBef>
                <a:spcPts val="500"/>
              </a:spcBef>
              <a:spcAft>
                <a:spcPts val="0"/>
              </a:spcAft>
              <a:buClrTx/>
              <a:buSzTx/>
              <a:buFontTx/>
              <a:buNone/>
              <a:tabLst/>
              <a:defRPr sz="1800" b="0">
                <a:solidFill>
                  <a:srgbClr val="C8CBD1"/>
                </a:solidFill>
                <a:latin typeface="Poppins Light"/>
                <a:ea typeface="Poppins Light"/>
                <a:cs typeface="Poppins Light"/>
                <a:sym typeface="Poppins Light"/>
              </a:defRPr>
            </a:pPr>
            <a:r>
              <a:rPr kumimoji="0" lang="en-US" sz="900" b="0" i="0" u="none" strike="noStrike" kern="0" cap="none" spc="0" normalizeH="0" baseline="0" noProof="0">
                <a:ln>
                  <a:noFill/>
                </a:ln>
                <a:solidFill>
                  <a:prstClr val="black">
                    <a:lumMod val="50000"/>
                    <a:lumOff val="50000"/>
                  </a:prstClr>
                </a:solidFill>
                <a:effectLst/>
                <a:uLnTx/>
                <a:uFillTx/>
                <a:latin typeface="HarmonyOS Sans SC"/>
                <a:cs typeface="Poppins Light"/>
                <a:sym typeface="Poppins Light"/>
              </a:rPr>
              <a:t>Uniquely </a:t>
            </a:r>
            <a:r>
              <a:rPr kumimoji="0" lang="en-US" sz="900" b="0" i="0" u="none" strike="noStrike" kern="0" cap="none" spc="0" normalizeH="0" baseline="0" noProof="0" dirty="0">
                <a:ln>
                  <a:noFill/>
                </a:ln>
                <a:solidFill>
                  <a:prstClr val="black">
                    <a:lumMod val="50000"/>
                    <a:lumOff val="50000"/>
                  </a:prstClr>
                </a:solidFill>
                <a:effectLst/>
                <a:uLnTx/>
                <a:uFillTx/>
                <a:latin typeface="HarmonyOS Sans SC"/>
                <a:cs typeface="Poppins Light"/>
                <a:sym typeface="Poppins Light"/>
              </a:rPr>
              <a:t>incubate timely infomediaries </a:t>
            </a:r>
            <a:r>
              <a:rPr kumimoji="0" lang="en-US" sz="900" b="0" i="0" u="none" strike="noStrike" kern="0" cap="none" spc="0" normalizeH="0" baseline="0" noProof="0" dirty="0" err="1">
                <a:ln>
                  <a:noFill/>
                </a:ln>
                <a:solidFill>
                  <a:prstClr val="black">
                    <a:lumMod val="50000"/>
                    <a:lumOff val="50000"/>
                  </a:prstClr>
                </a:solidFill>
                <a:effectLst/>
                <a:uLnTx/>
                <a:uFillTx/>
                <a:latin typeface="HarmonyOS Sans SC"/>
                <a:cs typeface="Poppins Light"/>
                <a:sym typeface="Poppins Light"/>
              </a:rPr>
              <a:t>infomediaries</a:t>
            </a:r>
            <a:r>
              <a:rPr kumimoji="0" lang="en-US" sz="900" b="0" i="0" u="none" strike="noStrike" kern="0" cap="none" spc="0" normalizeH="0" baseline="0" noProof="0" dirty="0">
                <a:ln>
                  <a:noFill/>
                </a:ln>
                <a:solidFill>
                  <a:prstClr val="black">
                    <a:lumMod val="50000"/>
                    <a:lumOff val="50000"/>
                  </a:prstClr>
                </a:solidFill>
                <a:effectLst/>
                <a:uLnTx/>
                <a:uFillTx/>
                <a:latin typeface="HarmonyOS Sans SC"/>
                <a:cs typeface="Poppins Light"/>
                <a:sym typeface="Poppins Light"/>
              </a:rPr>
              <a:t>.</a:t>
            </a:r>
          </a:p>
        </p:txBody>
      </p:sp>
      <p:sp>
        <p:nvSpPr>
          <p:cNvPr id="38" name="Full Analysis…">
            <a:extLst>
              <a:ext uri="{FF2B5EF4-FFF2-40B4-BE49-F238E27FC236}">
                <a16:creationId xmlns:a16="http://schemas.microsoft.com/office/drawing/2014/main" id="{5571814F-77F1-41C3-895C-1C86B9506D77}"/>
              </a:ext>
            </a:extLst>
          </p:cNvPr>
          <p:cNvSpPr txBox="1"/>
          <p:nvPr/>
        </p:nvSpPr>
        <p:spPr>
          <a:xfrm>
            <a:off x="9062021" y="4713727"/>
            <a:ext cx="2213747" cy="245452"/>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nchor="ctr">
            <a:spAutoFit/>
          </a:bodyPr>
          <a:lstStyle/>
          <a:p>
            <a:pPr marL="0" marR="0" lvl="0" indent="0" algn="l" defTabSz="412750" rtl="0" eaLnBrk="1" fontAlgn="auto" latinLnBrk="0" hangingPunct="0">
              <a:lnSpc>
                <a:spcPct val="150000"/>
              </a:lnSpc>
              <a:spcBef>
                <a:spcPts val="500"/>
              </a:spcBef>
              <a:spcAft>
                <a:spcPts val="0"/>
              </a:spcAft>
              <a:buClrTx/>
              <a:buSzTx/>
              <a:buFontTx/>
              <a:buNone/>
              <a:tabLst/>
              <a:defRPr sz="2400" b="0">
                <a:solidFill>
                  <a:srgbClr val="F7F9FF"/>
                </a:solidFill>
                <a:latin typeface="Poppins Bold"/>
                <a:ea typeface="Poppins Bold"/>
                <a:cs typeface="Poppins Bold"/>
                <a:sym typeface="Poppins Bold"/>
              </a:defRPr>
            </a:pPr>
            <a:r>
              <a:rPr kumimoji="0" lang="en-US" sz="1200" b="0" i="0" u="none" strike="noStrike" kern="0" cap="none" spc="0" normalizeH="0" baseline="0" noProof="0">
                <a:ln>
                  <a:noFill/>
                </a:ln>
                <a:solidFill>
                  <a:schemeClr val="accent1"/>
                </a:solidFill>
                <a:effectLst/>
                <a:uLnTx/>
                <a:uFillTx/>
                <a:latin typeface="HarmonyOS Sans SC Black"/>
                <a:ea typeface="+mj-ea"/>
                <a:cs typeface="Poppins Bold"/>
                <a:sym typeface="Poppins Bold"/>
              </a:rPr>
              <a:t>Full Analysis</a:t>
            </a:r>
            <a:endParaRPr kumimoji="0" lang="en-US" sz="900" b="0" i="0" u="none" strike="noStrike" kern="0" cap="none" spc="0" normalizeH="0" baseline="0" noProof="0" dirty="0">
              <a:ln>
                <a:noFill/>
              </a:ln>
              <a:solidFill>
                <a:schemeClr val="accent1"/>
              </a:solidFill>
              <a:effectLst/>
              <a:uLnTx/>
              <a:uFillTx/>
              <a:latin typeface="HarmonyOS Sans SC Black"/>
              <a:ea typeface="+mj-ea"/>
              <a:cs typeface="Poppins Light"/>
              <a:sym typeface="Poppins Light"/>
            </a:endParaRPr>
          </a:p>
        </p:txBody>
      </p:sp>
      <p:sp>
        <p:nvSpPr>
          <p:cNvPr id="39" name="Full Analysis…">
            <a:extLst>
              <a:ext uri="{FF2B5EF4-FFF2-40B4-BE49-F238E27FC236}">
                <a16:creationId xmlns:a16="http://schemas.microsoft.com/office/drawing/2014/main" id="{E643427D-7D57-4B9A-BCA5-5BBC2DBBA600}"/>
              </a:ext>
            </a:extLst>
          </p:cNvPr>
          <p:cNvSpPr txBox="1"/>
          <p:nvPr/>
        </p:nvSpPr>
        <p:spPr>
          <a:xfrm>
            <a:off x="9062021" y="5034628"/>
            <a:ext cx="2213747" cy="39183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nchor="ctr">
            <a:spAutoFit/>
          </a:bodyPr>
          <a:lstStyle/>
          <a:p>
            <a:pPr marL="0" marR="0" lvl="0" indent="0" algn="l" defTabSz="412750" rtl="0" eaLnBrk="1" fontAlgn="auto" latinLnBrk="0" hangingPunct="0">
              <a:lnSpc>
                <a:spcPct val="150000"/>
              </a:lnSpc>
              <a:spcBef>
                <a:spcPts val="500"/>
              </a:spcBef>
              <a:spcAft>
                <a:spcPts val="0"/>
              </a:spcAft>
              <a:buClrTx/>
              <a:buSzTx/>
              <a:buFontTx/>
              <a:buNone/>
              <a:tabLst/>
              <a:defRPr sz="1800" b="0">
                <a:solidFill>
                  <a:srgbClr val="C8CBD1"/>
                </a:solidFill>
                <a:latin typeface="Poppins Light"/>
                <a:ea typeface="Poppins Light"/>
                <a:cs typeface="Poppins Light"/>
                <a:sym typeface="Poppins Light"/>
              </a:defRPr>
            </a:pPr>
            <a:r>
              <a:rPr kumimoji="0" lang="en-US" sz="900" b="0" i="0" u="none" strike="noStrike" kern="0" cap="none" spc="0" normalizeH="0" baseline="0" noProof="0">
                <a:ln>
                  <a:noFill/>
                </a:ln>
                <a:solidFill>
                  <a:prstClr val="black">
                    <a:lumMod val="50000"/>
                    <a:lumOff val="50000"/>
                  </a:prstClr>
                </a:solidFill>
                <a:effectLst/>
                <a:uLnTx/>
                <a:uFillTx/>
                <a:latin typeface="HarmonyOS Sans SC"/>
                <a:cs typeface="Poppins Light"/>
                <a:sym typeface="Poppins Light"/>
              </a:rPr>
              <a:t>Uniquely </a:t>
            </a:r>
            <a:r>
              <a:rPr kumimoji="0" lang="en-US" sz="900" b="0" i="0" u="none" strike="noStrike" kern="0" cap="none" spc="0" normalizeH="0" baseline="0" noProof="0" dirty="0">
                <a:ln>
                  <a:noFill/>
                </a:ln>
                <a:solidFill>
                  <a:prstClr val="black">
                    <a:lumMod val="50000"/>
                    <a:lumOff val="50000"/>
                  </a:prstClr>
                </a:solidFill>
                <a:effectLst/>
                <a:uLnTx/>
                <a:uFillTx/>
                <a:latin typeface="HarmonyOS Sans SC"/>
                <a:cs typeface="Poppins Light"/>
                <a:sym typeface="Poppins Light"/>
              </a:rPr>
              <a:t>incubate timely infomediaries </a:t>
            </a:r>
            <a:r>
              <a:rPr kumimoji="0" lang="en-US" sz="900" b="0" i="0" u="none" strike="noStrike" kern="0" cap="none" spc="0" normalizeH="0" baseline="0" noProof="0" dirty="0" err="1">
                <a:ln>
                  <a:noFill/>
                </a:ln>
                <a:solidFill>
                  <a:prstClr val="black">
                    <a:lumMod val="50000"/>
                    <a:lumOff val="50000"/>
                  </a:prstClr>
                </a:solidFill>
                <a:effectLst/>
                <a:uLnTx/>
                <a:uFillTx/>
                <a:latin typeface="HarmonyOS Sans SC"/>
                <a:cs typeface="Poppins Light"/>
                <a:sym typeface="Poppins Light"/>
              </a:rPr>
              <a:t>infomediaries</a:t>
            </a:r>
            <a:r>
              <a:rPr kumimoji="0" lang="en-US" sz="900" b="0" i="0" u="none" strike="noStrike" kern="0" cap="none" spc="0" normalizeH="0" baseline="0" noProof="0" dirty="0">
                <a:ln>
                  <a:noFill/>
                </a:ln>
                <a:solidFill>
                  <a:prstClr val="black">
                    <a:lumMod val="50000"/>
                    <a:lumOff val="50000"/>
                  </a:prstClr>
                </a:solidFill>
                <a:effectLst/>
                <a:uLnTx/>
                <a:uFillTx/>
                <a:latin typeface="HarmonyOS Sans SC"/>
                <a:cs typeface="Poppins Light"/>
                <a:sym typeface="Poppins Light"/>
              </a:rPr>
              <a:t>.</a:t>
            </a:r>
          </a:p>
        </p:txBody>
      </p:sp>
    </p:spTree>
    <p:extLst>
      <p:ext uri="{BB962C8B-B14F-4D97-AF65-F5344CB8AC3E}">
        <p14:creationId xmlns:p14="http://schemas.microsoft.com/office/powerpoint/2010/main" val="3227314275"/>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4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val 66">
            <a:extLst>
              <a:ext uri="{FF2B5EF4-FFF2-40B4-BE49-F238E27FC236}">
                <a16:creationId xmlns:a16="http://schemas.microsoft.com/office/drawing/2014/main" id="{BE35A49B-1D8E-48F9-A99F-C2DF14802B11}"/>
              </a:ext>
            </a:extLst>
          </p:cNvPr>
          <p:cNvSpPr/>
          <p:nvPr/>
        </p:nvSpPr>
        <p:spPr>
          <a:xfrm>
            <a:off x="4469626" y="2229833"/>
            <a:ext cx="3252749" cy="3250108"/>
          </a:xfrm>
          <a:prstGeom prst="ellipse">
            <a:avLst/>
          </a:prstGeom>
          <a:solidFill>
            <a:schemeClr val="bg1"/>
          </a:solidFill>
          <a:ln w="12700" cap="flat">
            <a:noFill/>
            <a:miter lim="400000"/>
          </a:ln>
          <a:effectLst>
            <a:outerShdw blurRad="952500" sx="102000" sy="102000" algn="ctr" rotWithShape="0">
              <a:schemeClr val="accent1">
                <a:alpha val="10000"/>
              </a:schemeClr>
            </a:outerShdw>
          </a:effectLst>
        </p:spPr>
        <p:txBody>
          <a:bodyPr wrap="square" lIns="22860" tIns="22860" rIns="22860" bIns="22860" numCol="1" anchor="ctr" anchorCtr="0">
            <a:noAutofit/>
          </a:bodyPr>
          <a:lstStyle/>
          <a:p>
            <a:pPr marL="0" marR="0" lvl="0" indent="0" algn="ctr" defTabSz="412750" rtl="0" eaLnBrk="1" fontAlgn="auto" latinLnBrk="0" hangingPunct="0">
              <a:lnSpc>
                <a:spcPct val="150000"/>
              </a:lnSpc>
              <a:spcBef>
                <a:spcPts val="0"/>
              </a:spcBef>
              <a:spcAft>
                <a:spcPts val="0"/>
              </a:spcAft>
              <a:buClrTx/>
              <a:buSzTx/>
              <a:buFontTx/>
              <a:buNone/>
              <a:tabLst/>
              <a:defRPr sz="2400" b="0">
                <a:solidFill>
                  <a:srgbClr val="F6F9FF"/>
                </a:solidFill>
                <a:latin typeface="Poppins Bold"/>
                <a:ea typeface="Poppins Bold"/>
                <a:cs typeface="Poppins Bold"/>
                <a:sym typeface="Poppins Bold"/>
              </a:defRPr>
            </a:pPr>
            <a:r>
              <a:rPr kumimoji="0" lang="en-US" sz="2000" b="0" i="0" u="none" strike="noStrike" kern="0" cap="none" spc="0" normalizeH="0" baseline="0" noProof="0" dirty="0">
                <a:ln>
                  <a:noFill/>
                </a:ln>
                <a:solidFill>
                  <a:prstClr val="black">
                    <a:lumMod val="75000"/>
                    <a:lumOff val="25000"/>
                  </a:prstClr>
                </a:solidFill>
                <a:effectLst/>
                <a:uLnTx/>
                <a:uFillTx/>
                <a:latin typeface="HarmonyOS Sans SC Black"/>
                <a:ea typeface="+mj-ea"/>
                <a:cs typeface="Poppins Bold"/>
                <a:sym typeface="Poppins Bold"/>
              </a:rPr>
              <a:t>Professional</a:t>
            </a:r>
          </a:p>
          <a:p>
            <a:pPr marL="0" marR="0" lvl="0" indent="0" algn="ctr" defTabSz="412750" rtl="0" eaLnBrk="1" fontAlgn="auto" latinLnBrk="0" hangingPunct="0">
              <a:lnSpc>
                <a:spcPct val="150000"/>
              </a:lnSpc>
              <a:spcBef>
                <a:spcPts val="0"/>
              </a:spcBef>
              <a:spcAft>
                <a:spcPts val="0"/>
              </a:spcAft>
              <a:buClrTx/>
              <a:buSzTx/>
              <a:buFontTx/>
              <a:buNone/>
              <a:tabLst/>
              <a:defRPr sz="1800" b="0">
                <a:solidFill>
                  <a:srgbClr val="C8CBD1"/>
                </a:solidFill>
                <a:latin typeface="Poppins Light"/>
                <a:ea typeface="Poppins Light"/>
                <a:cs typeface="Poppins Light"/>
                <a:sym typeface="Poppins Light"/>
              </a:defRPr>
            </a:pPr>
            <a:r>
              <a:rPr kumimoji="0" lang="en-US" sz="1050" b="0" i="0" u="none" strike="noStrike" kern="0" cap="none" spc="0" normalizeH="0" baseline="0" noProof="0" dirty="0">
                <a:ln>
                  <a:noFill/>
                </a:ln>
                <a:solidFill>
                  <a:prstClr val="black">
                    <a:lumMod val="75000"/>
                    <a:lumOff val="25000"/>
                  </a:prstClr>
                </a:solidFill>
                <a:effectLst/>
                <a:uLnTx/>
                <a:uFillTx/>
                <a:latin typeface="HarmonyOS Sans SC"/>
                <a:cs typeface="Poppins Light"/>
                <a:sym typeface="Poppins Light"/>
              </a:rPr>
              <a:t>The Main Department</a:t>
            </a:r>
          </a:p>
        </p:txBody>
      </p:sp>
      <p:grpSp>
        <p:nvGrpSpPr>
          <p:cNvPr id="3" name="Group 3">
            <a:extLst>
              <a:ext uri="{FF2B5EF4-FFF2-40B4-BE49-F238E27FC236}">
                <a16:creationId xmlns:a16="http://schemas.microsoft.com/office/drawing/2014/main" id="{7FBD0DA3-34E1-44E3-A270-BD4E3EE0B286}"/>
              </a:ext>
            </a:extLst>
          </p:cNvPr>
          <p:cNvGrpSpPr/>
          <p:nvPr/>
        </p:nvGrpSpPr>
        <p:grpSpPr>
          <a:xfrm>
            <a:off x="4312037" y="3402089"/>
            <a:ext cx="1394531" cy="2097013"/>
            <a:chOff x="8624074" y="6092977"/>
            <a:chExt cx="2789062" cy="4194025"/>
          </a:xfrm>
          <a:solidFill>
            <a:schemeClr val="accent1"/>
          </a:solidFill>
        </p:grpSpPr>
        <p:sp>
          <p:nvSpPr>
            <p:cNvPr id="4" name="Freeform 67">
              <a:extLst>
                <a:ext uri="{FF2B5EF4-FFF2-40B4-BE49-F238E27FC236}">
                  <a16:creationId xmlns:a16="http://schemas.microsoft.com/office/drawing/2014/main" id="{8856FEA2-1FA3-402E-90AF-FCC603E3128D}"/>
                </a:ext>
              </a:extLst>
            </p:cNvPr>
            <p:cNvSpPr/>
            <p:nvPr/>
          </p:nvSpPr>
          <p:spPr>
            <a:xfrm>
              <a:off x="8632950" y="6092977"/>
              <a:ext cx="435675" cy="1322748"/>
            </a:xfrm>
            <a:custGeom>
              <a:avLst/>
              <a:gdLst/>
              <a:ahLst/>
              <a:cxnLst>
                <a:cxn ang="0">
                  <a:pos x="wd2" y="hd2"/>
                </a:cxn>
                <a:cxn ang="5400000">
                  <a:pos x="wd2" y="hd2"/>
                </a:cxn>
                <a:cxn ang="10800000">
                  <a:pos x="wd2" y="hd2"/>
                </a:cxn>
                <a:cxn ang="16200000">
                  <a:pos x="wd2" y="hd2"/>
                </a:cxn>
              </a:cxnLst>
              <a:rect l="0" t="0" r="r" b="b"/>
              <a:pathLst>
                <a:path w="17219" h="21600" extrusionOk="0">
                  <a:moveTo>
                    <a:pt x="17219" y="0"/>
                  </a:moveTo>
                  <a:cubicBezTo>
                    <a:pt x="16749" y="0"/>
                    <a:pt x="15810" y="195"/>
                    <a:pt x="15341" y="389"/>
                  </a:cubicBezTo>
                  <a:cubicBezTo>
                    <a:pt x="784" y="3892"/>
                    <a:pt x="-4381" y="11481"/>
                    <a:pt x="4071" y="17514"/>
                  </a:cubicBezTo>
                  <a:cubicBezTo>
                    <a:pt x="6419" y="19265"/>
                    <a:pt x="9706" y="20627"/>
                    <a:pt x="13462" y="21600"/>
                  </a:cubicBezTo>
                  <a:cubicBezTo>
                    <a:pt x="11115" y="14205"/>
                    <a:pt x="12523" y="6811"/>
                    <a:pt x="17219" y="0"/>
                  </a:cubicBezTo>
                  <a:close/>
                </a:path>
              </a:pathLst>
            </a:custGeom>
            <a:gradFill>
              <a:gsLst>
                <a:gs pos="73000">
                  <a:schemeClr val="accent1"/>
                </a:gs>
                <a:gs pos="31000">
                  <a:schemeClr val="accent1">
                    <a:lumMod val="60000"/>
                    <a:lumOff val="40000"/>
                  </a:schemeClr>
                </a:gs>
                <a:gs pos="0">
                  <a:schemeClr val="accent1">
                    <a:lumMod val="40000"/>
                    <a:lumOff val="60000"/>
                  </a:schemeClr>
                </a:gs>
              </a:gsLst>
              <a:path path="circle">
                <a:fillToRect r="100000" b="100000"/>
              </a:path>
            </a:gradFill>
            <a:ln>
              <a:noFill/>
            </a:ln>
            <a:effectLst>
              <a:outerShdw blurRad="444500" dist="317500" dir="5400000" sx="92000" sy="92000" algn="t" rotWithShape="0">
                <a:schemeClr val="accent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white"/>
                </a:solidFill>
                <a:effectLst/>
                <a:uLnTx/>
                <a:uFillTx/>
                <a:latin typeface="HarmonyOS Sans SC"/>
                <a:cs typeface="+mn-cs"/>
                <a:sym typeface="Poppins Regular"/>
              </a:endParaRPr>
            </a:p>
          </p:txBody>
        </p:sp>
        <p:sp>
          <p:nvSpPr>
            <p:cNvPr id="5" name="Freeform 68">
              <a:extLst>
                <a:ext uri="{FF2B5EF4-FFF2-40B4-BE49-F238E27FC236}">
                  <a16:creationId xmlns:a16="http://schemas.microsoft.com/office/drawing/2014/main" id="{B28FA3BD-6692-47A0-AD19-447421A3EF75}"/>
                </a:ext>
              </a:extLst>
            </p:cNvPr>
            <p:cNvSpPr/>
            <p:nvPr/>
          </p:nvSpPr>
          <p:spPr>
            <a:xfrm>
              <a:off x="10222397" y="9583343"/>
              <a:ext cx="1190739" cy="703659"/>
            </a:xfrm>
            <a:custGeom>
              <a:avLst/>
              <a:gdLst/>
              <a:ahLst/>
              <a:cxnLst>
                <a:cxn ang="0">
                  <a:pos x="wd2" y="hd2"/>
                </a:cxn>
                <a:cxn ang="5400000">
                  <a:pos x="wd2" y="hd2"/>
                </a:cxn>
                <a:cxn ang="10800000">
                  <a:pos x="wd2" y="hd2"/>
                </a:cxn>
                <a:cxn ang="16200000">
                  <a:pos x="wd2" y="hd2"/>
                </a:cxn>
              </a:cxnLst>
              <a:rect l="0" t="0" r="r" b="b"/>
              <a:pathLst>
                <a:path w="21600" h="18813" extrusionOk="0">
                  <a:moveTo>
                    <a:pt x="0" y="0"/>
                  </a:moveTo>
                  <a:cubicBezTo>
                    <a:pt x="0" y="2859"/>
                    <a:pt x="648" y="5718"/>
                    <a:pt x="1728" y="8576"/>
                  </a:cubicBezTo>
                  <a:cubicBezTo>
                    <a:pt x="5616" y="18424"/>
                    <a:pt x="14040" y="21600"/>
                    <a:pt x="20736" y="16200"/>
                  </a:cubicBezTo>
                  <a:cubicBezTo>
                    <a:pt x="20952" y="15882"/>
                    <a:pt x="21600" y="15247"/>
                    <a:pt x="21600" y="15247"/>
                  </a:cubicBezTo>
                  <a:cubicBezTo>
                    <a:pt x="13824" y="12388"/>
                    <a:pt x="6480" y="7306"/>
                    <a:pt x="0" y="0"/>
                  </a:cubicBezTo>
                  <a:close/>
                </a:path>
              </a:pathLst>
            </a:custGeom>
            <a:gradFill>
              <a:gsLst>
                <a:gs pos="73000">
                  <a:schemeClr val="accent1"/>
                </a:gs>
                <a:gs pos="31000">
                  <a:schemeClr val="accent1">
                    <a:lumMod val="60000"/>
                    <a:lumOff val="40000"/>
                  </a:schemeClr>
                </a:gs>
                <a:gs pos="0">
                  <a:schemeClr val="accent1">
                    <a:lumMod val="40000"/>
                    <a:lumOff val="60000"/>
                  </a:schemeClr>
                </a:gs>
              </a:gsLst>
              <a:path path="circle">
                <a:fillToRect r="100000" b="100000"/>
              </a:path>
            </a:gradFill>
            <a:ln>
              <a:noFill/>
            </a:ln>
            <a:effectLst>
              <a:outerShdw blurRad="444500" dist="317500" dir="5400000" sx="92000" sy="92000" algn="t" rotWithShape="0">
                <a:schemeClr val="accent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white"/>
                </a:solidFill>
                <a:effectLst/>
                <a:uLnTx/>
                <a:uFillTx/>
                <a:latin typeface="HarmonyOS Sans SC"/>
                <a:cs typeface="+mn-cs"/>
                <a:sym typeface="Poppins Regular"/>
              </a:endParaRPr>
            </a:p>
          </p:txBody>
        </p:sp>
        <p:sp>
          <p:nvSpPr>
            <p:cNvPr id="6" name="Freeform 69">
              <a:extLst>
                <a:ext uri="{FF2B5EF4-FFF2-40B4-BE49-F238E27FC236}">
                  <a16:creationId xmlns:a16="http://schemas.microsoft.com/office/drawing/2014/main" id="{BF335A35-C3C5-47F1-9C5B-879CDB999D0B}"/>
                </a:ext>
              </a:extLst>
            </p:cNvPr>
            <p:cNvSpPr/>
            <p:nvPr/>
          </p:nvSpPr>
          <p:spPr>
            <a:xfrm>
              <a:off x="8624074" y="6784713"/>
              <a:ext cx="2385870" cy="3403239"/>
            </a:xfrm>
            <a:custGeom>
              <a:avLst/>
              <a:gdLst/>
              <a:ahLst/>
              <a:cxnLst>
                <a:cxn ang="0">
                  <a:pos x="wd2" y="hd2"/>
                </a:cxn>
                <a:cxn ang="5400000">
                  <a:pos x="wd2" y="hd2"/>
                </a:cxn>
                <a:cxn ang="10800000">
                  <a:pos x="wd2" y="hd2"/>
                </a:cxn>
                <a:cxn ang="16200000">
                  <a:pos x="wd2" y="hd2"/>
                </a:cxn>
              </a:cxnLst>
              <a:rect l="0" t="0" r="r" b="b"/>
              <a:pathLst>
                <a:path w="20332" h="21600" extrusionOk="0">
                  <a:moveTo>
                    <a:pt x="4099" y="12613"/>
                  </a:moveTo>
                  <a:cubicBezTo>
                    <a:pt x="7242" y="16615"/>
                    <a:pt x="11704" y="19636"/>
                    <a:pt x="16775" y="21600"/>
                  </a:cubicBezTo>
                  <a:cubicBezTo>
                    <a:pt x="15862" y="21147"/>
                    <a:pt x="15152" y="20618"/>
                    <a:pt x="14544" y="19863"/>
                  </a:cubicBezTo>
                  <a:cubicBezTo>
                    <a:pt x="14442" y="19863"/>
                    <a:pt x="14442" y="19787"/>
                    <a:pt x="14442" y="19787"/>
                  </a:cubicBezTo>
                  <a:cubicBezTo>
                    <a:pt x="13935" y="19108"/>
                    <a:pt x="13631" y="18428"/>
                    <a:pt x="13631" y="17673"/>
                  </a:cubicBezTo>
                  <a:cubicBezTo>
                    <a:pt x="13428" y="15936"/>
                    <a:pt x="14645" y="14123"/>
                    <a:pt x="16876" y="13141"/>
                  </a:cubicBezTo>
                  <a:cubicBezTo>
                    <a:pt x="20121" y="11706"/>
                    <a:pt x="21338" y="8534"/>
                    <a:pt x="19411" y="6042"/>
                  </a:cubicBezTo>
                  <a:cubicBezTo>
                    <a:pt x="17484" y="3625"/>
                    <a:pt x="13225" y="2719"/>
                    <a:pt x="9879" y="4154"/>
                  </a:cubicBezTo>
                  <a:cubicBezTo>
                    <a:pt x="7648" y="5136"/>
                    <a:pt x="5011" y="4985"/>
                    <a:pt x="2983" y="4003"/>
                  </a:cubicBezTo>
                  <a:cubicBezTo>
                    <a:pt x="2172" y="3625"/>
                    <a:pt x="1462" y="3097"/>
                    <a:pt x="955" y="2417"/>
                  </a:cubicBezTo>
                  <a:cubicBezTo>
                    <a:pt x="955" y="2341"/>
                    <a:pt x="955" y="2341"/>
                    <a:pt x="853" y="2341"/>
                  </a:cubicBezTo>
                  <a:cubicBezTo>
                    <a:pt x="346" y="1586"/>
                    <a:pt x="42" y="755"/>
                    <a:pt x="42" y="0"/>
                  </a:cubicBezTo>
                  <a:cubicBezTo>
                    <a:pt x="-262" y="4229"/>
                    <a:pt x="1056" y="8685"/>
                    <a:pt x="4099" y="12613"/>
                  </a:cubicBezTo>
                  <a:close/>
                </a:path>
              </a:pathLst>
            </a:custGeom>
            <a:gradFill>
              <a:gsLst>
                <a:gs pos="73000">
                  <a:schemeClr val="accent1"/>
                </a:gs>
                <a:gs pos="31000">
                  <a:schemeClr val="accent1">
                    <a:lumMod val="60000"/>
                    <a:lumOff val="40000"/>
                  </a:schemeClr>
                </a:gs>
                <a:gs pos="0">
                  <a:schemeClr val="accent1">
                    <a:lumMod val="40000"/>
                    <a:lumOff val="60000"/>
                  </a:schemeClr>
                </a:gs>
              </a:gsLst>
              <a:path path="circle">
                <a:fillToRect r="100000" b="100000"/>
              </a:path>
            </a:gradFill>
            <a:ln>
              <a:noFill/>
            </a:ln>
            <a:effectLst>
              <a:outerShdw blurRad="444500" dist="317500" dir="5400000" sx="92000" sy="92000" algn="t" rotWithShape="0">
                <a:schemeClr val="accent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white"/>
                </a:solidFill>
                <a:effectLst/>
                <a:uLnTx/>
                <a:uFillTx/>
                <a:latin typeface="HarmonyOS Sans SC"/>
                <a:cs typeface="+mn-cs"/>
                <a:sym typeface="Poppins Regular"/>
              </a:endParaRPr>
            </a:p>
          </p:txBody>
        </p:sp>
      </p:grpSp>
      <p:grpSp>
        <p:nvGrpSpPr>
          <p:cNvPr id="7" name="Group 2">
            <a:extLst>
              <a:ext uri="{FF2B5EF4-FFF2-40B4-BE49-F238E27FC236}">
                <a16:creationId xmlns:a16="http://schemas.microsoft.com/office/drawing/2014/main" id="{626C02BD-EAD6-43E4-B1EE-EC1D6735931E}"/>
              </a:ext>
            </a:extLst>
          </p:cNvPr>
          <p:cNvGrpSpPr/>
          <p:nvPr/>
        </p:nvGrpSpPr>
        <p:grpSpPr>
          <a:xfrm>
            <a:off x="6485432" y="3402089"/>
            <a:ext cx="1394532" cy="2097013"/>
            <a:chOff x="12970864" y="6092977"/>
            <a:chExt cx="2789063" cy="4194025"/>
          </a:xfrm>
          <a:solidFill>
            <a:schemeClr val="accent1"/>
          </a:solidFill>
        </p:grpSpPr>
        <p:sp>
          <p:nvSpPr>
            <p:cNvPr id="8" name="Freeform 70">
              <a:extLst>
                <a:ext uri="{FF2B5EF4-FFF2-40B4-BE49-F238E27FC236}">
                  <a16:creationId xmlns:a16="http://schemas.microsoft.com/office/drawing/2014/main" id="{C308E970-C60B-4B1C-8149-8023ECE5B54B}"/>
                </a:ext>
              </a:extLst>
            </p:cNvPr>
            <p:cNvSpPr/>
            <p:nvPr/>
          </p:nvSpPr>
          <p:spPr>
            <a:xfrm>
              <a:off x="12970864" y="9583343"/>
              <a:ext cx="1188098" cy="703659"/>
            </a:xfrm>
            <a:custGeom>
              <a:avLst/>
              <a:gdLst/>
              <a:ahLst/>
              <a:cxnLst>
                <a:cxn ang="0">
                  <a:pos x="wd2" y="hd2"/>
                </a:cxn>
                <a:cxn ang="5400000">
                  <a:pos x="wd2" y="hd2"/>
                </a:cxn>
                <a:cxn ang="10800000">
                  <a:pos x="wd2" y="hd2"/>
                </a:cxn>
                <a:cxn ang="16200000">
                  <a:pos x="wd2" y="hd2"/>
                </a:cxn>
              </a:cxnLst>
              <a:rect l="0" t="0" r="r" b="b"/>
              <a:pathLst>
                <a:path w="21600" h="18813" extrusionOk="0">
                  <a:moveTo>
                    <a:pt x="0" y="15247"/>
                  </a:moveTo>
                  <a:cubicBezTo>
                    <a:pt x="216" y="15247"/>
                    <a:pt x="648" y="15882"/>
                    <a:pt x="864" y="16200"/>
                  </a:cubicBezTo>
                  <a:cubicBezTo>
                    <a:pt x="7560" y="21600"/>
                    <a:pt x="15984" y="18424"/>
                    <a:pt x="19872" y="8576"/>
                  </a:cubicBezTo>
                  <a:cubicBezTo>
                    <a:pt x="20952" y="5718"/>
                    <a:pt x="21600" y="2859"/>
                    <a:pt x="21600" y="0"/>
                  </a:cubicBezTo>
                  <a:cubicBezTo>
                    <a:pt x="15120" y="7306"/>
                    <a:pt x="7776" y="12388"/>
                    <a:pt x="0" y="15247"/>
                  </a:cubicBezTo>
                  <a:close/>
                </a:path>
              </a:pathLst>
            </a:custGeom>
            <a:gradFill>
              <a:gsLst>
                <a:gs pos="73000">
                  <a:schemeClr val="accent1"/>
                </a:gs>
                <a:gs pos="31000">
                  <a:schemeClr val="accent1">
                    <a:lumMod val="60000"/>
                    <a:lumOff val="40000"/>
                  </a:schemeClr>
                </a:gs>
                <a:gs pos="0">
                  <a:schemeClr val="accent1">
                    <a:lumMod val="40000"/>
                    <a:lumOff val="60000"/>
                  </a:schemeClr>
                </a:gs>
              </a:gsLst>
              <a:path path="circle">
                <a:fillToRect r="100000" b="100000"/>
              </a:path>
            </a:gradFill>
            <a:ln>
              <a:noFill/>
            </a:ln>
            <a:effectLst>
              <a:outerShdw blurRad="444500" dist="317500" dir="5400000" sx="92000" sy="92000" algn="t" rotWithShape="0">
                <a:schemeClr val="accent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white"/>
                </a:solidFill>
                <a:effectLst/>
                <a:uLnTx/>
                <a:uFillTx/>
                <a:latin typeface="HarmonyOS Sans SC"/>
                <a:cs typeface="+mn-cs"/>
                <a:sym typeface="Poppins Regular"/>
              </a:endParaRPr>
            </a:p>
          </p:txBody>
        </p:sp>
        <p:sp>
          <p:nvSpPr>
            <p:cNvPr id="9" name="Freeform 71">
              <a:extLst>
                <a:ext uri="{FF2B5EF4-FFF2-40B4-BE49-F238E27FC236}">
                  <a16:creationId xmlns:a16="http://schemas.microsoft.com/office/drawing/2014/main" id="{58BB13C9-36CD-42E1-AD5A-790E1974C52E}"/>
                </a:ext>
              </a:extLst>
            </p:cNvPr>
            <p:cNvSpPr/>
            <p:nvPr/>
          </p:nvSpPr>
          <p:spPr>
            <a:xfrm>
              <a:off x="13374057" y="6784713"/>
              <a:ext cx="2385870" cy="3403239"/>
            </a:xfrm>
            <a:custGeom>
              <a:avLst/>
              <a:gdLst/>
              <a:ahLst/>
              <a:cxnLst>
                <a:cxn ang="0">
                  <a:pos x="wd2" y="hd2"/>
                </a:cxn>
                <a:cxn ang="5400000">
                  <a:pos x="wd2" y="hd2"/>
                </a:cxn>
                <a:cxn ang="10800000">
                  <a:pos x="wd2" y="hd2"/>
                </a:cxn>
                <a:cxn ang="16200000">
                  <a:pos x="wd2" y="hd2"/>
                </a:cxn>
              </a:cxnLst>
              <a:rect l="0" t="0" r="r" b="b"/>
              <a:pathLst>
                <a:path w="20332" h="21600" extrusionOk="0">
                  <a:moveTo>
                    <a:pt x="16233" y="12613"/>
                  </a:moveTo>
                  <a:cubicBezTo>
                    <a:pt x="19276" y="8685"/>
                    <a:pt x="20594" y="4229"/>
                    <a:pt x="20290" y="0"/>
                  </a:cubicBezTo>
                  <a:cubicBezTo>
                    <a:pt x="20290" y="755"/>
                    <a:pt x="19986" y="1586"/>
                    <a:pt x="19479" y="2341"/>
                  </a:cubicBezTo>
                  <a:cubicBezTo>
                    <a:pt x="19377" y="2341"/>
                    <a:pt x="19377" y="2341"/>
                    <a:pt x="19377" y="2417"/>
                  </a:cubicBezTo>
                  <a:cubicBezTo>
                    <a:pt x="18870" y="3097"/>
                    <a:pt x="18160" y="3625"/>
                    <a:pt x="17349" y="4003"/>
                  </a:cubicBezTo>
                  <a:cubicBezTo>
                    <a:pt x="15321" y="4985"/>
                    <a:pt x="12684" y="5136"/>
                    <a:pt x="10453" y="4154"/>
                  </a:cubicBezTo>
                  <a:cubicBezTo>
                    <a:pt x="7107" y="2719"/>
                    <a:pt x="2848" y="3625"/>
                    <a:pt x="921" y="6042"/>
                  </a:cubicBezTo>
                  <a:cubicBezTo>
                    <a:pt x="-1006" y="8534"/>
                    <a:pt x="211" y="11706"/>
                    <a:pt x="3456" y="13141"/>
                  </a:cubicBezTo>
                  <a:cubicBezTo>
                    <a:pt x="5687" y="14123"/>
                    <a:pt x="6904" y="15936"/>
                    <a:pt x="6701" y="17673"/>
                  </a:cubicBezTo>
                  <a:cubicBezTo>
                    <a:pt x="6701" y="18428"/>
                    <a:pt x="6397" y="19108"/>
                    <a:pt x="5890" y="19787"/>
                  </a:cubicBezTo>
                  <a:cubicBezTo>
                    <a:pt x="5890" y="19787"/>
                    <a:pt x="5890" y="19863"/>
                    <a:pt x="5788" y="19863"/>
                  </a:cubicBezTo>
                  <a:cubicBezTo>
                    <a:pt x="5180" y="20618"/>
                    <a:pt x="4470" y="21147"/>
                    <a:pt x="3557" y="21600"/>
                  </a:cubicBezTo>
                  <a:cubicBezTo>
                    <a:pt x="8628" y="19636"/>
                    <a:pt x="13090" y="16615"/>
                    <a:pt x="16233" y="12613"/>
                  </a:cubicBezTo>
                  <a:close/>
                </a:path>
              </a:pathLst>
            </a:custGeom>
            <a:gradFill>
              <a:gsLst>
                <a:gs pos="73000">
                  <a:schemeClr val="accent1"/>
                </a:gs>
                <a:gs pos="31000">
                  <a:schemeClr val="accent1">
                    <a:lumMod val="60000"/>
                    <a:lumOff val="40000"/>
                  </a:schemeClr>
                </a:gs>
                <a:gs pos="0">
                  <a:schemeClr val="accent1">
                    <a:lumMod val="40000"/>
                    <a:lumOff val="60000"/>
                  </a:schemeClr>
                </a:gs>
              </a:gsLst>
              <a:path path="circle">
                <a:fillToRect r="100000" b="100000"/>
              </a:path>
            </a:gradFill>
            <a:ln>
              <a:noFill/>
            </a:ln>
            <a:effectLst>
              <a:outerShdw blurRad="444500" dist="317500" dir="5400000" sx="92000" sy="92000" algn="t" rotWithShape="0">
                <a:schemeClr val="accent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white"/>
                </a:solidFill>
                <a:effectLst/>
                <a:uLnTx/>
                <a:uFillTx/>
                <a:latin typeface="HarmonyOS Sans SC"/>
                <a:cs typeface="+mn-cs"/>
                <a:sym typeface="Poppins Regular"/>
              </a:endParaRPr>
            </a:p>
          </p:txBody>
        </p:sp>
        <p:sp>
          <p:nvSpPr>
            <p:cNvPr id="10" name="Freeform 72">
              <a:extLst>
                <a:ext uri="{FF2B5EF4-FFF2-40B4-BE49-F238E27FC236}">
                  <a16:creationId xmlns:a16="http://schemas.microsoft.com/office/drawing/2014/main" id="{A53DE913-7FA3-4E3D-A245-4AAB603BF5FA}"/>
                </a:ext>
              </a:extLst>
            </p:cNvPr>
            <p:cNvSpPr/>
            <p:nvPr/>
          </p:nvSpPr>
          <p:spPr>
            <a:xfrm>
              <a:off x="15312735" y="6092977"/>
              <a:ext cx="437780" cy="1322748"/>
            </a:xfrm>
            <a:custGeom>
              <a:avLst/>
              <a:gdLst/>
              <a:ahLst/>
              <a:cxnLst>
                <a:cxn ang="0">
                  <a:pos x="wd2" y="hd2"/>
                </a:cxn>
                <a:cxn ang="5400000">
                  <a:pos x="wd2" y="hd2"/>
                </a:cxn>
                <a:cxn ang="10800000">
                  <a:pos x="wd2" y="hd2"/>
                </a:cxn>
                <a:cxn ang="16200000">
                  <a:pos x="wd2" y="hd2"/>
                </a:cxn>
              </a:cxnLst>
              <a:rect l="0" t="0" r="r" b="b"/>
              <a:pathLst>
                <a:path w="17219" h="21600" extrusionOk="0">
                  <a:moveTo>
                    <a:pt x="3757" y="21600"/>
                  </a:moveTo>
                  <a:cubicBezTo>
                    <a:pt x="7513" y="20627"/>
                    <a:pt x="10800" y="19265"/>
                    <a:pt x="13148" y="17514"/>
                  </a:cubicBezTo>
                  <a:cubicBezTo>
                    <a:pt x="21600" y="11481"/>
                    <a:pt x="16435" y="3892"/>
                    <a:pt x="1878" y="389"/>
                  </a:cubicBezTo>
                  <a:cubicBezTo>
                    <a:pt x="1409" y="195"/>
                    <a:pt x="470" y="0"/>
                    <a:pt x="0" y="0"/>
                  </a:cubicBezTo>
                  <a:cubicBezTo>
                    <a:pt x="4696" y="6811"/>
                    <a:pt x="6104" y="14205"/>
                    <a:pt x="3757" y="21600"/>
                  </a:cubicBezTo>
                  <a:close/>
                </a:path>
              </a:pathLst>
            </a:custGeom>
            <a:gradFill>
              <a:gsLst>
                <a:gs pos="73000">
                  <a:schemeClr val="accent1"/>
                </a:gs>
                <a:gs pos="31000">
                  <a:schemeClr val="accent1">
                    <a:lumMod val="60000"/>
                    <a:lumOff val="40000"/>
                  </a:schemeClr>
                </a:gs>
                <a:gs pos="0">
                  <a:schemeClr val="accent1">
                    <a:lumMod val="40000"/>
                    <a:lumOff val="60000"/>
                  </a:schemeClr>
                </a:gs>
              </a:gsLst>
              <a:path path="circle">
                <a:fillToRect r="100000" b="100000"/>
              </a:path>
            </a:gradFill>
            <a:ln>
              <a:noFill/>
            </a:ln>
            <a:effectLst>
              <a:outerShdw blurRad="444500" dist="317500" dir="5400000" sx="92000" sy="92000" algn="t" rotWithShape="0">
                <a:schemeClr val="accent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white"/>
                </a:solidFill>
                <a:effectLst/>
                <a:uLnTx/>
                <a:uFillTx/>
                <a:latin typeface="HarmonyOS Sans SC"/>
                <a:cs typeface="+mn-cs"/>
                <a:sym typeface="Poppins Regular"/>
              </a:endParaRPr>
            </a:p>
          </p:txBody>
        </p:sp>
      </p:grpSp>
      <p:grpSp>
        <p:nvGrpSpPr>
          <p:cNvPr id="11" name="Group 1">
            <a:extLst>
              <a:ext uri="{FF2B5EF4-FFF2-40B4-BE49-F238E27FC236}">
                <a16:creationId xmlns:a16="http://schemas.microsoft.com/office/drawing/2014/main" id="{F5516D27-484D-4C98-8F20-7FD4997DAD3F}"/>
              </a:ext>
            </a:extLst>
          </p:cNvPr>
          <p:cNvGrpSpPr/>
          <p:nvPr/>
        </p:nvGrpSpPr>
        <p:grpSpPr>
          <a:xfrm>
            <a:off x="4921103" y="2070100"/>
            <a:ext cx="2349795" cy="1034965"/>
            <a:chOff x="9842206" y="3429000"/>
            <a:chExt cx="4699589" cy="2069930"/>
          </a:xfrm>
          <a:solidFill>
            <a:schemeClr val="accent4"/>
          </a:solidFill>
        </p:grpSpPr>
        <p:sp>
          <p:nvSpPr>
            <p:cNvPr id="12" name="Freeform 73">
              <a:extLst>
                <a:ext uri="{FF2B5EF4-FFF2-40B4-BE49-F238E27FC236}">
                  <a16:creationId xmlns:a16="http://schemas.microsoft.com/office/drawing/2014/main" id="{9EBA44B1-68E6-442C-9CBA-817B2A337DC8}"/>
                </a:ext>
              </a:extLst>
            </p:cNvPr>
            <p:cNvSpPr/>
            <p:nvPr/>
          </p:nvSpPr>
          <p:spPr>
            <a:xfrm>
              <a:off x="13435543" y="3914799"/>
              <a:ext cx="1106252" cy="834310"/>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cubicBezTo>
                    <a:pt x="21600" y="21291"/>
                    <a:pt x="21600" y="20366"/>
                    <a:pt x="21600" y="19749"/>
                  </a:cubicBezTo>
                  <a:cubicBezTo>
                    <a:pt x="21600" y="8949"/>
                    <a:pt x="14865" y="0"/>
                    <a:pt x="6503" y="0"/>
                  </a:cubicBezTo>
                  <a:cubicBezTo>
                    <a:pt x="4181" y="0"/>
                    <a:pt x="2090" y="617"/>
                    <a:pt x="0" y="1851"/>
                  </a:cubicBezTo>
                  <a:cubicBezTo>
                    <a:pt x="8129" y="6480"/>
                    <a:pt x="15561" y="13269"/>
                    <a:pt x="21600" y="21600"/>
                  </a:cubicBezTo>
                  <a:close/>
                </a:path>
              </a:pathLst>
            </a:custGeom>
            <a:gradFill>
              <a:gsLst>
                <a:gs pos="73000">
                  <a:schemeClr val="accent1"/>
                </a:gs>
                <a:gs pos="31000">
                  <a:schemeClr val="accent1">
                    <a:lumMod val="60000"/>
                    <a:lumOff val="40000"/>
                  </a:schemeClr>
                </a:gs>
                <a:gs pos="0">
                  <a:schemeClr val="accent1">
                    <a:lumMod val="40000"/>
                    <a:lumOff val="60000"/>
                  </a:schemeClr>
                </a:gs>
              </a:gsLst>
              <a:path path="circle">
                <a:fillToRect r="100000" b="100000"/>
              </a:path>
            </a:gradFill>
            <a:ln>
              <a:noFill/>
            </a:ln>
            <a:effectLst>
              <a:outerShdw blurRad="444500" dist="317500" dir="5400000" sx="92000" sy="92000" algn="t" rotWithShape="0">
                <a:schemeClr val="accent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white"/>
                </a:solidFill>
                <a:effectLst/>
                <a:uLnTx/>
                <a:uFillTx/>
                <a:latin typeface="HarmonyOS Sans SC"/>
                <a:cs typeface="+mn-cs"/>
                <a:sym typeface="Poppins Regular"/>
              </a:endParaRPr>
            </a:p>
          </p:txBody>
        </p:sp>
        <p:sp>
          <p:nvSpPr>
            <p:cNvPr id="13" name="Freeform 74">
              <a:extLst>
                <a:ext uri="{FF2B5EF4-FFF2-40B4-BE49-F238E27FC236}">
                  <a16:creationId xmlns:a16="http://schemas.microsoft.com/office/drawing/2014/main" id="{DB5FB900-891C-497F-8E6A-BA99490BE3E6}"/>
                </a:ext>
              </a:extLst>
            </p:cNvPr>
            <p:cNvSpPr/>
            <p:nvPr/>
          </p:nvSpPr>
          <p:spPr>
            <a:xfrm>
              <a:off x="9842206" y="3914799"/>
              <a:ext cx="1106252" cy="834310"/>
            </a:xfrm>
            <a:custGeom>
              <a:avLst/>
              <a:gdLst/>
              <a:ahLst/>
              <a:cxnLst>
                <a:cxn ang="0">
                  <a:pos x="wd2" y="hd2"/>
                </a:cxn>
                <a:cxn ang="5400000">
                  <a:pos x="wd2" y="hd2"/>
                </a:cxn>
                <a:cxn ang="10800000">
                  <a:pos x="wd2" y="hd2"/>
                </a:cxn>
                <a:cxn ang="16200000">
                  <a:pos x="wd2" y="hd2"/>
                </a:cxn>
              </a:cxnLst>
              <a:rect l="0" t="0" r="r" b="b"/>
              <a:pathLst>
                <a:path w="21600" h="21600" extrusionOk="0">
                  <a:moveTo>
                    <a:pt x="21600" y="1851"/>
                  </a:moveTo>
                  <a:cubicBezTo>
                    <a:pt x="19510" y="617"/>
                    <a:pt x="17419" y="0"/>
                    <a:pt x="15097" y="0"/>
                  </a:cubicBezTo>
                  <a:cubicBezTo>
                    <a:pt x="6735" y="0"/>
                    <a:pt x="0" y="8949"/>
                    <a:pt x="0" y="19749"/>
                  </a:cubicBezTo>
                  <a:cubicBezTo>
                    <a:pt x="0" y="20366"/>
                    <a:pt x="0" y="21291"/>
                    <a:pt x="0" y="21600"/>
                  </a:cubicBezTo>
                  <a:cubicBezTo>
                    <a:pt x="6039" y="13269"/>
                    <a:pt x="13471" y="6480"/>
                    <a:pt x="21600" y="1851"/>
                  </a:cubicBezTo>
                  <a:close/>
                </a:path>
              </a:pathLst>
            </a:custGeom>
            <a:gradFill>
              <a:gsLst>
                <a:gs pos="73000">
                  <a:schemeClr val="accent1"/>
                </a:gs>
                <a:gs pos="31000">
                  <a:schemeClr val="accent1">
                    <a:lumMod val="60000"/>
                    <a:lumOff val="40000"/>
                  </a:schemeClr>
                </a:gs>
                <a:gs pos="0">
                  <a:schemeClr val="accent1">
                    <a:lumMod val="40000"/>
                    <a:lumOff val="60000"/>
                  </a:schemeClr>
                </a:gs>
              </a:gsLst>
              <a:path path="circle">
                <a:fillToRect r="100000" b="100000"/>
              </a:path>
            </a:gradFill>
            <a:ln>
              <a:noFill/>
            </a:ln>
            <a:effectLst>
              <a:outerShdw blurRad="444500" dist="317500" dir="5400000" sx="92000" sy="92000" algn="t" rotWithShape="0">
                <a:schemeClr val="accent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white"/>
                </a:solidFill>
                <a:effectLst/>
                <a:uLnTx/>
                <a:uFillTx/>
                <a:latin typeface="HarmonyOS Sans SC"/>
                <a:cs typeface="+mn-cs"/>
                <a:sym typeface="Poppins Regular"/>
              </a:endParaRPr>
            </a:p>
          </p:txBody>
        </p:sp>
        <p:sp>
          <p:nvSpPr>
            <p:cNvPr id="14" name="Freeform 75">
              <a:extLst>
                <a:ext uri="{FF2B5EF4-FFF2-40B4-BE49-F238E27FC236}">
                  <a16:creationId xmlns:a16="http://schemas.microsoft.com/office/drawing/2014/main" id="{D9623C7E-D02A-48E8-8DF9-6F724E9DE561}"/>
                </a:ext>
              </a:extLst>
            </p:cNvPr>
            <p:cNvSpPr/>
            <p:nvPr/>
          </p:nvSpPr>
          <p:spPr>
            <a:xfrm>
              <a:off x="10222397" y="3429000"/>
              <a:ext cx="3936565" cy="2069930"/>
            </a:xfrm>
            <a:custGeom>
              <a:avLst/>
              <a:gdLst/>
              <a:ahLst/>
              <a:cxnLst>
                <a:cxn ang="0">
                  <a:pos x="wd2" y="hd2"/>
                </a:cxn>
                <a:cxn ang="5400000">
                  <a:pos x="wd2" y="hd2"/>
                </a:cxn>
                <a:cxn ang="10800000">
                  <a:pos x="wd2" y="hd2"/>
                </a:cxn>
                <a:cxn ang="16200000">
                  <a:pos x="wd2" y="hd2"/>
                </a:cxn>
              </a:cxnLst>
              <a:rect l="0" t="0" r="r" b="b"/>
              <a:pathLst>
                <a:path w="21600" h="21600" extrusionOk="0">
                  <a:moveTo>
                    <a:pt x="10833" y="0"/>
                  </a:moveTo>
                  <a:cubicBezTo>
                    <a:pt x="6852" y="0"/>
                    <a:pt x="3132" y="2234"/>
                    <a:pt x="0" y="6207"/>
                  </a:cubicBezTo>
                  <a:cubicBezTo>
                    <a:pt x="653" y="5462"/>
                    <a:pt x="1305" y="5090"/>
                    <a:pt x="2023" y="5090"/>
                  </a:cubicBezTo>
                  <a:cubicBezTo>
                    <a:pt x="2088" y="5090"/>
                    <a:pt x="2088" y="5090"/>
                    <a:pt x="2153" y="5090"/>
                  </a:cubicBezTo>
                  <a:cubicBezTo>
                    <a:pt x="2806" y="5090"/>
                    <a:pt x="3393" y="5338"/>
                    <a:pt x="3981" y="5959"/>
                  </a:cubicBezTo>
                  <a:cubicBezTo>
                    <a:pt x="5351" y="7200"/>
                    <a:pt x="6330" y="9931"/>
                    <a:pt x="6330" y="13034"/>
                  </a:cubicBezTo>
                  <a:cubicBezTo>
                    <a:pt x="6330" y="17752"/>
                    <a:pt x="8353" y="21600"/>
                    <a:pt x="10833" y="21600"/>
                  </a:cubicBezTo>
                  <a:cubicBezTo>
                    <a:pt x="13247" y="21600"/>
                    <a:pt x="15270" y="17752"/>
                    <a:pt x="15270" y="13034"/>
                  </a:cubicBezTo>
                  <a:cubicBezTo>
                    <a:pt x="15270" y="9931"/>
                    <a:pt x="16249" y="7200"/>
                    <a:pt x="17619" y="5959"/>
                  </a:cubicBezTo>
                  <a:cubicBezTo>
                    <a:pt x="18207" y="5338"/>
                    <a:pt x="18794" y="5090"/>
                    <a:pt x="19447" y="5090"/>
                  </a:cubicBezTo>
                  <a:cubicBezTo>
                    <a:pt x="19512" y="5090"/>
                    <a:pt x="19512" y="5090"/>
                    <a:pt x="19577" y="5090"/>
                  </a:cubicBezTo>
                  <a:cubicBezTo>
                    <a:pt x="20295" y="5090"/>
                    <a:pt x="20947" y="5462"/>
                    <a:pt x="21600" y="6207"/>
                  </a:cubicBezTo>
                  <a:cubicBezTo>
                    <a:pt x="18468" y="2234"/>
                    <a:pt x="14813" y="0"/>
                    <a:pt x="10833" y="0"/>
                  </a:cubicBezTo>
                  <a:close/>
                </a:path>
              </a:pathLst>
            </a:custGeom>
            <a:gradFill>
              <a:gsLst>
                <a:gs pos="73000">
                  <a:schemeClr val="accent1"/>
                </a:gs>
                <a:gs pos="31000">
                  <a:schemeClr val="accent1">
                    <a:lumMod val="60000"/>
                    <a:lumOff val="40000"/>
                  </a:schemeClr>
                </a:gs>
                <a:gs pos="0">
                  <a:schemeClr val="accent1">
                    <a:lumMod val="40000"/>
                    <a:lumOff val="60000"/>
                  </a:schemeClr>
                </a:gs>
              </a:gsLst>
              <a:path path="circle">
                <a:fillToRect r="100000" b="100000"/>
              </a:path>
            </a:gradFill>
            <a:ln>
              <a:noFill/>
            </a:ln>
            <a:effectLst>
              <a:outerShdw blurRad="444500" dist="317500" dir="5400000" sx="92000" sy="92000" algn="t" rotWithShape="0">
                <a:schemeClr val="accent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white"/>
                </a:solidFill>
                <a:effectLst/>
                <a:uLnTx/>
                <a:uFillTx/>
                <a:latin typeface="HarmonyOS Sans SC"/>
                <a:cs typeface="+mn-cs"/>
                <a:sym typeface="Poppins Regular"/>
              </a:endParaRPr>
            </a:p>
          </p:txBody>
        </p:sp>
      </p:grpSp>
      <p:sp>
        <p:nvSpPr>
          <p:cNvPr id="19" name="01">
            <a:extLst>
              <a:ext uri="{FF2B5EF4-FFF2-40B4-BE49-F238E27FC236}">
                <a16:creationId xmlns:a16="http://schemas.microsoft.com/office/drawing/2014/main" id="{227D0655-A842-44CC-9B16-729460D4A3FF}"/>
              </a:ext>
            </a:extLst>
          </p:cNvPr>
          <p:cNvSpPr txBox="1"/>
          <p:nvPr/>
        </p:nvSpPr>
        <p:spPr>
          <a:xfrm>
            <a:off x="8385525" y="2175526"/>
            <a:ext cx="394339" cy="38472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anchor="ctr">
            <a:spAutoFit/>
          </a:bodyPr>
          <a:lstStyle>
            <a:lvl1pPr algn="r">
              <a:defRPr sz="5000" b="0">
                <a:solidFill>
                  <a:srgbClr val="C22B48"/>
                </a:solidFill>
                <a:latin typeface="Poppins Bold"/>
                <a:ea typeface="Poppins Bold"/>
                <a:cs typeface="Poppins Bold"/>
                <a:sym typeface="Poppins Bold"/>
              </a:defRPr>
            </a:lvl1pPr>
          </a:lstStyle>
          <a:p>
            <a:pPr marL="0" marR="0" lvl="0" indent="0" algn="l" defTabSz="412750" rtl="0" eaLnBrk="1" fontAlgn="auto" latinLnBrk="0" hangingPunct="0">
              <a:lnSpc>
                <a:spcPct val="100000"/>
              </a:lnSpc>
              <a:spcBef>
                <a:spcPts val="0"/>
              </a:spcBef>
              <a:spcAft>
                <a:spcPts val="0"/>
              </a:spcAft>
              <a:buClrTx/>
              <a:buSzTx/>
              <a:buFontTx/>
              <a:buNone/>
              <a:tabLst/>
              <a:defRPr/>
            </a:pPr>
            <a:r>
              <a:rPr kumimoji="0" sz="2500" b="0" i="0" u="none" strike="noStrike" kern="0" cap="none" spc="0" normalizeH="0" baseline="0" noProof="0">
                <a:ln>
                  <a:noFill/>
                </a:ln>
                <a:solidFill>
                  <a:schemeClr val="accent1"/>
                </a:solidFill>
                <a:effectLst/>
                <a:uLnTx/>
                <a:uFillTx/>
                <a:latin typeface="HarmonyOS Sans SC Black"/>
                <a:ea typeface="+mj-ea"/>
                <a:cs typeface="Poppins Bold"/>
                <a:sym typeface="Poppins Bold"/>
              </a:rPr>
              <a:t>01</a:t>
            </a:r>
          </a:p>
        </p:txBody>
      </p:sp>
      <p:sp>
        <p:nvSpPr>
          <p:cNvPr id="20" name="02">
            <a:extLst>
              <a:ext uri="{FF2B5EF4-FFF2-40B4-BE49-F238E27FC236}">
                <a16:creationId xmlns:a16="http://schemas.microsoft.com/office/drawing/2014/main" id="{B4C4EF33-BAB0-4D31-B10E-28898C6E7172}"/>
              </a:ext>
            </a:extLst>
          </p:cNvPr>
          <p:cNvSpPr txBox="1"/>
          <p:nvPr/>
        </p:nvSpPr>
        <p:spPr>
          <a:xfrm>
            <a:off x="8385525" y="3447008"/>
            <a:ext cx="394339" cy="38472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anchor="ctr">
            <a:spAutoFit/>
          </a:bodyPr>
          <a:lstStyle>
            <a:lvl1pPr algn="r">
              <a:defRPr sz="5000" b="0">
                <a:solidFill>
                  <a:srgbClr val="7FEB9F"/>
                </a:solidFill>
                <a:latin typeface="Poppins Bold"/>
                <a:ea typeface="Poppins Bold"/>
                <a:cs typeface="Poppins Bold"/>
                <a:sym typeface="Poppins Bold"/>
              </a:defRPr>
            </a:lvl1pPr>
          </a:lstStyle>
          <a:p>
            <a:pPr marL="0" marR="0" lvl="0" indent="0" algn="l" defTabSz="412750" rtl="0" eaLnBrk="1" fontAlgn="auto" latinLnBrk="0" hangingPunct="0">
              <a:lnSpc>
                <a:spcPct val="100000"/>
              </a:lnSpc>
              <a:spcBef>
                <a:spcPts val="0"/>
              </a:spcBef>
              <a:spcAft>
                <a:spcPts val="0"/>
              </a:spcAft>
              <a:buClrTx/>
              <a:buSzTx/>
              <a:buFontTx/>
              <a:buNone/>
              <a:tabLst/>
              <a:defRPr/>
            </a:pPr>
            <a:r>
              <a:rPr kumimoji="0" sz="2500" b="0" i="0" u="none" strike="noStrike" kern="0" cap="none" spc="0" normalizeH="0" baseline="0" noProof="0">
                <a:ln>
                  <a:noFill/>
                </a:ln>
                <a:solidFill>
                  <a:schemeClr val="accent1"/>
                </a:solidFill>
                <a:effectLst/>
                <a:uLnTx/>
                <a:uFillTx/>
                <a:latin typeface="HarmonyOS Sans SC Black"/>
                <a:ea typeface="+mj-ea"/>
                <a:cs typeface="Poppins Bold"/>
                <a:sym typeface="Poppins Bold"/>
              </a:rPr>
              <a:t>02</a:t>
            </a:r>
          </a:p>
        </p:txBody>
      </p:sp>
      <p:sp>
        <p:nvSpPr>
          <p:cNvPr id="21" name="03">
            <a:extLst>
              <a:ext uri="{FF2B5EF4-FFF2-40B4-BE49-F238E27FC236}">
                <a16:creationId xmlns:a16="http://schemas.microsoft.com/office/drawing/2014/main" id="{48B30865-447F-4E08-B657-E9805B74D256}"/>
              </a:ext>
            </a:extLst>
          </p:cNvPr>
          <p:cNvSpPr txBox="1"/>
          <p:nvPr/>
        </p:nvSpPr>
        <p:spPr>
          <a:xfrm>
            <a:off x="8385525" y="4718489"/>
            <a:ext cx="394339" cy="38472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anchor="ctr">
            <a:spAutoFit/>
          </a:bodyPr>
          <a:lstStyle>
            <a:lvl1pPr algn="r">
              <a:defRPr sz="5000" b="0">
                <a:solidFill>
                  <a:srgbClr val="1AAEC8"/>
                </a:solidFill>
                <a:latin typeface="Poppins Bold"/>
                <a:ea typeface="Poppins Bold"/>
                <a:cs typeface="Poppins Bold"/>
                <a:sym typeface="Poppins Bold"/>
              </a:defRPr>
            </a:lvl1pPr>
          </a:lstStyle>
          <a:p>
            <a:pPr marL="0" marR="0" lvl="0" indent="0" algn="l" defTabSz="412750" rtl="0" eaLnBrk="1" fontAlgn="auto" latinLnBrk="0" hangingPunct="0">
              <a:lnSpc>
                <a:spcPct val="100000"/>
              </a:lnSpc>
              <a:spcBef>
                <a:spcPts val="0"/>
              </a:spcBef>
              <a:spcAft>
                <a:spcPts val="0"/>
              </a:spcAft>
              <a:buClrTx/>
              <a:buSzTx/>
              <a:buFontTx/>
              <a:buNone/>
              <a:tabLst/>
              <a:defRPr/>
            </a:pPr>
            <a:r>
              <a:rPr kumimoji="0" sz="2500" b="0" i="0" u="none" strike="noStrike" kern="0" cap="none" spc="0" normalizeH="0" baseline="0" noProof="0">
                <a:ln>
                  <a:noFill/>
                </a:ln>
                <a:solidFill>
                  <a:schemeClr val="accent1"/>
                </a:solidFill>
                <a:effectLst/>
                <a:uLnTx/>
                <a:uFillTx/>
                <a:latin typeface="HarmonyOS Sans SC Black"/>
                <a:ea typeface="+mj-ea"/>
                <a:cs typeface="Poppins Bold"/>
                <a:sym typeface="Poppins Bold"/>
              </a:rPr>
              <a:t>03</a:t>
            </a:r>
          </a:p>
        </p:txBody>
      </p:sp>
      <p:grpSp>
        <p:nvGrpSpPr>
          <p:cNvPr id="32" name="组合 31">
            <a:extLst>
              <a:ext uri="{FF2B5EF4-FFF2-40B4-BE49-F238E27FC236}">
                <a16:creationId xmlns:a16="http://schemas.microsoft.com/office/drawing/2014/main" id="{2DDDFC7A-9CC0-49E1-82C5-A65CDB897002}"/>
              </a:ext>
            </a:extLst>
          </p:cNvPr>
          <p:cNvGrpSpPr/>
          <p:nvPr/>
        </p:nvGrpSpPr>
        <p:grpSpPr>
          <a:xfrm>
            <a:off x="950412" y="3242782"/>
            <a:ext cx="2739853" cy="1224210"/>
            <a:chOff x="950412" y="2483653"/>
            <a:chExt cx="2739853" cy="1224210"/>
          </a:xfrm>
        </p:grpSpPr>
        <p:sp>
          <p:nvSpPr>
            <p:cNvPr id="23" name="文本框 22">
              <a:extLst>
                <a:ext uri="{FF2B5EF4-FFF2-40B4-BE49-F238E27FC236}">
                  <a16:creationId xmlns:a16="http://schemas.microsoft.com/office/drawing/2014/main" id="{47450A6B-A450-45FD-8998-9303C1DDB5F5}"/>
                </a:ext>
              </a:extLst>
            </p:cNvPr>
            <p:cNvSpPr txBox="1"/>
            <p:nvPr/>
          </p:nvSpPr>
          <p:spPr>
            <a:xfrm>
              <a:off x="950412" y="2483653"/>
              <a:ext cx="2730235" cy="83099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2400" b="0" i="0" u="none" strike="noStrike" kern="1200" cap="none" spc="0" normalizeH="0" baseline="0" noProof="0" dirty="0">
                  <a:ln>
                    <a:noFill/>
                  </a:ln>
                  <a:solidFill>
                    <a:schemeClr val="accent1"/>
                  </a:solidFill>
                  <a:effectLst/>
                  <a:uLnTx/>
                  <a:uFillTx/>
                  <a:latin typeface="HarmonyOS Sans Black"/>
                  <a:ea typeface="+mj-ea"/>
                  <a:cs typeface="+mn-cs"/>
                </a:rPr>
                <a:t>Infographic</a:t>
              </a:r>
              <a:r>
                <a:rPr kumimoji="0" lang="en-US" altLang="zh-CN" sz="2400" b="0" i="0" u="none" strike="noStrike" kern="1200" cap="none" spc="0" normalizeH="0" baseline="0" noProof="0" dirty="0">
                  <a:ln>
                    <a:noFill/>
                  </a:ln>
                  <a:solidFill>
                    <a:prstClr val="black"/>
                  </a:solidFill>
                  <a:effectLst/>
                  <a:uLnTx/>
                  <a:uFillTx/>
                  <a:latin typeface="HarmonyOS Sans Black"/>
                  <a:ea typeface="+mj-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2400" b="0" i="0" u="none" strike="noStrike" kern="1200" cap="none" spc="0" normalizeH="0" baseline="0" noProof="0" dirty="0">
                  <a:ln>
                    <a:noFill/>
                  </a:ln>
                  <a:solidFill>
                    <a:prstClr val="black"/>
                  </a:solidFill>
                  <a:effectLst/>
                  <a:uLnTx/>
                  <a:uFillTx/>
                  <a:latin typeface="HarmonyOS Sans Black"/>
                  <a:ea typeface="+mj-ea"/>
                  <a:cs typeface="+mn-cs"/>
                </a:rPr>
                <a:t>Element Analysis</a:t>
              </a:r>
            </a:p>
          </p:txBody>
        </p:sp>
        <p:sp>
          <p:nvSpPr>
            <p:cNvPr id="25" name="文本框 24">
              <a:extLst>
                <a:ext uri="{FF2B5EF4-FFF2-40B4-BE49-F238E27FC236}">
                  <a16:creationId xmlns:a16="http://schemas.microsoft.com/office/drawing/2014/main" id="{DA22D5C3-81CD-4A29-A1CC-70489B99EA0F}"/>
                </a:ext>
              </a:extLst>
            </p:cNvPr>
            <p:cNvSpPr txBox="1"/>
            <p:nvPr/>
          </p:nvSpPr>
          <p:spPr>
            <a:xfrm>
              <a:off x="950412" y="3446253"/>
              <a:ext cx="2739853"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050" b="0" i="0" u="none" strike="noStrike" kern="1200" cap="none" spc="0" normalizeH="0" baseline="0" noProof="0" dirty="0">
                  <a:ln>
                    <a:noFill/>
                  </a:ln>
                  <a:solidFill>
                    <a:prstClr val="black">
                      <a:lumMod val="50000"/>
                      <a:lumOff val="50000"/>
                    </a:prstClr>
                  </a:solidFill>
                  <a:effectLst/>
                  <a:uLnTx/>
                  <a:uFillTx/>
                  <a:latin typeface="HarmonyOS Sans SC"/>
                  <a:cs typeface="+mn-cs"/>
                </a:rPr>
                <a:t>Motion Creative Multipurpose Template</a:t>
              </a:r>
            </a:p>
          </p:txBody>
        </p:sp>
      </p:grpSp>
      <p:sp>
        <p:nvSpPr>
          <p:cNvPr id="26" name="Easy Editable…">
            <a:extLst>
              <a:ext uri="{FF2B5EF4-FFF2-40B4-BE49-F238E27FC236}">
                <a16:creationId xmlns:a16="http://schemas.microsoft.com/office/drawing/2014/main" id="{2FD7CDB4-1EDA-40C6-9220-D532318A4795}"/>
              </a:ext>
            </a:extLst>
          </p:cNvPr>
          <p:cNvSpPr txBox="1"/>
          <p:nvPr/>
        </p:nvSpPr>
        <p:spPr>
          <a:xfrm>
            <a:off x="9062021" y="2170763"/>
            <a:ext cx="2213747" cy="245452"/>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nchor="ctr">
            <a:spAutoFit/>
          </a:bodyPr>
          <a:lstStyle/>
          <a:p>
            <a:pPr marL="0" marR="0" lvl="0" indent="0" algn="l" defTabSz="412750" rtl="0" eaLnBrk="1" fontAlgn="auto" latinLnBrk="0" hangingPunct="0">
              <a:lnSpc>
                <a:spcPct val="150000"/>
              </a:lnSpc>
              <a:spcBef>
                <a:spcPts val="500"/>
              </a:spcBef>
              <a:spcAft>
                <a:spcPts val="0"/>
              </a:spcAft>
              <a:buClrTx/>
              <a:buSzTx/>
              <a:buFontTx/>
              <a:buNone/>
              <a:tabLst/>
              <a:defRPr sz="2400" b="0">
                <a:solidFill>
                  <a:srgbClr val="F7F9FF"/>
                </a:solidFill>
                <a:latin typeface="Poppins Bold"/>
                <a:ea typeface="Poppins Bold"/>
                <a:cs typeface="Poppins Bold"/>
                <a:sym typeface="Poppins Bold"/>
              </a:defRPr>
            </a:pPr>
            <a:r>
              <a:rPr kumimoji="0" sz="1200" b="0" i="0" u="none" strike="noStrike" kern="0" cap="none" spc="0" normalizeH="0" baseline="0" noProof="0" dirty="0">
                <a:ln>
                  <a:noFill/>
                </a:ln>
                <a:solidFill>
                  <a:schemeClr val="accent1"/>
                </a:solidFill>
                <a:effectLst/>
                <a:uLnTx/>
                <a:uFillTx/>
                <a:latin typeface="HarmonyOS Sans SC Black"/>
                <a:ea typeface="+mj-ea"/>
                <a:cs typeface="Poppins Bold"/>
                <a:sym typeface="Poppins Bold"/>
              </a:rPr>
              <a:t>Easy Editable</a:t>
            </a:r>
            <a:endParaRPr kumimoji="0" sz="900" b="0" i="0" u="none" strike="noStrike" kern="0" cap="none" spc="0" normalizeH="0" baseline="0" noProof="0" dirty="0">
              <a:ln>
                <a:noFill/>
              </a:ln>
              <a:solidFill>
                <a:schemeClr val="accent1"/>
              </a:solidFill>
              <a:effectLst/>
              <a:uLnTx/>
              <a:uFillTx/>
              <a:latin typeface="HarmonyOS Sans SC Black"/>
              <a:ea typeface="+mj-ea"/>
              <a:cs typeface="Poppins Light"/>
              <a:sym typeface="Poppins Light"/>
            </a:endParaRPr>
          </a:p>
        </p:txBody>
      </p:sp>
      <p:sp>
        <p:nvSpPr>
          <p:cNvPr id="27" name="Easy Editable…">
            <a:extLst>
              <a:ext uri="{FF2B5EF4-FFF2-40B4-BE49-F238E27FC236}">
                <a16:creationId xmlns:a16="http://schemas.microsoft.com/office/drawing/2014/main" id="{60B0BB00-63A8-4267-9F6C-2ADC9038F895}"/>
              </a:ext>
            </a:extLst>
          </p:cNvPr>
          <p:cNvSpPr txBox="1"/>
          <p:nvPr/>
        </p:nvSpPr>
        <p:spPr>
          <a:xfrm>
            <a:off x="9062021" y="2491664"/>
            <a:ext cx="2213747" cy="39183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nchor="ctr">
            <a:spAutoFit/>
          </a:bodyPr>
          <a:lstStyle/>
          <a:p>
            <a:pPr marL="0" marR="0" lvl="0" indent="0" algn="l" defTabSz="412750" rtl="0" eaLnBrk="1" fontAlgn="auto" latinLnBrk="0" hangingPunct="0">
              <a:lnSpc>
                <a:spcPct val="150000"/>
              </a:lnSpc>
              <a:spcBef>
                <a:spcPts val="500"/>
              </a:spcBef>
              <a:spcAft>
                <a:spcPts val="0"/>
              </a:spcAft>
              <a:buClrTx/>
              <a:buSzTx/>
              <a:buFontTx/>
              <a:buNone/>
              <a:tabLst/>
              <a:defRPr sz="1800" b="0">
                <a:solidFill>
                  <a:srgbClr val="C8CBD1"/>
                </a:solidFill>
                <a:latin typeface="Poppins Light"/>
                <a:ea typeface="Poppins Light"/>
                <a:cs typeface="Poppins Light"/>
                <a:sym typeface="Poppins Light"/>
              </a:defRPr>
            </a:pPr>
            <a:r>
              <a:rPr kumimoji="0" sz="900" b="0" i="0" u="none" strike="noStrike" kern="0" cap="none" spc="0" normalizeH="0" baseline="0" noProof="0" dirty="0">
                <a:ln>
                  <a:noFill/>
                </a:ln>
                <a:solidFill>
                  <a:prstClr val="black">
                    <a:lumMod val="50000"/>
                    <a:lumOff val="50000"/>
                  </a:prstClr>
                </a:solidFill>
                <a:effectLst/>
                <a:uLnTx/>
                <a:uFillTx/>
                <a:latin typeface="HarmonyOS Sans SC"/>
                <a:cs typeface="Poppins Light"/>
                <a:sym typeface="Poppins Light"/>
              </a:rPr>
              <a:t>Uniquely incubate timely infomediaries</a:t>
            </a:r>
            <a:r>
              <a:rPr kumimoji="0" lang="en-US" sz="900" b="0" i="0" u="none" strike="noStrike" kern="0" cap="none" spc="0" normalizeH="0" baseline="0" noProof="0" dirty="0">
                <a:ln>
                  <a:noFill/>
                </a:ln>
                <a:solidFill>
                  <a:prstClr val="black">
                    <a:lumMod val="50000"/>
                    <a:lumOff val="50000"/>
                  </a:prstClr>
                </a:solidFill>
                <a:effectLst/>
                <a:uLnTx/>
                <a:uFillTx/>
                <a:latin typeface="HarmonyOS Sans SC"/>
                <a:cs typeface="Poppins Light"/>
                <a:sym typeface="Poppins Light"/>
              </a:rPr>
              <a:t> </a:t>
            </a:r>
            <a:r>
              <a:rPr kumimoji="0" sz="900" b="0" i="0" u="none" strike="noStrike" kern="0" cap="none" spc="0" normalizeH="0" baseline="0" noProof="0" dirty="0" err="1">
                <a:ln>
                  <a:noFill/>
                </a:ln>
                <a:solidFill>
                  <a:prstClr val="black">
                    <a:lumMod val="50000"/>
                    <a:lumOff val="50000"/>
                  </a:prstClr>
                </a:solidFill>
                <a:effectLst/>
                <a:uLnTx/>
                <a:uFillTx/>
                <a:latin typeface="HarmonyOS Sans SC"/>
                <a:cs typeface="Poppins Light"/>
                <a:sym typeface="Poppins Light"/>
              </a:rPr>
              <a:t>infomediaries</a:t>
            </a:r>
            <a:r>
              <a:rPr kumimoji="0" sz="900" b="0" i="0" u="none" strike="noStrike" kern="0" cap="none" spc="0" normalizeH="0" baseline="0" noProof="0" dirty="0">
                <a:ln>
                  <a:noFill/>
                </a:ln>
                <a:solidFill>
                  <a:prstClr val="black">
                    <a:lumMod val="50000"/>
                    <a:lumOff val="50000"/>
                  </a:prstClr>
                </a:solidFill>
                <a:effectLst/>
                <a:uLnTx/>
                <a:uFillTx/>
                <a:latin typeface="HarmonyOS Sans SC"/>
                <a:cs typeface="Poppins Light"/>
                <a:sym typeface="Poppins Light"/>
              </a:rPr>
              <a:t>.</a:t>
            </a:r>
          </a:p>
        </p:txBody>
      </p:sp>
      <p:sp>
        <p:nvSpPr>
          <p:cNvPr id="28" name="Safety…">
            <a:extLst>
              <a:ext uri="{FF2B5EF4-FFF2-40B4-BE49-F238E27FC236}">
                <a16:creationId xmlns:a16="http://schemas.microsoft.com/office/drawing/2014/main" id="{2CCFABC4-8AC2-4F08-85B4-FCDA58897A7D}"/>
              </a:ext>
            </a:extLst>
          </p:cNvPr>
          <p:cNvSpPr txBox="1"/>
          <p:nvPr/>
        </p:nvSpPr>
        <p:spPr>
          <a:xfrm>
            <a:off x="9062021" y="3442245"/>
            <a:ext cx="2213747" cy="245452"/>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nchor="ctr">
            <a:spAutoFit/>
          </a:bodyPr>
          <a:lstStyle/>
          <a:p>
            <a:pPr marL="0" marR="0" lvl="0" indent="0" algn="l" defTabSz="412750" rtl="0" eaLnBrk="1" fontAlgn="auto" latinLnBrk="0" hangingPunct="0">
              <a:lnSpc>
                <a:spcPct val="150000"/>
              </a:lnSpc>
              <a:spcBef>
                <a:spcPts val="500"/>
              </a:spcBef>
              <a:spcAft>
                <a:spcPts val="0"/>
              </a:spcAft>
              <a:buClrTx/>
              <a:buSzTx/>
              <a:buFontTx/>
              <a:buNone/>
              <a:tabLst/>
              <a:defRPr sz="2400" b="0">
                <a:solidFill>
                  <a:srgbClr val="F7F9FF"/>
                </a:solidFill>
                <a:latin typeface="Poppins Bold"/>
                <a:ea typeface="Poppins Bold"/>
                <a:cs typeface="Poppins Bold"/>
                <a:sym typeface="Poppins Bold"/>
              </a:defRPr>
            </a:pPr>
            <a:r>
              <a:rPr kumimoji="0" lang="en-US" sz="1200" b="0" i="0" u="none" strike="noStrike" kern="0" cap="none" spc="0" normalizeH="0" baseline="0" noProof="0">
                <a:ln>
                  <a:noFill/>
                </a:ln>
                <a:solidFill>
                  <a:schemeClr val="accent1"/>
                </a:solidFill>
                <a:effectLst/>
                <a:uLnTx/>
                <a:uFillTx/>
                <a:latin typeface="HarmonyOS Sans SC Black"/>
                <a:ea typeface="+mj-ea"/>
                <a:cs typeface="Poppins Bold"/>
                <a:sym typeface="Poppins Bold"/>
              </a:rPr>
              <a:t>Safety</a:t>
            </a:r>
            <a:endParaRPr kumimoji="0" lang="en-US" sz="900" b="0" i="0" u="none" strike="noStrike" kern="0" cap="none" spc="0" normalizeH="0" baseline="0" noProof="0" dirty="0">
              <a:ln>
                <a:noFill/>
              </a:ln>
              <a:solidFill>
                <a:schemeClr val="accent1"/>
              </a:solidFill>
              <a:effectLst/>
              <a:uLnTx/>
              <a:uFillTx/>
              <a:latin typeface="HarmonyOS Sans SC Black"/>
              <a:ea typeface="+mj-ea"/>
              <a:cs typeface="Poppins Light"/>
              <a:sym typeface="Poppins Light"/>
            </a:endParaRPr>
          </a:p>
        </p:txBody>
      </p:sp>
      <p:sp>
        <p:nvSpPr>
          <p:cNvPr id="29" name="Safety…">
            <a:extLst>
              <a:ext uri="{FF2B5EF4-FFF2-40B4-BE49-F238E27FC236}">
                <a16:creationId xmlns:a16="http://schemas.microsoft.com/office/drawing/2014/main" id="{9A3F4B73-4D97-4AD0-B623-BF9D87369063}"/>
              </a:ext>
            </a:extLst>
          </p:cNvPr>
          <p:cNvSpPr txBox="1"/>
          <p:nvPr/>
        </p:nvSpPr>
        <p:spPr>
          <a:xfrm>
            <a:off x="9062021" y="3763146"/>
            <a:ext cx="2213747" cy="39183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nchor="ctr">
            <a:spAutoFit/>
          </a:bodyPr>
          <a:lstStyle/>
          <a:p>
            <a:pPr marL="0" marR="0" lvl="0" indent="0" algn="l" defTabSz="412750" rtl="0" eaLnBrk="1" fontAlgn="auto" latinLnBrk="0" hangingPunct="0">
              <a:lnSpc>
                <a:spcPct val="150000"/>
              </a:lnSpc>
              <a:spcBef>
                <a:spcPts val="500"/>
              </a:spcBef>
              <a:spcAft>
                <a:spcPts val="0"/>
              </a:spcAft>
              <a:buClrTx/>
              <a:buSzTx/>
              <a:buFontTx/>
              <a:buNone/>
              <a:tabLst/>
              <a:defRPr sz="1800" b="0">
                <a:solidFill>
                  <a:srgbClr val="C8CBD1"/>
                </a:solidFill>
                <a:latin typeface="Poppins Light"/>
                <a:ea typeface="Poppins Light"/>
                <a:cs typeface="Poppins Light"/>
                <a:sym typeface="Poppins Light"/>
              </a:defRPr>
            </a:pPr>
            <a:r>
              <a:rPr kumimoji="0" lang="en-US" sz="900" b="0" i="0" u="none" strike="noStrike" kern="0" cap="none" spc="0" normalizeH="0" baseline="0" noProof="0">
                <a:ln>
                  <a:noFill/>
                </a:ln>
                <a:solidFill>
                  <a:prstClr val="black">
                    <a:lumMod val="50000"/>
                    <a:lumOff val="50000"/>
                  </a:prstClr>
                </a:solidFill>
                <a:effectLst/>
                <a:uLnTx/>
                <a:uFillTx/>
                <a:latin typeface="HarmonyOS Sans SC"/>
                <a:cs typeface="Poppins Light"/>
                <a:sym typeface="Poppins Light"/>
              </a:rPr>
              <a:t>Uniquely </a:t>
            </a:r>
            <a:r>
              <a:rPr kumimoji="0" lang="en-US" sz="900" b="0" i="0" u="none" strike="noStrike" kern="0" cap="none" spc="0" normalizeH="0" baseline="0" noProof="0" dirty="0">
                <a:ln>
                  <a:noFill/>
                </a:ln>
                <a:solidFill>
                  <a:prstClr val="black">
                    <a:lumMod val="50000"/>
                    <a:lumOff val="50000"/>
                  </a:prstClr>
                </a:solidFill>
                <a:effectLst/>
                <a:uLnTx/>
                <a:uFillTx/>
                <a:latin typeface="HarmonyOS Sans SC"/>
                <a:cs typeface="Poppins Light"/>
                <a:sym typeface="Poppins Light"/>
              </a:rPr>
              <a:t>incubate timely infomediaries </a:t>
            </a:r>
            <a:r>
              <a:rPr kumimoji="0" lang="en-US" sz="900" b="0" i="0" u="none" strike="noStrike" kern="0" cap="none" spc="0" normalizeH="0" baseline="0" noProof="0" dirty="0" err="1">
                <a:ln>
                  <a:noFill/>
                </a:ln>
                <a:solidFill>
                  <a:prstClr val="black">
                    <a:lumMod val="50000"/>
                    <a:lumOff val="50000"/>
                  </a:prstClr>
                </a:solidFill>
                <a:effectLst/>
                <a:uLnTx/>
                <a:uFillTx/>
                <a:latin typeface="HarmonyOS Sans SC"/>
                <a:cs typeface="Poppins Light"/>
                <a:sym typeface="Poppins Light"/>
              </a:rPr>
              <a:t>infomediaries</a:t>
            </a:r>
            <a:r>
              <a:rPr kumimoji="0" lang="en-US" sz="900" b="0" i="0" u="none" strike="noStrike" kern="0" cap="none" spc="0" normalizeH="0" baseline="0" noProof="0" dirty="0">
                <a:ln>
                  <a:noFill/>
                </a:ln>
                <a:solidFill>
                  <a:prstClr val="black">
                    <a:lumMod val="50000"/>
                    <a:lumOff val="50000"/>
                  </a:prstClr>
                </a:solidFill>
                <a:effectLst/>
                <a:uLnTx/>
                <a:uFillTx/>
                <a:latin typeface="HarmonyOS Sans SC"/>
                <a:cs typeface="Poppins Light"/>
                <a:sym typeface="Poppins Light"/>
              </a:rPr>
              <a:t>.</a:t>
            </a:r>
          </a:p>
        </p:txBody>
      </p:sp>
      <p:sp>
        <p:nvSpPr>
          <p:cNvPr id="30" name="Full Analysis…">
            <a:extLst>
              <a:ext uri="{FF2B5EF4-FFF2-40B4-BE49-F238E27FC236}">
                <a16:creationId xmlns:a16="http://schemas.microsoft.com/office/drawing/2014/main" id="{B948AD38-18FF-479C-AE57-6886B6020A75}"/>
              </a:ext>
            </a:extLst>
          </p:cNvPr>
          <p:cNvSpPr txBox="1"/>
          <p:nvPr/>
        </p:nvSpPr>
        <p:spPr>
          <a:xfrm>
            <a:off x="9062021" y="4713727"/>
            <a:ext cx="2213747" cy="245452"/>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nchor="ctr">
            <a:spAutoFit/>
          </a:bodyPr>
          <a:lstStyle/>
          <a:p>
            <a:pPr marL="0" marR="0" lvl="0" indent="0" algn="l" defTabSz="412750" rtl="0" eaLnBrk="1" fontAlgn="auto" latinLnBrk="0" hangingPunct="0">
              <a:lnSpc>
                <a:spcPct val="150000"/>
              </a:lnSpc>
              <a:spcBef>
                <a:spcPts val="500"/>
              </a:spcBef>
              <a:spcAft>
                <a:spcPts val="0"/>
              </a:spcAft>
              <a:buClrTx/>
              <a:buSzTx/>
              <a:buFontTx/>
              <a:buNone/>
              <a:tabLst/>
              <a:defRPr sz="2400" b="0">
                <a:solidFill>
                  <a:srgbClr val="F7F9FF"/>
                </a:solidFill>
                <a:latin typeface="Poppins Bold"/>
                <a:ea typeface="Poppins Bold"/>
                <a:cs typeface="Poppins Bold"/>
                <a:sym typeface="Poppins Bold"/>
              </a:defRPr>
            </a:pPr>
            <a:r>
              <a:rPr kumimoji="0" lang="en-US" sz="1200" b="0" i="0" u="none" strike="noStrike" kern="0" cap="none" spc="0" normalizeH="0" baseline="0" noProof="0">
                <a:ln>
                  <a:noFill/>
                </a:ln>
                <a:solidFill>
                  <a:schemeClr val="accent1"/>
                </a:solidFill>
                <a:effectLst/>
                <a:uLnTx/>
                <a:uFillTx/>
                <a:latin typeface="HarmonyOS Sans SC Black"/>
                <a:ea typeface="+mj-ea"/>
                <a:cs typeface="Poppins Bold"/>
                <a:sym typeface="Poppins Bold"/>
              </a:rPr>
              <a:t>Full Analysis</a:t>
            </a:r>
            <a:endParaRPr kumimoji="0" lang="en-US" sz="900" b="0" i="0" u="none" strike="noStrike" kern="0" cap="none" spc="0" normalizeH="0" baseline="0" noProof="0" dirty="0">
              <a:ln>
                <a:noFill/>
              </a:ln>
              <a:solidFill>
                <a:schemeClr val="accent1"/>
              </a:solidFill>
              <a:effectLst/>
              <a:uLnTx/>
              <a:uFillTx/>
              <a:latin typeface="HarmonyOS Sans SC Black"/>
              <a:ea typeface="+mj-ea"/>
              <a:cs typeface="Poppins Light"/>
              <a:sym typeface="Poppins Light"/>
            </a:endParaRPr>
          </a:p>
        </p:txBody>
      </p:sp>
      <p:sp>
        <p:nvSpPr>
          <p:cNvPr id="31" name="Full Analysis…">
            <a:extLst>
              <a:ext uri="{FF2B5EF4-FFF2-40B4-BE49-F238E27FC236}">
                <a16:creationId xmlns:a16="http://schemas.microsoft.com/office/drawing/2014/main" id="{45B2729A-FD74-4C24-9381-F76EF22CB863}"/>
              </a:ext>
            </a:extLst>
          </p:cNvPr>
          <p:cNvSpPr txBox="1"/>
          <p:nvPr/>
        </p:nvSpPr>
        <p:spPr>
          <a:xfrm>
            <a:off x="9062021" y="5034628"/>
            <a:ext cx="2213747" cy="39183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nchor="ctr">
            <a:spAutoFit/>
          </a:bodyPr>
          <a:lstStyle/>
          <a:p>
            <a:pPr marL="0" marR="0" lvl="0" indent="0" algn="l" defTabSz="412750" rtl="0" eaLnBrk="1" fontAlgn="auto" latinLnBrk="0" hangingPunct="0">
              <a:lnSpc>
                <a:spcPct val="150000"/>
              </a:lnSpc>
              <a:spcBef>
                <a:spcPts val="500"/>
              </a:spcBef>
              <a:spcAft>
                <a:spcPts val="0"/>
              </a:spcAft>
              <a:buClrTx/>
              <a:buSzTx/>
              <a:buFontTx/>
              <a:buNone/>
              <a:tabLst/>
              <a:defRPr sz="1800" b="0">
                <a:solidFill>
                  <a:srgbClr val="C8CBD1"/>
                </a:solidFill>
                <a:latin typeface="Poppins Light"/>
                <a:ea typeface="Poppins Light"/>
                <a:cs typeface="Poppins Light"/>
                <a:sym typeface="Poppins Light"/>
              </a:defRPr>
            </a:pPr>
            <a:r>
              <a:rPr kumimoji="0" lang="en-US" sz="900" b="0" i="0" u="none" strike="noStrike" kern="0" cap="none" spc="0" normalizeH="0" baseline="0" noProof="0">
                <a:ln>
                  <a:noFill/>
                </a:ln>
                <a:solidFill>
                  <a:prstClr val="black">
                    <a:lumMod val="50000"/>
                    <a:lumOff val="50000"/>
                  </a:prstClr>
                </a:solidFill>
                <a:effectLst/>
                <a:uLnTx/>
                <a:uFillTx/>
                <a:latin typeface="HarmonyOS Sans SC"/>
                <a:cs typeface="Poppins Light"/>
                <a:sym typeface="Poppins Light"/>
              </a:rPr>
              <a:t>Uniquely </a:t>
            </a:r>
            <a:r>
              <a:rPr kumimoji="0" lang="en-US" sz="900" b="0" i="0" u="none" strike="noStrike" kern="0" cap="none" spc="0" normalizeH="0" baseline="0" noProof="0" dirty="0">
                <a:ln>
                  <a:noFill/>
                </a:ln>
                <a:solidFill>
                  <a:prstClr val="black">
                    <a:lumMod val="50000"/>
                    <a:lumOff val="50000"/>
                  </a:prstClr>
                </a:solidFill>
                <a:effectLst/>
                <a:uLnTx/>
                <a:uFillTx/>
                <a:latin typeface="HarmonyOS Sans SC"/>
                <a:cs typeface="Poppins Light"/>
                <a:sym typeface="Poppins Light"/>
              </a:rPr>
              <a:t>incubate timely infomediaries </a:t>
            </a:r>
            <a:r>
              <a:rPr kumimoji="0" lang="en-US" sz="900" b="0" i="0" u="none" strike="noStrike" kern="0" cap="none" spc="0" normalizeH="0" baseline="0" noProof="0" dirty="0" err="1">
                <a:ln>
                  <a:noFill/>
                </a:ln>
                <a:solidFill>
                  <a:prstClr val="black">
                    <a:lumMod val="50000"/>
                    <a:lumOff val="50000"/>
                  </a:prstClr>
                </a:solidFill>
                <a:effectLst/>
                <a:uLnTx/>
                <a:uFillTx/>
                <a:latin typeface="HarmonyOS Sans SC"/>
                <a:cs typeface="Poppins Light"/>
                <a:sym typeface="Poppins Light"/>
              </a:rPr>
              <a:t>infomediaries</a:t>
            </a:r>
            <a:r>
              <a:rPr kumimoji="0" lang="en-US" sz="900" b="0" i="0" u="none" strike="noStrike" kern="0" cap="none" spc="0" normalizeH="0" baseline="0" noProof="0" dirty="0">
                <a:ln>
                  <a:noFill/>
                </a:ln>
                <a:solidFill>
                  <a:prstClr val="black">
                    <a:lumMod val="50000"/>
                    <a:lumOff val="50000"/>
                  </a:prstClr>
                </a:solidFill>
                <a:effectLst/>
                <a:uLnTx/>
                <a:uFillTx/>
                <a:latin typeface="HarmonyOS Sans SC"/>
                <a:cs typeface="Poppins Light"/>
                <a:sym typeface="Poppins Light"/>
              </a:rPr>
              <a:t>.</a:t>
            </a:r>
          </a:p>
        </p:txBody>
      </p:sp>
    </p:spTree>
    <p:extLst>
      <p:ext uri="{BB962C8B-B14F-4D97-AF65-F5344CB8AC3E}">
        <p14:creationId xmlns:p14="http://schemas.microsoft.com/office/powerpoint/2010/main" val="684299117"/>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4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rame 3">
            <a:extLst>
              <a:ext uri="{FF2B5EF4-FFF2-40B4-BE49-F238E27FC236}">
                <a16:creationId xmlns:a16="http://schemas.microsoft.com/office/drawing/2014/main" id="{677E5932-F4D3-4D7B-A2CE-B4312ADFBB97}"/>
              </a:ext>
            </a:extLst>
          </p:cNvPr>
          <p:cNvSpPr/>
          <p:nvPr/>
        </p:nvSpPr>
        <p:spPr>
          <a:xfrm>
            <a:off x="1536415" y="3223722"/>
            <a:ext cx="1740983" cy="1740983"/>
          </a:xfrm>
          <a:prstGeom prst="frame">
            <a:avLst>
              <a:gd name="adj1" fmla="val 26312"/>
            </a:avLst>
          </a:prstGeom>
          <a:gradFill flip="none" rotWithShape="1">
            <a:gsLst>
              <a:gs pos="48000">
                <a:schemeClr val="accent1">
                  <a:lumMod val="60000"/>
                  <a:lumOff val="40000"/>
                  <a:alpha val="24000"/>
                </a:schemeClr>
              </a:gs>
              <a:gs pos="100000">
                <a:schemeClr val="accent1">
                  <a:alpha val="29000"/>
                </a:schemeClr>
              </a:gs>
            </a:gsLst>
            <a:lin ang="5400000" scaled="1"/>
            <a:tileRect/>
          </a:gradFill>
          <a:ln>
            <a:noFill/>
          </a:ln>
          <a:scene3d>
            <a:camera prst="isometricTopUp"/>
            <a:lightRig rig="contrasting"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Inter"/>
              <a:ea typeface="+mn-ea"/>
              <a:cs typeface="+mn-cs"/>
            </a:endParaRPr>
          </a:p>
        </p:txBody>
      </p:sp>
      <p:sp>
        <p:nvSpPr>
          <p:cNvPr id="8" name="Rectangle 4">
            <a:extLst>
              <a:ext uri="{FF2B5EF4-FFF2-40B4-BE49-F238E27FC236}">
                <a16:creationId xmlns:a16="http://schemas.microsoft.com/office/drawing/2014/main" id="{BEF6D06E-F663-4489-BC47-F9BCCE3D35E3}"/>
              </a:ext>
            </a:extLst>
          </p:cNvPr>
          <p:cNvSpPr/>
          <p:nvPr/>
        </p:nvSpPr>
        <p:spPr>
          <a:xfrm>
            <a:off x="1808749" y="2138976"/>
            <a:ext cx="1195571" cy="1195571"/>
          </a:xfrm>
          <a:prstGeom prst="rect">
            <a:avLst/>
          </a:prstGeom>
          <a:gradFill>
            <a:gsLst>
              <a:gs pos="28000">
                <a:schemeClr val="accent1"/>
              </a:gs>
              <a:gs pos="100000">
                <a:schemeClr val="accent1">
                  <a:lumMod val="60000"/>
                  <a:lumOff val="40000"/>
                  <a:alpha val="70000"/>
                </a:schemeClr>
              </a:gs>
            </a:gsLst>
            <a:lin ang="13500000" scaled="1"/>
          </a:gradFill>
          <a:ln>
            <a:gradFill>
              <a:gsLst>
                <a:gs pos="0">
                  <a:schemeClr val="accent1">
                    <a:lumMod val="60000"/>
                    <a:lumOff val="40000"/>
                  </a:schemeClr>
                </a:gs>
                <a:gs pos="100000">
                  <a:schemeClr val="accent1">
                    <a:alpha val="40000"/>
                  </a:schemeClr>
                </a:gs>
              </a:gsLst>
              <a:lin ang="5400000" scaled="1"/>
            </a:gradFill>
          </a:ln>
          <a:scene3d>
            <a:camera prst="isometricTopUp"/>
            <a:lightRig rig="contrasting" dir="t"/>
          </a:scene3d>
          <a:sp3d extrusionH="12700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Inter"/>
              <a:ea typeface="+mn-ea"/>
              <a:cs typeface="+mn-cs"/>
            </a:endParaRPr>
          </a:p>
        </p:txBody>
      </p:sp>
      <p:sp>
        <p:nvSpPr>
          <p:cNvPr id="9" name="Rectangle 5">
            <a:extLst>
              <a:ext uri="{FF2B5EF4-FFF2-40B4-BE49-F238E27FC236}">
                <a16:creationId xmlns:a16="http://schemas.microsoft.com/office/drawing/2014/main" id="{1733B091-9C36-4813-AED2-A46521638BEA}"/>
              </a:ext>
            </a:extLst>
          </p:cNvPr>
          <p:cNvSpPr/>
          <p:nvPr/>
        </p:nvSpPr>
        <p:spPr>
          <a:xfrm>
            <a:off x="2354336" y="3119479"/>
            <a:ext cx="104243" cy="104243"/>
          </a:xfrm>
          <a:prstGeom prst="rect">
            <a:avLst/>
          </a:prstGeom>
          <a:solidFill>
            <a:schemeClr val="accent1">
              <a:lumMod val="20000"/>
              <a:lumOff val="80000"/>
              <a:alpha val="29000"/>
            </a:schemeClr>
          </a:solidFill>
          <a:ln>
            <a:noFill/>
          </a:ln>
          <a:scene3d>
            <a:camera prst="isometricTopUp"/>
            <a:lightRig rig="contrasting" dir="t"/>
          </a:scene3d>
          <a:sp3d extrusionH="1016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Inter"/>
              <a:ea typeface="+mn-ea"/>
              <a:cs typeface="+mn-cs"/>
            </a:endParaRPr>
          </a:p>
        </p:txBody>
      </p:sp>
      <p:sp>
        <p:nvSpPr>
          <p:cNvPr id="10" name="TextBox 15">
            <a:extLst>
              <a:ext uri="{FF2B5EF4-FFF2-40B4-BE49-F238E27FC236}">
                <a16:creationId xmlns:a16="http://schemas.microsoft.com/office/drawing/2014/main" id="{2480B5EA-4C2C-4E40-899D-75528100A9CE}"/>
              </a:ext>
            </a:extLst>
          </p:cNvPr>
          <p:cNvSpPr txBox="1"/>
          <p:nvPr/>
        </p:nvSpPr>
        <p:spPr>
          <a:xfrm>
            <a:off x="1479089" y="3270506"/>
            <a:ext cx="1018227" cy="461665"/>
          </a:xfrm>
          <a:prstGeom prst="rect">
            <a:avLst/>
          </a:prstGeom>
          <a:noFill/>
          <a:scene3d>
            <a:camera prst="isometricLeftDown"/>
            <a:lightRig rig="threePt" dir="t"/>
          </a:scene3d>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FFFFFF"/>
                </a:solidFill>
                <a:effectLst/>
                <a:uLnTx/>
                <a:uFillTx/>
                <a:latin typeface="HarmonyOS Sans SC Black"/>
                <a:ea typeface="+mj-ea"/>
                <a:cs typeface="+mn-cs"/>
              </a:rPr>
              <a:t>100%</a:t>
            </a:r>
            <a:endParaRPr kumimoji="0" lang="en-US" sz="2400" b="0" i="0" u="none" strike="noStrike" kern="1200" cap="none" spc="0" normalizeH="0" baseline="0" noProof="0" dirty="0">
              <a:ln>
                <a:noFill/>
              </a:ln>
              <a:solidFill>
                <a:srgbClr val="FFFFFF"/>
              </a:solidFill>
              <a:effectLst/>
              <a:uLnTx/>
              <a:uFillTx/>
              <a:latin typeface="HarmonyOS Sans SC Black"/>
              <a:ea typeface="+mj-ea"/>
              <a:cs typeface="+mn-cs"/>
            </a:endParaRPr>
          </a:p>
        </p:txBody>
      </p:sp>
      <p:sp>
        <p:nvSpPr>
          <p:cNvPr id="11" name="Frame 6">
            <a:extLst>
              <a:ext uri="{FF2B5EF4-FFF2-40B4-BE49-F238E27FC236}">
                <a16:creationId xmlns:a16="http://schemas.microsoft.com/office/drawing/2014/main" id="{2BF2CBC1-6B81-4675-99D1-96C56B9DE921}"/>
              </a:ext>
            </a:extLst>
          </p:cNvPr>
          <p:cNvSpPr/>
          <p:nvPr/>
        </p:nvSpPr>
        <p:spPr>
          <a:xfrm>
            <a:off x="5225509" y="3223722"/>
            <a:ext cx="1740983" cy="1740983"/>
          </a:xfrm>
          <a:prstGeom prst="frame">
            <a:avLst>
              <a:gd name="adj1" fmla="val 26312"/>
            </a:avLst>
          </a:prstGeom>
          <a:gradFill flip="none" rotWithShape="1">
            <a:gsLst>
              <a:gs pos="48000">
                <a:schemeClr val="accent1">
                  <a:lumMod val="60000"/>
                  <a:lumOff val="40000"/>
                  <a:alpha val="24000"/>
                </a:schemeClr>
              </a:gs>
              <a:gs pos="100000">
                <a:schemeClr val="accent1">
                  <a:alpha val="29000"/>
                </a:schemeClr>
              </a:gs>
            </a:gsLst>
            <a:lin ang="5400000" scaled="1"/>
            <a:tileRect/>
          </a:gradFill>
          <a:ln>
            <a:noFill/>
          </a:ln>
          <a:scene3d>
            <a:camera prst="isometricTopUp"/>
            <a:lightRig rig="contrasting"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Inter"/>
              <a:ea typeface="+mn-ea"/>
              <a:cs typeface="+mn-cs"/>
            </a:endParaRPr>
          </a:p>
        </p:txBody>
      </p:sp>
      <p:sp>
        <p:nvSpPr>
          <p:cNvPr id="13" name="Rectangle 7">
            <a:extLst>
              <a:ext uri="{FF2B5EF4-FFF2-40B4-BE49-F238E27FC236}">
                <a16:creationId xmlns:a16="http://schemas.microsoft.com/office/drawing/2014/main" id="{FC5684CC-14B8-473E-B694-7B445A5B2E08}"/>
              </a:ext>
            </a:extLst>
          </p:cNvPr>
          <p:cNvSpPr/>
          <p:nvPr/>
        </p:nvSpPr>
        <p:spPr>
          <a:xfrm>
            <a:off x="5497843" y="2668583"/>
            <a:ext cx="1195571" cy="1195571"/>
          </a:xfrm>
          <a:prstGeom prst="rect">
            <a:avLst/>
          </a:prstGeom>
          <a:gradFill>
            <a:gsLst>
              <a:gs pos="28000">
                <a:schemeClr val="accent1"/>
              </a:gs>
              <a:gs pos="100000">
                <a:schemeClr val="accent1">
                  <a:lumMod val="60000"/>
                  <a:lumOff val="40000"/>
                  <a:alpha val="70000"/>
                </a:schemeClr>
              </a:gs>
            </a:gsLst>
            <a:lin ang="13500000" scaled="1"/>
          </a:gradFill>
          <a:ln>
            <a:gradFill>
              <a:gsLst>
                <a:gs pos="0">
                  <a:schemeClr val="accent1">
                    <a:lumMod val="60000"/>
                    <a:lumOff val="40000"/>
                  </a:schemeClr>
                </a:gs>
                <a:gs pos="100000">
                  <a:schemeClr val="accent1">
                    <a:alpha val="40000"/>
                  </a:schemeClr>
                </a:gs>
              </a:gsLst>
              <a:lin ang="5400000" scaled="1"/>
            </a:gradFill>
          </a:ln>
          <a:scene3d>
            <a:camera prst="isometricTopUp"/>
            <a:lightRig rig="contrasting" dir="t"/>
          </a:scene3d>
          <a:sp3d extrusionH="6350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Inter"/>
              <a:cs typeface="+mn-cs"/>
            </a:endParaRPr>
          </a:p>
        </p:txBody>
      </p:sp>
      <p:sp>
        <p:nvSpPr>
          <p:cNvPr id="14" name="Rectangle 8">
            <a:extLst>
              <a:ext uri="{FF2B5EF4-FFF2-40B4-BE49-F238E27FC236}">
                <a16:creationId xmlns:a16="http://schemas.microsoft.com/office/drawing/2014/main" id="{88E13DB8-C29C-4B59-A0AC-CF86A1AE8F05}"/>
              </a:ext>
            </a:extLst>
          </p:cNvPr>
          <p:cNvSpPr/>
          <p:nvPr/>
        </p:nvSpPr>
        <p:spPr>
          <a:xfrm>
            <a:off x="6043430" y="3660849"/>
            <a:ext cx="104243" cy="104243"/>
          </a:xfrm>
          <a:prstGeom prst="rect">
            <a:avLst/>
          </a:prstGeom>
          <a:solidFill>
            <a:schemeClr val="accent1">
              <a:lumMod val="20000"/>
              <a:lumOff val="80000"/>
              <a:alpha val="29000"/>
            </a:schemeClr>
          </a:solidFill>
          <a:ln>
            <a:noFill/>
          </a:ln>
          <a:scene3d>
            <a:camera prst="isometricTopUp"/>
            <a:lightRig rig="contrasting" dir="t"/>
          </a:scene3d>
          <a:sp3d extrusionH="1016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Inter"/>
              <a:cs typeface="+mn-cs"/>
            </a:endParaRPr>
          </a:p>
        </p:txBody>
      </p:sp>
      <p:sp>
        <p:nvSpPr>
          <p:cNvPr id="15" name="TextBox 16">
            <a:extLst>
              <a:ext uri="{FF2B5EF4-FFF2-40B4-BE49-F238E27FC236}">
                <a16:creationId xmlns:a16="http://schemas.microsoft.com/office/drawing/2014/main" id="{8D37354B-1252-4AD0-AD68-C1358F8FB895}"/>
              </a:ext>
            </a:extLst>
          </p:cNvPr>
          <p:cNvSpPr txBox="1"/>
          <p:nvPr/>
        </p:nvSpPr>
        <p:spPr>
          <a:xfrm>
            <a:off x="5243126" y="3534259"/>
            <a:ext cx="859531" cy="461665"/>
          </a:xfrm>
          <a:prstGeom prst="rect">
            <a:avLst/>
          </a:prstGeom>
          <a:noFill/>
          <a:scene3d>
            <a:camera prst="isometricLeftDown"/>
            <a:lightRig rig="threePt" dir="t"/>
          </a:scene3d>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FFFFFF"/>
                </a:solidFill>
                <a:effectLst/>
                <a:uLnTx/>
                <a:uFillTx/>
                <a:latin typeface="HarmonyOS Sans SC Black"/>
                <a:ea typeface="+mj-ea"/>
                <a:cs typeface="+mn-cs"/>
              </a:rPr>
              <a:t>50%</a:t>
            </a:r>
          </a:p>
        </p:txBody>
      </p:sp>
      <p:sp>
        <p:nvSpPr>
          <p:cNvPr id="16" name="Frame 9">
            <a:extLst>
              <a:ext uri="{FF2B5EF4-FFF2-40B4-BE49-F238E27FC236}">
                <a16:creationId xmlns:a16="http://schemas.microsoft.com/office/drawing/2014/main" id="{53408705-DD34-4501-8960-81999996EA36}"/>
              </a:ext>
            </a:extLst>
          </p:cNvPr>
          <p:cNvSpPr/>
          <p:nvPr/>
        </p:nvSpPr>
        <p:spPr>
          <a:xfrm>
            <a:off x="8981805" y="3223722"/>
            <a:ext cx="1740983" cy="1740983"/>
          </a:xfrm>
          <a:prstGeom prst="frame">
            <a:avLst>
              <a:gd name="adj1" fmla="val 26312"/>
            </a:avLst>
          </a:prstGeom>
          <a:gradFill flip="none" rotWithShape="1">
            <a:gsLst>
              <a:gs pos="48000">
                <a:schemeClr val="accent1">
                  <a:lumMod val="60000"/>
                  <a:lumOff val="40000"/>
                  <a:alpha val="24000"/>
                </a:schemeClr>
              </a:gs>
              <a:gs pos="100000">
                <a:schemeClr val="accent1">
                  <a:alpha val="29000"/>
                </a:schemeClr>
              </a:gs>
            </a:gsLst>
            <a:lin ang="5400000" scaled="1"/>
            <a:tileRect/>
          </a:gradFill>
          <a:ln>
            <a:noFill/>
          </a:ln>
          <a:scene3d>
            <a:camera prst="isometricTopUp"/>
            <a:lightRig rig="contrasting"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Inter"/>
              <a:ea typeface="+mn-ea"/>
              <a:cs typeface="+mn-cs"/>
            </a:endParaRPr>
          </a:p>
        </p:txBody>
      </p:sp>
      <p:sp>
        <p:nvSpPr>
          <p:cNvPr id="18" name="Rectangle 10">
            <a:extLst>
              <a:ext uri="{FF2B5EF4-FFF2-40B4-BE49-F238E27FC236}">
                <a16:creationId xmlns:a16="http://schemas.microsoft.com/office/drawing/2014/main" id="{184BB734-8C8C-42BA-A1A1-3F18AD0BAF4B}"/>
              </a:ext>
            </a:extLst>
          </p:cNvPr>
          <p:cNvSpPr/>
          <p:nvPr/>
        </p:nvSpPr>
        <p:spPr>
          <a:xfrm>
            <a:off x="9254139" y="2457002"/>
            <a:ext cx="1195571" cy="1195571"/>
          </a:xfrm>
          <a:prstGeom prst="rect">
            <a:avLst/>
          </a:prstGeom>
          <a:gradFill>
            <a:gsLst>
              <a:gs pos="28000">
                <a:schemeClr val="accent1"/>
              </a:gs>
              <a:gs pos="100000">
                <a:schemeClr val="accent1">
                  <a:lumMod val="60000"/>
                  <a:lumOff val="40000"/>
                  <a:alpha val="70000"/>
                </a:schemeClr>
              </a:gs>
            </a:gsLst>
            <a:lin ang="13500000" scaled="1"/>
          </a:gradFill>
          <a:ln>
            <a:gradFill>
              <a:gsLst>
                <a:gs pos="0">
                  <a:schemeClr val="accent1">
                    <a:lumMod val="60000"/>
                    <a:lumOff val="40000"/>
                  </a:schemeClr>
                </a:gs>
                <a:gs pos="100000">
                  <a:schemeClr val="accent1">
                    <a:alpha val="40000"/>
                  </a:schemeClr>
                </a:gs>
              </a:gsLst>
              <a:lin ang="5400000" scaled="1"/>
            </a:gradFill>
          </a:ln>
          <a:scene3d>
            <a:camera prst="isometricTopUp"/>
            <a:lightRig rig="contrasting" dir="t"/>
          </a:scene3d>
          <a:sp3d extrusionH="8890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Inter"/>
              <a:cs typeface="+mn-cs"/>
            </a:endParaRPr>
          </a:p>
        </p:txBody>
      </p:sp>
      <p:sp>
        <p:nvSpPr>
          <p:cNvPr id="19" name="Rectangle 11">
            <a:extLst>
              <a:ext uri="{FF2B5EF4-FFF2-40B4-BE49-F238E27FC236}">
                <a16:creationId xmlns:a16="http://schemas.microsoft.com/office/drawing/2014/main" id="{52E9BFD7-53AA-4902-B64F-3D8E98501C32}"/>
              </a:ext>
            </a:extLst>
          </p:cNvPr>
          <p:cNvSpPr/>
          <p:nvPr/>
        </p:nvSpPr>
        <p:spPr>
          <a:xfrm>
            <a:off x="9799726" y="3446345"/>
            <a:ext cx="104243" cy="104243"/>
          </a:xfrm>
          <a:prstGeom prst="rect">
            <a:avLst/>
          </a:prstGeom>
          <a:solidFill>
            <a:schemeClr val="accent1">
              <a:lumMod val="20000"/>
              <a:lumOff val="80000"/>
              <a:alpha val="29000"/>
            </a:schemeClr>
          </a:solidFill>
          <a:ln>
            <a:noFill/>
          </a:ln>
          <a:scene3d>
            <a:camera prst="isometricTopUp"/>
            <a:lightRig rig="contrasting" dir="t"/>
          </a:scene3d>
          <a:sp3d extrusionH="1016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Inter"/>
              <a:cs typeface="+mn-cs"/>
            </a:endParaRPr>
          </a:p>
        </p:txBody>
      </p:sp>
      <p:sp>
        <p:nvSpPr>
          <p:cNvPr id="20" name="TextBox 17">
            <a:extLst>
              <a:ext uri="{FF2B5EF4-FFF2-40B4-BE49-F238E27FC236}">
                <a16:creationId xmlns:a16="http://schemas.microsoft.com/office/drawing/2014/main" id="{464FA0E6-1FCD-415F-9724-3912DC4212F9}"/>
              </a:ext>
            </a:extLst>
          </p:cNvPr>
          <p:cNvSpPr txBox="1"/>
          <p:nvPr/>
        </p:nvSpPr>
        <p:spPr>
          <a:xfrm>
            <a:off x="9008346" y="3430016"/>
            <a:ext cx="843501" cy="461665"/>
          </a:xfrm>
          <a:prstGeom prst="rect">
            <a:avLst/>
          </a:prstGeom>
          <a:noFill/>
          <a:scene3d>
            <a:camera prst="isometricLeftDown"/>
            <a:lightRig rig="threePt" dir="t"/>
          </a:scene3d>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FFFFFF"/>
                </a:solidFill>
                <a:effectLst/>
                <a:uLnTx/>
                <a:uFillTx/>
                <a:latin typeface="HarmonyOS Sans SC Black"/>
                <a:ea typeface="+mj-ea"/>
                <a:cs typeface="+mn-cs"/>
              </a:rPr>
              <a:t>70%</a:t>
            </a:r>
          </a:p>
        </p:txBody>
      </p:sp>
      <p:sp>
        <p:nvSpPr>
          <p:cNvPr id="26" name="Right Triangle 61">
            <a:extLst>
              <a:ext uri="{FF2B5EF4-FFF2-40B4-BE49-F238E27FC236}">
                <a16:creationId xmlns:a16="http://schemas.microsoft.com/office/drawing/2014/main" id="{8D2254E5-08AB-40D0-BE9B-99BD69980C25}"/>
              </a:ext>
            </a:extLst>
          </p:cNvPr>
          <p:cNvSpPr/>
          <p:nvPr/>
        </p:nvSpPr>
        <p:spPr>
          <a:xfrm flipV="1">
            <a:off x="1055689" y="803583"/>
            <a:ext cx="72580" cy="72177"/>
          </a:xfrm>
          <a:prstGeom prst="r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HarmonyOS Sans SC"/>
              <a:cs typeface="+mn-cs"/>
            </a:endParaRPr>
          </a:p>
        </p:txBody>
      </p:sp>
      <p:sp>
        <p:nvSpPr>
          <p:cNvPr id="27" name="文本框 26">
            <a:extLst>
              <a:ext uri="{FF2B5EF4-FFF2-40B4-BE49-F238E27FC236}">
                <a16:creationId xmlns:a16="http://schemas.microsoft.com/office/drawing/2014/main" id="{C2976E04-1605-4664-A6CF-B7EC63A3F103}"/>
              </a:ext>
            </a:extLst>
          </p:cNvPr>
          <p:cNvSpPr txBox="1"/>
          <p:nvPr/>
        </p:nvSpPr>
        <p:spPr>
          <a:xfrm>
            <a:off x="941388" y="918105"/>
            <a:ext cx="3076483"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2800" b="0" i="0" u="none" strike="noStrike" kern="1200" cap="none" spc="0" normalizeH="0" baseline="0" noProof="0" dirty="0">
                <a:ln>
                  <a:noFill/>
                </a:ln>
                <a:solidFill>
                  <a:prstClr val="black"/>
                </a:solidFill>
                <a:effectLst/>
                <a:uLnTx/>
                <a:uFillTx/>
                <a:latin typeface="HarmonyOS Sans Black"/>
                <a:ea typeface="+mj-ea"/>
                <a:cs typeface="+mn-cs"/>
              </a:rPr>
              <a:t>Bazz</a:t>
            </a:r>
            <a:r>
              <a:rPr kumimoji="0" lang="en-US" altLang="zh-CN" sz="1800" b="0" i="0" u="none" strike="noStrike" kern="1200" cap="none" spc="0" normalizeH="0" baseline="0" noProof="0" dirty="0">
                <a:ln>
                  <a:noFill/>
                </a:ln>
                <a:solidFill>
                  <a:prstClr val="black"/>
                </a:solidFill>
                <a:effectLst/>
                <a:uLnTx/>
                <a:uFillTx/>
                <a:latin typeface="HarmonyOS Sans SC"/>
                <a:cs typeface="+mn-cs"/>
              </a:rPr>
              <a:t> </a:t>
            </a:r>
            <a:r>
              <a:rPr kumimoji="0" lang="en-US" altLang="zh-CN" sz="2800" b="0" i="0" u="none" strike="noStrike" kern="1200" cap="none" spc="0" normalizeH="0" baseline="0" noProof="0" dirty="0">
                <a:ln>
                  <a:noFill/>
                </a:ln>
                <a:solidFill>
                  <a:schemeClr val="accent1"/>
                </a:solidFill>
                <a:effectLst/>
                <a:uLnTx/>
                <a:uFillTx/>
                <a:latin typeface="HarmonyOS Sans Black"/>
                <a:ea typeface="+mj-ea"/>
                <a:cs typeface="+mn-cs"/>
              </a:rPr>
              <a:t>Infographic</a:t>
            </a:r>
          </a:p>
        </p:txBody>
      </p:sp>
      <p:sp>
        <p:nvSpPr>
          <p:cNvPr id="44" name="TextBox 12">
            <a:extLst>
              <a:ext uri="{FF2B5EF4-FFF2-40B4-BE49-F238E27FC236}">
                <a16:creationId xmlns:a16="http://schemas.microsoft.com/office/drawing/2014/main" id="{6BCF1961-14DF-4253-9B95-9660B5C94B9B}"/>
              </a:ext>
            </a:extLst>
          </p:cNvPr>
          <p:cNvSpPr txBox="1"/>
          <p:nvPr/>
        </p:nvSpPr>
        <p:spPr>
          <a:xfrm>
            <a:off x="1025409" y="5091295"/>
            <a:ext cx="2705669" cy="276605"/>
          </a:xfrm>
          <a:prstGeom prst="rect">
            <a:avLst/>
          </a:prstGeom>
          <a:noFill/>
        </p:spPr>
        <p:txBody>
          <a:bodyPr wrap="square" lIns="0" tIns="36000" rIns="216000" bIns="36000" rtlCol="0">
            <a:spAutoFit/>
          </a:bodyPr>
          <a:lstStyle/>
          <a:p>
            <a:pPr marL="0" marR="0" lvl="0" indent="0" algn="ctr" defTabSz="914400" rtl="0" eaLnBrk="1" fontAlgn="auto" latinLnBrk="0" hangingPunct="1">
              <a:lnSpc>
                <a:spcPct val="120000"/>
              </a:lnSpc>
              <a:spcBef>
                <a:spcPts val="1200"/>
              </a:spcBef>
              <a:spcAft>
                <a:spcPts val="0"/>
              </a:spcAft>
              <a:buClrTx/>
              <a:buSzTx/>
              <a:buFontTx/>
              <a:buNone/>
              <a:tabLst/>
              <a:defRPr/>
            </a:pPr>
            <a:r>
              <a:rPr kumimoji="0" lang="en-US" sz="1200" b="0" i="0" u="none" strike="noStrike" kern="1200" cap="none" spc="0" normalizeH="0" baseline="0" noProof="0" dirty="0">
                <a:ln>
                  <a:noFill/>
                </a:ln>
                <a:solidFill>
                  <a:prstClr val="black">
                    <a:lumMod val="75000"/>
                    <a:lumOff val="25000"/>
                  </a:prstClr>
                </a:solidFill>
                <a:effectLst/>
                <a:uLnTx/>
                <a:uFillTx/>
                <a:latin typeface="HarmonyOS Sans SC Black"/>
                <a:ea typeface="+mj-ea"/>
                <a:cs typeface="+mn-cs"/>
              </a:rPr>
              <a:t>2M </a:t>
            </a:r>
            <a:r>
              <a:rPr kumimoji="0" lang="en-US" sz="1200" b="0" i="0" u="none" strike="noStrike" kern="1200" cap="none" spc="0" normalizeH="0" baseline="0" noProof="0">
                <a:ln>
                  <a:noFill/>
                </a:ln>
                <a:solidFill>
                  <a:prstClr val="black">
                    <a:lumMod val="75000"/>
                    <a:lumOff val="25000"/>
                  </a:prstClr>
                </a:solidFill>
                <a:effectLst/>
                <a:uLnTx/>
                <a:uFillTx/>
                <a:latin typeface="HarmonyOS Sans SC Black"/>
                <a:ea typeface="+mj-ea"/>
                <a:cs typeface="+mn-cs"/>
              </a:rPr>
              <a:t>Sales graphic</a:t>
            </a:r>
            <a:endParaRPr kumimoji="0" lang="en-US" sz="1000" b="0" i="0" u="none" strike="noStrike" kern="1200" cap="none" spc="0" normalizeH="0" baseline="0" noProof="0" dirty="0">
              <a:ln>
                <a:noFill/>
              </a:ln>
              <a:solidFill>
                <a:prstClr val="black">
                  <a:lumMod val="75000"/>
                  <a:lumOff val="25000"/>
                </a:prstClr>
              </a:solidFill>
              <a:effectLst/>
              <a:uLnTx/>
              <a:uFillTx/>
              <a:latin typeface="HarmonyOS Sans SC Black"/>
              <a:ea typeface="+mj-ea"/>
              <a:cs typeface="+mn-cs"/>
            </a:endParaRPr>
          </a:p>
        </p:txBody>
      </p:sp>
      <p:sp>
        <p:nvSpPr>
          <p:cNvPr id="45" name="TextBox 12">
            <a:extLst>
              <a:ext uri="{FF2B5EF4-FFF2-40B4-BE49-F238E27FC236}">
                <a16:creationId xmlns:a16="http://schemas.microsoft.com/office/drawing/2014/main" id="{09BEDD99-B27B-481E-AB4F-AF42E08208BA}"/>
              </a:ext>
            </a:extLst>
          </p:cNvPr>
          <p:cNvSpPr txBox="1"/>
          <p:nvPr/>
        </p:nvSpPr>
        <p:spPr>
          <a:xfrm>
            <a:off x="1025409" y="5367900"/>
            <a:ext cx="2705669" cy="427287"/>
          </a:xfrm>
          <a:prstGeom prst="rect">
            <a:avLst/>
          </a:prstGeom>
          <a:noFill/>
        </p:spPr>
        <p:txBody>
          <a:bodyPr wrap="square" lIns="0" tIns="36000" rIns="216000" bIns="36000" rtlCol="0">
            <a:spAutoFit/>
          </a:bodyPr>
          <a:lstStyle/>
          <a:p>
            <a:pPr marL="0" marR="0" lvl="0" indent="0" algn="ctr" defTabSz="914400" rtl="0" eaLnBrk="1" fontAlgn="auto" latinLnBrk="0" hangingPunct="1">
              <a:lnSpc>
                <a:spcPct val="120000"/>
              </a:lnSpc>
              <a:spcBef>
                <a:spcPts val="1200"/>
              </a:spcBef>
              <a:spcAft>
                <a:spcPts val="0"/>
              </a:spcAft>
              <a:buClrTx/>
              <a:buSzTx/>
              <a:buFontTx/>
              <a:buNone/>
              <a:tabLst/>
              <a:defRPr/>
            </a:pPr>
            <a:r>
              <a:rPr kumimoji="0" lang="en-US" sz="1000" b="0" i="0" u="none" strike="noStrike" kern="1200" cap="none" spc="0" normalizeH="0" baseline="0" noProof="0">
                <a:ln>
                  <a:noFill/>
                </a:ln>
                <a:solidFill>
                  <a:prstClr val="black">
                    <a:lumMod val="50000"/>
                    <a:lumOff val="50000"/>
                  </a:prstClr>
                </a:solidFill>
                <a:effectLst/>
                <a:uLnTx/>
                <a:uFillTx/>
                <a:latin typeface="HarmonyOS Sans SC"/>
                <a:cs typeface="+mn-cs"/>
              </a:rPr>
              <a:t>A </a:t>
            </a:r>
            <a:r>
              <a:rPr kumimoji="0" lang="en-US" sz="1000" b="0" i="0" u="none" strike="noStrike" kern="1200" cap="none" spc="0" normalizeH="0" baseline="0" noProof="0" dirty="0">
                <a:ln>
                  <a:noFill/>
                </a:ln>
                <a:solidFill>
                  <a:prstClr val="black">
                    <a:lumMod val="50000"/>
                    <a:lumOff val="50000"/>
                  </a:prstClr>
                </a:solidFill>
                <a:effectLst/>
                <a:uLnTx/>
                <a:uFillTx/>
                <a:latin typeface="HarmonyOS Sans SC"/>
                <a:cs typeface="+mn-cs"/>
              </a:rPr>
              <a:t>peep at some distant orb has power to raise and purify our thoughts like.</a:t>
            </a:r>
          </a:p>
        </p:txBody>
      </p:sp>
      <p:sp>
        <p:nvSpPr>
          <p:cNvPr id="46" name="TextBox 13">
            <a:extLst>
              <a:ext uri="{FF2B5EF4-FFF2-40B4-BE49-F238E27FC236}">
                <a16:creationId xmlns:a16="http://schemas.microsoft.com/office/drawing/2014/main" id="{D95FC32F-7996-4A53-B09B-EE4D18C58A00}"/>
              </a:ext>
            </a:extLst>
          </p:cNvPr>
          <p:cNvSpPr txBox="1"/>
          <p:nvPr/>
        </p:nvSpPr>
        <p:spPr>
          <a:xfrm>
            <a:off x="4743166" y="5091295"/>
            <a:ext cx="2705669" cy="276605"/>
          </a:xfrm>
          <a:prstGeom prst="rect">
            <a:avLst/>
          </a:prstGeom>
          <a:noFill/>
        </p:spPr>
        <p:txBody>
          <a:bodyPr wrap="square" lIns="0" tIns="36000" rIns="216000" bIns="36000" rtlCol="0">
            <a:spAutoFit/>
          </a:bodyPr>
          <a:lstStyle/>
          <a:p>
            <a:pPr marL="0" marR="0" lvl="0" indent="0" algn="ctr" defTabSz="914400" rtl="0" eaLnBrk="1" fontAlgn="auto" latinLnBrk="0" hangingPunct="1">
              <a:lnSpc>
                <a:spcPct val="120000"/>
              </a:lnSpc>
              <a:spcBef>
                <a:spcPts val="1200"/>
              </a:spcBef>
              <a:spcAft>
                <a:spcPts val="0"/>
              </a:spcAft>
              <a:buClrTx/>
              <a:buSzTx/>
              <a:buFontTx/>
              <a:buNone/>
              <a:tabLst/>
              <a:defRPr/>
            </a:pPr>
            <a:r>
              <a:rPr kumimoji="0" lang="en-US" sz="1200" b="0" i="0" u="none" strike="noStrike" kern="1200" cap="none" spc="0" normalizeH="0" baseline="0" noProof="0" dirty="0">
                <a:ln>
                  <a:noFill/>
                </a:ln>
                <a:solidFill>
                  <a:prstClr val="black">
                    <a:lumMod val="75000"/>
                    <a:lumOff val="25000"/>
                  </a:prstClr>
                </a:solidFill>
                <a:effectLst/>
                <a:uLnTx/>
                <a:uFillTx/>
                <a:latin typeface="HarmonyOS Sans SC Black"/>
                <a:ea typeface="+mj-ea"/>
                <a:cs typeface="+mn-cs"/>
              </a:rPr>
              <a:t>Flexible Refund Policy</a:t>
            </a:r>
            <a:endParaRPr kumimoji="0" lang="en-US" sz="1000" b="0" i="0" u="none" strike="noStrike" kern="1200" cap="none" spc="0" normalizeH="0" baseline="0" noProof="0" dirty="0">
              <a:ln>
                <a:noFill/>
              </a:ln>
              <a:solidFill>
                <a:prstClr val="black">
                  <a:lumMod val="75000"/>
                  <a:lumOff val="25000"/>
                </a:prstClr>
              </a:solidFill>
              <a:effectLst/>
              <a:uLnTx/>
              <a:uFillTx/>
              <a:latin typeface="HarmonyOS Sans SC Black"/>
              <a:ea typeface="+mj-ea"/>
              <a:cs typeface="+mn-cs"/>
            </a:endParaRPr>
          </a:p>
        </p:txBody>
      </p:sp>
      <p:sp>
        <p:nvSpPr>
          <p:cNvPr id="47" name="TextBox 13">
            <a:extLst>
              <a:ext uri="{FF2B5EF4-FFF2-40B4-BE49-F238E27FC236}">
                <a16:creationId xmlns:a16="http://schemas.microsoft.com/office/drawing/2014/main" id="{1AB1B12A-8FF8-4990-AC46-219E6AD8FA33}"/>
              </a:ext>
            </a:extLst>
          </p:cNvPr>
          <p:cNvSpPr txBox="1"/>
          <p:nvPr/>
        </p:nvSpPr>
        <p:spPr>
          <a:xfrm>
            <a:off x="4743166" y="5367900"/>
            <a:ext cx="2705669" cy="427287"/>
          </a:xfrm>
          <a:prstGeom prst="rect">
            <a:avLst/>
          </a:prstGeom>
          <a:noFill/>
        </p:spPr>
        <p:txBody>
          <a:bodyPr wrap="square" lIns="0" tIns="36000" rIns="216000" bIns="36000" rtlCol="0">
            <a:spAutoFit/>
          </a:bodyPr>
          <a:lstStyle/>
          <a:p>
            <a:pPr marL="0" marR="0" lvl="0" indent="0" algn="ctr" defTabSz="914400" rtl="0" eaLnBrk="1" fontAlgn="auto" latinLnBrk="0" hangingPunct="1">
              <a:lnSpc>
                <a:spcPct val="120000"/>
              </a:lnSpc>
              <a:spcBef>
                <a:spcPts val="120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HarmonyOS Sans SC"/>
                <a:cs typeface="+mn-cs"/>
              </a:rPr>
              <a:t>A peep at some distant orb has power to raise and purify our thoughts like.</a:t>
            </a:r>
          </a:p>
        </p:txBody>
      </p:sp>
      <p:sp>
        <p:nvSpPr>
          <p:cNvPr id="48" name="TextBox 14">
            <a:extLst>
              <a:ext uri="{FF2B5EF4-FFF2-40B4-BE49-F238E27FC236}">
                <a16:creationId xmlns:a16="http://schemas.microsoft.com/office/drawing/2014/main" id="{C51B87CD-951D-400E-873D-FF8E36B5ED44}"/>
              </a:ext>
            </a:extLst>
          </p:cNvPr>
          <p:cNvSpPr txBox="1"/>
          <p:nvPr/>
        </p:nvSpPr>
        <p:spPr>
          <a:xfrm>
            <a:off x="8499090" y="5091295"/>
            <a:ext cx="2705669" cy="276605"/>
          </a:xfrm>
          <a:prstGeom prst="rect">
            <a:avLst/>
          </a:prstGeom>
          <a:noFill/>
        </p:spPr>
        <p:txBody>
          <a:bodyPr wrap="square" lIns="0" tIns="36000" rIns="216000" bIns="36000" rtlCol="0">
            <a:spAutoFit/>
          </a:bodyPr>
          <a:lstStyle/>
          <a:p>
            <a:pPr marL="0" marR="0" lvl="0" indent="0" algn="ctr" defTabSz="914400" rtl="0" eaLnBrk="1" fontAlgn="auto" latinLnBrk="0" hangingPunct="1">
              <a:lnSpc>
                <a:spcPct val="120000"/>
              </a:lnSpc>
              <a:spcBef>
                <a:spcPts val="1200"/>
              </a:spcBef>
              <a:spcAft>
                <a:spcPts val="0"/>
              </a:spcAft>
              <a:buClrTx/>
              <a:buSzTx/>
              <a:buFontTx/>
              <a:buNone/>
              <a:tabLst/>
              <a:defRPr/>
            </a:pPr>
            <a:r>
              <a:rPr kumimoji="0" lang="en-US" sz="1200" b="0" i="0" u="none" strike="noStrike" kern="1200" cap="none" spc="0" normalizeH="0" baseline="0" noProof="0" dirty="0">
                <a:ln>
                  <a:noFill/>
                </a:ln>
                <a:solidFill>
                  <a:prstClr val="black">
                    <a:lumMod val="75000"/>
                    <a:lumOff val="25000"/>
                  </a:prstClr>
                </a:solidFill>
                <a:effectLst/>
                <a:uLnTx/>
                <a:uFillTx/>
                <a:latin typeface="HarmonyOS Sans SC Black"/>
                <a:ea typeface="+mj-ea"/>
                <a:cs typeface="+mn-cs"/>
              </a:rPr>
              <a:t>Flexible Refund Policy</a:t>
            </a:r>
            <a:endParaRPr kumimoji="0" lang="en-US" sz="1000" b="0" i="0" u="none" strike="noStrike" kern="1200" cap="none" spc="0" normalizeH="0" baseline="0" noProof="0" dirty="0">
              <a:ln>
                <a:noFill/>
              </a:ln>
              <a:solidFill>
                <a:prstClr val="black">
                  <a:lumMod val="75000"/>
                  <a:lumOff val="25000"/>
                </a:prstClr>
              </a:solidFill>
              <a:effectLst/>
              <a:uLnTx/>
              <a:uFillTx/>
              <a:latin typeface="HarmonyOS Sans SC Black"/>
              <a:ea typeface="+mj-ea"/>
              <a:cs typeface="+mn-cs"/>
            </a:endParaRPr>
          </a:p>
        </p:txBody>
      </p:sp>
      <p:sp>
        <p:nvSpPr>
          <p:cNvPr id="49" name="TextBox 14">
            <a:extLst>
              <a:ext uri="{FF2B5EF4-FFF2-40B4-BE49-F238E27FC236}">
                <a16:creationId xmlns:a16="http://schemas.microsoft.com/office/drawing/2014/main" id="{954020E1-1E7D-4206-9573-4BBE89906F53}"/>
              </a:ext>
            </a:extLst>
          </p:cNvPr>
          <p:cNvSpPr txBox="1"/>
          <p:nvPr/>
        </p:nvSpPr>
        <p:spPr>
          <a:xfrm>
            <a:off x="8499090" y="5367900"/>
            <a:ext cx="2705669" cy="427287"/>
          </a:xfrm>
          <a:prstGeom prst="rect">
            <a:avLst/>
          </a:prstGeom>
          <a:noFill/>
        </p:spPr>
        <p:txBody>
          <a:bodyPr wrap="square" lIns="0" tIns="36000" rIns="216000" bIns="36000" rtlCol="0">
            <a:spAutoFit/>
          </a:bodyPr>
          <a:lstStyle/>
          <a:p>
            <a:pPr marL="0" marR="0" lvl="0" indent="0" algn="ctr" defTabSz="914400" rtl="0" eaLnBrk="1" fontAlgn="auto" latinLnBrk="0" hangingPunct="1">
              <a:lnSpc>
                <a:spcPct val="120000"/>
              </a:lnSpc>
              <a:spcBef>
                <a:spcPts val="1200"/>
              </a:spcBef>
              <a:spcAft>
                <a:spcPts val="0"/>
              </a:spcAft>
              <a:buClrTx/>
              <a:buSzTx/>
              <a:buFontTx/>
              <a:buNone/>
              <a:tabLst/>
              <a:defRPr/>
            </a:pPr>
            <a:r>
              <a:rPr kumimoji="0" lang="en-US" sz="1000" b="0" i="0" u="none" strike="noStrike" kern="1200" cap="none" spc="0" normalizeH="0" baseline="0" noProof="0">
                <a:ln>
                  <a:noFill/>
                </a:ln>
                <a:solidFill>
                  <a:prstClr val="black">
                    <a:lumMod val="50000"/>
                    <a:lumOff val="50000"/>
                  </a:prstClr>
                </a:solidFill>
                <a:effectLst/>
                <a:uLnTx/>
                <a:uFillTx/>
                <a:latin typeface="HarmonyOS Sans SC"/>
                <a:cs typeface="+mn-cs"/>
              </a:rPr>
              <a:t>A </a:t>
            </a:r>
            <a:r>
              <a:rPr kumimoji="0" lang="en-US" sz="1000" b="0" i="0" u="none" strike="noStrike" kern="1200" cap="none" spc="0" normalizeH="0" baseline="0" noProof="0" dirty="0">
                <a:ln>
                  <a:noFill/>
                </a:ln>
                <a:solidFill>
                  <a:prstClr val="black">
                    <a:lumMod val="50000"/>
                    <a:lumOff val="50000"/>
                  </a:prstClr>
                </a:solidFill>
                <a:effectLst/>
                <a:uLnTx/>
                <a:uFillTx/>
                <a:latin typeface="HarmonyOS Sans SC"/>
                <a:cs typeface="+mn-cs"/>
              </a:rPr>
              <a:t>peep at some distant orb has power to raise and purify our thoughts like.</a:t>
            </a:r>
          </a:p>
        </p:txBody>
      </p:sp>
    </p:spTree>
    <p:extLst>
      <p:ext uri="{BB962C8B-B14F-4D97-AF65-F5344CB8AC3E}">
        <p14:creationId xmlns:p14="http://schemas.microsoft.com/office/powerpoint/2010/main" val="1918696596"/>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4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reeform 5">
            <a:extLst>
              <a:ext uri="{FF2B5EF4-FFF2-40B4-BE49-F238E27FC236}">
                <a16:creationId xmlns:a16="http://schemas.microsoft.com/office/drawing/2014/main" id="{F04E6B73-1CF6-4394-A300-B68F38850180}"/>
              </a:ext>
            </a:extLst>
          </p:cNvPr>
          <p:cNvSpPr>
            <a:spLocks/>
          </p:cNvSpPr>
          <p:nvPr/>
        </p:nvSpPr>
        <p:spPr bwMode="auto">
          <a:xfrm rot="16200000" flipH="1">
            <a:off x="3064259" y="3267100"/>
            <a:ext cx="1747170" cy="1740605"/>
          </a:xfrm>
          <a:custGeom>
            <a:avLst/>
            <a:gdLst>
              <a:gd name="T0" fmla="*/ 554 w 1108"/>
              <a:gd name="T1" fmla="*/ 0 h 1108"/>
              <a:gd name="T2" fmla="*/ 0 w 1108"/>
              <a:gd name="T3" fmla="*/ 554 h 1108"/>
              <a:gd name="T4" fmla="*/ 554 w 1108"/>
              <a:gd name="T5" fmla="*/ 1108 h 1108"/>
              <a:gd name="T6" fmla="*/ 554 w 1108"/>
              <a:gd name="T7" fmla="*/ 788 h 1108"/>
              <a:gd name="T8" fmla="*/ 319 w 1108"/>
              <a:gd name="T9" fmla="*/ 554 h 1108"/>
              <a:gd name="T10" fmla="*/ 554 w 1108"/>
              <a:gd name="T11" fmla="*/ 319 h 1108"/>
              <a:gd name="T12" fmla="*/ 788 w 1108"/>
              <a:gd name="T13" fmla="*/ 554 h 1108"/>
              <a:gd name="T14" fmla="*/ 719 w 1108"/>
              <a:gd name="T15" fmla="*/ 720 h 1108"/>
              <a:gd name="T16" fmla="*/ 554 w 1108"/>
              <a:gd name="T17" fmla="*/ 788 h 1108"/>
              <a:gd name="T18" fmla="*/ 960 w 1108"/>
              <a:gd name="T19" fmla="*/ 931 h 1108"/>
              <a:gd name="T20" fmla="*/ 1108 w 1108"/>
              <a:gd name="T21" fmla="*/ 554 h 1108"/>
              <a:gd name="T22" fmla="*/ 554 w 1108"/>
              <a:gd name="T23" fmla="*/ 0 h 1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08" h="1108">
                <a:moveTo>
                  <a:pt x="554" y="0"/>
                </a:moveTo>
                <a:cubicBezTo>
                  <a:pt x="248" y="0"/>
                  <a:pt x="0" y="248"/>
                  <a:pt x="0" y="554"/>
                </a:cubicBezTo>
                <a:cubicBezTo>
                  <a:pt x="0" y="860"/>
                  <a:pt x="248" y="1108"/>
                  <a:pt x="554" y="1108"/>
                </a:cubicBezTo>
                <a:cubicBezTo>
                  <a:pt x="554" y="788"/>
                  <a:pt x="554" y="788"/>
                  <a:pt x="554" y="788"/>
                </a:cubicBezTo>
                <a:cubicBezTo>
                  <a:pt x="424" y="788"/>
                  <a:pt x="319" y="683"/>
                  <a:pt x="319" y="554"/>
                </a:cubicBezTo>
                <a:cubicBezTo>
                  <a:pt x="319" y="424"/>
                  <a:pt x="424" y="319"/>
                  <a:pt x="554" y="319"/>
                </a:cubicBezTo>
                <a:cubicBezTo>
                  <a:pt x="683" y="319"/>
                  <a:pt x="788" y="424"/>
                  <a:pt x="788" y="554"/>
                </a:cubicBezTo>
                <a:cubicBezTo>
                  <a:pt x="788" y="619"/>
                  <a:pt x="762" y="677"/>
                  <a:pt x="719" y="720"/>
                </a:cubicBezTo>
                <a:cubicBezTo>
                  <a:pt x="677" y="762"/>
                  <a:pt x="618" y="788"/>
                  <a:pt x="554" y="788"/>
                </a:cubicBezTo>
                <a:cubicBezTo>
                  <a:pt x="707" y="788"/>
                  <a:pt x="848" y="842"/>
                  <a:pt x="960" y="931"/>
                </a:cubicBezTo>
                <a:cubicBezTo>
                  <a:pt x="1052" y="832"/>
                  <a:pt x="1108" y="699"/>
                  <a:pt x="1108" y="554"/>
                </a:cubicBezTo>
                <a:cubicBezTo>
                  <a:pt x="1108" y="248"/>
                  <a:pt x="860" y="0"/>
                  <a:pt x="554" y="0"/>
                </a:cubicBezTo>
                <a:close/>
              </a:path>
            </a:pathLst>
          </a:custGeom>
          <a:gradFill>
            <a:gsLst>
              <a:gs pos="73000">
                <a:schemeClr val="accent1"/>
              </a:gs>
              <a:gs pos="31000">
                <a:schemeClr val="accent1">
                  <a:lumMod val="60000"/>
                  <a:lumOff val="40000"/>
                </a:schemeClr>
              </a:gs>
              <a:gs pos="0">
                <a:schemeClr val="accent1">
                  <a:lumMod val="40000"/>
                  <a:lumOff val="60000"/>
                </a:schemeClr>
              </a:gs>
            </a:gsLst>
            <a:path path="circle">
              <a:fillToRect r="100000" b="100000"/>
            </a:path>
          </a:gradFill>
          <a:ln w="25400">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lumMod val="50000"/>
                  <a:lumOff val="50000"/>
                </a:prstClr>
              </a:solidFill>
              <a:effectLst/>
              <a:uLnTx/>
              <a:uFillTx/>
              <a:latin typeface="HarmonyOS Sans SC"/>
              <a:cs typeface="+mn-cs"/>
            </a:endParaRPr>
          </a:p>
        </p:txBody>
      </p:sp>
      <p:sp>
        <p:nvSpPr>
          <p:cNvPr id="7" name="Freeform 6">
            <a:extLst>
              <a:ext uri="{FF2B5EF4-FFF2-40B4-BE49-F238E27FC236}">
                <a16:creationId xmlns:a16="http://schemas.microsoft.com/office/drawing/2014/main" id="{63D7F069-9DB2-4BD5-8450-3B2F6D31C999}"/>
              </a:ext>
            </a:extLst>
          </p:cNvPr>
          <p:cNvSpPr>
            <a:spLocks/>
          </p:cNvSpPr>
          <p:nvPr/>
        </p:nvSpPr>
        <p:spPr bwMode="auto">
          <a:xfrm rot="16200000" flipH="1">
            <a:off x="4810444" y="3628358"/>
            <a:ext cx="1024657" cy="2042747"/>
          </a:xfrm>
          <a:custGeom>
            <a:avLst/>
            <a:gdLst>
              <a:gd name="T0" fmla="*/ 0 w 650"/>
              <a:gd name="T1" fmla="*/ 0 h 1300"/>
              <a:gd name="T2" fmla="*/ 0 w 650"/>
              <a:gd name="T3" fmla="*/ 320 h 1300"/>
              <a:gd name="T4" fmla="*/ 330 w 650"/>
              <a:gd name="T5" fmla="*/ 650 h 1300"/>
              <a:gd name="T6" fmla="*/ 0 w 650"/>
              <a:gd name="T7" fmla="*/ 981 h 1300"/>
              <a:gd name="T8" fmla="*/ 0 w 650"/>
              <a:gd name="T9" fmla="*/ 1300 h 1300"/>
              <a:gd name="T10" fmla="*/ 650 w 650"/>
              <a:gd name="T11" fmla="*/ 650 h 1300"/>
              <a:gd name="T12" fmla="*/ 0 w 650"/>
              <a:gd name="T13" fmla="*/ 0 h 1300"/>
            </a:gdLst>
            <a:ahLst/>
            <a:cxnLst>
              <a:cxn ang="0">
                <a:pos x="T0" y="T1"/>
              </a:cxn>
              <a:cxn ang="0">
                <a:pos x="T2" y="T3"/>
              </a:cxn>
              <a:cxn ang="0">
                <a:pos x="T4" y="T5"/>
              </a:cxn>
              <a:cxn ang="0">
                <a:pos x="T6" y="T7"/>
              </a:cxn>
              <a:cxn ang="0">
                <a:pos x="T8" y="T9"/>
              </a:cxn>
              <a:cxn ang="0">
                <a:pos x="T10" y="T11"/>
              </a:cxn>
              <a:cxn ang="0">
                <a:pos x="T12" y="T13"/>
              </a:cxn>
            </a:cxnLst>
            <a:rect l="0" t="0" r="r" b="b"/>
            <a:pathLst>
              <a:path w="650" h="1300">
                <a:moveTo>
                  <a:pt x="0" y="0"/>
                </a:moveTo>
                <a:cubicBezTo>
                  <a:pt x="0" y="320"/>
                  <a:pt x="0" y="320"/>
                  <a:pt x="0" y="320"/>
                </a:cubicBezTo>
                <a:cubicBezTo>
                  <a:pt x="182" y="320"/>
                  <a:pt x="330" y="468"/>
                  <a:pt x="330" y="650"/>
                </a:cubicBezTo>
                <a:cubicBezTo>
                  <a:pt x="330" y="833"/>
                  <a:pt x="182" y="981"/>
                  <a:pt x="0" y="981"/>
                </a:cubicBezTo>
                <a:cubicBezTo>
                  <a:pt x="0" y="1300"/>
                  <a:pt x="0" y="1300"/>
                  <a:pt x="0" y="1300"/>
                </a:cubicBezTo>
                <a:cubicBezTo>
                  <a:pt x="359" y="1300"/>
                  <a:pt x="650" y="1009"/>
                  <a:pt x="650" y="650"/>
                </a:cubicBezTo>
                <a:cubicBezTo>
                  <a:pt x="650" y="291"/>
                  <a:pt x="359" y="0"/>
                  <a:pt x="0" y="0"/>
                </a:cubicBezTo>
                <a:close/>
              </a:path>
            </a:pathLst>
          </a:custGeom>
          <a:gradFill>
            <a:gsLst>
              <a:gs pos="73000">
                <a:schemeClr val="accent1"/>
              </a:gs>
              <a:gs pos="31000">
                <a:schemeClr val="accent1">
                  <a:lumMod val="60000"/>
                  <a:lumOff val="40000"/>
                </a:schemeClr>
              </a:gs>
              <a:gs pos="0">
                <a:schemeClr val="accent1">
                  <a:lumMod val="40000"/>
                  <a:lumOff val="60000"/>
                </a:schemeClr>
              </a:gs>
            </a:gsLst>
            <a:path path="circle">
              <a:fillToRect r="100000" b="100000"/>
            </a:path>
          </a:gradFill>
          <a:ln w="25400">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lumMod val="50000"/>
                  <a:lumOff val="50000"/>
                </a:prstClr>
              </a:solidFill>
              <a:effectLst/>
              <a:uLnTx/>
              <a:uFillTx/>
              <a:latin typeface="HarmonyOS Sans SC"/>
              <a:cs typeface="+mn-cs"/>
            </a:endParaRPr>
          </a:p>
        </p:txBody>
      </p:sp>
      <p:sp>
        <p:nvSpPr>
          <p:cNvPr id="8" name="Freeform 7">
            <a:extLst>
              <a:ext uri="{FF2B5EF4-FFF2-40B4-BE49-F238E27FC236}">
                <a16:creationId xmlns:a16="http://schemas.microsoft.com/office/drawing/2014/main" id="{A42C4214-5D3A-444B-B455-9F46285BBCE8}"/>
              </a:ext>
            </a:extLst>
          </p:cNvPr>
          <p:cNvSpPr>
            <a:spLocks/>
          </p:cNvSpPr>
          <p:nvPr/>
        </p:nvSpPr>
        <p:spPr bwMode="auto">
          <a:xfrm rot="16200000" flipH="1">
            <a:off x="4780886" y="2858771"/>
            <a:ext cx="1024657" cy="1532607"/>
          </a:xfrm>
          <a:custGeom>
            <a:avLst/>
            <a:gdLst>
              <a:gd name="T0" fmla="*/ 650 w 650"/>
              <a:gd name="T1" fmla="*/ 177 h 976"/>
              <a:gd name="T2" fmla="*/ 319 w 650"/>
              <a:gd name="T3" fmla="*/ 507 h 976"/>
              <a:gd name="T4" fmla="*/ 632 w 650"/>
              <a:gd name="T5" fmla="*/ 837 h 976"/>
              <a:gd name="T6" fmla="*/ 200 w 650"/>
              <a:gd name="T7" fmla="*/ 976 h 976"/>
              <a:gd name="T8" fmla="*/ 0 w 650"/>
              <a:gd name="T9" fmla="*/ 507 h 976"/>
              <a:gd name="T10" fmla="*/ 244 w 650"/>
              <a:gd name="T11" fmla="*/ 0 h 976"/>
              <a:gd name="T12" fmla="*/ 650 w 650"/>
              <a:gd name="T13" fmla="*/ 177 h 976"/>
            </a:gdLst>
            <a:ahLst/>
            <a:cxnLst>
              <a:cxn ang="0">
                <a:pos x="T0" y="T1"/>
              </a:cxn>
              <a:cxn ang="0">
                <a:pos x="T2" y="T3"/>
              </a:cxn>
              <a:cxn ang="0">
                <a:pos x="T4" y="T5"/>
              </a:cxn>
              <a:cxn ang="0">
                <a:pos x="T6" y="T7"/>
              </a:cxn>
              <a:cxn ang="0">
                <a:pos x="T8" y="T9"/>
              </a:cxn>
              <a:cxn ang="0">
                <a:pos x="T10" y="T11"/>
              </a:cxn>
              <a:cxn ang="0">
                <a:pos x="T12" y="T13"/>
              </a:cxn>
            </a:cxnLst>
            <a:rect l="0" t="0" r="r" b="b"/>
            <a:pathLst>
              <a:path w="650" h="976">
                <a:moveTo>
                  <a:pt x="650" y="177"/>
                </a:moveTo>
                <a:cubicBezTo>
                  <a:pt x="467" y="177"/>
                  <a:pt x="319" y="325"/>
                  <a:pt x="319" y="507"/>
                </a:cubicBezTo>
                <a:cubicBezTo>
                  <a:pt x="319" y="684"/>
                  <a:pt x="458" y="828"/>
                  <a:pt x="632" y="837"/>
                </a:cubicBezTo>
                <a:cubicBezTo>
                  <a:pt x="472" y="842"/>
                  <a:pt x="324" y="892"/>
                  <a:pt x="200" y="976"/>
                </a:cubicBezTo>
                <a:cubicBezTo>
                  <a:pt x="77" y="858"/>
                  <a:pt x="0" y="692"/>
                  <a:pt x="0" y="507"/>
                </a:cubicBezTo>
                <a:cubicBezTo>
                  <a:pt x="0" y="302"/>
                  <a:pt x="95" y="119"/>
                  <a:pt x="244" y="0"/>
                </a:cubicBezTo>
                <a:cubicBezTo>
                  <a:pt x="349" y="113"/>
                  <a:pt x="495" y="177"/>
                  <a:pt x="650" y="177"/>
                </a:cubicBezTo>
                <a:close/>
              </a:path>
            </a:pathLst>
          </a:custGeom>
          <a:gradFill>
            <a:gsLst>
              <a:gs pos="73000">
                <a:schemeClr val="accent1"/>
              </a:gs>
              <a:gs pos="31000">
                <a:schemeClr val="accent1">
                  <a:lumMod val="60000"/>
                  <a:lumOff val="40000"/>
                </a:schemeClr>
              </a:gs>
              <a:gs pos="0">
                <a:schemeClr val="accent1">
                  <a:lumMod val="40000"/>
                  <a:lumOff val="60000"/>
                </a:schemeClr>
              </a:gs>
            </a:gsLst>
            <a:path path="circle">
              <a:fillToRect r="100000" b="100000"/>
            </a:path>
          </a:gradFill>
          <a:ln w="25400">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lumMod val="50000"/>
                  <a:lumOff val="50000"/>
                </a:prstClr>
              </a:solidFill>
              <a:effectLst/>
              <a:uLnTx/>
              <a:uFillTx/>
              <a:latin typeface="HarmonyOS Sans SC"/>
              <a:cs typeface="+mn-cs"/>
            </a:endParaRPr>
          </a:p>
        </p:txBody>
      </p:sp>
      <p:sp>
        <p:nvSpPr>
          <p:cNvPr id="6" name="Freeform 8">
            <a:extLst>
              <a:ext uri="{FF2B5EF4-FFF2-40B4-BE49-F238E27FC236}">
                <a16:creationId xmlns:a16="http://schemas.microsoft.com/office/drawing/2014/main" id="{189510E0-F888-4A09-B6AE-4F035BC56374}"/>
              </a:ext>
            </a:extLst>
          </p:cNvPr>
          <p:cNvSpPr>
            <a:spLocks/>
          </p:cNvSpPr>
          <p:nvPr/>
        </p:nvSpPr>
        <p:spPr bwMode="auto">
          <a:xfrm rot="16200000" flipH="1">
            <a:off x="5834910" y="2881760"/>
            <a:ext cx="2522231" cy="2511287"/>
          </a:xfrm>
          <a:custGeom>
            <a:avLst/>
            <a:gdLst>
              <a:gd name="T0" fmla="*/ 800 w 1599"/>
              <a:gd name="T1" fmla="*/ 0 h 1598"/>
              <a:gd name="T2" fmla="*/ 0 w 1599"/>
              <a:gd name="T3" fmla="*/ 799 h 1598"/>
              <a:gd name="T4" fmla="*/ 800 w 1599"/>
              <a:gd name="T5" fmla="*/ 1598 h 1598"/>
              <a:gd name="T6" fmla="*/ 1599 w 1599"/>
              <a:gd name="T7" fmla="*/ 799 h 1598"/>
              <a:gd name="T8" fmla="*/ 1250 w 1599"/>
              <a:gd name="T9" fmla="*/ 138 h 1598"/>
              <a:gd name="T10" fmla="*/ 800 w 1599"/>
              <a:gd name="T11" fmla="*/ 319 h 1598"/>
              <a:gd name="T12" fmla="*/ 1279 w 1599"/>
              <a:gd name="T13" fmla="*/ 799 h 1598"/>
              <a:gd name="T14" fmla="*/ 800 w 1599"/>
              <a:gd name="T15" fmla="*/ 1279 h 1598"/>
              <a:gd name="T16" fmla="*/ 320 w 1599"/>
              <a:gd name="T17" fmla="*/ 799 h 1598"/>
              <a:gd name="T18" fmla="*/ 800 w 1599"/>
              <a:gd name="T19" fmla="*/ 319 h 1598"/>
              <a:gd name="T20" fmla="*/ 800 w 1599"/>
              <a:gd name="T21" fmla="*/ 0 h 15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99" h="1598">
                <a:moveTo>
                  <a:pt x="800" y="0"/>
                </a:moveTo>
                <a:cubicBezTo>
                  <a:pt x="358" y="0"/>
                  <a:pt x="0" y="358"/>
                  <a:pt x="0" y="799"/>
                </a:cubicBezTo>
                <a:cubicBezTo>
                  <a:pt x="0" y="1240"/>
                  <a:pt x="358" y="1598"/>
                  <a:pt x="800" y="1598"/>
                </a:cubicBezTo>
                <a:cubicBezTo>
                  <a:pt x="1241" y="1598"/>
                  <a:pt x="1599" y="1240"/>
                  <a:pt x="1599" y="799"/>
                </a:cubicBezTo>
                <a:cubicBezTo>
                  <a:pt x="1599" y="533"/>
                  <a:pt x="1468" y="287"/>
                  <a:pt x="1250" y="138"/>
                </a:cubicBezTo>
                <a:cubicBezTo>
                  <a:pt x="1133" y="250"/>
                  <a:pt x="974" y="319"/>
                  <a:pt x="800" y="319"/>
                </a:cubicBezTo>
                <a:cubicBezTo>
                  <a:pt x="1065" y="319"/>
                  <a:pt x="1279" y="534"/>
                  <a:pt x="1279" y="799"/>
                </a:cubicBezTo>
                <a:cubicBezTo>
                  <a:pt x="1279" y="1064"/>
                  <a:pt x="1065" y="1279"/>
                  <a:pt x="800" y="1279"/>
                </a:cubicBezTo>
                <a:cubicBezTo>
                  <a:pt x="535" y="1279"/>
                  <a:pt x="320" y="1064"/>
                  <a:pt x="320" y="799"/>
                </a:cubicBezTo>
                <a:cubicBezTo>
                  <a:pt x="320" y="534"/>
                  <a:pt x="535" y="319"/>
                  <a:pt x="800" y="319"/>
                </a:cubicBezTo>
                <a:cubicBezTo>
                  <a:pt x="800" y="0"/>
                  <a:pt x="800" y="0"/>
                  <a:pt x="800" y="0"/>
                </a:cubicBezTo>
                <a:close/>
              </a:path>
            </a:pathLst>
          </a:custGeom>
          <a:gradFill>
            <a:gsLst>
              <a:gs pos="73000">
                <a:schemeClr val="accent1"/>
              </a:gs>
              <a:gs pos="31000">
                <a:schemeClr val="accent1">
                  <a:lumMod val="60000"/>
                  <a:lumOff val="40000"/>
                </a:schemeClr>
              </a:gs>
              <a:gs pos="0">
                <a:schemeClr val="accent1">
                  <a:lumMod val="40000"/>
                  <a:lumOff val="60000"/>
                </a:schemeClr>
              </a:gs>
            </a:gsLst>
            <a:path path="circle">
              <a:fillToRect r="100000" b="100000"/>
            </a:path>
          </a:gradFill>
          <a:ln w="25400">
            <a:noFill/>
          </a:ln>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lumMod val="50000"/>
                  <a:lumOff val="50000"/>
                </a:prstClr>
              </a:solidFill>
              <a:effectLst/>
              <a:uLnTx/>
              <a:uFillTx/>
              <a:latin typeface="HarmonyOS Sans SC"/>
              <a:cs typeface="+mn-cs"/>
            </a:endParaRPr>
          </a:p>
        </p:txBody>
      </p:sp>
      <p:sp>
        <p:nvSpPr>
          <p:cNvPr id="9" name="Oval 12">
            <a:extLst>
              <a:ext uri="{FF2B5EF4-FFF2-40B4-BE49-F238E27FC236}">
                <a16:creationId xmlns:a16="http://schemas.microsoft.com/office/drawing/2014/main" id="{DD646B4B-4A66-49B2-8A8E-DE23E7637DF2}"/>
              </a:ext>
            </a:extLst>
          </p:cNvPr>
          <p:cNvSpPr>
            <a:spLocks noChangeArrowheads="1"/>
          </p:cNvSpPr>
          <p:nvPr/>
        </p:nvSpPr>
        <p:spPr bwMode="auto">
          <a:xfrm rot="16200000" flipH="1">
            <a:off x="4911158" y="4532596"/>
            <a:ext cx="724704" cy="722515"/>
          </a:xfrm>
          <a:prstGeom prst="ellipse">
            <a:avLst/>
          </a:prstGeom>
          <a:solidFill>
            <a:schemeClr val="bg1"/>
          </a:solidFill>
          <a:ln w="25400">
            <a:noFill/>
          </a:ln>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lumMod val="50000"/>
                  <a:lumOff val="50000"/>
                </a:prstClr>
              </a:solidFill>
              <a:effectLst/>
              <a:uLnTx/>
              <a:uFillTx/>
              <a:latin typeface="HarmonyOS Sans SC"/>
              <a:cs typeface="+mn-cs"/>
            </a:endParaRPr>
          </a:p>
        </p:txBody>
      </p:sp>
      <p:sp>
        <p:nvSpPr>
          <p:cNvPr id="10" name="Oval 16">
            <a:extLst>
              <a:ext uri="{FF2B5EF4-FFF2-40B4-BE49-F238E27FC236}">
                <a16:creationId xmlns:a16="http://schemas.microsoft.com/office/drawing/2014/main" id="{50D8CC25-C8AB-4951-AD7B-B03D436C204C}"/>
              </a:ext>
            </a:extLst>
          </p:cNvPr>
          <p:cNvSpPr>
            <a:spLocks noChangeArrowheads="1"/>
          </p:cNvSpPr>
          <p:nvPr/>
        </p:nvSpPr>
        <p:spPr bwMode="auto">
          <a:xfrm rot="16200000" flipH="1">
            <a:off x="3242806" y="3247395"/>
            <a:ext cx="669968" cy="667780"/>
          </a:xfrm>
          <a:prstGeom prst="ellipse">
            <a:avLst/>
          </a:prstGeom>
          <a:solidFill>
            <a:schemeClr val="bg1"/>
          </a:solidFill>
          <a:ln w="25400">
            <a:noFill/>
          </a:ln>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lumMod val="50000"/>
                  <a:lumOff val="50000"/>
                </a:prstClr>
              </a:solidFill>
              <a:effectLst/>
              <a:uLnTx/>
              <a:uFillTx/>
              <a:latin typeface="HarmonyOS Sans SC"/>
              <a:cs typeface="+mn-cs"/>
            </a:endParaRPr>
          </a:p>
        </p:txBody>
      </p:sp>
      <p:sp>
        <p:nvSpPr>
          <p:cNvPr id="11" name="Oval 26">
            <a:extLst>
              <a:ext uri="{FF2B5EF4-FFF2-40B4-BE49-F238E27FC236}">
                <a16:creationId xmlns:a16="http://schemas.microsoft.com/office/drawing/2014/main" id="{3628E037-574A-4447-9515-1B1E91C5BB76}"/>
              </a:ext>
            </a:extLst>
          </p:cNvPr>
          <p:cNvSpPr>
            <a:spLocks noChangeArrowheads="1"/>
          </p:cNvSpPr>
          <p:nvPr/>
        </p:nvSpPr>
        <p:spPr bwMode="auto">
          <a:xfrm rot="16200000" flipH="1">
            <a:off x="6650666" y="2692374"/>
            <a:ext cx="871396" cy="867017"/>
          </a:xfrm>
          <a:prstGeom prst="ellipse">
            <a:avLst/>
          </a:prstGeom>
          <a:solidFill>
            <a:schemeClr val="bg1"/>
          </a:solidFill>
          <a:ln w="25400">
            <a:noFill/>
          </a:ln>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lumMod val="50000"/>
                  <a:lumOff val="50000"/>
                </a:prstClr>
              </a:solidFill>
              <a:effectLst/>
              <a:uLnTx/>
              <a:uFillTx/>
              <a:latin typeface="HarmonyOS Sans SC"/>
              <a:cs typeface="+mn-cs"/>
            </a:endParaRPr>
          </a:p>
        </p:txBody>
      </p:sp>
      <p:sp>
        <p:nvSpPr>
          <p:cNvPr id="12" name="Freeform 27">
            <a:extLst>
              <a:ext uri="{FF2B5EF4-FFF2-40B4-BE49-F238E27FC236}">
                <a16:creationId xmlns:a16="http://schemas.microsoft.com/office/drawing/2014/main" id="{698EEEE7-3050-45A9-A34F-7AB42DF113B1}"/>
              </a:ext>
            </a:extLst>
          </p:cNvPr>
          <p:cNvSpPr>
            <a:spLocks/>
          </p:cNvSpPr>
          <p:nvPr/>
        </p:nvSpPr>
        <p:spPr bwMode="auto">
          <a:xfrm rot="16200000" flipH="1">
            <a:off x="5720232" y="4379882"/>
            <a:ext cx="422408" cy="255070"/>
          </a:xfrm>
          <a:custGeom>
            <a:avLst/>
            <a:gdLst>
              <a:gd name="T0" fmla="*/ 306 w 361"/>
              <a:gd name="T1" fmla="*/ 164 h 219"/>
              <a:gd name="T2" fmla="*/ 306 w 361"/>
              <a:gd name="T3" fmla="*/ 82 h 219"/>
              <a:gd name="T4" fmla="*/ 23 w 361"/>
              <a:gd name="T5" fmla="*/ 218 h 219"/>
              <a:gd name="T6" fmla="*/ 1 w 361"/>
              <a:gd name="T7" fmla="*/ 201 h 219"/>
              <a:gd name="T8" fmla="*/ 18 w 361"/>
              <a:gd name="T9" fmla="*/ 179 h 219"/>
              <a:gd name="T10" fmla="*/ 278 w 361"/>
              <a:gd name="T11" fmla="*/ 55 h 219"/>
              <a:gd name="T12" fmla="*/ 196 w 361"/>
              <a:gd name="T13" fmla="*/ 56 h 219"/>
              <a:gd name="T14" fmla="*/ 250 w 361"/>
              <a:gd name="T15" fmla="*/ 1 h 219"/>
              <a:gd name="T16" fmla="*/ 360 w 361"/>
              <a:gd name="T17" fmla="*/ 0 h 219"/>
              <a:gd name="T18" fmla="*/ 361 w 361"/>
              <a:gd name="T19" fmla="*/ 109 h 219"/>
              <a:gd name="T20" fmla="*/ 306 w 361"/>
              <a:gd name="T21" fmla="*/ 164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1" h="219">
                <a:moveTo>
                  <a:pt x="306" y="164"/>
                </a:moveTo>
                <a:cubicBezTo>
                  <a:pt x="306" y="82"/>
                  <a:pt x="306" y="82"/>
                  <a:pt x="306" y="82"/>
                </a:cubicBezTo>
                <a:cubicBezTo>
                  <a:pt x="228" y="155"/>
                  <a:pt x="129" y="203"/>
                  <a:pt x="23" y="218"/>
                </a:cubicBezTo>
                <a:cubicBezTo>
                  <a:pt x="12" y="219"/>
                  <a:pt x="3" y="212"/>
                  <a:pt x="1" y="201"/>
                </a:cubicBezTo>
                <a:cubicBezTo>
                  <a:pt x="0" y="190"/>
                  <a:pt x="7" y="181"/>
                  <a:pt x="18" y="179"/>
                </a:cubicBezTo>
                <a:cubicBezTo>
                  <a:pt x="115" y="166"/>
                  <a:pt x="206" y="122"/>
                  <a:pt x="278" y="55"/>
                </a:cubicBezTo>
                <a:cubicBezTo>
                  <a:pt x="196" y="56"/>
                  <a:pt x="196" y="56"/>
                  <a:pt x="196" y="56"/>
                </a:cubicBezTo>
                <a:cubicBezTo>
                  <a:pt x="250" y="1"/>
                  <a:pt x="250" y="1"/>
                  <a:pt x="250" y="1"/>
                </a:cubicBezTo>
                <a:cubicBezTo>
                  <a:pt x="360" y="0"/>
                  <a:pt x="360" y="0"/>
                  <a:pt x="360" y="0"/>
                </a:cubicBezTo>
                <a:cubicBezTo>
                  <a:pt x="361" y="109"/>
                  <a:pt x="361" y="109"/>
                  <a:pt x="361" y="109"/>
                </a:cubicBezTo>
                <a:cubicBezTo>
                  <a:pt x="306" y="164"/>
                  <a:pt x="306" y="164"/>
                  <a:pt x="306" y="164"/>
                </a:cubicBezTo>
                <a:close/>
              </a:path>
            </a:pathLst>
          </a:custGeom>
          <a:gradFill flip="none" rotWithShape="1">
            <a:gsLst>
              <a:gs pos="100000">
                <a:schemeClr val="accent1">
                  <a:lumMod val="60000"/>
                  <a:lumOff val="40000"/>
                  <a:alpha val="0"/>
                </a:schemeClr>
              </a:gs>
              <a:gs pos="58000">
                <a:schemeClr val="accent1">
                  <a:lumMod val="40000"/>
                  <a:lumOff val="60000"/>
                </a:schemeClr>
              </a:gs>
            </a:gsLst>
            <a:lin ang="540000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lumMod val="50000"/>
                  <a:lumOff val="50000"/>
                </a:prstClr>
              </a:solidFill>
              <a:effectLst/>
              <a:uLnTx/>
              <a:uFillTx/>
              <a:latin typeface="HarmonyOS Sans SC"/>
              <a:cs typeface="+mn-cs"/>
            </a:endParaRPr>
          </a:p>
        </p:txBody>
      </p:sp>
      <p:sp>
        <p:nvSpPr>
          <p:cNvPr id="13" name="Freeform 28">
            <a:extLst>
              <a:ext uri="{FF2B5EF4-FFF2-40B4-BE49-F238E27FC236}">
                <a16:creationId xmlns:a16="http://schemas.microsoft.com/office/drawing/2014/main" id="{0D14BB72-7C4D-4554-8AF7-C1911BA34688}"/>
              </a:ext>
            </a:extLst>
          </p:cNvPr>
          <p:cNvSpPr>
            <a:spLocks/>
          </p:cNvSpPr>
          <p:nvPr/>
        </p:nvSpPr>
        <p:spPr bwMode="auto">
          <a:xfrm rot="16200000" flipH="1">
            <a:off x="4471131" y="4357747"/>
            <a:ext cx="376484" cy="268688"/>
          </a:xfrm>
          <a:custGeom>
            <a:avLst/>
            <a:gdLst>
              <a:gd name="T0" fmla="*/ 169 w 325"/>
              <a:gd name="T1" fmla="*/ 20 h 233"/>
              <a:gd name="T2" fmla="*/ 98 w 325"/>
              <a:gd name="T3" fmla="*/ 61 h 233"/>
              <a:gd name="T4" fmla="*/ 317 w 325"/>
              <a:gd name="T5" fmla="*/ 198 h 233"/>
              <a:gd name="T6" fmla="*/ 317 w 325"/>
              <a:gd name="T7" fmla="*/ 225 h 233"/>
              <a:gd name="T8" fmla="*/ 289 w 325"/>
              <a:gd name="T9" fmla="*/ 225 h 233"/>
              <a:gd name="T10" fmla="*/ 88 w 325"/>
              <a:gd name="T11" fmla="*/ 98 h 233"/>
              <a:gd name="T12" fmla="*/ 128 w 325"/>
              <a:gd name="T13" fmla="*/ 169 h 233"/>
              <a:gd name="T14" fmla="*/ 54 w 325"/>
              <a:gd name="T15" fmla="*/ 149 h 233"/>
              <a:gd name="T16" fmla="*/ 0 w 325"/>
              <a:gd name="T17" fmla="*/ 54 h 233"/>
              <a:gd name="T18" fmla="*/ 95 w 325"/>
              <a:gd name="T19" fmla="*/ 0 h 233"/>
              <a:gd name="T20" fmla="*/ 169 w 325"/>
              <a:gd name="T21" fmla="*/ 20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5" h="233">
                <a:moveTo>
                  <a:pt x="169" y="20"/>
                </a:moveTo>
                <a:cubicBezTo>
                  <a:pt x="98" y="61"/>
                  <a:pt x="98" y="61"/>
                  <a:pt x="98" y="61"/>
                </a:cubicBezTo>
                <a:cubicBezTo>
                  <a:pt x="181" y="87"/>
                  <a:pt x="257" y="135"/>
                  <a:pt x="317" y="198"/>
                </a:cubicBezTo>
                <a:cubicBezTo>
                  <a:pt x="325" y="206"/>
                  <a:pt x="324" y="218"/>
                  <a:pt x="317" y="225"/>
                </a:cubicBezTo>
                <a:cubicBezTo>
                  <a:pt x="309" y="233"/>
                  <a:pt x="297" y="232"/>
                  <a:pt x="289" y="225"/>
                </a:cubicBezTo>
                <a:cubicBezTo>
                  <a:pt x="234" y="166"/>
                  <a:pt x="165" y="123"/>
                  <a:pt x="88" y="98"/>
                </a:cubicBezTo>
                <a:cubicBezTo>
                  <a:pt x="128" y="169"/>
                  <a:pt x="128" y="169"/>
                  <a:pt x="128" y="169"/>
                </a:cubicBezTo>
                <a:cubicBezTo>
                  <a:pt x="54" y="149"/>
                  <a:pt x="54" y="149"/>
                  <a:pt x="54" y="149"/>
                </a:cubicBezTo>
                <a:cubicBezTo>
                  <a:pt x="0" y="54"/>
                  <a:pt x="0" y="54"/>
                  <a:pt x="0" y="54"/>
                </a:cubicBezTo>
                <a:cubicBezTo>
                  <a:pt x="95" y="0"/>
                  <a:pt x="95" y="0"/>
                  <a:pt x="95" y="0"/>
                </a:cubicBezTo>
                <a:cubicBezTo>
                  <a:pt x="169" y="20"/>
                  <a:pt x="169" y="20"/>
                  <a:pt x="169" y="20"/>
                </a:cubicBezTo>
                <a:close/>
              </a:path>
            </a:pathLst>
          </a:custGeom>
          <a:gradFill flip="none" rotWithShape="1">
            <a:gsLst>
              <a:gs pos="100000">
                <a:schemeClr val="accent1">
                  <a:lumMod val="60000"/>
                  <a:lumOff val="40000"/>
                  <a:alpha val="0"/>
                </a:schemeClr>
              </a:gs>
              <a:gs pos="58000">
                <a:schemeClr val="accent1">
                  <a:lumMod val="40000"/>
                  <a:lumOff val="60000"/>
                </a:schemeClr>
              </a:gs>
            </a:gsLst>
            <a:lin ang="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lumMod val="50000"/>
                  <a:lumOff val="50000"/>
                </a:prstClr>
              </a:solidFill>
              <a:effectLst/>
              <a:uLnTx/>
              <a:uFillTx/>
              <a:latin typeface="HarmonyOS Sans SC"/>
              <a:cs typeface="+mn-cs"/>
            </a:endParaRPr>
          </a:p>
        </p:txBody>
      </p:sp>
      <p:sp>
        <p:nvSpPr>
          <p:cNvPr id="14" name="Freeform 31">
            <a:extLst>
              <a:ext uri="{FF2B5EF4-FFF2-40B4-BE49-F238E27FC236}">
                <a16:creationId xmlns:a16="http://schemas.microsoft.com/office/drawing/2014/main" id="{E5D15C10-BDBC-4E71-9523-C1AB0FC5DADB}"/>
              </a:ext>
            </a:extLst>
          </p:cNvPr>
          <p:cNvSpPr>
            <a:spLocks/>
          </p:cNvSpPr>
          <p:nvPr/>
        </p:nvSpPr>
        <p:spPr bwMode="auto">
          <a:xfrm rot="16200000" flipH="1">
            <a:off x="7007544" y="3760819"/>
            <a:ext cx="1771255" cy="930512"/>
          </a:xfrm>
          <a:custGeom>
            <a:avLst/>
            <a:gdLst>
              <a:gd name="T0" fmla="*/ 1083 w 1123"/>
              <a:gd name="T1" fmla="*/ 15 h 592"/>
              <a:gd name="T2" fmla="*/ 1108 w 1123"/>
              <a:gd name="T3" fmla="*/ 4 h 592"/>
              <a:gd name="T4" fmla="*/ 1119 w 1123"/>
              <a:gd name="T5" fmla="*/ 29 h 592"/>
              <a:gd name="T6" fmla="*/ 55 w 1123"/>
              <a:gd name="T7" fmla="*/ 271 h 592"/>
              <a:gd name="T8" fmla="*/ 55 w 1123"/>
              <a:gd name="T9" fmla="*/ 354 h 592"/>
              <a:gd name="T10" fmla="*/ 0 w 1123"/>
              <a:gd name="T11" fmla="*/ 299 h 592"/>
              <a:gd name="T12" fmla="*/ 0 w 1123"/>
              <a:gd name="T13" fmla="*/ 190 h 592"/>
              <a:gd name="T14" fmla="*/ 109 w 1123"/>
              <a:gd name="T15" fmla="*/ 190 h 592"/>
              <a:gd name="T16" fmla="*/ 164 w 1123"/>
              <a:gd name="T17" fmla="*/ 244 h 592"/>
              <a:gd name="T18" fmla="*/ 83 w 1123"/>
              <a:gd name="T19" fmla="*/ 244 h 592"/>
              <a:gd name="T20" fmla="*/ 1083 w 1123"/>
              <a:gd name="T21" fmla="*/ 15 h 5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23" h="592">
                <a:moveTo>
                  <a:pt x="1083" y="15"/>
                </a:moveTo>
                <a:cubicBezTo>
                  <a:pt x="1087" y="5"/>
                  <a:pt x="1099" y="0"/>
                  <a:pt x="1108" y="4"/>
                </a:cubicBezTo>
                <a:cubicBezTo>
                  <a:pt x="1118" y="8"/>
                  <a:pt x="1123" y="19"/>
                  <a:pt x="1119" y="29"/>
                </a:cubicBezTo>
                <a:cubicBezTo>
                  <a:pt x="951" y="461"/>
                  <a:pt x="396" y="592"/>
                  <a:pt x="55" y="271"/>
                </a:cubicBezTo>
                <a:cubicBezTo>
                  <a:pt x="55" y="354"/>
                  <a:pt x="55" y="354"/>
                  <a:pt x="55" y="354"/>
                </a:cubicBezTo>
                <a:cubicBezTo>
                  <a:pt x="0" y="299"/>
                  <a:pt x="0" y="299"/>
                  <a:pt x="0" y="299"/>
                </a:cubicBezTo>
                <a:cubicBezTo>
                  <a:pt x="0" y="190"/>
                  <a:pt x="0" y="190"/>
                  <a:pt x="0" y="190"/>
                </a:cubicBezTo>
                <a:cubicBezTo>
                  <a:pt x="109" y="190"/>
                  <a:pt x="109" y="190"/>
                  <a:pt x="109" y="190"/>
                </a:cubicBezTo>
                <a:cubicBezTo>
                  <a:pt x="164" y="244"/>
                  <a:pt x="164" y="244"/>
                  <a:pt x="164" y="244"/>
                </a:cubicBezTo>
                <a:cubicBezTo>
                  <a:pt x="83" y="244"/>
                  <a:pt x="83" y="244"/>
                  <a:pt x="83" y="244"/>
                </a:cubicBezTo>
                <a:cubicBezTo>
                  <a:pt x="401" y="541"/>
                  <a:pt x="926" y="420"/>
                  <a:pt x="1083" y="15"/>
                </a:cubicBezTo>
                <a:close/>
              </a:path>
            </a:pathLst>
          </a:custGeom>
          <a:gradFill flip="none" rotWithShape="1">
            <a:gsLst>
              <a:gs pos="100000">
                <a:schemeClr val="accent1">
                  <a:lumMod val="60000"/>
                  <a:lumOff val="40000"/>
                  <a:alpha val="0"/>
                </a:schemeClr>
              </a:gs>
              <a:gs pos="58000">
                <a:schemeClr val="accent1">
                  <a:lumMod val="40000"/>
                  <a:lumOff val="60000"/>
                </a:schemeClr>
              </a:gs>
            </a:gsLst>
            <a:lin ang="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lumMod val="50000"/>
                  <a:lumOff val="50000"/>
                </a:prstClr>
              </a:solidFill>
              <a:effectLst/>
              <a:uLnTx/>
              <a:uFillTx/>
              <a:latin typeface="HarmonyOS Sans SC"/>
              <a:cs typeface="+mn-cs"/>
            </a:endParaRPr>
          </a:p>
        </p:txBody>
      </p:sp>
      <p:sp>
        <p:nvSpPr>
          <p:cNvPr id="15" name="Freeform 29">
            <a:extLst>
              <a:ext uri="{FF2B5EF4-FFF2-40B4-BE49-F238E27FC236}">
                <a16:creationId xmlns:a16="http://schemas.microsoft.com/office/drawing/2014/main" id="{8C992E96-92EC-4385-B8EC-B9B7B8C9C7EE}"/>
              </a:ext>
            </a:extLst>
          </p:cNvPr>
          <p:cNvSpPr>
            <a:spLocks/>
          </p:cNvSpPr>
          <p:nvPr/>
        </p:nvSpPr>
        <p:spPr bwMode="auto">
          <a:xfrm rot="4500000" flipV="1">
            <a:off x="4109651" y="3533523"/>
            <a:ext cx="354493" cy="291058"/>
          </a:xfrm>
          <a:custGeom>
            <a:avLst/>
            <a:gdLst>
              <a:gd name="T0" fmla="*/ 378 w 396"/>
              <a:gd name="T1" fmla="*/ 287 h 326"/>
              <a:gd name="T2" fmla="*/ 394 w 396"/>
              <a:gd name="T3" fmla="*/ 309 h 326"/>
              <a:gd name="T4" fmla="*/ 372 w 396"/>
              <a:gd name="T5" fmla="*/ 325 h 326"/>
              <a:gd name="T6" fmla="*/ 61 w 396"/>
              <a:gd name="T7" fmla="*/ 95 h 326"/>
              <a:gd name="T8" fmla="*/ 30 w 396"/>
              <a:gd name="T9" fmla="*/ 172 h 326"/>
              <a:gd name="T10" fmla="*/ 0 w 396"/>
              <a:gd name="T11" fmla="*/ 101 h 326"/>
              <a:gd name="T12" fmla="*/ 41 w 396"/>
              <a:gd name="T13" fmla="*/ 0 h 326"/>
              <a:gd name="T14" fmla="*/ 142 w 396"/>
              <a:gd name="T15" fmla="*/ 41 h 326"/>
              <a:gd name="T16" fmla="*/ 172 w 396"/>
              <a:gd name="T17" fmla="*/ 112 h 326"/>
              <a:gd name="T18" fmla="*/ 97 w 396"/>
              <a:gd name="T19" fmla="*/ 81 h 326"/>
              <a:gd name="T20" fmla="*/ 378 w 396"/>
              <a:gd name="T21" fmla="*/ 287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6" h="326">
                <a:moveTo>
                  <a:pt x="378" y="287"/>
                </a:moveTo>
                <a:cubicBezTo>
                  <a:pt x="388" y="288"/>
                  <a:pt x="396" y="298"/>
                  <a:pt x="394" y="309"/>
                </a:cubicBezTo>
                <a:cubicBezTo>
                  <a:pt x="392" y="319"/>
                  <a:pt x="383" y="326"/>
                  <a:pt x="372" y="325"/>
                </a:cubicBezTo>
                <a:cubicBezTo>
                  <a:pt x="237" y="305"/>
                  <a:pt x="120" y="219"/>
                  <a:pt x="61" y="95"/>
                </a:cubicBezTo>
                <a:cubicBezTo>
                  <a:pt x="30" y="172"/>
                  <a:pt x="30" y="172"/>
                  <a:pt x="30" y="172"/>
                </a:cubicBezTo>
                <a:cubicBezTo>
                  <a:pt x="0" y="101"/>
                  <a:pt x="0" y="101"/>
                  <a:pt x="0" y="101"/>
                </a:cubicBezTo>
                <a:cubicBezTo>
                  <a:pt x="41" y="0"/>
                  <a:pt x="41" y="0"/>
                  <a:pt x="41" y="0"/>
                </a:cubicBezTo>
                <a:cubicBezTo>
                  <a:pt x="142" y="41"/>
                  <a:pt x="142" y="41"/>
                  <a:pt x="142" y="41"/>
                </a:cubicBezTo>
                <a:cubicBezTo>
                  <a:pt x="172" y="112"/>
                  <a:pt x="172" y="112"/>
                  <a:pt x="172" y="112"/>
                </a:cubicBezTo>
                <a:cubicBezTo>
                  <a:pt x="97" y="81"/>
                  <a:pt x="97" y="81"/>
                  <a:pt x="97" y="81"/>
                </a:cubicBezTo>
                <a:cubicBezTo>
                  <a:pt x="151" y="191"/>
                  <a:pt x="255" y="268"/>
                  <a:pt x="378" y="287"/>
                </a:cubicBezTo>
                <a:close/>
              </a:path>
            </a:pathLst>
          </a:custGeom>
          <a:gradFill flip="none" rotWithShape="1">
            <a:gsLst>
              <a:gs pos="100000">
                <a:schemeClr val="accent1">
                  <a:lumMod val="60000"/>
                  <a:lumOff val="40000"/>
                  <a:alpha val="0"/>
                </a:schemeClr>
              </a:gs>
              <a:gs pos="58000">
                <a:schemeClr val="accent1">
                  <a:lumMod val="40000"/>
                  <a:lumOff val="60000"/>
                </a:schemeClr>
              </a:gs>
            </a:gsLst>
            <a:lin ang="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lumMod val="50000"/>
                  <a:lumOff val="50000"/>
                </a:prstClr>
              </a:solidFill>
              <a:effectLst/>
              <a:uLnTx/>
              <a:uFillTx/>
              <a:latin typeface="HarmonyOS Sans SC"/>
              <a:cs typeface="+mn-cs"/>
            </a:endParaRPr>
          </a:p>
        </p:txBody>
      </p:sp>
      <p:sp>
        <p:nvSpPr>
          <p:cNvPr id="16" name="Freeform 30">
            <a:extLst>
              <a:ext uri="{FF2B5EF4-FFF2-40B4-BE49-F238E27FC236}">
                <a16:creationId xmlns:a16="http://schemas.microsoft.com/office/drawing/2014/main" id="{1A85C9B4-57CB-4CDE-AA81-B61C24372F6D}"/>
              </a:ext>
            </a:extLst>
          </p:cNvPr>
          <p:cNvSpPr>
            <a:spLocks/>
          </p:cNvSpPr>
          <p:nvPr/>
        </p:nvSpPr>
        <p:spPr bwMode="auto">
          <a:xfrm rot="16200000" flipH="1">
            <a:off x="6096129" y="3408980"/>
            <a:ext cx="390564" cy="284839"/>
          </a:xfrm>
          <a:custGeom>
            <a:avLst/>
            <a:gdLst>
              <a:gd name="T0" fmla="*/ 37 w 436"/>
              <a:gd name="T1" fmla="*/ 308 h 318"/>
              <a:gd name="T2" fmla="*/ 10 w 436"/>
              <a:gd name="T3" fmla="*/ 312 h 318"/>
              <a:gd name="T4" fmla="*/ 7 w 436"/>
              <a:gd name="T5" fmla="*/ 284 h 318"/>
              <a:gd name="T6" fmla="*/ 338 w 436"/>
              <a:gd name="T7" fmla="*/ 61 h 318"/>
              <a:gd name="T8" fmla="*/ 267 w 436"/>
              <a:gd name="T9" fmla="*/ 20 h 318"/>
              <a:gd name="T10" fmla="*/ 342 w 436"/>
              <a:gd name="T11" fmla="*/ 0 h 318"/>
              <a:gd name="T12" fmla="*/ 436 w 436"/>
              <a:gd name="T13" fmla="*/ 55 h 318"/>
              <a:gd name="T14" fmla="*/ 381 w 436"/>
              <a:gd name="T15" fmla="*/ 150 h 318"/>
              <a:gd name="T16" fmla="*/ 306 w 436"/>
              <a:gd name="T17" fmla="*/ 169 h 318"/>
              <a:gd name="T18" fmla="*/ 347 w 436"/>
              <a:gd name="T19" fmla="*/ 99 h 318"/>
              <a:gd name="T20" fmla="*/ 37 w 436"/>
              <a:gd name="T21" fmla="*/ 308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36" h="318">
                <a:moveTo>
                  <a:pt x="37" y="308"/>
                </a:moveTo>
                <a:cubicBezTo>
                  <a:pt x="30" y="317"/>
                  <a:pt x="18" y="318"/>
                  <a:pt x="10" y="312"/>
                </a:cubicBezTo>
                <a:cubicBezTo>
                  <a:pt x="1" y="305"/>
                  <a:pt x="0" y="293"/>
                  <a:pt x="7" y="284"/>
                </a:cubicBezTo>
                <a:cubicBezTo>
                  <a:pt x="91" y="178"/>
                  <a:pt x="207" y="99"/>
                  <a:pt x="338" y="61"/>
                </a:cubicBezTo>
                <a:cubicBezTo>
                  <a:pt x="267" y="20"/>
                  <a:pt x="267" y="20"/>
                  <a:pt x="267" y="20"/>
                </a:cubicBezTo>
                <a:cubicBezTo>
                  <a:pt x="342" y="0"/>
                  <a:pt x="342" y="0"/>
                  <a:pt x="342" y="0"/>
                </a:cubicBezTo>
                <a:cubicBezTo>
                  <a:pt x="436" y="55"/>
                  <a:pt x="436" y="55"/>
                  <a:pt x="436" y="55"/>
                </a:cubicBezTo>
                <a:cubicBezTo>
                  <a:pt x="381" y="150"/>
                  <a:pt x="381" y="150"/>
                  <a:pt x="381" y="150"/>
                </a:cubicBezTo>
                <a:cubicBezTo>
                  <a:pt x="306" y="169"/>
                  <a:pt x="306" y="169"/>
                  <a:pt x="306" y="169"/>
                </a:cubicBezTo>
                <a:cubicBezTo>
                  <a:pt x="347" y="99"/>
                  <a:pt x="347" y="99"/>
                  <a:pt x="347" y="99"/>
                </a:cubicBezTo>
                <a:cubicBezTo>
                  <a:pt x="225" y="135"/>
                  <a:pt x="116" y="209"/>
                  <a:pt x="37" y="308"/>
                </a:cubicBezTo>
                <a:close/>
              </a:path>
            </a:pathLst>
          </a:custGeom>
          <a:gradFill flip="none" rotWithShape="1">
            <a:gsLst>
              <a:gs pos="100000">
                <a:schemeClr val="accent1">
                  <a:lumMod val="60000"/>
                  <a:lumOff val="40000"/>
                  <a:alpha val="0"/>
                </a:schemeClr>
              </a:gs>
              <a:gs pos="58000">
                <a:schemeClr val="accent1">
                  <a:lumMod val="40000"/>
                  <a:lumOff val="60000"/>
                </a:schemeClr>
              </a:gs>
            </a:gsLst>
            <a:lin ang="540000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lumMod val="50000"/>
                  <a:lumOff val="50000"/>
                </a:prstClr>
              </a:solidFill>
              <a:effectLst/>
              <a:uLnTx/>
              <a:uFillTx/>
              <a:latin typeface="HarmonyOS Sans SC"/>
              <a:cs typeface="+mn-cs"/>
            </a:endParaRPr>
          </a:p>
        </p:txBody>
      </p:sp>
      <p:sp>
        <p:nvSpPr>
          <p:cNvPr id="17" name="Freeform 851">
            <a:extLst>
              <a:ext uri="{FF2B5EF4-FFF2-40B4-BE49-F238E27FC236}">
                <a16:creationId xmlns:a16="http://schemas.microsoft.com/office/drawing/2014/main" id="{0D41F25F-7E64-437D-8099-DF68859BDEE4}"/>
              </a:ext>
            </a:extLst>
          </p:cNvPr>
          <p:cNvSpPr>
            <a:spLocks noEditPoints="1"/>
          </p:cNvSpPr>
          <p:nvPr/>
        </p:nvSpPr>
        <p:spPr bwMode="auto">
          <a:xfrm>
            <a:off x="3446563" y="3397046"/>
            <a:ext cx="257416" cy="294796"/>
          </a:xfrm>
          <a:custGeom>
            <a:avLst/>
            <a:gdLst>
              <a:gd name="T0" fmla="*/ 119 w 141"/>
              <a:gd name="T1" fmla="*/ 84 h 160"/>
              <a:gd name="T2" fmla="*/ 95 w 141"/>
              <a:gd name="T3" fmla="*/ 20 h 160"/>
              <a:gd name="T4" fmla="*/ 84 w 141"/>
              <a:gd name="T5" fmla="*/ 15 h 160"/>
              <a:gd name="T6" fmla="*/ 55 w 141"/>
              <a:gd name="T7" fmla="*/ 15 h 160"/>
              <a:gd name="T8" fmla="*/ 46 w 141"/>
              <a:gd name="T9" fmla="*/ 20 h 160"/>
              <a:gd name="T10" fmla="*/ 20 w 141"/>
              <a:gd name="T11" fmla="*/ 84 h 160"/>
              <a:gd name="T12" fmla="*/ 0 w 141"/>
              <a:gd name="T13" fmla="*/ 135 h 160"/>
              <a:gd name="T14" fmla="*/ 30 w 141"/>
              <a:gd name="T15" fmla="*/ 141 h 160"/>
              <a:gd name="T16" fmla="*/ 70 w 141"/>
              <a:gd name="T17" fmla="*/ 160 h 160"/>
              <a:gd name="T18" fmla="*/ 111 w 141"/>
              <a:gd name="T19" fmla="*/ 141 h 160"/>
              <a:gd name="T20" fmla="*/ 140 w 141"/>
              <a:gd name="T21" fmla="*/ 135 h 160"/>
              <a:gd name="T22" fmla="*/ 61 w 141"/>
              <a:gd name="T23" fmla="*/ 15 h 160"/>
              <a:gd name="T24" fmla="*/ 79 w 141"/>
              <a:gd name="T25" fmla="*/ 15 h 160"/>
              <a:gd name="T26" fmla="*/ 61 w 141"/>
              <a:gd name="T27" fmla="*/ 15 h 160"/>
              <a:gd name="T28" fmla="*/ 52 w 141"/>
              <a:gd name="T29" fmla="*/ 145 h 160"/>
              <a:gd name="T30" fmla="*/ 89 w 141"/>
              <a:gd name="T31" fmla="*/ 145 h 160"/>
              <a:gd name="T32" fmla="*/ 110 w 141"/>
              <a:gd name="T33" fmla="*/ 136 h 160"/>
              <a:gd name="T34" fmla="*/ 94 w 141"/>
              <a:gd name="T35" fmla="*/ 138 h 160"/>
              <a:gd name="T36" fmla="*/ 88 w 141"/>
              <a:gd name="T37" fmla="*/ 139 h 160"/>
              <a:gd name="T38" fmla="*/ 81 w 141"/>
              <a:gd name="T39" fmla="*/ 139 h 160"/>
              <a:gd name="T40" fmla="*/ 76 w 141"/>
              <a:gd name="T41" fmla="*/ 140 h 160"/>
              <a:gd name="T42" fmla="*/ 64 w 141"/>
              <a:gd name="T43" fmla="*/ 140 h 160"/>
              <a:gd name="T44" fmla="*/ 58 w 141"/>
              <a:gd name="T45" fmla="*/ 139 h 160"/>
              <a:gd name="T46" fmla="*/ 53 w 141"/>
              <a:gd name="T47" fmla="*/ 139 h 160"/>
              <a:gd name="T48" fmla="*/ 47 w 141"/>
              <a:gd name="T49" fmla="*/ 138 h 160"/>
              <a:gd name="T50" fmla="*/ 9 w 141"/>
              <a:gd name="T51" fmla="*/ 132 h 160"/>
              <a:gd name="T52" fmla="*/ 26 w 141"/>
              <a:gd name="T53" fmla="*/ 58 h 160"/>
              <a:gd name="T54" fmla="*/ 59 w 141"/>
              <a:gd name="T55" fmla="*/ 22 h 160"/>
              <a:gd name="T56" fmla="*/ 81 w 141"/>
              <a:gd name="T57" fmla="*/ 21 h 160"/>
              <a:gd name="T58" fmla="*/ 92 w 141"/>
              <a:gd name="T59" fmla="*/ 25 h 160"/>
              <a:gd name="T60" fmla="*/ 114 w 141"/>
              <a:gd name="T61" fmla="*/ 84 h 160"/>
              <a:gd name="T62" fmla="*/ 110 w 141"/>
              <a:gd name="T63" fmla="*/ 136 h 160"/>
              <a:gd name="T64" fmla="*/ 86 w 141"/>
              <a:gd name="T65" fmla="*/ 38 h 160"/>
              <a:gd name="T66" fmla="*/ 41 w 141"/>
              <a:gd name="T67" fmla="*/ 58 h 160"/>
              <a:gd name="T68" fmla="*/ 38 w 141"/>
              <a:gd name="T69" fmla="*/ 61 h 160"/>
              <a:gd name="T70" fmla="*/ 52 w 141"/>
              <a:gd name="T71" fmla="*/ 33 h 160"/>
              <a:gd name="T72" fmla="*/ 90 w 141"/>
              <a:gd name="T73" fmla="*/ 37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41" h="160">
                <a:moveTo>
                  <a:pt x="140" y="132"/>
                </a:moveTo>
                <a:cubicBezTo>
                  <a:pt x="126" y="118"/>
                  <a:pt x="119" y="102"/>
                  <a:pt x="119" y="84"/>
                </a:cubicBezTo>
                <a:cubicBezTo>
                  <a:pt x="119" y="58"/>
                  <a:pt x="119" y="58"/>
                  <a:pt x="119" y="58"/>
                </a:cubicBezTo>
                <a:cubicBezTo>
                  <a:pt x="119" y="38"/>
                  <a:pt x="106" y="25"/>
                  <a:pt x="95" y="20"/>
                </a:cubicBezTo>
                <a:cubicBezTo>
                  <a:pt x="91" y="18"/>
                  <a:pt x="88" y="17"/>
                  <a:pt x="84" y="16"/>
                </a:cubicBezTo>
                <a:cubicBezTo>
                  <a:pt x="84" y="15"/>
                  <a:pt x="84" y="15"/>
                  <a:pt x="84" y="15"/>
                </a:cubicBezTo>
                <a:cubicBezTo>
                  <a:pt x="84" y="7"/>
                  <a:pt x="78" y="0"/>
                  <a:pt x="70" y="0"/>
                </a:cubicBezTo>
                <a:cubicBezTo>
                  <a:pt x="62" y="0"/>
                  <a:pt x="55" y="7"/>
                  <a:pt x="55" y="15"/>
                </a:cubicBezTo>
                <a:cubicBezTo>
                  <a:pt x="55" y="16"/>
                  <a:pt x="55" y="16"/>
                  <a:pt x="55" y="16"/>
                </a:cubicBezTo>
                <a:cubicBezTo>
                  <a:pt x="52" y="17"/>
                  <a:pt x="49" y="18"/>
                  <a:pt x="46" y="20"/>
                </a:cubicBezTo>
                <a:cubicBezTo>
                  <a:pt x="33" y="26"/>
                  <a:pt x="20" y="40"/>
                  <a:pt x="20" y="58"/>
                </a:cubicBezTo>
                <a:cubicBezTo>
                  <a:pt x="20" y="84"/>
                  <a:pt x="20" y="84"/>
                  <a:pt x="20" y="84"/>
                </a:cubicBezTo>
                <a:cubicBezTo>
                  <a:pt x="20" y="103"/>
                  <a:pt x="14" y="119"/>
                  <a:pt x="1" y="132"/>
                </a:cubicBezTo>
                <a:cubicBezTo>
                  <a:pt x="0" y="133"/>
                  <a:pt x="0" y="134"/>
                  <a:pt x="0" y="135"/>
                </a:cubicBezTo>
                <a:cubicBezTo>
                  <a:pt x="0" y="136"/>
                  <a:pt x="1" y="137"/>
                  <a:pt x="2" y="137"/>
                </a:cubicBezTo>
                <a:cubicBezTo>
                  <a:pt x="30" y="141"/>
                  <a:pt x="30" y="141"/>
                  <a:pt x="30" y="141"/>
                </a:cubicBezTo>
                <a:cubicBezTo>
                  <a:pt x="35" y="142"/>
                  <a:pt x="40" y="143"/>
                  <a:pt x="44" y="144"/>
                </a:cubicBezTo>
                <a:cubicBezTo>
                  <a:pt x="49" y="154"/>
                  <a:pt x="59" y="160"/>
                  <a:pt x="70" y="160"/>
                </a:cubicBezTo>
                <a:cubicBezTo>
                  <a:pt x="81" y="160"/>
                  <a:pt x="91" y="154"/>
                  <a:pt x="96" y="144"/>
                </a:cubicBezTo>
                <a:cubicBezTo>
                  <a:pt x="101" y="143"/>
                  <a:pt x="105" y="142"/>
                  <a:pt x="111" y="141"/>
                </a:cubicBezTo>
                <a:cubicBezTo>
                  <a:pt x="138" y="137"/>
                  <a:pt x="138" y="137"/>
                  <a:pt x="138" y="137"/>
                </a:cubicBezTo>
                <a:cubicBezTo>
                  <a:pt x="139" y="137"/>
                  <a:pt x="140" y="136"/>
                  <a:pt x="140" y="135"/>
                </a:cubicBezTo>
                <a:cubicBezTo>
                  <a:pt x="141" y="134"/>
                  <a:pt x="141" y="133"/>
                  <a:pt x="140" y="132"/>
                </a:cubicBezTo>
                <a:close/>
                <a:moveTo>
                  <a:pt x="61" y="15"/>
                </a:moveTo>
                <a:cubicBezTo>
                  <a:pt x="61" y="10"/>
                  <a:pt x="65" y="6"/>
                  <a:pt x="70" y="6"/>
                </a:cubicBezTo>
                <a:cubicBezTo>
                  <a:pt x="75" y="6"/>
                  <a:pt x="79" y="10"/>
                  <a:pt x="79" y="15"/>
                </a:cubicBezTo>
                <a:cubicBezTo>
                  <a:pt x="79" y="15"/>
                  <a:pt x="79" y="15"/>
                  <a:pt x="79" y="15"/>
                </a:cubicBezTo>
                <a:cubicBezTo>
                  <a:pt x="73" y="14"/>
                  <a:pt x="67" y="14"/>
                  <a:pt x="61" y="15"/>
                </a:cubicBezTo>
                <a:close/>
                <a:moveTo>
                  <a:pt x="70" y="154"/>
                </a:moveTo>
                <a:cubicBezTo>
                  <a:pt x="63" y="154"/>
                  <a:pt x="56" y="151"/>
                  <a:pt x="52" y="145"/>
                </a:cubicBezTo>
                <a:cubicBezTo>
                  <a:pt x="58" y="145"/>
                  <a:pt x="64" y="146"/>
                  <a:pt x="70" y="146"/>
                </a:cubicBezTo>
                <a:cubicBezTo>
                  <a:pt x="76" y="146"/>
                  <a:pt x="82" y="145"/>
                  <a:pt x="89" y="145"/>
                </a:cubicBezTo>
                <a:cubicBezTo>
                  <a:pt x="85" y="151"/>
                  <a:pt x="78" y="154"/>
                  <a:pt x="70" y="154"/>
                </a:cubicBezTo>
                <a:close/>
                <a:moveTo>
                  <a:pt x="110" y="136"/>
                </a:moveTo>
                <a:cubicBezTo>
                  <a:pt x="104" y="137"/>
                  <a:pt x="99" y="137"/>
                  <a:pt x="94" y="138"/>
                </a:cubicBezTo>
                <a:cubicBezTo>
                  <a:pt x="94" y="138"/>
                  <a:pt x="94" y="138"/>
                  <a:pt x="94" y="138"/>
                </a:cubicBezTo>
                <a:cubicBezTo>
                  <a:pt x="92" y="138"/>
                  <a:pt x="90" y="139"/>
                  <a:pt x="88" y="139"/>
                </a:cubicBezTo>
                <a:cubicBezTo>
                  <a:pt x="88" y="139"/>
                  <a:pt x="88" y="139"/>
                  <a:pt x="88" y="139"/>
                </a:cubicBezTo>
                <a:cubicBezTo>
                  <a:pt x="86" y="139"/>
                  <a:pt x="84" y="139"/>
                  <a:pt x="82" y="139"/>
                </a:cubicBezTo>
                <a:cubicBezTo>
                  <a:pt x="82" y="139"/>
                  <a:pt x="82" y="139"/>
                  <a:pt x="81" y="139"/>
                </a:cubicBezTo>
                <a:cubicBezTo>
                  <a:pt x="80" y="139"/>
                  <a:pt x="78" y="140"/>
                  <a:pt x="77" y="140"/>
                </a:cubicBezTo>
                <a:cubicBezTo>
                  <a:pt x="76" y="140"/>
                  <a:pt x="76" y="140"/>
                  <a:pt x="76" y="140"/>
                </a:cubicBezTo>
                <a:cubicBezTo>
                  <a:pt x="72" y="140"/>
                  <a:pt x="69" y="140"/>
                  <a:pt x="65" y="140"/>
                </a:cubicBezTo>
                <a:cubicBezTo>
                  <a:pt x="65" y="140"/>
                  <a:pt x="64" y="140"/>
                  <a:pt x="64" y="140"/>
                </a:cubicBezTo>
                <a:cubicBezTo>
                  <a:pt x="62" y="140"/>
                  <a:pt x="61" y="139"/>
                  <a:pt x="59" y="139"/>
                </a:cubicBezTo>
                <a:cubicBezTo>
                  <a:pt x="59" y="139"/>
                  <a:pt x="59" y="139"/>
                  <a:pt x="58" y="139"/>
                </a:cubicBezTo>
                <a:cubicBezTo>
                  <a:pt x="57" y="139"/>
                  <a:pt x="55" y="139"/>
                  <a:pt x="53" y="139"/>
                </a:cubicBezTo>
                <a:cubicBezTo>
                  <a:pt x="53" y="139"/>
                  <a:pt x="53" y="139"/>
                  <a:pt x="53" y="139"/>
                </a:cubicBezTo>
                <a:cubicBezTo>
                  <a:pt x="51" y="139"/>
                  <a:pt x="49" y="138"/>
                  <a:pt x="47" y="138"/>
                </a:cubicBezTo>
                <a:cubicBezTo>
                  <a:pt x="47" y="138"/>
                  <a:pt x="47" y="138"/>
                  <a:pt x="47" y="138"/>
                </a:cubicBezTo>
                <a:cubicBezTo>
                  <a:pt x="42" y="137"/>
                  <a:pt x="37" y="137"/>
                  <a:pt x="31" y="136"/>
                </a:cubicBezTo>
                <a:cubicBezTo>
                  <a:pt x="9" y="132"/>
                  <a:pt x="9" y="132"/>
                  <a:pt x="9" y="132"/>
                </a:cubicBezTo>
                <a:cubicBezTo>
                  <a:pt x="20" y="119"/>
                  <a:pt x="26" y="103"/>
                  <a:pt x="26" y="84"/>
                </a:cubicBezTo>
                <a:cubicBezTo>
                  <a:pt x="26" y="58"/>
                  <a:pt x="26" y="58"/>
                  <a:pt x="26" y="58"/>
                </a:cubicBezTo>
                <a:cubicBezTo>
                  <a:pt x="26" y="42"/>
                  <a:pt x="37" y="30"/>
                  <a:pt x="49" y="25"/>
                </a:cubicBezTo>
                <a:cubicBezTo>
                  <a:pt x="52" y="24"/>
                  <a:pt x="55" y="22"/>
                  <a:pt x="59" y="22"/>
                </a:cubicBezTo>
                <a:cubicBezTo>
                  <a:pt x="59" y="22"/>
                  <a:pt x="59" y="22"/>
                  <a:pt x="59" y="22"/>
                </a:cubicBezTo>
                <a:cubicBezTo>
                  <a:pt x="66" y="20"/>
                  <a:pt x="74" y="20"/>
                  <a:pt x="81" y="21"/>
                </a:cubicBezTo>
                <a:cubicBezTo>
                  <a:pt x="81" y="21"/>
                  <a:pt x="81" y="21"/>
                  <a:pt x="81" y="21"/>
                </a:cubicBezTo>
                <a:cubicBezTo>
                  <a:pt x="85" y="22"/>
                  <a:pt x="89" y="23"/>
                  <a:pt x="92" y="25"/>
                </a:cubicBezTo>
                <a:cubicBezTo>
                  <a:pt x="103" y="30"/>
                  <a:pt x="114" y="42"/>
                  <a:pt x="114" y="58"/>
                </a:cubicBezTo>
                <a:cubicBezTo>
                  <a:pt x="114" y="84"/>
                  <a:pt x="114" y="84"/>
                  <a:pt x="114" y="84"/>
                </a:cubicBezTo>
                <a:cubicBezTo>
                  <a:pt x="114" y="102"/>
                  <a:pt x="120" y="118"/>
                  <a:pt x="132" y="132"/>
                </a:cubicBezTo>
                <a:lnTo>
                  <a:pt x="110" y="136"/>
                </a:lnTo>
                <a:close/>
                <a:moveTo>
                  <a:pt x="90" y="37"/>
                </a:moveTo>
                <a:cubicBezTo>
                  <a:pt x="89" y="38"/>
                  <a:pt x="88" y="39"/>
                  <a:pt x="86" y="38"/>
                </a:cubicBezTo>
                <a:cubicBezTo>
                  <a:pt x="76" y="34"/>
                  <a:pt x="64" y="34"/>
                  <a:pt x="55" y="38"/>
                </a:cubicBezTo>
                <a:cubicBezTo>
                  <a:pt x="50" y="41"/>
                  <a:pt x="41" y="48"/>
                  <a:pt x="41" y="58"/>
                </a:cubicBezTo>
                <a:cubicBezTo>
                  <a:pt x="41" y="60"/>
                  <a:pt x="39" y="61"/>
                  <a:pt x="38" y="61"/>
                </a:cubicBezTo>
                <a:cubicBezTo>
                  <a:pt x="38" y="61"/>
                  <a:pt x="38" y="61"/>
                  <a:pt x="38" y="61"/>
                </a:cubicBezTo>
                <a:cubicBezTo>
                  <a:pt x="36" y="61"/>
                  <a:pt x="35" y="60"/>
                  <a:pt x="35" y="58"/>
                </a:cubicBezTo>
                <a:cubicBezTo>
                  <a:pt x="35" y="45"/>
                  <a:pt x="46" y="36"/>
                  <a:pt x="52" y="33"/>
                </a:cubicBezTo>
                <a:cubicBezTo>
                  <a:pt x="63" y="28"/>
                  <a:pt x="77" y="28"/>
                  <a:pt x="88" y="33"/>
                </a:cubicBezTo>
                <a:cubicBezTo>
                  <a:pt x="90" y="34"/>
                  <a:pt x="91" y="35"/>
                  <a:pt x="90" y="37"/>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lumMod val="50000"/>
                  <a:lumOff val="50000"/>
                </a:prstClr>
              </a:solidFill>
              <a:effectLst/>
              <a:uLnTx/>
              <a:uFillTx/>
              <a:latin typeface="HarmonyOS Sans SC"/>
              <a:cs typeface="+mn-cs"/>
            </a:endParaRPr>
          </a:p>
        </p:txBody>
      </p:sp>
      <p:sp>
        <p:nvSpPr>
          <p:cNvPr id="18" name="Freeform 1147">
            <a:extLst>
              <a:ext uri="{FF2B5EF4-FFF2-40B4-BE49-F238E27FC236}">
                <a16:creationId xmlns:a16="http://schemas.microsoft.com/office/drawing/2014/main" id="{9F4AC940-06CA-48E3-9712-5E3A32C51575}"/>
              </a:ext>
            </a:extLst>
          </p:cNvPr>
          <p:cNvSpPr>
            <a:spLocks noEditPoints="1"/>
          </p:cNvSpPr>
          <p:nvPr/>
        </p:nvSpPr>
        <p:spPr bwMode="auto">
          <a:xfrm>
            <a:off x="6920408" y="2966039"/>
            <a:ext cx="298195" cy="299894"/>
          </a:xfrm>
          <a:custGeom>
            <a:avLst/>
            <a:gdLst>
              <a:gd name="T0" fmla="*/ 116 w 163"/>
              <a:gd name="T1" fmla="*/ 11 h 163"/>
              <a:gd name="T2" fmla="*/ 11 w 163"/>
              <a:gd name="T3" fmla="*/ 115 h 163"/>
              <a:gd name="T4" fmla="*/ 10 w 163"/>
              <a:gd name="T5" fmla="*/ 116 h 163"/>
              <a:gd name="T6" fmla="*/ 10 w 163"/>
              <a:gd name="T7" fmla="*/ 116 h 163"/>
              <a:gd name="T8" fmla="*/ 0 w 163"/>
              <a:gd name="T9" fmla="*/ 160 h 163"/>
              <a:gd name="T10" fmla="*/ 0 w 163"/>
              <a:gd name="T11" fmla="*/ 161 h 163"/>
              <a:gd name="T12" fmla="*/ 1 w 163"/>
              <a:gd name="T13" fmla="*/ 162 h 163"/>
              <a:gd name="T14" fmla="*/ 3 w 163"/>
              <a:gd name="T15" fmla="*/ 163 h 163"/>
              <a:gd name="T16" fmla="*/ 47 w 163"/>
              <a:gd name="T17" fmla="*/ 153 h 163"/>
              <a:gd name="T18" fmla="*/ 47 w 163"/>
              <a:gd name="T19" fmla="*/ 152 h 163"/>
              <a:gd name="T20" fmla="*/ 48 w 163"/>
              <a:gd name="T21" fmla="*/ 152 h 163"/>
              <a:gd name="T22" fmla="*/ 152 w 163"/>
              <a:gd name="T23" fmla="*/ 47 h 163"/>
              <a:gd name="T24" fmla="*/ 148 w 163"/>
              <a:gd name="T25" fmla="*/ 15 h 163"/>
              <a:gd name="T26" fmla="*/ 122 w 163"/>
              <a:gd name="T27" fmla="*/ 13 h 163"/>
              <a:gd name="T28" fmla="*/ 134 w 163"/>
              <a:gd name="T29" fmla="*/ 58 h 163"/>
              <a:gd name="T30" fmla="*/ 109 w 163"/>
              <a:gd name="T31" fmla="*/ 25 h 163"/>
              <a:gd name="T32" fmla="*/ 134 w 163"/>
              <a:gd name="T33" fmla="*/ 58 h 163"/>
              <a:gd name="T34" fmla="*/ 10 w 163"/>
              <a:gd name="T35" fmla="*/ 149 h 163"/>
              <a:gd name="T36" fmla="*/ 15 w 163"/>
              <a:gd name="T37" fmla="*/ 120 h 163"/>
              <a:gd name="T38" fmla="*/ 27 w 163"/>
              <a:gd name="T39" fmla="*/ 133 h 163"/>
              <a:gd name="T40" fmla="*/ 27 w 163"/>
              <a:gd name="T41" fmla="*/ 134 h 163"/>
              <a:gd name="T42" fmla="*/ 27 w 163"/>
              <a:gd name="T43" fmla="*/ 135 h 163"/>
              <a:gd name="T44" fmla="*/ 27 w 163"/>
              <a:gd name="T45" fmla="*/ 135 h 163"/>
              <a:gd name="T46" fmla="*/ 28 w 163"/>
              <a:gd name="T47" fmla="*/ 136 h 163"/>
              <a:gd name="T48" fmla="*/ 29 w 163"/>
              <a:gd name="T49" fmla="*/ 136 h 163"/>
              <a:gd name="T50" fmla="*/ 30 w 163"/>
              <a:gd name="T51" fmla="*/ 136 h 163"/>
              <a:gd name="T52" fmla="*/ 30 w 163"/>
              <a:gd name="T53" fmla="*/ 136 h 163"/>
              <a:gd name="T54" fmla="*/ 30 w 163"/>
              <a:gd name="T55" fmla="*/ 136 h 163"/>
              <a:gd name="T56" fmla="*/ 43 w 163"/>
              <a:gd name="T57" fmla="*/ 148 h 163"/>
              <a:gd name="T58" fmla="*/ 14 w 163"/>
              <a:gd name="T59" fmla="*/ 153 h 163"/>
              <a:gd name="T60" fmla="*/ 51 w 163"/>
              <a:gd name="T61" fmla="*/ 133 h 163"/>
              <a:gd name="T62" fmla="*/ 116 w 163"/>
              <a:gd name="T63" fmla="*/ 64 h 163"/>
              <a:gd name="T64" fmla="*/ 47 w 163"/>
              <a:gd name="T65" fmla="*/ 129 h 163"/>
              <a:gd name="T66" fmla="*/ 34 w 163"/>
              <a:gd name="T67" fmla="*/ 116 h 163"/>
              <a:gd name="T68" fmla="*/ 99 w 163"/>
              <a:gd name="T69" fmla="*/ 47 h 163"/>
              <a:gd name="T70" fmla="*/ 30 w 163"/>
              <a:gd name="T71" fmla="*/ 112 h 163"/>
              <a:gd name="T72" fmla="*/ 101 w 163"/>
              <a:gd name="T73" fmla="*/ 33 h 163"/>
              <a:gd name="T74" fmla="*/ 50 w 163"/>
              <a:gd name="T75" fmla="*/ 142 h 163"/>
              <a:gd name="T76" fmla="*/ 142 w 163"/>
              <a:gd name="T77" fmla="*/ 50 h 163"/>
              <a:gd name="T78" fmla="*/ 118 w 163"/>
              <a:gd name="T79" fmla="*/ 17 h 163"/>
              <a:gd name="T80" fmla="*/ 142 w 163"/>
              <a:gd name="T81" fmla="*/ 50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3" h="163">
                <a:moveTo>
                  <a:pt x="152" y="11"/>
                </a:moveTo>
                <a:cubicBezTo>
                  <a:pt x="142" y="0"/>
                  <a:pt x="126" y="0"/>
                  <a:pt x="116" y="11"/>
                </a:cubicBezTo>
                <a:cubicBezTo>
                  <a:pt x="11" y="115"/>
                  <a:pt x="11" y="115"/>
                  <a:pt x="11" y="115"/>
                </a:cubicBezTo>
                <a:cubicBezTo>
                  <a:pt x="11" y="115"/>
                  <a:pt x="11" y="115"/>
                  <a:pt x="11" y="115"/>
                </a:cubicBezTo>
                <a:cubicBezTo>
                  <a:pt x="11" y="115"/>
                  <a:pt x="11" y="115"/>
                  <a:pt x="11" y="115"/>
                </a:cubicBezTo>
                <a:cubicBezTo>
                  <a:pt x="11" y="116"/>
                  <a:pt x="11" y="116"/>
                  <a:pt x="10" y="116"/>
                </a:cubicBezTo>
                <a:cubicBezTo>
                  <a:pt x="10" y="116"/>
                  <a:pt x="10" y="116"/>
                  <a:pt x="10" y="116"/>
                </a:cubicBezTo>
                <a:cubicBezTo>
                  <a:pt x="10" y="116"/>
                  <a:pt x="10" y="116"/>
                  <a:pt x="10" y="116"/>
                </a:cubicBezTo>
                <a:cubicBezTo>
                  <a:pt x="0" y="159"/>
                  <a:pt x="0" y="159"/>
                  <a:pt x="0" y="159"/>
                </a:cubicBezTo>
                <a:cubicBezTo>
                  <a:pt x="0" y="160"/>
                  <a:pt x="0" y="160"/>
                  <a:pt x="0" y="160"/>
                </a:cubicBezTo>
                <a:cubicBezTo>
                  <a:pt x="0" y="160"/>
                  <a:pt x="0" y="160"/>
                  <a:pt x="0" y="160"/>
                </a:cubicBezTo>
                <a:cubicBezTo>
                  <a:pt x="0" y="160"/>
                  <a:pt x="0" y="161"/>
                  <a:pt x="0" y="161"/>
                </a:cubicBezTo>
                <a:cubicBezTo>
                  <a:pt x="0" y="161"/>
                  <a:pt x="0" y="161"/>
                  <a:pt x="0" y="161"/>
                </a:cubicBezTo>
                <a:cubicBezTo>
                  <a:pt x="0" y="162"/>
                  <a:pt x="1" y="162"/>
                  <a:pt x="1" y="162"/>
                </a:cubicBezTo>
                <a:cubicBezTo>
                  <a:pt x="1" y="162"/>
                  <a:pt x="1" y="163"/>
                  <a:pt x="2" y="163"/>
                </a:cubicBezTo>
                <a:cubicBezTo>
                  <a:pt x="2" y="163"/>
                  <a:pt x="3" y="163"/>
                  <a:pt x="3" y="163"/>
                </a:cubicBezTo>
                <a:cubicBezTo>
                  <a:pt x="3" y="163"/>
                  <a:pt x="3" y="163"/>
                  <a:pt x="4" y="163"/>
                </a:cubicBezTo>
                <a:cubicBezTo>
                  <a:pt x="47" y="153"/>
                  <a:pt x="47" y="153"/>
                  <a:pt x="47" y="153"/>
                </a:cubicBezTo>
                <a:cubicBezTo>
                  <a:pt x="47" y="153"/>
                  <a:pt x="47" y="153"/>
                  <a:pt x="47" y="153"/>
                </a:cubicBezTo>
                <a:cubicBezTo>
                  <a:pt x="47" y="153"/>
                  <a:pt x="47" y="153"/>
                  <a:pt x="47" y="152"/>
                </a:cubicBezTo>
                <a:cubicBezTo>
                  <a:pt x="47" y="152"/>
                  <a:pt x="47" y="152"/>
                  <a:pt x="48" y="152"/>
                </a:cubicBezTo>
                <a:cubicBezTo>
                  <a:pt x="48" y="152"/>
                  <a:pt x="48" y="152"/>
                  <a:pt x="48" y="152"/>
                </a:cubicBezTo>
                <a:cubicBezTo>
                  <a:pt x="48" y="152"/>
                  <a:pt x="48" y="152"/>
                  <a:pt x="48" y="152"/>
                </a:cubicBezTo>
                <a:cubicBezTo>
                  <a:pt x="152" y="47"/>
                  <a:pt x="152" y="47"/>
                  <a:pt x="152" y="47"/>
                </a:cubicBezTo>
                <a:cubicBezTo>
                  <a:pt x="163" y="37"/>
                  <a:pt x="163" y="21"/>
                  <a:pt x="152" y="11"/>
                </a:cubicBezTo>
                <a:close/>
                <a:moveTo>
                  <a:pt x="148" y="15"/>
                </a:moveTo>
                <a:cubicBezTo>
                  <a:pt x="155" y="22"/>
                  <a:pt x="156" y="33"/>
                  <a:pt x="150" y="41"/>
                </a:cubicBezTo>
                <a:cubicBezTo>
                  <a:pt x="122" y="13"/>
                  <a:pt x="122" y="13"/>
                  <a:pt x="122" y="13"/>
                </a:cubicBezTo>
                <a:cubicBezTo>
                  <a:pt x="130" y="7"/>
                  <a:pt x="141" y="8"/>
                  <a:pt x="148" y="15"/>
                </a:cubicBezTo>
                <a:close/>
                <a:moveTo>
                  <a:pt x="134" y="58"/>
                </a:moveTo>
                <a:cubicBezTo>
                  <a:pt x="105" y="29"/>
                  <a:pt x="105" y="29"/>
                  <a:pt x="105" y="29"/>
                </a:cubicBezTo>
                <a:cubicBezTo>
                  <a:pt x="109" y="25"/>
                  <a:pt x="109" y="25"/>
                  <a:pt x="109" y="25"/>
                </a:cubicBezTo>
                <a:cubicBezTo>
                  <a:pt x="138" y="54"/>
                  <a:pt x="138" y="54"/>
                  <a:pt x="138" y="54"/>
                </a:cubicBezTo>
                <a:lnTo>
                  <a:pt x="134" y="58"/>
                </a:lnTo>
                <a:close/>
                <a:moveTo>
                  <a:pt x="14" y="149"/>
                </a:moveTo>
                <a:cubicBezTo>
                  <a:pt x="13" y="148"/>
                  <a:pt x="11" y="148"/>
                  <a:pt x="10" y="149"/>
                </a:cubicBezTo>
                <a:cubicBezTo>
                  <a:pt x="8" y="151"/>
                  <a:pt x="8" y="151"/>
                  <a:pt x="8" y="151"/>
                </a:cubicBezTo>
                <a:cubicBezTo>
                  <a:pt x="15" y="120"/>
                  <a:pt x="15" y="120"/>
                  <a:pt x="15" y="120"/>
                </a:cubicBezTo>
                <a:cubicBezTo>
                  <a:pt x="28" y="118"/>
                  <a:pt x="28" y="118"/>
                  <a:pt x="28" y="118"/>
                </a:cubicBezTo>
                <a:cubicBezTo>
                  <a:pt x="27" y="133"/>
                  <a:pt x="27" y="133"/>
                  <a:pt x="27" y="133"/>
                </a:cubicBezTo>
                <a:cubicBezTo>
                  <a:pt x="27" y="133"/>
                  <a:pt x="27" y="133"/>
                  <a:pt x="27" y="133"/>
                </a:cubicBezTo>
                <a:cubicBezTo>
                  <a:pt x="27" y="134"/>
                  <a:pt x="27" y="134"/>
                  <a:pt x="27" y="134"/>
                </a:cubicBezTo>
                <a:cubicBezTo>
                  <a:pt x="27" y="134"/>
                  <a:pt x="27" y="134"/>
                  <a:pt x="27" y="134"/>
                </a:cubicBezTo>
                <a:cubicBezTo>
                  <a:pt x="27" y="134"/>
                  <a:pt x="27" y="134"/>
                  <a:pt x="27" y="135"/>
                </a:cubicBezTo>
                <a:cubicBezTo>
                  <a:pt x="27" y="135"/>
                  <a:pt x="27" y="135"/>
                  <a:pt x="27" y="135"/>
                </a:cubicBezTo>
                <a:cubicBezTo>
                  <a:pt x="27" y="135"/>
                  <a:pt x="27" y="135"/>
                  <a:pt x="27" y="135"/>
                </a:cubicBezTo>
                <a:cubicBezTo>
                  <a:pt x="28" y="136"/>
                  <a:pt x="28" y="136"/>
                  <a:pt x="28" y="136"/>
                </a:cubicBezTo>
                <a:cubicBezTo>
                  <a:pt x="28" y="136"/>
                  <a:pt x="28" y="136"/>
                  <a:pt x="28" y="136"/>
                </a:cubicBezTo>
                <a:cubicBezTo>
                  <a:pt x="28" y="136"/>
                  <a:pt x="29" y="136"/>
                  <a:pt x="29" y="136"/>
                </a:cubicBezTo>
                <a:cubicBezTo>
                  <a:pt x="29" y="136"/>
                  <a:pt x="29" y="136"/>
                  <a:pt x="29" y="136"/>
                </a:cubicBezTo>
                <a:cubicBezTo>
                  <a:pt x="29" y="136"/>
                  <a:pt x="29" y="136"/>
                  <a:pt x="30" y="136"/>
                </a:cubicBezTo>
                <a:cubicBezTo>
                  <a:pt x="30" y="136"/>
                  <a:pt x="30" y="136"/>
                  <a:pt x="30" y="136"/>
                </a:cubicBezTo>
                <a:cubicBezTo>
                  <a:pt x="30" y="136"/>
                  <a:pt x="30" y="136"/>
                  <a:pt x="30" y="136"/>
                </a:cubicBezTo>
                <a:cubicBezTo>
                  <a:pt x="30" y="136"/>
                  <a:pt x="30" y="136"/>
                  <a:pt x="30" y="136"/>
                </a:cubicBezTo>
                <a:cubicBezTo>
                  <a:pt x="30" y="136"/>
                  <a:pt x="30" y="136"/>
                  <a:pt x="30" y="136"/>
                </a:cubicBezTo>
                <a:cubicBezTo>
                  <a:pt x="30" y="136"/>
                  <a:pt x="30" y="136"/>
                  <a:pt x="30" y="136"/>
                </a:cubicBezTo>
                <a:cubicBezTo>
                  <a:pt x="45" y="135"/>
                  <a:pt x="45" y="135"/>
                  <a:pt x="45" y="135"/>
                </a:cubicBezTo>
                <a:cubicBezTo>
                  <a:pt x="43" y="148"/>
                  <a:pt x="43" y="148"/>
                  <a:pt x="43" y="148"/>
                </a:cubicBezTo>
                <a:cubicBezTo>
                  <a:pt x="12" y="155"/>
                  <a:pt x="12" y="155"/>
                  <a:pt x="12" y="155"/>
                </a:cubicBezTo>
                <a:cubicBezTo>
                  <a:pt x="14" y="153"/>
                  <a:pt x="14" y="153"/>
                  <a:pt x="14" y="153"/>
                </a:cubicBezTo>
                <a:cubicBezTo>
                  <a:pt x="15" y="152"/>
                  <a:pt x="15" y="150"/>
                  <a:pt x="14" y="149"/>
                </a:cubicBezTo>
                <a:close/>
                <a:moveTo>
                  <a:pt x="51" y="133"/>
                </a:moveTo>
                <a:cubicBezTo>
                  <a:pt x="116" y="68"/>
                  <a:pt x="116" y="68"/>
                  <a:pt x="116" y="68"/>
                </a:cubicBezTo>
                <a:cubicBezTo>
                  <a:pt x="117" y="67"/>
                  <a:pt x="117" y="65"/>
                  <a:pt x="116" y="64"/>
                </a:cubicBezTo>
                <a:cubicBezTo>
                  <a:pt x="114" y="63"/>
                  <a:pt x="113" y="63"/>
                  <a:pt x="111" y="64"/>
                </a:cubicBezTo>
                <a:cubicBezTo>
                  <a:pt x="47" y="129"/>
                  <a:pt x="47" y="129"/>
                  <a:pt x="47" y="129"/>
                </a:cubicBezTo>
                <a:cubicBezTo>
                  <a:pt x="33" y="130"/>
                  <a:pt x="33" y="130"/>
                  <a:pt x="33" y="130"/>
                </a:cubicBezTo>
                <a:cubicBezTo>
                  <a:pt x="34" y="116"/>
                  <a:pt x="34" y="116"/>
                  <a:pt x="34" y="116"/>
                </a:cubicBezTo>
                <a:cubicBezTo>
                  <a:pt x="99" y="52"/>
                  <a:pt x="99" y="52"/>
                  <a:pt x="99" y="52"/>
                </a:cubicBezTo>
                <a:cubicBezTo>
                  <a:pt x="100" y="50"/>
                  <a:pt x="100" y="49"/>
                  <a:pt x="99" y="47"/>
                </a:cubicBezTo>
                <a:cubicBezTo>
                  <a:pt x="98" y="46"/>
                  <a:pt x="96" y="46"/>
                  <a:pt x="95" y="47"/>
                </a:cubicBezTo>
                <a:cubicBezTo>
                  <a:pt x="30" y="112"/>
                  <a:pt x="30" y="112"/>
                  <a:pt x="30" y="112"/>
                </a:cubicBezTo>
                <a:cubicBezTo>
                  <a:pt x="21" y="113"/>
                  <a:pt x="21" y="113"/>
                  <a:pt x="21" y="113"/>
                </a:cubicBezTo>
                <a:cubicBezTo>
                  <a:pt x="101" y="33"/>
                  <a:pt x="101" y="33"/>
                  <a:pt x="101" y="33"/>
                </a:cubicBezTo>
                <a:cubicBezTo>
                  <a:pt x="130" y="62"/>
                  <a:pt x="130" y="62"/>
                  <a:pt x="130" y="62"/>
                </a:cubicBezTo>
                <a:cubicBezTo>
                  <a:pt x="50" y="142"/>
                  <a:pt x="50" y="142"/>
                  <a:pt x="50" y="142"/>
                </a:cubicBezTo>
                <a:lnTo>
                  <a:pt x="51" y="133"/>
                </a:lnTo>
                <a:close/>
                <a:moveTo>
                  <a:pt x="142" y="50"/>
                </a:moveTo>
                <a:cubicBezTo>
                  <a:pt x="113" y="21"/>
                  <a:pt x="113" y="21"/>
                  <a:pt x="113" y="21"/>
                </a:cubicBezTo>
                <a:cubicBezTo>
                  <a:pt x="118" y="17"/>
                  <a:pt x="118" y="17"/>
                  <a:pt x="118" y="17"/>
                </a:cubicBezTo>
                <a:cubicBezTo>
                  <a:pt x="146" y="45"/>
                  <a:pt x="146" y="45"/>
                  <a:pt x="146" y="45"/>
                </a:cubicBezTo>
                <a:lnTo>
                  <a:pt x="142" y="50"/>
                </a:ln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lumMod val="50000"/>
                  <a:lumOff val="50000"/>
                </a:prstClr>
              </a:solidFill>
              <a:effectLst/>
              <a:uLnTx/>
              <a:uFillTx/>
              <a:latin typeface="HarmonyOS Sans SC"/>
              <a:cs typeface="+mn-cs"/>
            </a:endParaRPr>
          </a:p>
        </p:txBody>
      </p:sp>
      <p:sp>
        <p:nvSpPr>
          <p:cNvPr id="19" name="Freeform 2123">
            <a:extLst>
              <a:ext uri="{FF2B5EF4-FFF2-40B4-BE49-F238E27FC236}">
                <a16:creationId xmlns:a16="http://schemas.microsoft.com/office/drawing/2014/main" id="{8DCB0C22-A686-4344-B407-00A8D95337D3}"/>
              </a:ext>
            </a:extLst>
          </p:cNvPr>
          <p:cNvSpPr>
            <a:spLocks noEditPoints="1"/>
          </p:cNvSpPr>
          <p:nvPr/>
        </p:nvSpPr>
        <p:spPr bwMode="auto">
          <a:xfrm>
            <a:off x="5132588" y="4748255"/>
            <a:ext cx="270160" cy="293946"/>
          </a:xfrm>
          <a:custGeom>
            <a:avLst/>
            <a:gdLst>
              <a:gd name="T0" fmla="*/ 24 w 148"/>
              <a:gd name="T1" fmla="*/ 74 h 160"/>
              <a:gd name="T2" fmla="*/ 56 w 148"/>
              <a:gd name="T3" fmla="*/ 148 h 160"/>
              <a:gd name="T4" fmla="*/ 62 w 148"/>
              <a:gd name="T5" fmla="*/ 151 h 160"/>
              <a:gd name="T6" fmla="*/ 65 w 148"/>
              <a:gd name="T7" fmla="*/ 160 h 160"/>
              <a:gd name="T8" fmla="*/ 86 w 148"/>
              <a:gd name="T9" fmla="*/ 157 h 160"/>
              <a:gd name="T10" fmla="*/ 89 w 148"/>
              <a:gd name="T11" fmla="*/ 151 h 160"/>
              <a:gd name="T12" fmla="*/ 92 w 148"/>
              <a:gd name="T13" fmla="*/ 121 h 160"/>
              <a:gd name="T14" fmla="*/ 74 w 148"/>
              <a:gd name="T15" fmla="*/ 24 h 160"/>
              <a:gd name="T16" fmla="*/ 80 w 148"/>
              <a:gd name="T17" fmla="*/ 148 h 160"/>
              <a:gd name="T18" fmla="*/ 68 w 148"/>
              <a:gd name="T19" fmla="*/ 154 h 160"/>
              <a:gd name="T20" fmla="*/ 65 w 148"/>
              <a:gd name="T21" fmla="*/ 145 h 160"/>
              <a:gd name="T22" fmla="*/ 62 w 148"/>
              <a:gd name="T23" fmla="*/ 130 h 160"/>
              <a:gd name="T24" fmla="*/ 86 w 148"/>
              <a:gd name="T25" fmla="*/ 145 h 160"/>
              <a:gd name="T26" fmla="*/ 88 w 148"/>
              <a:gd name="T27" fmla="*/ 116 h 160"/>
              <a:gd name="T28" fmla="*/ 86 w 148"/>
              <a:gd name="T29" fmla="*/ 124 h 160"/>
              <a:gd name="T30" fmla="*/ 62 w 148"/>
              <a:gd name="T31" fmla="*/ 119 h 160"/>
              <a:gd name="T32" fmla="*/ 30 w 148"/>
              <a:gd name="T33" fmla="*/ 74 h 160"/>
              <a:gd name="T34" fmla="*/ 119 w 148"/>
              <a:gd name="T35" fmla="*/ 74 h 160"/>
              <a:gd name="T36" fmla="*/ 71 w 148"/>
              <a:gd name="T37" fmla="*/ 15 h 160"/>
              <a:gd name="T38" fmla="*/ 74 w 148"/>
              <a:gd name="T39" fmla="*/ 0 h 160"/>
              <a:gd name="T40" fmla="*/ 77 w 148"/>
              <a:gd name="T41" fmla="*/ 15 h 160"/>
              <a:gd name="T42" fmla="*/ 71 w 148"/>
              <a:gd name="T43" fmla="*/ 15 h 160"/>
              <a:gd name="T44" fmla="*/ 145 w 148"/>
              <a:gd name="T45" fmla="*/ 77 h 160"/>
              <a:gd name="T46" fmla="*/ 130 w 148"/>
              <a:gd name="T47" fmla="*/ 74 h 160"/>
              <a:gd name="T48" fmla="*/ 145 w 148"/>
              <a:gd name="T49" fmla="*/ 71 h 160"/>
              <a:gd name="T50" fmla="*/ 18 w 148"/>
              <a:gd name="T51" fmla="*/ 74 h 160"/>
              <a:gd name="T52" fmla="*/ 3 w 148"/>
              <a:gd name="T53" fmla="*/ 77 h 160"/>
              <a:gd name="T54" fmla="*/ 3 w 148"/>
              <a:gd name="T55" fmla="*/ 71 h 160"/>
              <a:gd name="T56" fmla="*/ 18 w 148"/>
              <a:gd name="T57" fmla="*/ 74 h 160"/>
              <a:gd name="T58" fmla="*/ 126 w 148"/>
              <a:gd name="T59" fmla="*/ 26 h 160"/>
              <a:gd name="T60" fmla="*/ 116 w 148"/>
              <a:gd name="T61" fmla="*/ 35 h 160"/>
              <a:gd name="T62" fmla="*/ 114 w 148"/>
              <a:gd name="T63" fmla="*/ 30 h 160"/>
              <a:gd name="T64" fmla="*/ 126 w 148"/>
              <a:gd name="T65" fmla="*/ 22 h 160"/>
              <a:gd name="T66" fmla="*/ 34 w 148"/>
              <a:gd name="T67" fmla="*/ 118 h 160"/>
              <a:gd name="T68" fmla="*/ 24 w 148"/>
              <a:gd name="T69" fmla="*/ 127 h 160"/>
              <a:gd name="T70" fmla="*/ 22 w 148"/>
              <a:gd name="T71" fmla="*/ 122 h 160"/>
              <a:gd name="T72" fmla="*/ 34 w 148"/>
              <a:gd name="T73" fmla="*/ 114 h 160"/>
              <a:gd name="T74" fmla="*/ 126 w 148"/>
              <a:gd name="T75" fmla="*/ 126 h 160"/>
              <a:gd name="T76" fmla="*/ 122 w 148"/>
              <a:gd name="T77" fmla="*/ 126 h 160"/>
              <a:gd name="T78" fmla="*/ 114 w 148"/>
              <a:gd name="T79" fmla="*/ 114 h 160"/>
              <a:gd name="T80" fmla="*/ 126 w 148"/>
              <a:gd name="T81" fmla="*/ 122 h 160"/>
              <a:gd name="T82" fmla="*/ 22 w 148"/>
              <a:gd name="T83" fmla="*/ 22 h 160"/>
              <a:gd name="T84" fmla="*/ 34 w 148"/>
              <a:gd name="T85" fmla="*/ 30 h 160"/>
              <a:gd name="T86" fmla="*/ 32 w 148"/>
              <a:gd name="T87" fmla="*/ 35 h 160"/>
              <a:gd name="T88" fmla="*/ 22 w 148"/>
              <a:gd name="T89" fmla="*/ 26 h 160"/>
              <a:gd name="T90" fmla="*/ 74 w 148"/>
              <a:gd name="T91" fmla="*/ 44 h 160"/>
              <a:gd name="T92" fmla="*/ 41 w 148"/>
              <a:gd name="T93" fmla="*/ 77 h 160"/>
              <a:gd name="T94" fmla="*/ 74 w 148"/>
              <a:gd name="T95" fmla="*/ 39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48" h="160">
                <a:moveTo>
                  <a:pt x="74" y="24"/>
                </a:moveTo>
                <a:cubicBezTo>
                  <a:pt x="46" y="24"/>
                  <a:pt x="24" y="46"/>
                  <a:pt x="24" y="74"/>
                </a:cubicBezTo>
                <a:cubicBezTo>
                  <a:pt x="24" y="95"/>
                  <a:pt x="37" y="114"/>
                  <a:pt x="56" y="121"/>
                </a:cubicBezTo>
                <a:cubicBezTo>
                  <a:pt x="56" y="148"/>
                  <a:pt x="56" y="148"/>
                  <a:pt x="56" y="148"/>
                </a:cubicBezTo>
                <a:cubicBezTo>
                  <a:pt x="56" y="150"/>
                  <a:pt x="58" y="151"/>
                  <a:pt x="59" y="151"/>
                </a:cubicBezTo>
                <a:cubicBezTo>
                  <a:pt x="62" y="151"/>
                  <a:pt x="62" y="151"/>
                  <a:pt x="62" y="151"/>
                </a:cubicBezTo>
                <a:cubicBezTo>
                  <a:pt x="62" y="157"/>
                  <a:pt x="62" y="157"/>
                  <a:pt x="62" y="157"/>
                </a:cubicBezTo>
                <a:cubicBezTo>
                  <a:pt x="62" y="159"/>
                  <a:pt x="64" y="160"/>
                  <a:pt x="65" y="160"/>
                </a:cubicBezTo>
                <a:cubicBezTo>
                  <a:pt x="83" y="160"/>
                  <a:pt x="83" y="160"/>
                  <a:pt x="83" y="160"/>
                </a:cubicBezTo>
                <a:cubicBezTo>
                  <a:pt x="85" y="160"/>
                  <a:pt x="86" y="159"/>
                  <a:pt x="86" y="157"/>
                </a:cubicBezTo>
                <a:cubicBezTo>
                  <a:pt x="86" y="151"/>
                  <a:pt x="86" y="151"/>
                  <a:pt x="86" y="151"/>
                </a:cubicBezTo>
                <a:cubicBezTo>
                  <a:pt x="89" y="151"/>
                  <a:pt x="89" y="151"/>
                  <a:pt x="89" y="151"/>
                </a:cubicBezTo>
                <a:cubicBezTo>
                  <a:pt x="91" y="151"/>
                  <a:pt x="92" y="150"/>
                  <a:pt x="92" y="148"/>
                </a:cubicBezTo>
                <a:cubicBezTo>
                  <a:pt x="92" y="121"/>
                  <a:pt x="92" y="121"/>
                  <a:pt x="92" y="121"/>
                </a:cubicBezTo>
                <a:cubicBezTo>
                  <a:pt x="111" y="114"/>
                  <a:pt x="124" y="95"/>
                  <a:pt x="124" y="74"/>
                </a:cubicBezTo>
                <a:cubicBezTo>
                  <a:pt x="124" y="46"/>
                  <a:pt x="102" y="24"/>
                  <a:pt x="74" y="24"/>
                </a:cubicBezTo>
                <a:close/>
                <a:moveTo>
                  <a:pt x="83" y="145"/>
                </a:moveTo>
                <a:cubicBezTo>
                  <a:pt x="81" y="145"/>
                  <a:pt x="80" y="147"/>
                  <a:pt x="80" y="148"/>
                </a:cubicBezTo>
                <a:cubicBezTo>
                  <a:pt x="80" y="154"/>
                  <a:pt x="80" y="154"/>
                  <a:pt x="80" y="154"/>
                </a:cubicBezTo>
                <a:cubicBezTo>
                  <a:pt x="68" y="154"/>
                  <a:pt x="68" y="154"/>
                  <a:pt x="68" y="154"/>
                </a:cubicBezTo>
                <a:cubicBezTo>
                  <a:pt x="68" y="148"/>
                  <a:pt x="68" y="148"/>
                  <a:pt x="68" y="148"/>
                </a:cubicBezTo>
                <a:cubicBezTo>
                  <a:pt x="68" y="147"/>
                  <a:pt x="67" y="145"/>
                  <a:pt x="65" y="145"/>
                </a:cubicBezTo>
                <a:cubicBezTo>
                  <a:pt x="62" y="145"/>
                  <a:pt x="62" y="145"/>
                  <a:pt x="62" y="145"/>
                </a:cubicBezTo>
                <a:cubicBezTo>
                  <a:pt x="62" y="130"/>
                  <a:pt x="62" y="130"/>
                  <a:pt x="62" y="130"/>
                </a:cubicBezTo>
                <a:cubicBezTo>
                  <a:pt x="86" y="130"/>
                  <a:pt x="86" y="130"/>
                  <a:pt x="86" y="130"/>
                </a:cubicBezTo>
                <a:cubicBezTo>
                  <a:pt x="86" y="145"/>
                  <a:pt x="86" y="145"/>
                  <a:pt x="86" y="145"/>
                </a:cubicBezTo>
                <a:lnTo>
                  <a:pt x="83" y="145"/>
                </a:lnTo>
                <a:close/>
                <a:moveTo>
                  <a:pt x="88" y="116"/>
                </a:moveTo>
                <a:cubicBezTo>
                  <a:pt x="87" y="117"/>
                  <a:pt x="86" y="118"/>
                  <a:pt x="86" y="119"/>
                </a:cubicBezTo>
                <a:cubicBezTo>
                  <a:pt x="86" y="124"/>
                  <a:pt x="86" y="124"/>
                  <a:pt x="86" y="124"/>
                </a:cubicBezTo>
                <a:cubicBezTo>
                  <a:pt x="62" y="124"/>
                  <a:pt x="62" y="124"/>
                  <a:pt x="62" y="124"/>
                </a:cubicBezTo>
                <a:cubicBezTo>
                  <a:pt x="62" y="119"/>
                  <a:pt x="62" y="119"/>
                  <a:pt x="62" y="119"/>
                </a:cubicBezTo>
                <a:cubicBezTo>
                  <a:pt x="62" y="118"/>
                  <a:pt x="61" y="117"/>
                  <a:pt x="60" y="116"/>
                </a:cubicBezTo>
                <a:cubicBezTo>
                  <a:pt x="42" y="110"/>
                  <a:pt x="30" y="93"/>
                  <a:pt x="30" y="74"/>
                </a:cubicBezTo>
                <a:cubicBezTo>
                  <a:pt x="30" y="50"/>
                  <a:pt x="50" y="30"/>
                  <a:pt x="74" y="30"/>
                </a:cubicBezTo>
                <a:cubicBezTo>
                  <a:pt x="99" y="30"/>
                  <a:pt x="119" y="50"/>
                  <a:pt x="119" y="74"/>
                </a:cubicBezTo>
                <a:cubicBezTo>
                  <a:pt x="119" y="93"/>
                  <a:pt x="106" y="110"/>
                  <a:pt x="88" y="116"/>
                </a:cubicBezTo>
                <a:close/>
                <a:moveTo>
                  <a:pt x="71" y="15"/>
                </a:moveTo>
                <a:cubicBezTo>
                  <a:pt x="71" y="3"/>
                  <a:pt x="71" y="3"/>
                  <a:pt x="71" y="3"/>
                </a:cubicBezTo>
                <a:cubicBezTo>
                  <a:pt x="71" y="1"/>
                  <a:pt x="72" y="0"/>
                  <a:pt x="74" y="0"/>
                </a:cubicBezTo>
                <a:cubicBezTo>
                  <a:pt x="76" y="0"/>
                  <a:pt x="77" y="1"/>
                  <a:pt x="77" y="3"/>
                </a:cubicBezTo>
                <a:cubicBezTo>
                  <a:pt x="77" y="15"/>
                  <a:pt x="77" y="15"/>
                  <a:pt x="77" y="15"/>
                </a:cubicBezTo>
                <a:cubicBezTo>
                  <a:pt x="77" y="16"/>
                  <a:pt x="76" y="18"/>
                  <a:pt x="74" y="18"/>
                </a:cubicBezTo>
                <a:cubicBezTo>
                  <a:pt x="72" y="18"/>
                  <a:pt x="71" y="16"/>
                  <a:pt x="71" y="15"/>
                </a:cubicBezTo>
                <a:close/>
                <a:moveTo>
                  <a:pt x="148" y="74"/>
                </a:moveTo>
                <a:cubicBezTo>
                  <a:pt x="148" y="76"/>
                  <a:pt x="147" y="77"/>
                  <a:pt x="145" y="77"/>
                </a:cubicBezTo>
                <a:cubicBezTo>
                  <a:pt x="133" y="77"/>
                  <a:pt x="133" y="77"/>
                  <a:pt x="133" y="77"/>
                </a:cubicBezTo>
                <a:cubicBezTo>
                  <a:pt x="132" y="77"/>
                  <a:pt x="130" y="76"/>
                  <a:pt x="130" y="74"/>
                </a:cubicBezTo>
                <a:cubicBezTo>
                  <a:pt x="130" y="72"/>
                  <a:pt x="132" y="71"/>
                  <a:pt x="133" y="71"/>
                </a:cubicBezTo>
                <a:cubicBezTo>
                  <a:pt x="145" y="71"/>
                  <a:pt x="145" y="71"/>
                  <a:pt x="145" y="71"/>
                </a:cubicBezTo>
                <a:cubicBezTo>
                  <a:pt x="147" y="71"/>
                  <a:pt x="148" y="72"/>
                  <a:pt x="148" y="74"/>
                </a:cubicBezTo>
                <a:close/>
                <a:moveTo>
                  <a:pt x="18" y="74"/>
                </a:moveTo>
                <a:cubicBezTo>
                  <a:pt x="18" y="76"/>
                  <a:pt x="16" y="77"/>
                  <a:pt x="15" y="77"/>
                </a:cubicBezTo>
                <a:cubicBezTo>
                  <a:pt x="3" y="77"/>
                  <a:pt x="3" y="77"/>
                  <a:pt x="3" y="77"/>
                </a:cubicBezTo>
                <a:cubicBezTo>
                  <a:pt x="1" y="77"/>
                  <a:pt x="0" y="76"/>
                  <a:pt x="0" y="74"/>
                </a:cubicBezTo>
                <a:cubicBezTo>
                  <a:pt x="0" y="72"/>
                  <a:pt x="1" y="71"/>
                  <a:pt x="3" y="71"/>
                </a:cubicBezTo>
                <a:cubicBezTo>
                  <a:pt x="15" y="71"/>
                  <a:pt x="15" y="71"/>
                  <a:pt x="15" y="71"/>
                </a:cubicBezTo>
                <a:cubicBezTo>
                  <a:pt x="16" y="71"/>
                  <a:pt x="18" y="72"/>
                  <a:pt x="18" y="74"/>
                </a:cubicBezTo>
                <a:close/>
                <a:moveTo>
                  <a:pt x="126" y="22"/>
                </a:moveTo>
                <a:cubicBezTo>
                  <a:pt x="128" y="23"/>
                  <a:pt x="128" y="25"/>
                  <a:pt x="126" y="26"/>
                </a:cubicBezTo>
                <a:cubicBezTo>
                  <a:pt x="118" y="34"/>
                  <a:pt x="118" y="34"/>
                  <a:pt x="118" y="34"/>
                </a:cubicBezTo>
                <a:cubicBezTo>
                  <a:pt x="117" y="35"/>
                  <a:pt x="117" y="35"/>
                  <a:pt x="116" y="35"/>
                </a:cubicBezTo>
                <a:cubicBezTo>
                  <a:pt x="115" y="35"/>
                  <a:pt x="114" y="35"/>
                  <a:pt x="114" y="34"/>
                </a:cubicBezTo>
                <a:cubicBezTo>
                  <a:pt x="113" y="33"/>
                  <a:pt x="113" y="31"/>
                  <a:pt x="114" y="30"/>
                </a:cubicBezTo>
                <a:cubicBezTo>
                  <a:pt x="122" y="22"/>
                  <a:pt x="122" y="22"/>
                  <a:pt x="122" y="22"/>
                </a:cubicBezTo>
                <a:cubicBezTo>
                  <a:pt x="123" y="21"/>
                  <a:pt x="125" y="21"/>
                  <a:pt x="126" y="22"/>
                </a:cubicBezTo>
                <a:close/>
                <a:moveTo>
                  <a:pt x="34" y="114"/>
                </a:moveTo>
                <a:cubicBezTo>
                  <a:pt x="35" y="115"/>
                  <a:pt x="35" y="117"/>
                  <a:pt x="34" y="118"/>
                </a:cubicBezTo>
                <a:cubicBezTo>
                  <a:pt x="26" y="126"/>
                  <a:pt x="26" y="126"/>
                  <a:pt x="26" y="126"/>
                </a:cubicBezTo>
                <a:cubicBezTo>
                  <a:pt x="25" y="127"/>
                  <a:pt x="25" y="127"/>
                  <a:pt x="24" y="127"/>
                </a:cubicBezTo>
                <a:cubicBezTo>
                  <a:pt x="23" y="127"/>
                  <a:pt x="22" y="127"/>
                  <a:pt x="22" y="126"/>
                </a:cubicBezTo>
                <a:cubicBezTo>
                  <a:pt x="21" y="125"/>
                  <a:pt x="21" y="123"/>
                  <a:pt x="22" y="122"/>
                </a:cubicBezTo>
                <a:cubicBezTo>
                  <a:pt x="30" y="114"/>
                  <a:pt x="30" y="114"/>
                  <a:pt x="30" y="114"/>
                </a:cubicBezTo>
                <a:cubicBezTo>
                  <a:pt x="31" y="113"/>
                  <a:pt x="33" y="113"/>
                  <a:pt x="34" y="114"/>
                </a:cubicBezTo>
                <a:close/>
                <a:moveTo>
                  <a:pt x="126" y="122"/>
                </a:moveTo>
                <a:cubicBezTo>
                  <a:pt x="128" y="123"/>
                  <a:pt x="128" y="125"/>
                  <a:pt x="126" y="126"/>
                </a:cubicBezTo>
                <a:cubicBezTo>
                  <a:pt x="126" y="127"/>
                  <a:pt x="125" y="127"/>
                  <a:pt x="124" y="127"/>
                </a:cubicBezTo>
                <a:cubicBezTo>
                  <a:pt x="124" y="127"/>
                  <a:pt x="123" y="127"/>
                  <a:pt x="122" y="126"/>
                </a:cubicBezTo>
                <a:cubicBezTo>
                  <a:pt x="114" y="118"/>
                  <a:pt x="114" y="118"/>
                  <a:pt x="114" y="118"/>
                </a:cubicBezTo>
                <a:cubicBezTo>
                  <a:pt x="113" y="117"/>
                  <a:pt x="113" y="115"/>
                  <a:pt x="114" y="114"/>
                </a:cubicBezTo>
                <a:cubicBezTo>
                  <a:pt x="115" y="113"/>
                  <a:pt x="117" y="113"/>
                  <a:pt x="118" y="114"/>
                </a:cubicBezTo>
                <a:lnTo>
                  <a:pt x="126" y="122"/>
                </a:lnTo>
                <a:close/>
                <a:moveTo>
                  <a:pt x="22" y="26"/>
                </a:moveTo>
                <a:cubicBezTo>
                  <a:pt x="21" y="25"/>
                  <a:pt x="21" y="23"/>
                  <a:pt x="22" y="22"/>
                </a:cubicBezTo>
                <a:cubicBezTo>
                  <a:pt x="23" y="21"/>
                  <a:pt x="25" y="21"/>
                  <a:pt x="26" y="22"/>
                </a:cubicBezTo>
                <a:cubicBezTo>
                  <a:pt x="34" y="30"/>
                  <a:pt x="34" y="30"/>
                  <a:pt x="34" y="30"/>
                </a:cubicBezTo>
                <a:cubicBezTo>
                  <a:pt x="35" y="31"/>
                  <a:pt x="35" y="33"/>
                  <a:pt x="34" y="34"/>
                </a:cubicBezTo>
                <a:cubicBezTo>
                  <a:pt x="34" y="35"/>
                  <a:pt x="33" y="35"/>
                  <a:pt x="32" y="35"/>
                </a:cubicBezTo>
                <a:cubicBezTo>
                  <a:pt x="31" y="35"/>
                  <a:pt x="31" y="35"/>
                  <a:pt x="30" y="34"/>
                </a:cubicBezTo>
                <a:lnTo>
                  <a:pt x="22" y="26"/>
                </a:lnTo>
                <a:close/>
                <a:moveTo>
                  <a:pt x="77" y="41"/>
                </a:moveTo>
                <a:cubicBezTo>
                  <a:pt x="77" y="43"/>
                  <a:pt x="76" y="44"/>
                  <a:pt x="74" y="44"/>
                </a:cubicBezTo>
                <a:cubicBezTo>
                  <a:pt x="58" y="44"/>
                  <a:pt x="44" y="58"/>
                  <a:pt x="44" y="74"/>
                </a:cubicBezTo>
                <a:cubicBezTo>
                  <a:pt x="44" y="76"/>
                  <a:pt x="43" y="77"/>
                  <a:pt x="41" y="77"/>
                </a:cubicBezTo>
                <a:cubicBezTo>
                  <a:pt x="40" y="77"/>
                  <a:pt x="39" y="76"/>
                  <a:pt x="39" y="74"/>
                </a:cubicBezTo>
                <a:cubicBezTo>
                  <a:pt x="39" y="54"/>
                  <a:pt x="54" y="39"/>
                  <a:pt x="74" y="39"/>
                </a:cubicBezTo>
                <a:cubicBezTo>
                  <a:pt x="76" y="39"/>
                  <a:pt x="77" y="40"/>
                  <a:pt x="77" y="41"/>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lumMod val="50000"/>
                  <a:lumOff val="50000"/>
                </a:prstClr>
              </a:solidFill>
              <a:effectLst/>
              <a:uLnTx/>
              <a:uFillTx/>
              <a:latin typeface="HarmonyOS Sans SC"/>
              <a:cs typeface="+mn-cs"/>
            </a:endParaRPr>
          </a:p>
        </p:txBody>
      </p:sp>
      <p:sp>
        <p:nvSpPr>
          <p:cNvPr id="20" name="Oval 25">
            <a:extLst>
              <a:ext uri="{FF2B5EF4-FFF2-40B4-BE49-F238E27FC236}">
                <a16:creationId xmlns:a16="http://schemas.microsoft.com/office/drawing/2014/main" id="{18FD2828-ECD8-421E-BE86-5F3616771585}"/>
              </a:ext>
            </a:extLst>
          </p:cNvPr>
          <p:cNvSpPr/>
          <p:nvPr/>
        </p:nvSpPr>
        <p:spPr>
          <a:xfrm>
            <a:off x="3724292" y="3927027"/>
            <a:ext cx="420754" cy="420752"/>
          </a:xfrm>
          <a:prstGeom prst="ellipse">
            <a:avLst/>
          </a:prstGeom>
          <a:gradFill>
            <a:gsLst>
              <a:gs pos="73000">
                <a:schemeClr val="accent1"/>
              </a:gs>
              <a:gs pos="31000">
                <a:schemeClr val="accent1">
                  <a:lumMod val="60000"/>
                  <a:lumOff val="40000"/>
                </a:schemeClr>
              </a:gs>
              <a:gs pos="0">
                <a:schemeClr val="accent1">
                  <a:lumMod val="40000"/>
                  <a:lumOff val="60000"/>
                </a:schemeClr>
              </a:gs>
            </a:gsLst>
            <a:path path="circle">
              <a:fillToRect r="100000" b="100000"/>
            </a:path>
          </a:gradFill>
          <a:ln>
            <a:noFill/>
          </a:ln>
          <a:effectLst>
            <a:outerShdw blurRad="444500" dist="317500" dir="5400000" sx="92000" sy="92000" algn="t" rotWithShape="0">
              <a:schemeClr val="accent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HarmonyOS Sans SC Black"/>
                <a:ea typeface="+mj-ea"/>
                <a:cs typeface="+mn-cs"/>
              </a:rPr>
              <a:t>01</a:t>
            </a:r>
          </a:p>
        </p:txBody>
      </p:sp>
      <p:sp>
        <p:nvSpPr>
          <p:cNvPr id="21" name="Oval 26">
            <a:extLst>
              <a:ext uri="{FF2B5EF4-FFF2-40B4-BE49-F238E27FC236}">
                <a16:creationId xmlns:a16="http://schemas.microsoft.com/office/drawing/2014/main" id="{770EE3CE-03A2-43C1-B8A8-F86198A166FC}"/>
              </a:ext>
            </a:extLst>
          </p:cNvPr>
          <p:cNvSpPr/>
          <p:nvPr/>
        </p:nvSpPr>
        <p:spPr>
          <a:xfrm>
            <a:off x="5108254" y="3927027"/>
            <a:ext cx="420754" cy="420752"/>
          </a:xfrm>
          <a:prstGeom prst="ellipse">
            <a:avLst/>
          </a:prstGeom>
          <a:gradFill>
            <a:gsLst>
              <a:gs pos="73000">
                <a:schemeClr val="accent1"/>
              </a:gs>
              <a:gs pos="31000">
                <a:schemeClr val="accent1">
                  <a:lumMod val="60000"/>
                  <a:lumOff val="40000"/>
                </a:schemeClr>
              </a:gs>
              <a:gs pos="0">
                <a:schemeClr val="accent1">
                  <a:lumMod val="40000"/>
                  <a:lumOff val="60000"/>
                </a:schemeClr>
              </a:gs>
            </a:gsLst>
            <a:path path="circle">
              <a:fillToRect r="100000" b="100000"/>
            </a:path>
          </a:gradFill>
          <a:ln>
            <a:noFill/>
          </a:ln>
          <a:effectLst>
            <a:outerShdw blurRad="444500" dist="317500" dir="5400000" sx="92000" sy="92000" algn="t" rotWithShape="0">
              <a:schemeClr val="accent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HarmonyOS Sans SC Black"/>
                <a:ea typeface="+mj-ea"/>
                <a:cs typeface="+mn-cs"/>
              </a:rPr>
              <a:t>02</a:t>
            </a:r>
          </a:p>
        </p:txBody>
      </p:sp>
      <p:sp>
        <p:nvSpPr>
          <p:cNvPr id="22" name="Oval 27">
            <a:extLst>
              <a:ext uri="{FF2B5EF4-FFF2-40B4-BE49-F238E27FC236}">
                <a16:creationId xmlns:a16="http://schemas.microsoft.com/office/drawing/2014/main" id="{E185E872-58D5-4746-98C6-1EB94FAAFACB}"/>
              </a:ext>
            </a:extLst>
          </p:cNvPr>
          <p:cNvSpPr/>
          <p:nvPr/>
        </p:nvSpPr>
        <p:spPr>
          <a:xfrm>
            <a:off x="6894446" y="3927027"/>
            <a:ext cx="420754" cy="420752"/>
          </a:xfrm>
          <a:prstGeom prst="ellipse">
            <a:avLst/>
          </a:prstGeom>
          <a:gradFill>
            <a:gsLst>
              <a:gs pos="73000">
                <a:schemeClr val="accent1"/>
              </a:gs>
              <a:gs pos="31000">
                <a:schemeClr val="accent1">
                  <a:lumMod val="60000"/>
                  <a:lumOff val="40000"/>
                </a:schemeClr>
              </a:gs>
              <a:gs pos="0">
                <a:schemeClr val="accent1">
                  <a:lumMod val="40000"/>
                  <a:lumOff val="60000"/>
                </a:schemeClr>
              </a:gs>
            </a:gsLst>
            <a:path path="circle">
              <a:fillToRect r="100000" b="100000"/>
            </a:path>
          </a:gradFill>
          <a:ln>
            <a:noFill/>
          </a:ln>
          <a:effectLst>
            <a:outerShdw blurRad="444500" dist="317500" dir="5400000" sx="92000" sy="92000" algn="t" rotWithShape="0">
              <a:schemeClr val="accent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HarmonyOS Sans SC Black"/>
                <a:ea typeface="+mj-ea"/>
                <a:cs typeface="+mn-cs"/>
              </a:rPr>
              <a:t>03</a:t>
            </a:r>
          </a:p>
        </p:txBody>
      </p:sp>
      <p:sp>
        <p:nvSpPr>
          <p:cNvPr id="34" name="Right Triangle 61">
            <a:extLst>
              <a:ext uri="{FF2B5EF4-FFF2-40B4-BE49-F238E27FC236}">
                <a16:creationId xmlns:a16="http://schemas.microsoft.com/office/drawing/2014/main" id="{6E75E715-DC5F-4EBF-AF32-BF4B84AF2286}"/>
              </a:ext>
            </a:extLst>
          </p:cNvPr>
          <p:cNvSpPr/>
          <p:nvPr/>
        </p:nvSpPr>
        <p:spPr>
          <a:xfrm flipV="1">
            <a:off x="1055689" y="803583"/>
            <a:ext cx="72580" cy="72177"/>
          </a:xfrm>
          <a:prstGeom prst="r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HarmonyOS Sans SC"/>
              <a:cs typeface="+mn-cs"/>
            </a:endParaRPr>
          </a:p>
        </p:txBody>
      </p:sp>
      <p:sp>
        <p:nvSpPr>
          <p:cNvPr id="35" name="文本框 34">
            <a:extLst>
              <a:ext uri="{FF2B5EF4-FFF2-40B4-BE49-F238E27FC236}">
                <a16:creationId xmlns:a16="http://schemas.microsoft.com/office/drawing/2014/main" id="{2F49B0FA-38AF-4367-8831-B14EFD96EECB}"/>
              </a:ext>
            </a:extLst>
          </p:cNvPr>
          <p:cNvSpPr txBox="1"/>
          <p:nvPr/>
        </p:nvSpPr>
        <p:spPr>
          <a:xfrm>
            <a:off x="941388" y="918105"/>
            <a:ext cx="4943982"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2800" b="0" i="0" u="none" strike="noStrike" kern="1200" cap="none" spc="0" normalizeH="0" baseline="0" noProof="0" dirty="0">
                <a:ln>
                  <a:noFill/>
                </a:ln>
                <a:solidFill>
                  <a:prstClr val="black"/>
                </a:solidFill>
                <a:effectLst/>
                <a:uLnTx/>
                <a:uFillTx/>
                <a:latin typeface="HarmonyOS Sans Black"/>
                <a:ea typeface="+mj-ea"/>
                <a:cs typeface="+mn-cs"/>
              </a:rPr>
              <a:t>Arrow Process  </a:t>
            </a:r>
            <a:r>
              <a:rPr kumimoji="0" lang="en-US" altLang="zh-CN" sz="2800" b="0" i="0" u="none" strike="noStrike" kern="1200" cap="none" spc="0" normalizeH="0" baseline="0" noProof="0" dirty="0">
                <a:ln>
                  <a:noFill/>
                </a:ln>
                <a:solidFill>
                  <a:schemeClr val="accent1"/>
                </a:solidFill>
                <a:effectLst/>
                <a:uLnTx/>
                <a:uFillTx/>
                <a:latin typeface="HarmonyOS Sans Black"/>
                <a:ea typeface="+mj-ea"/>
                <a:cs typeface="+mn-cs"/>
              </a:rPr>
              <a:t>infographic</a:t>
            </a:r>
          </a:p>
        </p:txBody>
      </p:sp>
      <p:sp>
        <p:nvSpPr>
          <p:cNvPr id="38" name="TextBox 25">
            <a:extLst>
              <a:ext uri="{FF2B5EF4-FFF2-40B4-BE49-F238E27FC236}">
                <a16:creationId xmlns:a16="http://schemas.microsoft.com/office/drawing/2014/main" id="{6D5B486E-992F-42ED-BA43-02AFA5EC94F9}"/>
              </a:ext>
            </a:extLst>
          </p:cNvPr>
          <p:cNvSpPr txBox="1"/>
          <p:nvPr/>
        </p:nvSpPr>
        <p:spPr>
          <a:xfrm>
            <a:off x="1055689" y="2250173"/>
            <a:ext cx="2096948" cy="306944"/>
          </a:xfrm>
          <a:prstGeom prst="rect">
            <a:avLst/>
          </a:prstGeom>
          <a:noFill/>
        </p:spPr>
        <p:txBody>
          <a:bodyPr wrap="square" lIns="0" tIns="0" rIns="0" bIns="0" rtlCol="0">
            <a:spAutoFit/>
          </a:bodyPr>
          <a:lstStyle>
            <a:defPPr>
              <a:defRPr lang="zh-CN"/>
            </a:defPPr>
            <a:lvl1pPr marR="0" lvl="0" indent="0" fontAlgn="auto">
              <a:lnSpc>
                <a:spcPct val="120000"/>
              </a:lnSpc>
              <a:spcBef>
                <a:spcPts val="1200"/>
              </a:spcBef>
              <a:spcAft>
                <a:spcPts val="0"/>
              </a:spcAft>
              <a:buClrTx/>
              <a:buSzTx/>
              <a:buFontTx/>
              <a:buNone/>
              <a:tabLst/>
              <a:defRPr kumimoji="0" b="0" i="0" u="none" strike="noStrike" cap="none" spc="0" normalizeH="0" baseline="0">
                <a:ln>
                  <a:noFill/>
                </a:ln>
                <a:solidFill>
                  <a:schemeClr val="tx1">
                    <a:lumMod val="75000"/>
                    <a:lumOff val="25000"/>
                  </a:schemeClr>
                </a:solidFill>
                <a:effectLst/>
                <a:uLnTx/>
                <a:uFillTx/>
                <a:latin typeface="+mj-ea"/>
                <a:ea typeface="+mj-ea"/>
              </a:defRPr>
            </a:lvl1pPr>
          </a:lstStyle>
          <a:p>
            <a:pPr marL="0" marR="0" lvl="0" indent="0" algn="l" defTabSz="914400" rtl="0" eaLnBrk="1" fontAlgn="auto" latinLnBrk="0" hangingPunct="1">
              <a:lnSpc>
                <a:spcPct val="120000"/>
              </a:lnSpc>
              <a:spcBef>
                <a:spcPts val="1200"/>
              </a:spcBef>
              <a:spcAft>
                <a:spcPts val="0"/>
              </a:spcAft>
              <a:buClrTx/>
              <a:buSzTx/>
              <a:buFontTx/>
              <a:buNone/>
              <a:tabLst/>
              <a:defRPr/>
            </a:pPr>
            <a:r>
              <a:rPr kumimoji="0" lang="en-US" sz="1800" b="0" i="0" u="none" strike="noStrike" kern="1200" cap="none" spc="0" normalizeH="0" baseline="0" noProof="0" dirty="0">
                <a:ln>
                  <a:noFill/>
                </a:ln>
                <a:solidFill>
                  <a:prstClr val="black">
                    <a:lumMod val="75000"/>
                    <a:lumOff val="25000"/>
                  </a:prstClr>
                </a:solidFill>
                <a:effectLst/>
                <a:uLnTx/>
                <a:uFillTx/>
                <a:latin typeface="HarmonyOS Sans SC Black"/>
                <a:cs typeface="+mn-cs"/>
              </a:rPr>
              <a:t>Write title here</a:t>
            </a:r>
          </a:p>
        </p:txBody>
      </p:sp>
      <p:sp>
        <p:nvSpPr>
          <p:cNvPr id="39" name="TextBox 25">
            <a:extLst>
              <a:ext uri="{FF2B5EF4-FFF2-40B4-BE49-F238E27FC236}">
                <a16:creationId xmlns:a16="http://schemas.microsoft.com/office/drawing/2014/main" id="{4E85A4D3-749E-4E09-BE9E-6FD1F9244212}"/>
              </a:ext>
            </a:extLst>
          </p:cNvPr>
          <p:cNvSpPr txBox="1"/>
          <p:nvPr/>
        </p:nvSpPr>
        <p:spPr>
          <a:xfrm>
            <a:off x="1055688" y="2614594"/>
            <a:ext cx="3547325" cy="169918"/>
          </a:xfrm>
          <a:prstGeom prst="rect">
            <a:avLst/>
          </a:prstGeom>
          <a:noFill/>
        </p:spPr>
        <p:txBody>
          <a:bodyPr wrap="square" lIns="0" tIns="0" rIns="0" bIns="0" rtlCol="0">
            <a:spAutoFit/>
          </a:bodyPr>
          <a:lstStyle>
            <a:defPPr>
              <a:defRPr lang="zh-CN"/>
            </a:defPPr>
            <a:lvl1pPr marR="0" lvl="0" indent="0" fontAlgn="auto">
              <a:lnSpc>
                <a:spcPct val="120000"/>
              </a:lnSpc>
              <a:spcBef>
                <a:spcPts val="1200"/>
              </a:spcBef>
              <a:spcAft>
                <a:spcPts val="0"/>
              </a:spcAft>
              <a:buClrTx/>
              <a:buSzTx/>
              <a:buFontTx/>
              <a:buNone/>
              <a:tabLst/>
              <a:defRPr kumimoji="0" sz="1000" b="0" i="0" u="none" strike="noStrike" cap="none" spc="0" normalizeH="0" baseline="0">
                <a:ln>
                  <a:noFill/>
                </a:ln>
                <a:solidFill>
                  <a:schemeClr val="tx1">
                    <a:lumMod val="50000"/>
                    <a:lumOff val="50000"/>
                  </a:schemeClr>
                </a:solidFill>
                <a:effectLst/>
                <a:uLnTx/>
                <a:uFillTx/>
                <a:latin typeface="+mn-ea"/>
              </a:defRPr>
            </a:lvl1pPr>
          </a:lstStyle>
          <a:p>
            <a:pPr marL="0" marR="0" lvl="0" indent="0" algn="l" defTabSz="914400" rtl="0" eaLnBrk="1" fontAlgn="auto" latinLnBrk="0" hangingPunct="1">
              <a:lnSpc>
                <a:spcPct val="120000"/>
              </a:lnSpc>
              <a:spcBef>
                <a:spcPts val="120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HarmonyOS Sans SC"/>
                <a:cs typeface="+mn-cs"/>
              </a:rPr>
              <a:t>The first people you’ll meet are our experts in business.</a:t>
            </a:r>
          </a:p>
        </p:txBody>
      </p:sp>
      <p:sp>
        <p:nvSpPr>
          <p:cNvPr id="40" name="TextBox 25">
            <a:extLst>
              <a:ext uri="{FF2B5EF4-FFF2-40B4-BE49-F238E27FC236}">
                <a16:creationId xmlns:a16="http://schemas.microsoft.com/office/drawing/2014/main" id="{26539CFD-4F5B-4E16-877C-14CEBF613425}"/>
              </a:ext>
            </a:extLst>
          </p:cNvPr>
          <p:cNvSpPr txBox="1"/>
          <p:nvPr/>
        </p:nvSpPr>
        <p:spPr>
          <a:xfrm>
            <a:off x="7780686" y="2250173"/>
            <a:ext cx="2096948" cy="306944"/>
          </a:xfrm>
          <a:prstGeom prst="rect">
            <a:avLst/>
          </a:prstGeom>
          <a:noFill/>
        </p:spPr>
        <p:txBody>
          <a:bodyPr wrap="square" lIns="0" tIns="0" rIns="0" bIns="0" rtlCol="0">
            <a:spAutoFit/>
          </a:bodyPr>
          <a:lstStyle>
            <a:defPPr>
              <a:defRPr lang="zh-CN"/>
            </a:defPPr>
            <a:lvl1pPr marR="0" lvl="0" indent="0" fontAlgn="auto">
              <a:lnSpc>
                <a:spcPct val="120000"/>
              </a:lnSpc>
              <a:spcBef>
                <a:spcPts val="1200"/>
              </a:spcBef>
              <a:spcAft>
                <a:spcPts val="0"/>
              </a:spcAft>
              <a:buClrTx/>
              <a:buSzTx/>
              <a:buFontTx/>
              <a:buNone/>
              <a:tabLst/>
              <a:defRPr kumimoji="0" b="0" i="0" u="none" strike="noStrike" cap="none" spc="0" normalizeH="0" baseline="0">
                <a:ln>
                  <a:noFill/>
                </a:ln>
                <a:solidFill>
                  <a:schemeClr val="tx1">
                    <a:lumMod val="75000"/>
                    <a:lumOff val="25000"/>
                  </a:schemeClr>
                </a:solidFill>
                <a:effectLst/>
                <a:uLnTx/>
                <a:uFillTx/>
                <a:latin typeface="+mj-ea"/>
                <a:ea typeface="+mj-ea"/>
              </a:defRPr>
            </a:lvl1pPr>
          </a:lstStyle>
          <a:p>
            <a:pPr marL="0" marR="0" lvl="0" indent="0" algn="l" defTabSz="914400" rtl="0" eaLnBrk="1" fontAlgn="auto" latinLnBrk="0" hangingPunct="1">
              <a:lnSpc>
                <a:spcPct val="120000"/>
              </a:lnSpc>
              <a:spcBef>
                <a:spcPts val="1200"/>
              </a:spcBef>
              <a:spcAft>
                <a:spcPts val="0"/>
              </a:spcAft>
              <a:buClrTx/>
              <a:buSzTx/>
              <a:buFontTx/>
              <a:buNone/>
              <a:tabLst/>
              <a:defRPr/>
            </a:pPr>
            <a:r>
              <a:rPr kumimoji="0" lang="en-US" sz="1800" b="0" i="0" u="none" strike="noStrike" kern="1200" cap="none" spc="0" normalizeH="0" baseline="0" noProof="0" dirty="0">
                <a:ln>
                  <a:noFill/>
                </a:ln>
                <a:solidFill>
                  <a:prstClr val="black">
                    <a:lumMod val="75000"/>
                    <a:lumOff val="25000"/>
                  </a:prstClr>
                </a:solidFill>
                <a:effectLst/>
                <a:uLnTx/>
                <a:uFillTx/>
                <a:latin typeface="HarmonyOS Sans SC Black"/>
                <a:cs typeface="+mn-cs"/>
              </a:rPr>
              <a:t>Write title here</a:t>
            </a:r>
          </a:p>
        </p:txBody>
      </p:sp>
      <p:sp>
        <p:nvSpPr>
          <p:cNvPr id="41" name="TextBox 25">
            <a:extLst>
              <a:ext uri="{FF2B5EF4-FFF2-40B4-BE49-F238E27FC236}">
                <a16:creationId xmlns:a16="http://schemas.microsoft.com/office/drawing/2014/main" id="{BF18DF60-1A66-43A0-BD95-9DCD3DBBE1D6}"/>
              </a:ext>
            </a:extLst>
          </p:cNvPr>
          <p:cNvSpPr txBox="1"/>
          <p:nvPr/>
        </p:nvSpPr>
        <p:spPr>
          <a:xfrm>
            <a:off x="7780685" y="2614594"/>
            <a:ext cx="3547325" cy="169918"/>
          </a:xfrm>
          <a:prstGeom prst="rect">
            <a:avLst/>
          </a:prstGeom>
          <a:noFill/>
        </p:spPr>
        <p:txBody>
          <a:bodyPr wrap="square" lIns="0" tIns="0" rIns="0" bIns="0" rtlCol="0">
            <a:spAutoFit/>
          </a:bodyPr>
          <a:lstStyle>
            <a:defPPr>
              <a:defRPr lang="zh-CN"/>
            </a:defPPr>
            <a:lvl1pPr marR="0" lvl="0" indent="0" fontAlgn="auto">
              <a:lnSpc>
                <a:spcPct val="120000"/>
              </a:lnSpc>
              <a:spcBef>
                <a:spcPts val="1200"/>
              </a:spcBef>
              <a:spcAft>
                <a:spcPts val="0"/>
              </a:spcAft>
              <a:buClrTx/>
              <a:buSzTx/>
              <a:buFontTx/>
              <a:buNone/>
              <a:tabLst/>
              <a:defRPr kumimoji="0" sz="1000" b="0" i="0" u="none" strike="noStrike" cap="none" spc="0" normalizeH="0" baseline="0">
                <a:ln>
                  <a:noFill/>
                </a:ln>
                <a:solidFill>
                  <a:schemeClr val="tx1">
                    <a:lumMod val="50000"/>
                    <a:lumOff val="50000"/>
                  </a:schemeClr>
                </a:solidFill>
                <a:effectLst/>
                <a:uLnTx/>
                <a:uFillTx/>
                <a:latin typeface="+mn-ea"/>
              </a:defRPr>
            </a:lvl1pPr>
          </a:lstStyle>
          <a:p>
            <a:pPr marL="0" marR="0" lvl="0" indent="0" algn="l" defTabSz="914400" rtl="0" eaLnBrk="1" fontAlgn="auto" latinLnBrk="0" hangingPunct="1">
              <a:lnSpc>
                <a:spcPct val="120000"/>
              </a:lnSpc>
              <a:spcBef>
                <a:spcPts val="120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HarmonyOS Sans SC"/>
                <a:cs typeface="+mn-cs"/>
              </a:rPr>
              <a:t>The first people you’ll meet are our experts in business.</a:t>
            </a:r>
          </a:p>
        </p:txBody>
      </p:sp>
      <p:sp>
        <p:nvSpPr>
          <p:cNvPr id="42" name="TextBox 25">
            <a:extLst>
              <a:ext uri="{FF2B5EF4-FFF2-40B4-BE49-F238E27FC236}">
                <a16:creationId xmlns:a16="http://schemas.microsoft.com/office/drawing/2014/main" id="{4784DDB5-0481-445A-A290-B72F5C6C9A42}"/>
              </a:ext>
            </a:extLst>
          </p:cNvPr>
          <p:cNvSpPr txBox="1"/>
          <p:nvPr/>
        </p:nvSpPr>
        <p:spPr>
          <a:xfrm>
            <a:off x="4336883" y="5570186"/>
            <a:ext cx="2096948" cy="306944"/>
          </a:xfrm>
          <a:prstGeom prst="rect">
            <a:avLst/>
          </a:prstGeom>
          <a:noFill/>
        </p:spPr>
        <p:txBody>
          <a:bodyPr wrap="square" lIns="0" tIns="0" rIns="0" bIns="0" rtlCol="0">
            <a:spAutoFit/>
          </a:bodyPr>
          <a:lstStyle>
            <a:defPPr>
              <a:defRPr lang="zh-CN"/>
            </a:defPPr>
            <a:lvl1pPr marR="0" lvl="0" indent="0" fontAlgn="auto">
              <a:lnSpc>
                <a:spcPct val="120000"/>
              </a:lnSpc>
              <a:spcBef>
                <a:spcPts val="1200"/>
              </a:spcBef>
              <a:spcAft>
                <a:spcPts val="0"/>
              </a:spcAft>
              <a:buClrTx/>
              <a:buSzTx/>
              <a:buFontTx/>
              <a:buNone/>
              <a:tabLst/>
              <a:defRPr kumimoji="0" b="0" i="0" u="none" strike="noStrike" cap="none" spc="0" normalizeH="0" baseline="0">
                <a:ln>
                  <a:noFill/>
                </a:ln>
                <a:solidFill>
                  <a:schemeClr val="tx1">
                    <a:lumMod val="75000"/>
                    <a:lumOff val="25000"/>
                  </a:schemeClr>
                </a:solidFill>
                <a:effectLst/>
                <a:uLnTx/>
                <a:uFillTx/>
                <a:latin typeface="+mj-ea"/>
                <a:ea typeface="+mj-ea"/>
              </a:defRPr>
            </a:lvl1pPr>
          </a:lstStyle>
          <a:p>
            <a:pPr marL="0" marR="0" lvl="0" indent="0" algn="l" defTabSz="914400" rtl="0" eaLnBrk="1" fontAlgn="auto" latinLnBrk="0" hangingPunct="1">
              <a:lnSpc>
                <a:spcPct val="120000"/>
              </a:lnSpc>
              <a:spcBef>
                <a:spcPts val="1200"/>
              </a:spcBef>
              <a:spcAft>
                <a:spcPts val="0"/>
              </a:spcAft>
              <a:buClrTx/>
              <a:buSzTx/>
              <a:buFontTx/>
              <a:buNone/>
              <a:tabLst/>
              <a:defRPr/>
            </a:pPr>
            <a:r>
              <a:rPr kumimoji="0" lang="en-US" sz="1800" b="0" i="0" u="none" strike="noStrike" kern="1200" cap="none" spc="0" normalizeH="0" baseline="0" noProof="0" dirty="0">
                <a:ln>
                  <a:noFill/>
                </a:ln>
                <a:solidFill>
                  <a:prstClr val="black">
                    <a:lumMod val="75000"/>
                    <a:lumOff val="25000"/>
                  </a:prstClr>
                </a:solidFill>
                <a:effectLst/>
                <a:uLnTx/>
                <a:uFillTx/>
                <a:latin typeface="HarmonyOS Sans SC Black"/>
                <a:cs typeface="+mn-cs"/>
              </a:rPr>
              <a:t>Write title here</a:t>
            </a:r>
          </a:p>
        </p:txBody>
      </p:sp>
      <p:sp>
        <p:nvSpPr>
          <p:cNvPr id="43" name="TextBox 25">
            <a:extLst>
              <a:ext uri="{FF2B5EF4-FFF2-40B4-BE49-F238E27FC236}">
                <a16:creationId xmlns:a16="http://schemas.microsoft.com/office/drawing/2014/main" id="{9DC25D19-EE49-4209-B59B-B30160C4733B}"/>
              </a:ext>
            </a:extLst>
          </p:cNvPr>
          <p:cNvSpPr txBox="1"/>
          <p:nvPr/>
        </p:nvSpPr>
        <p:spPr>
          <a:xfrm>
            <a:off x="4336882" y="5934607"/>
            <a:ext cx="3547325" cy="169918"/>
          </a:xfrm>
          <a:prstGeom prst="rect">
            <a:avLst/>
          </a:prstGeom>
          <a:noFill/>
        </p:spPr>
        <p:txBody>
          <a:bodyPr wrap="square" lIns="0" tIns="0" rIns="0" bIns="0" rtlCol="0">
            <a:spAutoFit/>
          </a:bodyPr>
          <a:lstStyle>
            <a:defPPr>
              <a:defRPr lang="zh-CN"/>
            </a:defPPr>
            <a:lvl1pPr marR="0" lvl="0" indent="0" fontAlgn="auto">
              <a:lnSpc>
                <a:spcPct val="120000"/>
              </a:lnSpc>
              <a:spcBef>
                <a:spcPts val="1200"/>
              </a:spcBef>
              <a:spcAft>
                <a:spcPts val="0"/>
              </a:spcAft>
              <a:buClrTx/>
              <a:buSzTx/>
              <a:buFontTx/>
              <a:buNone/>
              <a:tabLst/>
              <a:defRPr kumimoji="0" sz="1000" b="0" i="0" u="none" strike="noStrike" cap="none" spc="0" normalizeH="0" baseline="0">
                <a:ln>
                  <a:noFill/>
                </a:ln>
                <a:solidFill>
                  <a:schemeClr val="tx1">
                    <a:lumMod val="50000"/>
                    <a:lumOff val="50000"/>
                  </a:schemeClr>
                </a:solidFill>
                <a:effectLst/>
                <a:uLnTx/>
                <a:uFillTx/>
                <a:latin typeface="+mn-ea"/>
              </a:defRPr>
            </a:lvl1pPr>
          </a:lstStyle>
          <a:p>
            <a:pPr marL="0" marR="0" lvl="0" indent="0" algn="l" defTabSz="914400" rtl="0" eaLnBrk="1" fontAlgn="auto" latinLnBrk="0" hangingPunct="1">
              <a:lnSpc>
                <a:spcPct val="120000"/>
              </a:lnSpc>
              <a:spcBef>
                <a:spcPts val="120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HarmonyOS Sans SC"/>
                <a:cs typeface="+mn-cs"/>
              </a:rPr>
              <a:t>The first people you’ll meet are our experts in business.</a:t>
            </a:r>
          </a:p>
        </p:txBody>
      </p:sp>
    </p:spTree>
    <p:extLst>
      <p:ext uri="{BB962C8B-B14F-4D97-AF65-F5344CB8AC3E}">
        <p14:creationId xmlns:p14="http://schemas.microsoft.com/office/powerpoint/2010/main" val="3407648272"/>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4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reeform 55">
            <a:extLst>
              <a:ext uri="{FF2B5EF4-FFF2-40B4-BE49-F238E27FC236}">
                <a16:creationId xmlns:a16="http://schemas.microsoft.com/office/drawing/2014/main" id="{C94637D1-3057-44FC-9346-A252F851F8F9}"/>
              </a:ext>
            </a:extLst>
          </p:cNvPr>
          <p:cNvSpPr>
            <a:spLocks/>
          </p:cNvSpPr>
          <p:nvPr/>
        </p:nvSpPr>
        <p:spPr bwMode="auto">
          <a:xfrm>
            <a:off x="8671434" y="3318869"/>
            <a:ext cx="2213735" cy="2791859"/>
          </a:xfrm>
          <a:custGeom>
            <a:avLst/>
            <a:gdLst>
              <a:gd name="T0" fmla="*/ 342 w 1027"/>
              <a:gd name="T1" fmla="*/ 562 h 1296"/>
              <a:gd name="T2" fmla="*/ 343 w 1027"/>
              <a:gd name="T3" fmla="*/ 594 h 1296"/>
              <a:gd name="T4" fmla="*/ 0 w 1027"/>
              <a:gd name="T5" fmla="*/ 1216 h 1296"/>
              <a:gd name="T6" fmla="*/ 325 w 1027"/>
              <a:gd name="T7" fmla="*/ 1296 h 1296"/>
              <a:gd name="T8" fmla="*/ 1027 w 1027"/>
              <a:gd name="T9" fmla="*/ 594 h 1296"/>
              <a:gd name="T10" fmla="*/ 698 w 1027"/>
              <a:gd name="T11" fmla="*/ 0 h 1296"/>
              <a:gd name="T12" fmla="*/ 342 w 1027"/>
              <a:gd name="T13" fmla="*/ 562 h 1296"/>
            </a:gdLst>
            <a:ahLst/>
            <a:cxnLst>
              <a:cxn ang="0">
                <a:pos x="T0" y="T1"/>
              </a:cxn>
              <a:cxn ang="0">
                <a:pos x="T2" y="T3"/>
              </a:cxn>
              <a:cxn ang="0">
                <a:pos x="T4" y="T5"/>
              </a:cxn>
              <a:cxn ang="0">
                <a:pos x="T6" y="T7"/>
              </a:cxn>
              <a:cxn ang="0">
                <a:pos x="T8" y="T9"/>
              </a:cxn>
              <a:cxn ang="0">
                <a:pos x="T10" y="T11"/>
              </a:cxn>
              <a:cxn ang="0">
                <a:pos x="T12" y="T13"/>
              </a:cxn>
            </a:cxnLst>
            <a:rect l="0" t="0" r="r" b="b"/>
            <a:pathLst>
              <a:path w="1027" h="1296">
                <a:moveTo>
                  <a:pt x="342" y="562"/>
                </a:moveTo>
                <a:cubicBezTo>
                  <a:pt x="342" y="572"/>
                  <a:pt x="343" y="583"/>
                  <a:pt x="343" y="594"/>
                </a:cubicBezTo>
                <a:cubicBezTo>
                  <a:pt x="343" y="855"/>
                  <a:pt x="206" y="1085"/>
                  <a:pt x="0" y="1216"/>
                </a:cubicBezTo>
                <a:cubicBezTo>
                  <a:pt x="97" y="1267"/>
                  <a:pt x="208" y="1296"/>
                  <a:pt x="325" y="1296"/>
                </a:cubicBezTo>
                <a:cubicBezTo>
                  <a:pt x="712" y="1296"/>
                  <a:pt x="1027" y="981"/>
                  <a:pt x="1027" y="594"/>
                </a:cubicBezTo>
                <a:cubicBezTo>
                  <a:pt x="1027" y="344"/>
                  <a:pt x="896" y="124"/>
                  <a:pt x="698" y="0"/>
                </a:cubicBezTo>
                <a:cubicBezTo>
                  <a:pt x="676" y="239"/>
                  <a:pt x="538" y="445"/>
                  <a:pt x="342" y="562"/>
                </a:cubicBezTo>
                <a:close/>
              </a:path>
            </a:pathLst>
          </a:custGeom>
          <a:gradFill>
            <a:gsLst>
              <a:gs pos="73000">
                <a:schemeClr val="accent1"/>
              </a:gs>
              <a:gs pos="31000">
                <a:schemeClr val="accent1">
                  <a:lumMod val="60000"/>
                  <a:lumOff val="40000"/>
                </a:schemeClr>
              </a:gs>
              <a:gs pos="0">
                <a:schemeClr val="accent1">
                  <a:lumMod val="40000"/>
                  <a:lumOff val="60000"/>
                </a:schemeClr>
              </a:gs>
            </a:gsLst>
            <a:path path="circle">
              <a:fillToRect r="100000" b="100000"/>
            </a:path>
          </a:gradFill>
          <a:ln>
            <a:noFill/>
          </a:ln>
          <a:effectLst>
            <a:outerShdw blurRad="444500" dist="317500" dir="5400000" sx="92000" sy="92000" algn="t" rotWithShape="0">
              <a:schemeClr val="accent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HarmonyOS Sans SC"/>
              <a:cs typeface="+mn-cs"/>
            </a:endParaRPr>
          </a:p>
        </p:txBody>
      </p:sp>
      <p:sp>
        <p:nvSpPr>
          <p:cNvPr id="5" name="Freeform 54">
            <a:extLst>
              <a:ext uri="{FF2B5EF4-FFF2-40B4-BE49-F238E27FC236}">
                <a16:creationId xmlns:a16="http://schemas.microsoft.com/office/drawing/2014/main" id="{F74490C0-54C7-45DF-B749-DB31A31B49A6}"/>
              </a:ext>
            </a:extLst>
          </p:cNvPr>
          <p:cNvSpPr>
            <a:spLocks/>
          </p:cNvSpPr>
          <p:nvPr/>
        </p:nvSpPr>
        <p:spPr bwMode="auto">
          <a:xfrm>
            <a:off x="7080608" y="1645674"/>
            <a:ext cx="3025517" cy="1563344"/>
          </a:xfrm>
          <a:custGeom>
            <a:avLst/>
            <a:gdLst>
              <a:gd name="T0" fmla="*/ 702 w 1403"/>
              <a:gd name="T1" fmla="*/ 725 h 725"/>
              <a:gd name="T2" fmla="*/ 1061 w 1403"/>
              <a:gd name="T3" fmla="*/ 631 h 725"/>
              <a:gd name="T4" fmla="*/ 1403 w 1403"/>
              <a:gd name="T5" fmla="*/ 715 h 725"/>
              <a:gd name="T6" fmla="*/ 1403 w 1403"/>
              <a:gd name="T7" fmla="*/ 702 h 725"/>
              <a:gd name="T8" fmla="*/ 702 w 1403"/>
              <a:gd name="T9" fmla="*/ 0 h 725"/>
              <a:gd name="T10" fmla="*/ 0 w 1403"/>
              <a:gd name="T11" fmla="*/ 702 h 725"/>
              <a:gd name="T12" fmla="*/ 0 w 1403"/>
              <a:gd name="T13" fmla="*/ 715 h 725"/>
              <a:gd name="T14" fmla="*/ 342 w 1403"/>
              <a:gd name="T15" fmla="*/ 631 h 725"/>
              <a:gd name="T16" fmla="*/ 702 w 1403"/>
              <a:gd name="T17" fmla="*/ 725 h 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03" h="725">
                <a:moveTo>
                  <a:pt x="702" y="725"/>
                </a:moveTo>
                <a:cubicBezTo>
                  <a:pt x="808" y="665"/>
                  <a:pt x="931" y="631"/>
                  <a:pt x="1061" y="631"/>
                </a:cubicBezTo>
                <a:cubicBezTo>
                  <a:pt x="1185" y="631"/>
                  <a:pt x="1301" y="661"/>
                  <a:pt x="1403" y="715"/>
                </a:cubicBezTo>
                <a:cubicBezTo>
                  <a:pt x="1403" y="711"/>
                  <a:pt x="1403" y="706"/>
                  <a:pt x="1403" y="702"/>
                </a:cubicBezTo>
                <a:cubicBezTo>
                  <a:pt x="1403" y="315"/>
                  <a:pt x="1089" y="0"/>
                  <a:pt x="702" y="0"/>
                </a:cubicBezTo>
                <a:cubicBezTo>
                  <a:pt x="315" y="0"/>
                  <a:pt x="0" y="315"/>
                  <a:pt x="0" y="702"/>
                </a:cubicBezTo>
                <a:cubicBezTo>
                  <a:pt x="0" y="706"/>
                  <a:pt x="0" y="711"/>
                  <a:pt x="0" y="715"/>
                </a:cubicBezTo>
                <a:cubicBezTo>
                  <a:pt x="103" y="661"/>
                  <a:pt x="219" y="631"/>
                  <a:pt x="342" y="631"/>
                </a:cubicBezTo>
                <a:cubicBezTo>
                  <a:pt x="473" y="631"/>
                  <a:pt x="595" y="665"/>
                  <a:pt x="702" y="725"/>
                </a:cubicBezTo>
                <a:close/>
              </a:path>
            </a:pathLst>
          </a:custGeom>
          <a:gradFill>
            <a:gsLst>
              <a:gs pos="73000">
                <a:schemeClr val="accent1"/>
              </a:gs>
              <a:gs pos="31000">
                <a:schemeClr val="accent1">
                  <a:lumMod val="60000"/>
                  <a:lumOff val="40000"/>
                </a:schemeClr>
              </a:gs>
              <a:gs pos="0">
                <a:schemeClr val="accent1">
                  <a:lumMod val="40000"/>
                  <a:lumOff val="60000"/>
                </a:schemeClr>
              </a:gs>
            </a:gsLst>
            <a:path path="circle">
              <a:fillToRect r="100000" b="100000"/>
            </a:path>
          </a:gradFill>
          <a:ln>
            <a:noFill/>
          </a:ln>
          <a:effectLst>
            <a:outerShdw blurRad="444500" dist="317500" dir="5400000" sx="92000" sy="92000" algn="t" rotWithShape="0">
              <a:schemeClr val="accent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HarmonyOS Sans SC"/>
              <a:cs typeface="+mn-cs"/>
            </a:endParaRPr>
          </a:p>
        </p:txBody>
      </p:sp>
      <p:sp>
        <p:nvSpPr>
          <p:cNvPr id="7" name="Freeform 57">
            <a:extLst>
              <a:ext uri="{FF2B5EF4-FFF2-40B4-BE49-F238E27FC236}">
                <a16:creationId xmlns:a16="http://schemas.microsoft.com/office/drawing/2014/main" id="{D75C5C5A-DA86-4800-958E-6BAA1F5BE65C}"/>
              </a:ext>
            </a:extLst>
          </p:cNvPr>
          <p:cNvSpPr>
            <a:spLocks/>
          </p:cNvSpPr>
          <p:nvPr/>
        </p:nvSpPr>
        <p:spPr bwMode="auto">
          <a:xfrm>
            <a:off x="6303985" y="3319891"/>
            <a:ext cx="2211326" cy="2791859"/>
          </a:xfrm>
          <a:custGeom>
            <a:avLst/>
            <a:gdLst>
              <a:gd name="T0" fmla="*/ 684 w 1026"/>
              <a:gd name="T1" fmla="*/ 594 h 1296"/>
              <a:gd name="T2" fmla="*/ 685 w 1026"/>
              <a:gd name="T3" fmla="*/ 562 h 1296"/>
              <a:gd name="T4" fmla="*/ 328 w 1026"/>
              <a:gd name="T5" fmla="*/ 0 h 1296"/>
              <a:gd name="T6" fmla="*/ 0 w 1026"/>
              <a:gd name="T7" fmla="*/ 594 h 1296"/>
              <a:gd name="T8" fmla="*/ 701 w 1026"/>
              <a:gd name="T9" fmla="*/ 1296 h 1296"/>
              <a:gd name="T10" fmla="*/ 1026 w 1026"/>
              <a:gd name="T11" fmla="*/ 1216 h 1296"/>
              <a:gd name="T12" fmla="*/ 684 w 1026"/>
              <a:gd name="T13" fmla="*/ 594 h 1296"/>
            </a:gdLst>
            <a:ahLst/>
            <a:cxnLst>
              <a:cxn ang="0">
                <a:pos x="T0" y="T1"/>
              </a:cxn>
              <a:cxn ang="0">
                <a:pos x="T2" y="T3"/>
              </a:cxn>
              <a:cxn ang="0">
                <a:pos x="T4" y="T5"/>
              </a:cxn>
              <a:cxn ang="0">
                <a:pos x="T6" y="T7"/>
              </a:cxn>
              <a:cxn ang="0">
                <a:pos x="T8" y="T9"/>
              </a:cxn>
              <a:cxn ang="0">
                <a:pos x="T10" y="T11"/>
              </a:cxn>
              <a:cxn ang="0">
                <a:pos x="T12" y="T13"/>
              </a:cxn>
            </a:cxnLst>
            <a:rect l="0" t="0" r="r" b="b"/>
            <a:pathLst>
              <a:path w="1026" h="1296">
                <a:moveTo>
                  <a:pt x="684" y="594"/>
                </a:moveTo>
                <a:cubicBezTo>
                  <a:pt x="684" y="583"/>
                  <a:pt x="684" y="572"/>
                  <a:pt x="685" y="562"/>
                </a:cubicBezTo>
                <a:cubicBezTo>
                  <a:pt x="489" y="445"/>
                  <a:pt x="351" y="239"/>
                  <a:pt x="328" y="0"/>
                </a:cubicBezTo>
                <a:cubicBezTo>
                  <a:pt x="131" y="124"/>
                  <a:pt x="0" y="344"/>
                  <a:pt x="0" y="594"/>
                </a:cubicBezTo>
                <a:cubicBezTo>
                  <a:pt x="0" y="981"/>
                  <a:pt x="315" y="1296"/>
                  <a:pt x="701" y="1296"/>
                </a:cubicBezTo>
                <a:cubicBezTo>
                  <a:pt x="819" y="1296"/>
                  <a:pt x="929" y="1267"/>
                  <a:pt x="1026" y="1216"/>
                </a:cubicBezTo>
                <a:cubicBezTo>
                  <a:pt x="821" y="1085"/>
                  <a:pt x="684" y="855"/>
                  <a:pt x="684" y="594"/>
                </a:cubicBezTo>
                <a:close/>
              </a:path>
            </a:pathLst>
          </a:custGeom>
          <a:gradFill>
            <a:gsLst>
              <a:gs pos="73000">
                <a:schemeClr val="accent1"/>
              </a:gs>
              <a:gs pos="31000">
                <a:schemeClr val="accent1">
                  <a:lumMod val="60000"/>
                  <a:lumOff val="40000"/>
                </a:schemeClr>
              </a:gs>
              <a:gs pos="0">
                <a:schemeClr val="accent1">
                  <a:lumMod val="40000"/>
                  <a:lumOff val="60000"/>
                </a:schemeClr>
              </a:gs>
            </a:gsLst>
            <a:path path="circle">
              <a:fillToRect r="100000" b="100000"/>
            </a:path>
          </a:gradFill>
          <a:ln>
            <a:noFill/>
          </a:ln>
          <a:effectLst>
            <a:outerShdw blurRad="444500" dist="317500" dir="5400000" sx="92000" sy="92000" algn="t" rotWithShape="0">
              <a:schemeClr val="accent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HarmonyOS Sans SC"/>
              <a:cs typeface="+mn-cs"/>
            </a:endParaRPr>
          </a:p>
        </p:txBody>
      </p:sp>
      <p:sp>
        <p:nvSpPr>
          <p:cNvPr id="2" name="AutoShape 52">
            <a:extLst>
              <a:ext uri="{FF2B5EF4-FFF2-40B4-BE49-F238E27FC236}">
                <a16:creationId xmlns:a16="http://schemas.microsoft.com/office/drawing/2014/main" id="{4995F94B-185C-41AD-9B78-E118BE057C5F}"/>
              </a:ext>
            </a:extLst>
          </p:cNvPr>
          <p:cNvSpPr>
            <a:spLocks noChangeAspect="1" noChangeArrowheads="1" noTextEdit="1"/>
          </p:cNvSpPr>
          <p:nvPr/>
        </p:nvSpPr>
        <p:spPr bwMode="auto">
          <a:xfrm>
            <a:off x="6313170" y="1645675"/>
            <a:ext cx="4572000" cy="44611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Roboto Light" charset="0"/>
              <a:ea typeface="+mn-ea"/>
              <a:cs typeface="+mn-cs"/>
            </a:endParaRPr>
          </a:p>
        </p:txBody>
      </p:sp>
      <p:sp>
        <p:nvSpPr>
          <p:cNvPr id="9" name="Freeform 848">
            <a:extLst>
              <a:ext uri="{FF2B5EF4-FFF2-40B4-BE49-F238E27FC236}">
                <a16:creationId xmlns:a16="http://schemas.microsoft.com/office/drawing/2014/main" id="{3753E946-1AC3-4482-B3C5-FD81B463A0B1}"/>
              </a:ext>
            </a:extLst>
          </p:cNvPr>
          <p:cNvSpPr>
            <a:spLocks noEditPoints="1"/>
          </p:cNvSpPr>
          <p:nvPr/>
        </p:nvSpPr>
        <p:spPr bwMode="auto">
          <a:xfrm>
            <a:off x="8246894" y="3707928"/>
            <a:ext cx="682702" cy="633087"/>
          </a:xfrm>
          <a:custGeom>
            <a:avLst/>
            <a:gdLst>
              <a:gd name="T0" fmla="*/ 125 w 160"/>
              <a:gd name="T1" fmla="*/ 53 h 147"/>
              <a:gd name="T2" fmla="*/ 93 w 160"/>
              <a:gd name="T3" fmla="*/ 15 h 147"/>
              <a:gd name="T4" fmla="*/ 80 w 160"/>
              <a:gd name="T5" fmla="*/ 0 h 147"/>
              <a:gd name="T6" fmla="*/ 67 w 160"/>
              <a:gd name="T7" fmla="*/ 15 h 147"/>
              <a:gd name="T8" fmla="*/ 35 w 160"/>
              <a:gd name="T9" fmla="*/ 53 h 147"/>
              <a:gd name="T10" fmla="*/ 17 w 160"/>
              <a:gd name="T11" fmla="*/ 121 h 147"/>
              <a:gd name="T12" fmla="*/ 18 w 160"/>
              <a:gd name="T13" fmla="*/ 125 h 147"/>
              <a:gd name="T14" fmla="*/ 57 w 160"/>
              <a:gd name="T15" fmla="*/ 132 h 147"/>
              <a:gd name="T16" fmla="*/ 104 w 160"/>
              <a:gd name="T17" fmla="*/ 132 h 147"/>
              <a:gd name="T18" fmla="*/ 143 w 160"/>
              <a:gd name="T19" fmla="*/ 125 h 147"/>
              <a:gd name="T20" fmla="*/ 144 w 160"/>
              <a:gd name="T21" fmla="*/ 121 h 147"/>
              <a:gd name="T22" fmla="*/ 72 w 160"/>
              <a:gd name="T23" fmla="*/ 13 h 147"/>
              <a:gd name="T24" fmla="*/ 88 w 160"/>
              <a:gd name="T25" fmla="*/ 13 h 147"/>
              <a:gd name="T26" fmla="*/ 72 w 160"/>
              <a:gd name="T27" fmla="*/ 14 h 147"/>
              <a:gd name="T28" fmla="*/ 80 w 160"/>
              <a:gd name="T29" fmla="*/ 141 h 147"/>
              <a:gd name="T30" fmla="*/ 80 w 160"/>
              <a:gd name="T31" fmla="*/ 133 h 147"/>
              <a:gd name="T32" fmla="*/ 80 w 160"/>
              <a:gd name="T33" fmla="*/ 141 h 147"/>
              <a:gd name="T34" fmla="*/ 102 w 160"/>
              <a:gd name="T35" fmla="*/ 127 h 147"/>
              <a:gd name="T36" fmla="*/ 97 w 160"/>
              <a:gd name="T37" fmla="*/ 127 h 147"/>
              <a:gd name="T38" fmla="*/ 91 w 160"/>
              <a:gd name="T39" fmla="*/ 128 h 147"/>
              <a:gd name="T40" fmla="*/ 86 w 160"/>
              <a:gd name="T41" fmla="*/ 128 h 147"/>
              <a:gd name="T42" fmla="*/ 76 w 160"/>
              <a:gd name="T43" fmla="*/ 128 h 147"/>
              <a:gd name="T44" fmla="*/ 70 w 160"/>
              <a:gd name="T45" fmla="*/ 128 h 147"/>
              <a:gd name="T46" fmla="*/ 65 w 160"/>
              <a:gd name="T47" fmla="*/ 127 h 147"/>
              <a:gd name="T48" fmla="*/ 59 w 160"/>
              <a:gd name="T49" fmla="*/ 127 h 147"/>
              <a:gd name="T50" fmla="*/ 44 w 160"/>
              <a:gd name="T51" fmla="*/ 124 h 147"/>
              <a:gd name="T52" fmla="*/ 40 w 160"/>
              <a:gd name="T53" fmla="*/ 77 h 147"/>
              <a:gd name="T54" fmla="*/ 61 w 160"/>
              <a:gd name="T55" fmla="*/ 23 h 147"/>
              <a:gd name="T56" fmla="*/ 70 w 160"/>
              <a:gd name="T57" fmla="*/ 20 h 147"/>
              <a:gd name="T58" fmla="*/ 90 w 160"/>
              <a:gd name="T59" fmla="*/ 20 h 147"/>
              <a:gd name="T60" fmla="*/ 120 w 160"/>
              <a:gd name="T61" fmla="*/ 53 h 147"/>
              <a:gd name="T62" fmla="*/ 137 w 160"/>
              <a:gd name="T63" fmla="*/ 121 h 147"/>
              <a:gd name="T64" fmla="*/ 98 w 160"/>
              <a:gd name="T65" fmla="*/ 34 h 147"/>
              <a:gd name="T66" fmla="*/ 66 w 160"/>
              <a:gd name="T67" fmla="*/ 35 h 147"/>
              <a:gd name="T68" fmla="*/ 51 w 160"/>
              <a:gd name="T69" fmla="*/ 56 h 147"/>
              <a:gd name="T70" fmla="*/ 48 w 160"/>
              <a:gd name="T71" fmla="*/ 53 h 147"/>
              <a:gd name="T72" fmla="*/ 97 w 160"/>
              <a:gd name="T73" fmla="*/ 30 h 147"/>
              <a:gd name="T74" fmla="*/ 13 w 160"/>
              <a:gd name="T75" fmla="*/ 58 h 147"/>
              <a:gd name="T76" fmla="*/ 13 w 160"/>
              <a:gd name="T77" fmla="*/ 94 h 147"/>
              <a:gd name="T78" fmla="*/ 11 w 160"/>
              <a:gd name="T79" fmla="*/ 99 h 147"/>
              <a:gd name="T80" fmla="*/ 0 w 160"/>
              <a:gd name="T81" fmla="*/ 76 h 147"/>
              <a:gd name="T82" fmla="*/ 13 w 160"/>
              <a:gd name="T83" fmla="*/ 54 h 147"/>
              <a:gd name="T84" fmla="*/ 20 w 160"/>
              <a:gd name="T85" fmla="*/ 92 h 147"/>
              <a:gd name="T86" fmla="*/ 24 w 160"/>
              <a:gd name="T87" fmla="*/ 59 h 147"/>
              <a:gd name="T88" fmla="*/ 24 w 160"/>
              <a:gd name="T89" fmla="*/ 88 h 147"/>
              <a:gd name="T90" fmla="*/ 22 w 160"/>
              <a:gd name="T91" fmla="*/ 93 h 147"/>
              <a:gd name="T92" fmla="*/ 160 w 160"/>
              <a:gd name="T93" fmla="*/ 76 h 147"/>
              <a:gd name="T94" fmla="*/ 149 w 160"/>
              <a:gd name="T95" fmla="*/ 99 h 147"/>
              <a:gd name="T96" fmla="*/ 147 w 160"/>
              <a:gd name="T97" fmla="*/ 94 h 147"/>
              <a:gd name="T98" fmla="*/ 147 w 160"/>
              <a:gd name="T99" fmla="*/ 58 h 147"/>
              <a:gd name="T100" fmla="*/ 151 w 160"/>
              <a:gd name="T101" fmla="*/ 54 h 147"/>
              <a:gd name="T102" fmla="*/ 140 w 160"/>
              <a:gd name="T103" fmla="*/ 59 h 147"/>
              <a:gd name="T104" fmla="*/ 138 w 160"/>
              <a:gd name="T105" fmla="*/ 93 h 147"/>
              <a:gd name="T106" fmla="*/ 136 w 160"/>
              <a:gd name="T107" fmla="*/ 88 h 147"/>
              <a:gd name="T108" fmla="*/ 136 w 160"/>
              <a:gd name="T109" fmla="*/ 59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60" h="147">
                <a:moveTo>
                  <a:pt x="125" y="77"/>
                </a:moveTo>
                <a:cubicBezTo>
                  <a:pt x="125" y="53"/>
                  <a:pt x="125" y="53"/>
                  <a:pt x="125" y="53"/>
                </a:cubicBezTo>
                <a:cubicBezTo>
                  <a:pt x="126" y="35"/>
                  <a:pt x="113" y="23"/>
                  <a:pt x="103" y="18"/>
                </a:cubicBezTo>
                <a:cubicBezTo>
                  <a:pt x="100" y="17"/>
                  <a:pt x="97" y="16"/>
                  <a:pt x="93" y="15"/>
                </a:cubicBezTo>
                <a:cubicBezTo>
                  <a:pt x="93" y="13"/>
                  <a:pt x="93" y="13"/>
                  <a:pt x="93" y="13"/>
                </a:cubicBezTo>
                <a:cubicBezTo>
                  <a:pt x="93" y="6"/>
                  <a:pt x="87" y="0"/>
                  <a:pt x="80" y="0"/>
                </a:cubicBezTo>
                <a:cubicBezTo>
                  <a:pt x="73" y="0"/>
                  <a:pt x="67" y="6"/>
                  <a:pt x="67" y="13"/>
                </a:cubicBezTo>
                <a:cubicBezTo>
                  <a:pt x="67" y="15"/>
                  <a:pt x="67" y="15"/>
                  <a:pt x="67" y="15"/>
                </a:cubicBezTo>
                <a:cubicBezTo>
                  <a:pt x="64" y="16"/>
                  <a:pt x="61" y="17"/>
                  <a:pt x="58" y="18"/>
                </a:cubicBezTo>
                <a:cubicBezTo>
                  <a:pt x="47" y="24"/>
                  <a:pt x="35" y="36"/>
                  <a:pt x="35" y="53"/>
                </a:cubicBezTo>
                <a:cubicBezTo>
                  <a:pt x="35" y="77"/>
                  <a:pt x="35" y="77"/>
                  <a:pt x="35" y="77"/>
                </a:cubicBezTo>
                <a:cubicBezTo>
                  <a:pt x="35" y="94"/>
                  <a:pt x="29" y="109"/>
                  <a:pt x="17" y="121"/>
                </a:cubicBezTo>
                <a:cubicBezTo>
                  <a:pt x="16" y="121"/>
                  <a:pt x="16" y="123"/>
                  <a:pt x="16" y="123"/>
                </a:cubicBezTo>
                <a:cubicBezTo>
                  <a:pt x="16" y="124"/>
                  <a:pt x="17" y="125"/>
                  <a:pt x="18" y="125"/>
                </a:cubicBezTo>
                <a:cubicBezTo>
                  <a:pt x="44" y="130"/>
                  <a:pt x="44" y="130"/>
                  <a:pt x="44" y="130"/>
                </a:cubicBezTo>
                <a:cubicBezTo>
                  <a:pt x="48" y="130"/>
                  <a:pt x="53" y="131"/>
                  <a:pt x="57" y="132"/>
                </a:cubicBezTo>
                <a:cubicBezTo>
                  <a:pt x="61" y="141"/>
                  <a:pt x="71" y="147"/>
                  <a:pt x="80" y="147"/>
                </a:cubicBezTo>
                <a:cubicBezTo>
                  <a:pt x="90" y="147"/>
                  <a:pt x="100" y="141"/>
                  <a:pt x="104" y="132"/>
                </a:cubicBezTo>
                <a:cubicBezTo>
                  <a:pt x="108" y="131"/>
                  <a:pt x="113" y="130"/>
                  <a:pt x="117" y="130"/>
                </a:cubicBezTo>
                <a:cubicBezTo>
                  <a:pt x="143" y="125"/>
                  <a:pt x="143" y="125"/>
                  <a:pt x="143" y="125"/>
                </a:cubicBezTo>
                <a:cubicBezTo>
                  <a:pt x="144" y="125"/>
                  <a:pt x="144" y="124"/>
                  <a:pt x="145" y="123"/>
                </a:cubicBezTo>
                <a:cubicBezTo>
                  <a:pt x="145" y="123"/>
                  <a:pt x="145" y="121"/>
                  <a:pt x="144" y="121"/>
                </a:cubicBezTo>
                <a:cubicBezTo>
                  <a:pt x="132" y="108"/>
                  <a:pt x="125" y="94"/>
                  <a:pt x="125" y="77"/>
                </a:cubicBezTo>
                <a:close/>
                <a:moveTo>
                  <a:pt x="72" y="13"/>
                </a:moveTo>
                <a:cubicBezTo>
                  <a:pt x="72" y="9"/>
                  <a:pt x="76" y="5"/>
                  <a:pt x="80" y="5"/>
                </a:cubicBezTo>
                <a:cubicBezTo>
                  <a:pt x="84" y="5"/>
                  <a:pt x="88" y="9"/>
                  <a:pt x="88" y="13"/>
                </a:cubicBezTo>
                <a:cubicBezTo>
                  <a:pt x="88" y="14"/>
                  <a:pt x="88" y="14"/>
                  <a:pt x="88" y="14"/>
                </a:cubicBezTo>
                <a:cubicBezTo>
                  <a:pt x="83" y="13"/>
                  <a:pt x="77" y="13"/>
                  <a:pt x="72" y="14"/>
                </a:cubicBezTo>
                <a:lnTo>
                  <a:pt x="72" y="13"/>
                </a:lnTo>
                <a:close/>
                <a:moveTo>
                  <a:pt x="80" y="141"/>
                </a:moveTo>
                <a:cubicBezTo>
                  <a:pt x="74" y="141"/>
                  <a:pt x="67" y="138"/>
                  <a:pt x="63" y="132"/>
                </a:cubicBezTo>
                <a:cubicBezTo>
                  <a:pt x="69" y="133"/>
                  <a:pt x="75" y="133"/>
                  <a:pt x="80" y="133"/>
                </a:cubicBezTo>
                <a:cubicBezTo>
                  <a:pt x="86" y="133"/>
                  <a:pt x="92" y="133"/>
                  <a:pt x="98" y="132"/>
                </a:cubicBezTo>
                <a:cubicBezTo>
                  <a:pt x="94" y="138"/>
                  <a:pt x="87" y="141"/>
                  <a:pt x="80" y="141"/>
                </a:cubicBezTo>
                <a:close/>
                <a:moveTo>
                  <a:pt x="116" y="124"/>
                </a:moveTo>
                <a:cubicBezTo>
                  <a:pt x="111" y="125"/>
                  <a:pt x="107" y="126"/>
                  <a:pt x="102" y="127"/>
                </a:cubicBezTo>
                <a:cubicBezTo>
                  <a:pt x="102" y="127"/>
                  <a:pt x="102" y="127"/>
                  <a:pt x="102" y="127"/>
                </a:cubicBezTo>
                <a:cubicBezTo>
                  <a:pt x="100" y="127"/>
                  <a:pt x="98" y="127"/>
                  <a:pt x="97" y="127"/>
                </a:cubicBezTo>
                <a:cubicBezTo>
                  <a:pt x="96" y="127"/>
                  <a:pt x="96" y="127"/>
                  <a:pt x="96" y="127"/>
                </a:cubicBezTo>
                <a:cubicBezTo>
                  <a:pt x="95" y="127"/>
                  <a:pt x="93" y="128"/>
                  <a:pt x="91" y="128"/>
                </a:cubicBezTo>
                <a:cubicBezTo>
                  <a:pt x="91" y="128"/>
                  <a:pt x="91" y="128"/>
                  <a:pt x="91" y="128"/>
                </a:cubicBezTo>
                <a:cubicBezTo>
                  <a:pt x="89" y="128"/>
                  <a:pt x="88" y="128"/>
                  <a:pt x="86" y="128"/>
                </a:cubicBezTo>
                <a:cubicBezTo>
                  <a:pt x="86" y="128"/>
                  <a:pt x="86" y="128"/>
                  <a:pt x="85" y="128"/>
                </a:cubicBezTo>
                <a:cubicBezTo>
                  <a:pt x="82" y="128"/>
                  <a:pt x="79" y="128"/>
                  <a:pt x="76" y="128"/>
                </a:cubicBezTo>
                <a:cubicBezTo>
                  <a:pt x="75" y="128"/>
                  <a:pt x="75" y="128"/>
                  <a:pt x="75" y="128"/>
                </a:cubicBezTo>
                <a:cubicBezTo>
                  <a:pt x="73" y="128"/>
                  <a:pt x="72" y="128"/>
                  <a:pt x="70" y="128"/>
                </a:cubicBezTo>
                <a:cubicBezTo>
                  <a:pt x="70" y="128"/>
                  <a:pt x="70" y="128"/>
                  <a:pt x="69" y="128"/>
                </a:cubicBezTo>
                <a:cubicBezTo>
                  <a:pt x="68" y="128"/>
                  <a:pt x="66" y="127"/>
                  <a:pt x="65" y="127"/>
                </a:cubicBezTo>
                <a:cubicBezTo>
                  <a:pt x="65" y="127"/>
                  <a:pt x="64" y="127"/>
                  <a:pt x="64" y="127"/>
                </a:cubicBezTo>
                <a:cubicBezTo>
                  <a:pt x="63" y="127"/>
                  <a:pt x="61" y="127"/>
                  <a:pt x="59" y="127"/>
                </a:cubicBezTo>
                <a:cubicBezTo>
                  <a:pt x="59" y="127"/>
                  <a:pt x="59" y="127"/>
                  <a:pt x="59" y="127"/>
                </a:cubicBezTo>
                <a:cubicBezTo>
                  <a:pt x="54" y="126"/>
                  <a:pt x="50" y="125"/>
                  <a:pt x="44" y="124"/>
                </a:cubicBezTo>
                <a:cubicBezTo>
                  <a:pt x="24" y="121"/>
                  <a:pt x="24" y="121"/>
                  <a:pt x="24" y="121"/>
                </a:cubicBezTo>
                <a:cubicBezTo>
                  <a:pt x="35" y="109"/>
                  <a:pt x="40" y="94"/>
                  <a:pt x="40" y="77"/>
                </a:cubicBezTo>
                <a:cubicBezTo>
                  <a:pt x="40" y="53"/>
                  <a:pt x="40" y="53"/>
                  <a:pt x="40" y="53"/>
                </a:cubicBezTo>
                <a:cubicBezTo>
                  <a:pt x="40" y="39"/>
                  <a:pt x="50" y="28"/>
                  <a:pt x="61" y="23"/>
                </a:cubicBezTo>
                <a:cubicBezTo>
                  <a:pt x="64" y="22"/>
                  <a:pt x="67" y="21"/>
                  <a:pt x="70" y="20"/>
                </a:cubicBezTo>
                <a:cubicBezTo>
                  <a:pt x="70" y="20"/>
                  <a:pt x="70" y="20"/>
                  <a:pt x="70" y="20"/>
                </a:cubicBezTo>
                <a:cubicBezTo>
                  <a:pt x="76" y="18"/>
                  <a:pt x="83" y="18"/>
                  <a:pt x="90" y="20"/>
                </a:cubicBezTo>
                <a:cubicBezTo>
                  <a:pt x="90" y="20"/>
                  <a:pt x="90" y="20"/>
                  <a:pt x="90" y="20"/>
                </a:cubicBezTo>
                <a:cubicBezTo>
                  <a:pt x="94" y="20"/>
                  <a:pt x="97" y="21"/>
                  <a:pt x="100" y="23"/>
                </a:cubicBezTo>
                <a:cubicBezTo>
                  <a:pt x="110" y="27"/>
                  <a:pt x="120" y="39"/>
                  <a:pt x="120" y="53"/>
                </a:cubicBezTo>
                <a:cubicBezTo>
                  <a:pt x="120" y="77"/>
                  <a:pt x="120" y="77"/>
                  <a:pt x="120" y="77"/>
                </a:cubicBezTo>
                <a:cubicBezTo>
                  <a:pt x="120" y="93"/>
                  <a:pt x="126" y="108"/>
                  <a:pt x="137" y="121"/>
                </a:cubicBezTo>
                <a:lnTo>
                  <a:pt x="116" y="124"/>
                </a:lnTo>
                <a:close/>
                <a:moveTo>
                  <a:pt x="98" y="34"/>
                </a:moveTo>
                <a:cubicBezTo>
                  <a:pt x="98" y="35"/>
                  <a:pt x="96" y="36"/>
                  <a:pt x="95" y="35"/>
                </a:cubicBezTo>
                <a:cubicBezTo>
                  <a:pt x="86" y="31"/>
                  <a:pt x="75" y="31"/>
                  <a:pt x="66" y="35"/>
                </a:cubicBezTo>
                <a:cubicBezTo>
                  <a:pt x="61" y="37"/>
                  <a:pt x="53" y="44"/>
                  <a:pt x="53" y="53"/>
                </a:cubicBezTo>
                <a:cubicBezTo>
                  <a:pt x="53" y="55"/>
                  <a:pt x="52" y="56"/>
                  <a:pt x="51" y="56"/>
                </a:cubicBezTo>
                <a:cubicBezTo>
                  <a:pt x="51" y="56"/>
                  <a:pt x="51" y="56"/>
                  <a:pt x="51" y="56"/>
                </a:cubicBezTo>
                <a:cubicBezTo>
                  <a:pt x="49" y="56"/>
                  <a:pt x="48" y="55"/>
                  <a:pt x="48" y="53"/>
                </a:cubicBezTo>
                <a:cubicBezTo>
                  <a:pt x="48" y="41"/>
                  <a:pt x="58" y="33"/>
                  <a:pt x="64" y="30"/>
                </a:cubicBezTo>
                <a:cubicBezTo>
                  <a:pt x="74" y="26"/>
                  <a:pt x="87" y="26"/>
                  <a:pt x="97" y="30"/>
                </a:cubicBezTo>
                <a:cubicBezTo>
                  <a:pt x="98" y="31"/>
                  <a:pt x="99" y="32"/>
                  <a:pt x="98" y="34"/>
                </a:cubicBezTo>
                <a:close/>
                <a:moveTo>
                  <a:pt x="13" y="58"/>
                </a:moveTo>
                <a:cubicBezTo>
                  <a:pt x="8" y="63"/>
                  <a:pt x="5" y="69"/>
                  <a:pt x="5" y="76"/>
                </a:cubicBezTo>
                <a:cubicBezTo>
                  <a:pt x="5" y="83"/>
                  <a:pt x="8" y="89"/>
                  <a:pt x="13" y="94"/>
                </a:cubicBezTo>
                <a:cubicBezTo>
                  <a:pt x="14" y="95"/>
                  <a:pt x="14" y="97"/>
                  <a:pt x="13" y="98"/>
                </a:cubicBezTo>
                <a:cubicBezTo>
                  <a:pt x="12" y="98"/>
                  <a:pt x="12" y="99"/>
                  <a:pt x="11" y="99"/>
                </a:cubicBezTo>
                <a:cubicBezTo>
                  <a:pt x="10" y="99"/>
                  <a:pt x="10" y="98"/>
                  <a:pt x="9" y="98"/>
                </a:cubicBezTo>
                <a:cubicBezTo>
                  <a:pt x="3" y="92"/>
                  <a:pt x="0" y="84"/>
                  <a:pt x="0" y="76"/>
                </a:cubicBezTo>
                <a:cubicBezTo>
                  <a:pt x="0" y="68"/>
                  <a:pt x="3" y="60"/>
                  <a:pt x="9" y="54"/>
                </a:cubicBezTo>
                <a:cubicBezTo>
                  <a:pt x="10" y="53"/>
                  <a:pt x="12" y="53"/>
                  <a:pt x="13" y="54"/>
                </a:cubicBezTo>
                <a:cubicBezTo>
                  <a:pt x="14" y="55"/>
                  <a:pt x="14" y="57"/>
                  <a:pt x="13" y="58"/>
                </a:cubicBezTo>
                <a:close/>
                <a:moveTo>
                  <a:pt x="20" y="92"/>
                </a:moveTo>
                <a:cubicBezTo>
                  <a:pt x="11" y="83"/>
                  <a:pt x="11" y="68"/>
                  <a:pt x="20" y="59"/>
                </a:cubicBezTo>
                <a:cubicBezTo>
                  <a:pt x="21" y="58"/>
                  <a:pt x="23" y="58"/>
                  <a:pt x="24" y="59"/>
                </a:cubicBezTo>
                <a:cubicBezTo>
                  <a:pt x="25" y="60"/>
                  <a:pt x="25" y="62"/>
                  <a:pt x="24" y="63"/>
                </a:cubicBezTo>
                <a:cubicBezTo>
                  <a:pt x="17" y="70"/>
                  <a:pt x="17" y="81"/>
                  <a:pt x="24" y="88"/>
                </a:cubicBezTo>
                <a:cubicBezTo>
                  <a:pt x="25" y="89"/>
                  <a:pt x="25" y="91"/>
                  <a:pt x="24" y="92"/>
                </a:cubicBezTo>
                <a:cubicBezTo>
                  <a:pt x="24" y="92"/>
                  <a:pt x="23" y="93"/>
                  <a:pt x="22" y="93"/>
                </a:cubicBezTo>
                <a:cubicBezTo>
                  <a:pt x="21" y="93"/>
                  <a:pt x="21" y="92"/>
                  <a:pt x="20" y="92"/>
                </a:cubicBezTo>
                <a:close/>
                <a:moveTo>
                  <a:pt x="160" y="76"/>
                </a:moveTo>
                <a:cubicBezTo>
                  <a:pt x="160" y="84"/>
                  <a:pt x="157" y="92"/>
                  <a:pt x="151" y="98"/>
                </a:cubicBezTo>
                <a:cubicBezTo>
                  <a:pt x="150" y="98"/>
                  <a:pt x="150" y="99"/>
                  <a:pt x="149" y="99"/>
                </a:cubicBezTo>
                <a:cubicBezTo>
                  <a:pt x="148" y="99"/>
                  <a:pt x="148" y="98"/>
                  <a:pt x="147" y="98"/>
                </a:cubicBezTo>
                <a:cubicBezTo>
                  <a:pt x="146" y="97"/>
                  <a:pt x="146" y="95"/>
                  <a:pt x="147" y="94"/>
                </a:cubicBezTo>
                <a:cubicBezTo>
                  <a:pt x="152" y="89"/>
                  <a:pt x="155" y="83"/>
                  <a:pt x="155" y="76"/>
                </a:cubicBezTo>
                <a:cubicBezTo>
                  <a:pt x="155" y="69"/>
                  <a:pt x="152" y="63"/>
                  <a:pt x="147" y="58"/>
                </a:cubicBezTo>
                <a:cubicBezTo>
                  <a:pt x="146" y="57"/>
                  <a:pt x="146" y="55"/>
                  <a:pt x="147" y="54"/>
                </a:cubicBezTo>
                <a:cubicBezTo>
                  <a:pt x="148" y="53"/>
                  <a:pt x="150" y="53"/>
                  <a:pt x="151" y="54"/>
                </a:cubicBezTo>
                <a:cubicBezTo>
                  <a:pt x="157" y="60"/>
                  <a:pt x="160" y="68"/>
                  <a:pt x="160" y="76"/>
                </a:cubicBezTo>
                <a:close/>
                <a:moveTo>
                  <a:pt x="140" y="59"/>
                </a:moveTo>
                <a:cubicBezTo>
                  <a:pt x="149" y="68"/>
                  <a:pt x="149" y="83"/>
                  <a:pt x="140" y="92"/>
                </a:cubicBezTo>
                <a:cubicBezTo>
                  <a:pt x="139" y="92"/>
                  <a:pt x="139" y="93"/>
                  <a:pt x="138" y="93"/>
                </a:cubicBezTo>
                <a:cubicBezTo>
                  <a:pt x="137" y="93"/>
                  <a:pt x="136" y="92"/>
                  <a:pt x="136" y="92"/>
                </a:cubicBezTo>
                <a:cubicBezTo>
                  <a:pt x="135" y="91"/>
                  <a:pt x="135" y="89"/>
                  <a:pt x="136" y="88"/>
                </a:cubicBezTo>
                <a:cubicBezTo>
                  <a:pt x="143" y="81"/>
                  <a:pt x="143" y="70"/>
                  <a:pt x="136" y="63"/>
                </a:cubicBezTo>
                <a:cubicBezTo>
                  <a:pt x="135" y="62"/>
                  <a:pt x="135" y="60"/>
                  <a:pt x="136" y="59"/>
                </a:cubicBezTo>
                <a:cubicBezTo>
                  <a:pt x="137" y="58"/>
                  <a:pt x="139" y="58"/>
                  <a:pt x="140" y="59"/>
                </a:cubicBezTo>
                <a:close/>
              </a:path>
            </a:pathLst>
          </a:custGeom>
          <a:gradFill>
            <a:gsLst>
              <a:gs pos="0">
                <a:schemeClr val="accent1">
                  <a:lumMod val="60000"/>
                  <a:lumOff val="40000"/>
                </a:schemeClr>
              </a:gs>
              <a:gs pos="100000">
                <a:schemeClr val="accent1"/>
              </a:gs>
            </a:gsLst>
            <a:lin ang="5400000" scaled="1"/>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HarmonyOS Sans SC"/>
              <a:cs typeface="+mn-cs"/>
            </a:endParaRPr>
          </a:p>
        </p:txBody>
      </p:sp>
      <p:cxnSp>
        <p:nvCxnSpPr>
          <p:cNvPr id="10" name="Straight Connector 17">
            <a:extLst>
              <a:ext uri="{FF2B5EF4-FFF2-40B4-BE49-F238E27FC236}">
                <a16:creationId xmlns:a16="http://schemas.microsoft.com/office/drawing/2014/main" id="{248EF7E8-C81D-4117-8802-929091E8C7FB}"/>
              </a:ext>
            </a:extLst>
          </p:cNvPr>
          <p:cNvCxnSpPr/>
          <p:nvPr/>
        </p:nvCxnSpPr>
        <p:spPr>
          <a:xfrm>
            <a:off x="1055688" y="2555357"/>
            <a:ext cx="970082" cy="0"/>
          </a:xfrm>
          <a:prstGeom prst="line">
            <a:avLst/>
          </a:prstGeom>
          <a:ln w="508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1" name="Right Triangle 61">
            <a:extLst>
              <a:ext uri="{FF2B5EF4-FFF2-40B4-BE49-F238E27FC236}">
                <a16:creationId xmlns:a16="http://schemas.microsoft.com/office/drawing/2014/main" id="{DDFF0C5F-8A62-45CE-9170-D8FB7060A57E}"/>
              </a:ext>
            </a:extLst>
          </p:cNvPr>
          <p:cNvSpPr/>
          <p:nvPr/>
        </p:nvSpPr>
        <p:spPr>
          <a:xfrm flipV="1">
            <a:off x="1055689" y="803583"/>
            <a:ext cx="72580" cy="72177"/>
          </a:xfrm>
          <a:prstGeom prst="r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HarmonyOS Sans SC"/>
              <a:cs typeface="+mn-cs"/>
            </a:endParaRPr>
          </a:p>
        </p:txBody>
      </p:sp>
      <p:sp>
        <p:nvSpPr>
          <p:cNvPr id="22" name="文本框 21">
            <a:extLst>
              <a:ext uri="{FF2B5EF4-FFF2-40B4-BE49-F238E27FC236}">
                <a16:creationId xmlns:a16="http://schemas.microsoft.com/office/drawing/2014/main" id="{068A2B43-8E33-4F41-AB1D-2BE43A661C63}"/>
              </a:ext>
            </a:extLst>
          </p:cNvPr>
          <p:cNvSpPr txBox="1"/>
          <p:nvPr/>
        </p:nvSpPr>
        <p:spPr>
          <a:xfrm>
            <a:off x="941388" y="918105"/>
            <a:ext cx="3076483"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2800" b="0" i="0" u="none" strike="noStrike" kern="1200" cap="none" spc="0" normalizeH="0" baseline="0" noProof="0" dirty="0">
                <a:ln>
                  <a:noFill/>
                </a:ln>
                <a:solidFill>
                  <a:prstClr val="black"/>
                </a:solidFill>
                <a:effectLst/>
                <a:uLnTx/>
                <a:uFillTx/>
                <a:latin typeface="HarmonyOS Sans Black"/>
                <a:ea typeface="+mj-ea"/>
                <a:cs typeface="+mn-cs"/>
              </a:rPr>
              <a:t>Oval</a:t>
            </a:r>
            <a:r>
              <a:rPr kumimoji="0" lang="en-US" altLang="zh-CN" sz="1800" b="0" i="0" u="none" strike="noStrike" kern="1200" cap="none" spc="0" normalizeH="0" baseline="0" noProof="0" dirty="0">
                <a:ln>
                  <a:noFill/>
                </a:ln>
                <a:solidFill>
                  <a:prstClr val="black"/>
                </a:solidFill>
                <a:effectLst/>
                <a:uLnTx/>
                <a:uFillTx/>
                <a:latin typeface="HarmonyOS Sans SC"/>
                <a:cs typeface="+mn-cs"/>
              </a:rPr>
              <a:t> </a:t>
            </a:r>
            <a:r>
              <a:rPr kumimoji="0" lang="en-US" altLang="zh-CN" sz="2800" b="0" i="0" u="none" strike="noStrike" kern="1200" cap="none" spc="0" normalizeH="0" baseline="0" noProof="0" dirty="0">
                <a:ln>
                  <a:noFill/>
                </a:ln>
                <a:solidFill>
                  <a:schemeClr val="accent1"/>
                </a:solidFill>
                <a:effectLst/>
                <a:uLnTx/>
                <a:uFillTx/>
                <a:latin typeface="HarmonyOS Sans Black"/>
                <a:ea typeface="+mj-ea"/>
                <a:cs typeface="+mn-cs"/>
              </a:rPr>
              <a:t>Infographic</a:t>
            </a:r>
          </a:p>
        </p:txBody>
      </p:sp>
      <p:sp>
        <p:nvSpPr>
          <p:cNvPr id="23" name="TextBox 18">
            <a:extLst>
              <a:ext uri="{FF2B5EF4-FFF2-40B4-BE49-F238E27FC236}">
                <a16:creationId xmlns:a16="http://schemas.microsoft.com/office/drawing/2014/main" id="{8454A9FD-D200-4763-A546-CC38571C6437}"/>
              </a:ext>
            </a:extLst>
          </p:cNvPr>
          <p:cNvSpPr txBox="1"/>
          <p:nvPr/>
        </p:nvSpPr>
        <p:spPr>
          <a:xfrm>
            <a:off x="1055688" y="2761535"/>
            <a:ext cx="3406776" cy="379647"/>
          </a:xfrm>
          <a:prstGeom prst="rect">
            <a:avLst/>
          </a:prstGeom>
          <a:noFill/>
        </p:spPr>
        <p:txBody>
          <a:bodyPr wrap="square" lIns="0" tIns="36000" rIns="216000" bIns="36000" rtlCol="0">
            <a:spAutoFit/>
          </a:bodyPr>
          <a:lstStyle/>
          <a:p>
            <a:pPr marL="0" marR="0" lvl="0" indent="0" algn="l" defTabSz="914400" rtl="0" eaLnBrk="1" fontAlgn="auto" latinLnBrk="0" hangingPunct="1">
              <a:lnSpc>
                <a:spcPct val="120000"/>
              </a:lnSpc>
              <a:spcBef>
                <a:spcPts val="1200"/>
              </a:spcBef>
              <a:spcAft>
                <a:spcPts val="0"/>
              </a:spcAft>
              <a:buClrTx/>
              <a:buSzTx/>
              <a:buFontTx/>
              <a:buNone/>
              <a:tabLst/>
              <a:defRPr/>
            </a:pPr>
            <a:r>
              <a:rPr kumimoji="0" lang="en-US" sz="1800" b="0" i="0" u="none" strike="noStrike" kern="1200" cap="none" spc="0" normalizeH="0" baseline="0" noProof="0" dirty="0">
                <a:ln>
                  <a:noFill/>
                </a:ln>
                <a:solidFill>
                  <a:schemeClr val="accent1"/>
                </a:solidFill>
                <a:effectLst/>
                <a:uLnTx/>
                <a:uFillTx/>
                <a:latin typeface="HarmonyOS Sans SC Black"/>
                <a:ea typeface="+mj-ea"/>
                <a:cs typeface="+mn-cs"/>
              </a:rPr>
              <a:t>Subtitle</a:t>
            </a:r>
            <a:endParaRPr kumimoji="0" lang="en-US" sz="1100" b="0" i="0" u="none" strike="noStrike" kern="1200" cap="none" spc="0" normalizeH="0" baseline="0" noProof="0" dirty="0">
              <a:ln>
                <a:noFill/>
              </a:ln>
              <a:solidFill>
                <a:schemeClr val="accent1"/>
              </a:solidFill>
              <a:effectLst/>
              <a:uLnTx/>
              <a:uFillTx/>
              <a:latin typeface="HarmonyOS Sans SC Black"/>
              <a:ea typeface="+mj-ea"/>
              <a:cs typeface="+mn-cs"/>
            </a:endParaRPr>
          </a:p>
        </p:txBody>
      </p:sp>
      <p:sp>
        <p:nvSpPr>
          <p:cNvPr id="24" name="TextBox 18">
            <a:extLst>
              <a:ext uri="{FF2B5EF4-FFF2-40B4-BE49-F238E27FC236}">
                <a16:creationId xmlns:a16="http://schemas.microsoft.com/office/drawing/2014/main" id="{F48F9AC1-2E2D-40B0-848A-A8AEE8D99831}"/>
              </a:ext>
            </a:extLst>
          </p:cNvPr>
          <p:cNvSpPr txBox="1"/>
          <p:nvPr/>
        </p:nvSpPr>
        <p:spPr>
          <a:xfrm>
            <a:off x="1055687" y="3272582"/>
            <a:ext cx="4725987" cy="666584"/>
          </a:xfrm>
          <a:prstGeom prst="rect">
            <a:avLst/>
          </a:prstGeom>
          <a:noFill/>
        </p:spPr>
        <p:txBody>
          <a:bodyPr wrap="square" lIns="0" tIns="36000" rIns="216000" bIns="36000" rtlCol="0">
            <a:spAutoFit/>
          </a:bodyPr>
          <a:lstStyle/>
          <a:p>
            <a:pPr marL="0" marR="0" lvl="0" indent="0" algn="l" defTabSz="914400" rtl="0" eaLnBrk="1" fontAlgn="auto" latinLnBrk="0" hangingPunct="1">
              <a:lnSpc>
                <a:spcPct val="120000"/>
              </a:lnSpc>
              <a:spcBef>
                <a:spcPts val="1200"/>
              </a:spcBef>
              <a:spcAft>
                <a:spcPts val="0"/>
              </a:spcAft>
              <a:buClrTx/>
              <a:buSzTx/>
              <a:buFontTx/>
              <a:buNone/>
              <a:tabLst/>
              <a:defRPr/>
            </a:pPr>
            <a:r>
              <a:rPr kumimoji="0" lang="en-US" sz="1100" b="0" i="0" u="none" strike="noStrike" kern="1200" cap="none" spc="0" normalizeH="0" baseline="0" noProof="0" dirty="0">
                <a:ln>
                  <a:noFill/>
                </a:ln>
                <a:solidFill>
                  <a:prstClr val="black">
                    <a:lumMod val="75000"/>
                    <a:lumOff val="25000"/>
                  </a:prstClr>
                </a:solidFill>
                <a:effectLst/>
                <a:uLnTx/>
                <a:uFillTx/>
                <a:latin typeface="HarmonyOS Sans SC Black"/>
                <a:ea typeface="+mj-ea"/>
                <a:cs typeface="+mn-cs"/>
              </a:rPr>
              <a:t>A peep at some distant orb has power to raise and purify our thoughts like a strain of sacred music, or a noble picture, or a passage from the grander poets. It always does one good. </a:t>
            </a:r>
          </a:p>
        </p:txBody>
      </p:sp>
      <p:sp>
        <p:nvSpPr>
          <p:cNvPr id="25" name="TextBox 18">
            <a:extLst>
              <a:ext uri="{FF2B5EF4-FFF2-40B4-BE49-F238E27FC236}">
                <a16:creationId xmlns:a16="http://schemas.microsoft.com/office/drawing/2014/main" id="{25805E84-557B-4980-B2E7-B74B4E5A8108}"/>
              </a:ext>
            </a:extLst>
          </p:cNvPr>
          <p:cNvSpPr txBox="1"/>
          <p:nvPr/>
        </p:nvSpPr>
        <p:spPr>
          <a:xfrm>
            <a:off x="1055687" y="4408999"/>
            <a:ext cx="4249737" cy="462746"/>
          </a:xfrm>
          <a:prstGeom prst="rect">
            <a:avLst/>
          </a:prstGeom>
          <a:noFill/>
        </p:spPr>
        <p:txBody>
          <a:bodyPr wrap="square" lIns="0" tIns="36000" rIns="216000" bIns="36000" rtlCol="0">
            <a:spAutoFit/>
          </a:bodyPr>
          <a:lstStyle/>
          <a:p>
            <a:pPr marL="171450" marR="0" lvl="0" indent="-171450" algn="l" defTabSz="914400" rtl="0" eaLnBrk="1" fontAlgn="auto" latinLnBrk="0" hangingPunct="1">
              <a:lnSpc>
                <a:spcPct val="120000"/>
              </a:lnSpc>
              <a:spcBef>
                <a:spcPts val="1200"/>
              </a:spcBef>
              <a:spcAft>
                <a:spcPts val="0"/>
              </a:spcAft>
              <a:buClr>
                <a:srgbClr val="5CE0CE"/>
              </a:buClr>
              <a:buSzTx/>
              <a:buFont typeface="Arial" panose="020B0604020202020204" pitchFamily="34" charset="0"/>
              <a:buChar char="•"/>
              <a:tabLst/>
              <a:defRPr/>
            </a:pPr>
            <a:r>
              <a:rPr kumimoji="0" lang="en-US" sz="1100" b="0" i="0" u="none" strike="noStrike" kern="1200" cap="none" spc="0" normalizeH="0" baseline="0" noProof="0" dirty="0">
                <a:ln>
                  <a:noFill/>
                </a:ln>
                <a:solidFill>
                  <a:prstClr val="black">
                    <a:lumMod val="50000"/>
                    <a:lumOff val="50000"/>
                  </a:prstClr>
                </a:solidFill>
                <a:effectLst/>
                <a:uLnTx/>
                <a:uFillTx/>
                <a:latin typeface="HarmonyOS Sans SC"/>
                <a:cs typeface="+mn-cs"/>
              </a:rPr>
              <a:t>A peep at some distant orb has power to raise and purify our thoughts like a strain of sacred music.</a:t>
            </a:r>
          </a:p>
        </p:txBody>
      </p:sp>
      <p:sp>
        <p:nvSpPr>
          <p:cNvPr id="26" name="TextBox 18">
            <a:extLst>
              <a:ext uri="{FF2B5EF4-FFF2-40B4-BE49-F238E27FC236}">
                <a16:creationId xmlns:a16="http://schemas.microsoft.com/office/drawing/2014/main" id="{A9A86B78-82C2-4443-9A2D-A3A0F1D3647D}"/>
              </a:ext>
            </a:extLst>
          </p:cNvPr>
          <p:cNvSpPr txBox="1"/>
          <p:nvPr/>
        </p:nvSpPr>
        <p:spPr>
          <a:xfrm>
            <a:off x="1055687" y="4963659"/>
            <a:ext cx="4249737" cy="462746"/>
          </a:xfrm>
          <a:prstGeom prst="rect">
            <a:avLst/>
          </a:prstGeom>
          <a:noFill/>
        </p:spPr>
        <p:txBody>
          <a:bodyPr wrap="square" lIns="0" tIns="36000" rIns="216000" bIns="36000" rtlCol="0">
            <a:spAutoFit/>
          </a:bodyPr>
          <a:lstStyle/>
          <a:p>
            <a:pPr marL="171450" marR="0" lvl="0" indent="-171450" algn="l" defTabSz="914400" rtl="0" eaLnBrk="1" fontAlgn="auto" latinLnBrk="0" hangingPunct="1">
              <a:lnSpc>
                <a:spcPct val="120000"/>
              </a:lnSpc>
              <a:spcBef>
                <a:spcPts val="1200"/>
              </a:spcBef>
              <a:spcAft>
                <a:spcPts val="0"/>
              </a:spcAft>
              <a:buClr>
                <a:srgbClr val="5CE0CE"/>
              </a:buClr>
              <a:buSzTx/>
              <a:buFont typeface="Arial" panose="020B0604020202020204" pitchFamily="34" charset="0"/>
              <a:buChar char="•"/>
              <a:tabLst/>
              <a:defRPr/>
            </a:pPr>
            <a:r>
              <a:rPr kumimoji="0" lang="en-US" sz="1100" b="0" i="0" u="none" strike="noStrike" kern="1200" cap="none" spc="0" normalizeH="0" baseline="0" noProof="0" dirty="0">
                <a:ln>
                  <a:noFill/>
                </a:ln>
                <a:solidFill>
                  <a:prstClr val="black">
                    <a:lumMod val="50000"/>
                    <a:lumOff val="50000"/>
                  </a:prstClr>
                </a:solidFill>
                <a:effectLst/>
                <a:uLnTx/>
                <a:uFillTx/>
                <a:latin typeface="HarmonyOS Sans SC"/>
                <a:cs typeface="+mn-cs"/>
              </a:rPr>
              <a:t>A noble picture, or a passage from the grander poets. It always does one good.</a:t>
            </a:r>
          </a:p>
        </p:txBody>
      </p:sp>
      <p:sp>
        <p:nvSpPr>
          <p:cNvPr id="28" name="TextBox 13">
            <a:extLst>
              <a:ext uri="{FF2B5EF4-FFF2-40B4-BE49-F238E27FC236}">
                <a16:creationId xmlns:a16="http://schemas.microsoft.com/office/drawing/2014/main" id="{F8A02FF1-12F7-4B02-8B3D-16A8DBB751D0}"/>
              </a:ext>
            </a:extLst>
          </p:cNvPr>
          <p:cNvSpPr txBox="1"/>
          <p:nvPr/>
        </p:nvSpPr>
        <p:spPr>
          <a:xfrm>
            <a:off x="7318599" y="2143561"/>
            <a:ext cx="2705669" cy="276605"/>
          </a:xfrm>
          <a:prstGeom prst="rect">
            <a:avLst/>
          </a:prstGeom>
          <a:noFill/>
        </p:spPr>
        <p:txBody>
          <a:bodyPr wrap="square" lIns="0" tIns="36000" rIns="216000" bIns="36000" rtlCol="0">
            <a:spAutoFit/>
          </a:bodyPr>
          <a:lstStyle/>
          <a:p>
            <a:pPr marL="0" marR="0" lvl="0" indent="0" algn="ctr" defTabSz="914400" rtl="0" eaLnBrk="1" fontAlgn="auto" latinLnBrk="0" hangingPunct="1">
              <a:lnSpc>
                <a:spcPct val="120000"/>
              </a:lnSpc>
              <a:spcBef>
                <a:spcPts val="120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HarmonyOS Sans SC Black"/>
                <a:ea typeface="+mj-ea"/>
                <a:cs typeface="+mn-cs"/>
              </a:rPr>
              <a:t>Write title here</a:t>
            </a:r>
          </a:p>
        </p:txBody>
      </p:sp>
      <p:sp>
        <p:nvSpPr>
          <p:cNvPr id="29" name="TextBox 13">
            <a:extLst>
              <a:ext uri="{FF2B5EF4-FFF2-40B4-BE49-F238E27FC236}">
                <a16:creationId xmlns:a16="http://schemas.microsoft.com/office/drawing/2014/main" id="{A1A657A7-CB03-4963-9379-D0419AB85614}"/>
              </a:ext>
            </a:extLst>
          </p:cNvPr>
          <p:cNvSpPr txBox="1"/>
          <p:nvPr/>
        </p:nvSpPr>
        <p:spPr>
          <a:xfrm>
            <a:off x="7318599" y="2420166"/>
            <a:ext cx="2705669" cy="427287"/>
          </a:xfrm>
          <a:prstGeom prst="rect">
            <a:avLst/>
          </a:prstGeom>
          <a:noFill/>
        </p:spPr>
        <p:txBody>
          <a:bodyPr wrap="square" lIns="0" tIns="36000" rIns="216000" bIns="36000" rtlCol="0">
            <a:spAutoFit/>
          </a:bodyPr>
          <a:lstStyle/>
          <a:p>
            <a:pPr marL="0" marR="0" lvl="0" indent="0" algn="ctr" defTabSz="914400" rtl="0" eaLnBrk="1" fontAlgn="auto" latinLnBrk="0" hangingPunct="1">
              <a:lnSpc>
                <a:spcPct val="120000"/>
              </a:lnSpc>
              <a:spcBef>
                <a:spcPts val="120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HarmonyOS Sans SC"/>
                <a:cs typeface="+mn-cs"/>
              </a:rPr>
              <a:t>A peep at some distant orb has power to raise and purify.</a:t>
            </a:r>
          </a:p>
        </p:txBody>
      </p:sp>
      <p:grpSp>
        <p:nvGrpSpPr>
          <p:cNvPr id="34" name="组合 33">
            <a:extLst>
              <a:ext uri="{FF2B5EF4-FFF2-40B4-BE49-F238E27FC236}">
                <a16:creationId xmlns:a16="http://schemas.microsoft.com/office/drawing/2014/main" id="{7EF693EE-C63B-46A9-8287-84D4629A41D4}"/>
              </a:ext>
            </a:extLst>
          </p:cNvPr>
          <p:cNvGrpSpPr/>
          <p:nvPr/>
        </p:nvGrpSpPr>
        <p:grpSpPr>
          <a:xfrm>
            <a:off x="6323631" y="4563815"/>
            <a:ext cx="1646644" cy="703892"/>
            <a:chOff x="5553382" y="4171148"/>
            <a:chExt cx="2705669" cy="703892"/>
          </a:xfrm>
        </p:grpSpPr>
        <p:sp>
          <p:nvSpPr>
            <p:cNvPr id="30" name="TextBox 13">
              <a:extLst>
                <a:ext uri="{FF2B5EF4-FFF2-40B4-BE49-F238E27FC236}">
                  <a16:creationId xmlns:a16="http://schemas.microsoft.com/office/drawing/2014/main" id="{F98EC3DB-5268-4EF8-A6D0-24128A6F1B59}"/>
                </a:ext>
              </a:extLst>
            </p:cNvPr>
            <p:cNvSpPr txBox="1"/>
            <p:nvPr/>
          </p:nvSpPr>
          <p:spPr>
            <a:xfrm>
              <a:off x="5553382" y="4171148"/>
              <a:ext cx="2705669" cy="276605"/>
            </a:xfrm>
            <a:prstGeom prst="rect">
              <a:avLst/>
            </a:prstGeom>
            <a:noFill/>
          </p:spPr>
          <p:txBody>
            <a:bodyPr wrap="square" lIns="0" tIns="36000" rIns="216000" bIns="36000" rtlCol="0">
              <a:spAutoFit/>
            </a:bodyPr>
            <a:lstStyle/>
            <a:p>
              <a:pPr marL="0" marR="0" lvl="0" indent="0" algn="ctr" defTabSz="914400" rtl="0" eaLnBrk="1" fontAlgn="auto" latinLnBrk="0" hangingPunct="1">
                <a:lnSpc>
                  <a:spcPct val="120000"/>
                </a:lnSpc>
                <a:spcBef>
                  <a:spcPts val="120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HarmonyOS Sans SC Black"/>
                  <a:ea typeface="+mj-ea"/>
                  <a:cs typeface="+mn-cs"/>
                </a:rPr>
                <a:t>Write title here</a:t>
              </a:r>
            </a:p>
          </p:txBody>
        </p:sp>
        <p:sp>
          <p:nvSpPr>
            <p:cNvPr id="31" name="TextBox 13">
              <a:extLst>
                <a:ext uri="{FF2B5EF4-FFF2-40B4-BE49-F238E27FC236}">
                  <a16:creationId xmlns:a16="http://schemas.microsoft.com/office/drawing/2014/main" id="{96B5DF1F-D61C-4A46-A53B-B1C59F99058A}"/>
                </a:ext>
              </a:extLst>
            </p:cNvPr>
            <p:cNvSpPr txBox="1"/>
            <p:nvPr/>
          </p:nvSpPr>
          <p:spPr>
            <a:xfrm>
              <a:off x="5553382" y="4447753"/>
              <a:ext cx="2705669" cy="427287"/>
            </a:xfrm>
            <a:prstGeom prst="rect">
              <a:avLst/>
            </a:prstGeom>
            <a:noFill/>
          </p:spPr>
          <p:txBody>
            <a:bodyPr wrap="square" lIns="0" tIns="36000" rIns="216000" bIns="36000" rtlCol="0">
              <a:spAutoFit/>
            </a:bodyPr>
            <a:lstStyle/>
            <a:p>
              <a:pPr marL="0" marR="0" lvl="0" indent="0" algn="ctr" defTabSz="914400" rtl="0" eaLnBrk="1" fontAlgn="auto" latinLnBrk="0" hangingPunct="1">
                <a:lnSpc>
                  <a:spcPct val="120000"/>
                </a:lnSpc>
                <a:spcBef>
                  <a:spcPts val="120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HarmonyOS Sans SC"/>
                  <a:cs typeface="+mn-cs"/>
                </a:rPr>
                <a:t>A peep at some </a:t>
              </a:r>
              <a:br>
                <a:rPr kumimoji="0" lang="en-US" sz="1000" b="0" i="0" u="none" strike="noStrike" kern="1200" cap="none" spc="0" normalizeH="0" baseline="0" noProof="0" dirty="0">
                  <a:ln>
                    <a:noFill/>
                  </a:ln>
                  <a:solidFill>
                    <a:prstClr val="white"/>
                  </a:solidFill>
                  <a:effectLst/>
                  <a:uLnTx/>
                  <a:uFillTx/>
                  <a:latin typeface="HarmonyOS Sans SC"/>
                  <a:cs typeface="+mn-cs"/>
                </a:rPr>
              </a:br>
              <a:r>
                <a:rPr kumimoji="0" lang="en-US" sz="1000" b="0" i="0" u="none" strike="noStrike" kern="1200" cap="none" spc="0" normalizeH="0" baseline="0" noProof="0" dirty="0">
                  <a:ln>
                    <a:noFill/>
                  </a:ln>
                  <a:solidFill>
                    <a:prstClr val="white"/>
                  </a:solidFill>
                  <a:effectLst/>
                  <a:uLnTx/>
                  <a:uFillTx/>
                  <a:latin typeface="HarmonyOS Sans SC"/>
                  <a:cs typeface="+mn-cs"/>
                </a:rPr>
                <a:t>distant orb.</a:t>
              </a:r>
            </a:p>
          </p:txBody>
        </p:sp>
      </p:grpSp>
      <p:grpSp>
        <p:nvGrpSpPr>
          <p:cNvPr id="35" name="组合 34">
            <a:extLst>
              <a:ext uri="{FF2B5EF4-FFF2-40B4-BE49-F238E27FC236}">
                <a16:creationId xmlns:a16="http://schemas.microsoft.com/office/drawing/2014/main" id="{38475565-F8E5-4866-8A3B-B3258E2EED75}"/>
              </a:ext>
            </a:extLst>
          </p:cNvPr>
          <p:cNvGrpSpPr/>
          <p:nvPr/>
        </p:nvGrpSpPr>
        <p:grpSpPr>
          <a:xfrm>
            <a:off x="9416131" y="4563815"/>
            <a:ext cx="1551834" cy="703892"/>
            <a:chOff x="8905009" y="5848204"/>
            <a:chExt cx="2705669" cy="703892"/>
          </a:xfrm>
        </p:grpSpPr>
        <p:sp>
          <p:nvSpPr>
            <p:cNvPr id="32" name="TextBox 13">
              <a:extLst>
                <a:ext uri="{FF2B5EF4-FFF2-40B4-BE49-F238E27FC236}">
                  <a16:creationId xmlns:a16="http://schemas.microsoft.com/office/drawing/2014/main" id="{E79957B4-AABD-4C84-B596-214EC488EBDE}"/>
                </a:ext>
              </a:extLst>
            </p:cNvPr>
            <p:cNvSpPr txBox="1"/>
            <p:nvPr/>
          </p:nvSpPr>
          <p:spPr>
            <a:xfrm>
              <a:off x="8905009" y="5848204"/>
              <a:ext cx="2705669" cy="276605"/>
            </a:xfrm>
            <a:prstGeom prst="rect">
              <a:avLst/>
            </a:prstGeom>
            <a:noFill/>
          </p:spPr>
          <p:txBody>
            <a:bodyPr wrap="square" lIns="0" tIns="36000" rIns="216000" bIns="36000" rtlCol="0">
              <a:spAutoFit/>
            </a:bodyPr>
            <a:lstStyle/>
            <a:p>
              <a:pPr marL="0" marR="0" lvl="0" indent="0" algn="ctr" defTabSz="914400" rtl="0" eaLnBrk="1" fontAlgn="auto" latinLnBrk="0" hangingPunct="1">
                <a:lnSpc>
                  <a:spcPct val="120000"/>
                </a:lnSpc>
                <a:spcBef>
                  <a:spcPts val="120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HarmonyOS Sans SC Black"/>
                  <a:ea typeface="+mj-ea"/>
                  <a:cs typeface="+mn-cs"/>
                </a:rPr>
                <a:t>Write title here</a:t>
              </a:r>
            </a:p>
          </p:txBody>
        </p:sp>
        <p:sp>
          <p:nvSpPr>
            <p:cNvPr id="33" name="TextBox 13">
              <a:extLst>
                <a:ext uri="{FF2B5EF4-FFF2-40B4-BE49-F238E27FC236}">
                  <a16:creationId xmlns:a16="http://schemas.microsoft.com/office/drawing/2014/main" id="{C9DF04F4-59B7-49BD-B550-B1DF38886CDB}"/>
                </a:ext>
              </a:extLst>
            </p:cNvPr>
            <p:cNvSpPr txBox="1"/>
            <p:nvPr/>
          </p:nvSpPr>
          <p:spPr>
            <a:xfrm>
              <a:off x="8905009" y="6124809"/>
              <a:ext cx="2705669" cy="427287"/>
            </a:xfrm>
            <a:prstGeom prst="rect">
              <a:avLst/>
            </a:prstGeom>
            <a:noFill/>
          </p:spPr>
          <p:txBody>
            <a:bodyPr wrap="square" lIns="0" tIns="36000" rIns="216000" bIns="36000" rtlCol="0">
              <a:spAutoFit/>
            </a:bodyPr>
            <a:lstStyle/>
            <a:p>
              <a:pPr marL="0" marR="0" lvl="0" indent="0" algn="ctr" defTabSz="914400" rtl="0" eaLnBrk="1" fontAlgn="auto" latinLnBrk="0" hangingPunct="1">
                <a:lnSpc>
                  <a:spcPct val="120000"/>
                </a:lnSpc>
                <a:spcBef>
                  <a:spcPts val="120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HarmonyOS Sans SC"/>
                  <a:cs typeface="+mn-cs"/>
                </a:rPr>
                <a:t>A peep at some </a:t>
              </a:r>
              <a:br>
                <a:rPr kumimoji="0" lang="en-US" sz="1000" b="0" i="0" u="none" strike="noStrike" kern="1200" cap="none" spc="0" normalizeH="0" baseline="0" noProof="0" dirty="0">
                  <a:ln>
                    <a:noFill/>
                  </a:ln>
                  <a:solidFill>
                    <a:prstClr val="white"/>
                  </a:solidFill>
                  <a:effectLst/>
                  <a:uLnTx/>
                  <a:uFillTx/>
                  <a:latin typeface="HarmonyOS Sans SC"/>
                  <a:cs typeface="+mn-cs"/>
                </a:rPr>
              </a:br>
              <a:r>
                <a:rPr kumimoji="0" lang="en-US" sz="1000" b="0" i="0" u="none" strike="noStrike" kern="1200" cap="none" spc="0" normalizeH="0" baseline="0" noProof="0" dirty="0">
                  <a:ln>
                    <a:noFill/>
                  </a:ln>
                  <a:solidFill>
                    <a:prstClr val="white"/>
                  </a:solidFill>
                  <a:effectLst/>
                  <a:uLnTx/>
                  <a:uFillTx/>
                  <a:latin typeface="HarmonyOS Sans SC"/>
                  <a:cs typeface="+mn-cs"/>
                </a:rPr>
                <a:t>distant orb.</a:t>
              </a:r>
            </a:p>
          </p:txBody>
        </p:sp>
      </p:grpSp>
      <p:sp>
        <p:nvSpPr>
          <p:cNvPr id="4" name="Freeform 56">
            <a:extLst>
              <a:ext uri="{FF2B5EF4-FFF2-40B4-BE49-F238E27FC236}">
                <a16:creationId xmlns:a16="http://schemas.microsoft.com/office/drawing/2014/main" id="{1090E0B9-9D99-497D-A089-FFB1A99AF05A}"/>
              </a:ext>
            </a:extLst>
          </p:cNvPr>
          <p:cNvSpPr>
            <a:spLocks/>
          </p:cNvSpPr>
          <p:nvPr/>
        </p:nvSpPr>
        <p:spPr bwMode="auto">
          <a:xfrm>
            <a:off x="8671434" y="3085209"/>
            <a:ext cx="1435676" cy="1361001"/>
          </a:xfrm>
          <a:custGeom>
            <a:avLst/>
            <a:gdLst>
              <a:gd name="T0" fmla="*/ 0 w 666"/>
              <a:gd name="T1" fmla="*/ 80 h 631"/>
              <a:gd name="T2" fmla="*/ 339 w 666"/>
              <a:gd name="T3" fmla="*/ 631 h 631"/>
              <a:gd name="T4" fmla="*/ 666 w 666"/>
              <a:gd name="T5" fmla="*/ 89 h 631"/>
              <a:gd name="T6" fmla="*/ 325 w 666"/>
              <a:gd name="T7" fmla="*/ 0 h 631"/>
              <a:gd name="T8" fmla="*/ 0 w 666"/>
              <a:gd name="T9" fmla="*/ 80 h 631"/>
            </a:gdLst>
            <a:ahLst/>
            <a:cxnLst>
              <a:cxn ang="0">
                <a:pos x="T0" y="T1"/>
              </a:cxn>
              <a:cxn ang="0">
                <a:pos x="T2" y="T3"/>
              </a:cxn>
              <a:cxn ang="0">
                <a:pos x="T4" y="T5"/>
              </a:cxn>
              <a:cxn ang="0">
                <a:pos x="T6" y="T7"/>
              </a:cxn>
              <a:cxn ang="0">
                <a:pos x="T8" y="T9"/>
              </a:cxn>
            </a:cxnLst>
            <a:rect l="0" t="0" r="r" b="b"/>
            <a:pathLst>
              <a:path w="666" h="631">
                <a:moveTo>
                  <a:pt x="0" y="80"/>
                </a:moveTo>
                <a:cubicBezTo>
                  <a:pt x="187" y="199"/>
                  <a:pt x="317" y="399"/>
                  <a:pt x="339" y="631"/>
                </a:cubicBezTo>
                <a:cubicBezTo>
                  <a:pt x="522" y="515"/>
                  <a:pt x="649" y="317"/>
                  <a:pt x="666" y="89"/>
                </a:cubicBezTo>
                <a:cubicBezTo>
                  <a:pt x="565" y="32"/>
                  <a:pt x="449" y="0"/>
                  <a:pt x="325" y="0"/>
                </a:cubicBezTo>
                <a:cubicBezTo>
                  <a:pt x="208" y="0"/>
                  <a:pt x="97" y="29"/>
                  <a:pt x="0" y="80"/>
                </a:cubicBezTo>
                <a:close/>
              </a:path>
            </a:pathLst>
          </a:custGeom>
          <a:noFill/>
          <a:ln w="12700">
            <a:gradFill>
              <a:gsLst>
                <a:gs pos="0">
                  <a:schemeClr val="accent1">
                    <a:lumMod val="60000"/>
                    <a:lumOff val="40000"/>
                  </a:schemeClr>
                </a:gs>
                <a:gs pos="100000">
                  <a:schemeClr val="accent1"/>
                </a:gs>
              </a:gsLst>
              <a:lin ang="5400000" scaled="1"/>
            </a:gradFill>
          </a:ln>
        </p:spPr>
        <p:txBody>
          <a:bodyPr vert="horz" wrap="square" lIns="274320" tIns="0" rIns="0" bIns="2743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gradFill>
                  <a:gsLst>
                    <a:gs pos="0">
                      <a:srgbClr val="5CE0CE">
                        <a:lumMod val="60000"/>
                        <a:lumOff val="40000"/>
                      </a:srgbClr>
                    </a:gs>
                    <a:gs pos="100000">
                      <a:srgbClr val="5CE0CE"/>
                    </a:gs>
                  </a:gsLst>
                  <a:lin ang="5400000" scaled="1"/>
                </a:gradFill>
                <a:effectLst/>
                <a:uLnTx/>
                <a:uFillTx/>
                <a:latin typeface="HarmonyOS Sans SC Black"/>
                <a:ea typeface="+mj-ea"/>
                <a:cs typeface="Roboto Light" charset="0"/>
              </a:rPr>
              <a:t>02</a:t>
            </a:r>
          </a:p>
        </p:txBody>
      </p:sp>
      <p:sp>
        <p:nvSpPr>
          <p:cNvPr id="6" name="Freeform 58">
            <a:extLst>
              <a:ext uri="{FF2B5EF4-FFF2-40B4-BE49-F238E27FC236}">
                <a16:creationId xmlns:a16="http://schemas.microsoft.com/office/drawing/2014/main" id="{72C104A7-921F-4E40-9B02-4E62CA6A4D6D}"/>
              </a:ext>
            </a:extLst>
          </p:cNvPr>
          <p:cNvSpPr>
            <a:spLocks/>
          </p:cNvSpPr>
          <p:nvPr/>
        </p:nvSpPr>
        <p:spPr bwMode="auto">
          <a:xfrm>
            <a:off x="7085426" y="3078940"/>
            <a:ext cx="1433267" cy="1361001"/>
          </a:xfrm>
          <a:custGeom>
            <a:avLst/>
            <a:gdLst>
              <a:gd name="T0" fmla="*/ 327 w 665"/>
              <a:gd name="T1" fmla="*/ 631 h 631"/>
              <a:gd name="T2" fmla="*/ 665 w 665"/>
              <a:gd name="T3" fmla="*/ 80 h 631"/>
              <a:gd name="T4" fmla="*/ 340 w 665"/>
              <a:gd name="T5" fmla="*/ 0 h 631"/>
              <a:gd name="T6" fmla="*/ 0 w 665"/>
              <a:gd name="T7" fmla="*/ 89 h 631"/>
              <a:gd name="T8" fmla="*/ 327 w 665"/>
              <a:gd name="T9" fmla="*/ 631 h 631"/>
            </a:gdLst>
            <a:ahLst/>
            <a:cxnLst>
              <a:cxn ang="0">
                <a:pos x="T0" y="T1"/>
              </a:cxn>
              <a:cxn ang="0">
                <a:pos x="T2" y="T3"/>
              </a:cxn>
              <a:cxn ang="0">
                <a:pos x="T4" y="T5"/>
              </a:cxn>
              <a:cxn ang="0">
                <a:pos x="T6" y="T7"/>
              </a:cxn>
              <a:cxn ang="0">
                <a:pos x="T8" y="T9"/>
              </a:cxn>
            </a:cxnLst>
            <a:rect l="0" t="0" r="r" b="b"/>
            <a:pathLst>
              <a:path w="665" h="631">
                <a:moveTo>
                  <a:pt x="327" y="631"/>
                </a:moveTo>
                <a:cubicBezTo>
                  <a:pt x="349" y="399"/>
                  <a:pt x="479" y="199"/>
                  <a:pt x="665" y="80"/>
                </a:cubicBezTo>
                <a:cubicBezTo>
                  <a:pt x="568" y="29"/>
                  <a:pt x="458" y="0"/>
                  <a:pt x="340" y="0"/>
                </a:cubicBezTo>
                <a:cubicBezTo>
                  <a:pt x="217" y="0"/>
                  <a:pt x="101" y="32"/>
                  <a:pt x="0" y="89"/>
                </a:cubicBezTo>
                <a:cubicBezTo>
                  <a:pt x="17" y="317"/>
                  <a:pt x="143" y="515"/>
                  <a:pt x="327" y="631"/>
                </a:cubicBezTo>
                <a:close/>
              </a:path>
            </a:pathLst>
          </a:custGeom>
          <a:noFill/>
          <a:ln w="12700">
            <a:gradFill>
              <a:gsLst>
                <a:gs pos="0">
                  <a:schemeClr val="accent1">
                    <a:lumMod val="60000"/>
                    <a:lumOff val="40000"/>
                  </a:schemeClr>
                </a:gs>
                <a:gs pos="100000">
                  <a:schemeClr val="accent1"/>
                </a:gs>
              </a:gsLst>
              <a:lin ang="5400000" scaled="1"/>
            </a:gradFill>
          </a:ln>
        </p:spPr>
        <p:txBody>
          <a:bodyPr vert="horz" wrap="square" lIns="91440" tIns="0" rIns="274320" bIns="2743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gradFill>
                  <a:gsLst>
                    <a:gs pos="0">
                      <a:srgbClr val="5CE0CE">
                        <a:lumMod val="60000"/>
                        <a:lumOff val="40000"/>
                      </a:srgbClr>
                    </a:gs>
                    <a:gs pos="100000">
                      <a:srgbClr val="5CE0CE"/>
                    </a:gs>
                  </a:gsLst>
                  <a:lin ang="5400000" scaled="1"/>
                </a:gradFill>
                <a:effectLst/>
                <a:uLnTx/>
                <a:uFillTx/>
                <a:latin typeface="HarmonyOS Sans SC Black"/>
                <a:ea typeface="+mj-ea"/>
                <a:cs typeface="Roboto Light" charset="0"/>
              </a:rPr>
              <a:t>01</a:t>
            </a:r>
          </a:p>
        </p:txBody>
      </p:sp>
      <p:sp>
        <p:nvSpPr>
          <p:cNvPr id="8" name="Freeform 59">
            <a:extLst>
              <a:ext uri="{FF2B5EF4-FFF2-40B4-BE49-F238E27FC236}">
                <a16:creationId xmlns:a16="http://schemas.microsoft.com/office/drawing/2014/main" id="{20AA5EC7-FAE1-48F3-93E3-91E22F05E9B0}"/>
              </a:ext>
            </a:extLst>
          </p:cNvPr>
          <p:cNvSpPr>
            <a:spLocks/>
          </p:cNvSpPr>
          <p:nvPr/>
        </p:nvSpPr>
        <p:spPr bwMode="auto">
          <a:xfrm>
            <a:off x="7855285" y="4570084"/>
            <a:ext cx="1474217" cy="1327278"/>
          </a:xfrm>
          <a:custGeom>
            <a:avLst/>
            <a:gdLst>
              <a:gd name="T0" fmla="*/ 684 w 684"/>
              <a:gd name="T1" fmla="*/ 13 h 615"/>
              <a:gd name="T2" fmla="*/ 684 w 684"/>
              <a:gd name="T3" fmla="*/ 0 h 615"/>
              <a:gd name="T4" fmla="*/ 342 w 684"/>
              <a:gd name="T5" fmla="*/ 84 h 615"/>
              <a:gd name="T6" fmla="*/ 0 w 684"/>
              <a:gd name="T7" fmla="*/ 0 h 615"/>
              <a:gd name="T8" fmla="*/ 0 w 684"/>
              <a:gd name="T9" fmla="*/ 13 h 615"/>
              <a:gd name="T10" fmla="*/ 342 w 684"/>
              <a:gd name="T11" fmla="*/ 615 h 615"/>
              <a:gd name="T12" fmla="*/ 684 w 684"/>
              <a:gd name="T13" fmla="*/ 13 h 615"/>
            </a:gdLst>
            <a:ahLst/>
            <a:cxnLst>
              <a:cxn ang="0">
                <a:pos x="T0" y="T1"/>
              </a:cxn>
              <a:cxn ang="0">
                <a:pos x="T2" y="T3"/>
              </a:cxn>
              <a:cxn ang="0">
                <a:pos x="T4" y="T5"/>
              </a:cxn>
              <a:cxn ang="0">
                <a:pos x="T6" y="T7"/>
              </a:cxn>
              <a:cxn ang="0">
                <a:pos x="T8" y="T9"/>
              </a:cxn>
              <a:cxn ang="0">
                <a:pos x="T10" y="T11"/>
              </a:cxn>
              <a:cxn ang="0">
                <a:pos x="T12" y="T13"/>
              </a:cxn>
            </a:cxnLst>
            <a:rect l="0" t="0" r="r" b="b"/>
            <a:pathLst>
              <a:path w="684" h="615">
                <a:moveTo>
                  <a:pt x="684" y="13"/>
                </a:moveTo>
                <a:cubicBezTo>
                  <a:pt x="684" y="9"/>
                  <a:pt x="684" y="4"/>
                  <a:pt x="684" y="0"/>
                </a:cubicBezTo>
                <a:cubicBezTo>
                  <a:pt x="582" y="54"/>
                  <a:pt x="465" y="84"/>
                  <a:pt x="342" y="84"/>
                </a:cubicBezTo>
                <a:cubicBezTo>
                  <a:pt x="218" y="84"/>
                  <a:pt x="102" y="54"/>
                  <a:pt x="0" y="0"/>
                </a:cubicBezTo>
                <a:cubicBezTo>
                  <a:pt x="0" y="4"/>
                  <a:pt x="0" y="9"/>
                  <a:pt x="0" y="13"/>
                </a:cubicBezTo>
                <a:cubicBezTo>
                  <a:pt x="0" y="269"/>
                  <a:pt x="137" y="493"/>
                  <a:pt x="342" y="615"/>
                </a:cubicBezTo>
                <a:cubicBezTo>
                  <a:pt x="547" y="493"/>
                  <a:pt x="684" y="269"/>
                  <a:pt x="684" y="13"/>
                </a:cubicBezTo>
                <a:close/>
              </a:path>
            </a:pathLst>
          </a:custGeom>
          <a:noFill/>
          <a:ln w="12700">
            <a:gradFill>
              <a:gsLst>
                <a:gs pos="0">
                  <a:schemeClr val="accent1">
                    <a:lumMod val="60000"/>
                    <a:lumOff val="40000"/>
                  </a:schemeClr>
                </a:gs>
                <a:gs pos="100000">
                  <a:schemeClr val="accent1"/>
                </a:gs>
              </a:gsLst>
              <a:lin ang="5400000" scaled="1"/>
            </a:gradFill>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gradFill>
                  <a:gsLst>
                    <a:gs pos="0">
                      <a:srgbClr val="5CE0CE">
                        <a:lumMod val="60000"/>
                        <a:lumOff val="40000"/>
                      </a:srgbClr>
                    </a:gs>
                    <a:gs pos="100000">
                      <a:srgbClr val="5CE0CE"/>
                    </a:gs>
                  </a:gsLst>
                  <a:lin ang="5400000" scaled="1"/>
                </a:gradFill>
                <a:effectLst/>
                <a:uLnTx/>
                <a:uFillTx/>
                <a:latin typeface="HarmonyOS Sans SC Black"/>
                <a:ea typeface="+mj-ea"/>
                <a:cs typeface="Roboto Light" charset="0"/>
              </a:rPr>
              <a:t>03</a:t>
            </a:r>
          </a:p>
        </p:txBody>
      </p:sp>
    </p:spTree>
    <p:extLst>
      <p:ext uri="{BB962C8B-B14F-4D97-AF65-F5344CB8AC3E}">
        <p14:creationId xmlns:p14="http://schemas.microsoft.com/office/powerpoint/2010/main" val="3479885641"/>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4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Right Triangle 61">
            <a:extLst>
              <a:ext uri="{FF2B5EF4-FFF2-40B4-BE49-F238E27FC236}">
                <a16:creationId xmlns:a16="http://schemas.microsoft.com/office/drawing/2014/main" id="{AFAB3C9A-1C1B-4936-88F1-B8BEB19EA091}"/>
              </a:ext>
            </a:extLst>
          </p:cNvPr>
          <p:cNvSpPr/>
          <p:nvPr/>
        </p:nvSpPr>
        <p:spPr>
          <a:xfrm flipV="1">
            <a:off x="1055689" y="803583"/>
            <a:ext cx="72580" cy="72177"/>
          </a:xfrm>
          <a:prstGeom prst="r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HarmonyOS Sans SC"/>
              <a:cs typeface="+mn-cs"/>
            </a:endParaRPr>
          </a:p>
        </p:txBody>
      </p:sp>
      <p:sp>
        <p:nvSpPr>
          <p:cNvPr id="48" name="文本框 47">
            <a:extLst>
              <a:ext uri="{FF2B5EF4-FFF2-40B4-BE49-F238E27FC236}">
                <a16:creationId xmlns:a16="http://schemas.microsoft.com/office/drawing/2014/main" id="{FC7F1FA3-6E6D-457F-85B5-B72FF16135A0}"/>
              </a:ext>
            </a:extLst>
          </p:cNvPr>
          <p:cNvSpPr txBox="1"/>
          <p:nvPr/>
        </p:nvSpPr>
        <p:spPr>
          <a:xfrm>
            <a:off x="941388" y="918105"/>
            <a:ext cx="3411511"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2800" b="0" i="0" u="none" strike="noStrike" kern="1200" cap="none" spc="0" normalizeH="0" baseline="0" noProof="0" dirty="0">
                <a:ln>
                  <a:noFill/>
                </a:ln>
                <a:solidFill>
                  <a:prstClr val="black"/>
                </a:solidFill>
                <a:effectLst/>
                <a:uLnTx/>
                <a:uFillTx/>
                <a:latin typeface="HarmonyOS Sans Black"/>
                <a:ea typeface="+mj-ea"/>
                <a:cs typeface="+mn-cs"/>
              </a:rPr>
              <a:t>Arrow </a:t>
            </a:r>
            <a:r>
              <a:rPr kumimoji="0" lang="en-US" altLang="zh-CN" sz="2800" b="0" i="0" u="none" strike="noStrike" kern="1200" cap="none" spc="0" normalizeH="0" baseline="0" noProof="0" dirty="0">
                <a:ln>
                  <a:noFill/>
                </a:ln>
                <a:solidFill>
                  <a:schemeClr val="accent1"/>
                </a:solidFill>
                <a:effectLst/>
                <a:uLnTx/>
                <a:uFillTx/>
                <a:latin typeface="HarmonyOS Sans Black"/>
                <a:ea typeface="+mj-ea"/>
                <a:cs typeface="+mn-cs"/>
              </a:rPr>
              <a:t>infographic</a:t>
            </a:r>
          </a:p>
        </p:txBody>
      </p:sp>
      <p:sp>
        <p:nvSpPr>
          <p:cNvPr id="4" name="Arrow: Pentagon 44">
            <a:extLst>
              <a:ext uri="{FF2B5EF4-FFF2-40B4-BE49-F238E27FC236}">
                <a16:creationId xmlns:a16="http://schemas.microsoft.com/office/drawing/2014/main" id="{8CADA9B7-5888-4E08-AE8E-F72A594B5A6E}"/>
              </a:ext>
            </a:extLst>
          </p:cNvPr>
          <p:cNvSpPr/>
          <p:nvPr/>
        </p:nvSpPr>
        <p:spPr>
          <a:xfrm rot="16200000">
            <a:off x="2706417" y="4112898"/>
            <a:ext cx="2096459" cy="1181954"/>
          </a:xfrm>
          <a:prstGeom prst="homePlate">
            <a:avLst>
              <a:gd name="adj" fmla="val 38782"/>
            </a:avLst>
          </a:prstGeom>
          <a:gradFill flip="none" rotWithShape="1">
            <a:gsLst>
              <a:gs pos="73000">
                <a:schemeClr val="accent1"/>
              </a:gs>
              <a:gs pos="31000">
                <a:schemeClr val="accent1">
                  <a:lumMod val="60000"/>
                  <a:lumOff val="40000"/>
                </a:schemeClr>
              </a:gs>
              <a:gs pos="0">
                <a:schemeClr val="accent1">
                  <a:lumMod val="40000"/>
                  <a:lumOff val="6000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vert="vert" lIns="0" tIns="0" rIns="457200" bIns="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0F0F0"/>
                </a:solidFill>
                <a:effectLst/>
                <a:uLnTx/>
                <a:uFillTx/>
                <a:latin typeface="HarmonyOS Sans SC"/>
                <a:cs typeface="+mn-cs"/>
              </a:rPr>
              <a:t>STEP</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0F0F0"/>
                </a:solidFill>
                <a:effectLst/>
                <a:uLnTx/>
                <a:uFillTx/>
                <a:latin typeface="HarmonyOS Sans SC"/>
                <a:cs typeface="+mn-cs"/>
              </a:rPr>
              <a:t>01</a:t>
            </a:r>
          </a:p>
        </p:txBody>
      </p:sp>
      <p:sp>
        <p:nvSpPr>
          <p:cNvPr id="5" name="Freeform 5">
            <a:extLst>
              <a:ext uri="{FF2B5EF4-FFF2-40B4-BE49-F238E27FC236}">
                <a16:creationId xmlns:a16="http://schemas.microsoft.com/office/drawing/2014/main" id="{DC98B6E5-168C-48C1-AA94-2CE7A48305EB}"/>
              </a:ext>
            </a:extLst>
          </p:cNvPr>
          <p:cNvSpPr>
            <a:spLocks/>
          </p:cNvSpPr>
          <p:nvPr/>
        </p:nvSpPr>
        <p:spPr bwMode="auto">
          <a:xfrm>
            <a:off x="3162459" y="5752778"/>
            <a:ext cx="1514187" cy="1105220"/>
          </a:xfrm>
          <a:custGeom>
            <a:avLst/>
            <a:gdLst>
              <a:gd name="T0" fmla="*/ 1543 w 1978"/>
              <a:gd name="T1" fmla="*/ 0 h 1726"/>
              <a:gd name="T2" fmla="*/ 0 w 1978"/>
              <a:gd name="T3" fmla="*/ 0 h 1726"/>
              <a:gd name="T4" fmla="*/ 1010 w 1978"/>
              <a:gd name="T5" fmla="*/ 1726 h 1726"/>
              <a:gd name="T6" fmla="*/ 1978 w 1978"/>
              <a:gd name="T7" fmla="*/ 1726 h 1726"/>
              <a:gd name="T8" fmla="*/ 1543 w 1978"/>
              <a:gd name="T9" fmla="*/ 0 h 1726"/>
            </a:gdLst>
            <a:ahLst/>
            <a:cxnLst>
              <a:cxn ang="0">
                <a:pos x="T0" y="T1"/>
              </a:cxn>
              <a:cxn ang="0">
                <a:pos x="T2" y="T3"/>
              </a:cxn>
              <a:cxn ang="0">
                <a:pos x="T4" y="T5"/>
              </a:cxn>
              <a:cxn ang="0">
                <a:pos x="T6" y="T7"/>
              </a:cxn>
              <a:cxn ang="0">
                <a:pos x="T8" y="T9"/>
              </a:cxn>
            </a:cxnLst>
            <a:rect l="0" t="0" r="r" b="b"/>
            <a:pathLst>
              <a:path w="1978" h="1726">
                <a:moveTo>
                  <a:pt x="1543" y="0"/>
                </a:moveTo>
                <a:lnTo>
                  <a:pt x="0" y="0"/>
                </a:lnTo>
                <a:lnTo>
                  <a:pt x="1010" y="1726"/>
                </a:lnTo>
                <a:lnTo>
                  <a:pt x="1978" y="1726"/>
                </a:lnTo>
                <a:lnTo>
                  <a:pt x="1543" y="0"/>
                </a:lnTo>
                <a:close/>
              </a:path>
            </a:pathLst>
          </a:custGeom>
          <a:gradFill flip="none" rotWithShape="1">
            <a:gsLst>
              <a:gs pos="73000">
                <a:schemeClr val="accent1"/>
              </a:gs>
              <a:gs pos="31000">
                <a:schemeClr val="accent1">
                  <a:lumMod val="60000"/>
                  <a:lumOff val="40000"/>
                </a:schemeClr>
              </a:gs>
              <a:gs pos="0">
                <a:schemeClr val="accent1">
                  <a:lumMod val="40000"/>
                  <a:lumOff val="60000"/>
                </a:schemeClr>
              </a:gs>
            </a:gsLst>
            <a:lin ang="5400000" scaled="1"/>
            <a:tileRect/>
          </a:gradFill>
          <a:ln>
            <a:noFill/>
          </a:ln>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HarmonyOS Sans SC"/>
              <a:cs typeface="+mn-cs"/>
            </a:endParaRPr>
          </a:p>
        </p:txBody>
      </p:sp>
      <p:grpSp>
        <p:nvGrpSpPr>
          <p:cNvPr id="12" name="Group 14">
            <a:extLst>
              <a:ext uri="{FF2B5EF4-FFF2-40B4-BE49-F238E27FC236}">
                <a16:creationId xmlns:a16="http://schemas.microsoft.com/office/drawing/2014/main" id="{136ABD45-8963-4B5F-97D7-CE131C8AA60C}"/>
              </a:ext>
            </a:extLst>
          </p:cNvPr>
          <p:cNvGrpSpPr>
            <a:grpSpLocks noChangeAspect="1"/>
          </p:cNvGrpSpPr>
          <p:nvPr/>
        </p:nvGrpSpPr>
        <p:grpSpPr bwMode="auto">
          <a:xfrm>
            <a:off x="3550670" y="5122230"/>
            <a:ext cx="385121" cy="301729"/>
            <a:chOff x="2500" y="2619"/>
            <a:chExt cx="508" cy="398"/>
          </a:xfrm>
        </p:grpSpPr>
        <p:sp>
          <p:nvSpPr>
            <p:cNvPr id="13" name="Freeform 14">
              <a:extLst>
                <a:ext uri="{FF2B5EF4-FFF2-40B4-BE49-F238E27FC236}">
                  <a16:creationId xmlns:a16="http://schemas.microsoft.com/office/drawing/2014/main" id="{D9895036-2ECE-4A81-B1AF-C09C172DB6CA}"/>
                </a:ext>
              </a:extLst>
            </p:cNvPr>
            <p:cNvSpPr>
              <a:spLocks/>
            </p:cNvSpPr>
            <p:nvPr/>
          </p:nvSpPr>
          <p:spPr bwMode="auto">
            <a:xfrm>
              <a:off x="2500" y="2739"/>
              <a:ext cx="53" cy="278"/>
            </a:xfrm>
            <a:custGeom>
              <a:avLst/>
              <a:gdLst>
                <a:gd name="T0" fmla="*/ 12 w 25"/>
                <a:gd name="T1" fmla="*/ 0 h 132"/>
                <a:gd name="T2" fmla="*/ 0 w 25"/>
                <a:gd name="T3" fmla="*/ 12 h 132"/>
                <a:gd name="T4" fmla="*/ 0 w 25"/>
                <a:gd name="T5" fmla="*/ 119 h 132"/>
                <a:gd name="T6" fmla="*/ 12 w 25"/>
                <a:gd name="T7" fmla="*/ 132 h 132"/>
                <a:gd name="T8" fmla="*/ 25 w 25"/>
                <a:gd name="T9" fmla="*/ 119 h 132"/>
                <a:gd name="T10" fmla="*/ 25 w 25"/>
                <a:gd name="T11" fmla="*/ 12 h 132"/>
                <a:gd name="T12" fmla="*/ 12 w 25"/>
                <a:gd name="T13" fmla="*/ 0 h 132"/>
              </a:gdLst>
              <a:ahLst/>
              <a:cxnLst>
                <a:cxn ang="0">
                  <a:pos x="T0" y="T1"/>
                </a:cxn>
                <a:cxn ang="0">
                  <a:pos x="T2" y="T3"/>
                </a:cxn>
                <a:cxn ang="0">
                  <a:pos x="T4" y="T5"/>
                </a:cxn>
                <a:cxn ang="0">
                  <a:pos x="T6" y="T7"/>
                </a:cxn>
                <a:cxn ang="0">
                  <a:pos x="T8" y="T9"/>
                </a:cxn>
                <a:cxn ang="0">
                  <a:pos x="T10" y="T11"/>
                </a:cxn>
                <a:cxn ang="0">
                  <a:pos x="T12" y="T13"/>
                </a:cxn>
              </a:cxnLst>
              <a:rect l="0" t="0" r="r" b="b"/>
              <a:pathLst>
                <a:path w="25" h="132">
                  <a:moveTo>
                    <a:pt x="12" y="0"/>
                  </a:moveTo>
                  <a:cubicBezTo>
                    <a:pt x="5" y="0"/>
                    <a:pt x="0" y="5"/>
                    <a:pt x="0" y="12"/>
                  </a:cubicBezTo>
                  <a:cubicBezTo>
                    <a:pt x="0" y="119"/>
                    <a:pt x="0" y="119"/>
                    <a:pt x="0" y="119"/>
                  </a:cubicBezTo>
                  <a:cubicBezTo>
                    <a:pt x="0" y="126"/>
                    <a:pt x="5" y="132"/>
                    <a:pt x="12" y="132"/>
                  </a:cubicBezTo>
                  <a:cubicBezTo>
                    <a:pt x="19" y="132"/>
                    <a:pt x="25" y="126"/>
                    <a:pt x="25" y="119"/>
                  </a:cubicBezTo>
                  <a:cubicBezTo>
                    <a:pt x="25" y="12"/>
                    <a:pt x="25" y="12"/>
                    <a:pt x="25" y="12"/>
                  </a:cubicBezTo>
                  <a:cubicBezTo>
                    <a:pt x="25" y="5"/>
                    <a:pt x="19" y="0"/>
                    <a:pt x="12"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HarmonyOS Sans SC"/>
                <a:cs typeface="+mn-cs"/>
              </a:endParaRPr>
            </a:p>
          </p:txBody>
        </p:sp>
        <p:sp>
          <p:nvSpPr>
            <p:cNvPr id="14" name="Freeform 15">
              <a:extLst>
                <a:ext uri="{FF2B5EF4-FFF2-40B4-BE49-F238E27FC236}">
                  <a16:creationId xmlns:a16="http://schemas.microsoft.com/office/drawing/2014/main" id="{2B5E3A14-196C-4A10-9949-9523D965350F}"/>
                </a:ext>
              </a:extLst>
            </p:cNvPr>
            <p:cNvSpPr>
              <a:spLocks noEditPoints="1"/>
            </p:cNvSpPr>
            <p:nvPr/>
          </p:nvSpPr>
          <p:spPr bwMode="auto">
            <a:xfrm>
              <a:off x="2586" y="2619"/>
              <a:ext cx="422" cy="398"/>
            </a:xfrm>
            <a:custGeom>
              <a:avLst/>
              <a:gdLst>
                <a:gd name="T0" fmla="*/ 189 w 201"/>
                <a:gd name="T1" fmla="*/ 0 h 189"/>
                <a:gd name="T2" fmla="*/ 12 w 201"/>
                <a:gd name="T3" fmla="*/ 0 h 189"/>
                <a:gd name="T4" fmla="*/ 0 w 201"/>
                <a:gd name="T5" fmla="*/ 13 h 189"/>
                <a:gd name="T6" fmla="*/ 0 w 201"/>
                <a:gd name="T7" fmla="*/ 189 h 189"/>
                <a:gd name="T8" fmla="*/ 176 w 201"/>
                <a:gd name="T9" fmla="*/ 189 h 189"/>
                <a:gd name="T10" fmla="*/ 201 w 201"/>
                <a:gd name="T11" fmla="*/ 163 h 189"/>
                <a:gd name="T12" fmla="*/ 201 w 201"/>
                <a:gd name="T13" fmla="*/ 13 h 189"/>
                <a:gd name="T14" fmla="*/ 189 w 201"/>
                <a:gd name="T15" fmla="*/ 0 h 189"/>
                <a:gd name="T16" fmla="*/ 113 w 201"/>
                <a:gd name="T17" fmla="*/ 38 h 189"/>
                <a:gd name="T18" fmla="*/ 120 w 201"/>
                <a:gd name="T19" fmla="*/ 31 h 189"/>
                <a:gd name="T20" fmla="*/ 157 w 201"/>
                <a:gd name="T21" fmla="*/ 31 h 189"/>
                <a:gd name="T22" fmla="*/ 164 w 201"/>
                <a:gd name="T23" fmla="*/ 38 h 189"/>
                <a:gd name="T24" fmla="*/ 164 w 201"/>
                <a:gd name="T25" fmla="*/ 76 h 189"/>
                <a:gd name="T26" fmla="*/ 157 w 201"/>
                <a:gd name="T27" fmla="*/ 82 h 189"/>
                <a:gd name="T28" fmla="*/ 120 w 201"/>
                <a:gd name="T29" fmla="*/ 82 h 189"/>
                <a:gd name="T30" fmla="*/ 113 w 201"/>
                <a:gd name="T31" fmla="*/ 76 h 189"/>
                <a:gd name="T32" fmla="*/ 113 w 201"/>
                <a:gd name="T33" fmla="*/ 38 h 189"/>
                <a:gd name="T34" fmla="*/ 41 w 201"/>
                <a:gd name="T35" fmla="*/ 39 h 189"/>
                <a:gd name="T36" fmla="*/ 79 w 201"/>
                <a:gd name="T37" fmla="*/ 39 h 189"/>
                <a:gd name="T38" fmla="*/ 86 w 201"/>
                <a:gd name="T39" fmla="*/ 47 h 189"/>
                <a:gd name="T40" fmla="*/ 79 w 201"/>
                <a:gd name="T41" fmla="*/ 55 h 189"/>
                <a:gd name="T42" fmla="*/ 41 w 201"/>
                <a:gd name="T43" fmla="*/ 55 h 189"/>
                <a:gd name="T44" fmla="*/ 33 w 201"/>
                <a:gd name="T45" fmla="*/ 47 h 189"/>
                <a:gd name="T46" fmla="*/ 41 w 201"/>
                <a:gd name="T47" fmla="*/ 39 h 189"/>
                <a:gd name="T48" fmla="*/ 41 w 201"/>
                <a:gd name="T49" fmla="*/ 71 h 189"/>
                <a:gd name="T50" fmla="*/ 79 w 201"/>
                <a:gd name="T51" fmla="*/ 71 h 189"/>
                <a:gd name="T52" fmla="*/ 86 w 201"/>
                <a:gd name="T53" fmla="*/ 79 h 189"/>
                <a:gd name="T54" fmla="*/ 79 w 201"/>
                <a:gd name="T55" fmla="*/ 87 h 189"/>
                <a:gd name="T56" fmla="*/ 41 w 201"/>
                <a:gd name="T57" fmla="*/ 87 h 189"/>
                <a:gd name="T58" fmla="*/ 33 w 201"/>
                <a:gd name="T59" fmla="*/ 79 h 189"/>
                <a:gd name="T60" fmla="*/ 41 w 201"/>
                <a:gd name="T61" fmla="*/ 71 h 189"/>
                <a:gd name="T62" fmla="*/ 160 w 201"/>
                <a:gd name="T63" fmla="*/ 150 h 189"/>
                <a:gd name="T64" fmla="*/ 41 w 201"/>
                <a:gd name="T65" fmla="*/ 150 h 189"/>
                <a:gd name="T66" fmla="*/ 33 w 201"/>
                <a:gd name="T67" fmla="*/ 142 h 189"/>
                <a:gd name="T68" fmla="*/ 41 w 201"/>
                <a:gd name="T69" fmla="*/ 134 h 189"/>
                <a:gd name="T70" fmla="*/ 160 w 201"/>
                <a:gd name="T71" fmla="*/ 134 h 189"/>
                <a:gd name="T72" fmla="*/ 168 w 201"/>
                <a:gd name="T73" fmla="*/ 142 h 189"/>
                <a:gd name="T74" fmla="*/ 160 w 201"/>
                <a:gd name="T75" fmla="*/ 150 h 189"/>
                <a:gd name="T76" fmla="*/ 160 w 201"/>
                <a:gd name="T77" fmla="*/ 118 h 189"/>
                <a:gd name="T78" fmla="*/ 41 w 201"/>
                <a:gd name="T79" fmla="*/ 118 h 189"/>
                <a:gd name="T80" fmla="*/ 33 w 201"/>
                <a:gd name="T81" fmla="*/ 110 h 189"/>
                <a:gd name="T82" fmla="*/ 41 w 201"/>
                <a:gd name="T83" fmla="*/ 102 h 189"/>
                <a:gd name="T84" fmla="*/ 160 w 201"/>
                <a:gd name="T85" fmla="*/ 102 h 189"/>
                <a:gd name="T86" fmla="*/ 168 w 201"/>
                <a:gd name="T87" fmla="*/ 110 h 189"/>
                <a:gd name="T88" fmla="*/ 160 w 201"/>
                <a:gd name="T89" fmla="*/ 118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01" h="189">
                  <a:moveTo>
                    <a:pt x="189" y="0"/>
                  </a:moveTo>
                  <a:cubicBezTo>
                    <a:pt x="12" y="0"/>
                    <a:pt x="12" y="0"/>
                    <a:pt x="12" y="0"/>
                  </a:cubicBezTo>
                  <a:cubicBezTo>
                    <a:pt x="5" y="0"/>
                    <a:pt x="0" y="6"/>
                    <a:pt x="0" y="13"/>
                  </a:cubicBezTo>
                  <a:cubicBezTo>
                    <a:pt x="0" y="189"/>
                    <a:pt x="0" y="189"/>
                    <a:pt x="0" y="189"/>
                  </a:cubicBezTo>
                  <a:cubicBezTo>
                    <a:pt x="176" y="189"/>
                    <a:pt x="176" y="189"/>
                    <a:pt x="176" y="189"/>
                  </a:cubicBezTo>
                  <a:cubicBezTo>
                    <a:pt x="190" y="189"/>
                    <a:pt x="201" y="177"/>
                    <a:pt x="201" y="163"/>
                  </a:cubicBezTo>
                  <a:cubicBezTo>
                    <a:pt x="201" y="13"/>
                    <a:pt x="201" y="13"/>
                    <a:pt x="201" y="13"/>
                  </a:cubicBezTo>
                  <a:cubicBezTo>
                    <a:pt x="201" y="6"/>
                    <a:pt x="196" y="0"/>
                    <a:pt x="189" y="0"/>
                  </a:cubicBezTo>
                  <a:close/>
                  <a:moveTo>
                    <a:pt x="113" y="38"/>
                  </a:moveTo>
                  <a:cubicBezTo>
                    <a:pt x="113" y="34"/>
                    <a:pt x="116" y="31"/>
                    <a:pt x="120" y="31"/>
                  </a:cubicBezTo>
                  <a:cubicBezTo>
                    <a:pt x="157" y="31"/>
                    <a:pt x="157" y="31"/>
                    <a:pt x="157" y="31"/>
                  </a:cubicBezTo>
                  <a:cubicBezTo>
                    <a:pt x="161" y="31"/>
                    <a:pt x="164" y="34"/>
                    <a:pt x="164" y="38"/>
                  </a:cubicBezTo>
                  <a:cubicBezTo>
                    <a:pt x="164" y="76"/>
                    <a:pt x="164" y="76"/>
                    <a:pt x="164" y="76"/>
                  </a:cubicBezTo>
                  <a:cubicBezTo>
                    <a:pt x="164" y="79"/>
                    <a:pt x="161" y="82"/>
                    <a:pt x="157" y="82"/>
                  </a:cubicBezTo>
                  <a:cubicBezTo>
                    <a:pt x="120" y="82"/>
                    <a:pt x="120" y="82"/>
                    <a:pt x="120" y="82"/>
                  </a:cubicBezTo>
                  <a:cubicBezTo>
                    <a:pt x="116" y="82"/>
                    <a:pt x="113" y="79"/>
                    <a:pt x="113" y="76"/>
                  </a:cubicBezTo>
                  <a:lnTo>
                    <a:pt x="113" y="38"/>
                  </a:lnTo>
                  <a:close/>
                  <a:moveTo>
                    <a:pt x="41" y="39"/>
                  </a:moveTo>
                  <a:cubicBezTo>
                    <a:pt x="79" y="39"/>
                    <a:pt x="79" y="39"/>
                    <a:pt x="79" y="39"/>
                  </a:cubicBezTo>
                  <a:cubicBezTo>
                    <a:pt x="83" y="39"/>
                    <a:pt x="86" y="43"/>
                    <a:pt x="86" y="47"/>
                  </a:cubicBezTo>
                  <a:cubicBezTo>
                    <a:pt x="86" y="52"/>
                    <a:pt x="83" y="55"/>
                    <a:pt x="79" y="55"/>
                  </a:cubicBezTo>
                  <a:cubicBezTo>
                    <a:pt x="41" y="55"/>
                    <a:pt x="41" y="55"/>
                    <a:pt x="41" y="55"/>
                  </a:cubicBezTo>
                  <a:cubicBezTo>
                    <a:pt x="36" y="55"/>
                    <a:pt x="33" y="52"/>
                    <a:pt x="33" y="47"/>
                  </a:cubicBezTo>
                  <a:cubicBezTo>
                    <a:pt x="33" y="43"/>
                    <a:pt x="36" y="39"/>
                    <a:pt x="41" y="39"/>
                  </a:cubicBezTo>
                  <a:close/>
                  <a:moveTo>
                    <a:pt x="41" y="71"/>
                  </a:moveTo>
                  <a:cubicBezTo>
                    <a:pt x="79" y="71"/>
                    <a:pt x="79" y="71"/>
                    <a:pt x="79" y="71"/>
                  </a:cubicBezTo>
                  <a:cubicBezTo>
                    <a:pt x="83" y="71"/>
                    <a:pt x="86" y="74"/>
                    <a:pt x="86" y="79"/>
                  </a:cubicBezTo>
                  <a:cubicBezTo>
                    <a:pt x="86" y="83"/>
                    <a:pt x="83" y="87"/>
                    <a:pt x="79" y="87"/>
                  </a:cubicBezTo>
                  <a:cubicBezTo>
                    <a:pt x="41" y="87"/>
                    <a:pt x="41" y="87"/>
                    <a:pt x="41" y="87"/>
                  </a:cubicBezTo>
                  <a:cubicBezTo>
                    <a:pt x="36" y="87"/>
                    <a:pt x="33" y="83"/>
                    <a:pt x="33" y="79"/>
                  </a:cubicBezTo>
                  <a:cubicBezTo>
                    <a:pt x="33" y="74"/>
                    <a:pt x="36" y="71"/>
                    <a:pt x="41" y="71"/>
                  </a:cubicBezTo>
                  <a:close/>
                  <a:moveTo>
                    <a:pt x="160" y="150"/>
                  </a:moveTo>
                  <a:cubicBezTo>
                    <a:pt x="41" y="150"/>
                    <a:pt x="41" y="150"/>
                    <a:pt x="41" y="150"/>
                  </a:cubicBezTo>
                  <a:cubicBezTo>
                    <a:pt x="36" y="150"/>
                    <a:pt x="33" y="146"/>
                    <a:pt x="33" y="142"/>
                  </a:cubicBezTo>
                  <a:cubicBezTo>
                    <a:pt x="33" y="137"/>
                    <a:pt x="36" y="134"/>
                    <a:pt x="41" y="134"/>
                  </a:cubicBezTo>
                  <a:cubicBezTo>
                    <a:pt x="160" y="134"/>
                    <a:pt x="160" y="134"/>
                    <a:pt x="160" y="134"/>
                  </a:cubicBezTo>
                  <a:cubicBezTo>
                    <a:pt x="165" y="134"/>
                    <a:pt x="168" y="137"/>
                    <a:pt x="168" y="142"/>
                  </a:cubicBezTo>
                  <a:cubicBezTo>
                    <a:pt x="168" y="146"/>
                    <a:pt x="165" y="150"/>
                    <a:pt x="160" y="150"/>
                  </a:cubicBezTo>
                  <a:close/>
                  <a:moveTo>
                    <a:pt x="160" y="118"/>
                  </a:moveTo>
                  <a:cubicBezTo>
                    <a:pt x="41" y="118"/>
                    <a:pt x="41" y="118"/>
                    <a:pt x="41" y="118"/>
                  </a:cubicBezTo>
                  <a:cubicBezTo>
                    <a:pt x="36" y="118"/>
                    <a:pt x="33" y="115"/>
                    <a:pt x="33" y="110"/>
                  </a:cubicBezTo>
                  <a:cubicBezTo>
                    <a:pt x="33" y="106"/>
                    <a:pt x="36" y="102"/>
                    <a:pt x="41" y="102"/>
                  </a:cubicBezTo>
                  <a:cubicBezTo>
                    <a:pt x="160" y="102"/>
                    <a:pt x="160" y="102"/>
                    <a:pt x="160" y="102"/>
                  </a:cubicBezTo>
                  <a:cubicBezTo>
                    <a:pt x="165" y="102"/>
                    <a:pt x="168" y="106"/>
                    <a:pt x="168" y="110"/>
                  </a:cubicBezTo>
                  <a:cubicBezTo>
                    <a:pt x="168" y="115"/>
                    <a:pt x="165" y="118"/>
                    <a:pt x="160" y="11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HarmonyOS Sans SC"/>
                <a:cs typeface="+mn-cs"/>
              </a:endParaRPr>
            </a:p>
          </p:txBody>
        </p:sp>
      </p:grpSp>
      <p:cxnSp>
        <p:nvCxnSpPr>
          <p:cNvPr id="24" name="Straight Connector 26">
            <a:extLst>
              <a:ext uri="{FF2B5EF4-FFF2-40B4-BE49-F238E27FC236}">
                <a16:creationId xmlns:a16="http://schemas.microsoft.com/office/drawing/2014/main" id="{357479F7-062C-4A06-B7FF-1EC0A30646A3}"/>
              </a:ext>
            </a:extLst>
          </p:cNvPr>
          <p:cNvCxnSpPr>
            <a:cxnSpLocks/>
          </p:cNvCxnSpPr>
          <p:nvPr/>
        </p:nvCxnSpPr>
        <p:spPr>
          <a:xfrm>
            <a:off x="3754646" y="3097272"/>
            <a:ext cx="0" cy="245417"/>
          </a:xfrm>
          <a:prstGeom prst="line">
            <a:avLst/>
          </a:prstGeom>
          <a:ln w="12700">
            <a:solidFill>
              <a:schemeClr val="accent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grpSp>
        <p:nvGrpSpPr>
          <p:cNvPr id="62" name="组合 61">
            <a:extLst>
              <a:ext uri="{FF2B5EF4-FFF2-40B4-BE49-F238E27FC236}">
                <a16:creationId xmlns:a16="http://schemas.microsoft.com/office/drawing/2014/main" id="{01694DF4-822F-4B33-9B83-A0E0C2D8CE3F}"/>
              </a:ext>
            </a:extLst>
          </p:cNvPr>
          <p:cNvGrpSpPr/>
          <p:nvPr/>
        </p:nvGrpSpPr>
        <p:grpSpPr>
          <a:xfrm>
            <a:off x="3649871" y="3336062"/>
            <a:ext cx="209550" cy="209550"/>
            <a:chOff x="5585550" y="2229291"/>
            <a:chExt cx="209550" cy="209550"/>
          </a:xfrm>
        </p:grpSpPr>
        <p:sp>
          <p:nvSpPr>
            <p:cNvPr id="63" name="Oval 69">
              <a:extLst>
                <a:ext uri="{FF2B5EF4-FFF2-40B4-BE49-F238E27FC236}">
                  <a16:creationId xmlns:a16="http://schemas.microsoft.com/office/drawing/2014/main" id="{A517D3AA-B32F-4970-BDD1-20FB9B02DB25}"/>
                </a:ext>
              </a:extLst>
            </p:cNvPr>
            <p:cNvSpPr/>
            <p:nvPr/>
          </p:nvSpPr>
          <p:spPr>
            <a:xfrm flipH="1">
              <a:off x="5585550" y="2229291"/>
              <a:ext cx="209550" cy="209550"/>
            </a:xfrm>
            <a:prstGeom prst="ellipse">
              <a:avLst/>
            </a:prstGeom>
            <a:solidFill>
              <a:schemeClr val="accent1">
                <a:lumMod val="20000"/>
                <a:lumOff val="80000"/>
                <a:alpha val="5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800" b="0" i="0" u="none" strike="noStrike" kern="1200" cap="none" spc="0" normalizeH="0" baseline="0" noProof="0">
                <a:ln>
                  <a:noFill/>
                </a:ln>
                <a:solidFill>
                  <a:prstClr val="black">
                    <a:lumMod val="50000"/>
                    <a:lumOff val="50000"/>
                  </a:prstClr>
                </a:solidFill>
                <a:effectLst/>
                <a:uLnTx/>
                <a:uFillTx/>
                <a:latin typeface="HarmonyOS Sans SC"/>
                <a:cs typeface="+mn-cs"/>
              </a:endParaRPr>
            </a:p>
          </p:txBody>
        </p:sp>
        <p:sp>
          <p:nvSpPr>
            <p:cNvPr id="64" name="Oval 70">
              <a:extLst>
                <a:ext uri="{FF2B5EF4-FFF2-40B4-BE49-F238E27FC236}">
                  <a16:creationId xmlns:a16="http://schemas.microsoft.com/office/drawing/2014/main" id="{917234C3-9668-4B20-8428-DA6FB5998B3D}"/>
                </a:ext>
              </a:extLst>
            </p:cNvPr>
            <p:cNvSpPr/>
            <p:nvPr/>
          </p:nvSpPr>
          <p:spPr>
            <a:xfrm flipH="1" flipV="1">
              <a:off x="5654983" y="2298724"/>
              <a:ext cx="70684" cy="70684"/>
            </a:xfrm>
            <a:prstGeom prst="ellipse">
              <a:avLst/>
            </a:prstGeom>
            <a:gradFill>
              <a:gsLst>
                <a:gs pos="73000">
                  <a:schemeClr val="accent1"/>
                </a:gs>
                <a:gs pos="31000">
                  <a:schemeClr val="accent1">
                    <a:lumMod val="60000"/>
                    <a:lumOff val="40000"/>
                  </a:schemeClr>
                </a:gs>
                <a:gs pos="0">
                  <a:schemeClr val="accent1">
                    <a:lumMod val="40000"/>
                    <a:lumOff val="60000"/>
                  </a:schemeClr>
                </a:gs>
              </a:gsLst>
              <a:lin ang="2700000" scaled="1"/>
            </a:gra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800" b="0" i="0" u="none" strike="noStrike" kern="1200" cap="none" spc="0" normalizeH="0" baseline="0" noProof="0">
                <a:ln>
                  <a:noFill/>
                </a:ln>
                <a:solidFill>
                  <a:prstClr val="black">
                    <a:lumMod val="50000"/>
                    <a:lumOff val="50000"/>
                  </a:prstClr>
                </a:solidFill>
                <a:effectLst/>
                <a:uLnTx/>
                <a:uFillTx/>
                <a:latin typeface="HarmonyOS Sans SC"/>
                <a:cs typeface="+mn-cs"/>
              </a:endParaRPr>
            </a:p>
          </p:txBody>
        </p:sp>
      </p:grpSp>
      <p:grpSp>
        <p:nvGrpSpPr>
          <p:cNvPr id="79" name="组合 78">
            <a:extLst>
              <a:ext uri="{FF2B5EF4-FFF2-40B4-BE49-F238E27FC236}">
                <a16:creationId xmlns:a16="http://schemas.microsoft.com/office/drawing/2014/main" id="{2D5E16EE-DCE9-472E-A504-40B28260AE21}"/>
              </a:ext>
            </a:extLst>
          </p:cNvPr>
          <p:cNvGrpSpPr/>
          <p:nvPr/>
        </p:nvGrpSpPr>
        <p:grpSpPr>
          <a:xfrm>
            <a:off x="2848623" y="2152798"/>
            <a:ext cx="1812046" cy="846145"/>
            <a:chOff x="3623554" y="1949395"/>
            <a:chExt cx="1812046" cy="846145"/>
          </a:xfrm>
        </p:grpSpPr>
        <p:sp>
          <p:nvSpPr>
            <p:cNvPr id="74" name="TextBox 65">
              <a:extLst>
                <a:ext uri="{FF2B5EF4-FFF2-40B4-BE49-F238E27FC236}">
                  <a16:creationId xmlns:a16="http://schemas.microsoft.com/office/drawing/2014/main" id="{62447A36-FA23-4038-941A-9EB23D3F882E}"/>
                </a:ext>
              </a:extLst>
            </p:cNvPr>
            <p:cNvSpPr txBox="1"/>
            <p:nvPr/>
          </p:nvSpPr>
          <p:spPr>
            <a:xfrm>
              <a:off x="3760113" y="1949395"/>
              <a:ext cx="1538928" cy="345598"/>
            </a:xfrm>
            <a:prstGeom prst="rect">
              <a:avLst/>
            </a:prstGeom>
            <a:noFill/>
          </p:spPr>
          <p:txBody>
            <a:bodyPr wrap="square" lIns="0" tIns="36000" rIns="0" bIns="36000" rtlCol="0">
              <a:spAutoFit/>
            </a:bodyPr>
            <a:lstStyle/>
            <a:p>
              <a:pPr marL="0" marR="0" lvl="0" indent="0" algn="ctr" defTabSz="914400" rtl="0" eaLnBrk="1" fontAlgn="auto" latinLnBrk="0" hangingPunct="1">
                <a:lnSpc>
                  <a:spcPct val="120000"/>
                </a:lnSpc>
                <a:spcBef>
                  <a:spcPts val="600"/>
                </a:spcBef>
                <a:spcAft>
                  <a:spcPts val="0"/>
                </a:spcAft>
                <a:buClrTx/>
                <a:buSzTx/>
                <a:buFontTx/>
                <a:buNone/>
                <a:tabLst/>
                <a:defRPr/>
              </a:pPr>
              <a:r>
                <a:rPr kumimoji="0" lang="en-US" sz="1600" b="0" i="0" u="none" strike="noStrike" kern="1200" cap="none" spc="0" normalizeH="0" baseline="0" noProof="0" dirty="0">
                  <a:ln>
                    <a:noFill/>
                  </a:ln>
                  <a:solidFill>
                    <a:schemeClr val="accent1"/>
                  </a:solidFill>
                  <a:effectLst/>
                  <a:uLnTx/>
                  <a:uFillTx/>
                  <a:latin typeface="HarmonyOS Sans SC Black"/>
                  <a:ea typeface="+mj-ea"/>
                  <a:cs typeface="+mn-cs"/>
                </a:rPr>
                <a:t>Subtitle Here</a:t>
              </a:r>
              <a:endParaRPr kumimoji="0" lang="en-US" sz="1100" b="0" i="0" u="none" strike="noStrike" kern="1200" cap="none" spc="0" normalizeH="0" baseline="0" noProof="0" dirty="0">
                <a:ln>
                  <a:noFill/>
                </a:ln>
                <a:solidFill>
                  <a:schemeClr val="accent1"/>
                </a:solidFill>
                <a:effectLst/>
                <a:uLnTx/>
                <a:uFillTx/>
                <a:latin typeface="HarmonyOS Sans SC Black"/>
                <a:ea typeface="+mj-ea"/>
                <a:cs typeface="+mn-cs"/>
              </a:endParaRPr>
            </a:p>
          </p:txBody>
        </p:sp>
        <p:sp>
          <p:nvSpPr>
            <p:cNvPr id="75" name="TextBox 65">
              <a:extLst>
                <a:ext uri="{FF2B5EF4-FFF2-40B4-BE49-F238E27FC236}">
                  <a16:creationId xmlns:a16="http://schemas.microsoft.com/office/drawing/2014/main" id="{0F71E277-CDCF-4AE3-AFAC-C7729CEB69F2}"/>
                </a:ext>
              </a:extLst>
            </p:cNvPr>
            <p:cNvSpPr txBox="1"/>
            <p:nvPr/>
          </p:nvSpPr>
          <p:spPr>
            <a:xfrm>
              <a:off x="3623554" y="2332794"/>
              <a:ext cx="1812046" cy="462746"/>
            </a:xfrm>
            <a:prstGeom prst="rect">
              <a:avLst/>
            </a:prstGeom>
            <a:noFill/>
          </p:spPr>
          <p:txBody>
            <a:bodyPr wrap="square" lIns="0" tIns="36000" rIns="0" bIns="36000" rtlCol="0">
              <a:spAutoFit/>
            </a:bodyPr>
            <a:lstStyle/>
            <a:p>
              <a:pPr marL="0" marR="0" lvl="0" indent="0" algn="ctr" defTabSz="914400" rtl="0" eaLnBrk="1" fontAlgn="auto" latinLnBrk="0" hangingPunct="1">
                <a:lnSpc>
                  <a:spcPct val="120000"/>
                </a:lnSpc>
                <a:spcBef>
                  <a:spcPts val="600"/>
                </a:spcBef>
                <a:spcAft>
                  <a:spcPts val="0"/>
                </a:spcAft>
                <a:buClrTx/>
                <a:buSzTx/>
                <a:buFontTx/>
                <a:buNone/>
                <a:tabLst/>
                <a:defRPr/>
              </a:pPr>
              <a:r>
                <a:rPr kumimoji="0" lang="en-US" sz="1100" b="0" i="0" u="none" strike="noStrike" kern="1200" cap="none" spc="0" normalizeH="0" baseline="0" noProof="0" dirty="0">
                  <a:ln>
                    <a:noFill/>
                  </a:ln>
                  <a:solidFill>
                    <a:prstClr val="black">
                      <a:lumMod val="50000"/>
                      <a:lumOff val="50000"/>
                    </a:prstClr>
                  </a:solidFill>
                  <a:effectLst/>
                  <a:uLnTx/>
                  <a:uFillTx/>
                  <a:latin typeface="HarmonyOS Sans SC"/>
                  <a:cs typeface="+mn-cs"/>
                </a:rPr>
                <a:t>As the minuteness of the parts formed a great.</a:t>
              </a:r>
            </a:p>
          </p:txBody>
        </p:sp>
      </p:grpSp>
      <p:sp>
        <p:nvSpPr>
          <p:cNvPr id="7" name="Freeform 7">
            <a:extLst>
              <a:ext uri="{FF2B5EF4-FFF2-40B4-BE49-F238E27FC236}">
                <a16:creationId xmlns:a16="http://schemas.microsoft.com/office/drawing/2014/main" id="{3E01B893-745B-4FA1-AD33-3DD054ED1790}"/>
              </a:ext>
            </a:extLst>
          </p:cNvPr>
          <p:cNvSpPr>
            <a:spLocks/>
          </p:cNvSpPr>
          <p:nvPr/>
        </p:nvSpPr>
        <p:spPr bwMode="auto">
          <a:xfrm>
            <a:off x="5504983" y="5752778"/>
            <a:ext cx="1181954" cy="1105220"/>
          </a:xfrm>
          <a:custGeom>
            <a:avLst/>
            <a:gdLst>
              <a:gd name="T0" fmla="*/ 1544 w 1544"/>
              <a:gd name="T1" fmla="*/ 0 h 1726"/>
              <a:gd name="T2" fmla="*/ 0 w 1544"/>
              <a:gd name="T3" fmla="*/ 0 h 1726"/>
              <a:gd name="T4" fmla="*/ 287 w 1544"/>
              <a:gd name="T5" fmla="*/ 1726 h 1726"/>
              <a:gd name="T6" fmla="*/ 1257 w 1544"/>
              <a:gd name="T7" fmla="*/ 1726 h 1726"/>
              <a:gd name="T8" fmla="*/ 1544 w 1544"/>
              <a:gd name="T9" fmla="*/ 0 h 1726"/>
            </a:gdLst>
            <a:ahLst/>
            <a:cxnLst>
              <a:cxn ang="0">
                <a:pos x="T0" y="T1"/>
              </a:cxn>
              <a:cxn ang="0">
                <a:pos x="T2" y="T3"/>
              </a:cxn>
              <a:cxn ang="0">
                <a:pos x="T4" y="T5"/>
              </a:cxn>
              <a:cxn ang="0">
                <a:pos x="T6" y="T7"/>
              </a:cxn>
              <a:cxn ang="0">
                <a:pos x="T8" y="T9"/>
              </a:cxn>
            </a:cxnLst>
            <a:rect l="0" t="0" r="r" b="b"/>
            <a:pathLst>
              <a:path w="1544" h="1726">
                <a:moveTo>
                  <a:pt x="1544" y="0"/>
                </a:moveTo>
                <a:lnTo>
                  <a:pt x="0" y="0"/>
                </a:lnTo>
                <a:lnTo>
                  <a:pt x="287" y="1726"/>
                </a:lnTo>
                <a:lnTo>
                  <a:pt x="1257" y="1726"/>
                </a:lnTo>
                <a:lnTo>
                  <a:pt x="1544" y="0"/>
                </a:lnTo>
                <a:close/>
              </a:path>
            </a:pathLst>
          </a:custGeom>
          <a:gradFill flip="none" rotWithShape="1">
            <a:gsLst>
              <a:gs pos="73000">
                <a:schemeClr val="accent1"/>
              </a:gs>
              <a:gs pos="31000">
                <a:schemeClr val="accent1">
                  <a:lumMod val="60000"/>
                  <a:lumOff val="40000"/>
                </a:schemeClr>
              </a:gs>
              <a:gs pos="0">
                <a:schemeClr val="accent1">
                  <a:lumMod val="40000"/>
                  <a:lumOff val="60000"/>
                </a:schemeClr>
              </a:gs>
            </a:gsLst>
            <a:lin ang="5400000" scaled="1"/>
            <a:tileRect/>
          </a:gradFill>
          <a:ln>
            <a:noFill/>
          </a:ln>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HarmonyOS Sans SC"/>
              <a:cs typeface="+mn-cs"/>
            </a:endParaRPr>
          </a:p>
        </p:txBody>
      </p:sp>
      <p:sp>
        <p:nvSpPr>
          <p:cNvPr id="8" name="Arrow: Pentagon 45">
            <a:extLst>
              <a:ext uri="{FF2B5EF4-FFF2-40B4-BE49-F238E27FC236}">
                <a16:creationId xmlns:a16="http://schemas.microsoft.com/office/drawing/2014/main" id="{D733B57C-90BE-48A3-A1E3-0F662F57D394}"/>
              </a:ext>
            </a:extLst>
          </p:cNvPr>
          <p:cNvSpPr/>
          <p:nvPr/>
        </p:nvSpPr>
        <p:spPr>
          <a:xfrm rot="16200000">
            <a:off x="5051623" y="4112898"/>
            <a:ext cx="2096459" cy="1181954"/>
          </a:xfrm>
          <a:prstGeom prst="homePlate">
            <a:avLst>
              <a:gd name="adj" fmla="val 38782"/>
            </a:avLst>
          </a:prstGeom>
          <a:gradFill flip="none" rotWithShape="1">
            <a:gsLst>
              <a:gs pos="73000">
                <a:schemeClr val="accent1"/>
              </a:gs>
              <a:gs pos="31000">
                <a:schemeClr val="accent1">
                  <a:lumMod val="60000"/>
                  <a:lumOff val="40000"/>
                </a:schemeClr>
              </a:gs>
              <a:gs pos="0">
                <a:schemeClr val="accent1">
                  <a:lumMod val="40000"/>
                  <a:lumOff val="6000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vert="vert" lIns="0" tIns="0" rIns="457200" bIns="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0F0F0"/>
                </a:solidFill>
                <a:effectLst/>
                <a:uLnTx/>
                <a:uFillTx/>
                <a:latin typeface="HarmonyOS Sans SC"/>
                <a:cs typeface="+mn-cs"/>
              </a:rPr>
              <a:t>STEP</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0F0F0"/>
                </a:solidFill>
                <a:effectLst/>
                <a:uLnTx/>
                <a:uFillTx/>
                <a:latin typeface="HarmonyOS Sans SC"/>
                <a:cs typeface="+mn-cs"/>
              </a:rPr>
              <a:t>02</a:t>
            </a:r>
          </a:p>
        </p:txBody>
      </p:sp>
      <p:grpSp>
        <p:nvGrpSpPr>
          <p:cNvPr id="15" name="Group 18">
            <a:extLst>
              <a:ext uri="{FF2B5EF4-FFF2-40B4-BE49-F238E27FC236}">
                <a16:creationId xmlns:a16="http://schemas.microsoft.com/office/drawing/2014/main" id="{8DFC8CA3-F088-4B3B-9C39-BA8239026E7F}"/>
              </a:ext>
            </a:extLst>
          </p:cNvPr>
          <p:cNvGrpSpPr>
            <a:grpSpLocks noChangeAspect="1"/>
          </p:cNvGrpSpPr>
          <p:nvPr/>
        </p:nvGrpSpPr>
        <p:grpSpPr bwMode="auto">
          <a:xfrm>
            <a:off x="5884162" y="5111452"/>
            <a:ext cx="423595" cy="378645"/>
            <a:chOff x="3575" y="2746"/>
            <a:chExt cx="556" cy="497"/>
          </a:xfrm>
        </p:grpSpPr>
        <p:sp>
          <p:nvSpPr>
            <p:cNvPr id="16" name="Freeform 19">
              <a:extLst>
                <a:ext uri="{FF2B5EF4-FFF2-40B4-BE49-F238E27FC236}">
                  <a16:creationId xmlns:a16="http://schemas.microsoft.com/office/drawing/2014/main" id="{1175DD9A-8458-41EC-84B5-6294B110A313}"/>
                </a:ext>
              </a:extLst>
            </p:cNvPr>
            <p:cNvSpPr>
              <a:spLocks/>
            </p:cNvSpPr>
            <p:nvPr/>
          </p:nvSpPr>
          <p:spPr bwMode="auto">
            <a:xfrm>
              <a:off x="3940" y="2771"/>
              <a:ext cx="80" cy="210"/>
            </a:xfrm>
            <a:custGeom>
              <a:avLst/>
              <a:gdLst>
                <a:gd name="T0" fmla="*/ 31 w 38"/>
                <a:gd name="T1" fmla="*/ 0 h 100"/>
                <a:gd name="T2" fmla="*/ 6 w 38"/>
                <a:gd name="T3" fmla="*/ 0 h 100"/>
                <a:gd name="T4" fmla="*/ 0 w 38"/>
                <a:gd name="T5" fmla="*/ 6 h 100"/>
                <a:gd name="T6" fmla="*/ 0 w 38"/>
                <a:gd name="T7" fmla="*/ 100 h 100"/>
                <a:gd name="T8" fmla="*/ 38 w 38"/>
                <a:gd name="T9" fmla="*/ 100 h 100"/>
                <a:gd name="T10" fmla="*/ 38 w 38"/>
                <a:gd name="T11" fmla="*/ 6 h 100"/>
                <a:gd name="T12" fmla="*/ 31 w 38"/>
                <a:gd name="T13" fmla="*/ 0 h 100"/>
              </a:gdLst>
              <a:ahLst/>
              <a:cxnLst>
                <a:cxn ang="0">
                  <a:pos x="T0" y="T1"/>
                </a:cxn>
                <a:cxn ang="0">
                  <a:pos x="T2" y="T3"/>
                </a:cxn>
                <a:cxn ang="0">
                  <a:pos x="T4" y="T5"/>
                </a:cxn>
                <a:cxn ang="0">
                  <a:pos x="T6" y="T7"/>
                </a:cxn>
                <a:cxn ang="0">
                  <a:pos x="T8" y="T9"/>
                </a:cxn>
                <a:cxn ang="0">
                  <a:pos x="T10" y="T11"/>
                </a:cxn>
                <a:cxn ang="0">
                  <a:pos x="T12" y="T13"/>
                </a:cxn>
              </a:cxnLst>
              <a:rect l="0" t="0" r="r" b="b"/>
              <a:pathLst>
                <a:path w="38" h="100">
                  <a:moveTo>
                    <a:pt x="31" y="0"/>
                  </a:moveTo>
                  <a:cubicBezTo>
                    <a:pt x="6" y="0"/>
                    <a:pt x="6" y="0"/>
                    <a:pt x="6" y="0"/>
                  </a:cubicBezTo>
                  <a:cubicBezTo>
                    <a:pt x="3" y="0"/>
                    <a:pt x="0" y="2"/>
                    <a:pt x="0" y="6"/>
                  </a:cubicBezTo>
                  <a:cubicBezTo>
                    <a:pt x="0" y="100"/>
                    <a:pt x="0" y="100"/>
                    <a:pt x="0" y="100"/>
                  </a:cubicBezTo>
                  <a:cubicBezTo>
                    <a:pt x="38" y="100"/>
                    <a:pt x="38" y="100"/>
                    <a:pt x="38" y="100"/>
                  </a:cubicBezTo>
                  <a:cubicBezTo>
                    <a:pt x="38" y="6"/>
                    <a:pt x="38" y="6"/>
                    <a:pt x="38" y="6"/>
                  </a:cubicBezTo>
                  <a:cubicBezTo>
                    <a:pt x="38" y="2"/>
                    <a:pt x="35" y="0"/>
                    <a:pt x="31"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HarmonyOS Sans SC"/>
                <a:cs typeface="+mn-cs"/>
              </a:endParaRPr>
            </a:p>
          </p:txBody>
        </p:sp>
        <p:sp>
          <p:nvSpPr>
            <p:cNvPr id="17" name="Freeform 20">
              <a:extLst>
                <a:ext uri="{FF2B5EF4-FFF2-40B4-BE49-F238E27FC236}">
                  <a16:creationId xmlns:a16="http://schemas.microsoft.com/office/drawing/2014/main" id="{ADBCA5D1-CCE0-42D0-B22D-466A3D892D88}"/>
                </a:ext>
              </a:extLst>
            </p:cNvPr>
            <p:cNvSpPr>
              <a:spLocks noEditPoints="1"/>
            </p:cNvSpPr>
            <p:nvPr/>
          </p:nvSpPr>
          <p:spPr bwMode="auto">
            <a:xfrm>
              <a:off x="3575" y="2746"/>
              <a:ext cx="556" cy="497"/>
            </a:xfrm>
            <a:custGeom>
              <a:avLst/>
              <a:gdLst>
                <a:gd name="T0" fmla="*/ 197 w 265"/>
                <a:gd name="T1" fmla="*/ 133 h 237"/>
                <a:gd name="T2" fmla="*/ 153 w 265"/>
                <a:gd name="T3" fmla="*/ 152 h 237"/>
                <a:gd name="T4" fmla="*/ 108 w 265"/>
                <a:gd name="T5" fmla="*/ 133 h 237"/>
                <a:gd name="T6" fmla="*/ 108 w 265"/>
                <a:gd name="T7" fmla="*/ 44 h 237"/>
                <a:gd name="T8" fmla="*/ 153 w 265"/>
                <a:gd name="T9" fmla="*/ 26 h 237"/>
                <a:gd name="T10" fmla="*/ 158 w 265"/>
                <a:gd name="T11" fmla="*/ 26 h 237"/>
                <a:gd name="T12" fmla="*/ 158 w 265"/>
                <a:gd name="T13" fmla="*/ 1 h 237"/>
                <a:gd name="T14" fmla="*/ 153 w 265"/>
                <a:gd name="T15" fmla="*/ 0 h 237"/>
                <a:gd name="T16" fmla="*/ 90 w 265"/>
                <a:gd name="T17" fmla="*/ 26 h 237"/>
                <a:gd name="T18" fmla="*/ 79 w 265"/>
                <a:gd name="T19" fmla="*/ 138 h 237"/>
                <a:gd name="T20" fmla="*/ 62 w 265"/>
                <a:gd name="T21" fmla="*/ 155 h 237"/>
                <a:gd name="T22" fmla="*/ 58 w 265"/>
                <a:gd name="T23" fmla="*/ 151 h 237"/>
                <a:gd name="T24" fmla="*/ 53 w 265"/>
                <a:gd name="T25" fmla="*/ 151 h 237"/>
                <a:gd name="T26" fmla="*/ 2 w 265"/>
                <a:gd name="T27" fmla="*/ 202 h 237"/>
                <a:gd name="T28" fmla="*/ 2 w 265"/>
                <a:gd name="T29" fmla="*/ 211 h 237"/>
                <a:gd name="T30" fmla="*/ 26 w 265"/>
                <a:gd name="T31" fmla="*/ 235 h 237"/>
                <a:gd name="T32" fmla="*/ 35 w 265"/>
                <a:gd name="T33" fmla="*/ 235 h 237"/>
                <a:gd name="T34" fmla="*/ 86 w 265"/>
                <a:gd name="T35" fmla="*/ 184 h 237"/>
                <a:gd name="T36" fmla="*/ 86 w 265"/>
                <a:gd name="T37" fmla="*/ 179 h 237"/>
                <a:gd name="T38" fmla="*/ 82 w 265"/>
                <a:gd name="T39" fmla="*/ 175 h 237"/>
                <a:gd name="T40" fmla="*/ 99 w 265"/>
                <a:gd name="T41" fmla="*/ 158 h 237"/>
                <a:gd name="T42" fmla="*/ 153 w 265"/>
                <a:gd name="T43" fmla="*/ 177 h 237"/>
                <a:gd name="T44" fmla="*/ 215 w 265"/>
                <a:gd name="T45" fmla="*/ 151 h 237"/>
                <a:gd name="T46" fmla="*/ 232 w 265"/>
                <a:gd name="T47" fmla="*/ 128 h 237"/>
                <a:gd name="T48" fmla="*/ 202 w 265"/>
                <a:gd name="T49" fmla="*/ 128 h 237"/>
                <a:gd name="T50" fmla="*/ 197 w 265"/>
                <a:gd name="T51" fmla="*/ 133 h 237"/>
                <a:gd name="T52" fmla="*/ 127 w 265"/>
                <a:gd name="T53" fmla="*/ 62 h 237"/>
                <a:gd name="T54" fmla="*/ 120 w 265"/>
                <a:gd name="T55" fmla="*/ 68 h 237"/>
                <a:gd name="T56" fmla="*/ 120 w 265"/>
                <a:gd name="T57" fmla="*/ 112 h 237"/>
                <a:gd name="T58" fmla="*/ 158 w 265"/>
                <a:gd name="T59" fmla="*/ 112 h 237"/>
                <a:gd name="T60" fmla="*/ 158 w 265"/>
                <a:gd name="T61" fmla="*/ 68 h 237"/>
                <a:gd name="T62" fmla="*/ 152 w 265"/>
                <a:gd name="T63" fmla="*/ 62 h 237"/>
                <a:gd name="T64" fmla="*/ 127 w 265"/>
                <a:gd name="T65" fmla="*/ 62 h 237"/>
                <a:gd name="T66" fmla="*/ 259 w 265"/>
                <a:gd name="T67" fmla="*/ 43 h 237"/>
                <a:gd name="T68" fmla="*/ 234 w 265"/>
                <a:gd name="T69" fmla="*/ 43 h 237"/>
                <a:gd name="T70" fmla="*/ 228 w 265"/>
                <a:gd name="T71" fmla="*/ 49 h 237"/>
                <a:gd name="T72" fmla="*/ 228 w 265"/>
                <a:gd name="T73" fmla="*/ 112 h 237"/>
                <a:gd name="T74" fmla="*/ 265 w 265"/>
                <a:gd name="T75" fmla="*/ 112 h 237"/>
                <a:gd name="T76" fmla="*/ 265 w 265"/>
                <a:gd name="T77" fmla="*/ 49 h 237"/>
                <a:gd name="T78" fmla="*/ 259 w 265"/>
                <a:gd name="T79" fmla="*/ 43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65" h="237">
                  <a:moveTo>
                    <a:pt x="197" y="133"/>
                  </a:moveTo>
                  <a:cubicBezTo>
                    <a:pt x="185" y="145"/>
                    <a:pt x="170" y="152"/>
                    <a:pt x="153" y="152"/>
                  </a:cubicBezTo>
                  <a:cubicBezTo>
                    <a:pt x="136" y="152"/>
                    <a:pt x="120" y="145"/>
                    <a:pt x="108" y="133"/>
                  </a:cubicBezTo>
                  <a:cubicBezTo>
                    <a:pt x="84" y="109"/>
                    <a:pt x="84" y="69"/>
                    <a:pt x="108" y="44"/>
                  </a:cubicBezTo>
                  <a:cubicBezTo>
                    <a:pt x="120" y="32"/>
                    <a:pt x="136" y="26"/>
                    <a:pt x="153" y="26"/>
                  </a:cubicBezTo>
                  <a:cubicBezTo>
                    <a:pt x="155" y="26"/>
                    <a:pt x="156" y="26"/>
                    <a:pt x="158" y="26"/>
                  </a:cubicBezTo>
                  <a:cubicBezTo>
                    <a:pt x="158" y="1"/>
                    <a:pt x="158" y="1"/>
                    <a:pt x="158" y="1"/>
                  </a:cubicBezTo>
                  <a:cubicBezTo>
                    <a:pt x="156" y="1"/>
                    <a:pt x="155" y="0"/>
                    <a:pt x="153" y="0"/>
                  </a:cubicBezTo>
                  <a:cubicBezTo>
                    <a:pt x="130" y="0"/>
                    <a:pt x="108" y="9"/>
                    <a:pt x="90" y="26"/>
                  </a:cubicBezTo>
                  <a:cubicBezTo>
                    <a:pt x="60" y="57"/>
                    <a:pt x="56" y="103"/>
                    <a:pt x="79" y="138"/>
                  </a:cubicBezTo>
                  <a:cubicBezTo>
                    <a:pt x="62" y="155"/>
                    <a:pt x="62" y="155"/>
                    <a:pt x="62" y="155"/>
                  </a:cubicBezTo>
                  <a:cubicBezTo>
                    <a:pt x="58" y="151"/>
                    <a:pt x="58" y="151"/>
                    <a:pt x="58" y="151"/>
                  </a:cubicBezTo>
                  <a:cubicBezTo>
                    <a:pt x="57" y="150"/>
                    <a:pt x="55" y="150"/>
                    <a:pt x="53" y="151"/>
                  </a:cubicBezTo>
                  <a:cubicBezTo>
                    <a:pt x="2" y="202"/>
                    <a:pt x="2" y="202"/>
                    <a:pt x="2" y="202"/>
                  </a:cubicBezTo>
                  <a:cubicBezTo>
                    <a:pt x="0" y="205"/>
                    <a:pt x="0" y="209"/>
                    <a:pt x="2" y="211"/>
                  </a:cubicBezTo>
                  <a:cubicBezTo>
                    <a:pt x="26" y="235"/>
                    <a:pt x="26" y="235"/>
                    <a:pt x="26" y="235"/>
                  </a:cubicBezTo>
                  <a:cubicBezTo>
                    <a:pt x="28" y="237"/>
                    <a:pt x="32" y="237"/>
                    <a:pt x="35" y="235"/>
                  </a:cubicBezTo>
                  <a:cubicBezTo>
                    <a:pt x="86" y="184"/>
                    <a:pt x="86" y="184"/>
                    <a:pt x="86" y="184"/>
                  </a:cubicBezTo>
                  <a:cubicBezTo>
                    <a:pt x="87" y="182"/>
                    <a:pt x="87" y="180"/>
                    <a:pt x="86" y="179"/>
                  </a:cubicBezTo>
                  <a:cubicBezTo>
                    <a:pt x="82" y="175"/>
                    <a:pt x="82" y="175"/>
                    <a:pt x="82" y="175"/>
                  </a:cubicBezTo>
                  <a:cubicBezTo>
                    <a:pt x="99" y="158"/>
                    <a:pt x="99" y="158"/>
                    <a:pt x="99" y="158"/>
                  </a:cubicBezTo>
                  <a:cubicBezTo>
                    <a:pt x="115" y="171"/>
                    <a:pt x="134" y="177"/>
                    <a:pt x="153" y="177"/>
                  </a:cubicBezTo>
                  <a:cubicBezTo>
                    <a:pt x="175" y="177"/>
                    <a:pt x="198" y="168"/>
                    <a:pt x="215" y="151"/>
                  </a:cubicBezTo>
                  <a:cubicBezTo>
                    <a:pt x="222" y="144"/>
                    <a:pt x="228" y="136"/>
                    <a:pt x="232" y="128"/>
                  </a:cubicBezTo>
                  <a:cubicBezTo>
                    <a:pt x="202" y="128"/>
                    <a:pt x="202" y="128"/>
                    <a:pt x="202" y="128"/>
                  </a:cubicBezTo>
                  <a:cubicBezTo>
                    <a:pt x="201" y="130"/>
                    <a:pt x="199" y="132"/>
                    <a:pt x="197" y="133"/>
                  </a:cubicBezTo>
                  <a:close/>
                  <a:moveTo>
                    <a:pt x="127" y="62"/>
                  </a:moveTo>
                  <a:cubicBezTo>
                    <a:pt x="123" y="62"/>
                    <a:pt x="120" y="65"/>
                    <a:pt x="120" y="68"/>
                  </a:cubicBezTo>
                  <a:cubicBezTo>
                    <a:pt x="120" y="112"/>
                    <a:pt x="120" y="112"/>
                    <a:pt x="120" y="112"/>
                  </a:cubicBezTo>
                  <a:cubicBezTo>
                    <a:pt x="158" y="112"/>
                    <a:pt x="158" y="112"/>
                    <a:pt x="158" y="112"/>
                  </a:cubicBezTo>
                  <a:cubicBezTo>
                    <a:pt x="158" y="68"/>
                    <a:pt x="158" y="68"/>
                    <a:pt x="158" y="68"/>
                  </a:cubicBezTo>
                  <a:cubicBezTo>
                    <a:pt x="158" y="65"/>
                    <a:pt x="155" y="62"/>
                    <a:pt x="152" y="62"/>
                  </a:cubicBezTo>
                  <a:lnTo>
                    <a:pt x="127" y="62"/>
                  </a:lnTo>
                  <a:close/>
                  <a:moveTo>
                    <a:pt x="259" y="43"/>
                  </a:moveTo>
                  <a:cubicBezTo>
                    <a:pt x="234" y="43"/>
                    <a:pt x="234" y="43"/>
                    <a:pt x="234" y="43"/>
                  </a:cubicBezTo>
                  <a:cubicBezTo>
                    <a:pt x="230" y="43"/>
                    <a:pt x="228" y="46"/>
                    <a:pt x="228" y="49"/>
                  </a:cubicBezTo>
                  <a:cubicBezTo>
                    <a:pt x="228" y="112"/>
                    <a:pt x="228" y="112"/>
                    <a:pt x="228" y="112"/>
                  </a:cubicBezTo>
                  <a:cubicBezTo>
                    <a:pt x="265" y="112"/>
                    <a:pt x="265" y="112"/>
                    <a:pt x="265" y="112"/>
                  </a:cubicBezTo>
                  <a:cubicBezTo>
                    <a:pt x="265" y="49"/>
                    <a:pt x="265" y="49"/>
                    <a:pt x="265" y="49"/>
                  </a:cubicBezTo>
                  <a:cubicBezTo>
                    <a:pt x="265" y="46"/>
                    <a:pt x="263" y="43"/>
                    <a:pt x="259" y="4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HarmonyOS Sans SC"/>
                <a:cs typeface="+mn-cs"/>
              </a:endParaRPr>
            </a:p>
          </p:txBody>
        </p:sp>
      </p:grpSp>
      <p:cxnSp>
        <p:nvCxnSpPr>
          <p:cNvPr id="31" name="Straight Connector 33">
            <a:extLst>
              <a:ext uri="{FF2B5EF4-FFF2-40B4-BE49-F238E27FC236}">
                <a16:creationId xmlns:a16="http://schemas.microsoft.com/office/drawing/2014/main" id="{2EDF448C-3291-451A-8ADC-EAE3AE453173}"/>
              </a:ext>
            </a:extLst>
          </p:cNvPr>
          <p:cNvCxnSpPr>
            <a:cxnSpLocks/>
          </p:cNvCxnSpPr>
          <p:nvPr/>
        </p:nvCxnSpPr>
        <p:spPr>
          <a:xfrm>
            <a:off x="6099852" y="3098878"/>
            <a:ext cx="0" cy="245417"/>
          </a:xfrm>
          <a:prstGeom prst="line">
            <a:avLst/>
          </a:prstGeom>
          <a:ln w="12700">
            <a:solidFill>
              <a:schemeClr val="accent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grpSp>
        <p:nvGrpSpPr>
          <p:cNvPr id="65" name="组合 64">
            <a:extLst>
              <a:ext uri="{FF2B5EF4-FFF2-40B4-BE49-F238E27FC236}">
                <a16:creationId xmlns:a16="http://schemas.microsoft.com/office/drawing/2014/main" id="{90DA9AB2-528A-4C26-BC91-04E8F2ED012E}"/>
              </a:ext>
            </a:extLst>
          </p:cNvPr>
          <p:cNvGrpSpPr/>
          <p:nvPr/>
        </p:nvGrpSpPr>
        <p:grpSpPr>
          <a:xfrm>
            <a:off x="5995077" y="3336062"/>
            <a:ext cx="209550" cy="209550"/>
            <a:chOff x="5585550" y="2229291"/>
            <a:chExt cx="209550" cy="209550"/>
          </a:xfrm>
        </p:grpSpPr>
        <p:sp>
          <p:nvSpPr>
            <p:cNvPr id="66" name="Oval 69">
              <a:extLst>
                <a:ext uri="{FF2B5EF4-FFF2-40B4-BE49-F238E27FC236}">
                  <a16:creationId xmlns:a16="http://schemas.microsoft.com/office/drawing/2014/main" id="{2B9587F8-89C2-4599-9F01-42BA0162DBDC}"/>
                </a:ext>
              </a:extLst>
            </p:cNvPr>
            <p:cNvSpPr/>
            <p:nvPr/>
          </p:nvSpPr>
          <p:spPr>
            <a:xfrm flipH="1">
              <a:off x="5585550" y="2229291"/>
              <a:ext cx="209550" cy="209550"/>
            </a:xfrm>
            <a:prstGeom prst="ellipse">
              <a:avLst/>
            </a:prstGeom>
            <a:solidFill>
              <a:schemeClr val="accent1">
                <a:lumMod val="20000"/>
                <a:lumOff val="80000"/>
                <a:alpha val="5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800" b="0" i="0" u="none" strike="noStrike" kern="1200" cap="none" spc="0" normalizeH="0" baseline="0" noProof="0">
                <a:ln>
                  <a:noFill/>
                </a:ln>
                <a:solidFill>
                  <a:prstClr val="black">
                    <a:lumMod val="50000"/>
                    <a:lumOff val="50000"/>
                  </a:prstClr>
                </a:solidFill>
                <a:effectLst/>
                <a:uLnTx/>
                <a:uFillTx/>
                <a:latin typeface="HarmonyOS Sans SC"/>
                <a:cs typeface="+mn-cs"/>
              </a:endParaRPr>
            </a:p>
          </p:txBody>
        </p:sp>
        <p:sp>
          <p:nvSpPr>
            <p:cNvPr id="67" name="Oval 70">
              <a:extLst>
                <a:ext uri="{FF2B5EF4-FFF2-40B4-BE49-F238E27FC236}">
                  <a16:creationId xmlns:a16="http://schemas.microsoft.com/office/drawing/2014/main" id="{98C19906-38A1-47C7-8898-F412CFE10E81}"/>
                </a:ext>
              </a:extLst>
            </p:cNvPr>
            <p:cNvSpPr/>
            <p:nvPr/>
          </p:nvSpPr>
          <p:spPr>
            <a:xfrm flipH="1" flipV="1">
              <a:off x="5654983" y="2298724"/>
              <a:ext cx="70684" cy="70684"/>
            </a:xfrm>
            <a:prstGeom prst="ellipse">
              <a:avLst/>
            </a:prstGeom>
            <a:gradFill>
              <a:gsLst>
                <a:gs pos="73000">
                  <a:schemeClr val="accent1"/>
                </a:gs>
                <a:gs pos="31000">
                  <a:schemeClr val="accent1">
                    <a:lumMod val="60000"/>
                    <a:lumOff val="40000"/>
                  </a:schemeClr>
                </a:gs>
                <a:gs pos="0">
                  <a:schemeClr val="accent1">
                    <a:lumMod val="40000"/>
                    <a:lumOff val="60000"/>
                  </a:schemeClr>
                </a:gs>
              </a:gsLst>
              <a:lin ang="2700000" scaled="1"/>
            </a:gra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800" b="0" i="0" u="none" strike="noStrike" kern="1200" cap="none" spc="0" normalizeH="0" baseline="0" noProof="0">
                <a:ln>
                  <a:noFill/>
                </a:ln>
                <a:solidFill>
                  <a:prstClr val="black">
                    <a:lumMod val="50000"/>
                    <a:lumOff val="50000"/>
                  </a:prstClr>
                </a:solidFill>
                <a:effectLst/>
                <a:uLnTx/>
                <a:uFillTx/>
                <a:latin typeface="HarmonyOS Sans SC"/>
                <a:cs typeface="+mn-cs"/>
              </a:endParaRPr>
            </a:p>
          </p:txBody>
        </p:sp>
      </p:grpSp>
      <p:grpSp>
        <p:nvGrpSpPr>
          <p:cNvPr id="78" name="组合 77">
            <a:extLst>
              <a:ext uri="{FF2B5EF4-FFF2-40B4-BE49-F238E27FC236}">
                <a16:creationId xmlns:a16="http://schemas.microsoft.com/office/drawing/2014/main" id="{38FC6423-4EFB-4911-9F42-BCDB3CED3C14}"/>
              </a:ext>
            </a:extLst>
          </p:cNvPr>
          <p:cNvGrpSpPr/>
          <p:nvPr/>
        </p:nvGrpSpPr>
        <p:grpSpPr>
          <a:xfrm>
            <a:off x="5193829" y="2152798"/>
            <a:ext cx="1812046" cy="846145"/>
            <a:chOff x="5154634" y="1949395"/>
            <a:chExt cx="1812046" cy="846145"/>
          </a:xfrm>
        </p:grpSpPr>
        <p:sp>
          <p:nvSpPr>
            <p:cNvPr id="76" name="TextBox 65">
              <a:extLst>
                <a:ext uri="{FF2B5EF4-FFF2-40B4-BE49-F238E27FC236}">
                  <a16:creationId xmlns:a16="http://schemas.microsoft.com/office/drawing/2014/main" id="{FDE65AA3-7EA5-4A20-9FE1-E1AF023E4D30}"/>
                </a:ext>
              </a:extLst>
            </p:cNvPr>
            <p:cNvSpPr txBox="1"/>
            <p:nvPr/>
          </p:nvSpPr>
          <p:spPr>
            <a:xfrm>
              <a:off x="5291193" y="1949395"/>
              <a:ext cx="1538928" cy="345598"/>
            </a:xfrm>
            <a:prstGeom prst="rect">
              <a:avLst/>
            </a:prstGeom>
            <a:noFill/>
          </p:spPr>
          <p:txBody>
            <a:bodyPr wrap="square" lIns="0" tIns="36000" rIns="0" bIns="36000" rtlCol="0">
              <a:spAutoFit/>
            </a:bodyPr>
            <a:lstStyle/>
            <a:p>
              <a:pPr marL="0" marR="0" lvl="0" indent="0" algn="ctr" defTabSz="914400" rtl="0" eaLnBrk="1" fontAlgn="auto" latinLnBrk="0" hangingPunct="1">
                <a:lnSpc>
                  <a:spcPct val="120000"/>
                </a:lnSpc>
                <a:spcBef>
                  <a:spcPts val="600"/>
                </a:spcBef>
                <a:spcAft>
                  <a:spcPts val="0"/>
                </a:spcAft>
                <a:buClrTx/>
                <a:buSzTx/>
                <a:buFontTx/>
                <a:buNone/>
                <a:tabLst/>
                <a:defRPr/>
              </a:pPr>
              <a:r>
                <a:rPr kumimoji="0" lang="en-US" sz="1600" b="0" i="0" u="none" strike="noStrike" kern="1200" cap="none" spc="0" normalizeH="0" baseline="0" noProof="0" dirty="0">
                  <a:ln>
                    <a:noFill/>
                  </a:ln>
                  <a:solidFill>
                    <a:schemeClr val="accent1"/>
                  </a:solidFill>
                  <a:effectLst/>
                  <a:uLnTx/>
                  <a:uFillTx/>
                  <a:latin typeface="HarmonyOS Sans SC Black"/>
                  <a:ea typeface="+mj-ea"/>
                  <a:cs typeface="+mn-cs"/>
                </a:rPr>
                <a:t>Subtitle Here</a:t>
              </a:r>
              <a:endParaRPr kumimoji="0" lang="en-US" sz="1100" b="0" i="0" u="none" strike="noStrike" kern="1200" cap="none" spc="0" normalizeH="0" baseline="0" noProof="0" dirty="0">
                <a:ln>
                  <a:noFill/>
                </a:ln>
                <a:solidFill>
                  <a:schemeClr val="accent1"/>
                </a:solidFill>
                <a:effectLst/>
                <a:uLnTx/>
                <a:uFillTx/>
                <a:latin typeface="HarmonyOS Sans SC Black"/>
                <a:ea typeface="+mj-ea"/>
                <a:cs typeface="+mn-cs"/>
              </a:endParaRPr>
            </a:p>
          </p:txBody>
        </p:sp>
        <p:sp>
          <p:nvSpPr>
            <p:cNvPr id="77" name="TextBox 65">
              <a:extLst>
                <a:ext uri="{FF2B5EF4-FFF2-40B4-BE49-F238E27FC236}">
                  <a16:creationId xmlns:a16="http://schemas.microsoft.com/office/drawing/2014/main" id="{F13C4DE5-096E-4D76-A918-486C64BB911B}"/>
                </a:ext>
              </a:extLst>
            </p:cNvPr>
            <p:cNvSpPr txBox="1"/>
            <p:nvPr/>
          </p:nvSpPr>
          <p:spPr>
            <a:xfrm>
              <a:off x="5154634" y="2332794"/>
              <a:ext cx="1812046" cy="462746"/>
            </a:xfrm>
            <a:prstGeom prst="rect">
              <a:avLst/>
            </a:prstGeom>
            <a:noFill/>
          </p:spPr>
          <p:txBody>
            <a:bodyPr wrap="square" lIns="0" tIns="36000" rIns="0" bIns="36000" rtlCol="0">
              <a:spAutoFit/>
            </a:bodyPr>
            <a:lstStyle/>
            <a:p>
              <a:pPr marL="0" marR="0" lvl="0" indent="0" algn="ctr" defTabSz="914400" rtl="0" eaLnBrk="1" fontAlgn="auto" latinLnBrk="0" hangingPunct="1">
                <a:lnSpc>
                  <a:spcPct val="120000"/>
                </a:lnSpc>
                <a:spcBef>
                  <a:spcPts val="600"/>
                </a:spcBef>
                <a:spcAft>
                  <a:spcPts val="0"/>
                </a:spcAft>
                <a:buClrTx/>
                <a:buSzTx/>
                <a:buFontTx/>
                <a:buNone/>
                <a:tabLst/>
                <a:defRPr/>
              </a:pPr>
              <a:r>
                <a:rPr kumimoji="0" lang="en-US" sz="1100" b="0" i="0" u="none" strike="noStrike" kern="1200" cap="none" spc="0" normalizeH="0" baseline="0" noProof="0" dirty="0">
                  <a:ln>
                    <a:noFill/>
                  </a:ln>
                  <a:solidFill>
                    <a:prstClr val="black">
                      <a:lumMod val="50000"/>
                      <a:lumOff val="50000"/>
                    </a:prstClr>
                  </a:solidFill>
                  <a:effectLst/>
                  <a:uLnTx/>
                  <a:uFillTx/>
                  <a:latin typeface="HarmonyOS Sans SC"/>
                  <a:cs typeface="+mn-cs"/>
                </a:rPr>
                <a:t>As the minuteness of the parts formed a great.</a:t>
              </a:r>
            </a:p>
          </p:txBody>
        </p:sp>
      </p:grpSp>
      <p:sp>
        <p:nvSpPr>
          <p:cNvPr id="10" name="Arrow: Pentagon 46">
            <a:extLst>
              <a:ext uri="{FF2B5EF4-FFF2-40B4-BE49-F238E27FC236}">
                <a16:creationId xmlns:a16="http://schemas.microsoft.com/office/drawing/2014/main" id="{FEBF2653-8519-40CC-8805-5E14B968CB8C}"/>
              </a:ext>
            </a:extLst>
          </p:cNvPr>
          <p:cNvSpPr/>
          <p:nvPr/>
        </p:nvSpPr>
        <p:spPr>
          <a:xfrm rot="16200000">
            <a:off x="7271551" y="4112899"/>
            <a:ext cx="2096459" cy="1181954"/>
          </a:xfrm>
          <a:prstGeom prst="homePlate">
            <a:avLst>
              <a:gd name="adj" fmla="val 38782"/>
            </a:avLst>
          </a:prstGeom>
          <a:gradFill flip="none" rotWithShape="1">
            <a:gsLst>
              <a:gs pos="73000">
                <a:schemeClr val="accent1"/>
              </a:gs>
              <a:gs pos="31000">
                <a:schemeClr val="accent1">
                  <a:lumMod val="60000"/>
                  <a:lumOff val="40000"/>
                </a:schemeClr>
              </a:gs>
              <a:gs pos="0">
                <a:schemeClr val="accent1">
                  <a:lumMod val="40000"/>
                  <a:lumOff val="6000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vert="vert" lIns="0" tIns="0" rIns="457200" bIns="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0F0F0"/>
                </a:solidFill>
                <a:effectLst/>
                <a:uLnTx/>
                <a:uFillTx/>
                <a:latin typeface="HarmonyOS Sans SC"/>
                <a:cs typeface="+mn-cs"/>
              </a:rPr>
              <a:t>STEP</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0F0F0"/>
                </a:solidFill>
                <a:effectLst/>
                <a:uLnTx/>
                <a:uFillTx/>
                <a:latin typeface="HarmonyOS Sans SC"/>
                <a:cs typeface="+mn-cs"/>
              </a:rPr>
              <a:t>03</a:t>
            </a:r>
          </a:p>
        </p:txBody>
      </p:sp>
      <p:sp>
        <p:nvSpPr>
          <p:cNvPr id="11" name="Freeform 9">
            <a:extLst>
              <a:ext uri="{FF2B5EF4-FFF2-40B4-BE49-F238E27FC236}">
                <a16:creationId xmlns:a16="http://schemas.microsoft.com/office/drawing/2014/main" id="{6FC4D327-D5C8-4C8E-AC0F-A200B22E551C}"/>
              </a:ext>
            </a:extLst>
          </p:cNvPr>
          <p:cNvSpPr>
            <a:spLocks/>
          </p:cNvSpPr>
          <p:nvPr/>
        </p:nvSpPr>
        <p:spPr bwMode="auto">
          <a:xfrm>
            <a:off x="7452374" y="5752779"/>
            <a:ext cx="1458304" cy="1105220"/>
          </a:xfrm>
          <a:custGeom>
            <a:avLst/>
            <a:gdLst>
              <a:gd name="T0" fmla="*/ 1905 w 1905"/>
              <a:gd name="T1" fmla="*/ 0 h 1726"/>
              <a:gd name="T2" fmla="*/ 362 w 1905"/>
              <a:gd name="T3" fmla="*/ 0 h 1726"/>
              <a:gd name="T4" fmla="*/ 0 w 1905"/>
              <a:gd name="T5" fmla="*/ 1726 h 1726"/>
              <a:gd name="T6" fmla="*/ 970 w 1905"/>
              <a:gd name="T7" fmla="*/ 1726 h 1726"/>
              <a:gd name="T8" fmla="*/ 1905 w 1905"/>
              <a:gd name="T9" fmla="*/ 0 h 1726"/>
            </a:gdLst>
            <a:ahLst/>
            <a:cxnLst>
              <a:cxn ang="0">
                <a:pos x="T0" y="T1"/>
              </a:cxn>
              <a:cxn ang="0">
                <a:pos x="T2" y="T3"/>
              </a:cxn>
              <a:cxn ang="0">
                <a:pos x="T4" y="T5"/>
              </a:cxn>
              <a:cxn ang="0">
                <a:pos x="T6" y="T7"/>
              </a:cxn>
              <a:cxn ang="0">
                <a:pos x="T8" y="T9"/>
              </a:cxn>
            </a:cxnLst>
            <a:rect l="0" t="0" r="r" b="b"/>
            <a:pathLst>
              <a:path w="1905" h="1726">
                <a:moveTo>
                  <a:pt x="1905" y="0"/>
                </a:moveTo>
                <a:lnTo>
                  <a:pt x="362" y="0"/>
                </a:lnTo>
                <a:lnTo>
                  <a:pt x="0" y="1726"/>
                </a:lnTo>
                <a:lnTo>
                  <a:pt x="970" y="1726"/>
                </a:lnTo>
                <a:lnTo>
                  <a:pt x="1905" y="0"/>
                </a:lnTo>
                <a:close/>
              </a:path>
            </a:pathLst>
          </a:custGeom>
          <a:gradFill flip="none" rotWithShape="1">
            <a:gsLst>
              <a:gs pos="73000">
                <a:schemeClr val="accent1"/>
              </a:gs>
              <a:gs pos="31000">
                <a:schemeClr val="accent1">
                  <a:lumMod val="60000"/>
                  <a:lumOff val="40000"/>
                </a:schemeClr>
              </a:gs>
              <a:gs pos="0">
                <a:schemeClr val="accent1">
                  <a:lumMod val="40000"/>
                  <a:lumOff val="60000"/>
                </a:schemeClr>
              </a:gs>
            </a:gsLst>
            <a:lin ang="5400000" scaled="1"/>
            <a:tileRect/>
          </a:gradFill>
          <a:ln>
            <a:noFill/>
          </a:ln>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HarmonyOS Sans SC"/>
              <a:cs typeface="+mn-cs"/>
            </a:endParaRPr>
          </a:p>
        </p:txBody>
      </p:sp>
      <p:grpSp>
        <p:nvGrpSpPr>
          <p:cNvPr id="18" name="Group 23">
            <a:extLst>
              <a:ext uri="{FF2B5EF4-FFF2-40B4-BE49-F238E27FC236}">
                <a16:creationId xmlns:a16="http://schemas.microsoft.com/office/drawing/2014/main" id="{C34FA0F5-EAAA-408C-9517-CB98B5BBE601}"/>
              </a:ext>
            </a:extLst>
          </p:cNvPr>
          <p:cNvGrpSpPr>
            <a:grpSpLocks noChangeAspect="1"/>
          </p:cNvGrpSpPr>
          <p:nvPr/>
        </p:nvGrpSpPr>
        <p:grpSpPr bwMode="auto">
          <a:xfrm>
            <a:off x="8191033" y="5111452"/>
            <a:ext cx="304800" cy="340748"/>
            <a:chOff x="3667" y="2348"/>
            <a:chExt cx="407" cy="455"/>
          </a:xfrm>
        </p:grpSpPr>
        <p:sp>
          <p:nvSpPr>
            <p:cNvPr id="19" name="Freeform 24">
              <a:extLst>
                <a:ext uri="{FF2B5EF4-FFF2-40B4-BE49-F238E27FC236}">
                  <a16:creationId xmlns:a16="http://schemas.microsoft.com/office/drawing/2014/main" id="{C3197779-0953-4670-A304-D26D686F6B2D}"/>
                </a:ext>
              </a:extLst>
            </p:cNvPr>
            <p:cNvSpPr>
              <a:spLocks noEditPoints="1"/>
            </p:cNvSpPr>
            <p:nvPr/>
          </p:nvSpPr>
          <p:spPr bwMode="auto">
            <a:xfrm>
              <a:off x="3667" y="2348"/>
              <a:ext cx="407" cy="455"/>
            </a:xfrm>
            <a:custGeom>
              <a:avLst/>
              <a:gdLst>
                <a:gd name="T0" fmla="*/ 184 w 193"/>
                <a:gd name="T1" fmla="*/ 45 h 217"/>
                <a:gd name="T2" fmla="*/ 103 w 193"/>
                <a:gd name="T3" fmla="*/ 3 h 217"/>
                <a:gd name="T4" fmla="*/ 90 w 193"/>
                <a:gd name="T5" fmla="*/ 3 h 217"/>
                <a:gd name="T6" fmla="*/ 9 w 193"/>
                <a:gd name="T7" fmla="*/ 45 h 217"/>
                <a:gd name="T8" fmla="*/ 0 w 193"/>
                <a:gd name="T9" fmla="*/ 55 h 217"/>
                <a:gd name="T10" fmla="*/ 92 w 193"/>
                <a:gd name="T11" fmla="*/ 215 h 217"/>
                <a:gd name="T12" fmla="*/ 101 w 193"/>
                <a:gd name="T13" fmla="*/ 215 h 217"/>
                <a:gd name="T14" fmla="*/ 193 w 193"/>
                <a:gd name="T15" fmla="*/ 55 h 217"/>
                <a:gd name="T16" fmla="*/ 184 w 193"/>
                <a:gd name="T17" fmla="*/ 45 h 217"/>
                <a:gd name="T18" fmla="*/ 97 w 193"/>
                <a:gd name="T19" fmla="*/ 160 h 217"/>
                <a:gd name="T20" fmla="*/ 45 w 193"/>
                <a:gd name="T21" fmla="*/ 109 h 217"/>
                <a:gd name="T22" fmla="*/ 97 w 193"/>
                <a:gd name="T23" fmla="*/ 57 h 217"/>
                <a:gd name="T24" fmla="*/ 148 w 193"/>
                <a:gd name="T25" fmla="*/ 109 h 217"/>
                <a:gd name="T26" fmla="*/ 97 w 193"/>
                <a:gd name="T27" fmla="*/ 160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3" h="217">
                  <a:moveTo>
                    <a:pt x="184" y="45"/>
                  </a:moveTo>
                  <a:cubicBezTo>
                    <a:pt x="150" y="41"/>
                    <a:pt x="117" y="15"/>
                    <a:pt x="103" y="3"/>
                  </a:cubicBezTo>
                  <a:cubicBezTo>
                    <a:pt x="99" y="0"/>
                    <a:pt x="94" y="0"/>
                    <a:pt x="90" y="3"/>
                  </a:cubicBezTo>
                  <a:cubicBezTo>
                    <a:pt x="76" y="15"/>
                    <a:pt x="43" y="41"/>
                    <a:pt x="9" y="45"/>
                  </a:cubicBezTo>
                  <a:cubicBezTo>
                    <a:pt x="4" y="45"/>
                    <a:pt x="0" y="50"/>
                    <a:pt x="0" y="55"/>
                  </a:cubicBezTo>
                  <a:cubicBezTo>
                    <a:pt x="4" y="159"/>
                    <a:pt x="72" y="204"/>
                    <a:pt x="92" y="215"/>
                  </a:cubicBezTo>
                  <a:cubicBezTo>
                    <a:pt x="95" y="217"/>
                    <a:pt x="98" y="217"/>
                    <a:pt x="101" y="215"/>
                  </a:cubicBezTo>
                  <a:cubicBezTo>
                    <a:pt x="121" y="204"/>
                    <a:pt x="189" y="159"/>
                    <a:pt x="193" y="55"/>
                  </a:cubicBezTo>
                  <a:cubicBezTo>
                    <a:pt x="193" y="50"/>
                    <a:pt x="189" y="45"/>
                    <a:pt x="184" y="45"/>
                  </a:cubicBezTo>
                  <a:close/>
                  <a:moveTo>
                    <a:pt x="97" y="160"/>
                  </a:moveTo>
                  <a:cubicBezTo>
                    <a:pt x="68" y="160"/>
                    <a:pt x="45" y="137"/>
                    <a:pt x="45" y="109"/>
                  </a:cubicBezTo>
                  <a:cubicBezTo>
                    <a:pt x="45" y="80"/>
                    <a:pt x="68" y="57"/>
                    <a:pt x="97" y="57"/>
                  </a:cubicBezTo>
                  <a:cubicBezTo>
                    <a:pt x="125" y="57"/>
                    <a:pt x="148" y="80"/>
                    <a:pt x="148" y="109"/>
                  </a:cubicBezTo>
                  <a:cubicBezTo>
                    <a:pt x="148" y="137"/>
                    <a:pt x="125" y="160"/>
                    <a:pt x="97" y="16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HarmonyOS Sans SC"/>
                <a:cs typeface="+mn-cs"/>
              </a:endParaRPr>
            </a:p>
          </p:txBody>
        </p:sp>
        <p:sp>
          <p:nvSpPr>
            <p:cNvPr id="20" name="Freeform 25">
              <a:extLst>
                <a:ext uri="{FF2B5EF4-FFF2-40B4-BE49-F238E27FC236}">
                  <a16:creationId xmlns:a16="http://schemas.microsoft.com/office/drawing/2014/main" id="{181469C6-6F47-4C01-9AA9-9DE30C73270F}"/>
                </a:ext>
              </a:extLst>
            </p:cNvPr>
            <p:cNvSpPr>
              <a:spLocks/>
            </p:cNvSpPr>
            <p:nvPr/>
          </p:nvSpPr>
          <p:spPr bwMode="auto">
            <a:xfrm>
              <a:off x="3800" y="2522"/>
              <a:ext cx="141" cy="107"/>
            </a:xfrm>
            <a:custGeom>
              <a:avLst/>
              <a:gdLst>
                <a:gd name="T0" fmla="*/ 118 w 141"/>
                <a:gd name="T1" fmla="*/ 0 h 107"/>
                <a:gd name="T2" fmla="*/ 55 w 141"/>
                <a:gd name="T3" fmla="*/ 63 h 107"/>
                <a:gd name="T4" fmla="*/ 23 w 141"/>
                <a:gd name="T5" fmla="*/ 32 h 107"/>
                <a:gd name="T6" fmla="*/ 0 w 141"/>
                <a:gd name="T7" fmla="*/ 55 h 107"/>
                <a:gd name="T8" fmla="*/ 31 w 141"/>
                <a:gd name="T9" fmla="*/ 86 h 107"/>
                <a:gd name="T10" fmla="*/ 55 w 141"/>
                <a:gd name="T11" fmla="*/ 107 h 107"/>
                <a:gd name="T12" fmla="*/ 76 w 141"/>
                <a:gd name="T13" fmla="*/ 86 h 107"/>
                <a:gd name="T14" fmla="*/ 141 w 141"/>
                <a:gd name="T15" fmla="*/ 21 h 107"/>
                <a:gd name="T16" fmla="*/ 118 w 141"/>
                <a:gd name="T17"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1" h="107">
                  <a:moveTo>
                    <a:pt x="118" y="0"/>
                  </a:moveTo>
                  <a:lnTo>
                    <a:pt x="55" y="63"/>
                  </a:lnTo>
                  <a:lnTo>
                    <a:pt x="23" y="32"/>
                  </a:lnTo>
                  <a:lnTo>
                    <a:pt x="0" y="55"/>
                  </a:lnTo>
                  <a:lnTo>
                    <a:pt x="31" y="86"/>
                  </a:lnTo>
                  <a:lnTo>
                    <a:pt x="55" y="107"/>
                  </a:lnTo>
                  <a:lnTo>
                    <a:pt x="76" y="86"/>
                  </a:lnTo>
                  <a:lnTo>
                    <a:pt x="141" y="21"/>
                  </a:lnTo>
                  <a:lnTo>
                    <a:pt x="11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HarmonyOS Sans SC"/>
                <a:cs typeface="+mn-cs"/>
              </a:endParaRPr>
            </a:p>
          </p:txBody>
        </p:sp>
      </p:grpSp>
      <p:cxnSp>
        <p:nvCxnSpPr>
          <p:cNvPr id="38" name="Straight Connector 40">
            <a:extLst>
              <a:ext uri="{FF2B5EF4-FFF2-40B4-BE49-F238E27FC236}">
                <a16:creationId xmlns:a16="http://schemas.microsoft.com/office/drawing/2014/main" id="{78B0F3EE-9833-4C1C-9E1F-0076957D0DE9}"/>
              </a:ext>
            </a:extLst>
          </p:cNvPr>
          <p:cNvCxnSpPr>
            <a:cxnSpLocks/>
          </p:cNvCxnSpPr>
          <p:nvPr/>
        </p:nvCxnSpPr>
        <p:spPr>
          <a:xfrm>
            <a:off x="8319781" y="3103129"/>
            <a:ext cx="0" cy="245417"/>
          </a:xfrm>
          <a:prstGeom prst="line">
            <a:avLst/>
          </a:prstGeom>
          <a:ln w="12700">
            <a:solidFill>
              <a:schemeClr val="accent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grpSp>
        <p:nvGrpSpPr>
          <p:cNvPr id="68" name="组合 67">
            <a:extLst>
              <a:ext uri="{FF2B5EF4-FFF2-40B4-BE49-F238E27FC236}">
                <a16:creationId xmlns:a16="http://schemas.microsoft.com/office/drawing/2014/main" id="{4C6732C4-D9F5-43F3-B3A0-E2080BB1BB17}"/>
              </a:ext>
            </a:extLst>
          </p:cNvPr>
          <p:cNvGrpSpPr/>
          <p:nvPr/>
        </p:nvGrpSpPr>
        <p:grpSpPr>
          <a:xfrm>
            <a:off x="8215006" y="3336062"/>
            <a:ext cx="209550" cy="209550"/>
            <a:chOff x="5585550" y="2229291"/>
            <a:chExt cx="209550" cy="209550"/>
          </a:xfrm>
        </p:grpSpPr>
        <p:sp>
          <p:nvSpPr>
            <p:cNvPr id="69" name="Oval 69">
              <a:extLst>
                <a:ext uri="{FF2B5EF4-FFF2-40B4-BE49-F238E27FC236}">
                  <a16:creationId xmlns:a16="http://schemas.microsoft.com/office/drawing/2014/main" id="{BC6CF340-CCAB-477C-BC32-555C5492D84A}"/>
                </a:ext>
              </a:extLst>
            </p:cNvPr>
            <p:cNvSpPr/>
            <p:nvPr/>
          </p:nvSpPr>
          <p:spPr>
            <a:xfrm flipH="1">
              <a:off x="5585550" y="2229291"/>
              <a:ext cx="209550" cy="209550"/>
            </a:xfrm>
            <a:prstGeom prst="ellipse">
              <a:avLst/>
            </a:prstGeom>
            <a:solidFill>
              <a:schemeClr val="accent1">
                <a:lumMod val="20000"/>
                <a:lumOff val="80000"/>
                <a:alpha val="5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800" b="0" i="0" u="none" strike="noStrike" kern="1200" cap="none" spc="0" normalizeH="0" baseline="0" noProof="0">
                <a:ln>
                  <a:noFill/>
                </a:ln>
                <a:solidFill>
                  <a:prstClr val="black">
                    <a:lumMod val="50000"/>
                    <a:lumOff val="50000"/>
                  </a:prstClr>
                </a:solidFill>
                <a:effectLst/>
                <a:uLnTx/>
                <a:uFillTx/>
                <a:latin typeface="HarmonyOS Sans SC"/>
                <a:cs typeface="+mn-cs"/>
              </a:endParaRPr>
            </a:p>
          </p:txBody>
        </p:sp>
        <p:sp>
          <p:nvSpPr>
            <p:cNvPr id="70" name="Oval 70">
              <a:extLst>
                <a:ext uri="{FF2B5EF4-FFF2-40B4-BE49-F238E27FC236}">
                  <a16:creationId xmlns:a16="http://schemas.microsoft.com/office/drawing/2014/main" id="{38D19DFD-2E99-4052-82C6-2FB002F69170}"/>
                </a:ext>
              </a:extLst>
            </p:cNvPr>
            <p:cNvSpPr/>
            <p:nvPr/>
          </p:nvSpPr>
          <p:spPr>
            <a:xfrm flipH="1" flipV="1">
              <a:off x="5654983" y="2298724"/>
              <a:ext cx="70684" cy="70684"/>
            </a:xfrm>
            <a:prstGeom prst="ellipse">
              <a:avLst/>
            </a:prstGeom>
            <a:gradFill>
              <a:gsLst>
                <a:gs pos="73000">
                  <a:schemeClr val="accent1"/>
                </a:gs>
                <a:gs pos="31000">
                  <a:schemeClr val="accent1">
                    <a:lumMod val="60000"/>
                    <a:lumOff val="40000"/>
                  </a:schemeClr>
                </a:gs>
                <a:gs pos="0">
                  <a:schemeClr val="accent1">
                    <a:lumMod val="40000"/>
                    <a:lumOff val="60000"/>
                  </a:schemeClr>
                </a:gs>
              </a:gsLst>
              <a:lin ang="2700000" scaled="1"/>
            </a:gra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800" b="0" i="0" u="none" strike="noStrike" kern="1200" cap="none" spc="0" normalizeH="0" baseline="0" noProof="0">
                <a:ln>
                  <a:noFill/>
                </a:ln>
                <a:solidFill>
                  <a:prstClr val="black">
                    <a:lumMod val="50000"/>
                    <a:lumOff val="50000"/>
                  </a:prstClr>
                </a:solidFill>
                <a:effectLst/>
                <a:uLnTx/>
                <a:uFillTx/>
                <a:latin typeface="HarmonyOS Sans SC"/>
                <a:cs typeface="+mn-cs"/>
              </a:endParaRPr>
            </a:p>
          </p:txBody>
        </p:sp>
      </p:grpSp>
      <p:grpSp>
        <p:nvGrpSpPr>
          <p:cNvPr id="80" name="组合 79">
            <a:extLst>
              <a:ext uri="{FF2B5EF4-FFF2-40B4-BE49-F238E27FC236}">
                <a16:creationId xmlns:a16="http://schemas.microsoft.com/office/drawing/2014/main" id="{EFD13014-DEB5-48C7-99C1-AC0828DE7B73}"/>
              </a:ext>
            </a:extLst>
          </p:cNvPr>
          <p:cNvGrpSpPr/>
          <p:nvPr/>
        </p:nvGrpSpPr>
        <p:grpSpPr>
          <a:xfrm>
            <a:off x="7413758" y="2152798"/>
            <a:ext cx="1812046" cy="846145"/>
            <a:chOff x="5154634" y="1949395"/>
            <a:chExt cx="1812046" cy="846145"/>
          </a:xfrm>
        </p:grpSpPr>
        <p:sp>
          <p:nvSpPr>
            <p:cNvPr id="81" name="TextBox 65">
              <a:extLst>
                <a:ext uri="{FF2B5EF4-FFF2-40B4-BE49-F238E27FC236}">
                  <a16:creationId xmlns:a16="http://schemas.microsoft.com/office/drawing/2014/main" id="{078691A4-3351-4CF3-9039-4B18763F328D}"/>
                </a:ext>
              </a:extLst>
            </p:cNvPr>
            <p:cNvSpPr txBox="1"/>
            <p:nvPr/>
          </p:nvSpPr>
          <p:spPr>
            <a:xfrm>
              <a:off x="5291193" y="1949395"/>
              <a:ext cx="1538928" cy="345598"/>
            </a:xfrm>
            <a:prstGeom prst="rect">
              <a:avLst/>
            </a:prstGeom>
            <a:noFill/>
          </p:spPr>
          <p:txBody>
            <a:bodyPr wrap="square" lIns="0" tIns="36000" rIns="0" bIns="36000" rtlCol="0">
              <a:spAutoFit/>
            </a:bodyPr>
            <a:lstStyle/>
            <a:p>
              <a:pPr marL="0" marR="0" lvl="0" indent="0" algn="ctr" defTabSz="914400" rtl="0" eaLnBrk="1" fontAlgn="auto" latinLnBrk="0" hangingPunct="1">
                <a:lnSpc>
                  <a:spcPct val="120000"/>
                </a:lnSpc>
                <a:spcBef>
                  <a:spcPts val="600"/>
                </a:spcBef>
                <a:spcAft>
                  <a:spcPts val="0"/>
                </a:spcAft>
                <a:buClrTx/>
                <a:buSzTx/>
                <a:buFontTx/>
                <a:buNone/>
                <a:tabLst/>
                <a:defRPr/>
              </a:pPr>
              <a:r>
                <a:rPr kumimoji="0" lang="en-US" sz="1600" b="0" i="0" u="none" strike="noStrike" kern="1200" cap="none" spc="0" normalizeH="0" baseline="0" noProof="0" dirty="0">
                  <a:ln>
                    <a:noFill/>
                  </a:ln>
                  <a:solidFill>
                    <a:schemeClr val="accent1"/>
                  </a:solidFill>
                  <a:effectLst/>
                  <a:uLnTx/>
                  <a:uFillTx/>
                  <a:latin typeface="HarmonyOS Sans SC Black"/>
                  <a:ea typeface="+mj-ea"/>
                  <a:cs typeface="+mn-cs"/>
                </a:rPr>
                <a:t>Subtitle Here</a:t>
              </a:r>
              <a:endParaRPr kumimoji="0" lang="en-US" sz="1100" b="0" i="0" u="none" strike="noStrike" kern="1200" cap="none" spc="0" normalizeH="0" baseline="0" noProof="0" dirty="0">
                <a:ln>
                  <a:noFill/>
                </a:ln>
                <a:solidFill>
                  <a:schemeClr val="accent1"/>
                </a:solidFill>
                <a:effectLst/>
                <a:uLnTx/>
                <a:uFillTx/>
                <a:latin typeface="HarmonyOS Sans SC Black"/>
                <a:ea typeface="+mj-ea"/>
                <a:cs typeface="+mn-cs"/>
              </a:endParaRPr>
            </a:p>
          </p:txBody>
        </p:sp>
        <p:sp>
          <p:nvSpPr>
            <p:cNvPr id="82" name="TextBox 65">
              <a:extLst>
                <a:ext uri="{FF2B5EF4-FFF2-40B4-BE49-F238E27FC236}">
                  <a16:creationId xmlns:a16="http://schemas.microsoft.com/office/drawing/2014/main" id="{1F45E577-424F-44FC-A1C2-166DFFD5411F}"/>
                </a:ext>
              </a:extLst>
            </p:cNvPr>
            <p:cNvSpPr txBox="1"/>
            <p:nvPr/>
          </p:nvSpPr>
          <p:spPr>
            <a:xfrm>
              <a:off x="5154634" y="2332794"/>
              <a:ext cx="1812046" cy="462746"/>
            </a:xfrm>
            <a:prstGeom prst="rect">
              <a:avLst/>
            </a:prstGeom>
            <a:noFill/>
          </p:spPr>
          <p:txBody>
            <a:bodyPr wrap="square" lIns="0" tIns="36000" rIns="0" bIns="36000" rtlCol="0">
              <a:spAutoFit/>
            </a:bodyPr>
            <a:lstStyle/>
            <a:p>
              <a:pPr marL="0" marR="0" lvl="0" indent="0" algn="ctr" defTabSz="914400" rtl="0" eaLnBrk="1" fontAlgn="auto" latinLnBrk="0" hangingPunct="1">
                <a:lnSpc>
                  <a:spcPct val="120000"/>
                </a:lnSpc>
                <a:spcBef>
                  <a:spcPts val="600"/>
                </a:spcBef>
                <a:spcAft>
                  <a:spcPts val="0"/>
                </a:spcAft>
                <a:buClrTx/>
                <a:buSzTx/>
                <a:buFontTx/>
                <a:buNone/>
                <a:tabLst/>
                <a:defRPr/>
              </a:pPr>
              <a:r>
                <a:rPr kumimoji="0" lang="en-US" sz="1100" b="0" i="0" u="none" strike="noStrike" kern="1200" cap="none" spc="0" normalizeH="0" baseline="0" noProof="0" dirty="0">
                  <a:ln>
                    <a:noFill/>
                  </a:ln>
                  <a:solidFill>
                    <a:prstClr val="black">
                      <a:lumMod val="50000"/>
                      <a:lumOff val="50000"/>
                    </a:prstClr>
                  </a:solidFill>
                  <a:effectLst/>
                  <a:uLnTx/>
                  <a:uFillTx/>
                  <a:latin typeface="HarmonyOS Sans SC"/>
                  <a:cs typeface="+mn-cs"/>
                </a:rPr>
                <a:t>As the minuteness of the parts formed a great.</a:t>
              </a:r>
            </a:p>
          </p:txBody>
        </p:sp>
      </p:grpSp>
    </p:spTree>
    <p:extLst>
      <p:ext uri="{BB962C8B-B14F-4D97-AF65-F5344CB8AC3E}">
        <p14:creationId xmlns:p14="http://schemas.microsoft.com/office/powerpoint/2010/main" val="2847224100"/>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a:extLst>
              <a:ext uri="{FF2B5EF4-FFF2-40B4-BE49-F238E27FC236}">
                <a16:creationId xmlns:a16="http://schemas.microsoft.com/office/drawing/2014/main" id="{4D2947A4-59CC-4023-9F9A-A54A136DCB3F}"/>
              </a:ext>
            </a:extLst>
          </p:cNvPr>
          <p:cNvSpPr/>
          <p:nvPr/>
        </p:nvSpPr>
        <p:spPr>
          <a:xfrm>
            <a:off x="457201" y="1039091"/>
            <a:ext cx="11277598" cy="4779818"/>
          </a:xfrm>
          <a:prstGeom prst="rect">
            <a:avLst/>
          </a:prstGeom>
          <a:solidFill>
            <a:schemeClr val="accent1">
              <a:lumMod val="20000"/>
              <a:lumOff val="80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p>
        </p:txBody>
      </p:sp>
      <p:pic>
        <p:nvPicPr>
          <p:cNvPr id="22" name="图片 21" descr="形状&#10;&#10;中度可信度描述已自动生成">
            <a:extLst>
              <a:ext uri="{FF2B5EF4-FFF2-40B4-BE49-F238E27FC236}">
                <a16:creationId xmlns:a16="http://schemas.microsoft.com/office/drawing/2014/main" id="{2EA2AD7F-9C14-40BD-B6B3-88BFC19239A8}"/>
              </a:ext>
            </a:extLst>
          </p:cNvPr>
          <p:cNvPicPr>
            <a:picLocks noChangeAspect="1"/>
          </p:cNvPicPr>
          <p:nvPr/>
        </p:nvPicPr>
        <p:blipFill rotWithShape="1">
          <a:blip r:embed="rId3">
            <a:extLst>
              <a:ext uri="{28A0092B-C50C-407E-A947-70E740481C1C}">
                <a14:useLocalDpi xmlns:a14="http://schemas.microsoft.com/office/drawing/2010/main" val="0"/>
              </a:ext>
            </a:extLst>
          </a:blip>
          <a:srcRect l="15463" t="35000" r="52043" b="33195"/>
          <a:stretch/>
        </p:blipFill>
        <p:spPr>
          <a:xfrm>
            <a:off x="6609528" y="84222"/>
            <a:ext cx="5525036" cy="7229905"/>
          </a:xfrm>
          <a:prstGeom prst="rect">
            <a:avLst/>
          </a:prstGeom>
        </p:spPr>
      </p:pic>
      <p:sp>
        <p:nvSpPr>
          <p:cNvPr id="24" name="文本框 23">
            <a:extLst>
              <a:ext uri="{FF2B5EF4-FFF2-40B4-BE49-F238E27FC236}">
                <a16:creationId xmlns:a16="http://schemas.microsoft.com/office/drawing/2014/main" id="{041E0F78-CDCC-4426-822B-6511EECAD8A8}"/>
              </a:ext>
            </a:extLst>
          </p:cNvPr>
          <p:cNvSpPr txBox="1"/>
          <p:nvPr/>
        </p:nvSpPr>
        <p:spPr>
          <a:xfrm>
            <a:off x="1032291" y="2997473"/>
            <a:ext cx="6232475" cy="830997"/>
          </a:xfrm>
          <a:prstGeom prst="rect">
            <a:avLst/>
          </a:prstGeom>
          <a:noFill/>
        </p:spPr>
        <p:txBody>
          <a:bodyPr wrap="none" lIns="0" tIns="0" rIns="0" bIns="0" rtlCol="0" anchor="t">
            <a:spAutoFit/>
          </a:bodyPr>
          <a:lstStyle/>
          <a:p>
            <a:pPr algn="ctr"/>
            <a:r>
              <a:rPr lang="zh-CN" altLang="en-US" sz="5400" dirty="0">
                <a:solidFill>
                  <a:schemeClr val="accent1">
                    <a:lumMod val="100000"/>
                  </a:schemeClr>
                </a:solidFill>
                <a:latin typeface="+mj-ea"/>
                <a:ea typeface="+mj-ea"/>
              </a:rPr>
              <a:t>输入你的封面大标题</a:t>
            </a:r>
          </a:p>
        </p:txBody>
      </p:sp>
      <p:sp>
        <p:nvSpPr>
          <p:cNvPr id="25" name="文本框 24">
            <a:extLst>
              <a:ext uri="{FF2B5EF4-FFF2-40B4-BE49-F238E27FC236}">
                <a16:creationId xmlns:a16="http://schemas.microsoft.com/office/drawing/2014/main" id="{86BDBB1F-11EE-4CDB-8D94-E2B5949C821A}"/>
              </a:ext>
            </a:extLst>
          </p:cNvPr>
          <p:cNvSpPr txBox="1"/>
          <p:nvPr/>
        </p:nvSpPr>
        <p:spPr>
          <a:xfrm>
            <a:off x="1032291" y="2590735"/>
            <a:ext cx="2667397" cy="246221"/>
          </a:xfrm>
          <a:prstGeom prst="rect">
            <a:avLst/>
          </a:prstGeom>
          <a:noFill/>
        </p:spPr>
        <p:txBody>
          <a:bodyPr wrap="none" lIns="0" tIns="0" rIns="0" bIns="0" rtlCol="0" anchor="t">
            <a:spAutoFit/>
          </a:bodyPr>
          <a:lstStyle/>
          <a:p>
            <a:pPr algn="ctr"/>
            <a:r>
              <a:rPr lang="zh-CN" altLang="en-US" sz="1600" dirty="0">
                <a:solidFill>
                  <a:schemeClr val="accent1">
                    <a:lumMod val="100000"/>
                  </a:schemeClr>
                </a:solidFill>
                <a:latin typeface="+mn-ea"/>
              </a:rPr>
              <a:t>输入你的副标题或大标题英文</a:t>
            </a:r>
          </a:p>
        </p:txBody>
      </p:sp>
      <p:cxnSp>
        <p:nvCxnSpPr>
          <p:cNvPr id="26" name="直接连接符 25">
            <a:extLst>
              <a:ext uri="{FF2B5EF4-FFF2-40B4-BE49-F238E27FC236}">
                <a16:creationId xmlns:a16="http://schemas.microsoft.com/office/drawing/2014/main" id="{FBBAAB85-4E4D-434C-A81B-A5D2311AF849}"/>
              </a:ext>
            </a:extLst>
          </p:cNvPr>
          <p:cNvCxnSpPr>
            <a:cxnSpLocks/>
          </p:cNvCxnSpPr>
          <p:nvPr/>
        </p:nvCxnSpPr>
        <p:spPr>
          <a:xfrm flipH="1">
            <a:off x="3793395" y="2713845"/>
            <a:ext cx="3035248" cy="0"/>
          </a:xfrm>
          <a:prstGeom prst="line">
            <a:avLst/>
          </a:prstGeom>
          <a:ln w="19050">
            <a:solidFill>
              <a:schemeClr val="accent1">
                <a:lumMod val="100000"/>
              </a:schemeClr>
            </a:solidFill>
          </a:ln>
        </p:spPr>
        <p:style>
          <a:lnRef idx="1">
            <a:schemeClr val="accent1"/>
          </a:lnRef>
          <a:fillRef idx="0">
            <a:schemeClr val="accent1"/>
          </a:fillRef>
          <a:effectRef idx="0">
            <a:schemeClr val="accent1"/>
          </a:effectRef>
          <a:fontRef idx="minor">
            <a:schemeClr val="tx1"/>
          </a:fontRef>
        </p:style>
      </p:cxnSp>
      <p:sp>
        <p:nvSpPr>
          <p:cNvPr id="28" name="矩形 27">
            <a:extLst>
              <a:ext uri="{FF2B5EF4-FFF2-40B4-BE49-F238E27FC236}">
                <a16:creationId xmlns:a16="http://schemas.microsoft.com/office/drawing/2014/main" id="{5F2179CB-661A-4AF5-A56D-AB358C6F256E}"/>
              </a:ext>
            </a:extLst>
          </p:cNvPr>
          <p:cNvSpPr/>
          <p:nvPr/>
        </p:nvSpPr>
        <p:spPr>
          <a:xfrm>
            <a:off x="830983" y="4118448"/>
            <a:ext cx="189488" cy="189488"/>
          </a:xfrm>
          <a:prstGeom prst="rect">
            <a:avLst/>
          </a:prstGeom>
          <a:solidFill>
            <a:schemeClr val="accent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5400" dirty="0"/>
          </a:p>
        </p:txBody>
      </p:sp>
      <p:sp>
        <p:nvSpPr>
          <p:cNvPr id="29" name="文本框 28">
            <a:extLst>
              <a:ext uri="{FF2B5EF4-FFF2-40B4-BE49-F238E27FC236}">
                <a16:creationId xmlns:a16="http://schemas.microsoft.com/office/drawing/2014/main" id="{716FAEB9-E85C-48F7-8165-778E4FD3C8F2}"/>
              </a:ext>
            </a:extLst>
          </p:cNvPr>
          <p:cNvSpPr txBox="1"/>
          <p:nvPr/>
        </p:nvSpPr>
        <p:spPr>
          <a:xfrm>
            <a:off x="1191368" y="4117656"/>
            <a:ext cx="1016304" cy="215444"/>
          </a:xfrm>
          <a:prstGeom prst="rect">
            <a:avLst/>
          </a:prstGeom>
          <a:noFill/>
        </p:spPr>
        <p:txBody>
          <a:bodyPr wrap="none" lIns="0" tIns="0" rIns="0" bIns="0" rtlCol="0" anchor="t">
            <a:spAutoFit/>
          </a:bodyPr>
          <a:lstStyle/>
          <a:p>
            <a:r>
              <a:rPr lang="zh-CN" altLang="en-US" sz="1400" dirty="0">
                <a:solidFill>
                  <a:schemeClr val="accent1">
                    <a:lumMod val="100000"/>
                  </a:schemeClr>
                </a:solidFill>
                <a:latin typeface="+mn-ea"/>
              </a:rPr>
              <a:t>汇报人：</a:t>
            </a:r>
            <a:r>
              <a:rPr lang="en-US" altLang="zh-CN" sz="1400" dirty="0">
                <a:solidFill>
                  <a:schemeClr val="accent1">
                    <a:lumMod val="100000"/>
                  </a:schemeClr>
                </a:solidFill>
                <a:latin typeface="+mn-ea"/>
              </a:rPr>
              <a:t>xxx</a:t>
            </a:r>
            <a:endParaRPr lang="zh-CN" altLang="en-US" sz="1400" dirty="0">
              <a:solidFill>
                <a:schemeClr val="accent1">
                  <a:lumMod val="100000"/>
                </a:schemeClr>
              </a:solidFill>
              <a:latin typeface="+mn-ea"/>
            </a:endParaRPr>
          </a:p>
        </p:txBody>
      </p:sp>
      <p:sp>
        <p:nvSpPr>
          <p:cNvPr id="31" name="矩形 30">
            <a:extLst>
              <a:ext uri="{FF2B5EF4-FFF2-40B4-BE49-F238E27FC236}">
                <a16:creationId xmlns:a16="http://schemas.microsoft.com/office/drawing/2014/main" id="{81DE20A5-25A0-49F6-993B-6F192D53654F}"/>
              </a:ext>
            </a:extLst>
          </p:cNvPr>
          <p:cNvSpPr/>
          <p:nvPr/>
        </p:nvSpPr>
        <p:spPr>
          <a:xfrm>
            <a:off x="2697373" y="4118448"/>
            <a:ext cx="189488" cy="189488"/>
          </a:xfrm>
          <a:prstGeom prst="rect">
            <a:avLst/>
          </a:prstGeom>
          <a:solidFill>
            <a:schemeClr val="accent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5400" dirty="0"/>
          </a:p>
        </p:txBody>
      </p:sp>
      <p:sp>
        <p:nvSpPr>
          <p:cNvPr id="32" name="文本框 31">
            <a:extLst>
              <a:ext uri="{FF2B5EF4-FFF2-40B4-BE49-F238E27FC236}">
                <a16:creationId xmlns:a16="http://schemas.microsoft.com/office/drawing/2014/main" id="{20D23C57-76FC-4D78-91E7-A913E614CB88}"/>
              </a:ext>
            </a:extLst>
          </p:cNvPr>
          <p:cNvSpPr txBox="1"/>
          <p:nvPr/>
        </p:nvSpPr>
        <p:spPr>
          <a:xfrm>
            <a:off x="3057759" y="4117656"/>
            <a:ext cx="836768" cy="215444"/>
          </a:xfrm>
          <a:prstGeom prst="rect">
            <a:avLst/>
          </a:prstGeom>
          <a:noFill/>
        </p:spPr>
        <p:txBody>
          <a:bodyPr wrap="none" lIns="0" tIns="0" rIns="0" bIns="0" rtlCol="0" anchor="t">
            <a:spAutoFit/>
          </a:bodyPr>
          <a:lstStyle/>
          <a:p>
            <a:r>
              <a:rPr lang="zh-CN" altLang="en-US" sz="1400" dirty="0">
                <a:solidFill>
                  <a:schemeClr val="accent1">
                    <a:lumMod val="100000"/>
                  </a:schemeClr>
                </a:solidFill>
                <a:latin typeface="+mn-ea"/>
              </a:rPr>
              <a:t>单位：</a:t>
            </a:r>
            <a:r>
              <a:rPr lang="en-US" altLang="zh-CN" sz="1400" dirty="0">
                <a:solidFill>
                  <a:schemeClr val="accent1">
                    <a:lumMod val="100000"/>
                  </a:schemeClr>
                </a:solidFill>
                <a:latin typeface="+mn-ea"/>
              </a:rPr>
              <a:t>xxx</a:t>
            </a:r>
            <a:endParaRPr lang="zh-CN" altLang="en-US" sz="1400" dirty="0">
              <a:solidFill>
                <a:schemeClr val="accent1">
                  <a:lumMod val="100000"/>
                </a:schemeClr>
              </a:solidFill>
              <a:latin typeface="+mn-ea"/>
            </a:endParaRPr>
          </a:p>
        </p:txBody>
      </p:sp>
      <p:sp>
        <p:nvSpPr>
          <p:cNvPr id="33" name="矩形 32">
            <a:extLst>
              <a:ext uri="{FF2B5EF4-FFF2-40B4-BE49-F238E27FC236}">
                <a16:creationId xmlns:a16="http://schemas.microsoft.com/office/drawing/2014/main" id="{D450724D-FD1F-44AB-AA77-741BC655B412}"/>
              </a:ext>
            </a:extLst>
          </p:cNvPr>
          <p:cNvSpPr/>
          <p:nvPr/>
        </p:nvSpPr>
        <p:spPr>
          <a:xfrm flipH="1">
            <a:off x="830985" y="2590735"/>
            <a:ext cx="69140" cy="1148732"/>
          </a:xfrm>
          <a:prstGeom prst="rect">
            <a:avLst/>
          </a:prstGeom>
          <a:solidFill>
            <a:schemeClr val="accent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4400" dirty="0"/>
          </a:p>
        </p:txBody>
      </p:sp>
    </p:spTree>
    <p:extLst>
      <p:ext uri="{BB962C8B-B14F-4D97-AF65-F5344CB8AC3E}">
        <p14:creationId xmlns:p14="http://schemas.microsoft.com/office/powerpoint/2010/main" val="4272555887"/>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4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3" name="Straight Connector 47">
            <a:extLst>
              <a:ext uri="{FF2B5EF4-FFF2-40B4-BE49-F238E27FC236}">
                <a16:creationId xmlns:a16="http://schemas.microsoft.com/office/drawing/2014/main" id="{DF5F7E29-EE0A-4458-A3BE-AF030502AAE3}"/>
              </a:ext>
            </a:extLst>
          </p:cNvPr>
          <p:cNvCxnSpPr>
            <a:cxnSpLocks/>
          </p:cNvCxnSpPr>
          <p:nvPr/>
        </p:nvCxnSpPr>
        <p:spPr>
          <a:xfrm>
            <a:off x="7142266" y="2555515"/>
            <a:ext cx="985837" cy="0"/>
          </a:xfrm>
          <a:prstGeom prst="line">
            <a:avLst/>
          </a:prstGeom>
          <a:ln>
            <a:solidFill>
              <a:schemeClr val="accent1"/>
            </a:solidFill>
            <a:tailEnd type="oval"/>
          </a:ln>
        </p:spPr>
        <p:style>
          <a:lnRef idx="1">
            <a:schemeClr val="accent1"/>
          </a:lnRef>
          <a:fillRef idx="0">
            <a:schemeClr val="accent1"/>
          </a:fillRef>
          <a:effectRef idx="0">
            <a:schemeClr val="accent1"/>
          </a:effectRef>
          <a:fontRef idx="minor">
            <a:schemeClr val="tx1"/>
          </a:fontRef>
        </p:style>
      </p:cxnSp>
      <p:sp>
        <p:nvSpPr>
          <p:cNvPr id="4" name="Freeform 5">
            <a:extLst>
              <a:ext uri="{FF2B5EF4-FFF2-40B4-BE49-F238E27FC236}">
                <a16:creationId xmlns:a16="http://schemas.microsoft.com/office/drawing/2014/main" id="{EFC39449-F2B6-40B7-BBD3-AEC2A0B1167A}"/>
              </a:ext>
            </a:extLst>
          </p:cNvPr>
          <p:cNvSpPr>
            <a:spLocks/>
          </p:cNvSpPr>
          <p:nvPr/>
        </p:nvSpPr>
        <p:spPr bwMode="auto">
          <a:xfrm>
            <a:off x="4226168" y="3246459"/>
            <a:ext cx="1711900" cy="2689641"/>
          </a:xfrm>
          <a:custGeom>
            <a:avLst/>
            <a:gdLst>
              <a:gd name="T0" fmla="*/ 0 w 1072"/>
              <a:gd name="T1" fmla="*/ 504 h 1687"/>
              <a:gd name="T2" fmla="*/ 990 w 1072"/>
              <a:gd name="T3" fmla="*/ 1682 h 1687"/>
              <a:gd name="T4" fmla="*/ 1072 w 1072"/>
              <a:gd name="T5" fmla="*/ 1669 h 1687"/>
              <a:gd name="T6" fmla="*/ 1039 w 1072"/>
              <a:gd name="T7" fmla="*/ 1668 h 1687"/>
              <a:gd name="T8" fmla="*/ 49 w 1072"/>
              <a:gd name="T9" fmla="*/ 489 h 1687"/>
              <a:gd name="T10" fmla="*/ 128 w 1072"/>
              <a:gd name="T11" fmla="*/ 62 h 1687"/>
              <a:gd name="T12" fmla="*/ 160 w 1072"/>
              <a:gd name="T13" fmla="*/ 14 h 1687"/>
              <a:gd name="T14" fmla="*/ 175 w 1072"/>
              <a:gd name="T15" fmla="*/ 0 h 1687"/>
              <a:gd name="T16" fmla="*/ 105 w 1072"/>
              <a:gd name="T17" fmla="*/ 34 h 1687"/>
              <a:gd name="T18" fmla="*/ 78 w 1072"/>
              <a:gd name="T19" fmla="*/ 76 h 1687"/>
              <a:gd name="T20" fmla="*/ 0 w 1072"/>
              <a:gd name="T21" fmla="*/ 504 h 16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72" h="1687">
                <a:moveTo>
                  <a:pt x="0" y="504"/>
                </a:moveTo>
                <a:cubicBezTo>
                  <a:pt x="0" y="1094"/>
                  <a:pt x="428" y="1585"/>
                  <a:pt x="990" y="1682"/>
                </a:cubicBezTo>
                <a:cubicBezTo>
                  <a:pt x="1019" y="1687"/>
                  <a:pt x="1048" y="1682"/>
                  <a:pt x="1072" y="1669"/>
                </a:cubicBezTo>
                <a:cubicBezTo>
                  <a:pt x="1061" y="1670"/>
                  <a:pt x="1050" y="1670"/>
                  <a:pt x="1039" y="1668"/>
                </a:cubicBezTo>
                <a:cubicBezTo>
                  <a:pt x="477" y="1570"/>
                  <a:pt x="49" y="1080"/>
                  <a:pt x="49" y="489"/>
                </a:cubicBezTo>
                <a:cubicBezTo>
                  <a:pt x="49" y="339"/>
                  <a:pt x="77" y="195"/>
                  <a:pt x="128" y="62"/>
                </a:cubicBezTo>
                <a:cubicBezTo>
                  <a:pt x="135" y="43"/>
                  <a:pt x="146" y="27"/>
                  <a:pt x="160" y="14"/>
                </a:cubicBezTo>
                <a:cubicBezTo>
                  <a:pt x="165" y="9"/>
                  <a:pt x="170" y="4"/>
                  <a:pt x="175" y="0"/>
                </a:cubicBezTo>
                <a:cubicBezTo>
                  <a:pt x="149" y="4"/>
                  <a:pt x="124" y="16"/>
                  <a:pt x="105" y="34"/>
                </a:cubicBezTo>
                <a:cubicBezTo>
                  <a:pt x="94" y="46"/>
                  <a:pt x="85" y="60"/>
                  <a:pt x="78" y="76"/>
                </a:cubicBezTo>
                <a:cubicBezTo>
                  <a:pt x="28" y="209"/>
                  <a:pt x="0" y="353"/>
                  <a:pt x="0" y="504"/>
                </a:cubicBezTo>
                <a:close/>
              </a:path>
            </a:pathLst>
          </a:custGeom>
          <a:gradFill>
            <a:gsLst>
              <a:gs pos="100000">
                <a:schemeClr val="accent1"/>
              </a:gs>
              <a:gs pos="31000">
                <a:schemeClr val="accent1">
                  <a:lumMod val="60000"/>
                  <a:lumOff val="40000"/>
                </a:schemeClr>
              </a:gs>
              <a:gs pos="0">
                <a:schemeClr val="accent1">
                  <a:lumMod val="40000"/>
                  <a:lumOff val="60000"/>
                </a:schemeClr>
              </a:gs>
            </a:gsLst>
            <a:path path="circle">
              <a:fillToRect r="100000" b="100000"/>
            </a:path>
          </a:gra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sp>
        <p:nvSpPr>
          <p:cNvPr id="5" name="Freeform 6">
            <a:extLst>
              <a:ext uri="{FF2B5EF4-FFF2-40B4-BE49-F238E27FC236}">
                <a16:creationId xmlns:a16="http://schemas.microsoft.com/office/drawing/2014/main" id="{A77E5B78-4789-4F27-903D-DA93247F02BE}"/>
              </a:ext>
            </a:extLst>
          </p:cNvPr>
          <p:cNvSpPr>
            <a:spLocks noEditPoints="1"/>
          </p:cNvSpPr>
          <p:nvPr/>
        </p:nvSpPr>
        <p:spPr bwMode="auto">
          <a:xfrm>
            <a:off x="4305073" y="3239597"/>
            <a:ext cx="1739346" cy="2669056"/>
          </a:xfrm>
          <a:custGeom>
            <a:avLst/>
            <a:gdLst>
              <a:gd name="T0" fmla="*/ 1089 w 1090"/>
              <a:gd name="T1" fmla="*/ 1149 h 1674"/>
              <a:gd name="T2" fmla="*/ 995 w 1090"/>
              <a:gd name="T3" fmla="*/ 1023 h 1674"/>
              <a:gd name="T4" fmla="*/ 611 w 1090"/>
              <a:gd name="T5" fmla="*/ 513 h 1674"/>
              <a:gd name="T6" fmla="*/ 629 w 1090"/>
              <a:gd name="T7" fmla="*/ 375 h 1674"/>
              <a:gd name="T8" fmla="*/ 569 w 1090"/>
              <a:gd name="T9" fmla="*/ 230 h 1674"/>
              <a:gd name="T10" fmla="*/ 234 w 1090"/>
              <a:gd name="T11" fmla="*/ 34 h 1674"/>
              <a:gd name="T12" fmla="*/ 223 w 1090"/>
              <a:gd name="T13" fmla="*/ 75 h 1674"/>
              <a:gd name="T14" fmla="*/ 234 w 1090"/>
              <a:gd name="T15" fmla="*/ 34 h 1674"/>
              <a:gd name="T16" fmla="*/ 231 w 1090"/>
              <a:gd name="T17" fmla="*/ 32 h 1674"/>
              <a:gd name="T18" fmla="*/ 210 w 1090"/>
              <a:gd name="T19" fmla="*/ 20 h 1674"/>
              <a:gd name="T20" fmla="*/ 129 w 1090"/>
              <a:gd name="T21" fmla="*/ 4 h 1674"/>
              <a:gd name="T22" fmla="*/ 111 w 1090"/>
              <a:gd name="T23" fmla="*/ 18 h 1674"/>
              <a:gd name="T24" fmla="*/ 111 w 1090"/>
              <a:gd name="T25" fmla="*/ 18 h 1674"/>
              <a:gd name="T26" fmla="*/ 79 w 1090"/>
              <a:gd name="T27" fmla="*/ 66 h 1674"/>
              <a:gd name="T28" fmla="*/ 0 w 1090"/>
              <a:gd name="T29" fmla="*/ 493 h 1674"/>
              <a:gd name="T30" fmla="*/ 990 w 1090"/>
              <a:gd name="T31" fmla="*/ 1672 h 1674"/>
              <a:gd name="T32" fmla="*/ 1023 w 1090"/>
              <a:gd name="T33" fmla="*/ 1673 h 1674"/>
              <a:gd name="T34" fmla="*/ 1033 w 1090"/>
              <a:gd name="T35" fmla="*/ 1667 h 1674"/>
              <a:gd name="T36" fmla="*/ 1051 w 1090"/>
              <a:gd name="T37" fmla="*/ 1653 h 1674"/>
              <a:gd name="T38" fmla="*/ 1086 w 1090"/>
              <a:gd name="T39" fmla="*/ 1565 h 1674"/>
              <a:gd name="T40" fmla="*/ 1087 w 1090"/>
              <a:gd name="T41" fmla="*/ 1542 h 1674"/>
              <a:gd name="T42" fmla="*/ 1087 w 1090"/>
              <a:gd name="T43" fmla="*/ 1542 h 1674"/>
              <a:gd name="T44" fmla="*/ 1087 w 1090"/>
              <a:gd name="T45" fmla="*/ 1535 h 1674"/>
              <a:gd name="T46" fmla="*/ 1089 w 1090"/>
              <a:gd name="T47" fmla="*/ 1149 h 1674"/>
              <a:gd name="T48" fmla="*/ 758 w 1090"/>
              <a:gd name="T49" fmla="*/ 1599 h 1674"/>
              <a:gd name="T50" fmla="*/ 730 w 1090"/>
              <a:gd name="T51" fmla="*/ 1587 h 1674"/>
              <a:gd name="T52" fmla="*/ 758 w 1090"/>
              <a:gd name="T53" fmla="*/ 1599 h 1674"/>
              <a:gd name="T54" fmla="*/ 637 w 1090"/>
              <a:gd name="T55" fmla="*/ 1542 h 1674"/>
              <a:gd name="T56" fmla="*/ 617 w 1090"/>
              <a:gd name="T57" fmla="*/ 1531 h 1674"/>
              <a:gd name="T58" fmla="*/ 637 w 1090"/>
              <a:gd name="T59" fmla="*/ 1542 h 1674"/>
              <a:gd name="T60" fmla="*/ 591 w 1090"/>
              <a:gd name="T61" fmla="*/ 1516 h 1674"/>
              <a:gd name="T62" fmla="*/ 574 w 1090"/>
              <a:gd name="T63" fmla="*/ 1506 h 1674"/>
              <a:gd name="T64" fmla="*/ 591 w 1090"/>
              <a:gd name="T65" fmla="*/ 1516 h 1674"/>
              <a:gd name="T66" fmla="*/ 508 w 1090"/>
              <a:gd name="T67" fmla="*/ 1462 h 1674"/>
              <a:gd name="T68" fmla="*/ 484 w 1090"/>
              <a:gd name="T69" fmla="*/ 1445 h 1674"/>
              <a:gd name="T70" fmla="*/ 508 w 1090"/>
              <a:gd name="T71" fmla="*/ 1462 h 1674"/>
              <a:gd name="T72" fmla="*/ 233 w 1090"/>
              <a:gd name="T73" fmla="*/ 1189 h 1674"/>
              <a:gd name="T74" fmla="*/ 221 w 1090"/>
              <a:gd name="T75" fmla="*/ 1172 h 1674"/>
              <a:gd name="T76" fmla="*/ 233 w 1090"/>
              <a:gd name="T77" fmla="*/ 1189 h 1674"/>
              <a:gd name="T78" fmla="*/ 333 w 1090"/>
              <a:gd name="T79" fmla="*/ 1309 h 1674"/>
              <a:gd name="T80" fmla="*/ 307 w 1090"/>
              <a:gd name="T81" fmla="*/ 1281 h 1674"/>
              <a:gd name="T82" fmla="*/ 333 w 1090"/>
              <a:gd name="T83" fmla="*/ 1309 h 1674"/>
              <a:gd name="T84" fmla="*/ 369 w 1090"/>
              <a:gd name="T85" fmla="*/ 1346 h 1674"/>
              <a:gd name="T86" fmla="*/ 388 w 1090"/>
              <a:gd name="T87" fmla="*/ 1364 h 1674"/>
              <a:gd name="T88" fmla="*/ 369 w 1090"/>
              <a:gd name="T89" fmla="*/ 1346 h 1674"/>
              <a:gd name="T90" fmla="*/ 996 w 1090"/>
              <a:gd name="T91" fmla="*/ 1666 h 1674"/>
              <a:gd name="T92" fmla="*/ 878 w 1090"/>
              <a:gd name="T93" fmla="*/ 1639 h 1674"/>
              <a:gd name="T94" fmla="*/ 996 w 1090"/>
              <a:gd name="T95" fmla="*/ 1666 h 1674"/>
              <a:gd name="T96" fmla="*/ 1005 w 1090"/>
              <a:gd name="T97" fmla="*/ 1667 h 1674"/>
              <a:gd name="T98" fmla="*/ 996 w 1090"/>
              <a:gd name="T99" fmla="*/ 1666 h 1674"/>
              <a:gd name="T100" fmla="*/ 777 w 1090"/>
              <a:gd name="T101" fmla="*/ 1606 h 1674"/>
              <a:gd name="T102" fmla="*/ 852 w 1090"/>
              <a:gd name="T103" fmla="*/ 1632 h 1674"/>
              <a:gd name="T104" fmla="*/ 777 w 1090"/>
              <a:gd name="T105" fmla="*/ 1606 h 16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90" h="1674">
                <a:moveTo>
                  <a:pt x="1089" y="1149"/>
                </a:moveTo>
                <a:cubicBezTo>
                  <a:pt x="1090" y="1090"/>
                  <a:pt x="1051" y="1039"/>
                  <a:pt x="995" y="1023"/>
                </a:cubicBezTo>
                <a:cubicBezTo>
                  <a:pt x="773" y="960"/>
                  <a:pt x="611" y="755"/>
                  <a:pt x="611" y="513"/>
                </a:cubicBezTo>
                <a:cubicBezTo>
                  <a:pt x="611" y="466"/>
                  <a:pt x="617" y="419"/>
                  <a:pt x="629" y="375"/>
                </a:cubicBezTo>
                <a:cubicBezTo>
                  <a:pt x="644" y="319"/>
                  <a:pt x="619" y="260"/>
                  <a:pt x="569" y="230"/>
                </a:cubicBezTo>
                <a:cubicBezTo>
                  <a:pt x="234" y="34"/>
                  <a:pt x="234" y="34"/>
                  <a:pt x="234" y="34"/>
                </a:cubicBezTo>
                <a:cubicBezTo>
                  <a:pt x="230" y="48"/>
                  <a:pt x="226" y="61"/>
                  <a:pt x="223" y="75"/>
                </a:cubicBezTo>
                <a:cubicBezTo>
                  <a:pt x="226" y="61"/>
                  <a:pt x="230" y="48"/>
                  <a:pt x="234" y="34"/>
                </a:cubicBezTo>
                <a:cubicBezTo>
                  <a:pt x="231" y="32"/>
                  <a:pt x="231" y="32"/>
                  <a:pt x="231" y="32"/>
                </a:cubicBezTo>
                <a:cubicBezTo>
                  <a:pt x="210" y="20"/>
                  <a:pt x="210" y="20"/>
                  <a:pt x="210" y="20"/>
                </a:cubicBezTo>
                <a:cubicBezTo>
                  <a:pt x="185" y="5"/>
                  <a:pt x="156" y="0"/>
                  <a:pt x="129" y="4"/>
                </a:cubicBezTo>
                <a:cubicBezTo>
                  <a:pt x="123" y="8"/>
                  <a:pt x="116" y="13"/>
                  <a:pt x="111" y="18"/>
                </a:cubicBezTo>
                <a:cubicBezTo>
                  <a:pt x="111" y="18"/>
                  <a:pt x="111" y="18"/>
                  <a:pt x="111" y="18"/>
                </a:cubicBezTo>
                <a:cubicBezTo>
                  <a:pt x="97" y="31"/>
                  <a:pt x="86" y="47"/>
                  <a:pt x="79" y="66"/>
                </a:cubicBezTo>
                <a:cubicBezTo>
                  <a:pt x="28" y="199"/>
                  <a:pt x="0" y="343"/>
                  <a:pt x="0" y="493"/>
                </a:cubicBezTo>
                <a:cubicBezTo>
                  <a:pt x="0" y="1084"/>
                  <a:pt x="428" y="1574"/>
                  <a:pt x="990" y="1672"/>
                </a:cubicBezTo>
                <a:cubicBezTo>
                  <a:pt x="1001" y="1674"/>
                  <a:pt x="1012" y="1674"/>
                  <a:pt x="1023" y="1673"/>
                </a:cubicBezTo>
                <a:cubicBezTo>
                  <a:pt x="1026" y="1671"/>
                  <a:pt x="1030" y="1669"/>
                  <a:pt x="1033" y="1667"/>
                </a:cubicBezTo>
                <a:cubicBezTo>
                  <a:pt x="1040" y="1663"/>
                  <a:pt x="1046" y="1658"/>
                  <a:pt x="1051" y="1653"/>
                </a:cubicBezTo>
                <a:cubicBezTo>
                  <a:pt x="1073" y="1630"/>
                  <a:pt x="1086" y="1599"/>
                  <a:pt x="1086" y="1565"/>
                </a:cubicBezTo>
                <a:cubicBezTo>
                  <a:pt x="1087" y="1542"/>
                  <a:pt x="1087" y="1542"/>
                  <a:pt x="1087" y="1542"/>
                </a:cubicBezTo>
                <a:cubicBezTo>
                  <a:pt x="1087" y="1542"/>
                  <a:pt x="1087" y="1542"/>
                  <a:pt x="1087" y="1542"/>
                </a:cubicBezTo>
                <a:cubicBezTo>
                  <a:pt x="1087" y="1535"/>
                  <a:pt x="1087" y="1535"/>
                  <a:pt x="1087" y="1535"/>
                </a:cubicBezTo>
                <a:lnTo>
                  <a:pt x="1089" y="1149"/>
                </a:lnTo>
                <a:close/>
                <a:moveTo>
                  <a:pt x="758" y="1599"/>
                </a:moveTo>
                <a:cubicBezTo>
                  <a:pt x="748" y="1595"/>
                  <a:pt x="739" y="1591"/>
                  <a:pt x="730" y="1587"/>
                </a:cubicBezTo>
                <a:cubicBezTo>
                  <a:pt x="739" y="1591"/>
                  <a:pt x="748" y="1595"/>
                  <a:pt x="758" y="1599"/>
                </a:cubicBezTo>
                <a:close/>
                <a:moveTo>
                  <a:pt x="637" y="1542"/>
                </a:moveTo>
                <a:cubicBezTo>
                  <a:pt x="630" y="1539"/>
                  <a:pt x="623" y="1535"/>
                  <a:pt x="617" y="1531"/>
                </a:cubicBezTo>
                <a:cubicBezTo>
                  <a:pt x="623" y="1535"/>
                  <a:pt x="630" y="1539"/>
                  <a:pt x="637" y="1542"/>
                </a:cubicBezTo>
                <a:close/>
                <a:moveTo>
                  <a:pt x="591" y="1516"/>
                </a:moveTo>
                <a:cubicBezTo>
                  <a:pt x="585" y="1513"/>
                  <a:pt x="579" y="1509"/>
                  <a:pt x="574" y="1506"/>
                </a:cubicBezTo>
                <a:cubicBezTo>
                  <a:pt x="579" y="1509"/>
                  <a:pt x="585" y="1513"/>
                  <a:pt x="591" y="1516"/>
                </a:cubicBezTo>
                <a:close/>
                <a:moveTo>
                  <a:pt x="508" y="1462"/>
                </a:moveTo>
                <a:cubicBezTo>
                  <a:pt x="500" y="1456"/>
                  <a:pt x="492" y="1451"/>
                  <a:pt x="484" y="1445"/>
                </a:cubicBezTo>
                <a:cubicBezTo>
                  <a:pt x="492" y="1451"/>
                  <a:pt x="500" y="1456"/>
                  <a:pt x="508" y="1462"/>
                </a:cubicBezTo>
                <a:close/>
                <a:moveTo>
                  <a:pt x="233" y="1189"/>
                </a:moveTo>
                <a:cubicBezTo>
                  <a:pt x="229" y="1184"/>
                  <a:pt x="225" y="1178"/>
                  <a:pt x="221" y="1172"/>
                </a:cubicBezTo>
                <a:cubicBezTo>
                  <a:pt x="225" y="1178"/>
                  <a:pt x="229" y="1184"/>
                  <a:pt x="233" y="1189"/>
                </a:cubicBezTo>
                <a:close/>
                <a:moveTo>
                  <a:pt x="333" y="1309"/>
                </a:moveTo>
                <a:cubicBezTo>
                  <a:pt x="324" y="1300"/>
                  <a:pt x="315" y="1291"/>
                  <a:pt x="307" y="1281"/>
                </a:cubicBezTo>
                <a:cubicBezTo>
                  <a:pt x="315" y="1291"/>
                  <a:pt x="324" y="1300"/>
                  <a:pt x="333" y="1309"/>
                </a:cubicBezTo>
                <a:close/>
                <a:moveTo>
                  <a:pt x="369" y="1346"/>
                </a:moveTo>
                <a:cubicBezTo>
                  <a:pt x="375" y="1352"/>
                  <a:pt x="381" y="1358"/>
                  <a:pt x="388" y="1364"/>
                </a:cubicBezTo>
                <a:cubicBezTo>
                  <a:pt x="381" y="1358"/>
                  <a:pt x="375" y="1352"/>
                  <a:pt x="369" y="1346"/>
                </a:cubicBezTo>
                <a:close/>
                <a:moveTo>
                  <a:pt x="996" y="1666"/>
                </a:moveTo>
                <a:cubicBezTo>
                  <a:pt x="956" y="1659"/>
                  <a:pt x="917" y="1650"/>
                  <a:pt x="878" y="1639"/>
                </a:cubicBezTo>
                <a:cubicBezTo>
                  <a:pt x="917" y="1650"/>
                  <a:pt x="956" y="1659"/>
                  <a:pt x="996" y="1666"/>
                </a:cubicBezTo>
                <a:cubicBezTo>
                  <a:pt x="999" y="1667"/>
                  <a:pt x="1002" y="1667"/>
                  <a:pt x="1005" y="1667"/>
                </a:cubicBezTo>
                <a:cubicBezTo>
                  <a:pt x="1002" y="1667"/>
                  <a:pt x="999" y="1667"/>
                  <a:pt x="996" y="1666"/>
                </a:cubicBezTo>
                <a:close/>
                <a:moveTo>
                  <a:pt x="777" y="1606"/>
                </a:moveTo>
                <a:cubicBezTo>
                  <a:pt x="801" y="1615"/>
                  <a:pt x="826" y="1624"/>
                  <a:pt x="852" y="1632"/>
                </a:cubicBezTo>
                <a:cubicBezTo>
                  <a:pt x="826" y="1624"/>
                  <a:pt x="801" y="1615"/>
                  <a:pt x="777" y="1606"/>
                </a:cubicBezTo>
                <a:close/>
              </a:path>
            </a:pathLst>
          </a:custGeom>
          <a:gradFill flip="none" rotWithShape="1">
            <a:gsLst>
              <a:gs pos="73000">
                <a:schemeClr val="accent1"/>
              </a:gs>
              <a:gs pos="31000">
                <a:schemeClr val="accent1">
                  <a:lumMod val="60000"/>
                  <a:lumOff val="40000"/>
                </a:schemeClr>
              </a:gs>
              <a:gs pos="0">
                <a:schemeClr val="accent1">
                  <a:lumMod val="40000"/>
                  <a:lumOff val="60000"/>
                </a:schemeClr>
              </a:gs>
            </a:gsLst>
            <a:path path="circle">
              <a:fillToRect r="100000" b="100000"/>
            </a:path>
            <a:tileRect l="-100000" t="-100000"/>
          </a:gradFill>
          <a:ln>
            <a:noFill/>
          </a:ln>
          <a:effectLst>
            <a:outerShdw blurRad="444500" dist="317500" dir="5400000" sx="92000" sy="92000" algn="t" rotWithShape="0">
              <a:schemeClr val="accent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7" name="Freeform 5">
            <a:extLst>
              <a:ext uri="{FF2B5EF4-FFF2-40B4-BE49-F238E27FC236}">
                <a16:creationId xmlns:a16="http://schemas.microsoft.com/office/drawing/2014/main" id="{175CF0EC-B496-462C-9E0E-5FC1B23706A4}"/>
              </a:ext>
            </a:extLst>
          </p:cNvPr>
          <p:cNvSpPr>
            <a:spLocks/>
          </p:cNvSpPr>
          <p:nvPr/>
        </p:nvSpPr>
        <p:spPr bwMode="auto">
          <a:xfrm flipH="1">
            <a:off x="6253934" y="3246459"/>
            <a:ext cx="1711900" cy="2689641"/>
          </a:xfrm>
          <a:custGeom>
            <a:avLst/>
            <a:gdLst>
              <a:gd name="T0" fmla="*/ 0 w 1072"/>
              <a:gd name="T1" fmla="*/ 504 h 1687"/>
              <a:gd name="T2" fmla="*/ 990 w 1072"/>
              <a:gd name="T3" fmla="*/ 1682 h 1687"/>
              <a:gd name="T4" fmla="*/ 1072 w 1072"/>
              <a:gd name="T5" fmla="*/ 1669 h 1687"/>
              <a:gd name="T6" fmla="*/ 1039 w 1072"/>
              <a:gd name="T7" fmla="*/ 1668 h 1687"/>
              <a:gd name="T8" fmla="*/ 49 w 1072"/>
              <a:gd name="T9" fmla="*/ 489 h 1687"/>
              <a:gd name="T10" fmla="*/ 128 w 1072"/>
              <a:gd name="T11" fmla="*/ 62 h 1687"/>
              <a:gd name="T12" fmla="*/ 160 w 1072"/>
              <a:gd name="T13" fmla="*/ 14 h 1687"/>
              <a:gd name="T14" fmla="*/ 175 w 1072"/>
              <a:gd name="T15" fmla="*/ 0 h 1687"/>
              <a:gd name="T16" fmla="*/ 105 w 1072"/>
              <a:gd name="T17" fmla="*/ 34 h 1687"/>
              <a:gd name="T18" fmla="*/ 78 w 1072"/>
              <a:gd name="T19" fmla="*/ 76 h 1687"/>
              <a:gd name="T20" fmla="*/ 0 w 1072"/>
              <a:gd name="T21" fmla="*/ 504 h 16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72" h="1687">
                <a:moveTo>
                  <a:pt x="0" y="504"/>
                </a:moveTo>
                <a:cubicBezTo>
                  <a:pt x="0" y="1094"/>
                  <a:pt x="428" y="1585"/>
                  <a:pt x="990" y="1682"/>
                </a:cubicBezTo>
                <a:cubicBezTo>
                  <a:pt x="1019" y="1687"/>
                  <a:pt x="1048" y="1682"/>
                  <a:pt x="1072" y="1669"/>
                </a:cubicBezTo>
                <a:cubicBezTo>
                  <a:pt x="1061" y="1670"/>
                  <a:pt x="1050" y="1670"/>
                  <a:pt x="1039" y="1668"/>
                </a:cubicBezTo>
                <a:cubicBezTo>
                  <a:pt x="477" y="1570"/>
                  <a:pt x="49" y="1080"/>
                  <a:pt x="49" y="489"/>
                </a:cubicBezTo>
                <a:cubicBezTo>
                  <a:pt x="49" y="339"/>
                  <a:pt x="77" y="195"/>
                  <a:pt x="128" y="62"/>
                </a:cubicBezTo>
                <a:cubicBezTo>
                  <a:pt x="135" y="43"/>
                  <a:pt x="146" y="27"/>
                  <a:pt x="160" y="14"/>
                </a:cubicBezTo>
                <a:cubicBezTo>
                  <a:pt x="165" y="9"/>
                  <a:pt x="170" y="4"/>
                  <a:pt x="175" y="0"/>
                </a:cubicBezTo>
                <a:cubicBezTo>
                  <a:pt x="149" y="4"/>
                  <a:pt x="124" y="16"/>
                  <a:pt x="105" y="34"/>
                </a:cubicBezTo>
                <a:cubicBezTo>
                  <a:pt x="94" y="46"/>
                  <a:pt x="85" y="60"/>
                  <a:pt x="78" y="76"/>
                </a:cubicBezTo>
                <a:cubicBezTo>
                  <a:pt x="28" y="209"/>
                  <a:pt x="0" y="353"/>
                  <a:pt x="0" y="504"/>
                </a:cubicBezTo>
                <a:close/>
              </a:path>
            </a:pathLst>
          </a:custGeom>
          <a:gradFill>
            <a:gsLst>
              <a:gs pos="100000">
                <a:schemeClr val="accent1"/>
              </a:gs>
              <a:gs pos="31000">
                <a:schemeClr val="accent1">
                  <a:lumMod val="60000"/>
                  <a:lumOff val="40000"/>
                </a:schemeClr>
              </a:gs>
              <a:gs pos="0">
                <a:schemeClr val="accent1">
                  <a:lumMod val="40000"/>
                  <a:lumOff val="60000"/>
                </a:schemeClr>
              </a:gs>
            </a:gsLst>
            <a:path path="circle">
              <a:fillToRect r="100000" b="100000"/>
            </a:path>
          </a:gra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sp>
        <p:nvSpPr>
          <p:cNvPr id="8" name="Freeform 6">
            <a:extLst>
              <a:ext uri="{FF2B5EF4-FFF2-40B4-BE49-F238E27FC236}">
                <a16:creationId xmlns:a16="http://schemas.microsoft.com/office/drawing/2014/main" id="{8987B13F-201D-4B9A-8C63-73D1B0CFDC91}"/>
              </a:ext>
            </a:extLst>
          </p:cNvPr>
          <p:cNvSpPr>
            <a:spLocks noEditPoints="1"/>
          </p:cNvSpPr>
          <p:nvPr/>
        </p:nvSpPr>
        <p:spPr bwMode="auto">
          <a:xfrm flipH="1">
            <a:off x="6147583" y="3239597"/>
            <a:ext cx="1739346" cy="2669056"/>
          </a:xfrm>
          <a:custGeom>
            <a:avLst/>
            <a:gdLst>
              <a:gd name="T0" fmla="*/ 1089 w 1090"/>
              <a:gd name="T1" fmla="*/ 1149 h 1674"/>
              <a:gd name="T2" fmla="*/ 995 w 1090"/>
              <a:gd name="T3" fmla="*/ 1023 h 1674"/>
              <a:gd name="T4" fmla="*/ 611 w 1090"/>
              <a:gd name="T5" fmla="*/ 513 h 1674"/>
              <a:gd name="T6" fmla="*/ 629 w 1090"/>
              <a:gd name="T7" fmla="*/ 375 h 1674"/>
              <a:gd name="T8" fmla="*/ 569 w 1090"/>
              <a:gd name="T9" fmla="*/ 230 h 1674"/>
              <a:gd name="T10" fmla="*/ 234 w 1090"/>
              <a:gd name="T11" fmla="*/ 34 h 1674"/>
              <a:gd name="T12" fmla="*/ 223 w 1090"/>
              <a:gd name="T13" fmla="*/ 75 h 1674"/>
              <a:gd name="T14" fmla="*/ 234 w 1090"/>
              <a:gd name="T15" fmla="*/ 34 h 1674"/>
              <a:gd name="T16" fmla="*/ 231 w 1090"/>
              <a:gd name="T17" fmla="*/ 32 h 1674"/>
              <a:gd name="T18" fmla="*/ 210 w 1090"/>
              <a:gd name="T19" fmla="*/ 20 h 1674"/>
              <a:gd name="T20" fmla="*/ 129 w 1090"/>
              <a:gd name="T21" fmla="*/ 4 h 1674"/>
              <a:gd name="T22" fmla="*/ 111 w 1090"/>
              <a:gd name="T23" fmla="*/ 18 h 1674"/>
              <a:gd name="T24" fmla="*/ 111 w 1090"/>
              <a:gd name="T25" fmla="*/ 18 h 1674"/>
              <a:gd name="T26" fmla="*/ 79 w 1090"/>
              <a:gd name="T27" fmla="*/ 66 h 1674"/>
              <a:gd name="T28" fmla="*/ 0 w 1090"/>
              <a:gd name="T29" fmla="*/ 493 h 1674"/>
              <a:gd name="T30" fmla="*/ 990 w 1090"/>
              <a:gd name="T31" fmla="*/ 1672 h 1674"/>
              <a:gd name="T32" fmla="*/ 1023 w 1090"/>
              <a:gd name="T33" fmla="*/ 1673 h 1674"/>
              <a:gd name="T34" fmla="*/ 1033 w 1090"/>
              <a:gd name="T35" fmla="*/ 1667 h 1674"/>
              <a:gd name="T36" fmla="*/ 1051 w 1090"/>
              <a:gd name="T37" fmla="*/ 1653 h 1674"/>
              <a:gd name="T38" fmla="*/ 1086 w 1090"/>
              <a:gd name="T39" fmla="*/ 1565 h 1674"/>
              <a:gd name="T40" fmla="*/ 1087 w 1090"/>
              <a:gd name="T41" fmla="*/ 1542 h 1674"/>
              <a:gd name="T42" fmla="*/ 1087 w 1090"/>
              <a:gd name="T43" fmla="*/ 1542 h 1674"/>
              <a:gd name="T44" fmla="*/ 1087 w 1090"/>
              <a:gd name="T45" fmla="*/ 1535 h 1674"/>
              <a:gd name="T46" fmla="*/ 1089 w 1090"/>
              <a:gd name="T47" fmla="*/ 1149 h 1674"/>
              <a:gd name="T48" fmla="*/ 758 w 1090"/>
              <a:gd name="T49" fmla="*/ 1599 h 1674"/>
              <a:gd name="T50" fmla="*/ 730 w 1090"/>
              <a:gd name="T51" fmla="*/ 1587 h 1674"/>
              <a:gd name="T52" fmla="*/ 758 w 1090"/>
              <a:gd name="T53" fmla="*/ 1599 h 1674"/>
              <a:gd name="T54" fmla="*/ 637 w 1090"/>
              <a:gd name="T55" fmla="*/ 1542 h 1674"/>
              <a:gd name="T56" fmla="*/ 617 w 1090"/>
              <a:gd name="T57" fmla="*/ 1531 h 1674"/>
              <a:gd name="T58" fmla="*/ 637 w 1090"/>
              <a:gd name="T59" fmla="*/ 1542 h 1674"/>
              <a:gd name="T60" fmla="*/ 591 w 1090"/>
              <a:gd name="T61" fmla="*/ 1516 h 1674"/>
              <a:gd name="T62" fmla="*/ 574 w 1090"/>
              <a:gd name="T63" fmla="*/ 1506 h 1674"/>
              <a:gd name="T64" fmla="*/ 591 w 1090"/>
              <a:gd name="T65" fmla="*/ 1516 h 1674"/>
              <a:gd name="T66" fmla="*/ 508 w 1090"/>
              <a:gd name="T67" fmla="*/ 1462 h 1674"/>
              <a:gd name="T68" fmla="*/ 484 w 1090"/>
              <a:gd name="T69" fmla="*/ 1445 h 1674"/>
              <a:gd name="T70" fmla="*/ 508 w 1090"/>
              <a:gd name="T71" fmla="*/ 1462 h 1674"/>
              <a:gd name="T72" fmla="*/ 233 w 1090"/>
              <a:gd name="T73" fmla="*/ 1189 h 1674"/>
              <a:gd name="T74" fmla="*/ 221 w 1090"/>
              <a:gd name="T75" fmla="*/ 1172 h 1674"/>
              <a:gd name="T76" fmla="*/ 233 w 1090"/>
              <a:gd name="T77" fmla="*/ 1189 h 1674"/>
              <a:gd name="T78" fmla="*/ 333 w 1090"/>
              <a:gd name="T79" fmla="*/ 1309 h 1674"/>
              <a:gd name="T80" fmla="*/ 307 w 1090"/>
              <a:gd name="T81" fmla="*/ 1281 h 1674"/>
              <a:gd name="T82" fmla="*/ 333 w 1090"/>
              <a:gd name="T83" fmla="*/ 1309 h 1674"/>
              <a:gd name="T84" fmla="*/ 369 w 1090"/>
              <a:gd name="T85" fmla="*/ 1346 h 1674"/>
              <a:gd name="T86" fmla="*/ 388 w 1090"/>
              <a:gd name="T87" fmla="*/ 1364 h 1674"/>
              <a:gd name="T88" fmla="*/ 369 w 1090"/>
              <a:gd name="T89" fmla="*/ 1346 h 1674"/>
              <a:gd name="T90" fmla="*/ 996 w 1090"/>
              <a:gd name="T91" fmla="*/ 1666 h 1674"/>
              <a:gd name="T92" fmla="*/ 878 w 1090"/>
              <a:gd name="T93" fmla="*/ 1639 h 1674"/>
              <a:gd name="T94" fmla="*/ 996 w 1090"/>
              <a:gd name="T95" fmla="*/ 1666 h 1674"/>
              <a:gd name="T96" fmla="*/ 1005 w 1090"/>
              <a:gd name="T97" fmla="*/ 1667 h 1674"/>
              <a:gd name="T98" fmla="*/ 996 w 1090"/>
              <a:gd name="T99" fmla="*/ 1666 h 1674"/>
              <a:gd name="T100" fmla="*/ 777 w 1090"/>
              <a:gd name="T101" fmla="*/ 1606 h 1674"/>
              <a:gd name="T102" fmla="*/ 852 w 1090"/>
              <a:gd name="T103" fmla="*/ 1632 h 1674"/>
              <a:gd name="T104" fmla="*/ 777 w 1090"/>
              <a:gd name="T105" fmla="*/ 1606 h 16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90" h="1674">
                <a:moveTo>
                  <a:pt x="1089" y="1149"/>
                </a:moveTo>
                <a:cubicBezTo>
                  <a:pt x="1090" y="1090"/>
                  <a:pt x="1051" y="1039"/>
                  <a:pt x="995" y="1023"/>
                </a:cubicBezTo>
                <a:cubicBezTo>
                  <a:pt x="773" y="960"/>
                  <a:pt x="611" y="755"/>
                  <a:pt x="611" y="513"/>
                </a:cubicBezTo>
                <a:cubicBezTo>
                  <a:pt x="611" y="466"/>
                  <a:pt x="617" y="419"/>
                  <a:pt x="629" y="375"/>
                </a:cubicBezTo>
                <a:cubicBezTo>
                  <a:pt x="644" y="319"/>
                  <a:pt x="619" y="260"/>
                  <a:pt x="569" y="230"/>
                </a:cubicBezTo>
                <a:cubicBezTo>
                  <a:pt x="234" y="34"/>
                  <a:pt x="234" y="34"/>
                  <a:pt x="234" y="34"/>
                </a:cubicBezTo>
                <a:cubicBezTo>
                  <a:pt x="230" y="48"/>
                  <a:pt x="226" y="61"/>
                  <a:pt x="223" y="75"/>
                </a:cubicBezTo>
                <a:cubicBezTo>
                  <a:pt x="226" y="61"/>
                  <a:pt x="230" y="48"/>
                  <a:pt x="234" y="34"/>
                </a:cubicBezTo>
                <a:cubicBezTo>
                  <a:pt x="231" y="32"/>
                  <a:pt x="231" y="32"/>
                  <a:pt x="231" y="32"/>
                </a:cubicBezTo>
                <a:cubicBezTo>
                  <a:pt x="210" y="20"/>
                  <a:pt x="210" y="20"/>
                  <a:pt x="210" y="20"/>
                </a:cubicBezTo>
                <a:cubicBezTo>
                  <a:pt x="185" y="5"/>
                  <a:pt x="156" y="0"/>
                  <a:pt x="129" y="4"/>
                </a:cubicBezTo>
                <a:cubicBezTo>
                  <a:pt x="123" y="8"/>
                  <a:pt x="116" y="13"/>
                  <a:pt x="111" y="18"/>
                </a:cubicBezTo>
                <a:cubicBezTo>
                  <a:pt x="111" y="18"/>
                  <a:pt x="111" y="18"/>
                  <a:pt x="111" y="18"/>
                </a:cubicBezTo>
                <a:cubicBezTo>
                  <a:pt x="97" y="31"/>
                  <a:pt x="86" y="47"/>
                  <a:pt x="79" y="66"/>
                </a:cubicBezTo>
                <a:cubicBezTo>
                  <a:pt x="28" y="199"/>
                  <a:pt x="0" y="343"/>
                  <a:pt x="0" y="493"/>
                </a:cubicBezTo>
                <a:cubicBezTo>
                  <a:pt x="0" y="1084"/>
                  <a:pt x="428" y="1574"/>
                  <a:pt x="990" y="1672"/>
                </a:cubicBezTo>
                <a:cubicBezTo>
                  <a:pt x="1001" y="1674"/>
                  <a:pt x="1012" y="1674"/>
                  <a:pt x="1023" y="1673"/>
                </a:cubicBezTo>
                <a:cubicBezTo>
                  <a:pt x="1026" y="1671"/>
                  <a:pt x="1030" y="1669"/>
                  <a:pt x="1033" y="1667"/>
                </a:cubicBezTo>
                <a:cubicBezTo>
                  <a:pt x="1040" y="1663"/>
                  <a:pt x="1046" y="1658"/>
                  <a:pt x="1051" y="1653"/>
                </a:cubicBezTo>
                <a:cubicBezTo>
                  <a:pt x="1073" y="1630"/>
                  <a:pt x="1086" y="1599"/>
                  <a:pt x="1086" y="1565"/>
                </a:cubicBezTo>
                <a:cubicBezTo>
                  <a:pt x="1087" y="1542"/>
                  <a:pt x="1087" y="1542"/>
                  <a:pt x="1087" y="1542"/>
                </a:cubicBezTo>
                <a:cubicBezTo>
                  <a:pt x="1087" y="1542"/>
                  <a:pt x="1087" y="1542"/>
                  <a:pt x="1087" y="1542"/>
                </a:cubicBezTo>
                <a:cubicBezTo>
                  <a:pt x="1087" y="1535"/>
                  <a:pt x="1087" y="1535"/>
                  <a:pt x="1087" y="1535"/>
                </a:cubicBezTo>
                <a:lnTo>
                  <a:pt x="1089" y="1149"/>
                </a:lnTo>
                <a:close/>
                <a:moveTo>
                  <a:pt x="758" y="1599"/>
                </a:moveTo>
                <a:cubicBezTo>
                  <a:pt x="748" y="1595"/>
                  <a:pt x="739" y="1591"/>
                  <a:pt x="730" y="1587"/>
                </a:cubicBezTo>
                <a:cubicBezTo>
                  <a:pt x="739" y="1591"/>
                  <a:pt x="748" y="1595"/>
                  <a:pt x="758" y="1599"/>
                </a:cubicBezTo>
                <a:close/>
                <a:moveTo>
                  <a:pt x="637" y="1542"/>
                </a:moveTo>
                <a:cubicBezTo>
                  <a:pt x="630" y="1539"/>
                  <a:pt x="623" y="1535"/>
                  <a:pt x="617" y="1531"/>
                </a:cubicBezTo>
                <a:cubicBezTo>
                  <a:pt x="623" y="1535"/>
                  <a:pt x="630" y="1539"/>
                  <a:pt x="637" y="1542"/>
                </a:cubicBezTo>
                <a:close/>
                <a:moveTo>
                  <a:pt x="591" y="1516"/>
                </a:moveTo>
                <a:cubicBezTo>
                  <a:pt x="585" y="1513"/>
                  <a:pt x="579" y="1509"/>
                  <a:pt x="574" y="1506"/>
                </a:cubicBezTo>
                <a:cubicBezTo>
                  <a:pt x="579" y="1509"/>
                  <a:pt x="585" y="1513"/>
                  <a:pt x="591" y="1516"/>
                </a:cubicBezTo>
                <a:close/>
                <a:moveTo>
                  <a:pt x="508" y="1462"/>
                </a:moveTo>
                <a:cubicBezTo>
                  <a:pt x="500" y="1456"/>
                  <a:pt x="492" y="1451"/>
                  <a:pt x="484" y="1445"/>
                </a:cubicBezTo>
                <a:cubicBezTo>
                  <a:pt x="492" y="1451"/>
                  <a:pt x="500" y="1456"/>
                  <a:pt x="508" y="1462"/>
                </a:cubicBezTo>
                <a:close/>
                <a:moveTo>
                  <a:pt x="233" y="1189"/>
                </a:moveTo>
                <a:cubicBezTo>
                  <a:pt x="229" y="1184"/>
                  <a:pt x="225" y="1178"/>
                  <a:pt x="221" y="1172"/>
                </a:cubicBezTo>
                <a:cubicBezTo>
                  <a:pt x="225" y="1178"/>
                  <a:pt x="229" y="1184"/>
                  <a:pt x="233" y="1189"/>
                </a:cubicBezTo>
                <a:close/>
                <a:moveTo>
                  <a:pt x="333" y="1309"/>
                </a:moveTo>
                <a:cubicBezTo>
                  <a:pt x="324" y="1300"/>
                  <a:pt x="315" y="1291"/>
                  <a:pt x="307" y="1281"/>
                </a:cubicBezTo>
                <a:cubicBezTo>
                  <a:pt x="315" y="1291"/>
                  <a:pt x="324" y="1300"/>
                  <a:pt x="333" y="1309"/>
                </a:cubicBezTo>
                <a:close/>
                <a:moveTo>
                  <a:pt x="369" y="1346"/>
                </a:moveTo>
                <a:cubicBezTo>
                  <a:pt x="375" y="1352"/>
                  <a:pt x="381" y="1358"/>
                  <a:pt x="388" y="1364"/>
                </a:cubicBezTo>
                <a:cubicBezTo>
                  <a:pt x="381" y="1358"/>
                  <a:pt x="375" y="1352"/>
                  <a:pt x="369" y="1346"/>
                </a:cubicBezTo>
                <a:close/>
                <a:moveTo>
                  <a:pt x="996" y="1666"/>
                </a:moveTo>
                <a:cubicBezTo>
                  <a:pt x="956" y="1659"/>
                  <a:pt x="917" y="1650"/>
                  <a:pt x="878" y="1639"/>
                </a:cubicBezTo>
                <a:cubicBezTo>
                  <a:pt x="917" y="1650"/>
                  <a:pt x="956" y="1659"/>
                  <a:pt x="996" y="1666"/>
                </a:cubicBezTo>
                <a:cubicBezTo>
                  <a:pt x="999" y="1667"/>
                  <a:pt x="1002" y="1667"/>
                  <a:pt x="1005" y="1667"/>
                </a:cubicBezTo>
                <a:cubicBezTo>
                  <a:pt x="1002" y="1667"/>
                  <a:pt x="999" y="1667"/>
                  <a:pt x="996" y="1666"/>
                </a:cubicBezTo>
                <a:close/>
                <a:moveTo>
                  <a:pt x="777" y="1606"/>
                </a:moveTo>
                <a:cubicBezTo>
                  <a:pt x="801" y="1615"/>
                  <a:pt x="826" y="1624"/>
                  <a:pt x="852" y="1632"/>
                </a:cubicBezTo>
                <a:cubicBezTo>
                  <a:pt x="826" y="1624"/>
                  <a:pt x="801" y="1615"/>
                  <a:pt x="777" y="1606"/>
                </a:cubicBezTo>
                <a:close/>
              </a:path>
            </a:pathLst>
          </a:custGeom>
          <a:gradFill flip="none" rotWithShape="1">
            <a:gsLst>
              <a:gs pos="73000">
                <a:schemeClr val="accent1"/>
              </a:gs>
              <a:gs pos="31000">
                <a:schemeClr val="accent1">
                  <a:lumMod val="60000"/>
                  <a:lumOff val="40000"/>
                </a:schemeClr>
              </a:gs>
              <a:gs pos="0">
                <a:schemeClr val="accent1">
                  <a:lumMod val="40000"/>
                  <a:lumOff val="60000"/>
                </a:schemeClr>
              </a:gs>
            </a:gsLst>
            <a:path path="circle">
              <a:fillToRect r="100000" b="100000"/>
            </a:path>
            <a:tileRect l="-100000" t="-100000"/>
          </a:gradFill>
          <a:ln>
            <a:noFill/>
          </a:ln>
          <a:effectLst>
            <a:outerShdw blurRad="444500" dist="317500" dir="5400000" sx="92000" sy="92000" algn="t" rotWithShape="0">
              <a:schemeClr val="accent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10" name="Freeform 5">
            <a:extLst>
              <a:ext uri="{FF2B5EF4-FFF2-40B4-BE49-F238E27FC236}">
                <a16:creationId xmlns:a16="http://schemas.microsoft.com/office/drawing/2014/main" id="{23CE3FB1-EA33-4E78-9E64-26125C862548}"/>
              </a:ext>
            </a:extLst>
          </p:cNvPr>
          <p:cNvSpPr>
            <a:spLocks/>
          </p:cNvSpPr>
          <p:nvPr/>
        </p:nvSpPr>
        <p:spPr bwMode="auto">
          <a:xfrm rot="14427174" flipH="1">
            <a:off x="5189267" y="1532966"/>
            <a:ext cx="1711900" cy="2689641"/>
          </a:xfrm>
          <a:custGeom>
            <a:avLst/>
            <a:gdLst>
              <a:gd name="T0" fmla="*/ 0 w 1072"/>
              <a:gd name="T1" fmla="*/ 504 h 1687"/>
              <a:gd name="T2" fmla="*/ 990 w 1072"/>
              <a:gd name="T3" fmla="*/ 1682 h 1687"/>
              <a:gd name="T4" fmla="*/ 1072 w 1072"/>
              <a:gd name="T5" fmla="*/ 1669 h 1687"/>
              <a:gd name="T6" fmla="*/ 1039 w 1072"/>
              <a:gd name="T7" fmla="*/ 1668 h 1687"/>
              <a:gd name="T8" fmla="*/ 49 w 1072"/>
              <a:gd name="T9" fmla="*/ 489 h 1687"/>
              <a:gd name="T10" fmla="*/ 128 w 1072"/>
              <a:gd name="T11" fmla="*/ 62 h 1687"/>
              <a:gd name="T12" fmla="*/ 160 w 1072"/>
              <a:gd name="T13" fmla="*/ 14 h 1687"/>
              <a:gd name="T14" fmla="*/ 175 w 1072"/>
              <a:gd name="T15" fmla="*/ 0 h 1687"/>
              <a:gd name="T16" fmla="*/ 105 w 1072"/>
              <a:gd name="T17" fmla="*/ 34 h 1687"/>
              <a:gd name="T18" fmla="*/ 78 w 1072"/>
              <a:gd name="T19" fmla="*/ 76 h 1687"/>
              <a:gd name="T20" fmla="*/ 0 w 1072"/>
              <a:gd name="T21" fmla="*/ 504 h 16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72" h="1687">
                <a:moveTo>
                  <a:pt x="0" y="504"/>
                </a:moveTo>
                <a:cubicBezTo>
                  <a:pt x="0" y="1094"/>
                  <a:pt x="428" y="1585"/>
                  <a:pt x="990" y="1682"/>
                </a:cubicBezTo>
                <a:cubicBezTo>
                  <a:pt x="1019" y="1687"/>
                  <a:pt x="1048" y="1682"/>
                  <a:pt x="1072" y="1669"/>
                </a:cubicBezTo>
                <a:cubicBezTo>
                  <a:pt x="1061" y="1670"/>
                  <a:pt x="1050" y="1670"/>
                  <a:pt x="1039" y="1668"/>
                </a:cubicBezTo>
                <a:cubicBezTo>
                  <a:pt x="477" y="1570"/>
                  <a:pt x="49" y="1080"/>
                  <a:pt x="49" y="489"/>
                </a:cubicBezTo>
                <a:cubicBezTo>
                  <a:pt x="49" y="339"/>
                  <a:pt x="77" y="195"/>
                  <a:pt x="128" y="62"/>
                </a:cubicBezTo>
                <a:cubicBezTo>
                  <a:pt x="135" y="43"/>
                  <a:pt x="146" y="27"/>
                  <a:pt x="160" y="14"/>
                </a:cubicBezTo>
                <a:cubicBezTo>
                  <a:pt x="165" y="9"/>
                  <a:pt x="170" y="4"/>
                  <a:pt x="175" y="0"/>
                </a:cubicBezTo>
                <a:cubicBezTo>
                  <a:pt x="149" y="4"/>
                  <a:pt x="124" y="16"/>
                  <a:pt x="105" y="34"/>
                </a:cubicBezTo>
                <a:cubicBezTo>
                  <a:pt x="94" y="46"/>
                  <a:pt x="85" y="60"/>
                  <a:pt x="78" y="76"/>
                </a:cubicBezTo>
                <a:cubicBezTo>
                  <a:pt x="28" y="209"/>
                  <a:pt x="0" y="353"/>
                  <a:pt x="0" y="504"/>
                </a:cubicBezTo>
                <a:close/>
              </a:path>
            </a:pathLst>
          </a:custGeom>
          <a:gradFill>
            <a:gsLst>
              <a:gs pos="100000">
                <a:schemeClr val="accent1"/>
              </a:gs>
              <a:gs pos="31000">
                <a:schemeClr val="accent1">
                  <a:lumMod val="60000"/>
                  <a:lumOff val="40000"/>
                </a:schemeClr>
              </a:gs>
              <a:gs pos="0">
                <a:schemeClr val="accent1">
                  <a:lumMod val="40000"/>
                  <a:lumOff val="60000"/>
                </a:schemeClr>
              </a:gs>
            </a:gsLst>
            <a:path path="circle">
              <a:fillToRect r="100000" b="100000"/>
            </a:path>
          </a:gra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sp>
        <p:nvSpPr>
          <p:cNvPr id="11" name="Freeform 6">
            <a:extLst>
              <a:ext uri="{FF2B5EF4-FFF2-40B4-BE49-F238E27FC236}">
                <a16:creationId xmlns:a16="http://schemas.microsoft.com/office/drawing/2014/main" id="{897F7A9B-0562-49AD-A9DC-C0B37F580DB5}"/>
              </a:ext>
            </a:extLst>
          </p:cNvPr>
          <p:cNvSpPr>
            <a:spLocks noEditPoints="1"/>
          </p:cNvSpPr>
          <p:nvPr/>
        </p:nvSpPr>
        <p:spPr bwMode="auto">
          <a:xfrm rot="14427174" flipH="1">
            <a:off x="5206299" y="1632300"/>
            <a:ext cx="1739346" cy="2669056"/>
          </a:xfrm>
          <a:custGeom>
            <a:avLst/>
            <a:gdLst>
              <a:gd name="T0" fmla="*/ 1089 w 1090"/>
              <a:gd name="T1" fmla="*/ 1149 h 1674"/>
              <a:gd name="T2" fmla="*/ 995 w 1090"/>
              <a:gd name="T3" fmla="*/ 1023 h 1674"/>
              <a:gd name="T4" fmla="*/ 611 w 1090"/>
              <a:gd name="T5" fmla="*/ 513 h 1674"/>
              <a:gd name="T6" fmla="*/ 629 w 1090"/>
              <a:gd name="T7" fmla="*/ 375 h 1674"/>
              <a:gd name="T8" fmla="*/ 569 w 1090"/>
              <a:gd name="T9" fmla="*/ 230 h 1674"/>
              <a:gd name="T10" fmla="*/ 234 w 1090"/>
              <a:gd name="T11" fmla="*/ 34 h 1674"/>
              <a:gd name="T12" fmla="*/ 223 w 1090"/>
              <a:gd name="T13" fmla="*/ 75 h 1674"/>
              <a:gd name="T14" fmla="*/ 234 w 1090"/>
              <a:gd name="T15" fmla="*/ 34 h 1674"/>
              <a:gd name="T16" fmla="*/ 231 w 1090"/>
              <a:gd name="T17" fmla="*/ 32 h 1674"/>
              <a:gd name="T18" fmla="*/ 210 w 1090"/>
              <a:gd name="T19" fmla="*/ 20 h 1674"/>
              <a:gd name="T20" fmla="*/ 129 w 1090"/>
              <a:gd name="T21" fmla="*/ 4 h 1674"/>
              <a:gd name="T22" fmla="*/ 111 w 1090"/>
              <a:gd name="T23" fmla="*/ 18 h 1674"/>
              <a:gd name="T24" fmla="*/ 111 w 1090"/>
              <a:gd name="T25" fmla="*/ 18 h 1674"/>
              <a:gd name="T26" fmla="*/ 79 w 1090"/>
              <a:gd name="T27" fmla="*/ 66 h 1674"/>
              <a:gd name="T28" fmla="*/ 0 w 1090"/>
              <a:gd name="T29" fmla="*/ 493 h 1674"/>
              <a:gd name="T30" fmla="*/ 990 w 1090"/>
              <a:gd name="T31" fmla="*/ 1672 h 1674"/>
              <a:gd name="T32" fmla="*/ 1023 w 1090"/>
              <a:gd name="T33" fmla="*/ 1673 h 1674"/>
              <a:gd name="T34" fmla="*/ 1033 w 1090"/>
              <a:gd name="T35" fmla="*/ 1667 h 1674"/>
              <a:gd name="T36" fmla="*/ 1051 w 1090"/>
              <a:gd name="T37" fmla="*/ 1653 h 1674"/>
              <a:gd name="T38" fmla="*/ 1086 w 1090"/>
              <a:gd name="T39" fmla="*/ 1565 h 1674"/>
              <a:gd name="T40" fmla="*/ 1087 w 1090"/>
              <a:gd name="T41" fmla="*/ 1542 h 1674"/>
              <a:gd name="T42" fmla="*/ 1087 w 1090"/>
              <a:gd name="T43" fmla="*/ 1542 h 1674"/>
              <a:gd name="T44" fmla="*/ 1087 w 1090"/>
              <a:gd name="T45" fmla="*/ 1535 h 1674"/>
              <a:gd name="T46" fmla="*/ 1089 w 1090"/>
              <a:gd name="T47" fmla="*/ 1149 h 1674"/>
              <a:gd name="T48" fmla="*/ 758 w 1090"/>
              <a:gd name="T49" fmla="*/ 1599 h 1674"/>
              <a:gd name="T50" fmla="*/ 730 w 1090"/>
              <a:gd name="T51" fmla="*/ 1587 h 1674"/>
              <a:gd name="T52" fmla="*/ 758 w 1090"/>
              <a:gd name="T53" fmla="*/ 1599 h 1674"/>
              <a:gd name="T54" fmla="*/ 637 w 1090"/>
              <a:gd name="T55" fmla="*/ 1542 h 1674"/>
              <a:gd name="T56" fmla="*/ 617 w 1090"/>
              <a:gd name="T57" fmla="*/ 1531 h 1674"/>
              <a:gd name="T58" fmla="*/ 637 w 1090"/>
              <a:gd name="T59" fmla="*/ 1542 h 1674"/>
              <a:gd name="T60" fmla="*/ 591 w 1090"/>
              <a:gd name="T61" fmla="*/ 1516 h 1674"/>
              <a:gd name="T62" fmla="*/ 574 w 1090"/>
              <a:gd name="T63" fmla="*/ 1506 h 1674"/>
              <a:gd name="T64" fmla="*/ 591 w 1090"/>
              <a:gd name="T65" fmla="*/ 1516 h 1674"/>
              <a:gd name="T66" fmla="*/ 508 w 1090"/>
              <a:gd name="T67" fmla="*/ 1462 h 1674"/>
              <a:gd name="T68" fmla="*/ 484 w 1090"/>
              <a:gd name="T69" fmla="*/ 1445 h 1674"/>
              <a:gd name="T70" fmla="*/ 508 w 1090"/>
              <a:gd name="T71" fmla="*/ 1462 h 1674"/>
              <a:gd name="T72" fmla="*/ 233 w 1090"/>
              <a:gd name="T73" fmla="*/ 1189 h 1674"/>
              <a:gd name="T74" fmla="*/ 221 w 1090"/>
              <a:gd name="T75" fmla="*/ 1172 h 1674"/>
              <a:gd name="T76" fmla="*/ 233 w 1090"/>
              <a:gd name="T77" fmla="*/ 1189 h 1674"/>
              <a:gd name="T78" fmla="*/ 333 w 1090"/>
              <a:gd name="T79" fmla="*/ 1309 h 1674"/>
              <a:gd name="T80" fmla="*/ 307 w 1090"/>
              <a:gd name="T81" fmla="*/ 1281 h 1674"/>
              <a:gd name="T82" fmla="*/ 333 w 1090"/>
              <a:gd name="T83" fmla="*/ 1309 h 1674"/>
              <a:gd name="T84" fmla="*/ 369 w 1090"/>
              <a:gd name="T85" fmla="*/ 1346 h 1674"/>
              <a:gd name="T86" fmla="*/ 388 w 1090"/>
              <a:gd name="T87" fmla="*/ 1364 h 1674"/>
              <a:gd name="T88" fmla="*/ 369 w 1090"/>
              <a:gd name="T89" fmla="*/ 1346 h 1674"/>
              <a:gd name="T90" fmla="*/ 996 w 1090"/>
              <a:gd name="T91" fmla="*/ 1666 h 1674"/>
              <a:gd name="T92" fmla="*/ 878 w 1090"/>
              <a:gd name="T93" fmla="*/ 1639 h 1674"/>
              <a:gd name="T94" fmla="*/ 996 w 1090"/>
              <a:gd name="T95" fmla="*/ 1666 h 1674"/>
              <a:gd name="T96" fmla="*/ 1005 w 1090"/>
              <a:gd name="T97" fmla="*/ 1667 h 1674"/>
              <a:gd name="T98" fmla="*/ 996 w 1090"/>
              <a:gd name="T99" fmla="*/ 1666 h 1674"/>
              <a:gd name="T100" fmla="*/ 777 w 1090"/>
              <a:gd name="T101" fmla="*/ 1606 h 1674"/>
              <a:gd name="T102" fmla="*/ 852 w 1090"/>
              <a:gd name="T103" fmla="*/ 1632 h 1674"/>
              <a:gd name="T104" fmla="*/ 777 w 1090"/>
              <a:gd name="T105" fmla="*/ 1606 h 16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90" h="1674">
                <a:moveTo>
                  <a:pt x="1089" y="1149"/>
                </a:moveTo>
                <a:cubicBezTo>
                  <a:pt x="1090" y="1090"/>
                  <a:pt x="1051" y="1039"/>
                  <a:pt x="995" y="1023"/>
                </a:cubicBezTo>
                <a:cubicBezTo>
                  <a:pt x="773" y="960"/>
                  <a:pt x="611" y="755"/>
                  <a:pt x="611" y="513"/>
                </a:cubicBezTo>
                <a:cubicBezTo>
                  <a:pt x="611" y="466"/>
                  <a:pt x="617" y="419"/>
                  <a:pt x="629" y="375"/>
                </a:cubicBezTo>
                <a:cubicBezTo>
                  <a:pt x="644" y="319"/>
                  <a:pt x="619" y="260"/>
                  <a:pt x="569" y="230"/>
                </a:cubicBezTo>
                <a:cubicBezTo>
                  <a:pt x="234" y="34"/>
                  <a:pt x="234" y="34"/>
                  <a:pt x="234" y="34"/>
                </a:cubicBezTo>
                <a:cubicBezTo>
                  <a:pt x="230" y="48"/>
                  <a:pt x="226" y="61"/>
                  <a:pt x="223" y="75"/>
                </a:cubicBezTo>
                <a:cubicBezTo>
                  <a:pt x="226" y="61"/>
                  <a:pt x="230" y="48"/>
                  <a:pt x="234" y="34"/>
                </a:cubicBezTo>
                <a:cubicBezTo>
                  <a:pt x="231" y="32"/>
                  <a:pt x="231" y="32"/>
                  <a:pt x="231" y="32"/>
                </a:cubicBezTo>
                <a:cubicBezTo>
                  <a:pt x="210" y="20"/>
                  <a:pt x="210" y="20"/>
                  <a:pt x="210" y="20"/>
                </a:cubicBezTo>
                <a:cubicBezTo>
                  <a:pt x="185" y="5"/>
                  <a:pt x="156" y="0"/>
                  <a:pt x="129" y="4"/>
                </a:cubicBezTo>
                <a:cubicBezTo>
                  <a:pt x="123" y="8"/>
                  <a:pt x="116" y="13"/>
                  <a:pt x="111" y="18"/>
                </a:cubicBezTo>
                <a:cubicBezTo>
                  <a:pt x="111" y="18"/>
                  <a:pt x="111" y="18"/>
                  <a:pt x="111" y="18"/>
                </a:cubicBezTo>
                <a:cubicBezTo>
                  <a:pt x="97" y="31"/>
                  <a:pt x="86" y="47"/>
                  <a:pt x="79" y="66"/>
                </a:cubicBezTo>
                <a:cubicBezTo>
                  <a:pt x="28" y="199"/>
                  <a:pt x="0" y="343"/>
                  <a:pt x="0" y="493"/>
                </a:cubicBezTo>
                <a:cubicBezTo>
                  <a:pt x="0" y="1084"/>
                  <a:pt x="428" y="1574"/>
                  <a:pt x="990" y="1672"/>
                </a:cubicBezTo>
                <a:cubicBezTo>
                  <a:pt x="1001" y="1674"/>
                  <a:pt x="1012" y="1674"/>
                  <a:pt x="1023" y="1673"/>
                </a:cubicBezTo>
                <a:cubicBezTo>
                  <a:pt x="1026" y="1671"/>
                  <a:pt x="1030" y="1669"/>
                  <a:pt x="1033" y="1667"/>
                </a:cubicBezTo>
                <a:cubicBezTo>
                  <a:pt x="1040" y="1663"/>
                  <a:pt x="1046" y="1658"/>
                  <a:pt x="1051" y="1653"/>
                </a:cubicBezTo>
                <a:cubicBezTo>
                  <a:pt x="1073" y="1630"/>
                  <a:pt x="1086" y="1599"/>
                  <a:pt x="1086" y="1565"/>
                </a:cubicBezTo>
                <a:cubicBezTo>
                  <a:pt x="1087" y="1542"/>
                  <a:pt x="1087" y="1542"/>
                  <a:pt x="1087" y="1542"/>
                </a:cubicBezTo>
                <a:cubicBezTo>
                  <a:pt x="1087" y="1542"/>
                  <a:pt x="1087" y="1542"/>
                  <a:pt x="1087" y="1542"/>
                </a:cubicBezTo>
                <a:cubicBezTo>
                  <a:pt x="1087" y="1535"/>
                  <a:pt x="1087" y="1535"/>
                  <a:pt x="1087" y="1535"/>
                </a:cubicBezTo>
                <a:lnTo>
                  <a:pt x="1089" y="1149"/>
                </a:lnTo>
                <a:close/>
                <a:moveTo>
                  <a:pt x="758" y="1599"/>
                </a:moveTo>
                <a:cubicBezTo>
                  <a:pt x="748" y="1595"/>
                  <a:pt x="739" y="1591"/>
                  <a:pt x="730" y="1587"/>
                </a:cubicBezTo>
                <a:cubicBezTo>
                  <a:pt x="739" y="1591"/>
                  <a:pt x="748" y="1595"/>
                  <a:pt x="758" y="1599"/>
                </a:cubicBezTo>
                <a:close/>
                <a:moveTo>
                  <a:pt x="637" y="1542"/>
                </a:moveTo>
                <a:cubicBezTo>
                  <a:pt x="630" y="1539"/>
                  <a:pt x="623" y="1535"/>
                  <a:pt x="617" y="1531"/>
                </a:cubicBezTo>
                <a:cubicBezTo>
                  <a:pt x="623" y="1535"/>
                  <a:pt x="630" y="1539"/>
                  <a:pt x="637" y="1542"/>
                </a:cubicBezTo>
                <a:close/>
                <a:moveTo>
                  <a:pt x="591" y="1516"/>
                </a:moveTo>
                <a:cubicBezTo>
                  <a:pt x="585" y="1513"/>
                  <a:pt x="579" y="1509"/>
                  <a:pt x="574" y="1506"/>
                </a:cubicBezTo>
                <a:cubicBezTo>
                  <a:pt x="579" y="1509"/>
                  <a:pt x="585" y="1513"/>
                  <a:pt x="591" y="1516"/>
                </a:cubicBezTo>
                <a:close/>
                <a:moveTo>
                  <a:pt x="508" y="1462"/>
                </a:moveTo>
                <a:cubicBezTo>
                  <a:pt x="500" y="1456"/>
                  <a:pt x="492" y="1451"/>
                  <a:pt x="484" y="1445"/>
                </a:cubicBezTo>
                <a:cubicBezTo>
                  <a:pt x="492" y="1451"/>
                  <a:pt x="500" y="1456"/>
                  <a:pt x="508" y="1462"/>
                </a:cubicBezTo>
                <a:close/>
                <a:moveTo>
                  <a:pt x="233" y="1189"/>
                </a:moveTo>
                <a:cubicBezTo>
                  <a:pt x="229" y="1184"/>
                  <a:pt x="225" y="1178"/>
                  <a:pt x="221" y="1172"/>
                </a:cubicBezTo>
                <a:cubicBezTo>
                  <a:pt x="225" y="1178"/>
                  <a:pt x="229" y="1184"/>
                  <a:pt x="233" y="1189"/>
                </a:cubicBezTo>
                <a:close/>
                <a:moveTo>
                  <a:pt x="333" y="1309"/>
                </a:moveTo>
                <a:cubicBezTo>
                  <a:pt x="324" y="1300"/>
                  <a:pt x="315" y="1291"/>
                  <a:pt x="307" y="1281"/>
                </a:cubicBezTo>
                <a:cubicBezTo>
                  <a:pt x="315" y="1291"/>
                  <a:pt x="324" y="1300"/>
                  <a:pt x="333" y="1309"/>
                </a:cubicBezTo>
                <a:close/>
                <a:moveTo>
                  <a:pt x="369" y="1346"/>
                </a:moveTo>
                <a:cubicBezTo>
                  <a:pt x="375" y="1352"/>
                  <a:pt x="381" y="1358"/>
                  <a:pt x="388" y="1364"/>
                </a:cubicBezTo>
                <a:cubicBezTo>
                  <a:pt x="381" y="1358"/>
                  <a:pt x="375" y="1352"/>
                  <a:pt x="369" y="1346"/>
                </a:cubicBezTo>
                <a:close/>
                <a:moveTo>
                  <a:pt x="996" y="1666"/>
                </a:moveTo>
                <a:cubicBezTo>
                  <a:pt x="956" y="1659"/>
                  <a:pt x="917" y="1650"/>
                  <a:pt x="878" y="1639"/>
                </a:cubicBezTo>
                <a:cubicBezTo>
                  <a:pt x="917" y="1650"/>
                  <a:pt x="956" y="1659"/>
                  <a:pt x="996" y="1666"/>
                </a:cubicBezTo>
                <a:cubicBezTo>
                  <a:pt x="999" y="1667"/>
                  <a:pt x="1002" y="1667"/>
                  <a:pt x="1005" y="1667"/>
                </a:cubicBezTo>
                <a:cubicBezTo>
                  <a:pt x="1002" y="1667"/>
                  <a:pt x="999" y="1667"/>
                  <a:pt x="996" y="1666"/>
                </a:cubicBezTo>
                <a:close/>
                <a:moveTo>
                  <a:pt x="777" y="1606"/>
                </a:moveTo>
                <a:cubicBezTo>
                  <a:pt x="801" y="1615"/>
                  <a:pt x="826" y="1624"/>
                  <a:pt x="852" y="1632"/>
                </a:cubicBezTo>
                <a:cubicBezTo>
                  <a:pt x="826" y="1624"/>
                  <a:pt x="801" y="1615"/>
                  <a:pt x="777" y="1606"/>
                </a:cubicBezTo>
                <a:close/>
              </a:path>
            </a:pathLst>
          </a:custGeom>
          <a:gradFill flip="none" rotWithShape="1">
            <a:gsLst>
              <a:gs pos="73000">
                <a:schemeClr val="accent1"/>
              </a:gs>
              <a:gs pos="31000">
                <a:schemeClr val="accent1">
                  <a:lumMod val="60000"/>
                  <a:lumOff val="40000"/>
                </a:schemeClr>
              </a:gs>
              <a:gs pos="0">
                <a:schemeClr val="accent1">
                  <a:lumMod val="40000"/>
                  <a:lumOff val="60000"/>
                </a:schemeClr>
              </a:gs>
            </a:gsLst>
            <a:path path="circle">
              <a:fillToRect r="100000" b="100000"/>
            </a:path>
            <a:tileRect l="-100000" t="-100000"/>
          </a:gradFill>
          <a:ln>
            <a:noFill/>
          </a:ln>
          <a:effectLst>
            <a:outerShdw blurRad="444500" dist="317500" dir="5400000" sx="92000" sy="92000" algn="t" rotWithShape="0">
              <a:schemeClr val="accent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12" name="Freeform 5">
            <a:extLst>
              <a:ext uri="{FF2B5EF4-FFF2-40B4-BE49-F238E27FC236}">
                <a16:creationId xmlns:a16="http://schemas.microsoft.com/office/drawing/2014/main" id="{41C89D59-5D43-4871-BB38-AAC8ECBCEA56}"/>
              </a:ext>
            </a:extLst>
          </p:cNvPr>
          <p:cNvSpPr>
            <a:spLocks noEditPoints="1"/>
          </p:cNvSpPr>
          <p:nvPr/>
        </p:nvSpPr>
        <p:spPr bwMode="auto">
          <a:xfrm>
            <a:off x="5899018" y="2515035"/>
            <a:ext cx="393964" cy="393964"/>
          </a:xfrm>
          <a:custGeom>
            <a:avLst/>
            <a:gdLst>
              <a:gd name="T0" fmla="*/ 1024 w 2048"/>
              <a:gd name="T1" fmla="*/ 0 h 2048"/>
              <a:gd name="T2" fmla="*/ 0 w 2048"/>
              <a:gd name="T3" fmla="*/ 1024 h 2048"/>
              <a:gd name="T4" fmla="*/ 1024 w 2048"/>
              <a:gd name="T5" fmla="*/ 2048 h 2048"/>
              <a:gd name="T6" fmla="*/ 2048 w 2048"/>
              <a:gd name="T7" fmla="*/ 1024 h 2048"/>
              <a:gd name="T8" fmla="*/ 1024 w 2048"/>
              <a:gd name="T9" fmla="*/ 0 h 2048"/>
              <a:gd name="T10" fmla="*/ 1499 w 2048"/>
              <a:gd name="T11" fmla="*/ 1134 h 2048"/>
              <a:gd name="T12" fmla="*/ 1024 w 2048"/>
              <a:gd name="T13" fmla="*/ 1134 h 2048"/>
              <a:gd name="T14" fmla="*/ 914 w 2048"/>
              <a:gd name="T15" fmla="*/ 1024 h 2048"/>
              <a:gd name="T16" fmla="*/ 914 w 2048"/>
              <a:gd name="T17" fmla="*/ 549 h 2048"/>
              <a:gd name="T18" fmla="*/ 1024 w 2048"/>
              <a:gd name="T19" fmla="*/ 439 h 2048"/>
              <a:gd name="T20" fmla="*/ 1134 w 2048"/>
              <a:gd name="T21" fmla="*/ 549 h 2048"/>
              <a:gd name="T22" fmla="*/ 1134 w 2048"/>
              <a:gd name="T23" fmla="*/ 915 h 2048"/>
              <a:gd name="T24" fmla="*/ 1499 w 2048"/>
              <a:gd name="T25" fmla="*/ 915 h 2048"/>
              <a:gd name="T26" fmla="*/ 1609 w 2048"/>
              <a:gd name="T27" fmla="*/ 1024 h 2048"/>
              <a:gd name="T28" fmla="*/ 1499 w 2048"/>
              <a:gd name="T29" fmla="*/ 1134 h 20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48" h="2048">
                <a:moveTo>
                  <a:pt x="1024" y="0"/>
                </a:moveTo>
                <a:cubicBezTo>
                  <a:pt x="459" y="0"/>
                  <a:pt x="0" y="459"/>
                  <a:pt x="0" y="1024"/>
                </a:cubicBezTo>
                <a:cubicBezTo>
                  <a:pt x="0" y="1589"/>
                  <a:pt x="459" y="2048"/>
                  <a:pt x="1024" y="2048"/>
                </a:cubicBezTo>
                <a:cubicBezTo>
                  <a:pt x="1589" y="2048"/>
                  <a:pt x="2048" y="1589"/>
                  <a:pt x="2048" y="1024"/>
                </a:cubicBezTo>
                <a:cubicBezTo>
                  <a:pt x="2048" y="459"/>
                  <a:pt x="1589" y="0"/>
                  <a:pt x="1024" y="0"/>
                </a:cubicBezTo>
                <a:close/>
                <a:moveTo>
                  <a:pt x="1499" y="1134"/>
                </a:moveTo>
                <a:cubicBezTo>
                  <a:pt x="1024" y="1134"/>
                  <a:pt x="1024" y="1134"/>
                  <a:pt x="1024" y="1134"/>
                </a:cubicBezTo>
                <a:cubicBezTo>
                  <a:pt x="963" y="1134"/>
                  <a:pt x="914" y="1085"/>
                  <a:pt x="914" y="1024"/>
                </a:cubicBezTo>
                <a:cubicBezTo>
                  <a:pt x="914" y="549"/>
                  <a:pt x="914" y="549"/>
                  <a:pt x="914" y="549"/>
                </a:cubicBezTo>
                <a:cubicBezTo>
                  <a:pt x="914" y="489"/>
                  <a:pt x="963" y="439"/>
                  <a:pt x="1024" y="439"/>
                </a:cubicBezTo>
                <a:cubicBezTo>
                  <a:pt x="1085" y="439"/>
                  <a:pt x="1134" y="489"/>
                  <a:pt x="1134" y="549"/>
                </a:cubicBezTo>
                <a:cubicBezTo>
                  <a:pt x="1134" y="915"/>
                  <a:pt x="1134" y="915"/>
                  <a:pt x="1134" y="915"/>
                </a:cubicBezTo>
                <a:cubicBezTo>
                  <a:pt x="1499" y="915"/>
                  <a:pt x="1499" y="915"/>
                  <a:pt x="1499" y="915"/>
                </a:cubicBezTo>
                <a:cubicBezTo>
                  <a:pt x="1560" y="915"/>
                  <a:pt x="1609" y="964"/>
                  <a:pt x="1609" y="1024"/>
                </a:cubicBezTo>
                <a:cubicBezTo>
                  <a:pt x="1609" y="1085"/>
                  <a:pt x="1560" y="1134"/>
                  <a:pt x="1499" y="1134"/>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Open Sans"/>
              <a:ea typeface="+mn-ea"/>
              <a:cs typeface="+mn-cs"/>
            </a:endParaRPr>
          </a:p>
        </p:txBody>
      </p:sp>
      <p:grpSp>
        <p:nvGrpSpPr>
          <p:cNvPr id="13" name="Group 37">
            <a:extLst>
              <a:ext uri="{FF2B5EF4-FFF2-40B4-BE49-F238E27FC236}">
                <a16:creationId xmlns:a16="http://schemas.microsoft.com/office/drawing/2014/main" id="{F3040C5A-CD37-4239-8707-407D35BFD3AB}"/>
              </a:ext>
            </a:extLst>
          </p:cNvPr>
          <p:cNvGrpSpPr/>
          <p:nvPr/>
        </p:nvGrpSpPr>
        <p:grpSpPr>
          <a:xfrm>
            <a:off x="7132311" y="4379851"/>
            <a:ext cx="326498" cy="406132"/>
            <a:chOff x="4862513" y="3505200"/>
            <a:chExt cx="260350" cy="323851"/>
          </a:xfrm>
          <a:solidFill>
            <a:srgbClr val="FFFFFF"/>
          </a:solidFill>
        </p:grpSpPr>
        <p:sp>
          <p:nvSpPr>
            <p:cNvPr id="14" name="Freeform 9">
              <a:extLst>
                <a:ext uri="{FF2B5EF4-FFF2-40B4-BE49-F238E27FC236}">
                  <a16:creationId xmlns:a16="http://schemas.microsoft.com/office/drawing/2014/main" id="{C326249D-DE85-448D-8588-50C85656E8FB}"/>
                </a:ext>
              </a:extLst>
            </p:cNvPr>
            <p:cNvSpPr>
              <a:spLocks/>
            </p:cNvSpPr>
            <p:nvPr/>
          </p:nvSpPr>
          <p:spPr bwMode="auto">
            <a:xfrm>
              <a:off x="4870451" y="3505200"/>
              <a:ext cx="220663" cy="234950"/>
            </a:xfrm>
            <a:custGeom>
              <a:avLst/>
              <a:gdLst>
                <a:gd name="T0" fmla="*/ 761 w 1393"/>
                <a:gd name="T1" fmla="*/ 0 h 1489"/>
                <a:gd name="T2" fmla="*/ 240 w 1393"/>
                <a:gd name="T3" fmla="*/ 0 h 1489"/>
                <a:gd name="T4" fmla="*/ 93 w 1393"/>
                <a:gd name="T5" fmla="*/ 0 h 1489"/>
                <a:gd name="T6" fmla="*/ 0 w 1393"/>
                <a:gd name="T7" fmla="*/ 93 h 1489"/>
                <a:gd name="T8" fmla="*/ 93 w 1393"/>
                <a:gd name="T9" fmla="*/ 186 h 1489"/>
                <a:gd name="T10" fmla="*/ 147 w 1393"/>
                <a:gd name="T11" fmla="*/ 186 h 1489"/>
                <a:gd name="T12" fmla="*/ 147 w 1393"/>
                <a:gd name="T13" fmla="*/ 938 h 1489"/>
                <a:gd name="T14" fmla="*/ 240 w 1393"/>
                <a:gd name="T15" fmla="*/ 1031 h 1489"/>
                <a:gd name="T16" fmla="*/ 397 w 1393"/>
                <a:gd name="T17" fmla="*/ 1031 h 1489"/>
                <a:gd name="T18" fmla="*/ 462 w 1393"/>
                <a:gd name="T19" fmla="*/ 1004 h 1489"/>
                <a:gd name="T20" fmla="*/ 591 w 1393"/>
                <a:gd name="T21" fmla="*/ 876 h 1489"/>
                <a:gd name="T22" fmla="*/ 591 w 1393"/>
                <a:gd name="T23" fmla="*/ 1100 h 1489"/>
                <a:gd name="T24" fmla="*/ 201 w 1393"/>
                <a:gd name="T25" fmla="*/ 1489 h 1489"/>
                <a:gd name="T26" fmla="*/ 1393 w 1393"/>
                <a:gd name="T27" fmla="*/ 1489 h 1489"/>
                <a:gd name="T28" fmla="*/ 1393 w 1393"/>
                <a:gd name="T29" fmla="*/ 633 h 1489"/>
                <a:gd name="T30" fmla="*/ 761 w 1393"/>
                <a:gd name="T31" fmla="*/ 0 h 14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93" h="1489">
                  <a:moveTo>
                    <a:pt x="761" y="0"/>
                  </a:moveTo>
                  <a:cubicBezTo>
                    <a:pt x="240" y="0"/>
                    <a:pt x="240" y="0"/>
                    <a:pt x="240" y="0"/>
                  </a:cubicBezTo>
                  <a:cubicBezTo>
                    <a:pt x="93" y="0"/>
                    <a:pt x="93" y="0"/>
                    <a:pt x="93" y="0"/>
                  </a:cubicBezTo>
                  <a:cubicBezTo>
                    <a:pt x="41" y="0"/>
                    <a:pt x="0" y="42"/>
                    <a:pt x="0" y="93"/>
                  </a:cubicBezTo>
                  <a:cubicBezTo>
                    <a:pt x="0" y="145"/>
                    <a:pt x="41" y="186"/>
                    <a:pt x="93" y="186"/>
                  </a:cubicBezTo>
                  <a:cubicBezTo>
                    <a:pt x="147" y="186"/>
                    <a:pt x="147" y="186"/>
                    <a:pt x="147" y="186"/>
                  </a:cubicBezTo>
                  <a:cubicBezTo>
                    <a:pt x="147" y="938"/>
                    <a:pt x="147" y="938"/>
                    <a:pt x="147" y="938"/>
                  </a:cubicBezTo>
                  <a:cubicBezTo>
                    <a:pt x="147" y="990"/>
                    <a:pt x="188" y="1031"/>
                    <a:pt x="240" y="1031"/>
                  </a:cubicBezTo>
                  <a:cubicBezTo>
                    <a:pt x="397" y="1031"/>
                    <a:pt x="397" y="1031"/>
                    <a:pt x="397" y="1031"/>
                  </a:cubicBezTo>
                  <a:cubicBezTo>
                    <a:pt x="421" y="1031"/>
                    <a:pt x="445" y="1021"/>
                    <a:pt x="462" y="1004"/>
                  </a:cubicBezTo>
                  <a:cubicBezTo>
                    <a:pt x="591" y="876"/>
                    <a:pt x="591" y="876"/>
                    <a:pt x="591" y="876"/>
                  </a:cubicBezTo>
                  <a:cubicBezTo>
                    <a:pt x="591" y="1100"/>
                    <a:pt x="591" y="1100"/>
                    <a:pt x="591" y="1100"/>
                  </a:cubicBezTo>
                  <a:cubicBezTo>
                    <a:pt x="201" y="1489"/>
                    <a:pt x="201" y="1489"/>
                    <a:pt x="201" y="1489"/>
                  </a:cubicBezTo>
                  <a:cubicBezTo>
                    <a:pt x="1393" y="1489"/>
                    <a:pt x="1393" y="1489"/>
                    <a:pt x="1393" y="1489"/>
                  </a:cubicBezTo>
                  <a:cubicBezTo>
                    <a:pt x="1393" y="633"/>
                    <a:pt x="1393" y="633"/>
                    <a:pt x="1393" y="633"/>
                  </a:cubicBezTo>
                  <a:cubicBezTo>
                    <a:pt x="1393" y="284"/>
                    <a:pt x="1109" y="0"/>
                    <a:pt x="76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sp>
          <p:nvSpPr>
            <p:cNvPr id="15" name="Freeform 10">
              <a:extLst>
                <a:ext uri="{FF2B5EF4-FFF2-40B4-BE49-F238E27FC236}">
                  <a16:creationId xmlns:a16="http://schemas.microsoft.com/office/drawing/2014/main" id="{42B91387-B846-42CB-AB8B-D6C4321377AA}"/>
                </a:ext>
              </a:extLst>
            </p:cNvPr>
            <p:cNvSpPr>
              <a:spLocks/>
            </p:cNvSpPr>
            <p:nvPr/>
          </p:nvSpPr>
          <p:spPr bwMode="auto">
            <a:xfrm>
              <a:off x="4862513" y="3770313"/>
              <a:ext cx="260350" cy="58738"/>
            </a:xfrm>
            <a:custGeom>
              <a:avLst/>
              <a:gdLst>
                <a:gd name="T0" fmla="*/ 0 w 1646"/>
                <a:gd name="T1" fmla="*/ 0 h 372"/>
                <a:gd name="T2" fmla="*/ 0 w 1646"/>
                <a:gd name="T3" fmla="*/ 279 h 372"/>
                <a:gd name="T4" fmla="*/ 93 w 1646"/>
                <a:gd name="T5" fmla="*/ 372 h 372"/>
                <a:gd name="T6" fmla="*/ 1553 w 1646"/>
                <a:gd name="T7" fmla="*/ 372 h 372"/>
                <a:gd name="T8" fmla="*/ 1646 w 1646"/>
                <a:gd name="T9" fmla="*/ 279 h 372"/>
                <a:gd name="T10" fmla="*/ 1646 w 1646"/>
                <a:gd name="T11" fmla="*/ 0 h 372"/>
                <a:gd name="T12" fmla="*/ 0 w 1646"/>
                <a:gd name="T13" fmla="*/ 0 h 372"/>
              </a:gdLst>
              <a:ahLst/>
              <a:cxnLst>
                <a:cxn ang="0">
                  <a:pos x="T0" y="T1"/>
                </a:cxn>
                <a:cxn ang="0">
                  <a:pos x="T2" y="T3"/>
                </a:cxn>
                <a:cxn ang="0">
                  <a:pos x="T4" y="T5"/>
                </a:cxn>
                <a:cxn ang="0">
                  <a:pos x="T6" y="T7"/>
                </a:cxn>
                <a:cxn ang="0">
                  <a:pos x="T8" y="T9"/>
                </a:cxn>
                <a:cxn ang="0">
                  <a:pos x="T10" y="T11"/>
                </a:cxn>
                <a:cxn ang="0">
                  <a:pos x="T12" y="T13"/>
                </a:cxn>
              </a:cxnLst>
              <a:rect l="0" t="0" r="r" b="b"/>
              <a:pathLst>
                <a:path w="1646" h="372">
                  <a:moveTo>
                    <a:pt x="0" y="0"/>
                  </a:moveTo>
                  <a:cubicBezTo>
                    <a:pt x="0" y="279"/>
                    <a:pt x="0" y="279"/>
                    <a:pt x="0" y="279"/>
                  </a:cubicBezTo>
                  <a:cubicBezTo>
                    <a:pt x="0" y="330"/>
                    <a:pt x="42" y="372"/>
                    <a:pt x="93" y="372"/>
                  </a:cubicBezTo>
                  <a:cubicBezTo>
                    <a:pt x="1553" y="372"/>
                    <a:pt x="1553" y="372"/>
                    <a:pt x="1553" y="372"/>
                  </a:cubicBezTo>
                  <a:cubicBezTo>
                    <a:pt x="1604" y="372"/>
                    <a:pt x="1646" y="330"/>
                    <a:pt x="1646" y="279"/>
                  </a:cubicBezTo>
                  <a:cubicBezTo>
                    <a:pt x="1646" y="0"/>
                    <a:pt x="1646" y="0"/>
                    <a:pt x="1646" y="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grpSp>
      <p:grpSp>
        <p:nvGrpSpPr>
          <p:cNvPr id="16" name="Group 40">
            <a:extLst>
              <a:ext uri="{FF2B5EF4-FFF2-40B4-BE49-F238E27FC236}">
                <a16:creationId xmlns:a16="http://schemas.microsoft.com/office/drawing/2014/main" id="{871D568C-919F-4566-8362-435F58BC3BDB}"/>
              </a:ext>
            </a:extLst>
          </p:cNvPr>
          <p:cNvGrpSpPr/>
          <p:nvPr/>
        </p:nvGrpSpPr>
        <p:grpSpPr>
          <a:xfrm>
            <a:off x="4759927" y="4403151"/>
            <a:ext cx="397235" cy="438732"/>
            <a:chOff x="5153025" y="2384426"/>
            <a:chExt cx="1884363" cy="2081213"/>
          </a:xfrm>
          <a:solidFill>
            <a:srgbClr val="FFFFFF"/>
          </a:solidFill>
        </p:grpSpPr>
        <p:sp>
          <p:nvSpPr>
            <p:cNvPr id="17" name="Freeform 5">
              <a:extLst>
                <a:ext uri="{FF2B5EF4-FFF2-40B4-BE49-F238E27FC236}">
                  <a16:creationId xmlns:a16="http://schemas.microsoft.com/office/drawing/2014/main" id="{8E98507C-D838-45FC-AB68-31E81398D037}"/>
                </a:ext>
              </a:extLst>
            </p:cNvPr>
            <p:cNvSpPr>
              <a:spLocks/>
            </p:cNvSpPr>
            <p:nvPr/>
          </p:nvSpPr>
          <p:spPr bwMode="auto">
            <a:xfrm>
              <a:off x="5529263" y="2384426"/>
              <a:ext cx="377825" cy="763588"/>
            </a:xfrm>
            <a:custGeom>
              <a:avLst/>
              <a:gdLst>
                <a:gd name="T0" fmla="*/ 252 w 373"/>
                <a:gd name="T1" fmla="*/ 409 h 754"/>
                <a:gd name="T2" fmla="*/ 187 w 373"/>
                <a:gd name="T3" fmla="*/ 288 h 754"/>
                <a:gd name="T4" fmla="*/ 252 w 373"/>
                <a:gd name="T5" fmla="*/ 168 h 754"/>
                <a:gd name="T6" fmla="*/ 252 w 373"/>
                <a:gd name="T7" fmla="*/ 36 h 754"/>
                <a:gd name="T8" fmla="*/ 121 w 373"/>
                <a:gd name="T9" fmla="*/ 36 h 754"/>
                <a:gd name="T10" fmla="*/ 0 w 373"/>
                <a:gd name="T11" fmla="*/ 288 h 754"/>
                <a:gd name="T12" fmla="*/ 121 w 373"/>
                <a:gd name="T13" fmla="*/ 540 h 754"/>
                <a:gd name="T14" fmla="*/ 187 w 373"/>
                <a:gd name="T15" fmla="*/ 661 h 754"/>
                <a:gd name="T16" fmla="*/ 280 w 373"/>
                <a:gd name="T17" fmla="*/ 754 h 754"/>
                <a:gd name="T18" fmla="*/ 373 w 373"/>
                <a:gd name="T19" fmla="*/ 661 h 754"/>
                <a:gd name="T20" fmla="*/ 252 w 373"/>
                <a:gd name="T21" fmla="*/ 409 h 7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3" h="754">
                  <a:moveTo>
                    <a:pt x="252" y="409"/>
                  </a:moveTo>
                  <a:cubicBezTo>
                    <a:pt x="207" y="363"/>
                    <a:pt x="187" y="341"/>
                    <a:pt x="187" y="288"/>
                  </a:cubicBezTo>
                  <a:cubicBezTo>
                    <a:pt x="187" y="236"/>
                    <a:pt x="207" y="214"/>
                    <a:pt x="252" y="168"/>
                  </a:cubicBezTo>
                  <a:cubicBezTo>
                    <a:pt x="289" y="132"/>
                    <a:pt x="289" y="73"/>
                    <a:pt x="252" y="36"/>
                  </a:cubicBezTo>
                  <a:cubicBezTo>
                    <a:pt x="216" y="0"/>
                    <a:pt x="157" y="0"/>
                    <a:pt x="121" y="36"/>
                  </a:cubicBezTo>
                  <a:cubicBezTo>
                    <a:pt x="70" y="87"/>
                    <a:pt x="0" y="157"/>
                    <a:pt x="0" y="288"/>
                  </a:cubicBezTo>
                  <a:cubicBezTo>
                    <a:pt x="0" y="420"/>
                    <a:pt x="70" y="489"/>
                    <a:pt x="121" y="540"/>
                  </a:cubicBezTo>
                  <a:cubicBezTo>
                    <a:pt x="166" y="586"/>
                    <a:pt x="187" y="608"/>
                    <a:pt x="187" y="661"/>
                  </a:cubicBezTo>
                  <a:cubicBezTo>
                    <a:pt x="187" y="712"/>
                    <a:pt x="228" y="754"/>
                    <a:pt x="280" y="754"/>
                  </a:cubicBezTo>
                  <a:cubicBezTo>
                    <a:pt x="331" y="754"/>
                    <a:pt x="373" y="712"/>
                    <a:pt x="373" y="661"/>
                  </a:cubicBezTo>
                  <a:cubicBezTo>
                    <a:pt x="373" y="529"/>
                    <a:pt x="303" y="459"/>
                    <a:pt x="252" y="40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sp>
          <p:nvSpPr>
            <p:cNvPr id="18" name="Freeform 6">
              <a:extLst>
                <a:ext uri="{FF2B5EF4-FFF2-40B4-BE49-F238E27FC236}">
                  <a16:creationId xmlns:a16="http://schemas.microsoft.com/office/drawing/2014/main" id="{D3F1FF44-EFE2-4035-8183-85994AD94D71}"/>
                </a:ext>
              </a:extLst>
            </p:cNvPr>
            <p:cNvSpPr>
              <a:spLocks/>
            </p:cNvSpPr>
            <p:nvPr/>
          </p:nvSpPr>
          <p:spPr bwMode="auto">
            <a:xfrm>
              <a:off x="5970588" y="2384426"/>
              <a:ext cx="376238" cy="763588"/>
            </a:xfrm>
            <a:custGeom>
              <a:avLst/>
              <a:gdLst>
                <a:gd name="T0" fmla="*/ 252 w 372"/>
                <a:gd name="T1" fmla="*/ 409 h 754"/>
                <a:gd name="T2" fmla="*/ 186 w 372"/>
                <a:gd name="T3" fmla="*/ 288 h 754"/>
                <a:gd name="T4" fmla="*/ 252 w 372"/>
                <a:gd name="T5" fmla="*/ 168 h 754"/>
                <a:gd name="T6" fmla="*/ 252 w 372"/>
                <a:gd name="T7" fmla="*/ 36 h 754"/>
                <a:gd name="T8" fmla="*/ 120 w 372"/>
                <a:gd name="T9" fmla="*/ 36 h 754"/>
                <a:gd name="T10" fmla="*/ 0 w 372"/>
                <a:gd name="T11" fmla="*/ 288 h 754"/>
                <a:gd name="T12" fmla="*/ 120 w 372"/>
                <a:gd name="T13" fmla="*/ 540 h 754"/>
                <a:gd name="T14" fmla="*/ 186 w 372"/>
                <a:gd name="T15" fmla="*/ 661 h 754"/>
                <a:gd name="T16" fmla="*/ 279 w 372"/>
                <a:gd name="T17" fmla="*/ 754 h 754"/>
                <a:gd name="T18" fmla="*/ 372 w 372"/>
                <a:gd name="T19" fmla="*/ 661 h 754"/>
                <a:gd name="T20" fmla="*/ 252 w 372"/>
                <a:gd name="T21" fmla="*/ 409 h 7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2" h="754">
                  <a:moveTo>
                    <a:pt x="252" y="409"/>
                  </a:moveTo>
                  <a:cubicBezTo>
                    <a:pt x="206" y="363"/>
                    <a:pt x="186" y="341"/>
                    <a:pt x="186" y="288"/>
                  </a:cubicBezTo>
                  <a:cubicBezTo>
                    <a:pt x="186" y="236"/>
                    <a:pt x="206" y="214"/>
                    <a:pt x="252" y="168"/>
                  </a:cubicBezTo>
                  <a:cubicBezTo>
                    <a:pt x="288" y="132"/>
                    <a:pt x="288" y="73"/>
                    <a:pt x="252" y="36"/>
                  </a:cubicBezTo>
                  <a:cubicBezTo>
                    <a:pt x="216" y="0"/>
                    <a:pt x="157" y="0"/>
                    <a:pt x="120" y="36"/>
                  </a:cubicBezTo>
                  <a:cubicBezTo>
                    <a:pt x="69" y="87"/>
                    <a:pt x="0" y="157"/>
                    <a:pt x="0" y="288"/>
                  </a:cubicBezTo>
                  <a:cubicBezTo>
                    <a:pt x="0" y="420"/>
                    <a:pt x="69" y="489"/>
                    <a:pt x="120" y="540"/>
                  </a:cubicBezTo>
                  <a:cubicBezTo>
                    <a:pt x="166" y="586"/>
                    <a:pt x="186" y="608"/>
                    <a:pt x="186" y="661"/>
                  </a:cubicBezTo>
                  <a:cubicBezTo>
                    <a:pt x="186" y="712"/>
                    <a:pt x="228" y="754"/>
                    <a:pt x="279" y="754"/>
                  </a:cubicBezTo>
                  <a:cubicBezTo>
                    <a:pt x="331" y="754"/>
                    <a:pt x="372" y="712"/>
                    <a:pt x="372" y="661"/>
                  </a:cubicBezTo>
                  <a:cubicBezTo>
                    <a:pt x="372" y="529"/>
                    <a:pt x="303" y="459"/>
                    <a:pt x="252" y="40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sp>
          <p:nvSpPr>
            <p:cNvPr id="19" name="Freeform 7">
              <a:extLst>
                <a:ext uri="{FF2B5EF4-FFF2-40B4-BE49-F238E27FC236}">
                  <a16:creationId xmlns:a16="http://schemas.microsoft.com/office/drawing/2014/main" id="{F037EA86-2BF6-47E4-BB50-04923C93D517}"/>
                </a:ext>
              </a:extLst>
            </p:cNvPr>
            <p:cNvSpPr>
              <a:spLocks noEditPoints="1"/>
            </p:cNvSpPr>
            <p:nvPr/>
          </p:nvSpPr>
          <p:spPr bwMode="auto">
            <a:xfrm>
              <a:off x="5153025" y="3335340"/>
              <a:ext cx="1884363" cy="1130299"/>
            </a:xfrm>
            <a:custGeom>
              <a:avLst/>
              <a:gdLst>
                <a:gd name="T0" fmla="*/ 1433 w 1862"/>
                <a:gd name="T1" fmla="*/ 683 h 1117"/>
                <a:gd name="T2" fmla="*/ 1521 w 1862"/>
                <a:gd name="T3" fmla="*/ 683 h 1117"/>
                <a:gd name="T4" fmla="*/ 1521 w 1862"/>
                <a:gd name="T5" fmla="*/ 683 h 1117"/>
                <a:gd name="T6" fmla="*/ 1862 w 1862"/>
                <a:gd name="T7" fmla="*/ 341 h 1117"/>
                <a:gd name="T8" fmla="*/ 1521 w 1862"/>
                <a:gd name="T9" fmla="*/ 0 h 1117"/>
                <a:gd name="T10" fmla="*/ 1396 w 1862"/>
                <a:gd name="T11" fmla="*/ 0 h 1117"/>
                <a:gd name="T12" fmla="*/ 155 w 1862"/>
                <a:gd name="T13" fmla="*/ 0 h 1117"/>
                <a:gd name="T14" fmla="*/ 62 w 1862"/>
                <a:gd name="T15" fmla="*/ 93 h 1117"/>
                <a:gd name="T16" fmla="*/ 62 w 1862"/>
                <a:gd name="T17" fmla="*/ 403 h 1117"/>
                <a:gd name="T18" fmla="*/ 296 w 1862"/>
                <a:gd name="T19" fmla="*/ 931 h 1117"/>
                <a:gd name="T20" fmla="*/ 93 w 1862"/>
                <a:gd name="T21" fmla="*/ 931 h 1117"/>
                <a:gd name="T22" fmla="*/ 0 w 1862"/>
                <a:gd name="T23" fmla="*/ 1024 h 1117"/>
                <a:gd name="T24" fmla="*/ 93 w 1862"/>
                <a:gd name="T25" fmla="*/ 1117 h 1117"/>
                <a:gd name="T26" fmla="*/ 776 w 1862"/>
                <a:gd name="T27" fmla="*/ 1117 h 1117"/>
                <a:gd name="T28" fmla="*/ 1459 w 1862"/>
                <a:gd name="T29" fmla="*/ 1117 h 1117"/>
                <a:gd name="T30" fmla="*/ 1552 w 1862"/>
                <a:gd name="T31" fmla="*/ 1024 h 1117"/>
                <a:gd name="T32" fmla="*/ 1459 w 1862"/>
                <a:gd name="T33" fmla="*/ 931 h 1117"/>
                <a:gd name="T34" fmla="*/ 1256 w 1862"/>
                <a:gd name="T35" fmla="*/ 931 h 1117"/>
                <a:gd name="T36" fmla="*/ 1433 w 1862"/>
                <a:gd name="T37" fmla="*/ 683 h 1117"/>
                <a:gd name="T38" fmla="*/ 1490 w 1862"/>
                <a:gd name="T39" fmla="*/ 403 h 1117"/>
                <a:gd name="T40" fmla="*/ 1490 w 1862"/>
                <a:gd name="T41" fmla="*/ 186 h 1117"/>
                <a:gd name="T42" fmla="*/ 1521 w 1862"/>
                <a:gd name="T43" fmla="*/ 186 h 1117"/>
                <a:gd name="T44" fmla="*/ 1676 w 1862"/>
                <a:gd name="T45" fmla="*/ 341 h 1117"/>
                <a:gd name="T46" fmla="*/ 1521 w 1862"/>
                <a:gd name="T47" fmla="*/ 496 h 1117"/>
                <a:gd name="T48" fmla="*/ 1520 w 1862"/>
                <a:gd name="T49" fmla="*/ 496 h 1117"/>
                <a:gd name="T50" fmla="*/ 1483 w 1862"/>
                <a:gd name="T51" fmla="*/ 496 h 1117"/>
                <a:gd name="T52" fmla="*/ 1490 w 1862"/>
                <a:gd name="T53" fmla="*/ 403 h 1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62" h="1117">
                  <a:moveTo>
                    <a:pt x="1433" y="683"/>
                  </a:moveTo>
                  <a:cubicBezTo>
                    <a:pt x="1521" y="683"/>
                    <a:pt x="1521" y="683"/>
                    <a:pt x="1521" y="683"/>
                  </a:cubicBezTo>
                  <a:cubicBezTo>
                    <a:pt x="1521" y="683"/>
                    <a:pt x="1521" y="683"/>
                    <a:pt x="1521" y="683"/>
                  </a:cubicBezTo>
                  <a:cubicBezTo>
                    <a:pt x="1709" y="682"/>
                    <a:pt x="1862" y="529"/>
                    <a:pt x="1862" y="341"/>
                  </a:cubicBezTo>
                  <a:cubicBezTo>
                    <a:pt x="1862" y="153"/>
                    <a:pt x="1709" y="0"/>
                    <a:pt x="1521" y="0"/>
                  </a:cubicBezTo>
                  <a:cubicBezTo>
                    <a:pt x="1396" y="0"/>
                    <a:pt x="1396" y="0"/>
                    <a:pt x="1396" y="0"/>
                  </a:cubicBezTo>
                  <a:cubicBezTo>
                    <a:pt x="155" y="0"/>
                    <a:pt x="155" y="0"/>
                    <a:pt x="155" y="0"/>
                  </a:cubicBezTo>
                  <a:cubicBezTo>
                    <a:pt x="104" y="0"/>
                    <a:pt x="62" y="42"/>
                    <a:pt x="62" y="93"/>
                  </a:cubicBezTo>
                  <a:cubicBezTo>
                    <a:pt x="62" y="403"/>
                    <a:pt x="62" y="403"/>
                    <a:pt x="62" y="403"/>
                  </a:cubicBezTo>
                  <a:cubicBezTo>
                    <a:pt x="62" y="612"/>
                    <a:pt x="152" y="800"/>
                    <a:pt x="296" y="931"/>
                  </a:cubicBezTo>
                  <a:cubicBezTo>
                    <a:pt x="93" y="931"/>
                    <a:pt x="93" y="931"/>
                    <a:pt x="93" y="931"/>
                  </a:cubicBezTo>
                  <a:cubicBezTo>
                    <a:pt x="42" y="931"/>
                    <a:pt x="0" y="972"/>
                    <a:pt x="0" y="1024"/>
                  </a:cubicBezTo>
                  <a:cubicBezTo>
                    <a:pt x="0" y="1075"/>
                    <a:pt x="42" y="1117"/>
                    <a:pt x="93" y="1117"/>
                  </a:cubicBezTo>
                  <a:cubicBezTo>
                    <a:pt x="776" y="1117"/>
                    <a:pt x="776" y="1117"/>
                    <a:pt x="776" y="1117"/>
                  </a:cubicBezTo>
                  <a:cubicBezTo>
                    <a:pt x="1459" y="1117"/>
                    <a:pt x="1459" y="1117"/>
                    <a:pt x="1459" y="1117"/>
                  </a:cubicBezTo>
                  <a:cubicBezTo>
                    <a:pt x="1510" y="1117"/>
                    <a:pt x="1552" y="1075"/>
                    <a:pt x="1552" y="1024"/>
                  </a:cubicBezTo>
                  <a:cubicBezTo>
                    <a:pt x="1552" y="972"/>
                    <a:pt x="1510" y="931"/>
                    <a:pt x="1459" y="931"/>
                  </a:cubicBezTo>
                  <a:cubicBezTo>
                    <a:pt x="1256" y="931"/>
                    <a:pt x="1256" y="931"/>
                    <a:pt x="1256" y="931"/>
                  </a:cubicBezTo>
                  <a:cubicBezTo>
                    <a:pt x="1331" y="862"/>
                    <a:pt x="1392" y="778"/>
                    <a:pt x="1433" y="683"/>
                  </a:cubicBezTo>
                  <a:close/>
                  <a:moveTo>
                    <a:pt x="1490" y="403"/>
                  </a:moveTo>
                  <a:cubicBezTo>
                    <a:pt x="1490" y="186"/>
                    <a:pt x="1490" y="186"/>
                    <a:pt x="1490" y="186"/>
                  </a:cubicBezTo>
                  <a:cubicBezTo>
                    <a:pt x="1521" y="186"/>
                    <a:pt x="1521" y="186"/>
                    <a:pt x="1521" y="186"/>
                  </a:cubicBezTo>
                  <a:cubicBezTo>
                    <a:pt x="1606" y="186"/>
                    <a:pt x="1676" y="256"/>
                    <a:pt x="1676" y="341"/>
                  </a:cubicBezTo>
                  <a:cubicBezTo>
                    <a:pt x="1676" y="427"/>
                    <a:pt x="1606" y="496"/>
                    <a:pt x="1521" y="496"/>
                  </a:cubicBezTo>
                  <a:cubicBezTo>
                    <a:pt x="1521" y="496"/>
                    <a:pt x="1521" y="496"/>
                    <a:pt x="1520" y="496"/>
                  </a:cubicBezTo>
                  <a:cubicBezTo>
                    <a:pt x="1483" y="496"/>
                    <a:pt x="1483" y="496"/>
                    <a:pt x="1483" y="496"/>
                  </a:cubicBezTo>
                  <a:cubicBezTo>
                    <a:pt x="1487" y="466"/>
                    <a:pt x="1490" y="435"/>
                    <a:pt x="1490" y="4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Open Sans"/>
                <a:ea typeface="+mn-ea"/>
                <a:cs typeface="+mn-cs"/>
              </a:endParaRPr>
            </a:p>
          </p:txBody>
        </p:sp>
      </p:grpSp>
      <p:sp>
        <p:nvSpPr>
          <p:cNvPr id="24" name="文本框 23">
            <a:extLst>
              <a:ext uri="{FF2B5EF4-FFF2-40B4-BE49-F238E27FC236}">
                <a16:creationId xmlns:a16="http://schemas.microsoft.com/office/drawing/2014/main" id="{BC03C330-4CCF-4FA8-9BB2-5CE664A82874}"/>
              </a:ext>
            </a:extLst>
          </p:cNvPr>
          <p:cNvSpPr txBox="1"/>
          <p:nvPr/>
        </p:nvSpPr>
        <p:spPr>
          <a:xfrm>
            <a:off x="4449556" y="918105"/>
            <a:ext cx="3292889" cy="52322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2800" b="0" i="0" u="none" strike="noStrike" kern="1200" cap="none" spc="0" normalizeH="0" baseline="0" noProof="0" dirty="0">
                <a:ln>
                  <a:noFill/>
                </a:ln>
                <a:solidFill>
                  <a:prstClr val="black"/>
                </a:solidFill>
                <a:effectLst/>
                <a:uLnTx/>
                <a:uFillTx/>
                <a:latin typeface="HarmonyOS Sans Black"/>
                <a:ea typeface="+mj-ea"/>
                <a:cs typeface="+mn-cs"/>
              </a:rPr>
              <a:t>Circle </a:t>
            </a:r>
            <a:r>
              <a:rPr kumimoji="0" lang="en-US" altLang="zh-CN" sz="2800" b="0" i="0" u="none" strike="noStrike" kern="1200" cap="none" spc="0" normalizeH="0" baseline="0" noProof="0" dirty="0">
                <a:ln>
                  <a:noFill/>
                </a:ln>
                <a:solidFill>
                  <a:schemeClr val="accent1"/>
                </a:solidFill>
                <a:effectLst/>
                <a:uLnTx/>
                <a:uFillTx/>
                <a:latin typeface="HarmonyOS Sans Black"/>
                <a:ea typeface="+mj-ea"/>
                <a:cs typeface="+mn-cs"/>
              </a:rPr>
              <a:t>infographic</a:t>
            </a:r>
          </a:p>
        </p:txBody>
      </p:sp>
      <p:grpSp>
        <p:nvGrpSpPr>
          <p:cNvPr id="37" name="组合 36">
            <a:extLst>
              <a:ext uri="{FF2B5EF4-FFF2-40B4-BE49-F238E27FC236}">
                <a16:creationId xmlns:a16="http://schemas.microsoft.com/office/drawing/2014/main" id="{8B26057A-6A3C-4164-BA7F-B1A42E333AE1}"/>
              </a:ext>
            </a:extLst>
          </p:cNvPr>
          <p:cNvGrpSpPr/>
          <p:nvPr/>
        </p:nvGrpSpPr>
        <p:grpSpPr>
          <a:xfrm>
            <a:off x="998222" y="4359600"/>
            <a:ext cx="2769262" cy="851660"/>
            <a:chOff x="593918" y="2199246"/>
            <a:chExt cx="2769262" cy="851660"/>
          </a:xfrm>
        </p:grpSpPr>
        <p:sp>
          <p:nvSpPr>
            <p:cNvPr id="38" name="TextBox 65">
              <a:extLst>
                <a:ext uri="{FF2B5EF4-FFF2-40B4-BE49-F238E27FC236}">
                  <a16:creationId xmlns:a16="http://schemas.microsoft.com/office/drawing/2014/main" id="{C63AB4E6-BEBB-45CA-8698-43D648634382}"/>
                </a:ext>
              </a:extLst>
            </p:cNvPr>
            <p:cNvSpPr txBox="1"/>
            <p:nvPr/>
          </p:nvSpPr>
          <p:spPr>
            <a:xfrm>
              <a:off x="1306918" y="2199246"/>
              <a:ext cx="2056261" cy="352588"/>
            </a:xfrm>
            <a:prstGeom prst="rect">
              <a:avLst/>
            </a:prstGeom>
            <a:noFill/>
          </p:spPr>
          <p:txBody>
            <a:bodyPr wrap="square" lIns="0" tIns="36000" rIns="0" bIns="36000" rtlCol="0">
              <a:spAutoFit/>
            </a:bodyPr>
            <a:lstStyle/>
            <a:p>
              <a:pPr marL="0" marR="0" lvl="0" indent="0" algn="r" defTabSz="914400" rtl="0" eaLnBrk="1" fontAlgn="auto" latinLnBrk="0" hangingPunct="1">
                <a:lnSpc>
                  <a:spcPct val="120000"/>
                </a:lnSpc>
                <a:spcBef>
                  <a:spcPts val="600"/>
                </a:spcBef>
                <a:spcAft>
                  <a:spcPts val="0"/>
                </a:spcAft>
                <a:buClrTx/>
                <a:buSzTx/>
                <a:buFontTx/>
                <a:buNone/>
                <a:tabLst/>
                <a:defRPr/>
              </a:pPr>
              <a:r>
                <a:rPr kumimoji="0" lang="zh-CN" altLang="en-US" sz="1600" b="0" i="0" u="none" strike="noStrike" kern="1200" cap="none" spc="0" normalizeH="0" baseline="0" noProof="0" dirty="0">
                  <a:ln>
                    <a:noFill/>
                  </a:ln>
                  <a:solidFill>
                    <a:schemeClr val="accent1"/>
                  </a:solidFill>
                  <a:effectLst/>
                  <a:uLnTx/>
                  <a:uFillTx/>
                  <a:latin typeface="HarmonyOS Sans SC Black"/>
                  <a:ea typeface="+mj-ea"/>
                  <a:cs typeface="+mn-cs"/>
                </a:rPr>
                <a:t>关键词标题</a:t>
              </a:r>
              <a:endParaRPr kumimoji="0" lang="en-US" sz="1600" b="0" i="0" u="none" strike="noStrike" kern="1200" cap="none" spc="0" normalizeH="0" baseline="0" noProof="0" dirty="0">
                <a:ln>
                  <a:noFill/>
                </a:ln>
                <a:solidFill>
                  <a:schemeClr val="accent1"/>
                </a:solidFill>
                <a:effectLst/>
                <a:uLnTx/>
                <a:uFillTx/>
                <a:latin typeface="HarmonyOS Sans SC Black"/>
                <a:ea typeface="+mj-ea"/>
                <a:cs typeface="+mn-cs"/>
              </a:endParaRPr>
            </a:p>
          </p:txBody>
        </p:sp>
        <p:sp>
          <p:nvSpPr>
            <p:cNvPr id="39" name="TextBox 65">
              <a:extLst>
                <a:ext uri="{FF2B5EF4-FFF2-40B4-BE49-F238E27FC236}">
                  <a16:creationId xmlns:a16="http://schemas.microsoft.com/office/drawing/2014/main" id="{F2CCC1D3-97FB-4612-ABB1-4D9EDA59D483}"/>
                </a:ext>
              </a:extLst>
            </p:cNvPr>
            <p:cNvSpPr txBox="1"/>
            <p:nvPr/>
          </p:nvSpPr>
          <p:spPr>
            <a:xfrm>
              <a:off x="593918" y="2582645"/>
              <a:ext cx="2769262" cy="468261"/>
            </a:xfrm>
            <a:prstGeom prst="rect">
              <a:avLst/>
            </a:prstGeom>
            <a:noFill/>
          </p:spPr>
          <p:txBody>
            <a:bodyPr wrap="square" lIns="0" tIns="36000" rIns="0" bIns="36000" rtlCol="0">
              <a:spAutoFit/>
            </a:bodyPr>
            <a:lstStyle/>
            <a:p>
              <a:pPr marL="0" marR="0" lvl="0" indent="0" algn="r" defTabSz="914400" rtl="0" eaLnBrk="1" fontAlgn="auto" latinLnBrk="0" hangingPunct="1">
                <a:lnSpc>
                  <a:spcPct val="120000"/>
                </a:lnSpc>
                <a:spcBef>
                  <a:spcPts val="600"/>
                </a:spcBef>
                <a:spcAft>
                  <a:spcPts val="0"/>
                </a:spcAft>
                <a:buClrTx/>
                <a:buSzTx/>
                <a:buFontTx/>
                <a:buNone/>
                <a:tabLst/>
                <a:defRPr/>
              </a:pPr>
              <a:r>
                <a:rPr kumimoji="0" lang="zh-CN" altLang="en-US" sz="1100" b="0" i="0" u="none" strike="noStrike" kern="1200" cap="none" spc="0" normalizeH="0" baseline="0" noProof="0" dirty="0">
                  <a:ln>
                    <a:noFill/>
                  </a:ln>
                  <a:solidFill>
                    <a:prstClr val="black">
                      <a:lumMod val="50000"/>
                      <a:lumOff val="50000"/>
                    </a:prstClr>
                  </a:solidFill>
                  <a:effectLst/>
                  <a:uLnTx/>
                  <a:uFillTx/>
                  <a:latin typeface="HarmonyOS Sans SC"/>
                  <a:cs typeface="+mn-cs"/>
                </a:rPr>
                <a:t>在这里输入你的正文，阐述与关键词标题相关的具体内容</a:t>
              </a:r>
              <a:endParaRPr kumimoji="0" lang="en-US" sz="1100" b="0" i="0" u="none" strike="noStrike" kern="1200" cap="none" spc="0" normalizeH="0" baseline="0" noProof="0" dirty="0">
                <a:ln>
                  <a:noFill/>
                </a:ln>
                <a:solidFill>
                  <a:prstClr val="black">
                    <a:lumMod val="50000"/>
                    <a:lumOff val="50000"/>
                  </a:prstClr>
                </a:solidFill>
                <a:effectLst/>
                <a:uLnTx/>
                <a:uFillTx/>
                <a:latin typeface="HarmonyOS Sans SC"/>
                <a:cs typeface="+mn-cs"/>
              </a:endParaRPr>
            </a:p>
          </p:txBody>
        </p:sp>
      </p:grpSp>
      <p:grpSp>
        <p:nvGrpSpPr>
          <p:cNvPr id="40" name="组合 39">
            <a:extLst>
              <a:ext uri="{FF2B5EF4-FFF2-40B4-BE49-F238E27FC236}">
                <a16:creationId xmlns:a16="http://schemas.microsoft.com/office/drawing/2014/main" id="{EDF0AC27-48E0-40BA-A770-F02ADB72AC1A}"/>
              </a:ext>
            </a:extLst>
          </p:cNvPr>
          <p:cNvGrpSpPr/>
          <p:nvPr/>
        </p:nvGrpSpPr>
        <p:grpSpPr>
          <a:xfrm flipH="1">
            <a:off x="8359145" y="4319926"/>
            <a:ext cx="2759331" cy="851660"/>
            <a:chOff x="603849" y="4866968"/>
            <a:chExt cx="2759331" cy="851660"/>
          </a:xfrm>
        </p:grpSpPr>
        <p:sp>
          <p:nvSpPr>
            <p:cNvPr id="41" name="TextBox 65">
              <a:extLst>
                <a:ext uri="{FF2B5EF4-FFF2-40B4-BE49-F238E27FC236}">
                  <a16:creationId xmlns:a16="http://schemas.microsoft.com/office/drawing/2014/main" id="{E7CD4A86-BAC5-4703-A155-A6BA210C569F}"/>
                </a:ext>
              </a:extLst>
            </p:cNvPr>
            <p:cNvSpPr txBox="1"/>
            <p:nvPr/>
          </p:nvSpPr>
          <p:spPr>
            <a:xfrm>
              <a:off x="1306918" y="4866968"/>
              <a:ext cx="2056261" cy="352588"/>
            </a:xfrm>
            <a:prstGeom prst="rect">
              <a:avLst/>
            </a:prstGeom>
            <a:noFill/>
          </p:spPr>
          <p:txBody>
            <a:bodyPr wrap="square" lIns="0" tIns="36000" rIns="0" bIns="36000" rtlCol="0">
              <a:spAutoFit/>
            </a:bodyPr>
            <a:lstStyle/>
            <a:p>
              <a:pPr marL="0" marR="0" lvl="0" indent="0" algn="l" defTabSz="914400" rtl="0" eaLnBrk="1" fontAlgn="auto" latinLnBrk="0" hangingPunct="1">
                <a:lnSpc>
                  <a:spcPct val="120000"/>
                </a:lnSpc>
                <a:spcBef>
                  <a:spcPts val="600"/>
                </a:spcBef>
                <a:spcAft>
                  <a:spcPts val="0"/>
                </a:spcAft>
                <a:buClrTx/>
                <a:buSzTx/>
                <a:buFontTx/>
                <a:buNone/>
                <a:tabLst/>
                <a:defRPr/>
              </a:pPr>
              <a:r>
                <a:rPr kumimoji="0" lang="zh-CN" altLang="en-US" sz="1600" b="0" i="0" u="none" strike="noStrike" kern="1200" cap="none" spc="0" normalizeH="0" baseline="0" noProof="0" dirty="0">
                  <a:ln>
                    <a:noFill/>
                  </a:ln>
                  <a:solidFill>
                    <a:schemeClr val="accent1"/>
                  </a:solidFill>
                  <a:effectLst/>
                  <a:uLnTx/>
                  <a:uFillTx/>
                  <a:latin typeface="HarmonyOS Sans SC Black"/>
                  <a:ea typeface="+mj-ea"/>
                  <a:cs typeface="+mn-cs"/>
                </a:rPr>
                <a:t>关键词标题</a:t>
              </a:r>
              <a:endParaRPr kumimoji="0" lang="en-US" sz="1600" b="0" i="0" u="none" strike="noStrike" kern="1200" cap="none" spc="0" normalizeH="0" baseline="0" noProof="0" dirty="0">
                <a:ln>
                  <a:noFill/>
                </a:ln>
                <a:solidFill>
                  <a:schemeClr val="accent1"/>
                </a:solidFill>
                <a:effectLst/>
                <a:uLnTx/>
                <a:uFillTx/>
                <a:latin typeface="HarmonyOS Sans SC Black"/>
                <a:ea typeface="+mj-ea"/>
                <a:cs typeface="+mn-cs"/>
              </a:endParaRPr>
            </a:p>
          </p:txBody>
        </p:sp>
        <p:sp>
          <p:nvSpPr>
            <p:cNvPr id="42" name="TextBox 65">
              <a:extLst>
                <a:ext uri="{FF2B5EF4-FFF2-40B4-BE49-F238E27FC236}">
                  <a16:creationId xmlns:a16="http://schemas.microsoft.com/office/drawing/2014/main" id="{151A5C22-DBDC-4451-9883-E55DEE0A8F0F}"/>
                </a:ext>
              </a:extLst>
            </p:cNvPr>
            <p:cNvSpPr txBox="1"/>
            <p:nvPr/>
          </p:nvSpPr>
          <p:spPr>
            <a:xfrm>
              <a:off x="603849" y="5250367"/>
              <a:ext cx="2759331" cy="468261"/>
            </a:xfrm>
            <a:prstGeom prst="rect">
              <a:avLst/>
            </a:prstGeom>
            <a:noFill/>
          </p:spPr>
          <p:txBody>
            <a:bodyPr wrap="square" lIns="0" tIns="36000" rIns="0" bIns="36000" rtlCol="0">
              <a:spAutoFit/>
            </a:bodyPr>
            <a:lstStyle/>
            <a:p>
              <a:pPr marL="0" marR="0" lvl="0" indent="0" algn="l" defTabSz="914400" rtl="0" eaLnBrk="1" fontAlgn="auto" latinLnBrk="0" hangingPunct="1">
                <a:lnSpc>
                  <a:spcPct val="120000"/>
                </a:lnSpc>
                <a:spcBef>
                  <a:spcPts val="600"/>
                </a:spcBef>
                <a:spcAft>
                  <a:spcPts val="0"/>
                </a:spcAft>
                <a:buClrTx/>
                <a:buSzTx/>
                <a:buFontTx/>
                <a:buNone/>
                <a:tabLst/>
                <a:defRPr/>
              </a:pPr>
              <a:r>
                <a:rPr kumimoji="0" lang="zh-CN" altLang="en-US" sz="1100" b="0" i="0" u="none" strike="noStrike" kern="1200" cap="none" spc="0" normalizeH="0" baseline="0" noProof="0" dirty="0">
                  <a:ln>
                    <a:noFill/>
                  </a:ln>
                  <a:solidFill>
                    <a:prstClr val="black">
                      <a:lumMod val="50000"/>
                      <a:lumOff val="50000"/>
                    </a:prstClr>
                  </a:solidFill>
                  <a:effectLst/>
                  <a:uLnTx/>
                  <a:uFillTx/>
                  <a:latin typeface="HarmonyOS Sans SC"/>
                  <a:cs typeface="+mn-cs"/>
                </a:rPr>
                <a:t>在这里输入你的正文，阐述与关键词标题相关的具体内容</a:t>
              </a:r>
              <a:endParaRPr kumimoji="0" lang="en-US" sz="1100" b="0" i="0" u="none" strike="noStrike" kern="1200" cap="none" spc="0" normalizeH="0" baseline="0" noProof="0" dirty="0">
                <a:ln>
                  <a:noFill/>
                </a:ln>
                <a:solidFill>
                  <a:prstClr val="black">
                    <a:lumMod val="50000"/>
                    <a:lumOff val="50000"/>
                  </a:prstClr>
                </a:solidFill>
                <a:effectLst/>
                <a:uLnTx/>
                <a:uFillTx/>
                <a:latin typeface="HarmonyOS Sans SC"/>
                <a:cs typeface="+mn-cs"/>
              </a:endParaRPr>
            </a:p>
          </p:txBody>
        </p:sp>
      </p:grpSp>
      <p:grpSp>
        <p:nvGrpSpPr>
          <p:cNvPr id="43" name="组合 42">
            <a:extLst>
              <a:ext uri="{FF2B5EF4-FFF2-40B4-BE49-F238E27FC236}">
                <a16:creationId xmlns:a16="http://schemas.microsoft.com/office/drawing/2014/main" id="{1E3CB63D-2549-488C-84C2-FED2975AE6F0}"/>
              </a:ext>
            </a:extLst>
          </p:cNvPr>
          <p:cNvGrpSpPr/>
          <p:nvPr/>
        </p:nvGrpSpPr>
        <p:grpSpPr>
          <a:xfrm flipH="1">
            <a:off x="8359145" y="2369972"/>
            <a:ext cx="2759329" cy="851660"/>
            <a:chOff x="603851" y="4866968"/>
            <a:chExt cx="2759329" cy="851660"/>
          </a:xfrm>
        </p:grpSpPr>
        <p:sp>
          <p:nvSpPr>
            <p:cNvPr id="44" name="TextBox 65">
              <a:extLst>
                <a:ext uri="{FF2B5EF4-FFF2-40B4-BE49-F238E27FC236}">
                  <a16:creationId xmlns:a16="http://schemas.microsoft.com/office/drawing/2014/main" id="{AAE1A718-CAB2-4D3A-9B00-6FB359132A41}"/>
                </a:ext>
              </a:extLst>
            </p:cNvPr>
            <p:cNvSpPr txBox="1"/>
            <p:nvPr/>
          </p:nvSpPr>
          <p:spPr>
            <a:xfrm>
              <a:off x="1306918" y="4866968"/>
              <a:ext cx="2056261" cy="352588"/>
            </a:xfrm>
            <a:prstGeom prst="rect">
              <a:avLst/>
            </a:prstGeom>
            <a:noFill/>
          </p:spPr>
          <p:txBody>
            <a:bodyPr wrap="square" lIns="0" tIns="36000" rIns="0" bIns="36000" rtlCol="0">
              <a:spAutoFit/>
            </a:bodyPr>
            <a:lstStyle/>
            <a:p>
              <a:pPr marL="0" marR="0" lvl="0" indent="0" algn="l" defTabSz="914400" rtl="0" eaLnBrk="1" fontAlgn="auto" latinLnBrk="0" hangingPunct="1">
                <a:lnSpc>
                  <a:spcPct val="120000"/>
                </a:lnSpc>
                <a:spcBef>
                  <a:spcPts val="600"/>
                </a:spcBef>
                <a:spcAft>
                  <a:spcPts val="0"/>
                </a:spcAft>
                <a:buClrTx/>
                <a:buSzTx/>
                <a:buFontTx/>
                <a:buNone/>
                <a:tabLst/>
                <a:defRPr/>
              </a:pPr>
              <a:r>
                <a:rPr kumimoji="0" lang="zh-CN" altLang="en-US" sz="1600" b="0" i="0" u="none" strike="noStrike" kern="1200" cap="none" spc="0" normalizeH="0" baseline="0" noProof="0" dirty="0">
                  <a:ln>
                    <a:noFill/>
                  </a:ln>
                  <a:solidFill>
                    <a:schemeClr val="accent1"/>
                  </a:solidFill>
                  <a:effectLst/>
                  <a:uLnTx/>
                  <a:uFillTx/>
                  <a:latin typeface="HarmonyOS Sans SC Black"/>
                  <a:ea typeface="+mj-ea"/>
                  <a:cs typeface="+mn-cs"/>
                </a:rPr>
                <a:t>关键词标题</a:t>
              </a:r>
              <a:endParaRPr kumimoji="0" lang="en-US" sz="1600" b="0" i="0" u="none" strike="noStrike" kern="1200" cap="none" spc="0" normalizeH="0" baseline="0" noProof="0" dirty="0">
                <a:ln>
                  <a:noFill/>
                </a:ln>
                <a:solidFill>
                  <a:schemeClr val="accent1"/>
                </a:solidFill>
                <a:effectLst/>
                <a:uLnTx/>
                <a:uFillTx/>
                <a:latin typeface="HarmonyOS Sans SC Black"/>
                <a:ea typeface="+mj-ea"/>
                <a:cs typeface="+mn-cs"/>
              </a:endParaRPr>
            </a:p>
          </p:txBody>
        </p:sp>
        <p:sp>
          <p:nvSpPr>
            <p:cNvPr id="45" name="TextBox 65">
              <a:extLst>
                <a:ext uri="{FF2B5EF4-FFF2-40B4-BE49-F238E27FC236}">
                  <a16:creationId xmlns:a16="http://schemas.microsoft.com/office/drawing/2014/main" id="{F677411D-F149-46E1-A7C9-05E2916A516A}"/>
                </a:ext>
              </a:extLst>
            </p:cNvPr>
            <p:cNvSpPr txBox="1"/>
            <p:nvPr/>
          </p:nvSpPr>
          <p:spPr>
            <a:xfrm>
              <a:off x="603851" y="5250367"/>
              <a:ext cx="2759329" cy="468261"/>
            </a:xfrm>
            <a:prstGeom prst="rect">
              <a:avLst/>
            </a:prstGeom>
            <a:noFill/>
          </p:spPr>
          <p:txBody>
            <a:bodyPr wrap="square" lIns="0" tIns="36000" rIns="0" bIns="36000" rtlCol="0">
              <a:spAutoFit/>
            </a:bodyPr>
            <a:lstStyle/>
            <a:p>
              <a:pPr marL="0" marR="0" lvl="0" indent="0" algn="l" defTabSz="914400" rtl="0" eaLnBrk="1" fontAlgn="auto" latinLnBrk="0" hangingPunct="1">
                <a:lnSpc>
                  <a:spcPct val="120000"/>
                </a:lnSpc>
                <a:spcBef>
                  <a:spcPts val="600"/>
                </a:spcBef>
                <a:spcAft>
                  <a:spcPts val="0"/>
                </a:spcAft>
                <a:buClrTx/>
                <a:buSzTx/>
                <a:buFontTx/>
                <a:buNone/>
                <a:tabLst/>
                <a:defRPr/>
              </a:pPr>
              <a:r>
                <a:rPr kumimoji="0" lang="zh-CN" altLang="en-US" sz="1100" b="0" i="0" u="none" strike="noStrike" kern="1200" cap="none" spc="0" normalizeH="0" baseline="0" noProof="0" dirty="0">
                  <a:ln>
                    <a:noFill/>
                  </a:ln>
                  <a:solidFill>
                    <a:prstClr val="black">
                      <a:lumMod val="50000"/>
                      <a:lumOff val="50000"/>
                    </a:prstClr>
                  </a:solidFill>
                  <a:effectLst/>
                  <a:uLnTx/>
                  <a:uFillTx/>
                  <a:latin typeface="HarmonyOS Sans SC"/>
                  <a:cs typeface="+mn-cs"/>
                </a:rPr>
                <a:t>在这里输入你的正文，阐述与关键词标题相关的具体内容</a:t>
              </a:r>
              <a:endParaRPr kumimoji="0" lang="en-US" sz="1100" b="0" i="0" u="none" strike="noStrike" kern="1200" cap="none" spc="0" normalizeH="0" baseline="0" noProof="0" dirty="0">
                <a:ln>
                  <a:noFill/>
                </a:ln>
                <a:solidFill>
                  <a:prstClr val="black">
                    <a:lumMod val="50000"/>
                    <a:lumOff val="50000"/>
                  </a:prstClr>
                </a:solidFill>
                <a:effectLst/>
                <a:uLnTx/>
                <a:uFillTx/>
                <a:latin typeface="HarmonyOS Sans SC"/>
                <a:cs typeface="+mn-cs"/>
              </a:endParaRPr>
            </a:p>
          </p:txBody>
        </p:sp>
      </p:grpSp>
    </p:spTree>
    <p:extLst>
      <p:ext uri="{BB962C8B-B14F-4D97-AF65-F5344CB8AC3E}">
        <p14:creationId xmlns:p14="http://schemas.microsoft.com/office/powerpoint/2010/main" val="3259172430"/>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4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文本框 24">
            <a:extLst>
              <a:ext uri="{FF2B5EF4-FFF2-40B4-BE49-F238E27FC236}">
                <a16:creationId xmlns:a16="http://schemas.microsoft.com/office/drawing/2014/main" id="{5F778D04-A21F-4656-8480-72A953FA5F68}"/>
              </a:ext>
            </a:extLst>
          </p:cNvPr>
          <p:cNvSpPr txBox="1"/>
          <p:nvPr/>
        </p:nvSpPr>
        <p:spPr>
          <a:xfrm>
            <a:off x="4449556" y="918105"/>
            <a:ext cx="3292889" cy="52322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2800" b="0" i="0" u="none" strike="noStrike" kern="1200" cap="none" spc="0" normalizeH="0" baseline="0" noProof="0" dirty="0">
                <a:ln>
                  <a:noFill/>
                </a:ln>
                <a:solidFill>
                  <a:prstClr val="black"/>
                </a:solidFill>
                <a:effectLst/>
                <a:uLnTx/>
                <a:uFillTx/>
                <a:latin typeface="HarmonyOS Sans Black"/>
                <a:ea typeface="+mj-ea"/>
                <a:cs typeface="+mn-cs"/>
              </a:rPr>
              <a:t>Circle </a:t>
            </a:r>
            <a:r>
              <a:rPr kumimoji="0" lang="en-US" altLang="zh-CN" sz="2800" b="0" i="0" u="none" strike="noStrike" kern="1200" cap="none" spc="0" normalizeH="0" baseline="0" noProof="0" dirty="0">
                <a:ln>
                  <a:noFill/>
                </a:ln>
                <a:solidFill>
                  <a:schemeClr val="accent1"/>
                </a:solidFill>
                <a:effectLst/>
                <a:uLnTx/>
                <a:uFillTx/>
                <a:latin typeface="HarmonyOS Sans Black"/>
                <a:ea typeface="+mj-ea"/>
                <a:cs typeface="+mn-cs"/>
              </a:rPr>
              <a:t>infographic</a:t>
            </a:r>
          </a:p>
        </p:txBody>
      </p:sp>
      <p:sp>
        <p:nvSpPr>
          <p:cNvPr id="26" name="Slide Number Placeholder 4">
            <a:extLst>
              <a:ext uri="{FF2B5EF4-FFF2-40B4-BE49-F238E27FC236}">
                <a16:creationId xmlns:a16="http://schemas.microsoft.com/office/drawing/2014/main" id="{8B7DF37C-19E4-4EA5-BE66-88562481B538}"/>
              </a:ext>
            </a:extLst>
          </p:cNvPr>
          <p:cNvSpPr txBox="1">
            <a:spLocks/>
          </p:cNvSpPr>
          <p:nvPr/>
        </p:nvSpPr>
        <p:spPr>
          <a:xfrm>
            <a:off x="11496675" y="6261101"/>
            <a:ext cx="466726" cy="365125"/>
          </a:xfrm>
          <a:prstGeom prst="rect">
            <a:avLst/>
          </a:prstGeom>
        </p:spPr>
        <p:txBody>
          <a:bodyPr vert="horz" lIns="91440" tIns="45720" rIns="91440" bIns="45720" rtlCol="0" anchor="ctr"/>
          <a:lstStyle>
            <a:defPPr>
              <a:defRPr lang="zh-CN"/>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fld id="{EC3C1908-F36C-497F-A384-B39F0F8EB8D1}" type="slidenum">
              <a:rPr kumimoji="0" lang="en-US" sz="1200" b="0" i="0" u="none" strike="noStrike" kern="1200" cap="none" spc="0" normalizeH="0" baseline="0" noProof="0" smtClean="0">
                <a:ln>
                  <a:noFill/>
                </a:ln>
                <a:solidFill>
                  <a:prstClr val="white"/>
                </a:solidFill>
                <a:effectLst/>
                <a:uLnTx/>
                <a:uFillTx/>
                <a:latin typeface="Open Sans"/>
                <a:cs typeface="+mn-cs"/>
              </a:rPr>
              <a:pPr marL="0" marR="0" lvl="0" indent="0" algn="ctr" defTabSz="457200" rtl="0" eaLnBrk="1" fontAlgn="auto" latinLnBrk="0" hangingPunct="1">
                <a:lnSpc>
                  <a:spcPct val="100000"/>
                </a:lnSpc>
                <a:spcBef>
                  <a:spcPts val="0"/>
                </a:spcBef>
                <a:spcAft>
                  <a:spcPts val="0"/>
                </a:spcAft>
                <a:buClrTx/>
                <a:buSzTx/>
                <a:buFontTx/>
                <a:buNone/>
                <a:tabLst/>
                <a:defRPr/>
              </a:pPr>
              <a:t>481</a:t>
            </a:fld>
            <a:endParaRPr kumimoji="0" lang="en-US" sz="1200" b="0" i="0" u="none" strike="noStrike" kern="1200" cap="none" spc="0" normalizeH="0" baseline="0" noProof="0" dirty="0">
              <a:ln>
                <a:noFill/>
              </a:ln>
              <a:solidFill>
                <a:prstClr val="white"/>
              </a:solidFill>
              <a:effectLst/>
              <a:uLnTx/>
              <a:uFillTx/>
              <a:latin typeface="Open Sans"/>
              <a:cs typeface="+mn-cs"/>
            </a:endParaRPr>
          </a:p>
        </p:txBody>
      </p:sp>
      <p:sp>
        <p:nvSpPr>
          <p:cNvPr id="27" name="Freeform 5">
            <a:extLst>
              <a:ext uri="{FF2B5EF4-FFF2-40B4-BE49-F238E27FC236}">
                <a16:creationId xmlns:a16="http://schemas.microsoft.com/office/drawing/2014/main" id="{5F0C5881-5BDF-45DB-85B6-072A95714D86}"/>
              </a:ext>
            </a:extLst>
          </p:cNvPr>
          <p:cNvSpPr>
            <a:spLocks/>
          </p:cNvSpPr>
          <p:nvPr/>
        </p:nvSpPr>
        <p:spPr bwMode="auto">
          <a:xfrm>
            <a:off x="5622925" y="4199939"/>
            <a:ext cx="2325688" cy="1914525"/>
          </a:xfrm>
          <a:custGeom>
            <a:avLst/>
            <a:gdLst>
              <a:gd name="T0" fmla="*/ 391 w 616"/>
              <a:gd name="T1" fmla="*/ 0 h 507"/>
              <a:gd name="T2" fmla="*/ 513 w 616"/>
              <a:gd name="T3" fmla="*/ 321 h 507"/>
              <a:gd name="T4" fmla="*/ 0 w 616"/>
              <a:gd name="T5" fmla="*/ 425 h 507"/>
              <a:gd name="T6" fmla="*/ 327 w 616"/>
              <a:gd name="T7" fmla="*/ 275 h 507"/>
              <a:gd name="T8" fmla="*/ 391 w 616"/>
              <a:gd name="T9" fmla="*/ 0 h 507"/>
            </a:gdLst>
            <a:ahLst/>
            <a:cxnLst>
              <a:cxn ang="0">
                <a:pos x="T0" y="T1"/>
              </a:cxn>
              <a:cxn ang="0">
                <a:pos x="T2" y="T3"/>
              </a:cxn>
              <a:cxn ang="0">
                <a:pos x="T4" y="T5"/>
              </a:cxn>
              <a:cxn ang="0">
                <a:pos x="T6" y="T7"/>
              </a:cxn>
              <a:cxn ang="0">
                <a:pos x="T8" y="T9"/>
              </a:cxn>
            </a:cxnLst>
            <a:rect l="0" t="0" r="r" b="b"/>
            <a:pathLst>
              <a:path w="616" h="507">
                <a:moveTo>
                  <a:pt x="391" y="0"/>
                </a:moveTo>
                <a:cubicBezTo>
                  <a:pt x="391" y="0"/>
                  <a:pt x="616" y="168"/>
                  <a:pt x="513" y="321"/>
                </a:cubicBezTo>
                <a:cubicBezTo>
                  <a:pt x="387" y="507"/>
                  <a:pt x="0" y="425"/>
                  <a:pt x="0" y="425"/>
                </a:cubicBezTo>
                <a:cubicBezTo>
                  <a:pt x="0" y="425"/>
                  <a:pt x="202" y="410"/>
                  <a:pt x="327" y="275"/>
                </a:cubicBezTo>
                <a:cubicBezTo>
                  <a:pt x="414" y="179"/>
                  <a:pt x="391" y="0"/>
                  <a:pt x="391" y="0"/>
                </a:cubicBezTo>
                <a:close/>
              </a:path>
            </a:pathLst>
          </a:custGeom>
          <a:gradFill flip="none" rotWithShape="1">
            <a:gsLst>
              <a:gs pos="100000">
                <a:schemeClr val="accent1"/>
              </a:gs>
              <a:gs pos="70000">
                <a:schemeClr val="accent1">
                  <a:lumMod val="60000"/>
                  <a:lumOff val="40000"/>
                </a:schemeClr>
              </a:gs>
              <a:gs pos="0">
                <a:schemeClr val="accent1">
                  <a:lumMod val="40000"/>
                  <a:lumOff val="60000"/>
                </a:schemeClr>
              </a:gs>
            </a:gsLst>
            <a:lin ang="5400000" scaled="1"/>
            <a:tileRect/>
          </a:gradFill>
          <a:ln>
            <a:noFill/>
          </a:ln>
          <a:effectLst>
            <a:outerShdw blurRad="444500" dist="317500" dir="5400000" sx="92000" sy="92000" algn="t" rotWithShape="0">
              <a:schemeClr val="accent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28" name="Freeform 6">
            <a:extLst>
              <a:ext uri="{FF2B5EF4-FFF2-40B4-BE49-F238E27FC236}">
                <a16:creationId xmlns:a16="http://schemas.microsoft.com/office/drawing/2014/main" id="{271EAF6F-23D0-4102-8723-D2683AB1B84E}"/>
              </a:ext>
            </a:extLst>
          </p:cNvPr>
          <p:cNvSpPr>
            <a:spLocks/>
          </p:cNvSpPr>
          <p:nvPr/>
        </p:nvSpPr>
        <p:spPr bwMode="auto">
          <a:xfrm>
            <a:off x="4332288" y="3523664"/>
            <a:ext cx="1652588" cy="2500313"/>
          </a:xfrm>
          <a:custGeom>
            <a:avLst/>
            <a:gdLst>
              <a:gd name="T0" fmla="*/ 438 w 438"/>
              <a:gd name="T1" fmla="*/ 551 h 662"/>
              <a:gd name="T2" fmla="*/ 99 w 438"/>
              <a:gd name="T3" fmla="*/ 496 h 662"/>
              <a:gd name="T4" fmla="*/ 265 w 438"/>
              <a:gd name="T5" fmla="*/ 0 h 662"/>
              <a:gd name="T6" fmla="*/ 232 w 438"/>
              <a:gd name="T7" fmla="*/ 358 h 662"/>
              <a:gd name="T8" fmla="*/ 438 w 438"/>
              <a:gd name="T9" fmla="*/ 551 h 662"/>
            </a:gdLst>
            <a:ahLst/>
            <a:cxnLst>
              <a:cxn ang="0">
                <a:pos x="T0" y="T1"/>
              </a:cxn>
              <a:cxn ang="0">
                <a:pos x="T2" y="T3"/>
              </a:cxn>
              <a:cxn ang="0">
                <a:pos x="T4" y="T5"/>
              </a:cxn>
              <a:cxn ang="0">
                <a:pos x="T6" y="T7"/>
              </a:cxn>
              <a:cxn ang="0">
                <a:pos x="T8" y="T9"/>
              </a:cxn>
            </a:cxnLst>
            <a:rect l="0" t="0" r="r" b="b"/>
            <a:pathLst>
              <a:path w="438" h="662">
                <a:moveTo>
                  <a:pt x="438" y="551"/>
                </a:moveTo>
                <a:cubicBezTo>
                  <a:pt x="438" y="551"/>
                  <a:pt x="179" y="662"/>
                  <a:pt x="99" y="496"/>
                </a:cubicBezTo>
                <a:cubicBezTo>
                  <a:pt x="0" y="294"/>
                  <a:pt x="265" y="0"/>
                  <a:pt x="265" y="0"/>
                </a:cubicBezTo>
                <a:cubicBezTo>
                  <a:pt x="265" y="0"/>
                  <a:pt x="176" y="183"/>
                  <a:pt x="232" y="358"/>
                </a:cubicBezTo>
                <a:cubicBezTo>
                  <a:pt x="271" y="481"/>
                  <a:pt x="438" y="551"/>
                  <a:pt x="438" y="551"/>
                </a:cubicBezTo>
                <a:close/>
              </a:path>
            </a:pathLst>
          </a:custGeom>
          <a:gradFill flip="none" rotWithShape="1">
            <a:gsLst>
              <a:gs pos="73000">
                <a:schemeClr val="accent1"/>
              </a:gs>
              <a:gs pos="31000">
                <a:schemeClr val="accent1">
                  <a:lumMod val="60000"/>
                  <a:lumOff val="40000"/>
                </a:schemeClr>
              </a:gs>
              <a:gs pos="0">
                <a:schemeClr val="accent1">
                  <a:lumMod val="40000"/>
                  <a:lumOff val="60000"/>
                </a:schemeClr>
              </a:gs>
            </a:gsLst>
            <a:lin ang="16200000" scaled="1"/>
            <a:tileRect/>
          </a:gradFill>
          <a:ln>
            <a:noFill/>
          </a:ln>
          <a:effectLst>
            <a:outerShdw blurRad="444500" dist="317500" dir="5400000" sx="92000" sy="92000" algn="t" rotWithShape="0">
              <a:schemeClr val="accent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29" name="Freeform 7">
            <a:extLst>
              <a:ext uri="{FF2B5EF4-FFF2-40B4-BE49-F238E27FC236}">
                <a16:creationId xmlns:a16="http://schemas.microsoft.com/office/drawing/2014/main" id="{B028213B-3AC6-4D1C-9D90-53175007C9A9}"/>
              </a:ext>
            </a:extLst>
          </p:cNvPr>
          <p:cNvSpPr>
            <a:spLocks/>
          </p:cNvSpPr>
          <p:nvPr/>
        </p:nvSpPr>
        <p:spPr bwMode="auto">
          <a:xfrm>
            <a:off x="5324475" y="2880727"/>
            <a:ext cx="2128838" cy="1533525"/>
          </a:xfrm>
          <a:custGeom>
            <a:avLst/>
            <a:gdLst>
              <a:gd name="T0" fmla="*/ 0 w 564"/>
              <a:gd name="T1" fmla="*/ 279 h 406"/>
              <a:gd name="T2" fmla="*/ 217 w 564"/>
              <a:gd name="T3" fmla="*/ 13 h 406"/>
              <a:gd name="T4" fmla="*/ 564 w 564"/>
              <a:gd name="T5" fmla="*/ 406 h 406"/>
              <a:gd name="T6" fmla="*/ 270 w 564"/>
              <a:gd name="T7" fmla="*/ 198 h 406"/>
              <a:gd name="T8" fmla="*/ 0 w 564"/>
              <a:gd name="T9" fmla="*/ 279 h 406"/>
            </a:gdLst>
            <a:ahLst/>
            <a:cxnLst>
              <a:cxn ang="0">
                <a:pos x="T0" y="T1"/>
              </a:cxn>
              <a:cxn ang="0">
                <a:pos x="T2" y="T3"/>
              </a:cxn>
              <a:cxn ang="0">
                <a:pos x="T4" y="T5"/>
              </a:cxn>
              <a:cxn ang="0">
                <a:pos x="T6" y="T7"/>
              </a:cxn>
              <a:cxn ang="0">
                <a:pos x="T8" y="T9"/>
              </a:cxn>
            </a:cxnLst>
            <a:rect l="0" t="0" r="r" b="b"/>
            <a:pathLst>
              <a:path w="564" h="406">
                <a:moveTo>
                  <a:pt x="0" y="279"/>
                </a:moveTo>
                <a:cubicBezTo>
                  <a:pt x="0" y="279"/>
                  <a:pt x="33" y="0"/>
                  <a:pt x="217" y="13"/>
                </a:cubicBezTo>
                <a:cubicBezTo>
                  <a:pt x="441" y="29"/>
                  <a:pt x="564" y="406"/>
                  <a:pt x="564" y="406"/>
                </a:cubicBezTo>
                <a:cubicBezTo>
                  <a:pt x="564" y="406"/>
                  <a:pt x="450" y="237"/>
                  <a:pt x="270" y="198"/>
                </a:cubicBezTo>
                <a:cubicBezTo>
                  <a:pt x="144" y="170"/>
                  <a:pt x="0" y="279"/>
                  <a:pt x="0" y="279"/>
                </a:cubicBezTo>
                <a:close/>
              </a:path>
            </a:pathLst>
          </a:custGeom>
          <a:gradFill flip="none" rotWithShape="1">
            <a:gsLst>
              <a:gs pos="73000">
                <a:schemeClr val="accent1"/>
              </a:gs>
              <a:gs pos="31000">
                <a:schemeClr val="accent1">
                  <a:lumMod val="60000"/>
                  <a:lumOff val="40000"/>
                </a:schemeClr>
              </a:gs>
              <a:gs pos="0">
                <a:schemeClr val="accent1">
                  <a:lumMod val="40000"/>
                  <a:lumOff val="60000"/>
                </a:schemeClr>
              </a:gs>
            </a:gsLst>
            <a:lin ang="2700000" scaled="1"/>
            <a:tileRect/>
          </a:gradFill>
          <a:ln>
            <a:noFill/>
          </a:ln>
          <a:effectLst>
            <a:outerShdw blurRad="444500" dist="317500" dir="5400000" sx="92000" sy="92000" algn="t" rotWithShape="0">
              <a:schemeClr val="accent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grpSp>
        <p:nvGrpSpPr>
          <p:cNvPr id="33" name="Group 53">
            <a:extLst>
              <a:ext uri="{FF2B5EF4-FFF2-40B4-BE49-F238E27FC236}">
                <a16:creationId xmlns:a16="http://schemas.microsoft.com/office/drawing/2014/main" id="{D0753A85-913B-4290-AB59-DD3CC9311189}"/>
              </a:ext>
            </a:extLst>
          </p:cNvPr>
          <p:cNvGrpSpPr/>
          <p:nvPr/>
        </p:nvGrpSpPr>
        <p:grpSpPr>
          <a:xfrm>
            <a:off x="4796921" y="5037161"/>
            <a:ext cx="301778" cy="238060"/>
            <a:chOff x="4949825" y="1755776"/>
            <a:chExt cx="2052638" cy="1619250"/>
          </a:xfrm>
          <a:solidFill>
            <a:srgbClr val="FFFFFF"/>
          </a:solidFill>
        </p:grpSpPr>
        <p:sp>
          <p:nvSpPr>
            <p:cNvPr id="34" name="Freeform 18">
              <a:extLst>
                <a:ext uri="{FF2B5EF4-FFF2-40B4-BE49-F238E27FC236}">
                  <a16:creationId xmlns:a16="http://schemas.microsoft.com/office/drawing/2014/main" id="{F4D84AEF-459E-4C55-A92C-01C240AA4677}"/>
                </a:ext>
              </a:extLst>
            </p:cNvPr>
            <p:cNvSpPr>
              <a:spLocks/>
            </p:cNvSpPr>
            <p:nvPr/>
          </p:nvSpPr>
          <p:spPr bwMode="auto">
            <a:xfrm>
              <a:off x="4949825" y="1943101"/>
              <a:ext cx="185738" cy="560388"/>
            </a:xfrm>
            <a:custGeom>
              <a:avLst/>
              <a:gdLst>
                <a:gd name="T0" fmla="*/ 93 w 186"/>
                <a:gd name="T1" fmla="*/ 0 h 559"/>
                <a:gd name="T2" fmla="*/ 0 w 186"/>
                <a:gd name="T3" fmla="*/ 93 h 559"/>
                <a:gd name="T4" fmla="*/ 0 w 186"/>
                <a:gd name="T5" fmla="*/ 466 h 559"/>
                <a:gd name="T6" fmla="*/ 93 w 186"/>
                <a:gd name="T7" fmla="*/ 559 h 559"/>
                <a:gd name="T8" fmla="*/ 186 w 186"/>
                <a:gd name="T9" fmla="*/ 466 h 559"/>
                <a:gd name="T10" fmla="*/ 186 w 186"/>
                <a:gd name="T11" fmla="*/ 373 h 559"/>
                <a:gd name="T12" fmla="*/ 186 w 186"/>
                <a:gd name="T13" fmla="*/ 187 h 559"/>
                <a:gd name="T14" fmla="*/ 186 w 186"/>
                <a:gd name="T15" fmla="*/ 93 h 559"/>
                <a:gd name="T16" fmla="*/ 93 w 186"/>
                <a:gd name="T17" fmla="*/ 0 h 5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6" h="559">
                  <a:moveTo>
                    <a:pt x="93" y="0"/>
                  </a:moveTo>
                  <a:cubicBezTo>
                    <a:pt x="42" y="0"/>
                    <a:pt x="0" y="42"/>
                    <a:pt x="0" y="93"/>
                  </a:cubicBezTo>
                  <a:cubicBezTo>
                    <a:pt x="0" y="466"/>
                    <a:pt x="0" y="466"/>
                    <a:pt x="0" y="466"/>
                  </a:cubicBezTo>
                  <a:cubicBezTo>
                    <a:pt x="0" y="517"/>
                    <a:pt x="42" y="559"/>
                    <a:pt x="93" y="559"/>
                  </a:cubicBezTo>
                  <a:cubicBezTo>
                    <a:pt x="145" y="559"/>
                    <a:pt x="186" y="517"/>
                    <a:pt x="186" y="466"/>
                  </a:cubicBezTo>
                  <a:cubicBezTo>
                    <a:pt x="186" y="373"/>
                    <a:pt x="186" y="373"/>
                    <a:pt x="186" y="373"/>
                  </a:cubicBezTo>
                  <a:cubicBezTo>
                    <a:pt x="186" y="187"/>
                    <a:pt x="186" y="187"/>
                    <a:pt x="186" y="187"/>
                  </a:cubicBezTo>
                  <a:cubicBezTo>
                    <a:pt x="186" y="93"/>
                    <a:pt x="186" y="93"/>
                    <a:pt x="186" y="93"/>
                  </a:cubicBezTo>
                  <a:cubicBezTo>
                    <a:pt x="186" y="42"/>
                    <a:pt x="145" y="0"/>
                    <a:pt x="9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sp>
          <p:nvSpPr>
            <p:cNvPr id="35" name="Freeform 19">
              <a:extLst>
                <a:ext uri="{FF2B5EF4-FFF2-40B4-BE49-F238E27FC236}">
                  <a16:creationId xmlns:a16="http://schemas.microsoft.com/office/drawing/2014/main" id="{F5009668-C4A7-4BC4-9B5D-4FA72A46CB8E}"/>
                </a:ext>
              </a:extLst>
            </p:cNvPr>
            <p:cNvSpPr>
              <a:spLocks/>
            </p:cNvSpPr>
            <p:nvPr/>
          </p:nvSpPr>
          <p:spPr bwMode="auto">
            <a:xfrm>
              <a:off x="5435600" y="2752726"/>
              <a:ext cx="957263" cy="622300"/>
            </a:xfrm>
            <a:custGeom>
              <a:avLst/>
              <a:gdLst>
                <a:gd name="T0" fmla="*/ 935 w 956"/>
                <a:gd name="T1" fmla="*/ 489 h 621"/>
                <a:gd name="T2" fmla="*/ 709 w 956"/>
                <a:gd name="T3" fmla="*/ 0 h 621"/>
                <a:gd name="T4" fmla="*/ 478 w 956"/>
                <a:gd name="T5" fmla="*/ 0 h 621"/>
                <a:gd name="T6" fmla="*/ 247 w 956"/>
                <a:gd name="T7" fmla="*/ 0 h 621"/>
                <a:gd name="T8" fmla="*/ 21 w 956"/>
                <a:gd name="T9" fmla="*/ 489 h 621"/>
                <a:gd name="T10" fmla="*/ 67 w 956"/>
                <a:gd name="T11" fmla="*/ 612 h 621"/>
                <a:gd name="T12" fmla="*/ 106 w 956"/>
                <a:gd name="T13" fmla="*/ 621 h 621"/>
                <a:gd name="T14" fmla="*/ 190 w 956"/>
                <a:gd name="T15" fmla="*/ 567 h 621"/>
                <a:gd name="T16" fmla="*/ 385 w 956"/>
                <a:gd name="T17" fmla="*/ 145 h 621"/>
                <a:gd name="T18" fmla="*/ 385 w 956"/>
                <a:gd name="T19" fmla="*/ 528 h 621"/>
                <a:gd name="T20" fmla="*/ 478 w 956"/>
                <a:gd name="T21" fmla="*/ 621 h 621"/>
                <a:gd name="T22" fmla="*/ 571 w 956"/>
                <a:gd name="T23" fmla="*/ 528 h 621"/>
                <a:gd name="T24" fmla="*/ 571 w 956"/>
                <a:gd name="T25" fmla="*/ 145 h 621"/>
                <a:gd name="T26" fmla="*/ 766 w 956"/>
                <a:gd name="T27" fmla="*/ 567 h 621"/>
                <a:gd name="T28" fmla="*/ 850 w 956"/>
                <a:gd name="T29" fmla="*/ 621 h 621"/>
                <a:gd name="T30" fmla="*/ 889 w 956"/>
                <a:gd name="T31" fmla="*/ 612 h 621"/>
                <a:gd name="T32" fmla="*/ 935 w 956"/>
                <a:gd name="T33" fmla="*/ 489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56" h="621">
                  <a:moveTo>
                    <a:pt x="935" y="489"/>
                  </a:moveTo>
                  <a:cubicBezTo>
                    <a:pt x="709" y="0"/>
                    <a:pt x="709" y="0"/>
                    <a:pt x="709" y="0"/>
                  </a:cubicBezTo>
                  <a:cubicBezTo>
                    <a:pt x="478" y="0"/>
                    <a:pt x="478" y="0"/>
                    <a:pt x="478" y="0"/>
                  </a:cubicBezTo>
                  <a:cubicBezTo>
                    <a:pt x="247" y="0"/>
                    <a:pt x="247" y="0"/>
                    <a:pt x="247" y="0"/>
                  </a:cubicBezTo>
                  <a:cubicBezTo>
                    <a:pt x="21" y="489"/>
                    <a:pt x="21" y="489"/>
                    <a:pt x="21" y="489"/>
                  </a:cubicBezTo>
                  <a:cubicBezTo>
                    <a:pt x="0" y="535"/>
                    <a:pt x="20" y="591"/>
                    <a:pt x="67" y="612"/>
                  </a:cubicBezTo>
                  <a:cubicBezTo>
                    <a:pt x="79" y="618"/>
                    <a:pt x="92" y="621"/>
                    <a:pt x="106" y="621"/>
                  </a:cubicBezTo>
                  <a:cubicBezTo>
                    <a:pt x="141" y="621"/>
                    <a:pt x="174" y="601"/>
                    <a:pt x="190" y="567"/>
                  </a:cubicBezTo>
                  <a:cubicBezTo>
                    <a:pt x="385" y="145"/>
                    <a:pt x="385" y="145"/>
                    <a:pt x="385" y="145"/>
                  </a:cubicBezTo>
                  <a:cubicBezTo>
                    <a:pt x="385" y="528"/>
                    <a:pt x="385" y="528"/>
                    <a:pt x="385" y="528"/>
                  </a:cubicBezTo>
                  <a:cubicBezTo>
                    <a:pt x="385" y="579"/>
                    <a:pt x="427" y="621"/>
                    <a:pt x="478" y="621"/>
                  </a:cubicBezTo>
                  <a:cubicBezTo>
                    <a:pt x="529" y="621"/>
                    <a:pt x="571" y="579"/>
                    <a:pt x="571" y="528"/>
                  </a:cubicBezTo>
                  <a:cubicBezTo>
                    <a:pt x="571" y="145"/>
                    <a:pt x="571" y="145"/>
                    <a:pt x="571" y="145"/>
                  </a:cubicBezTo>
                  <a:cubicBezTo>
                    <a:pt x="766" y="567"/>
                    <a:pt x="766" y="567"/>
                    <a:pt x="766" y="567"/>
                  </a:cubicBezTo>
                  <a:cubicBezTo>
                    <a:pt x="781" y="601"/>
                    <a:pt x="815" y="621"/>
                    <a:pt x="850" y="621"/>
                  </a:cubicBezTo>
                  <a:cubicBezTo>
                    <a:pt x="863" y="621"/>
                    <a:pt x="877" y="618"/>
                    <a:pt x="889" y="612"/>
                  </a:cubicBezTo>
                  <a:cubicBezTo>
                    <a:pt x="936" y="591"/>
                    <a:pt x="956" y="535"/>
                    <a:pt x="935" y="48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sp>
          <p:nvSpPr>
            <p:cNvPr id="36" name="Freeform 20">
              <a:extLst>
                <a:ext uri="{FF2B5EF4-FFF2-40B4-BE49-F238E27FC236}">
                  <a16:creationId xmlns:a16="http://schemas.microsoft.com/office/drawing/2014/main" id="{21A3D537-8103-4CF4-81C4-CCE625833E0C}"/>
                </a:ext>
              </a:extLst>
            </p:cNvPr>
            <p:cNvSpPr>
              <a:spLocks/>
            </p:cNvSpPr>
            <p:nvPr/>
          </p:nvSpPr>
          <p:spPr bwMode="auto">
            <a:xfrm>
              <a:off x="5322888" y="1943101"/>
              <a:ext cx="312738" cy="560388"/>
            </a:xfrm>
            <a:custGeom>
              <a:avLst/>
              <a:gdLst>
                <a:gd name="T0" fmla="*/ 311 w 312"/>
                <a:gd name="T1" fmla="*/ 31 h 559"/>
                <a:gd name="T2" fmla="*/ 312 w 312"/>
                <a:gd name="T3" fmla="*/ 0 h 559"/>
                <a:gd name="T4" fmla="*/ 93 w 312"/>
                <a:gd name="T5" fmla="*/ 0 h 559"/>
                <a:gd name="T6" fmla="*/ 0 w 312"/>
                <a:gd name="T7" fmla="*/ 93 h 559"/>
                <a:gd name="T8" fmla="*/ 0 w 312"/>
                <a:gd name="T9" fmla="*/ 187 h 559"/>
                <a:gd name="T10" fmla="*/ 0 w 312"/>
                <a:gd name="T11" fmla="*/ 373 h 559"/>
                <a:gd name="T12" fmla="*/ 0 w 312"/>
                <a:gd name="T13" fmla="*/ 466 h 559"/>
                <a:gd name="T14" fmla="*/ 93 w 312"/>
                <a:gd name="T15" fmla="*/ 559 h 559"/>
                <a:gd name="T16" fmla="*/ 312 w 312"/>
                <a:gd name="T17" fmla="*/ 559 h 559"/>
                <a:gd name="T18" fmla="*/ 311 w 312"/>
                <a:gd name="T19" fmla="*/ 528 h 559"/>
                <a:gd name="T20" fmla="*/ 311 w 312"/>
                <a:gd name="T21" fmla="*/ 31 h 5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2" h="559">
                  <a:moveTo>
                    <a:pt x="311" y="31"/>
                  </a:moveTo>
                  <a:cubicBezTo>
                    <a:pt x="311" y="21"/>
                    <a:pt x="311" y="11"/>
                    <a:pt x="312" y="0"/>
                  </a:cubicBezTo>
                  <a:cubicBezTo>
                    <a:pt x="93" y="0"/>
                    <a:pt x="93" y="0"/>
                    <a:pt x="93" y="0"/>
                  </a:cubicBezTo>
                  <a:cubicBezTo>
                    <a:pt x="42" y="0"/>
                    <a:pt x="0" y="42"/>
                    <a:pt x="0" y="93"/>
                  </a:cubicBezTo>
                  <a:cubicBezTo>
                    <a:pt x="0" y="187"/>
                    <a:pt x="0" y="187"/>
                    <a:pt x="0" y="187"/>
                  </a:cubicBezTo>
                  <a:cubicBezTo>
                    <a:pt x="0" y="373"/>
                    <a:pt x="0" y="373"/>
                    <a:pt x="0" y="373"/>
                  </a:cubicBezTo>
                  <a:cubicBezTo>
                    <a:pt x="0" y="466"/>
                    <a:pt x="0" y="466"/>
                    <a:pt x="0" y="466"/>
                  </a:cubicBezTo>
                  <a:cubicBezTo>
                    <a:pt x="0" y="517"/>
                    <a:pt x="42" y="559"/>
                    <a:pt x="93" y="559"/>
                  </a:cubicBezTo>
                  <a:cubicBezTo>
                    <a:pt x="312" y="559"/>
                    <a:pt x="312" y="559"/>
                    <a:pt x="312" y="559"/>
                  </a:cubicBezTo>
                  <a:cubicBezTo>
                    <a:pt x="311" y="549"/>
                    <a:pt x="311" y="538"/>
                    <a:pt x="311" y="528"/>
                  </a:cubicBezTo>
                  <a:lnTo>
                    <a:pt x="31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sp>
          <p:nvSpPr>
            <p:cNvPr id="37" name="Freeform 21">
              <a:extLst>
                <a:ext uri="{FF2B5EF4-FFF2-40B4-BE49-F238E27FC236}">
                  <a16:creationId xmlns:a16="http://schemas.microsoft.com/office/drawing/2014/main" id="{262C88B9-3221-4055-BF62-D69512FFEF91}"/>
                </a:ext>
              </a:extLst>
            </p:cNvPr>
            <p:cNvSpPr>
              <a:spLocks/>
            </p:cNvSpPr>
            <p:nvPr/>
          </p:nvSpPr>
          <p:spPr bwMode="auto">
            <a:xfrm>
              <a:off x="5821363" y="1755776"/>
              <a:ext cx="1181100" cy="935038"/>
            </a:xfrm>
            <a:custGeom>
              <a:avLst/>
              <a:gdLst>
                <a:gd name="T0" fmla="*/ 1086 w 1179"/>
                <a:gd name="T1" fmla="*/ 0 h 931"/>
                <a:gd name="T2" fmla="*/ 993 w 1179"/>
                <a:gd name="T3" fmla="*/ 93 h 931"/>
                <a:gd name="T4" fmla="*/ 993 w 1179"/>
                <a:gd name="T5" fmla="*/ 124 h 931"/>
                <a:gd name="T6" fmla="*/ 325 w 1179"/>
                <a:gd name="T7" fmla="*/ 124 h 931"/>
                <a:gd name="T8" fmla="*/ 196 w 1179"/>
                <a:gd name="T9" fmla="*/ 124 h 931"/>
                <a:gd name="T10" fmla="*/ 93 w 1179"/>
                <a:gd name="T11" fmla="*/ 124 h 931"/>
                <a:gd name="T12" fmla="*/ 5 w 1179"/>
                <a:gd name="T13" fmla="*/ 186 h 931"/>
                <a:gd name="T14" fmla="*/ 0 w 1179"/>
                <a:gd name="T15" fmla="*/ 217 h 931"/>
                <a:gd name="T16" fmla="*/ 0 w 1179"/>
                <a:gd name="T17" fmla="*/ 693 h 931"/>
                <a:gd name="T18" fmla="*/ 0 w 1179"/>
                <a:gd name="T19" fmla="*/ 714 h 931"/>
                <a:gd name="T20" fmla="*/ 5 w 1179"/>
                <a:gd name="T21" fmla="*/ 745 h 931"/>
                <a:gd name="T22" fmla="*/ 93 w 1179"/>
                <a:gd name="T23" fmla="*/ 807 h 931"/>
                <a:gd name="T24" fmla="*/ 196 w 1179"/>
                <a:gd name="T25" fmla="*/ 807 h 931"/>
                <a:gd name="T26" fmla="*/ 238 w 1179"/>
                <a:gd name="T27" fmla="*/ 807 h 931"/>
                <a:gd name="T28" fmla="*/ 325 w 1179"/>
                <a:gd name="T29" fmla="*/ 807 h 931"/>
                <a:gd name="T30" fmla="*/ 854 w 1179"/>
                <a:gd name="T31" fmla="*/ 807 h 931"/>
                <a:gd name="T32" fmla="*/ 993 w 1179"/>
                <a:gd name="T33" fmla="*/ 807 h 931"/>
                <a:gd name="T34" fmla="*/ 993 w 1179"/>
                <a:gd name="T35" fmla="*/ 838 h 931"/>
                <a:gd name="T36" fmla="*/ 1086 w 1179"/>
                <a:gd name="T37" fmla="*/ 931 h 931"/>
                <a:gd name="T38" fmla="*/ 1179 w 1179"/>
                <a:gd name="T39" fmla="*/ 838 h 931"/>
                <a:gd name="T40" fmla="*/ 1179 w 1179"/>
                <a:gd name="T41" fmla="*/ 714 h 931"/>
                <a:gd name="T42" fmla="*/ 1179 w 1179"/>
                <a:gd name="T43" fmla="*/ 217 h 931"/>
                <a:gd name="T44" fmla="*/ 1179 w 1179"/>
                <a:gd name="T45" fmla="*/ 93 h 931"/>
                <a:gd name="T46" fmla="*/ 1086 w 1179"/>
                <a:gd name="T47" fmla="*/ 0 h 9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79" h="931">
                  <a:moveTo>
                    <a:pt x="1086" y="0"/>
                  </a:moveTo>
                  <a:cubicBezTo>
                    <a:pt x="1034" y="0"/>
                    <a:pt x="993" y="42"/>
                    <a:pt x="993" y="93"/>
                  </a:cubicBezTo>
                  <a:cubicBezTo>
                    <a:pt x="993" y="124"/>
                    <a:pt x="993" y="124"/>
                    <a:pt x="993" y="124"/>
                  </a:cubicBezTo>
                  <a:cubicBezTo>
                    <a:pt x="325" y="124"/>
                    <a:pt x="325" y="124"/>
                    <a:pt x="325" y="124"/>
                  </a:cubicBezTo>
                  <a:cubicBezTo>
                    <a:pt x="196" y="124"/>
                    <a:pt x="196" y="124"/>
                    <a:pt x="196" y="124"/>
                  </a:cubicBezTo>
                  <a:cubicBezTo>
                    <a:pt x="93" y="124"/>
                    <a:pt x="93" y="124"/>
                    <a:pt x="93" y="124"/>
                  </a:cubicBezTo>
                  <a:cubicBezTo>
                    <a:pt x="52" y="124"/>
                    <a:pt x="18" y="150"/>
                    <a:pt x="5" y="186"/>
                  </a:cubicBezTo>
                  <a:cubicBezTo>
                    <a:pt x="2" y="196"/>
                    <a:pt x="0" y="207"/>
                    <a:pt x="0" y="217"/>
                  </a:cubicBezTo>
                  <a:cubicBezTo>
                    <a:pt x="0" y="693"/>
                    <a:pt x="0" y="693"/>
                    <a:pt x="0" y="693"/>
                  </a:cubicBezTo>
                  <a:cubicBezTo>
                    <a:pt x="0" y="714"/>
                    <a:pt x="0" y="714"/>
                    <a:pt x="0" y="714"/>
                  </a:cubicBezTo>
                  <a:cubicBezTo>
                    <a:pt x="0" y="725"/>
                    <a:pt x="2" y="735"/>
                    <a:pt x="5" y="745"/>
                  </a:cubicBezTo>
                  <a:cubicBezTo>
                    <a:pt x="18" y="781"/>
                    <a:pt x="52" y="807"/>
                    <a:pt x="93" y="807"/>
                  </a:cubicBezTo>
                  <a:cubicBezTo>
                    <a:pt x="196" y="807"/>
                    <a:pt x="196" y="807"/>
                    <a:pt x="196" y="807"/>
                  </a:cubicBezTo>
                  <a:cubicBezTo>
                    <a:pt x="238" y="807"/>
                    <a:pt x="238" y="807"/>
                    <a:pt x="238" y="807"/>
                  </a:cubicBezTo>
                  <a:cubicBezTo>
                    <a:pt x="325" y="807"/>
                    <a:pt x="325" y="807"/>
                    <a:pt x="325" y="807"/>
                  </a:cubicBezTo>
                  <a:cubicBezTo>
                    <a:pt x="854" y="807"/>
                    <a:pt x="854" y="807"/>
                    <a:pt x="854" y="807"/>
                  </a:cubicBezTo>
                  <a:cubicBezTo>
                    <a:pt x="993" y="807"/>
                    <a:pt x="993" y="807"/>
                    <a:pt x="993" y="807"/>
                  </a:cubicBezTo>
                  <a:cubicBezTo>
                    <a:pt x="993" y="838"/>
                    <a:pt x="993" y="838"/>
                    <a:pt x="993" y="838"/>
                  </a:cubicBezTo>
                  <a:cubicBezTo>
                    <a:pt x="993" y="889"/>
                    <a:pt x="1035" y="931"/>
                    <a:pt x="1086" y="931"/>
                  </a:cubicBezTo>
                  <a:cubicBezTo>
                    <a:pt x="1137" y="931"/>
                    <a:pt x="1179" y="889"/>
                    <a:pt x="1179" y="838"/>
                  </a:cubicBezTo>
                  <a:cubicBezTo>
                    <a:pt x="1179" y="714"/>
                    <a:pt x="1179" y="714"/>
                    <a:pt x="1179" y="714"/>
                  </a:cubicBezTo>
                  <a:cubicBezTo>
                    <a:pt x="1179" y="217"/>
                    <a:pt x="1179" y="217"/>
                    <a:pt x="1179" y="217"/>
                  </a:cubicBezTo>
                  <a:cubicBezTo>
                    <a:pt x="1179" y="93"/>
                    <a:pt x="1179" y="93"/>
                    <a:pt x="1179" y="93"/>
                  </a:cubicBezTo>
                  <a:cubicBezTo>
                    <a:pt x="1179" y="42"/>
                    <a:pt x="1137" y="0"/>
                    <a:pt x="108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grpSp>
      <p:grpSp>
        <p:nvGrpSpPr>
          <p:cNvPr id="38" name="Group 70">
            <a:extLst>
              <a:ext uri="{FF2B5EF4-FFF2-40B4-BE49-F238E27FC236}">
                <a16:creationId xmlns:a16="http://schemas.microsoft.com/office/drawing/2014/main" id="{5409C1A2-A020-4FA7-A4D4-427900881BEC}"/>
              </a:ext>
            </a:extLst>
          </p:cNvPr>
          <p:cNvGrpSpPr/>
          <p:nvPr/>
        </p:nvGrpSpPr>
        <p:grpSpPr>
          <a:xfrm>
            <a:off x="5958840" y="3180962"/>
            <a:ext cx="381248" cy="236854"/>
            <a:chOff x="8420100" y="1390651"/>
            <a:chExt cx="2493963" cy="1549400"/>
          </a:xfrm>
          <a:solidFill>
            <a:srgbClr val="FFFFFF"/>
          </a:solidFill>
        </p:grpSpPr>
        <p:sp>
          <p:nvSpPr>
            <p:cNvPr id="39" name="Freeform 25">
              <a:extLst>
                <a:ext uri="{FF2B5EF4-FFF2-40B4-BE49-F238E27FC236}">
                  <a16:creationId xmlns:a16="http://schemas.microsoft.com/office/drawing/2014/main" id="{BC20C24D-0A17-448F-841F-5613CE9BD8A1}"/>
                </a:ext>
              </a:extLst>
            </p:cNvPr>
            <p:cNvSpPr>
              <a:spLocks/>
            </p:cNvSpPr>
            <p:nvPr/>
          </p:nvSpPr>
          <p:spPr bwMode="auto">
            <a:xfrm>
              <a:off x="9567863" y="2698751"/>
              <a:ext cx="198438" cy="241300"/>
            </a:xfrm>
            <a:custGeom>
              <a:avLst/>
              <a:gdLst>
                <a:gd name="T0" fmla="*/ 81 w 162"/>
                <a:gd name="T1" fmla="*/ 1 h 199"/>
                <a:gd name="T2" fmla="*/ 0 w 162"/>
                <a:gd name="T3" fmla="*/ 0 h 199"/>
                <a:gd name="T4" fmla="*/ 0 w 162"/>
                <a:gd name="T5" fmla="*/ 118 h 199"/>
                <a:gd name="T6" fmla="*/ 81 w 162"/>
                <a:gd name="T7" fmla="*/ 199 h 199"/>
                <a:gd name="T8" fmla="*/ 162 w 162"/>
                <a:gd name="T9" fmla="*/ 118 h 199"/>
                <a:gd name="T10" fmla="*/ 162 w 162"/>
                <a:gd name="T11" fmla="*/ 0 h 199"/>
                <a:gd name="T12" fmla="*/ 81 w 162"/>
                <a:gd name="T13" fmla="*/ 1 h 199"/>
              </a:gdLst>
              <a:ahLst/>
              <a:cxnLst>
                <a:cxn ang="0">
                  <a:pos x="T0" y="T1"/>
                </a:cxn>
                <a:cxn ang="0">
                  <a:pos x="T2" y="T3"/>
                </a:cxn>
                <a:cxn ang="0">
                  <a:pos x="T4" y="T5"/>
                </a:cxn>
                <a:cxn ang="0">
                  <a:pos x="T6" y="T7"/>
                </a:cxn>
                <a:cxn ang="0">
                  <a:pos x="T8" y="T9"/>
                </a:cxn>
                <a:cxn ang="0">
                  <a:pos x="T10" y="T11"/>
                </a:cxn>
                <a:cxn ang="0">
                  <a:pos x="T12" y="T13"/>
                </a:cxn>
              </a:cxnLst>
              <a:rect l="0" t="0" r="r" b="b"/>
              <a:pathLst>
                <a:path w="162" h="199">
                  <a:moveTo>
                    <a:pt x="81" y="1"/>
                  </a:moveTo>
                  <a:cubicBezTo>
                    <a:pt x="54" y="1"/>
                    <a:pt x="27" y="1"/>
                    <a:pt x="0" y="0"/>
                  </a:cubicBezTo>
                  <a:cubicBezTo>
                    <a:pt x="0" y="118"/>
                    <a:pt x="0" y="118"/>
                    <a:pt x="0" y="118"/>
                  </a:cubicBezTo>
                  <a:cubicBezTo>
                    <a:pt x="0" y="162"/>
                    <a:pt x="36" y="199"/>
                    <a:pt x="81" y="199"/>
                  </a:cubicBezTo>
                  <a:cubicBezTo>
                    <a:pt x="126" y="199"/>
                    <a:pt x="162" y="162"/>
                    <a:pt x="162" y="118"/>
                  </a:cubicBezTo>
                  <a:cubicBezTo>
                    <a:pt x="162" y="0"/>
                    <a:pt x="162" y="0"/>
                    <a:pt x="162" y="0"/>
                  </a:cubicBezTo>
                  <a:cubicBezTo>
                    <a:pt x="135" y="1"/>
                    <a:pt x="108" y="1"/>
                    <a:pt x="8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sp>
          <p:nvSpPr>
            <p:cNvPr id="40" name="Freeform 26">
              <a:extLst>
                <a:ext uri="{FF2B5EF4-FFF2-40B4-BE49-F238E27FC236}">
                  <a16:creationId xmlns:a16="http://schemas.microsoft.com/office/drawing/2014/main" id="{B070C5C3-82FC-4C5D-B4DC-2E4A2806BAE6}"/>
                </a:ext>
              </a:extLst>
            </p:cNvPr>
            <p:cNvSpPr>
              <a:spLocks/>
            </p:cNvSpPr>
            <p:nvPr/>
          </p:nvSpPr>
          <p:spPr bwMode="auto">
            <a:xfrm>
              <a:off x="8943975" y="2646363"/>
              <a:ext cx="273050" cy="293688"/>
            </a:xfrm>
            <a:custGeom>
              <a:avLst/>
              <a:gdLst>
                <a:gd name="T0" fmla="*/ 61 w 224"/>
                <a:gd name="T1" fmla="*/ 0 h 241"/>
                <a:gd name="T2" fmla="*/ 15 w 224"/>
                <a:gd name="T3" fmla="*/ 133 h 241"/>
                <a:gd name="T4" fmla="*/ 64 w 224"/>
                <a:gd name="T5" fmla="*/ 236 h 241"/>
                <a:gd name="T6" fmla="*/ 91 w 224"/>
                <a:gd name="T7" fmla="*/ 241 h 241"/>
                <a:gd name="T8" fmla="*/ 167 w 224"/>
                <a:gd name="T9" fmla="*/ 187 h 241"/>
                <a:gd name="T10" fmla="*/ 224 w 224"/>
                <a:gd name="T11" fmla="*/ 23 h 241"/>
                <a:gd name="T12" fmla="*/ 61 w 224"/>
                <a:gd name="T13" fmla="*/ 0 h 241"/>
              </a:gdLst>
              <a:ahLst/>
              <a:cxnLst>
                <a:cxn ang="0">
                  <a:pos x="T0" y="T1"/>
                </a:cxn>
                <a:cxn ang="0">
                  <a:pos x="T2" y="T3"/>
                </a:cxn>
                <a:cxn ang="0">
                  <a:pos x="T4" y="T5"/>
                </a:cxn>
                <a:cxn ang="0">
                  <a:pos x="T6" y="T7"/>
                </a:cxn>
                <a:cxn ang="0">
                  <a:pos x="T8" y="T9"/>
                </a:cxn>
                <a:cxn ang="0">
                  <a:pos x="T10" y="T11"/>
                </a:cxn>
                <a:cxn ang="0">
                  <a:pos x="T12" y="T13"/>
                </a:cxn>
              </a:cxnLst>
              <a:rect l="0" t="0" r="r" b="b"/>
              <a:pathLst>
                <a:path w="224" h="241">
                  <a:moveTo>
                    <a:pt x="61" y="0"/>
                  </a:moveTo>
                  <a:cubicBezTo>
                    <a:pt x="15" y="133"/>
                    <a:pt x="15" y="133"/>
                    <a:pt x="15" y="133"/>
                  </a:cubicBezTo>
                  <a:cubicBezTo>
                    <a:pt x="0" y="175"/>
                    <a:pt x="22" y="221"/>
                    <a:pt x="64" y="236"/>
                  </a:cubicBezTo>
                  <a:cubicBezTo>
                    <a:pt x="73" y="239"/>
                    <a:pt x="82" y="241"/>
                    <a:pt x="91" y="241"/>
                  </a:cubicBezTo>
                  <a:cubicBezTo>
                    <a:pt x="124" y="241"/>
                    <a:pt x="156" y="220"/>
                    <a:pt x="167" y="187"/>
                  </a:cubicBezTo>
                  <a:cubicBezTo>
                    <a:pt x="224" y="23"/>
                    <a:pt x="224" y="23"/>
                    <a:pt x="224" y="23"/>
                  </a:cubicBezTo>
                  <a:cubicBezTo>
                    <a:pt x="168" y="17"/>
                    <a:pt x="114" y="9"/>
                    <a:pt x="6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sp>
          <p:nvSpPr>
            <p:cNvPr id="41" name="Freeform 27">
              <a:extLst>
                <a:ext uri="{FF2B5EF4-FFF2-40B4-BE49-F238E27FC236}">
                  <a16:creationId xmlns:a16="http://schemas.microsoft.com/office/drawing/2014/main" id="{5D156A85-5280-4AAF-8D52-915F3F6FA7A6}"/>
                </a:ext>
              </a:extLst>
            </p:cNvPr>
            <p:cNvSpPr>
              <a:spLocks/>
            </p:cNvSpPr>
            <p:nvPr/>
          </p:nvSpPr>
          <p:spPr bwMode="auto">
            <a:xfrm>
              <a:off x="10118725" y="2646363"/>
              <a:ext cx="271463" cy="293688"/>
            </a:xfrm>
            <a:custGeom>
              <a:avLst/>
              <a:gdLst>
                <a:gd name="T0" fmla="*/ 209 w 224"/>
                <a:gd name="T1" fmla="*/ 133 h 241"/>
                <a:gd name="T2" fmla="*/ 163 w 224"/>
                <a:gd name="T3" fmla="*/ 0 h 241"/>
                <a:gd name="T4" fmla="*/ 0 w 224"/>
                <a:gd name="T5" fmla="*/ 23 h 241"/>
                <a:gd name="T6" fmla="*/ 57 w 224"/>
                <a:gd name="T7" fmla="*/ 187 h 241"/>
                <a:gd name="T8" fmla="*/ 133 w 224"/>
                <a:gd name="T9" fmla="*/ 241 h 241"/>
                <a:gd name="T10" fmla="*/ 160 w 224"/>
                <a:gd name="T11" fmla="*/ 236 h 241"/>
                <a:gd name="T12" fmla="*/ 209 w 224"/>
                <a:gd name="T13" fmla="*/ 133 h 241"/>
              </a:gdLst>
              <a:ahLst/>
              <a:cxnLst>
                <a:cxn ang="0">
                  <a:pos x="T0" y="T1"/>
                </a:cxn>
                <a:cxn ang="0">
                  <a:pos x="T2" y="T3"/>
                </a:cxn>
                <a:cxn ang="0">
                  <a:pos x="T4" y="T5"/>
                </a:cxn>
                <a:cxn ang="0">
                  <a:pos x="T6" y="T7"/>
                </a:cxn>
                <a:cxn ang="0">
                  <a:pos x="T8" y="T9"/>
                </a:cxn>
                <a:cxn ang="0">
                  <a:pos x="T10" y="T11"/>
                </a:cxn>
                <a:cxn ang="0">
                  <a:pos x="T12" y="T13"/>
                </a:cxn>
              </a:cxnLst>
              <a:rect l="0" t="0" r="r" b="b"/>
              <a:pathLst>
                <a:path w="224" h="241">
                  <a:moveTo>
                    <a:pt x="209" y="133"/>
                  </a:moveTo>
                  <a:cubicBezTo>
                    <a:pt x="163" y="0"/>
                    <a:pt x="163" y="0"/>
                    <a:pt x="163" y="0"/>
                  </a:cubicBezTo>
                  <a:cubicBezTo>
                    <a:pt x="110" y="9"/>
                    <a:pt x="56" y="17"/>
                    <a:pt x="0" y="23"/>
                  </a:cubicBezTo>
                  <a:cubicBezTo>
                    <a:pt x="57" y="187"/>
                    <a:pt x="57" y="187"/>
                    <a:pt x="57" y="187"/>
                  </a:cubicBezTo>
                  <a:cubicBezTo>
                    <a:pt x="68" y="220"/>
                    <a:pt x="100" y="241"/>
                    <a:pt x="133" y="241"/>
                  </a:cubicBezTo>
                  <a:cubicBezTo>
                    <a:pt x="142" y="241"/>
                    <a:pt x="151" y="239"/>
                    <a:pt x="160" y="236"/>
                  </a:cubicBezTo>
                  <a:cubicBezTo>
                    <a:pt x="202" y="221"/>
                    <a:pt x="224" y="175"/>
                    <a:pt x="209" y="1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sp>
          <p:nvSpPr>
            <p:cNvPr id="42" name="Freeform 28">
              <a:extLst>
                <a:ext uri="{FF2B5EF4-FFF2-40B4-BE49-F238E27FC236}">
                  <a16:creationId xmlns:a16="http://schemas.microsoft.com/office/drawing/2014/main" id="{C986F3C5-D740-4F87-9C17-AD60AC860B2E}"/>
                </a:ext>
              </a:extLst>
            </p:cNvPr>
            <p:cNvSpPr>
              <a:spLocks/>
            </p:cNvSpPr>
            <p:nvPr/>
          </p:nvSpPr>
          <p:spPr bwMode="auto">
            <a:xfrm>
              <a:off x="8420100" y="1709738"/>
              <a:ext cx="2493963" cy="792163"/>
            </a:xfrm>
            <a:custGeom>
              <a:avLst/>
              <a:gdLst>
                <a:gd name="T0" fmla="*/ 1592 w 2048"/>
                <a:gd name="T1" fmla="*/ 3 h 651"/>
                <a:gd name="T2" fmla="*/ 1615 w 2048"/>
                <a:gd name="T3" fmla="*/ 163 h 651"/>
                <a:gd name="T4" fmla="*/ 1519 w 2048"/>
                <a:gd name="T5" fmla="*/ 311 h 651"/>
                <a:gd name="T6" fmla="*/ 1029 w 2048"/>
                <a:gd name="T7" fmla="*/ 409 h 651"/>
                <a:gd name="T8" fmla="*/ 539 w 2048"/>
                <a:gd name="T9" fmla="*/ 311 h 651"/>
                <a:gd name="T10" fmla="*/ 443 w 2048"/>
                <a:gd name="T11" fmla="*/ 163 h 651"/>
                <a:gd name="T12" fmla="*/ 466 w 2048"/>
                <a:gd name="T13" fmla="*/ 0 h 651"/>
                <a:gd name="T14" fmla="*/ 0 w 2048"/>
                <a:gd name="T15" fmla="*/ 301 h 651"/>
                <a:gd name="T16" fmla="*/ 335 w 2048"/>
                <a:gd name="T17" fmla="*/ 569 h 651"/>
                <a:gd name="T18" fmla="*/ 545 w 2048"/>
                <a:gd name="T19" fmla="*/ 615 h 651"/>
                <a:gd name="T20" fmla="*/ 709 w 2048"/>
                <a:gd name="T21" fmla="*/ 636 h 651"/>
                <a:gd name="T22" fmla="*/ 943 w 2048"/>
                <a:gd name="T23" fmla="*/ 650 h 651"/>
                <a:gd name="T24" fmla="*/ 1024 w 2048"/>
                <a:gd name="T25" fmla="*/ 651 h 651"/>
                <a:gd name="T26" fmla="*/ 1105 w 2048"/>
                <a:gd name="T27" fmla="*/ 650 h 651"/>
                <a:gd name="T28" fmla="*/ 1339 w 2048"/>
                <a:gd name="T29" fmla="*/ 636 h 651"/>
                <a:gd name="T30" fmla="*/ 1503 w 2048"/>
                <a:gd name="T31" fmla="*/ 615 h 651"/>
                <a:gd name="T32" fmla="*/ 1713 w 2048"/>
                <a:gd name="T33" fmla="*/ 569 h 651"/>
                <a:gd name="T34" fmla="*/ 2048 w 2048"/>
                <a:gd name="T35" fmla="*/ 301 h 651"/>
                <a:gd name="T36" fmla="*/ 1592 w 2048"/>
                <a:gd name="T37" fmla="*/ 3 h 6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048" h="651">
                  <a:moveTo>
                    <a:pt x="1592" y="3"/>
                  </a:moveTo>
                  <a:cubicBezTo>
                    <a:pt x="1607" y="54"/>
                    <a:pt x="1615" y="108"/>
                    <a:pt x="1615" y="163"/>
                  </a:cubicBezTo>
                  <a:cubicBezTo>
                    <a:pt x="1615" y="227"/>
                    <a:pt x="1577" y="285"/>
                    <a:pt x="1519" y="311"/>
                  </a:cubicBezTo>
                  <a:cubicBezTo>
                    <a:pt x="1510" y="315"/>
                    <a:pt x="1294" y="409"/>
                    <a:pt x="1029" y="409"/>
                  </a:cubicBezTo>
                  <a:cubicBezTo>
                    <a:pt x="763" y="409"/>
                    <a:pt x="548" y="315"/>
                    <a:pt x="539" y="311"/>
                  </a:cubicBezTo>
                  <a:cubicBezTo>
                    <a:pt x="481" y="285"/>
                    <a:pt x="443" y="227"/>
                    <a:pt x="443" y="163"/>
                  </a:cubicBezTo>
                  <a:cubicBezTo>
                    <a:pt x="443" y="107"/>
                    <a:pt x="451" y="53"/>
                    <a:pt x="466" y="0"/>
                  </a:cubicBezTo>
                  <a:cubicBezTo>
                    <a:pt x="250" y="44"/>
                    <a:pt x="0" y="131"/>
                    <a:pt x="0" y="301"/>
                  </a:cubicBezTo>
                  <a:cubicBezTo>
                    <a:pt x="0" y="415"/>
                    <a:pt x="113" y="506"/>
                    <a:pt x="335" y="569"/>
                  </a:cubicBezTo>
                  <a:cubicBezTo>
                    <a:pt x="399" y="587"/>
                    <a:pt x="469" y="603"/>
                    <a:pt x="545" y="615"/>
                  </a:cubicBezTo>
                  <a:cubicBezTo>
                    <a:pt x="598" y="624"/>
                    <a:pt x="653" y="631"/>
                    <a:pt x="709" y="636"/>
                  </a:cubicBezTo>
                  <a:cubicBezTo>
                    <a:pt x="784" y="644"/>
                    <a:pt x="863" y="648"/>
                    <a:pt x="943" y="650"/>
                  </a:cubicBezTo>
                  <a:cubicBezTo>
                    <a:pt x="970" y="651"/>
                    <a:pt x="997" y="651"/>
                    <a:pt x="1024" y="651"/>
                  </a:cubicBezTo>
                  <a:cubicBezTo>
                    <a:pt x="1051" y="651"/>
                    <a:pt x="1078" y="651"/>
                    <a:pt x="1105" y="650"/>
                  </a:cubicBezTo>
                  <a:cubicBezTo>
                    <a:pt x="1185" y="648"/>
                    <a:pt x="1264" y="644"/>
                    <a:pt x="1339" y="636"/>
                  </a:cubicBezTo>
                  <a:cubicBezTo>
                    <a:pt x="1395" y="631"/>
                    <a:pt x="1450" y="624"/>
                    <a:pt x="1503" y="615"/>
                  </a:cubicBezTo>
                  <a:cubicBezTo>
                    <a:pt x="1579" y="603"/>
                    <a:pt x="1649" y="587"/>
                    <a:pt x="1713" y="569"/>
                  </a:cubicBezTo>
                  <a:cubicBezTo>
                    <a:pt x="1935" y="506"/>
                    <a:pt x="2048" y="415"/>
                    <a:pt x="2048" y="301"/>
                  </a:cubicBezTo>
                  <a:cubicBezTo>
                    <a:pt x="2048" y="133"/>
                    <a:pt x="1804" y="46"/>
                    <a:pt x="1592"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sp>
          <p:nvSpPr>
            <p:cNvPr id="43" name="Freeform 29">
              <a:extLst>
                <a:ext uri="{FF2B5EF4-FFF2-40B4-BE49-F238E27FC236}">
                  <a16:creationId xmlns:a16="http://schemas.microsoft.com/office/drawing/2014/main" id="{9B268A59-086E-495E-94D1-7C28DB4DF918}"/>
                </a:ext>
              </a:extLst>
            </p:cNvPr>
            <p:cNvSpPr>
              <a:spLocks/>
            </p:cNvSpPr>
            <p:nvPr/>
          </p:nvSpPr>
          <p:spPr bwMode="auto">
            <a:xfrm>
              <a:off x="9156700" y="1390651"/>
              <a:ext cx="1033463" cy="620713"/>
            </a:xfrm>
            <a:custGeom>
              <a:avLst/>
              <a:gdLst>
                <a:gd name="T0" fmla="*/ 807 w 848"/>
                <a:gd name="T1" fmla="*/ 243 h 509"/>
                <a:gd name="T2" fmla="*/ 766 w 848"/>
                <a:gd name="T3" fmla="*/ 173 h 509"/>
                <a:gd name="T4" fmla="*/ 710 w 848"/>
                <a:gd name="T5" fmla="*/ 111 h 509"/>
                <a:gd name="T6" fmla="*/ 424 w 848"/>
                <a:gd name="T7" fmla="*/ 0 h 509"/>
                <a:gd name="T8" fmla="*/ 139 w 848"/>
                <a:gd name="T9" fmla="*/ 111 h 509"/>
                <a:gd name="T10" fmla="*/ 83 w 848"/>
                <a:gd name="T11" fmla="*/ 172 h 509"/>
                <a:gd name="T12" fmla="*/ 41 w 848"/>
                <a:gd name="T13" fmla="*/ 242 h 509"/>
                <a:gd name="T14" fmla="*/ 0 w 848"/>
                <a:gd name="T15" fmla="*/ 424 h 509"/>
                <a:gd name="T16" fmla="*/ 424 w 848"/>
                <a:gd name="T17" fmla="*/ 509 h 509"/>
                <a:gd name="T18" fmla="*/ 848 w 848"/>
                <a:gd name="T19" fmla="*/ 424 h 509"/>
                <a:gd name="T20" fmla="*/ 807 w 848"/>
                <a:gd name="T21" fmla="*/ 243 h 5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48" h="509">
                  <a:moveTo>
                    <a:pt x="807" y="243"/>
                  </a:moveTo>
                  <a:cubicBezTo>
                    <a:pt x="796" y="219"/>
                    <a:pt x="782" y="195"/>
                    <a:pt x="766" y="173"/>
                  </a:cubicBezTo>
                  <a:cubicBezTo>
                    <a:pt x="749" y="151"/>
                    <a:pt x="730" y="130"/>
                    <a:pt x="710" y="111"/>
                  </a:cubicBezTo>
                  <a:cubicBezTo>
                    <a:pt x="635" y="42"/>
                    <a:pt x="534" y="0"/>
                    <a:pt x="424" y="0"/>
                  </a:cubicBezTo>
                  <a:cubicBezTo>
                    <a:pt x="314" y="0"/>
                    <a:pt x="214" y="42"/>
                    <a:pt x="139" y="111"/>
                  </a:cubicBezTo>
                  <a:cubicBezTo>
                    <a:pt x="118" y="129"/>
                    <a:pt x="100" y="150"/>
                    <a:pt x="83" y="172"/>
                  </a:cubicBezTo>
                  <a:cubicBezTo>
                    <a:pt x="67" y="194"/>
                    <a:pt x="53" y="217"/>
                    <a:pt x="41" y="242"/>
                  </a:cubicBezTo>
                  <a:cubicBezTo>
                    <a:pt x="15" y="297"/>
                    <a:pt x="0" y="359"/>
                    <a:pt x="0" y="424"/>
                  </a:cubicBezTo>
                  <a:cubicBezTo>
                    <a:pt x="0" y="424"/>
                    <a:pt x="190" y="509"/>
                    <a:pt x="424" y="509"/>
                  </a:cubicBezTo>
                  <a:cubicBezTo>
                    <a:pt x="658" y="509"/>
                    <a:pt x="848" y="424"/>
                    <a:pt x="848" y="424"/>
                  </a:cubicBezTo>
                  <a:cubicBezTo>
                    <a:pt x="848" y="359"/>
                    <a:pt x="833" y="298"/>
                    <a:pt x="807" y="2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grpSp>
      <p:grpSp>
        <p:nvGrpSpPr>
          <p:cNvPr id="44" name="Group 76">
            <a:extLst>
              <a:ext uri="{FF2B5EF4-FFF2-40B4-BE49-F238E27FC236}">
                <a16:creationId xmlns:a16="http://schemas.microsoft.com/office/drawing/2014/main" id="{C9A354CF-4D17-45B5-97BA-0318C43F49F4}"/>
              </a:ext>
            </a:extLst>
          </p:cNvPr>
          <p:cNvGrpSpPr/>
          <p:nvPr/>
        </p:nvGrpSpPr>
        <p:grpSpPr>
          <a:xfrm>
            <a:off x="7082346" y="5042993"/>
            <a:ext cx="368750" cy="226396"/>
            <a:chOff x="6411913" y="1622425"/>
            <a:chExt cx="1023937" cy="628651"/>
          </a:xfrm>
          <a:solidFill>
            <a:srgbClr val="FFFFFF"/>
          </a:solidFill>
        </p:grpSpPr>
        <p:sp>
          <p:nvSpPr>
            <p:cNvPr id="45" name="Freeform 21">
              <a:extLst>
                <a:ext uri="{FF2B5EF4-FFF2-40B4-BE49-F238E27FC236}">
                  <a16:creationId xmlns:a16="http://schemas.microsoft.com/office/drawing/2014/main" id="{47527A75-D892-4B8A-9110-3974D4AE53F1}"/>
                </a:ext>
              </a:extLst>
            </p:cNvPr>
            <p:cNvSpPr>
              <a:spLocks/>
            </p:cNvSpPr>
            <p:nvPr/>
          </p:nvSpPr>
          <p:spPr bwMode="auto">
            <a:xfrm>
              <a:off x="6648450" y="2005013"/>
              <a:ext cx="550862" cy="246063"/>
            </a:xfrm>
            <a:custGeom>
              <a:avLst/>
              <a:gdLst>
                <a:gd name="T0" fmla="*/ 622 w 1100"/>
                <a:gd name="T1" fmla="*/ 159 h 493"/>
                <a:gd name="T2" fmla="*/ 550 w 1100"/>
                <a:gd name="T3" fmla="*/ 171 h 493"/>
                <a:gd name="T4" fmla="*/ 478 w 1100"/>
                <a:gd name="T5" fmla="*/ 159 h 493"/>
                <a:gd name="T6" fmla="*/ 0 w 1100"/>
                <a:gd name="T7" fmla="*/ 0 h 493"/>
                <a:gd name="T8" fmla="*/ 0 w 1100"/>
                <a:gd name="T9" fmla="*/ 259 h 493"/>
                <a:gd name="T10" fmla="*/ 52 w 1100"/>
                <a:gd name="T11" fmla="*/ 331 h 493"/>
                <a:gd name="T12" fmla="*/ 526 w 1100"/>
                <a:gd name="T13" fmla="*/ 489 h 493"/>
                <a:gd name="T14" fmla="*/ 550 w 1100"/>
                <a:gd name="T15" fmla="*/ 493 h 493"/>
                <a:gd name="T16" fmla="*/ 574 w 1100"/>
                <a:gd name="T17" fmla="*/ 489 h 493"/>
                <a:gd name="T18" fmla="*/ 1048 w 1100"/>
                <a:gd name="T19" fmla="*/ 331 h 493"/>
                <a:gd name="T20" fmla="*/ 1100 w 1100"/>
                <a:gd name="T21" fmla="*/ 259 h 493"/>
                <a:gd name="T22" fmla="*/ 1100 w 1100"/>
                <a:gd name="T23" fmla="*/ 0 h 493"/>
                <a:gd name="T24" fmla="*/ 622 w 1100"/>
                <a:gd name="T25" fmla="*/ 159 h 4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00" h="493">
                  <a:moveTo>
                    <a:pt x="622" y="159"/>
                  </a:moveTo>
                  <a:cubicBezTo>
                    <a:pt x="599" y="167"/>
                    <a:pt x="575" y="171"/>
                    <a:pt x="550" y="171"/>
                  </a:cubicBezTo>
                  <a:cubicBezTo>
                    <a:pt x="525" y="171"/>
                    <a:pt x="501" y="167"/>
                    <a:pt x="478" y="159"/>
                  </a:cubicBezTo>
                  <a:cubicBezTo>
                    <a:pt x="0" y="0"/>
                    <a:pt x="0" y="0"/>
                    <a:pt x="0" y="0"/>
                  </a:cubicBezTo>
                  <a:cubicBezTo>
                    <a:pt x="0" y="259"/>
                    <a:pt x="0" y="259"/>
                    <a:pt x="0" y="259"/>
                  </a:cubicBezTo>
                  <a:cubicBezTo>
                    <a:pt x="0" y="292"/>
                    <a:pt x="21" y="321"/>
                    <a:pt x="52" y="331"/>
                  </a:cubicBezTo>
                  <a:cubicBezTo>
                    <a:pt x="526" y="489"/>
                    <a:pt x="526" y="489"/>
                    <a:pt x="526" y="489"/>
                  </a:cubicBezTo>
                  <a:cubicBezTo>
                    <a:pt x="534" y="492"/>
                    <a:pt x="542" y="493"/>
                    <a:pt x="550" y="493"/>
                  </a:cubicBezTo>
                  <a:cubicBezTo>
                    <a:pt x="558" y="493"/>
                    <a:pt x="566" y="492"/>
                    <a:pt x="574" y="489"/>
                  </a:cubicBezTo>
                  <a:cubicBezTo>
                    <a:pt x="1048" y="331"/>
                    <a:pt x="1048" y="331"/>
                    <a:pt x="1048" y="331"/>
                  </a:cubicBezTo>
                  <a:cubicBezTo>
                    <a:pt x="1079" y="321"/>
                    <a:pt x="1100" y="292"/>
                    <a:pt x="1100" y="259"/>
                  </a:cubicBezTo>
                  <a:cubicBezTo>
                    <a:pt x="1100" y="0"/>
                    <a:pt x="1100" y="0"/>
                    <a:pt x="1100" y="0"/>
                  </a:cubicBezTo>
                  <a:lnTo>
                    <a:pt x="622" y="1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sp>
          <p:nvSpPr>
            <p:cNvPr id="46" name="Freeform 22">
              <a:extLst>
                <a:ext uri="{FF2B5EF4-FFF2-40B4-BE49-F238E27FC236}">
                  <a16:creationId xmlns:a16="http://schemas.microsoft.com/office/drawing/2014/main" id="{DBBEDFB2-DA62-4DD3-9219-0E0CAB6889B3}"/>
                </a:ext>
              </a:extLst>
            </p:cNvPr>
            <p:cNvSpPr>
              <a:spLocks/>
            </p:cNvSpPr>
            <p:nvPr/>
          </p:nvSpPr>
          <p:spPr bwMode="auto">
            <a:xfrm>
              <a:off x="6411913" y="1622425"/>
              <a:ext cx="1023937" cy="457200"/>
            </a:xfrm>
            <a:custGeom>
              <a:avLst/>
              <a:gdLst>
                <a:gd name="T0" fmla="*/ 1996 w 2048"/>
                <a:gd name="T1" fmla="*/ 320 h 915"/>
                <a:gd name="T2" fmla="*/ 1048 w 2048"/>
                <a:gd name="T3" fmla="*/ 4 h 915"/>
                <a:gd name="T4" fmla="*/ 1024 w 2048"/>
                <a:gd name="T5" fmla="*/ 0 h 915"/>
                <a:gd name="T6" fmla="*/ 1000 w 2048"/>
                <a:gd name="T7" fmla="*/ 4 h 915"/>
                <a:gd name="T8" fmla="*/ 52 w 2048"/>
                <a:gd name="T9" fmla="*/ 320 h 915"/>
                <a:gd name="T10" fmla="*/ 0 w 2048"/>
                <a:gd name="T11" fmla="*/ 392 h 915"/>
                <a:gd name="T12" fmla="*/ 52 w 2048"/>
                <a:gd name="T13" fmla="*/ 464 h 915"/>
                <a:gd name="T14" fmla="*/ 474 w 2048"/>
                <a:gd name="T15" fmla="*/ 605 h 915"/>
                <a:gd name="T16" fmla="*/ 1000 w 2048"/>
                <a:gd name="T17" fmla="*/ 780 h 915"/>
                <a:gd name="T18" fmla="*/ 1024 w 2048"/>
                <a:gd name="T19" fmla="*/ 784 h 915"/>
                <a:gd name="T20" fmla="*/ 1048 w 2048"/>
                <a:gd name="T21" fmla="*/ 780 h 915"/>
                <a:gd name="T22" fmla="*/ 1574 w 2048"/>
                <a:gd name="T23" fmla="*/ 605 h 915"/>
                <a:gd name="T24" fmla="*/ 1896 w 2048"/>
                <a:gd name="T25" fmla="*/ 497 h 915"/>
                <a:gd name="T26" fmla="*/ 1896 w 2048"/>
                <a:gd name="T27" fmla="*/ 840 h 915"/>
                <a:gd name="T28" fmla="*/ 1972 w 2048"/>
                <a:gd name="T29" fmla="*/ 915 h 915"/>
                <a:gd name="T30" fmla="*/ 2048 w 2048"/>
                <a:gd name="T31" fmla="*/ 840 h 915"/>
                <a:gd name="T32" fmla="*/ 2048 w 2048"/>
                <a:gd name="T33" fmla="*/ 392 h 915"/>
                <a:gd name="T34" fmla="*/ 1996 w 2048"/>
                <a:gd name="T35" fmla="*/ 320 h 9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48" h="915">
                  <a:moveTo>
                    <a:pt x="1996" y="320"/>
                  </a:moveTo>
                  <a:cubicBezTo>
                    <a:pt x="1048" y="4"/>
                    <a:pt x="1048" y="4"/>
                    <a:pt x="1048" y="4"/>
                  </a:cubicBezTo>
                  <a:cubicBezTo>
                    <a:pt x="1040" y="1"/>
                    <a:pt x="1032" y="0"/>
                    <a:pt x="1024" y="0"/>
                  </a:cubicBezTo>
                  <a:cubicBezTo>
                    <a:pt x="1016" y="0"/>
                    <a:pt x="1008" y="1"/>
                    <a:pt x="1000" y="4"/>
                  </a:cubicBezTo>
                  <a:cubicBezTo>
                    <a:pt x="52" y="320"/>
                    <a:pt x="52" y="320"/>
                    <a:pt x="52" y="320"/>
                  </a:cubicBezTo>
                  <a:cubicBezTo>
                    <a:pt x="21" y="330"/>
                    <a:pt x="0" y="359"/>
                    <a:pt x="0" y="392"/>
                  </a:cubicBezTo>
                  <a:cubicBezTo>
                    <a:pt x="0" y="425"/>
                    <a:pt x="21" y="454"/>
                    <a:pt x="52" y="464"/>
                  </a:cubicBezTo>
                  <a:cubicBezTo>
                    <a:pt x="474" y="605"/>
                    <a:pt x="474" y="605"/>
                    <a:pt x="474" y="605"/>
                  </a:cubicBezTo>
                  <a:cubicBezTo>
                    <a:pt x="1000" y="780"/>
                    <a:pt x="1000" y="780"/>
                    <a:pt x="1000" y="780"/>
                  </a:cubicBezTo>
                  <a:cubicBezTo>
                    <a:pt x="1008" y="783"/>
                    <a:pt x="1016" y="784"/>
                    <a:pt x="1024" y="784"/>
                  </a:cubicBezTo>
                  <a:cubicBezTo>
                    <a:pt x="1032" y="784"/>
                    <a:pt x="1040" y="783"/>
                    <a:pt x="1048" y="780"/>
                  </a:cubicBezTo>
                  <a:cubicBezTo>
                    <a:pt x="1574" y="605"/>
                    <a:pt x="1574" y="605"/>
                    <a:pt x="1574" y="605"/>
                  </a:cubicBezTo>
                  <a:cubicBezTo>
                    <a:pt x="1896" y="497"/>
                    <a:pt x="1896" y="497"/>
                    <a:pt x="1896" y="497"/>
                  </a:cubicBezTo>
                  <a:cubicBezTo>
                    <a:pt x="1896" y="840"/>
                    <a:pt x="1896" y="840"/>
                    <a:pt x="1896" y="840"/>
                  </a:cubicBezTo>
                  <a:cubicBezTo>
                    <a:pt x="1896" y="881"/>
                    <a:pt x="1930" y="915"/>
                    <a:pt x="1972" y="915"/>
                  </a:cubicBezTo>
                  <a:cubicBezTo>
                    <a:pt x="2014" y="915"/>
                    <a:pt x="2048" y="881"/>
                    <a:pt x="2048" y="840"/>
                  </a:cubicBezTo>
                  <a:cubicBezTo>
                    <a:pt x="2048" y="392"/>
                    <a:pt x="2048" y="392"/>
                    <a:pt x="2048" y="392"/>
                  </a:cubicBezTo>
                  <a:cubicBezTo>
                    <a:pt x="2048" y="359"/>
                    <a:pt x="2027" y="330"/>
                    <a:pt x="1996" y="3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grpSp>
      <p:sp>
        <p:nvSpPr>
          <p:cNvPr id="47" name="TextBox 79">
            <a:extLst>
              <a:ext uri="{FF2B5EF4-FFF2-40B4-BE49-F238E27FC236}">
                <a16:creationId xmlns:a16="http://schemas.microsoft.com/office/drawing/2014/main" id="{6179D50C-18A2-4D8C-AB5B-0A08684D7E9B}"/>
              </a:ext>
            </a:extLst>
          </p:cNvPr>
          <p:cNvSpPr txBox="1"/>
          <p:nvPr/>
        </p:nvSpPr>
        <p:spPr>
          <a:xfrm>
            <a:off x="5366006" y="4348839"/>
            <a:ext cx="1459989" cy="553998"/>
          </a:xfrm>
          <a:prstGeom prst="rect">
            <a:avLst/>
          </a:prstGeom>
          <a:noFill/>
        </p:spPr>
        <p:txBody>
          <a:bodyPr wrap="square" lIns="0" tIns="0" rIns="0" bIns="0" rtlCol="0">
            <a:spAutoFit/>
          </a:bodyPr>
          <a:lstStyle/>
          <a:p>
            <a:pPr marL="0" marR="0" lvl="0" indent="0" algn="ctr" defTabSz="457200" rtl="0" eaLnBrk="1" fontAlgn="base" latinLnBrk="0" hangingPunct="1">
              <a:lnSpc>
                <a:spcPct val="100000"/>
              </a:lnSpc>
              <a:spcBef>
                <a:spcPts val="1000"/>
              </a:spcBef>
              <a:spcAft>
                <a:spcPts val="0"/>
              </a:spcAft>
              <a:buClrTx/>
              <a:buSzTx/>
              <a:buFontTx/>
              <a:buNone/>
              <a:tabLst/>
              <a:defRPr/>
            </a:pPr>
            <a:r>
              <a:rPr kumimoji="0" lang="en-US" sz="1800" b="0" i="0" u="none" strike="noStrike" kern="1200" cap="none" spc="0" normalizeH="0" baseline="0" noProof="0" dirty="0">
                <a:ln>
                  <a:noFill/>
                </a:ln>
                <a:solidFill>
                  <a:prstClr val="black">
                    <a:lumMod val="75000"/>
                    <a:lumOff val="25000"/>
                  </a:prstClr>
                </a:solidFill>
                <a:effectLst/>
                <a:uLnTx/>
                <a:uFillTx/>
                <a:latin typeface="HarmonyOS Sans SC Black"/>
                <a:ea typeface="+mj-ea"/>
                <a:cs typeface="+mn-cs"/>
              </a:rPr>
              <a:t>Your title</a:t>
            </a:r>
            <a:br>
              <a:rPr kumimoji="0" lang="en-US" sz="1800" b="0" i="0" u="none" strike="noStrike" kern="1200" cap="none" spc="0" normalizeH="0" baseline="0" noProof="0" dirty="0">
                <a:ln>
                  <a:noFill/>
                </a:ln>
                <a:solidFill>
                  <a:prstClr val="black">
                    <a:lumMod val="75000"/>
                    <a:lumOff val="25000"/>
                  </a:prstClr>
                </a:solidFill>
                <a:effectLst/>
                <a:uLnTx/>
                <a:uFillTx/>
                <a:latin typeface="HarmonyOS Sans SC Black"/>
                <a:ea typeface="+mj-ea"/>
                <a:cs typeface="+mn-cs"/>
              </a:rPr>
            </a:br>
            <a:r>
              <a:rPr kumimoji="0" lang="en-US" sz="1800" b="0" i="0" u="none" strike="noStrike" kern="1200" cap="none" spc="0" normalizeH="0" baseline="0" noProof="0" dirty="0">
                <a:ln>
                  <a:noFill/>
                </a:ln>
                <a:solidFill>
                  <a:prstClr val="black">
                    <a:lumMod val="75000"/>
                    <a:lumOff val="25000"/>
                  </a:prstClr>
                </a:solidFill>
                <a:effectLst/>
                <a:uLnTx/>
                <a:uFillTx/>
                <a:latin typeface="HarmonyOS Sans SC Black"/>
                <a:ea typeface="+mj-ea"/>
                <a:cs typeface="+mn-cs"/>
              </a:rPr>
              <a:t>is here</a:t>
            </a:r>
          </a:p>
        </p:txBody>
      </p:sp>
      <p:grpSp>
        <p:nvGrpSpPr>
          <p:cNvPr id="58" name="组合 57">
            <a:extLst>
              <a:ext uri="{FF2B5EF4-FFF2-40B4-BE49-F238E27FC236}">
                <a16:creationId xmlns:a16="http://schemas.microsoft.com/office/drawing/2014/main" id="{A88D1D8E-3AE3-4BFE-B9DE-FBD6F6CD5FDF}"/>
              </a:ext>
            </a:extLst>
          </p:cNvPr>
          <p:cNvGrpSpPr/>
          <p:nvPr/>
        </p:nvGrpSpPr>
        <p:grpSpPr>
          <a:xfrm>
            <a:off x="2058652" y="4731254"/>
            <a:ext cx="2262702" cy="846145"/>
            <a:chOff x="1508465" y="2482630"/>
            <a:chExt cx="2262702" cy="846145"/>
          </a:xfrm>
        </p:grpSpPr>
        <p:sp>
          <p:nvSpPr>
            <p:cNvPr id="59" name="TextBox 65">
              <a:extLst>
                <a:ext uri="{FF2B5EF4-FFF2-40B4-BE49-F238E27FC236}">
                  <a16:creationId xmlns:a16="http://schemas.microsoft.com/office/drawing/2014/main" id="{FDE731AB-79A1-4F71-B974-4D8F8CF35ACA}"/>
                </a:ext>
              </a:extLst>
            </p:cNvPr>
            <p:cNvSpPr txBox="1"/>
            <p:nvPr/>
          </p:nvSpPr>
          <p:spPr>
            <a:xfrm>
              <a:off x="1714906" y="2482630"/>
              <a:ext cx="2056261" cy="352588"/>
            </a:xfrm>
            <a:prstGeom prst="rect">
              <a:avLst/>
            </a:prstGeom>
            <a:noFill/>
          </p:spPr>
          <p:txBody>
            <a:bodyPr wrap="square" lIns="0" tIns="36000" rIns="0" bIns="36000" rtlCol="0">
              <a:spAutoFit/>
            </a:bodyPr>
            <a:lstStyle/>
            <a:p>
              <a:pPr marL="0" marR="0" lvl="0" indent="0" algn="r" defTabSz="914400" rtl="0" eaLnBrk="1" fontAlgn="auto" latinLnBrk="0" hangingPunct="1">
                <a:lnSpc>
                  <a:spcPct val="120000"/>
                </a:lnSpc>
                <a:spcBef>
                  <a:spcPts val="600"/>
                </a:spcBef>
                <a:spcAft>
                  <a:spcPts val="0"/>
                </a:spcAft>
                <a:buClrTx/>
                <a:buSzTx/>
                <a:buFontTx/>
                <a:buNone/>
                <a:tabLst/>
                <a:defRPr/>
              </a:pPr>
              <a:r>
                <a:rPr kumimoji="0" lang="zh-CN" altLang="en-US" sz="1600" b="0" i="0" u="none" strike="noStrike" kern="1200" cap="none" spc="0" normalizeH="0" baseline="0" noProof="0" dirty="0">
                  <a:ln>
                    <a:noFill/>
                  </a:ln>
                  <a:solidFill>
                    <a:schemeClr val="accent1"/>
                  </a:solidFill>
                  <a:effectLst/>
                  <a:uLnTx/>
                  <a:uFillTx/>
                  <a:latin typeface="HarmonyOS Sans SC Black"/>
                  <a:ea typeface="+mj-ea"/>
                  <a:cs typeface="+mn-cs"/>
                </a:rPr>
                <a:t>关键词标题</a:t>
              </a:r>
              <a:endParaRPr kumimoji="0" lang="en-US" sz="1600" b="0" i="0" u="none" strike="noStrike" kern="1200" cap="none" spc="0" normalizeH="0" baseline="0" noProof="0" dirty="0">
                <a:ln>
                  <a:noFill/>
                </a:ln>
                <a:solidFill>
                  <a:schemeClr val="accent1"/>
                </a:solidFill>
                <a:effectLst/>
                <a:uLnTx/>
                <a:uFillTx/>
                <a:latin typeface="HarmonyOS Sans SC Black"/>
                <a:ea typeface="+mj-ea"/>
                <a:cs typeface="+mn-cs"/>
              </a:endParaRPr>
            </a:p>
          </p:txBody>
        </p:sp>
        <p:sp>
          <p:nvSpPr>
            <p:cNvPr id="60" name="TextBox 65">
              <a:extLst>
                <a:ext uri="{FF2B5EF4-FFF2-40B4-BE49-F238E27FC236}">
                  <a16:creationId xmlns:a16="http://schemas.microsoft.com/office/drawing/2014/main" id="{C24739CD-BDA5-4288-BE97-DB41D418C00B}"/>
                </a:ext>
              </a:extLst>
            </p:cNvPr>
            <p:cNvSpPr txBox="1"/>
            <p:nvPr/>
          </p:nvSpPr>
          <p:spPr>
            <a:xfrm>
              <a:off x="1508465" y="2866029"/>
              <a:ext cx="2262702" cy="462746"/>
            </a:xfrm>
            <a:prstGeom prst="rect">
              <a:avLst/>
            </a:prstGeom>
            <a:noFill/>
          </p:spPr>
          <p:txBody>
            <a:bodyPr wrap="square" lIns="0" tIns="36000" rIns="0" bIns="36000" rtlCol="0">
              <a:spAutoFit/>
            </a:bodyPr>
            <a:lstStyle/>
            <a:p>
              <a:pPr marL="0" marR="0" lvl="0" indent="0" algn="r" defTabSz="914400" rtl="0" eaLnBrk="1" fontAlgn="auto" latinLnBrk="0" hangingPunct="1">
                <a:lnSpc>
                  <a:spcPct val="120000"/>
                </a:lnSpc>
                <a:spcBef>
                  <a:spcPts val="600"/>
                </a:spcBef>
                <a:spcAft>
                  <a:spcPts val="0"/>
                </a:spcAft>
                <a:buClrTx/>
                <a:buSzTx/>
                <a:buFontTx/>
                <a:buNone/>
                <a:tabLst/>
                <a:defRPr/>
              </a:pPr>
              <a:r>
                <a:rPr kumimoji="0" lang="en-US" sz="1100" b="0" i="0" u="none" strike="noStrike" kern="1200" cap="none" spc="0" normalizeH="0" baseline="0" noProof="0" dirty="0">
                  <a:ln>
                    <a:noFill/>
                  </a:ln>
                  <a:solidFill>
                    <a:prstClr val="black">
                      <a:lumMod val="50000"/>
                      <a:lumOff val="50000"/>
                    </a:prstClr>
                  </a:solidFill>
                  <a:effectLst/>
                  <a:uLnTx/>
                  <a:uFillTx/>
                  <a:latin typeface="HarmonyOS Sans SC"/>
                  <a:cs typeface="+mn-cs"/>
                </a:rPr>
                <a:t>Apparently we had reached a great height in the.</a:t>
              </a:r>
            </a:p>
          </p:txBody>
        </p:sp>
      </p:grpSp>
      <p:grpSp>
        <p:nvGrpSpPr>
          <p:cNvPr id="61" name="组合 60">
            <a:extLst>
              <a:ext uri="{FF2B5EF4-FFF2-40B4-BE49-F238E27FC236}">
                <a16:creationId xmlns:a16="http://schemas.microsoft.com/office/drawing/2014/main" id="{8E28EDF5-FFAD-4DAF-B2BA-D69715029336}"/>
              </a:ext>
            </a:extLst>
          </p:cNvPr>
          <p:cNvGrpSpPr/>
          <p:nvPr/>
        </p:nvGrpSpPr>
        <p:grpSpPr>
          <a:xfrm>
            <a:off x="8077468" y="4735713"/>
            <a:ext cx="2262702" cy="846145"/>
            <a:chOff x="8423300" y="2482630"/>
            <a:chExt cx="2262702" cy="846145"/>
          </a:xfrm>
        </p:grpSpPr>
        <p:sp>
          <p:nvSpPr>
            <p:cNvPr id="62" name="TextBox 65">
              <a:extLst>
                <a:ext uri="{FF2B5EF4-FFF2-40B4-BE49-F238E27FC236}">
                  <a16:creationId xmlns:a16="http://schemas.microsoft.com/office/drawing/2014/main" id="{7A2A2E22-286B-4028-B00F-7E8DB0E170D2}"/>
                </a:ext>
              </a:extLst>
            </p:cNvPr>
            <p:cNvSpPr txBox="1"/>
            <p:nvPr/>
          </p:nvSpPr>
          <p:spPr>
            <a:xfrm flipH="1">
              <a:off x="8423300" y="2482630"/>
              <a:ext cx="2056261" cy="352588"/>
            </a:xfrm>
            <a:prstGeom prst="rect">
              <a:avLst/>
            </a:prstGeom>
            <a:noFill/>
          </p:spPr>
          <p:txBody>
            <a:bodyPr wrap="square" lIns="0" tIns="36000" rIns="0" bIns="36000" rtlCol="0">
              <a:spAutoFit/>
            </a:bodyPr>
            <a:lstStyle/>
            <a:p>
              <a:pPr marL="0" marR="0" lvl="0" indent="0" algn="l" defTabSz="914400" rtl="0" eaLnBrk="1" fontAlgn="auto" latinLnBrk="0" hangingPunct="1">
                <a:lnSpc>
                  <a:spcPct val="120000"/>
                </a:lnSpc>
                <a:spcBef>
                  <a:spcPts val="600"/>
                </a:spcBef>
                <a:spcAft>
                  <a:spcPts val="0"/>
                </a:spcAft>
                <a:buClrTx/>
                <a:buSzTx/>
                <a:buFontTx/>
                <a:buNone/>
                <a:tabLst/>
                <a:defRPr/>
              </a:pPr>
              <a:r>
                <a:rPr kumimoji="0" lang="zh-CN" altLang="en-US" sz="1600" b="0" i="0" u="none" strike="noStrike" kern="1200" cap="none" spc="0" normalizeH="0" baseline="0" noProof="0" dirty="0">
                  <a:ln>
                    <a:noFill/>
                  </a:ln>
                  <a:solidFill>
                    <a:schemeClr val="accent1"/>
                  </a:solidFill>
                  <a:effectLst/>
                  <a:uLnTx/>
                  <a:uFillTx/>
                  <a:latin typeface="HarmonyOS Sans SC Black"/>
                  <a:ea typeface="+mj-ea"/>
                  <a:cs typeface="+mn-cs"/>
                </a:rPr>
                <a:t>关键词标题</a:t>
              </a:r>
              <a:endParaRPr kumimoji="0" lang="en-US" sz="1600" b="0" i="0" u="none" strike="noStrike" kern="1200" cap="none" spc="0" normalizeH="0" baseline="0" noProof="0" dirty="0">
                <a:ln>
                  <a:noFill/>
                </a:ln>
                <a:solidFill>
                  <a:schemeClr val="accent1"/>
                </a:solidFill>
                <a:effectLst/>
                <a:uLnTx/>
                <a:uFillTx/>
                <a:latin typeface="HarmonyOS Sans SC Black"/>
                <a:ea typeface="+mj-ea"/>
                <a:cs typeface="+mn-cs"/>
              </a:endParaRPr>
            </a:p>
          </p:txBody>
        </p:sp>
        <p:sp>
          <p:nvSpPr>
            <p:cNvPr id="63" name="TextBox 65">
              <a:extLst>
                <a:ext uri="{FF2B5EF4-FFF2-40B4-BE49-F238E27FC236}">
                  <a16:creationId xmlns:a16="http://schemas.microsoft.com/office/drawing/2014/main" id="{29B5C582-E4F8-420B-BFD3-32DD8EBCB9CF}"/>
                </a:ext>
              </a:extLst>
            </p:cNvPr>
            <p:cNvSpPr txBox="1"/>
            <p:nvPr/>
          </p:nvSpPr>
          <p:spPr>
            <a:xfrm flipH="1">
              <a:off x="8423300" y="2866029"/>
              <a:ext cx="2262702" cy="462746"/>
            </a:xfrm>
            <a:prstGeom prst="rect">
              <a:avLst/>
            </a:prstGeom>
            <a:noFill/>
          </p:spPr>
          <p:txBody>
            <a:bodyPr wrap="square" lIns="0" tIns="36000" rIns="0" bIns="36000" rtlCol="0">
              <a:spAutoFit/>
            </a:bodyPr>
            <a:lstStyle/>
            <a:p>
              <a:pPr marL="0" marR="0" lvl="0" indent="0" algn="l" defTabSz="914400" rtl="0" eaLnBrk="1" fontAlgn="auto" latinLnBrk="0" hangingPunct="1">
                <a:lnSpc>
                  <a:spcPct val="120000"/>
                </a:lnSpc>
                <a:spcBef>
                  <a:spcPts val="600"/>
                </a:spcBef>
                <a:spcAft>
                  <a:spcPts val="0"/>
                </a:spcAft>
                <a:buClrTx/>
                <a:buSzTx/>
                <a:buFontTx/>
                <a:buNone/>
                <a:tabLst/>
                <a:defRPr/>
              </a:pPr>
              <a:r>
                <a:rPr kumimoji="0" lang="en-US" sz="1100" b="0" i="0" u="none" strike="noStrike" kern="1200" cap="none" spc="0" normalizeH="0" baseline="0" noProof="0" dirty="0">
                  <a:ln>
                    <a:noFill/>
                  </a:ln>
                  <a:solidFill>
                    <a:prstClr val="black">
                      <a:lumMod val="50000"/>
                      <a:lumOff val="50000"/>
                    </a:prstClr>
                  </a:solidFill>
                  <a:effectLst/>
                  <a:uLnTx/>
                  <a:uFillTx/>
                  <a:latin typeface="HarmonyOS Sans SC"/>
                  <a:cs typeface="+mn-cs"/>
                </a:rPr>
                <a:t>Apparently we had reached a great height in the.</a:t>
              </a:r>
            </a:p>
          </p:txBody>
        </p:sp>
      </p:grpSp>
      <p:grpSp>
        <p:nvGrpSpPr>
          <p:cNvPr id="64" name="组合 63">
            <a:extLst>
              <a:ext uri="{FF2B5EF4-FFF2-40B4-BE49-F238E27FC236}">
                <a16:creationId xmlns:a16="http://schemas.microsoft.com/office/drawing/2014/main" id="{8161113C-8E08-4BDA-A516-75ACDEFE9091}"/>
              </a:ext>
            </a:extLst>
          </p:cNvPr>
          <p:cNvGrpSpPr/>
          <p:nvPr/>
        </p:nvGrpSpPr>
        <p:grpSpPr>
          <a:xfrm>
            <a:off x="5005284" y="1808407"/>
            <a:ext cx="2181434" cy="878811"/>
            <a:chOff x="4977847" y="4094711"/>
            <a:chExt cx="2056261" cy="828384"/>
          </a:xfrm>
        </p:grpSpPr>
        <p:sp>
          <p:nvSpPr>
            <p:cNvPr id="65" name="TextBox 65">
              <a:extLst>
                <a:ext uri="{FF2B5EF4-FFF2-40B4-BE49-F238E27FC236}">
                  <a16:creationId xmlns:a16="http://schemas.microsoft.com/office/drawing/2014/main" id="{08382675-F554-43A6-B2D7-7F74AA9E5DFF}"/>
                </a:ext>
              </a:extLst>
            </p:cNvPr>
            <p:cNvSpPr txBox="1"/>
            <p:nvPr/>
          </p:nvSpPr>
          <p:spPr>
            <a:xfrm>
              <a:off x="4977847" y="4094711"/>
              <a:ext cx="2056261" cy="299355"/>
            </a:xfrm>
            <a:prstGeom prst="rect">
              <a:avLst/>
            </a:prstGeom>
            <a:noFill/>
          </p:spPr>
          <p:txBody>
            <a:bodyPr wrap="square" lIns="0" tIns="36000" rIns="0" bIns="36000" rtlCol="0">
              <a:spAutoFit/>
            </a:bodyPr>
            <a:lstStyle/>
            <a:p>
              <a:pPr marL="0" marR="0" lvl="0" indent="0" algn="ctr" defTabSz="914400" rtl="0" eaLnBrk="1" fontAlgn="auto" latinLnBrk="0" hangingPunct="1">
                <a:lnSpc>
                  <a:spcPct val="120000"/>
                </a:lnSpc>
                <a:spcBef>
                  <a:spcPts val="600"/>
                </a:spcBef>
                <a:spcAft>
                  <a:spcPts val="0"/>
                </a:spcAft>
                <a:buClrTx/>
                <a:buSzTx/>
                <a:buFontTx/>
                <a:buNone/>
                <a:tabLst/>
                <a:defRPr/>
              </a:pPr>
              <a:r>
                <a:rPr kumimoji="0" lang="zh-CN" altLang="en-US" sz="1400" b="0" i="0" u="none" strike="noStrike" kern="1200" cap="none" spc="0" normalizeH="0" baseline="0" noProof="0" dirty="0">
                  <a:ln>
                    <a:noFill/>
                  </a:ln>
                  <a:solidFill>
                    <a:schemeClr val="accent1"/>
                  </a:solidFill>
                  <a:effectLst/>
                  <a:uLnTx/>
                  <a:uFillTx/>
                  <a:latin typeface="HarmonyOS Sans SC Black"/>
                  <a:ea typeface="+mj-ea"/>
                  <a:cs typeface="+mn-cs"/>
                </a:rPr>
                <a:t>关键词标题</a:t>
              </a:r>
              <a:endParaRPr kumimoji="0" lang="en-US" sz="1400" b="0" i="0" u="none" strike="noStrike" kern="1200" cap="none" spc="0" normalizeH="0" baseline="0" noProof="0" dirty="0">
                <a:ln>
                  <a:noFill/>
                </a:ln>
                <a:solidFill>
                  <a:schemeClr val="accent1"/>
                </a:solidFill>
                <a:effectLst/>
                <a:uLnTx/>
                <a:uFillTx/>
                <a:latin typeface="HarmonyOS Sans SC Black"/>
                <a:ea typeface="+mj-ea"/>
                <a:cs typeface="+mn-cs"/>
              </a:endParaRPr>
            </a:p>
          </p:txBody>
        </p:sp>
        <p:sp>
          <p:nvSpPr>
            <p:cNvPr id="66" name="TextBox 65">
              <a:extLst>
                <a:ext uri="{FF2B5EF4-FFF2-40B4-BE49-F238E27FC236}">
                  <a16:creationId xmlns:a16="http://schemas.microsoft.com/office/drawing/2014/main" id="{2667D7C5-DBB3-4EC6-9FD1-5C6EF6D9361F}"/>
                </a:ext>
              </a:extLst>
            </p:cNvPr>
            <p:cNvSpPr txBox="1"/>
            <p:nvPr/>
          </p:nvSpPr>
          <p:spPr>
            <a:xfrm>
              <a:off x="5079094" y="4478110"/>
              <a:ext cx="1853768" cy="444985"/>
            </a:xfrm>
            <a:prstGeom prst="rect">
              <a:avLst/>
            </a:prstGeom>
            <a:noFill/>
          </p:spPr>
          <p:txBody>
            <a:bodyPr wrap="square" lIns="0" tIns="36000" rIns="0" bIns="36000" rtlCol="0">
              <a:spAutoFit/>
            </a:bodyPr>
            <a:lstStyle/>
            <a:p>
              <a:pPr marL="0" marR="0" lvl="0" indent="0" algn="ctr" defTabSz="914400" rtl="0" eaLnBrk="1" fontAlgn="auto" latinLnBrk="0" hangingPunct="1">
                <a:lnSpc>
                  <a:spcPct val="120000"/>
                </a:lnSpc>
                <a:spcBef>
                  <a:spcPts val="600"/>
                </a:spcBef>
                <a:spcAft>
                  <a:spcPts val="0"/>
                </a:spcAft>
                <a:buClrTx/>
                <a:buSzTx/>
                <a:buFontTx/>
                <a:buNone/>
                <a:tabLst/>
                <a:defRPr/>
              </a:pPr>
              <a:r>
                <a:rPr kumimoji="0" lang="en-US" sz="1050" b="0" i="0" u="none" strike="noStrike" kern="1200" cap="none" spc="0" normalizeH="0" baseline="0" noProof="0" dirty="0">
                  <a:ln>
                    <a:noFill/>
                  </a:ln>
                  <a:solidFill>
                    <a:prstClr val="black">
                      <a:lumMod val="50000"/>
                      <a:lumOff val="50000"/>
                    </a:prstClr>
                  </a:solidFill>
                  <a:effectLst/>
                  <a:uLnTx/>
                  <a:uFillTx/>
                  <a:latin typeface="HarmonyOS Sans SC"/>
                  <a:cs typeface="+mn-cs"/>
                </a:rPr>
                <a:t>Apparently we had reached a great height in the.</a:t>
              </a:r>
            </a:p>
          </p:txBody>
        </p:sp>
      </p:grpSp>
    </p:spTree>
    <p:extLst>
      <p:ext uri="{BB962C8B-B14F-4D97-AF65-F5344CB8AC3E}">
        <p14:creationId xmlns:p14="http://schemas.microsoft.com/office/powerpoint/2010/main" val="3358051005"/>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4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mart…">
            <a:extLst>
              <a:ext uri="{FF2B5EF4-FFF2-40B4-BE49-F238E27FC236}">
                <a16:creationId xmlns:a16="http://schemas.microsoft.com/office/drawing/2014/main" id="{229C7331-9EBB-4448-A74B-6E06EADC2C0A}"/>
              </a:ext>
            </a:extLst>
          </p:cNvPr>
          <p:cNvSpPr txBox="1"/>
          <p:nvPr/>
        </p:nvSpPr>
        <p:spPr>
          <a:xfrm>
            <a:off x="5464824" y="3657448"/>
            <a:ext cx="1277594" cy="52770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a:spAutoFit/>
          </a:bodyPr>
          <a:lstStyle/>
          <a:p>
            <a:pPr marL="0" marR="0" lvl="0" indent="0" algn="ctr" defTabSz="412750" rtl="0" eaLnBrk="1" fontAlgn="auto" latinLnBrk="0" hangingPunct="0">
              <a:lnSpc>
                <a:spcPct val="150000"/>
              </a:lnSpc>
              <a:spcBef>
                <a:spcPts val="0"/>
              </a:spcBef>
              <a:spcAft>
                <a:spcPts val="0"/>
              </a:spcAft>
              <a:buClrTx/>
              <a:buSzTx/>
              <a:buFontTx/>
              <a:buNone/>
              <a:tabLst/>
              <a:defRPr sz="2400" b="0">
                <a:solidFill>
                  <a:srgbClr val="F6F9FF"/>
                </a:solidFill>
                <a:latin typeface="Poppins Bold"/>
                <a:ea typeface="Poppins Bold"/>
                <a:cs typeface="Poppins Bold"/>
                <a:sym typeface="Poppins Bold"/>
              </a:defRPr>
            </a:pPr>
            <a:r>
              <a:rPr kumimoji="0" sz="1400" b="0" i="0" u="none" strike="noStrike" kern="0" cap="none" spc="0" normalizeH="0" baseline="0" noProof="0" dirty="0">
                <a:ln>
                  <a:noFill/>
                </a:ln>
                <a:solidFill>
                  <a:schemeClr val="accent1"/>
                </a:solidFill>
                <a:effectLst/>
                <a:uLnTx/>
                <a:uFillTx/>
                <a:latin typeface="HarmonyOS Sans SC Black"/>
                <a:ea typeface="+mj-ea"/>
                <a:cs typeface="Poppins Bold"/>
                <a:sym typeface="Poppins Bold"/>
              </a:rPr>
              <a:t>Smart</a:t>
            </a:r>
          </a:p>
          <a:p>
            <a:pPr marL="0" marR="0" lvl="0" indent="0" algn="ctr" defTabSz="412750" rtl="0" eaLnBrk="1" fontAlgn="auto" latinLnBrk="0" hangingPunct="0">
              <a:lnSpc>
                <a:spcPct val="150000"/>
              </a:lnSpc>
              <a:spcBef>
                <a:spcPts val="0"/>
              </a:spcBef>
              <a:spcAft>
                <a:spcPts val="0"/>
              </a:spcAft>
              <a:buClrTx/>
              <a:buSzTx/>
              <a:buFontTx/>
              <a:buNone/>
              <a:tabLst/>
              <a:defRPr sz="1800" b="0">
                <a:solidFill>
                  <a:srgbClr val="C8CBD1"/>
                </a:solidFill>
                <a:latin typeface="Poppins Light"/>
                <a:ea typeface="Poppins Light"/>
                <a:cs typeface="Poppins Light"/>
                <a:sym typeface="Poppins Light"/>
              </a:defRPr>
            </a:pPr>
            <a:r>
              <a:rPr kumimoji="0" sz="1000" b="0" i="0" u="none" strike="noStrike" kern="0" cap="none" spc="0" normalizeH="0" baseline="0" noProof="0" dirty="0">
                <a:ln>
                  <a:noFill/>
                </a:ln>
                <a:solidFill>
                  <a:prstClr val="black">
                    <a:lumMod val="50000"/>
                    <a:lumOff val="50000"/>
                  </a:prstClr>
                </a:solidFill>
                <a:effectLst/>
                <a:uLnTx/>
                <a:uFillTx/>
                <a:latin typeface="HarmonyOS Sans SC"/>
                <a:cs typeface="Poppins Light"/>
                <a:sym typeface="Poppins Light"/>
              </a:rPr>
              <a:t>The Main Department</a:t>
            </a:r>
          </a:p>
        </p:txBody>
      </p:sp>
      <p:sp>
        <p:nvSpPr>
          <p:cNvPr id="4" name="Freeform 22">
            <a:extLst>
              <a:ext uri="{FF2B5EF4-FFF2-40B4-BE49-F238E27FC236}">
                <a16:creationId xmlns:a16="http://schemas.microsoft.com/office/drawing/2014/main" id="{2B836C98-5DCC-443F-9CDC-9C111F81DA83}"/>
              </a:ext>
            </a:extLst>
          </p:cNvPr>
          <p:cNvSpPr/>
          <p:nvPr/>
        </p:nvSpPr>
        <p:spPr>
          <a:xfrm>
            <a:off x="5292478" y="1952192"/>
            <a:ext cx="1611400" cy="1377748"/>
          </a:xfrm>
          <a:custGeom>
            <a:avLst/>
            <a:gdLst/>
            <a:ahLst/>
            <a:cxnLst>
              <a:cxn ang="0">
                <a:pos x="wd2" y="hd2"/>
              </a:cxn>
              <a:cxn ang="5400000">
                <a:pos x="wd2" y="hd2"/>
              </a:cxn>
              <a:cxn ang="10800000">
                <a:pos x="wd2" y="hd2"/>
              </a:cxn>
              <a:cxn ang="16200000">
                <a:pos x="wd2" y="hd2"/>
              </a:cxn>
            </a:cxnLst>
            <a:rect l="0" t="0" r="r" b="b"/>
            <a:pathLst>
              <a:path w="21528" h="21356" extrusionOk="0">
                <a:moveTo>
                  <a:pt x="10332" y="163"/>
                </a:moveTo>
                <a:cubicBezTo>
                  <a:pt x="4397" y="4701"/>
                  <a:pt x="565" y="12207"/>
                  <a:pt x="2" y="20410"/>
                </a:cubicBezTo>
                <a:cubicBezTo>
                  <a:pt x="-36" y="21065"/>
                  <a:pt x="527" y="21545"/>
                  <a:pt x="1091" y="21283"/>
                </a:cubicBezTo>
                <a:cubicBezTo>
                  <a:pt x="4134" y="19756"/>
                  <a:pt x="7439" y="18970"/>
                  <a:pt x="10745" y="18970"/>
                </a:cubicBezTo>
                <a:cubicBezTo>
                  <a:pt x="14089" y="18970"/>
                  <a:pt x="17394" y="19756"/>
                  <a:pt x="20437" y="21283"/>
                </a:cubicBezTo>
                <a:cubicBezTo>
                  <a:pt x="20963" y="21545"/>
                  <a:pt x="21564" y="21065"/>
                  <a:pt x="21526" y="20410"/>
                </a:cubicBezTo>
                <a:cubicBezTo>
                  <a:pt x="20963" y="12207"/>
                  <a:pt x="17131" y="4658"/>
                  <a:pt x="11196" y="163"/>
                </a:cubicBezTo>
                <a:cubicBezTo>
                  <a:pt x="10933" y="-55"/>
                  <a:pt x="10595" y="-55"/>
                  <a:pt x="10332" y="163"/>
                </a:cubicBezTo>
                <a:close/>
              </a:path>
            </a:pathLst>
          </a:custGeom>
          <a:gradFill>
            <a:gsLst>
              <a:gs pos="73000">
                <a:schemeClr val="accent1"/>
              </a:gs>
              <a:gs pos="31000">
                <a:schemeClr val="accent1">
                  <a:lumMod val="60000"/>
                  <a:lumOff val="40000"/>
                </a:schemeClr>
              </a:gs>
              <a:gs pos="0">
                <a:schemeClr val="accent1">
                  <a:lumMod val="40000"/>
                  <a:lumOff val="60000"/>
                </a:schemeClr>
              </a:gs>
            </a:gsLst>
            <a:path path="circle">
              <a:fillToRect r="100000" b="100000"/>
            </a:path>
          </a:gradFill>
          <a:ln>
            <a:noFill/>
          </a:ln>
          <a:effectLst>
            <a:outerShdw blurRad="444500" dist="317500" dir="5400000" sx="92000" sy="92000" algn="t" rotWithShape="0">
              <a:schemeClr val="accent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white"/>
              </a:solidFill>
              <a:effectLst/>
              <a:uLnTx/>
              <a:uFillTx/>
              <a:latin typeface="HarmonyOS Sans SC"/>
              <a:cs typeface="+mn-cs"/>
              <a:sym typeface="Poppins Regular"/>
            </a:endParaRPr>
          </a:p>
        </p:txBody>
      </p:sp>
      <p:sp>
        <p:nvSpPr>
          <p:cNvPr id="5" name="P">
            <a:extLst>
              <a:ext uri="{FF2B5EF4-FFF2-40B4-BE49-F238E27FC236}">
                <a16:creationId xmlns:a16="http://schemas.microsoft.com/office/drawing/2014/main" id="{D13932A8-438D-4E38-B26D-0E73EE2D0D54}"/>
              </a:ext>
            </a:extLst>
          </p:cNvPr>
          <p:cNvSpPr txBox="1"/>
          <p:nvPr/>
        </p:nvSpPr>
        <p:spPr>
          <a:xfrm>
            <a:off x="5981960" y="2358970"/>
            <a:ext cx="232436" cy="564193"/>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numCol="1" anchor="ctr">
            <a:spAutoFit/>
          </a:bodyPr>
          <a:lstStyle>
            <a:lvl1pPr defTabSz="914400">
              <a:lnSpc>
                <a:spcPct val="150000"/>
              </a:lnSpc>
              <a:tabLst>
                <a:tab pos="1384300" algn="l"/>
              </a:tabLst>
              <a:defRPr sz="5500" b="0">
                <a:solidFill>
                  <a:srgbClr val="F7F9FF"/>
                </a:solidFill>
                <a:latin typeface="linea-basic-10"/>
                <a:ea typeface="linea-basic-10"/>
                <a:cs typeface="linea-basic-10"/>
                <a:sym typeface="linea-basic-10"/>
              </a:defRPr>
            </a:lvl1pPr>
          </a:lstStyle>
          <a:p>
            <a:pPr marL="0" marR="0" lvl="0" indent="0" algn="ctr" defTabSz="457200" rtl="0" eaLnBrk="1" fontAlgn="auto" latinLnBrk="0" hangingPunct="0">
              <a:lnSpc>
                <a:spcPct val="150000"/>
              </a:lnSpc>
              <a:spcBef>
                <a:spcPts val="0"/>
              </a:spcBef>
              <a:spcAft>
                <a:spcPts val="0"/>
              </a:spcAft>
              <a:buClrTx/>
              <a:buSzTx/>
              <a:buFontTx/>
              <a:buNone/>
              <a:tabLst>
                <a:tab pos="692150" algn="l"/>
              </a:tabLst>
              <a:defRPr/>
            </a:pPr>
            <a:r>
              <a:rPr kumimoji="0" sz="2750" b="0" i="0" u="none" strike="noStrike" kern="0" cap="none" spc="0" normalizeH="0" baseline="0" noProof="0" dirty="0">
                <a:ln>
                  <a:noFill/>
                </a:ln>
                <a:solidFill>
                  <a:prstClr val="white"/>
                </a:solidFill>
                <a:effectLst/>
                <a:uLnTx/>
                <a:uFillTx/>
                <a:latin typeface="HarmonyOS Sans SC Black"/>
                <a:ea typeface="+mj-ea"/>
                <a:sym typeface="linea-basic-10"/>
              </a:rPr>
              <a:t>P</a:t>
            </a:r>
          </a:p>
        </p:txBody>
      </p:sp>
      <p:sp>
        <p:nvSpPr>
          <p:cNvPr id="6" name="Freeform 23">
            <a:extLst>
              <a:ext uri="{FF2B5EF4-FFF2-40B4-BE49-F238E27FC236}">
                <a16:creationId xmlns:a16="http://schemas.microsoft.com/office/drawing/2014/main" id="{1A24E2BC-E567-4C65-8977-E3EC4A95F4F2}"/>
              </a:ext>
            </a:extLst>
          </p:cNvPr>
          <p:cNvSpPr/>
          <p:nvPr/>
        </p:nvSpPr>
        <p:spPr>
          <a:xfrm>
            <a:off x="6235574" y="3554982"/>
            <a:ext cx="1582548" cy="1573583"/>
          </a:xfrm>
          <a:custGeom>
            <a:avLst/>
            <a:gdLst/>
            <a:ahLst/>
            <a:cxnLst>
              <a:cxn ang="0">
                <a:pos x="wd2" y="hd2"/>
              </a:cxn>
              <a:cxn ang="5400000">
                <a:pos x="wd2" y="hd2"/>
              </a:cxn>
              <a:cxn ang="10800000">
                <a:pos x="wd2" y="hd2"/>
              </a:cxn>
              <a:cxn ang="16200000">
                <a:pos x="wd2" y="hd2"/>
              </a:cxn>
            </a:cxnLst>
            <a:rect l="0" t="0" r="r" b="b"/>
            <a:pathLst>
              <a:path w="21404" h="21415" extrusionOk="0">
                <a:moveTo>
                  <a:pt x="11360" y="121"/>
                </a:moveTo>
                <a:cubicBezTo>
                  <a:pt x="10865" y="-185"/>
                  <a:pt x="10181" y="121"/>
                  <a:pt x="10143" y="696"/>
                </a:cubicBezTo>
                <a:cubicBezTo>
                  <a:pt x="9762" y="4066"/>
                  <a:pt x="8698" y="7321"/>
                  <a:pt x="6986" y="10270"/>
                </a:cubicBezTo>
                <a:cubicBezTo>
                  <a:pt x="5313" y="13219"/>
                  <a:pt x="3031" y="15785"/>
                  <a:pt x="331" y="17815"/>
                </a:cubicBezTo>
                <a:cubicBezTo>
                  <a:pt x="-163" y="18160"/>
                  <a:pt x="-87" y="18887"/>
                  <a:pt x="445" y="19117"/>
                </a:cubicBezTo>
                <a:cubicBezTo>
                  <a:pt x="3602" y="20649"/>
                  <a:pt x="7024" y="21415"/>
                  <a:pt x="10523" y="21415"/>
                </a:cubicBezTo>
                <a:cubicBezTo>
                  <a:pt x="14098" y="21415"/>
                  <a:pt x="17672" y="20572"/>
                  <a:pt x="20905" y="18926"/>
                </a:cubicBezTo>
                <a:cubicBezTo>
                  <a:pt x="21247" y="18772"/>
                  <a:pt x="21437" y="18428"/>
                  <a:pt x="21399" y="18083"/>
                </a:cubicBezTo>
                <a:cubicBezTo>
                  <a:pt x="20981" y="10883"/>
                  <a:pt x="17216" y="4219"/>
                  <a:pt x="11360" y="121"/>
                </a:cubicBezTo>
                <a:close/>
              </a:path>
            </a:pathLst>
          </a:custGeom>
          <a:gradFill>
            <a:gsLst>
              <a:gs pos="73000">
                <a:schemeClr val="accent1"/>
              </a:gs>
              <a:gs pos="31000">
                <a:schemeClr val="accent1">
                  <a:lumMod val="60000"/>
                  <a:lumOff val="40000"/>
                </a:schemeClr>
              </a:gs>
              <a:gs pos="0">
                <a:schemeClr val="accent1">
                  <a:lumMod val="40000"/>
                  <a:lumOff val="60000"/>
                </a:schemeClr>
              </a:gs>
            </a:gsLst>
            <a:path path="circle">
              <a:fillToRect r="100000" b="100000"/>
            </a:path>
          </a:gradFill>
          <a:ln>
            <a:noFill/>
          </a:ln>
          <a:effectLst>
            <a:outerShdw blurRad="444500" dist="317500" dir="5400000" sx="92000" sy="92000" algn="t" rotWithShape="0">
              <a:schemeClr val="accent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white"/>
              </a:solidFill>
              <a:effectLst/>
              <a:uLnTx/>
              <a:uFillTx/>
              <a:latin typeface="HarmonyOS Sans SC"/>
              <a:cs typeface="+mn-cs"/>
              <a:sym typeface="Poppins Regular"/>
            </a:endParaRPr>
          </a:p>
        </p:txBody>
      </p:sp>
      <p:sp>
        <p:nvSpPr>
          <p:cNvPr id="7" name="/">
            <a:extLst>
              <a:ext uri="{FF2B5EF4-FFF2-40B4-BE49-F238E27FC236}">
                <a16:creationId xmlns:a16="http://schemas.microsoft.com/office/drawing/2014/main" id="{61926DAA-927B-421C-A4DF-5C685F4DA92C}"/>
              </a:ext>
            </a:extLst>
          </p:cNvPr>
          <p:cNvSpPr txBox="1"/>
          <p:nvPr/>
        </p:nvSpPr>
        <p:spPr>
          <a:xfrm>
            <a:off x="7125299" y="4248159"/>
            <a:ext cx="158698" cy="564193"/>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numCol="1" anchor="ctr">
            <a:spAutoFit/>
          </a:bodyPr>
          <a:lstStyle>
            <a:lvl1pPr defTabSz="914400">
              <a:lnSpc>
                <a:spcPct val="150000"/>
              </a:lnSpc>
              <a:tabLst>
                <a:tab pos="1384300" algn="l"/>
              </a:tabLst>
              <a:defRPr sz="5500" b="0">
                <a:solidFill>
                  <a:srgbClr val="F7F9FF"/>
                </a:solidFill>
                <a:latin typeface="linea-basic-10"/>
                <a:ea typeface="linea-basic-10"/>
                <a:cs typeface="linea-basic-10"/>
                <a:sym typeface="linea-basic-10"/>
              </a:defRPr>
            </a:lvl1pPr>
          </a:lstStyle>
          <a:p>
            <a:pPr marL="0" marR="0" lvl="0" indent="0" algn="ctr" defTabSz="457200" rtl="0" eaLnBrk="1" fontAlgn="auto" latinLnBrk="0" hangingPunct="0">
              <a:lnSpc>
                <a:spcPct val="150000"/>
              </a:lnSpc>
              <a:spcBef>
                <a:spcPts val="0"/>
              </a:spcBef>
              <a:spcAft>
                <a:spcPts val="0"/>
              </a:spcAft>
              <a:buClrTx/>
              <a:buSzTx/>
              <a:buFontTx/>
              <a:buNone/>
              <a:tabLst>
                <a:tab pos="692150" algn="l"/>
              </a:tabLst>
              <a:defRPr/>
            </a:pPr>
            <a:r>
              <a:rPr kumimoji="0" sz="2750" b="0" i="0" u="none" strike="noStrike" kern="0" cap="none" spc="0" normalizeH="0" baseline="0" noProof="0" dirty="0">
                <a:ln>
                  <a:noFill/>
                </a:ln>
                <a:solidFill>
                  <a:prstClr val="white"/>
                </a:solidFill>
                <a:effectLst/>
                <a:uLnTx/>
                <a:uFillTx/>
                <a:latin typeface="HarmonyOS Sans SC Black"/>
                <a:ea typeface="+mj-ea"/>
                <a:sym typeface="linea-basic-10"/>
              </a:rPr>
              <a:t>/</a:t>
            </a:r>
          </a:p>
        </p:txBody>
      </p:sp>
      <p:sp>
        <p:nvSpPr>
          <p:cNvPr id="8" name="Freeform 24">
            <a:extLst>
              <a:ext uri="{FF2B5EF4-FFF2-40B4-BE49-F238E27FC236}">
                <a16:creationId xmlns:a16="http://schemas.microsoft.com/office/drawing/2014/main" id="{061B4721-6D28-450E-9860-BF9B42ABE002}"/>
              </a:ext>
            </a:extLst>
          </p:cNvPr>
          <p:cNvSpPr/>
          <p:nvPr/>
        </p:nvSpPr>
        <p:spPr>
          <a:xfrm>
            <a:off x="4389120" y="3574220"/>
            <a:ext cx="1548685" cy="1543398"/>
          </a:xfrm>
          <a:custGeom>
            <a:avLst/>
            <a:gdLst/>
            <a:ahLst/>
            <a:cxnLst>
              <a:cxn ang="0">
                <a:pos x="wd2" y="hd2"/>
              </a:cxn>
              <a:cxn ang="5400000">
                <a:pos x="wd2" y="hd2"/>
              </a:cxn>
              <a:cxn ang="10800000">
                <a:pos x="wd2" y="hd2"/>
              </a:cxn>
              <a:cxn ang="16200000">
                <a:pos x="wd2" y="hd2"/>
              </a:cxn>
            </a:cxnLst>
            <a:rect l="0" t="0" r="r" b="b"/>
            <a:pathLst>
              <a:path w="21400" h="21417" extrusionOk="0">
                <a:moveTo>
                  <a:pt x="20945" y="19230"/>
                </a:moveTo>
                <a:cubicBezTo>
                  <a:pt x="21489" y="18956"/>
                  <a:pt x="21567" y="18214"/>
                  <a:pt x="21062" y="17863"/>
                </a:cubicBezTo>
                <a:cubicBezTo>
                  <a:pt x="18381" y="15831"/>
                  <a:pt x="16128" y="13254"/>
                  <a:pt x="14419" y="10285"/>
                </a:cubicBezTo>
                <a:cubicBezTo>
                  <a:pt x="12709" y="7356"/>
                  <a:pt x="11622" y="4075"/>
                  <a:pt x="11233" y="715"/>
                </a:cubicBezTo>
                <a:cubicBezTo>
                  <a:pt x="11155" y="90"/>
                  <a:pt x="10456" y="-183"/>
                  <a:pt x="9990" y="129"/>
                </a:cubicBezTo>
                <a:cubicBezTo>
                  <a:pt x="4124" y="4309"/>
                  <a:pt x="433" y="10949"/>
                  <a:pt x="6" y="18136"/>
                </a:cubicBezTo>
                <a:cubicBezTo>
                  <a:pt x="-33" y="18488"/>
                  <a:pt x="122" y="18761"/>
                  <a:pt x="433" y="18917"/>
                </a:cubicBezTo>
                <a:cubicBezTo>
                  <a:pt x="3696" y="20558"/>
                  <a:pt x="7309" y="21417"/>
                  <a:pt x="10961" y="21417"/>
                </a:cubicBezTo>
                <a:cubicBezTo>
                  <a:pt x="14419" y="21417"/>
                  <a:pt x="17838" y="20675"/>
                  <a:pt x="20945" y="19230"/>
                </a:cubicBezTo>
                <a:close/>
              </a:path>
            </a:pathLst>
          </a:custGeom>
          <a:gradFill>
            <a:gsLst>
              <a:gs pos="73000">
                <a:schemeClr val="accent1"/>
              </a:gs>
              <a:gs pos="31000">
                <a:schemeClr val="accent1">
                  <a:lumMod val="60000"/>
                  <a:lumOff val="40000"/>
                </a:schemeClr>
              </a:gs>
              <a:gs pos="0">
                <a:schemeClr val="accent1">
                  <a:lumMod val="40000"/>
                  <a:lumOff val="60000"/>
                </a:schemeClr>
              </a:gs>
            </a:gsLst>
            <a:path path="circle">
              <a:fillToRect r="100000" b="100000"/>
            </a:path>
          </a:gradFill>
          <a:ln>
            <a:noFill/>
          </a:ln>
          <a:effectLst>
            <a:outerShdw blurRad="444500" dist="317500" dir="5400000" sx="92000" sy="92000" algn="t" rotWithShape="0">
              <a:schemeClr val="accent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white"/>
              </a:solidFill>
              <a:effectLst/>
              <a:uLnTx/>
              <a:uFillTx/>
              <a:latin typeface="HarmonyOS Sans SC"/>
              <a:cs typeface="+mn-cs"/>
              <a:sym typeface="Poppins Regular"/>
            </a:endParaRPr>
          </a:p>
        </p:txBody>
      </p:sp>
      <p:sp>
        <p:nvSpPr>
          <p:cNvPr id="9" name="-">
            <a:extLst>
              <a:ext uri="{FF2B5EF4-FFF2-40B4-BE49-F238E27FC236}">
                <a16:creationId xmlns:a16="http://schemas.microsoft.com/office/drawing/2014/main" id="{82948974-CDD1-43D1-A0F8-BF546F69E1DB}"/>
              </a:ext>
            </a:extLst>
          </p:cNvPr>
          <p:cNvSpPr txBox="1"/>
          <p:nvPr/>
        </p:nvSpPr>
        <p:spPr>
          <a:xfrm>
            <a:off x="4899100" y="4248160"/>
            <a:ext cx="173124" cy="564193"/>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numCol="1" anchor="ctr">
            <a:spAutoFit/>
          </a:bodyPr>
          <a:lstStyle>
            <a:lvl1pPr defTabSz="914400">
              <a:lnSpc>
                <a:spcPct val="150000"/>
              </a:lnSpc>
              <a:tabLst>
                <a:tab pos="1384300" algn="l"/>
              </a:tabLst>
              <a:defRPr sz="5500" b="0">
                <a:solidFill>
                  <a:srgbClr val="F7F9FF"/>
                </a:solidFill>
                <a:latin typeface="linea-basic-10"/>
                <a:ea typeface="linea-basic-10"/>
                <a:cs typeface="linea-basic-10"/>
                <a:sym typeface="linea-basic-10"/>
              </a:defRPr>
            </a:lvl1pPr>
          </a:lstStyle>
          <a:p>
            <a:pPr marL="0" marR="0" lvl="0" indent="0" algn="ctr" defTabSz="457200" rtl="0" eaLnBrk="1" fontAlgn="auto" latinLnBrk="0" hangingPunct="0">
              <a:lnSpc>
                <a:spcPct val="150000"/>
              </a:lnSpc>
              <a:spcBef>
                <a:spcPts val="0"/>
              </a:spcBef>
              <a:spcAft>
                <a:spcPts val="0"/>
              </a:spcAft>
              <a:buClrTx/>
              <a:buSzTx/>
              <a:buFontTx/>
              <a:buNone/>
              <a:tabLst>
                <a:tab pos="692150" algn="l"/>
              </a:tabLst>
              <a:defRPr/>
            </a:pPr>
            <a:r>
              <a:rPr kumimoji="0" sz="2750" b="0" i="0" u="none" strike="noStrike" kern="0" cap="none" spc="0" normalizeH="0" baseline="0" noProof="0">
                <a:ln>
                  <a:noFill/>
                </a:ln>
                <a:solidFill>
                  <a:prstClr val="white"/>
                </a:solidFill>
                <a:effectLst/>
                <a:uLnTx/>
                <a:uFillTx/>
                <a:latin typeface="HarmonyOS Sans SC Black"/>
                <a:ea typeface="+mj-ea"/>
                <a:sym typeface="linea-basic-10"/>
              </a:rPr>
              <a:t>-</a:t>
            </a:r>
          </a:p>
        </p:txBody>
      </p:sp>
      <p:sp>
        <p:nvSpPr>
          <p:cNvPr id="10" name="Uniquely incubate timely infomediaries and B2C…">
            <a:extLst>
              <a:ext uri="{FF2B5EF4-FFF2-40B4-BE49-F238E27FC236}">
                <a16:creationId xmlns:a16="http://schemas.microsoft.com/office/drawing/2014/main" id="{8744D15E-D53B-4D40-9322-30B61D339C54}"/>
              </a:ext>
            </a:extLst>
          </p:cNvPr>
          <p:cNvSpPr txBox="1"/>
          <p:nvPr/>
        </p:nvSpPr>
        <p:spPr>
          <a:xfrm>
            <a:off x="8671585" y="2921428"/>
            <a:ext cx="2906245" cy="81137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nchor="t">
            <a:spAutoFit/>
          </a:bodyPr>
          <a:lstStyle/>
          <a:p>
            <a:pPr marL="0" marR="0" lvl="0" indent="0" algn="l" defTabSz="412750" rtl="0" eaLnBrk="1" fontAlgn="auto" latinLnBrk="0" hangingPunct="0">
              <a:lnSpc>
                <a:spcPct val="150000"/>
              </a:lnSpc>
              <a:spcBef>
                <a:spcPts val="500"/>
              </a:spcBef>
              <a:spcAft>
                <a:spcPts val="0"/>
              </a:spcAft>
              <a:buClrTx/>
              <a:buSzTx/>
              <a:buFontTx/>
              <a:buNone/>
              <a:tabLst/>
              <a:defRPr sz="1800" b="0">
                <a:solidFill>
                  <a:srgbClr val="C8CBD1"/>
                </a:solidFill>
                <a:latin typeface="Poppins Light"/>
                <a:ea typeface="Poppins Light"/>
                <a:cs typeface="Poppins Light"/>
                <a:sym typeface="Poppins Light"/>
              </a:defRPr>
            </a:pPr>
            <a:r>
              <a:rPr kumimoji="0" sz="900" b="0" i="0" u="none" strike="noStrike" kern="0" cap="none" spc="0" normalizeH="0" baseline="0" noProof="0" dirty="0">
                <a:ln>
                  <a:noFill/>
                </a:ln>
                <a:solidFill>
                  <a:prstClr val="black">
                    <a:lumMod val="50000"/>
                    <a:lumOff val="50000"/>
                  </a:prstClr>
                </a:solidFill>
                <a:effectLst/>
                <a:uLnTx/>
                <a:uFillTx/>
                <a:latin typeface="HarmonyOS Sans SC"/>
                <a:cs typeface="Poppins Light"/>
                <a:sym typeface="Poppins Light"/>
              </a:rPr>
              <a:t>Uniquely incubate timely infomediaries and B2C infomediaries. The collaboratively scale frictionless methods of empowerment vis-a-vis future-proof meta-services.</a:t>
            </a:r>
          </a:p>
        </p:txBody>
      </p:sp>
      <p:cxnSp>
        <p:nvCxnSpPr>
          <p:cNvPr id="11" name="Straight Connector 18">
            <a:extLst>
              <a:ext uri="{FF2B5EF4-FFF2-40B4-BE49-F238E27FC236}">
                <a16:creationId xmlns:a16="http://schemas.microsoft.com/office/drawing/2014/main" id="{C291F9D1-67B0-4A55-9D9E-0CB795D6C448}"/>
              </a:ext>
            </a:extLst>
          </p:cNvPr>
          <p:cNvCxnSpPr/>
          <p:nvPr/>
        </p:nvCxnSpPr>
        <p:spPr>
          <a:xfrm>
            <a:off x="8671213" y="2554100"/>
            <a:ext cx="347400" cy="0"/>
          </a:xfrm>
          <a:prstGeom prst="line">
            <a:avLst/>
          </a:prstGeom>
          <a:noFill/>
          <a:ln w="25400" cap="flat">
            <a:solidFill>
              <a:schemeClr val="accent1"/>
            </a:solidFill>
            <a:prstDash val="solid"/>
            <a:miter lim="400000"/>
          </a:ln>
          <a:effectLst/>
          <a:sp3d/>
        </p:spPr>
        <p:style>
          <a:lnRef idx="0">
            <a:scrgbClr r="0" g="0" b="0"/>
          </a:lnRef>
          <a:fillRef idx="0">
            <a:scrgbClr r="0" g="0" b="0"/>
          </a:fillRef>
          <a:effectRef idx="0">
            <a:scrgbClr r="0" g="0" b="0"/>
          </a:effectRef>
          <a:fontRef idx="none"/>
        </p:style>
      </p:cxnSp>
      <p:sp>
        <p:nvSpPr>
          <p:cNvPr id="15" name="文本框 14">
            <a:extLst>
              <a:ext uri="{FF2B5EF4-FFF2-40B4-BE49-F238E27FC236}">
                <a16:creationId xmlns:a16="http://schemas.microsoft.com/office/drawing/2014/main" id="{1FD463F1-9435-4CDC-8463-A4B0803BB6E7}"/>
              </a:ext>
            </a:extLst>
          </p:cNvPr>
          <p:cNvSpPr txBox="1"/>
          <p:nvPr/>
        </p:nvSpPr>
        <p:spPr>
          <a:xfrm>
            <a:off x="950412" y="3242782"/>
            <a:ext cx="2730235" cy="83099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2400" b="0" i="0" u="none" strike="noStrike" kern="1200" cap="none" spc="0" normalizeH="0" baseline="0" noProof="0" dirty="0">
                <a:ln>
                  <a:noFill/>
                </a:ln>
                <a:solidFill>
                  <a:schemeClr val="accent1"/>
                </a:solidFill>
                <a:effectLst/>
                <a:uLnTx/>
                <a:uFillTx/>
                <a:latin typeface="HarmonyOS Sans Black"/>
                <a:ea typeface="+mj-ea"/>
                <a:cs typeface="+mn-cs"/>
              </a:rPr>
              <a:t>Infographic</a:t>
            </a:r>
            <a:r>
              <a:rPr kumimoji="0" lang="en-US" altLang="zh-CN" sz="2400" b="0" i="0" u="none" strike="noStrike" kern="1200" cap="none" spc="0" normalizeH="0" baseline="0" noProof="0" dirty="0">
                <a:ln>
                  <a:noFill/>
                </a:ln>
                <a:solidFill>
                  <a:prstClr val="black"/>
                </a:solidFill>
                <a:effectLst/>
                <a:uLnTx/>
                <a:uFillTx/>
                <a:latin typeface="HarmonyOS Sans Black"/>
                <a:ea typeface="+mj-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2400" b="0" i="0" u="none" strike="noStrike" kern="1200" cap="none" spc="0" normalizeH="0" baseline="0" noProof="0" dirty="0">
                <a:ln>
                  <a:noFill/>
                </a:ln>
                <a:solidFill>
                  <a:prstClr val="black"/>
                </a:solidFill>
                <a:effectLst/>
                <a:uLnTx/>
                <a:uFillTx/>
                <a:latin typeface="HarmonyOS Sans Black"/>
                <a:ea typeface="+mj-ea"/>
                <a:cs typeface="+mn-cs"/>
              </a:rPr>
              <a:t>Element Analysis</a:t>
            </a:r>
          </a:p>
        </p:txBody>
      </p:sp>
      <p:sp>
        <p:nvSpPr>
          <p:cNvPr id="16" name="文本框 15">
            <a:extLst>
              <a:ext uri="{FF2B5EF4-FFF2-40B4-BE49-F238E27FC236}">
                <a16:creationId xmlns:a16="http://schemas.microsoft.com/office/drawing/2014/main" id="{C0CE6DE0-3083-43FB-BCFE-7F68A43E3DC1}"/>
              </a:ext>
            </a:extLst>
          </p:cNvPr>
          <p:cNvSpPr txBox="1"/>
          <p:nvPr/>
        </p:nvSpPr>
        <p:spPr>
          <a:xfrm>
            <a:off x="950412" y="4205382"/>
            <a:ext cx="2739853"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050" b="0" i="0" u="none" strike="noStrike" kern="1200" cap="none" spc="0" normalizeH="0" baseline="0" noProof="0" dirty="0">
                <a:ln>
                  <a:noFill/>
                </a:ln>
                <a:solidFill>
                  <a:prstClr val="black">
                    <a:lumMod val="50000"/>
                    <a:lumOff val="50000"/>
                  </a:prstClr>
                </a:solidFill>
                <a:effectLst/>
                <a:uLnTx/>
                <a:uFillTx/>
                <a:latin typeface="HarmonyOS Sans SC"/>
                <a:cs typeface="+mn-cs"/>
              </a:rPr>
              <a:t>Motion Creative Multipurpose Template</a:t>
            </a:r>
          </a:p>
        </p:txBody>
      </p:sp>
      <p:sp>
        <p:nvSpPr>
          <p:cNvPr id="17" name="80%…">
            <a:extLst>
              <a:ext uri="{FF2B5EF4-FFF2-40B4-BE49-F238E27FC236}">
                <a16:creationId xmlns:a16="http://schemas.microsoft.com/office/drawing/2014/main" id="{B4752F8E-4120-4CCB-8970-5AC466D021DC}"/>
              </a:ext>
            </a:extLst>
          </p:cNvPr>
          <p:cNvSpPr txBox="1"/>
          <p:nvPr/>
        </p:nvSpPr>
        <p:spPr>
          <a:xfrm>
            <a:off x="8671213" y="4100788"/>
            <a:ext cx="629632" cy="32829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nchor="t">
            <a:spAutoFit/>
          </a:bodyPr>
          <a:lstStyle/>
          <a:p>
            <a:pPr marL="0" marR="0" lvl="0" indent="0" algn="l" defTabSz="412750" rtl="0" eaLnBrk="1" fontAlgn="auto" latinLnBrk="0" hangingPunct="0">
              <a:lnSpc>
                <a:spcPct val="150000"/>
              </a:lnSpc>
              <a:spcBef>
                <a:spcPts val="0"/>
              </a:spcBef>
              <a:spcAft>
                <a:spcPts val="0"/>
              </a:spcAft>
              <a:buClrTx/>
              <a:buSzTx/>
              <a:buFontTx/>
              <a:buNone/>
              <a:tabLst/>
              <a:defRPr sz="2400" b="0">
                <a:solidFill>
                  <a:srgbClr val="F6F9FF"/>
                </a:solidFill>
                <a:latin typeface="Poppins Bold"/>
                <a:ea typeface="Poppins Bold"/>
                <a:cs typeface="Poppins Bold"/>
                <a:sym typeface="Poppins Bold"/>
              </a:defRPr>
            </a:pPr>
            <a:r>
              <a:rPr kumimoji="0" sz="1600" b="0" i="0" u="none" strike="noStrike" kern="0" cap="none" spc="0" normalizeH="0" baseline="0" noProof="0" dirty="0">
                <a:ln>
                  <a:noFill/>
                </a:ln>
                <a:solidFill>
                  <a:schemeClr val="accent1"/>
                </a:solidFill>
                <a:effectLst/>
                <a:uLnTx/>
                <a:uFillTx/>
                <a:latin typeface="HarmonyOS Sans SC Black"/>
                <a:ea typeface="+mj-ea"/>
                <a:cs typeface="Poppins Bold"/>
                <a:sym typeface="Poppins Bold"/>
              </a:rPr>
              <a:t>80%</a:t>
            </a:r>
            <a:endParaRPr kumimoji="0" sz="1050" b="0" i="0" u="none" strike="noStrike" kern="0" cap="none" spc="0" normalizeH="0" baseline="0" noProof="0" dirty="0">
              <a:ln>
                <a:noFill/>
              </a:ln>
              <a:solidFill>
                <a:schemeClr val="accent1"/>
              </a:solidFill>
              <a:effectLst/>
              <a:uLnTx/>
              <a:uFillTx/>
              <a:latin typeface="HarmonyOS Sans SC Black"/>
              <a:ea typeface="+mj-ea"/>
              <a:cs typeface="Poppins Light"/>
              <a:sym typeface="Poppins Light"/>
            </a:endParaRPr>
          </a:p>
        </p:txBody>
      </p:sp>
      <p:sp>
        <p:nvSpPr>
          <p:cNvPr id="18" name="80%…">
            <a:extLst>
              <a:ext uri="{FF2B5EF4-FFF2-40B4-BE49-F238E27FC236}">
                <a16:creationId xmlns:a16="http://schemas.microsoft.com/office/drawing/2014/main" id="{D1B29D75-2FE5-4CF1-8027-7A096BAB1B8F}"/>
              </a:ext>
            </a:extLst>
          </p:cNvPr>
          <p:cNvSpPr txBox="1"/>
          <p:nvPr/>
        </p:nvSpPr>
        <p:spPr>
          <a:xfrm>
            <a:off x="8671213" y="4389736"/>
            <a:ext cx="756617" cy="18408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nchor="t">
            <a:spAutoFit/>
          </a:bodyPr>
          <a:lstStyle/>
          <a:p>
            <a:pPr marL="0" marR="0" lvl="0" indent="0" algn="l" defTabSz="412750" rtl="0" eaLnBrk="1" fontAlgn="auto" latinLnBrk="0" hangingPunct="0">
              <a:lnSpc>
                <a:spcPct val="150000"/>
              </a:lnSpc>
              <a:spcBef>
                <a:spcPts val="0"/>
              </a:spcBef>
              <a:spcAft>
                <a:spcPts val="0"/>
              </a:spcAft>
              <a:buClrTx/>
              <a:buSzTx/>
              <a:buFontTx/>
              <a:buNone/>
              <a:tabLst/>
              <a:defRPr sz="1800" b="0">
                <a:solidFill>
                  <a:srgbClr val="C8CBD1"/>
                </a:solidFill>
                <a:latin typeface="Poppins Light"/>
                <a:ea typeface="Poppins Light"/>
                <a:cs typeface="Poppins Light"/>
                <a:sym typeface="Poppins Light"/>
              </a:defRPr>
            </a:pPr>
            <a:r>
              <a:rPr kumimoji="0" sz="900" b="0" i="0" u="none" strike="noStrike" kern="0" cap="none" spc="0" normalizeH="0" baseline="0" noProof="0">
                <a:ln>
                  <a:noFill/>
                </a:ln>
                <a:solidFill>
                  <a:prstClr val="black">
                    <a:lumMod val="50000"/>
                    <a:lumOff val="50000"/>
                  </a:prstClr>
                </a:solidFill>
                <a:effectLst/>
                <a:uLnTx/>
                <a:uFillTx/>
                <a:latin typeface="HarmonyOS Sans SC"/>
                <a:cs typeface="Poppins Light"/>
                <a:sym typeface="Poppins Light"/>
              </a:rPr>
              <a:t>Creativity </a:t>
            </a:r>
            <a:r>
              <a:rPr kumimoji="0" sz="900" b="0" i="0" u="none" strike="noStrike" kern="0" cap="none" spc="0" normalizeH="0" baseline="0" noProof="0" dirty="0">
                <a:ln>
                  <a:noFill/>
                </a:ln>
                <a:solidFill>
                  <a:prstClr val="black">
                    <a:lumMod val="50000"/>
                    <a:lumOff val="50000"/>
                  </a:prstClr>
                </a:solidFill>
                <a:effectLst/>
                <a:uLnTx/>
                <a:uFillTx/>
                <a:latin typeface="HarmonyOS Sans SC"/>
                <a:cs typeface="Poppins Light"/>
                <a:sym typeface="Poppins Light"/>
              </a:rPr>
              <a:t>Plan</a:t>
            </a:r>
          </a:p>
        </p:txBody>
      </p:sp>
      <p:sp>
        <p:nvSpPr>
          <p:cNvPr id="19" name="50%…">
            <a:extLst>
              <a:ext uri="{FF2B5EF4-FFF2-40B4-BE49-F238E27FC236}">
                <a16:creationId xmlns:a16="http://schemas.microsoft.com/office/drawing/2014/main" id="{69109872-D4BB-4389-A33B-331605C175CD}"/>
              </a:ext>
            </a:extLst>
          </p:cNvPr>
          <p:cNvSpPr txBox="1"/>
          <p:nvPr/>
        </p:nvSpPr>
        <p:spPr>
          <a:xfrm>
            <a:off x="10115025" y="4100788"/>
            <a:ext cx="629632" cy="32829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nchor="t">
            <a:spAutoFit/>
          </a:bodyPr>
          <a:lstStyle/>
          <a:p>
            <a:pPr marL="0" marR="0" lvl="0" indent="0" algn="l" defTabSz="412750" rtl="0" eaLnBrk="1" fontAlgn="auto" latinLnBrk="0" hangingPunct="0">
              <a:lnSpc>
                <a:spcPct val="150000"/>
              </a:lnSpc>
              <a:spcBef>
                <a:spcPts val="0"/>
              </a:spcBef>
              <a:spcAft>
                <a:spcPts val="0"/>
              </a:spcAft>
              <a:buClrTx/>
              <a:buSzTx/>
              <a:buFontTx/>
              <a:buNone/>
              <a:tabLst/>
              <a:defRPr sz="2400" b="0">
                <a:solidFill>
                  <a:srgbClr val="F6F9FF"/>
                </a:solidFill>
                <a:latin typeface="Poppins Bold"/>
                <a:ea typeface="Poppins Bold"/>
                <a:cs typeface="Poppins Bold"/>
                <a:sym typeface="Poppins Bold"/>
              </a:defRPr>
            </a:pPr>
            <a:r>
              <a:rPr kumimoji="0" lang="en-US" sz="1600" b="0" i="0" u="none" strike="noStrike" kern="0" cap="none" spc="0" normalizeH="0" baseline="0" noProof="0" dirty="0">
                <a:ln>
                  <a:noFill/>
                </a:ln>
                <a:solidFill>
                  <a:schemeClr val="accent1"/>
                </a:solidFill>
                <a:effectLst/>
                <a:uLnTx/>
                <a:uFillTx/>
                <a:latin typeface="HarmonyOS Sans SC Black"/>
                <a:ea typeface="+mj-ea"/>
                <a:cs typeface="Poppins Bold"/>
                <a:sym typeface="Poppins Bold"/>
              </a:rPr>
              <a:t>50%</a:t>
            </a:r>
            <a:endParaRPr kumimoji="0" lang="en-US" sz="1050" b="0" i="0" u="none" strike="noStrike" kern="0" cap="none" spc="0" normalizeH="0" baseline="0" noProof="0" dirty="0">
              <a:ln>
                <a:noFill/>
              </a:ln>
              <a:solidFill>
                <a:schemeClr val="accent1"/>
              </a:solidFill>
              <a:effectLst/>
              <a:uLnTx/>
              <a:uFillTx/>
              <a:latin typeface="HarmonyOS Sans SC Black"/>
              <a:ea typeface="+mj-ea"/>
              <a:cs typeface="Poppins Light"/>
              <a:sym typeface="Poppins Light"/>
            </a:endParaRPr>
          </a:p>
        </p:txBody>
      </p:sp>
      <p:sp>
        <p:nvSpPr>
          <p:cNvPr id="20" name="50%…">
            <a:extLst>
              <a:ext uri="{FF2B5EF4-FFF2-40B4-BE49-F238E27FC236}">
                <a16:creationId xmlns:a16="http://schemas.microsoft.com/office/drawing/2014/main" id="{03565D7C-310F-4D99-A19A-1787711EFFF3}"/>
              </a:ext>
            </a:extLst>
          </p:cNvPr>
          <p:cNvSpPr txBox="1"/>
          <p:nvPr/>
        </p:nvSpPr>
        <p:spPr>
          <a:xfrm>
            <a:off x="10115025" y="4389736"/>
            <a:ext cx="756617" cy="18408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nchor="t">
            <a:spAutoFit/>
          </a:bodyPr>
          <a:lstStyle/>
          <a:p>
            <a:pPr marL="0" marR="0" lvl="0" indent="0" algn="l" defTabSz="412750" rtl="0" eaLnBrk="1" fontAlgn="auto" latinLnBrk="0" hangingPunct="0">
              <a:lnSpc>
                <a:spcPct val="150000"/>
              </a:lnSpc>
              <a:spcBef>
                <a:spcPts val="0"/>
              </a:spcBef>
              <a:spcAft>
                <a:spcPts val="0"/>
              </a:spcAft>
              <a:buClrTx/>
              <a:buSzTx/>
              <a:buFontTx/>
              <a:buNone/>
              <a:tabLst/>
              <a:defRPr sz="1800" b="0">
                <a:solidFill>
                  <a:srgbClr val="C8CBD1"/>
                </a:solidFill>
                <a:latin typeface="Poppins Light"/>
                <a:ea typeface="Poppins Light"/>
                <a:cs typeface="Poppins Light"/>
                <a:sym typeface="Poppins Light"/>
              </a:defRPr>
            </a:pPr>
            <a:r>
              <a:rPr kumimoji="0" lang="en-US" sz="900" b="0" i="0" u="none" strike="noStrike" kern="0" cap="none" spc="0" normalizeH="0" baseline="0" noProof="0" dirty="0">
                <a:ln>
                  <a:noFill/>
                </a:ln>
                <a:solidFill>
                  <a:prstClr val="black">
                    <a:lumMod val="50000"/>
                    <a:lumOff val="50000"/>
                  </a:prstClr>
                </a:solidFill>
                <a:effectLst/>
                <a:uLnTx/>
                <a:uFillTx/>
                <a:latin typeface="HarmonyOS Sans SC"/>
                <a:cs typeface="Poppins Light"/>
                <a:sym typeface="Poppins Light"/>
              </a:rPr>
              <a:t>Creativity Plan</a:t>
            </a:r>
          </a:p>
        </p:txBody>
      </p:sp>
    </p:spTree>
    <p:extLst>
      <p:ext uri="{BB962C8B-B14F-4D97-AF65-F5344CB8AC3E}">
        <p14:creationId xmlns:p14="http://schemas.microsoft.com/office/powerpoint/2010/main" val="2813174430"/>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4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reeform 3">
            <a:extLst>
              <a:ext uri="{FF2B5EF4-FFF2-40B4-BE49-F238E27FC236}">
                <a16:creationId xmlns:a16="http://schemas.microsoft.com/office/drawing/2014/main" id="{48021397-40C7-4B97-8ED5-A1A2BF12B0CE}"/>
              </a:ext>
            </a:extLst>
          </p:cNvPr>
          <p:cNvSpPr>
            <a:spLocks noEditPoints="1"/>
          </p:cNvSpPr>
          <p:nvPr/>
        </p:nvSpPr>
        <p:spPr bwMode="auto">
          <a:xfrm>
            <a:off x="4540293" y="2243540"/>
            <a:ext cx="3118884" cy="3115291"/>
          </a:xfrm>
          <a:custGeom>
            <a:avLst/>
            <a:gdLst>
              <a:gd name="T0" fmla="*/ 144 w 1856"/>
              <a:gd name="T1" fmla="*/ 668 h 1856"/>
              <a:gd name="T2" fmla="*/ 1188 w 1856"/>
              <a:gd name="T3" fmla="*/ 143 h 1856"/>
              <a:gd name="T4" fmla="*/ 1712 w 1856"/>
              <a:gd name="T5" fmla="*/ 1188 h 1856"/>
              <a:gd name="T6" fmla="*/ 668 w 1856"/>
              <a:gd name="T7" fmla="*/ 1712 h 1856"/>
              <a:gd name="T8" fmla="*/ 144 w 1856"/>
              <a:gd name="T9" fmla="*/ 668 h 1856"/>
              <a:gd name="T10" fmla="*/ 434 w 1856"/>
              <a:gd name="T11" fmla="*/ 764 h 1856"/>
              <a:gd name="T12" fmla="*/ 764 w 1856"/>
              <a:gd name="T13" fmla="*/ 1421 h 1856"/>
              <a:gd name="T14" fmla="*/ 1422 w 1856"/>
              <a:gd name="T15" fmla="*/ 1091 h 1856"/>
              <a:gd name="T16" fmla="*/ 1092 w 1856"/>
              <a:gd name="T17" fmla="*/ 434 h 1856"/>
              <a:gd name="T18" fmla="*/ 434 w 1856"/>
              <a:gd name="T19" fmla="*/ 764 h 18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56" h="1856">
                <a:moveTo>
                  <a:pt x="144" y="668"/>
                </a:moveTo>
                <a:cubicBezTo>
                  <a:pt x="287" y="235"/>
                  <a:pt x="755" y="0"/>
                  <a:pt x="1188" y="143"/>
                </a:cubicBezTo>
                <a:cubicBezTo>
                  <a:pt x="1621" y="287"/>
                  <a:pt x="1856" y="754"/>
                  <a:pt x="1712" y="1188"/>
                </a:cubicBezTo>
                <a:cubicBezTo>
                  <a:pt x="1569" y="1621"/>
                  <a:pt x="1101" y="1856"/>
                  <a:pt x="668" y="1712"/>
                </a:cubicBezTo>
                <a:cubicBezTo>
                  <a:pt x="235" y="1568"/>
                  <a:pt x="0" y="1101"/>
                  <a:pt x="144" y="668"/>
                </a:cubicBezTo>
                <a:close/>
                <a:moveTo>
                  <a:pt x="434" y="764"/>
                </a:moveTo>
                <a:cubicBezTo>
                  <a:pt x="344" y="1037"/>
                  <a:pt x="492" y="1331"/>
                  <a:pt x="764" y="1421"/>
                </a:cubicBezTo>
                <a:cubicBezTo>
                  <a:pt x="1037" y="1512"/>
                  <a:pt x="1331" y="1364"/>
                  <a:pt x="1422" y="1091"/>
                </a:cubicBezTo>
                <a:cubicBezTo>
                  <a:pt x="1512" y="819"/>
                  <a:pt x="1364" y="524"/>
                  <a:pt x="1092" y="434"/>
                </a:cubicBezTo>
                <a:cubicBezTo>
                  <a:pt x="819" y="343"/>
                  <a:pt x="525" y="491"/>
                  <a:pt x="434" y="764"/>
                </a:cubicBezTo>
                <a:close/>
              </a:path>
            </a:pathLst>
          </a:custGeom>
          <a:solidFill>
            <a:schemeClr val="bg1"/>
          </a:solidFill>
          <a:ln w="12700" cap="flat">
            <a:noFill/>
            <a:miter lim="400000"/>
          </a:ln>
          <a:effectLst>
            <a:outerShdw blurRad="952500" sx="102000" sy="102000" algn="ctr" rotWithShape="0">
              <a:schemeClr val="accent1">
                <a:alpha val="10000"/>
              </a:schemeClr>
            </a:outerShdw>
          </a:effectLst>
        </p:spPr>
        <p:txBody>
          <a:bodyPr wrap="square" lIns="22860" tIns="22860" rIns="22860" bIns="22860" numCol="1" anchor="ctr" anchorCtr="0">
            <a:noAutofit/>
          </a:bodyPr>
          <a:lstStyle/>
          <a:p>
            <a:pPr marL="0" marR="0" lvl="0" indent="0" algn="ctr" defTabSz="412750" rtl="0" eaLnBrk="1" fontAlgn="auto" latinLnBrk="0" hangingPunct="0">
              <a:lnSpc>
                <a:spcPct val="15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lumMod val="50000"/>
                  <a:lumOff val="50000"/>
                </a:prstClr>
              </a:solidFill>
              <a:effectLst/>
              <a:uLnTx/>
              <a:uFillTx/>
              <a:latin typeface="HarmonyOS Sans SC Black"/>
              <a:ea typeface="+mj-ea"/>
              <a:cs typeface="Poppins Bold"/>
            </a:endParaRPr>
          </a:p>
        </p:txBody>
      </p:sp>
      <p:sp>
        <p:nvSpPr>
          <p:cNvPr id="4" name="Freeform 36">
            <a:extLst>
              <a:ext uri="{FF2B5EF4-FFF2-40B4-BE49-F238E27FC236}">
                <a16:creationId xmlns:a16="http://schemas.microsoft.com/office/drawing/2014/main" id="{D669D08B-21B7-4BA4-A521-BDB7D365CB23}"/>
              </a:ext>
            </a:extLst>
          </p:cNvPr>
          <p:cNvSpPr>
            <a:spLocks/>
          </p:cNvSpPr>
          <p:nvPr/>
        </p:nvSpPr>
        <p:spPr bwMode="auto">
          <a:xfrm>
            <a:off x="5055617" y="4326385"/>
            <a:ext cx="154418" cy="131076"/>
          </a:xfrm>
          <a:custGeom>
            <a:avLst/>
            <a:gdLst>
              <a:gd name="T0" fmla="*/ 18 w 86"/>
              <a:gd name="T1" fmla="*/ 73 h 73"/>
              <a:gd name="T2" fmla="*/ 0 w 86"/>
              <a:gd name="T3" fmla="*/ 48 h 73"/>
              <a:gd name="T4" fmla="*/ 22 w 86"/>
              <a:gd name="T5" fmla="*/ 6 h 73"/>
              <a:gd name="T6" fmla="*/ 69 w 86"/>
              <a:gd name="T7" fmla="*/ 0 h 73"/>
              <a:gd name="T8" fmla="*/ 86 w 86"/>
              <a:gd name="T9" fmla="*/ 25 h 73"/>
              <a:gd name="T10" fmla="*/ 40 w 86"/>
              <a:gd name="T11" fmla="*/ 32 h 73"/>
              <a:gd name="T12" fmla="*/ 18 w 86"/>
              <a:gd name="T13" fmla="*/ 73 h 73"/>
              <a:gd name="T14" fmla="*/ 18 w 86"/>
              <a:gd name="T15" fmla="*/ 73 h 7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6" h="73">
                <a:moveTo>
                  <a:pt x="18" y="73"/>
                </a:moveTo>
                <a:lnTo>
                  <a:pt x="0" y="48"/>
                </a:lnTo>
                <a:lnTo>
                  <a:pt x="22" y="6"/>
                </a:lnTo>
                <a:lnTo>
                  <a:pt x="69" y="0"/>
                </a:lnTo>
                <a:lnTo>
                  <a:pt x="86" y="25"/>
                </a:lnTo>
                <a:lnTo>
                  <a:pt x="40" y="32"/>
                </a:lnTo>
                <a:lnTo>
                  <a:pt x="18" y="73"/>
                </a:lnTo>
                <a:lnTo>
                  <a:pt x="18" y="73"/>
                </a:lnTo>
                <a:close/>
              </a:path>
            </a:pathLst>
          </a:custGeom>
          <a:solidFill>
            <a:schemeClr val="accent1">
              <a:lumMod val="40000"/>
              <a:lumOff val="6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Inter"/>
              <a:ea typeface="+mn-ea"/>
              <a:cs typeface="+mn-cs"/>
            </a:endParaRPr>
          </a:p>
        </p:txBody>
      </p:sp>
      <p:sp>
        <p:nvSpPr>
          <p:cNvPr id="5" name="Freeform 38">
            <a:extLst>
              <a:ext uri="{FF2B5EF4-FFF2-40B4-BE49-F238E27FC236}">
                <a16:creationId xmlns:a16="http://schemas.microsoft.com/office/drawing/2014/main" id="{C6784598-48AF-4529-B9D0-066C9E4F07DF}"/>
              </a:ext>
            </a:extLst>
          </p:cNvPr>
          <p:cNvSpPr>
            <a:spLocks/>
          </p:cNvSpPr>
          <p:nvPr/>
        </p:nvSpPr>
        <p:spPr bwMode="auto">
          <a:xfrm>
            <a:off x="7036118" y="4245585"/>
            <a:ext cx="158009" cy="120303"/>
          </a:xfrm>
          <a:custGeom>
            <a:avLst/>
            <a:gdLst>
              <a:gd name="T0" fmla="*/ 88 w 88"/>
              <a:gd name="T1" fmla="*/ 39 h 67"/>
              <a:gd name="T2" fmla="*/ 73 w 88"/>
              <a:gd name="T3" fmla="*/ 67 h 67"/>
              <a:gd name="T4" fmla="*/ 27 w 88"/>
              <a:gd name="T5" fmla="*/ 66 h 67"/>
              <a:gd name="T6" fmla="*/ 0 w 88"/>
              <a:gd name="T7" fmla="*/ 28 h 67"/>
              <a:gd name="T8" fmla="*/ 14 w 88"/>
              <a:gd name="T9" fmla="*/ 0 h 67"/>
              <a:gd name="T10" fmla="*/ 42 w 88"/>
              <a:gd name="T11" fmla="*/ 38 h 67"/>
              <a:gd name="T12" fmla="*/ 88 w 88"/>
              <a:gd name="T13" fmla="*/ 39 h 67"/>
              <a:gd name="T14" fmla="*/ 88 w 88"/>
              <a:gd name="T15" fmla="*/ 39 h 6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 h="67">
                <a:moveTo>
                  <a:pt x="88" y="39"/>
                </a:moveTo>
                <a:lnTo>
                  <a:pt x="73" y="67"/>
                </a:lnTo>
                <a:lnTo>
                  <a:pt x="27" y="66"/>
                </a:lnTo>
                <a:lnTo>
                  <a:pt x="0" y="28"/>
                </a:lnTo>
                <a:lnTo>
                  <a:pt x="14" y="0"/>
                </a:lnTo>
                <a:lnTo>
                  <a:pt x="42" y="38"/>
                </a:lnTo>
                <a:lnTo>
                  <a:pt x="88" y="39"/>
                </a:lnTo>
                <a:lnTo>
                  <a:pt x="88" y="39"/>
                </a:lnTo>
                <a:close/>
              </a:path>
            </a:pathLst>
          </a:custGeom>
          <a:solidFill>
            <a:schemeClr val="accent1">
              <a:lumMod val="40000"/>
              <a:lumOff val="6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Inter"/>
              <a:ea typeface="+mn-ea"/>
              <a:cs typeface="+mn-cs"/>
            </a:endParaRPr>
          </a:p>
        </p:txBody>
      </p:sp>
      <p:grpSp>
        <p:nvGrpSpPr>
          <p:cNvPr id="7" name="Group 7">
            <a:extLst>
              <a:ext uri="{FF2B5EF4-FFF2-40B4-BE49-F238E27FC236}">
                <a16:creationId xmlns:a16="http://schemas.microsoft.com/office/drawing/2014/main" id="{FE24BEC5-447E-43AA-8A0B-3A981C0A0DF4}"/>
              </a:ext>
            </a:extLst>
          </p:cNvPr>
          <p:cNvGrpSpPr/>
          <p:nvPr/>
        </p:nvGrpSpPr>
        <p:grpSpPr>
          <a:xfrm>
            <a:off x="5014320" y="4281496"/>
            <a:ext cx="2228287" cy="1283824"/>
            <a:chOff x="5138738" y="4035425"/>
            <a:chExt cx="1970088" cy="1135063"/>
          </a:xfrm>
        </p:grpSpPr>
        <p:sp>
          <p:nvSpPr>
            <p:cNvPr id="8" name="Freeform 8">
              <a:extLst>
                <a:ext uri="{FF2B5EF4-FFF2-40B4-BE49-F238E27FC236}">
                  <a16:creationId xmlns:a16="http://schemas.microsoft.com/office/drawing/2014/main" id="{3964507D-4C4B-4E10-9DD1-E79F7C8945BE}"/>
                </a:ext>
              </a:extLst>
            </p:cNvPr>
            <p:cNvSpPr>
              <a:spLocks/>
            </p:cNvSpPr>
            <p:nvPr/>
          </p:nvSpPr>
          <p:spPr bwMode="auto">
            <a:xfrm>
              <a:off x="5138738" y="4035425"/>
              <a:ext cx="1970088" cy="1135063"/>
            </a:xfrm>
            <a:custGeom>
              <a:avLst/>
              <a:gdLst>
                <a:gd name="T0" fmla="*/ 1326 w 1326"/>
                <a:gd name="T1" fmla="*/ 385 h 765"/>
                <a:gd name="T2" fmla="*/ 0 w 1326"/>
                <a:gd name="T3" fmla="*/ 417 h 765"/>
                <a:gd name="T4" fmla="*/ 370 w 1326"/>
                <a:gd name="T5" fmla="*/ 13 h 765"/>
                <a:gd name="T6" fmla="*/ 935 w 1326"/>
                <a:gd name="T7" fmla="*/ 0 h 765"/>
                <a:gd name="T8" fmla="*/ 1326 w 1326"/>
                <a:gd name="T9" fmla="*/ 385 h 765"/>
              </a:gdLst>
              <a:ahLst/>
              <a:cxnLst>
                <a:cxn ang="0">
                  <a:pos x="T0" y="T1"/>
                </a:cxn>
                <a:cxn ang="0">
                  <a:pos x="T2" y="T3"/>
                </a:cxn>
                <a:cxn ang="0">
                  <a:pos x="T4" y="T5"/>
                </a:cxn>
                <a:cxn ang="0">
                  <a:pos x="T6" y="T7"/>
                </a:cxn>
                <a:cxn ang="0">
                  <a:pos x="T8" y="T9"/>
                </a:cxn>
              </a:cxnLst>
              <a:rect l="0" t="0" r="r" b="b"/>
              <a:pathLst>
                <a:path w="1326" h="765">
                  <a:moveTo>
                    <a:pt x="1326" y="385"/>
                  </a:moveTo>
                  <a:cubicBezTo>
                    <a:pt x="962" y="753"/>
                    <a:pt x="378" y="765"/>
                    <a:pt x="0" y="417"/>
                  </a:cubicBezTo>
                  <a:cubicBezTo>
                    <a:pt x="370" y="13"/>
                    <a:pt x="370" y="13"/>
                    <a:pt x="370" y="13"/>
                  </a:cubicBezTo>
                  <a:cubicBezTo>
                    <a:pt x="530" y="160"/>
                    <a:pt x="783" y="153"/>
                    <a:pt x="935" y="0"/>
                  </a:cubicBezTo>
                  <a:cubicBezTo>
                    <a:pt x="1326" y="385"/>
                    <a:pt x="1326" y="385"/>
                    <a:pt x="1326" y="385"/>
                  </a:cubicBezTo>
                  <a:close/>
                </a:path>
              </a:pathLst>
            </a:custGeom>
            <a:gradFill>
              <a:gsLst>
                <a:gs pos="73000">
                  <a:schemeClr val="accent1"/>
                </a:gs>
                <a:gs pos="31000">
                  <a:schemeClr val="accent1">
                    <a:lumMod val="60000"/>
                    <a:lumOff val="40000"/>
                  </a:schemeClr>
                </a:gs>
                <a:gs pos="0">
                  <a:schemeClr val="accent1">
                    <a:lumMod val="40000"/>
                    <a:lumOff val="60000"/>
                  </a:schemeClr>
                </a:gs>
              </a:gsLst>
              <a:path path="circle">
                <a:fillToRect r="100000" b="100000"/>
              </a:path>
            </a:gradFill>
            <a:ln>
              <a:noFill/>
            </a:ln>
            <a:effectLst>
              <a:outerShdw blurRad="444500" dist="317500" dir="5400000" sx="92000" sy="92000" algn="t" rotWithShape="0">
                <a:schemeClr val="accent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9" name="Freeform 9">
              <a:extLst>
                <a:ext uri="{FF2B5EF4-FFF2-40B4-BE49-F238E27FC236}">
                  <a16:creationId xmlns:a16="http://schemas.microsoft.com/office/drawing/2014/main" id="{6E91D868-ADB3-47ED-97C3-E4162CA3BD2D}"/>
                </a:ext>
              </a:extLst>
            </p:cNvPr>
            <p:cNvSpPr>
              <a:spLocks/>
            </p:cNvSpPr>
            <p:nvPr/>
          </p:nvSpPr>
          <p:spPr bwMode="auto">
            <a:xfrm>
              <a:off x="6972300" y="4357688"/>
              <a:ext cx="136525" cy="249238"/>
            </a:xfrm>
            <a:custGeom>
              <a:avLst/>
              <a:gdLst>
                <a:gd name="T0" fmla="*/ 92 w 92"/>
                <a:gd name="T1" fmla="*/ 168 h 168"/>
                <a:gd name="T2" fmla="*/ 68 w 92"/>
                <a:gd name="T3" fmla="*/ 0 h 168"/>
                <a:gd name="T4" fmla="*/ 0 w 92"/>
                <a:gd name="T5" fmla="*/ 77 h 168"/>
                <a:gd name="T6" fmla="*/ 92 w 92"/>
                <a:gd name="T7" fmla="*/ 168 h 168"/>
              </a:gdLst>
              <a:ahLst/>
              <a:cxnLst>
                <a:cxn ang="0">
                  <a:pos x="T0" y="T1"/>
                </a:cxn>
                <a:cxn ang="0">
                  <a:pos x="T2" y="T3"/>
                </a:cxn>
                <a:cxn ang="0">
                  <a:pos x="T4" y="T5"/>
                </a:cxn>
                <a:cxn ang="0">
                  <a:pos x="T6" y="T7"/>
                </a:cxn>
              </a:cxnLst>
              <a:rect l="0" t="0" r="r" b="b"/>
              <a:pathLst>
                <a:path w="92" h="168">
                  <a:moveTo>
                    <a:pt x="92" y="168"/>
                  </a:moveTo>
                  <a:cubicBezTo>
                    <a:pt x="68" y="0"/>
                    <a:pt x="68" y="0"/>
                    <a:pt x="68" y="0"/>
                  </a:cubicBezTo>
                  <a:cubicBezTo>
                    <a:pt x="47" y="27"/>
                    <a:pt x="24" y="53"/>
                    <a:pt x="0" y="77"/>
                  </a:cubicBezTo>
                  <a:cubicBezTo>
                    <a:pt x="92" y="168"/>
                    <a:pt x="92" y="168"/>
                    <a:pt x="92" y="168"/>
                  </a:cubicBezTo>
                  <a:close/>
                </a:path>
              </a:pathLst>
            </a:custGeom>
            <a:gradFill>
              <a:gsLst>
                <a:gs pos="73000">
                  <a:schemeClr val="accent1"/>
                </a:gs>
                <a:gs pos="31000">
                  <a:schemeClr val="accent1">
                    <a:lumMod val="60000"/>
                    <a:lumOff val="40000"/>
                  </a:schemeClr>
                </a:gs>
                <a:gs pos="0">
                  <a:schemeClr val="accent1">
                    <a:lumMod val="40000"/>
                    <a:lumOff val="60000"/>
                  </a:schemeClr>
                </a:gs>
              </a:gsLst>
              <a:path path="circle">
                <a:fillToRect r="100000" b="100000"/>
              </a:path>
            </a:gradFill>
            <a:ln>
              <a:noFill/>
            </a:ln>
            <a:effectLst>
              <a:outerShdw blurRad="444500" dist="317500" dir="5400000" sx="92000" sy="92000" algn="t" rotWithShape="0">
                <a:schemeClr val="accent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10" name="Freeform 10">
              <a:extLst>
                <a:ext uri="{FF2B5EF4-FFF2-40B4-BE49-F238E27FC236}">
                  <a16:creationId xmlns:a16="http://schemas.microsoft.com/office/drawing/2014/main" id="{BBD02E2D-BC3A-4E98-BC75-DDDC2E17EED2}"/>
                </a:ext>
              </a:extLst>
            </p:cNvPr>
            <p:cNvSpPr>
              <a:spLocks/>
            </p:cNvSpPr>
            <p:nvPr/>
          </p:nvSpPr>
          <p:spPr bwMode="auto">
            <a:xfrm>
              <a:off x="5138738" y="4403725"/>
              <a:ext cx="130175" cy="249238"/>
            </a:xfrm>
            <a:custGeom>
              <a:avLst/>
              <a:gdLst>
                <a:gd name="T0" fmla="*/ 0 w 88"/>
                <a:gd name="T1" fmla="*/ 169 h 169"/>
                <a:gd name="T2" fmla="*/ 15 w 88"/>
                <a:gd name="T3" fmla="*/ 0 h 169"/>
                <a:gd name="T4" fmla="*/ 88 w 88"/>
                <a:gd name="T5" fmla="*/ 73 h 169"/>
                <a:gd name="T6" fmla="*/ 0 w 88"/>
                <a:gd name="T7" fmla="*/ 169 h 169"/>
              </a:gdLst>
              <a:ahLst/>
              <a:cxnLst>
                <a:cxn ang="0">
                  <a:pos x="T0" y="T1"/>
                </a:cxn>
                <a:cxn ang="0">
                  <a:pos x="T2" y="T3"/>
                </a:cxn>
                <a:cxn ang="0">
                  <a:pos x="T4" y="T5"/>
                </a:cxn>
                <a:cxn ang="0">
                  <a:pos x="T6" y="T7"/>
                </a:cxn>
              </a:cxnLst>
              <a:rect l="0" t="0" r="r" b="b"/>
              <a:pathLst>
                <a:path w="88" h="169">
                  <a:moveTo>
                    <a:pt x="0" y="169"/>
                  </a:moveTo>
                  <a:cubicBezTo>
                    <a:pt x="15" y="0"/>
                    <a:pt x="15" y="0"/>
                    <a:pt x="15" y="0"/>
                  </a:cubicBezTo>
                  <a:cubicBezTo>
                    <a:pt x="38" y="26"/>
                    <a:pt x="62" y="50"/>
                    <a:pt x="88" y="73"/>
                  </a:cubicBezTo>
                  <a:cubicBezTo>
                    <a:pt x="0" y="169"/>
                    <a:pt x="0" y="169"/>
                    <a:pt x="0" y="169"/>
                  </a:cubicBezTo>
                  <a:close/>
                </a:path>
              </a:pathLst>
            </a:custGeom>
            <a:gradFill>
              <a:gsLst>
                <a:gs pos="73000">
                  <a:schemeClr val="accent1"/>
                </a:gs>
                <a:gs pos="31000">
                  <a:schemeClr val="accent1">
                    <a:lumMod val="60000"/>
                    <a:lumOff val="40000"/>
                  </a:schemeClr>
                </a:gs>
                <a:gs pos="0">
                  <a:schemeClr val="accent1">
                    <a:lumMod val="40000"/>
                    <a:lumOff val="60000"/>
                  </a:schemeClr>
                </a:gs>
              </a:gsLst>
              <a:path path="circle">
                <a:fillToRect r="100000" b="100000"/>
              </a:path>
            </a:gradFill>
            <a:ln>
              <a:noFill/>
            </a:ln>
            <a:effectLst>
              <a:outerShdw blurRad="444500" dist="317500" dir="5400000" sx="92000" sy="92000" algn="t" rotWithShape="0">
                <a:schemeClr val="accent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11" name="Freeform 11">
              <a:extLst>
                <a:ext uri="{FF2B5EF4-FFF2-40B4-BE49-F238E27FC236}">
                  <a16:creationId xmlns:a16="http://schemas.microsoft.com/office/drawing/2014/main" id="{E92E5624-FAEE-42D7-8595-702E94E4826F}"/>
                </a:ext>
              </a:extLst>
            </p:cNvPr>
            <p:cNvSpPr>
              <a:spLocks/>
            </p:cNvSpPr>
            <p:nvPr/>
          </p:nvSpPr>
          <p:spPr bwMode="auto">
            <a:xfrm>
              <a:off x="6527800" y="4035425"/>
              <a:ext cx="195263" cy="117475"/>
            </a:xfrm>
            <a:custGeom>
              <a:avLst/>
              <a:gdLst>
                <a:gd name="T0" fmla="*/ 0 w 132"/>
                <a:gd name="T1" fmla="*/ 0 h 79"/>
                <a:gd name="T2" fmla="*/ 132 w 132"/>
                <a:gd name="T3" fmla="*/ 19 h 79"/>
                <a:gd name="T4" fmla="*/ 81 w 132"/>
                <a:gd name="T5" fmla="*/ 79 h 79"/>
                <a:gd name="T6" fmla="*/ 0 w 132"/>
                <a:gd name="T7" fmla="*/ 0 h 79"/>
              </a:gdLst>
              <a:ahLst/>
              <a:cxnLst>
                <a:cxn ang="0">
                  <a:pos x="T0" y="T1"/>
                </a:cxn>
                <a:cxn ang="0">
                  <a:pos x="T2" y="T3"/>
                </a:cxn>
                <a:cxn ang="0">
                  <a:pos x="T4" y="T5"/>
                </a:cxn>
                <a:cxn ang="0">
                  <a:pos x="T6" y="T7"/>
                </a:cxn>
              </a:cxnLst>
              <a:rect l="0" t="0" r="r" b="b"/>
              <a:pathLst>
                <a:path w="132" h="79">
                  <a:moveTo>
                    <a:pt x="0" y="0"/>
                  </a:moveTo>
                  <a:cubicBezTo>
                    <a:pt x="132" y="19"/>
                    <a:pt x="132" y="19"/>
                    <a:pt x="132" y="19"/>
                  </a:cubicBezTo>
                  <a:cubicBezTo>
                    <a:pt x="117" y="40"/>
                    <a:pt x="100" y="61"/>
                    <a:pt x="81" y="79"/>
                  </a:cubicBezTo>
                  <a:cubicBezTo>
                    <a:pt x="0" y="0"/>
                    <a:pt x="0" y="0"/>
                    <a:pt x="0" y="0"/>
                  </a:cubicBezTo>
                  <a:close/>
                </a:path>
              </a:pathLst>
            </a:custGeom>
            <a:gradFill>
              <a:gsLst>
                <a:gs pos="73000">
                  <a:schemeClr val="accent1"/>
                </a:gs>
                <a:gs pos="31000">
                  <a:schemeClr val="accent1">
                    <a:lumMod val="60000"/>
                    <a:lumOff val="40000"/>
                  </a:schemeClr>
                </a:gs>
                <a:gs pos="0">
                  <a:schemeClr val="accent1">
                    <a:lumMod val="40000"/>
                    <a:lumOff val="60000"/>
                  </a:schemeClr>
                </a:gs>
              </a:gsLst>
              <a:path path="circle">
                <a:fillToRect r="100000" b="100000"/>
              </a:path>
            </a:gradFill>
            <a:ln>
              <a:noFill/>
            </a:ln>
            <a:effectLst>
              <a:outerShdw blurRad="444500" dist="317500" dir="5400000" sx="92000" sy="92000" algn="t" rotWithShape="0">
                <a:schemeClr val="accent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12" name="Freeform 12">
              <a:extLst>
                <a:ext uri="{FF2B5EF4-FFF2-40B4-BE49-F238E27FC236}">
                  <a16:creationId xmlns:a16="http://schemas.microsoft.com/office/drawing/2014/main" id="{D5D57A57-5E1F-4D89-A1F7-386C0BB5958D}"/>
                </a:ext>
              </a:extLst>
            </p:cNvPr>
            <p:cNvSpPr>
              <a:spLocks/>
            </p:cNvSpPr>
            <p:nvPr/>
          </p:nvSpPr>
          <p:spPr bwMode="auto">
            <a:xfrm>
              <a:off x="5495925" y="4054475"/>
              <a:ext cx="192088" cy="123825"/>
            </a:xfrm>
            <a:custGeom>
              <a:avLst/>
              <a:gdLst>
                <a:gd name="T0" fmla="*/ 129 w 129"/>
                <a:gd name="T1" fmla="*/ 0 h 84"/>
                <a:gd name="T2" fmla="*/ 0 w 129"/>
                <a:gd name="T3" fmla="*/ 26 h 84"/>
                <a:gd name="T4" fmla="*/ 53 w 129"/>
                <a:gd name="T5" fmla="*/ 84 h 84"/>
                <a:gd name="T6" fmla="*/ 129 w 129"/>
                <a:gd name="T7" fmla="*/ 0 h 84"/>
              </a:gdLst>
              <a:ahLst/>
              <a:cxnLst>
                <a:cxn ang="0">
                  <a:pos x="T0" y="T1"/>
                </a:cxn>
                <a:cxn ang="0">
                  <a:pos x="T2" y="T3"/>
                </a:cxn>
                <a:cxn ang="0">
                  <a:pos x="T4" y="T5"/>
                </a:cxn>
                <a:cxn ang="0">
                  <a:pos x="T6" y="T7"/>
                </a:cxn>
              </a:cxnLst>
              <a:rect l="0" t="0" r="r" b="b"/>
              <a:pathLst>
                <a:path w="129" h="84">
                  <a:moveTo>
                    <a:pt x="129" y="0"/>
                  </a:moveTo>
                  <a:cubicBezTo>
                    <a:pt x="0" y="26"/>
                    <a:pt x="0" y="26"/>
                    <a:pt x="0" y="26"/>
                  </a:cubicBezTo>
                  <a:cubicBezTo>
                    <a:pt x="16" y="46"/>
                    <a:pt x="33" y="66"/>
                    <a:pt x="53" y="84"/>
                  </a:cubicBezTo>
                  <a:cubicBezTo>
                    <a:pt x="129" y="0"/>
                    <a:pt x="129" y="0"/>
                    <a:pt x="129" y="0"/>
                  </a:cubicBezTo>
                  <a:close/>
                </a:path>
              </a:pathLst>
            </a:custGeom>
            <a:gradFill>
              <a:gsLst>
                <a:gs pos="73000">
                  <a:schemeClr val="accent1"/>
                </a:gs>
                <a:gs pos="31000">
                  <a:schemeClr val="accent1">
                    <a:lumMod val="60000"/>
                    <a:lumOff val="40000"/>
                  </a:schemeClr>
                </a:gs>
                <a:gs pos="0">
                  <a:schemeClr val="accent1">
                    <a:lumMod val="40000"/>
                    <a:lumOff val="60000"/>
                  </a:schemeClr>
                </a:gs>
              </a:gsLst>
              <a:path path="circle">
                <a:fillToRect r="100000" b="100000"/>
              </a:path>
            </a:gradFill>
            <a:ln>
              <a:noFill/>
            </a:ln>
            <a:effectLst>
              <a:outerShdw blurRad="444500" dist="317500" dir="5400000" sx="92000" sy="92000" algn="t" rotWithShape="0">
                <a:schemeClr val="accent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grpSp>
      <p:grpSp>
        <p:nvGrpSpPr>
          <p:cNvPr id="13" name="Group 13">
            <a:extLst>
              <a:ext uri="{FF2B5EF4-FFF2-40B4-BE49-F238E27FC236}">
                <a16:creationId xmlns:a16="http://schemas.microsoft.com/office/drawing/2014/main" id="{A64B0242-1543-43C9-9A03-A5AF1F7EC7C6}"/>
              </a:ext>
            </a:extLst>
          </p:cNvPr>
          <p:cNvGrpSpPr/>
          <p:nvPr/>
        </p:nvGrpSpPr>
        <p:grpSpPr>
          <a:xfrm>
            <a:off x="4332008" y="2259700"/>
            <a:ext cx="1659095" cy="2039754"/>
            <a:chOff x="4535488" y="2247900"/>
            <a:chExt cx="1466850" cy="1803401"/>
          </a:xfrm>
        </p:grpSpPr>
        <p:sp>
          <p:nvSpPr>
            <p:cNvPr id="14" name="Freeform 14">
              <a:extLst>
                <a:ext uri="{FF2B5EF4-FFF2-40B4-BE49-F238E27FC236}">
                  <a16:creationId xmlns:a16="http://schemas.microsoft.com/office/drawing/2014/main" id="{E48D6CAC-A467-4E6A-A3D3-4BFFACFEFC51}"/>
                </a:ext>
              </a:extLst>
            </p:cNvPr>
            <p:cNvSpPr>
              <a:spLocks/>
            </p:cNvSpPr>
            <p:nvPr/>
          </p:nvSpPr>
          <p:spPr bwMode="auto">
            <a:xfrm>
              <a:off x="4535488" y="2247900"/>
              <a:ext cx="1398588" cy="1701800"/>
            </a:xfrm>
            <a:custGeom>
              <a:avLst/>
              <a:gdLst>
                <a:gd name="T0" fmla="*/ 124 w 941"/>
                <a:gd name="T1" fmla="*/ 1147 h 1147"/>
                <a:gd name="T2" fmla="*/ 790 w 941"/>
                <a:gd name="T3" fmla="*/ 0 h 1147"/>
                <a:gd name="T4" fmla="*/ 941 w 941"/>
                <a:gd name="T5" fmla="*/ 527 h 1147"/>
                <a:gd name="T6" fmla="*/ 657 w 941"/>
                <a:gd name="T7" fmla="*/ 1015 h 1147"/>
                <a:gd name="T8" fmla="*/ 124 w 941"/>
                <a:gd name="T9" fmla="*/ 1147 h 1147"/>
              </a:gdLst>
              <a:ahLst/>
              <a:cxnLst>
                <a:cxn ang="0">
                  <a:pos x="T0" y="T1"/>
                </a:cxn>
                <a:cxn ang="0">
                  <a:pos x="T2" y="T3"/>
                </a:cxn>
                <a:cxn ang="0">
                  <a:pos x="T4" y="T5"/>
                </a:cxn>
                <a:cxn ang="0">
                  <a:pos x="T6" y="T7"/>
                </a:cxn>
                <a:cxn ang="0">
                  <a:pos x="T8" y="T9"/>
                </a:cxn>
              </a:cxnLst>
              <a:rect l="0" t="0" r="r" b="b"/>
              <a:pathLst>
                <a:path w="941" h="1147">
                  <a:moveTo>
                    <a:pt x="124" y="1147"/>
                  </a:moveTo>
                  <a:cubicBezTo>
                    <a:pt x="0" y="645"/>
                    <a:pt x="295" y="141"/>
                    <a:pt x="790" y="0"/>
                  </a:cubicBezTo>
                  <a:cubicBezTo>
                    <a:pt x="941" y="527"/>
                    <a:pt x="941" y="527"/>
                    <a:pt x="941" y="527"/>
                  </a:cubicBezTo>
                  <a:cubicBezTo>
                    <a:pt x="732" y="586"/>
                    <a:pt x="605" y="806"/>
                    <a:pt x="657" y="1015"/>
                  </a:cubicBezTo>
                  <a:cubicBezTo>
                    <a:pt x="124" y="1147"/>
                    <a:pt x="124" y="1147"/>
                    <a:pt x="124" y="1147"/>
                  </a:cubicBezTo>
                  <a:close/>
                </a:path>
              </a:pathLst>
            </a:custGeom>
            <a:gradFill>
              <a:gsLst>
                <a:gs pos="73000">
                  <a:schemeClr val="accent1"/>
                </a:gs>
                <a:gs pos="31000">
                  <a:schemeClr val="accent1">
                    <a:lumMod val="60000"/>
                    <a:lumOff val="40000"/>
                  </a:schemeClr>
                </a:gs>
                <a:gs pos="0">
                  <a:schemeClr val="accent1">
                    <a:lumMod val="40000"/>
                    <a:lumOff val="60000"/>
                  </a:schemeClr>
                </a:gs>
              </a:gsLst>
              <a:path path="circle">
                <a:fillToRect r="100000" b="100000"/>
              </a:path>
            </a:gradFill>
            <a:ln>
              <a:noFill/>
            </a:ln>
            <a:effectLst>
              <a:outerShdw blurRad="444500" dist="317500" dir="5400000" sx="92000" sy="92000" algn="t" rotWithShape="0">
                <a:schemeClr val="accent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15" name="Freeform 15">
              <a:extLst>
                <a:ext uri="{FF2B5EF4-FFF2-40B4-BE49-F238E27FC236}">
                  <a16:creationId xmlns:a16="http://schemas.microsoft.com/office/drawing/2014/main" id="{6F1634C3-81D2-449F-82F1-A4EE96B046B9}"/>
                </a:ext>
              </a:extLst>
            </p:cNvPr>
            <p:cNvSpPr>
              <a:spLocks/>
            </p:cNvSpPr>
            <p:nvPr/>
          </p:nvSpPr>
          <p:spPr bwMode="auto">
            <a:xfrm>
              <a:off x="4719638" y="3903663"/>
              <a:ext cx="233363" cy="147638"/>
            </a:xfrm>
            <a:custGeom>
              <a:avLst/>
              <a:gdLst>
                <a:gd name="T0" fmla="*/ 0 w 157"/>
                <a:gd name="T1" fmla="*/ 31 h 99"/>
                <a:gd name="T2" fmla="*/ 157 w 157"/>
                <a:gd name="T3" fmla="*/ 99 h 99"/>
                <a:gd name="T4" fmla="*/ 126 w 157"/>
                <a:gd name="T5" fmla="*/ 0 h 99"/>
                <a:gd name="T6" fmla="*/ 0 w 157"/>
                <a:gd name="T7" fmla="*/ 31 h 99"/>
              </a:gdLst>
              <a:ahLst/>
              <a:cxnLst>
                <a:cxn ang="0">
                  <a:pos x="T0" y="T1"/>
                </a:cxn>
                <a:cxn ang="0">
                  <a:pos x="T2" y="T3"/>
                </a:cxn>
                <a:cxn ang="0">
                  <a:pos x="T4" y="T5"/>
                </a:cxn>
                <a:cxn ang="0">
                  <a:pos x="T6" y="T7"/>
                </a:cxn>
              </a:cxnLst>
              <a:rect l="0" t="0" r="r" b="b"/>
              <a:pathLst>
                <a:path w="157" h="99">
                  <a:moveTo>
                    <a:pt x="0" y="31"/>
                  </a:moveTo>
                  <a:cubicBezTo>
                    <a:pt x="157" y="99"/>
                    <a:pt x="157" y="99"/>
                    <a:pt x="157" y="99"/>
                  </a:cubicBezTo>
                  <a:cubicBezTo>
                    <a:pt x="157" y="98"/>
                    <a:pt x="129" y="13"/>
                    <a:pt x="126" y="0"/>
                  </a:cubicBezTo>
                  <a:cubicBezTo>
                    <a:pt x="0" y="31"/>
                    <a:pt x="0" y="31"/>
                    <a:pt x="0" y="31"/>
                  </a:cubicBezTo>
                  <a:close/>
                </a:path>
              </a:pathLst>
            </a:custGeom>
            <a:gradFill>
              <a:gsLst>
                <a:gs pos="73000">
                  <a:schemeClr val="accent1"/>
                </a:gs>
                <a:gs pos="31000">
                  <a:schemeClr val="accent1">
                    <a:lumMod val="60000"/>
                    <a:lumOff val="40000"/>
                  </a:schemeClr>
                </a:gs>
                <a:gs pos="0">
                  <a:schemeClr val="accent1">
                    <a:lumMod val="40000"/>
                    <a:lumOff val="60000"/>
                  </a:schemeClr>
                </a:gs>
              </a:gsLst>
              <a:path path="circle">
                <a:fillToRect r="100000" b="100000"/>
              </a:path>
            </a:gradFill>
            <a:ln>
              <a:noFill/>
            </a:ln>
            <a:effectLst>
              <a:outerShdw blurRad="444500" dist="317500" dir="5400000" sx="92000" sy="92000" algn="t" rotWithShape="0">
                <a:schemeClr val="accent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16" name="Freeform 16">
              <a:extLst>
                <a:ext uri="{FF2B5EF4-FFF2-40B4-BE49-F238E27FC236}">
                  <a16:creationId xmlns:a16="http://schemas.microsoft.com/office/drawing/2014/main" id="{63482A66-39A2-49A4-9AE8-23A0F3724D4A}"/>
                </a:ext>
              </a:extLst>
            </p:cNvPr>
            <p:cNvSpPr>
              <a:spLocks/>
            </p:cNvSpPr>
            <p:nvPr/>
          </p:nvSpPr>
          <p:spPr bwMode="auto">
            <a:xfrm>
              <a:off x="5708650" y="2247900"/>
              <a:ext cx="201613" cy="185738"/>
            </a:xfrm>
            <a:custGeom>
              <a:avLst/>
              <a:gdLst>
                <a:gd name="T0" fmla="*/ 0 w 136"/>
                <a:gd name="T1" fmla="*/ 0 h 125"/>
                <a:gd name="T2" fmla="*/ 136 w 136"/>
                <a:gd name="T3" fmla="*/ 101 h 125"/>
                <a:gd name="T4" fmla="*/ 36 w 136"/>
                <a:gd name="T5" fmla="*/ 125 h 125"/>
                <a:gd name="T6" fmla="*/ 0 w 136"/>
                <a:gd name="T7" fmla="*/ 0 h 125"/>
              </a:gdLst>
              <a:ahLst/>
              <a:cxnLst>
                <a:cxn ang="0">
                  <a:pos x="T0" y="T1"/>
                </a:cxn>
                <a:cxn ang="0">
                  <a:pos x="T2" y="T3"/>
                </a:cxn>
                <a:cxn ang="0">
                  <a:pos x="T4" y="T5"/>
                </a:cxn>
                <a:cxn ang="0">
                  <a:pos x="T6" y="T7"/>
                </a:cxn>
              </a:cxnLst>
              <a:rect l="0" t="0" r="r" b="b"/>
              <a:pathLst>
                <a:path w="136" h="125">
                  <a:moveTo>
                    <a:pt x="0" y="0"/>
                  </a:moveTo>
                  <a:cubicBezTo>
                    <a:pt x="136" y="101"/>
                    <a:pt x="136" y="101"/>
                    <a:pt x="136" y="101"/>
                  </a:cubicBezTo>
                  <a:cubicBezTo>
                    <a:pt x="102" y="107"/>
                    <a:pt x="69" y="115"/>
                    <a:pt x="36" y="125"/>
                  </a:cubicBezTo>
                  <a:cubicBezTo>
                    <a:pt x="0" y="0"/>
                    <a:pt x="0" y="0"/>
                    <a:pt x="0" y="0"/>
                  </a:cubicBezTo>
                  <a:close/>
                </a:path>
              </a:pathLst>
            </a:custGeom>
            <a:gradFill>
              <a:gsLst>
                <a:gs pos="73000">
                  <a:schemeClr val="accent1"/>
                </a:gs>
                <a:gs pos="31000">
                  <a:schemeClr val="accent1">
                    <a:lumMod val="60000"/>
                    <a:lumOff val="40000"/>
                  </a:schemeClr>
                </a:gs>
                <a:gs pos="0">
                  <a:schemeClr val="accent1">
                    <a:lumMod val="40000"/>
                    <a:lumOff val="60000"/>
                  </a:schemeClr>
                </a:gs>
              </a:gsLst>
              <a:path path="circle">
                <a:fillToRect r="100000" b="100000"/>
              </a:path>
            </a:gradFill>
            <a:ln>
              <a:noFill/>
            </a:ln>
            <a:effectLst>
              <a:outerShdw blurRad="444500" dist="317500" dir="5400000" sx="92000" sy="92000" algn="t" rotWithShape="0">
                <a:schemeClr val="accent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17" name="Freeform 17">
              <a:extLst>
                <a:ext uri="{FF2B5EF4-FFF2-40B4-BE49-F238E27FC236}">
                  <a16:creationId xmlns:a16="http://schemas.microsoft.com/office/drawing/2014/main" id="{0BA628B8-4635-4910-AA7A-FED371B369F9}"/>
                </a:ext>
              </a:extLst>
            </p:cNvPr>
            <p:cNvSpPr>
              <a:spLocks/>
            </p:cNvSpPr>
            <p:nvPr/>
          </p:nvSpPr>
          <p:spPr bwMode="auto">
            <a:xfrm>
              <a:off x="5348288" y="3754438"/>
              <a:ext cx="163513" cy="152400"/>
            </a:xfrm>
            <a:custGeom>
              <a:avLst/>
              <a:gdLst>
                <a:gd name="T0" fmla="*/ 110 w 110"/>
                <a:gd name="T1" fmla="*/ 0 h 103"/>
                <a:gd name="T2" fmla="*/ 25 w 110"/>
                <a:gd name="T3" fmla="*/ 103 h 103"/>
                <a:gd name="T4" fmla="*/ 0 w 110"/>
                <a:gd name="T5" fmla="*/ 28 h 103"/>
                <a:gd name="T6" fmla="*/ 110 w 110"/>
                <a:gd name="T7" fmla="*/ 0 h 103"/>
              </a:gdLst>
              <a:ahLst/>
              <a:cxnLst>
                <a:cxn ang="0">
                  <a:pos x="T0" y="T1"/>
                </a:cxn>
                <a:cxn ang="0">
                  <a:pos x="T2" y="T3"/>
                </a:cxn>
                <a:cxn ang="0">
                  <a:pos x="T4" y="T5"/>
                </a:cxn>
                <a:cxn ang="0">
                  <a:pos x="T6" y="T7"/>
                </a:cxn>
              </a:cxnLst>
              <a:rect l="0" t="0" r="r" b="b"/>
              <a:pathLst>
                <a:path w="110" h="103">
                  <a:moveTo>
                    <a:pt x="110" y="0"/>
                  </a:moveTo>
                  <a:cubicBezTo>
                    <a:pt x="25" y="103"/>
                    <a:pt x="25" y="103"/>
                    <a:pt x="25" y="103"/>
                  </a:cubicBezTo>
                  <a:cubicBezTo>
                    <a:pt x="14" y="79"/>
                    <a:pt x="6" y="53"/>
                    <a:pt x="0" y="28"/>
                  </a:cubicBezTo>
                  <a:cubicBezTo>
                    <a:pt x="110" y="0"/>
                    <a:pt x="110" y="0"/>
                    <a:pt x="110" y="0"/>
                  </a:cubicBezTo>
                  <a:close/>
                </a:path>
              </a:pathLst>
            </a:custGeom>
            <a:gradFill>
              <a:gsLst>
                <a:gs pos="73000">
                  <a:schemeClr val="accent1"/>
                </a:gs>
                <a:gs pos="31000">
                  <a:schemeClr val="accent1">
                    <a:lumMod val="60000"/>
                    <a:lumOff val="40000"/>
                  </a:schemeClr>
                </a:gs>
                <a:gs pos="0">
                  <a:schemeClr val="accent1">
                    <a:lumMod val="40000"/>
                    <a:lumOff val="60000"/>
                  </a:schemeClr>
                </a:gs>
              </a:gsLst>
              <a:path path="circle">
                <a:fillToRect r="100000" b="100000"/>
              </a:path>
            </a:gradFill>
            <a:ln>
              <a:noFill/>
            </a:ln>
            <a:effectLst>
              <a:outerShdw blurRad="444500" dist="317500" dir="5400000" sx="92000" sy="92000" algn="t" rotWithShape="0">
                <a:schemeClr val="accent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18" name="Freeform 18">
              <a:extLst>
                <a:ext uri="{FF2B5EF4-FFF2-40B4-BE49-F238E27FC236}">
                  <a16:creationId xmlns:a16="http://schemas.microsoft.com/office/drawing/2014/main" id="{FACC2F0C-70CD-42A2-9F74-C33F61AB6562}"/>
                </a:ext>
              </a:extLst>
            </p:cNvPr>
            <p:cNvSpPr>
              <a:spLocks/>
            </p:cNvSpPr>
            <p:nvPr/>
          </p:nvSpPr>
          <p:spPr bwMode="auto">
            <a:xfrm>
              <a:off x="5886450" y="2843213"/>
              <a:ext cx="115888" cy="187325"/>
            </a:xfrm>
            <a:custGeom>
              <a:avLst/>
              <a:gdLst>
                <a:gd name="T0" fmla="*/ 32 w 79"/>
                <a:gd name="T1" fmla="*/ 126 h 126"/>
                <a:gd name="T2" fmla="*/ 79 w 79"/>
                <a:gd name="T3" fmla="*/ 0 h 126"/>
                <a:gd name="T4" fmla="*/ 0 w 79"/>
                <a:gd name="T5" fmla="*/ 17 h 126"/>
                <a:gd name="T6" fmla="*/ 32 w 79"/>
                <a:gd name="T7" fmla="*/ 126 h 126"/>
              </a:gdLst>
              <a:ahLst/>
              <a:cxnLst>
                <a:cxn ang="0">
                  <a:pos x="T0" y="T1"/>
                </a:cxn>
                <a:cxn ang="0">
                  <a:pos x="T2" y="T3"/>
                </a:cxn>
                <a:cxn ang="0">
                  <a:pos x="T4" y="T5"/>
                </a:cxn>
                <a:cxn ang="0">
                  <a:pos x="T6" y="T7"/>
                </a:cxn>
              </a:cxnLst>
              <a:rect l="0" t="0" r="r" b="b"/>
              <a:pathLst>
                <a:path w="79" h="126">
                  <a:moveTo>
                    <a:pt x="32" y="126"/>
                  </a:moveTo>
                  <a:cubicBezTo>
                    <a:pt x="79" y="0"/>
                    <a:pt x="79" y="0"/>
                    <a:pt x="79" y="0"/>
                  </a:cubicBezTo>
                  <a:cubicBezTo>
                    <a:pt x="53" y="4"/>
                    <a:pt x="26" y="9"/>
                    <a:pt x="0" y="17"/>
                  </a:cubicBezTo>
                  <a:cubicBezTo>
                    <a:pt x="32" y="126"/>
                    <a:pt x="32" y="126"/>
                    <a:pt x="32" y="126"/>
                  </a:cubicBezTo>
                  <a:close/>
                </a:path>
              </a:pathLst>
            </a:custGeom>
            <a:gradFill>
              <a:gsLst>
                <a:gs pos="73000">
                  <a:schemeClr val="accent1"/>
                </a:gs>
                <a:gs pos="31000">
                  <a:schemeClr val="accent1">
                    <a:lumMod val="60000"/>
                    <a:lumOff val="40000"/>
                  </a:schemeClr>
                </a:gs>
                <a:gs pos="0">
                  <a:schemeClr val="accent1">
                    <a:lumMod val="40000"/>
                    <a:lumOff val="60000"/>
                  </a:schemeClr>
                </a:gs>
              </a:gsLst>
              <a:path path="circle">
                <a:fillToRect r="100000" b="100000"/>
              </a:path>
            </a:gradFill>
            <a:ln>
              <a:noFill/>
            </a:ln>
            <a:effectLst>
              <a:outerShdw blurRad="444500" dist="317500" dir="5400000" sx="92000" sy="92000" algn="t" rotWithShape="0">
                <a:schemeClr val="accent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grpSp>
      <p:grpSp>
        <p:nvGrpSpPr>
          <p:cNvPr id="19" name="Group 19">
            <a:extLst>
              <a:ext uri="{FF2B5EF4-FFF2-40B4-BE49-F238E27FC236}">
                <a16:creationId xmlns:a16="http://schemas.microsoft.com/office/drawing/2014/main" id="{B645B524-538C-4399-894F-98C60C2C6E14}"/>
              </a:ext>
            </a:extLst>
          </p:cNvPr>
          <p:cNvGrpSpPr/>
          <p:nvPr/>
        </p:nvGrpSpPr>
        <p:grpSpPr>
          <a:xfrm>
            <a:off x="6174250" y="2241744"/>
            <a:ext cx="1669868" cy="2003842"/>
            <a:chOff x="6164263" y="2232025"/>
            <a:chExt cx="1476375" cy="1771651"/>
          </a:xfrm>
        </p:grpSpPr>
        <p:sp>
          <p:nvSpPr>
            <p:cNvPr id="20" name="Freeform 20">
              <a:extLst>
                <a:ext uri="{FF2B5EF4-FFF2-40B4-BE49-F238E27FC236}">
                  <a16:creationId xmlns:a16="http://schemas.microsoft.com/office/drawing/2014/main" id="{267A94D7-23AF-4613-A690-1BF142B203EA}"/>
                </a:ext>
              </a:extLst>
            </p:cNvPr>
            <p:cNvSpPr>
              <a:spLocks/>
            </p:cNvSpPr>
            <p:nvPr/>
          </p:nvSpPr>
          <p:spPr bwMode="auto">
            <a:xfrm>
              <a:off x="6240463" y="2232025"/>
              <a:ext cx="1400175" cy="1662113"/>
            </a:xfrm>
            <a:custGeom>
              <a:avLst/>
              <a:gdLst>
                <a:gd name="T0" fmla="*/ 129 w 942"/>
                <a:gd name="T1" fmla="*/ 0 h 1120"/>
                <a:gd name="T2" fmla="*/ 839 w 942"/>
                <a:gd name="T3" fmla="*/ 1120 h 1120"/>
                <a:gd name="T4" fmla="*/ 302 w 942"/>
                <a:gd name="T5" fmla="*/ 1011 h 1120"/>
                <a:gd name="T6" fmla="*/ 0 w 942"/>
                <a:gd name="T7" fmla="*/ 533 h 1120"/>
                <a:gd name="T8" fmla="*/ 129 w 942"/>
                <a:gd name="T9" fmla="*/ 0 h 1120"/>
              </a:gdLst>
              <a:ahLst/>
              <a:cxnLst>
                <a:cxn ang="0">
                  <a:pos x="T0" y="T1"/>
                </a:cxn>
                <a:cxn ang="0">
                  <a:pos x="T2" y="T3"/>
                </a:cxn>
                <a:cxn ang="0">
                  <a:pos x="T4" y="T5"/>
                </a:cxn>
                <a:cxn ang="0">
                  <a:pos x="T6" y="T7"/>
                </a:cxn>
                <a:cxn ang="0">
                  <a:pos x="T8" y="T9"/>
                </a:cxn>
              </a:cxnLst>
              <a:rect l="0" t="0" r="r" b="b"/>
              <a:pathLst>
                <a:path w="942" h="1120">
                  <a:moveTo>
                    <a:pt x="129" y="0"/>
                  </a:moveTo>
                  <a:cubicBezTo>
                    <a:pt x="632" y="122"/>
                    <a:pt x="942" y="616"/>
                    <a:pt x="839" y="1120"/>
                  </a:cubicBezTo>
                  <a:cubicBezTo>
                    <a:pt x="302" y="1011"/>
                    <a:pt x="302" y="1011"/>
                    <a:pt x="302" y="1011"/>
                  </a:cubicBezTo>
                  <a:cubicBezTo>
                    <a:pt x="346" y="798"/>
                    <a:pt x="210" y="584"/>
                    <a:pt x="0" y="533"/>
                  </a:cubicBezTo>
                  <a:cubicBezTo>
                    <a:pt x="129" y="0"/>
                    <a:pt x="129" y="0"/>
                    <a:pt x="129" y="0"/>
                  </a:cubicBezTo>
                  <a:close/>
                </a:path>
              </a:pathLst>
            </a:custGeom>
            <a:gradFill>
              <a:gsLst>
                <a:gs pos="73000">
                  <a:schemeClr val="accent1"/>
                </a:gs>
                <a:gs pos="31000">
                  <a:schemeClr val="accent1">
                    <a:lumMod val="60000"/>
                    <a:lumOff val="40000"/>
                  </a:schemeClr>
                </a:gs>
                <a:gs pos="0">
                  <a:schemeClr val="accent1">
                    <a:lumMod val="40000"/>
                    <a:lumOff val="60000"/>
                  </a:schemeClr>
                </a:gs>
              </a:gsLst>
              <a:path path="circle">
                <a:fillToRect r="100000" b="100000"/>
              </a:path>
            </a:gradFill>
            <a:ln>
              <a:noFill/>
            </a:ln>
            <a:effectLst>
              <a:outerShdw blurRad="444500" dist="317500" dir="5400000" sx="92000" sy="92000" algn="t" rotWithShape="0">
                <a:schemeClr val="accent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21" name="Freeform 21">
              <a:extLst>
                <a:ext uri="{FF2B5EF4-FFF2-40B4-BE49-F238E27FC236}">
                  <a16:creationId xmlns:a16="http://schemas.microsoft.com/office/drawing/2014/main" id="{A2C720B4-8B37-49E8-93DB-9A1A7E403147}"/>
                </a:ext>
              </a:extLst>
            </p:cNvPr>
            <p:cNvSpPr>
              <a:spLocks/>
            </p:cNvSpPr>
            <p:nvPr/>
          </p:nvSpPr>
          <p:spPr bwMode="auto">
            <a:xfrm>
              <a:off x="6235700" y="2232025"/>
              <a:ext cx="196850" cy="185738"/>
            </a:xfrm>
            <a:custGeom>
              <a:avLst/>
              <a:gdLst>
                <a:gd name="T0" fmla="*/ 132 w 132"/>
                <a:gd name="T1" fmla="*/ 0 h 125"/>
                <a:gd name="T2" fmla="*/ 0 w 132"/>
                <a:gd name="T3" fmla="*/ 107 h 125"/>
                <a:gd name="T4" fmla="*/ 102 w 132"/>
                <a:gd name="T5" fmla="*/ 125 h 125"/>
                <a:gd name="T6" fmla="*/ 132 w 132"/>
                <a:gd name="T7" fmla="*/ 0 h 125"/>
              </a:gdLst>
              <a:ahLst/>
              <a:cxnLst>
                <a:cxn ang="0">
                  <a:pos x="T0" y="T1"/>
                </a:cxn>
                <a:cxn ang="0">
                  <a:pos x="T2" y="T3"/>
                </a:cxn>
                <a:cxn ang="0">
                  <a:pos x="T4" y="T5"/>
                </a:cxn>
                <a:cxn ang="0">
                  <a:pos x="T6" y="T7"/>
                </a:cxn>
              </a:cxnLst>
              <a:rect l="0" t="0" r="r" b="b"/>
              <a:pathLst>
                <a:path w="132" h="125">
                  <a:moveTo>
                    <a:pt x="132" y="0"/>
                  </a:moveTo>
                  <a:cubicBezTo>
                    <a:pt x="0" y="107"/>
                    <a:pt x="0" y="107"/>
                    <a:pt x="0" y="107"/>
                  </a:cubicBezTo>
                  <a:cubicBezTo>
                    <a:pt x="1" y="108"/>
                    <a:pt x="89" y="122"/>
                    <a:pt x="102" y="125"/>
                  </a:cubicBezTo>
                  <a:cubicBezTo>
                    <a:pt x="132" y="0"/>
                    <a:pt x="132" y="0"/>
                    <a:pt x="132" y="0"/>
                  </a:cubicBezTo>
                  <a:close/>
                </a:path>
              </a:pathLst>
            </a:custGeom>
            <a:gradFill>
              <a:gsLst>
                <a:gs pos="73000">
                  <a:schemeClr val="accent1"/>
                </a:gs>
                <a:gs pos="31000">
                  <a:schemeClr val="accent1">
                    <a:lumMod val="60000"/>
                    <a:lumOff val="40000"/>
                  </a:schemeClr>
                </a:gs>
                <a:gs pos="0">
                  <a:schemeClr val="accent1">
                    <a:lumMod val="40000"/>
                    <a:lumOff val="60000"/>
                  </a:schemeClr>
                </a:gs>
              </a:gsLst>
              <a:path path="circle">
                <a:fillToRect r="100000" b="100000"/>
              </a:path>
            </a:gradFill>
            <a:ln>
              <a:noFill/>
            </a:ln>
            <a:effectLst>
              <a:outerShdw blurRad="444500" dist="317500" dir="5400000" sx="92000" sy="92000" algn="t" rotWithShape="0">
                <a:schemeClr val="accent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22" name="Freeform 22">
              <a:extLst>
                <a:ext uri="{FF2B5EF4-FFF2-40B4-BE49-F238E27FC236}">
                  <a16:creationId xmlns:a16="http://schemas.microsoft.com/office/drawing/2014/main" id="{243FA27A-0B55-4DCA-9E12-AE8FC424F4B6}"/>
                </a:ext>
              </a:extLst>
            </p:cNvPr>
            <p:cNvSpPr>
              <a:spLocks/>
            </p:cNvSpPr>
            <p:nvPr/>
          </p:nvSpPr>
          <p:spPr bwMode="auto">
            <a:xfrm>
              <a:off x="7259638" y="3856038"/>
              <a:ext cx="227013" cy="147638"/>
            </a:xfrm>
            <a:custGeom>
              <a:avLst/>
              <a:gdLst>
                <a:gd name="T0" fmla="*/ 153 w 153"/>
                <a:gd name="T1" fmla="*/ 26 h 100"/>
                <a:gd name="T2" fmla="*/ 0 w 153"/>
                <a:gd name="T3" fmla="*/ 100 h 100"/>
                <a:gd name="T4" fmla="*/ 26 w 153"/>
                <a:gd name="T5" fmla="*/ 0 h 100"/>
                <a:gd name="T6" fmla="*/ 153 w 153"/>
                <a:gd name="T7" fmla="*/ 26 h 100"/>
              </a:gdLst>
              <a:ahLst/>
              <a:cxnLst>
                <a:cxn ang="0">
                  <a:pos x="T0" y="T1"/>
                </a:cxn>
                <a:cxn ang="0">
                  <a:pos x="T2" y="T3"/>
                </a:cxn>
                <a:cxn ang="0">
                  <a:pos x="T4" y="T5"/>
                </a:cxn>
                <a:cxn ang="0">
                  <a:pos x="T6" y="T7"/>
                </a:cxn>
              </a:cxnLst>
              <a:rect l="0" t="0" r="r" b="b"/>
              <a:pathLst>
                <a:path w="153" h="100">
                  <a:moveTo>
                    <a:pt x="153" y="26"/>
                  </a:moveTo>
                  <a:cubicBezTo>
                    <a:pt x="0" y="100"/>
                    <a:pt x="0" y="100"/>
                    <a:pt x="0" y="100"/>
                  </a:cubicBezTo>
                  <a:cubicBezTo>
                    <a:pt x="11" y="67"/>
                    <a:pt x="19" y="34"/>
                    <a:pt x="26" y="0"/>
                  </a:cubicBezTo>
                  <a:cubicBezTo>
                    <a:pt x="153" y="26"/>
                    <a:pt x="153" y="26"/>
                    <a:pt x="153" y="26"/>
                  </a:cubicBezTo>
                  <a:close/>
                </a:path>
              </a:pathLst>
            </a:custGeom>
            <a:gradFill>
              <a:gsLst>
                <a:gs pos="73000">
                  <a:schemeClr val="accent1"/>
                </a:gs>
                <a:gs pos="31000">
                  <a:schemeClr val="accent1">
                    <a:lumMod val="60000"/>
                    <a:lumOff val="40000"/>
                  </a:schemeClr>
                </a:gs>
                <a:gs pos="0">
                  <a:schemeClr val="accent1">
                    <a:lumMod val="40000"/>
                    <a:lumOff val="60000"/>
                  </a:schemeClr>
                </a:gs>
              </a:gsLst>
              <a:path path="circle">
                <a:fillToRect r="100000" b="100000"/>
              </a:path>
            </a:gradFill>
            <a:ln>
              <a:noFill/>
            </a:ln>
            <a:effectLst>
              <a:outerShdw blurRad="444500" dist="317500" dir="5400000" sx="92000" sy="92000" algn="t" rotWithShape="0">
                <a:schemeClr val="accent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23" name="Freeform 23">
              <a:extLst>
                <a:ext uri="{FF2B5EF4-FFF2-40B4-BE49-F238E27FC236}">
                  <a16:creationId xmlns:a16="http://schemas.microsoft.com/office/drawing/2014/main" id="{CC38F542-01A8-4235-B9CC-46C705043688}"/>
                </a:ext>
              </a:extLst>
            </p:cNvPr>
            <p:cNvSpPr>
              <a:spLocks/>
            </p:cNvSpPr>
            <p:nvPr/>
          </p:nvSpPr>
          <p:spPr bwMode="auto">
            <a:xfrm>
              <a:off x="6164263" y="2840038"/>
              <a:ext cx="115888" cy="182563"/>
            </a:xfrm>
            <a:custGeom>
              <a:avLst/>
              <a:gdLst>
                <a:gd name="T0" fmla="*/ 52 w 78"/>
                <a:gd name="T1" fmla="*/ 123 h 123"/>
                <a:gd name="T2" fmla="*/ 0 w 78"/>
                <a:gd name="T3" fmla="*/ 0 h 123"/>
                <a:gd name="T4" fmla="*/ 78 w 78"/>
                <a:gd name="T5" fmla="*/ 13 h 123"/>
                <a:gd name="T6" fmla="*/ 52 w 78"/>
                <a:gd name="T7" fmla="*/ 123 h 123"/>
              </a:gdLst>
              <a:ahLst/>
              <a:cxnLst>
                <a:cxn ang="0">
                  <a:pos x="T0" y="T1"/>
                </a:cxn>
                <a:cxn ang="0">
                  <a:pos x="T2" y="T3"/>
                </a:cxn>
                <a:cxn ang="0">
                  <a:pos x="T4" y="T5"/>
                </a:cxn>
                <a:cxn ang="0">
                  <a:pos x="T6" y="T7"/>
                </a:cxn>
              </a:cxnLst>
              <a:rect l="0" t="0" r="r" b="b"/>
              <a:pathLst>
                <a:path w="78" h="123">
                  <a:moveTo>
                    <a:pt x="52" y="123"/>
                  </a:moveTo>
                  <a:cubicBezTo>
                    <a:pt x="0" y="0"/>
                    <a:pt x="0" y="0"/>
                    <a:pt x="0" y="0"/>
                  </a:cubicBezTo>
                  <a:cubicBezTo>
                    <a:pt x="27" y="2"/>
                    <a:pt x="53" y="7"/>
                    <a:pt x="78" y="13"/>
                  </a:cubicBezTo>
                  <a:cubicBezTo>
                    <a:pt x="52" y="123"/>
                    <a:pt x="52" y="123"/>
                    <a:pt x="52" y="123"/>
                  </a:cubicBezTo>
                  <a:close/>
                </a:path>
              </a:pathLst>
            </a:custGeom>
            <a:gradFill>
              <a:gsLst>
                <a:gs pos="73000">
                  <a:schemeClr val="accent1"/>
                </a:gs>
                <a:gs pos="31000">
                  <a:schemeClr val="accent1">
                    <a:lumMod val="60000"/>
                    <a:lumOff val="40000"/>
                  </a:schemeClr>
                </a:gs>
                <a:gs pos="0">
                  <a:schemeClr val="accent1">
                    <a:lumMod val="40000"/>
                    <a:lumOff val="60000"/>
                  </a:schemeClr>
                </a:gs>
              </a:gsLst>
              <a:path path="circle">
                <a:fillToRect r="100000" b="100000"/>
              </a:path>
            </a:gradFill>
            <a:ln>
              <a:noFill/>
            </a:ln>
            <a:effectLst>
              <a:outerShdw blurRad="444500" dist="317500" dir="5400000" sx="92000" sy="92000" algn="t" rotWithShape="0">
                <a:schemeClr val="accent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24" name="Freeform 20">
              <a:extLst>
                <a:ext uri="{FF2B5EF4-FFF2-40B4-BE49-F238E27FC236}">
                  <a16:creationId xmlns:a16="http://schemas.microsoft.com/office/drawing/2014/main" id="{849A1092-584B-41EE-8E6E-05F60EEEE9BD}"/>
                </a:ext>
              </a:extLst>
            </p:cNvPr>
            <p:cNvSpPr>
              <a:spLocks/>
            </p:cNvSpPr>
            <p:nvPr/>
          </p:nvSpPr>
          <p:spPr bwMode="auto">
            <a:xfrm>
              <a:off x="6689725" y="3732213"/>
              <a:ext cx="165100" cy="147638"/>
            </a:xfrm>
            <a:custGeom>
              <a:avLst/>
              <a:gdLst>
                <a:gd name="T0" fmla="*/ 0 w 111"/>
                <a:gd name="T1" fmla="*/ 0 h 99"/>
                <a:gd name="T2" fmla="*/ 90 w 111"/>
                <a:gd name="T3" fmla="*/ 99 h 99"/>
                <a:gd name="T4" fmla="*/ 111 w 111"/>
                <a:gd name="T5" fmla="*/ 22 h 99"/>
                <a:gd name="T6" fmla="*/ 0 w 111"/>
                <a:gd name="T7" fmla="*/ 0 h 99"/>
              </a:gdLst>
              <a:ahLst/>
              <a:cxnLst>
                <a:cxn ang="0">
                  <a:pos x="T0" y="T1"/>
                </a:cxn>
                <a:cxn ang="0">
                  <a:pos x="T2" y="T3"/>
                </a:cxn>
                <a:cxn ang="0">
                  <a:pos x="T4" y="T5"/>
                </a:cxn>
                <a:cxn ang="0">
                  <a:pos x="T6" y="T7"/>
                </a:cxn>
              </a:cxnLst>
              <a:rect l="0" t="0" r="r" b="b"/>
              <a:pathLst>
                <a:path w="111" h="99">
                  <a:moveTo>
                    <a:pt x="0" y="0"/>
                  </a:moveTo>
                  <a:cubicBezTo>
                    <a:pt x="90" y="99"/>
                    <a:pt x="90" y="99"/>
                    <a:pt x="90" y="99"/>
                  </a:cubicBezTo>
                  <a:cubicBezTo>
                    <a:pt x="99" y="73"/>
                    <a:pt x="106" y="48"/>
                    <a:pt x="111" y="22"/>
                  </a:cubicBezTo>
                  <a:cubicBezTo>
                    <a:pt x="0" y="0"/>
                    <a:pt x="0" y="0"/>
                    <a:pt x="0" y="0"/>
                  </a:cubicBezTo>
                  <a:close/>
                </a:path>
              </a:pathLst>
            </a:custGeom>
            <a:gradFill>
              <a:gsLst>
                <a:gs pos="73000">
                  <a:schemeClr val="accent1"/>
                </a:gs>
                <a:gs pos="31000">
                  <a:schemeClr val="accent1">
                    <a:lumMod val="60000"/>
                    <a:lumOff val="40000"/>
                  </a:schemeClr>
                </a:gs>
                <a:gs pos="0">
                  <a:schemeClr val="accent1">
                    <a:lumMod val="40000"/>
                    <a:lumOff val="60000"/>
                  </a:schemeClr>
                </a:gs>
              </a:gsLst>
              <a:path path="circle">
                <a:fillToRect r="100000" b="100000"/>
              </a:path>
            </a:gradFill>
            <a:ln>
              <a:noFill/>
            </a:ln>
            <a:effectLst>
              <a:outerShdw blurRad="444500" dist="317500" dir="5400000" sx="92000" sy="92000" algn="t" rotWithShape="0">
                <a:schemeClr val="accent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grpSp>
      <p:grpSp>
        <p:nvGrpSpPr>
          <p:cNvPr id="25" name="Group 25">
            <a:extLst>
              <a:ext uri="{FF2B5EF4-FFF2-40B4-BE49-F238E27FC236}">
                <a16:creationId xmlns:a16="http://schemas.microsoft.com/office/drawing/2014/main" id="{094F6DD5-7C45-47C9-9C19-9B579295065B}"/>
              </a:ext>
            </a:extLst>
          </p:cNvPr>
          <p:cNvGrpSpPr/>
          <p:nvPr/>
        </p:nvGrpSpPr>
        <p:grpSpPr>
          <a:xfrm>
            <a:off x="5849253" y="4707044"/>
            <a:ext cx="502757" cy="506347"/>
            <a:chOff x="5876925" y="4173538"/>
            <a:chExt cx="444501" cy="447675"/>
          </a:xfrm>
        </p:grpSpPr>
        <p:sp>
          <p:nvSpPr>
            <p:cNvPr id="26" name="Freeform 21">
              <a:extLst>
                <a:ext uri="{FF2B5EF4-FFF2-40B4-BE49-F238E27FC236}">
                  <a16:creationId xmlns:a16="http://schemas.microsoft.com/office/drawing/2014/main" id="{9F2C367E-99C7-4822-AFC9-157437B100DD}"/>
                </a:ext>
              </a:extLst>
            </p:cNvPr>
            <p:cNvSpPr>
              <a:spLocks/>
            </p:cNvSpPr>
            <p:nvPr/>
          </p:nvSpPr>
          <p:spPr bwMode="auto">
            <a:xfrm>
              <a:off x="6088063" y="4173538"/>
              <a:ext cx="11113" cy="47625"/>
            </a:xfrm>
            <a:custGeom>
              <a:avLst/>
              <a:gdLst>
                <a:gd name="T0" fmla="*/ 8 w 8"/>
                <a:gd name="T1" fmla="*/ 29 h 32"/>
                <a:gd name="T2" fmla="*/ 4 w 8"/>
                <a:gd name="T3" fmla="*/ 32 h 32"/>
                <a:gd name="T4" fmla="*/ 4 w 8"/>
                <a:gd name="T5" fmla="*/ 32 h 32"/>
                <a:gd name="T6" fmla="*/ 0 w 8"/>
                <a:gd name="T7" fmla="*/ 29 h 32"/>
                <a:gd name="T8" fmla="*/ 0 w 8"/>
                <a:gd name="T9" fmla="*/ 3 h 32"/>
                <a:gd name="T10" fmla="*/ 4 w 8"/>
                <a:gd name="T11" fmla="*/ 0 h 32"/>
                <a:gd name="T12" fmla="*/ 4 w 8"/>
                <a:gd name="T13" fmla="*/ 0 h 32"/>
                <a:gd name="T14" fmla="*/ 8 w 8"/>
                <a:gd name="T15" fmla="*/ 3 h 32"/>
                <a:gd name="T16" fmla="*/ 8 w 8"/>
                <a:gd name="T17" fmla="*/ 29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32">
                  <a:moveTo>
                    <a:pt x="8" y="29"/>
                  </a:moveTo>
                  <a:cubicBezTo>
                    <a:pt x="8" y="31"/>
                    <a:pt x="6" y="32"/>
                    <a:pt x="4" y="32"/>
                  </a:cubicBezTo>
                  <a:cubicBezTo>
                    <a:pt x="4" y="32"/>
                    <a:pt x="4" y="32"/>
                    <a:pt x="4" y="32"/>
                  </a:cubicBezTo>
                  <a:cubicBezTo>
                    <a:pt x="2" y="32"/>
                    <a:pt x="0" y="31"/>
                    <a:pt x="0" y="29"/>
                  </a:cubicBezTo>
                  <a:cubicBezTo>
                    <a:pt x="0" y="3"/>
                    <a:pt x="0" y="3"/>
                    <a:pt x="0" y="3"/>
                  </a:cubicBezTo>
                  <a:cubicBezTo>
                    <a:pt x="0" y="1"/>
                    <a:pt x="2" y="0"/>
                    <a:pt x="4" y="0"/>
                  </a:cubicBezTo>
                  <a:cubicBezTo>
                    <a:pt x="4" y="0"/>
                    <a:pt x="4" y="0"/>
                    <a:pt x="4" y="0"/>
                  </a:cubicBezTo>
                  <a:cubicBezTo>
                    <a:pt x="7" y="0"/>
                    <a:pt x="8" y="1"/>
                    <a:pt x="8" y="3"/>
                  </a:cubicBezTo>
                  <a:cubicBezTo>
                    <a:pt x="8" y="29"/>
                    <a:pt x="8" y="29"/>
                    <a:pt x="8" y="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Inter"/>
                <a:ea typeface="+mn-ea"/>
                <a:cs typeface="+mn-cs"/>
              </a:endParaRPr>
            </a:p>
          </p:txBody>
        </p:sp>
        <p:sp>
          <p:nvSpPr>
            <p:cNvPr id="27" name="Freeform 22">
              <a:extLst>
                <a:ext uri="{FF2B5EF4-FFF2-40B4-BE49-F238E27FC236}">
                  <a16:creationId xmlns:a16="http://schemas.microsoft.com/office/drawing/2014/main" id="{515733B1-DBD0-441A-A71D-AF68F9428122}"/>
                </a:ext>
              </a:extLst>
            </p:cNvPr>
            <p:cNvSpPr>
              <a:spLocks/>
            </p:cNvSpPr>
            <p:nvPr/>
          </p:nvSpPr>
          <p:spPr bwMode="auto">
            <a:xfrm>
              <a:off x="5927725" y="4246563"/>
              <a:ext cx="41275" cy="39688"/>
            </a:xfrm>
            <a:custGeom>
              <a:avLst/>
              <a:gdLst>
                <a:gd name="T0" fmla="*/ 26 w 28"/>
                <a:gd name="T1" fmla="*/ 19 h 27"/>
                <a:gd name="T2" fmla="*/ 26 w 28"/>
                <a:gd name="T3" fmla="*/ 25 h 27"/>
                <a:gd name="T4" fmla="*/ 26 w 28"/>
                <a:gd name="T5" fmla="*/ 25 h 27"/>
                <a:gd name="T6" fmla="*/ 20 w 28"/>
                <a:gd name="T7" fmla="*/ 25 h 27"/>
                <a:gd name="T8" fmla="*/ 1 w 28"/>
                <a:gd name="T9" fmla="*/ 8 h 27"/>
                <a:gd name="T10" fmla="*/ 2 w 28"/>
                <a:gd name="T11" fmla="*/ 2 h 27"/>
                <a:gd name="T12" fmla="*/ 2 w 28"/>
                <a:gd name="T13" fmla="*/ 2 h 27"/>
                <a:gd name="T14" fmla="*/ 7 w 28"/>
                <a:gd name="T15" fmla="*/ 2 h 27"/>
                <a:gd name="T16" fmla="*/ 26 w 28"/>
                <a:gd name="T17"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 h="27">
                  <a:moveTo>
                    <a:pt x="26" y="19"/>
                  </a:moveTo>
                  <a:cubicBezTo>
                    <a:pt x="28" y="20"/>
                    <a:pt x="28" y="23"/>
                    <a:pt x="26" y="25"/>
                  </a:cubicBezTo>
                  <a:cubicBezTo>
                    <a:pt x="26" y="25"/>
                    <a:pt x="26" y="25"/>
                    <a:pt x="26" y="25"/>
                  </a:cubicBezTo>
                  <a:cubicBezTo>
                    <a:pt x="24" y="26"/>
                    <a:pt x="22" y="27"/>
                    <a:pt x="20" y="25"/>
                  </a:cubicBezTo>
                  <a:cubicBezTo>
                    <a:pt x="1" y="8"/>
                    <a:pt x="1" y="8"/>
                    <a:pt x="1" y="8"/>
                  </a:cubicBezTo>
                  <a:cubicBezTo>
                    <a:pt x="0" y="7"/>
                    <a:pt x="0" y="4"/>
                    <a:pt x="2" y="2"/>
                  </a:cubicBezTo>
                  <a:cubicBezTo>
                    <a:pt x="2" y="2"/>
                    <a:pt x="2" y="2"/>
                    <a:pt x="2" y="2"/>
                  </a:cubicBezTo>
                  <a:cubicBezTo>
                    <a:pt x="3" y="1"/>
                    <a:pt x="6" y="0"/>
                    <a:pt x="7" y="2"/>
                  </a:cubicBezTo>
                  <a:cubicBezTo>
                    <a:pt x="26" y="19"/>
                    <a:pt x="26" y="19"/>
                    <a:pt x="26" y="1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Inter"/>
                <a:ea typeface="+mn-ea"/>
                <a:cs typeface="+mn-cs"/>
              </a:endParaRPr>
            </a:p>
          </p:txBody>
        </p:sp>
        <p:sp>
          <p:nvSpPr>
            <p:cNvPr id="28" name="Freeform 23">
              <a:extLst>
                <a:ext uri="{FF2B5EF4-FFF2-40B4-BE49-F238E27FC236}">
                  <a16:creationId xmlns:a16="http://schemas.microsoft.com/office/drawing/2014/main" id="{9930D293-4DDF-44B1-9B7B-A8E60A9EB02D}"/>
                </a:ext>
              </a:extLst>
            </p:cNvPr>
            <p:cNvSpPr>
              <a:spLocks/>
            </p:cNvSpPr>
            <p:nvPr/>
          </p:nvSpPr>
          <p:spPr bwMode="auto">
            <a:xfrm>
              <a:off x="5876925" y="4413250"/>
              <a:ext cx="49213" cy="15875"/>
            </a:xfrm>
            <a:custGeom>
              <a:avLst/>
              <a:gdLst>
                <a:gd name="T0" fmla="*/ 29 w 33"/>
                <a:gd name="T1" fmla="*/ 0 h 11"/>
                <a:gd name="T2" fmla="*/ 33 w 33"/>
                <a:gd name="T3" fmla="*/ 4 h 11"/>
                <a:gd name="T4" fmla="*/ 33 w 33"/>
                <a:gd name="T5" fmla="*/ 4 h 11"/>
                <a:gd name="T6" fmla="*/ 30 w 33"/>
                <a:gd name="T7" fmla="*/ 9 h 11"/>
                <a:gd name="T8" fmla="*/ 4 w 33"/>
                <a:gd name="T9" fmla="*/ 11 h 11"/>
                <a:gd name="T10" fmla="*/ 0 w 33"/>
                <a:gd name="T11" fmla="*/ 7 h 11"/>
                <a:gd name="T12" fmla="*/ 0 w 33"/>
                <a:gd name="T13" fmla="*/ 7 h 11"/>
                <a:gd name="T14" fmla="*/ 3 w 33"/>
                <a:gd name="T15" fmla="*/ 3 h 11"/>
                <a:gd name="T16" fmla="*/ 29 w 33"/>
                <a:gd name="T17"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11">
                  <a:moveTo>
                    <a:pt x="29" y="0"/>
                  </a:moveTo>
                  <a:cubicBezTo>
                    <a:pt x="31" y="0"/>
                    <a:pt x="33" y="2"/>
                    <a:pt x="33" y="4"/>
                  </a:cubicBezTo>
                  <a:cubicBezTo>
                    <a:pt x="33" y="4"/>
                    <a:pt x="33" y="4"/>
                    <a:pt x="33" y="4"/>
                  </a:cubicBezTo>
                  <a:cubicBezTo>
                    <a:pt x="33" y="6"/>
                    <a:pt x="32" y="8"/>
                    <a:pt x="30" y="9"/>
                  </a:cubicBezTo>
                  <a:cubicBezTo>
                    <a:pt x="4" y="11"/>
                    <a:pt x="4" y="11"/>
                    <a:pt x="4" y="11"/>
                  </a:cubicBezTo>
                  <a:cubicBezTo>
                    <a:pt x="2" y="11"/>
                    <a:pt x="1" y="10"/>
                    <a:pt x="0" y="7"/>
                  </a:cubicBezTo>
                  <a:cubicBezTo>
                    <a:pt x="0" y="7"/>
                    <a:pt x="0" y="7"/>
                    <a:pt x="0" y="7"/>
                  </a:cubicBezTo>
                  <a:cubicBezTo>
                    <a:pt x="0" y="5"/>
                    <a:pt x="1" y="3"/>
                    <a:pt x="3" y="3"/>
                  </a:cubicBezTo>
                  <a:cubicBezTo>
                    <a:pt x="29" y="0"/>
                    <a:pt x="29" y="0"/>
                    <a:pt x="29"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Inter"/>
                <a:ea typeface="+mn-ea"/>
                <a:cs typeface="+mn-cs"/>
              </a:endParaRPr>
            </a:p>
          </p:txBody>
        </p:sp>
        <p:sp>
          <p:nvSpPr>
            <p:cNvPr id="29" name="Freeform 24">
              <a:extLst>
                <a:ext uri="{FF2B5EF4-FFF2-40B4-BE49-F238E27FC236}">
                  <a16:creationId xmlns:a16="http://schemas.microsoft.com/office/drawing/2014/main" id="{FAE99397-2F61-4D7C-9161-338C6C158933}"/>
                </a:ext>
              </a:extLst>
            </p:cNvPr>
            <p:cNvSpPr>
              <a:spLocks/>
            </p:cNvSpPr>
            <p:nvPr/>
          </p:nvSpPr>
          <p:spPr bwMode="auto">
            <a:xfrm>
              <a:off x="6272213" y="4403725"/>
              <a:ext cx="49213" cy="15875"/>
            </a:xfrm>
            <a:custGeom>
              <a:avLst/>
              <a:gdLst>
                <a:gd name="T0" fmla="*/ 3 w 33"/>
                <a:gd name="T1" fmla="*/ 8 h 11"/>
                <a:gd name="T2" fmla="*/ 0 w 33"/>
                <a:gd name="T3" fmla="*/ 4 h 11"/>
                <a:gd name="T4" fmla="*/ 0 w 33"/>
                <a:gd name="T5" fmla="*/ 4 h 11"/>
                <a:gd name="T6" fmla="*/ 4 w 33"/>
                <a:gd name="T7" fmla="*/ 0 h 11"/>
                <a:gd name="T8" fmla="*/ 30 w 33"/>
                <a:gd name="T9" fmla="*/ 3 h 11"/>
                <a:gd name="T10" fmla="*/ 33 w 33"/>
                <a:gd name="T11" fmla="*/ 7 h 11"/>
                <a:gd name="T12" fmla="*/ 33 w 33"/>
                <a:gd name="T13" fmla="*/ 7 h 11"/>
                <a:gd name="T14" fmla="*/ 29 w 33"/>
                <a:gd name="T15" fmla="*/ 11 h 11"/>
                <a:gd name="T16" fmla="*/ 3 w 33"/>
                <a:gd name="T17" fmla="*/ 8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11">
                  <a:moveTo>
                    <a:pt x="3" y="8"/>
                  </a:moveTo>
                  <a:cubicBezTo>
                    <a:pt x="1" y="8"/>
                    <a:pt x="0" y="6"/>
                    <a:pt x="0" y="4"/>
                  </a:cubicBezTo>
                  <a:cubicBezTo>
                    <a:pt x="0" y="4"/>
                    <a:pt x="0" y="4"/>
                    <a:pt x="0" y="4"/>
                  </a:cubicBezTo>
                  <a:cubicBezTo>
                    <a:pt x="0" y="1"/>
                    <a:pt x="2" y="0"/>
                    <a:pt x="4" y="0"/>
                  </a:cubicBezTo>
                  <a:cubicBezTo>
                    <a:pt x="30" y="3"/>
                    <a:pt x="30" y="3"/>
                    <a:pt x="30" y="3"/>
                  </a:cubicBezTo>
                  <a:cubicBezTo>
                    <a:pt x="32" y="3"/>
                    <a:pt x="33" y="5"/>
                    <a:pt x="33" y="7"/>
                  </a:cubicBezTo>
                  <a:cubicBezTo>
                    <a:pt x="33" y="7"/>
                    <a:pt x="33" y="7"/>
                    <a:pt x="33" y="7"/>
                  </a:cubicBezTo>
                  <a:cubicBezTo>
                    <a:pt x="32" y="10"/>
                    <a:pt x="31" y="11"/>
                    <a:pt x="29" y="11"/>
                  </a:cubicBezTo>
                  <a:cubicBezTo>
                    <a:pt x="3" y="8"/>
                    <a:pt x="3" y="8"/>
                    <a:pt x="3" y="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Inter"/>
                <a:ea typeface="+mn-ea"/>
                <a:cs typeface="+mn-cs"/>
              </a:endParaRPr>
            </a:p>
          </p:txBody>
        </p:sp>
        <p:sp>
          <p:nvSpPr>
            <p:cNvPr id="30" name="Freeform 25">
              <a:extLst>
                <a:ext uri="{FF2B5EF4-FFF2-40B4-BE49-F238E27FC236}">
                  <a16:creationId xmlns:a16="http://schemas.microsoft.com/office/drawing/2014/main" id="{89602259-BFD8-46EC-924B-C91A4D0CEC97}"/>
                </a:ext>
              </a:extLst>
            </p:cNvPr>
            <p:cNvSpPr>
              <a:spLocks/>
            </p:cNvSpPr>
            <p:nvPr/>
          </p:nvSpPr>
          <p:spPr bwMode="auto">
            <a:xfrm>
              <a:off x="6221413" y="4240213"/>
              <a:ext cx="41275" cy="38100"/>
            </a:xfrm>
            <a:custGeom>
              <a:avLst/>
              <a:gdLst>
                <a:gd name="T0" fmla="*/ 8 w 28"/>
                <a:gd name="T1" fmla="*/ 25 h 26"/>
                <a:gd name="T2" fmla="*/ 2 w 28"/>
                <a:gd name="T3" fmla="*/ 24 h 26"/>
                <a:gd name="T4" fmla="*/ 2 w 28"/>
                <a:gd name="T5" fmla="*/ 24 h 26"/>
                <a:gd name="T6" fmla="*/ 2 w 28"/>
                <a:gd name="T7" fmla="*/ 18 h 26"/>
                <a:gd name="T8" fmla="*/ 21 w 28"/>
                <a:gd name="T9" fmla="*/ 1 h 26"/>
                <a:gd name="T10" fmla="*/ 27 w 28"/>
                <a:gd name="T11" fmla="*/ 2 h 26"/>
                <a:gd name="T12" fmla="*/ 27 w 28"/>
                <a:gd name="T13" fmla="*/ 2 h 26"/>
                <a:gd name="T14" fmla="*/ 27 w 28"/>
                <a:gd name="T15" fmla="*/ 8 h 26"/>
                <a:gd name="T16" fmla="*/ 8 w 28"/>
                <a:gd name="T17" fmla="*/ 2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 h="26">
                  <a:moveTo>
                    <a:pt x="8" y="25"/>
                  </a:moveTo>
                  <a:cubicBezTo>
                    <a:pt x="6" y="26"/>
                    <a:pt x="4" y="26"/>
                    <a:pt x="2" y="24"/>
                  </a:cubicBezTo>
                  <a:cubicBezTo>
                    <a:pt x="2" y="24"/>
                    <a:pt x="2" y="24"/>
                    <a:pt x="2" y="24"/>
                  </a:cubicBezTo>
                  <a:cubicBezTo>
                    <a:pt x="1" y="22"/>
                    <a:pt x="0" y="20"/>
                    <a:pt x="2" y="18"/>
                  </a:cubicBezTo>
                  <a:cubicBezTo>
                    <a:pt x="21" y="1"/>
                    <a:pt x="21" y="1"/>
                    <a:pt x="21" y="1"/>
                  </a:cubicBezTo>
                  <a:cubicBezTo>
                    <a:pt x="23" y="0"/>
                    <a:pt x="25" y="0"/>
                    <a:pt x="27" y="2"/>
                  </a:cubicBezTo>
                  <a:cubicBezTo>
                    <a:pt x="27" y="2"/>
                    <a:pt x="27" y="2"/>
                    <a:pt x="27" y="2"/>
                  </a:cubicBezTo>
                  <a:cubicBezTo>
                    <a:pt x="28" y="4"/>
                    <a:pt x="28" y="6"/>
                    <a:pt x="27" y="8"/>
                  </a:cubicBezTo>
                  <a:cubicBezTo>
                    <a:pt x="8" y="25"/>
                    <a:pt x="8" y="25"/>
                    <a:pt x="8" y="2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Inter"/>
                <a:ea typeface="+mn-ea"/>
                <a:cs typeface="+mn-cs"/>
              </a:endParaRPr>
            </a:p>
          </p:txBody>
        </p:sp>
        <p:sp>
          <p:nvSpPr>
            <p:cNvPr id="31" name="Freeform 26">
              <a:extLst>
                <a:ext uri="{FF2B5EF4-FFF2-40B4-BE49-F238E27FC236}">
                  <a16:creationId xmlns:a16="http://schemas.microsoft.com/office/drawing/2014/main" id="{E9B9BCA7-A9C3-4954-98BF-3CCBB72AC650}"/>
                </a:ext>
              </a:extLst>
            </p:cNvPr>
            <p:cNvSpPr>
              <a:spLocks noEditPoints="1"/>
            </p:cNvSpPr>
            <p:nvPr/>
          </p:nvSpPr>
          <p:spPr bwMode="auto">
            <a:xfrm>
              <a:off x="5956300" y="4241800"/>
              <a:ext cx="273050" cy="379413"/>
            </a:xfrm>
            <a:custGeom>
              <a:avLst/>
              <a:gdLst>
                <a:gd name="T0" fmla="*/ 120 w 184"/>
                <a:gd name="T1" fmla="*/ 219 h 256"/>
                <a:gd name="T2" fmla="*/ 117 w 184"/>
                <a:gd name="T3" fmla="*/ 226 h 256"/>
                <a:gd name="T4" fmla="*/ 113 w 184"/>
                <a:gd name="T5" fmla="*/ 227 h 256"/>
                <a:gd name="T6" fmla="*/ 69 w 184"/>
                <a:gd name="T7" fmla="*/ 227 h 256"/>
                <a:gd name="T8" fmla="*/ 65 w 184"/>
                <a:gd name="T9" fmla="*/ 226 h 256"/>
                <a:gd name="T10" fmla="*/ 62 w 184"/>
                <a:gd name="T11" fmla="*/ 219 h 256"/>
                <a:gd name="T12" fmla="*/ 62 w 184"/>
                <a:gd name="T13" fmla="*/ 194 h 256"/>
                <a:gd name="T14" fmla="*/ 121 w 184"/>
                <a:gd name="T15" fmla="*/ 194 h 256"/>
                <a:gd name="T16" fmla="*/ 120 w 184"/>
                <a:gd name="T17" fmla="*/ 219 h 256"/>
                <a:gd name="T18" fmla="*/ 58 w 184"/>
                <a:gd name="T19" fmla="*/ 46 h 256"/>
                <a:gd name="T20" fmla="*/ 35 w 184"/>
                <a:gd name="T21" fmla="*/ 91 h 256"/>
                <a:gd name="T22" fmla="*/ 55 w 184"/>
                <a:gd name="T23" fmla="*/ 135 h 256"/>
                <a:gd name="T24" fmla="*/ 56 w 184"/>
                <a:gd name="T25" fmla="*/ 141 h 256"/>
                <a:gd name="T26" fmla="*/ 56 w 184"/>
                <a:gd name="T27" fmla="*/ 141 h 256"/>
                <a:gd name="T28" fmla="*/ 49 w 184"/>
                <a:gd name="T29" fmla="*/ 142 h 256"/>
                <a:gd name="T30" fmla="*/ 26 w 184"/>
                <a:gd name="T31" fmla="*/ 91 h 256"/>
                <a:gd name="T32" fmla="*/ 53 w 184"/>
                <a:gd name="T33" fmla="*/ 39 h 256"/>
                <a:gd name="T34" fmla="*/ 59 w 184"/>
                <a:gd name="T35" fmla="*/ 40 h 256"/>
                <a:gd name="T36" fmla="*/ 59 w 184"/>
                <a:gd name="T37" fmla="*/ 40 h 256"/>
                <a:gd name="T38" fmla="*/ 58 w 184"/>
                <a:gd name="T39" fmla="*/ 46 h 256"/>
                <a:gd name="T40" fmla="*/ 184 w 184"/>
                <a:gd name="T41" fmla="*/ 92 h 256"/>
                <a:gd name="T42" fmla="*/ 93 w 184"/>
                <a:gd name="T43" fmla="*/ 0 h 256"/>
                <a:gd name="T44" fmla="*/ 0 w 184"/>
                <a:gd name="T45" fmla="*/ 91 h 256"/>
                <a:gd name="T46" fmla="*/ 54 w 184"/>
                <a:gd name="T47" fmla="*/ 175 h 256"/>
                <a:gd name="T48" fmla="*/ 54 w 184"/>
                <a:gd name="T49" fmla="*/ 194 h 256"/>
                <a:gd name="T50" fmla="*/ 54 w 184"/>
                <a:gd name="T51" fmla="*/ 219 h 256"/>
                <a:gd name="T52" fmla="*/ 67 w 184"/>
                <a:gd name="T53" fmla="*/ 235 h 256"/>
                <a:gd name="T54" fmla="*/ 69 w 184"/>
                <a:gd name="T55" fmla="*/ 242 h 256"/>
                <a:gd name="T56" fmla="*/ 85 w 184"/>
                <a:gd name="T57" fmla="*/ 256 h 256"/>
                <a:gd name="T58" fmla="*/ 97 w 184"/>
                <a:gd name="T59" fmla="*/ 256 h 256"/>
                <a:gd name="T60" fmla="*/ 114 w 184"/>
                <a:gd name="T61" fmla="*/ 242 h 256"/>
                <a:gd name="T62" fmla="*/ 116 w 184"/>
                <a:gd name="T63" fmla="*/ 236 h 256"/>
                <a:gd name="T64" fmla="*/ 129 w 184"/>
                <a:gd name="T65" fmla="*/ 219 h 256"/>
                <a:gd name="T66" fmla="*/ 129 w 184"/>
                <a:gd name="T67" fmla="*/ 186 h 256"/>
                <a:gd name="T68" fmla="*/ 129 w 184"/>
                <a:gd name="T69" fmla="*/ 175 h 256"/>
                <a:gd name="T70" fmla="*/ 184 w 184"/>
                <a:gd name="T71" fmla="*/ 92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84" h="256">
                  <a:moveTo>
                    <a:pt x="120" y="219"/>
                  </a:moveTo>
                  <a:cubicBezTo>
                    <a:pt x="120" y="222"/>
                    <a:pt x="119" y="224"/>
                    <a:pt x="117" y="226"/>
                  </a:cubicBezTo>
                  <a:cubicBezTo>
                    <a:pt x="116" y="227"/>
                    <a:pt x="115" y="227"/>
                    <a:pt x="113" y="227"/>
                  </a:cubicBezTo>
                  <a:cubicBezTo>
                    <a:pt x="69" y="227"/>
                    <a:pt x="69" y="227"/>
                    <a:pt x="69" y="227"/>
                  </a:cubicBezTo>
                  <a:cubicBezTo>
                    <a:pt x="68" y="227"/>
                    <a:pt x="67" y="226"/>
                    <a:pt x="65" y="226"/>
                  </a:cubicBezTo>
                  <a:cubicBezTo>
                    <a:pt x="63" y="224"/>
                    <a:pt x="62" y="222"/>
                    <a:pt x="62" y="219"/>
                  </a:cubicBezTo>
                  <a:cubicBezTo>
                    <a:pt x="62" y="194"/>
                    <a:pt x="62" y="194"/>
                    <a:pt x="62" y="194"/>
                  </a:cubicBezTo>
                  <a:cubicBezTo>
                    <a:pt x="121" y="194"/>
                    <a:pt x="121" y="194"/>
                    <a:pt x="121" y="194"/>
                  </a:cubicBezTo>
                  <a:cubicBezTo>
                    <a:pt x="120" y="219"/>
                    <a:pt x="120" y="219"/>
                    <a:pt x="120" y="219"/>
                  </a:cubicBezTo>
                  <a:close/>
                  <a:moveTo>
                    <a:pt x="58" y="46"/>
                  </a:moveTo>
                  <a:cubicBezTo>
                    <a:pt x="44" y="56"/>
                    <a:pt x="35" y="73"/>
                    <a:pt x="35" y="91"/>
                  </a:cubicBezTo>
                  <a:cubicBezTo>
                    <a:pt x="35" y="109"/>
                    <a:pt x="43" y="125"/>
                    <a:pt x="55" y="135"/>
                  </a:cubicBezTo>
                  <a:cubicBezTo>
                    <a:pt x="57" y="137"/>
                    <a:pt x="57" y="139"/>
                    <a:pt x="56" y="141"/>
                  </a:cubicBezTo>
                  <a:cubicBezTo>
                    <a:pt x="56" y="141"/>
                    <a:pt x="56" y="141"/>
                    <a:pt x="56" y="141"/>
                  </a:cubicBezTo>
                  <a:cubicBezTo>
                    <a:pt x="54" y="143"/>
                    <a:pt x="51" y="143"/>
                    <a:pt x="49" y="142"/>
                  </a:cubicBezTo>
                  <a:cubicBezTo>
                    <a:pt x="35" y="130"/>
                    <a:pt x="26" y="112"/>
                    <a:pt x="26" y="91"/>
                  </a:cubicBezTo>
                  <a:cubicBezTo>
                    <a:pt x="26" y="70"/>
                    <a:pt x="37" y="51"/>
                    <a:pt x="53" y="39"/>
                  </a:cubicBezTo>
                  <a:cubicBezTo>
                    <a:pt x="55" y="37"/>
                    <a:pt x="58" y="38"/>
                    <a:pt x="59" y="40"/>
                  </a:cubicBezTo>
                  <a:cubicBezTo>
                    <a:pt x="59" y="40"/>
                    <a:pt x="59" y="40"/>
                    <a:pt x="59" y="40"/>
                  </a:cubicBezTo>
                  <a:cubicBezTo>
                    <a:pt x="60" y="42"/>
                    <a:pt x="60" y="44"/>
                    <a:pt x="58" y="46"/>
                  </a:cubicBezTo>
                  <a:close/>
                  <a:moveTo>
                    <a:pt x="184" y="92"/>
                  </a:moveTo>
                  <a:cubicBezTo>
                    <a:pt x="184" y="42"/>
                    <a:pt x="143" y="0"/>
                    <a:pt x="93" y="0"/>
                  </a:cubicBezTo>
                  <a:cubicBezTo>
                    <a:pt x="42" y="0"/>
                    <a:pt x="1" y="41"/>
                    <a:pt x="0" y="91"/>
                  </a:cubicBezTo>
                  <a:cubicBezTo>
                    <a:pt x="0" y="128"/>
                    <a:pt x="22" y="160"/>
                    <a:pt x="54" y="175"/>
                  </a:cubicBezTo>
                  <a:cubicBezTo>
                    <a:pt x="54" y="194"/>
                    <a:pt x="54" y="194"/>
                    <a:pt x="54" y="194"/>
                  </a:cubicBezTo>
                  <a:cubicBezTo>
                    <a:pt x="54" y="219"/>
                    <a:pt x="54" y="219"/>
                    <a:pt x="54" y="219"/>
                  </a:cubicBezTo>
                  <a:cubicBezTo>
                    <a:pt x="54" y="227"/>
                    <a:pt x="59" y="234"/>
                    <a:pt x="67" y="235"/>
                  </a:cubicBezTo>
                  <a:cubicBezTo>
                    <a:pt x="67" y="238"/>
                    <a:pt x="68" y="240"/>
                    <a:pt x="69" y="242"/>
                  </a:cubicBezTo>
                  <a:cubicBezTo>
                    <a:pt x="73" y="251"/>
                    <a:pt x="79" y="256"/>
                    <a:pt x="85" y="256"/>
                  </a:cubicBezTo>
                  <a:cubicBezTo>
                    <a:pt x="97" y="256"/>
                    <a:pt x="97" y="256"/>
                    <a:pt x="97" y="256"/>
                  </a:cubicBezTo>
                  <a:cubicBezTo>
                    <a:pt x="103" y="256"/>
                    <a:pt x="109" y="251"/>
                    <a:pt x="114" y="242"/>
                  </a:cubicBezTo>
                  <a:cubicBezTo>
                    <a:pt x="114" y="240"/>
                    <a:pt x="115" y="238"/>
                    <a:pt x="116" y="236"/>
                  </a:cubicBezTo>
                  <a:cubicBezTo>
                    <a:pt x="123" y="234"/>
                    <a:pt x="129" y="227"/>
                    <a:pt x="129" y="219"/>
                  </a:cubicBezTo>
                  <a:cubicBezTo>
                    <a:pt x="129" y="186"/>
                    <a:pt x="129" y="186"/>
                    <a:pt x="129" y="186"/>
                  </a:cubicBezTo>
                  <a:cubicBezTo>
                    <a:pt x="129" y="175"/>
                    <a:pt x="129" y="175"/>
                    <a:pt x="129" y="175"/>
                  </a:cubicBezTo>
                  <a:cubicBezTo>
                    <a:pt x="161" y="161"/>
                    <a:pt x="184" y="129"/>
                    <a:pt x="184" y="92"/>
                  </a:cubicBezTo>
                  <a:close/>
                </a:path>
              </a:pathLst>
            </a:custGeom>
            <a:solidFill>
              <a:srgbClr val="F9FBFE"/>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Inter"/>
                <a:ea typeface="+mn-ea"/>
                <a:cs typeface="+mn-cs"/>
              </a:endParaRPr>
            </a:p>
          </p:txBody>
        </p:sp>
      </p:grpSp>
      <p:grpSp>
        <p:nvGrpSpPr>
          <p:cNvPr id="32" name="Group 43">
            <a:extLst>
              <a:ext uri="{FF2B5EF4-FFF2-40B4-BE49-F238E27FC236}">
                <a16:creationId xmlns:a16="http://schemas.microsoft.com/office/drawing/2014/main" id="{0489BD5D-130D-499E-A9DB-E37796EA2335}"/>
              </a:ext>
            </a:extLst>
          </p:cNvPr>
          <p:cNvGrpSpPr/>
          <p:nvPr/>
        </p:nvGrpSpPr>
        <p:grpSpPr>
          <a:xfrm>
            <a:off x="6939157" y="2990492"/>
            <a:ext cx="378863" cy="463254"/>
            <a:chOff x="6939157" y="2990492"/>
            <a:chExt cx="378863" cy="463254"/>
          </a:xfrm>
        </p:grpSpPr>
        <p:sp>
          <p:nvSpPr>
            <p:cNvPr id="33" name="Freeform 27">
              <a:extLst>
                <a:ext uri="{FF2B5EF4-FFF2-40B4-BE49-F238E27FC236}">
                  <a16:creationId xmlns:a16="http://schemas.microsoft.com/office/drawing/2014/main" id="{0B07779D-4DD9-4E46-9BBD-D411A961CFF0}"/>
                </a:ext>
              </a:extLst>
            </p:cNvPr>
            <p:cNvSpPr>
              <a:spLocks/>
            </p:cNvSpPr>
            <p:nvPr/>
          </p:nvSpPr>
          <p:spPr bwMode="auto">
            <a:xfrm>
              <a:off x="7081006" y="3232891"/>
              <a:ext cx="28729" cy="35911"/>
            </a:xfrm>
            <a:custGeom>
              <a:avLst/>
              <a:gdLst>
                <a:gd name="T0" fmla="*/ 1 w 17"/>
                <a:gd name="T1" fmla="*/ 14 h 21"/>
                <a:gd name="T2" fmla="*/ 17 w 17"/>
                <a:gd name="T3" fmla="*/ 19 h 21"/>
                <a:gd name="T4" fmla="*/ 9 w 17"/>
                <a:gd name="T5" fmla="*/ 0 h 21"/>
                <a:gd name="T6" fmla="*/ 2 w 17"/>
                <a:gd name="T7" fmla="*/ 6 h 21"/>
                <a:gd name="T8" fmla="*/ 1 w 17"/>
                <a:gd name="T9" fmla="*/ 14 h 21"/>
              </a:gdLst>
              <a:ahLst/>
              <a:cxnLst>
                <a:cxn ang="0">
                  <a:pos x="T0" y="T1"/>
                </a:cxn>
                <a:cxn ang="0">
                  <a:pos x="T2" y="T3"/>
                </a:cxn>
                <a:cxn ang="0">
                  <a:pos x="T4" y="T5"/>
                </a:cxn>
                <a:cxn ang="0">
                  <a:pos x="T6" y="T7"/>
                </a:cxn>
                <a:cxn ang="0">
                  <a:pos x="T8" y="T9"/>
                </a:cxn>
              </a:cxnLst>
              <a:rect l="0" t="0" r="r" b="b"/>
              <a:pathLst>
                <a:path w="17" h="21">
                  <a:moveTo>
                    <a:pt x="1" y="14"/>
                  </a:moveTo>
                  <a:cubicBezTo>
                    <a:pt x="4" y="20"/>
                    <a:pt x="9" y="21"/>
                    <a:pt x="17" y="19"/>
                  </a:cubicBezTo>
                  <a:cubicBezTo>
                    <a:pt x="9" y="0"/>
                    <a:pt x="9" y="0"/>
                    <a:pt x="9" y="0"/>
                  </a:cubicBezTo>
                  <a:cubicBezTo>
                    <a:pt x="6" y="2"/>
                    <a:pt x="4" y="3"/>
                    <a:pt x="2" y="6"/>
                  </a:cubicBezTo>
                  <a:cubicBezTo>
                    <a:pt x="0" y="8"/>
                    <a:pt x="0" y="11"/>
                    <a:pt x="1" y="1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Inter"/>
                <a:ea typeface="+mn-ea"/>
                <a:cs typeface="+mn-cs"/>
              </a:endParaRPr>
            </a:p>
          </p:txBody>
        </p:sp>
        <p:sp>
          <p:nvSpPr>
            <p:cNvPr id="34" name="Freeform 28">
              <a:extLst>
                <a:ext uri="{FF2B5EF4-FFF2-40B4-BE49-F238E27FC236}">
                  <a16:creationId xmlns:a16="http://schemas.microsoft.com/office/drawing/2014/main" id="{81CEE2B9-FBA7-4C70-AACA-C7F306499841}"/>
                </a:ext>
              </a:extLst>
            </p:cNvPr>
            <p:cNvSpPr>
              <a:spLocks/>
            </p:cNvSpPr>
            <p:nvPr/>
          </p:nvSpPr>
          <p:spPr bwMode="auto">
            <a:xfrm>
              <a:off x="7131281" y="3283167"/>
              <a:ext cx="30525" cy="39502"/>
            </a:xfrm>
            <a:custGeom>
              <a:avLst/>
              <a:gdLst>
                <a:gd name="T0" fmla="*/ 0 w 18"/>
                <a:gd name="T1" fmla="*/ 2 h 24"/>
                <a:gd name="T2" fmla="*/ 8 w 18"/>
                <a:gd name="T3" fmla="*/ 24 h 24"/>
                <a:gd name="T4" fmla="*/ 16 w 18"/>
                <a:gd name="T5" fmla="*/ 17 h 24"/>
                <a:gd name="T6" fmla="*/ 17 w 18"/>
                <a:gd name="T7" fmla="*/ 8 h 24"/>
                <a:gd name="T8" fmla="*/ 0 w 18"/>
                <a:gd name="T9" fmla="*/ 2 h 24"/>
              </a:gdLst>
              <a:ahLst/>
              <a:cxnLst>
                <a:cxn ang="0">
                  <a:pos x="T0" y="T1"/>
                </a:cxn>
                <a:cxn ang="0">
                  <a:pos x="T2" y="T3"/>
                </a:cxn>
                <a:cxn ang="0">
                  <a:pos x="T4" y="T5"/>
                </a:cxn>
                <a:cxn ang="0">
                  <a:pos x="T6" y="T7"/>
                </a:cxn>
                <a:cxn ang="0">
                  <a:pos x="T8" y="T9"/>
                </a:cxn>
              </a:cxnLst>
              <a:rect l="0" t="0" r="r" b="b"/>
              <a:pathLst>
                <a:path w="18" h="24">
                  <a:moveTo>
                    <a:pt x="0" y="2"/>
                  </a:moveTo>
                  <a:cubicBezTo>
                    <a:pt x="8" y="24"/>
                    <a:pt x="8" y="24"/>
                    <a:pt x="8" y="24"/>
                  </a:cubicBezTo>
                  <a:cubicBezTo>
                    <a:pt x="12" y="22"/>
                    <a:pt x="15" y="20"/>
                    <a:pt x="16" y="17"/>
                  </a:cubicBezTo>
                  <a:cubicBezTo>
                    <a:pt x="18" y="14"/>
                    <a:pt x="18" y="11"/>
                    <a:pt x="17" y="8"/>
                  </a:cubicBezTo>
                  <a:cubicBezTo>
                    <a:pt x="14" y="2"/>
                    <a:pt x="9" y="0"/>
                    <a:pt x="0" y="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Inter"/>
                <a:ea typeface="+mn-ea"/>
                <a:cs typeface="+mn-cs"/>
              </a:endParaRPr>
            </a:p>
          </p:txBody>
        </p:sp>
        <p:grpSp>
          <p:nvGrpSpPr>
            <p:cNvPr id="35" name="Group 34">
              <a:extLst>
                <a:ext uri="{FF2B5EF4-FFF2-40B4-BE49-F238E27FC236}">
                  <a16:creationId xmlns:a16="http://schemas.microsoft.com/office/drawing/2014/main" id="{41551A26-ABEC-443A-8FCD-C1F7435437D1}"/>
                </a:ext>
              </a:extLst>
            </p:cNvPr>
            <p:cNvGrpSpPr/>
            <p:nvPr/>
          </p:nvGrpSpPr>
          <p:grpSpPr>
            <a:xfrm>
              <a:off x="6939157" y="2990492"/>
              <a:ext cx="378863" cy="463254"/>
              <a:chOff x="6840538" y="2655888"/>
              <a:chExt cx="334963" cy="409575"/>
            </a:xfrm>
          </p:grpSpPr>
          <p:sp>
            <p:nvSpPr>
              <p:cNvPr id="36" name="Freeform 29">
                <a:extLst>
                  <a:ext uri="{FF2B5EF4-FFF2-40B4-BE49-F238E27FC236}">
                    <a16:creationId xmlns:a16="http://schemas.microsoft.com/office/drawing/2014/main" id="{14739F8E-412C-4779-8232-197671E7C1F8}"/>
                  </a:ext>
                </a:extLst>
              </p:cNvPr>
              <p:cNvSpPr>
                <a:spLocks/>
              </p:cNvSpPr>
              <p:nvPr/>
            </p:nvSpPr>
            <p:spPr bwMode="auto">
              <a:xfrm>
                <a:off x="6840538" y="2655888"/>
                <a:ext cx="149225" cy="109538"/>
              </a:xfrm>
              <a:custGeom>
                <a:avLst/>
                <a:gdLst>
                  <a:gd name="T0" fmla="*/ 90 w 100"/>
                  <a:gd name="T1" fmla="*/ 55 h 74"/>
                  <a:gd name="T2" fmla="*/ 91 w 100"/>
                  <a:gd name="T3" fmla="*/ 55 h 74"/>
                  <a:gd name="T4" fmla="*/ 97 w 100"/>
                  <a:gd name="T5" fmla="*/ 25 h 74"/>
                  <a:gd name="T6" fmla="*/ 50 w 100"/>
                  <a:gd name="T7" fmla="*/ 20 h 74"/>
                  <a:gd name="T8" fmla="*/ 18 w 100"/>
                  <a:gd name="T9" fmla="*/ 55 h 74"/>
                  <a:gd name="T10" fmla="*/ 43 w 100"/>
                  <a:gd name="T11" fmla="*/ 74 h 74"/>
                  <a:gd name="T12" fmla="*/ 45 w 100"/>
                  <a:gd name="T13" fmla="*/ 73 h 74"/>
                  <a:gd name="T14" fmla="*/ 90 w 100"/>
                  <a:gd name="T15" fmla="*/ 55 h 7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0" h="74">
                    <a:moveTo>
                      <a:pt x="90" y="55"/>
                    </a:moveTo>
                    <a:cubicBezTo>
                      <a:pt x="90" y="55"/>
                      <a:pt x="91" y="55"/>
                      <a:pt x="91" y="55"/>
                    </a:cubicBezTo>
                    <a:cubicBezTo>
                      <a:pt x="93" y="47"/>
                      <a:pt x="95" y="37"/>
                      <a:pt x="97" y="25"/>
                    </a:cubicBezTo>
                    <a:cubicBezTo>
                      <a:pt x="100" y="0"/>
                      <a:pt x="71" y="11"/>
                      <a:pt x="50" y="20"/>
                    </a:cubicBezTo>
                    <a:cubicBezTo>
                      <a:pt x="28" y="28"/>
                      <a:pt x="0" y="39"/>
                      <a:pt x="18" y="55"/>
                    </a:cubicBezTo>
                    <a:cubicBezTo>
                      <a:pt x="27" y="63"/>
                      <a:pt x="36" y="70"/>
                      <a:pt x="43" y="74"/>
                    </a:cubicBezTo>
                    <a:cubicBezTo>
                      <a:pt x="44" y="73"/>
                      <a:pt x="44" y="73"/>
                      <a:pt x="45" y="73"/>
                    </a:cubicBezTo>
                    <a:cubicBezTo>
                      <a:pt x="90" y="55"/>
                      <a:pt x="90" y="55"/>
                      <a:pt x="90" y="55"/>
                    </a:cubicBezTo>
                    <a:close/>
                  </a:path>
                </a:pathLst>
              </a:custGeom>
              <a:solidFill>
                <a:srgbClr val="F9FBFE"/>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Inter"/>
                  <a:ea typeface="+mn-ea"/>
                  <a:cs typeface="+mn-cs"/>
                </a:endParaRPr>
              </a:p>
            </p:txBody>
          </p:sp>
          <p:sp>
            <p:nvSpPr>
              <p:cNvPr id="37" name="Freeform 30">
                <a:extLst>
                  <a:ext uri="{FF2B5EF4-FFF2-40B4-BE49-F238E27FC236}">
                    <a16:creationId xmlns:a16="http://schemas.microsoft.com/office/drawing/2014/main" id="{86E54D52-C226-4974-B8E2-A86B19D40D73}"/>
                  </a:ext>
                </a:extLst>
              </p:cNvPr>
              <p:cNvSpPr>
                <a:spLocks noEditPoints="1"/>
              </p:cNvSpPr>
              <p:nvPr/>
            </p:nvSpPr>
            <p:spPr bwMode="auto">
              <a:xfrm>
                <a:off x="6856413" y="2755900"/>
                <a:ext cx="319088" cy="309563"/>
              </a:xfrm>
              <a:custGeom>
                <a:avLst/>
                <a:gdLst>
                  <a:gd name="T0" fmla="*/ 131 w 214"/>
                  <a:gd name="T1" fmla="*/ 126 h 209"/>
                  <a:gd name="T2" fmla="*/ 116 w 214"/>
                  <a:gd name="T3" fmla="*/ 141 h 209"/>
                  <a:gd name="T4" fmla="*/ 120 w 214"/>
                  <a:gd name="T5" fmla="*/ 151 h 209"/>
                  <a:gd name="T6" fmla="*/ 112 w 214"/>
                  <a:gd name="T7" fmla="*/ 154 h 209"/>
                  <a:gd name="T8" fmla="*/ 108 w 214"/>
                  <a:gd name="T9" fmla="*/ 144 h 209"/>
                  <a:gd name="T10" fmla="*/ 73 w 214"/>
                  <a:gd name="T11" fmla="*/ 134 h 209"/>
                  <a:gd name="T12" fmla="*/ 84 w 214"/>
                  <a:gd name="T13" fmla="*/ 126 h 209"/>
                  <a:gd name="T14" fmla="*/ 104 w 214"/>
                  <a:gd name="T15" fmla="*/ 134 h 209"/>
                  <a:gd name="T16" fmla="*/ 95 w 214"/>
                  <a:gd name="T17" fmla="*/ 111 h 209"/>
                  <a:gd name="T18" fmla="*/ 72 w 214"/>
                  <a:gd name="T19" fmla="*/ 110 h 209"/>
                  <a:gd name="T20" fmla="*/ 63 w 214"/>
                  <a:gd name="T21" fmla="*/ 99 h 209"/>
                  <a:gd name="T22" fmla="*/ 78 w 214"/>
                  <a:gd name="T23" fmla="*/ 68 h 209"/>
                  <a:gd name="T24" fmla="*/ 75 w 214"/>
                  <a:gd name="T25" fmla="*/ 60 h 209"/>
                  <a:gd name="T26" fmla="*/ 83 w 214"/>
                  <a:gd name="T27" fmla="*/ 57 h 209"/>
                  <a:gd name="T28" fmla="*/ 86 w 214"/>
                  <a:gd name="T29" fmla="*/ 65 h 209"/>
                  <a:gd name="T30" fmla="*/ 115 w 214"/>
                  <a:gd name="T31" fmla="*/ 74 h 209"/>
                  <a:gd name="T32" fmla="*/ 104 w 214"/>
                  <a:gd name="T33" fmla="*/ 80 h 209"/>
                  <a:gd name="T34" fmla="*/ 90 w 214"/>
                  <a:gd name="T35" fmla="*/ 75 h 209"/>
                  <a:gd name="T36" fmla="*/ 98 w 214"/>
                  <a:gd name="T37" fmla="*/ 95 h 209"/>
                  <a:gd name="T38" fmla="*/ 114 w 214"/>
                  <a:gd name="T39" fmla="*/ 94 h 209"/>
                  <a:gd name="T40" fmla="*/ 124 w 214"/>
                  <a:gd name="T41" fmla="*/ 98 h 209"/>
                  <a:gd name="T42" fmla="*/ 131 w 214"/>
                  <a:gd name="T43" fmla="*/ 108 h 209"/>
                  <a:gd name="T44" fmla="*/ 131 w 214"/>
                  <a:gd name="T45" fmla="*/ 126 h 209"/>
                  <a:gd name="T46" fmla="*/ 90 w 214"/>
                  <a:gd name="T47" fmla="*/ 0 h 209"/>
                  <a:gd name="T48" fmla="*/ 87 w 214"/>
                  <a:gd name="T49" fmla="*/ 8 h 209"/>
                  <a:gd name="T50" fmla="*/ 41 w 214"/>
                  <a:gd name="T51" fmla="*/ 26 h 209"/>
                  <a:gd name="T52" fmla="*/ 33 w 214"/>
                  <a:gd name="T53" fmla="*/ 20 h 209"/>
                  <a:gd name="T54" fmla="*/ 16 w 214"/>
                  <a:gd name="T55" fmla="*/ 157 h 209"/>
                  <a:gd name="T56" fmla="*/ 131 w 214"/>
                  <a:gd name="T57" fmla="*/ 189 h 209"/>
                  <a:gd name="T58" fmla="*/ 194 w 214"/>
                  <a:gd name="T59" fmla="*/ 87 h 209"/>
                  <a:gd name="T60" fmla="*/ 90 w 214"/>
                  <a:gd name="T61" fmla="*/ 0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14" h="209">
                    <a:moveTo>
                      <a:pt x="131" y="126"/>
                    </a:moveTo>
                    <a:cubicBezTo>
                      <a:pt x="129" y="132"/>
                      <a:pt x="123" y="137"/>
                      <a:pt x="116" y="141"/>
                    </a:cubicBezTo>
                    <a:cubicBezTo>
                      <a:pt x="120" y="151"/>
                      <a:pt x="120" y="151"/>
                      <a:pt x="120" y="151"/>
                    </a:cubicBezTo>
                    <a:cubicBezTo>
                      <a:pt x="112" y="154"/>
                      <a:pt x="112" y="154"/>
                      <a:pt x="112" y="154"/>
                    </a:cubicBezTo>
                    <a:cubicBezTo>
                      <a:pt x="108" y="144"/>
                      <a:pt x="108" y="144"/>
                      <a:pt x="108" y="144"/>
                    </a:cubicBezTo>
                    <a:cubicBezTo>
                      <a:pt x="93" y="148"/>
                      <a:pt x="82" y="145"/>
                      <a:pt x="73" y="134"/>
                    </a:cubicBezTo>
                    <a:cubicBezTo>
                      <a:pt x="84" y="126"/>
                      <a:pt x="84" y="126"/>
                      <a:pt x="84" y="126"/>
                    </a:cubicBezTo>
                    <a:cubicBezTo>
                      <a:pt x="89" y="134"/>
                      <a:pt x="96" y="136"/>
                      <a:pt x="104" y="134"/>
                    </a:cubicBezTo>
                    <a:cubicBezTo>
                      <a:pt x="95" y="111"/>
                      <a:pt x="95" y="111"/>
                      <a:pt x="95" y="111"/>
                    </a:cubicBezTo>
                    <a:cubicBezTo>
                      <a:pt x="84" y="113"/>
                      <a:pt x="77" y="112"/>
                      <a:pt x="72" y="110"/>
                    </a:cubicBezTo>
                    <a:cubicBezTo>
                      <a:pt x="68" y="108"/>
                      <a:pt x="65" y="104"/>
                      <a:pt x="63" y="99"/>
                    </a:cubicBezTo>
                    <a:cubicBezTo>
                      <a:pt x="58" y="87"/>
                      <a:pt x="63" y="76"/>
                      <a:pt x="78" y="68"/>
                    </a:cubicBezTo>
                    <a:cubicBezTo>
                      <a:pt x="75" y="60"/>
                      <a:pt x="75" y="60"/>
                      <a:pt x="75" y="60"/>
                    </a:cubicBezTo>
                    <a:cubicBezTo>
                      <a:pt x="83" y="57"/>
                      <a:pt x="83" y="57"/>
                      <a:pt x="83" y="57"/>
                    </a:cubicBezTo>
                    <a:cubicBezTo>
                      <a:pt x="86" y="65"/>
                      <a:pt x="86" y="65"/>
                      <a:pt x="86" y="65"/>
                    </a:cubicBezTo>
                    <a:cubicBezTo>
                      <a:pt x="98" y="62"/>
                      <a:pt x="108" y="65"/>
                      <a:pt x="115" y="74"/>
                    </a:cubicBezTo>
                    <a:cubicBezTo>
                      <a:pt x="104" y="80"/>
                      <a:pt x="104" y="80"/>
                      <a:pt x="104" y="80"/>
                    </a:cubicBezTo>
                    <a:cubicBezTo>
                      <a:pt x="100" y="75"/>
                      <a:pt x="95" y="74"/>
                      <a:pt x="90" y="75"/>
                    </a:cubicBezTo>
                    <a:cubicBezTo>
                      <a:pt x="98" y="95"/>
                      <a:pt x="98" y="95"/>
                      <a:pt x="98" y="95"/>
                    </a:cubicBezTo>
                    <a:cubicBezTo>
                      <a:pt x="106" y="94"/>
                      <a:pt x="111" y="94"/>
                      <a:pt x="114" y="94"/>
                    </a:cubicBezTo>
                    <a:cubicBezTo>
                      <a:pt x="117" y="94"/>
                      <a:pt x="121" y="95"/>
                      <a:pt x="124" y="98"/>
                    </a:cubicBezTo>
                    <a:cubicBezTo>
                      <a:pt x="127" y="100"/>
                      <a:pt x="130" y="104"/>
                      <a:pt x="131" y="108"/>
                    </a:cubicBezTo>
                    <a:cubicBezTo>
                      <a:pt x="134" y="114"/>
                      <a:pt x="134" y="121"/>
                      <a:pt x="131" y="126"/>
                    </a:cubicBezTo>
                    <a:close/>
                    <a:moveTo>
                      <a:pt x="90" y="0"/>
                    </a:moveTo>
                    <a:cubicBezTo>
                      <a:pt x="90" y="4"/>
                      <a:pt x="89" y="7"/>
                      <a:pt x="87" y="8"/>
                    </a:cubicBezTo>
                    <a:cubicBezTo>
                      <a:pt x="41" y="26"/>
                      <a:pt x="41" y="26"/>
                      <a:pt x="41" y="26"/>
                    </a:cubicBezTo>
                    <a:cubicBezTo>
                      <a:pt x="39" y="27"/>
                      <a:pt x="35" y="24"/>
                      <a:pt x="33" y="20"/>
                    </a:cubicBezTo>
                    <a:cubicBezTo>
                      <a:pt x="7" y="53"/>
                      <a:pt x="0" y="116"/>
                      <a:pt x="16" y="157"/>
                    </a:cubicBezTo>
                    <a:cubicBezTo>
                      <a:pt x="36" y="209"/>
                      <a:pt x="82" y="208"/>
                      <a:pt x="131" y="189"/>
                    </a:cubicBezTo>
                    <a:cubicBezTo>
                      <a:pt x="180" y="170"/>
                      <a:pt x="214" y="139"/>
                      <a:pt x="194" y="87"/>
                    </a:cubicBezTo>
                    <a:cubicBezTo>
                      <a:pt x="178" y="48"/>
                      <a:pt x="129" y="9"/>
                      <a:pt x="90" y="0"/>
                    </a:cubicBezTo>
                    <a:close/>
                  </a:path>
                </a:pathLst>
              </a:custGeom>
              <a:solidFill>
                <a:srgbClr val="F9FBFE"/>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Inter"/>
                  <a:ea typeface="+mn-ea"/>
                  <a:cs typeface="+mn-cs"/>
                </a:endParaRPr>
              </a:p>
            </p:txBody>
          </p:sp>
        </p:grpSp>
      </p:grpSp>
      <p:grpSp>
        <p:nvGrpSpPr>
          <p:cNvPr id="38" name="Group 44">
            <a:extLst>
              <a:ext uri="{FF2B5EF4-FFF2-40B4-BE49-F238E27FC236}">
                <a16:creationId xmlns:a16="http://schemas.microsoft.com/office/drawing/2014/main" id="{ABD9F62E-8F61-45C7-96D4-9D0B29082829}"/>
              </a:ext>
            </a:extLst>
          </p:cNvPr>
          <p:cNvGrpSpPr/>
          <p:nvPr/>
        </p:nvGrpSpPr>
        <p:grpSpPr>
          <a:xfrm>
            <a:off x="4926337" y="3098225"/>
            <a:ext cx="362703" cy="420160"/>
            <a:chOff x="4926337" y="3098225"/>
            <a:chExt cx="362703" cy="420160"/>
          </a:xfrm>
        </p:grpSpPr>
        <p:sp>
          <p:nvSpPr>
            <p:cNvPr id="39" name="Freeform 32">
              <a:extLst>
                <a:ext uri="{FF2B5EF4-FFF2-40B4-BE49-F238E27FC236}">
                  <a16:creationId xmlns:a16="http://schemas.microsoft.com/office/drawing/2014/main" id="{31C9DDAC-6BBE-4D22-99B2-71D3DA9F3822}"/>
                </a:ext>
              </a:extLst>
            </p:cNvPr>
            <p:cNvSpPr>
              <a:spLocks/>
            </p:cNvSpPr>
            <p:nvPr/>
          </p:nvSpPr>
          <p:spPr bwMode="auto">
            <a:xfrm>
              <a:off x="5010729" y="3333442"/>
              <a:ext cx="70027" cy="75413"/>
            </a:xfrm>
            <a:custGeom>
              <a:avLst/>
              <a:gdLst>
                <a:gd name="T0" fmla="*/ 18 w 39"/>
                <a:gd name="T1" fmla="*/ 42 h 42"/>
                <a:gd name="T2" fmla="*/ 0 w 39"/>
                <a:gd name="T3" fmla="*/ 29 h 42"/>
                <a:gd name="T4" fmla="*/ 22 w 39"/>
                <a:gd name="T5" fmla="*/ 0 h 42"/>
                <a:gd name="T6" fmla="*/ 39 w 39"/>
                <a:gd name="T7" fmla="*/ 13 h 42"/>
                <a:gd name="T8" fmla="*/ 18 w 39"/>
                <a:gd name="T9" fmla="*/ 42 h 42"/>
                <a:gd name="T10" fmla="*/ 18 w 39"/>
                <a:gd name="T11" fmla="*/ 42 h 42"/>
              </a:gdLst>
              <a:ahLst/>
              <a:cxnLst>
                <a:cxn ang="0">
                  <a:pos x="T0" y="T1"/>
                </a:cxn>
                <a:cxn ang="0">
                  <a:pos x="T2" y="T3"/>
                </a:cxn>
                <a:cxn ang="0">
                  <a:pos x="T4" y="T5"/>
                </a:cxn>
                <a:cxn ang="0">
                  <a:pos x="T6" y="T7"/>
                </a:cxn>
                <a:cxn ang="0">
                  <a:pos x="T8" y="T9"/>
                </a:cxn>
                <a:cxn ang="0">
                  <a:pos x="T10" y="T11"/>
                </a:cxn>
              </a:cxnLst>
              <a:rect l="0" t="0" r="r" b="b"/>
              <a:pathLst>
                <a:path w="39" h="42">
                  <a:moveTo>
                    <a:pt x="18" y="42"/>
                  </a:moveTo>
                  <a:lnTo>
                    <a:pt x="0" y="29"/>
                  </a:lnTo>
                  <a:lnTo>
                    <a:pt x="22" y="0"/>
                  </a:lnTo>
                  <a:lnTo>
                    <a:pt x="39" y="13"/>
                  </a:lnTo>
                  <a:lnTo>
                    <a:pt x="18" y="42"/>
                  </a:lnTo>
                  <a:lnTo>
                    <a:pt x="18" y="4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Inter"/>
                <a:ea typeface="+mn-ea"/>
                <a:cs typeface="+mn-cs"/>
              </a:endParaRPr>
            </a:p>
          </p:txBody>
        </p:sp>
        <p:grpSp>
          <p:nvGrpSpPr>
            <p:cNvPr id="40" name="Group 38">
              <a:extLst>
                <a:ext uri="{FF2B5EF4-FFF2-40B4-BE49-F238E27FC236}">
                  <a16:creationId xmlns:a16="http://schemas.microsoft.com/office/drawing/2014/main" id="{35656E80-6F2D-450F-AD33-BA5897A40D30}"/>
                </a:ext>
              </a:extLst>
            </p:cNvPr>
            <p:cNvGrpSpPr/>
            <p:nvPr/>
          </p:nvGrpSpPr>
          <p:grpSpPr>
            <a:xfrm>
              <a:off x="4926337" y="3098225"/>
              <a:ext cx="362703" cy="420160"/>
              <a:chOff x="5060950" y="2751138"/>
              <a:chExt cx="320675" cy="371475"/>
            </a:xfrm>
          </p:grpSpPr>
          <p:sp>
            <p:nvSpPr>
              <p:cNvPr id="43" name="Freeform 31">
                <a:extLst>
                  <a:ext uri="{FF2B5EF4-FFF2-40B4-BE49-F238E27FC236}">
                    <a16:creationId xmlns:a16="http://schemas.microsoft.com/office/drawing/2014/main" id="{0A5D56F9-DDD9-4E8D-A1B9-83415BB7A493}"/>
                  </a:ext>
                </a:extLst>
              </p:cNvPr>
              <p:cNvSpPr>
                <a:spLocks noEditPoints="1"/>
              </p:cNvSpPr>
              <p:nvPr/>
            </p:nvSpPr>
            <p:spPr bwMode="auto">
              <a:xfrm>
                <a:off x="5105400" y="2751138"/>
                <a:ext cx="276225" cy="257175"/>
              </a:xfrm>
              <a:custGeom>
                <a:avLst/>
                <a:gdLst>
                  <a:gd name="T0" fmla="*/ 93 w 186"/>
                  <a:gd name="T1" fmla="*/ 24 h 174"/>
                  <a:gd name="T2" fmla="*/ 47 w 186"/>
                  <a:gd name="T3" fmla="*/ 50 h 174"/>
                  <a:gd name="T4" fmla="*/ 60 w 186"/>
                  <a:gd name="T5" fmla="*/ 137 h 174"/>
                  <a:gd name="T6" fmla="*/ 101 w 186"/>
                  <a:gd name="T7" fmla="*/ 149 h 174"/>
                  <a:gd name="T8" fmla="*/ 148 w 186"/>
                  <a:gd name="T9" fmla="*/ 124 h 174"/>
                  <a:gd name="T10" fmla="*/ 159 w 186"/>
                  <a:gd name="T11" fmla="*/ 78 h 174"/>
                  <a:gd name="T12" fmla="*/ 134 w 186"/>
                  <a:gd name="T13" fmla="*/ 37 h 174"/>
                  <a:gd name="T14" fmla="*/ 93 w 186"/>
                  <a:gd name="T15" fmla="*/ 24 h 174"/>
                  <a:gd name="T16" fmla="*/ 103 w 186"/>
                  <a:gd name="T17" fmla="*/ 173 h 174"/>
                  <a:gd name="T18" fmla="*/ 46 w 186"/>
                  <a:gd name="T19" fmla="*/ 156 h 174"/>
                  <a:gd name="T20" fmla="*/ 28 w 186"/>
                  <a:gd name="T21" fmla="*/ 36 h 174"/>
                  <a:gd name="T22" fmla="*/ 92 w 186"/>
                  <a:gd name="T23" fmla="*/ 1 h 174"/>
                  <a:gd name="T24" fmla="*/ 149 w 186"/>
                  <a:gd name="T25" fmla="*/ 18 h 174"/>
                  <a:gd name="T26" fmla="*/ 183 w 186"/>
                  <a:gd name="T27" fmla="*/ 74 h 174"/>
                  <a:gd name="T28" fmla="*/ 167 w 186"/>
                  <a:gd name="T29" fmla="*/ 138 h 174"/>
                  <a:gd name="T30" fmla="*/ 103 w 186"/>
                  <a:gd name="T31" fmla="*/ 173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86" h="174">
                    <a:moveTo>
                      <a:pt x="93" y="24"/>
                    </a:moveTo>
                    <a:cubicBezTo>
                      <a:pt x="75" y="26"/>
                      <a:pt x="58" y="35"/>
                      <a:pt x="47" y="50"/>
                    </a:cubicBezTo>
                    <a:cubicBezTo>
                      <a:pt x="26" y="77"/>
                      <a:pt x="32" y="117"/>
                      <a:pt x="60" y="137"/>
                    </a:cubicBezTo>
                    <a:cubicBezTo>
                      <a:pt x="72" y="146"/>
                      <a:pt x="87" y="150"/>
                      <a:pt x="101" y="149"/>
                    </a:cubicBezTo>
                    <a:cubicBezTo>
                      <a:pt x="120" y="148"/>
                      <a:pt x="137" y="139"/>
                      <a:pt x="148" y="124"/>
                    </a:cubicBezTo>
                    <a:cubicBezTo>
                      <a:pt x="157" y="111"/>
                      <a:pt x="162" y="94"/>
                      <a:pt x="159" y="78"/>
                    </a:cubicBezTo>
                    <a:cubicBezTo>
                      <a:pt x="157" y="61"/>
                      <a:pt x="148" y="47"/>
                      <a:pt x="134" y="37"/>
                    </a:cubicBezTo>
                    <a:cubicBezTo>
                      <a:pt x="123" y="28"/>
                      <a:pt x="108" y="24"/>
                      <a:pt x="93" y="24"/>
                    </a:cubicBezTo>
                    <a:close/>
                    <a:moveTo>
                      <a:pt x="103" y="173"/>
                    </a:moveTo>
                    <a:cubicBezTo>
                      <a:pt x="83" y="174"/>
                      <a:pt x="62" y="168"/>
                      <a:pt x="46" y="156"/>
                    </a:cubicBezTo>
                    <a:cubicBezTo>
                      <a:pt x="8" y="128"/>
                      <a:pt x="0" y="74"/>
                      <a:pt x="28" y="36"/>
                    </a:cubicBezTo>
                    <a:cubicBezTo>
                      <a:pt x="43" y="15"/>
                      <a:pt x="66" y="3"/>
                      <a:pt x="92" y="1"/>
                    </a:cubicBezTo>
                    <a:cubicBezTo>
                      <a:pt x="112" y="0"/>
                      <a:pt x="132" y="6"/>
                      <a:pt x="149" y="18"/>
                    </a:cubicBezTo>
                    <a:cubicBezTo>
                      <a:pt x="167" y="31"/>
                      <a:pt x="179" y="51"/>
                      <a:pt x="183" y="74"/>
                    </a:cubicBezTo>
                    <a:cubicBezTo>
                      <a:pt x="186" y="97"/>
                      <a:pt x="180" y="120"/>
                      <a:pt x="167" y="138"/>
                    </a:cubicBezTo>
                    <a:cubicBezTo>
                      <a:pt x="151" y="159"/>
                      <a:pt x="128" y="171"/>
                      <a:pt x="103" y="173"/>
                    </a:cubicBezTo>
                    <a:close/>
                  </a:path>
                </a:pathLst>
              </a:custGeom>
              <a:solidFill>
                <a:srgbClr val="F9FBFE"/>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Inter"/>
                  <a:ea typeface="+mn-ea"/>
                  <a:cs typeface="+mn-cs"/>
                </a:endParaRPr>
              </a:p>
            </p:txBody>
          </p:sp>
          <p:sp>
            <p:nvSpPr>
              <p:cNvPr id="44" name="Freeform 33">
                <a:extLst>
                  <a:ext uri="{FF2B5EF4-FFF2-40B4-BE49-F238E27FC236}">
                    <a16:creationId xmlns:a16="http://schemas.microsoft.com/office/drawing/2014/main" id="{5F936492-8F3F-49F8-A4E5-101954F3D485}"/>
                  </a:ext>
                </a:extLst>
              </p:cNvPr>
              <p:cNvSpPr>
                <a:spLocks/>
              </p:cNvSpPr>
              <p:nvPr/>
            </p:nvSpPr>
            <p:spPr bwMode="auto">
              <a:xfrm>
                <a:off x="5060950" y="2997200"/>
                <a:ext cx="111125" cy="125413"/>
              </a:xfrm>
              <a:custGeom>
                <a:avLst/>
                <a:gdLst>
                  <a:gd name="T0" fmla="*/ 35 w 75"/>
                  <a:gd name="T1" fmla="*/ 78 h 85"/>
                  <a:gd name="T2" fmla="*/ 19 w 75"/>
                  <a:gd name="T3" fmla="*/ 81 h 85"/>
                  <a:gd name="T4" fmla="*/ 6 w 75"/>
                  <a:gd name="T5" fmla="*/ 72 h 85"/>
                  <a:gd name="T6" fmla="*/ 4 w 75"/>
                  <a:gd name="T7" fmla="*/ 55 h 85"/>
                  <a:gd name="T8" fmla="*/ 39 w 75"/>
                  <a:gd name="T9" fmla="*/ 7 h 85"/>
                  <a:gd name="T10" fmla="*/ 56 w 75"/>
                  <a:gd name="T11" fmla="*/ 4 h 85"/>
                  <a:gd name="T12" fmla="*/ 69 w 75"/>
                  <a:gd name="T13" fmla="*/ 14 h 85"/>
                  <a:gd name="T14" fmla="*/ 71 w 75"/>
                  <a:gd name="T15" fmla="*/ 30 h 85"/>
                  <a:gd name="T16" fmla="*/ 35 w 75"/>
                  <a:gd name="T17" fmla="*/ 78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85">
                    <a:moveTo>
                      <a:pt x="35" y="78"/>
                    </a:moveTo>
                    <a:cubicBezTo>
                      <a:pt x="31" y="84"/>
                      <a:pt x="24" y="85"/>
                      <a:pt x="19" y="81"/>
                    </a:cubicBezTo>
                    <a:cubicBezTo>
                      <a:pt x="6" y="72"/>
                      <a:pt x="6" y="72"/>
                      <a:pt x="6" y="72"/>
                    </a:cubicBezTo>
                    <a:cubicBezTo>
                      <a:pt x="1" y="68"/>
                      <a:pt x="0" y="60"/>
                      <a:pt x="4" y="55"/>
                    </a:cubicBezTo>
                    <a:cubicBezTo>
                      <a:pt x="39" y="7"/>
                      <a:pt x="39" y="7"/>
                      <a:pt x="39" y="7"/>
                    </a:cubicBezTo>
                    <a:cubicBezTo>
                      <a:pt x="43" y="1"/>
                      <a:pt x="51" y="0"/>
                      <a:pt x="56" y="4"/>
                    </a:cubicBezTo>
                    <a:cubicBezTo>
                      <a:pt x="69" y="14"/>
                      <a:pt x="69" y="14"/>
                      <a:pt x="69" y="14"/>
                    </a:cubicBezTo>
                    <a:cubicBezTo>
                      <a:pt x="74" y="17"/>
                      <a:pt x="75" y="25"/>
                      <a:pt x="71" y="30"/>
                    </a:cubicBezTo>
                    <a:cubicBezTo>
                      <a:pt x="35" y="78"/>
                      <a:pt x="35" y="78"/>
                      <a:pt x="35" y="78"/>
                    </a:cubicBezTo>
                    <a:close/>
                  </a:path>
                </a:pathLst>
              </a:custGeom>
              <a:solidFill>
                <a:srgbClr val="F9FBFE"/>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Inter"/>
                  <a:ea typeface="+mn-ea"/>
                  <a:cs typeface="+mn-cs"/>
                </a:endParaRPr>
              </a:p>
            </p:txBody>
          </p:sp>
        </p:grpSp>
        <p:sp>
          <p:nvSpPr>
            <p:cNvPr id="41" name="Freeform 34">
              <a:extLst>
                <a:ext uri="{FF2B5EF4-FFF2-40B4-BE49-F238E27FC236}">
                  <a16:creationId xmlns:a16="http://schemas.microsoft.com/office/drawing/2014/main" id="{1E0B5B71-65EE-42DB-8F98-CD2CBA4859BA}"/>
                </a:ext>
              </a:extLst>
            </p:cNvPr>
            <p:cNvSpPr>
              <a:spLocks/>
            </p:cNvSpPr>
            <p:nvPr/>
          </p:nvSpPr>
          <p:spPr bwMode="auto">
            <a:xfrm>
              <a:off x="5069981" y="3153887"/>
              <a:ext cx="98756" cy="57458"/>
            </a:xfrm>
            <a:custGeom>
              <a:avLst/>
              <a:gdLst>
                <a:gd name="T0" fmla="*/ 56 w 59"/>
                <a:gd name="T1" fmla="*/ 10 h 35"/>
                <a:gd name="T2" fmla="*/ 30 w 59"/>
                <a:gd name="T3" fmla="*/ 16 h 35"/>
                <a:gd name="T4" fmla="*/ 3 w 59"/>
                <a:gd name="T5" fmla="*/ 27 h 35"/>
                <a:gd name="T6" fmla="*/ 25 w 59"/>
                <a:gd name="T7" fmla="*/ 3 h 35"/>
                <a:gd name="T8" fmla="*/ 56 w 59"/>
                <a:gd name="T9" fmla="*/ 10 h 35"/>
              </a:gdLst>
              <a:ahLst/>
              <a:cxnLst>
                <a:cxn ang="0">
                  <a:pos x="T0" y="T1"/>
                </a:cxn>
                <a:cxn ang="0">
                  <a:pos x="T2" y="T3"/>
                </a:cxn>
                <a:cxn ang="0">
                  <a:pos x="T4" y="T5"/>
                </a:cxn>
                <a:cxn ang="0">
                  <a:pos x="T6" y="T7"/>
                </a:cxn>
                <a:cxn ang="0">
                  <a:pos x="T8" y="T9"/>
                </a:cxn>
              </a:cxnLst>
              <a:rect l="0" t="0" r="r" b="b"/>
              <a:pathLst>
                <a:path w="59" h="35">
                  <a:moveTo>
                    <a:pt x="56" y="10"/>
                  </a:moveTo>
                  <a:cubicBezTo>
                    <a:pt x="59" y="19"/>
                    <a:pt x="44" y="11"/>
                    <a:pt x="30" y="16"/>
                  </a:cubicBezTo>
                  <a:cubicBezTo>
                    <a:pt x="15" y="20"/>
                    <a:pt x="5" y="35"/>
                    <a:pt x="3" y="27"/>
                  </a:cubicBezTo>
                  <a:cubicBezTo>
                    <a:pt x="0" y="18"/>
                    <a:pt x="16" y="6"/>
                    <a:pt x="25" y="3"/>
                  </a:cubicBezTo>
                  <a:cubicBezTo>
                    <a:pt x="35" y="0"/>
                    <a:pt x="54" y="2"/>
                    <a:pt x="56" y="1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Inter"/>
                <a:ea typeface="+mn-ea"/>
                <a:cs typeface="+mn-cs"/>
              </a:endParaRPr>
            </a:p>
          </p:txBody>
        </p:sp>
        <p:sp>
          <p:nvSpPr>
            <p:cNvPr id="42" name="Freeform 35">
              <a:extLst>
                <a:ext uri="{FF2B5EF4-FFF2-40B4-BE49-F238E27FC236}">
                  <a16:creationId xmlns:a16="http://schemas.microsoft.com/office/drawing/2014/main" id="{8510CF64-752F-4940-BDA9-E7EF297A66B0}"/>
                </a:ext>
              </a:extLst>
            </p:cNvPr>
            <p:cNvSpPr>
              <a:spLocks/>
            </p:cNvSpPr>
            <p:nvPr/>
          </p:nvSpPr>
          <p:spPr bwMode="auto">
            <a:xfrm>
              <a:off x="5168738" y="3164660"/>
              <a:ext cx="26934" cy="21547"/>
            </a:xfrm>
            <a:custGeom>
              <a:avLst/>
              <a:gdLst>
                <a:gd name="T0" fmla="*/ 15 w 16"/>
                <a:gd name="T1" fmla="*/ 9 h 13"/>
                <a:gd name="T2" fmla="*/ 6 w 16"/>
                <a:gd name="T3" fmla="*/ 11 h 13"/>
                <a:gd name="T4" fmla="*/ 1 w 16"/>
                <a:gd name="T5" fmla="*/ 5 h 13"/>
                <a:gd name="T6" fmla="*/ 7 w 16"/>
                <a:gd name="T7" fmla="*/ 1 h 13"/>
                <a:gd name="T8" fmla="*/ 15 w 16"/>
                <a:gd name="T9" fmla="*/ 9 h 13"/>
              </a:gdLst>
              <a:ahLst/>
              <a:cxnLst>
                <a:cxn ang="0">
                  <a:pos x="T0" y="T1"/>
                </a:cxn>
                <a:cxn ang="0">
                  <a:pos x="T2" y="T3"/>
                </a:cxn>
                <a:cxn ang="0">
                  <a:pos x="T4" y="T5"/>
                </a:cxn>
                <a:cxn ang="0">
                  <a:pos x="T6" y="T7"/>
                </a:cxn>
                <a:cxn ang="0">
                  <a:pos x="T8" y="T9"/>
                </a:cxn>
              </a:cxnLst>
              <a:rect l="0" t="0" r="r" b="b"/>
              <a:pathLst>
                <a:path w="16" h="13">
                  <a:moveTo>
                    <a:pt x="15" y="9"/>
                  </a:moveTo>
                  <a:cubicBezTo>
                    <a:pt x="14" y="13"/>
                    <a:pt x="10" y="12"/>
                    <a:pt x="6" y="11"/>
                  </a:cubicBezTo>
                  <a:cubicBezTo>
                    <a:pt x="2" y="10"/>
                    <a:pt x="0" y="9"/>
                    <a:pt x="1" y="5"/>
                  </a:cubicBezTo>
                  <a:cubicBezTo>
                    <a:pt x="2" y="1"/>
                    <a:pt x="3" y="0"/>
                    <a:pt x="7" y="1"/>
                  </a:cubicBezTo>
                  <a:cubicBezTo>
                    <a:pt x="10" y="2"/>
                    <a:pt x="16" y="5"/>
                    <a:pt x="15" y="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Inter"/>
                <a:ea typeface="+mn-ea"/>
                <a:cs typeface="+mn-cs"/>
              </a:endParaRPr>
            </a:p>
          </p:txBody>
        </p:sp>
      </p:grpSp>
      <p:cxnSp>
        <p:nvCxnSpPr>
          <p:cNvPr id="50" name="Straight Connector 54">
            <a:extLst>
              <a:ext uri="{FF2B5EF4-FFF2-40B4-BE49-F238E27FC236}">
                <a16:creationId xmlns:a16="http://schemas.microsoft.com/office/drawing/2014/main" id="{29B57B74-3AB9-459A-BA74-2DA891C616A4}"/>
              </a:ext>
            </a:extLst>
          </p:cNvPr>
          <p:cNvCxnSpPr>
            <a:cxnSpLocks/>
          </p:cNvCxnSpPr>
          <p:nvPr/>
        </p:nvCxnSpPr>
        <p:spPr>
          <a:xfrm>
            <a:off x="7723500" y="2774754"/>
            <a:ext cx="1365731" cy="0"/>
          </a:xfrm>
          <a:prstGeom prst="line">
            <a:avLst/>
          </a:prstGeom>
          <a:ln w="12700">
            <a:solidFill>
              <a:schemeClr val="accent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56" name="Straight Connector 60">
            <a:extLst>
              <a:ext uri="{FF2B5EF4-FFF2-40B4-BE49-F238E27FC236}">
                <a16:creationId xmlns:a16="http://schemas.microsoft.com/office/drawing/2014/main" id="{BBB6CF1E-1D4F-4414-B738-65EE4DB7D42F}"/>
              </a:ext>
            </a:extLst>
          </p:cNvPr>
          <p:cNvCxnSpPr>
            <a:cxnSpLocks/>
            <a:endCxn id="58" idx="6"/>
          </p:cNvCxnSpPr>
          <p:nvPr/>
        </p:nvCxnSpPr>
        <p:spPr>
          <a:xfrm>
            <a:off x="3154104" y="2775842"/>
            <a:ext cx="1310830" cy="0"/>
          </a:xfrm>
          <a:prstGeom prst="line">
            <a:avLst/>
          </a:prstGeom>
          <a:ln w="12700">
            <a:solidFill>
              <a:schemeClr val="accent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grpSp>
        <p:nvGrpSpPr>
          <p:cNvPr id="57" name="Group 61">
            <a:extLst>
              <a:ext uri="{FF2B5EF4-FFF2-40B4-BE49-F238E27FC236}">
                <a16:creationId xmlns:a16="http://schemas.microsoft.com/office/drawing/2014/main" id="{D8B6BEA8-0E70-4085-A6C2-F692BA9EF578}"/>
              </a:ext>
            </a:extLst>
          </p:cNvPr>
          <p:cNvGrpSpPr/>
          <p:nvPr/>
        </p:nvGrpSpPr>
        <p:grpSpPr>
          <a:xfrm flipH="1">
            <a:off x="4464934" y="2671067"/>
            <a:ext cx="209550" cy="209550"/>
            <a:chOff x="7506587" y="3567720"/>
            <a:chExt cx="209550" cy="209550"/>
          </a:xfrm>
        </p:grpSpPr>
        <p:sp>
          <p:nvSpPr>
            <p:cNvPr id="58" name="Oval 62">
              <a:extLst>
                <a:ext uri="{FF2B5EF4-FFF2-40B4-BE49-F238E27FC236}">
                  <a16:creationId xmlns:a16="http://schemas.microsoft.com/office/drawing/2014/main" id="{B131CF6B-39F5-41B4-A4E1-3AA349160AB9}"/>
                </a:ext>
              </a:extLst>
            </p:cNvPr>
            <p:cNvSpPr/>
            <p:nvPr/>
          </p:nvSpPr>
          <p:spPr>
            <a:xfrm>
              <a:off x="7506587" y="3567720"/>
              <a:ext cx="209550" cy="209550"/>
            </a:xfrm>
            <a:prstGeom prst="ellipse">
              <a:avLst/>
            </a:prstGeom>
            <a:solidFill>
              <a:schemeClr val="accent3">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Inter"/>
                <a:ea typeface="+mn-ea"/>
                <a:cs typeface="+mn-cs"/>
              </a:endParaRPr>
            </a:p>
          </p:txBody>
        </p:sp>
        <p:sp>
          <p:nvSpPr>
            <p:cNvPr id="59" name="Oval 63">
              <a:extLst>
                <a:ext uri="{FF2B5EF4-FFF2-40B4-BE49-F238E27FC236}">
                  <a16:creationId xmlns:a16="http://schemas.microsoft.com/office/drawing/2014/main" id="{8CC92387-04D9-4E54-985F-2DF6C37E2E7C}"/>
                </a:ext>
              </a:extLst>
            </p:cNvPr>
            <p:cNvSpPr/>
            <p:nvPr/>
          </p:nvSpPr>
          <p:spPr>
            <a:xfrm flipV="1">
              <a:off x="7576020" y="3637153"/>
              <a:ext cx="70684" cy="70684"/>
            </a:xfrm>
            <a:prstGeom prst="ellipse">
              <a:avLst/>
            </a:prstGeom>
            <a:solidFill>
              <a:schemeClr val="accent3"/>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Inter"/>
                <a:ea typeface="+mn-ea"/>
                <a:cs typeface="+mn-cs"/>
              </a:endParaRPr>
            </a:p>
          </p:txBody>
        </p:sp>
      </p:grpSp>
      <p:sp>
        <p:nvSpPr>
          <p:cNvPr id="63" name="Freeform 37">
            <a:extLst>
              <a:ext uri="{FF2B5EF4-FFF2-40B4-BE49-F238E27FC236}">
                <a16:creationId xmlns:a16="http://schemas.microsoft.com/office/drawing/2014/main" id="{E05265A9-1055-4A9C-8D58-940D5155BCEF}"/>
              </a:ext>
            </a:extLst>
          </p:cNvPr>
          <p:cNvSpPr>
            <a:spLocks/>
          </p:cNvSpPr>
          <p:nvPr/>
        </p:nvSpPr>
        <p:spPr bwMode="auto">
          <a:xfrm>
            <a:off x="6044970" y="2597264"/>
            <a:ext cx="96960" cy="150827"/>
          </a:xfrm>
          <a:custGeom>
            <a:avLst/>
            <a:gdLst>
              <a:gd name="T0" fmla="*/ 2 w 54"/>
              <a:gd name="T1" fmla="*/ 0 h 84"/>
              <a:gd name="T2" fmla="*/ 33 w 54"/>
              <a:gd name="T3" fmla="*/ 1 h 84"/>
              <a:gd name="T4" fmla="*/ 54 w 54"/>
              <a:gd name="T5" fmla="*/ 43 h 84"/>
              <a:gd name="T6" fmla="*/ 32 w 54"/>
              <a:gd name="T7" fmla="*/ 84 h 84"/>
              <a:gd name="T8" fmla="*/ 0 w 54"/>
              <a:gd name="T9" fmla="*/ 84 h 84"/>
              <a:gd name="T10" fmla="*/ 23 w 54"/>
              <a:gd name="T11" fmla="*/ 42 h 84"/>
              <a:gd name="T12" fmla="*/ 2 w 54"/>
              <a:gd name="T13" fmla="*/ 0 h 84"/>
              <a:gd name="T14" fmla="*/ 2 w 54"/>
              <a:gd name="T15" fmla="*/ 0 h 8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4" h="84">
                <a:moveTo>
                  <a:pt x="2" y="0"/>
                </a:moveTo>
                <a:lnTo>
                  <a:pt x="33" y="1"/>
                </a:lnTo>
                <a:lnTo>
                  <a:pt x="54" y="43"/>
                </a:lnTo>
                <a:lnTo>
                  <a:pt x="32" y="84"/>
                </a:lnTo>
                <a:lnTo>
                  <a:pt x="0" y="84"/>
                </a:lnTo>
                <a:lnTo>
                  <a:pt x="23" y="42"/>
                </a:lnTo>
                <a:lnTo>
                  <a:pt x="2" y="0"/>
                </a:lnTo>
                <a:lnTo>
                  <a:pt x="2" y="0"/>
                </a:lnTo>
                <a:close/>
              </a:path>
            </a:pathLst>
          </a:custGeom>
          <a:solidFill>
            <a:schemeClr val="accent1">
              <a:lumMod val="40000"/>
              <a:lumOff val="6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Inter"/>
              <a:ea typeface="+mn-ea"/>
              <a:cs typeface="+mn-cs"/>
            </a:endParaRPr>
          </a:p>
        </p:txBody>
      </p:sp>
      <p:sp>
        <p:nvSpPr>
          <p:cNvPr id="66" name="Right Triangle 61">
            <a:extLst>
              <a:ext uri="{FF2B5EF4-FFF2-40B4-BE49-F238E27FC236}">
                <a16:creationId xmlns:a16="http://schemas.microsoft.com/office/drawing/2014/main" id="{4B50C054-C2AE-4B45-962E-A059F96A26E9}"/>
              </a:ext>
            </a:extLst>
          </p:cNvPr>
          <p:cNvSpPr/>
          <p:nvPr/>
        </p:nvSpPr>
        <p:spPr>
          <a:xfrm flipV="1">
            <a:off x="1055689" y="803583"/>
            <a:ext cx="72580" cy="72177"/>
          </a:xfrm>
          <a:prstGeom prst="r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HarmonyOS Sans SC"/>
              <a:cs typeface="+mn-cs"/>
            </a:endParaRPr>
          </a:p>
        </p:txBody>
      </p:sp>
      <p:sp>
        <p:nvSpPr>
          <p:cNvPr id="67" name="文本框 66">
            <a:extLst>
              <a:ext uri="{FF2B5EF4-FFF2-40B4-BE49-F238E27FC236}">
                <a16:creationId xmlns:a16="http://schemas.microsoft.com/office/drawing/2014/main" id="{A261F8DD-9C62-4473-A20F-73C70E72E85C}"/>
              </a:ext>
            </a:extLst>
          </p:cNvPr>
          <p:cNvSpPr txBox="1"/>
          <p:nvPr/>
        </p:nvSpPr>
        <p:spPr>
          <a:xfrm>
            <a:off x="941388" y="918105"/>
            <a:ext cx="3411511"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2800" b="0" i="0" u="none" strike="noStrike" kern="1200" cap="none" spc="0" normalizeH="0" baseline="0" noProof="0" dirty="0">
                <a:ln>
                  <a:noFill/>
                </a:ln>
                <a:solidFill>
                  <a:prstClr val="black"/>
                </a:solidFill>
                <a:effectLst/>
                <a:uLnTx/>
                <a:uFillTx/>
                <a:latin typeface="HarmonyOS Sans Black"/>
                <a:ea typeface="+mj-ea"/>
                <a:cs typeface="+mn-cs"/>
              </a:rPr>
              <a:t>Circle </a:t>
            </a:r>
            <a:r>
              <a:rPr kumimoji="0" lang="en-US" altLang="zh-CN" sz="2800" b="0" i="0" u="none" strike="noStrike" kern="1200" cap="none" spc="0" normalizeH="0" baseline="0" noProof="0" dirty="0">
                <a:ln>
                  <a:noFill/>
                </a:ln>
                <a:solidFill>
                  <a:schemeClr val="accent1"/>
                </a:solidFill>
                <a:effectLst/>
                <a:uLnTx/>
                <a:uFillTx/>
                <a:latin typeface="HarmonyOS Sans Black"/>
                <a:ea typeface="+mj-ea"/>
                <a:cs typeface="+mn-cs"/>
              </a:rPr>
              <a:t>infographic</a:t>
            </a:r>
          </a:p>
        </p:txBody>
      </p:sp>
      <p:grpSp>
        <p:nvGrpSpPr>
          <p:cNvPr id="100" name="组合 99">
            <a:extLst>
              <a:ext uri="{FF2B5EF4-FFF2-40B4-BE49-F238E27FC236}">
                <a16:creationId xmlns:a16="http://schemas.microsoft.com/office/drawing/2014/main" id="{847DD33C-5A80-4BCE-A4D4-75912BF54177}"/>
              </a:ext>
            </a:extLst>
          </p:cNvPr>
          <p:cNvGrpSpPr/>
          <p:nvPr/>
        </p:nvGrpSpPr>
        <p:grpSpPr>
          <a:xfrm>
            <a:off x="1248690" y="2567418"/>
            <a:ext cx="1812046" cy="846145"/>
            <a:chOff x="5154634" y="1949395"/>
            <a:chExt cx="1812046" cy="846145"/>
          </a:xfrm>
        </p:grpSpPr>
        <p:sp>
          <p:nvSpPr>
            <p:cNvPr id="101" name="TextBox 65">
              <a:extLst>
                <a:ext uri="{FF2B5EF4-FFF2-40B4-BE49-F238E27FC236}">
                  <a16:creationId xmlns:a16="http://schemas.microsoft.com/office/drawing/2014/main" id="{DFB820B7-D911-4FBC-85DF-E0A185CC3867}"/>
                </a:ext>
              </a:extLst>
            </p:cNvPr>
            <p:cNvSpPr txBox="1"/>
            <p:nvPr/>
          </p:nvSpPr>
          <p:spPr>
            <a:xfrm>
              <a:off x="5427752" y="1949395"/>
              <a:ext cx="1538928" cy="345598"/>
            </a:xfrm>
            <a:prstGeom prst="rect">
              <a:avLst/>
            </a:prstGeom>
            <a:noFill/>
          </p:spPr>
          <p:txBody>
            <a:bodyPr wrap="square" lIns="0" tIns="36000" rIns="0" bIns="36000" rtlCol="0">
              <a:spAutoFit/>
            </a:bodyPr>
            <a:lstStyle/>
            <a:p>
              <a:pPr marL="0" marR="0" lvl="0" indent="0" algn="r" defTabSz="914400" rtl="0" eaLnBrk="1" fontAlgn="auto" latinLnBrk="0" hangingPunct="1">
                <a:lnSpc>
                  <a:spcPct val="120000"/>
                </a:lnSpc>
                <a:spcBef>
                  <a:spcPts val="600"/>
                </a:spcBef>
                <a:spcAft>
                  <a:spcPts val="0"/>
                </a:spcAft>
                <a:buClrTx/>
                <a:buSzTx/>
                <a:buFontTx/>
                <a:buNone/>
                <a:tabLst/>
                <a:defRPr/>
              </a:pPr>
              <a:r>
                <a:rPr kumimoji="0" lang="en-US" sz="1600" b="0" i="0" u="none" strike="noStrike" kern="1200" cap="none" spc="0" normalizeH="0" baseline="0" noProof="0" dirty="0">
                  <a:ln>
                    <a:noFill/>
                  </a:ln>
                  <a:solidFill>
                    <a:schemeClr val="accent1"/>
                  </a:solidFill>
                  <a:effectLst/>
                  <a:uLnTx/>
                  <a:uFillTx/>
                  <a:latin typeface="HarmonyOS Sans SC Black"/>
                  <a:ea typeface="+mj-ea"/>
                  <a:cs typeface="+mn-cs"/>
                </a:rPr>
                <a:t>Subtitle Here</a:t>
              </a:r>
              <a:endParaRPr kumimoji="0" lang="en-US" sz="1100" b="0" i="0" u="none" strike="noStrike" kern="1200" cap="none" spc="0" normalizeH="0" baseline="0" noProof="0" dirty="0">
                <a:ln>
                  <a:noFill/>
                </a:ln>
                <a:solidFill>
                  <a:schemeClr val="accent1"/>
                </a:solidFill>
                <a:effectLst/>
                <a:uLnTx/>
                <a:uFillTx/>
                <a:latin typeface="HarmonyOS Sans SC Black"/>
                <a:ea typeface="+mj-ea"/>
                <a:cs typeface="+mn-cs"/>
              </a:endParaRPr>
            </a:p>
          </p:txBody>
        </p:sp>
        <p:sp>
          <p:nvSpPr>
            <p:cNvPr id="102" name="TextBox 65">
              <a:extLst>
                <a:ext uri="{FF2B5EF4-FFF2-40B4-BE49-F238E27FC236}">
                  <a16:creationId xmlns:a16="http://schemas.microsoft.com/office/drawing/2014/main" id="{F3728CDD-5C2F-4A9E-A4AC-4BBAAE215F6A}"/>
                </a:ext>
              </a:extLst>
            </p:cNvPr>
            <p:cNvSpPr txBox="1"/>
            <p:nvPr/>
          </p:nvSpPr>
          <p:spPr>
            <a:xfrm>
              <a:off x="5154634" y="2332794"/>
              <a:ext cx="1812046" cy="462746"/>
            </a:xfrm>
            <a:prstGeom prst="rect">
              <a:avLst/>
            </a:prstGeom>
            <a:noFill/>
          </p:spPr>
          <p:txBody>
            <a:bodyPr wrap="square" lIns="0" tIns="36000" rIns="0" bIns="36000" rtlCol="0">
              <a:spAutoFit/>
            </a:bodyPr>
            <a:lstStyle/>
            <a:p>
              <a:pPr marL="0" marR="0" lvl="0" indent="0" algn="r" defTabSz="914400" rtl="0" eaLnBrk="1" fontAlgn="auto" latinLnBrk="0" hangingPunct="1">
                <a:lnSpc>
                  <a:spcPct val="120000"/>
                </a:lnSpc>
                <a:spcBef>
                  <a:spcPts val="600"/>
                </a:spcBef>
                <a:spcAft>
                  <a:spcPts val="0"/>
                </a:spcAft>
                <a:buClrTx/>
                <a:buSzTx/>
                <a:buFontTx/>
                <a:buNone/>
                <a:tabLst/>
                <a:defRPr/>
              </a:pPr>
              <a:r>
                <a:rPr kumimoji="0" lang="en-US" sz="1100" b="0" i="0" u="none" strike="noStrike" kern="1200" cap="none" spc="0" normalizeH="0" baseline="0" noProof="0" dirty="0">
                  <a:ln>
                    <a:noFill/>
                  </a:ln>
                  <a:solidFill>
                    <a:prstClr val="black">
                      <a:lumMod val="50000"/>
                      <a:lumOff val="50000"/>
                    </a:prstClr>
                  </a:solidFill>
                  <a:effectLst/>
                  <a:uLnTx/>
                  <a:uFillTx/>
                  <a:latin typeface="HarmonyOS Sans SC"/>
                  <a:cs typeface="+mn-cs"/>
                </a:rPr>
                <a:t>As the minuteness of the parts formed a great.</a:t>
              </a:r>
            </a:p>
          </p:txBody>
        </p:sp>
      </p:grpSp>
      <p:grpSp>
        <p:nvGrpSpPr>
          <p:cNvPr id="103" name="组合 102">
            <a:extLst>
              <a:ext uri="{FF2B5EF4-FFF2-40B4-BE49-F238E27FC236}">
                <a16:creationId xmlns:a16="http://schemas.microsoft.com/office/drawing/2014/main" id="{21A2AFC0-0C7E-4D01-9297-12DEFC9E5DF5}"/>
              </a:ext>
            </a:extLst>
          </p:cNvPr>
          <p:cNvGrpSpPr/>
          <p:nvPr/>
        </p:nvGrpSpPr>
        <p:grpSpPr>
          <a:xfrm>
            <a:off x="9153348" y="2601315"/>
            <a:ext cx="1812046" cy="846145"/>
            <a:chOff x="5154634" y="1949395"/>
            <a:chExt cx="1812046" cy="846145"/>
          </a:xfrm>
        </p:grpSpPr>
        <p:sp>
          <p:nvSpPr>
            <p:cNvPr id="104" name="TextBox 65">
              <a:extLst>
                <a:ext uri="{FF2B5EF4-FFF2-40B4-BE49-F238E27FC236}">
                  <a16:creationId xmlns:a16="http://schemas.microsoft.com/office/drawing/2014/main" id="{E8072167-A36A-4994-B3F5-29DF61F8EC0C}"/>
                </a:ext>
              </a:extLst>
            </p:cNvPr>
            <p:cNvSpPr txBox="1"/>
            <p:nvPr/>
          </p:nvSpPr>
          <p:spPr>
            <a:xfrm>
              <a:off x="5154634" y="1949395"/>
              <a:ext cx="1538928" cy="345598"/>
            </a:xfrm>
            <a:prstGeom prst="rect">
              <a:avLst/>
            </a:prstGeom>
            <a:noFill/>
          </p:spPr>
          <p:txBody>
            <a:bodyPr wrap="square" lIns="0" tIns="36000" rIns="0" bIns="36000" rtlCol="0">
              <a:spAutoFit/>
            </a:bodyPr>
            <a:lstStyle/>
            <a:p>
              <a:pPr marL="0" marR="0" lvl="0" indent="0" algn="l" defTabSz="914400" rtl="0" eaLnBrk="1" fontAlgn="auto" latinLnBrk="0" hangingPunct="1">
                <a:lnSpc>
                  <a:spcPct val="120000"/>
                </a:lnSpc>
                <a:spcBef>
                  <a:spcPts val="600"/>
                </a:spcBef>
                <a:spcAft>
                  <a:spcPts val="0"/>
                </a:spcAft>
                <a:buClrTx/>
                <a:buSzTx/>
                <a:buFontTx/>
                <a:buNone/>
                <a:tabLst/>
                <a:defRPr/>
              </a:pPr>
              <a:r>
                <a:rPr kumimoji="0" lang="en-US" sz="1600" b="0" i="0" u="none" strike="noStrike" kern="1200" cap="none" spc="0" normalizeH="0" baseline="0" noProof="0" dirty="0">
                  <a:ln>
                    <a:noFill/>
                  </a:ln>
                  <a:solidFill>
                    <a:schemeClr val="accent1"/>
                  </a:solidFill>
                  <a:effectLst/>
                  <a:uLnTx/>
                  <a:uFillTx/>
                  <a:latin typeface="HarmonyOS Sans SC Black"/>
                  <a:ea typeface="+mj-ea"/>
                  <a:cs typeface="+mn-cs"/>
                </a:rPr>
                <a:t>Subtitle Here</a:t>
              </a:r>
              <a:endParaRPr kumimoji="0" lang="en-US" sz="1100" b="0" i="0" u="none" strike="noStrike" kern="1200" cap="none" spc="0" normalizeH="0" baseline="0" noProof="0" dirty="0">
                <a:ln>
                  <a:noFill/>
                </a:ln>
                <a:solidFill>
                  <a:schemeClr val="accent1"/>
                </a:solidFill>
                <a:effectLst/>
                <a:uLnTx/>
                <a:uFillTx/>
                <a:latin typeface="HarmonyOS Sans SC Black"/>
                <a:ea typeface="+mj-ea"/>
                <a:cs typeface="+mn-cs"/>
              </a:endParaRPr>
            </a:p>
          </p:txBody>
        </p:sp>
        <p:sp>
          <p:nvSpPr>
            <p:cNvPr id="105" name="TextBox 65">
              <a:extLst>
                <a:ext uri="{FF2B5EF4-FFF2-40B4-BE49-F238E27FC236}">
                  <a16:creationId xmlns:a16="http://schemas.microsoft.com/office/drawing/2014/main" id="{8EB5AFAA-41ED-41A9-866E-D423BB981C60}"/>
                </a:ext>
              </a:extLst>
            </p:cNvPr>
            <p:cNvSpPr txBox="1"/>
            <p:nvPr/>
          </p:nvSpPr>
          <p:spPr>
            <a:xfrm>
              <a:off x="5154634" y="2332794"/>
              <a:ext cx="1812046" cy="462746"/>
            </a:xfrm>
            <a:prstGeom prst="rect">
              <a:avLst/>
            </a:prstGeom>
            <a:noFill/>
          </p:spPr>
          <p:txBody>
            <a:bodyPr wrap="square" lIns="0" tIns="36000" rIns="0" bIns="36000" rtlCol="0">
              <a:spAutoFit/>
            </a:bodyPr>
            <a:lstStyle/>
            <a:p>
              <a:pPr marL="0" marR="0" lvl="0" indent="0" algn="l" defTabSz="914400" rtl="0" eaLnBrk="1" fontAlgn="auto" latinLnBrk="0" hangingPunct="1">
                <a:lnSpc>
                  <a:spcPct val="120000"/>
                </a:lnSpc>
                <a:spcBef>
                  <a:spcPts val="600"/>
                </a:spcBef>
                <a:spcAft>
                  <a:spcPts val="0"/>
                </a:spcAft>
                <a:buClrTx/>
                <a:buSzTx/>
                <a:buFontTx/>
                <a:buNone/>
                <a:tabLst/>
                <a:defRPr/>
              </a:pPr>
              <a:r>
                <a:rPr kumimoji="0" lang="en-US" sz="1100" b="0" i="0" u="none" strike="noStrike" kern="1200" cap="none" spc="0" normalizeH="0" baseline="0" noProof="0" dirty="0">
                  <a:ln>
                    <a:noFill/>
                  </a:ln>
                  <a:solidFill>
                    <a:prstClr val="black">
                      <a:lumMod val="50000"/>
                      <a:lumOff val="50000"/>
                    </a:prstClr>
                  </a:solidFill>
                  <a:effectLst/>
                  <a:uLnTx/>
                  <a:uFillTx/>
                  <a:latin typeface="HarmonyOS Sans SC"/>
                  <a:cs typeface="+mn-cs"/>
                </a:rPr>
                <a:t>As the minuteness of the parts formed a great.</a:t>
              </a:r>
            </a:p>
          </p:txBody>
        </p:sp>
      </p:grpSp>
      <p:grpSp>
        <p:nvGrpSpPr>
          <p:cNvPr id="106" name="组合 105">
            <a:extLst>
              <a:ext uri="{FF2B5EF4-FFF2-40B4-BE49-F238E27FC236}">
                <a16:creationId xmlns:a16="http://schemas.microsoft.com/office/drawing/2014/main" id="{8EEC9013-52B1-43AB-933D-73F3E051671C}"/>
              </a:ext>
            </a:extLst>
          </p:cNvPr>
          <p:cNvGrpSpPr/>
          <p:nvPr/>
        </p:nvGrpSpPr>
        <p:grpSpPr>
          <a:xfrm>
            <a:off x="4395609" y="5531206"/>
            <a:ext cx="3400782" cy="643013"/>
            <a:chOff x="4561840" y="5531206"/>
            <a:chExt cx="3400782" cy="643013"/>
          </a:xfrm>
        </p:grpSpPr>
        <p:sp>
          <p:nvSpPr>
            <p:cNvPr id="107" name="TextBox 65">
              <a:extLst>
                <a:ext uri="{FF2B5EF4-FFF2-40B4-BE49-F238E27FC236}">
                  <a16:creationId xmlns:a16="http://schemas.microsoft.com/office/drawing/2014/main" id="{DABBCFDC-BF34-4636-A982-17C272C544C7}"/>
                </a:ext>
              </a:extLst>
            </p:cNvPr>
            <p:cNvSpPr txBox="1"/>
            <p:nvPr/>
          </p:nvSpPr>
          <p:spPr>
            <a:xfrm>
              <a:off x="5492767" y="5531206"/>
              <a:ext cx="1538928" cy="345598"/>
            </a:xfrm>
            <a:prstGeom prst="rect">
              <a:avLst/>
            </a:prstGeom>
            <a:noFill/>
          </p:spPr>
          <p:txBody>
            <a:bodyPr wrap="square" lIns="0" tIns="36000" rIns="0" bIns="36000" rtlCol="0">
              <a:spAutoFit/>
            </a:bodyPr>
            <a:lstStyle/>
            <a:p>
              <a:pPr marL="0" marR="0" lvl="0" indent="0" algn="ctr" defTabSz="914400" rtl="0" eaLnBrk="1" fontAlgn="auto" latinLnBrk="0" hangingPunct="1">
                <a:lnSpc>
                  <a:spcPct val="120000"/>
                </a:lnSpc>
                <a:spcBef>
                  <a:spcPts val="600"/>
                </a:spcBef>
                <a:spcAft>
                  <a:spcPts val="0"/>
                </a:spcAft>
                <a:buClrTx/>
                <a:buSzTx/>
                <a:buFontTx/>
                <a:buNone/>
                <a:tabLst/>
                <a:defRPr/>
              </a:pPr>
              <a:r>
                <a:rPr kumimoji="0" lang="en-US" sz="1600" b="0" i="0" u="none" strike="noStrike" kern="1200" cap="none" spc="0" normalizeH="0" baseline="0" noProof="0" dirty="0">
                  <a:ln>
                    <a:noFill/>
                  </a:ln>
                  <a:solidFill>
                    <a:schemeClr val="accent1"/>
                  </a:solidFill>
                  <a:effectLst/>
                  <a:uLnTx/>
                  <a:uFillTx/>
                  <a:latin typeface="HarmonyOS Sans SC Black"/>
                  <a:ea typeface="+mj-ea"/>
                  <a:cs typeface="+mn-cs"/>
                </a:rPr>
                <a:t>Subtitle Here</a:t>
              </a:r>
              <a:endParaRPr kumimoji="0" lang="en-US" sz="1100" b="0" i="0" u="none" strike="noStrike" kern="1200" cap="none" spc="0" normalizeH="0" baseline="0" noProof="0" dirty="0">
                <a:ln>
                  <a:noFill/>
                </a:ln>
                <a:solidFill>
                  <a:schemeClr val="accent1"/>
                </a:solidFill>
                <a:effectLst/>
                <a:uLnTx/>
                <a:uFillTx/>
                <a:latin typeface="HarmonyOS Sans SC Black"/>
                <a:ea typeface="+mj-ea"/>
                <a:cs typeface="+mn-cs"/>
              </a:endParaRPr>
            </a:p>
          </p:txBody>
        </p:sp>
        <p:sp>
          <p:nvSpPr>
            <p:cNvPr id="108" name="TextBox 65">
              <a:extLst>
                <a:ext uri="{FF2B5EF4-FFF2-40B4-BE49-F238E27FC236}">
                  <a16:creationId xmlns:a16="http://schemas.microsoft.com/office/drawing/2014/main" id="{092003D0-5C33-4719-ACC0-A1951BCD5832}"/>
                </a:ext>
              </a:extLst>
            </p:cNvPr>
            <p:cNvSpPr txBox="1"/>
            <p:nvPr/>
          </p:nvSpPr>
          <p:spPr>
            <a:xfrm>
              <a:off x="4561840" y="5914605"/>
              <a:ext cx="3400782" cy="259614"/>
            </a:xfrm>
            <a:prstGeom prst="rect">
              <a:avLst/>
            </a:prstGeom>
            <a:noFill/>
          </p:spPr>
          <p:txBody>
            <a:bodyPr wrap="square" lIns="0" tIns="36000" rIns="0" bIns="36000" rtlCol="0">
              <a:spAutoFit/>
            </a:bodyPr>
            <a:lstStyle/>
            <a:p>
              <a:pPr marL="0" marR="0" lvl="0" indent="0" algn="ctr" defTabSz="914400" rtl="0" eaLnBrk="1" fontAlgn="auto" latinLnBrk="0" hangingPunct="1">
                <a:lnSpc>
                  <a:spcPct val="120000"/>
                </a:lnSpc>
                <a:spcBef>
                  <a:spcPts val="600"/>
                </a:spcBef>
                <a:spcAft>
                  <a:spcPts val="0"/>
                </a:spcAft>
                <a:buClrTx/>
                <a:buSzTx/>
                <a:buFontTx/>
                <a:buNone/>
                <a:tabLst/>
                <a:defRPr/>
              </a:pPr>
              <a:r>
                <a:rPr kumimoji="0" lang="en-US" sz="1100" b="0" i="0" u="none" strike="noStrike" kern="1200" cap="none" spc="0" normalizeH="0" baseline="0" noProof="0" dirty="0">
                  <a:ln>
                    <a:noFill/>
                  </a:ln>
                  <a:solidFill>
                    <a:prstClr val="black">
                      <a:lumMod val="50000"/>
                      <a:lumOff val="50000"/>
                    </a:prstClr>
                  </a:solidFill>
                  <a:effectLst/>
                  <a:uLnTx/>
                  <a:uFillTx/>
                  <a:latin typeface="HarmonyOS Sans SC"/>
                  <a:cs typeface="+mn-cs"/>
                </a:rPr>
                <a:t>As the minuteness of the parts formed a great.</a:t>
              </a:r>
            </a:p>
          </p:txBody>
        </p:sp>
      </p:grpSp>
      <p:grpSp>
        <p:nvGrpSpPr>
          <p:cNvPr id="110" name="组合 109">
            <a:extLst>
              <a:ext uri="{FF2B5EF4-FFF2-40B4-BE49-F238E27FC236}">
                <a16:creationId xmlns:a16="http://schemas.microsoft.com/office/drawing/2014/main" id="{842C32F5-C9B3-4B26-B780-9E1FDC538585}"/>
              </a:ext>
            </a:extLst>
          </p:cNvPr>
          <p:cNvGrpSpPr/>
          <p:nvPr/>
        </p:nvGrpSpPr>
        <p:grpSpPr>
          <a:xfrm>
            <a:off x="4464934" y="2672275"/>
            <a:ext cx="209550" cy="209550"/>
            <a:chOff x="5585550" y="2229291"/>
            <a:chExt cx="209550" cy="209550"/>
          </a:xfrm>
        </p:grpSpPr>
        <p:sp>
          <p:nvSpPr>
            <p:cNvPr id="111" name="Oval 69">
              <a:extLst>
                <a:ext uri="{FF2B5EF4-FFF2-40B4-BE49-F238E27FC236}">
                  <a16:creationId xmlns:a16="http://schemas.microsoft.com/office/drawing/2014/main" id="{8FBA4225-019A-44E4-BDB9-1714576B3D1A}"/>
                </a:ext>
              </a:extLst>
            </p:cNvPr>
            <p:cNvSpPr/>
            <p:nvPr/>
          </p:nvSpPr>
          <p:spPr>
            <a:xfrm flipH="1">
              <a:off x="5585550" y="2229291"/>
              <a:ext cx="209550" cy="209550"/>
            </a:xfrm>
            <a:prstGeom prst="ellipse">
              <a:avLst/>
            </a:prstGeom>
            <a:solidFill>
              <a:schemeClr val="accent1">
                <a:lumMod val="20000"/>
                <a:lumOff val="80000"/>
                <a:alpha val="5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800" b="0" i="0" u="none" strike="noStrike" kern="1200" cap="none" spc="0" normalizeH="0" baseline="0" noProof="0">
                <a:ln>
                  <a:noFill/>
                </a:ln>
                <a:solidFill>
                  <a:prstClr val="black">
                    <a:lumMod val="50000"/>
                    <a:lumOff val="50000"/>
                  </a:prstClr>
                </a:solidFill>
                <a:effectLst/>
                <a:uLnTx/>
                <a:uFillTx/>
                <a:latin typeface="HarmonyOS Sans SC"/>
                <a:cs typeface="+mn-cs"/>
              </a:endParaRPr>
            </a:p>
          </p:txBody>
        </p:sp>
        <p:sp>
          <p:nvSpPr>
            <p:cNvPr id="112" name="Oval 70">
              <a:extLst>
                <a:ext uri="{FF2B5EF4-FFF2-40B4-BE49-F238E27FC236}">
                  <a16:creationId xmlns:a16="http://schemas.microsoft.com/office/drawing/2014/main" id="{5017F47A-259A-476D-A32E-91ADCA236FA0}"/>
                </a:ext>
              </a:extLst>
            </p:cNvPr>
            <p:cNvSpPr/>
            <p:nvPr/>
          </p:nvSpPr>
          <p:spPr>
            <a:xfrm flipH="1" flipV="1">
              <a:off x="5654983" y="2298724"/>
              <a:ext cx="70684" cy="70684"/>
            </a:xfrm>
            <a:prstGeom prst="ellipse">
              <a:avLst/>
            </a:prstGeom>
            <a:gradFill>
              <a:gsLst>
                <a:gs pos="73000">
                  <a:schemeClr val="accent1"/>
                </a:gs>
                <a:gs pos="31000">
                  <a:schemeClr val="accent1">
                    <a:lumMod val="60000"/>
                    <a:lumOff val="40000"/>
                  </a:schemeClr>
                </a:gs>
                <a:gs pos="0">
                  <a:schemeClr val="accent1">
                    <a:lumMod val="40000"/>
                    <a:lumOff val="60000"/>
                  </a:schemeClr>
                </a:gs>
              </a:gsLst>
              <a:lin ang="2700000" scaled="1"/>
            </a:gra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800" b="0" i="0" u="none" strike="noStrike" kern="1200" cap="none" spc="0" normalizeH="0" baseline="0" noProof="0">
                <a:ln>
                  <a:noFill/>
                </a:ln>
                <a:solidFill>
                  <a:prstClr val="black">
                    <a:lumMod val="50000"/>
                    <a:lumOff val="50000"/>
                  </a:prstClr>
                </a:solidFill>
                <a:effectLst/>
                <a:uLnTx/>
                <a:uFillTx/>
                <a:latin typeface="HarmonyOS Sans SC"/>
                <a:cs typeface="+mn-cs"/>
              </a:endParaRPr>
            </a:p>
          </p:txBody>
        </p:sp>
      </p:grpSp>
      <p:grpSp>
        <p:nvGrpSpPr>
          <p:cNvPr id="117" name="组合 116">
            <a:extLst>
              <a:ext uri="{FF2B5EF4-FFF2-40B4-BE49-F238E27FC236}">
                <a16:creationId xmlns:a16="http://schemas.microsoft.com/office/drawing/2014/main" id="{55C727B4-1383-42EC-A25E-FFA532C3BCFB}"/>
              </a:ext>
            </a:extLst>
          </p:cNvPr>
          <p:cNvGrpSpPr/>
          <p:nvPr/>
        </p:nvGrpSpPr>
        <p:grpSpPr>
          <a:xfrm>
            <a:off x="7513950" y="2668449"/>
            <a:ext cx="209550" cy="209550"/>
            <a:chOff x="5585550" y="2229291"/>
            <a:chExt cx="209550" cy="209550"/>
          </a:xfrm>
        </p:grpSpPr>
        <p:sp>
          <p:nvSpPr>
            <p:cNvPr id="118" name="Oval 69">
              <a:extLst>
                <a:ext uri="{FF2B5EF4-FFF2-40B4-BE49-F238E27FC236}">
                  <a16:creationId xmlns:a16="http://schemas.microsoft.com/office/drawing/2014/main" id="{5C2CA96A-B582-4DB3-AAAE-5F66B12D3F13}"/>
                </a:ext>
              </a:extLst>
            </p:cNvPr>
            <p:cNvSpPr/>
            <p:nvPr/>
          </p:nvSpPr>
          <p:spPr>
            <a:xfrm flipH="1">
              <a:off x="5585550" y="2229291"/>
              <a:ext cx="209550" cy="209550"/>
            </a:xfrm>
            <a:prstGeom prst="ellipse">
              <a:avLst/>
            </a:prstGeom>
            <a:solidFill>
              <a:schemeClr val="accent1">
                <a:lumMod val="20000"/>
                <a:lumOff val="80000"/>
                <a:alpha val="5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800" b="0" i="0" u="none" strike="noStrike" kern="1200" cap="none" spc="0" normalizeH="0" baseline="0" noProof="0">
                <a:ln>
                  <a:noFill/>
                </a:ln>
                <a:solidFill>
                  <a:prstClr val="black">
                    <a:lumMod val="50000"/>
                    <a:lumOff val="50000"/>
                  </a:prstClr>
                </a:solidFill>
                <a:effectLst/>
                <a:uLnTx/>
                <a:uFillTx/>
                <a:latin typeface="HarmonyOS Sans SC"/>
                <a:cs typeface="+mn-cs"/>
              </a:endParaRPr>
            </a:p>
          </p:txBody>
        </p:sp>
        <p:sp>
          <p:nvSpPr>
            <p:cNvPr id="119" name="Oval 70">
              <a:extLst>
                <a:ext uri="{FF2B5EF4-FFF2-40B4-BE49-F238E27FC236}">
                  <a16:creationId xmlns:a16="http://schemas.microsoft.com/office/drawing/2014/main" id="{B8C02E77-A4CB-4BD4-B7F4-E9286C6E6763}"/>
                </a:ext>
              </a:extLst>
            </p:cNvPr>
            <p:cNvSpPr/>
            <p:nvPr/>
          </p:nvSpPr>
          <p:spPr>
            <a:xfrm flipH="1" flipV="1">
              <a:off x="5654983" y="2298724"/>
              <a:ext cx="70684" cy="70684"/>
            </a:xfrm>
            <a:prstGeom prst="ellipse">
              <a:avLst/>
            </a:prstGeom>
            <a:gradFill>
              <a:gsLst>
                <a:gs pos="73000">
                  <a:schemeClr val="accent1"/>
                </a:gs>
                <a:gs pos="31000">
                  <a:schemeClr val="accent1">
                    <a:lumMod val="60000"/>
                    <a:lumOff val="40000"/>
                  </a:schemeClr>
                </a:gs>
                <a:gs pos="0">
                  <a:schemeClr val="accent1">
                    <a:lumMod val="40000"/>
                    <a:lumOff val="60000"/>
                  </a:schemeClr>
                </a:gs>
              </a:gsLst>
              <a:lin ang="2700000" scaled="1"/>
            </a:gra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800" b="0" i="0" u="none" strike="noStrike" kern="1200" cap="none" spc="0" normalizeH="0" baseline="0" noProof="0">
                <a:ln>
                  <a:noFill/>
                </a:ln>
                <a:solidFill>
                  <a:prstClr val="black">
                    <a:lumMod val="50000"/>
                    <a:lumOff val="50000"/>
                  </a:prstClr>
                </a:solidFill>
                <a:effectLst/>
                <a:uLnTx/>
                <a:uFillTx/>
                <a:latin typeface="HarmonyOS Sans SC"/>
                <a:cs typeface="+mn-cs"/>
              </a:endParaRPr>
            </a:p>
          </p:txBody>
        </p:sp>
      </p:grpSp>
    </p:spTree>
    <p:extLst>
      <p:ext uri="{BB962C8B-B14F-4D97-AF65-F5344CB8AC3E}">
        <p14:creationId xmlns:p14="http://schemas.microsoft.com/office/powerpoint/2010/main" val="1321703085"/>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484.xml><?xml version="1.0" encoding="utf-8"?>
<p:sld xmlns:a="http://schemas.openxmlformats.org/drawingml/2006/main" xmlns:r="http://schemas.openxmlformats.org/officeDocument/2006/relationships" xmlns:p="http://schemas.openxmlformats.org/presentationml/2006/main">
  <p:cSld>
    <p:bg>
      <p:bgPr>
        <a:solidFill>
          <a:schemeClr val="bg1">
            <a:alpha val="99000"/>
          </a:schemeClr>
        </a:solidFill>
        <a:effectLst/>
      </p:bgPr>
    </p:bg>
    <p:spTree>
      <p:nvGrpSpPr>
        <p:cNvPr id="1" name=""/>
        <p:cNvGrpSpPr/>
        <p:nvPr/>
      </p:nvGrpSpPr>
      <p:grpSpPr>
        <a:xfrm>
          <a:off x="0" y="0"/>
          <a:ext cx="0" cy="0"/>
          <a:chOff x="0" y="0"/>
          <a:chExt cx="0" cy="0"/>
        </a:xfrm>
      </p:grpSpPr>
      <p:sp>
        <p:nvSpPr>
          <p:cNvPr id="20" name="文本框 19">
            <a:extLst>
              <a:ext uri="{FF2B5EF4-FFF2-40B4-BE49-F238E27FC236}">
                <a16:creationId xmlns:a16="http://schemas.microsoft.com/office/drawing/2014/main" id="{159CDD16-9609-4920-BD62-E9E8A1070ADA}"/>
              </a:ext>
            </a:extLst>
          </p:cNvPr>
          <p:cNvSpPr txBox="1"/>
          <p:nvPr/>
        </p:nvSpPr>
        <p:spPr>
          <a:xfrm>
            <a:off x="4449556" y="918105"/>
            <a:ext cx="3292889" cy="52322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2800" b="0" i="0" u="none" strike="noStrike" kern="1200" cap="none" spc="0" normalizeH="0" baseline="0" noProof="0" dirty="0">
                <a:ln>
                  <a:noFill/>
                </a:ln>
                <a:solidFill>
                  <a:prstClr val="black"/>
                </a:solidFill>
                <a:effectLst/>
                <a:uLnTx/>
                <a:uFillTx/>
                <a:latin typeface="HarmonyOS Sans Black"/>
                <a:ea typeface="+mj-ea"/>
                <a:cs typeface="+mn-cs"/>
              </a:rPr>
              <a:t>Circle </a:t>
            </a:r>
            <a:r>
              <a:rPr kumimoji="0" lang="en-US" altLang="zh-CN" sz="2800" b="0" i="0" u="none" strike="noStrike" kern="1200" cap="none" spc="0" normalizeH="0" baseline="0" noProof="0" dirty="0">
                <a:ln>
                  <a:noFill/>
                </a:ln>
                <a:solidFill>
                  <a:schemeClr val="accent1"/>
                </a:solidFill>
                <a:effectLst/>
                <a:uLnTx/>
                <a:uFillTx/>
                <a:latin typeface="HarmonyOS Sans Black"/>
                <a:ea typeface="+mj-ea"/>
                <a:cs typeface="+mn-cs"/>
              </a:rPr>
              <a:t>infographic</a:t>
            </a:r>
          </a:p>
        </p:txBody>
      </p:sp>
      <p:sp>
        <p:nvSpPr>
          <p:cNvPr id="4" name="Freeform 6">
            <a:extLst>
              <a:ext uri="{FF2B5EF4-FFF2-40B4-BE49-F238E27FC236}">
                <a16:creationId xmlns:a16="http://schemas.microsoft.com/office/drawing/2014/main" id="{C12DD1E9-AE8B-49BE-B4A0-BCFB325862AC}"/>
              </a:ext>
            </a:extLst>
          </p:cNvPr>
          <p:cNvSpPr>
            <a:spLocks/>
          </p:cNvSpPr>
          <p:nvPr/>
        </p:nvSpPr>
        <p:spPr bwMode="auto">
          <a:xfrm flipV="1">
            <a:off x="3859118" y="2692743"/>
            <a:ext cx="2312671" cy="2333910"/>
          </a:xfrm>
          <a:custGeom>
            <a:avLst/>
            <a:gdLst>
              <a:gd name="T0" fmla="*/ 127 w 314"/>
              <a:gd name="T1" fmla="*/ 0 h 315"/>
              <a:gd name="T2" fmla="*/ 314 w 314"/>
              <a:gd name="T3" fmla="*/ 189 h 315"/>
              <a:gd name="T4" fmla="*/ 187 w 314"/>
              <a:gd name="T5" fmla="*/ 315 h 315"/>
              <a:gd name="T6" fmla="*/ 0 w 314"/>
              <a:gd name="T7" fmla="*/ 125 h 315"/>
              <a:gd name="T8" fmla="*/ 127 w 314"/>
              <a:gd name="T9" fmla="*/ 0 h 315"/>
            </a:gdLst>
            <a:ahLst/>
            <a:cxnLst>
              <a:cxn ang="0">
                <a:pos x="T0" y="T1"/>
              </a:cxn>
              <a:cxn ang="0">
                <a:pos x="T2" y="T3"/>
              </a:cxn>
              <a:cxn ang="0">
                <a:pos x="T4" y="T5"/>
              </a:cxn>
              <a:cxn ang="0">
                <a:pos x="T6" y="T7"/>
              </a:cxn>
              <a:cxn ang="0">
                <a:pos x="T8" y="T9"/>
              </a:cxn>
            </a:cxnLst>
            <a:rect l="0" t="0" r="r" b="b"/>
            <a:pathLst>
              <a:path w="314" h="315">
                <a:moveTo>
                  <a:pt x="127" y="0"/>
                </a:moveTo>
                <a:cubicBezTo>
                  <a:pt x="141" y="97"/>
                  <a:pt x="217" y="174"/>
                  <a:pt x="314" y="189"/>
                </a:cubicBezTo>
                <a:cubicBezTo>
                  <a:pt x="187" y="315"/>
                  <a:pt x="187" y="315"/>
                  <a:pt x="187" y="315"/>
                </a:cubicBezTo>
                <a:cubicBezTo>
                  <a:pt x="173" y="217"/>
                  <a:pt x="97" y="140"/>
                  <a:pt x="0" y="125"/>
                </a:cubicBezTo>
                <a:lnTo>
                  <a:pt x="127" y="0"/>
                </a:lnTo>
                <a:close/>
              </a:path>
            </a:pathLst>
          </a:custGeom>
          <a:solidFill>
            <a:schemeClr val="accent1">
              <a:lumMod val="40000"/>
              <a:lumOff val="60000"/>
              <a:alpha val="54000"/>
            </a:schemeClr>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sp>
        <p:nvSpPr>
          <p:cNvPr id="5" name="Freeform 7">
            <a:extLst>
              <a:ext uri="{FF2B5EF4-FFF2-40B4-BE49-F238E27FC236}">
                <a16:creationId xmlns:a16="http://schemas.microsoft.com/office/drawing/2014/main" id="{732A3990-B821-417C-B6B2-4FFDC06B001F}"/>
              </a:ext>
            </a:extLst>
          </p:cNvPr>
          <p:cNvSpPr>
            <a:spLocks/>
          </p:cNvSpPr>
          <p:nvPr/>
        </p:nvSpPr>
        <p:spPr bwMode="auto">
          <a:xfrm flipV="1">
            <a:off x="5964686" y="2692743"/>
            <a:ext cx="2363120" cy="2341874"/>
          </a:xfrm>
          <a:custGeom>
            <a:avLst/>
            <a:gdLst>
              <a:gd name="T0" fmla="*/ 0 w 321"/>
              <a:gd name="T1" fmla="*/ 189 h 316"/>
              <a:gd name="T2" fmla="*/ 201 w 321"/>
              <a:gd name="T3" fmla="*/ 0 h 316"/>
              <a:gd name="T4" fmla="*/ 321 w 321"/>
              <a:gd name="T5" fmla="*/ 127 h 316"/>
              <a:gd name="T6" fmla="*/ 120 w 321"/>
              <a:gd name="T7" fmla="*/ 316 h 316"/>
              <a:gd name="T8" fmla="*/ 0 w 321"/>
              <a:gd name="T9" fmla="*/ 189 h 316"/>
            </a:gdLst>
            <a:ahLst/>
            <a:cxnLst>
              <a:cxn ang="0">
                <a:pos x="T0" y="T1"/>
              </a:cxn>
              <a:cxn ang="0">
                <a:pos x="T2" y="T3"/>
              </a:cxn>
              <a:cxn ang="0">
                <a:pos x="T4" y="T5"/>
              </a:cxn>
              <a:cxn ang="0">
                <a:pos x="T6" y="T7"/>
              </a:cxn>
              <a:cxn ang="0">
                <a:pos x="T8" y="T9"/>
              </a:cxn>
            </a:cxnLst>
            <a:rect l="0" t="0" r="r" b="b"/>
            <a:pathLst>
              <a:path w="321" h="316">
                <a:moveTo>
                  <a:pt x="0" y="189"/>
                </a:moveTo>
                <a:cubicBezTo>
                  <a:pt x="102" y="179"/>
                  <a:pt x="185" y="101"/>
                  <a:pt x="201" y="0"/>
                </a:cubicBezTo>
                <a:cubicBezTo>
                  <a:pt x="321" y="127"/>
                  <a:pt x="321" y="127"/>
                  <a:pt x="321" y="127"/>
                </a:cubicBezTo>
                <a:cubicBezTo>
                  <a:pt x="218" y="137"/>
                  <a:pt x="136" y="215"/>
                  <a:pt x="120" y="316"/>
                </a:cubicBezTo>
                <a:lnTo>
                  <a:pt x="0" y="189"/>
                </a:lnTo>
                <a:close/>
              </a:path>
            </a:pathLst>
          </a:custGeom>
          <a:solidFill>
            <a:schemeClr val="accent1">
              <a:lumMod val="40000"/>
              <a:lumOff val="60000"/>
              <a:alpha val="54000"/>
            </a:schemeClr>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sp>
        <p:nvSpPr>
          <p:cNvPr id="6" name="Oval 36">
            <a:extLst>
              <a:ext uri="{FF2B5EF4-FFF2-40B4-BE49-F238E27FC236}">
                <a16:creationId xmlns:a16="http://schemas.microsoft.com/office/drawing/2014/main" id="{AA0E78A9-517E-4B8F-9354-81201983245B}"/>
              </a:ext>
            </a:extLst>
          </p:cNvPr>
          <p:cNvSpPr/>
          <p:nvPr/>
        </p:nvSpPr>
        <p:spPr>
          <a:xfrm>
            <a:off x="3143849" y="4088629"/>
            <a:ext cx="1660518" cy="1660513"/>
          </a:xfrm>
          <a:prstGeom prst="ellipse">
            <a:avLst/>
          </a:prstGeom>
          <a:gradFill>
            <a:gsLst>
              <a:gs pos="73000">
                <a:schemeClr val="accent1"/>
              </a:gs>
              <a:gs pos="31000">
                <a:schemeClr val="accent1">
                  <a:lumMod val="60000"/>
                  <a:lumOff val="40000"/>
                </a:schemeClr>
              </a:gs>
              <a:gs pos="0">
                <a:schemeClr val="accent1">
                  <a:lumMod val="40000"/>
                  <a:lumOff val="60000"/>
                </a:schemeClr>
              </a:gs>
            </a:gsLst>
            <a:path path="circle">
              <a:fillToRect r="100000" b="100000"/>
            </a:path>
          </a:gradFill>
          <a:ln>
            <a:noFill/>
          </a:ln>
          <a:effectLst>
            <a:outerShdw blurRad="444500" dist="317500" dir="5400000" sx="92000" sy="92000" algn="t" rotWithShape="0">
              <a:schemeClr val="accent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HarmonyOS Sans SC"/>
              <a:cs typeface="+mn-cs"/>
            </a:endParaRPr>
          </a:p>
        </p:txBody>
      </p:sp>
      <p:sp>
        <p:nvSpPr>
          <p:cNvPr id="7" name="Oval 37">
            <a:extLst>
              <a:ext uri="{FF2B5EF4-FFF2-40B4-BE49-F238E27FC236}">
                <a16:creationId xmlns:a16="http://schemas.microsoft.com/office/drawing/2014/main" id="{1607D787-B2FD-4598-B5B5-4F06D0511228}"/>
              </a:ext>
            </a:extLst>
          </p:cNvPr>
          <p:cNvSpPr/>
          <p:nvPr/>
        </p:nvSpPr>
        <p:spPr>
          <a:xfrm>
            <a:off x="7405431" y="4088629"/>
            <a:ext cx="1660518" cy="1660513"/>
          </a:xfrm>
          <a:prstGeom prst="ellipse">
            <a:avLst/>
          </a:prstGeom>
          <a:gradFill>
            <a:gsLst>
              <a:gs pos="73000">
                <a:schemeClr val="accent1"/>
              </a:gs>
              <a:gs pos="31000">
                <a:schemeClr val="accent1">
                  <a:lumMod val="60000"/>
                  <a:lumOff val="40000"/>
                </a:schemeClr>
              </a:gs>
              <a:gs pos="0">
                <a:schemeClr val="accent1">
                  <a:lumMod val="40000"/>
                  <a:lumOff val="60000"/>
                </a:schemeClr>
              </a:gs>
            </a:gsLst>
            <a:path path="circle">
              <a:fillToRect r="100000" b="100000"/>
            </a:path>
          </a:gradFill>
          <a:ln>
            <a:noFill/>
          </a:ln>
          <a:effectLst>
            <a:outerShdw blurRad="444500" dist="317500" dir="5400000" sx="92000" sy="92000" algn="t" rotWithShape="0">
              <a:schemeClr val="accent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HarmonyOS Sans SC"/>
              <a:cs typeface="+mn-cs"/>
            </a:endParaRPr>
          </a:p>
        </p:txBody>
      </p:sp>
      <p:sp>
        <p:nvSpPr>
          <p:cNvPr id="8" name="Oval 43">
            <a:extLst>
              <a:ext uri="{FF2B5EF4-FFF2-40B4-BE49-F238E27FC236}">
                <a16:creationId xmlns:a16="http://schemas.microsoft.com/office/drawing/2014/main" id="{0CE9FF46-1B3C-41D1-830A-D9E84347ABDC}"/>
              </a:ext>
            </a:extLst>
          </p:cNvPr>
          <p:cNvSpPr/>
          <p:nvPr/>
        </p:nvSpPr>
        <p:spPr>
          <a:xfrm>
            <a:off x="5214289" y="1980137"/>
            <a:ext cx="1660518" cy="1660513"/>
          </a:xfrm>
          <a:prstGeom prst="ellipse">
            <a:avLst/>
          </a:prstGeom>
          <a:gradFill>
            <a:gsLst>
              <a:gs pos="73000">
                <a:schemeClr val="accent1"/>
              </a:gs>
              <a:gs pos="31000">
                <a:schemeClr val="accent1">
                  <a:lumMod val="60000"/>
                  <a:lumOff val="40000"/>
                </a:schemeClr>
              </a:gs>
              <a:gs pos="0">
                <a:schemeClr val="accent1">
                  <a:lumMod val="40000"/>
                  <a:lumOff val="60000"/>
                </a:schemeClr>
              </a:gs>
            </a:gsLst>
            <a:path path="circle">
              <a:fillToRect r="100000" b="100000"/>
            </a:path>
          </a:gradFill>
          <a:ln>
            <a:noFill/>
          </a:ln>
          <a:effectLst>
            <a:outerShdw blurRad="444500" dist="317500" dir="5400000" sx="92000" sy="92000" algn="t" rotWithShape="0">
              <a:schemeClr val="accent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HarmonyOS Sans SC"/>
              <a:cs typeface="+mn-cs"/>
            </a:endParaRPr>
          </a:p>
        </p:txBody>
      </p:sp>
      <p:sp>
        <p:nvSpPr>
          <p:cNvPr id="9" name="Freeform 5">
            <a:extLst>
              <a:ext uri="{FF2B5EF4-FFF2-40B4-BE49-F238E27FC236}">
                <a16:creationId xmlns:a16="http://schemas.microsoft.com/office/drawing/2014/main" id="{2B9F147F-239F-4314-949A-498EFC8EB6B8}"/>
              </a:ext>
            </a:extLst>
          </p:cNvPr>
          <p:cNvSpPr>
            <a:spLocks noEditPoints="1"/>
          </p:cNvSpPr>
          <p:nvPr/>
        </p:nvSpPr>
        <p:spPr bwMode="auto">
          <a:xfrm>
            <a:off x="5722075" y="2467493"/>
            <a:ext cx="630298" cy="630293"/>
          </a:xfrm>
          <a:custGeom>
            <a:avLst/>
            <a:gdLst>
              <a:gd name="T0" fmla="*/ 1024 w 2048"/>
              <a:gd name="T1" fmla="*/ 0 h 2048"/>
              <a:gd name="T2" fmla="*/ 0 w 2048"/>
              <a:gd name="T3" fmla="*/ 1024 h 2048"/>
              <a:gd name="T4" fmla="*/ 1024 w 2048"/>
              <a:gd name="T5" fmla="*/ 2048 h 2048"/>
              <a:gd name="T6" fmla="*/ 2048 w 2048"/>
              <a:gd name="T7" fmla="*/ 1024 h 2048"/>
              <a:gd name="T8" fmla="*/ 1024 w 2048"/>
              <a:gd name="T9" fmla="*/ 0 h 2048"/>
              <a:gd name="T10" fmla="*/ 1499 w 2048"/>
              <a:gd name="T11" fmla="*/ 1134 h 2048"/>
              <a:gd name="T12" fmla="*/ 1024 w 2048"/>
              <a:gd name="T13" fmla="*/ 1134 h 2048"/>
              <a:gd name="T14" fmla="*/ 914 w 2048"/>
              <a:gd name="T15" fmla="*/ 1024 h 2048"/>
              <a:gd name="T16" fmla="*/ 914 w 2048"/>
              <a:gd name="T17" fmla="*/ 549 h 2048"/>
              <a:gd name="T18" fmla="*/ 1024 w 2048"/>
              <a:gd name="T19" fmla="*/ 439 h 2048"/>
              <a:gd name="T20" fmla="*/ 1134 w 2048"/>
              <a:gd name="T21" fmla="*/ 549 h 2048"/>
              <a:gd name="T22" fmla="*/ 1134 w 2048"/>
              <a:gd name="T23" fmla="*/ 915 h 2048"/>
              <a:gd name="T24" fmla="*/ 1499 w 2048"/>
              <a:gd name="T25" fmla="*/ 915 h 2048"/>
              <a:gd name="T26" fmla="*/ 1609 w 2048"/>
              <a:gd name="T27" fmla="*/ 1024 h 2048"/>
              <a:gd name="T28" fmla="*/ 1499 w 2048"/>
              <a:gd name="T29" fmla="*/ 1134 h 20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48" h="2048">
                <a:moveTo>
                  <a:pt x="1024" y="0"/>
                </a:moveTo>
                <a:cubicBezTo>
                  <a:pt x="459" y="0"/>
                  <a:pt x="0" y="459"/>
                  <a:pt x="0" y="1024"/>
                </a:cubicBezTo>
                <a:cubicBezTo>
                  <a:pt x="0" y="1589"/>
                  <a:pt x="459" y="2048"/>
                  <a:pt x="1024" y="2048"/>
                </a:cubicBezTo>
                <a:cubicBezTo>
                  <a:pt x="1589" y="2048"/>
                  <a:pt x="2048" y="1589"/>
                  <a:pt x="2048" y="1024"/>
                </a:cubicBezTo>
                <a:cubicBezTo>
                  <a:pt x="2048" y="459"/>
                  <a:pt x="1589" y="0"/>
                  <a:pt x="1024" y="0"/>
                </a:cubicBezTo>
                <a:close/>
                <a:moveTo>
                  <a:pt x="1499" y="1134"/>
                </a:moveTo>
                <a:cubicBezTo>
                  <a:pt x="1024" y="1134"/>
                  <a:pt x="1024" y="1134"/>
                  <a:pt x="1024" y="1134"/>
                </a:cubicBezTo>
                <a:cubicBezTo>
                  <a:pt x="963" y="1134"/>
                  <a:pt x="914" y="1085"/>
                  <a:pt x="914" y="1024"/>
                </a:cubicBezTo>
                <a:cubicBezTo>
                  <a:pt x="914" y="549"/>
                  <a:pt x="914" y="549"/>
                  <a:pt x="914" y="549"/>
                </a:cubicBezTo>
                <a:cubicBezTo>
                  <a:pt x="914" y="489"/>
                  <a:pt x="963" y="439"/>
                  <a:pt x="1024" y="439"/>
                </a:cubicBezTo>
                <a:cubicBezTo>
                  <a:pt x="1085" y="439"/>
                  <a:pt x="1134" y="489"/>
                  <a:pt x="1134" y="549"/>
                </a:cubicBezTo>
                <a:cubicBezTo>
                  <a:pt x="1134" y="915"/>
                  <a:pt x="1134" y="915"/>
                  <a:pt x="1134" y="915"/>
                </a:cubicBezTo>
                <a:cubicBezTo>
                  <a:pt x="1499" y="915"/>
                  <a:pt x="1499" y="915"/>
                  <a:pt x="1499" y="915"/>
                </a:cubicBezTo>
                <a:cubicBezTo>
                  <a:pt x="1560" y="915"/>
                  <a:pt x="1609" y="964"/>
                  <a:pt x="1609" y="1024"/>
                </a:cubicBezTo>
                <a:cubicBezTo>
                  <a:pt x="1609" y="1085"/>
                  <a:pt x="1560" y="1134"/>
                  <a:pt x="1499" y="1134"/>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Open Sans"/>
              <a:ea typeface="+mn-ea"/>
              <a:cs typeface="+mn-cs"/>
            </a:endParaRPr>
          </a:p>
        </p:txBody>
      </p:sp>
      <p:grpSp>
        <p:nvGrpSpPr>
          <p:cNvPr id="10" name="Group 45">
            <a:extLst>
              <a:ext uri="{FF2B5EF4-FFF2-40B4-BE49-F238E27FC236}">
                <a16:creationId xmlns:a16="http://schemas.microsoft.com/office/drawing/2014/main" id="{50C1CBFC-C154-40E6-8973-D003C63CB60B}"/>
              </a:ext>
            </a:extLst>
          </p:cNvPr>
          <p:cNvGrpSpPr/>
          <p:nvPr/>
        </p:nvGrpSpPr>
        <p:grpSpPr>
          <a:xfrm>
            <a:off x="3710886" y="4596398"/>
            <a:ext cx="513491" cy="638733"/>
            <a:chOff x="4862513" y="3505200"/>
            <a:chExt cx="260350" cy="323851"/>
          </a:xfrm>
          <a:solidFill>
            <a:srgbClr val="FFFFFF"/>
          </a:solidFill>
        </p:grpSpPr>
        <p:sp>
          <p:nvSpPr>
            <p:cNvPr id="11" name="Freeform 9">
              <a:extLst>
                <a:ext uri="{FF2B5EF4-FFF2-40B4-BE49-F238E27FC236}">
                  <a16:creationId xmlns:a16="http://schemas.microsoft.com/office/drawing/2014/main" id="{E34A0A55-7B74-42AF-9E19-79AA49B7A5B2}"/>
                </a:ext>
              </a:extLst>
            </p:cNvPr>
            <p:cNvSpPr>
              <a:spLocks/>
            </p:cNvSpPr>
            <p:nvPr/>
          </p:nvSpPr>
          <p:spPr bwMode="auto">
            <a:xfrm>
              <a:off x="4870451" y="3505200"/>
              <a:ext cx="220663" cy="234950"/>
            </a:xfrm>
            <a:custGeom>
              <a:avLst/>
              <a:gdLst>
                <a:gd name="T0" fmla="*/ 761 w 1393"/>
                <a:gd name="T1" fmla="*/ 0 h 1489"/>
                <a:gd name="T2" fmla="*/ 240 w 1393"/>
                <a:gd name="T3" fmla="*/ 0 h 1489"/>
                <a:gd name="T4" fmla="*/ 93 w 1393"/>
                <a:gd name="T5" fmla="*/ 0 h 1489"/>
                <a:gd name="T6" fmla="*/ 0 w 1393"/>
                <a:gd name="T7" fmla="*/ 93 h 1489"/>
                <a:gd name="T8" fmla="*/ 93 w 1393"/>
                <a:gd name="T9" fmla="*/ 186 h 1489"/>
                <a:gd name="T10" fmla="*/ 147 w 1393"/>
                <a:gd name="T11" fmla="*/ 186 h 1489"/>
                <a:gd name="T12" fmla="*/ 147 w 1393"/>
                <a:gd name="T13" fmla="*/ 938 h 1489"/>
                <a:gd name="T14" fmla="*/ 240 w 1393"/>
                <a:gd name="T15" fmla="*/ 1031 h 1489"/>
                <a:gd name="T16" fmla="*/ 397 w 1393"/>
                <a:gd name="T17" fmla="*/ 1031 h 1489"/>
                <a:gd name="T18" fmla="*/ 462 w 1393"/>
                <a:gd name="T19" fmla="*/ 1004 h 1489"/>
                <a:gd name="T20" fmla="*/ 591 w 1393"/>
                <a:gd name="T21" fmla="*/ 876 h 1489"/>
                <a:gd name="T22" fmla="*/ 591 w 1393"/>
                <a:gd name="T23" fmla="*/ 1100 h 1489"/>
                <a:gd name="T24" fmla="*/ 201 w 1393"/>
                <a:gd name="T25" fmla="*/ 1489 h 1489"/>
                <a:gd name="T26" fmla="*/ 1393 w 1393"/>
                <a:gd name="T27" fmla="*/ 1489 h 1489"/>
                <a:gd name="T28" fmla="*/ 1393 w 1393"/>
                <a:gd name="T29" fmla="*/ 633 h 1489"/>
                <a:gd name="T30" fmla="*/ 761 w 1393"/>
                <a:gd name="T31" fmla="*/ 0 h 14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93" h="1489">
                  <a:moveTo>
                    <a:pt x="761" y="0"/>
                  </a:moveTo>
                  <a:cubicBezTo>
                    <a:pt x="240" y="0"/>
                    <a:pt x="240" y="0"/>
                    <a:pt x="240" y="0"/>
                  </a:cubicBezTo>
                  <a:cubicBezTo>
                    <a:pt x="93" y="0"/>
                    <a:pt x="93" y="0"/>
                    <a:pt x="93" y="0"/>
                  </a:cubicBezTo>
                  <a:cubicBezTo>
                    <a:pt x="41" y="0"/>
                    <a:pt x="0" y="42"/>
                    <a:pt x="0" y="93"/>
                  </a:cubicBezTo>
                  <a:cubicBezTo>
                    <a:pt x="0" y="145"/>
                    <a:pt x="41" y="186"/>
                    <a:pt x="93" y="186"/>
                  </a:cubicBezTo>
                  <a:cubicBezTo>
                    <a:pt x="147" y="186"/>
                    <a:pt x="147" y="186"/>
                    <a:pt x="147" y="186"/>
                  </a:cubicBezTo>
                  <a:cubicBezTo>
                    <a:pt x="147" y="938"/>
                    <a:pt x="147" y="938"/>
                    <a:pt x="147" y="938"/>
                  </a:cubicBezTo>
                  <a:cubicBezTo>
                    <a:pt x="147" y="990"/>
                    <a:pt x="188" y="1031"/>
                    <a:pt x="240" y="1031"/>
                  </a:cubicBezTo>
                  <a:cubicBezTo>
                    <a:pt x="397" y="1031"/>
                    <a:pt x="397" y="1031"/>
                    <a:pt x="397" y="1031"/>
                  </a:cubicBezTo>
                  <a:cubicBezTo>
                    <a:pt x="421" y="1031"/>
                    <a:pt x="445" y="1021"/>
                    <a:pt x="462" y="1004"/>
                  </a:cubicBezTo>
                  <a:cubicBezTo>
                    <a:pt x="591" y="876"/>
                    <a:pt x="591" y="876"/>
                    <a:pt x="591" y="876"/>
                  </a:cubicBezTo>
                  <a:cubicBezTo>
                    <a:pt x="591" y="1100"/>
                    <a:pt x="591" y="1100"/>
                    <a:pt x="591" y="1100"/>
                  </a:cubicBezTo>
                  <a:cubicBezTo>
                    <a:pt x="201" y="1489"/>
                    <a:pt x="201" y="1489"/>
                    <a:pt x="201" y="1489"/>
                  </a:cubicBezTo>
                  <a:cubicBezTo>
                    <a:pt x="1393" y="1489"/>
                    <a:pt x="1393" y="1489"/>
                    <a:pt x="1393" y="1489"/>
                  </a:cubicBezTo>
                  <a:cubicBezTo>
                    <a:pt x="1393" y="633"/>
                    <a:pt x="1393" y="633"/>
                    <a:pt x="1393" y="633"/>
                  </a:cubicBezTo>
                  <a:cubicBezTo>
                    <a:pt x="1393" y="284"/>
                    <a:pt x="1109" y="0"/>
                    <a:pt x="76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sp>
          <p:nvSpPr>
            <p:cNvPr id="12" name="Freeform 10">
              <a:extLst>
                <a:ext uri="{FF2B5EF4-FFF2-40B4-BE49-F238E27FC236}">
                  <a16:creationId xmlns:a16="http://schemas.microsoft.com/office/drawing/2014/main" id="{B6F32F0A-3B27-4B65-BD4E-62BB36D80B85}"/>
                </a:ext>
              </a:extLst>
            </p:cNvPr>
            <p:cNvSpPr>
              <a:spLocks/>
            </p:cNvSpPr>
            <p:nvPr/>
          </p:nvSpPr>
          <p:spPr bwMode="auto">
            <a:xfrm>
              <a:off x="4862513" y="3770313"/>
              <a:ext cx="260350" cy="58738"/>
            </a:xfrm>
            <a:custGeom>
              <a:avLst/>
              <a:gdLst>
                <a:gd name="T0" fmla="*/ 0 w 1646"/>
                <a:gd name="T1" fmla="*/ 0 h 372"/>
                <a:gd name="T2" fmla="*/ 0 w 1646"/>
                <a:gd name="T3" fmla="*/ 279 h 372"/>
                <a:gd name="T4" fmla="*/ 93 w 1646"/>
                <a:gd name="T5" fmla="*/ 372 h 372"/>
                <a:gd name="T6" fmla="*/ 1553 w 1646"/>
                <a:gd name="T7" fmla="*/ 372 h 372"/>
                <a:gd name="T8" fmla="*/ 1646 w 1646"/>
                <a:gd name="T9" fmla="*/ 279 h 372"/>
                <a:gd name="T10" fmla="*/ 1646 w 1646"/>
                <a:gd name="T11" fmla="*/ 0 h 372"/>
                <a:gd name="T12" fmla="*/ 0 w 1646"/>
                <a:gd name="T13" fmla="*/ 0 h 372"/>
              </a:gdLst>
              <a:ahLst/>
              <a:cxnLst>
                <a:cxn ang="0">
                  <a:pos x="T0" y="T1"/>
                </a:cxn>
                <a:cxn ang="0">
                  <a:pos x="T2" y="T3"/>
                </a:cxn>
                <a:cxn ang="0">
                  <a:pos x="T4" y="T5"/>
                </a:cxn>
                <a:cxn ang="0">
                  <a:pos x="T6" y="T7"/>
                </a:cxn>
                <a:cxn ang="0">
                  <a:pos x="T8" y="T9"/>
                </a:cxn>
                <a:cxn ang="0">
                  <a:pos x="T10" y="T11"/>
                </a:cxn>
                <a:cxn ang="0">
                  <a:pos x="T12" y="T13"/>
                </a:cxn>
              </a:cxnLst>
              <a:rect l="0" t="0" r="r" b="b"/>
              <a:pathLst>
                <a:path w="1646" h="372">
                  <a:moveTo>
                    <a:pt x="0" y="0"/>
                  </a:moveTo>
                  <a:cubicBezTo>
                    <a:pt x="0" y="279"/>
                    <a:pt x="0" y="279"/>
                    <a:pt x="0" y="279"/>
                  </a:cubicBezTo>
                  <a:cubicBezTo>
                    <a:pt x="0" y="330"/>
                    <a:pt x="42" y="372"/>
                    <a:pt x="93" y="372"/>
                  </a:cubicBezTo>
                  <a:cubicBezTo>
                    <a:pt x="1553" y="372"/>
                    <a:pt x="1553" y="372"/>
                    <a:pt x="1553" y="372"/>
                  </a:cubicBezTo>
                  <a:cubicBezTo>
                    <a:pt x="1604" y="372"/>
                    <a:pt x="1646" y="330"/>
                    <a:pt x="1646" y="279"/>
                  </a:cubicBezTo>
                  <a:cubicBezTo>
                    <a:pt x="1646" y="0"/>
                    <a:pt x="1646" y="0"/>
                    <a:pt x="1646" y="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grpSp>
      <p:grpSp>
        <p:nvGrpSpPr>
          <p:cNvPr id="13" name="Group 57">
            <a:extLst>
              <a:ext uri="{FF2B5EF4-FFF2-40B4-BE49-F238E27FC236}">
                <a16:creationId xmlns:a16="http://schemas.microsoft.com/office/drawing/2014/main" id="{6AD8D992-AD77-4F7E-BF94-57824B31DFFD}"/>
              </a:ext>
            </a:extLst>
          </p:cNvPr>
          <p:cNvGrpSpPr/>
          <p:nvPr/>
        </p:nvGrpSpPr>
        <p:grpSpPr>
          <a:xfrm>
            <a:off x="7923010" y="4571850"/>
            <a:ext cx="633001" cy="699125"/>
            <a:chOff x="5153025" y="2384426"/>
            <a:chExt cx="1884363" cy="2081213"/>
          </a:xfrm>
          <a:solidFill>
            <a:srgbClr val="FFFFFF"/>
          </a:solidFill>
        </p:grpSpPr>
        <p:sp>
          <p:nvSpPr>
            <p:cNvPr id="14" name="Freeform 5">
              <a:extLst>
                <a:ext uri="{FF2B5EF4-FFF2-40B4-BE49-F238E27FC236}">
                  <a16:creationId xmlns:a16="http://schemas.microsoft.com/office/drawing/2014/main" id="{AB96F9FC-FFE8-42CB-8356-AE6DE85A5CCA}"/>
                </a:ext>
              </a:extLst>
            </p:cNvPr>
            <p:cNvSpPr>
              <a:spLocks/>
            </p:cNvSpPr>
            <p:nvPr/>
          </p:nvSpPr>
          <p:spPr bwMode="auto">
            <a:xfrm>
              <a:off x="5529263" y="2384426"/>
              <a:ext cx="377825" cy="763588"/>
            </a:xfrm>
            <a:custGeom>
              <a:avLst/>
              <a:gdLst>
                <a:gd name="T0" fmla="*/ 252 w 373"/>
                <a:gd name="T1" fmla="*/ 409 h 754"/>
                <a:gd name="T2" fmla="*/ 187 w 373"/>
                <a:gd name="T3" fmla="*/ 288 h 754"/>
                <a:gd name="T4" fmla="*/ 252 w 373"/>
                <a:gd name="T5" fmla="*/ 168 h 754"/>
                <a:gd name="T6" fmla="*/ 252 w 373"/>
                <a:gd name="T7" fmla="*/ 36 h 754"/>
                <a:gd name="T8" fmla="*/ 121 w 373"/>
                <a:gd name="T9" fmla="*/ 36 h 754"/>
                <a:gd name="T10" fmla="*/ 0 w 373"/>
                <a:gd name="T11" fmla="*/ 288 h 754"/>
                <a:gd name="T12" fmla="*/ 121 w 373"/>
                <a:gd name="T13" fmla="*/ 540 h 754"/>
                <a:gd name="T14" fmla="*/ 187 w 373"/>
                <a:gd name="T15" fmla="*/ 661 h 754"/>
                <a:gd name="T16" fmla="*/ 280 w 373"/>
                <a:gd name="T17" fmla="*/ 754 h 754"/>
                <a:gd name="T18" fmla="*/ 373 w 373"/>
                <a:gd name="T19" fmla="*/ 661 h 754"/>
                <a:gd name="T20" fmla="*/ 252 w 373"/>
                <a:gd name="T21" fmla="*/ 409 h 7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3" h="754">
                  <a:moveTo>
                    <a:pt x="252" y="409"/>
                  </a:moveTo>
                  <a:cubicBezTo>
                    <a:pt x="207" y="363"/>
                    <a:pt x="187" y="341"/>
                    <a:pt x="187" y="288"/>
                  </a:cubicBezTo>
                  <a:cubicBezTo>
                    <a:pt x="187" y="236"/>
                    <a:pt x="207" y="214"/>
                    <a:pt x="252" y="168"/>
                  </a:cubicBezTo>
                  <a:cubicBezTo>
                    <a:pt x="289" y="132"/>
                    <a:pt x="289" y="73"/>
                    <a:pt x="252" y="36"/>
                  </a:cubicBezTo>
                  <a:cubicBezTo>
                    <a:pt x="216" y="0"/>
                    <a:pt x="157" y="0"/>
                    <a:pt x="121" y="36"/>
                  </a:cubicBezTo>
                  <a:cubicBezTo>
                    <a:pt x="70" y="87"/>
                    <a:pt x="0" y="157"/>
                    <a:pt x="0" y="288"/>
                  </a:cubicBezTo>
                  <a:cubicBezTo>
                    <a:pt x="0" y="420"/>
                    <a:pt x="70" y="489"/>
                    <a:pt x="121" y="540"/>
                  </a:cubicBezTo>
                  <a:cubicBezTo>
                    <a:pt x="166" y="586"/>
                    <a:pt x="187" y="608"/>
                    <a:pt x="187" y="661"/>
                  </a:cubicBezTo>
                  <a:cubicBezTo>
                    <a:pt x="187" y="712"/>
                    <a:pt x="228" y="754"/>
                    <a:pt x="280" y="754"/>
                  </a:cubicBezTo>
                  <a:cubicBezTo>
                    <a:pt x="331" y="754"/>
                    <a:pt x="373" y="712"/>
                    <a:pt x="373" y="661"/>
                  </a:cubicBezTo>
                  <a:cubicBezTo>
                    <a:pt x="373" y="529"/>
                    <a:pt x="303" y="459"/>
                    <a:pt x="252" y="40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sp>
          <p:nvSpPr>
            <p:cNvPr id="15" name="Freeform 6">
              <a:extLst>
                <a:ext uri="{FF2B5EF4-FFF2-40B4-BE49-F238E27FC236}">
                  <a16:creationId xmlns:a16="http://schemas.microsoft.com/office/drawing/2014/main" id="{F8894386-9780-47BE-AA36-63A28EB36C52}"/>
                </a:ext>
              </a:extLst>
            </p:cNvPr>
            <p:cNvSpPr>
              <a:spLocks/>
            </p:cNvSpPr>
            <p:nvPr/>
          </p:nvSpPr>
          <p:spPr bwMode="auto">
            <a:xfrm>
              <a:off x="5970588" y="2384426"/>
              <a:ext cx="376238" cy="763588"/>
            </a:xfrm>
            <a:custGeom>
              <a:avLst/>
              <a:gdLst>
                <a:gd name="T0" fmla="*/ 252 w 372"/>
                <a:gd name="T1" fmla="*/ 409 h 754"/>
                <a:gd name="T2" fmla="*/ 186 w 372"/>
                <a:gd name="T3" fmla="*/ 288 h 754"/>
                <a:gd name="T4" fmla="*/ 252 w 372"/>
                <a:gd name="T5" fmla="*/ 168 h 754"/>
                <a:gd name="T6" fmla="*/ 252 w 372"/>
                <a:gd name="T7" fmla="*/ 36 h 754"/>
                <a:gd name="T8" fmla="*/ 120 w 372"/>
                <a:gd name="T9" fmla="*/ 36 h 754"/>
                <a:gd name="T10" fmla="*/ 0 w 372"/>
                <a:gd name="T11" fmla="*/ 288 h 754"/>
                <a:gd name="T12" fmla="*/ 120 w 372"/>
                <a:gd name="T13" fmla="*/ 540 h 754"/>
                <a:gd name="T14" fmla="*/ 186 w 372"/>
                <a:gd name="T15" fmla="*/ 661 h 754"/>
                <a:gd name="T16" fmla="*/ 279 w 372"/>
                <a:gd name="T17" fmla="*/ 754 h 754"/>
                <a:gd name="T18" fmla="*/ 372 w 372"/>
                <a:gd name="T19" fmla="*/ 661 h 754"/>
                <a:gd name="T20" fmla="*/ 252 w 372"/>
                <a:gd name="T21" fmla="*/ 409 h 7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2" h="754">
                  <a:moveTo>
                    <a:pt x="252" y="409"/>
                  </a:moveTo>
                  <a:cubicBezTo>
                    <a:pt x="206" y="363"/>
                    <a:pt x="186" y="341"/>
                    <a:pt x="186" y="288"/>
                  </a:cubicBezTo>
                  <a:cubicBezTo>
                    <a:pt x="186" y="236"/>
                    <a:pt x="206" y="214"/>
                    <a:pt x="252" y="168"/>
                  </a:cubicBezTo>
                  <a:cubicBezTo>
                    <a:pt x="288" y="132"/>
                    <a:pt x="288" y="73"/>
                    <a:pt x="252" y="36"/>
                  </a:cubicBezTo>
                  <a:cubicBezTo>
                    <a:pt x="216" y="0"/>
                    <a:pt x="157" y="0"/>
                    <a:pt x="120" y="36"/>
                  </a:cubicBezTo>
                  <a:cubicBezTo>
                    <a:pt x="69" y="87"/>
                    <a:pt x="0" y="157"/>
                    <a:pt x="0" y="288"/>
                  </a:cubicBezTo>
                  <a:cubicBezTo>
                    <a:pt x="0" y="420"/>
                    <a:pt x="69" y="489"/>
                    <a:pt x="120" y="540"/>
                  </a:cubicBezTo>
                  <a:cubicBezTo>
                    <a:pt x="166" y="586"/>
                    <a:pt x="186" y="608"/>
                    <a:pt x="186" y="661"/>
                  </a:cubicBezTo>
                  <a:cubicBezTo>
                    <a:pt x="186" y="712"/>
                    <a:pt x="228" y="754"/>
                    <a:pt x="279" y="754"/>
                  </a:cubicBezTo>
                  <a:cubicBezTo>
                    <a:pt x="331" y="754"/>
                    <a:pt x="372" y="712"/>
                    <a:pt x="372" y="661"/>
                  </a:cubicBezTo>
                  <a:cubicBezTo>
                    <a:pt x="372" y="529"/>
                    <a:pt x="303" y="459"/>
                    <a:pt x="252" y="40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sp>
          <p:nvSpPr>
            <p:cNvPr id="16" name="Freeform 7">
              <a:extLst>
                <a:ext uri="{FF2B5EF4-FFF2-40B4-BE49-F238E27FC236}">
                  <a16:creationId xmlns:a16="http://schemas.microsoft.com/office/drawing/2014/main" id="{409841C0-08E1-41FB-B4FD-04C67E122800}"/>
                </a:ext>
              </a:extLst>
            </p:cNvPr>
            <p:cNvSpPr>
              <a:spLocks noEditPoints="1"/>
            </p:cNvSpPr>
            <p:nvPr/>
          </p:nvSpPr>
          <p:spPr bwMode="auto">
            <a:xfrm>
              <a:off x="5153025" y="3335340"/>
              <a:ext cx="1884363" cy="1130299"/>
            </a:xfrm>
            <a:custGeom>
              <a:avLst/>
              <a:gdLst>
                <a:gd name="T0" fmla="*/ 1433 w 1862"/>
                <a:gd name="T1" fmla="*/ 683 h 1117"/>
                <a:gd name="T2" fmla="*/ 1521 w 1862"/>
                <a:gd name="T3" fmla="*/ 683 h 1117"/>
                <a:gd name="T4" fmla="*/ 1521 w 1862"/>
                <a:gd name="T5" fmla="*/ 683 h 1117"/>
                <a:gd name="T6" fmla="*/ 1862 w 1862"/>
                <a:gd name="T7" fmla="*/ 341 h 1117"/>
                <a:gd name="T8" fmla="*/ 1521 w 1862"/>
                <a:gd name="T9" fmla="*/ 0 h 1117"/>
                <a:gd name="T10" fmla="*/ 1396 w 1862"/>
                <a:gd name="T11" fmla="*/ 0 h 1117"/>
                <a:gd name="T12" fmla="*/ 155 w 1862"/>
                <a:gd name="T13" fmla="*/ 0 h 1117"/>
                <a:gd name="T14" fmla="*/ 62 w 1862"/>
                <a:gd name="T15" fmla="*/ 93 h 1117"/>
                <a:gd name="T16" fmla="*/ 62 w 1862"/>
                <a:gd name="T17" fmla="*/ 403 h 1117"/>
                <a:gd name="T18" fmla="*/ 296 w 1862"/>
                <a:gd name="T19" fmla="*/ 931 h 1117"/>
                <a:gd name="T20" fmla="*/ 93 w 1862"/>
                <a:gd name="T21" fmla="*/ 931 h 1117"/>
                <a:gd name="T22" fmla="*/ 0 w 1862"/>
                <a:gd name="T23" fmla="*/ 1024 h 1117"/>
                <a:gd name="T24" fmla="*/ 93 w 1862"/>
                <a:gd name="T25" fmla="*/ 1117 h 1117"/>
                <a:gd name="T26" fmla="*/ 776 w 1862"/>
                <a:gd name="T27" fmla="*/ 1117 h 1117"/>
                <a:gd name="T28" fmla="*/ 1459 w 1862"/>
                <a:gd name="T29" fmla="*/ 1117 h 1117"/>
                <a:gd name="T30" fmla="*/ 1552 w 1862"/>
                <a:gd name="T31" fmla="*/ 1024 h 1117"/>
                <a:gd name="T32" fmla="*/ 1459 w 1862"/>
                <a:gd name="T33" fmla="*/ 931 h 1117"/>
                <a:gd name="T34" fmla="*/ 1256 w 1862"/>
                <a:gd name="T35" fmla="*/ 931 h 1117"/>
                <a:gd name="T36" fmla="*/ 1433 w 1862"/>
                <a:gd name="T37" fmla="*/ 683 h 1117"/>
                <a:gd name="T38" fmla="*/ 1490 w 1862"/>
                <a:gd name="T39" fmla="*/ 403 h 1117"/>
                <a:gd name="T40" fmla="*/ 1490 w 1862"/>
                <a:gd name="T41" fmla="*/ 186 h 1117"/>
                <a:gd name="T42" fmla="*/ 1521 w 1862"/>
                <a:gd name="T43" fmla="*/ 186 h 1117"/>
                <a:gd name="T44" fmla="*/ 1676 w 1862"/>
                <a:gd name="T45" fmla="*/ 341 h 1117"/>
                <a:gd name="T46" fmla="*/ 1521 w 1862"/>
                <a:gd name="T47" fmla="*/ 496 h 1117"/>
                <a:gd name="T48" fmla="*/ 1520 w 1862"/>
                <a:gd name="T49" fmla="*/ 496 h 1117"/>
                <a:gd name="T50" fmla="*/ 1483 w 1862"/>
                <a:gd name="T51" fmla="*/ 496 h 1117"/>
                <a:gd name="T52" fmla="*/ 1490 w 1862"/>
                <a:gd name="T53" fmla="*/ 403 h 1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62" h="1117">
                  <a:moveTo>
                    <a:pt x="1433" y="683"/>
                  </a:moveTo>
                  <a:cubicBezTo>
                    <a:pt x="1521" y="683"/>
                    <a:pt x="1521" y="683"/>
                    <a:pt x="1521" y="683"/>
                  </a:cubicBezTo>
                  <a:cubicBezTo>
                    <a:pt x="1521" y="683"/>
                    <a:pt x="1521" y="683"/>
                    <a:pt x="1521" y="683"/>
                  </a:cubicBezTo>
                  <a:cubicBezTo>
                    <a:pt x="1709" y="682"/>
                    <a:pt x="1862" y="529"/>
                    <a:pt x="1862" y="341"/>
                  </a:cubicBezTo>
                  <a:cubicBezTo>
                    <a:pt x="1862" y="153"/>
                    <a:pt x="1709" y="0"/>
                    <a:pt x="1521" y="0"/>
                  </a:cubicBezTo>
                  <a:cubicBezTo>
                    <a:pt x="1396" y="0"/>
                    <a:pt x="1396" y="0"/>
                    <a:pt x="1396" y="0"/>
                  </a:cubicBezTo>
                  <a:cubicBezTo>
                    <a:pt x="155" y="0"/>
                    <a:pt x="155" y="0"/>
                    <a:pt x="155" y="0"/>
                  </a:cubicBezTo>
                  <a:cubicBezTo>
                    <a:pt x="104" y="0"/>
                    <a:pt x="62" y="42"/>
                    <a:pt x="62" y="93"/>
                  </a:cubicBezTo>
                  <a:cubicBezTo>
                    <a:pt x="62" y="403"/>
                    <a:pt x="62" y="403"/>
                    <a:pt x="62" y="403"/>
                  </a:cubicBezTo>
                  <a:cubicBezTo>
                    <a:pt x="62" y="612"/>
                    <a:pt x="152" y="800"/>
                    <a:pt x="296" y="931"/>
                  </a:cubicBezTo>
                  <a:cubicBezTo>
                    <a:pt x="93" y="931"/>
                    <a:pt x="93" y="931"/>
                    <a:pt x="93" y="931"/>
                  </a:cubicBezTo>
                  <a:cubicBezTo>
                    <a:pt x="42" y="931"/>
                    <a:pt x="0" y="972"/>
                    <a:pt x="0" y="1024"/>
                  </a:cubicBezTo>
                  <a:cubicBezTo>
                    <a:pt x="0" y="1075"/>
                    <a:pt x="42" y="1117"/>
                    <a:pt x="93" y="1117"/>
                  </a:cubicBezTo>
                  <a:cubicBezTo>
                    <a:pt x="776" y="1117"/>
                    <a:pt x="776" y="1117"/>
                    <a:pt x="776" y="1117"/>
                  </a:cubicBezTo>
                  <a:cubicBezTo>
                    <a:pt x="1459" y="1117"/>
                    <a:pt x="1459" y="1117"/>
                    <a:pt x="1459" y="1117"/>
                  </a:cubicBezTo>
                  <a:cubicBezTo>
                    <a:pt x="1510" y="1117"/>
                    <a:pt x="1552" y="1075"/>
                    <a:pt x="1552" y="1024"/>
                  </a:cubicBezTo>
                  <a:cubicBezTo>
                    <a:pt x="1552" y="972"/>
                    <a:pt x="1510" y="931"/>
                    <a:pt x="1459" y="931"/>
                  </a:cubicBezTo>
                  <a:cubicBezTo>
                    <a:pt x="1256" y="931"/>
                    <a:pt x="1256" y="931"/>
                    <a:pt x="1256" y="931"/>
                  </a:cubicBezTo>
                  <a:cubicBezTo>
                    <a:pt x="1331" y="862"/>
                    <a:pt x="1392" y="778"/>
                    <a:pt x="1433" y="683"/>
                  </a:cubicBezTo>
                  <a:close/>
                  <a:moveTo>
                    <a:pt x="1490" y="403"/>
                  </a:moveTo>
                  <a:cubicBezTo>
                    <a:pt x="1490" y="186"/>
                    <a:pt x="1490" y="186"/>
                    <a:pt x="1490" y="186"/>
                  </a:cubicBezTo>
                  <a:cubicBezTo>
                    <a:pt x="1521" y="186"/>
                    <a:pt x="1521" y="186"/>
                    <a:pt x="1521" y="186"/>
                  </a:cubicBezTo>
                  <a:cubicBezTo>
                    <a:pt x="1606" y="186"/>
                    <a:pt x="1676" y="256"/>
                    <a:pt x="1676" y="341"/>
                  </a:cubicBezTo>
                  <a:cubicBezTo>
                    <a:pt x="1676" y="427"/>
                    <a:pt x="1606" y="496"/>
                    <a:pt x="1521" y="496"/>
                  </a:cubicBezTo>
                  <a:cubicBezTo>
                    <a:pt x="1521" y="496"/>
                    <a:pt x="1521" y="496"/>
                    <a:pt x="1520" y="496"/>
                  </a:cubicBezTo>
                  <a:cubicBezTo>
                    <a:pt x="1483" y="496"/>
                    <a:pt x="1483" y="496"/>
                    <a:pt x="1483" y="496"/>
                  </a:cubicBezTo>
                  <a:cubicBezTo>
                    <a:pt x="1487" y="466"/>
                    <a:pt x="1490" y="435"/>
                    <a:pt x="1490" y="4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Open Sans"/>
                <a:ea typeface="+mn-ea"/>
                <a:cs typeface="+mn-cs"/>
              </a:endParaRPr>
            </a:p>
          </p:txBody>
        </p:sp>
      </p:grpSp>
      <p:grpSp>
        <p:nvGrpSpPr>
          <p:cNvPr id="30" name="组合 29">
            <a:extLst>
              <a:ext uri="{FF2B5EF4-FFF2-40B4-BE49-F238E27FC236}">
                <a16:creationId xmlns:a16="http://schemas.microsoft.com/office/drawing/2014/main" id="{00624D63-7D4E-4F34-895F-243513312DA6}"/>
              </a:ext>
            </a:extLst>
          </p:cNvPr>
          <p:cNvGrpSpPr/>
          <p:nvPr/>
        </p:nvGrpSpPr>
        <p:grpSpPr>
          <a:xfrm>
            <a:off x="2314818" y="2418896"/>
            <a:ext cx="2624287" cy="915256"/>
            <a:chOff x="853090" y="2199246"/>
            <a:chExt cx="2250918" cy="785039"/>
          </a:xfrm>
        </p:grpSpPr>
        <p:sp>
          <p:nvSpPr>
            <p:cNvPr id="31" name="TextBox 65">
              <a:extLst>
                <a:ext uri="{FF2B5EF4-FFF2-40B4-BE49-F238E27FC236}">
                  <a16:creationId xmlns:a16="http://schemas.microsoft.com/office/drawing/2014/main" id="{6B0BC4ED-5761-40D2-85BA-64B6AB616A35}"/>
                </a:ext>
              </a:extLst>
            </p:cNvPr>
            <p:cNvSpPr txBox="1"/>
            <p:nvPr/>
          </p:nvSpPr>
          <p:spPr>
            <a:xfrm>
              <a:off x="950419" y="2199246"/>
              <a:ext cx="2056261" cy="302424"/>
            </a:xfrm>
            <a:prstGeom prst="rect">
              <a:avLst/>
            </a:prstGeom>
            <a:noFill/>
          </p:spPr>
          <p:txBody>
            <a:bodyPr wrap="square" lIns="0" tIns="36000" rIns="0" bIns="36000" rtlCol="0">
              <a:spAutoFit/>
            </a:bodyPr>
            <a:lstStyle/>
            <a:p>
              <a:pPr marL="0" marR="0" lvl="0" indent="0" algn="ctr" defTabSz="914400" rtl="0" eaLnBrk="1" fontAlgn="auto" latinLnBrk="0" hangingPunct="1">
                <a:lnSpc>
                  <a:spcPct val="120000"/>
                </a:lnSpc>
                <a:spcBef>
                  <a:spcPts val="600"/>
                </a:spcBef>
                <a:spcAft>
                  <a:spcPts val="0"/>
                </a:spcAft>
                <a:buClrTx/>
                <a:buSzTx/>
                <a:buFontTx/>
                <a:buNone/>
                <a:tabLst/>
                <a:defRPr/>
              </a:pPr>
              <a:r>
                <a:rPr kumimoji="0" lang="zh-CN" altLang="en-US" sz="1600" b="0" i="0" u="none" strike="noStrike" kern="1200" cap="none" spc="0" normalizeH="0" baseline="0" noProof="0" dirty="0">
                  <a:ln>
                    <a:noFill/>
                  </a:ln>
                  <a:solidFill>
                    <a:schemeClr val="accent1"/>
                  </a:solidFill>
                  <a:effectLst/>
                  <a:uLnTx/>
                  <a:uFillTx/>
                  <a:latin typeface="HarmonyOS Sans SC Black"/>
                  <a:ea typeface="+mj-ea"/>
                  <a:cs typeface="+mn-cs"/>
                </a:rPr>
                <a:t>关键词标题</a:t>
              </a:r>
              <a:endParaRPr kumimoji="0" lang="en-US" sz="1600" b="0" i="0" u="none" strike="noStrike" kern="1200" cap="none" spc="0" normalizeH="0" baseline="0" noProof="0" dirty="0">
                <a:ln>
                  <a:noFill/>
                </a:ln>
                <a:solidFill>
                  <a:schemeClr val="accent1"/>
                </a:solidFill>
                <a:effectLst/>
                <a:uLnTx/>
                <a:uFillTx/>
                <a:latin typeface="HarmonyOS Sans SC Black"/>
                <a:ea typeface="+mj-ea"/>
                <a:cs typeface="+mn-cs"/>
              </a:endParaRPr>
            </a:p>
          </p:txBody>
        </p:sp>
        <p:sp>
          <p:nvSpPr>
            <p:cNvPr id="32" name="TextBox 65">
              <a:extLst>
                <a:ext uri="{FF2B5EF4-FFF2-40B4-BE49-F238E27FC236}">
                  <a16:creationId xmlns:a16="http://schemas.microsoft.com/office/drawing/2014/main" id="{2F9F8B44-32A6-4C71-A572-3189BD6AD469}"/>
                </a:ext>
              </a:extLst>
            </p:cNvPr>
            <p:cNvSpPr txBox="1"/>
            <p:nvPr/>
          </p:nvSpPr>
          <p:spPr>
            <a:xfrm>
              <a:off x="853090" y="2582645"/>
              <a:ext cx="2250918" cy="401640"/>
            </a:xfrm>
            <a:prstGeom prst="rect">
              <a:avLst/>
            </a:prstGeom>
            <a:noFill/>
          </p:spPr>
          <p:txBody>
            <a:bodyPr wrap="square" lIns="0" tIns="36000" rIns="0" bIns="36000" rtlCol="0">
              <a:spAutoFit/>
            </a:bodyPr>
            <a:lstStyle/>
            <a:p>
              <a:pPr marL="0" marR="0" lvl="0" indent="0" algn="ctr" defTabSz="914400" rtl="0" eaLnBrk="1" fontAlgn="auto" latinLnBrk="0" hangingPunct="1">
                <a:lnSpc>
                  <a:spcPct val="120000"/>
                </a:lnSpc>
                <a:spcBef>
                  <a:spcPts val="600"/>
                </a:spcBef>
                <a:spcAft>
                  <a:spcPts val="0"/>
                </a:spcAft>
                <a:buClrTx/>
                <a:buSzTx/>
                <a:buFontTx/>
                <a:buNone/>
                <a:tabLst/>
                <a:defRPr/>
              </a:pPr>
              <a:r>
                <a:rPr kumimoji="0" lang="zh-CN" altLang="en-US" sz="1100" b="0" i="0" u="none" strike="noStrike" kern="1200" cap="none" spc="0" normalizeH="0" baseline="0" noProof="0" dirty="0">
                  <a:ln>
                    <a:noFill/>
                  </a:ln>
                  <a:solidFill>
                    <a:prstClr val="black">
                      <a:lumMod val="50000"/>
                      <a:lumOff val="50000"/>
                    </a:prstClr>
                  </a:solidFill>
                  <a:effectLst/>
                  <a:uLnTx/>
                  <a:uFillTx/>
                  <a:latin typeface="HarmonyOS Sans SC"/>
                  <a:cs typeface="+mn-cs"/>
                </a:rPr>
                <a:t>在这里输入你的正文，阐述与关键词标题相关的具体内容</a:t>
              </a:r>
              <a:endParaRPr kumimoji="0" lang="en-US" sz="1100" b="0" i="0" u="none" strike="noStrike" kern="1200" cap="none" spc="0" normalizeH="0" baseline="0" noProof="0" dirty="0">
                <a:ln>
                  <a:noFill/>
                </a:ln>
                <a:solidFill>
                  <a:prstClr val="black">
                    <a:lumMod val="50000"/>
                    <a:lumOff val="50000"/>
                  </a:prstClr>
                </a:solidFill>
                <a:effectLst/>
                <a:uLnTx/>
                <a:uFillTx/>
                <a:latin typeface="HarmonyOS Sans SC"/>
                <a:cs typeface="+mn-cs"/>
              </a:endParaRPr>
            </a:p>
          </p:txBody>
        </p:sp>
      </p:grpSp>
      <p:grpSp>
        <p:nvGrpSpPr>
          <p:cNvPr id="33" name="组合 32">
            <a:extLst>
              <a:ext uri="{FF2B5EF4-FFF2-40B4-BE49-F238E27FC236}">
                <a16:creationId xmlns:a16="http://schemas.microsoft.com/office/drawing/2014/main" id="{B609E336-B772-41F9-BC02-3B7CDEFFA561}"/>
              </a:ext>
            </a:extLst>
          </p:cNvPr>
          <p:cNvGrpSpPr/>
          <p:nvPr/>
        </p:nvGrpSpPr>
        <p:grpSpPr>
          <a:xfrm>
            <a:off x="7213133" y="2418896"/>
            <a:ext cx="2624287" cy="915256"/>
            <a:chOff x="853090" y="2199246"/>
            <a:chExt cx="2250918" cy="785039"/>
          </a:xfrm>
        </p:grpSpPr>
        <p:sp>
          <p:nvSpPr>
            <p:cNvPr id="34" name="TextBox 65">
              <a:extLst>
                <a:ext uri="{FF2B5EF4-FFF2-40B4-BE49-F238E27FC236}">
                  <a16:creationId xmlns:a16="http://schemas.microsoft.com/office/drawing/2014/main" id="{9D0EB8D9-8126-4D70-8219-53C7D9C41761}"/>
                </a:ext>
              </a:extLst>
            </p:cNvPr>
            <p:cNvSpPr txBox="1"/>
            <p:nvPr/>
          </p:nvSpPr>
          <p:spPr>
            <a:xfrm>
              <a:off x="950419" y="2199246"/>
              <a:ext cx="2056261" cy="302424"/>
            </a:xfrm>
            <a:prstGeom prst="rect">
              <a:avLst/>
            </a:prstGeom>
            <a:noFill/>
          </p:spPr>
          <p:txBody>
            <a:bodyPr wrap="square" lIns="0" tIns="36000" rIns="0" bIns="36000" rtlCol="0">
              <a:spAutoFit/>
            </a:bodyPr>
            <a:lstStyle/>
            <a:p>
              <a:pPr marL="0" marR="0" lvl="0" indent="0" algn="ctr" defTabSz="914400" rtl="0" eaLnBrk="1" fontAlgn="auto" latinLnBrk="0" hangingPunct="1">
                <a:lnSpc>
                  <a:spcPct val="120000"/>
                </a:lnSpc>
                <a:spcBef>
                  <a:spcPts val="600"/>
                </a:spcBef>
                <a:spcAft>
                  <a:spcPts val="0"/>
                </a:spcAft>
                <a:buClrTx/>
                <a:buSzTx/>
                <a:buFontTx/>
                <a:buNone/>
                <a:tabLst/>
                <a:defRPr/>
              </a:pPr>
              <a:r>
                <a:rPr kumimoji="0" lang="zh-CN" altLang="en-US" sz="1600" b="0" i="0" u="none" strike="noStrike" kern="1200" cap="none" spc="0" normalizeH="0" baseline="0" noProof="0" dirty="0">
                  <a:ln>
                    <a:noFill/>
                  </a:ln>
                  <a:solidFill>
                    <a:schemeClr val="accent1"/>
                  </a:solidFill>
                  <a:effectLst/>
                  <a:uLnTx/>
                  <a:uFillTx/>
                  <a:latin typeface="HarmonyOS Sans SC Black"/>
                  <a:ea typeface="+mj-ea"/>
                  <a:cs typeface="+mn-cs"/>
                </a:rPr>
                <a:t>关键词标题</a:t>
              </a:r>
              <a:endParaRPr kumimoji="0" lang="en-US" sz="1600" b="0" i="0" u="none" strike="noStrike" kern="1200" cap="none" spc="0" normalizeH="0" baseline="0" noProof="0" dirty="0">
                <a:ln>
                  <a:noFill/>
                </a:ln>
                <a:solidFill>
                  <a:schemeClr val="accent1"/>
                </a:solidFill>
                <a:effectLst/>
                <a:uLnTx/>
                <a:uFillTx/>
                <a:latin typeface="HarmonyOS Sans SC Black"/>
                <a:ea typeface="+mj-ea"/>
                <a:cs typeface="+mn-cs"/>
              </a:endParaRPr>
            </a:p>
          </p:txBody>
        </p:sp>
        <p:sp>
          <p:nvSpPr>
            <p:cNvPr id="35" name="TextBox 65">
              <a:extLst>
                <a:ext uri="{FF2B5EF4-FFF2-40B4-BE49-F238E27FC236}">
                  <a16:creationId xmlns:a16="http://schemas.microsoft.com/office/drawing/2014/main" id="{AE1BC001-7883-45DA-AB99-CABCECD3937A}"/>
                </a:ext>
              </a:extLst>
            </p:cNvPr>
            <p:cNvSpPr txBox="1"/>
            <p:nvPr/>
          </p:nvSpPr>
          <p:spPr>
            <a:xfrm>
              <a:off x="853090" y="2582645"/>
              <a:ext cx="2250918" cy="401640"/>
            </a:xfrm>
            <a:prstGeom prst="rect">
              <a:avLst/>
            </a:prstGeom>
            <a:noFill/>
          </p:spPr>
          <p:txBody>
            <a:bodyPr wrap="square" lIns="0" tIns="36000" rIns="0" bIns="36000" rtlCol="0">
              <a:spAutoFit/>
            </a:bodyPr>
            <a:lstStyle/>
            <a:p>
              <a:pPr marL="0" marR="0" lvl="0" indent="0" algn="ctr" defTabSz="914400" rtl="0" eaLnBrk="1" fontAlgn="auto" latinLnBrk="0" hangingPunct="1">
                <a:lnSpc>
                  <a:spcPct val="120000"/>
                </a:lnSpc>
                <a:spcBef>
                  <a:spcPts val="600"/>
                </a:spcBef>
                <a:spcAft>
                  <a:spcPts val="0"/>
                </a:spcAft>
                <a:buClrTx/>
                <a:buSzTx/>
                <a:buFontTx/>
                <a:buNone/>
                <a:tabLst/>
                <a:defRPr/>
              </a:pPr>
              <a:r>
                <a:rPr kumimoji="0" lang="zh-CN" altLang="en-US" sz="1100" b="0" i="0" u="none" strike="noStrike" kern="1200" cap="none" spc="0" normalizeH="0" baseline="0" noProof="0" dirty="0">
                  <a:ln>
                    <a:noFill/>
                  </a:ln>
                  <a:solidFill>
                    <a:prstClr val="black">
                      <a:lumMod val="50000"/>
                      <a:lumOff val="50000"/>
                    </a:prstClr>
                  </a:solidFill>
                  <a:effectLst/>
                  <a:uLnTx/>
                  <a:uFillTx/>
                  <a:latin typeface="HarmonyOS Sans SC"/>
                  <a:cs typeface="+mn-cs"/>
                </a:rPr>
                <a:t>在这里输入你的正文，阐述与关键词标题相关的具体内容</a:t>
              </a:r>
              <a:endParaRPr kumimoji="0" lang="en-US" sz="1100" b="0" i="0" u="none" strike="noStrike" kern="1200" cap="none" spc="0" normalizeH="0" baseline="0" noProof="0" dirty="0">
                <a:ln>
                  <a:noFill/>
                </a:ln>
                <a:solidFill>
                  <a:prstClr val="black">
                    <a:lumMod val="50000"/>
                    <a:lumOff val="50000"/>
                  </a:prstClr>
                </a:solidFill>
                <a:effectLst/>
                <a:uLnTx/>
                <a:uFillTx/>
                <a:latin typeface="HarmonyOS Sans SC"/>
                <a:cs typeface="+mn-cs"/>
              </a:endParaRPr>
            </a:p>
          </p:txBody>
        </p:sp>
      </p:grpSp>
      <p:grpSp>
        <p:nvGrpSpPr>
          <p:cNvPr id="36" name="组合 35">
            <a:extLst>
              <a:ext uri="{FF2B5EF4-FFF2-40B4-BE49-F238E27FC236}">
                <a16:creationId xmlns:a16="http://schemas.microsoft.com/office/drawing/2014/main" id="{30E3E06E-BFD7-4AA2-AED5-A8C80BE78DFE}"/>
              </a:ext>
            </a:extLst>
          </p:cNvPr>
          <p:cNvGrpSpPr/>
          <p:nvPr/>
        </p:nvGrpSpPr>
        <p:grpSpPr>
          <a:xfrm>
            <a:off x="4787154" y="4918885"/>
            <a:ext cx="2624287" cy="915256"/>
            <a:chOff x="853090" y="2199246"/>
            <a:chExt cx="2250918" cy="785039"/>
          </a:xfrm>
        </p:grpSpPr>
        <p:sp>
          <p:nvSpPr>
            <p:cNvPr id="37" name="TextBox 65">
              <a:extLst>
                <a:ext uri="{FF2B5EF4-FFF2-40B4-BE49-F238E27FC236}">
                  <a16:creationId xmlns:a16="http://schemas.microsoft.com/office/drawing/2014/main" id="{D5035D7E-AB5D-4C90-953D-DB43A30CEFAD}"/>
                </a:ext>
              </a:extLst>
            </p:cNvPr>
            <p:cNvSpPr txBox="1"/>
            <p:nvPr/>
          </p:nvSpPr>
          <p:spPr>
            <a:xfrm>
              <a:off x="950419" y="2199246"/>
              <a:ext cx="2056261" cy="302424"/>
            </a:xfrm>
            <a:prstGeom prst="rect">
              <a:avLst/>
            </a:prstGeom>
            <a:noFill/>
          </p:spPr>
          <p:txBody>
            <a:bodyPr wrap="square" lIns="0" tIns="36000" rIns="0" bIns="36000" rtlCol="0">
              <a:spAutoFit/>
            </a:bodyPr>
            <a:lstStyle/>
            <a:p>
              <a:pPr marL="0" marR="0" lvl="0" indent="0" algn="ctr" defTabSz="914400" rtl="0" eaLnBrk="1" fontAlgn="auto" latinLnBrk="0" hangingPunct="1">
                <a:lnSpc>
                  <a:spcPct val="120000"/>
                </a:lnSpc>
                <a:spcBef>
                  <a:spcPts val="600"/>
                </a:spcBef>
                <a:spcAft>
                  <a:spcPts val="0"/>
                </a:spcAft>
                <a:buClrTx/>
                <a:buSzTx/>
                <a:buFontTx/>
                <a:buNone/>
                <a:tabLst/>
                <a:defRPr/>
              </a:pPr>
              <a:r>
                <a:rPr kumimoji="0" lang="zh-CN" altLang="en-US" sz="1600" b="0" i="0" u="none" strike="noStrike" kern="1200" cap="none" spc="0" normalizeH="0" baseline="0" noProof="0" dirty="0">
                  <a:ln>
                    <a:noFill/>
                  </a:ln>
                  <a:solidFill>
                    <a:schemeClr val="accent1"/>
                  </a:solidFill>
                  <a:effectLst/>
                  <a:uLnTx/>
                  <a:uFillTx/>
                  <a:latin typeface="HarmonyOS Sans SC Black"/>
                  <a:ea typeface="+mj-ea"/>
                  <a:cs typeface="+mn-cs"/>
                </a:rPr>
                <a:t>关键词标题</a:t>
              </a:r>
              <a:endParaRPr kumimoji="0" lang="en-US" sz="1600" b="0" i="0" u="none" strike="noStrike" kern="1200" cap="none" spc="0" normalizeH="0" baseline="0" noProof="0" dirty="0">
                <a:ln>
                  <a:noFill/>
                </a:ln>
                <a:solidFill>
                  <a:schemeClr val="accent1"/>
                </a:solidFill>
                <a:effectLst/>
                <a:uLnTx/>
                <a:uFillTx/>
                <a:latin typeface="HarmonyOS Sans SC Black"/>
                <a:ea typeface="+mj-ea"/>
                <a:cs typeface="+mn-cs"/>
              </a:endParaRPr>
            </a:p>
          </p:txBody>
        </p:sp>
        <p:sp>
          <p:nvSpPr>
            <p:cNvPr id="38" name="TextBox 65">
              <a:extLst>
                <a:ext uri="{FF2B5EF4-FFF2-40B4-BE49-F238E27FC236}">
                  <a16:creationId xmlns:a16="http://schemas.microsoft.com/office/drawing/2014/main" id="{4CD20576-F7EF-4A24-B26F-56E17B77B69F}"/>
                </a:ext>
              </a:extLst>
            </p:cNvPr>
            <p:cNvSpPr txBox="1"/>
            <p:nvPr/>
          </p:nvSpPr>
          <p:spPr>
            <a:xfrm>
              <a:off x="853090" y="2582645"/>
              <a:ext cx="2250918" cy="401640"/>
            </a:xfrm>
            <a:prstGeom prst="rect">
              <a:avLst/>
            </a:prstGeom>
            <a:noFill/>
          </p:spPr>
          <p:txBody>
            <a:bodyPr wrap="square" lIns="0" tIns="36000" rIns="0" bIns="36000" rtlCol="0">
              <a:spAutoFit/>
            </a:bodyPr>
            <a:lstStyle/>
            <a:p>
              <a:pPr marL="0" marR="0" lvl="0" indent="0" algn="ctr" defTabSz="914400" rtl="0" eaLnBrk="1" fontAlgn="auto" latinLnBrk="0" hangingPunct="1">
                <a:lnSpc>
                  <a:spcPct val="120000"/>
                </a:lnSpc>
                <a:spcBef>
                  <a:spcPts val="600"/>
                </a:spcBef>
                <a:spcAft>
                  <a:spcPts val="0"/>
                </a:spcAft>
                <a:buClrTx/>
                <a:buSzTx/>
                <a:buFontTx/>
                <a:buNone/>
                <a:tabLst/>
                <a:defRPr/>
              </a:pPr>
              <a:r>
                <a:rPr kumimoji="0" lang="zh-CN" altLang="en-US" sz="1100" b="0" i="0" u="none" strike="noStrike" kern="1200" cap="none" spc="0" normalizeH="0" baseline="0" noProof="0" dirty="0">
                  <a:ln>
                    <a:noFill/>
                  </a:ln>
                  <a:solidFill>
                    <a:prstClr val="black">
                      <a:lumMod val="50000"/>
                      <a:lumOff val="50000"/>
                    </a:prstClr>
                  </a:solidFill>
                  <a:effectLst/>
                  <a:uLnTx/>
                  <a:uFillTx/>
                  <a:latin typeface="HarmonyOS Sans SC"/>
                  <a:cs typeface="+mn-cs"/>
                </a:rPr>
                <a:t>在这里输入你的正文，阐述与关键词标题相关的具体内容</a:t>
              </a:r>
              <a:endParaRPr kumimoji="0" lang="en-US" sz="1100" b="0" i="0" u="none" strike="noStrike" kern="1200" cap="none" spc="0" normalizeH="0" baseline="0" noProof="0" dirty="0">
                <a:ln>
                  <a:noFill/>
                </a:ln>
                <a:solidFill>
                  <a:prstClr val="black">
                    <a:lumMod val="50000"/>
                    <a:lumOff val="50000"/>
                  </a:prstClr>
                </a:solidFill>
                <a:effectLst/>
                <a:uLnTx/>
                <a:uFillTx/>
                <a:latin typeface="HarmonyOS Sans SC"/>
                <a:cs typeface="+mn-cs"/>
              </a:endParaRPr>
            </a:p>
          </p:txBody>
        </p:sp>
      </p:grpSp>
    </p:spTree>
    <p:extLst>
      <p:ext uri="{BB962C8B-B14F-4D97-AF65-F5344CB8AC3E}">
        <p14:creationId xmlns:p14="http://schemas.microsoft.com/office/powerpoint/2010/main" val="2018169132"/>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4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his is a sample text. Insert your description here.">
            <a:extLst>
              <a:ext uri="{FF2B5EF4-FFF2-40B4-BE49-F238E27FC236}">
                <a16:creationId xmlns:a16="http://schemas.microsoft.com/office/drawing/2014/main" id="{E546BC47-37CB-49F9-AF36-D649953064D9}"/>
              </a:ext>
            </a:extLst>
          </p:cNvPr>
          <p:cNvSpPr txBox="1"/>
          <p:nvPr/>
        </p:nvSpPr>
        <p:spPr>
          <a:xfrm>
            <a:off x="2531901" y="1509540"/>
            <a:ext cx="2366113" cy="436017"/>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5400" tIns="25400" rIns="25400" bIns="25400" numCol="1" anchor="t">
            <a:spAutoFit/>
          </a:bodyPr>
          <a:lstStyle>
            <a:lvl1pPr algn="l">
              <a:defRPr sz="2500" b="0">
                <a:solidFill>
                  <a:srgbClr val="9FA09E"/>
                </a:solidFill>
                <a:latin typeface="Barlow Medium"/>
                <a:ea typeface="Barlow Medium"/>
                <a:cs typeface="Barlow Medium"/>
                <a:sym typeface="Barlow Medium"/>
              </a:defRPr>
            </a:lvl1pPr>
          </a:lstStyle>
          <a:p>
            <a:pPr marL="0" marR="0" lvl="0" indent="0" algn="l" defTabSz="412750" rtl="0" eaLnBrk="1" fontAlgn="auto" latinLnBrk="0" hangingPunct="0">
              <a:lnSpc>
                <a:spcPct val="100000"/>
              </a:lnSpc>
              <a:spcBef>
                <a:spcPts val="0"/>
              </a:spcBef>
              <a:spcAft>
                <a:spcPts val="0"/>
              </a:spcAft>
              <a:buClrTx/>
              <a:buSzTx/>
              <a:buFontTx/>
              <a:buNone/>
              <a:tabLst/>
              <a:defRPr/>
            </a:pPr>
            <a:r>
              <a:rPr kumimoji="0" sz="1250" b="0" i="0" u="none" strike="noStrike" kern="0" cap="none" spc="0" normalizeH="0" baseline="0" noProof="0" dirty="0">
                <a:ln>
                  <a:noFill/>
                </a:ln>
                <a:solidFill>
                  <a:prstClr val="black">
                    <a:lumMod val="50000"/>
                    <a:lumOff val="50000"/>
                  </a:prstClr>
                </a:solidFill>
                <a:effectLst/>
                <a:uLnTx/>
                <a:uFillTx/>
                <a:latin typeface="HarmonyOS Sans SC"/>
                <a:ea typeface="+mn-ea"/>
                <a:sym typeface="Barlow Medium"/>
              </a:rPr>
              <a:t>This is a sample text. Insert your description here.</a:t>
            </a:r>
          </a:p>
        </p:txBody>
      </p:sp>
      <p:sp>
        <p:nvSpPr>
          <p:cNvPr id="5" name="This is a sample text. Insert your description here.">
            <a:extLst>
              <a:ext uri="{FF2B5EF4-FFF2-40B4-BE49-F238E27FC236}">
                <a16:creationId xmlns:a16="http://schemas.microsoft.com/office/drawing/2014/main" id="{3B9B8360-D318-403D-AAA8-D14787906A05}"/>
              </a:ext>
            </a:extLst>
          </p:cNvPr>
          <p:cNvSpPr txBox="1"/>
          <p:nvPr/>
        </p:nvSpPr>
        <p:spPr>
          <a:xfrm>
            <a:off x="3419885" y="3400376"/>
            <a:ext cx="2366113" cy="436017"/>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5400" tIns="25400" rIns="25400" bIns="25400" numCol="1" anchor="t">
            <a:spAutoFit/>
          </a:bodyPr>
          <a:lstStyle>
            <a:lvl1pPr algn="l">
              <a:defRPr sz="2500" b="0">
                <a:solidFill>
                  <a:srgbClr val="9FA09E"/>
                </a:solidFill>
                <a:latin typeface="Barlow Medium"/>
                <a:ea typeface="Barlow Medium"/>
                <a:cs typeface="Barlow Medium"/>
                <a:sym typeface="Barlow Medium"/>
              </a:defRPr>
            </a:lvl1pPr>
          </a:lstStyle>
          <a:p>
            <a:pPr marL="0" marR="0" lvl="0" indent="0" algn="l" defTabSz="412750" rtl="0" eaLnBrk="1" fontAlgn="auto" latinLnBrk="0" hangingPunct="0">
              <a:lnSpc>
                <a:spcPct val="100000"/>
              </a:lnSpc>
              <a:spcBef>
                <a:spcPts val="0"/>
              </a:spcBef>
              <a:spcAft>
                <a:spcPts val="0"/>
              </a:spcAft>
              <a:buClrTx/>
              <a:buSzTx/>
              <a:buFontTx/>
              <a:buNone/>
              <a:tabLst/>
              <a:defRPr/>
            </a:pPr>
            <a:r>
              <a:rPr kumimoji="0" sz="1250" b="0" i="0" u="none" strike="noStrike" kern="0" cap="none" spc="0" normalizeH="0" baseline="0" noProof="0" dirty="0">
                <a:ln>
                  <a:noFill/>
                </a:ln>
                <a:solidFill>
                  <a:prstClr val="black">
                    <a:lumMod val="50000"/>
                    <a:lumOff val="50000"/>
                  </a:prstClr>
                </a:solidFill>
                <a:effectLst/>
                <a:uLnTx/>
                <a:uFillTx/>
                <a:latin typeface="HarmonyOS Sans SC"/>
                <a:ea typeface="+mn-ea"/>
                <a:sym typeface="Barlow Medium"/>
              </a:rPr>
              <a:t>This is a sample text. Insert your description here.</a:t>
            </a:r>
          </a:p>
        </p:txBody>
      </p:sp>
      <p:sp>
        <p:nvSpPr>
          <p:cNvPr id="7" name="This is a sample text. Insert your description here.">
            <a:extLst>
              <a:ext uri="{FF2B5EF4-FFF2-40B4-BE49-F238E27FC236}">
                <a16:creationId xmlns:a16="http://schemas.microsoft.com/office/drawing/2014/main" id="{D799E709-CE73-4D23-ACA1-42B55436757B}"/>
              </a:ext>
            </a:extLst>
          </p:cNvPr>
          <p:cNvSpPr txBox="1"/>
          <p:nvPr/>
        </p:nvSpPr>
        <p:spPr>
          <a:xfrm>
            <a:off x="2530082" y="5526731"/>
            <a:ext cx="2366113" cy="436017"/>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5400" tIns="25400" rIns="25400" bIns="25400" numCol="1" anchor="t">
            <a:spAutoFit/>
          </a:bodyPr>
          <a:lstStyle>
            <a:lvl1pPr algn="l">
              <a:defRPr sz="2500" b="0">
                <a:solidFill>
                  <a:srgbClr val="9FA09E"/>
                </a:solidFill>
                <a:latin typeface="Barlow Medium"/>
                <a:ea typeface="Barlow Medium"/>
                <a:cs typeface="Barlow Medium"/>
                <a:sym typeface="Barlow Medium"/>
              </a:defRPr>
            </a:lvl1pPr>
          </a:lstStyle>
          <a:p>
            <a:pPr marL="0" marR="0" lvl="0" indent="0" algn="l" defTabSz="412750" rtl="0" eaLnBrk="1" fontAlgn="auto" latinLnBrk="0" hangingPunct="0">
              <a:lnSpc>
                <a:spcPct val="100000"/>
              </a:lnSpc>
              <a:spcBef>
                <a:spcPts val="0"/>
              </a:spcBef>
              <a:spcAft>
                <a:spcPts val="0"/>
              </a:spcAft>
              <a:buClrTx/>
              <a:buSzTx/>
              <a:buFontTx/>
              <a:buNone/>
              <a:tabLst/>
              <a:defRPr/>
            </a:pPr>
            <a:r>
              <a:rPr kumimoji="0" sz="1250" b="0" i="0" u="none" strike="noStrike" kern="0" cap="none" spc="0" normalizeH="0" baseline="0" noProof="0">
                <a:ln>
                  <a:noFill/>
                </a:ln>
                <a:solidFill>
                  <a:prstClr val="black">
                    <a:lumMod val="50000"/>
                    <a:lumOff val="50000"/>
                  </a:prstClr>
                </a:solidFill>
                <a:effectLst/>
                <a:uLnTx/>
                <a:uFillTx/>
                <a:latin typeface="HarmonyOS Sans SC"/>
                <a:ea typeface="+mn-ea"/>
                <a:sym typeface="Barlow Medium"/>
              </a:rPr>
              <a:t>This is a sample text. Insert your description here.</a:t>
            </a:r>
          </a:p>
        </p:txBody>
      </p:sp>
      <p:sp>
        <p:nvSpPr>
          <p:cNvPr id="9" name="Circle">
            <a:extLst>
              <a:ext uri="{FF2B5EF4-FFF2-40B4-BE49-F238E27FC236}">
                <a16:creationId xmlns:a16="http://schemas.microsoft.com/office/drawing/2014/main" id="{354B6AB9-EB2E-4129-B673-D77133B926C6}"/>
              </a:ext>
            </a:extLst>
          </p:cNvPr>
          <p:cNvSpPr/>
          <p:nvPr/>
        </p:nvSpPr>
        <p:spPr>
          <a:xfrm>
            <a:off x="265348" y="3026169"/>
            <a:ext cx="1430540" cy="1430540"/>
          </a:xfrm>
          <a:prstGeom prst="ellipse">
            <a:avLst/>
          </a:prstGeom>
          <a:gradFill>
            <a:gsLst>
              <a:gs pos="73000">
                <a:schemeClr val="accent1"/>
              </a:gs>
              <a:gs pos="31000">
                <a:schemeClr val="accent1">
                  <a:lumMod val="60000"/>
                  <a:lumOff val="40000"/>
                </a:schemeClr>
              </a:gs>
              <a:gs pos="0">
                <a:schemeClr val="accent1">
                  <a:lumMod val="40000"/>
                  <a:lumOff val="60000"/>
                </a:schemeClr>
              </a:gs>
            </a:gsLst>
            <a:path path="circle">
              <a:fillToRect r="100000" b="100000"/>
            </a:path>
          </a:gradFill>
          <a:ln>
            <a:noFill/>
          </a:ln>
          <a:effectLst>
            <a:outerShdw blurRad="444500" dist="317500" dir="5400000" sx="92000" sy="92000" algn="t" rotWithShape="0">
              <a:schemeClr val="accent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white"/>
              </a:solidFill>
              <a:effectLst/>
              <a:uLnTx/>
              <a:uFillTx/>
              <a:latin typeface="HarmonyOS Sans SC"/>
              <a:cs typeface="+mn-cs"/>
              <a:sym typeface="Helvetica Neue Medium"/>
            </a:endParaRPr>
          </a:p>
        </p:txBody>
      </p:sp>
      <p:sp>
        <p:nvSpPr>
          <p:cNvPr id="10" name="Shape">
            <a:extLst>
              <a:ext uri="{FF2B5EF4-FFF2-40B4-BE49-F238E27FC236}">
                <a16:creationId xmlns:a16="http://schemas.microsoft.com/office/drawing/2014/main" id="{5B8F59A8-43A9-447A-840A-E3A4C7193626}"/>
              </a:ext>
            </a:extLst>
          </p:cNvPr>
          <p:cNvSpPr/>
          <p:nvPr/>
        </p:nvSpPr>
        <p:spPr>
          <a:xfrm>
            <a:off x="1043372" y="1429790"/>
            <a:ext cx="1856412" cy="1541194"/>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cubicBezTo>
                  <a:pt x="4115" y="117"/>
                  <a:pt x="8152" y="1376"/>
                  <a:pt x="11797" y="3681"/>
                </a:cubicBezTo>
                <a:cubicBezTo>
                  <a:pt x="15747" y="6178"/>
                  <a:pt x="19117" y="9825"/>
                  <a:pt x="21600" y="14290"/>
                </a:cubicBezTo>
                <a:lnTo>
                  <a:pt x="12131" y="21600"/>
                </a:lnTo>
                <a:cubicBezTo>
                  <a:pt x="10745" y="19208"/>
                  <a:pt x="8918" y="17235"/>
                  <a:pt x="6793" y="15836"/>
                </a:cubicBezTo>
                <a:cubicBezTo>
                  <a:pt x="4711" y="14466"/>
                  <a:pt x="2398" y="13683"/>
                  <a:pt x="27" y="13547"/>
                </a:cubicBezTo>
                <a:lnTo>
                  <a:pt x="0" y="0"/>
                </a:lnTo>
                <a:close/>
              </a:path>
            </a:pathLst>
          </a:custGeom>
          <a:gradFill flip="none" rotWithShape="1">
            <a:gsLst>
              <a:gs pos="73000">
                <a:schemeClr val="accent1"/>
              </a:gs>
              <a:gs pos="31000">
                <a:schemeClr val="accent1">
                  <a:lumMod val="60000"/>
                  <a:lumOff val="40000"/>
                </a:schemeClr>
              </a:gs>
              <a:gs pos="0">
                <a:schemeClr val="accent1">
                  <a:lumMod val="40000"/>
                  <a:lumOff val="60000"/>
                </a:schemeClr>
              </a:gs>
            </a:gsLst>
            <a:lin ang="0" scaled="1"/>
            <a:tileRect/>
          </a:gradFill>
          <a:ln w="12700">
            <a:miter lim="400000"/>
          </a:ln>
        </p:spPr>
        <p:txBody>
          <a:bodyPr lIns="0" tIns="0" rIns="0" bIns="0" anchor="ctr"/>
          <a:lstStyle/>
          <a:p>
            <a:pPr marL="0" marR="0" lvl="0" indent="0" algn="ctr" defTabSz="412750" rtl="0" eaLnBrk="1" fontAlgn="auto" latinLnBrk="0" hangingPunct="0">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1600" b="0" i="0" u="none" strike="noStrike" kern="0" cap="none" spc="0" normalizeH="0" baseline="0" noProof="0">
              <a:ln>
                <a:noFill/>
              </a:ln>
              <a:solidFill>
                <a:srgbClr val="FFFFFF"/>
              </a:solidFill>
              <a:effectLst/>
              <a:uLnTx/>
              <a:uFillTx/>
              <a:latin typeface="HarmonyOS Sans SC"/>
              <a:cs typeface="+mn-cs"/>
              <a:sym typeface="Helvetica Neue Medium"/>
            </a:endParaRPr>
          </a:p>
        </p:txBody>
      </p:sp>
      <p:sp>
        <p:nvSpPr>
          <p:cNvPr id="11" name="Shape">
            <a:extLst>
              <a:ext uri="{FF2B5EF4-FFF2-40B4-BE49-F238E27FC236}">
                <a16:creationId xmlns:a16="http://schemas.microsoft.com/office/drawing/2014/main" id="{D4049FCB-2C5A-40E5-8FF9-3AB2AB55AA91}"/>
              </a:ext>
            </a:extLst>
          </p:cNvPr>
          <p:cNvSpPr/>
          <p:nvPr/>
        </p:nvSpPr>
        <p:spPr>
          <a:xfrm>
            <a:off x="2147884" y="2543213"/>
            <a:ext cx="1144564" cy="2181424"/>
          </a:xfrm>
          <a:custGeom>
            <a:avLst/>
            <a:gdLst/>
            <a:ahLst/>
            <a:cxnLst>
              <a:cxn ang="0">
                <a:pos x="wd2" y="hd2"/>
              </a:cxn>
              <a:cxn ang="5400000">
                <a:pos x="wd2" y="hd2"/>
              </a:cxn>
              <a:cxn ang="10800000">
                <a:pos x="wd2" y="hd2"/>
              </a:cxn>
              <a:cxn ang="16200000">
                <a:pos x="wd2" y="hd2"/>
              </a:cxn>
            </a:cxnLst>
            <a:rect l="0" t="0" r="r" b="b"/>
            <a:pathLst>
              <a:path w="21187" h="21600" extrusionOk="0">
                <a:moveTo>
                  <a:pt x="0" y="5188"/>
                </a:moveTo>
                <a:cubicBezTo>
                  <a:pt x="1936" y="7006"/>
                  <a:pt x="3052" y="9040"/>
                  <a:pt x="3260" y="11129"/>
                </a:cubicBezTo>
                <a:cubicBezTo>
                  <a:pt x="3472" y="13260"/>
                  <a:pt x="2733" y="15388"/>
                  <a:pt x="1104" y="17336"/>
                </a:cubicBezTo>
                <a:lnTo>
                  <a:pt x="17209" y="21600"/>
                </a:lnTo>
                <a:cubicBezTo>
                  <a:pt x="20270" y="18041"/>
                  <a:pt x="21600" y="14125"/>
                  <a:pt x="21075" y="10217"/>
                </a:cubicBezTo>
                <a:cubicBezTo>
                  <a:pt x="20589" y="6607"/>
                  <a:pt x="18533" y="3109"/>
                  <a:pt x="15070" y="0"/>
                </a:cubicBezTo>
                <a:lnTo>
                  <a:pt x="0" y="5188"/>
                </a:lnTo>
                <a:close/>
              </a:path>
            </a:pathLst>
          </a:custGeom>
          <a:gradFill flip="none" rotWithShape="1">
            <a:gsLst>
              <a:gs pos="73000">
                <a:schemeClr val="accent1"/>
              </a:gs>
              <a:gs pos="31000">
                <a:schemeClr val="accent1">
                  <a:lumMod val="60000"/>
                  <a:lumOff val="40000"/>
                </a:schemeClr>
              </a:gs>
              <a:gs pos="0">
                <a:schemeClr val="accent1">
                  <a:lumMod val="40000"/>
                  <a:lumOff val="60000"/>
                </a:schemeClr>
              </a:gs>
            </a:gsLst>
            <a:lin ang="2700000" scaled="1"/>
            <a:tileRect/>
          </a:gradFill>
          <a:ln w="12700">
            <a:miter lim="400000"/>
          </a:ln>
        </p:spPr>
        <p:txBody>
          <a:bodyPr lIns="0" tIns="0" rIns="0" bIns="0" anchor="ctr"/>
          <a:lstStyle/>
          <a:p>
            <a:pPr marL="0" marR="0" lvl="0" indent="0" algn="ctr" defTabSz="412750" rtl="0" eaLnBrk="1" fontAlgn="auto" latinLnBrk="0" hangingPunct="0">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1600" b="0" i="0" u="none" strike="noStrike" kern="0" cap="none" spc="0" normalizeH="0" baseline="0" noProof="0">
              <a:ln>
                <a:noFill/>
              </a:ln>
              <a:solidFill>
                <a:srgbClr val="FFFFFF"/>
              </a:solidFill>
              <a:effectLst/>
              <a:uLnTx/>
              <a:uFillTx/>
              <a:latin typeface="HarmonyOS Sans SC"/>
              <a:cs typeface="+mn-cs"/>
              <a:sym typeface="Helvetica Neue Medium"/>
            </a:endParaRPr>
          </a:p>
        </p:txBody>
      </p:sp>
      <p:sp>
        <p:nvSpPr>
          <p:cNvPr id="12" name="Shape">
            <a:extLst>
              <a:ext uri="{FF2B5EF4-FFF2-40B4-BE49-F238E27FC236}">
                <a16:creationId xmlns:a16="http://schemas.microsoft.com/office/drawing/2014/main" id="{C021296C-7B9A-4096-BD73-A1E30C7095D3}"/>
              </a:ext>
            </a:extLst>
          </p:cNvPr>
          <p:cNvSpPr/>
          <p:nvPr/>
        </p:nvSpPr>
        <p:spPr>
          <a:xfrm>
            <a:off x="1045286" y="4395208"/>
            <a:ext cx="1980622" cy="1655216"/>
          </a:xfrm>
          <a:custGeom>
            <a:avLst/>
            <a:gdLst/>
            <a:ahLst/>
            <a:cxnLst>
              <a:cxn ang="0">
                <a:pos x="wd2" y="hd2"/>
              </a:cxn>
              <a:cxn ang="5400000">
                <a:pos x="wd2" y="hd2"/>
              </a:cxn>
              <a:cxn ang="10800000">
                <a:pos x="wd2" y="hd2"/>
              </a:cxn>
              <a:cxn ang="16200000">
                <a:pos x="wd2" y="hd2"/>
              </a:cxn>
            </a:cxnLst>
            <a:rect l="0" t="0" r="r" b="b"/>
            <a:pathLst>
              <a:path w="21600" h="21600" extrusionOk="0">
                <a:moveTo>
                  <a:pt x="18" y="9035"/>
                </a:moveTo>
                <a:cubicBezTo>
                  <a:pt x="2483" y="8877"/>
                  <a:pt x="4876" y="7982"/>
                  <a:pt x="6977" y="6431"/>
                </a:cubicBezTo>
                <a:cubicBezTo>
                  <a:pt x="9122" y="4848"/>
                  <a:pt x="10892" y="2634"/>
                  <a:pt x="12119" y="0"/>
                </a:cubicBezTo>
                <a:lnTo>
                  <a:pt x="21600" y="5589"/>
                </a:lnTo>
                <a:cubicBezTo>
                  <a:pt x="19663" y="9974"/>
                  <a:pt x="16852" y="13720"/>
                  <a:pt x="13416" y="16494"/>
                </a:cubicBezTo>
                <a:cubicBezTo>
                  <a:pt x="11441" y="18088"/>
                  <a:pt x="9297" y="19333"/>
                  <a:pt x="7051" y="20193"/>
                </a:cubicBezTo>
                <a:cubicBezTo>
                  <a:pt x="4781" y="21063"/>
                  <a:pt x="2407" y="21541"/>
                  <a:pt x="0" y="21600"/>
                </a:cubicBezTo>
                <a:lnTo>
                  <a:pt x="18" y="9035"/>
                </a:lnTo>
                <a:close/>
              </a:path>
            </a:pathLst>
          </a:custGeom>
          <a:gradFill flip="none" rotWithShape="1">
            <a:gsLst>
              <a:gs pos="73000">
                <a:schemeClr val="accent1"/>
              </a:gs>
              <a:gs pos="31000">
                <a:schemeClr val="accent1">
                  <a:lumMod val="60000"/>
                  <a:lumOff val="40000"/>
                </a:schemeClr>
              </a:gs>
              <a:gs pos="0">
                <a:schemeClr val="accent1">
                  <a:lumMod val="40000"/>
                  <a:lumOff val="60000"/>
                </a:schemeClr>
              </a:gs>
            </a:gsLst>
            <a:lin ang="8100000" scaled="1"/>
            <a:tileRect/>
          </a:gradFill>
          <a:ln w="12700">
            <a:miter lim="400000"/>
          </a:ln>
        </p:spPr>
        <p:txBody>
          <a:bodyPr lIns="0" tIns="0" rIns="0" bIns="0" anchor="ctr"/>
          <a:lstStyle/>
          <a:p>
            <a:pPr marL="0" marR="0" lvl="0" indent="0" algn="ctr" defTabSz="412750" rtl="0" eaLnBrk="1" fontAlgn="auto" latinLnBrk="0" hangingPunct="0">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1600" b="0" i="0" u="none" strike="noStrike" kern="0" cap="none" spc="0" normalizeH="0" baseline="0" noProof="0">
              <a:ln>
                <a:noFill/>
              </a:ln>
              <a:solidFill>
                <a:srgbClr val="FFFFFF"/>
              </a:solidFill>
              <a:effectLst/>
              <a:uLnTx/>
              <a:uFillTx/>
              <a:latin typeface="HarmonyOS Sans SC"/>
              <a:cs typeface="+mn-cs"/>
              <a:sym typeface="Helvetica Neue Medium"/>
            </a:endParaRPr>
          </a:p>
        </p:txBody>
      </p:sp>
      <p:sp>
        <p:nvSpPr>
          <p:cNvPr id="13" name="Shape">
            <a:extLst>
              <a:ext uri="{FF2B5EF4-FFF2-40B4-BE49-F238E27FC236}">
                <a16:creationId xmlns:a16="http://schemas.microsoft.com/office/drawing/2014/main" id="{90459EC4-D315-4532-924A-3333389061EE}"/>
              </a:ext>
            </a:extLst>
          </p:cNvPr>
          <p:cNvSpPr/>
          <p:nvPr/>
        </p:nvSpPr>
        <p:spPr>
          <a:xfrm>
            <a:off x="1045644" y="2740015"/>
            <a:ext cx="751235" cy="483119"/>
          </a:xfrm>
          <a:custGeom>
            <a:avLst/>
            <a:gdLst/>
            <a:ahLst/>
            <a:cxnLst>
              <a:cxn ang="0">
                <a:pos x="wd2" y="hd2"/>
              </a:cxn>
              <a:cxn ang="5400000">
                <a:pos x="wd2" y="hd2"/>
              </a:cxn>
              <a:cxn ang="10800000">
                <a:pos x="wd2" y="hd2"/>
              </a:cxn>
              <a:cxn ang="16200000">
                <a:pos x="wd2" y="hd2"/>
              </a:cxn>
            </a:cxnLst>
            <a:rect l="0" t="0" r="r" b="b"/>
            <a:pathLst>
              <a:path w="21600" h="21600" extrusionOk="0">
                <a:moveTo>
                  <a:pt x="19" y="0"/>
                </a:moveTo>
                <a:lnTo>
                  <a:pt x="0" y="5599"/>
                </a:lnTo>
                <a:cubicBezTo>
                  <a:pt x="3600" y="5984"/>
                  <a:pt x="7105" y="7569"/>
                  <a:pt x="10277" y="10244"/>
                </a:cubicBezTo>
                <a:cubicBezTo>
                  <a:pt x="13567" y="13019"/>
                  <a:pt x="16418" y="16898"/>
                  <a:pt x="18623" y="21600"/>
                </a:cubicBezTo>
                <a:lnTo>
                  <a:pt x="21600" y="18685"/>
                </a:lnTo>
                <a:cubicBezTo>
                  <a:pt x="19003" y="13163"/>
                  <a:pt x="15645" y="8613"/>
                  <a:pt x="11773" y="5366"/>
                </a:cubicBezTo>
                <a:cubicBezTo>
                  <a:pt x="8139" y="2319"/>
                  <a:pt x="4135" y="491"/>
                  <a:pt x="19" y="0"/>
                </a:cubicBezTo>
                <a:close/>
              </a:path>
            </a:pathLst>
          </a:custGeom>
          <a:gradFill>
            <a:gsLst>
              <a:gs pos="73000">
                <a:schemeClr val="accent1"/>
              </a:gs>
              <a:gs pos="31000">
                <a:schemeClr val="accent1">
                  <a:lumMod val="60000"/>
                  <a:lumOff val="40000"/>
                </a:schemeClr>
              </a:gs>
              <a:gs pos="0">
                <a:schemeClr val="accent1">
                  <a:lumMod val="40000"/>
                  <a:lumOff val="60000"/>
                </a:schemeClr>
              </a:gs>
            </a:gsLst>
            <a:path path="circle">
              <a:fillToRect r="100000" b="100000"/>
            </a:path>
          </a:gradFill>
          <a:ln w="12700">
            <a:miter lim="400000"/>
          </a:ln>
        </p:spPr>
        <p:txBody>
          <a:bodyPr lIns="0" tIns="0" rIns="0" bIns="0" anchor="ctr"/>
          <a:lstStyle/>
          <a:p>
            <a:pPr marL="0" marR="0" lvl="0" indent="0" algn="ctr" defTabSz="412750" rtl="0" eaLnBrk="1" fontAlgn="auto" latinLnBrk="0" hangingPunct="0">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1600" b="0" i="0" u="none" strike="noStrike" kern="0" cap="none" spc="0" normalizeH="0" baseline="0" noProof="0">
              <a:ln>
                <a:noFill/>
              </a:ln>
              <a:solidFill>
                <a:srgbClr val="FFFFFF"/>
              </a:solidFill>
              <a:effectLst/>
              <a:uLnTx/>
              <a:uFillTx/>
              <a:latin typeface="HarmonyOS Sans SC"/>
              <a:cs typeface="+mn-cs"/>
              <a:sym typeface="Helvetica Neue Medium"/>
            </a:endParaRPr>
          </a:p>
        </p:txBody>
      </p:sp>
      <p:sp>
        <p:nvSpPr>
          <p:cNvPr id="14" name="Shape">
            <a:extLst>
              <a:ext uri="{FF2B5EF4-FFF2-40B4-BE49-F238E27FC236}">
                <a16:creationId xmlns:a16="http://schemas.microsoft.com/office/drawing/2014/main" id="{B7ABB90C-F531-4CF2-A7B8-6AD4438D8F75}"/>
              </a:ext>
            </a:extLst>
          </p:cNvPr>
          <p:cNvSpPr/>
          <p:nvPr/>
        </p:nvSpPr>
        <p:spPr>
          <a:xfrm>
            <a:off x="1750764" y="3251664"/>
            <a:ext cx="232934" cy="894854"/>
          </a:xfrm>
          <a:custGeom>
            <a:avLst/>
            <a:gdLst/>
            <a:ahLst/>
            <a:cxnLst>
              <a:cxn ang="0">
                <a:pos x="wd2" y="hd2"/>
              </a:cxn>
              <a:cxn ang="5400000">
                <a:pos x="wd2" y="hd2"/>
              </a:cxn>
              <a:cxn ang="10800000">
                <a:pos x="wd2" y="hd2"/>
              </a:cxn>
              <a:cxn ang="16200000">
                <a:pos x="wd2" y="hd2"/>
              </a:cxn>
            </a:cxnLst>
            <a:rect l="0" t="0" r="r" b="b"/>
            <a:pathLst>
              <a:path w="21059" h="21600" extrusionOk="0">
                <a:moveTo>
                  <a:pt x="0" y="1614"/>
                </a:moveTo>
                <a:lnTo>
                  <a:pt x="9557" y="0"/>
                </a:lnTo>
                <a:cubicBezTo>
                  <a:pt x="16421" y="3290"/>
                  <a:pt x="20326" y="6961"/>
                  <a:pt x="20966" y="10723"/>
                </a:cubicBezTo>
                <a:cubicBezTo>
                  <a:pt x="21600" y="14456"/>
                  <a:pt x="19000" y="18179"/>
                  <a:pt x="13367" y="21600"/>
                </a:cubicBezTo>
                <a:lnTo>
                  <a:pt x="3226" y="20263"/>
                </a:lnTo>
                <a:cubicBezTo>
                  <a:pt x="8018" y="17325"/>
                  <a:pt x="10248" y="14135"/>
                  <a:pt x="9748" y="10934"/>
                </a:cubicBezTo>
                <a:cubicBezTo>
                  <a:pt x="9238" y="7668"/>
                  <a:pt x="5901" y="4478"/>
                  <a:pt x="0" y="1614"/>
                </a:cubicBezTo>
                <a:close/>
              </a:path>
            </a:pathLst>
          </a:custGeom>
          <a:gradFill>
            <a:gsLst>
              <a:gs pos="73000">
                <a:schemeClr val="accent1"/>
              </a:gs>
              <a:gs pos="31000">
                <a:schemeClr val="accent1">
                  <a:lumMod val="60000"/>
                  <a:lumOff val="40000"/>
                </a:schemeClr>
              </a:gs>
              <a:gs pos="0">
                <a:schemeClr val="accent1">
                  <a:lumMod val="40000"/>
                  <a:lumOff val="60000"/>
                </a:schemeClr>
              </a:gs>
            </a:gsLst>
            <a:path path="circle">
              <a:fillToRect r="100000" b="100000"/>
            </a:path>
          </a:gradFill>
          <a:ln w="12700">
            <a:miter lim="400000"/>
          </a:ln>
        </p:spPr>
        <p:txBody>
          <a:bodyPr lIns="0" tIns="0" rIns="0" bIns="0" anchor="ctr"/>
          <a:lstStyle/>
          <a:p>
            <a:pPr marL="0" marR="0" lvl="0" indent="0" algn="ctr" defTabSz="412750" rtl="0" eaLnBrk="1" fontAlgn="auto" latinLnBrk="0" hangingPunct="0">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1600" b="0" i="0" u="none" strike="noStrike" kern="0" cap="none" spc="0" normalizeH="0" baseline="0" noProof="0">
              <a:ln>
                <a:noFill/>
              </a:ln>
              <a:solidFill>
                <a:srgbClr val="FFFFFF"/>
              </a:solidFill>
              <a:effectLst/>
              <a:uLnTx/>
              <a:uFillTx/>
              <a:latin typeface="HarmonyOS Sans SC"/>
              <a:cs typeface="+mn-cs"/>
              <a:sym typeface="Helvetica Neue Medium"/>
            </a:endParaRPr>
          </a:p>
        </p:txBody>
      </p:sp>
      <p:sp>
        <p:nvSpPr>
          <p:cNvPr id="15" name="Shape">
            <a:extLst>
              <a:ext uri="{FF2B5EF4-FFF2-40B4-BE49-F238E27FC236}">
                <a16:creationId xmlns:a16="http://schemas.microsoft.com/office/drawing/2014/main" id="{2D647B2F-97C8-4460-8218-112EE0B2BE1B}"/>
              </a:ext>
            </a:extLst>
          </p:cNvPr>
          <p:cNvSpPr/>
          <p:nvPr/>
        </p:nvSpPr>
        <p:spPr>
          <a:xfrm>
            <a:off x="1045420" y="4189151"/>
            <a:ext cx="800273" cy="554571"/>
          </a:xfrm>
          <a:custGeom>
            <a:avLst/>
            <a:gdLst/>
            <a:ahLst/>
            <a:cxnLst>
              <a:cxn ang="0">
                <a:pos x="wd2" y="hd2"/>
              </a:cxn>
              <a:cxn ang="5400000">
                <a:pos x="wd2" y="hd2"/>
              </a:cxn>
              <a:cxn ang="10800000">
                <a:pos x="wd2" y="hd2"/>
              </a:cxn>
              <a:cxn ang="16200000">
                <a:pos x="wd2" y="hd2"/>
              </a:cxn>
            </a:cxnLst>
            <a:rect l="0" t="0" r="r" b="b"/>
            <a:pathLst>
              <a:path w="21600" h="21600" extrusionOk="0">
                <a:moveTo>
                  <a:pt x="18668" y="0"/>
                </a:moveTo>
                <a:lnTo>
                  <a:pt x="21600" y="2129"/>
                </a:lnTo>
                <a:cubicBezTo>
                  <a:pt x="19473" y="7446"/>
                  <a:pt x="16509" y="11966"/>
                  <a:pt x="12947" y="15323"/>
                </a:cubicBezTo>
                <a:cubicBezTo>
                  <a:pt x="9072" y="18974"/>
                  <a:pt x="4616" y="21134"/>
                  <a:pt x="0" y="21600"/>
                </a:cubicBezTo>
                <a:lnTo>
                  <a:pt x="42" y="16713"/>
                </a:lnTo>
                <a:cubicBezTo>
                  <a:pt x="3924" y="16295"/>
                  <a:pt x="7674" y="14501"/>
                  <a:pt x="10961" y="11492"/>
                </a:cubicBezTo>
                <a:cubicBezTo>
                  <a:pt x="14124" y="8596"/>
                  <a:pt x="16766" y="4657"/>
                  <a:pt x="18668" y="0"/>
                </a:cubicBezTo>
                <a:close/>
              </a:path>
            </a:pathLst>
          </a:custGeom>
          <a:gradFill>
            <a:gsLst>
              <a:gs pos="73000">
                <a:schemeClr val="accent1"/>
              </a:gs>
              <a:gs pos="31000">
                <a:schemeClr val="accent1">
                  <a:lumMod val="60000"/>
                  <a:lumOff val="40000"/>
                </a:schemeClr>
              </a:gs>
              <a:gs pos="0">
                <a:schemeClr val="accent1">
                  <a:lumMod val="40000"/>
                  <a:lumOff val="60000"/>
                </a:schemeClr>
              </a:gs>
            </a:gsLst>
            <a:path path="circle">
              <a:fillToRect r="100000" b="100000"/>
            </a:path>
          </a:gradFill>
          <a:ln w="12700">
            <a:miter lim="400000"/>
          </a:ln>
        </p:spPr>
        <p:txBody>
          <a:bodyPr lIns="0" tIns="0" rIns="0" bIns="0" anchor="ctr"/>
          <a:lstStyle/>
          <a:p>
            <a:pPr marL="0" marR="0" lvl="0" indent="0" algn="ctr" defTabSz="412750" rtl="0" eaLnBrk="1" fontAlgn="auto" latinLnBrk="0" hangingPunct="0">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1600" b="0" i="0" u="none" strike="noStrike" kern="0" cap="none" spc="0" normalizeH="0" baseline="0" noProof="0">
              <a:ln>
                <a:noFill/>
              </a:ln>
              <a:solidFill>
                <a:srgbClr val="FFFFFF"/>
              </a:solidFill>
              <a:effectLst/>
              <a:uLnTx/>
              <a:uFillTx/>
              <a:latin typeface="HarmonyOS Sans SC"/>
              <a:cs typeface="+mn-cs"/>
              <a:sym typeface="Helvetica Neue Medium"/>
            </a:endParaRPr>
          </a:p>
        </p:txBody>
      </p:sp>
      <p:sp>
        <p:nvSpPr>
          <p:cNvPr id="16" name="This is a sample text">
            <a:extLst>
              <a:ext uri="{FF2B5EF4-FFF2-40B4-BE49-F238E27FC236}">
                <a16:creationId xmlns:a16="http://schemas.microsoft.com/office/drawing/2014/main" id="{514F7E3C-8DA4-469C-8649-9F7D40C289CC}"/>
              </a:ext>
            </a:extLst>
          </p:cNvPr>
          <p:cNvSpPr txBox="1"/>
          <p:nvPr/>
        </p:nvSpPr>
        <p:spPr>
          <a:xfrm>
            <a:off x="460490" y="3513938"/>
            <a:ext cx="1040257" cy="411084"/>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25400" tIns="25400" rIns="25400" bIns="25400">
            <a:spAutoFit/>
          </a:bodyPr>
          <a:lstStyle>
            <a:lvl1pPr>
              <a:defRPr sz="2500" b="0">
                <a:solidFill>
                  <a:srgbClr val="535454"/>
                </a:solidFill>
                <a:latin typeface="Barlow Bold"/>
                <a:ea typeface="Barlow Bold"/>
                <a:cs typeface="Barlow Bold"/>
                <a:sym typeface="Barlow Bold"/>
              </a:defRPr>
            </a:lvl1pPr>
          </a:lstStyle>
          <a:p>
            <a:pPr marL="0" marR="0" lvl="0" indent="0" algn="ctr" defTabSz="412750" rtl="0" eaLnBrk="1" fontAlgn="auto" latinLnBrk="0" hangingPunct="0">
              <a:lnSpc>
                <a:spcPct val="100000"/>
              </a:lnSpc>
              <a:spcBef>
                <a:spcPts val="0"/>
              </a:spcBef>
              <a:spcAft>
                <a:spcPts val="0"/>
              </a:spcAft>
              <a:buClrTx/>
              <a:buSzTx/>
              <a:buFontTx/>
              <a:buNone/>
              <a:tabLst/>
              <a:defRPr/>
            </a:pPr>
            <a:r>
              <a:rPr kumimoji="0" sz="1250" b="0" i="0" u="none" strike="noStrike" kern="0" cap="none" spc="0" normalizeH="0" baseline="0" noProof="0" dirty="0">
                <a:ln>
                  <a:noFill/>
                </a:ln>
                <a:solidFill>
                  <a:prstClr val="white"/>
                </a:solidFill>
                <a:effectLst/>
                <a:uLnTx/>
                <a:uFillTx/>
                <a:latin typeface="HarmonyOS Sans SC"/>
                <a:ea typeface="+mn-ea"/>
                <a:sym typeface="Barlow Bold"/>
              </a:rPr>
              <a:t>This is a sample text</a:t>
            </a:r>
          </a:p>
        </p:txBody>
      </p:sp>
      <p:sp>
        <p:nvSpPr>
          <p:cNvPr id="17" name="Circle">
            <a:extLst>
              <a:ext uri="{FF2B5EF4-FFF2-40B4-BE49-F238E27FC236}">
                <a16:creationId xmlns:a16="http://schemas.microsoft.com/office/drawing/2014/main" id="{765A7884-6F97-4099-B7FB-8A0B654AB713}"/>
              </a:ext>
            </a:extLst>
          </p:cNvPr>
          <p:cNvSpPr/>
          <p:nvPr/>
        </p:nvSpPr>
        <p:spPr>
          <a:xfrm>
            <a:off x="1745645" y="2020799"/>
            <a:ext cx="267120" cy="267120"/>
          </a:xfrm>
          <a:prstGeom prst="ellipse">
            <a:avLst/>
          </a:prstGeom>
          <a:solidFill>
            <a:schemeClr val="accent1">
              <a:lumMod val="20000"/>
              <a:lumOff val="80000"/>
            </a:schemeClr>
          </a:solidFill>
          <a:ln w="12700">
            <a:miter lim="400000"/>
          </a:ln>
        </p:spPr>
        <p:txBody>
          <a:bodyPr lIns="0" tIns="0" rIns="0" bIns="0" anchor="ctr"/>
          <a:lstStyle/>
          <a:p>
            <a:pPr marL="0" marR="0" lvl="0" indent="0" algn="ctr" defTabSz="412750" rtl="0" eaLnBrk="1" fontAlgn="auto" latinLnBrk="0" hangingPunct="0">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1600" b="0" i="0" u="none" strike="noStrike" kern="0" cap="none" spc="0" normalizeH="0" baseline="0" noProof="0">
              <a:ln>
                <a:noFill/>
              </a:ln>
              <a:solidFill>
                <a:srgbClr val="FFFFFF"/>
              </a:solidFill>
              <a:effectLst/>
              <a:uLnTx/>
              <a:uFillTx/>
              <a:latin typeface="HarmonyOS Sans SC"/>
              <a:cs typeface="+mn-cs"/>
              <a:sym typeface="Helvetica Neue Medium"/>
            </a:endParaRPr>
          </a:p>
        </p:txBody>
      </p:sp>
      <p:sp>
        <p:nvSpPr>
          <p:cNvPr id="18" name="Shape">
            <a:extLst>
              <a:ext uri="{FF2B5EF4-FFF2-40B4-BE49-F238E27FC236}">
                <a16:creationId xmlns:a16="http://schemas.microsoft.com/office/drawing/2014/main" id="{A4E774A9-A721-4948-A6A0-45BF47730FE4}"/>
              </a:ext>
            </a:extLst>
          </p:cNvPr>
          <p:cNvSpPr/>
          <p:nvPr/>
        </p:nvSpPr>
        <p:spPr>
          <a:xfrm>
            <a:off x="1858082" y="2099480"/>
            <a:ext cx="143823" cy="171872"/>
          </a:xfrm>
          <a:custGeom>
            <a:avLst/>
            <a:gdLst/>
            <a:ahLst/>
            <a:cxnLst>
              <a:cxn ang="0">
                <a:pos x="wd2" y="hd2"/>
              </a:cxn>
              <a:cxn ang="5400000">
                <a:pos x="wd2" y="hd2"/>
              </a:cxn>
              <a:cxn ang="10800000">
                <a:pos x="wd2" y="hd2"/>
              </a:cxn>
              <a:cxn ang="16200000">
                <a:pos x="wd2" y="hd2"/>
              </a:cxn>
            </a:cxnLst>
            <a:rect l="0" t="0" r="r" b="b"/>
            <a:pathLst>
              <a:path w="21600" h="21600" extrusionOk="0">
                <a:moveTo>
                  <a:pt x="21600" y="13450"/>
                </a:moveTo>
                <a:lnTo>
                  <a:pt x="5480" y="0"/>
                </a:lnTo>
                <a:lnTo>
                  <a:pt x="0" y="2690"/>
                </a:lnTo>
                <a:lnTo>
                  <a:pt x="2959" y="5156"/>
                </a:lnTo>
                <a:lnTo>
                  <a:pt x="2623" y="13045"/>
                </a:lnTo>
                <a:lnTo>
                  <a:pt x="12823" y="21600"/>
                </a:lnTo>
                <a:cubicBezTo>
                  <a:pt x="14999" y="20620"/>
                  <a:pt x="16932" y="19301"/>
                  <a:pt x="18520" y="17716"/>
                </a:cubicBezTo>
                <a:cubicBezTo>
                  <a:pt x="19802" y="16435"/>
                  <a:pt x="20841" y="14996"/>
                  <a:pt x="21600" y="13450"/>
                </a:cubicBezTo>
                <a:close/>
              </a:path>
            </a:pathLst>
          </a:custGeom>
          <a:gradFill>
            <a:gsLst>
              <a:gs pos="100000">
                <a:schemeClr val="accent1">
                  <a:lumMod val="75000"/>
                  <a:alpha val="0"/>
                </a:schemeClr>
              </a:gs>
              <a:gs pos="0">
                <a:schemeClr val="accent1">
                  <a:lumMod val="75000"/>
                  <a:alpha val="53000"/>
                </a:schemeClr>
              </a:gs>
            </a:gsLst>
            <a:path path="circle">
              <a:fillToRect r="100000" b="100000"/>
            </a:path>
          </a:gradFill>
          <a:ln w="12700">
            <a:miter lim="400000"/>
          </a:ln>
        </p:spPr>
        <p:txBody>
          <a:bodyPr lIns="0" tIns="0" rIns="0" bIns="0" anchor="ctr"/>
          <a:lstStyle/>
          <a:p>
            <a:pPr marL="0" marR="0" lvl="0" indent="0" algn="ctr" defTabSz="412750" rtl="0" eaLnBrk="1" fontAlgn="auto" latinLnBrk="0" hangingPunct="0">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FFFFF"/>
              </a:solidFill>
              <a:effectLst/>
              <a:uLnTx/>
              <a:uFillTx/>
              <a:latin typeface="HarmonyOS Sans SC"/>
              <a:cs typeface="+mn-cs"/>
              <a:sym typeface="Helvetica Neue Medium"/>
            </a:endParaRPr>
          </a:p>
        </p:txBody>
      </p:sp>
      <p:sp>
        <p:nvSpPr>
          <p:cNvPr id="19" name="Shape">
            <a:extLst>
              <a:ext uri="{FF2B5EF4-FFF2-40B4-BE49-F238E27FC236}">
                <a16:creationId xmlns:a16="http://schemas.microsoft.com/office/drawing/2014/main" id="{AA2E2C5C-9C2E-4B76-87D0-92B371985E08}"/>
              </a:ext>
            </a:extLst>
          </p:cNvPr>
          <p:cNvSpPr/>
          <p:nvPr/>
        </p:nvSpPr>
        <p:spPr>
          <a:xfrm>
            <a:off x="1857333" y="2099185"/>
            <a:ext cx="38401" cy="105007"/>
          </a:xfrm>
          <a:custGeom>
            <a:avLst/>
            <a:gdLst/>
            <a:ahLst/>
            <a:cxnLst>
              <a:cxn ang="0">
                <a:pos x="wd2" y="hd2"/>
              </a:cxn>
              <a:cxn ang="5400000">
                <a:pos x="wd2" y="hd2"/>
              </a:cxn>
              <a:cxn ang="10800000">
                <a:pos x="wd2" y="hd2"/>
              </a:cxn>
              <a:cxn ang="16200000">
                <a:pos x="wd2" y="hd2"/>
              </a:cxn>
            </a:cxnLst>
            <a:rect l="0" t="0" r="r" b="b"/>
            <a:pathLst>
              <a:path w="21599" h="21584" extrusionOk="0">
                <a:moveTo>
                  <a:pt x="0" y="1732"/>
                </a:moveTo>
                <a:cubicBezTo>
                  <a:pt x="-1" y="1616"/>
                  <a:pt x="100" y="1502"/>
                  <a:pt x="287" y="1407"/>
                </a:cubicBezTo>
                <a:cubicBezTo>
                  <a:pt x="489" y="1306"/>
                  <a:pt x="779" y="1232"/>
                  <a:pt x="1111" y="1198"/>
                </a:cubicBezTo>
                <a:lnTo>
                  <a:pt x="8348" y="207"/>
                </a:lnTo>
                <a:cubicBezTo>
                  <a:pt x="8705" y="144"/>
                  <a:pt x="9079" y="94"/>
                  <a:pt x="9464" y="60"/>
                </a:cubicBezTo>
                <a:cubicBezTo>
                  <a:pt x="9886" y="22"/>
                  <a:pt x="10318" y="2"/>
                  <a:pt x="10752" y="1"/>
                </a:cubicBezTo>
                <a:lnTo>
                  <a:pt x="20274" y="1"/>
                </a:lnTo>
                <a:cubicBezTo>
                  <a:pt x="20690" y="-10"/>
                  <a:pt x="21092" y="58"/>
                  <a:pt x="21339" y="180"/>
                </a:cubicBezTo>
                <a:cubicBezTo>
                  <a:pt x="21513" y="267"/>
                  <a:pt x="21593" y="374"/>
                  <a:pt x="21563" y="480"/>
                </a:cubicBezTo>
                <a:lnTo>
                  <a:pt x="21599" y="21163"/>
                </a:lnTo>
                <a:cubicBezTo>
                  <a:pt x="21587" y="21270"/>
                  <a:pt x="21469" y="21371"/>
                  <a:pt x="21266" y="21448"/>
                </a:cubicBezTo>
                <a:cubicBezTo>
                  <a:pt x="21024" y="21540"/>
                  <a:pt x="20684" y="21590"/>
                  <a:pt x="20334" y="21584"/>
                </a:cubicBezTo>
                <a:lnTo>
                  <a:pt x="11015" y="21584"/>
                </a:lnTo>
                <a:cubicBezTo>
                  <a:pt x="10657" y="21590"/>
                  <a:pt x="10311" y="21537"/>
                  <a:pt x="10072" y="21440"/>
                </a:cubicBezTo>
                <a:cubicBezTo>
                  <a:pt x="9891" y="21367"/>
                  <a:pt x="9785" y="21273"/>
                  <a:pt x="9771" y="21174"/>
                </a:cubicBezTo>
                <a:lnTo>
                  <a:pt x="9636" y="4253"/>
                </a:lnTo>
                <a:cubicBezTo>
                  <a:pt x="9639" y="4193"/>
                  <a:pt x="9570" y="4136"/>
                  <a:pt x="9447" y="4098"/>
                </a:cubicBezTo>
                <a:cubicBezTo>
                  <a:pt x="9286" y="4047"/>
                  <a:pt x="9059" y="4034"/>
                  <a:pt x="8864" y="4064"/>
                </a:cubicBezTo>
                <a:lnTo>
                  <a:pt x="1543" y="4572"/>
                </a:lnTo>
                <a:cubicBezTo>
                  <a:pt x="1228" y="4613"/>
                  <a:pt x="880" y="4601"/>
                  <a:pt x="591" y="4541"/>
                </a:cubicBezTo>
                <a:cubicBezTo>
                  <a:pt x="265" y="4472"/>
                  <a:pt x="51" y="4349"/>
                  <a:pt x="19" y="4212"/>
                </a:cubicBezTo>
                <a:lnTo>
                  <a:pt x="0" y="1732"/>
                </a:lnTo>
                <a:close/>
              </a:path>
            </a:pathLst>
          </a:custGeom>
          <a:solidFill>
            <a:schemeClr val="bg1"/>
          </a:solidFill>
          <a:ln w="12700">
            <a:miter lim="400000"/>
          </a:ln>
        </p:spPr>
        <p:txBody>
          <a:bodyPr lIns="0" tIns="0" rIns="0" bIns="0" anchor="ctr"/>
          <a:lstStyle/>
          <a:p>
            <a:pPr marL="0" marR="0" lvl="0" indent="0" algn="ctr" defTabSz="412750" rtl="0" eaLnBrk="1" fontAlgn="auto" latinLnBrk="0" hangingPunct="0">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1600" b="0" i="0" u="none" strike="noStrike" kern="0" cap="none" spc="0" normalizeH="0" baseline="0" noProof="0">
              <a:ln>
                <a:noFill/>
              </a:ln>
              <a:solidFill>
                <a:srgbClr val="FFFFFF"/>
              </a:solidFill>
              <a:effectLst/>
              <a:uLnTx/>
              <a:uFillTx/>
              <a:latin typeface="HarmonyOS Sans SC"/>
              <a:cs typeface="+mn-cs"/>
              <a:sym typeface="Helvetica Neue Medium"/>
            </a:endParaRPr>
          </a:p>
        </p:txBody>
      </p:sp>
      <p:sp>
        <p:nvSpPr>
          <p:cNvPr id="20" name="Circle">
            <a:extLst>
              <a:ext uri="{FF2B5EF4-FFF2-40B4-BE49-F238E27FC236}">
                <a16:creationId xmlns:a16="http://schemas.microsoft.com/office/drawing/2014/main" id="{FCB0EF08-3EF5-4F63-8B5B-AB7FDEFBEF9B}"/>
              </a:ext>
            </a:extLst>
          </p:cNvPr>
          <p:cNvSpPr/>
          <p:nvPr/>
        </p:nvSpPr>
        <p:spPr>
          <a:xfrm>
            <a:off x="2670784" y="3500364"/>
            <a:ext cx="267120" cy="267120"/>
          </a:xfrm>
          <a:prstGeom prst="ellipse">
            <a:avLst/>
          </a:prstGeom>
          <a:solidFill>
            <a:schemeClr val="accent1">
              <a:lumMod val="20000"/>
              <a:lumOff val="80000"/>
            </a:schemeClr>
          </a:solidFill>
          <a:ln w="12700">
            <a:miter lim="400000"/>
          </a:ln>
        </p:spPr>
        <p:txBody>
          <a:bodyPr lIns="0" tIns="0" rIns="0" bIns="0" anchor="ctr"/>
          <a:lstStyle/>
          <a:p>
            <a:pPr marL="0" marR="0" lvl="0" indent="0" algn="ctr" defTabSz="412750" rtl="0" eaLnBrk="1" fontAlgn="auto" latinLnBrk="0" hangingPunct="0">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1600" b="0" i="0" u="none" strike="noStrike" kern="0" cap="none" spc="0" normalizeH="0" baseline="0" noProof="0">
              <a:ln>
                <a:noFill/>
              </a:ln>
              <a:solidFill>
                <a:srgbClr val="FFFFFF"/>
              </a:solidFill>
              <a:effectLst/>
              <a:uLnTx/>
              <a:uFillTx/>
              <a:latin typeface="HarmonyOS Sans SC"/>
              <a:cs typeface="+mn-cs"/>
              <a:sym typeface="Helvetica Neue Medium"/>
            </a:endParaRPr>
          </a:p>
        </p:txBody>
      </p:sp>
      <p:sp>
        <p:nvSpPr>
          <p:cNvPr id="21" name="Shape">
            <a:extLst>
              <a:ext uri="{FF2B5EF4-FFF2-40B4-BE49-F238E27FC236}">
                <a16:creationId xmlns:a16="http://schemas.microsoft.com/office/drawing/2014/main" id="{0A35F507-A236-4A67-A3A4-51695E8DAFD9}"/>
              </a:ext>
            </a:extLst>
          </p:cNvPr>
          <p:cNvSpPr/>
          <p:nvPr/>
        </p:nvSpPr>
        <p:spPr>
          <a:xfrm>
            <a:off x="2771746" y="3582698"/>
            <a:ext cx="158072" cy="175976"/>
          </a:xfrm>
          <a:custGeom>
            <a:avLst/>
            <a:gdLst/>
            <a:ahLst/>
            <a:cxnLst>
              <a:cxn ang="0">
                <a:pos x="wd2" y="hd2"/>
              </a:cxn>
              <a:cxn ang="5400000">
                <a:pos x="wd2" y="hd2"/>
              </a:cxn>
              <a:cxn ang="10800000">
                <a:pos x="wd2" y="hd2"/>
              </a:cxn>
              <a:cxn ang="16200000">
                <a:pos x="wd2" y="hd2"/>
              </a:cxn>
            </a:cxnLst>
            <a:rect l="0" t="0" r="r" b="b"/>
            <a:pathLst>
              <a:path w="21600" h="21600" extrusionOk="0">
                <a:moveTo>
                  <a:pt x="21600" y="11901"/>
                </a:moveTo>
                <a:lnTo>
                  <a:pt x="8288" y="0"/>
                </a:lnTo>
                <a:lnTo>
                  <a:pt x="2509" y="135"/>
                </a:lnTo>
                <a:lnTo>
                  <a:pt x="0" y="3119"/>
                </a:lnTo>
                <a:lnTo>
                  <a:pt x="4283" y="7078"/>
                </a:lnTo>
                <a:lnTo>
                  <a:pt x="102" y="11743"/>
                </a:lnTo>
                <a:lnTo>
                  <a:pt x="11001" y="21600"/>
                </a:lnTo>
                <a:cubicBezTo>
                  <a:pt x="13575" y="20713"/>
                  <a:pt x="15892" y="19313"/>
                  <a:pt x="17776" y="17505"/>
                </a:cubicBezTo>
                <a:cubicBezTo>
                  <a:pt x="19460" y="15889"/>
                  <a:pt x="20761" y="13982"/>
                  <a:pt x="21600" y="11901"/>
                </a:cubicBezTo>
                <a:close/>
              </a:path>
            </a:pathLst>
          </a:custGeom>
          <a:gradFill>
            <a:gsLst>
              <a:gs pos="100000">
                <a:schemeClr val="accent1">
                  <a:lumMod val="75000"/>
                  <a:alpha val="0"/>
                </a:schemeClr>
              </a:gs>
              <a:gs pos="0">
                <a:schemeClr val="accent1">
                  <a:lumMod val="75000"/>
                  <a:alpha val="53000"/>
                </a:schemeClr>
              </a:gs>
            </a:gsLst>
            <a:path path="circle">
              <a:fillToRect r="100000" b="100000"/>
            </a:path>
          </a:gradFill>
          <a:ln w="12700">
            <a:miter lim="400000"/>
          </a:ln>
        </p:spPr>
        <p:txBody>
          <a:bodyPr lIns="0" tIns="0" rIns="0" bIns="0" anchor="ctr"/>
          <a:lstStyle/>
          <a:p>
            <a:pPr marL="0" marR="0" lvl="0" indent="0" algn="ctr" defTabSz="412750" rtl="0" eaLnBrk="1" fontAlgn="auto" latinLnBrk="0" hangingPunct="0">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FFFFF"/>
              </a:solidFill>
              <a:effectLst/>
              <a:uLnTx/>
              <a:uFillTx/>
              <a:latin typeface="HarmonyOS Sans SC"/>
              <a:cs typeface="+mn-cs"/>
              <a:sym typeface="Helvetica Neue Medium"/>
            </a:endParaRPr>
          </a:p>
        </p:txBody>
      </p:sp>
      <p:sp>
        <p:nvSpPr>
          <p:cNvPr id="22" name="Shape">
            <a:extLst>
              <a:ext uri="{FF2B5EF4-FFF2-40B4-BE49-F238E27FC236}">
                <a16:creationId xmlns:a16="http://schemas.microsoft.com/office/drawing/2014/main" id="{6B0CC597-B094-4778-AD2E-B906483EAA9F}"/>
              </a:ext>
            </a:extLst>
          </p:cNvPr>
          <p:cNvSpPr/>
          <p:nvPr/>
        </p:nvSpPr>
        <p:spPr>
          <a:xfrm>
            <a:off x="2771021" y="3572774"/>
            <a:ext cx="71988" cy="106273"/>
          </a:xfrm>
          <a:custGeom>
            <a:avLst/>
            <a:gdLst/>
            <a:ahLst/>
            <a:cxnLst>
              <a:cxn ang="0">
                <a:pos x="wd2" y="hd2"/>
              </a:cxn>
              <a:cxn ang="5400000">
                <a:pos x="wd2" y="hd2"/>
              </a:cxn>
              <a:cxn ang="10800000">
                <a:pos x="wd2" y="hd2"/>
              </a:cxn>
              <a:cxn ang="16200000">
                <a:pos x="wd2" y="hd2"/>
              </a:cxn>
            </a:cxnLst>
            <a:rect l="0" t="0" r="r" b="b"/>
            <a:pathLst>
              <a:path w="21596" h="21538" extrusionOk="0">
                <a:moveTo>
                  <a:pt x="6392" y="6090"/>
                </a:moveTo>
                <a:lnTo>
                  <a:pt x="6392" y="6882"/>
                </a:lnTo>
                <a:cubicBezTo>
                  <a:pt x="6396" y="6960"/>
                  <a:pt x="6364" y="7038"/>
                  <a:pt x="6299" y="7103"/>
                </a:cubicBezTo>
                <a:cubicBezTo>
                  <a:pt x="6199" y="7203"/>
                  <a:pt x="6036" y="7265"/>
                  <a:pt x="5859" y="7271"/>
                </a:cubicBezTo>
                <a:lnTo>
                  <a:pt x="664" y="7276"/>
                </a:lnTo>
                <a:cubicBezTo>
                  <a:pt x="513" y="7279"/>
                  <a:pt x="364" y="7246"/>
                  <a:pt x="246" y="7182"/>
                </a:cubicBezTo>
                <a:cubicBezTo>
                  <a:pt x="87" y="7096"/>
                  <a:pt x="-4" y="6966"/>
                  <a:pt x="0" y="6829"/>
                </a:cubicBezTo>
                <a:lnTo>
                  <a:pt x="0" y="5619"/>
                </a:lnTo>
                <a:cubicBezTo>
                  <a:pt x="70" y="4333"/>
                  <a:pt x="814" y="3104"/>
                  <a:pt x="2100" y="2154"/>
                </a:cubicBezTo>
                <a:cubicBezTo>
                  <a:pt x="3421" y="1178"/>
                  <a:pt x="5208" y="568"/>
                  <a:pt x="7110" y="255"/>
                </a:cubicBezTo>
                <a:cubicBezTo>
                  <a:pt x="8638" y="4"/>
                  <a:pt x="10219" y="-53"/>
                  <a:pt x="11785" y="45"/>
                </a:cubicBezTo>
                <a:cubicBezTo>
                  <a:pt x="13407" y="147"/>
                  <a:pt x="15006" y="416"/>
                  <a:pt x="16439" y="941"/>
                </a:cubicBezTo>
                <a:cubicBezTo>
                  <a:pt x="17732" y="1414"/>
                  <a:pt x="18850" y="2083"/>
                  <a:pt x="19663" y="2911"/>
                </a:cubicBezTo>
                <a:cubicBezTo>
                  <a:pt x="20479" y="3743"/>
                  <a:pt x="20958" y="4708"/>
                  <a:pt x="20995" y="5706"/>
                </a:cubicBezTo>
                <a:cubicBezTo>
                  <a:pt x="21032" y="6696"/>
                  <a:pt x="20633" y="7663"/>
                  <a:pt x="20034" y="8566"/>
                </a:cubicBezTo>
                <a:cubicBezTo>
                  <a:pt x="19352" y="9594"/>
                  <a:pt x="18420" y="10534"/>
                  <a:pt x="17385" y="11416"/>
                </a:cubicBezTo>
                <a:cubicBezTo>
                  <a:pt x="16088" y="12522"/>
                  <a:pt x="14633" y="13536"/>
                  <a:pt x="13193" y="14557"/>
                </a:cubicBezTo>
                <a:cubicBezTo>
                  <a:pt x="11732" y="15593"/>
                  <a:pt x="10284" y="16637"/>
                  <a:pt x="8849" y="17689"/>
                </a:cubicBezTo>
                <a:cubicBezTo>
                  <a:pt x="8783" y="17718"/>
                  <a:pt x="8752" y="17772"/>
                  <a:pt x="8771" y="17824"/>
                </a:cubicBezTo>
                <a:cubicBezTo>
                  <a:pt x="8792" y="17880"/>
                  <a:pt x="8867" y="17919"/>
                  <a:pt x="8953" y="17919"/>
                </a:cubicBezTo>
                <a:lnTo>
                  <a:pt x="20829" y="17919"/>
                </a:lnTo>
                <a:cubicBezTo>
                  <a:pt x="21022" y="17905"/>
                  <a:pt x="21215" y="17947"/>
                  <a:pt x="21361" y="18034"/>
                </a:cubicBezTo>
                <a:cubicBezTo>
                  <a:pt x="21510" y="18123"/>
                  <a:pt x="21595" y="18250"/>
                  <a:pt x="21596" y="18384"/>
                </a:cubicBezTo>
                <a:lnTo>
                  <a:pt x="21596" y="21136"/>
                </a:lnTo>
                <a:cubicBezTo>
                  <a:pt x="21581" y="21230"/>
                  <a:pt x="21522" y="21318"/>
                  <a:pt x="21429" y="21387"/>
                </a:cubicBezTo>
                <a:cubicBezTo>
                  <a:pt x="21320" y="21470"/>
                  <a:pt x="21169" y="21522"/>
                  <a:pt x="21007" y="21534"/>
                </a:cubicBezTo>
                <a:lnTo>
                  <a:pt x="979" y="21534"/>
                </a:lnTo>
                <a:cubicBezTo>
                  <a:pt x="819" y="21547"/>
                  <a:pt x="657" y="21521"/>
                  <a:pt x="522" y="21461"/>
                </a:cubicBezTo>
                <a:cubicBezTo>
                  <a:pt x="361" y="21389"/>
                  <a:pt x="252" y="21274"/>
                  <a:pt x="222" y="21146"/>
                </a:cubicBezTo>
                <a:lnTo>
                  <a:pt x="189" y="18578"/>
                </a:lnTo>
                <a:cubicBezTo>
                  <a:pt x="178" y="18441"/>
                  <a:pt x="210" y="18305"/>
                  <a:pt x="282" y="18177"/>
                </a:cubicBezTo>
                <a:cubicBezTo>
                  <a:pt x="350" y="18057"/>
                  <a:pt x="453" y="17948"/>
                  <a:pt x="584" y="17855"/>
                </a:cubicBezTo>
                <a:lnTo>
                  <a:pt x="11394" y="10005"/>
                </a:lnTo>
                <a:cubicBezTo>
                  <a:pt x="11963" y="9497"/>
                  <a:pt x="12527" y="8986"/>
                  <a:pt x="13086" y="8472"/>
                </a:cubicBezTo>
                <a:cubicBezTo>
                  <a:pt x="13627" y="7974"/>
                  <a:pt x="14170" y="7464"/>
                  <a:pt x="14420" y="6868"/>
                </a:cubicBezTo>
                <a:cubicBezTo>
                  <a:pt x="14709" y="6181"/>
                  <a:pt x="14575" y="5464"/>
                  <a:pt x="14044" y="4885"/>
                </a:cubicBezTo>
                <a:cubicBezTo>
                  <a:pt x="13593" y="4393"/>
                  <a:pt x="12875" y="4026"/>
                  <a:pt x="12023" y="3825"/>
                </a:cubicBezTo>
                <a:cubicBezTo>
                  <a:pt x="10659" y="3503"/>
                  <a:pt x="9231" y="3631"/>
                  <a:pt x="8076" y="4087"/>
                </a:cubicBezTo>
                <a:cubicBezTo>
                  <a:pt x="7569" y="4288"/>
                  <a:pt x="7113" y="4553"/>
                  <a:pt x="6802" y="4894"/>
                </a:cubicBezTo>
                <a:cubicBezTo>
                  <a:pt x="6487" y="5241"/>
                  <a:pt x="6333" y="5657"/>
                  <a:pt x="6392" y="6090"/>
                </a:cubicBezTo>
                <a:close/>
              </a:path>
            </a:pathLst>
          </a:custGeom>
          <a:solidFill>
            <a:schemeClr val="bg1"/>
          </a:solidFill>
          <a:ln w="12700">
            <a:miter lim="400000"/>
          </a:ln>
        </p:spPr>
        <p:txBody>
          <a:bodyPr lIns="0" tIns="0" rIns="0" bIns="0" anchor="ctr"/>
          <a:lstStyle/>
          <a:p>
            <a:pPr marL="0" marR="0" lvl="0" indent="0" algn="ctr" defTabSz="412750" rtl="0" eaLnBrk="1" fontAlgn="auto" latinLnBrk="0" hangingPunct="0">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1600" b="0" i="0" u="none" strike="noStrike" kern="0" cap="none" spc="0" normalizeH="0" baseline="0" noProof="0">
              <a:ln>
                <a:noFill/>
              </a:ln>
              <a:solidFill>
                <a:srgbClr val="FFFFFF"/>
              </a:solidFill>
              <a:effectLst/>
              <a:uLnTx/>
              <a:uFillTx/>
              <a:latin typeface="HarmonyOS Sans SC"/>
              <a:cs typeface="+mn-cs"/>
              <a:sym typeface="Helvetica Neue Medium"/>
            </a:endParaRPr>
          </a:p>
        </p:txBody>
      </p:sp>
      <p:sp>
        <p:nvSpPr>
          <p:cNvPr id="23" name="Circle">
            <a:extLst>
              <a:ext uri="{FF2B5EF4-FFF2-40B4-BE49-F238E27FC236}">
                <a16:creationId xmlns:a16="http://schemas.microsoft.com/office/drawing/2014/main" id="{B13B691C-BE03-46E7-9A46-560AAD5C8481}"/>
              </a:ext>
            </a:extLst>
          </p:cNvPr>
          <p:cNvSpPr/>
          <p:nvPr/>
        </p:nvSpPr>
        <p:spPr>
          <a:xfrm>
            <a:off x="1745645" y="5171865"/>
            <a:ext cx="267120" cy="267120"/>
          </a:xfrm>
          <a:prstGeom prst="ellipse">
            <a:avLst/>
          </a:prstGeom>
          <a:solidFill>
            <a:schemeClr val="accent1">
              <a:lumMod val="20000"/>
              <a:lumOff val="80000"/>
            </a:schemeClr>
          </a:solidFill>
          <a:ln w="12700">
            <a:miter lim="400000"/>
          </a:ln>
        </p:spPr>
        <p:txBody>
          <a:bodyPr lIns="0" tIns="0" rIns="0" bIns="0" anchor="ctr"/>
          <a:lstStyle/>
          <a:p>
            <a:pPr marL="0" marR="0" lvl="0" indent="0" algn="ctr" defTabSz="412750" rtl="0" eaLnBrk="1" fontAlgn="auto" latinLnBrk="0" hangingPunct="0">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1600" b="0" i="0" u="none" strike="noStrike" kern="0" cap="none" spc="0" normalizeH="0" baseline="0" noProof="0">
              <a:ln>
                <a:noFill/>
              </a:ln>
              <a:solidFill>
                <a:srgbClr val="FFFFFF"/>
              </a:solidFill>
              <a:effectLst/>
              <a:uLnTx/>
              <a:uFillTx/>
              <a:latin typeface="HarmonyOS Sans SC"/>
              <a:cs typeface="+mn-cs"/>
              <a:sym typeface="Helvetica Neue Medium"/>
            </a:endParaRPr>
          </a:p>
        </p:txBody>
      </p:sp>
      <p:sp>
        <p:nvSpPr>
          <p:cNvPr id="24" name="Shape">
            <a:extLst>
              <a:ext uri="{FF2B5EF4-FFF2-40B4-BE49-F238E27FC236}">
                <a16:creationId xmlns:a16="http://schemas.microsoft.com/office/drawing/2014/main" id="{896AE09C-845D-4DEB-9B23-A237959CA34D}"/>
              </a:ext>
            </a:extLst>
          </p:cNvPr>
          <p:cNvSpPr/>
          <p:nvPr/>
        </p:nvSpPr>
        <p:spPr>
          <a:xfrm>
            <a:off x="1850055" y="5252796"/>
            <a:ext cx="156778" cy="174175"/>
          </a:xfrm>
          <a:custGeom>
            <a:avLst/>
            <a:gdLst/>
            <a:ahLst/>
            <a:cxnLst>
              <a:cxn ang="0">
                <a:pos x="wd2" y="hd2"/>
              </a:cxn>
              <a:cxn ang="5400000">
                <a:pos x="wd2" y="hd2"/>
              </a:cxn>
              <a:cxn ang="10800000">
                <a:pos x="wd2" y="hd2"/>
              </a:cxn>
              <a:cxn ang="16200000">
                <a:pos x="wd2" y="hd2"/>
              </a:cxn>
            </a:cxnLst>
            <a:rect l="0" t="0" r="r" b="b"/>
            <a:pathLst>
              <a:path w="21600" h="21600" extrusionOk="0">
                <a:moveTo>
                  <a:pt x="21600" y="11436"/>
                </a:moveTo>
                <a:lnTo>
                  <a:pt x="8875" y="0"/>
                </a:lnTo>
                <a:lnTo>
                  <a:pt x="0" y="2059"/>
                </a:lnTo>
                <a:lnTo>
                  <a:pt x="3454" y="5169"/>
                </a:lnTo>
                <a:lnTo>
                  <a:pt x="3192" y="6850"/>
                </a:lnTo>
                <a:lnTo>
                  <a:pt x="6750" y="10052"/>
                </a:lnTo>
                <a:lnTo>
                  <a:pt x="5490" y="11512"/>
                </a:lnTo>
                <a:lnTo>
                  <a:pt x="2410" y="8864"/>
                </a:lnTo>
                <a:lnTo>
                  <a:pt x="953" y="11886"/>
                </a:lnTo>
                <a:lnTo>
                  <a:pt x="11639" y="21600"/>
                </a:lnTo>
                <a:cubicBezTo>
                  <a:pt x="14159" y="20558"/>
                  <a:pt x="16388" y="19022"/>
                  <a:pt x="18162" y="17104"/>
                </a:cubicBezTo>
                <a:cubicBezTo>
                  <a:pt x="19707" y="15434"/>
                  <a:pt x="20875" y="13509"/>
                  <a:pt x="21600" y="11436"/>
                </a:cubicBezTo>
                <a:close/>
              </a:path>
            </a:pathLst>
          </a:custGeom>
          <a:gradFill>
            <a:gsLst>
              <a:gs pos="100000">
                <a:schemeClr val="accent1">
                  <a:lumMod val="75000"/>
                  <a:alpha val="0"/>
                </a:schemeClr>
              </a:gs>
              <a:gs pos="0">
                <a:schemeClr val="accent1">
                  <a:lumMod val="75000"/>
                  <a:alpha val="53000"/>
                </a:schemeClr>
              </a:gs>
            </a:gsLst>
            <a:path path="circle">
              <a:fillToRect r="100000" b="100000"/>
            </a:path>
          </a:gradFill>
          <a:ln w="12700">
            <a:miter lim="400000"/>
          </a:ln>
        </p:spPr>
        <p:txBody>
          <a:bodyPr lIns="0" tIns="0" rIns="0" bIns="0" anchor="ctr"/>
          <a:lstStyle/>
          <a:p>
            <a:pPr marL="0" marR="0" lvl="0" indent="0" algn="ctr" defTabSz="412750" rtl="0" eaLnBrk="1" fontAlgn="auto" latinLnBrk="0" hangingPunct="0">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FFFFF"/>
              </a:solidFill>
              <a:effectLst/>
              <a:uLnTx/>
              <a:uFillTx/>
              <a:latin typeface="HarmonyOS Sans SC"/>
              <a:cs typeface="+mn-cs"/>
              <a:sym typeface="Helvetica Neue Medium"/>
            </a:endParaRPr>
          </a:p>
        </p:txBody>
      </p:sp>
      <p:sp>
        <p:nvSpPr>
          <p:cNvPr id="25" name="Shape">
            <a:extLst>
              <a:ext uri="{FF2B5EF4-FFF2-40B4-BE49-F238E27FC236}">
                <a16:creationId xmlns:a16="http://schemas.microsoft.com/office/drawing/2014/main" id="{ABE2F63D-7FED-4B58-8A32-A6B8677D1D92}"/>
              </a:ext>
            </a:extLst>
          </p:cNvPr>
          <p:cNvSpPr/>
          <p:nvPr/>
        </p:nvSpPr>
        <p:spPr>
          <a:xfrm>
            <a:off x="1847053" y="5252109"/>
            <a:ext cx="69647" cy="106632"/>
          </a:xfrm>
          <a:custGeom>
            <a:avLst/>
            <a:gdLst/>
            <a:ahLst/>
            <a:cxnLst>
              <a:cxn ang="0">
                <a:pos x="wd2" y="hd2"/>
              </a:cxn>
              <a:cxn ang="5400000">
                <a:pos x="wd2" y="hd2"/>
              </a:cxn>
              <a:cxn ang="10800000">
                <a:pos x="wd2" y="hd2"/>
              </a:cxn>
              <a:cxn ang="16200000">
                <a:pos x="wd2" y="hd2"/>
              </a:cxn>
            </a:cxnLst>
            <a:rect l="0" t="0" r="r" b="b"/>
            <a:pathLst>
              <a:path w="21513" h="21591" extrusionOk="0">
                <a:moveTo>
                  <a:pt x="12133" y="3705"/>
                </a:moveTo>
                <a:lnTo>
                  <a:pt x="1263" y="3705"/>
                </a:lnTo>
                <a:cubicBezTo>
                  <a:pt x="1093" y="3705"/>
                  <a:pt x="928" y="3666"/>
                  <a:pt x="798" y="3594"/>
                </a:cubicBezTo>
                <a:cubicBezTo>
                  <a:pt x="678" y="3528"/>
                  <a:pt x="594" y="3438"/>
                  <a:pt x="560" y="3337"/>
                </a:cubicBezTo>
                <a:lnTo>
                  <a:pt x="560" y="514"/>
                </a:lnTo>
                <a:cubicBezTo>
                  <a:pt x="555" y="373"/>
                  <a:pt x="640" y="238"/>
                  <a:pt x="793" y="140"/>
                </a:cubicBezTo>
                <a:cubicBezTo>
                  <a:pt x="918" y="60"/>
                  <a:pt x="1081" y="11"/>
                  <a:pt x="1254" y="0"/>
                </a:cubicBezTo>
                <a:lnTo>
                  <a:pt x="20447" y="0"/>
                </a:lnTo>
                <a:cubicBezTo>
                  <a:pt x="20614" y="-2"/>
                  <a:pt x="20776" y="39"/>
                  <a:pt x="20896" y="115"/>
                </a:cubicBezTo>
                <a:cubicBezTo>
                  <a:pt x="21022" y="193"/>
                  <a:pt x="21092" y="302"/>
                  <a:pt x="21092" y="415"/>
                </a:cubicBezTo>
                <a:lnTo>
                  <a:pt x="21092" y="3562"/>
                </a:lnTo>
                <a:cubicBezTo>
                  <a:pt x="21087" y="3658"/>
                  <a:pt x="21056" y="3753"/>
                  <a:pt x="21000" y="3842"/>
                </a:cubicBezTo>
                <a:cubicBezTo>
                  <a:pt x="20947" y="3928"/>
                  <a:pt x="20871" y="4008"/>
                  <a:pt x="20776" y="4078"/>
                </a:cubicBezTo>
                <a:lnTo>
                  <a:pt x="14615" y="7758"/>
                </a:lnTo>
                <a:cubicBezTo>
                  <a:pt x="14538" y="7808"/>
                  <a:pt x="14510" y="7882"/>
                  <a:pt x="14542" y="7950"/>
                </a:cubicBezTo>
                <a:cubicBezTo>
                  <a:pt x="14567" y="8001"/>
                  <a:pt x="14623" y="8042"/>
                  <a:pt x="14697" y="8064"/>
                </a:cubicBezTo>
                <a:cubicBezTo>
                  <a:pt x="15727" y="8167"/>
                  <a:pt x="16712" y="8411"/>
                  <a:pt x="17589" y="8779"/>
                </a:cubicBezTo>
                <a:cubicBezTo>
                  <a:pt x="18597" y="9202"/>
                  <a:pt x="19434" y="9776"/>
                  <a:pt x="20059" y="10445"/>
                </a:cubicBezTo>
                <a:cubicBezTo>
                  <a:pt x="20822" y="11262"/>
                  <a:pt x="21235" y="12169"/>
                  <a:pt x="21412" y="13104"/>
                </a:cubicBezTo>
                <a:cubicBezTo>
                  <a:pt x="21588" y="14039"/>
                  <a:pt x="21528" y="15007"/>
                  <a:pt x="21273" y="15951"/>
                </a:cubicBezTo>
                <a:cubicBezTo>
                  <a:pt x="21068" y="16709"/>
                  <a:pt x="20740" y="17451"/>
                  <a:pt x="20211" y="18132"/>
                </a:cubicBezTo>
                <a:cubicBezTo>
                  <a:pt x="19696" y="18796"/>
                  <a:pt x="18997" y="19394"/>
                  <a:pt x="18143" y="19891"/>
                </a:cubicBezTo>
                <a:cubicBezTo>
                  <a:pt x="16120" y="21069"/>
                  <a:pt x="13441" y="21598"/>
                  <a:pt x="10734" y="21591"/>
                </a:cubicBezTo>
                <a:cubicBezTo>
                  <a:pt x="9081" y="21587"/>
                  <a:pt x="7448" y="21385"/>
                  <a:pt x="5977" y="20953"/>
                </a:cubicBezTo>
                <a:cubicBezTo>
                  <a:pt x="4452" y="20506"/>
                  <a:pt x="3115" y="19817"/>
                  <a:pt x="2073" y="18929"/>
                </a:cubicBezTo>
                <a:cubicBezTo>
                  <a:pt x="862" y="17895"/>
                  <a:pt x="145" y="16650"/>
                  <a:pt x="13" y="15350"/>
                </a:cubicBezTo>
                <a:lnTo>
                  <a:pt x="2" y="14852"/>
                </a:lnTo>
                <a:cubicBezTo>
                  <a:pt x="-12" y="14739"/>
                  <a:pt x="49" y="14627"/>
                  <a:pt x="170" y="14546"/>
                </a:cubicBezTo>
                <a:cubicBezTo>
                  <a:pt x="295" y="14462"/>
                  <a:pt x="469" y="14420"/>
                  <a:pt x="646" y="14429"/>
                </a:cubicBezTo>
                <a:lnTo>
                  <a:pt x="5990" y="14429"/>
                </a:lnTo>
                <a:cubicBezTo>
                  <a:pt x="6127" y="14434"/>
                  <a:pt x="6257" y="14472"/>
                  <a:pt x="6355" y="14535"/>
                </a:cubicBezTo>
                <a:cubicBezTo>
                  <a:pt x="6460" y="14603"/>
                  <a:pt x="6522" y="14695"/>
                  <a:pt x="6526" y="14791"/>
                </a:cubicBezTo>
                <a:cubicBezTo>
                  <a:pt x="6610" y="15121"/>
                  <a:pt x="6718" y="15448"/>
                  <a:pt x="6850" y="15771"/>
                </a:cubicBezTo>
                <a:cubicBezTo>
                  <a:pt x="6942" y="15998"/>
                  <a:pt x="7046" y="16223"/>
                  <a:pt x="7161" y="16445"/>
                </a:cubicBezTo>
                <a:cubicBezTo>
                  <a:pt x="7666" y="17125"/>
                  <a:pt x="8547" y="17608"/>
                  <a:pt x="9568" y="17834"/>
                </a:cubicBezTo>
                <a:cubicBezTo>
                  <a:pt x="10568" y="18055"/>
                  <a:pt x="11702" y="18029"/>
                  <a:pt x="12693" y="17662"/>
                </a:cubicBezTo>
                <a:cubicBezTo>
                  <a:pt x="14380" y="17037"/>
                  <a:pt x="14922" y="15695"/>
                  <a:pt x="14955" y="14403"/>
                </a:cubicBezTo>
                <a:cubicBezTo>
                  <a:pt x="14994" y="12890"/>
                  <a:pt x="14322" y="11313"/>
                  <a:pt x="12282" y="10703"/>
                </a:cubicBezTo>
                <a:cubicBezTo>
                  <a:pt x="11786" y="10554"/>
                  <a:pt x="11242" y="10487"/>
                  <a:pt x="10698" y="10509"/>
                </a:cubicBezTo>
                <a:cubicBezTo>
                  <a:pt x="10298" y="10525"/>
                  <a:pt x="9905" y="10589"/>
                  <a:pt x="9540" y="10698"/>
                </a:cubicBezTo>
                <a:lnTo>
                  <a:pt x="8545" y="11086"/>
                </a:lnTo>
                <a:cubicBezTo>
                  <a:pt x="8397" y="11157"/>
                  <a:pt x="8216" y="11191"/>
                  <a:pt x="8034" y="11182"/>
                </a:cubicBezTo>
                <a:cubicBezTo>
                  <a:pt x="7838" y="11172"/>
                  <a:pt x="7656" y="11114"/>
                  <a:pt x="7523" y="11019"/>
                </a:cubicBezTo>
                <a:lnTo>
                  <a:pt x="4907" y="8740"/>
                </a:lnTo>
                <a:cubicBezTo>
                  <a:pt x="4780" y="8645"/>
                  <a:pt x="4719" y="8520"/>
                  <a:pt x="4739" y="8394"/>
                </a:cubicBezTo>
                <a:cubicBezTo>
                  <a:pt x="4758" y="8276"/>
                  <a:pt x="4847" y="8168"/>
                  <a:pt x="4987" y="8092"/>
                </a:cubicBezTo>
                <a:lnTo>
                  <a:pt x="12302" y="3940"/>
                </a:lnTo>
                <a:cubicBezTo>
                  <a:pt x="12347" y="3901"/>
                  <a:pt x="12360" y="3851"/>
                  <a:pt x="12336" y="3805"/>
                </a:cubicBezTo>
                <a:cubicBezTo>
                  <a:pt x="12306" y="3747"/>
                  <a:pt x="12226" y="3707"/>
                  <a:pt x="12133" y="3705"/>
                </a:cubicBezTo>
                <a:close/>
              </a:path>
            </a:pathLst>
          </a:custGeom>
          <a:solidFill>
            <a:schemeClr val="bg1"/>
          </a:solidFill>
          <a:ln w="12700">
            <a:miter lim="400000"/>
          </a:ln>
        </p:spPr>
        <p:txBody>
          <a:bodyPr lIns="0" tIns="0" rIns="0" bIns="0" anchor="ctr"/>
          <a:lstStyle/>
          <a:p>
            <a:pPr marL="0" marR="0" lvl="0" indent="0" algn="ctr" defTabSz="412750" rtl="0" eaLnBrk="1" fontAlgn="auto" latinLnBrk="0" hangingPunct="0">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1600" b="0" i="0" u="none" strike="noStrike" kern="0" cap="none" spc="0" normalizeH="0" baseline="0" noProof="0">
              <a:ln>
                <a:noFill/>
              </a:ln>
              <a:solidFill>
                <a:srgbClr val="FFFFFF"/>
              </a:solidFill>
              <a:effectLst/>
              <a:uLnTx/>
              <a:uFillTx/>
              <a:latin typeface="HarmonyOS Sans SC"/>
              <a:cs typeface="+mn-cs"/>
              <a:sym typeface="Helvetica Neue Medium"/>
            </a:endParaRPr>
          </a:p>
        </p:txBody>
      </p:sp>
      <p:sp>
        <p:nvSpPr>
          <p:cNvPr id="26" name="Line">
            <a:extLst>
              <a:ext uri="{FF2B5EF4-FFF2-40B4-BE49-F238E27FC236}">
                <a16:creationId xmlns:a16="http://schemas.microsoft.com/office/drawing/2014/main" id="{C2801466-7FA2-4D14-963B-AB13FAB9B5BC}"/>
              </a:ext>
            </a:extLst>
          </p:cNvPr>
          <p:cNvSpPr/>
          <p:nvPr/>
        </p:nvSpPr>
        <p:spPr>
          <a:xfrm>
            <a:off x="3480546" y="1978789"/>
            <a:ext cx="522410" cy="1330135"/>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cubicBezTo>
                  <a:pt x="5872" y="3145"/>
                  <a:pt x="10687" y="6575"/>
                  <a:pt x="14327" y="10203"/>
                </a:cubicBezTo>
                <a:cubicBezTo>
                  <a:pt x="17998" y="13863"/>
                  <a:pt x="20443" y="17693"/>
                  <a:pt x="21600" y="21600"/>
                </a:cubicBezTo>
              </a:path>
            </a:pathLst>
          </a:custGeom>
          <a:ln w="25400">
            <a:gradFill>
              <a:gsLst>
                <a:gs pos="0">
                  <a:schemeClr val="accent1">
                    <a:lumMod val="60000"/>
                    <a:lumOff val="40000"/>
                    <a:alpha val="0"/>
                  </a:schemeClr>
                </a:gs>
                <a:gs pos="100000">
                  <a:schemeClr val="accent1">
                    <a:lumMod val="60000"/>
                    <a:lumOff val="40000"/>
                  </a:schemeClr>
                </a:gs>
              </a:gsLst>
              <a:lin ang="5400000" scaled="1"/>
            </a:gradFill>
            <a:custDash>
              <a:ds d="200000" sp="200000"/>
            </a:custDash>
            <a:miter lim="400000"/>
            <a:tailEnd type="triangle"/>
          </a:ln>
        </p:spPr>
        <p:txBody>
          <a:bodyPr lIns="0" tIns="0" rIns="0" bIns="0" anchor="ctr"/>
          <a:lstStyle/>
          <a:p>
            <a:pPr marL="0" marR="0" lvl="0" indent="0" algn="ctr" defTabSz="412750" rtl="0" eaLnBrk="1" fontAlgn="auto" latinLnBrk="0" hangingPunct="0">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1600" b="0" i="0" u="none" strike="noStrike" kern="0" cap="none" spc="0" normalizeH="0" baseline="0" noProof="0">
              <a:ln>
                <a:noFill/>
              </a:ln>
              <a:solidFill>
                <a:srgbClr val="FFFFFF"/>
              </a:solidFill>
              <a:effectLst/>
              <a:uLnTx/>
              <a:uFillTx/>
              <a:latin typeface="HarmonyOS Sans SC"/>
              <a:cs typeface="+mn-cs"/>
              <a:sym typeface="Helvetica Neue Medium"/>
            </a:endParaRPr>
          </a:p>
        </p:txBody>
      </p:sp>
      <p:sp>
        <p:nvSpPr>
          <p:cNvPr id="27" name="Line">
            <a:extLst>
              <a:ext uri="{FF2B5EF4-FFF2-40B4-BE49-F238E27FC236}">
                <a16:creationId xmlns:a16="http://schemas.microsoft.com/office/drawing/2014/main" id="{37F2C99F-6489-4426-A99D-138D8B894E36}"/>
              </a:ext>
            </a:extLst>
          </p:cNvPr>
          <p:cNvSpPr/>
          <p:nvPr/>
        </p:nvSpPr>
        <p:spPr>
          <a:xfrm>
            <a:off x="3553848" y="3982478"/>
            <a:ext cx="477745" cy="1413943"/>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cubicBezTo>
                  <a:pt x="20694" y="3700"/>
                  <a:pt x="18502" y="7351"/>
                  <a:pt x="15070" y="10878"/>
                </a:cubicBezTo>
                <a:cubicBezTo>
                  <a:pt x="11398" y="14652"/>
                  <a:pt x="6335" y="18254"/>
                  <a:pt x="0" y="21600"/>
                </a:cubicBezTo>
              </a:path>
            </a:pathLst>
          </a:custGeom>
          <a:ln w="25400">
            <a:gradFill>
              <a:gsLst>
                <a:gs pos="0">
                  <a:schemeClr val="accent1">
                    <a:lumMod val="60000"/>
                    <a:lumOff val="40000"/>
                    <a:alpha val="0"/>
                  </a:schemeClr>
                </a:gs>
                <a:gs pos="100000">
                  <a:schemeClr val="accent1">
                    <a:lumMod val="60000"/>
                    <a:lumOff val="40000"/>
                  </a:schemeClr>
                </a:gs>
              </a:gsLst>
              <a:lin ang="5400000" scaled="1"/>
            </a:gradFill>
            <a:custDash>
              <a:ds d="200000" sp="200000"/>
            </a:custDash>
            <a:miter lim="400000"/>
            <a:tailEnd type="triangle"/>
          </a:ln>
        </p:spPr>
        <p:txBody>
          <a:bodyPr lIns="0" tIns="0" rIns="0" bIns="0" anchor="ctr"/>
          <a:lstStyle/>
          <a:p>
            <a:pPr marL="0" marR="0" lvl="0" indent="0" algn="ctr" defTabSz="412750" rtl="0" eaLnBrk="1" fontAlgn="auto" latinLnBrk="0" hangingPunct="0">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1600" b="0" i="0" u="none" strike="noStrike" kern="0" cap="none" spc="0" normalizeH="0" baseline="0" noProof="0">
              <a:ln>
                <a:noFill/>
              </a:ln>
              <a:solidFill>
                <a:srgbClr val="FFFFFF"/>
              </a:solidFill>
              <a:effectLst/>
              <a:uLnTx/>
              <a:uFillTx/>
              <a:latin typeface="HarmonyOS Sans SC"/>
              <a:cs typeface="+mn-cs"/>
              <a:sym typeface="Helvetica Neue Medium"/>
            </a:endParaRPr>
          </a:p>
        </p:txBody>
      </p:sp>
      <p:sp>
        <p:nvSpPr>
          <p:cNvPr id="29" name="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 It was popularised in the 1960s with the release of Letraset sheets containing Lorem Ipsum passages, and more recently with desktop publishing software like Aldus PageMaker including versions of Lorem Ipsum.">
            <a:extLst>
              <a:ext uri="{FF2B5EF4-FFF2-40B4-BE49-F238E27FC236}">
                <a16:creationId xmlns:a16="http://schemas.microsoft.com/office/drawing/2014/main" id="{575AE2ED-7780-4140-B0A7-5193E96A0684}"/>
              </a:ext>
            </a:extLst>
          </p:cNvPr>
          <p:cNvSpPr txBox="1"/>
          <p:nvPr/>
        </p:nvSpPr>
        <p:spPr>
          <a:xfrm>
            <a:off x="6101376" y="2321787"/>
            <a:ext cx="4619886" cy="2341218"/>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5400" tIns="25400" rIns="25400" bIns="25400" numCol="1" anchor="t">
            <a:spAutoFit/>
          </a:bodyPr>
          <a:lstStyle>
            <a:lvl1pPr algn="l">
              <a:defRPr sz="2500" b="0">
                <a:solidFill>
                  <a:srgbClr val="9FA09E"/>
                </a:solidFill>
                <a:latin typeface="Barlow Medium"/>
                <a:ea typeface="Barlow Medium"/>
                <a:cs typeface="Barlow Medium"/>
                <a:sym typeface="Barlow Medium"/>
              </a:defRPr>
            </a:lvl1pPr>
          </a:lstStyle>
          <a:p>
            <a:pPr marL="0" marR="0" lvl="0" indent="0" algn="l" defTabSz="412750" rtl="0" eaLnBrk="1" fontAlgn="auto" latinLnBrk="0" hangingPunct="0">
              <a:lnSpc>
                <a:spcPct val="120000"/>
              </a:lnSpc>
              <a:spcBef>
                <a:spcPts val="0"/>
              </a:spcBef>
              <a:spcAft>
                <a:spcPts val="0"/>
              </a:spcAft>
              <a:buClrTx/>
              <a:buSzTx/>
              <a:buFontTx/>
              <a:buNone/>
              <a:tabLst/>
              <a:defRPr/>
            </a:pPr>
            <a:r>
              <a:rPr kumimoji="0" sz="1250" b="0" i="0" u="none" strike="noStrike" kern="0" cap="none" spc="0" normalizeH="0" baseline="0" noProof="0" dirty="0">
                <a:ln>
                  <a:noFill/>
                </a:ln>
                <a:solidFill>
                  <a:prstClr val="black">
                    <a:lumMod val="50000"/>
                    <a:lumOff val="50000"/>
                  </a:prstClr>
                </a:solidFill>
                <a:effectLst/>
                <a:uLnTx/>
                <a:uFillTx/>
                <a:latin typeface="HarmonyOS Sans SC"/>
                <a:ea typeface="+mn-ea"/>
                <a:sym typeface="Barlow Medium"/>
              </a:rPr>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 It was </a:t>
            </a:r>
            <a:r>
              <a:rPr kumimoji="0" sz="1250" b="0" i="0" u="none" strike="noStrike" kern="0" cap="none" spc="0" normalizeH="0" baseline="0" noProof="0" dirty="0" err="1">
                <a:ln>
                  <a:noFill/>
                </a:ln>
                <a:solidFill>
                  <a:prstClr val="black">
                    <a:lumMod val="50000"/>
                    <a:lumOff val="50000"/>
                  </a:prstClr>
                </a:solidFill>
                <a:effectLst/>
                <a:uLnTx/>
                <a:uFillTx/>
                <a:latin typeface="HarmonyOS Sans SC"/>
                <a:ea typeface="+mn-ea"/>
                <a:sym typeface="Barlow Medium"/>
              </a:rPr>
              <a:t>popularised</a:t>
            </a:r>
            <a:r>
              <a:rPr kumimoji="0" sz="1250" b="0" i="0" u="none" strike="noStrike" kern="0" cap="none" spc="0" normalizeH="0" baseline="0" noProof="0" dirty="0">
                <a:ln>
                  <a:noFill/>
                </a:ln>
                <a:solidFill>
                  <a:prstClr val="black">
                    <a:lumMod val="50000"/>
                    <a:lumOff val="50000"/>
                  </a:prstClr>
                </a:solidFill>
                <a:effectLst/>
                <a:uLnTx/>
                <a:uFillTx/>
                <a:latin typeface="HarmonyOS Sans SC"/>
                <a:ea typeface="+mn-ea"/>
                <a:sym typeface="Barlow Medium"/>
              </a:rPr>
              <a:t> in the 1960s with the release of </a:t>
            </a:r>
            <a:r>
              <a:rPr kumimoji="0" sz="1250" b="0" i="0" u="none" strike="noStrike" kern="0" cap="none" spc="0" normalizeH="0" baseline="0" noProof="0" dirty="0" err="1">
                <a:ln>
                  <a:noFill/>
                </a:ln>
                <a:solidFill>
                  <a:prstClr val="black">
                    <a:lumMod val="50000"/>
                    <a:lumOff val="50000"/>
                  </a:prstClr>
                </a:solidFill>
                <a:effectLst/>
                <a:uLnTx/>
                <a:uFillTx/>
                <a:latin typeface="HarmonyOS Sans SC"/>
                <a:ea typeface="+mn-ea"/>
                <a:sym typeface="Barlow Medium"/>
              </a:rPr>
              <a:t>Letraset</a:t>
            </a:r>
            <a:r>
              <a:rPr kumimoji="0" sz="1250" b="0" i="0" u="none" strike="noStrike" kern="0" cap="none" spc="0" normalizeH="0" baseline="0" noProof="0" dirty="0">
                <a:ln>
                  <a:noFill/>
                </a:ln>
                <a:solidFill>
                  <a:prstClr val="black">
                    <a:lumMod val="50000"/>
                    <a:lumOff val="50000"/>
                  </a:prstClr>
                </a:solidFill>
                <a:effectLst/>
                <a:uLnTx/>
                <a:uFillTx/>
                <a:latin typeface="HarmonyOS Sans SC"/>
                <a:ea typeface="+mn-ea"/>
                <a:sym typeface="Barlow Medium"/>
              </a:rPr>
              <a:t> sheets containing Lorem Ipsum passages, and more recently with desktop publishing software like Aldus PageMaker including versions of Lorem Ipsum.</a:t>
            </a:r>
          </a:p>
        </p:txBody>
      </p:sp>
      <p:sp>
        <p:nvSpPr>
          <p:cNvPr id="30" name="Process flow diagram">
            <a:extLst>
              <a:ext uri="{FF2B5EF4-FFF2-40B4-BE49-F238E27FC236}">
                <a16:creationId xmlns:a16="http://schemas.microsoft.com/office/drawing/2014/main" id="{17ECA72D-B56B-4F7F-8866-A5A7A03BBF54}"/>
              </a:ext>
            </a:extLst>
          </p:cNvPr>
          <p:cNvSpPr txBox="1"/>
          <p:nvPr/>
        </p:nvSpPr>
        <p:spPr>
          <a:xfrm>
            <a:off x="6096000" y="1730276"/>
            <a:ext cx="4260515" cy="405239"/>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5400" tIns="25400" rIns="25400" bIns="25400" numCol="1" anchor="t">
            <a:spAutoFit/>
          </a:bodyPr>
          <a:lstStyle>
            <a:lvl1pPr algn="l">
              <a:defRPr sz="4600" b="0">
                <a:solidFill>
                  <a:srgbClr val="535454"/>
                </a:solidFill>
                <a:latin typeface="Barlow Bold"/>
                <a:ea typeface="Barlow Bold"/>
                <a:cs typeface="Barlow Bold"/>
                <a:sym typeface="Barlow Bold"/>
              </a:defRPr>
            </a:lvl1pPr>
          </a:lstStyle>
          <a:p>
            <a:pPr marL="0" marR="0" lvl="0" indent="0" algn="l" defTabSz="412750" rtl="0" eaLnBrk="1" fontAlgn="auto" latinLnBrk="0" hangingPunct="0">
              <a:lnSpc>
                <a:spcPct val="100000"/>
              </a:lnSpc>
              <a:spcBef>
                <a:spcPts val="0"/>
              </a:spcBef>
              <a:spcAft>
                <a:spcPts val="0"/>
              </a:spcAft>
              <a:buClrTx/>
              <a:buSzTx/>
              <a:buFontTx/>
              <a:buNone/>
              <a:tabLst/>
              <a:defRPr/>
            </a:pPr>
            <a:r>
              <a:rPr kumimoji="0" sz="2300" b="0" i="0" u="none" strike="noStrike" kern="0" cap="none" spc="0" normalizeH="0" baseline="0" noProof="0" dirty="0">
                <a:ln>
                  <a:noFill/>
                </a:ln>
                <a:solidFill>
                  <a:prstClr val="black">
                    <a:lumMod val="75000"/>
                    <a:lumOff val="25000"/>
                  </a:prstClr>
                </a:solidFill>
                <a:effectLst/>
                <a:uLnTx/>
                <a:uFillTx/>
                <a:latin typeface="HarmonyOS Sans SC Black"/>
                <a:ea typeface="+mj-ea"/>
                <a:sym typeface="Barlow Bold"/>
              </a:rPr>
              <a:t>Process flow diagram</a:t>
            </a:r>
          </a:p>
        </p:txBody>
      </p:sp>
      <p:sp>
        <p:nvSpPr>
          <p:cNvPr id="32" name="Line">
            <a:extLst>
              <a:ext uri="{FF2B5EF4-FFF2-40B4-BE49-F238E27FC236}">
                <a16:creationId xmlns:a16="http://schemas.microsoft.com/office/drawing/2014/main" id="{E6AAE870-8B71-432B-A92B-C5FFC69771BB}"/>
              </a:ext>
            </a:extLst>
          </p:cNvPr>
          <p:cNvSpPr/>
          <p:nvPr/>
        </p:nvSpPr>
        <p:spPr>
          <a:xfrm>
            <a:off x="6282009" y="5288025"/>
            <a:ext cx="998383" cy="1"/>
          </a:xfrm>
          <a:prstGeom prst="line">
            <a:avLst/>
          </a:prstGeom>
          <a:ln w="25400">
            <a:gradFill>
              <a:gsLst>
                <a:gs pos="2700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0" scaled="0"/>
            </a:gradFill>
            <a:custDash>
              <a:ds d="200000" sp="200000"/>
            </a:custDash>
            <a:miter lim="400000"/>
            <a:tailEnd type="triangle"/>
          </a:ln>
        </p:spPr>
        <p:txBody>
          <a:bodyPr lIns="0" tIns="0" rIns="0" bIns="0" anchor="ctr"/>
          <a:lstStyle/>
          <a:p>
            <a:pPr marL="0" marR="0" lvl="0" indent="0" algn="ctr" defTabSz="412750" rtl="0" eaLnBrk="1" fontAlgn="auto" latinLnBrk="0" hangingPunct="0">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1600" b="0" i="0" u="none" strike="noStrike" kern="0" cap="none" spc="0" normalizeH="0" baseline="0" noProof="0">
              <a:ln>
                <a:noFill/>
              </a:ln>
              <a:solidFill>
                <a:srgbClr val="FFFFFF"/>
              </a:solidFill>
              <a:effectLst/>
              <a:uLnTx/>
              <a:uFillTx/>
              <a:latin typeface="HarmonyOS Sans SC"/>
              <a:cs typeface="+mn-cs"/>
              <a:sym typeface="Helvetica Neue Medium"/>
            </a:endParaRPr>
          </a:p>
        </p:txBody>
      </p:sp>
      <p:sp>
        <p:nvSpPr>
          <p:cNvPr id="33" name="Line">
            <a:extLst>
              <a:ext uri="{FF2B5EF4-FFF2-40B4-BE49-F238E27FC236}">
                <a16:creationId xmlns:a16="http://schemas.microsoft.com/office/drawing/2014/main" id="{73BFF6CC-1465-4C7D-88A1-56D73F39A740}"/>
              </a:ext>
            </a:extLst>
          </p:cNvPr>
          <p:cNvSpPr/>
          <p:nvPr/>
        </p:nvSpPr>
        <p:spPr>
          <a:xfrm>
            <a:off x="7483124" y="5287979"/>
            <a:ext cx="998383" cy="1"/>
          </a:xfrm>
          <a:prstGeom prst="line">
            <a:avLst/>
          </a:prstGeom>
          <a:ln w="25400">
            <a:gradFill>
              <a:gsLst>
                <a:gs pos="2700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0" scaled="0"/>
            </a:gradFill>
            <a:custDash>
              <a:ds d="200000" sp="200000"/>
            </a:custDash>
            <a:miter lim="400000"/>
            <a:tailEnd type="triangle"/>
          </a:ln>
        </p:spPr>
        <p:txBody>
          <a:bodyPr lIns="0" tIns="0" rIns="0" bIns="0" anchor="ctr"/>
          <a:lstStyle/>
          <a:p>
            <a:pPr marL="0" marR="0" lvl="0" indent="0" algn="ctr" defTabSz="412750" rtl="0" eaLnBrk="1" fontAlgn="auto" latinLnBrk="0" hangingPunct="0">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1600" b="0" i="0" u="none" strike="noStrike" kern="0" cap="none" spc="0" normalizeH="0" baseline="0" noProof="0">
              <a:ln>
                <a:noFill/>
              </a:ln>
              <a:solidFill>
                <a:srgbClr val="FFFFFF"/>
              </a:solidFill>
              <a:effectLst/>
              <a:uLnTx/>
              <a:uFillTx/>
              <a:latin typeface="HarmonyOS Sans SC"/>
              <a:cs typeface="+mn-cs"/>
              <a:sym typeface="Helvetica Neue Medium"/>
            </a:endParaRPr>
          </a:p>
        </p:txBody>
      </p:sp>
      <p:sp>
        <p:nvSpPr>
          <p:cNvPr id="34" name="Line">
            <a:extLst>
              <a:ext uri="{FF2B5EF4-FFF2-40B4-BE49-F238E27FC236}">
                <a16:creationId xmlns:a16="http://schemas.microsoft.com/office/drawing/2014/main" id="{05B373C1-6585-4E24-9214-BF175A001ED1}"/>
              </a:ext>
            </a:extLst>
          </p:cNvPr>
          <p:cNvSpPr/>
          <p:nvPr/>
        </p:nvSpPr>
        <p:spPr>
          <a:xfrm>
            <a:off x="8876221" y="5287979"/>
            <a:ext cx="998383" cy="1"/>
          </a:xfrm>
          <a:prstGeom prst="line">
            <a:avLst/>
          </a:prstGeom>
          <a:ln w="25400">
            <a:solidFill>
              <a:schemeClr val="accent1">
                <a:lumMod val="20000"/>
                <a:lumOff val="80000"/>
              </a:schemeClr>
            </a:solidFill>
            <a:custDash>
              <a:ds d="200000" sp="200000"/>
            </a:custDash>
            <a:miter lim="400000"/>
            <a:tailEnd type="triangle"/>
          </a:ln>
        </p:spPr>
        <p:txBody>
          <a:bodyPr lIns="0" tIns="0" rIns="0" bIns="0" anchor="ctr"/>
          <a:lstStyle/>
          <a:p>
            <a:pPr marL="0" marR="0" lvl="0" indent="0" algn="ctr" defTabSz="412750" rtl="0" eaLnBrk="1" fontAlgn="auto" latinLnBrk="0" hangingPunct="0">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1600" b="0" i="0" u="none" strike="noStrike" kern="0" cap="none" spc="0" normalizeH="0" baseline="0" noProof="0">
              <a:ln>
                <a:noFill/>
              </a:ln>
              <a:solidFill>
                <a:srgbClr val="FFFFFF"/>
              </a:solidFill>
              <a:effectLst/>
              <a:uLnTx/>
              <a:uFillTx/>
              <a:latin typeface="HarmonyOS Sans SC"/>
              <a:cs typeface="+mn-cs"/>
              <a:sym typeface="Helvetica Neue Medium"/>
            </a:endParaRPr>
          </a:p>
        </p:txBody>
      </p:sp>
      <p:sp>
        <p:nvSpPr>
          <p:cNvPr id="35" name="Shape">
            <a:extLst>
              <a:ext uri="{FF2B5EF4-FFF2-40B4-BE49-F238E27FC236}">
                <a16:creationId xmlns:a16="http://schemas.microsoft.com/office/drawing/2014/main" id="{91FDEE91-320C-4D1F-8E2C-39D74B5C3C83}"/>
              </a:ext>
            </a:extLst>
          </p:cNvPr>
          <p:cNvSpPr/>
          <p:nvPr/>
        </p:nvSpPr>
        <p:spPr>
          <a:xfrm>
            <a:off x="8568921" y="4992486"/>
            <a:ext cx="591029" cy="590987"/>
          </a:xfrm>
          <a:custGeom>
            <a:avLst/>
            <a:gdLst/>
            <a:ahLst/>
            <a:cxnLst>
              <a:cxn ang="0">
                <a:pos x="wd2" y="hd2"/>
              </a:cxn>
              <a:cxn ang="5400000">
                <a:pos x="wd2" y="hd2"/>
              </a:cxn>
              <a:cxn ang="10800000">
                <a:pos x="wd2" y="hd2"/>
              </a:cxn>
              <a:cxn ang="16200000">
                <a:pos x="wd2" y="hd2"/>
              </a:cxn>
            </a:cxnLst>
            <a:rect l="0" t="0" r="r" b="b"/>
            <a:pathLst>
              <a:path w="19679" h="20595" extrusionOk="0">
                <a:moveTo>
                  <a:pt x="9839" y="0"/>
                </a:moveTo>
                <a:cubicBezTo>
                  <a:pt x="7321" y="0"/>
                  <a:pt x="4803" y="1004"/>
                  <a:pt x="2882" y="3015"/>
                </a:cubicBezTo>
                <a:cubicBezTo>
                  <a:pt x="-961" y="7037"/>
                  <a:pt x="-961" y="13556"/>
                  <a:pt x="2882" y="17578"/>
                </a:cubicBezTo>
                <a:cubicBezTo>
                  <a:pt x="6724" y="21600"/>
                  <a:pt x="12954" y="21600"/>
                  <a:pt x="16796" y="17578"/>
                </a:cubicBezTo>
                <a:cubicBezTo>
                  <a:pt x="20639" y="13556"/>
                  <a:pt x="20639" y="7037"/>
                  <a:pt x="16796" y="3015"/>
                </a:cubicBezTo>
                <a:cubicBezTo>
                  <a:pt x="14875" y="1004"/>
                  <a:pt x="12357" y="0"/>
                  <a:pt x="9839" y="0"/>
                </a:cubicBezTo>
                <a:close/>
                <a:moveTo>
                  <a:pt x="9872" y="3056"/>
                </a:moveTo>
                <a:cubicBezTo>
                  <a:pt x="11644" y="3056"/>
                  <a:pt x="13416" y="3758"/>
                  <a:pt x="14768" y="5172"/>
                </a:cubicBezTo>
                <a:cubicBezTo>
                  <a:pt x="17471" y="8002"/>
                  <a:pt x="17471" y="12591"/>
                  <a:pt x="14768" y="15421"/>
                </a:cubicBezTo>
                <a:cubicBezTo>
                  <a:pt x="12065" y="18250"/>
                  <a:pt x="7680" y="18250"/>
                  <a:pt x="4976" y="15421"/>
                </a:cubicBezTo>
                <a:cubicBezTo>
                  <a:pt x="2273" y="12591"/>
                  <a:pt x="2273" y="8002"/>
                  <a:pt x="4976" y="5172"/>
                </a:cubicBezTo>
                <a:cubicBezTo>
                  <a:pt x="6328" y="3758"/>
                  <a:pt x="8100" y="3056"/>
                  <a:pt x="9872" y="3056"/>
                </a:cubicBezTo>
                <a:close/>
              </a:path>
            </a:pathLst>
          </a:custGeom>
          <a:gradFill>
            <a:gsLst>
              <a:gs pos="73000">
                <a:schemeClr val="accent1"/>
              </a:gs>
              <a:gs pos="31000">
                <a:schemeClr val="accent1">
                  <a:lumMod val="60000"/>
                  <a:lumOff val="40000"/>
                </a:schemeClr>
              </a:gs>
              <a:gs pos="0">
                <a:schemeClr val="accent1">
                  <a:lumMod val="40000"/>
                  <a:lumOff val="60000"/>
                </a:schemeClr>
              </a:gs>
            </a:gsLst>
            <a:path path="circle">
              <a:fillToRect r="100000" b="100000"/>
            </a:path>
          </a:gradFill>
          <a:ln w="12700">
            <a:miter lim="400000"/>
          </a:ln>
        </p:spPr>
        <p:txBody>
          <a:bodyPr lIns="0" tIns="0" rIns="0" bIns="0" anchor="ctr"/>
          <a:lstStyle/>
          <a:p>
            <a:pPr marL="0" marR="0" lvl="0" indent="0" algn="ctr" defTabSz="412750" rtl="0" eaLnBrk="1" fontAlgn="auto" latinLnBrk="0" hangingPunct="0">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1600" b="0" i="0" u="none" strike="noStrike" kern="0" cap="none" spc="0" normalizeH="0" baseline="0" noProof="0">
              <a:ln>
                <a:noFill/>
              </a:ln>
              <a:solidFill>
                <a:srgbClr val="FFFFFF"/>
              </a:solidFill>
              <a:effectLst/>
              <a:uLnTx/>
              <a:uFillTx/>
              <a:latin typeface="HarmonyOS Sans SC"/>
              <a:cs typeface="+mn-cs"/>
              <a:sym typeface="Helvetica Neue Medium"/>
            </a:endParaRPr>
          </a:p>
        </p:txBody>
      </p:sp>
      <p:sp>
        <p:nvSpPr>
          <p:cNvPr id="36" name="Finish">
            <a:extLst>
              <a:ext uri="{FF2B5EF4-FFF2-40B4-BE49-F238E27FC236}">
                <a16:creationId xmlns:a16="http://schemas.microsoft.com/office/drawing/2014/main" id="{56A3A45F-CD04-41F8-89F2-D39DA217E5B0}"/>
              </a:ext>
            </a:extLst>
          </p:cNvPr>
          <p:cNvSpPr txBox="1"/>
          <p:nvPr/>
        </p:nvSpPr>
        <p:spPr>
          <a:xfrm>
            <a:off x="9900075" y="5153629"/>
            <a:ext cx="539047" cy="24365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25400" tIns="25400" rIns="25400" bIns="25400">
            <a:spAutoFit/>
          </a:bodyPr>
          <a:lstStyle>
            <a:lvl1pPr algn="r">
              <a:defRPr sz="2500" b="0">
                <a:solidFill>
                  <a:srgbClr val="545453"/>
                </a:solidFill>
                <a:latin typeface="Barlow SemiBold"/>
                <a:ea typeface="Barlow SemiBold"/>
                <a:cs typeface="Barlow SemiBold"/>
                <a:sym typeface="Barlow SemiBold"/>
              </a:defRPr>
            </a:lvl1pPr>
          </a:lstStyle>
          <a:p>
            <a:pPr marL="0" marR="0" lvl="0" indent="0" algn="r" defTabSz="412750" rtl="0" eaLnBrk="1" fontAlgn="auto" latinLnBrk="0" hangingPunct="0">
              <a:lnSpc>
                <a:spcPct val="100000"/>
              </a:lnSpc>
              <a:spcBef>
                <a:spcPts val="0"/>
              </a:spcBef>
              <a:spcAft>
                <a:spcPts val="0"/>
              </a:spcAft>
              <a:buClrTx/>
              <a:buSzTx/>
              <a:buFontTx/>
              <a:buNone/>
              <a:tabLst/>
              <a:defRPr/>
            </a:pPr>
            <a:r>
              <a:rPr kumimoji="0" sz="1250" b="0" i="0" u="none" strike="noStrike" kern="0" cap="none" spc="0" normalizeH="0" baseline="0" noProof="0" dirty="0">
                <a:ln>
                  <a:noFill/>
                </a:ln>
                <a:solidFill>
                  <a:prstClr val="black">
                    <a:lumMod val="75000"/>
                    <a:lumOff val="25000"/>
                  </a:prstClr>
                </a:solidFill>
                <a:effectLst/>
                <a:uLnTx/>
                <a:uFillTx/>
                <a:latin typeface="HarmonyOS Sans SC Black"/>
                <a:ea typeface="+mj-ea"/>
                <a:sym typeface="Barlow SemiBold"/>
              </a:rPr>
              <a:t>Finish</a:t>
            </a:r>
          </a:p>
        </p:txBody>
      </p:sp>
      <p:sp>
        <p:nvSpPr>
          <p:cNvPr id="37" name="Circle">
            <a:extLst>
              <a:ext uri="{FF2B5EF4-FFF2-40B4-BE49-F238E27FC236}">
                <a16:creationId xmlns:a16="http://schemas.microsoft.com/office/drawing/2014/main" id="{544F4A7F-B5C5-43FF-B9C8-10322797451B}"/>
              </a:ext>
            </a:extLst>
          </p:cNvPr>
          <p:cNvSpPr/>
          <p:nvPr/>
        </p:nvSpPr>
        <p:spPr>
          <a:xfrm>
            <a:off x="6112448" y="5146365"/>
            <a:ext cx="283321" cy="283321"/>
          </a:xfrm>
          <a:prstGeom prst="ellipse">
            <a:avLst/>
          </a:prstGeom>
          <a:gradFill>
            <a:gsLst>
              <a:gs pos="73000">
                <a:schemeClr val="accent1"/>
              </a:gs>
              <a:gs pos="31000">
                <a:schemeClr val="accent1">
                  <a:lumMod val="60000"/>
                  <a:lumOff val="40000"/>
                </a:schemeClr>
              </a:gs>
              <a:gs pos="0">
                <a:schemeClr val="accent1">
                  <a:lumMod val="40000"/>
                  <a:lumOff val="60000"/>
                </a:schemeClr>
              </a:gs>
            </a:gsLst>
            <a:path path="circle">
              <a:fillToRect r="100000" b="100000"/>
            </a:path>
          </a:gradFill>
          <a:ln>
            <a:noFill/>
          </a:ln>
          <a:effectLst>
            <a:outerShdw blurRad="444500" dist="317500" dir="5400000" sx="92000" sy="92000" algn="t" rotWithShape="0">
              <a:schemeClr val="accent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white"/>
              </a:solidFill>
              <a:effectLst/>
              <a:uLnTx/>
              <a:uFillTx/>
              <a:latin typeface="HarmonyOS Sans SC"/>
              <a:cs typeface="+mn-cs"/>
              <a:sym typeface="Helvetica Neue Medium"/>
            </a:endParaRPr>
          </a:p>
        </p:txBody>
      </p:sp>
      <p:sp>
        <p:nvSpPr>
          <p:cNvPr id="38" name="Shape">
            <a:extLst>
              <a:ext uri="{FF2B5EF4-FFF2-40B4-BE49-F238E27FC236}">
                <a16:creationId xmlns:a16="http://schemas.microsoft.com/office/drawing/2014/main" id="{B2BC22E6-65AA-442A-97AC-687375D492F5}"/>
              </a:ext>
            </a:extLst>
          </p:cNvPr>
          <p:cNvSpPr/>
          <p:nvPr/>
        </p:nvSpPr>
        <p:spPr>
          <a:xfrm>
            <a:off x="6231704" y="5229817"/>
            <a:ext cx="152546" cy="182297"/>
          </a:xfrm>
          <a:custGeom>
            <a:avLst/>
            <a:gdLst/>
            <a:ahLst/>
            <a:cxnLst>
              <a:cxn ang="0">
                <a:pos x="wd2" y="hd2"/>
              </a:cxn>
              <a:cxn ang="5400000">
                <a:pos x="wd2" y="hd2"/>
              </a:cxn>
              <a:cxn ang="10800000">
                <a:pos x="wd2" y="hd2"/>
              </a:cxn>
              <a:cxn ang="16200000">
                <a:pos x="wd2" y="hd2"/>
              </a:cxn>
            </a:cxnLst>
            <a:rect l="0" t="0" r="r" b="b"/>
            <a:pathLst>
              <a:path w="21600" h="21600" extrusionOk="0">
                <a:moveTo>
                  <a:pt x="21600" y="13450"/>
                </a:moveTo>
                <a:lnTo>
                  <a:pt x="5480" y="0"/>
                </a:lnTo>
                <a:lnTo>
                  <a:pt x="0" y="2690"/>
                </a:lnTo>
                <a:lnTo>
                  <a:pt x="2959" y="5156"/>
                </a:lnTo>
                <a:lnTo>
                  <a:pt x="2623" y="13045"/>
                </a:lnTo>
                <a:lnTo>
                  <a:pt x="12823" y="21600"/>
                </a:lnTo>
                <a:cubicBezTo>
                  <a:pt x="14999" y="20620"/>
                  <a:pt x="16932" y="19301"/>
                  <a:pt x="18520" y="17716"/>
                </a:cubicBezTo>
                <a:cubicBezTo>
                  <a:pt x="19802" y="16435"/>
                  <a:pt x="20841" y="14996"/>
                  <a:pt x="21600" y="13450"/>
                </a:cubicBezTo>
                <a:close/>
              </a:path>
            </a:pathLst>
          </a:custGeom>
          <a:gradFill>
            <a:gsLst>
              <a:gs pos="100000">
                <a:schemeClr val="accent1">
                  <a:lumMod val="75000"/>
                  <a:alpha val="0"/>
                </a:schemeClr>
              </a:gs>
              <a:gs pos="0">
                <a:schemeClr val="accent1">
                  <a:lumMod val="75000"/>
                </a:schemeClr>
              </a:gs>
            </a:gsLst>
            <a:path path="circle">
              <a:fillToRect r="100000" b="100000"/>
            </a:path>
          </a:gradFill>
          <a:ln w="12700">
            <a:miter lim="400000"/>
          </a:ln>
        </p:spPr>
        <p:txBody>
          <a:bodyPr lIns="0" tIns="0" rIns="0" bIns="0" anchor="ctr"/>
          <a:lstStyle/>
          <a:p>
            <a:pPr marL="0" marR="0" lvl="0" indent="0" algn="ctr" defTabSz="412750" rtl="0" eaLnBrk="1" fontAlgn="auto" latinLnBrk="0" hangingPunct="0">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1600" b="0" i="0" u="none" strike="noStrike" kern="0" cap="none" spc="0" normalizeH="0" baseline="0" noProof="0">
              <a:ln>
                <a:noFill/>
              </a:ln>
              <a:solidFill>
                <a:srgbClr val="FFFFFF"/>
              </a:solidFill>
              <a:effectLst/>
              <a:uLnTx/>
              <a:uFillTx/>
              <a:latin typeface="HarmonyOS Sans SC"/>
              <a:cs typeface="+mn-cs"/>
              <a:sym typeface="Helvetica Neue Medium"/>
            </a:endParaRPr>
          </a:p>
        </p:txBody>
      </p:sp>
      <p:sp>
        <p:nvSpPr>
          <p:cNvPr id="39" name="Shape">
            <a:extLst>
              <a:ext uri="{FF2B5EF4-FFF2-40B4-BE49-F238E27FC236}">
                <a16:creationId xmlns:a16="http://schemas.microsoft.com/office/drawing/2014/main" id="{09F34C77-DF43-42F4-98DD-D53BFB6961CA}"/>
              </a:ext>
            </a:extLst>
          </p:cNvPr>
          <p:cNvSpPr/>
          <p:nvPr/>
        </p:nvSpPr>
        <p:spPr>
          <a:xfrm>
            <a:off x="6230911" y="5229504"/>
            <a:ext cx="40730" cy="111376"/>
          </a:xfrm>
          <a:custGeom>
            <a:avLst/>
            <a:gdLst/>
            <a:ahLst/>
            <a:cxnLst>
              <a:cxn ang="0">
                <a:pos x="wd2" y="hd2"/>
              </a:cxn>
              <a:cxn ang="5400000">
                <a:pos x="wd2" y="hd2"/>
              </a:cxn>
              <a:cxn ang="10800000">
                <a:pos x="wd2" y="hd2"/>
              </a:cxn>
              <a:cxn ang="16200000">
                <a:pos x="wd2" y="hd2"/>
              </a:cxn>
            </a:cxnLst>
            <a:rect l="0" t="0" r="r" b="b"/>
            <a:pathLst>
              <a:path w="21599" h="21584" extrusionOk="0">
                <a:moveTo>
                  <a:pt x="0" y="1732"/>
                </a:moveTo>
                <a:cubicBezTo>
                  <a:pt x="-1" y="1616"/>
                  <a:pt x="100" y="1502"/>
                  <a:pt x="287" y="1407"/>
                </a:cubicBezTo>
                <a:cubicBezTo>
                  <a:pt x="489" y="1306"/>
                  <a:pt x="779" y="1232"/>
                  <a:pt x="1111" y="1198"/>
                </a:cubicBezTo>
                <a:lnTo>
                  <a:pt x="8348" y="207"/>
                </a:lnTo>
                <a:cubicBezTo>
                  <a:pt x="8705" y="144"/>
                  <a:pt x="9079" y="94"/>
                  <a:pt x="9464" y="60"/>
                </a:cubicBezTo>
                <a:cubicBezTo>
                  <a:pt x="9886" y="22"/>
                  <a:pt x="10318" y="2"/>
                  <a:pt x="10752" y="1"/>
                </a:cubicBezTo>
                <a:lnTo>
                  <a:pt x="20274" y="1"/>
                </a:lnTo>
                <a:cubicBezTo>
                  <a:pt x="20690" y="-10"/>
                  <a:pt x="21092" y="58"/>
                  <a:pt x="21339" y="180"/>
                </a:cubicBezTo>
                <a:cubicBezTo>
                  <a:pt x="21513" y="267"/>
                  <a:pt x="21593" y="374"/>
                  <a:pt x="21563" y="480"/>
                </a:cubicBezTo>
                <a:lnTo>
                  <a:pt x="21599" y="21163"/>
                </a:lnTo>
                <a:cubicBezTo>
                  <a:pt x="21587" y="21270"/>
                  <a:pt x="21469" y="21371"/>
                  <a:pt x="21266" y="21448"/>
                </a:cubicBezTo>
                <a:cubicBezTo>
                  <a:pt x="21024" y="21540"/>
                  <a:pt x="20684" y="21590"/>
                  <a:pt x="20334" y="21584"/>
                </a:cubicBezTo>
                <a:lnTo>
                  <a:pt x="11015" y="21584"/>
                </a:lnTo>
                <a:cubicBezTo>
                  <a:pt x="10657" y="21590"/>
                  <a:pt x="10311" y="21537"/>
                  <a:pt x="10072" y="21440"/>
                </a:cubicBezTo>
                <a:cubicBezTo>
                  <a:pt x="9891" y="21367"/>
                  <a:pt x="9785" y="21273"/>
                  <a:pt x="9771" y="21174"/>
                </a:cubicBezTo>
                <a:lnTo>
                  <a:pt x="9636" y="4253"/>
                </a:lnTo>
                <a:cubicBezTo>
                  <a:pt x="9639" y="4193"/>
                  <a:pt x="9570" y="4136"/>
                  <a:pt x="9447" y="4098"/>
                </a:cubicBezTo>
                <a:cubicBezTo>
                  <a:pt x="9286" y="4047"/>
                  <a:pt x="9059" y="4034"/>
                  <a:pt x="8864" y="4064"/>
                </a:cubicBezTo>
                <a:lnTo>
                  <a:pt x="1543" y="4572"/>
                </a:lnTo>
                <a:cubicBezTo>
                  <a:pt x="1228" y="4613"/>
                  <a:pt x="880" y="4601"/>
                  <a:pt x="591" y="4541"/>
                </a:cubicBezTo>
                <a:cubicBezTo>
                  <a:pt x="265" y="4472"/>
                  <a:pt x="51" y="4349"/>
                  <a:pt x="19" y="4212"/>
                </a:cubicBezTo>
                <a:lnTo>
                  <a:pt x="0" y="1732"/>
                </a:lnTo>
                <a:close/>
              </a:path>
            </a:pathLst>
          </a:custGeom>
          <a:solidFill>
            <a:srgbClr val="F6F6F7"/>
          </a:solidFill>
          <a:ln w="12700">
            <a:miter lim="400000"/>
          </a:ln>
        </p:spPr>
        <p:txBody>
          <a:bodyPr lIns="0" tIns="0" rIns="0" bIns="0" anchor="ctr"/>
          <a:lstStyle/>
          <a:p>
            <a:pPr marL="0" marR="0" lvl="0" indent="0" algn="ctr" defTabSz="412750" rtl="0" eaLnBrk="1" fontAlgn="auto" latinLnBrk="0" hangingPunct="0">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1600" b="0" i="0" u="none" strike="noStrike" kern="0" cap="none" spc="0" normalizeH="0" baseline="0" noProof="0">
              <a:ln>
                <a:noFill/>
              </a:ln>
              <a:solidFill>
                <a:srgbClr val="FFFFFF"/>
              </a:solidFill>
              <a:effectLst/>
              <a:uLnTx/>
              <a:uFillTx/>
              <a:latin typeface="HarmonyOS Sans SC"/>
              <a:cs typeface="+mn-cs"/>
              <a:sym typeface="Helvetica Neue Medium"/>
            </a:endParaRPr>
          </a:p>
        </p:txBody>
      </p:sp>
      <p:sp>
        <p:nvSpPr>
          <p:cNvPr id="40" name="Circle">
            <a:extLst>
              <a:ext uri="{FF2B5EF4-FFF2-40B4-BE49-F238E27FC236}">
                <a16:creationId xmlns:a16="http://schemas.microsoft.com/office/drawing/2014/main" id="{9425122C-E992-4B09-A20F-6F2F552A437E}"/>
              </a:ext>
            </a:extLst>
          </p:cNvPr>
          <p:cNvSpPr/>
          <p:nvPr/>
        </p:nvSpPr>
        <p:spPr>
          <a:xfrm>
            <a:off x="7417612" y="5146365"/>
            <a:ext cx="283321" cy="283321"/>
          </a:xfrm>
          <a:prstGeom prst="ellipse">
            <a:avLst/>
          </a:prstGeom>
          <a:gradFill>
            <a:gsLst>
              <a:gs pos="73000">
                <a:schemeClr val="accent1"/>
              </a:gs>
              <a:gs pos="31000">
                <a:schemeClr val="accent1">
                  <a:lumMod val="60000"/>
                  <a:lumOff val="40000"/>
                </a:schemeClr>
              </a:gs>
              <a:gs pos="0">
                <a:schemeClr val="accent1">
                  <a:lumMod val="40000"/>
                  <a:lumOff val="60000"/>
                </a:schemeClr>
              </a:gs>
            </a:gsLst>
            <a:path path="circle">
              <a:fillToRect r="100000" b="100000"/>
            </a:path>
          </a:gradFill>
          <a:ln>
            <a:noFill/>
          </a:ln>
          <a:effectLst>
            <a:outerShdw blurRad="444500" dist="317500" dir="5400000" sx="92000" sy="92000" algn="t" rotWithShape="0">
              <a:schemeClr val="accent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white"/>
              </a:solidFill>
              <a:effectLst/>
              <a:uLnTx/>
              <a:uFillTx/>
              <a:latin typeface="HarmonyOS Sans SC"/>
              <a:cs typeface="+mn-cs"/>
              <a:sym typeface="Helvetica Neue Medium"/>
            </a:endParaRPr>
          </a:p>
        </p:txBody>
      </p:sp>
      <p:sp>
        <p:nvSpPr>
          <p:cNvPr id="41" name="Shape">
            <a:extLst>
              <a:ext uri="{FF2B5EF4-FFF2-40B4-BE49-F238E27FC236}">
                <a16:creationId xmlns:a16="http://schemas.microsoft.com/office/drawing/2014/main" id="{0C9A8993-F650-4F7D-85CA-A1D735D24D2F}"/>
              </a:ext>
            </a:extLst>
          </p:cNvPr>
          <p:cNvSpPr/>
          <p:nvPr/>
        </p:nvSpPr>
        <p:spPr>
          <a:xfrm>
            <a:off x="7524698" y="5233693"/>
            <a:ext cx="167659" cy="186649"/>
          </a:xfrm>
          <a:custGeom>
            <a:avLst/>
            <a:gdLst/>
            <a:ahLst/>
            <a:cxnLst>
              <a:cxn ang="0">
                <a:pos x="wd2" y="hd2"/>
              </a:cxn>
              <a:cxn ang="5400000">
                <a:pos x="wd2" y="hd2"/>
              </a:cxn>
              <a:cxn ang="10800000">
                <a:pos x="wd2" y="hd2"/>
              </a:cxn>
              <a:cxn ang="16200000">
                <a:pos x="wd2" y="hd2"/>
              </a:cxn>
            </a:cxnLst>
            <a:rect l="0" t="0" r="r" b="b"/>
            <a:pathLst>
              <a:path w="21600" h="21600" extrusionOk="0">
                <a:moveTo>
                  <a:pt x="21600" y="11901"/>
                </a:moveTo>
                <a:lnTo>
                  <a:pt x="8288" y="0"/>
                </a:lnTo>
                <a:lnTo>
                  <a:pt x="2509" y="135"/>
                </a:lnTo>
                <a:lnTo>
                  <a:pt x="0" y="3119"/>
                </a:lnTo>
                <a:lnTo>
                  <a:pt x="4283" y="7078"/>
                </a:lnTo>
                <a:lnTo>
                  <a:pt x="102" y="11743"/>
                </a:lnTo>
                <a:lnTo>
                  <a:pt x="11001" y="21600"/>
                </a:lnTo>
                <a:cubicBezTo>
                  <a:pt x="13575" y="20713"/>
                  <a:pt x="15892" y="19313"/>
                  <a:pt x="17776" y="17505"/>
                </a:cubicBezTo>
                <a:cubicBezTo>
                  <a:pt x="19460" y="15889"/>
                  <a:pt x="20761" y="13982"/>
                  <a:pt x="21600" y="11901"/>
                </a:cubicBezTo>
                <a:close/>
              </a:path>
            </a:pathLst>
          </a:custGeom>
          <a:gradFill>
            <a:gsLst>
              <a:gs pos="100000">
                <a:schemeClr val="accent1">
                  <a:lumMod val="75000"/>
                  <a:alpha val="0"/>
                </a:schemeClr>
              </a:gs>
              <a:gs pos="0">
                <a:schemeClr val="accent1">
                  <a:lumMod val="75000"/>
                </a:schemeClr>
              </a:gs>
            </a:gsLst>
            <a:path path="circle">
              <a:fillToRect r="100000" b="100000"/>
            </a:path>
          </a:gradFill>
          <a:ln w="12700">
            <a:miter lim="400000"/>
          </a:ln>
        </p:spPr>
        <p:txBody>
          <a:bodyPr lIns="0" tIns="0" rIns="0" bIns="0" anchor="ctr"/>
          <a:lstStyle/>
          <a:p>
            <a:pPr marL="0" marR="0" lvl="0" indent="0" algn="ctr" defTabSz="412750" rtl="0" eaLnBrk="1" fontAlgn="auto" latinLnBrk="0" hangingPunct="0">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1600" b="0" i="0" u="none" strike="noStrike" kern="0" cap="none" spc="0" normalizeH="0" baseline="0" noProof="0">
              <a:ln>
                <a:noFill/>
              </a:ln>
              <a:solidFill>
                <a:srgbClr val="FFFFFF"/>
              </a:solidFill>
              <a:effectLst/>
              <a:uLnTx/>
              <a:uFillTx/>
              <a:latin typeface="HarmonyOS Sans SC"/>
              <a:cs typeface="+mn-cs"/>
              <a:sym typeface="Helvetica Neue Medium"/>
            </a:endParaRPr>
          </a:p>
        </p:txBody>
      </p:sp>
      <p:sp>
        <p:nvSpPr>
          <p:cNvPr id="42" name="Shape">
            <a:extLst>
              <a:ext uri="{FF2B5EF4-FFF2-40B4-BE49-F238E27FC236}">
                <a16:creationId xmlns:a16="http://schemas.microsoft.com/office/drawing/2014/main" id="{762C0969-96BE-4EF8-821A-90D8B739B36C}"/>
              </a:ext>
            </a:extLst>
          </p:cNvPr>
          <p:cNvSpPr/>
          <p:nvPr/>
        </p:nvSpPr>
        <p:spPr>
          <a:xfrm>
            <a:off x="7523928" y="5223166"/>
            <a:ext cx="76354" cy="112719"/>
          </a:xfrm>
          <a:custGeom>
            <a:avLst/>
            <a:gdLst/>
            <a:ahLst/>
            <a:cxnLst>
              <a:cxn ang="0">
                <a:pos x="wd2" y="hd2"/>
              </a:cxn>
              <a:cxn ang="5400000">
                <a:pos x="wd2" y="hd2"/>
              </a:cxn>
              <a:cxn ang="10800000">
                <a:pos x="wd2" y="hd2"/>
              </a:cxn>
              <a:cxn ang="16200000">
                <a:pos x="wd2" y="hd2"/>
              </a:cxn>
            </a:cxnLst>
            <a:rect l="0" t="0" r="r" b="b"/>
            <a:pathLst>
              <a:path w="21596" h="21538" extrusionOk="0">
                <a:moveTo>
                  <a:pt x="6392" y="6090"/>
                </a:moveTo>
                <a:lnTo>
                  <a:pt x="6392" y="6882"/>
                </a:lnTo>
                <a:cubicBezTo>
                  <a:pt x="6396" y="6960"/>
                  <a:pt x="6364" y="7038"/>
                  <a:pt x="6299" y="7103"/>
                </a:cubicBezTo>
                <a:cubicBezTo>
                  <a:pt x="6199" y="7203"/>
                  <a:pt x="6036" y="7265"/>
                  <a:pt x="5859" y="7271"/>
                </a:cubicBezTo>
                <a:lnTo>
                  <a:pt x="664" y="7276"/>
                </a:lnTo>
                <a:cubicBezTo>
                  <a:pt x="513" y="7279"/>
                  <a:pt x="364" y="7246"/>
                  <a:pt x="246" y="7182"/>
                </a:cubicBezTo>
                <a:cubicBezTo>
                  <a:pt x="87" y="7096"/>
                  <a:pt x="-4" y="6966"/>
                  <a:pt x="0" y="6829"/>
                </a:cubicBezTo>
                <a:lnTo>
                  <a:pt x="0" y="5619"/>
                </a:lnTo>
                <a:cubicBezTo>
                  <a:pt x="70" y="4333"/>
                  <a:pt x="814" y="3104"/>
                  <a:pt x="2100" y="2154"/>
                </a:cubicBezTo>
                <a:cubicBezTo>
                  <a:pt x="3421" y="1178"/>
                  <a:pt x="5208" y="568"/>
                  <a:pt x="7110" y="255"/>
                </a:cubicBezTo>
                <a:cubicBezTo>
                  <a:pt x="8638" y="4"/>
                  <a:pt x="10219" y="-53"/>
                  <a:pt x="11785" y="45"/>
                </a:cubicBezTo>
                <a:cubicBezTo>
                  <a:pt x="13407" y="147"/>
                  <a:pt x="15006" y="416"/>
                  <a:pt x="16439" y="941"/>
                </a:cubicBezTo>
                <a:cubicBezTo>
                  <a:pt x="17732" y="1414"/>
                  <a:pt x="18850" y="2083"/>
                  <a:pt x="19663" y="2911"/>
                </a:cubicBezTo>
                <a:cubicBezTo>
                  <a:pt x="20479" y="3743"/>
                  <a:pt x="20958" y="4708"/>
                  <a:pt x="20995" y="5706"/>
                </a:cubicBezTo>
                <a:cubicBezTo>
                  <a:pt x="21032" y="6696"/>
                  <a:pt x="20633" y="7663"/>
                  <a:pt x="20034" y="8566"/>
                </a:cubicBezTo>
                <a:cubicBezTo>
                  <a:pt x="19352" y="9594"/>
                  <a:pt x="18420" y="10534"/>
                  <a:pt x="17385" y="11416"/>
                </a:cubicBezTo>
                <a:cubicBezTo>
                  <a:pt x="16088" y="12522"/>
                  <a:pt x="14633" y="13536"/>
                  <a:pt x="13193" y="14557"/>
                </a:cubicBezTo>
                <a:cubicBezTo>
                  <a:pt x="11732" y="15593"/>
                  <a:pt x="10284" y="16637"/>
                  <a:pt x="8849" y="17689"/>
                </a:cubicBezTo>
                <a:cubicBezTo>
                  <a:pt x="8783" y="17718"/>
                  <a:pt x="8752" y="17772"/>
                  <a:pt x="8771" y="17824"/>
                </a:cubicBezTo>
                <a:cubicBezTo>
                  <a:pt x="8792" y="17880"/>
                  <a:pt x="8867" y="17919"/>
                  <a:pt x="8953" y="17919"/>
                </a:cubicBezTo>
                <a:lnTo>
                  <a:pt x="20829" y="17919"/>
                </a:lnTo>
                <a:cubicBezTo>
                  <a:pt x="21022" y="17905"/>
                  <a:pt x="21215" y="17947"/>
                  <a:pt x="21361" y="18034"/>
                </a:cubicBezTo>
                <a:cubicBezTo>
                  <a:pt x="21510" y="18123"/>
                  <a:pt x="21595" y="18250"/>
                  <a:pt x="21596" y="18384"/>
                </a:cubicBezTo>
                <a:lnTo>
                  <a:pt x="21596" y="21136"/>
                </a:lnTo>
                <a:cubicBezTo>
                  <a:pt x="21581" y="21230"/>
                  <a:pt x="21522" y="21318"/>
                  <a:pt x="21429" y="21387"/>
                </a:cubicBezTo>
                <a:cubicBezTo>
                  <a:pt x="21320" y="21470"/>
                  <a:pt x="21169" y="21522"/>
                  <a:pt x="21007" y="21534"/>
                </a:cubicBezTo>
                <a:lnTo>
                  <a:pt x="979" y="21534"/>
                </a:lnTo>
                <a:cubicBezTo>
                  <a:pt x="819" y="21547"/>
                  <a:pt x="657" y="21521"/>
                  <a:pt x="522" y="21461"/>
                </a:cubicBezTo>
                <a:cubicBezTo>
                  <a:pt x="361" y="21389"/>
                  <a:pt x="252" y="21274"/>
                  <a:pt x="222" y="21146"/>
                </a:cubicBezTo>
                <a:lnTo>
                  <a:pt x="189" y="18578"/>
                </a:lnTo>
                <a:cubicBezTo>
                  <a:pt x="178" y="18441"/>
                  <a:pt x="210" y="18305"/>
                  <a:pt x="282" y="18177"/>
                </a:cubicBezTo>
                <a:cubicBezTo>
                  <a:pt x="350" y="18057"/>
                  <a:pt x="453" y="17948"/>
                  <a:pt x="584" y="17855"/>
                </a:cubicBezTo>
                <a:lnTo>
                  <a:pt x="11394" y="10005"/>
                </a:lnTo>
                <a:cubicBezTo>
                  <a:pt x="11963" y="9497"/>
                  <a:pt x="12527" y="8986"/>
                  <a:pt x="13086" y="8472"/>
                </a:cubicBezTo>
                <a:cubicBezTo>
                  <a:pt x="13627" y="7974"/>
                  <a:pt x="14170" y="7464"/>
                  <a:pt x="14420" y="6868"/>
                </a:cubicBezTo>
                <a:cubicBezTo>
                  <a:pt x="14709" y="6181"/>
                  <a:pt x="14575" y="5464"/>
                  <a:pt x="14044" y="4885"/>
                </a:cubicBezTo>
                <a:cubicBezTo>
                  <a:pt x="13593" y="4393"/>
                  <a:pt x="12875" y="4026"/>
                  <a:pt x="12023" y="3825"/>
                </a:cubicBezTo>
                <a:cubicBezTo>
                  <a:pt x="10659" y="3503"/>
                  <a:pt x="9231" y="3631"/>
                  <a:pt x="8076" y="4087"/>
                </a:cubicBezTo>
                <a:cubicBezTo>
                  <a:pt x="7569" y="4288"/>
                  <a:pt x="7113" y="4553"/>
                  <a:pt x="6802" y="4894"/>
                </a:cubicBezTo>
                <a:cubicBezTo>
                  <a:pt x="6487" y="5241"/>
                  <a:pt x="6333" y="5657"/>
                  <a:pt x="6392" y="6090"/>
                </a:cubicBezTo>
                <a:close/>
              </a:path>
            </a:pathLst>
          </a:custGeom>
          <a:solidFill>
            <a:srgbClr val="F6F6F7"/>
          </a:solidFill>
          <a:ln w="12700">
            <a:miter lim="400000"/>
          </a:ln>
        </p:spPr>
        <p:txBody>
          <a:bodyPr lIns="0" tIns="0" rIns="0" bIns="0" anchor="ctr"/>
          <a:lstStyle/>
          <a:p>
            <a:pPr marL="0" marR="0" lvl="0" indent="0" algn="ctr" defTabSz="412750" rtl="0" eaLnBrk="1" fontAlgn="auto" latinLnBrk="0" hangingPunct="0">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1600" b="0" i="0" u="none" strike="noStrike" kern="0" cap="none" spc="0" normalizeH="0" baseline="0" noProof="0">
              <a:ln>
                <a:noFill/>
              </a:ln>
              <a:solidFill>
                <a:srgbClr val="FFFFFF"/>
              </a:solidFill>
              <a:effectLst/>
              <a:uLnTx/>
              <a:uFillTx/>
              <a:latin typeface="HarmonyOS Sans SC"/>
              <a:cs typeface="+mn-cs"/>
              <a:sym typeface="Helvetica Neue Medium"/>
            </a:endParaRPr>
          </a:p>
        </p:txBody>
      </p:sp>
      <p:sp>
        <p:nvSpPr>
          <p:cNvPr id="43" name="Circle">
            <a:extLst>
              <a:ext uri="{FF2B5EF4-FFF2-40B4-BE49-F238E27FC236}">
                <a16:creationId xmlns:a16="http://schemas.microsoft.com/office/drawing/2014/main" id="{CD1838A7-525E-4EFC-B531-E4BE72A2BDA8}"/>
              </a:ext>
            </a:extLst>
          </p:cNvPr>
          <p:cNvSpPr/>
          <p:nvPr/>
        </p:nvSpPr>
        <p:spPr>
          <a:xfrm>
            <a:off x="8722775" y="5146365"/>
            <a:ext cx="283321" cy="283321"/>
          </a:xfrm>
          <a:prstGeom prst="ellipse">
            <a:avLst/>
          </a:prstGeom>
          <a:gradFill>
            <a:gsLst>
              <a:gs pos="73000">
                <a:schemeClr val="accent1"/>
              </a:gs>
              <a:gs pos="31000">
                <a:schemeClr val="accent1">
                  <a:lumMod val="60000"/>
                  <a:lumOff val="40000"/>
                </a:schemeClr>
              </a:gs>
              <a:gs pos="0">
                <a:schemeClr val="accent1">
                  <a:lumMod val="40000"/>
                  <a:lumOff val="60000"/>
                </a:schemeClr>
              </a:gs>
            </a:gsLst>
            <a:path path="circle">
              <a:fillToRect r="100000" b="100000"/>
            </a:path>
          </a:gradFill>
          <a:ln>
            <a:noFill/>
          </a:ln>
          <a:effectLst>
            <a:outerShdw blurRad="444500" dist="317500" dir="5400000" sx="92000" sy="92000" algn="t" rotWithShape="0">
              <a:schemeClr val="accent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white"/>
              </a:solidFill>
              <a:effectLst/>
              <a:uLnTx/>
              <a:uFillTx/>
              <a:latin typeface="HarmonyOS Sans SC"/>
              <a:cs typeface="+mn-cs"/>
              <a:sym typeface="Helvetica Neue Medium"/>
            </a:endParaRPr>
          </a:p>
        </p:txBody>
      </p:sp>
      <p:sp>
        <p:nvSpPr>
          <p:cNvPr id="44" name="Shape">
            <a:extLst>
              <a:ext uri="{FF2B5EF4-FFF2-40B4-BE49-F238E27FC236}">
                <a16:creationId xmlns:a16="http://schemas.microsoft.com/office/drawing/2014/main" id="{20F8C029-0854-491C-981D-86FDC6879B19}"/>
              </a:ext>
            </a:extLst>
          </p:cNvPr>
          <p:cNvSpPr/>
          <p:nvPr/>
        </p:nvSpPr>
        <p:spPr>
          <a:xfrm>
            <a:off x="8833518" y="5232205"/>
            <a:ext cx="166287" cy="184739"/>
          </a:xfrm>
          <a:custGeom>
            <a:avLst/>
            <a:gdLst/>
            <a:ahLst/>
            <a:cxnLst>
              <a:cxn ang="0">
                <a:pos x="wd2" y="hd2"/>
              </a:cxn>
              <a:cxn ang="5400000">
                <a:pos x="wd2" y="hd2"/>
              </a:cxn>
              <a:cxn ang="10800000">
                <a:pos x="wd2" y="hd2"/>
              </a:cxn>
              <a:cxn ang="16200000">
                <a:pos x="wd2" y="hd2"/>
              </a:cxn>
            </a:cxnLst>
            <a:rect l="0" t="0" r="r" b="b"/>
            <a:pathLst>
              <a:path w="21600" h="21600" extrusionOk="0">
                <a:moveTo>
                  <a:pt x="21600" y="11436"/>
                </a:moveTo>
                <a:lnTo>
                  <a:pt x="8875" y="0"/>
                </a:lnTo>
                <a:lnTo>
                  <a:pt x="0" y="2059"/>
                </a:lnTo>
                <a:lnTo>
                  <a:pt x="3454" y="5169"/>
                </a:lnTo>
                <a:lnTo>
                  <a:pt x="3192" y="6850"/>
                </a:lnTo>
                <a:lnTo>
                  <a:pt x="6750" y="10052"/>
                </a:lnTo>
                <a:lnTo>
                  <a:pt x="5490" y="11512"/>
                </a:lnTo>
                <a:lnTo>
                  <a:pt x="2410" y="8864"/>
                </a:lnTo>
                <a:lnTo>
                  <a:pt x="953" y="11886"/>
                </a:lnTo>
                <a:lnTo>
                  <a:pt x="11639" y="21600"/>
                </a:lnTo>
                <a:cubicBezTo>
                  <a:pt x="14159" y="20558"/>
                  <a:pt x="16388" y="19022"/>
                  <a:pt x="18162" y="17104"/>
                </a:cubicBezTo>
                <a:cubicBezTo>
                  <a:pt x="19707" y="15434"/>
                  <a:pt x="20875" y="13509"/>
                  <a:pt x="21600" y="11436"/>
                </a:cubicBezTo>
                <a:close/>
              </a:path>
            </a:pathLst>
          </a:custGeom>
          <a:gradFill>
            <a:gsLst>
              <a:gs pos="100000">
                <a:schemeClr val="accent1">
                  <a:lumMod val="75000"/>
                  <a:alpha val="0"/>
                </a:schemeClr>
              </a:gs>
              <a:gs pos="0">
                <a:schemeClr val="accent1">
                  <a:lumMod val="75000"/>
                </a:schemeClr>
              </a:gs>
            </a:gsLst>
            <a:path path="circle">
              <a:fillToRect r="100000" b="100000"/>
            </a:path>
          </a:gradFill>
          <a:ln w="12700">
            <a:miter lim="400000"/>
          </a:ln>
        </p:spPr>
        <p:txBody>
          <a:bodyPr lIns="0" tIns="0" rIns="0" bIns="0" anchor="ctr"/>
          <a:lstStyle/>
          <a:p>
            <a:pPr marL="0" marR="0" lvl="0" indent="0" algn="ctr" defTabSz="412750" rtl="0" eaLnBrk="1" fontAlgn="auto" latinLnBrk="0" hangingPunct="0">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1600" b="0" i="0" u="none" strike="noStrike" kern="0" cap="none" spc="0" normalizeH="0" baseline="0" noProof="0">
              <a:ln>
                <a:noFill/>
              </a:ln>
              <a:solidFill>
                <a:srgbClr val="FFFFFF"/>
              </a:solidFill>
              <a:effectLst/>
              <a:uLnTx/>
              <a:uFillTx/>
              <a:latin typeface="HarmonyOS Sans SC"/>
              <a:cs typeface="+mn-cs"/>
              <a:sym typeface="Helvetica Neue Medium"/>
            </a:endParaRPr>
          </a:p>
        </p:txBody>
      </p:sp>
      <p:sp>
        <p:nvSpPr>
          <p:cNvPr id="45" name="Shape">
            <a:extLst>
              <a:ext uri="{FF2B5EF4-FFF2-40B4-BE49-F238E27FC236}">
                <a16:creationId xmlns:a16="http://schemas.microsoft.com/office/drawing/2014/main" id="{733E54A1-C760-4EE1-A6DE-92A4D6F4ECB6}"/>
              </a:ext>
            </a:extLst>
          </p:cNvPr>
          <p:cNvSpPr/>
          <p:nvPr/>
        </p:nvSpPr>
        <p:spPr>
          <a:xfrm>
            <a:off x="8830333" y="5231476"/>
            <a:ext cx="73871" cy="113099"/>
          </a:xfrm>
          <a:custGeom>
            <a:avLst/>
            <a:gdLst/>
            <a:ahLst/>
            <a:cxnLst>
              <a:cxn ang="0">
                <a:pos x="wd2" y="hd2"/>
              </a:cxn>
              <a:cxn ang="5400000">
                <a:pos x="wd2" y="hd2"/>
              </a:cxn>
              <a:cxn ang="10800000">
                <a:pos x="wd2" y="hd2"/>
              </a:cxn>
              <a:cxn ang="16200000">
                <a:pos x="wd2" y="hd2"/>
              </a:cxn>
            </a:cxnLst>
            <a:rect l="0" t="0" r="r" b="b"/>
            <a:pathLst>
              <a:path w="21513" h="21591" extrusionOk="0">
                <a:moveTo>
                  <a:pt x="12133" y="3705"/>
                </a:moveTo>
                <a:lnTo>
                  <a:pt x="1263" y="3705"/>
                </a:lnTo>
                <a:cubicBezTo>
                  <a:pt x="1093" y="3705"/>
                  <a:pt x="928" y="3666"/>
                  <a:pt x="798" y="3594"/>
                </a:cubicBezTo>
                <a:cubicBezTo>
                  <a:pt x="678" y="3528"/>
                  <a:pt x="594" y="3438"/>
                  <a:pt x="560" y="3337"/>
                </a:cubicBezTo>
                <a:lnTo>
                  <a:pt x="560" y="514"/>
                </a:lnTo>
                <a:cubicBezTo>
                  <a:pt x="555" y="373"/>
                  <a:pt x="640" y="238"/>
                  <a:pt x="793" y="140"/>
                </a:cubicBezTo>
                <a:cubicBezTo>
                  <a:pt x="918" y="60"/>
                  <a:pt x="1081" y="11"/>
                  <a:pt x="1254" y="0"/>
                </a:cubicBezTo>
                <a:lnTo>
                  <a:pt x="20447" y="0"/>
                </a:lnTo>
                <a:cubicBezTo>
                  <a:pt x="20614" y="-2"/>
                  <a:pt x="20776" y="39"/>
                  <a:pt x="20896" y="115"/>
                </a:cubicBezTo>
                <a:cubicBezTo>
                  <a:pt x="21022" y="193"/>
                  <a:pt x="21092" y="302"/>
                  <a:pt x="21092" y="415"/>
                </a:cubicBezTo>
                <a:lnTo>
                  <a:pt x="21092" y="3562"/>
                </a:lnTo>
                <a:cubicBezTo>
                  <a:pt x="21087" y="3658"/>
                  <a:pt x="21056" y="3753"/>
                  <a:pt x="21000" y="3842"/>
                </a:cubicBezTo>
                <a:cubicBezTo>
                  <a:pt x="20947" y="3928"/>
                  <a:pt x="20871" y="4008"/>
                  <a:pt x="20776" y="4078"/>
                </a:cubicBezTo>
                <a:lnTo>
                  <a:pt x="14615" y="7758"/>
                </a:lnTo>
                <a:cubicBezTo>
                  <a:pt x="14538" y="7808"/>
                  <a:pt x="14510" y="7882"/>
                  <a:pt x="14542" y="7950"/>
                </a:cubicBezTo>
                <a:cubicBezTo>
                  <a:pt x="14567" y="8001"/>
                  <a:pt x="14623" y="8042"/>
                  <a:pt x="14697" y="8064"/>
                </a:cubicBezTo>
                <a:cubicBezTo>
                  <a:pt x="15727" y="8167"/>
                  <a:pt x="16712" y="8411"/>
                  <a:pt x="17589" y="8779"/>
                </a:cubicBezTo>
                <a:cubicBezTo>
                  <a:pt x="18597" y="9202"/>
                  <a:pt x="19434" y="9776"/>
                  <a:pt x="20059" y="10445"/>
                </a:cubicBezTo>
                <a:cubicBezTo>
                  <a:pt x="20822" y="11262"/>
                  <a:pt x="21235" y="12169"/>
                  <a:pt x="21412" y="13104"/>
                </a:cubicBezTo>
                <a:cubicBezTo>
                  <a:pt x="21588" y="14039"/>
                  <a:pt x="21528" y="15007"/>
                  <a:pt x="21273" y="15951"/>
                </a:cubicBezTo>
                <a:cubicBezTo>
                  <a:pt x="21068" y="16709"/>
                  <a:pt x="20740" y="17451"/>
                  <a:pt x="20211" y="18132"/>
                </a:cubicBezTo>
                <a:cubicBezTo>
                  <a:pt x="19696" y="18796"/>
                  <a:pt x="18997" y="19394"/>
                  <a:pt x="18143" y="19891"/>
                </a:cubicBezTo>
                <a:cubicBezTo>
                  <a:pt x="16120" y="21069"/>
                  <a:pt x="13441" y="21598"/>
                  <a:pt x="10734" y="21591"/>
                </a:cubicBezTo>
                <a:cubicBezTo>
                  <a:pt x="9081" y="21587"/>
                  <a:pt x="7448" y="21385"/>
                  <a:pt x="5977" y="20953"/>
                </a:cubicBezTo>
                <a:cubicBezTo>
                  <a:pt x="4452" y="20506"/>
                  <a:pt x="3115" y="19817"/>
                  <a:pt x="2073" y="18929"/>
                </a:cubicBezTo>
                <a:cubicBezTo>
                  <a:pt x="862" y="17895"/>
                  <a:pt x="145" y="16650"/>
                  <a:pt x="13" y="15350"/>
                </a:cubicBezTo>
                <a:lnTo>
                  <a:pt x="2" y="14852"/>
                </a:lnTo>
                <a:cubicBezTo>
                  <a:pt x="-12" y="14739"/>
                  <a:pt x="49" y="14627"/>
                  <a:pt x="170" y="14546"/>
                </a:cubicBezTo>
                <a:cubicBezTo>
                  <a:pt x="295" y="14462"/>
                  <a:pt x="469" y="14420"/>
                  <a:pt x="646" y="14429"/>
                </a:cubicBezTo>
                <a:lnTo>
                  <a:pt x="5990" y="14429"/>
                </a:lnTo>
                <a:cubicBezTo>
                  <a:pt x="6127" y="14434"/>
                  <a:pt x="6257" y="14472"/>
                  <a:pt x="6355" y="14535"/>
                </a:cubicBezTo>
                <a:cubicBezTo>
                  <a:pt x="6460" y="14603"/>
                  <a:pt x="6522" y="14695"/>
                  <a:pt x="6526" y="14791"/>
                </a:cubicBezTo>
                <a:cubicBezTo>
                  <a:pt x="6610" y="15121"/>
                  <a:pt x="6718" y="15448"/>
                  <a:pt x="6850" y="15771"/>
                </a:cubicBezTo>
                <a:cubicBezTo>
                  <a:pt x="6942" y="15998"/>
                  <a:pt x="7046" y="16223"/>
                  <a:pt x="7161" y="16445"/>
                </a:cubicBezTo>
                <a:cubicBezTo>
                  <a:pt x="7666" y="17125"/>
                  <a:pt x="8547" y="17608"/>
                  <a:pt x="9568" y="17834"/>
                </a:cubicBezTo>
                <a:cubicBezTo>
                  <a:pt x="10568" y="18055"/>
                  <a:pt x="11702" y="18029"/>
                  <a:pt x="12693" y="17662"/>
                </a:cubicBezTo>
                <a:cubicBezTo>
                  <a:pt x="14380" y="17037"/>
                  <a:pt x="14922" y="15695"/>
                  <a:pt x="14955" y="14403"/>
                </a:cubicBezTo>
                <a:cubicBezTo>
                  <a:pt x="14994" y="12890"/>
                  <a:pt x="14322" y="11313"/>
                  <a:pt x="12282" y="10703"/>
                </a:cubicBezTo>
                <a:cubicBezTo>
                  <a:pt x="11786" y="10554"/>
                  <a:pt x="11242" y="10487"/>
                  <a:pt x="10698" y="10509"/>
                </a:cubicBezTo>
                <a:cubicBezTo>
                  <a:pt x="10298" y="10525"/>
                  <a:pt x="9905" y="10589"/>
                  <a:pt x="9540" y="10698"/>
                </a:cubicBezTo>
                <a:lnTo>
                  <a:pt x="8545" y="11086"/>
                </a:lnTo>
                <a:cubicBezTo>
                  <a:pt x="8397" y="11157"/>
                  <a:pt x="8216" y="11191"/>
                  <a:pt x="8034" y="11182"/>
                </a:cubicBezTo>
                <a:cubicBezTo>
                  <a:pt x="7838" y="11172"/>
                  <a:pt x="7656" y="11114"/>
                  <a:pt x="7523" y="11019"/>
                </a:cubicBezTo>
                <a:lnTo>
                  <a:pt x="4907" y="8740"/>
                </a:lnTo>
                <a:cubicBezTo>
                  <a:pt x="4780" y="8645"/>
                  <a:pt x="4719" y="8520"/>
                  <a:pt x="4739" y="8394"/>
                </a:cubicBezTo>
                <a:cubicBezTo>
                  <a:pt x="4758" y="8276"/>
                  <a:pt x="4847" y="8168"/>
                  <a:pt x="4987" y="8092"/>
                </a:cubicBezTo>
                <a:lnTo>
                  <a:pt x="12302" y="3940"/>
                </a:lnTo>
                <a:cubicBezTo>
                  <a:pt x="12347" y="3901"/>
                  <a:pt x="12360" y="3851"/>
                  <a:pt x="12336" y="3805"/>
                </a:cubicBezTo>
                <a:cubicBezTo>
                  <a:pt x="12306" y="3747"/>
                  <a:pt x="12226" y="3707"/>
                  <a:pt x="12133" y="3705"/>
                </a:cubicBezTo>
                <a:close/>
              </a:path>
            </a:pathLst>
          </a:custGeom>
          <a:solidFill>
            <a:srgbClr val="F6F6F7"/>
          </a:solidFill>
          <a:ln w="12700">
            <a:miter lim="400000"/>
          </a:ln>
        </p:spPr>
        <p:txBody>
          <a:bodyPr lIns="0" tIns="0" rIns="0" bIns="0" anchor="ctr"/>
          <a:lstStyle/>
          <a:p>
            <a:pPr marL="0" marR="0" lvl="0" indent="0" algn="ctr" defTabSz="412750" rtl="0" eaLnBrk="1" fontAlgn="auto" latinLnBrk="0" hangingPunct="0">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1600" b="0" i="0" u="none" strike="noStrike" kern="0" cap="none" spc="0" normalizeH="0" baseline="0" noProof="0">
              <a:ln>
                <a:noFill/>
              </a:ln>
              <a:solidFill>
                <a:srgbClr val="FFFFFF"/>
              </a:solidFill>
              <a:effectLst/>
              <a:uLnTx/>
              <a:uFillTx/>
              <a:latin typeface="HarmonyOS Sans SC"/>
              <a:cs typeface="+mn-cs"/>
              <a:sym typeface="Helvetica Neue Medium"/>
            </a:endParaRPr>
          </a:p>
        </p:txBody>
      </p:sp>
    </p:spTree>
    <p:extLst>
      <p:ext uri="{BB962C8B-B14F-4D97-AF65-F5344CB8AC3E}">
        <p14:creationId xmlns:p14="http://schemas.microsoft.com/office/powerpoint/2010/main" val="4184588904"/>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4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reeform 73">
            <a:extLst>
              <a:ext uri="{FF2B5EF4-FFF2-40B4-BE49-F238E27FC236}">
                <a16:creationId xmlns:a16="http://schemas.microsoft.com/office/drawing/2014/main" id="{6EE4FFC7-C481-476E-876F-798C604AEDBD}"/>
              </a:ext>
            </a:extLst>
          </p:cNvPr>
          <p:cNvSpPr>
            <a:spLocks/>
          </p:cNvSpPr>
          <p:nvPr/>
        </p:nvSpPr>
        <p:spPr bwMode="auto">
          <a:xfrm rot="16200000">
            <a:off x="3898107" y="3264694"/>
            <a:ext cx="1506538" cy="1504950"/>
          </a:xfrm>
          <a:custGeom>
            <a:avLst/>
            <a:gdLst>
              <a:gd name="T0" fmla="*/ 378 w 399"/>
              <a:gd name="T1" fmla="*/ 1 h 399"/>
              <a:gd name="T2" fmla="*/ 218 w 399"/>
              <a:gd name="T3" fmla="*/ 14 h 399"/>
              <a:gd name="T4" fmla="*/ 206 w 399"/>
              <a:gd name="T5" fmla="*/ 46 h 399"/>
              <a:gd name="T6" fmla="*/ 206 w 399"/>
              <a:gd name="T7" fmla="*/ 46 h 399"/>
              <a:gd name="T8" fmla="*/ 206 w 399"/>
              <a:gd name="T9" fmla="*/ 73 h 399"/>
              <a:gd name="T10" fmla="*/ 7 w 399"/>
              <a:gd name="T11" fmla="*/ 272 h 399"/>
              <a:gd name="T12" fmla="*/ 7 w 399"/>
              <a:gd name="T13" fmla="*/ 298 h 399"/>
              <a:gd name="T14" fmla="*/ 101 w 399"/>
              <a:gd name="T15" fmla="*/ 392 h 399"/>
              <a:gd name="T16" fmla="*/ 128 w 399"/>
              <a:gd name="T17" fmla="*/ 392 h 399"/>
              <a:gd name="T18" fmla="*/ 326 w 399"/>
              <a:gd name="T19" fmla="*/ 194 h 399"/>
              <a:gd name="T20" fmla="*/ 353 w 399"/>
              <a:gd name="T21" fmla="*/ 194 h 399"/>
              <a:gd name="T22" fmla="*/ 353 w 399"/>
              <a:gd name="T23" fmla="*/ 194 h 399"/>
              <a:gd name="T24" fmla="*/ 386 w 399"/>
              <a:gd name="T25" fmla="*/ 182 h 399"/>
              <a:gd name="T26" fmla="*/ 398 w 399"/>
              <a:gd name="T27" fmla="*/ 22 h 399"/>
              <a:gd name="T28" fmla="*/ 378 w 399"/>
              <a:gd name="T29" fmla="*/ 1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99" h="399">
                <a:moveTo>
                  <a:pt x="378" y="1"/>
                </a:moveTo>
                <a:cubicBezTo>
                  <a:pt x="218" y="14"/>
                  <a:pt x="218" y="14"/>
                  <a:pt x="218" y="14"/>
                </a:cubicBezTo>
                <a:cubicBezTo>
                  <a:pt x="202" y="15"/>
                  <a:pt x="194" y="35"/>
                  <a:pt x="206" y="46"/>
                </a:cubicBezTo>
                <a:cubicBezTo>
                  <a:pt x="206" y="46"/>
                  <a:pt x="206" y="46"/>
                  <a:pt x="206" y="46"/>
                </a:cubicBezTo>
                <a:cubicBezTo>
                  <a:pt x="213" y="54"/>
                  <a:pt x="213" y="66"/>
                  <a:pt x="206" y="73"/>
                </a:cubicBezTo>
                <a:cubicBezTo>
                  <a:pt x="7" y="272"/>
                  <a:pt x="7" y="272"/>
                  <a:pt x="7" y="272"/>
                </a:cubicBezTo>
                <a:cubicBezTo>
                  <a:pt x="0" y="279"/>
                  <a:pt x="0" y="291"/>
                  <a:pt x="7" y="298"/>
                </a:cubicBezTo>
                <a:cubicBezTo>
                  <a:pt x="101" y="392"/>
                  <a:pt x="101" y="392"/>
                  <a:pt x="101" y="392"/>
                </a:cubicBezTo>
                <a:cubicBezTo>
                  <a:pt x="108" y="399"/>
                  <a:pt x="120" y="399"/>
                  <a:pt x="128" y="392"/>
                </a:cubicBezTo>
                <a:cubicBezTo>
                  <a:pt x="326" y="194"/>
                  <a:pt x="326" y="194"/>
                  <a:pt x="326" y="194"/>
                </a:cubicBezTo>
                <a:cubicBezTo>
                  <a:pt x="334" y="186"/>
                  <a:pt x="346" y="186"/>
                  <a:pt x="353" y="194"/>
                </a:cubicBezTo>
                <a:cubicBezTo>
                  <a:pt x="353" y="194"/>
                  <a:pt x="353" y="194"/>
                  <a:pt x="353" y="194"/>
                </a:cubicBezTo>
                <a:cubicBezTo>
                  <a:pt x="365" y="205"/>
                  <a:pt x="384" y="198"/>
                  <a:pt x="386" y="182"/>
                </a:cubicBezTo>
                <a:cubicBezTo>
                  <a:pt x="398" y="22"/>
                  <a:pt x="398" y="22"/>
                  <a:pt x="398" y="22"/>
                </a:cubicBezTo>
                <a:cubicBezTo>
                  <a:pt x="399" y="10"/>
                  <a:pt x="389" y="0"/>
                  <a:pt x="378" y="1"/>
                </a:cubicBezTo>
                <a:close/>
              </a:path>
            </a:pathLst>
          </a:custGeom>
          <a:gradFill>
            <a:gsLst>
              <a:gs pos="100000">
                <a:schemeClr val="accent1">
                  <a:lumMod val="60000"/>
                  <a:lumOff val="40000"/>
                </a:schemeClr>
              </a:gs>
              <a:gs pos="0">
                <a:schemeClr val="accent1"/>
              </a:gs>
            </a:gsLst>
            <a:lin ang="0" scaled="0"/>
          </a:gra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Black"/>
              <a:ea typeface="+mj-ea"/>
              <a:cs typeface="+mn-cs"/>
            </a:endParaRPr>
          </a:p>
        </p:txBody>
      </p:sp>
      <p:sp>
        <p:nvSpPr>
          <p:cNvPr id="5" name="Freeform 72">
            <a:extLst>
              <a:ext uri="{FF2B5EF4-FFF2-40B4-BE49-F238E27FC236}">
                <a16:creationId xmlns:a16="http://schemas.microsoft.com/office/drawing/2014/main" id="{26545DE0-FFEE-4AB4-9186-BCB85A36D740}"/>
              </a:ext>
            </a:extLst>
          </p:cNvPr>
          <p:cNvSpPr>
            <a:spLocks/>
          </p:cNvSpPr>
          <p:nvPr/>
        </p:nvSpPr>
        <p:spPr bwMode="auto">
          <a:xfrm rot="16200000">
            <a:off x="5149057" y="4674394"/>
            <a:ext cx="800100" cy="531812"/>
          </a:xfrm>
          <a:custGeom>
            <a:avLst/>
            <a:gdLst>
              <a:gd name="T0" fmla="*/ 0 w 212"/>
              <a:gd name="T1" fmla="*/ 132 h 141"/>
              <a:gd name="T2" fmla="*/ 157 w 212"/>
              <a:gd name="T3" fmla="*/ 0 h 141"/>
              <a:gd name="T4" fmla="*/ 212 w 212"/>
              <a:gd name="T5" fmla="*/ 30 h 141"/>
              <a:gd name="T6" fmla="*/ 0 w 212"/>
              <a:gd name="T7" fmla="*/ 132 h 141"/>
            </a:gdLst>
            <a:ahLst/>
            <a:cxnLst>
              <a:cxn ang="0">
                <a:pos x="T0" y="T1"/>
              </a:cxn>
              <a:cxn ang="0">
                <a:pos x="T2" y="T3"/>
              </a:cxn>
              <a:cxn ang="0">
                <a:pos x="T4" y="T5"/>
              </a:cxn>
              <a:cxn ang="0">
                <a:pos x="T6" y="T7"/>
              </a:cxn>
            </a:cxnLst>
            <a:rect l="0" t="0" r="r" b="b"/>
            <a:pathLst>
              <a:path w="212" h="141">
                <a:moveTo>
                  <a:pt x="0" y="132"/>
                </a:moveTo>
                <a:cubicBezTo>
                  <a:pt x="0" y="132"/>
                  <a:pt x="87" y="141"/>
                  <a:pt x="157" y="0"/>
                </a:cubicBezTo>
                <a:cubicBezTo>
                  <a:pt x="212" y="30"/>
                  <a:pt x="212" y="30"/>
                  <a:pt x="212" y="30"/>
                </a:cubicBezTo>
                <a:cubicBezTo>
                  <a:pt x="212" y="30"/>
                  <a:pt x="146" y="134"/>
                  <a:pt x="0" y="132"/>
                </a:cubicBezTo>
                <a:close/>
              </a:path>
            </a:pathLst>
          </a:custGeom>
          <a:gradFill>
            <a:gsLst>
              <a:gs pos="100000">
                <a:schemeClr val="accent1">
                  <a:alpha val="0"/>
                </a:schemeClr>
              </a:gs>
              <a:gs pos="33000">
                <a:schemeClr val="accent1"/>
              </a:gs>
            </a:gsLst>
            <a:lin ang="0" scaled="0"/>
          </a:gra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Black"/>
              <a:ea typeface="+mj-ea"/>
              <a:cs typeface="+mn-cs"/>
            </a:endParaRPr>
          </a:p>
        </p:txBody>
      </p:sp>
      <p:sp>
        <p:nvSpPr>
          <p:cNvPr id="6" name="Oval 74">
            <a:extLst>
              <a:ext uri="{FF2B5EF4-FFF2-40B4-BE49-F238E27FC236}">
                <a16:creationId xmlns:a16="http://schemas.microsoft.com/office/drawing/2014/main" id="{5BF9CEC9-96D3-42B4-89A5-EBDD1E0BCAA9}"/>
              </a:ext>
            </a:extLst>
          </p:cNvPr>
          <p:cNvSpPr>
            <a:spLocks noChangeArrowheads="1"/>
          </p:cNvSpPr>
          <p:nvPr/>
        </p:nvSpPr>
        <p:spPr bwMode="auto">
          <a:xfrm rot="16200000">
            <a:off x="4954588" y="4310062"/>
            <a:ext cx="498475" cy="498475"/>
          </a:xfrm>
          <a:prstGeom prst="ellipse">
            <a:avLst/>
          </a:pr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Black"/>
              <a:ea typeface="+mj-ea"/>
              <a:cs typeface="+mn-cs"/>
            </a:endParaRPr>
          </a:p>
        </p:txBody>
      </p:sp>
      <p:sp>
        <p:nvSpPr>
          <p:cNvPr id="7" name="Oval 75">
            <a:extLst>
              <a:ext uri="{FF2B5EF4-FFF2-40B4-BE49-F238E27FC236}">
                <a16:creationId xmlns:a16="http://schemas.microsoft.com/office/drawing/2014/main" id="{122C8392-38EB-4A9B-BB42-BE83C0675645}"/>
              </a:ext>
            </a:extLst>
          </p:cNvPr>
          <p:cNvSpPr>
            <a:spLocks noChangeArrowheads="1"/>
          </p:cNvSpPr>
          <p:nvPr/>
        </p:nvSpPr>
        <p:spPr bwMode="auto">
          <a:xfrm rot="16200000">
            <a:off x="4999037" y="4356100"/>
            <a:ext cx="407988" cy="407987"/>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Black"/>
              <a:ea typeface="+mj-ea"/>
              <a:cs typeface="+mn-cs"/>
            </a:endParaRPr>
          </a:p>
        </p:txBody>
      </p:sp>
      <p:sp>
        <p:nvSpPr>
          <p:cNvPr id="9" name="Freeform 77">
            <a:extLst>
              <a:ext uri="{FF2B5EF4-FFF2-40B4-BE49-F238E27FC236}">
                <a16:creationId xmlns:a16="http://schemas.microsoft.com/office/drawing/2014/main" id="{C1887A36-B1EA-46E9-97B7-F9D96DA067FB}"/>
              </a:ext>
            </a:extLst>
          </p:cNvPr>
          <p:cNvSpPr>
            <a:spLocks/>
          </p:cNvSpPr>
          <p:nvPr/>
        </p:nvSpPr>
        <p:spPr bwMode="auto">
          <a:xfrm rot="16200000">
            <a:off x="5192712" y="2620963"/>
            <a:ext cx="1817688" cy="973137"/>
          </a:xfrm>
          <a:custGeom>
            <a:avLst/>
            <a:gdLst>
              <a:gd name="T0" fmla="*/ 472 w 481"/>
              <a:gd name="T1" fmla="*/ 115 h 258"/>
              <a:gd name="T2" fmla="*/ 350 w 481"/>
              <a:gd name="T3" fmla="*/ 10 h 258"/>
              <a:gd name="T4" fmla="*/ 319 w 481"/>
              <a:gd name="T5" fmla="*/ 25 h 258"/>
              <a:gd name="T6" fmla="*/ 319 w 481"/>
              <a:gd name="T7" fmla="*/ 25 h 258"/>
              <a:gd name="T8" fmla="*/ 300 w 481"/>
              <a:gd name="T9" fmla="*/ 44 h 258"/>
              <a:gd name="T10" fmla="*/ 19 w 481"/>
              <a:gd name="T11" fmla="*/ 44 h 258"/>
              <a:gd name="T12" fmla="*/ 0 w 481"/>
              <a:gd name="T13" fmla="*/ 63 h 258"/>
              <a:gd name="T14" fmla="*/ 0 w 481"/>
              <a:gd name="T15" fmla="*/ 195 h 258"/>
              <a:gd name="T16" fmla="*/ 19 w 481"/>
              <a:gd name="T17" fmla="*/ 214 h 258"/>
              <a:gd name="T18" fmla="*/ 300 w 481"/>
              <a:gd name="T19" fmla="*/ 214 h 258"/>
              <a:gd name="T20" fmla="*/ 319 w 481"/>
              <a:gd name="T21" fmla="*/ 233 h 258"/>
              <a:gd name="T22" fmla="*/ 319 w 481"/>
              <a:gd name="T23" fmla="*/ 233 h 258"/>
              <a:gd name="T24" fmla="*/ 350 w 481"/>
              <a:gd name="T25" fmla="*/ 248 h 258"/>
              <a:gd name="T26" fmla="*/ 472 w 481"/>
              <a:gd name="T27" fmla="*/ 143 h 258"/>
              <a:gd name="T28" fmla="*/ 472 w 481"/>
              <a:gd name="T29" fmla="*/ 115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81" h="258">
                <a:moveTo>
                  <a:pt x="472" y="115"/>
                </a:moveTo>
                <a:cubicBezTo>
                  <a:pt x="350" y="10"/>
                  <a:pt x="350" y="10"/>
                  <a:pt x="350" y="10"/>
                </a:cubicBezTo>
                <a:cubicBezTo>
                  <a:pt x="338" y="0"/>
                  <a:pt x="319" y="9"/>
                  <a:pt x="319" y="25"/>
                </a:cubicBezTo>
                <a:cubicBezTo>
                  <a:pt x="319" y="25"/>
                  <a:pt x="319" y="25"/>
                  <a:pt x="319" y="25"/>
                </a:cubicBezTo>
                <a:cubicBezTo>
                  <a:pt x="319" y="35"/>
                  <a:pt x="310" y="44"/>
                  <a:pt x="300" y="44"/>
                </a:cubicBezTo>
                <a:cubicBezTo>
                  <a:pt x="19" y="44"/>
                  <a:pt x="19" y="44"/>
                  <a:pt x="19" y="44"/>
                </a:cubicBezTo>
                <a:cubicBezTo>
                  <a:pt x="9" y="44"/>
                  <a:pt x="0" y="52"/>
                  <a:pt x="0" y="63"/>
                </a:cubicBezTo>
                <a:cubicBezTo>
                  <a:pt x="0" y="195"/>
                  <a:pt x="0" y="195"/>
                  <a:pt x="0" y="195"/>
                </a:cubicBezTo>
                <a:cubicBezTo>
                  <a:pt x="0" y="206"/>
                  <a:pt x="9" y="214"/>
                  <a:pt x="19" y="214"/>
                </a:cubicBezTo>
                <a:cubicBezTo>
                  <a:pt x="300" y="214"/>
                  <a:pt x="300" y="214"/>
                  <a:pt x="300" y="214"/>
                </a:cubicBezTo>
                <a:cubicBezTo>
                  <a:pt x="310" y="214"/>
                  <a:pt x="319" y="223"/>
                  <a:pt x="319" y="233"/>
                </a:cubicBezTo>
                <a:cubicBezTo>
                  <a:pt x="319" y="233"/>
                  <a:pt x="319" y="233"/>
                  <a:pt x="319" y="233"/>
                </a:cubicBezTo>
                <a:cubicBezTo>
                  <a:pt x="319" y="249"/>
                  <a:pt x="338" y="258"/>
                  <a:pt x="350" y="248"/>
                </a:cubicBezTo>
                <a:cubicBezTo>
                  <a:pt x="472" y="143"/>
                  <a:pt x="472" y="143"/>
                  <a:pt x="472" y="143"/>
                </a:cubicBezTo>
                <a:cubicBezTo>
                  <a:pt x="481" y="136"/>
                  <a:pt x="481" y="122"/>
                  <a:pt x="472" y="115"/>
                </a:cubicBezTo>
                <a:close/>
              </a:path>
            </a:pathLst>
          </a:custGeom>
          <a:gradFill>
            <a:gsLst>
              <a:gs pos="100000">
                <a:schemeClr val="accent1">
                  <a:lumMod val="60000"/>
                  <a:lumOff val="40000"/>
                </a:schemeClr>
              </a:gs>
              <a:gs pos="0">
                <a:schemeClr val="accent1"/>
              </a:gs>
            </a:gsLst>
            <a:lin ang="0" scaled="0"/>
          </a:gra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Black"/>
              <a:ea typeface="+mj-ea"/>
              <a:cs typeface="+mn-cs"/>
            </a:endParaRPr>
          </a:p>
        </p:txBody>
      </p:sp>
      <p:sp>
        <p:nvSpPr>
          <p:cNvPr id="11" name="Freeform 76">
            <a:extLst>
              <a:ext uri="{FF2B5EF4-FFF2-40B4-BE49-F238E27FC236}">
                <a16:creationId xmlns:a16="http://schemas.microsoft.com/office/drawing/2014/main" id="{ADB7881E-BC67-4FB9-88CC-BF162895F796}"/>
              </a:ext>
            </a:extLst>
          </p:cNvPr>
          <p:cNvSpPr>
            <a:spLocks/>
          </p:cNvSpPr>
          <p:nvPr/>
        </p:nvSpPr>
        <p:spPr bwMode="auto">
          <a:xfrm rot="16200000">
            <a:off x="5473701" y="4597400"/>
            <a:ext cx="1254125" cy="257175"/>
          </a:xfrm>
          <a:custGeom>
            <a:avLst/>
            <a:gdLst>
              <a:gd name="T0" fmla="*/ 0 w 332"/>
              <a:gd name="T1" fmla="*/ 34 h 68"/>
              <a:gd name="T2" fmla="*/ 332 w 332"/>
              <a:gd name="T3" fmla="*/ 68 h 68"/>
              <a:gd name="T4" fmla="*/ 332 w 332"/>
              <a:gd name="T5" fmla="*/ 34 h 68"/>
              <a:gd name="T6" fmla="*/ 332 w 332"/>
              <a:gd name="T7" fmla="*/ 0 h 68"/>
              <a:gd name="T8" fmla="*/ 0 w 332"/>
              <a:gd name="T9" fmla="*/ 34 h 68"/>
            </a:gdLst>
            <a:ahLst/>
            <a:cxnLst>
              <a:cxn ang="0">
                <a:pos x="T0" y="T1"/>
              </a:cxn>
              <a:cxn ang="0">
                <a:pos x="T2" y="T3"/>
              </a:cxn>
              <a:cxn ang="0">
                <a:pos x="T4" y="T5"/>
              </a:cxn>
              <a:cxn ang="0">
                <a:pos x="T6" y="T7"/>
              </a:cxn>
              <a:cxn ang="0">
                <a:pos x="T8" y="T9"/>
              </a:cxn>
            </a:cxnLst>
            <a:rect l="0" t="0" r="r" b="b"/>
            <a:pathLst>
              <a:path w="332" h="68">
                <a:moveTo>
                  <a:pt x="0" y="34"/>
                </a:moveTo>
                <a:cubicBezTo>
                  <a:pt x="123" y="34"/>
                  <a:pt x="332" y="68"/>
                  <a:pt x="332" y="68"/>
                </a:cubicBezTo>
                <a:cubicBezTo>
                  <a:pt x="332" y="34"/>
                  <a:pt x="332" y="34"/>
                  <a:pt x="332" y="34"/>
                </a:cubicBezTo>
                <a:cubicBezTo>
                  <a:pt x="332" y="0"/>
                  <a:pt x="332" y="0"/>
                  <a:pt x="332" y="0"/>
                </a:cubicBezTo>
                <a:cubicBezTo>
                  <a:pt x="332" y="0"/>
                  <a:pt x="123" y="34"/>
                  <a:pt x="0" y="34"/>
                </a:cubicBezTo>
                <a:close/>
              </a:path>
            </a:pathLst>
          </a:custGeom>
          <a:gradFill>
            <a:gsLst>
              <a:gs pos="100000">
                <a:schemeClr val="accent1">
                  <a:alpha val="0"/>
                </a:schemeClr>
              </a:gs>
              <a:gs pos="33000">
                <a:schemeClr val="accent1"/>
              </a:gs>
            </a:gsLst>
            <a:lin ang="0" scaled="0"/>
          </a:gra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Black"/>
              <a:ea typeface="+mj-ea"/>
              <a:cs typeface="+mn-cs"/>
            </a:endParaRPr>
          </a:p>
        </p:txBody>
      </p:sp>
      <p:sp>
        <p:nvSpPr>
          <p:cNvPr id="13" name="Oval 78">
            <a:extLst>
              <a:ext uri="{FF2B5EF4-FFF2-40B4-BE49-F238E27FC236}">
                <a16:creationId xmlns:a16="http://schemas.microsoft.com/office/drawing/2014/main" id="{CDB8C979-CEFB-4468-814B-ADC927DE29B6}"/>
              </a:ext>
            </a:extLst>
          </p:cNvPr>
          <p:cNvSpPr>
            <a:spLocks noChangeArrowheads="1"/>
          </p:cNvSpPr>
          <p:nvPr/>
        </p:nvSpPr>
        <p:spPr bwMode="auto">
          <a:xfrm rot="16200000">
            <a:off x="5833269" y="3767931"/>
            <a:ext cx="498475" cy="496887"/>
          </a:xfrm>
          <a:prstGeom prst="ellipse">
            <a:avLst/>
          </a:pr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Black"/>
              <a:ea typeface="+mj-ea"/>
              <a:cs typeface="+mn-cs"/>
            </a:endParaRPr>
          </a:p>
        </p:txBody>
      </p:sp>
      <p:sp>
        <p:nvSpPr>
          <p:cNvPr id="14" name="Oval 79">
            <a:extLst>
              <a:ext uri="{FF2B5EF4-FFF2-40B4-BE49-F238E27FC236}">
                <a16:creationId xmlns:a16="http://schemas.microsoft.com/office/drawing/2014/main" id="{8AC8612A-65A9-4F24-A56D-99360C03C9D4}"/>
              </a:ext>
            </a:extLst>
          </p:cNvPr>
          <p:cNvSpPr>
            <a:spLocks noChangeArrowheads="1"/>
          </p:cNvSpPr>
          <p:nvPr/>
        </p:nvSpPr>
        <p:spPr bwMode="auto">
          <a:xfrm rot="16200000">
            <a:off x="5878512" y="3811588"/>
            <a:ext cx="407988" cy="407987"/>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Black"/>
              <a:ea typeface="+mj-ea"/>
              <a:cs typeface="+mn-cs"/>
            </a:endParaRPr>
          </a:p>
        </p:txBody>
      </p:sp>
      <p:sp>
        <p:nvSpPr>
          <p:cNvPr id="16" name="Freeform 81">
            <a:extLst>
              <a:ext uri="{FF2B5EF4-FFF2-40B4-BE49-F238E27FC236}">
                <a16:creationId xmlns:a16="http://schemas.microsoft.com/office/drawing/2014/main" id="{9ABFA4FE-9133-40DE-A226-0B90111310E8}"/>
              </a:ext>
            </a:extLst>
          </p:cNvPr>
          <p:cNvSpPr>
            <a:spLocks/>
          </p:cNvSpPr>
          <p:nvPr/>
        </p:nvSpPr>
        <p:spPr bwMode="auto">
          <a:xfrm rot="16200000">
            <a:off x="6798469" y="3264693"/>
            <a:ext cx="1506538" cy="1504950"/>
          </a:xfrm>
          <a:custGeom>
            <a:avLst/>
            <a:gdLst>
              <a:gd name="T0" fmla="*/ 398 w 399"/>
              <a:gd name="T1" fmla="*/ 377 h 399"/>
              <a:gd name="T2" fmla="*/ 386 w 399"/>
              <a:gd name="T3" fmla="*/ 217 h 399"/>
              <a:gd name="T4" fmla="*/ 353 w 399"/>
              <a:gd name="T5" fmla="*/ 205 h 399"/>
              <a:gd name="T6" fmla="*/ 353 w 399"/>
              <a:gd name="T7" fmla="*/ 205 h 399"/>
              <a:gd name="T8" fmla="*/ 326 w 399"/>
              <a:gd name="T9" fmla="*/ 205 h 399"/>
              <a:gd name="T10" fmla="*/ 128 w 399"/>
              <a:gd name="T11" fmla="*/ 7 h 399"/>
              <a:gd name="T12" fmla="*/ 101 w 399"/>
              <a:gd name="T13" fmla="*/ 7 h 399"/>
              <a:gd name="T14" fmla="*/ 7 w 399"/>
              <a:gd name="T15" fmla="*/ 101 h 399"/>
              <a:gd name="T16" fmla="*/ 7 w 399"/>
              <a:gd name="T17" fmla="*/ 127 h 399"/>
              <a:gd name="T18" fmla="*/ 206 w 399"/>
              <a:gd name="T19" fmla="*/ 326 h 399"/>
              <a:gd name="T20" fmla="*/ 206 w 399"/>
              <a:gd name="T21" fmla="*/ 353 h 399"/>
              <a:gd name="T22" fmla="*/ 206 w 399"/>
              <a:gd name="T23" fmla="*/ 353 h 399"/>
              <a:gd name="T24" fmla="*/ 218 w 399"/>
              <a:gd name="T25" fmla="*/ 385 h 399"/>
              <a:gd name="T26" fmla="*/ 378 w 399"/>
              <a:gd name="T27" fmla="*/ 398 h 399"/>
              <a:gd name="T28" fmla="*/ 398 w 399"/>
              <a:gd name="T29" fmla="*/ 377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99" h="399">
                <a:moveTo>
                  <a:pt x="398" y="377"/>
                </a:moveTo>
                <a:cubicBezTo>
                  <a:pt x="386" y="217"/>
                  <a:pt x="386" y="217"/>
                  <a:pt x="386" y="217"/>
                </a:cubicBezTo>
                <a:cubicBezTo>
                  <a:pt x="384" y="201"/>
                  <a:pt x="365" y="194"/>
                  <a:pt x="353" y="205"/>
                </a:cubicBezTo>
                <a:cubicBezTo>
                  <a:pt x="353" y="205"/>
                  <a:pt x="353" y="205"/>
                  <a:pt x="353" y="205"/>
                </a:cubicBezTo>
                <a:cubicBezTo>
                  <a:pt x="346" y="213"/>
                  <a:pt x="334" y="213"/>
                  <a:pt x="326" y="205"/>
                </a:cubicBezTo>
                <a:cubicBezTo>
                  <a:pt x="128" y="7"/>
                  <a:pt x="128" y="7"/>
                  <a:pt x="128" y="7"/>
                </a:cubicBezTo>
                <a:cubicBezTo>
                  <a:pt x="120" y="0"/>
                  <a:pt x="108" y="0"/>
                  <a:pt x="101" y="7"/>
                </a:cubicBezTo>
                <a:cubicBezTo>
                  <a:pt x="7" y="101"/>
                  <a:pt x="7" y="101"/>
                  <a:pt x="7" y="101"/>
                </a:cubicBezTo>
                <a:cubicBezTo>
                  <a:pt x="0" y="108"/>
                  <a:pt x="0" y="120"/>
                  <a:pt x="7" y="127"/>
                </a:cubicBezTo>
                <a:cubicBezTo>
                  <a:pt x="206" y="326"/>
                  <a:pt x="206" y="326"/>
                  <a:pt x="206" y="326"/>
                </a:cubicBezTo>
                <a:cubicBezTo>
                  <a:pt x="213" y="333"/>
                  <a:pt x="213" y="345"/>
                  <a:pt x="206" y="353"/>
                </a:cubicBezTo>
                <a:cubicBezTo>
                  <a:pt x="206" y="353"/>
                  <a:pt x="206" y="353"/>
                  <a:pt x="206" y="353"/>
                </a:cubicBezTo>
                <a:cubicBezTo>
                  <a:pt x="194" y="364"/>
                  <a:pt x="202" y="384"/>
                  <a:pt x="218" y="385"/>
                </a:cubicBezTo>
                <a:cubicBezTo>
                  <a:pt x="378" y="398"/>
                  <a:pt x="378" y="398"/>
                  <a:pt x="378" y="398"/>
                </a:cubicBezTo>
                <a:cubicBezTo>
                  <a:pt x="389" y="399"/>
                  <a:pt x="399" y="389"/>
                  <a:pt x="398" y="377"/>
                </a:cubicBezTo>
                <a:close/>
              </a:path>
            </a:pathLst>
          </a:custGeom>
          <a:gradFill>
            <a:gsLst>
              <a:gs pos="100000">
                <a:schemeClr val="accent1">
                  <a:lumMod val="60000"/>
                  <a:lumOff val="40000"/>
                </a:schemeClr>
              </a:gs>
              <a:gs pos="0">
                <a:schemeClr val="accent1"/>
              </a:gs>
            </a:gsLst>
            <a:lin ang="0" scaled="0"/>
          </a:gra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Black"/>
              <a:ea typeface="+mj-ea"/>
              <a:cs typeface="+mn-cs"/>
            </a:endParaRPr>
          </a:p>
        </p:txBody>
      </p:sp>
      <p:sp>
        <p:nvSpPr>
          <p:cNvPr id="18" name="Freeform 80">
            <a:extLst>
              <a:ext uri="{FF2B5EF4-FFF2-40B4-BE49-F238E27FC236}">
                <a16:creationId xmlns:a16="http://schemas.microsoft.com/office/drawing/2014/main" id="{B0636673-701E-4DCF-804C-11A46678C3DA}"/>
              </a:ext>
            </a:extLst>
          </p:cNvPr>
          <p:cNvSpPr>
            <a:spLocks/>
          </p:cNvSpPr>
          <p:nvPr/>
        </p:nvSpPr>
        <p:spPr bwMode="auto">
          <a:xfrm rot="16200000">
            <a:off x="6257132" y="4674394"/>
            <a:ext cx="800100" cy="531812"/>
          </a:xfrm>
          <a:custGeom>
            <a:avLst/>
            <a:gdLst>
              <a:gd name="T0" fmla="*/ 0 w 212"/>
              <a:gd name="T1" fmla="*/ 9 h 141"/>
              <a:gd name="T2" fmla="*/ 157 w 212"/>
              <a:gd name="T3" fmla="*/ 141 h 141"/>
              <a:gd name="T4" fmla="*/ 212 w 212"/>
              <a:gd name="T5" fmla="*/ 111 h 141"/>
              <a:gd name="T6" fmla="*/ 0 w 212"/>
              <a:gd name="T7" fmla="*/ 9 h 141"/>
            </a:gdLst>
            <a:ahLst/>
            <a:cxnLst>
              <a:cxn ang="0">
                <a:pos x="T0" y="T1"/>
              </a:cxn>
              <a:cxn ang="0">
                <a:pos x="T2" y="T3"/>
              </a:cxn>
              <a:cxn ang="0">
                <a:pos x="T4" y="T5"/>
              </a:cxn>
              <a:cxn ang="0">
                <a:pos x="T6" y="T7"/>
              </a:cxn>
            </a:cxnLst>
            <a:rect l="0" t="0" r="r" b="b"/>
            <a:pathLst>
              <a:path w="212" h="141">
                <a:moveTo>
                  <a:pt x="0" y="9"/>
                </a:moveTo>
                <a:cubicBezTo>
                  <a:pt x="0" y="9"/>
                  <a:pt x="87" y="0"/>
                  <a:pt x="157" y="141"/>
                </a:cubicBezTo>
                <a:cubicBezTo>
                  <a:pt x="212" y="111"/>
                  <a:pt x="212" y="111"/>
                  <a:pt x="212" y="111"/>
                </a:cubicBezTo>
                <a:cubicBezTo>
                  <a:pt x="212" y="111"/>
                  <a:pt x="146" y="7"/>
                  <a:pt x="0" y="9"/>
                </a:cubicBezTo>
                <a:close/>
              </a:path>
            </a:pathLst>
          </a:custGeom>
          <a:gradFill>
            <a:gsLst>
              <a:gs pos="100000">
                <a:schemeClr val="accent1">
                  <a:alpha val="0"/>
                </a:schemeClr>
              </a:gs>
              <a:gs pos="33000">
                <a:schemeClr val="accent1"/>
              </a:gs>
            </a:gsLst>
            <a:lin ang="0" scaled="0"/>
          </a:gra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Black"/>
              <a:ea typeface="+mj-ea"/>
              <a:cs typeface="+mn-cs"/>
            </a:endParaRPr>
          </a:p>
        </p:txBody>
      </p:sp>
      <p:sp>
        <p:nvSpPr>
          <p:cNvPr id="19" name="Oval 82">
            <a:extLst>
              <a:ext uri="{FF2B5EF4-FFF2-40B4-BE49-F238E27FC236}">
                <a16:creationId xmlns:a16="http://schemas.microsoft.com/office/drawing/2014/main" id="{2C8608F8-482C-462F-A254-9BCBC4D3DDD6}"/>
              </a:ext>
            </a:extLst>
          </p:cNvPr>
          <p:cNvSpPr>
            <a:spLocks noChangeArrowheads="1"/>
          </p:cNvSpPr>
          <p:nvPr/>
        </p:nvSpPr>
        <p:spPr bwMode="auto">
          <a:xfrm rot="16200000">
            <a:off x="6750051" y="4310062"/>
            <a:ext cx="498475" cy="498475"/>
          </a:xfrm>
          <a:prstGeom prst="ellipse">
            <a:avLst/>
          </a:pr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Black"/>
              <a:ea typeface="+mj-ea"/>
              <a:cs typeface="+mn-cs"/>
            </a:endParaRPr>
          </a:p>
        </p:txBody>
      </p:sp>
      <p:sp>
        <p:nvSpPr>
          <p:cNvPr id="20" name="Oval 83">
            <a:extLst>
              <a:ext uri="{FF2B5EF4-FFF2-40B4-BE49-F238E27FC236}">
                <a16:creationId xmlns:a16="http://schemas.microsoft.com/office/drawing/2014/main" id="{6B0384AF-63C8-45A9-82F7-5434403340EF}"/>
              </a:ext>
            </a:extLst>
          </p:cNvPr>
          <p:cNvSpPr>
            <a:spLocks noChangeArrowheads="1"/>
          </p:cNvSpPr>
          <p:nvPr/>
        </p:nvSpPr>
        <p:spPr bwMode="auto">
          <a:xfrm rot="16200000">
            <a:off x="6795294" y="4356893"/>
            <a:ext cx="407988" cy="406400"/>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Black"/>
              <a:ea typeface="+mj-ea"/>
              <a:cs typeface="+mn-cs"/>
            </a:endParaRPr>
          </a:p>
        </p:txBody>
      </p:sp>
      <p:sp>
        <p:nvSpPr>
          <p:cNvPr id="22" name="Freeform 53">
            <a:extLst>
              <a:ext uri="{FF2B5EF4-FFF2-40B4-BE49-F238E27FC236}">
                <a16:creationId xmlns:a16="http://schemas.microsoft.com/office/drawing/2014/main" id="{17236855-1F18-4AC1-AEAC-F6777B7D9795}"/>
              </a:ext>
            </a:extLst>
          </p:cNvPr>
          <p:cNvSpPr>
            <a:spLocks/>
          </p:cNvSpPr>
          <p:nvPr/>
        </p:nvSpPr>
        <p:spPr bwMode="auto">
          <a:xfrm rot="16200000">
            <a:off x="5038725" y="2430463"/>
            <a:ext cx="2117725" cy="6854825"/>
          </a:xfrm>
          <a:custGeom>
            <a:avLst/>
            <a:gdLst>
              <a:gd name="T0" fmla="*/ 607 w 616"/>
              <a:gd name="T1" fmla="*/ 986 h 2000"/>
              <a:gd name="T2" fmla="*/ 485 w 616"/>
              <a:gd name="T3" fmla="*/ 881 h 2000"/>
              <a:gd name="T4" fmla="*/ 454 w 616"/>
              <a:gd name="T5" fmla="*/ 896 h 2000"/>
              <a:gd name="T6" fmla="*/ 454 w 616"/>
              <a:gd name="T7" fmla="*/ 896 h 2000"/>
              <a:gd name="T8" fmla="*/ 435 w 616"/>
              <a:gd name="T9" fmla="*/ 915 h 2000"/>
              <a:gd name="T10" fmla="*/ 435 w 616"/>
              <a:gd name="T11" fmla="*/ 915 h 2000"/>
              <a:gd name="T12" fmla="*/ 80 w 616"/>
              <a:gd name="T13" fmla="*/ 645 h 2000"/>
              <a:gd name="T14" fmla="*/ 0 w 616"/>
              <a:gd name="T15" fmla="*/ 0 h 2000"/>
              <a:gd name="T16" fmla="*/ 0 w 616"/>
              <a:gd name="T17" fmla="*/ 2000 h 2000"/>
              <a:gd name="T18" fmla="*/ 80 w 616"/>
              <a:gd name="T19" fmla="*/ 1356 h 2000"/>
              <a:gd name="T20" fmla="*/ 435 w 616"/>
              <a:gd name="T21" fmla="*/ 1085 h 2000"/>
              <a:gd name="T22" fmla="*/ 435 w 616"/>
              <a:gd name="T23" fmla="*/ 1085 h 2000"/>
              <a:gd name="T24" fmla="*/ 454 w 616"/>
              <a:gd name="T25" fmla="*/ 1104 h 2000"/>
              <a:gd name="T26" fmla="*/ 454 w 616"/>
              <a:gd name="T27" fmla="*/ 1104 h 2000"/>
              <a:gd name="T28" fmla="*/ 485 w 616"/>
              <a:gd name="T29" fmla="*/ 1119 h 2000"/>
              <a:gd name="T30" fmla="*/ 607 w 616"/>
              <a:gd name="T31" fmla="*/ 1015 h 2000"/>
              <a:gd name="T32" fmla="*/ 607 w 616"/>
              <a:gd name="T33" fmla="*/ 986 h 2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16" h="2000">
                <a:moveTo>
                  <a:pt x="607" y="986"/>
                </a:moveTo>
                <a:cubicBezTo>
                  <a:pt x="485" y="881"/>
                  <a:pt x="485" y="881"/>
                  <a:pt x="485" y="881"/>
                </a:cubicBezTo>
                <a:cubicBezTo>
                  <a:pt x="473" y="871"/>
                  <a:pt x="454" y="880"/>
                  <a:pt x="454" y="896"/>
                </a:cubicBezTo>
                <a:cubicBezTo>
                  <a:pt x="454" y="896"/>
                  <a:pt x="454" y="896"/>
                  <a:pt x="454" y="896"/>
                </a:cubicBezTo>
                <a:cubicBezTo>
                  <a:pt x="454" y="906"/>
                  <a:pt x="445" y="915"/>
                  <a:pt x="435" y="915"/>
                </a:cubicBezTo>
                <a:cubicBezTo>
                  <a:pt x="435" y="915"/>
                  <a:pt x="435" y="915"/>
                  <a:pt x="435" y="915"/>
                </a:cubicBezTo>
                <a:cubicBezTo>
                  <a:pt x="269" y="915"/>
                  <a:pt x="139" y="800"/>
                  <a:pt x="80" y="645"/>
                </a:cubicBezTo>
                <a:cubicBezTo>
                  <a:pt x="12" y="464"/>
                  <a:pt x="0" y="1"/>
                  <a:pt x="0" y="0"/>
                </a:cubicBezTo>
                <a:cubicBezTo>
                  <a:pt x="0" y="2000"/>
                  <a:pt x="0" y="2000"/>
                  <a:pt x="0" y="2000"/>
                </a:cubicBezTo>
                <a:cubicBezTo>
                  <a:pt x="0" y="2000"/>
                  <a:pt x="20" y="1512"/>
                  <a:pt x="80" y="1356"/>
                </a:cubicBezTo>
                <a:cubicBezTo>
                  <a:pt x="142" y="1195"/>
                  <a:pt x="269" y="1085"/>
                  <a:pt x="435" y="1085"/>
                </a:cubicBezTo>
                <a:cubicBezTo>
                  <a:pt x="435" y="1085"/>
                  <a:pt x="435" y="1085"/>
                  <a:pt x="435" y="1085"/>
                </a:cubicBezTo>
                <a:cubicBezTo>
                  <a:pt x="445" y="1085"/>
                  <a:pt x="454" y="1094"/>
                  <a:pt x="454" y="1104"/>
                </a:cubicBezTo>
                <a:cubicBezTo>
                  <a:pt x="454" y="1104"/>
                  <a:pt x="454" y="1104"/>
                  <a:pt x="454" y="1104"/>
                </a:cubicBezTo>
                <a:cubicBezTo>
                  <a:pt x="454" y="1121"/>
                  <a:pt x="473" y="1129"/>
                  <a:pt x="485" y="1119"/>
                </a:cubicBezTo>
                <a:cubicBezTo>
                  <a:pt x="607" y="1015"/>
                  <a:pt x="607" y="1015"/>
                  <a:pt x="607" y="1015"/>
                </a:cubicBezTo>
                <a:cubicBezTo>
                  <a:pt x="616" y="1007"/>
                  <a:pt x="616" y="993"/>
                  <a:pt x="607" y="986"/>
                </a:cubicBezTo>
                <a:close/>
              </a:path>
            </a:pathLst>
          </a:custGeom>
          <a:gradFill>
            <a:gsLst>
              <a:gs pos="0">
                <a:schemeClr val="accent1"/>
              </a:gs>
              <a:gs pos="96000">
                <a:schemeClr val="accent1">
                  <a:lumMod val="60000"/>
                  <a:lumOff val="40000"/>
                </a:schemeClr>
              </a:gs>
            </a:gsLst>
            <a:lin ang="0" scaled="0"/>
          </a:gradFill>
          <a:ln>
            <a:noFill/>
          </a:ln>
        </p:spPr>
        <p:txBody>
          <a:bodyPr vert="vert" wrap="square" lIns="91440" tIns="45720" rIns="91440" bIns="45720" numCol="1" anchor="b"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5CE0CE">
                    <a:lumMod val="20000"/>
                    <a:lumOff val="80000"/>
                    <a:alpha val="70000"/>
                  </a:srgbClr>
                </a:solidFill>
                <a:effectLst/>
                <a:uLnTx/>
                <a:uFillTx/>
                <a:latin typeface="HarmonyOS Sans SC Black"/>
                <a:ea typeface="+mj-ea"/>
                <a:cs typeface="+mn-cs"/>
              </a:rPr>
              <a:t>Option</a:t>
            </a:r>
          </a:p>
        </p:txBody>
      </p:sp>
      <p:sp>
        <p:nvSpPr>
          <p:cNvPr id="25" name="TextBox 87">
            <a:extLst>
              <a:ext uri="{FF2B5EF4-FFF2-40B4-BE49-F238E27FC236}">
                <a16:creationId xmlns:a16="http://schemas.microsoft.com/office/drawing/2014/main" id="{0D2323B5-01F3-426C-B6CB-3B7BE3D38484}"/>
              </a:ext>
            </a:extLst>
          </p:cNvPr>
          <p:cNvSpPr txBox="1"/>
          <p:nvPr/>
        </p:nvSpPr>
        <p:spPr>
          <a:xfrm rot="2700000">
            <a:off x="4093541" y="3759845"/>
            <a:ext cx="1003300" cy="329706"/>
          </a:xfrm>
          <a:prstGeom prst="rect">
            <a:avLst/>
          </a:prstGeom>
          <a:noFill/>
        </p:spPr>
        <p:txBody>
          <a:bodyPr wrap="square" lIns="0" tIns="0" rIns="0" bIns="0" rtlCol="0">
            <a:spAutoFit/>
          </a:bodyPr>
          <a:lstStyle/>
          <a:p>
            <a:pPr marL="0" marR="0" lvl="0" indent="0" algn="r" defTabSz="457200" rtl="0" eaLnBrk="1" fontAlgn="base" latinLnBrk="0" hangingPunct="1">
              <a:lnSpc>
                <a:spcPct val="130000"/>
              </a:lnSpc>
              <a:spcBef>
                <a:spcPts val="100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HarmonyOS Sans SC Black"/>
                <a:ea typeface="+mj-ea"/>
                <a:cs typeface="+mn-cs"/>
              </a:rPr>
              <a:t>STEP 01</a:t>
            </a:r>
            <a:endParaRPr kumimoji="0" lang="en-US" sz="1050" b="0" i="0" u="none" strike="noStrike" kern="1200" cap="none" spc="0" normalizeH="0" baseline="0" noProof="0" dirty="0">
              <a:ln>
                <a:noFill/>
              </a:ln>
              <a:solidFill>
                <a:srgbClr val="FFFFFF"/>
              </a:solidFill>
              <a:effectLst/>
              <a:uLnTx/>
              <a:uFillTx/>
              <a:latin typeface="HarmonyOS Sans SC Black"/>
              <a:ea typeface="+mj-ea"/>
              <a:cs typeface="+mn-cs"/>
            </a:endParaRPr>
          </a:p>
        </p:txBody>
      </p:sp>
      <p:sp>
        <p:nvSpPr>
          <p:cNvPr id="26" name="TextBox 88">
            <a:extLst>
              <a:ext uri="{FF2B5EF4-FFF2-40B4-BE49-F238E27FC236}">
                <a16:creationId xmlns:a16="http://schemas.microsoft.com/office/drawing/2014/main" id="{95DF6CF7-82E2-46E2-910D-BF1DC90DAB2C}"/>
              </a:ext>
            </a:extLst>
          </p:cNvPr>
          <p:cNvSpPr txBox="1"/>
          <p:nvPr/>
        </p:nvSpPr>
        <p:spPr>
          <a:xfrm>
            <a:off x="5594349" y="2514213"/>
            <a:ext cx="1003300" cy="818044"/>
          </a:xfrm>
          <a:prstGeom prst="rect">
            <a:avLst/>
          </a:prstGeom>
          <a:noFill/>
        </p:spPr>
        <p:txBody>
          <a:bodyPr wrap="square" lIns="0" tIns="0" rIns="0" bIns="0" rtlCol="0">
            <a:spAutoFit/>
          </a:bodyPr>
          <a:lstStyle/>
          <a:p>
            <a:pPr marL="0" marR="0" lvl="0" indent="0" algn="ctr" defTabSz="457200" rtl="0" eaLnBrk="1" fontAlgn="base" latinLnBrk="0" hangingPunct="1">
              <a:lnSpc>
                <a:spcPct val="130000"/>
              </a:lnSpc>
              <a:spcBef>
                <a:spcPts val="100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HarmonyOS Sans SC Black"/>
                <a:ea typeface="+mj-ea"/>
                <a:cs typeface="+mn-cs"/>
              </a:rPr>
              <a:t>STEP </a:t>
            </a:r>
          </a:p>
          <a:p>
            <a:pPr marL="0" marR="0" lvl="0" indent="0" algn="ctr" defTabSz="457200" rtl="0" eaLnBrk="1" fontAlgn="base" latinLnBrk="0" hangingPunct="1">
              <a:lnSpc>
                <a:spcPct val="130000"/>
              </a:lnSpc>
              <a:spcBef>
                <a:spcPts val="100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HarmonyOS Sans SC Black"/>
                <a:ea typeface="+mj-ea"/>
                <a:cs typeface="+mn-cs"/>
              </a:rPr>
              <a:t>01</a:t>
            </a:r>
            <a:endParaRPr kumimoji="0" lang="en-US" sz="1050" b="0" i="0" u="none" strike="noStrike" kern="1200" cap="none" spc="0" normalizeH="0" baseline="0" noProof="0" dirty="0">
              <a:ln>
                <a:noFill/>
              </a:ln>
              <a:solidFill>
                <a:srgbClr val="FFFFFF"/>
              </a:solidFill>
              <a:effectLst/>
              <a:uLnTx/>
              <a:uFillTx/>
              <a:latin typeface="HarmonyOS Sans SC Black"/>
              <a:ea typeface="+mj-ea"/>
              <a:cs typeface="+mn-cs"/>
            </a:endParaRPr>
          </a:p>
        </p:txBody>
      </p:sp>
      <p:sp>
        <p:nvSpPr>
          <p:cNvPr id="27" name="TextBox 89">
            <a:extLst>
              <a:ext uri="{FF2B5EF4-FFF2-40B4-BE49-F238E27FC236}">
                <a16:creationId xmlns:a16="http://schemas.microsoft.com/office/drawing/2014/main" id="{F17C40FD-2F8F-43B1-BEAC-92E6DBBC1AA7}"/>
              </a:ext>
            </a:extLst>
          </p:cNvPr>
          <p:cNvSpPr txBox="1"/>
          <p:nvPr/>
        </p:nvSpPr>
        <p:spPr>
          <a:xfrm rot="18900000">
            <a:off x="7005836" y="3850728"/>
            <a:ext cx="1003300" cy="329706"/>
          </a:xfrm>
          <a:prstGeom prst="rect">
            <a:avLst/>
          </a:prstGeom>
          <a:noFill/>
        </p:spPr>
        <p:txBody>
          <a:bodyPr wrap="square" lIns="0" tIns="0" rIns="0" bIns="0" rtlCol="0">
            <a:spAutoFit/>
          </a:bodyPr>
          <a:lstStyle/>
          <a:p>
            <a:pPr marL="0" marR="0" lvl="0" indent="0" algn="r" defTabSz="457200" rtl="0" eaLnBrk="1" fontAlgn="base" latinLnBrk="0" hangingPunct="1">
              <a:lnSpc>
                <a:spcPct val="130000"/>
              </a:lnSpc>
              <a:spcBef>
                <a:spcPts val="100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HarmonyOS Sans SC Black"/>
                <a:ea typeface="+mj-ea"/>
                <a:cs typeface="+mn-cs"/>
              </a:rPr>
              <a:t>STEP 03</a:t>
            </a:r>
            <a:endParaRPr kumimoji="0" lang="en-US" sz="1050" b="0" i="0" u="none" strike="noStrike" kern="1200" cap="none" spc="0" normalizeH="0" baseline="0" noProof="0" dirty="0">
              <a:ln>
                <a:noFill/>
              </a:ln>
              <a:solidFill>
                <a:srgbClr val="FFFFFF"/>
              </a:solidFill>
              <a:effectLst/>
              <a:uLnTx/>
              <a:uFillTx/>
              <a:latin typeface="HarmonyOS Sans SC Black"/>
              <a:ea typeface="+mj-ea"/>
              <a:cs typeface="+mn-cs"/>
            </a:endParaRPr>
          </a:p>
        </p:txBody>
      </p:sp>
      <p:grpSp>
        <p:nvGrpSpPr>
          <p:cNvPr id="37" name="组合 36">
            <a:extLst>
              <a:ext uri="{FF2B5EF4-FFF2-40B4-BE49-F238E27FC236}">
                <a16:creationId xmlns:a16="http://schemas.microsoft.com/office/drawing/2014/main" id="{D3A734B4-71D3-4CBB-8BEB-AAD918DD12C9}"/>
              </a:ext>
            </a:extLst>
          </p:cNvPr>
          <p:cNvGrpSpPr/>
          <p:nvPr/>
        </p:nvGrpSpPr>
        <p:grpSpPr>
          <a:xfrm>
            <a:off x="8728836" y="2432119"/>
            <a:ext cx="2056262" cy="881603"/>
            <a:chOff x="8924793" y="1788672"/>
            <a:chExt cx="2056262" cy="881603"/>
          </a:xfrm>
        </p:grpSpPr>
        <p:sp>
          <p:nvSpPr>
            <p:cNvPr id="38" name="TextBox 65">
              <a:extLst>
                <a:ext uri="{FF2B5EF4-FFF2-40B4-BE49-F238E27FC236}">
                  <a16:creationId xmlns:a16="http://schemas.microsoft.com/office/drawing/2014/main" id="{78CDADD5-0A36-4F7A-B8D9-5B89C96CCC40}"/>
                </a:ext>
              </a:extLst>
            </p:cNvPr>
            <p:cNvSpPr txBox="1"/>
            <p:nvPr/>
          </p:nvSpPr>
          <p:spPr>
            <a:xfrm flipH="1">
              <a:off x="8924794" y="1788672"/>
              <a:ext cx="2056261" cy="387598"/>
            </a:xfrm>
            <a:prstGeom prst="rect">
              <a:avLst/>
            </a:prstGeom>
            <a:noFill/>
          </p:spPr>
          <p:txBody>
            <a:bodyPr wrap="square" lIns="0" tIns="36000" rIns="0" bIns="36000" rtlCol="0">
              <a:spAutoFit/>
            </a:bodyPr>
            <a:lstStyle/>
            <a:p>
              <a:pPr marL="0" marR="0" lvl="0" indent="0" algn="l" defTabSz="914400" rtl="0" eaLnBrk="1" fontAlgn="auto" latinLnBrk="0" hangingPunct="1">
                <a:lnSpc>
                  <a:spcPct val="120000"/>
                </a:lnSpc>
                <a:spcBef>
                  <a:spcPts val="600"/>
                </a:spcBef>
                <a:spcAft>
                  <a:spcPts val="0"/>
                </a:spcAft>
                <a:buClrTx/>
                <a:buSzTx/>
                <a:buFontTx/>
                <a:buNone/>
                <a:tabLst/>
                <a:defRPr/>
              </a:pPr>
              <a:r>
                <a:rPr kumimoji="0" lang="zh-CN" altLang="en-US" sz="1800" b="0" i="0" u="none" strike="noStrike" kern="1200" cap="none" spc="0" normalizeH="0" baseline="0" noProof="0" dirty="0">
                  <a:ln>
                    <a:noFill/>
                  </a:ln>
                  <a:solidFill>
                    <a:schemeClr val="accent1"/>
                  </a:solidFill>
                  <a:effectLst/>
                  <a:uLnTx/>
                  <a:uFillTx/>
                  <a:latin typeface="HarmonyOS Sans SC Black"/>
                  <a:ea typeface="+mj-ea"/>
                  <a:cs typeface="+mn-cs"/>
                </a:rPr>
                <a:t>关键词标题</a:t>
              </a:r>
              <a:endParaRPr kumimoji="0" lang="en-US" sz="1800" b="0" i="0" u="none" strike="noStrike" kern="1200" cap="none" spc="0" normalizeH="0" baseline="0" noProof="0" dirty="0">
                <a:ln>
                  <a:noFill/>
                </a:ln>
                <a:solidFill>
                  <a:schemeClr val="accent1"/>
                </a:solidFill>
                <a:effectLst/>
                <a:uLnTx/>
                <a:uFillTx/>
                <a:latin typeface="HarmonyOS Sans SC Black"/>
                <a:ea typeface="+mj-ea"/>
                <a:cs typeface="+mn-cs"/>
              </a:endParaRPr>
            </a:p>
          </p:txBody>
        </p:sp>
        <p:sp>
          <p:nvSpPr>
            <p:cNvPr id="39" name="TextBox 65">
              <a:extLst>
                <a:ext uri="{FF2B5EF4-FFF2-40B4-BE49-F238E27FC236}">
                  <a16:creationId xmlns:a16="http://schemas.microsoft.com/office/drawing/2014/main" id="{18355530-4771-4B94-B067-BD268080F693}"/>
                </a:ext>
              </a:extLst>
            </p:cNvPr>
            <p:cNvSpPr txBox="1"/>
            <p:nvPr/>
          </p:nvSpPr>
          <p:spPr>
            <a:xfrm flipH="1">
              <a:off x="8924793" y="2172071"/>
              <a:ext cx="1987912" cy="498204"/>
            </a:xfrm>
            <a:prstGeom prst="rect">
              <a:avLst/>
            </a:prstGeom>
            <a:noFill/>
          </p:spPr>
          <p:txBody>
            <a:bodyPr wrap="square" lIns="0" tIns="36000" rIns="0" bIns="36000" rtlCol="0">
              <a:spAutoFit/>
            </a:bodyPr>
            <a:lstStyle/>
            <a:p>
              <a:pPr marL="0" marR="0" lvl="0" indent="0" algn="l" defTabSz="914400" rtl="0" eaLnBrk="1" fontAlgn="auto" latinLnBrk="0" hangingPunct="1">
                <a:lnSpc>
                  <a:spcPct val="120000"/>
                </a:lnSpc>
                <a:spcBef>
                  <a:spcPts val="600"/>
                </a:spcBef>
                <a:spcAft>
                  <a:spcPts val="0"/>
                </a:spcAft>
                <a:buClrTx/>
                <a:buSzTx/>
                <a:buFontTx/>
                <a:buNone/>
                <a:tabLst/>
                <a:defRPr/>
              </a:pPr>
              <a:r>
                <a:rPr kumimoji="0" lang="en-US" sz="1200" b="0" i="0" u="none" strike="noStrike" kern="1200" cap="none" spc="0" normalizeH="0" baseline="0" noProof="0" dirty="0">
                  <a:ln>
                    <a:noFill/>
                  </a:ln>
                  <a:solidFill>
                    <a:prstClr val="black">
                      <a:lumMod val="50000"/>
                      <a:lumOff val="50000"/>
                    </a:prstClr>
                  </a:solidFill>
                  <a:effectLst/>
                  <a:uLnTx/>
                  <a:uFillTx/>
                  <a:latin typeface="HarmonyOS Sans SC"/>
                  <a:cs typeface="+mn-cs"/>
                </a:rPr>
                <a:t>Apparently we had reached a great height in the.</a:t>
              </a:r>
            </a:p>
          </p:txBody>
        </p:sp>
      </p:grpSp>
      <p:grpSp>
        <p:nvGrpSpPr>
          <p:cNvPr id="40" name="组合 39">
            <a:extLst>
              <a:ext uri="{FF2B5EF4-FFF2-40B4-BE49-F238E27FC236}">
                <a16:creationId xmlns:a16="http://schemas.microsoft.com/office/drawing/2014/main" id="{AA3CBBE5-135B-4F99-9E45-8534C2C79685}"/>
              </a:ext>
            </a:extLst>
          </p:cNvPr>
          <p:cNvGrpSpPr/>
          <p:nvPr/>
        </p:nvGrpSpPr>
        <p:grpSpPr>
          <a:xfrm>
            <a:off x="1745461" y="2432119"/>
            <a:ext cx="2056262" cy="881603"/>
            <a:chOff x="8924793" y="1788672"/>
            <a:chExt cx="2056262" cy="881603"/>
          </a:xfrm>
        </p:grpSpPr>
        <p:sp>
          <p:nvSpPr>
            <p:cNvPr id="41" name="TextBox 65">
              <a:extLst>
                <a:ext uri="{FF2B5EF4-FFF2-40B4-BE49-F238E27FC236}">
                  <a16:creationId xmlns:a16="http://schemas.microsoft.com/office/drawing/2014/main" id="{74EDF445-B9D0-42D0-87E3-E06654F579E8}"/>
                </a:ext>
              </a:extLst>
            </p:cNvPr>
            <p:cNvSpPr txBox="1"/>
            <p:nvPr/>
          </p:nvSpPr>
          <p:spPr>
            <a:xfrm flipH="1">
              <a:off x="8924794" y="1788672"/>
              <a:ext cx="2056261" cy="387598"/>
            </a:xfrm>
            <a:prstGeom prst="rect">
              <a:avLst/>
            </a:prstGeom>
            <a:noFill/>
          </p:spPr>
          <p:txBody>
            <a:bodyPr wrap="square" lIns="0" tIns="36000" rIns="0" bIns="36000" rtlCol="0">
              <a:spAutoFit/>
            </a:bodyPr>
            <a:lstStyle/>
            <a:p>
              <a:pPr marL="0" marR="0" lvl="0" indent="0" algn="r" defTabSz="914400" rtl="0" eaLnBrk="1" fontAlgn="auto" latinLnBrk="0" hangingPunct="1">
                <a:lnSpc>
                  <a:spcPct val="120000"/>
                </a:lnSpc>
                <a:spcBef>
                  <a:spcPts val="600"/>
                </a:spcBef>
                <a:spcAft>
                  <a:spcPts val="0"/>
                </a:spcAft>
                <a:buClrTx/>
                <a:buSzTx/>
                <a:buFontTx/>
                <a:buNone/>
                <a:tabLst/>
                <a:defRPr/>
              </a:pPr>
              <a:r>
                <a:rPr kumimoji="0" lang="zh-CN" altLang="en-US" sz="1800" b="0" i="0" u="none" strike="noStrike" kern="1200" cap="none" spc="0" normalizeH="0" baseline="0" noProof="0" dirty="0">
                  <a:ln>
                    <a:noFill/>
                  </a:ln>
                  <a:solidFill>
                    <a:schemeClr val="accent1"/>
                  </a:solidFill>
                  <a:effectLst/>
                  <a:uLnTx/>
                  <a:uFillTx/>
                  <a:latin typeface="HarmonyOS Sans SC Black"/>
                  <a:ea typeface="+mj-ea"/>
                  <a:cs typeface="+mn-cs"/>
                </a:rPr>
                <a:t>关键词标题</a:t>
              </a:r>
              <a:endParaRPr kumimoji="0" lang="en-US" sz="1800" b="0" i="0" u="none" strike="noStrike" kern="1200" cap="none" spc="0" normalizeH="0" baseline="0" noProof="0" dirty="0">
                <a:ln>
                  <a:noFill/>
                </a:ln>
                <a:solidFill>
                  <a:schemeClr val="accent1"/>
                </a:solidFill>
                <a:effectLst/>
                <a:uLnTx/>
                <a:uFillTx/>
                <a:latin typeface="HarmonyOS Sans SC Black"/>
                <a:ea typeface="+mj-ea"/>
                <a:cs typeface="+mn-cs"/>
              </a:endParaRPr>
            </a:p>
          </p:txBody>
        </p:sp>
        <p:sp>
          <p:nvSpPr>
            <p:cNvPr id="42" name="TextBox 65">
              <a:extLst>
                <a:ext uri="{FF2B5EF4-FFF2-40B4-BE49-F238E27FC236}">
                  <a16:creationId xmlns:a16="http://schemas.microsoft.com/office/drawing/2014/main" id="{2CF3502F-AFA1-4309-83F7-6945E6F4F1AE}"/>
                </a:ext>
              </a:extLst>
            </p:cNvPr>
            <p:cNvSpPr txBox="1"/>
            <p:nvPr/>
          </p:nvSpPr>
          <p:spPr>
            <a:xfrm flipH="1">
              <a:off x="8924793" y="2172071"/>
              <a:ext cx="1987912" cy="498204"/>
            </a:xfrm>
            <a:prstGeom prst="rect">
              <a:avLst/>
            </a:prstGeom>
            <a:noFill/>
          </p:spPr>
          <p:txBody>
            <a:bodyPr wrap="square" lIns="0" tIns="36000" rIns="0" bIns="36000" rtlCol="0">
              <a:spAutoFit/>
            </a:bodyPr>
            <a:lstStyle/>
            <a:p>
              <a:pPr marL="0" marR="0" lvl="0" indent="0" algn="r" defTabSz="914400" rtl="0" eaLnBrk="1" fontAlgn="auto" latinLnBrk="0" hangingPunct="1">
                <a:lnSpc>
                  <a:spcPct val="120000"/>
                </a:lnSpc>
                <a:spcBef>
                  <a:spcPts val="600"/>
                </a:spcBef>
                <a:spcAft>
                  <a:spcPts val="0"/>
                </a:spcAft>
                <a:buClrTx/>
                <a:buSzTx/>
                <a:buFontTx/>
                <a:buNone/>
                <a:tabLst/>
                <a:defRPr/>
              </a:pPr>
              <a:r>
                <a:rPr kumimoji="0" lang="en-US" sz="1200" b="0" i="0" u="none" strike="noStrike" kern="1200" cap="none" spc="0" normalizeH="0" baseline="0" noProof="0" dirty="0">
                  <a:ln>
                    <a:noFill/>
                  </a:ln>
                  <a:solidFill>
                    <a:prstClr val="black">
                      <a:lumMod val="50000"/>
                      <a:lumOff val="50000"/>
                    </a:prstClr>
                  </a:solidFill>
                  <a:effectLst/>
                  <a:uLnTx/>
                  <a:uFillTx/>
                  <a:latin typeface="HarmonyOS Sans SC"/>
                  <a:cs typeface="+mn-cs"/>
                </a:rPr>
                <a:t>Apparently we had reached a great height in the.</a:t>
              </a:r>
            </a:p>
          </p:txBody>
        </p:sp>
      </p:grpSp>
      <p:grpSp>
        <p:nvGrpSpPr>
          <p:cNvPr id="43" name="组合 42">
            <a:extLst>
              <a:ext uri="{FF2B5EF4-FFF2-40B4-BE49-F238E27FC236}">
                <a16:creationId xmlns:a16="http://schemas.microsoft.com/office/drawing/2014/main" id="{A5C8CA22-2186-4CCE-B60A-00E356E2D726}"/>
              </a:ext>
            </a:extLst>
          </p:cNvPr>
          <p:cNvGrpSpPr/>
          <p:nvPr/>
        </p:nvGrpSpPr>
        <p:grpSpPr>
          <a:xfrm>
            <a:off x="5067869" y="1111299"/>
            <a:ext cx="2056262" cy="881603"/>
            <a:chOff x="8924793" y="1788672"/>
            <a:chExt cx="2056262" cy="881603"/>
          </a:xfrm>
        </p:grpSpPr>
        <p:sp>
          <p:nvSpPr>
            <p:cNvPr id="44" name="TextBox 65">
              <a:extLst>
                <a:ext uri="{FF2B5EF4-FFF2-40B4-BE49-F238E27FC236}">
                  <a16:creationId xmlns:a16="http://schemas.microsoft.com/office/drawing/2014/main" id="{6E5CEFC6-3A74-4AD4-93E4-7C794D5739E7}"/>
                </a:ext>
              </a:extLst>
            </p:cNvPr>
            <p:cNvSpPr txBox="1"/>
            <p:nvPr/>
          </p:nvSpPr>
          <p:spPr>
            <a:xfrm flipH="1">
              <a:off x="8924794" y="1788672"/>
              <a:ext cx="2056261" cy="387598"/>
            </a:xfrm>
            <a:prstGeom prst="rect">
              <a:avLst/>
            </a:prstGeom>
            <a:noFill/>
          </p:spPr>
          <p:txBody>
            <a:bodyPr wrap="square" lIns="0" tIns="36000" rIns="0" bIns="36000" rtlCol="0">
              <a:spAutoFit/>
            </a:bodyPr>
            <a:lstStyle/>
            <a:p>
              <a:pPr marL="0" marR="0" lvl="0" indent="0" algn="ctr" defTabSz="914400" rtl="0" eaLnBrk="1" fontAlgn="auto" latinLnBrk="0" hangingPunct="1">
                <a:lnSpc>
                  <a:spcPct val="120000"/>
                </a:lnSpc>
                <a:spcBef>
                  <a:spcPts val="600"/>
                </a:spcBef>
                <a:spcAft>
                  <a:spcPts val="0"/>
                </a:spcAft>
                <a:buClrTx/>
                <a:buSzTx/>
                <a:buFontTx/>
                <a:buNone/>
                <a:tabLst/>
                <a:defRPr/>
              </a:pPr>
              <a:r>
                <a:rPr kumimoji="0" lang="zh-CN" altLang="en-US" sz="1800" b="0" i="0" u="none" strike="noStrike" kern="1200" cap="none" spc="0" normalizeH="0" baseline="0" noProof="0" dirty="0">
                  <a:ln>
                    <a:noFill/>
                  </a:ln>
                  <a:solidFill>
                    <a:schemeClr val="accent1"/>
                  </a:solidFill>
                  <a:effectLst/>
                  <a:uLnTx/>
                  <a:uFillTx/>
                  <a:latin typeface="HarmonyOS Sans SC Black"/>
                  <a:ea typeface="+mj-ea"/>
                  <a:cs typeface="+mn-cs"/>
                </a:rPr>
                <a:t>关键词标题</a:t>
              </a:r>
              <a:endParaRPr kumimoji="0" lang="en-US" sz="1800" b="0" i="0" u="none" strike="noStrike" kern="1200" cap="none" spc="0" normalizeH="0" baseline="0" noProof="0" dirty="0">
                <a:ln>
                  <a:noFill/>
                </a:ln>
                <a:solidFill>
                  <a:schemeClr val="accent1"/>
                </a:solidFill>
                <a:effectLst/>
                <a:uLnTx/>
                <a:uFillTx/>
                <a:latin typeface="HarmonyOS Sans SC Black"/>
                <a:ea typeface="+mj-ea"/>
                <a:cs typeface="+mn-cs"/>
              </a:endParaRPr>
            </a:p>
          </p:txBody>
        </p:sp>
        <p:sp>
          <p:nvSpPr>
            <p:cNvPr id="45" name="TextBox 65">
              <a:extLst>
                <a:ext uri="{FF2B5EF4-FFF2-40B4-BE49-F238E27FC236}">
                  <a16:creationId xmlns:a16="http://schemas.microsoft.com/office/drawing/2014/main" id="{951430CC-6ECE-43D0-975B-8AB1787FFAA2}"/>
                </a:ext>
              </a:extLst>
            </p:cNvPr>
            <p:cNvSpPr txBox="1"/>
            <p:nvPr/>
          </p:nvSpPr>
          <p:spPr>
            <a:xfrm flipH="1">
              <a:off x="8924793" y="2172071"/>
              <a:ext cx="1987912" cy="498204"/>
            </a:xfrm>
            <a:prstGeom prst="rect">
              <a:avLst/>
            </a:prstGeom>
            <a:noFill/>
          </p:spPr>
          <p:txBody>
            <a:bodyPr wrap="square" lIns="0" tIns="36000" rIns="0" bIns="36000" rtlCol="0">
              <a:spAutoFit/>
            </a:bodyPr>
            <a:lstStyle/>
            <a:p>
              <a:pPr marL="0" marR="0" lvl="0" indent="0" algn="ctr" defTabSz="914400" rtl="0" eaLnBrk="1" fontAlgn="auto" latinLnBrk="0" hangingPunct="1">
                <a:lnSpc>
                  <a:spcPct val="120000"/>
                </a:lnSpc>
                <a:spcBef>
                  <a:spcPts val="600"/>
                </a:spcBef>
                <a:spcAft>
                  <a:spcPts val="0"/>
                </a:spcAft>
                <a:buClrTx/>
                <a:buSzTx/>
                <a:buFontTx/>
                <a:buNone/>
                <a:tabLst/>
                <a:defRPr/>
              </a:pPr>
              <a:r>
                <a:rPr kumimoji="0" lang="en-US" sz="1200" b="0" i="0" u="none" strike="noStrike" kern="1200" cap="none" spc="0" normalizeH="0" baseline="0" noProof="0" dirty="0">
                  <a:ln>
                    <a:noFill/>
                  </a:ln>
                  <a:solidFill>
                    <a:prstClr val="black">
                      <a:lumMod val="50000"/>
                      <a:lumOff val="50000"/>
                    </a:prstClr>
                  </a:solidFill>
                  <a:effectLst/>
                  <a:uLnTx/>
                  <a:uFillTx/>
                  <a:latin typeface="HarmonyOS Sans SC"/>
                  <a:cs typeface="+mn-cs"/>
                </a:rPr>
                <a:t>Apparently we had reached a great height in the.</a:t>
              </a:r>
            </a:p>
          </p:txBody>
        </p:sp>
      </p:grpSp>
    </p:spTree>
    <p:extLst>
      <p:ext uri="{BB962C8B-B14F-4D97-AF65-F5344CB8AC3E}">
        <p14:creationId xmlns:p14="http://schemas.microsoft.com/office/powerpoint/2010/main" val="2066886227"/>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4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Pentagon 125">
            <a:extLst>
              <a:ext uri="{FF2B5EF4-FFF2-40B4-BE49-F238E27FC236}">
                <a16:creationId xmlns:a16="http://schemas.microsoft.com/office/drawing/2014/main" id="{108A6E64-4627-4319-997E-95475A0A3100}"/>
              </a:ext>
            </a:extLst>
          </p:cNvPr>
          <p:cNvSpPr/>
          <p:nvPr/>
        </p:nvSpPr>
        <p:spPr>
          <a:xfrm flipH="1">
            <a:off x="5819859" y="2288461"/>
            <a:ext cx="2499683" cy="953669"/>
          </a:xfrm>
          <a:prstGeom prst="homePlate">
            <a:avLst/>
          </a:prstGeom>
          <a:gradFill>
            <a:gsLst>
              <a:gs pos="73000">
                <a:schemeClr val="accent1"/>
              </a:gs>
              <a:gs pos="31000">
                <a:schemeClr val="accent1">
                  <a:lumMod val="60000"/>
                  <a:lumOff val="40000"/>
                </a:schemeClr>
              </a:gs>
              <a:gs pos="0">
                <a:schemeClr val="accent1">
                  <a:lumMod val="40000"/>
                  <a:lumOff val="60000"/>
                </a:schemeClr>
              </a:gs>
            </a:gsLst>
            <a:path path="circle">
              <a:fillToRect r="100000" b="100000"/>
            </a:path>
          </a:gradFill>
          <a:ln>
            <a:noFill/>
          </a:ln>
          <a:effectLst>
            <a:outerShdw blurRad="444500" dist="317500" dir="5400000" sx="92000" sy="92000" algn="t" rotWithShape="0">
              <a:schemeClr val="accent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HarmonyOS Sans SC"/>
              <a:cs typeface="+mn-cs"/>
            </a:endParaRPr>
          </a:p>
        </p:txBody>
      </p:sp>
      <p:sp>
        <p:nvSpPr>
          <p:cNvPr id="9" name="Pentagon 124">
            <a:extLst>
              <a:ext uri="{FF2B5EF4-FFF2-40B4-BE49-F238E27FC236}">
                <a16:creationId xmlns:a16="http://schemas.microsoft.com/office/drawing/2014/main" id="{AB626846-3D2D-4440-A780-05AE865DD5C8}"/>
              </a:ext>
            </a:extLst>
          </p:cNvPr>
          <p:cNvSpPr/>
          <p:nvPr/>
        </p:nvSpPr>
        <p:spPr>
          <a:xfrm flipH="1">
            <a:off x="5179779" y="3687030"/>
            <a:ext cx="3139763" cy="953669"/>
          </a:xfrm>
          <a:prstGeom prst="homePlate">
            <a:avLst/>
          </a:prstGeom>
          <a:gradFill>
            <a:gsLst>
              <a:gs pos="73000">
                <a:schemeClr val="accent1"/>
              </a:gs>
              <a:gs pos="31000">
                <a:schemeClr val="accent1">
                  <a:lumMod val="60000"/>
                  <a:lumOff val="40000"/>
                </a:schemeClr>
              </a:gs>
              <a:gs pos="0">
                <a:schemeClr val="accent1">
                  <a:lumMod val="40000"/>
                  <a:lumOff val="60000"/>
                </a:schemeClr>
              </a:gs>
            </a:gsLst>
            <a:path path="circle">
              <a:fillToRect r="100000" b="100000"/>
            </a:path>
          </a:gradFill>
          <a:ln>
            <a:noFill/>
          </a:ln>
          <a:effectLst>
            <a:outerShdw blurRad="444500" dist="317500" dir="5400000" sx="92000" sy="92000" algn="t" rotWithShape="0">
              <a:schemeClr val="accent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HarmonyOS Sans SC"/>
              <a:cs typeface="+mn-cs"/>
            </a:endParaRPr>
          </a:p>
        </p:txBody>
      </p:sp>
      <p:sp>
        <p:nvSpPr>
          <p:cNvPr id="10" name="Pentagon 123">
            <a:extLst>
              <a:ext uri="{FF2B5EF4-FFF2-40B4-BE49-F238E27FC236}">
                <a16:creationId xmlns:a16="http://schemas.microsoft.com/office/drawing/2014/main" id="{552BC980-E5F3-4A10-ABB4-CEC5EFA51603}"/>
              </a:ext>
            </a:extLst>
          </p:cNvPr>
          <p:cNvSpPr/>
          <p:nvPr/>
        </p:nvSpPr>
        <p:spPr>
          <a:xfrm>
            <a:off x="8473501" y="2885966"/>
            <a:ext cx="2887622" cy="953669"/>
          </a:xfrm>
          <a:prstGeom prst="homePlate">
            <a:avLst/>
          </a:prstGeom>
          <a:gradFill>
            <a:gsLst>
              <a:gs pos="73000">
                <a:schemeClr val="accent1"/>
              </a:gs>
              <a:gs pos="31000">
                <a:schemeClr val="accent1">
                  <a:lumMod val="60000"/>
                  <a:lumOff val="40000"/>
                </a:schemeClr>
              </a:gs>
              <a:gs pos="0">
                <a:schemeClr val="accent1">
                  <a:lumMod val="40000"/>
                  <a:lumOff val="60000"/>
                </a:schemeClr>
              </a:gs>
            </a:gsLst>
            <a:path path="circle">
              <a:fillToRect r="100000" b="100000"/>
            </a:path>
          </a:gradFill>
          <a:ln>
            <a:noFill/>
          </a:ln>
          <a:effectLst>
            <a:outerShdw blurRad="444500" dist="317500" dir="5400000" sx="92000" sy="92000" algn="t" rotWithShape="0">
              <a:schemeClr val="accent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HarmonyOS Sans SC"/>
              <a:cs typeface="+mn-cs"/>
            </a:endParaRPr>
          </a:p>
        </p:txBody>
      </p:sp>
      <p:sp>
        <p:nvSpPr>
          <p:cNvPr id="11" name="Freeform 51">
            <a:extLst>
              <a:ext uri="{FF2B5EF4-FFF2-40B4-BE49-F238E27FC236}">
                <a16:creationId xmlns:a16="http://schemas.microsoft.com/office/drawing/2014/main" id="{129C328C-D1D9-4B38-8B8D-E77922DE0B4D}"/>
              </a:ext>
            </a:extLst>
          </p:cNvPr>
          <p:cNvSpPr>
            <a:spLocks/>
          </p:cNvSpPr>
          <p:nvPr/>
        </p:nvSpPr>
        <p:spPr bwMode="auto">
          <a:xfrm>
            <a:off x="6363839" y="2403604"/>
            <a:ext cx="1036897" cy="603673"/>
          </a:xfrm>
          <a:custGeom>
            <a:avLst/>
            <a:gdLst>
              <a:gd name="T0" fmla="*/ 730 w 730"/>
              <a:gd name="T1" fmla="*/ 0 h 425"/>
              <a:gd name="T2" fmla="*/ 0 w 730"/>
              <a:gd name="T3" fmla="*/ 425 h 425"/>
              <a:gd name="T4" fmla="*/ 730 w 730"/>
              <a:gd name="T5" fmla="*/ 425 h 425"/>
              <a:gd name="T6" fmla="*/ 730 w 730"/>
              <a:gd name="T7" fmla="*/ 0 h 425"/>
            </a:gdLst>
            <a:ahLst/>
            <a:cxnLst>
              <a:cxn ang="0">
                <a:pos x="T0" y="T1"/>
              </a:cxn>
              <a:cxn ang="0">
                <a:pos x="T2" y="T3"/>
              </a:cxn>
              <a:cxn ang="0">
                <a:pos x="T4" y="T5"/>
              </a:cxn>
              <a:cxn ang="0">
                <a:pos x="T6" y="T7"/>
              </a:cxn>
            </a:cxnLst>
            <a:rect l="0" t="0" r="r" b="b"/>
            <a:pathLst>
              <a:path w="730" h="425">
                <a:moveTo>
                  <a:pt x="730" y="0"/>
                </a:moveTo>
                <a:lnTo>
                  <a:pt x="0" y="425"/>
                </a:lnTo>
                <a:lnTo>
                  <a:pt x="730" y="425"/>
                </a:lnTo>
                <a:lnTo>
                  <a:pt x="73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HarmonyOS Sans SC"/>
              <a:cs typeface="+mn-cs"/>
            </a:endParaRPr>
          </a:p>
        </p:txBody>
      </p:sp>
      <p:sp>
        <p:nvSpPr>
          <p:cNvPr id="12" name="Freeform 63">
            <a:extLst>
              <a:ext uri="{FF2B5EF4-FFF2-40B4-BE49-F238E27FC236}">
                <a16:creationId xmlns:a16="http://schemas.microsoft.com/office/drawing/2014/main" id="{C062B02D-C261-46C9-9663-F3064C822E42}"/>
              </a:ext>
            </a:extLst>
          </p:cNvPr>
          <p:cNvSpPr>
            <a:spLocks/>
          </p:cNvSpPr>
          <p:nvPr/>
        </p:nvSpPr>
        <p:spPr bwMode="auto">
          <a:xfrm>
            <a:off x="6711839" y="3643619"/>
            <a:ext cx="666171" cy="392032"/>
          </a:xfrm>
          <a:custGeom>
            <a:avLst/>
            <a:gdLst>
              <a:gd name="T0" fmla="*/ 469 w 469"/>
              <a:gd name="T1" fmla="*/ 0 h 276"/>
              <a:gd name="T2" fmla="*/ 0 w 469"/>
              <a:gd name="T3" fmla="*/ 276 h 276"/>
              <a:gd name="T4" fmla="*/ 469 w 469"/>
              <a:gd name="T5" fmla="*/ 276 h 276"/>
              <a:gd name="T6" fmla="*/ 469 w 469"/>
              <a:gd name="T7" fmla="*/ 0 h 276"/>
            </a:gdLst>
            <a:ahLst/>
            <a:cxnLst>
              <a:cxn ang="0">
                <a:pos x="T0" y="T1"/>
              </a:cxn>
              <a:cxn ang="0">
                <a:pos x="T2" y="T3"/>
              </a:cxn>
              <a:cxn ang="0">
                <a:pos x="T4" y="T5"/>
              </a:cxn>
              <a:cxn ang="0">
                <a:pos x="T6" y="T7"/>
              </a:cxn>
            </a:cxnLst>
            <a:rect l="0" t="0" r="r" b="b"/>
            <a:pathLst>
              <a:path w="469" h="276">
                <a:moveTo>
                  <a:pt x="469" y="0"/>
                </a:moveTo>
                <a:lnTo>
                  <a:pt x="0" y="276"/>
                </a:lnTo>
                <a:lnTo>
                  <a:pt x="469" y="276"/>
                </a:lnTo>
                <a:lnTo>
                  <a:pt x="46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HarmonyOS Sans SC"/>
              <a:cs typeface="+mn-cs"/>
            </a:endParaRPr>
          </a:p>
        </p:txBody>
      </p:sp>
      <p:sp>
        <p:nvSpPr>
          <p:cNvPr id="14" name="Rectangle 42">
            <a:extLst>
              <a:ext uri="{FF2B5EF4-FFF2-40B4-BE49-F238E27FC236}">
                <a16:creationId xmlns:a16="http://schemas.microsoft.com/office/drawing/2014/main" id="{32C8B81C-F5DD-4259-BBC6-B406BC1D8ED8}"/>
              </a:ext>
            </a:extLst>
          </p:cNvPr>
          <p:cNvSpPr/>
          <p:nvPr/>
        </p:nvSpPr>
        <p:spPr>
          <a:xfrm>
            <a:off x="8279771" y="1957597"/>
            <a:ext cx="214058" cy="3709673"/>
          </a:xfrm>
          <a:prstGeom prst="rect">
            <a:avLst/>
          </a:prstGeom>
          <a:gradFill flip="none" rotWithShape="1">
            <a:gsLst>
              <a:gs pos="73000">
                <a:schemeClr val="accent1"/>
              </a:gs>
              <a:gs pos="31000">
                <a:schemeClr val="accent1">
                  <a:lumMod val="60000"/>
                  <a:lumOff val="40000"/>
                </a:schemeClr>
              </a:gs>
              <a:gs pos="0">
                <a:schemeClr val="accent1">
                  <a:lumMod val="40000"/>
                  <a:lumOff val="60000"/>
                </a:schemeClr>
              </a:gs>
            </a:gsLst>
            <a:lin ang="5400000" scaled="1"/>
            <a:tileRect/>
          </a:gra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HarmonyOS Sans SC"/>
              <a:cs typeface="+mn-cs"/>
            </a:endParaRPr>
          </a:p>
        </p:txBody>
      </p:sp>
      <p:sp>
        <p:nvSpPr>
          <p:cNvPr id="15" name="Freeform 92">
            <a:extLst>
              <a:ext uri="{FF2B5EF4-FFF2-40B4-BE49-F238E27FC236}">
                <a16:creationId xmlns:a16="http://schemas.microsoft.com/office/drawing/2014/main" id="{1A8FF20F-E2C4-4F9E-8C4A-B1725528CDC8}"/>
              </a:ext>
            </a:extLst>
          </p:cNvPr>
          <p:cNvSpPr>
            <a:spLocks/>
          </p:cNvSpPr>
          <p:nvPr/>
        </p:nvSpPr>
        <p:spPr bwMode="auto">
          <a:xfrm>
            <a:off x="8079711" y="5578214"/>
            <a:ext cx="629355" cy="1294485"/>
          </a:xfrm>
          <a:custGeom>
            <a:avLst/>
            <a:gdLst>
              <a:gd name="T0" fmla="*/ 250 w 304"/>
              <a:gd name="T1" fmla="*/ 0 h 525"/>
              <a:gd name="T2" fmla="*/ 304 w 304"/>
              <a:gd name="T3" fmla="*/ 506 h 525"/>
              <a:gd name="T4" fmla="*/ 155 w 304"/>
              <a:gd name="T5" fmla="*/ 525 h 525"/>
              <a:gd name="T6" fmla="*/ 0 w 304"/>
              <a:gd name="T7" fmla="*/ 506 h 525"/>
              <a:gd name="T8" fmla="*/ 56 w 304"/>
              <a:gd name="T9" fmla="*/ 0 h 525"/>
              <a:gd name="T10" fmla="*/ 250 w 304"/>
              <a:gd name="T11" fmla="*/ 0 h 525"/>
              <a:gd name="connsiteX0" fmla="*/ 10446 w 12222"/>
              <a:gd name="connsiteY0" fmla="*/ 0 h 17359"/>
              <a:gd name="connsiteX1" fmla="*/ 12222 w 12222"/>
              <a:gd name="connsiteY1" fmla="*/ 9638 h 17359"/>
              <a:gd name="connsiteX2" fmla="*/ 7321 w 12222"/>
              <a:gd name="connsiteY2" fmla="*/ 10000 h 17359"/>
              <a:gd name="connsiteX3" fmla="*/ 0 w 12222"/>
              <a:gd name="connsiteY3" fmla="*/ 17359 h 17359"/>
              <a:gd name="connsiteX4" fmla="*/ 4064 w 12222"/>
              <a:gd name="connsiteY4" fmla="*/ 0 h 17359"/>
              <a:gd name="connsiteX5" fmla="*/ 10446 w 12222"/>
              <a:gd name="connsiteY5" fmla="*/ 0 h 17359"/>
              <a:gd name="connsiteX0" fmla="*/ 10446 w 14575"/>
              <a:gd name="connsiteY0" fmla="*/ 0 h 17359"/>
              <a:gd name="connsiteX1" fmla="*/ 14575 w 14575"/>
              <a:gd name="connsiteY1" fmla="*/ 17131 h 17359"/>
              <a:gd name="connsiteX2" fmla="*/ 7321 w 14575"/>
              <a:gd name="connsiteY2" fmla="*/ 10000 h 17359"/>
              <a:gd name="connsiteX3" fmla="*/ 0 w 14575"/>
              <a:gd name="connsiteY3" fmla="*/ 17359 h 17359"/>
              <a:gd name="connsiteX4" fmla="*/ 4064 w 14575"/>
              <a:gd name="connsiteY4" fmla="*/ 0 h 17359"/>
              <a:gd name="connsiteX5" fmla="*/ 10446 w 14575"/>
              <a:gd name="connsiteY5" fmla="*/ 0 h 17359"/>
              <a:gd name="connsiteX0" fmla="*/ 10446 w 14575"/>
              <a:gd name="connsiteY0" fmla="*/ 0 h 17359"/>
              <a:gd name="connsiteX1" fmla="*/ 14575 w 14575"/>
              <a:gd name="connsiteY1" fmla="*/ 17131 h 17359"/>
              <a:gd name="connsiteX2" fmla="*/ 0 w 14575"/>
              <a:gd name="connsiteY2" fmla="*/ 17359 h 17359"/>
              <a:gd name="connsiteX3" fmla="*/ 4064 w 14575"/>
              <a:gd name="connsiteY3" fmla="*/ 0 h 17359"/>
              <a:gd name="connsiteX4" fmla="*/ 10446 w 14575"/>
              <a:gd name="connsiteY4" fmla="*/ 0 h 17359"/>
              <a:gd name="connsiteX0" fmla="*/ 10446 w 14575"/>
              <a:gd name="connsiteY0" fmla="*/ 0 h 17359"/>
              <a:gd name="connsiteX1" fmla="*/ 14575 w 14575"/>
              <a:gd name="connsiteY1" fmla="*/ 17358 h 17359"/>
              <a:gd name="connsiteX2" fmla="*/ 0 w 14575"/>
              <a:gd name="connsiteY2" fmla="*/ 17359 h 17359"/>
              <a:gd name="connsiteX3" fmla="*/ 4064 w 14575"/>
              <a:gd name="connsiteY3" fmla="*/ 0 h 17359"/>
              <a:gd name="connsiteX4" fmla="*/ 10446 w 14575"/>
              <a:gd name="connsiteY4" fmla="*/ 0 h 173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75" h="17359">
                <a:moveTo>
                  <a:pt x="10446" y="0"/>
                </a:moveTo>
                <a:lnTo>
                  <a:pt x="14575" y="17358"/>
                </a:lnTo>
                <a:lnTo>
                  <a:pt x="0" y="17359"/>
                </a:lnTo>
                <a:lnTo>
                  <a:pt x="4064" y="0"/>
                </a:lnTo>
                <a:lnTo>
                  <a:pt x="10446" y="0"/>
                </a:lnTo>
                <a:close/>
              </a:path>
            </a:pathLst>
          </a:custGeom>
          <a:gradFill>
            <a:gsLst>
              <a:gs pos="73000">
                <a:schemeClr val="accent1"/>
              </a:gs>
              <a:gs pos="31000">
                <a:schemeClr val="accent1">
                  <a:lumMod val="60000"/>
                  <a:lumOff val="40000"/>
                </a:schemeClr>
              </a:gs>
              <a:gs pos="0">
                <a:schemeClr val="accent1">
                  <a:lumMod val="40000"/>
                  <a:lumOff val="60000"/>
                </a:schemeClr>
              </a:gs>
            </a:gsLst>
            <a:lin ang="5400000" scaled="1"/>
          </a:gradFill>
          <a:ln w="25400">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HarmonyOS Sans SC"/>
              <a:cs typeface="+mn-cs"/>
            </a:endParaRPr>
          </a:p>
        </p:txBody>
      </p:sp>
      <p:sp>
        <p:nvSpPr>
          <p:cNvPr id="16" name="Freeform 93">
            <a:extLst>
              <a:ext uri="{FF2B5EF4-FFF2-40B4-BE49-F238E27FC236}">
                <a16:creationId xmlns:a16="http://schemas.microsoft.com/office/drawing/2014/main" id="{C2DBCACA-EE8E-4824-955C-A0F37B411750}"/>
              </a:ext>
            </a:extLst>
          </p:cNvPr>
          <p:cNvSpPr>
            <a:spLocks/>
          </p:cNvSpPr>
          <p:nvPr/>
        </p:nvSpPr>
        <p:spPr bwMode="auto">
          <a:xfrm>
            <a:off x="8175659" y="5578214"/>
            <a:ext cx="431804" cy="745714"/>
          </a:xfrm>
          <a:custGeom>
            <a:avLst/>
            <a:gdLst>
              <a:gd name="T0" fmla="*/ 250 w 304"/>
              <a:gd name="T1" fmla="*/ 0 h 525"/>
              <a:gd name="T2" fmla="*/ 304 w 304"/>
              <a:gd name="T3" fmla="*/ 506 h 525"/>
              <a:gd name="T4" fmla="*/ 155 w 304"/>
              <a:gd name="T5" fmla="*/ 525 h 525"/>
              <a:gd name="T6" fmla="*/ 0 w 304"/>
              <a:gd name="T7" fmla="*/ 506 h 525"/>
              <a:gd name="T8" fmla="*/ 56 w 304"/>
              <a:gd name="T9" fmla="*/ 0 h 525"/>
            </a:gdLst>
            <a:ahLst/>
            <a:cxnLst>
              <a:cxn ang="0">
                <a:pos x="T0" y="T1"/>
              </a:cxn>
              <a:cxn ang="0">
                <a:pos x="T2" y="T3"/>
              </a:cxn>
              <a:cxn ang="0">
                <a:pos x="T4" y="T5"/>
              </a:cxn>
              <a:cxn ang="0">
                <a:pos x="T6" y="T7"/>
              </a:cxn>
              <a:cxn ang="0">
                <a:pos x="T8" y="T9"/>
              </a:cxn>
            </a:cxnLst>
            <a:rect l="0" t="0" r="r" b="b"/>
            <a:pathLst>
              <a:path w="304" h="525">
                <a:moveTo>
                  <a:pt x="250" y="0"/>
                </a:moveTo>
                <a:lnTo>
                  <a:pt x="304" y="506"/>
                </a:lnTo>
                <a:lnTo>
                  <a:pt x="155" y="525"/>
                </a:lnTo>
                <a:lnTo>
                  <a:pt x="0" y="506"/>
                </a:lnTo>
                <a:lnTo>
                  <a:pt x="5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HarmonyOS Sans SC"/>
              <a:cs typeface="+mn-cs"/>
            </a:endParaRPr>
          </a:p>
        </p:txBody>
      </p:sp>
      <p:sp>
        <p:nvSpPr>
          <p:cNvPr id="17" name="Oval 99">
            <a:extLst>
              <a:ext uri="{FF2B5EF4-FFF2-40B4-BE49-F238E27FC236}">
                <a16:creationId xmlns:a16="http://schemas.microsoft.com/office/drawing/2014/main" id="{A0DDF538-76BE-4CB0-A921-07EA6735F26D}"/>
              </a:ext>
            </a:extLst>
          </p:cNvPr>
          <p:cNvSpPr>
            <a:spLocks noChangeArrowheads="1"/>
          </p:cNvSpPr>
          <p:nvPr/>
        </p:nvSpPr>
        <p:spPr bwMode="auto">
          <a:xfrm>
            <a:off x="8229635" y="1738854"/>
            <a:ext cx="325273" cy="323853"/>
          </a:xfrm>
          <a:prstGeom prst="ellipse">
            <a:avLst/>
          </a:prstGeom>
          <a:gradFill>
            <a:gsLst>
              <a:gs pos="73000">
                <a:schemeClr val="accent1"/>
              </a:gs>
              <a:gs pos="31000">
                <a:schemeClr val="accent1">
                  <a:lumMod val="60000"/>
                  <a:lumOff val="40000"/>
                </a:schemeClr>
              </a:gs>
              <a:gs pos="0">
                <a:schemeClr val="accent1">
                  <a:lumMod val="40000"/>
                  <a:lumOff val="60000"/>
                </a:schemeClr>
              </a:gs>
            </a:gsLst>
            <a:path path="circle">
              <a:fillToRect r="100000" b="100000"/>
            </a:path>
          </a:gradFill>
          <a:ln>
            <a:noFill/>
          </a:ln>
          <a:effectLst>
            <a:outerShdw blurRad="444500" dist="317500" dir="5400000" sx="92000" sy="92000" algn="t" rotWithShape="0">
              <a:schemeClr val="accent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HarmonyOS Sans SC"/>
              <a:cs typeface="+mn-cs"/>
            </a:endParaRPr>
          </a:p>
        </p:txBody>
      </p:sp>
      <p:sp>
        <p:nvSpPr>
          <p:cNvPr id="18" name="Freeform 100">
            <a:extLst>
              <a:ext uri="{FF2B5EF4-FFF2-40B4-BE49-F238E27FC236}">
                <a16:creationId xmlns:a16="http://schemas.microsoft.com/office/drawing/2014/main" id="{AA4252FA-4EA3-4BB0-A73A-E0E9AF90C594}"/>
              </a:ext>
            </a:extLst>
          </p:cNvPr>
          <p:cNvSpPr>
            <a:spLocks/>
          </p:cNvSpPr>
          <p:nvPr/>
        </p:nvSpPr>
        <p:spPr bwMode="auto">
          <a:xfrm>
            <a:off x="8239577" y="1811295"/>
            <a:ext cx="315330" cy="251412"/>
          </a:xfrm>
          <a:custGeom>
            <a:avLst/>
            <a:gdLst>
              <a:gd name="T0" fmla="*/ 167 w 183"/>
              <a:gd name="T1" fmla="*/ 0 h 146"/>
              <a:gd name="T2" fmla="*/ 173 w 183"/>
              <a:gd name="T3" fmla="*/ 32 h 146"/>
              <a:gd name="T4" fmla="*/ 79 w 183"/>
              <a:gd name="T5" fmla="*/ 126 h 146"/>
              <a:gd name="T6" fmla="*/ 0 w 183"/>
              <a:gd name="T7" fmla="*/ 83 h 146"/>
              <a:gd name="T8" fmla="*/ 89 w 183"/>
              <a:gd name="T9" fmla="*/ 146 h 146"/>
              <a:gd name="T10" fmla="*/ 183 w 183"/>
              <a:gd name="T11" fmla="*/ 52 h 146"/>
              <a:gd name="T12" fmla="*/ 167 w 183"/>
              <a:gd name="T13" fmla="*/ 0 h 146"/>
            </a:gdLst>
            <a:ahLst/>
            <a:cxnLst>
              <a:cxn ang="0">
                <a:pos x="T0" y="T1"/>
              </a:cxn>
              <a:cxn ang="0">
                <a:pos x="T2" y="T3"/>
              </a:cxn>
              <a:cxn ang="0">
                <a:pos x="T4" y="T5"/>
              </a:cxn>
              <a:cxn ang="0">
                <a:pos x="T6" y="T7"/>
              </a:cxn>
              <a:cxn ang="0">
                <a:pos x="T8" y="T9"/>
              </a:cxn>
              <a:cxn ang="0">
                <a:pos x="T10" y="T11"/>
              </a:cxn>
              <a:cxn ang="0">
                <a:pos x="T12" y="T13"/>
              </a:cxn>
            </a:cxnLst>
            <a:rect l="0" t="0" r="r" b="b"/>
            <a:pathLst>
              <a:path w="183" h="146">
                <a:moveTo>
                  <a:pt x="167" y="0"/>
                </a:moveTo>
                <a:cubicBezTo>
                  <a:pt x="171" y="10"/>
                  <a:pt x="173" y="21"/>
                  <a:pt x="173" y="32"/>
                </a:cubicBezTo>
                <a:cubicBezTo>
                  <a:pt x="173" y="84"/>
                  <a:pt x="131" y="126"/>
                  <a:pt x="79" y="126"/>
                </a:cubicBezTo>
                <a:cubicBezTo>
                  <a:pt x="46" y="126"/>
                  <a:pt x="17" y="109"/>
                  <a:pt x="0" y="83"/>
                </a:cubicBezTo>
                <a:cubicBezTo>
                  <a:pt x="13" y="120"/>
                  <a:pt x="48" y="146"/>
                  <a:pt x="89" y="146"/>
                </a:cubicBezTo>
                <a:cubicBezTo>
                  <a:pt x="141" y="146"/>
                  <a:pt x="183" y="104"/>
                  <a:pt x="183" y="52"/>
                </a:cubicBezTo>
                <a:cubicBezTo>
                  <a:pt x="183" y="33"/>
                  <a:pt x="177" y="15"/>
                  <a:pt x="167" y="0"/>
                </a:cubicBezTo>
                <a:close/>
              </a:path>
            </a:pathLst>
          </a:custGeom>
          <a:solidFill>
            <a:schemeClr val="accent1">
              <a:lumMod val="75000"/>
              <a:alpha val="28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HarmonyOS Sans SC"/>
              <a:cs typeface="+mn-cs"/>
            </a:endParaRPr>
          </a:p>
        </p:txBody>
      </p:sp>
      <p:sp>
        <p:nvSpPr>
          <p:cNvPr id="19" name="Oval 101">
            <a:extLst>
              <a:ext uri="{FF2B5EF4-FFF2-40B4-BE49-F238E27FC236}">
                <a16:creationId xmlns:a16="http://schemas.microsoft.com/office/drawing/2014/main" id="{2713A76C-FC29-4ED1-A39D-5EBB3F72AC4A}"/>
              </a:ext>
            </a:extLst>
          </p:cNvPr>
          <p:cNvSpPr>
            <a:spLocks noChangeArrowheads="1"/>
          </p:cNvSpPr>
          <p:nvPr/>
        </p:nvSpPr>
        <p:spPr bwMode="auto">
          <a:xfrm>
            <a:off x="8294973" y="1778625"/>
            <a:ext cx="73861" cy="73861"/>
          </a:xfrm>
          <a:prstGeom prst="ellipse">
            <a:avLst/>
          </a:pr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HarmonyOS Sans SC"/>
              <a:cs typeface="+mn-cs"/>
            </a:endParaRPr>
          </a:p>
        </p:txBody>
      </p:sp>
      <p:sp>
        <p:nvSpPr>
          <p:cNvPr id="22" name="Right Triangle 61">
            <a:extLst>
              <a:ext uri="{FF2B5EF4-FFF2-40B4-BE49-F238E27FC236}">
                <a16:creationId xmlns:a16="http://schemas.microsoft.com/office/drawing/2014/main" id="{94ECF472-4712-45A8-A3B2-3B75F672D41F}"/>
              </a:ext>
            </a:extLst>
          </p:cNvPr>
          <p:cNvSpPr/>
          <p:nvPr/>
        </p:nvSpPr>
        <p:spPr>
          <a:xfrm flipV="1">
            <a:off x="1055689" y="803583"/>
            <a:ext cx="72580" cy="72177"/>
          </a:xfrm>
          <a:prstGeom prst="r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HarmonyOS Sans SC"/>
              <a:cs typeface="+mn-cs"/>
            </a:endParaRPr>
          </a:p>
        </p:txBody>
      </p:sp>
      <p:sp>
        <p:nvSpPr>
          <p:cNvPr id="23" name="文本框 22">
            <a:extLst>
              <a:ext uri="{FF2B5EF4-FFF2-40B4-BE49-F238E27FC236}">
                <a16:creationId xmlns:a16="http://schemas.microsoft.com/office/drawing/2014/main" id="{7F6BEB4D-C406-45B8-9217-E5608B9C766F}"/>
              </a:ext>
            </a:extLst>
          </p:cNvPr>
          <p:cNvSpPr txBox="1"/>
          <p:nvPr/>
        </p:nvSpPr>
        <p:spPr>
          <a:xfrm>
            <a:off x="941388" y="918105"/>
            <a:ext cx="4221027"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2800" b="0" i="0" u="none" strike="noStrike" kern="1200" cap="none" spc="0" normalizeH="0" baseline="0" noProof="0" dirty="0">
                <a:ln>
                  <a:noFill/>
                </a:ln>
                <a:solidFill>
                  <a:prstClr val="black"/>
                </a:solidFill>
                <a:effectLst/>
                <a:uLnTx/>
                <a:uFillTx/>
                <a:latin typeface="HarmonyOS Sans Black"/>
                <a:ea typeface="+mj-ea"/>
                <a:cs typeface="+mn-cs"/>
              </a:rPr>
              <a:t>Directional </a:t>
            </a:r>
            <a:r>
              <a:rPr kumimoji="0" lang="en-US" altLang="zh-CN" sz="2800" b="0" i="0" u="none" strike="noStrike" kern="1200" cap="none" spc="0" normalizeH="0" baseline="0" noProof="0" dirty="0">
                <a:ln>
                  <a:noFill/>
                </a:ln>
                <a:solidFill>
                  <a:schemeClr val="accent1"/>
                </a:solidFill>
                <a:effectLst/>
                <a:uLnTx/>
                <a:uFillTx/>
                <a:latin typeface="HarmonyOS Sans Black"/>
                <a:ea typeface="+mj-ea"/>
                <a:cs typeface="+mn-cs"/>
              </a:rPr>
              <a:t>infographic</a:t>
            </a:r>
          </a:p>
        </p:txBody>
      </p:sp>
      <p:cxnSp>
        <p:nvCxnSpPr>
          <p:cNvPr id="24" name="Straight Connector 17">
            <a:extLst>
              <a:ext uri="{FF2B5EF4-FFF2-40B4-BE49-F238E27FC236}">
                <a16:creationId xmlns:a16="http://schemas.microsoft.com/office/drawing/2014/main" id="{E81AA8C7-2552-4E23-8F2F-CC2539CC4EDB}"/>
              </a:ext>
            </a:extLst>
          </p:cNvPr>
          <p:cNvCxnSpPr/>
          <p:nvPr/>
        </p:nvCxnSpPr>
        <p:spPr>
          <a:xfrm>
            <a:off x="1055688" y="2555357"/>
            <a:ext cx="970082" cy="0"/>
          </a:xfrm>
          <a:prstGeom prst="line">
            <a:avLst/>
          </a:prstGeom>
          <a:ln w="508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5" name="TextBox 18">
            <a:extLst>
              <a:ext uri="{FF2B5EF4-FFF2-40B4-BE49-F238E27FC236}">
                <a16:creationId xmlns:a16="http://schemas.microsoft.com/office/drawing/2014/main" id="{ECD84916-81D3-47B0-BF87-9BB499251C49}"/>
              </a:ext>
            </a:extLst>
          </p:cNvPr>
          <p:cNvSpPr txBox="1"/>
          <p:nvPr/>
        </p:nvSpPr>
        <p:spPr>
          <a:xfrm>
            <a:off x="1055688" y="2761535"/>
            <a:ext cx="3406776" cy="379647"/>
          </a:xfrm>
          <a:prstGeom prst="rect">
            <a:avLst/>
          </a:prstGeom>
          <a:noFill/>
        </p:spPr>
        <p:txBody>
          <a:bodyPr wrap="square" lIns="0" tIns="36000" rIns="216000" bIns="36000" rtlCol="0">
            <a:spAutoFit/>
          </a:bodyPr>
          <a:lstStyle/>
          <a:p>
            <a:pPr marL="0" marR="0" lvl="0" indent="0" algn="l" defTabSz="914400" rtl="0" eaLnBrk="1" fontAlgn="auto" latinLnBrk="0" hangingPunct="1">
              <a:lnSpc>
                <a:spcPct val="120000"/>
              </a:lnSpc>
              <a:spcBef>
                <a:spcPts val="1200"/>
              </a:spcBef>
              <a:spcAft>
                <a:spcPts val="0"/>
              </a:spcAft>
              <a:buClrTx/>
              <a:buSzTx/>
              <a:buFontTx/>
              <a:buNone/>
              <a:tabLst/>
              <a:defRPr/>
            </a:pPr>
            <a:r>
              <a:rPr kumimoji="0" lang="en-US" sz="1800" b="0" i="0" u="none" strike="noStrike" kern="1200" cap="none" spc="0" normalizeH="0" baseline="0" noProof="0" dirty="0">
                <a:ln>
                  <a:noFill/>
                </a:ln>
                <a:solidFill>
                  <a:schemeClr val="accent1"/>
                </a:solidFill>
                <a:effectLst/>
                <a:uLnTx/>
                <a:uFillTx/>
                <a:latin typeface="HarmonyOS Sans SC Black"/>
                <a:ea typeface="+mj-ea"/>
                <a:cs typeface="+mn-cs"/>
              </a:rPr>
              <a:t>Subtitle</a:t>
            </a:r>
            <a:endParaRPr kumimoji="0" lang="en-US" sz="1100" b="0" i="0" u="none" strike="noStrike" kern="1200" cap="none" spc="0" normalizeH="0" baseline="0" noProof="0" dirty="0">
              <a:ln>
                <a:noFill/>
              </a:ln>
              <a:solidFill>
                <a:schemeClr val="accent1"/>
              </a:solidFill>
              <a:effectLst/>
              <a:uLnTx/>
              <a:uFillTx/>
              <a:latin typeface="HarmonyOS Sans SC Black"/>
              <a:ea typeface="+mj-ea"/>
              <a:cs typeface="+mn-cs"/>
            </a:endParaRPr>
          </a:p>
        </p:txBody>
      </p:sp>
      <p:sp>
        <p:nvSpPr>
          <p:cNvPr id="26" name="TextBox 18">
            <a:extLst>
              <a:ext uri="{FF2B5EF4-FFF2-40B4-BE49-F238E27FC236}">
                <a16:creationId xmlns:a16="http://schemas.microsoft.com/office/drawing/2014/main" id="{9ED594BE-9572-4AA7-A68D-309755ACFB84}"/>
              </a:ext>
            </a:extLst>
          </p:cNvPr>
          <p:cNvSpPr txBox="1"/>
          <p:nvPr/>
        </p:nvSpPr>
        <p:spPr>
          <a:xfrm>
            <a:off x="1055687" y="3272582"/>
            <a:ext cx="4725987" cy="666584"/>
          </a:xfrm>
          <a:prstGeom prst="rect">
            <a:avLst/>
          </a:prstGeom>
          <a:noFill/>
        </p:spPr>
        <p:txBody>
          <a:bodyPr wrap="square" lIns="0" tIns="36000" rIns="216000" bIns="36000" rtlCol="0">
            <a:spAutoFit/>
          </a:bodyPr>
          <a:lstStyle/>
          <a:p>
            <a:pPr marL="0" marR="0" lvl="0" indent="0" algn="l" defTabSz="914400" rtl="0" eaLnBrk="1" fontAlgn="auto" latinLnBrk="0" hangingPunct="1">
              <a:lnSpc>
                <a:spcPct val="120000"/>
              </a:lnSpc>
              <a:spcBef>
                <a:spcPts val="1200"/>
              </a:spcBef>
              <a:spcAft>
                <a:spcPts val="0"/>
              </a:spcAft>
              <a:buClrTx/>
              <a:buSzTx/>
              <a:buFontTx/>
              <a:buNone/>
              <a:tabLst/>
              <a:defRPr/>
            </a:pPr>
            <a:r>
              <a:rPr kumimoji="0" lang="en-US" sz="1100" b="0" i="0" u="none" strike="noStrike" kern="1200" cap="none" spc="0" normalizeH="0" baseline="0" noProof="0" dirty="0">
                <a:ln>
                  <a:noFill/>
                </a:ln>
                <a:solidFill>
                  <a:prstClr val="black">
                    <a:lumMod val="75000"/>
                    <a:lumOff val="25000"/>
                  </a:prstClr>
                </a:solidFill>
                <a:effectLst/>
                <a:uLnTx/>
                <a:uFillTx/>
                <a:latin typeface="HarmonyOS Sans SC Black"/>
                <a:ea typeface="+mj-ea"/>
                <a:cs typeface="+mn-cs"/>
              </a:rPr>
              <a:t>A peep at some distant orb has power to raise and purify our thoughts like a strain of sacred music, or a noble picture, or a passage from the grander poets. It always does one good. </a:t>
            </a:r>
          </a:p>
        </p:txBody>
      </p:sp>
      <p:sp>
        <p:nvSpPr>
          <p:cNvPr id="27" name="TextBox 18">
            <a:extLst>
              <a:ext uri="{FF2B5EF4-FFF2-40B4-BE49-F238E27FC236}">
                <a16:creationId xmlns:a16="http://schemas.microsoft.com/office/drawing/2014/main" id="{25BDED4A-F2CD-4591-AA27-F83F4547782D}"/>
              </a:ext>
            </a:extLst>
          </p:cNvPr>
          <p:cNvSpPr txBox="1"/>
          <p:nvPr/>
        </p:nvSpPr>
        <p:spPr>
          <a:xfrm>
            <a:off x="1055687" y="4408999"/>
            <a:ext cx="4249737" cy="462746"/>
          </a:xfrm>
          <a:prstGeom prst="rect">
            <a:avLst/>
          </a:prstGeom>
          <a:noFill/>
        </p:spPr>
        <p:txBody>
          <a:bodyPr wrap="square" lIns="0" tIns="36000" rIns="216000" bIns="36000" rtlCol="0">
            <a:spAutoFit/>
          </a:bodyPr>
          <a:lstStyle/>
          <a:p>
            <a:pPr marL="171450" marR="0" lvl="0" indent="-171450" algn="l" defTabSz="914400" rtl="0" eaLnBrk="1" fontAlgn="auto" latinLnBrk="0" hangingPunct="1">
              <a:lnSpc>
                <a:spcPct val="120000"/>
              </a:lnSpc>
              <a:spcBef>
                <a:spcPts val="1200"/>
              </a:spcBef>
              <a:spcAft>
                <a:spcPts val="0"/>
              </a:spcAft>
              <a:buClr>
                <a:srgbClr val="5CE0CE"/>
              </a:buClr>
              <a:buSzTx/>
              <a:buFont typeface="Arial" panose="020B0604020202020204" pitchFamily="34" charset="0"/>
              <a:buChar char="•"/>
              <a:tabLst/>
              <a:defRPr/>
            </a:pPr>
            <a:r>
              <a:rPr kumimoji="0" lang="en-US" sz="1100" b="0" i="0" u="none" strike="noStrike" kern="1200" cap="none" spc="0" normalizeH="0" baseline="0" noProof="0" dirty="0">
                <a:ln>
                  <a:noFill/>
                </a:ln>
                <a:solidFill>
                  <a:prstClr val="black">
                    <a:lumMod val="50000"/>
                    <a:lumOff val="50000"/>
                  </a:prstClr>
                </a:solidFill>
                <a:effectLst/>
                <a:uLnTx/>
                <a:uFillTx/>
                <a:latin typeface="HarmonyOS Sans SC"/>
                <a:cs typeface="+mn-cs"/>
              </a:rPr>
              <a:t>A peep at some distant orb has power to raise and purify our thoughts like a strain of sacred music.</a:t>
            </a:r>
          </a:p>
        </p:txBody>
      </p:sp>
      <p:sp>
        <p:nvSpPr>
          <p:cNvPr id="28" name="TextBox 18">
            <a:extLst>
              <a:ext uri="{FF2B5EF4-FFF2-40B4-BE49-F238E27FC236}">
                <a16:creationId xmlns:a16="http://schemas.microsoft.com/office/drawing/2014/main" id="{B8D77FBC-6E3F-4B93-B9FB-321693D29BA1}"/>
              </a:ext>
            </a:extLst>
          </p:cNvPr>
          <p:cNvSpPr txBox="1"/>
          <p:nvPr/>
        </p:nvSpPr>
        <p:spPr>
          <a:xfrm>
            <a:off x="1055687" y="4963659"/>
            <a:ext cx="4249737" cy="462746"/>
          </a:xfrm>
          <a:prstGeom prst="rect">
            <a:avLst/>
          </a:prstGeom>
          <a:noFill/>
        </p:spPr>
        <p:txBody>
          <a:bodyPr wrap="square" lIns="0" tIns="36000" rIns="216000" bIns="36000" rtlCol="0">
            <a:spAutoFit/>
          </a:bodyPr>
          <a:lstStyle/>
          <a:p>
            <a:pPr marL="171450" marR="0" lvl="0" indent="-171450" algn="l" defTabSz="914400" rtl="0" eaLnBrk="1" fontAlgn="auto" latinLnBrk="0" hangingPunct="1">
              <a:lnSpc>
                <a:spcPct val="120000"/>
              </a:lnSpc>
              <a:spcBef>
                <a:spcPts val="1200"/>
              </a:spcBef>
              <a:spcAft>
                <a:spcPts val="0"/>
              </a:spcAft>
              <a:buClr>
                <a:srgbClr val="5CE0CE"/>
              </a:buClr>
              <a:buSzTx/>
              <a:buFont typeface="Arial" panose="020B0604020202020204" pitchFamily="34" charset="0"/>
              <a:buChar char="•"/>
              <a:tabLst/>
              <a:defRPr/>
            </a:pPr>
            <a:r>
              <a:rPr kumimoji="0" lang="en-US" sz="1100" b="0" i="0" u="none" strike="noStrike" kern="1200" cap="none" spc="0" normalizeH="0" baseline="0" noProof="0" dirty="0">
                <a:ln>
                  <a:noFill/>
                </a:ln>
                <a:solidFill>
                  <a:prstClr val="black">
                    <a:lumMod val="50000"/>
                    <a:lumOff val="50000"/>
                  </a:prstClr>
                </a:solidFill>
                <a:effectLst/>
                <a:uLnTx/>
                <a:uFillTx/>
                <a:latin typeface="HarmonyOS Sans SC"/>
                <a:cs typeface="+mn-cs"/>
              </a:rPr>
              <a:t>A noble picture, or a passage from the grander poets. It always does one good.</a:t>
            </a:r>
          </a:p>
        </p:txBody>
      </p:sp>
      <p:sp>
        <p:nvSpPr>
          <p:cNvPr id="30" name="TextBox 13">
            <a:extLst>
              <a:ext uri="{FF2B5EF4-FFF2-40B4-BE49-F238E27FC236}">
                <a16:creationId xmlns:a16="http://schemas.microsoft.com/office/drawing/2014/main" id="{012D5A28-8DC8-4AF1-B6C0-C5DB6332DD7C}"/>
              </a:ext>
            </a:extLst>
          </p:cNvPr>
          <p:cNvSpPr txBox="1"/>
          <p:nvPr/>
        </p:nvSpPr>
        <p:spPr>
          <a:xfrm>
            <a:off x="5633493" y="2401168"/>
            <a:ext cx="2705669" cy="276605"/>
          </a:xfrm>
          <a:prstGeom prst="rect">
            <a:avLst/>
          </a:prstGeom>
          <a:noFill/>
        </p:spPr>
        <p:txBody>
          <a:bodyPr wrap="square" lIns="0" tIns="36000" rIns="216000" bIns="36000" rtlCol="0">
            <a:spAutoFit/>
          </a:bodyPr>
          <a:lstStyle/>
          <a:p>
            <a:pPr marL="0" marR="0" lvl="0" indent="0" algn="r" defTabSz="914400" rtl="0" eaLnBrk="1" fontAlgn="auto" latinLnBrk="0" hangingPunct="1">
              <a:lnSpc>
                <a:spcPct val="120000"/>
              </a:lnSpc>
              <a:spcBef>
                <a:spcPts val="120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HarmonyOS Sans SC Black"/>
                <a:ea typeface="+mj-ea"/>
                <a:cs typeface="+mn-cs"/>
              </a:rPr>
              <a:t>Write title here</a:t>
            </a:r>
          </a:p>
        </p:txBody>
      </p:sp>
      <p:sp>
        <p:nvSpPr>
          <p:cNvPr id="31" name="TextBox 13">
            <a:extLst>
              <a:ext uri="{FF2B5EF4-FFF2-40B4-BE49-F238E27FC236}">
                <a16:creationId xmlns:a16="http://schemas.microsoft.com/office/drawing/2014/main" id="{1C499B4E-EADD-4C3F-B044-D10F693F67E7}"/>
              </a:ext>
            </a:extLst>
          </p:cNvPr>
          <p:cNvSpPr txBox="1"/>
          <p:nvPr/>
        </p:nvSpPr>
        <p:spPr>
          <a:xfrm>
            <a:off x="5986729" y="2677773"/>
            <a:ext cx="2352433" cy="427287"/>
          </a:xfrm>
          <a:prstGeom prst="rect">
            <a:avLst/>
          </a:prstGeom>
          <a:noFill/>
        </p:spPr>
        <p:txBody>
          <a:bodyPr wrap="square" lIns="0" tIns="36000" rIns="216000" bIns="36000" rtlCol="0">
            <a:spAutoFit/>
          </a:bodyPr>
          <a:lstStyle/>
          <a:p>
            <a:pPr marL="0" marR="0" lvl="0" indent="0" algn="r" defTabSz="914400" rtl="0" eaLnBrk="1" fontAlgn="auto" latinLnBrk="0" hangingPunct="1">
              <a:lnSpc>
                <a:spcPct val="120000"/>
              </a:lnSpc>
              <a:spcBef>
                <a:spcPts val="120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HarmonyOS Sans SC"/>
                <a:cs typeface="+mn-cs"/>
              </a:rPr>
              <a:t>A peep at some distant orb has power to raise and purify.</a:t>
            </a:r>
          </a:p>
        </p:txBody>
      </p:sp>
      <p:sp>
        <p:nvSpPr>
          <p:cNvPr id="33" name="TextBox 13">
            <a:extLst>
              <a:ext uri="{FF2B5EF4-FFF2-40B4-BE49-F238E27FC236}">
                <a16:creationId xmlns:a16="http://schemas.microsoft.com/office/drawing/2014/main" id="{4C172425-08AC-4ED5-86A6-543F1A6F36D8}"/>
              </a:ext>
            </a:extLst>
          </p:cNvPr>
          <p:cNvSpPr txBox="1"/>
          <p:nvPr/>
        </p:nvSpPr>
        <p:spPr>
          <a:xfrm>
            <a:off x="5633493" y="3835391"/>
            <a:ext cx="2705669" cy="276605"/>
          </a:xfrm>
          <a:prstGeom prst="rect">
            <a:avLst/>
          </a:prstGeom>
          <a:noFill/>
        </p:spPr>
        <p:txBody>
          <a:bodyPr wrap="square" lIns="0" tIns="36000" rIns="216000" bIns="36000" rtlCol="0">
            <a:spAutoFit/>
          </a:bodyPr>
          <a:lstStyle/>
          <a:p>
            <a:pPr marL="0" marR="0" lvl="0" indent="0" algn="r" defTabSz="914400" rtl="0" eaLnBrk="1" fontAlgn="auto" latinLnBrk="0" hangingPunct="1">
              <a:lnSpc>
                <a:spcPct val="120000"/>
              </a:lnSpc>
              <a:spcBef>
                <a:spcPts val="120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HarmonyOS Sans SC Black"/>
                <a:ea typeface="+mj-ea"/>
                <a:cs typeface="+mn-cs"/>
              </a:rPr>
              <a:t>Write title here</a:t>
            </a:r>
          </a:p>
        </p:txBody>
      </p:sp>
      <p:sp>
        <p:nvSpPr>
          <p:cNvPr id="34" name="TextBox 13">
            <a:extLst>
              <a:ext uri="{FF2B5EF4-FFF2-40B4-BE49-F238E27FC236}">
                <a16:creationId xmlns:a16="http://schemas.microsoft.com/office/drawing/2014/main" id="{FAA0ED72-1047-4205-A197-9EE904A9E6D5}"/>
              </a:ext>
            </a:extLst>
          </p:cNvPr>
          <p:cNvSpPr txBox="1"/>
          <p:nvPr/>
        </p:nvSpPr>
        <p:spPr>
          <a:xfrm>
            <a:off x="5986729" y="4111996"/>
            <a:ext cx="2352433" cy="427287"/>
          </a:xfrm>
          <a:prstGeom prst="rect">
            <a:avLst/>
          </a:prstGeom>
          <a:noFill/>
        </p:spPr>
        <p:txBody>
          <a:bodyPr wrap="square" lIns="0" tIns="36000" rIns="216000" bIns="36000" rtlCol="0">
            <a:spAutoFit/>
          </a:bodyPr>
          <a:lstStyle/>
          <a:p>
            <a:pPr marL="0" marR="0" lvl="0" indent="0" algn="r" defTabSz="914400" rtl="0" eaLnBrk="1" fontAlgn="auto" latinLnBrk="0" hangingPunct="1">
              <a:lnSpc>
                <a:spcPct val="120000"/>
              </a:lnSpc>
              <a:spcBef>
                <a:spcPts val="120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HarmonyOS Sans SC"/>
                <a:cs typeface="+mn-cs"/>
              </a:rPr>
              <a:t>Some distant orb has power to raise </a:t>
            </a:r>
            <a:br>
              <a:rPr kumimoji="0" lang="en-US" sz="1000" b="0" i="0" u="none" strike="noStrike" kern="1200" cap="none" spc="0" normalizeH="0" baseline="0" noProof="0" dirty="0">
                <a:ln>
                  <a:noFill/>
                </a:ln>
                <a:solidFill>
                  <a:prstClr val="white"/>
                </a:solidFill>
                <a:effectLst/>
                <a:uLnTx/>
                <a:uFillTx/>
                <a:latin typeface="HarmonyOS Sans SC"/>
                <a:cs typeface="+mn-cs"/>
              </a:rPr>
            </a:br>
            <a:r>
              <a:rPr kumimoji="0" lang="en-US" sz="1000" b="0" i="0" u="none" strike="noStrike" kern="1200" cap="none" spc="0" normalizeH="0" baseline="0" noProof="0" dirty="0">
                <a:ln>
                  <a:noFill/>
                </a:ln>
                <a:solidFill>
                  <a:prstClr val="white"/>
                </a:solidFill>
                <a:effectLst/>
                <a:uLnTx/>
                <a:uFillTx/>
                <a:latin typeface="HarmonyOS Sans SC"/>
                <a:cs typeface="+mn-cs"/>
              </a:rPr>
              <a:t>and a peep at some.</a:t>
            </a:r>
          </a:p>
        </p:txBody>
      </p:sp>
      <p:sp>
        <p:nvSpPr>
          <p:cNvPr id="35" name="TextBox 13">
            <a:extLst>
              <a:ext uri="{FF2B5EF4-FFF2-40B4-BE49-F238E27FC236}">
                <a16:creationId xmlns:a16="http://schemas.microsoft.com/office/drawing/2014/main" id="{41F20EA5-457C-4664-8B54-7C9BB9D05446}"/>
              </a:ext>
            </a:extLst>
          </p:cNvPr>
          <p:cNvSpPr txBox="1"/>
          <p:nvPr/>
        </p:nvSpPr>
        <p:spPr>
          <a:xfrm>
            <a:off x="8716272" y="2992922"/>
            <a:ext cx="2705669" cy="276605"/>
          </a:xfrm>
          <a:prstGeom prst="rect">
            <a:avLst/>
          </a:prstGeom>
          <a:noFill/>
        </p:spPr>
        <p:txBody>
          <a:bodyPr wrap="square" lIns="0" tIns="36000" rIns="216000" bIns="36000" rtlCol="0">
            <a:spAutoFit/>
          </a:bodyPr>
          <a:lstStyle/>
          <a:p>
            <a:pPr marL="0" marR="0" lvl="0" indent="0" algn="l" defTabSz="914400" rtl="0" eaLnBrk="1" fontAlgn="auto" latinLnBrk="0" hangingPunct="1">
              <a:lnSpc>
                <a:spcPct val="120000"/>
              </a:lnSpc>
              <a:spcBef>
                <a:spcPts val="120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HarmonyOS Sans SC Black"/>
                <a:ea typeface="+mj-ea"/>
                <a:cs typeface="+mn-cs"/>
              </a:rPr>
              <a:t>Write title here</a:t>
            </a:r>
          </a:p>
        </p:txBody>
      </p:sp>
      <p:sp>
        <p:nvSpPr>
          <p:cNvPr id="36" name="TextBox 13">
            <a:extLst>
              <a:ext uri="{FF2B5EF4-FFF2-40B4-BE49-F238E27FC236}">
                <a16:creationId xmlns:a16="http://schemas.microsoft.com/office/drawing/2014/main" id="{406C03F3-B707-478B-A47E-9EEE734B1F1B}"/>
              </a:ext>
            </a:extLst>
          </p:cNvPr>
          <p:cNvSpPr txBox="1"/>
          <p:nvPr/>
        </p:nvSpPr>
        <p:spPr>
          <a:xfrm>
            <a:off x="8716272" y="3269527"/>
            <a:ext cx="2352433" cy="427287"/>
          </a:xfrm>
          <a:prstGeom prst="rect">
            <a:avLst/>
          </a:prstGeom>
          <a:noFill/>
        </p:spPr>
        <p:txBody>
          <a:bodyPr wrap="square" lIns="0" tIns="36000" rIns="216000" bIns="36000" rtlCol="0">
            <a:spAutoFit/>
          </a:bodyPr>
          <a:lstStyle/>
          <a:p>
            <a:pPr marL="0" marR="0" lvl="0" indent="0" algn="l" defTabSz="914400" rtl="0" eaLnBrk="1" fontAlgn="auto" latinLnBrk="0" hangingPunct="1">
              <a:lnSpc>
                <a:spcPct val="120000"/>
              </a:lnSpc>
              <a:spcBef>
                <a:spcPts val="120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HarmonyOS Sans SC"/>
                <a:cs typeface="+mn-cs"/>
              </a:rPr>
              <a:t>A peep at some distant orb has power to raise and purify.</a:t>
            </a:r>
          </a:p>
        </p:txBody>
      </p:sp>
    </p:spTree>
    <p:extLst>
      <p:ext uri="{BB962C8B-B14F-4D97-AF65-F5344CB8AC3E}">
        <p14:creationId xmlns:p14="http://schemas.microsoft.com/office/powerpoint/2010/main" val="3587419506"/>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4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9" name="组合 58">
            <a:extLst>
              <a:ext uri="{FF2B5EF4-FFF2-40B4-BE49-F238E27FC236}">
                <a16:creationId xmlns:a16="http://schemas.microsoft.com/office/drawing/2014/main" id="{3A2D9580-57EC-40E2-B4CD-6525C1954E38}"/>
              </a:ext>
            </a:extLst>
          </p:cNvPr>
          <p:cNvGrpSpPr/>
          <p:nvPr/>
        </p:nvGrpSpPr>
        <p:grpSpPr>
          <a:xfrm>
            <a:off x="1709934" y="2397152"/>
            <a:ext cx="1633470" cy="1942728"/>
            <a:chOff x="1669508" y="2474875"/>
            <a:chExt cx="1633470" cy="1942728"/>
          </a:xfrm>
        </p:grpSpPr>
        <p:sp>
          <p:nvSpPr>
            <p:cNvPr id="3" name="Oval 12">
              <a:extLst>
                <a:ext uri="{FF2B5EF4-FFF2-40B4-BE49-F238E27FC236}">
                  <a16:creationId xmlns:a16="http://schemas.microsoft.com/office/drawing/2014/main" id="{9D0D9BF2-9183-4F69-9C94-74BF79133846}"/>
                </a:ext>
              </a:extLst>
            </p:cNvPr>
            <p:cNvSpPr>
              <a:spLocks noChangeArrowheads="1"/>
            </p:cNvSpPr>
            <p:nvPr/>
          </p:nvSpPr>
          <p:spPr bwMode="auto">
            <a:xfrm>
              <a:off x="1669508" y="2917599"/>
              <a:ext cx="1501742" cy="1500004"/>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 name="Oval 17">
              <a:extLst>
                <a:ext uri="{FF2B5EF4-FFF2-40B4-BE49-F238E27FC236}">
                  <a16:creationId xmlns:a16="http://schemas.microsoft.com/office/drawing/2014/main" id="{0BAF66F4-31D5-4857-B3A0-40511251503E}"/>
                </a:ext>
              </a:extLst>
            </p:cNvPr>
            <p:cNvSpPr>
              <a:spLocks noChangeArrowheads="1"/>
            </p:cNvSpPr>
            <p:nvPr/>
          </p:nvSpPr>
          <p:spPr bwMode="auto">
            <a:xfrm>
              <a:off x="1817249" y="3064471"/>
              <a:ext cx="1206261" cy="1207130"/>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Oval 18">
              <a:extLst>
                <a:ext uri="{FF2B5EF4-FFF2-40B4-BE49-F238E27FC236}">
                  <a16:creationId xmlns:a16="http://schemas.microsoft.com/office/drawing/2014/main" id="{8090829A-A023-48E9-A45A-7D322192602A}"/>
                </a:ext>
              </a:extLst>
            </p:cNvPr>
            <p:cNvSpPr>
              <a:spLocks noChangeArrowheads="1"/>
            </p:cNvSpPr>
            <p:nvPr/>
          </p:nvSpPr>
          <p:spPr bwMode="auto">
            <a:xfrm>
              <a:off x="1963252" y="3212212"/>
              <a:ext cx="913386" cy="911648"/>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 name="Oval 19">
              <a:extLst>
                <a:ext uri="{FF2B5EF4-FFF2-40B4-BE49-F238E27FC236}">
                  <a16:creationId xmlns:a16="http://schemas.microsoft.com/office/drawing/2014/main" id="{2FB0C622-EE3A-404F-9D45-834DF781D825}"/>
                </a:ext>
              </a:extLst>
            </p:cNvPr>
            <p:cNvSpPr>
              <a:spLocks noChangeArrowheads="1"/>
            </p:cNvSpPr>
            <p:nvPr/>
          </p:nvSpPr>
          <p:spPr bwMode="auto">
            <a:xfrm>
              <a:off x="2111862" y="3359084"/>
              <a:ext cx="617035" cy="617904"/>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Oval 20">
              <a:extLst>
                <a:ext uri="{FF2B5EF4-FFF2-40B4-BE49-F238E27FC236}">
                  <a16:creationId xmlns:a16="http://schemas.microsoft.com/office/drawing/2014/main" id="{0B031430-45CD-426F-BF48-7B66DC8F393C}"/>
                </a:ext>
              </a:extLst>
            </p:cNvPr>
            <p:cNvSpPr>
              <a:spLocks noChangeArrowheads="1"/>
            </p:cNvSpPr>
            <p:nvPr/>
          </p:nvSpPr>
          <p:spPr bwMode="auto">
            <a:xfrm>
              <a:off x="2257864" y="3506825"/>
              <a:ext cx="324160" cy="323292"/>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44">
              <a:extLst>
                <a:ext uri="{FF2B5EF4-FFF2-40B4-BE49-F238E27FC236}">
                  <a16:creationId xmlns:a16="http://schemas.microsoft.com/office/drawing/2014/main" id="{8AF062E7-EF45-464C-A505-D5A3403D23E7}"/>
                </a:ext>
              </a:extLst>
            </p:cNvPr>
            <p:cNvSpPr>
              <a:spLocks/>
            </p:cNvSpPr>
            <p:nvPr/>
          </p:nvSpPr>
          <p:spPr bwMode="auto">
            <a:xfrm rot="19459711">
              <a:off x="2545843" y="2474875"/>
              <a:ext cx="495366" cy="313732"/>
            </a:xfrm>
            <a:custGeom>
              <a:avLst/>
              <a:gdLst>
                <a:gd name="T0" fmla="*/ 336 w 405"/>
                <a:gd name="T1" fmla="*/ 165 h 257"/>
                <a:gd name="T2" fmla="*/ 405 w 405"/>
                <a:gd name="T3" fmla="*/ 4 h 257"/>
                <a:gd name="T4" fmla="*/ 127 w 405"/>
                <a:gd name="T5" fmla="*/ 257 h 257"/>
                <a:gd name="T6" fmla="*/ 336 w 405"/>
                <a:gd name="T7" fmla="*/ 165 h 257"/>
              </a:gdLst>
              <a:ahLst/>
              <a:cxnLst>
                <a:cxn ang="0">
                  <a:pos x="T0" y="T1"/>
                </a:cxn>
                <a:cxn ang="0">
                  <a:pos x="T2" y="T3"/>
                </a:cxn>
                <a:cxn ang="0">
                  <a:pos x="T4" y="T5"/>
                </a:cxn>
                <a:cxn ang="0">
                  <a:pos x="T6" y="T7"/>
                </a:cxn>
              </a:cxnLst>
              <a:rect l="0" t="0" r="r" b="b"/>
              <a:pathLst>
                <a:path w="405" h="257">
                  <a:moveTo>
                    <a:pt x="336" y="165"/>
                  </a:moveTo>
                  <a:cubicBezTo>
                    <a:pt x="336" y="165"/>
                    <a:pt x="333" y="54"/>
                    <a:pt x="405" y="4"/>
                  </a:cubicBezTo>
                  <a:cubicBezTo>
                    <a:pt x="404" y="0"/>
                    <a:pt x="0" y="118"/>
                    <a:pt x="127" y="257"/>
                  </a:cubicBezTo>
                  <a:cubicBezTo>
                    <a:pt x="196" y="225"/>
                    <a:pt x="266" y="194"/>
                    <a:pt x="336" y="165"/>
                  </a:cubicBezTo>
                  <a:close/>
                </a:path>
              </a:pathLst>
            </a:custGeom>
            <a:gradFill flip="none" rotWithShape="1">
              <a:gsLst>
                <a:gs pos="73000">
                  <a:schemeClr val="accent1"/>
                </a:gs>
                <a:gs pos="31000">
                  <a:schemeClr val="accent1">
                    <a:lumMod val="60000"/>
                    <a:lumOff val="40000"/>
                  </a:schemeClr>
                </a:gs>
                <a:gs pos="0">
                  <a:schemeClr val="accent1">
                    <a:lumMod val="40000"/>
                    <a:lumOff val="60000"/>
                  </a:schemeClr>
                </a:gs>
              </a:gsLst>
              <a:lin ang="10800000" scaled="0"/>
              <a:tileRect/>
            </a:gradFill>
            <a:ln>
              <a:noFill/>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45">
              <a:extLst>
                <a:ext uri="{FF2B5EF4-FFF2-40B4-BE49-F238E27FC236}">
                  <a16:creationId xmlns:a16="http://schemas.microsoft.com/office/drawing/2014/main" id="{D12FA224-7530-462A-94B5-6CC5A7AC168F}"/>
                </a:ext>
              </a:extLst>
            </p:cNvPr>
            <p:cNvSpPr>
              <a:spLocks/>
            </p:cNvSpPr>
            <p:nvPr/>
          </p:nvSpPr>
          <p:spPr bwMode="auto">
            <a:xfrm rot="19459711">
              <a:off x="2856279" y="2594386"/>
              <a:ext cx="446699" cy="329375"/>
            </a:xfrm>
            <a:custGeom>
              <a:avLst/>
              <a:gdLst>
                <a:gd name="T0" fmla="*/ 208 w 366"/>
                <a:gd name="T1" fmla="*/ 0 h 270"/>
                <a:gd name="T2" fmla="*/ 366 w 366"/>
                <a:gd name="T3" fmla="*/ 69 h 270"/>
                <a:gd name="T4" fmla="*/ 0 w 366"/>
                <a:gd name="T5" fmla="*/ 91 h 270"/>
                <a:gd name="T6" fmla="*/ 208 w 366"/>
                <a:gd name="T7" fmla="*/ 0 h 270"/>
              </a:gdLst>
              <a:ahLst/>
              <a:cxnLst>
                <a:cxn ang="0">
                  <a:pos x="T0" y="T1"/>
                </a:cxn>
                <a:cxn ang="0">
                  <a:pos x="T2" y="T3"/>
                </a:cxn>
                <a:cxn ang="0">
                  <a:pos x="T4" y="T5"/>
                </a:cxn>
                <a:cxn ang="0">
                  <a:pos x="T6" y="T7"/>
                </a:cxn>
              </a:cxnLst>
              <a:rect l="0" t="0" r="r" b="b"/>
              <a:pathLst>
                <a:path w="366" h="270">
                  <a:moveTo>
                    <a:pt x="208" y="0"/>
                  </a:moveTo>
                  <a:cubicBezTo>
                    <a:pt x="208" y="0"/>
                    <a:pt x="284" y="80"/>
                    <a:pt x="366" y="69"/>
                  </a:cubicBezTo>
                  <a:cubicBezTo>
                    <a:pt x="363" y="66"/>
                    <a:pt x="24" y="270"/>
                    <a:pt x="0" y="91"/>
                  </a:cubicBezTo>
                  <a:cubicBezTo>
                    <a:pt x="69" y="59"/>
                    <a:pt x="138" y="29"/>
                    <a:pt x="208" y="0"/>
                  </a:cubicBezTo>
                  <a:close/>
                </a:path>
              </a:pathLst>
            </a:custGeom>
            <a:gradFill flip="none" rotWithShape="1">
              <a:gsLst>
                <a:gs pos="73000">
                  <a:schemeClr val="accent1"/>
                </a:gs>
                <a:gs pos="31000">
                  <a:schemeClr val="accent1">
                    <a:lumMod val="60000"/>
                    <a:lumOff val="40000"/>
                  </a:schemeClr>
                </a:gs>
                <a:gs pos="0">
                  <a:schemeClr val="accent1">
                    <a:lumMod val="40000"/>
                    <a:lumOff val="60000"/>
                  </a:schemeClr>
                </a:gs>
              </a:gsLst>
              <a:lin ang="10800000" scaled="0"/>
              <a:tileRect/>
            </a:gradFill>
            <a:ln>
              <a:noFill/>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46">
              <a:extLst>
                <a:ext uri="{FF2B5EF4-FFF2-40B4-BE49-F238E27FC236}">
                  <a16:creationId xmlns:a16="http://schemas.microsoft.com/office/drawing/2014/main" id="{E463FB31-E01A-40D9-B15E-21E152B5A7C0}"/>
                </a:ext>
              </a:extLst>
            </p:cNvPr>
            <p:cNvSpPr>
              <a:spLocks/>
            </p:cNvSpPr>
            <p:nvPr/>
          </p:nvSpPr>
          <p:spPr bwMode="auto">
            <a:xfrm rot="19459711">
              <a:off x="2107431" y="2805988"/>
              <a:ext cx="1187140" cy="660488"/>
            </a:xfrm>
            <a:custGeom>
              <a:avLst/>
              <a:gdLst>
                <a:gd name="T0" fmla="*/ 10 w 971"/>
                <a:gd name="T1" fmla="*/ 519 h 540"/>
                <a:gd name="T2" fmla="*/ 22 w 971"/>
                <a:gd name="T3" fmla="*/ 469 h 540"/>
                <a:gd name="T4" fmla="*/ 916 w 971"/>
                <a:gd name="T5" fmla="*/ 8 h 540"/>
                <a:gd name="T6" fmla="*/ 964 w 971"/>
                <a:gd name="T7" fmla="*/ 27 h 540"/>
                <a:gd name="T8" fmla="*/ 944 w 971"/>
                <a:gd name="T9" fmla="*/ 73 h 540"/>
                <a:gd name="T10" fmla="*/ 60 w 971"/>
                <a:gd name="T11" fmla="*/ 529 h 540"/>
                <a:gd name="T12" fmla="*/ 10 w 971"/>
                <a:gd name="T13" fmla="*/ 519 h 540"/>
              </a:gdLst>
              <a:ahLst/>
              <a:cxnLst>
                <a:cxn ang="0">
                  <a:pos x="T0" y="T1"/>
                </a:cxn>
                <a:cxn ang="0">
                  <a:pos x="T2" y="T3"/>
                </a:cxn>
                <a:cxn ang="0">
                  <a:pos x="T4" y="T5"/>
                </a:cxn>
                <a:cxn ang="0">
                  <a:pos x="T6" y="T7"/>
                </a:cxn>
                <a:cxn ang="0">
                  <a:pos x="T8" y="T9"/>
                </a:cxn>
                <a:cxn ang="0">
                  <a:pos x="T10" y="T11"/>
                </a:cxn>
                <a:cxn ang="0">
                  <a:pos x="T12" y="T13"/>
                </a:cxn>
              </a:cxnLst>
              <a:rect l="0" t="0" r="r" b="b"/>
              <a:pathLst>
                <a:path w="971" h="540">
                  <a:moveTo>
                    <a:pt x="10" y="519"/>
                  </a:moveTo>
                  <a:cubicBezTo>
                    <a:pt x="0" y="502"/>
                    <a:pt x="5" y="480"/>
                    <a:pt x="22" y="469"/>
                  </a:cubicBezTo>
                  <a:cubicBezTo>
                    <a:pt x="307" y="291"/>
                    <a:pt x="606" y="137"/>
                    <a:pt x="916" y="8"/>
                  </a:cubicBezTo>
                  <a:cubicBezTo>
                    <a:pt x="935" y="0"/>
                    <a:pt x="956" y="9"/>
                    <a:pt x="964" y="27"/>
                  </a:cubicBezTo>
                  <a:cubicBezTo>
                    <a:pt x="971" y="45"/>
                    <a:pt x="962" y="66"/>
                    <a:pt x="944" y="73"/>
                  </a:cubicBezTo>
                  <a:cubicBezTo>
                    <a:pt x="637" y="201"/>
                    <a:pt x="342" y="354"/>
                    <a:pt x="60" y="529"/>
                  </a:cubicBezTo>
                  <a:cubicBezTo>
                    <a:pt x="43" y="540"/>
                    <a:pt x="21" y="535"/>
                    <a:pt x="10" y="519"/>
                  </a:cubicBez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49" name="TextBox 107">
            <a:extLst>
              <a:ext uri="{FF2B5EF4-FFF2-40B4-BE49-F238E27FC236}">
                <a16:creationId xmlns:a16="http://schemas.microsoft.com/office/drawing/2014/main" id="{2A6E1DE6-301A-4026-9BA7-2CDB43F955BE}"/>
              </a:ext>
            </a:extLst>
          </p:cNvPr>
          <p:cNvSpPr txBox="1"/>
          <p:nvPr/>
        </p:nvSpPr>
        <p:spPr>
          <a:xfrm>
            <a:off x="1490362" y="4567658"/>
            <a:ext cx="2072614"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chemeClr val="accent1"/>
                </a:solidFill>
                <a:effectLst/>
                <a:uLnTx/>
                <a:uFillTx/>
                <a:latin typeface="HarmonyOS Sans SC Black"/>
                <a:ea typeface="+mj-ea"/>
                <a:cs typeface="Poppins" panose="00000500000000000000" pitchFamily="50" charset="0"/>
              </a:rPr>
              <a:t>Target 1</a:t>
            </a:r>
            <a:endParaRPr kumimoji="0" lang="id-ID" sz="2400" b="0" i="0" u="none" strike="noStrike" kern="1200" cap="none" spc="0" normalizeH="0" baseline="0" noProof="0" dirty="0">
              <a:ln>
                <a:noFill/>
              </a:ln>
              <a:solidFill>
                <a:schemeClr val="accent1"/>
              </a:solidFill>
              <a:effectLst/>
              <a:uLnTx/>
              <a:uFillTx/>
              <a:latin typeface="HarmonyOS Sans SC Black"/>
              <a:ea typeface="+mj-ea"/>
              <a:cs typeface="Poppins" panose="00000500000000000000" pitchFamily="50" charset="0"/>
            </a:endParaRPr>
          </a:p>
        </p:txBody>
      </p:sp>
      <p:sp>
        <p:nvSpPr>
          <p:cNvPr id="50" name="Rectangle 108">
            <a:extLst>
              <a:ext uri="{FF2B5EF4-FFF2-40B4-BE49-F238E27FC236}">
                <a16:creationId xmlns:a16="http://schemas.microsoft.com/office/drawing/2014/main" id="{81354A89-26C9-4D9D-A414-5891882E55C3}"/>
              </a:ext>
            </a:extLst>
          </p:cNvPr>
          <p:cNvSpPr/>
          <p:nvPr/>
        </p:nvSpPr>
        <p:spPr>
          <a:xfrm>
            <a:off x="1174119" y="5107046"/>
            <a:ext cx="2705100" cy="685509"/>
          </a:xfrm>
          <a:prstGeom prst="rect">
            <a:avLst/>
          </a:prstGeom>
        </p:spPr>
        <p:txBody>
          <a:bodyPr wrap="square">
            <a:spAutoFit/>
          </a:body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lumMod val="50000"/>
                    <a:lumOff val="50000"/>
                  </a:prstClr>
                </a:solidFill>
                <a:effectLst/>
                <a:uLnTx/>
                <a:uFillTx/>
                <a:latin typeface="HarmonyOS Sans SC"/>
                <a:cs typeface="Segoe UI" panose="020B0502040204020203" pitchFamily="34" charset="0"/>
              </a:rPr>
              <a:t>A wonderful serenity has taken possession of my entire soul, like these sweet mornings of</a:t>
            </a:r>
          </a:p>
        </p:txBody>
      </p:sp>
      <p:grpSp>
        <p:nvGrpSpPr>
          <p:cNvPr id="57" name="组合 56">
            <a:extLst>
              <a:ext uri="{FF2B5EF4-FFF2-40B4-BE49-F238E27FC236}">
                <a16:creationId xmlns:a16="http://schemas.microsoft.com/office/drawing/2014/main" id="{AE30F428-876D-470E-AD01-FE6E740D5A23}"/>
              </a:ext>
            </a:extLst>
          </p:cNvPr>
          <p:cNvGrpSpPr/>
          <p:nvPr/>
        </p:nvGrpSpPr>
        <p:grpSpPr>
          <a:xfrm>
            <a:off x="5325209" y="2339930"/>
            <a:ext cx="1541583" cy="2078998"/>
            <a:chOff x="5481958" y="2360431"/>
            <a:chExt cx="1541583" cy="2078998"/>
          </a:xfrm>
        </p:grpSpPr>
        <p:sp>
          <p:nvSpPr>
            <p:cNvPr id="38" name="Oval 12">
              <a:extLst>
                <a:ext uri="{FF2B5EF4-FFF2-40B4-BE49-F238E27FC236}">
                  <a16:creationId xmlns:a16="http://schemas.microsoft.com/office/drawing/2014/main" id="{6A6700BE-F400-452C-9878-37BB721366AA}"/>
                </a:ext>
              </a:extLst>
            </p:cNvPr>
            <p:cNvSpPr>
              <a:spLocks noChangeArrowheads="1"/>
            </p:cNvSpPr>
            <p:nvPr/>
          </p:nvSpPr>
          <p:spPr bwMode="auto">
            <a:xfrm rot="2187619">
              <a:off x="5521799" y="2939425"/>
              <a:ext cx="1501742" cy="1500004"/>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9" name="Oval 17">
              <a:extLst>
                <a:ext uri="{FF2B5EF4-FFF2-40B4-BE49-F238E27FC236}">
                  <a16:creationId xmlns:a16="http://schemas.microsoft.com/office/drawing/2014/main" id="{78ACC309-56FE-4BC8-B932-B0A4BD570653}"/>
                </a:ext>
              </a:extLst>
            </p:cNvPr>
            <p:cNvSpPr>
              <a:spLocks noChangeArrowheads="1"/>
            </p:cNvSpPr>
            <p:nvPr/>
          </p:nvSpPr>
          <p:spPr bwMode="auto">
            <a:xfrm rot="2187619">
              <a:off x="5669281" y="3086212"/>
              <a:ext cx="1206261" cy="1207130"/>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0" name="Oval 18">
              <a:extLst>
                <a:ext uri="{FF2B5EF4-FFF2-40B4-BE49-F238E27FC236}">
                  <a16:creationId xmlns:a16="http://schemas.microsoft.com/office/drawing/2014/main" id="{E234419A-7D18-45EC-ACBF-22394CF42F92}"/>
                </a:ext>
              </a:extLst>
            </p:cNvPr>
            <p:cNvSpPr>
              <a:spLocks noChangeArrowheads="1"/>
            </p:cNvSpPr>
            <p:nvPr/>
          </p:nvSpPr>
          <p:spPr bwMode="auto">
            <a:xfrm rot="2187619">
              <a:off x="5815369" y="3233695"/>
              <a:ext cx="913386" cy="911648"/>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1" name="Oval 19">
              <a:extLst>
                <a:ext uri="{FF2B5EF4-FFF2-40B4-BE49-F238E27FC236}">
                  <a16:creationId xmlns:a16="http://schemas.microsoft.com/office/drawing/2014/main" id="{7DFD0CAD-451C-498C-826E-57E81240DCCE}"/>
                </a:ext>
              </a:extLst>
            </p:cNvPr>
            <p:cNvSpPr>
              <a:spLocks noChangeArrowheads="1"/>
            </p:cNvSpPr>
            <p:nvPr/>
          </p:nvSpPr>
          <p:spPr bwMode="auto">
            <a:xfrm rot="2187619">
              <a:off x="5963894" y="3380825"/>
              <a:ext cx="617035" cy="617904"/>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2" name="Oval 20">
              <a:extLst>
                <a:ext uri="{FF2B5EF4-FFF2-40B4-BE49-F238E27FC236}">
                  <a16:creationId xmlns:a16="http://schemas.microsoft.com/office/drawing/2014/main" id="{88982A76-EA0F-4D1B-9FD8-FF6E995509F3}"/>
                </a:ext>
              </a:extLst>
            </p:cNvPr>
            <p:cNvSpPr>
              <a:spLocks noChangeArrowheads="1"/>
            </p:cNvSpPr>
            <p:nvPr/>
          </p:nvSpPr>
          <p:spPr bwMode="auto">
            <a:xfrm rot="2187619">
              <a:off x="6109723" y="3528222"/>
              <a:ext cx="324160" cy="323292"/>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3" name="Freeform 47">
              <a:extLst>
                <a:ext uri="{FF2B5EF4-FFF2-40B4-BE49-F238E27FC236}">
                  <a16:creationId xmlns:a16="http://schemas.microsoft.com/office/drawing/2014/main" id="{60CBC383-F99B-4ADF-8659-C1F2DE17F22C}"/>
                </a:ext>
              </a:extLst>
            </p:cNvPr>
            <p:cNvSpPr>
              <a:spLocks/>
            </p:cNvSpPr>
            <p:nvPr/>
          </p:nvSpPr>
          <p:spPr bwMode="auto">
            <a:xfrm rot="2187619">
              <a:off x="6373049" y="2360431"/>
              <a:ext cx="381519" cy="444091"/>
            </a:xfrm>
            <a:custGeom>
              <a:avLst/>
              <a:gdLst>
                <a:gd name="T0" fmla="*/ 0 w 312"/>
                <a:gd name="T1" fmla="*/ 176 h 363"/>
                <a:gd name="T2" fmla="*/ 25 w 312"/>
                <a:gd name="T3" fmla="*/ 3 h 363"/>
                <a:gd name="T4" fmla="*/ 131 w 312"/>
                <a:gd name="T5" fmla="*/ 363 h 363"/>
                <a:gd name="T6" fmla="*/ 0 w 312"/>
                <a:gd name="T7" fmla="*/ 176 h 363"/>
              </a:gdLst>
              <a:ahLst/>
              <a:cxnLst>
                <a:cxn ang="0">
                  <a:pos x="T0" y="T1"/>
                </a:cxn>
                <a:cxn ang="0">
                  <a:pos x="T2" y="T3"/>
                </a:cxn>
                <a:cxn ang="0">
                  <a:pos x="T4" y="T5"/>
                </a:cxn>
                <a:cxn ang="0">
                  <a:pos x="T6" y="T7"/>
                </a:cxn>
              </a:cxnLst>
              <a:rect l="0" t="0" r="r" b="b"/>
              <a:pathLst>
                <a:path w="312" h="363">
                  <a:moveTo>
                    <a:pt x="0" y="176"/>
                  </a:moveTo>
                  <a:cubicBezTo>
                    <a:pt x="0" y="176"/>
                    <a:pt x="60" y="83"/>
                    <a:pt x="25" y="3"/>
                  </a:cubicBezTo>
                  <a:cubicBezTo>
                    <a:pt x="28" y="0"/>
                    <a:pt x="312" y="311"/>
                    <a:pt x="131" y="363"/>
                  </a:cubicBezTo>
                  <a:cubicBezTo>
                    <a:pt x="89" y="300"/>
                    <a:pt x="45" y="237"/>
                    <a:pt x="0" y="176"/>
                  </a:cubicBezTo>
                  <a:close/>
                </a:path>
              </a:pathLst>
            </a:custGeom>
            <a:gradFill>
              <a:gsLst>
                <a:gs pos="73000">
                  <a:schemeClr val="accent1"/>
                </a:gs>
                <a:gs pos="31000">
                  <a:schemeClr val="accent1">
                    <a:lumMod val="60000"/>
                    <a:lumOff val="40000"/>
                  </a:schemeClr>
                </a:gs>
                <a:gs pos="0">
                  <a:schemeClr val="accent1">
                    <a:lumMod val="40000"/>
                    <a:lumOff val="60000"/>
                  </a:schemeClr>
                </a:gs>
              </a:gsLst>
              <a:lin ang="0" scaled="1"/>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4" name="Freeform 48">
              <a:extLst>
                <a:ext uri="{FF2B5EF4-FFF2-40B4-BE49-F238E27FC236}">
                  <a16:creationId xmlns:a16="http://schemas.microsoft.com/office/drawing/2014/main" id="{120AEA4F-1A15-433E-AA3E-F88C0121D1D5}"/>
                </a:ext>
              </a:extLst>
            </p:cNvPr>
            <p:cNvSpPr>
              <a:spLocks/>
            </p:cNvSpPr>
            <p:nvPr/>
          </p:nvSpPr>
          <p:spPr bwMode="auto">
            <a:xfrm rot="2187619">
              <a:off x="6035511" y="2382452"/>
              <a:ext cx="366745" cy="428448"/>
            </a:xfrm>
            <a:custGeom>
              <a:avLst/>
              <a:gdLst>
                <a:gd name="T0" fmla="*/ 170 w 300"/>
                <a:gd name="T1" fmla="*/ 25 h 351"/>
                <a:gd name="T2" fmla="*/ 0 w 300"/>
                <a:gd name="T3" fmla="*/ 1 h 351"/>
                <a:gd name="T4" fmla="*/ 300 w 300"/>
                <a:gd name="T5" fmla="*/ 210 h 351"/>
                <a:gd name="T6" fmla="*/ 170 w 300"/>
                <a:gd name="T7" fmla="*/ 25 h 351"/>
              </a:gdLst>
              <a:ahLst/>
              <a:cxnLst>
                <a:cxn ang="0">
                  <a:pos x="T0" y="T1"/>
                </a:cxn>
                <a:cxn ang="0">
                  <a:pos x="T2" y="T3"/>
                </a:cxn>
                <a:cxn ang="0">
                  <a:pos x="T4" y="T5"/>
                </a:cxn>
                <a:cxn ang="0">
                  <a:pos x="T6" y="T7"/>
                </a:cxn>
              </a:cxnLst>
              <a:rect l="0" t="0" r="r" b="b"/>
              <a:pathLst>
                <a:path w="300" h="351">
                  <a:moveTo>
                    <a:pt x="170" y="25"/>
                  </a:moveTo>
                  <a:cubicBezTo>
                    <a:pt x="170" y="25"/>
                    <a:pt x="64" y="53"/>
                    <a:pt x="0" y="1"/>
                  </a:cubicBezTo>
                  <a:cubicBezTo>
                    <a:pt x="3" y="0"/>
                    <a:pt x="187" y="351"/>
                    <a:pt x="300" y="210"/>
                  </a:cubicBezTo>
                  <a:cubicBezTo>
                    <a:pt x="258" y="148"/>
                    <a:pt x="215" y="86"/>
                    <a:pt x="170" y="25"/>
                  </a:cubicBezTo>
                  <a:close/>
                </a:path>
              </a:pathLst>
            </a:custGeom>
            <a:gradFill>
              <a:gsLst>
                <a:gs pos="73000">
                  <a:schemeClr val="accent1"/>
                </a:gs>
                <a:gs pos="31000">
                  <a:schemeClr val="accent1">
                    <a:lumMod val="60000"/>
                    <a:lumOff val="40000"/>
                  </a:schemeClr>
                </a:gs>
                <a:gs pos="0">
                  <a:schemeClr val="accent1">
                    <a:lumMod val="40000"/>
                    <a:lumOff val="60000"/>
                  </a:schemeClr>
                </a:gs>
              </a:gsLst>
              <a:lin ang="0" scaled="1"/>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5" name="Freeform 49">
              <a:extLst>
                <a:ext uri="{FF2B5EF4-FFF2-40B4-BE49-F238E27FC236}">
                  <a16:creationId xmlns:a16="http://schemas.microsoft.com/office/drawing/2014/main" id="{68E1BDC1-A245-45D1-85A3-12A5A816DDEB}"/>
                </a:ext>
              </a:extLst>
            </p:cNvPr>
            <p:cNvSpPr>
              <a:spLocks/>
            </p:cNvSpPr>
            <p:nvPr/>
          </p:nvSpPr>
          <p:spPr bwMode="auto">
            <a:xfrm rot="2187619">
              <a:off x="5959843" y="2502485"/>
              <a:ext cx="736097" cy="1143688"/>
            </a:xfrm>
            <a:custGeom>
              <a:avLst/>
              <a:gdLst>
                <a:gd name="T0" fmla="*/ 577 w 602"/>
                <a:gd name="T1" fmla="*/ 927 h 936"/>
                <a:gd name="T2" fmla="*/ 593 w 602"/>
                <a:gd name="T3" fmla="*/ 879 h 936"/>
                <a:gd name="T4" fmla="*/ 69 w 602"/>
                <a:gd name="T5" fmla="*/ 20 h 936"/>
                <a:gd name="T6" fmla="*/ 18 w 602"/>
                <a:gd name="T7" fmla="*/ 11 h 936"/>
                <a:gd name="T8" fmla="*/ 11 w 602"/>
                <a:gd name="T9" fmla="*/ 62 h 936"/>
                <a:gd name="T10" fmla="*/ 529 w 602"/>
                <a:gd name="T11" fmla="*/ 911 h 936"/>
                <a:gd name="T12" fmla="*/ 577 w 602"/>
                <a:gd name="T13" fmla="*/ 927 h 936"/>
              </a:gdLst>
              <a:ahLst/>
              <a:cxnLst>
                <a:cxn ang="0">
                  <a:pos x="T0" y="T1"/>
                </a:cxn>
                <a:cxn ang="0">
                  <a:pos x="T2" y="T3"/>
                </a:cxn>
                <a:cxn ang="0">
                  <a:pos x="T4" y="T5"/>
                </a:cxn>
                <a:cxn ang="0">
                  <a:pos x="T6" y="T7"/>
                </a:cxn>
                <a:cxn ang="0">
                  <a:pos x="T8" y="T9"/>
                </a:cxn>
                <a:cxn ang="0">
                  <a:pos x="T10" y="T11"/>
                </a:cxn>
                <a:cxn ang="0">
                  <a:pos x="T12" y="T13"/>
                </a:cxn>
              </a:cxnLst>
              <a:rect l="0" t="0" r="r" b="b"/>
              <a:pathLst>
                <a:path w="602" h="936">
                  <a:moveTo>
                    <a:pt x="577" y="927"/>
                  </a:moveTo>
                  <a:cubicBezTo>
                    <a:pt x="595" y="919"/>
                    <a:pt x="602" y="897"/>
                    <a:pt x="593" y="879"/>
                  </a:cubicBezTo>
                  <a:cubicBezTo>
                    <a:pt x="441" y="579"/>
                    <a:pt x="266" y="292"/>
                    <a:pt x="69" y="20"/>
                  </a:cubicBezTo>
                  <a:cubicBezTo>
                    <a:pt x="57" y="4"/>
                    <a:pt x="34" y="0"/>
                    <a:pt x="18" y="11"/>
                  </a:cubicBezTo>
                  <a:cubicBezTo>
                    <a:pt x="3" y="23"/>
                    <a:pt x="0" y="45"/>
                    <a:pt x="11" y="62"/>
                  </a:cubicBezTo>
                  <a:cubicBezTo>
                    <a:pt x="207" y="330"/>
                    <a:pt x="380" y="614"/>
                    <a:pt x="529" y="911"/>
                  </a:cubicBezTo>
                  <a:cubicBezTo>
                    <a:pt x="538" y="929"/>
                    <a:pt x="560" y="936"/>
                    <a:pt x="577" y="927"/>
                  </a:cubicBez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6" name="Freeform 50">
              <a:extLst>
                <a:ext uri="{FF2B5EF4-FFF2-40B4-BE49-F238E27FC236}">
                  <a16:creationId xmlns:a16="http://schemas.microsoft.com/office/drawing/2014/main" id="{85C15227-8A97-4459-94E1-D3695F7ED526}"/>
                </a:ext>
              </a:extLst>
            </p:cNvPr>
            <p:cNvSpPr>
              <a:spLocks/>
            </p:cNvSpPr>
            <p:nvPr/>
          </p:nvSpPr>
          <p:spPr bwMode="auto">
            <a:xfrm rot="2187619">
              <a:off x="5782214" y="2441913"/>
              <a:ext cx="479723" cy="345019"/>
            </a:xfrm>
            <a:custGeom>
              <a:avLst/>
              <a:gdLst>
                <a:gd name="T0" fmla="*/ 52 w 392"/>
                <a:gd name="T1" fmla="*/ 171 h 282"/>
                <a:gd name="T2" fmla="*/ 0 w 392"/>
                <a:gd name="T3" fmla="*/ 4 h 282"/>
                <a:gd name="T4" fmla="*/ 252 w 392"/>
                <a:gd name="T5" fmla="*/ 282 h 282"/>
                <a:gd name="T6" fmla="*/ 52 w 392"/>
                <a:gd name="T7" fmla="*/ 171 h 282"/>
              </a:gdLst>
              <a:ahLst/>
              <a:cxnLst>
                <a:cxn ang="0">
                  <a:pos x="T0" y="T1"/>
                </a:cxn>
                <a:cxn ang="0">
                  <a:pos x="T2" y="T3"/>
                </a:cxn>
                <a:cxn ang="0">
                  <a:pos x="T4" y="T5"/>
                </a:cxn>
                <a:cxn ang="0">
                  <a:pos x="T6" y="T7"/>
                </a:cxn>
              </a:cxnLst>
              <a:rect l="0" t="0" r="r" b="b"/>
              <a:pathLst>
                <a:path w="392" h="282">
                  <a:moveTo>
                    <a:pt x="52" y="171"/>
                  </a:moveTo>
                  <a:cubicBezTo>
                    <a:pt x="53" y="171"/>
                    <a:pt x="66" y="61"/>
                    <a:pt x="0" y="4"/>
                  </a:cubicBezTo>
                  <a:cubicBezTo>
                    <a:pt x="1" y="0"/>
                    <a:pt x="392" y="157"/>
                    <a:pt x="252" y="282"/>
                  </a:cubicBezTo>
                  <a:cubicBezTo>
                    <a:pt x="186" y="244"/>
                    <a:pt x="120" y="207"/>
                    <a:pt x="52" y="171"/>
                  </a:cubicBezTo>
                  <a:close/>
                </a:path>
              </a:pathLst>
            </a:custGeom>
            <a:gradFill>
              <a:gsLst>
                <a:gs pos="73000">
                  <a:schemeClr val="accent1"/>
                </a:gs>
                <a:gs pos="31000">
                  <a:schemeClr val="accent1">
                    <a:lumMod val="60000"/>
                    <a:lumOff val="40000"/>
                  </a:schemeClr>
                </a:gs>
                <a:gs pos="0">
                  <a:schemeClr val="accent1">
                    <a:lumMod val="40000"/>
                    <a:lumOff val="60000"/>
                  </a:schemeClr>
                </a:gs>
              </a:gsLst>
              <a:lin ang="0" scaled="1"/>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7" name="Freeform 51">
              <a:extLst>
                <a:ext uri="{FF2B5EF4-FFF2-40B4-BE49-F238E27FC236}">
                  <a16:creationId xmlns:a16="http://schemas.microsoft.com/office/drawing/2014/main" id="{02260EC3-3677-42CD-AE9D-DA59DCC5ED55}"/>
                </a:ext>
              </a:extLst>
            </p:cNvPr>
            <p:cNvSpPr>
              <a:spLocks/>
            </p:cNvSpPr>
            <p:nvPr/>
          </p:nvSpPr>
          <p:spPr bwMode="auto">
            <a:xfrm rot="2187619">
              <a:off x="5491739" y="2545203"/>
              <a:ext cx="440615" cy="350233"/>
            </a:xfrm>
            <a:custGeom>
              <a:avLst/>
              <a:gdLst>
                <a:gd name="T0" fmla="*/ 164 w 361"/>
                <a:gd name="T1" fmla="*/ 0 h 287"/>
                <a:gd name="T2" fmla="*/ 0 w 361"/>
                <a:gd name="T3" fmla="*/ 53 h 287"/>
                <a:gd name="T4" fmla="*/ 361 w 361"/>
                <a:gd name="T5" fmla="*/ 111 h 287"/>
                <a:gd name="T6" fmla="*/ 164 w 361"/>
                <a:gd name="T7" fmla="*/ 0 h 287"/>
              </a:gdLst>
              <a:ahLst/>
              <a:cxnLst>
                <a:cxn ang="0">
                  <a:pos x="T0" y="T1"/>
                </a:cxn>
                <a:cxn ang="0">
                  <a:pos x="T2" y="T3"/>
                </a:cxn>
                <a:cxn ang="0">
                  <a:pos x="T4" y="T5"/>
                </a:cxn>
                <a:cxn ang="0">
                  <a:pos x="T6" y="T7"/>
                </a:cxn>
              </a:cxnLst>
              <a:rect l="0" t="0" r="r" b="b"/>
              <a:pathLst>
                <a:path w="361" h="287">
                  <a:moveTo>
                    <a:pt x="164" y="0"/>
                  </a:moveTo>
                  <a:cubicBezTo>
                    <a:pt x="164" y="0"/>
                    <a:pt x="80" y="72"/>
                    <a:pt x="0" y="53"/>
                  </a:cubicBezTo>
                  <a:cubicBezTo>
                    <a:pt x="2" y="50"/>
                    <a:pt x="320" y="287"/>
                    <a:pt x="361" y="111"/>
                  </a:cubicBezTo>
                  <a:cubicBezTo>
                    <a:pt x="296" y="73"/>
                    <a:pt x="230" y="36"/>
                    <a:pt x="164" y="0"/>
                  </a:cubicBezTo>
                  <a:close/>
                </a:path>
              </a:pathLst>
            </a:custGeom>
            <a:gradFill>
              <a:gsLst>
                <a:gs pos="73000">
                  <a:schemeClr val="accent1"/>
                </a:gs>
                <a:gs pos="31000">
                  <a:schemeClr val="accent1">
                    <a:lumMod val="60000"/>
                    <a:lumOff val="40000"/>
                  </a:schemeClr>
                </a:gs>
                <a:gs pos="0">
                  <a:schemeClr val="accent1">
                    <a:lumMod val="40000"/>
                    <a:lumOff val="60000"/>
                  </a:schemeClr>
                </a:gs>
              </a:gsLst>
              <a:lin ang="0" scaled="1"/>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8" name="Freeform 52">
              <a:extLst>
                <a:ext uri="{FF2B5EF4-FFF2-40B4-BE49-F238E27FC236}">
                  <a16:creationId xmlns:a16="http://schemas.microsoft.com/office/drawing/2014/main" id="{67A524E0-B698-4375-8B54-7C5DB9114B1D}"/>
                </a:ext>
              </a:extLst>
            </p:cNvPr>
            <p:cNvSpPr>
              <a:spLocks/>
            </p:cNvSpPr>
            <p:nvPr/>
          </p:nvSpPr>
          <p:spPr bwMode="auto">
            <a:xfrm rot="2187619">
              <a:off x="5481958" y="2744282"/>
              <a:ext cx="1126306" cy="763038"/>
            </a:xfrm>
            <a:custGeom>
              <a:avLst/>
              <a:gdLst>
                <a:gd name="T0" fmla="*/ 910 w 922"/>
                <a:gd name="T1" fmla="*/ 607 h 625"/>
                <a:gd name="T2" fmla="*/ 903 w 922"/>
                <a:gd name="T3" fmla="*/ 557 h 625"/>
                <a:gd name="T4" fmla="*/ 59 w 922"/>
                <a:gd name="T5" fmla="*/ 10 h 625"/>
                <a:gd name="T6" fmla="*/ 10 w 922"/>
                <a:gd name="T7" fmla="*/ 24 h 625"/>
                <a:gd name="T8" fmla="*/ 25 w 922"/>
                <a:gd name="T9" fmla="*/ 72 h 625"/>
                <a:gd name="T10" fmla="*/ 860 w 922"/>
                <a:gd name="T11" fmla="*/ 613 h 625"/>
                <a:gd name="T12" fmla="*/ 910 w 922"/>
                <a:gd name="T13" fmla="*/ 607 h 625"/>
              </a:gdLst>
              <a:ahLst/>
              <a:cxnLst>
                <a:cxn ang="0">
                  <a:pos x="T0" y="T1"/>
                </a:cxn>
                <a:cxn ang="0">
                  <a:pos x="T2" y="T3"/>
                </a:cxn>
                <a:cxn ang="0">
                  <a:pos x="T4" y="T5"/>
                </a:cxn>
                <a:cxn ang="0">
                  <a:pos x="T6" y="T7"/>
                </a:cxn>
                <a:cxn ang="0">
                  <a:pos x="T8" y="T9"/>
                </a:cxn>
                <a:cxn ang="0">
                  <a:pos x="T10" y="T11"/>
                </a:cxn>
                <a:cxn ang="0">
                  <a:pos x="T12" y="T13"/>
                </a:cxn>
              </a:cxnLst>
              <a:rect l="0" t="0" r="r" b="b"/>
              <a:pathLst>
                <a:path w="922" h="625">
                  <a:moveTo>
                    <a:pt x="910" y="607"/>
                  </a:moveTo>
                  <a:cubicBezTo>
                    <a:pt x="922" y="592"/>
                    <a:pt x="919" y="569"/>
                    <a:pt x="903" y="557"/>
                  </a:cubicBezTo>
                  <a:cubicBezTo>
                    <a:pt x="637" y="352"/>
                    <a:pt x="354" y="169"/>
                    <a:pt x="59" y="10"/>
                  </a:cubicBezTo>
                  <a:cubicBezTo>
                    <a:pt x="41" y="0"/>
                    <a:pt x="19" y="7"/>
                    <a:pt x="10" y="24"/>
                  </a:cubicBezTo>
                  <a:cubicBezTo>
                    <a:pt x="0" y="41"/>
                    <a:pt x="7" y="63"/>
                    <a:pt x="25" y="72"/>
                  </a:cubicBezTo>
                  <a:cubicBezTo>
                    <a:pt x="317" y="229"/>
                    <a:pt x="597" y="410"/>
                    <a:pt x="860" y="613"/>
                  </a:cubicBezTo>
                  <a:cubicBezTo>
                    <a:pt x="876" y="625"/>
                    <a:pt x="898" y="622"/>
                    <a:pt x="910" y="607"/>
                  </a:cubicBez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51" name="TextBox 109">
            <a:extLst>
              <a:ext uri="{FF2B5EF4-FFF2-40B4-BE49-F238E27FC236}">
                <a16:creationId xmlns:a16="http://schemas.microsoft.com/office/drawing/2014/main" id="{CF4DFB35-893D-4445-93AE-5D98B78C8166}"/>
              </a:ext>
            </a:extLst>
          </p:cNvPr>
          <p:cNvSpPr txBox="1"/>
          <p:nvPr/>
        </p:nvSpPr>
        <p:spPr>
          <a:xfrm>
            <a:off x="5059693" y="4624880"/>
            <a:ext cx="2072614"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chemeClr val="accent1"/>
                </a:solidFill>
                <a:effectLst/>
                <a:uLnTx/>
                <a:uFillTx/>
                <a:latin typeface="HarmonyOS Sans SC Black"/>
                <a:ea typeface="+mj-ea"/>
                <a:cs typeface="Poppins" panose="00000500000000000000" pitchFamily="50" charset="0"/>
              </a:rPr>
              <a:t>Target 2</a:t>
            </a:r>
            <a:endParaRPr kumimoji="0" lang="id-ID" sz="2400" b="0" i="0" u="none" strike="noStrike" kern="1200" cap="none" spc="0" normalizeH="0" baseline="0" noProof="0" dirty="0">
              <a:ln>
                <a:noFill/>
              </a:ln>
              <a:solidFill>
                <a:schemeClr val="accent1"/>
              </a:solidFill>
              <a:effectLst/>
              <a:uLnTx/>
              <a:uFillTx/>
              <a:latin typeface="HarmonyOS Sans SC Black"/>
              <a:ea typeface="+mj-ea"/>
              <a:cs typeface="Poppins" panose="00000500000000000000" pitchFamily="50" charset="0"/>
            </a:endParaRPr>
          </a:p>
        </p:txBody>
      </p:sp>
      <p:sp>
        <p:nvSpPr>
          <p:cNvPr id="52" name="Rectangle 110">
            <a:extLst>
              <a:ext uri="{FF2B5EF4-FFF2-40B4-BE49-F238E27FC236}">
                <a16:creationId xmlns:a16="http://schemas.microsoft.com/office/drawing/2014/main" id="{FA035F03-722A-4191-AA86-182491E7C5EC}"/>
              </a:ext>
            </a:extLst>
          </p:cNvPr>
          <p:cNvSpPr/>
          <p:nvPr/>
        </p:nvSpPr>
        <p:spPr>
          <a:xfrm>
            <a:off x="4743450" y="5164268"/>
            <a:ext cx="2705100" cy="685509"/>
          </a:xfrm>
          <a:prstGeom prst="rect">
            <a:avLst/>
          </a:prstGeom>
        </p:spPr>
        <p:txBody>
          <a:bodyPr wrap="square">
            <a:spAutoFit/>
          </a:body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lumMod val="50000"/>
                    <a:lumOff val="50000"/>
                  </a:prstClr>
                </a:solidFill>
                <a:effectLst/>
                <a:uLnTx/>
                <a:uFillTx/>
                <a:latin typeface="HarmonyOS Sans SC"/>
                <a:cs typeface="Segoe UI" panose="020B0502040204020203" pitchFamily="34" charset="0"/>
              </a:rPr>
              <a:t>A wonderful serenity has taken possession of my entire soul, like these sweet mornings of</a:t>
            </a:r>
          </a:p>
        </p:txBody>
      </p:sp>
      <p:grpSp>
        <p:nvGrpSpPr>
          <p:cNvPr id="58" name="组合 57">
            <a:extLst>
              <a:ext uri="{FF2B5EF4-FFF2-40B4-BE49-F238E27FC236}">
                <a16:creationId xmlns:a16="http://schemas.microsoft.com/office/drawing/2014/main" id="{EFD129D9-C4C0-421D-AAEB-5C3BE9068477}"/>
              </a:ext>
            </a:extLst>
          </p:cNvPr>
          <p:cNvGrpSpPr/>
          <p:nvPr/>
        </p:nvGrpSpPr>
        <p:grpSpPr>
          <a:xfrm>
            <a:off x="8532390" y="2319429"/>
            <a:ext cx="2265884" cy="2098174"/>
            <a:chOff x="8752844" y="2319429"/>
            <a:chExt cx="2265884" cy="2098174"/>
          </a:xfrm>
        </p:grpSpPr>
        <p:sp>
          <p:nvSpPr>
            <p:cNvPr id="22" name="Oval 12">
              <a:extLst>
                <a:ext uri="{FF2B5EF4-FFF2-40B4-BE49-F238E27FC236}">
                  <a16:creationId xmlns:a16="http://schemas.microsoft.com/office/drawing/2014/main" id="{550B3F31-64CC-40BF-BF61-4124FC1B9B99}"/>
                </a:ext>
              </a:extLst>
            </p:cNvPr>
            <p:cNvSpPr>
              <a:spLocks noChangeArrowheads="1"/>
            </p:cNvSpPr>
            <p:nvPr/>
          </p:nvSpPr>
          <p:spPr bwMode="auto">
            <a:xfrm rot="20518161">
              <a:off x="9106112" y="2917599"/>
              <a:ext cx="1501742" cy="1500004"/>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Oval 17">
              <a:extLst>
                <a:ext uri="{FF2B5EF4-FFF2-40B4-BE49-F238E27FC236}">
                  <a16:creationId xmlns:a16="http://schemas.microsoft.com/office/drawing/2014/main" id="{86671F55-90AA-4E05-BDFC-573DA755C67F}"/>
                </a:ext>
              </a:extLst>
            </p:cNvPr>
            <p:cNvSpPr>
              <a:spLocks noChangeArrowheads="1"/>
            </p:cNvSpPr>
            <p:nvPr/>
          </p:nvSpPr>
          <p:spPr bwMode="auto">
            <a:xfrm rot="20518161">
              <a:off x="9253988" y="3064449"/>
              <a:ext cx="1206261" cy="1207130"/>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Oval 18">
              <a:extLst>
                <a:ext uri="{FF2B5EF4-FFF2-40B4-BE49-F238E27FC236}">
                  <a16:creationId xmlns:a16="http://schemas.microsoft.com/office/drawing/2014/main" id="{2F40DF5B-A9C8-474E-AF43-1A1BC37266D4}"/>
                </a:ext>
              </a:extLst>
            </p:cNvPr>
            <p:cNvSpPr>
              <a:spLocks noChangeArrowheads="1"/>
            </p:cNvSpPr>
            <p:nvPr/>
          </p:nvSpPr>
          <p:spPr bwMode="auto">
            <a:xfrm rot="20518161">
              <a:off x="9400012" y="3212325"/>
              <a:ext cx="913386" cy="911648"/>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5" name="Oval 19">
              <a:extLst>
                <a:ext uri="{FF2B5EF4-FFF2-40B4-BE49-F238E27FC236}">
                  <a16:creationId xmlns:a16="http://schemas.microsoft.com/office/drawing/2014/main" id="{E2D1CD38-19AC-4234-9A8F-8F3980F34067}"/>
                </a:ext>
              </a:extLst>
            </p:cNvPr>
            <p:cNvSpPr>
              <a:spLocks noChangeArrowheads="1"/>
            </p:cNvSpPr>
            <p:nvPr/>
          </p:nvSpPr>
          <p:spPr bwMode="auto">
            <a:xfrm rot="20518161">
              <a:off x="9548601" y="3359062"/>
              <a:ext cx="617035" cy="617904"/>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 name="Oval 20">
              <a:extLst>
                <a:ext uri="{FF2B5EF4-FFF2-40B4-BE49-F238E27FC236}">
                  <a16:creationId xmlns:a16="http://schemas.microsoft.com/office/drawing/2014/main" id="{B1BC7021-D4BD-45A6-85D5-9505C9FBE5AA}"/>
                </a:ext>
              </a:extLst>
            </p:cNvPr>
            <p:cNvSpPr>
              <a:spLocks noChangeArrowheads="1"/>
            </p:cNvSpPr>
            <p:nvPr/>
          </p:nvSpPr>
          <p:spPr bwMode="auto">
            <a:xfrm rot="20518161">
              <a:off x="9694759" y="3506917"/>
              <a:ext cx="324160" cy="323292"/>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 name="Freeform 44">
              <a:extLst>
                <a:ext uri="{FF2B5EF4-FFF2-40B4-BE49-F238E27FC236}">
                  <a16:creationId xmlns:a16="http://schemas.microsoft.com/office/drawing/2014/main" id="{29242BA5-B18C-4FCC-BE08-EF19FB25EC57}"/>
                </a:ext>
              </a:extLst>
            </p:cNvPr>
            <p:cNvSpPr>
              <a:spLocks/>
            </p:cNvSpPr>
            <p:nvPr/>
          </p:nvSpPr>
          <p:spPr bwMode="auto">
            <a:xfrm rot="20518161">
              <a:off x="10313635" y="2602860"/>
              <a:ext cx="495366" cy="313732"/>
            </a:xfrm>
            <a:custGeom>
              <a:avLst/>
              <a:gdLst>
                <a:gd name="T0" fmla="*/ 336 w 405"/>
                <a:gd name="T1" fmla="*/ 165 h 257"/>
                <a:gd name="T2" fmla="*/ 405 w 405"/>
                <a:gd name="T3" fmla="*/ 4 h 257"/>
                <a:gd name="T4" fmla="*/ 127 w 405"/>
                <a:gd name="T5" fmla="*/ 257 h 257"/>
                <a:gd name="T6" fmla="*/ 336 w 405"/>
                <a:gd name="T7" fmla="*/ 165 h 257"/>
              </a:gdLst>
              <a:ahLst/>
              <a:cxnLst>
                <a:cxn ang="0">
                  <a:pos x="T0" y="T1"/>
                </a:cxn>
                <a:cxn ang="0">
                  <a:pos x="T2" y="T3"/>
                </a:cxn>
                <a:cxn ang="0">
                  <a:pos x="T4" y="T5"/>
                </a:cxn>
                <a:cxn ang="0">
                  <a:pos x="T6" y="T7"/>
                </a:cxn>
              </a:cxnLst>
              <a:rect l="0" t="0" r="r" b="b"/>
              <a:pathLst>
                <a:path w="405" h="257">
                  <a:moveTo>
                    <a:pt x="336" y="165"/>
                  </a:moveTo>
                  <a:cubicBezTo>
                    <a:pt x="336" y="165"/>
                    <a:pt x="333" y="54"/>
                    <a:pt x="405" y="4"/>
                  </a:cubicBezTo>
                  <a:cubicBezTo>
                    <a:pt x="404" y="0"/>
                    <a:pt x="0" y="118"/>
                    <a:pt x="127" y="257"/>
                  </a:cubicBezTo>
                  <a:cubicBezTo>
                    <a:pt x="196" y="225"/>
                    <a:pt x="266" y="194"/>
                    <a:pt x="336" y="165"/>
                  </a:cubicBezTo>
                  <a:close/>
                </a:path>
              </a:pathLst>
            </a:custGeom>
            <a:gradFill>
              <a:gsLst>
                <a:gs pos="73000">
                  <a:schemeClr val="accent1"/>
                </a:gs>
                <a:gs pos="31000">
                  <a:schemeClr val="accent1">
                    <a:lumMod val="60000"/>
                    <a:lumOff val="40000"/>
                  </a:schemeClr>
                </a:gs>
                <a:gs pos="0">
                  <a:schemeClr val="accent1">
                    <a:lumMod val="40000"/>
                    <a:lumOff val="60000"/>
                  </a:schemeClr>
                </a:gs>
              </a:gsLst>
              <a:lin ang="10800000" scaled="0"/>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 name="Freeform 45">
              <a:extLst>
                <a:ext uri="{FF2B5EF4-FFF2-40B4-BE49-F238E27FC236}">
                  <a16:creationId xmlns:a16="http://schemas.microsoft.com/office/drawing/2014/main" id="{18AA760F-DEC6-4F94-A0DA-0A24E73B8040}"/>
                </a:ext>
              </a:extLst>
            </p:cNvPr>
            <p:cNvSpPr>
              <a:spLocks/>
            </p:cNvSpPr>
            <p:nvPr/>
          </p:nvSpPr>
          <p:spPr bwMode="auto">
            <a:xfrm rot="20518161">
              <a:off x="10572029" y="2803088"/>
              <a:ext cx="446699" cy="329375"/>
            </a:xfrm>
            <a:custGeom>
              <a:avLst/>
              <a:gdLst>
                <a:gd name="T0" fmla="*/ 208 w 366"/>
                <a:gd name="T1" fmla="*/ 0 h 270"/>
                <a:gd name="T2" fmla="*/ 366 w 366"/>
                <a:gd name="T3" fmla="*/ 69 h 270"/>
                <a:gd name="T4" fmla="*/ 0 w 366"/>
                <a:gd name="T5" fmla="*/ 91 h 270"/>
                <a:gd name="T6" fmla="*/ 208 w 366"/>
                <a:gd name="T7" fmla="*/ 0 h 270"/>
              </a:gdLst>
              <a:ahLst/>
              <a:cxnLst>
                <a:cxn ang="0">
                  <a:pos x="T0" y="T1"/>
                </a:cxn>
                <a:cxn ang="0">
                  <a:pos x="T2" y="T3"/>
                </a:cxn>
                <a:cxn ang="0">
                  <a:pos x="T4" y="T5"/>
                </a:cxn>
                <a:cxn ang="0">
                  <a:pos x="T6" y="T7"/>
                </a:cxn>
              </a:cxnLst>
              <a:rect l="0" t="0" r="r" b="b"/>
              <a:pathLst>
                <a:path w="366" h="270">
                  <a:moveTo>
                    <a:pt x="208" y="0"/>
                  </a:moveTo>
                  <a:cubicBezTo>
                    <a:pt x="208" y="0"/>
                    <a:pt x="284" y="80"/>
                    <a:pt x="366" y="69"/>
                  </a:cubicBezTo>
                  <a:cubicBezTo>
                    <a:pt x="363" y="66"/>
                    <a:pt x="24" y="270"/>
                    <a:pt x="0" y="91"/>
                  </a:cubicBezTo>
                  <a:cubicBezTo>
                    <a:pt x="69" y="59"/>
                    <a:pt x="138" y="29"/>
                    <a:pt x="208" y="0"/>
                  </a:cubicBezTo>
                  <a:close/>
                </a:path>
              </a:pathLst>
            </a:custGeom>
            <a:gradFill>
              <a:gsLst>
                <a:gs pos="73000">
                  <a:schemeClr val="accent1"/>
                </a:gs>
                <a:gs pos="31000">
                  <a:schemeClr val="accent1">
                    <a:lumMod val="60000"/>
                    <a:lumOff val="40000"/>
                  </a:schemeClr>
                </a:gs>
                <a:gs pos="0">
                  <a:schemeClr val="accent1">
                    <a:lumMod val="40000"/>
                    <a:lumOff val="60000"/>
                  </a:schemeClr>
                </a:gs>
              </a:gsLst>
              <a:lin ang="10800000" scaled="0"/>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 name="Freeform 46">
              <a:extLst>
                <a:ext uri="{FF2B5EF4-FFF2-40B4-BE49-F238E27FC236}">
                  <a16:creationId xmlns:a16="http://schemas.microsoft.com/office/drawing/2014/main" id="{56AA6551-D444-4899-B6A2-5C536DC5BDAF}"/>
                </a:ext>
              </a:extLst>
            </p:cNvPr>
            <p:cNvSpPr>
              <a:spLocks/>
            </p:cNvSpPr>
            <p:nvPr/>
          </p:nvSpPr>
          <p:spPr bwMode="auto">
            <a:xfrm rot="20518161">
              <a:off x="9726689" y="2882211"/>
              <a:ext cx="1187141" cy="660488"/>
            </a:xfrm>
            <a:custGeom>
              <a:avLst/>
              <a:gdLst>
                <a:gd name="T0" fmla="*/ 10 w 971"/>
                <a:gd name="T1" fmla="*/ 519 h 540"/>
                <a:gd name="T2" fmla="*/ 22 w 971"/>
                <a:gd name="T3" fmla="*/ 469 h 540"/>
                <a:gd name="T4" fmla="*/ 916 w 971"/>
                <a:gd name="T5" fmla="*/ 8 h 540"/>
                <a:gd name="T6" fmla="*/ 964 w 971"/>
                <a:gd name="T7" fmla="*/ 27 h 540"/>
                <a:gd name="T8" fmla="*/ 944 w 971"/>
                <a:gd name="T9" fmla="*/ 73 h 540"/>
                <a:gd name="T10" fmla="*/ 60 w 971"/>
                <a:gd name="T11" fmla="*/ 529 h 540"/>
                <a:gd name="T12" fmla="*/ 10 w 971"/>
                <a:gd name="T13" fmla="*/ 519 h 540"/>
              </a:gdLst>
              <a:ahLst/>
              <a:cxnLst>
                <a:cxn ang="0">
                  <a:pos x="T0" y="T1"/>
                </a:cxn>
                <a:cxn ang="0">
                  <a:pos x="T2" y="T3"/>
                </a:cxn>
                <a:cxn ang="0">
                  <a:pos x="T4" y="T5"/>
                </a:cxn>
                <a:cxn ang="0">
                  <a:pos x="T6" y="T7"/>
                </a:cxn>
                <a:cxn ang="0">
                  <a:pos x="T8" y="T9"/>
                </a:cxn>
                <a:cxn ang="0">
                  <a:pos x="T10" y="T11"/>
                </a:cxn>
                <a:cxn ang="0">
                  <a:pos x="T12" y="T13"/>
                </a:cxn>
              </a:cxnLst>
              <a:rect l="0" t="0" r="r" b="b"/>
              <a:pathLst>
                <a:path w="971" h="540">
                  <a:moveTo>
                    <a:pt x="10" y="519"/>
                  </a:moveTo>
                  <a:cubicBezTo>
                    <a:pt x="0" y="502"/>
                    <a:pt x="5" y="480"/>
                    <a:pt x="22" y="469"/>
                  </a:cubicBezTo>
                  <a:cubicBezTo>
                    <a:pt x="307" y="291"/>
                    <a:pt x="606" y="137"/>
                    <a:pt x="916" y="8"/>
                  </a:cubicBezTo>
                  <a:cubicBezTo>
                    <a:pt x="935" y="0"/>
                    <a:pt x="956" y="9"/>
                    <a:pt x="964" y="27"/>
                  </a:cubicBezTo>
                  <a:cubicBezTo>
                    <a:pt x="971" y="45"/>
                    <a:pt x="962" y="66"/>
                    <a:pt x="944" y="73"/>
                  </a:cubicBezTo>
                  <a:cubicBezTo>
                    <a:pt x="637" y="201"/>
                    <a:pt x="342" y="354"/>
                    <a:pt x="60" y="529"/>
                  </a:cubicBezTo>
                  <a:cubicBezTo>
                    <a:pt x="43" y="540"/>
                    <a:pt x="21" y="535"/>
                    <a:pt x="10" y="519"/>
                  </a:cubicBez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 name="Freeform 47">
              <a:extLst>
                <a:ext uri="{FF2B5EF4-FFF2-40B4-BE49-F238E27FC236}">
                  <a16:creationId xmlns:a16="http://schemas.microsoft.com/office/drawing/2014/main" id="{3C3B6BEE-0C74-45A3-9B86-A647FBD6978D}"/>
                </a:ext>
              </a:extLst>
            </p:cNvPr>
            <p:cNvSpPr>
              <a:spLocks/>
            </p:cNvSpPr>
            <p:nvPr/>
          </p:nvSpPr>
          <p:spPr bwMode="auto">
            <a:xfrm rot="20518161">
              <a:off x="8934243" y="2565610"/>
              <a:ext cx="381519" cy="444091"/>
            </a:xfrm>
            <a:custGeom>
              <a:avLst/>
              <a:gdLst>
                <a:gd name="T0" fmla="*/ 0 w 312"/>
                <a:gd name="T1" fmla="*/ 176 h 363"/>
                <a:gd name="T2" fmla="*/ 25 w 312"/>
                <a:gd name="T3" fmla="*/ 3 h 363"/>
                <a:gd name="T4" fmla="*/ 131 w 312"/>
                <a:gd name="T5" fmla="*/ 363 h 363"/>
                <a:gd name="T6" fmla="*/ 0 w 312"/>
                <a:gd name="T7" fmla="*/ 176 h 363"/>
              </a:gdLst>
              <a:ahLst/>
              <a:cxnLst>
                <a:cxn ang="0">
                  <a:pos x="T0" y="T1"/>
                </a:cxn>
                <a:cxn ang="0">
                  <a:pos x="T2" y="T3"/>
                </a:cxn>
                <a:cxn ang="0">
                  <a:pos x="T4" y="T5"/>
                </a:cxn>
                <a:cxn ang="0">
                  <a:pos x="T6" y="T7"/>
                </a:cxn>
              </a:cxnLst>
              <a:rect l="0" t="0" r="r" b="b"/>
              <a:pathLst>
                <a:path w="312" h="363">
                  <a:moveTo>
                    <a:pt x="0" y="176"/>
                  </a:moveTo>
                  <a:cubicBezTo>
                    <a:pt x="0" y="176"/>
                    <a:pt x="60" y="83"/>
                    <a:pt x="25" y="3"/>
                  </a:cubicBezTo>
                  <a:cubicBezTo>
                    <a:pt x="28" y="0"/>
                    <a:pt x="312" y="311"/>
                    <a:pt x="131" y="363"/>
                  </a:cubicBezTo>
                  <a:cubicBezTo>
                    <a:pt x="89" y="300"/>
                    <a:pt x="45" y="237"/>
                    <a:pt x="0" y="176"/>
                  </a:cubicBezTo>
                  <a:close/>
                </a:path>
              </a:pathLst>
            </a:custGeom>
            <a:gradFill>
              <a:gsLst>
                <a:gs pos="73000">
                  <a:schemeClr val="accent1"/>
                </a:gs>
                <a:gs pos="31000">
                  <a:schemeClr val="accent1">
                    <a:lumMod val="60000"/>
                    <a:lumOff val="40000"/>
                  </a:schemeClr>
                </a:gs>
                <a:gs pos="0">
                  <a:schemeClr val="accent1">
                    <a:lumMod val="40000"/>
                    <a:lumOff val="60000"/>
                  </a:schemeClr>
                </a:gs>
              </a:gsLst>
              <a:lin ang="0" scaled="1"/>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 name="Freeform 48">
              <a:extLst>
                <a:ext uri="{FF2B5EF4-FFF2-40B4-BE49-F238E27FC236}">
                  <a16:creationId xmlns:a16="http://schemas.microsoft.com/office/drawing/2014/main" id="{FA1DCD9F-EA3B-4F76-9035-980DED1383D7}"/>
                </a:ext>
              </a:extLst>
            </p:cNvPr>
            <p:cNvSpPr>
              <a:spLocks/>
            </p:cNvSpPr>
            <p:nvPr/>
          </p:nvSpPr>
          <p:spPr bwMode="auto">
            <a:xfrm rot="20518161">
              <a:off x="8752844" y="2862456"/>
              <a:ext cx="366745" cy="428448"/>
            </a:xfrm>
            <a:custGeom>
              <a:avLst/>
              <a:gdLst>
                <a:gd name="T0" fmla="*/ 170 w 300"/>
                <a:gd name="T1" fmla="*/ 25 h 351"/>
                <a:gd name="T2" fmla="*/ 0 w 300"/>
                <a:gd name="T3" fmla="*/ 1 h 351"/>
                <a:gd name="T4" fmla="*/ 300 w 300"/>
                <a:gd name="T5" fmla="*/ 210 h 351"/>
                <a:gd name="T6" fmla="*/ 170 w 300"/>
                <a:gd name="T7" fmla="*/ 25 h 351"/>
              </a:gdLst>
              <a:ahLst/>
              <a:cxnLst>
                <a:cxn ang="0">
                  <a:pos x="T0" y="T1"/>
                </a:cxn>
                <a:cxn ang="0">
                  <a:pos x="T2" y="T3"/>
                </a:cxn>
                <a:cxn ang="0">
                  <a:pos x="T4" y="T5"/>
                </a:cxn>
                <a:cxn ang="0">
                  <a:pos x="T6" y="T7"/>
                </a:cxn>
              </a:cxnLst>
              <a:rect l="0" t="0" r="r" b="b"/>
              <a:pathLst>
                <a:path w="300" h="351">
                  <a:moveTo>
                    <a:pt x="170" y="25"/>
                  </a:moveTo>
                  <a:cubicBezTo>
                    <a:pt x="170" y="25"/>
                    <a:pt x="64" y="53"/>
                    <a:pt x="0" y="1"/>
                  </a:cubicBezTo>
                  <a:cubicBezTo>
                    <a:pt x="3" y="0"/>
                    <a:pt x="187" y="351"/>
                    <a:pt x="300" y="210"/>
                  </a:cubicBezTo>
                  <a:cubicBezTo>
                    <a:pt x="258" y="148"/>
                    <a:pt x="215" y="86"/>
                    <a:pt x="170" y="25"/>
                  </a:cubicBezTo>
                  <a:close/>
                </a:path>
              </a:pathLst>
            </a:custGeom>
            <a:gradFill>
              <a:gsLst>
                <a:gs pos="73000">
                  <a:schemeClr val="accent1"/>
                </a:gs>
                <a:gs pos="31000">
                  <a:schemeClr val="accent1">
                    <a:lumMod val="60000"/>
                    <a:lumOff val="40000"/>
                  </a:schemeClr>
                </a:gs>
                <a:gs pos="0">
                  <a:schemeClr val="accent1">
                    <a:lumMod val="40000"/>
                    <a:lumOff val="60000"/>
                  </a:schemeClr>
                </a:gs>
              </a:gsLst>
              <a:lin ang="0" scaled="1"/>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 name="Freeform 49">
              <a:extLst>
                <a:ext uri="{FF2B5EF4-FFF2-40B4-BE49-F238E27FC236}">
                  <a16:creationId xmlns:a16="http://schemas.microsoft.com/office/drawing/2014/main" id="{4039033C-15B2-44E4-86F9-3BC4677EA93E}"/>
                </a:ext>
              </a:extLst>
            </p:cNvPr>
            <p:cNvSpPr>
              <a:spLocks/>
            </p:cNvSpPr>
            <p:nvPr/>
          </p:nvSpPr>
          <p:spPr bwMode="auto">
            <a:xfrm rot="20518161">
              <a:off x="9020305" y="2693536"/>
              <a:ext cx="736097" cy="1143688"/>
            </a:xfrm>
            <a:custGeom>
              <a:avLst/>
              <a:gdLst>
                <a:gd name="T0" fmla="*/ 577 w 602"/>
                <a:gd name="T1" fmla="*/ 927 h 936"/>
                <a:gd name="T2" fmla="*/ 593 w 602"/>
                <a:gd name="T3" fmla="*/ 879 h 936"/>
                <a:gd name="T4" fmla="*/ 69 w 602"/>
                <a:gd name="T5" fmla="*/ 20 h 936"/>
                <a:gd name="T6" fmla="*/ 18 w 602"/>
                <a:gd name="T7" fmla="*/ 11 h 936"/>
                <a:gd name="T8" fmla="*/ 11 w 602"/>
                <a:gd name="T9" fmla="*/ 62 h 936"/>
                <a:gd name="T10" fmla="*/ 529 w 602"/>
                <a:gd name="T11" fmla="*/ 911 h 936"/>
                <a:gd name="T12" fmla="*/ 577 w 602"/>
                <a:gd name="T13" fmla="*/ 927 h 936"/>
              </a:gdLst>
              <a:ahLst/>
              <a:cxnLst>
                <a:cxn ang="0">
                  <a:pos x="T0" y="T1"/>
                </a:cxn>
                <a:cxn ang="0">
                  <a:pos x="T2" y="T3"/>
                </a:cxn>
                <a:cxn ang="0">
                  <a:pos x="T4" y="T5"/>
                </a:cxn>
                <a:cxn ang="0">
                  <a:pos x="T6" y="T7"/>
                </a:cxn>
                <a:cxn ang="0">
                  <a:pos x="T8" y="T9"/>
                </a:cxn>
                <a:cxn ang="0">
                  <a:pos x="T10" y="T11"/>
                </a:cxn>
                <a:cxn ang="0">
                  <a:pos x="T12" y="T13"/>
                </a:cxn>
              </a:cxnLst>
              <a:rect l="0" t="0" r="r" b="b"/>
              <a:pathLst>
                <a:path w="602" h="936">
                  <a:moveTo>
                    <a:pt x="577" y="927"/>
                  </a:moveTo>
                  <a:cubicBezTo>
                    <a:pt x="595" y="919"/>
                    <a:pt x="602" y="897"/>
                    <a:pt x="593" y="879"/>
                  </a:cubicBezTo>
                  <a:cubicBezTo>
                    <a:pt x="441" y="579"/>
                    <a:pt x="266" y="292"/>
                    <a:pt x="69" y="20"/>
                  </a:cubicBezTo>
                  <a:cubicBezTo>
                    <a:pt x="57" y="4"/>
                    <a:pt x="34" y="0"/>
                    <a:pt x="18" y="11"/>
                  </a:cubicBezTo>
                  <a:cubicBezTo>
                    <a:pt x="3" y="23"/>
                    <a:pt x="0" y="45"/>
                    <a:pt x="11" y="62"/>
                  </a:cubicBezTo>
                  <a:cubicBezTo>
                    <a:pt x="207" y="330"/>
                    <a:pt x="380" y="614"/>
                    <a:pt x="529" y="911"/>
                  </a:cubicBezTo>
                  <a:cubicBezTo>
                    <a:pt x="538" y="929"/>
                    <a:pt x="560" y="936"/>
                    <a:pt x="577" y="927"/>
                  </a:cubicBez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 name="Freeform 44">
              <a:extLst>
                <a:ext uri="{FF2B5EF4-FFF2-40B4-BE49-F238E27FC236}">
                  <a16:creationId xmlns:a16="http://schemas.microsoft.com/office/drawing/2014/main" id="{392D5F86-61C9-4781-9426-7C8E0DEAAE46}"/>
                </a:ext>
              </a:extLst>
            </p:cNvPr>
            <p:cNvSpPr>
              <a:spLocks/>
            </p:cNvSpPr>
            <p:nvPr/>
          </p:nvSpPr>
          <p:spPr bwMode="auto">
            <a:xfrm rot="18377872">
              <a:off x="9643497" y="2410246"/>
              <a:ext cx="495366" cy="313732"/>
            </a:xfrm>
            <a:custGeom>
              <a:avLst/>
              <a:gdLst>
                <a:gd name="T0" fmla="*/ 336 w 405"/>
                <a:gd name="T1" fmla="*/ 165 h 257"/>
                <a:gd name="T2" fmla="*/ 405 w 405"/>
                <a:gd name="T3" fmla="*/ 4 h 257"/>
                <a:gd name="T4" fmla="*/ 127 w 405"/>
                <a:gd name="T5" fmla="*/ 257 h 257"/>
                <a:gd name="T6" fmla="*/ 336 w 405"/>
                <a:gd name="T7" fmla="*/ 165 h 257"/>
              </a:gdLst>
              <a:ahLst/>
              <a:cxnLst>
                <a:cxn ang="0">
                  <a:pos x="T0" y="T1"/>
                </a:cxn>
                <a:cxn ang="0">
                  <a:pos x="T2" y="T3"/>
                </a:cxn>
                <a:cxn ang="0">
                  <a:pos x="T4" y="T5"/>
                </a:cxn>
                <a:cxn ang="0">
                  <a:pos x="T6" y="T7"/>
                </a:cxn>
              </a:cxnLst>
              <a:rect l="0" t="0" r="r" b="b"/>
              <a:pathLst>
                <a:path w="405" h="257">
                  <a:moveTo>
                    <a:pt x="336" y="165"/>
                  </a:moveTo>
                  <a:cubicBezTo>
                    <a:pt x="336" y="165"/>
                    <a:pt x="333" y="54"/>
                    <a:pt x="405" y="4"/>
                  </a:cubicBezTo>
                  <a:cubicBezTo>
                    <a:pt x="404" y="0"/>
                    <a:pt x="0" y="118"/>
                    <a:pt x="127" y="257"/>
                  </a:cubicBezTo>
                  <a:cubicBezTo>
                    <a:pt x="196" y="225"/>
                    <a:pt x="266" y="194"/>
                    <a:pt x="336" y="165"/>
                  </a:cubicBezTo>
                  <a:close/>
                </a:path>
              </a:pathLst>
            </a:custGeom>
            <a:gradFill>
              <a:gsLst>
                <a:gs pos="73000">
                  <a:schemeClr val="accent1"/>
                </a:gs>
                <a:gs pos="31000">
                  <a:schemeClr val="accent1">
                    <a:lumMod val="60000"/>
                    <a:lumOff val="40000"/>
                  </a:schemeClr>
                </a:gs>
                <a:gs pos="0">
                  <a:schemeClr val="accent1">
                    <a:lumMod val="40000"/>
                    <a:lumOff val="60000"/>
                  </a:schemeClr>
                </a:gs>
              </a:gsLst>
              <a:lin ang="10800000" scaled="0"/>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 name="Freeform 45">
              <a:extLst>
                <a:ext uri="{FF2B5EF4-FFF2-40B4-BE49-F238E27FC236}">
                  <a16:creationId xmlns:a16="http://schemas.microsoft.com/office/drawing/2014/main" id="{1E181D54-67F4-4B4D-8787-209E95BA298B}"/>
                </a:ext>
              </a:extLst>
            </p:cNvPr>
            <p:cNvSpPr>
              <a:spLocks/>
            </p:cNvSpPr>
            <p:nvPr/>
          </p:nvSpPr>
          <p:spPr bwMode="auto">
            <a:xfrm rot="18377872">
              <a:off x="9979295" y="2434949"/>
              <a:ext cx="446699" cy="329375"/>
            </a:xfrm>
            <a:custGeom>
              <a:avLst/>
              <a:gdLst>
                <a:gd name="T0" fmla="*/ 208 w 366"/>
                <a:gd name="T1" fmla="*/ 0 h 270"/>
                <a:gd name="T2" fmla="*/ 366 w 366"/>
                <a:gd name="T3" fmla="*/ 69 h 270"/>
                <a:gd name="T4" fmla="*/ 0 w 366"/>
                <a:gd name="T5" fmla="*/ 91 h 270"/>
                <a:gd name="T6" fmla="*/ 208 w 366"/>
                <a:gd name="T7" fmla="*/ 0 h 270"/>
              </a:gdLst>
              <a:ahLst/>
              <a:cxnLst>
                <a:cxn ang="0">
                  <a:pos x="T0" y="T1"/>
                </a:cxn>
                <a:cxn ang="0">
                  <a:pos x="T2" y="T3"/>
                </a:cxn>
                <a:cxn ang="0">
                  <a:pos x="T4" y="T5"/>
                </a:cxn>
                <a:cxn ang="0">
                  <a:pos x="T6" y="T7"/>
                </a:cxn>
              </a:cxnLst>
              <a:rect l="0" t="0" r="r" b="b"/>
              <a:pathLst>
                <a:path w="366" h="270">
                  <a:moveTo>
                    <a:pt x="208" y="0"/>
                  </a:moveTo>
                  <a:cubicBezTo>
                    <a:pt x="208" y="0"/>
                    <a:pt x="284" y="80"/>
                    <a:pt x="366" y="69"/>
                  </a:cubicBezTo>
                  <a:cubicBezTo>
                    <a:pt x="363" y="66"/>
                    <a:pt x="24" y="270"/>
                    <a:pt x="0" y="91"/>
                  </a:cubicBezTo>
                  <a:cubicBezTo>
                    <a:pt x="69" y="59"/>
                    <a:pt x="138" y="29"/>
                    <a:pt x="208" y="0"/>
                  </a:cubicBezTo>
                  <a:close/>
                </a:path>
              </a:pathLst>
            </a:custGeom>
            <a:gradFill>
              <a:gsLst>
                <a:gs pos="73000">
                  <a:schemeClr val="accent1"/>
                </a:gs>
                <a:gs pos="31000">
                  <a:schemeClr val="accent1">
                    <a:lumMod val="60000"/>
                    <a:lumOff val="40000"/>
                  </a:schemeClr>
                </a:gs>
                <a:gs pos="0">
                  <a:schemeClr val="accent1">
                    <a:lumMod val="40000"/>
                    <a:lumOff val="60000"/>
                  </a:schemeClr>
                </a:gs>
              </a:gsLst>
              <a:lin ang="10800000" scaled="0"/>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6" name="Freeform 46">
              <a:extLst>
                <a:ext uri="{FF2B5EF4-FFF2-40B4-BE49-F238E27FC236}">
                  <a16:creationId xmlns:a16="http://schemas.microsoft.com/office/drawing/2014/main" id="{6B34F65C-512A-4C39-9D95-E714A109B44D}"/>
                </a:ext>
              </a:extLst>
            </p:cNvPr>
            <p:cNvSpPr>
              <a:spLocks/>
            </p:cNvSpPr>
            <p:nvPr/>
          </p:nvSpPr>
          <p:spPr bwMode="auto">
            <a:xfrm rot="18377872">
              <a:off x="9365782" y="2745224"/>
              <a:ext cx="1187140" cy="660488"/>
            </a:xfrm>
            <a:custGeom>
              <a:avLst/>
              <a:gdLst>
                <a:gd name="T0" fmla="*/ 10 w 971"/>
                <a:gd name="T1" fmla="*/ 519 h 540"/>
                <a:gd name="T2" fmla="*/ 22 w 971"/>
                <a:gd name="T3" fmla="*/ 469 h 540"/>
                <a:gd name="T4" fmla="*/ 916 w 971"/>
                <a:gd name="T5" fmla="*/ 8 h 540"/>
                <a:gd name="T6" fmla="*/ 964 w 971"/>
                <a:gd name="T7" fmla="*/ 27 h 540"/>
                <a:gd name="T8" fmla="*/ 944 w 971"/>
                <a:gd name="T9" fmla="*/ 73 h 540"/>
                <a:gd name="T10" fmla="*/ 60 w 971"/>
                <a:gd name="T11" fmla="*/ 529 h 540"/>
                <a:gd name="T12" fmla="*/ 10 w 971"/>
                <a:gd name="T13" fmla="*/ 519 h 540"/>
              </a:gdLst>
              <a:ahLst/>
              <a:cxnLst>
                <a:cxn ang="0">
                  <a:pos x="T0" y="T1"/>
                </a:cxn>
                <a:cxn ang="0">
                  <a:pos x="T2" y="T3"/>
                </a:cxn>
                <a:cxn ang="0">
                  <a:pos x="T4" y="T5"/>
                </a:cxn>
                <a:cxn ang="0">
                  <a:pos x="T6" y="T7"/>
                </a:cxn>
                <a:cxn ang="0">
                  <a:pos x="T8" y="T9"/>
                </a:cxn>
                <a:cxn ang="0">
                  <a:pos x="T10" y="T11"/>
                </a:cxn>
                <a:cxn ang="0">
                  <a:pos x="T12" y="T13"/>
                </a:cxn>
              </a:cxnLst>
              <a:rect l="0" t="0" r="r" b="b"/>
              <a:pathLst>
                <a:path w="971" h="540">
                  <a:moveTo>
                    <a:pt x="10" y="519"/>
                  </a:moveTo>
                  <a:cubicBezTo>
                    <a:pt x="0" y="502"/>
                    <a:pt x="5" y="480"/>
                    <a:pt x="22" y="469"/>
                  </a:cubicBezTo>
                  <a:cubicBezTo>
                    <a:pt x="307" y="291"/>
                    <a:pt x="606" y="137"/>
                    <a:pt x="916" y="8"/>
                  </a:cubicBezTo>
                  <a:cubicBezTo>
                    <a:pt x="935" y="0"/>
                    <a:pt x="956" y="9"/>
                    <a:pt x="964" y="27"/>
                  </a:cubicBezTo>
                  <a:cubicBezTo>
                    <a:pt x="971" y="45"/>
                    <a:pt x="962" y="66"/>
                    <a:pt x="944" y="73"/>
                  </a:cubicBezTo>
                  <a:cubicBezTo>
                    <a:pt x="637" y="201"/>
                    <a:pt x="342" y="354"/>
                    <a:pt x="60" y="529"/>
                  </a:cubicBezTo>
                  <a:cubicBezTo>
                    <a:pt x="43" y="540"/>
                    <a:pt x="21" y="535"/>
                    <a:pt x="10" y="519"/>
                  </a:cubicBez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53" name="TextBox 111">
            <a:extLst>
              <a:ext uri="{FF2B5EF4-FFF2-40B4-BE49-F238E27FC236}">
                <a16:creationId xmlns:a16="http://schemas.microsoft.com/office/drawing/2014/main" id="{CFA2A265-2DE8-4E42-9D9A-7FD32C4DAB15}"/>
              </a:ext>
            </a:extLst>
          </p:cNvPr>
          <p:cNvSpPr txBox="1"/>
          <p:nvPr/>
        </p:nvSpPr>
        <p:spPr>
          <a:xfrm>
            <a:off x="8629025" y="4645381"/>
            <a:ext cx="2072614"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chemeClr val="accent1"/>
                </a:solidFill>
                <a:effectLst/>
                <a:uLnTx/>
                <a:uFillTx/>
                <a:latin typeface="HarmonyOS Sans SC Black"/>
                <a:ea typeface="+mj-ea"/>
                <a:cs typeface="Poppins" panose="00000500000000000000" pitchFamily="50" charset="0"/>
              </a:rPr>
              <a:t>Target 3</a:t>
            </a:r>
            <a:endParaRPr kumimoji="0" lang="id-ID" sz="2400" b="0" i="0" u="none" strike="noStrike" kern="1200" cap="none" spc="0" normalizeH="0" baseline="0" noProof="0" dirty="0">
              <a:ln>
                <a:noFill/>
              </a:ln>
              <a:solidFill>
                <a:schemeClr val="accent1"/>
              </a:solidFill>
              <a:effectLst/>
              <a:uLnTx/>
              <a:uFillTx/>
              <a:latin typeface="HarmonyOS Sans SC Black"/>
              <a:ea typeface="+mj-ea"/>
              <a:cs typeface="Poppins" panose="00000500000000000000" pitchFamily="50" charset="0"/>
            </a:endParaRPr>
          </a:p>
        </p:txBody>
      </p:sp>
      <p:sp>
        <p:nvSpPr>
          <p:cNvPr id="54" name="Rectangle 112">
            <a:extLst>
              <a:ext uri="{FF2B5EF4-FFF2-40B4-BE49-F238E27FC236}">
                <a16:creationId xmlns:a16="http://schemas.microsoft.com/office/drawing/2014/main" id="{94635FDC-64EA-4A06-867F-66696496A5CC}"/>
              </a:ext>
            </a:extLst>
          </p:cNvPr>
          <p:cNvSpPr/>
          <p:nvPr/>
        </p:nvSpPr>
        <p:spPr>
          <a:xfrm>
            <a:off x="8312782" y="5184769"/>
            <a:ext cx="2705100" cy="685509"/>
          </a:xfrm>
          <a:prstGeom prst="rect">
            <a:avLst/>
          </a:prstGeom>
        </p:spPr>
        <p:txBody>
          <a:bodyPr wrap="square">
            <a:spAutoFit/>
          </a:body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lumMod val="50000"/>
                    <a:lumOff val="50000"/>
                  </a:prstClr>
                </a:solidFill>
                <a:effectLst/>
                <a:uLnTx/>
                <a:uFillTx/>
                <a:latin typeface="HarmonyOS Sans SC"/>
                <a:cs typeface="Segoe UI" panose="020B0502040204020203" pitchFamily="34" charset="0"/>
              </a:rPr>
              <a:t>A wonderful serenity has taken possession of my entire soul, like these sweet mornings of</a:t>
            </a:r>
          </a:p>
        </p:txBody>
      </p:sp>
      <p:sp>
        <p:nvSpPr>
          <p:cNvPr id="55" name="文本框 54">
            <a:extLst>
              <a:ext uri="{FF2B5EF4-FFF2-40B4-BE49-F238E27FC236}">
                <a16:creationId xmlns:a16="http://schemas.microsoft.com/office/drawing/2014/main" id="{1DD018DA-890E-4970-8E02-BCB50B97EB4D}"/>
              </a:ext>
            </a:extLst>
          </p:cNvPr>
          <p:cNvSpPr txBox="1"/>
          <p:nvPr/>
        </p:nvSpPr>
        <p:spPr>
          <a:xfrm>
            <a:off x="4608252" y="918105"/>
            <a:ext cx="2975495" cy="52322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2800" b="0" i="0" u="none" strike="noStrike" kern="1200" cap="none" spc="0" normalizeH="0" baseline="0" noProof="0" dirty="0">
                <a:ln>
                  <a:noFill/>
                </a:ln>
                <a:solidFill>
                  <a:prstClr val="black"/>
                </a:solidFill>
                <a:effectLst/>
                <a:uLnTx/>
                <a:uFillTx/>
                <a:latin typeface="HarmonyOS Sans Black"/>
                <a:ea typeface="+mj-ea"/>
                <a:cs typeface="+mn-cs"/>
              </a:rPr>
              <a:t>Our </a:t>
            </a:r>
            <a:r>
              <a:rPr kumimoji="0" lang="en-US" altLang="zh-CN" sz="2800" b="0" i="0" u="none" strike="noStrike" kern="1200" cap="none" spc="0" normalizeH="0" baseline="0" noProof="0" dirty="0">
                <a:ln>
                  <a:noFill/>
                </a:ln>
                <a:solidFill>
                  <a:schemeClr val="accent1"/>
                </a:solidFill>
                <a:effectLst/>
                <a:uLnTx/>
                <a:uFillTx/>
                <a:latin typeface="HarmonyOS Sans Black"/>
                <a:ea typeface="+mj-ea"/>
                <a:cs typeface="+mn-cs"/>
              </a:rPr>
              <a:t>Infographic</a:t>
            </a:r>
          </a:p>
        </p:txBody>
      </p:sp>
      <p:sp>
        <p:nvSpPr>
          <p:cNvPr id="56" name="TextBox 26">
            <a:extLst>
              <a:ext uri="{FF2B5EF4-FFF2-40B4-BE49-F238E27FC236}">
                <a16:creationId xmlns:a16="http://schemas.microsoft.com/office/drawing/2014/main" id="{092DA24E-1335-4B6D-A7DD-F8B6BCECD48C}"/>
              </a:ext>
            </a:extLst>
          </p:cNvPr>
          <p:cNvSpPr txBox="1"/>
          <p:nvPr/>
        </p:nvSpPr>
        <p:spPr>
          <a:xfrm>
            <a:off x="3486150" y="663942"/>
            <a:ext cx="5219700" cy="254163"/>
          </a:xfrm>
          <a:prstGeom prst="rect">
            <a:avLst/>
          </a:prstGeom>
          <a:noFill/>
        </p:spPr>
        <p:txBody>
          <a:bodyPr wrap="square" lIns="0" tIns="36000" rIns="0" bIns="36000" rtlCol="0">
            <a:spAutoFit/>
          </a:bodyPr>
          <a:lstStyle/>
          <a:p>
            <a:pPr marL="0" marR="0" lvl="0" indent="0" algn="ctr" defTabSz="914400" rtl="0" eaLnBrk="1" fontAlgn="auto" latinLnBrk="0" hangingPunct="1">
              <a:lnSpc>
                <a:spcPct val="130000"/>
              </a:lnSpc>
              <a:spcBef>
                <a:spcPts val="1000"/>
              </a:spcBef>
              <a:spcAft>
                <a:spcPts val="0"/>
              </a:spcAft>
              <a:buClrTx/>
              <a:buSzTx/>
              <a:buFontTx/>
              <a:buNone/>
              <a:tabLst/>
              <a:defRPr/>
            </a:pPr>
            <a:r>
              <a:rPr kumimoji="0" lang="da-DK" sz="1000" b="0" i="0" u="none" strike="noStrike" kern="1200" cap="none" spc="0" normalizeH="0" baseline="0" noProof="0" dirty="0">
                <a:ln>
                  <a:noFill/>
                </a:ln>
                <a:solidFill>
                  <a:prstClr val="black">
                    <a:lumMod val="50000"/>
                    <a:lumOff val="50000"/>
                    <a:alpha val="70000"/>
                  </a:prstClr>
                </a:solidFill>
                <a:effectLst/>
                <a:uLnTx/>
                <a:uFillTx/>
                <a:latin typeface="HarmonyOS Sans SC"/>
                <a:cs typeface="+mn-cs"/>
              </a:rPr>
              <a:t>Lorem ipsum dolor sit amet</a:t>
            </a:r>
          </a:p>
        </p:txBody>
      </p:sp>
    </p:spTree>
    <p:extLst>
      <p:ext uri="{BB962C8B-B14F-4D97-AF65-F5344CB8AC3E}">
        <p14:creationId xmlns:p14="http://schemas.microsoft.com/office/powerpoint/2010/main" val="3823126242"/>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4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9FB27911-89C7-4040-AC7A-E70C9CB65CE8}"/>
              </a:ext>
            </a:extLst>
          </p:cNvPr>
          <p:cNvGrpSpPr/>
          <p:nvPr/>
        </p:nvGrpSpPr>
        <p:grpSpPr>
          <a:xfrm>
            <a:off x="5579669" y="3183368"/>
            <a:ext cx="1052870" cy="1051405"/>
            <a:chOff x="5511188" y="3114675"/>
            <a:chExt cx="1190450" cy="1188794"/>
          </a:xfrm>
        </p:grpSpPr>
        <p:sp>
          <p:nvSpPr>
            <p:cNvPr id="3" name="Freeform 5">
              <a:extLst>
                <a:ext uri="{FF2B5EF4-FFF2-40B4-BE49-F238E27FC236}">
                  <a16:creationId xmlns:a16="http://schemas.microsoft.com/office/drawing/2014/main" id="{1EBDAB79-890C-43A3-8290-6944FB2CEDEC}"/>
                </a:ext>
              </a:extLst>
            </p:cNvPr>
            <p:cNvSpPr>
              <a:spLocks/>
            </p:cNvSpPr>
            <p:nvPr/>
          </p:nvSpPr>
          <p:spPr bwMode="auto">
            <a:xfrm>
              <a:off x="5511188" y="3114675"/>
              <a:ext cx="1190450" cy="1188794"/>
            </a:xfrm>
            <a:custGeom>
              <a:avLst/>
              <a:gdLst>
                <a:gd name="T0" fmla="*/ 730 w 1458"/>
                <a:gd name="T1" fmla="*/ 1457 h 1458"/>
                <a:gd name="T2" fmla="*/ 1458 w 1458"/>
                <a:gd name="T3" fmla="*/ 728 h 1458"/>
                <a:gd name="T4" fmla="*/ 729 w 1458"/>
                <a:gd name="T5" fmla="*/ 0 h 1458"/>
                <a:gd name="T6" fmla="*/ 0 w 1458"/>
                <a:gd name="T7" fmla="*/ 729 h 1458"/>
                <a:gd name="T8" fmla="*/ 730 w 1458"/>
                <a:gd name="T9" fmla="*/ 1457 h 1458"/>
              </a:gdLst>
              <a:ahLst/>
              <a:cxnLst>
                <a:cxn ang="0">
                  <a:pos x="T0" y="T1"/>
                </a:cxn>
                <a:cxn ang="0">
                  <a:pos x="T2" y="T3"/>
                </a:cxn>
                <a:cxn ang="0">
                  <a:pos x="T4" y="T5"/>
                </a:cxn>
                <a:cxn ang="0">
                  <a:pos x="T6" y="T7"/>
                </a:cxn>
                <a:cxn ang="0">
                  <a:pos x="T8" y="T9"/>
                </a:cxn>
              </a:cxnLst>
              <a:rect l="0" t="0" r="r" b="b"/>
              <a:pathLst>
                <a:path w="1458" h="1458">
                  <a:moveTo>
                    <a:pt x="730" y="1457"/>
                  </a:moveTo>
                  <a:cubicBezTo>
                    <a:pt x="1132" y="1457"/>
                    <a:pt x="1458" y="1131"/>
                    <a:pt x="1458" y="728"/>
                  </a:cubicBezTo>
                  <a:cubicBezTo>
                    <a:pt x="1457" y="326"/>
                    <a:pt x="1131" y="0"/>
                    <a:pt x="729" y="0"/>
                  </a:cubicBezTo>
                  <a:cubicBezTo>
                    <a:pt x="326" y="0"/>
                    <a:pt x="0" y="327"/>
                    <a:pt x="0" y="729"/>
                  </a:cubicBezTo>
                  <a:cubicBezTo>
                    <a:pt x="1" y="1132"/>
                    <a:pt x="327" y="1458"/>
                    <a:pt x="730" y="145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lumMod val="50000"/>
                    <a:lumOff val="50000"/>
                  </a:prstClr>
                </a:solidFill>
                <a:effectLst/>
                <a:uLnTx/>
                <a:uFillTx/>
                <a:latin typeface="HarmonyOS Sans SC"/>
                <a:cs typeface="+mn-cs"/>
              </a:endParaRPr>
            </a:p>
          </p:txBody>
        </p:sp>
        <p:sp>
          <p:nvSpPr>
            <p:cNvPr id="4" name="Freeform: Shape 34">
              <a:extLst>
                <a:ext uri="{FF2B5EF4-FFF2-40B4-BE49-F238E27FC236}">
                  <a16:creationId xmlns:a16="http://schemas.microsoft.com/office/drawing/2014/main" id="{E7110CF1-0982-48A2-89C9-724949E3D124}"/>
                </a:ext>
              </a:extLst>
            </p:cNvPr>
            <p:cNvSpPr>
              <a:spLocks/>
            </p:cNvSpPr>
            <p:nvPr/>
          </p:nvSpPr>
          <p:spPr bwMode="auto">
            <a:xfrm>
              <a:off x="5816302" y="3418962"/>
              <a:ext cx="580221" cy="577460"/>
            </a:xfrm>
            <a:custGeom>
              <a:avLst/>
              <a:gdLst>
                <a:gd name="connsiteX0" fmla="*/ 257974 w 515948"/>
                <a:gd name="connsiteY0" fmla="*/ 0 h 513493"/>
                <a:gd name="connsiteX1" fmla="*/ 515948 w 515948"/>
                <a:gd name="connsiteY1" fmla="*/ 255906 h 513493"/>
                <a:gd name="connsiteX2" fmla="*/ 257974 w 515948"/>
                <a:gd name="connsiteY2" fmla="*/ 513452 h 513493"/>
                <a:gd name="connsiteX3" fmla="*/ 257974 w 515948"/>
                <a:gd name="connsiteY3" fmla="*/ 513476 h 513493"/>
                <a:gd name="connsiteX4" fmla="*/ 0 w 515948"/>
                <a:gd name="connsiteY4" fmla="*/ 257558 h 513493"/>
                <a:gd name="connsiteX5" fmla="*/ 257974 w 515948"/>
                <a:gd name="connsiteY5" fmla="*/ 0 h 5134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15948" h="513493">
                  <a:moveTo>
                    <a:pt x="257974" y="0"/>
                  </a:moveTo>
                  <a:cubicBezTo>
                    <a:pt x="400928" y="0"/>
                    <a:pt x="515948" y="114830"/>
                    <a:pt x="515948" y="255906"/>
                  </a:cubicBezTo>
                  <a:cubicBezTo>
                    <a:pt x="515948" y="398623"/>
                    <a:pt x="400928" y="513452"/>
                    <a:pt x="257974" y="513452"/>
                  </a:cubicBezTo>
                  <a:lnTo>
                    <a:pt x="257974" y="513476"/>
                  </a:lnTo>
                  <a:cubicBezTo>
                    <a:pt x="116663" y="515116"/>
                    <a:pt x="0" y="398641"/>
                    <a:pt x="0" y="257558"/>
                  </a:cubicBezTo>
                  <a:cubicBezTo>
                    <a:pt x="0" y="114835"/>
                    <a:pt x="115020" y="0"/>
                    <a:pt x="257974" y="0"/>
                  </a:cubicBez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lumMod val="50000"/>
                    <a:lumOff val="50000"/>
                  </a:prstClr>
                </a:solidFill>
                <a:effectLst/>
                <a:uLnTx/>
                <a:uFillTx/>
                <a:latin typeface="HarmonyOS Sans SC"/>
                <a:cs typeface="+mn-cs"/>
              </a:endParaRPr>
            </a:p>
          </p:txBody>
        </p:sp>
      </p:grpSp>
      <p:sp>
        <p:nvSpPr>
          <p:cNvPr id="6" name="Freeform: Shape 30">
            <a:extLst>
              <a:ext uri="{FF2B5EF4-FFF2-40B4-BE49-F238E27FC236}">
                <a16:creationId xmlns:a16="http://schemas.microsoft.com/office/drawing/2014/main" id="{BCE7111E-608D-4998-8D9E-C2528F34A6F8}"/>
              </a:ext>
            </a:extLst>
          </p:cNvPr>
          <p:cNvSpPr>
            <a:spLocks/>
          </p:cNvSpPr>
          <p:nvPr/>
        </p:nvSpPr>
        <p:spPr bwMode="auto">
          <a:xfrm>
            <a:off x="5301594" y="2904561"/>
            <a:ext cx="1609020" cy="1606567"/>
          </a:xfrm>
          <a:custGeom>
            <a:avLst/>
            <a:gdLst>
              <a:gd name="connsiteX0" fmla="*/ 808874 w 1617748"/>
              <a:gd name="connsiteY0" fmla="*/ 309932 h 1615281"/>
              <a:gd name="connsiteX1" fmla="*/ 808874 w 1617748"/>
              <a:gd name="connsiteY1" fmla="*/ 309936 h 1615281"/>
              <a:gd name="connsiteX2" fmla="*/ 311736 w 1617748"/>
              <a:gd name="connsiteY2" fmla="*/ 808458 h 1615281"/>
              <a:gd name="connsiteX3" fmla="*/ 808874 w 1617748"/>
              <a:gd name="connsiteY3" fmla="*/ 1305340 h 1615281"/>
              <a:gd name="connsiteX4" fmla="*/ 808874 w 1617748"/>
              <a:gd name="connsiteY4" fmla="*/ 1305320 h 1615281"/>
              <a:gd name="connsiteX5" fmla="*/ 1307653 w 1617748"/>
              <a:gd name="connsiteY5" fmla="*/ 808446 h 1615281"/>
              <a:gd name="connsiteX6" fmla="*/ 808874 w 1617748"/>
              <a:gd name="connsiteY6" fmla="*/ 309932 h 1615281"/>
              <a:gd name="connsiteX7" fmla="*/ 808874 w 1617748"/>
              <a:gd name="connsiteY7" fmla="*/ 0 h 1615281"/>
              <a:gd name="connsiteX8" fmla="*/ 1617748 w 1617748"/>
              <a:gd name="connsiteY8" fmla="*/ 806806 h 1615281"/>
              <a:gd name="connsiteX9" fmla="*/ 808874 w 1617748"/>
              <a:gd name="connsiteY9" fmla="*/ 1615251 h 1615281"/>
              <a:gd name="connsiteX10" fmla="*/ 808874 w 1617748"/>
              <a:gd name="connsiteY10" fmla="*/ 1615276 h 1615281"/>
              <a:gd name="connsiteX11" fmla="*/ 0 w 1617748"/>
              <a:gd name="connsiteY11" fmla="*/ 808458 h 1615281"/>
              <a:gd name="connsiteX12" fmla="*/ 808874 w 1617748"/>
              <a:gd name="connsiteY12" fmla="*/ 0 h 1615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617748" h="1615281">
                <a:moveTo>
                  <a:pt x="808874" y="309932"/>
                </a:moveTo>
                <a:lnTo>
                  <a:pt x="808874" y="309936"/>
                </a:lnTo>
                <a:cubicBezTo>
                  <a:pt x="533233" y="309936"/>
                  <a:pt x="310095" y="532959"/>
                  <a:pt x="311736" y="808458"/>
                </a:cubicBezTo>
                <a:cubicBezTo>
                  <a:pt x="311736" y="1082317"/>
                  <a:pt x="534874" y="1305340"/>
                  <a:pt x="808874" y="1305340"/>
                </a:cubicBezTo>
                <a:lnTo>
                  <a:pt x="808874" y="1305320"/>
                </a:lnTo>
                <a:cubicBezTo>
                  <a:pt x="1084515" y="1305320"/>
                  <a:pt x="1307653" y="1082300"/>
                  <a:pt x="1307653" y="808446"/>
                </a:cubicBezTo>
                <a:cubicBezTo>
                  <a:pt x="1307653" y="532951"/>
                  <a:pt x="1084515" y="309932"/>
                  <a:pt x="808874" y="309932"/>
                </a:cubicBezTo>
                <a:close/>
                <a:moveTo>
                  <a:pt x="808874" y="0"/>
                </a:moveTo>
                <a:cubicBezTo>
                  <a:pt x="1253509" y="0"/>
                  <a:pt x="1617748" y="362407"/>
                  <a:pt x="1617748" y="806806"/>
                </a:cubicBezTo>
                <a:cubicBezTo>
                  <a:pt x="1617748" y="1252845"/>
                  <a:pt x="1255150" y="1615251"/>
                  <a:pt x="808874" y="1615251"/>
                </a:cubicBezTo>
                <a:lnTo>
                  <a:pt x="808874" y="1615276"/>
                </a:lnTo>
                <a:cubicBezTo>
                  <a:pt x="364239" y="1616916"/>
                  <a:pt x="0" y="1254504"/>
                  <a:pt x="0" y="808458"/>
                </a:cubicBezTo>
                <a:cubicBezTo>
                  <a:pt x="0" y="362412"/>
                  <a:pt x="362598" y="0"/>
                  <a:pt x="808874" y="0"/>
                </a:cubicBez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lumMod val="50000"/>
                  <a:lumOff val="50000"/>
                </a:prstClr>
              </a:solidFill>
              <a:effectLst/>
              <a:uLnTx/>
              <a:uFillTx/>
              <a:latin typeface="HarmonyOS Sans SC"/>
              <a:cs typeface="+mn-cs"/>
            </a:endParaRPr>
          </a:p>
        </p:txBody>
      </p:sp>
      <p:sp>
        <p:nvSpPr>
          <p:cNvPr id="7" name="Freeform: Shape 29">
            <a:extLst>
              <a:ext uri="{FF2B5EF4-FFF2-40B4-BE49-F238E27FC236}">
                <a16:creationId xmlns:a16="http://schemas.microsoft.com/office/drawing/2014/main" id="{6285EEFF-0138-440A-84C7-458590BA566B}"/>
              </a:ext>
            </a:extLst>
          </p:cNvPr>
          <p:cNvSpPr>
            <a:spLocks/>
          </p:cNvSpPr>
          <p:nvPr/>
        </p:nvSpPr>
        <p:spPr bwMode="auto">
          <a:xfrm>
            <a:off x="4746217" y="2350813"/>
            <a:ext cx="2715038" cy="2716488"/>
          </a:xfrm>
          <a:custGeom>
            <a:avLst/>
            <a:gdLst>
              <a:gd name="connsiteX0" fmla="*/ 1365108 w 2729765"/>
              <a:gd name="connsiteY0" fmla="*/ 309978 h 2731223"/>
              <a:gd name="connsiteX1" fmla="*/ 1259390 w 2729765"/>
              <a:gd name="connsiteY1" fmla="*/ 315331 h 2731223"/>
              <a:gd name="connsiteX2" fmla="*/ 310225 w 2729765"/>
              <a:gd name="connsiteY2" fmla="*/ 1365625 h 2731223"/>
              <a:gd name="connsiteX3" fmla="*/ 1259678 w 2729765"/>
              <a:gd name="connsiteY3" fmla="*/ 2414568 h 2731223"/>
              <a:gd name="connsiteX4" fmla="*/ 1365631 w 2729765"/>
              <a:gd name="connsiteY4" fmla="*/ 2419663 h 2731223"/>
              <a:gd name="connsiteX5" fmla="*/ 1471728 w 2729765"/>
              <a:gd name="connsiteY5" fmla="*/ 2414276 h 2731223"/>
              <a:gd name="connsiteX6" fmla="*/ 2419540 w 2729765"/>
              <a:gd name="connsiteY6" fmla="*/ 1363972 h 2731223"/>
              <a:gd name="connsiteX7" fmla="*/ 1470087 w 2729765"/>
              <a:gd name="connsiteY7" fmla="*/ 315290 h 2731223"/>
              <a:gd name="connsiteX8" fmla="*/ 1360837 w 2729765"/>
              <a:gd name="connsiteY8" fmla="*/ 0 h 2731223"/>
              <a:gd name="connsiteX9" fmla="*/ 1363551 w 2729765"/>
              <a:gd name="connsiteY9" fmla="*/ 132 h 2731223"/>
              <a:gd name="connsiteX10" fmla="*/ 1365645 w 2729765"/>
              <a:gd name="connsiteY10" fmla="*/ 26 h 2731223"/>
              <a:gd name="connsiteX11" fmla="*/ 1365646 w 2729765"/>
              <a:gd name="connsiteY11" fmla="*/ 234 h 2731223"/>
              <a:gd name="connsiteX12" fmla="*/ 1500638 w 2729765"/>
              <a:gd name="connsiteY12" fmla="*/ 6782 h 2731223"/>
              <a:gd name="connsiteX13" fmla="*/ 2729765 w 2729765"/>
              <a:gd name="connsiteY13" fmla="*/ 1363972 h 2731223"/>
              <a:gd name="connsiteX14" fmla="*/ 1503614 w 2729765"/>
              <a:gd name="connsiteY14" fmla="*/ 2723865 h 2731223"/>
              <a:gd name="connsiteX15" fmla="*/ 1368927 w 2729765"/>
              <a:gd name="connsiteY15" fmla="*/ 2730970 h 2731223"/>
              <a:gd name="connsiteX16" fmla="*/ 1368928 w 2729765"/>
              <a:gd name="connsiteY16" fmla="*/ 2731223 h 2731223"/>
              <a:gd name="connsiteX17" fmla="*/ 1366470 w 2729765"/>
              <a:gd name="connsiteY17" fmla="*/ 2731099 h 2731223"/>
              <a:gd name="connsiteX18" fmla="*/ 1364120 w 2729765"/>
              <a:gd name="connsiteY18" fmla="*/ 2731223 h 2731223"/>
              <a:gd name="connsiteX19" fmla="*/ 1364120 w 2729765"/>
              <a:gd name="connsiteY19" fmla="*/ 2730981 h 2731223"/>
              <a:gd name="connsiteX20" fmla="*/ 1229127 w 2729765"/>
              <a:gd name="connsiteY20" fmla="*/ 2724172 h 2731223"/>
              <a:gd name="connsiteX21" fmla="*/ 0 w 2729765"/>
              <a:gd name="connsiteY21" fmla="*/ 1365625 h 2731223"/>
              <a:gd name="connsiteX22" fmla="*/ 1226152 w 2729765"/>
              <a:gd name="connsiteY22" fmla="*/ 7096 h 2731223"/>
              <a:gd name="connsiteX23" fmla="*/ 1360839 w 2729765"/>
              <a:gd name="connsiteY23" fmla="*/ 270 h 27312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29765" h="2731223">
                <a:moveTo>
                  <a:pt x="1365108" y="309978"/>
                </a:moveTo>
                <a:lnTo>
                  <a:pt x="1259390" y="315331"/>
                </a:lnTo>
                <a:cubicBezTo>
                  <a:pt x="727147" y="369513"/>
                  <a:pt x="310225" y="820021"/>
                  <a:pt x="310225" y="1365625"/>
                </a:cubicBezTo>
                <a:cubicBezTo>
                  <a:pt x="311764" y="1911229"/>
                  <a:pt x="728782" y="2361736"/>
                  <a:pt x="1259678" y="2414568"/>
                </a:cubicBezTo>
                <a:lnTo>
                  <a:pt x="1365631" y="2419663"/>
                </a:lnTo>
                <a:lnTo>
                  <a:pt x="1471728" y="2414276"/>
                </a:lnTo>
                <a:cubicBezTo>
                  <a:pt x="2002618" y="2360094"/>
                  <a:pt x="2419540" y="1909582"/>
                  <a:pt x="2419540" y="1363972"/>
                </a:cubicBezTo>
                <a:cubicBezTo>
                  <a:pt x="2418002" y="818363"/>
                  <a:pt x="2000983" y="369292"/>
                  <a:pt x="1470087" y="315290"/>
                </a:cubicBezTo>
                <a:close/>
                <a:moveTo>
                  <a:pt x="1360837" y="0"/>
                </a:moveTo>
                <a:lnTo>
                  <a:pt x="1363551" y="132"/>
                </a:lnTo>
                <a:lnTo>
                  <a:pt x="1365645" y="26"/>
                </a:lnTo>
                <a:lnTo>
                  <a:pt x="1365646" y="234"/>
                </a:lnTo>
                <a:lnTo>
                  <a:pt x="1500638" y="6782"/>
                </a:lnTo>
                <a:cubicBezTo>
                  <a:pt x="2190219" y="75547"/>
                  <a:pt x="2729765" y="658523"/>
                  <a:pt x="2729765" y="1363972"/>
                </a:cubicBezTo>
                <a:cubicBezTo>
                  <a:pt x="2729765" y="2069422"/>
                  <a:pt x="2191661" y="2652398"/>
                  <a:pt x="1503614" y="2723865"/>
                </a:cubicBezTo>
                <a:lnTo>
                  <a:pt x="1368927" y="2730970"/>
                </a:lnTo>
                <a:lnTo>
                  <a:pt x="1368928" y="2731223"/>
                </a:lnTo>
                <a:lnTo>
                  <a:pt x="1366470" y="2731099"/>
                </a:lnTo>
                <a:lnTo>
                  <a:pt x="1364120" y="2731223"/>
                </a:lnTo>
                <a:lnTo>
                  <a:pt x="1364120" y="2730981"/>
                </a:lnTo>
                <a:lnTo>
                  <a:pt x="1229127" y="2724172"/>
                </a:lnTo>
                <a:cubicBezTo>
                  <a:pt x="539547" y="2654230"/>
                  <a:pt x="0" y="2072605"/>
                  <a:pt x="0" y="1365625"/>
                </a:cubicBezTo>
                <a:cubicBezTo>
                  <a:pt x="0" y="660182"/>
                  <a:pt x="538104" y="77211"/>
                  <a:pt x="1226152" y="7096"/>
                </a:cubicBezTo>
                <a:lnTo>
                  <a:pt x="1360839" y="270"/>
                </a:ln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lumMod val="50000"/>
                  <a:lumOff val="50000"/>
                </a:prstClr>
              </a:solidFill>
              <a:effectLst/>
              <a:uLnTx/>
              <a:uFillTx/>
              <a:latin typeface="HarmonyOS Sans SC"/>
              <a:cs typeface="+mn-cs"/>
            </a:endParaRPr>
          </a:p>
        </p:txBody>
      </p:sp>
      <p:sp>
        <p:nvSpPr>
          <p:cNvPr id="9" name="Freeform 20">
            <a:extLst>
              <a:ext uri="{FF2B5EF4-FFF2-40B4-BE49-F238E27FC236}">
                <a16:creationId xmlns:a16="http://schemas.microsoft.com/office/drawing/2014/main" id="{C9409EA8-4B57-4495-8FB6-45E0C431F2D8}"/>
              </a:ext>
            </a:extLst>
          </p:cNvPr>
          <p:cNvSpPr>
            <a:spLocks/>
          </p:cNvSpPr>
          <p:nvPr/>
        </p:nvSpPr>
        <p:spPr bwMode="auto">
          <a:xfrm rot="1046252">
            <a:off x="7578655" y="3363635"/>
            <a:ext cx="622335" cy="591451"/>
          </a:xfrm>
          <a:custGeom>
            <a:avLst/>
            <a:gdLst>
              <a:gd name="T0" fmla="*/ 3 w 337"/>
              <a:gd name="T1" fmla="*/ 237 h 321"/>
              <a:gd name="T2" fmla="*/ 14 w 337"/>
              <a:gd name="T3" fmla="*/ 196 h 321"/>
              <a:gd name="T4" fmla="*/ 78 w 337"/>
              <a:gd name="T5" fmla="*/ 81 h 321"/>
              <a:gd name="T6" fmla="*/ 118 w 337"/>
              <a:gd name="T7" fmla="*/ 45 h 321"/>
              <a:gd name="T8" fmla="*/ 232 w 337"/>
              <a:gd name="T9" fmla="*/ 5 h 321"/>
              <a:gd name="T10" fmla="*/ 248 w 337"/>
              <a:gd name="T11" fmla="*/ 29 h 321"/>
              <a:gd name="T12" fmla="*/ 221 w 337"/>
              <a:gd name="T13" fmla="*/ 131 h 321"/>
              <a:gd name="T14" fmla="*/ 239 w 337"/>
              <a:gd name="T15" fmla="*/ 184 h 321"/>
              <a:gd name="T16" fmla="*/ 322 w 337"/>
              <a:gd name="T17" fmla="*/ 247 h 321"/>
              <a:gd name="T18" fmla="*/ 323 w 337"/>
              <a:gd name="T19" fmla="*/ 276 h 321"/>
              <a:gd name="T20" fmla="*/ 209 w 337"/>
              <a:gd name="T21" fmla="*/ 316 h 321"/>
              <a:gd name="T22" fmla="*/ 156 w 337"/>
              <a:gd name="T23" fmla="*/ 313 h 321"/>
              <a:gd name="T24" fmla="*/ 36 w 337"/>
              <a:gd name="T25" fmla="*/ 263 h 321"/>
              <a:gd name="T26" fmla="*/ 3 w 337"/>
              <a:gd name="T27" fmla="*/ 237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7" h="321">
                <a:moveTo>
                  <a:pt x="3" y="237"/>
                </a:moveTo>
                <a:cubicBezTo>
                  <a:pt x="0" y="229"/>
                  <a:pt x="5" y="211"/>
                  <a:pt x="14" y="196"/>
                </a:cubicBezTo>
                <a:cubicBezTo>
                  <a:pt x="78" y="81"/>
                  <a:pt x="78" y="81"/>
                  <a:pt x="78" y="81"/>
                </a:cubicBezTo>
                <a:cubicBezTo>
                  <a:pt x="86" y="66"/>
                  <a:pt x="104" y="50"/>
                  <a:pt x="118" y="45"/>
                </a:cubicBezTo>
                <a:cubicBezTo>
                  <a:pt x="232" y="5"/>
                  <a:pt x="232" y="5"/>
                  <a:pt x="232" y="5"/>
                </a:cubicBezTo>
                <a:cubicBezTo>
                  <a:pt x="246" y="0"/>
                  <a:pt x="253" y="11"/>
                  <a:pt x="248" y="29"/>
                </a:cubicBezTo>
                <a:cubicBezTo>
                  <a:pt x="221" y="131"/>
                  <a:pt x="221" y="131"/>
                  <a:pt x="221" y="131"/>
                </a:cubicBezTo>
                <a:cubicBezTo>
                  <a:pt x="216" y="149"/>
                  <a:pt x="224" y="173"/>
                  <a:pt x="239" y="184"/>
                </a:cubicBezTo>
                <a:cubicBezTo>
                  <a:pt x="322" y="247"/>
                  <a:pt x="322" y="247"/>
                  <a:pt x="322" y="247"/>
                </a:cubicBezTo>
                <a:cubicBezTo>
                  <a:pt x="336" y="258"/>
                  <a:pt x="337" y="271"/>
                  <a:pt x="323" y="276"/>
                </a:cubicBezTo>
                <a:cubicBezTo>
                  <a:pt x="209" y="316"/>
                  <a:pt x="209" y="316"/>
                  <a:pt x="209" y="316"/>
                </a:cubicBezTo>
                <a:cubicBezTo>
                  <a:pt x="195" y="321"/>
                  <a:pt x="171" y="320"/>
                  <a:pt x="156" y="313"/>
                </a:cubicBezTo>
                <a:cubicBezTo>
                  <a:pt x="36" y="263"/>
                  <a:pt x="36" y="263"/>
                  <a:pt x="36" y="263"/>
                </a:cubicBezTo>
                <a:cubicBezTo>
                  <a:pt x="21" y="256"/>
                  <a:pt x="6" y="245"/>
                  <a:pt x="3" y="237"/>
                </a:cubicBezTo>
                <a:close/>
              </a:path>
            </a:pathLst>
          </a:custGeom>
          <a:gradFill flip="none" rotWithShape="1">
            <a:gsLst>
              <a:gs pos="0">
                <a:schemeClr val="accent1">
                  <a:lumMod val="40000"/>
                  <a:lumOff val="60000"/>
                </a:schemeClr>
              </a:gs>
              <a:gs pos="25000">
                <a:schemeClr val="accent1">
                  <a:lumMod val="60000"/>
                  <a:lumOff val="40000"/>
                </a:schemeClr>
              </a:gs>
              <a:gs pos="57000">
                <a:schemeClr val="accent1"/>
              </a:gs>
            </a:gsLst>
            <a:lin ang="1080000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lumMod val="50000"/>
                  <a:lumOff val="50000"/>
                </a:prstClr>
              </a:solidFill>
              <a:effectLst/>
              <a:uLnTx/>
              <a:uFillTx/>
              <a:latin typeface="HarmonyOS Sans SC"/>
              <a:cs typeface="+mn-cs"/>
            </a:endParaRPr>
          </a:p>
        </p:txBody>
      </p:sp>
      <p:sp>
        <p:nvSpPr>
          <p:cNvPr id="10" name="Freeform 21">
            <a:extLst>
              <a:ext uri="{FF2B5EF4-FFF2-40B4-BE49-F238E27FC236}">
                <a16:creationId xmlns:a16="http://schemas.microsoft.com/office/drawing/2014/main" id="{A0ABBD01-121A-411C-9BBC-78C4034649D2}"/>
              </a:ext>
            </a:extLst>
          </p:cNvPr>
          <p:cNvSpPr>
            <a:spLocks/>
          </p:cNvSpPr>
          <p:nvPr/>
        </p:nvSpPr>
        <p:spPr bwMode="auto">
          <a:xfrm rot="1046252">
            <a:off x="6137578" y="3367180"/>
            <a:ext cx="1842670" cy="659767"/>
          </a:xfrm>
          <a:custGeom>
            <a:avLst/>
            <a:gdLst>
              <a:gd name="T0" fmla="*/ 955 w 998"/>
              <a:gd name="T1" fmla="*/ 6 h 358"/>
              <a:gd name="T2" fmla="*/ 994 w 998"/>
              <a:gd name="T3" fmla="*/ 19 h 358"/>
              <a:gd name="T4" fmla="*/ 970 w 998"/>
              <a:gd name="T5" fmla="*/ 52 h 358"/>
              <a:gd name="T6" fmla="*/ 43 w 998"/>
              <a:gd name="T7" fmla="*/ 353 h 358"/>
              <a:gd name="T8" fmla="*/ 4 w 998"/>
              <a:gd name="T9" fmla="*/ 340 h 358"/>
              <a:gd name="T10" fmla="*/ 28 w 998"/>
              <a:gd name="T11" fmla="*/ 307 h 358"/>
              <a:gd name="T12" fmla="*/ 955 w 998"/>
              <a:gd name="T13" fmla="*/ 6 h 358"/>
            </a:gdLst>
            <a:ahLst/>
            <a:cxnLst>
              <a:cxn ang="0">
                <a:pos x="T0" y="T1"/>
              </a:cxn>
              <a:cxn ang="0">
                <a:pos x="T2" y="T3"/>
              </a:cxn>
              <a:cxn ang="0">
                <a:pos x="T4" y="T5"/>
              </a:cxn>
              <a:cxn ang="0">
                <a:pos x="T6" y="T7"/>
              </a:cxn>
              <a:cxn ang="0">
                <a:pos x="T8" y="T9"/>
              </a:cxn>
              <a:cxn ang="0">
                <a:pos x="T10" y="T11"/>
              </a:cxn>
              <a:cxn ang="0">
                <a:pos x="T12" y="T13"/>
              </a:cxn>
            </a:cxnLst>
            <a:rect l="0" t="0" r="r" b="b"/>
            <a:pathLst>
              <a:path w="998" h="358">
                <a:moveTo>
                  <a:pt x="955" y="6"/>
                </a:moveTo>
                <a:cubicBezTo>
                  <a:pt x="972" y="0"/>
                  <a:pt x="990" y="6"/>
                  <a:pt x="994" y="19"/>
                </a:cubicBezTo>
                <a:cubicBezTo>
                  <a:pt x="998" y="31"/>
                  <a:pt x="987" y="46"/>
                  <a:pt x="970" y="52"/>
                </a:cubicBezTo>
                <a:cubicBezTo>
                  <a:pt x="43" y="353"/>
                  <a:pt x="43" y="353"/>
                  <a:pt x="43" y="353"/>
                </a:cubicBezTo>
                <a:cubicBezTo>
                  <a:pt x="26" y="358"/>
                  <a:pt x="8" y="353"/>
                  <a:pt x="4" y="340"/>
                </a:cubicBezTo>
                <a:cubicBezTo>
                  <a:pt x="0" y="327"/>
                  <a:pt x="11" y="313"/>
                  <a:pt x="28" y="307"/>
                </a:cubicBezTo>
                <a:lnTo>
                  <a:pt x="955" y="6"/>
                </a:ln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lumMod val="50000"/>
                  <a:lumOff val="50000"/>
                </a:prstClr>
              </a:solidFill>
              <a:effectLst/>
              <a:uLnTx/>
              <a:uFillTx/>
              <a:latin typeface="HarmonyOS Sans SC"/>
              <a:cs typeface="+mn-cs"/>
            </a:endParaRPr>
          </a:p>
        </p:txBody>
      </p:sp>
      <p:sp>
        <p:nvSpPr>
          <p:cNvPr id="12" name="Freeform 12">
            <a:extLst>
              <a:ext uri="{FF2B5EF4-FFF2-40B4-BE49-F238E27FC236}">
                <a16:creationId xmlns:a16="http://schemas.microsoft.com/office/drawing/2014/main" id="{6FB6D46A-C5A7-4F1E-95BD-F7FC57114BE9}"/>
              </a:ext>
            </a:extLst>
          </p:cNvPr>
          <p:cNvSpPr>
            <a:spLocks/>
          </p:cNvSpPr>
          <p:nvPr/>
        </p:nvSpPr>
        <p:spPr bwMode="auto">
          <a:xfrm rot="2231301">
            <a:off x="6904699" y="1933504"/>
            <a:ext cx="535301" cy="571799"/>
          </a:xfrm>
          <a:custGeom>
            <a:avLst/>
            <a:gdLst>
              <a:gd name="T0" fmla="*/ 150 w 290"/>
              <a:gd name="T1" fmla="*/ 310 h 310"/>
              <a:gd name="T2" fmla="*/ 114 w 290"/>
              <a:gd name="T3" fmla="*/ 287 h 310"/>
              <a:gd name="T4" fmla="*/ 25 w 290"/>
              <a:gd name="T5" fmla="*/ 191 h 310"/>
              <a:gd name="T6" fmla="*/ 3 w 290"/>
              <a:gd name="T7" fmla="*/ 141 h 310"/>
              <a:gd name="T8" fmla="*/ 1 w 290"/>
              <a:gd name="T9" fmla="*/ 21 h 310"/>
              <a:gd name="T10" fmla="*/ 29 w 290"/>
              <a:gd name="T11" fmla="*/ 13 h 310"/>
              <a:gd name="T12" fmla="*/ 117 w 290"/>
              <a:gd name="T13" fmla="*/ 70 h 310"/>
              <a:gd name="T14" fmla="*/ 173 w 290"/>
              <a:gd name="T15" fmla="*/ 70 h 310"/>
              <a:gd name="T16" fmla="*/ 258 w 290"/>
              <a:gd name="T17" fmla="*/ 10 h 310"/>
              <a:gd name="T18" fmla="*/ 287 w 290"/>
              <a:gd name="T19" fmla="*/ 18 h 310"/>
              <a:gd name="T20" fmla="*/ 289 w 290"/>
              <a:gd name="T21" fmla="*/ 138 h 310"/>
              <a:gd name="T22" fmla="*/ 270 w 290"/>
              <a:gd name="T23" fmla="*/ 189 h 310"/>
              <a:gd name="T24" fmla="*/ 185 w 290"/>
              <a:gd name="T25" fmla="*/ 287 h 310"/>
              <a:gd name="T26" fmla="*/ 150 w 290"/>
              <a:gd name="T27" fmla="*/ 310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90" h="310">
                <a:moveTo>
                  <a:pt x="150" y="310"/>
                </a:moveTo>
                <a:cubicBezTo>
                  <a:pt x="142" y="310"/>
                  <a:pt x="126" y="300"/>
                  <a:pt x="114" y="287"/>
                </a:cubicBezTo>
                <a:cubicBezTo>
                  <a:pt x="25" y="191"/>
                  <a:pt x="25" y="191"/>
                  <a:pt x="25" y="191"/>
                </a:cubicBezTo>
                <a:cubicBezTo>
                  <a:pt x="14" y="179"/>
                  <a:pt x="4" y="156"/>
                  <a:pt x="3" y="141"/>
                </a:cubicBezTo>
                <a:cubicBezTo>
                  <a:pt x="1" y="21"/>
                  <a:pt x="1" y="21"/>
                  <a:pt x="1" y="21"/>
                </a:cubicBezTo>
                <a:cubicBezTo>
                  <a:pt x="0" y="6"/>
                  <a:pt x="13" y="2"/>
                  <a:pt x="29" y="13"/>
                </a:cubicBezTo>
                <a:cubicBezTo>
                  <a:pt x="117" y="70"/>
                  <a:pt x="117" y="70"/>
                  <a:pt x="117" y="70"/>
                </a:cubicBezTo>
                <a:cubicBezTo>
                  <a:pt x="132" y="80"/>
                  <a:pt x="158" y="80"/>
                  <a:pt x="173" y="70"/>
                </a:cubicBezTo>
                <a:cubicBezTo>
                  <a:pt x="258" y="10"/>
                  <a:pt x="258" y="10"/>
                  <a:pt x="258" y="10"/>
                </a:cubicBezTo>
                <a:cubicBezTo>
                  <a:pt x="273" y="0"/>
                  <a:pt x="286" y="3"/>
                  <a:pt x="287" y="18"/>
                </a:cubicBezTo>
                <a:cubicBezTo>
                  <a:pt x="289" y="138"/>
                  <a:pt x="289" y="138"/>
                  <a:pt x="289" y="138"/>
                </a:cubicBezTo>
                <a:cubicBezTo>
                  <a:pt x="290" y="153"/>
                  <a:pt x="281" y="176"/>
                  <a:pt x="270" y="189"/>
                </a:cubicBezTo>
                <a:cubicBezTo>
                  <a:pt x="185" y="287"/>
                  <a:pt x="185" y="287"/>
                  <a:pt x="185" y="287"/>
                </a:cubicBezTo>
                <a:cubicBezTo>
                  <a:pt x="174" y="300"/>
                  <a:pt x="158" y="310"/>
                  <a:pt x="150" y="310"/>
                </a:cubicBezTo>
                <a:close/>
              </a:path>
            </a:pathLst>
          </a:custGeom>
          <a:gradFill flip="none" rotWithShape="1">
            <a:gsLst>
              <a:gs pos="0">
                <a:schemeClr val="accent1">
                  <a:lumMod val="40000"/>
                  <a:lumOff val="60000"/>
                </a:schemeClr>
              </a:gs>
              <a:gs pos="25000">
                <a:schemeClr val="accent1">
                  <a:lumMod val="60000"/>
                  <a:lumOff val="40000"/>
                </a:schemeClr>
              </a:gs>
              <a:gs pos="73000">
                <a:schemeClr val="accent1"/>
              </a:gs>
            </a:gsLst>
            <a:lin ang="540000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lumMod val="50000"/>
                  <a:lumOff val="50000"/>
                </a:prstClr>
              </a:solidFill>
              <a:effectLst/>
              <a:uLnTx/>
              <a:uFillTx/>
              <a:latin typeface="HarmonyOS Sans SC"/>
              <a:cs typeface="+mn-cs"/>
            </a:endParaRPr>
          </a:p>
        </p:txBody>
      </p:sp>
      <p:sp>
        <p:nvSpPr>
          <p:cNvPr id="13" name="Freeform 13">
            <a:extLst>
              <a:ext uri="{FF2B5EF4-FFF2-40B4-BE49-F238E27FC236}">
                <a16:creationId xmlns:a16="http://schemas.microsoft.com/office/drawing/2014/main" id="{95643688-B261-4E6C-8E96-7AF872CC1E36}"/>
              </a:ext>
            </a:extLst>
          </p:cNvPr>
          <p:cNvSpPr>
            <a:spLocks/>
          </p:cNvSpPr>
          <p:nvPr/>
        </p:nvSpPr>
        <p:spPr bwMode="auto">
          <a:xfrm rot="2231301">
            <a:off x="6654910" y="1884652"/>
            <a:ext cx="87969" cy="1917536"/>
          </a:xfrm>
          <a:custGeom>
            <a:avLst/>
            <a:gdLst>
              <a:gd name="T0" fmla="*/ 0 w 48"/>
              <a:gd name="T1" fmla="*/ 33 h 1040"/>
              <a:gd name="T2" fmla="*/ 24 w 48"/>
              <a:gd name="T3" fmla="*/ 0 h 1040"/>
              <a:gd name="T4" fmla="*/ 48 w 48"/>
              <a:gd name="T5" fmla="*/ 33 h 1040"/>
              <a:gd name="T6" fmla="*/ 48 w 48"/>
              <a:gd name="T7" fmla="*/ 1007 h 1040"/>
              <a:gd name="T8" fmla="*/ 24 w 48"/>
              <a:gd name="T9" fmla="*/ 1040 h 1040"/>
              <a:gd name="T10" fmla="*/ 0 w 48"/>
              <a:gd name="T11" fmla="*/ 1007 h 1040"/>
              <a:gd name="T12" fmla="*/ 0 w 48"/>
              <a:gd name="T13" fmla="*/ 33 h 1040"/>
            </a:gdLst>
            <a:ahLst/>
            <a:cxnLst>
              <a:cxn ang="0">
                <a:pos x="T0" y="T1"/>
              </a:cxn>
              <a:cxn ang="0">
                <a:pos x="T2" y="T3"/>
              </a:cxn>
              <a:cxn ang="0">
                <a:pos x="T4" y="T5"/>
              </a:cxn>
              <a:cxn ang="0">
                <a:pos x="T6" y="T7"/>
              </a:cxn>
              <a:cxn ang="0">
                <a:pos x="T8" y="T9"/>
              </a:cxn>
              <a:cxn ang="0">
                <a:pos x="T10" y="T11"/>
              </a:cxn>
              <a:cxn ang="0">
                <a:pos x="T12" y="T13"/>
              </a:cxn>
            </a:cxnLst>
            <a:rect l="0" t="0" r="r" b="b"/>
            <a:pathLst>
              <a:path w="48" h="1040">
                <a:moveTo>
                  <a:pt x="0" y="33"/>
                </a:moveTo>
                <a:cubicBezTo>
                  <a:pt x="0" y="15"/>
                  <a:pt x="11" y="0"/>
                  <a:pt x="24" y="0"/>
                </a:cubicBezTo>
                <a:cubicBezTo>
                  <a:pt x="37" y="0"/>
                  <a:pt x="48" y="15"/>
                  <a:pt x="48" y="33"/>
                </a:cubicBezTo>
                <a:cubicBezTo>
                  <a:pt x="48" y="1007"/>
                  <a:pt x="48" y="1007"/>
                  <a:pt x="48" y="1007"/>
                </a:cubicBezTo>
                <a:cubicBezTo>
                  <a:pt x="48" y="1025"/>
                  <a:pt x="37" y="1040"/>
                  <a:pt x="24" y="1040"/>
                </a:cubicBezTo>
                <a:cubicBezTo>
                  <a:pt x="11" y="1040"/>
                  <a:pt x="0" y="1025"/>
                  <a:pt x="0" y="1007"/>
                </a:cubicBezTo>
                <a:lnTo>
                  <a:pt x="0" y="33"/>
                </a:ln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lumMod val="50000"/>
                  <a:lumOff val="50000"/>
                </a:prstClr>
              </a:solidFill>
              <a:effectLst/>
              <a:uLnTx/>
              <a:uFillTx/>
              <a:latin typeface="HarmonyOS Sans SC"/>
              <a:cs typeface="+mn-cs"/>
            </a:endParaRPr>
          </a:p>
        </p:txBody>
      </p:sp>
      <p:sp>
        <p:nvSpPr>
          <p:cNvPr id="15" name="Freeform 18">
            <a:extLst>
              <a:ext uri="{FF2B5EF4-FFF2-40B4-BE49-F238E27FC236}">
                <a16:creationId xmlns:a16="http://schemas.microsoft.com/office/drawing/2014/main" id="{CF1C17E0-8875-46E6-B34A-E9362C353372}"/>
              </a:ext>
            </a:extLst>
          </p:cNvPr>
          <p:cNvSpPr>
            <a:spLocks/>
          </p:cNvSpPr>
          <p:nvPr/>
        </p:nvSpPr>
        <p:spPr bwMode="auto">
          <a:xfrm>
            <a:off x="6920497" y="4980989"/>
            <a:ext cx="603617" cy="617654"/>
          </a:xfrm>
          <a:custGeom>
            <a:avLst/>
            <a:gdLst>
              <a:gd name="T0" fmla="*/ 27 w 327"/>
              <a:gd name="T1" fmla="*/ 6 h 335"/>
              <a:gd name="T2" fmla="*/ 70 w 327"/>
              <a:gd name="T3" fmla="*/ 4 h 335"/>
              <a:gd name="T4" fmla="*/ 198 w 327"/>
              <a:gd name="T5" fmla="*/ 29 h 335"/>
              <a:gd name="T6" fmla="*/ 245 w 327"/>
              <a:gd name="T7" fmla="*/ 57 h 335"/>
              <a:gd name="T8" fmla="*/ 318 w 327"/>
              <a:gd name="T9" fmla="*/ 153 h 335"/>
              <a:gd name="T10" fmla="*/ 300 w 327"/>
              <a:gd name="T11" fmla="*/ 176 h 335"/>
              <a:gd name="T12" fmla="*/ 196 w 327"/>
              <a:gd name="T13" fmla="*/ 181 h 335"/>
              <a:gd name="T14" fmla="*/ 150 w 327"/>
              <a:gd name="T15" fmla="*/ 215 h 335"/>
              <a:gd name="T16" fmla="*/ 116 w 327"/>
              <a:gd name="T17" fmla="*/ 312 h 335"/>
              <a:gd name="T18" fmla="*/ 89 w 327"/>
              <a:gd name="T19" fmla="*/ 323 h 335"/>
              <a:gd name="T20" fmla="*/ 16 w 327"/>
              <a:gd name="T21" fmla="*/ 227 h 335"/>
              <a:gd name="T22" fmla="*/ 2 w 327"/>
              <a:gd name="T23" fmla="*/ 175 h 335"/>
              <a:gd name="T24" fmla="*/ 13 w 327"/>
              <a:gd name="T25" fmla="*/ 46 h 335"/>
              <a:gd name="T26" fmla="*/ 27 w 327"/>
              <a:gd name="T27" fmla="*/ 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7" h="335">
                <a:moveTo>
                  <a:pt x="27" y="6"/>
                </a:moveTo>
                <a:cubicBezTo>
                  <a:pt x="34" y="2"/>
                  <a:pt x="53" y="0"/>
                  <a:pt x="70" y="4"/>
                </a:cubicBezTo>
                <a:cubicBezTo>
                  <a:pt x="198" y="29"/>
                  <a:pt x="198" y="29"/>
                  <a:pt x="198" y="29"/>
                </a:cubicBezTo>
                <a:cubicBezTo>
                  <a:pt x="215" y="33"/>
                  <a:pt x="236" y="45"/>
                  <a:pt x="245" y="57"/>
                </a:cubicBezTo>
                <a:cubicBezTo>
                  <a:pt x="318" y="153"/>
                  <a:pt x="318" y="153"/>
                  <a:pt x="318" y="153"/>
                </a:cubicBezTo>
                <a:cubicBezTo>
                  <a:pt x="327" y="164"/>
                  <a:pt x="319" y="175"/>
                  <a:pt x="300" y="176"/>
                </a:cubicBezTo>
                <a:cubicBezTo>
                  <a:pt x="196" y="181"/>
                  <a:pt x="196" y="181"/>
                  <a:pt x="196" y="181"/>
                </a:cubicBezTo>
                <a:cubicBezTo>
                  <a:pt x="177" y="182"/>
                  <a:pt x="156" y="197"/>
                  <a:pt x="150" y="215"/>
                </a:cubicBezTo>
                <a:cubicBezTo>
                  <a:pt x="116" y="312"/>
                  <a:pt x="116" y="312"/>
                  <a:pt x="116" y="312"/>
                </a:cubicBezTo>
                <a:cubicBezTo>
                  <a:pt x="110" y="330"/>
                  <a:pt x="98" y="335"/>
                  <a:pt x="89" y="323"/>
                </a:cubicBezTo>
                <a:cubicBezTo>
                  <a:pt x="16" y="227"/>
                  <a:pt x="16" y="227"/>
                  <a:pt x="16" y="227"/>
                </a:cubicBezTo>
                <a:cubicBezTo>
                  <a:pt x="7" y="215"/>
                  <a:pt x="0" y="192"/>
                  <a:pt x="2" y="175"/>
                </a:cubicBezTo>
                <a:cubicBezTo>
                  <a:pt x="13" y="46"/>
                  <a:pt x="13" y="46"/>
                  <a:pt x="13" y="46"/>
                </a:cubicBezTo>
                <a:cubicBezTo>
                  <a:pt x="14" y="29"/>
                  <a:pt x="21" y="11"/>
                  <a:pt x="27" y="6"/>
                </a:cubicBezTo>
                <a:close/>
              </a:path>
            </a:pathLst>
          </a:custGeom>
          <a:gradFill flip="none" rotWithShape="1">
            <a:gsLst>
              <a:gs pos="0">
                <a:schemeClr val="accent1">
                  <a:lumMod val="40000"/>
                  <a:lumOff val="60000"/>
                </a:schemeClr>
              </a:gs>
              <a:gs pos="25000">
                <a:schemeClr val="accent1">
                  <a:lumMod val="60000"/>
                  <a:lumOff val="40000"/>
                </a:schemeClr>
              </a:gs>
              <a:gs pos="73000">
                <a:schemeClr val="accent1"/>
              </a:gs>
            </a:gsLst>
            <a:lin ang="1350000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lumMod val="50000"/>
                  <a:lumOff val="50000"/>
                </a:prstClr>
              </a:solidFill>
              <a:effectLst/>
              <a:uLnTx/>
              <a:uFillTx/>
              <a:latin typeface="HarmonyOS Sans SC"/>
              <a:cs typeface="+mn-cs"/>
            </a:endParaRPr>
          </a:p>
        </p:txBody>
      </p:sp>
      <p:sp>
        <p:nvSpPr>
          <p:cNvPr id="16" name="Freeform 19">
            <a:extLst>
              <a:ext uri="{FF2B5EF4-FFF2-40B4-BE49-F238E27FC236}">
                <a16:creationId xmlns:a16="http://schemas.microsoft.com/office/drawing/2014/main" id="{3A88224F-9811-432B-89B9-B1C06873CA23}"/>
              </a:ext>
            </a:extLst>
          </p:cNvPr>
          <p:cNvSpPr>
            <a:spLocks/>
          </p:cNvSpPr>
          <p:nvPr/>
        </p:nvSpPr>
        <p:spPr bwMode="auto">
          <a:xfrm>
            <a:off x="6100701" y="3795279"/>
            <a:ext cx="1168865" cy="1579699"/>
          </a:xfrm>
          <a:custGeom>
            <a:avLst/>
            <a:gdLst>
              <a:gd name="T0" fmla="*/ 623 w 633"/>
              <a:gd name="T1" fmla="*/ 808 h 857"/>
              <a:gd name="T2" fmla="*/ 623 w 633"/>
              <a:gd name="T3" fmla="*/ 849 h 857"/>
              <a:gd name="T4" fmla="*/ 584 w 633"/>
              <a:gd name="T5" fmla="*/ 837 h 857"/>
              <a:gd name="T6" fmla="*/ 11 w 633"/>
              <a:gd name="T7" fmla="*/ 48 h 857"/>
              <a:gd name="T8" fmla="*/ 11 w 633"/>
              <a:gd name="T9" fmla="*/ 7 h 857"/>
              <a:gd name="T10" fmla="*/ 50 w 633"/>
              <a:gd name="T11" fmla="*/ 20 h 857"/>
              <a:gd name="T12" fmla="*/ 623 w 633"/>
              <a:gd name="T13" fmla="*/ 808 h 857"/>
            </a:gdLst>
            <a:ahLst/>
            <a:cxnLst>
              <a:cxn ang="0">
                <a:pos x="T0" y="T1"/>
              </a:cxn>
              <a:cxn ang="0">
                <a:pos x="T2" y="T3"/>
              </a:cxn>
              <a:cxn ang="0">
                <a:pos x="T4" y="T5"/>
              </a:cxn>
              <a:cxn ang="0">
                <a:pos x="T6" y="T7"/>
              </a:cxn>
              <a:cxn ang="0">
                <a:pos x="T8" y="T9"/>
              </a:cxn>
              <a:cxn ang="0">
                <a:pos x="T10" y="T11"/>
              </a:cxn>
              <a:cxn ang="0">
                <a:pos x="T12" y="T13"/>
              </a:cxn>
            </a:cxnLst>
            <a:rect l="0" t="0" r="r" b="b"/>
            <a:pathLst>
              <a:path w="633" h="857">
                <a:moveTo>
                  <a:pt x="623" y="808"/>
                </a:moveTo>
                <a:cubicBezTo>
                  <a:pt x="633" y="823"/>
                  <a:pt x="633" y="841"/>
                  <a:pt x="623" y="849"/>
                </a:cubicBezTo>
                <a:cubicBezTo>
                  <a:pt x="612" y="857"/>
                  <a:pt x="595" y="851"/>
                  <a:pt x="584" y="837"/>
                </a:cubicBezTo>
                <a:cubicBezTo>
                  <a:pt x="11" y="48"/>
                  <a:pt x="11" y="48"/>
                  <a:pt x="11" y="48"/>
                </a:cubicBezTo>
                <a:cubicBezTo>
                  <a:pt x="0" y="33"/>
                  <a:pt x="1" y="15"/>
                  <a:pt x="11" y="7"/>
                </a:cubicBezTo>
                <a:cubicBezTo>
                  <a:pt x="22" y="0"/>
                  <a:pt x="39" y="5"/>
                  <a:pt x="50" y="20"/>
                </a:cubicBezTo>
                <a:lnTo>
                  <a:pt x="623" y="808"/>
                </a:ln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lumMod val="50000"/>
                  <a:lumOff val="50000"/>
                </a:prstClr>
              </a:solidFill>
              <a:effectLst/>
              <a:uLnTx/>
              <a:uFillTx/>
              <a:latin typeface="HarmonyOS Sans SC"/>
              <a:cs typeface="+mn-cs"/>
            </a:endParaRPr>
          </a:p>
        </p:txBody>
      </p:sp>
      <p:cxnSp>
        <p:nvCxnSpPr>
          <p:cNvPr id="22" name="Straight Connector 28">
            <a:extLst>
              <a:ext uri="{FF2B5EF4-FFF2-40B4-BE49-F238E27FC236}">
                <a16:creationId xmlns:a16="http://schemas.microsoft.com/office/drawing/2014/main" id="{4FD51A0B-D473-40CB-B4B1-D9D996CD8497}"/>
              </a:ext>
            </a:extLst>
          </p:cNvPr>
          <p:cNvCxnSpPr>
            <a:cxnSpLocks/>
          </p:cNvCxnSpPr>
          <p:nvPr/>
        </p:nvCxnSpPr>
        <p:spPr>
          <a:xfrm>
            <a:off x="8856010" y="2402546"/>
            <a:ext cx="0" cy="203479"/>
          </a:xfrm>
          <a:prstGeom prst="line">
            <a:avLst/>
          </a:prstGeom>
          <a:ln w="508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3" name="Straight Connector 29">
            <a:extLst>
              <a:ext uri="{FF2B5EF4-FFF2-40B4-BE49-F238E27FC236}">
                <a16:creationId xmlns:a16="http://schemas.microsoft.com/office/drawing/2014/main" id="{A717100F-B49E-42DF-9226-FA0056BB2E75}"/>
              </a:ext>
            </a:extLst>
          </p:cNvPr>
          <p:cNvCxnSpPr>
            <a:cxnSpLocks/>
          </p:cNvCxnSpPr>
          <p:nvPr/>
        </p:nvCxnSpPr>
        <p:spPr>
          <a:xfrm>
            <a:off x="8856010" y="3492160"/>
            <a:ext cx="0" cy="203479"/>
          </a:xfrm>
          <a:prstGeom prst="line">
            <a:avLst/>
          </a:prstGeom>
          <a:ln w="508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4" name="Straight Connector 30">
            <a:extLst>
              <a:ext uri="{FF2B5EF4-FFF2-40B4-BE49-F238E27FC236}">
                <a16:creationId xmlns:a16="http://schemas.microsoft.com/office/drawing/2014/main" id="{7FD38B31-B10A-44C5-A968-8416B9FBDC2D}"/>
              </a:ext>
            </a:extLst>
          </p:cNvPr>
          <p:cNvCxnSpPr>
            <a:cxnSpLocks/>
          </p:cNvCxnSpPr>
          <p:nvPr/>
        </p:nvCxnSpPr>
        <p:spPr>
          <a:xfrm>
            <a:off x="8856010" y="4578539"/>
            <a:ext cx="0" cy="203479"/>
          </a:xfrm>
          <a:prstGeom prst="line">
            <a:avLst/>
          </a:prstGeom>
          <a:ln w="50800">
            <a:solidFill>
              <a:schemeClr val="accent1"/>
            </a:solidFill>
          </a:ln>
        </p:spPr>
        <p:style>
          <a:lnRef idx="1">
            <a:schemeClr val="accent1"/>
          </a:lnRef>
          <a:fillRef idx="0">
            <a:schemeClr val="accent1"/>
          </a:fillRef>
          <a:effectRef idx="0">
            <a:schemeClr val="accent1"/>
          </a:effectRef>
          <a:fontRef idx="minor">
            <a:schemeClr val="tx1"/>
          </a:fontRef>
        </p:style>
      </p:cxnSp>
      <p:sp>
        <p:nvSpPr>
          <p:cNvPr id="30" name="Right Triangle 61">
            <a:extLst>
              <a:ext uri="{FF2B5EF4-FFF2-40B4-BE49-F238E27FC236}">
                <a16:creationId xmlns:a16="http://schemas.microsoft.com/office/drawing/2014/main" id="{299864F5-5697-4499-97D3-B63B964E5223}"/>
              </a:ext>
            </a:extLst>
          </p:cNvPr>
          <p:cNvSpPr/>
          <p:nvPr/>
        </p:nvSpPr>
        <p:spPr>
          <a:xfrm flipV="1">
            <a:off x="1055689" y="803583"/>
            <a:ext cx="72580" cy="72177"/>
          </a:xfrm>
          <a:prstGeom prst="r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HarmonyOS Sans SC"/>
              <a:cs typeface="+mn-cs"/>
            </a:endParaRPr>
          </a:p>
        </p:txBody>
      </p:sp>
      <p:sp>
        <p:nvSpPr>
          <p:cNvPr id="31" name="文本框 30">
            <a:extLst>
              <a:ext uri="{FF2B5EF4-FFF2-40B4-BE49-F238E27FC236}">
                <a16:creationId xmlns:a16="http://schemas.microsoft.com/office/drawing/2014/main" id="{4E9F291D-E86C-4D9A-BD3C-376E8DC1DA23}"/>
              </a:ext>
            </a:extLst>
          </p:cNvPr>
          <p:cNvSpPr txBox="1"/>
          <p:nvPr/>
        </p:nvSpPr>
        <p:spPr>
          <a:xfrm>
            <a:off x="941388" y="918105"/>
            <a:ext cx="3251211"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2800" b="0" i="0" u="none" strike="noStrike" kern="1200" cap="none" spc="0" normalizeH="0" baseline="0" noProof="0" dirty="0">
                <a:ln>
                  <a:noFill/>
                </a:ln>
                <a:solidFill>
                  <a:prstClr val="black"/>
                </a:solidFill>
                <a:effectLst/>
                <a:uLnTx/>
                <a:uFillTx/>
                <a:latin typeface="HarmonyOS Sans Black"/>
                <a:ea typeface="+mj-ea"/>
                <a:cs typeface="+mn-cs"/>
              </a:rPr>
              <a:t>Goals </a:t>
            </a:r>
            <a:r>
              <a:rPr kumimoji="0" lang="en-US" altLang="zh-CN" sz="2800" b="0" i="0" u="none" strike="noStrike" kern="1200" cap="none" spc="0" normalizeH="0" baseline="0" noProof="0" dirty="0">
                <a:ln>
                  <a:noFill/>
                </a:ln>
                <a:solidFill>
                  <a:schemeClr val="accent1"/>
                </a:solidFill>
                <a:effectLst/>
                <a:uLnTx/>
                <a:uFillTx/>
                <a:latin typeface="HarmonyOS Sans Black"/>
                <a:ea typeface="+mj-ea"/>
                <a:cs typeface="+mn-cs"/>
              </a:rPr>
              <a:t>infographic</a:t>
            </a:r>
          </a:p>
        </p:txBody>
      </p:sp>
      <p:cxnSp>
        <p:nvCxnSpPr>
          <p:cNvPr id="32" name="Straight Connector 17">
            <a:extLst>
              <a:ext uri="{FF2B5EF4-FFF2-40B4-BE49-F238E27FC236}">
                <a16:creationId xmlns:a16="http://schemas.microsoft.com/office/drawing/2014/main" id="{D49832F6-9377-4B83-B7FE-C2089B81AB62}"/>
              </a:ext>
            </a:extLst>
          </p:cNvPr>
          <p:cNvCxnSpPr/>
          <p:nvPr/>
        </p:nvCxnSpPr>
        <p:spPr>
          <a:xfrm>
            <a:off x="1055688" y="2555357"/>
            <a:ext cx="970082" cy="0"/>
          </a:xfrm>
          <a:prstGeom prst="line">
            <a:avLst/>
          </a:prstGeom>
          <a:ln w="50800">
            <a:solidFill>
              <a:schemeClr val="accent1"/>
            </a:solidFill>
          </a:ln>
        </p:spPr>
        <p:style>
          <a:lnRef idx="1">
            <a:schemeClr val="accent1"/>
          </a:lnRef>
          <a:fillRef idx="0">
            <a:schemeClr val="accent1"/>
          </a:fillRef>
          <a:effectRef idx="0">
            <a:schemeClr val="accent1"/>
          </a:effectRef>
          <a:fontRef idx="minor">
            <a:schemeClr val="tx1"/>
          </a:fontRef>
        </p:style>
      </p:cxnSp>
      <p:sp>
        <p:nvSpPr>
          <p:cNvPr id="33" name="TextBox 18">
            <a:extLst>
              <a:ext uri="{FF2B5EF4-FFF2-40B4-BE49-F238E27FC236}">
                <a16:creationId xmlns:a16="http://schemas.microsoft.com/office/drawing/2014/main" id="{30BFE589-A2FE-40F7-942A-B469FD6ED9A4}"/>
              </a:ext>
            </a:extLst>
          </p:cNvPr>
          <p:cNvSpPr txBox="1"/>
          <p:nvPr/>
        </p:nvSpPr>
        <p:spPr>
          <a:xfrm>
            <a:off x="1055687" y="2966254"/>
            <a:ext cx="3652803" cy="1786186"/>
          </a:xfrm>
          <a:prstGeom prst="rect">
            <a:avLst/>
          </a:prstGeom>
          <a:noFill/>
        </p:spPr>
        <p:txBody>
          <a:bodyPr wrap="square" lIns="0" tIns="36000" rIns="216000" bIns="36000" rtlCol="0">
            <a:spAutoFit/>
          </a:bodyPr>
          <a:lstStyle/>
          <a:p>
            <a:pPr marL="0" marR="0" lvl="0" indent="0" algn="l" defTabSz="914400" rtl="0" eaLnBrk="1" fontAlgn="auto" latinLnBrk="0" hangingPunct="1">
              <a:lnSpc>
                <a:spcPct val="120000"/>
              </a:lnSpc>
              <a:spcBef>
                <a:spcPts val="1200"/>
              </a:spcBef>
              <a:spcAft>
                <a:spcPts val="0"/>
              </a:spcAft>
              <a:buClr>
                <a:srgbClr val="5CE0CE"/>
              </a:buClr>
              <a:buSzTx/>
              <a:buFontTx/>
              <a:buNone/>
              <a:tabLst/>
              <a:defRPr/>
            </a:pPr>
            <a:r>
              <a:rPr kumimoji="0" lang="en-US" sz="1100" b="0" i="0" u="none" strike="noStrike" kern="1200" cap="none" spc="0" normalizeH="0" baseline="0" noProof="0" dirty="0">
                <a:ln>
                  <a:noFill/>
                </a:ln>
                <a:solidFill>
                  <a:prstClr val="black">
                    <a:lumMod val="50000"/>
                    <a:lumOff val="50000"/>
                  </a:prstClr>
                </a:solidFill>
                <a:effectLst/>
                <a:uLnTx/>
                <a:uFillTx/>
                <a:latin typeface="HarmonyOS Sans SC"/>
                <a:cs typeface="+mn-cs"/>
              </a:rPr>
              <a:t>Excellence in Service</a:t>
            </a:r>
          </a:p>
          <a:p>
            <a:pPr marL="0" marR="0" lvl="0" indent="0" algn="l" defTabSz="914400" rtl="0" eaLnBrk="1" fontAlgn="auto" latinLnBrk="0" hangingPunct="1">
              <a:lnSpc>
                <a:spcPct val="120000"/>
              </a:lnSpc>
              <a:spcBef>
                <a:spcPts val="1200"/>
              </a:spcBef>
              <a:spcAft>
                <a:spcPts val="0"/>
              </a:spcAft>
              <a:buClr>
                <a:srgbClr val="5CE0CE"/>
              </a:buClr>
              <a:buSzTx/>
              <a:buFontTx/>
              <a:buNone/>
              <a:tabLst/>
              <a:defRPr/>
            </a:pPr>
            <a:r>
              <a:rPr kumimoji="0" lang="en-US" sz="1100" b="0" i="0" u="none" strike="noStrike" kern="1200" cap="none" spc="0" normalizeH="0" baseline="0" noProof="0" dirty="0">
                <a:ln>
                  <a:noFill/>
                </a:ln>
                <a:solidFill>
                  <a:prstClr val="black">
                    <a:lumMod val="50000"/>
                    <a:lumOff val="50000"/>
                  </a:prstClr>
                </a:solidFill>
                <a:effectLst/>
                <a:uLnTx/>
                <a:uFillTx/>
                <a:latin typeface="HarmonyOS Sans SC"/>
                <a:cs typeface="+mn-cs"/>
              </a:rPr>
              <a:t>Apparently we had reached a great height in the atmosphere, for the sky was a dead black, and the stars had.</a:t>
            </a:r>
          </a:p>
          <a:p>
            <a:pPr marL="0" marR="0" lvl="0" indent="0" algn="l" defTabSz="914400" rtl="0" eaLnBrk="1" fontAlgn="auto" latinLnBrk="0" hangingPunct="1">
              <a:lnSpc>
                <a:spcPct val="120000"/>
              </a:lnSpc>
              <a:spcBef>
                <a:spcPts val="1200"/>
              </a:spcBef>
              <a:spcAft>
                <a:spcPts val="0"/>
              </a:spcAft>
              <a:buClr>
                <a:srgbClr val="5CE0CE"/>
              </a:buClr>
              <a:buSzTx/>
              <a:buFontTx/>
              <a:buNone/>
              <a:tabLst/>
              <a:defRPr/>
            </a:pPr>
            <a:r>
              <a:rPr kumimoji="0" lang="en-US" sz="1100" b="0" i="0" u="none" strike="noStrike" kern="1200" cap="none" spc="0" normalizeH="0" baseline="0" noProof="0" dirty="0">
                <a:ln>
                  <a:noFill/>
                </a:ln>
                <a:solidFill>
                  <a:prstClr val="black">
                    <a:lumMod val="50000"/>
                    <a:lumOff val="50000"/>
                  </a:prstClr>
                </a:solidFill>
                <a:effectLst/>
                <a:uLnTx/>
                <a:uFillTx/>
                <a:latin typeface="HarmonyOS Sans SC"/>
                <a:cs typeface="+mn-cs"/>
              </a:rPr>
              <a:t>Ceased to twinkle. By the same illusion which lifts the horizon of the sea to the level of the spectator on a hillside, the sable cloud beneath was dished out.</a:t>
            </a:r>
          </a:p>
        </p:txBody>
      </p:sp>
      <p:sp>
        <p:nvSpPr>
          <p:cNvPr id="36" name="TextBox 25">
            <a:extLst>
              <a:ext uri="{FF2B5EF4-FFF2-40B4-BE49-F238E27FC236}">
                <a16:creationId xmlns:a16="http://schemas.microsoft.com/office/drawing/2014/main" id="{484509CE-F355-415C-B16D-616EC489A7E1}"/>
              </a:ext>
            </a:extLst>
          </p:cNvPr>
          <p:cNvSpPr txBox="1"/>
          <p:nvPr/>
        </p:nvSpPr>
        <p:spPr>
          <a:xfrm>
            <a:off x="9067572" y="2350813"/>
            <a:ext cx="2228259" cy="306944"/>
          </a:xfrm>
          <a:prstGeom prst="rect">
            <a:avLst/>
          </a:prstGeom>
          <a:noFill/>
        </p:spPr>
        <p:txBody>
          <a:bodyPr wrap="square" lIns="0" tIns="0" rIns="0" bIns="0" rtlCol="0">
            <a:spAutoFit/>
          </a:bodyPr>
          <a:lstStyle/>
          <a:p>
            <a:pPr marL="0" marR="0" lvl="0" indent="0" algn="l" defTabSz="914400" rtl="0" eaLnBrk="1" fontAlgn="auto" latinLnBrk="0" hangingPunct="1">
              <a:lnSpc>
                <a:spcPct val="120000"/>
              </a:lnSpc>
              <a:spcBef>
                <a:spcPts val="1200"/>
              </a:spcBef>
              <a:spcAft>
                <a:spcPts val="0"/>
              </a:spcAft>
              <a:buClrTx/>
              <a:buSzTx/>
              <a:buFontTx/>
              <a:buNone/>
              <a:tabLst/>
              <a:defRPr/>
            </a:pPr>
            <a:r>
              <a:rPr kumimoji="0" lang="en-US" sz="1800" b="0" i="0" u="none" strike="noStrike" kern="1200" cap="none" spc="0" normalizeH="0" baseline="0" noProof="0" dirty="0">
                <a:ln>
                  <a:noFill/>
                </a:ln>
                <a:solidFill>
                  <a:prstClr val="black">
                    <a:lumMod val="75000"/>
                    <a:lumOff val="25000"/>
                  </a:prstClr>
                </a:solidFill>
                <a:effectLst/>
                <a:uLnTx/>
                <a:uFillTx/>
                <a:latin typeface="HarmonyOS Sans SC Black"/>
                <a:ea typeface="+mj-ea"/>
                <a:cs typeface="+mn-cs"/>
              </a:rPr>
              <a:t>01. Think</a:t>
            </a:r>
            <a:endParaRPr kumimoji="0" lang="en-US" sz="1200" b="0" i="0" u="none" strike="noStrike" kern="1200" cap="none" spc="0" normalizeH="0" baseline="0" noProof="0" dirty="0">
              <a:ln>
                <a:noFill/>
              </a:ln>
              <a:solidFill>
                <a:prstClr val="black">
                  <a:lumMod val="75000"/>
                  <a:lumOff val="25000"/>
                </a:prstClr>
              </a:solidFill>
              <a:effectLst/>
              <a:uLnTx/>
              <a:uFillTx/>
              <a:latin typeface="HarmonyOS Sans SC Black"/>
              <a:ea typeface="+mj-ea"/>
              <a:cs typeface="+mn-cs"/>
            </a:endParaRPr>
          </a:p>
        </p:txBody>
      </p:sp>
      <p:sp>
        <p:nvSpPr>
          <p:cNvPr id="37" name="TextBox 25">
            <a:extLst>
              <a:ext uri="{FF2B5EF4-FFF2-40B4-BE49-F238E27FC236}">
                <a16:creationId xmlns:a16="http://schemas.microsoft.com/office/drawing/2014/main" id="{1C0BC6C4-AE75-413A-94E5-2B11E10C9991}"/>
              </a:ext>
            </a:extLst>
          </p:cNvPr>
          <p:cNvSpPr txBox="1"/>
          <p:nvPr/>
        </p:nvSpPr>
        <p:spPr>
          <a:xfrm>
            <a:off x="9067572" y="2696784"/>
            <a:ext cx="2228259" cy="354584"/>
          </a:xfrm>
          <a:prstGeom prst="rect">
            <a:avLst/>
          </a:prstGeom>
          <a:noFill/>
        </p:spPr>
        <p:txBody>
          <a:bodyPr wrap="square" lIns="0" tIns="0" rIns="0" bIns="0" rtlCol="0">
            <a:spAutoFit/>
          </a:bodyPr>
          <a:lstStyle/>
          <a:p>
            <a:pPr marL="0" marR="0" lvl="0" indent="0" algn="l" defTabSz="914400" rtl="0" eaLnBrk="1" fontAlgn="auto" latinLnBrk="0" hangingPunct="1">
              <a:lnSpc>
                <a:spcPct val="120000"/>
              </a:lnSpc>
              <a:spcBef>
                <a:spcPts val="120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HarmonyOS Sans SC"/>
                <a:cs typeface="+mn-cs"/>
              </a:rPr>
              <a:t>The first people you’ll meet are our experts in business.</a:t>
            </a:r>
          </a:p>
        </p:txBody>
      </p:sp>
      <p:sp>
        <p:nvSpPr>
          <p:cNvPr id="38" name="TextBox 26">
            <a:extLst>
              <a:ext uri="{FF2B5EF4-FFF2-40B4-BE49-F238E27FC236}">
                <a16:creationId xmlns:a16="http://schemas.microsoft.com/office/drawing/2014/main" id="{0D6AE8A8-B78F-4B7A-8ACD-6FF5D0882B10}"/>
              </a:ext>
            </a:extLst>
          </p:cNvPr>
          <p:cNvSpPr txBox="1"/>
          <p:nvPr/>
        </p:nvSpPr>
        <p:spPr>
          <a:xfrm>
            <a:off x="9067564" y="3440427"/>
            <a:ext cx="2228251" cy="306944"/>
          </a:xfrm>
          <a:prstGeom prst="rect">
            <a:avLst/>
          </a:prstGeom>
          <a:noFill/>
        </p:spPr>
        <p:txBody>
          <a:bodyPr wrap="square" lIns="0" tIns="0" rIns="0" bIns="0" rtlCol="0">
            <a:spAutoFit/>
          </a:bodyPr>
          <a:lstStyle/>
          <a:p>
            <a:pPr marL="0" marR="0" lvl="0" indent="0" algn="l" defTabSz="914400" rtl="0" eaLnBrk="1" fontAlgn="auto" latinLnBrk="0" hangingPunct="1">
              <a:lnSpc>
                <a:spcPct val="120000"/>
              </a:lnSpc>
              <a:spcBef>
                <a:spcPts val="1200"/>
              </a:spcBef>
              <a:spcAft>
                <a:spcPts val="0"/>
              </a:spcAft>
              <a:buClrTx/>
              <a:buSzTx/>
              <a:buFontTx/>
              <a:buNone/>
              <a:tabLst/>
              <a:defRPr/>
            </a:pPr>
            <a:r>
              <a:rPr kumimoji="0" lang="en-US" sz="1800" b="0" i="0" u="none" strike="noStrike" kern="1200" cap="none" spc="0" normalizeH="0" baseline="0" noProof="0" dirty="0">
                <a:ln>
                  <a:noFill/>
                </a:ln>
                <a:solidFill>
                  <a:prstClr val="black">
                    <a:lumMod val="75000"/>
                    <a:lumOff val="25000"/>
                  </a:prstClr>
                </a:solidFill>
                <a:effectLst/>
                <a:uLnTx/>
                <a:uFillTx/>
                <a:latin typeface="HarmonyOS Sans SC Black"/>
                <a:ea typeface="+mj-ea"/>
                <a:cs typeface="+mn-cs"/>
              </a:rPr>
              <a:t>02. Make</a:t>
            </a:r>
            <a:endParaRPr kumimoji="0" lang="en-US" sz="1200" b="0" i="0" u="none" strike="noStrike" kern="1200" cap="none" spc="0" normalizeH="0" baseline="0" noProof="0" dirty="0">
              <a:ln>
                <a:noFill/>
              </a:ln>
              <a:solidFill>
                <a:prstClr val="black">
                  <a:lumMod val="75000"/>
                  <a:lumOff val="25000"/>
                </a:prstClr>
              </a:solidFill>
              <a:effectLst/>
              <a:uLnTx/>
              <a:uFillTx/>
              <a:latin typeface="HarmonyOS Sans SC Black"/>
              <a:ea typeface="+mj-ea"/>
              <a:cs typeface="+mn-cs"/>
            </a:endParaRPr>
          </a:p>
        </p:txBody>
      </p:sp>
      <p:sp>
        <p:nvSpPr>
          <p:cNvPr id="39" name="TextBox 26">
            <a:extLst>
              <a:ext uri="{FF2B5EF4-FFF2-40B4-BE49-F238E27FC236}">
                <a16:creationId xmlns:a16="http://schemas.microsoft.com/office/drawing/2014/main" id="{029D71AB-FCD7-4AB1-883E-2528FA60A0F4}"/>
              </a:ext>
            </a:extLst>
          </p:cNvPr>
          <p:cNvSpPr txBox="1"/>
          <p:nvPr/>
        </p:nvSpPr>
        <p:spPr>
          <a:xfrm>
            <a:off x="9067564" y="3786398"/>
            <a:ext cx="2228251" cy="354584"/>
          </a:xfrm>
          <a:prstGeom prst="rect">
            <a:avLst/>
          </a:prstGeom>
          <a:noFill/>
        </p:spPr>
        <p:txBody>
          <a:bodyPr wrap="square" lIns="0" tIns="0" rIns="0" bIns="0" rtlCol="0">
            <a:spAutoFit/>
          </a:bodyPr>
          <a:lstStyle/>
          <a:p>
            <a:pPr marL="0" marR="0" lvl="0" indent="0" algn="l" defTabSz="914400" rtl="0" eaLnBrk="1" fontAlgn="auto" latinLnBrk="0" hangingPunct="1">
              <a:lnSpc>
                <a:spcPct val="120000"/>
              </a:lnSpc>
              <a:spcBef>
                <a:spcPts val="1200"/>
              </a:spcBef>
              <a:spcAft>
                <a:spcPts val="0"/>
              </a:spcAft>
              <a:buClrTx/>
              <a:buSzTx/>
              <a:buFontTx/>
              <a:buNone/>
              <a:tabLst/>
              <a:defRPr/>
            </a:pPr>
            <a:r>
              <a:rPr kumimoji="0" lang="en-US" sz="1000" b="0" i="0" u="none" strike="noStrike" kern="1200" cap="none" spc="0" normalizeH="0" baseline="0" noProof="0">
                <a:ln>
                  <a:noFill/>
                </a:ln>
                <a:solidFill>
                  <a:prstClr val="black">
                    <a:lumMod val="50000"/>
                    <a:lumOff val="50000"/>
                  </a:prstClr>
                </a:solidFill>
                <a:effectLst/>
                <a:uLnTx/>
                <a:uFillTx/>
                <a:latin typeface="HarmonyOS Sans SC"/>
                <a:cs typeface="+mn-cs"/>
              </a:rPr>
              <a:t>The </a:t>
            </a:r>
            <a:r>
              <a:rPr kumimoji="0" lang="en-US" sz="1000" b="0" i="0" u="none" strike="noStrike" kern="1200" cap="none" spc="0" normalizeH="0" baseline="0" noProof="0" dirty="0">
                <a:ln>
                  <a:noFill/>
                </a:ln>
                <a:solidFill>
                  <a:prstClr val="black">
                    <a:lumMod val="50000"/>
                    <a:lumOff val="50000"/>
                  </a:prstClr>
                </a:solidFill>
                <a:effectLst/>
                <a:uLnTx/>
                <a:uFillTx/>
                <a:latin typeface="HarmonyOS Sans SC"/>
                <a:cs typeface="+mn-cs"/>
              </a:rPr>
              <a:t>first people you’ll meet are our experts in business.</a:t>
            </a:r>
          </a:p>
        </p:txBody>
      </p:sp>
      <p:sp>
        <p:nvSpPr>
          <p:cNvPr id="40" name="TextBox 27">
            <a:extLst>
              <a:ext uri="{FF2B5EF4-FFF2-40B4-BE49-F238E27FC236}">
                <a16:creationId xmlns:a16="http://schemas.microsoft.com/office/drawing/2014/main" id="{E26090F9-768A-4E1C-A19A-DF7E566CE96C}"/>
              </a:ext>
            </a:extLst>
          </p:cNvPr>
          <p:cNvSpPr txBox="1"/>
          <p:nvPr/>
        </p:nvSpPr>
        <p:spPr>
          <a:xfrm>
            <a:off x="9067558" y="4526806"/>
            <a:ext cx="2228245" cy="306944"/>
          </a:xfrm>
          <a:prstGeom prst="rect">
            <a:avLst/>
          </a:prstGeom>
          <a:noFill/>
        </p:spPr>
        <p:txBody>
          <a:bodyPr wrap="square" lIns="0" tIns="0" rIns="0" bIns="0" rtlCol="0">
            <a:spAutoFit/>
          </a:bodyPr>
          <a:lstStyle/>
          <a:p>
            <a:pPr marL="0" marR="0" lvl="0" indent="0" algn="l" defTabSz="914400" rtl="0" eaLnBrk="1" fontAlgn="auto" latinLnBrk="0" hangingPunct="1">
              <a:lnSpc>
                <a:spcPct val="120000"/>
              </a:lnSpc>
              <a:spcBef>
                <a:spcPts val="1200"/>
              </a:spcBef>
              <a:spcAft>
                <a:spcPts val="0"/>
              </a:spcAft>
              <a:buClrTx/>
              <a:buSzTx/>
              <a:buFontTx/>
              <a:buNone/>
              <a:tabLst/>
              <a:defRPr/>
            </a:pPr>
            <a:r>
              <a:rPr kumimoji="0" lang="en-US" sz="1800" b="0" i="0" u="none" strike="noStrike" kern="1200" cap="none" spc="0" normalizeH="0" baseline="0" noProof="0" dirty="0">
                <a:ln>
                  <a:noFill/>
                </a:ln>
                <a:solidFill>
                  <a:prstClr val="black">
                    <a:lumMod val="75000"/>
                    <a:lumOff val="25000"/>
                  </a:prstClr>
                </a:solidFill>
                <a:effectLst/>
                <a:uLnTx/>
                <a:uFillTx/>
                <a:latin typeface="HarmonyOS Sans SC Black"/>
                <a:ea typeface="+mj-ea"/>
                <a:cs typeface="+mn-cs"/>
              </a:rPr>
              <a:t>03</a:t>
            </a:r>
            <a:r>
              <a:rPr kumimoji="0" lang="en-US" sz="1800" b="0" i="0" u="none" strike="noStrike" kern="1200" cap="none" spc="0" normalizeH="0" baseline="0" noProof="0">
                <a:ln>
                  <a:noFill/>
                </a:ln>
                <a:solidFill>
                  <a:prstClr val="black">
                    <a:lumMod val="75000"/>
                    <a:lumOff val="25000"/>
                  </a:prstClr>
                </a:solidFill>
                <a:effectLst/>
                <a:uLnTx/>
                <a:uFillTx/>
                <a:latin typeface="HarmonyOS Sans SC Black"/>
                <a:ea typeface="+mj-ea"/>
                <a:cs typeface="+mn-cs"/>
              </a:rPr>
              <a:t>. Check</a:t>
            </a:r>
            <a:endParaRPr kumimoji="0" lang="en-US" sz="1200" b="0" i="0" u="none" strike="noStrike" kern="1200" cap="none" spc="0" normalizeH="0" baseline="0" noProof="0" dirty="0">
              <a:ln>
                <a:noFill/>
              </a:ln>
              <a:solidFill>
                <a:prstClr val="black">
                  <a:lumMod val="75000"/>
                  <a:lumOff val="25000"/>
                </a:prstClr>
              </a:solidFill>
              <a:effectLst/>
              <a:uLnTx/>
              <a:uFillTx/>
              <a:latin typeface="HarmonyOS Sans SC Black"/>
              <a:ea typeface="+mj-ea"/>
              <a:cs typeface="+mn-cs"/>
            </a:endParaRPr>
          </a:p>
        </p:txBody>
      </p:sp>
      <p:sp>
        <p:nvSpPr>
          <p:cNvPr id="41" name="TextBox 27">
            <a:extLst>
              <a:ext uri="{FF2B5EF4-FFF2-40B4-BE49-F238E27FC236}">
                <a16:creationId xmlns:a16="http://schemas.microsoft.com/office/drawing/2014/main" id="{AF0D1D22-8604-4BE7-A1F9-309742582FEB}"/>
              </a:ext>
            </a:extLst>
          </p:cNvPr>
          <p:cNvSpPr txBox="1"/>
          <p:nvPr/>
        </p:nvSpPr>
        <p:spPr>
          <a:xfrm>
            <a:off x="9067558" y="4872777"/>
            <a:ext cx="2228245" cy="354584"/>
          </a:xfrm>
          <a:prstGeom prst="rect">
            <a:avLst/>
          </a:prstGeom>
          <a:noFill/>
        </p:spPr>
        <p:txBody>
          <a:bodyPr wrap="square" lIns="0" tIns="0" rIns="0" bIns="0" rtlCol="0">
            <a:spAutoFit/>
          </a:bodyPr>
          <a:lstStyle/>
          <a:p>
            <a:pPr marL="0" marR="0" lvl="0" indent="0" algn="l" defTabSz="914400" rtl="0" eaLnBrk="1" fontAlgn="auto" latinLnBrk="0" hangingPunct="1">
              <a:lnSpc>
                <a:spcPct val="120000"/>
              </a:lnSpc>
              <a:spcBef>
                <a:spcPts val="120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HarmonyOS Sans SC"/>
                <a:cs typeface="+mn-cs"/>
              </a:rPr>
              <a:t>The first people you’ll meet are our experts in business.</a:t>
            </a:r>
          </a:p>
        </p:txBody>
      </p:sp>
    </p:spTree>
    <p:extLst>
      <p:ext uri="{BB962C8B-B14F-4D97-AF65-F5344CB8AC3E}">
        <p14:creationId xmlns:p14="http://schemas.microsoft.com/office/powerpoint/2010/main" val="2335157402"/>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矩形 2">
            <a:extLst>
              <a:ext uri="{FF2B5EF4-FFF2-40B4-BE49-F238E27FC236}">
                <a16:creationId xmlns:a16="http://schemas.microsoft.com/office/drawing/2014/main" id="{F6CFA978-49F7-4ED9-9E2E-2E65DEDBA7EB}"/>
              </a:ext>
            </a:extLst>
          </p:cNvPr>
          <p:cNvSpPr/>
          <p:nvPr/>
        </p:nvSpPr>
        <p:spPr>
          <a:xfrm>
            <a:off x="0" y="0"/>
            <a:ext cx="8623300" cy="685006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p>
        </p:txBody>
      </p:sp>
      <p:grpSp>
        <p:nvGrpSpPr>
          <p:cNvPr id="14" name="组合 13">
            <a:extLst>
              <a:ext uri="{FF2B5EF4-FFF2-40B4-BE49-F238E27FC236}">
                <a16:creationId xmlns:a16="http://schemas.microsoft.com/office/drawing/2014/main" id="{B5D0DD63-38E4-4C70-9983-461D423C2F8A}"/>
              </a:ext>
            </a:extLst>
          </p:cNvPr>
          <p:cNvGrpSpPr/>
          <p:nvPr/>
        </p:nvGrpSpPr>
        <p:grpSpPr>
          <a:xfrm>
            <a:off x="715770" y="1922029"/>
            <a:ext cx="7191761" cy="2864093"/>
            <a:chOff x="397884" y="1476375"/>
            <a:chExt cx="8586330" cy="3419475"/>
          </a:xfrm>
        </p:grpSpPr>
        <p:sp>
          <p:nvSpPr>
            <p:cNvPr id="15" name="文本框 14">
              <a:extLst>
                <a:ext uri="{FF2B5EF4-FFF2-40B4-BE49-F238E27FC236}">
                  <a16:creationId xmlns:a16="http://schemas.microsoft.com/office/drawing/2014/main" id="{B06B2649-3AB2-4A63-A5DF-995188789902}"/>
                </a:ext>
              </a:extLst>
            </p:cNvPr>
            <p:cNvSpPr txBox="1"/>
            <p:nvPr/>
          </p:nvSpPr>
          <p:spPr>
            <a:xfrm>
              <a:off x="716405" y="2689431"/>
              <a:ext cx="8267809" cy="1102375"/>
            </a:xfrm>
            <a:prstGeom prst="rect">
              <a:avLst/>
            </a:prstGeom>
            <a:noFill/>
          </p:spPr>
          <p:txBody>
            <a:bodyPr wrap="none" lIns="0" tIns="0" rIns="0" bIns="0" rtlCol="0" anchor="t">
              <a:spAutoFit/>
            </a:bodyPr>
            <a:lstStyle/>
            <a:p>
              <a:pPr algn="ctr"/>
              <a:r>
                <a:rPr lang="zh-CN" altLang="en-US" sz="6000" dirty="0">
                  <a:solidFill>
                    <a:schemeClr val="bg1"/>
                  </a:solidFill>
                  <a:latin typeface="+mj-ea"/>
                  <a:ea typeface="+mj-ea"/>
                </a:rPr>
                <a:t>输入你的封面大标题</a:t>
              </a:r>
            </a:p>
          </p:txBody>
        </p:sp>
        <p:sp>
          <p:nvSpPr>
            <p:cNvPr id="16" name="文本框 15">
              <a:extLst>
                <a:ext uri="{FF2B5EF4-FFF2-40B4-BE49-F238E27FC236}">
                  <a16:creationId xmlns:a16="http://schemas.microsoft.com/office/drawing/2014/main" id="{FBB420DA-0FFC-4EBB-9F5C-9B10A1069821}"/>
                </a:ext>
              </a:extLst>
            </p:cNvPr>
            <p:cNvSpPr txBox="1"/>
            <p:nvPr/>
          </p:nvSpPr>
          <p:spPr>
            <a:xfrm>
              <a:off x="799071" y="2282654"/>
              <a:ext cx="1929155" cy="330712"/>
            </a:xfrm>
            <a:prstGeom prst="rect">
              <a:avLst/>
            </a:prstGeom>
            <a:noFill/>
          </p:spPr>
          <p:txBody>
            <a:bodyPr wrap="none" lIns="0" tIns="0" rIns="0" bIns="0" rtlCol="0" anchor="t">
              <a:spAutoFit/>
            </a:bodyPr>
            <a:lstStyle/>
            <a:p>
              <a:r>
                <a:rPr lang="zh-CN" altLang="en-US" dirty="0">
                  <a:solidFill>
                    <a:schemeClr val="bg1"/>
                  </a:solidFill>
                  <a:latin typeface="+mn-ea"/>
                </a:rPr>
                <a:t>输入你的副标题</a:t>
              </a:r>
            </a:p>
          </p:txBody>
        </p:sp>
        <p:grpSp>
          <p:nvGrpSpPr>
            <p:cNvPr id="17" name="组合 16">
              <a:extLst>
                <a:ext uri="{FF2B5EF4-FFF2-40B4-BE49-F238E27FC236}">
                  <a16:creationId xmlns:a16="http://schemas.microsoft.com/office/drawing/2014/main" id="{FADB01EE-F4C0-4FA9-99C4-1D9207DB620A}"/>
                </a:ext>
              </a:extLst>
            </p:cNvPr>
            <p:cNvGrpSpPr/>
            <p:nvPr/>
          </p:nvGrpSpPr>
          <p:grpSpPr>
            <a:xfrm>
              <a:off x="791575" y="3964841"/>
              <a:ext cx="1352255" cy="220475"/>
              <a:chOff x="4095451" y="4640913"/>
              <a:chExt cx="1352255" cy="220475"/>
            </a:xfrm>
          </p:grpSpPr>
          <p:sp>
            <p:nvSpPr>
              <p:cNvPr id="37" name="矩形 36">
                <a:extLst>
                  <a:ext uri="{FF2B5EF4-FFF2-40B4-BE49-F238E27FC236}">
                    <a16:creationId xmlns:a16="http://schemas.microsoft.com/office/drawing/2014/main" id="{484F1FEF-BE56-4EB6-84A2-7A2CD29F8566}"/>
                  </a:ext>
                </a:extLst>
              </p:cNvPr>
              <p:cNvSpPr/>
              <p:nvPr/>
            </p:nvSpPr>
            <p:spPr>
              <a:xfrm>
                <a:off x="4095451" y="4672584"/>
                <a:ext cx="164592" cy="1645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4800" dirty="0">
                  <a:solidFill>
                    <a:schemeClr val="bg1"/>
                  </a:solidFill>
                </a:endParaRPr>
              </a:p>
            </p:txBody>
          </p:sp>
          <p:sp>
            <p:nvSpPr>
              <p:cNvPr id="38" name="文本框 37">
                <a:extLst>
                  <a:ext uri="{FF2B5EF4-FFF2-40B4-BE49-F238E27FC236}">
                    <a16:creationId xmlns:a16="http://schemas.microsoft.com/office/drawing/2014/main" id="{4D7B154C-0530-48B6-9315-F6E1618129C7}"/>
                  </a:ext>
                </a:extLst>
              </p:cNvPr>
              <p:cNvSpPr txBox="1"/>
              <p:nvPr/>
            </p:nvSpPr>
            <p:spPr>
              <a:xfrm>
                <a:off x="4408488" y="4640913"/>
                <a:ext cx="1039218" cy="220475"/>
              </a:xfrm>
              <a:prstGeom prst="rect">
                <a:avLst/>
              </a:prstGeom>
              <a:noFill/>
            </p:spPr>
            <p:txBody>
              <a:bodyPr wrap="none" lIns="0" tIns="0" rIns="0" bIns="0" rtlCol="0" anchor="t">
                <a:spAutoFit/>
              </a:bodyPr>
              <a:lstStyle/>
              <a:p>
                <a:r>
                  <a:rPr lang="zh-CN" altLang="en-US" sz="1200" dirty="0">
                    <a:solidFill>
                      <a:schemeClr val="bg1"/>
                    </a:solidFill>
                    <a:latin typeface="+mn-ea"/>
                  </a:rPr>
                  <a:t>汇报人：</a:t>
                </a:r>
                <a:r>
                  <a:rPr lang="en-US" altLang="zh-CN" sz="1200" dirty="0">
                    <a:solidFill>
                      <a:schemeClr val="bg1"/>
                    </a:solidFill>
                    <a:latin typeface="+mn-ea"/>
                  </a:rPr>
                  <a:t>xxx</a:t>
                </a:r>
                <a:endParaRPr lang="zh-CN" altLang="en-US" sz="1200" dirty="0">
                  <a:solidFill>
                    <a:schemeClr val="bg1"/>
                  </a:solidFill>
                  <a:latin typeface="+mn-ea"/>
                </a:endParaRPr>
              </a:p>
            </p:txBody>
          </p:sp>
        </p:grpSp>
        <p:grpSp>
          <p:nvGrpSpPr>
            <p:cNvPr id="22" name="组合 21">
              <a:extLst>
                <a:ext uri="{FF2B5EF4-FFF2-40B4-BE49-F238E27FC236}">
                  <a16:creationId xmlns:a16="http://schemas.microsoft.com/office/drawing/2014/main" id="{B532C573-F358-4CAB-846C-3E9FA738280E}"/>
                </a:ext>
              </a:extLst>
            </p:cNvPr>
            <p:cNvGrpSpPr/>
            <p:nvPr/>
          </p:nvGrpSpPr>
          <p:grpSpPr>
            <a:xfrm>
              <a:off x="791575" y="4431230"/>
              <a:ext cx="1168524" cy="220475"/>
              <a:chOff x="4095451" y="4640913"/>
              <a:chExt cx="1168524" cy="220475"/>
            </a:xfrm>
          </p:grpSpPr>
          <p:sp>
            <p:nvSpPr>
              <p:cNvPr id="35" name="矩形 34">
                <a:extLst>
                  <a:ext uri="{FF2B5EF4-FFF2-40B4-BE49-F238E27FC236}">
                    <a16:creationId xmlns:a16="http://schemas.microsoft.com/office/drawing/2014/main" id="{32D974F3-D561-4ABB-AA42-83998AB78439}"/>
                  </a:ext>
                </a:extLst>
              </p:cNvPr>
              <p:cNvSpPr/>
              <p:nvPr/>
            </p:nvSpPr>
            <p:spPr>
              <a:xfrm>
                <a:off x="4095451" y="4672584"/>
                <a:ext cx="164592" cy="1645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4800" dirty="0">
                  <a:solidFill>
                    <a:schemeClr val="bg1"/>
                  </a:solidFill>
                </a:endParaRPr>
              </a:p>
            </p:txBody>
          </p:sp>
          <p:sp>
            <p:nvSpPr>
              <p:cNvPr id="36" name="文本框 35">
                <a:extLst>
                  <a:ext uri="{FF2B5EF4-FFF2-40B4-BE49-F238E27FC236}">
                    <a16:creationId xmlns:a16="http://schemas.microsoft.com/office/drawing/2014/main" id="{976E6E6D-5B6F-4270-8B74-3DF7F5DA9B97}"/>
                  </a:ext>
                </a:extLst>
              </p:cNvPr>
              <p:cNvSpPr txBox="1"/>
              <p:nvPr/>
            </p:nvSpPr>
            <p:spPr>
              <a:xfrm>
                <a:off x="4408486" y="4640913"/>
                <a:ext cx="855489" cy="220475"/>
              </a:xfrm>
              <a:prstGeom prst="rect">
                <a:avLst/>
              </a:prstGeom>
              <a:noFill/>
            </p:spPr>
            <p:txBody>
              <a:bodyPr wrap="none" lIns="0" tIns="0" rIns="0" bIns="0" rtlCol="0" anchor="t">
                <a:spAutoFit/>
              </a:bodyPr>
              <a:lstStyle/>
              <a:p>
                <a:r>
                  <a:rPr lang="zh-CN" altLang="en-US" sz="1200" dirty="0">
                    <a:solidFill>
                      <a:schemeClr val="bg1"/>
                    </a:solidFill>
                    <a:latin typeface="+mn-ea"/>
                  </a:rPr>
                  <a:t>单位：</a:t>
                </a:r>
                <a:r>
                  <a:rPr lang="en-US" altLang="zh-CN" sz="1200" dirty="0">
                    <a:solidFill>
                      <a:schemeClr val="bg1"/>
                    </a:solidFill>
                    <a:latin typeface="+mn-ea"/>
                  </a:rPr>
                  <a:t>xxx</a:t>
                </a:r>
                <a:endParaRPr lang="zh-CN" altLang="en-US" sz="1200" dirty="0">
                  <a:solidFill>
                    <a:schemeClr val="bg1"/>
                  </a:solidFill>
                  <a:latin typeface="+mn-ea"/>
                </a:endParaRPr>
              </a:p>
            </p:txBody>
          </p:sp>
        </p:grpSp>
        <p:grpSp>
          <p:nvGrpSpPr>
            <p:cNvPr id="25" name="组合 24">
              <a:extLst>
                <a:ext uri="{FF2B5EF4-FFF2-40B4-BE49-F238E27FC236}">
                  <a16:creationId xmlns:a16="http://schemas.microsoft.com/office/drawing/2014/main" id="{3068BB45-6153-4E75-8F8F-0093B6537BD8}"/>
                </a:ext>
              </a:extLst>
            </p:cNvPr>
            <p:cNvGrpSpPr/>
            <p:nvPr/>
          </p:nvGrpSpPr>
          <p:grpSpPr>
            <a:xfrm>
              <a:off x="397884" y="1476375"/>
              <a:ext cx="3023835" cy="3419475"/>
              <a:chOff x="942623" y="902047"/>
              <a:chExt cx="3090862" cy="4541207"/>
            </a:xfrm>
          </p:grpSpPr>
          <p:cxnSp>
            <p:nvCxnSpPr>
              <p:cNvPr id="30" name="直接连接符 49">
                <a:extLst>
                  <a:ext uri="{FF2B5EF4-FFF2-40B4-BE49-F238E27FC236}">
                    <a16:creationId xmlns:a16="http://schemas.microsoft.com/office/drawing/2014/main" id="{0358BCC2-AD21-44D7-ACE1-B916BCE3C953}"/>
                  </a:ext>
                </a:extLst>
              </p:cNvPr>
              <p:cNvCxnSpPr/>
              <p:nvPr/>
            </p:nvCxnSpPr>
            <p:spPr>
              <a:xfrm>
                <a:off x="942623" y="902047"/>
                <a:ext cx="3090862" cy="0"/>
              </a:xfrm>
              <a:prstGeom prst="line">
                <a:avLst/>
              </a:prstGeom>
              <a:ln w="34925" cap="sq">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1" name="直接连接符 50">
                <a:extLst>
                  <a:ext uri="{FF2B5EF4-FFF2-40B4-BE49-F238E27FC236}">
                    <a16:creationId xmlns:a16="http://schemas.microsoft.com/office/drawing/2014/main" id="{B2AB3E47-C3CA-49E1-8AEB-0387913699A8}"/>
                  </a:ext>
                </a:extLst>
              </p:cNvPr>
              <p:cNvCxnSpPr>
                <a:cxnSpLocks/>
              </p:cNvCxnSpPr>
              <p:nvPr/>
            </p:nvCxnSpPr>
            <p:spPr>
              <a:xfrm>
                <a:off x="942623" y="5443254"/>
                <a:ext cx="3089627" cy="0"/>
              </a:xfrm>
              <a:prstGeom prst="line">
                <a:avLst/>
              </a:prstGeom>
              <a:ln w="34925" cap="sq">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2" name="直接连接符 51">
                <a:extLst>
                  <a:ext uri="{FF2B5EF4-FFF2-40B4-BE49-F238E27FC236}">
                    <a16:creationId xmlns:a16="http://schemas.microsoft.com/office/drawing/2014/main" id="{1B76899E-DBE6-42C8-AFB8-8A0233991FC7}"/>
                  </a:ext>
                </a:extLst>
              </p:cNvPr>
              <p:cNvCxnSpPr>
                <a:cxnSpLocks/>
              </p:cNvCxnSpPr>
              <p:nvPr/>
            </p:nvCxnSpPr>
            <p:spPr>
              <a:xfrm>
                <a:off x="942623" y="902047"/>
                <a:ext cx="0" cy="4541207"/>
              </a:xfrm>
              <a:prstGeom prst="line">
                <a:avLst/>
              </a:prstGeom>
              <a:ln w="34925" cap="sq">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3" name="直接连接符 52">
                <a:extLst>
                  <a:ext uri="{FF2B5EF4-FFF2-40B4-BE49-F238E27FC236}">
                    <a16:creationId xmlns:a16="http://schemas.microsoft.com/office/drawing/2014/main" id="{371EB2F7-6C3A-4A4D-9313-5D808F3537B4}"/>
                  </a:ext>
                </a:extLst>
              </p:cNvPr>
              <p:cNvCxnSpPr>
                <a:cxnSpLocks/>
              </p:cNvCxnSpPr>
              <p:nvPr/>
            </p:nvCxnSpPr>
            <p:spPr>
              <a:xfrm>
                <a:off x="4033485" y="902047"/>
                <a:ext cx="0" cy="1388657"/>
              </a:xfrm>
              <a:prstGeom prst="line">
                <a:avLst/>
              </a:prstGeom>
              <a:ln w="34925" cap="sq">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4" name="直接连接符 53">
                <a:extLst>
                  <a:ext uri="{FF2B5EF4-FFF2-40B4-BE49-F238E27FC236}">
                    <a16:creationId xmlns:a16="http://schemas.microsoft.com/office/drawing/2014/main" id="{BC8AE1CF-1FC0-44D9-BCEA-ED7098152C9F}"/>
                  </a:ext>
                </a:extLst>
              </p:cNvPr>
              <p:cNvCxnSpPr>
                <a:cxnSpLocks/>
              </p:cNvCxnSpPr>
              <p:nvPr/>
            </p:nvCxnSpPr>
            <p:spPr>
              <a:xfrm>
                <a:off x="4033485" y="4275581"/>
                <a:ext cx="0" cy="1163194"/>
              </a:xfrm>
              <a:prstGeom prst="line">
                <a:avLst/>
              </a:prstGeom>
              <a:ln w="34925" cap="sq">
                <a:solidFill>
                  <a:schemeClr val="bg1"/>
                </a:solidFill>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3045095450"/>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4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8">
            <a:extLst>
              <a:ext uri="{FF2B5EF4-FFF2-40B4-BE49-F238E27FC236}">
                <a16:creationId xmlns:a16="http://schemas.microsoft.com/office/drawing/2014/main" id="{E8A378E1-666F-4422-BD0E-58DFE593A4EC}"/>
              </a:ext>
            </a:extLst>
          </p:cNvPr>
          <p:cNvSpPr>
            <a:spLocks/>
          </p:cNvSpPr>
          <p:nvPr/>
        </p:nvSpPr>
        <p:spPr bwMode="auto">
          <a:xfrm>
            <a:off x="6220069" y="3335528"/>
            <a:ext cx="1189038" cy="516032"/>
          </a:xfrm>
          <a:custGeom>
            <a:avLst/>
            <a:gdLst>
              <a:gd name="T0" fmla="*/ 749 w 749"/>
              <a:gd name="T1" fmla="*/ 0 h 209"/>
              <a:gd name="T2" fmla="*/ 545 w 749"/>
              <a:gd name="T3" fmla="*/ 209 h 209"/>
              <a:gd name="T4" fmla="*/ 0 w 749"/>
              <a:gd name="T5" fmla="*/ 209 h 209"/>
              <a:gd name="T6" fmla="*/ 204 w 749"/>
              <a:gd name="T7" fmla="*/ 0 h 209"/>
              <a:gd name="T8" fmla="*/ 749 w 749"/>
              <a:gd name="T9" fmla="*/ 0 h 209"/>
            </a:gdLst>
            <a:ahLst/>
            <a:cxnLst>
              <a:cxn ang="0">
                <a:pos x="T0" y="T1"/>
              </a:cxn>
              <a:cxn ang="0">
                <a:pos x="T2" y="T3"/>
              </a:cxn>
              <a:cxn ang="0">
                <a:pos x="T4" y="T5"/>
              </a:cxn>
              <a:cxn ang="0">
                <a:pos x="T6" y="T7"/>
              </a:cxn>
              <a:cxn ang="0">
                <a:pos x="T8" y="T9"/>
              </a:cxn>
            </a:cxnLst>
            <a:rect l="0" t="0" r="r" b="b"/>
            <a:pathLst>
              <a:path w="749" h="209">
                <a:moveTo>
                  <a:pt x="749" y="0"/>
                </a:moveTo>
                <a:lnTo>
                  <a:pt x="545" y="209"/>
                </a:lnTo>
                <a:lnTo>
                  <a:pt x="0" y="209"/>
                </a:lnTo>
                <a:lnTo>
                  <a:pt x="204" y="0"/>
                </a:lnTo>
                <a:lnTo>
                  <a:pt x="749" y="0"/>
                </a:lnTo>
                <a:close/>
              </a:path>
            </a:pathLst>
          </a:custGeom>
          <a:gradFill flip="none" rotWithShape="1">
            <a:gsLst>
              <a:gs pos="0">
                <a:schemeClr val="accent1"/>
              </a:gs>
              <a:gs pos="94690">
                <a:schemeClr val="accent1">
                  <a:lumMod val="40000"/>
                  <a:lumOff val="60000"/>
                </a:schemeClr>
              </a:gs>
              <a:gs pos="56000">
                <a:schemeClr val="accent1">
                  <a:lumMod val="60000"/>
                  <a:lumOff val="40000"/>
                </a:schemeClr>
              </a:gs>
            </a:gsLst>
            <a:lin ang="5400000" scaled="1"/>
            <a:tileRect/>
          </a:gra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22222"/>
              </a:solidFill>
              <a:effectLst/>
              <a:uLnTx/>
              <a:uFillTx/>
              <a:latin typeface="Inter"/>
              <a:cs typeface="+mn-cs"/>
            </a:endParaRPr>
          </a:p>
        </p:txBody>
      </p:sp>
      <p:sp>
        <p:nvSpPr>
          <p:cNvPr id="3" name="Freeform 9">
            <a:extLst>
              <a:ext uri="{FF2B5EF4-FFF2-40B4-BE49-F238E27FC236}">
                <a16:creationId xmlns:a16="http://schemas.microsoft.com/office/drawing/2014/main" id="{6A5275EF-93C8-406A-9DAD-AACFA9F81741}"/>
              </a:ext>
            </a:extLst>
          </p:cNvPr>
          <p:cNvSpPr>
            <a:spLocks/>
          </p:cNvSpPr>
          <p:nvPr/>
        </p:nvSpPr>
        <p:spPr bwMode="auto">
          <a:xfrm>
            <a:off x="7085257" y="3335528"/>
            <a:ext cx="323850" cy="2432014"/>
          </a:xfrm>
          <a:custGeom>
            <a:avLst/>
            <a:gdLst>
              <a:gd name="T0" fmla="*/ 0 w 204"/>
              <a:gd name="T1" fmla="*/ 985 h 985"/>
              <a:gd name="T2" fmla="*/ 204 w 204"/>
              <a:gd name="T3" fmla="*/ 777 h 985"/>
              <a:gd name="T4" fmla="*/ 204 w 204"/>
              <a:gd name="T5" fmla="*/ 0 h 985"/>
              <a:gd name="T6" fmla="*/ 0 w 204"/>
              <a:gd name="T7" fmla="*/ 209 h 985"/>
              <a:gd name="T8" fmla="*/ 0 w 204"/>
              <a:gd name="T9" fmla="*/ 985 h 985"/>
            </a:gdLst>
            <a:ahLst/>
            <a:cxnLst>
              <a:cxn ang="0">
                <a:pos x="T0" y="T1"/>
              </a:cxn>
              <a:cxn ang="0">
                <a:pos x="T2" y="T3"/>
              </a:cxn>
              <a:cxn ang="0">
                <a:pos x="T4" y="T5"/>
              </a:cxn>
              <a:cxn ang="0">
                <a:pos x="T6" y="T7"/>
              </a:cxn>
              <a:cxn ang="0">
                <a:pos x="T8" y="T9"/>
              </a:cxn>
            </a:cxnLst>
            <a:rect l="0" t="0" r="r" b="b"/>
            <a:pathLst>
              <a:path w="204" h="985">
                <a:moveTo>
                  <a:pt x="0" y="985"/>
                </a:moveTo>
                <a:lnTo>
                  <a:pt x="204" y="777"/>
                </a:lnTo>
                <a:lnTo>
                  <a:pt x="204" y="0"/>
                </a:lnTo>
                <a:lnTo>
                  <a:pt x="0" y="209"/>
                </a:lnTo>
                <a:lnTo>
                  <a:pt x="0" y="985"/>
                </a:lnTo>
                <a:close/>
              </a:path>
            </a:pathLst>
          </a:custGeom>
          <a:gradFill flip="none" rotWithShape="1">
            <a:gsLst>
              <a:gs pos="0">
                <a:schemeClr val="accent1"/>
              </a:gs>
              <a:gs pos="92000">
                <a:schemeClr val="accent1">
                  <a:lumMod val="60000"/>
                  <a:lumOff val="40000"/>
                </a:schemeClr>
              </a:gs>
            </a:gsLst>
            <a:lin ang="13500000" scaled="1"/>
            <a:tileRect/>
          </a:gra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22222"/>
              </a:solidFill>
              <a:effectLst/>
              <a:uLnTx/>
              <a:uFillTx/>
              <a:latin typeface="Inter"/>
              <a:cs typeface="+mn-cs"/>
            </a:endParaRPr>
          </a:p>
        </p:txBody>
      </p:sp>
      <p:sp>
        <p:nvSpPr>
          <p:cNvPr id="4" name="Freeform 30">
            <a:extLst>
              <a:ext uri="{FF2B5EF4-FFF2-40B4-BE49-F238E27FC236}">
                <a16:creationId xmlns:a16="http://schemas.microsoft.com/office/drawing/2014/main" id="{69E70222-F426-42FD-8C01-054393FDF677}"/>
              </a:ext>
            </a:extLst>
          </p:cNvPr>
          <p:cNvSpPr>
            <a:spLocks/>
          </p:cNvSpPr>
          <p:nvPr/>
        </p:nvSpPr>
        <p:spPr bwMode="auto">
          <a:xfrm>
            <a:off x="6220069" y="3851560"/>
            <a:ext cx="865188" cy="2343128"/>
          </a:xfrm>
          <a:custGeom>
            <a:avLst/>
            <a:gdLst>
              <a:gd name="T0" fmla="*/ 0 w 230"/>
              <a:gd name="T1" fmla="*/ 0 h 401"/>
              <a:gd name="T2" fmla="*/ 0 w 230"/>
              <a:gd name="T3" fmla="*/ 328 h 401"/>
              <a:gd name="T4" fmla="*/ 71 w 230"/>
              <a:gd name="T5" fmla="*/ 328 h 401"/>
              <a:gd name="T6" fmla="*/ 95 w 230"/>
              <a:gd name="T7" fmla="*/ 340 h 401"/>
              <a:gd name="T8" fmla="*/ 82 w 230"/>
              <a:gd name="T9" fmla="*/ 372 h 401"/>
              <a:gd name="T10" fmla="*/ 139 w 230"/>
              <a:gd name="T11" fmla="*/ 372 h 401"/>
              <a:gd name="T12" fmla="*/ 126 w 230"/>
              <a:gd name="T13" fmla="*/ 340 h 401"/>
              <a:gd name="T14" fmla="*/ 143 w 230"/>
              <a:gd name="T15" fmla="*/ 328 h 401"/>
              <a:gd name="T16" fmla="*/ 143 w 230"/>
              <a:gd name="T17" fmla="*/ 328 h 401"/>
              <a:gd name="T18" fmla="*/ 230 w 230"/>
              <a:gd name="T19" fmla="*/ 328 h 401"/>
              <a:gd name="T20" fmla="*/ 230 w 230"/>
              <a:gd name="T21" fmla="*/ 0 h 401"/>
              <a:gd name="T22" fmla="*/ 0 w 230"/>
              <a:gd name="T23" fmla="*/ 0 h 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0" h="401">
                <a:moveTo>
                  <a:pt x="0" y="0"/>
                </a:moveTo>
                <a:cubicBezTo>
                  <a:pt x="0" y="328"/>
                  <a:pt x="0" y="328"/>
                  <a:pt x="0" y="328"/>
                </a:cubicBezTo>
                <a:cubicBezTo>
                  <a:pt x="71" y="328"/>
                  <a:pt x="71" y="328"/>
                  <a:pt x="71" y="328"/>
                </a:cubicBezTo>
                <a:cubicBezTo>
                  <a:pt x="93" y="328"/>
                  <a:pt x="98" y="334"/>
                  <a:pt x="95" y="340"/>
                </a:cubicBezTo>
                <a:cubicBezTo>
                  <a:pt x="90" y="353"/>
                  <a:pt x="80" y="354"/>
                  <a:pt x="82" y="372"/>
                </a:cubicBezTo>
                <a:cubicBezTo>
                  <a:pt x="87" y="401"/>
                  <a:pt x="134" y="401"/>
                  <a:pt x="139" y="372"/>
                </a:cubicBezTo>
                <a:cubicBezTo>
                  <a:pt x="142" y="354"/>
                  <a:pt x="132" y="353"/>
                  <a:pt x="126" y="340"/>
                </a:cubicBezTo>
                <a:cubicBezTo>
                  <a:pt x="124" y="334"/>
                  <a:pt x="127" y="330"/>
                  <a:pt x="143" y="328"/>
                </a:cubicBezTo>
                <a:cubicBezTo>
                  <a:pt x="143" y="328"/>
                  <a:pt x="143" y="328"/>
                  <a:pt x="143" y="328"/>
                </a:cubicBezTo>
                <a:cubicBezTo>
                  <a:pt x="230" y="328"/>
                  <a:pt x="230" y="328"/>
                  <a:pt x="230" y="328"/>
                </a:cubicBezTo>
                <a:cubicBezTo>
                  <a:pt x="230" y="0"/>
                  <a:pt x="230" y="0"/>
                  <a:pt x="230" y="0"/>
                </a:cubicBezTo>
                <a:lnTo>
                  <a:pt x="0" y="0"/>
                </a:lnTo>
                <a:close/>
              </a:path>
            </a:pathLst>
          </a:custGeom>
          <a:gradFill flip="none" rotWithShape="1">
            <a:gsLst>
              <a:gs pos="24000">
                <a:schemeClr val="accent1"/>
              </a:gs>
              <a:gs pos="100000">
                <a:schemeClr val="accent1">
                  <a:lumMod val="60000"/>
                  <a:lumOff val="40000"/>
                </a:schemeClr>
              </a:gs>
            </a:gsLst>
            <a:lin ang="13500000" scaled="1"/>
            <a:tileRect/>
          </a:gra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22222"/>
              </a:solidFill>
              <a:effectLst/>
              <a:uLnTx/>
              <a:uFillTx/>
              <a:latin typeface="Inter"/>
              <a:cs typeface="+mn-cs"/>
            </a:endParaRPr>
          </a:p>
        </p:txBody>
      </p:sp>
      <p:sp>
        <p:nvSpPr>
          <p:cNvPr id="5" name="Freeform 15">
            <a:extLst>
              <a:ext uri="{FF2B5EF4-FFF2-40B4-BE49-F238E27FC236}">
                <a16:creationId xmlns:a16="http://schemas.microsoft.com/office/drawing/2014/main" id="{0B2D1AB1-EC74-4046-8A50-AF447199198C}"/>
              </a:ext>
            </a:extLst>
          </p:cNvPr>
          <p:cNvSpPr>
            <a:spLocks/>
          </p:cNvSpPr>
          <p:nvPr/>
        </p:nvSpPr>
        <p:spPr bwMode="auto">
          <a:xfrm>
            <a:off x="7355926" y="2318282"/>
            <a:ext cx="1189038" cy="520970"/>
          </a:xfrm>
          <a:custGeom>
            <a:avLst/>
            <a:gdLst>
              <a:gd name="T0" fmla="*/ 749 w 749"/>
              <a:gd name="T1" fmla="*/ 0 h 211"/>
              <a:gd name="T2" fmla="*/ 545 w 749"/>
              <a:gd name="T3" fmla="*/ 211 h 211"/>
              <a:gd name="T4" fmla="*/ 0 w 749"/>
              <a:gd name="T5" fmla="*/ 211 h 211"/>
              <a:gd name="T6" fmla="*/ 204 w 749"/>
              <a:gd name="T7" fmla="*/ 0 h 211"/>
              <a:gd name="T8" fmla="*/ 749 w 749"/>
              <a:gd name="T9" fmla="*/ 0 h 211"/>
            </a:gdLst>
            <a:ahLst/>
            <a:cxnLst>
              <a:cxn ang="0">
                <a:pos x="T0" y="T1"/>
              </a:cxn>
              <a:cxn ang="0">
                <a:pos x="T2" y="T3"/>
              </a:cxn>
              <a:cxn ang="0">
                <a:pos x="T4" y="T5"/>
              </a:cxn>
              <a:cxn ang="0">
                <a:pos x="T6" y="T7"/>
              </a:cxn>
              <a:cxn ang="0">
                <a:pos x="T8" y="T9"/>
              </a:cxn>
            </a:cxnLst>
            <a:rect l="0" t="0" r="r" b="b"/>
            <a:pathLst>
              <a:path w="749" h="211">
                <a:moveTo>
                  <a:pt x="749" y="0"/>
                </a:moveTo>
                <a:lnTo>
                  <a:pt x="545" y="211"/>
                </a:lnTo>
                <a:lnTo>
                  <a:pt x="0" y="211"/>
                </a:lnTo>
                <a:lnTo>
                  <a:pt x="204" y="0"/>
                </a:lnTo>
                <a:lnTo>
                  <a:pt x="749" y="0"/>
                </a:lnTo>
                <a:close/>
              </a:path>
            </a:pathLst>
          </a:custGeom>
          <a:gradFill flip="none" rotWithShape="1">
            <a:gsLst>
              <a:gs pos="0">
                <a:schemeClr val="accent1"/>
              </a:gs>
              <a:gs pos="94690">
                <a:schemeClr val="accent1">
                  <a:lumMod val="40000"/>
                  <a:lumOff val="60000"/>
                </a:schemeClr>
              </a:gs>
              <a:gs pos="56000">
                <a:schemeClr val="accent1">
                  <a:lumMod val="60000"/>
                  <a:lumOff val="40000"/>
                </a:schemeClr>
              </a:gs>
            </a:gsLst>
            <a:lin ang="5400000" scaled="1"/>
            <a:tileRect/>
          </a:gra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22222"/>
              </a:solidFill>
              <a:effectLst/>
              <a:uLnTx/>
              <a:uFillTx/>
              <a:latin typeface="Inter"/>
              <a:cs typeface="+mn-cs"/>
            </a:endParaRPr>
          </a:p>
        </p:txBody>
      </p:sp>
      <p:sp>
        <p:nvSpPr>
          <p:cNvPr id="6" name="Freeform 16">
            <a:extLst>
              <a:ext uri="{FF2B5EF4-FFF2-40B4-BE49-F238E27FC236}">
                <a16:creationId xmlns:a16="http://schemas.microsoft.com/office/drawing/2014/main" id="{726A89CD-474D-4825-A067-C6F3587E5F03}"/>
              </a:ext>
            </a:extLst>
          </p:cNvPr>
          <p:cNvSpPr>
            <a:spLocks/>
          </p:cNvSpPr>
          <p:nvPr/>
        </p:nvSpPr>
        <p:spPr bwMode="auto">
          <a:xfrm>
            <a:off x="8221114" y="2318282"/>
            <a:ext cx="323850" cy="3449261"/>
          </a:xfrm>
          <a:custGeom>
            <a:avLst/>
            <a:gdLst>
              <a:gd name="T0" fmla="*/ 0 w 204"/>
              <a:gd name="T1" fmla="*/ 1397 h 1397"/>
              <a:gd name="T2" fmla="*/ 204 w 204"/>
              <a:gd name="T3" fmla="*/ 1188 h 1397"/>
              <a:gd name="T4" fmla="*/ 204 w 204"/>
              <a:gd name="T5" fmla="*/ 0 h 1397"/>
              <a:gd name="T6" fmla="*/ 0 w 204"/>
              <a:gd name="T7" fmla="*/ 211 h 1397"/>
              <a:gd name="T8" fmla="*/ 0 w 204"/>
              <a:gd name="T9" fmla="*/ 1397 h 1397"/>
            </a:gdLst>
            <a:ahLst/>
            <a:cxnLst>
              <a:cxn ang="0">
                <a:pos x="T0" y="T1"/>
              </a:cxn>
              <a:cxn ang="0">
                <a:pos x="T2" y="T3"/>
              </a:cxn>
              <a:cxn ang="0">
                <a:pos x="T4" y="T5"/>
              </a:cxn>
              <a:cxn ang="0">
                <a:pos x="T6" y="T7"/>
              </a:cxn>
              <a:cxn ang="0">
                <a:pos x="T8" y="T9"/>
              </a:cxn>
            </a:cxnLst>
            <a:rect l="0" t="0" r="r" b="b"/>
            <a:pathLst>
              <a:path w="204" h="1397">
                <a:moveTo>
                  <a:pt x="0" y="1397"/>
                </a:moveTo>
                <a:lnTo>
                  <a:pt x="204" y="1188"/>
                </a:lnTo>
                <a:lnTo>
                  <a:pt x="204" y="0"/>
                </a:lnTo>
                <a:lnTo>
                  <a:pt x="0" y="211"/>
                </a:lnTo>
                <a:lnTo>
                  <a:pt x="0" y="1397"/>
                </a:lnTo>
                <a:close/>
              </a:path>
            </a:pathLst>
          </a:custGeom>
          <a:gradFill flip="none" rotWithShape="1">
            <a:gsLst>
              <a:gs pos="0">
                <a:schemeClr val="accent1"/>
              </a:gs>
              <a:gs pos="92000">
                <a:schemeClr val="accent1">
                  <a:lumMod val="60000"/>
                  <a:lumOff val="40000"/>
                </a:schemeClr>
              </a:gs>
            </a:gsLst>
            <a:lin ang="13500000" scaled="1"/>
            <a:tileRect/>
          </a:gra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22222"/>
              </a:solidFill>
              <a:effectLst/>
              <a:uLnTx/>
              <a:uFillTx/>
              <a:latin typeface="Inter"/>
              <a:cs typeface="+mn-cs"/>
            </a:endParaRPr>
          </a:p>
        </p:txBody>
      </p:sp>
      <p:sp>
        <p:nvSpPr>
          <p:cNvPr id="7" name="Freeform 32">
            <a:extLst>
              <a:ext uri="{FF2B5EF4-FFF2-40B4-BE49-F238E27FC236}">
                <a16:creationId xmlns:a16="http://schemas.microsoft.com/office/drawing/2014/main" id="{E526E8B0-5878-451B-9DAD-616E1E8AD23F}"/>
              </a:ext>
            </a:extLst>
          </p:cNvPr>
          <p:cNvSpPr>
            <a:spLocks/>
          </p:cNvSpPr>
          <p:nvPr/>
        </p:nvSpPr>
        <p:spPr bwMode="auto">
          <a:xfrm>
            <a:off x="7355926" y="2839250"/>
            <a:ext cx="865188" cy="3355438"/>
          </a:xfrm>
          <a:custGeom>
            <a:avLst/>
            <a:gdLst>
              <a:gd name="T0" fmla="*/ 144 w 230"/>
              <a:gd name="T1" fmla="*/ 501 h 574"/>
              <a:gd name="T2" fmla="*/ 230 w 230"/>
              <a:gd name="T3" fmla="*/ 501 h 574"/>
              <a:gd name="T4" fmla="*/ 230 w 230"/>
              <a:gd name="T5" fmla="*/ 0 h 574"/>
              <a:gd name="T6" fmla="*/ 0 w 230"/>
              <a:gd name="T7" fmla="*/ 0 h 574"/>
              <a:gd name="T8" fmla="*/ 0 w 230"/>
              <a:gd name="T9" fmla="*/ 501 h 574"/>
              <a:gd name="T10" fmla="*/ 81 w 230"/>
              <a:gd name="T11" fmla="*/ 501 h 574"/>
              <a:gd name="T12" fmla="*/ 97 w 230"/>
              <a:gd name="T13" fmla="*/ 513 h 574"/>
              <a:gd name="T14" fmla="*/ 84 w 230"/>
              <a:gd name="T15" fmla="*/ 544 h 574"/>
              <a:gd name="T16" fmla="*/ 141 w 230"/>
              <a:gd name="T17" fmla="*/ 544 h 574"/>
              <a:gd name="T18" fmla="*/ 128 w 230"/>
              <a:gd name="T19" fmla="*/ 513 h 574"/>
              <a:gd name="T20" fmla="*/ 144 w 230"/>
              <a:gd name="T21" fmla="*/ 501 h 5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0" h="574">
                <a:moveTo>
                  <a:pt x="144" y="501"/>
                </a:moveTo>
                <a:cubicBezTo>
                  <a:pt x="230" y="501"/>
                  <a:pt x="230" y="501"/>
                  <a:pt x="230" y="501"/>
                </a:cubicBezTo>
                <a:cubicBezTo>
                  <a:pt x="230" y="0"/>
                  <a:pt x="230" y="0"/>
                  <a:pt x="230" y="0"/>
                </a:cubicBezTo>
                <a:cubicBezTo>
                  <a:pt x="0" y="0"/>
                  <a:pt x="0" y="0"/>
                  <a:pt x="0" y="0"/>
                </a:cubicBezTo>
                <a:cubicBezTo>
                  <a:pt x="0" y="501"/>
                  <a:pt x="0" y="501"/>
                  <a:pt x="0" y="501"/>
                </a:cubicBezTo>
                <a:cubicBezTo>
                  <a:pt x="81" y="501"/>
                  <a:pt x="81" y="501"/>
                  <a:pt x="81" y="501"/>
                </a:cubicBezTo>
                <a:cubicBezTo>
                  <a:pt x="96" y="502"/>
                  <a:pt x="100" y="507"/>
                  <a:pt x="97" y="513"/>
                </a:cubicBezTo>
                <a:cubicBezTo>
                  <a:pt x="91" y="525"/>
                  <a:pt x="81" y="527"/>
                  <a:pt x="84" y="544"/>
                </a:cubicBezTo>
                <a:cubicBezTo>
                  <a:pt x="89" y="574"/>
                  <a:pt x="136" y="574"/>
                  <a:pt x="141" y="544"/>
                </a:cubicBezTo>
                <a:cubicBezTo>
                  <a:pt x="143" y="527"/>
                  <a:pt x="133" y="525"/>
                  <a:pt x="128" y="513"/>
                </a:cubicBezTo>
                <a:cubicBezTo>
                  <a:pt x="125" y="507"/>
                  <a:pt x="129" y="502"/>
                  <a:pt x="144" y="501"/>
                </a:cubicBezTo>
                <a:close/>
              </a:path>
            </a:pathLst>
          </a:custGeom>
          <a:gradFill flip="none" rotWithShape="1">
            <a:gsLst>
              <a:gs pos="24000">
                <a:schemeClr val="accent1"/>
              </a:gs>
              <a:gs pos="100000">
                <a:schemeClr val="accent1">
                  <a:lumMod val="60000"/>
                  <a:lumOff val="40000"/>
                </a:schemeClr>
              </a:gs>
            </a:gsLst>
            <a:lin ang="13500000" scaled="1"/>
            <a:tileRect/>
          </a:gra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22222"/>
              </a:solidFill>
              <a:effectLst/>
              <a:uLnTx/>
              <a:uFillTx/>
              <a:latin typeface="Inter"/>
              <a:cs typeface="+mn-cs"/>
            </a:endParaRPr>
          </a:p>
        </p:txBody>
      </p:sp>
      <p:sp>
        <p:nvSpPr>
          <p:cNvPr id="8" name="Freeform 8">
            <a:extLst>
              <a:ext uri="{FF2B5EF4-FFF2-40B4-BE49-F238E27FC236}">
                <a16:creationId xmlns:a16="http://schemas.microsoft.com/office/drawing/2014/main" id="{562D8FBA-B956-4969-AF19-B4FEDE367900}"/>
              </a:ext>
            </a:extLst>
          </p:cNvPr>
          <p:cNvSpPr>
            <a:spLocks/>
          </p:cNvSpPr>
          <p:nvPr/>
        </p:nvSpPr>
        <p:spPr bwMode="auto">
          <a:xfrm>
            <a:off x="8438602" y="3335528"/>
            <a:ext cx="1189038" cy="516032"/>
          </a:xfrm>
          <a:custGeom>
            <a:avLst/>
            <a:gdLst>
              <a:gd name="T0" fmla="*/ 749 w 749"/>
              <a:gd name="T1" fmla="*/ 0 h 209"/>
              <a:gd name="T2" fmla="*/ 545 w 749"/>
              <a:gd name="T3" fmla="*/ 209 h 209"/>
              <a:gd name="T4" fmla="*/ 0 w 749"/>
              <a:gd name="T5" fmla="*/ 209 h 209"/>
              <a:gd name="T6" fmla="*/ 204 w 749"/>
              <a:gd name="T7" fmla="*/ 0 h 209"/>
              <a:gd name="T8" fmla="*/ 749 w 749"/>
              <a:gd name="T9" fmla="*/ 0 h 209"/>
            </a:gdLst>
            <a:ahLst/>
            <a:cxnLst>
              <a:cxn ang="0">
                <a:pos x="T0" y="T1"/>
              </a:cxn>
              <a:cxn ang="0">
                <a:pos x="T2" y="T3"/>
              </a:cxn>
              <a:cxn ang="0">
                <a:pos x="T4" y="T5"/>
              </a:cxn>
              <a:cxn ang="0">
                <a:pos x="T6" y="T7"/>
              </a:cxn>
              <a:cxn ang="0">
                <a:pos x="T8" y="T9"/>
              </a:cxn>
            </a:cxnLst>
            <a:rect l="0" t="0" r="r" b="b"/>
            <a:pathLst>
              <a:path w="749" h="209">
                <a:moveTo>
                  <a:pt x="749" y="0"/>
                </a:moveTo>
                <a:lnTo>
                  <a:pt x="545" y="209"/>
                </a:lnTo>
                <a:lnTo>
                  <a:pt x="0" y="209"/>
                </a:lnTo>
                <a:lnTo>
                  <a:pt x="204" y="0"/>
                </a:lnTo>
                <a:lnTo>
                  <a:pt x="749" y="0"/>
                </a:lnTo>
                <a:close/>
              </a:path>
            </a:pathLst>
          </a:custGeom>
          <a:gradFill flip="none" rotWithShape="1">
            <a:gsLst>
              <a:gs pos="0">
                <a:schemeClr val="accent1"/>
              </a:gs>
              <a:gs pos="94690">
                <a:schemeClr val="accent1">
                  <a:lumMod val="40000"/>
                  <a:lumOff val="60000"/>
                </a:schemeClr>
              </a:gs>
              <a:gs pos="56000">
                <a:schemeClr val="accent1">
                  <a:lumMod val="60000"/>
                  <a:lumOff val="40000"/>
                </a:schemeClr>
              </a:gs>
            </a:gsLst>
            <a:lin ang="5400000" scaled="1"/>
            <a:tileRect/>
          </a:gra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22222"/>
              </a:solidFill>
              <a:effectLst/>
              <a:uLnTx/>
              <a:uFillTx/>
              <a:latin typeface="Inter"/>
              <a:cs typeface="+mn-cs"/>
            </a:endParaRPr>
          </a:p>
        </p:txBody>
      </p:sp>
      <p:sp>
        <p:nvSpPr>
          <p:cNvPr id="9" name="Freeform 9">
            <a:extLst>
              <a:ext uri="{FF2B5EF4-FFF2-40B4-BE49-F238E27FC236}">
                <a16:creationId xmlns:a16="http://schemas.microsoft.com/office/drawing/2014/main" id="{0F5B5A4A-33A0-46A7-907C-671A310B48DC}"/>
              </a:ext>
            </a:extLst>
          </p:cNvPr>
          <p:cNvSpPr>
            <a:spLocks/>
          </p:cNvSpPr>
          <p:nvPr/>
        </p:nvSpPr>
        <p:spPr bwMode="auto">
          <a:xfrm>
            <a:off x="9303790" y="3335528"/>
            <a:ext cx="323850" cy="2432014"/>
          </a:xfrm>
          <a:custGeom>
            <a:avLst/>
            <a:gdLst>
              <a:gd name="T0" fmla="*/ 0 w 204"/>
              <a:gd name="T1" fmla="*/ 985 h 985"/>
              <a:gd name="T2" fmla="*/ 204 w 204"/>
              <a:gd name="T3" fmla="*/ 777 h 985"/>
              <a:gd name="T4" fmla="*/ 204 w 204"/>
              <a:gd name="T5" fmla="*/ 0 h 985"/>
              <a:gd name="T6" fmla="*/ 0 w 204"/>
              <a:gd name="T7" fmla="*/ 209 h 985"/>
              <a:gd name="T8" fmla="*/ 0 w 204"/>
              <a:gd name="T9" fmla="*/ 985 h 985"/>
            </a:gdLst>
            <a:ahLst/>
            <a:cxnLst>
              <a:cxn ang="0">
                <a:pos x="T0" y="T1"/>
              </a:cxn>
              <a:cxn ang="0">
                <a:pos x="T2" y="T3"/>
              </a:cxn>
              <a:cxn ang="0">
                <a:pos x="T4" y="T5"/>
              </a:cxn>
              <a:cxn ang="0">
                <a:pos x="T6" y="T7"/>
              </a:cxn>
              <a:cxn ang="0">
                <a:pos x="T8" y="T9"/>
              </a:cxn>
            </a:cxnLst>
            <a:rect l="0" t="0" r="r" b="b"/>
            <a:pathLst>
              <a:path w="204" h="985">
                <a:moveTo>
                  <a:pt x="0" y="985"/>
                </a:moveTo>
                <a:lnTo>
                  <a:pt x="204" y="777"/>
                </a:lnTo>
                <a:lnTo>
                  <a:pt x="204" y="0"/>
                </a:lnTo>
                <a:lnTo>
                  <a:pt x="0" y="209"/>
                </a:lnTo>
                <a:lnTo>
                  <a:pt x="0" y="985"/>
                </a:lnTo>
                <a:close/>
              </a:path>
            </a:pathLst>
          </a:custGeom>
          <a:gradFill flip="none" rotWithShape="1">
            <a:gsLst>
              <a:gs pos="0">
                <a:schemeClr val="accent1"/>
              </a:gs>
              <a:gs pos="92000">
                <a:schemeClr val="accent1">
                  <a:lumMod val="60000"/>
                  <a:lumOff val="40000"/>
                </a:schemeClr>
              </a:gs>
            </a:gsLst>
            <a:lin ang="13500000" scaled="1"/>
            <a:tileRect/>
          </a:gra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22222"/>
              </a:solidFill>
              <a:effectLst/>
              <a:uLnTx/>
              <a:uFillTx/>
              <a:latin typeface="Inter"/>
              <a:cs typeface="+mn-cs"/>
            </a:endParaRPr>
          </a:p>
        </p:txBody>
      </p:sp>
      <p:sp>
        <p:nvSpPr>
          <p:cNvPr id="10" name="Freeform 30">
            <a:extLst>
              <a:ext uri="{FF2B5EF4-FFF2-40B4-BE49-F238E27FC236}">
                <a16:creationId xmlns:a16="http://schemas.microsoft.com/office/drawing/2014/main" id="{B4CC1F80-6398-41A0-A68D-983AC11DD75C}"/>
              </a:ext>
            </a:extLst>
          </p:cNvPr>
          <p:cNvSpPr>
            <a:spLocks/>
          </p:cNvSpPr>
          <p:nvPr/>
        </p:nvSpPr>
        <p:spPr bwMode="auto">
          <a:xfrm>
            <a:off x="8438602" y="3851560"/>
            <a:ext cx="865188" cy="2343128"/>
          </a:xfrm>
          <a:custGeom>
            <a:avLst/>
            <a:gdLst>
              <a:gd name="T0" fmla="*/ 0 w 230"/>
              <a:gd name="T1" fmla="*/ 0 h 401"/>
              <a:gd name="T2" fmla="*/ 0 w 230"/>
              <a:gd name="T3" fmla="*/ 328 h 401"/>
              <a:gd name="T4" fmla="*/ 71 w 230"/>
              <a:gd name="T5" fmla="*/ 328 h 401"/>
              <a:gd name="T6" fmla="*/ 95 w 230"/>
              <a:gd name="T7" fmla="*/ 340 h 401"/>
              <a:gd name="T8" fmla="*/ 82 w 230"/>
              <a:gd name="T9" fmla="*/ 372 h 401"/>
              <a:gd name="T10" fmla="*/ 139 w 230"/>
              <a:gd name="T11" fmla="*/ 372 h 401"/>
              <a:gd name="T12" fmla="*/ 126 w 230"/>
              <a:gd name="T13" fmla="*/ 340 h 401"/>
              <a:gd name="T14" fmla="*/ 143 w 230"/>
              <a:gd name="T15" fmla="*/ 328 h 401"/>
              <a:gd name="T16" fmla="*/ 143 w 230"/>
              <a:gd name="T17" fmla="*/ 328 h 401"/>
              <a:gd name="T18" fmla="*/ 230 w 230"/>
              <a:gd name="T19" fmla="*/ 328 h 401"/>
              <a:gd name="T20" fmla="*/ 230 w 230"/>
              <a:gd name="T21" fmla="*/ 0 h 401"/>
              <a:gd name="T22" fmla="*/ 0 w 230"/>
              <a:gd name="T23" fmla="*/ 0 h 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0" h="401">
                <a:moveTo>
                  <a:pt x="0" y="0"/>
                </a:moveTo>
                <a:cubicBezTo>
                  <a:pt x="0" y="328"/>
                  <a:pt x="0" y="328"/>
                  <a:pt x="0" y="328"/>
                </a:cubicBezTo>
                <a:cubicBezTo>
                  <a:pt x="71" y="328"/>
                  <a:pt x="71" y="328"/>
                  <a:pt x="71" y="328"/>
                </a:cubicBezTo>
                <a:cubicBezTo>
                  <a:pt x="93" y="328"/>
                  <a:pt x="98" y="334"/>
                  <a:pt x="95" y="340"/>
                </a:cubicBezTo>
                <a:cubicBezTo>
                  <a:pt x="90" y="353"/>
                  <a:pt x="80" y="354"/>
                  <a:pt x="82" y="372"/>
                </a:cubicBezTo>
                <a:cubicBezTo>
                  <a:pt x="87" y="401"/>
                  <a:pt x="134" y="401"/>
                  <a:pt x="139" y="372"/>
                </a:cubicBezTo>
                <a:cubicBezTo>
                  <a:pt x="142" y="354"/>
                  <a:pt x="132" y="353"/>
                  <a:pt x="126" y="340"/>
                </a:cubicBezTo>
                <a:cubicBezTo>
                  <a:pt x="124" y="334"/>
                  <a:pt x="127" y="330"/>
                  <a:pt x="143" y="328"/>
                </a:cubicBezTo>
                <a:cubicBezTo>
                  <a:pt x="143" y="328"/>
                  <a:pt x="143" y="328"/>
                  <a:pt x="143" y="328"/>
                </a:cubicBezTo>
                <a:cubicBezTo>
                  <a:pt x="230" y="328"/>
                  <a:pt x="230" y="328"/>
                  <a:pt x="230" y="328"/>
                </a:cubicBezTo>
                <a:cubicBezTo>
                  <a:pt x="230" y="0"/>
                  <a:pt x="230" y="0"/>
                  <a:pt x="230" y="0"/>
                </a:cubicBezTo>
                <a:lnTo>
                  <a:pt x="0" y="0"/>
                </a:lnTo>
                <a:close/>
              </a:path>
            </a:pathLst>
          </a:custGeom>
          <a:gradFill flip="none" rotWithShape="1">
            <a:gsLst>
              <a:gs pos="24000">
                <a:schemeClr val="accent1"/>
              </a:gs>
              <a:gs pos="100000">
                <a:schemeClr val="accent1">
                  <a:lumMod val="60000"/>
                  <a:lumOff val="40000"/>
                </a:schemeClr>
              </a:gs>
            </a:gsLst>
            <a:lin ang="13500000" scaled="1"/>
            <a:tileRect/>
          </a:gra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22222"/>
              </a:solidFill>
              <a:effectLst/>
              <a:uLnTx/>
              <a:uFillTx/>
              <a:latin typeface="Inter"/>
              <a:cs typeface="+mn-cs"/>
            </a:endParaRPr>
          </a:p>
        </p:txBody>
      </p:sp>
      <p:sp>
        <p:nvSpPr>
          <p:cNvPr id="11" name="Freeform 15">
            <a:extLst>
              <a:ext uri="{FF2B5EF4-FFF2-40B4-BE49-F238E27FC236}">
                <a16:creationId xmlns:a16="http://schemas.microsoft.com/office/drawing/2014/main" id="{305CD6C6-F2B9-4994-B498-1DA5380D6A4D}"/>
              </a:ext>
            </a:extLst>
          </p:cNvPr>
          <p:cNvSpPr>
            <a:spLocks/>
          </p:cNvSpPr>
          <p:nvPr/>
        </p:nvSpPr>
        <p:spPr bwMode="auto">
          <a:xfrm>
            <a:off x="9574459" y="2318282"/>
            <a:ext cx="1189038" cy="520970"/>
          </a:xfrm>
          <a:custGeom>
            <a:avLst/>
            <a:gdLst>
              <a:gd name="T0" fmla="*/ 749 w 749"/>
              <a:gd name="T1" fmla="*/ 0 h 211"/>
              <a:gd name="T2" fmla="*/ 545 w 749"/>
              <a:gd name="T3" fmla="*/ 211 h 211"/>
              <a:gd name="T4" fmla="*/ 0 w 749"/>
              <a:gd name="T5" fmla="*/ 211 h 211"/>
              <a:gd name="T6" fmla="*/ 204 w 749"/>
              <a:gd name="T7" fmla="*/ 0 h 211"/>
              <a:gd name="T8" fmla="*/ 749 w 749"/>
              <a:gd name="T9" fmla="*/ 0 h 211"/>
            </a:gdLst>
            <a:ahLst/>
            <a:cxnLst>
              <a:cxn ang="0">
                <a:pos x="T0" y="T1"/>
              </a:cxn>
              <a:cxn ang="0">
                <a:pos x="T2" y="T3"/>
              </a:cxn>
              <a:cxn ang="0">
                <a:pos x="T4" y="T5"/>
              </a:cxn>
              <a:cxn ang="0">
                <a:pos x="T6" y="T7"/>
              </a:cxn>
              <a:cxn ang="0">
                <a:pos x="T8" y="T9"/>
              </a:cxn>
            </a:cxnLst>
            <a:rect l="0" t="0" r="r" b="b"/>
            <a:pathLst>
              <a:path w="749" h="211">
                <a:moveTo>
                  <a:pt x="749" y="0"/>
                </a:moveTo>
                <a:lnTo>
                  <a:pt x="545" y="211"/>
                </a:lnTo>
                <a:lnTo>
                  <a:pt x="0" y="211"/>
                </a:lnTo>
                <a:lnTo>
                  <a:pt x="204" y="0"/>
                </a:lnTo>
                <a:lnTo>
                  <a:pt x="749" y="0"/>
                </a:lnTo>
                <a:close/>
              </a:path>
            </a:pathLst>
          </a:custGeom>
          <a:gradFill flip="none" rotWithShape="1">
            <a:gsLst>
              <a:gs pos="0">
                <a:schemeClr val="accent1"/>
              </a:gs>
              <a:gs pos="94690">
                <a:schemeClr val="accent1">
                  <a:lumMod val="40000"/>
                  <a:lumOff val="60000"/>
                </a:schemeClr>
              </a:gs>
              <a:gs pos="56000">
                <a:schemeClr val="accent1">
                  <a:lumMod val="60000"/>
                  <a:lumOff val="40000"/>
                </a:schemeClr>
              </a:gs>
            </a:gsLst>
            <a:lin ang="5400000" scaled="1"/>
            <a:tileRect/>
          </a:gra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22222"/>
              </a:solidFill>
              <a:effectLst/>
              <a:uLnTx/>
              <a:uFillTx/>
              <a:latin typeface="Inter"/>
              <a:cs typeface="+mn-cs"/>
            </a:endParaRPr>
          </a:p>
        </p:txBody>
      </p:sp>
      <p:sp>
        <p:nvSpPr>
          <p:cNvPr id="12" name="Freeform 16">
            <a:extLst>
              <a:ext uri="{FF2B5EF4-FFF2-40B4-BE49-F238E27FC236}">
                <a16:creationId xmlns:a16="http://schemas.microsoft.com/office/drawing/2014/main" id="{BA08A6E3-0427-4582-9118-FDDC41531D70}"/>
              </a:ext>
            </a:extLst>
          </p:cNvPr>
          <p:cNvSpPr>
            <a:spLocks/>
          </p:cNvSpPr>
          <p:nvPr/>
        </p:nvSpPr>
        <p:spPr bwMode="auto">
          <a:xfrm>
            <a:off x="10439647" y="2318282"/>
            <a:ext cx="323850" cy="3449261"/>
          </a:xfrm>
          <a:custGeom>
            <a:avLst/>
            <a:gdLst>
              <a:gd name="T0" fmla="*/ 0 w 204"/>
              <a:gd name="T1" fmla="*/ 1397 h 1397"/>
              <a:gd name="T2" fmla="*/ 204 w 204"/>
              <a:gd name="T3" fmla="*/ 1188 h 1397"/>
              <a:gd name="T4" fmla="*/ 204 w 204"/>
              <a:gd name="T5" fmla="*/ 0 h 1397"/>
              <a:gd name="T6" fmla="*/ 0 w 204"/>
              <a:gd name="T7" fmla="*/ 211 h 1397"/>
              <a:gd name="T8" fmla="*/ 0 w 204"/>
              <a:gd name="T9" fmla="*/ 1397 h 1397"/>
            </a:gdLst>
            <a:ahLst/>
            <a:cxnLst>
              <a:cxn ang="0">
                <a:pos x="T0" y="T1"/>
              </a:cxn>
              <a:cxn ang="0">
                <a:pos x="T2" y="T3"/>
              </a:cxn>
              <a:cxn ang="0">
                <a:pos x="T4" y="T5"/>
              </a:cxn>
              <a:cxn ang="0">
                <a:pos x="T6" y="T7"/>
              </a:cxn>
              <a:cxn ang="0">
                <a:pos x="T8" y="T9"/>
              </a:cxn>
            </a:cxnLst>
            <a:rect l="0" t="0" r="r" b="b"/>
            <a:pathLst>
              <a:path w="204" h="1397">
                <a:moveTo>
                  <a:pt x="0" y="1397"/>
                </a:moveTo>
                <a:lnTo>
                  <a:pt x="204" y="1188"/>
                </a:lnTo>
                <a:lnTo>
                  <a:pt x="204" y="0"/>
                </a:lnTo>
                <a:lnTo>
                  <a:pt x="0" y="211"/>
                </a:lnTo>
                <a:lnTo>
                  <a:pt x="0" y="1397"/>
                </a:lnTo>
                <a:close/>
              </a:path>
            </a:pathLst>
          </a:custGeom>
          <a:gradFill flip="none" rotWithShape="1">
            <a:gsLst>
              <a:gs pos="0">
                <a:schemeClr val="accent1"/>
              </a:gs>
              <a:gs pos="92000">
                <a:schemeClr val="accent1">
                  <a:lumMod val="60000"/>
                  <a:lumOff val="40000"/>
                </a:schemeClr>
              </a:gs>
            </a:gsLst>
            <a:lin ang="13500000" scaled="1"/>
            <a:tileRect/>
          </a:gra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22222"/>
              </a:solidFill>
              <a:effectLst/>
              <a:uLnTx/>
              <a:uFillTx/>
              <a:latin typeface="Inter"/>
              <a:cs typeface="+mn-cs"/>
            </a:endParaRPr>
          </a:p>
        </p:txBody>
      </p:sp>
      <p:sp>
        <p:nvSpPr>
          <p:cNvPr id="13" name="Freeform 32">
            <a:extLst>
              <a:ext uri="{FF2B5EF4-FFF2-40B4-BE49-F238E27FC236}">
                <a16:creationId xmlns:a16="http://schemas.microsoft.com/office/drawing/2014/main" id="{3182608B-41AE-41D9-B304-318E8C46EEEE}"/>
              </a:ext>
            </a:extLst>
          </p:cNvPr>
          <p:cNvSpPr>
            <a:spLocks/>
          </p:cNvSpPr>
          <p:nvPr/>
        </p:nvSpPr>
        <p:spPr bwMode="auto">
          <a:xfrm>
            <a:off x="9574459" y="2839250"/>
            <a:ext cx="865188" cy="3355438"/>
          </a:xfrm>
          <a:custGeom>
            <a:avLst/>
            <a:gdLst>
              <a:gd name="T0" fmla="*/ 144 w 230"/>
              <a:gd name="T1" fmla="*/ 501 h 574"/>
              <a:gd name="T2" fmla="*/ 230 w 230"/>
              <a:gd name="T3" fmla="*/ 501 h 574"/>
              <a:gd name="T4" fmla="*/ 230 w 230"/>
              <a:gd name="T5" fmla="*/ 0 h 574"/>
              <a:gd name="T6" fmla="*/ 0 w 230"/>
              <a:gd name="T7" fmla="*/ 0 h 574"/>
              <a:gd name="T8" fmla="*/ 0 w 230"/>
              <a:gd name="T9" fmla="*/ 501 h 574"/>
              <a:gd name="T10" fmla="*/ 81 w 230"/>
              <a:gd name="T11" fmla="*/ 501 h 574"/>
              <a:gd name="T12" fmla="*/ 97 w 230"/>
              <a:gd name="T13" fmla="*/ 513 h 574"/>
              <a:gd name="T14" fmla="*/ 84 w 230"/>
              <a:gd name="T15" fmla="*/ 544 h 574"/>
              <a:gd name="T16" fmla="*/ 141 w 230"/>
              <a:gd name="T17" fmla="*/ 544 h 574"/>
              <a:gd name="T18" fmla="*/ 128 w 230"/>
              <a:gd name="T19" fmla="*/ 513 h 574"/>
              <a:gd name="T20" fmla="*/ 144 w 230"/>
              <a:gd name="T21" fmla="*/ 501 h 5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0" h="574">
                <a:moveTo>
                  <a:pt x="144" y="501"/>
                </a:moveTo>
                <a:cubicBezTo>
                  <a:pt x="230" y="501"/>
                  <a:pt x="230" y="501"/>
                  <a:pt x="230" y="501"/>
                </a:cubicBezTo>
                <a:cubicBezTo>
                  <a:pt x="230" y="0"/>
                  <a:pt x="230" y="0"/>
                  <a:pt x="230" y="0"/>
                </a:cubicBezTo>
                <a:cubicBezTo>
                  <a:pt x="0" y="0"/>
                  <a:pt x="0" y="0"/>
                  <a:pt x="0" y="0"/>
                </a:cubicBezTo>
                <a:cubicBezTo>
                  <a:pt x="0" y="501"/>
                  <a:pt x="0" y="501"/>
                  <a:pt x="0" y="501"/>
                </a:cubicBezTo>
                <a:cubicBezTo>
                  <a:pt x="81" y="501"/>
                  <a:pt x="81" y="501"/>
                  <a:pt x="81" y="501"/>
                </a:cubicBezTo>
                <a:cubicBezTo>
                  <a:pt x="96" y="502"/>
                  <a:pt x="100" y="507"/>
                  <a:pt x="97" y="513"/>
                </a:cubicBezTo>
                <a:cubicBezTo>
                  <a:pt x="91" y="525"/>
                  <a:pt x="81" y="527"/>
                  <a:pt x="84" y="544"/>
                </a:cubicBezTo>
                <a:cubicBezTo>
                  <a:pt x="89" y="574"/>
                  <a:pt x="136" y="574"/>
                  <a:pt x="141" y="544"/>
                </a:cubicBezTo>
                <a:cubicBezTo>
                  <a:pt x="143" y="527"/>
                  <a:pt x="133" y="525"/>
                  <a:pt x="128" y="513"/>
                </a:cubicBezTo>
                <a:cubicBezTo>
                  <a:pt x="125" y="507"/>
                  <a:pt x="129" y="502"/>
                  <a:pt x="144" y="501"/>
                </a:cubicBezTo>
                <a:close/>
              </a:path>
            </a:pathLst>
          </a:custGeom>
          <a:gradFill flip="none" rotWithShape="1">
            <a:gsLst>
              <a:gs pos="24000">
                <a:schemeClr val="accent1"/>
              </a:gs>
              <a:gs pos="100000">
                <a:schemeClr val="accent1">
                  <a:lumMod val="60000"/>
                  <a:lumOff val="40000"/>
                </a:schemeClr>
              </a:gs>
            </a:gsLst>
            <a:lin ang="13500000" scaled="1"/>
            <a:tileRect/>
          </a:gra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222222"/>
              </a:solidFill>
              <a:effectLst/>
              <a:uLnTx/>
              <a:uFillTx/>
              <a:latin typeface="Inter"/>
              <a:cs typeface="+mn-cs"/>
            </a:endParaRPr>
          </a:p>
        </p:txBody>
      </p:sp>
      <p:sp>
        <p:nvSpPr>
          <p:cNvPr id="14" name="TextBox 18">
            <a:extLst>
              <a:ext uri="{FF2B5EF4-FFF2-40B4-BE49-F238E27FC236}">
                <a16:creationId xmlns:a16="http://schemas.microsoft.com/office/drawing/2014/main" id="{BB0C11F7-A69E-4E6D-91FA-4E4F97ABDC5F}"/>
              </a:ext>
            </a:extLst>
          </p:cNvPr>
          <p:cNvSpPr txBox="1"/>
          <p:nvPr/>
        </p:nvSpPr>
        <p:spPr>
          <a:xfrm>
            <a:off x="1076652" y="2412104"/>
            <a:ext cx="2235134"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d-ID" sz="1400" b="0" i="0" u="none" strike="noStrike" kern="1200" cap="none" spc="0" normalizeH="0" baseline="0" noProof="0" dirty="0">
                <a:ln>
                  <a:noFill/>
                </a:ln>
                <a:solidFill>
                  <a:prstClr val="black">
                    <a:lumMod val="75000"/>
                    <a:lumOff val="25000"/>
                  </a:prstClr>
                </a:solidFill>
                <a:effectLst/>
                <a:uLnTx/>
                <a:uFillTx/>
                <a:latin typeface="HarmonyOS Sans SC Black"/>
                <a:ea typeface="+mj-ea"/>
                <a:cs typeface="Segoe UI" panose="020B0502040204020203" pitchFamily="34" charset="0"/>
              </a:rPr>
              <a:t>Creative Here</a:t>
            </a:r>
            <a:endParaRPr kumimoji="0" lang="en-US" sz="1400" b="0" i="0" u="none" strike="noStrike" kern="1200" cap="none" spc="0" normalizeH="0" baseline="0" noProof="0" dirty="0">
              <a:ln>
                <a:noFill/>
              </a:ln>
              <a:solidFill>
                <a:prstClr val="black">
                  <a:lumMod val="75000"/>
                  <a:lumOff val="25000"/>
                </a:prstClr>
              </a:solidFill>
              <a:effectLst/>
              <a:uLnTx/>
              <a:uFillTx/>
              <a:latin typeface="HarmonyOS Sans SC Black"/>
              <a:ea typeface="+mj-ea"/>
              <a:cs typeface="Segoe UI" panose="020B0502040204020203" pitchFamily="34" charset="0"/>
            </a:endParaRPr>
          </a:p>
        </p:txBody>
      </p:sp>
      <p:sp>
        <p:nvSpPr>
          <p:cNvPr id="15" name="TextBox 19">
            <a:extLst>
              <a:ext uri="{FF2B5EF4-FFF2-40B4-BE49-F238E27FC236}">
                <a16:creationId xmlns:a16="http://schemas.microsoft.com/office/drawing/2014/main" id="{82C6CEBB-F821-436C-BB02-025E3ED207DE}"/>
              </a:ext>
            </a:extLst>
          </p:cNvPr>
          <p:cNvSpPr txBox="1"/>
          <p:nvPr/>
        </p:nvSpPr>
        <p:spPr>
          <a:xfrm>
            <a:off x="3784302" y="2415533"/>
            <a:ext cx="1333489"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d-ID" sz="1600" b="0" i="0" u="none" strike="noStrike" kern="1200" cap="none" spc="0" normalizeH="0" baseline="0" noProof="0" dirty="0">
                <a:ln>
                  <a:noFill/>
                </a:ln>
                <a:solidFill>
                  <a:schemeClr val="accent1"/>
                </a:solidFill>
                <a:effectLst/>
                <a:uLnTx/>
                <a:uFillTx/>
                <a:latin typeface="HarmonyOS Sans SC Black"/>
                <a:ea typeface="+mj-ea"/>
                <a:cs typeface="Segoe UI" panose="020B0502040204020203" pitchFamily="34" charset="0"/>
              </a:rPr>
              <a:t>12</a:t>
            </a:r>
            <a:r>
              <a:rPr kumimoji="0" lang="en-US" sz="1600" b="0" i="0" u="none" strike="noStrike" kern="1200" cap="none" spc="0" normalizeH="0" baseline="0" noProof="0" dirty="0">
                <a:ln>
                  <a:noFill/>
                </a:ln>
                <a:solidFill>
                  <a:schemeClr val="accent1"/>
                </a:solidFill>
                <a:effectLst/>
                <a:uLnTx/>
                <a:uFillTx/>
                <a:latin typeface="HarmonyOS Sans SC Black"/>
                <a:ea typeface="+mj-ea"/>
                <a:cs typeface="Segoe UI" panose="020B0502040204020203" pitchFamily="34" charset="0"/>
              </a:rPr>
              <a:t>%</a:t>
            </a:r>
          </a:p>
        </p:txBody>
      </p:sp>
      <p:sp>
        <p:nvSpPr>
          <p:cNvPr id="17" name="Freeform 24">
            <a:extLst>
              <a:ext uri="{FF2B5EF4-FFF2-40B4-BE49-F238E27FC236}">
                <a16:creationId xmlns:a16="http://schemas.microsoft.com/office/drawing/2014/main" id="{A976FBAF-ECE1-43D3-8EC1-71844210583C}"/>
              </a:ext>
            </a:extLst>
          </p:cNvPr>
          <p:cNvSpPr/>
          <p:nvPr/>
        </p:nvSpPr>
        <p:spPr>
          <a:xfrm>
            <a:off x="1134129" y="2849848"/>
            <a:ext cx="3744133" cy="79762"/>
          </a:xfrm>
          <a:custGeom>
            <a:avLst/>
            <a:gdLst>
              <a:gd name="connsiteX0" fmla="*/ 46897 w 4402807"/>
              <a:gd name="connsiteY0" fmla="*/ 0 h 93794"/>
              <a:gd name="connsiteX1" fmla="*/ 4352197 w 4402807"/>
              <a:gd name="connsiteY1" fmla="*/ 0 h 93794"/>
              <a:gd name="connsiteX2" fmla="*/ 4352197 w 4402807"/>
              <a:gd name="connsiteY2" fmla="*/ 750 h 93794"/>
              <a:gd name="connsiteX3" fmla="*/ 4355910 w 4402807"/>
              <a:gd name="connsiteY3" fmla="*/ 0 h 93794"/>
              <a:gd name="connsiteX4" fmla="*/ 4402807 w 4402807"/>
              <a:gd name="connsiteY4" fmla="*/ 46897 h 93794"/>
              <a:gd name="connsiteX5" fmla="*/ 4355910 w 4402807"/>
              <a:gd name="connsiteY5" fmla="*/ 93794 h 93794"/>
              <a:gd name="connsiteX6" fmla="*/ 4352197 w 4402807"/>
              <a:gd name="connsiteY6" fmla="*/ 93045 h 93794"/>
              <a:gd name="connsiteX7" fmla="*/ 4352197 w 4402807"/>
              <a:gd name="connsiteY7" fmla="*/ 93793 h 93794"/>
              <a:gd name="connsiteX8" fmla="*/ 46902 w 4402807"/>
              <a:gd name="connsiteY8" fmla="*/ 93793 h 93794"/>
              <a:gd name="connsiteX9" fmla="*/ 46897 w 4402807"/>
              <a:gd name="connsiteY9" fmla="*/ 93794 h 93794"/>
              <a:gd name="connsiteX10" fmla="*/ 0 w 4402807"/>
              <a:gd name="connsiteY10" fmla="*/ 46897 h 93794"/>
              <a:gd name="connsiteX11" fmla="*/ 46897 w 4402807"/>
              <a:gd name="connsiteY11" fmla="*/ 0 h 937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402807" h="93794">
                <a:moveTo>
                  <a:pt x="46897" y="0"/>
                </a:moveTo>
                <a:lnTo>
                  <a:pt x="4352197" y="0"/>
                </a:lnTo>
                <a:lnTo>
                  <a:pt x="4352197" y="750"/>
                </a:lnTo>
                <a:lnTo>
                  <a:pt x="4355910" y="0"/>
                </a:lnTo>
                <a:cubicBezTo>
                  <a:pt x="4381810" y="0"/>
                  <a:pt x="4402807" y="20997"/>
                  <a:pt x="4402807" y="46897"/>
                </a:cubicBezTo>
                <a:cubicBezTo>
                  <a:pt x="4402807" y="72797"/>
                  <a:pt x="4381810" y="93794"/>
                  <a:pt x="4355910" y="93794"/>
                </a:cubicBezTo>
                <a:lnTo>
                  <a:pt x="4352197" y="93045"/>
                </a:lnTo>
                <a:lnTo>
                  <a:pt x="4352197" y="93793"/>
                </a:lnTo>
                <a:lnTo>
                  <a:pt x="46902" y="93793"/>
                </a:lnTo>
                <a:lnTo>
                  <a:pt x="46897" y="93794"/>
                </a:lnTo>
                <a:cubicBezTo>
                  <a:pt x="20997" y="93794"/>
                  <a:pt x="0" y="72797"/>
                  <a:pt x="0" y="46897"/>
                </a:cubicBezTo>
                <a:cubicBezTo>
                  <a:pt x="0" y="20997"/>
                  <a:pt x="20997" y="0"/>
                  <a:pt x="46897" y="0"/>
                </a:cubicBezTo>
                <a:close/>
              </a:path>
            </a:pathLst>
          </a:custGeom>
          <a:solidFill>
            <a:schemeClr val="accent1">
              <a:lumMod val="20000"/>
              <a:lumOff val="80000"/>
              <a:alpha val="3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E7E6E6">
                  <a:lumMod val="25000"/>
                </a:srgbClr>
              </a:solidFill>
              <a:effectLst/>
              <a:uLnTx/>
              <a:uFillTx/>
              <a:latin typeface="HarmonyOS Sans SC"/>
              <a:cs typeface="Segoe UI" panose="020B0502040204020203" pitchFamily="34" charset="0"/>
            </a:endParaRPr>
          </a:p>
        </p:txBody>
      </p:sp>
      <p:sp>
        <p:nvSpPr>
          <p:cNvPr id="18" name="Freeform 25">
            <a:extLst>
              <a:ext uri="{FF2B5EF4-FFF2-40B4-BE49-F238E27FC236}">
                <a16:creationId xmlns:a16="http://schemas.microsoft.com/office/drawing/2014/main" id="{C6F43651-1E9F-4C75-8E4D-7F493A6EE73A}"/>
              </a:ext>
            </a:extLst>
          </p:cNvPr>
          <p:cNvSpPr/>
          <p:nvPr/>
        </p:nvSpPr>
        <p:spPr>
          <a:xfrm>
            <a:off x="1134129" y="2849847"/>
            <a:ext cx="2129645" cy="79743"/>
          </a:xfrm>
          <a:custGeom>
            <a:avLst/>
            <a:gdLst>
              <a:gd name="connsiteX0" fmla="*/ 46897 w 3116395"/>
              <a:gd name="connsiteY0" fmla="*/ 0 h 93794"/>
              <a:gd name="connsiteX1" fmla="*/ 3069497 w 3116395"/>
              <a:gd name="connsiteY1" fmla="*/ 0 h 93794"/>
              <a:gd name="connsiteX2" fmla="*/ 3069498 w 3116395"/>
              <a:gd name="connsiteY2" fmla="*/ 0 h 93794"/>
              <a:gd name="connsiteX3" fmla="*/ 3116395 w 3116395"/>
              <a:gd name="connsiteY3" fmla="*/ 46897 h 93794"/>
              <a:gd name="connsiteX4" fmla="*/ 3069498 w 3116395"/>
              <a:gd name="connsiteY4" fmla="*/ 93794 h 93794"/>
              <a:gd name="connsiteX5" fmla="*/ 3069493 w 3116395"/>
              <a:gd name="connsiteY5" fmla="*/ 93793 h 93794"/>
              <a:gd name="connsiteX6" fmla="*/ 46902 w 3116395"/>
              <a:gd name="connsiteY6" fmla="*/ 93793 h 93794"/>
              <a:gd name="connsiteX7" fmla="*/ 46897 w 3116395"/>
              <a:gd name="connsiteY7" fmla="*/ 93794 h 93794"/>
              <a:gd name="connsiteX8" fmla="*/ 0 w 3116395"/>
              <a:gd name="connsiteY8" fmla="*/ 46897 h 93794"/>
              <a:gd name="connsiteX9" fmla="*/ 46897 w 3116395"/>
              <a:gd name="connsiteY9" fmla="*/ 0 h 937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16395" h="93794">
                <a:moveTo>
                  <a:pt x="46897" y="0"/>
                </a:moveTo>
                <a:lnTo>
                  <a:pt x="3069497" y="0"/>
                </a:lnTo>
                <a:lnTo>
                  <a:pt x="3069498" y="0"/>
                </a:lnTo>
                <a:cubicBezTo>
                  <a:pt x="3095398" y="0"/>
                  <a:pt x="3116395" y="20997"/>
                  <a:pt x="3116395" y="46897"/>
                </a:cubicBezTo>
                <a:cubicBezTo>
                  <a:pt x="3116395" y="72797"/>
                  <a:pt x="3095398" y="93794"/>
                  <a:pt x="3069498" y="93794"/>
                </a:cubicBezTo>
                <a:lnTo>
                  <a:pt x="3069493" y="93793"/>
                </a:lnTo>
                <a:lnTo>
                  <a:pt x="46902" y="93793"/>
                </a:lnTo>
                <a:lnTo>
                  <a:pt x="46897" y="93794"/>
                </a:lnTo>
                <a:cubicBezTo>
                  <a:pt x="20997" y="93794"/>
                  <a:pt x="0" y="72797"/>
                  <a:pt x="0" y="46897"/>
                </a:cubicBezTo>
                <a:cubicBezTo>
                  <a:pt x="0" y="20997"/>
                  <a:pt x="20997" y="0"/>
                  <a:pt x="46897" y="0"/>
                </a:cubicBezTo>
                <a:close/>
              </a:path>
            </a:pathLst>
          </a:custGeom>
          <a:gradFill>
            <a:gsLst>
              <a:gs pos="73000">
                <a:schemeClr val="accent1"/>
              </a:gs>
              <a:gs pos="31000">
                <a:schemeClr val="accent1">
                  <a:lumMod val="60000"/>
                  <a:lumOff val="40000"/>
                </a:schemeClr>
              </a:gs>
              <a:gs pos="0">
                <a:schemeClr val="accent1">
                  <a:lumMod val="40000"/>
                  <a:lumOff val="60000"/>
                </a:schemeClr>
              </a:gs>
            </a:gsLst>
            <a:path path="circle">
              <a:fillToRect r="100000" b="10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E7E6E6">
                  <a:lumMod val="25000"/>
                </a:srgbClr>
              </a:solidFill>
              <a:effectLst/>
              <a:uLnTx/>
              <a:uFillTx/>
              <a:latin typeface="HarmonyOS Sans SC"/>
              <a:cs typeface="Segoe UI" panose="020B0502040204020203" pitchFamily="34" charset="0"/>
            </a:endParaRPr>
          </a:p>
        </p:txBody>
      </p:sp>
      <p:sp>
        <p:nvSpPr>
          <p:cNvPr id="19" name="TextBox 23">
            <a:extLst>
              <a:ext uri="{FF2B5EF4-FFF2-40B4-BE49-F238E27FC236}">
                <a16:creationId xmlns:a16="http://schemas.microsoft.com/office/drawing/2014/main" id="{2D65628F-651C-4461-82C0-277BD52042B6}"/>
              </a:ext>
            </a:extLst>
          </p:cNvPr>
          <p:cNvSpPr txBox="1"/>
          <p:nvPr/>
        </p:nvSpPr>
        <p:spPr>
          <a:xfrm>
            <a:off x="1076652" y="3312649"/>
            <a:ext cx="2235134"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d-ID" sz="1400" b="0" i="0" u="none" strike="noStrike" kern="1200" cap="none" spc="0" normalizeH="0" baseline="0" noProof="0" dirty="0">
                <a:ln>
                  <a:noFill/>
                </a:ln>
                <a:solidFill>
                  <a:prstClr val="black">
                    <a:lumMod val="75000"/>
                    <a:lumOff val="25000"/>
                  </a:prstClr>
                </a:solidFill>
                <a:effectLst/>
                <a:uLnTx/>
                <a:uFillTx/>
                <a:latin typeface="HarmonyOS Sans SC Black"/>
                <a:ea typeface="+mj-ea"/>
                <a:cs typeface="Segoe UI" panose="020B0502040204020203" pitchFamily="34" charset="0"/>
              </a:rPr>
              <a:t>Creative Here</a:t>
            </a:r>
            <a:endParaRPr kumimoji="0" lang="en-US" sz="1400" b="0" i="0" u="none" strike="noStrike" kern="1200" cap="none" spc="0" normalizeH="0" baseline="0" noProof="0" dirty="0">
              <a:ln>
                <a:noFill/>
              </a:ln>
              <a:solidFill>
                <a:prstClr val="black">
                  <a:lumMod val="75000"/>
                  <a:lumOff val="25000"/>
                </a:prstClr>
              </a:solidFill>
              <a:effectLst/>
              <a:uLnTx/>
              <a:uFillTx/>
              <a:latin typeface="HarmonyOS Sans SC Black"/>
              <a:ea typeface="+mj-ea"/>
              <a:cs typeface="Segoe UI" panose="020B0502040204020203" pitchFamily="34" charset="0"/>
            </a:endParaRPr>
          </a:p>
        </p:txBody>
      </p:sp>
      <p:sp>
        <p:nvSpPr>
          <p:cNvPr id="20" name="TextBox 24">
            <a:extLst>
              <a:ext uri="{FF2B5EF4-FFF2-40B4-BE49-F238E27FC236}">
                <a16:creationId xmlns:a16="http://schemas.microsoft.com/office/drawing/2014/main" id="{EFB69524-F697-4496-9AF6-18682FF5656D}"/>
              </a:ext>
            </a:extLst>
          </p:cNvPr>
          <p:cNvSpPr txBox="1"/>
          <p:nvPr/>
        </p:nvSpPr>
        <p:spPr>
          <a:xfrm>
            <a:off x="3784302" y="3316078"/>
            <a:ext cx="1333489"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d-ID" sz="1600" b="0" i="0" u="none" strike="noStrike" kern="1200" cap="none" spc="0" normalizeH="0" baseline="0" noProof="0" dirty="0">
                <a:ln>
                  <a:noFill/>
                </a:ln>
                <a:solidFill>
                  <a:schemeClr val="accent1"/>
                </a:solidFill>
                <a:effectLst/>
                <a:uLnTx/>
                <a:uFillTx/>
                <a:latin typeface="HarmonyOS Sans SC Black"/>
                <a:ea typeface="+mj-ea"/>
                <a:cs typeface="Segoe UI" panose="020B0502040204020203" pitchFamily="34" charset="0"/>
              </a:rPr>
              <a:t>12</a:t>
            </a:r>
            <a:r>
              <a:rPr kumimoji="0" lang="en-US" sz="1600" b="0" i="0" u="none" strike="noStrike" kern="1200" cap="none" spc="0" normalizeH="0" baseline="0" noProof="0" dirty="0">
                <a:ln>
                  <a:noFill/>
                </a:ln>
                <a:solidFill>
                  <a:schemeClr val="accent1"/>
                </a:solidFill>
                <a:effectLst/>
                <a:uLnTx/>
                <a:uFillTx/>
                <a:latin typeface="HarmonyOS Sans SC Black"/>
                <a:ea typeface="+mj-ea"/>
                <a:cs typeface="Segoe UI" panose="020B0502040204020203" pitchFamily="34" charset="0"/>
              </a:rPr>
              <a:t>%</a:t>
            </a:r>
          </a:p>
        </p:txBody>
      </p:sp>
      <p:sp>
        <p:nvSpPr>
          <p:cNvPr id="22" name="Freeform 24">
            <a:extLst>
              <a:ext uri="{FF2B5EF4-FFF2-40B4-BE49-F238E27FC236}">
                <a16:creationId xmlns:a16="http://schemas.microsoft.com/office/drawing/2014/main" id="{DD8A9865-CD5E-4670-A9CA-122C43AB49B0}"/>
              </a:ext>
            </a:extLst>
          </p:cNvPr>
          <p:cNvSpPr/>
          <p:nvPr/>
        </p:nvSpPr>
        <p:spPr>
          <a:xfrm>
            <a:off x="1134129" y="3750393"/>
            <a:ext cx="3744133" cy="79762"/>
          </a:xfrm>
          <a:custGeom>
            <a:avLst/>
            <a:gdLst>
              <a:gd name="connsiteX0" fmla="*/ 46897 w 4402807"/>
              <a:gd name="connsiteY0" fmla="*/ 0 h 93794"/>
              <a:gd name="connsiteX1" fmla="*/ 4352197 w 4402807"/>
              <a:gd name="connsiteY1" fmla="*/ 0 h 93794"/>
              <a:gd name="connsiteX2" fmla="*/ 4352197 w 4402807"/>
              <a:gd name="connsiteY2" fmla="*/ 750 h 93794"/>
              <a:gd name="connsiteX3" fmla="*/ 4355910 w 4402807"/>
              <a:gd name="connsiteY3" fmla="*/ 0 h 93794"/>
              <a:gd name="connsiteX4" fmla="*/ 4402807 w 4402807"/>
              <a:gd name="connsiteY4" fmla="*/ 46897 h 93794"/>
              <a:gd name="connsiteX5" fmla="*/ 4355910 w 4402807"/>
              <a:gd name="connsiteY5" fmla="*/ 93794 h 93794"/>
              <a:gd name="connsiteX6" fmla="*/ 4352197 w 4402807"/>
              <a:gd name="connsiteY6" fmla="*/ 93045 h 93794"/>
              <a:gd name="connsiteX7" fmla="*/ 4352197 w 4402807"/>
              <a:gd name="connsiteY7" fmla="*/ 93793 h 93794"/>
              <a:gd name="connsiteX8" fmla="*/ 46902 w 4402807"/>
              <a:gd name="connsiteY8" fmla="*/ 93793 h 93794"/>
              <a:gd name="connsiteX9" fmla="*/ 46897 w 4402807"/>
              <a:gd name="connsiteY9" fmla="*/ 93794 h 93794"/>
              <a:gd name="connsiteX10" fmla="*/ 0 w 4402807"/>
              <a:gd name="connsiteY10" fmla="*/ 46897 h 93794"/>
              <a:gd name="connsiteX11" fmla="*/ 46897 w 4402807"/>
              <a:gd name="connsiteY11" fmla="*/ 0 h 937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402807" h="93794">
                <a:moveTo>
                  <a:pt x="46897" y="0"/>
                </a:moveTo>
                <a:lnTo>
                  <a:pt x="4352197" y="0"/>
                </a:lnTo>
                <a:lnTo>
                  <a:pt x="4352197" y="750"/>
                </a:lnTo>
                <a:lnTo>
                  <a:pt x="4355910" y="0"/>
                </a:lnTo>
                <a:cubicBezTo>
                  <a:pt x="4381810" y="0"/>
                  <a:pt x="4402807" y="20997"/>
                  <a:pt x="4402807" y="46897"/>
                </a:cubicBezTo>
                <a:cubicBezTo>
                  <a:pt x="4402807" y="72797"/>
                  <a:pt x="4381810" y="93794"/>
                  <a:pt x="4355910" y="93794"/>
                </a:cubicBezTo>
                <a:lnTo>
                  <a:pt x="4352197" y="93045"/>
                </a:lnTo>
                <a:lnTo>
                  <a:pt x="4352197" y="93793"/>
                </a:lnTo>
                <a:lnTo>
                  <a:pt x="46902" y="93793"/>
                </a:lnTo>
                <a:lnTo>
                  <a:pt x="46897" y="93794"/>
                </a:lnTo>
                <a:cubicBezTo>
                  <a:pt x="20997" y="93794"/>
                  <a:pt x="0" y="72797"/>
                  <a:pt x="0" y="46897"/>
                </a:cubicBezTo>
                <a:cubicBezTo>
                  <a:pt x="0" y="20997"/>
                  <a:pt x="20997" y="0"/>
                  <a:pt x="46897" y="0"/>
                </a:cubicBezTo>
                <a:close/>
              </a:path>
            </a:pathLst>
          </a:custGeom>
          <a:solidFill>
            <a:schemeClr val="accent1">
              <a:lumMod val="20000"/>
              <a:lumOff val="80000"/>
              <a:alpha val="3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E7E6E6">
                  <a:lumMod val="25000"/>
                </a:srgbClr>
              </a:solidFill>
              <a:effectLst/>
              <a:uLnTx/>
              <a:uFillTx/>
              <a:latin typeface="HarmonyOS Sans SC"/>
              <a:cs typeface="Segoe UI" panose="020B0502040204020203" pitchFamily="34" charset="0"/>
            </a:endParaRPr>
          </a:p>
        </p:txBody>
      </p:sp>
      <p:sp>
        <p:nvSpPr>
          <p:cNvPr id="23" name="Freeform 25">
            <a:extLst>
              <a:ext uri="{FF2B5EF4-FFF2-40B4-BE49-F238E27FC236}">
                <a16:creationId xmlns:a16="http://schemas.microsoft.com/office/drawing/2014/main" id="{D4F9867F-C017-4AC7-A2A3-EC64CA522C69}"/>
              </a:ext>
            </a:extLst>
          </p:cNvPr>
          <p:cNvSpPr/>
          <p:nvPr/>
        </p:nvSpPr>
        <p:spPr>
          <a:xfrm>
            <a:off x="1134129" y="3750392"/>
            <a:ext cx="2129645" cy="79743"/>
          </a:xfrm>
          <a:custGeom>
            <a:avLst/>
            <a:gdLst>
              <a:gd name="connsiteX0" fmla="*/ 46897 w 3116395"/>
              <a:gd name="connsiteY0" fmla="*/ 0 h 93794"/>
              <a:gd name="connsiteX1" fmla="*/ 3069497 w 3116395"/>
              <a:gd name="connsiteY1" fmla="*/ 0 h 93794"/>
              <a:gd name="connsiteX2" fmla="*/ 3069498 w 3116395"/>
              <a:gd name="connsiteY2" fmla="*/ 0 h 93794"/>
              <a:gd name="connsiteX3" fmla="*/ 3116395 w 3116395"/>
              <a:gd name="connsiteY3" fmla="*/ 46897 h 93794"/>
              <a:gd name="connsiteX4" fmla="*/ 3069498 w 3116395"/>
              <a:gd name="connsiteY4" fmla="*/ 93794 h 93794"/>
              <a:gd name="connsiteX5" fmla="*/ 3069493 w 3116395"/>
              <a:gd name="connsiteY5" fmla="*/ 93793 h 93794"/>
              <a:gd name="connsiteX6" fmla="*/ 46902 w 3116395"/>
              <a:gd name="connsiteY6" fmla="*/ 93793 h 93794"/>
              <a:gd name="connsiteX7" fmla="*/ 46897 w 3116395"/>
              <a:gd name="connsiteY7" fmla="*/ 93794 h 93794"/>
              <a:gd name="connsiteX8" fmla="*/ 0 w 3116395"/>
              <a:gd name="connsiteY8" fmla="*/ 46897 h 93794"/>
              <a:gd name="connsiteX9" fmla="*/ 46897 w 3116395"/>
              <a:gd name="connsiteY9" fmla="*/ 0 h 937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16395" h="93794">
                <a:moveTo>
                  <a:pt x="46897" y="0"/>
                </a:moveTo>
                <a:lnTo>
                  <a:pt x="3069497" y="0"/>
                </a:lnTo>
                <a:lnTo>
                  <a:pt x="3069498" y="0"/>
                </a:lnTo>
                <a:cubicBezTo>
                  <a:pt x="3095398" y="0"/>
                  <a:pt x="3116395" y="20997"/>
                  <a:pt x="3116395" y="46897"/>
                </a:cubicBezTo>
                <a:cubicBezTo>
                  <a:pt x="3116395" y="72797"/>
                  <a:pt x="3095398" y="93794"/>
                  <a:pt x="3069498" y="93794"/>
                </a:cubicBezTo>
                <a:lnTo>
                  <a:pt x="3069493" y="93793"/>
                </a:lnTo>
                <a:lnTo>
                  <a:pt x="46902" y="93793"/>
                </a:lnTo>
                <a:lnTo>
                  <a:pt x="46897" y="93794"/>
                </a:lnTo>
                <a:cubicBezTo>
                  <a:pt x="20997" y="93794"/>
                  <a:pt x="0" y="72797"/>
                  <a:pt x="0" y="46897"/>
                </a:cubicBezTo>
                <a:cubicBezTo>
                  <a:pt x="0" y="20997"/>
                  <a:pt x="20997" y="0"/>
                  <a:pt x="46897" y="0"/>
                </a:cubicBezTo>
                <a:close/>
              </a:path>
            </a:pathLst>
          </a:custGeom>
          <a:gradFill>
            <a:gsLst>
              <a:gs pos="73000">
                <a:schemeClr val="accent1"/>
              </a:gs>
              <a:gs pos="31000">
                <a:schemeClr val="accent1">
                  <a:lumMod val="60000"/>
                  <a:lumOff val="40000"/>
                </a:schemeClr>
              </a:gs>
              <a:gs pos="0">
                <a:schemeClr val="accent1">
                  <a:lumMod val="40000"/>
                  <a:lumOff val="60000"/>
                </a:schemeClr>
              </a:gs>
            </a:gsLst>
            <a:path path="circle">
              <a:fillToRect r="100000" b="10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E7E6E6">
                  <a:lumMod val="25000"/>
                </a:srgbClr>
              </a:solidFill>
              <a:effectLst/>
              <a:uLnTx/>
              <a:uFillTx/>
              <a:latin typeface="HarmonyOS Sans SC"/>
              <a:cs typeface="Segoe UI" panose="020B0502040204020203" pitchFamily="34" charset="0"/>
            </a:endParaRPr>
          </a:p>
        </p:txBody>
      </p:sp>
      <p:sp>
        <p:nvSpPr>
          <p:cNvPr id="24" name="Rectangle 28">
            <a:extLst>
              <a:ext uri="{FF2B5EF4-FFF2-40B4-BE49-F238E27FC236}">
                <a16:creationId xmlns:a16="http://schemas.microsoft.com/office/drawing/2014/main" id="{BCCC85AC-0FEB-4285-AFA7-13FDF193CC33}"/>
              </a:ext>
            </a:extLst>
          </p:cNvPr>
          <p:cNvSpPr/>
          <p:nvPr/>
        </p:nvSpPr>
        <p:spPr>
          <a:xfrm>
            <a:off x="1042714" y="4386314"/>
            <a:ext cx="4418530" cy="1477328"/>
          </a:xfrm>
          <a:prstGeom prst="rect">
            <a:avLst/>
          </a:prstGeom>
        </p:spPr>
        <p:txBody>
          <a:bodyPr wrap="square">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50000"/>
                    <a:lumOff val="50000"/>
                  </a:prstClr>
                </a:solidFill>
                <a:effectLst/>
                <a:uLnTx/>
                <a:uFillTx/>
                <a:latin typeface="HarmonyOS Sans SC"/>
                <a:cs typeface="Segoe UI" panose="020B0502040204020203" pitchFamily="34" charset="0"/>
              </a:rPr>
              <a:t>Lorem Ipsum Dolor Sit </a:t>
            </a:r>
            <a:r>
              <a:rPr kumimoji="0" lang="en-US" sz="1200" b="0" i="0" u="none" strike="noStrike" kern="1200" cap="none" spc="0" normalizeH="0" baseline="0" noProof="0" dirty="0" err="1">
                <a:ln>
                  <a:noFill/>
                </a:ln>
                <a:solidFill>
                  <a:prstClr val="black">
                    <a:lumMod val="50000"/>
                    <a:lumOff val="50000"/>
                  </a:prstClr>
                </a:solidFill>
                <a:effectLst/>
                <a:uLnTx/>
                <a:uFillTx/>
                <a:latin typeface="HarmonyOS Sans SC"/>
                <a:cs typeface="Segoe UI" panose="020B0502040204020203" pitchFamily="34" charset="0"/>
              </a:rPr>
              <a:t>Amet</a:t>
            </a:r>
            <a:r>
              <a:rPr kumimoji="0" lang="en-US" sz="1200" b="0" i="0" u="none" strike="noStrike" kern="1200" cap="none" spc="0" normalizeH="0" baseline="0" noProof="0" dirty="0">
                <a:ln>
                  <a:noFill/>
                </a:ln>
                <a:solidFill>
                  <a:prstClr val="black">
                    <a:lumMod val="50000"/>
                    <a:lumOff val="50000"/>
                  </a:prstClr>
                </a:solidFill>
                <a:effectLst/>
                <a:uLnTx/>
                <a:uFillTx/>
                <a:latin typeface="HarmonyOS Sans SC"/>
                <a:cs typeface="Segoe UI" panose="020B0502040204020203" pitchFamily="34" charset="0"/>
              </a:rPr>
              <a:t>, </a:t>
            </a:r>
            <a:r>
              <a:rPr kumimoji="0" lang="en-US" sz="1200" b="0" i="0" u="none" strike="noStrike" kern="1200" cap="none" spc="0" normalizeH="0" baseline="0" noProof="0" dirty="0" err="1">
                <a:ln>
                  <a:noFill/>
                </a:ln>
                <a:solidFill>
                  <a:prstClr val="black">
                    <a:lumMod val="50000"/>
                    <a:lumOff val="50000"/>
                  </a:prstClr>
                </a:solidFill>
                <a:effectLst/>
                <a:uLnTx/>
                <a:uFillTx/>
                <a:latin typeface="HarmonyOS Sans SC"/>
                <a:cs typeface="Segoe UI" panose="020B0502040204020203" pitchFamily="34" charset="0"/>
              </a:rPr>
              <a:t>Consectetur</a:t>
            </a:r>
            <a:r>
              <a:rPr kumimoji="0" lang="en-US" sz="1200" b="0" i="0" u="none" strike="noStrike" kern="1200" cap="none" spc="0" normalizeH="0" baseline="0" noProof="0" dirty="0">
                <a:ln>
                  <a:noFill/>
                </a:ln>
                <a:solidFill>
                  <a:prstClr val="black">
                    <a:lumMod val="50000"/>
                    <a:lumOff val="50000"/>
                  </a:prstClr>
                </a:solidFill>
                <a:effectLst/>
                <a:uLnTx/>
                <a:uFillTx/>
                <a:latin typeface="HarmonyOS Sans SC"/>
                <a:cs typeface="Segoe UI" panose="020B0502040204020203" pitchFamily="34" charset="0"/>
              </a:rPr>
              <a:t> </a:t>
            </a:r>
            <a:r>
              <a:rPr kumimoji="0" lang="en-US" sz="1200" b="0" i="0" u="none" strike="noStrike" kern="1200" cap="none" spc="0" normalizeH="0" baseline="0" noProof="0" dirty="0" err="1">
                <a:ln>
                  <a:noFill/>
                </a:ln>
                <a:solidFill>
                  <a:prstClr val="black">
                    <a:lumMod val="50000"/>
                    <a:lumOff val="50000"/>
                  </a:prstClr>
                </a:solidFill>
                <a:effectLst/>
                <a:uLnTx/>
                <a:uFillTx/>
                <a:latin typeface="HarmonyOS Sans SC"/>
                <a:cs typeface="Segoe UI" panose="020B0502040204020203" pitchFamily="34" charset="0"/>
              </a:rPr>
              <a:t>Adipiscing</a:t>
            </a:r>
            <a:r>
              <a:rPr kumimoji="0" lang="en-US" sz="1200" b="0" i="0" u="none" strike="noStrike" kern="1200" cap="none" spc="0" normalizeH="0" baseline="0" noProof="0" dirty="0">
                <a:ln>
                  <a:noFill/>
                </a:ln>
                <a:solidFill>
                  <a:prstClr val="black">
                    <a:lumMod val="50000"/>
                    <a:lumOff val="50000"/>
                  </a:prstClr>
                </a:solidFill>
                <a:effectLst/>
                <a:uLnTx/>
                <a:uFillTx/>
                <a:latin typeface="HarmonyOS Sans SC"/>
                <a:cs typeface="Segoe UI" panose="020B0502040204020203" pitchFamily="34" charset="0"/>
              </a:rPr>
              <a:t> </a:t>
            </a:r>
            <a:r>
              <a:rPr kumimoji="0" lang="en-US" sz="1200" b="0" i="0" u="none" strike="noStrike" kern="1200" cap="none" spc="0" normalizeH="0" baseline="0" noProof="0" dirty="0" err="1">
                <a:ln>
                  <a:noFill/>
                </a:ln>
                <a:solidFill>
                  <a:prstClr val="black">
                    <a:lumMod val="50000"/>
                    <a:lumOff val="50000"/>
                  </a:prstClr>
                </a:solidFill>
                <a:effectLst/>
                <a:uLnTx/>
                <a:uFillTx/>
                <a:latin typeface="HarmonyOS Sans SC"/>
                <a:cs typeface="Segoe UI" panose="020B0502040204020203" pitchFamily="34" charset="0"/>
              </a:rPr>
              <a:t>Elit</a:t>
            </a:r>
            <a:r>
              <a:rPr kumimoji="0" lang="en-US" sz="1200" b="0" i="0" u="none" strike="noStrike" kern="1200" cap="none" spc="0" normalizeH="0" baseline="0" noProof="0" dirty="0">
                <a:ln>
                  <a:noFill/>
                </a:ln>
                <a:solidFill>
                  <a:prstClr val="black">
                    <a:lumMod val="50000"/>
                    <a:lumOff val="50000"/>
                  </a:prstClr>
                </a:solidFill>
                <a:effectLst/>
                <a:uLnTx/>
                <a:uFillTx/>
                <a:latin typeface="HarmonyOS Sans SC"/>
                <a:cs typeface="Segoe UI" panose="020B0502040204020203" pitchFamily="34" charset="0"/>
              </a:rPr>
              <a:t>. </a:t>
            </a:r>
            <a:r>
              <a:rPr kumimoji="0" lang="en-US" sz="1200" b="0" i="0" u="none" strike="noStrike" kern="1200" cap="none" spc="0" normalizeH="0" baseline="0" noProof="0" dirty="0" err="1">
                <a:ln>
                  <a:noFill/>
                </a:ln>
                <a:solidFill>
                  <a:prstClr val="black">
                    <a:lumMod val="50000"/>
                    <a:lumOff val="50000"/>
                  </a:prstClr>
                </a:solidFill>
                <a:effectLst/>
                <a:uLnTx/>
                <a:uFillTx/>
                <a:latin typeface="HarmonyOS Sans SC"/>
                <a:cs typeface="Segoe UI" panose="020B0502040204020203" pitchFamily="34" charset="0"/>
              </a:rPr>
              <a:t>Pellentesque</a:t>
            </a:r>
            <a:r>
              <a:rPr kumimoji="0" lang="en-US" sz="1200" b="0" i="0" u="none" strike="noStrike" kern="1200" cap="none" spc="0" normalizeH="0" baseline="0" noProof="0" dirty="0">
                <a:ln>
                  <a:noFill/>
                </a:ln>
                <a:solidFill>
                  <a:prstClr val="black">
                    <a:lumMod val="50000"/>
                    <a:lumOff val="50000"/>
                  </a:prstClr>
                </a:solidFill>
                <a:effectLst/>
                <a:uLnTx/>
                <a:uFillTx/>
                <a:latin typeface="HarmonyOS Sans SC"/>
                <a:cs typeface="Segoe UI" panose="020B0502040204020203" pitchFamily="34" charset="0"/>
              </a:rPr>
              <a:t> </a:t>
            </a:r>
            <a:r>
              <a:rPr kumimoji="0" lang="en-US" sz="1200" b="0" i="0" u="none" strike="noStrike" kern="1200" cap="none" spc="0" normalizeH="0" baseline="0" noProof="0" dirty="0" err="1">
                <a:ln>
                  <a:noFill/>
                </a:ln>
                <a:solidFill>
                  <a:prstClr val="black">
                    <a:lumMod val="50000"/>
                    <a:lumOff val="50000"/>
                  </a:prstClr>
                </a:solidFill>
                <a:effectLst/>
                <a:uLnTx/>
                <a:uFillTx/>
                <a:latin typeface="HarmonyOS Sans SC"/>
                <a:cs typeface="Segoe UI" panose="020B0502040204020203" pitchFamily="34" charset="0"/>
              </a:rPr>
              <a:t>Aliquet</a:t>
            </a:r>
            <a:r>
              <a:rPr kumimoji="0" lang="en-US" sz="1200" b="0" i="0" u="none" strike="noStrike" kern="1200" cap="none" spc="0" normalizeH="0" baseline="0" noProof="0" dirty="0">
                <a:ln>
                  <a:noFill/>
                </a:ln>
                <a:solidFill>
                  <a:prstClr val="black">
                    <a:lumMod val="50000"/>
                    <a:lumOff val="50000"/>
                  </a:prstClr>
                </a:solidFill>
                <a:effectLst/>
                <a:uLnTx/>
                <a:uFillTx/>
                <a:latin typeface="HarmonyOS Sans SC"/>
                <a:cs typeface="Segoe UI" panose="020B0502040204020203" pitchFamily="34" charset="0"/>
              </a:rPr>
              <a:t>, </a:t>
            </a:r>
            <a:r>
              <a:rPr kumimoji="0" lang="en-US" sz="1200" b="0" i="0" u="none" strike="noStrike" kern="1200" cap="none" spc="0" normalizeH="0" baseline="0" noProof="0" dirty="0" err="1">
                <a:ln>
                  <a:noFill/>
                </a:ln>
                <a:solidFill>
                  <a:prstClr val="black">
                    <a:lumMod val="50000"/>
                    <a:lumOff val="50000"/>
                  </a:prstClr>
                </a:solidFill>
                <a:effectLst/>
                <a:uLnTx/>
                <a:uFillTx/>
                <a:latin typeface="HarmonyOS Sans SC"/>
                <a:cs typeface="Segoe UI" panose="020B0502040204020203" pitchFamily="34" charset="0"/>
              </a:rPr>
              <a:t>Sapien</a:t>
            </a:r>
            <a:r>
              <a:rPr kumimoji="0" lang="en-US" sz="1200" b="0" i="0" u="none" strike="noStrike" kern="1200" cap="none" spc="0" normalizeH="0" baseline="0" noProof="0" dirty="0">
                <a:ln>
                  <a:noFill/>
                </a:ln>
                <a:solidFill>
                  <a:prstClr val="black">
                    <a:lumMod val="50000"/>
                    <a:lumOff val="50000"/>
                  </a:prstClr>
                </a:solidFill>
                <a:effectLst/>
                <a:uLnTx/>
                <a:uFillTx/>
                <a:latin typeface="HarmonyOS Sans SC"/>
                <a:cs typeface="Segoe UI" panose="020B0502040204020203" pitchFamily="34" charset="0"/>
              </a:rPr>
              <a:t> </a:t>
            </a:r>
            <a:r>
              <a:rPr kumimoji="0" lang="en-US" sz="1200" b="0" i="0" u="none" strike="noStrike" kern="1200" cap="none" spc="0" normalizeH="0" baseline="0" noProof="0" dirty="0" err="1">
                <a:ln>
                  <a:noFill/>
                </a:ln>
                <a:solidFill>
                  <a:prstClr val="black">
                    <a:lumMod val="50000"/>
                    <a:lumOff val="50000"/>
                  </a:prstClr>
                </a:solidFill>
                <a:effectLst/>
                <a:uLnTx/>
                <a:uFillTx/>
                <a:latin typeface="HarmonyOS Sans SC"/>
                <a:cs typeface="Segoe UI" panose="020B0502040204020203" pitchFamily="34" charset="0"/>
              </a:rPr>
              <a:t>Eget</a:t>
            </a:r>
            <a:r>
              <a:rPr kumimoji="0" lang="en-US" sz="1200" b="0" i="0" u="none" strike="noStrike" kern="1200" cap="none" spc="0" normalizeH="0" baseline="0" noProof="0" dirty="0">
                <a:ln>
                  <a:noFill/>
                </a:ln>
                <a:solidFill>
                  <a:prstClr val="black">
                    <a:lumMod val="50000"/>
                    <a:lumOff val="50000"/>
                  </a:prstClr>
                </a:solidFill>
                <a:effectLst/>
                <a:uLnTx/>
                <a:uFillTx/>
                <a:latin typeface="HarmonyOS Sans SC"/>
                <a:cs typeface="Segoe UI" panose="020B0502040204020203" pitchFamily="34" charset="0"/>
              </a:rPr>
              <a:t> Porta </a:t>
            </a:r>
            <a:r>
              <a:rPr kumimoji="0" lang="en-US" sz="1200" b="0" i="0" u="none" strike="noStrike" kern="1200" cap="none" spc="0" normalizeH="0" baseline="0" noProof="0" dirty="0" err="1">
                <a:ln>
                  <a:noFill/>
                </a:ln>
                <a:solidFill>
                  <a:prstClr val="black">
                    <a:lumMod val="50000"/>
                    <a:lumOff val="50000"/>
                  </a:prstClr>
                </a:solidFill>
                <a:effectLst/>
                <a:uLnTx/>
                <a:uFillTx/>
                <a:latin typeface="HarmonyOS Sans SC"/>
                <a:cs typeface="Segoe UI" panose="020B0502040204020203" pitchFamily="34" charset="0"/>
              </a:rPr>
              <a:t>Porttitor</a:t>
            </a:r>
            <a:r>
              <a:rPr kumimoji="0" lang="en-US" sz="1200" b="0" i="0" u="none" strike="noStrike" kern="1200" cap="none" spc="0" normalizeH="0" baseline="0" noProof="0" dirty="0">
                <a:ln>
                  <a:noFill/>
                </a:ln>
                <a:solidFill>
                  <a:prstClr val="black">
                    <a:lumMod val="50000"/>
                    <a:lumOff val="50000"/>
                  </a:prstClr>
                </a:solidFill>
                <a:effectLst/>
                <a:uLnTx/>
                <a:uFillTx/>
                <a:latin typeface="HarmonyOS Sans SC"/>
                <a:cs typeface="Segoe UI" panose="020B0502040204020203" pitchFamily="34" charset="0"/>
              </a:rPr>
              <a:t>, </a:t>
            </a:r>
            <a:r>
              <a:rPr kumimoji="0" lang="en-US" sz="1200" b="0" i="0" u="none" strike="noStrike" kern="1200" cap="none" spc="0" normalizeH="0" baseline="0" noProof="0" dirty="0" err="1">
                <a:ln>
                  <a:noFill/>
                </a:ln>
                <a:solidFill>
                  <a:prstClr val="black">
                    <a:lumMod val="50000"/>
                    <a:lumOff val="50000"/>
                  </a:prstClr>
                </a:solidFill>
                <a:effectLst/>
                <a:uLnTx/>
                <a:uFillTx/>
                <a:latin typeface="HarmonyOS Sans SC"/>
                <a:cs typeface="Segoe UI" panose="020B0502040204020203" pitchFamily="34" charset="0"/>
              </a:rPr>
              <a:t>Nibh</a:t>
            </a:r>
            <a:r>
              <a:rPr kumimoji="0" lang="en-US" sz="1200" b="0" i="0" u="none" strike="noStrike" kern="1200" cap="none" spc="0" normalizeH="0" baseline="0" noProof="0" dirty="0">
                <a:ln>
                  <a:noFill/>
                </a:ln>
                <a:solidFill>
                  <a:prstClr val="black">
                    <a:lumMod val="50000"/>
                    <a:lumOff val="50000"/>
                  </a:prstClr>
                </a:solidFill>
                <a:effectLst/>
                <a:uLnTx/>
                <a:uFillTx/>
                <a:latin typeface="HarmonyOS Sans SC"/>
                <a:cs typeface="Segoe UI" panose="020B0502040204020203" pitchFamily="34" charset="0"/>
              </a:rPr>
              <a:t> </a:t>
            </a:r>
            <a:r>
              <a:rPr kumimoji="0" lang="en-US" sz="1200" b="0" i="0" u="none" strike="noStrike" kern="1200" cap="none" spc="0" normalizeH="0" baseline="0" noProof="0" dirty="0" err="1">
                <a:ln>
                  <a:noFill/>
                </a:ln>
                <a:solidFill>
                  <a:prstClr val="black">
                    <a:lumMod val="50000"/>
                    <a:lumOff val="50000"/>
                  </a:prstClr>
                </a:solidFill>
                <a:effectLst/>
                <a:uLnTx/>
                <a:uFillTx/>
                <a:latin typeface="HarmonyOS Sans SC"/>
                <a:cs typeface="Segoe UI" panose="020B0502040204020203" pitchFamily="34" charset="0"/>
              </a:rPr>
              <a:t>Lacus</a:t>
            </a:r>
            <a:r>
              <a:rPr kumimoji="0" lang="en-US" sz="1200" b="0" i="0" u="none" strike="noStrike" kern="1200" cap="none" spc="0" normalizeH="0" baseline="0" noProof="0" dirty="0">
                <a:ln>
                  <a:noFill/>
                </a:ln>
                <a:solidFill>
                  <a:prstClr val="black">
                    <a:lumMod val="50000"/>
                    <a:lumOff val="50000"/>
                  </a:prstClr>
                </a:solidFill>
                <a:effectLst/>
                <a:uLnTx/>
                <a:uFillTx/>
                <a:latin typeface="HarmonyOS Sans SC"/>
                <a:cs typeface="Segoe UI" panose="020B0502040204020203" pitchFamily="34" charset="0"/>
              </a:rPr>
              <a:t> </a:t>
            </a:r>
            <a:r>
              <a:rPr kumimoji="0" lang="en-US" sz="1200" b="0" i="0" u="none" strike="noStrike" kern="1200" cap="none" spc="0" normalizeH="0" baseline="0" noProof="0" dirty="0" err="1">
                <a:ln>
                  <a:noFill/>
                </a:ln>
                <a:solidFill>
                  <a:prstClr val="black">
                    <a:lumMod val="50000"/>
                    <a:lumOff val="50000"/>
                  </a:prstClr>
                </a:solidFill>
                <a:effectLst/>
                <a:uLnTx/>
                <a:uFillTx/>
                <a:latin typeface="HarmonyOS Sans SC"/>
                <a:cs typeface="Segoe UI" panose="020B0502040204020203" pitchFamily="34" charset="0"/>
              </a:rPr>
              <a:t>Laoreet</a:t>
            </a:r>
            <a:r>
              <a:rPr kumimoji="0" lang="en-US" sz="1200" b="0" i="0" u="none" strike="noStrike" kern="1200" cap="none" spc="0" normalizeH="0" baseline="0" noProof="0" dirty="0">
                <a:ln>
                  <a:noFill/>
                </a:ln>
                <a:solidFill>
                  <a:prstClr val="black">
                    <a:lumMod val="50000"/>
                    <a:lumOff val="50000"/>
                  </a:prstClr>
                </a:solidFill>
                <a:effectLst/>
                <a:uLnTx/>
                <a:uFillTx/>
                <a:latin typeface="HarmonyOS Sans SC"/>
                <a:cs typeface="Segoe UI" panose="020B0502040204020203" pitchFamily="34" charset="0"/>
              </a:rPr>
              <a:t> </a:t>
            </a:r>
            <a:r>
              <a:rPr kumimoji="0" lang="en-US" sz="1200" b="0" i="0" u="none" strike="noStrike" kern="1200" cap="none" spc="0" normalizeH="0" baseline="0" noProof="0" dirty="0" err="1">
                <a:ln>
                  <a:noFill/>
                </a:ln>
                <a:solidFill>
                  <a:prstClr val="black">
                    <a:lumMod val="50000"/>
                    <a:lumOff val="50000"/>
                  </a:prstClr>
                </a:solidFill>
                <a:effectLst/>
                <a:uLnTx/>
                <a:uFillTx/>
                <a:latin typeface="HarmonyOS Sans SC"/>
                <a:cs typeface="Segoe UI" panose="020B0502040204020203" pitchFamily="34" charset="0"/>
              </a:rPr>
              <a:t>Turpis</a:t>
            </a:r>
            <a:r>
              <a:rPr kumimoji="0" lang="en-US" sz="1200" b="0" i="0" u="none" strike="noStrike" kern="1200" cap="none" spc="0" normalizeH="0" baseline="0" noProof="0" dirty="0">
                <a:ln>
                  <a:noFill/>
                </a:ln>
                <a:solidFill>
                  <a:prstClr val="black">
                    <a:lumMod val="50000"/>
                    <a:lumOff val="50000"/>
                  </a:prstClr>
                </a:solidFill>
                <a:effectLst/>
                <a:uLnTx/>
                <a:uFillTx/>
                <a:latin typeface="HarmonyOS Sans SC"/>
                <a:cs typeface="Segoe UI" panose="020B0502040204020203" pitchFamily="34" charset="0"/>
              </a:rPr>
              <a:t>, </a:t>
            </a:r>
            <a:r>
              <a:rPr kumimoji="0" lang="en-US" sz="1200" b="0" i="0" u="none" strike="noStrike" kern="1200" cap="none" spc="0" normalizeH="0" baseline="0" noProof="0" dirty="0" err="1">
                <a:ln>
                  <a:noFill/>
                </a:ln>
                <a:solidFill>
                  <a:prstClr val="black">
                    <a:lumMod val="50000"/>
                    <a:lumOff val="50000"/>
                  </a:prstClr>
                </a:solidFill>
                <a:effectLst/>
                <a:uLnTx/>
                <a:uFillTx/>
                <a:latin typeface="HarmonyOS Sans SC"/>
                <a:cs typeface="Segoe UI" panose="020B0502040204020203" pitchFamily="34" charset="0"/>
              </a:rPr>
              <a:t>Quis</a:t>
            </a:r>
            <a:r>
              <a:rPr kumimoji="0" lang="en-US" sz="1200" b="0" i="0" u="none" strike="noStrike" kern="1200" cap="none" spc="0" normalizeH="0" baseline="0" noProof="0" dirty="0">
                <a:ln>
                  <a:noFill/>
                </a:ln>
                <a:solidFill>
                  <a:prstClr val="black">
                    <a:lumMod val="50000"/>
                    <a:lumOff val="50000"/>
                  </a:prstClr>
                </a:solidFill>
                <a:effectLst/>
                <a:uLnTx/>
                <a:uFillTx/>
                <a:latin typeface="HarmonyOS Sans SC"/>
                <a:cs typeface="Segoe UI" panose="020B0502040204020203" pitchFamily="34" charset="0"/>
              </a:rPr>
              <a:t> </a:t>
            </a:r>
            <a:r>
              <a:rPr kumimoji="0" lang="en-US" sz="1200" b="0" i="0" u="none" strike="noStrike" kern="1200" cap="none" spc="0" normalizeH="0" baseline="0" noProof="0" dirty="0" err="1">
                <a:ln>
                  <a:noFill/>
                </a:ln>
                <a:solidFill>
                  <a:prstClr val="black">
                    <a:lumMod val="50000"/>
                    <a:lumOff val="50000"/>
                  </a:prstClr>
                </a:solidFill>
                <a:effectLst/>
                <a:uLnTx/>
                <a:uFillTx/>
                <a:latin typeface="HarmonyOS Sans SC"/>
                <a:cs typeface="Segoe UI" panose="020B0502040204020203" pitchFamily="34" charset="0"/>
              </a:rPr>
              <a:t>Tincidunt</a:t>
            </a:r>
            <a:r>
              <a:rPr kumimoji="0" lang="en-US" sz="1200" b="0" i="0" u="none" strike="noStrike" kern="1200" cap="none" spc="0" normalizeH="0" baseline="0" noProof="0" dirty="0">
                <a:ln>
                  <a:noFill/>
                </a:ln>
                <a:solidFill>
                  <a:prstClr val="black">
                    <a:lumMod val="50000"/>
                    <a:lumOff val="50000"/>
                  </a:prstClr>
                </a:solidFill>
                <a:effectLst/>
                <a:uLnTx/>
                <a:uFillTx/>
                <a:latin typeface="HarmonyOS Sans SC"/>
                <a:cs typeface="Segoe UI" panose="020B0502040204020203" pitchFamily="34" charset="0"/>
              </a:rPr>
              <a:t> Purus Magna Id </a:t>
            </a:r>
            <a:r>
              <a:rPr kumimoji="0" lang="en-US" sz="1200" b="0" i="0" u="none" strike="noStrike" kern="1200" cap="none" spc="0" normalizeH="0" baseline="0" noProof="0" dirty="0" err="1">
                <a:ln>
                  <a:noFill/>
                </a:ln>
                <a:solidFill>
                  <a:prstClr val="black">
                    <a:lumMod val="50000"/>
                    <a:lumOff val="50000"/>
                  </a:prstClr>
                </a:solidFill>
                <a:effectLst/>
                <a:uLnTx/>
                <a:uFillTx/>
                <a:latin typeface="HarmonyOS Sans SC"/>
                <a:cs typeface="Segoe UI" panose="020B0502040204020203" pitchFamily="34" charset="0"/>
              </a:rPr>
              <a:t>Metus</a:t>
            </a:r>
            <a:r>
              <a:rPr kumimoji="0" lang="en-US" sz="1200" b="0" i="0" u="none" strike="noStrike" kern="1200" cap="none" spc="0" normalizeH="0" baseline="0" noProof="0" dirty="0">
                <a:ln>
                  <a:noFill/>
                </a:ln>
                <a:solidFill>
                  <a:prstClr val="black">
                    <a:lumMod val="50000"/>
                    <a:lumOff val="50000"/>
                  </a:prstClr>
                </a:solidFill>
                <a:effectLst/>
                <a:uLnTx/>
                <a:uFillTx/>
                <a:latin typeface="HarmonyOS Sans SC"/>
                <a:cs typeface="Segoe UI" panose="020B0502040204020203" pitchFamily="34" charset="0"/>
              </a:rPr>
              <a:t>. </a:t>
            </a:r>
            <a:r>
              <a:rPr kumimoji="0" lang="en-US" sz="1200" b="0" i="0" u="none" strike="noStrike" kern="1200" cap="none" spc="0" normalizeH="0" baseline="0" noProof="0" dirty="0" err="1">
                <a:ln>
                  <a:noFill/>
                </a:ln>
                <a:solidFill>
                  <a:prstClr val="black">
                    <a:lumMod val="50000"/>
                    <a:lumOff val="50000"/>
                  </a:prstClr>
                </a:solidFill>
                <a:effectLst/>
                <a:uLnTx/>
                <a:uFillTx/>
                <a:latin typeface="HarmonyOS Sans SC"/>
                <a:cs typeface="Segoe UI" panose="020B0502040204020203" pitchFamily="34" charset="0"/>
              </a:rPr>
              <a:t>Pellentesque</a:t>
            </a:r>
            <a:r>
              <a:rPr kumimoji="0" lang="en-US" sz="1200" b="0" i="0" u="none" strike="noStrike" kern="1200" cap="none" spc="0" normalizeH="0" baseline="0" noProof="0" dirty="0">
                <a:ln>
                  <a:noFill/>
                </a:ln>
                <a:solidFill>
                  <a:prstClr val="black">
                    <a:lumMod val="50000"/>
                    <a:lumOff val="50000"/>
                  </a:prstClr>
                </a:solidFill>
                <a:effectLst/>
                <a:uLnTx/>
                <a:uFillTx/>
                <a:latin typeface="HarmonyOS Sans SC"/>
                <a:cs typeface="Segoe UI" panose="020B0502040204020203" pitchFamily="34" charset="0"/>
              </a:rPr>
              <a:t> </a:t>
            </a:r>
            <a:r>
              <a:rPr kumimoji="0" lang="en-US" sz="1200" b="0" i="0" u="none" strike="noStrike" kern="1200" cap="none" spc="0" normalizeH="0" baseline="0" noProof="0" dirty="0" err="1">
                <a:ln>
                  <a:noFill/>
                </a:ln>
                <a:solidFill>
                  <a:prstClr val="black">
                    <a:lumMod val="50000"/>
                    <a:lumOff val="50000"/>
                  </a:prstClr>
                </a:solidFill>
                <a:effectLst/>
                <a:uLnTx/>
                <a:uFillTx/>
                <a:latin typeface="HarmonyOS Sans SC"/>
                <a:cs typeface="Segoe UI" panose="020B0502040204020203" pitchFamily="34" charset="0"/>
              </a:rPr>
              <a:t>Quis</a:t>
            </a:r>
            <a:r>
              <a:rPr kumimoji="0" lang="en-US" sz="1200" b="0" i="0" u="none" strike="noStrike" kern="1200" cap="none" spc="0" normalizeH="0" baseline="0" noProof="0" dirty="0">
                <a:ln>
                  <a:noFill/>
                </a:ln>
                <a:solidFill>
                  <a:prstClr val="black">
                    <a:lumMod val="50000"/>
                    <a:lumOff val="50000"/>
                  </a:prstClr>
                </a:solidFill>
                <a:effectLst/>
                <a:uLnTx/>
                <a:uFillTx/>
                <a:latin typeface="HarmonyOS Sans SC"/>
                <a:cs typeface="Segoe UI" panose="020B0502040204020203" pitchFamily="34" charset="0"/>
              </a:rPr>
              <a:t> </a:t>
            </a:r>
            <a:r>
              <a:rPr kumimoji="0" lang="en-US" sz="1200" b="0" i="0" u="none" strike="noStrike" kern="1200" cap="none" spc="0" normalizeH="0" baseline="0" noProof="0" dirty="0" err="1">
                <a:ln>
                  <a:noFill/>
                </a:ln>
                <a:solidFill>
                  <a:prstClr val="black">
                    <a:lumMod val="50000"/>
                    <a:lumOff val="50000"/>
                  </a:prstClr>
                </a:solidFill>
                <a:effectLst/>
                <a:uLnTx/>
                <a:uFillTx/>
                <a:latin typeface="HarmonyOS Sans SC"/>
                <a:cs typeface="Segoe UI" panose="020B0502040204020203" pitchFamily="34" charset="0"/>
              </a:rPr>
              <a:t>Orci</a:t>
            </a:r>
            <a:r>
              <a:rPr kumimoji="0" lang="en-US" sz="1200" b="0" i="0" u="none" strike="noStrike" kern="1200" cap="none" spc="0" normalizeH="0" baseline="0" noProof="0" dirty="0">
                <a:ln>
                  <a:noFill/>
                </a:ln>
                <a:solidFill>
                  <a:prstClr val="black">
                    <a:lumMod val="50000"/>
                    <a:lumOff val="50000"/>
                  </a:prstClr>
                </a:solidFill>
                <a:effectLst/>
                <a:uLnTx/>
                <a:uFillTx/>
                <a:latin typeface="HarmonyOS Sans SC"/>
                <a:cs typeface="Segoe UI" panose="020B0502040204020203" pitchFamily="34" charset="0"/>
              </a:rPr>
              <a:t> Bibendum, </a:t>
            </a:r>
            <a:r>
              <a:rPr kumimoji="0" lang="en-US" sz="1200" b="0" i="0" u="none" strike="noStrike" kern="1200" cap="none" spc="0" normalizeH="0" baseline="0" noProof="0" dirty="0" err="1">
                <a:ln>
                  <a:noFill/>
                </a:ln>
                <a:solidFill>
                  <a:prstClr val="black">
                    <a:lumMod val="50000"/>
                    <a:lumOff val="50000"/>
                  </a:prstClr>
                </a:solidFill>
                <a:effectLst/>
                <a:uLnTx/>
                <a:uFillTx/>
                <a:latin typeface="HarmonyOS Sans SC"/>
                <a:cs typeface="Segoe UI" panose="020B0502040204020203" pitchFamily="34" charset="0"/>
              </a:rPr>
              <a:t>Volutpat</a:t>
            </a:r>
            <a:r>
              <a:rPr kumimoji="0" lang="en-US" sz="1200" b="0" i="0" u="none" strike="noStrike" kern="1200" cap="none" spc="0" normalizeH="0" baseline="0" noProof="0" dirty="0">
                <a:ln>
                  <a:noFill/>
                </a:ln>
                <a:solidFill>
                  <a:prstClr val="black">
                    <a:lumMod val="50000"/>
                    <a:lumOff val="50000"/>
                  </a:prstClr>
                </a:solidFill>
                <a:effectLst/>
                <a:uLnTx/>
                <a:uFillTx/>
                <a:latin typeface="HarmonyOS Sans SC"/>
                <a:cs typeface="Segoe UI" panose="020B0502040204020203" pitchFamily="34" charset="0"/>
              </a:rPr>
              <a:t> </a:t>
            </a:r>
            <a:r>
              <a:rPr kumimoji="0" lang="en-US" sz="1200" b="0" i="0" u="none" strike="noStrike" kern="1200" cap="none" spc="0" normalizeH="0" baseline="0" noProof="0" dirty="0" err="1">
                <a:ln>
                  <a:noFill/>
                </a:ln>
                <a:solidFill>
                  <a:prstClr val="black">
                    <a:lumMod val="50000"/>
                    <a:lumOff val="50000"/>
                  </a:prstClr>
                </a:solidFill>
                <a:effectLst/>
                <a:uLnTx/>
                <a:uFillTx/>
                <a:latin typeface="HarmonyOS Sans SC"/>
                <a:cs typeface="Segoe UI" panose="020B0502040204020203" pitchFamily="34" charset="0"/>
              </a:rPr>
              <a:t>Velit</a:t>
            </a:r>
            <a:r>
              <a:rPr kumimoji="0" lang="en-US" sz="1200" b="0" i="0" u="none" strike="noStrike" kern="1200" cap="none" spc="0" normalizeH="0" baseline="0" noProof="0" dirty="0">
                <a:ln>
                  <a:noFill/>
                </a:ln>
                <a:solidFill>
                  <a:prstClr val="black">
                    <a:lumMod val="50000"/>
                    <a:lumOff val="50000"/>
                  </a:prstClr>
                </a:solidFill>
                <a:effectLst/>
                <a:uLnTx/>
                <a:uFillTx/>
                <a:latin typeface="HarmonyOS Sans SC"/>
                <a:cs typeface="Segoe UI" panose="020B0502040204020203" pitchFamily="34" charset="0"/>
              </a:rPr>
              <a:t> Vel, Tempus . </a:t>
            </a:r>
            <a:r>
              <a:rPr kumimoji="0" lang="en-US" sz="1200" b="0" i="0" u="none" strike="noStrike" kern="1200" cap="none" spc="0" normalizeH="0" baseline="0" noProof="0" dirty="0" err="1">
                <a:ln>
                  <a:noFill/>
                </a:ln>
                <a:solidFill>
                  <a:prstClr val="black">
                    <a:lumMod val="50000"/>
                    <a:lumOff val="50000"/>
                  </a:prstClr>
                </a:solidFill>
                <a:effectLst/>
                <a:uLnTx/>
                <a:uFillTx/>
                <a:latin typeface="HarmonyOS Sans SC"/>
                <a:cs typeface="Segoe UI" panose="020B0502040204020203" pitchFamily="34" charset="0"/>
              </a:rPr>
              <a:t>Pellentesque</a:t>
            </a:r>
            <a:r>
              <a:rPr kumimoji="0" lang="en-US" sz="1200" b="0" i="0" u="none" strike="noStrike" kern="1200" cap="none" spc="0" normalizeH="0" baseline="0" noProof="0" dirty="0">
                <a:ln>
                  <a:noFill/>
                </a:ln>
                <a:solidFill>
                  <a:prstClr val="black">
                    <a:lumMod val="50000"/>
                    <a:lumOff val="50000"/>
                  </a:prstClr>
                </a:solidFill>
                <a:effectLst/>
                <a:uLnTx/>
                <a:uFillTx/>
                <a:latin typeface="HarmonyOS Sans SC"/>
                <a:cs typeface="Segoe UI" panose="020B0502040204020203" pitchFamily="34" charset="0"/>
              </a:rPr>
              <a:t> </a:t>
            </a:r>
            <a:r>
              <a:rPr kumimoji="0" lang="en-US" sz="1200" b="0" i="0" u="none" strike="noStrike" kern="1200" cap="none" spc="0" normalizeH="0" baseline="0" noProof="0" dirty="0" err="1">
                <a:ln>
                  <a:noFill/>
                </a:ln>
                <a:solidFill>
                  <a:prstClr val="black">
                    <a:lumMod val="50000"/>
                    <a:lumOff val="50000"/>
                  </a:prstClr>
                </a:solidFill>
                <a:effectLst/>
                <a:uLnTx/>
                <a:uFillTx/>
                <a:latin typeface="HarmonyOS Sans SC"/>
                <a:cs typeface="Segoe UI" panose="020B0502040204020203" pitchFamily="34" charset="0"/>
              </a:rPr>
              <a:t>Aliquet</a:t>
            </a:r>
            <a:r>
              <a:rPr kumimoji="0" lang="en-US" sz="1200" b="0" i="0" u="none" strike="noStrike" kern="1200" cap="none" spc="0" normalizeH="0" baseline="0" noProof="0" dirty="0">
                <a:ln>
                  <a:noFill/>
                </a:ln>
                <a:solidFill>
                  <a:prstClr val="black">
                    <a:lumMod val="50000"/>
                    <a:lumOff val="50000"/>
                  </a:prstClr>
                </a:solidFill>
                <a:effectLst/>
                <a:uLnTx/>
                <a:uFillTx/>
                <a:latin typeface="HarmonyOS Sans SC"/>
                <a:cs typeface="Segoe UI" panose="020B0502040204020203" pitchFamily="34" charset="0"/>
              </a:rPr>
              <a:t>, </a:t>
            </a:r>
            <a:r>
              <a:rPr kumimoji="0" lang="en-US" sz="1200" b="0" i="0" u="none" strike="noStrike" kern="1200" cap="none" spc="0" normalizeH="0" baseline="0" noProof="0" dirty="0" err="1">
                <a:ln>
                  <a:noFill/>
                </a:ln>
                <a:solidFill>
                  <a:prstClr val="black">
                    <a:lumMod val="50000"/>
                    <a:lumOff val="50000"/>
                  </a:prstClr>
                </a:solidFill>
                <a:effectLst/>
                <a:uLnTx/>
                <a:uFillTx/>
                <a:latin typeface="HarmonyOS Sans SC"/>
                <a:cs typeface="Segoe UI" panose="020B0502040204020203" pitchFamily="34" charset="0"/>
              </a:rPr>
              <a:t>Sapien</a:t>
            </a:r>
            <a:r>
              <a:rPr kumimoji="0" lang="en-US" sz="1200" b="0" i="0" u="none" strike="noStrike" kern="1200" cap="none" spc="0" normalizeH="0" baseline="0" noProof="0" dirty="0">
                <a:ln>
                  <a:noFill/>
                </a:ln>
                <a:solidFill>
                  <a:prstClr val="black">
                    <a:lumMod val="50000"/>
                    <a:lumOff val="50000"/>
                  </a:prstClr>
                </a:solidFill>
                <a:effectLst/>
                <a:uLnTx/>
                <a:uFillTx/>
                <a:latin typeface="HarmonyOS Sans SC"/>
                <a:cs typeface="Segoe UI" panose="020B0502040204020203" pitchFamily="34" charset="0"/>
              </a:rPr>
              <a:t> </a:t>
            </a:r>
            <a:r>
              <a:rPr kumimoji="0" lang="en-US" sz="1200" b="0" i="0" u="none" strike="noStrike" kern="1200" cap="none" spc="0" normalizeH="0" baseline="0" noProof="0" dirty="0" err="1">
                <a:ln>
                  <a:noFill/>
                </a:ln>
                <a:solidFill>
                  <a:prstClr val="black">
                    <a:lumMod val="50000"/>
                    <a:lumOff val="50000"/>
                  </a:prstClr>
                </a:solidFill>
                <a:effectLst/>
                <a:uLnTx/>
                <a:uFillTx/>
                <a:latin typeface="HarmonyOS Sans SC"/>
                <a:cs typeface="Segoe UI" panose="020B0502040204020203" pitchFamily="34" charset="0"/>
              </a:rPr>
              <a:t>Eget</a:t>
            </a:r>
            <a:endParaRPr kumimoji="0" lang="en-US" sz="1200" b="0" i="0" u="none" strike="noStrike" kern="1200" cap="none" spc="0" normalizeH="0" baseline="0" noProof="0" dirty="0">
              <a:ln>
                <a:noFill/>
              </a:ln>
              <a:solidFill>
                <a:prstClr val="black">
                  <a:lumMod val="50000"/>
                  <a:lumOff val="50000"/>
                </a:prstClr>
              </a:solidFill>
              <a:effectLst/>
              <a:uLnTx/>
              <a:uFillTx/>
              <a:latin typeface="HarmonyOS Sans SC"/>
              <a:cs typeface="Segoe UI" panose="020B0502040204020203" pitchFamily="34" charset="0"/>
            </a:endParaRPr>
          </a:p>
        </p:txBody>
      </p:sp>
      <p:sp>
        <p:nvSpPr>
          <p:cNvPr id="31" name="文本框 30">
            <a:extLst>
              <a:ext uri="{FF2B5EF4-FFF2-40B4-BE49-F238E27FC236}">
                <a16:creationId xmlns:a16="http://schemas.microsoft.com/office/drawing/2014/main" id="{7DE944A5-BE4E-4C1B-9843-EB81614F6372}"/>
              </a:ext>
            </a:extLst>
          </p:cNvPr>
          <p:cNvSpPr txBox="1"/>
          <p:nvPr/>
        </p:nvSpPr>
        <p:spPr>
          <a:xfrm>
            <a:off x="4608252" y="918105"/>
            <a:ext cx="2975495" cy="52322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2800" b="0" i="0" u="none" strike="noStrike" kern="1200" cap="none" spc="0" normalizeH="0" baseline="0" noProof="0" dirty="0">
                <a:ln>
                  <a:noFill/>
                </a:ln>
                <a:solidFill>
                  <a:prstClr val="black"/>
                </a:solidFill>
                <a:effectLst/>
                <a:uLnTx/>
                <a:uFillTx/>
                <a:latin typeface="HarmonyOS Sans Black"/>
                <a:ea typeface="+mj-ea"/>
                <a:cs typeface="+mn-cs"/>
              </a:rPr>
              <a:t>Our </a:t>
            </a:r>
            <a:r>
              <a:rPr kumimoji="0" lang="en-US" altLang="zh-CN" sz="2800" b="0" i="0" u="none" strike="noStrike" kern="1200" cap="none" spc="0" normalizeH="0" baseline="0" noProof="0" dirty="0">
                <a:ln>
                  <a:noFill/>
                </a:ln>
                <a:solidFill>
                  <a:schemeClr val="accent1"/>
                </a:solidFill>
                <a:effectLst/>
                <a:uLnTx/>
                <a:uFillTx/>
                <a:latin typeface="HarmonyOS Sans Black"/>
                <a:ea typeface="+mj-ea"/>
                <a:cs typeface="+mn-cs"/>
              </a:rPr>
              <a:t>Infographic</a:t>
            </a:r>
          </a:p>
        </p:txBody>
      </p:sp>
      <p:sp>
        <p:nvSpPr>
          <p:cNvPr id="32" name="TextBox 26">
            <a:extLst>
              <a:ext uri="{FF2B5EF4-FFF2-40B4-BE49-F238E27FC236}">
                <a16:creationId xmlns:a16="http://schemas.microsoft.com/office/drawing/2014/main" id="{B21586DD-6A8E-419F-A5E4-F13AF1EF6288}"/>
              </a:ext>
            </a:extLst>
          </p:cNvPr>
          <p:cNvSpPr txBox="1"/>
          <p:nvPr/>
        </p:nvSpPr>
        <p:spPr>
          <a:xfrm>
            <a:off x="3486150" y="663942"/>
            <a:ext cx="5219700" cy="254163"/>
          </a:xfrm>
          <a:prstGeom prst="rect">
            <a:avLst/>
          </a:prstGeom>
          <a:noFill/>
        </p:spPr>
        <p:txBody>
          <a:bodyPr wrap="square" lIns="0" tIns="36000" rIns="0" bIns="36000" rtlCol="0">
            <a:spAutoFit/>
          </a:bodyPr>
          <a:lstStyle/>
          <a:p>
            <a:pPr marL="0" marR="0" lvl="0" indent="0" algn="ctr" defTabSz="914400" rtl="0" eaLnBrk="1" fontAlgn="auto" latinLnBrk="0" hangingPunct="1">
              <a:lnSpc>
                <a:spcPct val="130000"/>
              </a:lnSpc>
              <a:spcBef>
                <a:spcPts val="1000"/>
              </a:spcBef>
              <a:spcAft>
                <a:spcPts val="0"/>
              </a:spcAft>
              <a:buClrTx/>
              <a:buSzTx/>
              <a:buFontTx/>
              <a:buNone/>
              <a:tabLst/>
              <a:defRPr/>
            </a:pPr>
            <a:r>
              <a:rPr kumimoji="0" lang="da-DK" sz="1000" b="0" i="0" u="none" strike="noStrike" kern="1200" cap="none" spc="0" normalizeH="0" baseline="0" noProof="0" dirty="0">
                <a:ln>
                  <a:noFill/>
                </a:ln>
                <a:solidFill>
                  <a:prstClr val="black">
                    <a:lumMod val="50000"/>
                    <a:lumOff val="50000"/>
                    <a:alpha val="70000"/>
                  </a:prstClr>
                </a:solidFill>
                <a:effectLst/>
                <a:uLnTx/>
                <a:uFillTx/>
                <a:latin typeface="HarmonyOS Sans SC"/>
                <a:cs typeface="+mn-cs"/>
              </a:rPr>
              <a:t>Lorem ipsum dolor sit amet</a:t>
            </a:r>
          </a:p>
        </p:txBody>
      </p:sp>
    </p:spTree>
    <p:extLst>
      <p:ext uri="{BB962C8B-B14F-4D97-AF65-F5344CB8AC3E}">
        <p14:creationId xmlns:p14="http://schemas.microsoft.com/office/powerpoint/2010/main" val="162514067"/>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4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 name="TextBox 105">
            <a:extLst>
              <a:ext uri="{FF2B5EF4-FFF2-40B4-BE49-F238E27FC236}">
                <a16:creationId xmlns:a16="http://schemas.microsoft.com/office/drawing/2014/main" id="{FBD175F6-D707-4C72-95CE-FF385B95571B}"/>
              </a:ext>
            </a:extLst>
          </p:cNvPr>
          <p:cNvSpPr txBox="1"/>
          <p:nvPr/>
        </p:nvSpPr>
        <p:spPr>
          <a:xfrm>
            <a:off x="6785065" y="1995275"/>
            <a:ext cx="3383366"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2000" b="0" i="0" u="none" strike="noStrike" kern="1200" cap="none" spc="0" normalizeH="0" baseline="0" noProof="0" dirty="0">
                <a:ln>
                  <a:noFill/>
                </a:ln>
                <a:solidFill>
                  <a:prstClr val="black">
                    <a:lumMod val="75000"/>
                    <a:lumOff val="25000"/>
                  </a:prstClr>
                </a:solidFill>
                <a:effectLst/>
                <a:uLnTx/>
                <a:uFillTx/>
                <a:latin typeface="HarmonyOS Sans SC Black"/>
                <a:ea typeface="+mj-ea"/>
                <a:cs typeface="Open Sans" panose="020B0606030504020204" pitchFamily="34" charset="0"/>
              </a:rPr>
              <a:t>关键词标题</a:t>
            </a:r>
            <a:endParaRPr kumimoji="0" lang="en-US" sz="2000" b="0" i="0" u="none" strike="noStrike" kern="1200" cap="none" spc="0" normalizeH="0" baseline="0" noProof="0" dirty="0">
              <a:ln>
                <a:noFill/>
              </a:ln>
              <a:solidFill>
                <a:prstClr val="black">
                  <a:lumMod val="75000"/>
                  <a:lumOff val="25000"/>
                </a:prstClr>
              </a:solidFill>
              <a:effectLst/>
              <a:uLnTx/>
              <a:uFillTx/>
              <a:latin typeface="HarmonyOS Sans SC Black"/>
              <a:ea typeface="+mj-ea"/>
              <a:cs typeface="Open Sans" panose="020B0606030504020204" pitchFamily="34" charset="0"/>
            </a:endParaRPr>
          </a:p>
        </p:txBody>
      </p:sp>
      <p:sp>
        <p:nvSpPr>
          <p:cNvPr id="56" name="Rectangle 106">
            <a:extLst>
              <a:ext uri="{FF2B5EF4-FFF2-40B4-BE49-F238E27FC236}">
                <a16:creationId xmlns:a16="http://schemas.microsoft.com/office/drawing/2014/main" id="{24DD3F41-8AC0-4501-A507-2DA845C1E325}"/>
              </a:ext>
            </a:extLst>
          </p:cNvPr>
          <p:cNvSpPr>
            <a:spLocks noChangeArrowheads="1"/>
          </p:cNvSpPr>
          <p:nvPr/>
        </p:nvSpPr>
        <p:spPr bwMode="auto">
          <a:xfrm>
            <a:off x="6785064" y="2341391"/>
            <a:ext cx="4491252" cy="6147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3600">
                <a:solidFill>
                  <a:schemeClr val="tx1"/>
                </a:solidFill>
                <a:latin typeface="Calibri" panose="020F0502020204030204" pitchFamily="34" charset="0"/>
              </a:defRPr>
            </a:lvl1pPr>
            <a:lvl2pPr marL="742950" indent="-285750">
              <a:defRPr sz="3600">
                <a:solidFill>
                  <a:schemeClr val="tx1"/>
                </a:solidFill>
                <a:latin typeface="Calibri" panose="020F0502020204030204" pitchFamily="34" charset="0"/>
              </a:defRPr>
            </a:lvl2pPr>
            <a:lvl3pPr marL="1143000" indent="-228600">
              <a:defRPr sz="3600">
                <a:solidFill>
                  <a:schemeClr val="tx1"/>
                </a:solidFill>
                <a:latin typeface="Calibri" panose="020F0502020204030204" pitchFamily="34" charset="0"/>
              </a:defRPr>
            </a:lvl3pPr>
            <a:lvl4pPr marL="1600200" indent="-228600">
              <a:defRPr sz="3600">
                <a:solidFill>
                  <a:schemeClr val="tx1"/>
                </a:solidFill>
                <a:latin typeface="Calibri" panose="020F0502020204030204" pitchFamily="34" charset="0"/>
              </a:defRPr>
            </a:lvl4pPr>
            <a:lvl5pPr marL="2057400" indent="-228600">
              <a:defRPr sz="3600">
                <a:solidFill>
                  <a:schemeClr val="tx1"/>
                </a:solidFill>
                <a:latin typeface="Calibri" panose="020F0502020204030204" pitchFamily="34" charset="0"/>
              </a:defRPr>
            </a:lvl5pPr>
            <a:lvl6pPr marL="2514600" indent="-228600" defTabSz="1827213" fontAlgn="base">
              <a:spcBef>
                <a:spcPct val="0"/>
              </a:spcBef>
              <a:spcAft>
                <a:spcPct val="0"/>
              </a:spcAft>
              <a:defRPr sz="3600">
                <a:solidFill>
                  <a:schemeClr val="tx1"/>
                </a:solidFill>
                <a:latin typeface="Calibri" panose="020F0502020204030204" pitchFamily="34" charset="0"/>
              </a:defRPr>
            </a:lvl6pPr>
            <a:lvl7pPr marL="2971800" indent="-228600" defTabSz="1827213" fontAlgn="base">
              <a:spcBef>
                <a:spcPct val="0"/>
              </a:spcBef>
              <a:spcAft>
                <a:spcPct val="0"/>
              </a:spcAft>
              <a:defRPr sz="3600">
                <a:solidFill>
                  <a:schemeClr val="tx1"/>
                </a:solidFill>
                <a:latin typeface="Calibri" panose="020F0502020204030204" pitchFamily="34" charset="0"/>
              </a:defRPr>
            </a:lvl7pPr>
            <a:lvl8pPr marL="3429000" indent="-228600" defTabSz="1827213" fontAlgn="base">
              <a:spcBef>
                <a:spcPct val="0"/>
              </a:spcBef>
              <a:spcAft>
                <a:spcPct val="0"/>
              </a:spcAft>
              <a:defRPr sz="3600">
                <a:solidFill>
                  <a:schemeClr val="tx1"/>
                </a:solidFill>
                <a:latin typeface="Calibri" panose="020F0502020204030204" pitchFamily="34" charset="0"/>
              </a:defRPr>
            </a:lvl8pPr>
            <a:lvl9pPr marL="3886200" indent="-228600" defTabSz="1827213" fontAlgn="base">
              <a:spcBef>
                <a:spcPct val="0"/>
              </a:spcBef>
              <a:spcAft>
                <a:spcPct val="0"/>
              </a:spcAft>
              <a:defRPr sz="3600">
                <a:solidFill>
                  <a:schemeClr val="tx1"/>
                </a:solidFill>
                <a:latin typeface="Calibri" panose="020F0502020204030204" pitchFamily="34" charset="0"/>
              </a:defRPr>
            </a:lvl9p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50000"/>
                    <a:lumOff val="50000"/>
                  </a:prstClr>
                </a:solidFill>
                <a:effectLst/>
                <a:uLnTx/>
                <a:uFillTx/>
                <a:latin typeface="HarmonyOS Sans SC"/>
                <a:cs typeface="Open Sans" panose="020B0606030504020204" pitchFamily="34" charset="0"/>
              </a:rPr>
              <a:t>Lorem ipsum dolor sit </a:t>
            </a:r>
            <a:r>
              <a:rPr kumimoji="0" lang="en-US" sz="1200" b="0" i="0" u="none" strike="noStrike" kern="1200" cap="none" spc="0" normalizeH="0" baseline="0" noProof="0" dirty="0" err="1">
                <a:ln>
                  <a:noFill/>
                </a:ln>
                <a:solidFill>
                  <a:prstClr val="black">
                    <a:lumMod val="50000"/>
                    <a:lumOff val="50000"/>
                  </a:prstClr>
                </a:solidFill>
                <a:effectLst/>
                <a:uLnTx/>
                <a:uFillTx/>
                <a:latin typeface="HarmonyOS Sans SC"/>
                <a:cs typeface="Open Sans" panose="020B0606030504020204" pitchFamily="34" charset="0"/>
              </a:rPr>
              <a:t>amet</a:t>
            </a:r>
            <a:r>
              <a:rPr kumimoji="0" lang="en-US" sz="1200" b="0" i="0" u="none" strike="noStrike" kern="1200" cap="none" spc="0" normalizeH="0" baseline="0" noProof="0" dirty="0">
                <a:ln>
                  <a:noFill/>
                </a:ln>
                <a:solidFill>
                  <a:prstClr val="black">
                    <a:lumMod val="50000"/>
                    <a:lumOff val="50000"/>
                  </a:prstClr>
                </a:solidFill>
                <a:effectLst/>
                <a:uLnTx/>
                <a:uFillTx/>
                <a:latin typeface="HarmonyOS Sans SC"/>
                <a:cs typeface="Open Sans" panose="020B0606030504020204" pitchFamily="34" charset="0"/>
              </a:rPr>
              <a:t>, </a:t>
            </a:r>
            <a:r>
              <a:rPr kumimoji="0" lang="en-US" sz="1200" b="0" i="0" u="none" strike="noStrike" kern="1200" cap="none" spc="0" normalizeH="0" baseline="0" noProof="0" dirty="0" err="1">
                <a:ln>
                  <a:noFill/>
                </a:ln>
                <a:solidFill>
                  <a:prstClr val="black">
                    <a:lumMod val="50000"/>
                    <a:lumOff val="50000"/>
                  </a:prstClr>
                </a:solidFill>
                <a:effectLst/>
                <a:uLnTx/>
                <a:uFillTx/>
                <a:latin typeface="HarmonyOS Sans SC"/>
                <a:cs typeface="Open Sans" panose="020B0606030504020204" pitchFamily="34" charset="0"/>
              </a:rPr>
              <a:t>consectetur</a:t>
            </a:r>
            <a:r>
              <a:rPr kumimoji="0" lang="en-US" sz="1200" b="0" i="0" u="none" strike="noStrike" kern="1200" cap="none" spc="0" normalizeH="0" baseline="0" noProof="0" dirty="0">
                <a:ln>
                  <a:noFill/>
                </a:ln>
                <a:solidFill>
                  <a:prstClr val="black">
                    <a:lumMod val="50000"/>
                    <a:lumOff val="50000"/>
                  </a:prstClr>
                </a:solidFill>
                <a:effectLst/>
                <a:uLnTx/>
                <a:uFillTx/>
                <a:latin typeface="HarmonyOS Sans SC"/>
                <a:cs typeface="Open Sans" panose="020B0606030504020204" pitchFamily="34" charset="0"/>
              </a:rPr>
              <a:t> </a:t>
            </a:r>
            <a:r>
              <a:rPr kumimoji="0" lang="en-US" sz="1200" b="0" i="0" u="none" strike="noStrike" kern="1200" cap="none" spc="0" normalizeH="0" baseline="0" noProof="0" dirty="0" err="1">
                <a:ln>
                  <a:noFill/>
                </a:ln>
                <a:solidFill>
                  <a:prstClr val="black">
                    <a:lumMod val="50000"/>
                    <a:lumOff val="50000"/>
                  </a:prstClr>
                </a:solidFill>
                <a:effectLst/>
                <a:uLnTx/>
                <a:uFillTx/>
                <a:latin typeface="HarmonyOS Sans SC"/>
                <a:cs typeface="Open Sans" panose="020B0606030504020204" pitchFamily="34" charset="0"/>
              </a:rPr>
              <a:t>adipiscing</a:t>
            </a:r>
            <a:r>
              <a:rPr kumimoji="0" lang="en-US" sz="1200" b="0" i="0" u="none" strike="noStrike" kern="1200" cap="none" spc="0" normalizeH="0" baseline="0" noProof="0" dirty="0">
                <a:ln>
                  <a:noFill/>
                </a:ln>
                <a:solidFill>
                  <a:prstClr val="black">
                    <a:lumMod val="50000"/>
                    <a:lumOff val="50000"/>
                  </a:prstClr>
                </a:solidFill>
                <a:effectLst/>
                <a:uLnTx/>
                <a:uFillTx/>
                <a:latin typeface="HarmonyOS Sans SC"/>
                <a:cs typeface="Open Sans" panose="020B0606030504020204" pitchFamily="34" charset="0"/>
              </a:rPr>
              <a:t> </a:t>
            </a:r>
            <a:r>
              <a:rPr kumimoji="0" lang="en-US" sz="1200" b="0" i="0" u="none" strike="noStrike" kern="1200" cap="none" spc="0" normalizeH="0" baseline="0" noProof="0" dirty="0" err="1">
                <a:ln>
                  <a:noFill/>
                </a:ln>
                <a:solidFill>
                  <a:prstClr val="black">
                    <a:lumMod val="50000"/>
                    <a:lumOff val="50000"/>
                  </a:prstClr>
                </a:solidFill>
                <a:effectLst/>
                <a:uLnTx/>
                <a:uFillTx/>
                <a:latin typeface="HarmonyOS Sans SC"/>
                <a:cs typeface="Open Sans" panose="020B0606030504020204" pitchFamily="34" charset="0"/>
              </a:rPr>
              <a:t>elit</a:t>
            </a:r>
            <a:r>
              <a:rPr kumimoji="0" lang="en-US" sz="1200" b="0" i="0" u="none" strike="noStrike" kern="1200" cap="none" spc="0" normalizeH="0" baseline="0" noProof="0" dirty="0">
                <a:ln>
                  <a:noFill/>
                </a:ln>
                <a:solidFill>
                  <a:prstClr val="black">
                    <a:lumMod val="50000"/>
                    <a:lumOff val="50000"/>
                  </a:prstClr>
                </a:solidFill>
                <a:effectLst/>
                <a:uLnTx/>
                <a:uFillTx/>
                <a:latin typeface="HarmonyOS Sans SC"/>
                <a:cs typeface="Open Sans" panose="020B0606030504020204" pitchFamily="34" charset="0"/>
              </a:rPr>
              <a:t>. Nunc </a:t>
            </a:r>
            <a:r>
              <a:rPr kumimoji="0" lang="en-US" sz="1200" b="0" i="0" u="none" strike="noStrike" kern="1200" cap="none" spc="0" normalizeH="0" baseline="0" noProof="0" dirty="0" err="1">
                <a:ln>
                  <a:noFill/>
                </a:ln>
                <a:solidFill>
                  <a:prstClr val="black">
                    <a:lumMod val="50000"/>
                    <a:lumOff val="50000"/>
                  </a:prstClr>
                </a:solidFill>
                <a:effectLst/>
                <a:uLnTx/>
                <a:uFillTx/>
                <a:latin typeface="HarmonyOS Sans SC"/>
                <a:cs typeface="Open Sans" panose="020B0606030504020204" pitchFamily="34" charset="0"/>
              </a:rPr>
              <a:t>bibendum</a:t>
            </a:r>
            <a:r>
              <a:rPr kumimoji="0" lang="en-US" sz="1200" b="0" i="0" u="none" strike="noStrike" kern="1200" cap="none" spc="0" normalizeH="0" baseline="0" noProof="0" dirty="0">
                <a:ln>
                  <a:noFill/>
                </a:ln>
                <a:solidFill>
                  <a:prstClr val="black">
                    <a:lumMod val="50000"/>
                    <a:lumOff val="50000"/>
                  </a:prstClr>
                </a:solidFill>
                <a:effectLst/>
                <a:uLnTx/>
                <a:uFillTx/>
                <a:latin typeface="HarmonyOS Sans SC"/>
                <a:cs typeface="Open Sans" panose="020B0606030504020204" pitchFamily="34" charset="0"/>
              </a:rPr>
              <a:t> </a:t>
            </a:r>
            <a:r>
              <a:rPr kumimoji="0" lang="en-US" sz="1200" b="0" i="0" u="none" strike="noStrike" kern="1200" cap="none" spc="0" normalizeH="0" baseline="0" noProof="0" dirty="0" err="1">
                <a:ln>
                  <a:noFill/>
                </a:ln>
                <a:solidFill>
                  <a:prstClr val="black">
                    <a:lumMod val="50000"/>
                    <a:lumOff val="50000"/>
                  </a:prstClr>
                </a:solidFill>
                <a:effectLst/>
                <a:uLnTx/>
                <a:uFillTx/>
                <a:latin typeface="HarmonyOS Sans SC"/>
                <a:cs typeface="Open Sans" panose="020B0606030504020204" pitchFamily="34" charset="0"/>
              </a:rPr>
              <a:t>eleifend</a:t>
            </a:r>
            <a:r>
              <a:rPr kumimoji="0" lang="en-US" sz="1200" b="0" i="0" u="none" strike="noStrike" kern="1200" cap="none" spc="0" normalizeH="0" baseline="0" noProof="0" dirty="0">
                <a:ln>
                  <a:noFill/>
                </a:ln>
                <a:solidFill>
                  <a:prstClr val="black">
                    <a:lumMod val="50000"/>
                    <a:lumOff val="50000"/>
                  </a:prstClr>
                </a:solidFill>
                <a:effectLst/>
                <a:uLnTx/>
                <a:uFillTx/>
                <a:latin typeface="HarmonyOS Sans SC"/>
                <a:cs typeface="Open Sans" panose="020B0606030504020204" pitchFamily="34" charset="0"/>
              </a:rPr>
              <a:t> </a:t>
            </a:r>
            <a:r>
              <a:rPr kumimoji="0" lang="en-US" sz="1200" b="0" i="0" u="none" strike="noStrike" kern="1200" cap="none" spc="0" normalizeH="0" baseline="0" noProof="0" dirty="0" err="1">
                <a:ln>
                  <a:noFill/>
                </a:ln>
                <a:solidFill>
                  <a:prstClr val="black">
                    <a:lumMod val="50000"/>
                    <a:lumOff val="50000"/>
                  </a:prstClr>
                </a:solidFill>
                <a:effectLst/>
                <a:uLnTx/>
                <a:uFillTx/>
                <a:latin typeface="HarmonyOS Sans SC"/>
                <a:cs typeface="Open Sans" panose="020B0606030504020204" pitchFamily="34" charset="0"/>
              </a:rPr>
              <a:t>tortor</a:t>
            </a:r>
            <a:r>
              <a:rPr kumimoji="0" lang="en-US" sz="1200" b="0" i="0" u="none" strike="noStrike" kern="1200" cap="none" spc="0" normalizeH="0" baseline="0" noProof="0" dirty="0">
                <a:ln>
                  <a:noFill/>
                </a:ln>
                <a:solidFill>
                  <a:prstClr val="black">
                    <a:lumMod val="50000"/>
                    <a:lumOff val="50000"/>
                  </a:prstClr>
                </a:solidFill>
                <a:effectLst/>
                <a:uLnTx/>
                <a:uFillTx/>
                <a:latin typeface="HarmonyOS Sans SC"/>
                <a:cs typeface="Open Sans" panose="020B0606030504020204" pitchFamily="34" charset="0"/>
              </a:rPr>
              <a:t>, non porta </a:t>
            </a:r>
            <a:r>
              <a:rPr kumimoji="0" lang="en-US" sz="1200" b="0" i="0" u="none" strike="noStrike" kern="1200" cap="none" spc="0" normalizeH="0" baseline="0" noProof="0" dirty="0" err="1">
                <a:ln>
                  <a:noFill/>
                </a:ln>
                <a:solidFill>
                  <a:prstClr val="black">
                    <a:lumMod val="50000"/>
                    <a:lumOff val="50000"/>
                  </a:prstClr>
                </a:solidFill>
                <a:effectLst/>
                <a:uLnTx/>
                <a:uFillTx/>
                <a:latin typeface="HarmonyOS Sans SC"/>
                <a:cs typeface="Open Sans" panose="020B0606030504020204" pitchFamily="34" charset="0"/>
              </a:rPr>
              <a:t>justo</a:t>
            </a:r>
            <a:r>
              <a:rPr kumimoji="0" lang="en-US" sz="1200" b="0" i="0" u="none" strike="noStrike" kern="1200" cap="none" spc="0" normalizeH="0" baseline="0" noProof="0" dirty="0">
                <a:ln>
                  <a:noFill/>
                </a:ln>
                <a:solidFill>
                  <a:prstClr val="black">
                    <a:lumMod val="50000"/>
                    <a:lumOff val="50000"/>
                  </a:prstClr>
                </a:solidFill>
                <a:effectLst/>
                <a:uLnTx/>
                <a:uFillTx/>
                <a:latin typeface="HarmonyOS Sans SC"/>
                <a:cs typeface="Open Sans" panose="020B0606030504020204" pitchFamily="34" charset="0"/>
              </a:rPr>
              <a:t> gravida </a:t>
            </a:r>
            <a:r>
              <a:rPr kumimoji="0" lang="en-US" sz="1200" b="0" i="0" u="none" strike="noStrike" kern="1200" cap="none" spc="0" normalizeH="0" baseline="0" noProof="0" dirty="0" err="1">
                <a:ln>
                  <a:noFill/>
                </a:ln>
                <a:solidFill>
                  <a:prstClr val="black">
                    <a:lumMod val="50000"/>
                    <a:lumOff val="50000"/>
                  </a:prstClr>
                </a:solidFill>
                <a:effectLst/>
                <a:uLnTx/>
                <a:uFillTx/>
                <a:latin typeface="HarmonyOS Sans SC"/>
                <a:cs typeface="Open Sans" panose="020B0606030504020204" pitchFamily="34" charset="0"/>
              </a:rPr>
              <a:t>posuere</a:t>
            </a:r>
            <a:r>
              <a:rPr kumimoji="0" lang="en-US" sz="1200" b="0" i="0" u="none" strike="noStrike" kern="1200" cap="none" spc="0" normalizeH="0" baseline="0" noProof="0" dirty="0">
                <a:ln>
                  <a:noFill/>
                </a:ln>
                <a:solidFill>
                  <a:prstClr val="black">
                    <a:lumMod val="50000"/>
                    <a:lumOff val="50000"/>
                  </a:prstClr>
                </a:solidFill>
                <a:effectLst/>
                <a:uLnTx/>
                <a:uFillTx/>
                <a:latin typeface="HarmonyOS Sans SC"/>
                <a:cs typeface="Open Sans" panose="020B0606030504020204" pitchFamily="34" charset="0"/>
              </a:rPr>
              <a:t>. </a:t>
            </a:r>
          </a:p>
        </p:txBody>
      </p:sp>
      <p:sp>
        <p:nvSpPr>
          <p:cNvPr id="57" name="TextBox 107">
            <a:extLst>
              <a:ext uri="{FF2B5EF4-FFF2-40B4-BE49-F238E27FC236}">
                <a16:creationId xmlns:a16="http://schemas.microsoft.com/office/drawing/2014/main" id="{822E6B65-CA31-4956-A857-9545DF15B39A}"/>
              </a:ext>
            </a:extLst>
          </p:cNvPr>
          <p:cNvSpPr txBox="1"/>
          <p:nvPr/>
        </p:nvSpPr>
        <p:spPr>
          <a:xfrm>
            <a:off x="6785065" y="3427063"/>
            <a:ext cx="3383366"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2000" b="0" i="0" u="none" strike="noStrike" kern="1200" cap="none" spc="0" normalizeH="0" baseline="0" noProof="0" dirty="0">
                <a:ln>
                  <a:noFill/>
                </a:ln>
                <a:solidFill>
                  <a:prstClr val="black">
                    <a:lumMod val="75000"/>
                    <a:lumOff val="25000"/>
                  </a:prstClr>
                </a:solidFill>
                <a:effectLst/>
                <a:uLnTx/>
                <a:uFillTx/>
                <a:latin typeface="HarmonyOS Sans SC Black"/>
                <a:ea typeface="+mj-ea"/>
                <a:cs typeface="Open Sans" panose="020B0606030504020204" pitchFamily="34" charset="0"/>
              </a:rPr>
              <a:t>关键词标题</a:t>
            </a:r>
            <a:endParaRPr kumimoji="0" lang="en-US" sz="2000" b="0" i="0" u="none" strike="noStrike" kern="1200" cap="none" spc="0" normalizeH="0" baseline="0" noProof="0" dirty="0">
              <a:ln>
                <a:noFill/>
              </a:ln>
              <a:solidFill>
                <a:prstClr val="black">
                  <a:lumMod val="75000"/>
                  <a:lumOff val="25000"/>
                </a:prstClr>
              </a:solidFill>
              <a:effectLst/>
              <a:uLnTx/>
              <a:uFillTx/>
              <a:latin typeface="HarmonyOS Sans SC Black"/>
              <a:ea typeface="+mj-ea"/>
              <a:cs typeface="Open Sans" panose="020B0606030504020204" pitchFamily="34" charset="0"/>
            </a:endParaRPr>
          </a:p>
        </p:txBody>
      </p:sp>
      <p:sp>
        <p:nvSpPr>
          <p:cNvPr id="58" name="Rectangle 108">
            <a:extLst>
              <a:ext uri="{FF2B5EF4-FFF2-40B4-BE49-F238E27FC236}">
                <a16:creationId xmlns:a16="http://schemas.microsoft.com/office/drawing/2014/main" id="{8FD29C68-9801-4F2B-8A84-8693CC04F8B8}"/>
              </a:ext>
            </a:extLst>
          </p:cNvPr>
          <p:cNvSpPr>
            <a:spLocks noChangeArrowheads="1"/>
          </p:cNvSpPr>
          <p:nvPr/>
        </p:nvSpPr>
        <p:spPr bwMode="auto">
          <a:xfrm>
            <a:off x="6785064" y="3773179"/>
            <a:ext cx="4491252" cy="6147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3600">
                <a:solidFill>
                  <a:schemeClr val="tx1"/>
                </a:solidFill>
                <a:latin typeface="Calibri" panose="020F0502020204030204" pitchFamily="34" charset="0"/>
              </a:defRPr>
            </a:lvl1pPr>
            <a:lvl2pPr marL="742950" indent="-285750">
              <a:defRPr sz="3600">
                <a:solidFill>
                  <a:schemeClr val="tx1"/>
                </a:solidFill>
                <a:latin typeface="Calibri" panose="020F0502020204030204" pitchFamily="34" charset="0"/>
              </a:defRPr>
            </a:lvl2pPr>
            <a:lvl3pPr marL="1143000" indent="-228600">
              <a:defRPr sz="3600">
                <a:solidFill>
                  <a:schemeClr val="tx1"/>
                </a:solidFill>
                <a:latin typeface="Calibri" panose="020F0502020204030204" pitchFamily="34" charset="0"/>
              </a:defRPr>
            </a:lvl3pPr>
            <a:lvl4pPr marL="1600200" indent="-228600">
              <a:defRPr sz="3600">
                <a:solidFill>
                  <a:schemeClr val="tx1"/>
                </a:solidFill>
                <a:latin typeface="Calibri" panose="020F0502020204030204" pitchFamily="34" charset="0"/>
              </a:defRPr>
            </a:lvl4pPr>
            <a:lvl5pPr marL="2057400" indent="-228600">
              <a:defRPr sz="3600">
                <a:solidFill>
                  <a:schemeClr val="tx1"/>
                </a:solidFill>
                <a:latin typeface="Calibri" panose="020F0502020204030204" pitchFamily="34" charset="0"/>
              </a:defRPr>
            </a:lvl5pPr>
            <a:lvl6pPr marL="2514600" indent="-228600" defTabSz="1827213" fontAlgn="base">
              <a:spcBef>
                <a:spcPct val="0"/>
              </a:spcBef>
              <a:spcAft>
                <a:spcPct val="0"/>
              </a:spcAft>
              <a:defRPr sz="3600">
                <a:solidFill>
                  <a:schemeClr val="tx1"/>
                </a:solidFill>
                <a:latin typeface="Calibri" panose="020F0502020204030204" pitchFamily="34" charset="0"/>
              </a:defRPr>
            </a:lvl6pPr>
            <a:lvl7pPr marL="2971800" indent="-228600" defTabSz="1827213" fontAlgn="base">
              <a:spcBef>
                <a:spcPct val="0"/>
              </a:spcBef>
              <a:spcAft>
                <a:spcPct val="0"/>
              </a:spcAft>
              <a:defRPr sz="3600">
                <a:solidFill>
                  <a:schemeClr val="tx1"/>
                </a:solidFill>
                <a:latin typeface="Calibri" panose="020F0502020204030204" pitchFamily="34" charset="0"/>
              </a:defRPr>
            </a:lvl7pPr>
            <a:lvl8pPr marL="3429000" indent="-228600" defTabSz="1827213" fontAlgn="base">
              <a:spcBef>
                <a:spcPct val="0"/>
              </a:spcBef>
              <a:spcAft>
                <a:spcPct val="0"/>
              </a:spcAft>
              <a:defRPr sz="3600">
                <a:solidFill>
                  <a:schemeClr val="tx1"/>
                </a:solidFill>
                <a:latin typeface="Calibri" panose="020F0502020204030204" pitchFamily="34" charset="0"/>
              </a:defRPr>
            </a:lvl8pPr>
            <a:lvl9pPr marL="3886200" indent="-228600" defTabSz="1827213" fontAlgn="base">
              <a:spcBef>
                <a:spcPct val="0"/>
              </a:spcBef>
              <a:spcAft>
                <a:spcPct val="0"/>
              </a:spcAft>
              <a:defRPr sz="3600">
                <a:solidFill>
                  <a:schemeClr val="tx1"/>
                </a:solidFill>
                <a:latin typeface="Calibri" panose="020F0502020204030204" pitchFamily="34" charset="0"/>
              </a:defRPr>
            </a:lvl9p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50000"/>
                    <a:lumOff val="50000"/>
                  </a:prstClr>
                </a:solidFill>
                <a:effectLst/>
                <a:uLnTx/>
                <a:uFillTx/>
                <a:latin typeface="HarmonyOS Sans SC"/>
                <a:cs typeface="Open Sans" panose="020B0606030504020204" pitchFamily="34" charset="0"/>
              </a:rPr>
              <a:t>Lorem ipsum dolor sit </a:t>
            </a:r>
            <a:r>
              <a:rPr kumimoji="0" lang="en-US" sz="1200" b="0" i="0" u="none" strike="noStrike" kern="1200" cap="none" spc="0" normalizeH="0" baseline="0" noProof="0" dirty="0" err="1">
                <a:ln>
                  <a:noFill/>
                </a:ln>
                <a:solidFill>
                  <a:prstClr val="black">
                    <a:lumMod val="50000"/>
                    <a:lumOff val="50000"/>
                  </a:prstClr>
                </a:solidFill>
                <a:effectLst/>
                <a:uLnTx/>
                <a:uFillTx/>
                <a:latin typeface="HarmonyOS Sans SC"/>
                <a:cs typeface="Open Sans" panose="020B0606030504020204" pitchFamily="34" charset="0"/>
              </a:rPr>
              <a:t>amet</a:t>
            </a:r>
            <a:r>
              <a:rPr kumimoji="0" lang="en-US" sz="1200" b="0" i="0" u="none" strike="noStrike" kern="1200" cap="none" spc="0" normalizeH="0" baseline="0" noProof="0" dirty="0">
                <a:ln>
                  <a:noFill/>
                </a:ln>
                <a:solidFill>
                  <a:prstClr val="black">
                    <a:lumMod val="50000"/>
                    <a:lumOff val="50000"/>
                  </a:prstClr>
                </a:solidFill>
                <a:effectLst/>
                <a:uLnTx/>
                <a:uFillTx/>
                <a:latin typeface="HarmonyOS Sans SC"/>
                <a:cs typeface="Open Sans" panose="020B0606030504020204" pitchFamily="34" charset="0"/>
              </a:rPr>
              <a:t>, </a:t>
            </a:r>
            <a:r>
              <a:rPr kumimoji="0" lang="en-US" sz="1200" b="0" i="0" u="none" strike="noStrike" kern="1200" cap="none" spc="0" normalizeH="0" baseline="0" noProof="0" dirty="0" err="1">
                <a:ln>
                  <a:noFill/>
                </a:ln>
                <a:solidFill>
                  <a:prstClr val="black">
                    <a:lumMod val="50000"/>
                    <a:lumOff val="50000"/>
                  </a:prstClr>
                </a:solidFill>
                <a:effectLst/>
                <a:uLnTx/>
                <a:uFillTx/>
                <a:latin typeface="HarmonyOS Sans SC"/>
                <a:cs typeface="Open Sans" panose="020B0606030504020204" pitchFamily="34" charset="0"/>
              </a:rPr>
              <a:t>consectetur</a:t>
            </a:r>
            <a:r>
              <a:rPr kumimoji="0" lang="en-US" sz="1200" b="0" i="0" u="none" strike="noStrike" kern="1200" cap="none" spc="0" normalizeH="0" baseline="0" noProof="0" dirty="0">
                <a:ln>
                  <a:noFill/>
                </a:ln>
                <a:solidFill>
                  <a:prstClr val="black">
                    <a:lumMod val="50000"/>
                    <a:lumOff val="50000"/>
                  </a:prstClr>
                </a:solidFill>
                <a:effectLst/>
                <a:uLnTx/>
                <a:uFillTx/>
                <a:latin typeface="HarmonyOS Sans SC"/>
                <a:cs typeface="Open Sans" panose="020B0606030504020204" pitchFamily="34" charset="0"/>
              </a:rPr>
              <a:t> </a:t>
            </a:r>
            <a:r>
              <a:rPr kumimoji="0" lang="en-US" sz="1200" b="0" i="0" u="none" strike="noStrike" kern="1200" cap="none" spc="0" normalizeH="0" baseline="0" noProof="0" dirty="0" err="1">
                <a:ln>
                  <a:noFill/>
                </a:ln>
                <a:solidFill>
                  <a:prstClr val="black">
                    <a:lumMod val="50000"/>
                    <a:lumOff val="50000"/>
                  </a:prstClr>
                </a:solidFill>
                <a:effectLst/>
                <a:uLnTx/>
                <a:uFillTx/>
                <a:latin typeface="HarmonyOS Sans SC"/>
                <a:cs typeface="Open Sans" panose="020B0606030504020204" pitchFamily="34" charset="0"/>
              </a:rPr>
              <a:t>adipiscing</a:t>
            </a:r>
            <a:r>
              <a:rPr kumimoji="0" lang="en-US" sz="1200" b="0" i="0" u="none" strike="noStrike" kern="1200" cap="none" spc="0" normalizeH="0" baseline="0" noProof="0" dirty="0">
                <a:ln>
                  <a:noFill/>
                </a:ln>
                <a:solidFill>
                  <a:prstClr val="black">
                    <a:lumMod val="50000"/>
                    <a:lumOff val="50000"/>
                  </a:prstClr>
                </a:solidFill>
                <a:effectLst/>
                <a:uLnTx/>
                <a:uFillTx/>
                <a:latin typeface="HarmonyOS Sans SC"/>
                <a:cs typeface="Open Sans" panose="020B0606030504020204" pitchFamily="34" charset="0"/>
              </a:rPr>
              <a:t> </a:t>
            </a:r>
            <a:r>
              <a:rPr kumimoji="0" lang="en-US" sz="1200" b="0" i="0" u="none" strike="noStrike" kern="1200" cap="none" spc="0" normalizeH="0" baseline="0" noProof="0" dirty="0" err="1">
                <a:ln>
                  <a:noFill/>
                </a:ln>
                <a:solidFill>
                  <a:prstClr val="black">
                    <a:lumMod val="50000"/>
                    <a:lumOff val="50000"/>
                  </a:prstClr>
                </a:solidFill>
                <a:effectLst/>
                <a:uLnTx/>
                <a:uFillTx/>
                <a:latin typeface="HarmonyOS Sans SC"/>
                <a:cs typeface="Open Sans" panose="020B0606030504020204" pitchFamily="34" charset="0"/>
              </a:rPr>
              <a:t>elit</a:t>
            </a:r>
            <a:r>
              <a:rPr kumimoji="0" lang="en-US" sz="1200" b="0" i="0" u="none" strike="noStrike" kern="1200" cap="none" spc="0" normalizeH="0" baseline="0" noProof="0" dirty="0">
                <a:ln>
                  <a:noFill/>
                </a:ln>
                <a:solidFill>
                  <a:prstClr val="black">
                    <a:lumMod val="50000"/>
                    <a:lumOff val="50000"/>
                  </a:prstClr>
                </a:solidFill>
                <a:effectLst/>
                <a:uLnTx/>
                <a:uFillTx/>
                <a:latin typeface="HarmonyOS Sans SC"/>
                <a:cs typeface="Open Sans" panose="020B0606030504020204" pitchFamily="34" charset="0"/>
              </a:rPr>
              <a:t>. Nunc </a:t>
            </a:r>
            <a:r>
              <a:rPr kumimoji="0" lang="en-US" sz="1200" b="0" i="0" u="none" strike="noStrike" kern="1200" cap="none" spc="0" normalizeH="0" baseline="0" noProof="0" dirty="0" err="1">
                <a:ln>
                  <a:noFill/>
                </a:ln>
                <a:solidFill>
                  <a:prstClr val="black">
                    <a:lumMod val="50000"/>
                    <a:lumOff val="50000"/>
                  </a:prstClr>
                </a:solidFill>
                <a:effectLst/>
                <a:uLnTx/>
                <a:uFillTx/>
                <a:latin typeface="HarmonyOS Sans SC"/>
                <a:cs typeface="Open Sans" panose="020B0606030504020204" pitchFamily="34" charset="0"/>
              </a:rPr>
              <a:t>bibendum</a:t>
            </a:r>
            <a:r>
              <a:rPr kumimoji="0" lang="en-US" sz="1200" b="0" i="0" u="none" strike="noStrike" kern="1200" cap="none" spc="0" normalizeH="0" baseline="0" noProof="0" dirty="0">
                <a:ln>
                  <a:noFill/>
                </a:ln>
                <a:solidFill>
                  <a:prstClr val="black">
                    <a:lumMod val="50000"/>
                    <a:lumOff val="50000"/>
                  </a:prstClr>
                </a:solidFill>
                <a:effectLst/>
                <a:uLnTx/>
                <a:uFillTx/>
                <a:latin typeface="HarmonyOS Sans SC"/>
                <a:cs typeface="Open Sans" panose="020B0606030504020204" pitchFamily="34" charset="0"/>
              </a:rPr>
              <a:t> </a:t>
            </a:r>
            <a:r>
              <a:rPr kumimoji="0" lang="en-US" sz="1200" b="0" i="0" u="none" strike="noStrike" kern="1200" cap="none" spc="0" normalizeH="0" baseline="0" noProof="0" dirty="0" err="1">
                <a:ln>
                  <a:noFill/>
                </a:ln>
                <a:solidFill>
                  <a:prstClr val="black">
                    <a:lumMod val="50000"/>
                    <a:lumOff val="50000"/>
                  </a:prstClr>
                </a:solidFill>
                <a:effectLst/>
                <a:uLnTx/>
                <a:uFillTx/>
                <a:latin typeface="HarmonyOS Sans SC"/>
                <a:cs typeface="Open Sans" panose="020B0606030504020204" pitchFamily="34" charset="0"/>
              </a:rPr>
              <a:t>eleifend</a:t>
            </a:r>
            <a:r>
              <a:rPr kumimoji="0" lang="en-US" sz="1200" b="0" i="0" u="none" strike="noStrike" kern="1200" cap="none" spc="0" normalizeH="0" baseline="0" noProof="0" dirty="0">
                <a:ln>
                  <a:noFill/>
                </a:ln>
                <a:solidFill>
                  <a:prstClr val="black">
                    <a:lumMod val="50000"/>
                    <a:lumOff val="50000"/>
                  </a:prstClr>
                </a:solidFill>
                <a:effectLst/>
                <a:uLnTx/>
                <a:uFillTx/>
                <a:latin typeface="HarmonyOS Sans SC"/>
                <a:cs typeface="Open Sans" panose="020B0606030504020204" pitchFamily="34" charset="0"/>
              </a:rPr>
              <a:t> </a:t>
            </a:r>
            <a:r>
              <a:rPr kumimoji="0" lang="en-US" sz="1200" b="0" i="0" u="none" strike="noStrike" kern="1200" cap="none" spc="0" normalizeH="0" baseline="0" noProof="0" dirty="0" err="1">
                <a:ln>
                  <a:noFill/>
                </a:ln>
                <a:solidFill>
                  <a:prstClr val="black">
                    <a:lumMod val="50000"/>
                    <a:lumOff val="50000"/>
                  </a:prstClr>
                </a:solidFill>
                <a:effectLst/>
                <a:uLnTx/>
                <a:uFillTx/>
                <a:latin typeface="HarmonyOS Sans SC"/>
                <a:cs typeface="Open Sans" panose="020B0606030504020204" pitchFamily="34" charset="0"/>
              </a:rPr>
              <a:t>tortor</a:t>
            </a:r>
            <a:r>
              <a:rPr kumimoji="0" lang="en-US" sz="1200" b="0" i="0" u="none" strike="noStrike" kern="1200" cap="none" spc="0" normalizeH="0" baseline="0" noProof="0" dirty="0">
                <a:ln>
                  <a:noFill/>
                </a:ln>
                <a:solidFill>
                  <a:prstClr val="black">
                    <a:lumMod val="50000"/>
                    <a:lumOff val="50000"/>
                  </a:prstClr>
                </a:solidFill>
                <a:effectLst/>
                <a:uLnTx/>
                <a:uFillTx/>
                <a:latin typeface="HarmonyOS Sans SC"/>
                <a:cs typeface="Open Sans" panose="020B0606030504020204" pitchFamily="34" charset="0"/>
              </a:rPr>
              <a:t>, non porta </a:t>
            </a:r>
            <a:r>
              <a:rPr kumimoji="0" lang="en-US" sz="1200" b="0" i="0" u="none" strike="noStrike" kern="1200" cap="none" spc="0" normalizeH="0" baseline="0" noProof="0" dirty="0" err="1">
                <a:ln>
                  <a:noFill/>
                </a:ln>
                <a:solidFill>
                  <a:prstClr val="black">
                    <a:lumMod val="50000"/>
                    <a:lumOff val="50000"/>
                  </a:prstClr>
                </a:solidFill>
                <a:effectLst/>
                <a:uLnTx/>
                <a:uFillTx/>
                <a:latin typeface="HarmonyOS Sans SC"/>
                <a:cs typeface="Open Sans" panose="020B0606030504020204" pitchFamily="34" charset="0"/>
              </a:rPr>
              <a:t>justo</a:t>
            </a:r>
            <a:r>
              <a:rPr kumimoji="0" lang="en-US" sz="1200" b="0" i="0" u="none" strike="noStrike" kern="1200" cap="none" spc="0" normalizeH="0" baseline="0" noProof="0" dirty="0">
                <a:ln>
                  <a:noFill/>
                </a:ln>
                <a:solidFill>
                  <a:prstClr val="black">
                    <a:lumMod val="50000"/>
                    <a:lumOff val="50000"/>
                  </a:prstClr>
                </a:solidFill>
                <a:effectLst/>
                <a:uLnTx/>
                <a:uFillTx/>
                <a:latin typeface="HarmonyOS Sans SC"/>
                <a:cs typeface="Open Sans" panose="020B0606030504020204" pitchFamily="34" charset="0"/>
              </a:rPr>
              <a:t> gravida </a:t>
            </a:r>
            <a:r>
              <a:rPr kumimoji="0" lang="en-US" sz="1200" b="0" i="0" u="none" strike="noStrike" kern="1200" cap="none" spc="0" normalizeH="0" baseline="0" noProof="0" dirty="0" err="1">
                <a:ln>
                  <a:noFill/>
                </a:ln>
                <a:solidFill>
                  <a:prstClr val="black">
                    <a:lumMod val="50000"/>
                    <a:lumOff val="50000"/>
                  </a:prstClr>
                </a:solidFill>
                <a:effectLst/>
                <a:uLnTx/>
                <a:uFillTx/>
                <a:latin typeface="HarmonyOS Sans SC"/>
                <a:cs typeface="Open Sans" panose="020B0606030504020204" pitchFamily="34" charset="0"/>
              </a:rPr>
              <a:t>posuere</a:t>
            </a:r>
            <a:r>
              <a:rPr kumimoji="0" lang="en-US" sz="1200" b="0" i="0" u="none" strike="noStrike" kern="1200" cap="none" spc="0" normalizeH="0" baseline="0" noProof="0" dirty="0">
                <a:ln>
                  <a:noFill/>
                </a:ln>
                <a:solidFill>
                  <a:prstClr val="black">
                    <a:lumMod val="50000"/>
                    <a:lumOff val="50000"/>
                  </a:prstClr>
                </a:solidFill>
                <a:effectLst/>
                <a:uLnTx/>
                <a:uFillTx/>
                <a:latin typeface="HarmonyOS Sans SC"/>
                <a:cs typeface="Open Sans" panose="020B0606030504020204" pitchFamily="34" charset="0"/>
              </a:rPr>
              <a:t>. </a:t>
            </a:r>
          </a:p>
        </p:txBody>
      </p:sp>
      <p:sp>
        <p:nvSpPr>
          <p:cNvPr id="59" name="TextBox 109">
            <a:extLst>
              <a:ext uri="{FF2B5EF4-FFF2-40B4-BE49-F238E27FC236}">
                <a16:creationId xmlns:a16="http://schemas.microsoft.com/office/drawing/2014/main" id="{CFB34EE5-6C2F-485E-89A5-CAFC1E156D6A}"/>
              </a:ext>
            </a:extLst>
          </p:cNvPr>
          <p:cNvSpPr txBox="1"/>
          <p:nvPr/>
        </p:nvSpPr>
        <p:spPr>
          <a:xfrm>
            <a:off x="6785065" y="4854597"/>
            <a:ext cx="3383366"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2000" b="0" i="0" u="none" strike="noStrike" kern="1200" cap="none" spc="0" normalizeH="0" baseline="0" noProof="0" dirty="0">
                <a:ln>
                  <a:noFill/>
                </a:ln>
                <a:solidFill>
                  <a:prstClr val="black">
                    <a:lumMod val="75000"/>
                    <a:lumOff val="25000"/>
                  </a:prstClr>
                </a:solidFill>
                <a:effectLst/>
                <a:uLnTx/>
                <a:uFillTx/>
                <a:latin typeface="HarmonyOS Sans SC Black"/>
                <a:ea typeface="+mj-ea"/>
                <a:cs typeface="Open Sans" panose="020B0606030504020204" pitchFamily="34" charset="0"/>
              </a:rPr>
              <a:t>关键词标题</a:t>
            </a:r>
            <a:endParaRPr kumimoji="0" lang="en-US" sz="2000" b="0" i="0" u="none" strike="noStrike" kern="1200" cap="none" spc="0" normalizeH="0" baseline="0" noProof="0" dirty="0">
              <a:ln>
                <a:noFill/>
              </a:ln>
              <a:solidFill>
                <a:prstClr val="black">
                  <a:lumMod val="75000"/>
                  <a:lumOff val="25000"/>
                </a:prstClr>
              </a:solidFill>
              <a:effectLst/>
              <a:uLnTx/>
              <a:uFillTx/>
              <a:latin typeface="HarmonyOS Sans SC Black"/>
              <a:ea typeface="+mj-ea"/>
              <a:cs typeface="Open Sans" panose="020B0606030504020204" pitchFamily="34" charset="0"/>
            </a:endParaRPr>
          </a:p>
        </p:txBody>
      </p:sp>
      <p:sp>
        <p:nvSpPr>
          <p:cNvPr id="60" name="Rectangle 110">
            <a:extLst>
              <a:ext uri="{FF2B5EF4-FFF2-40B4-BE49-F238E27FC236}">
                <a16:creationId xmlns:a16="http://schemas.microsoft.com/office/drawing/2014/main" id="{9B44B270-D534-405A-9DBB-7DDD212C6F1F}"/>
              </a:ext>
            </a:extLst>
          </p:cNvPr>
          <p:cNvSpPr>
            <a:spLocks noChangeArrowheads="1"/>
          </p:cNvSpPr>
          <p:nvPr/>
        </p:nvSpPr>
        <p:spPr bwMode="auto">
          <a:xfrm>
            <a:off x="6785064" y="5241255"/>
            <a:ext cx="4491252" cy="6147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3600">
                <a:solidFill>
                  <a:schemeClr val="tx1"/>
                </a:solidFill>
                <a:latin typeface="Calibri" panose="020F0502020204030204" pitchFamily="34" charset="0"/>
              </a:defRPr>
            </a:lvl1pPr>
            <a:lvl2pPr marL="742950" indent="-285750">
              <a:defRPr sz="3600">
                <a:solidFill>
                  <a:schemeClr val="tx1"/>
                </a:solidFill>
                <a:latin typeface="Calibri" panose="020F0502020204030204" pitchFamily="34" charset="0"/>
              </a:defRPr>
            </a:lvl2pPr>
            <a:lvl3pPr marL="1143000" indent="-228600">
              <a:defRPr sz="3600">
                <a:solidFill>
                  <a:schemeClr val="tx1"/>
                </a:solidFill>
                <a:latin typeface="Calibri" panose="020F0502020204030204" pitchFamily="34" charset="0"/>
              </a:defRPr>
            </a:lvl3pPr>
            <a:lvl4pPr marL="1600200" indent="-228600">
              <a:defRPr sz="3600">
                <a:solidFill>
                  <a:schemeClr val="tx1"/>
                </a:solidFill>
                <a:latin typeface="Calibri" panose="020F0502020204030204" pitchFamily="34" charset="0"/>
              </a:defRPr>
            </a:lvl4pPr>
            <a:lvl5pPr marL="2057400" indent="-228600">
              <a:defRPr sz="3600">
                <a:solidFill>
                  <a:schemeClr val="tx1"/>
                </a:solidFill>
                <a:latin typeface="Calibri" panose="020F0502020204030204" pitchFamily="34" charset="0"/>
              </a:defRPr>
            </a:lvl5pPr>
            <a:lvl6pPr marL="2514600" indent="-228600" defTabSz="1827213" fontAlgn="base">
              <a:spcBef>
                <a:spcPct val="0"/>
              </a:spcBef>
              <a:spcAft>
                <a:spcPct val="0"/>
              </a:spcAft>
              <a:defRPr sz="3600">
                <a:solidFill>
                  <a:schemeClr val="tx1"/>
                </a:solidFill>
                <a:latin typeface="Calibri" panose="020F0502020204030204" pitchFamily="34" charset="0"/>
              </a:defRPr>
            </a:lvl6pPr>
            <a:lvl7pPr marL="2971800" indent="-228600" defTabSz="1827213" fontAlgn="base">
              <a:spcBef>
                <a:spcPct val="0"/>
              </a:spcBef>
              <a:spcAft>
                <a:spcPct val="0"/>
              </a:spcAft>
              <a:defRPr sz="3600">
                <a:solidFill>
                  <a:schemeClr val="tx1"/>
                </a:solidFill>
                <a:latin typeface="Calibri" panose="020F0502020204030204" pitchFamily="34" charset="0"/>
              </a:defRPr>
            </a:lvl7pPr>
            <a:lvl8pPr marL="3429000" indent="-228600" defTabSz="1827213" fontAlgn="base">
              <a:spcBef>
                <a:spcPct val="0"/>
              </a:spcBef>
              <a:spcAft>
                <a:spcPct val="0"/>
              </a:spcAft>
              <a:defRPr sz="3600">
                <a:solidFill>
                  <a:schemeClr val="tx1"/>
                </a:solidFill>
                <a:latin typeface="Calibri" panose="020F0502020204030204" pitchFamily="34" charset="0"/>
              </a:defRPr>
            </a:lvl8pPr>
            <a:lvl9pPr marL="3886200" indent="-228600" defTabSz="1827213" fontAlgn="base">
              <a:spcBef>
                <a:spcPct val="0"/>
              </a:spcBef>
              <a:spcAft>
                <a:spcPct val="0"/>
              </a:spcAft>
              <a:defRPr sz="3600">
                <a:solidFill>
                  <a:schemeClr val="tx1"/>
                </a:solidFill>
                <a:latin typeface="Calibri" panose="020F0502020204030204" pitchFamily="34" charset="0"/>
              </a:defRPr>
            </a:lvl9p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50000"/>
                    <a:lumOff val="50000"/>
                  </a:prstClr>
                </a:solidFill>
                <a:effectLst/>
                <a:uLnTx/>
                <a:uFillTx/>
                <a:latin typeface="HarmonyOS Sans SC"/>
                <a:cs typeface="Open Sans" panose="020B0606030504020204" pitchFamily="34" charset="0"/>
              </a:rPr>
              <a:t>Lorem ipsum dolor sit </a:t>
            </a:r>
            <a:r>
              <a:rPr kumimoji="0" lang="en-US" sz="1200" b="0" i="0" u="none" strike="noStrike" kern="1200" cap="none" spc="0" normalizeH="0" baseline="0" noProof="0" dirty="0" err="1">
                <a:ln>
                  <a:noFill/>
                </a:ln>
                <a:solidFill>
                  <a:prstClr val="black">
                    <a:lumMod val="50000"/>
                    <a:lumOff val="50000"/>
                  </a:prstClr>
                </a:solidFill>
                <a:effectLst/>
                <a:uLnTx/>
                <a:uFillTx/>
                <a:latin typeface="HarmonyOS Sans SC"/>
                <a:cs typeface="Open Sans" panose="020B0606030504020204" pitchFamily="34" charset="0"/>
              </a:rPr>
              <a:t>amet</a:t>
            </a:r>
            <a:r>
              <a:rPr kumimoji="0" lang="en-US" sz="1200" b="0" i="0" u="none" strike="noStrike" kern="1200" cap="none" spc="0" normalizeH="0" baseline="0" noProof="0" dirty="0">
                <a:ln>
                  <a:noFill/>
                </a:ln>
                <a:solidFill>
                  <a:prstClr val="black">
                    <a:lumMod val="50000"/>
                    <a:lumOff val="50000"/>
                  </a:prstClr>
                </a:solidFill>
                <a:effectLst/>
                <a:uLnTx/>
                <a:uFillTx/>
                <a:latin typeface="HarmonyOS Sans SC"/>
                <a:cs typeface="Open Sans" panose="020B0606030504020204" pitchFamily="34" charset="0"/>
              </a:rPr>
              <a:t>, </a:t>
            </a:r>
            <a:r>
              <a:rPr kumimoji="0" lang="en-US" sz="1200" b="0" i="0" u="none" strike="noStrike" kern="1200" cap="none" spc="0" normalizeH="0" baseline="0" noProof="0" dirty="0" err="1">
                <a:ln>
                  <a:noFill/>
                </a:ln>
                <a:solidFill>
                  <a:prstClr val="black">
                    <a:lumMod val="50000"/>
                    <a:lumOff val="50000"/>
                  </a:prstClr>
                </a:solidFill>
                <a:effectLst/>
                <a:uLnTx/>
                <a:uFillTx/>
                <a:latin typeface="HarmonyOS Sans SC"/>
                <a:cs typeface="Open Sans" panose="020B0606030504020204" pitchFamily="34" charset="0"/>
              </a:rPr>
              <a:t>consectetur</a:t>
            </a:r>
            <a:r>
              <a:rPr kumimoji="0" lang="en-US" sz="1200" b="0" i="0" u="none" strike="noStrike" kern="1200" cap="none" spc="0" normalizeH="0" baseline="0" noProof="0" dirty="0">
                <a:ln>
                  <a:noFill/>
                </a:ln>
                <a:solidFill>
                  <a:prstClr val="black">
                    <a:lumMod val="50000"/>
                    <a:lumOff val="50000"/>
                  </a:prstClr>
                </a:solidFill>
                <a:effectLst/>
                <a:uLnTx/>
                <a:uFillTx/>
                <a:latin typeface="HarmonyOS Sans SC"/>
                <a:cs typeface="Open Sans" panose="020B0606030504020204" pitchFamily="34" charset="0"/>
              </a:rPr>
              <a:t> </a:t>
            </a:r>
            <a:r>
              <a:rPr kumimoji="0" lang="en-US" sz="1200" b="0" i="0" u="none" strike="noStrike" kern="1200" cap="none" spc="0" normalizeH="0" baseline="0" noProof="0" dirty="0" err="1">
                <a:ln>
                  <a:noFill/>
                </a:ln>
                <a:solidFill>
                  <a:prstClr val="black">
                    <a:lumMod val="50000"/>
                    <a:lumOff val="50000"/>
                  </a:prstClr>
                </a:solidFill>
                <a:effectLst/>
                <a:uLnTx/>
                <a:uFillTx/>
                <a:latin typeface="HarmonyOS Sans SC"/>
                <a:cs typeface="Open Sans" panose="020B0606030504020204" pitchFamily="34" charset="0"/>
              </a:rPr>
              <a:t>adipiscing</a:t>
            </a:r>
            <a:r>
              <a:rPr kumimoji="0" lang="en-US" sz="1200" b="0" i="0" u="none" strike="noStrike" kern="1200" cap="none" spc="0" normalizeH="0" baseline="0" noProof="0" dirty="0">
                <a:ln>
                  <a:noFill/>
                </a:ln>
                <a:solidFill>
                  <a:prstClr val="black">
                    <a:lumMod val="50000"/>
                    <a:lumOff val="50000"/>
                  </a:prstClr>
                </a:solidFill>
                <a:effectLst/>
                <a:uLnTx/>
                <a:uFillTx/>
                <a:latin typeface="HarmonyOS Sans SC"/>
                <a:cs typeface="Open Sans" panose="020B0606030504020204" pitchFamily="34" charset="0"/>
              </a:rPr>
              <a:t> </a:t>
            </a:r>
            <a:r>
              <a:rPr kumimoji="0" lang="en-US" sz="1200" b="0" i="0" u="none" strike="noStrike" kern="1200" cap="none" spc="0" normalizeH="0" baseline="0" noProof="0" dirty="0" err="1">
                <a:ln>
                  <a:noFill/>
                </a:ln>
                <a:solidFill>
                  <a:prstClr val="black">
                    <a:lumMod val="50000"/>
                    <a:lumOff val="50000"/>
                  </a:prstClr>
                </a:solidFill>
                <a:effectLst/>
                <a:uLnTx/>
                <a:uFillTx/>
                <a:latin typeface="HarmonyOS Sans SC"/>
                <a:cs typeface="Open Sans" panose="020B0606030504020204" pitchFamily="34" charset="0"/>
              </a:rPr>
              <a:t>elit</a:t>
            </a:r>
            <a:r>
              <a:rPr kumimoji="0" lang="en-US" sz="1200" b="0" i="0" u="none" strike="noStrike" kern="1200" cap="none" spc="0" normalizeH="0" baseline="0" noProof="0" dirty="0">
                <a:ln>
                  <a:noFill/>
                </a:ln>
                <a:solidFill>
                  <a:prstClr val="black">
                    <a:lumMod val="50000"/>
                    <a:lumOff val="50000"/>
                  </a:prstClr>
                </a:solidFill>
                <a:effectLst/>
                <a:uLnTx/>
                <a:uFillTx/>
                <a:latin typeface="HarmonyOS Sans SC"/>
                <a:cs typeface="Open Sans" panose="020B0606030504020204" pitchFamily="34" charset="0"/>
              </a:rPr>
              <a:t>. Nunc </a:t>
            </a:r>
            <a:r>
              <a:rPr kumimoji="0" lang="en-US" sz="1200" b="0" i="0" u="none" strike="noStrike" kern="1200" cap="none" spc="0" normalizeH="0" baseline="0" noProof="0" dirty="0" err="1">
                <a:ln>
                  <a:noFill/>
                </a:ln>
                <a:solidFill>
                  <a:prstClr val="black">
                    <a:lumMod val="50000"/>
                    <a:lumOff val="50000"/>
                  </a:prstClr>
                </a:solidFill>
                <a:effectLst/>
                <a:uLnTx/>
                <a:uFillTx/>
                <a:latin typeface="HarmonyOS Sans SC"/>
                <a:cs typeface="Open Sans" panose="020B0606030504020204" pitchFamily="34" charset="0"/>
              </a:rPr>
              <a:t>bibendum</a:t>
            </a:r>
            <a:r>
              <a:rPr kumimoji="0" lang="en-US" sz="1200" b="0" i="0" u="none" strike="noStrike" kern="1200" cap="none" spc="0" normalizeH="0" baseline="0" noProof="0" dirty="0">
                <a:ln>
                  <a:noFill/>
                </a:ln>
                <a:solidFill>
                  <a:prstClr val="black">
                    <a:lumMod val="50000"/>
                    <a:lumOff val="50000"/>
                  </a:prstClr>
                </a:solidFill>
                <a:effectLst/>
                <a:uLnTx/>
                <a:uFillTx/>
                <a:latin typeface="HarmonyOS Sans SC"/>
                <a:cs typeface="Open Sans" panose="020B0606030504020204" pitchFamily="34" charset="0"/>
              </a:rPr>
              <a:t> </a:t>
            </a:r>
            <a:r>
              <a:rPr kumimoji="0" lang="en-US" sz="1200" b="0" i="0" u="none" strike="noStrike" kern="1200" cap="none" spc="0" normalizeH="0" baseline="0" noProof="0" dirty="0" err="1">
                <a:ln>
                  <a:noFill/>
                </a:ln>
                <a:solidFill>
                  <a:prstClr val="black">
                    <a:lumMod val="50000"/>
                    <a:lumOff val="50000"/>
                  </a:prstClr>
                </a:solidFill>
                <a:effectLst/>
                <a:uLnTx/>
                <a:uFillTx/>
                <a:latin typeface="HarmonyOS Sans SC"/>
                <a:cs typeface="Open Sans" panose="020B0606030504020204" pitchFamily="34" charset="0"/>
              </a:rPr>
              <a:t>eleifend</a:t>
            </a:r>
            <a:r>
              <a:rPr kumimoji="0" lang="en-US" sz="1200" b="0" i="0" u="none" strike="noStrike" kern="1200" cap="none" spc="0" normalizeH="0" baseline="0" noProof="0" dirty="0">
                <a:ln>
                  <a:noFill/>
                </a:ln>
                <a:solidFill>
                  <a:prstClr val="black">
                    <a:lumMod val="50000"/>
                    <a:lumOff val="50000"/>
                  </a:prstClr>
                </a:solidFill>
                <a:effectLst/>
                <a:uLnTx/>
                <a:uFillTx/>
                <a:latin typeface="HarmonyOS Sans SC"/>
                <a:cs typeface="Open Sans" panose="020B0606030504020204" pitchFamily="34" charset="0"/>
              </a:rPr>
              <a:t> </a:t>
            </a:r>
            <a:r>
              <a:rPr kumimoji="0" lang="en-US" sz="1200" b="0" i="0" u="none" strike="noStrike" kern="1200" cap="none" spc="0" normalizeH="0" baseline="0" noProof="0" dirty="0" err="1">
                <a:ln>
                  <a:noFill/>
                </a:ln>
                <a:solidFill>
                  <a:prstClr val="black">
                    <a:lumMod val="50000"/>
                    <a:lumOff val="50000"/>
                  </a:prstClr>
                </a:solidFill>
                <a:effectLst/>
                <a:uLnTx/>
                <a:uFillTx/>
                <a:latin typeface="HarmonyOS Sans SC"/>
                <a:cs typeface="Open Sans" panose="020B0606030504020204" pitchFamily="34" charset="0"/>
              </a:rPr>
              <a:t>tortor</a:t>
            </a:r>
            <a:r>
              <a:rPr kumimoji="0" lang="en-US" sz="1200" b="0" i="0" u="none" strike="noStrike" kern="1200" cap="none" spc="0" normalizeH="0" baseline="0" noProof="0" dirty="0">
                <a:ln>
                  <a:noFill/>
                </a:ln>
                <a:solidFill>
                  <a:prstClr val="black">
                    <a:lumMod val="50000"/>
                    <a:lumOff val="50000"/>
                  </a:prstClr>
                </a:solidFill>
                <a:effectLst/>
                <a:uLnTx/>
                <a:uFillTx/>
                <a:latin typeface="HarmonyOS Sans SC"/>
                <a:cs typeface="Open Sans" panose="020B0606030504020204" pitchFamily="34" charset="0"/>
              </a:rPr>
              <a:t>, non porta </a:t>
            </a:r>
            <a:r>
              <a:rPr kumimoji="0" lang="en-US" sz="1200" b="0" i="0" u="none" strike="noStrike" kern="1200" cap="none" spc="0" normalizeH="0" baseline="0" noProof="0" dirty="0" err="1">
                <a:ln>
                  <a:noFill/>
                </a:ln>
                <a:solidFill>
                  <a:prstClr val="black">
                    <a:lumMod val="50000"/>
                    <a:lumOff val="50000"/>
                  </a:prstClr>
                </a:solidFill>
                <a:effectLst/>
                <a:uLnTx/>
                <a:uFillTx/>
                <a:latin typeface="HarmonyOS Sans SC"/>
                <a:cs typeface="Open Sans" panose="020B0606030504020204" pitchFamily="34" charset="0"/>
              </a:rPr>
              <a:t>justo</a:t>
            </a:r>
            <a:r>
              <a:rPr kumimoji="0" lang="en-US" sz="1200" b="0" i="0" u="none" strike="noStrike" kern="1200" cap="none" spc="0" normalizeH="0" baseline="0" noProof="0" dirty="0">
                <a:ln>
                  <a:noFill/>
                </a:ln>
                <a:solidFill>
                  <a:prstClr val="black">
                    <a:lumMod val="50000"/>
                    <a:lumOff val="50000"/>
                  </a:prstClr>
                </a:solidFill>
                <a:effectLst/>
                <a:uLnTx/>
                <a:uFillTx/>
                <a:latin typeface="HarmonyOS Sans SC"/>
                <a:cs typeface="Open Sans" panose="020B0606030504020204" pitchFamily="34" charset="0"/>
              </a:rPr>
              <a:t> gravida </a:t>
            </a:r>
            <a:r>
              <a:rPr kumimoji="0" lang="en-US" sz="1200" b="0" i="0" u="none" strike="noStrike" kern="1200" cap="none" spc="0" normalizeH="0" baseline="0" noProof="0" dirty="0" err="1">
                <a:ln>
                  <a:noFill/>
                </a:ln>
                <a:solidFill>
                  <a:prstClr val="black">
                    <a:lumMod val="50000"/>
                    <a:lumOff val="50000"/>
                  </a:prstClr>
                </a:solidFill>
                <a:effectLst/>
                <a:uLnTx/>
                <a:uFillTx/>
                <a:latin typeface="HarmonyOS Sans SC"/>
                <a:cs typeface="Open Sans" panose="020B0606030504020204" pitchFamily="34" charset="0"/>
              </a:rPr>
              <a:t>posuere</a:t>
            </a:r>
            <a:r>
              <a:rPr kumimoji="0" lang="en-US" sz="1200" b="0" i="0" u="none" strike="noStrike" kern="1200" cap="none" spc="0" normalizeH="0" baseline="0" noProof="0" dirty="0">
                <a:ln>
                  <a:noFill/>
                </a:ln>
                <a:solidFill>
                  <a:prstClr val="black">
                    <a:lumMod val="50000"/>
                    <a:lumOff val="50000"/>
                  </a:prstClr>
                </a:solidFill>
                <a:effectLst/>
                <a:uLnTx/>
                <a:uFillTx/>
                <a:latin typeface="HarmonyOS Sans SC"/>
                <a:cs typeface="Open Sans" panose="020B0606030504020204" pitchFamily="34" charset="0"/>
              </a:rPr>
              <a:t>. </a:t>
            </a:r>
          </a:p>
        </p:txBody>
      </p:sp>
      <p:sp>
        <p:nvSpPr>
          <p:cNvPr id="64" name="文本框 63">
            <a:extLst>
              <a:ext uri="{FF2B5EF4-FFF2-40B4-BE49-F238E27FC236}">
                <a16:creationId xmlns:a16="http://schemas.microsoft.com/office/drawing/2014/main" id="{FF6A215D-8918-4048-9BF3-1B796893AE27}"/>
              </a:ext>
            </a:extLst>
          </p:cNvPr>
          <p:cNvSpPr txBox="1"/>
          <p:nvPr/>
        </p:nvSpPr>
        <p:spPr>
          <a:xfrm>
            <a:off x="3244901" y="918105"/>
            <a:ext cx="5702202" cy="52322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2800" b="0" i="0" u="none" strike="noStrike" kern="1200" cap="none" spc="0" normalizeH="0" baseline="0" noProof="0" dirty="0">
                <a:ln>
                  <a:noFill/>
                </a:ln>
                <a:solidFill>
                  <a:prstClr val="black"/>
                </a:solidFill>
                <a:effectLst/>
                <a:uLnTx/>
                <a:uFillTx/>
                <a:latin typeface="HarmonyOS Sans Black"/>
                <a:ea typeface="+mj-ea"/>
                <a:cs typeface="+mn-cs"/>
              </a:rPr>
              <a:t>Turban Fashion For </a:t>
            </a:r>
            <a:r>
              <a:rPr kumimoji="0" lang="en-US" altLang="zh-CN" sz="2800" b="0" i="0" u="none" strike="noStrike" kern="1200" cap="none" spc="0" normalizeH="0" baseline="0" noProof="0" dirty="0">
                <a:ln>
                  <a:noFill/>
                </a:ln>
                <a:solidFill>
                  <a:schemeClr val="accent1"/>
                </a:solidFill>
                <a:effectLst/>
                <a:uLnTx/>
                <a:uFillTx/>
                <a:latin typeface="HarmonyOS Sans Black"/>
                <a:ea typeface="+mj-ea"/>
                <a:cs typeface="+mn-cs"/>
              </a:rPr>
              <a:t>Infographic</a:t>
            </a:r>
          </a:p>
        </p:txBody>
      </p:sp>
      <p:grpSp>
        <p:nvGrpSpPr>
          <p:cNvPr id="160" name="组合 159">
            <a:extLst>
              <a:ext uri="{FF2B5EF4-FFF2-40B4-BE49-F238E27FC236}">
                <a16:creationId xmlns:a16="http://schemas.microsoft.com/office/drawing/2014/main" id="{7D1D7906-7774-4354-9F5D-A4475396BDC5}"/>
              </a:ext>
            </a:extLst>
          </p:cNvPr>
          <p:cNvGrpSpPr/>
          <p:nvPr/>
        </p:nvGrpSpPr>
        <p:grpSpPr>
          <a:xfrm>
            <a:off x="1313615" y="2732270"/>
            <a:ext cx="3322842" cy="3687879"/>
            <a:chOff x="841954" y="2559307"/>
            <a:chExt cx="3715449" cy="4123617"/>
          </a:xfrm>
        </p:grpSpPr>
        <p:pic>
          <p:nvPicPr>
            <p:cNvPr id="47" name="Picture 60">
              <a:extLst>
                <a:ext uri="{FF2B5EF4-FFF2-40B4-BE49-F238E27FC236}">
                  <a16:creationId xmlns:a16="http://schemas.microsoft.com/office/drawing/2014/main" id="{4E9D0233-19C4-44BF-B1AF-64943A83E005}"/>
                </a:ext>
              </a:extLst>
            </p:cNvPr>
            <p:cNvPicPr>
              <a:picLocks noChangeAspect="1"/>
            </p:cNvPicPr>
            <p:nvPr/>
          </p:nvPicPr>
          <p:blipFill>
            <a:blip r:embed="rId4" cstate="print">
              <a:alphaModFix amt="54000"/>
              <a:extLst>
                <a:ext uri="{28A0092B-C50C-407E-A947-70E740481C1C}">
                  <a14:useLocalDpi xmlns:a14="http://schemas.microsoft.com/office/drawing/2010/main" val="0"/>
                </a:ext>
              </a:extLst>
            </a:blip>
            <a:stretch>
              <a:fillRect/>
            </a:stretch>
          </p:blipFill>
          <p:spPr>
            <a:xfrm>
              <a:off x="841954" y="5870342"/>
              <a:ext cx="3715449" cy="812582"/>
            </a:xfrm>
            <a:prstGeom prst="rect">
              <a:avLst/>
            </a:prstGeom>
            <a:ln>
              <a:noFill/>
            </a:ln>
          </p:spPr>
        </p:pic>
        <p:sp>
          <p:nvSpPr>
            <p:cNvPr id="48" name="Freeform 20">
              <a:extLst>
                <a:ext uri="{FF2B5EF4-FFF2-40B4-BE49-F238E27FC236}">
                  <a16:creationId xmlns:a16="http://schemas.microsoft.com/office/drawing/2014/main" id="{DCDEBDB2-F4A1-4D07-8EB7-03F2726A5EE4}"/>
                </a:ext>
              </a:extLst>
            </p:cNvPr>
            <p:cNvSpPr>
              <a:spLocks/>
            </p:cNvSpPr>
            <p:nvPr/>
          </p:nvSpPr>
          <p:spPr bwMode="auto">
            <a:xfrm rot="10800000">
              <a:off x="845194" y="5489309"/>
              <a:ext cx="3526572" cy="1128955"/>
            </a:xfrm>
            <a:custGeom>
              <a:avLst/>
              <a:gdLst>
                <a:gd name="T0" fmla="*/ 1710 w 2255"/>
                <a:gd name="T1" fmla="*/ 722 h 722"/>
                <a:gd name="T2" fmla="*/ 1711 w 2255"/>
                <a:gd name="T3" fmla="*/ 722 h 722"/>
                <a:gd name="T4" fmla="*/ 2255 w 2255"/>
                <a:gd name="T5" fmla="*/ 571 h 722"/>
                <a:gd name="T6" fmla="*/ 2255 w 2255"/>
                <a:gd name="T7" fmla="*/ 571 h 722"/>
                <a:gd name="T8" fmla="*/ 0 w 2255"/>
                <a:gd name="T9" fmla="*/ 526 h 722"/>
                <a:gd name="T10" fmla="*/ 2 w 2255"/>
                <a:gd name="T11" fmla="*/ 530 h 722"/>
                <a:gd name="T12" fmla="*/ 1710 w 2255"/>
                <a:gd name="T13" fmla="*/ 722 h 722"/>
              </a:gdLst>
              <a:ahLst/>
              <a:cxnLst>
                <a:cxn ang="0">
                  <a:pos x="T0" y="T1"/>
                </a:cxn>
                <a:cxn ang="0">
                  <a:pos x="T2" y="T3"/>
                </a:cxn>
                <a:cxn ang="0">
                  <a:pos x="T4" y="T5"/>
                </a:cxn>
                <a:cxn ang="0">
                  <a:pos x="T6" y="T7"/>
                </a:cxn>
                <a:cxn ang="0">
                  <a:pos x="T8" y="T9"/>
                </a:cxn>
                <a:cxn ang="0">
                  <a:pos x="T10" y="T11"/>
                </a:cxn>
                <a:cxn ang="0">
                  <a:pos x="T12" y="T13"/>
                </a:cxn>
              </a:cxnLst>
              <a:rect l="0" t="0" r="r" b="b"/>
              <a:pathLst>
                <a:path w="2255" h="722">
                  <a:moveTo>
                    <a:pt x="1710" y="722"/>
                  </a:moveTo>
                  <a:cubicBezTo>
                    <a:pt x="1711" y="722"/>
                    <a:pt x="1711" y="722"/>
                    <a:pt x="1711" y="722"/>
                  </a:cubicBezTo>
                  <a:cubicBezTo>
                    <a:pt x="2255" y="571"/>
                    <a:pt x="2255" y="571"/>
                    <a:pt x="2255" y="571"/>
                  </a:cubicBezTo>
                  <a:cubicBezTo>
                    <a:pt x="2255" y="571"/>
                    <a:pt x="2255" y="571"/>
                    <a:pt x="2255" y="571"/>
                  </a:cubicBezTo>
                  <a:cubicBezTo>
                    <a:pt x="1140" y="0"/>
                    <a:pt x="0" y="526"/>
                    <a:pt x="0" y="526"/>
                  </a:cubicBezTo>
                  <a:cubicBezTo>
                    <a:pt x="2" y="530"/>
                    <a:pt x="2" y="530"/>
                    <a:pt x="2" y="530"/>
                  </a:cubicBezTo>
                  <a:cubicBezTo>
                    <a:pt x="799" y="190"/>
                    <a:pt x="1646" y="683"/>
                    <a:pt x="1710" y="722"/>
                  </a:cubicBezTo>
                  <a:close/>
                </a:path>
              </a:pathLst>
            </a:custGeom>
            <a:gradFill flip="none" rotWithShape="1">
              <a:gsLst>
                <a:gs pos="28000">
                  <a:schemeClr val="accent1">
                    <a:lumMod val="60000"/>
                    <a:lumOff val="40000"/>
                  </a:schemeClr>
                </a:gs>
                <a:gs pos="0">
                  <a:schemeClr val="accent1"/>
                </a:gs>
                <a:gs pos="89000">
                  <a:schemeClr val="accent1">
                    <a:lumMod val="40000"/>
                    <a:lumOff val="60000"/>
                  </a:schemeClr>
                </a:gs>
              </a:gsLst>
              <a:lin ang="2700000" scaled="1"/>
              <a:tileRect/>
            </a:gradFill>
            <a:ln w="51262"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armonyOS Sans SC"/>
                <a:cs typeface="+mn-cs"/>
              </a:endParaRPr>
            </a:p>
          </p:txBody>
        </p:sp>
        <p:sp>
          <p:nvSpPr>
            <p:cNvPr id="50" name="Freeform 12">
              <a:extLst>
                <a:ext uri="{FF2B5EF4-FFF2-40B4-BE49-F238E27FC236}">
                  <a16:creationId xmlns:a16="http://schemas.microsoft.com/office/drawing/2014/main" id="{D0783F39-BE71-4664-8E15-24C7F7864669}"/>
                </a:ext>
              </a:extLst>
            </p:cNvPr>
            <p:cNvSpPr>
              <a:spLocks/>
            </p:cNvSpPr>
            <p:nvPr/>
          </p:nvSpPr>
          <p:spPr bwMode="auto">
            <a:xfrm rot="10800000">
              <a:off x="1698519" y="4928605"/>
              <a:ext cx="2669471" cy="1391373"/>
            </a:xfrm>
            <a:custGeom>
              <a:avLst/>
              <a:gdLst>
                <a:gd name="T0" fmla="*/ 1604 w 1708"/>
                <a:gd name="T1" fmla="*/ 890 h 890"/>
                <a:gd name="T2" fmla="*/ 1708 w 1708"/>
                <a:gd name="T3" fmla="*/ 532 h 890"/>
                <a:gd name="T4" fmla="*/ 0 w 1708"/>
                <a:gd name="T5" fmla="*/ 340 h 890"/>
                <a:gd name="T6" fmla="*/ 198 w 1708"/>
                <a:gd name="T7" fmla="*/ 691 h 890"/>
                <a:gd name="T8" fmla="*/ 1604 w 1708"/>
                <a:gd name="T9" fmla="*/ 890 h 890"/>
              </a:gdLst>
              <a:ahLst/>
              <a:cxnLst>
                <a:cxn ang="0">
                  <a:pos x="T0" y="T1"/>
                </a:cxn>
                <a:cxn ang="0">
                  <a:pos x="T2" y="T3"/>
                </a:cxn>
                <a:cxn ang="0">
                  <a:pos x="T4" y="T5"/>
                </a:cxn>
                <a:cxn ang="0">
                  <a:pos x="T6" y="T7"/>
                </a:cxn>
                <a:cxn ang="0">
                  <a:pos x="T8" y="T9"/>
                </a:cxn>
              </a:cxnLst>
              <a:rect l="0" t="0" r="r" b="b"/>
              <a:pathLst>
                <a:path w="1708" h="890">
                  <a:moveTo>
                    <a:pt x="1604" y="890"/>
                  </a:moveTo>
                  <a:cubicBezTo>
                    <a:pt x="1708" y="532"/>
                    <a:pt x="1708" y="532"/>
                    <a:pt x="1708" y="532"/>
                  </a:cubicBezTo>
                  <a:cubicBezTo>
                    <a:pt x="1644" y="493"/>
                    <a:pt x="797" y="0"/>
                    <a:pt x="0" y="340"/>
                  </a:cubicBezTo>
                  <a:cubicBezTo>
                    <a:pt x="198" y="691"/>
                    <a:pt x="198" y="691"/>
                    <a:pt x="198" y="691"/>
                  </a:cubicBezTo>
                  <a:cubicBezTo>
                    <a:pt x="278" y="659"/>
                    <a:pt x="854" y="453"/>
                    <a:pt x="1604" y="890"/>
                  </a:cubicBezTo>
                  <a:close/>
                </a:path>
              </a:pathLst>
            </a:custGeom>
            <a:gradFill flip="none" rotWithShape="1">
              <a:gsLst>
                <a:gs pos="0">
                  <a:schemeClr val="accent1">
                    <a:lumMod val="59000"/>
                    <a:lumOff val="41000"/>
                  </a:schemeClr>
                </a:gs>
                <a:gs pos="63000">
                  <a:schemeClr val="accent1">
                    <a:lumMod val="92000"/>
                    <a:lumOff val="8000"/>
                  </a:schemeClr>
                </a:gs>
              </a:gsLst>
              <a:lin ang="18900000" scaled="1"/>
              <a:tileRect/>
            </a:gradFill>
            <a:ln w="1270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armonyOS Sans SC"/>
                <a:cs typeface="+mn-cs"/>
              </a:endParaRPr>
            </a:p>
          </p:txBody>
        </p:sp>
        <p:sp>
          <p:nvSpPr>
            <p:cNvPr id="51" name="Freeform 7">
              <a:extLst>
                <a:ext uri="{FF2B5EF4-FFF2-40B4-BE49-F238E27FC236}">
                  <a16:creationId xmlns:a16="http://schemas.microsoft.com/office/drawing/2014/main" id="{9CCB235E-45AE-4066-A23B-119F0DFAA8DA}"/>
                </a:ext>
              </a:extLst>
            </p:cNvPr>
            <p:cNvSpPr>
              <a:spLocks/>
            </p:cNvSpPr>
            <p:nvPr/>
          </p:nvSpPr>
          <p:spPr bwMode="auto">
            <a:xfrm rot="10800000">
              <a:off x="2238454" y="2559308"/>
              <a:ext cx="311502" cy="577693"/>
            </a:xfrm>
            <a:custGeom>
              <a:avLst/>
              <a:gdLst>
                <a:gd name="T0" fmla="*/ 0 w 165"/>
                <a:gd name="T1" fmla="*/ 306 h 306"/>
                <a:gd name="T2" fmla="*/ 0 w 165"/>
                <a:gd name="T3" fmla="*/ 306 h 306"/>
                <a:gd name="T4" fmla="*/ 165 w 165"/>
                <a:gd name="T5" fmla="*/ 0 h 306"/>
                <a:gd name="T6" fmla="*/ 83 w 165"/>
                <a:gd name="T7" fmla="*/ 21 h 306"/>
                <a:gd name="T8" fmla="*/ 0 w 165"/>
                <a:gd name="T9" fmla="*/ 306 h 306"/>
              </a:gdLst>
              <a:ahLst/>
              <a:cxnLst>
                <a:cxn ang="0">
                  <a:pos x="T0" y="T1"/>
                </a:cxn>
                <a:cxn ang="0">
                  <a:pos x="T2" y="T3"/>
                </a:cxn>
                <a:cxn ang="0">
                  <a:pos x="T4" y="T5"/>
                </a:cxn>
                <a:cxn ang="0">
                  <a:pos x="T6" y="T7"/>
                </a:cxn>
                <a:cxn ang="0">
                  <a:pos x="T8" y="T9"/>
                </a:cxn>
              </a:cxnLst>
              <a:rect l="0" t="0" r="r" b="b"/>
              <a:pathLst>
                <a:path w="165" h="306">
                  <a:moveTo>
                    <a:pt x="0" y="306"/>
                  </a:moveTo>
                  <a:lnTo>
                    <a:pt x="0" y="306"/>
                  </a:lnTo>
                  <a:lnTo>
                    <a:pt x="165" y="0"/>
                  </a:lnTo>
                  <a:lnTo>
                    <a:pt x="83" y="21"/>
                  </a:lnTo>
                  <a:lnTo>
                    <a:pt x="0" y="306"/>
                  </a:lnTo>
                  <a:close/>
                </a:path>
              </a:pathLst>
            </a:custGeom>
            <a:gradFill flip="none" rotWithShape="1">
              <a:gsLst>
                <a:gs pos="0">
                  <a:schemeClr val="accent1">
                    <a:lumMod val="20000"/>
                    <a:lumOff val="80000"/>
                  </a:schemeClr>
                </a:gs>
                <a:gs pos="52000">
                  <a:schemeClr val="accent1">
                    <a:lumMod val="52000"/>
                    <a:lumOff val="48000"/>
                  </a:schemeClr>
                </a:gs>
                <a:gs pos="100000">
                  <a:schemeClr val="accent1">
                    <a:lumMod val="96000"/>
                    <a:lumOff val="4000"/>
                  </a:schemeClr>
                </a:gs>
              </a:gsLst>
              <a:lin ang="5400000" scaled="1"/>
              <a:tileRect/>
            </a:gradFill>
            <a:ln w="51262"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armonyOS Sans SC"/>
                <a:cs typeface="+mn-cs"/>
              </a:endParaRPr>
            </a:p>
          </p:txBody>
        </p:sp>
        <p:sp>
          <p:nvSpPr>
            <p:cNvPr id="52" name="Freeform 14">
              <a:extLst>
                <a:ext uri="{FF2B5EF4-FFF2-40B4-BE49-F238E27FC236}">
                  <a16:creationId xmlns:a16="http://schemas.microsoft.com/office/drawing/2014/main" id="{5A739D44-8DB0-4113-AD71-8939A860C5BD}"/>
                </a:ext>
              </a:extLst>
            </p:cNvPr>
            <p:cNvSpPr>
              <a:spLocks/>
            </p:cNvSpPr>
            <p:nvPr/>
          </p:nvSpPr>
          <p:spPr bwMode="auto">
            <a:xfrm rot="10800000">
              <a:off x="2393261" y="2559307"/>
              <a:ext cx="532385" cy="696632"/>
            </a:xfrm>
            <a:custGeom>
              <a:avLst/>
              <a:gdLst>
                <a:gd name="T0" fmla="*/ 339 w 340"/>
                <a:gd name="T1" fmla="*/ 102 h 446"/>
                <a:gd name="T2" fmla="*/ 0 w 340"/>
                <a:gd name="T3" fmla="*/ 21 h 446"/>
                <a:gd name="T4" fmla="*/ 240 w 340"/>
                <a:gd name="T5" fmla="*/ 446 h 446"/>
                <a:gd name="T6" fmla="*/ 340 w 340"/>
                <a:gd name="T7" fmla="*/ 102 h 446"/>
                <a:gd name="T8" fmla="*/ 339 w 340"/>
                <a:gd name="T9" fmla="*/ 102 h 446"/>
              </a:gdLst>
              <a:ahLst/>
              <a:cxnLst>
                <a:cxn ang="0">
                  <a:pos x="T0" y="T1"/>
                </a:cxn>
                <a:cxn ang="0">
                  <a:pos x="T2" y="T3"/>
                </a:cxn>
                <a:cxn ang="0">
                  <a:pos x="T4" y="T5"/>
                </a:cxn>
                <a:cxn ang="0">
                  <a:pos x="T6" y="T7"/>
                </a:cxn>
                <a:cxn ang="0">
                  <a:pos x="T8" y="T9"/>
                </a:cxn>
              </a:cxnLst>
              <a:rect l="0" t="0" r="r" b="b"/>
              <a:pathLst>
                <a:path w="340" h="446">
                  <a:moveTo>
                    <a:pt x="339" y="102"/>
                  </a:moveTo>
                  <a:cubicBezTo>
                    <a:pt x="222" y="22"/>
                    <a:pt x="108" y="0"/>
                    <a:pt x="0" y="21"/>
                  </a:cubicBezTo>
                  <a:cubicBezTo>
                    <a:pt x="240" y="446"/>
                    <a:pt x="240" y="446"/>
                    <a:pt x="240" y="446"/>
                  </a:cubicBezTo>
                  <a:cubicBezTo>
                    <a:pt x="340" y="102"/>
                    <a:pt x="340" y="102"/>
                    <a:pt x="340" y="102"/>
                  </a:cubicBezTo>
                  <a:lnTo>
                    <a:pt x="339" y="102"/>
                  </a:lnTo>
                  <a:close/>
                </a:path>
              </a:pathLst>
            </a:custGeom>
            <a:gradFill flip="none" rotWithShape="1">
              <a:gsLst>
                <a:gs pos="0">
                  <a:schemeClr val="accent1">
                    <a:lumMod val="20000"/>
                    <a:lumOff val="80000"/>
                  </a:schemeClr>
                </a:gs>
                <a:gs pos="52000">
                  <a:schemeClr val="accent1">
                    <a:lumMod val="40000"/>
                    <a:lumOff val="60000"/>
                  </a:schemeClr>
                </a:gs>
                <a:gs pos="100000">
                  <a:schemeClr val="accent1">
                    <a:lumMod val="60000"/>
                    <a:lumOff val="40000"/>
                  </a:schemeClr>
                </a:gs>
              </a:gsLst>
              <a:lin ang="5400000" scaled="1"/>
              <a:tileRect/>
            </a:gradFill>
            <a:ln w="51262"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armonyOS Sans SC"/>
                <a:cs typeface="+mn-cs"/>
              </a:endParaRPr>
            </a:p>
          </p:txBody>
        </p:sp>
        <p:sp>
          <p:nvSpPr>
            <p:cNvPr id="53" name="Freeform 25">
              <a:extLst>
                <a:ext uri="{FF2B5EF4-FFF2-40B4-BE49-F238E27FC236}">
                  <a16:creationId xmlns:a16="http://schemas.microsoft.com/office/drawing/2014/main" id="{F28FF9E2-B544-4FEE-99E7-BDBFDC97B41E}"/>
                </a:ext>
              </a:extLst>
            </p:cNvPr>
            <p:cNvSpPr>
              <a:spLocks/>
            </p:cNvSpPr>
            <p:nvPr/>
          </p:nvSpPr>
          <p:spPr bwMode="auto">
            <a:xfrm rot="10800000">
              <a:off x="2380047" y="3097356"/>
              <a:ext cx="528609" cy="173685"/>
            </a:xfrm>
            <a:custGeom>
              <a:avLst/>
              <a:gdLst>
                <a:gd name="T0" fmla="*/ 339 w 339"/>
                <a:gd name="T1" fmla="*/ 78 h 111"/>
                <a:gd name="T2" fmla="*/ 175 w 339"/>
                <a:gd name="T3" fmla="*/ 1 h 111"/>
                <a:gd name="T4" fmla="*/ 0 w 339"/>
                <a:gd name="T5" fmla="*/ 28 h 111"/>
                <a:gd name="T6" fmla="*/ 329 w 339"/>
                <a:gd name="T7" fmla="*/ 111 h 111"/>
                <a:gd name="T8" fmla="*/ 330 w 339"/>
                <a:gd name="T9" fmla="*/ 111 h 111"/>
                <a:gd name="T10" fmla="*/ 339 w 339"/>
                <a:gd name="T11" fmla="*/ 78 h 111"/>
              </a:gdLst>
              <a:ahLst/>
              <a:cxnLst>
                <a:cxn ang="0">
                  <a:pos x="T0" y="T1"/>
                </a:cxn>
                <a:cxn ang="0">
                  <a:pos x="T2" y="T3"/>
                </a:cxn>
                <a:cxn ang="0">
                  <a:pos x="T4" y="T5"/>
                </a:cxn>
                <a:cxn ang="0">
                  <a:pos x="T6" y="T7"/>
                </a:cxn>
                <a:cxn ang="0">
                  <a:pos x="T8" y="T9"/>
                </a:cxn>
                <a:cxn ang="0">
                  <a:pos x="T10" y="T11"/>
                </a:cxn>
              </a:cxnLst>
              <a:rect l="0" t="0" r="r" b="b"/>
              <a:pathLst>
                <a:path w="339" h="111">
                  <a:moveTo>
                    <a:pt x="339" y="78"/>
                  </a:moveTo>
                  <a:cubicBezTo>
                    <a:pt x="283" y="41"/>
                    <a:pt x="228" y="15"/>
                    <a:pt x="175" y="1"/>
                  </a:cubicBezTo>
                  <a:cubicBezTo>
                    <a:pt x="95" y="0"/>
                    <a:pt x="38" y="14"/>
                    <a:pt x="0" y="28"/>
                  </a:cubicBezTo>
                  <a:cubicBezTo>
                    <a:pt x="105" y="10"/>
                    <a:pt x="216" y="34"/>
                    <a:pt x="329" y="111"/>
                  </a:cubicBezTo>
                  <a:cubicBezTo>
                    <a:pt x="330" y="111"/>
                    <a:pt x="330" y="111"/>
                    <a:pt x="330" y="111"/>
                  </a:cubicBezTo>
                  <a:cubicBezTo>
                    <a:pt x="339" y="78"/>
                    <a:pt x="339" y="78"/>
                    <a:pt x="339" y="78"/>
                  </a:cubicBezTo>
                  <a:close/>
                </a:path>
              </a:pathLst>
            </a:custGeom>
            <a:gradFill flip="none" rotWithShape="1">
              <a:gsLst>
                <a:gs pos="100000">
                  <a:schemeClr val="accent1">
                    <a:lumMod val="91000"/>
                  </a:schemeClr>
                </a:gs>
                <a:gs pos="0">
                  <a:schemeClr val="accent1">
                    <a:lumMod val="87000"/>
                  </a:schemeClr>
                </a:gs>
              </a:gsLst>
              <a:lin ang="5400000" scaled="1"/>
              <a:tileRect/>
            </a:gradFill>
            <a:ln w="512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armonyOS Sans SC"/>
                <a:cs typeface="+mn-cs"/>
              </a:endParaRPr>
            </a:p>
          </p:txBody>
        </p:sp>
        <p:sp>
          <p:nvSpPr>
            <p:cNvPr id="54" name="Freeform 29">
              <a:extLst>
                <a:ext uri="{FF2B5EF4-FFF2-40B4-BE49-F238E27FC236}">
                  <a16:creationId xmlns:a16="http://schemas.microsoft.com/office/drawing/2014/main" id="{096E4180-F8E8-44EF-904D-909B3C5C2F19}"/>
                </a:ext>
              </a:extLst>
            </p:cNvPr>
            <p:cNvSpPr>
              <a:spLocks/>
            </p:cNvSpPr>
            <p:nvPr/>
          </p:nvSpPr>
          <p:spPr bwMode="auto">
            <a:xfrm rot="10800000">
              <a:off x="2240341" y="3097356"/>
              <a:ext cx="152919" cy="71740"/>
            </a:xfrm>
            <a:custGeom>
              <a:avLst/>
              <a:gdLst>
                <a:gd name="T0" fmla="*/ 9 w 98"/>
                <a:gd name="T1" fmla="*/ 13 h 46"/>
                <a:gd name="T2" fmla="*/ 0 w 98"/>
                <a:gd name="T3" fmla="*/ 46 h 46"/>
                <a:gd name="T4" fmla="*/ 98 w 98"/>
                <a:gd name="T5" fmla="*/ 20 h 46"/>
                <a:gd name="T6" fmla="*/ 53 w 98"/>
                <a:gd name="T7" fmla="*/ 0 h 46"/>
                <a:gd name="T8" fmla="*/ 9 w 98"/>
                <a:gd name="T9" fmla="*/ 13 h 46"/>
              </a:gdLst>
              <a:ahLst/>
              <a:cxnLst>
                <a:cxn ang="0">
                  <a:pos x="T0" y="T1"/>
                </a:cxn>
                <a:cxn ang="0">
                  <a:pos x="T2" y="T3"/>
                </a:cxn>
                <a:cxn ang="0">
                  <a:pos x="T4" y="T5"/>
                </a:cxn>
                <a:cxn ang="0">
                  <a:pos x="T6" y="T7"/>
                </a:cxn>
                <a:cxn ang="0">
                  <a:pos x="T8" y="T9"/>
                </a:cxn>
              </a:cxnLst>
              <a:rect l="0" t="0" r="r" b="b"/>
              <a:pathLst>
                <a:path w="98" h="46">
                  <a:moveTo>
                    <a:pt x="9" y="13"/>
                  </a:moveTo>
                  <a:cubicBezTo>
                    <a:pt x="0" y="46"/>
                    <a:pt x="0" y="46"/>
                    <a:pt x="0" y="46"/>
                  </a:cubicBezTo>
                  <a:cubicBezTo>
                    <a:pt x="98" y="20"/>
                    <a:pt x="98" y="20"/>
                    <a:pt x="98" y="20"/>
                  </a:cubicBezTo>
                  <a:cubicBezTo>
                    <a:pt x="86" y="14"/>
                    <a:pt x="62" y="4"/>
                    <a:pt x="53" y="0"/>
                  </a:cubicBezTo>
                  <a:lnTo>
                    <a:pt x="9" y="13"/>
                  </a:lnTo>
                  <a:close/>
                </a:path>
              </a:pathLst>
            </a:custGeom>
            <a:gradFill flip="none" rotWithShape="1">
              <a:gsLst>
                <a:gs pos="100000">
                  <a:schemeClr val="accent1">
                    <a:lumMod val="91000"/>
                  </a:schemeClr>
                </a:gs>
                <a:gs pos="0">
                  <a:schemeClr val="accent1">
                    <a:lumMod val="87000"/>
                  </a:schemeClr>
                </a:gs>
              </a:gsLst>
              <a:lin ang="5400000" scaled="1"/>
              <a:tileRect/>
            </a:gradFill>
            <a:ln w="512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armonyOS Sans SC"/>
                <a:cs typeface="+mn-cs"/>
              </a:endParaRPr>
            </a:p>
          </p:txBody>
        </p:sp>
        <p:sp>
          <p:nvSpPr>
            <p:cNvPr id="49" name="Freeform 6">
              <a:extLst>
                <a:ext uri="{FF2B5EF4-FFF2-40B4-BE49-F238E27FC236}">
                  <a16:creationId xmlns:a16="http://schemas.microsoft.com/office/drawing/2014/main" id="{82B6FE6E-6B3E-4B2E-9FEE-B41B42C15382}"/>
                </a:ext>
              </a:extLst>
            </p:cNvPr>
            <p:cNvSpPr>
              <a:spLocks/>
            </p:cNvSpPr>
            <p:nvPr/>
          </p:nvSpPr>
          <p:spPr bwMode="auto">
            <a:xfrm rot="10800000">
              <a:off x="845194" y="4928605"/>
              <a:ext cx="1015683" cy="796687"/>
            </a:xfrm>
            <a:custGeom>
              <a:avLst/>
              <a:gdLst>
                <a:gd name="T0" fmla="*/ 105 w 649"/>
                <a:gd name="T1" fmla="*/ 151 h 509"/>
                <a:gd name="T2" fmla="*/ 104 w 649"/>
                <a:gd name="T3" fmla="*/ 151 h 509"/>
                <a:gd name="T4" fmla="*/ 0 w 649"/>
                <a:gd name="T5" fmla="*/ 509 h 509"/>
                <a:gd name="T6" fmla="*/ 1 w 649"/>
                <a:gd name="T7" fmla="*/ 509 h 509"/>
                <a:gd name="T8" fmla="*/ 447 w 649"/>
                <a:gd name="T9" fmla="*/ 375 h 509"/>
                <a:gd name="T10" fmla="*/ 649 w 649"/>
                <a:gd name="T11" fmla="*/ 0 h 509"/>
                <a:gd name="T12" fmla="*/ 105 w 649"/>
                <a:gd name="T13" fmla="*/ 151 h 509"/>
              </a:gdLst>
              <a:ahLst/>
              <a:cxnLst>
                <a:cxn ang="0">
                  <a:pos x="T0" y="T1"/>
                </a:cxn>
                <a:cxn ang="0">
                  <a:pos x="T2" y="T3"/>
                </a:cxn>
                <a:cxn ang="0">
                  <a:pos x="T4" y="T5"/>
                </a:cxn>
                <a:cxn ang="0">
                  <a:pos x="T6" y="T7"/>
                </a:cxn>
                <a:cxn ang="0">
                  <a:pos x="T8" y="T9"/>
                </a:cxn>
                <a:cxn ang="0">
                  <a:pos x="T10" y="T11"/>
                </a:cxn>
                <a:cxn ang="0">
                  <a:pos x="T12" y="T13"/>
                </a:cxn>
              </a:cxnLst>
              <a:rect l="0" t="0" r="r" b="b"/>
              <a:pathLst>
                <a:path w="649" h="509">
                  <a:moveTo>
                    <a:pt x="105" y="151"/>
                  </a:moveTo>
                  <a:cubicBezTo>
                    <a:pt x="104" y="151"/>
                    <a:pt x="104" y="151"/>
                    <a:pt x="104" y="151"/>
                  </a:cubicBezTo>
                  <a:cubicBezTo>
                    <a:pt x="0" y="509"/>
                    <a:pt x="0" y="509"/>
                    <a:pt x="0" y="509"/>
                  </a:cubicBezTo>
                  <a:cubicBezTo>
                    <a:pt x="0" y="509"/>
                    <a:pt x="0" y="509"/>
                    <a:pt x="1" y="509"/>
                  </a:cubicBezTo>
                  <a:cubicBezTo>
                    <a:pt x="447" y="375"/>
                    <a:pt x="447" y="375"/>
                    <a:pt x="447" y="375"/>
                  </a:cubicBezTo>
                  <a:cubicBezTo>
                    <a:pt x="649" y="0"/>
                    <a:pt x="649" y="0"/>
                    <a:pt x="649" y="0"/>
                  </a:cubicBezTo>
                  <a:lnTo>
                    <a:pt x="105" y="151"/>
                  </a:lnTo>
                  <a:close/>
                </a:path>
              </a:pathLst>
            </a:custGeom>
            <a:gradFill flip="none" rotWithShape="1">
              <a:gsLst>
                <a:gs pos="0">
                  <a:schemeClr val="accent1">
                    <a:lumMod val="74000"/>
                    <a:lumOff val="26000"/>
                  </a:schemeClr>
                </a:gs>
                <a:gs pos="63000">
                  <a:schemeClr val="accent1">
                    <a:lumMod val="93000"/>
                  </a:schemeClr>
                </a:gs>
              </a:gsLst>
              <a:lin ang="16200000" scaled="1"/>
              <a:tileRect/>
            </a:gradFill>
            <a:ln w="1270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armonyOS Sans SC"/>
                <a:cs typeface="+mn-cs"/>
              </a:endParaRPr>
            </a:p>
          </p:txBody>
        </p:sp>
        <p:sp>
          <p:nvSpPr>
            <p:cNvPr id="43" name="Freeform 8">
              <a:extLst>
                <a:ext uri="{FF2B5EF4-FFF2-40B4-BE49-F238E27FC236}">
                  <a16:creationId xmlns:a16="http://schemas.microsoft.com/office/drawing/2014/main" id="{EB48F61D-2ECA-4893-98A6-B9DDB1CAC548}"/>
                </a:ext>
              </a:extLst>
            </p:cNvPr>
            <p:cNvSpPr>
              <a:spLocks/>
            </p:cNvSpPr>
            <p:nvPr/>
          </p:nvSpPr>
          <p:spPr bwMode="auto">
            <a:xfrm rot="10800000">
              <a:off x="1898634" y="3148329"/>
              <a:ext cx="481411" cy="623002"/>
            </a:xfrm>
            <a:custGeom>
              <a:avLst/>
              <a:gdLst>
                <a:gd name="T0" fmla="*/ 0 w 255"/>
                <a:gd name="T1" fmla="*/ 330 h 330"/>
                <a:gd name="T2" fmla="*/ 92 w 255"/>
                <a:gd name="T3" fmla="*/ 302 h 330"/>
                <a:gd name="T4" fmla="*/ 255 w 255"/>
                <a:gd name="T5" fmla="*/ 0 h 330"/>
                <a:gd name="T6" fmla="*/ 83 w 255"/>
                <a:gd name="T7" fmla="*/ 46 h 330"/>
                <a:gd name="T8" fmla="*/ 0 w 255"/>
                <a:gd name="T9" fmla="*/ 330 h 330"/>
              </a:gdLst>
              <a:ahLst/>
              <a:cxnLst>
                <a:cxn ang="0">
                  <a:pos x="T0" y="T1"/>
                </a:cxn>
                <a:cxn ang="0">
                  <a:pos x="T2" y="T3"/>
                </a:cxn>
                <a:cxn ang="0">
                  <a:pos x="T4" y="T5"/>
                </a:cxn>
                <a:cxn ang="0">
                  <a:pos x="T6" y="T7"/>
                </a:cxn>
                <a:cxn ang="0">
                  <a:pos x="T8" y="T9"/>
                </a:cxn>
              </a:cxnLst>
              <a:rect l="0" t="0" r="r" b="b"/>
              <a:pathLst>
                <a:path w="255" h="330">
                  <a:moveTo>
                    <a:pt x="0" y="330"/>
                  </a:moveTo>
                  <a:lnTo>
                    <a:pt x="92" y="302"/>
                  </a:lnTo>
                  <a:lnTo>
                    <a:pt x="255" y="0"/>
                  </a:lnTo>
                  <a:lnTo>
                    <a:pt x="83" y="46"/>
                  </a:lnTo>
                  <a:lnTo>
                    <a:pt x="0" y="330"/>
                  </a:lnTo>
                  <a:close/>
                </a:path>
              </a:pathLst>
            </a:custGeom>
            <a:gradFill flip="none" rotWithShape="1">
              <a:gsLst>
                <a:gs pos="0">
                  <a:schemeClr val="accent1">
                    <a:lumMod val="65000"/>
                    <a:lumOff val="35000"/>
                  </a:schemeClr>
                </a:gs>
                <a:gs pos="63000">
                  <a:schemeClr val="accent1">
                    <a:lumMod val="87000"/>
                    <a:lumOff val="13000"/>
                  </a:schemeClr>
                </a:gs>
              </a:gsLst>
              <a:lin ang="5400000" scaled="1"/>
              <a:tileRect/>
            </a:gradFill>
            <a:ln w="1270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armonyOS Sans SC"/>
                <a:cs typeface="+mn-cs"/>
              </a:endParaRPr>
            </a:p>
          </p:txBody>
        </p:sp>
        <p:sp>
          <p:nvSpPr>
            <p:cNvPr id="44" name="Freeform 15">
              <a:extLst>
                <a:ext uri="{FF2B5EF4-FFF2-40B4-BE49-F238E27FC236}">
                  <a16:creationId xmlns:a16="http://schemas.microsoft.com/office/drawing/2014/main" id="{6648327D-FE72-447C-9B84-57C18F511FE0}"/>
                </a:ext>
              </a:extLst>
            </p:cNvPr>
            <p:cNvSpPr>
              <a:spLocks/>
            </p:cNvSpPr>
            <p:nvPr/>
          </p:nvSpPr>
          <p:spPr bwMode="auto">
            <a:xfrm rot="10800000">
              <a:off x="2223350" y="3148328"/>
              <a:ext cx="1076096" cy="832559"/>
            </a:xfrm>
            <a:custGeom>
              <a:avLst/>
              <a:gdLst>
                <a:gd name="T0" fmla="*/ 588 w 688"/>
                <a:gd name="T1" fmla="*/ 532 h 532"/>
                <a:gd name="T2" fmla="*/ 588 w 688"/>
                <a:gd name="T3" fmla="*/ 532 h 532"/>
                <a:gd name="T4" fmla="*/ 688 w 688"/>
                <a:gd name="T5" fmla="*/ 189 h 532"/>
                <a:gd name="T6" fmla="*/ 688 w 688"/>
                <a:gd name="T7" fmla="*/ 189 h 532"/>
                <a:gd name="T8" fmla="*/ 0 w 688"/>
                <a:gd name="T9" fmla="*/ 58 h 532"/>
                <a:gd name="T10" fmla="*/ 220 w 688"/>
                <a:gd name="T11" fmla="*/ 450 h 532"/>
                <a:gd name="T12" fmla="*/ 588 w 688"/>
                <a:gd name="T13" fmla="*/ 532 h 532"/>
              </a:gdLst>
              <a:ahLst/>
              <a:cxnLst>
                <a:cxn ang="0">
                  <a:pos x="T0" y="T1"/>
                </a:cxn>
                <a:cxn ang="0">
                  <a:pos x="T2" y="T3"/>
                </a:cxn>
                <a:cxn ang="0">
                  <a:pos x="T4" y="T5"/>
                </a:cxn>
                <a:cxn ang="0">
                  <a:pos x="T6" y="T7"/>
                </a:cxn>
                <a:cxn ang="0">
                  <a:pos x="T8" y="T9"/>
                </a:cxn>
                <a:cxn ang="0">
                  <a:pos x="T10" y="T11"/>
                </a:cxn>
                <a:cxn ang="0">
                  <a:pos x="T12" y="T13"/>
                </a:cxn>
              </a:cxnLst>
              <a:rect l="0" t="0" r="r" b="b"/>
              <a:pathLst>
                <a:path w="688" h="532">
                  <a:moveTo>
                    <a:pt x="588" y="532"/>
                  </a:moveTo>
                  <a:cubicBezTo>
                    <a:pt x="588" y="532"/>
                    <a:pt x="588" y="532"/>
                    <a:pt x="588" y="532"/>
                  </a:cubicBezTo>
                  <a:cubicBezTo>
                    <a:pt x="688" y="189"/>
                    <a:pt x="688" y="189"/>
                    <a:pt x="688" y="189"/>
                  </a:cubicBezTo>
                  <a:cubicBezTo>
                    <a:pt x="688" y="189"/>
                    <a:pt x="688" y="189"/>
                    <a:pt x="688" y="189"/>
                  </a:cubicBezTo>
                  <a:cubicBezTo>
                    <a:pt x="435" y="16"/>
                    <a:pt x="201" y="0"/>
                    <a:pt x="0" y="58"/>
                  </a:cubicBezTo>
                  <a:cubicBezTo>
                    <a:pt x="220" y="450"/>
                    <a:pt x="220" y="450"/>
                    <a:pt x="220" y="450"/>
                  </a:cubicBezTo>
                  <a:cubicBezTo>
                    <a:pt x="336" y="424"/>
                    <a:pt x="459" y="445"/>
                    <a:pt x="588" y="532"/>
                  </a:cubicBezTo>
                  <a:close/>
                </a:path>
              </a:pathLst>
            </a:custGeom>
            <a:gradFill flip="none" rotWithShape="1">
              <a:gsLst>
                <a:gs pos="0">
                  <a:schemeClr val="accent1">
                    <a:lumMod val="51000"/>
                    <a:lumOff val="49000"/>
                  </a:schemeClr>
                </a:gs>
                <a:gs pos="100000">
                  <a:schemeClr val="accent1">
                    <a:lumMod val="95000"/>
                    <a:lumOff val="5000"/>
                  </a:schemeClr>
                </a:gs>
              </a:gsLst>
              <a:lin ang="2700000" scaled="1"/>
              <a:tileRect/>
            </a:gradFill>
            <a:ln w="51262"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armonyOS Sans SC"/>
                <a:cs typeface="+mn-cs"/>
              </a:endParaRPr>
            </a:p>
          </p:txBody>
        </p:sp>
        <p:sp>
          <p:nvSpPr>
            <p:cNvPr id="45" name="Freeform 24">
              <a:extLst>
                <a:ext uri="{FF2B5EF4-FFF2-40B4-BE49-F238E27FC236}">
                  <a16:creationId xmlns:a16="http://schemas.microsoft.com/office/drawing/2014/main" id="{EDBB03BC-C253-49B4-858D-F96E7E9BBF8E}"/>
                </a:ext>
              </a:extLst>
            </p:cNvPr>
            <p:cNvSpPr>
              <a:spLocks/>
            </p:cNvSpPr>
            <p:nvPr/>
          </p:nvSpPr>
          <p:spPr bwMode="auto">
            <a:xfrm rot="10800000">
              <a:off x="2208248" y="3684487"/>
              <a:ext cx="1053440" cy="315278"/>
            </a:xfrm>
            <a:custGeom>
              <a:avLst/>
              <a:gdLst>
                <a:gd name="T0" fmla="*/ 191 w 674"/>
                <a:gd name="T1" fmla="*/ 0 h 201"/>
                <a:gd name="T2" fmla="*/ 0 w 674"/>
                <a:gd name="T3" fmla="*/ 63 h 201"/>
                <a:gd name="T4" fmla="*/ 664 w 674"/>
                <a:gd name="T5" fmla="*/ 201 h 201"/>
                <a:gd name="T6" fmla="*/ 664 w 674"/>
                <a:gd name="T7" fmla="*/ 201 h 201"/>
                <a:gd name="T8" fmla="*/ 674 w 674"/>
                <a:gd name="T9" fmla="*/ 168 h 201"/>
                <a:gd name="T10" fmla="*/ 191 w 674"/>
                <a:gd name="T11" fmla="*/ 0 h 201"/>
              </a:gdLst>
              <a:ahLst/>
              <a:cxnLst>
                <a:cxn ang="0">
                  <a:pos x="T0" y="T1"/>
                </a:cxn>
                <a:cxn ang="0">
                  <a:pos x="T2" y="T3"/>
                </a:cxn>
                <a:cxn ang="0">
                  <a:pos x="T4" y="T5"/>
                </a:cxn>
                <a:cxn ang="0">
                  <a:pos x="T6" y="T7"/>
                </a:cxn>
                <a:cxn ang="0">
                  <a:pos x="T8" y="T9"/>
                </a:cxn>
                <a:cxn ang="0">
                  <a:pos x="T10" y="T11"/>
                </a:cxn>
              </a:cxnLst>
              <a:rect l="0" t="0" r="r" b="b"/>
              <a:pathLst>
                <a:path w="674" h="201">
                  <a:moveTo>
                    <a:pt x="191" y="0"/>
                  </a:moveTo>
                  <a:cubicBezTo>
                    <a:pt x="86" y="21"/>
                    <a:pt x="26" y="49"/>
                    <a:pt x="0" y="63"/>
                  </a:cubicBezTo>
                  <a:cubicBezTo>
                    <a:pt x="196" y="13"/>
                    <a:pt x="421" y="35"/>
                    <a:pt x="664" y="201"/>
                  </a:cubicBezTo>
                  <a:cubicBezTo>
                    <a:pt x="664" y="201"/>
                    <a:pt x="664" y="201"/>
                    <a:pt x="664" y="201"/>
                  </a:cubicBezTo>
                  <a:cubicBezTo>
                    <a:pt x="674" y="168"/>
                    <a:pt x="674" y="168"/>
                    <a:pt x="674" y="168"/>
                  </a:cubicBezTo>
                  <a:cubicBezTo>
                    <a:pt x="501" y="52"/>
                    <a:pt x="339" y="3"/>
                    <a:pt x="191" y="0"/>
                  </a:cubicBezTo>
                  <a:close/>
                </a:path>
              </a:pathLst>
            </a:custGeom>
            <a:gradFill flip="none" rotWithShape="1">
              <a:gsLst>
                <a:gs pos="100000">
                  <a:schemeClr val="accent1">
                    <a:lumMod val="91000"/>
                  </a:schemeClr>
                </a:gs>
                <a:gs pos="0">
                  <a:schemeClr val="accent1">
                    <a:lumMod val="87000"/>
                  </a:schemeClr>
                </a:gs>
              </a:gsLst>
              <a:lin ang="5400000" scaled="1"/>
              <a:tileRect/>
            </a:gradFill>
            <a:ln w="512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armonyOS Sans SC"/>
                <a:cs typeface="+mn-cs"/>
              </a:endParaRPr>
            </a:p>
          </p:txBody>
        </p:sp>
        <p:sp>
          <p:nvSpPr>
            <p:cNvPr id="46" name="Freeform 28">
              <a:extLst>
                <a:ext uri="{FF2B5EF4-FFF2-40B4-BE49-F238E27FC236}">
                  <a16:creationId xmlns:a16="http://schemas.microsoft.com/office/drawing/2014/main" id="{B17A6CC2-4F8B-4B3E-AD2C-55847D58923C}"/>
                </a:ext>
              </a:extLst>
            </p:cNvPr>
            <p:cNvSpPr>
              <a:spLocks/>
            </p:cNvSpPr>
            <p:nvPr/>
          </p:nvSpPr>
          <p:spPr bwMode="auto">
            <a:xfrm rot="10800000">
              <a:off x="1898634" y="3684490"/>
              <a:ext cx="324716" cy="120825"/>
            </a:xfrm>
            <a:custGeom>
              <a:avLst/>
              <a:gdLst>
                <a:gd name="T0" fmla="*/ 10 w 207"/>
                <a:gd name="T1" fmla="*/ 44 h 77"/>
                <a:gd name="T2" fmla="*/ 10 w 207"/>
                <a:gd name="T3" fmla="*/ 44 h 77"/>
                <a:gd name="T4" fmla="*/ 0 w 207"/>
                <a:gd name="T5" fmla="*/ 77 h 77"/>
                <a:gd name="T6" fmla="*/ 207 w 207"/>
                <a:gd name="T7" fmla="*/ 22 h 77"/>
                <a:gd name="T8" fmla="*/ 159 w 207"/>
                <a:gd name="T9" fmla="*/ 0 h 77"/>
                <a:gd name="T10" fmla="*/ 10 w 207"/>
                <a:gd name="T11" fmla="*/ 44 h 77"/>
              </a:gdLst>
              <a:ahLst/>
              <a:cxnLst>
                <a:cxn ang="0">
                  <a:pos x="T0" y="T1"/>
                </a:cxn>
                <a:cxn ang="0">
                  <a:pos x="T2" y="T3"/>
                </a:cxn>
                <a:cxn ang="0">
                  <a:pos x="T4" y="T5"/>
                </a:cxn>
                <a:cxn ang="0">
                  <a:pos x="T6" y="T7"/>
                </a:cxn>
                <a:cxn ang="0">
                  <a:pos x="T8" y="T9"/>
                </a:cxn>
                <a:cxn ang="0">
                  <a:pos x="T10" y="T11"/>
                </a:cxn>
              </a:cxnLst>
              <a:rect l="0" t="0" r="r" b="b"/>
              <a:pathLst>
                <a:path w="207" h="77">
                  <a:moveTo>
                    <a:pt x="10" y="44"/>
                  </a:moveTo>
                  <a:cubicBezTo>
                    <a:pt x="10" y="44"/>
                    <a:pt x="10" y="44"/>
                    <a:pt x="10" y="44"/>
                  </a:cubicBezTo>
                  <a:cubicBezTo>
                    <a:pt x="0" y="77"/>
                    <a:pt x="0" y="77"/>
                    <a:pt x="0" y="77"/>
                  </a:cubicBezTo>
                  <a:cubicBezTo>
                    <a:pt x="207" y="22"/>
                    <a:pt x="207" y="22"/>
                    <a:pt x="207" y="22"/>
                  </a:cubicBezTo>
                  <a:cubicBezTo>
                    <a:pt x="159" y="0"/>
                    <a:pt x="159" y="0"/>
                    <a:pt x="159" y="0"/>
                  </a:cubicBezTo>
                  <a:lnTo>
                    <a:pt x="10" y="44"/>
                  </a:lnTo>
                  <a:close/>
                </a:path>
              </a:pathLst>
            </a:custGeom>
            <a:gradFill flip="none" rotWithShape="1">
              <a:gsLst>
                <a:gs pos="100000">
                  <a:schemeClr val="accent1">
                    <a:lumMod val="91000"/>
                  </a:schemeClr>
                </a:gs>
                <a:gs pos="0">
                  <a:schemeClr val="accent1">
                    <a:lumMod val="87000"/>
                  </a:schemeClr>
                </a:gs>
              </a:gsLst>
              <a:lin ang="5400000" scaled="1"/>
              <a:tileRect/>
            </a:gradFill>
            <a:ln w="512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armonyOS Sans SC"/>
                <a:cs typeface="+mn-cs"/>
              </a:endParaRPr>
            </a:p>
          </p:txBody>
        </p:sp>
        <p:sp>
          <p:nvSpPr>
            <p:cNvPr id="39" name="Freeform 9">
              <a:extLst>
                <a:ext uri="{FF2B5EF4-FFF2-40B4-BE49-F238E27FC236}">
                  <a16:creationId xmlns:a16="http://schemas.microsoft.com/office/drawing/2014/main" id="{055BD64D-2D98-441B-8938-35E1B56B2477}"/>
                </a:ext>
              </a:extLst>
            </p:cNvPr>
            <p:cNvSpPr>
              <a:spLocks/>
            </p:cNvSpPr>
            <p:nvPr/>
          </p:nvSpPr>
          <p:spPr bwMode="auto">
            <a:xfrm rot="10800000">
              <a:off x="1551264" y="3737349"/>
              <a:ext cx="656985" cy="679640"/>
            </a:xfrm>
            <a:custGeom>
              <a:avLst/>
              <a:gdLst>
                <a:gd name="T0" fmla="*/ 102 w 420"/>
                <a:gd name="T1" fmla="*/ 84 h 435"/>
                <a:gd name="T2" fmla="*/ 0 w 420"/>
                <a:gd name="T3" fmla="*/ 435 h 435"/>
                <a:gd name="T4" fmla="*/ 0 w 420"/>
                <a:gd name="T5" fmla="*/ 435 h 435"/>
                <a:gd name="T6" fmla="*/ 222 w 420"/>
                <a:gd name="T7" fmla="*/ 369 h 435"/>
                <a:gd name="T8" fmla="*/ 420 w 420"/>
                <a:gd name="T9" fmla="*/ 0 h 435"/>
                <a:gd name="T10" fmla="*/ 102 w 420"/>
                <a:gd name="T11" fmla="*/ 84 h 435"/>
                <a:gd name="T12" fmla="*/ 102 w 420"/>
                <a:gd name="T13" fmla="*/ 84 h 435"/>
              </a:gdLst>
              <a:ahLst/>
              <a:cxnLst>
                <a:cxn ang="0">
                  <a:pos x="T0" y="T1"/>
                </a:cxn>
                <a:cxn ang="0">
                  <a:pos x="T2" y="T3"/>
                </a:cxn>
                <a:cxn ang="0">
                  <a:pos x="T4" y="T5"/>
                </a:cxn>
                <a:cxn ang="0">
                  <a:pos x="T6" y="T7"/>
                </a:cxn>
                <a:cxn ang="0">
                  <a:pos x="T8" y="T9"/>
                </a:cxn>
                <a:cxn ang="0">
                  <a:pos x="T10" y="T11"/>
                </a:cxn>
                <a:cxn ang="0">
                  <a:pos x="T12" y="T13"/>
                </a:cxn>
              </a:cxnLst>
              <a:rect l="0" t="0" r="r" b="b"/>
              <a:pathLst>
                <a:path w="420" h="435">
                  <a:moveTo>
                    <a:pt x="102" y="84"/>
                  </a:moveTo>
                  <a:cubicBezTo>
                    <a:pt x="0" y="435"/>
                    <a:pt x="0" y="435"/>
                    <a:pt x="0" y="435"/>
                  </a:cubicBezTo>
                  <a:cubicBezTo>
                    <a:pt x="0" y="435"/>
                    <a:pt x="0" y="435"/>
                    <a:pt x="0" y="435"/>
                  </a:cubicBezTo>
                  <a:cubicBezTo>
                    <a:pt x="222" y="369"/>
                    <a:pt x="222" y="369"/>
                    <a:pt x="222" y="369"/>
                  </a:cubicBezTo>
                  <a:cubicBezTo>
                    <a:pt x="420" y="0"/>
                    <a:pt x="420" y="0"/>
                    <a:pt x="420" y="0"/>
                  </a:cubicBezTo>
                  <a:cubicBezTo>
                    <a:pt x="102" y="84"/>
                    <a:pt x="102" y="84"/>
                    <a:pt x="102" y="84"/>
                  </a:cubicBezTo>
                  <a:cubicBezTo>
                    <a:pt x="102" y="84"/>
                    <a:pt x="102" y="84"/>
                    <a:pt x="102" y="84"/>
                  </a:cubicBezTo>
                  <a:close/>
                </a:path>
              </a:pathLst>
            </a:custGeom>
            <a:gradFill flip="none" rotWithShape="1">
              <a:gsLst>
                <a:gs pos="0">
                  <a:schemeClr val="accent1">
                    <a:lumMod val="71000"/>
                    <a:lumOff val="29000"/>
                  </a:schemeClr>
                </a:gs>
                <a:gs pos="63000">
                  <a:schemeClr val="accent1"/>
                </a:gs>
              </a:gsLst>
              <a:lin ang="7200000" scaled="0"/>
              <a:tileRect/>
            </a:gradFill>
            <a:ln w="1270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armonyOS Sans SC"/>
                <a:cs typeface="+mn-cs"/>
              </a:endParaRPr>
            </a:p>
          </p:txBody>
        </p:sp>
        <p:sp>
          <p:nvSpPr>
            <p:cNvPr id="40" name="Freeform 11">
              <a:extLst>
                <a:ext uri="{FF2B5EF4-FFF2-40B4-BE49-F238E27FC236}">
                  <a16:creationId xmlns:a16="http://schemas.microsoft.com/office/drawing/2014/main" id="{935E4938-D0EA-4538-96B2-2318731F5CAE}"/>
                </a:ext>
              </a:extLst>
            </p:cNvPr>
            <p:cNvSpPr>
              <a:spLocks/>
            </p:cNvSpPr>
            <p:nvPr/>
          </p:nvSpPr>
          <p:spPr bwMode="auto">
            <a:xfrm rot="10800000">
              <a:off x="2047778" y="3737349"/>
              <a:ext cx="1621695" cy="955271"/>
            </a:xfrm>
            <a:custGeom>
              <a:avLst/>
              <a:gdLst>
                <a:gd name="T0" fmla="*/ 935 w 1037"/>
                <a:gd name="T1" fmla="*/ 612 h 612"/>
                <a:gd name="T2" fmla="*/ 1037 w 1037"/>
                <a:gd name="T3" fmla="*/ 261 h 612"/>
                <a:gd name="T4" fmla="*/ 0 w 1037"/>
                <a:gd name="T5" fmla="*/ 94 h 612"/>
                <a:gd name="T6" fmla="*/ 215 w 1037"/>
                <a:gd name="T7" fmla="*/ 476 h 612"/>
                <a:gd name="T8" fmla="*/ 935 w 1037"/>
                <a:gd name="T9" fmla="*/ 612 h 612"/>
              </a:gdLst>
              <a:ahLst/>
              <a:cxnLst>
                <a:cxn ang="0">
                  <a:pos x="T0" y="T1"/>
                </a:cxn>
                <a:cxn ang="0">
                  <a:pos x="T2" y="T3"/>
                </a:cxn>
                <a:cxn ang="0">
                  <a:pos x="T4" y="T5"/>
                </a:cxn>
                <a:cxn ang="0">
                  <a:pos x="T6" y="T7"/>
                </a:cxn>
                <a:cxn ang="0">
                  <a:pos x="T8" y="T9"/>
                </a:cxn>
              </a:cxnLst>
              <a:rect l="0" t="0" r="r" b="b"/>
              <a:pathLst>
                <a:path w="1037" h="612">
                  <a:moveTo>
                    <a:pt x="935" y="612"/>
                  </a:moveTo>
                  <a:cubicBezTo>
                    <a:pt x="1037" y="261"/>
                    <a:pt x="1037" y="261"/>
                    <a:pt x="1037" y="261"/>
                  </a:cubicBezTo>
                  <a:cubicBezTo>
                    <a:pt x="594" y="0"/>
                    <a:pt x="242" y="13"/>
                    <a:pt x="0" y="94"/>
                  </a:cubicBezTo>
                  <a:cubicBezTo>
                    <a:pt x="215" y="476"/>
                    <a:pt x="215" y="476"/>
                    <a:pt x="215" y="476"/>
                  </a:cubicBezTo>
                  <a:cubicBezTo>
                    <a:pt x="421" y="414"/>
                    <a:pt x="665" y="430"/>
                    <a:pt x="935" y="612"/>
                  </a:cubicBezTo>
                  <a:close/>
                </a:path>
              </a:pathLst>
            </a:custGeom>
            <a:gradFill flip="none" rotWithShape="1">
              <a:gsLst>
                <a:gs pos="0">
                  <a:schemeClr val="accent1">
                    <a:lumMod val="49000"/>
                    <a:lumOff val="51000"/>
                  </a:schemeClr>
                </a:gs>
                <a:gs pos="63000">
                  <a:schemeClr val="accent1">
                    <a:lumMod val="78000"/>
                    <a:lumOff val="22000"/>
                  </a:schemeClr>
                </a:gs>
              </a:gsLst>
              <a:lin ang="5400000" scaled="1"/>
              <a:tileRect/>
            </a:gradFill>
            <a:ln w="1270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armonyOS Sans SC"/>
                <a:cs typeface="+mn-cs"/>
              </a:endParaRPr>
            </a:p>
          </p:txBody>
        </p:sp>
        <p:sp>
          <p:nvSpPr>
            <p:cNvPr id="41" name="Freeform 23">
              <a:extLst>
                <a:ext uri="{FF2B5EF4-FFF2-40B4-BE49-F238E27FC236}">
                  <a16:creationId xmlns:a16="http://schemas.microsoft.com/office/drawing/2014/main" id="{B627144D-3B8A-4023-BBD8-1465F65439C5}"/>
                </a:ext>
              </a:extLst>
            </p:cNvPr>
            <p:cNvSpPr>
              <a:spLocks/>
            </p:cNvSpPr>
            <p:nvPr/>
          </p:nvSpPr>
          <p:spPr bwMode="auto">
            <a:xfrm rot="10800000">
              <a:off x="2032675" y="4284835"/>
              <a:ext cx="1597153" cy="420999"/>
            </a:xfrm>
            <a:custGeom>
              <a:avLst/>
              <a:gdLst>
                <a:gd name="T0" fmla="*/ 222 w 1022"/>
                <a:gd name="T1" fmla="*/ 15 h 269"/>
                <a:gd name="T2" fmla="*/ 0 w 1022"/>
                <a:gd name="T3" fmla="*/ 94 h 269"/>
                <a:gd name="T4" fmla="*/ 1012 w 1022"/>
                <a:gd name="T5" fmla="*/ 269 h 269"/>
                <a:gd name="T6" fmla="*/ 1022 w 1022"/>
                <a:gd name="T7" fmla="*/ 236 h 269"/>
                <a:gd name="T8" fmla="*/ 222 w 1022"/>
                <a:gd name="T9" fmla="*/ 15 h 269"/>
              </a:gdLst>
              <a:ahLst/>
              <a:cxnLst>
                <a:cxn ang="0">
                  <a:pos x="T0" y="T1"/>
                </a:cxn>
                <a:cxn ang="0">
                  <a:pos x="T2" y="T3"/>
                </a:cxn>
                <a:cxn ang="0">
                  <a:pos x="T4" y="T5"/>
                </a:cxn>
                <a:cxn ang="0">
                  <a:pos x="T6" y="T7"/>
                </a:cxn>
                <a:cxn ang="0">
                  <a:pos x="T8" y="T9"/>
                </a:cxn>
              </a:cxnLst>
              <a:rect l="0" t="0" r="r" b="b"/>
              <a:pathLst>
                <a:path w="1022" h="269">
                  <a:moveTo>
                    <a:pt x="222" y="15"/>
                  </a:moveTo>
                  <a:cubicBezTo>
                    <a:pt x="119" y="42"/>
                    <a:pt x="41" y="75"/>
                    <a:pt x="0" y="94"/>
                  </a:cubicBezTo>
                  <a:cubicBezTo>
                    <a:pt x="241" y="21"/>
                    <a:pt x="584" y="17"/>
                    <a:pt x="1012" y="269"/>
                  </a:cubicBezTo>
                  <a:cubicBezTo>
                    <a:pt x="1022" y="236"/>
                    <a:pt x="1022" y="236"/>
                    <a:pt x="1022" y="236"/>
                  </a:cubicBezTo>
                  <a:cubicBezTo>
                    <a:pt x="708" y="49"/>
                    <a:pt x="438" y="0"/>
                    <a:pt x="222" y="15"/>
                  </a:cubicBezTo>
                  <a:close/>
                </a:path>
              </a:pathLst>
            </a:custGeom>
            <a:gradFill flip="none" rotWithShape="1">
              <a:gsLst>
                <a:gs pos="100000">
                  <a:schemeClr val="accent1">
                    <a:lumMod val="91000"/>
                  </a:schemeClr>
                </a:gs>
                <a:gs pos="0">
                  <a:schemeClr val="accent1">
                    <a:lumMod val="87000"/>
                  </a:schemeClr>
                </a:gs>
              </a:gsLst>
              <a:lin ang="5400000" scaled="1"/>
              <a:tileRect/>
            </a:gradFill>
            <a:ln w="512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armonyOS Sans SC"/>
                <a:cs typeface="+mn-cs"/>
              </a:endParaRPr>
            </a:p>
          </p:txBody>
        </p:sp>
        <p:sp>
          <p:nvSpPr>
            <p:cNvPr id="42" name="Freeform 27">
              <a:extLst>
                <a:ext uri="{FF2B5EF4-FFF2-40B4-BE49-F238E27FC236}">
                  <a16:creationId xmlns:a16="http://schemas.microsoft.com/office/drawing/2014/main" id="{0576F9D6-83DF-49FB-B5B8-F3B5A6750168}"/>
                </a:ext>
              </a:extLst>
            </p:cNvPr>
            <p:cNvSpPr>
              <a:spLocks/>
            </p:cNvSpPr>
            <p:nvPr/>
          </p:nvSpPr>
          <p:spPr bwMode="auto">
            <a:xfrm rot="10800000">
              <a:off x="1551264" y="4284835"/>
              <a:ext cx="496515" cy="171798"/>
            </a:xfrm>
            <a:custGeom>
              <a:avLst/>
              <a:gdLst>
                <a:gd name="T0" fmla="*/ 10 w 318"/>
                <a:gd name="T1" fmla="*/ 77 h 110"/>
                <a:gd name="T2" fmla="*/ 10 w 318"/>
                <a:gd name="T3" fmla="*/ 77 h 110"/>
                <a:gd name="T4" fmla="*/ 0 w 318"/>
                <a:gd name="T5" fmla="*/ 110 h 110"/>
                <a:gd name="T6" fmla="*/ 0 w 318"/>
                <a:gd name="T7" fmla="*/ 110 h 110"/>
                <a:gd name="T8" fmla="*/ 318 w 318"/>
                <a:gd name="T9" fmla="*/ 26 h 110"/>
                <a:gd name="T10" fmla="*/ 268 w 318"/>
                <a:gd name="T11" fmla="*/ 0 h 110"/>
                <a:gd name="T12" fmla="*/ 10 w 318"/>
                <a:gd name="T13" fmla="*/ 77 h 110"/>
              </a:gdLst>
              <a:ahLst/>
              <a:cxnLst>
                <a:cxn ang="0">
                  <a:pos x="T0" y="T1"/>
                </a:cxn>
                <a:cxn ang="0">
                  <a:pos x="T2" y="T3"/>
                </a:cxn>
                <a:cxn ang="0">
                  <a:pos x="T4" y="T5"/>
                </a:cxn>
                <a:cxn ang="0">
                  <a:pos x="T6" y="T7"/>
                </a:cxn>
                <a:cxn ang="0">
                  <a:pos x="T8" y="T9"/>
                </a:cxn>
                <a:cxn ang="0">
                  <a:pos x="T10" y="T11"/>
                </a:cxn>
                <a:cxn ang="0">
                  <a:pos x="T12" y="T13"/>
                </a:cxn>
              </a:cxnLst>
              <a:rect l="0" t="0" r="r" b="b"/>
              <a:pathLst>
                <a:path w="318" h="110">
                  <a:moveTo>
                    <a:pt x="10" y="77"/>
                  </a:moveTo>
                  <a:cubicBezTo>
                    <a:pt x="10" y="77"/>
                    <a:pt x="10" y="77"/>
                    <a:pt x="10" y="77"/>
                  </a:cubicBezTo>
                  <a:cubicBezTo>
                    <a:pt x="0" y="110"/>
                    <a:pt x="0" y="110"/>
                    <a:pt x="0" y="110"/>
                  </a:cubicBezTo>
                  <a:cubicBezTo>
                    <a:pt x="0" y="110"/>
                    <a:pt x="0" y="110"/>
                    <a:pt x="0" y="110"/>
                  </a:cubicBezTo>
                  <a:cubicBezTo>
                    <a:pt x="318" y="26"/>
                    <a:pt x="318" y="26"/>
                    <a:pt x="318" y="26"/>
                  </a:cubicBezTo>
                  <a:cubicBezTo>
                    <a:pt x="268" y="0"/>
                    <a:pt x="268" y="0"/>
                    <a:pt x="268" y="0"/>
                  </a:cubicBezTo>
                  <a:lnTo>
                    <a:pt x="10" y="77"/>
                  </a:lnTo>
                  <a:close/>
                </a:path>
              </a:pathLst>
            </a:custGeom>
            <a:gradFill flip="none" rotWithShape="1">
              <a:gsLst>
                <a:gs pos="100000">
                  <a:schemeClr val="accent1">
                    <a:lumMod val="91000"/>
                  </a:schemeClr>
                </a:gs>
                <a:gs pos="0">
                  <a:schemeClr val="accent1">
                    <a:lumMod val="87000"/>
                  </a:schemeClr>
                </a:gs>
              </a:gsLst>
              <a:lin ang="5400000" scaled="1"/>
              <a:tileRect/>
            </a:gradFill>
            <a:ln w="512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armonyOS Sans SC"/>
                <a:cs typeface="+mn-cs"/>
              </a:endParaRPr>
            </a:p>
          </p:txBody>
        </p:sp>
        <p:sp>
          <p:nvSpPr>
            <p:cNvPr id="35" name="Freeform 10">
              <a:extLst>
                <a:ext uri="{FF2B5EF4-FFF2-40B4-BE49-F238E27FC236}">
                  <a16:creationId xmlns:a16="http://schemas.microsoft.com/office/drawing/2014/main" id="{E27E741E-9B10-49CC-90F4-ECEDEE2433E5}"/>
                </a:ext>
              </a:extLst>
            </p:cNvPr>
            <p:cNvSpPr>
              <a:spLocks/>
            </p:cNvSpPr>
            <p:nvPr/>
          </p:nvSpPr>
          <p:spPr bwMode="auto">
            <a:xfrm rot="10800000">
              <a:off x="1205782" y="4337698"/>
              <a:ext cx="826894" cy="717397"/>
            </a:xfrm>
            <a:custGeom>
              <a:avLst/>
              <a:gdLst>
                <a:gd name="T0" fmla="*/ 101 w 528"/>
                <a:gd name="T1" fmla="*/ 113 h 459"/>
                <a:gd name="T2" fmla="*/ 0 w 528"/>
                <a:gd name="T3" fmla="*/ 459 h 459"/>
                <a:gd name="T4" fmla="*/ 0 w 528"/>
                <a:gd name="T5" fmla="*/ 459 h 459"/>
                <a:gd name="T6" fmla="*/ 335 w 528"/>
                <a:gd name="T7" fmla="*/ 359 h 459"/>
                <a:gd name="T8" fmla="*/ 528 w 528"/>
                <a:gd name="T9" fmla="*/ 0 h 459"/>
                <a:gd name="T10" fmla="*/ 101 w 528"/>
                <a:gd name="T11" fmla="*/ 113 h 459"/>
                <a:gd name="T12" fmla="*/ 101 w 528"/>
                <a:gd name="T13" fmla="*/ 113 h 459"/>
              </a:gdLst>
              <a:ahLst/>
              <a:cxnLst>
                <a:cxn ang="0">
                  <a:pos x="T0" y="T1"/>
                </a:cxn>
                <a:cxn ang="0">
                  <a:pos x="T2" y="T3"/>
                </a:cxn>
                <a:cxn ang="0">
                  <a:pos x="T4" y="T5"/>
                </a:cxn>
                <a:cxn ang="0">
                  <a:pos x="T6" y="T7"/>
                </a:cxn>
                <a:cxn ang="0">
                  <a:pos x="T8" y="T9"/>
                </a:cxn>
                <a:cxn ang="0">
                  <a:pos x="T10" y="T11"/>
                </a:cxn>
                <a:cxn ang="0">
                  <a:pos x="T12" y="T13"/>
                </a:cxn>
              </a:cxnLst>
              <a:rect l="0" t="0" r="r" b="b"/>
              <a:pathLst>
                <a:path w="528" h="459">
                  <a:moveTo>
                    <a:pt x="101" y="113"/>
                  </a:moveTo>
                  <a:cubicBezTo>
                    <a:pt x="0" y="459"/>
                    <a:pt x="0" y="459"/>
                    <a:pt x="0" y="459"/>
                  </a:cubicBezTo>
                  <a:cubicBezTo>
                    <a:pt x="0" y="459"/>
                    <a:pt x="0" y="459"/>
                    <a:pt x="0" y="459"/>
                  </a:cubicBezTo>
                  <a:cubicBezTo>
                    <a:pt x="335" y="359"/>
                    <a:pt x="335" y="359"/>
                    <a:pt x="335" y="359"/>
                  </a:cubicBezTo>
                  <a:cubicBezTo>
                    <a:pt x="528" y="0"/>
                    <a:pt x="528" y="0"/>
                    <a:pt x="528" y="0"/>
                  </a:cubicBezTo>
                  <a:cubicBezTo>
                    <a:pt x="101" y="113"/>
                    <a:pt x="101" y="113"/>
                    <a:pt x="101" y="113"/>
                  </a:cubicBezTo>
                  <a:cubicBezTo>
                    <a:pt x="101" y="113"/>
                    <a:pt x="101" y="113"/>
                    <a:pt x="101" y="113"/>
                  </a:cubicBezTo>
                  <a:close/>
                </a:path>
              </a:pathLst>
            </a:custGeom>
            <a:gradFill flip="none" rotWithShape="1">
              <a:gsLst>
                <a:gs pos="0">
                  <a:schemeClr val="accent1">
                    <a:lumMod val="74000"/>
                    <a:lumOff val="26000"/>
                  </a:schemeClr>
                </a:gs>
                <a:gs pos="63000">
                  <a:schemeClr val="accent1">
                    <a:lumMod val="93000"/>
                  </a:schemeClr>
                </a:gs>
              </a:gsLst>
              <a:lin ang="7200000" scaled="0"/>
              <a:tileRect/>
            </a:gradFill>
            <a:ln w="1270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armonyOS Sans SC"/>
                <a:cs typeface="+mn-cs"/>
              </a:endParaRPr>
            </a:p>
          </p:txBody>
        </p:sp>
        <p:sp>
          <p:nvSpPr>
            <p:cNvPr id="36" name="Freeform 13">
              <a:extLst>
                <a:ext uri="{FF2B5EF4-FFF2-40B4-BE49-F238E27FC236}">
                  <a16:creationId xmlns:a16="http://schemas.microsoft.com/office/drawing/2014/main" id="{6EF449CC-DD52-47FB-B960-B00305F49631}"/>
                </a:ext>
              </a:extLst>
            </p:cNvPr>
            <p:cNvSpPr>
              <a:spLocks/>
            </p:cNvSpPr>
            <p:nvPr/>
          </p:nvSpPr>
          <p:spPr bwMode="auto">
            <a:xfrm rot="10800000">
              <a:off x="1874094" y="4337698"/>
              <a:ext cx="2152190" cy="1166713"/>
            </a:xfrm>
            <a:custGeom>
              <a:avLst/>
              <a:gdLst>
                <a:gd name="T0" fmla="*/ 1275 w 1376"/>
                <a:gd name="T1" fmla="*/ 747 h 747"/>
                <a:gd name="T2" fmla="*/ 1376 w 1376"/>
                <a:gd name="T3" fmla="*/ 401 h 747"/>
                <a:gd name="T4" fmla="*/ 0 w 1376"/>
                <a:gd name="T5" fmla="*/ 208 h 747"/>
                <a:gd name="T6" fmla="*/ 210 w 1376"/>
                <a:gd name="T7" fmla="*/ 580 h 747"/>
                <a:gd name="T8" fmla="*/ 1275 w 1376"/>
                <a:gd name="T9" fmla="*/ 747 h 747"/>
              </a:gdLst>
              <a:ahLst/>
              <a:cxnLst>
                <a:cxn ang="0">
                  <a:pos x="T0" y="T1"/>
                </a:cxn>
                <a:cxn ang="0">
                  <a:pos x="T2" y="T3"/>
                </a:cxn>
                <a:cxn ang="0">
                  <a:pos x="T4" y="T5"/>
                </a:cxn>
                <a:cxn ang="0">
                  <a:pos x="T6" y="T7"/>
                </a:cxn>
                <a:cxn ang="0">
                  <a:pos x="T8" y="T9"/>
                </a:cxn>
              </a:cxnLst>
              <a:rect l="0" t="0" r="r" b="b"/>
              <a:pathLst>
                <a:path w="1376" h="747">
                  <a:moveTo>
                    <a:pt x="1275" y="747"/>
                  </a:moveTo>
                  <a:cubicBezTo>
                    <a:pt x="1376" y="401"/>
                    <a:pt x="1376" y="401"/>
                    <a:pt x="1376" y="401"/>
                  </a:cubicBezTo>
                  <a:cubicBezTo>
                    <a:pt x="646" y="0"/>
                    <a:pt x="142" y="150"/>
                    <a:pt x="0" y="208"/>
                  </a:cubicBezTo>
                  <a:cubicBezTo>
                    <a:pt x="210" y="580"/>
                    <a:pt x="210" y="580"/>
                    <a:pt x="210" y="580"/>
                  </a:cubicBezTo>
                  <a:cubicBezTo>
                    <a:pt x="453" y="495"/>
                    <a:pt x="816" y="474"/>
                    <a:pt x="1275" y="747"/>
                  </a:cubicBezTo>
                  <a:close/>
                </a:path>
              </a:pathLst>
            </a:custGeom>
            <a:gradFill flip="none" rotWithShape="1">
              <a:gsLst>
                <a:gs pos="0">
                  <a:schemeClr val="accent1">
                    <a:lumMod val="59000"/>
                    <a:lumOff val="41000"/>
                  </a:schemeClr>
                </a:gs>
                <a:gs pos="63000">
                  <a:schemeClr val="accent1">
                    <a:lumMod val="92000"/>
                    <a:lumOff val="8000"/>
                  </a:schemeClr>
                </a:gs>
              </a:gsLst>
              <a:lin ang="5400000" scaled="1"/>
              <a:tileRect/>
            </a:gradFill>
            <a:ln w="1270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armonyOS Sans SC"/>
                <a:cs typeface="+mn-cs"/>
              </a:endParaRPr>
            </a:p>
          </p:txBody>
        </p:sp>
        <p:sp>
          <p:nvSpPr>
            <p:cNvPr id="37" name="Freeform 22">
              <a:extLst>
                <a:ext uri="{FF2B5EF4-FFF2-40B4-BE49-F238E27FC236}">
                  <a16:creationId xmlns:a16="http://schemas.microsoft.com/office/drawing/2014/main" id="{7FE25C95-7E76-4885-B3CE-85D9CEE1BB27}"/>
                </a:ext>
              </a:extLst>
            </p:cNvPr>
            <p:cNvSpPr>
              <a:spLocks/>
            </p:cNvSpPr>
            <p:nvPr/>
          </p:nvSpPr>
          <p:spPr bwMode="auto">
            <a:xfrm rot="10800000">
              <a:off x="1860877" y="4877633"/>
              <a:ext cx="2152190" cy="615450"/>
            </a:xfrm>
            <a:custGeom>
              <a:avLst/>
              <a:gdLst>
                <a:gd name="T0" fmla="*/ 208 w 1377"/>
                <a:gd name="T1" fmla="*/ 102 h 394"/>
                <a:gd name="T2" fmla="*/ 0 w 1377"/>
                <a:gd name="T3" fmla="*/ 198 h 394"/>
                <a:gd name="T4" fmla="*/ 1368 w 1377"/>
                <a:gd name="T5" fmla="*/ 394 h 394"/>
                <a:gd name="T6" fmla="*/ 1377 w 1377"/>
                <a:gd name="T7" fmla="*/ 361 h 394"/>
                <a:gd name="T8" fmla="*/ 208 w 1377"/>
                <a:gd name="T9" fmla="*/ 102 h 394"/>
              </a:gdLst>
              <a:ahLst/>
              <a:cxnLst>
                <a:cxn ang="0">
                  <a:pos x="T0" y="T1"/>
                </a:cxn>
                <a:cxn ang="0">
                  <a:pos x="T2" y="T3"/>
                </a:cxn>
                <a:cxn ang="0">
                  <a:pos x="T4" y="T5"/>
                </a:cxn>
                <a:cxn ang="0">
                  <a:pos x="T6" y="T7"/>
                </a:cxn>
                <a:cxn ang="0">
                  <a:pos x="T8" y="T9"/>
                </a:cxn>
              </a:cxnLst>
              <a:rect l="0" t="0" r="r" b="b"/>
              <a:pathLst>
                <a:path w="1377" h="394">
                  <a:moveTo>
                    <a:pt x="208" y="102"/>
                  </a:moveTo>
                  <a:cubicBezTo>
                    <a:pt x="109" y="137"/>
                    <a:pt x="27" y="182"/>
                    <a:pt x="0" y="198"/>
                  </a:cubicBezTo>
                  <a:cubicBezTo>
                    <a:pt x="151" y="138"/>
                    <a:pt x="650" y="0"/>
                    <a:pt x="1368" y="394"/>
                  </a:cubicBezTo>
                  <a:cubicBezTo>
                    <a:pt x="1377" y="361"/>
                    <a:pt x="1377" y="361"/>
                    <a:pt x="1377" y="361"/>
                  </a:cubicBezTo>
                  <a:cubicBezTo>
                    <a:pt x="880" y="71"/>
                    <a:pt x="459" y="64"/>
                    <a:pt x="208" y="102"/>
                  </a:cubicBezTo>
                  <a:close/>
                </a:path>
              </a:pathLst>
            </a:custGeom>
            <a:gradFill flip="none" rotWithShape="1">
              <a:gsLst>
                <a:gs pos="100000">
                  <a:schemeClr val="accent1">
                    <a:lumMod val="91000"/>
                  </a:schemeClr>
                </a:gs>
                <a:gs pos="0">
                  <a:schemeClr val="accent1">
                    <a:lumMod val="87000"/>
                  </a:schemeClr>
                </a:gs>
              </a:gsLst>
              <a:lin ang="5400000" scaled="1"/>
              <a:tileRect/>
            </a:gradFill>
            <a:ln w="512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armonyOS Sans SC"/>
                <a:cs typeface="+mn-cs"/>
              </a:endParaRPr>
            </a:p>
          </p:txBody>
        </p:sp>
        <p:sp>
          <p:nvSpPr>
            <p:cNvPr id="38" name="Freeform 26">
              <a:extLst>
                <a:ext uri="{FF2B5EF4-FFF2-40B4-BE49-F238E27FC236}">
                  <a16:creationId xmlns:a16="http://schemas.microsoft.com/office/drawing/2014/main" id="{872592F8-4594-4ABF-B1C7-2C5AD41A71EB}"/>
                </a:ext>
              </a:extLst>
            </p:cNvPr>
            <p:cNvSpPr>
              <a:spLocks/>
            </p:cNvSpPr>
            <p:nvPr/>
          </p:nvSpPr>
          <p:spPr bwMode="auto">
            <a:xfrm rot="10800000">
              <a:off x="1207669" y="4877632"/>
              <a:ext cx="666424" cy="224659"/>
            </a:xfrm>
            <a:custGeom>
              <a:avLst/>
              <a:gdLst>
                <a:gd name="T0" fmla="*/ 10 w 426"/>
                <a:gd name="T1" fmla="*/ 111 h 144"/>
                <a:gd name="T2" fmla="*/ 9 w 426"/>
                <a:gd name="T3" fmla="*/ 111 h 144"/>
                <a:gd name="T4" fmla="*/ 0 w 426"/>
                <a:gd name="T5" fmla="*/ 144 h 144"/>
                <a:gd name="T6" fmla="*/ 0 w 426"/>
                <a:gd name="T7" fmla="*/ 144 h 144"/>
                <a:gd name="T8" fmla="*/ 426 w 426"/>
                <a:gd name="T9" fmla="*/ 31 h 144"/>
                <a:gd name="T10" fmla="*/ 379 w 426"/>
                <a:gd name="T11" fmla="*/ 0 h 144"/>
                <a:gd name="T12" fmla="*/ 10 w 426"/>
                <a:gd name="T13" fmla="*/ 111 h 144"/>
              </a:gdLst>
              <a:ahLst/>
              <a:cxnLst>
                <a:cxn ang="0">
                  <a:pos x="T0" y="T1"/>
                </a:cxn>
                <a:cxn ang="0">
                  <a:pos x="T2" y="T3"/>
                </a:cxn>
                <a:cxn ang="0">
                  <a:pos x="T4" y="T5"/>
                </a:cxn>
                <a:cxn ang="0">
                  <a:pos x="T6" y="T7"/>
                </a:cxn>
                <a:cxn ang="0">
                  <a:pos x="T8" y="T9"/>
                </a:cxn>
                <a:cxn ang="0">
                  <a:pos x="T10" y="T11"/>
                </a:cxn>
                <a:cxn ang="0">
                  <a:pos x="T12" y="T13"/>
                </a:cxn>
              </a:cxnLst>
              <a:rect l="0" t="0" r="r" b="b"/>
              <a:pathLst>
                <a:path w="426" h="144">
                  <a:moveTo>
                    <a:pt x="10" y="111"/>
                  </a:moveTo>
                  <a:cubicBezTo>
                    <a:pt x="9" y="111"/>
                    <a:pt x="9" y="111"/>
                    <a:pt x="9" y="111"/>
                  </a:cubicBezTo>
                  <a:cubicBezTo>
                    <a:pt x="0" y="144"/>
                    <a:pt x="0" y="144"/>
                    <a:pt x="0" y="144"/>
                  </a:cubicBezTo>
                  <a:cubicBezTo>
                    <a:pt x="0" y="144"/>
                    <a:pt x="0" y="144"/>
                    <a:pt x="0" y="144"/>
                  </a:cubicBezTo>
                  <a:cubicBezTo>
                    <a:pt x="426" y="31"/>
                    <a:pt x="426" y="31"/>
                    <a:pt x="426" y="31"/>
                  </a:cubicBezTo>
                  <a:cubicBezTo>
                    <a:pt x="379" y="0"/>
                    <a:pt x="379" y="0"/>
                    <a:pt x="379" y="0"/>
                  </a:cubicBezTo>
                  <a:lnTo>
                    <a:pt x="10" y="111"/>
                  </a:lnTo>
                  <a:close/>
                </a:path>
              </a:pathLst>
            </a:custGeom>
            <a:gradFill flip="none" rotWithShape="1">
              <a:gsLst>
                <a:gs pos="100000">
                  <a:schemeClr val="accent1">
                    <a:lumMod val="91000"/>
                  </a:schemeClr>
                </a:gs>
                <a:gs pos="0">
                  <a:schemeClr val="accent1">
                    <a:lumMod val="87000"/>
                  </a:schemeClr>
                </a:gs>
              </a:gsLst>
              <a:lin ang="5400000" scaled="1"/>
              <a:tileRect/>
            </a:gradFill>
            <a:ln w="512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armonyOS Sans SC"/>
                <a:cs typeface="+mn-cs"/>
              </a:endParaRPr>
            </a:p>
          </p:txBody>
        </p:sp>
        <p:sp>
          <p:nvSpPr>
            <p:cNvPr id="143" name="Freeform 7">
              <a:extLst>
                <a:ext uri="{FF2B5EF4-FFF2-40B4-BE49-F238E27FC236}">
                  <a16:creationId xmlns:a16="http://schemas.microsoft.com/office/drawing/2014/main" id="{82E51118-CF16-4BBE-9282-0FBEAF496789}"/>
                </a:ext>
              </a:extLst>
            </p:cNvPr>
            <p:cNvSpPr>
              <a:spLocks/>
            </p:cNvSpPr>
            <p:nvPr/>
          </p:nvSpPr>
          <p:spPr bwMode="auto">
            <a:xfrm rot="10800000">
              <a:off x="2238454" y="2559308"/>
              <a:ext cx="311502" cy="577693"/>
            </a:xfrm>
            <a:custGeom>
              <a:avLst/>
              <a:gdLst>
                <a:gd name="T0" fmla="*/ 0 w 165"/>
                <a:gd name="T1" fmla="*/ 306 h 306"/>
                <a:gd name="T2" fmla="*/ 0 w 165"/>
                <a:gd name="T3" fmla="*/ 306 h 306"/>
                <a:gd name="T4" fmla="*/ 165 w 165"/>
                <a:gd name="T5" fmla="*/ 0 h 306"/>
                <a:gd name="T6" fmla="*/ 83 w 165"/>
                <a:gd name="T7" fmla="*/ 21 h 306"/>
                <a:gd name="T8" fmla="*/ 0 w 165"/>
                <a:gd name="T9" fmla="*/ 306 h 306"/>
              </a:gdLst>
              <a:ahLst/>
              <a:cxnLst>
                <a:cxn ang="0">
                  <a:pos x="T0" y="T1"/>
                </a:cxn>
                <a:cxn ang="0">
                  <a:pos x="T2" y="T3"/>
                </a:cxn>
                <a:cxn ang="0">
                  <a:pos x="T4" y="T5"/>
                </a:cxn>
                <a:cxn ang="0">
                  <a:pos x="T6" y="T7"/>
                </a:cxn>
                <a:cxn ang="0">
                  <a:pos x="T8" y="T9"/>
                </a:cxn>
              </a:cxnLst>
              <a:rect l="0" t="0" r="r" b="b"/>
              <a:pathLst>
                <a:path w="165" h="306">
                  <a:moveTo>
                    <a:pt x="0" y="306"/>
                  </a:moveTo>
                  <a:lnTo>
                    <a:pt x="0" y="306"/>
                  </a:lnTo>
                  <a:lnTo>
                    <a:pt x="165" y="0"/>
                  </a:lnTo>
                  <a:lnTo>
                    <a:pt x="83" y="21"/>
                  </a:lnTo>
                  <a:lnTo>
                    <a:pt x="0" y="306"/>
                  </a:lnTo>
                  <a:close/>
                </a:path>
              </a:pathLst>
            </a:custGeom>
            <a:gradFill flip="none" rotWithShape="1">
              <a:gsLst>
                <a:gs pos="0">
                  <a:schemeClr val="accent1">
                    <a:lumMod val="20000"/>
                    <a:lumOff val="80000"/>
                  </a:schemeClr>
                </a:gs>
                <a:gs pos="52000">
                  <a:schemeClr val="accent1">
                    <a:lumMod val="52000"/>
                    <a:lumOff val="48000"/>
                  </a:schemeClr>
                </a:gs>
                <a:gs pos="100000">
                  <a:schemeClr val="accent1">
                    <a:lumMod val="96000"/>
                    <a:lumOff val="4000"/>
                  </a:schemeClr>
                </a:gs>
              </a:gsLst>
              <a:lin ang="5400000" scaled="1"/>
              <a:tileRect/>
            </a:gradFill>
            <a:ln w="51262"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armonyOS Sans SC"/>
                <a:cs typeface="+mn-cs"/>
              </a:endParaRPr>
            </a:p>
          </p:txBody>
        </p:sp>
        <p:sp>
          <p:nvSpPr>
            <p:cNvPr id="144" name="Freeform 14">
              <a:extLst>
                <a:ext uri="{FF2B5EF4-FFF2-40B4-BE49-F238E27FC236}">
                  <a16:creationId xmlns:a16="http://schemas.microsoft.com/office/drawing/2014/main" id="{F6105042-EC8D-48D7-BD98-930EB9C37B05}"/>
                </a:ext>
              </a:extLst>
            </p:cNvPr>
            <p:cNvSpPr>
              <a:spLocks/>
            </p:cNvSpPr>
            <p:nvPr/>
          </p:nvSpPr>
          <p:spPr bwMode="auto">
            <a:xfrm rot="10800000">
              <a:off x="2393261" y="2559307"/>
              <a:ext cx="532385" cy="696632"/>
            </a:xfrm>
            <a:custGeom>
              <a:avLst/>
              <a:gdLst>
                <a:gd name="T0" fmla="*/ 339 w 340"/>
                <a:gd name="T1" fmla="*/ 102 h 446"/>
                <a:gd name="T2" fmla="*/ 0 w 340"/>
                <a:gd name="T3" fmla="*/ 21 h 446"/>
                <a:gd name="T4" fmla="*/ 240 w 340"/>
                <a:gd name="T5" fmla="*/ 446 h 446"/>
                <a:gd name="T6" fmla="*/ 340 w 340"/>
                <a:gd name="T7" fmla="*/ 102 h 446"/>
                <a:gd name="T8" fmla="*/ 339 w 340"/>
                <a:gd name="T9" fmla="*/ 102 h 446"/>
              </a:gdLst>
              <a:ahLst/>
              <a:cxnLst>
                <a:cxn ang="0">
                  <a:pos x="T0" y="T1"/>
                </a:cxn>
                <a:cxn ang="0">
                  <a:pos x="T2" y="T3"/>
                </a:cxn>
                <a:cxn ang="0">
                  <a:pos x="T4" y="T5"/>
                </a:cxn>
                <a:cxn ang="0">
                  <a:pos x="T6" y="T7"/>
                </a:cxn>
                <a:cxn ang="0">
                  <a:pos x="T8" y="T9"/>
                </a:cxn>
              </a:cxnLst>
              <a:rect l="0" t="0" r="r" b="b"/>
              <a:pathLst>
                <a:path w="340" h="446">
                  <a:moveTo>
                    <a:pt x="339" y="102"/>
                  </a:moveTo>
                  <a:cubicBezTo>
                    <a:pt x="222" y="22"/>
                    <a:pt x="108" y="0"/>
                    <a:pt x="0" y="21"/>
                  </a:cubicBezTo>
                  <a:cubicBezTo>
                    <a:pt x="240" y="446"/>
                    <a:pt x="240" y="446"/>
                    <a:pt x="240" y="446"/>
                  </a:cubicBezTo>
                  <a:cubicBezTo>
                    <a:pt x="340" y="102"/>
                    <a:pt x="340" y="102"/>
                    <a:pt x="340" y="102"/>
                  </a:cubicBezTo>
                  <a:lnTo>
                    <a:pt x="339" y="102"/>
                  </a:lnTo>
                  <a:close/>
                </a:path>
              </a:pathLst>
            </a:custGeom>
            <a:gradFill flip="none" rotWithShape="1">
              <a:gsLst>
                <a:gs pos="0">
                  <a:schemeClr val="accent1">
                    <a:lumMod val="20000"/>
                    <a:lumOff val="80000"/>
                  </a:schemeClr>
                </a:gs>
                <a:gs pos="52000">
                  <a:schemeClr val="accent1">
                    <a:lumMod val="40000"/>
                    <a:lumOff val="60000"/>
                  </a:schemeClr>
                </a:gs>
                <a:gs pos="100000">
                  <a:schemeClr val="accent1">
                    <a:lumMod val="60000"/>
                    <a:lumOff val="40000"/>
                  </a:schemeClr>
                </a:gs>
              </a:gsLst>
              <a:lin ang="5400000" scaled="1"/>
              <a:tileRect/>
            </a:gradFill>
            <a:ln w="51262"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armonyOS Sans SC"/>
                <a:cs typeface="+mn-cs"/>
              </a:endParaRPr>
            </a:p>
          </p:txBody>
        </p:sp>
        <p:sp>
          <p:nvSpPr>
            <p:cNvPr id="145" name="Freeform 25">
              <a:extLst>
                <a:ext uri="{FF2B5EF4-FFF2-40B4-BE49-F238E27FC236}">
                  <a16:creationId xmlns:a16="http://schemas.microsoft.com/office/drawing/2014/main" id="{98265004-2D16-4A45-BCD0-CFACA5A89673}"/>
                </a:ext>
              </a:extLst>
            </p:cNvPr>
            <p:cNvSpPr>
              <a:spLocks/>
            </p:cNvSpPr>
            <p:nvPr/>
          </p:nvSpPr>
          <p:spPr bwMode="auto">
            <a:xfrm rot="10800000">
              <a:off x="2380047" y="3097356"/>
              <a:ext cx="528609" cy="173685"/>
            </a:xfrm>
            <a:custGeom>
              <a:avLst/>
              <a:gdLst>
                <a:gd name="T0" fmla="*/ 339 w 339"/>
                <a:gd name="T1" fmla="*/ 78 h 111"/>
                <a:gd name="T2" fmla="*/ 175 w 339"/>
                <a:gd name="T3" fmla="*/ 1 h 111"/>
                <a:gd name="T4" fmla="*/ 0 w 339"/>
                <a:gd name="T5" fmla="*/ 28 h 111"/>
                <a:gd name="T6" fmla="*/ 329 w 339"/>
                <a:gd name="T7" fmla="*/ 111 h 111"/>
                <a:gd name="T8" fmla="*/ 330 w 339"/>
                <a:gd name="T9" fmla="*/ 111 h 111"/>
                <a:gd name="T10" fmla="*/ 339 w 339"/>
                <a:gd name="T11" fmla="*/ 78 h 111"/>
              </a:gdLst>
              <a:ahLst/>
              <a:cxnLst>
                <a:cxn ang="0">
                  <a:pos x="T0" y="T1"/>
                </a:cxn>
                <a:cxn ang="0">
                  <a:pos x="T2" y="T3"/>
                </a:cxn>
                <a:cxn ang="0">
                  <a:pos x="T4" y="T5"/>
                </a:cxn>
                <a:cxn ang="0">
                  <a:pos x="T6" y="T7"/>
                </a:cxn>
                <a:cxn ang="0">
                  <a:pos x="T8" y="T9"/>
                </a:cxn>
                <a:cxn ang="0">
                  <a:pos x="T10" y="T11"/>
                </a:cxn>
              </a:cxnLst>
              <a:rect l="0" t="0" r="r" b="b"/>
              <a:pathLst>
                <a:path w="339" h="111">
                  <a:moveTo>
                    <a:pt x="339" y="78"/>
                  </a:moveTo>
                  <a:cubicBezTo>
                    <a:pt x="283" y="41"/>
                    <a:pt x="228" y="15"/>
                    <a:pt x="175" y="1"/>
                  </a:cubicBezTo>
                  <a:cubicBezTo>
                    <a:pt x="95" y="0"/>
                    <a:pt x="38" y="14"/>
                    <a:pt x="0" y="28"/>
                  </a:cubicBezTo>
                  <a:cubicBezTo>
                    <a:pt x="105" y="10"/>
                    <a:pt x="216" y="34"/>
                    <a:pt x="329" y="111"/>
                  </a:cubicBezTo>
                  <a:cubicBezTo>
                    <a:pt x="330" y="111"/>
                    <a:pt x="330" y="111"/>
                    <a:pt x="330" y="111"/>
                  </a:cubicBezTo>
                  <a:cubicBezTo>
                    <a:pt x="339" y="78"/>
                    <a:pt x="339" y="78"/>
                    <a:pt x="339" y="78"/>
                  </a:cubicBezTo>
                  <a:close/>
                </a:path>
              </a:pathLst>
            </a:custGeom>
            <a:gradFill flip="none" rotWithShape="1">
              <a:gsLst>
                <a:gs pos="100000">
                  <a:schemeClr val="accent1">
                    <a:lumMod val="91000"/>
                  </a:schemeClr>
                </a:gs>
                <a:gs pos="0">
                  <a:schemeClr val="accent1">
                    <a:lumMod val="87000"/>
                  </a:schemeClr>
                </a:gs>
              </a:gsLst>
              <a:lin ang="5400000" scaled="1"/>
              <a:tileRect/>
            </a:gradFill>
            <a:ln w="512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armonyOS Sans SC"/>
                <a:cs typeface="+mn-cs"/>
              </a:endParaRPr>
            </a:p>
          </p:txBody>
        </p:sp>
        <p:sp>
          <p:nvSpPr>
            <p:cNvPr id="146" name="Freeform 29">
              <a:extLst>
                <a:ext uri="{FF2B5EF4-FFF2-40B4-BE49-F238E27FC236}">
                  <a16:creationId xmlns:a16="http://schemas.microsoft.com/office/drawing/2014/main" id="{5403380D-C73C-4BE7-9255-3E94B0E1C694}"/>
                </a:ext>
              </a:extLst>
            </p:cNvPr>
            <p:cNvSpPr>
              <a:spLocks/>
            </p:cNvSpPr>
            <p:nvPr/>
          </p:nvSpPr>
          <p:spPr bwMode="auto">
            <a:xfrm rot="10800000">
              <a:off x="2240341" y="3097356"/>
              <a:ext cx="152919" cy="71740"/>
            </a:xfrm>
            <a:custGeom>
              <a:avLst/>
              <a:gdLst>
                <a:gd name="T0" fmla="*/ 9 w 98"/>
                <a:gd name="T1" fmla="*/ 13 h 46"/>
                <a:gd name="T2" fmla="*/ 0 w 98"/>
                <a:gd name="T3" fmla="*/ 46 h 46"/>
                <a:gd name="T4" fmla="*/ 98 w 98"/>
                <a:gd name="T5" fmla="*/ 20 h 46"/>
                <a:gd name="T6" fmla="*/ 53 w 98"/>
                <a:gd name="T7" fmla="*/ 0 h 46"/>
                <a:gd name="T8" fmla="*/ 9 w 98"/>
                <a:gd name="T9" fmla="*/ 13 h 46"/>
              </a:gdLst>
              <a:ahLst/>
              <a:cxnLst>
                <a:cxn ang="0">
                  <a:pos x="T0" y="T1"/>
                </a:cxn>
                <a:cxn ang="0">
                  <a:pos x="T2" y="T3"/>
                </a:cxn>
                <a:cxn ang="0">
                  <a:pos x="T4" y="T5"/>
                </a:cxn>
                <a:cxn ang="0">
                  <a:pos x="T6" y="T7"/>
                </a:cxn>
                <a:cxn ang="0">
                  <a:pos x="T8" y="T9"/>
                </a:cxn>
              </a:cxnLst>
              <a:rect l="0" t="0" r="r" b="b"/>
              <a:pathLst>
                <a:path w="98" h="46">
                  <a:moveTo>
                    <a:pt x="9" y="13"/>
                  </a:moveTo>
                  <a:cubicBezTo>
                    <a:pt x="0" y="46"/>
                    <a:pt x="0" y="46"/>
                    <a:pt x="0" y="46"/>
                  </a:cubicBezTo>
                  <a:cubicBezTo>
                    <a:pt x="98" y="20"/>
                    <a:pt x="98" y="20"/>
                    <a:pt x="98" y="20"/>
                  </a:cubicBezTo>
                  <a:cubicBezTo>
                    <a:pt x="86" y="14"/>
                    <a:pt x="62" y="4"/>
                    <a:pt x="53" y="0"/>
                  </a:cubicBezTo>
                  <a:lnTo>
                    <a:pt x="9" y="13"/>
                  </a:lnTo>
                  <a:close/>
                </a:path>
              </a:pathLst>
            </a:custGeom>
            <a:gradFill flip="none" rotWithShape="1">
              <a:gsLst>
                <a:gs pos="100000">
                  <a:schemeClr val="accent1">
                    <a:lumMod val="91000"/>
                  </a:schemeClr>
                </a:gs>
                <a:gs pos="0">
                  <a:schemeClr val="accent1">
                    <a:lumMod val="87000"/>
                  </a:schemeClr>
                </a:gs>
              </a:gsLst>
              <a:lin ang="5400000" scaled="1"/>
              <a:tileRect/>
            </a:gradFill>
            <a:ln w="512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armonyOS Sans SC"/>
                <a:cs typeface="+mn-cs"/>
              </a:endParaRPr>
            </a:p>
          </p:txBody>
        </p:sp>
        <p:sp>
          <p:nvSpPr>
            <p:cNvPr id="147" name="Freeform 6">
              <a:extLst>
                <a:ext uri="{FF2B5EF4-FFF2-40B4-BE49-F238E27FC236}">
                  <a16:creationId xmlns:a16="http://schemas.microsoft.com/office/drawing/2014/main" id="{00224AB3-EC2F-4BAE-BF39-6EDFF59D79F0}"/>
                </a:ext>
              </a:extLst>
            </p:cNvPr>
            <p:cNvSpPr>
              <a:spLocks/>
            </p:cNvSpPr>
            <p:nvPr/>
          </p:nvSpPr>
          <p:spPr bwMode="auto">
            <a:xfrm rot="10800000">
              <a:off x="845194" y="4928605"/>
              <a:ext cx="1015683" cy="796687"/>
            </a:xfrm>
            <a:custGeom>
              <a:avLst/>
              <a:gdLst>
                <a:gd name="T0" fmla="*/ 105 w 649"/>
                <a:gd name="T1" fmla="*/ 151 h 509"/>
                <a:gd name="T2" fmla="*/ 104 w 649"/>
                <a:gd name="T3" fmla="*/ 151 h 509"/>
                <a:gd name="T4" fmla="*/ 0 w 649"/>
                <a:gd name="T5" fmla="*/ 509 h 509"/>
                <a:gd name="T6" fmla="*/ 1 w 649"/>
                <a:gd name="T7" fmla="*/ 509 h 509"/>
                <a:gd name="T8" fmla="*/ 447 w 649"/>
                <a:gd name="T9" fmla="*/ 375 h 509"/>
                <a:gd name="T10" fmla="*/ 649 w 649"/>
                <a:gd name="T11" fmla="*/ 0 h 509"/>
                <a:gd name="T12" fmla="*/ 105 w 649"/>
                <a:gd name="T13" fmla="*/ 151 h 509"/>
              </a:gdLst>
              <a:ahLst/>
              <a:cxnLst>
                <a:cxn ang="0">
                  <a:pos x="T0" y="T1"/>
                </a:cxn>
                <a:cxn ang="0">
                  <a:pos x="T2" y="T3"/>
                </a:cxn>
                <a:cxn ang="0">
                  <a:pos x="T4" y="T5"/>
                </a:cxn>
                <a:cxn ang="0">
                  <a:pos x="T6" y="T7"/>
                </a:cxn>
                <a:cxn ang="0">
                  <a:pos x="T8" y="T9"/>
                </a:cxn>
                <a:cxn ang="0">
                  <a:pos x="T10" y="T11"/>
                </a:cxn>
                <a:cxn ang="0">
                  <a:pos x="T12" y="T13"/>
                </a:cxn>
              </a:cxnLst>
              <a:rect l="0" t="0" r="r" b="b"/>
              <a:pathLst>
                <a:path w="649" h="509">
                  <a:moveTo>
                    <a:pt x="105" y="151"/>
                  </a:moveTo>
                  <a:cubicBezTo>
                    <a:pt x="104" y="151"/>
                    <a:pt x="104" y="151"/>
                    <a:pt x="104" y="151"/>
                  </a:cubicBezTo>
                  <a:cubicBezTo>
                    <a:pt x="0" y="509"/>
                    <a:pt x="0" y="509"/>
                    <a:pt x="0" y="509"/>
                  </a:cubicBezTo>
                  <a:cubicBezTo>
                    <a:pt x="0" y="509"/>
                    <a:pt x="0" y="509"/>
                    <a:pt x="1" y="509"/>
                  </a:cubicBezTo>
                  <a:cubicBezTo>
                    <a:pt x="447" y="375"/>
                    <a:pt x="447" y="375"/>
                    <a:pt x="447" y="375"/>
                  </a:cubicBezTo>
                  <a:cubicBezTo>
                    <a:pt x="649" y="0"/>
                    <a:pt x="649" y="0"/>
                    <a:pt x="649" y="0"/>
                  </a:cubicBezTo>
                  <a:lnTo>
                    <a:pt x="105" y="151"/>
                  </a:lnTo>
                  <a:close/>
                </a:path>
              </a:pathLst>
            </a:custGeom>
            <a:gradFill flip="none" rotWithShape="1">
              <a:gsLst>
                <a:gs pos="0">
                  <a:schemeClr val="accent1">
                    <a:lumMod val="74000"/>
                    <a:lumOff val="26000"/>
                  </a:schemeClr>
                </a:gs>
                <a:gs pos="63000">
                  <a:schemeClr val="accent1">
                    <a:lumMod val="93000"/>
                  </a:schemeClr>
                </a:gs>
              </a:gsLst>
              <a:lin ang="16200000" scaled="1"/>
              <a:tileRect/>
            </a:gradFill>
            <a:ln w="1270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armonyOS Sans SC"/>
                <a:cs typeface="+mn-cs"/>
              </a:endParaRPr>
            </a:p>
          </p:txBody>
        </p:sp>
        <p:sp>
          <p:nvSpPr>
            <p:cNvPr id="148" name="Freeform 8">
              <a:extLst>
                <a:ext uri="{FF2B5EF4-FFF2-40B4-BE49-F238E27FC236}">
                  <a16:creationId xmlns:a16="http://schemas.microsoft.com/office/drawing/2014/main" id="{3EB68F0D-81BA-46E3-B2E1-B214A2805C8B}"/>
                </a:ext>
              </a:extLst>
            </p:cNvPr>
            <p:cNvSpPr>
              <a:spLocks/>
            </p:cNvSpPr>
            <p:nvPr/>
          </p:nvSpPr>
          <p:spPr bwMode="auto">
            <a:xfrm rot="10800000">
              <a:off x="1898634" y="3148329"/>
              <a:ext cx="481411" cy="623002"/>
            </a:xfrm>
            <a:custGeom>
              <a:avLst/>
              <a:gdLst>
                <a:gd name="T0" fmla="*/ 0 w 255"/>
                <a:gd name="T1" fmla="*/ 330 h 330"/>
                <a:gd name="T2" fmla="*/ 92 w 255"/>
                <a:gd name="T3" fmla="*/ 302 h 330"/>
                <a:gd name="T4" fmla="*/ 255 w 255"/>
                <a:gd name="T5" fmla="*/ 0 h 330"/>
                <a:gd name="T6" fmla="*/ 83 w 255"/>
                <a:gd name="T7" fmla="*/ 46 h 330"/>
                <a:gd name="T8" fmla="*/ 0 w 255"/>
                <a:gd name="T9" fmla="*/ 330 h 330"/>
              </a:gdLst>
              <a:ahLst/>
              <a:cxnLst>
                <a:cxn ang="0">
                  <a:pos x="T0" y="T1"/>
                </a:cxn>
                <a:cxn ang="0">
                  <a:pos x="T2" y="T3"/>
                </a:cxn>
                <a:cxn ang="0">
                  <a:pos x="T4" y="T5"/>
                </a:cxn>
                <a:cxn ang="0">
                  <a:pos x="T6" y="T7"/>
                </a:cxn>
                <a:cxn ang="0">
                  <a:pos x="T8" y="T9"/>
                </a:cxn>
              </a:cxnLst>
              <a:rect l="0" t="0" r="r" b="b"/>
              <a:pathLst>
                <a:path w="255" h="330">
                  <a:moveTo>
                    <a:pt x="0" y="330"/>
                  </a:moveTo>
                  <a:lnTo>
                    <a:pt x="92" y="302"/>
                  </a:lnTo>
                  <a:lnTo>
                    <a:pt x="255" y="0"/>
                  </a:lnTo>
                  <a:lnTo>
                    <a:pt x="83" y="46"/>
                  </a:lnTo>
                  <a:lnTo>
                    <a:pt x="0" y="330"/>
                  </a:lnTo>
                  <a:close/>
                </a:path>
              </a:pathLst>
            </a:custGeom>
            <a:gradFill flip="none" rotWithShape="1">
              <a:gsLst>
                <a:gs pos="0">
                  <a:schemeClr val="accent1">
                    <a:lumMod val="65000"/>
                    <a:lumOff val="35000"/>
                  </a:schemeClr>
                </a:gs>
                <a:gs pos="63000">
                  <a:schemeClr val="accent1">
                    <a:lumMod val="87000"/>
                    <a:lumOff val="13000"/>
                  </a:schemeClr>
                </a:gs>
              </a:gsLst>
              <a:lin ang="5400000" scaled="1"/>
              <a:tileRect/>
            </a:gradFill>
            <a:ln w="1270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armonyOS Sans SC"/>
                <a:cs typeface="+mn-cs"/>
              </a:endParaRPr>
            </a:p>
          </p:txBody>
        </p:sp>
        <p:sp>
          <p:nvSpPr>
            <p:cNvPr id="149" name="Freeform 15">
              <a:extLst>
                <a:ext uri="{FF2B5EF4-FFF2-40B4-BE49-F238E27FC236}">
                  <a16:creationId xmlns:a16="http://schemas.microsoft.com/office/drawing/2014/main" id="{074902FE-186B-4BF4-9A55-5DEB7AA74DED}"/>
                </a:ext>
              </a:extLst>
            </p:cNvPr>
            <p:cNvSpPr>
              <a:spLocks/>
            </p:cNvSpPr>
            <p:nvPr/>
          </p:nvSpPr>
          <p:spPr bwMode="auto">
            <a:xfrm rot="10800000">
              <a:off x="2223350" y="3148328"/>
              <a:ext cx="1076096" cy="832559"/>
            </a:xfrm>
            <a:custGeom>
              <a:avLst/>
              <a:gdLst>
                <a:gd name="T0" fmla="*/ 588 w 688"/>
                <a:gd name="T1" fmla="*/ 532 h 532"/>
                <a:gd name="T2" fmla="*/ 588 w 688"/>
                <a:gd name="T3" fmla="*/ 532 h 532"/>
                <a:gd name="T4" fmla="*/ 688 w 688"/>
                <a:gd name="T5" fmla="*/ 189 h 532"/>
                <a:gd name="T6" fmla="*/ 688 w 688"/>
                <a:gd name="T7" fmla="*/ 189 h 532"/>
                <a:gd name="T8" fmla="*/ 0 w 688"/>
                <a:gd name="T9" fmla="*/ 58 h 532"/>
                <a:gd name="T10" fmla="*/ 220 w 688"/>
                <a:gd name="T11" fmla="*/ 450 h 532"/>
                <a:gd name="T12" fmla="*/ 588 w 688"/>
                <a:gd name="T13" fmla="*/ 532 h 532"/>
              </a:gdLst>
              <a:ahLst/>
              <a:cxnLst>
                <a:cxn ang="0">
                  <a:pos x="T0" y="T1"/>
                </a:cxn>
                <a:cxn ang="0">
                  <a:pos x="T2" y="T3"/>
                </a:cxn>
                <a:cxn ang="0">
                  <a:pos x="T4" y="T5"/>
                </a:cxn>
                <a:cxn ang="0">
                  <a:pos x="T6" y="T7"/>
                </a:cxn>
                <a:cxn ang="0">
                  <a:pos x="T8" y="T9"/>
                </a:cxn>
                <a:cxn ang="0">
                  <a:pos x="T10" y="T11"/>
                </a:cxn>
                <a:cxn ang="0">
                  <a:pos x="T12" y="T13"/>
                </a:cxn>
              </a:cxnLst>
              <a:rect l="0" t="0" r="r" b="b"/>
              <a:pathLst>
                <a:path w="688" h="532">
                  <a:moveTo>
                    <a:pt x="588" y="532"/>
                  </a:moveTo>
                  <a:cubicBezTo>
                    <a:pt x="588" y="532"/>
                    <a:pt x="588" y="532"/>
                    <a:pt x="588" y="532"/>
                  </a:cubicBezTo>
                  <a:cubicBezTo>
                    <a:pt x="688" y="189"/>
                    <a:pt x="688" y="189"/>
                    <a:pt x="688" y="189"/>
                  </a:cubicBezTo>
                  <a:cubicBezTo>
                    <a:pt x="688" y="189"/>
                    <a:pt x="688" y="189"/>
                    <a:pt x="688" y="189"/>
                  </a:cubicBezTo>
                  <a:cubicBezTo>
                    <a:pt x="435" y="16"/>
                    <a:pt x="201" y="0"/>
                    <a:pt x="0" y="58"/>
                  </a:cubicBezTo>
                  <a:cubicBezTo>
                    <a:pt x="220" y="450"/>
                    <a:pt x="220" y="450"/>
                    <a:pt x="220" y="450"/>
                  </a:cubicBezTo>
                  <a:cubicBezTo>
                    <a:pt x="336" y="424"/>
                    <a:pt x="459" y="445"/>
                    <a:pt x="588" y="532"/>
                  </a:cubicBezTo>
                  <a:close/>
                </a:path>
              </a:pathLst>
            </a:custGeom>
            <a:gradFill flip="none" rotWithShape="1">
              <a:gsLst>
                <a:gs pos="0">
                  <a:schemeClr val="accent1">
                    <a:lumMod val="51000"/>
                    <a:lumOff val="49000"/>
                  </a:schemeClr>
                </a:gs>
                <a:gs pos="100000">
                  <a:schemeClr val="accent1">
                    <a:lumMod val="95000"/>
                    <a:lumOff val="5000"/>
                  </a:schemeClr>
                </a:gs>
              </a:gsLst>
              <a:lin ang="2700000" scaled="1"/>
              <a:tileRect/>
            </a:gradFill>
            <a:ln w="51262"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armonyOS Sans SC"/>
                <a:cs typeface="+mn-cs"/>
              </a:endParaRPr>
            </a:p>
          </p:txBody>
        </p:sp>
        <p:sp>
          <p:nvSpPr>
            <p:cNvPr id="150" name="Freeform 24">
              <a:extLst>
                <a:ext uri="{FF2B5EF4-FFF2-40B4-BE49-F238E27FC236}">
                  <a16:creationId xmlns:a16="http://schemas.microsoft.com/office/drawing/2014/main" id="{0FB17981-0414-47A5-A61B-E80D06AF2052}"/>
                </a:ext>
              </a:extLst>
            </p:cNvPr>
            <p:cNvSpPr>
              <a:spLocks/>
            </p:cNvSpPr>
            <p:nvPr/>
          </p:nvSpPr>
          <p:spPr bwMode="auto">
            <a:xfrm rot="10800000">
              <a:off x="2208248" y="3684487"/>
              <a:ext cx="1053440" cy="315278"/>
            </a:xfrm>
            <a:custGeom>
              <a:avLst/>
              <a:gdLst>
                <a:gd name="T0" fmla="*/ 191 w 674"/>
                <a:gd name="T1" fmla="*/ 0 h 201"/>
                <a:gd name="T2" fmla="*/ 0 w 674"/>
                <a:gd name="T3" fmla="*/ 63 h 201"/>
                <a:gd name="T4" fmla="*/ 664 w 674"/>
                <a:gd name="T5" fmla="*/ 201 h 201"/>
                <a:gd name="T6" fmla="*/ 664 w 674"/>
                <a:gd name="T7" fmla="*/ 201 h 201"/>
                <a:gd name="T8" fmla="*/ 674 w 674"/>
                <a:gd name="T9" fmla="*/ 168 h 201"/>
                <a:gd name="T10" fmla="*/ 191 w 674"/>
                <a:gd name="T11" fmla="*/ 0 h 201"/>
              </a:gdLst>
              <a:ahLst/>
              <a:cxnLst>
                <a:cxn ang="0">
                  <a:pos x="T0" y="T1"/>
                </a:cxn>
                <a:cxn ang="0">
                  <a:pos x="T2" y="T3"/>
                </a:cxn>
                <a:cxn ang="0">
                  <a:pos x="T4" y="T5"/>
                </a:cxn>
                <a:cxn ang="0">
                  <a:pos x="T6" y="T7"/>
                </a:cxn>
                <a:cxn ang="0">
                  <a:pos x="T8" y="T9"/>
                </a:cxn>
                <a:cxn ang="0">
                  <a:pos x="T10" y="T11"/>
                </a:cxn>
              </a:cxnLst>
              <a:rect l="0" t="0" r="r" b="b"/>
              <a:pathLst>
                <a:path w="674" h="201">
                  <a:moveTo>
                    <a:pt x="191" y="0"/>
                  </a:moveTo>
                  <a:cubicBezTo>
                    <a:pt x="86" y="21"/>
                    <a:pt x="26" y="49"/>
                    <a:pt x="0" y="63"/>
                  </a:cubicBezTo>
                  <a:cubicBezTo>
                    <a:pt x="196" y="13"/>
                    <a:pt x="421" y="35"/>
                    <a:pt x="664" y="201"/>
                  </a:cubicBezTo>
                  <a:cubicBezTo>
                    <a:pt x="664" y="201"/>
                    <a:pt x="664" y="201"/>
                    <a:pt x="664" y="201"/>
                  </a:cubicBezTo>
                  <a:cubicBezTo>
                    <a:pt x="674" y="168"/>
                    <a:pt x="674" y="168"/>
                    <a:pt x="674" y="168"/>
                  </a:cubicBezTo>
                  <a:cubicBezTo>
                    <a:pt x="501" y="52"/>
                    <a:pt x="339" y="3"/>
                    <a:pt x="191" y="0"/>
                  </a:cubicBezTo>
                  <a:close/>
                </a:path>
              </a:pathLst>
            </a:custGeom>
            <a:gradFill flip="none" rotWithShape="1">
              <a:gsLst>
                <a:gs pos="100000">
                  <a:schemeClr val="accent1">
                    <a:lumMod val="91000"/>
                  </a:schemeClr>
                </a:gs>
                <a:gs pos="0">
                  <a:schemeClr val="accent1">
                    <a:lumMod val="87000"/>
                  </a:schemeClr>
                </a:gs>
              </a:gsLst>
              <a:lin ang="5400000" scaled="1"/>
              <a:tileRect/>
            </a:gradFill>
            <a:ln w="512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armonyOS Sans SC"/>
                <a:cs typeface="+mn-cs"/>
              </a:endParaRPr>
            </a:p>
          </p:txBody>
        </p:sp>
        <p:sp>
          <p:nvSpPr>
            <p:cNvPr id="151" name="Freeform 28">
              <a:extLst>
                <a:ext uri="{FF2B5EF4-FFF2-40B4-BE49-F238E27FC236}">
                  <a16:creationId xmlns:a16="http://schemas.microsoft.com/office/drawing/2014/main" id="{34340D2B-B013-4EEF-84CA-B3E1198EF8DC}"/>
                </a:ext>
              </a:extLst>
            </p:cNvPr>
            <p:cNvSpPr>
              <a:spLocks/>
            </p:cNvSpPr>
            <p:nvPr/>
          </p:nvSpPr>
          <p:spPr bwMode="auto">
            <a:xfrm rot="10800000">
              <a:off x="1898634" y="3684490"/>
              <a:ext cx="324716" cy="120825"/>
            </a:xfrm>
            <a:custGeom>
              <a:avLst/>
              <a:gdLst>
                <a:gd name="T0" fmla="*/ 10 w 207"/>
                <a:gd name="T1" fmla="*/ 44 h 77"/>
                <a:gd name="T2" fmla="*/ 10 w 207"/>
                <a:gd name="T3" fmla="*/ 44 h 77"/>
                <a:gd name="T4" fmla="*/ 0 w 207"/>
                <a:gd name="T5" fmla="*/ 77 h 77"/>
                <a:gd name="T6" fmla="*/ 207 w 207"/>
                <a:gd name="T7" fmla="*/ 22 h 77"/>
                <a:gd name="T8" fmla="*/ 159 w 207"/>
                <a:gd name="T9" fmla="*/ 0 h 77"/>
                <a:gd name="T10" fmla="*/ 10 w 207"/>
                <a:gd name="T11" fmla="*/ 44 h 77"/>
              </a:gdLst>
              <a:ahLst/>
              <a:cxnLst>
                <a:cxn ang="0">
                  <a:pos x="T0" y="T1"/>
                </a:cxn>
                <a:cxn ang="0">
                  <a:pos x="T2" y="T3"/>
                </a:cxn>
                <a:cxn ang="0">
                  <a:pos x="T4" y="T5"/>
                </a:cxn>
                <a:cxn ang="0">
                  <a:pos x="T6" y="T7"/>
                </a:cxn>
                <a:cxn ang="0">
                  <a:pos x="T8" y="T9"/>
                </a:cxn>
                <a:cxn ang="0">
                  <a:pos x="T10" y="T11"/>
                </a:cxn>
              </a:cxnLst>
              <a:rect l="0" t="0" r="r" b="b"/>
              <a:pathLst>
                <a:path w="207" h="77">
                  <a:moveTo>
                    <a:pt x="10" y="44"/>
                  </a:moveTo>
                  <a:cubicBezTo>
                    <a:pt x="10" y="44"/>
                    <a:pt x="10" y="44"/>
                    <a:pt x="10" y="44"/>
                  </a:cubicBezTo>
                  <a:cubicBezTo>
                    <a:pt x="0" y="77"/>
                    <a:pt x="0" y="77"/>
                    <a:pt x="0" y="77"/>
                  </a:cubicBezTo>
                  <a:cubicBezTo>
                    <a:pt x="207" y="22"/>
                    <a:pt x="207" y="22"/>
                    <a:pt x="207" y="22"/>
                  </a:cubicBezTo>
                  <a:cubicBezTo>
                    <a:pt x="159" y="0"/>
                    <a:pt x="159" y="0"/>
                    <a:pt x="159" y="0"/>
                  </a:cubicBezTo>
                  <a:lnTo>
                    <a:pt x="10" y="44"/>
                  </a:lnTo>
                  <a:close/>
                </a:path>
              </a:pathLst>
            </a:custGeom>
            <a:gradFill flip="none" rotWithShape="1">
              <a:gsLst>
                <a:gs pos="100000">
                  <a:schemeClr val="accent1">
                    <a:lumMod val="91000"/>
                  </a:schemeClr>
                </a:gs>
                <a:gs pos="0">
                  <a:schemeClr val="accent1">
                    <a:lumMod val="87000"/>
                  </a:schemeClr>
                </a:gs>
              </a:gsLst>
              <a:lin ang="5400000" scaled="1"/>
              <a:tileRect/>
            </a:gradFill>
            <a:ln w="512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armonyOS Sans SC"/>
                <a:cs typeface="+mn-cs"/>
              </a:endParaRPr>
            </a:p>
          </p:txBody>
        </p:sp>
        <p:sp>
          <p:nvSpPr>
            <p:cNvPr id="152" name="Freeform 9">
              <a:extLst>
                <a:ext uri="{FF2B5EF4-FFF2-40B4-BE49-F238E27FC236}">
                  <a16:creationId xmlns:a16="http://schemas.microsoft.com/office/drawing/2014/main" id="{393983BB-39AB-4401-9EA5-62C963125B39}"/>
                </a:ext>
              </a:extLst>
            </p:cNvPr>
            <p:cNvSpPr>
              <a:spLocks/>
            </p:cNvSpPr>
            <p:nvPr/>
          </p:nvSpPr>
          <p:spPr bwMode="auto">
            <a:xfrm rot="10800000">
              <a:off x="1551264" y="3737349"/>
              <a:ext cx="656985" cy="679640"/>
            </a:xfrm>
            <a:custGeom>
              <a:avLst/>
              <a:gdLst>
                <a:gd name="T0" fmla="*/ 102 w 420"/>
                <a:gd name="T1" fmla="*/ 84 h 435"/>
                <a:gd name="T2" fmla="*/ 0 w 420"/>
                <a:gd name="T3" fmla="*/ 435 h 435"/>
                <a:gd name="T4" fmla="*/ 0 w 420"/>
                <a:gd name="T5" fmla="*/ 435 h 435"/>
                <a:gd name="T6" fmla="*/ 222 w 420"/>
                <a:gd name="T7" fmla="*/ 369 h 435"/>
                <a:gd name="T8" fmla="*/ 420 w 420"/>
                <a:gd name="T9" fmla="*/ 0 h 435"/>
                <a:gd name="T10" fmla="*/ 102 w 420"/>
                <a:gd name="T11" fmla="*/ 84 h 435"/>
                <a:gd name="T12" fmla="*/ 102 w 420"/>
                <a:gd name="T13" fmla="*/ 84 h 435"/>
              </a:gdLst>
              <a:ahLst/>
              <a:cxnLst>
                <a:cxn ang="0">
                  <a:pos x="T0" y="T1"/>
                </a:cxn>
                <a:cxn ang="0">
                  <a:pos x="T2" y="T3"/>
                </a:cxn>
                <a:cxn ang="0">
                  <a:pos x="T4" y="T5"/>
                </a:cxn>
                <a:cxn ang="0">
                  <a:pos x="T6" y="T7"/>
                </a:cxn>
                <a:cxn ang="0">
                  <a:pos x="T8" y="T9"/>
                </a:cxn>
                <a:cxn ang="0">
                  <a:pos x="T10" y="T11"/>
                </a:cxn>
                <a:cxn ang="0">
                  <a:pos x="T12" y="T13"/>
                </a:cxn>
              </a:cxnLst>
              <a:rect l="0" t="0" r="r" b="b"/>
              <a:pathLst>
                <a:path w="420" h="435">
                  <a:moveTo>
                    <a:pt x="102" y="84"/>
                  </a:moveTo>
                  <a:cubicBezTo>
                    <a:pt x="0" y="435"/>
                    <a:pt x="0" y="435"/>
                    <a:pt x="0" y="435"/>
                  </a:cubicBezTo>
                  <a:cubicBezTo>
                    <a:pt x="0" y="435"/>
                    <a:pt x="0" y="435"/>
                    <a:pt x="0" y="435"/>
                  </a:cubicBezTo>
                  <a:cubicBezTo>
                    <a:pt x="222" y="369"/>
                    <a:pt x="222" y="369"/>
                    <a:pt x="222" y="369"/>
                  </a:cubicBezTo>
                  <a:cubicBezTo>
                    <a:pt x="420" y="0"/>
                    <a:pt x="420" y="0"/>
                    <a:pt x="420" y="0"/>
                  </a:cubicBezTo>
                  <a:cubicBezTo>
                    <a:pt x="102" y="84"/>
                    <a:pt x="102" y="84"/>
                    <a:pt x="102" y="84"/>
                  </a:cubicBezTo>
                  <a:cubicBezTo>
                    <a:pt x="102" y="84"/>
                    <a:pt x="102" y="84"/>
                    <a:pt x="102" y="84"/>
                  </a:cubicBezTo>
                  <a:close/>
                </a:path>
              </a:pathLst>
            </a:custGeom>
            <a:gradFill flip="none" rotWithShape="1">
              <a:gsLst>
                <a:gs pos="0">
                  <a:schemeClr val="accent1">
                    <a:lumMod val="71000"/>
                    <a:lumOff val="29000"/>
                  </a:schemeClr>
                </a:gs>
                <a:gs pos="63000">
                  <a:schemeClr val="accent1"/>
                </a:gs>
              </a:gsLst>
              <a:lin ang="7200000" scaled="0"/>
              <a:tileRect/>
            </a:gradFill>
            <a:ln w="1270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armonyOS Sans SC"/>
                <a:cs typeface="+mn-cs"/>
              </a:endParaRPr>
            </a:p>
          </p:txBody>
        </p:sp>
        <p:sp>
          <p:nvSpPr>
            <p:cNvPr id="153" name="Freeform 11">
              <a:extLst>
                <a:ext uri="{FF2B5EF4-FFF2-40B4-BE49-F238E27FC236}">
                  <a16:creationId xmlns:a16="http://schemas.microsoft.com/office/drawing/2014/main" id="{13CB3C5B-C2ED-45A7-A827-B876FC45760A}"/>
                </a:ext>
              </a:extLst>
            </p:cNvPr>
            <p:cNvSpPr>
              <a:spLocks/>
            </p:cNvSpPr>
            <p:nvPr/>
          </p:nvSpPr>
          <p:spPr bwMode="auto">
            <a:xfrm rot="10800000">
              <a:off x="2047778" y="3737349"/>
              <a:ext cx="1621695" cy="955271"/>
            </a:xfrm>
            <a:custGeom>
              <a:avLst/>
              <a:gdLst>
                <a:gd name="T0" fmla="*/ 935 w 1037"/>
                <a:gd name="T1" fmla="*/ 612 h 612"/>
                <a:gd name="T2" fmla="*/ 1037 w 1037"/>
                <a:gd name="T3" fmla="*/ 261 h 612"/>
                <a:gd name="T4" fmla="*/ 0 w 1037"/>
                <a:gd name="T5" fmla="*/ 94 h 612"/>
                <a:gd name="T6" fmla="*/ 215 w 1037"/>
                <a:gd name="T7" fmla="*/ 476 h 612"/>
                <a:gd name="T8" fmla="*/ 935 w 1037"/>
                <a:gd name="T9" fmla="*/ 612 h 612"/>
              </a:gdLst>
              <a:ahLst/>
              <a:cxnLst>
                <a:cxn ang="0">
                  <a:pos x="T0" y="T1"/>
                </a:cxn>
                <a:cxn ang="0">
                  <a:pos x="T2" y="T3"/>
                </a:cxn>
                <a:cxn ang="0">
                  <a:pos x="T4" y="T5"/>
                </a:cxn>
                <a:cxn ang="0">
                  <a:pos x="T6" y="T7"/>
                </a:cxn>
                <a:cxn ang="0">
                  <a:pos x="T8" y="T9"/>
                </a:cxn>
              </a:cxnLst>
              <a:rect l="0" t="0" r="r" b="b"/>
              <a:pathLst>
                <a:path w="1037" h="612">
                  <a:moveTo>
                    <a:pt x="935" y="612"/>
                  </a:moveTo>
                  <a:cubicBezTo>
                    <a:pt x="1037" y="261"/>
                    <a:pt x="1037" y="261"/>
                    <a:pt x="1037" y="261"/>
                  </a:cubicBezTo>
                  <a:cubicBezTo>
                    <a:pt x="594" y="0"/>
                    <a:pt x="242" y="13"/>
                    <a:pt x="0" y="94"/>
                  </a:cubicBezTo>
                  <a:cubicBezTo>
                    <a:pt x="215" y="476"/>
                    <a:pt x="215" y="476"/>
                    <a:pt x="215" y="476"/>
                  </a:cubicBezTo>
                  <a:cubicBezTo>
                    <a:pt x="421" y="414"/>
                    <a:pt x="665" y="430"/>
                    <a:pt x="935" y="612"/>
                  </a:cubicBezTo>
                  <a:close/>
                </a:path>
              </a:pathLst>
            </a:custGeom>
            <a:gradFill flip="none" rotWithShape="1">
              <a:gsLst>
                <a:gs pos="0">
                  <a:schemeClr val="accent1">
                    <a:lumMod val="49000"/>
                    <a:lumOff val="51000"/>
                  </a:schemeClr>
                </a:gs>
                <a:gs pos="63000">
                  <a:schemeClr val="accent1">
                    <a:lumMod val="78000"/>
                    <a:lumOff val="22000"/>
                  </a:schemeClr>
                </a:gs>
              </a:gsLst>
              <a:lin ang="5400000" scaled="1"/>
              <a:tileRect/>
            </a:gradFill>
            <a:ln w="1270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armonyOS Sans SC"/>
                <a:cs typeface="+mn-cs"/>
              </a:endParaRPr>
            </a:p>
          </p:txBody>
        </p:sp>
        <p:sp>
          <p:nvSpPr>
            <p:cNvPr id="154" name="Freeform 23">
              <a:extLst>
                <a:ext uri="{FF2B5EF4-FFF2-40B4-BE49-F238E27FC236}">
                  <a16:creationId xmlns:a16="http://schemas.microsoft.com/office/drawing/2014/main" id="{464916B7-5353-4A5C-AD8D-26EAEC01AD5F}"/>
                </a:ext>
              </a:extLst>
            </p:cNvPr>
            <p:cNvSpPr>
              <a:spLocks/>
            </p:cNvSpPr>
            <p:nvPr/>
          </p:nvSpPr>
          <p:spPr bwMode="auto">
            <a:xfrm rot="10800000">
              <a:off x="2032675" y="4284835"/>
              <a:ext cx="1597153" cy="420999"/>
            </a:xfrm>
            <a:custGeom>
              <a:avLst/>
              <a:gdLst>
                <a:gd name="T0" fmla="*/ 222 w 1022"/>
                <a:gd name="T1" fmla="*/ 15 h 269"/>
                <a:gd name="T2" fmla="*/ 0 w 1022"/>
                <a:gd name="T3" fmla="*/ 94 h 269"/>
                <a:gd name="T4" fmla="*/ 1012 w 1022"/>
                <a:gd name="T5" fmla="*/ 269 h 269"/>
                <a:gd name="T6" fmla="*/ 1022 w 1022"/>
                <a:gd name="T7" fmla="*/ 236 h 269"/>
                <a:gd name="T8" fmla="*/ 222 w 1022"/>
                <a:gd name="T9" fmla="*/ 15 h 269"/>
              </a:gdLst>
              <a:ahLst/>
              <a:cxnLst>
                <a:cxn ang="0">
                  <a:pos x="T0" y="T1"/>
                </a:cxn>
                <a:cxn ang="0">
                  <a:pos x="T2" y="T3"/>
                </a:cxn>
                <a:cxn ang="0">
                  <a:pos x="T4" y="T5"/>
                </a:cxn>
                <a:cxn ang="0">
                  <a:pos x="T6" y="T7"/>
                </a:cxn>
                <a:cxn ang="0">
                  <a:pos x="T8" y="T9"/>
                </a:cxn>
              </a:cxnLst>
              <a:rect l="0" t="0" r="r" b="b"/>
              <a:pathLst>
                <a:path w="1022" h="269">
                  <a:moveTo>
                    <a:pt x="222" y="15"/>
                  </a:moveTo>
                  <a:cubicBezTo>
                    <a:pt x="119" y="42"/>
                    <a:pt x="41" y="75"/>
                    <a:pt x="0" y="94"/>
                  </a:cubicBezTo>
                  <a:cubicBezTo>
                    <a:pt x="241" y="21"/>
                    <a:pt x="584" y="17"/>
                    <a:pt x="1012" y="269"/>
                  </a:cubicBezTo>
                  <a:cubicBezTo>
                    <a:pt x="1022" y="236"/>
                    <a:pt x="1022" y="236"/>
                    <a:pt x="1022" y="236"/>
                  </a:cubicBezTo>
                  <a:cubicBezTo>
                    <a:pt x="708" y="49"/>
                    <a:pt x="438" y="0"/>
                    <a:pt x="222" y="15"/>
                  </a:cubicBezTo>
                  <a:close/>
                </a:path>
              </a:pathLst>
            </a:custGeom>
            <a:gradFill flip="none" rotWithShape="1">
              <a:gsLst>
                <a:gs pos="100000">
                  <a:schemeClr val="accent1">
                    <a:lumMod val="91000"/>
                  </a:schemeClr>
                </a:gs>
                <a:gs pos="0">
                  <a:schemeClr val="accent1">
                    <a:lumMod val="87000"/>
                  </a:schemeClr>
                </a:gs>
              </a:gsLst>
              <a:lin ang="5400000" scaled="1"/>
              <a:tileRect/>
            </a:gradFill>
            <a:ln w="512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armonyOS Sans SC"/>
                <a:cs typeface="+mn-cs"/>
              </a:endParaRPr>
            </a:p>
          </p:txBody>
        </p:sp>
        <p:sp>
          <p:nvSpPr>
            <p:cNvPr id="155" name="Freeform 27">
              <a:extLst>
                <a:ext uri="{FF2B5EF4-FFF2-40B4-BE49-F238E27FC236}">
                  <a16:creationId xmlns:a16="http://schemas.microsoft.com/office/drawing/2014/main" id="{3312C2BE-C583-470E-8660-A9EA57E9D491}"/>
                </a:ext>
              </a:extLst>
            </p:cNvPr>
            <p:cNvSpPr>
              <a:spLocks/>
            </p:cNvSpPr>
            <p:nvPr/>
          </p:nvSpPr>
          <p:spPr bwMode="auto">
            <a:xfrm rot="10800000">
              <a:off x="1551264" y="4284835"/>
              <a:ext cx="496515" cy="171798"/>
            </a:xfrm>
            <a:custGeom>
              <a:avLst/>
              <a:gdLst>
                <a:gd name="T0" fmla="*/ 10 w 318"/>
                <a:gd name="T1" fmla="*/ 77 h 110"/>
                <a:gd name="T2" fmla="*/ 10 w 318"/>
                <a:gd name="T3" fmla="*/ 77 h 110"/>
                <a:gd name="T4" fmla="*/ 0 w 318"/>
                <a:gd name="T5" fmla="*/ 110 h 110"/>
                <a:gd name="T6" fmla="*/ 0 w 318"/>
                <a:gd name="T7" fmla="*/ 110 h 110"/>
                <a:gd name="T8" fmla="*/ 318 w 318"/>
                <a:gd name="T9" fmla="*/ 26 h 110"/>
                <a:gd name="T10" fmla="*/ 268 w 318"/>
                <a:gd name="T11" fmla="*/ 0 h 110"/>
                <a:gd name="T12" fmla="*/ 10 w 318"/>
                <a:gd name="T13" fmla="*/ 77 h 110"/>
              </a:gdLst>
              <a:ahLst/>
              <a:cxnLst>
                <a:cxn ang="0">
                  <a:pos x="T0" y="T1"/>
                </a:cxn>
                <a:cxn ang="0">
                  <a:pos x="T2" y="T3"/>
                </a:cxn>
                <a:cxn ang="0">
                  <a:pos x="T4" y="T5"/>
                </a:cxn>
                <a:cxn ang="0">
                  <a:pos x="T6" y="T7"/>
                </a:cxn>
                <a:cxn ang="0">
                  <a:pos x="T8" y="T9"/>
                </a:cxn>
                <a:cxn ang="0">
                  <a:pos x="T10" y="T11"/>
                </a:cxn>
                <a:cxn ang="0">
                  <a:pos x="T12" y="T13"/>
                </a:cxn>
              </a:cxnLst>
              <a:rect l="0" t="0" r="r" b="b"/>
              <a:pathLst>
                <a:path w="318" h="110">
                  <a:moveTo>
                    <a:pt x="10" y="77"/>
                  </a:moveTo>
                  <a:cubicBezTo>
                    <a:pt x="10" y="77"/>
                    <a:pt x="10" y="77"/>
                    <a:pt x="10" y="77"/>
                  </a:cubicBezTo>
                  <a:cubicBezTo>
                    <a:pt x="0" y="110"/>
                    <a:pt x="0" y="110"/>
                    <a:pt x="0" y="110"/>
                  </a:cubicBezTo>
                  <a:cubicBezTo>
                    <a:pt x="0" y="110"/>
                    <a:pt x="0" y="110"/>
                    <a:pt x="0" y="110"/>
                  </a:cubicBezTo>
                  <a:cubicBezTo>
                    <a:pt x="318" y="26"/>
                    <a:pt x="318" y="26"/>
                    <a:pt x="318" y="26"/>
                  </a:cubicBezTo>
                  <a:cubicBezTo>
                    <a:pt x="268" y="0"/>
                    <a:pt x="268" y="0"/>
                    <a:pt x="268" y="0"/>
                  </a:cubicBezTo>
                  <a:lnTo>
                    <a:pt x="10" y="77"/>
                  </a:lnTo>
                  <a:close/>
                </a:path>
              </a:pathLst>
            </a:custGeom>
            <a:gradFill flip="none" rotWithShape="1">
              <a:gsLst>
                <a:gs pos="100000">
                  <a:schemeClr val="accent1">
                    <a:lumMod val="91000"/>
                  </a:schemeClr>
                </a:gs>
                <a:gs pos="0">
                  <a:schemeClr val="accent1">
                    <a:lumMod val="87000"/>
                  </a:schemeClr>
                </a:gs>
              </a:gsLst>
              <a:lin ang="5400000" scaled="1"/>
              <a:tileRect/>
            </a:gradFill>
            <a:ln w="512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armonyOS Sans SC"/>
                <a:cs typeface="+mn-cs"/>
              </a:endParaRPr>
            </a:p>
          </p:txBody>
        </p:sp>
        <p:sp>
          <p:nvSpPr>
            <p:cNvPr id="156" name="Freeform 10">
              <a:extLst>
                <a:ext uri="{FF2B5EF4-FFF2-40B4-BE49-F238E27FC236}">
                  <a16:creationId xmlns:a16="http://schemas.microsoft.com/office/drawing/2014/main" id="{DA268BB4-906C-450E-91F3-CF4DEC31B95C}"/>
                </a:ext>
              </a:extLst>
            </p:cNvPr>
            <p:cNvSpPr>
              <a:spLocks/>
            </p:cNvSpPr>
            <p:nvPr/>
          </p:nvSpPr>
          <p:spPr bwMode="auto">
            <a:xfrm rot="10800000">
              <a:off x="1205782" y="4337698"/>
              <a:ext cx="826894" cy="717397"/>
            </a:xfrm>
            <a:custGeom>
              <a:avLst/>
              <a:gdLst>
                <a:gd name="T0" fmla="*/ 101 w 528"/>
                <a:gd name="T1" fmla="*/ 113 h 459"/>
                <a:gd name="T2" fmla="*/ 0 w 528"/>
                <a:gd name="T3" fmla="*/ 459 h 459"/>
                <a:gd name="T4" fmla="*/ 0 w 528"/>
                <a:gd name="T5" fmla="*/ 459 h 459"/>
                <a:gd name="T6" fmla="*/ 335 w 528"/>
                <a:gd name="T7" fmla="*/ 359 h 459"/>
                <a:gd name="T8" fmla="*/ 528 w 528"/>
                <a:gd name="T9" fmla="*/ 0 h 459"/>
                <a:gd name="T10" fmla="*/ 101 w 528"/>
                <a:gd name="T11" fmla="*/ 113 h 459"/>
                <a:gd name="T12" fmla="*/ 101 w 528"/>
                <a:gd name="T13" fmla="*/ 113 h 459"/>
              </a:gdLst>
              <a:ahLst/>
              <a:cxnLst>
                <a:cxn ang="0">
                  <a:pos x="T0" y="T1"/>
                </a:cxn>
                <a:cxn ang="0">
                  <a:pos x="T2" y="T3"/>
                </a:cxn>
                <a:cxn ang="0">
                  <a:pos x="T4" y="T5"/>
                </a:cxn>
                <a:cxn ang="0">
                  <a:pos x="T6" y="T7"/>
                </a:cxn>
                <a:cxn ang="0">
                  <a:pos x="T8" y="T9"/>
                </a:cxn>
                <a:cxn ang="0">
                  <a:pos x="T10" y="T11"/>
                </a:cxn>
                <a:cxn ang="0">
                  <a:pos x="T12" y="T13"/>
                </a:cxn>
              </a:cxnLst>
              <a:rect l="0" t="0" r="r" b="b"/>
              <a:pathLst>
                <a:path w="528" h="459">
                  <a:moveTo>
                    <a:pt x="101" y="113"/>
                  </a:moveTo>
                  <a:cubicBezTo>
                    <a:pt x="0" y="459"/>
                    <a:pt x="0" y="459"/>
                    <a:pt x="0" y="459"/>
                  </a:cubicBezTo>
                  <a:cubicBezTo>
                    <a:pt x="0" y="459"/>
                    <a:pt x="0" y="459"/>
                    <a:pt x="0" y="459"/>
                  </a:cubicBezTo>
                  <a:cubicBezTo>
                    <a:pt x="335" y="359"/>
                    <a:pt x="335" y="359"/>
                    <a:pt x="335" y="359"/>
                  </a:cubicBezTo>
                  <a:cubicBezTo>
                    <a:pt x="528" y="0"/>
                    <a:pt x="528" y="0"/>
                    <a:pt x="528" y="0"/>
                  </a:cubicBezTo>
                  <a:cubicBezTo>
                    <a:pt x="101" y="113"/>
                    <a:pt x="101" y="113"/>
                    <a:pt x="101" y="113"/>
                  </a:cubicBezTo>
                  <a:cubicBezTo>
                    <a:pt x="101" y="113"/>
                    <a:pt x="101" y="113"/>
                    <a:pt x="101" y="113"/>
                  </a:cubicBezTo>
                  <a:close/>
                </a:path>
              </a:pathLst>
            </a:custGeom>
            <a:gradFill flip="none" rotWithShape="1">
              <a:gsLst>
                <a:gs pos="0">
                  <a:schemeClr val="accent1">
                    <a:lumMod val="74000"/>
                    <a:lumOff val="26000"/>
                  </a:schemeClr>
                </a:gs>
                <a:gs pos="63000">
                  <a:schemeClr val="accent1">
                    <a:lumMod val="93000"/>
                  </a:schemeClr>
                </a:gs>
              </a:gsLst>
              <a:lin ang="7200000" scaled="0"/>
              <a:tileRect/>
            </a:gradFill>
            <a:ln w="1270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armonyOS Sans SC"/>
                <a:cs typeface="+mn-cs"/>
              </a:endParaRPr>
            </a:p>
          </p:txBody>
        </p:sp>
        <p:sp>
          <p:nvSpPr>
            <p:cNvPr id="157" name="Freeform 13">
              <a:extLst>
                <a:ext uri="{FF2B5EF4-FFF2-40B4-BE49-F238E27FC236}">
                  <a16:creationId xmlns:a16="http://schemas.microsoft.com/office/drawing/2014/main" id="{4E205F1E-C9FA-4E9F-8B11-1F132D4AFEB2}"/>
                </a:ext>
              </a:extLst>
            </p:cNvPr>
            <p:cNvSpPr>
              <a:spLocks/>
            </p:cNvSpPr>
            <p:nvPr/>
          </p:nvSpPr>
          <p:spPr bwMode="auto">
            <a:xfrm rot="10800000">
              <a:off x="1874094" y="4337698"/>
              <a:ext cx="2152190" cy="1166713"/>
            </a:xfrm>
            <a:custGeom>
              <a:avLst/>
              <a:gdLst>
                <a:gd name="T0" fmla="*/ 1275 w 1376"/>
                <a:gd name="T1" fmla="*/ 747 h 747"/>
                <a:gd name="T2" fmla="*/ 1376 w 1376"/>
                <a:gd name="T3" fmla="*/ 401 h 747"/>
                <a:gd name="T4" fmla="*/ 0 w 1376"/>
                <a:gd name="T5" fmla="*/ 208 h 747"/>
                <a:gd name="T6" fmla="*/ 210 w 1376"/>
                <a:gd name="T7" fmla="*/ 580 h 747"/>
                <a:gd name="T8" fmla="*/ 1275 w 1376"/>
                <a:gd name="T9" fmla="*/ 747 h 747"/>
              </a:gdLst>
              <a:ahLst/>
              <a:cxnLst>
                <a:cxn ang="0">
                  <a:pos x="T0" y="T1"/>
                </a:cxn>
                <a:cxn ang="0">
                  <a:pos x="T2" y="T3"/>
                </a:cxn>
                <a:cxn ang="0">
                  <a:pos x="T4" y="T5"/>
                </a:cxn>
                <a:cxn ang="0">
                  <a:pos x="T6" y="T7"/>
                </a:cxn>
                <a:cxn ang="0">
                  <a:pos x="T8" y="T9"/>
                </a:cxn>
              </a:cxnLst>
              <a:rect l="0" t="0" r="r" b="b"/>
              <a:pathLst>
                <a:path w="1376" h="747">
                  <a:moveTo>
                    <a:pt x="1275" y="747"/>
                  </a:moveTo>
                  <a:cubicBezTo>
                    <a:pt x="1376" y="401"/>
                    <a:pt x="1376" y="401"/>
                    <a:pt x="1376" y="401"/>
                  </a:cubicBezTo>
                  <a:cubicBezTo>
                    <a:pt x="646" y="0"/>
                    <a:pt x="142" y="150"/>
                    <a:pt x="0" y="208"/>
                  </a:cubicBezTo>
                  <a:cubicBezTo>
                    <a:pt x="210" y="580"/>
                    <a:pt x="210" y="580"/>
                    <a:pt x="210" y="580"/>
                  </a:cubicBezTo>
                  <a:cubicBezTo>
                    <a:pt x="453" y="495"/>
                    <a:pt x="816" y="474"/>
                    <a:pt x="1275" y="747"/>
                  </a:cubicBezTo>
                  <a:close/>
                </a:path>
              </a:pathLst>
            </a:custGeom>
            <a:gradFill flip="none" rotWithShape="1">
              <a:gsLst>
                <a:gs pos="0">
                  <a:schemeClr val="accent1">
                    <a:lumMod val="59000"/>
                    <a:lumOff val="41000"/>
                  </a:schemeClr>
                </a:gs>
                <a:gs pos="63000">
                  <a:schemeClr val="accent1">
                    <a:lumMod val="92000"/>
                    <a:lumOff val="8000"/>
                  </a:schemeClr>
                </a:gs>
              </a:gsLst>
              <a:lin ang="5400000" scaled="1"/>
              <a:tileRect/>
            </a:gradFill>
            <a:ln w="1270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armonyOS Sans SC"/>
                <a:cs typeface="+mn-cs"/>
              </a:endParaRPr>
            </a:p>
          </p:txBody>
        </p:sp>
        <p:sp>
          <p:nvSpPr>
            <p:cNvPr id="158" name="Freeform 22">
              <a:extLst>
                <a:ext uri="{FF2B5EF4-FFF2-40B4-BE49-F238E27FC236}">
                  <a16:creationId xmlns:a16="http://schemas.microsoft.com/office/drawing/2014/main" id="{6A0F3319-1C87-4FBC-B92E-9114869A7CFF}"/>
                </a:ext>
              </a:extLst>
            </p:cNvPr>
            <p:cNvSpPr>
              <a:spLocks/>
            </p:cNvSpPr>
            <p:nvPr/>
          </p:nvSpPr>
          <p:spPr bwMode="auto">
            <a:xfrm rot="10800000">
              <a:off x="1860877" y="4877633"/>
              <a:ext cx="2152190" cy="615450"/>
            </a:xfrm>
            <a:custGeom>
              <a:avLst/>
              <a:gdLst>
                <a:gd name="T0" fmla="*/ 208 w 1377"/>
                <a:gd name="T1" fmla="*/ 102 h 394"/>
                <a:gd name="T2" fmla="*/ 0 w 1377"/>
                <a:gd name="T3" fmla="*/ 198 h 394"/>
                <a:gd name="T4" fmla="*/ 1368 w 1377"/>
                <a:gd name="T5" fmla="*/ 394 h 394"/>
                <a:gd name="T6" fmla="*/ 1377 w 1377"/>
                <a:gd name="T7" fmla="*/ 361 h 394"/>
                <a:gd name="T8" fmla="*/ 208 w 1377"/>
                <a:gd name="T9" fmla="*/ 102 h 394"/>
              </a:gdLst>
              <a:ahLst/>
              <a:cxnLst>
                <a:cxn ang="0">
                  <a:pos x="T0" y="T1"/>
                </a:cxn>
                <a:cxn ang="0">
                  <a:pos x="T2" y="T3"/>
                </a:cxn>
                <a:cxn ang="0">
                  <a:pos x="T4" y="T5"/>
                </a:cxn>
                <a:cxn ang="0">
                  <a:pos x="T6" y="T7"/>
                </a:cxn>
                <a:cxn ang="0">
                  <a:pos x="T8" y="T9"/>
                </a:cxn>
              </a:cxnLst>
              <a:rect l="0" t="0" r="r" b="b"/>
              <a:pathLst>
                <a:path w="1377" h="394">
                  <a:moveTo>
                    <a:pt x="208" y="102"/>
                  </a:moveTo>
                  <a:cubicBezTo>
                    <a:pt x="109" y="137"/>
                    <a:pt x="27" y="182"/>
                    <a:pt x="0" y="198"/>
                  </a:cubicBezTo>
                  <a:cubicBezTo>
                    <a:pt x="151" y="138"/>
                    <a:pt x="650" y="0"/>
                    <a:pt x="1368" y="394"/>
                  </a:cubicBezTo>
                  <a:cubicBezTo>
                    <a:pt x="1377" y="361"/>
                    <a:pt x="1377" y="361"/>
                    <a:pt x="1377" y="361"/>
                  </a:cubicBezTo>
                  <a:cubicBezTo>
                    <a:pt x="880" y="71"/>
                    <a:pt x="459" y="64"/>
                    <a:pt x="208" y="102"/>
                  </a:cubicBezTo>
                  <a:close/>
                </a:path>
              </a:pathLst>
            </a:custGeom>
            <a:gradFill flip="none" rotWithShape="1">
              <a:gsLst>
                <a:gs pos="100000">
                  <a:schemeClr val="accent1">
                    <a:lumMod val="91000"/>
                  </a:schemeClr>
                </a:gs>
                <a:gs pos="0">
                  <a:schemeClr val="accent1">
                    <a:lumMod val="87000"/>
                  </a:schemeClr>
                </a:gs>
              </a:gsLst>
              <a:lin ang="5400000" scaled="1"/>
              <a:tileRect/>
            </a:gradFill>
            <a:ln w="512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armonyOS Sans SC"/>
                <a:cs typeface="+mn-cs"/>
              </a:endParaRPr>
            </a:p>
          </p:txBody>
        </p:sp>
        <p:sp>
          <p:nvSpPr>
            <p:cNvPr id="159" name="Freeform 26">
              <a:extLst>
                <a:ext uri="{FF2B5EF4-FFF2-40B4-BE49-F238E27FC236}">
                  <a16:creationId xmlns:a16="http://schemas.microsoft.com/office/drawing/2014/main" id="{6887B52B-0709-4B49-9E75-56189AD5B66F}"/>
                </a:ext>
              </a:extLst>
            </p:cNvPr>
            <p:cNvSpPr>
              <a:spLocks/>
            </p:cNvSpPr>
            <p:nvPr/>
          </p:nvSpPr>
          <p:spPr bwMode="auto">
            <a:xfrm rot="10800000">
              <a:off x="1207669" y="4877632"/>
              <a:ext cx="666424" cy="224659"/>
            </a:xfrm>
            <a:custGeom>
              <a:avLst/>
              <a:gdLst>
                <a:gd name="T0" fmla="*/ 10 w 426"/>
                <a:gd name="T1" fmla="*/ 111 h 144"/>
                <a:gd name="T2" fmla="*/ 9 w 426"/>
                <a:gd name="T3" fmla="*/ 111 h 144"/>
                <a:gd name="T4" fmla="*/ 0 w 426"/>
                <a:gd name="T5" fmla="*/ 144 h 144"/>
                <a:gd name="T6" fmla="*/ 0 w 426"/>
                <a:gd name="T7" fmla="*/ 144 h 144"/>
                <a:gd name="T8" fmla="*/ 426 w 426"/>
                <a:gd name="T9" fmla="*/ 31 h 144"/>
                <a:gd name="T10" fmla="*/ 379 w 426"/>
                <a:gd name="T11" fmla="*/ 0 h 144"/>
                <a:gd name="T12" fmla="*/ 10 w 426"/>
                <a:gd name="T13" fmla="*/ 111 h 144"/>
              </a:gdLst>
              <a:ahLst/>
              <a:cxnLst>
                <a:cxn ang="0">
                  <a:pos x="T0" y="T1"/>
                </a:cxn>
                <a:cxn ang="0">
                  <a:pos x="T2" y="T3"/>
                </a:cxn>
                <a:cxn ang="0">
                  <a:pos x="T4" y="T5"/>
                </a:cxn>
                <a:cxn ang="0">
                  <a:pos x="T6" y="T7"/>
                </a:cxn>
                <a:cxn ang="0">
                  <a:pos x="T8" y="T9"/>
                </a:cxn>
                <a:cxn ang="0">
                  <a:pos x="T10" y="T11"/>
                </a:cxn>
                <a:cxn ang="0">
                  <a:pos x="T12" y="T13"/>
                </a:cxn>
              </a:cxnLst>
              <a:rect l="0" t="0" r="r" b="b"/>
              <a:pathLst>
                <a:path w="426" h="144">
                  <a:moveTo>
                    <a:pt x="10" y="111"/>
                  </a:moveTo>
                  <a:cubicBezTo>
                    <a:pt x="9" y="111"/>
                    <a:pt x="9" y="111"/>
                    <a:pt x="9" y="111"/>
                  </a:cubicBezTo>
                  <a:cubicBezTo>
                    <a:pt x="0" y="144"/>
                    <a:pt x="0" y="144"/>
                    <a:pt x="0" y="144"/>
                  </a:cubicBezTo>
                  <a:cubicBezTo>
                    <a:pt x="0" y="144"/>
                    <a:pt x="0" y="144"/>
                    <a:pt x="0" y="144"/>
                  </a:cubicBezTo>
                  <a:cubicBezTo>
                    <a:pt x="426" y="31"/>
                    <a:pt x="426" y="31"/>
                    <a:pt x="426" y="31"/>
                  </a:cubicBezTo>
                  <a:cubicBezTo>
                    <a:pt x="379" y="0"/>
                    <a:pt x="379" y="0"/>
                    <a:pt x="379" y="0"/>
                  </a:cubicBezTo>
                  <a:lnTo>
                    <a:pt x="10" y="111"/>
                  </a:lnTo>
                  <a:close/>
                </a:path>
              </a:pathLst>
            </a:custGeom>
            <a:gradFill flip="none" rotWithShape="1">
              <a:gsLst>
                <a:gs pos="100000">
                  <a:schemeClr val="accent1">
                    <a:lumMod val="91000"/>
                  </a:schemeClr>
                </a:gs>
                <a:gs pos="0">
                  <a:schemeClr val="accent1">
                    <a:lumMod val="87000"/>
                  </a:schemeClr>
                </a:gs>
              </a:gsLst>
              <a:lin ang="5400000" scaled="1"/>
              <a:tileRect/>
            </a:gradFill>
            <a:ln w="512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armonyOS Sans SC"/>
                <a:cs typeface="+mn-cs"/>
              </a:endParaRPr>
            </a:p>
          </p:txBody>
        </p:sp>
      </p:grpSp>
      <p:grpSp>
        <p:nvGrpSpPr>
          <p:cNvPr id="161" name="组合 160">
            <a:extLst>
              <a:ext uri="{FF2B5EF4-FFF2-40B4-BE49-F238E27FC236}">
                <a16:creationId xmlns:a16="http://schemas.microsoft.com/office/drawing/2014/main" id="{D47DE08A-B94A-43D6-A0A6-234557EC3577}"/>
              </a:ext>
            </a:extLst>
          </p:cNvPr>
          <p:cNvGrpSpPr/>
          <p:nvPr/>
        </p:nvGrpSpPr>
        <p:grpSpPr>
          <a:xfrm flipV="1">
            <a:off x="2832792" y="1495425"/>
            <a:ext cx="3153923" cy="3630052"/>
            <a:chOff x="845194" y="2559307"/>
            <a:chExt cx="3526572" cy="4058957"/>
          </a:xfrm>
        </p:grpSpPr>
        <p:sp>
          <p:nvSpPr>
            <p:cNvPr id="163" name="Freeform 20">
              <a:extLst>
                <a:ext uri="{FF2B5EF4-FFF2-40B4-BE49-F238E27FC236}">
                  <a16:creationId xmlns:a16="http://schemas.microsoft.com/office/drawing/2014/main" id="{C6379282-FDAB-4FD1-A3AE-8B095CC65312}"/>
                </a:ext>
              </a:extLst>
            </p:cNvPr>
            <p:cNvSpPr>
              <a:spLocks/>
            </p:cNvSpPr>
            <p:nvPr/>
          </p:nvSpPr>
          <p:spPr bwMode="auto">
            <a:xfrm rot="10800000">
              <a:off x="845194" y="5489309"/>
              <a:ext cx="3526572" cy="1128955"/>
            </a:xfrm>
            <a:custGeom>
              <a:avLst/>
              <a:gdLst>
                <a:gd name="T0" fmla="*/ 1710 w 2255"/>
                <a:gd name="T1" fmla="*/ 722 h 722"/>
                <a:gd name="T2" fmla="*/ 1711 w 2255"/>
                <a:gd name="T3" fmla="*/ 722 h 722"/>
                <a:gd name="T4" fmla="*/ 2255 w 2255"/>
                <a:gd name="T5" fmla="*/ 571 h 722"/>
                <a:gd name="T6" fmla="*/ 2255 w 2255"/>
                <a:gd name="T7" fmla="*/ 571 h 722"/>
                <a:gd name="T8" fmla="*/ 0 w 2255"/>
                <a:gd name="T9" fmla="*/ 526 h 722"/>
                <a:gd name="T10" fmla="*/ 2 w 2255"/>
                <a:gd name="T11" fmla="*/ 530 h 722"/>
                <a:gd name="T12" fmla="*/ 1710 w 2255"/>
                <a:gd name="T13" fmla="*/ 722 h 722"/>
              </a:gdLst>
              <a:ahLst/>
              <a:cxnLst>
                <a:cxn ang="0">
                  <a:pos x="T0" y="T1"/>
                </a:cxn>
                <a:cxn ang="0">
                  <a:pos x="T2" y="T3"/>
                </a:cxn>
                <a:cxn ang="0">
                  <a:pos x="T4" y="T5"/>
                </a:cxn>
                <a:cxn ang="0">
                  <a:pos x="T6" y="T7"/>
                </a:cxn>
                <a:cxn ang="0">
                  <a:pos x="T8" y="T9"/>
                </a:cxn>
                <a:cxn ang="0">
                  <a:pos x="T10" y="T11"/>
                </a:cxn>
                <a:cxn ang="0">
                  <a:pos x="T12" y="T13"/>
                </a:cxn>
              </a:cxnLst>
              <a:rect l="0" t="0" r="r" b="b"/>
              <a:pathLst>
                <a:path w="2255" h="722">
                  <a:moveTo>
                    <a:pt x="1710" y="722"/>
                  </a:moveTo>
                  <a:cubicBezTo>
                    <a:pt x="1711" y="722"/>
                    <a:pt x="1711" y="722"/>
                    <a:pt x="1711" y="722"/>
                  </a:cubicBezTo>
                  <a:cubicBezTo>
                    <a:pt x="2255" y="571"/>
                    <a:pt x="2255" y="571"/>
                    <a:pt x="2255" y="571"/>
                  </a:cubicBezTo>
                  <a:cubicBezTo>
                    <a:pt x="2255" y="571"/>
                    <a:pt x="2255" y="571"/>
                    <a:pt x="2255" y="571"/>
                  </a:cubicBezTo>
                  <a:cubicBezTo>
                    <a:pt x="1140" y="0"/>
                    <a:pt x="0" y="526"/>
                    <a:pt x="0" y="526"/>
                  </a:cubicBezTo>
                  <a:cubicBezTo>
                    <a:pt x="2" y="530"/>
                    <a:pt x="2" y="530"/>
                    <a:pt x="2" y="530"/>
                  </a:cubicBezTo>
                  <a:cubicBezTo>
                    <a:pt x="799" y="190"/>
                    <a:pt x="1646" y="683"/>
                    <a:pt x="1710" y="722"/>
                  </a:cubicBezTo>
                  <a:close/>
                </a:path>
              </a:pathLst>
            </a:custGeom>
            <a:gradFill flip="none" rotWithShape="1">
              <a:gsLst>
                <a:gs pos="28000">
                  <a:schemeClr val="accent1">
                    <a:lumMod val="60000"/>
                    <a:lumOff val="40000"/>
                  </a:schemeClr>
                </a:gs>
                <a:gs pos="0">
                  <a:schemeClr val="accent1"/>
                </a:gs>
                <a:gs pos="89000">
                  <a:schemeClr val="accent1">
                    <a:lumMod val="40000"/>
                    <a:lumOff val="60000"/>
                  </a:schemeClr>
                </a:gs>
              </a:gsLst>
              <a:lin ang="2700000" scaled="1"/>
              <a:tileRect/>
            </a:gradFill>
            <a:ln w="51262"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armonyOS Sans SC"/>
                <a:cs typeface="+mn-cs"/>
              </a:endParaRPr>
            </a:p>
          </p:txBody>
        </p:sp>
        <p:sp>
          <p:nvSpPr>
            <p:cNvPr id="164" name="Freeform 12">
              <a:extLst>
                <a:ext uri="{FF2B5EF4-FFF2-40B4-BE49-F238E27FC236}">
                  <a16:creationId xmlns:a16="http://schemas.microsoft.com/office/drawing/2014/main" id="{01894B57-F6F6-4C14-AFD6-13CE41918BC1}"/>
                </a:ext>
              </a:extLst>
            </p:cNvPr>
            <p:cNvSpPr>
              <a:spLocks/>
            </p:cNvSpPr>
            <p:nvPr/>
          </p:nvSpPr>
          <p:spPr bwMode="auto">
            <a:xfrm rot="10800000">
              <a:off x="1698519" y="4928605"/>
              <a:ext cx="2669471" cy="1391373"/>
            </a:xfrm>
            <a:custGeom>
              <a:avLst/>
              <a:gdLst>
                <a:gd name="T0" fmla="*/ 1604 w 1708"/>
                <a:gd name="T1" fmla="*/ 890 h 890"/>
                <a:gd name="T2" fmla="*/ 1708 w 1708"/>
                <a:gd name="T3" fmla="*/ 532 h 890"/>
                <a:gd name="T4" fmla="*/ 0 w 1708"/>
                <a:gd name="T5" fmla="*/ 340 h 890"/>
                <a:gd name="T6" fmla="*/ 198 w 1708"/>
                <a:gd name="T7" fmla="*/ 691 h 890"/>
                <a:gd name="T8" fmla="*/ 1604 w 1708"/>
                <a:gd name="T9" fmla="*/ 890 h 890"/>
              </a:gdLst>
              <a:ahLst/>
              <a:cxnLst>
                <a:cxn ang="0">
                  <a:pos x="T0" y="T1"/>
                </a:cxn>
                <a:cxn ang="0">
                  <a:pos x="T2" y="T3"/>
                </a:cxn>
                <a:cxn ang="0">
                  <a:pos x="T4" y="T5"/>
                </a:cxn>
                <a:cxn ang="0">
                  <a:pos x="T6" y="T7"/>
                </a:cxn>
                <a:cxn ang="0">
                  <a:pos x="T8" y="T9"/>
                </a:cxn>
              </a:cxnLst>
              <a:rect l="0" t="0" r="r" b="b"/>
              <a:pathLst>
                <a:path w="1708" h="890">
                  <a:moveTo>
                    <a:pt x="1604" y="890"/>
                  </a:moveTo>
                  <a:cubicBezTo>
                    <a:pt x="1708" y="532"/>
                    <a:pt x="1708" y="532"/>
                    <a:pt x="1708" y="532"/>
                  </a:cubicBezTo>
                  <a:cubicBezTo>
                    <a:pt x="1644" y="493"/>
                    <a:pt x="797" y="0"/>
                    <a:pt x="0" y="340"/>
                  </a:cubicBezTo>
                  <a:cubicBezTo>
                    <a:pt x="198" y="691"/>
                    <a:pt x="198" y="691"/>
                    <a:pt x="198" y="691"/>
                  </a:cubicBezTo>
                  <a:cubicBezTo>
                    <a:pt x="278" y="659"/>
                    <a:pt x="854" y="453"/>
                    <a:pt x="1604" y="890"/>
                  </a:cubicBezTo>
                  <a:close/>
                </a:path>
              </a:pathLst>
            </a:custGeom>
            <a:gradFill flip="none" rotWithShape="1">
              <a:gsLst>
                <a:gs pos="0">
                  <a:schemeClr val="accent1">
                    <a:lumMod val="59000"/>
                    <a:lumOff val="41000"/>
                  </a:schemeClr>
                </a:gs>
                <a:gs pos="63000">
                  <a:schemeClr val="accent1">
                    <a:lumMod val="92000"/>
                    <a:lumOff val="8000"/>
                  </a:schemeClr>
                </a:gs>
              </a:gsLst>
              <a:lin ang="18900000" scaled="1"/>
              <a:tileRect/>
            </a:gradFill>
            <a:ln w="1270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armonyOS Sans SC"/>
                <a:cs typeface="+mn-cs"/>
              </a:endParaRPr>
            </a:p>
          </p:txBody>
        </p:sp>
        <p:sp>
          <p:nvSpPr>
            <p:cNvPr id="165" name="Freeform 7">
              <a:extLst>
                <a:ext uri="{FF2B5EF4-FFF2-40B4-BE49-F238E27FC236}">
                  <a16:creationId xmlns:a16="http://schemas.microsoft.com/office/drawing/2014/main" id="{1E3BC425-CB4C-46F7-93F4-C546CDED5FF6}"/>
                </a:ext>
              </a:extLst>
            </p:cNvPr>
            <p:cNvSpPr>
              <a:spLocks/>
            </p:cNvSpPr>
            <p:nvPr/>
          </p:nvSpPr>
          <p:spPr bwMode="auto">
            <a:xfrm rot="10800000">
              <a:off x="2238454" y="2559308"/>
              <a:ext cx="311502" cy="577693"/>
            </a:xfrm>
            <a:custGeom>
              <a:avLst/>
              <a:gdLst>
                <a:gd name="T0" fmla="*/ 0 w 165"/>
                <a:gd name="T1" fmla="*/ 306 h 306"/>
                <a:gd name="T2" fmla="*/ 0 w 165"/>
                <a:gd name="T3" fmla="*/ 306 h 306"/>
                <a:gd name="T4" fmla="*/ 165 w 165"/>
                <a:gd name="T5" fmla="*/ 0 h 306"/>
                <a:gd name="T6" fmla="*/ 83 w 165"/>
                <a:gd name="T7" fmla="*/ 21 h 306"/>
                <a:gd name="T8" fmla="*/ 0 w 165"/>
                <a:gd name="T9" fmla="*/ 306 h 306"/>
              </a:gdLst>
              <a:ahLst/>
              <a:cxnLst>
                <a:cxn ang="0">
                  <a:pos x="T0" y="T1"/>
                </a:cxn>
                <a:cxn ang="0">
                  <a:pos x="T2" y="T3"/>
                </a:cxn>
                <a:cxn ang="0">
                  <a:pos x="T4" y="T5"/>
                </a:cxn>
                <a:cxn ang="0">
                  <a:pos x="T6" y="T7"/>
                </a:cxn>
                <a:cxn ang="0">
                  <a:pos x="T8" y="T9"/>
                </a:cxn>
              </a:cxnLst>
              <a:rect l="0" t="0" r="r" b="b"/>
              <a:pathLst>
                <a:path w="165" h="306">
                  <a:moveTo>
                    <a:pt x="0" y="306"/>
                  </a:moveTo>
                  <a:lnTo>
                    <a:pt x="0" y="306"/>
                  </a:lnTo>
                  <a:lnTo>
                    <a:pt x="165" y="0"/>
                  </a:lnTo>
                  <a:lnTo>
                    <a:pt x="83" y="21"/>
                  </a:lnTo>
                  <a:lnTo>
                    <a:pt x="0" y="306"/>
                  </a:lnTo>
                  <a:close/>
                </a:path>
              </a:pathLst>
            </a:custGeom>
            <a:gradFill flip="none" rotWithShape="1">
              <a:gsLst>
                <a:gs pos="0">
                  <a:schemeClr val="accent1">
                    <a:lumMod val="20000"/>
                    <a:lumOff val="80000"/>
                  </a:schemeClr>
                </a:gs>
                <a:gs pos="52000">
                  <a:schemeClr val="accent1">
                    <a:lumMod val="52000"/>
                    <a:lumOff val="48000"/>
                  </a:schemeClr>
                </a:gs>
                <a:gs pos="100000">
                  <a:schemeClr val="accent1">
                    <a:lumMod val="96000"/>
                    <a:lumOff val="4000"/>
                  </a:schemeClr>
                </a:gs>
              </a:gsLst>
              <a:lin ang="5400000" scaled="1"/>
              <a:tileRect/>
            </a:gradFill>
            <a:ln w="51262"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armonyOS Sans SC"/>
                <a:cs typeface="+mn-cs"/>
              </a:endParaRPr>
            </a:p>
          </p:txBody>
        </p:sp>
        <p:sp>
          <p:nvSpPr>
            <p:cNvPr id="166" name="Freeform 14">
              <a:extLst>
                <a:ext uri="{FF2B5EF4-FFF2-40B4-BE49-F238E27FC236}">
                  <a16:creationId xmlns:a16="http://schemas.microsoft.com/office/drawing/2014/main" id="{7C9E4F6F-CE6C-40F3-A93E-9D231C4EF8EC}"/>
                </a:ext>
              </a:extLst>
            </p:cNvPr>
            <p:cNvSpPr>
              <a:spLocks/>
            </p:cNvSpPr>
            <p:nvPr/>
          </p:nvSpPr>
          <p:spPr bwMode="auto">
            <a:xfrm rot="10800000">
              <a:off x="2393261" y="2559307"/>
              <a:ext cx="532385" cy="696632"/>
            </a:xfrm>
            <a:custGeom>
              <a:avLst/>
              <a:gdLst>
                <a:gd name="T0" fmla="*/ 339 w 340"/>
                <a:gd name="T1" fmla="*/ 102 h 446"/>
                <a:gd name="T2" fmla="*/ 0 w 340"/>
                <a:gd name="T3" fmla="*/ 21 h 446"/>
                <a:gd name="T4" fmla="*/ 240 w 340"/>
                <a:gd name="T5" fmla="*/ 446 h 446"/>
                <a:gd name="T6" fmla="*/ 340 w 340"/>
                <a:gd name="T7" fmla="*/ 102 h 446"/>
                <a:gd name="T8" fmla="*/ 339 w 340"/>
                <a:gd name="T9" fmla="*/ 102 h 446"/>
              </a:gdLst>
              <a:ahLst/>
              <a:cxnLst>
                <a:cxn ang="0">
                  <a:pos x="T0" y="T1"/>
                </a:cxn>
                <a:cxn ang="0">
                  <a:pos x="T2" y="T3"/>
                </a:cxn>
                <a:cxn ang="0">
                  <a:pos x="T4" y="T5"/>
                </a:cxn>
                <a:cxn ang="0">
                  <a:pos x="T6" y="T7"/>
                </a:cxn>
                <a:cxn ang="0">
                  <a:pos x="T8" y="T9"/>
                </a:cxn>
              </a:cxnLst>
              <a:rect l="0" t="0" r="r" b="b"/>
              <a:pathLst>
                <a:path w="340" h="446">
                  <a:moveTo>
                    <a:pt x="339" y="102"/>
                  </a:moveTo>
                  <a:cubicBezTo>
                    <a:pt x="222" y="22"/>
                    <a:pt x="108" y="0"/>
                    <a:pt x="0" y="21"/>
                  </a:cubicBezTo>
                  <a:cubicBezTo>
                    <a:pt x="240" y="446"/>
                    <a:pt x="240" y="446"/>
                    <a:pt x="240" y="446"/>
                  </a:cubicBezTo>
                  <a:cubicBezTo>
                    <a:pt x="340" y="102"/>
                    <a:pt x="340" y="102"/>
                    <a:pt x="340" y="102"/>
                  </a:cubicBezTo>
                  <a:lnTo>
                    <a:pt x="339" y="102"/>
                  </a:lnTo>
                  <a:close/>
                </a:path>
              </a:pathLst>
            </a:custGeom>
            <a:gradFill flip="none" rotWithShape="1">
              <a:gsLst>
                <a:gs pos="0">
                  <a:schemeClr val="accent1">
                    <a:lumMod val="20000"/>
                    <a:lumOff val="80000"/>
                  </a:schemeClr>
                </a:gs>
                <a:gs pos="52000">
                  <a:schemeClr val="accent1">
                    <a:lumMod val="40000"/>
                    <a:lumOff val="60000"/>
                  </a:schemeClr>
                </a:gs>
                <a:gs pos="100000">
                  <a:schemeClr val="accent1">
                    <a:lumMod val="60000"/>
                    <a:lumOff val="40000"/>
                  </a:schemeClr>
                </a:gs>
              </a:gsLst>
              <a:lin ang="5400000" scaled="1"/>
              <a:tileRect/>
            </a:gradFill>
            <a:ln w="51262"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armonyOS Sans SC"/>
                <a:cs typeface="+mn-cs"/>
              </a:endParaRPr>
            </a:p>
          </p:txBody>
        </p:sp>
        <p:sp>
          <p:nvSpPr>
            <p:cNvPr id="167" name="Freeform 25">
              <a:extLst>
                <a:ext uri="{FF2B5EF4-FFF2-40B4-BE49-F238E27FC236}">
                  <a16:creationId xmlns:a16="http://schemas.microsoft.com/office/drawing/2014/main" id="{77AC6FB7-0465-4A2C-B2B4-D6BEAEF52632}"/>
                </a:ext>
              </a:extLst>
            </p:cNvPr>
            <p:cNvSpPr>
              <a:spLocks/>
            </p:cNvSpPr>
            <p:nvPr/>
          </p:nvSpPr>
          <p:spPr bwMode="auto">
            <a:xfrm rot="10800000">
              <a:off x="2380047" y="3097356"/>
              <a:ext cx="528609" cy="173685"/>
            </a:xfrm>
            <a:custGeom>
              <a:avLst/>
              <a:gdLst>
                <a:gd name="T0" fmla="*/ 339 w 339"/>
                <a:gd name="T1" fmla="*/ 78 h 111"/>
                <a:gd name="T2" fmla="*/ 175 w 339"/>
                <a:gd name="T3" fmla="*/ 1 h 111"/>
                <a:gd name="T4" fmla="*/ 0 w 339"/>
                <a:gd name="T5" fmla="*/ 28 h 111"/>
                <a:gd name="T6" fmla="*/ 329 w 339"/>
                <a:gd name="T7" fmla="*/ 111 h 111"/>
                <a:gd name="T8" fmla="*/ 330 w 339"/>
                <a:gd name="T9" fmla="*/ 111 h 111"/>
                <a:gd name="T10" fmla="*/ 339 w 339"/>
                <a:gd name="T11" fmla="*/ 78 h 111"/>
              </a:gdLst>
              <a:ahLst/>
              <a:cxnLst>
                <a:cxn ang="0">
                  <a:pos x="T0" y="T1"/>
                </a:cxn>
                <a:cxn ang="0">
                  <a:pos x="T2" y="T3"/>
                </a:cxn>
                <a:cxn ang="0">
                  <a:pos x="T4" y="T5"/>
                </a:cxn>
                <a:cxn ang="0">
                  <a:pos x="T6" y="T7"/>
                </a:cxn>
                <a:cxn ang="0">
                  <a:pos x="T8" y="T9"/>
                </a:cxn>
                <a:cxn ang="0">
                  <a:pos x="T10" y="T11"/>
                </a:cxn>
              </a:cxnLst>
              <a:rect l="0" t="0" r="r" b="b"/>
              <a:pathLst>
                <a:path w="339" h="111">
                  <a:moveTo>
                    <a:pt x="339" y="78"/>
                  </a:moveTo>
                  <a:cubicBezTo>
                    <a:pt x="283" y="41"/>
                    <a:pt x="228" y="15"/>
                    <a:pt x="175" y="1"/>
                  </a:cubicBezTo>
                  <a:cubicBezTo>
                    <a:pt x="95" y="0"/>
                    <a:pt x="38" y="14"/>
                    <a:pt x="0" y="28"/>
                  </a:cubicBezTo>
                  <a:cubicBezTo>
                    <a:pt x="105" y="10"/>
                    <a:pt x="216" y="34"/>
                    <a:pt x="329" y="111"/>
                  </a:cubicBezTo>
                  <a:cubicBezTo>
                    <a:pt x="330" y="111"/>
                    <a:pt x="330" y="111"/>
                    <a:pt x="330" y="111"/>
                  </a:cubicBezTo>
                  <a:cubicBezTo>
                    <a:pt x="339" y="78"/>
                    <a:pt x="339" y="78"/>
                    <a:pt x="339" y="78"/>
                  </a:cubicBezTo>
                  <a:close/>
                </a:path>
              </a:pathLst>
            </a:custGeom>
            <a:gradFill flip="none" rotWithShape="1">
              <a:gsLst>
                <a:gs pos="100000">
                  <a:schemeClr val="accent1">
                    <a:lumMod val="91000"/>
                  </a:schemeClr>
                </a:gs>
                <a:gs pos="0">
                  <a:schemeClr val="accent1">
                    <a:lumMod val="87000"/>
                  </a:schemeClr>
                </a:gs>
              </a:gsLst>
              <a:lin ang="5400000" scaled="1"/>
              <a:tileRect/>
            </a:gradFill>
            <a:ln w="512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armonyOS Sans SC"/>
                <a:cs typeface="+mn-cs"/>
              </a:endParaRPr>
            </a:p>
          </p:txBody>
        </p:sp>
        <p:sp>
          <p:nvSpPr>
            <p:cNvPr id="168" name="Freeform 29">
              <a:extLst>
                <a:ext uri="{FF2B5EF4-FFF2-40B4-BE49-F238E27FC236}">
                  <a16:creationId xmlns:a16="http://schemas.microsoft.com/office/drawing/2014/main" id="{99D3EE8D-E635-4745-B94F-19B232A60DEC}"/>
                </a:ext>
              </a:extLst>
            </p:cNvPr>
            <p:cNvSpPr>
              <a:spLocks/>
            </p:cNvSpPr>
            <p:nvPr/>
          </p:nvSpPr>
          <p:spPr bwMode="auto">
            <a:xfrm rot="10800000">
              <a:off x="2240341" y="3097356"/>
              <a:ext cx="152919" cy="71740"/>
            </a:xfrm>
            <a:custGeom>
              <a:avLst/>
              <a:gdLst>
                <a:gd name="T0" fmla="*/ 9 w 98"/>
                <a:gd name="T1" fmla="*/ 13 h 46"/>
                <a:gd name="T2" fmla="*/ 0 w 98"/>
                <a:gd name="T3" fmla="*/ 46 h 46"/>
                <a:gd name="T4" fmla="*/ 98 w 98"/>
                <a:gd name="T5" fmla="*/ 20 h 46"/>
                <a:gd name="T6" fmla="*/ 53 w 98"/>
                <a:gd name="T7" fmla="*/ 0 h 46"/>
                <a:gd name="T8" fmla="*/ 9 w 98"/>
                <a:gd name="T9" fmla="*/ 13 h 46"/>
              </a:gdLst>
              <a:ahLst/>
              <a:cxnLst>
                <a:cxn ang="0">
                  <a:pos x="T0" y="T1"/>
                </a:cxn>
                <a:cxn ang="0">
                  <a:pos x="T2" y="T3"/>
                </a:cxn>
                <a:cxn ang="0">
                  <a:pos x="T4" y="T5"/>
                </a:cxn>
                <a:cxn ang="0">
                  <a:pos x="T6" y="T7"/>
                </a:cxn>
                <a:cxn ang="0">
                  <a:pos x="T8" y="T9"/>
                </a:cxn>
              </a:cxnLst>
              <a:rect l="0" t="0" r="r" b="b"/>
              <a:pathLst>
                <a:path w="98" h="46">
                  <a:moveTo>
                    <a:pt x="9" y="13"/>
                  </a:moveTo>
                  <a:cubicBezTo>
                    <a:pt x="0" y="46"/>
                    <a:pt x="0" y="46"/>
                    <a:pt x="0" y="46"/>
                  </a:cubicBezTo>
                  <a:cubicBezTo>
                    <a:pt x="98" y="20"/>
                    <a:pt x="98" y="20"/>
                    <a:pt x="98" y="20"/>
                  </a:cubicBezTo>
                  <a:cubicBezTo>
                    <a:pt x="86" y="14"/>
                    <a:pt x="62" y="4"/>
                    <a:pt x="53" y="0"/>
                  </a:cubicBezTo>
                  <a:lnTo>
                    <a:pt x="9" y="13"/>
                  </a:lnTo>
                  <a:close/>
                </a:path>
              </a:pathLst>
            </a:custGeom>
            <a:gradFill flip="none" rotWithShape="1">
              <a:gsLst>
                <a:gs pos="100000">
                  <a:schemeClr val="accent1">
                    <a:lumMod val="91000"/>
                  </a:schemeClr>
                </a:gs>
                <a:gs pos="0">
                  <a:schemeClr val="accent1">
                    <a:lumMod val="87000"/>
                  </a:schemeClr>
                </a:gs>
              </a:gsLst>
              <a:lin ang="5400000" scaled="1"/>
              <a:tileRect/>
            </a:gradFill>
            <a:ln w="512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armonyOS Sans SC"/>
                <a:cs typeface="+mn-cs"/>
              </a:endParaRPr>
            </a:p>
          </p:txBody>
        </p:sp>
        <p:sp>
          <p:nvSpPr>
            <p:cNvPr id="169" name="Freeform 6">
              <a:extLst>
                <a:ext uri="{FF2B5EF4-FFF2-40B4-BE49-F238E27FC236}">
                  <a16:creationId xmlns:a16="http://schemas.microsoft.com/office/drawing/2014/main" id="{34DFE277-624D-4358-9D07-2D4E694CA424}"/>
                </a:ext>
              </a:extLst>
            </p:cNvPr>
            <p:cNvSpPr>
              <a:spLocks/>
            </p:cNvSpPr>
            <p:nvPr/>
          </p:nvSpPr>
          <p:spPr bwMode="auto">
            <a:xfrm rot="10800000">
              <a:off x="845194" y="4928605"/>
              <a:ext cx="1015683" cy="796687"/>
            </a:xfrm>
            <a:custGeom>
              <a:avLst/>
              <a:gdLst>
                <a:gd name="T0" fmla="*/ 105 w 649"/>
                <a:gd name="T1" fmla="*/ 151 h 509"/>
                <a:gd name="T2" fmla="*/ 104 w 649"/>
                <a:gd name="T3" fmla="*/ 151 h 509"/>
                <a:gd name="T4" fmla="*/ 0 w 649"/>
                <a:gd name="T5" fmla="*/ 509 h 509"/>
                <a:gd name="T6" fmla="*/ 1 w 649"/>
                <a:gd name="T7" fmla="*/ 509 h 509"/>
                <a:gd name="T8" fmla="*/ 447 w 649"/>
                <a:gd name="T9" fmla="*/ 375 h 509"/>
                <a:gd name="T10" fmla="*/ 649 w 649"/>
                <a:gd name="T11" fmla="*/ 0 h 509"/>
                <a:gd name="T12" fmla="*/ 105 w 649"/>
                <a:gd name="T13" fmla="*/ 151 h 509"/>
              </a:gdLst>
              <a:ahLst/>
              <a:cxnLst>
                <a:cxn ang="0">
                  <a:pos x="T0" y="T1"/>
                </a:cxn>
                <a:cxn ang="0">
                  <a:pos x="T2" y="T3"/>
                </a:cxn>
                <a:cxn ang="0">
                  <a:pos x="T4" y="T5"/>
                </a:cxn>
                <a:cxn ang="0">
                  <a:pos x="T6" y="T7"/>
                </a:cxn>
                <a:cxn ang="0">
                  <a:pos x="T8" y="T9"/>
                </a:cxn>
                <a:cxn ang="0">
                  <a:pos x="T10" y="T11"/>
                </a:cxn>
                <a:cxn ang="0">
                  <a:pos x="T12" y="T13"/>
                </a:cxn>
              </a:cxnLst>
              <a:rect l="0" t="0" r="r" b="b"/>
              <a:pathLst>
                <a:path w="649" h="509">
                  <a:moveTo>
                    <a:pt x="105" y="151"/>
                  </a:moveTo>
                  <a:cubicBezTo>
                    <a:pt x="104" y="151"/>
                    <a:pt x="104" y="151"/>
                    <a:pt x="104" y="151"/>
                  </a:cubicBezTo>
                  <a:cubicBezTo>
                    <a:pt x="0" y="509"/>
                    <a:pt x="0" y="509"/>
                    <a:pt x="0" y="509"/>
                  </a:cubicBezTo>
                  <a:cubicBezTo>
                    <a:pt x="0" y="509"/>
                    <a:pt x="0" y="509"/>
                    <a:pt x="1" y="509"/>
                  </a:cubicBezTo>
                  <a:cubicBezTo>
                    <a:pt x="447" y="375"/>
                    <a:pt x="447" y="375"/>
                    <a:pt x="447" y="375"/>
                  </a:cubicBezTo>
                  <a:cubicBezTo>
                    <a:pt x="649" y="0"/>
                    <a:pt x="649" y="0"/>
                    <a:pt x="649" y="0"/>
                  </a:cubicBezTo>
                  <a:lnTo>
                    <a:pt x="105" y="151"/>
                  </a:lnTo>
                  <a:close/>
                </a:path>
              </a:pathLst>
            </a:custGeom>
            <a:gradFill flip="none" rotWithShape="1">
              <a:gsLst>
                <a:gs pos="0">
                  <a:schemeClr val="accent1">
                    <a:lumMod val="74000"/>
                    <a:lumOff val="26000"/>
                  </a:schemeClr>
                </a:gs>
                <a:gs pos="63000">
                  <a:schemeClr val="accent1">
                    <a:lumMod val="93000"/>
                  </a:schemeClr>
                </a:gs>
              </a:gsLst>
              <a:lin ang="16200000" scaled="1"/>
              <a:tileRect/>
            </a:gradFill>
            <a:ln w="1270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armonyOS Sans SC"/>
                <a:cs typeface="+mn-cs"/>
              </a:endParaRPr>
            </a:p>
          </p:txBody>
        </p:sp>
        <p:sp>
          <p:nvSpPr>
            <p:cNvPr id="170" name="Freeform 8">
              <a:extLst>
                <a:ext uri="{FF2B5EF4-FFF2-40B4-BE49-F238E27FC236}">
                  <a16:creationId xmlns:a16="http://schemas.microsoft.com/office/drawing/2014/main" id="{3F28AC4A-BA6F-4180-AA04-D2DF6604323C}"/>
                </a:ext>
              </a:extLst>
            </p:cNvPr>
            <p:cNvSpPr>
              <a:spLocks/>
            </p:cNvSpPr>
            <p:nvPr/>
          </p:nvSpPr>
          <p:spPr bwMode="auto">
            <a:xfrm rot="10800000">
              <a:off x="1898634" y="3148329"/>
              <a:ext cx="481411" cy="623002"/>
            </a:xfrm>
            <a:custGeom>
              <a:avLst/>
              <a:gdLst>
                <a:gd name="T0" fmla="*/ 0 w 255"/>
                <a:gd name="T1" fmla="*/ 330 h 330"/>
                <a:gd name="T2" fmla="*/ 92 w 255"/>
                <a:gd name="T3" fmla="*/ 302 h 330"/>
                <a:gd name="T4" fmla="*/ 255 w 255"/>
                <a:gd name="T5" fmla="*/ 0 h 330"/>
                <a:gd name="T6" fmla="*/ 83 w 255"/>
                <a:gd name="T7" fmla="*/ 46 h 330"/>
                <a:gd name="T8" fmla="*/ 0 w 255"/>
                <a:gd name="T9" fmla="*/ 330 h 330"/>
              </a:gdLst>
              <a:ahLst/>
              <a:cxnLst>
                <a:cxn ang="0">
                  <a:pos x="T0" y="T1"/>
                </a:cxn>
                <a:cxn ang="0">
                  <a:pos x="T2" y="T3"/>
                </a:cxn>
                <a:cxn ang="0">
                  <a:pos x="T4" y="T5"/>
                </a:cxn>
                <a:cxn ang="0">
                  <a:pos x="T6" y="T7"/>
                </a:cxn>
                <a:cxn ang="0">
                  <a:pos x="T8" y="T9"/>
                </a:cxn>
              </a:cxnLst>
              <a:rect l="0" t="0" r="r" b="b"/>
              <a:pathLst>
                <a:path w="255" h="330">
                  <a:moveTo>
                    <a:pt x="0" y="330"/>
                  </a:moveTo>
                  <a:lnTo>
                    <a:pt x="92" y="302"/>
                  </a:lnTo>
                  <a:lnTo>
                    <a:pt x="255" y="0"/>
                  </a:lnTo>
                  <a:lnTo>
                    <a:pt x="83" y="46"/>
                  </a:lnTo>
                  <a:lnTo>
                    <a:pt x="0" y="330"/>
                  </a:lnTo>
                  <a:close/>
                </a:path>
              </a:pathLst>
            </a:custGeom>
            <a:gradFill flip="none" rotWithShape="1">
              <a:gsLst>
                <a:gs pos="0">
                  <a:schemeClr val="accent1">
                    <a:lumMod val="65000"/>
                    <a:lumOff val="35000"/>
                  </a:schemeClr>
                </a:gs>
                <a:gs pos="63000">
                  <a:schemeClr val="accent1">
                    <a:lumMod val="87000"/>
                    <a:lumOff val="13000"/>
                  </a:schemeClr>
                </a:gs>
              </a:gsLst>
              <a:lin ang="5400000" scaled="1"/>
              <a:tileRect/>
            </a:gradFill>
            <a:ln w="1270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armonyOS Sans SC"/>
                <a:cs typeface="+mn-cs"/>
              </a:endParaRPr>
            </a:p>
          </p:txBody>
        </p:sp>
        <p:sp>
          <p:nvSpPr>
            <p:cNvPr id="171" name="Freeform 15">
              <a:extLst>
                <a:ext uri="{FF2B5EF4-FFF2-40B4-BE49-F238E27FC236}">
                  <a16:creationId xmlns:a16="http://schemas.microsoft.com/office/drawing/2014/main" id="{F6B359C8-9D0E-4E88-B115-199EFB41F9CE}"/>
                </a:ext>
              </a:extLst>
            </p:cNvPr>
            <p:cNvSpPr>
              <a:spLocks/>
            </p:cNvSpPr>
            <p:nvPr/>
          </p:nvSpPr>
          <p:spPr bwMode="auto">
            <a:xfrm rot="10800000">
              <a:off x="2223350" y="3148328"/>
              <a:ext cx="1076096" cy="832559"/>
            </a:xfrm>
            <a:custGeom>
              <a:avLst/>
              <a:gdLst>
                <a:gd name="T0" fmla="*/ 588 w 688"/>
                <a:gd name="T1" fmla="*/ 532 h 532"/>
                <a:gd name="T2" fmla="*/ 588 w 688"/>
                <a:gd name="T3" fmla="*/ 532 h 532"/>
                <a:gd name="T4" fmla="*/ 688 w 688"/>
                <a:gd name="T5" fmla="*/ 189 h 532"/>
                <a:gd name="T6" fmla="*/ 688 w 688"/>
                <a:gd name="T7" fmla="*/ 189 h 532"/>
                <a:gd name="T8" fmla="*/ 0 w 688"/>
                <a:gd name="T9" fmla="*/ 58 h 532"/>
                <a:gd name="T10" fmla="*/ 220 w 688"/>
                <a:gd name="T11" fmla="*/ 450 h 532"/>
                <a:gd name="T12" fmla="*/ 588 w 688"/>
                <a:gd name="T13" fmla="*/ 532 h 532"/>
              </a:gdLst>
              <a:ahLst/>
              <a:cxnLst>
                <a:cxn ang="0">
                  <a:pos x="T0" y="T1"/>
                </a:cxn>
                <a:cxn ang="0">
                  <a:pos x="T2" y="T3"/>
                </a:cxn>
                <a:cxn ang="0">
                  <a:pos x="T4" y="T5"/>
                </a:cxn>
                <a:cxn ang="0">
                  <a:pos x="T6" y="T7"/>
                </a:cxn>
                <a:cxn ang="0">
                  <a:pos x="T8" y="T9"/>
                </a:cxn>
                <a:cxn ang="0">
                  <a:pos x="T10" y="T11"/>
                </a:cxn>
                <a:cxn ang="0">
                  <a:pos x="T12" y="T13"/>
                </a:cxn>
              </a:cxnLst>
              <a:rect l="0" t="0" r="r" b="b"/>
              <a:pathLst>
                <a:path w="688" h="532">
                  <a:moveTo>
                    <a:pt x="588" y="532"/>
                  </a:moveTo>
                  <a:cubicBezTo>
                    <a:pt x="588" y="532"/>
                    <a:pt x="588" y="532"/>
                    <a:pt x="588" y="532"/>
                  </a:cubicBezTo>
                  <a:cubicBezTo>
                    <a:pt x="688" y="189"/>
                    <a:pt x="688" y="189"/>
                    <a:pt x="688" y="189"/>
                  </a:cubicBezTo>
                  <a:cubicBezTo>
                    <a:pt x="688" y="189"/>
                    <a:pt x="688" y="189"/>
                    <a:pt x="688" y="189"/>
                  </a:cubicBezTo>
                  <a:cubicBezTo>
                    <a:pt x="435" y="16"/>
                    <a:pt x="201" y="0"/>
                    <a:pt x="0" y="58"/>
                  </a:cubicBezTo>
                  <a:cubicBezTo>
                    <a:pt x="220" y="450"/>
                    <a:pt x="220" y="450"/>
                    <a:pt x="220" y="450"/>
                  </a:cubicBezTo>
                  <a:cubicBezTo>
                    <a:pt x="336" y="424"/>
                    <a:pt x="459" y="445"/>
                    <a:pt x="588" y="532"/>
                  </a:cubicBezTo>
                  <a:close/>
                </a:path>
              </a:pathLst>
            </a:custGeom>
            <a:gradFill flip="none" rotWithShape="1">
              <a:gsLst>
                <a:gs pos="0">
                  <a:schemeClr val="accent1">
                    <a:lumMod val="51000"/>
                    <a:lumOff val="49000"/>
                  </a:schemeClr>
                </a:gs>
                <a:gs pos="100000">
                  <a:schemeClr val="accent1">
                    <a:lumMod val="95000"/>
                    <a:lumOff val="5000"/>
                  </a:schemeClr>
                </a:gs>
              </a:gsLst>
              <a:lin ang="2700000" scaled="1"/>
              <a:tileRect/>
            </a:gradFill>
            <a:ln w="51262"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armonyOS Sans SC"/>
                <a:cs typeface="+mn-cs"/>
              </a:endParaRPr>
            </a:p>
          </p:txBody>
        </p:sp>
        <p:sp>
          <p:nvSpPr>
            <p:cNvPr id="172" name="Freeform 24">
              <a:extLst>
                <a:ext uri="{FF2B5EF4-FFF2-40B4-BE49-F238E27FC236}">
                  <a16:creationId xmlns:a16="http://schemas.microsoft.com/office/drawing/2014/main" id="{66C7D97A-FB93-4A75-864C-5ABE335BE112}"/>
                </a:ext>
              </a:extLst>
            </p:cNvPr>
            <p:cNvSpPr>
              <a:spLocks/>
            </p:cNvSpPr>
            <p:nvPr/>
          </p:nvSpPr>
          <p:spPr bwMode="auto">
            <a:xfrm rot="10800000">
              <a:off x="2208248" y="3684487"/>
              <a:ext cx="1053440" cy="315278"/>
            </a:xfrm>
            <a:custGeom>
              <a:avLst/>
              <a:gdLst>
                <a:gd name="T0" fmla="*/ 191 w 674"/>
                <a:gd name="T1" fmla="*/ 0 h 201"/>
                <a:gd name="T2" fmla="*/ 0 w 674"/>
                <a:gd name="T3" fmla="*/ 63 h 201"/>
                <a:gd name="T4" fmla="*/ 664 w 674"/>
                <a:gd name="T5" fmla="*/ 201 h 201"/>
                <a:gd name="T6" fmla="*/ 664 w 674"/>
                <a:gd name="T7" fmla="*/ 201 h 201"/>
                <a:gd name="T8" fmla="*/ 674 w 674"/>
                <a:gd name="T9" fmla="*/ 168 h 201"/>
                <a:gd name="T10" fmla="*/ 191 w 674"/>
                <a:gd name="T11" fmla="*/ 0 h 201"/>
              </a:gdLst>
              <a:ahLst/>
              <a:cxnLst>
                <a:cxn ang="0">
                  <a:pos x="T0" y="T1"/>
                </a:cxn>
                <a:cxn ang="0">
                  <a:pos x="T2" y="T3"/>
                </a:cxn>
                <a:cxn ang="0">
                  <a:pos x="T4" y="T5"/>
                </a:cxn>
                <a:cxn ang="0">
                  <a:pos x="T6" y="T7"/>
                </a:cxn>
                <a:cxn ang="0">
                  <a:pos x="T8" y="T9"/>
                </a:cxn>
                <a:cxn ang="0">
                  <a:pos x="T10" y="T11"/>
                </a:cxn>
              </a:cxnLst>
              <a:rect l="0" t="0" r="r" b="b"/>
              <a:pathLst>
                <a:path w="674" h="201">
                  <a:moveTo>
                    <a:pt x="191" y="0"/>
                  </a:moveTo>
                  <a:cubicBezTo>
                    <a:pt x="86" y="21"/>
                    <a:pt x="26" y="49"/>
                    <a:pt x="0" y="63"/>
                  </a:cubicBezTo>
                  <a:cubicBezTo>
                    <a:pt x="196" y="13"/>
                    <a:pt x="421" y="35"/>
                    <a:pt x="664" y="201"/>
                  </a:cubicBezTo>
                  <a:cubicBezTo>
                    <a:pt x="664" y="201"/>
                    <a:pt x="664" y="201"/>
                    <a:pt x="664" y="201"/>
                  </a:cubicBezTo>
                  <a:cubicBezTo>
                    <a:pt x="674" y="168"/>
                    <a:pt x="674" y="168"/>
                    <a:pt x="674" y="168"/>
                  </a:cubicBezTo>
                  <a:cubicBezTo>
                    <a:pt x="501" y="52"/>
                    <a:pt x="339" y="3"/>
                    <a:pt x="191" y="0"/>
                  </a:cubicBezTo>
                  <a:close/>
                </a:path>
              </a:pathLst>
            </a:custGeom>
            <a:gradFill flip="none" rotWithShape="1">
              <a:gsLst>
                <a:gs pos="100000">
                  <a:schemeClr val="accent1">
                    <a:lumMod val="91000"/>
                  </a:schemeClr>
                </a:gs>
                <a:gs pos="0">
                  <a:schemeClr val="accent1">
                    <a:lumMod val="87000"/>
                  </a:schemeClr>
                </a:gs>
              </a:gsLst>
              <a:lin ang="5400000" scaled="1"/>
              <a:tileRect/>
            </a:gradFill>
            <a:ln w="512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armonyOS Sans SC"/>
                <a:cs typeface="+mn-cs"/>
              </a:endParaRPr>
            </a:p>
          </p:txBody>
        </p:sp>
        <p:sp>
          <p:nvSpPr>
            <p:cNvPr id="173" name="Freeform 28">
              <a:extLst>
                <a:ext uri="{FF2B5EF4-FFF2-40B4-BE49-F238E27FC236}">
                  <a16:creationId xmlns:a16="http://schemas.microsoft.com/office/drawing/2014/main" id="{74160868-E792-456F-9C76-1EB58FD7A7B1}"/>
                </a:ext>
              </a:extLst>
            </p:cNvPr>
            <p:cNvSpPr>
              <a:spLocks/>
            </p:cNvSpPr>
            <p:nvPr/>
          </p:nvSpPr>
          <p:spPr bwMode="auto">
            <a:xfrm rot="10800000">
              <a:off x="1898634" y="3684490"/>
              <a:ext cx="324716" cy="120825"/>
            </a:xfrm>
            <a:custGeom>
              <a:avLst/>
              <a:gdLst>
                <a:gd name="T0" fmla="*/ 10 w 207"/>
                <a:gd name="T1" fmla="*/ 44 h 77"/>
                <a:gd name="T2" fmla="*/ 10 w 207"/>
                <a:gd name="T3" fmla="*/ 44 h 77"/>
                <a:gd name="T4" fmla="*/ 0 w 207"/>
                <a:gd name="T5" fmla="*/ 77 h 77"/>
                <a:gd name="T6" fmla="*/ 207 w 207"/>
                <a:gd name="T7" fmla="*/ 22 h 77"/>
                <a:gd name="T8" fmla="*/ 159 w 207"/>
                <a:gd name="T9" fmla="*/ 0 h 77"/>
                <a:gd name="T10" fmla="*/ 10 w 207"/>
                <a:gd name="T11" fmla="*/ 44 h 77"/>
              </a:gdLst>
              <a:ahLst/>
              <a:cxnLst>
                <a:cxn ang="0">
                  <a:pos x="T0" y="T1"/>
                </a:cxn>
                <a:cxn ang="0">
                  <a:pos x="T2" y="T3"/>
                </a:cxn>
                <a:cxn ang="0">
                  <a:pos x="T4" y="T5"/>
                </a:cxn>
                <a:cxn ang="0">
                  <a:pos x="T6" y="T7"/>
                </a:cxn>
                <a:cxn ang="0">
                  <a:pos x="T8" y="T9"/>
                </a:cxn>
                <a:cxn ang="0">
                  <a:pos x="T10" y="T11"/>
                </a:cxn>
              </a:cxnLst>
              <a:rect l="0" t="0" r="r" b="b"/>
              <a:pathLst>
                <a:path w="207" h="77">
                  <a:moveTo>
                    <a:pt x="10" y="44"/>
                  </a:moveTo>
                  <a:cubicBezTo>
                    <a:pt x="10" y="44"/>
                    <a:pt x="10" y="44"/>
                    <a:pt x="10" y="44"/>
                  </a:cubicBezTo>
                  <a:cubicBezTo>
                    <a:pt x="0" y="77"/>
                    <a:pt x="0" y="77"/>
                    <a:pt x="0" y="77"/>
                  </a:cubicBezTo>
                  <a:cubicBezTo>
                    <a:pt x="207" y="22"/>
                    <a:pt x="207" y="22"/>
                    <a:pt x="207" y="22"/>
                  </a:cubicBezTo>
                  <a:cubicBezTo>
                    <a:pt x="159" y="0"/>
                    <a:pt x="159" y="0"/>
                    <a:pt x="159" y="0"/>
                  </a:cubicBezTo>
                  <a:lnTo>
                    <a:pt x="10" y="44"/>
                  </a:lnTo>
                  <a:close/>
                </a:path>
              </a:pathLst>
            </a:custGeom>
            <a:gradFill flip="none" rotWithShape="1">
              <a:gsLst>
                <a:gs pos="100000">
                  <a:schemeClr val="accent1">
                    <a:lumMod val="91000"/>
                  </a:schemeClr>
                </a:gs>
                <a:gs pos="0">
                  <a:schemeClr val="accent1">
                    <a:lumMod val="87000"/>
                  </a:schemeClr>
                </a:gs>
              </a:gsLst>
              <a:lin ang="5400000" scaled="1"/>
              <a:tileRect/>
            </a:gradFill>
            <a:ln w="512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armonyOS Sans SC"/>
                <a:cs typeface="+mn-cs"/>
              </a:endParaRPr>
            </a:p>
          </p:txBody>
        </p:sp>
        <p:sp>
          <p:nvSpPr>
            <p:cNvPr id="174" name="Freeform 9">
              <a:extLst>
                <a:ext uri="{FF2B5EF4-FFF2-40B4-BE49-F238E27FC236}">
                  <a16:creationId xmlns:a16="http://schemas.microsoft.com/office/drawing/2014/main" id="{E1A096ED-11CF-4162-8DB0-25009BF9E72C}"/>
                </a:ext>
              </a:extLst>
            </p:cNvPr>
            <p:cNvSpPr>
              <a:spLocks/>
            </p:cNvSpPr>
            <p:nvPr/>
          </p:nvSpPr>
          <p:spPr bwMode="auto">
            <a:xfrm rot="10800000">
              <a:off x="1551264" y="3737349"/>
              <a:ext cx="656985" cy="679640"/>
            </a:xfrm>
            <a:custGeom>
              <a:avLst/>
              <a:gdLst>
                <a:gd name="T0" fmla="*/ 102 w 420"/>
                <a:gd name="T1" fmla="*/ 84 h 435"/>
                <a:gd name="T2" fmla="*/ 0 w 420"/>
                <a:gd name="T3" fmla="*/ 435 h 435"/>
                <a:gd name="T4" fmla="*/ 0 w 420"/>
                <a:gd name="T5" fmla="*/ 435 h 435"/>
                <a:gd name="T6" fmla="*/ 222 w 420"/>
                <a:gd name="T7" fmla="*/ 369 h 435"/>
                <a:gd name="T8" fmla="*/ 420 w 420"/>
                <a:gd name="T9" fmla="*/ 0 h 435"/>
                <a:gd name="T10" fmla="*/ 102 w 420"/>
                <a:gd name="T11" fmla="*/ 84 h 435"/>
                <a:gd name="T12" fmla="*/ 102 w 420"/>
                <a:gd name="T13" fmla="*/ 84 h 435"/>
              </a:gdLst>
              <a:ahLst/>
              <a:cxnLst>
                <a:cxn ang="0">
                  <a:pos x="T0" y="T1"/>
                </a:cxn>
                <a:cxn ang="0">
                  <a:pos x="T2" y="T3"/>
                </a:cxn>
                <a:cxn ang="0">
                  <a:pos x="T4" y="T5"/>
                </a:cxn>
                <a:cxn ang="0">
                  <a:pos x="T6" y="T7"/>
                </a:cxn>
                <a:cxn ang="0">
                  <a:pos x="T8" y="T9"/>
                </a:cxn>
                <a:cxn ang="0">
                  <a:pos x="T10" y="T11"/>
                </a:cxn>
                <a:cxn ang="0">
                  <a:pos x="T12" y="T13"/>
                </a:cxn>
              </a:cxnLst>
              <a:rect l="0" t="0" r="r" b="b"/>
              <a:pathLst>
                <a:path w="420" h="435">
                  <a:moveTo>
                    <a:pt x="102" y="84"/>
                  </a:moveTo>
                  <a:cubicBezTo>
                    <a:pt x="0" y="435"/>
                    <a:pt x="0" y="435"/>
                    <a:pt x="0" y="435"/>
                  </a:cubicBezTo>
                  <a:cubicBezTo>
                    <a:pt x="0" y="435"/>
                    <a:pt x="0" y="435"/>
                    <a:pt x="0" y="435"/>
                  </a:cubicBezTo>
                  <a:cubicBezTo>
                    <a:pt x="222" y="369"/>
                    <a:pt x="222" y="369"/>
                    <a:pt x="222" y="369"/>
                  </a:cubicBezTo>
                  <a:cubicBezTo>
                    <a:pt x="420" y="0"/>
                    <a:pt x="420" y="0"/>
                    <a:pt x="420" y="0"/>
                  </a:cubicBezTo>
                  <a:cubicBezTo>
                    <a:pt x="102" y="84"/>
                    <a:pt x="102" y="84"/>
                    <a:pt x="102" y="84"/>
                  </a:cubicBezTo>
                  <a:cubicBezTo>
                    <a:pt x="102" y="84"/>
                    <a:pt x="102" y="84"/>
                    <a:pt x="102" y="84"/>
                  </a:cubicBezTo>
                  <a:close/>
                </a:path>
              </a:pathLst>
            </a:custGeom>
            <a:gradFill flip="none" rotWithShape="1">
              <a:gsLst>
                <a:gs pos="0">
                  <a:schemeClr val="accent1">
                    <a:lumMod val="71000"/>
                    <a:lumOff val="29000"/>
                  </a:schemeClr>
                </a:gs>
                <a:gs pos="63000">
                  <a:schemeClr val="accent1"/>
                </a:gs>
              </a:gsLst>
              <a:lin ang="7200000" scaled="0"/>
              <a:tileRect/>
            </a:gradFill>
            <a:ln w="1270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armonyOS Sans SC"/>
                <a:cs typeface="+mn-cs"/>
              </a:endParaRPr>
            </a:p>
          </p:txBody>
        </p:sp>
        <p:sp>
          <p:nvSpPr>
            <p:cNvPr id="175" name="Freeform 11">
              <a:extLst>
                <a:ext uri="{FF2B5EF4-FFF2-40B4-BE49-F238E27FC236}">
                  <a16:creationId xmlns:a16="http://schemas.microsoft.com/office/drawing/2014/main" id="{46066449-12D6-463B-9C14-6CC495D8E3D2}"/>
                </a:ext>
              </a:extLst>
            </p:cNvPr>
            <p:cNvSpPr>
              <a:spLocks/>
            </p:cNvSpPr>
            <p:nvPr/>
          </p:nvSpPr>
          <p:spPr bwMode="auto">
            <a:xfrm rot="10800000">
              <a:off x="2047778" y="3737349"/>
              <a:ext cx="1621695" cy="955271"/>
            </a:xfrm>
            <a:custGeom>
              <a:avLst/>
              <a:gdLst>
                <a:gd name="T0" fmla="*/ 935 w 1037"/>
                <a:gd name="T1" fmla="*/ 612 h 612"/>
                <a:gd name="T2" fmla="*/ 1037 w 1037"/>
                <a:gd name="T3" fmla="*/ 261 h 612"/>
                <a:gd name="T4" fmla="*/ 0 w 1037"/>
                <a:gd name="T5" fmla="*/ 94 h 612"/>
                <a:gd name="T6" fmla="*/ 215 w 1037"/>
                <a:gd name="T7" fmla="*/ 476 h 612"/>
                <a:gd name="T8" fmla="*/ 935 w 1037"/>
                <a:gd name="T9" fmla="*/ 612 h 612"/>
              </a:gdLst>
              <a:ahLst/>
              <a:cxnLst>
                <a:cxn ang="0">
                  <a:pos x="T0" y="T1"/>
                </a:cxn>
                <a:cxn ang="0">
                  <a:pos x="T2" y="T3"/>
                </a:cxn>
                <a:cxn ang="0">
                  <a:pos x="T4" y="T5"/>
                </a:cxn>
                <a:cxn ang="0">
                  <a:pos x="T6" y="T7"/>
                </a:cxn>
                <a:cxn ang="0">
                  <a:pos x="T8" y="T9"/>
                </a:cxn>
              </a:cxnLst>
              <a:rect l="0" t="0" r="r" b="b"/>
              <a:pathLst>
                <a:path w="1037" h="612">
                  <a:moveTo>
                    <a:pt x="935" y="612"/>
                  </a:moveTo>
                  <a:cubicBezTo>
                    <a:pt x="1037" y="261"/>
                    <a:pt x="1037" y="261"/>
                    <a:pt x="1037" y="261"/>
                  </a:cubicBezTo>
                  <a:cubicBezTo>
                    <a:pt x="594" y="0"/>
                    <a:pt x="242" y="13"/>
                    <a:pt x="0" y="94"/>
                  </a:cubicBezTo>
                  <a:cubicBezTo>
                    <a:pt x="215" y="476"/>
                    <a:pt x="215" y="476"/>
                    <a:pt x="215" y="476"/>
                  </a:cubicBezTo>
                  <a:cubicBezTo>
                    <a:pt x="421" y="414"/>
                    <a:pt x="665" y="430"/>
                    <a:pt x="935" y="612"/>
                  </a:cubicBezTo>
                  <a:close/>
                </a:path>
              </a:pathLst>
            </a:custGeom>
            <a:gradFill flip="none" rotWithShape="1">
              <a:gsLst>
                <a:gs pos="0">
                  <a:schemeClr val="accent1">
                    <a:lumMod val="49000"/>
                    <a:lumOff val="51000"/>
                  </a:schemeClr>
                </a:gs>
                <a:gs pos="63000">
                  <a:schemeClr val="accent1">
                    <a:lumMod val="78000"/>
                    <a:lumOff val="22000"/>
                  </a:schemeClr>
                </a:gs>
              </a:gsLst>
              <a:lin ang="5400000" scaled="1"/>
              <a:tileRect/>
            </a:gradFill>
            <a:ln w="1270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armonyOS Sans SC"/>
                <a:cs typeface="+mn-cs"/>
              </a:endParaRPr>
            </a:p>
          </p:txBody>
        </p:sp>
        <p:sp>
          <p:nvSpPr>
            <p:cNvPr id="176" name="Freeform 23">
              <a:extLst>
                <a:ext uri="{FF2B5EF4-FFF2-40B4-BE49-F238E27FC236}">
                  <a16:creationId xmlns:a16="http://schemas.microsoft.com/office/drawing/2014/main" id="{93481B2A-AECA-459F-B661-3D4BF56B6F20}"/>
                </a:ext>
              </a:extLst>
            </p:cNvPr>
            <p:cNvSpPr>
              <a:spLocks/>
            </p:cNvSpPr>
            <p:nvPr/>
          </p:nvSpPr>
          <p:spPr bwMode="auto">
            <a:xfrm rot="10800000">
              <a:off x="2032675" y="4284835"/>
              <a:ext cx="1597153" cy="420999"/>
            </a:xfrm>
            <a:custGeom>
              <a:avLst/>
              <a:gdLst>
                <a:gd name="T0" fmla="*/ 222 w 1022"/>
                <a:gd name="T1" fmla="*/ 15 h 269"/>
                <a:gd name="T2" fmla="*/ 0 w 1022"/>
                <a:gd name="T3" fmla="*/ 94 h 269"/>
                <a:gd name="T4" fmla="*/ 1012 w 1022"/>
                <a:gd name="T5" fmla="*/ 269 h 269"/>
                <a:gd name="T6" fmla="*/ 1022 w 1022"/>
                <a:gd name="T7" fmla="*/ 236 h 269"/>
                <a:gd name="T8" fmla="*/ 222 w 1022"/>
                <a:gd name="T9" fmla="*/ 15 h 269"/>
              </a:gdLst>
              <a:ahLst/>
              <a:cxnLst>
                <a:cxn ang="0">
                  <a:pos x="T0" y="T1"/>
                </a:cxn>
                <a:cxn ang="0">
                  <a:pos x="T2" y="T3"/>
                </a:cxn>
                <a:cxn ang="0">
                  <a:pos x="T4" y="T5"/>
                </a:cxn>
                <a:cxn ang="0">
                  <a:pos x="T6" y="T7"/>
                </a:cxn>
                <a:cxn ang="0">
                  <a:pos x="T8" y="T9"/>
                </a:cxn>
              </a:cxnLst>
              <a:rect l="0" t="0" r="r" b="b"/>
              <a:pathLst>
                <a:path w="1022" h="269">
                  <a:moveTo>
                    <a:pt x="222" y="15"/>
                  </a:moveTo>
                  <a:cubicBezTo>
                    <a:pt x="119" y="42"/>
                    <a:pt x="41" y="75"/>
                    <a:pt x="0" y="94"/>
                  </a:cubicBezTo>
                  <a:cubicBezTo>
                    <a:pt x="241" y="21"/>
                    <a:pt x="584" y="17"/>
                    <a:pt x="1012" y="269"/>
                  </a:cubicBezTo>
                  <a:cubicBezTo>
                    <a:pt x="1022" y="236"/>
                    <a:pt x="1022" y="236"/>
                    <a:pt x="1022" y="236"/>
                  </a:cubicBezTo>
                  <a:cubicBezTo>
                    <a:pt x="708" y="49"/>
                    <a:pt x="438" y="0"/>
                    <a:pt x="222" y="15"/>
                  </a:cubicBezTo>
                  <a:close/>
                </a:path>
              </a:pathLst>
            </a:custGeom>
            <a:gradFill flip="none" rotWithShape="1">
              <a:gsLst>
                <a:gs pos="100000">
                  <a:schemeClr val="accent1">
                    <a:lumMod val="91000"/>
                  </a:schemeClr>
                </a:gs>
                <a:gs pos="0">
                  <a:schemeClr val="accent1">
                    <a:lumMod val="87000"/>
                  </a:schemeClr>
                </a:gs>
              </a:gsLst>
              <a:lin ang="5400000" scaled="1"/>
              <a:tileRect/>
            </a:gradFill>
            <a:ln w="512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armonyOS Sans SC"/>
                <a:cs typeface="+mn-cs"/>
              </a:endParaRPr>
            </a:p>
          </p:txBody>
        </p:sp>
        <p:sp>
          <p:nvSpPr>
            <p:cNvPr id="177" name="Freeform 27">
              <a:extLst>
                <a:ext uri="{FF2B5EF4-FFF2-40B4-BE49-F238E27FC236}">
                  <a16:creationId xmlns:a16="http://schemas.microsoft.com/office/drawing/2014/main" id="{191B1CA6-C64F-43AA-830F-82633094C355}"/>
                </a:ext>
              </a:extLst>
            </p:cNvPr>
            <p:cNvSpPr>
              <a:spLocks/>
            </p:cNvSpPr>
            <p:nvPr/>
          </p:nvSpPr>
          <p:spPr bwMode="auto">
            <a:xfrm rot="10800000">
              <a:off x="1551264" y="4284835"/>
              <a:ext cx="496515" cy="171798"/>
            </a:xfrm>
            <a:custGeom>
              <a:avLst/>
              <a:gdLst>
                <a:gd name="T0" fmla="*/ 10 w 318"/>
                <a:gd name="T1" fmla="*/ 77 h 110"/>
                <a:gd name="T2" fmla="*/ 10 w 318"/>
                <a:gd name="T3" fmla="*/ 77 h 110"/>
                <a:gd name="T4" fmla="*/ 0 w 318"/>
                <a:gd name="T5" fmla="*/ 110 h 110"/>
                <a:gd name="T6" fmla="*/ 0 w 318"/>
                <a:gd name="T7" fmla="*/ 110 h 110"/>
                <a:gd name="T8" fmla="*/ 318 w 318"/>
                <a:gd name="T9" fmla="*/ 26 h 110"/>
                <a:gd name="T10" fmla="*/ 268 w 318"/>
                <a:gd name="T11" fmla="*/ 0 h 110"/>
                <a:gd name="T12" fmla="*/ 10 w 318"/>
                <a:gd name="T13" fmla="*/ 77 h 110"/>
              </a:gdLst>
              <a:ahLst/>
              <a:cxnLst>
                <a:cxn ang="0">
                  <a:pos x="T0" y="T1"/>
                </a:cxn>
                <a:cxn ang="0">
                  <a:pos x="T2" y="T3"/>
                </a:cxn>
                <a:cxn ang="0">
                  <a:pos x="T4" y="T5"/>
                </a:cxn>
                <a:cxn ang="0">
                  <a:pos x="T6" y="T7"/>
                </a:cxn>
                <a:cxn ang="0">
                  <a:pos x="T8" y="T9"/>
                </a:cxn>
                <a:cxn ang="0">
                  <a:pos x="T10" y="T11"/>
                </a:cxn>
                <a:cxn ang="0">
                  <a:pos x="T12" y="T13"/>
                </a:cxn>
              </a:cxnLst>
              <a:rect l="0" t="0" r="r" b="b"/>
              <a:pathLst>
                <a:path w="318" h="110">
                  <a:moveTo>
                    <a:pt x="10" y="77"/>
                  </a:moveTo>
                  <a:cubicBezTo>
                    <a:pt x="10" y="77"/>
                    <a:pt x="10" y="77"/>
                    <a:pt x="10" y="77"/>
                  </a:cubicBezTo>
                  <a:cubicBezTo>
                    <a:pt x="0" y="110"/>
                    <a:pt x="0" y="110"/>
                    <a:pt x="0" y="110"/>
                  </a:cubicBezTo>
                  <a:cubicBezTo>
                    <a:pt x="0" y="110"/>
                    <a:pt x="0" y="110"/>
                    <a:pt x="0" y="110"/>
                  </a:cubicBezTo>
                  <a:cubicBezTo>
                    <a:pt x="318" y="26"/>
                    <a:pt x="318" y="26"/>
                    <a:pt x="318" y="26"/>
                  </a:cubicBezTo>
                  <a:cubicBezTo>
                    <a:pt x="268" y="0"/>
                    <a:pt x="268" y="0"/>
                    <a:pt x="268" y="0"/>
                  </a:cubicBezTo>
                  <a:lnTo>
                    <a:pt x="10" y="77"/>
                  </a:lnTo>
                  <a:close/>
                </a:path>
              </a:pathLst>
            </a:custGeom>
            <a:gradFill flip="none" rotWithShape="1">
              <a:gsLst>
                <a:gs pos="100000">
                  <a:schemeClr val="accent1">
                    <a:lumMod val="91000"/>
                  </a:schemeClr>
                </a:gs>
                <a:gs pos="0">
                  <a:schemeClr val="accent1">
                    <a:lumMod val="87000"/>
                  </a:schemeClr>
                </a:gs>
              </a:gsLst>
              <a:lin ang="5400000" scaled="1"/>
              <a:tileRect/>
            </a:gradFill>
            <a:ln w="512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armonyOS Sans SC"/>
                <a:cs typeface="+mn-cs"/>
              </a:endParaRPr>
            </a:p>
          </p:txBody>
        </p:sp>
        <p:sp>
          <p:nvSpPr>
            <p:cNvPr id="178" name="Freeform 10">
              <a:extLst>
                <a:ext uri="{FF2B5EF4-FFF2-40B4-BE49-F238E27FC236}">
                  <a16:creationId xmlns:a16="http://schemas.microsoft.com/office/drawing/2014/main" id="{E2F707E7-08F9-42B4-985D-C07A07E80318}"/>
                </a:ext>
              </a:extLst>
            </p:cNvPr>
            <p:cNvSpPr>
              <a:spLocks/>
            </p:cNvSpPr>
            <p:nvPr/>
          </p:nvSpPr>
          <p:spPr bwMode="auto">
            <a:xfrm rot="10800000">
              <a:off x="1205782" y="4337698"/>
              <a:ext cx="826894" cy="717397"/>
            </a:xfrm>
            <a:custGeom>
              <a:avLst/>
              <a:gdLst>
                <a:gd name="T0" fmla="*/ 101 w 528"/>
                <a:gd name="T1" fmla="*/ 113 h 459"/>
                <a:gd name="T2" fmla="*/ 0 w 528"/>
                <a:gd name="T3" fmla="*/ 459 h 459"/>
                <a:gd name="T4" fmla="*/ 0 w 528"/>
                <a:gd name="T5" fmla="*/ 459 h 459"/>
                <a:gd name="T6" fmla="*/ 335 w 528"/>
                <a:gd name="T7" fmla="*/ 359 h 459"/>
                <a:gd name="T8" fmla="*/ 528 w 528"/>
                <a:gd name="T9" fmla="*/ 0 h 459"/>
                <a:gd name="T10" fmla="*/ 101 w 528"/>
                <a:gd name="T11" fmla="*/ 113 h 459"/>
                <a:gd name="T12" fmla="*/ 101 w 528"/>
                <a:gd name="T13" fmla="*/ 113 h 459"/>
              </a:gdLst>
              <a:ahLst/>
              <a:cxnLst>
                <a:cxn ang="0">
                  <a:pos x="T0" y="T1"/>
                </a:cxn>
                <a:cxn ang="0">
                  <a:pos x="T2" y="T3"/>
                </a:cxn>
                <a:cxn ang="0">
                  <a:pos x="T4" y="T5"/>
                </a:cxn>
                <a:cxn ang="0">
                  <a:pos x="T6" y="T7"/>
                </a:cxn>
                <a:cxn ang="0">
                  <a:pos x="T8" y="T9"/>
                </a:cxn>
                <a:cxn ang="0">
                  <a:pos x="T10" y="T11"/>
                </a:cxn>
                <a:cxn ang="0">
                  <a:pos x="T12" y="T13"/>
                </a:cxn>
              </a:cxnLst>
              <a:rect l="0" t="0" r="r" b="b"/>
              <a:pathLst>
                <a:path w="528" h="459">
                  <a:moveTo>
                    <a:pt x="101" y="113"/>
                  </a:moveTo>
                  <a:cubicBezTo>
                    <a:pt x="0" y="459"/>
                    <a:pt x="0" y="459"/>
                    <a:pt x="0" y="459"/>
                  </a:cubicBezTo>
                  <a:cubicBezTo>
                    <a:pt x="0" y="459"/>
                    <a:pt x="0" y="459"/>
                    <a:pt x="0" y="459"/>
                  </a:cubicBezTo>
                  <a:cubicBezTo>
                    <a:pt x="335" y="359"/>
                    <a:pt x="335" y="359"/>
                    <a:pt x="335" y="359"/>
                  </a:cubicBezTo>
                  <a:cubicBezTo>
                    <a:pt x="528" y="0"/>
                    <a:pt x="528" y="0"/>
                    <a:pt x="528" y="0"/>
                  </a:cubicBezTo>
                  <a:cubicBezTo>
                    <a:pt x="101" y="113"/>
                    <a:pt x="101" y="113"/>
                    <a:pt x="101" y="113"/>
                  </a:cubicBezTo>
                  <a:cubicBezTo>
                    <a:pt x="101" y="113"/>
                    <a:pt x="101" y="113"/>
                    <a:pt x="101" y="113"/>
                  </a:cubicBezTo>
                  <a:close/>
                </a:path>
              </a:pathLst>
            </a:custGeom>
            <a:gradFill flip="none" rotWithShape="1">
              <a:gsLst>
                <a:gs pos="0">
                  <a:schemeClr val="accent1">
                    <a:lumMod val="74000"/>
                    <a:lumOff val="26000"/>
                  </a:schemeClr>
                </a:gs>
                <a:gs pos="63000">
                  <a:schemeClr val="accent1">
                    <a:lumMod val="93000"/>
                  </a:schemeClr>
                </a:gs>
              </a:gsLst>
              <a:lin ang="7200000" scaled="0"/>
              <a:tileRect/>
            </a:gradFill>
            <a:ln w="1270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armonyOS Sans SC"/>
                <a:cs typeface="+mn-cs"/>
              </a:endParaRPr>
            </a:p>
          </p:txBody>
        </p:sp>
        <p:sp>
          <p:nvSpPr>
            <p:cNvPr id="179" name="Freeform 13">
              <a:extLst>
                <a:ext uri="{FF2B5EF4-FFF2-40B4-BE49-F238E27FC236}">
                  <a16:creationId xmlns:a16="http://schemas.microsoft.com/office/drawing/2014/main" id="{AB0444E4-63BB-40FD-9D9F-503D1AD2436D}"/>
                </a:ext>
              </a:extLst>
            </p:cNvPr>
            <p:cNvSpPr>
              <a:spLocks/>
            </p:cNvSpPr>
            <p:nvPr/>
          </p:nvSpPr>
          <p:spPr bwMode="auto">
            <a:xfrm rot="10800000">
              <a:off x="1874094" y="4337698"/>
              <a:ext cx="2152190" cy="1166713"/>
            </a:xfrm>
            <a:custGeom>
              <a:avLst/>
              <a:gdLst>
                <a:gd name="T0" fmla="*/ 1275 w 1376"/>
                <a:gd name="T1" fmla="*/ 747 h 747"/>
                <a:gd name="T2" fmla="*/ 1376 w 1376"/>
                <a:gd name="T3" fmla="*/ 401 h 747"/>
                <a:gd name="T4" fmla="*/ 0 w 1376"/>
                <a:gd name="T5" fmla="*/ 208 h 747"/>
                <a:gd name="T6" fmla="*/ 210 w 1376"/>
                <a:gd name="T7" fmla="*/ 580 h 747"/>
                <a:gd name="T8" fmla="*/ 1275 w 1376"/>
                <a:gd name="T9" fmla="*/ 747 h 747"/>
              </a:gdLst>
              <a:ahLst/>
              <a:cxnLst>
                <a:cxn ang="0">
                  <a:pos x="T0" y="T1"/>
                </a:cxn>
                <a:cxn ang="0">
                  <a:pos x="T2" y="T3"/>
                </a:cxn>
                <a:cxn ang="0">
                  <a:pos x="T4" y="T5"/>
                </a:cxn>
                <a:cxn ang="0">
                  <a:pos x="T6" y="T7"/>
                </a:cxn>
                <a:cxn ang="0">
                  <a:pos x="T8" y="T9"/>
                </a:cxn>
              </a:cxnLst>
              <a:rect l="0" t="0" r="r" b="b"/>
              <a:pathLst>
                <a:path w="1376" h="747">
                  <a:moveTo>
                    <a:pt x="1275" y="747"/>
                  </a:moveTo>
                  <a:cubicBezTo>
                    <a:pt x="1376" y="401"/>
                    <a:pt x="1376" y="401"/>
                    <a:pt x="1376" y="401"/>
                  </a:cubicBezTo>
                  <a:cubicBezTo>
                    <a:pt x="646" y="0"/>
                    <a:pt x="142" y="150"/>
                    <a:pt x="0" y="208"/>
                  </a:cubicBezTo>
                  <a:cubicBezTo>
                    <a:pt x="210" y="580"/>
                    <a:pt x="210" y="580"/>
                    <a:pt x="210" y="580"/>
                  </a:cubicBezTo>
                  <a:cubicBezTo>
                    <a:pt x="453" y="495"/>
                    <a:pt x="816" y="474"/>
                    <a:pt x="1275" y="747"/>
                  </a:cubicBezTo>
                  <a:close/>
                </a:path>
              </a:pathLst>
            </a:custGeom>
            <a:gradFill flip="none" rotWithShape="1">
              <a:gsLst>
                <a:gs pos="0">
                  <a:schemeClr val="accent1">
                    <a:lumMod val="59000"/>
                    <a:lumOff val="41000"/>
                  </a:schemeClr>
                </a:gs>
                <a:gs pos="63000">
                  <a:schemeClr val="accent1">
                    <a:lumMod val="92000"/>
                    <a:lumOff val="8000"/>
                  </a:schemeClr>
                </a:gs>
              </a:gsLst>
              <a:lin ang="5400000" scaled="1"/>
              <a:tileRect/>
            </a:gradFill>
            <a:ln w="1270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armonyOS Sans SC"/>
                <a:cs typeface="+mn-cs"/>
              </a:endParaRPr>
            </a:p>
          </p:txBody>
        </p:sp>
        <p:sp>
          <p:nvSpPr>
            <p:cNvPr id="180" name="Freeform 22">
              <a:extLst>
                <a:ext uri="{FF2B5EF4-FFF2-40B4-BE49-F238E27FC236}">
                  <a16:creationId xmlns:a16="http://schemas.microsoft.com/office/drawing/2014/main" id="{34BB5705-5C2A-4EB4-8F44-E69548B08210}"/>
                </a:ext>
              </a:extLst>
            </p:cNvPr>
            <p:cNvSpPr>
              <a:spLocks/>
            </p:cNvSpPr>
            <p:nvPr/>
          </p:nvSpPr>
          <p:spPr bwMode="auto">
            <a:xfrm rot="10800000">
              <a:off x="1860877" y="4877633"/>
              <a:ext cx="2152190" cy="615450"/>
            </a:xfrm>
            <a:custGeom>
              <a:avLst/>
              <a:gdLst>
                <a:gd name="T0" fmla="*/ 208 w 1377"/>
                <a:gd name="T1" fmla="*/ 102 h 394"/>
                <a:gd name="T2" fmla="*/ 0 w 1377"/>
                <a:gd name="T3" fmla="*/ 198 h 394"/>
                <a:gd name="T4" fmla="*/ 1368 w 1377"/>
                <a:gd name="T5" fmla="*/ 394 h 394"/>
                <a:gd name="T6" fmla="*/ 1377 w 1377"/>
                <a:gd name="T7" fmla="*/ 361 h 394"/>
                <a:gd name="T8" fmla="*/ 208 w 1377"/>
                <a:gd name="T9" fmla="*/ 102 h 394"/>
              </a:gdLst>
              <a:ahLst/>
              <a:cxnLst>
                <a:cxn ang="0">
                  <a:pos x="T0" y="T1"/>
                </a:cxn>
                <a:cxn ang="0">
                  <a:pos x="T2" y="T3"/>
                </a:cxn>
                <a:cxn ang="0">
                  <a:pos x="T4" y="T5"/>
                </a:cxn>
                <a:cxn ang="0">
                  <a:pos x="T6" y="T7"/>
                </a:cxn>
                <a:cxn ang="0">
                  <a:pos x="T8" y="T9"/>
                </a:cxn>
              </a:cxnLst>
              <a:rect l="0" t="0" r="r" b="b"/>
              <a:pathLst>
                <a:path w="1377" h="394">
                  <a:moveTo>
                    <a:pt x="208" y="102"/>
                  </a:moveTo>
                  <a:cubicBezTo>
                    <a:pt x="109" y="137"/>
                    <a:pt x="27" y="182"/>
                    <a:pt x="0" y="198"/>
                  </a:cubicBezTo>
                  <a:cubicBezTo>
                    <a:pt x="151" y="138"/>
                    <a:pt x="650" y="0"/>
                    <a:pt x="1368" y="394"/>
                  </a:cubicBezTo>
                  <a:cubicBezTo>
                    <a:pt x="1377" y="361"/>
                    <a:pt x="1377" y="361"/>
                    <a:pt x="1377" y="361"/>
                  </a:cubicBezTo>
                  <a:cubicBezTo>
                    <a:pt x="880" y="71"/>
                    <a:pt x="459" y="64"/>
                    <a:pt x="208" y="102"/>
                  </a:cubicBezTo>
                  <a:close/>
                </a:path>
              </a:pathLst>
            </a:custGeom>
            <a:gradFill flip="none" rotWithShape="1">
              <a:gsLst>
                <a:gs pos="100000">
                  <a:schemeClr val="accent1">
                    <a:lumMod val="91000"/>
                  </a:schemeClr>
                </a:gs>
                <a:gs pos="0">
                  <a:schemeClr val="accent1">
                    <a:lumMod val="87000"/>
                  </a:schemeClr>
                </a:gs>
              </a:gsLst>
              <a:lin ang="5400000" scaled="1"/>
              <a:tileRect/>
            </a:gradFill>
            <a:ln w="512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armonyOS Sans SC"/>
                <a:cs typeface="+mn-cs"/>
              </a:endParaRPr>
            </a:p>
          </p:txBody>
        </p:sp>
        <p:sp>
          <p:nvSpPr>
            <p:cNvPr id="181" name="Freeform 26">
              <a:extLst>
                <a:ext uri="{FF2B5EF4-FFF2-40B4-BE49-F238E27FC236}">
                  <a16:creationId xmlns:a16="http://schemas.microsoft.com/office/drawing/2014/main" id="{F7680F13-1FE9-421C-9D1C-23FC8911A5CE}"/>
                </a:ext>
              </a:extLst>
            </p:cNvPr>
            <p:cNvSpPr>
              <a:spLocks/>
            </p:cNvSpPr>
            <p:nvPr/>
          </p:nvSpPr>
          <p:spPr bwMode="auto">
            <a:xfrm rot="10800000">
              <a:off x="1207669" y="4877632"/>
              <a:ext cx="666424" cy="224659"/>
            </a:xfrm>
            <a:custGeom>
              <a:avLst/>
              <a:gdLst>
                <a:gd name="T0" fmla="*/ 10 w 426"/>
                <a:gd name="T1" fmla="*/ 111 h 144"/>
                <a:gd name="T2" fmla="*/ 9 w 426"/>
                <a:gd name="T3" fmla="*/ 111 h 144"/>
                <a:gd name="T4" fmla="*/ 0 w 426"/>
                <a:gd name="T5" fmla="*/ 144 h 144"/>
                <a:gd name="T6" fmla="*/ 0 w 426"/>
                <a:gd name="T7" fmla="*/ 144 h 144"/>
                <a:gd name="T8" fmla="*/ 426 w 426"/>
                <a:gd name="T9" fmla="*/ 31 h 144"/>
                <a:gd name="T10" fmla="*/ 379 w 426"/>
                <a:gd name="T11" fmla="*/ 0 h 144"/>
                <a:gd name="T12" fmla="*/ 10 w 426"/>
                <a:gd name="T13" fmla="*/ 111 h 144"/>
              </a:gdLst>
              <a:ahLst/>
              <a:cxnLst>
                <a:cxn ang="0">
                  <a:pos x="T0" y="T1"/>
                </a:cxn>
                <a:cxn ang="0">
                  <a:pos x="T2" y="T3"/>
                </a:cxn>
                <a:cxn ang="0">
                  <a:pos x="T4" y="T5"/>
                </a:cxn>
                <a:cxn ang="0">
                  <a:pos x="T6" y="T7"/>
                </a:cxn>
                <a:cxn ang="0">
                  <a:pos x="T8" y="T9"/>
                </a:cxn>
                <a:cxn ang="0">
                  <a:pos x="T10" y="T11"/>
                </a:cxn>
                <a:cxn ang="0">
                  <a:pos x="T12" y="T13"/>
                </a:cxn>
              </a:cxnLst>
              <a:rect l="0" t="0" r="r" b="b"/>
              <a:pathLst>
                <a:path w="426" h="144">
                  <a:moveTo>
                    <a:pt x="10" y="111"/>
                  </a:moveTo>
                  <a:cubicBezTo>
                    <a:pt x="9" y="111"/>
                    <a:pt x="9" y="111"/>
                    <a:pt x="9" y="111"/>
                  </a:cubicBezTo>
                  <a:cubicBezTo>
                    <a:pt x="0" y="144"/>
                    <a:pt x="0" y="144"/>
                    <a:pt x="0" y="144"/>
                  </a:cubicBezTo>
                  <a:cubicBezTo>
                    <a:pt x="0" y="144"/>
                    <a:pt x="0" y="144"/>
                    <a:pt x="0" y="144"/>
                  </a:cubicBezTo>
                  <a:cubicBezTo>
                    <a:pt x="426" y="31"/>
                    <a:pt x="426" y="31"/>
                    <a:pt x="426" y="31"/>
                  </a:cubicBezTo>
                  <a:cubicBezTo>
                    <a:pt x="379" y="0"/>
                    <a:pt x="379" y="0"/>
                    <a:pt x="379" y="0"/>
                  </a:cubicBezTo>
                  <a:lnTo>
                    <a:pt x="10" y="111"/>
                  </a:lnTo>
                  <a:close/>
                </a:path>
              </a:pathLst>
            </a:custGeom>
            <a:gradFill flip="none" rotWithShape="1">
              <a:gsLst>
                <a:gs pos="100000">
                  <a:schemeClr val="accent1">
                    <a:lumMod val="91000"/>
                  </a:schemeClr>
                </a:gs>
                <a:gs pos="0">
                  <a:schemeClr val="accent1">
                    <a:lumMod val="87000"/>
                  </a:schemeClr>
                </a:gs>
              </a:gsLst>
              <a:lin ang="5400000" scaled="1"/>
              <a:tileRect/>
            </a:gradFill>
            <a:ln w="512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armonyOS Sans SC"/>
                <a:cs typeface="+mn-cs"/>
              </a:endParaRPr>
            </a:p>
          </p:txBody>
        </p:sp>
        <p:sp>
          <p:nvSpPr>
            <p:cNvPr id="182" name="Freeform 7">
              <a:extLst>
                <a:ext uri="{FF2B5EF4-FFF2-40B4-BE49-F238E27FC236}">
                  <a16:creationId xmlns:a16="http://schemas.microsoft.com/office/drawing/2014/main" id="{217E7AB6-823C-4564-A80E-B32458A37347}"/>
                </a:ext>
              </a:extLst>
            </p:cNvPr>
            <p:cNvSpPr>
              <a:spLocks/>
            </p:cNvSpPr>
            <p:nvPr/>
          </p:nvSpPr>
          <p:spPr bwMode="auto">
            <a:xfrm rot="10800000">
              <a:off x="2238454" y="2559308"/>
              <a:ext cx="311502" cy="577693"/>
            </a:xfrm>
            <a:custGeom>
              <a:avLst/>
              <a:gdLst>
                <a:gd name="T0" fmla="*/ 0 w 165"/>
                <a:gd name="T1" fmla="*/ 306 h 306"/>
                <a:gd name="T2" fmla="*/ 0 w 165"/>
                <a:gd name="T3" fmla="*/ 306 h 306"/>
                <a:gd name="T4" fmla="*/ 165 w 165"/>
                <a:gd name="T5" fmla="*/ 0 h 306"/>
                <a:gd name="T6" fmla="*/ 83 w 165"/>
                <a:gd name="T7" fmla="*/ 21 h 306"/>
                <a:gd name="T8" fmla="*/ 0 w 165"/>
                <a:gd name="T9" fmla="*/ 306 h 306"/>
              </a:gdLst>
              <a:ahLst/>
              <a:cxnLst>
                <a:cxn ang="0">
                  <a:pos x="T0" y="T1"/>
                </a:cxn>
                <a:cxn ang="0">
                  <a:pos x="T2" y="T3"/>
                </a:cxn>
                <a:cxn ang="0">
                  <a:pos x="T4" y="T5"/>
                </a:cxn>
                <a:cxn ang="0">
                  <a:pos x="T6" y="T7"/>
                </a:cxn>
                <a:cxn ang="0">
                  <a:pos x="T8" y="T9"/>
                </a:cxn>
              </a:cxnLst>
              <a:rect l="0" t="0" r="r" b="b"/>
              <a:pathLst>
                <a:path w="165" h="306">
                  <a:moveTo>
                    <a:pt x="0" y="306"/>
                  </a:moveTo>
                  <a:lnTo>
                    <a:pt x="0" y="306"/>
                  </a:lnTo>
                  <a:lnTo>
                    <a:pt x="165" y="0"/>
                  </a:lnTo>
                  <a:lnTo>
                    <a:pt x="83" y="21"/>
                  </a:lnTo>
                  <a:lnTo>
                    <a:pt x="0" y="306"/>
                  </a:lnTo>
                  <a:close/>
                </a:path>
              </a:pathLst>
            </a:custGeom>
            <a:gradFill flip="none" rotWithShape="1">
              <a:gsLst>
                <a:gs pos="0">
                  <a:schemeClr val="accent1">
                    <a:lumMod val="20000"/>
                    <a:lumOff val="80000"/>
                  </a:schemeClr>
                </a:gs>
                <a:gs pos="52000">
                  <a:schemeClr val="accent1">
                    <a:lumMod val="52000"/>
                    <a:lumOff val="48000"/>
                  </a:schemeClr>
                </a:gs>
                <a:gs pos="100000">
                  <a:schemeClr val="accent1">
                    <a:lumMod val="96000"/>
                    <a:lumOff val="4000"/>
                  </a:schemeClr>
                </a:gs>
              </a:gsLst>
              <a:lin ang="5400000" scaled="1"/>
              <a:tileRect/>
            </a:gradFill>
            <a:ln w="51262"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armonyOS Sans SC"/>
                <a:cs typeface="+mn-cs"/>
              </a:endParaRPr>
            </a:p>
          </p:txBody>
        </p:sp>
        <p:sp>
          <p:nvSpPr>
            <p:cNvPr id="183" name="Freeform 14">
              <a:extLst>
                <a:ext uri="{FF2B5EF4-FFF2-40B4-BE49-F238E27FC236}">
                  <a16:creationId xmlns:a16="http://schemas.microsoft.com/office/drawing/2014/main" id="{DBCBB209-7815-48DC-A6EA-8DBBF49864CF}"/>
                </a:ext>
              </a:extLst>
            </p:cNvPr>
            <p:cNvSpPr>
              <a:spLocks/>
            </p:cNvSpPr>
            <p:nvPr/>
          </p:nvSpPr>
          <p:spPr bwMode="auto">
            <a:xfrm rot="10800000">
              <a:off x="2393261" y="2559307"/>
              <a:ext cx="532385" cy="696632"/>
            </a:xfrm>
            <a:custGeom>
              <a:avLst/>
              <a:gdLst>
                <a:gd name="T0" fmla="*/ 339 w 340"/>
                <a:gd name="T1" fmla="*/ 102 h 446"/>
                <a:gd name="T2" fmla="*/ 0 w 340"/>
                <a:gd name="T3" fmla="*/ 21 h 446"/>
                <a:gd name="T4" fmla="*/ 240 w 340"/>
                <a:gd name="T5" fmla="*/ 446 h 446"/>
                <a:gd name="T6" fmla="*/ 340 w 340"/>
                <a:gd name="T7" fmla="*/ 102 h 446"/>
                <a:gd name="T8" fmla="*/ 339 w 340"/>
                <a:gd name="T9" fmla="*/ 102 h 446"/>
              </a:gdLst>
              <a:ahLst/>
              <a:cxnLst>
                <a:cxn ang="0">
                  <a:pos x="T0" y="T1"/>
                </a:cxn>
                <a:cxn ang="0">
                  <a:pos x="T2" y="T3"/>
                </a:cxn>
                <a:cxn ang="0">
                  <a:pos x="T4" y="T5"/>
                </a:cxn>
                <a:cxn ang="0">
                  <a:pos x="T6" y="T7"/>
                </a:cxn>
                <a:cxn ang="0">
                  <a:pos x="T8" y="T9"/>
                </a:cxn>
              </a:cxnLst>
              <a:rect l="0" t="0" r="r" b="b"/>
              <a:pathLst>
                <a:path w="340" h="446">
                  <a:moveTo>
                    <a:pt x="339" y="102"/>
                  </a:moveTo>
                  <a:cubicBezTo>
                    <a:pt x="222" y="22"/>
                    <a:pt x="108" y="0"/>
                    <a:pt x="0" y="21"/>
                  </a:cubicBezTo>
                  <a:cubicBezTo>
                    <a:pt x="240" y="446"/>
                    <a:pt x="240" y="446"/>
                    <a:pt x="240" y="446"/>
                  </a:cubicBezTo>
                  <a:cubicBezTo>
                    <a:pt x="340" y="102"/>
                    <a:pt x="340" y="102"/>
                    <a:pt x="340" y="102"/>
                  </a:cubicBezTo>
                  <a:lnTo>
                    <a:pt x="339" y="102"/>
                  </a:lnTo>
                  <a:close/>
                </a:path>
              </a:pathLst>
            </a:custGeom>
            <a:gradFill flip="none" rotWithShape="1">
              <a:gsLst>
                <a:gs pos="0">
                  <a:schemeClr val="accent1">
                    <a:lumMod val="20000"/>
                    <a:lumOff val="80000"/>
                  </a:schemeClr>
                </a:gs>
                <a:gs pos="52000">
                  <a:schemeClr val="accent1">
                    <a:lumMod val="40000"/>
                    <a:lumOff val="60000"/>
                  </a:schemeClr>
                </a:gs>
                <a:gs pos="100000">
                  <a:schemeClr val="accent1">
                    <a:lumMod val="60000"/>
                    <a:lumOff val="40000"/>
                  </a:schemeClr>
                </a:gs>
              </a:gsLst>
              <a:lin ang="5400000" scaled="1"/>
              <a:tileRect/>
            </a:gradFill>
            <a:ln w="51262"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armonyOS Sans SC"/>
                <a:cs typeface="+mn-cs"/>
              </a:endParaRPr>
            </a:p>
          </p:txBody>
        </p:sp>
        <p:sp>
          <p:nvSpPr>
            <p:cNvPr id="184" name="Freeform 25">
              <a:extLst>
                <a:ext uri="{FF2B5EF4-FFF2-40B4-BE49-F238E27FC236}">
                  <a16:creationId xmlns:a16="http://schemas.microsoft.com/office/drawing/2014/main" id="{19648DEE-71AF-46B7-8D35-478063344E59}"/>
                </a:ext>
              </a:extLst>
            </p:cNvPr>
            <p:cNvSpPr>
              <a:spLocks/>
            </p:cNvSpPr>
            <p:nvPr/>
          </p:nvSpPr>
          <p:spPr bwMode="auto">
            <a:xfrm rot="10800000">
              <a:off x="2380047" y="3097356"/>
              <a:ext cx="528609" cy="173685"/>
            </a:xfrm>
            <a:custGeom>
              <a:avLst/>
              <a:gdLst>
                <a:gd name="T0" fmla="*/ 339 w 339"/>
                <a:gd name="T1" fmla="*/ 78 h 111"/>
                <a:gd name="T2" fmla="*/ 175 w 339"/>
                <a:gd name="T3" fmla="*/ 1 h 111"/>
                <a:gd name="T4" fmla="*/ 0 w 339"/>
                <a:gd name="T5" fmla="*/ 28 h 111"/>
                <a:gd name="T6" fmla="*/ 329 w 339"/>
                <a:gd name="T7" fmla="*/ 111 h 111"/>
                <a:gd name="T8" fmla="*/ 330 w 339"/>
                <a:gd name="T9" fmla="*/ 111 h 111"/>
                <a:gd name="T10" fmla="*/ 339 w 339"/>
                <a:gd name="T11" fmla="*/ 78 h 111"/>
              </a:gdLst>
              <a:ahLst/>
              <a:cxnLst>
                <a:cxn ang="0">
                  <a:pos x="T0" y="T1"/>
                </a:cxn>
                <a:cxn ang="0">
                  <a:pos x="T2" y="T3"/>
                </a:cxn>
                <a:cxn ang="0">
                  <a:pos x="T4" y="T5"/>
                </a:cxn>
                <a:cxn ang="0">
                  <a:pos x="T6" y="T7"/>
                </a:cxn>
                <a:cxn ang="0">
                  <a:pos x="T8" y="T9"/>
                </a:cxn>
                <a:cxn ang="0">
                  <a:pos x="T10" y="T11"/>
                </a:cxn>
              </a:cxnLst>
              <a:rect l="0" t="0" r="r" b="b"/>
              <a:pathLst>
                <a:path w="339" h="111">
                  <a:moveTo>
                    <a:pt x="339" y="78"/>
                  </a:moveTo>
                  <a:cubicBezTo>
                    <a:pt x="283" y="41"/>
                    <a:pt x="228" y="15"/>
                    <a:pt x="175" y="1"/>
                  </a:cubicBezTo>
                  <a:cubicBezTo>
                    <a:pt x="95" y="0"/>
                    <a:pt x="38" y="14"/>
                    <a:pt x="0" y="28"/>
                  </a:cubicBezTo>
                  <a:cubicBezTo>
                    <a:pt x="105" y="10"/>
                    <a:pt x="216" y="34"/>
                    <a:pt x="329" y="111"/>
                  </a:cubicBezTo>
                  <a:cubicBezTo>
                    <a:pt x="330" y="111"/>
                    <a:pt x="330" y="111"/>
                    <a:pt x="330" y="111"/>
                  </a:cubicBezTo>
                  <a:cubicBezTo>
                    <a:pt x="339" y="78"/>
                    <a:pt x="339" y="78"/>
                    <a:pt x="339" y="78"/>
                  </a:cubicBezTo>
                  <a:close/>
                </a:path>
              </a:pathLst>
            </a:custGeom>
            <a:gradFill flip="none" rotWithShape="1">
              <a:gsLst>
                <a:gs pos="100000">
                  <a:schemeClr val="accent1">
                    <a:lumMod val="91000"/>
                  </a:schemeClr>
                </a:gs>
                <a:gs pos="0">
                  <a:schemeClr val="accent1">
                    <a:lumMod val="87000"/>
                  </a:schemeClr>
                </a:gs>
              </a:gsLst>
              <a:lin ang="5400000" scaled="1"/>
              <a:tileRect/>
            </a:gradFill>
            <a:ln w="512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armonyOS Sans SC"/>
                <a:cs typeface="+mn-cs"/>
              </a:endParaRPr>
            </a:p>
          </p:txBody>
        </p:sp>
        <p:sp>
          <p:nvSpPr>
            <p:cNvPr id="185" name="Freeform 29">
              <a:extLst>
                <a:ext uri="{FF2B5EF4-FFF2-40B4-BE49-F238E27FC236}">
                  <a16:creationId xmlns:a16="http://schemas.microsoft.com/office/drawing/2014/main" id="{74ABCD9C-A266-4197-B90F-62D19021C634}"/>
                </a:ext>
              </a:extLst>
            </p:cNvPr>
            <p:cNvSpPr>
              <a:spLocks/>
            </p:cNvSpPr>
            <p:nvPr/>
          </p:nvSpPr>
          <p:spPr bwMode="auto">
            <a:xfrm rot="10800000">
              <a:off x="2240341" y="3097356"/>
              <a:ext cx="152919" cy="71740"/>
            </a:xfrm>
            <a:custGeom>
              <a:avLst/>
              <a:gdLst>
                <a:gd name="T0" fmla="*/ 9 w 98"/>
                <a:gd name="T1" fmla="*/ 13 h 46"/>
                <a:gd name="T2" fmla="*/ 0 w 98"/>
                <a:gd name="T3" fmla="*/ 46 h 46"/>
                <a:gd name="T4" fmla="*/ 98 w 98"/>
                <a:gd name="T5" fmla="*/ 20 h 46"/>
                <a:gd name="T6" fmla="*/ 53 w 98"/>
                <a:gd name="T7" fmla="*/ 0 h 46"/>
                <a:gd name="T8" fmla="*/ 9 w 98"/>
                <a:gd name="T9" fmla="*/ 13 h 46"/>
              </a:gdLst>
              <a:ahLst/>
              <a:cxnLst>
                <a:cxn ang="0">
                  <a:pos x="T0" y="T1"/>
                </a:cxn>
                <a:cxn ang="0">
                  <a:pos x="T2" y="T3"/>
                </a:cxn>
                <a:cxn ang="0">
                  <a:pos x="T4" y="T5"/>
                </a:cxn>
                <a:cxn ang="0">
                  <a:pos x="T6" y="T7"/>
                </a:cxn>
                <a:cxn ang="0">
                  <a:pos x="T8" y="T9"/>
                </a:cxn>
              </a:cxnLst>
              <a:rect l="0" t="0" r="r" b="b"/>
              <a:pathLst>
                <a:path w="98" h="46">
                  <a:moveTo>
                    <a:pt x="9" y="13"/>
                  </a:moveTo>
                  <a:cubicBezTo>
                    <a:pt x="0" y="46"/>
                    <a:pt x="0" y="46"/>
                    <a:pt x="0" y="46"/>
                  </a:cubicBezTo>
                  <a:cubicBezTo>
                    <a:pt x="98" y="20"/>
                    <a:pt x="98" y="20"/>
                    <a:pt x="98" y="20"/>
                  </a:cubicBezTo>
                  <a:cubicBezTo>
                    <a:pt x="86" y="14"/>
                    <a:pt x="62" y="4"/>
                    <a:pt x="53" y="0"/>
                  </a:cubicBezTo>
                  <a:lnTo>
                    <a:pt x="9" y="13"/>
                  </a:lnTo>
                  <a:close/>
                </a:path>
              </a:pathLst>
            </a:custGeom>
            <a:gradFill flip="none" rotWithShape="1">
              <a:gsLst>
                <a:gs pos="100000">
                  <a:schemeClr val="accent1">
                    <a:lumMod val="91000"/>
                  </a:schemeClr>
                </a:gs>
                <a:gs pos="0">
                  <a:schemeClr val="accent1">
                    <a:lumMod val="87000"/>
                  </a:schemeClr>
                </a:gs>
              </a:gsLst>
              <a:lin ang="5400000" scaled="1"/>
              <a:tileRect/>
            </a:gradFill>
            <a:ln w="512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armonyOS Sans SC"/>
                <a:cs typeface="+mn-cs"/>
              </a:endParaRPr>
            </a:p>
          </p:txBody>
        </p:sp>
        <p:sp>
          <p:nvSpPr>
            <p:cNvPr id="186" name="Freeform 6">
              <a:extLst>
                <a:ext uri="{FF2B5EF4-FFF2-40B4-BE49-F238E27FC236}">
                  <a16:creationId xmlns:a16="http://schemas.microsoft.com/office/drawing/2014/main" id="{C538A412-7CF0-432B-A491-E81FA1B1D395}"/>
                </a:ext>
              </a:extLst>
            </p:cNvPr>
            <p:cNvSpPr>
              <a:spLocks/>
            </p:cNvSpPr>
            <p:nvPr/>
          </p:nvSpPr>
          <p:spPr bwMode="auto">
            <a:xfrm rot="10800000">
              <a:off x="845194" y="4928605"/>
              <a:ext cx="1015683" cy="796687"/>
            </a:xfrm>
            <a:custGeom>
              <a:avLst/>
              <a:gdLst>
                <a:gd name="T0" fmla="*/ 105 w 649"/>
                <a:gd name="T1" fmla="*/ 151 h 509"/>
                <a:gd name="T2" fmla="*/ 104 w 649"/>
                <a:gd name="T3" fmla="*/ 151 h 509"/>
                <a:gd name="T4" fmla="*/ 0 w 649"/>
                <a:gd name="T5" fmla="*/ 509 h 509"/>
                <a:gd name="T6" fmla="*/ 1 w 649"/>
                <a:gd name="T7" fmla="*/ 509 h 509"/>
                <a:gd name="T8" fmla="*/ 447 w 649"/>
                <a:gd name="T9" fmla="*/ 375 h 509"/>
                <a:gd name="T10" fmla="*/ 649 w 649"/>
                <a:gd name="T11" fmla="*/ 0 h 509"/>
                <a:gd name="T12" fmla="*/ 105 w 649"/>
                <a:gd name="T13" fmla="*/ 151 h 509"/>
              </a:gdLst>
              <a:ahLst/>
              <a:cxnLst>
                <a:cxn ang="0">
                  <a:pos x="T0" y="T1"/>
                </a:cxn>
                <a:cxn ang="0">
                  <a:pos x="T2" y="T3"/>
                </a:cxn>
                <a:cxn ang="0">
                  <a:pos x="T4" y="T5"/>
                </a:cxn>
                <a:cxn ang="0">
                  <a:pos x="T6" y="T7"/>
                </a:cxn>
                <a:cxn ang="0">
                  <a:pos x="T8" y="T9"/>
                </a:cxn>
                <a:cxn ang="0">
                  <a:pos x="T10" y="T11"/>
                </a:cxn>
                <a:cxn ang="0">
                  <a:pos x="T12" y="T13"/>
                </a:cxn>
              </a:cxnLst>
              <a:rect l="0" t="0" r="r" b="b"/>
              <a:pathLst>
                <a:path w="649" h="509">
                  <a:moveTo>
                    <a:pt x="105" y="151"/>
                  </a:moveTo>
                  <a:cubicBezTo>
                    <a:pt x="104" y="151"/>
                    <a:pt x="104" y="151"/>
                    <a:pt x="104" y="151"/>
                  </a:cubicBezTo>
                  <a:cubicBezTo>
                    <a:pt x="0" y="509"/>
                    <a:pt x="0" y="509"/>
                    <a:pt x="0" y="509"/>
                  </a:cubicBezTo>
                  <a:cubicBezTo>
                    <a:pt x="0" y="509"/>
                    <a:pt x="0" y="509"/>
                    <a:pt x="1" y="509"/>
                  </a:cubicBezTo>
                  <a:cubicBezTo>
                    <a:pt x="447" y="375"/>
                    <a:pt x="447" y="375"/>
                    <a:pt x="447" y="375"/>
                  </a:cubicBezTo>
                  <a:cubicBezTo>
                    <a:pt x="649" y="0"/>
                    <a:pt x="649" y="0"/>
                    <a:pt x="649" y="0"/>
                  </a:cubicBezTo>
                  <a:lnTo>
                    <a:pt x="105" y="151"/>
                  </a:lnTo>
                  <a:close/>
                </a:path>
              </a:pathLst>
            </a:custGeom>
            <a:gradFill flip="none" rotWithShape="1">
              <a:gsLst>
                <a:gs pos="0">
                  <a:schemeClr val="accent1">
                    <a:lumMod val="74000"/>
                    <a:lumOff val="26000"/>
                  </a:schemeClr>
                </a:gs>
                <a:gs pos="63000">
                  <a:schemeClr val="accent1">
                    <a:lumMod val="93000"/>
                  </a:schemeClr>
                </a:gs>
              </a:gsLst>
              <a:lin ang="16200000" scaled="1"/>
              <a:tileRect/>
            </a:gradFill>
            <a:ln w="1270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armonyOS Sans SC"/>
                <a:cs typeface="+mn-cs"/>
              </a:endParaRPr>
            </a:p>
          </p:txBody>
        </p:sp>
        <p:sp>
          <p:nvSpPr>
            <p:cNvPr id="187" name="Freeform 8">
              <a:extLst>
                <a:ext uri="{FF2B5EF4-FFF2-40B4-BE49-F238E27FC236}">
                  <a16:creationId xmlns:a16="http://schemas.microsoft.com/office/drawing/2014/main" id="{BD00FE1B-FBD6-424B-8EA5-8012CB927965}"/>
                </a:ext>
              </a:extLst>
            </p:cNvPr>
            <p:cNvSpPr>
              <a:spLocks/>
            </p:cNvSpPr>
            <p:nvPr/>
          </p:nvSpPr>
          <p:spPr bwMode="auto">
            <a:xfrm rot="10800000">
              <a:off x="1898634" y="3148329"/>
              <a:ext cx="481411" cy="623002"/>
            </a:xfrm>
            <a:custGeom>
              <a:avLst/>
              <a:gdLst>
                <a:gd name="T0" fmla="*/ 0 w 255"/>
                <a:gd name="T1" fmla="*/ 330 h 330"/>
                <a:gd name="T2" fmla="*/ 92 w 255"/>
                <a:gd name="T3" fmla="*/ 302 h 330"/>
                <a:gd name="T4" fmla="*/ 255 w 255"/>
                <a:gd name="T5" fmla="*/ 0 h 330"/>
                <a:gd name="T6" fmla="*/ 83 w 255"/>
                <a:gd name="T7" fmla="*/ 46 h 330"/>
                <a:gd name="T8" fmla="*/ 0 w 255"/>
                <a:gd name="T9" fmla="*/ 330 h 330"/>
              </a:gdLst>
              <a:ahLst/>
              <a:cxnLst>
                <a:cxn ang="0">
                  <a:pos x="T0" y="T1"/>
                </a:cxn>
                <a:cxn ang="0">
                  <a:pos x="T2" y="T3"/>
                </a:cxn>
                <a:cxn ang="0">
                  <a:pos x="T4" y="T5"/>
                </a:cxn>
                <a:cxn ang="0">
                  <a:pos x="T6" y="T7"/>
                </a:cxn>
                <a:cxn ang="0">
                  <a:pos x="T8" y="T9"/>
                </a:cxn>
              </a:cxnLst>
              <a:rect l="0" t="0" r="r" b="b"/>
              <a:pathLst>
                <a:path w="255" h="330">
                  <a:moveTo>
                    <a:pt x="0" y="330"/>
                  </a:moveTo>
                  <a:lnTo>
                    <a:pt x="92" y="302"/>
                  </a:lnTo>
                  <a:lnTo>
                    <a:pt x="255" y="0"/>
                  </a:lnTo>
                  <a:lnTo>
                    <a:pt x="83" y="46"/>
                  </a:lnTo>
                  <a:lnTo>
                    <a:pt x="0" y="330"/>
                  </a:lnTo>
                  <a:close/>
                </a:path>
              </a:pathLst>
            </a:custGeom>
            <a:gradFill flip="none" rotWithShape="1">
              <a:gsLst>
                <a:gs pos="0">
                  <a:schemeClr val="accent1">
                    <a:lumMod val="65000"/>
                    <a:lumOff val="35000"/>
                  </a:schemeClr>
                </a:gs>
                <a:gs pos="63000">
                  <a:schemeClr val="accent1">
                    <a:lumMod val="87000"/>
                    <a:lumOff val="13000"/>
                  </a:schemeClr>
                </a:gs>
              </a:gsLst>
              <a:lin ang="5400000" scaled="1"/>
              <a:tileRect/>
            </a:gradFill>
            <a:ln w="1270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armonyOS Sans SC"/>
                <a:cs typeface="+mn-cs"/>
              </a:endParaRPr>
            </a:p>
          </p:txBody>
        </p:sp>
        <p:sp>
          <p:nvSpPr>
            <p:cNvPr id="188" name="Freeform 15">
              <a:extLst>
                <a:ext uri="{FF2B5EF4-FFF2-40B4-BE49-F238E27FC236}">
                  <a16:creationId xmlns:a16="http://schemas.microsoft.com/office/drawing/2014/main" id="{0E3CA0B6-557B-45F6-A994-2C7AF45B5D73}"/>
                </a:ext>
              </a:extLst>
            </p:cNvPr>
            <p:cNvSpPr>
              <a:spLocks/>
            </p:cNvSpPr>
            <p:nvPr/>
          </p:nvSpPr>
          <p:spPr bwMode="auto">
            <a:xfrm rot="10800000">
              <a:off x="2223350" y="3148328"/>
              <a:ext cx="1076096" cy="832559"/>
            </a:xfrm>
            <a:custGeom>
              <a:avLst/>
              <a:gdLst>
                <a:gd name="T0" fmla="*/ 588 w 688"/>
                <a:gd name="T1" fmla="*/ 532 h 532"/>
                <a:gd name="T2" fmla="*/ 588 w 688"/>
                <a:gd name="T3" fmla="*/ 532 h 532"/>
                <a:gd name="T4" fmla="*/ 688 w 688"/>
                <a:gd name="T5" fmla="*/ 189 h 532"/>
                <a:gd name="T6" fmla="*/ 688 w 688"/>
                <a:gd name="T7" fmla="*/ 189 h 532"/>
                <a:gd name="T8" fmla="*/ 0 w 688"/>
                <a:gd name="T9" fmla="*/ 58 h 532"/>
                <a:gd name="T10" fmla="*/ 220 w 688"/>
                <a:gd name="T11" fmla="*/ 450 h 532"/>
                <a:gd name="T12" fmla="*/ 588 w 688"/>
                <a:gd name="T13" fmla="*/ 532 h 532"/>
              </a:gdLst>
              <a:ahLst/>
              <a:cxnLst>
                <a:cxn ang="0">
                  <a:pos x="T0" y="T1"/>
                </a:cxn>
                <a:cxn ang="0">
                  <a:pos x="T2" y="T3"/>
                </a:cxn>
                <a:cxn ang="0">
                  <a:pos x="T4" y="T5"/>
                </a:cxn>
                <a:cxn ang="0">
                  <a:pos x="T6" y="T7"/>
                </a:cxn>
                <a:cxn ang="0">
                  <a:pos x="T8" y="T9"/>
                </a:cxn>
                <a:cxn ang="0">
                  <a:pos x="T10" y="T11"/>
                </a:cxn>
                <a:cxn ang="0">
                  <a:pos x="T12" y="T13"/>
                </a:cxn>
              </a:cxnLst>
              <a:rect l="0" t="0" r="r" b="b"/>
              <a:pathLst>
                <a:path w="688" h="532">
                  <a:moveTo>
                    <a:pt x="588" y="532"/>
                  </a:moveTo>
                  <a:cubicBezTo>
                    <a:pt x="588" y="532"/>
                    <a:pt x="588" y="532"/>
                    <a:pt x="588" y="532"/>
                  </a:cubicBezTo>
                  <a:cubicBezTo>
                    <a:pt x="688" y="189"/>
                    <a:pt x="688" y="189"/>
                    <a:pt x="688" y="189"/>
                  </a:cubicBezTo>
                  <a:cubicBezTo>
                    <a:pt x="688" y="189"/>
                    <a:pt x="688" y="189"/>
                    <a:pt x="688" y="189"/>
                  </a:cubicBezTo>
                  <a:cubicBezTo>
                    <a:pt x="435" y="16"/>
                    <a:pt x="201" y="0"/>
                    <a:pt x="0" y="58"/>
                  </a:cubicBezTo>
                  <a:cubicBezTo>
                    <a:pt x="220" y="450"/>
                    <a:pt x="220" y="450"/>
                    <a:pt x="220" y="450"/>
                  </a:cubicBezTo>
                  <a:cubicBezTo>
                    <a:pt x="336" y="424"/>
                    <a:pt x="459" y="445"/>
                    <a:pt x="588" y="532"/>
                  </a:cubicBezTo>
                  <a:close/>
                </a:path>
              </a:pathLst>
            </a:custGeom>
            <a:gradFill flip="none" rotWithShape="1">
              <a:gsLst>
                <a:gs pos="0">
                  <a:schemeClr val="accent1">
                    <a:lumMod val="51000"/>
                    <a:lumOff val="49000"/>
                  </a:schemeClr>
                </a:gs>
                <a:gs pos="100000">
                  <a:schemeClr val="accent1">
                    <a:lumMod val="95000"/>
                    <a:lumOff val="5000"/>
                  </a:schemeClr>
                </a:gs>
              </a:gsLst>
              <a:lin ang="2700000" scaled="1"/>
              <a:tileRect/>
            </a:gradFill>
            <a:ln w="51262"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armonyOS Sans SC"/>
                <a:cs typeface="+mn-cs"/>
              </a:endParaRPr>
            </a:p>
          </p:txBody>
        </p:sp>
        <p:sp>
          <p:nvSpPr>
            <p:cNvPr id="189" name="Freeform 24">
              <a:extLst>
                <a:ext uri="{FF2B5EF4-FFF2-40B4-BE49-F238E27FC236}">
                  <a16:creationId xmlns:a16="http://schemas.microsoft.com/office/drawing/2014/main" id="{40F38E07-D9FB-4FE1-9530-801FA665496C}"/>
                </a:ext>
              </a:extLst>
            </p:cNvPr>
            <p:cNvSpPr>
              <a:spLocks/>
            </p:cNvSpPr>
            <p:nvPr/>
          </p:nvSpPr>
          <p:spPr bwMode="auto">
            <a:xfrm rot="10800000">
              <a:off x="2208248" y="3684487"/>
              <a:ext cx="1053440" cy="315278"/>
            </a:xfrm>
            <a:custGeom>
              <a:avLst/>
              <a:gdLst>
                <a:gd name="T0" fmla="*/ 191 w 674"/>
                <a:gd name="T1" fmla="*/ 0 h 201"/>
                <a:gd name="T2" fmla="*/ 0 w 674"/>
                <a:gd name="T3" fmla="*/ 63 h 201"/>
                <a:gd name="T4" fmla="*/ 664 w 674"/>
                <a:gd name="T5" fmla="*/ 201 h 201"/>
                <a:gd name="T6" fmla="*/ 664 w 674"/>
                <a:gd name="T7" fmla="*/ 201 h 201"/>
                <a:gd name="T8" fmla="*/ 674 w 674"/>
                <a:gd name="T9" fmla="*/ 168 h 201"/>
                <a:gd name="T10" fmla="*/ 191 w 674"/>
                <a:gd name="T11" fmla="*/ 0 h 201"/>
              </a:gdLst>
              <a:ahLst/>
              <a:cxnLst>
                <a:cxn ang="0">
                  <a:pos x="T0" y="T1"/>
                </a:cxn>
                <a:cxn ang="0">
                  <a:pos x="T2" y="T3"/>
                </a:cxn>
                <a:cxn ang="0">
                  <a:pos x="T4" y="T5"/>
                </a:cxn>
                <a:cxn ang="0">
                  <a:pos x="T6" y="T7"/>
                </a:cxn>
                <a:cxn ang="0">
                  <a:pos x="T8" y="T9"/>
                </a:cxn>
                <a:cxn ang="0">
                  <a:pos x="T10" y="T11"/>
                </a:cxn>
              </a:cxnLst>
              <a:rect l="0" t="0" r="r" b="b"/>
              <a:pathLst>
                <a:path w="674" h="201">
                  <a:moveTo>
                    <a:pt x="191" y="0"/>
                  </a:moveTo>
                  <a:cubicBezTo>
                    <a:pt x="86" y="21"/>
                    <a:pt x="26" y="49"/>
                    <a:pt x="0" y="63"/>
                  </a:cubicBezTo>
                  <a:cubicBezTo>
                    <a:pt x="196" y="13"/>
                    <a:pt x="421" y="35"/>
                    <a:pt x="664" y="201"/>
                  </a:cubicBezTo>
                  <a:cubicBezTo>
                    <a:pt x="664" y="201"/>
                    <a:pt x="664" y="201"/>
                    <a:pt x="664" y="201"/>
                  </a:cubicBezTo>
                  <a:cubicBezTo>
                    <a:pt x="674" y="168"/>
                    <a:pt x="674" y="168"/>
                    <a:pt x="674" y="168"/>
                  </a:cubicBezTo>
                  <a:cubicBezTo>
                    <a:pt x="501" y="52"/>
                    <a:pt x="339" y="3"/>
                    <a:pt x="191" y="0"/>
                  </a:cubicBezTo>
                  <a:close/>
                </a:path>
              </a:pathLst>
            </a:custGeom>
            <a:gradFill flip="none" rotWithShape="1">
              <a:gsLst>
                <a:gs pos="100000">
                  <a:schemeClr val="accent1">
                    <a:lumMod val="91000"/>
                  </a:schemeClr>
                </a:gs>
                <a:gs pos="0">
                  <a:schemeClr val="accent1">
                    <a:lumMod val="87000"/>
                  </a:schemeClr>
                </a:gs>
              </a:gsLst>
              <a:lin ang="5400000" scaled="1"/>
              <a:tileRect/>
            </a:gradFill>
            <a:ln w="512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armonyOS Sans SC"/>
                <a:cs typeface="+mn-cs"/>
              </a:endParaRPr>
            </a:p>
          </p:txBody>
        </p:sp>
        <p:sp>
          <p:nvSpPr>
            <p:cNvPr id="190" name="Freeform 28">
              <a:extLst>
                <a:ext uri="{FF2B5EF4-FFF2-40B4-BE49-F238E27FC236}">
                  <a16:creationId xmlns:a16="http://schemas.microsoft.com/office/drawing/2014/main" id="{434F23BE-5D95-4903-8075-481C9F461637}"/>
                </a:ext>
              </a:extLst>
            </p:cNvPr>
            <p:cNvSpPr>
              <a:spLocks/>
            </p:cNvSpPr>
            <p:nvPr/>
          </p:nvSpPr>
          <p:spPr bwMode="auto">
            <a:xfrm rot="10800000">
              <a:off x="1898634" y="3684490"/>
              <a:ext cx="324716" cy="120825"/>
            </a:xfrm>
            <a:custGeom>
              <a:avLst/>
              <a:gdLst>
                <a:gd name="T0" fmla="*/ 10 w 207"/>
                <a:gd name="T1" fmla="*/ 44 h 77"/>
                <a:gd name="T2" fmla="*/ 10 w 207"/>
                <a:gd name="T3" fmla="*/ 44 h 77"/>
                <a:gd name="T4" fmla="*/ 0 w 207"/>
                <a:gd name="T5" fmla="*/ 77 h 77"/>
                <a:gd name="T6" fmla="*/ 207 w 207"/>
                <a:gd name="T7" fmla="*/ 22 h 77"/>
                <a:gd name="T8" fmla="*/ 159 w 207"/>
                <a:gd name="T9" fmla="*/ 0 h 77"/>
                <a:gd name="T10" fmla="*/ 10 w 207"/>
                <a:gd name="T11" fmla="*/ 44 h 77"/>
              </a:gdLst>
              <a:ahLst/>
              <a:cxnLst>
                <a:cxn ang="0">
                  <a:pos x="T0" y="T1"/>
                </a:cxn>
                <a:cxn ang="0">
                  <a:pos x="T2" y="T3"/>
                </a:cxn>
                <a:cxn ang="0">
                  <a:pos x="T4" y="T5"/>
                </a:cxn>
                <a:cxn ang="0">
                  <a:pos x="T6" y="T7"/>
                </a:cxn>
                <a:cxn ang="0">
                  <a:pos x="T8" y="T9"/>
                </a:cxn>
                <a:cxn ang="0">
                  <a:pos x="T10" y="T11"/>
                </a:cxn>
              </a:cxnLst>
              <a:rect l="0" t="0" r="r" b="b"/>
              <a:pathLst>
                <a:path w="207" h="77">
                  <a:moveTo>
                    <a:pt x="10" y="44"/>
                  </a:moveTo>
                  <a:cubicBezTo>
                    <a:pt x="10" y="44"/>
                    <a:pt x="10" y="44"/>
                    <a:pt x="10" y="44"/>
                  </a:cubicBezTo>
                  <a:cubicBezTo>
                    <a:pt x="0" y="77"/>
                    <a:pt x="0" y="77"/>
                    <a:pt x="0" y="77"/>
                  </a:cubicBezTo>
                  <a:cubicBezTo>
                    <a:pt x="207" y="22"/>
                    <a:pt x="207" y="22"/>
                    <a:pt x="207" y="22"/>
                  </a:cubicBezTo>
                  <a:cubicBezTo>
                    <a:pt x="159" y="0"/>
                    <a:pt x="159" y="0"/>
                    <a:pt x="159" y="0"/>
                  </a:cubicBezTo>
                  <a:lnTo>
                    <a:pt x="10" y="44"/>
                  </a:lnTo>
                  <a:close/>
                </a:path>
              </a:pathLst>
            </a:custGeom>
            <a:gradFill flip="none" rotWithShape="1">
              <a:gsLst>
                <a:gs pos="100000">
                  <a:schemeClr val="accent1">
                    <a:lumMod val="91000"/>
                  </a:schemeClr>
                </a:gs>
                <a:gs pos="0">
                  <a:schemeClr val="accent1">
                    <a:lumMod val="87000"/>
                  </a:schemeClr>
                </a:gs>
              </a:gsLst>
              <a:lin ang="5400000" scaled="1"/>
              <a:tileRect/>
            </a:gradFill>
            <a:ln w="512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armonyOS Sans SC"/>
                <a:cs typeface="+mn-cs"/>
              </a:endParaRPr>
            </a:p>
          </p:txBody>
        </p:sp>
        <p:sp>
          <p:nvSpPr>
            <p:cNvPr id="191" name="Freeform 9">
              <a:extLst>
                <a:ext uri="{FF2B5EF4-FFF2-40B4-BE49-F238E27FC236}">
                  <a16:creationId xmlns:a16="http://schemas.microsoft.com/office/drawing/2014/main" id="{AB017BEC-3751-45D3-AD69-862AB63D540B}"/>
                </a:ext>
              </a:extLst>
            </p:cNvPr>
            <p:cNvSpPr>
              <a:spLocks/>
            </p:cNvSpPr>
            <p:nvPr/>
          </p:nvSpPr>
          <p:spPr bwMode="auto">
            <a:xfrm rot="10800000">
              <a:off x="1551264" y="3737349"/>
              <a:ext cx="656985" cy="679640"/>
            </a:xfrm>
            <a:custGeom>
              <a:avLst/>
              <a:gdLst>
                <a:gd name="T0" fmla="*/ 102 w 420"/>
                <a:gd name="T1" fmla="*/ 84 h 435"/>
                <a:gd name="T2" fmla="*/ 0 w 420"/>
                <a:gd name="T3" fmla="*/ 435 h 435"/>
                <a:gd name="T4" fmla="*/ 0 w 420"/>
                <a:gd name="T5" fmla="*/ 435 h 435"/>
                <a:gd name="T6" fmla="*/ 222 w 420"/>
                <a:gd name="T7" fmla="*/ 369 h 435"/>
                <a:gd name="T8" fmla="*/ 420 w 420"/>
                <a:gd name="T9" fmla="*/ 0 h 435"/>
                <a:gd name="T10" fmla="*/ 102 w 420"/>
                <a:gd name="T11" fmla="*/ 84 h 435"/>
                <a:gd name="T12" fmla="*/ 102 w 420"/>
                <a:gd name="T13" fmla="*/ 84 h 435"/>
              </a:gdLst>
              <a:ahLst/>
              <a:cxnLst>
                <a:cxn ang="0">
                  <a:pos x="T0" y="T1"/>
                </a:cxn>
                <a:cxn ang="0">
                  <a:pos x="T2" y="T3"/>
                </a:cxn>
                <a:cxn ang="0">
                  <a:pos x="T4" y="T5"/>
                </a:cxn>
                <a:cxn ang="0">
                  <a:pos x="T6" y="T7"/>
                </a:cxn>
                <a:cxn ang="0">
                  <a:pos x="T8" y="T9"/>
                </a:cxn>
                <a:cxn ang="0">
                  <a:pos x="T10" y="T11"/>
                </a:cxn>
                <a:cxn ang="0">
                  <a:pos x="T12" y="T13"/>
                </a:cxn>
              </a:cxnLst>
              <a:rect l="0" t="0" r="r" b="b"/>
              <a:pathLst>
                <a:path w="420" h="435">
                  <a:moveTo>
                    <a:pt x="102" y="84"/>
                  </a:moveTo>
                  <a:cubicBezTo>
                    <a:pt x="0" y="435"/>
                    <a:pt x="0" y="435"/>
                    <a:pt x="0" y="435"/>
                  </a:cubicBezTo>
                  <a:cubicBezTo>
                    <a:pt x="0" y="435"/>
                    <a:pt x="0" y="435"/>
                    <a:pt x="0" y="435"/>
                  </a:cubicBezTo>
                  <a:cubicBezTo>
                    <a:pt x="222" y="369"/>
                    <a:pt x="222" y="369"/>
                    <a:pt x="222" y="369"/>
                  </a:cubicBezTo>
                  <a:cubicBezTo>
                    <a:pt x="420" y="0"/>
                    <a:pt x="420" y="0"/>
                    <a:pt x="420" y="0"/>
                  </a:cubicBezTo>
                  <a:cubicBezTo>
                    <a:pt x="102" y="84"/>
                    <a:pt x="102" y="84"/>
                    <a:pt x="102" y="84"/>
                  </a:cubicBezTo>
                  <a:cubicBezTo>
                    <a:pt x="102" y="84"/>
                    <a:pt x="102" y="84"/>
                    <a:pt x="102" y="84"/>
                  </a:cubicBezTo>
                  <a:close/>
                </a:path>
              </a:pathLst>
            </a:custGeom>
            <a:gradFill flip="none" rotWithShape="1">
              <a:gsLst>
                <a:gs pos="0">
                  <a:schemeClr val="accent1">
                    <a:lumMod val="71000"/>
                    <a:lumOff val="29000"/>
                  </a:schemeClr>
                </a:gs>
                <a:gs pos="63000">
                  <a:schemeClr val="accent1"/>
                </a:gs>
              </a:gsLst>
              <a:lin ang="7200000" scaled="0"/>
              <a:tileRect/>
            </a:gradFill>
            <a:ln w="1270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armonyOS Sans SC"/>
                <a:cs typeface="+mn-cs"/>
              </a:endParaRPr>
            </a:p>
          </p:txBody>
        </p:sp>
        <p:sp>
          <p:nvSpPr>
            <p:cNvPr id="192" name="Freeform 11">
              <a:extLst>
                <a:ext uri="{FF2B5EF4-FFF2-40B4-BE49-F238E27FC236}">
                  <a16:creationId xmlns:a16="http://schemas.microsoft.com/office/drawing/2014/main" id="{35B3E4CC-E869-467B-AEB2-FB0DF4B98A15}"/>
                </a:ext>
              </a:extLst>
            </p:cNvPr>
            <p:cNvSpPr>
              <a:spLocks/>
            </p:cNvSpPr>
            <p:nvPr/>
          </p:nvSpPr>
          <p:spPr bwMode="auto">
            <a:xfrm rot="10800000">
              <a:off x="2047778" y="3737349"/>
              <a:ext cx="1621695" cy="955271"/>
            </a:xfrm>
            <a:custGeom>
              <a:avLst/>
              <a:gdLst>
                <a:gd name="T0" fmla="*/ 935 w 1037"/>
                <a:gd name="T1" fmla="*/ 612 h 612"/>
                <a:gd name="T2" fmla="*/ 1037 w 1037"/>
                <a:gd name="T3" fmla="*/ 261 h 612"/>
                <a:gd name="T4" fmla="*/ 0 w 1037"/>
                <a:gd name="T5" fmla="*/ 94 h 612"/>
                <a:gd name="T6" fmla="*/ 215 w 1037"/>
                <a:gd name="T7" fmla="*/ 476 h 612"/>
                <a:gd name="T8" fmla="*/ 935 w 1037"/>
                <a:gd name="T9" fmla="*/ 612 h 612"/>
              </a:gdLst>
              <a:ahLst/>
              <a:cxnLst>
                <a:cxn ang="0">
                  <a:pos x="T0" y="T1"/>
                </a:cxn>
                <a:cxn ang="0">
                  <a:pos x="T2" y="T3"/>
                </a:cxn>
                <a:cxn ang="0">
                  <a:pos x="T4" y="T5"/>
                </a:cxn>
                <a:cxn ang="0">
                  <a:pos x="T6" y="T7"/>
                </a:cxn>
                <a:cxn ang="0">
                  <a:pos x="T8" y="T9"/>
                </a:cxn>
              </a:cxnLst>
              <a:rect l="0" t="0" r="r" b="b"/>
              <a:pathLst>
                <a:path w="1037" h="612">
                  <a:moveTo>
                    <a:pt x="935" y="612"/>
                  </a:moveTo>
                  <a:cubicBezTo>
                    <a:pt x="1037" y="261"/>
                    <a:pt x="1037" y="261"/>
                    <a:pt x="1037" y="261"/>
                  </a:cubicBezTo>
                  <a:cubicBezTo>
                    <a:pt x="594" y="0"/>
                    <a:pt x="242" y="13"/>
                    <a:pt x="0" y="94"/>
                  </a:cubicBezTo>
                  <a:cubicBezTo>
                    <a:pt x="215" y="476"/>
                    <a:pt x="215" y="476"/>
                    <a:pt x="215" y="476"/>
                  </a:cubicBezTo>
                  <a:cubicBezTo>
                    <a:pt x="421" y="414"/>
                    <a:pt x="665" y="430"/>
                    <a:pt x="935" y="612"/>
                  </a:cubicBezTo>
                  <a:close/>
                </a:path>
              </a:pathLst>
            </a:custGeom>
            <a:gradFill flip="none" rotWithShape="1">
              <a:gsLst>
                <a:gs pos="0">
                  <a:schemeClr val="accent1">
                    <a:lumMod val="49000"/>
                    <a:lumOff val="51000"/>
                  </a:schemeClr>
                </a:gs>
                <a:gs pos="63000">
                  <a:schemeClr val="accent1">
                    <a:lumMod val="78000"/>
                    <a:lumOff val="22000"/>
                  </a:schemeClr>
                </a:gs>
              </a:gsLst>
              <a:lin ang="5400000" scaled="1"/>
              <a:tileRect/>
            </a:gradFill>
            <a:ln w="1270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armonyOS Sans SC"/>
                <a:cs typeface="+mn-cs"/>
              </a:endParaRPr>
            </a:p>
          </p:txBody>
        </p:sp>
        <p:sp>
          <p:nvSpPr>
            <p:cNvPr id="193" name="Freeform 23">
              <a:extLst>
                <a:ext uri="{FF2B5EF4-FFF2-40B4-BE49-F238E27FC236}">
                  <a16:creationId xmlns:a16="http://schemas.microsoft.com/office/drawing/2014/main" id="{AFC9DB19-6F0A-44C3-980E-866FD4454EBD}"/>
                </a:ext>
              </a:extLst>
            </p:cNvPr>
            <p:cNvSpPr>
              <a:spLocks/>
            </p:cNvSpPr>
            <p:nvPr/>
          </p:nvSpPr>
          <p:spPr bwMode="auto">
            <a:xfrm rot="10800000">
              <a:off x="2032675" y="4284835"/>
              <a:ext cx="1597153" cy="420999"/>
            </a:xfrm>
            <a:custGeom>
              <a:avLst/>
              <a:gdLst>
                <a:gd name="T0" fmla="*/ 222 w 1022"/>
                <a:gd name="T1" fmla="*/ 15 h 269"/>
                <a:gd name="T2" fmla="*/ 0 w 1022"/>
                <a:gd name="T3" fmla="*/ 94 h 269"/>
                <a:gd name="T4" fmla="*/ 1012 w 1022"/>
                <a:gd name="T5" fmla="*/ 269 h 269"/>
                <a:gd name="T6" fmla="*/ 1022 w 1022"/>
                <a:gd name="T7" fmla="*/ 236 h 269"/>
                <a:gd name="T8" fmla="*/ 222 w 1022"/>
                <a:gd name="T9" fmla="*/ 15 h 269"/>
              </a:gdLst>
              <a:ahLst/>
              <a:cxnLst>
                <a:cxn ang="0">
                  <a:pos x="T0" y="T1"/>
                </a:cxn>
                <a:cxn ang="0">
                  <a:pos x="T2" y="T3"/>
                </a:cxn>
                <a:cxn ang="0">
                  <a:pos x="T4" y="T5"/>
                </a:cxn>
                <a:cxn ang="0">
                  <a:pos x="T6" y="T7"/>
                </a:cxn>
                <a:cxn ang="0">
                  <a:pos x="T8" y="T9"/>
                </a:cxn>
              </a:cxnLst>
              <a:rect l="0" t="0" r="r" b="b"/>
              <a:pathLst>
                <a:path w="1022" h="269">
                  <a:moveTo>
                    <a:pt x="222" y="15"/>
                  </a:moveTo>
                  <a:cubicBezTo>
                    <a:pt x="119" y="42"/>
                    <a:pt x="41" y="75"/>
                    <a:pt x="0" y="94"/>
                  </a:cubicBezTo>
                  <a:cubicBezTo>
                    <a:pt x="241" y="21"/>
                    <a:pt x="584" y="17"/>
                    <a:pt x="1012" y="269"/>
                  </a:cubicBezTo>
                  <a:cubicBezTo>
                    <a:pt x="1022" y="236"/>
                    <a:pt x="1022" y="236"/>
                    <a:pt x="1022" y="236"/>
                  </a:cubicBezTo>
                  <a:cubicBezTo>
                    <a:pt x="708" y="49"/>
                    <a:pt x="438" y="0"/>
                    <a:pt x="222" y="15"/>
                  </a:cubicBezTo>
                  <a:close/>
                </a:path>
              </a:pathLst>
            </a:custGeom>
            <a:gradFill flip="none" rotWithShape="1">
              <a:gsLst>
                <a:gs pos="100000">
                  <a:schemeClr val="accent1">
                    <a:lumMod val="91000"/>
                  </a:schemeClr>
                </a:gs>
                <a:gs pos="0">
                  <a:schemeClr val="accent1">
                    <a:lumMod val="87000"/>
                  </a:schemeClr>
                </a:gs>
              </a:gsLst>
              <a:lin ang="5400000" scaled="1"/>
              <a:tileRect/>
            </a:gradFill>
            <a:ln w="512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armonyOS Sans SC"/>
                <a:cs typeface="+mn-cs"/>
              </a:endParaRPr>
            </a:p>
          </p:txBody>
        </p:sp>
        <p:sp>
          <p:nvSpPr>
            <p:cNvPr id="194" name="Freeform 27">
              <a:extLst>
                <a:ext uri="{FF2B5EF4-FFF2-40B4-BE49-F238E27FC236}">
                  <a16:creationId xmlns:a16="http://schemas.microsoft.com/office/drawing/2014/main" id="{76887446-0605-4059-AB33-D21C59A81F45}"/>
                </a:ext>
              </a:extLst>
            </p:cNvPr>
            <p:cNvSpPr>
              <a:spLocks/>
            </p:cNvSpPr>
            <p:nvPr/>
          </p:nvSpPr>
          <p:spPr bwMode="auto">
            <a:xfrm rot="10800000">
              <a:off x="1551264" y="4284835"/>
              <a:ext cx="496515" cy="171798"/>
            </a:xfrm>
            <a:custGeom>
              <a:avLst/>
              <a:gdLst>
                <a:gd name="T0" fmla="*/ 10 w 318"/>
                <a:gd name="T1" fmla="*/ 77 h 110"/>
                <a:gd name="T2" fmla="*/ 10 w 318"/>
                <a:gd name="T3" fmla="*/ 77 h 110"/>
                <a:gd name="T4" fmla="*/ 0 w 318"/>
                <a:gd name="T5" fmla="*/ 110 h 110"/>
                <a:gd name="T6" fmla="*/ 0 w 318"/>
                <a:gd name="T7" fmla="*/ 110 h 110"/>
                <a:gd name="T8" fmla="*/ 318 w 318"/>
                <a:gd name="T9" fmla="*/ 26 h 110"/>
                <a:gd name="T10" fmla="*/ 268 w 318"/>
                <a:gd name="T11" fmla="*/ 0 h 110"/>
                <a:gd name="T12" fmla="*/ 10 w 318"/>
                <a:gd name="T13" fmla="*/ 77 h 110"/>
              </a:gdLst>
              <a:ahLst/>
              <a:cxnLst>
                <a:cxn ang="0">
                  <a:pos x="T0" y="T1"/>
                </a:cxn>
                <a:cxn ang="0">
                  <a:pos x="T2" y="T3"/>
                </a:cxn>
                <a:cxn ang="0">
                  <a:pos x="T4" y="T5"/>
                </a:cxn>
                <a:cxn ang="0">
                  <a:pos x="T6" y="T7"/>
                </a:cxn>
                <a:cxn ang="0">
                  <a:pos x="T8" y="T9"/>
                </a:cxn>
                <a:cxn ang="0">
                  <a:pos x="T10" y="T11"/>
                </a:cxn>
                <a:cxn ang="0">
                  <a:pos x="T12" y="T13"/>
                </a:cxn>
              </a:cxnLst>
              <a:rect l="0" t="0" r="r" b="b"/>
              <a:pathLst>
                <a:path w="318" h="110">
                  <a:moveTo>
                    <a:pt x="10" y="77"/>
                  </a:moveTo>
                  <a:cubicBezTo>
                    <a:pt x="10" y="77"/>
                    <a:pt x="10" y="77"/>
                    <a:pt x="10" y="77"/>
                  </a:cubicBezTo>
                  <a:cubicBezTo>
                    <a:pt x="0" y="110"/>
                    <a:pt x="0" y="110"/>
                    <a:pt x="0" y="110"/>
                  </a:cubicBezTo>
                  <a:cubicBezTo>
                    <a:pt x="0" y="110"/>
                    <a:pt x="0" y="110"/>
                    <a:pt x="0" y="110"/>
                  </a:cubicBezTo>
                  <a:cubicBezTo>
                    <a:pt x="318" y="26"/>
                    <a:pt x="318" y="26"/>
                    <a:pt x="318" y="26"/>
                  </a:cubicBezTo>
                  <a:cubicBezTo>
                    <a:pt x="268" y="0"/>
                    <a:pt x="268" y="0"/>
                    <a:pt x="268" y="0"/>
                  </a:cubicBezTo>
                  <a:lnTo>
                    <a:pt x="10" y="77"/>
                  </a:lnTo>
                  <a:close/>
                </a:path>
              </a:pathLst>
            </a:custGeom>
            <a:gradFill flip="none" rotWithShape="1">
              <a:gsLst>
                <a:gs pos="100000">
                  <a:schemeClr val="accent1">
                    <a:lumMod val="91000"/>
                  </a:schemeClr>
                </a:gs>
                <a:gs pos="0">
                  <a:schemeClr val="accent1">
                    <a:lumMod val="87000"/>
                  </a:schemeClr>
                </a:gs>
              </a:gsLst>
              <a:lin ang="5400000" scaled="1"/>
              <a:tileRect/>
            </a:gradFill>
            <a:ln w="512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armonyOS Sans SC"/>
                <a:cs typeface="+mn-cs"/>
              </a:endParaRPr>
            </a:p>
          </p:txBody>
        </p:sp>
        <p:sp>
          <p:nvSpPr>
            <p:cNvPr id="195" name="Freeform 10">
              <a:extLst>
                <a:ext uri="{FF2B5EF4-FFF2-40B4-BE49-F238E27FC236}">
                  <a16:creationId xmlns:a16="http://schemas.microsoft.com/office/drawing/2014/main" id="{D66BC3DF-DC9E-4A3F-A782-951E299D9080}"/>
                </a:ext>
              </a:extLst>
            </p:cNvPr>
            <p:cNvSpPr>
              <a:spLocks/>
            </p:cNvSpPr>
            <p:nvPr/>
          </p:nvSpPr>
          <p:spPr bwMode="auto">
            <a:xfrm rot="10800000">
              <a:off x="1205782" y="4337698"/>
              <a:ext cx="826894" cy="717397"/>
            </a:xfrm>
            <a:custGeom>
              <a:avLst/>
              <a:gdLst>
                <a:gd name="T0" fmla="*/ 101 w 528"/>
                <a:gd name="T1" fmla="*/ 113 h 459"/>
                <a:gd name="T2" fmla="*/ 0 w 528"/>
                <a:gd name="T3" fmla="*/ 459 h 459"/>
                <a:gd name="T4" fmla="*/ 0 w 528"/>
                <a:gd name="T5" fmla="*/ 459 h 459"/>
                <a:gd name="T6" fmla="*/ 335 w 528"/>
                <a:gd name="T7" fmla="*/ 359 h 459"/>
                <a:gd name="T8" fmla="*/ 528 w 528"/>
                <a:gd name="T9" fmla="*/ 0 h 459"/>
                <a:gd name="T10" fmla="*/ 101 w 528"/>
                <a:gd name="T11" fmla="*/ 113 h 459"/>
                <a:gd name="T12" fmla="*/ 101 w 528"/>
                <a:gd name="T13" fmla="*/ 113 h 459"/>
              </a:gdLst>
              <a:ahLst/>
              <a:cxnLst>
                <a:cxn ang="0">
                  <a:pos x="T0" y="T1"/>
                </a:cxn>
                <a:cxn ang="0">
                  <a:pos x="T2" y="T3"/>
                </a:cxn>
                <a:cxn ang="0">
                  <a:pos x="T4" y="T5"/>
                </a:cxn>
                <a:cxn ang="0">
                  <a:pos x="T6" y="T7"/>
                </a:cxn>
                <a:cxn ang="0">
                  <a:pos x="T8" y="T9"/>
                </a:cxn>
                <a:cxn ang="0">
                  <a:pos x="T10" y="T11"/>
                </a:cxn>
                <a:cxn ang="0">
                  <a:pos x="T12" y="T13"/>
                </a:cxn>
              </a:cxnLst>
              <a:rect l="0" t="0" r="r" b="b"/>
              <a:pathLst>
                <a:path w="528" h="459">
                  <a:moveTo>
                    <a:pt x="101" y="113"/>
                  </a:moveTo>
                  <a:cubicBezTo>
                    <a:pt x="0" y="459"/>
                    <a:pt x="0" y="459"/>
                    <a:pt x="0" y="459"/>
                  </a:cubicBezTo>
                  <a:cubicBezTo>
                    <a:pt x="0" y="459"/>
                    <a:pt x="0" y="459"/>
                    <a:pt x="0" y="459"/>
                  </a:cubicBezTo>
                  <a:cubicBezTo>
                    <a:pt x="335" y="359"/>
                    <a:pt x="335" y="359"/>
                    <a:pt x="335" y="359"/>
                  </a:cubicBezTo>
                  <a:cubicBezTo>
                    <a:pt x="528" y="0"/>
                    <a:pt x="528" y="0"/>
                    <a:pt x="528" y="0"/>
                  </a:cubicBezTo>
                  <a:cubicBezTo>
                    <a:pt x="101" y="113"/>
                    <a:pt x="101" y="113"/>
                    <a:pt x="101" y="113"/>
                  </a:cubicBezTo>
                  <a:cubicBezTo>
                    <a:pt x="101" y="113"/>
                    <a:pt x="101" y="113"/>
                    <a:pt x="101" y="113"/>
                  </a:cubicBezTo>
                  <a:close/>
                </a:path>
              </a:pathLst>
            </a:custGeom>
            <a:gradFill flip="none" rotWithShape="1">
              <a:gsLst>
                <a:gs pos="0">
                  <a:schemeClr val="accent1">
                    <a:lumMod val="74000"/>
                    <a:lumOff val="26000"/>
                  </a:schemeClr>
                </a:gs>
                <a:gs pos="63000">
                  <a:schemeClr val="accent1">
                    <a:lumMod val="93000"/>
                  </a:schemeClr>
                </a:gs>
              </a:gsLst>
              <a:lin ang="7200000" scaled="0"/>
              <a:tileRect/>
            </a:gradFill>
            <a:ln w="1270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armonyOS Sans SC"/>
                <a:cs typeface="+mn-cs"/>
              </a:endParaRPr>
            </a:p>
          </p:txBody>
        </p:sp>
        <p:sp>
          <p:nvSpPr>
            <p:cNvPr id="196" name="Freeform 13">
              <a:extLst>
                <a:ext uri="{FF2B5EF4-FFF2-40B4-BE49-F238E27FC236}">
                  <a16:creationId xmlns:a16="http://schemas.microsoft.com/office/drawing/2014/main" id="{737EC2B2-F8BA-4C8E-9C98-9999EE525A4F}"/>
                </a:ext>
              </a:extLst>
            </p:cNvPr>
            <p:cNvSpPr>
              <a:spLocks/>
            </p:cNvSpPr>
            <p:nvPr/>
          </p:nvSpPr>
          <p:spPr bwMode="auto">
            <a:xfrm rot="10800000">
              <a:off x="1874094" y="4337698"/>
              <a:ext cx="2152190" cy="1166713"/>
            </a:xfrm>
            <a:custGeom>
              <a:avLst/>
              <a:gdLst>
                <a:gd name="T0" fmla="*/ 1275 w 1376"/>
                <a:gd name="T1" fmla="*/ 747 h 747"/>
                <a:gd name="T2" fmla="*/ 1376 w 1376"/>
                <a:gd name="T3" fmla="*/ 401 h 747"/>
                <a:gd name="T4" fmla="*/ 0 w 1376"/>
                <a:gd name="T5" fmla="*/ 208 h 747"/>
                <a:gd name="T6" fmla="*/ 210 w 1376"/>
                <a:gd name="T7" fmla="*/ 580 h 747"/>
                <a:gd name="T8" fmla="*/ 1275 w 1376"/>
                <a:gd name="T9" fmla="*/ 747 h 747"/>
              </a:gdLst>
              <a:ahLst/>
              <a:cxnLst>
                <a:cxn ang="0">
                  <a:pos x="T0" y="T1"/>
                </a:cxn>
                <a:cxn ang="0">
                  <a:pos x="T2" y="T3"/>
                </a:cxn>
                <a:cxn ang="0">
                  <a:pos x="T4" y="T5"/>
                </a:cxn>
                <a:cxn ang="0">
                  <a:pos x="T6" y="T7"/>
                </a:cxn>
                <a:cxn ang="0">
                  <a:pos x="T8" y="T9"/>
                </a:cxn>
              </a:cxnLst>
              <a:rect l="0" t="0" r="r" b="b"/>
              <a:pathLst>
                <a:path w="1376" h="747">
                  <a:moveTo>
                    <a:pt x="1275" y="747"/>
                  </a:moveTo>
                  <a:cubicBezTo>
                    <a:pt x="1376" y="401"/>
                    <a:pt x="1376" y="401"/>
                    <a:pt x="1376" y="401"/>
                  </a:cubicBezTo>
                  <a:cubicBezTo>
                    <a:pt x="646" y="0"/>
                    <a:pt x="142" y="150"/>
                    <a:pt x="0" y="208"/>
                  </a:cubicBezTo>
                  <a:cubicBezTo>
                    <a:pt x="210" y="580"/>
                    <a:pt x="210" y="580"/>
                    <a:pt x="210" y="580"/>
                  </a:cubicBezTo>
                  <a:cubicBezTo>
                    <a:pt x="453" y="495"/>
                    <a:pt x="816" y="474"/>
                    <a:pt x="1275" y="747"/>
                  </a:cubicBezTo>
                  <a:close/>
                </a:path>
              </a:pathLst>
            </a:custGeom>
            <a:gradFill flip="none" rotWithShape="1">
              <a:gsLst>
                <a:gs pos="0">
                  <a:schemeClr val="accent1">
                    <a:lumMod val="59000"/>
                    <a:lumOff val="41000"/>
                  </a:schemeClr>
                </a:gs>
                <a:gs pos="63000">
                  <a:schemeClr val="accent1">
                    <a:lumMod val="92000"/>
                    <a:lumOff val="8000"/>
                  </a:schemeClr>
                </a:gs>
              </a:gsLst>
              <a:lin ang="5400000" scaled="1"/>
              <a:tileRect/>
            </a:gradFill>
            <a:ln w="1270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armonyOS Sans SC"/>
                <a:cs typeface="+mn-cs"/>
              </a:endParaRPr>
            </a:p>
          </p:txBody>
        </p:sp>
        <p:sp>
          <p:nvSpPr>
            <p:cNvPr id="197" name="Freeform 22">
              <a:extLst>
                <a:ext uri="{FF2B5EF4-FFF2-40B4-BE49-F238E27FC236}">
                  <a16:creationId xmlns:a16="http://schemas.microsoft.com/office/drawing/2014/main" id="{94201FBB-4217-41CA-90DF-82618F4D922F}"/>
                </a:ext>
              </a:extLst>
            </p:cNvPr>
            <p:cNvSpPr>
              <a:spLocks/>
            </p:cNvSpPr>
            <p:nvPr/>
          </p:nvSpPr>
          <p:spPr bwMode="auto">
            <a:xfrm rot="10800000">
              <a:off x="1860877" y="4877633"/>
              <a:ext cx="2152190" cy="615450"/>
            </a:xfrm>
            <a:custGeom>
              <a:avLst/>
              <a:gdLst>
                <a:gd name="T0" fmla="*/ 208 w 1377"/>
                <a:gd name="T1" fmla="*/ 102 h 394"/>
                <a:gd name="T2" fmla="*/ 0 w 1377"/>
                <a:gd name="T3" fmla="*/ 198 h 394"/>
                <a:gd name="T4" fmla="*/ 1368 w 1377"/>
                <a:gd name="T5" fmla="*/ 394 h 394"/>
                <a:gd name="T6" fmla="*/ 1377 w 1377"/>
                <a:gd name="T7" fmla="*/ 361 h 394"/>
                <a:gd name="T8" fmla="*/ 208 w 1377"/>
                <a:gd name="T9" fmla="*/ 102 h 394"/>
              </a:gdLst>
              <a:ahLst/>
              <a:cxnLst>
                <a:cxn ang="0">
                  <a:pos x="T0" y="T1"/>
                </a:cxn>
                <a:cxn ang="0">
                  <a:pos x="T2" y="T3"/>
                </a:cxn>
                <a:cxn ang="0">
                  <a:pos x="T4" y="T5"/>
                </a:cxn>
                <a:cxn ang="0">
                  <a:pos x="T6" y="T7"/>
                </a:cxn>
                <a:cxn ang="0">
                  <a:pos x="T8" y="T9"/>
                </a:cxn>
              </a:cxnLst>
              <a:rect l="0" t="0" r="r" b="b"/>
              <a:pathLst>
                <a:path w="1377" h="394">
                  <a:moveTo>
                    <a:pt x="208" y="102"/>
                  </a:moveTo>
                  <a:cubicBezTo>
                    <a:pt x="109" y="137"/>
                    <a:pt x="27" y="182"/>
                    <a:pt x="0" y="198"/>
                  </a:cubicBezTo>
                  <a:cubicBezTo>
                    <a:pt x="151" y="138"/>
                    <a:pt x="650" y="0"/>
                    <a:pt x="1368" y="394"/>
                  </a:cubicBezTo>
                  <a:cubicBezTo>
                    <a:pt x="1377" y="361"/>
                    <a:pt x="1377" y="361"/>
                    <a:pt x="1377" y="361"/>
                  </a:cubicBezTo>
                  <a:cubicBezTo>
                    <a:pt x="880" y="71"/>
                    <a:pt x="459" y="64"/>
                    <a:pt x="208" y="102"/>
                  </a:cubicBezTo>
                  <a:close/>
                </a:path>
              </a:pathLst>
            </a:custGeom>
            <a:gradFill flip="none" rotWithShape="1">
              <a:gsLst>
                <a:gs pos="100000">
                  <a:schemeClr val="accent1">
                    <a:lumMod val="91000"/>
                  </a:schemeClr>
                </a:gs>
                <a:gs pos="0">
                  <a:schemeClr val="accent1">
                    <a:lumMod val="87000"/>
                  </a:schemeClr>
                </a:gs>
              </a:gsLst>
              <a:lin ang="5400000" scaled="1"/>
              <a:tileRect/>
            </a:gradFill>
            <a:ln w="512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armonyOS Sans SC"/>
                <a:cs typeface="+mn-cs"/>
              </a:endParaRPr>
            </a:p>
          </p:txBody>
        </p:sp>
        <p:sp>
          <p:nvSpPr>
            <p:cNvPr id="198" name="Freeform 26">
              <a:extLst>
                <a:ext uri="{FF2B5EF4-FFF2-40B4-BE49-F238E27FC236}">
                  <a16:creationId xmlns:a16="http://schemas.microsoft.com/office/drawing/2014/main" id="{D4020BB9-5A61-4C41-A57C-9C0E41C5932C}"/>
                </a:ext>
              </a:extLst>
            </p:cNvPr>
            <p:cNvSpPr>
              <a:spLocks/>
            </p:cNvSpPr>
            <p:nvPr/>
          </p:nvSpPr>
          <p:spPr bwMode="auto">
            <a:xfrm rot="10800000">
              <a:off x="1207669" y="4877632"/>
              <a:ext cx="666424" cy="224659"/>
            </a:xfrm>
            <a:custGeom>
              <a:avLst/>
              <a:gdLst>
                <a:gd name="T0" fmla="*/ 10 w 426"/>
                <a:gd name="T1" fmla="*/ 111 h 144"/>
                <a:gd name="T2" fmla="*/ 9 w 426"/>
                <a:gd name="T3" fmla="*/ 111 h 144"/>
                <a:gd name="T4" fmla="*/ 0 w 426"/>
                <a:gd name="T5" fmla="*/ 144 h 144"/>
                <a:gd name="T6" fmla="*/ 0 w 426"/>
                <a:gd name="T7" fmla="*/ 144 h 144"/>
                <a:gd name="T8" fmla="*/ 426 w 426"/>
                <a:gd name="T9" fmla="*/ 31 h 144"/>
                <a:gd name="T10" fmla="*/ 379 w 426"/>
                <a:gd name="T11" fmla="*/ 0 h 144"/>
                <a:gd name="T12" fmla="*/ 10 w 426"/>
                <a:gd name="T13" fmla="*/ 111 h 144"/>
              </a:gdLst>
              <a:ahLst/>
              <a:cxnLst>
                <a:cxn ang="0">
                  <a:pos x="T0" y="T1"/>
                </a:cxn>
                <a:cxn ang="0">
                  <a:pos x="T2" y="T3"/>
                </a:cxn>
                <a:cxn ang="0">
                  <a:pos x="T4" y="T5"/>
                </a:cxn>
                <a:cxn ang="0">
                  <a:pos x="T6" y="T7"/>
                </a:cxn>
                <a:cxn ang="0">
                  <a:pos x="T8" y="T9"/>
                </a:cxn>
                <a:cxn ang="0">
                  <a:pos x="T10" y="T11"/>
                </a:cxn>
                <a:cxn ang="0">
                  <a:pos x="T12" y="T13"/>
                </a:cxn>
              </a:cxnLst>
              <a:rect l="0" t="0" r="r" b="b"/>
              <a:pathLst>
                <a:path w="426" h="144">
                  <a:moveTo>
                    <a:pt x="10" y="111"/>
                  </a:moveTo>
                  <a:cubicBezTo>
                    <a:pt x="9" y="111"/>
                    <a:pt x="9" y="111"/>
                    <a:pt x="9" y="111"/>
                  </a:cubicBezTo>
                  <a:cubicBezTo>
                    <a:pt x="0" y="144"/>
                    <a:pt x="0" y="144"/>
                    <a:pt x="0" y="144"/>
                  </a:cubicBezTo>
                  <a:cubicBezTo>
                    <a:pt x="0" y="144"/>
                    <a:pt x="0" y="144"/>
                    <a:pt x="0" y="144"/>
                  </a:cubicBezTo>
                  <a:cubicBezTo>
                    <a:pt x="426" y="31"/>
                    <a:pt x="426" y="31"/>
                    <a:pt x="426" y="31"/>
                  </a:cubicBezTo>
                  <a:cubicBezTo>
                    <a:pt x="379" y="0"/>
                    <a:pt x="379" y="0"/>
                    <a:pt x="379" y="0"/>
                  </a:cubicBezTo>
                  <a:lnTo>
                    <a:pt x="10" y="111"/>
                  </a:lnTo>
                  <a:close/>
                </a:path>
              </a:pathLst>
            </a:custGeom>
            <a:gradFill flip="none" rotWithShape="1">
              <a:gsLst>
                <a:gs pos="100000">
                  <a:schemeClr val="accent1">
                    <a:lumMod val="91000"/>
                  </a:schemeClr>
                </a:gs>
                <a:gs pos="0">
                  <a:schemeClr val="accent1">
                    <a:lumMod val="87000"/>
                  </a:schemeClr>
                </a:gs>
              </a:gsLst>
              <a:lin ang="5400000" scaled="1"/>
              <a:tileRect/>
            </a:gradFill>
            <a:ln w="5126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armonyOS Sans SC"/>
                <a:cs typeface="+mn-cs"/>
              </a:endParaRPr>
            </a:p>
          </p:txBody>
        </p:sp>
      </p:grpSp>
    </p:spTree>
    <p:extLst>
      <p:ext uri="{BB962C8B-B14F-4D97-AF65-F5344CB8AC3E}">
        <p14:creationId xmlns:p14="http://schemas.microsoft.com/office/powerpoint/2010/main" val="842944072"/>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4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Straight Connector 26">
            <a:extLst>
              <a:ext uri="{FF2B5EF4-FFF2-40B4-BE49-F238E27FC236}">
                <a16:creationId xmlns:a16="http://schemas.microsoft.com/office/drawing/2014/main" id="{AACA7D3D-E9F2-4955-B1C5-B4D22CF448EC}"/>
              </a:ext>
            </a:extLst>
          </p:cNvPr>
          <p:cNvCxnSpPr>
            <a:cxnSpLocks/>
          </p:cNvCxnSpPr>
          <p:nvPr/>
        </p:nvCxnSpPr>
        <p:spPr>
          <a:xfrm>
            <a:off x="1080617" y="3032553"/>
            <a:ext cx="0" cy="203479"/>
          </a:xfrm>
          <a:prstGeom prst="line">
            <a:avLst/>
          </a:prstGeom>
          <a:ln w="508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 name="Straight Connector 27">
            <a:extLst>
              <a:ext uri="{FF2B5EF4-FFF2-40B4-BE49-F238E27FC236}">
                <a16:creationId xmlns:a16="http://schemas.microsoft.com/office/drawing/2014/main" id="{408659BD-C25E-43D6-8860-6043D72215E4}"/>
              </a:ext>
            </a:extLst>
          </p:cNvPr>
          <p:cNvCxnSpPr>
            <a:cxnSpLocks/>
          </p:cNvCxnSpPr>
          <p:nvPr/>
        </p:nvCxnSpPr>
        <p:spPr>
          <a:xfrm>
            <a:off x="1080617" y="4555771"/>
            <a:ext cx="0" cy="203479"/>
          </a:xfrm>
          <a:prstGeom prst="line">
            <a:avLst/>
          </a:prstGeom>
          <a:ln w="50800">
            <a:solidFill>
              <a:schemeClr val="accent1"/>
            </a:solidFill>
          </a:ln>
        </p:spPr>
        <p:style>
          <a:lnRef idx="1">
            <a:schemeClr val="accent1"/>
          </a:lnRef>
          <a:fillRef idx="0">
            <a:schemeClr val="accent1"/>
          </a:fillRef>
          <a:effectRef idx="0">
            <a:schemeClr val="accent1"/>
          </a:effectRef>
          <a:fontRef idx="minor">
            <a:schemeClr val="tx1"/>
          </a:fontRef>
        </p:style>
      </p:cxnSp>
      <p:sp>
        <p:nvSpPr>
          <p:cNvPr id="6" name="Arrow: Right 17">
            <a:extLst>
              <a:ext uri="{FF2B5EF4-FFF2-40B4-BE49-F238E27FC236}">
                <a16:creationId xmlns:a16="http://schemas.microsoft.com/office/drawing/2014/main" id="{1E1CC406-56C7-4003-B431-7747DB282C18}"/>
              </a:ext>
            </a:extLst>
          </p:cNvPr>
          <p:cNvSpPr/>
          <p:nvPr/>
        </p:nvSpPr>
        <p:spPr>
          <a:xfrm>
            <a:off x="6981902" y="3533433"/>
            <a:ext cx="4409601" cy="2451420"/>
          </a:xfrm>
          <a:prstGeom prst="rightArrow">
            <a:avLst>
              <a:gd name="adj1" fmla="val 50000"/>
              <a:gd name="adj2" fmla="val 55396"/>
            </a:avLst>
          </a:prstGeom>
          <a:gradFill flip="none" rotWithShape="1">
            <a:gsLst>
              <a:gs pos="73000">
                <a:schemeClr val="accent1"/>
              </a:gs>
              <a:gs pos="31000">
                <a:schemeClr val="accent1">
                  <a:lumMod val="60000"/>
                  <a:lumOff val="40000"/>
                </a:schemeClr>
              </a:gs>
              <a:gs pos="0">
                <a:schemeClr val="accent1">
                  <a:lumMod val="40000"/>
                  <a:lumOff val="60000"/>
                </a:schemeClr>
              </a:gs>
            </a:gsLst>
            <a:lin ang="0" scaled="0"/>
            <a:tileRect/>
          </a:gradFill>
          <a:ln>
            <a:noFill/>
          </a:ln>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22222"/>
              </a:solidFill>
              <a:effectLst/>
              <a:uLnTx/>
              <a:uFillTx/>
              <a:latin typeface="Inter"/>
              <a:cs typeface="+mn-cs"/>
            </a:endParaRPr>
          </a:p>
        </p:txBody>
      </p:sp>
      <p:sp>
        <p:nvSpPr>
          <p:cNvPr id="7" name="Freeform 12">
            <a:extLst>
              <a:ext uri="{FF2B5EF4-FFF2-40B4-BE49-F238E27FC236}">
                <a16:creationId xmlns:a16="http://schemas.microsoft.com/office/drawing/2014/main" id="{6AC63020-0E95-425A-81D4-3CD9CF2CCB22}"/>
              </a:ext>
            </a:extLst>
          </p:cNvPr>
          <p:cNvSpPr>
            <a:spLocks/>
          </p:cNvSpPr>
          <p:nvPr/>
        </p:nvSpPr>
        <p:spPr bwMode="auto">
          <a:xfrm rot="13500000">
            <a:off x="6548720" y="2739098"/>
            <a:ext cx="1523773" cy="2459344"/>
          </a:xfrm>
          <a:custGeom>
            <a:avLst/>
            <a:gdLst>
              <a:gd name="T0" fmla="*/ 0 w 418"/>
              <a:gd name="T1" fmla="*/ 676 h 676"/>
              <a:gd name="T2" fmla="*/ 0 w 418"/>
              <a:gd name="T3" fmla="*/ 0 h 676"/>
              <a:gd name="T4" fmla="*/ 418 w 418"/>
              <a:gd name="T5" fmla="*/ 162 h 676"/>
              <a:gd name="T6" fmla="*/ 418 w 418"/>
              <a:gd name="T7" fmla="*/ 676 h 676"/>
              <a:gd name="T8" fmla="*/ 0 w 418"/>
              <a:gd name="T9" fmla="*/ 676 h 676"/>
              <a:gd name="connsiteX0" fmla="*/ 0 w 11380"/>
              <a:gd name="connsiteY0" fmla="*/ 10000 h 10239"/>
              <a:gd name="connsiteX1" fmla="*/ 0 w 11380"/>
              <a:gd name="connsiteY1" fmla="*/ 0 h 10239"/>
              <a:gd name="connsiteX2" fmla="*/ 10000 w 11380"/>
              <a:gd name="connsiteY2" fmla="*/ 2396 h 10239"/>
              <a:gd name="connsiteX3" fmla="*/ 11380 w 11380"/>
              <a:gd name="connsiteY3" fmla="*/ 10239 h 10239"/>
              <a:gd name="connsiteX4" fmla="*/ 0 w 11380"/>
              <a:gd name="connsiteY4" fmla="*/ 10000 h 10239"/>
              <a:gd name="connsiteX0" fmla="*/ 0 w 11380"/>
              <a:gd name="connsiteY0" fmla="*/ 10000 h 10239"/>
              <a:gd name="connsiteX1" fmla="*/ 0 w 11380"/>
              <a:gd name="connsiteY1" fmla="*/ 0 h 10239"/>
              <a:gd name="connsiteX2" fmla="*/ 10986 w 11380"/>
              <a:gd name="connsiteY2" fmla="*/ 3710 h 10239"/>
              <a:gd name="connsiteX3" fmla="*/ 11380 w 11380"/>
              <a:gd name="connsiteY3" fmla="*/ 10239 h 10239"/>
              <a:gd name="connsiteX4" fmla="*/ 0 w 11380"/>
              <a:gd name="connsiteY4" fmla="*/ 10000 h 10239"/>
              <a:gd name="connsiteX0" fmla="*/ 394 w 11774"/>
              <a:gd name="connsiteY0" fmla="*/ 6834 h 7073"/>
              <a:gd name="connsiteX1" fmla="*/ 0 w 11774"/>
              <a:gd name="connsiteY1" fmla="*/ 0 h 7073"/>
              <a:gd name="connsiteX2" fmla="*/ 11380 w 11774"/>
              <a:gd name="connsiteY2" fmla="*/ 544 h 7073"/>
              <a:gd name="connsiteX3" fmla="*/ 11774 w 11774"/>
              <a:gd name="connsiteY3" fmla="*/ 7073 h 7073"/>
              <a:gd name="connsiteX4" fmla="*/ 394 w 11774"/>
              <a:gd name="connsiteY4" fmla="*/ 6834 h 7073"/>
              <a:gd name="connsiteX0" fmla="*/ 335 w 10000"/>
              <a:gd name="connsiteY0" fmla="*/ 9662 h 10000"/>
              <a:gd name="connsiteX1" fmla="*/ 0 w 10000"/>
              <a:gd name="connsiteY1" fmla="*/ 0 h 10000"/>
              <a:gd name="connsiteX2" fmla="*/ 9885 w 10000"/>
              <a:gd name="connsiteY2" fmla="*/ 621 h 10000"/>
              <a:gd name="connsiteX3" fmla="*/ 10000 w 10000"/>
              <a:gd name="connsiteY3" fmla="*/ 10000 h 10000"/>
              <a:gd name="connsiteX4" fmla="*/ 335 w 10000"/>
              <a:gd name="connsiteY4" fmla="*/ 9662 h 10000"/>
              <a:gd name="connsiteX0" fmla="*/ 776 w 10441"/>
              <a:gd name="connsiteY0" fmla="*/ 9699 h 10037"/>
              <a:gd name="connsiteX1" fmla="*/ 0 w 10441"/>
              <a:gd name="connsiteY1" fmla="*/ 0 h 10037"/>
              <a:gd name="connsiteX2" fmla="*/ 10326 w 10441"/>
              <a:gd name="connsiteY2" fmla="*/ 658 h 10037"/>
              <a:gd name="connsiteX3" fmla="*/ 10441 w 10441"/>
              <a:gd name="connsiteY3" fmla="*/ 10037 h 10037"/>
              <a:gd name="connsiteX4" fmla="*/ 776 w 10441"/>
              <a:gd name="connsiteY4" fmla="*/ 9699 h 10037"/>
              <a:gd name="connsiteX0" fmla="*/ 776 w 10441"/>
              <a:gd name="connsiteY0" fmla="*/ 9699 h 10037"/>
              <a:gd name="connsiteX1" fmla="*/ 0 w 10441"/>
              <a:gd name="connsiteY1" fmla="*/ 0 h 10037"/>
              <a:gd name="connsiteX2" fmla="*/ 9481 w 10441"/>
              <a:gd name="connsiteY2" fmla="*/ 788 h 10037"/>
              <a:gd name="connsiteX3" fmla="*/ 10441 w 10441"/>
              <a:gd name="connsiteY3" fmla="*/ 10037 h 10037"/>
              <a:gd name="connsiteX4" fmla="*/ 776 w 10441"/>
              <a:gd name="connsiteY4" fmla="*/ 9699 h 10037"/>
              <a:gd name="connsiteX0" fmla="*/ 776 w 10569"/>
              <a:gd name="connsiteY0" fmla="*/ 9699 h 10037"/>
              <a:gd name="connsiteX1" fmla="*/ 0 w 10569"/>
              <a:gd name="connsiteY1" fmla="*/ 0 h 10037"/>
              <a:gd name="connsiteX2" fmla="*/ 10546 w 10569"/>
              <a:gd name="connsiteY2" fmla="*/ 621 h 10037"/>
              <a:gd name="connsiteX3" fmla="*/ 10441 w 10569"/>
              <a:gd name="connsiteY3" fmla="*/ 10037 h 10037"/>
              <a:gd name="connsiteX4" fmla="*/ 776 w 10569"/>
              <a:gd name="connsiteY4" fmla="*/ 9699 h 10037"/>
              <a:gd name="connsiteX0" fmla="*/ 776 w 11653"/>
              <a:gd name="connsiteY0" fmla="*/ 9699 h 10241"/>
              <a:gd name="connsiteX1" fmla="*/ 0 w 11653"/>
              <a:gd name="connsiteY1" fmla="*/ 0 h 10241"/>
              <a:gd name="connsiteX2" fmla="*/ 10546 w 11653"/>
              <a:gd name="connsiteY2" fmla="*/ 621 h 10241"/>
              <a:gd name="connsiteX3" fmla="*/ 11653 w 11653"/>
              <a:gd name="connsiteY3" fmla="*/ 10241 h 10241"/>
              <a:gd name="connsiteX4" fmla="*/ 776 w 11653"/>
              <a:gd name="connsiteY4" fmla="*/ 9699 h 10241"/>
              <a:gd name="connsiteX0" fmla="*/ 1437 w 11653"/>
              <a:gd name="connsiteY0" fmla="*/ 9625 h 10241"/>
              <a:gd name="connsiteX1" fmla="*/ 0 w 11653"/>
              <a:gd name="connsiteY1" fmla="*/ 0 h 10241"/>
              <a:gd name="connsiteX2" fmla="*/ 10546 w 11653"/>
              <a:gd name="connsiteY2" fmla="*/ 621 h 10241"/>
              <a:gd name="connsiteX3" fmla="*/ 11653 w 11653"/>
              <a:gd name="connsiteY3" fmla="*/ 10241 h 10241"/>
              <a:gd name="connsiteX4" fmla="*/ 1437 w 11653"/>
              <a:gd name="connsiteY4" fmla="*/ 9625 h 10241"/>
              <a:gd name="connsiteX0" fmla="*/ 886 w 11653"/>
              <a:gd name="connsiteY0" fmla="*/ 9569 h 10241"/>
              <a:gd name="connsiteX1" fmla="*/ 0 w 11653"/>
              <a:gd name="connsiteY1" fmla="*/ 0 h 10241"/>
              <a:gd name="connsiteX2" fmla="*/ 10546 w 11653"/>
              <a:gd name="connsiteY2" fmla="*/ 621 h 10241"/>
              <a:gd name="connsiteX3" fmla="*/ 11653 w 11653"/>
              <a:gd name="connsiteY3" fmla="*/ 10241 h 10241"/>
              <a:gd name="connsiteX4" fmla="*/ 886 w 11653"/>
              <a:gd name="connsiteY4" fmla="*/ 9569 h 10241"/>
              <a:gd name="connsiteX0" fmla="*/ 984 w 11653"/>
              <a:gd name="connsiteY0" fmla="*/ 9516 h 10241"/>
              <a:gd name="connsiteX1" fmla="*/ 0 w 11653"/>
              <a:gd name="connsiteY1" fmla="*/ 0 h 10241"/>
              <a:gd name="connsiteX2" fmla="*/ 10546 w 11653"/>
              <a:gd name="connsiteY2" fmla="*/ 621 h 10241"/>
              <a:gd name="connsiteX3" fmla="*/ 11653 w 11653"/>
              <a:gd name="connsiteY3" fmla="*/ 10241 h 10241"/>
              <a:gd name="connsiteX4" fmla="*/ 984 w 11653"/>
              <a:gd name="connsiteY4" fmla="*/ 9516 h 10241"/>
              <a:gd name="connsiteX0" fmla="*/ 838 w 11653"/>
              <a:gd name="connsiteY0" fmla="*/ 9436 h 10241"/>
              <a:gd name="connsiteX1" fmla="*/ 0 w 11653"/>
              <a:gd name="connsiteY1" fmla="*/ 0 h 10241"/>
              <a:gd name="connsiteX2" fmla="*/ 10546 w 11653"/>
              <a:gd name="connsiteY2" fmla="*/ 621 h 10241"/>
              <a:gd name="connsiteX3" fmla="*/ 11653 w 11653"/>
              <a:gd name="connsiteY3" fmla="*/ 10241 h 10241"/>
              <a:gd name="connsiteX4" fmla="*/ 838 w 11653"/>
              <a:gd name="connsiteY4" fmla="*/ 9436 h 102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653" h="10241">
                <a:moveTo>
                  <a:pt x="838" y="9436"/>
                </a:moveTo>
                <a:cubicBezTo>
                  <a:pt x="726" y="6215"/>
                  <a:pt x="111" y="3221"/>
                  <a:pt x="0" y="0"/>
                </a:cubicBezTo>
                <a:lnTo>
                  <a:pt x="10546" y="621"/>
                </a:lnTo>
                <a:cubicBezTo>
                  <a:pt x="10658" y="3698"/>
                  <a:pt x="11542" y="7165"/>
                  <a:pt x="11653" y="10241"/>
                </a:cubicBezTo>
                <a:lnTo>
                  <a:pt x="838" y="9436"/>
                </a:lnTo>
                <a:close/>
              </a:path>
            </a:pathLst>
          </a:custGeom>
          <a:gradFill flip="none" rotWithShape="1">
            <a:gsLst>
              <a:gs pos="51000">
                <a:schemeClr val="accent1"/>
              </a:gs>
              <a:gs pos="100000">
                <a:schemeClr val="accent1">
                  <a:lumMod val="60000"/>
                  <a:lumOff val="40000"/>
                </a:schemeClr>
              </a:gs>
            </a:gsLst>
            <a:lin ang="16200000" scaled="1"/>
            <a:tileRect/>
          </a:gradFill>
          <a:ln>
            <a:noFill/>
          </a:ln>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22222"/>
              </a:solidFill>
              <a:effectLst/>
              <a:uLnTx/>
              <a:uFillTx/>
              <a:latin typeface="Inter"/>
              <a:cs typeface="+mn-cs"/>
            </a:endParaRPr>
          </a:p>
        </p:txBody>
      </p:sp>
      <p:sp>
        <p:nvSpPr>
          <p:cNvPr id="45" name="任意多边形: 形状 44">
            <a:extLst>
              <a:ext uri="{FF2B5EF4-FFF2-40B4-BE49-F238E27FC236}">
                <a16:creationId xmlns:a16="http://schemas.microsoft.com/office/drawing/2014/main" id="{4C0362E5-DECC-4A31-B29D-5A687B4281A2}"/>
              </a:ext>
            </a:extLst>
          </p:cNvPr>
          <p:cNvSpPr/>
          <p:nvPr/>
        </p:nvSpPr>
        <p:spPr>
          <a:xfrm>
            <a:off x="4147786" y="1857953"/>
            <a:ext cx="4363054" cy="2451419"/>
          </a:xfrm>
          <a:custGeom>
            <a:avLst/>
            <a:gdLst>
              <a:gd name="connsiteX0" fmla="*/ 1307195 w 4363054"/>
              <a:gd name="connsiteY0" fmla="*/ 0 h 2451419"/>
              <a:gd name="connsiteX1" fmla="*/ 1307195 w 4363054"/>
              <a:gd name="connsiteY1" fmla="*/ 612855 h 2451419"/>
              <a:gd name="connsiteX2" fmla="*/ 3442304 w 4363054"/>
              <a:gd name="connsiteY2" fmla="*/ 612855 h 2451419"/>
              <a:gd name="connsiteX3" fmla="*/ 3442304 w 4363054"/>
              <a:gd name="connsiteY3" fmla="*/ 615228 h 2451419"/>
              <a:gd name="connsiteX4" fmla="*/ 4363054 w 4363054"/>
              <a:gd name="connsiteY4" fmla="*/ 1839439 h 2451419"/>
              <a:gd name="connsiteX5" fmla="*/ 3442304 w 4363054"/>
              <a:gd name="connsiteY5" fmla="*/ 1839439 h 2451419"/>
              <a:gd name="connsiteX6" fmla="*/ 3442304 w 4363054"/>
              <a:gd name="connsiteY6" fmla="*/ 1838564 h 2451419"/>
              <a:gd name="connsiteX7" fmla="*/ 1307195 w 4363054"/>
              <a:gd name="connsiteY7" fmla="*/ 1838564 h 2451419"/>
              <a:gd name="connsiteX8" fmla="*/ 1307195 w 4363054"/>
              <a:gd name="connsiteY8" fmla="*/ 2451419 h 2451419"/>
              <a:gd name="connsiteX9" fmla="*/ 0 w 4363054"/>
              <a:gd name="connsiteY9" fmla="*/ 1225710 h 24514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63054" h="2451419">
                <a:moveTo>
                  <a:pt x="1307195" y="0"/>
                </a:moveTo>
                <a:lnTo>
                  <a:pt x="1307195" y="612855"/>
                </a:lnTo>
                <a:lnTo>
                  <a:pt x="3442304" y="612855"/>
                </a:lnTo>
                <a:lnTo>
                  <a:pt x="3442304" y="615228"/>
                </a:lnTo>
                <a:lnTo>
                  <a:pt x="4363054" y="1839439"/>
                </a:lnTo>
                <a:lnTo>
                  <a:pt x="3442304" y="1839439"/>
                </a:lnTo>
                <a:lnTo>
                  <a:pt x="3442304" y="1838564"/>
                </a:lnTo>
                <a:lnTo>
                  <a:pt x="1307195" y="1838564"/>
                </a:lnTo>
                <a:lnTo>
                  <a:pt x="1307195" y="2451419"/>
                </a:lnTo>
                <a:lnTo>
                  <a:pt x="0" y="1225710"/>
                </a:lnTo>
                <a:close/>
              </a:path>
            </a:pathLst>
          </a:custGeom>
          <a:gradFill flip="none" rotWithShape="1">
            <a:gsLst>
              <a:gs pos="100000">
                <a:schemeClr val="accent1"/>
              </a:gs>
              <a:gs pos="31000">
                <a:schemeClr val="accent1">
                  <a:lumMod val="60000"/>
                  <a:lumOff val="40000"/>
                </a:schemeClr>
              </a:gs>
              <a:gs pos="0">
                <a:schemeClr val="accent1">
                  <a:lumMod val="40000"/>
                  <a:lumOff val="60000"/>
                </a:schemeClr>
              </a:gs>
            </a:gsLst>
            <a:lin ang="10800000" scaled="1"/>
            <a:tileRect/>
          </a:gra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22222"/>
              </a:solidFill>
              <a:effectLst/>
              <a:uLnTx/>
              <a:uFillTx/>
              <a:latin typeface="Inter"/>
              <a:cs typeface="+mn-cs"/>
            </a:endParaRPr>
          </a:p>
        </p:txBody>
      </p:sp>
      <p:sp>
        <p:nvSpPr>
          <p:cNvPr id="14" name="Right Triangle 61">
            <a:extLst>
              <a:ext uri="{FF2B5EF4-FFF2-40B4-BE49-F238E27FC236}">
                <a16:creationId xmlns:a16="http://schemas.microsoft.com/office/drawing/2014/main" id="{D04667B7-277F-46D6-80E9-D8CB2E7FD6E3}"/>
              </a:ext>
            </a:extLst>
          </p:cNvPr>
          <p:cNvSpPr/>
          <p:nvPr/>
        </p:nvSpPr>
        <p:spPr>
          <a:xfrm flipV="1">
            <a:off x="1055689" y="803583"/>
            <a:ext cx="72580" cy="72177"/>
          </a:xfrm>
          <a:prstGeom prst="r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HarmonyOS Sans SC"/>
              <a:cs typeface="+mn-cs"/>
            </a:endParaRPr>
          </a:p>
        </p:txBody>
      </p:sp>
      <p:sp>
        <p:nvSpPr>
          <p:cNvPr id="15" name="文本框 14">
            <a:extLst>
              <a:ext uri="{FF2B5EF4-FFF2-40B4-BE49-F238E27FC236}">
                <a16:creationId xmlns:a16="http://schemas.microsoft.com/office/drawing/2014/main" id="{B5F84F8B-E82B-4EA1-9982-D64E513387D7}"/>
              </a:ext>
            </a:extLst>
          </p:cNvPr>
          <p:cNvSpPr txBox="1"/>
          <p:nvPr/>
        </p:nvSpPr>
        <p:spPr>
          <a:xfrm>
            <a:off x="941388" y="918105"/>
            <a:ext cx="3377848"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2800" b="0" i="0" u="none" strike="noStrike" kern="1200" cap="none" spc="0" normalizeH="0" baseline="0" noProof="0" dirty="0">
                <a:ln>
                  <a:noFill/>
                </a:ln>
                <a:solidFill>
                  <a:prstClr val="black"/>
                </a:solidFill>
                <a:effectLst/>
                <a:uLnTx/>
                <a:uFillTx/>
                <a:latin typeface="HarmonyOS Sans Black"/>
                <a:ea typeface="+mj-ea"/>
                <a:cs typeface="+mn-cs"/>
              </a:rPr>
              <a:t>Arrow</a:t>
            </a:r>
            <a:r>
              <a:rPr kumimoji="0" lang="en-US" altLang="zh-CN" sz="1800" b="0" i="0" u="none" strike="noStrike" kern="1200" cap="none" spc="0" normalizeH="0" baseline="0" noProof="0" dirty="0">
                <a:ln>
                  <a:noFill/>
                </a:ln>
                <a:solidFill>
                  <a:prstClr val="black"/>
                </a:solidFill>
                <a:effectLst/>
                <a:uLnTx/>
                <a:uFillTx/>
                <a:latin typeface="HarmonyOS Sans SC"/>
                <a:cs typeface="+mn-cs"/>
              </a:rPr>
              <a:t> </a:t>
            </a:r>
            <a:r>
              <a:rPr kumimoji="0" lang="en-US" altLang="zh-CN" sz="2800" b="0" i="0" u="none" strike="noStrike" kern="1200" cap="none" spc="0" normalizeH="0" baseline="0" noProof="0" dirty="0">
                <a:ln>
                  <a:noFill/>
                </a:ln>
                <a:solidFill>
                  <a:schemeClr val="accent1"/>
                </a:solidFill>
                <a:effectLst/>
                <a:uLnTx/>
                <a:uFillTx/>
                <a:latin typeface="HarmonyOS Sans Black"/>
                <a:ea typeface="+mj-ea"/>
                <a:cs typeface="+mn-cs"/>
              </a:rPr>
              <a:t>infographic</a:t>
            </a:r>
          </a:p>
        </p:txBody>
      </p:sp>
      <p:sp>
        <p:nvSpPr>
          <p:cNvPr id="16" name="TextBox 25">
            <a:extLst>
              <a:ext uri="{FF2B5EF4-FFF2-40B4-BE49-F238E27FC236}">
                <a16:creationId xmlns:a16="http://schemas.microsoft.com/office/drawing/2014/main" id="{B9960DE4-A757-4892-8D1C-1E1AD3912B75}"/>
              </a:ext>
            </a:extLst>
          </p:cNvPr>
          <p:cNvSpPr txBox="1"/>
          <p:nvPr/>
        </p:nvSpPr>
        <p:spPr>
          <a:xfrm>
            <a:off x="1293158" y="4508146"/>
            <a:ext cx="2738615" cy="272895"/>
          </a:xfrm>
          <a:prstGeom prst="rect">
            <a:avLst/>
          </a:prstGeom>
          <a:noFill/>
        </p:spPr>
        <p:txBody>
          <a:bodyPr wrap="square" lIns="0" tIns="0" rIns="0" bIns="0" rtlCol="0">
            <a:spAutoFit/>
          </a:bodyPr>
          <a:lstStyle/>
          <a:p>
            <a:pPr marL="0" marR="0" lvl="0" indent="0" algn="l" defTabSz="914400" rtl="0" eaLnBrk="1" fontAlgn="auto" latinLnBrk="0" hangingPunct="1">
              <a:lnSpc>
                <a:spcPct val="120000"/>
              </a:lnSpc>
              <a:spcBef>
                <a:spcPts val="1200"/>
              </a:spcBef>
              <a:spcAft>
                <a:spcPts val="0"/>
              </a:spcAft>
              <a:buClrTx/>
              <a:buSzTx/>
              <a:buFontTx/>
              <a:buNone/>
              <a:tabLst/>
              <a:defRPr/>
            </a:pPr>
            <a:r>
              <a:rPr kumimoji="0" lang="en-US" sz="1600" b="0" i="0" u="none" strike="noStrike" kern="1200" cap="none" spc="0" normalizeH="0" baseline="0" noProof="0" dirty="0">
                <a:ln>
                  <a:noFill/>
                </a:ln>
                <a:solidFill>
                  <a:prstClr val="black">
                    <a:lumMod val="75000"/>
                    <a:lumOff val="25000"/>
                  </a:prstClr>
                </a:solidFill>
                <a:effectLst/>
                <a:uLnTx/>
                <a:uFillTx/>
                <a:latin typeface="HarmonyOS Sans SC Black"/>
                <a:ea typeface="+mj-ea"/>
                <a:cs typeface="+mn-cs"/>
              </a:rPr>
              <a:t>Write title here</a:t>
            </a:r>
            <a:endParaRPr kumimoji="0" lang="en-US" sz="1100" b="0" i="0" u="none" strike="noStrike" kern="1200" cap="none" spc="0" normalizeH="0" baseline="0" noProof="0" dirty="0">
              <a:ln>
                <a:noFill/>
              </a:ln>
              <a:solidFill>
                <a:prstClr val="black">
                  <a:lumMod val="75000"/>
                  <a:lumOff val="25000"/>
                </a:prstClr>
              </a:solidFill>
              <a:effectLst/>
              <a:uLnTx/>
              <a:uFillTx/>
              <a:latin typeface="HarmonyOS Sans SC Black"/>
              <a:ea typeface="+mj-ea"/>
              <a:cs typeface="+mn-cs"/>
            </a:endParaRPr>
          </a:p>
        </p:txBody>
      </p:sp>
      <p:sp>
        <p:nvSpPr>
          <p:cNvPr id="17" name="TextBox 25">
            <a:extLst>
              <a:ext uri="{FF2B5EF4-FFF2-40B4-BE49-F238E27FC236}">
                <a16:creationId xmlns:a16="http://schemas.microsoft.com/office/drawing/2014/main" id="{F455E79E-1786-41A0-9FD6-6F74C2F24DC9}"/>
              </a:ext>
            </a:extLst>
          </p:cNvPr>
          <p:cNvSpPr txBox="1"/>
          <p:nvPr/>
        </p:nvSpPr>
        <p:spPr>
          <a:xfrm>
            <a:off x="1293158" y="4881325"/>
            <a:ext cx="2738615" cy="357021"/>
          </a:xfrm>
          <a:prstGeom prst="rect">
            <a:avLst/>
          </a:prstGeom>
          <a:noFill/>
        </p:spPr>
        <p:txBody>
          <a:bodyPr wrap="square" lIns="0" tIns="0" rIns="0" bIns="0" rtlCol="0">
            <a:spAutoFit/>
          </a:bodyPr>
          <a:lstStyle/>
          <a:p>
            <a:pPr marL="0" marR="0" lvl="0" indent="0" algn="l" defTabSz="914400" rtl="0" eaLnBrk="1" fontAlgn="auto" latinLnBrk="0" hangingPunct="1">
              <a:lnSpc>
                <a:spcPct val="120000"/>
              </a:lnSpc>
              <a:spcBef>
                <a:spcPts val="120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HarmonyOS Sans SC"/>
                <a:cs typeface="+mn-cs"/>
              </a:rPr>
              <a:t>The first people you’ll meet are our experts in business, UX and technology. </a:t>
            </a:r>
          </a:p>
        </p:txBody>
      </p:sp>
      <p:sp>
        <p:nvSpPr>
          <p:cNvPr id="18" name="TextBox 24">
            <a:extLst>
              <a:ext uri="{FF2B5EF4-FFF2-40B4-BE49-F238E27FC236}">
                <a16:creationId xmlns:a16="http://schemas.microsoft.com/office/drawing/2014/main" id="{C9FEDBB5-6FC5-407A-B41C-D569424D5421}"/>
              </a:ext>
            </a:extLst>
          </p:cNvPr>
          <p:cNvSpPr txBox="1"/>
          <p:nvPr/>
        </p:nvSpPr>
        <p:spPr>
          <a:xfrm>
            <a:off x="1293158" y="2968503"/>
            <a:ext cx="2738615" cy="272895"/>
          </a:xfrm>
          <a:prstGeom prst="rect">
            <a:avLst/>
          </a:prstGeom>
          <a:noFill/>
        </p:spPr>
        <p:txBody>
          <a:bodyPr wrap="square" lIns="0" tIns="0" rIns="0" bIns="0" rtlCol="0">
            <a:spAutoFit/>
          </a:bodyPr>
          <a:lstStyle/>
          <a:p>
            <a:pPr marL="0" marR="0" lvl="0" indent="0" algn="l" defTabSz="914400" rtl="0" eaLnBrk="1" fontAlgn="auto" latinLnBrk="0" hangingPunct="1">
              <a:lnSpc>
                <a:spcPct val="120000"/>
              </a:lnSpc>
              <a:spcBef>
                <a:spcPts val="1200"/>
              </a:spcBef>
              <a:spcAft>
                <a:spcPts val="0"/>
              </a:spcAft>
              <a:buClrTx/>
              <a:buSzTx/>
              <a:buFontTx/>
              <a:buNone/>
              <a:tabLst/>
              <a:defRPr/>
            </a:pPr>
            <a:r>
              <a:rPr kumimoji="0" lang="en-US" sz="1600" b="0" i="0" u="none" strike="noStrike" kern="1200" cap="none" spc="0" normalizeH="0" baseline="0" noProof="0" dirty="0">
                <a:ln>
                  <a:noFill/>
                </a:ln>
                <a:solidFill>
                  <a:prstClr val="black">
                    <a:lumMod val="75000"/>
                    <a:lumOff val="25000"/>
                  </a:prstClr>
                </a:solidFill>
                <a:effectLst/>
                <a:uLnTx/>
                <a:uFillTx/>
                <a:latin typeface="HarmonyOS Sans SC Black"/>
                <a:ea typeface="+mj-ea"/>
                <a:cs typeface="+mn-cs"/>
              </a:rPr>
              <a:t>Write title here</a:t>
            </a:r>
            <a:endParaRPr kumimoji="0" lang="en-US" sz="1100" b="0" i="0" u="none" strike="noStrike" kern="1200" cap="none" spc="0" normalizeH="0" baseline="0" noProof="0" dirty="0">
              <a:ln>
                <a:noFill/>
              </a:ln>
              <a:solidFill>
                <a:prstClr val="black">
                  <a:lumMod val="75000"/>
                  <a:lumOff val="25000"/>
                </a:prstClr>
              </a:solidFill>
              <a:effectLst/>
              <a:uLnTx/>
              <a:uFillTx/>
              <a:latin typeface="HarmonyOS Sans SC Black"/>
              <a:ea typeface="+mj-ea"/>
              <a:cs typeface="+mn-cs"/>
            </a:endParaRPr>
          </a:p>
        </p:txBody>
      </p:sp>
      <p:sp>
        <p:nvSpPr>
          <p:cNvPr id="19" name="TextBox 24">
            <a:extLst>
              <a:ext uri="{FF2B5EF4-FFF2-40B4-BE49-F238E27FC236}">
                <a16:creationId xmlns:a16="http://schemas.microsoft.com/office/drawing/2014/main" id="{87087427-4130-429B-A44E-B43786C51A1E}"/>
              </a:ext>
            </a:extLst>
          </p:cNvPr>
          <p:cNvSpPr txBox="1"/>
          <p:nvPr/>
        </p:nvSpPr>
        <p:spPr>
          <a:xfrm>
            <a:off x="1293158" y="3341682"/>
            <a:ext cx="2738615" cy="357021"/>
          </a:xfrm>
          <a:prstGeom prst="rect">
            <a:avLst/>
          </a:prstGeom>
          <a:noFill/>
        </p:spPr>
        <p:txBody>
          <a:bodyPr wrap="square" lIns="0" tIns="0" rIns="0" bIns="0" rtlCol="0">
            <a:spAutoFit/>
          </a:bodyPr>
          <a:lstStyle/>
          <a:p>
            <a:pPr marL="0" marR="0" lvl="0" indent="0" algn="l" defTabSz="914400" rtl="0" eaLnBrk="1" fontAlgn="auto" latinLnBrk="0" hangingPunct="1">
              <a:lnSpc>
                <a:spcPct val="120000"/>
              </a:lnSpc>
              <a:spcBef>
                <a:spcPts val="120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HarmonyOS Sans SC"/>
                <a:cs typeface="+mn-cs"/>
              </a:rPr>
              <a:t>The first people you’ll meet are our experts in business, UX and technology. </a:t>
            </a:r>
          </a:p>
        </p:txBody>
      </p:sp>
      <p:sp>
        <p:nvSpPr>
          <p:cNvPr id="43" name="TextBox 13">
            <a:extLst>
              <a:ext uri="{FF2B5EF4-FFF2-40B4-BE49-F238E27FC236}">
                <a16:creationId xmlns:a16="http://schemas.microsoft.com/office/drawing/2014/main" id="{03188C68-D60E-43D9-B9A3-154BFA589A70}"/>
              </a:ext>
            </a:extLst>
          </p:cNvPr>
          <p:cNvSpPr txBox="1"/>
          <p:nvPr/>
        </p:nvSpPr>
        <p:spPr>
          <a:xfrm>
            <a:off x="5471602" y="2691898"/>
            <a:ext cx="2705669" cy="276605"/>
          </a:xfrm>
          <a:prstGeom prst="rect">
            <a:avLst/>
          </a:prstGeom>
          <a:noFill/>
        </p:spPr>
        <p:txBody>
          <a:bodyPr wrap="square" lIns="0" tIns="36000" rIns="216000" bIns="36000" rtlCol="0">
            <a:spAutoFit/>
          </a:bodyPr>
          <a:lstStyle/>
          <a:p>
            <a:pPr marL="0" marR="0" lvl="0" indent="0" algn="l" defTabSz="914400" rtl="0" eaLnBrk="1" fontAlgn="auto" latinLnBrk="0" hangingPunct="1">
              <a:lnSpc>
                <a:spcPct val="120000"/>
              </a:lnSpc>
              <a:spcBef>
                <a:spcPts val="120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HarmonyOS Sans SC Black"/>
                <a:ea typeface="+mj-ea"/>
                <a:cs typeface="+mn-cs"/>
              </a:rPr>
              <a:t>Write title here</a:t>
            </a:r>
          </a:p>
        </p:txBody>
      </p:sp>
      <p:sp>
        <p:nvSpPr>
          <p:cNvPr id="44" name="TextBox 13">
            <a:extLst>
              <a:ext uri="{FF2B5EF4-FFF2-40B4-BE49-F238E27FC236}">
                <a16:creationId xmlns:a16="http://schemas.microsoft.com/office/drawing/2014/main" id="{CB498833-3E2C-472D-BD7B-EA871D80B909}"/>
              </a:ext>
            </a:extLst>
          </p:cNvPr>
          <p:cNvSpPr txBox="1"/>
          <p:nvPr/>
        </p:nvSpPr>
        <p:spPr>
          <a:xfrm>
            <a:off x="5471602" y="2968503"/>
            <a:ext cx="2705669" cy="427287"/>
          </a:xfrm>
          <a:prstGeom prst="rect">
            <a:avLst/>
          </a:prstGeom>
          <a:noFill/>
        </p:spPr>
        <p:txBody>
          <a:bodyPr wrap="square" lIns="0" tIns="36000" rIns="216000" bIns="36000" rtlCol="0">
            <a:spAutoFit/>
          </a:bodyPr>
          <a:lstStyle/>
          <a:p>
            <a:pPr marL="0" marR="0" lvl="0" indent="0" algn="l" defTabSz="914400" rtl="0" eaLnBrk="1" fontAlgn="auto" latinLnBrk="0" hangingPunct="1">
              <a:lnSpc>
                <a:spcPct val="120000"/>
              </a:lnSpc>
              <a:spcBef>
                <a:spcPts val="120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HarmonyOS Sans SC"/>
                <a:cs typeface="+mn-cs"/>
              </a:rPr>
              <a:t>A peep at some distant orb has power to raise and purify.</a:t>
            </a:r>
          </a:p>
        </p:txBody>
      </p:sp>
      <p:sp>
        <p:nvSpPr>
          <p:cNvPr id="46" name="TextBox 13">
            <a:extLst>
              <a:ext uri="{FF2B5EF4-FFF2-40B4-BE49-F238E27FC236}">
                <a16:creationId xmlns:a16="http://schemas.microsoft.com/office/drawing/2014/main" id="{DF4509D8-B32C-45BB-A068-BD7635341EE4}"/>
              </a:ext>
            </a:extLst>
          </p:cNvPr>
          <p:cNvSpPr txBox="1"/>
          <p:nvPr/>
        </p:nvSpPr>
        <p:spPr>
          <a:xfrm>
            <a:off x="7561924" y="4402927"/>
            <a:ext cx="2705669" cy="276605"/>
          </a:xfrm>
          <a:prstGeom prst="rect">
            <a:avLst/>
          </a:prstGeom>
          <a:noFill/>
        </p:spPr>
        <p:txBody>
          <a:bodyPr wrap="square" lIns="0" tIns="36000" rIns="216000" bIns="36000" rtlCol="0">
            <a:spAutoFit/>
          </a:bodyPr>
          <a:lstStyle/>
          <a:p>
            <a:pPr marL="0" marR="0" lvl="0" indent="0" algn="r" defTabSz="914400" rtl="0" eaLnBrk="1" fontAlgn="auto" latinLnBrk="0" hangingPunct="1">
              <a:lnSpc>
                <a:spcPct val="120000"/>
              </a:lnSpc>
              <a:spcBef>
                <a:spcPts val="120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HarmonyOS Sans SC Black"/>
                <a:ea typeface="+mj-ea"/>
                <a:cs typeface="+mn-cs"/>
              </a:rPr>
              <a:t>Write title here</a:t>
            </a:r>
          </a:p>
        </p:txBody>
      </p:sp>
      <p:sp>
        <p:nvSpPr>
          <p:cNvPr id="47" name="TextBox 13">
            <a:extLst>
              <a:ext uri="{FF2B5EF4-FFF2-40B4-BE49-F238E27FC236}">
                <a16:creationId xmlns:a16="http://schemas.microsoft.com/office/drawing/2014/main" id="{507DF152-EFBB-4E4C-8B39-F1EF6B87F064}"/>
              </a:ext>
            </a:extLst>
          </p:cNvPr>
          <p:cNvSpPr txBox="1"/>
          <p:nvPr/>
        </p:nvSpPr>
        <p:spPr>
          <a:xfrm>
            <a:off x="7561924" y="4679532"/>
            <a:ext cx="2705669" cy="427287"/>
          </a:xfrm>
          <a:prstGeom prst="rect">
            <a:avLst/>
          </a:prstGeom>
          <a:noFill/>
        </p:spPr>
        <p:txBody>
          <a:bodyPr wrap="square" lIns="0" tIns="36000" rIns="216000" bIns="36000" rtlCol="0">
            <a:spAutoFit/>
          </a:bodyPr>
          <a:lstStyle/>
          <a:p>
            <a:pPr marL="0" marR="0" lvl="0" indent="0" algn="r" defTabSz="914400" rtl="0" eaLnBrk="1" fontAlgn="auto" latinLnBrk="0" hangingPunct="1">
              <a:lnSpc>
                <a:spcPct val="120000"/>
              </a:lnSpc>
              <a:spcBef>
                <a:spcPts val="120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HarmonyOS Sans SC"/>
                <a:cs typeface="+mn-cs"/>
              </a:rPr>
              <a:t>A peep at some distant orb has power to raise and purify.</a:t>
            </a:r>
          </a:p>
        </p:txBody>
      </p:sp>
    </p:spTree>
    <p:extLst>
      <p:ext uri="{BB962C8B-B14F-4D97-AF65-F5344CB8AC3E}">
        <p14:creationId xmlns:p14="http://schemas.microsoft.com/office/powerpoint/2010/main" val="121993413"/>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4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5">
            <a:extLst>
              <a:ext uri="{FF2B5EF4-FFF2-40B4-BE49-F238E27FC236}">
                <a16:creationId xmlns:a16="http://schemas.microsoft.com/office/drawing/2014/main" id="{AEAE4A02-78D6-4ED6-B752-60342FDC2658}"/>
              </a:ext>
            </a:extLst>
          </p:cNvPr>
          <p:cNvSpPr>
            <a:spLocks/>
          </p:cNvSpPr>
          <p:nvPr/>
        </p:nvSpPr>
        <p:spPr bwMode="auto">
          <a:xfrm>
            <a:off x="5877405" y="2962456"/>
            <a:ext cx="727065" cy="1088438"/>
          </a:xfrm>
          <a:custGeom>
            <a:avLst/>
            <a:gdLst>
              <a:gd name="T0" fmla="*/ 0 w 1053"/>
              <a:gd name="T1" fmla="*/ 1502 h 1502"/>
              <a:gd name="T2" fmla="*/ 1045 w 1053"/>
              <a:gd name="T3" fmla="*/ 1463 h 1502"/>
              <a:gd name="T4" fmla="*/ 1053 w 1053"/>
              <a:gd name="T5" fmla="*/ 0 h 1502"/>
              <a:gd name="T6" fmla="*/ 8 w 1053"/>
              <a:gd name="T7" fmla="*/ 494 h 1502"/>
              <a:gd name="T8" fmla="*/ 0 w 1053"/>
              <a:gd name="T9" fmla="*/ 1502 h 1502"/>
            </a:gdLst>
            <a:ahLst/>
            <a:cxnLst>
              <a:cxn ang="0">
                <a:pos x="T0" y="T1"/>
              </a:cxn>
              <a:cxn ang="0">
                <a:pos x="T2" y="T3"/>
              </a:cxn>
              <a:cxn ang="0">
                <a:pos x="T4" y="T5"/>
              </a:cxn>
              <a:cxn ang="0">
                <a:pos x="T6" y="T7"/>
              </a:cxn>
              <a:cxn ang="0">
                <a:pos x="T8" y="T9"/>
              </a:cxn>
            </a:cxnLst>
            <a:rect l="0" t="0" r="r" b="b"/>
            <a:pathLst>
              <a:path w="1053" h="1502">
                <a:moveTo>
                  <a:pt x="0" y="1502"/>
                </a:moveTo>
                <a:lnTo>
                  <a:pt x="1045" y="1463"/>
                </a:lnTo>
                <a:lnTo>
                  <a:pt x="1053" y="0"/>
                </a:lnTo>
                <a:lnTo>
                  <a:pt x="8" y="494"/>
                </a:lnTo>
                <a:lnTo>
                  <a:pt x="0" y="1502"/>
                </a:lnTo>
                <a:close/>
              </a:path>
            </a:pathLst>
          </a:custGeom>
          <a:gradFill flip="none" rotWithShape="1">
            <a:gsLst>
              <a:gs pos="35000">
                <a:schemeClr val="accent1">
                  <a:lumMod val="94000"/>
                </a:schemeClr>
              </a:gs>
              <a:gs pos="74000">
                <a:schemeClr val="accent1"/>
              </a:gs>
            </a:gsLst>
            <a:lin ang="16200000" scaled="1"/>
            <a:tileRect/>
          </a:gradFill>
          <a:ln w="12700" cap="flat">
            <a:noFill/>
            <a:miter lim="400000"/>
          </a:ln>
          <a:effectLst/>
        </p:spPr>
        <p:txBody>
          <a:bodyPr wrap="square" lIns="38100" tIns="38100" rIns="38100" bIns="38100" numCol="1"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000" b="0" i="0" u="none" strike="noStrike" kern="1200" cap="none" spc="0" normalizeH="0" baseline="0" noProof="0">
              <a:ln>
                <a:noFill/>
              </a:ln>
              <a:solidFill>
                <a:srgbClr val="FFFFFF"/>
              </a:solidFill>
              <a:effectLst>
                <a:outerShdw blurRad="38100" dist="12700" dir="5400000" rotWithShape="0">
                  <a:srgbClr val="000000">
                    <a:alpha val="50000"/>
                  </a:srgbClr>
                </a:outerShdw>
              </a:effectLst>
              <a:uLnTx/>
              <a:uFillTx/>
              <a:latin typeface="Lato" panose="020F0502020204030203" pitchFamily="34" charset="0"/>
              <a:ea typeface="Lato" panose="020F0502020204030203" pitchFamily="34" charset="0"/>
              <a:cs typeface="Lato" panose="020F0502020204030203" pitchFamily="34" charset="0"/>
            </a:endParaRPr>
          </a:p>
        </p:txBody>
      </p:sp>
      <p:sp>
        <p:nvSpPr>
          <p:cNvPr id="3" name="Freeform 6">
            <a:extLst>
              <a:ext uri="{FF2B5EF4-FFF2-40B4-BE49-F238E27FC236}">
                <a16:creationId xmlns:a16="http://schemas.microsoft.com/office/drawing/2014/main" id="{AB26E311-5F1D-4EF5-A1FA-7D302886E902}"/>
              </a:ext>
            </a:extLst>
          </p:cNvPr>
          <p:cNvSpPr>
            <a:spLocks/>
          </p:cNvSpPr>
          <p:nvPr/>
        </p:nvSpPr>
        <p:spPr bwMode="auto">
          <a:xfrm>
            <a:off x="5882599" y="2247900"/>
            <a:ext cx="2092814" cy="1495695"/>
          </a:xfrm>
          <a:custGeom>
            <a:avLst/>
            <a:gdLst>
              <a:gd name="T0" fmla="*/ 787 w 1390"/>
              <a:gd name="T1" fmla="*/ 244 h 995"/>
              <a:gd name="T2" fmla="*/ 246 w 1390"/>
              <a:gd name="T3" fmla="*/ 244 h 995"/>
              <a:gd name="T4" fmla="*/ 0 w 1390"/>
              <a:gd name="T5" fmla="*/ 490 h 995"/>
              <a:gd name="T6" fmla="*/ 0 w 1390"/>
              <a:gd name="T7" fmla="*/ 995 h 995"/>
              <a:gd name="T8" fmla="*/ 19 w 1390"/>
              <a:gd name="T9" fmla="*/ 915 h 995"/>
              <a:gd name="T10" fmla="*/ 254 w 1390"/>
              <a:gd name="T11" fmla="*/ 731 h 995"/>
              <a:gd name="T12" fmla="*/ 787 w 1390"/>
              <a:gd name="T13" fmla="*/ 731 h 995"/>
              <a:gd name="T14" fmla="*/ 797 w 1390"/>
              <a:gd name="T15" fmla="*/ 741 h 995"/>
              <a:gd name="T16" fmla="*/ 797 w 1390"/>
              <a:gd name="T17" fmla="*/ 932 h 995"/>
              <a:gd name="T18" fmla="*/ 837 w 1390"/>
              <a:gd name="T19" fmla="*/ 951 h 995"/>
              <a:gd name="T20" fmla="*/ 1371 w 1390"/>
              <a:gd name="T21" fmla="*/ 512 h 995"/>
              <a:gd name="T22" fmla="*/ 1371 w 1390"/>
              <a:gd name="T23" fmla="*/ 454 h 995"/>
              <a:gd name="T24" fmla="*/ 835 w 1390"/>
              <a:gd name="T25" fmla="*/ 12 h 995"/>
              <a:gd name="T26" fmla="*/ 797 w 1390"/>
              <a:gd name="T27" fmla="*/ 30 h 995"/>
              <a:gd name="T28" fmla="*/ 797 w 1390"/>
              <a:gd name="T29" fmla="*/ 234 h 995"/>
              <a:gd name="T30" fmla="*/ 787 w 1390"/>
              <a:gd name="T31" fmla="*/ 244 h 9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90" h="995">
                <a:moveTo>
                  <a:pt x="787" y="244"/>
                </a:moveTo>
                <a:cubicBezTo>
                  <a:pt x="246" y="244"/>
                  <a:pt x="246" y="244"/>
                  <a:pt x="246" y="244"/>
                </a:cubicBezTo>
                <a:cubicBezTo>
                  <a:pt x="110" y="244"/>
                  <a:pt x="0" y="354"/>
                  <a:pt x="0" y="490"/>
                </a:cubicBezTo>
                <a:cubicBezTo>
                  <a:pt x="0" y="995"/>
                  <a:pt x="0" y="995"/>
                  <a:pt x="0" y="995"/>
                </a:cubicBezTo>
                <a:cubicBezTo>
                  <a:pt x="19" y="915"/>
                  <a:pt x="19" y="915"/>
                  <a:pt x="19" y="915"/>
                </a:cubicBezTo>
                <a:cubicBezTo>
                  <a:pt x="46" y="807"/>
                  <a:pt x="143" y="731"/>
                  <a:pt x="254" y="731"/>
                </a:cubicBezTo>
                <a:cubicBezTo>
                  <a:pt x="787" y="731"/>
                  <a:pt x="787" y="731"/>
                  <a:pt x="787" y="731"/>
                </a:cubicBezTo>
                <a:cubicBezTo>
                  <a:pt x="792" y="731"/>
                  <a:pt x="797" y="735"/>
                  <a:pt x="797" y="741"/>
                </a:cubicBezTo>
                <a:cubicBezTo>
                  <a:pt x="797" y="932"/>
                  <a:pt x="797" y="932"/>
                  <a:pt x="797" y="932"/>
                </a:cubicBezTo>
                <a:cubicBezTo>
                  <a:pt x="797" y="953"/>
                  <a:pt x="821" y="964"/>
                  <a:pt x="837" y="951"/>
                </a:cubicBezTo>
                <a:cubicBezTo>
                  <a:pt x="1371" y="512"/>
                  <a:pt x="1371" y="512"/>
                  <a:pt x="1371" y="512"/>
                </a:cubicBezTo>
                <a:cubicBezTo>
                  <a:pt x="1390" y="497"/>
                  <a:pt x="1390" y="469"/>
                  <a:pt x="1371" y="454"/>
                </a:cubicBezTo>
                <a:cubicBezTo>
                  <a:pt x="835" y="12"/>
                  <a:pt x="835" y="12"/>
                  <a:pt x="835" y="12"/>
                </a:cubicBezTo>
                <a:cubicBezTo>
                  <a:pt x="819" y="0"/>
                  <a:pt x="797" y="11"/>
                  <a:pt x="797" y="30"/>
                </a:cubicBezTo>
                <a:cubicBezTo>
                  <a:pt x="797" y="234"/>
                  <a:pt x="797" y="234"/>
                  <a:pt x="797" y="234"/>
                </a:cubicBezTo>
                <a:cubicBezTo>
                  <a:pt x="797" y="239"/>
                  <a:pt x="792" y="244"/>
                  <a:pt x="787" y="244"/>
                </a:cubicBezTo>
                <a:close/>
              </a:path>
            </a:pathLst>
          </a:custGeom>
          <a:gradFill flip="none" rotWithShape="1">
            <a:gsLst>
              <a:gs pos="73000">
                <a:schemeClr val="accent1"/>
              </a:gs>
              <a:gs pos="31000">
                <a:schemeClr val="accent1">
                  <a:lumMod val="60000"/>
                  <a:lumOff val="40000"/>
                </a:schemeClr>
              </a:gs>
              <a:gs pos="0">
                <a:schemeClr val="accent1">
                  <a:lumMod val="40000"/>
                  <a:lumOff val="60000"/>
                </a:schemeClr>
              </a:gs>
            </a:gsLst>
            <a:lin ang="0" scaled="1"/>
            <a:tileRect/>
          </a:gradFill>
          <a:ln>
            <a:noFill/>
          </a:ln>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HarmonyOS Sans SC"/>
              <a:cs typeface="+mn-cs"/>
            </a:endParaRPr>
          </a:p>
        </p:txBody>
      </p:sp>
      <p:sp>
        <p:nvSpPr>
          <p:cNvPr id="4" name="Freeform 7">
            <a:extLst>
              <a:ext uri="{FF2B5EF4-FFF2-40B4-BE49-F238E27FC236}">
                <a16:creationId xmlns:a16="http://schemas.microsoft.com/office/drawing/2014/main" id="{EE18B188-4AB5-46DA-B1E0-1F89E3AA3D53}"/>
              </a:ext>
            </a:extLst>
          </p:cNvPr>
          <p:cNvSpPr>
            <a:spLocks/>
          </p:cNvSpPr>
          <p:nvPr/>
        </p:nvSpPr>
        <p:spPr bwMode="auto">
          <a:xfrm>
            <a:off x="4448726" y="3557564"/>
            <a:ext cx="2153059" cy="1543100"/>
          </a:xfrm>
          <a:custGeom>
            <a:avLst/>
            <a:gdLst>
              <a:gd name="T0" fmla="*/ 1378 w 1395"/>
              <a:gd name="T1" fmla="*/ 79 h 1001"/>
              <a:gd name="T2" fmla="*/ 1148 w 1395"/>
              <a:gd name="T3" fmla="*/ 264 h 1001"/>
              <a:gd name="T4" fmla="*/ 608 w 1395"/>
              <a:gd name="T5" fmla="*/ 264 h 1001"/>
              <a:gd name="T6" fmla="*/ 599 w 1395"/>
              <a:gd name="T7" fmla="*/ 255 h 1001"/>
              <a:gd name="T8" fmla="*/ 599 w 1395"/>
              <a:gd name="T9" fmla="*/ 38 h 1001"/>
              <a:gd name="T10" fmla="*/ 578 w 1395"/>
              <a:gd name="T11" fmla="*/ 28 h 1001"/>
              <a:gd name="T12" fmla="*/ 12 w 1395"/>
              <a:gd name="T13" fmla="*/ 493 h 1001"/>
              <a:gd name="T14" fmla="*/ 12 w 1395"/>
              <a:gd name="T15" fmla="*/ 531 h 1001"/>
              <a:gd name="T16" fmla="*/ 574 w 1395"/>
              <a:gd name="T17" fmla="*/ 993 h 1001"/>
              <a:gd name="T18" fmla="*/ 599 w 1395"/>
              <a:gd name="T19" fmla="*/ 981 h 1001"/>
              <a:gd name="T20" fmla="*/ 599 w 1395"/>
              <a:gd name="T21" fmla="*/ 774 h 1001"/>
              <a:gd name="T22" fmla="*/ 608 w 1395"/>
              <a:gd name="T23" fmla="*/ 765 h 1001"/>
              <a:gd name="T24" fmla="*/ 1154 w 1395"/>
              <a:gd name="T25" fmla="*/ 765 h 1001"/>
              <a:gd name="T26" fmla="*/ 1395 w 1395"/>
              <a:gd name="T27" fmla="*/ 524 h 1001"/>
              <a:gd name="T28" fmla="*/ 1395 w 1395"/>
              <a:gd name="T29" fmla="*/ 0 h 1001"/>
              <a:gd name="T30" fmla="*/ 1378 w 1395"/>
              <a:gd name="T31" fmla="*/ 79 h 10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95" h="1001">
                <a:moveTo>
                  <a:pt x="1378" y="79"/>
                </a:moveTo>
                <a:cubicBezTo>
                  <a:pt x="1354" y="187"/>
                  <a:pt x="1259" y="264"/>
                  <a:pt x="1148" y="264"/>
                </a:cubicBezTo>
                <a:cubicBezTo>
                  <a:pt x="608" y="264"/>
                  <a:pt x="608" y="264"/>
                  <a:pt x="608" y="264"/>
                </a:cubicBezTo>
                <a:cubicBezTo>
                  <a:pt x="603" y="264"/>
                  <a:pt x="599" y="260"/>
                  <a:pt x="599" y="255"/>
                </a:cubicBezTo>
                <a:cubicBezTo>
                  <a:pt x="599" y="38"/>
                  <a:pt x="599" y="38"/>
                  <a:pt x="599" y="38"/>
                </a:cubicBezTo>
                <a:cubicBezTo>
                  <a:pt x="599" y="27"/>
                  <a:pt x="586" y="21"/>
                  <a:pt x="578" y="28"/>
                </a:cubicBezTo>
                <a:cubicBezTo>
                  <a:pt x="12" y="493"/>
                  <a:pt x="12" y="493"/>
                  <a:pt x="12" y="493"/>
                </a:cubicBezTo>
                <a:cubicBezTo>
                  <a:pt x="0" y="503"/>
                  <a:pt x="0" y="521"/>
                  <a:pt x="12" y="531"/>
                </a:cubicBezTo>
                <a:cubicBezTo>
                  <a:pt x="574" y="993"/>
                  <a:pt x="574" y="993"/>
                  <a:pt x="574" y="993"/>
                </a:cubicBezTo>
                <a:cubicBezTo>
                  <a:pt x="584" y="1001"/>
                  <a:pt x="599" y="994"/>
                  <a:pt x="599" y="981"/>
                </a:cubicBezTo>
                <a:cubicBezTo>
                  <a:pt x="599" y="774"/>
                  <a:pt x="599" y="774"/>
                  <a:pt x="599" y="774"/>
                </a:cubicBezTo>
                <a:cubicBezTo>
                  <a:pt x="599" y="769"/>
                  <a:pt x="603" y="765"/>
                  <a:pt x="608" y="765"/>
                </a:cubicBezTo>
                <a:cubicBezTo>
                  <a:pt x="1154" y="765"/>
                  <a:pt x="1154" y="765"/>
                  <a:pt x="1154" y="765"/>
                </a:cubicBezTo>
                <a:cubicBezTo>
                  <a:pt x="1287" y="765"/>
                  <a:pt x="1395" y="657"/>
                  <a:pt x="1395" y="524"/>
                </a:cubicBezTo>
                <a:cubicBezTo>
                  <a:pt x="1395" y="0"/>
                  <a:pt x="1395" y="0"/>
                  <a:pt x="1395" y="0"/>
                </a:cubicBezTo>
                <a:lnTo>
                  <a:pt x="1378" y="79"/>
                </a:lnTo>
                <a:close/>
              </a:path>
            </a:pathLst>
          </a:custGeom>
          <a:gradFill flip="none" rotWithShape="1">
            <a:gsLst>
              <a:gs pos="73000">
                <a:schemeClr val="accent1"/>
              </a:gs>
              <a:gs pos="31000">
                <a:schemeClr val="accent1">
                  <a:lumMod val="60000"/>
                  <a:lumOff val="40000"/>
                </a:schemeClr>
              </a:gs>
              <a:gs pos="0">
                <a:schemeClr val="accent1">
                  <a:lumMod val="40000"/>
                  <a:lumOff val="60000"/>
                </a:schemeClr>
              </a:gs>
            </a:gsLst>
            <a:lin ang="8100000" scaled="1"/>
            <a:tileRect/>
          </a:gradFill>
          <a:ln>
            <a:noFill/>
          </a:ln>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HarmonyOS Sans SC"/>
              <a:cs typeface="+mn-cs"/>
            </a:endParaRPr>
          </a:p>
        </p:txBody>
      </p:sp>
      <p:grpSp>
        <p:nvGrpSpPr>
          <p:cNvPr id="5" name="Group 12">
            <a:extLst>
              <a:ext uri="{FF2B5EF4-FFF2-40B4-BE49-F238E27FC236}">
                <a16:creationId xmlns:a16="http://schemas.microsoft.com/office/drawing/2014/main" id="{B811BBB4-6F48-410F-A141-59446A02E1E4}"/>
              </a:ext>
            </a:extLst>
          </p:cNvPr>
          <p:cNvGrpSpPr>
            <a:grpSpLocks noChangeAspect="1"/>
          </p:cNvGrpSpPr>
          <p:nvPr/>
        </p:nvGrpSpPr>
        <p:grpSpPr bwMode="auto">
          <a:xfrm>
            <a:off x="7112595" y="2813860"/>
            <a:ext cx="511995" cy="348815"/>
            <a:chOff x="4909" y="2490"/>
            <a:chExt cx="684" cy="466"/>
          </a:xfrm>
        </p:grpSpPr>
        <p:sp>
          <p:nvSpPr>
            <p:cNvPr id="6" name="Freeform 13">
              <a:extLst>
                <a:ext uri="{FF2B5EF4-FFF2-40B4-BE49-F238E27FC236}">
                  <a16:creationId xmlns:a16="http://schemas.microsoft.com/office/drawing/2014/main" id="{A09CA5BB-AAC4-4545-9576-0A1CF20BA35A}"/>
                </a:ext>
              </a:extLst>
            </p:cNvPr>
            <p:cNvSpPr>
              <a:spLocks noEditPoints="1"/>
            </p:cNvSpPr>
            <p:nvPr/>
          </p:nvSpPr>
          <p:spPr bwMode="auto">
            <a:xfrm>
              <a:off x="4909" y="2490"/>
              <a:ext cx="684" cy="231"/>
            </a:xfrm>
            <a:custGeom>
              <a:avLst/>
              <a:gdLst>
                <a:gd name="T0" fmla="*/ 326 w 327"/>
                <a:gd name="T1" fmla="*/ 65 h 110"/>
                <a:gd name="T2" fmla="*/ 266 w 327"/>
                <a:gd name="T3" fmla="*/ 1 h 110"/>
                <a:gd name="T4" fmla="*/ 261 w 327"/>
                <a:gd name="T5" fmla="*/ 1 h 110"/>
                <a:gd name="T6" fmla="*/ 236 w 327"/>
                <a:gd name="T7" fmla="*/ 25 h 110"/>
                <a:gd name="T8" fmla="*/ 235 w 327"/>
                <a:gd name="T9" fmla="*/ 30 h 110"/>
                <a:gd name="T10" fmla="*/ 295 w 327"/>
                <a:gd name="T11" fmla="*/ 93 h 110"/>
                <a:gd name="T12" fmla="*/ 300 w 327"/>
                <a:gd name="T13" fmla="*/ 94 h 110"/>
                <a:gd name="T14" fmla="*/ 325 w 327"/>
                <a:gd name="T15" fmla="*/ 70 h 110"/>
                <a:gd name="T16" fmla="*/ 326 w 327"/>
                <a:gd name="T17" fmla="*/ 65 h 110"/>
                <a:gd name="T18" fmla="*/ 304 w 327"/>
                <a:gd name="T19" fmla="*/ 72 h 110"/>
                <a:gd name="T20" fmla="*/ 293 w 327"/>
                <a:gd name="T21" fmla="*/ 72 h 110"/>
                <a:gd name="T22" fmla="*/ 293 w 327"/>
                <a:gd name="T23" fmla="*/ 61 h 110"/>
                <a:gd name="T24" fmla="*/ 304 w 327"/>
                <a:gd name="T25" fmla="*/ 61 h 110"/>
                <a:gd name="T26" fmla="*/ 304 w 327"/>
                <a:gd name="T27" fmla="*/ 72 h 110"/>
                <a:gd name="T28" fmla="*/ 62 w 327"/>
                <a:gd name="T29" fmla="*/ 10 h 110"/>
                <a:gd name="T30" fmla="*/ 57 w 327"/>
                <a:gd name="T31" fmla="*/ 11 h 110"/>
                <a:gd name="T32" fmla="*/ 2 w 327"/>
                <a:gd name="T33" fmla="*/ 82 h 110"/>
                <a:gd name="T34" fmla="*/ 2 w 327"/>
                <a:gd name="T35" fmla="*/ 87 h 110"/>
                <a:gd name="T36" fmla="*/ 30 w 327"/>
                <a:gd name="T37" fmla="*/ 109 h 110"/>
                <a:gd name="T38" fmla="*/ 35 w 327"/>
                <a:gd name="T39" fmla="*/ 108 h 110"/>
                <a:gd name="T40" fmla="*/ 91 w 327"/>
                <a:gd name="T41" fmla="*/ 36 h 110"/>
                <a:gd name="T42" fmla="*/ 90 w 327"/>
                <a:gd name="T43" fmla="*/ 31 h 110"/>
                <a:gd name="T44" fmla="*/ 62 w 327"/>
                <a:gd name="T45" fmla="*/ 10 h 110"/>
                <a:gd name="T46" fmla="*/ 36 w 327"/>
                <a:gd name="T47" fmla="*/ 85 h 110"/>
                <a:gd name="T48" fmla="*/ 25 w 327"/>
                <a:gd name="T49" fmla="*/ 86 h 110"/>
                <a:gd name="T50" fmla="*/ 24 w 327"/>
                <a:gd name="T51" fmla="*/ 75 h 110"/>
                <a:gd name="T52" fmla="*/ 35 w 327"/>
                <a:gd name="T53" fmla="*/ 74 h 110"/>
                <a:gd name="T54" fmla="*/ 36 w 327"/>
                <a:gd name="T55" fmla="*/ 85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27" h="110">
                  <a:moveTo>
                    <a:pt x="326" y="65"/>
                  </a:moveTo>
                  <a:cubicBezTo>
                    <a:pt x="266" y="1"/>
                    <a:pt x="266" y="1"/>
                    <a:pt x="266" y="1"/>
                  </a:cubicBezTo>
                  <a:cubicBezTo>
                    <a:pt x="264" y="0"/>
                    <a:pt x="262" y="0"/>
                    <a:pt x="261" y="1"/>
                  </a:cubicBezTo>
                  <a:cubicBezTo>
                    <a:pt x="236" y="25"/>
                    <a:pt x="236" y="25"/>
                    <a:pt x="236" y="25"/>
                  </a:cubicBezTo>
                  <a:cubicBezTo>
                    <a:pt x="234" y="26"/>
                    <a:pt x="234" y="28"/>
                    <a:pt x="235" y="30"/>
                  </a:cubicBezTo>
                  <a:cubicBezTo>
                    <a:pt x="295" y="93"/>
                    <a:pt x="295" y="93"/>
                    <a:pt x="295" y="93"/>
                  </a:cubicBezTo>
                  <a:cubicBezTo>
                    <a:pt x="297" y="95"/>
                    <a:pt x="299" y="95"/>
                    <a:pt x="300" y="94"/>
                  </a:cubicBezTo>
                  <a:cubicBezTo>
                    <a:pt x="325" y="70"/>
                    <a:pt x="325" y="70"/>
                    <a:pt x="325" y="70"/>
                  </a:cubicBezTo>
                  <a:cubicBezTo>
                    <a:pt x="327" y="68"/>
                    <a:pt x="327" y="66"/>
                    <a:pt x="326" y="65"/>
                  </a:cubicBezTo>
                  <a:close/>
                  <a:moveTo>
                    <a:pt x="304" y="72"/>
                  </a:moveTo>
                  <a:cubicBezTo>
                    <a:pt x="301" y="75"/>
                    <a:pt x="296" y="75"/>
                    <a:pt x="293" y="72"/>
                  </a:cubicBezTo>
                  <a:cubicBezTo>
                    <a:pt x="290" y="68"/>
                    <a:pt x="290" y="64"/>
                    <a:pt x="293" y="61"/>
                  </a:cubicBezTo>
                  <a:cubicBezTo>
                    <a:pt x="296" y="58"/>
                    <a:pt x="301" y="58"/>
                    <a:pt x="304" y="61"/>
                  </a:cubicBezTo>
                  <a:cubicBezTo>
                    <a:pt x="307" y="64"/>
                    <a:pt x="307" y="69"/>
                    <a:pt x="304" y="72"/>
                  </a:cubicBezTo>
                  <a:close/>
                  <a:moveTo>
                    <a:pt x="62" y="10"/>
                  </a:moveTo>
                  <a:cubicBezTo>
                    <a:pt x="61" y="9"/>
                    <a:pt x="59" y="9"/>
                    <a:pt x="57" y="11"/>
                  </a:cubicBezTo>
                  <a:cubicBezTo>
                    <a:pt x="2" y="82"/>
                    <a:pt x="2" y="82"/>
                    <a:pt x="2" y="82"/>
                  </a:cubicBezTo>
                  <a:cubicBezTo>
                    <a:pt x="0" y="84"/>
                    <a:pt x="1" y="86"/>
                    <a:pt x="2" y="87"/>
                  </a:cubicBezTo>
                  <a:cubicBezTo>
                    <a:pt x="30" y="109"/>
                    <a:pt x="30" y="109"/>
                    <a:pt x="30" y="109"/>
                  </a:cubicBezTo>
                  <a:cubicBezTo>
                    <a:pt x="31" y="110"/>
                    <a:pt x="33" y="110"/>
                    <a:pt x="35" y="108"/>
                  </a:cubicBezTo>
                  <a:cubicBezTo>
                    <a:pt x="91" y="36"/>
                    <a:pt x="91" y="36"/>
                    <a:pt x="91" y="36"/>
                  </a:cubicBezTo>
                  <a:cubicBezTo>
                    <a:pt x="92" y="35"/>
                    <a:pt x="91" y="32"/>
                    <a:pt x="90" y="31"/>
                  </a:cubicBezTo>
                  <a:lnTo>
                    <a:pt x="62" y="10"/>
                  </a:lnTo>
                  <a:close/>
                  <a:moveTo>
                    <a:pt x="36" y="85"/>
                  </a:moveTo>
                  <a:cubicBezTo>
                    <a:pt x="34" y="88"/>
                    <a:pt x="29" y="89"/>
                    <a:pt x="25" y="86"/>
                  </a:cubicBezTo>
                  <a:cubicBezTo>
                    <a:pt x="22" y="84"/>
                    <a:pt x="21" y="79"/>
                    <a:pt x="24" y="75"/>
                  </a:cubicBezTo>
                  <a:cubicBezTo>
                    <a:pt x="26" y="72"/>
                    <a:pt x="31" y="71"/>
                    <a:pt x="35" y="74"/>
                  </a:cubicBezTo>
                  <a:cubicBezTo>
                    <a:pt x="38" y="76"/>
                    <a:pt x="39" y="81"/>
                    <a:pt x="36" y="8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HarmonyOS Sans SC"/>
                <a:cs typeface="+mn-cs"/>
              </a:endParaRPr>
            </a:p>
          </p:txBody>
        </p:sp>
        <p:sp>
          <p:nvSpPr>
            <p:cNvPr id="7" name="Freeform 14">
              <a:extLst>
                <a:ext uri="{FF2B5EF4-FFF2-40B4-BE49-F238E27FC236}">
                  <a16:creationId xmlns:a16="http://schemas.microsoft.com/office/drawing/2014/main" id="{B6B9DE5D-E084-41BF-BC04-22A556DDCA98}"/>
                </a:ext>
              </a:extLst>
            </p:cNvPr>
            <p:cNvSpPr>
              <a:spLocks noEditPoints="1"/>
            </p:cNvSpPr>
            <p:nvPr/>
          </p:nvSpPr>
          <p:spPr bwMode="auto">
            <a:xfrm>
              <a:off x="5022" y="2566"/>
              <a:ext cx="473" cy="390"/>
            </a:xfrm>
            <a:custGeom>
              <a:avLst/>
              <a:gdLst>
                <a:gd name="T0" fmla="*/ 190 w 226"/>
                <a:gd name="T1" fmla="*/ 119 h 186"/>
                <a:gd name="T2" fmla="*/ 129 w 226"/>
                <a:gd name="T3" fmla="*/ 71 h 186"/>
                <a:gd name="T4" fmla="*/ 117 w 226"/>
                <a:gd name="T5" fmla="*/ 81 h 186"/>
                <a:gd name="T6" fmla="*/ 77 w 226"/>
                <a:gd name="T7" fmla="*/ 99 h 186"/>
                <a:gd name="T8" fmla="*/ 69 w 226"/>
                <a:gd name="T9" fmla="*/ 98 h 186"/>
                <a:gd name="T10" fmla="*/ 40 w 226"/>
                <a:gd name="T11" fmla="*/ 78 h 186"/>
                <a:gd name="T12" fmla="*/ 44 w 226"/>
                <a:gd name="T13" fmla="*/ 51 h 186"/>
                <a:gd name="T14" fmla="*/ 88 w 226"/>
                <a:gd name="T15" fmla="*/ 11 h 186"/>
                <a:gd name="T16" fmla="*/ 70 w 226"/>
                <a:gd name="T17" fmla="*/ 5 h 186"/>
                <a:gd name="T18" fmla="*/ 48 w 226"/>
                <a:gd name="T19" fmla="*/ 16 h 186"/>
                <a:gd name="T20" fmla="*/ 5 w 226"/>
                <a:gd name="T21" fmla="*/ 72 h 186"/>
                <a:gd name="T22" fmla="*/ 0 w 226"/>
                <a:gd name="T23" fmla="*/ 88 h 186"/>
                <a:gd name="T24" fmla="*/ 3 w 226"/>
                <a:gd name="T25" fmla="*/ 110 h 186"/>
                <a:gd name="T26" fmla="*/ 11 w 226"/>
                <a:gd name="T27" fmla="*/ 124 h 186"/>
                <a:gd name="T28" fmla="*/ 87 w 226"/>
                <a:gd name="T29" fmla="*/ 183 h 186"/>
                <a:gd name="T30" fmla="*/ 94 w 226"/>
                <a:gd name="T31" fmla="*/ 186 h 186"/>
                <a:gd name="T32" fmla="*/ 102 w 226"/>
                <a:gd name="T33" fmla="*/ 182 h 186"/>
                <a:gd name="T34" fmla="*/ 106 w 226"/>
                <a:gd name="T35" fmla="*/ 178 h 186"/>
                <a:gd name="T36" fmla="*/ 105 w 226"/>
                <a:gd name="T37" fmla="*/ 162 h 186"/>
                <a:gd name="T38" fmla="*/ 117 w 226"/>
                <a:gd name="T39" fmla="*/ 172 h 186"/>
                <a:gd name="T40" fmla="*/ 125 w 226"/>
                <a:gd name="T41" fmla="*/ 175 h 186"/>
                <a:gd name="T42" fmla="*/ 133 w 226"/>
                <a:gd name="T43" fmla="*/ 172 h 186"/>
                <a:gd name="T44" fmla="*/ 137 w 226"/>
                <a:gd name="T45" fmla="*/ 168 h 186"/>
                <a:gd name="T46" fmla="*/ 136 w 226"/>
                <a:gd name="T47" fmla="*/ 151 h 186"/>
                <a:gd name="T48" fmla="*/ 145 w 226"/>
                <a:gd name="T49" fmla="*/ 158 h 186"/>
                <a:gd name="T50" fmla="*/ 153 w 226"/>
                <a:gd name="T51" fmla="*/ 161 h 186"/>
                <a:gd name="T52" fmla="*/ 161 w 226"/>
                <a:gd name="T53" fmla="*/ 158 h 186"/>
                <a:gd name="T54" fmla="*/ 164 w 226"/>
                <a:gd name="T55" fmla="*/ 154 h 186"/>
                <a:gd name="T56" fmla="*/ 164 w 226"/>
                <a:gd name="T57" fmla="*/ 137 h 186"/>
                <a:gd name="T58" fmla="*/ 170 w 226"/>
                <a:gd name="T59" fmla="*/ 143 h 186"/>
                <a:gd name="T60" fmla="*/ 178 w 226"/>
                <a:gd name="T61" fmla="*/ 146 h 186"/>
                <a:gd name="T62" fmla="*/ 186 w 226"/>
                <a:gd name="T63" fmla="*/ 141 h 186"/>
                <a:gd name="T64" fmla="*/ 192 w 226"/>
                <a:gd name="T65" fmla="*/ 135 h 186"/>
                <a:gd name="T66" fmla="*/ 190 w 226"/>
                <a:gd name="T67" fmla="*/ 119 h 186"/>
                <a:gd name="T68" fmla="*/ 220 w 226"/>
                <a:gd name="T69" fmla="*/ 61 h 186"/>
                <a:gd name="T70" fmla="*/ 168 w 226"/>
                <a:gd name="T71" fmla="*/ 8 h 186"/>
                <a:gd name="T72" fmla="*/ 160 w 226"/>
                <a:gd name="T73" fmla="*/ 4 h 186"/>
                <a:gd name="T74" fmla="*/ 133 w 226"/>
                <a:gd name="T75" fmla="*/ 1 h 186"/>
                <a:gd name="T76" fmla="*/ 122 w 226"/>
                <a:gd name="T77" fmla="*/ 4 h 186"/>
                <a:gd name="T78" fmla="*/ 116 w 226"/>
                <a:gd name="T79" fmla="*/ 10 h 186"/>
                <a:gd name="T80" fmla="*/ 56 w 226"/>
                <a:gd name="T81" fmla="*/ 64 h 186"/>
                <a:gd name="T82" fmla="*/ 55 w 226"/>
                <a:gd name="T83" fmla="*/ 69 h 186"/>
                <a:gd name="T84" fmla="*/ 55 w 226"/>
                <a:gd name="T85" fmla="*/ 69 h 186"/>
                <a:gd name="T86" fmla="*/ 72 w 226"/>
                <a:gd name="T87" fmla="*/ 81 h 186"/>
                <a:gd name="T88" fmla="*/ 105 w 226"/>
                <a:gd name="T89" fmla="*/ 68 h 186"/>
                <a:gd name="T90" fmla="*/ 128 w 226"/>
                <a:gd name="T91" fmla="*/ 47 h 186"/>
                <a:gd name="T92" fmla="*/ 198 w 226"/>
                <a:gd name="T93" fmla="*/ 102 h 186"/>
                <a:gd name="T94" fmla="*/ 220 w 226"/>
                <a:gd name="T95" fmla="*/ 81 h 186"/>
                <a:gd name="T96" fmla="*/ 220 w 226"/>
                <a:gd name="T97" fmla="*/ 61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26" h="186">
                  <a:moveTo>
                    <a:pt x="190" y="119"/>
                  </a:moveTo>
                  <a:cubicBezTo>
                    <a:pt x="129" y="71"/>
                    <a:pt x="129" y="71"/>
                    <a:pt x="129" y="71"/>
                  </a:cubicBezTo>
                  <a:cubicBezTo>
                    <a:pt x="117" y="81"/>
                    <a:pt x="117" y="81"/>
                    <a:pt x="117" y="81"/>
                  </a:cubicBezTo>
                  <a:cubicBezTo>
                    <a:pt x="102" y="95"/>
                    <a:pt x="87" y="99"/>
                    <a:pt x="77" y="99"/>
                  </a:cubicBezTo>
                  <a:cubicBezTo>
                    <a:pt x="74" y="99"/>
                    <a:pt x="71" y="99"/>
                    <a:pt x="69" y="98"/>
                  </a:cubicBezTo>
                  <a:cubicBezTo>
                    <a:pt x="54" y="96"/>
                    <a:pt x="44" y="86"/>
                    <a:pt x="40" y="78"/>
                  </a:cubicBezTo>
                  <a:cubicBezTo>
                    <a:pt x="34" y="69"/>
                    <a:pt x="36" y="58"/>
                    <a:pt x="44" y="51"/>
                  </a:cubicBezTo>
                  <a:cubicBezTo>
                    <a:pt x="88" y="11"/>
                    <a:pt x="88" y="11"/>
                    <a:pt x="88" y="11"/>
                  </a:cubicBezTo>
                  <a:cubicBezTo>
                    <a:pt x="83" y="7"/>
                    <a:pt x="77" y="5"/>
                    <a:pt x="70" y="5"/>
                  </a:cubicBezTo>
                  <a:cubicBezTo>
                    <a:pt x="62" y="5"/>
                    <a:pt x="53" y="9"/>
                    <a:pt x="48" y="16"/>
                  </a:cubicBezTo>
                  <a:cubicBezTo>
                    <a:pt x="5" y="72"/>
                    <a:pt x="5" y="72"/>
                    <a:pt x="5" y="72"/>
                  </a:cubicBezTo>
                  <a:cubicBezTo>
                    <a:pt x="1" y="76"/>
                    <a:pt x="0" y="82"/>
                    <a:pt x="0" y="88"/>
                  </a:cubicBezTo>
                  <a:cubicBezTo>
                    <a:pt x="3" y="110"/>
                    <a:pt x="3" y="110"/>
                    <a:pt x="3" y="110"/>
                  </a:cubicBezTo>
                  <a:cubicBezTo>
                    <a:pt x="4" y="116"/>
                    <a:pt x="7" y="121"/>
                    <a:pt x="11" y="124"/>
                  </a:cubicBezTo>
                  <a:cubicBezTo>
                    <a:pt x="87" y="183"/>
                    <a:pt x="87" y="183"/>
                    <a:pt x="87" y="183"/>
                  </a:cubicBezTo>
                  <a:cubicBezTo>
                    <a:pt x="89" y="185"/>
                    <a:pt x="91" y="186"/>
                    <a:pt x="94" y="186"/>
                  </a:cubicBezTo>
                  <a:cubicBezTo>
                    <a:pt x="97" y="186"/>
                    <a:pt x="100" y="184"/>
                    <a:pt x="102" y="182"/>
                  </a:cubicBezTo>
                  <a:cubicBezTo>
                    <a:pt x="106" y="178"/>
                    <a:pt x="106" y="178"/>
                    <a:pt x="106" y="178"/>
                  </a:cubicBezTo>
                  <a:cubicBezTo>
                    <a:pt x="110" y="173"/>
                    <a:pt x="110" y="166"/>
                    <a:pt x="105" y="162"/>
                  </a:cubicBezTo>
                  <a:cubicBezTo>
                    <a:pt x="117" y="172"/>
                    <a:pt x="117" y="172"/>
                    <a:pt x="117" y="172"/>
                  </a:cubicBezTo>
                  <a:cubicBezTo>
                    <a:pt x="119" y="174"/>
                    <a:pt x="122" y="175"/>
                    <a:pt x="125" y="175"/>
                  </a:cubicBezTo>
                  <a:cubicBezTo>
                    <a:pt x="128" y="175"/>
                    <a:pt x="130" y="174"/>
                    <a:pt x="133" y="172"/>
                  </a:cubicBezTo>
                  <a:cubicBezTo>
                    <a:pt x="137" y="168"/>
                    <a:pt x="137" y="168"/>
                    <a:pt x="137" y="168"/>
                  </a:cubicBezTo>
                  <a:cubicBezTo>
                    <a:pt x="142" y="163"/>
                    <a:pt x="141" y="155"/>
                    <a:pt x="136" y="151"/>
                  </a:cubicBezTo>
                  <a:cubicBezTo>
                    <a:pt x="145" y="158"/>
                    <a:pt x="145" y="158"/>
                    <a:pt x="145" y="158"/>
                  </a:cubicBezTo>
                  <a:cubicBezTo>
                    <a:pt x="148" y="160"/>
                    <a:pt x="150" y="161"/>
                    <a:pt x="153" y="161"/>
                  </a:cubicBezTo>
                  <a:cubicBezTo>
                    <a:pt x="156" y="161"/>
                    <a:pt x="159" y="160"/>
                    <a:pt x="161" y="158"/>
                  </a:cubicBezTo>
                  <a:cubicBezTo>
                    <a:pt x="164" y="154"/>
                    <a:pt x="164" y="154"/>
                    <a:pt x="164" y="154"/>
                  </a:cubicBezTo>
                  <a:cubicBezTo>
                    <a:pt x="169" y="150"/>
                    <a:pt x="169" y="142"/>
                    <a:pt x="164" y="137"/>
                  </a:cubicBezTo>
                  <a:cubicBezTo>
                    <a:pt x="170" y="143"/>
                    <a:pt x="170" y="143"/>
                    <a:pt x="170" y="143"/>
                  </a:cubicBezTo>
                  <a:cubicBezTo>
                    <a:pt x="172" y="145"/>
                    <a:pt x="175" y="146"/>
                    <a:pt x="178" y="146"/>
                  </a:cubicBezTo>
                  <a:cubicBezTo>
                    <a:pt x="181" y="146"/>
                    <a:pt x="184" y="144"/>
                    <a:pt x="186" y="141"/>
                  </a:cubicBezTo>
                  <a:cubicBezTo>
                    <a:pt x="192" y="135"/>
                    <a:pt x="192" y="135"/>
                    <a:pt x="192" y="135"/>
                  </a:cubicBezTo>
                  <a:cubicBezTo>
                    <a:pt x="196" y="130"/>
                    <a:pt x="195" y="123"/>
                    <a:pt x="190" y="119"/>
                  </a:cubicBezTo>
                  <a:close/>
                  <a:moveTo>
                    <a:pt x="220" y="61"/>
                  </a:moveTo>
                  <a:cubicBezTo>
                    <a:pt x="168" y="8"/>
                    <a:pt x="168" y="8"/>
                    <a:pt x="168" y="8"/>
                  </a:cubicBezTo>
                  <a:cubicBezTo>
                    <a:pt x="166" y="6"/>
                    <a:pt x="163" y="4"/>
                    <a:pt x="160" y="4"/>
                  </a:cubicBezTo>
                  <a:cubicBezTo>
                    <a:pt x="133" y="1"/>
                    <a:pt x="133" y="1"/>
                    <a:pt x="133" y="1"/>
                  </a:cubicBezTo>
                  <a:cubicBezTo>
                    <a:pt x="129" y="0"/>
                    <a:pt x="125" y="1"/>
                    <a:pt x="122" y="4"/>
                  </a:cubicBezTo>
                  <a:cubicBezTo>
                    <a:pt x="116" y="10"/>
                    <a:pt x="116" y="10"/>
                    <a:pt x="116" y="10"/>
                  </a:cubicBezTo>
                  <a:cubicBezTo>
                    <a:pt x="56" y="64"/>
                    <a:pt x="56" y="64"/>
                    <a:pt x="56" y="64"/>
                  </a:cubicBezTo>
                  <a:cubicBezTo>
                    <a:pt x="55" y="65"/>
                    <a:pt x="54" y="66"/>
                    <a:pt x="55" y="69"/>
                  </a:cubicBezTo>
                  <a:cubicBezTo>
                    <a:pt x="55" y="69"/>
                    <a:pt x="55" y="69"/>
                    <a:pt x="55" y="69"/>
                  </a:cubicBezTo>
                  <a:cubicBezTo>
                    <a:pt x="58" y="73"/>
                    <a:pt x="64" y="79"/>
                    <a:pt x="72" y="81"/>
                  </a:cubicBezTo>
                  <a:cubicBezTo>
                    <a:pt x="82" y="82"/>
                    <a:pt x="94" y="78"/>
                    <a:pt x="105" y="68"/>
                  </a:cubicBezTo>
                  <a:cubicBezTo>
                    <a:pt x="128" y="47"/>
                    <a:pt x="128" y="47"/>
                    <a:pt x="128" y="47"/>
                  </a:cubicBezTo>
                  <a:cubicBezTo>
                    <a:pt x="198" y="102"/>
                    <a:pt x="198" y="102"/>
                    <a:pt x="198" y="102"/>
                  </a:cubicBezTo>
                  <a:cubicBezTo>
                    <a:pt x="220" y="81"/>
                    <a:pt x="220" y="81"/>
                    <a:pt x="220" y="81"/>
                  </a:cubicBezTo>
                  <a:cubicBezTo>
                    <a:pt x="226" y="76"/>
                    <a:pt x="226" y="67"/>
                    <a:pt x="220" y="6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HarmonyOS Sans SC"/>
                <a:cs typeface="+mn-cs"/>
              </a:endParaRPr>
            </a:p>
          </p:txBody>
        </p:sp>
      </p:grpSp>
      <p:grpSp>
        <p:nvGrpSpPr>
          <p:cNvPr id="8" name="Group 15">
            <a:extLst>
              <a:ext uri="{FF2B5EF4-FFF2-40B4-BE49-F238E27FC236}">
                <a16:creationId xmlns:a16="http://schemas.microsoft.com/office/drawing/2014/main" id="{50343AAB-1553-4192-BF46-22496DDF3E74}"/>
              </a:ext>
            </a:extLst>
          </p:cNvPr>
          <p:cNvGrpSpPr>
            <a:grpSpLocks noChangeAspect="1"/>
          </p:cNvGrpSpPr>
          <p:nvPr/>
        </p:nvGrpSpPr>
        <p:grpSpPr bwMode="auto">
          <a:xfrm>
            <a:off x="4971903" y="4145937"/>
            <a:ext cx="389936" cy="364828"/>
            <a:chOff x="1288" y="2029"/>
            <a:chExt cx="792" cy="741"/>
          </a:xfrm>
        </p:grpSpPr>
        <p:sp>
          <p:nvSpPr>
            <p:cNvPr id="9" name="Freeform 16">
              <a:extLst>
                <a:ext uri="{FF2B5EF4-FFF2-40B4-BE49-F238E27FC236}">
                  <a16:creationId xmlns:a16="http://schemas.microsoft.com/office/drawing/2014/main" id="{13A77A80-EBEB-4CB3-AA10-C8272FEB33C6}"/>
                </a:ext>
              </a:extLst>
            </p:cNvPr>
            <p:cNvSpPr>
              <a:spLocks/>
            </p:cNvSpPr>
            <p:nvPr/>
          </p:nvSpPr>
          <p:spPr bwMode="auto">
            <a:xfrm>
              <a:off x="1585" y="2215"/>
              <a:ext cx="495" cy="555"/>
            </a:xfrm>
            <a:custGeom>
              <a:avLst/>
              <a:gdLst>
                <a:gd name="T0" fmla="*/ 234 w 237"/>
                <a:gd name="T1" fmla="*/ 248 h 266"/>
                <a:gd name="T2" fmla="*/ 217 w 237"/>
                <a:gd name="T3" fmla="*/ 197 h 266"/>
                <a:gd name="T4" fmla="*/ 218 w 237"/>
                <a:gd name="T5" fmla="*/ 188 h 266"/>
                <a:gd name="T6" fmla="*/ 230 w 237"/>
                <a:gd name="T7" fmla="*/ 102 h 266"/>
                <a:gd name="T8" fmla="*/ 142 w 237"/>
                <a:gd name="T9" fmla="*/ 0 h 266"/>
                <a:gd name="T10" fmla="*/ 151 w 237"/>
                <a:gd name="T11" fmla="*/ 91 h 266"/>
                <a:gd name="T12" fmla="*/ 25 w 237"/>
                <a:gd name="T13" fmla="*/ 215 h 266"/>
                <a:gd name="T14" fmla="*/ 0 w 237"/>
                <a:gd name="T15" fmla="*/ 218 h 266"/>
                <a:gd name="T16" fmla="*/ 74 w 237"/>
                <a:gd name="T17" fmla="*/ 258 h 266"/>
                <a:gd name="T18" fmla="*/ 159 w 237"/>
                <a:gd name="T19" fmla="*/ 246 h 266"/>
                <a:gd name="T20" fmla="*/ 168 w 237"/>
                <a:gd name="T21" fmla="*/ 245 h 266"/>
                <a:gd name="T22" fmla="*/ 219 w 237"/>
                <a:gd name="T23" fmla="*/ 263 h 266"/>
                <a:gd name="T24" fmla="*/ 234 w 237"/>
                <a:gd name="T25" fmla="*/ 248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37" h="266">
                  <a:moveTo>
                    <a:pt x="234" y="248"/>
                  </a:moveTo>
                  <a:cubicBezTo>
                    <a:pt x="217" y="197"/>
                    <a:pt x="217" y="197"/>
                    <a:pt x="217" y="197"/>
                  </a:cubicBezTo>
                  <a:cubicBezTo>
                    <a:pt x="216" y="194"/>
                    <a:pt x="216" y="191"/>
                    <a:pt x="218" y="188"/>
                  </a:cubicBezTo>
                  <a:cubicBezTo>
                    <a:pt x="230" y="163"/>
                    <a:pt x="236" y="133"/>
                    <a:pt x="230" y="102"/>
                  </a:cubicBezTo>
                  <a:cubicBezTo>
                    <a:pt x="222" y="55"/>
                    <a:pt x="187" y="15"/>
                    <a:pt x="142" y="0"/>
                  </a:cubicBezTo>
                  <a:cubicBezTo>
                    <a:pt x="153" y="28"/>
                    <a:pt x="157" y="59"/>
                    <a:pt x="151" y="91"/>
                  </a:cubicBezTo>
                  <a:cubicBezTo>
                    <a:pt x="139" y="154"/>
                    <a:pt x="89" y="204"/>
                    <a:pt x="25" y="215"/>
                  </a:cubicBezTo>
                  <a:cubicBezTo>
                    <a:pt x="17" y="217"/>
                    <a:pt x="9" y="217"/>
                    <a:pt x="0" y="218"/>
                  </a:cubicBezTo>
                  <a:cubicBezTo>
                    <a:pt x="20" y="238"/>
                    <a:pt x="45" y="253"/>
                    <a:pt x="74" y="258"/>
                  </a:cubicBezTo>
                  <a:cubicBezTo>
                    <a:pt x="105" y="264"/>
                    <a:pt x="134" y="259"/>
                    <a:pt x="159" y="246"/>
                  </a:cubicBezTo>
                  <a:cubicBezTo>
                    <a:pt x="162" y="245"/>
                    <a:pt x="165" y="244"/>
                    <a:pt x="168" y="245"/>
                  </a:cubicBezTo>
                  <a:cubicBezTo>
                    <a:pt x="219" y="263"/>
                    <a:pt x="219" y="263"/>
                    <a:pt x="219" y="263"/>
                  </a:cubicBezTo>
                  <a:cubicBezTo>
                    <a:pt x="228" y="266"/>
                    <a:pt x="237" y="257"/>
                    <a:pt x="234" y="24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HarmonyOS Sans SC"/>
                <a:cs typeface="+mn-cs"/>
              </a:endParaRPr>
            </a:p>
          </p:txBody>
        </p:sp>
        <p:sp>
          <p:nvSpPr>
            <p:cNvPr id="10" name="Freeform 17">
              <a:extLst>
                <a:ext uri="{FF2B5EF4-FFF2-40B4-BE49-F238E27FC236}">
                  <a16:creationId xmlns:a16="http://schemas.microsoft.com/office/drawing/2014/main" id="{49292F2C-F323-4205-BDE4-8B40D21F19A3}"/>
                </a:ext>
              </a:extLst>
            </p:cNvPr>
            <p:cNvSpPr>
              <a:spLocks noEditPoints="1"/>
            </p:cNvSpPr>
            <p:nvPr/>
          </p:nvSpPr>
          <p:spPr bwMode="auto">
            <a:xfrm>
              <a:off x="1288" y="2029"/>
              <a:ext cx="600" cy="601"/>
            </a:xfrm>
            <a:custGeom>
              <a:avLst/>
              <a:gdLst>
                <a:gd name="T0" fmla="*/ 113 w 287"/>
                <a:gd name="T1" fmla="*/ 18 h 288"/>
                <a:gd name="T2" fmla="*/ 7 w 287"/>
                <a:gd name="T3" fmla="*/ 125 h 288"/>
                <a:gd name="T4" fmla="*/ 19 w 287"/>
                <a:gd name="T5" fmla="*/ 210 h 288"/>
                <a:gd name="T6" fmla="*/ 20 w 287"/>
                <a:gd name="T7" fmla="*/ 219 h 288"/>
                <a:gd name="T8" fmla="*/ 3 w 287"/>
                <a:gd name="T9" fmla="*/ 270 h 288"/>
                <a:gd name="T10" fmla="*/ 18 w 287"/>
                <a:gd name="T11" fmla="*/ 285 h 288"/>
                <a:gd name="T12" fmla="*/ 69 w 287"/>
                <a:gd name="T13" fmla="*/ 268 h 288"/>
                <a:gd name="T14" fmla="*/ 78 w 287"/>
                <a:gd name="T15" fmla="*/ 269 h 288"/>
                <a:gd name="T16" fmla="*/ 163 w 287"/>
                <a:gd name="T17" fmla="*/ 281 h 288"/>
                <a:gd name="T18" fmla="*/ 270 w 287"/>
                <a:gd name="T19" fmla="*/ 175 h 288"/>
                <a:gd name="T20" fmla="*/ 113 w 287"/>
                <a:gd name="T21" fmla="*/ 18 h 288"/>
                <a:gd name="T22" fmla="*/ 137 w 287"/>
                <a:gd name="T23" fmla="*/ 236 h 288"/>
                <a:gd name="T24" fmla="*/ 120 w 287"/>
                <a:gd name="T25" fmla="*/ 219 h 288"/>
                <a:gd name="T26" fmla="*/ 137 w 287"/>
                <a:gd name="T27" fmla="*/ 202 h 288"/>
                <a:gd name="T28" fmla="*/ 154 w 287"/>
                <a:gd name="T29" fmla="*/ 219 h 288"/>
                <a:gd name="T30" fmla="*/ 137 w 287"/>
                <a:gd name="T31" fmla="*/ 236 h 288"/>
                <a:gd name="T32" fmla="*/ 154 w 287"/>
                <a:gd name="T33" fmla="*/ 162 h 288"/>
                <a:gd name="T34" fmla="*/ 154 w 287"/>
                <a:gd name="T35" fmla="*/ 169 h 288"/>
                <a:gd name="T36" fmla="*/ 137 w 287"/>
                <a:gd name="T37" fmla="*/ 185 h 288"/>
                <a:gd name="T38" fmla="*/ 121 w 287"/>
                <a:gd name="T39" fmla="*/ 169 h 288"/>
                <a:gd name="T40" fmla="*/ 121 w 287"/>
                <a:gd name="T41" fmla="*/ 163 h 288"/>
                <a:gd name="T42" fmla="*/ 142 w 287"/>
                <a:gd name="T43" fmla="*/ 131 h 288"/>
                <a:gd name="T44" fmla="*/ 153 w 287"/>
                <a:gd name="T45" fmla="*/ 116 h 288"/>
                <a:gd name="T46" fmla="*/ 148 w 287"/>
                <a:gd name="T47" fmla="*/ 105 h 288"/>
                <a:gd name="T48" fmla="*/ 137 w 287"/>
                <a:gd name="T49" fmla="*/ 101 h 288"/>
                <a:gd name="T50" fmla="*/ 122 w 287"/>
                <a:gd name="T51" fmla="*/ 116 h 288"/>
                <a:gd name="T52" fmla="*/ 105 w 287"/>
                <a:gd name="T53" fmla="*/ 133 h 288"/>
                <a:gd name="T54" fmla="*/ 88 w 287"/>
                <a:gd name="T55" fmla="*/ 116 h 288"/>
                <a:gd name="T56" fmla="*/ 137 w 287"/>
                <a:gd name="T57" fmla="*/ 68 h 288"/>
                <a:gd name="T58" fmla="*/ 172 w 287"/>
                <a:gd name="T59" fmla="*/ 82 h 288"/>
                <a:gd name="T60" fmla="*/ 186 w 287"/>
                <a:gd name="T61" fmla="*/ 117 h 288"/>
                <a:gd name="T62" fmla="*/ 154 w 287"/>
                <a:gd name="T63" fmla="*/ 16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87" h="288">
                  <a:moveTo>
                    <a:pt x="113" y="18"/>
                  </a:moveTo>
                  <a:cubicBezTo>
                    <a:pt x="59" y="28"/>
                    <a:pt x="16" y="71"/>
                    <a:pt x="7" y="125"/>
                  </a:cubicBezTo>
                  <a:cubicBezTo>
                    <a:pt x="1" y="156"/>
                    <a:pt x="6" y="185"/>
                    <a:pt x="19" y="210"/>
                  </a:cubicBezTo>
                  <a:cubicBezTo>
                    <a:pt x="21" y="213"/>
                    <a:pt x="21" y="216"/>
                    <a:pt x="20" y="219"/>
                  </a:cubicBezTo>
                  <a:cubicBezTo>
                    <a:pt x="3" y="270"/>
                    <a:pt x="3" y="270"/>
                    <a:pt x="3" y="270"/>
                  </a:cubicBezTo>
                  <a:cubicBezTo>
                    <a:pt x="0" y="279"/>
                    <a:pt x="9" y="288"/>
                    <a:pt x="18" y="285"/>
                  </a:cubicBezTo>
                  <a:cubicBezTo>
                    <a:pt x="69" y="268"/>
                    <a:pt x="69" y="268"/>
                    <a:pt x="69" y="268"/>
                  </a:cubicBezTo>
                  <a:cubicBezTo>
                    <a:pt x="72" y="267"/>
                    <a:pt x="75" y="267"/>
                    <a:pt x="78" y="269"/>
                  </a:cubicBezTo>
                  <a:cubicBezTo>
                    <a:pt x="103" y="281"/>
                    <a:pt x="132" y="286"/>
                    <a:pt x="163" y="281"/>
                  </a:cubicBezTo>
                  <a:cubicBezTo>
                    <a:pt x="216" y="271"/>
                    <a:pt x="260" y="229"/>
                    <a:pt x="270" y="175"/>
                  </a:cubicBezTo>
                  <a:cubicBezTo>
                    <a:pt x="287" y="81"/>
                    <a:pt x="207" y="0"/>
                    <a:pt x="113" y="18"/>
                  </a:cubicBezTo>
                  <a:close/>
                  <a:moveTo>
                    <a:pt x="137" y="236"/>
                  </a:moveTo>
                  <a:cubicBezTo>
                    <a:pt x="128" y="236"/>
                    <a:pt x="120" y="229"/>
                    <a:pt x="120" y="219"/>
                  </a:cubicBezTo>
                  <a:cubicBezTo>
                    <a:pt x="120" y="210"/>
                    <a:pt x="128" y="202"/>
                    <a:pt x="137" y="202"/>
                  </a:cubicBezTo>
                  <a:cubicBezTo>
                    <a:pt x="147" y="202"/>
                    <a:pt x="154" y="210"/>
                    <a:pt x="154" y="219"/>
                  </a:cubicBezTo>
                  <a:cubicBezTo>
                    <a:pt x="154" y="229"/>
                    <a:pt x="147" y="236"/>
                    <a:pt x="137" y="236"/>
                  </a:cubicBezTo>
                  <a:close/>
                  <a:moveTo>
                    <a:pt x="154" y="162"/>
                  </a:moveTo>
                  <a:cubicBezTo>
                    <a:pt x="154" y="169"/>
                    <a:pt x="154" y="169"/>
                    <a:pt x="154" y="169"/>
                  </a:cubicBezTo>
                  <a:cubicBezTo>
                    <a:pt x="154" y="178"/>
                    <a:pt x="146" y="185"/>
                    <a:pt x="137" y="185"/>
                  </a:cubicBezTo>
                  <a:cubicBezTo>
                    <a:pt x="128" y="185"/>
                    <a:pt x="121" y="178"/>
                    <a:pt x="121" y="169"/>
                  </a:cubicBezTo>
                  <a:cubicBezTo>
                    <a:pt x="121" y="163"/>
                    <a:pt x="121" y="163"/>
                    <a:pt x="121" y="163"/>
                  </a:cubicBezTo>
                  <a:cubicBezTo>
                    <a:pt x="121" y="148"/>
                    <a:pt x="129" y="135"/>
                    <a:pt x="142" y="131"/>
                  </a:cubicBezTo>
                  <a:cubicBezTo>
                    <a:pt x="149" y="129"/>
                    <a:pt x="153" y="123"/>
                    <a:pt x="153" y="116"/>
                  </a:cubicBezTo>
                  <a:cubicBezTo>
                    <a:pt x="153" y="112"/>
                    <a:pt x="151" y="108"/>
                    <a:pt x="148" y="105"/>
                  </a:cubicBezTo>
                  <a:cubicBezTo>
                    <a:pt x="145" y="102"/>
                    <a:pt x="141" y="101"/>
                    <a:pt x="137" y="101"/>
                  </a:cubicBezTo>
                  <a:cubicBezTo>
                    <a:pt x="129" y="101"/>
                    <a:pt x="122" y="108"/>
                    <a:pt x="122" y="116"/>
                  </a:cubicBezTo>
                  <a:cubicBezTo>
                    <a:pt x="122" y="125"/>
                    <a:pt x="114" y="133"/>
                    <a:pt x="105" y="133"/>
                  </a:cubicBezTo>
                  <a:cubicBezTo>
                    <a:pt x="96" y="133"/>
                    <a:pt x="88" y="125"/>
                    <a:pt x="88" y="116"/>
                  </a:cubicBezTo>
                  <a:cubicBezTo>
                    <a:pt x="88" y="90"/>
                    <a:pt x="110" y="68"/>
                    <a:pt x="137" y="68"/>
                  </a:cubicBezTo>
                  <a:cubicBezTo>
                    <a:pt x="150" y="67"/>
                    <a:pt x="162" y="73"/>
                    <a:pt x="172" y="82"/>
                  </a:cubicBezTo>
                  <a:cubicBezTo>
                    <a:pt x="181" y="91"/>
                    <a:pt x="186" y="104"/>
                    <a:pt x="186" y="117"/>
                  </a:cubicBezTo>
                  <a:cubicBezTo>
                    <a:pt x="186" y="137"/>
                    <a:pt x="173" y="155"/>
                    <a:pt x="154" y="16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HarmonyOS Sans SC"/>
                <a:cs typeface="+mn-cs"/>
              </a:endParaRPr>
            </a:p>
          </p:txBody>
        </p:sp>
      </p:grpSp>
      <p:cxnSp>
        <p:nvCxnSpPr>
          <p:cNvPr id="14" name="Straight Connector 49">
            <a:extLst>
              <a:ext uri="{FF2B5EF4-FFF2-40B4-BE49-F238E27FC236}">
                <a16:creationId xmlns:a16="http://schemas.microsoft.com/office/drawing/2014/main" id="{D65CFAAD-CE0F-4084-A4A5-16A8E38D170B}"/>
              </a:ext>
            </a:extLst>
          </p:cNvPr>
          <p:cNvCxnSpPr>
            <a:cxnSpLocks/>
          </p:cNvCxnSpPr>
          <p:nvPr/>
        </p:nvCxnSpPr>
        <p:spPr>
          <a:xfrm>
            <a:off x="3731315" y="4338456"/>
            <a:ext cx="354063" cy="0"/>
          </a:xfrm>
          <a:prstGeom prst="line">
            <a:avLst/>
          </a:prstGeom>
          <a:ln w="12700">
            <a:solidFill>
              <a:schemeClr val="accent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1" name="Straight Connector 56">
            <a:extLst>
              <a:ext uri="{FF2B5EF4-FFF2-40B4-BE49-F238E27FC236}">
                <a16:creationId xmlns:a16="http://schemas.microsoft.com/office/drawing/2014/main" id="{FFEE6673-DE1D-4EDC-B759-9EFA2193CA5F}"/>
              </a:ext>
            </a:extLst>
          </p:cNvPr>
          <p:cNvCxnSpPr>
            <a:cxnSpLocks/>
          </p:cNvCxnSpPr>
          <p:nvPr/>
        </p:nvCxnSpPr>
        <p:spPr>
          <a:xfrm flipH="1">
            <a:off x="8296194" y="2978163"/>
            <a:ext cx="429864" cy="0"/>
          </a:xfrm>
          <a:prstGeom prst="line">
            <a:avLst/>
          </a:prstGeom>
          <a:ln w="12700">
            <a:solidFill>
              <a:schemeClr val="accent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sp>
        <p:nvSpPr>
          <p:cNvPr id="31" name="Right Triangle 61">
            <a:extLst>
              <a:ext uri="{FF2B5EF4-FFF2-40B4-BE49-F238E27FC236}">
                <a16:creationId xmlns:a16="http://schemas.microsoft.com/office/drawing/2014/main" id="{9AC25BDA-B472-4404-971B-BCF1E614C287}"/>
              </a:ext>
            </a:extLst>
          </p:cNvPr>
          <p:cNvSpPr/>
          <p:nvPr/>
        </p:nvSpPr>
        <p:spPr>
          <a:xfrm flipV="1">
            <a:off x="1055689" y="803583"/>
            <a:ext cx="72580" cy="72177"/>
          </a:xfrm>
          <a:prstGeom prst="r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HarmonyOS Sans SC"/>
              <a:cs typeface="+mn-cs"/>
            </a:endParaRPr>
          </a:p>
        </p:txBody>
      </p:sp>
      <p:sp>
        <p:nvSpPr>
          <p:cNvPr id="32" name="文本框 31">
            <a:extLst>
              <a:ext uri="{FF2B5EF4-FFF2-40B4-BE49-F238E27FC236}">
                <a16:creationId xmlns:a16="http://schemas.microsoft.com/office/drawing/2014/main" id="{F934D1E9-637E-4541-BDC8-2C755144466B}"/>
              </a:ext>
            </a:extLst>
          </p:cNvPr>
          <p:cNvSpPr txBox="1"/>
          <p:nvPr/>
        </p:nvSpPr>
        <p:spPr>
          <a:xfrm>
            <a:off x="941388" y="918105"/>
            <a:ext cx="3411511"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2800" b="0" i="0" u="none" strike="noStrike" kern="1200" cap="none" spc="0" normalizeH="0" baseline="0" noProof="0" dirty="0">
                <a:ln>
                  <a:noFill/>
                </a:ln>
                <a:solidFill>
                  <a:prstClr val="black"/>
                </a:solidFill>
                <a:effectLst/>
                <a:uLnTx/>
                <a:uFillTx/>
                <a:latin typeface="HarmonyOS Sans Black"/>
                <a:ea typeface="+mj-ea"/>
                <a:cs typeface="+mn-cs"/>
              </a:rPr>
              <a:t>Arrow </a:t>
            </a:r>
            <a:r>
              <a:rPr kumimoji="0" lang="en-US" altLang="zh-CN" sz="2800" b="0" i="0" u="none" strike="noStrike" kern="1200" cap="none" spc="0" normalizeH="0" baseline="0" noProof="0" dirty="0">
                <a:ln>
                  <a:noFill/>
                </a:ln>
                <a:solidFill>
                  <a:schemeClr val="accent1"/>
                </a:solidFill>
                <a:effectLst/>
                <a:uLnTx/>
                <a:uFillTx/>
                <a:latin typeface="HarmonyOS Sans Black"/>
                <a:ea typeface="+mj-ea"/>
                <a:cs typeface="+mn-cs"/>
              </a:rPr>
              <a:t>infographic</a:t>
            </a:r>
          </a:p>
        </p:txBody>
      </p:sp>
      <p:grpSp>
        <p:nvGrpSpPr>
          <p:cNvPr id="45" name="组合 44">
            <a:extLst>
              <a:ext uri="{FF2B5EF4-FFF2-40B4-BE49-F238E27FC236}">
                <a16:creationId xmlns:a16="http://schemas.microsoft.com/office/drawing/2014/main" id="{E46CE9D2-6B19-48DF-9BBE-A84DF3527073}"/>
              </a:ext>
            </a:extLst>
          </p:cNvPr>
          <p:cNvGrpSpPr/>
          <p:nvPr/>
        </p:nvGrpSpPr>
        <p:grpSpPr>
          <a:xfrm>
            <a:off x="4082363" y="4224339"/>
            <a:ext cx="209550" cy="209550"/>
            <a:chOff x="5585550" y="2229291"/>
            <a:chExt cx="209550" cy="209550"/>
          </a:xfrm>
        </p:grpSpPr>
        <p:sp>
          <p:nvSpPr>
            <p:cNvPr id="46" name="Oval 69">
              <a:extLst>
                <a:ext uri="{FF2B5EF4-FFF2-40B4-BE49-F238E27FC236}">
                  <a16:creationId xmlns:a16="http://schemas.microsoft.com/office/drawing/2014/main" id="{674705D4-E04B-4492-A84C-08FD272F175F}"/>
                </a:ext>
              </a:extLst>
            </p:cNvPr>
            <p:cNvSpPr/>
            <p:nvPr/>
          </p:nvSpPr>
          <p:spPr>
            <a:xfrm flipH="1">
              <a:off x="5585550" y="2229291"/>
              <a:ext cx="209550" cy="209550"/>
            </a:xfrm>
            <a:prstGeom prst="ellipse">
              <a:avLst/>
            </a:prstGeom>
            <a:solidFill>
              <a:schemeClr val="accent1">
                <a:lumMod val="20000"/>
                <a:lumOff val="80000"/>
                <a:alpha val="5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800" b="0" i="0" u="none" strike="noStrike" kern="1200" cap="none" spc="0" normalizeH="0" baseline="0" noProof="0">
                <a:ln>
                  <a:noFill/>
                </a:ln>
                <a:solidFill>
                  <a:prstClr val="black">
                    <a:lumMod val="50000"/>
                    <a:lumOff val="50000"/>
                  </a:prstClr>
                </a:solidFill>
                <a:effectLst/>
                <a:uLnTx/>
                <a:uFillTx/>
                <a:latin typeface="HarmonyOS Sans SC"/>
                <a:cs typeface="+mn-cs"/>
              </a:endParaRPr>
            </a:p>
          </p:txBody>
        </p:sp>
        <p:sp>
          <p:nvSpPr>
            <p:cNvPr id="47" name="Oval 70">
              <a:extLst>
                <a:ext uri="{FF2B5EF4-FFF2-40B4-BE49-F238E27FC236}">
                  <a16:creationId xmlns:a16="http://schemas.microsoft.com/office/drawing/2014/main" id="{92313220-249C-4610-B67E-89D0AAA88BF9}"/>
                </a:ext>
              </a:extLst>
            </p:cNvPr>
            <p:cNvSpPr/>
            <p:nvPr/>
          </p:nvSpPr>
          <p:spPr>
            <a:xfrm flipH="1" flipV="1">
              <a:off x="5654983" y="2298724"/>
              <a:ext cx="70684" cy="70684"/>
            </a:xfrm>
            <a:prstGeom prst="ellipse">
              <a:avLst/>
            </a:prstGeom>
            <a:gradFill>
              <a:gsLst>
                <a:gs pos="73000">
                  <a:schemeClr val="accent1"/>
                </a:gs>
                <a:gs pos="31000">
                  <a:schemeClr val="accent1">
                    <a:lumMod val="60000"/>
                    <a:lumOff val="40000"/>
                  </a:schemeClr>
                </a:gs>
                <a:gs pos="0">
                  <a:schemeClr val="accent1">
                    <a:lumMod val="40000"/>
                    <a:lumOff val="60000"/>
                  </a:schemeClr>
                </a:gs>
              </a:gsLst>
              <a:lin ang="2700000" scaled="1"/>
            </a:gra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800" b="0" i="0" u="none" strike="noStrike" kern="1200" cap="none" spc="0" normalizeH="0" baseline="0" noProof="0">
                <a:ln>
                  <a:noFill/>
                </a:ln>
                <a:solidFill>
                  <a:prstClr val="black">
                    <a:lumMod val="50000"/>
                    <a:lumOff val="50000"/>
                  </a:prstClr>
                </a:solidFill>
                <a:effectLst/>
                <a:uLnTx/>
                <a:uFillTx/>
                <a:latin typeface="HarmonyOS Sans SC"/>
                <a:cs typeface="+mn-cs"/>
              </a:endParaRPr>
            </a:p>
          </p:txBody>
        </p:sp>
      </p:grpSp>
      <p:grpSp>
        <p:nvGrpSpPr>
          <p:cNvPr id="48" name="组合 47">
            <a:extLst>
              <a:ext uri="{FF2B5EF4-FFF2-40B4-BE49-F238E27FC236}">
                <a16:creationId xmlns:a16="http://schemas.microsoft.com/office/drawing/2014/main" id="{749F2A67-E141-4788-B877-5DF07BD962C2}"/>
              </a:ext>
            </a:extLst>
          </p:cNvPr>
          <p:cNvGrpSpPr/>
          <p:nvPr/>
        </p:nvGrpSpPr>
        <p:grpSpPr>
          <a:xfrm>
            <a:off x="8075541" y="2870748"/>
            <a:ext cx="209550" cy="209550"/>
            <a:chOff x="5585550" y="2229291"/>
            <a:chExt cx="209550" cy="209550"/>
          </a:xfrm>
        </p:grpSpPr>
        <p:sp>
          <p:nvSpPr>
            <p:cNvPr id="49" name="Oval 69">
              <a:extLst>
                <a:ext uri="{FF2B5EF4-FFF2-40B4-BE49-F238E27FC236}">
                  <a16:creationId xmlns:a16="http://schemas.microsoft.com/office/drawing/2014/main" id="{BB0E4E57-2EFC-4952-B6CA-90EB8EC34218}"/>
                </a:ext>
              </a:extLst>
            </p:cNvPr>
            <p:cNvSpPr/>
            <p:nvPr/>
          </p:nvSpPr>
          <p:spPr>
            <a:xfrm flipH="1">
              <a:off x="5585550" y="2229291"/>
              <a:ext cx="209550" cy="209550"/>
            </a:xfrm>
            <a:prstGeom prst="ellipse">
              <a:avLst/>
            </a:prstGeom>
            <a:solidFill>
              <a:schemeClr val="accent1">
                <a:lumMod val="20000"/>
                <a:lumOff val="80000"/>
                <a:alpha val="5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800" b="0" i="0" u="none" strike="noStrike" kern="1200" cap="none" spc="0" normalizeH="0" baseline="0" noProof="0">
                <a:ln>
                  <a:noFill/>
                </a:ln>
                <a:solidFill>
                  <a:prstClr val="black">
                    <a:lumMod val="50000"/>
                    <a:lumOff val="50000"/>
                  </a:prstClr>
                </a:solidFill>
                <a:effectLst/>
                <a:uLnTx/>
                <a:uFillTx/>
                <a:latin typeface="HarmonyOS Sans SC"/>
                <a:cs typeface="+mn-cs"/>
              </a:endParaRPr>
            </a:p>
          </p:txBody>
        </p:sp>
        <p:sp>
          <p:nvSpPr>
            <p:cNvPr id="50" name="Oval 70">
              <a:extLst>
                <a:ext uri="{FF2B5EF4-FFF2-40B4-BE49-F238E27FC236}">
                  <a16:creationId xmlns:a16="http://schemas.microsoft.com/office/drawing/2014/main" id="{7001B462-B576-4B0B-AFC6-3F5E86B2CB40}"/>
                </a:ext>
              </a:extLst>
            </p:cNvPr>
            <p:cNvSpPr/>
            <p:nvPr/>
          </p:nvSpPr>
          <p:spPr>
            <a:xfrm flipH="1" flipV="1">
              <a:off x="5654983" y="2298724"/>
              <a:ext cx="70684" cy="70684"/>
            </a:xfrm>
            <a:prstGeom prst="ellipse">
              <a:avLst/>
            </a:prstGeom>
            <a:gradFill>
              <a:gsLst>
                <a:gs pos="73000">
                  <a:schemeClr val="accent1"/>
                </a:gs>
                <a:gs pos="31000">
                  <a:schemeClr val="accent1">
                    <a:lumMod val="60000"/>
                    <a:lumOff val="40000"/>
                  </a:schemeClr>
                </a:gs>
                <a:gs pos="0">
                  <a:schemeClr val="accent1">
                    <a:lumMod val="40000"/>
                    <a:lumOff val="60000"/>
                  </a:schemeClr>
                </a:gs>
              </a:gsLst>
              <a:lin ang="2700000" scaled="1"/>
            </a:gra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800" b="0" i="0" u="none" strike="noStrike" kern="1200" cap="none" spc="0" normalizeH="0" baseline="0" noProof="0">
                <a:ln>
                  <a:noFill/>
                </a:ln>
                <a:solidFill>
                  <a:prstClr val="black">
                    <a:lumMod val="50000"/>
                    <a:lumOff val="50000"/>
                  </a:prstClr>
                </a:solidFill>
                <a:effectLst/>
                <a:uLnTx/>
                <a:uFillTx/>
                <a:latin typeface="HarmonyOS Sans SC"/>
                <a:cs typeface="+mn-cs"/>
              </a:endParaRPr>
            </a:p>
          </p:txBody>
        </p:sp>
      </p:grpSp>
      <p:sp>
        <p:nvSpPr>
          <p:cNvPr id="51" name="TextBox 65">
            <a:extLst>
              <a:ext uri="{FF2B5EF4-FFF2-40B4-BE49-F238E27FC236}">
                <a16:creationId xmlns:a16="http://schemas.microsoft.com/office/drawing/2014/main" id="{6780693C-BBBD-42E7-91FB-1C77931A91CC}"/>
              </a:ext>
            </a:extLst>
          </p:cNvPr>
          <p:cNvSpPr txBox="1"/>
          <p:nvPr/>
        </p:nvSpPr>
        <p:spPr>
          <a:xfrm>
            <a:off x="2058288" y="4120973"/>
            <a:ext cx="1538928" cy="345598"/>
          </a:xfrm>
          <a:prstGeom prst="rect">
            <a:avLst/>
          </a:prstGeom>
          <a:noFill/>
        </p:spPr>
        <p:txBody>
          <a:bodyPr wrap="square" lIns="0" tIns="36000" rIns="0" bIns="36000" rtlCol="0">
            <a:spAutoFit/>
          </a:bodyPr>
          <a:lstStyle/>
          <a:p>
            <a:pPr marL="0" marR="0" lvl="0" indent="0" algn="r" defTabSz="914400" rtl="0" eaLnBrk="1" fontAlgn="auto" latinLnBrk="0" hangingPunct="1">
              <a:lnSpc>
                <a:spcPct val="120000"/>
              </a:lnSpc>
              <a:spcBef>
                <a:spcPts val="600"/>
              </a:spcBef>
              <a:spcAft>
                <a:spcPts val="0"/>
              </a:spcAft>
              <a:buClrTx/>
              <a:buSzTx/>
              <a:buFontTx/>
              <a:buNone/>
              <a:tabLst/>
              <a:defRPr/>
            </a:pPr>
            <a:r>
              <a:rPr kumimoji="0" lang="en-US" sz="1600" b="0" i="0" u="none" strike="noStrike" kern="1200" cap="none" spc="0" normalizeH="0" baseline="0" noProof="0" dirty="0">
                <a:ln>
                  <a:noFill/>
                </a:ln>
                <a:solidFill>
                  <a:schemeClr val="accent1"/>
                </a:solidFill>
                <a:effectLst/>
                <a:uLnTx/>
                <a:uFillTx/>
                <a:latin typeface="HarmonyOS Sans SC Black"/>
                <a:ea typeface="+mj-ea"/>
                <a:cs typeface="+mn-cs"/>
              </a:rPr>
              <a:t>Subtitle Here</a:t>
            </a:r>
            <a:endParaRPr kumimoji="0" lang="en-US" sz="1100" b="0" i="0" u="none" strike="noStrike" kern="1200" cap="none" spc="0" normalizeH="0" baseline="0" noProof="0" dirty="0">
              <a:ln>
                <a:noFill/>
              </a:ln>
              <a:solidFill>
                <a:schemeClr val="accent1"/>
              </a:solidFill>
              <a:effectLst/>
              <a:uLnTx/>
              <a:uFillTx/>
              <a:latin typeface="HarmonyOS Sans SC Black"/>
              <a:ea typeface="+mj-ea"/>
              <a:cs typeface="+mn-cs"/>
            </a:endParaRPr>
          </a:p>
        </p:txBody>
      </p:sp>
      <p:sp>
        <p:nvSpPr>
          <p:cNvPr id="52" name="TextBox 65">
            <a:extLst>
              <a:ext uri="{FF2B5EF4-FFF2-40B4-BE49-F238E27FC236}">
                <a16:creationId xmlns:a16="http://schemas.microsoft.com/office/drawing/2014/main" id="{F5A42FAE-3426-4066-B5E3-45A20778BAD8}"/>
              </a:ext>
            </a:extLst>
          </p:cNvPr>
          <p:cNvSpPr txBox="1"/>
          <p:nvPr/>
        </p:nvSpPr>
        <p:spPr>
          <a:xfrm>
            <a:off x="1055688" y="4504372"/>
            <a:ext cx="2541528" cy="462746"/>
          </a:xfrm>
          <a:prstGeom prst="rect">
            <a:avLst/>
          </a:prstGeom>
          <a:noFill/>
        </p:spPr>
        <p:txBody>
          <a:bodyPr wrap="square" lIns="0" tIns="36000" rIns="0" bIns="36000" rtlCol="0">
            <a:spAutoFit/>
          </a:bodyPr>
          <a:lstStyle/>
          <a:p>
            <a:pPr marL="0" marR="0" lvl="0" indent="0" algn="r" defTabSz="914400" rtl="0" eaLnBrk="1" fontAlgn="auto" latinLnBrk="0" hangingPunct="1">
              <a:lnSpc>
                <a:spcPct val="120000"/>
              </a:lnSpc>
              <a:spcBef>
                <a:spcPts val="600"/>
              </a:spcBef>
              <a:spcAft>
                <a:spcPts val="0"/>
              </a:spcAft>
              <a:buClrTx/>
              <a:buSzTx/>
              <a:buFontTx/>
              <a:buNone/>
              <a:tabLst/>
              <a:defRPr/>
            </a:pPr>
            <a:r>
              <a:rPr kumimoji="0" lang="en-US" sz="1100" b="0" i="0" u="none" strike="noStrike" kern="1200" cap="none" spc="0" normalizeH="0" baseline="0" noProof="0" dirty="0">
                <a:ln>
                  <a:noFill/>
                </a:ln>
                <a:solidFill>
                  <a:prstClr val="black">
                    <a:lumMod val="50000"/>
                    <a:lumOff val="50000"/>
                  </a:prstClr>
                </a:solidFill>
                <a:effectLst/>
                <a:uLnTx/>
                <a:uFillTx/>
                <a:latin typeface="HarmonyOS Sans SC"/>
                <a:cs typeface="+mn-cs"/>
              </a:rPr>
              <a:t>As the minuteness of the parts formed a great.</a:t>
            </a:r>
          </a:p>
        </p:txBody>
      </p:sp>
      <p:sp>
        <p:nvSpPr>
          <p:cNvPr id="53" name="TextBox 72">
            <a:extLst>
              <a:ext uri="{FF2B5EF4-FFF2-40B4-BE49-F238E27FC236}">
                <a16:creationId xmlns:a16="http://schemas.microsoft.com/office/drawing/2014/main" id="{33CA94FF-7BDD-49CC-977F-B07B78A0831A}"/>
              </a:ext>
            </a:extLst>
          </p:cNvPr>
          <p:cNvSpPr txBox="1"/>
          <p:nvPr/>
        </p:nvSpPr>
        <p:spPr>
          <a:xfrm flipH="1">
            <a:off x="8820734" y="2779276"/>
            <a:ext cx="1651417" cy="345598"/>
          </a:xfrm>
          <a:prstGeom prst="rect">
            <a:avLst/>
          </a:prstGeom>
          <a:noFill/>
        </p:spPr>
        <p:txBody>
          <a:bodyPr wrap="square" lIns="0" tIns="36000" rIns="0" bIns="36000" rtlCol="0">
            <a:spAutoFit/>
          </a:bodyPr>
          <a:lstStyle/>
          <a:p>
            <a:pPr marL="0" marR="0" lvl="0" indent="0" algn="l" defTabSz="914400" rtl="0" eaLnBrk="1" fontAlgn="auto" latinLnBrk="0" hangingPunct="1">
              <a:lnSpc>
                <a:spcPct val="120000"/>
              </a:lnSpc>
              <a:spcBef>
                <a:spcPts val="600"/>
              </a:spcBef>
              <a:spcAft>
                <a:spcPts val="0"/>
              </a:spcAft>
              <a:buClrTx/>
              <a:buSzTx/>
              <a:buFontTx/>
              <a:buNone/>
              <a:tabLst/>
              <a:defRPr/>
            </a:pPr>
            <a:r>
              <a:rPr kumimoji="0" lang="en-US" sz="1600" b="0" i="0" u="none" strike="noStrike" kern="1200" cap="none" spc="0" normalizeH="0" baseline="0" noProof="0" dirty="0">
                <a:ln>
                  <a:noFill/>
                </a:ln>
                <a:solidFill>
                  <a:schemeClr val="accent1"/>
                </a:solidFill>
                <a:effectLst/>
                <a:uLnTx/>
                <a:uFillTx/>
                <a:latin typeface="HarmonyOS Sans SC Black"/>
                <a:ea typeface="+mj-ea"/>
                <a:cs typeface="+mn-cs"/>
              </a:rPr>
              <a:t>Subtitle Here</a:t>
            </a:r>
            <a:endParaRPr kumimoji="0" lang="en-US" sz="1100" b="0" i="0" u="none" strike="noStrike" kern="1200" cap="none" spc="0" normalizeH="0" baseline="0" noProof="0" dirty="0">
              <a:ln>
                <a:noFill/>
              </a:ln>
              <a:solidFill>
                <a:schemeClr val="accent1"/>
              </a:solidFill>
              <a:effectLst/>
              <a:uLnTx/>
              <a:uFillTx/>
              <a:latin typeface="HarmonyOS Sans SC Black"/>
              <a:ea typeface="+mj-ea"/>
              <a:cs typeface="+mn-cs"/>
            </a:endParaRPr>
          </a:p>
        </p:txBody>
      </p:sp>
      <p:sp>
        <p:nvSpPr>
          <p:cNvPr id="54" name="TextBox 72">
            <a:extLst>
              <a:ext uri="{FF2B5EF4-FFF2-40B4-BE49-F238E27FC236}">
                <a16:creationId xmlns:a16="http://schemas.microsoft.com/office/drawing/2014/main" id="{C8B50BB2-C42A-4A9D-AD0E-E3122E174D13}"/>
              </a:ext>
            </a:extLst>
          </p:cNvPr>
          <p:cNvSpPr txBox="1"/>
          <p:nvPr/>
        </p:nvSpPr>
        <p:spPr>
          <a:xfrm flipH="1">
            <a:off x="8820732" y="3162675"/>
            <a:ext cx="2380667" cy="462746"/>
          </a:xfrm>
          <a:prstGeom prst="rect">
            <a:avLst/>
          </a:prstGeom>
          <a:noFill/>
        </p:spPr>
        <p:txBody>
          <a:bodyPr wrap="square" lIns="0" tIns="36000" rIns="0" bIns="36000" rtlCol="0">
            <a:spAutoFit/>
          </a:bodyPr>
          <a:lstStyle/>
          <a:p>
            <a:pPr marL="0" marR="0" lvl="0" indent="0" algn="l" defTabSz="914400" rtl="0" eaLnBrk="1" fontAlgn="auto" latinLnBrk="0" hangingPunct="1">
              <a:lnSpc>
                <a:spcPct val="120000"/>
              </a:lnSpc>
              <a:spcBef>
                <a:spcPts val="600"/>
              </a:spcBef>
              <a:spcAft>
                <a:spcPts val="0"/>
              </a:spcAft>
              <a:buClrTx/>
              <a:buSzTx/>
              <a:buFontTx/>
              <a:buNone/>
              <a:tabLst/>
              <a:defRPr/>
            </a:pPr>
            <a:r>
              <a:rPr kumimoji="0" lang="en-US" sz="1100" b="0" i="0" u="none" strike="noStrike" kern="1200" cap="none" spc="0" normalizeH="0" baseline="0" noProof="0" dirty="0">
                <a:ln>
                  <a:noFill/>
                </a:ln>
                <a:solidFill>
                  <a:prstClr val="black">
                    <a:lumMod val="50000"/>
                    <a:lumOff val="50000"/>
                  </a:prstClr>
                </a:solidFill>
                <a:effectLst/>
                <a:uLnTx/>
                <a:uFillTx/>
                <a:latin typeface="HarmonyOS Sans SC"/>
                <a:cs typeface="+mn-cs"/>
              </a:rPr>
              <a:t>As the minuteness of the parts formed a great.</a:t>
            </a:r>
          </a:p>
        </p:txBody>
      </p:sp>
    </p:spTree>
    <p:extLst>
      <p:ext uri="{BB962C8B-B14F-4D97-AF65-F5344CB8AC3E}">
        <p14:creationId xmlns:p14="http://schemas.microsoft.com/office/powerpoint/2010/main" val="3382037566"/>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4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7">
            <a:extLst>
              <a:ext uri="{FF2B5EF4-FFF2-40B4-BE49-F238E27FC236}">
                <a16:creationId xmlns:a16="http://schemas.microsoft.com/office/drawing/2014/main" id="{D24E5818-1DC9-4BAE-BAA8-849FB4C5C9EA}"/>
              </a:ext>
            </a:extLst>
          </p:cNvPr>
          <p:cNvGrpSpPr>
            <a:grpSpLocks noChangeAspect="1"/>
          </p:cNvGrpSpPr>
          <p:nvPr/>
        </p:nvGrpSpPr>
        <p:grpSpPr bwMode="auto">
          <a:xfrm>
            <a:off x="6589336" y="3481854"/>
            <a:ext cx="428746" cy="406223"/>
            <a:chOff x="2610" y="2666"/>
            <a:chExt cx="533" cy="505"/>
          </a:xfrm>
          <a:solidFill>
            <a:schemeClr val="accent1"/>
          </a:solidFill>
        </p:grpSpPr>
        <p:sp>
          <p:nvSpPr>
            <p:cNvPr id="4" name="Freeform 28">
              <a:extLst>
                <a:ext uri="{FF2B5EF4-FFF2-40B4-BE49-F238E27FC236}">
                  <a16:creationId xmlns:a16="http://schemas.microsoft.com/office/drawing/2014/main" id="{0D5FD4EB-07AD-44A3-92C1-AF6E704E3905}"/>
                </a:ext>
              </a:extLst>
            </p:cNvPr>
            <p:cNvSpPr>
              <a:spLocks/>
            </p:cNvSpPr>
            <p:nvPr/>
          </p:nvSpPr>
          <p:spPr bwMode="auto">
            <a:xfrm>
              <a:off x="2859" y="2666"/>
              <a:ext cx="114" cy="111"/>
            </a:xfrm>
            <a:custGeom>
              <a:avLst/>
              <a:gdLst>
                <a:gd name="T0" fmla="*/ 33 w 54"/>
                <a:gd name="T1" fmla="*/ 3 h 53"/>
                <a:gd name="T2" fmla="*/ 4 w 54"/>
                <a:gd name="T3" fmla="*/ 20 h 53"/>
                <a:gd name="T4" fmla="*/ 21 w 54"/>
                <a:gd name="T5" fmla="*/ 50 h 53"/>
                <a:gd name="T6" fmla="*/ 50 w 54"/>
                <a:gd name="T7" fmla="*/ 33 h 53"/>
                <a:gd name="T8" fmla="*/ 33 w 54"/>
                <a:gd name="T9" fmla="*/ 3 h 53"/>
              </a:gdLst>
              <a:ahLst/>
              <a:cxnLst>
                <a:cxn ang="0">
                  <a:pos x="T0" y="T1"/>
                </a:cxn>
                <a:cxn ang="0">
                  <a:pos x="T2" y="T3"/>
                </a:cxn>
                <a:cxn ang="0">
                  <a:pos x="T4" y="T5"/>
                </a:cxn>
                <a:cxn ang="0">
                  <a:pos x="T6" y="T7"/>
                </a:cxn>
                <a:cxn ang="0">
                  <a:pos x="T8" y="T9"/>
                </a:cxn>
              </a:cxnLst>
              <a:rect l="0" t="0" r="r" b="b"/>
              <a:pathLst>
                <a:path w="54" h="53">
                  <a:moveTo>
                    <a:pt x="33" y="3"/>
                  </a:moveTo>
                  <a:cubicBezTo>
                    <a:pt x="20" y="0"/>
                    <a:pt x="7" y="7"/>
                    <a:pt x="4" y="20"/>
                  </a:cubicBezTo>
                  <a:cubicBezTo>
                    <a:pt x="0" y="33"/>
                    <a:pt x="8" y="46"/>
                    <a:pt x="21" y="50"/>
                  </a:cubicBezTo>
                  <a:cubicBezTo>
                    <a:pt x="33" y="53"/>
                    <a:pt x="47" y="46"/>
                    <a:pt x="50" y="33"/>
                  </a:cubicBezTo>
                  <a:cubicBezTo>
                    <a:pt x="54" y="20"/>
                    <a:pt x="46" y="7"/>
                    <a:pt x="3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HarmonyOS Sans SC"/>
                <a:cs typeface="+mn-cs"/>
              </a:endParaRPr>
            </a:p>
          </p:txBody>
        </p:sp>
        <p:sp>
          <p:nvSpPr>
            <p:cNvPr id="5" name="Freeform 29">
              <a:extLst>
                <a:ext uri="{FF2B5EF4-FFF2-40B4-BE49-F238E27FC236}">
                  <a16:creationId xmlns:a16="http://schemas.microsoft.com/office/drawing/2014/main" id="{9601DEC9-45B9-46EE-B6D6-A5EDEB2F67D3}"/>
                </a:ext>
              </a:extLst>
            </p:cNvPr>
            <p:cNvSpPr>
              <a:spLocks noEditPoints="1"/>
            </p:cNvSpPr>
            <p:nvPr/>
          </p:nvSpPr>
          <p:spPr bwMode="auto">
            <a:xfrm>
              <a:off x="2610" y="2813"/>
              <a:ext cx="533" cy="358"/>
            </a:xfrm>
            <a:custGeom>
              <a:avLst/>
              <a:gdLst>
                <a:gd name="T0" fmla="*/ 37 w 254"/>
                <a:gd name="T1" fmla="*/ 51 h 171"/>
                <a:gd name="T2" fmla="*/ 25 w 254"/>
                <a:gd name="T3" fmla="*/ 29 h 171"/>
                <a:gd name="T4" fmla="*/ 3 w 254"/>
                <a:gd name="T5" fmla="*/ 42 h 171"/>
                <a:gd name="T6" fmla="*/ 15 w 254"/>
                <a:gd name="T7" fmla="*/ 64 h 171"/>
                <a:gd name="T8" fmla="*/ 37 w 254"/>
                <a:gd name="T9" fmla="*/ 51 h 171"/>
                <a:gd name="T10" fmla="*/ 103 w 254"/>
                <a:gd name="T11" fmla="*/ 159 h 171"/>
                <a:gd name="T12" fmla="*/ 180 w 254"/>
                <a:gd name="T13" fmla="*/ 157 h 171"/>
                <a:gd name="T14" fmla="*/ 221 w 254"/>
                <a:gd name="T15" fmla="*/ 91 h 171"/>
                <a:gd name="T16" fmla="*/ 165 w 254"/>
                <a:gd name="T17" fmla="*/ 129 h 171"/>
                <a:gd name="T18" fmla="*/ 103 w 254"/>
                <a:gd name="T19" fmla="*/ 159 h 171"/>
                <a:gd name="T20" fmla="*/ 250 w 254"/>
                <a:gd name="T21" fmla="*/ 16 h 171"/>
                <a:gd name="T22" fmla="*/ 181 w 254"/>
                <a:gd name="T23" fmla="*/ 16 h 171"/>
                <a:gd name="T24" fmla="*/ 99 w 254"/>
                <a:gd name="T25" fmla="*/ 16 h 171"/>
                <a:gd name="T26" fmla="*/ 59 w 254"/>
                <a:gd name="T27" fmla="*/ 85 h 171"/>
                <a:gd name="T28" fmla="*/ 21 w 254"/>
                <a:gd name="T29" fmla="*/ 129 h 171"/>
                <a:gd name="T30" fmla="*/ 23 w 254"/>
                <a:gd name="T31" fmla="*/ 144 h 171"/>
                <a:gd name="T32" fmla="*/ 45 w 254"/>
                <a:gd name="T33" fmla="*/ 154 h 171"/>
                <a:gd name="T34" fmla="*/ 156 w 254"/>
                <a:gd name="T35" fmla="*/ 113 h 171"/>
                <a:gd name="T36" fmla="*/ 252 w 254"/>
                <a:gd name="T37" fmla="*/ 30 h 171"/>
                <a:gd name="T38" fmla="*/ 250 w 254"/>
                <a:gd name="T39" fmla="*/ 16 h 171"/>
                <a:gd name="T40" fmla="*/ 38 w 254"/>
                <a:gd name="T41" fmla="*/ 135 h 171"/>
                <a:gd name="T42" fmla="*/ 61 w 254"/>
                <a:gd name="T43" fmla="*/ 106 h 171"/>
                <a:gd name="T44" fmla="*/ 69 w 254"/>
                <a:gd name="T45" fmla="*/ 127 h 171"/>
                <a:gd name="T46" fmla="*/ 72 w 254"/>
                <a:gd name="T47" fmla="*/ 131 h 171"/>
                <a:gd name="T48" fmla="*/ 38 w 254"/>
                <a:gd name="T49" fmla="*/ 135 h 171"/>
                <a:gd name="T50" fmla="*/ 116 w 254"/>
                <a:gd name="T51" fmla="*/ 45 h 171"/>
                <a:gd name="T52" fmla="*/ 92 w 254"/>
                <a:gd name="T53" fmla="*/ 83 h 171"/>
                <a:gd name="T54" fmla="*/ 85 w 254"/>
                <a:gd name="T55" fmla="*/ 90 h 171"/>
                <a:gd name="T56" fmla="*/ 84 w 254"/>
                <a:gd name="T57" fmla="*/ 90 h 171"/>
                <a:gd name="T58" fmla="*/ 77 w 254"/>
                <a:gd name="T59" fmla="*/ 82 h 171"/>
                <a:gd name="T60" fmla="*/ 109 w 254"/>
                <a:gd name="T61" fmla="*/ 32 h 171"/>
                <a:gd name="T62" fmla="*/ 119 w 254"/>
                <a:gd name="T63" fmla="*/ 35 h 171"/>
                <a:gd name="T64" fmla="*/ 116 w 254"/>
                <a:gd name="T65" fmla="*/ 45 h 171"/>
                <a:gd name="T66" fmla="*/ 213 w 254"/>
                <a:gd name="T67" fmla="*/ 52 h 171"/>
                <a:gd name="T68" fmla="*/ 210 w 254"/>
                <a:gd name="T69" fmla="*/ 46 h 171"/>
                <a:gd name="T70" fmla="*/ 198 w 254"/>
                <a:gd name="T71" fmla="*/ 30 h 171"/>
                <a:gd name="T72" fmla="*/ 235 w 254"/>
                <a:gd name="T73" fmla="*/ 25 h 171"/>
                <a:gd name="T74" fmla="*/ 213 w 254"/>
                <a:gd name="T75" fmla="*/ 52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54" h="171">
                  <a:moveTo>
                    <a:pt x="37" y="51"/>
                  </a:moveTo>
                  <a:cubicBezTo>
                    <a:pt x="40" y="42"/>
                    <a:pt x="34" y="32"/>
                    <a:pt x="25" y="29"/>
                  </a:cubicBezTo>
                  <a:cubicBezTo>
                    <a:pt x="15" y="27"/>
                    <a:pt x="5" y="32"/>
                    <a:pt x="3" y="42"/>
                  </a:cubicBezTo>
                  <a:cubicBezTo>
                    <a:pt x="0" y="51"/>
                    <a:pt x="6" y="61"/>
                    <a:pt x="15" y="64"/>
                  </a:cubicBezTo>
                  <a:cubicBezTo>
                    <a:pt x="25" y="67"/>
                    <a:pt x="35" y="61"/>
                    <a:pt x="37" y="51"/>
                  </a:cubicBezTo>
                  <a:close/>
                  <a:moveTo>
                    <a:pt x="103" y="159"/>
                  </a:moveTo>
                  <a:cubicBezTo>
                    <a:pt x="127" y="170"/>
                    <a:pt x="156" y="171"/>
                    <a:pt x="180" y="157"/>
                  </a:cubicBezTo>
                  <a:cubicBezTo>
                    <a:pt x="205" y="143"/>
                    <a:pt x="219" y="118"/>
                    <a:pt x="221" y="91"/>
                  </a:cubicBezTo>
                  <a:cubicBezTo>
                    <a:pt x="205" y="104"/>
                    <a:pt x="186" y="117"/>
                    <a:pt x="165" y="129"/>
                  </a:cubicBezTo>
                  <a:cubicBezTo>
                    <a:pt x="143" y="141"/>
                    <a:pt x="122" y="151"/>
                    <a:pt x="103" y="159"/>
                  </a:cubicBezTo>
                  <a:close/>
                  <a:moveTo>
                    <a:pt x="250" y="16"/>
                  </a:moveTo>
                  <a:cubicBezTo>
                    <a:pt x="242" y="0"/>
                    <a:pt x="212" y="5"/>
                    <a:pt x="181" y="16"/>
                  </a:cubicBezTo>
                  <a:cubicBezTo>
                    <a:pt x="157" y="2"/>
                    <a:pt x="126" y="1"/>
                    <a:pt x="99" y="16"/>
                  </a:cubicBezTo>
                  <a:cubicBezTo>
                    <a:pt x="74" y="30"/>
                    <a:pt x="59" y="57"/>
                    <a:pt x="59" y="85"/>
                  </a:cubicBezTo>
                  <a:cubicBezTo>
                    <a:pt x="39" y="101"/>
                    <a:pt x="25" y="116"/>
                    <a:pt x="21" y="129"/>
                  </a:cubicBezTo>
                  <a:cubicBezTo>
                    <a:pt x="19" y="136"/>
                    <a:pt x="21" y="141"/>
                    <a:pt x="23" y="144"/>
                  </a:cubicBezTo>
                  <a:cubicBezTo>
                    <a:pt x="27" y="151"/>
                    <a:pt x="35" y="154"/>
                    <a:pt x="45" y="154"/>
                  </a:cubicBezTo>
                  <a:cubicBezTo>
                    <a:pt x="75" y="154"/>
                    <a:pt x="125" y="131"/>
                    <a:pt x="156" y="113"/>
                  </a:cubicBezTo>
                  <a:cubicBezTo>
                    <a:pt x="199" y="89"/>
                    <a:pt x="245" y="54"/>
                    <a:pt x="252" y="30"/>
                  </a:cubicBezTo>
                  <a:cubicBezTo>
                    <a:pt x="254" y="23"/>
                    <a:pt x="252" y="18"/>
                    <a:pt x="250" y="16"/>
                  </a:cubicBezTo>
                  <a:close/>
                  <a:moveTo>
                    <a:pt x="38" y="135"/>
                  </a:moveTo>
                  <a:cubicBezTo>
                    <a:pt x="38" y="130"/>
                    <a:pt x="46" y="120"/>
                    <a:pt x="61" y="106"/>
                  </a:cubicBezTo>
                  <a:cubicBezTo>
                    <a:pt x="63" y="113"/>
                    <a:pt x="66" y="120"/>
                    <a:pt x="69" y="127"/>
                  </a:cubicBezTo>
                  <a:cubicBezTo>
                    <a:pt x="70" y="128"/>
                    <a:pt x="71" y="129"/>
                    <a:pt x="72" y="131"/>
                  </a:cubicBezTo>
                  <a:cubicBezTo>
                    <a:pt x="54" y="136"/>
                    <a:pt x="42" y="137"/>
                    <a:pt x="38" y="135"/>
                  </a:cubicBezTo>
                  <a:close/>
                  <a:moveTo>
                    <a:pt x="116" y="45"/>
                  </a:moveTo>
                  <a:cubicBezTo>
                    <a:pt x="102" y="53"/>
                    <a:pt x="93" y="67"/>
                    <a:pt x="92" y="83"/>
                  </a:cubicBezTo>
                  <a:cubicBezTo>
                    <a:pt x="92" y="87"/>
                    <a:pt x="89" y="90"/>
                    <a:pt x="85" y="90"/>
                  </a:cubicBezTo>
                  <a:cubicBezTo>
                    <a:pt x="85" y="90"/>
                    <a:pt x="84" y="90"/>
                    <a:pt x="84" y="90"/>
                  </a:cubicBezTo>
                  <a:cubicBezTo>
                    <a:pt x="80" y="90"/>
                    <a:pt x="77" y="86"/>
                    <a:pt x="77" y="82"/>
                  </a:cubicBezTo>
                  <a:cubicBezTo>
                    <a:pt x="79" y="61"/>
                    <a:pt x="90" y="42"/>
                    <a:pt x="109" y="32"/>
                  </a:cubicBezTo>
                  <a:cubicBezTo>
                    <a:pt x="112" y="30"/>
                    <a:pt x="117" y="31"/>
                    <a:pt x="119" y="35"/>
                  </a:cubicBezTo>
                  <a:cubicBezTo>
                    <a:pt x="121" y="38"/>
                    <a:pt x="120" y="43"/>
                    <a:pt x="116" y="45"/>
                  </a:cubicBezTo>
                  <a:close/>
                  <a:moveTo>
                    <a:pt x="213" y="52"/>
                  </a:moveTo>
                  <a:cubicBezTo>
                    <a:pt x="212" y="50"/>
                    <a:pt x="211" y="48"/>
                    <a:pt x="210" y="46"/>
                  </a:cubicBezTo>
                  <a:cubicBezTo>
                    <a:pt x="207" y="40"/>
                    <a:pt x="203" y="34"/>
                    <a:pt x="198" y="30"/>
                  </a:cubicBezTo>
                  <a:cubicBezTo>
                    <a:pt x="218" y="23"/>
                    <a:pt x="231" y="22"/>
                    <a:pt x="235" y="25"/>
                  </a:cubicBezTo>
                  <a:cubicBezTo>
                    <a:pt x="235" y="29"/>
                    <a:pt x="228" y="39"/>
                    <a:pt x="213" y="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HarmonyOS Sans SC"/>
                <a:cs typeface="+mn-cs"/>
              </a:endParaRPr>
            </a:p>
          </p:txBody>
        </p:sp>
      </p:grpSp>
      <p:grpSp>
        <p:nvGrpSpPr>
          <p:cNvPr id="6" name="Group 32">
            <a:extLst>
              <a:ext uri="{FF2B5EF4-FFF2-40B4-BE49-F238E27FC236}">
                <a16:creationId xmlns:a16="http://schemas.microsoft.com/office/drawing/2014/main" id="{71FF000D-28BB-4607-9C65-F4BF3CAD32D9}"/>
              </a:ext>
            </a:extLst>
          </p:cNvPr>
          <p:cNvGrpSpPr>
            <a:grpSpLocks noChangeAspect="1"/>
          </p:cNvGrpSpPr>
          <p:nvPr/>
        </p:nvGrpSpPr>
        <p:grpSpPr bwMode="auto">
          <a:xfrm>
            <a:off x="5448142" y="4434107"/>
            <a:ext cx="343753" cy="309378"/>
            <a:chOff x="3631" y="1972"/>
            <a:chExt cx="420" cy="378"/>
          </a:xfrm>
          <a:solidFill>
            <a:schemeClr val="accent1"/>
          </a:solidFill>
        </p:grpSpPr>
        <p:sp>
          <p:nvSpPr>
            <p:cNvPr id="7" name="Freeform 33">
              <a:extLst>
                <a:ext uri="{FF2B5EF4-FFF2-40B4-BE49-F238E27FC236}">
                  <a16:creationId xmlns:a16="http://schemas.microsoft.com/office/drawing/2014/main" id="{98992898-1CE7-436B-B278-67C9E1850E2F}"/>
                </a:ext>
              </a:extLst>
            </p:cNvPr>
            <p:cNvSpPr>
              <a:spLocks noEditPoints="1"/>
            </p:cNvSpPr>
            <p:nvPr/>
          </p:nvSpPr>
          <p:spPr bwMode="auto">
            <a:xfrm>
              <a:off x="3631" y="1985"/>
              <a:ext cx="420" cy="365"/>
            </a:xfrm>
            <a:custGeom>
              <a:avLst/>
              <a:gdLst>
                <a:gd name="T0" fmla="*/ 189 w 199"/>
                <a:gd name="T1" fmla="*/ 0 h 173"/>
                <a:gd name="T2" fmla="*/ 170 w 199"/>
                <a:gd name="T3" fmla="*/ 0 h 173"/>
                <a:gd name="T4" fmla="*/ 170 w 199"/>
                <a:gd name="T5" fmla="*/ 19 h 173"/>
                <a:gd name="T6" fmla="*/ 180 w 199"/>
                <a:gd name="T7" fmla="*/ 19 h 173"/>
                <a:gd name="T8" fmla="*/ 180 w 199"/>
                <a:gd name="T9" fmla="*/ 104 h 173"/>
                <a:gd name="T10" fmla="*/ 19 w 199"/>
                <a:gd name="T11" fmla="*/ 104 h 173"/>
                <a:gd name="T12" fmla="*/ 19 w 199"/>
                <a:gd name="T13" fmla="*/ 19 h 173"/>
                <a:gd name="T14" fmla="*/ 28 w 199"/>
                <a:gd name="T15" fmla="*/ 19 h 173"/>
                <a:gd name="T16" fmla="*/ 28 w 199"/>
                <a:gd name="T17" fmla="*/ 0 h 173"/>
                <a:gd name="T18" fmla="*/ 10 w 199"/>
                <a:gd name="T19" fmla="*/ 0 h 173"/>
                <a:gd name="T20" fmla="*/ 0 w 199"/>
                <a:gd name="T21" fmla="*/ 10 h 173"/>
                <a:gd name="T22" fmla="*/ 0 w 199"/>
                <a:gd name="T23" fmla="*/ 128 h 173"/>
                <a:gd name="T24" fmla="*/ 10 w 199"/>
                <a:gd name="T25" fmla="*/ 137 h 173"/>
                <a:gd name="T26" fmla="*/ 80 w 199"/>
                <a:gd name="T27" fmla="*/ 137 h 173"/>
                <a:gd name="T28" fmla="*/ 77 w 199"/>
                <a:gd name="T29" fmla="*/ 159 h 173"/>
                <a:gd name="T30" fmla="*/ 59 w 199"/>
                <a:gd name="T31" fmla="*/ 159 h 173"/>
                <a:gd name="T32" fmla="*/ 52 w 199"/>
                <a:gd name="T33" fmla="*/ 166 h 173"/>
                <a:gd name="T34" fmla="*/ 59 w 199"/>
                <a:gd name="T35" fmla="*/ 173 h 173"/>
                <a:gd name="T36" fmla="*/ 140 w 199"/>
                <a:gd name="T37" fmla="*/ 173 h 173"/>
                <a:gd name="T38" fmla="*/ 147 w 199"/>
                <a:gd name="T39" fmla="*/ 166 h 173"/>
                <a:gd name="T40" fmla="*/ 140 w 199"/>
                <a:gd name="T41" fmla="*/ 159 h 173"/>
                <a:gd name="T42" fmla="*/ 122 w 199"/>
                <a:gd name="T43" fmla="*/ 159 h 173"/>
                <a:gd name="T44" fmla="*/ 119 w 199"/>
                <a:gd name="T45" fmla="*/ 137 h 173"/>
                <a:gd name="T46" fmla="*/ 189 w 199"/>
                <a:gd name="T47" fmla="*/ 137 h 173"/>
                <a:gd name="T48" fmla="*/ 199 w 199"/>
                <a:gd name="T49" fmla="*/ 128 h 173"/>
                <a:gd name="T50" fmla="*/ 199 w 199"/>
                <a:gd name="T51" fmla="*/ 10 h 173"/>
                <a:gd name="T52" fmla="*/ 189 w 199"/>
                <a:gd name="T53" fmla="*/ 0 h 173"/>
                <a:gd name="T54" fmla="*/ 99 w 199"/>
                <a:gd name="T55" fmla="*/ 130 h 173"/>
                <a:gd name="T56" fmla="*/ 92 w 199"/>
                <a:gd name="T57" fmla="*/ 123 h 173"/>
                <a:gd name="T58" fmla="*/ 99 w 199"/>
                <a:gd name="T59" fmla="*/ 116 h 173"/>
                <a:gd name="T60" fmla="*/ 106 w 199"/>
                <a:gd name="T61" fmla="*/ 123 h 173"/>
                <a:gd name="T62" fmla="*/ 99 w 199"/>
                <a:gd name="T63" fmla="*/ 13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99" h="173">
                  <a:moveTo>
                    <a:pt x="189" y="0"/>
                  </a:moveTo>
                  <a:cubicBezTo>
                    <a:pt x="170" y="0"/>
                    <a:pt x="170" y="0"/>
                    <a:pt x="170" y="0"/>
                  </a:cubicBezTo>
                  <a:cubicBezTo>
                    <a:pt x="170" y="19"/>
                    <a:pt x="170" y="19"/>
                    <a:pt x="170" y="19"/>
                  </a:cubicBezTo>
                  <a:cubicBezTo>
                    <a:pt x="180" y="19"/>
                    <a:pt x="180" y="19"/>
                    <a:pt x="180" y="19"/>
                  </a:cubicBezTo>
                  <a:cubicBezTo>
                    <a:pt x="180" y="104"/>
                    <a:pt x="180" y="104"/>
                    <a:pt x="180" y="104"/>
                  </a:cubicBezTo>
                  <a:cubicBezTo>
                    <a:pt x="19" y="104"/>
                    <a:pt x="19" y="104"/>
                    <a:pt x="19" y="104"/>
                  </a:cubicBezTo>
                  <a:cubicBezTo>
                    <a:pt x="19" y="19"/>
                    <a:pt x="19" y="19"/>
                    <a:pt x="19" y="19"/>
                  </a:cubicBezTo>
                  <a:cubicBezTo>
                    <a:pt x="28" y="19"/>
                    <a:pt x="28" y="19"/>
                    <a:pt x="28" y="19"/>
                  </a:cubicBezTo>
                  <a:cubicBezTo>
                    <a:pt x="28" y="0"/>
                    <a:pt x="28" y="0"/>
                    <a:pt x="28" y="0"/>
                  </a:cubicBezTo>
                  <a:cubicBezTo>
                    <a:pt x="10" y="0"/>
                    <a:pt x="10" y="0"/>
                    <a:pt x="10" y="0"/>
                  </a:cubicBezTo>
                  <a:cubicBezTo>
                    <a:pt x="4" y="0"/>
                    <a:pt x="0" y="5"/>
                    <a:pt x="0" y="10"/>
                  </a:cubicBezTo>
                  <a:cubicBezTo>
                    <a:pt x="0" y="128"/>
                    <a:pt x="0" y="128"/>
                    <a:pt x="0" y="128"/>
                  </a:cubicBezTo>
                  <a:cubicBezTo>
                    <a:pt x="0" y="133"/>
                    <a:pt x="4" y="137"/>
                    <a:pt x="10" y="137"/>
                  </a:cubicBezTo>
                  <a:cubicBezTo>
                    <a:pt x="80" y="137"/>
                    <a:pt x="80" y="137"/>
                    <a:pt x="80" y="137"/>
                  </a:cubicBezTo>
                  <a:cubicBezTo>
                    <a:pt x="77" y="159"/>
                    <a:pt x="77" y="159"/>
                    <a:pt x="77" y="159"/>
                  </a:cubicBezTo>
                  <a:cubicBezTo>
                    <a:pt x="59" y="159"/>
                    <a:pt x="59" y="159"/>
                    <a:pt x="59" y="159"/>
                  </a:cubicBezTo>
                  <a:cubicBezTo>
                    <a:pt x="55" y="159"/>
                    <a:pt x="52" y="162"/>
                    <a:pt x="52" y="166"/>
                  </a:cubicBezTo>
                  <a:cubicBezTo>
                    <a:pt x="52" y="170"/>
                    <a:pt x="55" y="173"/>
                    <a:pt x="59" y="173"/>
                  </a:cubicBezTo>
                  <a:cubicBezTo>
                    <a:pt x="140" y="173"/>
                    <a:pt x="140" y="173"/>
                    <a:pt x="140" y="173"/>
                  </a:cubicBezTo>
                  <a:cubicBezTo>
                    <a:pt x="143" y="173"/>
                    <a:pt x="147" y="170"/>
                    <a:pt x="147" y="166"/>
                  </a:cubicBezTo>
                  <a:cubicBezTo>
                    <a:pt x="147" y="162"/>
                    <a:pt x="143" y="159"/>
                    <a:pt x="140" y="159"/>
                  </a:cubicBezTo>
                  <a:cubicBezTo>
                    <a:pt x="122" y="159"/>
                    <a:pt x="122" y="159"/>
                    <a:pt x="122" y="159"/>
                  </a:cubicBezTo>
                  <a:cubicBezTo>
                    <a:pt x="119" y="137"/>
                    <a:pt x="119" y="137"/>
                    <a:pt x="119" y="137"/>
                  </a:cubicBezTo>
                  <a:cubicBezTo>
                    <a:pt x="189" y="137"/>
                    <a:pt x="189" y="137"/>
                    <a:pt x="189" y="137"/>
                  </a:cubicBezTo>
                  <a:cubicBezTo>
                    <a:pt x="194" y="137"/>
                    <a:pt x="199" y="133"/>
                    <a:pt x="199" y="128"/>
                  </a:cubicBezTo>
                  <a:cubicBezTo>
                    <a:pt x="199" y="10"/>
                    <a:pt x="199" y="10"/>
                    <a:pt x="199" y="10"/>
                  </a:cubicBezTo>
                  <a:cubicBezTo>
                    <a:pt x="199" y="5"/>
                    <a:pt x="194" y="0"/>
                    <a:pt x="189" y="0"/>
                  </a:cubicBezTo>
                  <a:close/>
                  <a:moveTo>
                    <a:pt x="99" y="130"/>
                  </a:moveTo>
                  <a:cubicBezTo>
                    <a:pt x="95" y="130"/>
                    <a:pt x="92" y="127"/>
                    <a:pt x="92" y="123"/>
                  </a:cubicBezTo>
                  <a:cubicBezTo>
                    <a:pt x="92" y="119"/>
                    <a:pt x="95" y="116"/>
                    <a:pt x="99" y="116"/>
                  </a:cubicBezTo>
                  <a:cubicBezTo>
                    <a:pt x="103" y="116"/>
                    <a:pt x="106" y="119"/>
                    <a:pt x="106" y="123"/>
                  </a:cubicBezTo>
                  <a:cubicBezTo>
                    <a:pt x="106" y="127"/>
                    <a:pt x="103" y="130"/>
                    <a:pt x="99" y="1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HarmonyOS Sans SC"/>
                <a:cs typeface="+mn-cs"/>
              </a:endParaRPr>
            </a:p>
          </p:txBody>
        </p:sp>
        <p:sp>
          <p:nvSpPr>
            <p:cNvPr id="8" name="Freeform 34">
              <a:extLst>
                <a:ext uri="{FF2B5EF4-FFF2-40B4-BE49-F238E27FC236}">
                  <a16:creationId xmlns:a16="http://schemas.microsoft.com/office/drawing/2014/main" id="{32980C96-30FE-4859-9ADA-1EE71C1032FC}"/>
                </a:ext>
              </a:extLst>
            </p:cNvPr>
            <p:cNvSpPr>
              <a:spLocks noEditPoints="1"/>
            </p:cNvSpPr>
            <p:nvPr/>
          </p:nvSpPr>
          <p:spPr bwMode="auto">
            <a:xfrm>
              <a:off x="3715" y="1972"/>
              <a:ext cx="252" cy="190"/>
            </a:xfrm>
            <a:custGeom>
              <a:avLst/>
              <a:gdLst>
                <a:gd name="T0" fmla="*/ 42 w 119"/>
                <a:gd name="T1" fmla="*/ 0 h 90"/>
                <a:gd name="T2" fmla="*/ 0 w 119"/>
                <a:gd name="T3" fmla="*/ 0 h 90"/>
                <a:gd name="T4" fmla="*/ 0 w 119"/>
                <a:gd name="T5" fmla="*/ 87 h 90"/>
                <a:gd name="T6" fmla="*/ 42 w 119"/>
                <a:gd name="T7" fmla="*/ 87 h 90"/>
                <a:gd name="T8" fmla="*/ 53 w 119"/>
                <a:gd name="T9" fmla="*/ 90 h 90"/>
                <a:gd name="T10" fmla="*/ 53 w 119"/>
                <a:gd name="T11" fmla="*/ 12 h 90"/>
                <a:gd name="T12" fmla="*/ 53 w 119"/>
                <a:gd name="T13" fmla="*/ 11 h 90"/>
                <a:gd name="T14" fmla="*/ 53 w 119"/>
                <a:gd name="T15" fmla="*/ 11 h 90"/>
                <a:gd name="T16" fmla="*/ 42 w 119"/>
                <a:gd name="T17" fmla="*/ 0 h 90"/>
                <a:gd name="T18" fmla="*/ 77 w 119"/>
                <a:gd name="T19" fmla="*/ 0 h 90"/>
                <a:gd name="T20" fmla="*/ 65 w 119"/>
                <a:gd name="T21" fmla="*/ 11 h 90"/>
                <a:gd name="T22" fmla="*/ 65 w 119"/>
                <a:gd name="T23" fmla="*/ 11 h 90"/>
                <a:gd name="T24" fmla="*/ 65 w 119"/>
                <a:gd name="T25" fmla="*/ 12 h 90"/>
                <a:gd name="T26" fmla="*/ 65 w 119"/>
                <a:gd name="T27" fmla="*/ 90 h 90"/>
                <a:gd name="T28" fmla="*/ 77 w 119"/>
                <a:gd name="T29" fmla="*/ 87 h 90"/>
                <a:gd name="T30" fmla="*/ 119 w 119"/>
                <a:gd name="T31" fmla="*/ 87 h 90"/>
                <a:gd name="T32" fmla="*/ 119 w 119"/>
                <a:gd name="T33" fmla="*/ 0 h 90"/>
                <a:gd name="T34" fmla="*/ 77 w 119"/>
                <a:gd name="T35" fmla="*/ 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9" h="90">
                  <a:moveTo>
                    <a:pt x="42" y="0"/>
                  </a:moveTo>
                  <a:cubicBezTo>
                    <a:pt x="0" y="0"/>
                    <a:pt x="0" y="0"/>
                    <a:pt x="0" y="0"/>
                  </a:cubicBezTo>
                  <a:cubicBezTo>
                    <a:pt x="0" y="87"/>
                    <a:pt x="0" y="87"/>
                    <a:pt x="0" y="87"/>
                  </a:cubicBezTo>
                  <a:cubicBezTo>
                    <a:pt x="42" y="87"/>
                    <a:pt x="42" y="87"/>
                    <a:pt x="42" y="87"/>
                  </a:cubicBezTo>
                  <a:cubicBezTo>
                    <a:pt x="46" y="87"/>
                    <a:pt x="50" y="88"/>
                    <a:pt x="53" y="90"/>
                  </a:cubicBezTo>
                  <a:cubicBezTo>
                    <a:pt x="53" y="12"/>
                    <a:pt x="53" y="12"/>
                    <a:pt x="53" y="12"/>
                  </a:cubicBezTo>
                  <a:cubicBezTo>
                    <a:pt x="53" y="11"/>
                    <a:pt x="53" y="11"/>
                    <a:pt x="53" y="11"/>
                  </a:cubicBezTo>
                  <a:cubicBezTo>
                    <a:pt x="53" y="11"/>
                    <a:pt x="53" y="11"/>
                    <a:pt x="53" y="11"/>
                  </a:cubicBezTo>
                  <a:cubicBezTo>
                    <a:pt x="53" y="5"/>
                    <a:pt x="48" y="0"/>
                    <a:pt x="42" y="0"/>
                  </a:cubicBezTo>
                  <a:close/>
                  <a:moveTo>
                    <a:pt x="77" y="0"/>
                  </a:moveTo>
                  <a:cubicBezTo>
                    <a:pt x="70" y="0"/>
                    <a:pt x="65" y="5"/>
                    <a:pt x="65" y="11"/>
                  </a:cubicBezTo>
                  <a:cubicBezTo>
                    <a:pt x="65" y="11"/>
                    <a:pt x="65" y="11"/>
                    <a:pt x="65" y="11"/>
                  </a:cubicBezTo>
                  <a:cubicBezTo>
                    <a:pt x="65" y="11"/>
                    <a:pt x="65" y="11"/>
                    <a:pt x="65" y="12"/>
                  </a:cubicBezTo>
                  <a:cubicBezTo>
                    <a:pt x="65" y="90"/>
                    <a:pt x="65" y="90"/>
                    <a:pt x="65" y="90"/>
                  </a:cubicBezTo>
                  <a:cubicBezTo>
                    <a:pt x="69" y="88"/>
                    <a:pt x="73" y="87"/>
                    <a:pt x="77" y="87"/>
                  </a:cubicBezTo>
                  <a:cubicBezTo>
                    <a:pt x="119" y="87"/>
                    <a:pt x="119" y="87"/>
                    <a:pt x="119" y="87"/>
                  </a:cubicBezTo>
                  <a:cubicBezTo>
                    <a:pt x="119" y="0"/>
                    <a:pt x="119" y="0"/>
                    <a:pt x="119" y="0"/>
                  </a:cubicBezTo>
                  <a:lnTo>
                    <a:pt x="7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HarmonyOS Sans SC"/>
                <a:cs typeface="+mn-cs"/>
              </a:endParaRPr>
            </a:p>
          </p:txBody>
        </p:sp>
      </p:grpSp>
      <p:cxnSp>
        <p:nvCxnSpPr>
          <p:cNvPr id="13" name="Straight Connector 41">
            <a:extLst>
              <a:ext uri="{FF2B5EF4-FFF2-40B4-BE49-F238E27FC236}">
                <a16:creationId xmlns:a16="http://schemas.microsoft.com/office/drawing/2014/main" id="{A3CE62C7-BCE8-4286-925E-9D9163E77B92}"/>
              </a:ext>
            </a:extLst>
          </p:cNvPr>
          <p:cNvCxnSpPr>
            <a:cxnSpLocks/>
          </p:cNvCxnSpPr>
          <p:nvPr/>
        </p:nvCxnSpPr>
        <p:spPr>
          <a:xfrm>
            <a:off x="7838036" y="5572237"/>
            <a:ext cx="1365731" cy="0"/>
          </a:xfrm>
          <a:prstGeom prst="line">
            <a:avLst/>
          </a:prstGeom>
          <a:ln w="12700">
            <a:solidFill>
              <a:schemeClr val="accent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9" name="Straight Connector 49">
            <a:extLst>
              <a:ext uri="{FF2B5EF4-FFF2-40B4-BE49-F238E27FC236}">
                <a16:creationId xmlns:a16="http://schemas.microsoft.com/office/drawing/2014/main" id="{484552C2-3BF3-412A-AC45-7214DBE55A24}"/>
              </a:ext>
            </a:extLst>
          </p:cNvPr>
          <p:cNvCxnSpPr>
            <a:cxnSpLocks/>
          </p:cNvCxnSpPr>
          <p:nvPr/>
        </p:nvCxnSpPr>
        <p:spPr>
          <a:xfrm>
            <a:off x="4083938" y="2419762"/>
            <a:ext cx="506343" cy="243920"/>
          </a:xfrm>
          <a:prstGeom prst="line">
            <a:avLst/>
          </a:prstGeom>
          <a:ln w="12700">
            <a:solidFill>
              <a:schemeClr val="accent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grpSp>
        <p:nvGrpSpPr>
          <p:cNvPr id="20" name="Group 50">
            <a:extLst>
              <a:ext uri="{FF2B5EF4-FFF2-40B4-BE49-F238E27FC236}">
                <a16:creationId xmlns:a16="http://schemas.microsoft.com/office/drawing/2014/main" id="{E821C18F-6C7E-47BC-B278-B23874C74A99}"/>
              </a:ext>
            </a:extLst>
          </p:cNvPr>
          <p:cNvGrpSpPr/>
          <p:nvPr/>
        </p:nvGrpSpPr>
        <p:grpSpPr>
          <a:xfrm flipH="1">
            <a:off x="4590281" y="2610598"/>
            <a:ext cx="209550" cy="209550"/>
            <a:chOff x="7307533" y="3469695"/>
            <a:chExt cx="209550" cy="209550"/>
          </a:xfrm>
        </p:grpSpPr>
        <p:sp>
          <p:nvSpPr>
            <p:cNvPr id="22" name="Oval 52">
              <a:extLst>
                <a:ext uri="{FF2B5EF4-FFF2-40B4-BE49-F238E27FC236}">
                  <a16:creationId xmlns:a16="http://schemas.microsoft.com/office/drawing/2014/main" id="{D38EACB1-041F-4AFD-8E91-BF0BD7F73817}"/>
                </a:ext>
              </a:extLst>
            </p:cNvPr>
            <p:cNvSpPr/>
            <p:nvPr/>
          </p:nvSpPr>
          <p:spPr>
            <a:xfrm>
              <a:off x="7307533" y="3469695"/>
              <a:ext cx="209550" cy="209550"/>
            </a:xfrm>
            <a:prstGeom prst="ellipse">
              <a:avLst/>
            </a:prstGeom>
            <a:solidFill>
              <a:schemeClr val="accent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HarmonyOS Sans SC"/>
                <a:cs typeface="+mn-cs"/>
              </a:endParaRPr>
            </a:p>
          </p:txBody>
        </p:sp>
        <p:sp>
          <p:nvSpPr>
            <p:cNvPr id="23" name="Oval 53">
              <a:extLst>
                <a:ext uri="{FF2B5EF4-FFF2-40B4-BE49-F238E27FC236}">
                  <a16:creationId xmlns:a16="http://schemas.microsoft.com/office/drawing/2014/main" id="{BC01C210-54F2-421E-88C4-D799449E0690}"/>
                </a:ext>
              </a:extLst>
            </p:cNvPr>
            <p:cNvSpPr/>
            <p:nvPr/>
          </p:nvSpPr>
          <p:spPr>
            <a:xfrm flipV="1">
              <a:off x="7376966" y="3539128"/>
              <a:ext cx="70684" cy="70684"/>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HarmonyOS Sans SC"/>
                <a:cs typeface="+mn-cs"/>
              </a:endParaRPr>
            </a:p>
          </p:txBody>
        </p:sp>
      </p:grpSp>
      <p:cxnSp>
        <p:nvCxnSpPr>
          <p:cNvPr id="21" name="Straight Connector 51">
            <a:extLst>
              <a:ext uri="{FF2B5EF4-FFF2-40B4-BE49-F238E27FC236}">
                <a16:creationId xmlns:a16="http://schemas.microsoft.com/office/drawing/2014/main" id="{774FEB26-7B67-41AD-AB65-50C5267606B0}"/>
              </a:ext>
            </a:extLst>
          </p:cNvPr>
          <p:cNvCxnSpPr/>
          <p:nvPr/>
        </p:nvCxnSpPr>
        <p:spPr>
          <a:xfrm flipH="1">
            <a:off x="3283158" y="2419762"/>
            <a:ext cx="800780" cy="0"/>
          </a:xfrm>
          <a:prstGeom prst="line">
            <a:avLst/>
          </a:prstGeom>
          <a:ln w="12700">
            <a:solidFill>
              <a:schemeClr val="accent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sp>
        <p:nvSpPr>
          <p:cNvPr id="24" name="Freeform 22">
            <a:extLst>
              <a:ext uri="{FF2B5EF4-FFF2-40B4-BE49-F238E27FC236}">
                <a16:creationId xmlns:a16="http://schemas.microsoft.com/office/drawing/2014/main" id="{B830F3CD-136F-4DF9-9DF5-4C6FB75F6C5D}"/>
              </a:ext>
            </a:extLst>
          </p:cNvPr>
          <p:cNvSpPr>
            <a:spLocks/>
          </p:cNvSpPr>
          <p:nvPr/>
        </p:nvSpPr>
        <p:spPr bwMode="auto">
          <a:xfrm>
            <a:off x="4697649" y="2651592"/>
            <a:ext cx="3338512" cy="2060574"/>
          </a:xfrm>
          <a:custGeom>
            <a:avLst/>
            <a:gdLst>
              <a:gd name="T0" fmla="*/ 3360 w 4049"/>
              <a:gd name="T1" fmla="*/ 2108 h 2501"/>
              <a:gd name="T2" fmla="*/ 2280 w 4049"/>
              <a:gd name="T3" fmla="*/ 2397 h 2501"/>
              <a:gd name="T4" fmla="*/ 485 w 4049"/>
              <a:gd name="T5" fmla="*/ 812 h 2501"/>
              <a:gd name="T6" fmla="*/ 343 w 4049"/>
              <a:gd name="T7" fmla="*/ 1248 h 2501"/>
              <a:gd name="T8" fmla="*/ 0 w 4049"/>
              <a:gd name="T9" fmla="*/ 909 h 2501"/>
              <a:gd name="T10" fmla="*/ 223 w 4049"/>
              <a:gd name="T11" fmla="*/ 229 h 2501"/>
              <a:gd name="T12" fmla="*/ 901 w 4049"/>
              <a:gd name="T13" fmla="*/ 0 h 2501"/>
              <a:gd name="T14" fmla="*/ 1243 w 4049"/>
              <a:gd name="T15" fmla="*/ 338 h 2501"/>
              <a:gd name="T16" fmla="*/ 807 w 4049"/>
              <a:gd name="T17" fmla="*/ 486 h 2501"/>
              <a:gd name="T18" fmla="*/ 2166 w 4049"/>
              <a:gd name="T19" fmla="*/ 1803 h 2501"/>
              <a:gd name="T20" fmla="*/ 2569 w 4049"/>
              <a:gd name="T21" fmla="*/ 1940 h 2501"/>
              <a:gd name="T22" fmla="*/ 3191 w 4049"/>
              <a:gd name="T23" fmla="*/ 1318 h 2501"/>
              <a:gd name="T24" fmla="*/ 2569 w 4049"/>
              <a:gd name="T25" fmla="*/ 696 h 2501"/>
              <a:gd name="T26" fmla="*/ 1947 w 4049"/>
              <a:gd name="T27" fmla="*/ 1307 h 2501"/>
              <a:gd name="T28" fmla="*/ 1519 w 4049"/>
              <a:gd name="T29" fmla="*/ 932 h 2501"/>
              <a:gd name="T30" fmla="*/ 2569 w 4049"/>
              <a:gd name="T31" fmla="*/ 200 h 2501"/>
              <a:gd name="T32" fmla="*/ 3360 w 4049"/>
              <a:gd name="T33" fmla="*/ 2108 h 25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049" h="2501">
                <a:moveTo>
                  <a:pt x="3360" y="2108"/>
                </a:moveTo>
                <a:cubicBezTo>
                  <a:pt x="3076" y="2392"/>
                  <a:pt x="2666" y="2501"/>
                  <a:pt x="2280" y="2397"/>
                </a:cubicBezTo>
                <a:cubicBezTo>
                  <a:pt x="1892" y="2293"/>
                  <a:pt x="871" y="1205"/>
                  <a:pt x="485" y="812"/>
                </a:cubicBezTo>
                <a:cubicBezTo>
                  <a:pt x="343" y="1248"/>
                  <a:pt x="343" y="1248"/>
                  <a:pt x="343" y="1248"/>
                </a:cubicBezTo>
                <a:cubicBezTo>
                  <a:pt x="0" y="909"/>
                  <a:pt x="0" y="909"/>
                  <a:pt x="0" y="909"/>
                </a:cubicBezTo>
                <a:cubicBezTo>
                  <a:pt x="223" y="229"/>
                  <a:pt x="223" y="229"/>
                  <a:pt x="223" y="229"/>
                </a:cubicBezTo>
                <a:cubicBezTo>
                  <a:pt x="901" y="0"/>
                  <a:pt x="901" y="0"/>
                  <a:pt x="901" y="0"/>
                </a:cubicBezTo>
                <a:cubicBezTo>
                  <a:pt x="1243" y="338"/>
                  <a:pt x="1243" y="338"/>
                  <a:pt x="1243" y="338"/>
                </a:cubicBezTo>
                <a:cubicBezTo>
                  <a:pt x="807" y="486"/>
                  <a:pt x="807" y="486"/>
                  <a:pt x="807" y="486"/>
                </a:cubicBezTo>
                <a:cubicBezTo>
                  <a:pt x="2166" y="1803"/>
                  <a:pt x="2166" y="1803"/>
                  <a:pt x="2166" y="1803"/>
                </a:cubicBezTo>
                <a:cubicBezTo>
                  <a:pt x="2262" y="1888"/>
                  <a:pt x="2388" y="1940"/>
                  <a:pt x="2569" y="1940"/>
                </a:cubicBezTo>
                <a:cubicBezTo>
                  <a:pt x="2858" y="1940"/>
                  <a:pt x="3191" y="1661"/>
                  <a:pt x="3191" y="1318"/>
                </a:cubicBezTo>
                <a:cubicBezTo>
                  <a:pt x="3191" y="974"/>
                  <a:pt x="2913" y="696"/>
                  <a:pt x="2569" y="696"/>
                </a:cubicBezTo>
                <a:cubicBezTo>
                  <a:pt x="2229" y="696"/>
                  <a:pt x="1953" y="969"/>
                  <a:pt x="1947" y="1307"/>
                </a:cubicBezTo>
                <a:cubicBezTo>
                  <a:pt x="1519" y="932"/>
                  <a:pt x="1519" y="932"/>
                  <a:pt x="1519" y="932"/>
                </a:cubicBezTo>
                <a:cubicBezTo>
                  <a:pt x="1679" y="495"/>
                  <a:pt x="2098" y="200"/>
                  <a:pt x="2569" y="200"/>
                </a:cubicBezTo>
                <a:cubicBezTo>
                  <a:pt x="3581" y="200"/>
                  <a:pt x="4049" y="1419"/>
                  <a:pt x="3360" y="2108"/>
                </a:cubicBezTo>
                <a:close/>
              </a:path>
            </a:pathLst>
          </a:custGeom>
          <a:gradFill>
            <a:gsLst>
              <a:gs pos="73000">
                <a:schemeClr val="accent1"/>
              </a:gs>
              <a:gs pos="31000">
                <a:schemeClr val="accent1">
                  <a:lumMod val="60000"/>
                  <a:lumOff val="40000"/>
                </a:schemeClr>
              </a:gs>
              <a:gs pos="0">
                <a:schemeClr val="accent1">
                  <a:lumMod val="40000"/>
                  <a:lumOff val="60000"/>
                </a:schemeClr>
              </a:gs>
            </a:gsLst>
            <a:path path="circle">
              <a:fillToRect r="100000" b="100000"/>
            </a:path>
          </a:gradFill>
          <a:ln>
            <a:noFill/>
          </a:ln>
          <a:effectLst>
            <a:outerShdw blurRad="444500" dist="317500" dir="5400000" sx="92000" sy="92000" algn="t" rotWithShape="0">
              <a:schemeClr val="accent1">
                <a:lumMod val="75000"/>
                <a:alpha val="24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25" name="Freeform 22">
            <a:extLst>
              <a:ext uri="{FF2B5EF4-FFF2-40B4-BE49-F238E27FC236}">
                <a16:creationId xmlns:a16="http://schemas.microsoft.com/office/drawing/2014/main" id="{E8E6286F-43E7-49E5-B6FA-4FB58B257F1B}"/>
              </a:ext>
            </a:extLst>
          </p:cNvPr>
          <p:cNvSpPr>
            <a:spLocks/>
          </p:cNvSpPr>
          <p:nvPr/>
        </p:nvSpPr>
        <p:spPr bwMode="auto">
          <a:xfrm flipH="1" flipV="1">
            <a:off x="4401636" y="3584067"/>
            <a:ext cx="3338512" cy="2060574"/>
          </a:xfrm>
          <a:custGeom>
            <a:avLst/>
            <a:gdLst>
              <a:gd name="T0" fmla="*/ 3360 w 4049"/>
              <a:gd name="T1" fmla="*/ 2108 h 2501"/>
              <a:gd name="T2" fmla="*/ 2280 w 4049"/>
              <a:gd name="T3" fmla="*/ 2397 h 2501"/>
              <a:gd name="T4" fmla="*/ 485 w 4049"/>
              <a:gd name="T5" fmla="*/ 812 h 2501"/>
              <a:gd name="T6" fmla="*/ 343 w 4049"/>
              <a:gd name="T7" fmla="*/ 1248 h 2501"/>
              <a:gd name="T8" fmla="*/ 0 w 4049"/>
              <a:gd name="T9" fmla="*/ 909 h 2501"/>
              <a:gd name="T10" fmla="*/ 223 w 4049"/>
              <a:gd name="T11" fmla="*/ 229 h 2501"/>
              <a:gd name="T12" fmla="*/ 901 w 4049"/>
              <a:gd name="T13" fmla="*/ 0 h 2501"/>
              <a:gd name="T14" fmla="*/ 1243 w 4049"/>
              <a:gd name="T15" fmla="*/ 338 h 2501"/>
              <a:gd name="T16" fmla="*/ 807 w 4049"/>
              <a:gd name="T17" fmla="*/ 486 h 2501"/>
              <a:gd name="T18" fmla="*/ 2166 w 4049"/>
              <a:gd name="T19" fmla="*/ 1803 h 2501"/>
              <a:gd name="T20" fmla="*/ 2569 w 4049"/>
              <a:gd name="T21" fmla="*/ 1940 h 2501"/>
              <a:gd name="T22" fmla="*/ 3191 w 4049"/>
              <a:gd name="T23" fmla="*/ 1318 h 2501"/>
              <a:gd name="T24" fmla="*/ 2569 w 4049"/>
              <a:gd name="T25" fmla="*/ 696 h 2501"/>
              <a:gd name="T26" fmla="*/ 1947 w 4049"/>
              <a:gd name="T27" fmla="*/ 1307 h 2501"/>
              <a:gd name="T28" fmla="*/ 1519 w 4049"/>
              <a:gd name="T29" fmla="*/ 932 h 2501"/>
              <a:gd name="T30" fmla="*/ 2569 w 4049"/>
              <a:gd name="T31" fmla="*/ 200 h 2501"/>
              <a:gd name="T32" fmla="*/ 3360 w 4049"/>
              <a:gd name="T33" fmla="*/ 2108 h 25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049" h="2501">
                <a:moveTo>
                  <a:pt x="3360" y="2108"/>
                </a:moveTo>
                <a:cubicBezTo>
                  <a:pt x="3076" y="2392"/>
                  <a:pt x="2666" y="2501"/>
                  <a:pt x="2280" y="2397"/>
                </a:cubicBezTo>
                <a:cubicBezTo>
                  <a:pt x="1892" y="2293"/>
                  <a:pt x="871" y="1205"/>
                  <a:pt x="485" y="812"/>
                </a:cubicBezTo>
                <a:cubicBezTo>
                  <a:pt x="343" y="1248"/>
                  <a:pt x="343" y="1248"/>
                  <a:pt x="343" y="1248"/>
                </a:cubicBezTo>
                <a:cubicBezTo>
                  <a:pt x="0" y="909"/>
                  <a:pt x="0" y="909"/>
                  <a:pt x="0" y="909"/>
                </a:cubicBezTo>
                <a:cubicBezTo>
                  <a:pt x="223" y="229"/>
                  <a:pt x="223" y="229"/>
                  <a:pt x="223" y="229"/>
                </a:cubicBezTo>
                <a:cubicBezTo>
                  <a:pt x="901" y="0"/>
                  <a:pt x="901" y="0"/>
                  <a:pt x="901" y="0"/>
                </a:cubicBezTo>
                <a:cubicBezTo>
                  <a:pt x="1243" y="338"/>
                  <a:pt x="1243" y="338"/>
                  <a:pt x="1243" y="338"/>
                </a:cubicBezTo>
                <a:cubicBezTo>
                  <a:pt x="807" y="486"/>
                  <a:pt x="807" y="486"/>
                  <a:pt x="807" y="486"/>
                </a:cubicBezTo>
                <a:cubicBezTo>
                  <a:pt x="2166" y="1803"/>
                  <a:pt x="2166" y="1803"/>
                  <a:pt x="2166" y="1803"/>
                </a:cubicBezTo>
                <a:cubicBezTo>
                  <a:pt x="2262" y="1888"/>
                  <a:pt x="2388" y="1940"/>
                  <a:pt x="2569" y="1940"/>
                </a:cubicBezTo>
                <a:cubicBezTo>
                  <a:pt x="2858" y="1940"/>
                  <a:pt x="3191" y="1661"/>
                  <a:pt x="3191" y="1318"/>
                </a:cubicBezTo>
                <a:cubicBezTo>
                  <a:pt x="3191" y="974"/>
                  <a:pt x="2913" y="696"/>
                  <a:pt x="2569" y="696"/>
                </a:cubicBezTo>
                <a:cubicBezTo>
                  <a:pt x="2229" y="696"/>
                  <a:pt x="1953" y="969"/>
                  <a:pt x="1947" y="1307"/>
                </a:cubicBezTo>
                <a:cubicBezTo>
                  <a:pt x="1519" y="932"/>
                  <a:pt x="1519" y="932"/>
                  <a:pt x="1519" y="932"/>
                </a:cubicBezTo>
                <a:cubicBezTo>
                  <a:pt x="1679" y="495"/>
                  <a:pt x="2098" y="200"/>
                  <a:pt x="2569" y="200"/>
                </a:cubicBezTo>
                <a:cubicBezTo>
                  <a:pt x="3581" y="200"/>
                  <a:pt x="4049" y="1419"/>
                  <a:pt x="3360" y="2108"/>
                </a:cubicBezTo>
                <a:close/>
              </a:path>
            </a:pathLst>
          </a:custGeom>
          <a:gradFill>
            <a:gsLst>
              <a:gs pos="73000">
                <a:schemeClr val="accent1"/>
              </a:gs>
              <a:gs pos="31000">
                <a:schemeClr val="accent1">
                  <a:lumMod val="60000"/>
                  <a:lumOff val="40000"/>
                </a:schemeClr>
              </a:gs>
              <a:gs pos="0">
                <a:schemeClr val="accent1">
                  <a:lumMod val="40000"/>
                  <a:lumOff val="60000"/>
                </a:schemeClr>
              </a:gs>
            </a:gsLst>
            <a:path path="circle">
              <a:fillToRect r="100000" b="100000"/>
            </a:path>
          </a:gradFill>
          <a:ln>
            <a:noFill/>
          </a:ln>
          <a:effectLst>
            <a:outerShdw blurRad="444500" dist="317500" dir="5400000" sx="92000" sy="92000" algn="t" rotWithShape="0">
              <a:schemeClr val="accent1">
                <a:lumMod val="75000"/>
                <a:alpha val="24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31" name="Right Triangle 61">
            <a:extLst>
              <a:ext uri="{FF2B5EF4-FFF2-40B4-BE49-F238E27FC236}">
                <a16:creationId xmlns:a16="http://schemas.microsoft.com/office/drawing/2014/main" id="{57581737-1317-4BB2-B646-4A58127CF40C}"/>
              </a:ext>
            </a:extLst>
          </p:cNvPr>
          <p:cNvSpPr/>
          <p:nvPr/>
        </p:nvSpPr>
        <p:spPr>
          <a:xfrm flipV="1">
            <a:off x="1055689" y="803583"/>
            <a:ext cx="72580" cy="72177"/>
          </a:xfrm>
          <a:prstGeom prst="r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HarmonyOS Sans SC"/>
              <a:cs typeface="+mn-cs"/>
            </a:endParaRPr>
          </a:p>
        </p:txBody>
      </p:sp>
      <p:sp>
        <p:nvSpPr>
          <p:cNvPr id="32" name="文本框 31">
            <a:extLst>
              <a:ext uri="{FF2B5EF4-FFF2-40B4-BE49-F238E27FC236}">
                <a16:creationId xmlns:a16="http://schemas.microsoft.com/office/drawing/2014/main" id="{444DB729-1FEB-430F-BAB7-9C894DA60815}"/>
              </a:ext>
            </a:extLst>
          </p:cNvPr>
          <p:cNvSpPr txBox="1"/>
          <p:nvPr/>
        </p:nvSpPr>
        <p:spPr>
          <a:xfrm>
            <a:off x="941388" y="918105"/>
            <a:ext cx="3411511"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2800" b="0" i="0" u="none" strike="noStrike" kern="1200" cap="none" spc="0" normalizeH="0" baseline="0" noProof="0" dirty="0">
                <a:ln>
                  <a:noFill/>
                </a:ln>
                <a:solidFill>
                  <a:prstClr val="black"/>
                </a:solidFill>
                <a:effectLst/>
                <a:uLnTx/>
                <a:uFillTx/>
                <a:latin typeface="HarmonyOS Sans Black"/>
                <a:ea typeface="+mj-ea"/>
                <a:cs typeface="+mn-cs"/>
              </a:rPr>
              <a:t>Arrow </a:t>
            </a:r>
            <a:r>
              <a:rPr kumimoji="0" lang="en-US" altLang="zh-CN" sz="2800" b="0" i="0" u="none" strike="noStrike" kern="1200" cap="none" spc="0" normalizeH="0" baseline="0" noProof="0" dirty="0">
                <a:ln>
                  <a:noFill/>
                </a:ln>
                <a:solidFill>
                  <a:schemeClr val="accent1"/>
                </a:solidFill>
                <a:effectLst/>
                <a:uLnTx/>
                <a:uFillTx/>
                <a:latin typeface="HarmonyOS Sans Black"/>
                <a:ea typeface="+mj-ea"/>
                <a:cs typeface="+mn-cs"/>
              </a:rPr>
              <a:t>infographic</a:t>
            </a:r>
          </a:p>
        </p:txBody>
      </p:sp>
      <p:grpSp>
        <p:nvGrpSpPr>
          <p:cNvPr id="36" name="组合 35">
            <a:extLst>
              <a:ext uri="{FF2B5EF4-FFF2-40B4-BE49-F238E27FC236}">
                <a16:creationId xmlns:a16="http://schemas.microsoft.com/office/drawing/2014/main" id="{6A7E302E-2D58-4798-9F32-7B37132054E5}"/>
              </a:ext>
            </a:extLst>
          </p:cNvPr>
          <p:cNvGrpSpPr/>
          <p:nvPr/>
        </p:nvGrpSpPr>
        <p:grpSpPr>
          <a:xfrm>
            <a:off x="1346902" y="2240609"/>
            <a:ext cx="1812046" cy="846145"/>
            <a:chOff x="5154634" y="1949395"/>
            <a:chExt cx="1812046" cy="846145"/>
          </a:xfrm>
        </p:grpSpPr>
        <p:sp>
          <p:nvSpPr>
            <p:cNvPr id="37" name="TextBox 65">
              <a:extLst>
                <a:ext uri="{FF2B5EF4-FFF2-40B4-BE49-F238E27FC236}">
                  <a16:creationId xmlns:a16="http://schemas.microsoft.com/office/drawing/2014/main" id="{CA52B587-E63C-4B17-AF82-CBD56DDD6880}"/>
                </a:ext>
              </a:extLst>
            </p:cNvPr>
            <p:cNvSpPr txBox="1"/>
            <p:nvPr/>
          </p:nvSpPr>
          <p:spPr>
            <a:xfrm>
              <a:off x="5427752" y="1949395"/>
              <a:ext cx="1538928" cy="345598"/>
            </a:xfrm>
            <a:prstGeom prst="rect">
              <a:avLst/>
            </a:prstGeom>
            <a:noFill/>
          </p:spPr>
          <p:txBody>
            <a:bodyPr wrap="square" lIns="0" tIns="36000" rIns="0" bIns="36000" rtlCol="0">
              <a:spAutoFit/>
            </a:bodyPr>
            <a:lstStyle/>
            <a:p>
              <a:pPr marL="0" marR="0" lvl="0" indent="0" algn="r" defTabSz="914400" rtl="0" eaLnBrk="1" fontAlgn="auto" latinLnBrk="0" hangingPunct="1">
                <a:lnSpc>
                  <a:spcPct val="120000"/>
                </a:lnSpc>
                <a:spcBef>
                  <a:spcPts val="600"/>
                </a:spcBef>
                <a:spcAft>
                  <a:spcPts val="0"/>
                </a:spcAft>
                <a:buClrTx/>
                <a:buSzTx/>
                <a:buFontTx/>
                <a:buNone/>
                <a:tabLst/>
                <a:defRPr/>
              </a:pPr>
              <a:r>
                <a:rPr kumimoji="0" lang="en-US" sz="1600" b="0" i="0" u="none" strike="noStrike" kern="1200" cap="none" spc="0" normalizeH="0" baseline="0" noProof="0" dirty="0">
                  <a:ln>
                    <a:noFill/>
                  </a:ln>
                  <a:solidFill>
                    <a:schemeClr val="accent1"/>
                  </a:solidFill>
                  <a:effectLst/>
                  <a:uLnTx/>
                  <a:uFillTx/>
                  <a:latin typeface="HarmonyOS Sans SC Black"/>
                  <a:ea typeface="+mj-ea"/>
                  <a:cs typeface="+mn-cs"/>
                </a:rPr>
                <a:t>Subtitle Here</a:t>
              </a:r>
              <a:endParaRPr kumimoji="0" lang="en-US" sz="1100" b="0" i="0" u="none" strike="noStrike" kern="1200" cap="none" spc="0" normalizeH="0" baseline="0" noProof="0" dirty="0">
                <a:ln>
                  <a:noFill/>
                </a:ln>
                <a:solidFill>
                  <a:schemeClr val="accent1"/>
                </a:solidFill>
                <a:effectLst/>
                <a:uLnTx/>
                <a:uFillTx/>
                <a:latin typeface="HarmonyOS Sans SC Black"/>
                <a:ea typeface="+mj-ea"/>
                <a:cs typeface="+mn-cs"/>
              </a:endParaRPr>
            </a:p>
          </p:txBody>
        </p:sp>
        <p:sp>
          <p:nvSpPr>
            <p:cNvPr id="38" name="TextBox 65">
              <a:extLst>
                <a:ext uri="{FF2B5EF4-FFF2-40B4-BE49-F238E27FC236}">
                  <a16:creationId xmlns:a16="http://schemas.microsoft.com/office/drawing/2014/main" id="{29090979-9EDD-4376-81D1-19847E94CE6E}"/>
                </a:ext>
              </a:extLst>
            </p:cNvPr>
            <p:cNvSpPr txBox="1"/>
            <p:nvPr/>
          </p:nvSpPr>
          <p:spPr>
            <a:xfrm>
              <a:off x="5154634" y="2332794"/>
              <a:ext cx="1812046" cy="462746"/>
            </a:xfrm>
            <a:prstGeom prst="rect">
              <a:avLst/>
            </a:prstGeom>
            <a:noFill/>
          </p:spPr>
          <p:txBody>
            <a:bodyPr wrap="square" lIns="0" tIns="36000" rIns="0" bIns="36000" rtlCol="0">
              <a:spAutoFit/>
            </a:bodyPr>
            <a:lstStyle/>
            <a:p>
              <a:pPr marL="0" marR="0" lvl="0" indent="0" algn="r" defTabSz="914400" rtl="0" eaLnBrk="1" fontAlgn="auto" latinLnBrk="0" hangingPunct="1">
                <a:lnSpc>
                  <a:spcPct val="120000"/>
                </a:lnSpc>
                <a:spcBef>
                  <a:spcPts val="600"/>
                </a:spcBef>
                <a:spcAft>
                  <a:spcPts val="0"/>
                </a:spcAft>
                <a:buClrTx/>
                <a:buSzTx/>
                <a:buFontTx/>
                <a:buNone/>
                <a:tabLst/>
                <a:defRPr/>
              </a:pPr>
              <a:r>
                <a:rPr kumimoji="0" lang="en-US" sz="1100" b="0" i="0" u="none" strike="noStrike" kern="1200" cap="none" spc="0" normalizeH="0" baseline="0" noProof="0" dirty="0">
                  <a:ln>
                    <a:noFill/>
                  </a:ln>
                  <a:solidFill>
                    <a:prstClr val="black">
                      <a:lumMod val="50000"/>
                      <a:lumOff val="50000"/>
                    </a:prstClr>
                  </a:solidFill>
                  <a:effectLst/>
                  <a:uLnTx/>
                  <a:uFillTx/>
                  <a:latin typeface="HarmonyOS Sans SC"/>
                  <a:cs typeface="+mn-cs"/>
                </a:rPr>
                <a:t>As the minuteness of the parts formed a great.</a:t>
              </a:r>
            </a:p>
          </p:txBody>
        </p:sp>
      </p:grpSp>
      <p:grpSp>
        <p:nvGrpSpPr>
          <p:cNvPr id="42" name="组合 41">
            <a:extLst>
              <a:ext uri="{FF2B5EF4-FFF2-40B4-BE49-F238E27FC236}">
                <a16:creationId xmlns:a16="http://schemas.microsoft.com/office/drawing/2014/main" id="{A9CF1FFE-D0AB-4AA5-97A8-AB723ACF4B7A}"/>
              </a:ext>
            </a:extLst>
          </p:cNvPr>
          <p:cNvGrpSpPr/>
          <p:nvPr/>
        </p:nvGrpSpPr>
        <p:grpSpPr>
          <a:xfrm>
            <a:off x="9296339" y="5364901"/>
            <a:ext cx="1812046" cy="846145"/>
            <a:chOff x="5154634" y="1949395"/>
            <a:chExt cx="1812046" cy="846145"/>
          </a:xfrm>
        </p:grpSpPr>
        <p:sp>
          <p:nvSpPr>
            <p:cNvPr id="43" name="TextBox 65">
              <a:extLst>
                <a:ext uri="{FF2B5EF4-FFF2-40B4-BE49-F238E27FC236}">
                  <a16:creationId xmlns:a16="http://schemas.microsoft.com/office/drawing/2014/main" id="{10B6CC66-D28A-4771-99B6-DA7CB24F9F1A}"/>
                </a:ext>
              </a:extLst>
            </p:cNvPr>
            <p:cNvSpPr txBox="1"/>
            <p:nvPr/>
          </p:nvSpPr>
          <p:spPr>
            <a:xfrm>
              <a:off x="5154634" y="1949395"/>
              <a:ext cx="1538928" cy="345598"/>
            </a:xfrm>
            <a:prstGeom prst="rect">
              <a:avLst/>
            </a:prstGeom>
            <a:noFill/>
          </p:spPr>
          <p:txBody>
            <a:bodyPr wrap="square" lIns="0" tIns="36000" rIns="0" bIns="36000" rtlCol="0">
              <a:spAutoFit/>
            </a:bodyPr>
            <a:lstStyle/>
            <a:p>
              <a:pPr marL="0" marR="0" lvl="0" indent="0" algn="l" defTabSz="914400" rtl="0" eaLnBrk="1" fontAlgn="auto" latinLnBrk="0" hangingPunct="1">
                <a:lnSpc>
                  <a:spcPct val="120000"/>
                </a:lnSpc>
                <a:spcBef>
                  <a:spcPts val="600"/>
                </a:spcBef>
                <a:spcAft>
                  <a:spcPts val="0"/>
                </a:spcAft>
                <a:buClrTx/>
                <a:buSzTx/>
                <a:buFontTx/>
                <a:buNone/>
                <a:tabLst/>
                <a:defRPr/>
              </a:pPr>
              <a:r>
                <a:rPr kumimoji="0" lang="en-US" sz="1600" b="0" i="0" u="none" strike="noStrike" kern="1200" cap="none" spc="0" normalizeH="0" baseline="0" noProof="0" dirty="0">
                  <a:ln>
                    <a:noFill/>
                  </a:ln>
                  <a:solidFill>
                    <a:schemeClr val="accent1"/>
                  </a:solidFill>
                  <a:effectLst/>
                  <a:uLnTx/>
                  <a:uFillTx/>
                  <a:latin typeface="HarmonyOS Sans SC Black"/>
                  <a:ea typeface="+mj-ea"/>
                  <a:cs typeface="+mn-cs"/>
                </a:rPr>
                <a:t>Subtitle Here</a:t>
              </a:r>
              <a:endParaRPr kumimoji="0" lang="en-US" sz="1100" b="0" i="0" u="none" strike="noStrike" kern="1200" cap="none" spc="0" normalizeH="0" baseline="0" noProof="0" dirty="0">
                <a:ln>
                  <a:noFill/>
                </a:ln>
                <a:solidFill>
                  <a:schemeClr val="accent1"/>
                </a:solidFill>
                <a:effectLst/>
                <a:uLnTx/>
                <a:uFillTx/>
                <a:latin typeface="HarmonyOS Sans SC Black"/>
                <a:ea typeface="+mj-ea"/>
                <a:cs typeface="+mn-cs"/>
              </a:endParaRPr>
            </a:p>
          </p:txBody>
        </p:sp>
        <p:sp>
          <p:nvSpPr>
            <p:cNvPr id="44" name="TextBox 65">
              <a:extLst>
                <a:ext uri="{FF2B5EF4-FFF2-40B4-BE49-F238E27FC236}">
                  <a16:creationId xmlns:a16="http://schemas.microsoft.com/office/drawing/2014/main" id="{8CE8D5F4-409B-42C9-A383-EB3F3193012C}"/>
                </a:ext>
              </a:extLst>
            </p:cNvPr>
            <p:cNvSpPr txBox="1"/>
            <p:nvPr/>
          </p:nvSpPr>
          <p:spPr>
            <a:xfrm>
              <a:off x="5154634" y="2332794"/>
              <a:ext cx="1812046" cy="462746"/>
            </a:xfrm>
            <a:prstGeom prst="rect">
              <a:avLst/>
            </a:prstGeom>
            <a:noFill/>
          </p:spPr>
          <p:txBody>
            <a:bodyPr wrap="square" lIns="0" tIns="36000" rIns="0" bIns="36000" rtlCol="0">
              <a:spAutoFit/>
            </a:bodyPr>
            <a:lstStyle/>
            <a:p>
              <a:pPr marL="0" marR="0" lvl="0" indent="0" algn="l" defTabSz="914400" rtl="0" eaLnBrk="1" fontAlgn="auto" latinLnBrk="0" hangingPunct="1">
                <a:lnSpc>
                  <a:spcPct val="120000"/>
                </a:lnSpc>
                <a:spcBef>
                  <a:spcPts val="600"/>
                </a:spcBef>
                <a:spcAft>
                  <a:spcPts val="0"/>
                </a:spcAft>
                <a:buClrTx/>
                <a:buSzTx/>
                <a:buFontTx/>
                <a:buNone/>
                <a:tabLst/>
                <a:defRPr/>
              </a:pPr>
              <a:r>
                <a:rPr kumimoji="0" lang="en-US" sz="1100" b="0" i="0" u="none" strike="noStrike" kern="1200" cap="none" spc="0" normalizeH="0" baseline="0" noProof="0" dirty="0">
                  <a:ln>
                    <a:noFill/>
                  </a:ln>
                  <a:solidFill>
                    <a:prstClr val="black">
                      <a:lumMod val="50000"/>
                      <a:lumOff val="50000"/>
                    </a:prstClr>
                  </a:solidFill>
                  <a:effectLst/>
                  <a:uLnTx/>
                  <a:uFillTx/>
                  <a:latin typeface="HarmonyOS Sans SC"/>
                  <a:cs typeface="+mn-cs"/>
                </a:rPr>
                <a:t>As the minuteness of the parts formed a great.</a:t>
              </a:r>
            </a:p>
          </p:txBody>
        </p:sp>
      </p:grpSp>
      <p:grpSp>
        <p:nvGrpSpPr>
          <p:cNvPr id="46" name="组合 45">
            <a:extLst>
              <a:ext uri="{FF2B5EF4-FFF2-40B4-BE49-F238E27FC236}">
                <a16:creationId xmlns:a16="http://schemas.microsoft.com/office/drawing/2014/main" id="{B76F6C09-3FC0-473E-A9FA-8966C17221B4}"/>
              </a:ext>
            </a:extLst>
          </p:cNvPr>
          <p:cNvGrpSpPr/>
          <p:nvPr/>
        </p:nvGrpSpPr>
        <p:grpSpPr>
          <a:xfrm>
            <a:off x="4593988" y="2606281"/>
            <a:ext cx="209550" cy="209550"/>
            <a:chOff x="5585550" y="2229291"/>
            <a:chExt cx="209550" cy="209550"/>
          </a:xfrm>
        </p:grpSpPr>
        <p:sp>
          <p:nvSpPr>
            <p:cNvPr id="47" name="Oval 69">
              <a:extLst>
                <a:ext uri="{FF2B5EF4-FFF2-40B4-BE49-F238E27FC236}">
                  <a16:creationId xmlns:a16="http://schemas.microsoft.com/office/drawing/2014/main" id="{2F789733-3F3C-492E-8C89-A86856835D83}"/>
                </a:ext>
              </a:extLst>
            </p:cNvPr>
            <p:cNvSpPr/>
            <p:nvPr/>
          </p:nvSpPr>
          <p:spPr>
            <a:xfrm flipH="1">
              <a:off x="5585550" y="2229291"/>
              <a:ext cx="209550" cy="209550"/>
            </a:xfrm>
            <a:prstGeom prst="ellipse">
              <a:avLst/>
            </a:prstGeom>
            <a:solidFill>
              <a:schemeClr val="accent1">
                <a:lumMod val="20000"/>
                <a:lumOff val="80000"/>
                <a:alpha val="5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800" b="0" i="0" u="none" strike="noStrike" kern="1200" cap="none" spc="0" normalizeH="0" baseline="0" noProof="0">
                <a:ln>
                  <a:noFill/>
                </a:ln>
                <a:solidFill>
                  <a:prstClr val="black">
                    <a:lumMod val="50000"/>
                    <a:lumOff val="50000"/>
                  </a:prstClr>
                </a:solidFill>
                <a:effectLst/>
                <a:uLnTx/>
                <a:uFillTx/>
                <a:latin typeface="HarmonyOS Sans SC"/>
                <a:cs typeface="+mn-cs"/>
              </a:endParaRPr>
            </a:p>
          </p:txBody>
        </p:sp>
        <p:sp>
          <p:nvSpPr>
            <p:cNvPr id="48" name="Oval 70">
              <a:extLst>
                <a:ext uri="{FF2B5EF4-FFF2-40B4-BE49-F238E27FC236}">
                  <a16:creationId xmlns:a16="http://schemas.microsoft.com/office/drawing/2014/main" id="{1DB709E1-8A4A-4C9D-B7D0-22A53F99C816}"/>
                </a:ext>
              </a:extLst>
            </p:cNvPr>
            <p:cNvSpPr/>
            <p:nvPr/>
          </p:nvSpPr>
          <p:spPr>
            <a:xfrm flipH="1" flipV="1">
              <a:off x="5654983" y="2298724"/>
              <a:ext cx="70684" cy="70684"/>
            </a:xfrm>
            <a:prstGeom prst="ellipse">
              <a:avLst/>
            </a:prstGeom>
            <a:gradFill>
              <a:gsLst>
                <a:gs pos="73000">
                  <a:schemeClr val="accent1"/>
                </a:gs>
                <a:gs pos="31000">
                  <a:schemeClr val="accent1">
                    <a:lumMod val="60000"/>
                    <a:lumOff val="40000"/>
                  </a:schemeClr>
                </a:gs>
                <a:gs pos="0">
                  <a:schemeClr val="accent1">
                    <a:lumMod val="40000"/>
                    <a:lumOff val="60000"/>
                  </a:schemeClr>
                </a:gs>
              </a:gsLst>
              <a:lin ang="2700000" scaled="1"/>
            </a:gra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800" b="0" i="0" u="none" strike="noStrike" kern="1200" cap="none" spc="0" normalizeH="0" baseline="0" noProof="0">
                <a:ln>
                  <a:noFill/>
                </a:ln>
                <a:solidFill>
                  <a:prstClr val="black">
                    <a:lumMod val="50000"/>
                    <a:lumOff val="50000"/>
                  </a:prstClr>
                </a:solidFill>
                <a:effectLst/>
                <a:uLnTx/>
                <a:uFillTx/>
                <a:latin typeface="HarmonyOS Sans SC"/>
                <a:cs typeface="+mn-cs"/>
              </a:endParaRPr>
            </a:p>
          </p:txBody>
        </p:sp>
      </p:grpSp>
      <p:grpSp>
        <p:nvGrpSpPr>
          <p:cNvPr id="39" name="组合 38">
            <a:extLst>
              <a:ext uri="{FF2B5EF4-FFF2-40B4-BE49-F238E27FC236}">
                <a16:creationId xmlns:a16="http://schemas.microsoft.com/office/drawing/2014/main" id="{5D0A6D21-B4C2-48B6-B1AF-F9A0127F4EFC}"/>
              </a:ext>
            </a:extLst>
          </p:cNvPr>
          <p:cNvGrpSpPr/>
          <p:nvPr/>
        </p:nvGrpSpPr>
        <p:grpSpPr>
          <a:xfrm>
            <a:off x="7628486" y="5465975"/>
            <a:ext cx="209550" cy="209550"/>
            <a:chOff x="5585550" y="2229291"/>
            <a:chExt cx="209550" cy="209550"/>
          </a:xfrm>
        </p:grpSpPr>
        <p:sp>
          <p:nvSpPr>
            <p:cNvPr id="40" name="Oval 69">
              <a:extLst>
                <a:ext uri="{FF2B5EF4-FFF2-40B4-BE49-F238E27FC236}">
                  <a16:creationId xmlns:a16="http://schemas.microsoft.com/office/drawing/2014/main" id="{8917BFF7-7C01-4C4F-9B70-8F65950B8AA1}"/>
                </a:ext>
              </a:extLst>
            </p:cNvPr>
            <p:cNvSpPr/>
            <p:nvPr/>
          </p:nvSpPr>
          <p:spPr>
            <a:xfrm flipH="1">
              <a:off x="5585550" y="2229291"/>
              <a:ext cx="209550" cy="209550"/>
            </a:xfrm>
            <a:prstGeom prst="ellipse">
              <a:avLst/>
            </a:prstGeom>
            <a:solidFill>
              <a:schemeClr val="accent1">
                <a:lumMod val="20000"/>
                <a:lumOff val="80000"/>
                <a:alpha val="5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800" b="0" i="0" u="none" strike="noStrike" kern="1200" cap="none" spc="0" normalizeH="0" baseline="0" noProof="0">
                <a:ln>
                  <a:noFill/>
                </a:ln>
                <a:solidFill>
                  <a:prstClr val="black">
                    <a:lumMod val="50000"/>
                    <a:lumOff val="50000"/>
                  </a:prstClr>
                </a:solidFill>
                <a:effectLst/>
                <a:uLnTx/>
                <a:uFillTx/>
                <a:latin typeface="HarmonyOS Sans SC"/>
                <a:cs typeface="+mn-cs"/>
              </a:endParaRPr>
            </a:p>
          </p:txBody>
        </p:sp>
        <p:sp>
          <p:nvSpPr>
            <p:cNvPr id="41" name="Oval 70">
              <a:extLst>
                <a:ext uri="{FF2B5EF4-FFF2-40B4-BE49-F238E27FC236}">
                  <a16:creationId xmlns:a16="http://schemas.microsoft.com/office/drawing/2014/main" id="{EE73486B-65E0-4A40-B18D-1CF685767DFF}"/>
                </a:ext>
              </a:extLst>
            </p:cNvPr>
            <p:cNvSpPr/>
            <p:nvPr/>
          </p:nvSpPr>
          <p:spPr>
            <a:xfrm flipH="1" flipV="1">
              <a:off x="5654983" y="2298724"/>
              <a:ext cx="70684" cy="70684"/>
            </a:xfrm>
            <a:prstGeom prst="ellipse">
              <a:avLst/>
            </a:prstGeom>
            <a:gradFill>
              <a:gsLst>
                <a:gs pos="73000">
                  <a:schemeClr val="accent1"/>
                </a:gs>
                <a:gs pos="31000">
                  <a:schemeClr val="accent1">
                    <a:lumMod val="60000"/>
                    <a:lumOff val="40000"/>
                  </a:schemeClr>
                </a:gs>
                <a:gs pos="0">
                  <a:schemeClr val="accent1">
                    <a:lumMod val="40000"/>
                    <a:lumOff val="60000"/>
                  </a:schemeClr>
                </a:gs>
              </a:gsLst>
              <a:lin ang="2700000" scaled="1"/>
            </a:gra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800" b="0" i="0" u="none" strike="noStrike" kern="1200" cap="none" spc="0" normalizeH="0" baseline="0" noProof="0">
                <a:ln>
                  <a:noFill/>
                </a:ln>
                <a:solidFill>
                  <a:prstClr val="black">
                    <a:lumMod val="50000"/>
                    <a:lumOff val="50000"/>
                  </a:prstClr>
                </a:solidFill>
                <a:effectLst/>
                <a:uLnTx/>
                <a:uFillTx/>
                <a:latin typeface="HarmonyOS Sans SC"/>
                <a:cs typeface="+mn-cs"/>
              </a:endParaRPr>
            </a:p>
          </p:txBody>
        </p:sp>
      </p:grpSp>
    </p:spTree>
    <p:extLst>
      <p:ext uri="{BB962C8B-B14F-4D97-AF65-F5344CB8AC3E}">
        <p14:creationId xmlns:p14="http://schemas.microsoft.com/office/powerpoint/2010/main" val="4232921955"/>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4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文本框 12">
            <a:extLst>
              <a:ext uri="{FF2B5EF4-FFF2-40B4-BE49-F238E27FC236}">
                <a16:creationId xmlns:a16="http://schemas.microsoft.com/office/drawing/2014/main" id="{1E88890F-C3B8-489C-A4BB-A3FD356B7BFD}"/>
              </a:ext>
            </a:extLst>
          </p:cNvPr>
          <p:cNvSpPr txBox="1"/>
          <p:nvPr/>
        </p:nvSpPr>
        <p:spPr>
          <a:xfrm>
            <a:off x="4278837" y="918105"/>
            <a:ext cx="3634328" cy="52322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2800" b="0" i="0" u="none" strike="noStrike" kern="1200" cap="none" spc="0" normalizeH="0" baseline="0" noProof="0" dirty="0">
                <a:ln>
                  <a:noFill/>
                </a:ln>
                <a:solidFill>
                  <a:prstClr val="black"/>
                </a:solidFill>
                <a:effectLst/>
                <a:uLnTx/>
                <a:uFillTx/>
                <a:latin typeface="HarmonyOS Sans Black"/>
                <a:ea typeface="+mj-ea"/>
                <a:cs typeface="+mn-cs"/>
              </a:rPr>
              <a:t>Process </a:t>
            </a:r>
            <a:r>
              <a:rPr kumimoji="0" lang="en-US" altLang="zh-CN" sz="2800" b="0" i="0" u="none" strike="noStrike" kern="1200" cap="none" spc="0" normalizeH="0" baseline="0" noProof="0" dirty="0">
                <a:ln>
                  <a:noFill/>
                </a:ln>
                <a:solidFill>
                  <a:schemeClr val="accent1"/>
                </a:solidFill>
                <a:effectLst/>
                <a:uLnTx/>
                <a:uFillTx/>
                <a:latin typeface="HarmonyOS Sans Black"/>
                <a:ea typeface="+mj-ea"/>
                <a:cs typeface="+mn-cs"/>
              </a:rPr>
              <a:t>infographic</a:t>
            </a:r>
          </a:p>
        </p:txBody>
      </p:sp>
      <p:sp>
        <p:nvSpPr>
          <p:cNvPr id="2" name="Freeform 17">
            <a:extLst>
              <a:ext uri="{FF2B5EF4-FFF2-40B4-BE49-F238E27FC236}">
                <a16:creationId xmlns:a16="http://schemas.microsoft.com/office/drawing/2014/main" id="{8F2612AA-8CED-4F83-AFC6-C0736943C055}"/>
              </a:ext>
            </a:extLst>
          </p:cNvPr>
          <p:cNvSpPr>
            <a:spLocks/>
          </p:cNvSpPr>
          <p:nvPr/>
        </p:nvSpPr>
        <p:spPr bwMode="auto">
          <a:xfrm>
            <a:off x="1047751" y="2904451"/>
            <a:ext cx="2119115" cy="885885"/>
          </a:xfrm>
          <a:custGeom>
            <a:avLst/>
            <a:gdLst>
              <a:gd name="T0" fmla="*/ 0 w 5842"/>
              <a:gd name="T1" fmla="*/ 0 h 2424"/>
              <a:gd name="T2" fmla="*/ 4630 w 5842"/>
              <a:gd name="T3" fmla="*/ 0 h 2424"/>
              <a:gd name="T4" fmla="*/ 5842 w 5842"/>
              <a:gd name="T5" fmla="*/ 1212 h 2424"/>
              <a:gd name="T6" fmla="*/ 5842 w 5842"/>
              <a:gd name="T7" fmla="*/ 1212 h 2424"/>
              <a:gd name="T8" fmla="*/ 4630 w 5842"/>
              <a:gd name="T9" fmla="*/ 2424 h 2424"/>
              <a:gd name="T10" fmla="*/ 0 w 5842"/>
              <a:gd name="T11" fmla="*/ 2424 h 2424"/>
              <a:gd name="T12" fmla="*/ 0 w 5842"/>
              <a:gd name="T13" fmla="*/ 0 h 2424"/>
            </a:gdLst>
            <a:ahLst/>
            <a:cxnLst>
              <a:cxn ang="0">
                <a:pos x="T0" y="T1"/>
              </a:cxn>
              <a:cxn ang="0">
                <a:pos x="T2" y="T3"/>
              </a:cxn>
              <a:cxn ang="0">
                <a:pos x="T4" y="T5"/>
              </a:cxn>
              <a:cxn ang="0">
                <a:pos x="T6" y="T7"/>
              </a:cxn>
              <a:cxn ang="0">
                <a:pos x="T8" y="T9"/>
              </a:cxn>
              <a:cxn ang="0">
                <a:pos x="T10" y="T11"/>
              </a:cxn>
              <a:cxn ang="0">
                <a:pos x="T12" y="T13"/>
              </a:cxn>
            </a:cxnLst>
            <a:rect l="0" t="0" r="r" b="b"/>
            <a:pathLst>
              <a:path w="5842" h="2424">
                <a:moveTo>
                  <a:pt x="0" y="0"/>
                </a:moveTo>
                <a:lnTo>
                  <a:pt x="4630" y="0"/>
                </a:lnTo>
                <a:cubicBezTo>
                  <a:pt x="5297" y="0"/>
                  <a:pt x="5842" y="546"/>
                  <a:pt x="5842" y="1212"/>
                </a:cubicBezTo>
                <a:lnTo>
                  <a:pt x="5842" y="1212"/>
                </a:lnTo>
                <a:cubicBezTo>
                  <a:pt x="5842" y="1879"/>
                  <a:pt x="5297" y="2424"/>
                  <a:pt x="4630" y="2424"/>
                </a:cubicBezTo>
                <a:lnTo>
                  <a:pt x="0" y="2424"/>
                </a:lnTo>
                <a:lnTo>
                  <a:pt x="0" y="0"/>
                </a:lnTo>
                <a:close/>
              </a:path>
            </a:pathLst>
          </a:custGeom>
          <a:gradFill flip="none" rotWithShape="1">
            <a:gsLst>
              <a:gs pos="73000">
                <a:schemeClr val="accent1"/>
              </a:gs>
              <a:gs pos="31000">
                <a:schemeClr val="accent1">
                  <a:lumMod val="60000"/>
                  <a:lumOff val="40000"/>
                </a:schemeClr>
              </a:gs>
              <a:gs pos="0">
                <a:schemeClr val="accent1">
                  <a:lumMod val="40000"/>
                  <a:lumOff val="60000"/>
                </a:schemeClr>
              </a:gs>
            </a:gsLst>
            <a:lin ang="0" scaled="1"/>
            <a:tileRect/>
          </a:gradFill>
          <a:ln>
            <a:noFill/>
          </a:ln>
          <a:effectLst>
            <a:outerShdw blurRad="444500" dist="317500" dir="5400000" sx="92000" sy="92000" algn="t" rotWithShape="0">
              <a:schemeClr val="accent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HarmonyOS Sans SC Black"/>
                <a:ea typeface="+mj-ea"/>
                <a:cs typeface="+mn-cs"/>
              </a:rPr>
              <a:t>STEP 1</a:t>
            </a:r>
          </a:p>
        </p:txBody>
      </p:sp>
      <p:sp>
        <p:nvSpPr>
          <p:cNvPr id="3" name="Freeform 21">
            <a:extLst>
              <a:ext uri="{FF2B5EF4-FFF2-40B4-BE49-F238E27FC236}">
                <a16:creationId xmlns:a16="http://schemas.microsoft.com/office/drawing/2014/main" id="{3D43CD75-8952-404B-954E-94CC078CBD70}"/>
              </a:ext>
            </a:extLst>
          </p:cNvPr>
          <p:cNvSpPr>
            <a:spLocks/>
          </p:cNvSpPr>
          <p:nvPr/>
        </p:nvSpPr>
        <p:spPr bwMode="auto">
          <a:xfrm>
            <a:off x="3042097" y="2904451"/>
            <a:ext cx="2119115" cy="885885"/>
          </a:xfrm>
          <a:custGeom>
            <a:avLst/>
            <a:gdLst>
              <a:gd name="T0" fmla="*/ 0 w 5842"/>
              <a:gd name="T1" fmla="*/ 0 h 2424"/>
              <a:gd name="T2" fmla="*/ 4630 w 5842"/>
              <a:gd name="T3" fmla="*/ 0 h 2424"/>
              <a:gd name="T4" fmla="*/ 5842 w 5842"/>
              <a:gd name="T5" fmla="*/ 1212 h 2424"/>
              <a:gd name="T6" fmla="*/ 5842 w 5842"/>
              <a:gd name="T7" fmla="*/ 1212 h 2424"/>
              <a:gd name="T8" fmla="*/ 4630 w 5842"/>
              <a:gd name="T9" fmla="*/ 2424 h 2424"/>
              <a:gd name="T10" fmla="*/ 0 w 5842"/>
              <a:gd name="T11" fmla="*/ 2424 h 2424"/>
              <a:gd name="T12" fmla="*/ 670 w 5842"/>
              <a:gd name="T13" fmla="*/ 1212 h 2424"/>
              <a:gd name="T14" fmla="*/ 0 w 5842"/>
              <a:gd name="T15" fmla="*/ 0 h 24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42" h="2424">
                <a:moveTo>
                  <a:pt x="0" y="0"/>
                </a:moveTo>
                <a:lnTo>
                  <a:pt x="4630" y="0"/>
                </a:lnTo>
                <a:cubicBezTo>
                  <a:pt x="5297" y="0"/>
                  <a:pt x="5842" y="546"/>
                  <a:pt x="5842" y="1212"/>
                </a:cubicBezTo>
                <a:lnTo>
                  <a:pt x="5842" y="1212"/>
                </a:lnTo>
                <a:cubicBezTo>
                  <a:pt x="5842" y="1879"/>
                  <a:pt x="5297" y="2424"/>
                  <a:pt x="4630" y="2424"/>
                </a:cubicBezTo>
                <a:lnTo>
                  <a:pt x="0" y="2424"/>
                </a:lnTo>
                <a:cubicBezTo>
                  <a:pt x="402" y="2170"/>
                  <a:pt x="670" y="1721"/>
                  <a:pt x="670" y="1212"/>
                </a:cubicBezTo>
                <a:cubicBezTo>
                  <a:pt x="670" y="704"/>
                  <a:pt x="402" y="255"/>
                  <a:pt x="0" y="0"/>
                </a:cubicBezTo>
                <a:close/>
              </a:path>
            </a:pathLst>
          </a:custGeom>
          <a:gradFill flip="none" rotWithShape="1">
            <a:gsLst>
              <a:gs pos="73000">
                <a:schemeClr val="accent1"/>
              </a:gs>
              <a:gs pos="31000">
                <a:schemeClr val="accent1">
                  <a:lumMod val="60000"/>
                  <a:lumOff val="40000"/>
                </a:schemeClr>
              </a:gs>
              <a:gs pos="0">
                <a:schemeClr val="accent1">
                  <a:lumMod val="40000"/>
                  <a:lumOff val="60000"/>
                </a:schemeClr>
              </a:gs>
            </a:gsLst>
            <a:lin ang="0" scaled="1"/>
            <a:tileRect/>
          </a:gradFill>
          <a:ln>
            <a:noFill/>
          </a:ln>
          <a:effectLst>
            <a:outerShdw blurRad="444500" dist="317500" dir="5400000" sx="92000" sy="92000" algn="t" rotWithShape="0">
              <a:schemeClr val="accent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HarmonyOS Sans SC Black"/>
                <a:ea typeface="+mj-ea"/>
                <a:cs typeface="+mn-cs"/>
              </a:rPr>
              <a:t>STEP 2</a:t>
            </a:r>
          </a:p>
        </p:txBody>
      </p:sp>
      <p:sp>
        <p:nvSpPr>
          <p:cNvPr id="4" name="Freeform 21">
            <a:extLst>
              <a:ext uri="{FF2B5EF4-FFF2-40B4-BE49-F238E27FC236}">
                <a16:creationId xmlns:a16="http://schemas.microsoft.com/office/drawing/2014/main" id="{E823946D-03DF-47D3-A31A-A5297CF63397}"/>
              </a:ext>
            </a:extLst>
          </p:cNvPr>
          <p:cNvSpPr>
            <a:spLocks/>
          </p:cNvSpPr>
          <p:nvPr/>
        </p:nvSpPr>
        <p:spPr bwMode="auto">
          <a:xfrm>
            <a:off x="5036444" y="2904451"/>
            <a:ext cx="2119115" cy="885885"/>
          </a:xfrm>
          <a:custGeom>
            <a:avLst/>
            <a:gdLst>
              <a:gd name="T0" fmla="*/ 0 w 5842"/>
              <a:gd name="T1" fmla="*/ 0 h 2424"/>
              <a:gd name="T2" fmla="*/ 4630 w 5842"/>
              <a:gd name="T3" fmla="*/ 0 h 2424"/>
              <a:gd name="T4" fmla="*/ 5842 w 5842"/>
              <a:gd name="T5" fmla="*/ 1212 h 2424"/>
              <a:gd name="T6" fmla="*/ 5842 w 5842"/>
              <a:gd name="T7" fmla="*/ 1212 h 2424"/>
              <a:gd name="T8" fmla="*/ 4630 w 5842"/>
              <a:gd name="T9" fmla="*/ 2424 h 2424"/>
              <a:gd name="T10" fmla="*/ 0 w 5842"/>
              <a:gd name="T11" fmla="*/ 2424 h 2424"/>
              <a:gd name="T12" fmla="*/ 670 w 5842"/>
              <a:gd name="T13" fmla="*/ 1212 h 2424"/>
              <a:gd name="T14" fmla="*/ 0 w 5842"/>
              <a:gd name="T15" fmla="*/ 0 h 24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42" h="2424">
                <a:moveTo>
                  <a:pt x="0" y="0"/>
                </a:moveTo>
                <a:lnTo>
                  <a:pt x="4630" y="0"/>
                </a:lnTo>
                <a:cubicBezTo>
                  <a:pt x="5297" y="0"/>
                  <a:pt x="5842" y="546"/>
                  <a:pt x="5842" y="1212"/>
                </a:cubicBezTo>
                <a:lnTo>
                  <a:pt x="5842" y="1212"/>
                </a:lnTo>
                <a:cubicBezTo>
                  <a:pt x="5842" y="1879"/>
                  <a:pt x="5297" y="2424"/>
                  <a:pt x="4630" y="2424"/>
                </a:cubicBezTo>
                <a:lnTo>
                  <a:pt x="0" y="2424"/>
                </a:lnTo>
                <a:cubicBezTo>
                  <a:pt x="402" y="2170"/>
                  <a:pt x="670" y="1721"/>
                  <a:pt x="670" y="1212"/>
                </a:cubicBezTo>
                <a:cubicBezTo>
                  <a:pt x="670" y="704"/>
                  <a:pt x="402" y="255"/>
                  <a:pt x="0" y="0"/>
                </a:cubicBezTo>
                <a:close/>
              </a:path>
            </a:pathLst>
          </a:custGeom>
          <a:gradFill flip="none" rotWithShape="1">
            <a:gsLst>
              <a:gs pos="73000">
                <a:schemeClr val="accent1"/>
              </a:gs>
              <a:gs pos="31000">
                <a:schemeClr val="accent1">
                  <a:lumMod val="60000"/>
                  <a:lumOff val="40000"/>
                </a:schemeClr>
              </a:gs>
              <a:gs pos="0">
                <a:schemeClr val="accent1">
                  <a:lumMod val="40000"/>
                  <a:lumOff val="60000"/>
                </a:schemeClr>
              </a:gs>
            </a:gsLst>
            <a:lin ang="0" scaled="1"/>
            <a:tileRect/>
          </a:gradFill>
          <a:ln>
            <a:noFill/>
          </a:ln>
          <a:effectLst>
            <a:outerShdw blurRad="444500" dist="317500" dir="5400000" sx="92000" sy="92000" algn="t" rotWithShape="0">
              <a:schemeClr val="accent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HarmonyOS Sans SC Black"/>
                <a:ea typeface="+mj-ea"/>
                <a:cs typeface="+mn-cs"/>
              </a:rPr>
              <a:t>STEP 3</a:t>
            </a:r>
          </a:p>
        </p:txBody>
      </p:sp>
      <p:sp>
        <p:nvSpPr>
          <p:cNvPr id="5" name="Freeform 21">
            <a:extLst>
              <a:ext uri="{FF2B5EF4-FFF2-40B4-BE49-F238E27FC236}">
                <a16:creationId xmlns:a16="http://schemas.microsoft.com/office/drawing/2014/main" id="{CBEA1434-42A2-44B9-AB2E-EDAD9AB0A800}"/>
              </a:ext>
            </a:extLst>
          </p:cNvPr>
          <p:cNvSpPr>
            <a:spLocks/>
          </p:cNvSpPr>
          <p:nvPr/>
        </p:nvSpPr>
        <p:spPr bwMode="auto">
          <a:xfrm>
            <a:off x="7030790" y="2904451"/>
            <a:ext cx="2119115" cy="885885"/>
          </a:xfrm>
          <a:custGeom>
            <a:avLst/>
            <a:gdLst>
              <a:gd name="T0" fmla="*/ 0 w 5842"/>
              <a:gd name="T1" fmla="*/ 0 h 2424"/>
              <a:gd name="T2" fmla="*/ 4630 w 5842"/>
              <a:gd name="T3" fmla="*/ 0 h 2424"/>
              <a:gd name="T4" fmla="*/ 5842 w 5842"/>
              <a:gd name="T5" fmla="*/ 1212 h 2424"/>
              <a:gd name="T6" fmla="*/ 5842 w 5842"/>
              <a:gd name="T7" fmla="*/ 1212 h 2424"/>
              <a:gd name="T8" fmla="*/ 4630 w 5842"/>
              <a:gd name="T9" fmla="*/ 2424 h 2424"/>
              <a:gd name="T10" fmla="*/ 0 w 5842"/>
              <a:gd name="T11" fmla="*/ 2424 h 2424"/>
              <a:gd name="T12" fmla="*/ 670 w 5842"/>
              <a:gd name="T13" fmla="*/ 1212 h 2424"/>
              <a:gd name="T14" fmla="*/ 0 w 5842"/>
              <a:gd name="T15" fmla="*/ 0 h 24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42" h="2424">
                <a:moveTo>
                  <a:pt x="0" y="0"/>
                </a:moveTo>
                <a:lnTo>
                  <a:pt x="4630" y="0"/>
                </a:lnTo>
                <a:cubicBezTo>
                  <a:pt x="5297" y="0"/>
                  <a:pt x="5842" y="546"/>
                  <a:pt x="5842" y="1212"/>
                </a:cubicBezTo>
                <a:lnTo>
                  <a:pt x="5842" y="1212"/>
                </a:lnTo>
                <a:cubicBezTo>
                  <a:pt x="5842" y="1879"/>
                  <a:pt x="5297" y="2424"/>
                  <a:pt x="4630" y="2424"/>
                </a:cubicBezTo>
                <a:lnTo>
                  <a:pt x="0" y="2424"/>
                </a:lnTo>
                <a:cubicBezTo>
                  <a:pt x="402" y="2170"/>
                  <a:pt x="670" y="1721"/>
                  <a:pt x="670" y="1212"/>
                </a:cubicBezTo>
                <a:cubicBezTo>
                  <a:pt x="670" y="704"/>
                  <a:pt x="402" y="255"/>
                  <a:pt x="0" y="0"/>
                </a:cubicBezTo>
                <a:close/>
              </a:path>
            </a:pathLst>
          </a:custGeom>
          <a:gradFill flip="none" rotWithShape="1">
            <a:gsLst>
              <a:gs pos="73000">
                <a:schemeClr val="accent1"/>
              </a:gs>
              <a:gs pos="31000">
                <a:schemeClr val="accent1">
                  <a:lumMod val="60000"/>
                  <a:lumOff val="40000"/>
                </a:schemeClr>
              </a:gs>
              <a:gs pos="0">
                <a:schemeClr val="accent1">
                  <a:lumMod val="40000"/>
                  <a:lumOff val="60000"/>
                </a:schemeClr>
              </a:gs>
            </a:gsLst>
            <a:lin ang="0" scaled="1"/>
            <a:tileRect/>
          </a:gradFill>
          <a:ln>
            <a:noFill/>
          </a:ln>
          <a:effectLst>
            <a:outerShdw blurRad="444500" dist="317500" dir="5400000" sx="92000" sy="92000" algn="t" rotWithShape="0">
              <a:schemeClr val="accent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HarmonyOS Sans SC Black"/>
                <a:ea typeface="+mj-ea"/>
                <a:cs typeface="+mn-cs"/>
              </a:rPr>
              <a:t>STEP 4</a:t>
            </a:r>
          </a:p>
        </p:txBody>
      </p:sp>
      <p:sp>
        <p:nvSpPr>
          <p:cNvPr id="6" name="Freeform 21">
            <a:extLst>
              <a:ext uri="{FF2B5EF4-FFF2-40B4-BE49-F238E27FC236}">
                <a16:creationId xmlns:a16="http://schemas.microsoft.com/office/drawing/2014/main" id="{3B82096F-487E-4FB7-B729-C40AEA909833}"/>
              </a:ext>
            </a:extLst>
          </p:cNvPr>
          <p:cNvSpPr>
            <a:spLocks/>
          </p:cNvSpPr>
          <p:nvPr/>
        </p:nvSpPr>
        <p:spPr bwMode="auto">
          <a:xfrm>
            <a:off x="9025136" y="2904451"/>
            <a:ext cx="2119115" cy="885885"/>
          </a:xfrm>
          <a:custGeom>
            <a:avLst/>
            <a:gdLst>
              <a:gd name="T0" fmla="*/ 0 w 5842"/>
              <a:gd name="T1" fmla="*/ 0 h 2424"/>
              <a:gd name="T2" fmla="*/ 4630 w 5842"/>
              <a:gd name="T3" fmla="*/ 0 h 2424"/>
              <a:gd name="T4" fmla="*/ 5842 w 5842"/>
              <a:gd name="T5" fmla="*/ 1212 h 2424"/>
              <a:gd name="T6" fmla="*/ 5842 w 5842"/>
              <a:gd name="T7" fmla="*/ 1212 h 2424"/>
              <a:gd name="T8" fmla="*/ 4630 w 5842"/>
              <a:gd name="T9" fmla="*/ 2424 h 2424"/>
              <a:gd name="T10" fmla="*/ 0 w 5842"/>
              <a:gd name="T11" fmla="*/ 2424 h 2424"/>
              <a:gd name="T12" fmla="*/ 670 w 5842"/>
              <a:gd name="T13" fmla="*/ 1212 h 2424"/>
              <a:gd name="T14" fmla="*/ 0 w 5842"/>
              <a:gd name="T15" fmla="*/ 0 h 24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42" h="2424">
                <a:moveTo>
                  <a:pt x="0" y="0"/>
                </a:moveTo>
                <a:lnTo>
                  <a:pt x="4630" y="0"/>
                </a:lnTo>
                <a:cubicBezTo>
                  <a:pt x="5297" y="0"/>
                  <a:pt x="5842" y="546"/>
                  <a:pt x="5842" y="1212"/>
                </a:cubicBezTo>
                <a:lnTo>
                  <a:pt x="5842" y="1212"/>
                </a:lnTo>
                <a:cubicBezTo>
                  <a:pt x="5842" y="1879"/>
                  <a:pt x="5297" y="2424"/>
                  <a:pt x="4630" y="2424"/>
                </a:cubicBezTo>
                <a:lnTo>
                  <a:pt x="0" y="2424"/>
                </a:lnTo>
                <a:cubicBezTo>
                  <a:pt x="402" y="2170"/>
                  <a:pt x="670" y="1721"/>
                  <a:pt x="670" y="1212"/>
                </a:cubicBezTo>
                <a:cubicBezTo>
                  <a:pt x="670" y="704"/>
                  <a:pt x="402" y="255"/>
                  <a:pt x="0" y="0"/>
                </a:cubicBezTo>
                <a:close/>
              </a:path>
            </a:pathLst>
          </a:custGeom>
          <a:gradFill flip="none" rotWithShape="1">
            <a:gsLst>
              <a:gs pos="73000">
                <a:schemeClr val="accent1"/>
              </a:gs>
              <a:gs pos="31000">
                <a:schemeClr val="accent1">
                  <a:lumMod val="60000"/>
                  <a:lumOff val="40000"/>
                </a:schemeClr>
              </a:gs>
              <a:gs pos="0">
                <a:schemeClr val="accent1">
                  <a:lumMod val="40000"/>
                  <a:lumOff val="60000"/>
                </a:schemeClr>
              </a:gs>
            </a:gsLst>
            <a:lin ang="0" scaled="1"/>
            <a:tileRect/>
          </a:gradFill>
          <a:ln>
            <a:noFill/>
          </a:ln>
          <a:effectLst>
            <a:outerShdw blurRad="444500" dist="317500" dir="5400000" sx="92000" sy="92000" algn="t" rotWithShape="0">
              <a:schemeClr val="accent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HarmonyOS Sans SC Black"/>
                <a:ea typeface="+mj-ea"/>
                <a:cs typeface="+mn-cs"/>
              </a:rPr>
              <a:t>STEP 5</a:t>
            </a:r>
          </a:p>
        </p:txBody>
      </p:sp>
      <p:sp>
        <p:nvSpPr>
          <p:cNvPr id="28" name="TextBox 65">
            <a:extLst>
              <a:ext uri="{FF2B5EF4-FFF2-40B4-BE49-F238E27FC236}">
                <a16:creationId xmlns:a16="http://schemas.microsoft.com/office/drawing/2014/main" id="{770D9C7F-45FA-46FB-9F8D-0CC9A6F95423}"/>
              </a:ext>
            </a:extLst>
          </p:cNvPr>
          <p:cNvSpPr txBox="1"/>
          <p:nvPr/>
        </p:nvSpPr>
        <p:spPr>
          <a:xfrm flipH="1">
            <a:off x="1047751" y="4040410"/>
            <a:ext cx="2063799" cy="352588"/>
          </a:xfrm>
          <a:prstGeom prst="rect">
            <a:avLst/>
          </a:prstGeom>
          <a:noFill/>
        </p:spPr>
        <p:txBody>
          <a:bodyPr wrap="square" lIns="0" tIns="36000" rIns="0" bIns="36000" rtlCol="0">
            <a:spAutoFit/>
          </a:bodyPr>
          <a:lstStyle/>
          <a:p>
            <a:pPr marL="0" marR="0" lvl="0" indent="0" algn="l" defTabSz="914400" rtl="0" eaLnBrk="1" fontAlgn="auto" latinLnBrk="0" hangingPunct="1">
              <a:lnSpc>
                <a:spcPct val="120000"/>
              </a:lnSpc>
              <a:spcBef>
                <a:spcPts val="600"/>
              </a:spcBef>
              <a:spcAft>
                <a:spcPts val="0"/>
              </a:spcAft>
              <a:buClrTx/>
              <a:buSzTx/>
              <a:buFontTx/>
              <a:buNone/>
              <a:tabLst/>
              <a:defRPr/>
            </a:pPr>
            <a:r>
              <a:rPr kumimoji="0" lang="zh-CN" altLang="en-US" sz="1600" b="0" i="0" u="none" strike="noStrike" kern="1200" cap="none" spc="0" normalizeH="0" baseline="0" noProof="0" dirty="0">
                <a:ln>
                  <a:noFill/>
                </a:ln>
                <a:solidFill>
                  <a:schemeClr val="accent1"/>
                </a:solidFill>
                <a:effectLst/>
                <a:uLnTx/>
                <a:uFillTx/>
                <a:latin typeface="HarmonyOS Sans SC Black"/>
                <a:ea typeface="+mj-ea"/>
                <a:cs typeface="+mn-cs"/>
              </a:rPr>
              <a:t>关键词标题</a:t>
            </a:r>
            <a:endParaRPr kumimoji="0" lang="en-US" sz="1600" b="0" i="0" u="none" strike="noStrike" kern="1200" cap="none" spc="0" normalizeH="0" baseline="0" noProof="0" dirty="0">
              <a:ln>
                <a:noFill/>
              </a:ln>
              <a:solidFill>
                <a:schemeClr val="accent1"/>
              </a:solidFill>
              <a:effectLst/>
              <a:uLnTx/>
              <a:uFillTx/>
              <a:latin typeface="HarmonyOS Sans SC Black"/>
              <a:ea typeface="+mj-ea"/>
              <a:cs typeface="+mn-cs"/>
            </a:endParaRPr>
          </a:p>
        </p:txBody>
      </p:sp>
      <p:sp>
        <p:nvSpPr>
          <p:cNvPr id="29" name="TextBox 65">
            <a:extLst>
              <a:ext uri="{FF2B5EF4-FFF2-40B4-BE49-F238E27FC236}">
                <a16:creationId xmlns:a16="http://schemas.microsoft.com/office/drawing/2014/main" id="{C00C7A0B-D3E4-4E16-B517-B8C00EF8AC40}"/>
              </a:ext>
            </a:extLst>
          </p:cNvPr>
          <p:cNvSpPr txBox="1"/>
          <p:nvPr/>
        </p:nvSpPr>
        <p:spPr>
          <a:xfrm flipH="1">
            <a:off x="1047751" y="4425214"/>
            <a:ext cx="1536896" cy="665879"/>
          </a:xfrm>
          <a:prstGeom prst="rect">
            <a:avLst/>
          </a:prstGeom>
          <a:noFill/>
        </p:spPr>
        <p:txBody>
          <a:bodyPr wrap="square" lIns="0" tIns="36000" rIns="0" bIns="36000" rtlCol="0">
            <a:spAutoFit/>
          </a:bodyPr>
          <a:lstStyle/>
          <a:p>
            <a:pPr marL="0" marR="0" lvl="0" indent="0" algn="l" defTabSz="914400" rtl="0" eaLnBrk="1" fontAlgn="auto" latinLnBrk="0" hangingPunct="1">
              <a:lnSpc>
                <a:spcPct val="120000"/>
              </a:lnSpc>
              <a:spcBef>
                <a:spcPts val="600"/>
              </a:spcBef>
              <a:spcAft>
                <a:spcPts val="0"/>
              </a:spcAft>
              <a:buClrTx/>
              <a:buSzTx/>
              <a:buFontTx/>
              <a:buNone/>
              <a:tabLst/>
              <a:defRPr/>
            </a:pPr>
            <a:r>
              <a:rPr kumimoji="0" lang="en-US" sz="1100" b="0" i="0" u="none" strike="noStrike" kern="1200" cap="none" spc="0" normalizeH="0" baseline="0" noProof="0" dirty="0">
                <a:ln>
                  <a:noFill/>
                </a:ln>
                <a:solidFill>
                  <a:prstClr val="black">
                    <a:lumMod val="50000"/>
                    <a:lumOff val="50000"/>
                  </a:prstClr>
                </a:solidFill>
                <a:effectLst/>
                <a:uLnTx/>
                <a:uFillTx/>
                <a:latin typeface="HarmonyOS Sans SC"/>
                <a:cs typeface="+mn-cs"/>
              </a:rPr>
              <a:t>Apparently we had reached a great height in the.</a:t>
            </a:r>
          </a:p>
        </p:txBody>
      </p:sp>
      <p:sp>
        <p:nvSpPr>
          <p:cNvPr id="30" name="TextBox 65">
            <a:extLst>
              <a:ext uri="{FF2B5EF4-FFF2-40B4-BE49-F238E27FC236}">
                <a16:creationId xmlns:a16="http://schemas.microsoft.com/office/drawing/2014/main" id="{FBACDAF8-2572-4A90-ACA2-D262588E083F}"/>
              </a:ext>
            </a:extLst>
          </p:cNvPr>
          <p:cNvSpPr txBox="1"/>
          <p:nvPr/>
        </p:nvSpPr>
        <p:spPr>
          <a:xfrm flipH="1">
            <a:off x="3042097" y="4040410"/>
            <a:ext cx="2063799" cy="352588"/>
          </a:xfrm>
          <a:prstGeom prst="rect">
            <a:avLst/>
          </a:prstGeom>
          <a:noFill/>
        </p:spPr>
        <p:txBody>
          <a:bodyPr wrap="square" lIns="0" tIns="36000" rIns="0" bIns="36000" rtlCol="0">
            <a:spAutoFit/>
          </a:bodyPr>
          <a:lstStyle/>
          <a:p>
            <a:pPr marL="0" marR="0" lvl="0" indent="0" algn="l" defTabSz="914400" rtl="0" eaLnBrk="1" fontAlgn="auto" latinLnBrk="0" hangingPunct="1">
              <a:lnSpc>
                <a:spcPct val="120000"/>
              </a:lnSpc>
              <a:spcBef>
                <a:spcPts val="600"/>
              </a:spcBef>
              <a:spcAft>
                <a:spcPts val="0"/>
              </a:spcAft>
              <a:buClrTx/>
              <a:buSzTx/>
              <a:buFontTx/>
              <a:buNone/>
              <a:tabLst/>
              <a:defRPr/>
            </a:pPr>
            <a:r>
              <a:rPr kumimoji="0" lang="zh-CN" altLang="en-US" sz="1600" b="0" i="0" u="none" strike="noStrike" kern="1200" cap="none" spc="0" normalizeH="0" baseline="0" noProof="0" dirty="0">
                <a:ln>
                  <a:noFill/>
                </a:ln>
                <a:solidFill>
                  <a:schemeClr val="accent1"/>
                </a:solidFill>
                <a:effectLst/>
                <a:uLnTx/>
                <a:uFillTx/>
                <a:latin typeface="HarmonyOS Sans SC Black"/>
                <a:ea typeface="+mj-ea"/>
                <a:cs typeface="+mn-cs"/>
              </a:rPr>
              <a:t>关键词标题</a:t>
            </a:r>
            <a:endParaRPr kumimoji="0" lang="en-US" sz="1600" b="0" i="0" u="none" strike="noStrike" kern="1200" cap="none" spc="0" normalizeH="0" baseline="0" noProof="0" dirty="0">
              <a:ln>
                <a:noFill/>
              </a:ln>
              <a:solidFill>
                <a:schemeClr val="accent1"/>
              </a:solidFill>
              <a:effectLst/>
              <a:uLnTx/>
              <a:uFillTx/>
              <a:latin typeface="HarmonyOS Sans SC Black"/>
              <a:ea typeface="+mj-ea"/>
              <a:cs typeface="+mn-cs"/>
            </a:endParaRPr>
          </a:p>
        </p:txBody>
      </p:sp>
      <p:sp>
        <p:nvSpPr>
          <p:cNvPr id="31" name="TextBox 65">
            <a:extLst>
              <a:ext uri="{FF2B5EF4-FFF2-40B4-BE49-F238E27FC236}">
                <a16:creationId xmlns:a16="http://schemas.microsoft.com/office/drawing/2014/main" id="{E27CAC27-7E19-4B32-92BE-AC285948692B}"/>
              </a:ext>
            </a:extLst>
          </p:cNvPr>
          <p:cNvSpPr txBox="1"/>
          <p:nvPr/>
        </p:nvSpPr>
        <p:spPr>
          <a:xfrm flipH="1">
            <a:off x="3042097" y="4425214"/>
            <a:ext cx="1536896" cy="665879"/>
          </a:xfrm>
          <a:prstGeom prst="rect">
            <a:avLst/>
          </a:prstGeom>
          <a:noFill/>
        </p:spPr>
        <p:txBody>
          <a:bodyPr wrap="square" lIns="0" tIns="36000" rIns="0" bIns="36000" rtlCol="0">
            <a:spAutoFit/>
          </a:bodyPr>
          <a:lstStyle/>
          <a:p>
            <a:pPr marL="0" marR="0" lvl="0" indent="0" algn="l" defTabSz="914400" rtl="0" eaLnBrk="1" fontAlgn="auto" latinLnBrk="0" hangingPunct="1">
              <a:lnSpc>
                <a:spcPct val="120000"/>
              </a:lnSpc>
              <a:spcBef>
                <a:spcPts val="600"/>
              </a:spcBef>
              <a:spcAft>
                <a:spcPts val="0"/>
              </a:spcAft>
              <a:buClrTx/>
              <a:buSzTx/>
              <a:buFontTx/>
              <a:buNone/>
              <a:tabLst/>
              <a:defRPr/>
            </a:pPr>
            <a:r>
              <a:rPr kumimoji="0" lang="en-US" sz="1100" b="0" i="0" u="none" strike="noStrike" kern="1200" cap="none" spc="0" normalizeH="0" baseline="0" noProof="0" dirty="0">
                <a:ln>
                  <a:noFill/>
                </a:ln>
                <a:solidFill>
                  <a:prstClr val="black">
                    <a:lumMod val="50000"/>
                    <a:lumOff val="50000"/>
                  </a:prstClr>
                </a:solidFill>
                <a:effectLst/>
                <a:uLnTx/>
                <a:uFillTx/>
                <a:latin typeface="HarmonyOS Sans SC"/>
                <a:cs typeface="+mn-cs"/>
              </a:rPr>
              <a:t>Apparently we had reached a great height in the.</a:t>
            </a:r>
          </a:p>
        </p:txBody>
      </p:sp>
      <p:sp>
        <p:nvSpPr>
          <p:cNvPr id="32" name="TextBox 65">
            <a:extLst>
              <a:ext uri="{FF2B5EF4-FFF2-40B4-BE49-F238E27FC236}">
                <a16:creationId xmlns:a16="http://schemas.microsoft.com/office/drawing/2014/main" id="{3D2A4BC6-E893-4ADE-A87A-EA50E427A21E}"/>
              </a:ext>
            </a:extLst>
          </p:cNvPr>
          <p:cNvSpPr txBox="1"/>
          <p:nvPr/>
        </p:nvSpPr>
        <p:spPr>
          <a:xfrm flipH="1">
            <a:off x="5036444" y="4040410"/>
            <a:ext cx="2063799" cy="352588"/>
          </a:xfrm>
          <a:prstGeom prst="rect">
            <a:avLst/>
          </a:prstGeom>
          <a:noFill/>
        </p:spPr>
        <p:txBody>
          <a:bodyPr wrap="square" lIns="0" tIns="36000" rIns="0" bIns="36000" rtlCol="0">
            <a:spAutoFit/>
          </a:bodyPr>
          <a:lstStyle/>
          <a:p>
            <a:pPr marL="0" marR="0" lvl="0" indent="0" algn="l" defTabSz="914400" rtl="0" eaLnBrk="1" fontAlgn="auto" latinLnBrk="0" hangingPunct="1">
              <a:lnSpc>
                <a:spcPct val="120000"/>
              </a:lnSpc>
              <a:spcBef>
                <a:spcPts val="600"/>
              </a:spcBef>
              <a:spcAft>
                <a:spcPts val="0"/>
              </a:spcAft>
              <a:buClrTx/>
              <a:buSzTx/>
              <a:buFontTx/>
              <a:buNone/>
              <a:tabLst/>
              <a:defRPr/>
            </a:pPr>
            <a:r>
              <a:rPr kumimoji="0" lang="zh-CN" altLang="en-US" sz="1600" b="0" i="0" u="none" strike="noStrike" kern="1200" cap="none" spc="0" normalizeH="0" baseline="0" noProof="0" dirty="0">
                <a:ln>
                  <a:noFill/>
                </a:ln>
                <a:solidFill>
                  <a:schemeClr val="accent1"/>
                </a:solidFill>
                <a:effectLst/>
                <a:uLnTx/>
                <a:uFillTx/>
                <a:latin typeface="HarmonyOS Sans SC Black"/>
                <a:ea typeface="+mj-ea"/>
                <a:cs typeface="+mn-cs"/>
              </a:rPr>
              <a:t>关键词标题</a:t>
            </a:r>
            <a:endParaRPr kumimoji="0" lang="en-US" sz="1600" b="0" i="0" u="none" strike="noStrike" kern="1200" cap="none" spc="0" normalizeH="0" baseline="0" noProof="0" dirty="0">
              <a:ln>
                <a:noFill/>
              </a:ln>
              <a:solidFill>
                <a:schemeClr val="accent1"/>
              </a:solidFill>
              <a:effectLst/>
              <a:uLnTx/>
              <a:uFillTx/>
              <a:latin typeface="HarmonyOS Sans SC Black"/>
              <a:ea typeface="+mj-ea"/>
              <a:cs typeface="+mn-cs"/>
            </a:endParaRPr>
          </a:p>
        </p:txBody>
      </p:sp>
      <p:sp>
        <p:nvSpPr>
          <p:cNvPr id="33" name="TextBox 65">
            <a:extLst>
              <a:ext uri="{FF2B5EF4-FFF2-40B4-BE49-F238E27FC236}">
                <a16:creationId xmlns:a16="http://schemas.microsoft.com/office/drawing/2014/main" id="{BDBAE625-DBCD-448F-81ED-92FBBB061651}"/>
              </a:ext>
            </a:extLst>
          </p:cNvPr>
          <p:cNvSpPr txBox="1"/>
          <p:nvPr/>
        </p:nvSpPr>
        <p:spPr>
          <a:xfrm flipH="1">
            <a:off x="5036444" y="4425214"/>
            <a:ext cx="1536896" cy="665879"/>
          </a:xfrm>
          <a:prstGeom prst="rect">
            <a:avLst/>
          </a:prstGeom>
          <a:noFill/>
        </p:spPr>
        <p:txBody>
          <a:bodyPr wrap="square" lIns="0" tIns="36000" rIns="0" bIns="36000" rtlCol="0">
            <a:spAutoFit/>
          </a:bodyPr>
          <a:lstStyle/>
          <a:p>
            <a:pPr marL="0" marR="0" lvl="0" indent="0" algn="l" defTabSz="914400" rtl="0" eaLnBrk="1" fontAlgn="auto" latinLnBrk="0" hangingPunct="1">
              <a:lnSpc>
                <a:spcPct val="120000"/>
              </a:lnSpc>
              <a:spcBef>
                <a:spcPts val="600"/>
              </a:spcBef>
              <a:spcAft>
                <a:spcPts val="0"/>
              </a:spcAft>
              <a:buClrTx/>
              <a:buSzTx/>
              <a:buFontTx/>
              <a:buNone/>
              <a:tabLst/>
              <a:defRPr/>
            </a:pPr>
            <a:r>
              <a:rPr kumimoji="0" lang="en-US" sz="1100" b="0" i="0" u="none" strike="noStrike" kern="1200" cap="none" spc="0" normalizeH="0" baseline="0" noProof="0" dirty="0">
                <a:ln>
                  <a:noFill/>
                </a:ln>
                <a:solidFill>
                  <a:prstClr val="black">
                    <a:lumMod val="50000"/>
                    <a:lumOff val="50000"/>
                  </a:prstClr>
                </a:solidFill>
                <a:effectLst/>
                <a:uLnTx/>
                <a:uFillTx/>
                <a:latin typeface="HarmonyOS Sans SC"/>
                <a:cs typeface="+mn-cs"/>
              </a:rPr>
              <a:t>Apparently we had reached a great height in the.</a:t>
            </a:r>
          </a:p>
        </p:txBody>
      </p:sp>
      <p:sp>
        <p:nvSpPr>
          <p:cNvPr id="34" name="TextBox 65">
            <a:extLst>
              <a:ext uri="{FF2B5EF4-FFF2-40B4-BE49-F238E27FC236}">
                <a16:creationId xmlns:a16="http://schemas.microsoft.com/office/drawing/2014/main" id="{3EA0E20F-05BF-41F6-AAF2-76AAE4E11EC5}"/>
              </a:ext>
            </a:extLst>
          </p:cNvPr>
          <p:cNvSpPr txBox="1"/>
          <p:nvPr/>
        </p:nvSpPr>
        <p:spPr>
          <a:xfrm flipH="1">
            <a:off x="7030790" y="4040410"/>
            <a:ext cx="2063799" cy="352588"/>
          </a:xfrm>
          <a:prstGeom prst="rect">
            <a:avLst/>
          </a:prstGeom>
          <a:noFill/>
        </p:spPr>
        <p:txBody>
          <a:bodyPr wrap="square" lIns="0" tIns="36000" rIns="0" bIns="36000" rtlCol="0">
            <a:spAutoFit/>
          </a:bodyPr>
          <a:lstStyle/>
          <a:p>
            <a:pPr marL="0" marR="0" lvl="0" indent="0" algn="l" defTabSz="914400" rtl="0" eaLnBrk="1" fontAlgn="auto" latinLnBrk="0" hangingPunct="1">
              <a:lnSpc>
                <a:spcPct val="120000"/>
              </a:lnSpc>
              <a:spcBef>
                <a:spcPts val="600"/>
              </a:spcBef>
              <a:spcAft>
                <a:spcPts val="0"/>
              </a:spcAft>
              <a:buClrTx/>
              <a:buSzTx/>
              <a:buFontTx/>
              <a:buNone/>
              <a:tabLst/>
              <a:defRPr/>
            </a:pPr>
            <a:r>
              <a:rPr kumimoji="0" lang="zh-CN" altLang="en-US" sz="1600" b="0" i="0" u="none" strike="noStrike" kern="1200" cap="none" spc="0" normalizeH="0" baseline="0" noProof="0" dirty="0">
                <a:ln>
                  <a:noFill/>
                </a:ln>
                <a:solidFill>
                  <a:schemeClr val="accent1"/>
                </a:solidFill>
                <a:effectLst/>
                <a:uLnTx/>
                <a:uFillTx/>
                <a:latin typeface="HarmonyOS Sans SC Black"/>
                <a:ea typeface="+mj-ea"/>
                <a:cs typeface="+mn-cs"/>
              </a:rPr>
              <a:t>关键词标题</a:t>
            </a:r>
            <a:endParaRPr kumimoji="0" lang="en-US" sz="1600" b="0" i="0" u="none" strike="noStrike" kern="1200" cap="none" spc="0" normalizeH="0" baseline="0" noProof="0" dirty="0">
              <a:ln>
                <a:noFill/>
              </a:ln>
              <a:solidFill>
                <a:schemeClr val="accent1"/>
              </a:solidFill>
              <a:effectLst/>
              <a:uLnTx/>
              <a:uFillTx/>
              <a:latin typeface="HarmonyOS Sans SC Black"/>
              <a:ea typeface="+mj-ea"/>
              <a:cs typeface="+mn-cs"/>
            </a:endParaRPr>
          </a:p>
        </p:txBody>
      </p:sp>
      <p:sp>
        <p:nvSpPr>
          <p:cNvPr id="35" name="TextBox 65">
            <a:extLst>
              <a:ext uri="{FF2B5EF4-FFF2-40B4-BE49-F238E27FC236}">
                <a16:creationId xmlns:a16="http://schemas.microsoft.com/office/drawing/2014/main" id="{5833784F-A257-4060-A5B5-52570B7B5931}"/>
              </a:ext>
            </a:extLst>
          </p:cNvPr>
          <p:cNvSpPr txBox="1"/>
          <p:nvPr/>
        </p:nvSpPr>
        <p:spPr>
          <a:xfrm flipH="1">
            <a:off x="7030790" y="4425214"/>
            <a:ext cx="1536896" cy="665879"/>
          </a:xfrm>
          <a:prstGeom prst="rect">
            <a:avLst/>
          </a:prstGeom>
          <a:noFill/>
        </p:spPr>
        <p:txBody>
          <a:bodyPr wrap="square" lIns="0" tIns="36000" rIns="0" bIns="36000" rtlCol="0">
            <a:spAutoFit/>
          </a:bodyPr>
          <a:lstStyle/>
          <a:p>
            <a:pPr marL="0" marR="0" lvl="0" indent="0" algn="l" defTabSz="914400" rtl="0" eaLnBrk="1" fontAlgn="auto" latinLnBrk="0" hangingPunct="1">
              <a:lnSpc>
                <a:spcPct val="120000"/>
              </a:lnSpc>
              <a:spcBef>
                <a:spcPts val="600"/>
              </a:spcBef>
              <a:spcAft>
                <a:spcPts val="0"/>
              </a:spcAft>
              <a:buClrTx/>
              <a:buSzTx/>
              <a:buFontTx/>
              <a:buNone/>
              <a:tabLst/>
              <a:defRPr/>
            </a:pPr>
            <a:r>
              <a:rPr kumimoji="0" lang="en-US" sz="1100" b="0" i="0" u="none" strike="noStrike" kern="1200" cap="none" spc="0" normalizeH="0" baseline="0" noProof="0" dirty="0">
                <a:ln>
                  <a:noFill/>
                </a:ln>
                <a:solidFill>
                  <a:prstClr val="black">
                    <a:lumMod val="50000"/>
                    <a:lumOff val="50000"/>
                  </a:prstClr>
                </a:solidFill>
                <a:effectLst/>
                <a:uLnTx/>
                <a:uFillTx/>
                <a:latin typeface="HarmonyOS Sans SC"/>
                <a:cs typeface="+mn-cs"/>
              </a:rPr>
              <a:t>Apparently we had reached a great height in the.</a:t>
            </a:r>
          </a:p>
        </p:txBody>
      </p:sp>
      <p:sp>
        <p:nvSpPr>
          <p:cNvPr id="36" name="TextBox 65">
            <a:extLst>
              <a:ext uri="{FF2B5EF4-FFF2-40B4-BE49-F238E27FC236}">
                <a16:creationId xmlns:a16="http://schemas.microsoft.com/office/drawing/2014/main" id="{96224FCD-87B9-402B-A369-8B663850CD1A}"/>
              </a:ext>
            </a:extLst>
          </p:cNvPr>
          <p:cNvSpPr txBox="1"/>
          <p:nvPr/>
        </p:nvSpPr>
        <p:spPr>
          <a:xfrm flipH="1">
            <a:off x="9025136" y="4040410"/>
            <a:ext cx="2063799" cy="352588"/>
          </a:xfrm>
          <a:prstGeom prst="rect">
            <a:avLst/>
          </a:prstGeom>
          <a:noFill/>
        </p:spPr>
        <p:txBody>
          <a:bodyPr wrap="square" lIns="0" tIns="36000" rIns="0" bIns="36000" rtlCol="0">
            <a:spAutoFit/>
          </a:bodyPr>
          <a:lstStyle/>
          <a:p>
            <a:pPr marL="0" marR="0" lvl="0" indent="0" algn="l" defTabSz="914400" rtl="0" eaLnBrk="1" fontAlgn="auto" latinLnBrk="0" hangingPunct="1">
              <a:lnSpc>
                <a:spcPct val="120000"/>
              </a:lnSpc>
              <a:spcBef>
                <a:spcPts val="600"/>
              </a:spcBef>
              <a:spcAft>
                <a:spcPts val="0"/>
              </a:spcAft>
              <a:buClrTx/>
              <a:buSzTx/>
              <a:buFontTx/>
              <a:buNone/>
              <a:tabLst/>
              <a:defRPr/>
            </a:pPr>
            <a:r>
              <a:rPr kumimoji="0" lang="zh-CN" altLang="en-US" sz="1600" b="0" i="0" u="none" strike="noStrike" kern="1200" cap="none" spc="0" normalizeH="0" baseline="0" noProof="0" dirty="0">
                <a:ln>
                  <a:noFill/>
                </a:ln>
                <a:solidFill>
                  <a:schemeClr val="accent1"/>
                </a:solidFill>
                <a:effectLst/>
                <a:uLnTx/>
                <a:uFillTx/>
                <a:latin typeface="HarmonyOS Sans SC Black"/>
                <a:ea typeface="+mj-ea"/>
                <a:cs typeface="+mn-cs"/>
              </a:rPr>
              <a:t>关键词标题</a:t>
            </a:r>
            <a:endParaRPr kumimoji="0" lang="en-US" sz="1600" b="0" i="0" u="none" strike="noStrike" kern="1200" cap="none" spc="0" normalizeH="0" baseline="0" noProof="0" dirty="0">
              <a:ln>
                <a:noFill/>
              </a:ln>
              <a:solidFill>
                <a:schemeClr val="accent1"/>
              </a:solidFill>
              <a:effectLst/>
              <a:uLnTx/>
              <a:uFillTx/>
              <a:latin typeface="HarmonyOS Sans SC Black"/>
              <a:ea typeface="+mj-ea"/>
              <a:cs typeface="+mn-cs"/>
            </a:endParaRPr>
          </a:p>
        </p:txBody>
      </p:sp>
      <p:sp>
        <p:nvSpPr>
          <p:cNvPr id="37" name="TextBox 65">
            <a:extLst>
              <a:ext uri="{FF2B5EF4-FFF2-40B4-BE49-F238E27FC236}">
                <a16:creationId xmlns:a16="http://schemas.microsoft.com/office/drawing/2014/main" id="{9D6DB721-F915-4F83-B246-2A2B68813A3A}"/>
              </a:ext>
            </a:extLst>
          </p:cNvPr>
          <p:cNvSpPr txBox="1"/>
          <p:nvPr/>
        </p:nvSpPr>
        <p:spPr>
          <a:xfrm flipH="1">
            <a:off x="9025136" y="4425214"/>
            <a:ext cx="1536896" cy="665879"/>
          </a:xfrm>
          <a:prstGeom prst="rect">
            <a:avLst/>
          </a:prstGeom>
          <a:noFill/>
        </p:spPr>
        <p:txBody>
          <a:bodyPr wrap="square" lIns="0" tIns="36000" rIns="0" bIns="36000" rtlCol="0">
            <a:spAutoFit/>
          </a:bodyPr>
          <a:lstStyle/>
          <a:p>
            <a:pPr marL="0" marR="0" lvl="0" indent="0" algn="l" defTabSz="914400" rtl="0" eaLnBrk="1" fontAlgn="auto" latinLnBrk="0" hangingPunct="1">
              <a:lnSpc>
                <a:spcPct val="120000"/>
              </a:lnSpc>
              <a:spcBef>
                <a:spcPts val="600"/>
              </a:spcBef>
              <a:spcAft>
                <a:spcPts val="0"/>
              </a:spcAft>
              <a:buClrTx/>
              <a:buSzTx/>
              <a:buFontTx/>
              <a:buNone/>
              <a:tabLst/>
              <a:defRPr/>
            </a:pPr>
            <a:r>
              <a:rPr kumimoji="0" lang="en-US" sz="1100" b="0" i="0" u="none" strike="noStrike" kern="1200" cap="none" spc="0" normalizeH="0" baseline="0" noProof="0" dirty="0">
                <a:ln>
                  <a:noFill/>
                </a:ln>
                <a:solidFill>
                  <a:prstClr val="black">
                    <a:lumMod val="50000"/>
                    <a:lumOff val="50000"/>
                  </a:prstClr>
                </a:solidFill>
                <a:effectLst/>
                <a:uLnTx/>
                <a:uFillTx/>
                <a:latin typeface="HarmonyOS Sans SC"/>
                <a:cs typeface="+mn-cs"/>
              </a:rPr>
              <a:t>Apparently we had reached a great height in the.</a:t>
            </a:r>
          </a:p>
        </p:txBody>
      </p:sp>
    </p:spTree>
    <p:extLst>
      <p:ext uri="{BB962C8B-B14F-4D97-AF65-F5344CB8AC3E}">
        <p14:creationId xmlns:p14="http://schemas.microsoft.com/office/powerpoint/2010/main" val="3383900109"/>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4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6" name="组合 45">
            <a:extLst>
              <a:ext uri="{FF2B5EF4-FFF2-40B4-BE49-F238E27FC236}">
                <a16:creationId xmlns:a16="http://schemas.microsoft.com/office/drawing/2014/main" id="{02D79C73-46B6-4CA4-95CE-4579DD4D29EE}"/>
              </a:ext>
            </a:extLst>
          </p:cNvPr>
          <p:cNvGrpSpPr/>
          <p:nvPr/>
        </p:nvGrpSpPr>
        <p:grpSpPr>
          <a:xfrm>
            <a:off x="1084458" y="2286648"/>
            <a:ext cx="10023084" cy="2193264"/>
            <a:chOff x="1916114" y="2397149"/>
            <a:chExt cx="8456048" cy="1850365"/>
          </a:xfrm>
        </p:grpSpPr>
        <p:sp>
          <p:nvSpPr>
            <p:cNvPr id="2" name="Oval 26">
              <a:extLst>
                <a:ext uri="{FF2B5EF4-FFF2-40B4-BE49-F238E27FC236}">
                  <a16:creationId xmlns:a16="http://schemas.microsoft.com/office/drawing/2014/main" id="{9D1884B7-B563-4934-9B0C-B8ABF2028FCE}"/>
                </a:ext>
              </a:extLst>
            </p:cNvPr>
            <p:cNvSpPr/>
            <p:nvPr/>
          </p:nvSpPr>
          <p:spPr>
            <a:xfrm>
              <a:off x="2521661" y="2397149"/>
              <a:ext cx="424879" cy="424879"/>
            </a:xfrm>
            <a:prstGeom prst="ellipse">
              <a:avLst/>
            </a:prstGeom>
            <a:gradFill>
              <a:gsLst>
                <a:gs pos="73000">
                  <a:schemeClr val="accent1"/>
                </a:gs>
                <a:gs pos="31000">
                  <a:schemeClr val="accent1">
                    <a:lumMod val="60000"/>
                    <a:lumOff val="40000"/>
                  </a:schemeClr>
                </a:gs>
                <a:gs pos="0">
                  <a:schemeClr val="accent1">
                    <a:lumMod val="40000"/>
                    <a:lumOff val="60000"/>
                  </a:schemeClr>
                </a:gs>
              </a:gsLst>
              <a:path path="circle">
                <a:fillToRect r="100000" b="100000"/>
              </a:path>
            </a:gradFill>
            <a:ln>
              <a:noFill/>
            </a:ln>
            <a:effectLst>
              <a:outerShdw blurRad="444500" dist="317500" dir="5400000" sx="92000" sy="92000" algn="t" rotWithShape="0">
                <a:schemeClr val="accent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HarmonyOS Sans SC Black"/>
                  <a:ea typeface="+mj-ea"/>
                  <a:cs typeface="+mn-cs"/>
                </a:rPr>
                <a:t>1</a:t>
              </a:r>
              <a:endParaRPr kumimoji="0" lang="en-US" sz="1800" b="0" i="0" u="none" strike="noStrike" kern="1200" cap="none" spc="0" normalizeH="0" baseline="0" noProof="0" dirty="0">
                <a:ln>
                  <a:noFill/>
                </a:ln>
                <a:solidFill>
                  <a:prstClr val="white"/>
                </a:solidFill>
                <a:effectLst/>
                <a:uLnTx/>
                <a:uFillTx/>
                <a:latin typeface="HarmonyOS Sans SC Black"/>
                <a:ea typeface="+mj-ea"/>
                <a:cs typeface="+mn-cs"/>
              </a:endParaRPr>
            </a:p>
          </p:txBody>
        </p:sp>
        <p:sp>
          <p:nvSpPr>
            <p:cNvPr id="3" name="Freeform 21">
              <a:extLst>
                <a:ext uri="{FF2B5EF4-FFF2-40B4-BE49-F238E27FC236}">
                  <a16:creationId xmlns:a16="http://schemas.microsoft.com/office/drawing/2014/main" id="{0FD8584B-DA08-4EC5-A128-F7771009F6CC}"/>
                </a:ext>
              </a:extLst>
            </p:cNvPr>
            <p:cNvSpPr>
              <a:spLocks/>
            </p:cNvSpPr>
            <p:nvPr/>
          </p:nvSpPr>
          <p:spPr bwMode="auto">
            <a:xfrm>
              <a:off x="1916114" y="2658456"/>
              <a:ext cx="1783968" cy="1589058"/>
            </a:xfrm>
            <a:custGeom>
              <a:avLst/>
              <a:gdLst>
                <a:gd name="T0" fmla="*/ 1728 w 2891"/>
                <a:gd name="T1" fmla="*/ 0 h 2562"/>
                <a:gd name="T2" fmla="*/ 2605 w 2891"/>
                <a:gd name="T3" fmla="*/ 1001 h 2562"/>
                <a:gd name="T4" fmla="*/ 2891 w 2891"/>
                <a:gd name="T5" fmla="*/ 1248 h 2562"/>
                <a:gd name="T6" fmla="*/ 2605 w 2891"/>
                <a:gd name="T7" fmla="*/ 1495 h 2562"/>
                <a:gd name="T8" fmla="*/ 1314 w 2891"/>
                <a:gd name="T9" fmla="*/ 2562 h 2562"/>
                <a:gd name="T10" fmla="*/ 0 w 2891"/>
                <a:gd name="T11" fmla="*/ 1248 h 2562"/>
                <a:gd name="T12" fmla="*/ 900 w 2891"/>
                <a:gd name="T13" fmla="*/ 0 h 2562"/>
                <a:gd name="T14" fmla="*/ 1314 w 2891"/>
                <a:gd name="T15" fmla="*/ 353 h 2562"/>
                <a:gd name="T16" fmla="*/ 1728 w 2891"/>
                <a:gd name="T17" fmla="*/ 0 h 2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91" h="2562">
                  <a:moveTo>
                    <a:pt x="1728" y="0"/>
                  </a:moveTo>
                  <a:cubicBezTo>
                    <a:pt x="2175" y="148"/>
                    <a:pt x="2516" y="530"/>
                    <a:pt x="2605" y="1001"/>
                  </a:cubicBezTo>
                  <a:lnTo>
                    <a:pt x="2891" y="1248"/>
                  </a:lnTo>
                  <a:lnTo>
                    <a:pt x="2605" y="1495"/>
                  </a:lnTo>
                  <a:cubicBezTo>
                    <a:pt x="2489" y="2102"/>
                    <a:pt x="1956" y="2562"/>
                    <a:pt x="1314" y="2562"/>
                  </a:cubicBezTo>
                  <a:cubicBezTo>
                    <a:pt x="588" y="2562"/>
                    <a:pt x="0" y="1973"/>
                    <a:pt x="0" y="1248"/>
                  </a:cubicBezTo>
                  <a:cubicBezTo>
                    <a:pt x="0" y="666"/>
                    <a:pt x="377" y="174"/>
                    <a:pt x="900" y="0"/>
                  </a:cubicBezTo>
                  <a:cubicBezTo>
                    <a:pt x="932" y="200"/>
                    <a:pt x="1105" y="353"/>
                    <a:pt x="1314" y="353"/>
                  </a:cubicBezTo>
                  <a:cubicBezTo>
                    <a:pt x="1523" y="353"/>
                    <a:pt x="1696" y="200"/>
                    <a:pt x="1728" y="0"/>
                  </a:cubicBezTo>
                  <a:close/>
                </a:path>
              </a:pathLst>
            </a:custGeom>
            <a:noFill/>
            <a:ln w="12700">
              <a:gradFill>
                <a:gsLst>
                  <a:gs pos="0">
                    <a:schemeClr val="accent1">
                      <a:lumMod val="60000"/>
                      <a:lumOff val="40000"/>
                    </a:schemeClr>
                  </a:gs>
                  <a:gs pos="100000">
                    <a:schemeClr val="accent1"/>
                  </a:gs>
                </a:gsLst>
                <a:lin ang="5400000" scaled="1"/>
              </a:grad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sp>
          <p:nvSpPr>
            <p:cNvPr id="4" name="Freeform 25">
              <a:extLst>
                <a:ext uri="{FF2B5EF4-FFF2-40B4-BE49-F238E27FC236}">
                  <a16:creationId xmlns:a16="http://schemas.microsoft.com/office/drawing/2014/main" id="{FC983491-7E5F-4493-AF27-4484F4D47E40}"/>
                </a:ext>
              </a:extLst>
            </p:cNvPr>
            <p:cNvSpPr>
              <a:spLocks/>
            </p:cNvSpPr>
            <p:nvPr/>
          </p:nvSpPr>
          <p:spPr bwMode="auto">
            <a:xfrm>
              <a:off x="3630155" y="2661164"/>
              <a:ext cx="1765017" cy="1586350"/>
            </a:xfrm>
            <a:custGeom>
              <a:avLst/>
              <a:gdLst>
                <a:gd name="T0" fmla="*/ 1727 w 2862"/>
                <a:gd name="T1" fmla="*/ 18 h 2570"/>
                <a:gd name="T2" fmla="*/ 2576 w 2862"/>
                <a:gd name="T3" fmla="*/ 1009 h 2570"/>
                <a:gd name="T4" fmla="*/ 2862 w 2862"/>
                <a:gd name="T5" fmla="*/ 1256 h 2570"/>
                <a:gd name="T6" fmla="*/ 2576 w 2862"/>
                <a:gd name="T7" fmla="*/ 1504 h 2570"/>
                <a:gd name="T8" fmla="*/ 1286 w 2862"/>
                <a:gd name="T9" fmla="*/ 2570 h 2570"/>
                <a:gd name="T10" fmla="*/ 0 w 2862"/>
                <a:gd name="T11" fmla="*/ 1530 h 2570"/>
                <a:gd name="T12" fmla="*/ 316 w 2862"/>
                <a:gd name="T13" fmla="*/ 1256 h 2570"/>
                <a:gd name="T14" fmla="*/ 0 w 2862"/>
                <a:gd name="T15" fmla="*/ 983 h 2570"/>
                <a:gd name="T16" fmla="*/ 899 w 2862"/>
                <a:gd name="T17" fmla="*/ 0 h 2570"/>
                <a:gd name="T18" fmla="*/ 1314 w 2862"/>
                <a:gd name="T19" fmla="*/ 362 h 2570"/>
                <a:gd name="T20" fmla="*/ 1727 w 2862"/>
                <a:gd name="T21" fmla="*/ 18 h 2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62" h="2570">
                  <a:moveTo>
                    <a:pt x="1727" y="18"/>
                  </a:moveTo>
                  <a:cubicBezTo>
                    <a:pt x="2160" y="173"/>
                    <a:pt x="2489" y="548"/>
                    <a:pt x="2576" y="1009"/>
                  </a:cubicBezTo>
                  <a:lnTo>
                    <a:pt x="2862" y="1256"/>
                  </a:lnTo>
                  <a:lnTo>
                    <a:pt x="2576" y="1504"/>
                  </a:lnTo>
                  <a:cubicBezTo>
                    <a:pt x="2461" y="2111"/>
                    <a:pt x="1927" y="2570"/>
                    <a:pt x="1286" y="2570"/>
                  </a:cubicBezTo>
                  <a:cubicBezTo>
                    <a:pt x="654" y="2570"/>
                    <a:pt x="126" y="2124"/>
                    <a:pt x="0" y="1530"/>
                  </a:cubicBezTo>
                  <a:lnTo>
                    <a:pt x="316" y="1256"/>
                  </a:lnTo>
                  <a:lnTo>
                    <a:pt x="0" y="983"/>
                  </a:lnTo>
                  <a:cubicBezTo>
                    <a:pt x="99" y="515"/>
                    <a:pt x="447" y="139"/>
                    <a:pt x="899" y="0"/>
                  </a:cubicBezTo>
                  <a:cubicBezTo>
                    <a:pt x="927" y="204"/>
                    <a:pt x="1102" y="362"/>
                    <a:pt x="1314" y="362"/>
                  </a:cubicBezTo>
                  <a:cubicBezTo>
                    <a:pt x="1520" y="362"/>
                    <a:pt x="1691" y="214"/>
                    <a:pt x="1727" y="18"/>
                  </a:cubicBezTo>
                  <a:close/>
                </a:path>
              </a:pathLst>
            </a:custGeom>
            <a:noFill/>
            <a:ln w="12700">
              <a:gradFill>
                <a:gsLst>
                  <a:gs pos="0">
                    <a:schemeClr val="accent1">
                      <a:lumMod val="60000"/>
                      <a:lumOff val="40000"/>
                    </a:schemeClr>
                  </a:gs>
                  <a:gs pos="100000">
                    <a:schemeClr val="accent1"/>
                  </a:gs>
                </a:gsLst>
                <a:lin ang="5400000" scaled="1"/>
              </a:grad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sp>
          <p:nvSpPr>
            <p:cNvPr id="5" name="Freeform 29">
              <a:extLst>
                <a:ext uri="{FF2B5EF4-FFF2-40B4-BE49-F238E27FC236}">
                  <a16:creationId xmlns:a16="http://schemas.microsoft.com/office/drawing/2014/main" id="{99861352-FFF9-4AD5-A8CC-22601D0B5AF8}"/>
                </a:ext>
              </a:extLst>
            </p:cNvPr>
            <p:cNvSpPr>
              <a:spLocks/>
            </p:cNvSpPr>
            <p:nvPr/>
          </p:nvSpPr>
          <p:spPr bwMode="auto">
            <a:xfrm>
              <a:off x="8753327" y="2658456"/>
              <a:ext cx="1618835" cy="1589058"/>
            </a:xfrm>
            <a:custGeom>
              <a:avLst/>
              <a:gdLst>
                <a:gd name="T0" fmla="*/ 1700 w 2600"/>
                <a:gd name="T1" fmla="*/ 0 h 2562"/>
                <a:gd name="T2" fmla="*/ 2600 w 2600"/>
                <a:gd name="T3" fmla="*/ 1248 h 2562"/>
                <a:gd name="T4" fmla="*/ 1286 w 2600"/>
                <a:gd name="T5" fmla="*/ 2562 h 2562"/>
                <a:gd name="T6" fmla="*/ 0 w 2600"/>
                <a:gd name="T7" fmla="*/ 1521 h 2562"/>
                <a:gd name="T8" fmla="*/ 316 w 2600"/>
                <a:gd name="T9" fmla="*/ 1248 h 2562"/>
                <a:gd name="T10" fmla="*/ 0 w 2600"/>
                <a:gd name="T11" fmla="*/ 974 h 2562"/>
                <a:gd name="T12" fmla="*/ 871 w 2600"/>
                <a:gd name="T13" fmla="*/ 0 h 2562"/>
                <a:gd name="T14" fmla="*/ 1286 w 2600"/>
                <a:gd name="T15" fmla="*/ 353 h 2562"/>
                <a:gd name="T16" fmla="*/ 1700 w 2600"/>
                <a:gd name="T17" fmla="*/ 0 h 2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00" h="2562">
                  <a:moveTo>
                    <a:pt x="1700" y="0"/>
                  </a:moveTo>
                  <a:cubicBezTo>
                    <a:pt x="2223" y="174"/>
                    <a:pt x="2600" y="666"/>
                    <a:pt x="2600" y="1248"/>
                  </a:cubicBezTo>
                  <a:cubicBezTo>
                    <a:pt x="2600" y="1973"/>
                    <a:pt x="2011" y="2562"/>
                    <a:pt x="1286" y="2562"/>
                  </a:cubicBezTo>
                  <a:cubicBezTo>
                    <a:pt x="654" y="2562"/>
                    <a:pt x="126" y="2116"/>
                    <a:pt x="0" y="1521"/>
                  </a:cubicBezTo>
                  <a:lnTo>
                    <a:pt x="316" y="1248"/>
                  </a:lnTo>
                  <a:lnTo>
                    <a:pt x="0" y="974"/>
                  </a:lnTo>
                  <a:cubicBezTo>
                    <a:pt x="97" y="516"/>
                    <a:pt x="433" y="146"/>
                    <a:pt x="871" y="0"/>
                  </a:cubicBezTo>
                  <a:cubicBezTo>
                    <a:pt x="903" y="200"/>
                    <a:pt x="1077" y="353"/>
                    <a:pt x="1286" y="353"/>
                  </a:cubicBezTo>
                  <a:cubicBezTo>
                    <a:pt x="1495" y="353"/>
                    <a:pt x="1668" y="200"/>
                    <a:pt x="1700" y="0"/>
                  </a:cubicBezTo>
                  <a:close/>
                </a:path>
              </a:pathLst>
            </a:custGeom>
            <a:noFill/>
            <a:ln w="12700">
              <a:gradFill>
                <a:gsLst>
                  <a:gs pos="0">
                    <a:schemeClr val="accent1">
                      <a:lumMod val="60000"/>
                      <a:lumOff val="40000"/>
                    </a:schemeClr>
                  </a:gs>
                  <a:gs pos="100000">
                    <a:schemeClr val="accent1"/>
                  </a:gs>
                </a:gsLst>
                <a:lin ang="5400000" scaled="1"/>
              </a:grad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sp>
          <p:nvSpPr>
            <p:cNvPr id="6" name="Oval 47">
              <a:extLst>
                <a:ext uri="{FF2B5EF4-FFF2-40B4-BE49-F238E27FC236}">
                  <a16:creationId xmlns:a16="http://schemas.microsoft.com/office/drawing/2014/main" id="{C98975E9-2E02-42FE-BACF-4CE4D0251593}"/>
                </a:ext>
              </a:extLst>
            </p:cNvPr>
            <p:cNvSpPr/>
            <p:nvPr/>
          </p:nvSpPr>
          <p:spPr>
            <a:xfrm>
              <a:off x="4226499" y="2397149"/>
              <a:ext cx="424879" cy="424879"/>
            </a:xfrm>
            <a:prstGeom prst="ellipse">
              <a:avLst/>
            </a:prstGeom>
            <a:gradFill>
              <a:gsLst>
                <a:gs pos="73000">
                  <a:schemeClr val="accent1"/>
                </a:gs>
                <a:gs pos="31000">
                  <a:schemeClr val="accent1">
                    <a:lumMod val="60000"/>
                    <a:lumOff val="40000"/>
                  </a:schemeClr>
                </a:gs>
                <a:gs pos="0">
                  <a:schemeClr val="accent1">
                    <a:lumMod val="40000"/>
                    <a:lumOff val="60000"/>
                  </a:schemeClr>
                </a:gs>
              </a:gsLst>
              <a:path path="circle">
                <a:fillToRect r="100000" b="100000"/>
              </a:path>
            </a:gradFill>
            <a:ln>
              <a:noFill/>
            </a:ln>
            <a:effectLst>
              <a:outerShdw blurRad="444500" dist="317500" dir="5400000" sx="92000" sy="92000" algn="t" rotWithShape="0">
                <a:schemeClr val="accent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HarmonyOS Sans SC Black"/>
                  <a:ea typeface="+mj-ea"/>
                  <a:cs typeface="+mn-cs"/>
                </a:rPr>
                <a:t>2</a:t>
              </a:r>
              <a:endParaRPr kumimoji="0" lang="en-US" sz="1800" b="0" i="0" u="none" strike="noStrike" kern="1200" cap="none" spc="0" normalizeH="0" baseline="0" noProof="0" dirty="0">
                <a:ln>
                  <a:noFill/>
                </a:ln>
                <a:solidFill>
                  <a:prstClr val="white"/>
                </a:solidFill>
                <a:effectLst/>
                <a:uLnTx/>
                <a:uFillTx/>
                <a:latin typeface="HarmonyOS Sans SC Black"/>
                <a:ea typeface="+mj-ea"/>
                <a:cs typeface="+mn-cs"/>
              </a:endParaRPr>
            </a:p>
          </p:txBody>
        </p:sp>
        <p:sp>
          <p:nvSpPr>
            <p:cNvPr id="7" name="Freeform 25">
              <a:extLst>
                <a:ext uri="{FF2B5EF4-FFF2-40B4-BE49-F238E27FC236}">
                  <a16:creationId xmlns:a16="http://schemas.microsoft.com/office/drawing/2014/main" id="{8F97DBCA-CD5F-45AB-A3CC-6FCBF6651DBF}"/>
                </a:ext>
              </a:extLst>
            </p:cNvPr>
            <p:cNvSpPr>
              <a:spLocks/>
            </p:cNvSpPr>
            <p:nvPr/>
          </p:nvSpPr>
          <p:spPr bwMode="auto">
            <a:xfrm>
              <a:off x="5344196" y="2661164"/>
              <a:ext cx="1765017" cy="1586350"/>
            </a:xfrm>
            <a:custGeom>
              <a:avLst/>
              <a:gdLst>
                <a:gd name="T0" fmla="*/ 1727 w 2862"/>
                <a:gd name="T1" fmla="*/ 18 h 2570"/>
                <a:gd name="T2" fmla="*/ 2576 w 2862"/>
                <a:gd name="T3" fmla="*/ 1009 h 2570"/>
                <a:gd name="T4" fmla="*/ 2862 w 2862"/>
                <a:gd name="T5" fmla="*/ 1256 h 2570"/>
                <a:gd name="T6" fmla="*/ 2576 w 2862"/>
                <a:gd name="T7" fmla="*/ 1504 h 2570"/>
                <a:gd name="T8" fmla="*/ 1286 w 2862"/>
                <a:gd name="T9" fmla="*/ 2570 h 2570"/>
                <a:gd name="T10" fmla="*/ 0 w 2862"/>
                <a:gd name="T11" fmla="*/ 1530 h 2570"/>
                <a:gd name="T12" fmla="*/ 316 w 2862"/>
                <a:gd name="T13" fmla="*/ 1256 h 2570"/>
                <a:gd name="T14" fmla="*/ 0 w 2862"/>
                <a:gd name="T15" fmla="*/ 983 h 2570"/>
                <a:gd name="T16" fmla="*/ 899 w 2862"/>
                <a:gd name="T17" fmla="*/ 0 h 2570"/>
                <a:gd name="T18" fmla="*/ 1314 w 2862"/>
                <a:gd name="T19" fmla="*/ 362 h 2570"/>
                <a:gd name="T20" fmla="*/ 1727 w 2862"/>
                <a:gd name="T21" fmla="*/ 18 h 2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62" h="2570">
                  <a:moveTo>
                    <a:pt x="1727" y="18"/>
                  </a:moveTo>
                  <a:cubicBezTo>
                    <a:pt x="2160" y="173"/>
                    <a:pt x="2489" y="548"/>
                    <a:pt x="2576" y="1009"/>
                  </a:cubicBezTo>
                  <a:lnTo>
                    <a:pt x="2862" y="1256"/>
                  </a:lnTo>
                  <a:lnTo>
                    <a:pt x="2576" y="1504"/>
                  </a:lnTo>
                  <a:cubicBezTo>
                    <a:pt x="2461" y="2111"/>
                    <a:pt x="1927" y="2570"/>
                    <a:pt x="1286" y="2570"/>
                  </a:cubicBezTo>
                  <a:cubicBezTo>
                    <a:pt x="654" y="2570"/>
                    <a:pt x="126" y="2124"/>
                    <a:pt x="0" y="1530"/>
                  </a:cubicBezTo>
                  <a:lnTo>
                    <a:pt x="316" y="1256"/>
                  </a:lnTo>
                  <a:lnTo>
                    <a:pt x="0" y="983"/>
                  </a:lnTo>
                  <a:cubicBezTo>
                    <a:pt x="99" y="515"/>
                    <a:pt x="447" y="139"/>
                    <a:pt x="899" y="0"/>
                  </a:cubicBezTo>
                  <a:cubicBezTo>
                    <a:pt x="927" y="204"/>
                    <a:pt x="1102" y="362"/>
                    <a:pt x="1314" y="362"/>
                  </a:cubicBezTo>
                  <a:cubicBezTo>
                    <a:pt x="1520" y="362"/>
                    <a:pt x="1691" y="214"/>
                    <a:pt x="1727" y="18"/>
                  </a:cubicBezTo>
                  <a:close/>
                </a:path>
              </a:pathLst>
            </a:custGeom>
            <a:noFill/>
            <a:ln w="12700">
              <a:gradFill>
                <a:gsLst>
                  <a:gs pos="0">
                    <a:schemeClr val="accent1">
                      <a:lumMod val="60000"/>
                      <a:lumOff val="40000"/>
                    </a:schemeClr>
                  </a:gs>
                  <a:gs pos="100000">
                    <a:schemeClr val="accent1"/>
                  </a:gs>
                </a:gsLst>
                <a:lin ang="5400000" scaled="1"/>
              </a:grad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sp>
          <p:nvSpPr>
            <p:cNvPr id="8" name="Oval 51">
              <a:extLst>
                <a:ext uri="{FF2B5EF4-FFF2-40B4-BE49-F238E27FC236}">
                  <a16:creationId xmlns:a16="http://schemas.microsoft.com/office/drawing/2014/main" id="{E0D7C080-3FCC-4C1D-8C91-43E9E9F34EDB}"/>
                </a:ext>
              </a:extLst>
            </p:cNvPr>
            <p:cNvSpPr/>
            <p:nvPr/>
          </p:nvSpPr>
          <p:spPr>
            <a:xfrm>
              <a:off x="5940540" y="2397149"/>
              <a:ext cx="424879" cy="424879"/>
            </a:xfrm>
            <a:prstGeom prst="ellipse">
              <a:avLst/>
            </a:prstGeom>
            <a:gradFill>
              <a:gsLst>
                <a:gs pos="73000">
                  <a:schemeClr val="accent1"/>
                </a:gs>
                <a:gs pos="31000">
                  <a:schemeClr val="accent1">
                    <a:lumMod val="60000"/>
                    <a:lumOff val="40000"/>
                  </a:schemeClr>
                </a:gs>
                <a:gs pos="0">
                  <a:schemeClr val="accent1">
                    <a:lumMod val="40000"/>
                    <a:lumOff val="60000"/>
                  </a:schemeClr>
                </a:gs>
              </a:gsLst>
              <a:path path="circle">
                <a:fillToRect r="100000" b="100000"/>
              </a:path>
            </a:gradFill>
            <a:ln>
              <a:noFill/>
            </a:ln>
            <a:effectLst>
              <a:outerShdw blurRad="444500" dist="317500" dir="5400000" sx="92000" sy="92000" algn="t" rotWithShape="0">
                <a:schemeClr val="accent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HarmonyOS Sans SC Black"/>
                  <a:ea typeface="+mj-ea"/>
                  <a:cs typeface="+mn-cs"/>
                </a:rPr>
                <a:t>3</a:t>
              </a:r>
              <a:endParaRPr kumimoji="0" lang="en-US" sz="1800" b="0" i="0" u="none" strike="noStrike" kern="1200" cap="none" spc="0" normalizeH="0" baseline="0" noProof="0" dirty="0">
                <a:ln>
                  <a:noFill/>
                </a:ln>
                <a:solidFill>
                  <a:prstClr val="white"/>
                </a:solidFill>
                <a:effectLst/>
                <a:uLnTx/>
                <a:uFillTx/>
                <a:latin typeface="HarmonyOS Sans SC Black"/>
                <a:ea typeface="+mj-ea"/>
                <a:cs typeface="+mn-cs"/>
              </a:endParaRPr>
            </a:p>
          </p:txBody>
        </p:sp>
        <p:sp>
          <p:nvSpPr>
            <p:cNvPr id="9" name="Freeform 25">
              <a:extLst>
                <a:ext uri="{FF2B5EF4-FFF2-40B4-BE49-F238E27FC236}">
                  <a16:creationId xmlns:a16="http://schemas.microsoft.com/office/drawing/2014/main" id="{7ECE9A11-C3E8-47DF-B95A-8B22ED825DB4}"/>
                </a:ext>
              </a:extLst>
            </p:cNvPr>
            <p:cNvSpPr>
              <a:spLocks/>
            </p:cNvSpPr>
            <p:nvPr/>
          </p:nvSpPr>
          <p:spPr bwMode="auto">
            <a:xfrm>
              <a:off x="7045430" y="2661164"/>
              <a:ext cx="1765017" cy="1586350"/>
            </a:xfrm>
            <a:custGeom>
              <a:avLst/>
              <a:gdLst>
                <a:gd name="T0" fmla="*/ 1727 w 2862"/>
                <a:gd name="T1" fmla="*/ 18 h 2570"/>
                <a:gd name="T2" fmla="*/ 2576 w 2862"/>
                <a:gd name="T3" fmla="*/ 1009 h 2570"/>
                <a:gd name="T4" fmla="*/ 2862 w 2862"/>
                <a:gd name="T5" fmla="*/ 1256 h 2570"/>
                <a:gd name="T6" fmla="*/ 2576 w 2862"/>
                <a:gd name="T7" fmla="*/ 1504 h 2570"/>
                <a:gd name="T8" fmla="*/ 1286 w 2862"/>
                <a:gd name="T9" fmla="*/ 2570 h 2570"/>
                <a:gd name="T10" fmla="*/ 0 w 2862"/>
                <a:gd name="T11" fmla="*/ 1530 h 2570"/>
                <a:gd name="T12" fmla="*/ 316 w 2862"/>
                <a:gd name="T13" fmla="*/ 1256 h 2570"/>
                <a:gd name="T14" fmla="*/ 0 w 2862"/>
                <a:gd name="T15" fmla="*/ 983 h 2570"/>
                <a:gd name="T16" fmla="*/ 899 w 2862"/>
                <a:gd name="T17" fmla="*/ 0 h 2570"/>
                <a:gd name="T18" fmla="*/ 1314 w 2862"/>
                <a:gd name="T19" fmla="*/ 362 h 2570"/>
                <a:gd name="T20" fmla="*/ 1727 w 2862"/>
                <a:gd name="T21" fmla="*/ 18 h 2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62" h="2570">
                  <a:moveTo>
                    <a:pt x="1727" y="18"/>
                  </a:moveTo>
                  <a:cubicBezTo>
                    <a:pt x="2160" y="173"/>
                    <a:pt x="2489" y="548"/>
                    <a:pt x="2576" y="1009"/>
                  </a:cubicBezTo>
                  <a:lnTo>
                    <a:pt x="2862" y="1256"/>
                  </a:lnTo>
                  <a:lnTo>
                    <a:pt x="2576" y="1504"/>
                  </a:lnTo>
                  <a:cubicBezTo>
                    <a:pt x="2461" y="2111"/>
                    <a:pt x="1927" y="2570"/>
                    <a:pt x="1286" y="2570"/>
                  </a:cubicBezTo>
                  <a:cubicBezTo>
                    <a:pt x="654" y="2570"/>
                    <a:pt x="126" y="2124"/>
                    <a:pt x="0" y="1530"/>
                  </a:cubicBezTo>
                  <a:lnTo>
                    <a:pt x="316" y="1256"/>
                  </a:lnTo>
                  <a:lnTo>
                    <a:pt x="0" y="983"/>
                  </a:lnTo>
                  <a:cubicBezTo>
                    <a:pt x="99" y="515"/>
                    <a:pt x="447" y="139"/>
                    <a:pt x="899" y="0"/>
                  </a:cubicBezTo>
                  <a:cubicBezTo>
                    <a:pt x="927" y="204"/>
                    <a:pt x="1102" y="362"/>
                    <a:pt x="1314" y="362"/>
                  </a:cubicBezTo>
                  <a:cubicBezTo>
                    <a:pt x="1520" y="362"/>
                    <a:pt x="1691" y="214"/>
                    <a:pt x="1727" y="18"/>
                  </a:cubicBezTo>
                  <a:close/>
                </a:path>
              </a:pathLst>
            </a:custGeom>
            <a:noFill/>
            <a:ln w="12700">
              <a:gradFill>
                <a:gsLst>
                  <a:gs pos="0">
                    <a:schemeClr val="accent1">
                      <a:lumMod val="60000"/>
                      <a:lumOff val="40000"/>
                    </a:schemeClr>
                  </a:gs>
                  <a:gs pos="100000">
                    <a:schemeClr val="accent1"/>
                  </a:gs>
                </a:gsLst>
                <a:lin ang="5400000" scaled="1"/>
              </a:grad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sp>
          <p:nvSpPr>
            <p:cNvPr id="10" name="Oval 53">
              <a:extLst>
                <a:ext uri="{FF2B5EF4-FFF2-40B4-BE49-F238E27FC236}">
                  <a16:creationId xmlns:a16="http://schemas.microsoft.com/office/drawing/2014/main" id="{AD01CA4E-8CA6-4A1D-844A-FC98369782AC}"/>
                </a:ext>
              </a:extLst>
            </p:cNvPr>
            <p:cNvSpPr/>
            <p:nvPr/>
          </p:nvSpPr>
          <p:spPr>
            <a:xfrm>
              <a:off x="7641774" y="2397149"/>
              <a:ext cx="424879" cy="424879"/>
            </a:xfrm>
            <a:prstGeom prst="ellipse">
              <a:avLst/>
            </a:prstGeom>
            <a:gradFill>
              <a:gsLst>
                <a:gs pos="73000">
                  <a:schemeClr val="accent1"/>
                </a:gs>
                <a:gs pos="31000">
                  <a:schemeClr val="accent1">
                    <a:lumMod val="60000"/>
                    <a:lumOff val="40000"/>
                  </a:schemeClr>
                </a:gs>
                <a:gs pos="0">
                  <a:schemeClr val="accent1">
                    <a:lumMod val="40000"/>
                    <a:lumOff val="60000"/>
                  </a:schemeClr>
                </a:gs>
              </a:gsLst>
              <a:path path="circle">
                <a:fillToRect r="100000" b="100000"/>
              </a:path>
            </a:gradFill>
            <a:ln>
              <a:noFill/>
            </a:ln>
            <a:effectLst>
              <a:outerShdw blurRad="444500" dist="317500" dir="5400000" sx="92000" sy="92000" algn="t" rotWithShape="0">
                <a:schemeClr val="accent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HarmonyOS Sans SC Black"/>
                  <a:ea typeface="+mj-ea"/>
                  <a:cs typeface="+mn-cs"/>
                </a:rPr>
                <a:t>4</a:t>
              </a:r>
              <a:endParaRPr kumimoji="0" lang="en-US" sz="1800" b="0" i="0" u="none" strike="noStrike" kern="1200" cap="none" spc="0" normalizeH="0" baseline="0" noProof="0" dirty="0">
                <a:ln>
                  <a:noFill/>
                </a:ln>
                <a:solidFill>
                  <a:prstClr val="white"/>
                </a:solidFill>
                <a:effectLst/>
                <a:uLnTx/>
                <a:uFillTx/>
                <a:latin typeface="HarmonyOS Sans SC Black"/>
                <a:ea typeface="+mj-ea"/>
                <a:cs typeface="+mn-cs"/>
              </a:endParaRPr>
            </a:p>
          </p:txBody>
        </p:sp>
        <p:sp>
          <p:nvSpPr>
            <p:cNvPr id="11" name="Oval 54">
              <a:extLst>
                <a:ext uri="{FF2B5EF4-FFF2-40B4-BE49-F238E27FC236}">
                  <a16:creationId xmlns:a16="http://schemas.microsoft.com/office/drawing/2014/main" id="{965D9B39-A855-4113-B118-6C1C9B6250FC}"/>
                </a:ext>
              </a:extLst>
            </p:cNvPr>
            <p:cNvSpPr/>
            <p:nvPr/>
          </p:nvSpPr>
          <p:spPr>
            <a:xfrm>
              <a:off x="9343008" y="2397149"/>
              <a:ext cx="424879" cy="424879"/>
            </a:xfrm>
            <a:prstGeom prst="ellipse">
              <a:avLst/>
            </a:prstGeom>
            <a:gradFill>
              <a:gsLst>
                <a:gs pos="73000">
                  <a:schemeClr val="accent1"/>
                </a:gs>
                <a:gs pos="31000">
                  <a:schemeClr val="accent1">
                    <a:lumMod val="60000"/>
                    <a:lumOff val="40000"/>
                  </a:schemeClr>
                </a:gs>
                <a:gs pos="0">
                  <a:schemeClr val="accent1">
                    <a:lumMod val="40000"/>
                    <a:lumOff val="60000"/>
                  </a:schemeClr>
                </a:gs>
              </a:gsLst>
              <a:path path="circle">
                <a:fillToRect r="100000" b="100000"/>
              </a:path>
            </a:gradFill>
            <a:ln>
              <a:noFill/>
            </a:ln>
            <a:effectLst>
              <a:outerShdw blurRad="444500" dist="317500" dir="5400000" sx="92000" sy="92000" algn="t" rotWithShape="0">
                <a:schemeClr val="accent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HarmonyOS Sans SC Black"/>
                  <a:ea typeface="+mj-ea"/>
                  <a:cs typeface="+mn-cs"/>
                </a:rPr>
                <a:t>5</a:t>
              </a:r>
              <a:endParaRPr kumimoji="0" lang="en-US" sz="1800" b="0" i="0" u="none" strike="noStrike" kern="1200" cap="none" spc="0" normalizeH="0" baseline="0" noProof="0" dirty="0">
                <a:ln>
                  <a:noFill/>
                </a:ln>
                <a:solidFill>
                  <a:prstClr val="white"/>
                </a:solidFill>
                <a:effectLst/>
                <a:uLnTx/>
                <a:uFillTx/>
                <a:latin typeface="HarmonyOS Sans SC Black"/>
                <a:ea typeface="+mj-ea"/>
                <a:cs typeface="+mn-cs"/>
              </a:endParaRPr>
            </a:p>
          </p:txBody>
        </p:sp>
        <p:sp>
          <p:nvSpPr>
            <p:cNvPr id="12" name="Freeform 5">
              <a:extLst>
                <a:ext uri="{FF2B5EF4-FFF2-40B4-BE49-F238E27FC236}">
                  <a16:creationId xmlns:a16="http://schemas.microsoft.com/office/drawing/2014/main" id="{E04AB847-0712-4FB6-8360-28B1FA359524}"/>
                </a:ext>
              </a:extLst>
            </p:cNvPr>
            <p:cNvSpPr>
              <a:spLocks noEditPoints="1"/>
            </p:cNvSpPr>
            <p:nvPr/>
          </p:nvSpPr>
          <p:spPr bwMode="auto">
            <a:xfrm>
              <a:off x="2463705" y="3145507"/>
              <a:ext cx="540790" cy="540790"/>
            </a:xfrm>
            <a:custGeom>
              <a:avLst/>
              <a:gdLst>
                <a:gd name="T0" fmla="*/ 1024 w 2048"/>
                <a:gd name="T1" fmla="*/ 0 h 2048"/>
                <a:gd name="T2" fmla="*/ 0 w 2048"/>
                <a:gd name="T3" fmla="*/ 1024 h 2048"/>
                <a:gd name="T4" fmla="*/ 1024 w 2048"/>
                <a:gd name="T5" fmla="*/ 2048 h 2048"/>
                <a:gd name="T6" fmla="*/ 2048 w 2048"/>
                <a:gd name="T7" fmla="*/ 1024 h 2048"/>
                <a:gd name="T8" fmla="*/ 1024 w 2048"/>
                <a:gd name="T9" fmla="*/ 0 h 2048"/>
                <a:gd name="T10" fmla="*/ 1499 w 2048"/>
                <a:gd name="T11" fmla="*/ 1134 h 2048"/>
                <a:gd name="T12" fmla="*/ 1024 w 2048"/>
                <a:gd name="T13" fmla="*/ 1134 h 2048"/>
                <a:gd name="T14" fmla="*/ 914 w 2048"/>
                <a:gd name="T15" fmla="*/ 1024 h 2048"/>
                <a:gd name="T16" fmla="*/ 914 w 2048"/>
                <a:gd name="T17" fmla="*/ 549 h 2048"/>
                <a:gd name="T18" fmla="*/ 1024 w 2048"/>
                <a:gd name="T19" fmla="*/ 439 h 2048"/>
                <a:gd name="T20" fmla="*/ 1134 w 2048"/>
                <a:gd name="T21" fmla="*/ 549 h 2048"/>
                <a:gd name="T22" fmla="*/ 1134 w 2048"/>
                <a:gd name="T23" fmla="*/ 915 h 2048"/>
                <a:gd name="T24" fmla="*/ 1499 w 2048"/>
                <a:gd name="T25" fmla="*/ 915 h 2048"/>
                <a:gd name="T26" fmla="*/ 1609 w 2048"/>
                <a:gd name="T27" fmla="*/ 1024 h 2048"/>
                <a:gd name="T28" fmla="*/ 1499 w 2048"/>
                <a:gd name="T29" fmla="*/ 1134 h 20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48" h="2048">
                  <a:moveTo>
                    <a:pt x="1024" y="0"/>
                  </a:moveTo>
                  <a:cubicBezTo>
                    <a:pt x="459" y="0"/>
                    <a:pt x="0" y="459"/>
                    <a:pt x="0" y="1024"/>
                  </a:cubicBezTo>
                  <a:cubicBezTo>
                    <a:pt x="0" y="1589"/>
                    <a:pt x="459" y="2048"/>
                    <a:pt x="1024" y="2048"/>
                  </a:cubicBezTo>
                  <a:cubicBezTo>
                    <a:pt x="1589" y="2048"/>
                    <a:pt x="2048" y="1589"/>
                    <a:pt x="2048" y="1024"/>
                  </a:cubicBezTo>
                  <a:cubicBezTo>
                    <a:pt x="2048" y="459"/>
                    <a:pt x="1589" y="0"/>
                    <a:pt x="1024" y="0"/>
                  </a:cubicBezTo>
                  <a:close/>
                  <a:moveTo>
                    <a:pt x="1499" y="1134"/>
                  </a:moveTo>
                  <a:cubicBezTo>
                    <a:pt x="1024" y="1134"/>
                    <a:pt x="1024" y="1134"/>
                    <a:pt x="1024" y="1134"/>
                  </a:cubicBezTo>
                  <a:cubicBezTo>
                    <a:pt x="963" y="1134"/>
                    <a:pt x="914" y="1085"/>
                    <a:pt x="914" y="1024"/>
                  </a:cubicBezTo>
                  <a:cubicBezTo>
                    <a:pt x="914" y="549"/>
                    <a:pt x="914" y="549"/>
                    <a:pt x="914" y="549"/>
                  </a:cubicBezTo>
                  <a:cubicBezTo>
                    <a:pt x="914" y="489"/>
                    <a:pt x="963" y="439"/>
                    <a:pt x="1024" y="439"/>
                  </a:cubicBezTo>
                  <a:cubicBezTo>
                    <a:pt x="1085" y="439"/>
                    <a:pt x="1134" y="489"/>
                    <a:pt x="1134" y="549"/>
                  </a:cubicBezTo>
                  <a:cubicBezTo>
                    <a:pt x="1134" y="915"/>
                    <a:pt x="1134" y="915"/>
                    <a:pt x="1134" y="915"/>
                  </a:cubicBezTo>
                  <a:cubicBezTo>
                    <a:pt x="1499" y="915"/>
                    <a:pt x="1499" y="915"/>
                    <a:pt x="1499" y="915"/>
                  </a:cubicBezTo>
                  <a:cubicBezTo>
                    <a:pt x="1560" y="915"/>
                    <a:pt x="1609" y="964"/>
                    <a:pt x="1609" y="1024"/>
                  </a:cubicBezTo>
                  <a:cubicBezTo>
                    <a:pt x="1609" y="1085"/>
                    <a:pt x="1560" y="1134"/>
                    <a:pt x="1499" y="1134"/>
                  </a:cubicBezTo>
                  <a:close/>
                </a:path>
              </a:pathLst>
            </a:custGeom>
            <a:gradFill>
              <a:gsLst>
                <a:gs pos="73000">
                  <a:schemeClr val="accent1"/>
                </a:gs>
                <a:gs pos="31000">
                  <a:schemeClr val="accent1">
                    <a:lumMod val="60000"/>
                    <a:lumOff val="40000"/>
                  </a:schemeClr>
                </a:gs>
                <a:gs pos="0">
                  <a:schemeClr val="accent1">
                    <a:lumMod val="40000"/>
                    <a:lumOff val="60000"/>
                  </a:schemeClr>
                </a:gs>
              </a:gsLst>
              <a:path path="circle">
                <a:fillToRect r="100000" b="100000"/>
              </a:path>
            </a:gra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Open Sans"/>
                <a:ea typeface="+mn-ea"/>
                <a:cs typeface="+mn-cs"/>
              </a:endParaRPr>
            </a:p>
          </p:txBody>
        </p:sp>
        <p:grpSp>
          <p:nvGrpSpPr>
            <p:cNvPr id="13" name="Group 56">
              <a:extLst>
                <a:ext uri="{FF2B5EF4-FFF2-40B4-BE49-F238E27FC236}">
                  <a16:creationId xmlns:a16="http://schemas.microsoft.com/office/drawing/2014/main" id="{E8AB0890-E30B-402A-816D-AC99F7E31287}"/>
                </a:ext>
              </a:extLst>
            </p:cNvPr>
            <p:cNvGrpSpPr/>
            <p:nvPr/>
          </p:nvGrpSpPr>
          <p:grpSpPr>
            <a:xfrm>
              <a:off x="4247658" y="3127983"/>
              <a:ext cx="393280" cy="489202"/>
              <a:chOff x="4862513" y="3505200"/>
              <a:chExt cx="260350" cy="323851"/>
            </a:xfrm>
            <a:gradFill>
              <a:gsLst>
                <a:gs pos="73000">
                  <a:schemeClr val="accent1"/>
                </a:gs>
                <a:gs pos="31000">
                  <a:schemeClr val="accent1">
                    <a:lumMod val="60000"/>
                    <a:lumOff val="40000"/>
                  </a:schemeClr>
                </a:gs>
                <a:gs pos="0">
                  <a:schemeClr val="accent1">
                    <a:lumMod val="40000"/>
                    <a:lumOff val="60000"/>
                  </a:schemeClr>
                </a:gs>
              </a:gsLst>
              <a:path path="circle">
                <a:fillToRect r="100000" b="100000"/>
              </a:path>
            </a:gradFill>
          </p:grpSpPr>
          <p:sp>
            <p:nvSpPr>
              <p:cNvPr id="14" name="Freeform 9">
                <a:extLst>
                  <a:ext uri="{FF2B5EF4-FFF2-40B4-BE49-F238E27FC236}">
                    <a16:creationId xmlns:a16="http://schemas.microsoft.com/office/drawing/2014/main" id="{D6823A39-CCE0-498D-9F04-FFD0269682AE}"/>
                  </a:ext>
                </a:extLst>
              </p:cNvPr>
              <p:cNvSpPr>
                <a:spLocks/>
              </p:cNvSpPr>
              <p:nvPr/>
            </p:nvSpPr>
            <p:spPr bwMode="auto">
              <a:xfrm>
                <a:off x="4870451" y="3505200"/>
                <a:ext cx="220663" cy="234950"/>
              </a:xfrm>
              <a:custGeom>
                <a:avLst/>
                <a:gdLst>
                  <a:gd name="T0" fmla="*/ 761 w 1393"/>
                  <a:gd name="T1" fmla="*/ 0 h 1489"/>
                  <a:gd name="T2" fmla="*/ 240 w 1393"/>
                  <a:gd name="T3" fmla="*/ 0 h 1489"/>
                  <a:gd name="T4" fmla="*/ 93 w 1393"/>
                  <a:gd name="T5" fmla="*/ 0 h 1489"/>
                  <a:gd name="T6" fmla="*/ 0 w 1393"/>
                  <a:gd name="T7" fmla="*/ 93 h 1489"/>
                  <a:gd name="T8" fmla="*/ 93 w 1393"/>
                  <a:gd name="T9" fmla="*/ 186 h 1489"/>
                  <a:gd name="T10" fmla="*/ 147 w 1393"/>
                  <a:gd name="T11" fmla="*/ 186 h 1489"/>
                  <a:gd name="T12" fmla="*/ 147 w 1393"/>
                  <a:gd name="T13" fmla="*/ 938 h 1489"/>
                  <a:gd name="T14" fmla="*/ 240 w 1393"/>
                  <a:gd name="T15" fmla="*/ 1031 h 1489"/>
                  <a:gd name="T16" fmla="*/ 397 w 1393"/>
                  <a:gd name="T17" fmla="*/ 1031 h 1489"/>
                  <a:gd name="T18" fmla="*/ 462 w 1393"/>
                  <a:gd name="T19" fmla="*/ 1004 h 1489"/>
                  <a:gd name="T20" fmla="*/ 591 w 1393"/>
                  <a:gd name="T21" fmla="*/ 876 h 1489"/>
                  <a:gd name="T22" fmla="*/ 591 w 1393"/>
                  <a:gd name="T23" fmla="*/ 1100 h 1489"/>
                  <a:gd name="T24" fmla="*/ 201 w 1393"/>
                  <a:gd name="T25" fmla="*/ 1489 h 1489"/>
                  <a:gd name="T26" fmla="*/ 1393 w 1393"/>
                  <a:gd name="T27" fmla="*/ 1489 h 1489"/>
                  <a:gd name="T28" fmla="*/ 1393 w 1393"/>
                  <a:gd name="T29" fmla="*/ 633 h 1489"/>
                  <a:gd name="T30" fmla="*/ 761 w 1393"/>
                  <a:gd name="T31" fmla="*/ 0 h 14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93" h="1489">
                    <a:moveTo>
                      <a:pt x="761" y="0"/>
                    </a:moveTo>
                    <a:cubicBezTo>
                      <a:pt x="240" y="0"/>
                      <a:pt x="240" y="0"/>
                      <a:pt x="240" y="0"/>
                    </a:cubicBezTo>
                    <a:cubicBezTo>
                      <a:pt x="93" y="0"/>
                      <a:pt x="93" y="0"/>
                      <a:pt x="93" y="0"/>
                    </a:cubicBezTo>
                    <a:cubicBezTo>
                      <a:pt x="41" y="0"/>
                      <a:pt x="0" y="42"/>
                      <a:pt x="0" y="93"/>
                    </a:cubicBezTo>
                    <a:cubicBezTo>
                      <a:pt x="0" y="145"/>
                      <a:pt x="41" y="186"/>
                      <a:pt x="93" y="186"/>
                    </a:cubicBezTo>
                    <a:cubicBezTo>
                      <a:pt x="147" y="186"/>
                      <a:pt x="147" y="186"/>
                      <a:pt x="147" y="186"/>
                    </a:cubicBezTo>
                    <a:cubicBezTo>
                      <a:pt x="147" y="938"/>
                      <a:pt x="147" y="938"/>
                      <a:pt x="147" y="938"/>
                    </a:cubicBezTo>
                    <a:cubicBezTo>
                      <a:pt x="147" y="990"/>
                      <a:pt x="188" y="1031"/>
                      <a:pt x="240" y="1031"/>
                    </a:cubicBezTo>
                    <a:cubicBezTo>
                      <a:pt x="397" y="1031"/>
                      <a:pt x="397" y="1031"/>
                      <a:pt x="397" y="1031"/>
                    </a:cubicBezTo>
                    <a:cubicBezTo>
                      <a:pt x="421" y="1031"/>
                      <a:pt x="445" y="1021"/>
                      <a:pt x="462" y="1004"/>
                    </a:cubicBezTo>
                    <a:cubicBezTo>
                      <a:pt x="591" y="876"/>
                      <a:pt x="591" y="876"/>
                      <a:pt x="591" y="876"/>
                    </a:cubicBezTo>
                    <a:cubicBezTo>
                      <a:pt x="591" y="1100"/>
                      <a:pt x="591" y="1100"/>
                      <a:pt x="591" y="1100"/>
                    </a:cubicBezTo>
                    <a:cubicBezTo>
                      <a:pt x="201" y="1489"/>
                      <a:pt x="201" y="1489"/>
                      <a:pt x="201" y="1489"/>
                    </a:cubicBezTo>
                    <a:cubicBezTo>
                      <a:pt x="1393" y="1489"/>
                      <a:pt x="1393" y="1489"/>
                      <a:pt x="1393" y="1489"/>
                    </a:cubicBezTo>
                    <a:cubicBezTo>
                      <a:pt x="1393" y="633"/>
                      <a:pt x="1393" y="633"/>
                      <a:pt x="1393" y="633"/>
                    </a:cubicBezTo>
                    <a:cubicBezTo>
                      <a:pt x="1393" y="284"/>
                      <a:pt x="1109" y="0"/>
                      <a:pt x="76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sp>
            <p:nvSpPr>
              <p:cNvPr id="15" name="Freeform 10">
                <a:extLst>
                  <a:ext uri="{FF2B5EF4-FFF2-40B4-BE49-F238E27FC236}">
                    <a16:creationId xmlns:a16="http://schemas.microsoft.com/office/drawing/2014/main" id="{FCB4C545-BBE0-4EDB-8F99-30DED63EB97D}"/>
                  </a:ext>
                </a:extLst>
              </p:cNvPr>
              <p:cNvSpPr>
                <a:spLocks/>
              </p:cNvSpPr>
              <p:nvPr/>
            </p:nvSpPr>
            <p:spPr bwMode="auto">
              <a:xfrm>
                <a:off x="4862513" y="3770313"/>
                <a:ext cx="260350" cy="58738"/>
              </a:xfrm>
              <a:custGeom>
                <a:avLst/>
                <a:gdLst>
                  <a:gd name="T0" fmla="*/ 0 w 1646"/>
                  <a:gd name="T1" fmla="*/ 0 h 372"/>
                  <a:gd name="T2" fmla="*/ 0 w 1646"/>
                  <a:gd name="T3" fmla="*/ 279 h 372"/>
                  <a:gd name="T4" fmla="*/ 93 w 1646"/>
                  <a:gd name="T5" fmla="*/ 372 h 372"/>
                  <a:gd name="T6" fmla="*/ 1553 w 1646"/>
                  <a:gd name="T7" fmla="*/ 372 h 372"/>
                  <a:gd name="T8" fmla="*/ 1646 w 1646"/>
                  <a:gd name="T9" fmla="*/ 279 h 372"/>
                  <a:gd name="T10" fmla="*/ 1646 w 1646"/>
                  <a:gd name="T11" fmla="*/ 0 h 372"/>
                  <a:gd name="T12" fmla="*/ 0 w 1646"/>
                  <a:gd name="T13" fmla="*/ 0 h 372"/>
                </a:gdLst>
                <a:ahLst/>
                <a:cxnLst>
                  <a:cxn ang="0">
                    <a:pos x="T0" y="T1"/>
                  </a:cxn>
                  <a:cxn ang="0">
                    <a:pos x="T2" y="T3"/>
                  </a:cxn>
                  <a:cxn ang="0">
                    <a:pos x="T4" y="T5"/>
                  </a:cxn>
                  <a:cxn ang="0">
                    <a:pos x="T6" y="T7"/>
                  </a:cxn>
                  <a:cxn ang="0">
                    <a:pos x="T8" y="T9"/>
                  </a:cxn>
                  <a:cxn ang="0">
                    <a:pos x="T10" y="T11"/>
                  </a:cxn>
                  <a:cxn ang="0">
                    <a:pos x="T12" y="T13"/>
                  </a:cxn>
                </a:cxnLst>
                <a:rect l="0" t="0" r="r" b="b"/>
                <a:pathLst>
                  <a:path w="1646" h="372">
                    <a:moveTo>
                      <a:pt x="0" y="0"/>
                    </a:moveTo>
                    <a:cubicBezTo>
                      <a:pt x="0" y="279"/>
                      <a:pt x="0" y="279"/>
                      <a:pt x="0" y="279"/>
                    </a:cubicBezTo>
                    <a:cubicBezTo>
                      <a:pt x="0" y="330"/>
                      <a:pt x="42" y="372"/>
                      <a:pt x="93" y="372"/>
                    </a:cubicBezTo>
                    <a:cubicBezTo>
                      <a:pt x="1553" y="372"/>
                      <a:pt x="1553" y="372"/>
                      <a:pt x="1553" y="372"/>
                    </a:cubicBezTo>
                    <a:cubicBezTo>
                      <a:pt x="1604" y="372"/>
                      <a:pt x="1646" y="330"/>
                      <a:pt x="1646" y="279"/>
                    </a:cubicBezTo>
                    <a:cubicBezTo>
                      <a:pt x="1646" y="0"/>
                      <a:pt x="1646" y="0"/>
                      <a:pt x="1646" y="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grpSp>
        <p:sp>
          <p:nvSpPr>
            <p:cNvPr id="16" name="Freeform 59">
              <a:extLst>
                <a:ext uri="{FF2B5EF4-FFF2-40B4-BE49-F238E27FC236}">
                  <a16:creationId xmlns:a16="http://schemas.microsoft.com/office/drawing/2014/main" id="{62253788-798D-4BFB-B9C7-C7314AF59F36}"/>
                </a:ext>
              </a:extLst>
            </p:cNvPr>
            <p:cNvSpPr>
              <a:spLocks noEditPoints="1"/>
            </p:cNvSpPr>
            <p:nvPr/>
          </p:nvSpPr>
          <p:spPr bwMode="auto">
            <a:xfrm>
              <a:off x="5864712" y="3119012"/>
              <a:ext cx="572329" cy="556280"/>
            </a:xfrm>
            <a:custGeom>
              <a:avLst/>
              <a:gdLst>
                <a:gd name="T0" fmla="*/ 2119 w 2125"/>
                <a:gd name="T1" fmla="*/ 400 h 2053"/>
                <a:gd name="T2" fmla="*/ 2061 w 2125"/>
                <a:gd name="T3" fmla="*/ 337 h 2053"/>
                <a:gd name="T4" fmla="*/ 1857 w 2125"/>
                <a:gd name="T5" fmla="*/ 269 h 2053"/>
                <a:gd name="T6" fmla="*/ 1789 w 2125"/>
                <a:gd name="T7" fmla="*/ 64 h 2053"/>
                <a:gd name="T8" fmla="*/ 1726 w 2125"/>
                <a:gd name="T9" fmla="*/ 7 h 2053"/>
                <a:gd name="T10" fmla="*/ 1645 w 2125"/>
                <a:gd name="T11" fmla="*/ 30 h 2053"/>
                <a:gd name="T12" fmla="*/ 1399 w 2125"/>
                <a:gd name="T13" fmla="*/ 276 h 2053"/>
                <a:gd name="T14" fmla="*/ 1378 w 2125"/>
                <a:gd name="T15" fmla="*/ 365 h 2053"/>
                <a:gd name="T16" fmla="*/ 1443 w 2125"/>
                <a:gd name="T17" fmla="*/ 560 h 2053"/>
                <a:gd name="T18" fmla="*/ 1293 w 2125"/>
                <a:gd name="T19" fmla="*/ 710 h 2053"/>
                <a:gd name="T20" fmla="*/ 826 w 2125"/>
                <a:gd name="T21" fmla="*/ 547 h 2053"/>
                <a:gd name="T22" fmla="*/ 293 w 2125"/>
                <a:gd name="T23" fmla="*/ 768 h 2053"/>
                <a:gd name="T24" fmla="*/ 293 w 2125"/>
                <a:gd name="T25" fmla="*/ 1832 h 2053"/>
                <a:gd name="T26" fmla="*/ 826 w 2125"/>
                <a:gd name="T27" fmla="*/ 2053 h 2053"/>
                <a:gd name="T28" fmla="*/ 1358 w 2125"/>
                <a:gd name="T29" fmla="*/ 1832 h 2053"/>
                <a:gd name="T30" fmla="*/ 1416 w 2125"/>
                <a:gd name="T31" fmla="*/ 833 h 2053"/>
                <a:gd name="T32" fmla="*/ 1566 w 2125"/>
                <a:gd name="T33" fmla="*/ 683 h 2053"/>
                <a:gd name="T34" fmla="*/ 1761 w 2125"/>
                <a:gd name="T35" fmla="*/ 748 h 2053"/>
                <a:gd name="T36" fmla="*/ 1788 w 2125"/>
                <a:gd name="T37" fmla="*/ 752 h 2053"/>
                <a:gd name="T38" fmla="*/ 1850 w 2125"/>
                <a:gd name="T39" fmla="*/ 727 h 2053"/>
                <a:gd name="T40" fmla="*/ 2095 w 2125"/>
                <a:gd name="T41" fmla="*/ 481 h 2053"/>
                <a:gd name="T42" fmla="*/ 2119 w 2125"/>
                <a:gd name="T43" fmla="*/ 400 h 2053"/>
                <a:gd name="T44" fmla="*/ 1235 w 2125"/>
                <a:gd name="T45" fmla="*/ 1710 h 2053"/>
                <a:gd name="T46" fmla="*/ 826 w 2125"/>
                <a:gd name="T47" fmla="*/ 1879 h 2053"/>
                <a:gd name="T48" fmla="*/ 416 w 2125"/>
                <a:gd name="T49" fmla="*/ 1710 h 2053"/>
                <a:gd name="T50" fmla="*/ 416 w 2125"/>
                <a:gd name="T51" fmla="*/ 890 h 2053"/>
                <a:gd name="T52" fmla="*/ 826 w 2125"/>
                <a:gd name="T53" fmla="*/ 721 h 2053"/>
                <a:gd name="T54" fmla="*/ 1169 w 2125"/>
                <a:gd name="T55" fmla="*/ 834 h 2053"/>
                <a:gd name="T56" fmla="*/ 1044 w 2125"/>
                <a:gd name="T57" fmla="*/ 959 h 2053"/>
                <a:gd name="T58" fmla="*/ 826 w 2125"/>
                <a:gd name="T59" fmla="*/ 895 h 2053"/>
                <a:gd name="T60" fmla="*/ 539 w 2125"/>
                <a:gd name="T61" fmla="*/ 1013 h 2053"/>
                <a:gd name="T62" fmla="*/ 420 w 2125"/>
                <a:gd name="T63" fmla="*/ 1300 h 2053"/>
                <a:gd name="T64" fmla="*/ 539 w 2125"/>
                <a:gd name="T65" fmla="*/ 1587 h 2053"/>
                <a:gd name="T66" fmla="*/ 826 w 2125"/>
                <a:gd name="T67" fmla="*/ 1705 h 2053"/>
                <a:gd name="T68" fmla="*/ 1112 w 2125"/>
                <a:gd name="T69" fmla="*/ 1587 h 2053"/>
                <a:gd name="T70" fmla="*/ 1167 w 2125"/>
                <a:gd name="T71" fmla="*/ 1081 h 2053"/>
                <a:gd name="T72" fmla="*/ 1292 w 2125"/>
                <a:gd name="T73" fmla="*/ 957 h 2053"/>
                <a:gd name="T74" fmla="*/ 1235 w 2125"/>
                <a:gd name="T75" fmla="*/ 1710 h 2053"/>
                <a:gd name="T76" fmla="*/ 764 w 2125"/>
                <a:gd name="T77" fmla="*/ 1361 h 2053"/>
                <a:gd name="T78" fmla="*/ 826 w 2125"/>
                <a:gd name="T79" fmla="*/ 1387 h 2053"/>
                <a:gd name="T80" fmla="*/ 887 w 2125"/>
                <a:gd name="T81" fmla="*/ 1361 h 2053"/>
                <a:gd name="T82" fmla="*/ 1039 w 2125"/>
                <a:gd name="T83" fmla="*/ 1210 h 2053"/>
                <a:gd name="T84" fmla="*/ 990 w 2125"/>
                <a:gd name="T85" fmla="*/ 1464 h 2053"/>
                <a:gd name="T86" fmla="*/ 826 w 2125"/>
                <a:gd name="T87" fmla="*/ 1532 h 2053"/>
                <a:gd name="T88" fmla="*/ 662 w 2125"/>
                <a:gd name="T89" fmla="*/ 1464 h 2053"/>
                <a:gd name="T90" fmla="*/ 594 w 2125"/>
                <a:gd name="T91" fmla="*/ 1300 h 2053"/>
                <a:gd name="T92" fmla="*/ 662 w 2125"/>
                <a:gd name="T93" fmla="*/ 1136 h 2053"/>
                <a:gd name="T94" fmla="*/ 826 w 2125"/>
                <a:gd name="T95" fmla="*/ 1068 h 2053"/>
                <a:gd name="T96" fmla="*/ 916 w 2125"/>
                <a:gd name="T97" fmla="*/ 1087 h 2053"/>
                <a:gd name="T98" fmla="*/ 764 w 2125"/>
                <a:gd name="T99" fmla="*/ 1239 h 2053"/>
                <a:gd name="T100" fmla="*/ 764 w 2125"/>
                <a:gd name="T101" fmla="*/ 1361 h 20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125" h="2053">
                  <a:moveTo>
                    <a:pt x="2119" y="400"/>
                  </a:moveTo>
                  <a:cubicBezTo>
                    <a:pt x="2112" y="370"/>
                    <a:pt x="2090" y="347"/>
                    <a:pt x="2061" y="337"/>
                  </a:cubicBezTo>
                  <a:cubicBezTo>
                    <a:pt x="1857" y="269"/>
                    <a:pt x="1857" y="269"/>
                    <a:pt x="1857" y="269"/>
                  </a:cubicBezTo>
                  <a:cubicBezTo>
                    <a:pt x="1789" y="64"/>
                    <a:pt x="1789" y="64"/>
                    <a:pt x="1789" y="64"/>
                  </a:cubicBezTo>
                  <a:cubicBezTo>
                    <a:pt x="1779" y="36"/>
                    <a:pt x="1756" y="14"/>
                    <a:pt x="1726" y="7"/>
                  </a:cubicBezTo>
                  <a:cubicBezTo>
                    <a:pt x="1697" y="0"/>
                    <a:pt x="1666" y="9"/>
                    <a:pt x="1645" y="30"/>
                  </a:cubicBezTo>
                  <a:cubicBezTo>
                    <a:pt x="1399" y="276"/>
                    <a:pt x="1399" y="276"/>
                    <a:pt x="1399" y="276"/>
                  </a:cubicBezTo>
                  <a:cubicBezTo>
                    <a:pt x="1376" y="299"/>
                    <a:pt x="1368" y="334"/>
                    <a:pt x="1378" y="365"/>
                  </a:cubicBezTo>
                  <a:cubicBezTo>
                    <a:pt x="1443" y="560"/>
                    <a:pt x="1443" y="560"/>
                    <a:pt x="1443" y="560"/>
                  </a:cubicBezTo>
                  <a:cubicBezTo>
                    <a:pt x="1293" y="710"/>
                    <a:pt x="1293" y="710"/>
                    <a:pt x="1293" y="710"/>
                  </a:cubicBezTo>
                  <a:cubicBezTo>
                    <a:pt x="1161" y="604"/>
                    <a:pt x="998" y="547"/>
                    <a:pt x="826" y="547"/>
                  </a:cubicBezTo>
                  <a:cubicBezTo>
                    <a:pt x="625" y="547"/>
                    <a:pt x="436" y="625"/>
                    <a:pt x="293" y="768"/>
                  </a:cubicBezTo>
                  <a:cubicBezTo>
                    <a:pt x="0" y="1061"/>
                    <a:pt x="0" y="1539"/>
                    <a:pt x="293" y="1832"/>
                  </a:cubicBezTo>
                  <a:cubicBezTo>
                    <a:pt x="436" y="1975"/>
                    <a:pt x="625" y="2053"/>
                    <a:pt x="826" y="2053"/>
                  </a:cubicBezTo>
                  <a:cubicBezTo>
                    <a:pt x="1027" y="2053"/>
                    <a:pt x="1216" y="1975"/>
                    <a:pt x="1358" y="1832"/>
                  </a:cubicBezTo>
                  <a:cubicBezTo>
                    <a:pt x="1631" y="1560"/>
                    <a:pt x="1650" y="1128"/>
                    <a:pt x="1416" y="833"/>
                  </a:cubicBezTo>
                  <a:cubicBezTo>
                    <a:pt x="1566" y="683"/>
                    <a:pt x="1566" y="683"/>
                    <a:pt x="1566" y="683"/>
                  </a:cubicBezTo>
                  <a:cubicBezTo>
                    <a:pt x="1761" y="748"/>
                    <a:pt x="1761" y="748"/>
                    <a:pt x="1761" y="748"/>
                  </a:cubicBezTo>
                  <a:cubicBezTo>
                    <a:pt x="1770" y="751"/>
                    <a:pt x="1779" y="752"/>
                    <a:pt x="1788" y="752"/>
                  </a:cubicBezTo>
                  <a:cubicBezTo>
                    <a:pt x="1811" y="752"/>
                    <a:pt x="1833" y="743"/>
                    <a:pt x="1850" y="727"/>
                  </a:cubicBezTo>
                  <a:cubicBezTo>
                    <a:pt x="2095" y="481"/>
                    <a:pt x="2095" y="481"/>
                    <a:pt x="2095" y="481"/>
                  </a:cubicBezTo>
                  <a:cubicBezTo>
                    <a:pt x="2117" y="460"/>
                    <a:pt x="2125" y="429"/>
                    <a:pt x="2119" y="400"/>
                  </a:cubicBezTo>
                  <a:close/>
                  <a:moveTo>
                    <a:pt x="1235" y="1710"/>
                  </a:moveTo>
                  <a:cubicBezTo>
                    <a:pt x="1126" y="1819"/>
                    <a:pt x="980" y="1879"/>
                    <a:pt x="826" y="1879"/>
                  </a:cubicBezTo>
                  <a:cubicBezTo>
                    <a:pt x="671" y="1879"/>
                    <a:pt x="526" y="1819"/>
                    <a:pt x="416" y="1710"/>
                  </a:cubicBezTo>
                  <a:cubicBezTo>
                    <a:pt x="190" y="1484"/>
                    <a:pt x="190" y="1116"/>
                    <a:pt x="416" y="890"/>
                  </a:cubicBezTo>
                  <a:cubicBezTo>
                    <a:pt x="526" y="781"/>
                    <a:pt x="671" y="721"/>
                    <a:pt x="826" y="721"/>
                  </a:cubicBezTo>
                  <a:cubicBezTo>
                    <a:pt x="951" y="721"/>
                    <a:pt x="1070" y="760"/>
                    <a:pt x="1169" y="834"/>
                  </a:cubicBezTo>
                  <a:cubicBezTo>
                    <a:pt x="1044" y="959"/>
                    <a:pt x="1044" y="959"/>
                    <a:pt x="1044" y="959"/>
                  </a:cubicBezTo>
                  <a:cubicBezTo>
                    <a:pt x="980" y="917"/>
                    <a:pt x="904" y="895"/>
                    <a:pt x="826" y="895"/>
                  </a:cubicBezTo>
                  <a:cubicBezTo>
                    <a:pt x="717" y="895"/>
                    <a:pt x="616" y="937"/>
                    <a:pt x="539" y="1013"/>
                  </a:cubicBezTo>
                  <a:cubicBezTo>
                    <a:pt x="463" y="1090"/>
                    <a:pt x="420" y="1192"/>
                    <a:pt x="420" y="1300"/>
                  </a:cubicBezTo>
                  <a:cubicBezTo>
                    <a:pt x="420" y="1408"/>
                    <a:pt x="463" y="1510"/>
                    <a:pt x="539" y="1587"/>
                  </a:cubicBezTo>
                  <a:cubicBezTo>
                    <a:pt x="616" y="1663"/>
                    <a:pt x="717" y="1705"/>
                    <a:pt x="826" y="1705"/>
                  </a:cubicBezTo>
                  <a:cubicBezTo>
                    <a:pt x="934" y="1705"/>
                    <a:pt x="1036" y="1663"/>
                    <a:pt x="1112" y="1587"/>
                  </a:cubicBezTo>
                  <a:cubicBezTo>
                    <a:pt x="1249" y="1450"/>
                    <a:pt x="1268" y="1238"/>
                    <a:pt x="1167" y="1081"/>
                  </a:cubicBezTo>
                  <a:cubicBezTo>
                    <a:pt x="1292" y="957"/>
                    <a:pt x="1292" y="957"/>
                    <a:pt x="1292" y="957"/>
                  </a:cubicBezTo>
                  <a:cubicBezTo>
                    <a:pt x="1459" y="1183"/>
                    <a:pt x="1440" y="1505"/>
                    <a:pt x="1235" y="1710"/>
                  </a:cubicBezTo>
                  <a:close/>
                  <a:moveTo>
                    <a:pt x="764" y="1361"/>
                  </a:moveTo>
                  <a:cubicBezTo>
                    <a:pt x="781" y="1378"/>
                    <a:pt x="804" y="1387"/>
                    <a:pt x="826" y="1387"/>
                  </a:cubicBezTo>
                  <a:cubicBezTo>
                    <a:pt x="848" y="1387"/>
                    <a:pt x="870" y="1378"/>
                    <a:pt x="887" y="1361"/>
                  </a:cubicBezTo>
                  <a:cubicBezTo>
                    <a:pt x="1039" y="1210"/>
                    <a:pt x="1039" y="1210"/>
                    <a:pt x="1039" y="1210"/>
                  </a:cubicBezTo>
                  <a:cubicBezTo>
                    <a:pt x="1075" y="1294"/>
                    <a:pt x="1058" y="1395"/>
                    <a:pt x="990" y="1464"/>
                  </a:cubicBezTo>
                  <a:cubicBezTo>
                    <a:pt x="946" y="1508"/>
                    <a:pt x="888" y="1532"/>
                    <a:pt x="826" y="1532"/>
                  </a:cubicBezTo>
                  <a:cubicBezTo>
                    <a:pt x="764" y="1532"/>
                    <a:pt x="706" y="1508"/>
                    <a:pt x="662" y="1464"/>
                  </a:cubicBezTo>
                  <a:cubicBezTo>
                    <a:pt x="618" y="1420"/>
                    <a:pt x="594" y="1362"/>
                    <a:pt x="594" y="1300"/>
                  </a:cubicBezTo>
                  <a:cubicBezTo>
                    <a:pt x="594" y="1238"/>
                    <a:pt x="618" y="1180"/>
                    <a:pt x="662" y="1136"/>
                  </a:cubicBezTo>
                  <a:cubicBezTo>
                    <a:pt x="706" y="1092"/>
                    <a:pt x="764" y="1068"/>
                    <a:pt x="826" y="1068"/>
                  </a:cubicBezTo>
                  <a:cubicBezTo>
                    <a:pt x="857" y="1068"/>
                    <a:pt x="888" y="1075"/>
                    <a:pt x="916" y="1087"/>
                  </a:cubicBezTo>
                  <a:cubicBezTo>
                    <a:pt x="764" y="1239"/>
                    <a:pt x="764" y="1239"/>
                    <a:pt x="764" y="1239"/>
                  </a:cubicBezTo>
                  <a:cubicBezTo>
                    <a:pt x="730" y="1273"/>
                    <a:pt x="730" y="1328"/>
                    <a:pt x="764" y="1361"/>
                  </a:cubicBezTo>
                  <a:close/>
                </a:path>
              </a:pathLst>
            </a:custGeom>
            <a:gradFill>
              <a:gsLst>
                <a:gs pos="73000">
                  <a:schemeClr val="accent1"/>
                </a:gs>
                <a:gs pos="31000">
                  <a:schemeClr val="accent1">
                    <a:lumMod val="60000"/>
                    <a:lumOff val="40000"/>
                  </a:schemeClr>
                </a:gs>
                <a:gs pos="0">
                  <a:schemeClr val="accent1">
                    <a:lumMod val="40000"/>
                    <a:lumOff val="60000"/>
                  </a:schemeClr>
                </a:gs>
              </a:gsLst>
              <a:path path="circle">
                <a:fillToRect r="100000" b="100000"/>
              </a:path>
            </a:gra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grpSp>
          <p:nvGrpSpPr>
            <p:cNvPr id="17" name="Group 60">
              <a:extLst>
                <a:ext uri="{FF2B5EF4-FFF2-40B4-BE49-F238E27FC236}">
                  <a16:creationId xmlns:a16="http://schemas.microsoft.com/office/drawing/2014/main" id="{25F9E43C-2434-4426-9ED1-53B6280EA2DD}"/>
                </a:ext>
              </a:extLst>
            </p:cNvPr>
            <p:cNvGrpSpPr/>
            <p:nvPr/>
          </p:nvGrpSpPr>
          <p:grpSpPr>
            <a:xfrm>
              <a:off x="9414740" y="3204823"/>
              <a:ext cx="482992" cy="384658"/>
              <a:chOff x="5168900" y="2687638"/>
              <a:chExt cx="1855788" cy="1477963"/>
            </a:xfrm>
            <a:gradFill>
              <a:gsLst>
                <a:gs pos="73000">
                  <a:schemeClr val="accent1"/>
                </a:gs>
                <a:gs pos="31000">
                  <a:schemeClr val="accent1">
                    <a:lumMod val="60000"/>
                    <a:lumOff val="40000"/>
                  </a:schemeClr>
                </a:gs>
                <a:gs pos="0">
                  <a:schemeClr val="accent1">
                    <a:lumMod val="40000"/>
                    <a:lumOff val="60000"/>
                  </a:schemeClr>
                </a:gs>
              </a:gsLst>
              <a:path path="circle">
                <a:fillToRect r="100000" b="100000"/>
              </a:path>
            </a:gradFill>
          </p:grpSpPr>
          <p:sp>
            <p:nvSpPr>
              <p:cNvPr id="18" name="Freeform 15">
                <a:extLst>
                  <a:ext uri="{FF2B5EF4-FFF2-40B4-BE49-F238E27FC236}">
                    <a16:creationId xmlns:a16="http://schemas.microsoft.com/office/drawing/2014/main" id="{99CC9FD0-3F91-4011-93EA-762691A4E3FD}"/>
                  </a:ext>
                </a:extLst>
              </p:cNvPr>
              <p:cNvSpPr>
                <a:spLocks/>
              </p:cNvSpPr>
              <p:nvPr/>
            </p:nvSpPr>
            <p:spPr bwMode="auto">
              <a:xfrm>
                <a:off x="5430838" y="2687638"/>
                <a:ext cx="642938" cy="714375"/>
              </a:xfrm>
              <a:custGeom>
                <a:avLst/>
                <a:gdLst>
                  <a:gd name="T0" fmla="*/ 337 w 678"/>
                  <a:gd name="T1" fmla="*/ 754 h 754"/>
                  <a:gd name="T2" fmla="*/ 337 w 678"/>
                  <a:gd name="T3" fmla="*/ 754 h 754"/>
                  <a:gd name="T4" fmla="*/ 339 w 678"/>
                  <a:gd name="T5" fmla="*/ 754 h 754"/>
                  <a:gd name="T6" fmla="*/ 341 w 678"/>
                  <a:gd name="T7" fmla="*/ 754 h 754"/>
                  <a:gd name="T8" fmla="*/ 341 w 678"/>
                  <a:gd name="T9" fmla="*/ 754 h 754"/>
                  <a:gd name="T10" fmla="*/ 629 w 678"/>
                  <a:gd name="T11" fmla="*/ 301 h 754"/>
                  <a:gd name="T12" fmla="*/ 339 w 678"/>
                  <a:gd name="T13" fmla="*/ 4 h 754"/>
                  <a:gd name="T14" fmla="*/ 49 w 678"/>
                  <a:gd name="T15" fmla="*/ 301 h 754"/>
                  <a:gd name="T16" fmla="*/ 337 w 678"/>
                  <a:gd name="T17" fmla="*/ 754 h 7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78" h="754">
                    <a:moveTo>
                      <a:pt x="337" y="754"/>
                    </a:moveTo>
                    <a:cubicBezTo>
                      <a:pt x="337" y="754"/>
                      <a:pt x="337" y="754"/>
                      <a:pt x="337" y="754"/>
                    </a:cubicBezTo>
                    <a:cubicBezTo>
                      <a:pt x="338" y="754"/>
                      <a:pt x="338" y="754"/>
                      <a:pt x="339" y="754"/>
                    </a:cubicBezTo>
                    <a:cubicBezTo>
                      <a:pt x="340" y="754"/>
                      <a:pt x="340" y="754"/>
                      <a:pt x="341" y="754"/>
                    </a:cubicBezTo>
                    <a:cubicBezTo>
                      <a:pt x="341" y="754"/>
                      <a:pt x="341" y="754"/>
                      <a:pt x="341" y="754"/>
                    </a:cubicBezTo>
                    <a:cubicBezTo>
                      <a:pt x="678" y="751"/>
                      <a:pt x="629" y="301"/>
                      <a:pt x="629" y="301"/>
                    </a:cubicBezTo>
                    <a:cubicBezTo>
                      <a:pt x="615" y="1"/>
                      <a:pt x="364" y="3"/>
                      <a:pt x="339" y="4"/>
                    </a:cubicBezTo>
                    <a:cubicBezTo>
                      <a:pt x="314" y="3"/>
                      <a:pt x="63" y="0"/>
                      <a:pt x="49" y="301"/>
                    </a:cubicBezTo>
                    <a:cubicBezTo>
                      <a:pt x="49" y="301"/>
                      <a:pt x="0" y="751"/>
                      <a:pt x="337" y="7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Open Sans"/>
                  <a:ea typeface="+mn-ea"/>
                  <a:cs typeface="+mn-cs"/>
                </a:endParaRPr>
              </a:p>
            </p:txBody>
          </p:sp>
          <p:sp>
            <p:nvSpPr>
              <p:cNvPr id="19" name="Freeform 16">
                <a:extLst>
                  <a:ext uri="{FF2B5EF4-FFF2-40B4-BE49-F238E27FC236}">
                    <a16:creationId xmlns:a16="http://schemas.microsoft.com/office/drawing/2014/main" id="{BB0014A9-ACF9-4F7B-B833-EE9DCBCABDBB}"/>
                  </a:ext>
                </a:extLst>
              </p:cNvPr>
              <p:cNvSpPr>
                <a:spLocks/>
              </p:cNvSpPr>
              <p:nvPr/>
            </p:nvSpPr>
            <p:spPr bwMode="auto">
              <a:xfrm>
                <a:off x="5168900" y="3481388"/>
                <a:ext cx="1052513" cy="671513"/>
              </a:xfrm>
              <a:custGeom>
                <a:avLst/>
                <a:gdLst>
                  <a:gd name="T0" fmla="*/ 834 w 1111"/>
                  <a:gd name="T1" fmla="*/ 0 h 708"/>
                  <a:gd name="T2" fmla="*/ 717 w 1111"/>
                  <a:gd name="T3" fmla="*/ 370 h 708"/>
                  <a:gd name="T4" fmla="*/ 648 w 1111"/>
                  <a:gd name="T5" fmla="*/ 176 h 708"/>
                  <a:gd name="T6" fmla="*/ 617 w 1111"/>
                  <a:gd name="T7" fmla="*/ 0 h 708"/>
                  <a:gd name="T8" fmla="*/ 617 w 1111"/>
                  <a:gd name="T9" fmla="*/ 0 h 708"/>
                  <a:gd name="T10" fmla="*/ 616 w 1111"/>
                  <a:gd name="T11" fmla="*/ 0 h 708"/>
                  <a:gd name="T12" fmla="*/ 616 w 1111"/>
                  <a:gd name="T13" fmla="*/ 0 h 708"/>
                  <a:gd name="T14" fmla="*/ 616 w 1111"/>
                  <a:gd name="T15" fmla="*/ 0 h 708"/>
                  <a:gd name="T16" fmla="*/ 584 w 1111"/>
                  <a:gd name="T17" fmla="*/ 176 h 708"/>
                  <a:gd name="T18" fmla="*/ 516 w 1111"/>
                  <a:gd name="T19" fmla="*/ 370 h 708"/>
                  <a:gd name="T20" fmla="*/ 399 w 1111"/>
                  <a:gd name="T21" fmla="*/ 0 h 708"/>
                  <a:gd name="T22" fmla="*/ 121 w 1111"/>
                  <a:gd name="T23" fmla="*/ 154 h 708"/>
                  <a:gd name="T24" fmla="*/ 0 w 1111"/>
                  <a:gd name="T25" fmla="*/ 381 h 708"/>
                  <a:gd name="T26" fmla="*/ 0 w 1111"/>
                  <a:gd name="T27" fmla="*/ 708 h 708"/>
                  <a:gd name="T28" fmla="*/ 617 w 1111"/>
                  <a:gd name="T29" fmla="*/ 708 h 708"/>
                  <a:gd name="T30" fmla="*/ 811 w 1111"/>
                  <a:gd name="T31" fmla="*/ 708 h 708"/>
                  <a:gd name="T32" fmla="*/ 808 w 1111"/>
                  <a:gd name="T33" fmla="*/ 683 h 708"/>
                  <a:gd name="T34" fmla="*/ 808 w 1111"/>
                  <a:gd name="T35" fmla="*/ 380 h 708"/>
                  <a:gd name="T36" fmla="*/ 900 w 1111"/>
                  <a:gd name="T37" fmla="*/ 288 h 708"/>
                  <a:gd name="T38" fmla="*/ 1014 w 1111"/>
                  <a:gd name="T39" fmla="*/ 288 h 708"/>
                  <a:gd name="T40" fmla="*/ 1038 w 1111"/>
                  <a:gd name="T41" fmla="*/ 291 h 708"/>
                  <a:gd name="T42" fmla="*/ 1038 w 1111"/>
                  <a:gd name="T43" fmla="*/ 243 h 708"/>
                  <a:gd name="T44" fmla="*/ 1111 w 1111"/>
                  <a:gd name="T45" fmla="*/ 153 h 708"/>
                  <a:gd name="T46" fmla="*/ 834 w 1111"/>
                  <a:gd name="T47" fmla="*/ 0 h 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11" h="708">
                    <a:moveTo>
                      <a:pt x="834" y="0"/>
                    </a:moveTo>
                    <a:cubicBezTo>
                      <a:pt x="717" y="370"/>
                      <a:pt x="717" y="370"/>
                      <a:pt x="717" y="370"/>
                    </a:cubicBezTo>
                    <a:cubicBezTo>
                      <a:pt x="648" y="176"/>
                      <a:pt x="648" y="176"/>
                      <a:pt x="648" y="176"/>
                    </a:cubicBezTo>
                    <a:cubicBezTo>
                      <a:pt x="768" y="9"/>
                      <a:pt x="640" y="1"/>
                      <a:pt x="617" y="0"/>
                    </a:cubicBezTo>
                    <a:cubicBezTo>
                      <a:pt x="617" y="0"/>
                      <a:pt x="617" y="0"/>
                      <a:pt x="617" y="0"/>
                    </a:cubicBezTo>
                    <a:cubicBezTo>
                      <a:pt x="617" y="0"/>
                      <a:pt x="617" y="0"/>
                      <a:pt x="616" y="0"/>
                    </a:cubicBezTo>
                    <a:cubicBezTo>
                      <a:pt x="616" y="0"/>
                      <a:pt x="616" y="0"/>
                      <a:pt x="616" y="0"/>
                    </a:cubicBezTo>
                    <a:cubicBezTo>
                      <a:pt x="616" y="0"/>
                      <a:pt x="616" y="0"/>
                      <a:pt x="616" y="0"/>
                    </a:cubicBezTo>
                    <a:cubicBezTo>
                      <a:pt x="593" y="1"/>
                      <a:pt x="464" y="9"/>
                      <a:pt x="584" y="176"/>
                    </a:cubicBezTo>
                    <a:cubicBezTo>
                      <a:pt x="516" y="370"/>
                      <a:pt x="516" y="370"/>
                      <a:pt x="516" y="370"/>
                    </a:cubicBezTo>
                    <a:cubicBezTo>
                      <a:pt x="399" y="0"/>
                      <a:pt x="399" y="0"/>
                      <a:pt x="399" y="0"/>
                    </a:cubicBezTo>
                    <a:cubicBezTo>
                      <a:pt x="399" y="0"/>
                      <a:pt x="252" y="71"/>
                      <a:pt x="121" y="154"/>
                    </a:cubicBezTo>
                    <a:cubicBezTo>
                      <a:pt x="22" y="217"/>
                      <a:pt x="3" y="283"/>
                      <a:pt x="0" y="381"/>
                    </a:cubicBezTo>
                    <a:cubicBezTo>
                      <a:pt x="0" y="708"/>
                      <a:pt x="0" y="708"/>
                      <a:pt x="0" y="708"/>
                    </a:cubicBezTo>
                    <a:cubicBezTo>
                      <a:pt x="617" y="708"/>
                      <a:pt x="617" y="708"/>
                      <a:pt x="617" y="708"/>
                    </a:cubicBezTo>
                    <a:cubicBezTo>
                      <a:pt x="811" y="708"/>
                      <a:pt x="811" y="708"/>
                      <a:pt x="811" y="708"/>
                    </a:cubicBezTo>
                    <a:cubicBezTo>
                      <a:pt x="809" y="700"/>
                      <a:pt x="808" y="692"/>
                      <a:pt x="808" y="683"/>
                    </a:cubicBezTo>
                    <a:cubicBezTo>
                      <a:pt x="808" y="380"/>
                      <a:pt x="808" y="380"/>
                      <a:pt x="808" y="380"/>
                    </a:cubicBezTo>
                    <a:cubicBezTo>
                      <a:pt x="808" y="329"/>
                      <a:pt x="849" y="288"/>
                      <a:pt x="900" y="288"/>
                    </a:cubicBezTo>
                    <a:cubicBezTo>
                      <a:pt x="1014" y="288"/>
                      <a:pt x="1014" y="288"/>
                      <a:pt x="1014" y="288"/>
                    </a:cubicBezTo>
                    <a:cubicBezTo>
                      <a:pt x="1022" y="288"/>
                      <a:pt x="1030" y="289"/>
                      <a:pt x="1038" y="291"/>
                    </a:cubicBezTo>
                    <a:cubicBezTo>
                      <a:pt x="1038" y="243"/>
                      <a:pt x="1038" y="243"/>
                      <a:pt x="1038" y="243"/>
                    </a:cubicBezTo>
                    <a:cubicBezTo>
                      <a:pt x="1038" y="199"/>
                      <a:pt x="1069" y="162"/>
                      <a:pt x="1111" y="153"/>
                    </a:cubicBezTo>
                    <a:cubicBezTo>
                      <a:pt x="980" y="71"/>
                      <a:pt x="834" y="0"/>
                      <a:pt x="83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sp>
            <p:nvSpPr>
              <p:cNvPr id="20" name="Freeform 17">
                <a:extLst>
                  <a:ext uri="{FF2B5EF4-FFF2-40B4-BE49-F238E27FC236}">
                    <a16:creationId xmlns:a16="http://schemas.microsoft.com/office/drawing/2014/main" id="{01CFE384-BAE6-46D9-85EE-E72756537C66}"/>
                  </a:ext>
                </a:extLst>
              </p:cNvPr>
              <p:cNvSpPr>
                <a:spLocks/>
              </p:cNvSpPr>
              <p:nvPr/>
            </p:nvSpPr>
            <p:spPr bwMode="auto">
              <a:xfrm>
                <a:off x="5999163" y="3817938"/>
                <a:ext cx="153988" cy="334963"/>
              </a:xfrm>
              <a:custGeom>
                <a:avLst/>
                <a:gdLst>
                  <a:gd name="T0" fmla="*/ 138 w 163"/>
                  <a:gd name="T1" fmla="*/ 0 h 352"/>
                  <a:gd name="T2" fmla="*/ 24 w 163"/>
                  <a:gd name="T3" fmla="*/ 0 h 352"/>
                  <a:gd name="T4" fmla="*/ 0 w 163"/>
                  <a:gd name="T5" fmla="*/ 25 h 352"/>
                  <a:gd name="T6" fmla="*/ 0 w 163"/>
                  <a:gd name="T7" fmla="*/ 72 h 352"/>
                  <a:gd name="T8" fmla="*/ 0 w 163"/>
                  <a:gd name="T9" fmla="*/ 281 h 352"/>
                  <a:gd name="T10" fmla="*/ 0 w 163"/>
                  <a:gd name="T11" fmla="*/ 328 h 352"/>
                  <a:gd name="T12" fmla="*/ 24 w 163"/>
                  <a:gd name="T13" fmla="*/ 352 h 352"/>
                  <a:gd name="T14" fmla="*/ 138 w 163"/>
                  <a:gd name="T15" fmla="*/ 352 h 352"/>
                  <a:gd name="T16" fmla="*/ 162 w 163"/>
                  <a:gd name="T17" fmla="*/ 328 h 352"/>
                  <a:gd name="T18" fmla="*/ 162 w 163"/>
                  <a:gd name="T19" fmla="*/ 281 h 352"/>
                  <a:gd name="T20" fmla="*/ 162 w 163"/>
                  <a:gd name="T21" fmla="*/ 72 h 352"/>
                  <a:gd name="T22" fmla="*/ 162 w 163"/>
                  <a:gd name="T23" fmla="*/ 25 h 352"/>
                  <a:gd name="T24" fmla="*/ 138 w 163"/>
                  <a:gd name="T25" fmla="*/ 0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3" h="352">
                    <a:moveTo>
                      <a:pt x="138" y="0"/>
                    </a:moveTo>
                    <a:cubicBezTo>
                      <a:pt x="24" y="0"/>
                      <a:pt x="24" y="0"/>
                      <a:pt x="24" y="0"/>
                    </a:cubicBezTo>
                    <a:cubicBezTo>
                      <a:pt x="10" y="0"/>
                      <a:pt x="0" y="12"/>
                      <a:pt x="0" y="25"/>
                    </a:cubicBezTo>
                    <a:cubicBezTo>
                      <a:pt x="0" y="72"/>
                      <a:pt x="0" y="72"/>
                      <a:pt x="0" y="72"/>
                    </a:cubicBezTo>
                    <a:cubicBezTo>
                      <a:pt x="0" y="281"/>
                      <a:pt x="0" y="281"/>
                      <a:pt x="0" y="281"/>
                    </a:cubicBezTo>
                    <a:cubicBezTo>
                      <a:pt x="0" y="328"/>
                      <a:pt x="0" y="328"/>
                      <a:pt x="0" y="328"/>
                    </a:cubicBezTo>
                    <a:cubicBezTo>
                      <a:pt x="0" y="342"/>
                      <a:pt x="11" y="352"/>
                      <a:pt x="24" y="352"/>
                    </a:cubicBezTo>
                    <a:cubicBezTo>
                      <a:pt x="138" y="352"/>
                      <a:pt x="138" y="352"/>
                      <a:pt x="138" y="352"/>
                    </a:cubicBezTo>
                    <a:cubicBezTo>
                      <a:pt x="152" y="352"/>
                      <a:pt x="162" y="341"/>
                      <a:pt x="162" y="328"/>
                    </a:cubicBezTo>
                    <a:cubicBezTo>
                      <a:pt x="162" y="281"/>
                      <a:pt x="162" y="281"/>
                      <a:pt x="162" y="281"/>
                    </a:cubicBezTo>
                    <a:cubicBezTo>
                      <a:pt x="162" y="72"/>
                      <a:pt x="162" y="72"/>
                      <a:pt x="162" y="72"/>
                    </a:cubicBezTo>
                    <a:cubicBezTo>
                      <a:pt x="162" y="25"/>
                      <a:pt x="162" y="25"/>
                      <a:pt x="162" y="25"/>
                    </a:cubicBezTo>
                    <a:cubicBezTo>
                      <a:pt x="163" y="12"/>
                      <a:pt x="152" y="0"/>
                      <a:pt x="13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sp>
            <p:nvSpPr>
              <p:cNvPr id="21" name="Freeform 18">
                <a:extLst>
                  <a:ext uri="{FF2B5EF4-FFF2-40B4-BE49-F238E27FC236}">
                    <a16:creationId xmlns:a16="http://schemas.microsoft.com/office/drawing/2014/main" id="{6B971405-AD5D-4006-B027-61B658953952}"/>
                  </a:ext>
                </a:extLst>
              </p:cNvPr>
              <p:cNvSpPr>
                <a:spLocks/>
              </p:cNvSpPr>
              <p:nvPr/>
            </p:nvSpPr>
            <p:spPr bwMode="auto">
              <a:xfrm>
                <a:off x="6216650" y="3689350"/>
                <a:ext cx="155575" cy="463550"/>
              </a:xfrm>
              <a:custGeom>
                <a:avLst/>
                <a:gdLst>
                  <a:gd name="T0" fmla="*/ 138 w 163"/>
                  <a:gd name="T1" fmla="*/ 0 h 488"/>
                  <a:gd name="T2" fmla="*/ 24 w 163"/>
                  <a:gd name="T3" fmla="*/ 0 h 488"/>
                  <a:gd name="T4" fmla="*/ 0 w 163"/>
                  <a:gd name="T5" fmla="*/ 24 h 488"/>
                  <a:gd name="T6" fmla="*/ 0 w 163"/>
                  <a:gd name="T7" fmla="*/ 208 h 488"/>
                  <a:gd name="T8" fmla="*/ 0 w 163"/>
                  <a:gd name="T9" fmla="*/ 280 h 488"/>
                  <a:gd name="T10" fmla="*/ 0 w 163"/>
                  <a:gd name="T11" fmla="*/ 464 h 488"/>
                  <a:gd name="T12" fmla="*/ 24 w 163"/>
                  <a:gd name="T13" fmla="*/ 488 h 488"/>
                  <a:gd name="T14" fmla="*/ 138 w 163"/>
                  <a:gd name="T15" fmla="*/ 488 h 488"/>
                  <a:gd name="T16" fmla="*/ 163 w 163"/>
                  <a:gd name="T17" fmla="*/ 464 h 488"/>
                  <a:gd name="T18" fmla="*/ 163 w 163"/>
                  <a:gd name="T19" fmla="*/ 280 h 488"/>
                  <a:gd name="T20" fmla="*/ 163 w 163"/>
                  <a:gd name="T21" fmla="*/ 208 h 488"/>
                  <a:gd name="T22" fmla="*/ 163 w 163"/>
                  <a:gd name="T23" fmla="*/ 25 h 488"/>
                  <a:gd name="T24" fmla="*/ 138 w 163"/>
                  <a:gd name="T25" fmla="*/ 0 h 4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3" h="488">
                    <a:moveTo>
                      <a:pt x="138" y="0"/>
                    </a:moveTo>
                    <a:cubicBezTo>
                      <a:pt x="24" y="0"/>
                      <a:pt x="24" y="0"/>
                      <a:pt x="24" y="0"/>
                    </a:cubicBezTo>
                    <a:cubicBezTo>
                      <a:pt x="11" y="0"/>
                      <a:pt x="0" y="11"/>
                      <a:pt x="0" y="24"/>
                    </a:cubicBezTo>
                    <a:cubicBezTo>
                      <a:pt x="0" y="208"/>
                      <a:pt x="0" y="208"/>
                      <a:pt x="0" y="208"/>
                    </a:cubicBezTo>
                    <a:cubicBezTo>
                      <a:pt x="0" y="280"/>
                      <a:pt x="0" y="280"/>
                      <a:pt x="0" y="280"/>
                    </a:cubicBezTo>
                    <a:cubicBezTo>
                      <a:pt x="0" y="464"/>
                      <a:pt x="0" y="464"/>
                      <a:pt x="0" y="464"/>
                    </a:cubicBezTo>
                    <a:cubicBezTo>
                      <a:pt x="0" y="478"/>
                      <a:pt x="11" y="488"/>
                      <a:pt x="24" y="488"/>
                    </a:cubicBezTo>
                    <a:cubicBezTo>
                      <a:pt x="138" y="488"/>
                      <a:pt x="138" y="488"/>
                      <a:pt x="138" y="488"/>
                    </a:cubicBezTo>
                    <a:cubicBezTo>
                      <a:pt x="152" y="488"/>
                      <a:pt x="163" y="477"/>
                      <a:pt x="163" y="464"/>
                    </a:cubicBezTo>
                    <a:cubicBezTo>
                      <a:pt x="163" y="280"/>
                      <a:pt x="163" y="280"/>
                      <a:pt x="163" y="280"/>
                    </a:cubicBezTo>
                    <a:cubicBezTo>
                      <a:pt x="163" y="208"/>
                      <a:pt x="163" y="208"/>
                      <a:pt x="163" y="208"/>
                    </a:cubicBezTo>
                    <a:cubicBezTo>
                      <a:pt x="163" y="25"/>
                      <a:pt x="163" y="25"/>
                      <a:pt x="163" y="25"/>
                    </a:cubicBezTo>
                    <a:cubicBezTo>
                      <a:pt x="163" y="11"/>
                      <a:pt x="152" y="0"/>
                      <a:pt x="13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sp>
            <p:nvSpPr>
              <p:cNvPr id="22" name="Freeform 19">
                <a:extLst>
                  <a:ext uri="{FF2B5EF4-FFF2-40B4-BE49-F238E27FC236}">
                    <a16:creationId xmlns:a16="http://schemas.microsoft.com/office/drawing/2014/main" id="{BADBC6D4-898D-42D6-82CC-BEFE5AE4FEDD}"/>
                  </a:ext>
                </a:extLst>
              </p:cNvPr>
              <p:cNvSpPr>
                <a:spLocks/>
              </p:cNvSpPr>
              <p:nvPr/>
            </p:nvSpPr>
            <p:spPr bwMode="auto">
              <a:xfrm>
                <a:off x="6338888" y="3284538"/>
                <a:ext cx="349250" cy="868363"/>
              </a:xfrm>
              <a:custGeom>
                <a:avLst/>
                <a:gdLst>
                  <a:gd name="T0" fmla="*/ 266 w 368"/>
                  <a:gd name="T1" fmla="*/ 501 h 916"/>
                  <a:gd name="T2" fmla="*/ 266 w 368"/>
                  <a:gd name="T3" fmla="*/ 298 h 916"/>
                  <a:gd name="T4" fmla="*/ 344 w 368"/>
                  <a:gd name="T5" fmla="*/ 298 h 916"/>
                  <a:gd name="T6" fmla="*/ 360 w 368"/>
                  <a:gd name="T7" fmla="*/ 270 h 916"/>
                  <a:gd name="T8" fmla="*/ 200 w 368"/>
                  <a:gd name="T9" fmla="*/ 12 h 916"/>
                  <a:gd name="T10" fmla="*/ 168 w 368"/>
                  <a:gd name="T11" fmla="*/ 12 h 916"/>
                  <a:gd name="T12" fmla="*/ 8 w 368"/>
                  <a:gd name="T13" fmla="*/ 270 h 916"/>
                  <a:gd name="T14" fmla="*/ 23 w 368"/>
                  <a:gd name="T15" fmla="*/ 298 h 916"/>
                  <a:gd name="T16" fmla="*/ 102 w 368"/>
                  <a:gd name="T17" fmla="*/ 298 h 916"/>
                  <a:gd name="T18" fmla="*/ 102 w 368"/>
                  <a:gd name="T19" fmla="*/ 892 h 916"/>
                  <a:gd name="T20" fmla="*/ 126 w 368"/>
                  <a:gd name="T21" fmla="*/ 916 h 916"/>
                  <a:gd name="T22" fmla="*/ 241 w 368"/>
                  <a:gd name="T23" fmla="*/ 916 h 916"/>
                  <a:gd name="T24" fmla="*/ 265 w 368"/>
                  <a:gd name="T25" fmla="*/ 892 h 916"/>
                  <a:gd name="T26" fmla="*/ 192 w 368"/>
                  <a:gd name="T27" fmla="*/ 696 h 916"/>
                  <a:gd name="T28" fmla="*/ 266 w 368"/>
                  <a:gd name="T29" fmla="*/ 501 h 9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8" h="916">
                    <a:moveTo>
                      <a:pt x="266" y="501"/>
                    </a:moveTo>
                    <a:cubicBezTo>
                      <a:pt x="266" y="298"/>
                      <a:pt x="266" y="298"/>
                      <a:pt x="266" y="298"/>
                    </a:cubicBezTo>
                    <a:cubicBezTo>
                      <a:pt x="344" y="298"/>
                      <a:pt x="344" y="298"/>
                      <a:pt x="344" y="298"/>
                    </a:cubicBezTo>
                    <a:cubicBezTo>
                      <a:pt x="359" y="298"/>
                      <a:pt x="368" y="282"/>
                      <a:pt x="360" y="270"/>
                    </a:cubicBezTo>
                    <a:cubicBezTo>
                      <a:pt x="200" y="12"/>
                      <a:pt x="200" y="12"/>
                      <a:pt x="200" y="12"/>
                    </a:cubicBezTo>
                    <a:cubicBezTo>
                      <a:pt x="192" y="0"/>
                      <a:pt x="175" y="0"/>
                      <a:pt x="168" y="12"/>
                    </a:cubicBezTo>
                    <a:cubicBezTo>
                      <a:pt x="8" y="270"/>
                      <a:pt x="8" y="270"/>
                      <a:pt x="8" y="270"/>
                    </a:cubicBezTo>
                    <a:cubicBezTo>
                      <a:pt x="0" y="282"/>
                      <a:pt x="9" y="298"/>
                      <a:pt x="23" y="298"/>
                    </a:cubicBezTo>
                    <a:cubicBezTo>
                      <a:pt x="102" y="298"/>
                      <a:pt x="102" y="298"/>
                      <a:pt x="102" y="298"/>
                    </a:cubicBezTo>
                    <a:cubicBezTo>
                      <a:pt x="102" y="892"/>
                      <a:pt x="102" y="892"/>
                      <a:pt x="102" y="892"/>
                    </a:cubicBezTo>
                    <a:cubicBezTo>
                      <a:pt x="102" y="906"/>
                      <a:pt x="113" y="916"/>
                      <a:pt x="126" y="916"/>
                    </a:cubicBezTo>
                    <a:cubicBezTo>
                      <a:pt x="241" y="916"/>
                      <a:pt x="241" y="916"/>
                      <a:pt x="241" y="916"/>
                    </a:cubicBezTo>
                    <a:cubicBezTo>
                      <a:pt x="254" y="916"/>
                      <a:pt x="265" y="906"/>
                      <a:pt x="265" y="892"/>
                    </a:cubicBezTo>
                    <a:cubicBezTo>
                      <a:pt x="219" y="840"/>
                      <a:pt x="192" y="771"/>
                      <a:pt x="192" y="696"/>
                    </a:cubicBezTo>
                    <a:cubicBezTo>
                      <a:pt x="192" y="622"/>
                      <a:pt x="220" y="553"/>
                      <a:pt x="266" y="5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sp>
            <p:nvSpPr>
              <p:cNvPr id="23" name="Freeform 20">
                <a:extLst>
                  <a:ext uri="{FF2B5EF4-FFF2-40B4-BE49-F238E27FC236}">
                    <a16:creationId xmlns:a16="http://schemas.microsoft.com/office/drawing/2014/main" id="{218B72AC-E809-4431-8703-0726B8137BCA}"/>
                  </a:ext>
                </a:extLst>
              </p:cNvPr>
              <p:cNvSpPr>
                <a:spLocks noEditPoints="1"/>
              </p:cNvSpPr>
              <p:nvPr/>
            </p:nvSpPr>
            <p:spPr bwMode="auto">
              <a:xfrm>
                <a:off x="6581775" y="3722688"/>
                <a:ext cx="442913" cy="442913"/>
              </a:xfrm>
              <a:custGeom>
                <a:avLst/>
                <a:gdLst>
                  <a:gd name="T0" fmla="*/ 234 w 467"/>
                  <a:gd name="T1" fmla="*/ 0 h 467"/>
                  <a:gd name="T2" fmla="*/ 0 w 467"/>
                  <a:gd name="T3" fmla="*/ 233 h 467"/>
                  <a:gd name="T4" fmla="*/ 234 w 467"/>
                  <a:gd name="T5" fmla="*/ 467 h 467"/>
                  <a:gd name="T6" fmla="*/ 467 w 467"/>
                  <a:gd name="T7" fmla="*/ 233 h 467"/>
                  <a:gd name="T8" fmla="*/ 234 w 467"/>
                  <a:gd name="T9" fmla="*/ 0 h 467"/>
                  <a:gd name="T10" fmla="*/ 301 w 467"/>
                  <a:gd name="T11" fmla="*/ 326 h 467"/>
                  <a:gd name="T12" fmla="*/ 262 w 467"/>
                  <a:gd name="T13" fmla="*/ 351 h 467"/>
                  <a:gd name="T14" fmla="*/ 252 w 467"/>
                  <a:gd name="T15" fmla="*/ 363 h 467"/>
                  <a:gd name="T16" fmla="*/ 252 w 467"/>
                  <a:gd name="T17" fmla="*/ 384 h 467"/>
                  <a:gd name="T18" fmla="*/ 243 w 467"/>
                  <a:gd name="T19" fmla="*/ 393 h 467"/>
                  <a:gd name="T20" fmla="*/ 221 w 467"/>
                  <a:gd name="T21" fmla="*/ 393 h 467"/>
                  <a:gd name="T22" fmla="*/ 211 w 467"/>
                  <a:gd name="T23" fmla="*/ 383 h 467"/>
                  <a:gd name="T24" fmla="*/ 211 w 467"/>
                  <a:gd name="T25" fmla="*/ 368 h 467"/>
                  <a:gd name="T26" fmla="*/ 200 w 467"/>
                  <a:gd name="T27" fmla="*/ 355 h 467"/>
                  <a:gd name="T28" fmla="*/ 160 w 467"/>
                  <a:gd name="T29" fmla="*/ 344 h 467"/>
                  <a:gd name="T30" fmla="*/ 152 w 467"/>
                  <a:gd name="T31" fmla="*/ 326 h 467"/>
                  <a:gd name="T32" fmla="*/ 159 w 467"/>
                  <a:gd name="T33" fmla="*/ 303 h 467"/>
                  <a:gd name="T34" fmla="*/ 172 w 467"/>
                  <a:gd name="T35" fmla="*/ 298 h 467"/>
                  <a:gd name="T36" fmla="*/ 216 w 467"/>
                  <a:gd name="T37" fmla="*/ 311 h 467"/>
                  <a:gd name="T38" fmla="*/ 245 w 467"/>
                  <a:gd name="T39" fmla="*/ 307 h 467"/>
                  <a:gd name="T40" fmla="*/ 250 w 467"/>
                  <a:gd name="T41" fmla="*/ 268 h 467"/>
                  <a:gd name="T42" fmla="*/ 234 w 467"/>
                  <a:gd name="T43" fmla="*/ 259 h 467"/>
                  <a:gd name="T44" fmla="*/ 189 w 467"/>
                  <a:gd name="T45" fmla="*/ 239 h 467"/>
                  <a:gd name="T46" fmla="*/ 153 w 467"/>
                  <a:gd name="T47" fmla="*/ 178 h 467"/>
                  <a:gd name="T48" fmla="*/ 202 w 467"/>
                  <a:gd name="T49" fmla="*/ 116 h 467"/>
                  <a:gd name="T50" fmla="*/ 214 w 467"/>
                  <a:gd name="T51" fmla="*/ 99 h 467"/>
                  <a:gd name="T52" fmla="*/ 214 w 467"/>
                  <a:gd name="T53" fmla="*/ 86 h 467"/>
                  <a:gd name="T54" fmla="*/ 225 w 467"/>
                  <a:gd name="T55" fmla="*/ 75 h 467"/>
                  <a:gd name="T56" fmla="*/ 234 w 467"/>
                  <a:gd name="T57" fmla="*/ 75 h 467"/>
                  <a:gd name="T58" fmla="*/ 254 w 467"/>
                  <a:gd name="T59" fmla="*/ 95 h 467"/>
                  <a:gd name="T60" fmla="*/ 268 w 467"/>
                  <a:gd name="T61" fmla="*/ 111 h 467"/>
                  <a:gd name="T62" fmla="*/ 299 w 467"/>
                  <a:gd name="T63" fmla="*/ 121 h 467"/>
                  <a:gd name="T64" fmla="*/ 305 w 467"/>
                  <a:gd name="T65" fmla="*/ 133 h 467"/>
                  <a:gd name="T66" fmla="*/ 297 w 467"/>
                  <a:gd name="T67" fmla="*/ 159 h 467"/>
                  <a:gd name="T68" fmla="*/ 284 w 467"/>
                  <a:gd name="T69" fmla="*/ 164 h 467"/>
                  <a:gd name="T70" fmla="*/ 234 w 467"/>
                  <a:gd name="T71" fmla="*/ 155 h 467"/>
                  <a:gd name="T72" fmla="*/ 221 w 467"/>
                  <a:gd name="T73" fmla="*/ 157 h 467"/>
                  <a:gd name="T74" fmla="*/ 216 w 467"/>
                  <a:gd name="T75" fmla="*/ 191 h 467"/>
                  <a:gd name="T76" fmla="*/ 238 w 467"/>
                  <a:gd name="T77" fmla="*/ 203 h 467"/>
                  <a:gd name="T78" fmla="*/ 277 w 467"/>
                  <a:gd name="T79" fmla="*/ 220 h 467"/>
                  <a:gd name="T80" fmla="*/ 301 w 467"/>
                  <a:gd name="T81" fmla="*/ 326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67" h="467">
                    <a:moveTo>
                      <a:pt x="234" y="0"/>
                    </a:moveTo>
                    <a:cubicBezTo>
                      <a:pt x="104" y="0"/>
                      <a:pt x="0" y="104"/>
                      <a:pt x="0" y="233"/>
                    </a:cubicBezTo>
                    <a:cubicBezTo>
                      <a:pt x="0" y="363"/>
                      <a:pt x="104" y="467"/>
                      <a:pt x="234" y="467"/>
                    </a:cubicBezTo>
                    <a:cubicBezTo>
                      <a:pt x="363" y="467"/>
                      <a:pt x="467" y="363"/>
                      <a:pt x="467" y="233"/>
                    </a:cubicBezTo>
                    <a:cubicBezTo>
                      <a:pt x="467" y="104"/>
                      <a:pt x="363" y="0"/>
                      <a:pt x="234" y="0"/>
                    </a:cubicBezTo>
                    <a:close/>
                    <a:moveTo>
                      <a:pt x="301" y="326"/>
                    </a:moveTo>
                    <a:cubicBezTo>
                      <a:pt x="291" y="338"/>
                      <a:pt x="277" y="347"/>
                      <a:pt x="262" y="351"/>
                    </a:cubicBezTo>
                    <a:cubicBezTo>
                      <a:pt x="255" y="353"/>
                      <a:pt x="252" y="356"/>
                      <a:pt x="252" y="363"/>
                    </a:cubicBezTo>
                    <a:cubicBezTo>
                      <a:pt x="253" y="370"/>
                      <a:pt x="252" y="377"/>
                      <a:pt x="252" y="384"/>
                    </a:cubicBezTo>
                    <a:cubicBezTo>
                      <a:pt x="252" y="390"/>
                      <a:pt x="249" y="393"/>
                      <a:pt x="243" y="393"/>
                    </a:cubicBezTo>
                    <a:cubicBezTo>
                      <a:pt x="236" y="393"/>
                      <a:pt x="228" y="393"/>
                      <a:pt x="221" y="393"/>
                    </a:cubicBezTo>
                    <a:cubicBezTo>
                      <a:pt x="214" y="393"/>
                      <a:pt x="211" y="389"/>
                      <a:pt x="211" y="383"/>
                    </a:cubicBezTo>
                    <a:cubicBezTo>
                      <a:pt x="211" y="378"/>
                      <a:pt x="211" y="373"/>
                      <a:pt x="211" y="368"/>
                    </a:cubicBezTo>
                    <a:cubicBezTo>
                      <a:pt x="211" y="357"/>
                      <a:pt x="211" y="357"/>
                      <a:pt x="200" y="355"/>
                    </a:cubicBezTo>
                    <a:cubicBezTo>
                      <a:pt x="186" y="353"/>
                      <a:pt x="173" y="350"/>
                      <a:pt x="160" y="344"/>
                    </a:cubicBezTo>
                    <a:cubicBezTo>
                      <a:pt x="150" y="339"/>
                      <a:pt x="150" y="337"/>
                      <a:pt x="152" y="326"/>
                    </a:cubicBezTo>
                    <a:cubicBezTo>
                      <a:pt x="154" y="319"/>
                      <a:pt x="157" y="311"/>
                      <a:pt x="159" y="303"/>
                    </a:cubicBezTo>
                    <a:cubicBezTo>
                      <a:pt x="162" y="295"/>
                      <a:pt x="164" y="293"/>
                      <a:pt x="172" y="298"/>
                    </a:cubicBezTo>
                    <a:cubicBezTo>
                      <a:pt x="186" y="305"/>
                      <a:pt x="200" y="309"/>
                      <a:pt x="216" y="311"/>
                    </a:cubicBezTo>
                    <a:cubicBezTo>
                      <a:pt x="226" y="312"/>
                      <a:pt x="236" y="311"/>
                      <a:pt x="245" y="307"/>
                    </a:cubicBezTo>
                    <a:cubicBezTo>
                      <a:pt x="262" y="300"/>
                      <a:pt x="265" y="280"/>
                      <a:pt x="250" y="268"/>
                    </a:cubicBezTo>
                    <a:cubicBezTo>
                      <a:pt x="245" y="264"/>
                      <a:pt x="240" y="261"/>
                      <a:pt x="234" y="259"/>
                    </a:cubicBezTo>
                    <a:cubicBezTo>
                      <a:pt x="218" y="252"/>
                      <a:pt x="203" y="247"/>
                      <a:pt x="189" y="239"/>
                    </a:cubicBezTo>
                    <a:cubicBezTo>
                      <a:pt x="166" y="225"/>
                      <a:pt x="151" y="206"/>
                      <a:pt x="153" y="178"/>
                    </a:cubicBezTo>
                    <a:cubicBezTo>
                      <a:pt x="155" y="146"/>
                      <a:pt x="173" y="126"/>
                      <a:pt x="202" y="116"/>
                    </a:cubicBezTo>
                    <a:cubicBezTo>
                      <a:pt x="214" y="111"/>
                      <a:pt x="214" y="112"/>
                      <a:pt x="214" y="99"/>
                    </a:cubicBezTo>
                    <a:cubicBezTo>
                      <a:pt x="214" y="95"/>
                      <a:pt x="214" y="91"/>
                      <a:pt x="214" y="86"/>
                    </a:cubicBezTo>
                    <a:cubicBezTo>
                      <a:pt x="214" y="77"/>
                      <a:pt x="216" y="75"/>
                      <a:pt x="225" y="75"/>
                    </a:cubicBezTo>
                    <a:cubicBezTo>
                      <a:pt x="228" y="75"/>
                      <a:pt x="231" y="75"/>
                      <a:pt x="234" y="75"/>
                    </a:cubicBezTo>
                    <a:cubicBezTo>
                      <a:pt x="254" y="75"/>
                      <a:pt x="254" y="75"/>
                      <a:pt x="254" y="95"/>
                    </a:cubicBezTo>
                    <a:cubicBezTo>
                      <a:pt x="254" y="109"/>
                      <a:pt x="254" y="109"/>
                      <a:pt x="268" y="111"/>
                    </a:cubicBezTo>
                    <a:cubicBezTo>
                      <a:pt x="278" y="113"/>
                      <a:pt x="289" y="116"/>
                      <a:pt x="299" y="121"/>
                    </a:cubicBezTo>
                    <a:cubicBezTo>
                      <a:pt x="304" y="123"/>
                      <a:pt x="306" y="127"/>
                      <a:pt x="305" y="133"/>
                    </a:cubicBezTo>
                    <a:cubicBezTo>
                      <a:pt x="302" y="141"/>
                      <a:pt x="300" y="150"/>
                      <a:pt x="297" y="159"/>
                    </a:cubicBezTo>
                    <a:cubicBezTo>
                      <a:pt x="294" y="167"/>
                      <a:pt x="292" y="168"/>
                      <a:pt x="284" y="164"/>
                    </a:cubicBezTo>
                    <a:cubicBezTo>
                      <a:pt x="268" y="157"/>
                      <a:pt x="252" y="153"/>
                      <a:pt x="234" y="155"/>
                    </a:cubicBezTo>
                    <a:cubicBezTo>
                      <a:pt x="230" y="155"/>
                      <a:pt x="226" y="155"/>
                      <a:pt x="221" y="157"/>
                    </a:cubicBezTo>
                    <a:cubicBezTo>
                      <a:pt x="206" y="164"/>
                      <a:pt x="204" y="181"/>
                      <a:pt x="216" y="191"/>
                    </a:cubicBezTo>
                    <a:cubicBezTo>
                      <a:pt x="223" y="196"/>
                      <a:pt x="230" y="199"/>
                      <a:pt x="238" y="203"/>
                    </a:cubicBezTo>
                    <a:cubicBezTo>
                      <a:pt x="251" y="208"/>
                      <a:pt x="264" y="213"/>
                      <a:pt x="277" y="220"/>
                    </a:cubicBezTo>
                    <a:cubicBezTo>
                      <a:pt x="318" y="241"/>
                      <a:pt x="329" y="291"/>
                      <a:pt x="301" y="3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grpSp>
        <p:grpSp>
          <p:nvGrpSpPr>
            <p:cNvPr id="24" name="Group 67">
              <a:extLst>
                <a:ext uri="{FF2B5EF4-FFF2-40B4-BE49-F238E27FC236}">
                  <a16:creationId xmlns:a16="http://schemas.microsoft.com/office/drawing/2014/main" id="{67460960-39EF-4753-B7EE-FC01EC037566}"/>
                </a:ext>
              </a:extLst>
            </p:cNvPr>
            <p:cNvGrpSpPr/>
            <p:nvPr/>
          </p:nvGrpSpPr>
          <p:grpSpPr>
            <a:xfrm>
              <a:off x="7682722" y="3157836"/>
              <a:ext cx="439380" cy="437316"/>
              <a:chOff x="9682163" y="3494088"/>
              <a:chExt cx="338137" cy="336551"/>
            </a:xfrm>
            <a:gradFill>
              <a:gsLst>
                <a:gs pos="73000">
                  <a:schemeClr val="accent1"/>
                </a:gs>
                <a:gs pos="31000">
                  <a:schemeClr val="accent1">
                    <a:lumMod val="60000"/>
                    <a:lumOff val="40000"/>
                  </a:schemeClr>
                </a:gs>
                <a:gs pos="0">
                  <a:schemeClr val="accent1">
                    <a:lumMod val="40000"/>
                    <a:lumOff val="60000"/>
                  </a:schemeClr>
                </a:gs>
              </a:gsLst>
              <a:path path="circle">
                <a:fillToRect r="100000" b="100000"/>
              </a:path>
            </a:gradFill>
          </p:grpSpPr>
          <p:sp>
            <p:nvSpPr>
              <p:cNvPr id="25" name="Rectangle 18">
                <a:extLst>
                  <a:ext uri="{FF2B5EF4-FFF2-40B4-BE49-F238E27FC236}">
                    <a16:creationId xmlns:a16="http://schemas.microsoft.com/office/drawing/2014/main" id="{513C6341-6D1D-4C04-AE21-90735A72B484}"/>
                  </a:ext>
                </a:extLst>
              </p:cNvPr>
              <p:cNvSpPr>
                <a:spLocks noChangeArrowheads="1"/>
              </p:cNvSpPr>
              <p:nvPr/>
            </p:nvSpPr>
            <p:spPr bwMode="auto">
              <a:xfrm>
                <a:off x="9836150" y="3687763"/>
                <a:ext cx="30162" cy="301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sp>
            <p:nvSpPr>
              <p:cNvPr id="26" name="Freeform 19">
                <a:extLst>
                  <a:ext uri="{FF2B5EF4-FFF2-40B4-BE49-F238E27FC236}">
                    <a16:creationId xmlns:a16="http://schemas.microsoft.com/office/drawing/2014/main" id="{112E7EE1-EC7B-40EC-BD28-B1F1289A78E0}"/>
                  </a:ext>
                </a:extLst>
              </p:cNvPr>
              <p:cNvSpPr>
                <a:spLocks noEditPoints="1"/>
              </p:cNvSpPr>
              <p:nvPr/>
            </p:nvSpPr>
            <p:spPr bwMode="auto">
              <a:xfrm>
                <a:off x="9682163" y="3494088"/>
                <a:ext cx="338137" cy="163513"/>
              </a:xfrm>
              <a:custGeom>
                <a:avLst/>
                <a:gdLst>
                  <a:gd name="T0" fmla="*/ 1955 w 2048"/>
                  <a:gd name="T1" fmla="*/ 372 h 993"/>
                  <a:gd name="T2" fmla="*/ 1427 w 2048"/>
                  <a:gd name="T3" fmla="*/ 372 h 993"/>
                  <a:gd name="T4" fmla="*/ 1427 w 2048"/>
                  <a:gd name="T5" fmla="*/ 93 h 993"/>
                  <a:gd name="T6" fmla="*/ 1334 w 2048"/>
                  <a:gd name="T7" fmla="*/ 0 h 993"/>
                  <a:gd name="T8" fmla="*/ 714 w 2048"/>
                  <a:gd name="T9" fmla="*/ 0 h 993"/>
                  <a:gd name="T10" fmla="*/ 621 w 2048"/>
                  <a:gd name="T11" fmla="*/ 93 h 993"/>
                  <a:gd name="T12" fmla="*/ 621 w 2048"/>
                  <a:gd name="T13" fmla="*/ 372 h 993"/>
                  <a:gd name="T14" fmla="*/ 93 w 2048"/>
                  <a:gd name="T15" fmla="*/ 372 h 993"/>
                  <a:gd name="T16" fmla="*/ 0 w 2048"/>
                  <a:gd name="T17" fmla="*/ 465 h 993"/>
                  <a:gd name="T18" fmla="*/ 0 w 2048"/>
                  <a:gd name="T19" fmla="*/ 781 h 993"/>
                  <a:gd name="T20" fmla="*/ 93 w 2048"/>
                  <a:gd name="T21" fmla="*/ 804 h 993"/>
                  <a:gd name="T22" fmla="*/ 186 w 2048"/>
                  <a:gd name="T23" fmla="*/ 827 h 993"/>
                  <a:gd name="T24" fmla="*/ 849 w 2048"/>
                  <a:gd name="T25" fmla="*/ 993 h 993"/>
                  <a:gd name="T26" fmla="*/ 1199 w 2048"/>
                  <a:gd name="T27" fmla="*/ 993 h 993"/>
                  <a:gd name="T28" fmla="*/ 1862 w 2048"/>
                  <a:gd name="T29" fmla="*/ 827 h 993"/>
                  <a:gd name="T30" fmla="*/ 1955 w 2048"/>
                  <a:gd name="T31" fmla="*/ 804 h 993"/>
                  <a:gd name="T32" fmla="*/ 2048 w 2048"/>
                  <a:gd name="T33" fmla="*/ 781 h 993"/>
                  <a:gd name="T34" fmla="*/ 2048 w 2048"/>
                  <a:gd name="T35" fmla="*/ 465 h 993"/>
                  <a:gd name="T36" fmla="*/ 1955 w 2048"/>
                  <a:gd name="T37" fmla="*/ 372 h 993"/>
                  <a:gd name="T38" fmla="*/ 1241 w 2048"/>
                  <a:gd name="T39" fmla="*/ 372 h 993"/>
                  <a:gd name="T40" fmla="*/ 807 w 2048"/>
                  <a:gd name="T41" fmla="*/ 372 h 993"/>
                  <a:gd name="T42" fmla="*/ 807 w 2048"/>
                  <a:gd name="T43" fmla="*/ 186 h 993"/>
                  <a:gd name="T44" fmla="*/ 1241 w 2048"/>
                  <a:gd name="T45" fmla="*/ 186 h 993"/>
                  <a:gd name="T46" fmla="*/ 1241 w 2048"/>
                  <a:gd name="T47" fmla="*/ 372 h 9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048" h="993">
                    <a:moveTo>
                      <a:pt x="1955" y="372"/>
                    </a:moveTo>
                    <a:cubicBezTo>
                      <a:pt x="1427" y="372"/>
                      <a:pt x="1427" y="372"/>
                      <a:pt x="1427" y="372"/>
                    </a:cubicBezTo>
                    <a:cubicBezTo>
                      <a:pt x="1427" y="93"/>
                      <a:pt x="1427" y="93"/>
                      <a:pt x="1427" y="93"/>
                    </a:cubicBezTo>
                    <a:cubicBezTo>
                      <a:pt x="1427" y="42"/>
                      <a:pt x="1386" y="0"/>
                      <a:pt x="1334" y="0"/>
                    </a:cubicBezTo>
                    <a:cubicBezTo>
                      <a:pt x="714" y="0"/>
                      <a:pt x="714" y="0"/>
                      <a:pt x="714" y="0"/>
                    </a:cubicBezTo>
                    <a:cubicBezTo>
                      <a:pt x="662" y="0"/>
                      <a:pt x="621" y="42"/>
                      <a:pt x="621" y="93"/>
                    </a:cubicBezTo>
                    <a:cubicBezTo>
                      <a:pt x="621" y="372"/>
                      <a:pt x="621" y="372"/>
                      <a:pt x="621" y="372"/>
                    </a:cubicBezTo>
                    <a:cubicBezTo>
                      <a:pt x="93" y="372"/>
                      <a:pt x="93" y="372"/>
                      <a:pt x="93" y="372"/>
                    </a:cubicBezTo>
                    <a:cubicBezTo>
                      <a:pt x="42" y="372"/>
                      <a:pt x="0" y="414"/>
                      <a:pt x="0" y="465"/>
                    </a:cubicBezTo>
                    <a:cubicBezTo>
                      <a:pt x="0" y="781"/>
                      <a:pt x="0" y="781"/>
                      <a:pt x="0" y="781"/>
                    </a:cubicBezTo>
                    <a:cubicBezTo>
                      <a:pt x="93" y="804"/>
                      <a:pt x="93" y="804"/>
                      <a:pt x="93" y="804"/>
                    </a:cubicBezTo>
                    <a:cubicBezTo>
                      <a:pt x="186" y="827"/>
                      <a:pt x="186" y="827"/>
                      <a:pt x="186" y="827"/>
                    </a:cubicBezTo>
                    <a:cubicBezTo>
                      <a:pt x="849" y="993"/>
                      <a:pt x="849" y="993"/>
                      <a:pt x="849" y="993"/>
                    </a:cubicBezTo>
                    <a:cubicBezTo>
                      <a:pt x="1199" y="993"/>
                      <a:pt x="1199" y="993"/>
                      <a:pt x="1199" y="993"/>
                    </a:cubicBezTo>
                    <a:cubicBezTo>
                      <a:pt x="1862" y="827"/>
                      <a:pt x="1862" y="827"/>
                      <a:pt x="1862" y="827"/>
                    </a:cubicBezTo>
                    <a:cubicBezTo>
                      <a:pt x="1955" y="804"/>
                      <a:pt x="1955" y="804"/>
                      <a:pt x="1955" y="804"/>
                    </a:cubicBezTo>
                    <a:cubicBezTo>
                      <a:pt x="2048" y="781"/>
                      <a:pt x="2048" y="781"/>
                      <a:pt x="2048" y="781"/>
                    </a:cubicBezTo>
                    <a:cubicBezTo>
                      <a:pt x="2048" y="465"/>
                      <a:pt x="2048" y="465"/>
                      <a:pt x="2048" y="465"/>
                    </a:cubicBezTo>
                    <a:cubicBezTo>
                      <a:pt x="2048" y="414"/>
                      <a:pt x="2006" y="372"/>
                      <a:pt x="1955" y="372"/>
                    </a:cubicBezTo>
                    <a:close/>
                    <a:moveTo>
                      <a:pt x="1241" y="372"/>
                    </a:moveTo>
                    <a:cubicBezTo>
                      <a:pt x="807" y="372"/>
                      <a:pt x="807" y="372"/>
                      <a:pt x="807" y="372"/>
                    </a:cubicBezTo>
                    <a:cubicBezTo>
                      <a:pt x="807" y="186"/>
                      <a:pt x="807" y="186"/>
                      <a:pt x="807" y="186"/>
                    </a:cubicBezTo>
                    <a:cubicBezTo>
                      <a:pt x="1241" y="186"/>
                      <a:pt x="1241" y="186"/>
                      <a:pt x="1241" y="186"/>
                    </a:cubicBezTo>
                    <a:lnTo>
                      <a:pt x="1241" y="3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sp>
            <p:nvSpPr>
              <p:cNvPr id="27" name="Freeform 20">
                <a:extLst>
                  <a:ext uri="{FF2B5EF4-FFF2-40B4-BE49-F238E27FC236}">
                    <a16:creationId xmlns:a16="http://schemas.microsoft.com/office/drawing/2014/main" id="{B8DACAFD-CBB6-4374-A412-E326CFAFA6A2}"/>
                  </a:ext>
                </a:extLst>
              </p:cNvPr>
              <p:cNvSpPr>
                <a:spLocks/>
              </p:cNvSpPr>
              <p:nvPr/>
            </p:nvSpPr>
            <p:spPr bwMode="auto">
              <a:xfrm>
                <a:off x="9682163" y="3654426"/>
                <a:ext cx="338137" cy="176213"/>
              </a:xfrm>
              <a:custGeom>
                <a:avLst/>
                <a:gdLst>
                  <a:gd name="T0" fmla="*/ 1955 w 2048"/>
                  <a:gd name="T1" fmla="*/ 23 h 1075"/>
                  <a:gd name="T2" fmla="*/ 1862 w 2048"/>
                  <a:gd name="T3" fmla="*/ 46 h 1075"/>
                  <a:gd name="T4" fmla="*/ 1303 w 2048"/>
                  <a:gd name="T5" fmla="*/ 186 h 1075"/>
                  <a:gd name="T6" fmla="*/ 1303 w 2048"/>
                  <a:gd name="T7" fmla="*/ 485 h 1075"/>
                  <a:gd name="T8" fmla="*/ 1210 w 2048"/>
                  <a:gd name="T9" fmla="*/ 579 h 1075"/>
                  <a:gd name="T10" fmla="*/ 838 w 2048"/>
                  <a:gd name="T11" fmla="*/ 579 h 1075"/>
                  <a:gd name="T12" fmla="*/ 745 w 2048"/>
                  <a:gd name="T13" fmla="*/ 485 h 1075"/>
                  <a:gd name="T14" fmla="*/ 745 w 2048"/>
                  <a:gd name="T15" fmla="*/ 186 h 1075"/>
                  <a:gd name="T16" fmla="*/ 186 w 2048"/>
                  <a:gd name="T17" fmla="*/ 46 h 1075"/>
                  <a:gd name="T18" fmla="*/ 93 w 2048"/>
                  <a:gd name="T19" fmla="*/ 23 h 1075"/>
                  <a:gd name="T20" fmla="*/ 0 w 2048"/>
                  <a:gd name="T21" fmla="*/ 0 h 1075"/>
                  <a:gd name="T22" fmla="*/ 0 w 2048"/>
                  <a:gd name="T23" fmla="*/ 982 h 1075"/>
                  <a:gd name="T24" fmla="*/ 93 w 2048"/>
                  <a:gd name="T25" fmla="*/ 1075 h 1075"/>
                  <a:gd name="T26" fmla="*/ 1955 w 2048"/>
                  <a:gd name="T27" fmla="*/ 1075 h 1075"/>
                  <a:gd name="T28" fmla="*/ 2048 w 2048"/>
                  <a:gd name="T29" fmla="*/ 982 h 1075"/>
                  <a:gd name="T30" fmla="*/ 2048 w 2048"/>
                  <a:gd name="T31" fmla="*/ 0 h 1075"/>
                  <a:gd name="T32" fmla="*/ 1955 w 2048"/>
                  <a:gd name="T33" fmla="*/ 23 h 10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48" h="1075">
                    <a:moveTo>
                      <a:pt x="1955" y="23"/>
                    </a:moveTo>
                    <a:cubicBezTo>
                      <a:pt x="1862" y="46"/>
                      <a:pt x="1862" y="46"/>
                      <a:pt x="1862" y="46"/>
                    </a:cubicBezTo>
                    <a:cubicBezTo>
                      <a:pt x="1303" y="186"/>
                      <a:pt x="1303" y="186"/>
                      <a:pt x="1303" y="186"/>
                    </a:cubicBezTo>
                    <a:cubicBezTo>
                      <a:pt x="1303" y="485"/>
                      <a:pt x="1303" y="485"/>
                      <a:pt x="1303" y="485"/>
                    </a:cubicBezTo>
                    <a:cubicBezTo>
                      <a:pt x="1303" y="537"/>
                      <a:pt x="1262" y="579"/>
                      <a:pt x="1210" y="579"/>
                    </a:cubicBezTo>
                    <a:cubicBezTo>
                      <a:pt x="838" y="579"/>
                      <a:pt x="838" y="579"/>
                      <a:pt x="838" y="579"/>
                    </a:cubicBezTo>
                    <a:cubicBezTo>
                      <a:pt x="786" y="579"/>
                      <a:pt x="745" y="537"/>
                      <a:pt x="745" y="485"/>
                    </a:cubicBezTo>
                    <a:cubicBezTo>
                      <a:pt x="745" y="186"/>
                      <a:pt x="745" y="186"/>
                      <a:pt x="745" y="186"/>
                    </a:cubicBezTo>
                    <a:cubicBezTo>
                      <a:pt x="186" y="46"/>
                      <a:pt x="186" y="46"/>
                      <a:pt x="186" y="46"/>
                    </a:cubicBezTo>
                    <a:cubicBezTo>
                      <a:pt x="93" y="23"/>
                      <a:pt x="93" y="23"/>
                      <a:pt x="93" y="23"/>
                    </a:cubicBezTo>
                    <a:cubicBezTo>
                      <a:pt x="0" y="0"/>
                      <a:pt x="0" y="0"/>
                      <a:pt x="0" y="0"/>
                    </a:cubicBezTo>
                    <a:cubicBezTo>
                      <a:pt x="0" y="982"/>
                      <a:pt x="0" y="982"/>
                      <a:pt x="0" y="982"/>
                    </a:cubicBezTo>
                    <a:cubicBezTo>
                      <a:pt x="0" y="1033"/>
                      <a:pt x="42" y="1075"/>
                      <a:pt x="93" y="1075"/>
                    </a:cubicBezTo>
                    <a:cubicBezTo>
                      <a:pt x="1955" y="1075"/>
                      <a:pt x="1955" y="1075"/>
                      <a:pt x="1955" y="1075"/>
                    </a:cubicBezTo>
                    <a:cubicBezTo>
                      <a:pt x="2006" y="1075"/>
                      <a:pt x="2048" y="1033"/>
                      <a:pt x="2048" y="982"/>
                    </a:cubicBezTo>
                    <a:cubicBezTo>
                      <a:pt x="2048" y="0"/>
                      <a:pt x="2048" y="0"/>
                      <a:pt x="2048" y="0"/>
                    </a:cubicBezTo>
                    <a:lnTo>
                      <a:pt x="1955" y="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Open Sans"/>
                  <a:ea typeface="+mn-ea"/>
                  <a:cs typeface="+mn-cs"/>
                </a:endParaRPr>
              </a:p>
            </p:txBody>
          </p:sp>
        </p:grpSp>
      </p:grpSp>
      <p:sp>
        <p:nvSpPr>
          <p:cNvPr id="34" name="文本框 33">
            <a:extLst>
              <a:ext uri="{FF2B5EF4-FFF2-40B4-BE49-F238E27FC236}">
                <a16:creationId xmlns:a16="http://schemas.microsoft.com/office/drawing/2014/main" id="{63128518-A5CB-42EA-96B9-B59E6F969AD0}"/>
              </a:ext>
            </a:extLst>
          </p:cNvPr>
          <p:cNvSpPr txBox="1"/>
          <p:nvPr/>
        </p:nvSpPr>
        <p:spPr>
          <a:xfrm>
            <a:off x="4278837" y="918105"/>
            <a:ext cx="3634328" cy="52322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2800" b="0" i="0" u="none" strike="noStrike" kern="1200" cap="none" spc="0" normalizeH="0" baseline="0" noProof="0" dirty="0">
                <a:ln>
                  <a:noFill/>
                </a:ln>
                <a:solidFill>
                  <a:prstClr val="black"/>
                </a:solidFill>
                <a:effectLst/>
                <a:uLnTx/>
                <a:uFillTx/>
                <a:latin typeface="HarmonyOS Sans Black"/>
                <a:ea typeface="+mj-ea"/>
                <a:cs typeface="+mn-cs"/>
              </a:rPr>
              <a:t>Process </a:t>
            </a:r>
            <a:r>
              <a:rPr kumimoji="0" lang="en-US" altLang="zh-CN" sz="2800" b="0" i="0" u="none" strike="noStrike" kern="1200" cap="none" spc="0" normalizeH="0" baseline="0" noProof="0" dirty="0">
                <a:ln>
                  <a:noFill/>
                </a:ln>
                <a:solidFill>
                  <a:schemeClr val="accent1"/>
                </a:solidFill>
                <a:effectLst/>
                <a:uLnTx/>
                <a:uFillTx/>
                <a:latin typeface="HarmonyOS Sans Black"/>
                <a:ea typeface="+mj-ea"/>
                <a:cs typeface="+mn-cs"/>
              </a:rPr>
              <a:t>infographic</a:t>
            </a:r>
          </a:p>
        </p:txBody>
      </p:sp>
      <p:sp>
        <p:nvSpPr>
          <p:cNvPr id="35" name="TextBox 65">
            <a:extLst>
              <a:ext uri="{FF2B5EF4-FFF2-40B4-BE49-F238E27FC236}">
                <a16:creationId xmlns:a16="http://schemas.microsoft.com/office/drawing/2014/main" id="{82A9524A-F1EA-4E0D-99EE-F50530543514}"/>
              </a:ext>
            </a:extLst>
          </p:cNvPr>
          <p:cNvSpPr txBox="1"/>
          <p:nvPr/>
        </p:nvSpPr>
        <p:spPr>
          <a:xfrm flipH="1">
            <a:off x="1097609" y="4690537"/>
            <a:ext cx="2063799" cy="352588"/>
          </a:xfrm>
          <a:prstGeom prst="rect">
            <a:avLst/>
          </a:prstGeom>
          <a:noFill/>
        </p:spPr>
        <p:txBody>
          <a:bodyPr wrap="square" lIns="0" tIns="36000" rIns="0" bIns="36000" rtlCol="0">
            <a:spAutoFit/>
          </a:bodyPr>
          <a:lstStyle/>
          <a:p>
            <a:pPr marL="0" marR="0" lvl="0" indent="0" algn="l" defTabSz="914400" rtl="0" eaLnBrk="1" fontAlgn="auto" latinLnBrk="0" hangingPunct="1">
              <a:lnSpc>
                <a:spcPct val="120000"/>
              </a:lnSpc>
              <a:spcBef>
                <a:spcPts val="600"/>
              </a:spcBef>
              <a:spcAft>
                <a:spcPts val="0"/>
              </a:spcAft>
              <a:buClrTx/>
              <a:buSzTx/>
              <a:buFontTx/>
              <a:buNone/>
              <a:tabLst/>
              <a:defRPr/>
            </a:pPr>
            <a:r>
              <a:rPr kumimoji="0" lang="zh-CN" altLang="en-US" sz="1600" b="0" i="0" u="none" strike="noStrike" kern="1200" cap="none" spc="0" normalizeH="0" baseline="0" noProof="0" dirty="0">
                <a:ln>
                  <a:noFill/>
                </a:ln>
                <a:solidFill>
                  <a:schemeClr val="accent1"/>
                </a:solidFill>
                <a:effectLst/>
                <a:uLnTx/>
                <a:uFillTx/>
                <a:latin typeface="HarmonyOS Sans SC Black"/>
                <a:ea typeface="+mj-ea"/>
                <a:cs typeface="+mn-cs"/>
              </a:rPr>
              <a:t>关键词标题</a:t>
            </a:r>
            <a:endParaRPr kumimoji="0" lang="en-US" sz="1600" b="0" i="0" u="none" strike="noStrike" kern="1200" cap="none" spc="0" normalizeH="0" baseline="0" noProof="0" dirty="0">
              <a:ln>
                <a:noFill/>
              </a:ln>
              <a:solidFill>
                <a:schemeClr val="accent1"/>
              </a:solidFill>
              <a:effectLst/>
              <a:uLnTx/>
              <a:uFillTx/>
              <a:latin typeface="HarmonyOS Sans SC Black"/>
              <a:ea typeface="+mj-ea"/>
              <a:cs typeface="+mn-cs"/>
            </a:endParaRPr>
          </a:p>
        </p:txBody>
      </p:sp>
      <p:sp>
        <p:nvSpPr>
          <p:cNvPr id="36" name="TextBox 65">
            <a:extLst>
              <a:ext uri="{FF2B5EF4-FFF2-40B4-BE49-F238E27FC236}">
                <a16:creationId xmlns:a16="http://schemas.microsoft.com/office/drawing/2014/main" id="{D84EB823-2374-49DF-BA68-4E204EF2A5C3}"/>
              </a:ext>
            </a:extLst>
          </p:cNvPr>
          <p:cNvSpPr txBox="1"/>
          <p:nvPr/>
        </p:nvSpPr>
        <p:spPr>
          <a:xfrm flipH="1">
            <a:off x="1097608" y="5075341"/>
            <a:ext cx="1843711" cy="462746"/>
          </a:xfrm>
          <a:prstGeom prst="rect">
            <a:avLst/>
          </a:prstGeom>
          <a:noFill/>
        </p:spPr>
        <p:txBody>
          <a:bodyPr wrap="square" lIns="0" tIns="36000" rIns="0" bIns="36000" rtlCol="0">
            <a:spAutoFit/>
          </a:bodyPr>
          <a:lstStyle/>
          <a:p>
            <a:pPr marL="0" marR="0" lvl="0" indent="0" algn="l" defTabSz="914400" rtl="0" eaLnBrk="1" fontAlgn="auto" latinLnBrk="0" hangingPunct="1">
              <a:lnSpc>
                <a:spcPct val="120000"/>
              </a:lnSpc>
              <a:spcBef>
                <a:spcPts val="600"/>
              </a:spcBef>
              <a:spcAft>
                <a:spcPts val="0"/>
              </a:spcAft>
              <a:buClrTx/>
              <a:buSzTx/>
              <a:buFontTx/>
              <a:buNone/>
              <a:tabLst/>
              <a:defRPr/>
            </a:pPr>
            <a:r>
              <a:rPr kumimoji="0" lang="en-US" sz="1100" b="0" i="0" u="none" strike="noStrike" kern="1200" cap="none" spc="0" normalizeH="0" baseline="0" noProof="0" dirty="0">
                <a:ln>
                  <a:noFill/>
                </a:ln>
                <a:solidFill>
                  <a:prstClr val="black">
                    <a:lumMod val="50000"/>
                    <a:lumOff val="50000"/>
                  </a:prstClr>
                </a:solidFill>
                <a:effectLst/>
                <a:uLnTx/>
                <a:uFillTx/>
                <a:latin typeface="HarmonyOS Sans SC"/>
                <a:cs typeface="+mn-cs"/>
              </a:rPr>
              <a:t>Apparently we had reached a great height in the.</a:t>
            </a:r>
          </a:p>
        </p:txBody>
      </p:sp>
      <p:sp>
        <p:nvSpPr>
          <p:cNvPr id="37" name="TextBox 65">
            <a:extLst>
              <a:ext uri="{FF2B5EF4-FFF2-40B4-BE49-F238E27FC236}">
                <a16:creationId xmlns:a16="http://schemas.microsoft.com/office/drawing/2014/main" id="{9C239D4E-2F6A-401A-9CC7-F64AD65212AB}"/>
              </a:ext>
            </a:extLst>
          </p:cNvPr>
          <p:cNvSpPr txBox="1"/>
          <p:nvPr/>
        </p:nvSpPr>
        <p:spPr>
          <a:xfrm flipH="1">
            <a:off x="3120385" y="4690537"/>
            <a:ext cx="2063799" cy="352588"/>
          </a:xfrm>
          <a:prstGeom prst="rect">
            <a:avLst/>
          </a:prstGeom>
          <a:noFill/>
        </p:spPr>
        <p:txBody>
          <a:bodyPr wrap="square" lIns="0" tIns="36000" rIns="0" bIns="36000" rtlCol="0">
            <a:spAutoFit/>
          </a:bodyPr>
          <a:lstStyle/>
          <a:p>
            <a:pPr marL="0" marR="0" lvl="0" indent="0" algn="l" defTabSz="914400" rtl="0" eaLnBrk="1" fontAlgn="auto" latinLnBrk="0" hangingPunct="1">
              <a:lnSpc>
                <a:spcPct val="120000"/>
              </a:lnSpc>
              <a:spcBef>
                <a:spcPts val="600"/>
              </a:spcBef>
              <a:spcAft>
                <a:spcPts val="0"/>
              </a:spcAft>
              <a:buClrTx/>
              <a:buSzTx/>
              <a:buFontTx/>
              <a:buNone/>
              <a:tabLst/>
              <a:defRPr/>
            </a:pPr>
            <a:r>
              <a:rPr kumimoji="0" lang="zh-CN" altLang="en-US" sz="1600" b="0" i="0" u="none" strike="noStrike" kern="1200" cap="none" spc="0" normalizeH="0" baseline="0" noProof="0" dirty="0">
                <a:ln>
                  <a:noFill/>
                </a:ln>
                <a:solidFill>
                  <a:schemeClr val="accent1"/>
                </a:solidFill>
                <a:effectLst/>
                <a:uLnTx/>
                <a:uFillTx/>
                <a:latin typeface="HarmonyOS Sans SC Black"/>
                <a:ea typeface="+mj-ea"/>
                <a:cs typeface="+mn-cs"/>
              </a:rPr>
              <a:t>关键词标题</a:t>
            </a:r>
            <a:endParaRPr kumimoji="0" lang="en-US" sz="1600" b="0" i="0" u="none" strike="noStrike" kern="1200" cap="none" spc="0" normalizeH="0" baseline="0" noProof="0" dirty="0">
              <a:ln>
                <a:noFill/>
              </a:ln>
              <a:solidFill>
                <a:schemeClr val="accent1"/>
              </a:solidFill>
              <a:effectLst/>
              <a:uLnTx/>
              <a:uFillTx/>
              <a:latin typeface="HarmonyOS Sans SC Black"/>
              <a:ea typeface="+mj-ea"/>
              <a:cs typeface="+mn-cs"/>
            </a:endParaRPr>
          </a:p>
        </p:txBody>
      </p:sp>
      <p:sp>
        <p:nvSpPr>
          <p:cNvPr id="38" name="TextBox 65">
            <a:extLst>
              <a:ext uri="{FF2B5EF4-FFF2-40B4-BE49-F238E27FC236}">
                <a16:creationId xmlns:a16="http://schemas.microsoft.com/office/drawing/2014/main" id="{3D742CF5-E6F4-4B10-A904-A3407CE940AD}"/>
              </a:ext>
            </a:extLst>
          </p:cNvPr>
          <p:cNvSpPr txBox="1"/>
          <p:nvPr/>
        </p:nvSpPr>
        <p:spPr>
          <a:xfrm flipH="1">
            <a:off x="3120384" y="5075341"/>
            <a:ext cx="1843711" cy="462746"/>
          </a:xfrm>
          <a:prstGeom prst="rect">
            <a:avLst/>
          </a:prstGeom>
          <a:noFill/>
        </p:spPr>
        <p:txBody>
          <a:bodyPr wrap="square" lIns="0" tIns="36000" rIns="0" bIns="36000" rtlCol="0">
            <a:spAutoFit/>
          </a:bodyPr>
          <a:lstStyle/>
          <a:p>
            <a:pPr marL="0" marR="0" lvl="0" indent="0" algn="l" defTabSz="914400" rtl="0" eaLnBrk="1" fontAlgn="auto" latinLnBrk="0" hangingPunct="1">
              <a:lnSpc>
                <a:spcPct val="120000"/>
              </a:lnSpc>
              <a:spcBef>
                <a:spcPts val="600"/>
              </a:spcBef>
              <a:spcAft>
                <a:spcPts val="0"/>
              </a:spcAft>
              <a:buClrTx/>
              <a:buSzTx/>
              <a:buFontTx/>
              <a:buNone/>
              <a:tabLst/>
              <a:defRPr/>
            </a:pPr>
            <a:r>
              <a:rPr kumimoji="0" lang="en-US" sz="1100" b="0" i="0" u="none" strike="noStrike" kern="1200" cap="none" spc="0" normalizeH="0" baseline="0" noProof="0" dirty="0">
                <a:ln>
                  <a:noFill/>
                </a:ln>
                <a:solidFill>
                  <a:prstClr val="black">
                    <a:lumMod val="50000"/>
                    <a:lumOff val="50000"/>
                  </a:prstClr>
                </a:solidFill>
                <a:effectLst/>
                <a:uLnTx/>
                <a:uFillTx/>
                <a:latin typeface="HarmonyOS Sans SC"/>
                <a:cs typeface="+mn-cs"/>
              </a:rPr>
              <a:t>Apparently we had reached a great height in the.</a:t>
            </a:r>
          </a:p>
        </p:txBody>
      </p:sp>
      <p:sp>
        <p:nvSpPr>
          <p:cNvPr id="39" name="TextBox 65">
            <a:extLst>
              <a:ext uri="{FF2B5EF4-FFF2-40B4-BE49-F238E27FC236}">
                <a16:creationId xmlns:a16="http://schemas.microsoft.com/office/drawing/2014/main" id="{BC061542-2B49-43B7-BBF9-B5BBDC6911E5}"/>
              </a:ext>
            </a:extLst>
          </p:cNvPr>
          <p:cNvSpPr txBox="1"/>
          <p:nvPr/>
        </p:nvSpPr>
        <p:spPr>
          <a:xfrm flipH="1">
            <a:off x="5143161" y="4690537"/>
            <a:ext cx="2063799" cy="352588"/>
          </a:xfrm>
          <a:prstGeom prst="rect">
            <a:avLst/>
          </a:prstGeom>
          <a:noFill/>
        </p:spPr>
        <p:txBody>
          <a:bodyPr wrap="square" lIns="0" tIns="36000" rIns="0" bIns="36000" rtlCol="0">
            <a:spAutoFit/>
          </a:bodyPr>
          <a:lstStyle/>
          <a:p>
            <a:pPr marL="0" marR="0" lvl="0" indent="0" algn="l" defTabSz="914400" rtl="0" eaLnBrk="1" fontAlgn="auto" latinLnBrk="0" hangingPunct="1">
              <a:lnSpc>
                <a:spcPct val="120000"/>
              </a:lnSpc>
              <a:spcBef>
                <a:spcPts val="600"/>
              </a:spcBef>
              <a:spcAft>
                <a:spcPts val="0"/>
              </a:spcAft>
              <a:buClrTx/>
              <a:buSzTx/>
              <a:buFontTx/>
              <a:buNone/>
              <a:tabLst/>
              <a:defRPr/>
            </a:pPr>
            <a:r>
              <a:rPr kumimoji="0" lang="zh-CN" altLang="en-US" sz="1600" b="0" i="0" u="none" strike="noStrike" kern="1200" cap="none" spc="0" normalizeH="0" baseline="0" noProof="0" dirty="0">
                <a:ln>
                  <a:noFill/>
                </a:ln>
                <a:solidFill>
                  <a:schemeClr val="accent1"/>
                </a:solidFill>
                <a:effectLst/>
                <a:uLnTx/>
                <a:uFillTx/>
                <a:latin typeface="HarmonyOS Sans SC Black"/>
                <a:ea typeface="+mj-ea"/>
                <a:cs typeface="+mn-cs"/>
              </a:rPr>
              <a:t>关键词标题</a:t>
            </a:r>
            <a:endParaRPr kumimoji="0" lang="en-US" sz="1600" b="0" i="0" u="none" strike="noStrike" kern="1200" cap="none" spc="0" normalizeH="0" baseline="0" noProof="0" dirty="0">
              <a:ln>
                <a:noFill/>
              </a:ln>
              <a:solidFill>
                <a:schemeClr val="accent1"/>
              </a:solidFill>
              <a:effectLst/>
              <a:uLnTx/>
              <a:uFillTx/>
              <a:latin typeface="HarmonyOS Sans SC Black"/>
              <a:ea typeface="+mj-ea"/>
              <a:cs typeface="+mn-cs"/>
            </a:endParaRPr>
          </a:p>
        </p:txBody>
      </p:sp>
      <p:sp>
        <p:nvSpPr>
          <p:cNvPr id="40" name="TextBox 65">
            <a:extLst>
              <a:ext uri="{FF2B5EF4-FFF2-40B4-BE49-F238E27FC236}">
                <a16:creationId xmlns:a16="http://schemas.microsoft.com/office/drawing/2014/main" id="{8504511E-B179-4C6D-B9C0-F02BC8530692}"/>
              </a:ext>
            </a:extLst>
          </p:cNvPr>
          <p:cNvSpPr txBox="1"/>
          <p:nvPr/>
        </p:nvSpPr>
        <p:spPr>
          <a:xfrm flipH="1">
            <a:off x="5143160" y="5075341"/>
            <a:ext cx="1843711" cy="462746"/>
          </a:xfrm>
          <a:prstGeom prst="rect">
            <a:avLst/>
          </a:prstGeom>
          <a:noFill/>
        </p:spPr>
        <p:txBody>
          <a:bodyPr wrap="square" lIns="0" tIns="36000" rIns="0" bIns="36000" rtlCol="0">
            <a:spAutoFit/>
          </a:bodyPr>
          <a:lstStyle/>
          <a:p>
            <a:pPr marL="0" marR="0" lvl="0" indent="0" algn="l" defTabSz="914400" rtl="0" eaLnBrk="1" fontAlgn="auto" latinLnBrk="0" hangingPunct="1">
              <a:lnSpc>
                <a:spcPct val="120000"/>
              </a:lnSpc>
              <a:spcBef>
                <a:spcPts val="600"/>
              </a:spcBef>
              <a:spcAft>
                <a:spcPts val="0"/>
              </a:spcAft>
              <a:buClrTx/>
              <a:buSzTx/>
              <a:buFontTx/>
              <a:buNone/>
              <a:tabLst/>
              <a:defRPr/>
            </a:pPr>
            <a:r>
              <a:rPr kumimoji="0" lang="en-US" sz="1100" b="0" i="0" u="none" strike="noStrike" kern="1200" cap="none" spc="0" normalizeH="0" baseline="0" noProof="0" dirty="0">
                <a:ln>
                  <a:noFill/>
                </a:ln>
                <a:solidFill>
                  <a:prstClr val="black">
                    <a:lumMod val="50000"/>
                    <a:lumOff val="50000"/>
                  </a:prstClr>
                </a:solidFill>
                <a:effectLst/>
                <a:uLnTx/>
                <a:uFillTx/>
                <a:latin typeface="HarmonyOS Sans SC"/>
                <a:cs typeface="+mn-cs"/>
              </a:rPr>
              <a:t>Apparently we had reached a great height in the.</a:t>
            </a:r>
          </a:p>
        </p:txBody>
      </p:sp>
      <p:sp>
        <p:nvSpPr>
          <p:cNvPr id="41" name="TextBox 65">
            <a:extLst>
              <a:ext uri="{FF2B5EF4-FFF2-40B4-BE49-F238E27FC236}">
                <a16:creationId xmlns:a16="http://schemas.microsoft.com/office/drawing/2014/main" id="{5CFB24F7-10FF-4763-8398-672257C6DB33}"/>
              </a:ext>
            </a:extLst>
          </p:cNvPr>
          <p:cNvSpPr txBox="1"/>
          <p:nvPr/>
        </p:nvSpPr>
        <p:spPr>
          <a:xfrm flipH="1">
            <a:off x="7165937" y="4690537"/>
            <a:ext cx="2063799" cy="352588"/>
          </a:xfrm>
          <a:prstGeom prst="rect">
            <a:avLst/>
          </a:prstGeom>
          <a:noFill/>
        </p:spPr>
        <p:txBody>
          <a:bodyPr wrap="square" lIns="0" tIns="36000" rIns="0" bIns="36000" rtlCol="0">
            <a:spAutoFit/>
          </a:bodyPr>
          <a:lstStyle/>
          <a:p>
            <a:pPr marL="0" marR="0" lvl="0" indent="0" algn="l" defTabSz="914400" rtl="0" eaLnBrk="1" fontAlgn="auto" latinLnBrk="0" hangingPunct="1">
              <a:lnSpc>
                <a:spcPct val="120000"/>
              </a:lnSpc>
              <a:spcBef>
                <a:spcPts val="600"/>
              </a:spcBef>
              <a:spcAft>
                <a:spcPts val="0"/>
              </a:spcAft>
              <a:buClrTx/>
              <a:buSzTx/>
              <a:buFontTx/>
              <a:buNone/>
              <a:tabLst/>
              <a:defRPr/>
            </a:pPr>
            <a:r>
              <a:rPr kumimoji="0" lang="zh-CN" altLang="en-US" sz="1600" b="0" i="0" u="none" strike="noStrike" kern="1200" cap="none" spc="0" normalizeH="0" baseline="0" noProof="0" dirty="0">
                <a:ln>
                  <a:noFill/>
                </a:ln>
                <a:solidFill>
                  <a:schemeClr val="accent1"/>
                </a:solidFill>
                <a:effectLst/>
                <a:uLnTx/>
                <a:uFillTx/>
                <a:latin typeface="HarmonyOS Sans SC Black"/>
                <a:ea typeface="+mj-ea"/>
                <a:cs typeface="+mn-cs"/>
              </a:rPr>
              <a:t>关键词标题</a:t>
            </a:r>
            <a:endParaRPr kumimoji="0" lang="en-US" sz="1600" b="0" i="0" u="none" strike="noStrike" kern="1200" cap="none" spc="0" normalizeH="0" baseline="0" noProof="0" dirty="0">
              <a:ln>
                <a:noFill/>
              </a:ln>
              <a:solidFill>
                <a:schemeClr val="accent1"/>
              </a:solidFill>
              <a:effectLst/>
              <a:uLnTx/>
              <a:uFillTx/>
              <a:latin typeface="HarmonyOS Sans SC Black"/>
              <a:ea typeface="+mj-ea"/>
              <a:cs typeface="+mn-cs"/>
            </a:endParaRPr>
          </a:p>
        </p:txBody>
      </p:sp>
      <p:sp>
        <p:nvSpPr>
          <p:cNvPr id="42" name="TextBox 65">
            <a:extLst>
              <a:ext uri="{FF2B5EF4-FFF2-40B4-BE49-F238E27FC236}">
                <a16:creationId xmlns:a16="http://schemas.microsoft.com/office/drawing/2014/main" id="{DBF57C85-3C52-4909-8E06-2C98AB8A3EED}"/>
              </a:ext>
            </a:extLst>
          </p:cNvPr>
          <p:cNvSpPr txBox="1"/>
          <p:nvPr/>
        </p:nvSpPr>
        <p:spPr>
          <a:xfrm flipH="1">
            <a:off x="7165936" y="5075341"/>
            <a:ext cx="1843711" cy="462746"/>
          </a:xfrm>
          <a:prstGeom prst="rect">
            <a:avLst/>
          </a:prstGeom>
          <a:noFill/>
        </p:spPr>
        <p:txBody>
          <a:bodyPr wrap="square" lIns="0" tIns="36000" rIns="0" bIns="36000" rtlCol="0">
            <a:spAutoFit/>
          </a:bodyPr>
          <a:lstStyle/>
          <a:p>
            <a:pPr marL="0" marR="0" lvl="0" indent="0" algn="l" defTabSz="914400" rtl="0" eaLnBrk="1" fontAlgn="auto" latinLnBrk="0" hangingPunct="1">
              <a:lnSpc>
                <a:spcPct val="120000"/>
              </a:lnSpc>
              <a:spcBef>
                <a:spcPts val="600"/>
              </a:spcBef>
              <a:spcAft>
                <a:spcPts val="0"/>
              </a:spcAft>
              <a:buClrTx/>
              <a:buSzTx/>
              <a:buFontTx/>
              <a:buNone/>
              <a:tabLst/>
              <a:defRPr/>
            </a:pPr>
            <a:r>
              <a:rPr kumimoji="0" lang="en-US" sz="1100" b="0" i="0" u="none" strike="noStrike" kern="1200" cap="none" spc="0" normalizeH="0" baseline="0" noProof="0" dirty="0">
                <a:ln>
                  <a:noFill/>
                </a:ln>
                <a:solidFill>
                  <a:prstClr val="black">
                    <a:lumMod val="50000"/>
                    <a:lumOff val="50000"/>
                  </a:prstClr>
                </a:solidFill>
                <a:effectLst/>
                <a:uLnTx/>
                <a:uFillTx/>
                <a:latin typeface="HarmonyOS Sans SC"/>
                <a:cs typeface="+mn-cs"/>
              </a:rPr>
              <a:t>Apparently we had reached a great height in the.</a:t>
            </a:r>
          </a:p>
        </p:txBody>
      </p:sp>
      <p:sp>
        <p:nvSpPr>
          <p:cNvPr id="43" name="TextBox 65">
            <a:extLst>
              <a:ext uri="{FF2B5EF4-FFF2-40B4-BE49-F238E27FC236}">
                <a16:creationId xmlns:a16="http://schemas.microsoft.com/office/drawing/2014/main" id="{DFE30DF1-4974-4125-86FA-48A08DCB2A90}"/>
              </a:ext>
            </a:extLst>
          </p:cNvPr>
          <p:cNvSpPr txBox="1"/>
          <p:nvPr/>
        </p:nvSpPr>
        <p:spPr>
          <a:xfrm flipH="1">
            <a:off x="9188712" y="4690537"/>
            <a:ext cx="2063799" cy="352588"/>
          </a:xfrm>
          <a:prstGeom prst="rect">
            <a:avLst/>
          </a:prstGeom>
          <a:noFill/>
        </p:spPr>
        <p:txBody>
          <a:bodyPr wrap="square" lIns="0" tIns="36000" rIns="0" bIns="36000" rtlCol="0">
            <a:spAutoFit/>
          </a:bodyPr>
          <a:lstStyle/>
          <a:p>
            <a:pPr marL="0" marR="0" lvl="0" indent="0" algn="l" defTabSz="914400" rtl="0" eaLnBrk="1" fontAlgn="auto" latinLnBrk="0" hangingPunct="1">
              <a:lnSpc>
                <a:spcPct val="120000"/>
              </a:lnSpc>
              <a:spcBef>
                <a:spcPts val="600"/>
              </a:spcBef>
              <a:spcAft>
                <a:spcPts val="0"/>
              </a:spcAft>
              <a:buClrTx/>
              <a:buSzTx/>
              <a:buFontTx/>
              <a:buNone/>
              <a:tabLst/>
              <a:defRPr/>
            </a:pPr>
            <a:r>
              <a:rPr kumimoji="0" lang="zh-CN" altLang="en-US" sz="1600" b="0" i="0" u="none" strike="noStrike" kern="1200" cap="none" spc="0" normalizeH="0" baseline="0" noProof="0" dirty="0">
                <a:ln>
                  <a:noFill/>
                </a:ln>
                <a:solidFill>
                  <a:schemeClr val="accent1"/>
                </a:solidFill>
                <a:effectLst/>
                <a:uLnTx/>
                <a:uFillTx/>
                <a:latin typeface="HarmonyOS Sans SC Black"/>
                <a:ea typeface="+mj-ea"/>
                <a:cs typeface="+mn-cs"/>
              </a:rPr>
              <a:t>关键词标题</a:t>
            </a:r>
            <a:endParaRPr kumimoji="0" lang="en-US" sz="1600" b="0" i="0" u="none" strike="noStrike" kern="1200" cap="none" spc="0" normalizeH="0" baseline="0" noProof="0" dirty="0">
              <a:ln>
                <a:noFill/>
              </a:ln>
              <a:solidFill>
                <a:schemeClr val="accent1"/>
              </a:solidFill>
              <a:effectLst/>
              <a:uLnTx/>
              <a:uFillTx/>
              <a:latin typeface="HarmonyOS Sans SC Black"/>
              <a:ea typeface="+mj-ea"/>
              <a:cs typeface="+mn-cs"/>
            </a:endParaRPr>
          </a:p>
        </p:txBody>
      </p:sp>
      <p:sp>
        <p:nvSpPr>
          <p:cNvPr id="44" name="TextBox 65">
            <a:extLst>
              <a:ext uri="{FF2B5EF4-FFF2-40B4-BE49-F238E27FC236}">
                <a16:creationId xmlns:a16="http://schemas.microsoft.com/office/drawing/2014/main" id="{0FCE76E2-CF8C-4D72-8C40-BD8F5F421157}"/>
              </a:ext>
            </a:extLst>
          </p:cNvPr>
          <p:cNvSpPr txBox="1"/>
          <p:nvPr/>
        </p:nvSpPr>
        <p:spPr>
          <a:xfrm flipH="1">
            <a:off x="9188711" y="5075341"/>
            <a:ext cx="1843711" cy="462746"/>
          </a:xfrm>
          <a:prstGeom prst="rect">
            <a:avLst/>
          </a:prstGeom>
          <a:noFill/>
        </p:spPr>
        <p:txBody>
          <a:bodyPr wrap="square" lIns="0" tIns="36000" rIns="0" bIns="36000" rtlCol="0">
            <a:spAutoFit/>
          </a:bodyPr>
          <a:lstStyle/>
          <a:p>
            <a:pPr marL="0" marR="0" lvl="0" indent="0" algn="l" defTabSz="914400" rtl="0" eaLnBrk="1" fontAlgn="auto" latinLnBrk="0" hangingPunct="1">
              <a:lnSpc>
                <a:spcPct val="120000"/>
              </a:lnSpc>
              <a:spcBef>
                <a:spcPts val="600"/>
              </a:spcBef>
              <a:spcAft>
                <a:spcPts val="0"/>
              </a:spcAft>
              <a:buClrTx/>
              <a:buSzTx/>
              <a:buFontTx/>
              <a:buNone/>
              <a:tabLst/>
              <a:defRPr/>
            </a:pPr>
            <a:r>
              <a:rPr kumimoji="0" lang="en-US" sz="1100" b="0" i="0" u="none" strike="noStrike" kern="1200" cap="none" spc="0" normalizeH="0" baseline="0" noProof="0" dirty="0">
                <a:ln>
                  <a:noFill/>
                </a:ln>
                <a:solidFill>
                  <a:prstClr val="black">
                    <a:lumMod val="50000"/>
                    <a:lumOff val="50000"/>
                  </a:prstClr>
                </a:solidFill>
                <a:effectLst/>
                <a:uLnTx/>
                <a:uFillTx/>
                <a:latin typeface="HarmonyOS Sans SC"/>
                <a:cs typeface="+mn-cs"/>
              </a:rPr>
              <a:t>Apparently we had reached a great height in the.</a:t>
            </a:r>
          </a:p>
        </p:txBody>
      </p:sp>
    </p:spTree>
    <p:extLst>
      <p:ext uri="{BB962C8B-B14F-4D97-AF65-F5344CB8AC3E}">
        <p14:creationId xmlns:p14="http://schemas.microsoft.com/office/powerpoint/2010/main" val="3922697665"/>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4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ight Triangle 61">
            <a:extLst>
              <a:ext uri="{FF2B5EF4-FFF2-40B4-BE49-F238E27FC236}">
                <a16:creationId xmlns:a16="http://schemas.microsoft.com/office/drawing/2014/main" id="{601A90E6-B27F-4C4F-BCBF-17CC2168CCA0}"/>
              </a:ext>
            </a:extLst>
          </p:cNvPr>
          <p:cNvSpPr/>
          <p:nvPr/>
        </p:nvSpPr>
        <p:spPr>
          <a:xfrm flipV="1">
            <a:off x="1055689" y="803583"/>
            <a:ext cx="72580" cy="72177"/>
          </a:xfrm>
          <a:prstGeom prst="r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HarmonyOS Sans SC"/>
              <a:cs typeface="+mn-cs"/>
            </a:endParaRPr>
          </a:p>
        </p:txBody>
      </p:sp>
      <p:sp>
        <p:nvSpPr>
          <p:cNvPr id="5" name="文本框 4">
            <a:extLst>
              <a:ext uri="{FF2B5EF4-FFF2-40B4-BE49-F238E27FC236}">
                <a16:creationId xmlns:a16="http://schemas.microsoft.com/office/drawing/2014/main" id="{59A611BC-07ED-4273-9722-33211EC457ED}"/>
              </a:ext>
            </a:extLst>
          </p:cNvPr>
          <p:cNvSpPr txBox="1"/>
          <p:nvPr/>
        </p:nvSpPr>
        <p:spPr>
          <a:xfrm>
            <a:off x="941388" y="918105"/>
            <a:ext cx="3424335"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2800" b="0" i="0" u="none" strike="noStrike" kern="1200" cap="none" spc="0" normalizeH="0" baseline="0" noProof="0" dirty="0">
                <a:ln>
                  <a:noFill/>
                </a:ln>
                <a:solidFill>
                  <a:prstClr val="black"/>
                </a:solidFill>
                <a:effectLst/>
                <a:uLnTx/>
                <a:uFillTx/>
                <a:latin typeface="HarmonyOS Sans Black"/>
                <a:ea typeface="+mj-ea"/>
                <a:cs typeface="+mn-cs"/>
              </a:rPr>
              <a:t>Arrow </a:t>
            </a:r>
            <a:r>
              <a:rPr kumimoji="0" lang="en-US" altLang="zh-CN" sz="2800" b="0" i="0" u="none" strike="noStrike" kern="1200" cap="none" spc="0" normalizeH="0" baseline="0" noProof="0" dirty="0">
                <a:ln>
                  <a:noFill/>
                </a:ln>
                <a:solidFill>
                  <a:schemeClr val="accent1"/>
                </a:solidFill>
                <a:effectLst/>
                <a:uLnTx/>
                <a:uFillTx/>
                <a:latin typeface="HarmonyOS Sans Black"/>
                <a:ea typeface="+mj-ea"/>
                <a:cs typeface="+mn-cs"/>
              </a:rPr>
              <a:t>Infographic</a:t>
            </a:r>
          </a:p>
        </p:txBody>
      </p:sp>
      <p:sp>
        <p:nvSpPr>
          <p:cNvPr id="6" name="Arrow: Right 20">
            <a:extLst>
              <a:ext uri="{FF2B5EF4-FFF2-40B4-BE49-F238E27FC236}">
                <a16:creationId xmlns:a16="http://schemas.microsoft.com/office/drawing/2014/main" id="{D118ED06-9D51-44F4-9D1C-F3B8EC356C33}"/>
              </a:ext>
            </a:extLst>
          </p:cNvPr>
          <p:cNvSpPr/>
          <p:nvPr/>
        </p:nvSpPr>
        <p:spPr>
          <a:xfrm rot="7679003" flipH="1">
            <a:off x="8114289" y="2499289"/>
            <a:ext cx="3174704" cy="2009045"/>
          </a:xfrm>
          <a:prstGeom prst="rightArrow">
            <a:avLst>
              <a:gd name="adj1" fmla="val 50000"/>
              <a:gd name="adj2" fmla="val 64718"/>
            </a:avLst>
          </a:prstGeom>
          <a:gradFill flip="none" rotWithShape="1">
            <a:gsLst>
              <a:gs pos="73000">
                <a:schemeClr val="accent1"/>
              </a:gs>
              <a:gs pos="31000">
                <a:schemeClr val="accent1">
                  <a:lumMod val="60000"/>
                  <a:lumOff val="40000"/>
                </a:schemeClr>
              </a:gs>
              <a:gs pos="0">
                <a:schemeClr val="accent1">
                  <a:lumMod val="40000"/>
                  <a:lumOff val="6000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640080" tIns="0" rIns="0" bIns="0" rtlCol="0" anchor="ctr"/>
          <a:lstStyle/>
          <a:p>
            <a:pPr marL="0" marR="0" lvl="0" indent="0" algn="l" defTabSz="914400" rtl="0" eaLnBrk="1" fontAlgn="auto" latinLnBrk="0" hangingPunct="1">
              <a:lnSpc>
                <a:spcPct val="120000"/>
              </a:lnSpc>
              <a:spcBef>
                <a:spcPts val="600"/>
              </a:spcBef>
              <a:spcAft>
                <a:spcPts val="0"/>
              </a:spcAft>
              <a:buClrTx/>
              <a:buSzTx/>
              <a:buFontTx/>
              <a:buNone/>
              <a:tabLst/>
              <a:defRPr/>
            </a:pPr>
            <a:endParaRPr kumimoji="0" lang="en-US" sz="1000" b="0" i="0" u="none" strike="noStrike" kern="1200" cap="none" spc="0" normalizeH="0" baseline="0" noProof="0" dirty="0">
              <a:ln>
                <a:noFill/>
              </a:ln>
              <a:solidFill>
                <a:srgbClr val="FFFFFF">
                  <a:alpha val="80000"/>
                </a:srgbClr>
              </a:solidFill>
              <a:effectLst/>
              <a:uLnTx/>
              <a:uFillTx/>
              <a:latin typeface="Inter"/>
              <a:ea typeface="+mn-ea"/>
              <a:cs typeface="+mn-cs"/>
            </a:endParaRPr>
          </a:p>
        </p:txBody>
      </p:sp>
      <p:sp>
        <p:nvSpPr>
          <p:cNvPr id="8" name="Freeform 6">
            <a:extLst>
              <a:ext uri="{FF2B5EF4-FFF2-40B4-BE49-F238E27FC236}">
                <a16:creationId xmlns:a16="http://schemas.microsoft.com/office/drawing/2014/main" id="{58C09322-EAF4-415C-8257-869475E0A46D}"/>
              </a:ext>
            </a:extLst>
          </p:cNvPr>
          <p:cNvSpPr>
            <a:spLocks/>
          </p:cNvSpPr>
          <p:nvPr/>
        </p:nvSpPr>
        <p:spPr bwMode="auto">
          <a:xfrm>
            <a:off x="6722748" y="3396656"/>
            <a:ext cx="2401411" cy="1670347"/>
          </a:xfrm>
          <a:custGeom>
            <a:avLst/>
            <a:gdLst>
              <a:gd name="T0" fmla="*/ 3137 w 3137"/>
              <a:gd name="T1" fmla="*/ 2182 h 2182"/>
              <a:gd name="T2" fmla="*/ 1613 w 3137"/>
              <a:gd name="T3" fmla="*/ 0 h 2182"/>
              <a:gd name="T4" fmla="*/ 0 w 3137"/>
              <a:gd name="T5" fmla="*/ 0 h 2182"/>
              <a:gd name="T6" fmla="*/ 1521 w 3137"/>
              <a:gd name="T7" fmla="*/ 2182 h 2182"/>
              <a:gd name="T8" fmla="*/ 3137 w 3137"/>
              <a:gd name="T9" fmla="*/ 2182 h 2182"/>
            </a:gdLst>
            <a:ahLst/>
            <a:cxnLst>
              <a:cxn ang="0">
                <a:pos x="T0" y="T1"/>
              </a:cxn>
              <a:cxn ang="0">
                <a:pos x="T2" y="T3"/>
              </a:cxn>
              <a:cxn ang="0">
                <a:pos x="T4" y="T5"/>
              </a:cxn>
              <a:cxn ang="0">
                <a:pos x="T6" y="T7"/>
              </a:cxn>
              <a:cxn ang="0">
                <a:pos x="T8" y="T9"/>
              </a:cxn>
            </a:cxnLst>
            <a:rect l="0" t="0" r="r" b="b"/>
            <a:pathLst>
              <a:path w="3137" h="2182">
                <a:moveTo>
                  <a:pt x="3137" y="2182"/>
                </a:moveTo>
                <a:lnTo>
                  <a:pt x="1613" y="0"/>
                </a:lnTo>
                <a:lnTo>
                  <a:pt x="0" y="0"/>
                </a:lnTo>
                <a:lnTo>
                  <a:pt x="1521" y="2182"/>
                </a:lnTo>
                <a:lnTo>
                  <a:pt x="3137" y="2182"/>
                </a:lnTo>
                <a:close/>
              </a:path>
            </a:pathLst>
          </a:custGeom>
          <a:gradFill flip="none" rotWithShape="1">
            <a:gsLst>
              <a:gs pos="52000">
                <a:schemeClr val="accent1"/>
              </a:gs>
              <a:gs pos="100000">
                <a:schemeClr val="accent1">
                  <a:lumMod val="60000"/>
                  <a:lumOff val="40000"/>
                </a:schemeClr>
              </a:gs>
            </a:gsLst>
            <a:lin ang="2700000" scaled="1"/>
            <a:tileRect/>
          </a:gradFill>
          <a:ln>
            <a:noFill/>
          </a:ln>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22222"/>
              </a:solidFill>
              <a:effectLst/>
              <a:uLnTx/>
              <a:uFillTx/>
              <a:latin typeface="Inter"/>
              <a:ea typeface="+mn-ea"/>
              <a:cs typeface="+mn-cs"/>
            </a:endParaRPr>
          </a:p>
        </p:txBody>
      </p:sp>
      <p:sp>
        <p:nvSpPr>
          <p:cNvPr id="9" name="Freeform 7">
            <a:extLst>
              <a:ext uri="{FF2B5EF4-FFF2-40B4-BE49-F238E27FC236}">
                <a16:creationId xmlns:a16="http://schemas.microsoft.com/office/drawing/2014/main" id="{1DF3A745-E80D-4EDC-948E-C02548091F1F}"/>
              </a:ext>
            </a:extLst>
          </p:cNvPr>
          <p:cNvSpPr>
            <a:spLocks/>
          </p:cNvSpPr>
          <p:nvPr/>
        </p:nvSpPr>
        <p:spPr bwMode="auto">
          <a:xfrm>
            <a:off x="4968195" y="3396656"/>
            <a:ext cx="2989324" cy="2513176"/>
          </a:xfrm>
          <a:custGeom>
            <a:avLst/>
            <a:gdLst>
              <a:gd name="T0" fmla="*/ 0 w 3905"/>
              <a:gd name="T1" fmla="*/ 3283 h 3283"/>
              <a:gd name="T2" fmla="*/ 2292 w 3905"/>
              <a:gd name="T3" fmla="*/ 0 h 3283"/>
              <a:gd name="T4" fmla="*/ 3905 w 3905"/>
              <a:gd name="T5" fmla="*/ 0 h 3283"/>
              <a:gd name="T6" fmla="*/ 1615 w 3905"/>
              <a:gd name="T7" fmla="*/ 3283 h 3283"/>
              <a:gd name="T8" fmla="*/ 0 w 3905"/>
              <a:gd name="T9" fmla="*/ 3283 h 3283"/>
            </a:gdLst>
            <a:ahLst/>
            <a:cxnLst>
              <a:cxn ang="0">
                <a:pos x="T0" y="T1"/>
              </a:cxn>
              <a:cxn ang="0">
                <a:pos x="T2" y="T3"/>
              </a:cxn>
              <a:cxn ang="0">
                <a:pos x="T4" y="T5"/>
              </a:cxn>
              <a:cxn ang="0">
                <a:pos x="T6" y="T7"/>
              </a:cxn>
              <a:cxn ang="0">
                <a:pos x="T8" y="T9"/>
              </a:cxn>
            </a:cxnLst>
            <a:rect l="0" t="0" r="r" b="b"/>
            <a:pathLst>
              <a:path w="3905" h="3283">
                <a:moveTo>
                  <a:pt x="0" y="3283"/>
                </a:moveTo>
                <a:lnTo>
                  <a:pt x="2292" y="0"/>
                </a:lnTo>
                <a:lnTo>
                  <a:pt x="3905" y="0"/>
                </a:lnTo>
                <a:lnTo>
                  <a:pt x="1615" y="3283"/>
                </a:lnTo>
                <a:lnTo>
                  <a:pt x="0" y="3283"/>
                </a:lnTo>
                <a:close/>
              </a:path>
            </a:pathLst>
          </a:custGeom>
          <a:gradFill flip="none" rotWithShape="1">
            <a:gsLst>
              <a:gs pos="73000">
                <a:schemeClr val="accent1"/>
              </a:gs>
              <a:gs pos="31000">
                <a:schemeClr val="accent1">
                  <a:lumMod val="60000"/>
                  <a:lumOff val="40000"/>
                </a:schemeClr>
              </a:gs>
              <a:gs pos="0">
                <a:schemeClr val="accent1">
                  <a:lumMod val="40000"/>
                  <a:lumOff val="60000"/>
                </a:schemeClr>
              </a:gs>
            </a:gsLst>
            <a:lin ang="10800000" scaled="1"/>
            <a:tileRect/>
          </a:gradFill>
          <a:ln>
            <a:noFill/>
          </a:ln>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22222"/>
              </a:solidFill>
              <a:effectLst/>
              <a:uLnTx/>
              <a:uFillTx/>
              <a:latin typeface="Inter"/>
              <a:ea typeface="+mn-ea"/>
              <a:cs typeface="+mn-cs"/>
            </a:endParaRPr>
          </a:p>
        </p:txBody>
      </p:sp>
      <p:sp>
        <p:nvSpPr>
          <p:cNvPr id="10" name="Freeform 8">
            <a:extLst>
              <a:ext uri="{FF2B5EF4-FFF2-40B4-BE49-F238E27FC236}">
                <a16:creationId xmlns:a16="http://schemas.microsoft.com/office/drawing/2014/main" id="{C788D022-06B4-4D79-8F5B-6AA3A9A85E6D}"/>
              </a:ext>
            </a:extLst>
          </p:cNvPr>
          <p:cNvSpPr>
            <a:spLocks/>
          </p:cNvSpPr>
          <p:nvPr/>
        </p:nvSpPr>
        <p:spPr bwMode="auto">
          <a:xfrm>
            <a:off x="3803086" y="4239485"/>
            <a:ext cx="2401411" cy="1670347"/>
          </a:xfrm>
          <a:custGeom>
            <a:avLst/>
            <a:gdLst>
              <a:gd name="T0" fmla="*/ 0 w 3137"/>
              <a:gd name="T1" fmla="*/ 0 h 2182"/>
              <a:gd name="T2" fmla="*/ 1522 w 3137"/>
              <a:gd name="T3" fmla="*/ 2182 h 2182"/>
              <a:gd name="T4" fmla="*/ 3137 w 3137"/>
              <a:gd name="T5" fmla="*/ 2182 h 2182"/>
              <a:gd name="T6" fmla="*/ 1615 w 3137"/>
              <a:gd name="T7" fmla="*/ 0 h 2182"/>
              <a:gd name="T8" fmla="*/ 0 w 3137"/>
              <a:gd name="T9" fmla="*/ 0 h 2182"/>
            </a:gdLst>
            <a:ahLst/>
            <a:cxnLst>
              <a:cxn ang="0">
                <a:pos x="T0" y="T1"/>
              </a:cxn>
              <a:cxn ang="0">
                <a:pos x="T2" y="T3"/>
              </a:cxn>
              <a:cxn ang="0">
                <a:pos x="T4" y="T5"/>
              </a:cxn>
              <a:cxn ang="0">
                <a:pos x="T6" y="T7"/>
              </a:cxn>
              <a:cxn ang="0">
                <a:pos x="T8" y="T9"/>
              </a:cxn>
            </a:cxnLst>
            <a:rect l="0" t="0" r="r" b="b"/>
            <a:pathLst>
              <a:path w="3137" h="2182">
                <a:moveTo>
                  <a:pt x="0" y="0"/>
                </a:moveTo>
                <a:lnTo>
                  <a:pt x="1522" y="2182"/>
                </a:lnTo>
                <a:lnTo>
                  <a:pt x="3137" y="2182"/>
                </a:lnTo>
                <a:lnTo>
                  <a:pt x="1615" y="0"/>
                </a:lnTo>
                <a:lnTo>
                  <a:pt x="0" y="0"/>
                </a:lnTo>
                <a:close/>
              </a:path>
            </a:pathLst>
          </a:custGeom>
          <a:gradFill flip="none" rotWithShape="1">
            <a:gsLst>
              <a:gs pos="52000">
                <a:schemeClr val="accent1"/>
              </a:gs>
              <a:gs pos="100000">
                <a:schemeClr val="accent1">
                  <a:lumMod val="60000"/>
                  <a:lumOff val="40000"/>
                </a:schemeClr>
              </a:gs>
            </a:gsLst>
            <a:lin ang="2700000" scaled="1"/>
            <a:tileRect/>
          </a:gradFill>
          <a:ln>
            <a:noFill/>
          </a:ln>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22222"/>
              </a:solidFill>
              <a:effectLst/>
              <a:uLnTx/>
              <a:uFillTx/>
              <a:latin typeface="Inter"/>
              <a:ea typeface="+mn-ea"/>
              <a:cs typeface="+mn-cs"/>
            </a:endParaRPr>
          </a:p>
        </p:txBody>
      </p:sp>
      <p:sp>
        <p:nvSpPr>
          <p:cNvPr id="11" name="Freeform 9">
            <a:extLst>
              <a:ext uri="{FF2B5EF4-FFF2-40B4-BE49-F238E27FC236}">
                <a16:creationId xmlns:a16="http://schemas.microsoft.com/office/drawing/2014/main" id="{8AFAB45F-770F-4D9B-BA56-E1C3485D521C}"/>
              </a:ext>
            </a:extLst>
          </p:cNvPr>
          <p:cNvSpPr>
            <a:spLocks/>
          </p:cNvSpPr>
          <p:nvPr/>
        </p:nvSpPr>
        <p:spPr bwMode="auto">
          <a:xfrm>
            <a:off x="3449573" y="4239485"/>
            <a:ext cx="2401411" cy="1670347"/>
          </a:xfrm>
          <a:custGeom>
            <a:avLst/>
            <a:gdLst>
              <a:gd name="T0" fmla="*/ 0 w 3137"/>
              <a:gd name="T1" fmla="*/ 0 h 2182"/>
              <a:gd name="T2" fmla="*/ 1522 w 3137"/>
              <a:gd name="T3" fmla="*/ 2182 h 2182"/>
              <a:gd name="T4" fmla="*/ 3137 w 3137"/>
              <a:gd name="T5" fmla="*/ 2182 h 2182"/>
              <a:gd name="T6" fmla="*/ 1615 w 3137"/>
              <a:gd name="T7" fmla="*/ 0 h 2182"/>
            </a:gdLst>
            <a:ahLst/>
            <a:cxnLst>
              <a:cxn ang="0">
                <a:pos x="T0" y="T1"/>
              </a:cxn>
              <a:cxn ang="0">
                <a:pos x="T2" y="T3"/>
              </a:cxn>
              <a:cxn ang="0">
                <a:pos x="T4" y="T5"/>
              </a:cxn>
              <a:cxn ang="0">
                <a:pos x="T6" y="T7"/>
              </a:cxn>
            </a:cxnLst>
            <a:rect l="0" t="0" r="r" b="b"/>
            <a:pathLst>
              <a:path w="3137" h="2182">
                <a:moveTo>
                  <a:pt x="0" y="0"/>
                </a:moveTo>
                <a:lnTo>
                  <a:pt x="1522" y="2182"/>
                </a:lnTo>
                <a:lnTo>
                  <a:pt x="3137" y="2182"/>
                </a:lnTo>
                <a:lnTo>
                  <a:pt x="161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22222"/>
              </a:solidFill>
              <a:effectLst/>
              <a:uLnTx/>
              <a:uFillTx/>
              <a:latin typeface="Inter"/>
              <a:ea typeface="+mn-ea"/>
              <a:cs typeface="+mn-cs"/>
            </a:endParaRPr>
          </a:p>
        </p:txBody>
      </p:sp>
      <p:sp>
        <p:nvSpPr>
          <p:cNvPr id="12" name="Freeform 11">
            <a:extLst>
              <a:ext uri="{FF2B5EF4-FFF2-40B4-BE49-F238E27FC236}">
                <a16:creationId xmlns:a16="http://schemas.microsoft.com/office/drawing/2014/main" id="{23FC9DDF-1076-4682-BDE7-F97D26143F27}"/>
              </a:ext>
            </a:extLst>
          </p:cNvPr>
          <p:cNvSpPr>
            <a:spLocks/>
          </p:cNvSpPr>
          <p:nvPr/>
        </p:nvSpPr>
        <p:spPr bwMode="auto">
          <a:xfrm>
            <a:off x="1957590" y="4239485"/>
            <a:ext cx="2728284" cy="2138840"/>
          </a:xfrm>
          <a:custGeom>
            <a:avLst/>
            <a:gdLst>
              <a:gd name="T0" fmla="*/ 1949 w 3564"/>
              <a:gd name="T1" fmla="*/ 0 h 2794"/>
              <a:gd name="T2" fmla="*/ 0 w 3564"/>
              <a:gd name="T3" fmla="*/ 2794 h 2794"/>
              <a:gd name="T4" fmla="*/ 1615 w 3564"/>
              <a:gd name="T5" fmla="*/ 2794 h 2794"/>
              <a:gd name="T6" fmla="*/ 3564 w 3564"/>
              <a:gd name="T7" fmla="*/ 0 h 2794"/>
            </a:gdLst>
            <a:ahLst/>
            <a:cxnLst>
              <a:cxn ang="0">
                <a:pos x="T0" y="T1"/>
              </a:cxn>
              <a:cxn ang="0">
                <a:pos x="T2" y="T3"/>
              </a:cxn>
              <a:cxn ang="0">
                <a:pos x="T4" y="T5"/>
              </a:cxn>
              <a:cxn ang="0">
                <a:pos x="T6" y="T7"/>
              </a:cxn>
            </a:cxnLst>
            <a:rect l="0" t="0" r="r" b="b"/>
            <a:pathLst>
              <a:path w="3564" h="2794">
                <a:moveTo>
                  <a:pt x="1949" y="0"/>
                </a:moveTo>
                <a:lnTo>
                  <a:pt x="0" y="2794"/>
                </a:lnTo>
                <a:lnTo>
                  <a:pt x="1615" y="2794"/>
                </a:lnTo>
                <a:lnTo>
                  <a:pt x="356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22222"/>
              </a:solidFill>
              <a:effectLst/>
              <a:uLnTx/>
              <a:uFillTx/>
              <a:latin typeface="Inter"/>
              <a:ea typeface="+mn-ea"/>
              <a:cs typeface="+mn-cs"/>
            </a:endParaRPr>
          </a:p>
        </p:txBody>
      </p:sp>
      <p:sp>
        <p:nvSpPr>
          <p:cNvPr id="13" name="TextBox 8">
            <a:extLst>
              <a:ext uri="{FF2B5EF4-FFF2-40B4-BE49-F238E27FC236}">
                <a16:creationId xmlns:a16="http://schemas.microsoft.com/office/drawing/2014/main" id="{A4AF5D61-C866-4410-8F64-AB8E7AA3419B}"/>
              </a:ext>
            </a:extLst>
          </p:cNvPr>
          <p:cNvSpPr txBox="1"/>
          <p:nvPr/>
        </p:nvSpPr>
        <p:spPr>
          <a:xfrm rot="18326868" flipH="1">
            <a:off x="5461414" y="4343185"/>
            <a:ext cx="2078651" cy="342585"/>
          </a:xfrm>
          <a:prstGeom prst="rect">
            <a:avLst/>
          </a:prstGeom>
          <a:noFill/>
        </p:spPr>
        <p:txBody>
          <a:bodyPr wrap="square" lIns="0" tIns="36000" rIns="0" bIns="36000" rtlCol="0">
            <a:spAutoFit/>
          </a:bodyPr>
          <a:lstStyle/>
          <a:p>
            <a:pPr marL="0" marR="0" lvl="0" indent="0" algn="ctr" defTabSz="914400" rtl="0" eaLnBrk="1" fontAlgn="auto" latinLnBrk="0" hangingPunct="1">
              <a:lnSpc>
                <a:spcPct val="120000"/>
              </a:lnSpc>
              <a:spcBef>
                <a:spcPts val="600"/>
              </a:spcBef>
              <a:spcAft>
                <a:spcPts val="0"/>
              </a:spcAft>
              <a:buClrTx/>
              <a:buSzTx/>
              <a:buFontTx/>
              <a:buNone/>
              <a:tabLst/>
              <a:defRPr/>
            </a:pPr>
            <a:r>
              <a:rPr kumimoji="0" lang="en-US" sz="1600" b="0" i="0" u="none" strike="noStrike" kern="1200" cap="none" spc="0" normalizeH="0" baseline="0" noProof="0" dirty="0">
                <a:ln>
                  <a:noFill/>
                </a:ln>
                <a:solidFill>
                  <a:srgbClr val="F9FBFE"/>
                </a:solidFill>
                <a:effectLst/>
                <a:uLnTx/>
                <a:uFillTx/>
                <a:latin typeface="HarmonyOS Sans SC"/>
                <a:cs typeface="+mn-cs"/>
              </a:rPr>
              <a:t>Communication</a:t>
            </a:r>
          </a:p>
        </p:txBody>
      </p:sp>
      <p:sp>
        <p:nvSpPr>
          <p:cNvPr id="14" name="TextBox 9">
            <a:extLst>
              <a:ext uri="{FF2B5EF4-FFF2-40B4-BE49-F238E27FC236}">
                <a16:creationId xmlns:a16="http://schemas.microsoft.com/office/drawing/2014/main" id="{A005DAE7-44FE-401E-BFEC-C318D2F5151D}"/>
              </a:ext>
            </a:extLst>
          </p:cNvPr>
          <p:cNvSpPr txBox="1"/>
          <p:nvPr/>
        </p:nvSpPr>
        <p:spPr>
          <a:xfrm rot="18455994" flipH="1">
            <a:off x="8914265" y="3441952"/>
            <a:ext cx="1350281" cy="342585"/>
          </a:xfrm>
          <a:prstGeom prst="rect">
            <a:avLst/>
          </a:prstGeom>
          <a:noFill/>
        </p:spPr>
        <p:txBody>
          <a:bodyPr wrap="square" lIns="0" tIns="36000" rIns="0" bIns="36000" rtlCol="0">
            <a:spAutoFit/>
          </a:bodyPr>
          <a:lstStyle/>
          <a:p>
            <a:pPr marL="0" marR="0" lvl="0" indent="0" algn="ctr" defTabSz="914400" rtl="0" eaLnBrk="1" fontAlgn="auto" latinLnBrk="0" hangingPunct="1">
              <a:lnSpc>
                <a:spcPct val="120000"/>
              </a:lnSpc>
              <a:spcBef>
                <a:spcPts val="600"/>
              </a:spcBef>
              <a:spcAft>
                <a:spcPts val="0"/>
              </a:spcAft>
              <a:buClrTx/>
              <a:buSzTx/>
              <a:buFontTx/>
              <a:buNone/>
              <a:tabLst/>
              <a:defRPr/>
            </a:pPr>
            <a:r>
              <a:rPr kumimoji="0" lang="en-US" sz="1600" b="0" i="0" u="none" strike="noStrike" kern="1200" cap="none" spc="0" normalizeH="0" baseline="0" noProof="0" dirty="0">
                <a:ln>
                  <a:noFill/>
                </a:ln>
                <a:solidFill>
                  <a:srgbClr val="F9FBFE"/>
                </a:solidFill>
                <a:effectLst/>
                <a:uLnTx/>
                <a:uFillTx/>
                <a:latin typeface="HarmonyOS Sans SC"/>
                <a:cs typeface="+mn-cs"/>
              </a:rPr>
              <a:t>Analysis</a:t>
            </a:r>
          </a:p>
        </p:txBody>
      </p:sp>
      <p:sp>
        <p:nvSpPr>
          <p:cNvPr id="19" name="Freeform 15">
            <a:extLst>
              <a:ext uri="{FF2B5EF4-FFF2-40B4-BE49-F238E27FC236}">
                <a16:creationId xmlns:a16="http://schemas.microsoft.com/office/drawing/2014/main" id="{D0CC28B7-4A18-465E-B1E2-AFAC8B146285}"/>
              </a:ext>
            </a:extLst>
          </p:cNvPr>
          <p:cNvSpPr>
            <a:spLocks/>
          </p:cNvSpPr>
          <p:nvPr/>
        </p:nvSpPr>
        <p:spPr bwMode="auto">
          <a:xfrm>
            <a:off x="1984945" y="4236591"/>
            <a:ext cx="3052061" cy="2623729"/>
          </a:xfrm>
          <a:custGeom>
            <a:avLst/>
            <a:gdLst>
              <a:gd name="T0" fmla="*/ 2359 w 3976"/>
              <a:gd name="T1" fmla="*/ 0 h 3418"/>
              <a:gd name="T2" fmla="*/ 0 w 3976"/>
              <a:gd name="T3" fmla="*/ 3418 h 3418"/>
              <a:gd name="T4" fmla="*/ 1617 w 3976"/>
              <a:gd name="T5" fmla="*/ 3418 h 3418"/>
              <a:gd name="T6" fmla="*/ 3976 w 3976"/>
              <a:gd name="T7" fmla="*/ 0 h 3418"/>
              <a:gd name="T8" fmla="*/ 2359 w 3976"/>
              <a:gd name="T9" fmla="*/ 0 h 3418"/>
            </a:gdLst>
            <a:ahLst/>
            <a:cxnLst>
              <a:cxn ang="0">
                <a:pos x="T0" y="T1"/>
              </a:cxn>
              <a:cxn ang="0">
                <a:pos x="T2" y="T3"/>
              </a:cxn>
              <a:cxn ang="0">
                <a:pos x="T4" y="T5"/>
              </a:cxn>
              <a:cxn ang="0">
                <a:pos x="T6" y="T7"/>
              </a:cxn>
              <a:cxn ang="0">
                <a:pos x="T8" y="T9"/>
              </a:cxn>
            </a:cxnLst>
            <a:rect l="0" t="0" r="r" b="b"/>
            <a:pathLst>
              <a:path w="3976" h="3418">
                <a:moveTo>
                  <a:pt x="2359" y="0"/>
                </a:moveTo>
                <a:lnTo>
                  <a:pt x="0" y="3418"/>
                </a:lnTo>
                <a:lnTo>
                  <a:pt x="1617" y="3418"/>
                </a:lnTo>
                <a:lnTo>
                  <a:pt x="3976" y="0"/>
                </a:lnTo>
                <a:lnTo>
                  <a:pt x="2359" y="0"/>
                </a:lnTo>
                <a:close/>
              </a:path>
            </a:pathLst>
          </a:custGeom>
          <a:gradFill flip="none" rotWithShape="1">
            <a:gsLst>
              <a:gs pos="73000">
                <a:schemeClr val="accent1"/>
              </a:gs>
              <a:gs pos="31000">
                <a:schemeClr val="accent1">
                  <a:lumMod val="60000"/>
                  <a:lumOff val="40000"/>
                </a:schemeClr>
              </a:gs>
              <a:gs pos="0">
                <a:schemeClr val="accent1">
                  <a:lumMod val="40000"/>
                  <a:lumOff val="60000"/>
                </a:schemeClr>
              </a:gs>
            </a:gsLst>
            <a:lin ang="1080000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22222"/>
              </a:solidFill>
              <a:effectLst/>
              <a:uLnTx/>
              <a:uFillTx/>
              <a:latin typeface="Inter"/>
              <a:ea typeface="+mn-ea"/>
              <a:cs typeface="+mn-cs"/>
            </a:endParaRPr>
          </a:p>
        </p:txBody>
      </p:sp>
      <p:sp>
        <p:nvSpPr>
          <p:cNvPr id="21" name="TextBox 16">
            <a:extLst>
              <a:ext uri="{FF2B5EF4-FFF2-40B4-BE49-F238E27FC236}">
                <a16:creationId xmlns:a16="http://schemas.microsoft.com/office/drawing/2014/main" id="{54338124-7DC5-4B28-A0AD-048E30E78BAF}"/>
              </a:ext>
            </a:extLst>
          </p:cNvPr>
          <p:cNvSpPr txBox="1"/>
          <p:nvPr/>
        </p:nvSpPr>
        <p:spPr>
          <a:xfrm rot="18326868" flipH="1">
            <a:off x="3259816" y="5173617"/>
            <a:ext cx="792070" cy="351754"/>
          </a:xfrm>
          <a:prstGeom prst="rect">
            <a:avLst/>
          </a:prstGeom>
          <a:noFill/>
        </p:spPr>
        <p:txBody>
          <a:bodyPr wrap="square" lIns="0" tIns="36000" rIns="0" bIns="36000" rtlCol="0">
            <a:spAutoFit/>
          </a:bodyPr>
          <a:lstStyle/>
          <a:p>
            <a:pPr marL="0" marR="0" lvl="0" indent="0" algn="ctr" defTabSz="914400" rtl="0" eaLnBrk="1" fontAlgn="auto" latinLnBrk="0" hangingPunct="1">
              <a:lnSpc>
                <a:spcPct val="120000"/>
              </a:lnSpc>
              <a:spcBef>
                <a:spcPts val="600"/>
              </a:spcBef>
              <a:spcAft>
                <a:spcPts val="0"/>
              </a:spcAft>
              <a:buClrTx/>
              <a:buSzTx/>
              <a:buFontTx/>
              <a:buNone/>
              <a:tabLst/>
              <a:defRPr/>
            </a:pPr>
            <a:r>
              <a:rPr kumimoji="0" lang="en-US" sz="1600" b="0" i="0" u="none" strike="noStrike" kern="1200" cap="none" spc="0" normalizeH="0" baseline="0" noProof="0" dirty="0">
                <a:ln>
                  <a:noFill/>
                </a:ln>
                <a:solidFill>
                  <a:srgbClr val="F9FBFE"/>
                </a:solidFill>
                <a:effectLst/>
                <a:uLnTx/>
                <a:uFillTx/>
                <a:latin typeface="HarmonyOS Sans SC"/>
                <a:cs typeface="+mn-cs"/>
              </a:rPr>
              <a:t>Vision</a:t>
            </a:r>
          </a:p>
        </p:txBody>
      </p:sp>
      <p:sp>
        <p:nvSpPr>
          <p:cNvPr id="22" name="TextBox 27">
            <a:extLst>
              <a:ext uri="{FF2B5EF4-FFF2-40B4-BE49-F238E27FC236}">
                <a16:creationId xmlns:a16="http://schemas.microsoft.com/office/drawing/2014/main" id="{BDA2281A-CD6D-4BD4-A742-F43F45DE26F1}"/>
              </a:ext>
            </a:extLst>
          </p:cNvPr>
          <p:cNvSpPr txBox="1"/>
          <p:nvPr/>
        </p:nvSpPr>
        <p:spPr>
          <a:xfrm>
            <a:off x="4074821" y="3680446"/>
            <a:ext cx="754772" cy="380480"/>
          </a:xfrm>
          <a:prstGeom prst="rect">
            <a:avLst/>
          </a:prstGeom>
          <a:noFill/>
        </p:spPr>
        <p:txBody>
          <a:bodyPr wrap="square" lIns="0" tIns="36000" rIns="0" bIns="36000" rtlCol="0">
            <a:spAutoFit/>
          </a:bodyPr>
          <a:lstStyle/>
          <a:p>
            <a:pPr marL="0" marR="0" lvl="0" indent="0" algn="ctr" defTabSz="914400" rtl="0" eaLnBrk="1" fontAlgn="auto" latinLnBrk="0" hangingPunct="1">
              <a:lnSpc>
                <a:spcPct val="100000"/>
              </a:lnSpc>
              <a:spcBef>
                <a:spcPts val="1000"/>
              </a:spcBef>
              <a:spcAft>
                <a:spcPts val="0"/>
              </a:spcAft>
              <a:buClrTx/>
              <a:buSzTx/>
              <a:buFontTx/>
              <a:buNone/>
              <a:tabLst/>
              <a:defRPr/>
            </a:pPr>
            <a:r>
              <a:rPr kumimoji="0" lang="en-US" sz="2000" b="1" i="0" u="none" strike="noStrike" kern="1200" cap="none" spc="0" normalizeH="0" baseline="0" noProof="0" dirty="0">
                <a:ln>
                  <a:noFill/>
                </a:ln>
                <a:solidFill>
                  <a:schemeClr val="accent1"/>
                </a:solidFill>
                <a:effectLst/>
                <a:uLnTx/>
                <a:uFillTx/>
                <a:latin typeface="HarmonyOS Sans SC Black"/>
                <a:ea typeface="+mj-ea"/>
                <a:cs typeface="+mn-cs"/>
              </a:rPr>
              <a:t>+15%</a:t>
            </a:r>
          </a:p>
        </p:txBody>
      </p:sp>
      <p:sp>
        <p:nvSpPr>
          <p:cNvPr id="23" name="TextBox 27">
            <a:extLst>
              <a:ext uri="{FF2B5EF4-FFF2-40B4-BE49-F238E27FC236}">
                <a16:creationId xmlns:a16="http://schemas.microsoft.com/office/drawing/2014/main" id="{D2B4B4E7-7279-46F9-838A-1F9C8B1A851F}"/>
              </a:ext>
            </a:extLst>
          </p:cNvPr>
          <p:cNvSpPr txBox="1"/>
          <p:nvPr/>
        </p:nvSpPr>
        <p:spPr>
          <a:xfrm>
            <a:off x="6965338" y="2900257"/>
            <a:ext cx="754772" cy="380480"/>
          </a:xfrm>
          <a:prstGeom prst="rect">
            <a:avLst/>
          </a:prstGeom>
          <a:noFill/>
        </p:spPr>
        <p:txBody>
          <a:bodyPr wrap="square" lIns="0" tIns="36000" rIns="0" bIns="36000" rtlCol="0">
            <a:spAutoFit/>
          </a:bodyPr>
          <a:lstStyle/>
          <a:p>
            <a:pPr marL="0" marR="0" lvl="0" indent="0" algn="ctr" defTabSz="914400" rtl="0" eaLnBrk="1" fontAlgn="auto" latinLnBrk="0" hangingPunct="1">
              <a:lnSpc>
                <a:spcPct val="100000"/>
              </a:lnSpc>
              <a:spcBef>
                <a:spcPts val="1000"/>
              </a:spcBef>
              <a:spcAft>
                <a:spcPts val="0"/>
              </a:spcAft>
              <a:buClrTx/>
              <a:buSzTx/>
              <a:buFontTx/>
              <a:buNone/>
              <a:tabLst/>
              <a:defRPr/>
            </a:pPr>
            <a:r>
              <a:rPr kumimoji="0" lang="en-US" sz="2000" b="1" i="0" u="none" strike="noStrike" kern="1200" cap="none" spc="0" normalizeH="0" baseline="0" noProof="0" dirty="0">
                <a:ln>
                  <a:noFill/>
                </a:ln>
                <a:solidFill>
                  <a:schemeClr val="accent1"/>
                </a:solidFill>
                <a:effectLst/>
                <a:uLnTx/>
                <a:uFillTx/>
                <a:latin typeface="HarmonyOS Sans SC Black"/>
                <a:ea typeface="+mj-ea"/>
                <a:cs typeface="+mn-cs"/>
              </a:rPr>
              <a:t>+35%</a:t>
            </a:r>
          </a:p>
        </p:txBody>
      </p:sp>
      <p:sp>
        <p:nvSpPr>
          <p:cNvPr id="24" name="TextBox 27">
            <a:extLst>
              <a:ext uri="{FF2B5EF4-FFF2-40B4-BE49-F238E27FC236}">
                <a16:creationId xmlns:a16="http://schemas.microsoft.com/office/drawing/2014/main" id="{36BA6DEA-FA83-4322-9AB6-716924DE5DCB}"/>
              </a:ext>
            </a:extLst>
          </p:cNvPr>
          <p:cNvSpPr txBox="1"/>
          <p:nvPr/>
        </p:nvSpPr>
        <p:spPr>
          <a:xfrm>
            <a:off x="10265654" y="1793770"/>
            <a:ext cx="754772" cy="380480"/>
          </a:xfrm>
          <a:prstGeom prst="rect">
            <a:avLst/>
          </a:prstGeom>
          <a:noFill/>
        </p:spPr>
        <p:txBody>
          <a:bodyPr wrap="square" lIns="0" tIns="36000" rIns="0" bIns="36000" rtlCol="0">
            <a:spAutoFit/>
          </a:bodyPr>
          <a:lstStyle/>
          <a:p>
            <a:pPr marL="0" marR="0" lvl="0" indent="0" algn="ctr" defTabSz="914400" rtl="0" eaLnBrk="1" fontAlgn="auto" latinLnBrk="0" hangingPunct="1">
              <a:lnSpc>
                <a:spcPct val="100000"/>
              </a:lnSpc>
              <a:spcBef>
                <a:spcPts val="1000"/>
              </a:spcBef>
              <a:spcAft>
                <a:spcPts val="0"/>
              </a:spcAft>
              <a:buClrTx/>
              <a:buSzTx/>
              <a:buFontTx/>
              <a:buNone/>
              <a:tabLst/>
              <a:defRPr/>
            </a:pPr>
            <a:r>
              <a:rPr kumimoji="0" lang="en-US" sz="2000" b="1" i="0" u="none" strike="noStrike" kern="1200" cap="none" spc="0" normalizeH="0" baseline="0" noProof="0" dirty="0">
                <a:ln>
                  <a:noFill/>
                </a:ln>
                <a:solidFill>
                  <a:schemeClr val="accent1"/>
                </a:solidFill>
                <a:effectLst/>
                <a:uLnTx/>
                <a:uFillTx/>
                <a:latin typeface="HarmonyOS Sans SC Black"/>
                <a:ea typeface="+mj-ea"/>
                <a:cs typeface="+mn-cs"/>
              </a:rPr>
              <a:t>+50%</a:t>
            </a:r>
          </a:p>
        </p:txBody>
      </p:sp>
    </p:spTree>
    <p:extLst>
      <p:ext uri="{BB962C8B-B14F-4D97-AF65-F5344CB8AC3E}">
        <p14:creationId xmlns:p14="http://schemas.microsoft.com/office/powerpoint/2010/main" val="3053384410"/>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4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4">
            <a:extLst>
              <a:ext uri="{FF2B5EF4-FFF2-40B4-BE49-F238E27FC236}">
                <a16:creationId xmlns:a16="http://schemas.microsoft.com/office/drawing/2014/main" id="{EEA75FCC-F669-442F-8946-61350CAC0AD4}"/>
              </a:ext>
            </a:extLst>
          </p:cNvPr>
          <p:cNvSpPr>
            <a:spLocks/>
          </p:cNvSpPr>
          <p:nvPr/>
        </p:nvSpPr>
        <p:spPr bwMode="auto">
          <a:xfrm>
            <a:off x="1409700" y="2610280"/>
            <a:ext cx="3125636" cy="1564268"/>
          </a:xfrm>
          <a:custGeom>
            <a:avLst/>
            <a:gdLst>
              <a:gd name="T0" fmla="*/ 455 w 910"/>
              <a:gd name="T1" fmla="*/ 0 h 455"/>
              <a:gd name="T2" fmla="*/ 0 w 910"/>
              <a:gd name="T3" fmla="*/ 455 h 455"/>
              <a:gd name="T4" fmla="*/ 303 w 910"/>
              <a:gd name="T5" fmla="*/ 455 h 455"/>
              <a:gd name="T6" fmla="*/ 455 w 910"/>
              <a:gd name="T7" fmla="*/ 303 h 455"/>
              <a:gd name="T8" fmla="*/ 606 w 910"/>
              <a:gd name="T9" fmla="*/ 455 h 455"/>
              <a:gd name="T10" fmla="*/ 910 w 910"/>
              <a:gd name="T11" fmla="*/ 455 h 455"/>
              <a:gd name="T12" fmla="*/ 455 w 910"/>
              <a:gd name="T13" fmla="*/ 0 h 455"/>
            </a:gdLst>
            <a:ahLst/>
            <a:cxnLst>
              <a:cxn ang="0">
                <a:pos x="T0" y="T1"/>
              </a:cxn>
              <a:cxn ang="0">
                <a:pos x="T2" y="T3"/>
              </a:cxn>
              <a:cxn ang="0">
                <a:pos x="T4" y="T5"/>
              </a:cxn>
              <a:cxn ang="0">
                <a:pos x="T6" y="T7"/>
              </a:cxn>
              <a:cxn ang="0">
                <a:pos x="T8" y="T9"/>
              </a:cxn>
              <a:cxn ang="0">
                <a:pos x="T10" y="T11"/>
              </a:cxn>
              <a:cxn ang="0">
                <a:pos x="T12" y="T13"/>
              </a:cxn>
            </a:cxnLst>
            <a:rect l="0" t="0" r="r" b="b"/>
            <a:pathLst>
              <a:path w="910" h="455">
                <a:moveTo>
                  <a:pt x="455" y="0"/>
                </a:moveTo>
                <a:cubicBezTo>
                  <a:pt x="204" y="0"/>
                  <a:pt x="0" y="204"/>
                  <a:pt x="0" y="455"/>
                </a:cubicBezTo>
                <a:cubicBezTo>
                  <a:pt x="303" y="455"/>
                  <a:pt x="303" y="455"/>
                  <a:pt x="303" y="455"/>
                </a:cubicBezTo>
                <a:cubicBezTo>
                  <a:pt x="303" y="371"/>
                  <a:pt x="371" y="303"/>
                  <a:pt x="455" y="303"/>
                </a:cubicBezTo>
                <a:cubicBezTo>
                  <a:pt x="539" y="303"/>
                  <a:pt x="606" y="371"/>
                  <a:pt x="606" y="455"/>
                </a:cubicBezTo>
                <a:cubicBezTo>
                  <a:pt x="910" y="455"/>
                  <a:pt x="910" y="455"/>
                  <a:pt x="910" y="455"/>
                </a:cubicBezTo>
                <a:cubicBezTo>
                  <a:pt x="910" y="204"/>
                  <a:pt x="706" y="0"/>
                  <a:pt x="455" y="0"/>
                </a:cubicBezTo>
                <a:close/>
              </a:path>
            </a:pathLst>
          </a:custGeom>
          <a:gradFill flip="none" rotWithShape="1">
            <a:gsLst>
              <a:gs pos="73000">
                <a:schemeClr val="accent1"/>
              </a:gs>
              <a:gs pos="31000">
                <a:schemeClr val="accent1">
                  <a:lumMod val="60000"/>
                  <a:lumOff val="40000"/>
                </a:schemeClr>
              </a:gs>
              <a:gs pos="0">
                <a:schemeClr val="accent1">
                  <a:lumMod val="40000"/>
                  <a:lumOff val="60000"/>
                </a:schemeClr>
              </a:gs>
            </a:gsLst>
            <a:lin ang="0" scaled="1"/>
            <a:tileRect/>
          </a:gradFill>
          <a:ln>
            <a:noFill/>
          </a:ln>
          <a:effectLst>
            <a:outerShdw blurRad="444500" dist="317500" dir="5400000" sx="92000" sy="92000" algn="t" rotWithShape="0">
              <a:schemeClr val="accent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HarmonyOS Sans SC"/>
              <a:cs typeface="+mn-cs"/>
            </a:endParaRPr>
          </a:p>
        </p:txBody>
      </p:sp>
      <p:sp>
        <p:nvSpPr>
          <p:cNvPr id="3" name="Freeform 15">
            <a:extLst>
              <a:ext uri="{FF2B5EF4-FFF2-40B4-BE49-F238E27FC236}">
                <a16:creationId xmlns:a16="http://schemas.microsoft.com/office/drawing/2014/main" id="{500E6E6F-11EE-4FF9-BC07-AA458459E973}"/>
              </a:ext>
            </a:extLst>
          </p:cNvPr>
          <p:cNvSpPr>
            <a:spLocks/>
          </p:cNvSpPr>
          <p:nvPr/>
        </p:nvSpPr>
        <p:spPr bwMode="auto">
          <a:xfrm>
            <a:off x="3490555" y="4174548"/>
            <a:ext cx="3125636" cy="1561366"/>
          </a:xfrm>
          <a:custGeom>
            <a:avLst/>
            <a:gdLst>
              <a:gd name="T0" fmla="*/ 607 w 910"/>
              <a:gd name="T1" fmla="*/ 0 h 454"/>
              <a:gd name="T2" fmla="*/ 455 w 910"/>
              <a:gd name="T3" fmla="*/ 151 h 454"/>
              <a:gd name="T4" fmla="*/ 304 w 910"/>
              <a:gd name="T5" fmla="*/ 0 h 454"/>
              <a:gd name="T6" fmla="*/ 0 w 910"/>
              <a:gd name="T7" fmla="*/ 0 h 454"/>
              <a:gd name="T8" fmla="*/ 455 w 910"/>
              <a:gd name="T9" fmla="*/ 454 h 454"/>
              <a:gd name="T10" fmla="*/ 910 w 910"/>
              <a:gd name="T11" fmla="*/ 0 h 454"/>
              <a:gd name="T12" fmla="*/ 607 w 910"/>
              <a:gd name="T13" fmla="*/ 0 h 454"/>
            </a:gdLst>
            <a:ahLst/>
            <a:cxnLst>
              <a:cxn ang="0">
                <a:pos x="T0" y="T1"/>
              </a:cxn>
              <a:cxn ang="0">
                <a:pos x="T2" y="T3"/>
              </a:cxn>
              <a:cxn ang="0">
                <a:pos x="T4" y="T5"/>
              </a:cxn>
              <a:cxn ang="0">
                <a:pos x="T6" y="T7"/>
              </a:cxn>
              <a:cxn ang="0">
                <a:pos x="T8" y="T9"/>
              </a:cxn>
              <a:cxn ang="0">
                <a:pos x="T10" y="T11"/>
              </a:cxn>
              <a:cxn ang="0">
                <a:pos x="T12" y="T13"/>
              </a:cxn>
            </a:cxnLst>
            <a:rect l="0" t="0" r="r" b="b"/>
            <a:pathLst>
              <a:path w="910" h="454">
                <a:moveTo>
                  <a:pt x="607" y="0"/>
                </a:moveTo>
                <a:cubicBezTo>
                  <a:pt x="607" y="83"/>
                  <a:pt x="539" y="151"/>
                  <a:pt x="455" y="151"/>
                </a:cubicBezTo>
                <a:cubicBezTo>
                  <a:pt x="371" y="151"/>
                  <a:pt x="304" y="83"/>
                  <a:pt x="304" y="0"/>
                </a:cubicBezTo>
                <a:cubicBezTo>
                  <a:pt x="0" y="0"/>
                  <a:pt x="0" y="0"/>
                  <a:pt x="0" y="0"/>
                </a:cubicBezTo>
                <a:cubicBezTo>
                  <a:pt x="0" y="250"/>
                  <a:pt x="204" y="454"/>
                  <a:pt x="455" y="454"/>
                </a:cubicBezTo>
                <a:cubicBezTo>
                  <a:pt x="706" y="454"/>
                  <a:pt x="910" y="250"/>
                  <a:pt x="910" y="0"/>
                </a:cubicBezTo>
                <a:lnTo>
                  <a:pt x="607" y="0"/>
                </a:lnTo>
                <a:close/>
              </a:path>
            </a:pathLst>
          </a:custGeom>
          <a:gradFill flip="none" rotWithShape="1">
            <a:gsLst>
              <a:gs pos="73000">
                <a:schemeClr val="accent1"/>
              </a:gs>
              <a:gs pos="31000">
                <a:schemeClr val="accent1">
                  <a:lumMod val="60000"/>
                  <a:lumOff val="40000"/>
                </a:schemeClr>
              </a:gs>
              <a:gs pos="0">
                <a:schemeClr val="accent1">
                  <a:lumMod val="40000"/>
                  <a:lumOff val="60000"/>
                </a:schemeClr>
              </a:gs>
            </a:gsLst>
            <a:lin ang="0" scaled="1"/>
            <a:tileRect/>
          </a:gradFill>
          <a:ln>
            <a:noFill/>
          </a:ln>
          <a:effectLst>
            <a:outerShdw blurRad="444500" dist="317500" dir="5400000" sx="92000" sy="92000" algn="t" rotWithShape="0">
              <a:schemeClr val="accent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HarmonyOS Sans SC"/>
              <a:cs typeface="+mn-cs"/>
            </a:endParaRPr>
          </a:p>
        </p:txBody>
      </p:sp>
      <p:sp>
        <p:nvSpPr>
          <p:cNvPr id="4" name="Freeform 14">
            <a:extLst>
              <a:ext uri="{FF2B5EF4-FFF2-40B4-BE49-F238E27FC236}">
                <a16:creationId xmlns:a16="http://schemas.microsoft.com/office/drawing/2014/main" id="{74E26A1D-154E-4519-9C06-CA72FBB4087C}"/>
              </a:ext>
            </a:extLst>
          </p:cNvPr>
          <p:cNvSpPr>
            <a:spLocks/>
          </p:cNvSpPr>
          <p:nvPr/>
        </p:nvSpPr>
        <p:spPr bwMode="auto">
          <a:xfrm>
            <a:off x="5575810" y="2610280"/>
            <a:ext cx="3125636" cy="1564268"/>
          </a:xfrm>
          <a:custGeom>
            <a:avLst/>
            <a:gdLst>
              <a:gd name="T0" fmla="*/ 455 w 910"/>
              <a:gd name="T1" fmla="*/ 0 h 455"/>
              <a:gd name="T2" fmla="*/ 0 w 910"/>
              <a:gd name="T3" fmla="*/ 455 h 455"/>
              <a:gd name="T4" fmla="*/ 303 w 910"/>
              <a:gd name="T5" fmla="*/ 455 h 455"/>
              <a:gd name="T6" fmla="*/ 455 w 910"/>
              <a:gd name="T7" fmla="*/ 303 h 455"/>
              <a:gd name="T8" fmla="*/ 606 w 910"/>
              <a:gd name="T9" fmla="*/ 455 h 455"/>
              <a:gd name="T10" fmla="*/ 910 w 910"/>
              <a:gd name="T11" fmla="*/ 455 h 455"/>
              <a:gd name="T12" fmla="*/ 455 w 910"/>
              <a:gd name="T13" fmla="*/ 0 h 455"/>
            </a:gdLst>
            <a:ahLst/>
            <a:cxnLst>
              <a:cxn ang="0">
                <a:pos x="T0" y="T1"/>
              </a:cxn>
              <a:cxn ang="0">
                <a:pos x="T2" y="T3"/>
              </a:cxn>
              <a:cxn ang="0">
                <a:pos x="T4" y="T5"/>
              </a:cxn>
              <a:cxn ang="0">
                <a:pos x="T6" y="T7"/>
              </a:cxn>
              <a:cxn ang="0">
                <a:pos x="T8" y="T9"/>
              </a:cxn>
              <a:cxn ang="0">
                <a:pos x="T10" y="T11"/>
              </a:cxn>
              <a:cxn ang="0">
                <a:pos x="T12" y="T13"/>
              </a:cxn>
            </a:cxnLst>
            <a:rect l="0" t="0" r="r" b="b"/>
            <a:pathLst>
              <a:path w="910" h="455">
                <a:moveTo>
                  <a:pt x="455" y="0"/>
                </a:moveTo>
                <a:cubicBezTo>
                  <a:pt x="204" y="0"/>
                  <a:pt x="0" y="204"/>
                  <a:pt x="0" y="455"/>
                </a:cubicBezTo>
                <a:cubicBezTo>
                  <a:pt x="303" y="455"/>
                  <a:pt x="303" y="455"/>
                  <a:pt x="303" y="455"/>
                </a:cubicBezTo>
                <a:cubicBezTo>
                  <a:pt x="303" y="371"/>
                  <a:pt x="371" y="303"/>
                  <a:pt x="455" y="303"/>
                </a:cubicBezTo>
                <a:cubicBezTo>
                  <a:pt x="539" y="303"/>
                  <a:pt x="606" y="371"/>
                  <a:pt x="606" y="455"/>
                </a:cubicBezTo>
                <a:cubicBezTo>
                  <a:pt x="910" y="455"/>
                  <a:pt x="910" y="455"/>
                  <a:pt x="910" y="455"/>
                </a:cubicBezTo>
                <a:cubicBezTo>
                  <a:pt x="910" y="204"/>
                  <a:pt x="706" y="0"/>
                  <a:pt x="455" y="0"/>
                </a:cubicBezTo>
                <a:close/>
              </a:path>
            </a:pathLst>
          </a:custGeom>
          <a:gradFill flip="none" rotWithShape="1">
            <a:gsLst>
              <a:gs pos="73000">
                <a:schemeClr val="accent1"/>
              </a:gs>
              <a:gs pos="31000">
                <a:schemeClr val="accent1">
                  <a:lumMod val="60000"/>
                  <a:lumOff val="40000"/>
                </a:schemeClr>
              </a:gs>
              <a:gs pos="0">
                <a:schemeClr val="accent1">
                  <a:lumMod val="40000"/>
                  <a:lumOff val="60000"/>
                </a:schemeClr>
              </a:gs>
            </a:gsLst>
            <a:lin ang="0" scaled="1"/>
            <a:tileRect/>
          </a:gradFill>
          <a:ln>
            <a:noFill/>
          </a:ln>
          <a:effectLst>
            <a:outerShdw blurRad="444500" dist="317500" dir="5400000" sx="92000" sy="92000" algn="t" rotWithShape="0">
              <a:schemeClr val="accent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HarmonyOS Sans SC"/>
              <a:cs typeface="+mn-cs"/>
            </a:endParaRPr>
          </a:p>
        </p:txBody>
      </p:sp>
      <p:sp>
        <p:nvSpPr>
          <p:cNvPr id="5" name="Freeform 15">
            <a:extLst>
              <a:ext uri="{FF2B5EF4-FFF2-40B4-BE49-F238E27FC236}">
                <a16:creationId xmlns:a16="http://schemas.microsoft.com/office/drawing/2014/main" id="{726082AF-7382-4FB5-B0AD-6D2E8C762653}"/>
              </a:ext>
            </a:extLst>
          </p:cNvPr>
          <p:cNvSpPr>
            <a:spLocks/>
          </p:cNvSpPr>
          <p:nvPr/>
        </p:nvSpPr>
        <p:spPr bwMode="auto">
          <a:xfrm>
            <a:off x="7661980" y="4174548"/>
            <a:ext cx="3125636" cy="1561366"/>
          </a:xfrm>
          <a:custGeom>
            <a:avLst/>
            <a:gdLst>
              <a:gd name="T0" fmla="*/ 607 w 910"/>
              <a:gd name="T1" fmla="*/ 0 h 454"/>
              <a:gd name="T2" fmla="*/ 455 w 910"/>
              <a:gd name="T3" fmla="*/ 151 h 454"/>
              <a:gd name="T4" fmla="*/ 304 w 910"/>
              <a:gd name="T5" fmla="*/ 0 h 454"/>
              <a:gd name="T6" fmla="*/ 0 w 910"/>
              <a:gd name="T7" fmla="*/ 0 h 454"/>
              <a:gd name="T8" fmla="*/ 455 w 910"/>
              <a:gd name="T9" fmla="*/ 454 h 454"/>
              <a:gd name="T10" fmla="*/ 910 w 910"/>
              <a:gd name="T11" fmla="*/ 0 h 454"/>
              <a:gd name="T12" fmla="*/ 607 w 910"/>
              <a:gd name="T13" fmla="*/ 0 h 454"/>
            </a:gdLst>
            <a:ahLst/>
            <a:cxnLst>
              <a:cxn ang="0">
                <a:pos x="T0" y="T1"/>
              </a:cxn>
              <a:cxn ang="0">
                <a:pos x="T2" y="T3"/>
              </a:cxn>
              <a:cxn ang="0">
                <a:pos x="T4" y="T5"/>
              </a:cxn>
              <a:cxn ang="0">
                <a:pos x="T6" y="T7"/>
              </a:cxn>
              <a:cxn ang="0">
                <a:pos x="T8" y="T9"/>
              </a:cxn>
              <a:cxn ang="0">
                <a:pos x="T10" y="T11"/>
              </a:cxn>
              <a:cxn ang="0">
                <a:pos x="T12" y="T13"/>
              </a:cxn>
            </a:cxnLst>
            <a:rect l="0" t="0" r="r" b="b"/>
            <a:pathLst>
              <a:path w="910" h="454">
                <a:moveTo>
                  <a:pt x="607" y="0"/>
                </a:moveTo>
                <a:cubicBezTo>
                  <a:pt x="607" y="83"/>
                  <a:pt x="539" y="151"/>
                  <a:pt x="455" y="151"/>
                </a:cubicBezTo>
                <a:cubicBezTo>
                  <a:pt x="371" y="151"/>
                  <a:pt x="304" y="83"/>
                  <a:pt x="304" y="0"/>
                </a:cubicBezTo>
                <a:cubicBezTo>
                  <a:pt x="0" y="0"/>
                  <a:pt x="0" y="0"/>
                  <a:pt x="0" y="0"/>
                </a:cubicBezTo>
                <a:cubicBezTo>
                  <a:pt x="0" y="250"/>
                  <a:pt x="204" y="454"/>
                  <a:pt x="455" y="454"/>
                </a:cubicBezTo>
                <a:cubicBezTo>
                  <a:pt x="706" y="454"/>
                  <a:pt x="910" y="250"/>
                  <a:pt x="910" y="0"/>
                </a:cubicBezTo>
                <a:lnTo>
                  <a:pt x="607" y="0"/>
                </a:lnTo>
                <a:close/>
              </a:path>
            </a:pathLst>
          </a:custGeom>
          <a:gradFill flip="none" rotWithShape="1">
            <a:gsLst>
              <a:gs pos="73000">
                <a:schemeClr val="accent1"/>
              </a:gs>
              <a:gs pos="31000">
                <a:schemeClr val="accent1">
                  <a:lumMod val="60000"/>
                  <a:lumOff val="40000"/>
                </a:schemeClr>
              </a:gs>
              <a:gs pos="0">
                <a:schemeClr val="accent1">
                  <a:lumMod val="40000"/>
                  <a:lumOff val="60000"/>
                </a:schemeClr>
              </a:gs>
            </a:gsLst>
            <a:lin ang="0" scaled="1"/>
            <a:tileRect/>
          </a:gradFill>
          <a:ln>
            <a:noFill/>
          </a:ln>
          <a:effectLst>
            <a:outerShdw blurRad="444500" dist="317500" dir="5400000" sx="92000" sy="92000" algn="t" rotWithShape="0">
              <a:schemeClr val="accent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HarmonyOS Sans SC"/>
              <a:cs typeface="+mn-cs"/>
            </a:endParaRPr>
          </a:p>
        </p:txBody>
      </p:sp>
      <p:sp>
        <p:nvSpPr>
          <p:cNvPr id="6" name="TextBox 16">
            <a:extLst>
              <a:ext uri="{FF2B5EF4-FFF2-40B4-BE49-F238E27FC236}">
                <a16:creationId xmlns:a16="http://schemas.microsoft.com/office/drawing/2014/main" id="{961BC18B-56A2-43A1-A732-7173919B0C4E}"/>
              </a:ext>
            </a:extLst>
          </p:cNvPr>
          <p:cNvSpPr txBox="1"/>
          <p:nvPr/>
        </p:nvSpPr>
        <p:spPr>
          <a:xfrm>
            <a:off x="1114925" y="4452650"/>
            <a:ext cx="2345330"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44546A">
                    <a:lumMod val="50000"/>
                  </a:srgbClr>
                </a:solidFill>
                <a:effectLst/>
                <a:uLnTx/>
                <a:uFillTx/>
                <a:latin typeface="HarmonyOS Sans SC Black"/>
                <a:ea typeface="+mj-ea"/>
                <a:cs typeface="Poppins" panose="00000500000000000000" pitchFamily="50" charset="0"/>
              </a:rPr>
              <a:t>Detail 1</a:t>
            </a:r>
            <a:endParaRPr kumimoji="0" lang="id-ID" sz="1800" b="0" i="0" u="none" strike="noStrike" kern="1200" cap="none" spc="0" normalizeH="0" baseline="0" noProof="0" dirty="0">
              <a:ln>
                <a:noFill/>
              </a:ln>
              <a:solidFill>
                <a:srgbClr val="44546A">
                  <a:lumMod val="50000"/>
                </a:srgbClr>
              </a:solidFill>
              <a:effectLst/>
              <a:uLnTx/>
              <a:uFillTx/>
              <a:latin typeface="HarmonyOS Sans SC Black"/>
              <a:ea typeface="+mj-ea"/>
              <a:cs typeface="Poppins" panose="00000500000000000000" pitchFamily="50" charset="0"/>
            </a:endParaRPr>
          </a:p>
        </p:txBody>
      </p:sp>
      <p:sp>
        <p:nvSpPr>
          <p:cNvPr id="7" name="Rectangle 17">
            <a:extLst>
              <a:ext uri="{FF2B5EF4-FFF2-40B4-BE49-F238E27FC236}">
                <a16:creationId xmlns:a16="http://schemas.microsoft.com/office/drawing/2014/main" id="{0A1F7E82-F6F4-4CFF-9B33-4958CDFF34F5}"/>
              </a:ext>
            </a:extLst>
          </p:cNvPr>
          <p:cNvSpPr/>
          <p:nvPr/>
        </p:nvSpPr>
        <p:spPr>
          <a:xfrm>
            <a:off x="1073227" y="4795040"/>
            <a:ext cx="2423768" cy="482376"/>
          </a:xfrm>
          <a:prstGeom prst="rect">
            <a:avLst/>
          </a:prstGeom>
        </p:spPr>
        <p:txBody>
          <a:bodyPr wrap="square">
            <a:spAutoFit/>
          </a:body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44546A">
                    <a:lumMod val="50000"/>
                  </a:srgbClr>
                </a:solidFill>
                <a:effectLst/>
                <a:uLnTx/>
                <a:uFillTx/>
                <a:latin typeface="HarmonyOS Sans SC"/>
                <a:cs typeface="Segoe UI" panose="020B0502040204020203" pitchFamily="34" charset="0"/>
              </a:rPr>
              <a:t>A wonderful serenity has taken possession of my entire</a:t>
            </a:r>
          </a:p>
        </p:txBody>
      </p:sp>
      <p:sp>
        <p:nvSpPr>
          <p:cNvPr id="8" name="TextBox 20">
            <a:extLst>
              <a:ext uri="{FF2B5EF4-FFF2-40B4-BE49-F238E27FC236}">
                <a16:creationId xmlns:a16="http://schemas.microsoft.com/office/drawing/2014/main" id="{56926349-76ED-4702-AB98-242626160A05}"/>
              </a:ext>
            </a:extLst>
          </p:cNvPr>
          <p:cNvSpPr txBox="1"/>
          <p:nvPr/>
        </p:nvSpPr>
        <p:spPr>
          <a:xfrm>
            <a:off x="3880708" y="2246914"/>
            <a:ext cx="2345330"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44546A">
                    <a:lumMod val="50000"/>
                  </a:srgbClr>
                </a:solidFill>
                <a:effectLst/>
                <a:uLnTx/>
                <a:uFillTx/>
                <a:latin typeface="HarmonyOS Sans SC Black"/>
                <a:ea typeface="+mj-ea"/>
                <a:cs typeface="Poppins" panose="00000500000000000000" pitchFamily="50" charset="0"/>
              </a:rPr>
              <a:t>Detail 2</a:t>
            </a:r>
            <a:endParaRPr kumimoji="0" lang="id-ID" sz="1800" b="0" i="0" u="none" strike="noStrike" kern="1200" cap="none" spc="0" normalizeH="0" baseline="0" noProof="0" dirty="0">
              <a:ln>
                <a:noFill/>
              </a:ln>
              <a:solidFill>
                <a:srgbClr val="44546A">
                  <a:lumMod val="50000"/>
                </a:srgbClr>
              </a:solidFill>
              <a:effectLst/>
              <a:uLnTx/>
              <a:uFillTx/>
              <a:latin typeface="HarmonyOS Sans SC Black"/>
              <a:ea typeface="+mj-ea"/>
              <a:cs typeface="Poppins" panose="00000500000000000000" pitchFamily="50" charset="0"/>
            </a:endParaRPr>
          </a:p>
        </p:txBody>
      </p:sp>
      <p:sp>
        <p:nvSpPr>
          <p:cNvPr id="9" name="Rectangle 21">
            <a:extLst>
              <a:ext uri="{FF2B5EF4-FFF2-40B4-BE49-F238E27FC236}">
                <a16:creationId xmlns:a16="http://schemas.microsoft.com/office/drawing/2014/main" id="{E7BA464B-0386-453F-AF65-CE9FD8790FC7}"/>
              </a:ext>
            </a:extLst>
          </p:cNvPr>
          <p:cNvSpPr/>
          <p:nvPr/>
        </p:nvSpPr>
        <p:spPr>
          <a:xfrm>
            <a:off x="3841489" y="2589304"/>
            <a:ext cx="2423768" cy="482376"/>
          </a:xfrm>
          <a:prstGeom prst="rect">
            <a:avLst/>
          </a:prstGeom>
        </p:spPr>
        <p:txBody>
          <a:bodyPr wrap="square">
            <a:spAutoFit/>
          </a:body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44546A">
                    <a:lumMod val="50000"/>
                  </a:srgbClr>
                </a:solidFill>
                <a:effectLst/>
                <a:uLnTx/>
                <a:uFillTx/>
                <a:latin typeface="HarmonyOS Sans SC"/>
                <a:cs typeface="Segoe UI" panose="020B0502040204020203" pitchFamily="34" charset="0"/>
              </a:rPr>
              <a:t>A wonderful serenity has taken possession of my entire</a:t>
            </a:r>
          </a:p>
        </p:txBody>
      </p:sp>
      <p:sp>
        <p:nvSpPr>
          <p:cNvPr id="10" name="TextBox 22">
            <a:extLst>
              <a:ext uri="{FF2B5EF4-FFF2-40B4-BE49-F238E27FC236}">
                <a16:creationId xmlns:a16="http://schemas.microsoft.com/office/drawing/2014/main" id="{45C40E8F-328D-4B59-9CFA-F64F055242C3}"/>
              </a:ext>
            </a:extLst>
          </p:cNvPr>
          <p:cNvSpPr txBox="1"/>
          <p:nvPr/>
        </p:nvSpPr>
        <p:spPr>
          <a:xfrm>
            <a:off x="5927202" y="5058831"/>
            <a:ext cx="2345330"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44546A">
                    <a:lumMod val="50000"/>
                  </a:srgbClr>
                </a:solidFill>
                <a:effectLst/>
                <a:uLnTx/>
                <a:uFillTx/>
                <a:latin typeface="HarmonyOS Sans SC Black"/>
                <a:ea typeface="+mj-ea"/>
                <a:cs typeface="Poppins" panose="00000500000000000000" pitchFamily="50" charset="0"/>
              </a:rPr>
              <a:t>Detail 3</a:t>
            </a:r>
            <a:endParaRPr kumimoji="0" lang="id-ID" sz="1800" b="0" i="0" u="none" strike="noStrike" kern="1200" cap="none" spc="0" normalizeH="0" baseline="0" noProof="0" dirty="0">
              <a:ln>
                <a:noFill/>
              </a:ln>
              <a:solidFill>
                <a:srgbClr val="44546A">
                  <a:lumMod val="50000"/>
                </a:srgbClr>
              </a:solidFill>
              <a:effectLst/>
              <a:uLnTx/>
              <a:uFillTx/>
              <a:latin typeface="HarmonyOS Sans SC Black"/>
              <a:ea typeface="+mj-ea"/>
              <a:cs typeface="Poppins" panose="00000500000000000000" pitchFamily="50" charset="0"/>
            </a:endParaRPr>
          </a:p>
        </p:txBody>
      </p:sp>
      <p:sp>
        <p:nvSpPr>
          <p:cNvPr id="11" name="Rectangle 23">
            <a:extLst>
              <a:ext uri="{FF2B5EF4-FFF2-40B4-BE49-F238E27FC236}">
                <a16:creationId xmlns:a16="http://schemas.microsoft.com/office/drawing/2014/main" id="{11AEAA57-8719-4C06-B46D-3B66D59083A6}"/>
              </a:ext>
            </a:extLst>
          </p:cNvPr>
          <p:cNvSpPr/>
          <p:nvPr/>
        </p:nvSpPr>
        <p:spPr>
          <a:xfrm>
            <a:off x="5885504" y="5401221"/>
            <a:ext cx="2423768" cy="482376"/>
          </a:xfrm>
          <a:prstGeom prst="rect">
            <a:avLst/>
          </a:prstGeom>
        </p:spPr>
        <p:txBody>
          <a:bodyPr wrap="square">
            <a:spAutoFit/>
          </a:body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44546A">
                    <a:lumMod val="50000"/>
                  </a:srgbClr>
                </a:solidFill>
                <a:effectLst/>
                <a:uLnTx/>
                <a:uFillTx/>
                <a:latin typeface="HarmonyOS Sans SC"/>
                <a:cs typeface="Segoe UI" panose="020B0502040204020203" pitchFamily="34" charset="0"/>
              </a:rPr>
              <a:t>A wonderful serenity has taken possession of my entire</a:t>
            </a:r>
          </a:p>
        </p:txBody>
      </p:sp>
      <p:sp>
        <p:nvSpPr>
          <p:cNvPr id="12" name="TextBox 24">
            <a:extLst>
              <a:ext uri="{FF2B5EF4-FFF2-40B4-BE49-F238E27FC236}">
                <a16:creationId xmlns:a16="http://schemas.microsoft.com/office/drawing/2014/main" id="{E9A5F4AA-B787-4EE8-8ACD-BE849DCAC21B}"/>
              </a:ext>
            </a:extLst>
          </p:cNvPr>
          <p:cNvSpPr txBox="1"/>
          <p:nvPr/>
        </p:nvSpPr>
        <p:spPr>
          <a:xfrm>
            <a:off x="8915733" y="3001750"/>
            <a:ext cx="2345330"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44546A">
                    <a:lumMod val="50000"/>
                  </a:srgbClr>
                </a:solidFill>
                <a:effectLst/>
                <a:uLnTx/>
                <a:uFillTx/>
                <a:latin typeface="HarmonyOS Sans SC Black"/>
                <a:ea typeface="+mj-ea"/>
                <a:cs typeface="Poppins" panose="00000500000000000000" pitchFamily="50" charset="0"/>
              </a:rPr>
              <a:t>Detail 4</a:t>
            </a:r>
            <a:endParaRPr kumimoji="0" lang="id-ID" sz="1800" b="0" i="0" u="none" strike="noStrike" kern="1200" cap="none" spc="0" normalizeH="0" baseline="0" noProof="0" dirty="0">
              <a:ln>
                <a:noFill/>
              </a:ln>
              <a:solidFill>
                <a:srgbClr val="44546A">
                  <a:lumMod val="50000"/>
                </a:srgbClr>
              </a:solidFill>
              <a:effectLst/>
              <a:uLnTx/>
              <a:uFillTx/>
              <a:latin typeface="HarmonyOS Sans SC Black"/>
              <a:ea typeface="+mj-ea"/>
              <a:cs typeface="Poppins" panose="00000500000000000000" pitchFamily="50" charset="0"/>
            </a:endParaRPr>
          </a:p>
        </p:txBody>
      </p:sp>
      <p:sp>
        <p:nvSpPr>
          <p:cNvPr id="13" name="Rectangle 25">
            <a:extLst>
              <a:ext uri="{FF2B5EF4-FFF2-40B4-BE49-F238E27FC236}">
                <a16:creationId xmlns:a16="http://schemas.microsoft.com/office/drawing/2014/main" id="{BA13EC33-639E-4E03-A7DE-A4F043833867}"/>
              </a:ext>
            </a:extLst>
          </p:cNvPr>
          <p:cNvSpPr/>
          <p:nvPr/>
        </p:nvSpPr>
        <p:spPr>
          <a:xfrm>
            <a:off x="8876514" y="3344140"/>
            <a:ext cx="2423768" cy="482376"/>
          </a:xfrm>
          <a:prstGeom prst="rect">
            <a:avLst/>
          </a:prstGeom>
        </p:spPr>
        <p:txBody>
          <a:bodyPr wrap="square">
            <a:spAutoFit/>
          </a:body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44546A">
                    <a:lumMod val="50000"/>
                  </a:srgbClr>
                </a:solidFill>
                <a:effectLst/>
                <a:uLnTx/>
                <a:uFillTx/>
                <a:latin typeface="HarmonyOS Sans SC"/>
                <a:cs typeface="Segoe UI" panose="020B0502040204020203" pitchFamily="34" charset="0"/>
              </a:rPr>
              <a:t>A wonderful serenity has taken possession of my entire</a:t>
            </a:r>
          </a:p>
        </p:txBody>
      </p:sp>
      <p:sp>
        <p:nvSpPr>
          <p:cNvPr id="17" name="文本框 16">
            <a:extLst>
              <a:ext uri="{FF2B5EF4-FFF2-40B4-BE49-F238E27FC236}">
                <a16:creationId xmlns:a16="http://schemas.microsoft.com/office/drawing/2014/main" id="{CDEB7D2A-1C2A-49E8-82B5-74D724909511}"/>
              </a:ext>
            </a:extLst>
          </p:cNvPr>
          <p:cNvSpPr txBox="1"/>
          <p:nvPr/>
        </p:nvSpPr>
        <p:spPr>
          <a:xfrm>
            <a:off x="4608252" y="918105"/>
            <a:ext cx="2975495" cy="52322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2800" b="0" i="0" u="none" strike="noStrike" kern="1200" cap="none" spc="0" normalizeH="0" baseline="0" noProof="0" dirty="0">
                <a:ln>
                  <a:noFill/>
                </a:ln>
                <a:solidFill>
                  <a:prstClr val="black"/>
                </a:solidFill>
                <a:effectLst/>
                <a:uLnTx/>
                <a:uFillTx/>
                <a:latin typeface="HarmonyOS Sans Black"/>
                <a:ea typeface="+mj-ea"/>
                <a:cs typeface="+mn-cs"/>
              </a:rPr>
              <a:t>Our </a:t>
            </a:r>
            <a:r>
              <a:rPr kumimoji="0" lang="en-US" altLang="zh-CN" sz="2800" b="0" i="0" u="none" strike="noStrike" kern="1200" cap="none" spc="0" normalizeH="0" baseline="0" noProof="0" dirty="0">
                <a:ln>
                  <a:noFill/>
                </a:ln>
                <a:solidFill>
                  <a:schemeClr val="accent1"/>
                </a:solidFill>
                <a:effectLst/>
                <a:uLnTx/>
                <a:uFillTx/>
                <a:latin typeface="HarmonyOS Sans Black"/>
                <a:ea typeface="+mj-ea"/>
                <a:cs typeface="+mn-cs"/>
              </a:rPr>
              <a:t>Infographic</a:t>
            </a:r>
          </a:p>
        </p:txBody>
      </p:sp>
      <p:sp>
        <p:nvSpPr>
          <p:cNvPr id="18" name="TextBox 26">
            <a:extLst>
              <a:ext uri="{FF2B5EF4-FFF2-40B4-BE49-F238E27FC236}">
                <a16:creationId xmlns:a16="http://schemas.microsoft.com/office/drawing/2014/main" id="{BFBB2042-631F-42ED-BB38-BDED770397EC}"/>
              </a:ext>
            </a:extLst>
          </p:cNvPr>
          <p:cNvSpPr txBox="1"/>
          <p:nvPr/>
        </p:nvSpPr>
        <p:spPr>
          <a:xfrm>
            <a:off x="3486150" y="663942"/>
            <a:ext cx="5219700" cy="254163"/>
          </a:xfrm>
          <a:prstGeom prst="rect">
            <a:avLst/>
          </a:prstGeom>
          <a:noFill/>
        </p:spPr>
        <p:txBody>
          <a:bodyPr wrap="square" lIns="0" tIns="36000" rIns="0" bIns="36000" rtlCol="0">
            <a:spAutoFit/>
          </a:bodyPr>
          <a:lstStyle/>
          <a:p>
            <a:pPr marL="0" marR="0" lvl="0" indent="0" algn="ctr" defTabSz="914400" rtl="0" eaLnBrk="1" fontAlgn="auto" latinLnBrk="0" hangingPunct="1">
              <a:lnSpc>
                <a:spcPct val="130000"/>
              </a:lnSpc>
              <a:spcBef>
                <a:spcPts val="1000"/>
              </a:spcBef>
              <a:spcAft>
                <a:spcPts val="0"/>
              </a:spcAft>
              <a:buClrTx/>
              <a:buSzTx/>
              <a:buFontTx/>
              <a:buNone/>
              <a:tabLst/>
              <a:defRPr/>
            </a:pPr>
            <a:r>
              <a:rPr kumimoji="0" lang="da-DK" sz="1000" b="0" i="0" u="none" strike="noStrike" kern="1200" cap="none" spc="0" normalizeH="0" baseline="0" noProof="0" dirty="0">
                <a:ln>
                  <a:noFill/>
                </a:ln>
                <a:solidFill>
                  <a:prstClr val="black">
                    <a:lumMod val="50000"/>
                    <a:lumOff val="50000"/>
                    <a:alpha val="70000"/>
                  </a:prstClr>
                </a:solidFill>
                <a:effectLst/>
                <a:uLnTx/>
                <a:uFillTx/>
                <a:latin typeface="HarmonyOS Sans SC"/>
                <a:cs typeface="+mn-cs"/>
              </a:rPr>
              <a:t>Lorem ipsum dolor sit amet</a:t>
            </a:r>
          </a:p>
        </p:txBody>
      </p:sp>
    </p:spTree>
    <p:extLst>
      <p:ext uri="{BB962C8B-B14F-4D97-AF65-F5344CB8AC3E}">
        <p14:creationId xmlns:p14="http://schemas.microsoft.com/office/powerpoint/2010/main" val="1768446133"/>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4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reeform 5">
            <a:extLst>
              <a:ext uri="{FF2B5EF4-FFF2-40B4-BE49-F238E27FC236}">
                <a16:creationId xmlns:a16="http://schemas.microsoft.com/office/drawing/2014/main" id="{45DFB6C6-00F9-460E-843F-C909579D45A7}"/>
              </a:ext>
            </a:extLst>
          </p:cNvPr>
          <p:cNvSpPr>
            <a:spLocks/>
          </p:cNvSpPr>
          <p:nvPr/>
        </p:nvSpPr>
        <p:spPr bwMode="auto">
          <a:xfrm>
            <a:off x="8445216" y="2002333"/>
            <a:ext cx="2462329" cy="2321660"/>
          </a:xfrm>
          <a:custGeom>
            <a:avLst/>
            <a:gdLst>
              <a:gd name="T0" fmla="*/ 3069 w 3069"/>
              <a:gd name="T1" fmla="*/ 0 h 2891"/>
              <a:gd name="T2" fmla="*/ 1330 w 3069"/>
              <a:gd name="T3" fmla="*/ 405 h 2891"/>
              <a:gd name="T4" fmla="*/ 1668 w 3069"/>
              <a:gd name="T5" fmla="*/ 475 h 2891"/>
              <a:gd name="T6" fmla="*/ 1522 w 3069"/>
              <a:gd name="T7" fmla="*/ 646 h 2891"/>
              <a:gd name="T8" fmla="*/ 1337 w 3069"/>
              <a:gd name="T9" fmla="*/ 838 h 2891"/>
              <a:gd name="T10" fmla="*/ 1139 w 3069"/>
              <a:gd name="T11" fmla="*/ 1017 h 2891"/>
              <a:gd name="T12" fmla="*/ 930 w 3069"/>
              <a:gd name="T13" fmla="*/ 1183 h 2891"/>
              <a:gd name="T14" fmla="*/ 903 w 3069"/>
              <a:gd name="T15" fmla="*/ 1202 h 2891"/>
              <a:gd name="T16" fmla="*/ 876 w 3069"/>
              <a:gd name="T17" fmla="*/ 1222 h 2891"/>
              <a:gd name="T18" fmla="*/ 822 w 3069"/>
              <a:gd name="T19" fmla="*/ 1260 h 2891"/>
              <a:gd name="T20" fmla="*/ 711 w 3069"/>
              <a:gd name="T21" fmla="*/ 1333 h 2891"/>
              <a:gd name="T22" fmla="*/ 683 w 3069"/>
              <a:gd name="T23" fmla="*/ 1351 h 2891"/>
              <a:gd name="T24" fmla="*/ 655 w 3069"/>
              <a:gd name="T25" fmla="*/ 1368 h 2891"/>
              <a:gd name="T26" fmla="*/ 598 w 3069"/>
              <a:gd name="T27" fmla="*/ 1403 h 2891"/>
              <a:gd name="T28" fmla="*/ 541 w 3069"/>
              <a:gd name="T29" fmla="*/ 1435 h 2891"/>
              <a:gd name="T30" fmla="*/ 526 w 3069"/>
              <a:gd name="T31" fmla="*/ 1444 h 2891"/>
              <a:gd name="T32" fmla="*/ 512 w 3069"/>
              <a:gd name="T33" fmla="*/ 1451 h 2891"/>
              <a:gd name="T34" fmla="*/ 483 w 3069"/>
              <a:gd name="T35" fmla="*/ 1467 h 2891"/>
              <a:gd name="T36" fmla="*/ 453 w 3069"/>
              <a:gd name="T37" fmla="*/ 1483 h 2891"/>
              <a:gd name="T38" fmla="*/ 424 w 3069"/>
              <a:gd name="T39" fmla="*/ 1498 h 2891"/>
              <a:gd name="T40" fmla="*/ 365 w 3069"/>
              <a:gd name="T41" fmla="*/ 1528 h 2891"/>
              <a:gd name="T42" fmla="*/ 245 w 3069"/>
              <a:gd name="T43" fmla="*/ 1584 h 2891"/>
              <a:gd name="T44" fmla="*/ 215 w 3069"/>
              <a:gd name="T45" fmla="*/ 1597 h 2891"/>
              <a:gd name="T46" fmla="*/ 200 w 3069"/>
              <a:gd name="T47" fmla="*/ 1604 h 2891"/>
              <a:gd name="T48" fmla="*/ 185 w 3069"/>
              <a:gd name="T49" fmla="*/ 1610 h 2891"/>
              <a:gd name="T50" fmla="*/ 124 w 3069"/>
              <a:gd name="T51" fmla="*/ 1635 h 2891"/>
              <a:gd name="T52" fmla="*/ 93 w 3069"/>
              <a:gd name="T53" fmla="*/ 1647 h 2891"/>
              <a:gd name="T54" fmla="*/ 62 w 3069"/>
              <a:gd name="T55" fmla="*/ 1659 h 2891"/>
              <a:gd name="T56" fmla="*/ 31 w 3069"/>
              <a:gd name="T57" fmla="*/ 1670 h 2891"/>
              <a:gd name="T58" fmla="*/ 0 w 3069"/>
              <a:gd name="T59" fmla="*/ 1681 h 2891"/>
              <a:gd name="T60" fmla="*/ 366 w 3069"/>
              <a:gd name="T61" fmla="*/ 2891 h 2891"/>
              <a:gd name="T62" fmla="*/ 410 w 3069"/>
              <a:gd name="T63" fmla="*/ 2880 h 2891"/>
              <a:gd name="T64" fmla="*/ 453 w 3069"/>
              <a:gd name="T65" fmla="*/ 2867 h 2891"/>
              <a:gd name="T66" fmla="*/ 497 w 3069"/>
              <a:gd name="T67" fmla="*/ 2854 h 2891"/>
              <a:gd name="T68" fmla="*/ 540 w 3069"/>
              <a:gd name="T69" fmla="*/ 2842 h 2891"/>
              <a:gd name="T70" fmla="*/ 627 w 3069"/>
              <a:gd name="T71" fmla="*/ 2814 h 2891"/>
              <a:gd name="T72" fmla="*/ 648 w 3069"/>
              <a:gd name="T73" fmla="*/ 2807 h 2891"/>
              <a:gd name="T74" fmla="*/ 670 w 3069"/>
              <a:gd name="T75" fmla="*/ 2800 h 2891"/>
              <a:gd name="T76" fmla="*/ 712 w 3069"/>
              <a:gd name="T77" fmla="*/ 2785 h 2891"/>
              <a:gd name="T78" fmla="*/ 882 w 3069"/>
              <a:gd name="T79" fmla="*/ 2722 h 2891"/>
              <a:gd name="T80" fmla="*/ 966 w 3069"/>
              <a:gd name="T81" fmla="*/ 2688 h 2891"/>
              <a:gd name="T82" fmla="*/ 1008 w 3069"/>
              <a:gd name="T83" fmla="*/ 2671 h 2891"/>
              <a:gd name="T84" fmla="*/ 1050 w 3069"/>
              <a:gd name="T85" fmla="*/ 2652 h 2891"/>
              <a:gd name="T86" fmla="*/ 1091 w 3069"/>
              <a:gd name="T87" fmla="*/ 2634 h 2891"/>
              <a:gd name="T88" fmla="*/ 1112 w 3069"/>
              <a:gd name="T89" fmla="*/ 2625 h 2891"/>
              <a:gd name="T90" fmla="*/ 1132 w 3069"/>
              <a:gd name="T91" fmla="*/ 2616 h 2891"/>
              <a:gd name="T92" fmla="*/ 1214 w 3069"/>
              <a:gd name="T93" fmla="*/ 2577 h 2891"/>
              <a:gd name="T94" fmla="*/ 1295 w 3069"/>
              <a:gd name="T95" fmla="*/ 2537 h 2891"/>
              <a:gd name="T96" fmla="*/ 1336 w 3069"/>
              <a:gd name="T97" fmla="*/ 2517 h 2891"/>
              <a:gd name="T98" fmla="*/ 1375 w 3069"/>
              <a:gd name="T99" fmla="*/ 2496 h 2891"/>
              <a:gd name="T100" fmla="*/ 1534 w 3069"/>
              <a:gd name="T101" fmla="*/ 2409 h 2891"/>
              <a:gd name="T102" fmla="*/ 1612 w 3069"/>
              <a:gd name="T103" fmla="*/ 2364 h 2891"/>
              <a:gd name="T104" fmla="*/ 1650 w 3069"/>
              <a:gd name="T105" fmla="*/ 2340 h 2891"/>
              <a:gd name="T106" fmla="*/ 1689 w 3069"/>
              <a:gd name="T107" fmla="*/ 2317 h 2891"/>
              <a:gd name="T108" fmla="*/ 1988 w 3069"/>
              <a:gd name="T109" fmla="*/ 2117 h 2891"/>
              <a:gd name="T110" fmla="*/ 2273 w 3069"/>
              <a:gd name="T111" fmla="*/ 1898 h 2891"/>
              <a:gd name="T112" fmla="*/ 2543 w 3069"/>
              <a:gd name="T113" fmla="*/ 1660 h 2891"/>
              <a:gd name="T114" fmla="*/ 2752 w 3069"/>
              <a:gd name="T115" fmla="*/ 1453 h 2891"/>
              <a:gd name="T116" fmla="*/ 2854 w 3069"/>
              <a:gd name="T117" fmla="*/ 1752 h 2891"/>
              <a:gd name="T118" fmla="*/ 3069 w 3069"/>
              <a:gd name="T119" fmla="*/ 0 h 28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069" h="2891">
                <a:moveTo>
                  <a:pt x="3069" y="0"/>
                </a:moveTo>
                <a:cubicBezTo>
                  <a:pt x="1330" y="405"/>
                  <a:pt x="1330" y="405"/>
                  <a:pt x="1330" y="405"/>
                </a:cubicBezTo>
                <a:cubicBezTo>
                  <a:pt x="1668" y="475"/>
                  <a:pt x="1668" y="475"/>
                  <a:pt x="1668" y="475"/>
                </a:cubicBezTo>
                <a:cubicBezTo>
                  <a:pt x="1621" y="533"/>
                  <a:pt x="1572" y="590"/>
                  <a:pt x="1522" y="646"/>
                </a:cubicBezTo>
                <a:cubicBezTo>
                  <a:pt x="1462" y="712"/>
                  <a:pt x="1401" y="776"/>
                  <a:pt x="1337" y="838"/>
                </a:cubicBezTo>
                <a:cubicBezTo>
                  <a:pt x="1273" y="900"/>
                  <a:pt x="1207" y="960"/>
                  <a:pt x="1139" y="1017"/>
                </a:cubicBezTo>
                <a:cubicBezTo>
                  <a:pt x="1071" y="1075"/>
                  <a:pt x="1001" y="1130"/>
                  <a:pt x="930" y="1183"/>
                </a:cubicBezTo>
                <a:cubicBezTo>
                  <a:pt x="903" y="1202"/>
                  <a:pt x="903" y="1202"/>
                  <a:pt x="903" y="1202"/>
                </a:cubicBezTo>
                <a:cubicBezTo>
                  <a:pt x="894" y="1209"/>
                  <a:pt x="885" y="1216"/>
                  <a:pt x="876" y="1222"/>
                </a:cubicBezTo>
                <a:cubicBezTo>
                  <a:pt x="822" y="1260"/>
                  <a:pt x="822" y="1260"/>
                  <a:pt x="822" y="1260"/>
                </a:cubicBezTo>
                <a:cubicBezTo>
                  <a:pt x="785" y="1285"/>
                  <a:pt x="749" y="1310"/>
                  <a:pt x="711" y="1333"/>
                </a:cubicBezTo>
                <a:cubicBezTo>
                  <a:pt x="683" y="1351"/>
                  <a:pt x="683" y="1351"/>
                  <a:pt x="683" y="1351"/>
                </a:cubicBezTo>
                <a:cubicBezTo>
                  <a:pt x="674" y="1357"/>
                  <a:pt x="664" y="1363"/>
                  <a:pt x="655" y="1368"/>
                </a:cubicBezTo>
                <a:cubicBezTo>
                  <a:pt x="636" y="1380"/>
                  <a:pt x="617" y="1391"/>
                  <a:pt x="598" y="1403"/>
                </a:cubicBezTo>
                <a:cubicBezTo>
                  <a:pt x="541" y="1435"/>
                  <a:pt x="541" y="1435"/>
                  <a:pt x="541" y="1435"/>
                </a:cubicBezTo>
                <a:cubicBezTo>
                  <a:pt x="526" y="1444"/>
                  <a:pt x="526" y="1444"/>
                  <a:pt x="526" y="1444"/>
                </a:cubicBezTo>
                <a:cubicBezTo>
                  <a:pt x="512" y="1451"/>
                  <a:pt x="512" y="1451"/>
                  <a:pt x="512" y="1451"/>
                </a:cubicBezTo>
                <a:cubicBezTo>
                  <a:pt x="483" y="1467"/>
                  <a:pt x="483" y="1467"/>
                  <a:pt x="483" y="1467"/>
                </a:cubicBezTo>
                <a:cubicBezTo>
                  <a:pt x="453" y="1483"/>
                  <a:pt x="453" y="1483"/>
                  <a:pt x="453" y="1483"/>
                </a:cubicBezTo>
                <a:cubicBezTo>
                  <a:pt x="444" y="1488"/>
                  <a:pt x="434" y="1493"/>
                  <a:pt x="424" y="1498"/>
                </a:cubicBezTo>
                <a:cubicBezTo>
                  <a:pt x="404" y="1508"/>
                  <a:pt x="385" y="1518"/>
                  <a:pt x="365" y="1528"/>
                </a:cubicBezTo>
                <a:cubicBezTo>
                  <a:pt x="325" y="1547"/>
                  <a:pt x="286" y="1566"/>
                  <a:pt x="245" y="1584"/>
                </a:cubicBezTo>
                <a:cubicBezTo>
                  <a:pt x="215" y="1597"/>
                  <a:pt x="215" y="1597"/>
                  <a:pt x="215" y="1597"/>
                </a:cubicBezTo>
                <a:cubicBezTo>
                  <a:pt x="210" y="1599"/>
                  <a:pt x="205" y="1601"/>
                  <a:pt x="200" y="1604"/>
                </a:cubicBezTo>
                <a:cubicBezTo>
                  <a:pt x="185" y="1610"/>
                  <a:pt x="185" y="1610"/>
                  <a:pt x="185" y="1610"/>
                </a:cubicBezTo>
                <a:cubicBezTo>
                  <a:pt x="124" y="1635"/>
                  <a:pt x="124" y="1635"/>
                  <a:pt x="124" y="1635"/>
                </a:cubicBezTo>
                <a:cubicBezTo>
                  <a:pt x="114" y="1639"/>
                  <a:pt x="103" y="1643"/>
                  <a:pt x="93" y="1647"/>
                </a:cubicBezTo>
                <a:cubicBezTo>
                  <a:pt x="62" y="1659"/>
                  <a:pt x="62" y="1659"/>
                  <a:pt x="62" y="1659"/>
                </a:cubicBezTo>
                <a:cubicBezTo>
                  <a:pt x="31" y="1670"/>
                  <a:pt x="31" y="1670"/>
                  <a:pt x="31" y="1670"/>
                </a:cubicBezTo>
                <a:cubicBezTo>
                  <a:pt x="21" y="1674"/>
                  <a:pt x="11" y="1678"/>
                  <a:pt x="0" y="1681"/>
                </a:cubicBezTo>
                <a:cubicBezTo>
                  <a:pt x="366" y="2891"/>
                  <a:pt x="366" y="2891"/>
                  <a:pt x="366" y="2891"/>
                </a:cubicBezTo>
                <a:cubicBezTo>
                  <a:pt x="380" y="2887"/>
                  <a:pt x="395" y="2884"/>
                  <a:pt x="410" y="2880"/>
                </a:cubicBezTo>
                <a:cubicBezTo>
                  <a:pt x="453" y="2867"/>
                  <a:pt x="453" y="2867"/>
                  <a:pt x="453" y="2867"/>
                </a:cubicBezTo>
                <a:cubicBezTo>
                  <a:pt x="497" y="2854"/>
                  <a:pt x="497" y="2854"/>
                  <a:pt x="497" y="2854"/>
                </a:cubicBezTo>
                <a:cubicBezTo>
                  <a:pt x="511" y="2850"/>
                  <a:pt x="526" y="2846"/>
                  <a:pt x="540" y="2842"/>
                </a:cubicBezTo>
                <a:cubicBezTo>
                  <a:pt x="627" y="2814"/>
                  <a:pt x="627" y="2814"/>
                  <a:pt x="627" y="2814"/>
                </a:cubicBezTo>
                <a:cubicBezTo>
                  <a:pt x="648" y="2807"/>
                  <a:pt x="648" y="2807"/>
                  <a:pt x="648" y="2807"/>
                </a:cubicBezTo>
                <a:cubicBezTo>
                  <a:pt x="655" y="2805"/>
                  <a:pt x="662" y="2802"/>
                  <a:pt x="670" y="2800"/>
                </a:cubicBezTo>
                <a:cubicBezTo>
                  <a:pt x="712" y="2785"/>
                  <a:pt x="712" y="2785"/>
                  <a:pt x="712" y="2785"/>
                </a:cubicBezTo>
                <a:cubicBezTo>
                  <a:pt x="770" y="2765"/>
                  <a:pt x="826" y="2743"/>
                  <a:pt x="882" y="2722"/>
                </a:cubicBezTo>
                <a:cubicBezTo>
                  <a:pt x="910" y="2711"/>
                  <a:pt x="938" y="2699"/>
                  <a:pt x="966" y="2688"/>
                </a:cubicBezTo>
                <a:cubicBezTo>
                  <a:pt x="980" y="2682"/>
                  <a:pt x="994" y="2677"/>
                  <a:pt x="1008" y="2671"/>
                </a:cubicBezTo>
                <a:cubicBezTo>
                  <a:pt x="1050" y="2652"/>
                  <a:pt x="1050" y="2652"/>
                  <a:pt x="1050" y="2652"/>
                </a:cubicBezTo>
                <a:cubicBezTo>
                  <a:pt x="1091" y="2634"/>
                  <a:pt x="1091" y="2634"/>
                  <a:pt x="1091" y="2634"/>
                </a:cubicBezTo>
                <a:cubicBezTo>
                  <a:pt x="1112" y="2625"/>
                  <a:pt x="1112" y="2625"/>
                  <a:pt x="1112" y="2625"/>
                </a:cubicBezTo>
                <a:cubicBezTo>
                  <a:pt x="1132" y="2616"/>
                  <a:pt x="1132" y="2616"/>
                  <a:pt x="1132" y="2616"/>
                </a:cubicBezTo>
                <a:cubicBezTo>
                  <a:pt x="1214" y="2577"/>
                  <a:pt x="1214" y="2577"/>
                  <a:pt x="1214" y="2577"/>
                </a:cubicBezTo>
                <a:cubicBezTo>
                  <a:pt x="1241" y="2564"/>
                  <a:pt x="1268" y="2551"/>
                  <a:pt x="1295" y="2537"/>
                </a:cubicBezTo>
                <a:cubicBezTo>
                  <a:pt x="1309" y="2530"/>
                  <a:pt x="1322" y="2524"/>
                  <a:pt x="1336" y="2517"/>
                </a:cubicBezTo>
                <a:cubicBezTo>
                  <a:pt x="1375" y="2496"/>
                  <a:pt x="1375" y="2496"/>
                  <a:pt x="1375" y="2496"/>
                </a:cubicBezTo>
                <a:cubicBezTo>
                  <a:pt x="1429" y="2468"/>
                  <a:pt x="1481" y="2439"/>
                  <a:pt x="1534" y="2409"/>
                </a:cubicBezTo>
                <a:cubicBezTo>
                  <a:pt x="1612" y="2364"/>
                  <a:pt x="1612" y="2364"/>
                  <a:pt x="1612" y="2364"/>
                </a:cubicBezTo>
                <a:cubicBezTo>
                  <a:pt x="1625" y="2356"/>
                  <a:pt x="1637" y="2348"/>
                  <a:pt x="1650" y="2340"/>
                </a:cubicBezTo>
                <a:cubicBezTo>
                  <a:pt x="1689" y="2317"/>
                  <a:pt x="1689" y="2317"/>
                  <a:pt x="1689" y="2317"/>
                </a:cubicBezTo>
                <a:cubicBezTo>
                  <a:pt x="1791" y="2253"/>
                  <a:pt x="1891" y="2187"/>
                  <a:pt x="1988" y="2117"/>
                </a:cubicBezTo>
                <a:cubicBezTo>
                  <a:pt x="2086" y="2047"/>
                  <a:pt x="2180" y="1974"/>
                  <a:pt x="2273" y="1898"/>
                </a:cubicBezTo>
                <a:cubicBezTo>
                  <a:pt x="2365" y="1822"/>
                  <a:pt x="2456" y="1742"/>
                  <a:pt x="2543" y="1660"/>
                </a:cubicBezTo>
                <a:cubicBezTo>
                  <a:pt x="2614" y="1593"/>
                  <a:pt x="2684" y="1524"/>
                  <a:pt x="2752" y="1453"/>
                </a:cubicBezTo>
                <a:cubicBezTo>
                  <a:pt x="2854" y="1752"/>
                  <a:pt x="2854" y="1752"/>
                  <a:pt x="2854" y="1752"/>
                </a:cubicBezTo>
                <a:cubicBezTo>
                  <a:pt x="3069" y="0"/>
                  <a:pt x="3069" y="0"/>
                  <a:pt x="3069" y="0"/>
                </a:cubicBezTo>
              </a:path>
            </a:pathLst>
          </a:custGeom>
          <a:gradFill flip="none" rotWithShape="1">
            <a:gsLst>
              <a:gs pos="73000">
                <a:schemeClr val="accent1"/>
              </a:gs>
              <a:gs pos="31000">
                <a:schemeClr val="accent1">
                  <a:lumMod val="60000"/>
                  <a:lumOff val="40000"/>
                </a:schemeClr>
              </a:gs>
              <a:gs pos="0">
                <a:schemeClr val="accent1">
                  <a:lumMod val="40000"/>
                  <a:lumOff val="60000"/>
                </a:schemeClr>
              </a:gs>
            </a:gsLst>
            <a:lin ang="810000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Black"/>
              <a:ea typeface="+mj-ea"/>
              <a:cs typeface="+mn-cs"/>
            </a:endParaRPr>
          </a:p>
        </p:txBody>
      </p:sp>
      <p:sp>
        <p:nvSpPr>
          <p:cNvPr id="5" name="Freeform 6">
            <a:extLst>
              <a:ext uri="{FF2B5EF4-FFF2-40B4-BE49-F238E27FC236}">
                <a16:creationId xmlns:a16="http://schemas.microsoft.com/office/drawing/2014/main" id="{6AEB3B2D-377C-46E8-906D-49D9D37E95C1}"/>
              </a:ext>
            </a:extLst>
          </p:cNvPr>
          <p:cNvSpPr>
            <a:spLocks/>
          </p:cNvSpPr>
          <p:nvPr/>
        </p:nvSpPr>
        <p:spPr bwMode="auto">
          <a:xfrm>
            <a:off x="9248673" y="2002333"/>
            <a:ext cx="1658872" cy="2148043"/>
          </a:xfrm>
          <a:custGeom>
            <a:avLst/>
            <a:gdLst>
              <a:gd name="T0" fmla="*/ 2068 w 2068"/>
              <a:gd name="T1" fmla="*/ 0 h 2674"/>
              <a:gd name="T2" fmla="*/ 2068 w 2068"/>
              <a:gd name="T3" fmla="*/ 0 h 2674"/>
              <a:gd name="T4" fmla="*/ 2068 w 2068"/>
              <a:gd name="T5" fmla="*/ 0 h 2674"/>
              <a:gd name="T6" fmla="*/ 1853 w 2068"/>
              <a:gd name="T7" fmla="*/ 1752 h 2674"/>
              <a:gd name="T8" fmla="*/ 1751 w 2068"/>
              <a:gd name="T9" fmla="*/ 1453 h 2674"/>
              <a:gd name="T10" fmla="*/ 1542 w 2068"/>
              <a:gd name="T11" fmla="*/ 1660 h 2674"/>
              <a:gd name="T12" fmla="*/ 1272 w 2068"/>
              <a:gd name="T13" fmla="*/ 1898 h 2674"/>
              <a:gd name="T14" fmla="*/ 987 w 2068"/>
              <a:gd name="T15" fmla="*/ 2117 h 2674"/>
              <a:gd name="T16" fmla="*/ 688 w 2068"/>
              <a:gd name="T17" fmla="*/ 2317 h 2674"/>
              <a:gd name="T18" fmla="*/ 649 w 2068"/>
              <a:gd name="T19" fmla="*/ 2340 h 2674"/>
              <a:gd name="T20" fmla="*/ 611 w 2068"/>
              <a:gd name="T21" fmla="*/ 2364 h 2674"/>
              <a:gd name="T22" fmla="*/ 533 w 2068"/>
              <a:gd name="T23" fmla="*/ 2409 h 2674"/>
              <a:gd name="T24" fmla="*/ 374 w 2068"/>
              <a:gd name="T25" fmla="*/ 2496 h 2674"/>
              <a:gd name="T26" fmla="*/ 335 w 2068"/>
              <a:gd name="T27" fmla="*/ 2517 h 2674"/>
              <a:gd name="T28" fmla="*/ 294 w 2068"/>
              <a:gd name="T29" fmla="*/ 2537 h 2674"/>
              <a:gd name="T30" fmla="*/ 213 w 2068"/>
              <a:gd name="T31" fmla="*/ 2577 h 2674"/>
              <a:gd name="T32" fmla="*/ 131 w 2068"/>
              <a:gd name="T33" fmla="*/ 2616 h 2674"/>
              <a:gd name="T34" fmla="*/ 111 w 2068"/>
              <a:gd name="T35" fmla="*/ 2625 h 2674"/>
              <a:gd name="T36" fmla="*/ 90 w 2068"/>
              <a:gd name="T37" fmla="*/ 2634 h 2674"/>
              <a:gd name="T38" fmla="*/ 49 w 2068"/>
              <a:gd name="T39" fmla="*/ 2652 h 2674"/>
              <a:gd name="T40" fmla="*/ 7 w 2068"/>
              <a:gd name="T41" fmla="*/ 2671 h 2674"/>
              <a:gd name="T42" fmla="*/ 0 w 2068"/>
              <a:gd name="T43" fmla="*/ 2674 h 2674"/>
              <a:gd name="T44" fmla="*/ 0 w 2068"/>
              <a:gd name="T45" fmla="*/ 2674 h 2674"/>
              <a:gd name="T46" fmla="*/ 7 w 2068"/>
              <a:gd name="T47" fmla="*/ 2671 h 2674"/>
              <a:gd name="T48" fmla="*/ 49 w 2068"/>
              <a:gd name="T49" fmla="*/ 2652 h 2674"/>
              <a:gd name="T50" fmla="*/ 90 w 2068"/>
              <a:gd name="T51" fmla="*/ 2634 h 2674"/>
              <a:gd name="T52" fmla="*/ 111 w 2068"/>
              <a:gd name="T53" fmla="*/ 2625 h 2674"/>
              <a:gd name="T54" fmla="*/ 131 w 2068"/>
              <a:gd name="T55" fmla="*/ 2616 h 2674"/>
              <a:gd name="T56" fmla="*/ 213 w 2068"/>
              <a:gd name="T57" fmla="*/ 2577 h 2674"/>
              <a:gd name="T58" fmla="*/ 294 w 2068"/>
              <a:gd name="T59" fmla="*/ 2537 h 2674"/>
              <a:gd name="T60" fmla="*/ 335 w 2068"/>
              <a:gd name="T61" fmla="*/ 2517 h 2674"/>
              <a:gd name="T62" fmla="*/ 374 w 2068"/>
              <a:gd name="T63" fmla="*/ 2496 h 2674"/>
              <a:gd name="T64" fmla="*/ 533 w 2068"/>
              <a:gd name="T65" fmla="*/ 2409 h 2674"/>
              <a:gd name="T66" fmla="*/ 611 w 2068"/>
              <a:gd name="T67" fmla="*/ 2364 h 2674"/>
              <a:gd name="T68" fmla="*/ 649 w 2068"/>
              <a:gd name="T69" fmla="*/ 2340 h 2674"/>
              <a:gd name="T70" fmla="*/ 688 w 2068"/>
              <a:gd name="T71" fmla="*/ 2317 h 2674"/>
              <a:gd name="T72" fmla="*/ 987 w 2068"/>
              <a:gd name="T73" fmla="*/ 2117 h 2674"/>
              <a:gd name="T74" fmla="*/ 1272 w 2068"/>
              <a:gd name="T75" fmla="*/ 1898 h 2674"/>
              <a:gd name="T76" fmla="*/ 1542 w 2068"/>
              <a:gd name="T77" fmla="*/ 1660 h 2674"/>
              <a:gd name="T78" fmla="*/ 1751 w 2068"/>
              <a:gd name="T79" fmla="*/ 1453 h 2674"/>
              <a:gd name="T80" fmla="*/ 1853 w 2068"/>
              <a:gd name="T81" fmla="*/ 1752 h 2674"/>
              <a:gd name="T82" fmla="*/ 2068 w 2068"/>
              <a:gd name="T83" fmla="*/ 0 h 26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068" h="2674">
                <a:moveTo>
                  <a:pt x="2068" y="0"/>
                </a:moveTo>
                <a:cubicBezTo>
                  <a:pt x="2068" y="0"/>
                  <a:pt x="2068" y="0"/>
                  <a:pt x="2068" y="0"/>
                </a:cubicBezTo>
                <a:cubicBezTo>
                  <a:pt x="2068" y="0"/>
                  <a:pt x="2068" y="0"/>
                  <a:pt x="2068" y="0"/>
                </a:cubicBezTo>
                <a:cubicBezTo>
                  <a:pt x="1853" y="1752"/>
                  <a:pt x="1853" y="1752"/>
                  <a:pt x="1853" y="1752"/>
                </a:cubicBezTo>
                <a:cubicBezTo>
                  <a:pt x="1751" y="1453"/>
                  <a:pt x="1751" y="1453"/>
                  <a:pt x="1751" y="1453"/>
                </a:cubicBezTo>
                <a:cubicBezTo>
                  <a:pt x="1683" y="1524"/>
                  <a:pt x="1613" y="1593"/>
                  <a:pt x="1542" y="1660"/>
                </a:cubicBezTo>
                <a:cubicBezTo>
                  <a:pt x="1455" y="1742"/>
                  <a:pt x="1364" y="1822"/>
                  <a:pt x="1272" y="1898"/>
                </a:cubicBezTo>
                <a:cubicBezTo>
                  <a:pt x="1179" y="1974"/>
                  <a:pt x="1085" y="2047"/>
                  <a:pt x="987" y="2117"/>
                </a:cubicBezTo>
                <a:cubicBezTo>
                  <a:pt x="890" y="2187"/>
                  <a:pt x="790" y="2253"/>
                  <a:pt x="688" y="2317"/>
                </a:cubicBezTo>
                <a:cubicBezTo>
                  <a:pt x="649" y="2340"/>
                  <a:pt x="649" y="2340"/>
                  <a:pt x="649" y="2340"/>
                </a:cubicBezTo>
                <a:cubicBezTo>
                  <a:pt x="636" y="2348"/>
                  <a:pt x="624" y="2356"/>
                  <a:pt x="611" y="2364"/>
                </a:cubicBezTo>
                <a:cubicBezTo>
                  <a:pt x="533" y="2409"/>
                  <a:pt x="533" y="2409"/>
                  <a:pt x="533" y="2409"/>
                </a:cubicBezTo>
                <a:cubicBezTo>
                  <a:pt x="480" y="2439"/>
                  <a:pt x="428" y="2468"/>
                  <a:pt x="374" y="2496"/>
                </a:cubicBezTo>
                <a:cubicBezTo>
                  <a:pt x="335" y="2517"/>
                  <a:pt x="335" y="2517"/>
                  <a:pt x="335" y="2517"/>
                </a:cubicBezTo>
                <a:cubicBezTo>
                  <a:pt x="321" y="2524"/>
                  <a:pt x="308" y="2530"/>
                  <a:pt x="294" y="2537"/>
                </a:cubicBezTo>
                <a:cubicBezTo>
                  <a:pt x="267" y="2551"/>
                  <a:pt x="240" y="2564"/>
                  <a:pt x="213" y="2577"/>
                </a:cubicBezTo>
                <a:cubicBezTo>
                  <a:pt x="131" y="2616"/>
                  <a:pt x="131" y="2616"/>
                  <a:pt x="131" y="2616"/>
                </a:cubicBezTo>
                <a:cubicBezTo>
                  <a:pt x="111" y="2625"/>
                  <a:pt x="111" y="2625"/>
                  <a:pt x="111" y="2625"/>
                </a:cubicBezTo>
                <a:cubicBezTo>
                  <a:pt x="90" y="2634"/>
                  <a:pt x="90" y="2634"/>
                  <a:pt x="90" y="2634"/>
                </a:cubicBezTo>
                <a:cubicBezTo>
                  <a:pt x="49" y="2652"/>
                  <a:pt x="49" y="2652"/>
                  <a:pt x="49" y="2652"/>
                </a:cubicBezTo>
                <a:cubicBezTo>
                  <a:pt x="7" y="2671"/>
                  <a:pt x="7" y="2671"/>
                  <a:pt x="7" y="2671"/>
                </a:cubicBezTo>
                <a:cubicBezTo>
                  <a:pt x="5" y="2672"/>
                  <a:pt x="2" y="2673"/>
                  <a:pt x="0" y="2674"/>
                </a:cubicBezTo>
                <a:cubicBezTo>
                  <a:pt x="0" y="2674"/>
                  <a:pt x="0" y="2674"/>
                  <a:pt x="0" y="2674"/>
                </a:cubicBezTo>
                <a:cubicBezTo>
                  <a:pt x="2" y="2673"/>
                  <a:pt x="5" y="2672"/>
                  <a:pt x="7" y="2671"/>
                </a:cubicBezTo>
                <a:cubicBezTo>
                  <a:pt x="49" y="2652"/>
                  <a:pt x="49" y="2652"/>
                  <a:pt x="49" y="2652"/>
                </a:cubicBezTo>
                <a:cubicBezTo>
                  <a:pt x="90" y="2634"/>
                  <a:pt x="90" y="2634"/>
                  <a:pt x="90" y="2634"/>
                </a:cubicBezTo>
                <a:cubicBezTo>
                  <a:pt x="111" y="2625"/>
                  <a:pt x="111" y="2625"/>
                  <a:pt x="111" y="2625"/>
                </a:cubicBezTo>
                <a:cubicBezTo>
                  <a:pt x="131" y="2616"/>
                  <a:pt x="131" y="2616"/>
                  <a:pt x="131" y="2616"/>
                </a:cubicBezTo>
                <a:cubicBezTo>
                  <a:pt x="213" y="2577"/>
                  <a:pt x="213" y="2577"/>
                  <a:pt x="213" y="2577"/>
                </a:cubicBezTo>
                <a:cubicBezTo>
                  <a:pt x="240" y="2564"/>
                  <a:pt x="267" y="2551"/>
                  <a:pt x="294" y="2537"/>
                </a:cubicBezTo>
                <a:cubicBezTo>
                  <a:pt x="308" y="2530"/>
                  <a:pt x="321" y="2524"/>
                  <a:pt x="335" y="2517"/>
                </a:cubicBezTo>
                <a:cubicBezTo>
                  <a:pt x="374" y="2496"/>
                  <a:pt x="374" y="2496"/>
                  <a:pt x="374" y="2496"/>
                </a:cubicBezTo>
                <a:cubicBezTo>
                  <a:pt x="428" y="2468"/>
                  <a:pt x="480" y="2439"/>
                  <a:pt x="533" y="2409"/>
                </a:cubicBezTo>
                <a:cubicBezTo>
                  <a:pt x="611" y="2364"/>
                  <a:pt x="611" y="2364"/>
                  <a:pt x="611" y="2364"/>
                </a:cubicBezTo>
                <a:cubicBezTo>
                  <a:pt x="624" y="2356"/>
                  <a:pt x="636" y="2348"/>
                  <a:pt x="649" y="2340"/>
                </a:cubicBezTo>
                <a:cubicBezTo>
                  <a:pt x="688" y="2317"/>
                  <a:pt x="688" y="2317"/>
                  <a:pt x="688" y="2317"/>
                </a:cubicBezTo>
                <a:cubicBezTo>
                  <a:pt x="790" y="2253"/>
                  <a:pt x="890" y="2187"/>
                  <a:pt x="987" y="2117"/>
                </a:cubicBezTo>
                <a:cubicBezTo>
                  <a:pt x="1085" y="2047"/>
                  <a:pt x="1179" y="1974"/>
                  <a:pt x="1272" y="1898"/>
                </a:cubicBezTo>
                <a:cubicBezTo>
                  <a:pt x="1364" y="1822"/>
                  <a:pt x="1455" y="1742"/>
                  <a:pt x="1542" y="1660"/>
                </a:cubicBezTo>
                <a:cubicBezTo>
                  <a:pt x="1613" y="1593"/>
                  <a:pt x="1683" y="1524"/>
                  <a:pt x="1751" y="1453"/>
                </a:cubicBezTo>
                <a:cubicBezTo>
                  <a:pt x="1853" y="1752"/>
                  <a:pt x="1853" y="1752"/>
                  <a:pt x="1853" y="1752"/>
                </a:cubicBezTo>
                <a:cubicBezTo>
                  <a:pt x="2068" y="0"/>
                  <a:pt x="2068" y="0"/>
                  <a:pt x="2068" y="0"/>
                </a:cubicBezTo>
              </a:path>
            </a:pathLst>
          </a:custGeom>
          <a:solidFill>
            <a:srgbClr val="08095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sp>
        <p:nvSpPr>
          <p:cNvPr id="6" name="Freeform 8">
            <a:extLst>
              <a:ext uri="{FF2B5EF4-FFF2-40B4-BE49-F238E27FC236}">
                <a16:creationId xmlns:a16="http://schemas.microsoft.com/office/drawing/2014/main" id="{E3E11AA8-5E33-4ACD-9D36-6955CBAE6B88}"/>
              </a:ext>
            </a:extLst>
          </p:cNvPr>
          <p:cNvSpPr>
            <a:spLocks/>
          </p:cNvSpPr>
          <p:nvPr/>
        </p:nvSpPr>
        <p:spPr bwMode="auto">
          <a:xfrm>
            <a:off x="6989110" y="3196112"/>
            <a:ext cx="2307720" cy="1252074"/>
          </a:xfrm>
          <a:custGeom>
            <a:avLst/>
            <a:gdLst>
              <a:gd name="T0" fmla="*/ 2645 w 2874"/>
              <a:gd name="T1" fmla="*/ 1255 h 1559"/>
              <a:gd name="T2" fmla="*/ 2582 w 2874"/>
              <a:gd name="T3" fmla="*/ 1279 h 1559"/>
              <a:gd name="T4" fmla="*/ 2475 w 2874"/>
              <a:gd name="T5" fmla="*/ 1316 h 1559"/>
              <a:gd name="T6" fmla="*/ 2453 w 2874"/>
              <a:gd name="T7" fmla="*/ 1324 h 1559"/>
              <a:gd name="T8" fmla="*/ 2388 w 2874"/>
              <a:gd name="T9" fmla="*/ 1344 h 1559"/>
              <a:gd name="T10" fmla="*/ 2302 w 2874"/>
              <a:gd name="T11" fmla="*/ 1371 h 1559"/>
              <a:gd name="T12" fmla="*/ 2127 w 2874"/>
              <a:gd name="T13" fmla="*/ 1419 h 1559"/>
              <a:gd name="T14" fmla="*/ 2039 w 2874"/>
              <a:gd name="T15" fmla="*/ 1440 h 1559"/>
              <a:gd name="T16" fmla="*/ 1862 w 2874"/>
              <a:gd name="T17" fmla="*/ 1477 h 1559"/>
              <a:gd name="T18" fmla="*/ 1773 w 2874"/>
              <a:gd name="T19" fmla="*/ 1493 h 1559"/>
              <a:gd name="T20" fmla="*/ 1594 w 2874"/>
              <a:gd name="T21" fmla="*/ 1520 h 1559"/>
              <a:gd name="T22" fmla="*/ 1504 w 2874"/>
              <a:gd name="T23" fmla="*/ 1531 h 1559"/>
              <a:gd name="T24" fmla="*/ 1404 w 2874"/>
              <a:gd name="T25" fmla="*/ 1541 h 1559"/>
              <a:gd name="T26" fmla="*/ 1370 w 2874"/>
              <a:gd name="T27" fmla="*/ 1544 h 1559"/>
              <a:gd name="T28" fmla="*/ 1280 w 2874"/>
              <a:gd name="T29" fmla="*/ 1550 h 1559"/>
              <a:gd name="T30" fmla="*/ 1235 w 2874"/>
              <a:gd name="T31" fmla="*/ 1553 h 1559"/>
              <a:gd name="T32" fmla="*/ 1123 w 2874"/>
              <a:gd name="T33" fmla="*/ 1558 h 1559"/>
              <a:gd name="T34" fmla="*/ 1101 w 2874"/>
              <a:gd name="T35" fmla="*/ 1558 h 1559"/>
              <a:gd name="T36" fmla="*/ 966 w 2874"/>
              <a:gd name="T37" fmla="*/ 1559 h 1559"/>
              <a:gd name="T38" fmla="*/ 832 w 2874"/>
              <a:gd name="T39" fmla="*/ 1556 h 1559"/>
              <a:gd name="T40" fmla="*/ 788 w 2874"/>
              <a:gd name="T41" fmla="*/ 1555 h 1559"/>
              <a:gd name="T42" fmla="*/ 655 w 2874"/>
              <a:gd name="T43" fmla="*/ 1547 h 1559"/>
              <a:gd name="T44" fmla="*/ 522 w 2874"/>
              <a:gd name="T45" fmla="*/ 1536 h 1559"/>
              <a:gd name="T46" fmla="*/ 478 w 2874"/>
              <a:gd name="T47" fmla="*/ 1531 h 1559"/>
              <a:gd name="T48" fmla="*/ 346 w 2874"/>
              <a:gd name="T49" fmla="*/ 1516 h 1559"/>
              <a:gd name="T50" fmla="*/ 216 w 2874"/>
              <a:gd name="T51" fmla="*/ 1496 h 1559"/>
              <a:gd name="T52" fmla="*/ 86 w 2874"/>
              <a:gd name="T53" fmla="*/ 1473 h 1559"/>
              <a:gd name="T54" fmla="*/ 21 w 2874"/>
              <a:gd name="T55" fmla="*/ 1461 h 1559"/>
              <a:gd name="T56" fmla="*/ 183 w 2874"/>
              <a:gd name="T57" fmla="*/ 362 h 1559"/>
              <a:gd name="T58" fmla="*/ 218 w 2874"/>
              <a:gd name="T59" fmla="*/ 366 h 1559"/>
              <a:gd name="T60" fmla="*/ 321 w 2874"/>
              <a:gd name="T61" fmla="*/ 377 h 1559"/>
              <a:gd name="T62" fmla="*/ 389 w 2874"/>
              <a:gd name="T63" fmla="*/ 382 h 1559"/>
              <a:gd name="T64" fmla="*/ 526 w 2874"/>
              <a:gd name="T65" fmla="*/ 389 h 1559"/>
              <a:gd name="T66" fmla="*/ 577 w 2874"/>
              <a:gd name="T67" fmla="*/ 391 h 1559"/>
              <a:gd name="T68" fmla="*/ 594 w 2874"/>
              <a:gd name="T69" fmla="*/ 391 h 1559"/>
              <a:gd name="T70" fmla="*/ 696 w 2874"/>
              <a:gd name="T71" fmla="*/ 391 h 1559"/>
              <a:gd name="T72" fmla="*/ 797 w 2874"/>
              <a:gd name="T73" fmla="*/ 389 h 1559"/>
              <a:gd name="T74" fmla="*/ 831 w 2874"/>
              <a:gd name="T75" fmla="*/ 387 h 1559"/>
              <a:gd name="T76" fmla="*/ 932 w 2874"/>
              <a:gd name="T77" fmla="*/ 381 h 1559"/>
              <a:gd name="T78" fmla="*/ 1032 w 2874"/>
              <a:gd name="T79" fmla="*/ 372 h 1559"/>
              <a:gd name="T80" fmla="*/ 1049 w 2874"/>
              <a:gd name="T81" fmla="*/ 370 h 1559"/>
              <a:gd name="T82" fmla="*/ 1132 w 2874"/>
              <a:gd name="T83" fmla="*/ 360 h 1559"/>
              <a:gd name="T84" fmla="*/ 1165 w 2874"/>
              <a:gd name="T85" fmla="*/ 355 h 1559"/>
              <a:gd name="T86" fmla="*/ 1231 w 2874"/>
              <a:gd name="T87" fmla="*/ 345 h 1559"/>
              <a:gd name="T88" fmla="*/ 1255 w 2874"/>
              <a:gd name="T89" fmla="*/ 341 h 1559"/>
              <a:gd name="T90" fmla="*/ 2261 w 2874"/>
              <a:gd name="T91" fmla="*/ 0 h 1559"/>
              <a:gd name="T92" fmla="*/ 2814 w 2874"/>
              <a:gd name="T93" fmla="*/ 1188 h 15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74" h="1559">
                <a:moveTo>
                  <a:pt x="2814" y="1188"/>
                </a:moveTo>
                <a:cubicBezTo>
                  <a:pt x="2758" y="1211"/>
                  <a:pt x="2702" y="1234"/>
                  <a:pt x="2645" y="1255"/>
                </a:cubicBezTo>
                <a:cubicBezTo>
                  <a:pt x="2603" y="1271"/>
                  <a:pt x="2603" y="1271"/>
                  <a:pt x="2603" y="1271"/>
                </a:cubicBezTo>
                <a:cubicBezTo>
                  <a:pt x="2582" y="1279"/>
                  <a:pt x="2582" y="1279"/>
                  <a:pt x="2582" y="1279"/>
                </a:cubicBezTo>
                <a:cubicBezTo>
                  <a:pt x="2560" y="1287"/>
                  <a:pt x="2560" y="1287"/>
                  <a:pt x="2560" y="1287"/>
                </a:cubicBezTo>
                <a:cubicBezTo>
                  <a:pt x="2475" y="1316"/>
                  <a:pt x="2475" y="1316"/>
                  <a:pt x="2475" y="1316"/>
                </a:cubicBezTo>
                <a:cubicBezTo>
                  <a:pt x="2464" y="1320"/>
                  <a:pt x="2464" y="1320"/>
                  <a:pt x="2464" y="1320"/>
                </a:cubicBezTo>
                <a:cubicBezTo>
                  <a:pt x="2453" y="1324"/>
                  <a:pt x="2453" y="1324"/>
                  <a:pt x="2453" y="1324"/>
                </a:cubicBezTo>
                <a:cubicBezTo>
                  <a:pt x="2432" y="1331"/>
                  <a:pt x="2432" y="1331"/>
                  <a:pt x="2432" y="1331"/>
                </a:cubicBezTo>
                <a:cubicBezTo>
                  <a:pt x="2388" y="1344"/>
                  <a:pt x="2388" y="1344"/>
                  <a:pt x="2388" y="1344"/>
                </a:cubicBezTo>
                <a:cubicBezTo>
                  <a:pt x="2345" y="1358"/>
                  <a:pt x="2345" y="1358"/>
                  <a:pt x="2345" y="1358"/>
                </a:cubicBezTo>
                <a:cubicBezTo>
                  <a:pt x="2331" y="1362"/>
                  <a:pt x="2316" y="1367"/>
                  <a:pt x="2302" y="1371"/>
                </a:cubicBezTo>
                <a:cubicBezTo>
                  <a:pt x="2215" y="1396"/>
                  <a:pt x="2215" y="1396"/>
                  <a:pt x="2215" y="1396"/>
                </a:cubicBezTo>
                <a:cubicBezTo>
                  <a:pt x="2127" y="1419"/>
                  <a:pt x="2127" y="1419"/>
                  <a:pt x="2127" y="1419"/>
                </a:cubicBezTo>
                <a:cubicBezTo>
                  <a:pt x="2112" y="1422"/>
                  <a:pt x="2098" y="1426"/>
                  <a:pt x="2083" y="1430"/>
                </a:cubicBezTo>
                <a:cubicBezTo>
                  <a:pt x="2039" y="1440"/>
                  <a:pt x="2039" y="1440"/>
                  <a:pt x="2039" y="1440"/>
                </a:cubicBezTo>
                <a:cubicBezTo>
                  <a:pt x="2009" y="1447"/>
                  <a:pt x="1980" y="1453"/>
                  <a:pt x="1951" y="1460"/>
                </a:cubicBezTo>
                <a:cubicBezTo>
                  <a:pt x="1862" y="1477"/>
                  <a:pt x="1862" y="1477"/>
                  <a:pt x="1862" y="1477"/>
                </a:cubicBezTo>
                <a:cubicBezTo>
                  <a:pt x="1847" y="1480"/>
                  <a:pt x="1832" y="1483"/>
                  <a:pt x="1817" y="1486"/>
                </a:cubicBezTo>
                <a:cubicBezTo>
                  <a:pt x="1773" y="1493"/>
                  <a:pt x="1773" y="1493"/>
                  <a:pt x="1773" y="1493"/>
                </a:cubicBezTo>
                <a:cubicBezTo>
                  <a:pt x="1683" y="1508"/>
                  <a:pt x="1683" y="1508"/>
                  <a:pt x="1683" y="1508"/>
                </a:cubicBezTo>
                <a:cubicBezTo>
                  <a:pt x="1594" y="1520"/>
                  <a:pt x="1594" y="1520"/>
                  <a:pt x="1594" y="1520"/>
                </a:cubicBezTo>
                <a:cubicBezTo>
                  <a:pt x="1549" y="1526"/>
                  <a:pt x="1549" y="1526"/>
                  <a:pt x="1549" y="1526"/>
                </a:cubicBezTo>
                <a:cubicBezTo>
                  <a:pt x="1534" y="1528"/>
                  <a:pt x="1519" y="1529"/>
                  <a:pt x="1504" y="1531"/>
                </a:cubicBezTo>
                <a:cubicBezTo>
                  <a:pt x="1415" y="1540"/>
                  <a:pt x="1415" y="1540"/>
                  <a:pt x="1415" y="1540"/>
                </a:cubicBezTo>
                <a:cubicBezTo>
                  <a:pt x="1404" y="1541"/>
                  <a:pt x="1404" y="1541"/>
                  <a:pt x="1404" y="1541"/>
                </a:cubicBezTo>
                <a:cubicBezTo>
                  <a:pt x="1392" y="1542"/>
                  <a:pt x="1392" y="1542"/>
                  <a:pt x="1392" y="1542"/>
                </a:cubicBezTo>
                <a:cubicBezTo>
                  <a:pt x="1370" y="1544"/>
                  <a:pt x="1370" y="1544"/>
                  <a:pt x="1370" y="1544"/>
                </a:cubicBezTo>
                <a:cubicBezTo>
                  <a:pt x="1325" y="1547"/>
                  <a:pt x="1325" y="1547"/>
                  <a:pt x="1325" y="1547"/>
                </a:cubicBezTo>
                <a:cubicBezTo>
                  <a:pt x="1280" y="1550"/>
                  <a:pt x="1280" y="1550"/>
                  <a:pt x="1280" y="1550"/>
                </a:cubicBezTo>
                <a:cubicBezTo>
                  <a:pt x="1258" y="1552"/>
                  <a:pt x="1258" y="1552"/>
                  <a:pt x="1258" y="1552"/>
                </a:cubicBezTo>
                <a:cubicBezTo>
                  <a:pt x="1235" y="1553"/>
                  <a:pt x="1235" y="1553"/>
                  <a:pt x="1235" y="1553"/>
                </a:cubicBezTo>
                <a:cubicBezTo>
                  <a:pt x="1145" y="1557"/>
                  <a:pt x="1145" y="1557"/>
                  <a:pt x="1145" y="1557"/>
                </a:cubicBezTo>
                <a:cubicBezTo>
                  <a:pt x="1123" y="1558"/>
                  <a:pt x="1123" y="1558"/>
                  <a:pt x="1123" y="1558"/>
                </a:cubicBezTo>
                <a:cubicBezTo>
                  <a:pt x="1112" y="1558"/>
                  <a:pt x="1112" y="1558"/>
                  <a:pt x="1112" y="1558"/>
                </a:cubicBezTo>
                <a:cubicBezTo>
                  <a:pt x="1101" y="1558"/>
                  <a:pt x="1101" y="1558"/>
                  <a:pt x="1101" y="1558"/>
                </a:cubicBezTo>
                <a:cubicBezTo>
                  <a:pt x="1056" y="1559"/>
                  <a:pt x="1056" y="1559"/>
                  <a:pt x="1056" y="1559"/>
                </a:cubicBezTo>
                <a:cubicBezTo>
                  <a:pt x="966" y="1559"/>
                  <a:pt x="966" y="1559"/>
                  <a:pt x="966" y="1559"/>
                </a:cubicBezTo>
                <a:cubicBezTo>
                  <a:pt x="877" y="1557"/>
                  <a:pt x="877" y="1557"/>
                  <a:pt x="877" y="1557"/>
                </a:cubicBezTo>
                <a:cubicBezTo>
                  <a:pt x="832" y="1556"/>
                  <a:pt x="832" y="1556"/>
                  <a:pt x="832" y="1556"/>
                </a:cubicBezTo>
                <a:cubicBezTo>
                  <a:pt x="825" y="1556"/>
                  <a:pt x="818" y="1556"/>
                  <a:pt x="810" y="1556"/>
                </a:cubicBezTo>
                <a:cubicBezTo>
                  <a:pt x="788" y="1555"/>
                  <a:pt x="788" y="1555"/>
                  <a:pt x="788" y="1555"/>
                </a:cubicBezTo>
                <a:cubicBezTo>
                  <a:pt x="699" y="1550"/>
                  <a:pt x="699" y="1550"/>
                  <a:pt x="699" y="1550"/>
                </a:cubicBezTo>
                <a:cubicBezTo>
                  <a:pt x="684" y="1549"/>
                  <a:pt x="669" y="1548"/>
                  <a:pt x="655" y="1547"/>
                </a:cubicBezTo>
                <a:cubicBezTo>
                  <a:pt x="610" y="1544"/>
                  <a:pt x="610" y="1544"/>
                  <a:pt x="610" y="1544"/>
                </a:cubicBezTo>
                <a:cubicBezTo>
                  <a:pt x="522" y="1536"/>
                  <a:pt x="522" y="1536"/>
                  <a:pt x="522" y="1536"/>
                </a:cubicBezTo>
                <a:cubicBezTo>
                  <a:pt x="515" y="1535"/>
                  <a:pt x="507" y="1535"/>
                  <a:pt x="500" y="1534"/>
                </a:cubicBezTo>
                <a:cubicBezTo>
                  <a:pt x="478" y="1531"/>
                  <a:pt x="478" y="1531"/>
                  <a:pt x="478" y="1531"/>
                </a:cubicBezTo>
                <a:cubicBezTo>
                  <a:pt x="434" y="1526"/>
                  <a:pt x="434" y="1526"/>
                  <a:pt x="434" y="1526"/>
                </a:cubicBezTo>
                <a:cubicBezTo>
                  <a:pt x="346" y="1516"/>
                  <a:pt x="346" y="1516"/>
                  <a:pt x="346" y="1516"/>
                </a:cubicBezTo>
                <a:cubicBezTo>
                  <a:pt x="259" y="1503"/>
                  <a:pt x="259" y="1503"/>
                  <a:pt x="259" y="1503"/>
                </a:cubicBezTo>
                <a:cubicBezTo>
                  <a:pt x="216" y="1496"/>
                  <a:pt x="216" y="1496"/>
                  <a:pt x="216" y="1496"/>
                </a:cubicBezTo>
                <a:cubicBezTo>
                  <a:pt x="201" y="1494"/>
                  <a:pt x="187" y="1492"/>
                  <a:pt x="172" y="1489"/>
                </a:cubicBezTo>
                <a:cubicBezTo>
                  <a:pt x="86" y="1473"/>
                  <a:pt x="86" y="1473"/>
                  <a:pt x="86" y="1473"/>
                </a:cubicBezTo>
                <a:cubicBezTo>
                  <a:pt x="43" y="1465"/>
                  <a:pt x="43" y="1465"/>
                  <a:pt x="43" y="1465"/>
                </a:cubicBezTo>
                <a:cubicBezTo>
                  <a:pt x="36" y="1464"/>
                  <a:pt x="28" y="1463"/>
                  <a:pt x="21" y="1461"/>
                </a:cubicBezTo>
                <a:cubicBezTo>
                  <a:pt x="0" y="1456"/>
                  <a:pt x="0" y="1456"/>
                  <a:pt x="0" y="1456"/>
                </a:cubicBezTo>
                <a:cubicBezTo>
                  <a:pt x="183" y="362"/>
                  <a:pt x="183" y="362"/>
                  <a:pt x="183" y="362"/>
                </a:cubicBezTo>
                <a:cubicBezTo>
                  <a:pt x="201" y="365"/>
                  <a:pt x="201" y="365"/>
                  <a:pt x="201" y="365"/>
                </a:cubicBezTo>
                <a:cubicBezTo>
                  <a:pt x="206" y="365"/>
                  <a:pt x="212" y="366"/>
                  <a:pt x="218" y="366"/>
                </a:cubicBezTo>
                <a:cubicBezTo>
                  <a:pt x="252" y="370"/>
                  <a:pt x="252" y="370"/>
                  <a:pt x="252" y="370"/>
                </a:cubicBezTo>
                <a:cubicBezTo>
                  <a:pt x="321" y="377"/>
                  <a:pt x="321" y="377"/>
                  <a:pt x="321" y="377"/>
                </a:cubicBezTo>
                <a:cubicBezTo>
                  <a:pt x="332" y="378"/>
                  <a:pt x="343" y="379"/>
                  <a:pt x="355" y="379"/>
                </a:cubicBezTo>
                <a:cubicBezTo>
                  <a:pt x="389" y="382"/>
                  <a:pt x="389" y="382"/>
                  <a:pt x="389" y="382"/>
                </a:cubicBezTo>
                <a:cubicBezTo>
                  <a:pt x="458" y="386"/>
                  <a:pt x="458" y="386"/>
                  <a:pt x="458" y="386"/>
                </a:cubicBezTo>
                <a:cubicBezTo>
                  <a:pt x="526" y="389"/>
                  <a:pt x="526" y="389"/>
                  <a:pt x="526" y="389"/>
                </a:cubicBezTo>
                <a:cubicBezTo>
                  <a:pt x="560" y="390"/>
                  <a:pt x="560" y="390"/>
                  <a:pt x="560" y="390"/>
                </a:cubicBezTo>
                <a:cubicBezTo>
                  <a:pt x="577" y="391"/>
                  <a:pt x="577" y="391"/>
                  <a:pt x="577" y="391"/>
                </a:cubicBezTo>
                <a:cubicBezTo>
                  <a:pt x="581" y="391"/>
                  <a:pt x="584" y="391"/>
                  <a:pt x="588" y="391"/>
                </a:cubicBezTo>
                <a:cubicBezTo>
                  <a:pt x="590" y="391"/>
                  <a:pt x="592" y="391"/>
                  <a:pt x="594" y="391"/>
                </a:cubicBezTo>
                <a:cubicBezTo>
                  <a:pt x="662" y="391"/>
                  <a:pt x="662" y="391"/>
                  <a:pt x="662" y="391"/>
                </a:cubicBezTo>
                <a:cubicBezTo>
                  <a:pt x="696" y="391"/>
                  <a:pt x="696" y="391"/>
                  <a:pt x="696" y="391"/>
                </a:cubicBezTo>
                <a:cubicBezTo>
                  <a:pt x="707" y="391"/>
                  <a:pt x="718" y="391"/>
                  <a:pt x="730" y="391"/>
                </a:cubicBezTo>
                <a:cubicBezTo>
                  <a:pt x="797" y="389"/>
                  <a:pt x="797" y="389"/>
                  <a:pt x="797" y="389"/>
                </a:cubicBezTo>
                <a:cubicBezTo>
                  <a:pt x="814" y="388"/>
                  <a:pt x="814" y="388"/>
                  <a:pt x="814" y="388"/>
                </a:cubicBezTo>
                <a:cubicBezTo>
                  <a:pt x="820" y="388"/>
                  <a:pt x="825" y="388"/>
                  <a:pt x="831" y="387"/>
                </a:cubicBezTo>
                <a:cubicBezTo>
                  <a:pt x="865" y="385"/>
                  <a:pt x="865" y="385"/>
                  <a:pt x="865" y="385"/>
                </a:cubicBezTo>
                <a:cubicBezTo>
                  <a:pt x="932" y="381"/>
                  <a:pt x="932" y="381"/>
                  <a:pt x="932" y="381"/>
                </a:cubicBezTo>
                <a:cubicBezTo>
                  <a:pt x="999" y="375"/>
                  <a:pt x="999" y="375"/>
                  <a:pt x="999" y="375"/>
                </a:cubicBezTo>
                <a:cubicBezTo>
                  <a:pt x="1032" y="372"/>
                  <a:pt x="1032" y="372"/>
                  <a:pt x="1032" y="372"/>
                </a:cubicBezTo>
                <a:cubicBezTo>
                  <a:pt x="1040" y="371"/>
                  <a:pt x="1040" y="371"/>
                  <a:pt x="1040" y="371"/>
                </a:cubicBezTo>
                <a:cubicBezTo>
                  <a:pt x="1049" y="370"/>
                  <a:pt x="1049" y="370"/>
                  <a:pt x="1049" y="370"/>
                </a:cubicBezTo>
                <a:cubicBezTo>
                  <a:pt x="1065" y="368"/>
                  <a:pt x="1065" y="368"/>
                  <a:pt x="1065" y="368"/>
                </a:cubicBezTo>
                <a:cubicBezTo>
                  <a:pt x="1132" y="360"/>
                  <a:pt x="1132" y="360"/>
                  <a:pt x="1132" y="360"/>
                </a:cubicBezTo>
                <a:cubicBezTo>
                  <a:pt x="1148" y="358"/>
                  <a:pt x="1148" y="358"/>
                  <a:pt x="1148" y="358"/>
                </a:cubicBezTo>
                <a:cubicBezTo>
                  <a:pt x="1165" y="355"/>
                  <a:pt x="1165" y="355"/>
                  <a:pt x="1165" y="355"/>
                </a:cubicBezTo>
                <a:cubicBezTo>
                  <a:pt x="1198" y="350"/>
                  <a:pt x="1198" y="350"/>
                  <a:pt x="1198" y="350"/>
                </a:cubicBezTo>
                <a:cubicBezTo>
                  <a:pt x="1231" y="345"/>
                  <a:pt x="1231" y="345"/>
                  <a:pt x="1231" y="345"/>
                </a:cubicBezTo>
                <a:cubicBezTo>
                  <a:pt x="1247" y="343"/>
                  <a:pt x="1247" y="343"/>
                  <a:pt x="1247" y="343"/>
                </a:cubicBezTo>
                <a:cubicBezTo>
                  <a:pt x="1255" y="341"/>
                  <a:pt x="1255" y="341"/>
                  <a:pt x="1255" y="341"/>
                </a:cubicBezTo>
                <a:cubicBezTo>
                  <a:pt x="1263" y="340"/>
                  <a:pt x="1263" y="340"/>
                  <a:pt x="1263" y="340"/>
                </a:cubicBezTo>
                <a:cubicBezTo>
                  <a:pt x="1613" y="278"/>
                  <a:pt x="1949" y="164"/>
                  <a:pt x="2261" y="0"/>
                </a:cubicBezTo>
                <a:cubicBezTo>
                  <a:pt x="2447" y="148"/>
                  <a:pt x="2651" y="289"/>
                  <a:pt x="2871" y="420"/>
                </a:cubicBezTo>
                <a:cubicBezTo>
                  <a:pt x="2874" y="676"/>
                  <a:pt x="2855" y="933"/>
                  <a:pt x="2814" y="1188"/>
                </a:cubicBezTo>
              </a:path>
            </a:pathLst>
          </a:custGeom>
          <a:gradFill flip="none" rotWithShape="1">
            <a:gsLst>
              <a:gs pos="73000">
                <a:schemeClr val="accent1"/>
              </a:gs>
              <a:gs pos="31000">
                <a:schemeClr val="accent1">
                  <a:lumMod val="60000"/>
                  <a:lumOff val="40000"/>
                </a:schemeClr>
              </a:gs>
              <a:gs pos="0">
                <a:schemeClr val="accent1">
                  <a:lumMod val="40000"/>
                  <a:lumOff val="60000"/>
                </a:schemeClr>
              </a:gs>
            </a:gsLst>
            <a:lin ang="810000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Black"/>
              <a:ea typeface="+mj-ea"/>
              <a:cs typeface="+mn-cs"/>
            </a:endParaRPr>
          </a:p>
        </p:txBody>
      </p:sp>
      <p:sp>
        <p:nvSpPr>
          <p:cNvPr id="7" name="Freeform 9">
            <a:extLst>
              <a:ext uri="{FF2B5EF4-FFF2-40B4-BE49-F238E27FC236}">
                <a16:creationId xmlns:a16="http://schemas.microsoft.com/office/drawing/2014/main" id="{DCBD7B05-295F-4921-B354-6BE5C18D07C1}"/>
              </a:ext>
            </a:extLst>
          </p:cNvPr>
          <p:cNvSpPr>
            <a:spLocks/>
          </p:cNvSpPr>
          <p:nvPr/>
        </p:nvSpPr>
        <p:spPr bwMode="auto">
          <a:xfrm>
            <a:off x="5483580" y="3090928"/>
            <a:ext cx="2344471" cy="1347121"/>
          </a:xfrm>
          <a:custGeom>
            <a:avLst/>
            <a:gdLst>
              <a:gd name="T0" fmla="*/ 1826 w 2921"/>
              <a:gd name="T1" fmla="*/ 1577 h 1678"/>
              <a:gd name="T2" fmla="*/ 1079 w 2921"/>
              <a:gd name="T3" fmla="*/ 1361 h 1678"/>
              <a:gd name="T4" fmla="*/ 1059 w 2921"/>
              <a:gd name="T5" fmla="*/ 1354 h 1678"/>
              <a:gd name="T6" fmla="*/ 999 w 2921"/>
              <a:gd name="T7" fmla="*/ 1331 h 1678"/>
              <a:gd name="T8" fmla="*/ 900 w 2921"/>
              <a:gd name="T9" fmla="*/ 1293 h 1678"/>
              <a:gd name="T10" fmla="*/ 841 w 2921"/>
              <a:gd name="T11" fmla="*/ 1268 h 1678"/>
              <a:gd name="T12" fmla="*/ 723 w 2921"/>
              <a:gd name="T13" fmla="*/ 1219 h 1678"/>
              <a:gd name="T14" fmla="*/ 533 w 2921"/>
              <a:gd name="T15" fmla="*/ 1134 h 1678"/>
              <a:gd name="T16" fmla="*/ 269 w 2921"/>
              <a:gd name="T17" fmla="*/ 1017 h 1678"/>
              <a:gd name="T18" fmla="*/ 235 w 2921"/>
              <a:gd name="T19" fmla="*/ 1004 h 1678"/>
              <a:gd name="T20" fmla="*/ 135 w 2921"/>
              <a:gd name="T21" fmla="*/ 964 h 1678"/>
              <a:gd name="T22" fmla="*/ 67 w 2921"/>
              <a:gd name="T23" fmla="*/ 939 h 1678"/>
              <a:gd name="T24" fmla="*/ 277 w 2921"/>
              <a:gd name="T25" fmla="*/ 0 h 1678"/>
              <a:gd name="T26" fmla="*/ 400 w 2921"/>
              <a:gd name="T27" fmla="*/ 34 h 1678"/>
              <a:gd name="T28" fmla="*/ 521 w 2921"/>
              <a:gd name="T29" fmla="*/ 70 h 1678"/>
              <a:gd name="T30" fmla="*/ 582 w 2921"/>
              <a:gd name="T31" fmla="*/ 89 h 1678"/>
              <a:gd name="T32" fmla="*/ 763 w 2921"/>
              <a:gd name="T33" fmla="*/ 148 h 1678"/>
              <a:gd name="T34" fmla="*/ 941 w 2921"/>
              <a:gd name="T35" fmla="*/ 213 h 1678"/>
              <a:gd name="T36" fmla="*/ 992 w 2921"/>
              <a:gd name="T37" fmla="*/ 231 h 1678"/>
              <a:gd name="T38" fmla="*/ 1094 w 2921"/>
              <a:gd name="T39" fmla="*/ 268 h 1678"/>
              <a:gd name="T40" fmla="*/ 1196 w 2921"/>
              <a:gd name="T41" fmla="*/ 301 h 1678"/>
              <a:gd name="T42" fmla="*/ 1247 w 2921"/>
              <a:gd name="T43" fmla="*/ 317 h 1678"/>
              <a:gd name="T44" fmla="*/ 1333 w 2921"/>
              <a:gd name="T45" fmla="*/ 342 h 1678"/>
              <a:gd name="T46" fmla="*/ 1384 w 2921"/>
              <a:gd name="T47" fmla="*/ 357 h 1678"/>
              <a:gd name="T48" fmla="*/ 1401 w 2921"/>
              <a:gd name="T49" fmla="*/ 362 h 1678"/>
              <a:gd name="T50" fmla="*/ 2020 w 2921"/>
              <a:gd name="T51" fmla="*/ 488 h 1678"/>
              <a:gd name="T52" fmla="*/ 2576 w 2921"/>
              <a:gd name="T53" fmla="*/ 540 h 1678"/>
              <a:gd name="T54" fmla="*/ 2605 w 2921"/>
              <a:gd name="T55" fmla="*/ 594 h 1678"/>
              <a:gd name="T56" fmla="*/ 2688 w 2921"/>
              <a:gd name="T57" fmla="*/ 738 h 1678"/>
              <a:gd name="T58" fmla="*/ 2823 w 2921"/>
              <a:gd name="T59" fmla="*/ 954 h 1678"/>
              <a:gd name="T60" fmla="*/ 2831 w 2921"/>
              <a:gd name="T61" fmla="*/ 1249 h 1678"/>
              <a:gd name="T62" fmla="*/ 2685 w 2921"/>
              <a:gd name="T63" fmla="*/ 1468 h 1678"/>
              <a:gd name="T64" fmla="*/ 2579 w 2921"/>
              <a:gd name="T65" fmla="*/ 1608 h 1678"/>
              <a:gd name="T66" fmla="*/ 2537 w 2921"/>
              <a:gd name="T67" fmla="*/ 1661 h 1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21" h="1678">
                <a:moveTo>
                  <a:pt x="2523" y="1678"/>
                </a:moveTo>
                <a:cubicBezTo>
                  <a:pt x="2287" y="1660"/>
                  <a:pt x="2054" y="1626"/>
                  <a:pt x="1826" y="1577"/>
                </a:cubicBezTo>
                <a:cubicBezTo>
                  <a:pt x="1599" y="1528"/>
                  <a:pt x="1376" y="1464"/>
                  <a:pt x="1160" y="1389"/>
                </a:cubicBezTo>
                <a:cubicBezTo>
                  <a:pt x="1079" y="1361"/>
                  <a:pt x="1079" y="1361"/>
                  <a:pt x="1079" y="1361"/>
                </a:cubicBezTo>
                <a:cubicBezTo>
                  <a:pt x="1069" y="1357"/>
                  <a:pt x="1069" y="1357"/>
                  <a:pt x="1069" y="1357"/>
                </a:cubicBezTo>
                <a:cubicBezTo>
                  <a:pt x="1059" y="1354"/>
                  <a:pt x="1059" y="1354"/>
                  <a:pt x="1059" y="1354"/>
                </a:cubicBezTo>
                <a:cubicBezTo>
                  <a:pt x="1039" y="1346"/>
                  <a:pt x="1039" y="1346"/>
                  <a:pt x="1039" y="1346"/>
                </a:cubicBezTo>
                <a:cubicBezTo>
                  <a:pt x="999" y="1331"/>
                  <a:pt x="999" y="1331"/>
                  <a:pt x="999" y="1331"/>
                </a:cubicBezTo>
                <a:cubicBezTo>
                  <a:pt x="920" y="1300"/>
                  <a:pt x="920" y="1300"/>
                  <a:pt x="920" y="1300"/>
                </a:cubicBezTo>
                <a:cubicBezTo>
                  <a:pt x="900" y="1293"/>
                  <a:pt x="900" y="1293"/>
                  <a:pt x="900" y="1293"/>
                </a:cubicBezTo>
                <a:cubicBezTo>
                  <a:pt x="893" y="1290"/>
                  <a:pt x="887" y="1287"/>
                  <a:pt x="880" y="1285"/>
                </a:cubicBezTo>
                <a:cubicBezTo>
                  <a:pt x="841" y="1268"/>
                  <a:pt x="841" y="1268"/>
                  <a:pt x="841" y="1268"/>
                </a:cubicBezTo>
                <a:cubicBezTo>
                  <a:pt x="762" y="1236"/>
                  <a:pt x="762" y="1236"/>
                  <a:pt x="762" y="1236"/>
                </a:cubicBezTo>
                <a:cubicBezTo>
                  <a:pt x="723" y="1219"/>
                  <a:pt x="723" y="1219"/>
                  <a:pt x="723" y="1219"/>
                </a:cubicBezTo>
                <a:cubicBezTo>
                  <a:pt x="685" y="1202"/>
                  <a:pt x="685" y="1202"/>
                  <a:pt x="685" y="1202"/>
                </a:cubicBezTo>
                <a:cubicBezTo>
                  <a:pt x="533" y="1134"/>
                  <a:pt x="533" y="1134"/>
                  <a:pt x="533" y="1134"/>
                </a:cubicBezTo>
                <a:cubicBezTo>
                  <a:pt x="402" y="1074"/>
                  <a:pt x="402" y="1074"/>
                  <a:pt x="402" y="1074"/>
                </a:cubicBezTo>
                <a:cubicBezTo>
                  <a:pt x="269" y="1017"/>
                  <a:pt x="269" y="1017"/>
                  <a:pt x="269" y="1017"/>
                </a:cubicBezTo>
                <a:cubicBezTo>
                  <a:pt x="252" y="1010"/>
                  <a:pt x="252" y="1010"/>
                  <a:pt x="252" y="1010"/>
                </a:cubicBezTo>
                <a:cubicBezTo>
                  <a:pt x="235" y="1004"/>
                  <a:pt x="235" y="1004"/>
                  <a:pt x="235" y="1004"/>
                </a:cubicBezTo>
                <a:cubicBezTo>
                  <a:pt x="202" y="990"/>
                  <a:pt x="202" y="990"/>
                  <a:pt x="202" y="990"/>
                </a:cubicBezTo>
                <a:cubicBezTo>
                  <a:pt x="135" y="964"/>
                  <a:pt x="135" y="964"/>
                  <a:pt x="135" y="964"/>
                </a:cubicBezTo>
                <a:cubicBezTo>
                  <a:pt x="124" y="960"/>
                  <a:pt x="112" y="955"/>
                  <a:pt x="101" y="951"/>
                </a:cubicBezTo>
                <a:cubicBezTo>
                  <a:pt x="67" y="939"/>
                  <a:pt x="67" y="939"/>
                  <a:pt x="67" y="939"/>
                </a:cubicBezTo>
                <a:cubicBezTo>
                  <a:pt x="0" y="915"/>
                  <a:pt x="0" y="915"/>
                  <a:pt x="0" y="915"/>
                </a:cubicBezTo>
                <a:cubicBezTo>
                  <a:pt x="277" y="0"/>
                  <a:pt x="277" y="0"/>
                  <a:pt x="277" y="0"/>
                </a:cubicBezTo>
                <a:cubicBezTo>
                  <a:pt x="359" y="23"/>
                  <a:pt x="359" y="23"/>
                  <a:pt x="359" y="23"/>
                </a:cubicBezTo>
                <a:cubicBezTo>
                  <a:pt x="400" y="34"/>
                  <a:pt x="400" y="34"/>
                  <a:pt x="400" y="34"/>
                </a:cubicBezTo>
                <a:cubicBezTo>
                  <a:pt x="413" y="37"/>
                  <a:pt x="427" y="42"/>
                  <a:pt x="440" y="46"/>
                </a:cubicBezTo>
                <a:cubicBezTo>
                  <a:pt x="521" y="70"/>
                  <a:pt x="521" y="70"/>
                  <a:pt x="521" y="70"/>
                </a:cubicBezTo>
                <a:cubicBezTo>
                  <a:pt x="562" y="82"/>
                  <a:pt x="562" y="82"/>
                  <a:pt x="562" y="82"/>
                </a:cubicBezTo>
                <a:cubicBezTo>
                  <a:pt x="582" y="89"/>
                  <a:pt x="582" y="89"/>
                  <a:pt x="582" y="89"/>
                </a:cubicBezTo>
                <a:cubicBezTo>
                  <a:pt x="602" y="95"/>
                  <a:pt x="602" y="95"/>
                  <a:pt x="602" y="95"/>
                </a:cubicBezTo>
                <a:cubicBezTo>
                  <a:pt x="763" y="148"/>
                  <a:pt x="763" y="148"/>
                  <a:pt x="763" y="148"/>
                </a:cubicBezTo>
                <a:cubicBezTo>
                  <a:pt x="921" y="206"/>
                  <a:pt x="921" y="206"/>
                  <a:pt x="921" y="206"/>
                </a:cubicBezTo>
                <a:cubicBezTo>
                  <a:pt x="941" y="213"/>
                  <a:pt x="941" y="213"/>
                  <a:pt x="941" y="213"/>
                </a:cubicBezTo>
                <a:cubicBezTo>
                  <a:pt x="958" y="219"/>
                  <a:pt x="958" y="219"/>
                  <a:pt x="958" y="219"/>
                </a:cubicBezTo>
                <a:cubicBezTo>
                  <a:pt x="992" y="231"/>
                  <a:pt x="992" y="231"/>
                  <a:pt x="992" y="231"/>
                </a:cubicBezTo>
                <a:cubicBezTo>
                  <a:pt x="1060" y="256"/>
                  <a:pt x="1060" y="256"/>
                  <a:pt x="1060" y="256"/>
                </a:cubicBezTo>
                <a:cubicBezTo>
                  <a:pt x="1094" y="268"/>
                  <a:pt x="1094" y="268"/>
                  <a:pt x="1094" y="268"/>
                </a:cubicBezTo>
                <a:cubicBezTo>
                  <a:pt x="1128" y="279"/>
                  <a:pt x="1128" y="279"/>
                  <a:pt x="1128" y="279"/>
                </a:cubicBezTo>
                <a:cubicBezTo>
                  <a:pt x="1196" y="301"/>
                  <a:pt x="1196" y="301"/>
                  <a:pt x="1196" y="301"/>
                </a:cubicBezTo>
                <a:cubicBezTo>
                  <a:pt x="1230" y="312"/>
                  <a:pt x="1230" y="312"/>
                  <a:pt x="1230" y="312"/>
                </a:cubicBezTo>
                <a:cubicBezTo>
                  <a:pt x="1236" y="314"/>
                  <a:pt x="1242" y="316"/>
                  <a:pt x="1247" y="317"/>
                </a:cubicBezTo>
                <a:cubicBezTo>
                  <a:pt x="1264" y="322"/>
                  <a:pt x="1264" y="322"/>
                  <a:pt x="1264" y="322"/>
                </a:cubicBezTo>
                <a:cubicBezTo>
                  <a:pt x="1333" y="342"/>
                  <a:pt x="1333" y="342"/>
                  <a:pt x="1333" y="342"/>
                </a:cubicBezTo>
                <a:cubicBezTo>
                  <a:pt x="1367" y="352"/>
                  <a:pt x="1367" y="352"/>
                  <a:pt x="1367" y="352"/>
                </a:cubicBezTo>
                <a:cubicBezTo>
                  <a:pt x="1384" y="357"/>
                  <a:pt x="1384" y="357"/>
                  <a:pt x="1384" y="357"/>
                </a:cubicBezTo>
                <a:cubicBezTo>
                  <a:pt x="1393" y="360"/>
                  <a:pt x="1393" y="360"/>
                  <a:pt x="1393" y="360"/>
                </a:cubicBezTo>
                <a:cubicBezTo>
                  <a:pt x="1401" y="362"/>
                  <a:pt x="1401" y="362"/>
                  <a:pt x="1401" y="362"/>
                </a:cubicBezTo>
                <a:cubicBezTo>
                  <a:pt x="1470" y="380"/>
                  <a:pt x="1470" y="380"/>
                  <a:pt x="1470" y="380"/>
                </a:cubicBezTo>
                <a:cubicBezTo>
                  <a:pt x="1653" y="427"/>
                  <a:pt x="1837" y="464"/>
                  <a:pt x="2020" y="488"/>
                </a:cubicBezTo>
                <a:cubicBezTo>
                  <a:pt x="2203" y="512"/>
                  <a:pt x="2386" y="524"/>
                  <a:pt x="2567" y="522"/>
                </a:cubicBezTo>
                <a:cubicBezTo>
                  <a:pt x="2576" y="540"/>
                  <a:pt x="2576" y="540"/>
                  <a:pt x="2576" y="540"/>
                </a:cubicBezTo>
                <a:cubicBezTo>
                  <a:pt x="2586" y="558"/>
                  <a:pt x="2586" y="558"/>
                  <a:pt x="2586" y="558"/>
                </a:cubicBezTo>
                <a:cubicBezTo>
                  <a:pt x="2605" y="594"/>
                  <a:pt x="2605" y="594"/>
                  <a:pt x="2605" y="594"/>
                </a:cubicBezTo>
                <a:cubicBezTo>
                  <a:pt x="2619" y="618"/>
                  <a:pt x="2632" y="642"/>
                  <a:pt x="2646" y="666"/>
                </a:cubicBezTo>
                <a:cubicBezTo>
                  <a:pt x="2659" y="690"/>
                  <a:pt x="2673" y="714"/>
                  <a:pt x="2688" y="738"/>
                </a:cubicBezTo>
                <a:cubicBezTo>
                  <a:pt x="2702" y="762"/>
                  <a:pt x="2716" y="786"/>
                  <a:pt x="2731" y="810"/>
                </a:cubicBezTo>
                <a:cubicBezTo>
                  <a:pt x="2760" y="858"/>
                  <a:pt x="2791" y="906"/>
                  <a:pt x="2823" y="954"/>
                </a:cubicBezTo>
                <a:cubicBezTo>
                  <a:pt x="2854" y="1001"/>
                  <a:pt x="2887" y="1049"/>
                  <a:pt x="2921" y="1097"/>
                </a:cubicBezTo>
                <a:cubicBezTo>
                  <a:pt x="2892" y="1148"/>
                  <a:pt x="2862" y="1198"/>
                  <a:pt x="2831" y="1249"/>
                </a:cubicBezTo>
                <a:cubicBezTo>
                  <a:pt x="2800" y="1298"/>
                  <a:pt x="2768" y="1347"/>
                  <a:pt x="2735" y="1395"/>
                </a:cubicBezTo>
                <a:cubicBezTo>
                  <a:pt x="2719" y="1420"/>
                  <a:pt x="2702" y="1444"/>
                  <a:pt x="2685" y="1468"/>
                </a:cubicBezTo>
                <a:cubicBezTo>
                  <a:pt x="2667" y="1491"/>
                  <a:pt x="2650" y="1515"/>
                  <a:pt x="2632" y="1538"/>
                </a:cubicBezTo>
                <a:cubicBezTo>
                  <a:pt x="2615" y="1562"/>
                  <a:pt x="2597" y="1585"/>
                  <a:pt x="2579" y="1608"/>
                </a:cubicBezTo>
                <a:cubicBezTo>
                  <a:pt x="2551" y="1643"/>
                  <a:pt x="2551" y="1643"/>
                  <a:pt x="2551" y="1643"/>
                </a:cubicBezTo>
                <a:cubicBezTo>
                  <a:pt x="2537" y="1661"/>
                  <a:pt x="2537" y="1661"/>
                  <a:pt x="2537" y="1661"/>
                </a:cubicBezTo>
                <a:cubicBezTo>
                  <a:pt x="2523" y="1678"/>
                  <a:pt x="2523" y="1678"/>
                  <a:pt x="2523" y="1678"/>
                </a:cubicBezTo>
              </a:path>
            </a:pathLst>
          </a:custGeom>
          <a:gradFill flip="none" rotWithShape="1">
            <a:gsLst>
              <a:gs pos="73000">
                <a:schemeClr val="accent1"/>
              </a:gs>
              <a:gs pos="31000">
                <a:schemeClr val="accent1">
                  <a:lumMod val="60000"/>
                  <a:lumOff val="40000"/>
                </a:schemeClr>
              </a:gs>
              <a:gs pos="0">
                <a:schemeClr val="accent1">
                  <a:lumMod val="40000"/>
                  <a:lumOff val="60000"/>
                </a:schemeClr>
              </a:gs>
            </a:gsLst>
            <a:lin ang="810000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Black"/>
              <a:ea typeface="+mj-ea"/>
              <a:cs typeface="+mn-cs"/>
            </a:endParaRPr>
          </a:p>
        </p:txBody>
      </p:sp>
      <p:sp>
        <p:nvSpPr>
          <p:cNvPr id="11" name="Freeform 15">
            <a:extLst>
              <a:ext uri="{FF2B5EF4-FFF2-40B4-BE49-F238E27FC236}">
                <a16:creationId xmlns:a16="http://schemas.microsoft.com/office/drawing/2014/main" id="{2560DE24-866B-44EC-A632-9F0193255E65}"/>
              </a:ext>
            </a:extLst>
          </p:cNvPr>
          <p:cNvSpPr>
            <a:spLocks/>
          </p:cNvSpPr>
          <p:nvPr/>
        </p:nvSpPr>
        <p:spPr bwMode="auto">
          <a:xfrm>
            <a:off x="4046482" y="2918578"/>
            <a:ext cx="2265900" cy="1068319"/>
          </a:xfrm>
          <a:custGeom>
            <a:avLst/>
            <a:gdLst>
              <a:gd name="T0" fmla="*/ 2284 w 2824"/>
              <a:gd name="T1" fmla="*/ 1330 h 1330"/>
              <a:gd name="T2" fmla="*/ 1750 w 2824"/>
              <a:gd name="T3" fmla="*/ 1114 h 1330"/>
              <a:gd name="T4" fmla="*/ 1197 w 2824"/>
              <a:gd name="T5" fmla="*/ 958 h 1330"/>
              <a:gd name="T6" fmla="*/ 56 w 2824"/>
              <a:gd name="T7" fmla="*/ 847 h 1330"/>
              <a:gd name="T8" fmla="*/ 0 w 2824"/>
              <a:gd name="T9" fmla="*/ 48 h 1330"/>
              <a:gd name="T10" fmla="*/ 1353 w 2824"/>
              <a:gd name="T11" fmla="*/ 70 h 1330"/>
              <a:gd name="T12" fmla="*/ 2019 w 2824"/>
              <a:gd name="T13" fmla="*/ 202 h 1330"/>
              <a:gd name="T14" fmla="*/ 2664 w 2824"/>
              <a:gd name="T15" fmla="*/ 403 h 1330"/>
              <a:gd name="T16" fmla="*/ 2743 w 2824"/>
              <a:gd name="T17" fmla="*/ 701 h 1330"/>
              <a:gd name="T18" fmla="*/ 2762 w 2824"/>
              <a:gd name="T19" fmla="*/ 777 h 1330"/>
              <a:gd name="T20" fmla="*/ 2782 w 2824"/>
              <a:gd name="T21" fmla="*/ 852 h 1330"/>
              <a:gd name="T22" fmla="*/ 2824 w 2824"/>
              <a:gd name="T23" fmla="*/ 1004 h 1330"/>
              <a:gd name="T24" fmla="*/ 2690 w 2824"/>
              <a:gd name="T25" fmla="*/ 1091 h 1330"/>
              <a:gd name="T26" fmla="*/ 2622 w 2824"/>
              <a:gd name="T27" fmla="*/ 1133 h 1330"/>
              <a:gd name="T28" fmla="*/ 2554 w 2824"/>
              <a:gd name="T29" fmla="*/ 1173 h 1330"/>
              <a:gd name="T30" fmla="*/ 2284 w 2824"/>
              <a:gd name="T31" fmla="*/ 1330 h 1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24" h="1330">
                <a:moveTo>
                  <a:pt x="2284" y="1330"/>
                </a:moveTo>
                <a:cubicBezTo>
                  <a:pt x="2109" y="1249"/>
                  <a:pt x="1931" y="1177"/>
                  <a:pt x="1750" y="1114"/>
                </a:cubicBezTo>
                <a:cubicBezTo>
                  <a:pt x="1568" y="1052"/>
                  <a:pt x="1384" y="1000"/>
                  <a:pt x="1197" y="958"/>
                </a:cubicBezTo>
                <a:cubicBezTo>
                  <a:pt x="823" y="875"/>
                  <a:pt x="440" y="837"/>
                  <a:pt x="56" y="847"/>
                </a:cubicBezTo>
                <a:cubicBezTo>
                  <a:pt x="0" y="48"/>
                  <a:pt x="0" y="48"/>
                  <a:pt x="0" y="48"/>
                </a:cubicBezTo>
                <a:cubicBezTo>
                  <a:pt x="448" y="0"/>
                  <a:pt x="905" y="8"/>
                  <a:pt x="1353" y="70"/>
                </a:cubicBezTo>
                <a:cubicBezTo>
                  <a:pt x="1578" y="102"/>
                  <a:pt x="1800" y="146"/>
                  <a:pt x="2019" y="202"/>
                </a:cubicBezTo>
                <a:cubicBezTo>
                  <a:pt x="2238" y="258"/>
                  <a:pt x="2453" y="325"/>
                  <a:pt x="2664" y="403"/>
                </a:cubicBezTo>
                <a:cubicBezTo>
                  <a:pt x="2699" y="505"/>
                  <a:pt x="2717" y="601"/>
                  <a:pt x="2743" y="701"/>
                </a:cubicBezTo>
                <a:cubicBezTo>
                  <a:pt x="2762" y="777"/>
                  <a:pt x="2762" y="777"/>
                  <a:pt x="2762" y="777"/>
                </a:cubicBezTo>
                <a:cubicBezTo>
                  <a:pt x="2768" y="802"/>
                  <a:pt x="2775" y="827"/>
                  <a:pt x="2782" y="852"/>
                </a:cubicBezTo>
                <a:cubicBezTo>
                  <a:pt x="2795" y="902"/>
                  <a:pt x="2810" y="953"/>
                  <a:pt x="2824" y="1004"/>
                </a:cubicBezTo>
                <a:cubicBezTo>
                  <a:pt x="2780" y="1034"/>
                  <a:pt x="2736" y="1063"/>
                  <a:pt x="2690" y="1091"/>
                </a:cubicBezTo>
                <a:cubicBezTo>
                  <a:pt x="2668" y="1105"/>
                  <a:pt x="2645" y="1120"/>
                  <a:pt x="2622" y="1133"/>
                </a:cubicBezTo>
                <a:cubicBezTo>
                  <a:pt x="2600" y="1147"/>
                  <a:pt x="2577" y="1160"/>
                  <a:pt x="2554" y="1173"/>
                </a:cubicBezTo>
                <a:cubicBezTo>
                  <a:pt x="2464" y="1227"/>
                  <a:pt x="2365" y="1275"/>
                  <a:pt x="2284" y="1330"/>
                </a:cubicBezTo>
              </a:path>
            </a:pathLst>
          </a:custGeom>
          <a:gradFill flip="none" rotWithShape="1">
            <a:gsLst>
              <a:gs pos="73000">
                <a:schemeClr val="accent1"/>
              </a:gs>
              <a:gs pos="31000">
                <a:schemeClr val="accent1">
                  <a:lumMod val="60000"/>
                  <a:lumOff val="40000"/>
                </a:schemeClr>
              </a:gs>
              <a:gs pos="0">
                <a:schemeClr val="accent1">
                  <a:lumMod val="40000"/>
                  <a:lumOff val="60000"/>
                </a:schemeClr>
              </a:gs>
            </a:gsLst>
            <a:lin ang="810000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Black"/>
              <a:ea typeface="+mj-ea"/>
              <a:cs typeface="+mn-cs"/>
            </a:endParaRPr>
          </a:p>
        </p:txBody>
      </p:sp>
      <p:sp>
        <p:nvSpPr>
          <p:cNvPr id="13" name="Freeform 17">
            <a:extLst>
              <a:ext uri="{FF2B5EF4-FFF2-40B4-BE49-F238E27FC236}">
                <a16:creationId xmlns:a16="http://schemas.microsoft.com/office/drawing/2014/main" id="{8C077D57-0553-420E-B9E4-CAF2B8C1C93C}"/>
              </a:ext>
            </a:extLst>
          </p:cNvPr>
          <p:cNvSpPr>
            <a:spLocks/>
          </p:cNvSpPr>
          <p:nvPr/>
        </p:nvSpPr>
        <p:spPr bwMode="auto">
          <a:xfrm>
            <a:off x="4517911" y="3613048"/>
            <a:ext cx="1794471" cy="373848"/>
          </a:xfrm>
          <a:custGeom>
            <a:avLst/>
            <a:gdLst>
              <a:gd name="T0" fmla="*/ 0 w 2236"/>
              <a:gd name="T1" fmla="*/ 0 h 466"/>
              <a:gd name="T2" fmla="*/ 0 w 2236"/>
              <a:gd name="T3" fmla="*/ 0 h 466"/>
              <a:gd name="T4" fmla="*/ 609 w 2236"/>
              <a:gd name="T5" fmla="*/ 94 h 466"/>
              <a:gd name="T6" fmla="*/ 1162 w 2236"/>
              <a:gd name="T7" fmla="*/ 250 h 466"/>
              <a:gd name="T8" fmla="*/ 1696 w 2236"/>
              <a:gd name="T9" fmla="*/ 466 h 466"/>
              <a:gd name="T10" fmla="*/ 1966 w 2236"/>
              <a:gd name="T11" fmla="*/ 309 h 466"/>
              <a:gd name="T12" fmla="*/ 2034 w 2236"/>
              <a:gd name="T13" fmla="*/ 269 h 466"/>
              <a:gd name="T14" fmla="*/ 2102 w 2236"/>
              <a:gd name="T15" fmla="*/ 227 h 466"/>
              <a:gd name="T16" fmla="*/ 2236 w 2236"/>
              <a:gd name="T17" fmla="*/ 140 h 466"/>
              <a:gd name="T18" fmla="*/ 2236 w 2236"/>
              <a:gd name="T19" fmla="*/ 140 h 466"/>
              <a:gd name="T20" fmla="*/ 2102 w 2236"/>
              <a:gd name="T21" fmla="*/ 227 h 466"/>
              <a:gd name="T22" fmla="*/ 2034 w 2236"/>
              <a:gd name="T23" fmla="*/ 269 h 466"/>
              <a:gd name="T24" fmla="*/ 1966 w 2236"/>
              <a:gd name="T25" fmla="*/ 309 h 466"/>
              <a:gd name="T26" fmla="*/ 1696 w 2236"/>
              <a:gd name="T27" fmla="*/ 466 h 466"/>
              <a:gd name="T28" fmla="*/ 1696 w 2236"/>
              <a:gd name="T29" fmla="*/ 466 h 466"/>
              <a:gd name="T30" fmla="*/ 1162 w 2236"/>
              <a:gd name="T31" fmla="*/ 250 h 466"/>
              <a:gd name="T32" fmla="*/ 609 w 2236"/>
              <a:gd name="T33" fmla="*/ 94 h 466"/>
              <a:gd name="T34" fmla="*/ 0 w 2236"/>
              <a:gd name="T35" fmla="*/ 0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36" h="466">
                <a:moveTo>
                  <a:pt x="0" y="0"/>
                </a:moveTo>
                <a:cubicBezTo>
                  <a:pt x="0" y="0"/>
                  <a:pt x="0" y="0"/>
                  <a:pt x="0" y="0"/>
                </a:cubicBezTo>
                <a:cubicBezTo>
                  <a:pt x="205" y="18"/>
                  <a:pt x="408" y="49"/>
                  <a:pt x="609" y="94"/>
                </a:cubicBezTo>
                <a:cubicBezTo>
                  <a:pt x="796" y="136"/>
                  <a:pt x="980" y="188"/>
                  <a:pt x="1162" y="250"/>
                </a:cubicBezTo>
                <a:cubicBezTo>
                  <a:pt x="1343" y="313"/>
                  <a:pt x="1521" y="385"/>
                  <a:pt x="1696" y="466"/>
                </a:cubicBezTo>
                <a:cubicBezTo>
                  <a:pt x="1777" y="411"/>
                  <a:pt x="1876" y="363"/>
                  <a:pt x="1966" y="309"/>
                </a:cubicBezTo>
                <a:cubicBezTo>
                  <a:pt x="1989" y="296"/>
                  <a:pt x="2012" y="283"/>
                  <a:pt x="2034" y="269"/>
                </a:cubicBezTo>
                <a:cubicBezTo>
                  <a:pt x="2057" y="256"/>
                  <a:pt x="2080" y="241"/>
                  <a:pt x="2102" y="227"/>
                </a:cubicBezTo>
                <a:cubicBezTo>
                  <a:pt x="2148" y="199"/>
                  <a:pt x="2192" y="170"/>
                  <a:pt x="2236" y="140"/>
                </a:cubicBezTo>
                <a:cubicBezTo>
                  <a:pt x="2236" y="140"/>
                  <a:pt x="2236" y="140"/>
                  <a:pt x="2236" y="140"/>
                </a:cubicBezTo>
                <a:cubicBezTo>
                  <a:pt x="2192" y="170"/>
                  <a:pt x="2148" y="199"/>
                  <a:pt x="2102" y="227"/>
                </a:cubicBezTo>
                <a:cubicBezTo>
                  <a:pt x="2080" y="241"/>
                  <a:pt x="2057" y="256"/>
                  <a:pt x="2034" y="269"/>
                </a:cubicBezTo>
                <a:cubicBezTo>
                  <a:pt x="2012" y="283"/>
                  <a:pt x="1989" y="296"/>
                  <a:pt x="1966" y="309"/>
                </a:cubicBezTo>
                <a:cubicBezTo>
                  <a:pt x="1876" y="363"/>
                  <a:pt x="1777" y="411"/>
                  <a:pt x="1696" y="466"/>
                </a:cubicBezTo>
                <a:cubicBezTo>
                  <a:pt x="1696" y="466"/>
                  <a:pt x="1696" y="466"/>
                  <a:pt x="1696" y="466"/>
                </a:cubicBezTo>
                <a:cubicBezTo>
                  <a:pt x="1521" y="385"/>
                  <a:pt x="1343" y="313"/>
                  <a:pt x="1162" y="250"/>
                </a:cubicBezTo>
                <a:cubicBezTo>
                  <a:pt x="980" y="188"/>
                  <a:pt x="796" y="136"/>
                  <a:pt x="609" y="94"/>
                </a:cubicBezTo>
                <a:cubicBezTo>
                  <a:pt x="408" y="49"/>
                  <a:pt x="205" y="18"/>
                  <a:pt x="0" y="0"/>
                </a:cubicBezTo>
              </a:path>
            </a:pathLst>
          </a:custGeom>
          <a:solidFill>
            <a:srgbClr val="08095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sp>
        <p:nvSpPr>
          <p:cNvPr id="14" name="Freeform 19">
            <a:extLst>
              <a:ext uri="{FF2B5EF4-FFF2-40B4-BE49-F238E27FC236}">
                <a16:creationId xmlns:a16="http://schemas.microsoft.com/office/drawing/2014/main" id="{55246BC1-D659-416F-A6EE-3CC10D796FB4}"/>
              </a:ext>
            </a:extLst>
          </p:cNvPr>
          <p:cNvSpPr>
            <a:spLocks/>
          </p:cNvSpPr>
          <p:nvPr/>
        </p:nvSpPr>
        <p:spPr bwMode="auto">
          <a:xfrm>
            <a:off x="2473785" y="2931251"/>
            <a:ext cx="2360946" cy="973272"/>
          </a:xfrm>
          <a:custGeom>
            <a:avLst/>
            <a:gdLst>
              <a:gd name="T0" fmla="*/ 2548 w 2942"/>
              <a:gd name="T1" fmla="*/ 849 h 1213"/>
              <a:gd name="T2" fmla="*/ 1973 w 2942"/>
              <a:gd name="T3" fmla="*/ 833 h 1213"/>
              <a:gd name="T4" fmla="*/ 1398 w 2942"/>
              <a:gd name="T5" fmla="*/ 890 h 1213"/>
              <a:gd name="T6" fmla="*/ 1362 w 2942"/>
              <a:gd name="T7" fmla="*/ 896 h 1213"/>
              <a:gd name="T8" fmla="*/ 1326 w 2942"/>
              <a:gd name="T9" fmla="*/ 902 h 1213"/>
              <a:gd name="T10" fmla="*/ 1290 w 2942"/>
              <a:gd name="T11" fmla="*/ 908 h 1213"/>
              <a:gd name="T12" fmla="*/ 1272 w 2942"/>
              <a:gd name="T13" fmla="*/ 911 h 1213"/>
              <a:gd name="T14" fmla="*/ 1255 w 2942"/>
              <a:gd name="T15" fmla="*/ 915 h 1213"/>
              <a:gd name="T16" fmla="*/ 1112 w 2942"/>
              <a:gd name="T17" fmla="*/ 945 h 1213"/>
              <a:gd name="T18" fmla="*/ 829 w 2942"/>
              <a:gd name="T19" fmla="*/ 1017 h 1213"/>
              <a:gd name="T20" fmla="*/ 689 w 2942"/>
              <a:gd name="T21" fmla="*/ 1060 h 1213"/>
              <a:gd name="T22" fmla="*/ 654 w 2942"/>
              <a:gd name="T23" fmla="*/ 1072 h 1213"/>
              <a:gd name="T24" fmla="*/ 619 w 2942"/>
              <a:gd name="T25" fmla="*/ 1083 h 1213"/>
              <a:gd name="T26" fmla="*/ 550 w 2942"/>
              <a:gd name="T27" fmla="*/ 1107 h 1213"/>
              <a:gd name="T28" fmla="*/ 532 w 2942"/>
              <a:gd name="T29" fmla="*/ 1113 h 1213"/>
              <a:gd name="T30" fmla="*/ 515 w 2942"/>
              <a:gd name="T31" fmla="*/ 1120 h 1213"/>
              <a:gd name="T32" fmla="*/ 480 w 2942"/>
              <a:gd name="T33" fmla="*/ 1132 h 1213"/>
              <a:gd name="T34" fmla="*/ 412 w 2942"/>
              <a:gd name="T35" fmla="*/ 1158 h 1213"/>
              <a:gd name="T36" fmla="*/ 343 w 2942"/>
              <a:gd name="T37" fmla="*/ 1185 h 1213"/>
              <a:gd name="T38" fmla="*/ 275 w 2942"/>
              <a:gd name="T39" fmla="*/ 1213 h 1213"/>
              <a:gd name="T40" fmla="*/ 0 w 2942"/>
              <a:gd name="T41" fmla="*/ 628 h 1213"/>
              <a:gd name="T42" fmla="*/ 74 w 2942"/>
              <a:gd name="T43" fmla="*/ 590 h 1213"/>
              <a:gd name="T44" fmla="*/ 148 w 2942"/>
              <a:gd name="T45" fmla="*/ 554 h 1213"/>
              <a:gd name="T46" fmla="*/ 223 w 2942"/>
              <a:gd name="T47" fmla="*/ 518 h 1213"/>
              <a:gd name="T48" fmla="*/ 261 w 2942"/>
              <a:gd name="T49" fmla="*/ 501 h 1213"/>
              <a:gd name="T50" fmla="*/ 280 w 2942"/>
              <a:gd name="T51" fmla="*/ 492 h 1213"/>
              <a:gd name="T52" fmla="*/ 299 w 2942"/>
              <a:gd name="T53" fmla="*/ 484 h 1213"/>
              <a:gd name="T54" fmla="*/ 375 w 2942"/>
              <a:gd name="T55" fmla="*/ 450 h 1213"/>
              <a:gd name="T56" fmla="*/ 414 w 2942"/>
              <a:gd name="T57" fmla="*/ 434 h 1213"/>
              <a:gd name="T58" fmla="*/ 452 w 2942"/>
              <a:gd name="T59" fmla="*/ 418 h 1213"/>
              <a:gd name="T60" fmla="*/ 607 w 2942"/>
              <a:gd name="T61" fmla="*/ 357 h 1213"/>
              <a:gd name="T62" fmla="*/ 923 w 2942"/>
              <a:gd name="T63" fmla="*/ 248 h 1213"/>
              <a:gd name="T64" fmla="*/ 1084 w 2942"/>
              <a:gd name="T65" fmla="*/ 200 h 1213"/>
              <a:gd name="T66" fmla="*/ 1104 w 2942"/>
              <a:gd name="T67" fmla="*/ 195 h 1213"/>
              <a:gd name="T68" fmla="*/ 1125 w 2942"/>
              <a:gd name="T69" fmla="*/ 189 h 1213"/>
              <a:gd name="T70" fmla="*/ 1165 w 2942"/>
              <a:gd name="T71" fmla="*/ 179 h 1213"/>
              <a:gd name="T72" fmla="*/ 1206 w 2942"/>
              <a:gd name="T73" fmla="*/ 168 h 1213"/>
              <a:gd name="T74" fmla="*/ 1247 w 2942"/>
              <a:gd name="T75" fmla="*/ 158 h 1213"/>
              <a:gd name="T76" fmla="*/ 1910 w 2942"/>
              <a:gd name="T77" fmla="*/ 38 h 1213"/>
              <a:gd name="T78" fmla="*/ 2586 w 2942"/>
              <a:gd name="T79" fmla="*/ 2 h 1213"/>
              <a:gd name="T80" fmla="*/ 2635 w 2942"/>
              <a:gd name="T81" fmla="*/ 56 h 1213"/>
              <a:gd name="T82" fmla="*/ 2658 w 2942"/>
              <a:gd name="T83" fmla="*/ 83 h 1213"/>
              <a:gd name="T84" fmla="*/ 2682 w 2942"/>
              <a:gd name="T85" fmla="*/ 110 h 1213"/>
              <a:gd name="T86" fmla="*/ 2773 w 2942"/>
              <a:gd name="T87" fmla="*/ 222 h 1213"/>
              <a:gd name="T88" fmla="*/ 2795 w 2942"/>
              <a:gd name="T89" fmla="*/ 251 h 1213"/>
              <a:gd name="T90" fmla="*/ 2817 w 2942"/>
              <a:gd name="T91" fmla="*/ 279 h 1213"/>
              <a:gd name="T92" fmla="*/ 2859 w 2942"/>
              <a:gd name="T93" fmla="*/ 338 h 1213"/>
              <a:gd name="T94" fmla="*/ 2901 w 2942"/>
              <a:gd name="T95" fmla="*/ 397 h 1213"/>
              <a:gd name="T96" fmla="*/ 2942 w 2942"/>
              <a:gd name="T97" fmla="*/ 456 h 1213"/>
              <a:gd name="T98" fmla="*/ 2889 w 2942"/>
              <a:gd name="T99" fmla="*/ 505 h 1213"/>
              <a:gd name="T100" fmla="*/ 2838 w 2942"/>
              <a:gd name="T101" fmla="*/ 554 h 1213"/>
              <a:gd name="T102" fmla="*/ 2787 w 2942"/>
              <a:gd name="T103" fmla="*/ 603 h 1213"/>
              <a:gd name="T104" fmla="*/ 2762 w 2942"/>
              <a:gd name="T105" fmla="*/ 627 h 1213"/>
              <a:gd name="T106" fmla="*/ 2737 w 2942"/>
              <a:gd name="T107" fmla="*/ 652 h 1213"/>
              <a:gd name="T108" fmla="*/ 2641 w 2942"/>
              <a:gd name="T109" fmla="*/ 750 h 1213"/>
              <a:gd name="T110" fmla="*/ 2617 w 2942"/>
              <a:gd name="T111" fmla="*/ 775 h 1213"/>
              <a:gd name="T112" fmla="*/ 2594 w 2942"/>
              <a:gd name="T113" fmla="*/ 799 h 1213"/>
              <a:gd name="T114" fmla="*/ 2548 w 2942"/>
              <a:gd name="T115" fmla="*/ 849 h 1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942" h="1213">
                <a:moveTo>
                  <a:pt x="2548" y="849"/>
                </a:moveTo>
                <a:cubicBezTo>
                  <a:pt x="2357" y="832"/>
                  <a:pt x="2165" y="826"/>
                  <a:pt x="1973" y="833"/>
                </a:cubicBezTo>
                <a:cubicBezTo>
                  <a:pt x="1781" y="840"/>
                  <a:pt x="1589" y="859"/>
                  <a:pt x="1398" y="890"/>
                </a:cubicBezTo>
                <a:cubicBezTo>
                  <a:pt x="1386" y="891"/>
                  <a:pt x="1374" y="894"/>
                  <a:pt x="1362" y="896"/>
                </a:cubicBezTo>
                <a:cubicBezTo>
                  <a:pt x="1326" y="902"/>
                  <a:pt x="1326" y="902"/>
                  <a:pt x="1326" y="902"/>
                </a:cubicBezTo>
                <a:cubicBezTo>
                  <a:pt x="1290" y="908"/>
                  <a:pt x="1290" y="908"/>
                  <a:pt x="1290" y="908"/>
                </a:cubicBezTo>
                <a:cubicBezTo>
                  <a:pt x="1272" y="911"/>
                  <a:pt x="1272" y="911"/>
                  <a:pt x="1272" y="911"/>
                </a:cubicBezTo>
                <a:cubicBezTo>
                  <a:pt x="1255" y="915"/>
                  <a:pt x="1255" y="915"/>
                  <a:pt x="1255" y="915"/>
                </a:cubicBezTo>
                <a:cubicBezTo>
                  <a:pt x="1207" y="925"/>
                  <a:pt x="1159" y="934"/>
                  <a:pt x="1112" y="945"/>
                </a:cubicBezTo>
                <a:cubicBezTo>
                  <a:pt x="1017" y="966"/>
                  <a:pt x="923" y="991"/>
                  <a:pt x="829" y="1017"/>
                </a:cubicBezTo>
                <a:cubicBezTo>
                  <a:pt x="782" y="1032"/>
                  <a:pt x="735" y="1045"/>
                  <a:pt x="689" y="1060"/>
                </a:cubicBezTo>
                <a:cubicBezTo>
                  <a:pt x="654" y="1072"/>
                  <a:pt x="654" y="1072"/>
                  <a:pt x="654" y="1072"/>
                </a:cubicBezTo>
                <a:cubicBezTo>
                  <a:pt x="642" y="1075"/>
                  <a:pt x="631" y="1079"/>
                  <a:pt x="619" y="1083"/>
                </a:cubicBezTo>
                <a:cubicBezTo>
                  <a:pt x="550" y="1107"/>
                  <a:pt x="550" y="1107"/>
                  <a:pt x="550" y="1107"/>
                </a:cubicBezTo>
                <a:cubicBezTo>
                  <a:pt x="532" y="1113"/>
                  <a:pt x="532" y="1113"/>
                  <a:pt x="532" y="1113"/>
                </a:cubicBezTo>
                <a:cubicBezTo>
                  <a:pt x="515" y="1120"/>
                  <a:pt x="515" y="1120"/>
                  <a:pt x="515" y="1120"/>
                </a:cubicBezTo>
                <a:cubicBezTo>
                  <a:pt x="480" y="1132"/>
                  <a:pt x="480" y="1132"/>
                  <a:pt x="480" y="1132"/>
                </a:cubicBezTo>
                <a:cubicBezTo>
                  <a:pt x="457" y="1141"/>
                  <a:pt x="434" y="1149"/>
                  <a:pt x="412" y="1158"/>
                </a:cubicBezTo>
                <a:cubicBezTo>
                  <a:pt x="343" y="1185"/>
                  <a:pt x="343" y="1185"/>
                  <a:pt x="343" y="1185"/>
                </a:cubicBezTo>
                <a:cubicBezTo>
                  <a:pt x="275" y="1213"/>
                  <a:pt x="275" y="1213"/>
                  <a:pt x="275" y="1213"/>
                </a:cubicBezTo>
                <a:cubicBezTo>
                  <a:pt x="0" y="628"/>
                  <a:pt x="0" y="628"/>
                  <a:pt x="0" y="628"/>
                </a:cubicBezTo>
                <a:cubicBezTo>
                  <a:pt x="74" y="590"/>
                  <a:pt x="74" y="590"/>
                  <a:pt x="74" y="590"/>
                </a:cubicBezTo>
                <a:cubicBezTo>
                  <a:pt x="148" y="554"/>
                  <a:pt x="148" y="554"/>
                  <a:pt x="148" y="554"/>
                </a:cubicBezTo>
                <a:cubicBezTo>
                  <a:pt x="173" y="541"/>
                  <a:pt x="198" y="530"/>
                  <a:pt x="223" y="518"/>
                </a:cubicBezTo>
                <a:cubicBezTo>
                  <a:pt x="261" y="501"/>
                  <a:pt x="261" y="501"/>
                  <a:pt x="261" y="501"/>
                </a:cubicBezTo>
                <a:cubicBezTo>
                  <a:pt x="280" y="492"/>
                  <a:pt x="280" y="492"/>
                  <a:pt x="280" y="492"/>
                </a:cubicBezTo>
                <a:cubicBezTo>
                  <a:pt x="299" y="484"/>
                  <a:pt x="299" y="484"/>
                  <a:pt x="299" y="484"/>
                </a:cubicBezTo>
                <a:cubicBezTo>
                  <a:pt x="375" y="450"/>
                  <a:pt x="375" y="450"/>
                  <a:pt x="375" y="450"/>
                </a:cubicBezTo>
                <a:cubicBezTo>
                  <a:pt x="388" y="445"/>
                  <a:pt x="401" y="439"/>
                  <a:pt x="414" y="434"/>
                </a:cubicBezTo>
                <a:cubicBezTo>
                  <a:pt x="452" y="418"/>
                  <a:pt x="452" y="418"/>
                  <a:pt x="452" y="418"/>
                </a:cubicBezTo>
                <a:cubicBezTo>
                  <a:pt x="503" y="397"/>
                  <a:pt x="555" y="377"/>
                  <a:pt x="607" y="357"/>
                </a:cubicBezTo>
                <a:cubicBezTo>
                  <a:pt x="711" y="318"/>
                  <a:pt x="816" y="281"/>
                  <a:pt x="923" y="248"/>
                </a:cubicBezTo>
                <a:cubicBezTo>
                  <a:pt x="976" y="231"/>
                  <a:pt x="1030" y="216"/>
                  <a:pt x="1084" y="200"/>
                </a:cubicBezTo>
                <a:cubicBezTo>
                  <a:pt x="1104" y="195"/>
                  <a:pt x="1104" y="195"/>
                  <a:pt x="1104" y="195"/>
                </a:cubicBezTo>
                <a:cubicBezTo>
                  <a:pt x="1125" y="189"/>
                  <a:pt x="1125" y="189"/>
                  <a:pt x="1125" y="189"/>
                </a:cubicBezTo>
                <a:cubicBezTo>
                  <a:pt x="1165" y="179"/>
                  <a:pt x="1165" y="179"/>
                  <a:pt x="1165" y="179"/>
                </a:cubicBezTo>
                <a:cubicBezTo>
                  <a:pt x="1206" y="168"/>
                  <a:pt x="1206" y="168"/>
                  <a:pt x="1206" y="168"/>
                </a:cubicBezTo>
                <a:cubicBezTo>
                  <a:pt x="1219" y="165"/>
                  <a:pt x="1233" y="161"/>
                  <a:pt x="1247" y="158"/>
                </a:cubicBezTo>
                <a:cubicBezTo>
                  <a:pt x="1464" y="105"/>
                  <a:pt x="1686" y="64"/>
                  <a:pt x="1910" y="38"/>
                </a:cubicBezTo>
                <a:cubicBezTo>
                  <a:pt x="2134" y="12"/>
                  <a:pt x="2360" y="0"/>
                  <a:pt x="2586" y="2"/>
                </a:cubicBezTo>
                <a:cubicBezTo>
                  <a:pt x="2603" y="20"/>
                  <a:pt x="2619" y="38"/>
                  <a:pt x="2635" y="56"/>
                </a:cubicBezTo>
                <a:cubicBezTo>
                  <a:pt x="2658" y="83"/>
                  <a:pt x="2658" y="83"/>
                  <a:pt x="2658" y="83"/>
                </a:cubicBezTo>
                <a:cubicBezTo>
                  <a:pt x="2682" y="110"/>
                  <a:pt x="2682" y="110"/>
                  <a:pt x="2682" y="110"/>
                </a:cubicBezTo>
                <a:cubicBezTo>
                  <a:pt x="2713" y="147"/>
                  <a:pt x="2743" y="185"/>
                  <a:pt x="2773" y="222"/>
                </a:cubicBezTo>
                <a:cubicBezTo>
                  <a:pt x="2795" y="251"/>
                  <a:pt x="2795" y="251"/>
                  <a:pt x="2795" y="251"/>
                </a:cubicBezTo>
                <a:cubicBezTo>
                  <a:pt x="2802" y="260"/>
                  <a:pt x="2809" y="270"/>
                  <a:pt x="2817" y="279"/>
                </a:cubicBezTo>
                <a:cubicBezTo>
                  <a:pt x="2831" y="299"/>
                  <a:pt x="2845" y="318"/>
                  <a:pt x="2859" y="338"/>
                </a:cubicBezTo>
                <a:cubicBezTo>
                  <a:pt x="2874" y="357"/>
                  <a:pt x="2888" y="377"/>
                  <a:pt x="2901" y="397"/>
                </a:cubicBezTo>
                <a:cubicBezTo>
                  <a:pt x="2915" y="416"/>
                  <a:pt x="2929" y="436"/>
                  <a:pt x="2942" y="456"/>
                </a:cubicBezTo>
                <a:cubicBezTo>
                  <a:pt x="2924" y="472"/>
                  <a:pt x="2907" y="489"/>
                  <a:pt x="2889" y="505"/>
                </a:cubicBezTo>
                <a:cubicBezTo>
                  <a:pt x="2838" y="554"/>
                  <a:pt x="2838" y="554"/>
                  <a:pt x="2838" y="554"/>
                </a:cubicBezTo>
                <a:cubicBezTo>
                  <a:pt x="2787" y="603"/>
                  <a:pt x="2787" y="603"/>
                  <a:pt x="2787" y="603"/>
                </a:cubicBezTo>
                <a:cubicBezTo>
                  <a:pt x="2779" y="611"/>
                  <a:pt x="2770" y="619"/>
                  <a:pt x="2762" y="627"/>
                </a:cubicBezTo>
                <a:cubicBezTo>
                  <a:pt x="2737" y="652"/>
                  <a:pt x="2737" y="652"/>
                  <a:pt x="2737" y="652"/>
                </a:cubicBezTo>
                <a:cubicBezTo>
                  <a:pt x="2704" y="685"/>
                  <a:pt x="2672" y="718"/>
                  <a:pt x="2641" y="750"/>
                </a:cubicBezTo>
                <a:cubicBezTo>
                  <a:pt x="2617" y="775"/>
                  <a:pt x="2617" y="775"/>
                  <a:pt x="2617" y="775"/>
                </a:cubicBezTo>
                <a:cubicBezTo>
                  <a:pt x="2594" y="799"/>
                  <a:pt x="2594" y="799"/>
                  <a:pt x="2594" y="799"/>
                </a:cubicBezTo>
                <a:cubicBezTo>
                  <a:pt x="2548" y="849"/>
                  <a:pt x="2548" y="849"/>
                  <a:pt x="2548" y="849"/>
                </a:cubicBezTo>
              </a:path>
            </a:pathLst>
          </a:custGeom>
          <a:gradFill flip="none" rotWithShape="1">
            <a:gsLst>
              <a:gs pos="73000">
                <a:schemeClr val="accent1"/>
              </a:gs>
              <a:gs pos="31000">
                <a:schemeClr val="accent1">
                  <a:lumMod val="60000"/>
                  <a:lumOff val="40000"/>
                </a:schemeClr>
              </a:gs>
              <a:gs pos="0">
                <a:schemeClr val="accent1">
                  <a:lumMod val="40000"/>
                  <a:lumOff val="60000"/>
                </a:schemeClr>
              </a:gs>
            </a:gsLst>
            <a:lin ang="810000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Black"/>
              <a:ea typeface="+mj-ea"/>
              <a:cs typeface="+mn-cs"/>
            </a:endParaRPr>
          </a:p>
        </p:txBody>
      </p:sp>
      <p:sp>
        <p:nvSpPr>
          <p:cNvPr id="15" name="Freeform 21">
            <a:extLst>
              <a:ext uri="{FF2B5EF4-FFF2-40B4-BE49-F238E27FC236}">
                <a16:creationId xmlns:a16="http://schemas.microsoft.com/office/drawing/2014/main" id="{F924BEF5-8CC8-4E3F-9D3E-E463A67E6A3F}"/>
              </a:ext>
            </a:extLst>
          </p:cNvPr>
          <p:cNvSpPr>
            <a:spLocks/>
          </p:cNvSpPr>
          <p:nvPr/>
        </p:nvSpPr>
        <p:spPr bwMode="auto">
          <a:xfrm>
            <a:off x="1177357" y="3231596"/>
            <a:ext cx="2125232" cy="1451038"/>
          </a:xfrm>
          <a:custGeom>
            <a:avLst/>
            <a:gdLst>
              <a:gd name="T0" fmla="*/ 2649 w 2649"/>
              <a:gd name="T1" fmla="*/ 217 h 1807"/>
              <a:gd name="T2" fmla="*/ 2403 w 2649"/>
              <a:gd name="T3" fmla="*/ 655 h 1807"/>
              <a:gd name="T4" fmla="*/ 1318 w 2649"/>
              <a:gd name="T5" fmla="*/ 1118 h 1807"/>
              <a:gd name="T6" fmla="*/ 816 w 2649"/>
              <a:gd name="T7" fmla="*/ 1438 h 1807"/>
              <a:gd name="T8" fmla="*/ 579 w 2649"/>
              <a:gd name="T9" fmla="*/ 1618 h 1807"/>
              <a:gd name="T10" fmla="*/ 466 w 2649"/>
              <a:gd name="T11" fmla="*/ 1713 h 1807"/>
              <a:gd name="T12" fmla="*/ 412 w 2649"/>
              <a:gd name="T13" fmla="*/ 1761 h 1807"/>
              <a:gd name="T14" fmla="*/ 386 w 2649"/>
              <a:gd name="T15" fmla="*/ 1785 h 1807"/>
              <a:gd name="T16" fmla="*/ 364 w 2649"/>
              <a:gd name="T17" fmla="*/ 1807 h 1807"/>
              <a:gd name="T18" fmla="*/ 491 w 2649"/>
              <a:gd name="T19" fmla="*/ 1353 h 1807"/>
              <a:gd name="T20" fmla="*/ 0 w 2649"/>
              <a:gd name="T21" fmla="*/ 1475 h 1807"/>
              <a:gd name="T22" fmla="*/ 16 w 2649"/>
              <a:gd name="T23" fmla="*/ 1456 h 1807"/>
              <a:gd name="T24" fmla="*/ 31 w 2649"/>
              <a:gd name="T25" fmla="*/ 1439 h 1807"/>
              <a:gd name="T26" fmla="*/ 60 w 2649"/>
              <a:gd name="T27" fmla="*/ 1408 h 1807"/>
              <a:gd name="T28" fmla="*/ 118 w 2649"/>
              <a:gd name="T29" fmla="*/ 1347 h 1807"/>
              <a:gd name="T30" fmla="*/ 236 w 2649"/>
              <a:gd name="T31" fmla="*/ 1230 h 1807"/>
              <a:gd name="T32" fmla="*/ 481 w 2649"/>
              <a:gd name="T33" fmla="*/ 1011 h 1807"/>
              <a:gd name="T34" fmla="*/ 1005 w 2649"/>
              <a:gd name="T35" fmla="*/ 614 h 1807"/>
              <a:gd name="T36" fmla="*/ 2176 w 2649"/>
              <a:gd name="T37" fmla="*/ 0 h 1807"/>
              <a:gd name="T38" fmla="*/ 2649 w 2649"/>
              <a:gd name="T39" fmla="*/ 217 h 18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649" h="1807">
                <a:moveTo>
                  <a:pt x="2649" y="217"/>
                </a:moveTo>
                <a:cubicBezTo>
                  <a:pt x="2559" y="366"/>
                  <a:pt x="2477" y="512"/>
                  <a:pt x="2403" y="655"/>
                </a:cubicBezTo>
                <a:cubicBezTo>
                  <a:pt x="2028" y="766"/>
                  <a:pt x="1664" y="923"/>
                  <a:pt x="1318" y="1118"/>
                </a:cubicBezTo>
                <a:cubicBezTo>
                  <a:pt x="1146" y="1215"/>
                  <a:pt x="977" y="1322"/>
                  <a:pt x="816" y="1438"/>
                </a:cubicBezTo>
                <a:cubicBezTo>
                  <a:pt x="735" y="1496"/>
                  <a:pt x="656" y="1556"/>
                  <a:pt x="579" y="1618"/>
                </a:cubicBezTo>
                <a:cubicBezTo>
                  <a:pt x="541" y="1649"/>
                  <a:pt x="503" y="1681"/>
                  <a:pt x="466" y="1713"/>
                </a:cubicBezTo>
                <a:cubicBezTo>
                  <a:pt x="448" y="1729"/>
                  <a:pt x="430" y="1745"/>
                  <a:pt x="412" y="1761"/>
                </a:cubicBezTo>
                <a:cubicBezTo>
                  <a:pt x="403" y="1769"/>
                  <a:pt x="395" y="1777"/>
                  <a:pt x="386" y="1785"/>
                </a:cubicBezTo>
                <a:cubicBezTo>
                  <a:pt x="364" y="1807"/>
                  <a:pt x="364" y="1807"/>
                  <a:pt x="364" y="1807"/>
                </a:cubicBezTo>
                <a:cubicBezTo>
                  <a:pt x="491" y="1353"/>
                  <a:pt x="491" y="1353"/>
                  <a:pt x="491" y="1353"/>
                </a:cubicBezTo>
                <a:cubicBezTo>
                  <a:pt x="0" y="1475"/>
                  <a:pt x="0" y="1475"/>
                  <a:pt x="0" y="1475"/>
                </a:cubicBezTo>
                <a:cubicBezTo>
                  <a:pt x="16" y="1456"/>
                  <a:pt x="16" y="1456"/>
                  <a:pt x="16" y="1456"/>
                </a:cubicBezTo>
                <a:cubicBezTo>
                  <a:pt x="31" y="1439"/>
                  <a:pt x="31" y="1439"/>
                  <a:pt x="31" y="1439"/>
                </a:cubicBezTo>
                <a:cubicBezTo>
                  <a:pt x="41" y="1429"/>
                  <a:pt x="51" y="1418"/>
                  <a:pt x="60" y="1408"/>
                </a:cubicBezTo>
                <a:cubicBezTo>
                  <a:pt x="80" y="1387"/>
                  <a:pt x="99" y="1367"/>
                  <a:pt x="118" y="1347"/>
                </a:cubicBezTo>
                <a:cubicBezTo>
                  <a:pt x="157" y="1307"/>
                  <a:pt x="197" y="1268"/>
                  <a:pt x="236" y="1230"/>
                </a:cubicBezTo>
                <a:cubicBezTo>
                  <a:pt x="316" y="1154"/>
                  <a:pt x="398" y="1082"/>
                  <a:pt x="481" y="1011"/>
                </a:cubicBezTo>
                <a:cubicBezTo>
                  <a:pt x="649" y="869"/>
                  <a:pt x="824" y="737"/>
                  <a:pt x="1005" y="614"/>
                </a:cubicBezTo>
                <a:cubicBezTo>
                  <a:pt x="1369" y="369"/>
                  <a:pt x="1761" y="160"/>
                  <a:pt x="2176" y="0"/>
                </a:cubicBezTo>
                <a:cubicBezTo>
                  <a:pt x="2338" y="61"/>
                  <a:pt x="2497" y="133"/>
                  <a:pt x="2649" y="217"/>
                </a:cubicBezTo>
                <a:close/>
              </a:path>
            </a:pathLst>
          </a:custGeom>
          <a:gradFill flip="none" rotWithShape="1">
            <a:gsLst>
              <a:gs pos="73000">
                <a:schemeClr val="accent1"/>
              </a:gs>
              <a:gs pos="31000">
                <a:schemeClr val="accent1">
                  <a:lumMod val="60000"/>
                  <a:lumOff val="40000"/>
                </a:schemeClr>
              </a:gs>
              <a:gs pos="0">
                <a:schemeClr val="accent1">
                  <a:lumMod val="40000"/>
                  <a:lumOff val="60000"/>
                </a:schemeClr>
              </a:gs>
            </a:gsLst>
            <a:lin ang="810000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Black"/>
              <a:ea typeface="+mj-ea"/>
              <a:cs typeface="+mn-cs"/>
            </a:endParaRPr>
          </a:p>
        </p:txBody>
      </p:sp>
      <p:sp>
        <p:nvSpPr>
          <p:cNvPr id="16" name="Oval 23">
            <a:extLst>
              <a:ext uri="{FF2B5EF4-FFF2-40B4-BE49-F238E27FC236}">
                <a16:creationId xmlns:a16="http://schemas.microsoft.com/office/drawing/2014/main" id="{D944AD70-E5DF-4EC8-94F7-4DF06BCFF620}"/>
              </a:ext>
            </a:extLst>
          </p:cNvPr>
          <p:cNvSpPr/>
          <p:nvPr/>
        </p:nvSpPr>
        <p:spPr>
          <a:xfrm>
            <a:off x="9689253" y="3222508"/>
            <a:ext cx="738551" cy="738549"/>
          </a:xfrm>
          <a:prstGeom prst="ellipse">
            <a:avLst/>
          </a:prstGeom>
          <a:gradFill>
            <a:gsLst>
              <a:gs pos="73000">
                <a:schemeClr val="accent1"/>
              </a:gs>
              <a:gs pos="31000">
                <a:schemeClr val="accent1">
                  <a:lumMod val="60000"/>
                  <a:lumOff val="40000"/>
                </a:schemeClr>
              </a:gs>
              <a:gs pos="0">
                <a:schemeClr val="accent1">
                  <a:lumMod val="40000"/>
                  <a:lumOff val="60000"/>
                </a:schemeClr>
              </a:gs>
            </a:gsLst>
            <a:path path="circle">
              <a:fillToRect r="100000" b="100000"/>
            </a:path>
          </a:gradFill>
          <a:ln w="34925">
            <a:solidFill>
              <a:schemeClr val="bg1"/>
            </a:solidFill>
          </a:ln>
          <a:effectLst>
            <a:outerShdw blurRad="444500" dist="317500" dir="5400000" sx="92000" sy="92000" algn="t" rotWithShape="0">
              <a:schemeClr val="accent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HarmonyOS Sans SC"/>
              <a:cs typeface="+mn-cs"/>
            </a:endParaRPr>
          </a:p>
        </p:txBody>
      </p:sp>
      <p:sp>
        <p:nvSpPr>
          <p:cNvPr id="17" name="Oval 24">
            <a:extLst>
              <a:ext uri="{FF2B5EF4-FFF2-40B4-BE49-F238E27FC236}">
                <a16:creationId xmlns:a16="http://schemas.microsoft.com/office/drawing/2014/main" id="{501B6FC4-8D3A-4EC5-8929-7012859E3BAD}"/>
              </a:ext>
            </a:extLst>
          </p:cNvPr>
          <p:cNvSpPr/>
          <p:nvPr/>
        </p:nvSpPr>
        <p:spPr>
          <a:xfrm>
            <a:off x="7937493" y="2967347"/>
            <a:ext cx="738551" cy="738549"/>
          </a:xfrm>
          <a:prstGeom prst="ellipse">
            <a:avLst/>
          </a:prstGeom>
          <a:gradFill>
            <a:gsLst>
              <a:gs pos="73000">
                <a:schemeClr val="accent1"/>
              </a:gs>
              <a:gs pos="31000">
                <a:schemeClr val="accent1">
                  <a:lumMod val="60000"/>
                  <a:lumOff val="40000"/>
                </a:schemeClr>
              </a:gs>
              <a:gs pos="0">
                <a:schemeClr val="accent1">
                  <a:lumMod val="40000"/>
                  <a:lumOff val="60000"/>
                </a:schemeClr>
              </a:gs>
            </a:gsLst>
            <a:path path="circle">
              <a:fillToRect r="100000" b="100000"/>
            </a:path>
          </a:gradFill>
          <a:ln w="34925">
            <a:solidFill>
              <a:schemeClr val="bg1"/>
            </a:solidFill>
          </a:ln>
          <a:effectLst>
            <a:outerShdw blurRad="444500" dist="317500" dir="5400000" sx="92000" sy="92000" algn="t" rotWithShape="0">
              <a:schemeClr val="accent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HarmonyOS Sans SC"/>
              <a:cs typeface="+mn-cs"/>
            </a:endParaRPr>
          </a:p>
        </p:txBody>
      </p:sp>
      <p:sp>
        <p:nvSpPr>
          <p:cNvPr id="18" name="Oval 25">
            <a:extLst>
              <a:ext uri="{FF2B5EF4-FFF2-40B4-BE49-F238E27FC236}">
                <a16:creationId xmlns:a16="http://schemas.microsoft.com/office/drawing/2014/main" id="{3F1F9D2A-CE2E-4B8E-9F6C-6C2BB8444F03}"/>
              </a:ext>
            </a:extLst>
          </p:cNvPr>
          <p:cNvSpPr/>
          <p:nvPr/>
        </p:nvSpPr>
        <p:spPr>
          <a:xfrm>
            <a:off x="6439110" y="3846497"/>
            <a:ext cx="738551" cy="738549"/>
          </a:xfrm>
          <a:prstGeom prst="ellipse">
            <a:avLst/>
          </a:prstGeom>
          <a:gradFill>
            <a:gsLst>
              <a:gs pos="73000">
                <a:schemeClr val="accent1"/>
              </a:gs>
              <a:gs pos="31000">
                <a:schemeClr val="accent1">
                  <a:lumMod val="60000"/>
                  <a:lumOff val="40000"/>
                </a:schemeClr>
              </a:gs>
              <a:gs pos="0">
                <a:schemeClr val="accent1">
                  <a:lumMod val="40000"/>
                  <a:lumOff val="60000"/>
                </a:schemeClr>
              </a:gs>
            </a:gsLst>
            <a:path path="circle">
              <a:fillToRect r="100000" b="100000"/>
            </a:path>
          </a:gradFill>
          <a:ln w="34925">
            <a:solidFill>
              <a:schemeClr val="bg1"/>
            </a:solidFill>
          </a:ln>
          <a:effectLst>
            <a:outerShdw blurRad="444500" dist="317500" dir="5400000" sx="92000" sy="92000" algn="t" rotWithShape="0">
              <a:schemeClr val="accent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HarmonyOS Sans SC"/>
              <a:cs typeface="+mn-cs"/>
            </a:endParaRPr>
          </a:p>
        </p:txBody>
      </p:sp>
      <p:sp>
        <p:nvSpPr>
          <p:cNvPr id="19" name="Oval 26">
            <a:extLst>
              <a:ext uri="{FF2B5EF4-FFF2-40B4-BE49-F238E27FC236}">
                <a16:creationId xmlns:a16="http://schemas.microsoft.com/office/drawing/2014/main" id="{B373A1AF-1E67-4821-BA5C-5B070D86DC3F}"/>
              </a:ext>
            </a:extLst>
          </p:cNvPr>
          <p:cNvSpPr/>
          <p:nvPr/>
        </p:nvSpPr>
        <p:spPr>
          <a:xfrm>
            <a:off x="5090722" y="2625285"/>
            <a:ext cx="738551" cy="738549"/>
          </a:xfrm>
          <a:prstGeom prst="ellipse">
            <a:avLst/>
          </a:prstGeom>
          <a:gradFill>
            <a:gsLst>
              <a:gs pos="73000">
                <a:schemeClr val="accent1"/>
              </a:gs>
              <a:gs pos="31000">
                <a:schemeClr val="accent1">
                  <a:lumMod val="60000"/>
                  <a:lumOff val="40000"/>
                </a:schemeClr>
              </a:gs>
              <a:gs pos="0">
                <a:schemeClr val="accent1">
                  <a:lumMod val="40000"/>
                  <a:lumOff val="60000"/>
                </a:schemeClr>
              </a:gs>
            </a:gsLst>
            <a:path path="circle">
              <a:fillToRect r="100000" b="100000"/>
            </a:path>
          </a:gradFill>
          <a:ln w="34925">
            <a:solidFill>
              <a:schemeClr val="bg1"/>
            </a:solidFill>
          </a:ln>
          <a:effectLst>
            <a:outerShdw blurRad="444500" dist="317500" dir="5400000" sx="92000" sy="92000" algn="t" rotWithShape="0">
              <a:schemeClr val="accent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HarmonyOS Sans SC"/>
              <a:cs typeface="+mn-cs"/>
            </a:endParaRPr>
          </a:p>
        </p:txBody>
      </p:sp>
      <p:sp>
        <p:nvSpPr>
          <p:cNvPr id="20" name="Oval 27">
            <a:extLst>
              <a:ext uri="{FF2B5EF4-FFF2-40B4-BE49-F238E27FC236}">
                <a16:creationId xmlns:a16="http://schemas.microsoft.com/office/drawing/2014/main" id="{F179B5AB-0F4E-4D5F-A14A-1B14B6902934}"/>
              </a:ext>
            </a:extLst>
          </p:cNvPr>
          <p:cNvSpPr/>
          <p:nvPr/>
        </p:nvSpPr>
        <p:spPr>
          <a:xfrm>
            <a:off x="3550478" y="3306206"/>
            <a:ext cx="738551" cy="738549"/>
          </a:xfrm>
          <a:prstGeom prst="ellipse">
            <a:avLst/>
          </a:prstGeom>
          <a:gradFill>
            <a:gsLst>
              <a:gs pos="73000">
                <a:schemeClr val="accent1"/>
              </a:gs>
              <a:gs pos="31000">
                <a:schemeClr val="accent1">
                  <a:lumMod val="60000"/>
                  <a:lumOff val="40000"/>
                </a:schemeClr>
              </a:gs>
              <a:gs pos="0">
                <a:schemeClr val="accent1">
                  <a:lumMod val="40000"/>
                  <a:lumOff val="60000"/>
                </a:schemeClr>
              </a:gs>
            </a:gsLst>
            <a:path path="circle">
              <a:fillToRect r="100000" b="100000"/>
            </a:path>
          </a:gradFill>
          <a:ln w="34925">
            <a:solidFill>
              <a:schemeClr val="bg1"/>
            </a:solidFill>
          </a:ln>
          <a:effectLst>
            <a:outerShdw blurRad="444500" dist="317500" dir="5400000" sx="92000" sy="92000" algn="t" rotWithShape="0">
              <a:schemeClr val="accent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HarmonyOS Sans SC"/>
              <a:cs typeface="+mn-cs"/>
            </a:endParaRPr>
          </a:p>
        </p:txBody>
      </p:sp>
      <p:sp>
        <p:nvSpPr>
          <p:cNvPr id="21" name="Oval 28">
            <a:extLst>
              <a:ext uri="{FF2B5EF4-FFF2-40B4-BE49-F238E27FC236}">
                <a16:creationId xmlns:a16="http://schemas.microsoft.com/office/drawing/2014/main" id="{B93DEDE8-195B-4342-874E-806876249EAC}"/>
              </a:ext>
            </a:extLst>
          </p:cNvPr>
          <p:cNvSpPr/>
          <p:nvPr/>
        </p:nvSpPr>
        <p:spPr>
          <a:xfrm>
            <a:off x="1798070" y="3126412"/>
            <a:ext cx="738551" cy="738549"/>
          </a:xfrm>
          <a:prstGeom prst="ellipse">
            <a:avLst/>
          </a:prstGeom>
          <a:gradFill>
            <a:gsLst>
              <a:gs pos="73000">
                <a:schemeClr val="accent1"/>
              </a:gs>
              <a:gs pos="31000">
                <a:schemeClr val="accent1">
                  <a:lumMod val="60000"/>
                  <a:lumOff val="40000"/>
                </a:schemeClr>
              </a:gs>
              <a:gs pos="0">
                <a:schemeClr val="accent1">
                  <a:lumMod val="40000"/>
                  <a:lumOff val="60000"/>
                </a:schemeClr>
              </a:gs>
            </a:gsLst>
            <a:path path="circle">
              <a:fillToRect r="100000" b="100000"/>
            </a:path>
          </a:gradFill>
          <a:ln w="34925">
            <a:solidFill>
              <a:schemeClr val="bg1"/>
            </a:solidFill>
          </a:ln>
          <a:effectLst>
            <a:outerShdw blurRad="444500" dist="317500" dir="5400000" sx="92000" sy="92000" algn="t" rotWithShape="0">
              <a:schemeClr val="accent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HarmonyOS Sans SC"/>
              <a:cs typeface="+mn-cs"/>
            </a:endParaRPr>
          </a:p>
        </p:txBody>
      </p:sp>
      <p:sp>
        <p:nvSpPr>
          <p:cNvPr id="22" name="Freeform 20">
            <a:extLst>
              <a:ext uri="{FF2B5EF4-FFF2-40B4-BE49-F238E27FC236}">
                <a16:creationId xmlns:a16="http://schemas.microsoft.com/office/drawing/2014/main" id="{972F1AB6-5BED-489D-BE80-5608C0FE7C5A}"/>
              </a:ext>
            </a:extLst>
          </p:cNvPr>
          <p:cNvSpPr>
            <a:spLocks noEditPoints="1"/>
          </p:cNvSpPr>
          <p:nvPr/>
        </p:nvSpPr>
        <p:spPr bwMode="auto">
          <a:xfrm>
            <a:off x="3757176" y="3537044"/>
            <a:ext cx="332064" cy="270870"/>
          </a:xfrm>
          <a:custGeom>
            <a:avLst/>
            <a:gdLst>
              <a:gd name="T0" fmla="*/ 493833 w 172"/>
              <a:gd name="T1" fmla="*/ 415960 h 139"/>
              <a:gd name="T2" fmla="*/ 483616 w 172"/>
              <a:gd name="T3" fmla="*/ 419397 h 139"/>
              <a:gd name="T4" fmla="*/ 463181 w 172"/>
              <a:gd name="T5" fmla="*/ 405647 h 139"/>
              <a:gd name="T6" fmla="*/ 473398 w 172"/>
              <a:gd name="T7" fmla="*/ 378145 h 139"/>
              <a:gd name="T8" fmla="*/ 510862 w 172"/>
              <a:gd name="T9" fmla="*/ 250951 h 139"/>
              <a:gd name="T10" fmla="*/ 429124 w 172"/>
              <a:gd name="T11" fmla="*/ 202823 h 139"/>
              <a:gd name="T12" fmla="*/ 401878 w 172"/>
              <a:gd name="T13" fmla="*/ 202823 h 139"/>
              <a:gd name="T14" fmla="*/ 378038 w 172"/>
              <a:gd name="T15" fmla="*/ 185635 h 139"/>
              <a:gd name="T16" fmla="*/ 183910 w 172"/>
              <a:gd name="T17" fmla="*/ 68754 h 139"/>
              <a:gd name="T18" fmla="*/ 85144 w 172"/>
              <a:gd name="T19" fmla="*/ 144383 h 139"/>
              <a:gd name="T20" fmla="*/ 68115 w 172"/>
              <a:gd name="T21" fmla="*/ 268139 h 139"/>
              <a:gd name="T22" fmla="*/ 105578 w 172"/>
              <a:gd name="T23" fmla="*/ 333455 h 139"/>
              <a:gd name="T24" fmla="*/ 102172 w 172"/>
              <a:gd name="T25" fmla="*/ 364394 h 139"/>
              <a:gd name="T26" fmla="*/ 71521 w 172"/>
              <a:gd name="T27" fmla="*/ 364394 h 139"/>
              <a:gd name="T28" fmla="*/ 27246 w 172"/>
              <a:gd name="T29" fmla="*/ 278452 h 139"/>
              <a:gd name="T30" fmla="*/ 173693 w 172"/>
              <a:gd name="T31" fmla="*/ 27501 h 139"/>
              <a:gd name="T32" fmla="*/ 418907 w 172"/>
              <a:gd name="T33" fmla="*/ 158133 h 139"/>
              <a:gd name="T34" fmla="*/ 429124 w 172"/>
              <a:gd name="T35" fmla="*/ 158133 h 139"/>
              <a:gd name="T36" fmla="*/ 548325 w 172"/>
              <a:gd name="T37" fmla="*/ 230325 h 139"/>
              <a:gd name="T38" fmla="*/ 493833 w 172"/>
              <a:gd name="T39" fmla="*/ 415960 h 139"/>
              <a:gd name="T40" fmla="*/ 309923 w 172"/>
              <a:gd name="T41" fmla="*/ 233762 h 139"/>
              <a:gd name="T42" fmla="*/ 306517 w 172"/>
              <a:gd name="T43" fmla="*/ 230325 h 139"/>
              <a:gd name="T44" fmla="*/ 303111 w 172"/>
              <a:gd name="T45" fmla="*/ 230325 h 139"/>
              <a:gd name="T46" fmla="*/ 303111 w 172"/>
              <a:gd name="T47" fmla="*/ 230325 h 139"/>
              <a:gd name="T48" fmla="*/ 299705 w 172"/>
              <a:gd name="T49" fmla="*/ 230325 h 139"/>
              <a:gd name="T50" fmla="*/ 296300 w 172"/>
              <a:gd name="T51" fmla="*/ 226887 h 139"/>
              <a:gd name="T52" fmla="*/ 292894 w 172"/>
              <a:gd name="T53" fmla="*/ 226887 h 139"/>
              <a:gd name="T54" fmla="*/ 289488 w 172"/>
              <a:gd name="T55" fmla="*/ 226887 h 139"/>
              <a:gd name="T56" fmla="*/ 286083 w 172"/>
              <a:gd name="T57" fmla="*/ 230325 h 139"/>
              <a:gd name="T58" fmla="*/ 286083 w 172"/>
              <a:gd name="T59" fmla="*/ 230325 h 139"/>
              <a:gd name="T60" fmla="*/ 282677 w 172"/>
              <a:gd name="T61" fmla="*/ 230325 h 139"/>
              <a:gd name="T62" fmla="*/ 279271 w 172"/>
              <a:gd name="T63" fmla="*/ 230325 h 139"/>
              <a:gd name="T64" fmla="*/ 275865 w 172"/>
              <a:gd name="T65" fmla="*/ 233762 h 139"/>
              <a:gd name="T66" fmla="*/ 187316 w 172"/>
              <a:gd name="T67" fmla="*/ 326580 h 139"/>
              <a:gd name="T68" fmla="*/ 187316 w 172"/>
              <a:gd name="T69" fmla="*/ 357519 h 139"/>
              <a:gd name="T70" fmla="*/ 217968 w 172"/>
              <a:gd name="T71" fmla="*/ 357519 h 139"/>
              <a:gd name="T72" fmla="*/ 272460 w 172"/>
              <a:gd name="T73" fmla="*/ 302516 h 139"/>
              <a:gd name="T74" fmla="*/ 272460 w 172"/>
              <a:gd name="T75" fmla="*/ 457212 h 139"/>
              <a:gd name="T76" fmla="*/ 292894 w 172"/>
              <a:gd name="T77" fmla="*/ 477838 h 139"/>
              <a:gd name="T78" fmla="*/ 316734 w 172"/>
              <a:gd name="T79" fmla="*/ 457212 h 139"/>
              <a:gd name="T80" fmla="*/ 316734 w 172"/>
              <a:gd name="T81" fmla="*/ 302516 h 139"/>
              <a:gd name="T82" fmla="*/ 367820 w 172"/>
              <a:gd name="T83" fmla="*/ 357519 h 139"/>
              <a:gd name="T84" fmla="*/ 384849 w 172"/>
              <a:gd name="T85" fmla="*/ 364394 h 139"/>
              <a:gd name="T86" fmla="*/ 398472 w 172"/>
              <a:gd name="T87" fmla="*/ 357519 h 139"/>
              <a:gd name="T88" fmla="*/ 398472 w 172"/>
              <a:gd name="T89" fmla="*/ 326580 h 139"/>
              <a:gd name="T90" fmla="*/ 309923 w 172"/>
              <a:gd name="T91" fmla="*/ 233762 h 139"/>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172" h="139">
                <a:moveTo>
                  <a:pt x="145" y="121"/>
                </a:moveTo>
                <a:cubicBezTo>
                  <a:pt x="144" y="122"/>
                  <a:pt x="143" y="122"/>
                  <a:pt x="142" y="122"/>
                </a:cubicBezTo>
                <a:cubicBezTo>
                  <a:pt x="140" y="122"/>
                  <a:pt x="138" y="121"/>
                  <a:pt x="136" y="118"/>
                </a:cubicBezTo>
                <a:cubicBezTo>
                  <a:pt x="135" y="115"/>
                  <a:pt x="136" y="111"/>
                  <a:pt x="139" y="110"/>
                </a:cubicBezTo>
                <a:cubicBezTo>
                  <a:pt x="152" y="103"/>
                  <a:pt x="157" y="86"/>
                  <a:pt x="150" y="73"/>
                </a:cubicBezTo>
                <a:cubicBezTo>
                  <a:pt x="145" y="64"/>
                  <a:pt x="136" y="59"/>
                  <a:pt x="126" y="59"/>
                </a:cubicBezTo>
                <a:cubicBezTo>
                  <a:pt x="118" y="59"/>
                  <a:pt x="118" y="59"/>
                  <a:pt x="118" y="59"/>
                </a:cubicBezTo>
                <a:cubicBezTo>
                  <a:pt x="115" y="59"/>
                  <a:pt x="112" y="57"/>
                  <a:pt x="111" y="54"/>
                </a:cubicBezTo>
                <a:cubicBezTo>
                  <a:pt x="105" y="29"/>
                  <a:pt x="79" y="14"/>
                  <a:pt x="54" y="20"/>
                </a:cubicBezTo>
                <a:cubicBezTo>
                  <a:pt x="42" y="24"/>
                  <a:pt x="32" y="31"/>
                  <a:pt x="25" y="42"/>
                </a:cubicBezTo>
                <a:cubicBezTo>
                  <a:pt x="19" y="53"/>
                  <a:pt x="17" y="66"/>
                  <a:pt x="20" y="78"/>
                </a:cubicBezTo>
                <a:cubicBezTo>
                  <a:pt x="22" y="85"/>
                  <a:pt x="26" y="92"/>
                  <a:pt x="31" y="97"/>
                </a:cubicBezTo>
                <a:cubicBezTo>
                  <a:pt x="33" y="100"/>
                  <a:pt x="33" y="104"/>
                  <a:pt x="30" y="106"/>
                </a:cubicBezTo>
                <a:cubicBezTo>
                  <a:pt x="27" y="109"/>
                  <a:pt x="23" y="108"/>
                  <a:pt x="21" y="106"/>
                </a:cubicBezTo>
                <a:cubicBezTo>
                  <a:pt x="15" y="99"/>
                  <a:pt x="10" y="90"/>
                  <a:pt x="8" y="81"/>
                </a:cubicBezTo>
                <a:cubicBezTo>
                  <a:pt x="0" y="49"/>
                  <a:pt x="19" y="16"/>
                  <a:pt x="51" y="8"/>
                </a:cubicBezTo>
                <a:cubicBezTo>
                  <a:pt x="81" y="0"/>
                  <a:pt x="112" y="17"/>
                  <a:pt x="123" y="46"/>
                </a:cubicBezTo>
                <a:cubicBezTo>
                  <a:pt x="126" y="46"/>
                  <a:pt x="126" y="46"/>
                  <a:pt x="126" y="46"/>
                </a:cubicBezTo>
                <a:cubicBezTo>
                  <a:pt x="141" y="46"/>
                  <a:pt x="154" y="54"/>
                  <a:pt x="161" y="67"/>
                </a:cubicBezTo>
                <a:cubicBezTo>
                  <a:pt x="172" y="86"/>
                  <a:pt x="165" y="110"/>
                  <a:pt x="145" y="121"/>
                </a:cubicBezTo>
                <a:close/>
                <a:moveTo>
                  <a:pt x="91" y="68"/>
                </a:moveTo>
                <a:cubicBezTo>
                  <a:pt x="90" y="68"/>
                  <a:pt x="90" y="67"/>
                  <a:pt x="90" y="67"/>
                </a:cubicBezTo>
                <a:cubicBezTo>
                  <a:pt x="90" y="67"/>
                  <a:pt x="89" y="67"/>
                  <a:pt x="89" y="67"/>
                </a:cubicBezTo>
                <a:cubicBezTo>
                  <a:pt x="89" y="67"/>
                  <a:pt x="89" y="67"/>
                  <a:pt x="89" y="67"/>
                </a:cubicBezTo>
                <a:cubicBezTo>
                  <a:pt x="88" y="67"/>
                  <a:pt x="88" y="67"/>
                  <a:pt x="88" y="67"/>
                </a:cubicBezTo>
                <a:cubicBezTo>
                  <a:pt x="88" y="66"/>
                  <a:pt x="88" y="66"/>
                  <a:pt x="87" y="66"/>
                </a:cubicBezTo>
                <a:cubicBezTo>
                  <a:pt x="87" y="66"/>
                  <a:pt x="86" y="66"/>
                  <a:pt x="86" y="66"/>
                </a:cubicBezTo>
                <a:cubicBezTo>
                  <a:pt x="86" y="66"/>
                  <a:pt x="85" y="66"/>
                  <a:pt x="85" y="66"/>
                </a:cubicBezTo>
                <a:cubicBezTo>
                  <a:pt x="84" y="66"/>
                  <a:pt x="84" y="66"/>
                  <a:pt x="84" y="67"/>
                </a:cubicBezTo>
                <a:cubicBezTo>
                  <a:pt x="84" y="67"/>
                  <a:pt x="84" y="67"/>
                  <a:pt x="84" y="67"/>
                </a:cubicBezTo>
                <a:cubicBezTo>
                  <a:pt x="83" y="67"/>
                  <a:pt x="83" y="67"/>
                  <a:pt x="83" y="67"/>
                </a:cubicBezTo>
                <a:cubicBezTo>
                  <a:pt x="83" y="67"/>
                  <a:pt x="83" y="67"/>
                  <a:pt x="82" y="67"/>
                </a:cubicBezTo>
                <a:cubicBezTo>
                  <a:pt x="82" y="67"/>
                  <a:pt x="82" y="68"/>
                  <a:pt x="81" y="68"/>
                </a:cubicBezTo>
                <a:cubicBezTo>
                  <a:pt x="55" y="95"/>
                  <a:pt x="55" y="95"/>
                  <a:pt x="55" y="95"/>
                </a:cubicBezTo>
                <a:cubicBezTo>
                  <a:pt x="52" y="97"/>
                  <a:pt x="52" y="101"/>
                  <a:pt x="55" y="104"/>
                </a:cubicBezTo>
                <a:cubicBezTo>
                  <a:pt x="57" y="106"/>
                  <a:pt x="61" y="106"/>
                  <a:pt x="64" y="104"/>
                </a:cubicBezTo>
                <a:cubicBezTo>
                  <a:pt x="80" y="88"/>
                  <a:pt x="80" y="88"/>
                  <a:pt x="80" y="88"/>
                </a:cubicBezTo>
                <a:cubicBezTo>
                  <a:pt x="80" y="133"/>
                  <a:pt x="80" y="133"/>
                  <a:pt x="80" y="133"/>
                </a:cubicBezTo>
                <a:cubicBezTo>
                  <a:pt x="80" y="136"/>
                  <a:pt x="82" y="139"/>
                  <a:pt x="86" y="139"/>
                </a:cubicBezTo>
                <a:cubicBezTo>
                  <a:pt x="90" y="139"/>
                  <a:pt x="93" y="136"/>
                  <a:pt x="93" y="133"/>
                </a:cubicBezTo>
                <a:cubicBezTo>
                  <a:pt x="93" y="88"/>
                  <a:pt x="93" y="88"/>
                  <a:pt x="93" y="88"/>
                </a:cubicBezTo>
                <a:cubicBezTo>
                  <a:pt x="108" y="104"/>
                  <a:pt x="108" y="104"/>
                  <a:pt x="108" y="104"/>
                </a:cubicBezTo>
                <a:cubicBezTo>
                  <a:pt x="109" y="105"/>
                  <a:pt x="111" y="106"/>
                  <a:pt x="113" y="106"/>
                </a:cubicBezTo>
                <a:cubicBezTo>
                  <a:pt x="114" y="106"/>
                  <a:pt x="116" y="105"/>
                  <a:pt x="117" y="104"/>
                </a:cubicBezTo>
                <a:cubicBezTo>
                  <a:pt x="120" y="101"/>
                  <a:pt x="120" y="97"/>
                  <a:pt x="117" y="95"/>
                </a:cubicBezTo>
                <a:lnTo>
                  <a:pt x="91" y="68"/>
                </a:lnTo>
                <a:close/>
              </a:path>
            </a:pathLst>
          </a:custGeom>
          <a:solidFill>
            <a:srgbClr val="FFFFFF"/>
          </a:solidFill>
          <a:ln>
            <a:noFill/>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sp>
        <p:nvSpPr>
          <p:cNvPr id="23" name="Freeform 47">
            <a:extLst>
              <a:ext uri="{FF2B5EF4-FFF2-40B4-BE49-F238E27FC236}">
                <a16:creationId xmlns:a16="http://schemas.microsoft.com/office/drawing/2014/main" id="{F85E82A2-47AA-4F0B-BC91-C26683547951}"/>
              </a:ext>
            </a:extLst>
          </p:cNvPr>
          <p:cNvSpPr>
            <a:spLocks noEditPoints="1"/>
          </p:cNvSpPr>
          <p:nvPr/>
        </p:nvSpPr>
        <p:spPr bwMode="auto">
          <a:xfrm>
            <a:off x="9905919" y="3466874"/>
            <a:ext cx="308665" cy="229473"/>
          </a:xfrm>
          <a:custGeom>
            <a:avLst/>
            <a:gdLst>
              <a:gd name="T0" fmla="*/ 272257 w 160"/>
              <a:gd name="T1" fmla="*/ 130364 h 118"/>
              <a:gd name="T2" fmla="*/ 200789 w 160"/>
              <a:gd name="T3" fmla="*/ 202407 h 118"/>
              <a:gd name="T4" fmla="*/ 272257 w 160"/>
              <a:gd name="T5" fmla="*/ 277880 h 118"/>
              <a:gd name="T6" fmla="*/ 343724 w 160"/>
              <a:gd name="T7" fmla="*/ 202407 h 118"/>
              <a:gd name="T8" fmla="*/ 272257 w 160"/>
              <a:gd name="T9" fmla="*/ 130364 h 118"/>
              <a:gd name="T10" fmla="*/ 272257 w 160"/>
              <a:gd name="T11" fmla="*/ 233282 h 118"/>
              <a:gd name="T12" fmla="*/ 245031 w 160"/>
              <a:gd name="T13" fmla="*/ 202407 h 118"/>
              <a:gd name="T14" fmla="*/ 272257 w 160"/>
              <a:gd name="T15" fmla="*/ 174962 h 118"/>
              <a:gd name="T16" fmla="*/ 299482 w 160"/>
              <a:gd name="T17" fmla="*/ 202407 h 118"/>
              <a:gd name="T18" fmla="*/ 272257 w 160"/>
              <a:gd name="T19" fmla="*/ 233282 h 118"/>
              <a:gd name="T20" fmla="*/ 394772 w 160"/>
              <a:gd name="T21" fmla="*/ 325909 h 118"/>
              <a:gd name="T22" fmla="*/ 394772 w 160"/>
              <a:gd name="T23" fmla="*/ 325909 h 118"/>
              <a:gd name="T24" fmla="*/ 377756 w 160"/>
              <a:gd name="T25" fmla="*/ 332770 h 118"/>
              <a:gd name="T26" fmla="*/ 364143 w 160"/>
              <a:gd name="T27" fmla="*/ 325909 h 118"/>
              <a:gd name="T28" fmla="*/ 364143 w 160"/>
              <a:gd name="T29" fmla="*/ 295033 h 118"/>
              <a:gd name="T30" fmla="*/ 364143 w 160"/>
              <a:gd name="T31" fmla="*/ 295033 h 118"/>
              <a:gd name="T32" fmla="*/ 364143 w 160"/>
              <a:gd name="T33" fmla="*/ 113210 h 118"/>
              <a:gd name="T34" fmla="*/ 364143 w 160"/>
              <a:gd name="T35" fmla="*/ 82335 h 118"/>
              <a:gd name="T36" fmla="*/ 394772 w 160"/>
              <a:gd name="T37" fmla="*/ 82335 h 118"/>
              <a:gd name="T38" fmla="*/ 394772 w 160"/>
              <a:gd name="T39" fmla="*/ 325909 h 118"/>
              <a:gd name="T40" fmla="*/ 180370 w 160"/>
              <a:gd name="T41" fmla="*/ 295033 h 118"/>
              <a:gd name="T42" fmla="*/ 180370 w 160"/>
              <a:gd name="T43" fmla="*/ 325909 h 118"/>
              <a:gd name="T44" fmla="*/ 166757 w 160"/>
              <a:gd name="T45" fmla="*/ 332770 h 118"/>
              <a:gd name="T46" fmla="*/ 149741 w 160"/>
              <a:gd name="T47" fmla="*/ 325909 h 118"/>
              <a:gd name="T48" fmla="*/ 149741 w 160"/>
              <a:gd name="T49" fmla="*/ 82335 h 118"/>
              <a:gd name="T50" fmla="*/ 149741 w 160"/>
              <a:gd name="T51" fmla="*/ 82335 h 118"/>
              <a:gd name="T52" fmla="*/ 180370 w 160"/>
              <a:gd name="T53" fmla="*/ 82335 h 118"/>
              <a:gd name="T54" fmla="*/ 180370 w 160"/>
              <a:gd name="T55" fmla="*/ 113210 h 118"/>
              <a:gd name="T56" fmla="*/ 180370 w 160"/>
              <a:gd name="T57" fmla="*/ 113210 h 118"/>
              <a:gd name="T58" fmla="*/ 142935 w 160"/>
              <a:gd name="T59" fmla="*/ 202407 h 118"/>
              <a:gd name="T60" fmla="*/ 180370 w 160"/>
              <a:gd name="T61" fmla="*/ 295033 h 118"/>
              <a:gd name="T62" fmla="*/ 544513 w 160"/>
              <a:gd name="T63" fmla="*/ 202407 h 118"/>
              <a:gd name="T64" fmla="*/ 466239 w 160"/>
              <a:gd name="T65" fmla="*/ 397952 h 118"/>
              <a:gd name="T66" fmla="*/ 449223 w 160"/>
              <a:gd name="T67" fmla="*/ 404813 h 118"/>
              <a:gd name="T68" fmla="*/ 432207 w 160"/>
              <a:gd name="T69" fmla="*/ 397952 h 118"/>
              <a:gd name="T70" fmla="*/ 432207 w 160"/>
              <a:gd name="T71" fmla="*/ 367076 h 118"/>
              <a:gd name="T72" fmla="*/ 432207 w 160"/>
              <a:gd name="T73" fmla="*/ 41167 h 118"/>
              <a:gd name="T74" fmla="*/ 432207 w 160"/>
              <a:gd name="T75" fmla="*/ 10292 h 118"/>
              <a:gd name="T76" fmla="*/ 466239 w 160"/>
              <a:gd name="T77" fmla="*/ 10292 h 118"/>
              <a:gd name="T78" fmla="*/ 544513 w 160"/>
              <a:gd name="T79" fmla="*/ 202407 h 118"/>
              <a:gd name="T80" fmla="*/ 112306 w 160"/>
              <a:gd name="T81" fmla="*/ 367076 h 118"/>
              <a:gd name="T82" fmla="*/ 112306 w 160"/>
              <a:gd name="T83" fmla="*/ 397952 h 118"/>
              <a:gd name="T84" fmla="*/ 95290 w 160"/>
              <a:gd name="T85" fmla="*/ 404813 h 118"/>
              <a:gd name="T86" fmla="*/ 78274 w 160"/>
              <a:gd name="T87" fmla="*/ 397952 h 118"/>
              <a:gd name="T88" fmla="*/ 0 w 160"/>
              <a:gd name="T89" fmla="*/ 202407 h 118"/>
              <a:gd name="T90" fmla="*/ 78274 w 160"/>
              <a:gd name="T91" fmla="*/ 10292 h 118"/>
              <a:gd name="T92" fmla="*/ 112306 w 160"/>
              <a:gd name="T93" fmla="*/ 10292 h 118"/>
              <a:gd name="T94" fmla="*/ 112306 w 160"/>
              <a:gd name="T95" fmla="*/ 41167 h 118"/>
              <a:gd name="T96" fmla="*/ 112306 w 160"/>
              <a:gd name="T97" fmla="*/ 367076 h 118"/>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160" h="118">
                <a:moveTo>
                  <a:pt x="80" y="38"/>
                </a:moveTo>
                <a:cubicBezTo>
                  <a:pt x="68" y="38"/>
                  <a:pt x="59" y="48"/>
                  <a:pt x="59" y="59"/>
                </a:cubicBezTo>
                <a:cubicBezTo>
                  <a:pt x="59" y="71"/>
                  <a:pt x="68" y="81"/>
                  <a:pt x="80" y="81"/>
                </a:cubicBezTo>
                <a:cubicBezTo>
                  <a:pt x="92" y="81"/>
                  <a:pt x="101" y="71"/>
                  <a:pt x="101" y="59"/>
                </a:cubicBezTo>
                <a:cubicBezTo>
                  <a:pt x="101" y="48"/>
                  <a:pt x="92" y="38"/>
                  <a:pt x="80" y="38"/>
                </a:cubicBezTo>
                <a:close/>
                <a:moveTo>
                  <a:pt x="80" y="68"/>
                </a:moveTo>
                <a:cubicBezTo>
                  <a:pt x="75" y="68"/>
                  <a:pt x="72" y="64"/>
                  <a:pt x="72" y="59"/>
                </a:cubicBezTo>
                <a:cubicBezTo>
                  <a:pt x="72" y="55"/>
                  <a:pt x="75" y="51"/>
                  <a:pt x="80" y="51"/>
                </a:cubicBezTo>
                <a:cubicBezTo>
                  <a:pt x="85" y="51"/>
                  <a:pt x="88" y="55"/>
                  <a:pt x="88" y="59"/>
                </a:cubicBezTo>
                <a:cubicBezTo>
                  <a:pt x="88" y="64"/>
                  <a:pt x="85" y="68"/>
                  <a:pt x="80" y="68"/>
                </a:cubicBezTo>
                <a:close/>
                <a:moveTo>
                  <a:pt x="116" y="95"/>
                </a:moveTo>
                <a:cubicBezTo>
                  <a:pt x="116" y="95"/>
                  <a:pt x="116" y="95"/>
                  <a:pt x="116" y="95"/>
                </a:cubicBezTo>
                <a:cubicBezTo>
                  <a:pt x="114" y="97"/>
                  <a:pt x="113" y="97"/>
                  <a:pt x="111" y="97"/>
                </a:cubicBezTo>
                <a:cubicBezTo>
                  <a:pt x="110" y="97"/>
                  <a:pt x="108" y="97"/>
                  <a:pt x="107" y="95"/>
                </a:cubicBezTo>
                <a:cubicBezTo>
                  <a:pt x="104" y="93"/>
                  <a:pt x="104" y="89"/>
                  <a:pt x="107" y="86"/>
                </a:cubicBezTo>
                <a:cubicBezTo>
                  <a:pt x="107" y="86"/>
                  <a:pt x="107" y="86"/>
                  <a:pt x="107" y="86"/>
                </a:cubicBezTo>
                <a:cubicBezTo>
                  <a:pt x="121" y="71"/>
                  <a:pt x="121" y="48"/>
                  <a:pt x="107" y="33"/>
                </a:cubicBezTo>
                <a:cubicBezTo>
                  <a:pt x="104" y="30"/>
                  <a:pt x="104" y="26"/>
                  <a:pt x="107" y="24"/>
                </a:cubicBezTo>
                <a:cubicBezTo>
                  <a:pt x="109" y="21"/>
                  <a:pt x="113" y="21"/>
                  <a:pt x="116" y="24"/>
                </a:cubicBezTo>
                <a:cubicBezTo>
                  <a:pt x="135" y="43"/>
                  <a:pt x="136" y="76"/>
                  <a:pt x="116" y="95"/>
                </a:cubicBezTo>
                <a:close/>
                <a:moveTo>
                  <a:pt x="53" y="86"/>
                </a:moveTo>
                <a:cubicBezTo>
                  <a:pt x="56" y="89"/>
                  <a:pt x="56" y="93"/>
                  <a:pt x="53" y="95"/>
                </a:cubicBezTo>
                <a:cubicBezTo>
                  <a:pt x="52" y="96"/>
                  <a:pt x="50" y="97"/>
                  <a:pt x="49" y="97"/>
                </a:cubicBezTo>
                <a:cubicBezTo>
                  <a:pt x="47" y="97"/>
                  <a:pt x="46" y="96"/>
                  <a:pt x="44" y="95"/>
                </a:cubicBezTo>
                <a:cubicBezTo>
                  <a:pt x="25" y="76"/>
                  <a:pt x="24" y="43"/>
                  <a:pt x="44" y="24"/>
                </a:cubicBezTo>
                <a:cubicBezTo>
                  <a:pt x="44" y="24"/>
                  <a:pt x="44" y="24"/>
                  <a:pt x="44" y="24"/>
                </a:cubicBezTo>
                <a:cubicBezTo>
                  <a:pt x="47" y="21"/>
                  <a:pt x="51" y="21"/>
                  <a:pt x="53" y="24"/>
                </a:cubicBezTo>
                <a:cubicBezTo>
                  <a:pt x="56" y="26"/>
                  <a:pt x="56" y="30"/>
                  <a:pt x="53" y="33"/>
                </a:cubicBezTo>
                <a:cubicBezTo>
                  <a:pt x="53" y="33"/>
                  <a:pt x="53" y="33"/>
                  <a:pt x="53" y="33"/>
                </a:cubicBezTo>
                <a:cubicBezTo>
                  <a:pt x="46" y="40"/>
                  <a:pt x="42" y="49"/>
                  <a:pt x="42" y="59"/>
                </a:cubicBezTo>
                <a:cubicBezTo>
                  <a:pt x="42" y="70"/>
                  <a:pt x="46" y="79"/>
                  <a:pt x="53" y="86"/>
                </a:cubicBezTo>
                <a:close/>
                <a:moveTo>
                  <a:pt x="160" y="59"/>
                </a:moveTo>
                <a:cubicBezTo>
                  <a:pt x="160" y="81"/>
                  <a:pt x="152" y="101"/>
                  <a:pt x="137" y="116"/>
                </a:cubicBezTo>
                <a:cubicBezTo>
                  <a:pt x="135" y="117"/>
                  <a:pt x="134" y="118"/>
                  <a:pt x="132" y="118"/>
                </a:cubicBezTo>
                <a:cubicBezTo>
                  <a:pt x="130" y="118"/>
                  <a:pt x="129" y="117"/>
                  <a:pt x="127" y="116"/>
                </a:cubicBezTo>
                <a:cubicBezTo>
                  <a:pt x="125" y="114"/>
                  <a:pt x="125" y="109"/>
                  <a:pt x="127" y="107"/>
                </a:cubicBezTo>
                <a:cubicBezTo>
                  <a:pt x="154" y="81"/>
                  <a:pt x="154" y="38"/>
                  <a:pt x="127" y="12"/>
                </a:cubicBezTo>
                <a:cubicBezTo>
                  <a:pt x="125" y="10"/>
                  <a:pt x="125" y="5"/>
                  <a:pt x="127" y="3"/>
                </a:cubicBezTo>
                <a:cubicBezTo>
                  <a:pt x="130" y="0"/>
                  <a:pt x="134" y="0"/>
                  <a:pt x="137" y="3"/>
                </a:cubicBezTo>
                <a:cubicBezTo>
                  <a:pt x="152" y="18"/>
                  <a:pt x="160" y="38"/>
                  <a:pt x="160" y="59"/>
                </a:cubicBezTo>
                <a:close/>
                <a:moveTo>
                  <a:pt x="33" y="107"/>
                </a:moveTo>
                <a:cubicBezTo>
                  <a:pt x="35" y="109"/>
                  <a:pt x="35" y="114"/>
                  <a:pt x="33" y="116"/>
                </a:cubicBezTo>
                <a:cubicBezTo>
                  <a:pt x="31" y="117"/>
                  <a:pt x="30" y="118"/>
                  <a:pt x="28" y="118"/>
                </a:cubicBezTo>
                <a:cubicBezTo>
                  <a:pt x="26" y="118"/>
                  <a:pt x="25" y="117"/>
                  <a:pt x="23" y="116"/>
                </a:cubicBezTo>
                <a:cubicBezTo>
                  <a:pt x="8" y="101"/>
                  <a:pt x="0" y="81"/>
                  <a:pt x="0" y="59"/>
                </a:cubicBezTo>
                <a:cubicBezTo>
                  <a:pt x="0" y="38"/>
                  <a:pt x="8" y="18"/>
                  <a:pt x="23" y="3"/>
                </a:cubicBezTo>
                <a:cubicBezTo>
                  <a:pt x="26" y="0"/>
                  <a:pt x="30" y="0"/>
                  <a:pt x="33" y="3"/>
                </a:cubicBezTo>
                <a:cubicBezTo>
                  <a:pt x="35" y="5"/>
                  <a:pt x="35" y="10"/>
                  <a:pt x="33" y="12"/>
                </a:cubicBezTo>
                <a:cubicBezTo>
                  <a:pt x="6" y="38"/>
                  <a:pt x="6" y="81"/>
                  <a:pt x="33" y="107"/>
                </a:cubicBezTo>
                <a:close/>
              </a:path>
            </a:pathLst>
          </a:custGeom>
          <a:solidFill>
            <a:srgbClr val="FFFFFF"/>
          </a:solidFill>
          <a:ln>
            <a:noFill/>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sp>
        <p:nvSpPr>
          <p:cNvPr id="24" name="Freeform 50">
            <a:extLst>
              <a:ext uri="{FF2B5EF4-FFF2-40B4-BE49-F238E27FC236}">
                <a16:creationId xmlns:a16="http://schemas.microsoft.com/office/drawing/2014/main" id="{8B56CB4D-7BE1-46F4-B683-3F2725E7FBD0}"/>
              </a:ext>
            </a:extLst>
          </p:cNvPr>
          <p:cNvSpPr>
            <a:spLocks noEditPoints="1"/>
          </p:cNvSpPr>
          <p:nvPr/>
        </p:nvSpPr>
        <p:spPr bwMode="auto">
          <a:xfrm>
            <a:off x="5314349" y="2852301"/>
            <a:ext cx="308665" cy="282568"/>
          </a:xfrm>
          <a:custGeom>
            <a:avLst/>
            <a:gdLst>
              <a:gd name="T0" fmla="*/ 473046 w 160"/>
              <a:gd name="T1" fmla="*/ 0 h 145"/>
              <a:gd name="T2" fmla="*/ 71467 w 160"/>
              <a:gd name="T3" fmla="*/ 0 h 145"/>
              <a:gd name="T4" fmla="*/ 0 w 160"/>
              <a:gd name="T5" fmla="*/ 72193 h 145"/>
              <a:gd name="T6" fmla="*/ 0 w 160"/>
              <a:gd name="T7" fmla="*/ 223454 h 145"/>
              <a:gd name="T8" fmla="*/ 78274 w 160"/>
              <a:gd name="T9" fmla="*/ 419407 h 145"/>
              <a:gd name="T10" fmla="*/ 272257 w 160"/>
              <a:gd name="T11" fmla="*/ 498475 h 145"/>
              <a:gd name="T12" fmla="*/ 466239 w 160"/>
              <a:gd name="T13" fmla="*/ 419407 h 145"/>
              <a:gd name="T14" fmla="*/ 544513 w 160"/>
              <a:gd name="T15" fmla="*/ 223454 h 145"/>
              <a:gd name="T16" fmla="*/ 544513 w 160"/>
              <a:gd name="T17" fmla="*/ 72193 h 145"/>
              <a:gd name="T18" fmla="*/ 473046 w 160"/>
              <a:gd name="T19" fmla="*/ 0 h 145"/>
              <a:gd name="T20" fmla="*/ 272257 w 160"/>
              <a:gd name="T21" fmla="*/ 453784 h 145"/>
              <a:gd name="T22" fmla="*/ 44242 w 160"/>
              <a:gd name="T23" fmla="*/ 223454 h 145"/>
              <a:gd name="T24" fmla="*/ 44242 w 160"/>
              <a:gd name="T25" fmla="*/ 72193 h 145"/>
              <a:gd name="T26" fmla="*/ 71467 w 160"/>
              <a:gd name="T27" fmla="*/ 44691 h 145"/>
              <a:gd name="T28" fmla="*/ 473046 w 160"/>
              <a:gd name="T29" fmla="*/ 44691 h 145"/>
              <a:gd name="T30" fmla="*/ 500271 w 160"/>
              <a:gd name="T31" fmla="*/ 72193 h 145"/>
              <a:gd name="T32" fmla="*/ 500271 w 160"/>
              <a:gd name="T33" fmla="*/ 223454 h 145"/>
              <a:gd name="T34" fmla="*/ 500271 w 160"/>
              <a:gd name="T35" fmla="*/ 223454 h 145"/>
              <a:gd name="T36" fmla="*/ 272257 w 160"/>
              <a:gd name="T37" fmla="*/ 453784 h 145"/>
              <a:gd name="T38" fmla="*/ 387966 w 160"/>
              <a:gd name="T39" fmla="*/ 182201 h 145"/>
              <a:gd name="T40" fmla="*/ 387966 w 160"/>
              <a:gd name="T41" fmla="*/ 216579 h 145"/>
              <a:gd name="T42" fmla="*/ 289273 w 160"/>
              <a:gd name="T43" fmla="*/ 316274 h 145"/>
              <a:gd name="T44" fmla="*/ 272257 w 160"/>
              <a:gd name="T45" fmla="*/ 323149 h 145"/>
              <a:gd name="T46" fmla="*/ 255240 w 160"/>
              <a:gd name="T47" fmla="*/ 316274 h 145"/>
              <a:gd name="T48" fmla="*/ 156547 w 160"/>
              <a:gd name="T49" fmla="*/ 216579 h 145"/>
              <a:gd name="T50" fmla="*/ 156547 w 160"/>
              <a:gd name="T51" fmla="*/ 182201 h 145"/>
              <a:gd name="T52" fmla="*/ 187176 w 160"/>
              <a:gd name="T53" fmla="*/ 182201 h 145"/>
              <a:gd name="T54" fmla="*/ 272257 w 160"/>
              <a:gd name="T55" fmla="*/ 268145 h 145"/>
              <a:gd name="T56" fmla="*/ 357337 w 160"/>
              <a:gd name="T57" fmla="*/ 182201 h 145"/>
              <a:gd name="T58" fmla="*/ 387966 w 160"/>
              <a:gd name="T59" fmla="*/ 182201 h 145"/>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160" h="145">
                <a:moveTo>
                  <a:pt x="139" y="0"/>
                </a:moveTo>
                <a:cubicBezTo>
                  <a:pt x="21" y="0"/>
                  <a:pt x="21" y="0"/>
                  <a:pt x="21" y="0"/>
                </a:cubicBezTo>
                <a:cubicBezTo>
                  <a:pt x="9" y="0"/>
                  <a:pt x="0" y="9"/>
                  <a:pt x="0" y="21"/>
                </a:cubicBezTo>
                <a:cubicBezTo>
                  <a:pt x="0" y="65"/>
                  <a:pt x="0" y="65"/>
                  <a:pt x="0" y="65"/>
                </a:cubicBezTo>
                <a:cubicBezTo>
                  <a:pt x="0" y="87"/>
                  <a:pt x="8" y="107"/>
                  <a:pt x="23" y="122"/>
                </a:cubicBezTo>
                <a:cubicBezTo>
                  <a:pt x="39" y="137"/>
                  <a:pt x="59" y="145"/>
                  <a:pt x="80" y="145"/>
                </a:cubicBezTo>
                <a:cubicBezTo>
                  <a:pt x="101" y="145"/>
                  <a:pt x="121" y="137"/>
                  <a:pt x="137" y="122"/>
                </a:cubicBezTo>
                <a:cubicBezTo>
                  <a:pt x="152" y="107"/>
                  <a:pt x="160" y="87"/>
                  <a:pt x="160" y="65"/>
                </a:cubicBezTo>
                <a:cubicBezTo>
                  <a:pt x="160" y="21"/>
                  <a:pt x="160" y="21"/>
                  <a:pt x="160" y="21"/>
                </a:cubicBezTo>
                <a:cubicBezTo>
                  <a:pt x="160" y="9"/>
                  <a:pt x="151" y="0"/>
                  <a:pt x="139" y="0"/>
                </a:cubicBezTo>
                <a:close/>
                <a:moveTo>
                  <a:pt x="80" y="132"/>
                </a:moveTo>
                <a:cubicBezTo>
                  <a:pt x="43" y="132"/>
                  <a:pt x="13" y="102"/>
                  <a:pt x="13" y="65"/>
                </a:cubicBezTo>
                <a:cubicBezTo>
                  <a:pt x="13" y="21"/>
                  <a:pt x="13" y="21"/>
                  <a:pt x="13" y="21"/>
                </a:cubicBezTo>
                <a:cubicBezTo>
                  <a:pt x="13" y="17"/>
                  <a:pt x="17" y="13"/>
                  <a:pt x="21" y="13"/>
                </a:cubicBezTo>
                <a:cubicBezTo>
                  <a:pt x="139" y="13"/>
                  <a:pt x="139" y="13"/>
                  <a:pt x="139" y="13"/>
                </a:cubicBezTo>
                <a:cubicBezTo>
                  <a:pt x="143" y="13"/>
                  <a:pt x="147" y="17"/>
                  <a:pt x="147" y="21"/>
                </a:cubicBezTo>
                <a:cubicBezTo>
                  <a:pt x="147" y="65"/>
                  <a:pt x="147" y="65"/>
                  <a:pt x="147" y="65"/>
                </a:cubicBezTo>
                <a:cubicBezTo>
                  <a:pt x="147" y="65"/>
                  <a:pt x="147" y="65"/>
                  <a:pt x="147" y="65"/>
                </a:cubicBezTo>
                <a:cubicBezTo>
                  <a:pt x="147" y="102"/>
                  <a:pt x="117" y="132"/>
                  <a:pt x="80" y="132"/>
                </a:cubicBezTo>
                <a:close/>
                <a:moveTo>
                  <a:pt x="114" y="53"/>
                </a:moveTo>
                <a:cubicBezTo>
                  <a:pt x="117" y="56"/>
                  <a:pt x="117" y="60"/>
                  <a:pt x="114" y="63"/>
                </a:cubicBezTo>
                <a:cubicBezTo>
                  <a:pt x="85" y="92"/>
                  <a:pt x="85" y="92"/>
                  <a:pt x="85" y="92"/>
                </a:cubicBezTo>
                <a:cubicBezTo>
                  <a:pt x="83" y="93"/>
                  <a:pt x="82" y="94"/>
                  <a:pt x="80" y="94"/>
                </a:cubicBezTo>
                <a:cubicBezTo>
                  <a:pt x="78" y="94"/>
                  <a:pt x="77" y="93"/>
                  <a:pt x="75" y="92"/>
                </a:cubicBezTo>
                <a:cubicBezTo>
                  <a:pt x="46" y="63"/>
                  <a:pt x="46" y="63"/>
                  <a:pt x="46" y="63"/>
                </a:cubicBezTo>
                <a:cubicBezTo>
                  <a:pt x="43" y="60"/>
                  <a:pt x="43" y="56"/>
                  <a:pt x="46" y="53"/>
                </a:cubicBezTo>
                <a:cubicBezTo>
                  <a:pt x="49" y="51"/>
                  <a:pt x="53" y="51"/>
                  <a:pt x="55" y="53"/>
                </a:cubicBezTo>
                <a:cubicBezTo>
                  <a:pt x="80" y="78"/>
                  <a:pt x="80" y="78"/>
                  <a:pt x="80" y="78"/>
                </a:cubicBezTo>
                <a:cubicBezTo>
                  <a:pt x="105" y="53"/>
                  <a:pt x="105" y="53"/>
                  <a:pt x="105" y="53"/>
                </a:cubicBezTo>
                <a:cubicBezTo>
                  <a:pt x="107" y="51"/>
                  <a:pt x="111" y="51"/>
                  <a:pt x="114" y="53"/>
                </a:cubicBezTo>
                <a:close/>
              </a:path>
            </a:pathLst>
          </a:custGeom>
          <a:solidFill>
            <a:srgbClr val="FFFFFF"/>
          </a:solidFill>
          <a:ln>
            <a:noFill/>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sp>
        <p:nvSpPr>
          <p:cNvPr id="25" name="Freeform 79">
            <a:extLst>
              <a:ext uri="{FF2B5EF4-FFF2-40B4-BE49-F238E27FC236}">
                <a16:creationId xmlns:a16="http://schemas.microsoft.com/office/drawing/2014/main" id="{95D2905F-27A4-4996-8227-CA9CF6D1B0F6}"/>
              </a:ext>
            </a:extLst>
          </p:cNvPr>
          <p:cNvSpPr>
            <a:spLocks noEditPoints="1"/>
          </p:cNvSpPr>
          <p:nvPr/>
        </p:nvSpPr>
        <p:spPr bwMode="auto">
          <a:xfrm>
            <a:off x="6654053" y="4072337"/>
            <a:ext cx="308665" cy="286168"/>
          </a:xfrm>
          <a:custGeom>
            <a:avLst/>
            <a:gdLst>
              <a:gd name="T0" fmla="*/ 534303 w 160"/>
              <a:gd name="T1" fmla="*/ 3434 h 147"/>
              <a:gd name="T2" fmla="*/ 510481 w 160"/>
              <a:gd name="T3" fmla="*/ 3434 h 147"/>
              <a:gd name="T4" fmla="*/ 364143 w 160"/>
              <a:gd name="T5" fmla="*/ 89289 h 147"/>
              <a:gd name="T6" fmla="*/ 190580 w 160"/>
              <a:gd name="T7" fmla="*/ 3434 h 147"/>
              <a:gd name="T8" fmla="*/ 190580 w 160"/>
              <a:gd name="T9" fmla="*/ 3434 h 147"/>
              <a:gd name="T10" fmla="*/ 187176 w 160"/>
              <a:gd name="T11" fmla="*/ 0 h 147"/>
              <a:gd name="T12" fmla="*/ 187176 w 160"/>
              <a:gd name="T13" fmla="*/ 0 h 147"/>
              <a:gd name="T14" fmla="*/ 180370 w 160"/>
              <a:gd name="T15" fmla="*/ 0 h 147"/>
              <a:gd name="T16" fmla="*/ 180370 w 160"/>
              <a:gd name="T17" fmla="*/ 0 h 147"/>
              <a:gd name="T18" fmla="*/ 180370 w 160"/>
              <a:gd name="T19" fmla="*/ 0 h 147"/>
              <a:gd name="T20" fmla="*/ 176967 w 160"/>
              <a:gd name="T21" fmla="*/ 0 h 147"/>
              <a:gd name="T22" fmla="*/ 173564 w 160"/>
              <a:gd name="T23" fmla="*/ 0 h 147"/>
              <a:gd name="T24" fmla="*/ 170160 w 160"/>
              <a:gd name="T25" fmla="*/ 3434 h 147"/>
              <a:gd name="T26" fmla="*/ 170160 w 160"/>
              <a:gd name="T27" fmla="*/ 3434 h 147"/>
              <a:gd name="T28" fmla="*/ 10210 w 160"/>
              <a:gd name="T29" fmla="*/ 96157 h 147"/>
              <a:gd name="T30" fmla="*/ 0 w 160"/>
              <a:gd name="T31" fmla="*/ 113328 h 147"/>
              <a:gd name="T32" fmla="*/ 0 w 160"/>
              <a:gd name="T33" fmla="*/ 480786 h 147"/>
              <a:gd name="T34" fmla="*/ 10210 w 160"/>
              <a:gd name="T35" fmla="*/ 501391 h 147"/>
              <a:gd name="T36" fmla="*/ 34032 w 160"/>
              <a:gd name="T37" fmla="*/ 501391 h 147"/>
              <a:gd name="T38" fmla="*/ 180370 w 160"/>
              <a:gd name="T39" fmla="*/ 415536 h 147"/>
              <a:gd name="T40" fmla="*/ 353933 w 160"/>
              <a:gd name="T41" fmla="*/ 501391 h 147"/>
              <a:gd name="T42" fmla="*/ 353933 w 160"/>
              <a:gd name="T43" fmla="*/ 501391 h 147"/>
              <a:gd name="T44" fmla="*/ 357337 w 160"/>
              <a:gd name="T45" fmla="*/ 501391 h 147"/>
              <a:gd name="T46" fmla="*/ 357337 w 160"/>
              <a:gd name="T47" fmla="*/ 501391 h 147"/>
              <a:gd name="T48" fmla="*/ 364143 w 160"/>
              <a:gd name="T49" fmla="*/ 504825 h 147"/>
              <a:gd name="T50" fmla="*/ 367546 w 160"/>
              <a:gd name="T51" fmla="*/ 501391 h 147"/>
              <a:gd name="T52" fmla="*/ 370949 w 160"/>
              <a:gd name="T53" fmla="*/ 501391 h 147"/>
              <a:gd name="T54" fmla="*/ 374353 w 160"/>
              <a:gd name="T55" fmla="*/ 501391 h 147"/>
              <a:gd name="T56" fmla="*/ 374353 w 160"/>
              <a:gd name="T57" fmla="*/ 501391 h 147"/>
              <a:gd name="T58" fmla="*/ 534303 w 160"/>
              <a:gd name="T59" fmla="*/ 408668 h 147"/>
              <a:gd name="T60" fmla="*/ 544513 w 160"/>
              <a:gd name="T61" fmla="*/ 388063 h 147"/>
              <a:gd name="T62" fmla="*/ 544513 w 160"/>
              <a:gd name="T63" fmla="*/ 20605 h 147"/>
              <a:gd name="T64" fmla="*/ 534303 w 160"/>
              <a:gd name="T65" fmla="*/ 3434 h 147"/>
              <a:gd name="T66" fmla="*/ 204192 w 160"/>
              <a:gd name="T67" fmla="*/ 58381 h 147"/>
              <a:gd name="T68" fmla="*/ 340321 w 160"/>
              <a:gd name="T69" fmla="*/ 127065 h 147"/>
              <a:gd name="T70" fmla="*/ 340321 w 160"/>
              <a:gd name="T71" fmla="*/ 446444 h 147"/>
              <a:gd name="T72" fmla="*/ 204192 w 160"/>
              <a:gd name="T73" fmla="*/ 374326 h 147"/>
              <a:gd name="T74" fmla="*/ 204192 w 160"/>
              <a:gd name="T75" fmla="*/ 58381 h 147"/>
              <a:gd name="T76" fmla="*/ 44242 w 160"/>
              <a:gd name="T77" fmla="*/ 127065 h 147"/>
              <a:gd name="T78" fmla="*/ 159951 w 160"/>
              <a:gd name="T79" fmla="*/ 61815 h 147"/>
              <a:gd name="T80" fmla="*/ 159951 w 160"/>
              <a:gd name="T81" fmla="*/ 377760 h 147"/>
              <a:gd name="T82" fmla="*/ 44242 w 160"/>
              <a:gd name="T83" fmla="*/ 443010 h 147"/>
              <a:gd name="T84" fmla="*/ 44242 w 160"/>
              <a:gd name="T85" fmla="*/ 127065 h 147"/>
              <a:gd name="T86" fmla="*/ 500271 w 160"/>
              <a:gd name="T87" fmla="*/ 377760 h 147"/>
              <a:gd name="T88" fmla="*/ 384562 w 160"/>
              <a:gd name="T89" fmla="*/ 443010 h 147"/>
              <a:gd name="T90" fmla="*/ 384562 w 160"/>
              <a:gd name="T91" fmla="*/ 127065 h 147"/>
              <a:gd name="T92" fmla="*/ 500271 w 160"/>
              <a:gd name="T93" fmla="*/ 61815 h 147"/>
              <a:gd name="T94" fmla="*/ 500271 w 160"/>
              <a:gd name="T95" fmla="*/ 377760 h 147"/>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160" h="147">
                <a:moveTo>
                  <a:pt x="157" y="1"/>
                </a:moveTo>
                <a:cubicBezTo>
                  <a:pt x="155" y="0"/>
                  <a:pt x="152" y="0"/>
                  <a:pt x="150" y="1"/>
                </a:cubicBezTo>
                <a:cubicBezTo>
                  <a:pt x="107" y="26"/>
                  <a:pt x="107" y="26"/>
                  <a:pt x="107" y="26"/>
                </a:cubicBezTo>
                <a:cubicBezTo>
                  <a:pt x="56" y="1"/>
                  <a:pt x="56" y="1"/>
                  <a:pt x="56" y="1"/>
                </a:cubicBezTo>
                <a:cubicBezTo>
                  <a:pt x="56" y="1"/>
                  <a:pt x="56" y="1"/>
                  <a:pt x="56" y="1"/>
                </a:cubicBezTo>
                <a:cubicBezTo>
                  <a:pt x="56" y="0"/>
                  <a:pt x="55" y="0"/>
                  <a:pt x="55" y="0"/>
                </a:cubicBezTo>
                <a:cubicBezTo>
                  <a:pt x="55" y="0"/>
                  <a:pt x="55" y="0"/>
                  <a:pt x="55" y="0"/>
                </a:cubicBezTo>
                <a:cubicBezTo>
                  <a:pt x="54" y="0"/>
                  <a:pt x="54" y="0"/>
                  <a:pt x="53" y="0"/>
                </a:cubicBezTo>
                <a:cubicBezTo>
                  <a:pt x="53" y="0"/>
                  <a:pt x="53" y="0"/>
                  <a:pt x="53" y="0"/>
                </a:cubicBezTo>
                <a:cubicBezTo>
                  <a:pt x="53" y="0"/>
                  <a:pt x="53" y="0"/>
                  <a:pt x="53" y="0"/>
                </a:cubicBezTo>
                <a:cubicBezTo>
                  <a:pt x="52" y="0"/>
                  <a:pt x="52" y="0"/>
                  <a:pt x="52" y="0"/>
                </a:cubicBezTo>
                <a:cubicBezTo>
                  <a:pt x="52" y="0"/>
                  <a:pt x="51" y="0"/>
                  <a:pt x="51" y="0"/>
                </a:cubicBezTo>
                <a:cubicBezTo>
                  <a:pt x="51" y="0"/>
                  <a:pt x="51" y="1"/>
                  <a:pt x="50" y="1"/>
                </a:cubicBezTo>
                <a:cubicBezTo>
                  <a:pt x="50" y="1"/>
                  <a:pt x="50" y="1"/>
                  <a:pt x="50" y="1"/>
                </a:cubicBezTo>
                <a:cubicBezTo>
                  <a:pt x="3" y="28"/>
                  <a:pt x="3" y="28"/>
                  <a:pt x="3" y="28"/>
                </a:cubicBezTo>
                <a:cubicBezTo>
                  <a:pt x="1" y="29"/>
                  <a:pt x="0" y="31"/>
                  <a:pt x="0" y="33"/>
                </a:cubicBezTo>
                <a:cubicBezTo>
                  <a:pt x="0" y="140"/>
                  <a:pt x="0" y="140"/>
                  <a:pt x="0" y="140"/>
                </a:cubicBezTo>
                <a:cubicBezTo>
                  <a:pt x="0" y="142"/>
                  <a:pt x="1" y="145"/>
                  <a:pt x="3" y="146"/>
                </a:cubicBezTo>
                <a:cubicBezTo>
                  <a:pt x="5" y="147"/>
                  <a:pt x="8" y="147"/>
                  <a:pt x="10" y="146"/>
                </a:cubicBezTo>
                <a:cubicBezTo>
                  <a:pt x="53" y="121"/>
                  <a:pt x="53" y="121"/>
                  <a:pt x="53" y="121"/>
                </a:cubicBezTo>
                <a:cubicBezTo>
                  <a:pt x="104" y="146"/>
                  <a:pt x="104" y="146"/>
                  <a:pt x="104" y="146"/>
                </a:cubicBezTo>
                <a:cubicBezTo>
                  <a:pt x="104" y="146"/>
                  <a:pt x="104" y="146"/>
                  <a:pt x="104" y="146"/>
                </a:cubicBezTo>
                <a:cubicBezTo>
                  <a:pt x="104" y="146"/>
                  <a:pt x="105" y="146"/>
                  <a:pt x="105" y="146"/>
                </a:cubicBezTo>
                <a:cubicBezTo>
                  <a:pt x="105" y="146"/>
                  <a:pt x="105" y="146"/>
                  <a:pt x="105" y="146"/>
                </a:cubicBezTo>
                <a:cubicBezTo>
                  <a:pt x="106" y="147"/>
                  <a:pt x="106" y="147"/>
                  <a:pt x="107" y="147"/>
                </a:cubicBezTo>
                <a:cubicBezTo>
                  <a:pt x="107" y="147"/>
                  <a:pt x="108" y="147"/>
                  <a:pt x="108" y="146"/>
                </a:cubicBezTo>
                <a:cubicBezTo>
                  <a:pt x="108" y="146"/>
                  <a:pt x="109" y="146"/>
                  <a:pt x="109" y="146"/>
                </a:cubicBezTo>
                <a:cubicBezTo>
                  <a:pt x="109" y="146"/>
                  <a:pt x="109" y="146"/>
                  <a:pt x="110" y="146"/>
                </a:cubicBezTo>
                <a:cubicBezTo>
                  <a:pt x="110" y="146"/>
                  <a:pt x="110" y="146"/>
                  <a:pt x="110" y="146"/>
                </a:cubicBezTo>
                <a:cubicBezTo>
                  <a:pt x="157" y="119"/>
                  <a:pt x="157" y="119"/>
                  <a:pt x="157" y="119"/>
                </a:cubicBezTo>
                <a:cubicBezTo>
                  <a:pt x="159" y="118"/>
                  <a:pt x="160" y="116"/>
                  <a:pt x="160" y="113"/>
                </a:cubicBezTo>
                <a:cubicBezTo>
                  <a:pt x="160" y="6"/>
                  <a:pt x="160" y="6"/>
                  <a:pt x="160" y="6"/>
                </a:cubicBezTo>
                <a:cubicBezTo>
                  <a:pt x="160" y="4"/>
                  <a:pt x="159" y="2"/>
                  <a:pt x="157" y="1"/>
                </a:cubicBezTo>
                <a:close/>
                <a:moveTo>
                  <a:pt x="60" y="17"/>
                </a:moveTo>
                <a:cubicBezTo>
                  <a:pt x="100" y="37"/>
                  <a:pt x="100" y="37"/>
                  <a:pt x="100" y="37"/>
                </a:cubicBezTo>
                <a:cubicBezTo>
                  <a:pt x="100" y="130"/>
                  <a:pt x="100" y="130"/>
                  <a:pt x="100" y="130"/>
                </a:cubicBezTo>
                <a:cubicBezTo>
                  <a:pt x="60" y="109"/>
                  <a:pt x="60" y="109"/>
                  <a:pt x="60" y="109"/>
                </a:cubicBezTo>
                <a:lnTo>
                  <a:pt x="60" y="17"/>
                </a:lnTo>
                <a:close/>
                <a:moveTo>
                  <a:pt x="13" y="37"/>
                </a:moveTo>
                <a:cubicBezTo>
                  <a:pt x="47" y="18"/>
                  <a:pt x="47" y="18"/>
                  <a:pt x="47" y="18"/>
                </a:cubicBezTo>
                <a:cubicBezTo>
                  <a:pt x="47" y="110"/>
                  <a:pt x="47" y="110"/>
                  <a:pt x="47" y="110"/>
                </a:cubicBezTo>
                <a:cubicBezTo>
                  <a:pt x="13" y="129"/>
                  <a:pt x="13" y="129"/>
                  <a:pt x="13" y="129"/>
                </a:cubicBezTo>
                <a:lnTo>
                  <a:pt x="13" y="37"/>
                </a:lnTo>
                <a:close/>
                <a:moveTo>
                  <a:pt x="147" y="110"/>
                </a:moveTo>
                <a:cubicBezTo>
                  <a:pt x="113" y="129"/>
                  <a:pt x="113" y="129"/>
                  <a:pt x="113" y="129"/>
                </a:cubicBezTo>
                <a:cubicBezTo>
                  <a:pt x="113" y="37"/>
                  <a:pt x="113" y="37"/>
                  <a:pt x="113" y="37"/>
                </a:cubicBezTo>
                <a:cubicBezTo>
                  <a:pt x="147" y="18"/>
                  <a:pt x="147" y="18"/>
                  <a:pt x="147" y="18"/>
                </a:cubicBezTo>
                <a:lnTo>
                  <a:pt x="147" y="110"/>
                </a:lnTo>
                <a:close/>
              </a:path>
            </a:pathLst>
          </a:custGeom>
          <a:solidFill>
            <a:srgbClr val="FFFFFF"/>
          </a:solidFill>
          <a:ln>
            <a:noFill/>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sp>
        <p:nvSpPr>
          <p:cNvPr id="26" name="Freeform 89">
            <a:extLst>
              <a:ext uri="{FF2B5EF4-FFF2-40B4-BE49-F238E27FC236}">
                <a16:creationId xmlns:a16="http://schemas.microsoft.com/office/drawing/2014/main" id="{835015B7-CF57-4D75-8FAB-E11491EFB429}"/>
              </a:ext>
            </a:extLst>
          </p:cNvPr>
          <p:cNvSpPr>
            <a:spLocks noEditPoints="1"/>
          </p:cNvSpPr>
          <p:nvPr/>
        </p:nvSpPr>
        <p:spPr bwMode="auto">
          <a:xfrm>
            <a:off x="8152437" y="3203186"/>
            <a:ext cx="308661" cy="255569"/>
          </a:xfrm>
          <a:custGeom>
            <a:avLst/>
            <a:gdLst>
              <a:gd name="T0" fmla="*/ 544513 w 160"/>
              <a:gd name="T1" fmla="*/ 244354 h 131"/>
              <a:gd name="T2" fmla="*/ 544513 w 160"/>
              <a:gd name="T3" fmla="*/ 244354 h 131"/>
              <a:gd name="T4" fmla="*/ 541110 w 160"/>
              <a:gd name="T5" fmla="*/ 240912 h 131"/>
              <a:gd name="T6" fmla="*/ 541110 w 160"/>
              <a:gd name="T7" fmla="*/ 240912 h 131"/>
              <a:gd name="T8" fmla="*/ 456030 w 160"/>
              <a:gd name="T9" fmla="*/ 44741 h 131"/>
              <a:gd name="T10" fmla="*/ 391369 w 160"/>
              <a:gd name="T11" fmla="*/ 0 h 131"/>
              <a:gd name="T12" fmla="*/ 391369 w 160"/>
              <a:gd name="T13" fmla="*/ 0 h 131"/>
              <a:gd name="T14" fmla="*/ 153144 w 160"/>
              <a:gd name="T15" fmla="*/ 0 h 131"/>
              <a:gd name="T16" fmla="*/ 153144 w 160"/>
              <a:gd name="T17" fmla="*/ 0 h 131"/>
              <a:gd name="T18" fmla="*/ 88483 w 160"/>
              <a:gd name="T19" fmla="*/ 44741 h 131"/>
              <a:gd name="T20" fmla="*/ 3403 w 160"/>
              <a:gd name="T21" fmla="*/ 240912 h 131"/>
              <a:gd name="T22" fmla="*/ 3403 w 160"/>
              <a:gd name="T23" fmla="*/ 240912 h 131"/>
              <a:gd name="T24" fmla="*/ 0 w 160"/>
              <a:gd name="T25" fmla="*/ 244354 h 131"/>
              <a:gd name="T26" fmla="*/ 0 w 160"/>
              <a:gd name="T27" fmla="*/ 244354 h 131"/>
              <a:gd name="T28" fmla="*/ 0 w 160"/>
              <a:gd name="T29" fmla="*/ 251237 h 131"/>
              <a:gd name="T30" fmla="*/ 0 w 160"/>
              <a:gd name="T31" fmla="*/ 375135 h 131"/>
              <a:gd name="T32" fmla="*/ 71467 w 160"/>
              <a:gd name="T33" fmla="*/ 450850 h 131"/>
              <a:gd name="T34" fmla="*/ 473046 w 160"/>
              <a:gd name="T35" fmla="*/ 450850 h 131"/>
              <a:gd name="T36" fmla="*/ 544513 w 160"/>
              <a:gd name="T37" fmla="*/ 375135 h 131"/>
              <a:gd name="T38" fmla="*/ 544513 w 160"/>
              <a:gd name="T39" fmla="*/ 251237 h 131"/>
              <a:gd name="T40" fmla="*/ 544513 w 160"/>
              <a:gd name="T41" fmla="*/ 244354 h 131"/>
              <a:gd name="T42" fmla="*/ 129322 w 160"/>
              <a:gd name="T43" fmla="*/ 61949 h 131"/>
              <a:gd name="T44" fmla="*/ 129322 w 160"/>
              <a:gd name="T45" fmla="*/ 61949 h 131"/>
              <a:gd name="T46" fmla="*/ 153144 w 160"/>
              <a:gd name="T47" fmla="*/ 44741 h 131"/>
              <a:gd name="T48" fmla="*/ 153144 w 160"/>
              <a:gd name="T49" fmla="*/ 44741 h 131"/>
              <a:gd name="T50" fmla="*/ 391369 w 160"/>
              <a:gd name="T51" fmla="*/ 44741 h 131"/>
              <a:gd name="T52" fmla="*/ 391369 w 160"/>
              <a:gd name="T53" fmla="*/ 44741 h 131"/>
              <a:gd name="T54" fmla="*/ 415191 w 160"/>
              <a:gd name="T55" fmla="*/ 61949 h 131"/>
              <a:gd name="T56" fmla="*/ 490062 w 160"/>
              <a:gd name="T57" fmla="*/ 227146 h 131"/>
              <a:gd name="T58" fmla="*/ 370949 w 160"/>
              <a:gd name="T59" fmla="*/ 227146 h 131"/>
              <a:gd name="T60" fmla="*/ 353933 w 160"/>
              <a:gd name="T61" fmla="*/ 237471 h 131"/>
              <a:gd name="T62" fmla="*/ 309692 w 160"/>
              <a:gd name="T63" fmla="*/ 302861 h 131"/>
              <a:gd name="T64" fmla="*/ 234821 w 160"/>
              <a:gd name="T65" fmla="*/ 302861 h 131"/>
              <a:gd name="T66" fmla="*/ 190580 w 160"/>
              <a:gd name="T67" fmla="*/ 237471 h 131"/>
              <a:gd name="T68" fmla="*/ 173564 w 160"/>
              <a:gd name="T69" fmla="*/ 227146 h 131"/>
              <a:gd name="T70" fmla="*/ 54451 w 160"/>
              <a:gd name="T71" fmla="*/ 227146 h 131"/>
              <a:gd name="T72" fmla="*/ 129322 w 160"/>
              <a:gd name="T73" fmla="*/ 61949 h 131"/>
              <a:gd name="T74" fmla="*/ 473046 w 160"/>
              <a:gd name="T75" fmla="*/ 406109 h 131"/>
              <a:gd name="T76" fmla="*/ 71467 w 160"/>
              <a:gd name="T77" fmla="*/ 406109 h 131"/>
              <a:gd name="T78" fmla="*/ 44242 w 160"/>
              <a:gd name="T79" fmla="*/ 375135 h 131"/>
              <a:gd name="T80" fmla="*/ 44242 w 160"/>
              <a:gd name="T81" fmla="*/ 271887 h 131"/>
              <a:gd name="T82" fmla="*/ 159951 w 160"/>
              <a:gd name="T83" fmla="*/ 271887 h 131"/>
              <a:gd name="T84" fmla="*/ 204192 w 160"/>
              <a:gd name="T85" fmla="*/ 337277 h 131"/>
              <a:gd name="T86" fmla="*/ 221208 w 160"/>
              <a:gd name="T87" fmla="*/ 347602 h 131"/>
              <a:gd name="T88" fmla="*/ 323305 w 160"/>
              <a:gd name="T89" fmla="*/ 347602 h 131"/>
              <a:gd name="T90" fmla="*/ 340321 w 160"/>
              <a:gd name="T91" fmla="*/ 337277 h 131"/>
              <a:gd name="T92" fmla="*/ 384562 w 160"/>
              <a:gd name="T93" fmla="*/ 271887 h 131"/>
              <a:gd name="T94" fmla="*/ 500271 w 160"/>
              <a:gd name="T95" fmla="*/ 271887 h 131"/>
              <a:gd name="T96" fmla="*/ 500271 w 160"/>
              <a:gd name="T97" fmla="*/ 375135 h 131"/>
              <a:gd name="T98" fmla="*/ 473046 w 160"/>
              <a:gd name="T99" fmla="*/ 406109 h 131"/>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160" h="131">
                <a:moveTo>
                  <a:pt x="160" y="71"/>
                </a:moveTo>
                <a:cubicBezTo>
                  <a:pt x="160" y="71"/>
                  <a:pt x="160" y="71"/>
                  <a:pt x="160" y="71"/>
                </a:cubicBezTo>
                <a:cubicBezTo>
                  <a:pt x="160" y="71"/>
                  <a:pt x="160" y="70"/>
                  <a:pt x="159" y="70"/>
                </a:cubicBezTo>
                <a:cubicBezTo>
                  <a:pt x="159" y="70"/>
                  <a:pt x="159" y="70"/>
                  <a:pt x="159" y="70"/>
                </a:cubicBezTo>
                <a:cubicBezTo>
                  <a:pt x="134" y="13"/>
                  <a:pt x="134" y="13"/>
                  <a:pt x="134" y="13"/>
                </a:cubicBezTo>
                <a:cubicBezTo>
                  <a:pt x="131" y="5"/>
                  <a:pt x="123" y="0"/>
                  <a:pt x="115" y="0"/>
                </a:cubicBezTo>
                <a:cubicBezTo>
                  <a:pt x="115" y="0"/>
                  <a:pt x="115" y="0"/>
                  <a:pt x="115" y="0"/>
                </a:cubicBezTo>
                <a:cubicBezTo>
                  <a:pt x="45" y="0"/>
                  <a:pt x="45" y="0"/>
                  <a:pt x="45" y="0"/>
                </a:cubicBezTo>
                <a:cubicBezTo>
                  <a:pt x="45" y="0"/>
                  <a:pt x="45" y="0"/>
                  <a:pt x="45" y="0"/>
                </a:cubicBezTo>
                <a:cubicBezTo>
                  <a:pt x="37" y="0"/>
                  <a:pt x="29" y="5"/>
                  <a:pt x="26" y="13"/>
                </a:cubicBezTo>
                <a:cubicBezTo>
                  <a:pt x="1" y="70"/>
                  <a:pt x="1" y="70"/>
                  <a:pt x="1" y="70"/>
                </a:cubicBezTo>
                <a:cubicBezTo>
                  <a:pt x="1" y="70"/>
                  <a:pt x="1" y="70"/>
                  <a:pt x="1" y="70"/>
                </a:cubicBezTo>
                <a:cubicBezTo>
                  <a:pt x="0" y="70"/>
                  <a:pt x="0" y="71"/>
                  <a:pt x="0" y="71"/>
                </a:cubicBezTo>
                <a:cubicBezTo>
                  <a:pt x="0" y="71"/>
                  <a:pt x="0" y="71"/>
                  <a:pt x="0" y="71"/>
                </a:cubicBezTo>
                <a:cubicBezTo>
                  <a:pt x="0" y="72"/>
                  <a:pt x="0" y="72"/>
                  <a:pt x="0" y="73"/>
                </a:cubicBezTo>
                <a:cubicBezTo>
                  <a:pt x="0" y="109"/>
                  <a:pt x="0" y="109"/>
                  <a:pt x="0" y="109"/>
                </a:cubicBezTo>
                <a:cubicBezTo>
                  <a:pt x="0" y="121"/>
                  <a:pt x="9" y="131"/>
                  <a:pt x="21" y="131"/>
                </a:cubicBezTo>
                <a:cubicBezTo>
                  <a:pt x="139" y="131"/>
                  <a:pt x="139" y="131"/>
                  <a:pt x="139" y="131"/>
                </a:cubicBezTo>
                <a:cubicBezTo>
                  <a:pt x="151" y="131"/>
                  <a:pt x="160" y="121"/>
                  <a:pt x="160" y="109"/>
                </a:cubicBezTo>
                <a:cubicBezTo>
                  <a:pt x="160" y="73"/>
                  <a:pt x="160" y="73"/>
                  <a:pt x="160" y="73"/>
                </a:cubicBezTo>
                <a:cubicBezTo>
                  <a:pt x="160" y="72"/>
                  <a:pt x="160" y="72"/>
                  <a:pt x="160" y="71"/>
                </a:cubicBezTo>
                <a:close/>
                <a:moveTo>
                  <a:pt x="38" y="18"/>
                </a:moveTo>
                <a:cubicBezTo>
                  <a:pt x="38" y="18"/>
                  <a:pt x="38" y="18"/>
                  <a:pt x="38" y="18"/>
                </a:cubicBezTo>
                <a:cubicBezTo>
                  <a:pt x="39" y="15"/>
                  <a:pt x="42" y="13"/>
                  <a:pt x="45" y="13"/>
                </a:cubicBezTo>
                <a:cubicBezTo>
                  <a:pt x="45" y="13"/>
                  <a:pt x="45" y="13"/>
                  <a:pt x="45" y="13"/>
                </a:cubicBezTo>
                <a:cubicBezTo>
                  <a:pt x="115" y="13"/>
                  <a:pt x="115" y="13"/>
                  <a:pt x="115" y="13"/>
                </a:cubicBezTo>
                <a:cubicBezTo>
                  <a:pt x="115" y="13"/>
                  <a:pt x="115" y="13"/>
                  <a:pt x="115" y="13"/>
                </a:cubicBezTo>
                <a:cubicBezTo>
                  <a:pt x="118" y="13"/>
                  <a:pt x="121" y="15"/>
                  <a:pt x="122" y="18"/>
                </a:cubicBezTo>
                <a:cubicBezTo>
                  <a:pt x="144" y="66"/>
                  <a:pt x="144" y="66"/>
                  <a:pt x="144" y="66"/>
                </a:cubicBezTo>
                <a:cubicBezTo>
                  <a:pt x="109" y="66"/>
                  <a:pt x="109" y="66"/>
                  <a:pt x="109" y="66"/>
                </a:cubicBezTo>
                <a:cubicBezTo>
                  <a:pt x="107" y="66"/>
                  <a:pt x="105" y="67"/>
                  <a:pt x="104" y="69"/>
                </a:cubicBezTo>
                <a:cubicBezTo>
                  <a:pt x="91" y="88"/>
                  <a:pt x="91" y="88"/>
                  <a:pt x="91" y="88"/>
                </a:cubicBezTo>
                <a:cubicBezTo>
                  <a:pt x="69" y="88"/>
                  <a:pt x="69" y="88"/>
                  <a:pt x="69" y="88"/>
                </a:cubicBezTo>
                <a:cubicBezTo>
                  <a:pt x="56" y="69"/>
                  <a:pt x="56" y="69"/>
                  <a:pt x="56" y="69"/>
                </a:cubicBezTo>
                <a:cubicBezTo>
                  <a:pt x="55" y="67"/>
                  <a:pt x="53" y="66"/>
                  <a:pt x="51" y="66"/>
                </a:cubicBezTo>
                <a:cubicBezTo>
                  <a:pt x="16" y="66"/>
                  <a:pt x="16" y="66"/>
                  <a:pt x="16" y="66"/>
                </a:cubicBezTo>
                <a:lnTo>
                  <a:pt x="38" y="18"/>
                </a:lnTo>
                <a:close/>
                <a:moveTo>
                  <a:pt x="139" y="118"/>
                </a:moveTo>
                <a:cubicBezTo>
                  <a:pt x="21" y="118"/>
                  <a:pt x="21" y="118"/>
                  <a:pt x="21" y="118"/>
                </a:cubicBezTo>
                <a:cubicBezTo>
                  <a:pt x="17" y="118"/>
                  <a:pt x="13" y="114"/>
                  <a:pt x="13" y="109"/>
                </a:cubicBezTo>
                <a:cubicBezTo>
                  <a:pt x="13" y="79"/>
                  <a:pt x="13" y="79"/>
                  <a:pt x="13" y="79"/>
                </a:cubicBezTo>
                <a:cubicBezTo>
                  <a:pt x="47" y="79"/>
                  <a:pt x="47" y="79"/>
                  <a:pt x="47" y="79"/>
                </a:cubicBezTo>
                <a:cubicBezTo>
                  <a:pt x="60" y="98"/>
                  <a:pt x="60" y="98"/>
                  <a:pt x="60" y="98"/>
                </a:cubicBezTo>
                <a:cubicBezTo>
                  <a:pt x="61" y="100"/>
                  <a:pt x="63" y="101"/>
                  <a:pt x="65" y="101"/>
                </a:cubicBezTo>
                <a:cubicBezTo>
                  <a:pt x="95" y="101"/>
                  <a:pt x="95" y="101"/>
                  <a:pt x="95" y="101"/>
                </a:cubicBezTo>
                <a:cubicBezTo>
                  <a:pt x="97" y="101"/>
                  <a:pt x="99" y="100"/>
                  <a:pt x="100" y="98"/>
                </a:cubicBezTo>
                <a:cubicBezTo>
                  <a:pt x="113" y="79"/>
                  <a:pt x="113" y="79"/>
                  <a:pt x="113" y="79"/>
                </a:cubicBezTo>
                <a:cubicBezTo>
                  <a:pt x="147" y="79"/>
                  <a:pt x="147" y="79"/>
                  <a:pt x="147" y="79"/>
                </a:cubicBezTo>
                <a:cubicBezTo>
                  <a:pt x="147" y="109"/>
                  <a:pt x="147" y="109"/>
                  <a:pt x="147" y="109"/>
                </a:cubicBezTo>
                <a:cubicBezTo>
                  <a:pt x="147" y="114"/>
                  <a:pt x="143" y="118"/>
                  <a:pt x="139" y="118"/>
                </a:cubicBezTo>
                <a:close/>
              </a:path>
            </a:pathLst>
          </a:custGeom>
          <a:solidFill>
            <a:srgbClr val="FFFFFF"/>
          </a:solidFill>
          <a:ln>
            <a:noFill/>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sp>
        <p:nvSpPr>
          <p:cNvPr id="27" name="Freeform 46">
            <a:extLst>
              <a:ext uri="{FF2B5EF4-FFF2-40B4-BE49-F238E27FC236}">
                <a16:creationId xmlns:a16="http://schemas.microsoft.com/office/drawing/2014/main" id="{74806D9A-06D0-44FE-8FBD-00E07267CADB}"/>
              </a:ext>
            </a:extLst>
          </p:cNvPr>
          <p:cNvSpPr>
            <a:spLocks noEditPoints="1"/>
          </p:cNvSpPr>
          <p:nvPr/>
        </p:nvSpPr>
        <p:spPr bwMode="auto">
          <a:xfrm>
            <a:off x="2026371" y="3370777"/>
            <a:ext cx="281050" cy="239261"/>
          </a:xfrm>
          <a:custGeom>
            <a:avLst/>
            <a:gdLst>
              <a:gd name="T0" fmla="*/ 10210 w 160"/>
              <a:gd name="T1" fmla="*/ 206022 h 135"/>
              <a:gd name="T2" fmla="*/ 6806 w 160"/>
              <a:gd name="T3" fmla="*/ 206022 h 135"/>
              <a:gd name="T4" fmla="*/ 3403 w 160"/>
              <a:gd name="T5" fmla="*/ 202589 h 135"/>
              <a:gd name="T6" fmla="*/ 0 w 160"/>
              <a:gd name="T7" fmla="*/ 199155 h 135"/>
              <a:gd name="T8" fmla="*/ 0 w 160"/>
              <a:gd name="T9" fmla="*/ 192287 h 135"/>
              <a:gd name="T10" fmla="*/ 0 w 160"/>
              <a:gd name="T11" fmla="*/ 188854 h 135"/>
              <a:gd name="T12" fmla="*/ 20419 w 160"/>
              <a:gd name="T13" fmla="*/ 30903 h 135"/>
              <a:gd name="T14" fmla="*/ 44242 w 160"/>
              <a:gd name="T15" fmla="*/ 137348 h 135"/>
              <a:gd name="T16" fmla="*/ 197386 w 160"/>
              <a:gd name="T17" fmla="*/ 20602 h 135"/>
              <a:gd name="T18" fmla="*/ 486658 w 160"/>
              <a:gd name="T19" fmla="*/ 157950 h 135"/>
              <a:gd name="T20" fmla="*/ 445820 w 160"/>
              <a:gd name="T21" fmla="*/ 175119 h 135"/>
              <a:gd name="T22" fmla="*/ 142935 w 160"/>
              <a:gd name="T23" fmla="*/ 106445 h 135"/>
              <a:gd name="T24" fmla="*/ 78274 w 160"/>
              <a:gd name="T25" fmla="*/ 168251 h 135"/>
              <a:gd name="T26" fmla="*/ 180370 w 160"/>
              <a:gd name="T27" fmla="*/ 188854 h 135"/>
              <a:gd name="T28" fmla="*/ 20419 w 160"/>
              <a:gd name="T29" fmla="*/ 212890 h 135"/>
              <a:gd name="T30" fmla="*/ 17016 w 160"/>
              <a:gd name="T31" fmla="*/ 212890 h 135"/>
              <a:gd name="T32" fmla="*/ 13613 w 160"/>
              <a:gd name="T33" fmla="*/ 209456 h 135"/>
              <a:gd name="T34" fmla="*/ 544513 w 160"/>
              <a:gd name="T35" fmla="*/ 281564 h 135"/>
              <a:gd name="T36" fmla="*/ 544513 w 160"/>
              <a:gd name="T37" fmla="*/ 274696 h 135"/>
              <a:gd name="T38" fmla="*/ 541110 w 160"/>
              <a:gd name="T39" fmla="*/ 271263 h 135"/>
              <a:gd name="T40" fmla="*/ 541110 w 160"/>
              <a:gd name="T41" fmla="*/ 267829 h 135"/>
              <a:gd name="T42" fmla="*/ 537707 w 160"/>
              <a:gd name="T43" fmla="*/ 267829 h 135"/>
              <a:gd name="T44" fmla="*/ 534303 w 160"/>
              <a:gd name="T45" fmla="*/ 264395 h 135"/>
              <a:gd name="T46" fmla="*/ 530900 w 160"/>
              <a:gd name="T47" fmla="*/ 260961 h 135"/>
              <a:gd name="T48" fmla="*/ 527497 w 160"/>
              <a:gd name="T49" fmla="*/ 260961 h 135"/>
              <a:gd name="T50" fmla="*/ 524094 w 160"/>
              <a:gd name="T51" fmla="*/ 260961 h 135"/>
              <a:gd name="T52" fmla="*/ 384562 w 160"/>
              <a:gd name="T53" fmla="*/ 260961 h 135"/>
              <a:gd name="T54" fmla="*/ 384562 w 160"/>
              <a:gd name="T55" fmla="*/ 302166 h 135"/>
              <a:gd name="T56" fmla="*/ 401578 w 160"/>
              <a:gd name="T57" fmla="*/ 363973 h 135"/>
              <a:gd name="T58" fmla="*/ 272257 w 160"/>
              <a:gd name="T59" fmla="*/ 418912 h 135"/>
              <a:gd name="T60" fmla="*/ 142935 w 160"/>
              <a:gd name="T61" fmla="*/ 367406 h 135"/>
              <a:gd name="T62" fmla="*/ 71467 w 160"/>
              <a:gd name="T63" fmla="*/ 284997 h 135"/>
              <a:gd name="T64" fmla="*/ 112306 w 160"/>
              <a:gd name="T65" fmla="*/ 398310 h 135"/>
              <a:gd name="T66" fmla="*/ 272257 w 160"/>
              <a:gd name="T67" fmla="*/ 463550 h 135"/>
              <a:gd name="T68" fmla="*/ 500271 w 160"/>
              <a:gd name="T69" fmla="*/ 333069 h 135"/>
              <a:gd name="T70" fmla="*/ 524094 w 160"/>
              <a:gd name="T71" fmla="*/ 442948 h 135"/>
              <a:gd name="T72" fmla="*/ 544513 w 160"/>
              <a:gd name="T73" fmla="*/ 281564 h 135"/>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160" h="135">
                <a:moveTo>
                  <a:pt x="3" y="61"/>
                </a:moveTo>
                <a:cubicBezTo>
                  <a:pt x="3" y="61"/>
                  <a:pt x="3" y="60"/>
                  <a:pt x="3" y="60"/>
                </a:cubicBezTo>
                <a:cubicBezTo>
                  <a:pt x="2" y="60"/>
                  <a:pt x="2" y="60"/>
                  <a:pt x="2" y="60"/>
                </a:cubicBezTo>
                <a:cubicBezTo>
                  <a:pt x="2" y="60"/>
                  <a:pt x="2" y="60"/>
                  <a:pt x="2" y="60"/>
                </a:cubicBezTo>
                <a:cubicBezTo>
                  <a:pt x="2" y="60"/>
                  <a:pt x="2" y="59"/>
                  <a:pt x="1" y="59"/>
                </a:cubicBezTo>
                <a:cubicBezTo>
                  <a:pt x="1" y="59"/>
                  <a:pt x="1" y="59"/>
                  <a:pt x="1" y="59"/>
                </a:cubicBezTo>
                <a:cubicBezTo>
                  <a:pt x="1" y="59"/>
                  <a:pt x="1" y="58"/>
                  <a:pt x="1" y="58"/>
                </a:cubicBezTo>
                <a:cubicBezTo>
                  <a:pt x="1" y="58"/>
                  <a:pt x="1" y="58"/>
                  <a:pt x="0" y="58"/>
                </a:cubicBezTo>
                <a:cubicBezTo>
                  <a:pt x="0" y="57"/>
                  <a:pt x="0" y="57"/>
                  <a:pt x="0" y="57"/>
                </a:cubicBezTo>
                <a:cubicBezTo>
                  <a:pt x="0" y="57"/>
                  <a:pt x="0" y="57"/>
                  <a:pt x="0" y="56"/>
                </a:cubicBezTo>
                <a:cubicBezTo>
                  <a:pt x="0" y="56"/>
                  <a:pt x="0" y="56"/>
                  <a:pt x="0" y="56"/>
                </a:cubicBezTo>
                <a:cubicBezTo>
                  <a:pt x="0" y="56"/>
                  <a:pt x="0" y="55"/>
                  <a:pt x="0" y="55"/>
                </a:cubicBezTo>
                <a:cubicBezTo>
                  <a:pt x="0" y="15"/>
                  <a:pt x="0" y="15"/>
                  <a:pt x="0" y="15"/>
                </a:cubicBezTo>
                <a:cubicBezTo>
                  <a:pt x="0" y="12"/>
                  <a:pt x="3" y="9"/>
                  <a:pt x="6" y="9"/>
                </a:cubicBezTo>
                <a:cubicBezTo>
                  <a:pt x="10" y="9"/>
                  <a:pt x="13" y="12"/>
                  <a:pt x="13" y="15"/>
                </a:cubicBezTo>
                <a:cubicBezTo>
                  <a:pt x="13" y="40"/>
                  <a:pt x="13" y="40"/>
                  <a:pt x="13" y="40"/>
                </a:cubicBezTo>
                <a:cubicBezTo>
                  <a:pt x="33" y="21"/>
                  <a:pt x="33" y="21"/>
                  <a:pt x="33" y="21"/>
                </a:cubicBezTo>
                <a:cubicBezTo>
                  <a:pt x="40" y="15"/>
                  <a:pt x="49" y="9"/>
                  <a:pt x="58" y="6"/>
                </a:cubicBezTo>
                <a:cubicBezTo>
                  <a:pt x="75" y="0"/>
                  <a:pt x="93" y="1"/>
                  <a:pt x="109" y="9"/>
                </a:cubicBezTo>
                <a:cubicBezTo>
                  <a:pt x="125" y="16"/>
                  <a:pt x="137" y="30"/>
                  <a:pt x="143" y="46"/>
                </a:cubicBezTo>
                <a:cubicBezTo>
                  <a:pt x="144" y="50"/>
                  <a:pt x="142" y="53"/>
                  <a:pt x="139" y="55"/>
                </a:cubicBezTo>
                <a:cubicBezTo>
                  <a:pt x="136" y="56"/>
                  <a:pt x="132" y="54"/>
                  <a:pt x="131" y="51"/>
                </a:cubicBezTo>
                <a:cubicBezTo>
                  <a:pt x="121" y="23"/>
                  <a:pt x="90" y="8"/>
                  <a:pt x="62" y="18"/>
                </a:cubicBezTo>
                <a:cubicBezTo>
                  <a:pt x="55" y="21"/>
                  <a:pt x="48" y="25"/>
                  <a:pt x="42" y="31"/>
                </a:cubicBezTo>
                <a:cubicBezTo>
                  <a:pt x="42" y="31"/>
                  <a:pt x="42" y="31"/>
                  <a:pt x="42" y="31"/>
                </a:cubicBezTo>
                <a:cubicBezTo>
                  <a:pt x="23" y="49"/>
                  <a:pt x="23" y="49"/>
                  <a:pt x="23" y="49"/>
                </a:cubicBezTo>
                <a:cubicBezTo>
                  <a:pt x="47" y="49"/>
                  <a:pt x="47" y="49"/>
                  <a:pt x="47" y="49"/>
                </a:cubicBezTo>
                <a:cubicBezTo>
                  <a:pt x="50" y="49"/>
                  <a:pt x="53" y="52"/>
                  <a:pt x="53" y="55"/>
                </a:cubicBezTo>
                <a:cubicBezTo>
                  <a:pt x="53" y="59"/>
                  <a:pt x="50" y="62"/>
                  <a:pt x="47" y="62"/>
                </a:cubicBezTo>
                <a:cubicBezTo>
                  <a:pt x="6" y="62"/>
                  <a:pt x="6" y="62"/>
                  <a:pt x="6" y="62"/>
                </a:cubicBezTo>
                <a:cubicBezTo>
                  <a:pt x="6" y="62"/>
                  <a:pt x="6" y="62"/>
                  <a:pt x="6" y="62"/>
                </a:cubicBezTo>
                <a:cubicBezTo>
                  <a:pt x="6" y="62"/>
                  <a:pt x="6" y="62"/>
                  <a:pt x="5" y="62"/>
                </a:cubicBezTo>
                <a:cubicBezTo>
                  <a:pt x="5" y="62"/>
                  <a:pt x="4" y="61"/>
                  <a:pt x="4" y="61"/>
                </a:cubicBezTo>
                <a:cubicBezTo>
                  <a:pt x="4" y="61"/>
                  <a:pt x="4" y="61"/>
                  <a:pt x="4" y="61"/>
                </a:cubicBezTo>
                <a:cubicBezTo>
                  <a:pt x="3" y="61"/>
                  <a:pt x="3" y="61"/>
                  <a:pt x="3" y="61"/>
                </a:cubicBezTo>
                <a:close/>
                <a:moveTo>
                  <a:pt x="160" y="82"/>
                </a:moveTo>
                <a:cubicBezTo>
                  <a:pt x="160" y="81"/>
                  <a:pt x="160" y="81"/>
                  <a:pt x="160" y="81"/>
                </a:cubicBezTo>
                <a:cubicBezTo>
                  <a:pt x="160" y="81"/>
                  <a:pt x="160" y="80"/>
                  <a:pt x="160" y="80"/>
                </a:cubicBezTo>
                <a:cubicBezTo>
                  <a:pt x="160" y="80"/>
                  <a:pt x="160" y="80"/>
                  <a:pt x="160" y="80"/>
                </a:cubicBezTo>
                <a:cubicBezTo>
                  <a:pt x="159" y="79"/>
                  <a:pt x="159" y="79"/>
                  <a:pt x="159" y="79"/>
                </a:cubicBezTo>
                <a:cubicBezTo>
                  <a:pt x="159" y="79"/>
                  <a:pt x="159" y="79"/>
                  <a:pt x="159" y="79"/>
                </a:cubicBezTo>
                <a:cubicBezTo>
                  <a:pt x="159" y="78"/>
                  <a:pt x="159" y="78"/>
                  <a:pt x="159" y="78"/>
                </a:cubicBezTo>
                <a:cubicBezTo>
                  <a:pt x="158" y="78"/>
                  <a:pt x="158" y="78"/>
                  <a:pt x="158" y="78"/>
                </a:cubicBezTo>
                <a:cubicBezTo>
                  <a:pt x="158" y="78"/>
                  <a:pt x="158" y="78"/>
                  <a:pt x="158" y="78"/>
                </a:cubicBezTo>
                <a:cubicBezTo>
                  <a:pt x="158" y="77"/>
                  <a:pt x="158" y="77"/>
                  <a:pt x="158" y="77"/>
                </a:cubicBezTo>
                <a:cubicBezTo>
                  <a:pt x="157" y="77"/>
                  <a:pt x="157" y="77"/>
                  <a:pt x="157" y="77"/>
                </a:cubicBezTo>
                <a:cubicBezTo>
                  <a:pt x="157" y="77"/>
                  <a:pt x="157" y="77"/>
                  <a:pt x="157" y="76"/>
                </a:cubicBezTo>
                <a:cubicBezTo>
                  <a:pt x="156" y="76"/>
                  <a:pt x="156" y="76"/>
                  <a:pt x="156" y="76"/>
                </a:cubicBezTo>
                <a:cubicBezTo>
                  <a:pt x="156" y="76"/>
                  <a:pt x="156" y="76"/>
                  <a:pt x="156" y="76"/>
                </a:cubicBezTo>
                <a:cubicBezTo>
                  <a:pt x="155" y="76"/>
                  <a:pt x="155" y="76"/>
                  <a:pt x="155" y="76"/>
                </a:cubicBezTo>
                <a:cubicBezTo>
                  <a:pt x="155" y="76"/>
                  <a:pt x="155" y="76"/>
                  <a:pt x="154" y="76"/>
                </a:cubicBezTo>
                <a:cubicBezTo>
                  <a:pt x="154" y="76"/>
                  <a:pt x="154" y="76"/>
                  <a:pt x="154" y="76"/>
                </a:cubicBezTo>
                <a:cubicBezTo>
                  <a:pt x="154" y="76"/>
                  <a:pt x="154" y="76"/>
                  <a:pt x="154" y="76"/>
                </a:cubicBezTo>
                <a:cubicBezTo>
                  <a:pt x="113" y="76"/>
                  <a:pt x="113" y="76"/>
                  <a:pt x="113" y="76"/>
                </a:cubicBezTo>
                <a:cubicBezTo>
                  <a:pt x="110" y="76"/>
                  <a:pt x="107" y="78"/>
                  <a:pt x="107" y="82"/>
                </a:cubicBezTo>
                <a:cubicBezTo>
                  <a:pt x="107" y="86"/>
                  <a:pt x="110" y="88"/>
                  <a:pt x="113" y="88"/>
                </a:cubicBezTo>
                <a:cubicBezTo>
                  <a:pt x="137" y="88"/>
                  <a:pt x="137" y="88"/>
                  <a:pt x="137" y="88"/>
                </a:cubicBezTo>
                <a:cubicBezTo>
                  <a:pt x="118" y="106"/>
                  <a:pt x="118" y="106"/>
                  <a:pt x="118" y="106"/>
                </a:cubicBezTo>
                <a:cubicBezTo>
                  <a:pt x="118" y="107"/>
                  <a:pt x="118" y="107"/>
                  <a:pt x="118" y="107"/>
                </a:cubicBezTo>
                <a:cubicBezTo>
                  <a:pt x="108" y="117"/>
                  <a:pt x="94" y="122"/>
                  <a:pt x="80" y="122"/>
                </a:cubicBezTo>
                <a:cubicBezTo>
                  <a:pt x="80" y="122"/>
                  <a:pt x="80" y="122"/>
                  <a:pt x="80" y="122"/>
                </a:cubicBezTo>
                <a:cubicBezTo>
                  <a:pt x="66" y="122"/>
                  <a:pt x="52" y="117"/>
                  <a:pt x="42" y="107"/>
                </a:cubicBezTo>
                <a:cubicBezTo>
                  <a:pt x="36" y="101"/>
                  <a:pt x="32" y="94"/>
                  <a:pt x="29" y="87"/>
                </a:cubicBezTo>
                <a:cubicBezTo>
                  <a:pt x="28" y="83"/>
                  <a:pt x="24" y="81"/>
                  <a:pt x="21" y="83"/>
                </a:cubicBezTo>
                <a:cubicBezTo>
                  <a:pt x="18" y="84"/>
                  <a:pt x="16" y="87"/>
                  <a:pt x="17" y="91"/>
                </a:cubicBezTo>
                <a:cubicBezTo>
                  <a:pt x="20" y="100"/>
                  <a:pt x="26" y="109"/>
                  <a:pt x="33" y="116"/>
                </a:cubicBezTo>
                <a:cubicBezTo>
                  <a:pt x="45" y="128"/>
                  <a:pt x="62" y="135"/>
                  <a:pt x="80" y="135"/>
                </a:cubicBezTo>
                <a:cubicBezTo>
                  <a:pt x="80" y="135"/>
                  <a:pt x="80" y="135"/>
                  <a:pt x="80" y="135"/>
                </a:cubicBezTo>
                <a:cubicBezTo>
                  <a:pt x="98" y="135"/>
                  <a:pt x="114" y="128"/>
                  <a:pt x="127" y="116"/>
                </a:cubicBezTo>
                <a:cubicBezTo>
                  <a:pt x="147" y="97"/>
                  <a:pt x="147" y="97"/>
                  <a:pt x="147" y="97"/>
                </a:cubicBezTo>
                <a:cubicBezTo>
                  <a:pt x="147" y="122"/>
                  <a:pt x="147" y="122"/>
                  <a:pt x="147" y="122"/>
                </a:cubicBezTo>
                <a:cubicBezTo>
                  <a:pt x="147" y="126"/>
                  <a:pt x="150" y="129"/>
                  <a:pt x="154" y="129"/>
                </a:cubicBezTo>
                <a:cubicBezTo>
                  <a:pt x="157" y="129"/>
                  <a:pt x="160" y="126"/>
                  <a:pt x="160" y="122"/>
                </a:cubicBezTo>
                <a:cubicBezTo>
                  <a:pt x="160" y="82"/>
                  <a:pt x="160" y="82"/>
                  <a:pt x="160" y="82"/>
                </a:cubicBezTo>
                <a:cubicBezTo>
                  <a:pt x="160" y="82"/>
                  <a:pt x="160" y="82"/>
                  <a:pt x="160" y="82"/>
                </a:cubicBezTo>
                <a:close/>
              </a:path>
            </a:pathLst>
          </a:custGeom>
          <a:solidFill>
            <a:srgbClr val="FFFFFF"/>
          </a:solidFill>
          <a:ln>
            <a:noFill/>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Open Sans"/>
              <a:ea typeface="+mn-ea"/>
              <a:cs typeface="+mn-cs"/>
            </a:endParaRPr>
          </a:p>
        </p:txBody>
      </p:sp>
      <p:grpSp>
        <p:nvGrpSpPr>
          <p:cNvPr id="52" name="组合 51">
            <a:extLst>
              <a:ext uri="{FF2B5EF4-FFF2-40B4-BE49-F238E27FC236}">
                <a16:creationId xmlns:a16="http://schemas.microsoft.com/office/drawing/2014/main" id="{2D5AF2FF-BAF0-4D78-8C0A-A8989FACD8FE}"/>
              </a:ext>
            </a:extLst>
          </p:cNvPr>
          <p:cNvGrpSpPr/>
          <p:nvPr/>
        </p:nvGrpSpPr>
        <p:grpSpPr>
          <a:xfrm>
            <a:off x="1077144" y="1973932"/>
            <a:ext cx="2056262" cy="881603"/>
            <a:chOff x="8903066" y="2692095"/>
            <a:chExt cx="2056262" cy="881603"/>
          </a:xfrm>
        </p:grpSpPr>
        <p:sp>
          <p:nvSpPr>
            <p:cNvPr id="53" name="TextBox 65">
              <a:extLst>
                <a:ext uri="{FF2B5EF4-FFF2-40B4-BE49-F238E27FC236}">
                  <a16:creationId xmlns:a16="http://schemas.microsoft.com/office/drawing/2014/main" id="{31158A21-C515-4A53-84EB-EF144930C681}"/>
                </a:ext>
              </a:extLst>
            </p:cNvPr>
            <p:cNvSpPr txBox="1"/>
            <p:nvPr/>
          </p:nvSpPr>
          <p:spPr>
            <a:xfrm flipH="1">
              <a:off x="8903067" y="2692095"/>
              <a:ext cx="2056261" cy="387598"/>
            </a:xfrm>
            <a:prstGeom prst="rect">
              <a:avLst/>
            </a:prstGeom>
            <a:noFill/>
          </p:spPr>
          <p:txBody>
            <a:bodyPr wrap="square" lIns="0" tIns="36000" rIns="0" bIns="36000" rtlCol="0">
              <a:spAutoFit/>
            </a:bodyPr>
            <a:lstStyle/>
            <a:p>
              <a:pPr marL="0" marR="0" lvl="0" indent="0" algn="ctr" defTabSz="914400" rtl="0" eaLnBrk="1" fontAlgn="auto" latinLnBrk="0" hangingPunct="1">
                <a:lnSpc>
                  <a:spcPct val="120000"/>
                </a:lnSpc>
                <a:spcBef>
                  <a:spcPts val="600"/>
                </a:spcBef>
                <a:spcAft>
                  <a:spcPts val="0"/>
                </a:spcAft>
                <a:buClrTx/>
                <a:buSzTx/>
                <a:buFontTx/>
                <a:buNone/>
                <a:tabLst/>
                <a:defRPr/>
              </a:pPr>
              <a:r>
                <a:rPr kumimoji="0" lang="zh-CN" altLang="en-US" sz="1800" b="0" i="0" u="none" strike="noStrike" kern="1200" cap="none" spc="0" normalizeH="0" baseline="0" noProof="0" dirty="0">
                  <a:ln>
                    <a:noFill/>
                  </a:ln>
                  <a:solidFill>
                    <a:schemeClr val="accent1"/>
                  </a:solidFill>
                  <a:effectLst/>
                  <a:uLnTx/>
                  <a:uFillTx/>
                  <a:latin typeface="HarmonyOS Sans SC Black"/>
                  <a:ea typeface="+mj-ea"/>
                  <a:cs typeface="+mn-cs"/>
                </a:rPr>
                <a:t>关键词标题</a:t>
              </a:r>
              <a:endParaRPr kumimoji="0" lang="en-US" sz="1800" b="0" i="0" u="none" strike="noStrike" kern="1200" cap="none" spc="0" normalizeH="0" baseline="0" noProof="0" dirty="0">
                <a:ln>
                  <a:noFill/>
                </a:ln>
                <a:solidFill>
                  <a:schemeClr val="accent1"/>
                </a:solidFill>
                <a:effectLst/>
                <a:uLnTx/>
                <a:uFillTx/>
                <a:latin typeface="HarmonyOS Sans SC Black"/>
                <a:ea typeface="+mj-ea"/>
                <a:cs typeface="+mn-cs"/>
              </a:endParaRPr>
            </a:p>
          </p:txBody>
        </p:sp>
        <p:sp>
          <p:nvSpPr>
            <p:cNvPr id="54" name="TextBox 65">
              <a:extLst>
                <a:ext uri="{FF2B5EF4-FFF2-40B4-BE49-F238E27FC236}">
                  <a16:creationId xmlns:a16="http://schemas.microsoft.com/office/drawing/2014/main" id="{1376D998-F862-4B7E-A9FA-596E851C428E}"/>
                </a:ext>
              </a:extLst>
            </p:cNvPr>
            <p:cNvSpPr txBox="1"/>
            <p:nvPr/>
          </p:nvSpPr>
          <p:spPr>
            <a:xfrm flipH="1">
              <a:off x="8903066" y="3075494"/>
              <a:ext cx="2056262" cy="498204"/>
            </a:xfrm>
            <a:prstGeom prst="rect">
              <a:avLst/>
            </a:prstGeom>
            <a:noFill/>
          </p:spPr>
          <p:txBody>
            <a:bodyPr wrap="square" lIns="0" tIns="36000" rIns="0" bIns="36000" rtlCol="0">
              <a:spAutoFit/>
            </a:bodyPr>
            <a:lstStyle/>
            <a:p>
              <a:pPr marL="0" marR="0" lvl="0" indent="0" algn="ctr" defTabSz="914400" rtl="0" eaLnBrk="1" fontAlgn="auto" latinLnBrk="0" hangingPunct="1">
                <a:lnSpc>
                  <a:spcPct val="120000"/>
                </a:lnSpc>
                <a:spcBef>
                  <a:spcPts val="600"/>
                </a:spcBef>
                <a:spcAft>
                  <a:spcPts val="0"/>
                </a:spcAft>
                <a:buClrTx/>
                <a:buSzTx/>
                <a:buFontTx/>
                <a:buNone/>
                <a:tabLst/>
                <a:defRPr/>
              </a:pPr>
              <a:r>
                <a:rPr kumimoji="0" lang="en-US" sz="1200" b="0" i="0" u="none" strike="noStrike" kern="1200" cap="none" spc="0" normalizeH="0" baseline="0" noProof="0" dirty="0">
                  <a:ln>
                    <a:noFill/>
                  </a:ln>
                  <a:solidFill>
                    <a:prstClr val="black">
                      <a:lumMod val="50000"/>
                      <a:lumOff val="50000"/>
                    </a:prstClr>
                  </a:solidFill>
                  <a:effectLst/>
                  <a:uLnTx/>
                  <a:uFillTx/>
                  <a:latin typeface="HarmonyOS Sans SC"/>
                  <a:cs typeface="+mn-cs"/>
                </a:rPr>
                <a:t>Apparently we had reached a great height in the.</a:t>
              </a:r>
            </a:p>
          </p:txBody>
        </p:sp>
      </p:grpSp>
      <p:grpSp>
        <p:nvGrpSpPr>
          <p:cNvPr id="55" name="组合 54">
            <a:extLst>
              <a:ext uri="{FF2B5EF4-FFF2-40B4-BE49-F238E27FC236}">
                <a16:creationId xmlns:a16="http://schemas.microsoft.com/office/drawing/2014/main" id="{34F4C77E-A38E-4BA1-8036-EE94151B7C7C}"/>
              </a:ext>
            </a:extLst>
          </p:cNvPr>
          <p:cNvGrpSpPr/>
          <p:nvPr/>
        </p:nvGrpSpPr>
        <p:grpSpPr>
          <a:xfrm>
            <a:off x="4512842" y="1508730"/>
            <a:ext cx="2056262" cy="881603"/>
            <a:chOff x="8903066" y="2692095"/>
            <a:chExt cx="2056262" cy="881603"/>
          </a:xfrm>
        </p:grpSpPr>
        <p:sp>
          <p:nvSpPr>
            <p:cNvPr id="56" name="TextBox 65">
              <a:extLst>
                <a:ext uri="{FF2B5EF4-FFF2-40B4-BE49-F238E27FC236}">
                  <a16:creationId xmlns:a16="http://schemas.microsoft.com/office/drawing/2014/main" id="{D563449E-91BF-4287-8B6D-7490FA6BC30A}"/>
                </a:ext>
              </a:extLst>
            </p:cNvPr>
            <p:cNvSpPr txBox="1"/>
            <p:nvPr/>
          </p:nvSpPr>
          <p:spPr>
            <a:xfrm flipH="1">
              <a:off x="8903067" y="2692095"/>
              <a:ext cx="2056261" cy="387598"/>
            </a:xfrm>
            <a:prstGeom prst="rect">
              <a:avLst/>
            </a:prstGeom>
            <a:noFill/>
          </p:spPr>
          <p:txBody>
            <a:bodyPr wrap="square" lIns="0" tIns="36000" rIns="0" bIns="36000" rtlCol="0">
              <a:spAutoFit/>
            </a:bodyPr>
            <a:lstStyle/>
            <a:p>
              <a:pPr marL="0" marR="0" lvl="0" indent="0" algn="ctr" defTabSz="914400" rtl="0" eaLnBrk="1" fontAlgn="auto" latinLnBrk="0" hangingPunct="1">
                <a:lnSpc>
                  <a:spcPct val="120000"/>
                </a:lnSpc>
                <a:spcBef>
                  <a:spcPts val="600"/>
                </a:spcBef>
                <a:spcAft>
                  <a:spcPts val="0"/>
                </a:spcAft>
                <a:buClrTx/>
                <a:buSzTx/>
                <a:buFontTx/>
                <a:buNone/>
                <a:tabLst/>
                <a:defRPr/>
              </a:pPr>
              <a:r>
                <a:rPr kumimoji="0" lang="zh-CN" altLang="en-US" sz="1800" b="0" i="0" u="none" strike="noStrike" kern="1200" cap="none" spc="0" normalizeH="0" baseline="0" noProof="0" dirty="0">
                  <a:ln>
                    <a:noFill/>
                  </a:ln>
                  <a:solidFill>
                    <a:schemeClr val="accent1"/>
                  </a:solidFill>
                  <a:effectLst/>
                  <a:uLnTx/>
                  <a:uFillTx/>
                  <a:latin typeface="HarmonyOS Sans SC Black"/>
                  <a:ea typeface="+mj-ea"/>
                  <a:cs typeface="+mn-cs"/>
                </a:rPr>
                <a:t>关键词标题</a:t>
              </a:r>
              <a:endParaRPr kumimoji="0" lang="en-US" sz="1800" b="0" i="0" u="none" strike="noStrike" kern="1200" cap="none" spc="0" normalizeH="0" baseline="0" noProof="0" dirty="0">
                <a:ln>
                  <a:noFill/>
                </a:ln>
                <a:solidFill>
                  <a:schemeClr val="accent1"/>
                </a:solidFill>
                <a:effectLst/>
                <a:uLnTx/>
                <a:uFillTx/>
                <a:latin typeface="HarmonyOS Sans SC Black"/>
                <a:ea typeface="+mj-ea"/>
                <a:cs typeface="+mn-cs"/>
              </a:endParaRPr>
            </a:p>
          </p:txBody>
        </p:sp>
        <p:sp>
          <p:nvSpPr>
            <p:cNvPr id="57" name="TextBox 65">
              <a:extLst>
                <a:ext uri="{FF2B5EF4-FFF2-40B4-BE49-F238E27FC236}">
                  <a16:creationId xmlns:a16="http://schemas.microsoft.com/office/drawing/2014/main" id="{4DBEFA1A-3DC2-43C1-BB46-B42A18D67168}"/>
                </a:ext>
              </a:extLst>
            </p:cNvPr>
            <p:cNvSpPr txBox="1"/>
            <p:nvPr/>
          </p:nvSpPr>
          <p:spPr>
            <a:xfrm flipH="1">
              <a:off x="8903066" y="3075494"/>
              <a:ext cx="2056262" cy="498204"/>
            </a:xfrm>
            <a:prstGeom prst="rect">
              <a:avLst/>
            </a:prstGeom>
            <a:noFill/>
          </p:spPr>
          <p:txBody>
            <a:bodyPr wrap="square" lIns="0" tIns="36000" rIns="0" bIns="36000" rtlCol="0">
              <a:spAutoFit/>
            </a:bodyPr>
            <a:lstStyle/>
            <a:p>
              <a:pPr marL="0" marR="0" lvl="0" indent="0" algn="ctr" defTabSz="914400" rtl="0" eaLnBrk="1" fontAlgn="auto" latinLnBrk="0" hangingPunct="1">
                <a:lnSpc>
                  <a:spcPct val="120000"/>
                </a:lnSpc>
                <a:spcBef>
                  <a:spcPts val="600"/>
                </a:spcBef>
                <a:spcAft>
                  <a:spcPts val="0"/>
                </a:spcAft>
                <a:buClrTx/>
                <a:buSzTx/>
                <a:buFontTx/>
                <a:buNone/>
                <a:tabLst/>
                <a:defRPr/>
              </a:pPr>
              <a:r>
                <a:rPr kumimoji="0" lang="en-US" sz="1200" b="0" i="0" u="none" strike="noStrike" kern="1200" cap="none" spc="0" normalizeH="0" baseline="0" noProof="0" dirty="0">
                  <a:ln>
                    <a:noFill/>
                  </a:ln>
                  <a:solidFill>
                    <a:prstClr val="black">
                      <a:lumMod val="50000"/>
                      <a:lumOff val="50000"/>
                    </a:prstClr>
                  </a:solidFill>
                  <a:effectLst/>
                  <a:uLnTx/>
                  <a:uFillTx/>
                  <a:latin typeface="HarmonyOS Sans SC"/>
                  <a:cs typeface="+mn-cs"/>
                </a:rPr>
                <a:t>Apparently we had reached a great height in the.</a:t>
              </a:r>
            </a:p>
          </p:txBody>
        </p:sp>
      </p:grpSp>
      <p:grpSp>
        <p:nvGrpSpPr>
          <p:cNvPr id="58" name="组合 57">
            <a:extLst>
              <a:ext uri="{FF2B5EF4-FFF2-40B4-BE49-F238E27FC236}">
                <a16:creationId xmlns:a16="http://schemas.microsoft.com/office/drawing/2014/main" id="{43EB32CA-1089-4CE1-8984-35F401151152}"/>
              </a:ext>
            </a:extLst>
          </p:cNvPr>
          <p:cNvGrpSpPr/>
          <p:nvPr/>
        </p:nvGrpSpPr>
        <p:grpSpPr>
          <a:xfrm>
            <a:off x="7240568" y="1879909"/>
            <a:ext cx="2056262" cy="881603"/>
            <a:chOff x="8903066" y="2692095"/>
            <a:chExt cx="2056262" cy="881603"/>
          </a:xfrm>
        </p:grpSpPr>
        <p:sp>
          <p:nvSpPr>
            <p:cNvPr id="59" name="TextBox 65">
              <a:extLst>
                <a:ext uri="{FF2B5EF4-FFF2-40B4-BE49-F238E27FC236}">
                  <a16:creationId xmlns:a16="http://schemas.microsoft.com/office/drawing/2014/main" id="{345BF037-E92B-4C63-B8B3-A733B32C51E4}"/>
                </a:ext>
              </a:extLst>
            </p:cNvPr>
            <p:cNvSpPr txBox="1"/>
            <p:nvPr/>
          </p:nvSpPr>
          <p:spPr>
            <a:xfrm flipH="1">
              <a:off x="8903067" y="2692095"/>
              <a:ext cx="2056261" cy="387598"/>
            </a:xfrm>
            <a:prstGeom prst="rect">
              <a:avLst/>
            </a:prstGeom>
            <a:noFill/>
          </p:spPr>
          <p:txBody>
            <a:bodyPr wrap="square" lIns="0" tIns="36000" rIns="0" bIns="36000" rtlCol="0">
              <a:spAutoFit/>
            </a:bodyPr>
            <a:lstStyle/>
            <a:p>
              <a:pPr marL="0" marR="0" lvl="0" indent="0" algn="ctr" defTabSz="914400" rtl="0" eaLnBrk="1" fontAlgn="auto" latinLnBrk="0" hangingPunct="1">
                <a:lnSpc>
                  <a:spcPct val="120000"/>
                </a:lnSpc>
                <a:spcBef>
                  <a:spcPts val="600"/>
                </a:spcBef>
                <a:spcAft>
                  <a:spcPts val="0"/>
                </a:spcAft>
                <a:buClrTx/>
                <a:buSzTx/>
                <a:buFontTx/>
                <a:buNone/>
                <a:tabLst/>
                <a:defRPr/>
              </a:pPr>
              <a:r>
                <a:rPr kumimoji="0" lang="zh-CN" altLang="en-US" sz="1800" b="0" i="0" u="none" strike="noStrike" kern="1200" cap="none" spc="0" normalizeH="0" baseline="0" noProof="0" dirty="0">
                  <a:ln>
                    <a:noFill/>
                  </a:ln>
                  <a:solidFill>
                    <a:schemeClr val="accent1"/>
                  </a:solidFill>
                  <a:effectLst/>
                  <a:uLnTx/>
                  <a:uFillTx/>
                  <a:latin typeface="HarmonyOS Sans SC Black"/>
                  <a:ea typeface="+mj-ea"/>
                  <a:cs typeface="+mn-cs"/>
                </a:rPr>
                <a:t>关键词标题</a:t>
              </a:r>
              <a:endParaRPr kumimoji="0" lang="en-US" sz="1800" b="0" i="0" u="none" strike="noStrike" kern="1200" cap="none" spc="0" normalizeH="0" baseline="0" noProof="0" dirty="0">
                <a:ln>
                  <a:noFill/>
                </a:ln>
                <a:solidFill>
                  <a:schemeClr val="accent1"/>
                </a:solidFill>
                <a:effectLst/>
                <a:uLnTx/>
                <a:uFillTx/>
                <a:latin typeface="HarmonyOS Sans SC Black"/>
                <a:ea typeface="+mj-ea"/>
                <a:cs typeface="+mn-cs"/>
              </a:endParaRPr>
            </a:p>
          </p:txBody>
        </p:sp>
        <p:sp>
          <p:nvSpPr>
            <p:cNvPr id="60" name="TextBox 65">
              <a:extLst>
                <a:ext uri="{FF2B5EF4-FFF2-40B4-BE49-F238E27FC236}">
                  <a16:creationId xmlns:a16="http://schemas.microsoft.com/office/drawing/2014/main" id="{C682D644-DA5C-48BE-AEEE-20A9A2F64A74}"/>
                </a:ext>
              </a:extLst>
            </p:cNvPr>
            <p:cNvSpPr txBox="1"/>
            <p:nvPr/>
          </p:nvSpPr>
          <p:spPr>
            <a:xfrm flipH="1">
              <a:off x="8903066" y="3075494"/>
              <a:ext cx="2056262" cy="498204"/>
            </a:xfrm>
            <a:prstGeom prst="rect">
              <a:avLst/>
            </a:prstGeom>
            <a:noFill/>
          </p:spPr>
          <p:txBody>
            <a:bodyPr wrap="square" lIns="0" tIns="36000" rIns="0" bIns="36000" rtlCol="0">
              <a:spAutoFit/>
            </a:bodyPr>
            <a:lstStyle/>
            <a:p>
              <a:pPr marL="0" marR="0" lvl="0" indent="0" algn="ctr" defTabSz="914400" rtl="0" eaLnBrk="1" fontAlgn="auto" latinLnBrk="0" hangingPunct="1">
                <a:lnSpc>
                  <a:spcPct val="120000"/>
                </a:lnSpc>
                <a:spcBef>
                  <a:spcPts val="600"/>
                </a:spcBef>
                <a:spcAft>
                  <a:spcPts val="0"/>
                </a:spcAft>
                <a:buClrTx/>
                <a:buSzTx/>
                <a:buFontTx/>
                <a:buNone/>
                <a:tabLst/>
                <a:defRPr/>
              </a:pPr>
              <a:r>
                <a:rPr kumimoji="0" lang="en-US" sz="1200" b="0" i="0" u="none" strike="noStrike" kern="1200" cap="none" spc="0" normalizeH="0" baseline="0" noProof="0" dirty="0">
                  <a:ln>
                    <a:noFill/>
                  </a:ln>
                  <a:solidFill>
                    <a:prstClr val="black">
                      <a:lumMod val="50000"/>
                      <a:lumOff val="50000"/>
                    </a:prstClr>
                  </a:solidFill>
                  <a:effectLst/>
                  <a:uLnTx/>
                  <a:uFillTx/>
                  <a:latin typeface="HarmonyOS Sans SC"/>
                  <a:cs typeface="+mn-cs"/>
                </a:rPr>
                <a:t>Apparently we had reached a great height in the.</a:t>
              </a:r>
            </a:p>
          </p:txBody>
        </p:sp>
      </p:grpSp>
      <p:grpSp>
        <p:nvGrpSpPr>
          <p:cNvPr id="61" name="组合 60">
            <a:extLst>
              <a:ext uri="{FF2B5EF4-FFF2-40B4-BE49-F238E27FC236}">
                <a16:creationId xmlns:a16="http://schemas.microsoft.com/office/drawing/2014/main" id="{9F908C09-4336-401D-95D0-B0055B984A93}"/>
              </a:ext>
            </a:extLst>
          </p:cNvPr>
          <p:cNvGrpSpPr/>
          <p:nvPr/>
        </p:nvGrpSpPr>
        <p:grpSpPr>
          <a:xfrm>
            <a:off x="2895171" y="4245072"/>
            <a:ext cx="2056262" cy="881603"/>
            <a:chOff x="8903066" y="2692095"/>
            <a:chExt cx="2056262" cy="881603"/>
          </a:xfrm>
        </p:grpSpPr>
        <p:sp>
          <p:nvSpPr>
            <p:cNvPr id="62" name="TextBox 65">
              <a:extLst>
                <a:ext uri="{FF2B5EF4-FFF2-40B4-BE49-F238E27FC236}">
                  <a16:creationId xmlns:a16="http://schemas.microsoft.com/office/drawing/2014/main" id="{D9E5F031-DCFB-4D34-BADD-39E75CCC002A}"/>
                </a:ext>
              </a:extLst>
            </p:cNvPr>
            <p:cNvSpPr txBox="1"/>
            <p:nvPr/>
          </p:nvSpPr>
          <p:spPr>
            <a:xfrm flipH="1">
              <a:off x="8903067" y="2692095"/>
              <a:ext cx="2056261" cy="387598"/>
            </a:xfrm>
            <a:prstGeom prst="rect">
              <a:avLst/>
            </a:prstGeom>
            <a:noFill/>
          </p:spPr>
          <p:txBody>
            <a:bodyPr wrap="square" lIns="0" tIns="36000" rIns="0" bIns="36000" rtlCol="0">
              <a:spAutoFit/>
            </a:bodyPr>
            <a:lstStyle/>
            <a:p>
              <a:pPr marL="0" marR="0" lvl="0" indent="0" algn="ctr" defTabSz="914400" rtl="0" eaLnBrk="1" fontAlgn="auto" latinLnBrk="0" hangingPunct="1">
                <a:lnSpc>
                  <a:spcPct val="120000"/>
                </a:lnSpc>
                <a:spcBef>
                  <a:spcPts val="600"/>
                </a:spcBef>
                <a:spcAft>
                  <a:spcPts val="0"/>
                </a:spcAft>
                <a:buClrTx/>
                <a:buSzTx/>
                <a:buFontTx/>
                <a:buNone/>
                <a:tabLst/>
                <a:defRPr/>
              </a:pPr>
              <a:r>
                <a:rPr kumimoji="0" lang="zh-CN" altLang="en-US" sz="1800" b="0" i="0" u="none" strike="noStrike" kern="1200" cap="none" spc="0" normalizeH="0" baseline="0" noProof="0" dirty="0">
                  <a:ln>
                    <a:noFill/>
                  </a:ln>
                  <a:solidFill>
                    <a:schemeClr val="accent1"/>
                  </a:solidFill>
                  <a:effectLst/>
                  <a:uLnTx/>
                  <a:uFillTx/>
                  <a:latin typeface="HarmonyOS Sans SC Black"/>
                  <a:ea typeface="+mj-ea"/>
                  <a:cs typeface="+mn-cs"/>
                </a:rPr>
                <a:t>关键词标题</a:t>
              </a:r>
              <a:endParaRPr kumimoji="0" lang="en-US" sz="1800" b="0" i="0" u="none" strike="noStrike" kern="1200" cap="none" spc="0" normalizeH="0" baseline="0" noProof="0" dirty="0">
                <a:ln>
                  <a:noFill/>
                </a:ln>
                <a:solidFill>
                  <a:schemeClr val="accent1"/>
                </a:solidFill>
                <a:effectLst/>
                <a:uLnTx/>
                <a:uFillTx/>
                <a:latin typeface="HarmonyOS Sans SC Black"/>
                <a:ea typeface="+mj-ea"/>
                <a:cs typeface="+mn-cs"/>
              </a:endParaRPr>
            </a:p>
          </p:txBody>
        </p:sp>
        <p:sp>
          <p:nvSpPr>
            <p:cNvPr id="63" name="TextBox 65">
              <a:extLst>
                <a:ext uri="{FF2B5EF4-FFF2-40B4-BE49-F238E27FC236}">
                  <a16:creationId xmlns:a16="http://schemas.microsoft.com/office/drawing/2014/main" id="{482E35EF-C6A7-469B-A5E6-E8B0FACD0755}"/>
                </a:ext>
              </a:extLst>
            </p:cNvPr>
            <p:cNvSpPr txBox="1"/>
            <p:nvPr/>
          </p:nvSpPr>
          <p:spPr>
            <a:xfrm flipH="1">
              <a:off x="8903066" y="3075494"/>
              <a:ext cx="2056262" cy="498204"/>
            </a:xfrm>
            <a:prstGeom prst="rect">
              <a:avLst/>
            </a:prstGeom>
            <a:noFill/>
          </p:spPr>
          <p:txBody>
            <a:bodyPr wrap="square" lIns="0" tIns="36000" rIns="0" bIns="36000" rtlCol="0">
              <a:spAutoFit/>
            </a:bodyPr>
            <a:lstStyle/>
            <a:p>
              <a:pPr marL="0" marR="0" lvl="0" indent="0" algn="ctr" defTabSz="914400" rtl="0" eaLnBrk="1" fontAlgn="auto" latinLnBrk="0" hangingPunct="1">
                <a:lnSpc>
                  <a:spcPct val="120000"/>
                </a:lnSpc>
                <a:spcBef>
                  <a:spcPts val="600"/>
                </a:spcBef>
                <a:spcAft>
                  <a:spcPts val="0"/>
                </a:spcAft>
                <a:buClrTx/>
                <a:buSzTx/>
                <a:buFontTx/>
                <a:buNone/>
                <a:tabLst/>
                <a:defRPr/>
              </a:pPr>
              <a:r>
                <a:rPr kumimoji="0" lang="en-US" sz="1200" b="0" i="0" u="none" strike="noStrike" kern="1200" cap="none" spc="0" normalizeH="0" baseline="0" noProof="0" dirty="0">
                  <a:ln>
                    <a:noFill/>
                  </a:ln>
                  <a:solidFill>
                    <a:prstClr val="black">
                      <a:lumMod val="50000"/>
                      <a:lumOff val="50000"/>
                    </a:prstClr>
                  </a:solidFill>
                  <a:effectLst/>
                  <a:uLnTx/>
                  <a:uFillTx/>
                  <a:latin typeface="HarmonyOS Sans SC"/>
                  <a:cs typeface="+mn-cs"/>
                </a:rPr>
                <a:t>Apparently we had reached a great height in the.</a:t>
              </a:r>
            </a:p>
          </p:txBody>
        </p:sp>
      </p:grpSp>
      <p:grpSp>
        <p:nvGrpSpPr>
          <p:cNvPr id="64" name="组合 63">
            <a:extLst>
              <a:ext uri="{FF2B5EF4-FFF2-40B4-BE49-F238E27FC236}">
                <a16:creationId xmlns:a16="http://schemas.microsoft.com/office/drawing/2014/main" id="{A8F22559-9630-42D7-AD15-FBFD862DCF3A}"/>
              </a:ext>
            </a:extLst>
          </p:cNvPr>
          <p:cNvGrpSpPr/>
          <p:nvPr/>
        </p:nvGrpSpPr>
        <p:grpSpPr>
          <a:xfrm>
            <a:off x="5809904" y="4785580"/>
            <a:ext cx="2056262" cy="881603"/>
            <a:chOff x="8903066" y="2692095"/>
            <a:chExt cx="2056262" cy="881603"/>
          </a:xfrm>
        </p:grpSpPr>
        <p:sp>
          <p:nvSpPr>
            <p:cNvPr id="65" name="TextBox 65">
              <a:extLst>
                <a:ext uri="{FF2B5EF4-FFF2-40B4-BE49-F238E27FC236}">
                  <a16:creationId xmlns:a16="http://schemas.microsoft.com/office/drawing/2014/main" id="{634959BD-8303-4171-A352-A7BFD064DAD6}"/>
                </a:ext>
              </a:extLst>
            </p:cNvPr>
            <p:cNvSpPr txBox="1"/>
            <p:nvPr/>
          </p:nvSpPr>
          <p:spPr>
            <a:xfrm flipH="1">
              <a:off x="8903067" y="2692095"/>
              <a:ext cx="2056261" cy="387598"/>
            </a:xfrm>
            <a:prstGeom prst="rect">
              <a:avLst/>
            </a:prstGeom>
            <a:noFill/>
          </p:spPr>
          <p:txBody>
            <a:bodyPr wrap="square" lIns="0" tIns="36000" rIns="0" bIns="36000" rtlCol="0">
              <a:spAutoFit/>
            </a:bodyPr>
            <a:lstStyle/>
            <a:p>
              <a:pPr marL="0" marR="0" lvl="0" indent="0" algn="ctr" defTabSz="914400" rtl="0" eaLnBrk="1" fontAlgn="auto" latinLnBrk="0" hangingPunct="1">
                <a:lnSpc>
                  <a:spcPct val="120000"/>
                </a:lnSpc>
                <a:spcBef>
                  <a:spcPts val="600"/>
                </a:spcBef>
                <a:spcAft>
                  <a:spcPts val="0"/>
                </a:spcAft>
                <a:buClrTx/>
                <a:buSzTx/>
                <a:buFontTx/>
                <a:buNone/>
                <a:tabLst/>
                <a:defRPr/>
              </a:pPr>
              <a:r>
                <a:rPr kumimoji="0" lang="zh-CN" altLang="en-US" sz="1800" b="0" i="0" u="none" strike="noStrike" kern="1200" cap="none" spc="0" normalizeH="0" baseline="0" noProof="0" dirty="0">
                  <a:ln>
                    <a:noFill/>
                  </a:ln>
                  <a:solidFill>
                    <a:schemeClr val="accent1"/>
                  </a:solidFill>
                  <a:effectLst/>
                  <a:uLnTx/>
                  <a:uFillTx/>
                  <a:latin typeface="HarmonyOS Sans SC Black"/>
                  <a:ea typeface="+mj-ea"/>
                  <a:cs typeface="+mn-cs"/>
                </a:rPr>
                <a:t>关键词标题</a:t>
              </a:r>
              <a:endParaRPr kumimoji="0" lang="en-US" sz="1800" b="0" i="0" u="none" strike="noStrike" kern="1200" cap="none" spc="0" normalizeH="0" baseline="0" noProof="0" dirty="0">
                <a:ln>
                  <a:noFill/>
                </a:ln>
                <a:solidFill>
                  <a:schemeClr val="accent1"/>
                </a:solidFill>
                <a:effectLst/>
                <a:uLnTx/>
                <a:uFillTx/>
                <a:latin typeface="HarmonyOS Sans SC Black"/>
                <a:ea typeface="+mj-ea"/>
                <a:cs typeface="+mn-cs"/>
              </a:endParaRPr>
            </a:p>
          </p:txBody>
        </p:sp>
        <p:sp>
          <p:nvSpPr>
            <p:cNvPr id="66" name="TextBox 65">
              <a:extLst>
                <a:ext uri="{FF2B5EF4-FFF2-40B4-BE49-F238E27FC236}">
                  <a16:creationId xmlns:a16="http://schemas.microsoft.com/office/drawing/2014/main" id="{7D1D5708-C630-4EBA-87E7-662DE7E0FE75}"/>
                </a:ext>
              </a:extLst>
            </p:cNvPr>
            <p:cNvSpPr txBox="1"/>
            <p:nvPr/>
          </p:nvSpPr>
          <p:spPr>
            <a:xfrm flipH="1">
              <a:off x="8903066" y="3075494"/>
              <a:ext cx="2056262" cy="498204"/>
            </a:xfrm>
            <a:prstGeom prst="rect">
              <a:avLst/>
            </a:prstGeom>
            <a:noFill/>
          </p:spPr>
          <p:txBody>
            <a:bodyPr wrap="square" lIns="0" tIns="36000" rIns="0" bIns="36000" rtlCol="0">
              <a:spAutoFit/>
            </a:bodyPr>
            <a:lstStyle/>
            <a:p>
              <a:pPr marL="0" marR="0" lvl="0" indent="0" algn="ctr" defTabSz="914400" rtl="0" eaLnBrk="1" fontAlgn="auto" latinLnBrk="0" hangingPunct="1">
                <a:lnSpc>
                  <a:spcPct val="120000"/>
                </a:lnSpc>
                <a:spcBef>
                  <a:spcPts val="600"/>
                </a:spcBef>
                <a:spcAft>
                  <a:spcPts val="0"/>
                </a:spcAft>
                <a:buClrTx/>
                <a:buSzTx/>
                <a:buFontTx/>
                <a:buNone/>
                <a:tabLst/>
                <a:defRPr/>
              </a:pPr>
              <a:r>
                <a:rPr kumimoji="0" lang="en-US" sz="1200" b="0" i="0" u="none" strike="noStrike" kern="1200" cap="none" spc="0" normalizeH="0" baseline="0" noProof="0" dirty="0">
                  <a:ln>
                    <a:noFill/>
                  </a:ln>
                  <a:solidFill>
                    <a:prstClr val="black">
                      <a:lumMod val="50000"/>
                      <a:lumOff val="50000"/>
                    </a:prstClr>
                  </a:solidFill>
                  <a:effectLst/>
                  <a:uLnTx/>
                  <a:uFillTx/>
                  <a:latin typeface="HarmonyOS Sans SC"/>
                  <a:cs typeface="+mn-cs"/>
                </a:rPr>
                <a:t>Apparently we had reached a great height in the.</a:t>
              </a:r>
            </a:p>
          </p:txBody>
        </p:sp>
      </p:grpSp>
      <p:grpSp>
        <p:nvGrpSpPr>
          <p:cNvPr id="67" name="组合 66">
            <a:extLst>
              <a:ext uri="{FF2B5EF4-FFF2-40B4-BE49-F238E27FC236}">
                <a16:creationId xmlns:a16="http://schemas.microsoft.com/office/drawing/2014/main" id="{5CD8FDA1-9D9E-48BD-BE18-5B303BDFDA3A}"/>
              </a:ext>
            </a:extLst>
          </p:cNvPr>
          <p:cNvGrpSpPr/>
          <p:nvPr/>
        </p:nvGrpSpPr>
        <p:grpSpPr>
          <a:xfrm>
            <a:off x="9058595" y="4151049"/>
            <a:ext cx="2056262" cy="881603"/>
            <a:chOff x="8903066" y="2692095"/>
            <a:chExt cx="2056262" cy="881603"/>
          </a:xfrm>
        </p:grpSpPr>
        <p:sp>
          <p:nvSpPr>
            <p:cNvPr id="68" name="TextBox 65">
              <a:extLst>
                <a:ext uri="{FF2B5EF4-FFF2-40B4-BE49-F238E27FC236}">
                  <a16:creationId xmlns:a16="http://schemas.microsoft.com/office/drawing/2014/main" id="{0E1E31AA-0AA4-4B97-A4B1-C91762D5B0DF}"/>
                </a:ext>
              </a:extLst>
            </p:cNvPr>
            <p:cNvSpPr txBox="1"/>
            <p:nvPr/>
          </p:nvSpPr>
          <p:spPr>
            <a:xfrm flipH="1">
              <a:off x="8903067" y="2692095"/>
              <a:ext cx="2056261" cy="387598"/>
            </a:xfrm>
            <a:prstGeom prst="rect">
              <a:avLst/>
            </a:prstGeom>
            <a:noFill/>
          </p:spPr>
          <p:txBody>
            <a:bodyPr wrap="square" lIns="0" tIns="36000" rIns="0" bIns="36000" rtlCol="0">
              <a:spAutoFit/>
            </a:bodyPr>
            <a:lstStyle/>
            <a:p>
              <a:pPr marL="0" marR="0" lvl="0" indent="0" algn="ctr" defTabSz="914400" rtl="0" eaLnBrk="1" fontAlgn="auto" latinLnBrk="0" hangingPunct="1">
                <a:lnSpc>
                  <a:spcPct val="120000"/>
                </a:lnSpc>
                <a:spcBef>
                  <a:spcPts val="600"/>
                </a:spcBef>
                <a:spcAft>
                  <a:spcPts val="0"/>
                </a:spcAft>
                <a:buClrTx/>
                <a:buSzTx/>
                <a:buFontTx/>
                <a:buNone/>
                <a:tabLst/>
                <a:defRPr/>
              </a:pPr>
              <a:r>
                <a:rPr kumimoji="0" lang="zh-CN" altLang="en-US" sz="1800" b="0" i="0" u="none" strike="noStrike" kern="1200" cap="none" spc="0" normalizeH="0" baseline="0" noProof="0" dirty="0">
                  <a:ln>
                    <a:noFill/>
                  </a:ln>
                  <a:solidFill>
                    <a:schemeClr val="accent1"/>
                  </a:solidFill>
                  <a:effectLst/>
                  <a:uLnTx/>
                  <a:uFillTx/>
                  <a:latin typeface="HarmonyOS Sans SC Black"/>
                  <a:ea typeface="+mj-ea"/>
                  <a:cs typeface="+mn-cs"/>
                </a:rPr>
                <a:t>关键词标题</a:t>
              </a:r>
              <a:endParaRPr kumimoji="0" lang="en-US" sz="1800" b="0" i="0" u="none" strike="noStrike" kern="1200" cap="none" spc="0" normalizeH="0" baseline="0" noProof="0" dirty="0">
                <a:ln>
                  <a:noFill/>
                </a:ln>
                <a:solidFill>
                  <a:schemeClr val="accent1"/>
                </a:solidFill>
                <a:effectLst/>
                <a:uLnTx/>
                <a:uFillTx/>
                <a:latin typeface="HarmonyOS Sans SC Black"/>
                <a:ea typeface="+mj-ea"/>
                <a:cs typeface="+mn-cs"/>
              </a:endParaRPr>
            </a:p>
          </p:txBody>
        </p:sp>
        <p:sp>
          <p:nvSpPr>
            <p:cNvPr id="69" name="TextBox 65">
              <a:extLst>
                <a:ext uri="{FF2B5EF4-FFF2-40B4-BE49-F238E27FC236}">
                  <a16:creationId xmlns:a16="http://schemas.microsoft.com/office/drawing/2014/main" id="{E76CFB0F-A5CB-44F3-93B5-681EB6D94225}"/>
                </a:ext>
              </a:extLst>
            </p:cNvPr>
            <p:cNvSpPr txBox="1"/>
            <p:nvPr/>
          </p:nvSpPr>
          <p:spPr>
            <a:xfrm flipH="1">
              <a:off x="8903066" y="3075494"/>
              <a:ext cx="2056262" cy="498204"/>
            </a:xfrm>
            <a:prstGeom prst="rect">
              <a:avLst/>
            </a:prstGeom>
            <a:noFill/>
          </p:spPr>
          <p:txBody>
            <a:bodyPr wrap="square" lIns="0" tIns="36000" rIns="0" bIns="36000" rtlCol="0">
              <a:spAutoFit/>
            </a:bodyPr>
            <a:lstStyle/>
            <a:p>
              <a:pPr marL="0" marR="0" lvl="0" indent="0" algn="ctr" defTabSz="914400" rtl="0" eaLnBrk="1" fontAlgn="auto" latinLnBrk="0" hangingPunct="1">
                <a:lnSpc>
                  <a:spcPct val="120000"/>
                </a:lnSpc>
                <a:spcBef>
                  <a:spcPts val="600"/>
                </a:spcBef>
                <a:spcAft>
                  <a:spcPts val="0"/>
                </a:spcAft>
                <a:buClrTx/>
                <a:buSzTx/>
                <a:buFontTx/>
                <a:buNone/>
                <a:tabLst/>
                <a:defRPr/>
              </a:pPr>
              <a:r>
                <a:rPr kumimoji="0" lang="en-US" sz="1200" b="0" i="0" u="none" strike="noStrike" kern="1200" cap="none" spc="0" normalizeH="0" baseline="0" noProof="0" dirty="0">
                  <a:ln>
                    <a:noFill/>
                  </a:ln>
                  <a:solidFill>
                    <a:prstClr val="black">
                      <a:lumMod val="50000"/>
                      <a:lumOff val="50000"/>
                    </a:prstClr>
                  </a:solidFill>
                  <a:effectLst/>
                  <a:uLnTx/>
                  <a:uFillTx/>
                  <a:latin typeface="HarmonyOS Sans SC"/>
                  <a:cs typeface="+mn-cs"/>
                </a:rPr>
                <a:t>Apparently we had reached a great height in the.</a:t>
              </a:r>
            </a:p>
          </p:txBody>
        </p:sp>
      </p:grpSp>
    </p:spTree>
    <p:extLst>
      <p:ext uri="{BB962C8B-B14F-4D97-AF65-F5344CB8AC3E}">
        <p14:creationId xmlns:p14="http://schemas.microsoft.com/office/powerpoint/2010/main" val="1368257035"/>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文本框 10">
            <a:extLst>
              <a:ext uri="{FF2B5EF4-FFF2-40B4-BE49-F238E27FC236}">
                <a16:creationId xmlns:a16="http://schemas.microsoft.com/office/drawing/2014/main" id="{E4393356-E9A7-46D9-B5F5-0D21EC991A29}"/>
              </a:ext>
            </a:extLst>
          </p:cNvPr>
          <p:cNvSpPr txBox="1"/>
          <p:nvPr/>
        </p:nvSpPr>
        <p:spPr>
          <a:xfrm>
            <a:off x="1941017" y="2813447"/>
            <a:ext cx="8309967" cy="1107996"/>
          </a:xfrm>
          <a:prstGeom prst="rect">
            <a:avLst/>
          </a:prstGeom>
          <a:noFill/>
        </p:spPr>
        <p:txBody>
          <a:bodyPr wrap="none" lIns="0" tIns="0" rIns="0" bIns="0" rtlCol="0" anchor="t">
            <a:spAutoFit/>
          </a:bodyPr>
          <a:lstStyle/>
          <a:p>
            <a:pPr algn="ctr"/>
            <a:r>
              <a:rPr lang="zh-CN" altLang="en-US" sz="7200" dirty="0">
                <a:solidFill>
                  <a:schemeClr val="accent1">
                    <a:lumMod val="100000"/>
                  </a:schemeClr>
                </a:solidFill>
                <a:latin typeface="+mj-ea"/>
                <a:ea typeface="+mj-ea"/>
              </a:rPr>
              <a:t>输入你的封面大标题</a:t>
            </a:r>
          </a:p>
        </p:txBody>
      </p:sp>
      <p:sp>
        <p:nvSpPr>
          <p:cNvPr id="12" name="文本框 11">
            <a:extLst>
              <a:ext uri="{FF2B5EF4-FFF2-40B4-BE49-F238E27FC236}">
                <a16:creationId xmlns:a16="http://schemas.microsoft.com/office/drawing/2014/main" id="{08D1ED60-C0E7-408E-A5AA-59B489440FCB}"/>
              </a:ext>
            </a:extLst>
          </p:cNvPr>
          <p:cNvSpPr txBox="1"/>
          <p:nvPr/>
        </p:nvSpPr>
        <p:spPr>
          <a:xfrm>
            <a:off x="2029968" y="2275523"/>
            <a:ext cx="4001095" cy="369332"/>
          </a:xfrm>
          <a:prstGeom prst="rect">
            <a:avLst/>
          </a:prstGeom>
          <a:noFill/>
        </p:spPr>
        <p:txBody>
          <a:bodyPr wrap="none" lIns="0" tIns="0" rIns="0" bIns="0" rtlCol="0" anchor="t">
            <a:spAutoFit/>
          </a:bodyPr>
          <a:lstStyle/>
          <a:p>
            <a:pPr algn="ctr"/>
            <a:r>
              <a:rPr lang="zh-CN" altLang="en-US" sz="2400" dirty="0">
                <a:solidFill>
                  <a:schemeClr val="accent1">
                    <a:lumMod val="100000"/>
                  </a:schemeClr>
                </a:solidFill>
                <a:latin typeface="+mn-ea"/>
              </a:rPr>
              <a:t>输入你的副标题或大标题英文</a:t>
            </a:r>
          </a:p>
        </p:txBody>
      </p:sp>
      <p:cxnSp>
        <p:nvCxnSpPr>
          <p:cNvPr id="15" name="直接连接符 14">
            <a:extLst>
              <a:ext uri="{FF2B5EF4-FFF2-40B4-BE49-F238E27FC236}">
                <a16:creationId xmlns:a16="http://schemas.microsoft.com/office/drawing/2014/main" id="{C6CC629A-E754-4728-BB95-563C56597B63}"/>
              </a:ext>
            </a:extLst>
          </p:cNvPr>
          <p:cNvCxnSpPr>
            <a:cxnSpLocks/>
          </p:cNvCxnSpPr>
          <p:nvPr/>
        </p:nvCxnSpPr>
        <p:spPr>
          <a:xfrm flipH="1">
            <a:off x="6172200" y="2465975"/>
            <a:ext cx="4014216" cy="0"/>
          </a:xfrm>
          <a:prstGeom prst="line">
            <a:avLst/>
          </a:prstGeom>
          <a:ln w="19050">
            <a:solidFill>
              <a:schemeClr val="accent1">
                <a:lumMod val="100000"/>
              </a:schemeClr>
            </a:solidFill>
          </a:ln>
        </p:spPr>
        <p:style>
          <a:lnRef idx="1">
            <a:schemeClr val="accent1"/>
          </a:lnRef>
          <a:fillRef idx="0">
            <a:schemeClr val="accent1"/>
          </a:fillRef>
          <a:effectRef idx="0">
            <a:schemeClr val="accent1"/>
          </a:effectRef>
          <a:fontRef idx="minor">
            <a:schemeClr val="tx1"/>
          </a:fontRef>
        </p:style>
      </p:cxnSp>
      <p:grpSp>
        <p:nvGrpSpPr>
          <p:cNvPr id="18" name="组合 17">
            <a:extLst>
              <a:ext uri="{FF2B5EF4-FFF2-40B4-BE49-F238E27FC236}">
                <a16:creationId xmlns:a16="http://schemas.microsoft.com/office/drawing/2014/main" id="{FC799265-AC15-410F-82A2-679AB60B288F}"/>
              </a:ext>
            </a:extLst>
          </p:cNvPr>
          <p:cNvGrpSpPr/>
          <p:nvPr/>
        </p:nvGrpSpPr>
        <p:grpSpPr>
          <a:xfrm>
            <a:off x="4331702" y="4336256"/>
            <a:ext cx="1475214" cy="246221"/>
            <a:chOff x="4095451" y="4640913"/>
            <a:chExt cx="1475214" cy="246221"/>
          </a:xfrm>
        </p:grpSpPr>
        <p:sp>
          <p:nvSpPr>
            <p:cNvPr id="16" name="矩形 15">
              <a:extLst>
                <a:ext uri="{FF2B5EF4-FFF2-40B4-BE49-F238E27FC236}">
                  <a16:creationId xmlns:a16="http://schemas.microsoft.com/office/drawing/2014/main" id="{74C493E7-1B47-4349-BC5B-BF3163490795}"/>
                </a:ext>
              </a:extLst>
            </p:cNvPr>
            <p:cNvSpPr/>
            <p:nvPr/>
          </p:nvSpPr>
          <p:spPr>
            <a:xfrm>
              <a:off x="4095451" y="4672584"/>
              <a:ext cx="164592" cy="164592"/>
            </a:xfrm>
            <a:prstGeom prst="rect">
              <a:avLst/>
            </a:prstGeom>
            <a:solidFill>
              <a:schemeClr val="accent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p>
          </p:txBody>
        </p:sp>
        <p:sp>
          <p:nvSpPr>
            <p:cNvPr id="17" name="文本框 16">
              <a:extLst>
                <a:ext uri="{FF2B5EF4-FFF2-40B4-BE49-F238E27FC236}">
                  <a16:creationId xmlns:a16="http://schemas.microsoft.com/office/drawing/2014/main" id="{B804F6AA-7656-4EF8-84F0-3B3FB5CF0922}"/>
                </a:ext>
              </a:extLst>
            </p:cNvPr>
            <p:cNvSpPr txBox="1"/>
            <p:nvPr/>
          </p:nvSpPr>
          <p:spPr>
            <a:xfrm>
              <a:off x="4408487" y="4640913"/>
              <a:ext cx="1162178" cy="246221"/>
            </a:xfrm>
            <a:prstGeom prst="rect">
              <a:avLst/>
            </a:prstGeom>
            <a:noFill/>
          </p:spPr>
          <p:txBody>
            <a:bodyPr wrap="none" lIns="0" tIns="0" rIns="0" bIns="0" rtlCol="0" anchor="t">
              <a:spAutoFit/>
            </a:bodyPr>
            <a:lstStyle/>
            <a:p>
              <a:r>
                <a:rPr lang="zh-CN" altLang="en-US" sz="1600" dirty="0">
                  <a:solidFill>
                    <a:schemeClr val="accent1">
                      <a:lumMod val="100000"/>
                    </a:schemeClr>
                  </a:solidFill>
                  <a:latin typeface="+mn-ea"/>
                </a:rPr>
                <a:t>汇报人：</a:t>
              </a:r>
              <a:r>
                <a:rPr lang="en-US" altLang="zh-CN" sz="1600" dirty="0">
                  <a:solidFill>
                    <a:schemeClr val="accent1">
                      <a:lumMod val="100000"/>
                    </a:schemeClr>
                  </a:solidFill>
                  <a:latin typeface="+mn-ea"/>
                </a:rPr>
                <a:t>xxx</a:t>
              </a:r>
              <a:endParaRPr lang="zh-CN" altLang="en-US" sz="1600" dirty="0">
                <a:solidFill>
                  <a:schemeClr val="accent1">
                    <a:lumMod val="100000"/>
                  </a:schemeClr>
                </a:solidFill>
                <a:latin typeface="+mn-ea"/>
              </a:endParaRPr>
            </a:p>
          </p:txBody>
        </p:sp>
      </p:grpSp>
      <p:grpSp>
        <p:nvGrpSpPr>
          <p:cNvPr id="19" name="组合 18">
            <a:extLst>
              <a:ext uri="{FF2B5EF4-FFF2-40B4-BE49-F238E27FC236}">
                <a16:creationId xmlns:a16="http://schemas.microsoft.com/office/drawing/2014/main" id="{482B1619-178E-45D1-BC39-C5F4314075B6}"/>
              </a:ext>
            </a:extLst>
          </p:cNvPr>
          <p:cNvGrpSpPr/>
          <p:nvPr/>
        </p:nvGrpSpPr>
        <p:grpSpPr>
          <a:xfrm>
            <a:off x="6590270" y="4336256"/>
            <a:ext cx="1270029" cy="246221"/>
            <a:chOff x="4095451" y="4640913"/>
            <a:chExt cx="1270029" cy="246221"/>
          </a:xfrm>
        </p:grpSpPr>
        <p:sp>
          <p:nvSpPr>
            <p:cNvPr id="20" name="矩形 19">
              <a:extLst>
                <a:ext uri="{FF2B5EF4-FFF2-40B4-BE49-F238E27FC236}">
                  <a16:creationId xmlns:a16="http://schemas.microsoft.com/office/drawing/2014/main" id="{3A1AE345-38CE-49BE-9E58-2C20078777A3}"/>
                </a:ext>
              </a:extLst>
            </p:cNvPr>
            <p:cNvSpPr/>
            <p:nvPr/>
          </p:nvSpPr>
          <p:spPr>
            <a:xfrm>
              <a:off x="4095451" y="4672584"/>
              <a:ext cx="164592" cy="164592"/>
            </a:xfrm>
            <a:prstGeom prst="rect">
              <a:avLst/>
            </a:prstGeom>
            <a:solidFill>
              <a:schemeClr val="accent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p>
          </p:txBody>
        </p:sp>
        <p:sp>
          <p:nvSpPr>
            <p:cNvPr id="21" name="文本框 20">
              <a:extLst>
                <a:ext uri="{FF2B5EF4-FFF2-40B4-BE49-F238E27FC236}">
                  <a16:creationId xmlns:a16="http://schemas.microsoft.com/office/drawing/2014/main" id="{FCC3031D-C171-43E7-B549-82FC96054817}"/>
                </a:ext>
              </a:extLst>
            </p:cNvPr>
            <p:cNvSpPr txBox="1"/>
            <p:nvPr/>
          </p:nvSpPr>
          <p:spPr>
            <a:xfrm>
              <a:off x="4408487" y="4640913"/>
              <a:ext cx="956993" cy="246221"/>
            </a:xfrm>
            <a:prstGeom prst="rect">
              <a:avLst/>
            </a:prstGeom>
            <a:noFill/>
          </p:spPr>
          <p:txBody>
            <a:bodyPr wrap="none" lIns="0" tIns="0" rIns="0" bIns="0" rtlCol="0" anchor="t">
              <a:spAutoFit/>
            </a:bodyPr>
            <a:lstStyle/>
            <a:p>
              <a:r>
                <a:rPr lang="zh-CN" altLang="en-US" sz="1600" dirty="0">
                  <a:solidFill>
                    <a:schemeClr val="accent1">
                      <a:lumMod val="100000"/>
                    </a:schemeClr>
                  </a:solidFill>
                  <a:latin typeface="+mn-ea"/>
                </a:rPr>
                <a:t>单位：</a:t>
              </a:r>
              <a:r>
                <a:rPr lang="en-US" altLang="zh-CN" sz="1600" dirty="0">
                  <a:solidFill>
                    <a:schemeClr val="accent1">
                      <a:lumMod val="100000"/>
                    </a:schemeClr>
                  </a:solidFill>
                  <a:latin typeface="+mn-ea"/>
                </a:rPr>
                <a:t>xxx</a:t>
              </a:r>
              <a:endParaRPr lang="zh-CN" altLang="en-US" sz="1600" dirty="0">
                <a:solidFill>
                  <a:schemeClr val="accent1">
                    <a:lumMod val="100000"/>
                  </a:schemeClr>
                </a:solidFill>
                <a:latin typeface="+mn-ea"/>
              </a:endParaRPr>
            </a:p>
          </p:txBody>
        </p:sp>
      </p:grpSp>
      <p:cxnSp>
        <p:nvCxnSpPr>
          <p:cNvPr id="13" name="直接连接符 12">
            <a:extLst>
              <a:ext uri="{FF2B5EF4-FFF2-40B4-BE49-F238E27FC236}">
                <a16:creationId xmlns:a16="http://schemas.microsoft.com/office/drawing/2014/main" id="{EE069617-9A4C-4041-858D-2D3DE3F35FA4}"/>
              </a:ext>
            </a:extLst>
          </p:cNvPr>
          <p:cNvCxnSpPr>
            <a:cxnSpLocks/>
          </p:cNvCxnSpPr>
          <p:nvPr/>
        </p:nvCxnSpPr>
        <p:spPr>
          <a:xfrm flipH="1">
            <a:off x="2029968" y="4018002"/>
            <a:ext cx="8156448" cy="0"/>
          </a:xfrm>
          <a:prstGeom prst="line">
            <a:avLst/>
          </a:prstGeom>
          <a:ln w="19050">
            <a:solidFill>
              <a:schemeClr val="accent1">
                <a:lumMod val="10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01347677"/>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任意多边形: 形状 22">
            <a:extLst>
              <a:ext uri="{FF2B5EF4-FFF2-40B4-BE49-F238E27FC236}">
                <a16:creationId xmlns:a16="http://schemas.microsoft.com/office/drawing/2014/main" id="{192FD29A-34B2-450F-8061-2D3D41A70466}"/>
              </a:ext>
            </a:extLst>
          </p:cNvPr>
          <p:cNvSpPr/>
          <p:nvPr/>
        </p:nvSpPr>
        <p:spPr>
          <a:xfrm flipH="1">
            <a:off x="1" y="0"/>
            <a:ext cx="9422657" cy="6858000"/>
          </a:xfrm>
          <a:custGeom>
            <a:avLst/>
            <a:gdLst>
              <a:gd name="connsiteX0" fmla="*/ 9422657 w 9422657"/>
              <a:gd name="connsiteY0" fmla="*/ 0 h 6858000"/>
              <a:gd name="connsiteX1" fmla="*/ 1714500 w 9422657"/>
              <a:gd name="connsiteY1" fmla="*/ 0 h 6858000"/>
              <a:gd name="connsiteX2" fmla="*/ 0 w 9422657"/>
              <a:gd name="connsiteY2" fmla="*/ 6858000 h 6858000"/>
              <a:gd name="connsiteX3" fmla="*/ 9422657 w 9422657"/>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9422657" h="6858000">
                <a:moveTo>
                  <a:pt x="9422657" y="0"/>
                </a:moveTo>
                <a:lnTo>
                  <a:pt x="1714500" y="0"/>
                </a:lnTo>
                <a:lnTo>
                  <a:pt x="0" y="6858000"/>
                </a:lnTo>
                <a:lnTo>
                  <a:pt x="9422657" y="6858000"/>
                </a:lnTo>
                <a:close/>
              </a:path>
            </a:pathLst>
          </a:cu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6000" dirty="0"/>
          </a:p>
        </p:txBody>
      </p:sp>
      <p:sp>
        <p:nvSpPr>
          <p:cNvPr id="24" name="任意多边形: 形状 23">
            <a:extLst>
              <a:ext uri="{FF2B5EF4-FFF2-40B4-BE49-F238E27FC236}">
                <a16:creationId xmlns:a16="http://schemas.microsoft.com/office/drawing/2014/main" id="{8F5C2CE1-DE70-4353-A150-E64CA78851AF}"/>
              </a:ext>
            </a:extLst>
          </p:cNvPr>
          <p:cNvSpPr/>
          <p:nvPr/>
        </p:nvSpPr>
        <p:spPr>
          <a:xfrm>
            <a:off x="1" y="0"/>
            <a:ext cx="10286257" cy="6858000"/>
          </a:xfrm>
          <a:custGeom>
            <a:avLst/>
            <a:gdLst>
              <a:gd name="connsiteX0" fmla="*/ 0 w 10286257"/>
              <a:gd name="connsiteY0" fmla="*/ 0 h 6858000"/>
              <a:gd name="connsiteX1" fmla="*/ 10286257 w 10286257"/>
              <a:gd name="connsiteY1" fmla="*/ 0 h 6858000"/>
              <a:gd name="connsiteX2" fmla="*/ 8571757 w 10286257"/>
              <a:gd name="connsiteY2" fmla="*/ 6858000 h 6858000"/>
              <a:gd name="connsiteX3" fmla="*/ 0 w 10286257"/>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0286257" h="6858000">
                <a:moveTo>
                  <a:pt x="0" y="0"/>
                </a:moveTo>
                <a:lnTo>
                  <a:pt x="10286257" y="0"/>
                </a:lnTo>
                <a:lnTo>
                  <a:pt x="8571757" y="6858000"/>
                </a:lnTo>
                <a:lnTo>
                  <a:pt x="0" y="68580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6000" dirty="0"/>
          </a:p>
        </p:txBody>
      </p:sp>
      <p:grpSp>
        <p:nvGrpSpPr>
          <p:cNvPr id="5" name="组合 4">
            <a:extLst>
              <a:ext uri="{FF2B5EF4-FFF2-40B4-BE49-F238E27FC236}">
                <a16:creationId xmlns:a16="http://schemas.microsoft.com/office/drawing/2014/main" id="{FB2CBAA5-9407-4105-A125-E5F80DF0CD8D}"/>
              </a:ext>
            </a:extLst>
          </p:cNvPr>
          <p:cNvGrpSpPr/>
          <p:nvPr/>
        </p:nvGrpSpPr>
        <p:grpSpPr>
          <a:xfrm>
            <a:off x="1033653" y="1922029"/>
            <a:ext cx="7191761" cy="2864093"/>
            <a:chOff x="397884" y="1476375"/>
            <a:chExt cx="8586330" cy="3419475"/>
          </a:xfrm>
        </p:grpSpPr>
        <p:sp>
          <p:nvSpPr>
            <p:cNvPr id="22" name="文本框 21">
              <a:extLst>
                <a:ext uri="{FF2B5EF4-FFF2-40B4-BE49-F238E27FC236}">
                  <a16:creationId xmlns:a16="http://schemas.microsoft.com/office/drawing/2014/main" id="{48658C3D-4517-4E29-BFD9-73130A61E547}"/>
                </a:ext>
              </a:extLst>
            </p:cNvPr>
            <p:cNvSpPr txBox="1"/>
            <p:nvPr/>
          </p:nvSpPr>
          <p:spPr>
            <a:xfrm>
              <a:off x="716405" y="2689431"/>
              <a:ext cx="8267809" cy="1102375"/>
            </a:xfrm>
            <a:prstGeom prst="rect">
              <a:avLst/>
            </a:prstGeom>
            <a:noFill/>
          </p:spPr>
          <p:txBody>
            <a:bodyPr wrap="none" lIns="0" tIns="0" rIns="0" bIns="0" rtlCol="0" anchor="t">
              <a:spAutoFit/>
            </a:bodyPr>
            <a:lstStyle/>
            <a:p>
              <a:pPr algn="ctr"/>
              <a:r>
                <a:rPr lang="zh-CN" altLang="en-US" sz="6000" dirty="0">
                  <a:solidFill>
                    <a:schemeClr val="bg1"/>
                  </a:solidFill>
                  <a:latin typeface="+mj-ea"/>
                  <a:ea typeface="+mj-ea"/>
                </a:rPr>
                <a:t>输入你的封面大标题</a:t>
              </a:r>
            </a:p>
          </p:txBody>
        </p:sp>
        <p:sp>
          <p:nvSpPr>
            <p:cNvPr id="26" name="文本框 25">
              <a:extLst>
                <a:ext uri="{FF2B5EF4-FFF2-40B4-BE49-F238E27FC236}">
                  <a16:creationId xmlns:a16="http://schemas.microsoft.com/office/drawing/2014/main" id="{B6E90A8A-3405-4300-A3BB-B1E43CB8BFF0}"/>
                </a:ext>
              </a:extLst>
            </p:cNvPr>
            <p:cNvSpPr txBox="1"/>
            <p:nvPr/>
          </p:nvSpPr>
          <p:spPr>
            <a:xfrm>
              <a:off x="799071" y="2282654"/>
              <a:ext cx="1929155" cy="330712"/>
            </a:xfrm>
            <a:prstGeom prst="rect">
              <a:avLst/>
            </a:prstGeom>
            <a:noFill/>
          </p:spPr>
          <p:txBody>
            <a:bodyPr wrap="none" lIns="0" tIns="0" rIns="0" bIns="0" rtlCol="0" anchor="t">
              <a:spAutoFit/>
            </a:bodyPr>
            <a:lstStyle/>
            <a:p>
              <a:r>
                <a:rPr lang="zh-CN" altLang="en-US" dirty="0">
                  <a:solidFill>
                    <a:schemeClr val="bg1"/>
                  </a:solidFill>
                  <a:latin typeface="+mn-ea"/>
                </a:rPr>
                <a:t>输入你的副标题</a:t>
              </a:r>
            </a:p>
          </p:txBody>
        </p:sp>
        <p:grpSp>
          <p:nvGrpSpPr>
            <p:cNvPr id="27" name="组合 26">
              <a:extLst>
                <a:ext uri="{FF2B5EF4-FFF2-40B4-BE49-F238E27FC236}">
                  <a16:creationId xmlns:a16="http://schemas.microsoft.com/office/drawing/2014/main" id="{25156534-1677-4D33-AF38-FDDA34AD07AB}"/>
                </a:ext>
              </a:extLst>
            </p:cNvPr>
            <p:cNvGrpSpPr/>
            <p:nvPr/>
          </p:nvGrpSpPr>
          <p:grpSpPr>
            <a:xfrm>
              <a:off x="791575" y="3964841"/>
              <a:ext cx="1352255" cy="220475"/>
              <a:chOff x="4095451" y="4640913"/>
              <a:chExt cx="1352255" cy="220475"/>
            </a:xfrm>
          </p:grpSpPr>
          <p:sp>
            <p:nvSpPr>
              <p:cNvPr id="28" name="矩形 27">
                <a:extLst>
                  <a:ext uri="{FF2B5EF4-FFF2-40B4-BE49-F238E27FC236}">
                    <a16:creationId xmlns:a16="http://schemas.microsoft.com/office/drawing/2014/main" id="{914E2EDE-04A1-4C79-8A42-8EE633F1791A}"/>
                  </a:ext>
                </a:extLst>
              </p:cNvPr>
              <p:cNvSpPr/>
              <p:nvPr/>
            </p:nvSpPr>
            <p:spPr>
              <a:xfrm>
                <a:off x="4095451" y="4672584"/>
                <a:ext cx="164592" cy="1645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4800" dirty="0">
                  <a:solidFill>
                    <a:schemeClr val="bg1"/>
                  </a:solidFill>
                </a:endParaRPr>
              </a:p>
            </p:txBody>
          </p:sp>
          <p:sp>
            <p:nvSpPr>
              <p:cNvPr id="29" name="文本框 28">
                <a:extLst>
                  <a:ext uri="{FF2B5EF4-FFF2-40B4-BE49-F238E27FC236}">
                    <a16:creationId xmlns:a16="http://schemas.microsoft.com/office/drawing/2014/main" id="{DC363E85-BA0E-4D5B-8260-CFBC45C8F734}"/>
                  </a:ext>
                </a:extLst>
              </p:cNvPr>
              <p:cNvSpPr txBox="1"/>
              <p:nvPr/>
            </p:nvSpPr>
            <p:spPr>
              <a:xfrm>
                <a:off x="4408488" y="4640913"/>
                <a:ext cx="1039218" cy="220475"/>
              </a:xfrm>
              <a:prstGeom prst="rect">
                <a:avLst/>
              </a:prstGeom>
              <a:noFill/>
            </p:spPr>
            <p:txBody>
              <a:bodyPr wrap="none" lIns="0" tIns="0" rIns="0" bIns="0" rtlCol="0" anchor="t">
                <a:spAutoFit/>
              </a:bodyPr>
              <a:lstStyle/>
              <a:p>
                <a:r>
                  <a:rPr lang="zh-CN" altLang="en-US" sz="1200" dirty="0">
                    <a:solidFill>
                      <a:schemeClr val="bg1"/>
                    </a:solidFill>
                    <a:latin typeface="+mn-ea"/>
                  </a:rPr>
                  <a:t>汇报人：</a:t>
                </a:r>
                <a:r>
                  <a:rPr lang="en-US" altLang="zh-CN" sz="1200" dirty="0">
                    <a:solidFill>
                      <a:schemeClr val="bg1"/>
                    </a:solidFill>
                    <a:latin typeface="+mn-ea"/>
                  </a:rPr>
                  <a:t>xxx</a:t>
                </a:r>
                <a:endParaRPr lang="zh-CN" altLang="en-US" sz="1200" dirty="0">
                  <a:solidFill>
                    <a:schemeClr val="bg1"/>
                  </a:solidFill>
                  <a:latin typeface="+mn-ea"/>
                </a:endParaRPr>
              </a:p>
            </p:txBody>
          </p:sp>
        </p:grpSp>
        <p:grpSp>
          <p:nvGrpSpPr>
            <p:cNvPr id="30" name="组合 29">
              <a:extLst>
                <a:ext uri="{FF2B5EF4-FFF2-40B4-BE49-F238E27FC236}">
                  <a16:creationId xmlns:a16="http://schemas.microsoft.com/office/drawing/2014/main" id="{F62C6FD7-ACFA-422B-88DC-DB2B42CDD668}"/>
                </a:ext>
              </a:extLst>
            </p:cNvPr>
            <p:cNvGrpSpPr/>
            <p:nvPr/>
          </p:nvGrpSpPr>
          <p:grpSpPr>
            <a:xfrm>
              <a:off x="791575" y="4431230"/>
              <a:ext cx="1168524" cy="220475"/>
              <a:chOff x="4095451" y="4640913"/>
              <a:chExt cx="1168524" cy="220475"/>
            </a:xfrm>
          </p:grpSpPr>
          <p:sp>
            <p:nvSpPr>
              <p:cNvPr id="31" name="矩形 30">
                <a:extLst>
                  <a:ext uri="{FF2B5EF4-FFF2-40B4-BE49-F238E27FC236}">
                    <a16:creationId xmlns:a16="http://schemas.microsoft.com/office/drawing/2014/main" id="{4363F212-EF16-457E-9BA2-5D9629C31D55}"/>
                  </a:ext>
                </a:extLst>
              </p:cNvPr>
              <p:cNvSpPr/>
              <p:nvPr/>
            </p:nvSpPr>
            <p:spPr>
              <a:xfrm>
                <a:off x="4095451" y="4672584"/>
                <a:ext cx="164592" cy="1645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4800" dirty="0">
                  <a:solidFill>
                    <a:schemeClr val="bg1"/>
                  </a:solidFill>
                </a:endParaRPr>
              </a:p>
            </p:txBody>
          </p:sp>
          <p:sp>
            <p:nvSpPr>
              <p:cNvPr id="32" name="文本框 31">
                <a:extLst>
                  <a:ext uri="{FF2B5EF4-FFF2-40B4-BE49-F238E27FC236}">
                    <a16:creationId xmlns:a16="http://schemas.microsoft.com/office/drawing/2014/main" id="{BEB4B3B9-2B90-4E90-8178-0CD5FFAF101D}"/>
                  </a:ext>
                </a:extLst>
              </p:cNvPr>
              <p:cNvSpPr txBox="1"/>
              <p:nvPr/>
            </p:nvSpPr>
            <p:spPr>
              <a:xfrm>
                <a:off x="4408486" y="4640913"/>
                <a:ext cx="855489" cy="220475"/>
              </a:xfrm>
              <a:prstGeom prst="rect">
                <a:avLst/>
              </a:prstGeom>
              <a:noFill/>
            </p:spPr>
            <p:txBody>
              <a:bodyPr wrap="none" lIns="0" tIns="0" rIns="0" bIns="0" rtlCol="0" anchor="t">
                <a:spAutoFit/>
              </a:bodyPr>
              <a:lstStyle/>
              <a:p>
                <a:r>
                  <a:rPr lang="zh-CN" altLang="en-US" sz="1200" dirty="0">
                    <a:solidFill>
                      <a:schemeClr val="bg1"/>
                    </a:solidFill>
                    <a:latin typeface="+mn-ea"/>
                  </a:rPr>
                  <a:t>单位：</a:t>
                </a:r>
                <a:r>
                  <a:rPr lang="en-US" altLang="zh-CN" sz="1200" dirty="0">
                    <a:solidFill>
                      <a:schemeClr val="bg1"/>
                    </a:solidFill>
                    <a:latin typeface="+mn-ea"/>
                  </a:rPr>
                  <a:t>xxx</a:t>
                </a:r>
                <a:endParaRPr lang="zh-CN" altLang="en-US" sz="1200" dirty="0">
                  <a:solidFill>
                    <a:schemeClr val="bg1"/>
                  </a:solidFill>
                  <a:latin typeface="+mn-ea"/>
                </a:endParaRPr>
              </a:p>
            </p:txBody>
          </p:sp>
        </p:grpSp>
        <p:grpSp>
          <p:nvGrpSpPr>
            <p:cNvPr id="33" name="组合 32">
              <a:extLst>
                <a:ext uri="{FF2B5EF4-FFF2-40B4-BE49-F238E27FC236}">
                  <a16:creationId xmlns:a16="http://schemas.microsoft.com/office/drawing/2014/main" id="{8380C770-A2C3-4DD0-B0CC-C0EF577B5652}"/>
                </a:ext>
              </a:extLst>
            </p:cNvPr>
            <p:cNvGrpSpPr/>
            <p:nvPr/>
          </p:nvGrpSpPr>
          <p:grpSpPr>
            <a:xfrm>
              <a:off x="397884" y="1476375"/>
              <a:ext cx="3023835" cy="3419475"/>
              <a:chOff x="942623" y="902047"/>
              <a:chExt cx="3090862" cy="4541207"/>
            </a:xfrm>
          </p:grpSpPr>
          <p:cxnSp>
            <p:nvCxnSpPr>
              <p:cNvPr id="34" name="直接连接符 49">
                <a:extLst>
                  <a:ext uri="{FF2B5EF4-FFF2-40B4-BE49-F238E27FC236}">
                    <a16:creationId xmlns:a16="http://schemas.microsoft.com/office/drawing/2014/main" id="{41ABF298-AF72-44B7-86DE-70BD473969D9}"/>
                  </a:ext>
                </a:extLst>
              </p:cNvPr>
              <p:cNvCxnSpPr/>
              <p:nvPr/>
            </p:nvCxnSpPr>
            <p:spPr>
              <a:xfrm>
                <a:off x="942623" y="902047"/>
                <a:ext cx="3090862" cy="0"/>
              </a:xfrm>
              <a:prstGeom prst="line">
                <a:avLst/>
              </a:prstGeom>
              <a:ln w="34925" cap="sq">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5" name="直接连接符 50">
                <a:extLst>
                  <a:ext uri="{FF2B5EF4-FFF2-40B4-BE49-F238E27FC236}">
                    <a16:creationId xmlns:a16="http://schemas.microsoft.com/office/drawing/2014/main" id="{F42E2120-450C-4F0C-B442-5677F41D2D45}"/>
                  </a:ext>
                </a:extLst>
              </p:cNvPr>
              <p:cNvCxnSpPr>
                <a:cxnSpLocks/>
              </p:cNvCxnSpPr>
              <p:nvPr/>
            </p:nvCxnSpPr>
            <p:spPr>
              <a:xfrm>
                <a:off x="942623" y="5443254"/>
                <a:ext cx="3089627" cy="0"/>
              </a:xfrm>
              <a:prstGeom prst="line">
                <a:avLst/>
              </a:prstGeom>
              <a:ln w="34925" cap="sq">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6" name="直接连接符 51">
                <a:extLst>
                  <a:ext uri="{FF2B5EF4-FFF2-40B4-BE49-F238E27FC236}">
                    <a16:creationId xmlns:a16="http://schemas.microsoft.com/office/drawing/2014/main" id="{E3623781-E210-457C-A7F0-35A24DA0B655}"/>
                  </a:ext>
                </a:extLst>
              </p:cNvPr>
              <p:cNvCxnSpPr>
                <a:cxnSpLocks/>
              </p:cNvCxnSpPr>
              <p:nvPr/>
            </p:nvCxnSpPr>
            <p:spPr>
              <a:xfrm>
                <a:off x="942623" y="902047"/>
                <a:ext cx="0" cy="4541207"/>
              </a:xfrm>
              <a:prstGeom prst="line">
                <a:avLst/>
              </a:prstGeom>
              <a:ln w="34925" cap="sq">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7" name="直接连接符 52">
                <a:extLst>
                  <a:ext uri="{FF2B5EF4-FFF2-40B4-BE49-F238E27FC236}">
                    <a16:creationId xmlns:a16="http://schemas.microsoft.com/office/drawing/2014/main" id="{A45D3BA6-9C15-4F95-98F6-443D68FBE5D5}"/>
                  </a:ext>
                </a:extLst>
              </p:cNvPr>
              <p:cNvCxnSpPr>
                <a:cxnSpLocks/>
              </p:cNvCxnSpPr>
              <p:nvPr/>
            </p:nvCxnSpPr>
            <p:spPr>
              <a:xfrm>
                <a:off x="4033485" y="902047"/>
                <a:ext cx="0" cy="1388657"/>
              </a:xfrm>
              <a:prstGeom prst="line">
                <a:avLst/>
              </a:prstGeom>
              <a:ln w="34925" cap="sq">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8" name="直接连接符 53">
                <a:extLst>
                  <a:ext uri="{FF2B5EF4-FFF2-40B4-BE49-F238E27FC236}">
                    <a16:creationId xmlns:a16="http://schemas.microsoft.com/office/drawing/2014/main" id="{2A9EE539-F973-426E-B81D-82589CE722A7}"/>
                  </a:ext>
                </a:extLst>
              </p:cNvPr>
              <p:cNvCxnSpPr>
                <a:cxnSpLocks/>
              </p:cNvCxnSpPr>
              <p:nvPr/>
            </p:nvCxnSpPr>
            <p:spPr>
              <a:xfrm>
                <a:off x="4033485" y="4275581"/>
                <a:ext cx="0" cy="1163194"/>
              </a:xfrm>
              <a:prstGeom prst="line">
                <a:avLst/>
              </a:prstGeom>
              <a:ln w="34925" cap="sq">
                <a:solidFill>
                  <a:schemeClr val="bg1"/>
                </a:solidFill>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399010064"/>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5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24">
            <a:extLst>
              <a:ext uri="{FF2B5EF4-FFF2-40B4-BE49-F238E27FC236}">
                <a16:creationId xmlns:a16="http://schemas.microsoft.com/office/drawing/2014/main" id="{C4289906-F990-4FC5-B6B4-8CE5342BDB43}"/>
              </a:ext>
            </a:extLst>
          </p:cNvPr>
          <p:cNvSpPr>
            <a:spLocks/>
          </p:cNvSpPr>
          <p:nvPr/>
        </p:nvSpPr>
        <p:spPr bwMode="auto">
          <a:xfrm>
            <a:off x="7468072" y="-690876"/>
            <a:ext cx="2628878" cy="3759250"/>
          </a:xfrm>
          <a:custGeom>
            <a:avLst/>
            <a:gdLst>
              <a:gd name="T0" fmla="*/ 607 w 607"/>
              <a:gd name="T1" fmla="*/ 258 h 868"/>
              <a:gd name="T2" fmla="*/ 492 w 607"/>
              <a:gd name="T3" fmla="*/ 0 h 868"/>
              <a:gd name="T4" fmla="*/ 154 w 607"/>
              <a:gd name="T5" fmla="*/ 258 h 868"/>
              <a:gd name="T6" fmla="*/ 266 w 607"/>
              <a:gd name="T7" fmla="*/ 258 h 868"/>
              <a:gd name="T8" fmla="*/ 0 w 607"/>
              <a:gd name="T9" fmla="*/ 868 h 868"/>
              <a:gd name="T10" fmla="*/ 228 w 607"/>
              <a:gd name="T11" fmla="*/ 868 h 868"/>
              <a:gd name="T12" fmla="*/ 495 w 607"/>
              <a:gd name="T13" fmla="*/ 258 h 868"/>
              <a:gd name="T14" fmla="*/ 607 w 607"/>
              <a:gd name="T15" fmla="*/ 258 h 8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7" h="868">
                <a:moveTo>
                  <a:pt x="607" y="258"/>
                </a:moveTo>
                <a:lnTo>
                  <a:pt x="492" y="0"/>
                </a:lnTo>
                <a:lnTo>
                  <a:pt x="154" y="258"/>
                </a:lnTo>
                <a:lnTo>
                  <a:pt x="266" y="258"/>
                </a:lnTo>
                <a:lnTo>
                  <a:pt x="0" y="868"/>
                </a:lnTo>
                <a:lnTo>
                  <a:pt x="228" y="868"/>
                </a:lnTo>
                <a:lnTo>
                  <a:pt x="495" y="258"/>
                </a:lnTo>
                <a:lnTo>
                  <a:pt x="607" y="25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sp>
        <p:nvSpPr>
          <p:cNvPr id="3" name="Freeform 10">
            <a:extLst>
              <a:ext uri="{FF2B5EF4-FFF2-40B4-BE49-F238E27FC236}">
                <a16:creationId xmlns:a16="http://schemas.microsoft.com/office/drawing/2014/main" id="{F4EAC61E-3E73-49A4-971C-1AB3C8A0577B}"/>
              </a:ext>
            </a:extLst>
          </p:cNvPr>
          <p:cNvSpPr>
            <a:spLocks/>
          </p:cNvSpPr>
          <p:nvPr/>
        </p:nvSpPr>
        <p:spPr bwMode="auto">
          <a:xfrm>
            <a:off x="3188189" y="2874258"/>
            <a:ext cx="1330621" cy="1400486"/>
          </a:xfrm>
          <a:custGeom>
            <a:avLst/>
            <a:gdLst>
              <a:gd name="T0" fmla="*/ 229 w 419"/>
              <a:gd name="T1" fmla="*/ 0 h 441"/>
              <a:gd name="T2" fmla="*/ 419 w 419"/>
              <a:gd name="T3" fmla="*/ 441 h 441"/>
              <a:gd name="T4" fmla="*/ 191 w 419"/>
              <a:gd name="T5" fmla="*/ 441 h 441"/>
              <a:gd name="T6" fmla="*/ 0 w 419"/>
              <a:gd name="T7" fmla="*/ 0 h 441"/>
              <a:gd name="T8" fmla="*/ 229 w 419"/>
              <a:gd name="T9" fmla="*/ 0 h 441"/>
            </a:gdLst>
            <a:ahLst/>
            <a:cxnLst>
              <a:cxn ang="0">
                <a:pos x="T0" y="T1"/>
              </a:cxn>
              <a:cxn ang="0">
                <a:pos x="T2" y="T3"/>
              </a:cxn>
              <a:cxn ang="0">
                <a:pos x="T4" y="T5"/>
              </a:cxn>
              <a:cxn ang="0">
                <a:pos x="T6" y="T7"/>
              </a:cxn>
              <a:cxn ang="0">
                <a:pos x="T8" y="T9"/>
              </a:cxn>
            </a:cxnLst>
            <a:rect l="0" t="0" r="r" b="b"/>
            <a:pathLst>
              <a:path w="419" h="441">
                <a:moveTo>
                  <a:pt x="229" y="0"/>
                </a:moveTo>
                <a:lnTo>
                  <a:pt x="419" y="441"/>
                </a:lnTo>
                <a:lnTo>
                  <a:pt x="191" y="441"/>
                </a:lnTo>
                <a:lnTo>
                  <a:pt x="0" y="0"/>
                </a:lnTo>
                <a:lnTo>
                  <a:pt x="22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4" name="Freeform 16">
            <a:extLst>
              <a:ext uri="{FF2B5EF4-FFF2-40B4-BE49-F238E27FC236}">
                <a16:creationId xmlns:a16="http://schemas.microsoft.com/office/drawing/2014/main" id="{D6C480CF-23EA-4B2D-9677-E0CD36B0D80F}"/>
              </a:ext>
            </a:extLst>
          </p:cNvPr>
          <p:cNvSpPr>
            <a:spLocks/>
          </p:cNvSpPr>
          <p:nvPr/>
        </p:nvSpPr>
        <p:spPr bwMode="auto">
          <a:xfrm>
            <a:off x="3794747" y="2429659"/>
            <a:ext cx="1517987" cy="1845085"/>
          </a:xfrm>
          <a:custGeom>
            <a:avLst/>
            <a:gdLst>
              <a:gd name="T0" fmla="*/ 250 w 478"/>
              <a:gd name="T1" fmla="*/ 0 h 581"/>
              <a:gd name="T2" fmla="*/ 0 w 478"/>
              <a:gd name="T3" fmla="*/ 581 h 581"/>
              <a:gd name="T4" fmla="*/ 228 w 478"/>
              <a:gd name="T5" fmla="*/ 581 h 581"/>
              <a:gd name="T6" fmla="*/ 478 w 478"/>
              <a:gd name="T7" fmla="*/ 0 h 581"/>
              <a:gd name="T8" fmla="*/ 250 w 478"/>
              <a:gd name="T9" fmla="*/ 0 h 581"/>
            </a:gdLst>
            <a:ahLst/>
            <a:cxnLst>
              <a:cxn ang="0">
                <a:pos x="T0" y="T1"/>
              </a:cxn>
              <a:cxn ang="0">
                <a:pos x="T2" y="T3"/>
              </a:cxn>
              <a:cxn ang="0">
                <a:pos x="T4" y="T5"/>
              </a:cxn>
              <a:cxn ang="0">
                <a:pos x="T6" y="T7"/>
              </a:cxn>
              <a:cxn ang="0">
                <a:pos x="T8" y="T9"/>
              </a:cxn>
            </a:cxnLst>
            <a:rect l="0" t="0" r="r" b="b"/>
            <a:pathLst>
              <a:path w="478" h="581">
                <a:moveTo>
                  <a:pt x="250" y="0"/>
                </a:moveTo>
                <a:lnTo>
                  <a:pt x="0" y="581"/>
                </a:lnTo>
                <a:lnTo>
                  <a:pt x="228" y="581"/>
                </a:lnTo>
                <a:lnTo>
                  <a:pt x="478" y="0"/>
                </a:lnTo>
                <a:lnTo>
                  <a:pt x="25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5" name="Freeform 18">
            <a:extLst>
              <a:ext uri="{FF2B5EF4-FFF2-40B4-BE49-F238E27FC236}">
                <a16:creationId xmlns:a16="http://schemas.microsoft.com/office/drawing/2014/main" id="{97F806D1-7EFB-4632-9D87-6F7E3528908A}"/>
              </a:ext>
            </a:extLst>
          </p:cNvPr>
          <p:cNvSpPr>
            <a:spLocks/>
          </p:cNvSpPr>
          <p:nvPr/>
        </p:nvSpPr>
        <p:spPr bwMode="auto">
          <a:xfrm>
            <a:off x="3794747" y="2429659"/>
            <a:ext cx="1517987" cy="1845085"/>
          </a:xfrm>
          <a:custGeom>
            <a:avLst/>
            <a:gdLst>
              <a:gd name="T0" fmla="*/ 478 w 478"/>
              <a:gd name="T1" fmla="*/ 0 h 581"/>
              <a:gd name="T2" fmla="*/ 250 w 478"/>
              <a:gd name="T3" fmla="*/ 0 h 581"/>
              <a:gd name="T4" fmla="*/ 114 w 478"/>
              <a:gd name="T5" fmla="*/ 314 h 581"/>
              <a:gd name="T6" fmla="*/ 0 w 478"/>
              <a:gd name="T7" fmla="*/ 581 h 581"/>
              <a:gd name="T8" fmla="*/ 228 w 478"/>
              <a:gd name="T9" fmla="*/ 581 h 581"/>
              <a:gd name="T10" fmla="*/ 478 w 478"/>
              <a:gd name="T11" fmla="*/ 0 h 581"/>
            </a:gdLst>
            <a:ahLst/>
            <a:cxnLst>
              <a:cxn ang="0">
                <a:pos x="T0" y="T1"/>
              </a:cxn>
              <a:cxn ang="0">
                <a:pos x="T2" y="T3"/>
              </a:cxn>
              <a:cxn ang="0">
                <a:pos x="T4" y="T5"/>
              </a:cxn>
              <a:cxn ang="0">
                <a:pos x="T6" y="T7"/>
              </a:cxn>
              <a:cxn ang="0">
                <a:pos x="T8" y="T9"/>
              </a:cxn>
              <a:cxn ang="0">
                <a:pos x="T10" y="T11"/>
              </a:cxn>
            </a:cxnLst>
            <a:rect l="0" t="0" r="r" b="b"/>
            <a:pathLst>
              <a:path w="478" h="581">
                <a:moveTo>
                  <a:pt x="478" y="0"/>
                </a:moveTo>
                <a:lnTo>
                  <a:pt x="250" y="0"/>
                </a:lnTo>
                <a:lnTo>
                  <a:pt x="114" y="314"/>
                </a:lnTo>
                <a:lnTo>
                  <a:pt x="0" y="581"/>
                </a:lnTo>
                <a:lnTo>
                  <a:pt x="228" y="581"/>
                </a:lnTo>
                <a:lnTo>
                  <a:pt x="47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6" name="Freeform 20">
            <a:extLst>
              <a:ext uri="{FF2B5EF4-FFF2-40B4-BE49-F238E27FC236}">
                <a16:creationId xmlns:a16="http://schemas.microsoft.com/office/drawing/2014/main" id="{A1355037-CF2B-4F9D-85D1-C28805C8D239}"/>
              </a:ext>
            </a:extLst>
          </p:cNvPr>
          <p:cNvSpPr>
            <a:spLocks/>
          </p:cNvSpPr>
          <p:nvPr/>
        </p:nvSpPr>
        <p:spPr bwMode="auto">
          <a:xfrm>
            <a:off x="2397437" y="2874258"/>
            <a:ext cx="1517987" cy="1848259"/>
          </a:xfrm>
          <a:custGeom>
            <a:avLst/>
            <a:gdLst>
              <a:gd name="T0" fmla="*/ 249 w 478"/>
              <a:gd name="T1" fmla="*/ 0 h 582"/>
              <a:gd name="T2" fmla="*/ 0 w 478"/>
              <a:gd name="T3" fmla="*/ 582 h 582"/>
              <a:gd name="T4" fmla="*/ 230 w 478"/>
              <a:gd name="T5" fmla="*/ 582 h 582"/>
              <a:gd name="T6" fmla="*/ 478 w 478"/>
              <a:gd name="T7" fmla="*/ 0 h 582"/>
              <a:gd name="T8" fmla="*/ 249 w 478"/>
              <a:gd name="T9" fmla="*/ 0 h 582"/>
            </a:gdLst>
            <a:ahLst/>
            <a:cxnLst>
              <a:cxn ang="0">
                <a:pos x="T0" y="T1"/>
              </a:cxn>
              <a:cxn ang="0">
                <a:pos x="T2" y="T3"/>
              </a:cxn>
              <a:cxn ang="0">
                <a:pos x="T4" y="T5"/>
              </a:cxn>
              <a:cxn ang="0">
                <a:pos x="T6" y="T7"/>
              </a:cxn>
              <a:cxn ang="0">
                <a:pos x="T8" y="T9"/>
              </a:cxn>
            </a:cxnLst>
            <a:rect l="0" t="0" r="r" b="b"/>
            <a:pathLst>
              <a:path w="478" h="582">
                <a:moveTo>
                  <a:pt x="249" y="0"/>
                </a:moveTo>
                <a:lnTo>
                  <a:pt x="0" y="582"/>
                </a:lnTo>
                <a:lnTo>
                  <a:pt x="230" y="582"/>
                </a:lnTo>
                <a:lnTo>
                  <a:pt x="478" y="0"/>
                </a:lnTo>
                <a:lnTo>
                  <a:pt x="24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7" name="Freeform 22">
            <a:extLst>
              <a:ext uri="{FF2B5EF4-FFF2-40B4-BE49-F238E27FC236}">
                <a16:creationId xmlns:a16="http://schemas.microsoft.com/office/drawing/2014/main" id="{5EE56E19-4AD3-4935-855D-EBD11195F8C9}"/>
              </a:ext>
            </a:extLst>
          </p:cNvPr>
          <p:cNvSpPr>
            <a:spLocks/>
          </p:cNvSpPr>
          <p:nvPr/>
        </p:nvSpPr>
        <p:spPr bwMode="auto">
          <a:xfrm>
            <a:off x="2397437" y="2874258"/>
            <a:ext cx="1517987" cy="1848259"/>
          </a:xfrm>
          <a:custGeom>
            <a:avLst/>
            <a:gdLst>
              <a:gd name="T0" fmla="*/ 478 w 478"/>
              <a:gd name="T1" fmla="*/ 0 h 582"/>
              <a:gd name="T2" fmla="*/ 249 w 478"/>
              <a:gd name="T3" fmla="*/ 0 h 582"/>
              <a:gd name="T4" fmla="*/ 0 w 478"/>
              <a:gd name="T5" fmla="*/ 582 h 582"/>
              <a:gd name="T6" fmla="*/ 230 w 478"/>
              <a:gd name="T7" fmla="*/ 582 h 582"/>
              <a:gd name="T8" fmla="*/ 478 w 478"/>
              <a:gd name="T9" fmla="*/ 0 h 582"/>
            </a:gdLst>
            <a:ahLst/>
            <a:cxnLst>
              <a:cxn ang="0">
                <a:pos x="T0" y="T1"/>
              </a:cxn>
              <a:cxn ang="0">
                <a:pos x="T2" y="T3"/>
              </a:cxn>
              <a:cxn ang="0">
                <a:pos x="T4" y="T5"/>
              </a:cxn>
              <a:cxn ang="0">
                <a:pos x="T6" y="T7"/>
              </a:cxn>
              <a:cxn ang="0">
                <a:pos x="T8" y="T9"/>
              </a:cxn>
            </a:cxnLst>
            <a:rect l="0" t="0" r="r" b="b"/>
            <a:pathLst>
              <a:path w="478" h="582">
                <a:moveTo>
                  <a:pt x="478" y="0"/>
                </a:moveTo>
                <a:lnTo>
                  <a:pt x="249" y="0"/>
                </a:lnTo>
                <a:lnTo>
                  <a:pt x="0" y="582"/>
                </a:lnTo>
                <a:lnTo>
                  <a:pt x="230" y="582"/>
                </a:lnTo>
                <a:lnTo>
                  <a:pt x="47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9" name="Freeform 9">
            <a:extLst>
              <a:ext uri="{FF2B5EF4-FFF2-40B4-BE49-F238E27FC236}">
                <a16:creationId xmlns:a16="http://schemas.microsoft.com/office/drawing/2014/main" id="{0D6C1A4A-5864-45E9-A65E-581124EEBFC1}"/>
              </a:ext>
            </a:extLst>
          </p:cNvPr>
          <p:cNvSpPr>
            <a:spLocks/>
          </p:cNvSpPr>
          <p:nvPr/>
        </p:nvSpPr>
        <p:spPr bwMode="auto">
          <a:xfrm>
            <a:off x="2986491" y="3074327"/>
            <a:ext cx="1330621" cy="1400486"/>
          </a:xfrm>
          <a:custGeom>
            <a:avLst/>
            <a:gdLst>
              <a:gd name="T0" fmla="*/ 229 w 419"/>
              <a:gd name="T1" fmla="*/ 0 h 441"/>
              <a:gd name="T2" fmla="*/ 419 w 419"/>
              <a:gd name="T3" fmla="*/ 441 h 441"/>
              <a:gd name="T4" fmla="*/ 191 w 419"/>
              <a:gd name="T5" fmla="*/ 441 h 441"/>
              <a:gd name="T6" fmla="*/ 0 w 419"/>
              <a:gd name="T7" fmla="*/ 0 h 441"/>
              <a:gd name="T8" fmla="*/ 229 w 419"/>
              <a:gd name="T9" fmla="*/ 0 h 441"/>
            </a:gdLst>
            <a:ahLst/>
            <a:cxnLst>
              <a:cxn ang="0">
                <a:pos x="T0" y="T1"/>
              </a:cxn>
              <a:cxn ang="0">
                <a:pos x="T2" y="T3"/>
              </a:cxn>
              <a:cxn ang="0">
                <a:pos x="T4" y="T5"/>
              </a:cxn>
              <a:cxn ang="0">
                <a:pos x="T6" y="T7"/>
              </a:cxn>
              <a:cxn ang="0">
                <a:pos x="T8" y="T9"/>
              </a:cxn>
            </a:cxnLst>
            <a:rect l="0" t="0" r="r" b="b"/>
            <a:pathLst>
              <a:path w="419" h="441">
                <a:moveTo>
                  <a:pt x="229" y="0"/>
                </a:moveTo>
                <a:lnTo>
                  <a:pt x="419" y="441"/>
                </a:lnTo>
                <a:lnTo>
                  <a:pt x="191" y="441"/>
                </a:lnTo>
                <a:lnTo>
                  <a:pt x="0" y="0"/>
                </a:lnTo>
                <a:lnTo>
                  <a:pt x="229" y="0"/>
                </a:lnTo>
                <a:close/>
              </a:path>
            </a:pathLst>
          </a:custGeom>
          <a:gradFill flip="none" rotWithShape="1">
            <a:gsLst>
              <a:gs pos="44000">
                <a:schemeClr val="accent1"/>
              </a:gs>
              <a:gs pos="100000">
                <a:schemeClr val="accent1">
                  <a:lumMod val="60000"/>
                  <a:lumOff val="40000"/>
                </a:schemeClr>
              </a:gs>
            </a:gsLst>
            <a:lin ang="2700000" scaled="1"/>
            <a:tileRect/>
          </a:gradFill>
          <a:ln>
            <a:noFill/>
          </a:ln>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22222"/>
              </a:solidFill>
              <a:effectLst/>
              <a:uLnTx/>
              <a:uFillTx/>
              <a:latin typeface="HarmonyOS Sans SC"/>
              <a:cs typeface="+mn-cs"/>
            </a:endParaRPr>
          </a:p>
        </p:txBody>
      </p:sp>
      <p:sp>
        <p:nvSpPr>
          <p:cNvPr id="10" name="Freeform 21">
            <a:extLst>
              <a:ext uri="{FF2B5EF4-FFF2-40B4-BE49-F238E27FC236}">
                <a16:creationId xmlns:a16="http://schemas.microsoft.com/office/drawing/2014/main" id="{AB543BA8-C7F1-4F58-9191-7466A3405A2A}"/>
              </a:ext>
            </a:extLst>
          </p:cNvPr>
          <p:cNvSpPr>
            <a:spLocks/>
          </p:cNvSpPr>
          <p:nvPr/>
        </p:nvSpPr>
        <p:spPr bwMode="auto">
          <a:xfrm>
            <a:off x="2195739" y="3074327"/>
            <a:ext cx="1517987" cy="1848259"/>
          </a:xfrm>
          <a:custGeom>
            <a:avLst/>
            <a:gdLst>
              <a:gd name="T0" fmla="*/ 478 w 478"/>
              <a:gd name="T1" fmla="*/ 0 h 582"/>
              <a:gd name="T2" fmla="*/ 249 w 478"/>
              <a:gd name="T3" fmla="*/ 0 h 582"/>
              <a:gd name="T4" fmla="*/ 0 w 478"/>
              <a:gd name="T5" fmla="*/ 582 h 582"/>
              <a:gd name="T6" fmla="*/ 230 w 478"/>
              <a:gd name="T7" fmla="*/ 582 h 582"/>
              <a:gd name="T8" fmla="*/ 478 w 478"/>
              <a:gd name="T9" fmla="*/ 0 h 582"/>
            </a:gdLst>
            <a:ahLst/>
            <a:cxnLst>
              <a:cxn ang="0">
                <a:pos x="T0" y="T1"/>
              </a:cxn>
              <a:cxn ang="0">
                <a:pos x="T2" y="T3"/>
              </a:cxn>
              <a:cxn ang="0">
                <a:pos x="T4" y="T5"/>
              </a:cxn>
              <a:cxn ang="0">
                <a:pos x="T6" y="T7"/>
              </a:cxn>
              <a:cxn ang="0">
                <a:pos x="T8" y="T9"/>
              </a:cxn>
            </a:cxnLst>
            <a:rect l="0" t="0" r="r" b="b"/>
            <a:pathLst>
              <a:path w="478" h="582">
                <a:moveTo>
                  <a:pt x="478" y="0"/>
                </a:moveTo>
                <a:lnTo>
                  <a:pt x="249" y="0"/>
                </a:lnTo>
                <a:lnTo>
                  <a:pt x="0" y="582"/>
                </a:lnTo>
                <a:lnTo>
                  <a:pt x="230" y="582"/>
                </a:lnTo>
                <a:lnTo>
                  <a:pt x="478" y="0"/>
                </a:lnTo>
                <a:close/>
              </a:path>
            </a:pathLst>
          </a:custGeom>
          <a:gradFill flip="none" rotWithShape="1">
            <a:gsLst>
              <a:gs pos="100000">
                <a:schemeClr val="accent1"/>
              </a:gs>
              <a:gs pos="31000">
                <a:schemeClr val="accent1">
                  <a:lumMod val="60000"/>
                  <a:lumOff val="40000"/>
                </a:schemeClr>
              </a:gs>
              <a:gs pos="0">
                <a:schemeClr val="accent1">
                  <a:lumMod val="40000"/>
                  <a:lumOff val="60000"/>
                </a:schemeClr>
              </a:gs>
            </a:gsLst>
            <a:lin ang="5400000" scaled="1"/>
            <a:tileRect/>
          </a:gra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22222"/>
              </a:solidFill>
              <a:effectLst/>
              <a:uLnTx/>
              <a:uFillTx/>
              <a:latin typeface="HarmonyOS Sans SC"/>
              <a:cs typeface="+mn-cs"/>
            </a:endParaRPr>
          </a:p>
        </p:txBody>
      </p:sp>
      <p:sp>
        <p:nvSpPr>
          <p:cNvPr id="12" name="Freeform 7">
            <a:extLst>
              <a:ext uri="{FF2B5EF4-FFF2-40B4-BE49-F238E27FC236}">
                <a16:creationId xmlns:a16="http://schemas.microsoft.com/office/drawing/2014/main" id="{0D280C04-F8B1-41C9-B31E-F248BE4BCEC7}"/>
              </a:ext>
            </a:extLst>
          </p:cNvPr>
          <p:cNvSpPr>
            <a:spLocks/>
          </p:cNvSpPr>
          <p:nvPr/>
        </p:nvSpPr>
        <p:spPr bwMode="auto">
          <a:xfrm>
            <a:off x="4386975" y="2629728"/>
            <a:ext cx="1330621" cy="1397310"/>
          </a:xfrm>
          <a:custGeom>
            <a:avLst/>
            <a:gdLst>
              <a:gd name="T0" fmla="*/ 228 w 419"/>
              <a:gd name="T1" fmla="*/ 0 h 440"/>
              <a:gd name="T2" fmla="*/ 419 w 419"/>
              <a:gd name="T3" fmla="*/ 440 h 440"/>
              <a:gd name="T4" fmla="*/ 190 w 419"/>
              <a:gd name="T5" fmla="*/ 440 h 440"/>
              <a:gd name="T6" fmla="*/ 0 w 419"/>
              <a:gd name="T7" fmla="*/ 0 h 440"/>
              <a:gd name="T8" fmla="*/ 228 w 419"/>
              <a:gd name="T9" fmla="*/ 0 h 440"/>
            </a:gdLst>
            <a:ahLst/>
            <a:cxnLst>
              <a:cxn ang="0">
                <a:pos x="T0" y="T1"/>
              </a:cxn>
              <a:cxn ang="0">
                <a:pos x="T2" y="T3"/>
              </a:cxn>
              <a:cxn ang="0">
                <a:pos x="T4" y="T5"/>
              </a:cxn>
              <a:cxn ang="0">
                <a:pos x="T6" y="T7"/>
              </a:cxn>
              <a:cxn ang="0">
                <a:pos x="T8" y="T9"/>
              </a:cxn>
            </a:cxnLst>
            <a:rect l="0" t="0" r="r" b="b"/>
            <a:pathLst>
              <a:path w="419" h="440">
                <a:moveTo>
                  <a:pt x="228" y="0"/>
                </a:moveTo>
                <a:lnTo>
                  <a:pt x="419" y="440"/>
                </a:lnTo>
                <a:lnTo>
                  <a:pt x="190" y="440"/>
                </a:lnTo>
                <a:lnTo>
                  <a:pt x="0" y="0"/>
                </a:lnTo>
                <a:lnTo>
                  <a:pt x="228" y="0"/>
                </a:lnTo>
                <a:close/>
              </a:path>
            </a:pathLst>
          </a:custGeom>
          <a:gradFill flip="none" rotWithShape="1">
            <a:gsLst>
              <a:gs pos="44000">
                <a:schemeClr val="accent1"/>
              </a:gs>
              <a:gs pos="100000">
                <a:schemeClr val="accent1">
                  <a:lumMod val="60000"/>
                  <a:lumOff val="40000"/>
                </a:schemeClr>
              </a:gs>
            </a:gsLst>
            <a:lin ang="2700000" scaled="1"/>
            <a:tileRect/>
          </a:gradFill>
          <a:ln>
            <a:noFill/>
          </a:ln>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22222"/>
              </a:solidFill>
              <a:effectLst/>
              <a:uLnTx/>
              <a:uFillTx/>
              <a:latin typeface="HarmonyOS Sans SC"/>
              <a:cs typeface="+mn-cs"/>
            </a:endParaRPr>
          </a:p>
        </p:txBody>
      </p:sp>
      <p:sp>
        <p:nvSpPr>
          <p:cNvPr id="13" name="Freeform 17">
            <a:extLst>
              <a:ext uri="{FF2B5EF4-FFF2-40B4-BE49-F238E27FC236}">
                <a16:creationId xmlns:a16="http://schemas.microsoft.com/office/drawing/2014/main" id="{C8E91011-0835-4F30-9DAF-11D1791C72DF}"/>
              </a:ext>
            </a:extLst>
          </p:cNvPr>
          <p:cNvSpPr>
            <a:spLocks/>
          </p:cNvSpPr>
          <p:nvPr/>
        </p:nvSpPr>
        <p:spPr bwMode="auto">
          <a:xfrm>
            <a:off x="3593049" y="2629728"/>
            <a:ext cx="1517987" cy="1845085"/>
          </a:xfrm>
          <a:custGeom>
            <a:avLst/>
            <a:gdLst>
              <a:gd name="T0" fmla="*/ 478 w 478"/>
              <a:gd name="T1" fmla="*/ 0 h 581"/>
              <a:gd name="T2" fmla="*/ 250 w 478"/>
              <a:gd name="T3" fmla="*/ 0 h 581"/>
              <a:gd name="T4" fmla="*/ 114 w 478"/>
              <a:gd name="T5" fmla="*/ 314 h 581"/>
              <a:gd name="T6" fmla="*/ 0 w 478"/>
              <a:gd name="T7" fmla="*/ 581 h 581"/>
              <a:gd name="T8" fmla="*/ 228 w 478"/>
              <a:gd name="T9" fmla="*/ 581 h 581"/>
              <a:gd name="T10" fmla="*/ 478 w 478"/>
              <a:gd name="T11" fmla="*/ 0 h 581"/>
            </a:gdLst>
            <a:ahLst/>
            <a:cxnLst>
              <a:cxn ang="0">
                <a:pos x="T0" y="T1"/>
              </a:cxn>
              <a:cxn ang="0">
                <a:pos x="T2" y="T3"/>
              </a:cxn>
              <a:cxn ang="0">
                <a:pos x="T4" y="T5"/>
              </a:cxn>
              <a:cxn ang="0">
                <a:pos x="T6" y="T7"/>
              </a:cxn>
              <a:cxn ang="0">
                <a:pos x="T8" y="T9"/>
              </a:cxn>
              <a:cxn ang="0">
                <a:pos x="T10" y="T11"/>
              </a:cxn>
            </a:cxnLst>
            <a:rect l="0" t="0" r="r" b="b"/>
            <a:pathLst>
              <a:path w="478" h="581">
                <a:moveTo>
                  <a:pt x="478" y="0"/>
                </a:moveTo>
                <a:lnTo>
                  <a:pt x="250" y="0"/>
                </a:lnTo>
                <a:lnTo>
                  <a:pt x="114" y="314"/>
                </a:lnTo>
                <a:lnTo>
                  <a:pt x="0" y="581"/>
                </a:lnTo>
                <a:lnTo>
                  <a:pt x="228" y="581"/>
                </a:lnTo>
                <a:lnTo>
                  <a:pt x="478" y="0"/>
                </a:lnTo>
                <a:close/>
              </a:path>
            </a:pathLst>
          </a:custGeom>
          <a:gradFill flip="none" rotWithShape="1">
            <a:gsLst>
              <a:gs pos="100000">
                <a:schemeClr val="accent1"/>
              </a:gs>
              <a:gs pos="31000">
                <a:schemeClr val="accent1">
                  <a:lumMod val="60000"/>
                  <a:lumOff val="40000"/>
                </a:schemeClr>
              </a:gs>
              <a:gs pos="0">
                <a:schemeClr val="accent1">
                  <a:lumMod val="40000"/>
                  <a:lumOff val="60000"/>
                </a:schemeClr>
              </a:gs>
            </a:gsLst>
            <a:lin ang="5400000" scaled="1"/>
            <a:tileRect/>
          </a:gra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22222"/>
              </a:solidFill>
              <a:effectLst/>
              <a:uLnTx/>
              <a:uFillTx/>
              <a:latin typeface="HarmonyOS Sans SC"/>
              <a:cs typeface="+mn-cs"/>
            </a:endParaRPr>
          </a:p>
        </p:txBody>
      </p:sp>
      <p:sp>
        <p:nvSpPr>
          <p:cNvPr id="16" name="Freeform 5">
            <a:extLst>
              <a:ext uri="{FF2B5EF4-FFF2-40B4-BE49-F238E27FC236}">
                <a16:creationId xmlns:a16="http://schemas.microsoft.com/office/drawing/2014/main" id="{74212D37-03E6-467F-B3A7-7EBB0CF08558}"/>
              </a:ext>
            </a:extLst>
          </p:cNvPr>
          <p:cNvSpPr>
            <a:spLocks/>
          </p:cNvSpPr>
          <p:nvPr/>
        </p:nvSpPr>
        <p:spPr bwMode="auto">
          <a:xfrm>
            <a:off x="5784284" y="2181954"/>
            <a:ext cx="1330621" cy="1400486"/>
          </a:xfrm>
          <a:custGeom>
            <a:avLst/>
            <a:gdLst>
              <a:gd name="T0" fmla="*/ 229 w 419"/>
              <a:gd name="T1" fmla="*/ 0 h 441"/>
              <a:gd name="T2" fmla="*/ 419 w 419"/>
              <a:gd name="T3" fmla="*/ 441 h 441"/>
              <a:gd name="T4" fmla="*/ 191 w 419"/>
              <a:gd name="T5" fmla="*/ 441 h 441"/>
              <a:gd name="T6" fmla="*/ 0 w 419"/>
              <a:gd name="T7" fmla="*/ 0 h 441"/>
              <a:gd name="T8" fmla="*/ 105 w 419"/>
              <a:gd name="T9" fmla="*/ 0 h 441"/>
              <a:gd name="T10" fmla="*/ 229 w 419"/>
              <a:gd name="T11" fmla="*/ 0 h 441"/>
            </a:gdLst>
            <a:ahLst/>
            <a:cxnLst>
              <a:cxn ang="0">
                <a:pos x="T0" y="T1"/>
              </a:cxn>
              <a:cxn ang="0">
                <a:pos x="T2" y="T3"/>
              </a:cxn>
              <a:cxn ang="0">
                <a:pos x="T4" y="T5"/>
              </a:cxn>
              <a:cxn ang="0">
                <a:pos x="T6" y="T7"/>
              </a:cxn>
              <a:cxn ang="0">
                <a:pos x="T8" y="T9"/>
              </a:cxn>
              <a:cxn ang="0">
                <a:pos x="T10" y="T11"/>
              </a:cxn>
            </a:cxnLst>
            <a:rect l="0" t="0" r="r" b="b"/>
            <a:pathLst>
              <a:path w="419" h="441">
                <a:moveTo>
                  <a:pt x="229" y="0"/>
                </a:moveTo>
                <a:lnTo>
                  <a:pt x="419" y="441"/>
                </a:lnTo>
                <a:lnTo>
                  <a:pt x="191" y="441"/>
                </a:lnTo>
                <a:lnTo>
                  <a:pt x="0" y="0"/>
                </a:lnTo>
                <a:lnTo>
                  <a:pt x="105" y="0"/>
                </a:lnTo>
                <a:lnTo>
                  <a:pt x="229" y="0"/>
                </a:lnTo>
                <a:close/>
              </a:path>
            </a:pathLst>
          </a:custGeom>
          <a:gradFill flip="none" rotWithShape="1">
            <a:gsLst>
              <a:gs pos="44000">
                <a:schemeClr val="accent1"/>
              </a:gs>
              <a:gs pos="100000">
                <a:schemeClr val="accent1">
                  <a:lumMod val="60000"/>
                  <a:lumOff val="40000"/>
                </a:schemeClr>
              </a:gs>
            </a:gsLst>
            <a:lin ang="2700000" scaled="1"/>
            <a:tileRect/>
          </a:gradFill>
          <a:ln>
            <a:noFill/>
          </a:ln>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22222"/>
              </a:solidFill>
              <a:effectLst/>
              <a:uLnTx/>
              <a:uFillTx/>
              <a:latin typeface="HarmonyOS Sans SC"/>
              <a:cs typeface="+mn-cs"/>
            </a:endParaRPr>
          </a:p>
        </p:txBody>
      </p:sp>
      <p:sp>
        <p:nvSpPr>
          <p:cNvPr id="17" name="Freeform 13">
            <a:extLst>
              <a:ext uri="{FF2B5EF4-FFF2-40B4-BE49-F238E27FC236}">
                <a16:creationId xmlns:a16="http://schemas.microsoft.com/office/drawing/2014/main" id="{D1466245-9F90-452F-ACE8-0DE16B32040B}"/>
              </a:ext>
            </a:extLst>
          </p:cNvPr>
          <p:cNvSpPr>
            <a:spLocks/>
          </p:cNvSpPr>
          <p:nvPr/>
        </p:nvSpPr>
        <p:spPr bwMode="auto">
          <a:xfrm>
            <a:off x="4984008" y="2181954"/>
            <a:ext cx="1517987" cy="1845085"/>
          </a:xfrm>
          <a:custGeom>
            <a:avLst/>
            <a:gdLst>
              <a:gd name="T0" fmla="*/ 478 w 478"/>
              <a:gd name="T1" fmla="*/ 0 h 581"/>
              <a:gd name="T2" fmla="*/ 250 w 478"/>
              <a:gd name="T3" fmla="*/ 0 h 581"/>
              <a:gd name="T4" fmla="*/ 117 w 478"/>
              <a:gd name="T5" fmla="*/ 312 h 581"/>
              <a:gd name="T6" fmla="*/ 2 w 478"/>
              <a:gd name="T7" fmla="*/ 579 h 581"/>
              <a:gd name="T8" fmla="*/ 0 w 478"/>
              <a:gd name="T9" fmla="*/ 581 h 581"/>
              <a:gd name="T10" fmla="*/ 231 w 478"/>
              <a:gd name="T11" fmla="*/ 581 h 581"/>
              <a:gd name="T12" fmla="*/ 478 w 478"/>
              <a:gd name="T13" fmla="*/ 0 h 581"/>
            </a:gdLst>
            <a:ahLst/>
            <a:cxnLst>
              <a:cxn ang="0">
                <a:pos x="T0" y="T1"/>
              </a:cxn>
              <a:cxn ang="0">
                <a:pos x="T2" y="T3"/>
              </a:cxn>
              <a:cxn ang="0">
                <a:pos x="T4" y="T5"/>
              </a:cxn>
              <a:cxn ang="0">
                <a:pos x="T6" y="T7"/>
              </a:cxn>
              <a:cxn ang="0">
                <a:pos x="T8" y="T9"/>
              </a:cxn>
              <a:cxn ang="0">
                <a:pos x="T10" y="T11"/>
              </a:cxn>
              <a:cxn ang="0">
                <a:pos x="T12" y="T13"/>
              </a:cxn>
            </a:cxnLst>
            <a:rect l="0" t="0" r="r" b="b"/>
            <a:pathLst>
              <a:path w="478" h="581">
                <a:moveTo>
                  <a:pt x="478" y="0"/>
                </a:moveTo>
                <a:lnTo>
                  <a:pt x="250" y="0"/>
                </a:lnTo>
                <a:lnTo>
                  <a:pt x="117" y="312"/>
                </a:lnTo>
                <a:lnTo>
                  <a:pt x="2" y="579"/>
                </a:lnTo>
                <a:lnTo>
                  <a:pt x="0" y="581"/>
                </a:lnTo>
                <a:lnTo>
                  <a:pt x="231" y="581"/>
                </a:lnTo>
                <a:lnTo>
                  <a:pt x="478" y="0"/>
                </a:lnTo>
                <a:close/>
              </a:path>
            </a:pathLst>
          </a:custGeom>
          <a:gradFill flip="none" rotWithShape="1">
            <a:gsLst>
              <a:gs pos="100000">
                <a:schemeClr val="accent1"/>
              </a:gs>
              <a:gs pos="31000">
                <a:schemeClr val="accent1">
                  <a:lumMod val="60000"/>
                  <a:lumOff val="40000"/>
                </a:schemeClr>
              </a:gs>
              <a:gs pos="0">
                <a:schemeClr val="accent1">
                  <a:lumMod val="40000"/>
                  <a:lumOff val="60000"/>
                </a:schemeClr>
              </a:gs>
            </a:gsLst>
            <a:lin ang="5400000" scaled="1"/>
            <a:tileRect/>
          </a:gra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22222"/>
              </a:solidFill>
              <a:effectLst/>
              <a:uLnTx/>
              <a:uFillTx/>
              <a:latin typeface="HarmonyOS Sans SC"/>
              <a:cs typeface="+mn-cs"/>
            </a:endParaRPr>
          </a:p>
        </p:txBody>
      </p:sp>
      <p:sp>
        <p:nvSpPr>
          <p:cNvPr id="18" name="Freeform 25">
            <a:extLst>
              <a:ext uri="{FF2B5EF4-FFF2-40B4-BE49-F238E27FC236}">
                <a16:creationId xmlns:a16="http://schemas.microsoft.com/office/drawing/2014/main" id="{4B5CFDD5-9B28-46A9-8E00-8942C0F6EE6E}"/>
              </a:ext>
            </a:extLst>
          </p:cNvPr>
          <p:cNvSpPr>
            <a:spLocks/>
          </p:cNvSpPr>
          <p:nvPr/>
        </p:nvSpPr>
        <p:spPr bwMode="auto">
          <a:xfrm>
            <a:off x="6390846" y="825928"/>
            <a:ext cx="1927654" cy="2756512"/>
          </a:xfrm>
          <a:custGeom>
            <a:avLst/>
            <a:gdLst>
              <a:gd name="T0" fmla="*/ 492 w 607"/>
              <a:gd name="T1" fmla="*/ 0 h 868"/>
              <a:gd name="T2" fmla="*/ 154 w 607"/>
              <a:gd name="T3" fmla="*/ 258 h 868"/>
              <a:gd name="T4" fmla="*/ 266 w 607"/>
              <a:gd name="T5" fmla="*/ 258 h 868"/>
              <a:gd name="T6" fmla="*/ 114 w 607"/>
              <a:gd name="T7" fmla="*/ 603 h 868"/>
              <a:gd name="T8" fmla="*/ 0 w 607"/>
              <a:gd name="T9" fmla="*/ 868 h 868"/>
              <a:gd name="T10" fmla="*/ 228 w 607"/>
              <a:gd name="T11" fmla="*/ 868 h 868"/>
              <a:gd name="T12" fmla="*/ 495 w 607"/>
              <a:gd name="T13" fmla="*/ 258 h 868"/>
              <a:gd name="T14" fmla="*/ 607 w 607"/>
              <a:gd name="T15" fmla="*/ 258 h 868"/>
              <a:gd name="T16" fmla="*/ 492 w 607"/>
              <a:gd name="T17" fmla="*/ 0 h 8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07" h="868">
                <a:moveTo>
                  <a:pt x="492" y="0"/>
                </a:moveTo>
                <a:lnTo>
                  <a:pt x="154" y="258"/>
                </a:lnTo>
                <a:lnTo>
                  <a:pt x="266" y="258"/>
                </a:lnTo>
                <a:lnTo>
                  <a:pt x="114" y="603"/>
                </a:lnTo>
                <a:lnTo>
                  <a:pt x="0" y="868"/>
                </a:lnTo>
                <a:lnTo>
                  <a:pt x="228" y="868"/>
                </a:lnTo>
                <a:lnTo>
                  <a:pt x="495" y="258"/>
                </a:lnTo>
                <a:lnTo>
                  <a:pt x="607" y="258"/>
                </a:lnTo>
                <a:lnTo>
                  <a:pt x="492" y="0"/>
                </a:lnTo>
                <a:close/>
              </a:path>
            </a:pathLst>
          </a:custGeom>
          <a:gradFill flip="none" rotWithShape="1">
            <a:gsLst>
              <a:gs pos="100000">
                <a:schemeClr val="accent1"/>
              </a:gs>
              <a:gs pos="31000">
                <a:schemeClr val="accent1">
                  <a:lumMod val="60000"/>
                  <a:lumOff val="40000"/>
                </a:schemeClr>
              </a:gs>
              <a:gs pos="0">
                <a:schemeClr val="accent1">
                  <a:lumMod val="40000"/>
                  <a:lumOff val="60000"/>
                </a:schemeClr>
              </a:gs>
            </a:gsLst>
            <a:lin ang="5400000" scaled="1"/>
            <a:tileRect/>
          </a:gra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22222"/>
              </a:solidFill>
              <a:effectLst/>
              <a:uLnTx/>
              <a:uFillTx/>
              <a:latin typeface="HarmonyOS Sans SC"/>
              <a:cs typeface="+mn-cs"/>
            </a:endParaRPr>
          </a:p>
        </p:txBody>
      </p:sp>
      <p:sp>
        <p:nvSpPr>
          <p:cNvPr id="24" name="TextBox 65">
            <a:extLst>
              <a:ext uri="{FF2B5EF4-FFF2-40B4-BE49-F238E27FC236}">
                <a16:creationId xmlns:a16="http://schemas.microsoft.com/office/drawing/2014/main" id="{591A0857-5737-4440-8319-510BA2D920D0}"/>
              </a:ext>
            </a:extLst>
          </p:cNvPr>
          <p:cNvSpPr txBox="1"/>
          <p:nvPr/>
        </p:nvSpPr>
        <p:spPr>
          <a:xfrm>
            <a:off x="2409739" y="4322837"/>
            <a:ext cx="546946" cy="481982"/>
          </a:xfrm>
          <a:prstGeom prst="rect">
            <a:avLst/>
          </a:prstGeom>
          <a:noFill/>
        </p:spPr>
        <p:txBody>
          <a:bodyPr wrap="square" lIns="0" tIns="36000" rIns="0" bIns="36000" rtlCol="0">
            <a:spAutoFit/>
          </a:bodyPr>
          <a:lstStyle/>
          <a:p>
            <a:pPr marL="0" marR="0" lvl="0" indent="0" algn="ctr" defTabSz="914400" rtl="0" eaLnBrk="1" fontAlgn="auto" latinLnBrk="0" hangingPunct="1">
              <a:lnSpc>
                <a:spcPct val="120000"/>
              </a:lnSpc>
              <a:spcBef>
                <a:spcPts val="600"/>
              </a:spcBef>
              <a:spcAft>
                <a:spcPts val="0"/>
              </a:spcAft>
              <a:buClrTx/>
              <a:buSzTx/>
              <a:buFontTx/>
              <a:buNone/>
              <a:tabLst/>
              <a:defRPr/>
            </a:pPr>
            <a:r>
              <a:rPr kumimoji="0" lang="en-US" altLang="zh-CN" sz="2400" b="0" i="0" u="none" strike="noStrike" kern="1200" cap="none" spc="0" normalizeH="0" baseline="0" noProof="0" dirty="0">
                <a:ln>
                  <a:noFill/>
                </a:ln>
                <a:solidFill>
                  <a:prstClr val="white"/>
                </a:solidFill>
                <a:effectLst/>
                <a:uLnTx/>
                <a:uFillTx/>
                <a:latin typeface="HarmonyOS Sans SC"/>
                <a:cs typeface="+mn-cs"/>
              </a:rPr>
              <a:t>1</a:t>
            </a:r>
            <a:endParaRPr kumimoji="0" lang="en-US" sz="2400" b="0" i="0" u="none" strike="noStrike" kern="1200" cap="none" spc="0" normalizeH="0" baseline="0" noProof="0" dirty="0">
              <a:ln>
                <a:noFill/>
              </a:ln>
              <a:solidFill>
                <a:prstClr val="white"/>
              </a:solidFill>
              <a:effectLst/>
              <a:uLnTx/>
              <a:uFillTx/>
              <a:latin typeface="HarmonyOS Sans SC"/>
              <a:cs typeface="+mn-cs"/>
            </a:endParaRPr>
          </a:p>
        </p:txBody>
      </p:sp>
      <p:sp>
        <p:nvSpPr>
          <p:cNvPr id="26" name="TextBox 65">
            <a:extLst>
              <a:ext uri="{FF2B5EF4-FFF2-40B4-BE49-F238E27FC236}">
                <a16:creationId xmlns:a16="http://schemas.microsoft.com/office/drawing/2014/main" id="{BA284BA2-DF57-4397-96A2-3599FBF47546}"/>
              </a:ext>
            </a:extLst>
          </p:cNvPr>
          <p:cNvSpPr txBox="1"/>
          <p:nvPr/>
        </p:nvSpPr>
        <p:spPr>
          <a:xfrm>
            <a:off x="3828257" y="3875692"/>
            <a:ext cx="546946" cy="481982"/>
          </a:xfrm>
          <a:prstGeom prst="rect">
            <a:avLst/>
          </a:prstGeom>
          <a:noFill/>
        </p:spPr>
        <p:txBody>
          <a:bodyPr wrap="square" lIns="0" tIns="36000" rIns="0" bIns="36000" rtlCol="0">
            <a:spAutoFit/>
          </a:bodyPr>
          <a:lstStyle/>
          <a:p>
            <a:pPr marL="0" marR="0" lvl="0" indent="0" algn="ctr" defTabSz="914400" rtl="0" eaLnBrk="1" fontAlgn="auto" latinLnBrk="0" hangingPunct="1">
              <a:lnSpc>
                <a:spcPct val="120000"/>
              </a:lnSpc>
              <a:spcBef>
                <a:spcPts val="600"/>
              </a:spcBef>
              <a:spcAft>
                <a:spcPts val="0"/>
              </a:spcAft>
              <a:buClrTx/>
              <a:buSzTx/>
              <a:buFontTx/>
              <a:buNone/>
              <a:tabLst/>
              <a:defRPr/>
            </a:pPr>
            <a:r>
              <a:rPr kumimoji="0" lang="en-US" altLang="zh-CN" sz="2400" b="0" i="0" u="none" strike="noStrike" kern="1200" cap="none" spc="0" normalizeH="0" baseline="0" noProof="0" dirty="0">
                <a:ln>
                  <a:noFill/>
                </a:ln>
                <a:solidFill>
                  <a:prstClr val="white"/>
                </a:solidFill>
                <a:effectLst/>
                <a:uLnTx/>
                <a:uFillTx/>
                <a:latin typeface="HarmonyOS Sans SC"/>
                <a:cs typeface="+mn-cs"/>
              </a:rPr>
              <a:t>2</a:t>
            </a:r>
            <a:endParaRPr kumimoji="0" lang="en-US" sz="2400" b="0" i="0" u="none" strike="noStrike" kern="1200" cap="none" spc="0" normalizeH="0" baseline="0" noProof="0" dirty="0">
              <a:ln>
                <a:noFill/>
              </a:ln>
              <a:solidFill>
                <a:prstClr val="white"/>
              </a:solidFill>
              <a:effectLst/>
              <a:uLnTx/>
              <a:uFillTx/>
              <a:latin typeface="HarmonyOS Sans SC"/>
              <a:cs typeface="+mn-cs"/>
            </a:endParaRPr>
          </a:p>
        </p:txBody>
      </p:sp>
      <p:sp>
        <p:nvSpPr>
          <p:cNvPr id="27" name="TextBox 65">
            <a:extLst>
              <a:ext uri="{FF2B5EF4-FFF2-40B4-BE49-F238E27FC236}">
                <a16:creationId xmlns:a16="http://schemas.microsoft.com/office/drawing/2014/main" id="{D4472946-CA3A-4BFD-A37E-4A545B6C7501}"/>
              </a:ext>
            </a:extLst>
          </p:cNvPr>
          <p:cNvSpPr txBox="1"/>
          <p:nvPr/>
        </p:nvSpPr>
        <p:spPr>
          <a:xfrm>
            <a:off x="5239251" y="3474322"/>
            <a:ext cx="546946" cy="481982"/>
          </a:xfrm>
          <a:prstGeom prst="rect">
            <a:avLst/>
          </a:prstGeom>
          <a:noFill/>
        </p:spPr>
        <p:txBody>
          <a:bodyPr wrap="square" lIns="0" tIns="36000" rIns="0" bIns="36000" rtlCol="0">
            <a:spAutoFit/>
          </a:bodyPr>
          <a:lstStyle/>
          <a:p>
            <a:pPr marL="0" marR="0" lvl="0" indent="0" algn="ctr" defTabSz="914400" rtl="0" eaLnBrk="1" fontAlgn="auto" latinLnBrk="0" hangingPunct="1">
              <a:lnSpc>
                <a:spcPct val="120000"/>
              </a:lnSpc>
              <a:spcBef>
                <a:spcPts val="600"/>
              </a:spcBef>
              <a:spcAft>
                <a:spcPts val="0"/>
              </a:spcAft>
              <a:buClrTx/>
              <a:buSzTx/>
              <a:buFontTx/>
              <a:buNone/>
              <a:tabLst/>
              <a:defRPr/>
            </a:pPr>
            <a:r>
              <a:rPr kumimoji="0" lang="en-US" altLang="zh-CN" sz="2400" b="0" i="0" u="none" strike="noStrike" kern="1200" cap="none" spc="0" normalizeH="0" baseline="0" noProof="0" dirty="0">
                <a:ln>
                  <a:noFill/>
                </a:ln>
                <a:solidFill>
                  <a:prstClr val="white"/>
                </a:solidFill>
                <a:effectLst/>
                <a:uLnTx/>
                <a:uFillTx/>
                <a:latin typeface="HarmonyOS Sans SC"/>
                <a:cs typeface="+mn-cs"/>
              </a:rPr>
              <a:t>3</a:t>
            </a:r>
            <a:endParaRPr kumimoji="0" lang="en-US" sz="2400" b="0" i="0" u="none" strike="noStrike" kern="1200" cap="none" spc="0" normalizeH="0" baseline="0" noProof="0" dirty="0">
              <a:ln>
                <a:noFill/>
              </a:ln>
              <a:solidFill>
                <a:prstClr val="white"/>
              </a:solidFill>
              <a:effectLst/>
              <a:uLnTx/>
              <a:uFillTx/>
              <a:latin typeface="HarmonyOS Sans SC"/>
              <a:cs typeface="+mn-cs"/>
            </a:endParaRPr>
          </a:p>
        </p:txBody>
      </p:sp>
      <p:sp>
        <p:nvSpPr>
          <p:cNvPr id="28" name="TextBox 65">
            <a:extLst>
              <a:ext uri="{FF2B5EF4-FFF2-40B4-BE49-F238E27FC236}">
                <a16:creationId xmlns:a16="http://schemas.microsoft.com/office/drawing/2014/main" id="{341947F5-9FA0-4AB1-A8FA-529A16235765}"/>
              </a:ext>
            </a:extLst>
          </p:cNvPr>
          <p:cNvSpPr txBox="1"/>
          <p:nvPr/>
        </p:nvSpPr>
        <p:spPr>
          <a:xfrm>
            <a:off x="6614699" y="3002147"/>
            <a:ext cx="546946" cy="481982"/>
          </a:xfrm>
          <a:prstGeom prst="rect">
            <a:avLst/>
          </a:prstGeom>
          <a:noFill/>
        </p:spPr>
        <p:txBody>
          <a:bodyPr wrap="square" lIns="0" tIns="36000" rIns="0" bIns="36000" rtlCol="0">
            <a:spAutoFit/>
          </a:bodyPr>
          <a:lstStyle/>
          <a:p>
            <a:pPr marL="0" marR="0" lvl="0" indent="0" algn="ctr" defTabSz="914400" rtl="0" eaLnBrk="1" fontAlgn="auto" latinLnBrk="0" hangingPunct="1">
              <a:lnSpc>
                <a:spcPct val="120000"/>
              </a:lnSpc>
              <a:spcBef>
                <a:spcPts val="600"/>
              </a:spcBef>
              <a:spcAft>
                <a:spcPts val="0"/>
              </a:spcAft>
              <a:buClrTx/>
              <a:buSzTx/>
              <a:buFontTx/>
              <a:buNone/>
              <a:tabLst/>
              <a:defRPr/>
            </a:pPr>
            <a:r>
              <a:rPr kumimoji="0" lang="en-US" altLang="zh-CN" sz="2400" b="0" i="0" u="none" strike="noStrike" kern="1200" cap="none" spc="0" normalizeH="0" baseline="0" noProof="0" dirty="0">
                <a:ln>
                  <a:noFill/>
                </a:ln>
                <a:solidFill>
                  <a:prstClr val="white"/>
                </a:solidFill>
                <a:effectLst/>
                <a:uLnTx/>
                <a:uFillTx/>
                <a:latin typeface="HarmonyOS Sans SC"/>
                <a:cs typeface="+mn-cs"/>
              </a:rPr>
              <a:t>4</a:t>
            </a:r>
            <a:endParaRPr kumimoji="0" lang="en-US" sz="2400" b="0" i="0" u="none" strike="noStrike" kern="1200" cap="none" spc="0" normalizeH="0" baseline="0" noProof="0" dirty="0">
              <a:ln>
                <a:noFill/>
              </a:ln>
              <a:solidFill>
                <a:prstClr val="white"/>
              </a:solidFill>
              <a:effectLst/>
              <a:uLnTx/>
              <a:uFillTx/>
              <a:latin typeface="HarmonyOS Sans SC"/>
              <a:cs typeface="+mn-cs"/>
            </a:endParaRPr>
          </a:p>
        </p:txBody>
      </p:sp>
      <p:grpSp>
        <p:nvGrpSpPr>
          <p:cNvPr id="41" name="组合 40">
            <a:extLst>
              <a:ext uri="{FF2B5EF4-FFF2-40B4-BE49-F238E27FC236}">
                <a16:creationId xmlns:a16="http://schemas.microsoft.com/office/drawing/2014/main" id="{76EDDDF9-395F-47D7-A65C-5DBB516E66AE}"/>
              </a:ext>
            </a:extLst>
          </p:cNvPr>
          <p:cNvGrpSpPr/>
          <p:nvPr/>
        </p:nvGrpSpPr>
        <p:grpSpPr>
          <a:xfrm>
            <a:off x="2124837" y="5318527"/>
            <a:ext cx="2859171" cy="881603"/>
            <a:chOff x="2777088" y="3678059"/>
            <a:chExt cx="2859171" cy="881603"/>
          </a:xfrm>
        </p:grpSpPr>
        <p:sp>
          <p:nvSpPr>
            <p:cNvPr id="42" name="TextBox 65">
              <a:extLst>
                <a:ext uri="{FF2B5EF4-FFF2-40B4-BE49-F238E27FC236}">
                  <a16:creationId xmlns:a16="http://schemas.microsoft.com/office/drawing/2014/main" id="{89F762CF-E78F-4993-B24E-25491FED579C}"/>
                </a:ext>
              </a:extLst>
            </p:cNvPr>
            <p:cNvSpPr txBox="1"/>
            <p:nvPr/>
          </p:nvSpPr>
          <p:spPr>
            <a:xfrm flipH="1">
              <a:off x="2777089" y="3678059"/>
              <a:ext cx="2056261" cy="387598"/>
            </a:xfrm>
            <a:prstGeom prst="rect">
              <a:avLst/>
            </a:prstGeom>
            <a:noFill/>
          </p:spPr>
          <p:txBody>
            <a:bodyPr wrap="square" lIns="0" tIns="36000" rIns="0" bIns="36000" rtlCol="0">
              <a:spAutoFit/>
            </a:bodyPr>
            <a:lstStyle/>
            <a:p>
              <a:pPr marL="0" marR="0" lvl="0" indent="0" algn="l" defTabSz="914400" rtl="0" eaLnBrk="1" fontAlgn="auto" latinLnBrk="0" hangingPunct="1">
                <a:lnSpc>
                  <a:spcPct val="120000"/>
                </a:lnSpc>
                <a:spcBef>
                  <a:spcPts val="600"/>
                </a:spcBef>
                <a:spcAft>
                  <a:spcPts val="0"/>
                </a:spcAft>
                <a:buClrTx/>
                <a:buSzTx/>
                <a:buFontTx/>
                <a:buNone/>
                <a:tabLst/>
                <a:defRPr/>
              </a:pPr>
              <a:r>
                <a:rPr kumimoji="0" lang="zh-CN" altLang="en-US" sz="1800" b="0" i="0" u="none" strike="noStrike" kern="1200" cap="none" spc="0" normalizeH="0" baseline="0" noProof="0" dirty="0">
                  <a:ln>
                    <a:noFill/>
                  </a:ln>
                  <a:solidFill>
                    <a:schemeClr val="accent1"/>
                  </a:solidFill>
                  <a:effectLst/>
                  <a:uLnTx/>
                  <a:uFillTx/>
                  <a:latin typeface="HarmonyOS Sans SC Black"/>
                  <a:ea typeface="+mj-ea"/>
                  <a:cs typeface="+mn-cs"/>
                </a:rPr>
                <a:t>关键词标题</a:t>
              </a:r>
              <a:endParaRPr kumimoji="0" lang="en-US" sz="1800" b="0" i="0" u="none" strike="noStrike" kern="1200" cap="none" spc="0" normalizeH="0" baseline="0" noProof="0" dirty="0">
                <a:ln>
                  <a:noFill/>
                </a:ln>
                <a:solidFill>
                  <a:schemeClr val="accent1"/>
                </a:solidFill>
                <a:effectLst/>
                <a:uLnTx/>
                <a:uFillTx/>
                <a:latin typeface="HarmonyOS Sans SC Black"/>
                <a:ea typeface="+mj-ea"/>
                <a:cs typeface="+mn-cs"/>
              </a:endParaRPr>
            </a:p>
          </p:txBody>
        </p:sp>
        <p:sp>
          <p:nvSpPr>
            <p:cNvPr id="43" name="TextBox 65">
              <a:extLst>
                <a:ext uri="{FF2B5EF4-FFF2-40B4-BE49-F238E27FC236}">
                  <a16:creationId xmlns:a16="http://schemas.microsoft.com/office/drawing/2014/main" id="{46535B44-DB5F-4927-8CF0-454BEAF62072}"/>
                </a:ext>
              </a:extLst>
            </p:cNvPr>
            <p:cNvSpPr txBox="1"/>
            <p:nvPr/>
          </p:nvSpPr>
          <p:spPr>
            <a:xfrm flipH="1">
              <a:off x="2777088" y="4061458"/>
              <a:ext cx="2859171" cy="498204"/>
            </a:xfrm>
            <a:prstGeom prst="rect">
              <a:avLst/>
            </a:prstGeom>
            <a:noFill/>
          </p:spPr>
          <p:txBody>
            <a:bodyPr wrap="square" lIns="0" tIns="36000" rIns="0" bIns="36000" rtlCol="0">
              <a:spAutoFit/>
            </a:bodyPr>
            <a:lstStyle/>
            <a:p>
              <a:pPr marL="0" marR="0" lvl="0" indent="0" algn="l" defTabSz="914400" rtl="0" eaLnBrk="1" fontAlgn="auto" latinLnBrk="0" hangingPunct="1">
                <a:lnSpc>
                  <a:spcPct val="120000"/>
                </a:lnSpc>
                <a:spcBef>
                  <a:spcPts val="600"/>
                </a:spcBef>
                <a:spcAft>
                  <a:spcPts val="0"/>
                </a:spcAft>
                <a:buClrTx/>
                <a:buSzTx/>
                <a:buFontTx/>
                <a:buNone/>
                <a:tabLst/>
                <a:defRPr/>
              </a:pPr>
              <a:r>
                <a:rPr kumimoji="0" lang="en-US" sz="1200" b="0" i="0" u="none" strike="noStrike" kern="1200" cap="none" spc="0" normalizeH="0" baseline="0" noProof="0" dirty="0">
                  <a:ln>
                    <a:noFill/>
                  </a:ln>
                  <a:solidFill>
                    <a:prstClr val="black">
                      <a:lumMod val="50000"/>
                      <a:lumOff val="50000"/>
                    </a:prstClr>
                  </a:solidFill>
                  <a:effectLst/>
                  <a:uLnTx/>
                  <a:uFillTx/>
                  <a:latin typeface="HarmonyOS Sans SC"/>
                  <a:cs typeface="+mn-cs"/>
                </a:rPr>
                <a:t>Apparently we had reached a great height in the.</a:t>
              </a:r>
            </a:p>
          </p:txBody>
        </p:sp>
      </p:grpSp>
      <p:grpSp>
        <p:nvGrpSpPr>
          <p:cNvPr id="44" name="组合 43">
            <a:extLst>
              <a:ext uri="{FF2B5EF4-FFF2-40B4-BE49-F238E27FC236}">
                <a16:creationId xmlns:a16="http://schemas.microsoft.com/office/drawing/2014/main" id="{198740AF-1421-4E3B-8704-ECDBB306F73D}"/>
              </a:ext>
            </a:extLst>
          </p:cNvPr>
          <p:cNvGrpSpPr/>
          <p:nvPr/>
        </p:nvGrpSpPr>
        <p:grpSpPr>
          <a:xfrm>
            <a:off x="4186088" y="4538781"/>
            <a:ext cx="2859171" cy="881603"/>
            <a:chOff x="2777088" y="3678059"/>
            <a:chExt cx="2859171" cy="881603"/>
          </a:xfrm>
        </p:grpSpPr>
        <p:sp>
          <p:nvSpPr>
            <p:cNvPr id="45" name="TextBox 65">
              <a:extLst>
                <a:ext uri="{FF2B5EF4-FFF2-40B4-BE49-F238E27FC236}">
                  <a16:creationId xmlns:a16="http://schemas.microsoft.com/office/drawing/2014/main" id="{019AAA80-BCB1-49B8-ADE1-A0E71B08BF53}"/>
                </a:ext>
              </a:extLst>
            </p:cNvPr>
            <p:cNvSpPr txBox="1"/>
            <p:nvPr/>
          </p:nvSpPr>
          <p:spPr>
            <a:xfrm flipH="1">
              <a:off x="2777089" y="3678059"/>
              <a:ext cx="2056261" cy="387598"/>
            </a:xfrm>
            <a:prstGeom prst="rect">
              <a:avLst/>
            </a:prstGeom>
            <a:noFill/>
          </p:spPr>
          <p:txBody>
            <a:bodyPr wrap="square" lIns="0" tIns="36000" rIns="0" bIns="36000" rtlCol="0">
              <a:spAutoFit/>
            </a:bodyPr>
            <a:lstStyle/>
            <a:p>
              <a:pPr marL="0" marR="0" lvl="0" indent="0" algn="l" defTabSz="914400" rtl="0" eaLnBrk="1" fontAlgn="auto" latinLnBrk="0" hangingPunct="1">
                <a:lnSpc>
                  <a:spcPct val="120000"/>
                </a:lnSpc>
                <a:spcBef>
                  <a:spcPts val="600"/>
                </a:spcBef>
                <a:spcAft>
                  <a:spcPts val="0"/>
                </a:spcAft>
                <a:buClrTx/>
                <a:buSzTx/>
                <a:buFontTx/>
                <a:buNone/>
                <a:tabLst/>
                <a:defRPr/>
              </a:pPr>
              <a:r>
                <a:rPr kumimoji="0" lang="zh-CN" altLang="en-US" sz="1800" b="0" i="0" u="none" strike="noStrike" kern="1200" cap="none" spc="0" normalizeH="0" baseline="0" noProof="0" dirty="0">
                  <a:ln>
                    <a:noFill/>
                  </a:ln>
                  <a:solidFill>
                    <a:schemeClr val="accent1"/>
                  </a:solidFill>
                  <a:effectLst/>
                  <a:uLnTx/>
                  <a:uFillTx/>
                  <a:latin typeface="HarmonyOS Sans SC Black"/>
                  <a:ea typeface="+mj-ea"/>
                  <a:cs typeface="+mn-cs"/>
                </a:rPr>
                <a:t>关键词标题</a:t>
              </a:r>
              <a:endParaRPr kumimoji="0" lang="en-US" sz="1800" b="0" i="0" u="none" strike="noStrike" kern="1200" cap="none" spc="0" normalizeH="0" baseline="0" noProof="0" dirty="0">
                <a:ln>
                  <a:noFill/>
                </a:ln>
                <a:solidFill>
                  <a:schemeClr val="accent1"/>
                </a:solidFill>
                <a:effectLst/>
                <a:uLnTx/>
                <a:uFillTx/>
                <a:latin typeface="HarmonyOS Sans SC Black"/>
                <a:ea typeface="+mj-ea"/>
                <a:cs typeface="+mn-cs"/>
              </a:endParaRPr>
            </a:p>
          </p:txBody>
        </p:sp>
        <p:sp>
          <p:nvSpPr>
            <p:cNvPr id="46" name="TextBox 65">
              <a:extLst>
                <a:ext uri="{FF2B5EF4-FFF2-40B4-BE49-F238E27FC236}">
                  <a16:creationId xmlns:a16="http://schemas.microsoft.com/office/drawing/2014/main" id="{6E57379B-2B02-4B60-A2E8-DC52AF48A3C6}"/>
                </a:ext>
              </a:extLst>
            </p:cNvPr>
            <p:cNvSpPr txBox="1"/>
            <p:nvPr/>
          </p:nvSpPr>
          <p:spPr>
            <a:xfrm flipH="1">
              <a:off x="2777088" y="4061458"/>
              <a:ext cx="2859171" cy="498204"/>
            </a:xfrm>
            <a:prstGeom prst="rect">
              <a:avLst/>
            </a:prstGeom>
            <a:noFill/>
          </p:spPr>
          <p:txBody>
            <a:bodyPr wrap="square" lIns="0" tIns="36000" rIns="0" bIns="36000" rtlCol="0">
              <a:spAutoFit/>
            </a:bodyPr>
            <a:lstStyle/>
            <a:p>
              <a:pPr marL="0" marR="0" lvl="0" indent="0" algn="l" defTabSz="914400" rtl="0" eaLnBrk="1" fontAlgn="auto" latinLnBrk="0" hangingPunct="1">
                <a:lnSpc>
                  <a:spcPct val="120000"/>
                </a:lnSpc>
                <a:spcBef>
                  <a:spcPts val="600"/>
                </a:spcBef>
                <a:spcAft>
                  <a:spcPts val="0"/>
                </a:spcAft>
                <a:buClrTx/>
                <a:buSzTx/>
                <a:buFontTx/>
                <a:buNone/>
                <a:tabLst/>
                <a:defRPr/>
              </a:pPr>
              <a:r>
                <a:rPr kumimoji="0" lang="en-US" sz="1200" b="0" i="0" u="none" strike="noStrike" kern="1200" cap="none" spc="0" normalizeH="0" baseline="0" noProof="0" dirty="0">
                  <a:ln>
                    <a:noFill/>
                  </a:ln>
                  <a:solidFill>
                    <a:prstClr val="black">
                      <a:lumMod val="50000"/>
                      <a:lumOff val="50000"/>
                    </a:prstClr>
                  </a:solidFill>
                  <a:effectLst/>
                  <a:uLnTx/>
                  <a:uFillTx/>
                  <a:latin typeface="HarmonyOS Sans SC"/>
                  <a:cs typeface="+mn-cs"/>
                </a:rPr>
                <a:t>Apparently we had reached a great height in the.</a:t>
              </a:r>
            </a:p>
          </p:txBody>
        </p:sp>
      </p:grpSp>
      <p:grpSp>
        <p:nvGrpSpPr>
          <p:cNvPr id="47" name="组合 46">
            <a:extLst>
              <a:ext uri="{FF2B5EF4-FFF2-40B4-BE49-F238E27FC236}">
                <a16:creationId xmlns:a16="http://schemas.microsoft.com/office/drawing/2014/main" id="{B48C758D-4277-40AC-B93F-8E71A0EC145D}"/>
              </a:ext>
            </a:extLst>
          </p:cNvPr>
          <p:cNvGrpSpPr/>
          <p:nvPr/>
        </p:nvGrpSpPr>
        <p:grpSpPr>
          <a:xfrm>
            <a:off x="6247339" y="3759035"/>
            <a:ext cx="2859171" cy="881603"/>
            <a:chOff x="2777088" y="3678059"/>
            <a:chExt cx="2859171" cy="881603"/>
          </a:xfrm>
        </p:grpSpPr>
        <p:sp>
          <p:nvSpPr>
            <p:cNvPr id="48" name="TextBox 65">
              <a:extLst>
                <a:ext uri="{FF2B5EF4-FFF2-40B4-BE49-F238E27FC236}">
                  <a16:creationId xmlns:a16="http://schemas.microsoft.com/office/drawing/2014/main" id="{58F891E6-DD86-4CDB-87C8-F233FBAD77DB}"/>
                </a:ext>
              </a:extLst>
            </p:cNvPr>
            <p:cNvSpPr txBox="1"/>
            <p:nvPr/>
          </p:nvSpPr>
          <p:spPr>
            <a:xfrm flipH="1">
              <a:off x="2777089" y="3678059"/>
              <a:ext cx="2056261" cy="387598"/>
            </a:xfrm>
            <a:prstGeom prst="rect">
              <a:avLst/>
            </a:prstGeom>
            <a:noFill/>
          </p:spPr>
          <p:txBody>
            <a:bodyPr wrap="square" lIns="0" tIns="36000" rIns="0" bIns="36000" rtlCol="0">
              <a:spAutoFit/>
            </a:bodyPr>
            <a:lstStyle/>
            <a:p>
              <a:pPr marL="0" marR="0" lvl="0" indent="0" algn="l" defTabSz="914400" rtl="0" eaLnBrk="1" fontAlgn="auto" latinLnBrk="0" hangingPunct="1">
                <a:lnSpc>
                  <a:spcPct val="120000"/>
                </a:lnSpc>
                <a:spcBef>
                  <a:spcPts val="600"/>
                </a:spcBef>
                <a:spcAft>
                  <a:spcPts val="0"/>
                </a:spcAft>
                <a:buClrTx/>
                <a:buSzTx/>
                <a:buFontTx/>
                <a:buNone/>
                <a:tabLst/>
                <a:defRPr/>
              </a:pPr>
              <a:r>
                <a:rPr kumimoji="0" lang="zh-CN" altLang="en-US" sz="1800" b="0" i="0" u="none" strike="noStrike" kern="1200" cap="none" spc="0" normalizeH="0" baseline="0" noProof="0" dirty="0">
                  <a:ln>
                    <a:noFill/>
                  </a:ln>
                  <a:solidFill>
                    <a:schemeClr val="accent1"/>
                  </a:solidFill>
                  <a:effectLst/>
                  <a:uLnTx/>
                  <a:uFillTx/>
                  <a:latin typeface="HarmonyOS Sans SC Black"/>
                  <a:ea typeface="+mj-ea"/>
                  <a:cs typeface="+mn-cs"/>
                </a:rPr>
                <a:t>关键词标题</a:t>
              </a:r>
              <a:endParaRPr kumimoji="0" lang="en-US" sz="1800" b="0" i="0" u="none" strike="noStrike" kern="1200" cap="none" spc="0" normalizeH="0" baseline="0" noProof="0" dirty="0">
                <a:ln>
                  <a:noFill/>
                </a:ln>
                <a:solidFill>
                  <a:schemeClr val="accent1"/>
                </a:solidFill>
                <a:effectLst/>
                <a:uLnTx/>
                <a:uFillTx/>
                <a:latin typeface="HarmonyOS Sans SC Black"/>
                <a:ea typeface="+mj-ea"/>
                <a:cs typeface="+mn-cs"/>
              </a:endParaRPr>
            </a:p>
          </p:txBody>
        </p:sp>
        <p:sp>
          <p:nvSpPr>
            <p:cNvPr id="49" name="TextBox 65">
              <a:extLst>
                <a:ext uri="{FF2B5EF4-FFF2-40B4-BE49-F238E27FC236}">
                  <a16:creationId xmlns:a16="http://schemas.microsoft.com/office/drawing/2014/main" id="{4069C59C-92DC-48BD-85EB-F352B10E98E1}"/>
                </a:ext>
              </a:extLst>
            </p:cNvPr>
            <p:cNvSpPr txBox="1"/>
            <p:nvPr/>
          </p:nvSpPr>
          <p:spPr>
            <a:xfrm flipH="1">
              <a:off x="2777088" y="4061458"/>
              <a:ext cx="2859171" cy="498204"/>
            </a:xfrm>
            <a:prstGeom prst="rect">
              <a:avLst/>
            </a:prstGeom>
            <a:noFill/>
          </p:spPr>
          <p:txBody>
            <a:bodyPr wrap="square" lIns="0" tIns="36000" rIns="0" bIns="36000" rtlCol="0">
              <a:spAutoFit/>
            </a:bodyPr>
            <a:lstStyle/>
            <a:p>
              <a:pPr marL="0" marR="0" lvl="0" indent="0" algn="l" defTabSz="914400" rtl="0" eaLnBrk="1" fontAlgn="auto" latinLnBrk="0" hangingPunct="1">
                <a:lnSpc>
                  <a:spcPct val="120000"/>
                </a:lnSpc>
                <a:spcBef>
                  <a:spcPts val="600"/>
                </a:spcBef>
                <a:spcAft>
                  <a:spcPts val="0"/>
                </a:spcAft>
                <a:buClrTx/>
                <a:buSzTx/>
                <a:buFontTx/>
                <a:buNone/>
                <a:tabLst/>
                <a:defRPr/>
              </a:pPr>
              <a:r>
                <a:rPr kumimoji="0" lang="en-US" sz="1200" b="0" i="0" u="none" strike="noStrike" kern="1200" cap="none" spc="0" normalizeH="0" baseline="0" noProof="0" dirty="0">
                  <a:ln>
                    <a:noFill/>
                  </a:ln>
                  <a:solidFill>
                    <a:prstClr val="black">
                      <a:lumMod val="50000"/>
                      <a:lumOff val="50000"/>
                    </a:prstClr>
                  </a:solidFill>
                  <a:effectLst/>
                  <a:uLnTx/>
                  <a:uFillTx/>
                  <a:latin typeface="HarmonyOS Sans SC"/>
                  <a:cs typeface="+mn-cs"/>
                </a:rPr>
                <a:t>Apparently we had reached a great height in the.</a:t>
              </a:r>
            </a:p>
          </p:txBody>
        </p:sp>
      </p:grpSp>
      <p:grpSp>
        <p:nvGrpSpPr>
          <p:cNvPr id="50" name="组合 49">
            <a:extLst>
              <a:ext uri="{FF2B5EF4-FFF2-40B4-BE49-F238E27FC236}">
                <a16:creationId xmlns:a16="http://schemas.microsoft.com/office/drawing/2014/main" id="{61E19630-61DA-4328-B7D7-58AB503D7829}"/>
              </a:ext>
            </a:extLst>
          </p:cNvPr>
          <p:cNvGrpSpPr/>
          <p:nvPr/>
        </p:nvGrpSpPr>
        <p:grpSpPr>
          <a:xfrm>
            <a:off x="8318500" y="2961755"/>
            <a:ext cx="2859171" cy="881603"/>
            <a:chOff x="2777088" y="3678059"/>
            <a:chExt cx="2859171" cy="881603"/>
          </a:xfrm>
        </p:grpSpPr>
        <p:sp>
          <p:nvSpPr>
            <p:cNvPr id="51" name="TextBox 65">
              <a:extLst>
                <a:ext uri="{FF2B5EF4-FFF2-40B4-BE49-F238E27FC236}">
                  <a16:creationId xmlns:a16="http://schemas.microsoft.com/office/drawing/2014/main" id="{24909653-EDD8-4D8E-9C8A-8BCBD0382A59}"/>
                </a:ext>
              </a:extLst>
            </p:cNvPr>
            <p:cNvSpPr txBox="1"/>
            <p:nvPr/>
          </p:nvSpPr>
          <p:spPr>
            <a:xfrm flipH="1">
              <a:off x="2777089" y="3678059"/>
              <a:ext cx="2056261" cy="387598"/>
            </a:xfrm>
            <a:prstGeom prst="rect">
              <a:avLst/>
            </a:prstGeom>
            <a:noFill/>
          </p:spPr>
          <p:txBody>
            <a:bodyPr wrap="square" lIns="0" tIns="36000" rIns="0" bIns="36000" rtlCol="0">
              <a:spAutoFit/>
            </a:bodyPr>
            <a:lstStyle/>
            <a:p>
              <a:pPr marL="0" marR="0" lvl="0" indent="0" algn="l" defTabSz="914400" rtl="0" eaLnBrk="1" fontAlgn="auto" latinLnBrk="0" hangingPunct="1">
                <a:lnSpc>
                  <a:spcPct val="120000"/>
                </a:lnSpc>
                <a:spcBef>
                  <a:spcPts val="600"/>
                </a:spcBef>
                <a:spcAft>
                  <a:spcPts val="0"/>
                </a:spcAft>
                <a:buClrTx/>
                <a:buSzTx/>
                <a:buFontTx/>
                <a:buNone/>
                <a:tabLst/>
                <a:defRPr/>
              </a:pPr>
              <a:r>
                <a:rPr kumimoji="0" lang="zh-CN" altLang="en-US" sz="1800" b="0" i="0" u="none" strike="noStrike" kern="1200" cap="none" spc="0" normalizeH="0" baseline="0" noProof="0" dirty="0">
                  <a:ln>
                    <a:noFill/>
                  </a:ln>
                  <a:solidFill>
                    <a:schemeClr val="accent1"/>
                  </a:solidFill>
                  <a:effectLst/>
                  <a:uLnTx/>
                  <a:uFillTx/>
                  <a:latin typeface="HarmonyOS Sans SC Black"/>
                  <a:ea typeface="+mj-ea"/>
                  <a:cs typeface="+mn-cs"/>
                </a:rPr>
                <a:t>关键词标题</a:t>
              </a:r>
              <a:endParaRPr kumimoji="0" lang="en-US" sz="1800" b="0" i="0" u="none" strike="noStrike" kern="1200" cap="none" spc="0" normalizeH="0" baseline="0" noProof="0" dirty="0">
                <a:ln>
                  <a:noFill/>
                </a:ln>
                <a:solidFill>
                  <a:schemeClr val="accent1"/>
                </a:solidFill>
                <a:effectLst/>
                <a:uLnTx/>
                <a:uFillTx/>
                <a:latin typeface="HarmonyOS Sans SC Black"/>
                <a:ea typeface="+mj-ea"/>
                <a:cs typeface="+mn-cs"/>
              </a:endParaRPr>
            </a:p>
          </p:txBody>
        </p:sp>
        <p:sp>
          <p:nvSpPr>
            <p:cNvPr id="52" name="TextBox 65">
              <a:extLst>
                <a:ext uri="{FF2B5EF4-FFF2-40B4-BE49-F238E27FC236}">
                  <a16:creationId xmlns:a16="http://schemas.microsoft.com/office/drawing/2014/main" id="{3C8DB6AB-D848-4756-892D-E12B9D38A7E1}"/>
                </a:ext>
              </a:extLst>
            </p:cNvPr>
            <p:cNvSpPr txBox="1"/>
            <p:nvPr/>
          </p:nvSpPr>
          <p:spPr>
            <a:xfrm flipH="1">
              <a:off x="2777088" y="4061458"/>
              <a:ext cx="2859171" cy="498204"/>
            </a:xfrm>
            <a:prstGeom prst="rect">
              <a:avLst/>
            </a:prstGeom>
            <a:noFill/>
          </p:spPr>
          <p:txBody>
            <a:bodyPr wrap="square" lIns="0" tIns="36000" rIns="0" bIns="36000" rtlCol="0">
              <a:spAutoFit/>
            </a:bodyPr>
            <a:lstStyle/>
            <a:p>
              <a:pPr marL="0" marR="0" lvl="0" indent="0" algn="l" defTabSz="914400" rtl="0" eaLnBrk="1" fontAlgn="auto" latinLnBrk="0" hangingPunct="1">
                <a:lnSpc>
                  <a:spcPct val="120000"/>
                </a:lnSpc>
                <a:spcBef>
                  <a:spcPts val="600"/>
                </a:spcBef>
                <a:spcAft>
                  <a:spcPts val="0"/>
                </a:spcAft>
                <a:buClrTx/>
                <a:buSzTx/>
                <a:buFontTx/>
                <a:buNone/>
                <a:tabLst/>
                <a:defRPr/>
              </a:pPr>
              <a:r>
                <a:rPr kumimoji="0" lang="en-US" sz="1200" b="0" i="0" u="none" strike="noStrike" kern="1200" cap="none" spc="0" normalizeH="0" baseline="0" noProof="0" dirty="0">
                  <a:ln>
                    <a:noFill/>
                  </a:ln>
                  <a:solidFill>
                    <a:prstClr val="black">
                      <a:lumMod val="50000"/>
                      <a:lumOff val="50000"/>
                    </a:prstClr>
                  </a:solidFill>
                  <a:effectLst/>
                  <a:uLnTx/>
                  <a:uFillTx/>
                  <a:latin typeface="HarmonyOS Sans SC"/>
                  <a:cs typeface="+mn-cs"/>
                </a:rPr>
                <a:t>Apparently we had reached a great height in the.</a:t>
              </a:r>
            </a:p>
          </p:txBody>
        </p:sp>
      </p:grpSp>
    </p:spTree>
    <p:extLst>
      <p:ext uri="{BB962C8B-B14F-4D97-AF65-F5344CB8AC3E}">
        <p14:creationId xmlns:p14="http://schemas.microsoft.com/office/powerpoint/2010/main" val="4101167945"/>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5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U-Turn Arrow 32">
            <a:extLst>
              <a:ext uri="{FF2B5EF4-FFF2-40B4-BE49-F238E27FC236}">
                <a16:creationId xmlns:a16="http://schemas.microsoft.com/office/drawing/2014/main" id="{7238272A-971D-4364-8F1B-753C2F2A689D}"/>
              </a:ext>
            </a:extLst>
          </p:cNvPr>
          <p:cNvSpPr/>
          <p:nvPr/>
        </p:nvSpPr>
        <p:spPr>
          <a:xfrm>
            <a:off x="8302827" y="1961258"/>
            <a:ext cx="2386639" cy="2203032"/>
          </a:xfrm>
          <a:prstGeom prst="uturnArrow">
            <a:avLst>
              <a:gd name="adj1" fmla="val 20076"/>
              <a:gd name="adj2" fmla="val 19764"/>
              <a:gd name="adj3" fmla="val 23347"/>
              <a:gd name="adj4" fmla="val 49304"/>
              <a:gd name="adj5" fmla="val 99251"/>
            </a:avLst>
          </a:prstGeom>
          <a:gradFill flip="none" rotWithShape="1">
            <a:gsLst>
              <a:gs pos="18000">
                <a:schemeClr val="accent1"/>
              </a:gs>
              <a:gs pos="100000">
                <a:schemeClr val="accent1">
                  <a:lumMod val="60000"/>
                  <a:lumOff val="40000"/>
                  <a:alpha val="23000"/>
                </a:schemeClr>
              </a:gs>
            </a:gsLst>
            <a:lin ang="108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Calibri" panose="020F0502020204030204"/>
              <a:cs typeface="+mn-cs"/>
            </a:endParaRPr>
          </a:p>
        </p:txBody>
      </p:sp>
      <p:sp>
        <p:nvSpPr>
          <p:cNvPr id="3" name="Freeform 33">
            <a:extLst>
              <a:ext uri="{FF2B5EF4-FFF2-40B4-BE49-F238E27FC236}">
                <a16:creationId xmlns:a16="http://schemas.microsoft.com/office/drawing/2014/main" id="{E105EA64-E602-4880-85CD-9E4A501E272F}"/>
              </a:ext>
            </a:extLst>
          </p:cNvPr>
          <p:cNvSpPr/>
          <p:nvPr/>
        </p:nvSpPr>
        <p:spPr>
          <a:xfrm>
            <a:off x="8894508" y="2552502"/>
            <a:ext cx="988066" cy="988064"/>
          </a:xfrm>
          <a:custGeom>
            <a:avLst/>
            <a:gdLst>
              <a:gd name="connsiteX0" fmla="*/ 0 w 905504"/>
              <a:gd name="connsiteY0" fmla="*/ 452752 h 905504"/>
              <a:gd name="connsiteX1" fmla="*/ 132608 w 905504"/>
              <a:gd name="connsiteY1" fmla="*/ 132608 h 905504"/>
              <a:gd name="connsiteX2" fmla="*/ 452752 w 905504"/>
              <a:gd name="connsiteY2" fmla="*/ 0 h 905504"/>
              <a:gd name="connsiteX3" fmla="*/ 772896 w 905504"/>
              <a:gd name="connsiteY3" fmla="*/ 132608 h 905504"/>
              <a:gd name="connsiteX4" fmla="*/ 905504 w 905504"/>
              <a:gd name="connsiteY4" fmla="*/ 452752 h 905504"/>
              <a:gd name="connsiteX5" fmla="*/ 772896 w 905504"/>
              <a:gd name="connsiteY5" fmla="*/ 772896 h 905504"/>
              <a:gd name="connsiteX6" fmla="*/ 452752 w 905504"/>
              <a:gd name="connsiteY6" fmla="*/ 905504 h 905504"/>
              <a:gd name="connsiteX7" fmla="*/ 132608 w 905504"/>
              <a:gd name="connsiteY7" fmla="*/ 772896 h 905504"/>
              <a:gd name="connsiteX8" fmla="*/ 0 w 905504"/>
              <a:gd name="connsiteY8" fmla="*/ 452752 h 905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05504" h="905504">
                <a:moveTo>
                  <a:pt x="0" y="452752"/>
                </a:moveTo>
                <a:cubicBezTo>
                  <a:pt x="0" y="332675"/>
                  <a:pt x="47701" y="217515"/>
                  <a:pt x="132608" y="132608"/>
                </a:cubicBezTo>
                <a:cubicBezTo>
                  <a:pt x="217516" y="47701"/>
                  <a:pt x="332675" y="0"/>
                  <a:pt x="452752" y="0"/>
                </a:cubicBezTo>
                <a:cubicBezTo>
                  <a:pt x="572829" y="0"/>
                  <a:pt x="687989" y="47701"/>
                  <a:pt x="772896" y="132608"/>
                </a:cubicBezTo>
                <a:cubicBezTo>
                  <a:pt x="857803" y="217516"/>
                  <a:pt x="905504" y="332675"/>
                  <a:pt x="905504" y="452752"/>
                </a:cubicBezTo>
                <a:cubicBezTo>
                  <a:pt x="905504" y="572829"/>
                  <a:pt x="857803" y="687989"/>
                  <a:pt x="772896" y="772896"/>
                </a:cubicBezTo>
                <a:cubicBezTo>
                  <a:pt x="687988" y="857803"/>
                  <a:pt x="572829" y="905504"/>
                  <a:pt x="452752" y="905504"/>
                </a:cubicBezTo>
                <a:cubicBezTo>
                  <a:pt x="332675" y="905504"/>
                  <a:pt x="217515" y="857803"/>
                  <a:pt x="132608" y="772896"/>
                </a:cubicBezTo>
                <a:cubicBezTo>
                  <a:pt x="47701" y="687988"/>
                  <a:pt x="0" y="572829"/>
                  <a:pt x="0" y="452752"/>
                </a:cubicBezTo>
                <a:close/>
              </a:path>
            </a:pathLst>
          </a:custGeom>
          <a:gradFill>
            <a:gsLst>
              <a:gs pos="73000">
                <a:schemeClr val="accent1"/>
              </a:gs>
              <a:gs pos="31000">
                <a:schemeClr val="accent1">
                  <a:lumMod val="60000"/>
                  <a:lumOff val="40000"/>
                </a:schemeClr>
              </a:gs>
              <a:gs pos="0">
                <a:schemeClr val="accent1">
                  <a:lumMod val="40000"/>
                  <a:lumOff val="60000"/>
                </a:schemeClr>
              </a:gs>
            </a:gsLst>
            <a:path path="circle">
              <a:fillToRect r="100000" b="100000"/>
            </a:path>
          </a:gradFill>
          <a:ln>
            <a:noFill/>
          </a:ln>
          <a:effectLst>
            <a:outerShdw blurRad="444500" dist="317500" dir="5400000" sx="92000" sy="92000" algn="t" rotWithShape="0">
              <a:schemeClr val="accent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HarmonyOS Sans SC"/>
              <a:cs typeface="+mn-cs"/>
            </a:endParaRPr>
          </a:p>
        </p:txBody>
      </p:sp>
      <p:sp>
        <p:nvSpPr>
          <p:cNvPr id="4" name="U-Turn Arrow 34">
            <a:extLst>
              <a:ext uri="{FF2B5EF4-FFF2-40B4-BE49-F238E27FC236}">
                <a16:creationId xmlns:a16="http://schemas.microsoft.com/office/drawing/2014/main" id="{A0381D13-398F-45C8-8137-62BFB8DF574C}"/>
              </a:ext>
            </a:extLst>
          </p:cNvPr>
          <p:cNvSpPr/>
          <p:nvPr/>
        </p:nvSpPr>
        <p:spPr>
          <a:xfrm rot="10800000" flipH="1">
            <a:off x="6602755" y="3661094"/>
            <a:ext cx="2386639" cy="2203032"/>
          </a:xfrm>
          <a:prstGeom prst="uturnArrow">
            <a:avLst>
              <a:gd name="adj1" fmla="val 20076"/>
              <a:gd name="adj2" fmla="val 19764"/>
              <a:gd name="adj3" fmla="val 23347"/>
              <a:gd name="adj4" fmla="val 49304"/>
              <a:gd name="adj5" fmla="val 99251"/>
            </a:avLst>
          </a:prstGeom>
          <a:gradFill flip="none" rotWithShape="1">
            <a:gsLst>
              <a:gs pos="18000">
                <a:schemeClr val="accent1"/>
              </a:gs>
              <a:gs pos="100000">
                <a:schemeClr val="accent1">
                  <a:lumMod val="60000"/>
                  <a:lumOff val="40000"/>
                  <a:alpha val="23000"/>
                </a:schemeClr>
              </a:gs>
            </a:gsLst>
            <a:lin ang="108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Calibri" panose="020F0502020204030204"/>
              <a:cs typeface="+mn-cs"/>
            </a:endParaRPr>
          </a:p>
        </p:txBody>
      </p:sp>
      <p:sp>
        <p:nvSpPr>
          <p:cNvPr id="5" name="Freeform 35">
            <a:extLst>
              <a:ext uri="{FF2B5EF4-FFF2-40B4-BE49-F238E27FC236}">
                <a16:creationId xmlns:a16="http://schemas.microsoft.com/office/drawing/2014/main" id="{FC591467-1AD7-4291-8EE2-A3BC7279C682}"/>
              </a:ext>
            </a:extLst>
          </p:cNvPr>
          <p:cNvSpPr/>
          <p:nvPr/>
        </p:nvSpPr>
        <p:spPr>
          <a:xfrm rot="10800000" flipH="1">
            <a:off x="7194435" y="4284817"/>
            <a:ext cx="988066" cy="988064"/>
          </a:xfrm>
          <a:custGeom>
            <a:avLst/>
            <a:gdLst>
              <a:gd name="connsiteX0" fmla="*/ 0 w 905504"/>
              <a:gd name="connsiteY0" fmla="*/ 452752 h 905504"/>
              <a:gd name="connsiteX1" fmla="*/ 132608 w 905504"/>
              <a:gd name="connsiteY1" fmla="*/ 132608 h 905504"/>
              <a:gd name="connsiteX2" fmla="*/ 452752 w 905504"/>
              <a:gd name="connsiteY2" fmla="*/ 0 h 905504"/>
              <a:gd name="connsiteX3" fmla="*/ 772896 w 905504"/>
              <a:gd name="connsiteY3" fmla="*/ 132608 h 905504"/>
              <a:gd name="connsiteX4" fmla="*/ 905504 w 905504"/>
              <a:gd name="connsiteY4" fmla="*/ 452752 h 905504"/>
              <a:gd name="connsiteX5" fmla="*/ 772896 w 905504"/>
              <a:gd name="connsiteY5" fmla="*/ 772896 h 905504"/>
              <a:gd name="connsiteX6" fmla="*/ 452752 w 905504"/>
              <a:gd name="connsiteY6" fmla="*/ 905504 h 905504"/>
              <a:gd name="connsiteX7" fmla="*/ 132608 w 905504"/>
              <a:gd name="connsiteY7" fmla="*/ 772896 h 905504"/>
              <a:gd name="connsiteX8" fmla="*/ 0 w 905504"/>
              <a:gd name="connsiteY8" fmla="*/ 452752 h 905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05504" h="905504">
                <a:moveTo>
                  <a:pt x="0" y="452752"/>
                </a:moveTo>
                <a:cubicBezTo>
                  <a:pt x="0" y="332675"/>
                  <a:pt x="47701" y="217515"/>
                  <a:pt x="132608" y="132608"/>
                </a:cubicBezTo>
                <a:cubicBezTo>
                  <a:pt x="217516" y="47701"/>
                  <a:pt x="332675" y="0"/>
                  <a:pt x="452752" y="0"/>
                </a:cubicBezTo>
                <a:cubicBezTo>
                  <a:pt x="572829" y="0"/>
                  <a:pt x="687989" y="47701"/>
                  <a:pt x="772896" y="132608"/>
                </a:cubicBezTo>
                <a:cubicBezTo>
                  <a:pt x="857803" y="217516"/>
                  <a:pt x="905504" y="332675"/>
                  <a:pt x="905504" y="452752"/>
                </a:cubicBezTo>
                <a:cubicBezTo>
                  <a:pt x="905504" y="572829"/>
                  <a:pt x="857803" y="687989"/>
                  <a:pt x="772896" y="772896"/>
                </a:cubicBezTo>
                <a:cubicBezTo>
                  <a:pt x="687988" y="857803"/>
                  <a:pt x="572829" y="905504"/>
                  <a:pt x="452752" y="905504"/>
                </a:cubicBezTo>
                <a:cubicBezTo>
                  <a:pt x="332675" y="905504"/>
                  <a:pt x="217515" y="857803"/>
                  <a:pt x="132608" y="772896"/>
                </a:cubicBezTo>
                <a:cubicBezTo>
                  <a:pt x="47701" y="687988"/>
                  <a:pt x="0" y="572829"/>
                  <a:pt x="0" y="452752"/>
                </a:cubicBezTo>
                <a:close/>
              </a:path>
            </a:pathLst>
          </a:custGeom>
          <a:gradFill>
            <a:gsLst>
              <a:gs pos="73000">
                <a:schemeClr val="accent1"/>
              </a:gs>
              <a:gs pos="31000">
                <a:schemeClr val="accent1">
                  <a:lumMod val="60000"/>
                  <a:lumOff val="40000"/>
                </a:schemeClr>
              </a:gs>
              <a:gs pos="0">
                <a:schemeClr val="accent1">
                  <a:lumMod val="40000"/>
                  <a:lumOff val="60000"/>
                </a:schemeClr>
              </a:gs>
            </a:gsLst>
            <a:path path="circle">
              <a:fillToRect r="100000" b="100000"/>
            </a:path>
          </a:gradFill>
          <a:ln>
            <a:noFill/>
          </a:ln>
          <a:effectLst>
            <a:outerShdw blurRad="444500" dist="317500" dir="5400000" sx="92000" sy="92000" algn="t" rotWithShape="0">
              <a:schemeClr val="accent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HarmonyOS Sans SC"/>
              <a:cs typeface="+mn-cs"/>
            </a:endParaRPr>
          </a:p>
        </p:txBody>
      </p:sp>
      <p:sp>
        <p:nvSpPr>
          <p:cNvPr id="6" name="U-Turn Arrow 36">
            <a:extLst>
              <a:ext uri="{FF2B5EF4-FFF2-40B4-BE49-F238E27FC236}">
                <a16:creationId xmlns:a16="http://schemas.microsoft.com/office/drawing/2014/main" id="{2828C3E8-96C1-4DC0-A812-40F036B82CBB}"/>
              </a:ext>
            </a:extLst>
          </p:cNvPr>
          <p:cNvSpPr/>
          <p:nvPr/>
        </p:nvSpPr>
        <p:spPr>
          <a:xfrm>
            <a:off x="4902680" y="1961258"/>
            <a:ext cx="2386639" cy="2203032"/>
          </a:xfrm>
          <a:prstGeom prst="uturnArrow">
            <a:avLst>
              <a:gd name="adj1" fmla="val 20076"/>
              <a:gd name="adj2" fmla="val 19764"/>
              <a:gd name="adj3" fmla="val 23347"/>
              <a:gd name="adj4" fmla="val 49304"/>
              <a:gd name="adj5" fmla="val 99251"/>
            </a:avLst>
          </a:prstGeom>
          <a:gradFill flip="none" rotWithShape="1">
            <a:gsLst>
              <a:gs pos="18000">
                <a:schemeClr val="accent1"/>
              </a:gs>
              <a:gs pos="100000">
                <a:schemeClr val="accent1">
                  <a:lumMod val="60000"/>
                  <a:lumOff val="40000"/>
                  <a:alpha val="23000"/>
                </a:schemeClr>
              </a:gs>
            </a:gsLst>
            <a:lin ang="108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Calibri" panose="020F0502020204030204"/>
              <a:cs typeface="+mn-cs"/>
            </a:endParaRPr>
          </a:p>
        </p:txBody>
      </p:sp>
      <p:sp>
        <p:nvSpPr>
          <p:cNvPr id="7" name="Freeform 37">
            <a:extLst>
              <a:ext uri="{FF2B5EF4-FFF2-40B4-BE49-F238E27FC236}">
                <a16:creationId xmlns:a16="http://schemas.microsoft.com/office/drawing/2014/main" id="{C43EE674-C897-46C1-AFFF-560E8BD8D014}"/>
              </a:ext>
            </a:extLst>
          </p:cNvPr>
          <p:cNvSpPr/>
          <p:nvPr/>
        </p:nvSpPr>
        <p:spPr>
          <a:xfrm>
            <a:off x="5489238" y="2552502"/>
            <a:ext cx="988066" cy="988064"/>
          </a:xfrm>
          <a:custGeom>
            <a:avLst/>
            <a:gdLst>
              <a:gd name="connsiteX0" fmla="*/ 0 w 905504"/>
              <a:gd name="connsiteY0" fmla="*/ 452752 h 905504"/>
              <a:gd name="connsiteX1" fmla="*/ 132608 w 905504"/>
              <a:gd name="connsiteY1" fmla="*/ 132608 h 905504"/>
              <a:gd name="connsiteX2" fmla="*/ 452752 w 905504"/>
              <a:gd name="connsiteY2" fmla="*/ 0 h 905504"/>
              <a:gd name="connsiteX3" fmla="*/ 772896 w 905504"/>
              <a:gd name="connsiteY3" fmla="*/ 132608 h 905504"/>
              <a:gd name="connsiteX4" fmla="*/ 905504 w 905504"/>
              <a:gd name="connsiteY4" fmla="*/ 452752 h 905504"/>
              <a:gd name="connsiteX5" fmla="*/ 772896 w 905504"/>
              <a:gd name="connsiteY5" fmla="*/ 772896 h 905504"/>
              <a:gd name="connsiteX6" fmla="*/ 452752 w 905504"/>
              <a:gd name="connsiteY6" fmla="*/ 905504 h 905504"/>
              <a:gd name="connsiteX7" fmla="*/ 132608 w 905504"/>
              <a:gd name="connsiteY7" fmla="*/ 772896 h 905504"/>
              <a:gd name="connsiteX8" fmla="*/ 0 w 905504"/>
              <a:gd name="connsiteY8" fmla="*/ 452752 h 905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05504" h="905504">
                <a:moveTo>
                  <a:pt x="0" y="452752"/>
                </a:moveTo>
                <a:cubicBezTo>
                  <a:pt x="0" y="332675"/>
                  <a:pt x="47701" y="217515"/>
                  <a:pt x="132608" y="132608"/>
                </a:cubicBezTo>
                <a:cubicBezTo>
                  <a:pt x="217516" y="47701"/>
                  <a:pt x="332675" y="0"/>
                  <a:pt x="452752" y="0"/>
                </a:cubicBezTo>
                <a:cubicBezTo>
                  <a:pt x="572829" y="0"/>
                  <a:pt x="687989" y="47701"/>
                  <a:pt x="772896" y="132608"/>
                </a:cubicBezTo>
                <a:cubicBezTo>
                  <a:pt x="857803" y="217516"/>
                  <a:pt x="905504" y="332675"/>
                  <a:pt x="905504" y="452752"/>
                </a:cubicBezTo>
                <a:cubicBezTo>
                  <a:pt x="905504" y="572829"/>
                  <a:pt x="857803" y="687989"/>
                  <a:pt x="772896" y="772896"/>
                </a:cubicBezTo>
                <a:cubicBezTo>
                  <a:pt x="687988" y="857803"/>
                  <a:pt x="572829" y="905504"/>
                  <a:pt x="452752" y="905504"/>
                </a:cubicBezTo>
                <a:cubicBezTo>
                  <a:pt x="332675" y="905504"/>
                  <a:pt x="217515" y="857803"/>
                  <a:pt x="132608" y="772896"/>
                </a:cubicBezTo>
                <a:cubicBezTo>
                  <a:pt x="47701" y="687988"/>
                  <a:pt x="0" y="572829"/>
                  <a:pt x="0" y="452752"/>
                </a:cubicBezTo>
                <a:close/>
              </a:path>
            </a:pathLst>
          </a:custGeom>
          <a:gradFill>
            <a:gsLst>
              <a:gs pos="73000">
                <a:schemeClr val="accent1"/>
              </a:gs>
              <a:gs pos="31000">
                <a:schemeClr val="accent1">
                  <a:lumMod val="60000"/>
                  <a:lumOff val="40000"/>
                </a:schemeClr>
              </a:gs>
              <a:gs pos="0">
                <a:schemeClr val="accent1">
                  <a:lumMod val="40000"/>
                  <a:lumOff val="60000"/>
                </a:schemeClr>
              </a:gs>
            </a:gsLst>
            <a:path path="circle">
              <a:fillToRect r="100000" b="100000"/>
            </a:path>
          </a:gradFill>
          <a:ln>
            <a:noFill/>
          </a:ln>
          <a:effectLst>
            <a:outerShdw blurRad="444500" dist="317500" dir="5400000" sx="92000" sy="92000" algn="t" rotWithShape="0">
              <a:schemeClr val="accent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HarmonyOS Sans SC"/>
              <a:cs typeface="+mn-cs"/>
            </a:endParaRPr>
          </a:p>
        </p:txBody>
      </p:sp>
      <p:sp>
        <p:nvSpPr>
          <p:cNvPr id="8" name="U-Turn Arrow 39">
            <a:extLst>
              <a:ext uri="{FF2B5EF4-FFF2-40B4-BE49-F238E27FC236}">
                <a16:creationId xmlns:a16="http://schemas.microsoft.com/office/drawing/2014/main" id="{937037CD-4733-46EF-B982-DE0DBE369053}"/>
              </a:ext>
            </a:extLst>
          </p:cNvPr>
          <p:cNvSpPr/>
          <p:nvPr/>
        </p:nvSpPr>
        <p:spPr>
          <a:xfrm rot="10800000" flipH="1">
            <a:off x="3202608" y="3661094"/>
            <a:ext cx="2386639" cy="2203032"/>
          </a:xfrm>
          <a:prstGeom prst="uturnArrow">
            <a:avLst>
              <a:gd name="adj1" fmla="val 20076"/>
              <a:gd name="adj2" fmla="val 19764"/>
              <a:gd name="adj3" fmla="val 23347"/>
              <a:gd name="adj4" fmla="val 49304"/>
              <a:gd name="adj5" fmla="val 99251"/>
            </a:avLst>
          </a:prstGeom>
          <a:gradFill flip="none" rotWithShape="1">
            <a:gsLst>
              <a:gs pos="18000">
                <a:schemeClr val="accent1"/>
              </a:gs>
              <a:gs pos="100000">
                <a:schemeClr val="accent1">
                  <a:lumMod val="60000"/>
                  <a:lumOff val="40000"/>
                  <a:alpha val="23000"/>
                </a:schemeClr>
              </a:gs>
            </a:gsLst>
            <a:lin ang="108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Calibri" panose="020F0502020204030204"/>
              <a:cs typeface="+mn-cs"/>
            </a:endParaRPr>
          </a:p>
        </p:txBody>
      </p:sp>
      <p:sp>
        <p:nvSpPr>
          <p:cNvPr id="9" name="Freeform 40">
            <a:extLst>
              <a:ext uri="{FF2B5EF4-FFF2-40B4-BE49-F238E27FC236}">
                <a16:creationId xmlns:a16="http://schemas.microsoft.com/office/drawing/2014/main" id="{923E7CC3-66B0-4A9E-9111-3FBB91FC343D}"/>
              </a:ext>
            </a:extLst>
          </p:cNvPr>
          <p:cNvSpPr/>
          <p:nvPr/>
        </p:nvSpPr>
        <p:spPr>
          <a:xfrm rot="10800000" flipH="1">
            <a:off x="3794289" y="4284817"/>
            <a:ext cx="988066" cy="988064"/>
          </a:xfrm>
          <a:custGeom>
            <a:avLst/>
            <a:gdLst>
              <a:gd name="connsiteX0" fmla="*/ 0 w 905504"/>
              <a:gd name="connsiteY0" fmla="*/ 452752 h 905504"/>
              <a:gd name="connsiteX1" fmla="*/ 132608 w 905504"/>
              <a:gd name="connsiteY1" fmla="*/ 132608 h 905504"/>
              <a:gd name="connsiteX2" fmla="*/ 452752 w 905504"/>
              <a:gd name="connsiteY2" fmla="*/ 0 h 905504"/>
              <a:gd name="connsiteX3" fmla="*/ 772896 w 905504"/>
              <a:gd name="connsiteY3" fmla="*/ 132608 h 905504"/>
              <a:gd name="connsiteX4" fmla="*/ 905504 w 905504"/>
              <a:gd name="connsiteY4" fmla="*/ 452752 h 905504"/>
              <a:gd name="connsiteX5" fmla="*/ 772896 w 905504"/>
              <a:gd name="connsiteY5" fmla="*/ 772896 h 905504"/>
              <a:gd name="connsiteX6" fmla="*/ 452752 w 905504"/>
              <a:gd name="connsiteY6" fmla="*/ 905504 h 905504"/>
              <a:gd name="connsiteX7" fmla="*/ 132608 w 905504"/>
              <a:gd name="connsiteY7" fmla="*/ 772896 h 905504"/>
              <a:gd name="connsiteX8" fmla="*/ 0 w 905504"/>
              <a:gd name="connsiteY8" fmla="*/ 452752 h 905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05504" h="905504">
                <a:moveTo>
                  <a:pt x="0" y="452752"/>
                </a:moveTo>
                <a:cubicBezTo>
                  <a:pt x="0" y="332675"/>
                  <a:pt x="47701" y="217515"/>
                  <a:pt x="132608" y="132608"/>
                </a:cubicBezTo>
                <a:cubicBezTo>
                  <a:pt x="217516" y="47701"/>
                  <a:pt x="332675" y="0"/>
                  <a:pt x="452752" y="0"/>
                </a:cubicBezTo>
                <a:cubicBezTo>
                  <a:pt x="572829" y="0"/>
                  <a:pt x="687989" y="47701"/>
                  <a:pt x="772896" y="132608"/>
                </a:cubicBezTo>
                <a:cubicBezTo>
                  <a:pt x="857803" y="217516"/>
                  <a:pt x="905504" y="332675"/>
                  <a:pt x="905504" y="452752"/>
                </a:cubicBezTo>
                <a:cubicBezTo>
                  <a:pt x="905504" y="572829"/>
                  <a:pt x="857803" y="687989"/>
                  <a:pt x="772896" y="772896"/>
                </a:cubicBezTo>
                <a:cubicBezTo>
                  <a:pt x="687988" y="857803"/>
                  <a:pt x="572829" y="905504"/>
                  <a:pt x="452752" y="905504"/>
                </a:cubicBezTo>
                <a:cubicBezTo>
                  <a:pt x="332675" y="905504"/>
                  <a:pt x="217515" y="857803"/>
                  <a:pt x="132608" y="772896"/>
                </a:cubicBezTo>
                <a:cubicBezTo>
                  <a:pt x="47701" y="687988"/>
                  <a:pt x="0" y="572829"/>
                  <a:pt x="0" y="452752"/>
                </a:cubicBezTo>
                <a:close/>
              </a:path>
            </a:pathLst>
          </a:custGeom>
          <a:gradFill>
            <a:gsLst>
              <a:gs pos="73000">
                <a:schemeClr val="accent1"/>
              </a:gs>
              <a:gs pos="31000">
                <a:schemeClr val="accent1">
                  <a:lumMod val="60000"/>
                  <a:lumOff val="40000"/>
                </a:schemeClr>
              </a:gs>
              <a:gs pos="0">
                <a:schemeClr val="accent1">
                  <a:lumMod val="40000"/>
                  <a:lumOff val="60000"/>
                </a:schemeClr>
              </a:gs>
            </a:gsLst>
            <a:path path="circle">
              <a:fillToRect r="100000" b="100000"/>
            </a:path>
          </a:gradFill>
          <a:ln>
            <a:noFill/>
          </a:ln>
          <a:effectLst>
            <a:outerShdw blurRad="444500" dist="317500" dir="5400000" sx="92000" sy="92000" algn="t" rotWithShape="0">
              <a:schemeClr val="accent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HarmonyOS Sans SC"/>
              <a:cs typeface="+mn-cs"/>
            </a:endParaRPr>
          </a:p>
        </p:txBody>
      </p:sp>
      <p:sp>
        <p:nvSpPr>
          <p:cNvPr id="10" name="U-Turn Arrow 41">
            <a:extLst>
              <a:ext uri="{FF2B5EF4-FFF2-40B4-BE49-F238E27FC236}">
                <a16:creationId xmlns:a16="http://schemas.microsoft.com/office/drawing/2014/main" id="{8C64540C-4F80-4D91-B4D4-4506B1CAA40B}"/>
              </a:ext>
            </a:extLst>
          </p:cNvPr>
          <p:cNvSpPr/>
          <p:nvPr/>
        </p:nvSpPr>
        <p:spPr>
          <a:xfrm>
            <a:off x="1502534" y="1961259"/>
            <a:ext cx="2386639" cy="2203032"/>
          </a:xfrm>
          <a:prstGeom prst="uturnArrow">
            <a:avLst>
              <a:gd name="adj1" fmla="val 20076"/>
              <a:gd name="adj2" fmla="val 19764"/>
              <a:gd name="adj3" fmla="val 23347"/>
              <a:gd name="adj4" fmla="val 49304"/>
              <a:gd name="adj5" fmla="val 99251"/>
            </a:avLst>
          </a:prstGeom>
          <a:gradFill flip="none" rotWithShape="1">
            <a:gsLst>
              <a:gs pos="18000">
                <a:schemeClr val="accent1"/>
              </a:gs>
              <a:gs pos="100000">
                <a:schemeClr val="accent1">
                  <a:lumMod val="60000"/>
                  <a:lumOff val="40000"/>
                  <a:alpha val="23000"/>
                </a:schemeClr>
              </a:gs>
            </a:gsLst>
            <a:lin ang="108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 name="Freeform 42">
            <a:extLst>
              <a:ext uri="{FF2B5EF4-FFF2-40B4-BE49-F238E27FC236}">
                <a16:creationId xmlns:a16="http://schemas.microsoft.com/office/drawing/2014/main" id="{8829CCB4-B939-4A84-907D-E1C252C690B2}"/>
              </a:ext>
            </a:extLst>
          </p:cNvPr>
          <p:cNvSpPr/>
          <p:nvPr/>
        </p:nvSpPr>
        <p:spPr>
          <a:xfrm>
            <a:off x="2094218" y="2552502"/>
            <a:ext cx="988066" cy="988064"/>
          </a:xfrm>
          <a:custGeom>
            <a:avLst/>
            <a:gdLst>
              <a:gd name="connsiteX0" fmla="*/ 0 w 905504"/>
              <a:gd name="connsiteY0" fmla="*/ 452752 h 905504"/>
              <a:gd name="connsiteX1" fmla="*/ 132608 w 905504"/>
              <a:gd name="connsiteY1" fmla="*/ 132608 h 905504"/>
              <a:gd name="connsiteX2" fmla="*/ 452752 w 905504"/>
              <a:gd name="connsiteY2" fmla="*/ 0 h 905504"/>
              <a:gd name="connsiteX3" fmla="*/ 772896 w 905504"/>
              <a:gd name="connsiteY3" fmla="*/ 132608 h 905504"/>
              <a:gd name="connsiteX4" fmla="*/ 905504 w 905504"/>
              <a:gd name="connsiteY4" fmla="*/ 452752 h 905504"/>
              <a:gd name="connsiteX5" fmla="*/ 772896 w 905504"/>
              <a:gd name="connsiteY5" fmla="*/ 772896 h 905504"/>
              <a:gd name="connsiteX6" fmla="*/ 452752 w 905504"/>
              <a:gd name="connsiteY6" fmla="*/ 905504 h 905504"/>
              <a:gd name="connsiteX7" fmla="*/ 132608 w 905504"/>
              <a:gd name="connsiteY7" fmla="*/ 772896 h 905504"/>
              <a:gd name="connsiteX8" fmla="*/ 0 w 905504"/>
              <a:gd name="connsiteY8" fmla="*/ 452752 h 905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05504" h="905504">
                <a:moveTo>
                  <a:pt x="0" y="452752"/>
                </a:moveTo>
                <a:cubicBezTo>
                  <a:pt x="0" y="332675"/>
                  <a:pt x="47701" y="217515"/>
                  <a:pt x="132608" y="132608"/>
                </a:cubicBezTo>
                <a:cubicBezTo>
                  <a:pt x="217516" y="47701"/>
                  <a:pt x="332675" y="0"/>
                  <a:pt x="452752" y="0"/>
                </a:cubicBezTo>
                <a:cubicBezTo>
                  <a:pt x="572829" y="0"/>
                  <a:pt x="687989" y="47701"/>
                  <a:pt x="772896" y="132608"/>
                </a:cubicBezTo>
                <a:cubicBezTo>
                  <a:pt x="857803" y="217516"/>
                  <a:pt x="905504" y="332675"/>
                  <a:pt x="905504" y="452752"/>
                </a:cubicBezTo>
                <a:cubicBezTo>
                  <a:pt x="905504" y="572829"/>
                  <a:pt x="857803" y="687989"/>
                  <a:pt x="772896" y="772896"/>
                </a:cubicBezTo>
                <a:cubicBezTo>
                  <a:pt x="687988" y="857803"/>
                  <a:pt x="572829" y="905504"/>
                  <a:pt x="452752" y="905504"/>
                </a:cubicBezTo>
                <a:cubicBezTo>
                  <a:pt x="332675" y="905504"/>
                  <a:pt x="217515" y="857803"/>
                  <a:pt x="132608" y="772896"/>
                </a:cubicBezTo>
                <a:cubicBezTo>
                  <a:pt x="47701" y="687988"/>
                  <a:pt x="0" y="572829"/>
                  <a:pt x="0" y="452752"/>
                </a:cubicBezTo>
                <a:close/>
              </a:path>
            </a:pathLst>
          </a:custGeom>
          <a:gradFill>
            <a:gsLst>
              <a:gs pos="73000">
                <a:schemeClr val="accent1"/>
              </a:gs>
              <a:gs pos="31000">
                <a:schemeClr val="accent1">
                  <a:lumMod val="60000"/>
                  <a:lumOff val="40000"/>
                </a:schemeClr>
              </a:gs>
              <a:gs pos="0">
                <a:schemeClr val="accent1">
                  <a:lumMod val="40000"/>
                  <a:lumOff val="60000"/>
                </a:schemeClr>
              </a:gs>
            </a:gsLst>
            <a:path path="circle">
              <a:fillToRect r="100000" b="100000"/>
            </a:path>
          </a:gradFill>
          <a:ln>
            <a:noFill/>
          </a:ln>
          <a:effectLst>
            <a:outerShdw blurRad="444500" dist="317500" dir="5400000" sx="92000" sy="92000" algn="t" rotWithShape="0">
              <a:schemeClr val="accent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HarmonyOS Sans SC"/>
              <a:cs typeface="+mn-cs"/>
            </a:endParaRPr>
          </a:p>
        </p:txBody>
      </p:sp>
      <p:sp>
        <p:nvSpPr>
          <p:cNvPr id="12" name="TextBox 15">
            <a:extLst>
              <a:ext uri="{FF2B5EF4-FFF2-40B4-BE49-F238E27FC236}">
                <a16:creationId xmlns:a16="http://schemas.microsoft.com/office/drawing/2014/main" id="{F5572ED2-79B0-4B4D-8E18-84C16F6181B0}"/>
              </a:ext>
            </a:extLst>
          </p:cNvPr>
          <p:cNvSpPr txBox="1"/>
          <p:nvPr/>
        </p:nvSpPr>
        <p:spPr>
          <a:xfrm>
            <a:off x="2178113" y="3665317"/>
            <a:ext cx="813043" cy="400110"/>
          </a:xfrm>
          <a:prstGeom prst="rect">
            <a:avLst/>
          </a:prstGeom>
        </p:spPr>
        <p:txBody>
          <a:bodyPr wrap="none">
            <a:spAutoFit/>
          </a:bodyPr>
          <a:lstStyle>
            <a:defPPr>
              <a:defRPr lang="en-US"/>
            </a:defPPr>
            <a:lvl1pPr algn="ctr" defTabSz="1219170">
              <a:defRPr>
                <a:ea typeface="Questrial" pitchFamily="2" charset="0"/>
              </a:defRPr>
            </a:lvl1p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lumMod val="75000"/>
                    <a:lumOff val="25000"/>
                  </a:prstClr>
                </a:solidFill>
                <a:effectLst/>
                <a:uLnTx/>
                <a:uFillTx/>
                <a:latin typeface="HarmonyOS Sans SC Black"/>
                <a:ea typeface="+mj-ea"/>
                <a:cs typeface="+mn-cs"/>
              </a:rPr>
              <a:t>2012</a:t>
            </a:r>
          </a:p>
        </p:txBody>
      </p:sp>
      <p:sp>
        <p:nvSpPr>
          <p:cNvPr id="13" name="TextBox 16">
            <a:extLst>
              <a:ext uri="{FF2B5EF4-FFF2-40B4-BE49-F238E27FC236}">
                <a16:creationId xmlns:a16="http://schemas.microsoft.com/office/drawing/2014/main" id="{D9165476-7588-4617-9935-4627B3E9F579}"/>
              </a:ext>
            </a:extLst>
          </p:cNvPr>
          <p:cNvSpPr txBox="1"/>
          <p:nvPr/>
        </p:nvSpPr>
        <p:spPr>
          <a:xfrm>
            <a:off x="3881801" y="3665317"/>
            <a:ext cx="813043" cy="400110"/>
          </a:xfrm>
          <a:prstGeom prst="rect">
            <a:avLst/>
          </a:prstGeom>
        </p:spPr>
        <p:txBody>
          <a:bodyPr wrap="none">
            <a:spAutoFit/>
          </a:bodyPr>
          <a:lstStyle>
            <a:defPPr>
              <a:defRPr lang="en-US"/>
            </a:defPPr>
            <a:lvl1pPr algn="ctr" defTabSz="1219170">
              <a:defRPr>
                <a:ea typeface="Questrial" pitchFamily="2" charset="0"/>
              </a:defRPr>
            </a:lvl1p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black">
                    <a:lumMod val="75000"/>
                    <a:lumOff val="25000"/>
                  </a:prstClr>
                </a:solidFill>
                <a:effectLst/>
                <a:uLnTx/>
                <a:uFillTx/>
                <a:latin typeface="HarmonyOS Sans SC Black"/>
                <a:ea typeface="+mj-ea"/>
                <a:cs typeface="+mn-cs"/>
              </a:rPr>
              <a:t>2014</a:t>
            </a:r>
          </a:p>
        </p:txBody>
      </p:sp>
      <p:sp>
        <p:nvSpPr>
          <p:cNvPr id="14" name="TextBox 17">
            <a:extLst>
              <a:ext uri="{FF2B5EF4-FFF2-40B4-BE49-F238E27FC236}">
                <a16:creationId xmlns:a16="http://schemas.microsoft.com/office/drawing/2014/main" id="{39C9B486-BC75-4064-BAB9-04A69B868489}"/>
              </a:ext>
            </a:extLst>
          </p:cNvPr>
          <p:cNvSpPr txBox="1"/>
          <p:nvPr/>
        </p:nvSpPr>
        <p:spPr>
          <a:xfrm>
            <a:off x="5576750" y="3665317"/>
            <a:ext cx="813043" cy="400110"/>
          </a:xfrm>
          <a:prstGeom prst="rect">
            <a:avLst/>
          </a:prstGeom>
        </p:spPr>
        <p:txBody>
          <a:bodyPr wrap="none">
            <a:spAutoFit/>
          </a:bodyPr>
          <a:lstStyle>
            <a:defPPr>
              <a:defRPr lang="en-US"/>
            </a:defPPr>
            <a:lvl1pPr algn="ctr" defTabSz="1219170">
              <a:defRPr>
                <a:ea typeface="Questrial" pitchFamily="2" charset="0"/>
              </a:defRPr>
            </a:lvl1p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black">
                    <a:lumMod val="75000"/>
                    <a:lumOff val="25000"/>
                  </a:prstClr>
                </a:solidFill>
                <a:effectLst/>
                <a:uLnTx/>
                <a:uFillTx/>
                <a:latin typeface="HarmonyOS Sans SC Black"/>
                <a:ea typeface="+mj-ea"/>
                <a:cs typeface="+mn-cs"/>
              </a:rPr>
              <a:t>2016</a:t>
            </a:r>
          </a:p>
        </p:txBody>
      </p:sp>
      <p:sp>
        <p:nvSpPr>
          <p:cNvPr id="15" name="TextBox 18">
            <a:extLst>
              <a:ext uri="{FF2B5EF4-FFF2-40B4-BE49-F238E27FC236}">
                <a16:creationId xmlns:a16="http://schemas.microsoft.com/office/drawing/2014/main" id="{AE0A9325-AC94-4EA4-A304-7D0C47E4F37E}"/>
              </a:ext>
            </a:extLst>
          </p:cNvPr>
          <p:cNvSpPr txBox="1"/>
          <p:nvPr/>
        </p:nvSpPr>
        <p:spPr>
          <a:xfrm>
            <a:off x="7281947" y="3665317"/>
            <a:ext cx="813043" cy="400110"/>
          </a:xfrm>
          <a:prstGeom prst="rect">
            <a:avLst/>
          </a:prstGeom>
        </p:spPr>
        <p:txBody>
          <a:bodyPr wrap="none">
            <a:spAutoFit/>
          </a:bodyPr>
          <a:lstStyle>
            <a:defPPr>
              <a:defRPr lang="en-US"/>
            </a:defPPr>
            <a:lvl1pPr algn="ctr" defTabSz="1219170">
              <a:defRPr>
                <a:ea typeface="Questrial" pitchFamily="2" charset="0"/>
              </a:defRPr>
            </a:lvl1p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black">
                    <a:lumMod val="75000"/>
                    <a:lumOff val="25000"/>
                  </a:prstClr>
                </a:solidFill>
                <a:effectLst/>
                <a:uLnTx/>
                <a:uFillTx/>
                <a:latin typeface="HarmonyOS Sans SC Black"/>
                <a:ea typeface="+mj-ea"/>
                <a:cs typeface="+mn-cs"/>
              </a:rPr>
              <a:t>2018</a:t>
            </a:r>
          </a:p>
        </p:txBody>
      </p:sp>
      <p:sp>
        <p:nvSpPr>
          <p:cNvPr id="16" name="TextBox 19">
            <a:extLst>
              <a:ext uri="{FF2B5EF4-FFF2-40B4-BE49-F238E27FC236}">
                <a16:creationId xmlns:a16="http://schemas.microsoft.com/office/drawing/2014/main" id="{6A26E77B-CB90-406B-B35B-D70732FF05EC}"/>
              </a:ext>
            </a:extLst>
          </p:cNvPr>
          <p:cNvSpPr txBox="1"/>
          <p:nvPr/>
        </p:nvSpPr>
        <p:spPr>
          <a:xfrm>
            <a:off x="8982020" y="3665318"/>
            <a:ext cx="813043" cy="400110"/>
          </a:xfrm>
          <a:prstGeom prst="rect">
            <a:avLst/>
          </a:prstGeom>
        </p:spPr>
        <p:txBody>
          <a:bodyPr wrap="none">
            <a:spAutoFit/>
          </a:bodyPr>
          <a:lstStyle>
            <a:defPPr>
              <a:defRPr lang="en-US"/>
            </a:defPPr>
            <a:lvl1pPr algn="ctr" defTabSz="1219170">
              <a:defRPr>
                <a:ea typeface="Questrial" pitchFamily="2" charset="0"/>
              </a:defRPr>
            </a:lvl1p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lumMod val="75000"/>
                    <a:lumOff val="25000"/>
                  </a:prstClr>
                </a:solidFill>
                <a:effectLst/>
                <a:uLnTx/>
                <a:uFillTx/>
                <a:latin typeface="HarmonyOS Sans SC Black"/>
                <a:ea typeface="+mj-ea"/>
                <a:cs typeface="+mn-cs"/>
              </a:rPr>
              <a:t>2020</a:t>
            </a:r>
          </a:p>
        </p:txBody>
      </p:sp>
      <p:sp>
        <p:nvSpPr>
          <p:cNvPr id="17" name="Title 3">
            <a:extLst>
              <a:ext uri="{FF2B5EF4-FFF2-40B4-BE49-F238E27FC236}">
                <a16:creationId xmlns:a16="http://schemas.microsoft.com/office/drawing/2014/main" id="{FC9A9ACD-D99F-4781-9750-AC1E866D43B9}"/>
              </a:ext>
            </a:extLst>
          </p:cNvPr>
          <p:cNvSpPr txBox="1">
            <a:spLocks/>
          </p:cNvSpPr>
          <p:nvPr/>
        </p:nvSpPr>
        <p:spPr>
          <a:xfrm>
            <a:off x="9531236" y="4360096"/>
            <a:ext cx="1491114" cy="369332"/>
          </a:xfrm>
          <a:prstGeom prst="rect">
            <a:avLst/>
          </a:prstGeom>
          <a:noFill/>
        </p:spPr>
        <p:txBody>
          <a:bodyPr wrap="none" rtlCol="0">
            <a:spAutoFit/>
          </a:bodyPr>
          <a:lstStyle>
            <a:defPPr>
              <a:defRPr lang="en-US"/>
            </a:defPPr>
            <a:lvl1pPr>
              <a:defRPr>
                <a:solidFill>
                  <a:schemeClr val="bg1"/>
                </a:solidFill>
                <a:latin typeface="+mj-lt"/>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lumMod val="75000"/>
                    <a:lumOff val="25000"/>
                  </a:prstClr>
                </a:solidFill>
                <a:effectLst/>
                <a:uLnTx/>
                <a:uFillTx/>
                <a:latin typeface="HarmonyOS Sans SC Black"/>
                <a:ea typeface="+mj-ea"/>
                <a:cs typeface="+mn-cs"/>
              </a:rPr>
              <a:t>End Project</a:t>
            </a:r>
          </a:p>
        </p:txBody>
      </p:sp>
      <p:sp>
        <p:nvSpPr>
          <p:cNvPr id="18" name="Title 3">
            <a:extLst>
              <a:ext uri="{FF2B5EF4-FFF2-40B4-BE49-F238E27FC236}">
                <a16:creationId xmlns:a16="http://schemas.microsoft.com/office/drawing/2014/main" id="{FF512ECD-908E-4281-B411-391C39D7EAFA}"/>
              </a:ext>
            </a:extLst>
          </p:cNvPr>
          <p:cNvSpPr txBox="1">
            <a:spLocks/>
          </p:cNvSpPr>
          <p:nvPr/>
        </p:nvSpPr>
        <p:spPr>
          <a:xfrm>
            <a:off x="910047" y="4360096"/>
            <a:ext cx="1645002" cy="369332"/>
          </a:xfrm>
          <a:prstGeom prst="rect">
            <a:avLst/>
          </a:prstGeom>
          <a:noFill/>
        </p:spPr>
        <p:txBody>
          <a:bodyPr wrap="none" rtlCol="0">
            <a:spAutoFit/>
          </a:bodyPr>
          <a:lstStyle>
            <a:defPPr>
              <a:defRPr lang="en-US"/>
            </a:defPPr>
            <a:lvl1pPr>
              <a:defRPr>
                <a:solidFill>
                  <a:schemeClr val="bg1"/>
                </a:solidFill>
                <a:latin typeface="+mj-lt"/>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lumMod val="75000"/>
                    <a:lumOff val="25000"/>
                  </a:prstClr>
                </a:solidFill>
                <a:effectLst/>
                <a:uLnTx/>
                <a:uFillTx/>
                <a:latin typeface="HarmonyOS Sans SC Black"/>
                <a:ea typeface="+mj-ea"/>
                <a:cs typeface="+mn-cs"/>
              </a:rPr>
              <a:t>Start Project</a:t>
            </a:r>
          </a:p>
        </p:txBody>
      </p:sp>
      <p:sp>
        <p:nvSpPr>
          <p:cNvPr id="19" name="TextBox 22">
            <a:extLst>
              <a:ext uri="{FF2B5EF4-FFF2-40B4-BE49-F238E27FC236}">
                <a16:creationId xmlns:a16="http://schemas.microsoft.com/office/drawing/2014/main" id="{C973BEC0-4C0D-411B-B023-0BD5DEB4E6BF}"/>
              </a:ext>
            </a:extLst>
          </p:cNvPr>
          <p:cNvSpPr txBox="1"/>
          <p:nvPr/>
        </p:nvSpPr>
        <p:spPr>
          <a:xfrm>
            <a:off x="699663" y="4716919"/>
            <a:ext cx="2085116" cy="803297"/>
          </a:xfrm>
          <a:prstGeom prst="rect">
            <a:avLst/>
          </a:prstGeom>
          <a:noFill/>
        </p:spPr>
        <p:txBody>
          <a:bodyPr wrap="square" rtlCol="0">
            <a:sp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lumMod val="50000"/>
                    <a:lumOff val="50000"/>
                  </a:prstClr>
                </a:solidFill>
                <a:effectLst/>
                <a:uLnTx/>
                <a:uFillTx/>
                <a:latin typeface="HarmonyOS Sans SC"/>
                <a:cs typeface="+mn-cs"/>
              </a:rPr>
              <a:t>Sed perspiciatis unde omnis voluptatem fringilla.</a:t>
            </a:r>
          </a:p>
        </p:txBody>
      </p:sp>
      <p:sp>
        <p:nvSpPr>
          <p:cNvPr id="20" name="TextBox 23">
            <a:extLst>
              <a:ext uri="{FF2B5EF4-FFF2-40B4-BE49-F238E27FC236}">
                <a16:creationId xmlns:a16="http://schemas.microsoft.com/office/drawing/2014/main" id="{E2DE4241-9196-4F7F-8BB6-946F5A87AA96}"/>
              </a:ext>
            </a:extLst>
          </p:cNvPr>
          <p:cNvSpPr txBox="1"/>
          <p:nvPr/>
        </p:nvSpPr>
        <p:spPr>
          <a:xfrm>
            <a:off x="9233666" y="4755373"/>
            <a:ext cx="2085116" cy="791435"/>
          </a:xfrm>
          <a:prstGeom prst="rect">
            <a:avLst/>
          </a:prstGeom>
          <a:noFill/>
        </p:spPr>
        <p:txBody>
          <a:bodyPr wrap="square" rtlCol="0">
            <a:sp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lumMod val="50000"/>
                    <a:lumOff val="50000"/>
                  </a:prstClr>
                </a:solidFill>
                <a:effectLst/>
                <a:uLnTx/>
                <a:uFillTx/>
                <a:latin typeface="HarmonyOS Sans SC"/>
                <a:cs typeface="+mn-cs"/>
              </a:rPr>
              <a:t>Sed perspiciatis unde omnis voluptatem fringilla.</a:t>
            </a:r>
          </a:p>
        </p:txBody>
      </p:sp>
      <p:sp>
        <p:nvSpPr>
          <p:cNvPr id="22" name="Freeform 855">
            <a:extLst>
              <a:ext uri="{FF2B5EF4-FFF2-40B4-BE49-F238E27FC236}">
                <a16:creationId xmlns:a16="http://schemas.microsoft.com/office/drawing/2014/main" id="{F2A4B6A4-DA75-429D-881E-034FA050D312}"/>
              </a:ext>
            </a:extLst>
          </p:cNvPr>
          <p:cNvSpPr>
            <a:spLocks/>
          </p:cNvSpPr>
          <p:nvPr/>
        </p:nvSpPr>
        <p:spPr bwMode="auto">
          <a:xfrm>
            <a:off x="7518785" y="4850673"/>
            <a:ext cx="63343" cy="118901"/>
          </a:xfrm>
          <a:custGeom>
            <a:avLst/>
            <a:gdLst>
              <a:gd name="T0" fmla="*/ 538 w 538"/>
              <a:gd name="T1" fmla="*/ 0 h 1009"/>
              <a:gd name="T2" fmla="*/ 538 w 538"/>
              <a:gd name="T3" fmla="*/ 949 h 1009"/>
              <a:gd name="T4" fmla="*/ 536 w 538"/>
              <a:gd name="T5" fmla="*/ 965 h 1009"/>
              <a:gd name="T6" fmla="*/ 529 w 538"/>
              <a:gd name="T7" fmla="*/ 980 h 1009"/>
              <a:gd name="T8" fmla="*/ 520 w 538"/>
              <a:gd name="T9" fmla="*/ 992 h 1009"/>
              <a:gd name="T10" fmla="*/ 508 w 538"/>
              <a:gd name="T11" fmla="*/ 1001 h 1009"/>
              <a:gd name="T12" fmla="*/ 494 w 538"/>
              <a:gd name="T13" fmla="*/ 1007 h 1009"/>
              <a:gd name="T14" fmla="*/ 478 w 538"/>
              <a:gd name="T15" fmla="*/ 1009 h 1009"/>
              <a:gd name="T16" fmla="*/ 61 w 538"/>
              <a:gd name="T17" fmla="*/ 1009 h 1009"/>
              <a:gd name="T18" fmla="*/ 45 w 538"/>
              <a:gd name="T19" fmla="*/ 1007 h 1009"/>
              <a:gd name="T20" fmla="*/ 31 w 538"/>
              <a:gd name="T21" fmla="*/ 1001 h 1009"/>
              <a:gd name="T22" fmla="*/ 18 w 538"/>
              <a:gd name="T23" fmla="*/ 992 h 1009"/>
              <a:gd name="T24" fmla="*/ 8 w 538"/>
              <a:gd name="T25" fmla="*/ 979 h 1009"/>
              <a:gd name="T26" fmla="*/ 2 w 538"/>
              <a:gd name="T27" fmla="*/ 964 h 1009"/>
              <a:gd name="T28" fmla="*/ 0 w 538"/>
              <a:gd name="T29" fmla="*/ 949 h 1009"/>
              <a:gd name="T30" fmla="*/ 0 w 538"/>
              <a:gd name="T31" fmla="*/ 409 h 1009"/>
              <a:gd name="T32" fmla="*/ 44 w 538"/>
              <a:gd name="T33" fmla="*/ 404 h 1009"/>
              <a:gd name="T34" fmla="*/ 86 w 538"/>
              <a:gd name="T35" fmla="*/ 393 h 1009"/>
              <a:gd name="T36" fmla="*/ 126 w 538"/>
              <a:gd name="T37" fmla="*/ 377 h 1009"/>
              <a:gd name="T38" fmla="*/ 165 w 538"/>
              <a:gd name="T39" fmla="*/ 357 h 1009"/>
              <a:gd name="T40" fmla="*/ 201 w 538"/>
              <a:gd name="T41" fmla="*/ 332 h 1009"/>
              <a:gd name="T42" fmla="*/ 236 w 538"/>
              <a:gd name="T43" fmla="*/ 303 h 1009"/>
              <a:gd name="T44" fmla="*/ 538 w 538"/>
              <a:gd name="T45" fmla="*/ 0 h 10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38" h="1009">
                <a:moveTo>
                  <a:pt x="538" y="0"/>
                </a:moveTo>
                <a:lnTo>
                  <a:pt x="538" y="949"/>
                </a:lnTo>
                <a:lnTo>
                  <a:pt x="536" y="965"/>
                </a:lnTo>
                <a:lnTo>
                  <a:pt x="529" y="980"/>
                </a:lnTo>
                <a:lnTo>
                  <a:pt x="520" y="992"/>
                </a:lnTo>
                <a:lnTo>
                  <a:pt x="508" y="1001"/>
                </a:lnTo>
                <a:lnTo>
                  <a:pt x="494" y="1007"/>
                </a:lnTo>
                <a:lnTo>
                  <a:pt x="478" y="1009"/>
                </a:lnTo>
                <a:lnTo>
                  <a:pt x="61" y="1009"/>
                </a:lnTo>
                <a:lnTo>
                  <a:pt x="45" y="1007"/>
                </a:lnTo>
                <a:lnTo>
                  <a:pt x="31" y="1001"/>
                </a:lnTo>
                <a:lnTo>
                  <a:pt x="18" y="992"/>
                </a:lnTo>
                <a:lnTo>
                  <a:pt x="8" y="979"/>
                </a:lnTo>
                <a:lnTo>
                  <a:pt x="2" y="964"/>
                </a:lnTo>
                <a:lnTo>
                  <a:pt x="0" y="949"/>
                </a:lnTo>
                <a:lnTo>
                  <a:pt x="0" y="409"/>
                </a:lnTo>
                <a:lnTo>
                  <a:pt x="44" y="404"/>
                </a:lnTo>
                <a:lnTo>
                  <a:pt x="86" y="393"/>
                </a:lnTo>
                <a:lnTo>
                  <a:pt x="126" y="377"/>
                </a:lnTo>
                <a:lnTo>
                  <a:pt x="165" y="357"/>
                </a:lnTo>
                <a:lnTo>
                  <a:pt x="201" y="332"/>
                </a:lnTo>
                <a:lnTo>
                  <a:pt x="236" y="303"/>
                </a:lnTo>
                <a:lnTo>
                  <a:pt x="538"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Freeform 856">
            <a:extLst>
              <a:ext uri="{FF2B5EF4-FFF2-40B4-BE49-F238E27FC236}">
                <a16:creationId xmlns:a16="http://schemas.microsoft.com/office/drawing/2014/main" id="{91A957BF-3B12-4F43-A475-1DB75907FA03}"/>
              </a:ext>
            </a:extLst>
          </p:cNvPr>
          <p:cNvSpPr>
            <a:spLocks/>
          </p:cNvSpPr>
          <p:nvPr/>
        </p:nvSpPr>
        <p:spPr bwMode="auto">
          <a:xfrm>
            <a:off x="7606900" y="4849612"/>
            <a:ext cx="63343" cy="119962"/>
          </a:xfrm>
          <a:custGeom>
            <a:avLst/>
            <a:gdLst>
              <a:gd name="T0" fmla="*/ 0 w 537"/>
              <a:gd name="T1" fmla="*/ 0 h 1016"/>
              <a:gd name="T2" fmla="*/ 286 w 537"/>
              <a:gd name="T3" fmla="*/ 286 h 1016"/>
              <a:gd name="T4" fmla="*/ 317 w 537"/>
              <a:gd name="T5" fmla="*/ 314 h 1016"/>
              <a:gd name="T6" fmla="*/ 349 w 537"/>
              <a:gd name="T7" fmla="*/ 336 h 1016"/>
              <a:gd name="T8" fmla="*/ 383 w 537"/>
              <a:gd name="T9" fmla="*/ 356 h 1016"/>
              <a:gd name="T10" fmla="*/ 420 w 537"/>
              <a:gd name="T11" fmla="*/ 371 h 1016"/>
              <a:gd name="T12" fmla="*/ 457 w 537"/>
              <a:gd name="T13" fmla="*/ 382 h 1016"/>
              <a:gd name="T14" fmla="*/ 497 w 537"/>
              <a:gd name="T15" fmla="*/ 390 h 1016"/>
              <a:gd name="T16" fmla="*/ 537 w 537"/>
              <a:gd name="T17" fmla="*/ 393 h 1016"/>
              <a:gd name="T18" fmla="*/ 537 w 537"/>
              <a:gd name="T19" fmla="*/ 956 h 1016"/>
              <a:gd name="T20" fmla="*/ 535 w 537"/>
              <a:gd name="T21" fmla="*/ 972 h 1016"/>
              <a:gd name="T22" fmla="*/ 529 w 537"/>
              <a:gd name="T23" fmla="*/ 987 h 1016"/>
              <a:gd name="T24" fmla="*/ 520 w 537"/>
              <a:gd name="T25" fmla="*/ 999 h 1016"/>
              <a:gd name="T26" fmla="*/ 508 w 537"/>
              <a:gd name="T27" fmla="*/ 1008 h 1016"/>
              <a:gd name="T28" fmla="*/ 492 w 537"/>
              <a:gd name="T29" fmla="*/ 1014 h 1016"/>
              <a:gd name="T30" fmla="*/ 477 w 537"/>
              <a:gd name="T31" fmla="*/ 1016 h 1016"/>
              <a:gd name="T32" fmla="*/ 60 w 537"/>
              <a:gd name="T33" fmla="*/ 1016 h 1016"/>
              <a:gd name="T34" fmla="*/ 44 w 537"/>
              <a:gd name="T35" fmla="*/ 1014 h 1016"/>
              <a:gd name="T36" fmla="*/ 30 w 537"/>
              <a:gd name="T37" fmla="*/ 1008 h 1016"/>
              <a:gd name="T38" fmla="*/ 18 w 537"/>
              <a:gd name="T39" fmla="*/ 999 h 1016"/>
              <a:gd name="T40" fmla="*/ 8 w 537"/>
              <a:gd name="T41" fmla="*/ 986 h 1016"/>
              <a:gd name="T42" fmla="*/ 2 w 537"/>
              <a:gd name="T43" fmla="*/ 971 h 1016"/>
              <a:gd name="T44" fmla="*/ 0 w 537"/>
              <a:gd name="T45" fmla="*/ 956 h 1016"/>
              <a:gd name="T46" fmla="*/ 0 w 537"/>
              <a:gd name="T47" fmla="*/ 0 h 10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37" h="1016">
                <a:moveTo>
                  <a:pt x="0" y="0"/>
                </a:moveTo>
                <a:lnTo>
                  <a:pt x="286" y="286"/>
                </a:lnTo>
                <a:lnTo>
                  <a:pt x="317" y="314"/>
                </a:lnTo>
                <a:lnTo>
                  <a:pt x="349" y="336"/>
                </a:lnTo>
                <a:lnTo>
                  <a:pt x="383" y="356"/>
                </a:lnTo>
                <a:lnTo>
                  <a:pt x="420" y="371"/>
                </a:lnTo>
                <a:lnTo>
                  <a:pt x="457" y="382"/>
                </a:lnTo>
                <a:lnTo>
                  <a:pt x="497" y="390"/>
                </a:lnTo>
                <a:lnTo>
                  <a:pt x="537" y="393"/>
                </a:lnTo>
                <a:lnTo>
                  <a:pt x="537" y="956"/>
                </a:lnTo>
                <a:lnTo>
                  <a:pt x="535" y="972"/>
                </a:lnTo>
                <a:lnTo>
                  <a:pt x="529" y="987"/>
                </a:lnTo>
                <a:lnTo>
                  <a:pt x="520" y="999"/>
                </a:lnTo>
                <a:lnTo>
                  <a:pt x="508" y="1008"/>
                </a:lnTo>
                <a:lnTo>
                  <a:pt x="492" y="1014"/>
                </a:lnTo>
                <a:lnTo>
                  <a:pt x="477" y="1016"/>
                </a:lnTo>
                <a:lnTo>
                  <a:pt x="60" y="1016"/>
                </a:lnTo>
                <a:lnTo>
                  <a:pt x="44" y="1014"/>
                </a:lnTo>
                <a:lnTo>
                  <a:pt x="30" y="1008"/>
                </a:lnTo>
                <a:lnTo>
                  <a:pt x="18" y="999"/>
                </a:lnTo>
                <a:lnTo>
                  <a:pt x="8" y="986"/>
                </a:lnTo>
                <a:lnTo>
                  <a:pt x="2" y="971"/>
                </a:lnTo>
                <a:lnTo>
                  <a:pt x="0" y="956"/>
                </a:lnTo>
                <a:lnTo>
                  <a:pt x="0"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Freeform 857">
            <a:extLst>
              <a:ext uri="{FF2B5EF4-FFF2-40B4-BE49-F238E27FC236}">
                <a16:creationId xmlns:a16="http://schemas.microsoft.com/office/drawing/2014/main" id="{47397025-B2FF-493C-A48B-8DB7D7AFDE2C}"/>
              </a:ext>
            </a:extLst>
          </p:cNvPr>
          <p:cNvSpPr>
            <a:spLocks/>
          </p:cNvSpPr>
          <p:nvPr/>
        </p:nvSpPr>
        <p:spPr bwMode="auto">
          <a:xfrm>
            <a:off x="7694660" y="4826964"/>
            <a:ext cx="63343" cy="142610"/>
          </a:xfrm>
          <a:custGeom>
            <a:avLst/>
            <a:gdLst>
              <a:gd name="T0" fmla="*/ 537 w 537"/>
              <a:gd name="T1" fmla="*/ 0 h 1208"/>
              <a:gd name="T2" fmla="*/ 537 w 537"/>
              <a:gd name="T3" fmla="*/ 1148 h 1208"/>
              <a:gd name="T4" fmla="*/ 535 w 537"/>
              <a:gd name="T5" fmla="*/ 1164 h 1208"/>
              <a:gd name="T6" fmla="*/ 529 w 537"/>
              <a:gd name="T7" fmla="*/ 1179 h 1208"/>
              <a:gd name="T8" fmla="*/ 520 w 537"/>
              <a:gd name="T9" fmla="*/ 1191 h 1208"/>
              <a:gd name="T10" fmla="*/ 507 w 537"/>
              <a:gd name="T11" fmla="*/ 1200 h 1208"/>
              <a:gd name="T12" fmla="*/ 493 w 537"/>
              <a:gd name="T13" fmla="*/ 1206 h 1208"/>
              <a:gd name="T14" fmla="*/ 478 w 537"/>
              <a:gd name="T15" fmla="*/ 1208 h 1208"/>
              <a:gd name="T16" fmla="*/ 61 w 537"/>
              <a:gd name="T17" fmla="*/ 1208 h 1208"/>
              <a:gd name="T18" fmla="*/ 44 w 537"/>
              <a:gd name="T19" fmla="*/ 1206 h 1208"/>
              <a:gd name="T20" fmla="*/ 29 w 537"/>
              <a:gd name="T21" fmla="*/ 1200 h 1208"/>
              <a:gd name="T22" fmla="*/ 17 w 537"/>
              <a:gd name="T23" fmla="*/ 1191 h 1208"/>
              <a:gd name="T24" fmla="*/ 8 w 537"/>
              <a:gd name="T25" fmla="*/ 1178 h 1208"/>
              <a:gd name="T26" fmla="*/ 2 w 537"/>
              <a:gd name="T27" fmla="*/ 1163 h 1208"/>
              <a:gd name="T28" fmla="*/ 0 w 537"/>
              <a:gd name="T29" fmla="*/ 1148 h 1208"/>
              <a:gd name="T30" fmla="*/ 0 w 537"/>
              <a:gd name="T31" fmla="*/ 526 h 1208"/>
              <a:gd name="T32" fmla="*/ 31 w 537"/>
              <a:gd name="T33" fmla="*/ 504 h 1208"/>
              <a:gd name="T34" fmla="*/ 60 w 537"/>
              <a:gd name="T35" fmla="*/ 477 h 1208"/>
              <a:gd name="T36" fmla="*/ 537 w 537"/>
              <a:gd name="T37" fmla="*/ 0 h 1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37" h="1208">
                <a:moveTo>
                  <a:pt x="537" y="0"/>
                </a:moveTo>
                <a:lnTo>
                  <a:pt x="537" y="1148"/>
                </a:lnTo>
                <a:lnTo>
                  <a:pt x="535" y="1164"/>
                </a:lnTo>
                <a:lnTo>
                  <a:pt x="529" y="1179"/>
                </a:lnTo>
                <a:lnTo>
                  <a:pt x="520" y="1191"/>
                </a:lnTo>
                <a:lnTo>
                  <a:pt x="507" y="1200"/>
                </a:lnTo>
                <a:lnTo>
                  <a:pt x="493" y="1206"/>
                </a:lnTo>
                <a:lnTo>
                  <a:pt x="478" y="1208"/>
                </a:lnTo>
                <a:lnTo>
                  <a:pt x="61" y="1208"/>
                </a:lnTo>
                <a:lnTo>
                  <a:pt x="44" y="1206"/>
                </a:lnTo>
                <a:lnTo>
                  <a:pt x="29" y="1200"/>
                </a:lnTo>
                <a:lnTo>
                  <a:pt x="17" y="1191"/>
                </a:lnTo>
                <a:lnTo>
                  <a:pt x="8" y="1178"/>
                </a:lnTo>
                <a:lnTo>
                  <a:pt x="2" y="1163"/>
                </a:lnTo>
                <a:lnTo>
                  <a:pt x="0" y="1148"/>
                </a:lnTo>
                <a:lnTo>
                  <a:pt x="0" y="526"/>
                </a:lnTo>
                <a:lnTo>
                  <a:pt x="31" y="504"/>
                </a:lnTo>
                <a:lnTo>
                  <a:pt x="60" y="477"/>
                </a:lnTo>
                <a:lnTo>
                  <a:pt x="537"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5" name="Freeform 858">
            <a:extLst>
              <a:ext uri="{FF2B5EF4-FFF2-40B4-BE49-F238E27FC236}">
                <a16:creationId xmlns:a16="http://schemas.microsoft.com/office/drawing/2014/main" id="{A95A5CC5-EF93-4545-BD9F-EC1BB276AC82}"/>
              </a:ext>
            </a:extLst>
          </p:cNvPr>
          <p:cNvSpPr>
            <a:spLocks/>
          </p:cNvSpPr>
          <p:nvPr/>
        </p:nvSpPr>
        <p:spPr bwMode="auto">
          <a:xfrm>
            <a:off x="7782420" y="4743804"/>
            <a:ext cx="63697" cy="225770"/>
          </a:xfrm>
          <a:custGeom>
            <a:avLst/>
            <a:gdLst>
              <a:gd name="T0" fmla="*/ 497 w 538"/>
              <a:gd name="T1" fmla="*/ 0 h 1915"/>
              <a:gd name="T2" fmla="*/ 506 w 538"/>
              <a:gd name="T3" fmla="*/ 9 h 1915"/>
              <a:gd name="T4" fmla="*/ 514 w 538"/>
              <a:gd name="T5" fmla="*/ 18 h 1915"/>
              <a:gd name="T6" fmla="*/ 526 w 538"/>
              <a:gd name="T7" fmla="*/ 28 h 1915"/>
              <a:gd name="T8" fmla="*/ 538 w 538"/>
              <a:gd name="T9" fmla="*/ 39 h 1915"/>
              <a:gd name="T10" fmla="*/ 538 w 538"/>
              <a:gd name="T11" fmla="*/ 1855 h 1915"/>
              <a:gd name="T12" fmla="*/ 536 w 538"/>
              <a:gd name="T13" fmla="*/ 1871 h 1915"/>
              <a:gd name="T14" fmla="*/ 530 w 538"/>
              <a:gd name="T15" fmla="*/ 1886 h 1915"/>
              <a:gd name="T16" fmla="*/ 520 w 538"/>
              <a:gd name="T17" fmla="*/ 1898 h 1915"/>
              <a:gd name="T18" fmla="*/ 507 w 538"/>
              <a:gd name="T19" fmla="*/ 1907 h 1915"/>
              <a:gd name="T20" fmla="*/ 493 w 538"/>
              <a:gd name="T21" fmla="*/ 1913 h 1915"/>
              <a:gd name="T22" fmla="*/ 477 w 538"/>
              <a:gd name="T23" fmla="*/ 1915 h 1915"/>
              <a:gd name="T24" fmla="*/ 60 w 538"/>
              <a:gd name="T25" fmla="*/ 1915 h 1915"/>
              <a:gd name="T26" fmla="*/ 45 w 538"/>
              <a:gd name="T27" fmla="*/ 1913 h 1915"/>
              <a:gd name="T28" fmla="*/ 30 w 538"/>
              <a:gd name="T29" fmla="*/ 1907 h 1915"/>
              <a:gd name="T30" fmla="*/ 18 w 538"/>
              <a:gd name="T31" fmla="*/ 1898 h 1915"/>
              <a:gd name="T32" fmla="*/ 8 w 538"/>
              <a:gd name="T33" fmla="*/ 1885 h 1915"/>
              <a:gd name="T34" fmla="*/ 2 w 538"/>
              <a:gd name="T35" fmla="*/ 1870 h 1915"/>
              <a:gd name="T36" fmla="*/ 0 w 538"/>
              <a:gd name="T37" fmla="*/ 1855 h 1915"/>
              <a:gd name="T38" fmla="*/ 0 w 538"/>
              <a:gd name="T39" fmla="*/ 498 h 1915"/>
              <a:gd name="T40" fmla="*/ 497 w 538"/>
              <a:gd name="T41" fmla="*/ 0 h 19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38" h="1915">
                <a:moveTo>
                  <a:pt x="497" y="0"/>
                </a:moveTo>
                <a:lnTo>
                  <a:pt x="506" y="9"/>
                </a:lnTo>
                <a:lnTo>
                  <a:pt x="514" y="18"/>
                </a:lnTo>
                <a:lnTo>
                  <a:pt x="526" y="28"/>
                </a:lnTo>
                <a:lnTo>
                  <a:pt x="538" y="39"/>
                </a:lnTo>
                <a:lnTo>
                  <a:pt x="538" y="1855"/>
                </a:lnTo>
                <a:lnTo>
                  <a:pt x="536" y="1871"/>
                </a:lnTo>
                <a:lnTo>
                  <a:pt x="530" y="1886"/>
                </a:lnTo>
                <a:lnTo>
                  <a:pt x="520" y="1898"/>
                </a:lnTo>
                <a:lnTo>
                  <a:pt x="507" y="1907"/>
                </a:lnTo>
                <a:lnTo>
                  <a:pt x="493" y="1913"/>
                </a:lnTo>
                <a:lnTo>
                  <a:pt x="477" y="1915"/>
                </a:lnTo>
                <a:lnTo>
                  <a:pt x="60" y="1915"/>
                </a:lnTo>
                <a:lnTo>
                  <a:pt x="45" y="1913"/>
                </a:lnTo>
                <a:lnTo>
                  <a:pt x="30" y="1907"/>
                </a:lnTo>
                <a:lnTo>
                  <a:pt x="18" y="1898"/>
                </a:lnTo>
                <a:lnTo>
                  <a:pt x="8" y="1885"/>
                </a:lnTo>
                <a:lnTo>
                  <a:pt x="2" y="1870"/>
                </a:lnTo>
                <a:lnTo>
                  <a:pt x="0" y="1855"/>
                </a:lnTo>
                <a:lnTo>
                  <a:pt x="0" y="498"/>
                </a:lnTo>
                <a:lnTo>
                  <a:pt x="497"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 name="Freeform 859">
            <a:extLst>
              <a:ext uri="{FF2B5EF4-FFF2-40B4-BE49-F238E27FC236}">
                <a16:creationId xmlns:a16="http://schemas.microsoft.com/office/drawing/2014/main" id="{9CE580C7-44ED-47C1-BF3C-B0CCC170EB3F}"/>
              </a:ext>
            </a:extLst>
          </p:cNvPr>
          <p:cNvSpPr>
            <a:spLocks/>
          </p:cNvSpPr>
          <p:nvPr/>
        </p:nvSpPr>
        <p:spPr bwMode="auto">
          <a:xfrm>
            <a:off x="7492245" y="4636227"/>
            <a:ext cx="392444" cy="239217"/>
          </a:xfrm>
          <a:custGeom>
            <a:avLst/>
            <a:gdLst>
              <a:gd name="T0" fmla="*/ 3211 w 3327"/>
              <a:gd name="T1" fmla="*/ 0 h 2029"/>
              <a:gd name="T2" fmla="*/ 3261 w 3327"/>
              <a:gd name="T3" fmla="*/ 8 h 2029"/>
              <a:gd name="T4" fmla="*/ 3299 w 3327"/>
              <a:gd name="T5" fmla="*/ 32 h 2029"/>
              <a:gd name="T6" fmla="*/ 3321 w 3327"/>
              <a:gd name="T7" fmla="*/ 72 h 2029"/>
              <a:gd name="T8" fmla="*/ 3327 w 3327"/>
              <a:gd name="T9" fmla="*/ 124 h 2029"/>
              <a:gd name="T10" fmla="*/ 3300 w 3327"/>
              <a:gd name="T11" fmla="*/ 692 h 2029"/>
              <a:gd name="T12" fmla="*/ 3295 w 3327"/>
              <a:gd name="T13" fmla="*/ 730 h 2029"/>
              <a:gd name="T14" fmla="*/ 3278 w 3327"/>
              <a:gd name="T15" fmla="*/ 770 h 2029"/>
              <a:gd name="T16" fmla="*/ 3250 w 3327"/>
              <a:gd name="T17" fmla="*/ 799 h 2029"/>
              <a:gd name="T18" fmla="*/ 3219 w 3327"/>
              <a:gd name="T19" fmla="*/ 816 h 2029"/>
              <a:gd name="T20" fmla="*/ 3187 w 3327"/>
              <a:gd name="T21" fmla="*/ 822 h 2029"/>
              <a:gd name="T22" fmla="*/ 3153 w 3327"/>
              <a:gd name="T23" fmla="*/ 815 h 2029"/>
              <a:gd name="T24" fmla="*/ 3127 w 3327"/>
              <a:gd name="T25" fmla="*/ 799 h 2029"/>
              <a:gd name="T26" fmla="*/ 3107 w 3327"/>
              <a:gd name="T27" fmla="*/ 780 h 2029"/>
              <a:gd name="T28" fmla="*/ 1634 w 3327"/>
              <a:gd name="T29" fmla="*/ 1955 h 2029"/>
              <a:gd name="T30" fmla="*/ 1591 w 3327"/>
              <a:gd name="T31" fmla="*/ 1986 h 2029"/>
              <a:gd name="T32" fmla="*/ 1541 w 3327"/>
              <a:gd name="T33" fmla="*/ 2002 h 2029"/>
              <a:gd name="T34" fmla="*/ 1488 w 3327"/>
              <a:gd name="T35" fmla="*/ 2002 h 2029"/>
              <a:gd name="T36" fmla="*/ 1438 w 3327"/>
              <a:gd name="T37" fmla="*/ 1986 h 2029"/>
              <a:gd name="T38" fmla="*/ 1396 w 3327"/>
              <a:gd name="T39" fmla="*/ 1955 h 2029"/>
              <a:gd name="T40" fmla="*/ 317 w 3327"/>
              <a:gd name="T41" fmla="*/ 1979 h 2029"/>
              <a:gd name="T42" fmla="*/ 275 w 3327"/>
              <a:gd name="T43" fmla="*/ 2011 h 2029"/>
              <a:gd name="T44" fmla="*/ 225 w 3327"/>
              <a:gd name="T45" fmla="*/ 2027 h 2029"/>
              <a:gd name="T46" fmla="*/ 172 w 3327"/>
              <a:gd name="T47" fmla="*/ 2027 h 2029"/>
              <a:gd name="T48" fmla="*/ 122 w 3327"/>
              <a:gd name="T49" fmla="*/ 2011 h 2029"/>
              <a:gd name="T50" fmla="*/ 80 w 3327"/>
              <a:gd name="T51" fmla="*/ 1979 h 2029"/>
              <a:gd name="T52" fmla="*/ 28 w 3327"/>
              <a:gd name="T53" fmla="*/ 1925 h 2029"/>
              <a:gd name="T54" fmla="*/ 4 w 3327"/>
              <a:gd name="T55" fmla="*/ 1872 h 2029"/>
              <a:gd name="T56" fmla="*/ 0 w 3327"/>
              <a:gd name="T57" fmla="*/ 1816 h 2029"/>
              <a:gd name="T58" fmla="*/ 14 w 3327"/>
              <a:gd name="T59" fmla="*/ 1760 h 2029"/>
              <a:gd name="T60" fmla="*/ 48 w 3327"/>
              <a:gd name="T61" fmla="*/ 1710 h 2029"/>
              <a:gd name="T62" fmla="*/ 771 w 3327"/>
              <a:gd name="T63" fmla="*/ 992 h 2029"/>
              <a:gd name="T64" fmla="*/ 817 w 3327"/>
              <a:gd name="T65" fmla="*/ 968 h 2029"/>
              <a:gd name="T66" fmla="*/ 869 w 3327"/>
              <a:gd name="T67" fmla="*/ 960 h 2029"/>
              <a:gd name="T68" fmla="*/ 921 w 3327"/>
              <a:gd name="T69" fmla="*/ 968 h 2029"/>
              <a:gd name="T70" fmla="*/ 968 w 3327"/>
              <a:gd name="T71" fmla="*/ 992 h 2029"/>
              <a:gd name="T72" fmla="*/ 1515 w 3327"/>
              <a:gd name="T73" fmla="*/ 1537 h 2029"/>
              <a:gd name="T74" fmla="*/ 2586 w 3327"/>
              <a:gd name="T75" fmla="*/ 261 h 2029"/>
              <a:gd name="T76" fmla="*/ 2530 w 3327"/>
              <a:gd name="T77" fmla="*/ 204 h 2029"/>
              <a:gd name="T78" fmla="*/ 2515 w 3327"/>
              <a:gd name="T79" fmla="*/ 185 h 2029"/>
              <a:gd name="T80" fmla="*/ 2502 w 3327"/>
              <a:gd name="T81" fmla="*/ 160 h 2029"/>
              <a:gd name="T82" fmla="*/ 2497 w 3327"/>
              <a:gd name="T83" fmla="*/ 127 h 2029"/>
              <a:gd name="T84" fmla="*/ 2507 w 3327"/>
              <a:gd name="T85" fmla="*/ 89 h 2029"/>
              <a:gd name="T86" fmla="*/ 2528 w 3327"/>
              <a:gd name="T87" fmla="*/ 58 h 2029"/>
              <a:gd name="T88" fmla="*/ 2558 w 3327"/>
              <a:gd name="T89" fmla="*/ 37 h 2029"/>
              <a:gd name="T90" fmla="*/ 2589 w 3327"/>
              <a:gd name="T91" fmla="*/ 29 h 2029"/>
              <a:gd name="T92" fmla="*/ 2618 w 3327"/>
              <a:gd name="T93" fmla="*/ 27 h 2029"/>
              <a:gd name="T94" fmla="*/ 3200 w 3327"/>
              <a:gd name="T95" fmla="*/ 0 h 20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327" h="2029">
                <a:moveTo>
                  <a:pt x="3200" y="0"/>
                </a:moveTo>
                <a:lnTo>
                  <a:pt x="3211" y="0"/>
                </a:lnTo>
                <a:lnTo>
                  <a:pt x="3237" y="2"/>
                </a:lnTo>
                <a:lnTo>
                  <a:pt x="3261" y="8"/>
                </a:lnTo>
                <a:lnTo>
                  <a:pt x="3282" y="18"/>
                </a:lnTo>
                <a:lnTo>
                  <a:pt x="3299" y="32"/>
                </a:lnTo>
                <a:lnTo>
                  <a:pt x="3312" y="50"/>
                </a:lnTo>
                <a:lnTo>
                  <a:pt x="3321" y="72"/>
                </a:lnTo>
                <a:lnTo>
                  <a:pt x="3326" y="96"/>
                </a:lnTo>
                <a:lnTo>
                  <a:pt x="3327" y="124"/>
                </a:lnTo>
                <a:lnTo>
                  <a:pt x="3318" y="313"/>
                </a:lnTo>
                <a:lnTo>
                  <a:pt x="3300" y="692"/>
                </a:lnTo>
                <a:lnTo>
                  <a:pt x="3299" y="710"/>
                </a:lnTo>
                <a:lnTo>
                  <a:pt x="3295" y="730"/>
                </a:lnTo>
                <a:lnTo>
                  <a:pt x="3289" y="750"/>
                </a:lnTo>
                <a:lnTo>
                  <a:pt x="3278" y="770"/>
                </a:lnTo>
                <a:lnTo>
                  <a:pt x="3263" y="788"/>
                </a:lnTo>
                <a:lnTo>
                  <a:pt x="3250" y="799"/>
                </a:lnTo>
                <a:lnTo>
                  <a:pt x="3235" y="809"/>
                </a:lnTo>
                <a:lnTo>
                  <a:pt x="3219" y="816"/>
                </a:lnTo>
                <a:lnTo>
                  <a:pt x="3203" y="821"/>
                </a:lnTo>
                <a:lnTo>
                  <a:pt x="3187" y="822"/>
                </a:lnTo>
                <a:lnTo>
                  <a:pt x="3169" y="820"/>
                </a:lnTo>
                <a:lnTo>
                  <a:pt x="3153" y="815"/>
                </a:lnTo>
                <a:lnTo>
                  <a:pt x="3140" y="808"/>
                </a:lnTo>
                <a:lnTo>
                  <a:pt x="3127" y="799"/>
                </a:lnTo>
                <a:lnTo>
                  <a:pt x="3117" y="789"/>
                </a:lnTo>
                <a:lnTo>
                  <a:pt x="3107" y="780"/>
                </a:lnTo>
                <a:lnTo>
                  <a:pt x="2957" y="631"/>
                </a:lnTo>
                <a:lnTo>
                  <a:pt x="1634" y="1955"/>
                </a:lnTo>
                <a:lnTo>
                  <a:pt x="1613" y="1972"/>
                </a:lnTo>
                <a:lnTo>
                  <a:pt x="1591" y="1986"/>
                </a:lnTo>
                <a:lnTo>
                  <a:pt x="1567" y="1996"/>
                </a:lnTo>
                <a:lnTo>
                  <a:pt x="1541" y="2002"/>
                </a:lnTo>
                <a:lnTo>
                  <a:pt x="1515" y="2005"/>
                </a:lnTo>
                <a:lnTo>
                  <a:pt x="1488" y="2002"/>
                </a:lnTo>
                <a:lnTo>
                  <a:pt x="1462" y="1996"/>
                </a:lnTo>
                <a:lnTo>
                  <a:pt x="1438" y="1986"/>
                </a:lnTo>
                <a:lnTo>
                  <a:pt x="1416" y="1972"/>
                </a:lnTo>
                <a:lnTo>
                  <a:pt x="1396" y="1955"/>
                </a:lnTo>
                <a:lnTo>
                  <a:pt x="869" y="1428"/>
                </a:lnTo>
                <a:lnTo>
                  <a:pt x="317" y="1979"/>
                </a:lnTo>
                <a:lnTo>
                  <a:pt x="297" y="1996"/>
                </a:lnTo>
                <a:lnTo>
                  <a:pt x="275" y="2011"/>
                </a:lnTo>
                <a:lnTo>
                  <a:pt x="250" y="2021"/>
                </a:lnTo>
                <a:lnTo>
                  <a:pt x="225" y="2027"/>
                </a:lnTo>
                <a:lnTo>
                  <a:pt x="199" y="2029"/>
                </a:lnTo>
                <a:lnTo>
                  <a:pt x="172" y="2027"/>
                </a:lnTo>
                <a:lnTo>
                  <a:pt x="146" y="2021"/>
                </a:lnTo>
                <a:lnTo>
                  <a:pt x="122" y="2011"/>
                </a:lnTo>
                <a:lnTo>
                  <a:pt x="100" y="1996"/>
                </a:lnTo>
                <a:lnTo>
                  <a:pt x="80" y="1979"/>
                </a:lnTo>
                <a:lnTo>
                  <a:pt x="48" y="1948"/>
                </a:lnTo>
                <a:lnTo>
                  <a:pt x="28" y="1925"/>
                </a:lnTo>
                <a:lnTo>
                  <a:pt x="14" y="1899"/>
                </a:lnTo>
                <a:lnTo>
                  <a:pt x="4" y="1872"/>
                </a:lnTo>
                <a:lnTo>
                  <a:pt x="0" y="1844"/>
                </a:lnTo>
                <a:lnTo>
                  <a:pt x="0" y="1816"/>
                </a:lnTo>
                <a:lnTo>
                  <a:pt x="4" y="1787"/>
                </a:lnTo>
                <a:lnTo>
                  <a:pt x="14" y="1760"/>
                </a:lnTo>
                <a:lnTo>
                  <a:pt x="28" y="1734"/>
                </a:lnTo>
                <a:lnTo>
                  <a:pt x="48" y="1710"/>
                </a:lnTo>
                <a:lnTo>
                  <a:pt x="750" y="1009"/>
                </a:lnTo>
                <a:lnTo>
                  <a:pt x="771" y="992"/>
                </a:lnTo>
                <a:lnTo>
                  <a:pt x="793" y="978"/>
                </a:lnTo>
                <a:lnTo>
                  <a:pt x="817" y="968"/>
                </a:lnTo>
                <a:lnTo>
                  <a:pt x="842" y="962"/>
                </a:lnTo>
                <a:lnTo>
                  <a:pt x="869" y="960"/>
                </a:lnTo>
                <a:lnTo>
                  <a:pt x="895" y="962"/>
                </a:lnTo>
                <a:lnTo>
                  <a:pt x="921" y="968"/>
                </a:lnTo>
                <a:lnTo>
                  <a:pt x="945" y="978"/>
                </a:lnTo>
                <a:lnTo>
                  <a:pt x="968" y="992"/>
                </a:lnTo>
                <a:lnTo>
                  <a:pt x="988" y="1009"/>
                </a:lnTo>
                <a:lnTo>
                  <a:pt x="1515" y="1537"/>
                </a:lnTo>
                <a:lnTo>
                  <a:pt x="2688" y="363"/>
                </a:lnTo>
                <a:lnTo>
                  <a:pt x="2586" y="261"/>
                </a:lnTo>
                <a:lnTo>
                  <a:pt x="2537" y="211"/>
                </a:lnTo>
                <a:lnTo>
                  <a:pt x="2530" y="204"/>
                </a:lnTo>
                <a:lnTo>
                  <a:pt x="2523" y="195"/>
                </a:lnTo>
                <a:lnTo>
                  <a:pt x="2515" y="185"/>
                </a:lnTo>
                <a:lnTo>
                  <a:pt x="2508" y="173"/>
                </a:lnTo>
                <a:lnTo>
                  <a:pt x="2502" y="160"/>
                </a:lnTo>
                <a:lnTo>
                  <a:pt x="2498" y="144"/>
                </a:lnTo>
                <a:lnTo>
                  <a:pt x="2497" y="127"/>
                </a:lnTo>
                <a:lnTo>
                  <a:pt x="2500" y="109"/>
                </a:lnTo>
                <a:lnTo>
                  <a:pt x="2507" y="89"/>
                </a:lnTo>
                <a:lnTo>
                  <a:pt x="2516" y="73"/>
                </a:lnTo>
                <a:lnTo>
                  <a:pt x="2528" y="58"/>
                </a:lnTo>
                <a:lnTo>
                  <a:pt x="2542" y="45"/>
                </a:lnTo>
                <a:lnTo>
                  <a:pt x="2558" y="37"/>
                </a:lnTo>
                <a:lnTo>
                  <a:pt x="2573" y="32"/>
                </a:lnTo>
                <a:lnTo>
                  <a:pt x="2589" y="29"/>
                </a:lnTo>
                <a:lnTo>
                  <a:pt x="2604" y="28"/>
                </a:lnTo>
                <a:lnTo>
                  <a:pt x="2618" y="27"/>
                </a:lnTo>
                <a:lnTo>
                  <a:pt x="2909" y="13"/>
                </a:lnTo>
                <a:lnTo>
                  <a:pt x="3200"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armonyOS Sans SC Black"/>
              <a:ea typeface="+mj-ea"/>
              <a:cs typeface="+mn-cs"/>
            </a:endParaRPr>
          </a:p>
        </p:txBody>
      </p:sp>
      <p:sp>
        <p:nvSpPr>
          <p:cNvPr id="28" name="Freeform 939">
            <a:extLst>
              <a:ext uri="{FF2B5EF4-FFF2-40B4-BE49-F238E27FC236}">
                <a16:creationId xmlns:a16="http://schemas.microsoft.com/office/drawing/2014/main" id="{CCD6D672-92C5-4DC8-AABA-1A29E4E88FFB}"/>
              </a:ext>
            </a:extLst>
          </p:cNvPr>
          <p:cNvSpPr>
            <a:spLocks/>
          </p:cNvSpPr>
          <p:nvPr/>
        </p:nvSpPr>
        <p:spPr bwMode="auto">
          <a:xfrm>
            <a:off x="4240996" y="4605231"/>
            <a:ext cx="94651" cy="94651"/>
          </a:xfrm>
          <a:custGeom>
            <a:avLst/>
            <a:gdLst>
              <a:gd name="T0" fmla="*/ 411 w 821"/>
              <a:gd name="T1" fmla="*/ 0 h 821"/>
              <a:gd name="T2" fmla="*/ 462 w 821"/>
              <a:gd name="T3" fmla="*/ 3 h 821"/>
              <a:gd name="T4" fmla="*/ 512 w 821"/>
              <a:gd name="T5" fmla="*/ 13 h 821"/>
              <a:gd name="T6" fmla="*/ 560 w 821"/>
              <a:gd name="T7" fmla="*/ 29 h 821"/>
              <a:gd name="T8" fmla="*/ 604 w 821"/>
              <a:gd name="T9" fmla="*/ 49 h 821"/>
              <a:gd name="T10" fmla="*/ 645 w 821"/>
              <a:gd name="T11" fmla="*/ 74 h 821"/>
              <a:gd name="T12" fmla="*/ 683 w 821"/>
              <a:gd name="T13" fmla="*/ 104 h 821"/>
              <a:gd name="T14" fmla="*/ 718 w 821"/>
              <a:gd name="T15" fmla="*/ 139 h 821"/>
              <a:gd name="T16" fmla="*/ 748 w 821"/>
              <a:gd name="T17" fmla="*/ 176 h 821"/>
              <a:gd name="T18" fmla="*/ 773 w 821"/>
              <a:gd name="T19" fmla="*/ 218 h 821"/>
              <a:gd name="T20" fmla="*/ 794 w 821"/>
              <a:gd name="T21" fmla="*/ 263 h 821"/>
              <a:gd name="T22" fmla="*/ 809 w 821"/>
              <a:gd name="T23" fmla="*/ 310 h 821"/>
              <a:gd name="T24" fmla="*/ 818 w 821"/>
              <a:gd name="T25" fmla="*/ 360 h 821"/>
              <a:gd name="T26" fmla="*/ 821 w 821"/>
              <a:gd name="T27" fmla="*/ 411 h 821"/>
              <a:gd name="T28" fmla="*/ 818 w 821"/>
              <a:gd name="T29" fmla="*/ 462 h 821"/>
              <a:gd name="T30" fmla="*/ 809 w 821"/>
              <a:gd name="T31" fmla="*/ 512 h 821"/>
              <a:gd name="T32" fmla="*/ 794 w 821"/>
              <a:gd name="T33" fmla="*/ 560 h 821"/>
              <a:gd name="T34" fmla="*/ 773 w 821"/>
              <a:gd name="T35" fmla="*/ 604 h 821"/>
              <a:gd name="T36" fmla="*/ 748 w 821"/>
              <a:gd name="T37" fmla="*/ 645 h 821"/>
              <a:gd name="T38" fmla="*/ 718 w 821"/>
              <a:gd name="T39" fmla="*/ 683 h 821"/>
              <a:gd name="T40" fmla="*/ 683 w 821"/>
              <a:gd name="T41" fmla="*/ 718 h 821"/>
              <a:gd name="T42" fmla="*/ 645 w 821"/>
              <a:gd name="T43" fmla="*/ 748 h 821"/>
              <a:gd name="T44" fmla="*/ 604 w 821"/>
              <a:gd name="T45" fmla="*/ 773 h 821"/>
              <a:gd name="T46" fmla="*/ 560 w 821"/>
              <a:gd name="T47" fmla="*/ 794 h 821"/>
              <a:gd name="T48" fmla="*/ 512 w 821"/>
              <a:gd name="T49" fmla="*/ 809 h 821"/>
              <a:gd name="T50" fmla="*/ 462 w 821"/>
              <a:gd name="T51" fmla="*/ 818 h 821"/>
              <a:gd name="T52" fmla="*/ 411 w 821"/>
              <a:gd name="T53" fmla="*/ 821 h 821"/>
              <a:gd name="T54" fmla="*/ 360 w 821"/>
              <a:gd name="T55" fmla="*/ 818 h 821"/>
              <a:gd name="T56" fmla="*/ 310 w 821"/>
              <a:gd name="T57" fmla="*/ 809 h 821"/>
              <a:gd name="T58" fmla="*/ 263 w 821"/>
              <a:gd name="T59" fmla="*/ 794 h 821"/>
              <a:gd name="T60" fmla="*/ 218 w 821"/>
              <a:gd name="T61" fmla="*/ 773 h 821"/>
              <a:gd name="T62" fmla="*/ 176 w 821"/>
              <a:gd name="T63" fmla="*/ 748 h 821"/>
              <a:gd name="T64" fmla="*/ 139 w 821"/>
              <a:gd name="T65" fmla="*/ 718 h 821"/>
              <a:gd name="T66" fmla="*/ 104 w 821"/>
              <a:gd name="T67" fmla="*/ 683 h 821"/>
              <a:gd name="T68" fmla="*/ 74 w 821"/>
              <a:gd name="T69" fmla="*/ 645 h 821"/>
              <a:gd name="T70" fmla="*/ 49 w 821"/>
              <a:gd name="T71" fmla="*/ 604 h 821"/>
              <a:gd name="T72" fmla="*/ 29 w 821"/>
              <a:gd name="T73" fmla="*/ 560 h 821"/>
              <a:gd name="T74" fmla="*/ 13 w 821"/>
              <a:gd name="T75" fmla="*/ 512 h 821"/>
              <a:gd name="T76" fmla="*/ 3 w 821"/>
              <a:gd name="T77" fmla="*/ 462 h 821"/>
              <a:gd name="T78" fmla="*/ 0 w 821"/>
              <a:gd name="T79" fmla="*/ 411 h 821"/>
              <a:gd name="T80" fmla="*/ 3 w 821"/>
              <a:gd name="T81" fmla="*/ 360 h 821"/>
              <a:gd name="T82" fmla="*/ 13 w 821"/>
              <a:gd name="T83" fmla="*/ 310 h 821"/>
              <a:gd name="T84" fmla="*/ 29 w 821"/>
              <a:gd name="T85" fmla="*/ 263 h 821"/>
              <a:gd name="T86" fmla="*/ 49 w 821"/>
              <a:gd name="T87" fmla="*/ 218 h 821"/>
              <a:gd name="T88" fmla="*/ 74 w 821"/>
              <a:gd name="T89" fmla="*/ 176 h 821"/>
              <a:gd name="T90" fmla="*/ 104 w 821"/>
              <a:gd name="T91" fmla="*/ 139 h 821"/>
              <a:gd name="T92" fmla="*/ 139 w 821"/>
              <a:gd name="T93" fmla="*/ 104 h 821"/>
              <a:gd name="T94" fmla="*/ 176 w 821"/>
              <a:gd name="T95" fmla="*/ 74 h 821"/>
              <a:gd name="T96" fmla="*/ 218 w 821"/>
              <a:gd name="T97" fmla="*/ 49 h 821"/>
              <a:gd name="T98" fmla="*/ 263 w 821"/>
              <a:gd name="T99" fmla="*/ 29 h 821"/>
              <a:gd name="T100" fmla="*/ 310 w 821"/>
              <a:gd name="T101" fmla="*/ 13 h 821"/>
              <a:gd name="T102" fmla="*/ 360 w 821"/>
              <a:gd name="T103" fmla="*/ 3 h 821"/>
              <a:gd name="T104" fmla="*/ 411 w 821"/>
              <a:gd name="T105" fmla="*/ 0 h 8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21" h="821">
                <a:moveTo>
                  <a:pt x="411" y="0"/>
                </a:moveTo>
                <a:lnTo>
                  <a:pt x="462" y="3"/>
                </a:lnTo>
                <a:lnTo>
                  <a:pt x="512" y="13"/>
                </a:lnTo>
                <a:lnTo>
                  <a:pt x="560" y="29"/>
                </a:lnTo>
                <a:lnTo>
                  <a:pt x="604" y="49"/>
                </a:lnTo>
                <a:lnTo>
                  <a:pt x="645" y="74"/>
                </a:lnTo>
                <a:lnTo>
                  <a:pt x="683" y="104"/>
                </a:lnTo>
                <a:lnTo>
                  <a:pt x="718" y="139"/>
                </a:lnTo>
                <a:lnTo>
                  <a:pt x="748" y="176"/>
                </a:lnTo>
                <a:lnTo>
                  <a:pt x="773" y="218"/>
                </a:lnTo>
                <a:lnTo>
                  <a:pt x="794" y="263"/>
                </a:lnTo>
                <a:lnTo>
                  <a:pt x="809" y="310"/>
                </a:lnTo>
                <a:lnTo>
                  <a:pt x="818" y="360"/>
                </a:lnTo>
                <a:lnTo>
                  <a:pt x="821" y="411"/>
                </a:lnTo>
                <a:lnTo>
                  <a:pt x="818" y="462"/>
                </a:lnTo>
                <a:lnTo>
                  <a:pt x="809" y="512"/>
                </a:lnTo>
                <a:lnTo>
                  <a:pt x="794" y="560"/>
                </a:lnTo>
                <a:lnTo>
                  <a:pt x="773" y="604"/>
                </a:lnTo>
                <a:lnTo>
                  <a:pt x="748" y="645"/>
                </a:lnTo>
                <a:lnTo>
                  <a:pt x="718" y="683"/>
                </a:lnTo>
                <a:lnTo>
                  <a:pt x="683" y="718"/>
                </a:lnTo>
                <a:lnTo>
                  <a:pt x="645" y="748"/>
                </a:lnTo>
                <a:lnTo>
                  <a:pt x="604" y="773"/>
                </a:lnTo>
                <a:lnTo>
                  <a:pt x="560" y="794"/>
                </a:lnTo>
                <a:lnTo>
                  <a:pt x="512" y="809"/>
                </a:lnTo>
                <a:lnTo>
                  <a:pt x="462" y="818"/>
                </a:lnTo>
                <a:lnTo>
                  <a:pt x="411" y="821"/>
                </a:lnTo>
                <a:lnTo>
                  <a:pt x="360" y="818"/>
                </a:lnTo>
                <a:lnTo>
                  <a:pt x="310" y="809"/>
                </a:lnTo>
                <a:lnTo>
                  <a:pt x="263" y="794"/>
                </a:lnTo>
                <a:lnTo>
                  <a:pt x="218" y="773"/>
                </a:lnTo>
                <a:lnTo>
                  <a:pt x="176" y="748"/>
                </a:lnTo>
                <a:lnTo>
                  <a:pt x="139" y="718"/>
                </a:lnTo>
                <a:lnTo>
                  <a:pt x="104" y="683"/>
                </a:lnTo>
                <a:lnTo>
                  <a:pt x="74" y="645"/>
                </a:lnTo>
                <a:lnTo>
                  <a:pt x="49" y="604"/>
                </a:lnTo>
                <a:lnTo>
                  <a:pt x="29" y="560"/>
                </a:lnTo>
                <a:lnTo>
                  <a:pt x="13" y="512"/>
                </a:lnTo>
                <a:lnTo>
                  <a:pt x="3" y="462"/>
                </a:lnTo>
                <a:lnTo>
                  <a:pt x="0" y="411"/>
                </a:lnTo>
                <a:lnTo>
                  <a:pt x="3" y="360"/>
                </a:lnTo>
                <a:lnTo>
                  <a:pt x="13" y="310"/>
                </a:lnTo>
                <a:lnTo>
                  <a:pt x="29" y="263"/>
                </a:lnTo>
                <a:lnTo>
                  <a:pt x="49" y="218"/>
                </a:lnTo>
                <a:lnTo>
                  <a:pt x="74" y="176"/>
                </a:lnTo>
                <a:lnTo>
                  <a:pt x="104" y="139"/>
                </a:lnTo>
                <a:lnTo>
                  <a:pt x="139" y="104"/>
                </a:lnTo>
                <a:lnTo>
                  <a:pt x="176" y="74"/>
                </a:lnTo>
                <a:lnTo>
                  <a:pt x="218" y="49"/>
                </a:lnTo>
                <a:lnTo>
                  <a:pt x="263" y="29"/>
                </a:lnTo>
                <a:lnTo>
                  <a:pt x="310" y="13"/>
                </a:lnTo>
                <a:lnTo>
                  <a:pt x="360" y="3"/>
                </a:lnTo>
                <a:lnTo>
                  <a:pt x="411"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armonyOS Sans SC Black"/>
              <a:ea typeface="+mj-ea"/>
              <a:cs typeface="+mn-cs"/>
            </a:endParaRPr>
          </a:p>
        </p:txBody>
      </p:sp>
      <p:sp>
        <p:nvSpPr>
          <p:cNvPr id="29" name="Freeform 940">
            <a:extLst>
              <a:ext uri="{FF2B5EF4-FFF2-40B4-BE49-F238E27FC236}">
                <a16:creationId xmlns:a16="http://schemas.microsoft.com/office/drawing/2014/main" id="{5BE1FF7B-9581-4531-B671-F1B70FE4A76E}"/>
              </a:ext>
            </a:extLst>
          </p:cNvPr>
          <p:cNvSpPr>
            <a:spLocks/>
          </p:cNvSpPr>
          <p:nvPr/>
        </p:nvSpPr>
        <p:spPr bwMode="auto">
          <a:xfrm>
            <a:off x="4276922" y="4713700"/>
            <a:ext cx="22799" cy="58034"/>
          </a:xfrm>
          <a:custGeom>
            <a:avLst/>
            <a:gdLst>
              <a:gd name="T0" fmla="*/ 49 w 197"/>
              <a:gd name="T1" fmla="*/ 0 h 505"/>
              <a:gd name="T2" fmla="*/ 149 w 197"/>
              <a:gd name="T3" fmla="*/ 0 h 505"/>
              <a:gd name="T4" fmla="*/ 163 w 197"/>
              <a:gd name="T5" fmla="*/ 1 h 505"/>
              <a:gd name="T6" fmla="*/ 175 w 197"/>
              <a:gd name="T7" fmla="*/ 6 h 505"/>
              <a:gd name="T8" fmla="*/ 186 w 197"/>
              <a:gd name="T9" fmla="*/ 14 h 505"/>
              <a:gd name="T10" fmla="*/ 194 w 197"/>
              <a:gd name="T11" fmla="*/ 27 h 505"/>
              <a:gd name="T12" fmla="*/ 197 w 197"/>
              <a:gd name="T13" fmla="*/ 42 h 505"/>
              <a:gd name="T14" fmla="*/ 197 w 197"/>
              <a:gd name="T15" fmla="*/ 56 h 505"/>
              <a:gd name="T16" fmla="*/ 192 w 197"/>
              <a:gd name="T17" fmla="*/ 70 h 505"/>
              <a:gd name="T18" fmla="*/ 138 w 197"/>
              <a:gd name="T19" fmla="*/ 151 h 505"/>
              <a:gd name="T20" fmla="*/ 163 w 197"/>
              <a:gd name="T21" fmla="*/ 363 h 505"/>
              <a:gd name="T22" fmla="*/ 114 w 197"/>
              <a:gd name="T23" fmla="*/ 495 h 505"/>
              <a:gd name="T24" fmla="*/ 109 w 197"/>
              <a:gd name="T25" fmla="*/ 501 h 505"/>
              <a:gd name="T26" fmla="*/ 103 w 197"/>
              <a:gd name="T27" fmla="*/ 505 h 505"/>
              <a:gd name="T28" fmla="*/ 96 w 197"/>
              <a:gd name="T29" fmla="*/ 505 h 505"/>
              <a:gd name="T30" fmla="*/ 89 w 197"/>
              <a:gd name="T31" fmla="*/ 501 h 505"/>
              <a:gd name="T32" fmla="*/ 85 w 197"/>
              <a:gd name="T33" fmla="*/ 495 h 505"/>
              <a:gd name="T34" fmla="*/ 35 w 197"/>
              <a:gd name="T35" fmla="*/ 363 h 505"/>
              <a:gd name="T36" fmla="*/ 60 w 197"/>
              <a:gd name="T37" fmla="*/ 151 h 505"/>
              <a:gd name="T38" fmla="*/ 7 w 197"/>
              <a:gd name="T39" fmla="*/ 70 h 505"/>
              <a:gd name="T40" fmla="*/ 1 w 197"/>
              <a:gd name="T41" fmla="*/ 56 h 505"/>
              <a:gd name="T42" fmla="*/ 0 w 197"/>
              <a:gd name="T43" fmla="*/ 42 h 505"/>
              <a:gd name="T44" fmla="*/ 5 w 197"/>
              <a:gd name="T45" fmla="*/ 27 h 505"/>
              <a:gd name="T46" fmla="*/ 13 w 197"/>
              <a:gd name="T47" fmla="*/ 14 h 505"/>
              <a:gd name="T48" fmla="*/ 23 w 197"/>
              <a:gd name="T49" fmla="*/ 6 h 505"/>
              <a:gd name="T50" fmla="*/ 35 w 197"/>
              <a:gd name="T51" fmla="*/ 1 h 505"/>
              <a:gd name="T52" fmla="*/ 49 w 197"/>
              <a:gd name="T53" fmla="*/ 0 h 5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97" h="505">
                <a:moveTo>
                  <a:pt x="49" y="0"/>
                </a:moveTo>
                <a:lnTo>
                  <a:pt x="149" y="0"/>
                </a:lnTo>
                <a:lnTo>
                  <a:pt x="163" y="1"/>
                </a:lnTo>
                <a:lnTo>
                  <a:pt x="175" y="6"/>
                </a:lnTo>
                <a:lnTo>
                  <a:pt x="186" y="14"/>
                </a:lnTo>
                <a:lnTo>
                  <a:pt x="194" y="27"/>
                </a:lnTo>
                <a:lnTo>
                  <a:pt x="197" y="42"/>
                </a:lnTo>
                <a:lnTo>
                  <a:pt x="197" y="56"/>
                </a:lnTo>
                <a:lnTo>
                  <a:pt x="192" y="70"/>
                </a:lnTo>
                <a:lnTo>
                  <a:pt x="138" y="151"/>
                </a:lnTo>
                <a:lnTo>
                  <a:pt x="163" y="363"/>
                </a:lnTo>
                <a:lnTo>
                  <a:pt x="114" y="495"/>
                </a:lnTo>
                <a:lnTo>
                  <a:pt x="109" y="501"/>
                </a:lnTo>
                <a:lnTo>
                  <a:pt x="103" y="505"/>
                </a:lnTo>
                <a:lnTo>
                  <a:pt x="96" y="505"/>
                </a:lnTo>
                <a:lnTo>
                  <a:pt x="89" y="501"/>
                </a:lnTo>
                <a:lnTo>
                  <a:pt x="85" y="495"/>
                </a:lnTo>
                <a:lnTo>
                  <a:pt x="35" y="363"/>
                </a:lnTo>
                <a:lnTo>
                  <a:pt x="60" y="151"/>
                </a:lnTo>
                <a:lnTo>
                  <a:pt x="7" y="70"/>
                </a:lnTo>
                <a:lnTo>
                  <a:pt x="1" y="56"/>
                </a:lnTo>
                <a:lnTo>
                  <a:pt x="0" y="42"/>
                </a:lnTo>
                <a:lnTo>
                  <a:pt x="5" y="27"/>
                </a:lnTo>
                <a:lnTo>
                  <a:pt x="13" y="14"/>
                </a:lnTo>
                <a:lnTo>
                  <a:pt x="23" y="6"/>
                </a:lnTo>
                <a:lnTo>
                  <a:pt x="35" y="1"/>
                </a:lnTo>
                <a:lnTo>
                  <a:pt x="49"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armonyOS Sans SC Black"/>
              <a:ea typeface="+mj-ea"/>
              <a:cs typeface="+mn-cs"/>
            </a:endParaRPr>
          </a:p>
        </p:txBody>
      </p:sp>
      <p:sp>
        <p:nvSpPr>
          <p:cNvPr id="30" name="Freeform 941">
            <a:extLst>
              <a:ext uri="{FF2B5EF4-FFF2-40B4-BE49-F238E27FC236}">
                <a16:creationId xmlns:a16="http://schemas.microsoft.com/office/drawing/2014/main" id="{F82B04F1-EC9F-437F-8435-5BFBC84826B6}"/>
              </a:ext>
            </a:extLst>
          </p:cNvPr>
          <p:cNvSpPr>
            <a:spLocks/>
          </p:cNvSpPr>
          <p:nvPr/>
        </p:nvSpPr>
        <p:spPr bwMode="auto">
          <a:xfrm>
            <a:off x="4208525" y="4713700"/>
            <a:ext cx="159594" cy="110541"/>
          </a:xfrm>
          <a:custGeom>
            <a:avLst/>
            <a:gdLst>
              <a:gd name="T0" fmla="*/ 375 w 1381"/>
              <a:gd name="T1" fmla="*/ 0 h 962"/>
              <a:gd name="T2" fmla="*/ 387 w 1381"/>
              <a:gd name="T3" fmla="*/ 2 h 962"/>
              <a:gd name="T4" fmla="*/ 399 w 1381"/>
              <a:gd name="T5" fmla="*/ 7 h 962"/>
              <a:gd name="T6" fmla="*/ 407 w 1381"/>
              <a:gd name="T7" fmla="*/ 17 h 962"/>
              <a:gd name="T8" fmla="*/ 413 w 1381"/>
              <a:gd name="T9" fmla="*/ 27 h 962"/>
              <a:gd name="T10" fmla="*/ 690 w 1381"/>
              <a:gd name="T11" fmla="*/ 786 h 962"/>
              <a:gd name="T12" fmla="*/ 966 w 1381"/>
              <a:gd name="T13" fmla="*/ 27 h 962"/>
              <a:gd name="T14" fmla="*/ 973 w 1381"/>
              <a:gd name="T15" fmla="*/ 17 h 962"/>
              <a:gd name="T16" fmla="*/ 982 w 1381"/>
              <a:gd name="T17" fmla="*/ 8 h 962"/>
              <a:gd name="T18" fmla="*/ 993 w 1381"/>
              <a:gd name="T19" fmla="*/ 2 h 962"/>
              <a:gd name="T20" fmla="*/ 1005 w 1381"/>
              <a:gd name="T21" fmla="*/ 0 h 962"/>
              <a:gd name="T22" fmla="*/ 1018 w 1381"/>
              <a:gd name="T23" fmla="*/ 2 h 962"/>
              <a:gd name="T24" fmla="*/ 1133 w 1381"/>
              <a:gd name="T25" fmla="*/ 37 h 962"/>
              <a:gd name="T26" fmla="*/ 1176 w 1381"/>
              <a:gd name="T27" fmla="*/ 55 h 962"/>
              <a:gd name="T28" fmla="*/ 1216 w 1381"/>
              <a:gd name="T29" fmla="*/ 77 h 962"/>
              <a:gd name="T30" fmla="*/ 1252 w 1381"/>
              <a:gd name="T31" fmla="*/ 103 h 962"/>
              <a:gd name="T32" fmla="*/ 1285 w 1381"/>
              <a:gd name="T33" fmla="*/ 134 h 962"/>
              <a:gd name="T34" fmla="*/ 1313 w 1381"/>
              <a:gd name="T35" fmla="*/ 168 h 962"/>
              <a:gd name="T36" fmla="*/ 1336 w 1381"/>
              <a:gd name="T37" fmla="*/ 205 h 962"/>
              <a:gd name="T38" fmla="*/ 1355 w 1381"/>
              <a:gd name="T39" fmla="*/ 245 h 962"/>
              <a:gd name="T40" fmla="*/ 1370 w 1381"/>
              <a:gd name="T41" fmla="*/ 287 h 962"/>
              <a:gd name="T42" fmla="*/ 1378 w 1381"/>
              <a:gd name="T43" fmla="*/ 331 h 962"/>
              <a:gd name="T44" fmla="*/ 1381 w 1381"/>
              <a:gd name="T45" fmla="*/ 377 h 962"/>
              <a:gd name="T46" fmla="*/ 1381 w 1381"/>
              <a:gd name="T47" fmla="*/ 904 h 962"/>
              <a:gd name="T48" fmla="*/ 1378 w 1381"/>
              <a:gd name="T49" fmla="*/ 922 h 962"/>
              <a:gd name="T50" fmla="*/ 1370 w 1381"/>
              <a:gd name="T51" fmla="*/ 938 h 962"/>
              <a:gd name="T52" fmla="*/ 1357 w 1381"/>
              <a:gd name="T53" fmla="*/ 951 h 962"/>
              <a:gd name="T54" fmla="*/ 1341 w 1381"/>
              <a:gd name="T55" fmla="*/ 959 h 962"/>
              <a:gd name="T56" fmla="*/ 1322 w 1381"/>
              <a:gd name="T57" fmla="*/ 962 h 962"/>
              <a:gd name="T58" fmla="*/ 57 w 1381"/>
              <a:gd name="T59" fmla="*/ 962 h 962"/>
              <a:gd name="T60" fmla="*/ 40 w 1381"/>
              <a:gd name="T61" fmla="*/ 959 h 962"/>
              <a:gd name="T62" fmla="*/ 23 w 1381"/>
              <a:gd name="T63" fmla="*/ 951 h 962"/>
              <a:gd name="T64" fmla="*/ 10 w 1381"/>
              <a:gd name="T65" fmla="*/ 938 h 962"/>
              <a:gd name="T66" fmla="*/ 2 w 1381"/>
              <a:gd name="T67" fmla="*/ 922 h 962"/>
              <a:gd name="T68" fmla="*/ 0 w 1381"/>
              <a:gd name="T69" fmla="*/ 904 h 962"/>
              <a:gd name="T70" fmla="*/ 0 w 1381"/>
              <a:gd name="T71" fmla="*/ 377 h 962"/>
              <a:gd name="T72" fmla="*/ 2 w 1381"/>
              <a:gd name="T73" fmla="*/ 331 h 962"/>
              <a:gd name="T74" fmla="*/ 11 w 1381"/>
              <a:gd name="T75" fmla="*/ 287 h 962"/>
              <a:gd name="T76" fmla="*/ 25 w 1381"/>
              <a:gd name="T77" fmla="*/ 245 h 962"/>
              <a:gd name="T78" fmla="*/ 44 w 1381"/>
              <a:gd name="T79" fmla="*/ 205 h 962"/>
              <a:gd name="T80" fmla="*/ 68 w 1381"/>
              <a:gd name="T81" fmla="*/ 168 h 962"/>
              <a:gd name="T82" fmla="*/ 96 w 1381"/>
              <a:gd name="T83" fmla="*/ 134 h 962"/>
              <a:gd name="T84" fmla="*/ 129 w 1381"/>
              <a:gd name="T85" fmla="*/ 103 h 962"/>
              <a:gd name="T86" fmla="*/ 165 w 1381"/>
              <a:gd name="T87" fmla="*/ 77 h 962"/>
              <a:gd name="T88" fmla="*/ 205 w 1381"/>
              <a:gd name="T89" fmla="*/ 54 h 962"/>
              <a:gd name="T90" fmla="*/ 248 w 1381"/>
              <a:gd name="T91" fmla="*/ 37 h 962"/>
              <a:gd name="T92" fmla="*/ 362 w 1381"/>
              <a:gd name="T93" fmla="*/ 2 h 962"/>
              <a:gd name="T94" fmla="*/ 368 w 1381"/>
              <a:gd name="T95" fmla="*/ 1 h 962"/>
              <a:gd name="T96" fmla="*/ 375 w 1381"/>
              <a:gd name="T97" fmla="*/ 0 h 9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381" h="962">
                <a:moveTo>
                  <a:pt x="375" y="0"/>
                </a:moveTo>
                <a:lnTo>
                  <a:pt x="387" y="2"/>
                </a:lnTo>
                <a:lnTo>
                  <a:pt x="399" y="7"/>
                </a:lnTo>
                <a:lnTo>
                  <a:pt x="407" y="17"/>
                </a:lnTo>
                <a:lnTo>
                  <a:pt x="413" y="27"/>
                </a:lnTo>
                <a:lnTo>
                  <a:pt x="690" y="786"/>
                </a:lnTo>
                <a:lnTo>
                  <a:pt x="966" y="27"/>
                </a:lnTo>
                <a:lnTo>
                  <a:pt x="973" y="17"/>
                </a:lnTo>
                <a:lnTo>
                  <a:pt x="982" y="8"/>
                </a:lnTo>
                <a:lnTo>
                  <a:pt x="993" y="2"/>
                </a:lnTo>
                <a:lnTo>
                  <a:pt x="1005" y="0"/>
                </a:lnTo>
                <a:lnTo>
                  <a:pt x="1018" y="2"/>
                </a:lnTo>
                <a:lnTo>
                  <a:pt x="1133" y="37"/>
                </a:lnTo>
                <a:lnTo>
                  <a:pt x="1176" y="55"/>
                </a:lnTo>
                <a:lnTo>
                  <a:pt x="1216" y="77"/>
                </a:lnTo>
                <a:lnTo>
                  <a:pt x="1252" y="103"/>
                </a:lnTo>
                <a:lnTo>
                  <a:pt x="1285" y="134"/>
                </a:lnTo>
                <a:lnTo>
                  <a:pt x="1313" y="168"/>
                </a:lnTo>
                <a:lnTo>
                  <a:pt x="1336" y="205"/>
                </a:lnTo>
                <a:lnTo>
                  <a:pt x="1355" y="245"/>
                </a:lnTo>
                <a:lnTo>
                  <a:pt x="1370" y="287"/>
                </a:lnTo>
                <a:lnTo>
                  <a:pt x="1378" y="331"/>
                </a:lnTo>
                <a:lnTo>
                  <a:pt x="1381" y="377"/>
                </a:lnTo>
                <a:lnTo>
                  <a:pt x="1381" y="904"/>
                </a:lnTo>
                <a:lnTo>
                  <a:pt x="1378" y="922"/>
                </a:lnTo>
                <a:lnTo>
                  <a:pt x="1370" y="938"/>
                </a:lnTo>
                <a:lnTo>
                  <a:pt x="1357" y="951"/>
                </a:lnTo>
                <a:lnTo>
                  <a:pt x="1341" y="959"/>
                </a:lnTo>
                <a:lnTo>
                  <a:pt x="1322" y="962"/>
                </a:lnTo>
                <a:lnTo>
                  <a:pt x="57" y="962"/>
                </a:lnTo>
                <a:lnTo>
                  <a:pt x="40" y="959"/>
                </a:lnTo>
                <a:lnTo>
                  <a:pt x="23" y="951"/>
                </a:lnTo>
                <a:lnTo>
                  <a:pt x="10" y="938"/>
                </a:lnTo>
                <a:lnTo>
                  <a:pt x="2" y="922"/>
                </a:lnTo>
                <a:lnTo>
                  <a:pt x="0" y="904"/>
                </a:lnTo>
                <a:lnTo>
                  <a:pt x="0" y="377"/>
                </a:lnTo>
                <a:lnTo>
                  <a:pt x="2" y="331"/>
                </a:lnTo>
                <a:lnTo>
                  <a:pt x="11" y="287"/>
                </a:lnTo>
                <a:lnTo>
                  <a:pt x="25" y="245"/>
                </a:lnTo>
                <a:lnTo>
                  <a:pt x="44" y="205"/>
                </a:lnTo>
                <a:lnTo>
                  <a:pt x="68" y="168"/>
                </a:lnTo>
                <a:lnTo>
                  <a:pt x="96" y="134"/>
                </a:lnTo>
                <a:lnTo>
                  <a:pt x="129" y="103"/>
                </a:lnTo>
                <a:lnTo>
                  <a:pt x="165" y="77"/>
                </a:lnTo>
                <a:lnTo>
                  <a:pt x="205" y="54"/>
                </a:lnTo>
                <a:lnTo>
                  <a:pt x="248" y="37"/>
                </a:lnTo>
                <a:lnTo>
                  <a:pt x="362" y="2"/>
                </a:lnTo>
                <a:lnTo>
                  <a:pt x="368" y="1"/>
                </a:lnTo>
                <a:lnTo>
                  <a:pt x="375"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armonyOS Sans SC Black"/>
              <a:ea typeface="+mj-ea"/>
              <a:cs typeface="+mn-cs"/>
            </a:endParaRPr>
          </a:p>
        </p:txBody>
      </p:sp>
      <p:sp>
        <p:nvSpPr>
          <p:cNvPr id="31" name="Freeform 942">
            <a:extLst>
              <a:ext uri="{FF2B5EF4-FFF2-40B4-BE49-F238E27FC236}">
                <a16:creationId xmlns:a16="http://schemas.microsoft.com/office/drawing/2014/main" id="{729EF6A2-A05F-40F2-8242-01486764C80B}"/>
              </a:ext>
            </a:extLst>
          </p:cNvPr>
          <p:cNvSpPr>
            <a:spLocks/>
          </p:cNvSpPr>
          <p:nvPr/>
        </p:nvSpPr>
        <p:spPr bwMode="auto">
          <a:xfrm>
            <a:off x="4089693" y="4629412"/>
            <a:ext cx="94651" cy="94651"/>
          </a:xfrm>
          <a:custGeom>
            <a:avLst/>
            <a:gdLst>
              <a:gd name="T0" fmla="*/ 411 w 821"/>
              <a:gd name="T1" fmla="*/ 0 h 821"/>
              <a:gd name="T2" fmla="*/ 462 w 821"/>
              <a:gd name="T3" fmla="*/ 3 h 821"/>
              <a:gd name="T4" fmla="*/ 511 w 821"/>
              <a:gd name="T5" fmla="*/ 12 h 821"/>
              <a:gd name="T6" fmla="*/ 559 w 821"/>
              <a:gd name="T7" fmla="*/ 27 h 821"/>
              <a:gd name="T8" fmla="*/ 603 w 821"/>
              <a:gd name="T9" fmla="*/ 48 h 821"/>
              <a:gd name="T10" fmla="*/ 645 w 821"/>
              <a:gd name="T11" fmla="*/ 73 h 821"/>
              <a:gd name="T12" fmla="*/ 683 w 821"/>
              <a:gd name="T13" fmla="*/ 104 h 821"/>
              <a:gd name="T14" fmla="*/ 717 w 821"/>
              <a:gd name="T15" fmla="*/ 137 h 821"/>
              <a:gd name="T16" fmla="*/ 748 w 821"/>
              <a:gd name="T17" fmla="*/ 176 h 821"/>
              <a:gd name="T18" fmla="*/ 773 w 821"/>
              <a:gd name="T19" fmla="*/ 217 h 821"/>
              <a:gd name="T20" fmla="*/ 794 w 821"/>
              <a:gd name="T21" fmla="*/ 262 h 821"/>
              <a:gd name="T22" fmla="*/ 808 w 821"/>
              <a:gd name="T23" fmla="*/ 309 h 821"/>
              <a:gd name="T24" fmla="*/ 818 w 821"/>
              <a:gd name="T25" fmla="*/ 358 h 821"/>
              <a:gd name="T26" fmla="*/ 821 w 821"/>
              <a:gd name="T27" fmla="*/ 410 h 821"/>
              <a:gd name="T28" fmla="*/ 818 w 821"/>
              <a:gd name="T29" fmla="*/ 462 h 821"/>
              <a:gd name="T30" fmla="*/ 808 w 821"/>
              <a:gd name="T31" fmla="*/ 511 h 821"/>
              <a:gd name="T32" fmla="*/ 794 w 821"/>
              <a:gd name="T33" fmla="*/ 558 h 821"/>
              <a:gd name="T34" fmla="*/ 773 w 821"/>
              <a:gd name="T35" fmla="*/ 603 h 821"/>
              <a:gd name="T36" fmla="*/ 748 w 821"/>
              <a:gd name="T37" fmla="*/ 644 h 821"/>
              <a:gd name="T38" fmla="*/ 717 w 821"/>
              <a:gd name="T39" fmla="*/ 683 h 821"/>
              <a:gd name="T40" fmla="*/ 683 w 821"/>
              <a:gd name="T41" fmla="*/ 717 h 821"/>
              <a:gd name="T42" fmla="*/ 645 w 821"/>
              <a:gd name="T43" fmla="*/ 747 h 821"/>
              <a:gd name="T44" fmla="*/ 603 w 821"/>
              <a:gd name="T45" fmla="*/ 773 h 821"/>
              <a:gd name="T46" fmla="*/ 559 w 821"/>
              <a:gd name="T47" fmla="*/ 793 h 821"/>
              <a:gd name="T48" fmla="*/ 511 w 821"/>
              <a:gd name="T49" fmla="*/ 808 h 821"/>
              <a:gd name="T50" fmla="*/ 462 w 821"/>
              <a:gd name="T51" fmla="*/ 818 h 821"/>
              <a:gd name="T52" fmla="*/ 411 w 821"/>
              <a:gd name="T53" fmla="*/ 821 h 821"/>
              <a:gd name="T54" fmla="*/ 359 w 821"/>
              <a:gd name="T55" fmla="*/ 818 h 821"/>
              <a:gd name="T56" fmla="*/ 310 w 821"/>
              <a:gd name="T57" fmla="*/ 808 h 821"/>
              <a:gd name="T58" fmla="*/ 263 w 821"/>
              <a:gd name="T59" fmla="*/ 793 h 821"/>
              <a:gd name="T60" fmla="*/ 218 w 821"/>
              <a:gd name="T61" fmla="*/ 773 h 821"/>
              <a:gd name="T62" fmla="*/ 176 w 821"/>
              <a:gd name="T63" fmla="*/ 747 h 821"/>
              <a:gd name="T64" fmla="*/ 138 w 821"/>
              <a:gd name="T65" fmla="*/ 717 h 821"/>
              <a:gd name="T66" fmla="*/ 104 w 821"/>
              <a:gd name="T67" fmla="*/ 683 h 821"/>
              <a:gd name="T68" fmla="*/ 73 w 821"/>
              <a:gd name="T69" fmla="*/ 644 h 821"/>
              <a:gd name="T70" fmla="*/ 48 w 821"/>
              <a:gd name="T71" fmla="*/ 603 h 821"/>
              <a:gd name="T72" fmla="*/ 27 w 821"/>
              <a:gd name="T73" fmla="*/ 558 h 821"/>
              <a:gd name="T74" fmla="*/ 13 w 821"/>
              <a:gd name="T75" fmla="*/ 511 h 821"/>
              <a:gd name="T76" fmla="*/ 3 w 821"/>
              <a:gd name="T77" fmla="*/ 462 h 821"/>
              <a:gd name="T78" fmla="*/ 0 w 821"/>
              <a:gd name="T79" fmla="*/ 410 h 821"/>
              <a:gd name="T80" fmla="*/ 3 w 821"/>
              <a:gd name="T81" fmla="*/ 358 h 821"/>
              <a:gd name="T82" fmla="*/ 13 w 821"/>
              <a:gd name="T83" fmla="*/ 309 h 821"/>
              <a:gd name="T84" fmla="*/ 27 w 821"/>
              <a:gd name="T85" fmla="*/ 262 h 821"/>
              <a:gd name="T86" fmla="*/ 48 w 821"/>
              <a:gd name="T87" fmla="*/ 217 h 821"/>
              <a:gd name="T88" fmla="*/ 73 w 821"/>
              <a:gd name="T89" fmla="*/ 176 h 821"/>
              <a:gd name="T90" fmla="*/ 104 w 821"/>
              <a:gd name="T91" fmla="*/ 137 h 821"/>
              <a:gd name="T92" fmla="*/ 138 w 821"/>
              <a:gd name="T93" fmla="*/ 104 h 821"/>
              <a:gd name="T94" fmla="*/ 176 w 821"/>
              <a:gd name="T95" fmla="*/ 73 h 821"/>
              <a:gd name="T96" fmla="*/ 218 w 821"/>
              <a:gd name="T97" fmla="*/ 48 h 821"/>
              <a:gd name="T98" fmla="*/ 263 w 821"/>
              <a:gd name="T99" fmla="*/ 27 h 821"/>
              <a:gd name="T100" fmla="*/ 310 w 821"/>
              <a:gd name="T101" fmla="*/ 12 h 821"/>
              <a:gd name="T102" fmla="*/ 359 w 821"/>
              <a:gd name="T103" fmla="*/ 3 h 821"/>
              <a:gd name="T104" fmla="*/ 411 w 821"/>
              <a:gd name="T105" fmla="*/ 0 h 8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21" h="821">
                <a:moveTo>
                  <a:pt x="411" y="0"/>
                </a:moveTo>
                <a:lnTo>
                  <a:pt x="462" y="3"/>
                </a:lnTo>
                <a:lnTo>
                  <a:pt x="511" y="12"/>
                </a:lnTo>
                <a:lnTo>
                  <a:pt x="559" y="27"/>
                </a:lnTo>
                <a:lnTo>
                  <a:pt x="603" y="48"/>
                </a:lnTo>
                <a:lnTo>
                  <a:pt x="645" y="73"/>
                </a:lnTo>
                <a:lnTo>
                  <a:pt x="683" y="104"/>
                </a:lnTo>
                <a:lnTo>
                  <a:pt x="717" y="137"/>
                </a:lnTo>
                <a:lnTo>
                  <a:pt x="748" y="176"/>
                </a:lnTo>
                <a:lnTo>
                  <a:pt x="773" y="217"/>
                </a:lnTo>
                <a:lnTo>
                  <a:pt x="794" y="262"/>
                </a:lnTo>
                <a:lnTo>
                  <a:pt x="808" y="309"/>
                </a:lnTo>
                <a:lnTo>
                  <a:pt x="818" y="358"/>
                </a:lnTo>
                <a:lnTo>
                  <a:pt x="821" y="410"/>
                </a:lnTo>
                <a:lnTo>
                  <a:pt x="818" y="462"/>
                </a:lnTo>
                <a:lnTo>
                  <a:pt x="808" y="511"/>
                </a:lnTo>
                <a:lnTo>
                  <a:pt x="794" y="558"/>
                </a:lnTo>
                <a:lnTo>
                  <a:pt x="773" y="603"/>
                </a:lnTo>
                <a:lnTo>
                  <a:pt x="748" y="644"/>
                </a:lnTo>
                <a:lnTo>
                  <a:pt x="717" y="683"/>
                </a:lnTo>
                <a:lnTo>
                  <a:pt x="683" y="717"/>
                </a:lnTo>
                <a:lnTo>
                  <a:pt x="645" y="747"/>
                </a:lnTo>
                <a:lnTo>
                  <a:pt x="603" y="773"/>
                </a:lnTo>
                <a:lnTo>
                  <a:pt x="559" y="793"/>
                </a:lnTo>
                <a:lnTo>
                  <a:pt x="511" y="808"/>
                </a:lnTo>
                <a:lnTo>
                  <a:pt x="462" y="818"/>
                </a:lnTo>
                <a:lnTo>
                  <a:pt x="411" y="821"/>
                </a:lnTo>
                <a:lnTo>
                  <a:pt x="359" y="818"/>
                </a:lnTo>
                <a:lnTo>
                  <a:pt x="310" y="808"/>
                </a:lnTo>
                <a:lnTo>
                  <a:pt x="263" y="793"/>
                </a:lnTo>
                <a:lnTo>
                  <a:pt x="218" y="773"/>
                </a:lnTo>
                <a:lnTo>
                  <a:pt x="176" y="747"/>
                </a:lnTo>
                <a:lnTo>
                  <a:pt x="138" y="717"/>
                </a:lnTo>
                <a:lnTo>
                  <a:pt x="104" y="683"/>
                </a:lnTo>
                <a:lnTo>
                  <a:pt x="73" y="644"/>
                </a:lnTo>
                <a:lnTo>
                  <a:pt x="48" y="603"/>
                </a:lnTo>
                <a:lnTo>
                  <a:pt x="27" y="558"/>
                </a:lnTo>
                <a:lnTo>
                  <a:pt x="13" y="511"/>
                </a:lnTo>
                <a:lnTo>
                  <a:pt x="3" y="462"/>
                </a:lnTo>
                <a:lnTo>
                  <a:pt x="0" y="410"/>
                </a:lnTo>
                <a:lnTo>
                  <a:pt x="3" y="358"/>
                </a:lnTo>
                <a:lnTo>
                  <a:pt x="13" y="309"/>
                </a:lnTo>
                <a:lnTo>
                  <a:pt x="27" y="262"/>
                </a:lnTo>
                <a:lnTo>
                  <a:pt x="48" y="217"/>
                </a:lnTo>
                <a:lnTo>
                  <a:pt x="73" y="176"/>
                </a:lnTo>
                <a:lnTo>
                  <a:pt x="104" y="137"/>
                </a:lnTo>
                <a:lnTo>
                  <a:pt x="138" y="104"/>
                </a:lnTo>
                <a:lnTo>
                  <a:pt x="176" y="73"/>
                </a:lnTo>
                <a:lnTo>
                  <a:pt x="218" y="48"/>
                </a:lnTo>
                <a:lnTo>
                  <a:pt x="263" y="27"/>
                </a:lnTo>
                <a:lnTo>
                  <a:pt x="310" y="12"/>
                </a:lnTo>
                <a:lnTo>
                  <a:pt x="359" y="3"/>
                </a:lnTo>
                <a:lnTo>
                  <a:pt x="411"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armonyOS Sans SC Black"/>
              <a:ea typeface="+mj-ea"/>
              <a:cs typeface="+mn-cs"/>
            </a:endParaRPr>
          </a:p>
        </p:txBody>
      </p:sp>
      <p:sp>
        <p:nvSpPr>
          <p:cNvPr id="32" name="Freeform 943">
            <a:extLst>
              <a:ext uri="{FF2B5EF4-FFF2-40B4-BE49-F238E27FC236}">
                <a16:creationId xmlns:a16="http://schemas.microsoft.com/office/drawing/2014/main" id="{5089BBCB-4747-4C9D-A4D4-8843EB57277C}"/>
              </a:ext>
            </a:extLst>
          </p:cNvPr>
          <p:cNvSpPr>
            <a:spLocks/>
          </p:cNvSpPr>
          <p:nvPr/>
        </p:nvSpPr>
        <p:spPr bwMode="auto">
          <a:xfrm>
            <a:off x="4093838" y="4737190"/>
            <a:ext cx="158903" cy="263917"/>
          </a:xfrm>
          <a:custGeom>
            <a:avLst/>
            <a:gdLst>
              <a:gd name="T0" fmla="*/ 419 w 1375"/>
              <a:gd name="T1" fmla="*/ 2 h 2291"/>
              <a:gd name="T2" fmla="*/ 506 w 1375"/>
              <a:gd name="T3" fmla="*/ 24 h 2291"/>
              <a:gd name="T4" fmla="*/ 584 w 1375"/>
              <a:gd name="T5" fmla="*/ 66 h 2291"/>
              <a:gd name="T6" fmla="*/ 650 w 1375"/>
              <a:gd name="T7" fmla="*/ 125 h 2291"/>
              <a:gd name="T8" fmla="*/ 700 w 1375"/>
              <a:gd name="T9" fmla="*/ 197 h 2291"/>
              <a:gd name="T10" fmla="*/ 732 w 1375"/>
              <a:gd name="T11" fmla="*/ 280 h 2291"/>
              <a:gd name="T12" fmla="*/ 743 w 1375"/>
              <a:gd name="T13" fmla="*/ 372 h 2291"/>
              <a:gd name="T14" fmla="*/ 1070 w 1375"/>
              <a:gd name="T15" fmla="*/ 1017 h 2291"/>
              <a:gd name="T16" fmla="*/ 1158 w 1375"/>
              <a:gd name="T17" fmla="*/ 1030 h 2291"/>
              <a:gd name="T18" fmla="*/ 1237 w 1375"/>
              <a:gd name="T19" fmla="*/ 1066 h 2291"/>
              <a:gd name="T20" fmla="*/ 1300 w 1375"/>
              <a:gd name="T21" fmla="*/ 1122 h 2291"/>
              <a:gd name="T22" fmla="*/ 1347 w 1375"/>
              <a:gd name="T23" fmla="*/ 1193 h 2291"/>
              <a:gd name="T24" fmla="*/ 1372 w 1375"/>
              <a:gd name="T25" fmla="*/ 1277 h 2291"/>
              <a:gd name="T26" fmla="*/ 1375 w 1375"/>
              <a:gd name="T27" fmla="*/ 2191 h 2291"/>
              <a:gd name="T28" fmla="*/ 1364 w 1375"/>
              <a:gd name="T29" fmla="*/ 2235 h 2291"/>
              <a:gd name="T30" fmla="*/ 1337 w 1375"/>
              <a:gd name="T31" fmla="*/ 2269 h 2291"/>
              <a:gd name="T32" fmla="*/ 1297 w 1375"/>
              <a:gd name="T33" fmla="*/ 2289 h 2291"/>
              <a:gd name="T34" fmla="*/ 882 w 1375"/>
              <a:gd name="T35" fmla="*/ 2291 h 2291"/>
              <a:gd name="T36" fmla="*/ 838 w 1375"/>
              <a:gd name="T37" fmla="*/ 2281 h 2291"/>
              <a:gd name="T38" fmla="*/ 803 w 1375"/>
              <a:gd name="T39" fmla="*/ 2254 h 2291"/>
              <a:gd name="T40" fmla="*/ 784 w 1375"/>
              <a:gd name="T41" fmla="*/ 2214 h 2291"/>
              <a:gd name="T42" fmla="*/ 781 w 1375"/>
              <a:gd name="T43" fmla="*/ 1605 h 2291"/>
              <a:gd name="T44" fmla="*/ 309 w 1375"/>
              <a:gd name="T45" fmla="*/ 1602 h 2291"/>
              <a:gd name="T46" fmla="*/ 218 w 1375"/>
              <a:gd name="T47" fmla="*/ 1578 h 2291"/>
              <a:gd name="T48" fmla="*/ 139 w 1375"/>
              <a:gd name="T49" fmla="*/ 1531 h 2291"/>
              <a:gd name="T50" fmla="*/ 74 w 1375"/>
              <a:gd name="T51" fmla="*/ 1467 h 2291"/>
              <a:gd name="T52" fmla="*/ 28 w 1375"/>
              <a:gd name="T53" fmla="*/ 1388 h 2291"/>
              <a:gd name="T54" fmla="*/ 3 w 1375"/>
              <a:gd name="T55" fmla="*/ 1297 h 2291"/>
              <a:gd name="T56" fmla="*/ 0 w 1375"/>
              <a:gd name="T57" fmla="*/ 372 h 2291"/>
              <a:gd name="T58" fmla="*/ 11 w 1375"/>
              <a:gd name="T59" fmla="*/ 280 h 2291"/>
              <a:gd name="T60" fmla="*/ 44 w 1375"/>
              <a:gd name="T61" fmla="*/ 197 h 2291"/>
              <a:gd name="T62" fmla="*/ 94 w 1375"/>
              <a:gd name="T63" fmla="*/ 125 h 2291"/>
              <a:gd name="T64" fmla="*/ 159 w 1375"/>
              <a:gd name="T65" fmla="*/ 66 h 2291"/>
              <a:gd name="T66" fmla="*/ 237 w 1375"/>
              <a:gd name="T67" fmla="*/ 24 h 2291"/>
              <a:gd name="T68" fmla="*/ 325 w 1375"/>
              <a:gd name="T69" fmla="*/ 2 h 2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375" h="2291">
                <a:moveTo>
                  <a:pt x="372" y="0"/>
                </a:moveTo>
                <a:lnTo>
                  <a:pt x="419" y="2"/>
                </a:lnTo>
                <a:lnTo>
                  <a:pt x="464" y="10"/>
                </a:lnTo>
                <a:lnTo>
                  <a:pt x="506" y="24"/>
                </a:lnTo>
                <a:lnTo>
                  <a:pt x="546" y="43"/>
                </a:lnTo>
                <a:lnTo>
                  <a:pt x="584" y="66"/>
                </a:lnTo>
                <a:lnTo>
                  <a:pt x="619" y="93"/>
                </a:lnTo>
                <a:lnTo>
                  <a:pt x="650" y="125"/>
                </a:lnTo>
                <a:lnTo>
                  <a:pt x="677" y="159"/>
                </a:lnTo>
                <a:lnTo>
                  <a:pt x="700" y="197"/>
                </a:lnTo>
                <a:lnTo>
                  <a:pt x="718" y="237"/>
                </a:lnTo>
                <a:lnTo>
                  <a:pt x="732" y="280"/>
                </a:lnTo>
                <a:lnTo>
                  <a:pt x="740" y="325"/>
                </a:lnTo>
                <a:lnTo>
                  <a:pt x="743" y="372"/>
                </a:lnTo>
                <a:lnTo>
                  <a:pt x="743" y="1017"/>
                </a:lnTo>
                <a:lnTo>
                  <a:pt x="1070" y="1017"/>
                </a:lnTo>
                <a:lnTo>
                  <a:pt x="1115" y="1021"/>
                </a:lnTo>
                <a:lnTo>
                  <a:pt x="1158" y="1030"/>
                </a:lnTo>
                <a:lnTo>
                  <a:pt x="1199" y="1045"/>
                </a:lnTo>
                <a:lnTo>
                  <a:pt x="1237" y="1066"/>
                </a:lnTo>
                <a:lnTo>
                  <a:pt x="1270" y="1092"/>
                </a:lnTo>
                <a:lnTo>
                  <a:pt x="1300" y="1122"/>
                </a:lnTo>
                <a:lnTo>
                  <a:pt x="1326" y="1156"/>
                </a:lnTo>
                <a:lnTo>
                  <a:pt x="1347" y="1193"/>
                </a:lnTo>
                <a:lnTo>
                  <a:pt x="1362" y="1234"/>
                </a:lnTo>
                <a:lnTo>
                  <a:pt x="1372" y="1277"/>
                </a:lnTo>
                <a:lnTo>
                  <a:pt x="1375" y="1322"/>
                </a:lnTo>
                <a:lnTo>
                  <a:pt x="1375" y="2191"/>
                </a:lnTo>
                <a:lnTo>
                  <a:pt x="1372" y="2214"/>
                </a:lnTo>
                <a:lnTo>
                  <a:pt x="1364" y="2235"/>
                </a:lnTo>
                <a:lnTo>
                  <a:pt x="1353" y="2254"/>
                </a:lnTo>
                <a:lnTo>
                  <a:pt x="1337" y="2269"/>
                </a:lnTo>
                <a:lnTo>
                  <a:pt x="1318" y="2281"/>
                </a:lnTo>
                <a:lnTo>
                  <a:pt x="1297" y="2289"/>
                </a:lnTo>
                <a:lnTo>
                  <a:pt x="1274" y="2291"/>
                </a:lnTo>
                <a:lnTo>
                  <a:pt x="882" y="2291"/>
                </a:lnTo>
                <a:lnTo>
                  <a:pt x="859" y="2289"/>
                </a:lnTo>
                <a:lnTo>
                  <a:pt x="838" y="2281"/>
                </a:lnTo>
                <a:lnTo>
                  <a:pt x="819" y="2269"/>
                </a:lnTo>
                <a:lnTo>
                  <a:pt x="803" y="2254"/>
                </a:lnTo>
                <a:lnTo>
                  <a:pt x="791" y="2235"/>
                </a:lnTo>
                <a:lnTo>
                  <a:pt x="784" y="2214"/>
                </a:lnTo>
                <a:lnTo>
                  <a:pt x="781" y="2191"/>
                </a:lnTo>
                <a:lnTo>
                  <a:pt x="781" y="1605"/>
                </a:lnTo>
                <a:lnTo>
                  <a:pt x="357" y="1605"/>
                </a:lnTo>
                <a:lnTo>
                  <a:pt x="309" y="1602"/>
                </a:lnTo>
                <a:lnTo>
                  <a:pt x="262" y="1593"/>
                </a:lnTo>
                <a:lnTo>
                  <a:pt x="218" y="1578"/>
                </a:lnTo>
                <a:lnTo>
                  <a:pt x="177" y="1557"/>
                </a:lnTo>
                <a:lnTo>
                  <a:pt x="139" y="1531"/>
                </a:lnTo>
                <a:lnTo>
                  <a:pt x="104" y="1502"/>
                </a:lnTo>
                <a:lnTo>
                  <a:pt x="74" y="1467"/>
                </a:lnTo>
                <a:lnTo>
                  <a:pt x="49" y="1429"/>
                </a:lnTo>
                <a:lnTo>
                  <a:pt x="28" y="1388"/>
                </a:lnTo>
                <a:lnTo>
                  <a:pt x="12" y="1344"/>
                </a:lnTo>
                <a:lnTo>
                  <a:pt x="3" y="1297"/>
                </a:lnTo>
                <a:lnTo>
                  <a:pt x="0" y="1248"/>
                </a:lnTo>
                <a:lnTo>
                  <a:pt x="0" y="372"/>
                </a:lnTo>
                <a:lnTo>
                  <a:pt x="3" y="325"/>
                </a:lnTo>
                <a:lnTo>
                  <a:pt x="11" y="280"/>
                </a:lnTo>
                <a:lnTo>
                  <a:pt x="25" y="237"/>
                </a:lnTo>
                <a:lnTo>
                  <a:pt x="44" y="197"/>
                </a:lnTo>
                <a:lnTo>
                  <a:pt x="67" y="159"/>
                </a:lnTo>
                <a:lnTo>
                  <a:pt x="94" y="125"/>
                </a:lnTo>
                <a:lnTo>
                  <a:pt x="124" y="93"/>
                </a:lnTo>
                <a:lnTo>
                  <a:pt x="159" y="66"/>
                </a:lnTo>
                <a:lnTo>
                  <a:pt x="197" y="43"/>
                </a:lnTo>
                <a:lnTo>
                  <a:pt x="237" y="24"/>
                </a:lnTo>
                <a:lnTo>
                  <a:pt x="280" y="10"/>
                </a:lnTo>
                <a:lnTo>
                  <a:pt x="325" y="2"/>
                </a:lnTo>
                <a:lnTo>
                  <a:pt x="372"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 name="Freeform 944">
            <a:extLst>
              <a:ext uri="{FF2B5EF4-FFF2-40B4-BE49-F238E27FC236}">
                <a16:creationId xmlns:a16="http://schemas.microsoft.com/office/drawing/2014/main" id="{CA148A6D-382D-4CE7-89BB-C08DF3DBDC78}"/>
              </a:ext>
            </a:extLst>
          </p:cNvPr>
          <p:cNvSpPr>
            <a:spLocks/>
          </p:cNvSpPr>
          <p:nvPr/>
        </p:nvSpPr>
        <p:spPr bwMode="auto">
          <a:xfrm>
            <a:off x="4392299" y="4629412"/>
            <a:ext cx="94651" cy="94651"/>
          </a:xfrm>
          <a:custGeom>
            <a:avLst/>
            <a:gdLst>
              <a:gd name="T0" fmla="*/ 410 w 821"/>
              <a:gd name="T1" fmla="*/ 0 h 821"/>
              <a:gd name="T2" fmla="*/ 462 w 821"/>
              <a:gd name="T3" fmla="*/ 3 h 821"/>
              <a:gd name="T4" fmla="*/ 512 w 821"/>
              <a:gd name="T5" fmla="*/ 12 h 821"/>
              <a:gd name="T6" fmla="*/ 559 w 821"/>
              <a:gd name="T7" fmla="*/ 27 h 821"/>
              <a:gd name="T8" fmla="*/ 604 w 821"/>
              <a:gd name="T9" fmla="*/ 48 h 821"/>
              <a:gd name="T10" fmla="*/ 645 w 821"/>
              <a:gd name="T11" fmla="*/ 73 h 821"/>
              <a:gd name="T12" fmla="*/ 684 w 821"/>
              <a:gd name="T13" fmla="*/ 104 h 821"/>
              <a:gd name="T14" fmla="*/ 717 w 821"/>
              <a:gd name="T15" fmla="*/ 137 h 821"/>
              <a:gd name="T16" fmla="*/ 747 w 821"/>
              <a:gd name="T17" fmla="*/ 176 h 821"/>
              <a:gd name="T18" fmla="*/ 773 w 821"/>
              <a:gd name="T19" fmla="*/ 217 h 821"/>
              <a:gd name="T20" fmla="*/ 793 w 821"/>
              <a:gd name="T21" fmla="*/ 262 h 821"/>
              <a:gd name="T22" fmla="*/ 808 w 821"/>
              <a:gd name="T23" fmla="*/ 309 h 821"/>
              <a:gd name="T24" fmla="*/ 818 w 821"/>
              <a:gd name="T25" fmla="*/ 358 h 821"/>
              <a:gd name="T26" fmla="*/ 821 w 821"/>
              <a:gd name="T27" fmla="*/ 410 h 821"/>
              <a:gd name="T28" fmla="*/ 818 w 821"/>
              <a:gd name="T29" fmla="*/ 462 h 821"/>
              <a:gd name="T30" fmla="*/ 808 w 821"/>
              <a:gd name="T31" fmla="*/ 511 h 821"/>
              <a:gd name="T32" fmla="*/ 793 w 821"/>
              <a:gd name="T33" fmla="*/ 558 h 821"/>
              <a:gd name="T34" fmla="*/ 773 w 821"/>
              <a:gd name="T35" fmla="*/ 603 h 821"/>
              <a:gd name="T36" fmla="*/ 747 w 821"/>
              <a:gd name="T37" fmla="*/ 644 h 821"/>
              <a:gd name="T38" fmla="*/ 717 w 821"/>
              <a:gd name="T39" fmla="*/ 683 h 821"/>
              <a:gd name="T40" fmla="*/ 684 w 821"/>
              <a:gd name="T41" fmla="*/ 717 h 821"/>
              <a:gd name="T42" fmla="*/ 645 w 821"/>
              <a:gd name="T43" fmla="*/ 747 h 821"/>
              <a:gd name="T44" fmla="*/ 604 w 821"/>
              <a:gd name="T45" fmla="*/ 773 h 821"/>
              <a:gd name="T46" fmla="*/ 559 w 821"/>
              <a:gd name="T47" fmla="*/ 793 h 821"/>
              <a:gd name="T48" fmla="*/ 512 w 821"/>
              <a:gd name="T49" fmla="*/ 808 h 821"/>
              <a:gd name="T50" fmla="*/ 462 w 821"/>
              <a:gd name="T51" fmla="*/ 818 h 821"/>
              <a:gd name="T52" fmla="*/ 410 w 821"/>
              <a:gd name="T53" fmla="*/ 821 h 821"/>
              <a:gd name="T54" fmla="*/ 359 w 821"/>
              <a:gd name="T55" fmla="*/ 818 h 821"/>
              <a:gd name="T56" fmla="*/ 310 w 821"/>
              <a:gd name="T57" fmla="*/ 808 h 821"/>
              <a:gd name="T58" fmla="*/ 263 w 821"/>
              <a:gd name="T59" fmla="*/ 793 h 821"/>
              <a:gd name="T60" fmla="*/ 217 w 821"/>
              <a:gd name="T61" fmla="*/ 773 h 821"/>
              <a:gd name="T62" fmla="*/ 177 w 821"/>
              <a:gd name="T63" fmla="*/ 747 h 821"/>
              <a:gd name="T64" fmla="*/ 138 w 821"/>
              <a:gd name="T65" fmla="*/ 717 h 821"/>
              <a:gd name="T66" fmla="*/ 103 w 821"/>
              <a:gd name="T67" fmla="*/ 683 h 821"/>
              <a:gd name="T68" fmla="*/ 74 w 821"/>
              <a:gd name="T69" fmla="*/ 644 h 821"/>
              <a:gd name="T70" fmla="*/ 48 w 821"/>
              <a:gd name="T71" fmla="*/ 603 h 821"/>
              <a:gd name="T72" fmla="*/ 28 w 821"/>
              <a:gd name="T73" fmla="*/ 558 h 821"/>
              <a:gd name="T74" fmla="*/ 12 w 821"/>
              <a:gd name="T75" fmla="*/ 511 h 821"/>
              <a:gd name="T76" fmla="*/ 3 w 821"/>
              <a:gd name="T77" fmla="*/ 462 h 821"/>
              <a:gd name="T78" fmla="*/ 0 w 821"/>
              <a:gd name="T79" fmla="*/ 410 h 821"/>
              <a:gd name="T80" fmla="*/ 3 w 821"/>
              <a:gd name="T81" fmla="*/ 358 h 821"/>
              <a:gd name="T82" fmla="*/ 12 w 821"/>
              <a:gd name="T83" fmla="*/ 309 h 821"/>
              <a:gd name="T84" fmla="*/ 28 w 821"/>
              <a:gd name="T85" fmla="*/ 262 h 821"/>
              <a:gd name="T86" fmla="*/ 48 w 821"/>
              <a:gd name="T87" fmla="*/ 217 h 821"/>
              <a:gd name="T88" fmla="*/ 74 w 821"/>
              <a:gd name="T89" fmla="*/ 176 h 821"/>
              <a:gd name="T90" fmla="*/ 103 w 821"/>
              <a:gd name="T91" fmla="*/ 137 h 821"/>
              <a:gd name="T92" fmla="*/ 138 w 821"/>
              <a:gd name="T93" fmla="*/ 104 h 821"/>
              <a:gd name="T94" fmla="*/ 177 w 821"/>
              <a:gd name="T95" fmla="*/ 73 h 821"/>
              <a:gd name="T96" fmla="*/ 217 w 821"/>
              <a:gd name="T97" fmla="*/ 48 h 821"/>
              <a:gd name="T98" fmla="*/ 263 w 821"/>
              <a:gd name="T99" fmla="*/ 27 h 821"/>
              <a:gd name="T100" fmla="*/ 310 w 821"/>
              <a:gd name="T101" fmla="*/ 12 h 821"/>
              <a:gd name="T102" fmla="*/ 359 w 821"/>
              <a:gd name="T103" fmla="*/ 3 h 821"/>
              <a:gd name="T104" fmla="*/ 410 w 821"/>
              <a:gd name="T105" fmla="*/ 0 h 8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21" h="821">
                <a:moveTo>
                  <a:pt x="410" y="0"/>
                </a:moveTo>
                <a:lnTo>
                  <a:pt x="462" y="3"/>
                </a:lnTo>
                <a:lnTo>
                  <a:pt x="512" y="12"/>
                </a:lnTo>
                <a:lnTo>
                  <a:pt x="559" y="27"/>
                </a:lnTo>
                <a:lnTo>
                  <a:pt x="604" y="48"/>
                </a:lnTo>
                <a:lnTo>
                  <a:pt x="645" y="73"/>
                </a:lnTo>
                <a:lnTo>
                  <a:pt x="684" y="104"/>
                </a:lnTo>
                <a:lnTo>
                  <a:pt x="717" y="137"/>
                </a:lnTo>
                <a:lnTo>
                  <a:pt x="747" y="176"/>
                </a:lnTo>
                <a:lnTo>
                  <a:pt x="773" y="217"/>
                </a:lnTo>
                <a:lnTo>
                  <a:pt x="793" y="262"/>
                </a:lnTo>
                <a:lnTo>
                  <a:pt x="808" y="309"/>
                </a:lnTo>
                <a:lnTo>
                  <a:pt x="818" y="358"/>
                </a:lnTo>
                <a:lnTo>
                  <a:pt x="821" y="410"/>
                </a:lnTo>
                <a:lnTo>
                  <a:pt x="818" y="462"/>
                </a:lnTo>
                <a:lnTo>
                  <a:pt x="808" y="511"/>
                </a:lnTo>
                <a:lnTo>
                  <a:pt x="793" y="558"/>
                </a:lnTo>
                <a:lnTo>
                  <a:pt x="773" y="603"/>
                </a:lnTo>
                <a:lnTo>
                  <a:pt x="747" y="644"/>
                </a:lnTo>
                <a:lnTo>
                  <a:pt x="717" y="683"/>
                </a:lnTo>
                <a:lnTo>
                  <a:pt x="684" y="717"/>
                </a:lnTo>
                <a:lnTo>
                  <a:pt x="645" y="747"/>
                </a:lnTo>
                <a:lnTo>
                  <a:pt x="604" y="773"/>
                </a:lnTo>
                <a:lnTo>
                  <a:pt x="559" y="793"/>
                </a:lnTo>
                <a:lnTo>
                  <a:pt x="512" y="808"/>
                </a:lnTo>
                <a:lnTo>
                  <a:pt x="462" y="818"/>
                </a:lnTo>
                <a:lnTo>
                  <a:pt x="410" y="821"/>
                </a:lnTo>
                <a:lnTo>
                  <a:pt x="359" y="818"/>
                </a:lnTo>
                <a:lnTo>
                  <a:pt x="310" y="808"/>
                </a:lnTo>
                <a:lnTo>
                  <a:pt x="263" y="793"/>
                </a:lnTo>
                <a:lnTo>
                  <a:pt x="217" y="773"/>
                </a:lnTo>
                <a:lnTo>
                  <a:pt x="177" y="747"/>
                </a:lnTo>
                <a:lnTo>
                  <a:pt x="138" y="717"/>
                </a:lnTo>
                <a:lnTo>
                  <a:pt x="103" y="683"/>
                </a:lnTo>
                <a:lnTo>
                  <a:pt x="74" y="644"/>
                </a:lnTo>
                <a:lnTo>
                  <a:pt x="48" y="603"/>
                </a:lnTo>
                <a:lnTo>
                  <a:pt x="28" y="558"/>
                </a:lnTo>
                <a:lnTo>
                  <a:pt x="12" y="511"/>
                </a:lnTo>
                <a:lnTo>
                  <a:pt x="3" y="462"/>
                </a:lnTo>
                <a:lnTo>
                  <a:pt x="0" y="410"/>
                </a:lnTo>
                <a:lnTo>
                  <a:pt x="3" y="358"/>
                </a:lnTo>
                <a:lnTo>
                  <a:pt x="12" y="309"/>
                </a:lnTo>
                <a:lnTo>
                  <a:pt x="28" y="262"/>
                </a:lnTo>
                <a:lnTo>
                  <a:pt x="48" y="217"/>
                </a:lnTo>
                <a:lnTo>
                  <a:pt x="74" y="176"/>
                </a:lnTo>
                <a:lnTo>
                  <a:pt x="103" y="137"/>
                </a:lnTo>
                <a:lnTo>
                  <a:pt x="138" y="104"/>
                </a:lnTo>
                <a:lnTo>
                  <a:pt x="177" y="73"/>
                </a:lnTo>
                <a:lnTo>
                  <a:pt x="217" y="48"/>
                </a:lnTo>
                <a:lnTo>
                  <a:pt x="263" y="27"/>
                </a:lnTo>
                <a:lnTo>
                  <a:pt x="310" y="12"/>
                </a:lnTo>
                <a:lnTo>
                  <a:pt x="359" y="3"/>
                </a:lnTo>
                <a:lnTo>
                  <a:pt x="410"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armonyOS Sans SC Black"/>
              <a:ea typeface="+mj-ea"/>
              <a:cs typeface="+mn-cs"/>
            </a:endParaRPr>
          </a:p>
        </p:txBody>
      </p:sp>
      <p:sp>
        <p:nvSpPr>
          <p:cNvPr id="34" name="Freeform 945">
            <a:extLst>
              <a:ext uri="{FF2B5EF4-FFF2-40B4-BE49-F238E27FC236}">
                <a16:creationId xmlns:a16="http://schemas.microsoft.com/office/drawing/2014/main" id="{33829D56-0572-4FDA-99E6-0C3CC442B812}"/>
              </a:ext>
            </a:extLst>
          </p:cNvPr>
          <p:cNvSpPr>
            <a:spLocks/>
          </p:cNvSpPr>
          <p:nvPr/>
        </p:nvSpPr>
        <p:spPr bwMode="auto">
          <a:xfrm>
            <a:off x="4323902" y="4737190"/>
            <a:ext cx="158212" cy="263917"/>
          </a:xfrm>
          <a:custGeom>
            <a:avLst/>
            <a:gdLst>
              <a:gd name="T0" fmla="*/ 1049 w 1374"/>
              <a:gd name="T1" fmla="*/ 2 h 2291"/>
              <a:gd name="T2" fmla="*/ 1137 w 1374"/>
              <a:gd name="T3" fmla="*/ 24 h 2291"/>
              <a:gd name="T4" fmla="*/ 1215 w 1374"/>
              <a:gd name="T5" fmla="*/ 66 h 2291"/>
              <a:gd name="T6" fmla="*/ 1281 w 1374"/>
              <a:gd name="T7" fmla="*/ 125 h 2291"/>
              <a:gd name="T8" fmla="*/ 1331 w 1374"/>
              <a:gd name="T9" fmla="*/ 197 h 2291"/>
              <a:gd name="T10" fmla="*/ 1363 w 1374"/>
              <a:gd name="T11" fmla="*/ 280 h 2291"/>
              <a:gd name="T12" fmla="*/ 1374 w 1374"/>
              <a:gd name="T13" fmla="*/ 372 h 2291"/>
              <a:gd name="T14" fmla="*/ 1371 w 1374"/>
              <a:gd name="T15" fmla="*/ 1297 h 2291"/>
              <a:gd name="T16" fmla="*/ 1347 w 1374"/>
              <a:gd name="T17" fmla="*/ 1388 h 2291"/>
              <a:gd name="T18" fmla="*/ 1300 w 1374"/>
              <a:gd name="T19" fmla="*/ 1467 h 2291"/>
              <a:gd name="T20" fmla="*/ 1236 w 1374"/>
              <a:gd name="T21" fmla="*/ 1531 h 2291"/>
              <a:gd name="T22" fmla="*/ 1156 w 1374"/>
              <a:gd name="T23" fmla="*/ 1578 h 2291"/>
              <a:gd name="T24" fmla="*/ 1066 w 1374"/>
              <a:gd name="T25" fmla="*/ 1602 h 2291"/>
              <a:gd name="T26" fmla="*/ 593 w 1374"/>
              <a:gd name="T27" fmla="*/ 1605 h 2291"/>
              <a:gd name="T28" fmla="*/ 591 w 1374"/>
              <a:gd name="T29" fmla="*/ 2214 h 2291"/>
              <a:gd name="T30" fmla="*/ 571 w 1374"/>
              <a:gd name="T31" fmla="*/ 2254 h 2291"/>
              <a:gd name="T32" fmla="*/ 536 w 1374"/>
              <a:gd name="T33" fmla="*/ 2281 h 2291"/>
              <a:gd name="T34" fmla="*/ 492 w 1374"/>
              <a:gd name="T35" fmla="*/ 2291 h 2291"/>
              <a:gd name="T36" fmla="*/ 77 w 1374"/>
              <a:gd name="T37" fmla="*/ 2289 h 2291"/>
              <a:gd name="T38" fmla="*/ 38 w 1374"/>
              <a:gd name="T39" fmla="*/ 2269 h 2291"/>
              <a:gd name="T40" fmla="*/ 9 w 1374"/>
              <a:gd name="T41" fmla="*/ 2235 h 2291"/>
              <a:gd name="T42" fmla="*/ 0 w 1374"/>
              <a:gd name="T43" fmla="*/ 2191 h 2291"/>
              <a:gd name="T44" fmla="*/ 3 w 1374"/>
              <a:gd name="T45" fmla="*/ 1277 h 2291"/>
              <a:gd name="T46" fmla="*/ 28 w 1374"/>
              <a:gd name="T47" fmla="*/ 1193 h 2291"/>
              <a:gd name="T48" fmla="*/ 74 w 1374"/>
              <a:gd name="T49" fmla="*/ 1122 h 2291"/>
              <a:gd name="T50" fmla="*/ 138 w 1374"/>
              <a:gd name="T51" fmla="*/ 1066 h 2291"/>
              <a:gd name="T52" fmla="*/ 216 w 1374"/>
              <a:gd name="T53" fmla="*/ 1030 h 2291"/>
              <a:gd name="T54" fmla="*/ 304 w 1374"/>
              <a:gd name="T55" fmla="*/ 1017 h 2291"/>
              <a:gd name="T56" fmla="*/ 630 w 1374"/>
              <a:gd name="T57" fmla="*/ 372 h 2291"/>
              <a:gd name="T58" fmla="*/ 642 w 1374"/>
              <a:gd name="T59" fmla="*/ 280 h 2291"/>
              <a:gd name="T60" fmla="*/ 674 w 1374"/>
              <a:gd name="T61" fmla="*/ 197 h 2291"/>
              <a:gd name="T62" fmla="*/ 725 w 1374"/>
              <a:gd name="T63" fmla="*/ 125 h 2291"/>
              <a:gd name="T64" fmla="*/ 791 w 1374"/>
              <a:gd name="T65" fmla="*/ 66 h 2291"/>
              <a:gd name="T66" fmla="*/ 868 w 1374"/>
              <a:gd name="T67" fmla="*/ 24 h 2291"/>
              <a:gd name="T68" fmla="*/ 956 w 1374"/>
              <a:gd name="T69" fmla="*/ 2 h 2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374" h="2291">
                <a:moveTo>
                  <a:pt x="1002" y="0"/>
                </a:moveTo>
                <a:lnTo>
                  <a:pt x="1049" y="2"/>
                </a:lnTo>
                <a:lnTo>
                  <a:pt x="1094" y="10"/>
                </a:lnTo>
                <a:lnTo>
                  <a:pt x="1137" y="24"/>
                </a:lnTo>
                <a:lnTo>
                  <a:pt x="1177" y="43"/>
                </a:lnTo>
                <a:lnTo>
                  <a:pt x="1215" y="66"/>
                </a:lnTo>
                <a:lnTo>
                  <a:pt x="1249" y="93"/>
                </a:lnTo>
                <a:lnTo>
                  <a:pt x="1281" y="125"/>
                </a:lnTo>
                <a:lnTo>
                  <a:pt x="1308" y="159"/>
                </a:lnTo>
                <a:lnTo>
                  <a:pt x="1331" y="197"/>
                </a:lnTo>
                <a:lnTo>
                  <a:pt x="1350" y="237"/>
                </a:lnTo>
                <a:lnTo>
                  <a:pt x="1363" y="280"/>
                </a:lnTo>
                <a:lnTo>
                  <a:pt x="1372" y="325"/>
                </a:lnTo>
                <a:lnTo>
                  <a:pt x="1374" y="372"/>
                </a:lnTo>
                <a:lnTo>
                  <a:pt x="1374" y="1248"/>
                </a:lnTo>
                <a:lnTo>
                  <a:pt x="1371" y="1297"/>
                </a:lnTo>
                <a:lnTo>
                  <a:pt x="1361" y="1344"/>
                </a:lnTo>
                <a:lnTo>
                  <a:pt x="1347" y="1388"/>
                </a:lnTo>
                <a:lnTo>
                  <a:pt x="1326" y="1429"/>
                </a:lnTo>
                <a:lnTo>
                  <a:pt x="1300" y="1467"/>
                </a:lnTo>
                <a:lnTo>
                  <a:pt x="1270" y="1502"/>
                </a:lnTo>
                <a:lnTo>
                  <a:pt x="1236" y="1531"/>
                </a:lnTo>
                <a:lnTo>
                  <a:pt x="1198" y="1557"/>
                </a:lnTo>
                <a:lnTo>
                  <a:pt x="1156" y="1578"/>
                </a:lnTo>
                <a:lnTo>
                  <a:pt x="1112" y="1593"/>
                </a:lnTo>
                <a:lnTo>
                  <a:pt x="1066" y="1602"/>
                </a:lnTo>
                <a:lnTo>
                  <a:pt x="1018" y="1605"/>
                </a:lnTo>
                <a:lnTo>
                  <a:pt x="593" y="1605"/>
                </a:lnTo>
                <a:lnTo>
                  <a:pt x="593" y="2191"/>
                </a:lnTo>
                <a:lnTo>
                  <a:pt x="591" y="2214"/>
                </a:lnTo>
                <a:lnTo>
                  <a:pt x="583" y="2235"/>
                </a:lnTo>
                <a:lnTo>
                  <a:pt x="571" y="2254"/>
                </a:lnTo>
                <a:lnTo>
                  <a:pt x="555" y="2269"/>
                </a:lnTo>
                <a:lnTo>
                  <a:pt x="536" y="2281"/>
                </a:lnTo>
                <a:lnTo>
                  <a:pt x="515" y="2289"/>
                </a:lnTo>
                <a:lnTo>
                  <a:pt x="492" y="2291"/>
                </a:lnTo>
                <a:lnTo>
                  <a:pt x="100" y="2291"/>
                </a:lnTo>
                <a:lnTo>
                  <a:pt x="77" y="2289"/>
                </a:lnTo>
                <a:lnTo>
                  <a:pt x="56" y="2281"/>
                </a:lnTo>
                <a:lnTo>
                  <a:pt x="38" y="2269"/>
                </a:lnTo>
                <a:lnTo>
                  <a:pt x="22" y="2254"/>
                </a:lnTo>
                <a:lnTo>
                  <a:pt x="9" y="2235"/>
                </a:lnTo>
                <a:lnTo>
                  <a:pt x="2" y="2214"/>
                </a:lnTo>
                <a:lnTo>
                  <a:pt x="0" y="2191"/>
                </a:lnTo>
                <a:lnTo>
                  <a:pt x="0" y="1322"/>
                </a:lnTo>
                <a:lnTo>
                  <a:pt x="3" y="1277"/>
                </a:lnTo>
                <a:lnTo>
                  <a:pt x="13" y="1234"/>
                </a:lnTo>
                <a:lnTo>
                  <a:pt x="28" y="1193"/>
                </a:lnTo>
                <a:lnTo>
                  <a:pt x="48" y="1156"/>
                </a:lnTo>
                <a:lnTo>
                  <a:pt x="74" y="1122"/>
                </a:lnTo>
                <a:lnTo>
                  <a:pt x="104" y="1092"/>
                </a:lnTo>
                <a:lnTo>
                  <a:pt x="138" y="1066"/>
                </a:lnTo>
                <a:lnTo>
                  <a:pt x="176" y="1045"/>
                </a:lnTo>
                <a:lnTo>
                  <a:pt x="216" y="1030"/>
                </a:lnTo>
                <a:lnTo>
                  <a:pt x="259" y="1021"/>
                </a:lnTo>
                <a:lnTo>
                  <a:pt x="304" y="1017"/>
                </a:lnTo>
                <a:lnTo>
                  <a:pt x="630" y="1017"/>
                </a:lnTo>
                <a:lnTo>
                  <a:pt x="630" y="372"/>
                </a:lnTo>
                <a:lnTo>
                  <a:pt x="634" y="325"/>
                </a:lnTo>
                <a:lnTo>
                  <a:pt x="642" y="280"/>
                </a:lnTo>
                <a:lnTo>
                  <a:pt x="656" y="237"/>
                </a:lnTo>
                <a:lnTo>
                  <a:pt x="674" y="197"/>
                </a:lnTo>
                <a:lnTo>
                  <a:pt x="697" y="159"/>
                </a:lnTo>
                <a:lnTo>
                  <a:pt x="725" y="125"/>
                </a:lnTo>
                <a:lnTo>
                  <a:pt x="756" y="93"/>
                </a:lnTo>
                <a:lnTo>
                  <a:pt x="791" y="66"/>
                </a:lnTo>
                <a:lnTo>
                  <a:pt x="827" y="43"/>
                </a:lnTo>
                <a:lnTo>
                  <a:pt x="868" y="24"/>
                </a:lnTo>
                <a:lnTo>
                  <a:pt x="911" y="10"/>
                </a:lnTo>
                <a:lnTo>
                  <a:pt x="956" y="2"/>
                </a:lnTo>
                <a:lnTo>
                  <a:pt x="1002"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6" name="Freeform 1059">
            <a:extLst>
              <a:ext uri="{FF2B5EF4-FFF2-40B4-BE49-F238E27FC236}">
                <a16:creationId xmlns:a16="http://schemas.microsoft.com/office/drawing/2014/main" id="{3684CAEB-D5A3-4A1A-9278-D49E0BDDDD38}"/>
              </a:ext>
            </a:extLst>
          </p:cNvPr>
          <p:cNvSpPr>
            <a:spLocks/>
          </p:cNvSpPr>
          <p:nvPr/>
        </p:nvSpPr>
        <p:spPr bwMode="auto">
          <a:xfrm>
            <a:off x="2439471" y="2919475"/>
            <a:ext cx="138043" cy="282426"/>
          </a:xfrm>
          <a:custGeom>
            <a:avLst/>
            <a:gdLst>
              <a:gd name="T0" fmla="*/ 136 w 1349"/>
              <a:gd name="T1" fmla="*/ 0 h 2762"/>
              <a:gd name="T2" fmla="*/ 136 w 1349"/>
              <a:gd name="T3" fmla="*/ 0 h 2762"/>
              <a:gd name="T4" fmla="*/ 181 w 1349"/>
              <a:gd name="T5" fmla="*/ 0 h 2762"/>
              <a:gd name="T6" fmla="*/ 228 w 1349"/>
              <a:gd name="T7" fmla="*/ 2 h 2762"/>
              <a:gd name="T8" fmla="*/ 279 w 1349"/>
              <a:gd name="T9" fmla="*/ 5 h 2762"/>
              <a:gd name="T10" fmla="*/ 331 w 1349"/>
              <a:gd name="T11" fmla="*/ 9 h 2762"/>
              <a:gd name="T12" fmla="*/ 386 w 1349"/>
              <a:gd name="T13" fmla="*/ 16 h 2762"/>
              <a:gd name="T14" fmla="*/ 443 w 1349"/>
              <a:gd name="T15" fmla="*/ 23 h 2762"/>
              <a:gd name="T16" fmla="*/ 500 w 1349"/>
              <a:gd name="T17" fmla="*/ 33 h 2762"/>
              <a:gd name="T18" fmla="*/ 559 w 1349"/>
              <a:gd name="T19" fmla="*/ 46 h 2762"/>
              <a:gd name="T20" fmla="*/ 619 w 1349"/>
              <a:gd name="T21" fmla="*/ 60 h 2762"/>
              <a:gd name="T22" fmla="*/ 679 w 1349"/>
              <a:gd name="T23" fmla="*/ 77 h 2762"/>
              <a:gd name="T24" fmla="*/ 739 w 1349"/>
              <a:gd name="T25" fmla="*/ 98 h 2762"/>
              <a:gd name="T26" fmla="*/ 800 w 1349"/>
              <a:gd name="T27" fmla="*/ 121 h 2762"/>
              <a:gd name="T28" fmla="*/ 859 w 1349"/>
              <a:gd name="T29" fmla="*/ 146 h 2762"/>
              <a:gd name="T30" fmla="*/ 919 w 1349"/>
              <a:gd name="T31" fmla="*/ 177 h 2762"/>
              <a:gd name="T32" fmla="*/ 976 w 1349"/>
              <a:gd name="T33" fmla="*/ 210 h 2762"/>
              <a:gd name="T34" fmla="*/ 1033 w 1349"/>
              <a:gd name="T35" fmla="*/ 247 h 2762"/>
              <a:gd name="T36" fmla="*/ 1088 w 1349"/>
              <a:gd name="T37" fmla="*/ 287 h 2762"/>
              <a:gd name="T38" fmla="*/ 1142 w 1349"/>
              <a:gd name="T39" fmla="*/ 332 h 2762"/>
              <a:gd name="T40" fmla="*/ 1193 w 1349"/>
              <a:gd name="T41" fmla="*/ 382 h 2762"/>
              <a:gd name="T42" fmla="*/ 1241 w 1349"/>
              <a:gd name="T43" fmla="*/ 436 h 2762"/>
              <a:gd name="T44" fmla="*/ 1288 w 1349"/>
              <a:gd name="T45" fmla="*/ 494 h 2762"/>
              <a:gd name="T46" fmla="*/ 1330 w 1349"/>
              <a:gd name="T47" fmla="*/ 557 h 2762"/>
              <a:gd name="T48" fmla="*/ 1339 w 1349"/>
              <a:gd name="T49" fmla="*/ 579 h 2762"/>
              <a:gd name="T50" fmla="*/ 1346 w 1349"/>
              <a:gd name="T51" fmla="*/ 602 h 2762"/>
              <a:gd name="T52" fmla="*/ 1349 w 1349"/>
              <a:gd name="T53" fmla="*/ 627 h 2762"/>
              <a:gd name="T54" fmla="*/ 1349 w 1349"/>
              <a:gd name="T55" fmla="*/ 2762 h 2762"/>
              <a:gd name="T56" fmla="*/ 1286 w 1349"/>
              <a:gd name="T57" fmla="*/ 2701 h 2762"/>
              <a:gd name="T58" fmla="*/ 1221 w 1349"/>
              <a:gd name="T59" fmla="*/ 2645 h 2762"/>
              <a:gd name="T60" fmla="*/ 1154 w 1349"/>
              <a:gd name="T61" fmla="*/ 2596 h 2762"/>
              <a:gd name="T62" fmla="*/ 1085 w 1349"/>
              <a:gd name="T63" fmla="*/ 2551 h 2762"/>
              <a:gd name="T64" fmla="*/ 1013 w 1349"/>
              <a:gd name="T65" fmla="*/ 2511 h 2762"/>
              <a:gd name="T66" fmla="*/ 942 w 1349"/>
              <a:gd name="T67" fmla="*/ 2476 h 2762"/>
              <a:gd name="T68" fmla="*/ 869 w 1349"/>
              <a:gd name="T69" fmla="*/ 2444 h 2762"/>
              <a:gd name="T70" fmla="*/ 796 w 1349"/>
              <a:gd name="T71" fmla="*/ 2417 h 2762"/>
              <a:gd name="T72" fmla="*/ 724 w 1349"/>
              <a:gd name="T73" fmla="*/ 2394 h 2762"/>
              <a:gd name="T74" fmla="*/ 651 w 1349"/>
              <a:gd name="T75" fmla="*/ 2374 h 2762"/>
              <a:gd name="T76" fmla="*/ 580 w 1349"/>
              <a:gd name="T77" fmla="*/ 2358 h 2762"/>
              <a:gd name="T78" fmla="*/ 509 w 1349"/>
              <a:gd name="T79" fmla="*/ 2344 h 2762"/>
              <a:gd name="T80" fmla="*/ 441 w 1349"/>
              <a:gd name="T81" fmla="*/ 2334 h 2762"/>
              <a:gd name="T82" fmla="*/ 375 w 1349"/>
              <a:gd name="T83" fmla="*/ 2325 h 2762"/>
              <a:gd name="T84" fmla="*/ 311 w 1349"/>
              <a:gd name="T85" fmla="*/ 2319 h 2762"/>
              <a:gd name="T86" fmla="*/ 249 w 1349"/>
              <a:gd name="T87" fmla="*/ 2315 h 2762"/>
              <a:gd name="T88" fmla="*/ 191 w 1349"/>
              <a:gd name="T89" fmla="*/ 2313 h 2762"/>
              <a:gd name="T90" fmla="*/ 136 w 1349"/>
              <a:gd name="T91" fmla="*/ 2312 h 2762"/>
              <a:gd name="T92" fmla="*/ 105 w 1349"/>
              <a:gd name="T93" fmla="*/ 2308 h 2762"/>
              <a:gd name="T94" fmla="*/ 77 w 1349"/>
              <a:gd name="T95" fmla="*/ 2298 h 2762"/>
              <a:gd name="T96" fmla="*/ 52 w 1349"/>
              <a:gd name="T97" fmla="*/ 2282 h 2762"/>
              <a:gd name="T98" fmla="*/ 30 w 1349"/>
              <a:gd name="T99" fmla="*/ 2261 h 2762"/>
              <a:gd name="T100" fmla="*/ 14 w 1349"/>
              <a:gd name="T101" fmla="*/ 2235 h 2762"/>
              <a:gd name="T102" fmla="*/ 5 w 1349"/>
              <a:gd name="T103" fmla="*/ 2208 h 2762"/>
              <a:gd name="T104" fmla="*/ 0 w 1349"/>
              <a:gd name="T105" fmla="*/ 2177 h 2762"/>
              <a:gd name="T106" fmla="*/ 0 w 1349"/>
              <a:gd name="T107" fmla="*/ 136 h 2762"/>
              <a:gd name="T108" fmla="*/ 3 w 1349"/>
              <a:gd name="T109" fmla="*/ 110 h 2762"/>
              <a:gd name="T110" fmla="*/ 10 w 1349"/>
              <a:gd name="T111" fmla="*/ 83 h 2762"/>
              <a:gd name="T112" fmla="*/ 23 w 1349"/>
              <a:gd name="T113" fmla="*/ 60 h 2762"/>
              <a:gd name="T114" fmla="*/ 40 w 1349"/>
              <a:gd name="T115" fmla="*/ 39 h 2762"/>
              <a:gd name="T116" fmla="*/ 61 w 1349"/>
              <a:gd name="T117" fmla="*/ 22 h 2762"/>
              <a:gd name="T118" fmla="*/ 84 w 1349"/>
              <a:gd name="T119" fmla="*/ 10 h 2762"/>
              <a:gd name="T120" fmla="*/ 109 w 1349"/>
              <a:gd name="T121" fmla="*/ 2 h 2762"/>
              <a:gd name="T122" fmla="*/ 136 w 1349"/>
              <a:gd name="T123" fmla="*/ 0 h 27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49" h="2762">
                <a:moveTo>
                  <a:pt x="136" y="0"/>
                </a:moveTo>
                <a:lnTo>
                  <a:pt x="136" y="0"/>
                </a:lnTo>
                <a:lnTo>
                  <a:pt x="181" y="0"/>
                </a:lnTo>
                <a:lnTo>
                  <a:pt x="228" y="2"/>
                </a:lnTo>
                <a:lnTo>
                  <a:pt x="279" y="5"/>
                </a:lnTo>
                <a:lnTo>
                  <a:pt x="331" y="9"/>
                </a:lnTo>
                <a:lnTo>
                  <a:pt x="386" y="16"/>
                </a:lnTo>
                <a:lnTo>
                  <a:pt x="443" y="23"/>
                </a:lnTo>
                <a:lnTo>
                  <a:pt x="500" y="33"/>
                </a:lnTo>
                <a:lnTo>
                  <a:pt x="559" y="46"/>
                </a:lnTo>
                <a:lnTo>
                  <a:pt x="619" y="60"/>
                </a:lnTo>
                <a:lnTo>
                  <a:pt x="679" y="77"/>
                </a:lnTo>
                <a:lnTo>
                  <a:pt x="739" y="98"/>
                </a:lnTo>
                <a:lnTo>
                  <a:pt x="800" y="121"/>
                </a:lnTo>
                <a:lnTo>
                  <a:pt x="859" y="146"/>
                </a:lnTo>
                <a:lnTo>
                  <a:pt x="919" y="177"/>
                </a:lnTo>
                <a:lnTo>
                  <a:pt x="976" y="210"/>
                </a:lnTo>
                <a:lnTo>
                  <a:pt x="1033" y="247"/>
                </a:lnTo>
                <a:lnTo>
                  <a:pt x="1088" y="287"/>
                </a:lnTo>
                <a:lnTo>
                  <a:pt x="1142" y="332"/>
                </a:lnTo>
                <a:lnTo>
                  <a:pt x="1193" y="382"/>
                </a:lnTo>
                <a:lnTo>
                  <a:pt x="1241" y="436"/>
                </a:lnTo>
                <a:lnTo>
                  <a:pt x="1288" y="494"/>
                </a:lnTo>
                <a:lnTo>
                  <a:pt x="1330" y="557"/>
                </a:lnTo>
                <a:lnTo>
                  <a:pt x="1339" y="579"/>
                </a:lnTo>
                <a:lnTo>
                  <a:pt x="1346" y="602"/>
                </a:lnTo>
                <a:lnTo>
                  <a:pt x="1349" y="627"/>
                </a:lnTo>
                <a:lnTo>
                  <a:pt x="1349" y="2762"/>
                </a:lnTo>
                <a:lnTo>
                  <a:pt x="1286" y="2701"/>
                </a:lnTo>
                <a:lnTo>
                  <a:pt x="1221" y="2645"/>
                </a:lnTo>
                <a:lnTo>
                  <a:pt x="1154" y="2596"/>
                </a:lnTo>
                <a:lnTo>
                  <a:pt x="1085" y="2551"/>
                </a:lnTo>
                <a:lnTo>
                  <a:pt x="1013" y="2511"/>
                </a:lnTo>
                <a:lnTo>
                  <a:pt x="942" y="2476"/>
                </a:lnTo>
                <a:lnTo>
                  <a:pt x="869" y="2444"/>
                </a:lnTo>
                <a:lnTo>
                  <a:pt x="796" y="2417"/>
                </a:lnTo>
                <a:lnTo>
                  <a:pt x="724" y="2394"/>
                </a:lnTo>
                <a:lnTo>
                  <a:pt x="651" y="2374"/>
                </a:lnTo>
                <a:lnTo>
                  <a:pt x="580" y="2358"/>
                </a:lnTo>
                <a:lnTo>
                  <a:pt x="509" y="2344"/>
                </a:lnTo>
                <a:lnTo>
                  <a:pt x="441" y="2334"/>
                </a:lnTo>
                <a:lnTo>
                  <a:pt x="375" y="2325"/>
                </a:lnTo>
                <a:lnTo>
                  <a:pt x="311" y="2319"/>
                </a:lnTo>
                <a:lnTo>
                  <a:pt x="249" y="2315"/>
                </a:lnTo>
                <a:lnTo>
                  <a:pt x="191" y="2313"/>
                </a:lnTo>
                <a:lnTo>
                  <a:pt x="136" y="2312"/>
                </a:lnTo>
                <a:lnTo>
                  <a:pt x="105" y="2308"/>
                </a:lnTo>
                <a:lnTo>
                  <a:pt x="77" y="2298"/>
                </a:lnTo>
                <a:lnTo>
                  <a:pt x="52" y="2282"/>
                </a:lnTo>
                <a:lnTo>
                  <a:pt x="30" y="2261"/>
                </a:lnTo>
                <a:lnTo>
                  <a:pt x="14" y="2235"/>
                </a:lnTo>
                <a:lnTo>
                  <a:pt x="5" y="2208"/>
                </a:lnTo>
                <a:lnTo>
                  <a:pt x="0" y="2177"/>
                </a:lnTo>
                <a:lnTo>
                  <a:pt x="0" y="136"/>
                </a:lnTo>
                <a:lnTo>
                  <a:pt x="3" y="110"/>
                </a:lnTo>
                <a:lnTo>
                  <a:pt x="10" y="83"/>
                </a:lnTo>
                <a:lnTo>
                  <a:pt x="23" y="60"/>
                </a:lnTo>
                <a:lnTo>
                  <a:pt x="40" y="39"/>
                </a:lnTo>
                <a:lnTo>
                  <a:pt x="61" y="22"/>
                </a:lnTo>
                <a:lnTo>
                  <a:pt x="84" y="10"/>
                </a:lnTo>
                <a:lnTo>
                  <a:pt x="109" y="2"/>
                </a:lnTo>
                <a:lnTo>
                  <a:pt x="136"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7" name="Freeform 1060">
            <a:extLst>
              <a:ext uri="{FF2B5EF4-FFF2-40B4-BE49-F238E27FC236}">
                <a16:creationId xmlns:a16="http://schemas.microsoft.com/office/drawing/2014/main" id="{C455D175-FEAE-4CB1-8071-4BB6B24142DA}"/>
              </a:ext>
            </a:extLst>
          </p:cNvPr>
          <p:cNvSpPr>
            <a:spLocks/>
          </p:cNvSpPr>
          <p:nvPr/>
        </p:nvSpPr>
        <p:spPr bwMode="auto">
          <a:xfrm>
            <a:off x="2598988" y="2919475"/>
            <a:ext cx="137839" cy="282426"/>
          </a:xfrm>
          <a:custGeom>
            <a:avLst/>
            <a:gdLst>
              <a:gd name="T0" fmla="*/ 1211 w 1347"/>
              <a:gd name="T1" fmla="*/ 0 h 2762"/>
              <a:gd name="T2" fmla="*/ 1212 w 1347"/>
              <a:gd name="T3" fmla="*/ 0 h 2762"/>
              <a:gd name="T4" fmla="*/ 1239 w 1347"/>
              <a:gd name="T5" fmla="*/ 2 h 2762"/>
              <a:gd name="T6" fmla="*/ 1263 w 1347"/>
              <a:gd name="T7" fmla="*/ 10 h 2762"/>
              <a:gd name="T8" fmla="*/ 1287 w 1347"/>
              <a:gd name="T9" fmla="*/ 22 h 2762"/>
              <a:gd name="T10" fmla="*/ 1307 w 1347"/>
              <a:gd name="T11" fmla="*/ 39 h 2762"/>
              <a:gd name="T12" fmla="*/ 1324 w 1347"/>
              <a:gd name="T13" fmla="*/ 60 h 2762"/>
              <a:gd name="T14" fmla="*/ 1337 w 1347"/>
              <a:gd name="T15" fmla="*/ 83 h 2762"/>
              <a:gd name="T16" fmla="*/ 1345 w 1347"/>
              <a:gd name="T17" fmla="*/ 110 h 2762"/>
              <a:gd name="T18" fmla="*/ 1347 w 1347"/>
              <a:gd name="T19" fmla="*/ 136 h 2762"/>
              <a:gd name="T20" fmla="*/ 1347 w 1347"/>
              <a:gd name="T21" fmla="*/ 2177 h 2762"/>
              <a:gd name="T22" fmla="*/ 1344 w 1347"/>
              <a:gd name="T23" fmla="*/ 2207 h 2762"/>
              <a:gd name="T24" fmla="*/ 1333 w 1347"/>
              <a:gd name="T25" fmla="*/ 2235 h 2762"/>
              <a:gd name="T26" fmla="*/ 1317 w 1347"/>
              <a:gd name="T27" fmla="*/ 2261 h 2762"/>
              <a:gd name="T28" fmla="*/ 1296 w 1347"/>
              <a:gd name="T29" fmla="*/ 2282 h 2762"/>
              <a:gd name="T30" fmla="*/ 1271 w 1347"/>
              <a:gd name="T31" fmla="*/ 2298 h 2762"/>
              <a:gd name="T32" fmla="*/ 1242 w 1347"/>
              <a:gd name="T33" fmla="*/ 2308 h 2762"/>
              <a:gd name="T34" fmla="*/ 1211 w 1347"/>
              <a:gd name="T35" fmla="*/ 2312 h 2762"/>
              <a:gd name="T36" fmla="*/ 1157 w 1347"/>
              <a:gd name="T37" fmla="*/ 2313 h 2762"/>
              <a:gd name="T38" fmla="*/ 1098 w 1347"/>
              <a:gd name="T39" fmla="*/ 2315 h 2762"/>
              <a:gd name="T40" fmla="*/ 1037 w 1347"/>
              <a:gd name="T41" fmla="*/ 2319 h 2762"/>
              <a:gd name="T42" fmla="*/ 972 w 1347"/>
              <a:gd name="T43" fmla="*/ 2325 h 2762"/>
              <a:gd name="T44" fmla="*/ 907 w 1347"/>
              <a:gd name="T45" fmla="*/ 2334 h 2762"/>
              <a:gd name="T46" fmla="*/ 838 w 1347"/>
              <a:gd name="T47" fmla="*/ 2344 h 2762"/>
              <a:gd name="T48" fmla="*/ 767 w 1347"/>
              <a:gd name="T49" fmla="*/ 2358 h 2762"/>
              <a:gd name="T50" fmla="*/ 696 w 1347"/>
              <a:gd name="T51" fmla="*/ 2374 h 2762"/>
              <a:gd name="T52" fmla="*/ 623 w 1347"/>
              <a:gd name="T53" fmla="*/ 2394 h 2762"/>
              <a:gd name="T54" fmla="*/ 551 w 1347"/>
              <a:gd name="T55" fmla="*/ 2417 h 2762"/>
              <a:gd name="T56" fmla="*/ 478 w 1347"/>
              <a:gd name="T57" fmla="*/ 2444 h 2762"/>
              <a:gd name="T58" fmla="*/ 405 w 1347"/>
              <a:gd name="T59" fmla="*/ 2476 h 2762"/>
              <a:gd name="T60" fmla="*/ 334 w 1347"/>
              <a:gd name="T61" fmla="*/ 2510 h 2762"/>
              <a:gd name="T62" fmla="*/ 264 w 1347"/>
              <a:gd name="T63" fmla="*/ 2551 h 2762"/>
              <a:gd name="T64" fmla="*/ 194 w 1347"/>
              <a:gd name="T65" fmla="*/ 2596 h 2762"/>
              <a:gd name="T66" fmla="*/ 126 w 1347"/>
              <a:gd name="T67" fmla="*/ 2645 h 2762"/>
              <a:gd name="T68" fmla="*/ 62 w 1347"/>
              <a:gd name="T69" fmla="*/ 2701 h 2762"/>
              <a:gd name="T70" fmla="*/ 0 w 1347"/>
              <a:gd name="T71" fmla="*/ 2762 h 2762"/>
              <a:gd name="T72" fmla="*/ 0 w 1347"/>
              <a:gd name="T73" fmla="*/ 627 h 2762"/>
              <a:gd name="T74" fmla="*/ 2 w 1347"/>
              <a:gd name="T75" fmla="*/ 602 h 2762"/>
              <a:gd name="T76" fmla="*/ 8 w 1347"/>
              <a:gd name="T77" fmla="*/ 579 h 2762"/>
              <a:gd name="T78" fmla="*/ 18 w 1347"/>
              <a:gd name="T79" fmla="*/ 557 h 2762"/>
              <a:gd name="T80" fmla="*/ 61 w 1347"/>
              <a:gd name="T81" fmla="*/ 494 h 2762"/>
              <a:gd name="T82" fmla="*/ 107 w 1347"/>
              <a:gd name="T83" fmla="*/ 436 h 2762"/>
              <a:gd name="T84" fmla="*/ 155 w 1347"/>
              <a:gd name="T85" fmla="*/ 382 h 2762"/>
              <a:gd name="T86" fmla="*/ 206 w 1347"/>
              <a:gd name="T87" fmla="*/ 332 h 2762"/>
              <a:gd name="T88" fmla="*/ 259 w 1347"/>
              <a:gd name="T89" fmla="*/ 287 h 2762"/>
              <a:gd name="T90" fmla="*/ 314 w 1347"/>
              <a:gd name="T91" fmla="*/ 247 h 2762"/>
              <a:gd name="T92" fmla="*/ 371 w 1347"/>
              <a:gd name="T93" fmla="*/ 210 h 2762"/>
              <a:gd name="T94" fmla="*/ 430 w 1347"/>
              <a:gd name="T95" fmla="*/ 177 h 2762"/>
              <a:gd name="T96" fmla="*/ 488 w 1347"/>
              <a:gd name="T97" fmla="*/ 146 h 2762"/>
              <a:gd name="T98" fmla="*/ 548 w 1347"/>
              <a:gd name="T99" fmla="*/ 121 h 2762"/>
              <a:gd name="T100" fmla="*/ 608 w 1347"/>
              <a:gd name="T101" fmla="*/ 98 h 2762"/>
              <a:gd name="T102" fmla="*/ 669 w 1347"/>
              <a:gd name="T103" fmla="*/ 77 h 2762"/>
              <a:gd name="T104" fmla="*/ 729 w 1347"/>
              <a:gd name="T105" fmla="*/ 60 h 2762"/>
              <a:gd name="T106" fmla="*/ 789 w 1347"/>
              <a:gd name="T107" fmla="*/ 46 h 2762"/>
              <a:gd name="T108" fmla="*/ 848 w 1347"/>
              <a:gd name="T109" fmla="*/ 33 h 2762"/>
              <a:gd name="T110" fmla="*/ 906 w 1347"/>
              <a:gd name="T111" fmla="*/ 23 h 2762"/>
              <a:gd name="T112" fmla="*/ 962 w 1347"/>
              <a:gd name="T113" fmla="*/ 16 h 2762"/>
              <a:gd name="T114" fmla="*/ 1016 w 1347"/>
              <a:gd name="T115" fmla="*/ 9 h 2762"/>
              <a:gd name="T116" fmla="*/ 1069 w 1347"/>
              <a:gd name="T117" fmla="*/ 5 h 2762"/>
              <a:gd name="T118" fmla="*/ 1119 w 1347"/>
              <a:gd name="T119" fmla="*/ 2 h 2762"/>
              <a:gd name="T120" fmla="*/ 1167 w 1347"/>
              <a:gd name="T121" fmla="*/ 0 h 2762"/>
              <a:gd name="T122" fmla="*/ 1211 w 1347"/>
              <a:gd name="T123" fmla="*/ 0 h 27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47" h="2762">
                <a:moveTo>
                  <a:pt x="1211" y="0"/>
                </a:moveTo>
                <a:lnTo>
                  <a:pt x="1212" y="0"/>
                </a:lnTo>
                <a:lnTo>
                  <a:pt x="1239" y="2"/>
                </a:lnTo>
                <a:lnTo>
                  <a:pt x="1263" y="10"/>
                </a:lnTo>
                <a:lnTo>
                  <a:pt x="1287" y="22"/>
                </a:lnTo>
                <a:lnTo>
                  <a:pt x="1307" y="39"/>
                </a:lnTo>
                <a:lnTo>
                  <a:pt x="1324" y="60"/>
                </a:lnTo>
                <a:lnTo>
                  <a:pt x="1337" y="83"/>
                </a:lnTo>
                <a:lnTo>
                  <a:pt x="1345" y="110"/>
                </a:lnTo>
                <a:lnTo>
                  <a:pt x="1347" y="136"/>
                </a:lnTo>
                <a:lnTo>
                  <a:pt x="1347" y="2177"/>
                </a:lnTo>
                <a:lnTo>
                  <a:pt x="1344" y="2207"/>
                </a:lnTo>
                <a:lnTo>
                  <a:pt x="1333" y="2235"/>
                </a:lnTo>
                <a:lnTo>
                  <a:pt x="1317" y="2261"/>
                </a:lnTo>
                <a:lnTo>
                  <a:pt x="1296" y="2282"/>
                </a:lnTo>
                <a:lnTo>
                  <a:pt x="1271" y="2298"/>
                </a:lnTo>
                <a:lnTo>
                  <a:pt x="1242" y="2308"/>
                </a:lnTo>
                <a:lnTo>
                  <a:pt x="1211" y="2312"/>
                </a:lnTo>
                <a:lnTo>
                  <a:pt x="1157" y="2313"/>
                </a:lnTo>
                <a:lnTo>
                  <a:pt x="1098" y="2315"/>
                </a:lnTo>
                <a:lnTo>
                  <a:pt x="1037" y="2319"/>
                </a:lnTo>
                <a:lnTo>
                  <a:pt x="972" y="2325"/>
                </a:lnTo>
                <a:lnTo>
                  <a:pt x="907" y="2334"/>
                </a:lnTo>
                <a:lnTo>
                  <a:pt x="838" y="2344"/>
                </a:lnTo>
                <a:lnTo>
                  <a:pt x="767" y="2358"/>
                </a:lnTo>
                <a:lnTo>
                  <a:pt x="696" y="2374"/>
                </a:lnTo>
                <a:lnTo>
                  <a:pt x="623" y="2394"/>
                </a:lnTo>
                <a:lnTo>
                  <a:pt x="551" y="2417"/>
                </a:lnTo>
                <a:lnTo>
                  <a:pt x="478" y="2444"/>
                </a:lnTo>
                <a:lnTo>
                  <a:pt x="405" y="2476"/>
                </a:lnTo>
                <a:lnTo>
                  <a:pt x="334" y="2510"/>
                </a:lnTo>
                <a:lnTo>
                  <a:pt x="264" y="2551"/>
                </a:lnTo>
                <a:lnTo>
                  <a:pt x="194" y="2596"/>
                </a:lnTo>
                <a:lnTo>
                  <a:pt x="126" y="2645"/>
                </a:lnTo>
                <a:lnTo>
                  <a:pt x="62" y="2701"/>
                </a:lnTo>
                <a:lnTo>
                  <a:pt x="0" y="2762"/>
                </a:lnTo>
                <a:lnTo>
                  <a:pt x="0" y="627"/>
                </a:lnTo>
                <a:lnTo>
                  <a:pt x="2" y="602"/>
                </a:lnTo>
                <a:lnTo>
                  <a:pt x="8" y="579"/>
                </a:lnTo>
                <a:lnTo>
                  <a:pt x="18" y="557"/>
                </a:lnTo>
                <a:lnTo>
                  <a:pt x="61" y="494"/>
                </a:lnTo>
                <a:lnTo>
                  <a:pt x="107" y="436"/>
                </a:lnTo>
                <a:lnTo>
                  <a:pt x="155" y="382"/>
                </a:lnTo>
                <a:lnTo>
                  <a:pt x="206" y="332"/>
                </a:lnTo>
                <a:lnTo>
                  <a:pt x="259" y="287"/>
                </a:lnTo>
                <a:lnTo>
                  <a:pt x="314" y="247"/>
                </a:lnTo>
                <a:lnTo>
                  <a:pt x="371" y="210"/>
                </a:lnTo>
                <a:lnTo>
                  <a:pt x="430" y="177"/>
                </a:lnTo>
                <a:lnTo>
                  <a:pt x="488" y="146"/>
                </a:lnTo>
                <a:lnTo>
                  <a:pt x="548" y="121"/>
                </a:lnTo>
                <a:lnTo>
                  <a:pt x="608" y="98"/>
                </a:lnTo>
                <a:lnTo>
                  <a:pt x="669" y="77"/>
                </a:lnTo>
                <a:lnTo>
                  <a:pt x="729" y="60"/>
                </a:lnTo>
                <a:lnTo>
                  <a:pt x="789" y="46"/>
                </a:lnTo>
                <a:lnTo>
                  <a:pt x="848" y="33"/>
                </a:lnTo>
                <a:lnTo>
                  <a:pt x="906" y="23"/>
                </a:lnTo>
                <a:lnTo>
                  <a:pt x="962" y="16"/>
                </a:lnTo>
                <a:lnTo>
                  <a:pt x="1016" y="9"/>
                </a:lnTo>
                <a:lnTo>
                  <a:pt x="1069" y="5"/>
                </a:lnTo>
                <a:lnTo>
                  <a:pt x="1119" y="2"/>
                </a:lnTo>
                <a:lnTo>
                  <a:pt x="1167" y="0"/>
                </a:lnTo>
                <a:lnTo>
                  <a:pt x="1211"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8" name="Freeform 1061">
            <a:extLst>
              <a:ext uri="{FF2B5EF4-FFF2-40B4-BE49-F238E27FC236}">
                <a16:creationId xmlns:a16="http://schemas.microsoft.com/office/drawing/2014/main" id="{BDCBE503-1A6E-4DF8-AAC4-4FEC9F7CCA73}"/>
              </a:ext>
            </a:extLst>
          </p:cNvPr>
          <p:cNvSpPr>
            <a:spLocks/>
          </p:cNvSpPr>
          <p:nvPr/>
        </p:nvSpPr>
        <p:spPr bwMode="auto">
          <a:xfrm>
            <a:off x="2618212" y="2967739"/>
            <a:ext cx="164220" cy="248887"/>
          </a:xfrm>
          <a:custGeom>
            <a:avLst/>
            <a:gdLst>
              <a:gd name="T0" fmla="*/ 1371 w 1605"/>
              <a:gd name="T1" fmla="*/ 0 h 2434"/>
              <a:gd name="T2" fmla="*/ 1470 w 1605"/>
              <a:gd name="T3" fmla="*/ 0 h 2434"/>
              <a:gd name="T4" fmla="*/ 1501 w 1605"/>
              <a:gd name="T5" fmla="*/ 3 h 2434"/>
              <a:gd name="T6" fmla="*/ 1529 w 1605"/>
              <a:gd name="T7" fmla="*/ 14 h 2434"/>
              <a:gd name="T8" fmla="*/ 1554 w 1605"/>
              <a:gd name="T9" fmla="*/ 30 h 2434"/>
              <a:gd name="T10" fmla="*/ 1576 w 1605"/>
              <a:gd name="T11" fmla="*/ 51 h 2434"/>
              <a:gd name="T12" fmla="*/ 1591 w 1605"/>
              <a:gd name="T13" fmla="*/ 76 h 2434"/>
              <a:gd name="T14" fmla="*/ 1602 w 1605"/>
              <a:gd name="T15" fmla="*/ 104 h 2434"/>
              <a:gd name="T16" fmla="*/ 1605 w 1605"/>
              <a:gd name="T17" fmla="*/ 135 h 2434"/>
              <a:gd name="T18" fmla="*/ 1605 w 1605"/>
              <a:gd name="T19" fmla="*/ 2298 h 2434"/>
              <a:gd name="T20" fmla="*/ 1604 w 1605"/>
              <a:gd name="T21" fmla="*/ 2322 h 2434"/>
              <a:gd name="T22" fmla="*/ 1597 w 1605"/>
              <a:gd name="T23" fmla="*/ 2345 h 2434"/>
              <a:gd name="T24" fmla="*/ 1587 w 1605"/>
              <a:gd name="T25" fmla="*/ 2367 h 2434"/>
              <a:gd name="T26" fmla="*/ 1573 w 1605"/>
              <a:gd name="T27" fmla="*/ 2387 h 2434"/>
              <a:gd name="T28" fmla="*/ 1554 w 1605"/>
              <a:gd name="T29" fmla="*/ 2404 h 2434"/>
              <a:gd name="T30" fmla="*/ 1534 w 1605"/>
              <a:gd name="T31" fmla="*/ 2418 h 2434"/>
              <a:gd name="T32" fmla="*/ 1512 w 1605"/>
              <a:gd name="T33" fmla="*/ 2427 h 2434"/>
              <a:gd name="T34" fmla="*/ 1488 w 1605"/>
              <a:gd name="T35" fmla="*/ 2433 h 2434"/>
              <a:gd name="T36" fmla="*/ 1463 w 1605"/>
              <a:gd name="T37" fmla="*/ 2434 h 2434"/>
              <a:gd name="T38" fmla="*/ 1439 w 1605"/>
              <a:gd name="T39" fmla="*/ 2430 h 2434"/>
              <a:gd name="T40" fmla="*/ 1360 w 1605"/>
              <a:gd name="T41" fmla="*/ 2413 h 2434"/>
              <a:gd name="T42" fmla="*/ 1273 w 1605"/>
              <a:gd name="T43" fmla="*/ 2396 h 2434"/>
              <a:gd name="T44" fmla="*/ 1179 w 1605"/>
              <a:gd name="T45" fmla="*/ 2380 h 2434"/>
              <a:gd name="T46" fmla="*/ 1077 w 1605"/>
              <a:gd name="T47" fmla="*/ 2365 h 2434"/>
              <a:gd name="T48" fmla="*/ 970 w 1605"/>
              <a:gd name="T49" fmla="*/ 2352 h 2434"/>
              <a:gd name="T50" fmla="*/ 858 w 1605"/>
              <a:gd name="T51" fmla="*/ 2343 h 2434"/>
              <a:gd name="T52" fmla="*/ 743 w 1605"/>
              <a:gd name="T53" fmla="*/ 2336 h 2434"/>
              <a:gd name="T54" fmla="*/ 623 w 1605"/>
              <a:gd name="T55" fmla="*/ 2333 h 2434"/>
              <a:gd name="T56" fmla="*/ 501 w 1605"/>
              <a:gd name="T57" fmla="*/ 2336 h 2434"/>
              <a:gd name="T58" fmla="*/ 377 w 1605"/>
              <a:gd name="T59" fmla="*/ 2343 h 2434"/>
              <a:gd name="T60" fmla="*/ 252 w 1605"/>
              <a:gd name="T61" fmla="*/ 2355 h 2434"/>
              <a:gd name="T62" fmla="*/ 126 w 1605"/>
              <a:gd name="T63" fmla="*/ 2375 h 2434"/>
              <a:gd name="T64" fmla="*/ 0 w 1605"/>
              <a:gd name="T65" fmla="*/ 2403 h 2434"/>
              <a:gd name="T66" fmla="*/ 60 w 1605"/>
              <a:gd name="T67" fmla="*/ 2350 h 2434"/>
              <a:gd name="T68" fmla="*/ 124 w 1605"/>
              <a:gd name="T69" fmla="*/ 2302 h 2434"/>
              <a:gd name="T70" fmla="*/ 188 w 1605"/>
              <a:gd name="T71" fmla="*/ 2260 h 2434"/>
              <a:gd name="T72" fmla="*/ 255 w 1605"/>
              <a:gd name="T73" fmla="*/ 2223 h 2434"/>
              <a:gd name="T74" fmla="*/ 323 w 1605"/>
              <a:gd name="T75" fmla="*/ 2190 h 2434"/>
              <a:gd name="T76" fmla="*/ 391 w 1605"/>
              <a:gd name="T77" fmla="*/ 2161 h 2434"/>
              <a:gd name="T78" fmla="*/ 460 w 1605"/>
              <a:gd name="T79" fmla="*/ 2137 h 2434"/>
              <a:gd name="T80" fmla="*/ 530 w 1605"/>
              <a:gd name="T81" fmla="*/ 2116 h 2434"/>
              <a:gd name="T82" fmla="*/ 598 w 1605"/>
              <a:gd name="T83" fmla="*/ 2099 h 2434"/>
              <a:gd name="T84" fmla="*/ 666 w 1605"/>
              <a:gd name="T85" fmla="*/ 2085 h 2434"/>
              <a:gd name="T86" fmla="*/ 731 w 1605"/>
              <a:gd name="T87" fmla="*/ 2074 h 2434"/>
              <a:gd name="T88" fmla="*/ 796 w 1605"/>
              <a:gd name="T89" fmla="*/ 2066 h 2434"/>
              <a:gd name="T90" fmla="*/ 857 w 1605"/>
              <a:gd name="T91" fmla="*/ 2060 h 2434"/>
              <a:gd name="T92" fmla="*/ 917 w 1605"/>
              <a:gd name="T93" fmla="*/ 2055 h 2434"/>
              <a:gd name="T94" fmla="*/ 972 w 1605"/>
              <a:gd name="T95" fmla="*/ 2053 h 2434"/>
              <a:gd name="T96" fmla="*/ 1024 w 1605"/>
              <a:gd name="T97" fmla="*/ 2052 h 2434"/>
              <a:gd name="T98" fmla="*/ 1071 w 1605"/>
              <a:gd name="T99" fmla="*/ 2050 h 2434"/>
              <a:gd name="T100" fmla="*/ 1116 w 1605"/>
              <a:gd name="T101" fmla="*/ 2040 h 2434"/>
              <a:gd name="T102" fmla="*/ 1159 w 1605"/>
              <a:gd name="T103" fmla="*/ 2025 h 2434"/>
              <a:gd name="T104" fmla="*/ 1199 w 1605"/>
              <a:gd name="T105" fmla="*/ 2005 h 2434"/>
              <a:gd name="T106" fmla="*/ 1236 w 1605"/>
              <a:gd name="T107" fmla="*/ 1979 h 2434"/>
              <a:gd name="T108" fmla="*/ 1270 w 1605"/>
              <a:gd name="T109" fmla="*/ 1950 h 2434"/>
              <a:gd name="T110" fmla="*/ 1298 w 1605"/>
              <a:gd name="T111" fmla="*/ 1917 h 2434"/>
              <a:gd name="T112" fmla="*/ 1324 w 1605"/>
              <a:gd name="T113" fmla="*/ 1880 h 2434"/>
              <a:gd name="T114" fmla="*/ 1343 w 1605"/>
              <a:gd name="T115" fmla="*/ 1839 h 2434"/>
              <a:gd name="T116" fmla="*/ 1358 w 1605"/>
              <a:gd name="T117" fmla="*/ 1797 h 2434"/>
              <a:gd name="T118" fmla="*/ 1368 w 1605"/>
              <a:gd name="T119" fmla="*/ 1752 h 2434"/>
              <a:gd name="T120" fmla="*/ 1371 w 1605"/>
              <a:gd name="T121" fmla="*/ 1706 h 2434"/>
              <a:gd name="T122" fmla="*/ 1371 w 1605"/>
              <a:gd name="T123" fmla="*/ 0 h 24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605" h="2434">
                <a:moveTo>
                  <a:pt x="1371" y="0"/>
                </a:moveTo>
                <a:lnTo>
                  <a:pt x="1470" y="0"/>
                </a:lnTo>
                <a:lnTo>
                  <a:pt x="1501" y="3"/>
                </a:lnTo>
                <a:lnTo>
                  <a:pt x="1529" y="14"/>
                </a:lnTo>
                <a:lnTo>
                  <a:pt x="1554" y="30"/>
                </a:lnTo>
                <a:lnTo>
                  <a:pt x="1576" y="51"/>
                </a:lnTo>
                <a:lnTo>
                  <a:pt x="1591" y="76"/>
                </a:lnTo>
                <a:lnTo>
                  <a:pt x="1602" y="104"/>
                </a:lnTo>
                <a:lnTo>
                  <a:pt x="1605" y="135"/>
                </a:lnTo>
                <a:lnTo>
                  <a:pt x="1605" y="2298"/>
                </a:lnTo>
                <a:lnTo>
                  <a:pt x="1604" y="2322"/>
                </a:lnTo>
                <a:lnTo>
                  <a:pt x="1597" y="2345"/>
                </a:lnTo>
                <a:lnTo>
                  <a:pt x="1587" y="2367"/>
                </a:lnTo>
                <a:lnTo>
                  <a:pt x="1573" y="2387"/>
                </a:lnTo>
                <a:lnTo>
                  <a:pt x="1554" y="2404"/>
                </a:lnTo>
                <a:lnTo>
                  <a:pt x="1534" y="2418"/>
                </a:lnTo>
                <a:lnTo>
                  <a:pt x="1512" y="2427"/>
                </a:lnTo>
                <a:lnTo>
                  <a:pt x="1488" y="2433"/>
                </a:lnTo>
                <a:lnTo>
                  <a:pt x="1463" y="2434"/>
                </a:lnTo>
                <a:lnTo>
                  <a:pt x="1439" y="2430"/>
                </a:lnTo>
                <a:lnTo>
                  <a:pt x="1360" y="2413"/>
                </a:lnTo>
                <a:lnTo>
                  <a:pt x="1273" y="2396"/>
                </a:lnTo>
                <a:lnTo>
                  <a:pt x="1179" y="2380"/>
                </a:lnTo>
                <a:lnTo>
                  <a:pt x="1077" y="2365"/>
                </a:lnTo>
                <a:lnTo>
                  <a:pt x="970" y="2352"/>
                </a:lnTo>
                <a:lnTo>
                  <a:pt x="858" y="2343"/>
                </a:lnTo>
                <a:lnTo>
                  <a:pt x="743" y="2336"/>
                </a:lnTo>
                <a:lnTo>
                  <a:pt x="623" y="2333"/>
                </a:lnTo>
                <a:lnTo>
                  <a:pt x="501" y="2336"/>
                </a:lnTo>
                <a:lnTo>
                  <a:pt x="377" y="2343"/>
                </a:lnTo>
                <a:lnTo>
                  <a:pt x="252" y="2355"/>
                </a:lnTo>
                <a:lnTo>
                  <a:pt x="126" y="2375"/>
                </a:lnTo>
                <a:lnTo>
                  <a:pt x="0" y="2403"/>
                </a:lnTo>
                <a:lnTo>
                  <a:pt x="60" y="2350"/>
                </a:lnTo>
                <a:lnTo>
                  <a:pt x="124" y="2302"/>
                </a:lnTo>
                <a:lnTo>
                  <a:pt x="188" y="2260"/>
                </a:lnTo>
                <a:lnTo>
                  <a:pt x="255" y="2223"/>
                </a:lnTo>
                <a:lnTo>
                  <a:pt x="323" y="2190"/>
                </a:lnTo>
                <a:lnTo>
                  <a:pt x="391" y="2161"/>
                </a:lnTo>
                <a:lnTo>
                  <a:pt x="460" y="2137"/>
                </a:lnTo>
                <a:lnTo>
                  <a:pt x="530" y="2116"/>
                </a:lnTo>
                <a:lnTo>
                  <a:pt x="598" y="2099"/>
                </a:lnTo>
                <a:lnTo>
                  <a:pt x="666" y="2085"/>
                </a:lnTo>
                <a:lnTo>
                  <a:pt x="731" y="2074"/>
                </a:lnTo>
                <a:lnTo>
                  <a:pt x="796" y="2066"/>
                </a:lnTo>
                <a:lnTo>
                  <a:pt x="857" y="2060"/>
                </a:lnTo>
                <a:lnTo>
                  <a:pt x="917" y="2055"/>
                </a:lnTo>
                <a:lnTo>
                  <a:pt x="972" y="2053"/>
                </a:lnTo>
                <a:lnTo>
                  <a:pt x="1024" y="2052"/>
                </a:lnTo>
                <a:lnTo>
                  <a:pt x="1071" y="2050"/>
                </a:lnTo>
                <a:lnTo>
                  <a:pt x="1116" y="2040"/>
                </a:lnTo>
                <a:lnTo>
                  <a:pt x="1159" y="2025"/>
                </a:lnTo>
                <a:lnTo>
                  <a:pt x="1199" y="2005"/>
                </a:lnTo>
                <a:lnTo>
                  <a:pt x="1236" y="1979"/>
                </a:lnTo>
                <a:lnTo>
                  <a:pt x="1270" y="1950"/>
                </a:lnTo>
                <a:lnTo>
                  <a:pt x="1298" y="1917"/>
                </a:lnTo>
                <a:lnTo>
                  <a:pt x="1324" y="1880"/>
                </a:lnTo>
                <a:lnTo>
                  <a:pt x="1343" y="1839"/>
                </a:lnTo>
                <a:lnTo>
                  <a:pt x="1358" y="1797"/>
                </a:lnTo>
                <a:lnTo>
                  <a:pt x="1368" y="1752"/>
                </a:lnTo>
                <a:lnTo>
                  <a:pt x="1371" y="1706"/>
                </a:lnTo>
                <a:lnTo>
                  <a:pt x="1371"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9" name="Freeform 1062">
            <a:extLst>
              <a:ext uri="{FF2B5EF4-FFF2-40B4-BE49-F238E27FC236}">
                <a16:creationId xmlns:a16="http://schemas.microsoft.com/office/drawing/2014/main" id="{50D77010-44D1-4911-BAFD-424F3A2EB494}"/>
              </a:ext>
            </a:extLst>
          </p:cNvPr>
          <p:cNvSpPr>
            <a:spLocks/>
          </p:cNvSpPr>
          <p:nvPr/>
        </p:nvSpPr>
        <p:spPr bwMode="auto">
          <a:xfrm>
            <a:off x="2394070" y="2967739"/>
            <a:ext cx="164016" cy="248887"/>
          </a:xfrm>
          <a:custGeom>
            <a:avLst/>
            <a:gdLst>
              <a:gd name="T0" fmla="*/ 136 w 1605"/>
              <a:gd name="T1" fmla="*/ 0 h 2434"/>
              <a:gd name="T2" fmla="*/ 234 w 1605"/>
              <a:gd name="T3" fmla="*/ 0 h 2434"/>
              <a:gd name="T4" fmla="*/ 234 w 1605"/>
              <a:gd name="T5" fmla="*/ 1706 h 2434"/>
              <a:gd name="T6" fmla="*/ 237 w 1605"/>
              <a:gd name="T7" fmla="*/ 1752 h 2434"/>
              <a:gd name="T8" fmla="*/ 247 w 1605"/>
              <a:gd name="T9" fmla="*/ 1797 h 2434"/>
              <a:gd name="T10" fmla="*/ 262 w 1605"/>
              <a:gd name="T11" fmla="*/ 1839 h 2434"/>
              <a:gd name="T12" fmla="*/ 281 w 1605"/>
              <a:gd name="T13" fmla="*/ 1880 h 2434"/>
              <a:gd name="T14" fmla="*/ 307 w 1605"/>
              <a:gd name="T15" fmla="*/ 1917 h 2434"/>
              <a:gd name="T16" fmla="*/ 335 w 1605"/>
              <a:gd name="T17" fmla="*/ 1950 h 2434"/>
              <a:gd name="T18" fmla="*/ 369 w 1605"/>
              <a:gd name="T19" fmla="*/ 1979 h 2434"/>
              <a:gd name="T20" fmla="*/ 406 w 1605"/>
              <a:gd name="T21" fmla="*/ 2005 h 2434"/>
              <a:gd name="T22" fmla="*/ 446 w 1605"/>
              <a:gd name="T23" fmla="*/ 2025 h 2434"/>
              <a:gd name="T24" fmla="*/ 489 w 1605"/>
              <a:gd name="T25" fmla="*/ 2040 h 2434"/>
              <a:gd name="T26" fmla="*/ 534 w 1605"/>
              <a:gd name="T27" fmla="*/ 2050 h 2434"/>
              <a:gd name="T28" fmla="*/ 581 w 1605"/>
              <a:gd name="T29" fmla="*/ 2052 h 2434"/>
              <a:gd name="T30" fmla="*/ 633 w 1605"/>
              <a:gd name="T31" fmla="*/ 2053 h 2434"/>
              <a:gd name="T32" fmla="*/ 689 w 1605"/>
              <a:gd name="T33" fmla="*/ 2055 h 2434"/>
              <a:gd name="T34" fmla="*/ 748 w 1605"/>
              <a:gd name="T35" fmla="*/ 2060 h 2434"/>
              <a:gd name="T36" fmla="*/ 810 w 1605"/>
              <a:gd name="T37" fmla="*/ 2066 h 2434"/>
              <a:gd name="T38" fmla="*/ 874 w 1605"/>
              <a:gd name="T39" fmla="*/ 2074 h 2434"/>
              <a:gd name="T40" fmla="*/ 941 w 1605"/>
              <a:gd name="T41" fmla="*/ 2085 h 2434"/>
              <a:gd name="T42" fmla="*/ 1007 w 1605"/>
              <a:gd name="T43" fmla="*/ 2099 h 2434"/>
              <a:gd name="T44" fmla="*/ 1075 w 1605"/>
              <a:gd name="T45" fmla="*/ 2116 h 2434"/>
              <a:gd name="T46" fmla="*/ 1145 w 1605"/>
              <a:gd name="T47" fmla="*/ 2137 h 2434"/>
              <a:gd name="T48" fmla="*/ 1214 w 1605"/>
              <a:gd name="T49" fmla="*/ 2161 h 2434"/>
              <a:gd name="T50" fmla="*/ 1283 w 1605"/>
              <a:gd name="T51" fmla="*/ 2189 h 2434"/>
              <a:gd name="T52" fmla="*/ 1351 w 1605"/>
              <a:gd name="T53" fmla="*/ 2223 h 2434"/>
              <a:gd name="T54" fmla="*/ 1417 w 1605"/>
              <a:gd name="T55" fmla="*/ 2260 h 2434"/>
              <a:gd name="T56" fmla="*/ 1482 w 1605"/>
              <a:gd name="T57" fmla="*/ 2302 h 2434"/>
              <a:gd name="T58" fmla="*/ 1545 w 1605"/>
              <a:gd name="T59" fmla="*/ 2350 h 2434"/>
              <a:gd name="T60" fmla="*/ 1605 w 1605"/>
              <a:gd name="T61" fmla="*/ 2403 h 2434"/>
              <a:gd name="T62" fmla="*/ 1479 w 1605"/>
              <a:gd name="T63" fmla="*/ 2375 h 2434"/>
              <a:gd name="T64" fmla="*/ 1353 w 1605"/>
              <a:gd name="T65" fmla="*/ 2355 h 2434"/>
              <a:gd name="T66" fmla="*/ 1229 w 1605"/>
              <a:gd name="T67" fmla="*/ 2343 h 2434"/>
              <a:gd name="T68" fmla="*/ 1104 w 1605"/>
              <a:gd name="T69" fmla="*/ 2336 h 2434"/>
              <a:gd name="T70" fmla="*/ 982 w 1605"/>
              <a:gd name="T71" fmla="*/ 2333 h 2434"/>
              <a:gd name="T72" fmla="*/ 863 w 1605"/>
              <a:gd name="T73" fmla="*/ 2336 h 2434"/>
              <a:gd name="T74" fmla="*/ 747 w 1605"/>
              <a:gd name="T75" fmla="*/ 2343 h 2434"/>
              <a:gd name="T76" fmla="*/ 635 w 1605"/>
              <a:gd name="T77" fmla="*/ 2352 h 2434"/>
              <a:gd name="T78" fmla="*/ 529 w 1605"/>
              <a:gd name="T79" fmla="*/ 2365 h 2434"/>
              <a:gd name="T80" fmla="*/ 428 w 1605"/>
              <a:gd name="T81" fmla="*/ 2380 h 2434"/>
              <a:gd name="T82" fmla="*/ 333 w 1605"/>
              <a:gd name="T83" fmla="*/ 2396 h 2434"/>
              <a:gd name="T84" fmla="*/ 246 w 1605"/>
              <a:gd name="T85" fmla="*/ 2413 h 2434"/>
              <a:gd name="T86" fmla="*/ 166 w 1605"/>
              <a:gd name="T87" fmla="*/ 2430 h 2434"/>
              <a:gd name="T88" fmla="*/ 142 w 1605"/>
              <a:gd name="T89" fmla="*/ 2434 h 2434"/>
              <a:gd name="T90" fmla="*/ 118 w 1605"/>
              <a:gd name="T91" fmla="*/ 2433 h 2434"/>
              <a:gd name="T92" fmla="*/ 93 w 1605"/>
              <a:gd name="T93" fmla="*/ 2427 h 2434"/>
              <a:gd name="T94" fmla="*/ 71 w 1605"/>
              <a:gd name="T95" fmla="*/ 2418 h 2434"/>
              <a:gd name="T96" fmla="*/ 51 w 1605"/>
              <a:gd name="T97" fmla="*/ 2404 h 2434"/>
              <a:gd name="T98" fmla="*/ 33 w 1605"/>
              <a:gd name="T99" fmla="*/ 2387 h 2434"/>
              <a:gd name="T100" fmla="*/ 20 w 1605"/>
              <a:gd name="T101" fmla="*/ 2367 h 2434"/>
              <a:gd name="T102" fmla="*/ 8 w 1605"/>
              <a:gd name="T103" fmla="*/ 2345 h 2434"/>
              <a:gd name="T104" fmla="*/ 2 w 1605"/>
              <a:gd name="T105" fmla="*/ 2322 h 2434"/>
              <a:gd name="T106" fmla="*/ 0 w 1605"/>
              <a:gd name="T107" fmla="*/ 2298 h 2434"/>
              <a:gd name="T108" fmla="*/ 0 w 1605"/>
              <a:gd name="T109" fmla="*/ 135 h 2434"/>
              <a:gd name="T110" fmla="*/ 3 w 1605"/>
              <a:gd name="T111" fmla="*/ 104 h 2434"/>
              <a:gd name="T112" fmla="*/ 14 w 1605"/>
              <a:gd name="T113" fmla="*/ 76 h 2434"/>
              <a:gd name="T114" fmla="*/ 30 w 1605"/>
              <a:gd name="T115" fmla="*/ 51 h 2434"/>
              <a:gd name="T116" fmla="*/ 51 w 1605"/>
              <a:gd name="T117" fmla="*/ 30 h 2434"/>
              <a:gd name="T118" fmla="*/ 76 w 1605"/>
              <a:gd name="T119" fmla="*/ 14 h 2434"/>
              <a:gd name="T120" fmla="*/ 105 w 1605"/>
              <a:gd name="T121" fmla="*/ 3 h 2434"/>
              <a:gd name="T122" fmla="*/ 136 w 1605"/>
              <a:gd name="T123" fmla="*/ 0 h 24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605" h="2434">
                <a:moveTo>
                  <a:pt x="136" y="0"/>
                </a:moveTo>
                <a:lnTo>
                  <a:pt x="234" y="0"/>
                </a:lnTo>
                <a:lnTo>
                  <a:pt x="234" y="1706"/>
                </a:lnTo>
                <a:lnTo>
                  <a:pt x="237" y="1752"/>
                </a:lnTo>
                <a:lnTo>
                  <a:pt x="247" y="1797"/>
                </a:lnTo>
                <a:lnTo>
                  <a:pt x="262" y="1839"/>
                </a:lnTo>
                <a:lnTo>
                  <a:pt x="281" y="1880"/>
                </a:lnTo>
                <a:lnTo>
                  <a:pt x="307" y="1917"/>
                </a:lnTo>
                <a:lnTo>
                  <a:pt x="335" y="1950"/>
                </a:lnTo>
                <a:lnTo>
                  <a:pt x="369" y="1979"/>
                </a:lnTo>
                <a:lnTo>
                  <a:pt x="406" y="2005"/>
                </a:lnTo>
                <a:lnTo>
                  <a:pt x="446" y="2025"/>
                </a:lnTo>
                <a:lnTo>
                  <a:pt x="489" y="2040"/>
                </a:lnTo>
                <a:lnTo>
                  <a:pt x="534" y="2050"/>
                </a:lnTo>
                <a:lnTo>
                  <a:pt x="581" y="2052"/>
                </a:lnTo>
                <a:lnTo>
                  <a:pt x="633" y="2053"/>
                </a:lnTo>
                <a:lnTo>
                  <a:pt x="689" y="2055"/>
                </a:lnTo>
                <a:lnTo>
                  <a:pt x="748" y="2060"/>
                </a:lnTo>
                <a:lnTo>
                  <a:pt x="810" y="2066"/>
                </a:lnTo>
                <a:lnTo>
                  <a:pt x="874" y="2074"/>
                </a:lnTo>
                <a:lnTo>
                  <a:pt x="941" y="2085"/>
                </a:lnTo>
                <a:lnTo>
                  <a:pt x="1007" y="2099"/>
                </a:lnTo>
                <a:lnTo>
                  <a:pt x="1075" y="2116"/>
                </a:lnTo>
                <a:lnTo>
                  <a:pt x="1145" y="2137"/>
                </a:lnTo>
                <a:lnTo>
                  <a:pt x="1214" y="2161"/>
                </a:lnTo>
                <a:lnTo>
                  <a:pt x="1283" y="2189"/>
                </a:lnTo>
                <a:lnTo>
                  <a:pt x="1351" y="2223"/>
                </a:lnTo>
                <a:lnTo>
                  <a:pt x="1417" y="2260"/>
                </a:lnTo>
                <a:lnTo>
                  <a:pt x="1482" y="2302"/>
                </a:lnTo>
                <a:lnTo>
                  <a:pt x="1545" y="2350"/>
                </a:lnTo>
                <a:lnTo>
                  <a:pt x="1605" y="2403"/>
                </a:lnTo>
                <a:lnTo>
                  <a:pt x="1479" y="2375"/>
                </a:lnTo>
                <a:lnTo>
                  <a:pt x="1353" y="2355"/>
                </a:lnTo>
                <a:lnTo>
                  <a:pt x="1229" y="2343"/>
                </a:lnTo>
                <a:lnTo>
                  <a:pt x="1104" y="2336"/>
                </a:lnTo>
                <a:lnTo>
                  <a:pt x="982" y="2333"/>
                </a:lnTo>
                <a:lnTo>
                  <a:pt x="863" y="2336"/>
                </a:lnTo>
                <a:lnTo>
                  <a:pt x="747" y="2343"/>
                </a:lnTo>
                <a:lnTo>
                  <a:pt x="635" y="2352"/>
                </a:lnTo>
                <a:lnTo>
                  <a:pt x="529" y="2365"/>
                </a:lnTo>
                <a:lnTo>
                  <a:pt x="428" y="2380"/>
                </a:lnTo>
                <a:lnTo>
                  <a:pt x="333" y="2396"/>
                </a:lnTo>
                <a:lnTo>
                  <a:pt x="246" y="2413"/>
                </a:lnTo>
                <a:lnTo>
                  <a:pt x="166" y="2430"/>
                </a:lnTo>
                <a:lnTo>
                  <a:pt x="142" y="2434"/>
                </a:lnTo>
                <a:lnTo>
                  <a:pt x="118" y="2433"/>
                </a:lnTo>
                <a:lnTo>
                  <a:pt x="93" y="2427"/>
                </a:lnTo>
                <a:lnTo>
                  <a:pt x="71" y="2418"/>
                </a:lnTo>
                <a:lnTo>
                  <a:pt x="51" y="2404"/>
                </a:lnTo>
                <a:lnTo>
                  <a:pt x="33" y="2387"/>
                </a:lnTo>
                <a:lnTo>
                  <a:pt x="20" y="2367"/>
                </a:lnTo>
                <a:lnTo>
                  <a:pt x="8" y="2345"/>
                </a:lnTo>
                <a:lnTo>
                  <a:pt x="2" y="2322"/>
                </a:lnTo>
                <a:lnTo>
                  <a:pt x="0" y="2298"/>
                </a:lnTo>
                <a:lnTo>
                  <a:pt x="0" y="135"/>
                </a:lnTo>
                <a:lnTo>
                  <a:pt x="3" y="104"/>
                </a:lnTo>
                <a:lnTo>
                  <a:pt x="14" y="76"/>
                </a:lnTo>
                <a:lnTo>
                  <a:pt x="30" y="51"/>
                </a:lnTo>
                <a:lnTo>
                  <a:pt x="51" y="30"/>
                </a:lnTo>
                <a:lnTo>
                  <a:pt x="76" y="14"/>
                </a:lnTo>
                <a:lnTo>
                  <a:pt x="105" y="3"/>
                </a:lnTo>
                <a:lnTo>
                  <a:pt x="136"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1" name="Freeform 27">
            <a:extLst>
              <a:ext uri="{FF2B5EF4-FFF2-40B4-BE49-F238E27FC236}">
                <a16:creationId xmlns:a16="http://schemas.microsoft.com/office/drawing/2014/main" id="{D31873BF-D75A-4200-8159-C1122F8AE8C7}"/>
              </a:ext>
            </a:extLst>
          </p:cNvPr>
          <p:cNvSpPr>
            <a:spLocks noEditPoints="1"/>
          </p:cNvSpPr>
          <p:nvPr/>
        </p:nvSpPr>
        <p:spPr bwMode="auto">
          <a:xfrm>
            <a:off x="9207035" y="2813686"/>
            <a:ext cx="363011" cy="372319"/>
          </a:xfrm>
          <a:custGeom>
            <a:avLst/>
            <a:gdLst>
              <a:gd name="T0" fmla="*/ 1064 w 2533"/>
              <a:gd name="T1" fmla="*/ 558 h 2593"/>
              <a:gd name="T2" fmla="*/ 826 w 2533"/>
              <a:gd name="T3" fmla="*/ 671 h 2593"/>
              <a:gd name="T4" fmla="*/ 642 w 2533"/>
              <a:gd name="T5" fmla="*/ 855 h 2593"/>
              <a:gd name="T6" fmla="*/ 529 w 2533"/>
              <a:gd name="T7" fmla="*/ 1093 h 2593"/>
              <a:gd name="T8" fmla="*/ 504 w 2533"/>
              <a:gd name="T9" fmla="*/ 1367 h 2593"/>
              <a:gd name="T10" fmla="*/ 576 w 2533"/>
              <a:gd name="T11" fmla="*/ 1626 h 2593"/>
              <a:gd name="T12" fmla="*/ 726 w 2533"/>
              <a:gd name="T13" fmla="*/ 1839 h 2593"/>
              <a:gd name="T14" fmla="*/ 939 w 2533"/>
              <a:gd name="T15" fmla="*/ 1990 h 2593"/>
              <a:gd name="T16" fmla="*/ 1197 w 2533"/>
              <a:gd name="T17" fmla="*/ 2062 h 2593"/>
              <a:gd name="T18" fmla="*/ 1470 w 2533"/>
              <a:gd name="T19" fmla="*/ 2037 h 2593"/>
              <a:gd name="T20" fmla="*/ 1708 w 2533"/>
              <a:gd name="T21" fmla="*/ 1924 h 2593"/>
              <a:gd name="T22" fmla="*/ 1892 w 2533"/>
              <a:gd name="T23" fmla="*/ 1739 h 2593"/>
              <a:gd name="T24" fmla="*/ 2005 w 2533"/>
              <a:gd name="T25" fmla="*/ 1501 h 2593"/>
              <a:gd name="T26" fmla="*/ 2030 w 2533"/>
              <a:gd name="T27" fmla="*/ 1227 h 2593"/>
              <a:gd name="T28" fmla="*/ 1958 w 2533"/>
              <a:gd name="T29" fmla="*/ 968 h 2593"/>
              <a:gd name="T30" fmla="*/ 1808 w 2533"/>
              <a:gd name="T31" fmla="*/ 755 h 2593"/>
              <a:gd name="T32" fmla="*/ 1595 w 2533"/>
              <a:gd name="T33" fmla="*/ 604 h 2593"/>
              <a:gd name="T34" fmla="*/ 1336 w 2533"/>
              <a:gd name="T35" fmla="*/ 533 h 2593"/>
              <a:gd name="T36" fmla="*/ 1289 w 2533"/>
              <a:gd name="T37" fmla="*/ 14 h 2593"/>
              <a:gd name="T38" fmla="*/ 1513 w 2533"/>
              <a:gd name="T39" fmla="*/ 237 h 2593"/>
              <a:gd name="T40" fmla="*/ 1814 w 2533"/>
              <a:gd name="T41" fmla="*/ 121 h 2593"/>
              <a:gd name="T42" fmla="*/ 1921 w 2533"/>
              <a:gd name="T43" fmla="*/ 422 h 2593"/>
              <a:gd name="T44" fmla="*/ 1960 w 2533"/>
              <a:gd name="T45" fmla="*/ 454 h 2593"/>
              <a:gd name="T46" fmla="*/ 2277 w 2533"/>
              <a:gd name="T47" fmla="*/ 487 h 2593"/>
              <a:gd name="T48" fmla="*/ 2235 w 2533"/>
              <a:gd name="T49" fmla="*/ 807 h 2593"/>
              <a:gd name="T50" fmla="*/ 2506 w 2533"/>
              <a:gd name="T51" fmla="*/ 972 h 2593"/>
              <a:gd name="T52" fmla="*/ 2527 w 2533"/>
              <a:gd name="T53" fmla="*/ 1020 h 2593"/>
              <a:gd name="T54" fmla="*/ 2349 w 2533"/>
              <a:gd name="T55" fmla="*/ 1289 h 2593"/>
              <a:gd name="T56" fmla="*/ 2531 w 2533"/>
              <a:gd name="T57" fmla="*/ 1556 h 2593"/>
              <a:gd name="T58" fmla="*/ 2511 w 2533"/>
              <a:gd name="T59" fmla="*/ 1604 h 2593"/>
              <a:gd name="T60" fmla="*/ 2243 w 2533"/>
              <a:gd name="T61" fmla="*/ 1772 h 2593"/>
              <a:gd name="T62" fmla="*/ 2290 w 2533"/>
              <a:gd name="T63" fmla="*/ 2092 h 2593"/>
              <a:gd name="T64" fmla="*/ 1974 w 2533"/>
              <a:gd name="T65" fmla="*/ 2130 h 2593"/>
              <a:gd name="T66" fmla="*/ 1935 w 2533"/>
              <a:gd name="T67" fmla="*/ 2161 h 2593"/>
              <a:gd name="T68" fmla="*/ 1831 w 2533"/>
              <a:gd name="T69" fmla="*/ 2463 h 2593"/>
              <a:gd name="T70" fmla="*/ 1529 w 2533"/>
              <a:gd name="T71" fmla="*/ 2351 h 2593"/>
              <a:gd name="T72" fmla="*/ 1308 w 2533"/>
              <a:gd name="T73" fmla="*/ 2578 h 2593"/>
              <a:gd name="T74" fmla="*/ 1257 w 2533"/>
              <a:gd name="T75" fmla="*/ 2588 h 2593"/>
              <a:gd name="T76" fmla="*/ 1033 w 2533"/>
              <a:gd name="T77" fmla="*/ 2356 h 2593"/>
              <a:gd name="T78" fmla="*/ 734 w 2533"/>
              <a:gd name="T79" fmla="*/ 2473 h 2593"/>
              <a:gd name="T80" fmla="*/ 691 w 2533"/>
              <a:gd name="T81" fmla="*/ 2443 h 2593"/>
              <a:gd name="T82" fmla="*/ 586 w 2533"/>
              <a:gd name="T83" fmla="*/ 2143 h 2593"/>
              <a:gd name="T84" fmla="*/ 265 w 2533"/>
              <a:gd name="T85" fmla="*/ 2118 h 2593"/>
              <a:gd name="T86" fmla="*/ 298 w 2533"/>
              <a:gd name="T87" fmla="*/ 1800 h 2593"/>
              <a:gd name="T88" fmla="*/ 276 w 2533"/>
              <a:gd name="T89" fmla="*/ 1756 h 2593"/>
              <a:gd name="T90" fmla="*/ 5 w 2533"/>
              <a:gd name="T91" fmla="*/ 1587 h 2593"/>
              <a:gd name="T92" fmla="*/ 182 w 2533"/>
              <a:gd name="T93" fmla="*/ 1318 h 2593"/>
              <a:gd name="T94" fmla="*/ 8 w 2533"/>
              <a:gd name="T95" fmla="*/ 1052 h 2593"/>
              <a:gd name="T96" fmla="*/ 10 w 2533"/>
              <a:gd name="T97" fmla="*/ 999 h 2593"/>
              <a:gd name="T98" fmla="*/ 286 w 2533"/>
              <a:gd name="T99" fmla="*/ 833 h 2593"/>
              <a:gd name="T100" fmla="*/ 239 w 2533"/>
              <a:gd name="T101" fmla="*/ 515 h 2593"/>
              <a:gd name="T102" fmla="*/ 279 w 2533"/>
              <a:gd name="T103" fmla="*/ 479 h 2593"/>
              <a:gd name="T104" fmla="*/ 594 w 2533"/>
              <a:gd name="T105" fmla="*/ 443 h 2593"/>
              <a:gd name="T106" fmla="*/ 689 w 2533"/>
              <a:gd name="T107" fmla="*/ 135 h 2593"/>
              <a:gd name="T108" fmla="*/ 991 w 2533"/>
              <a:gd name="T109" fmla="*/ 238 h 2593"/>
              <a:gd name="T110" fmla="*/ 1039 w 2533"/>
              <a:gd name="T111" fmla="*/ 228 h 2593"/>
              <a:gd name="T112" fmla="*/ 1264 w 2533"/>
              <a:gd name="T113" fmla="*/ 0 h 2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533" h="2593">
                <a:moveTo>
                  <a:pt x="1267" y="530"/>
                </a:moveTo>
                <a:lnTo>
                  <a:pt x="1197" y="533"/>
                </a:lnTo>
                <a:lnTo>
                  <a:pt x="1130" y="542"/>
                </a:lnTo>
                <a:lnTo>
                  <a:pt x="1064" y="558"/>
                </a:lnTo>
                <a:lnTo>
                  <a:pt x="1000" y="578"/>
                </a:lnTo>
                <a:lnTo>
                  <a:pt x="939" y="604"/>
                </a:lnTo>
                <a:lnTo>
                  <a:pt x="881" y="635"/>
                </a:lnTo>
                <a:lnTo>
                  <a:pt x="826" y="671"/>
                </a:lnTo>
                <a:lnTo>
                  <a:pt x="774" y="711"/>
                </a:lnTo>
                <a:lnTo>
                  <a:pt x="726" y="755"/>
                </a:lnTo>
                <a:lnTo>
                  <a:pt x="682" y="803"/>
                </a:lnTo>
                <a:lnTo>
                  <a:pt x="642" y="855"/>
                </a:lnTo>
                <a:lnTo>
                  <a:pt x="606" y="910"/>
                </a:lnTo>
                <a:lnTo>
                  <a:pt x="576" y="968"/>
                </a:lnTo>
                <a:lnTo>
                  <a:pt x="550" y="1030"/>
                </a:lnTo>
                <a:lnTo>
                  <a:pt x="529" y="1093"/>
                </a:lnTo>
                <a:lnTo>
                  <a:pt x="514" y="1160"/>
                </a:lnTo>
                <a:lnTo>
                  <a:pt x="504" y="1227"/>
                </a:lnTo>
                <a:lnTo>
                  <a:pt x="501" y="1297"/>
                </a:lnTo>
                <a:lnTo>
                  <a:pt x="504" y="1367"/>
                </a:lnTo>
                <a:lnTo>
                  <a:pt x="514" y="1434"/>
                </a:lnTo>
                <a:lnTo>
                  <a:pt x="529" y="1501"/>
                </a:lnTo>
                <a:lnTo>
                  <a:pt x="550" y="1564"/>
                </a:lnTo>
                <a:lnTo>
                  <a:pt x="576" y="1626"/>
                </a:lnTo>
                <a:lnTo>
                  <a:pt x="606" y="1684"/>
                </a:lnTo>
                <a:lnTo>
                  <a:pt x="642" y="1739"/>
                </a:lnTo>
                <a:lnTo>
                  <a:pt x="682" y="1791"/>
                </a:lnTo>
                <a:lnTo>
                  <a:pt x="726" y="1839"/>
                </a:lnTo>
                <a:lnTo>
                  <a:pt x="774" y="1884"/>
                </a:lnTo>
                <a:lnTo>
                  <a:pt x="826" y="1923"/>
                </a:lnTo>
                <a:lnTo>
                  <a:pt x="881" y="1960"/>
                </a:lnTo>
                <a:lnTo>
                  <a:pt x="939" y="1990"/>
                </a:lnTo>
                <a:lnTo>
                  <a:pt x="1000" y="2016"/>
                </a:lnTo>
                <a:lnTo>
                  <a:pt x="1064" y="2037"/>
                </a:lnTo>
                <a:lnTo>
                  <a:pt x="1130" y="2052"/>
                </a:lnTo>
                <a:lnTo>
                  <a:pt x="1197" y="2062"/>
                </a:lnTo>
                <a:lnTo>
                  <a:pt x="1267" y="2065"/>
                </a:lnTo>
                <a:lnTo>
                  <a:pt x="1336" y="2062"/>
                </a:lnTo>
                <a:lnTo>
                  <a:pt x="1404" y="2052"/>
                </a:lnTo>
                <a:lnTo>
                  <a:pt x="1470" y="2037"/>
                </a:lnTo>
                <a:lnTo>
                  <a:pt x="1534" y="2016"/>
                </a:lnTo>
                <a:lnTo>
                  <a:pt x="1595" y="1991"/>
                </a:lnTo>
                <a:lnTo>
                  <a:pt x="1653" y="1960"/>
                </a:lnTo>
                <a:lnTo>
                  <a:pt x="1708" y="1924"/>
                </a:lnTo>
                <a:lnTo>
                  <a:pt x="1760" y="1884"/>
                </a:lnTo>
                <a:lnTo>
                  <a:pt x="1808" y="1839"/>
                </a:lnTo>
                <a:lnTo>
                  <a:pt x="1852" y="1791"/>
                </a:lnTo>
                <a:lnTo>
                  <a:pt x="1892" y="1739"/>
                </a:lnTo>
                <a:lnTo>
                  <a:pt x="1928" y="1684"/>
                </a:lnTo>
                <a:lnTo>
                  <a:pt x="1958" y="1626"/>
                </a:lnTo>
                <a:lnTo>
                  <a:pt x="1984" y="1564"/>
                </a:lnTo>
                <a:lnTo>
                  <a:pt x="2005" y="1501"/>
                </a:lnTo>
                <a:lnTo>
                  <a:pt x="2020" y="1435"/>
                </a:lnTo>
                <a:lnTo>
                  <a:pt x="2030" y="1367"/>
                </a:lnTo>
                <a:lnTo>
                  <a:pt x="2033" y="1297"/>
                </a:lnTo>
                <a:lnTo>
                  <a:pt x="2030" y="1227"/>
                </a:lnTo>
                <a:lnTo>
                  <a:pt x="2020" y="1160"/>
                </a:lnTo>
                <a:lnTo>
                  <a:pt x="2005" y="1093"/>
                </a:lnTo>
                <a:lnTo>
                  <a:pt x="1984" y="1030"/>
                </a:lnTo>
                <a:lnTo>
                  <a:pt x="1958" y="968"/>
                </a:lnTo>
                <a:lnTo>
                  <a:pt x="1928" y="910"/>
                </a:lnTo>
                <a:lnTo>
                  <a:pt x="1892" y="855"/>
                </a:lnTo>
                <a:lnTo>
                  <a:pt x="1852" y="803"/>
                </a:lnTo>
                <a:lnTo>
                  <a:pt x="1808" y="755"/>
                </a:lnTo>
                <a:lnTo>
                  <a:pt x="1760" y="711"/>
                </a:lnTo>
                <a:lnTo>
                  <a:pt x="1708" y="671"/>
                </a:lnTo>
                <a:lnTo>
                  <a:pt x="1653" y="635"/>
                </a:lnTo>
                <a:lnTo>
                  <a:pt x="1595" y="604"/>
                </a:lnTo>
                <a:lnTo>
                  <a:pt x="1534" y="578"/>
                </a:lnTo>
                <a:lnTo>
                  <a:pt x="1470" y="558"/>
                </a:lnTo>
                <a:lnTo>
                  <a:pt x="1404" y="542"/>
                </a:lnTo>
                <a:lnTo>
                  <a:pt x="1336" y="533"/>
                </a:lnTo>
                <a:lnTo>
                  <a:pt x="1267" y="530"/>
                </a:lnTo>
                <a:close/>
                <a:moveTo>
                  <a:pt x="1264" y="0"/>
                </a:moveTo>
                <a:lnTo>
                  <a:pt x="1277" y="4"/>
                </a:lnTo>
                <a:lnTo>
                  <a:pt x="1289" y="14"/>
                </a:lnTo>
                <a:lnTo>
                  <a:pt x="1477" y="224"/>
                </a:lnTo>
                <a:lnTo>
                  <a:pt x="1487" y="232"/>
                </a:lnTo>
                <a:lnTo>
                  <a:pt x="1499" y="237"/>
                </a:lnTo>
                <a:lnTo>
                  <a:pt x="1513" y="237"/>
                </a:lnTo>
                <a:lnTo>
                  <a:pt x="1525" y="234"/>
                </a:lnTo>
                <a:lnTo>
                  <a:pt x="1785" y="123"/>
                </a:lnTo>
                <a:lnTo>
                  <a:pt x="1799" y="119"/>
                </a:lnTo>
                <a:lnTo>
                  <a:pt x="1814" y="121"/>
                </a:lnTo>
                <a:lnTo>
                  <a:pt x="1826" y="127"/>
                </a:lnTo>
                <a:lnTo>
                  <a:pt x="1837" y="136"/>
                </a:lnTo>
                <a:lnTo>
                  <a:pt x="1843" y="150"/>
                </a:lnTo>
                <a:lnTo>
                  <a:pt x="1921" y="422"/>
                </a:lnTo>
                <a:lnTo>
                  <a:pt x="1927" y="435"/>
                </a:lnTo>
                <a:lnTo>
                  <a:pt x="1935" y="444"/>
                </a:lnTo>
                <a:lnTo>
                  <a:pt x="1947" y="451"/>
                </a:lnTo>
                <a:lnTo>
                  <a:pt x="1960" y="454"/>
                </a:lnTo>
                <a:lnTo>
                  <a:pt x="2241" y="465"/>
                </a:lnTo>
                <a:lnTo>
                  <a:pt x="2256" y="468"/>
                </a:lnTo>
                <a:lnTo>
                  <a:pt x="2268" y="476"/>
                </a:lnTo>
                <a:lnTo>
                  <a:pt x="2277" y="487"/>
                </a:lnTo>
                <a:lnTo>
                  <a:pt x="2282" y="499"/>
                </a:lnTo>
                <a:lnTo>
                  <a:pt x="2282" y="515"/>
                </a:lnTo>
                <a:lnTo>
                  <a:pt x="2235" y="794"/>
                </a:lnTo>
                <a:lnTo>
                  <a:pt x="2235" y="807"/>
                </a:lnTo>
                <a:lnTo>
                  <a:pt x="2238" y="820"/>
                </a:lnTo>
                <a:lnTo>
                  <a:pt x="2246" y="830"/>
                </a:lnTo>
                <a:lnTo>
                  <a:pt x="2257" y="838"/>
                </a:lnTo>
                <a:lnTo>
                  <a:pt x="2506" y="972"/>
                </a:lnTo>
                <a:lnTo>
                  <a:pt x="2517" y="981"/>
                </a:lnTo>
                <a:lnTo>
                  <a:pt x="2525" y="992"/>
                </a:lnTo>
                <a:lnTo>
                  <a:pt x="2528" y="1006"/>
                </a:lnTo>
                <a:lnTo>
                  <a:pt x="2527" y="1020"/>
                </a:lnTo>
                <a:lnTo>
                  <a:pt x="2520" y="1034"/>
                </a:lnTo>
                <a:lnTo>
                  <a:pt x="2358" y="1264"/>
                </a:lnTo>
                <a:lnTo>
                  <a:pt x="2351" y="1276"/>
                </a:lnTo>
                <a:lnTo>
                  <a:pt x="2349" y="1289"/>
                </a:lnTo>
                <a:lnTo>
                  <a:pt x="2352" y="1302"/>
                </a:lnTo>
                <a:lnTo>
                  <a:pt x="2358" y="1314"/>
                </a:lnTo>
                <a:lnTo>
                  <a:pt x="2525" y="1543"/>
                </a:lnTo>
                <a:lnTo>
                  <a:pt x="2531" y="1556"/>
                </a:lnTo>
                <a:lnTo>
                  <a:pt x="2533" y="1570"/>
                </a:lnTo>
                <a:lnTo>
                  <a:pt x="2530" y="1583"/>
                </a:lnTo>
                <a:lnTo>
                  <a:pt x="2523" y="1596"/>
                </a:lnTo>
                <a:lnTo>
                  <a:pt x="2511" y="1604"/>
                </a:lnTo>
                <a:lnTo>
                  <a:pt x="2264" y="1741"/>
                </a:lnTo>
                <a:lnTo>
                  <a:pt x="2254" y="1748"/>
                </a:lnTo>
                <a:lnTo>
                  <a:pt x="2246" y="1760"/>
                </a:lnTo>
                <a:lnTo>
                  <a:pt x="2243" y="1772"/>
                </a:lnTo>
                <a:lnTo>
                  <a:pt x="2243" y="1786"/>
                </a:lnTo>
                <a:lnTo>
                  <a:pt x="2294" y="2064"/>
                </a:lnTo>
                <a:lnTo>
                  <a:pt x="2294" y="2078"/>
                </a:lnTo>
                <a:lnTo>
                  <a:pt x="2290" y="2092"/>
                </a:lnTo>
                <a:lnTo>
                  <a:pt x="2281" y="2103"/>
                </a:lnTo>
                <a:lnTo>
                  <a:pt x="2269" y="2110"/>
                </a:lnTo>
                <a:lnTo>
                  <a:pt x="2255" y="2114"/>
                </a:lnTo>
                <a:lnTo>
                  <a:pt x="1974" y="2130"/>
                </a:lnTo>
                <a:lnTo>
                  <a:pt x="1960" y="2133"/>
                </a:lnTo>
                <a:lnTo>
                  <a:pt x="1949" y="2140"/>
                </a:lnTo>
                <a:lnTo>
                  <a:pt x="1940" y="2149"/>
                </a:lnTo>
                <a:lnTo>
                  <a:pt x="1935" y="2161"/>
                </a:lnTo>
                <a:lnTo>
                  <a:pt x="1860" y="2434"/>
                </a:lnTo>
                <a:lnTo>
                  <a:pt x="1854" y="2447"/>
                </a:lnTo>
                <a:lnTo>
                  <a:pt x="1844" y="2457"/>
                </a:lnTo>
                <a:lnTo>
                  <a:pt x="1831" y="2463"/>
                </a:lnTo>
                <a:lnTo>
                  <a:pt x="1817" y="2465"/>
                </a:lnTo>
                <a:lnTo>
                  <a:pt x="1803" y="2462"/>
                </a:lnTo>
                <a:lnTo>
                  <a:pt x="1542" y="2354"/>
                </a:lnTo>
                <a:lnTo>
                  <a:pt x="1529" y="2351"/>
                </a:lnTo>
                <a:lnTo>
                  <a:pt x="1516" y="2352"/>
                </a:lnTo>
                <a:lnTo>
                  <a:pt x="1505" y="2357"/>
                </a:lnTo>
                <a:lnTo>
                  <a:pt x="1494" y="2365"/>
                </a:lnTo>
                <a:lnTo>
                  <a:pt x="1308" y="2578"/>
                </a:lnTo>
                <a:lnTo>
                  <a:pt x="1297" y="2588"/>
                </a:lnTo>
                <a:lnTo>
                  <a:pt x="1284" y="2593"/>
                </a:lnTo>
                <a:lnTo>
                  <a:pt x="1270" y="2593"/>
                </a:lnTo>
                <a:lnTo>
                  <a:pt x="1257" y="2588"/>
                </a:lnTo>
                <a:lnTo>
                  <a:pt x="1245" y="2579"/>
                </a:lnTo>
                <a:lnTo>
                  <a:pt x="1056" y="2368"/>
                </a:lnTo>
                <a:lnTo>
                  <a:pt x="1046" y="2361"/>
                </a:lnTo>
                <a:lnTo>
                  <a:pt x="1033" y="2356"/>
                </a:lnTo>
                <a:lnTo>
                  <a:pt x="1021" y="2355"/>
                </a:lnTo>
                <a:lnTo>
                  <a:pt x="1008" y="2358"/>
                </a:lnTo>
                <a:lnTo>
                  <a:pt x="748" y="2470"/>
                </a:lnTo>
                <a:lnTo>
                  <a:pt x="734" y="2473"/>
                </a:lnTo>
                <a:lnTo>
                  <a:pt x="720" y="2472"/>
                </a:lnTo>
                <a:lnTo>
                  <a:pt x="707" y="2466"/>
                </a:lnTo>
                <a:lnTo>
                  <a:pt x="697" y="2456"/>
                </a:lnTo>
                <a:lnTo>
                  <a:pt x="691" y="2443"/>
                </a:lnTo>
                <a:lnTo>
                  <a:pt x="612" y="2171"/>
                </a:lnTo>
                <a:lnTo>
                  <a:pt x="606" y="2159"/>
                </a:lnTo>
                <a:lnTo>
                  <a:pt x="598" y="2150"/>
                </a:lnTo>
                <a:lnTo>
                  <a:pt x="586" y="2143"/>
                </a:lnTo>
                <a:lnTo>
                  <a:pt x="573" y="2141"/>
                </a:lnTo>
                <a:lnTo>
                  <a:pt x="292" y="2128"/>
                </a:lnTo>
                <a:lnTo>
                  <a:pt x="277" y="2126"/>
                </a:lnTo>
                <a:lnTo>
                  <a:pt x="265" y="2118"/>
                </a:lnTo>
                <a:lnTo>
                  <a:pt x="255" y="2107"/>
                </a:lnTo>
                <a:lnTo>
                  <a:pt x="251" y="2094"/>
                </a:lnTo>
                <a:lnTo>
                  <a:pt x="251" y="2079"/>
                </a:lnTo>
                <a:lnTo>
                  <a:pt x="298" y="1800"/>
                </a:lnTo>
                <a:lnTo>
                  <a:pt x="298" y="1787"/>
                </a:lnTo>
                <a:lnTo>
                  <a:pt x="294" y="1774"/>
                </a:lnTo>
                <a:lnTo>
                  <a:pt x="286" y="1763"/>
                </a:lnTo>
                <a:lnTo>
                  <a:pt x="276" y="1756"/>
                </a:lnTo>
                <a:lnTo>
                  <a:pt x="27" y="1622"/>
                </a:lnTo>
                <a:lnTo>
                  <a:pt x="16" y="1613"/>
                </a:lnTo>
                <a:lnTo>
                  <a:pt x="8" y="1601"/>
                </a:lnTo>
                <a:lnTo>
                  <a:pt x="5" y="1587"/>
                </a:lnTo>
                <a:lnTo>
                  <a:pt x="6" y="1573"/>
                </a:lnTo>
                <a:lnTo>
                  <a:pt x="12" y="1560"/>
                </a:lnTo>
                <a:lnTo>
                  <a:pt x="175" y="1329"/>
                </a:lnTo>
                <a:lnTo>
                  <a:pt x="182" y="1318"/>
                </a:lnTo>
                <a:lnTo>
                  <a:pt x="183" y="1304"/>
                </a:lnTo>
                <a:lnTo>
                  <a:pt x="181" y="1292"/>
                </a:lnTo>
                <a:lnTo>
                  <a:pt x="174" y="1279"/>
                </a:lnTo>
                <a:lnTo>
                  <a:pt x="8" y="1052"/>
                </a:lnTo>
                <a:lnTo>
                  <a:pt x="2" y="1038"/>
                </a:lnTo>
                <a:lnTo>
                  <a:pt x="0" y="1025"/>
                </a:lnTo>
                <a:lnTo>
                  <a:pt x="3" y="1010"/>
                </a:lnTo>
                <a:lnTo>
                  <a:pt x="10" y="999"/>
                </a:lnTo>
                <a:lnTo>
                  <a:pt x="22" y="989"/>
                </a:lnTo>
                <a:lnTo>
                  <a:pt x="269" y="852"/>
                </a:lnTo>
                <a:lnTo>
                  <a:pt x="279" y="844"/>
                </a:lnTo>
                <a:lnTo>
                  <a:pt x="286" y="833"/>
                </a:lnTo>
                <a:lnTo>
                  <a:pt x="291" y="821"/>
                </a:lnTo>
                <a:lnTo>
                  <a:pt x="289" y="807"/>
                </a:lnTo>
                <a:lnTo>
                  <a:pt x="239" y="530"/>
                </a:lnTo>
                <a:lnTo>
                  <a:pt x="239" y="515"/>
                </a:lnTo>
                <a:lnTo>
                  <a:pt x="244" y="502"/>
                </a:lnTo>
                <a:lnTo>
                  <a:pt x="252" y="490"/>
                </a:lnTo>
                <a:lnTo>
                  <a:pt x="265" y="483"/>
                </a:lnTo>
                <a:lnTo>
                  <a:pt x="279" y="479"/>
                </a:lnTo>
                <a:lnTo>
                  <a:pt x="560" y="463"/>
                </a:lnTo>
                <a:lnTo>
                  <a:pt x="573" y="460"/>
                </a:lnTo>
                <a:lnTo>
                  <a:pt x="584" y="454"/>
                </a:lnTo>
                <a:lnTo>
                  <a:pt x="594" y="443"/>
                </a:lnTo>
                <a:lnTo>
                  <a:pt x="599" y="432"/>
                </a:lnTo>
                <a:lnTo>
                  <a:pt x="673" y="159"/>
                </a:lnTo>
                <a:lnTo>
                  <a:pt x="680" y="146"/>
                </a:lnTo>
                <a:lnTo>
                  <a:pt x="689" y="135"/>
                </a:lnTo>
                <a:lnTo>
                  <a:pt x="701" y="129"/>
                </a:lnTo>
                <a:lnTo>
                  <a:pt x="716" y="128"/>
                </a:lnTo>
                <a:lnTo>
                  <a:pt x="730" y="131"/>
                </a:lnTo>
                <a:lnTo>
                  <a:pt x="991" y="238"/>
                </a:lnTo>
                <a:lnTo>
                  <a:pt x="1003" y="242"/>
                </a:lnTo>
                <a:lnTo>
                  <a:pt x="1017" y="242"/>
                </a:lnTo>
                <a:lnTo>
                  <a:pt x="1029" y="236"/>
                </a:lnTo>
                <a:lnTo>
                  <a:pt x="1039" y="228"/>
                </a:lnTo>
                <a:lnTo>
                  <a:pt x="1224" y="15"/>
                </a:lnTo>
                <a:lnTo>
                  <a:pt x="1236" y="5"/>
                </a:lnTo>
                <a:lnTo>
                  <a:pt x="1249" y="0"/>
                </a:lnTo>
                <a:lnTo>
                  <a:pt x="1264"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2" name="Freeform 28">
            <a:extLst>
              <a:ext uri="{FF2B5EF4-FFF2-40B4-BE49-F238E27FC236}">
                <a16:creationId xmlns:a16="http://schemas.microsoft.com/office/drawing/2014/main" id="{61AF2C74-F4B0-482D-AF3F-B4776B6BD235}"/>
              </a:ext>
            </a:extLst>
          </p:cNvPr>
          <p:cNvSpPr>
            <a:spLocks/>
          </p:cNvSpPr>
          <p:nvPr/>
        </p:nvSpPr>
        <p:spPr bwMode="auto">
          <a:xfrm>
            <a:off x="9408087" y="3180420"/>
            <a:ext cx="109834" cy="122865"/>
          </a:xfrm>
          <a:custGeom>
            <a:avLst/>
            <a:gdLst>
              <a:gd name="T0" fmla="*/ 553 w 767"/>
              <a:gd name="T1" fmla="*/ 0 h 855"/>
              <a:gd name="T2" fmla="*/ 766 w 767"/>
              <a:gd name="T3" fmla="*/ 657 h 855"/>
              <a:gd name="T4" fmla="*/ 767 w 767"/>
              <a:gd name="T5" fmla="*/ 672 h 855"/>
              <a:gd name="T6" fmla="*/ 763 w 767"/>
              <a:gd name="T7" fmla="*/ 684 h 855"/>
              <a:gd name="T8" fmla="*/ 753 w 767"/>
              <a:gd name="T9" fmla="*/ 693 h 855"/>
              <a:gd name="T10" fmla="*/ 741 w 767"/>
              <a:gd name="T11" fmla="*/ 698 h 855"/>
              <a:gd name="T12" fmla="*/ 727 w 767"/>
              <a:gd name="T13" fmla="*/ 698 h 855"/>
              <a:gd name="T14" fmla="*/ 474 w 767"/>
              <a:gd name="T15" fmla="*/ 623 h 855"/>
              <a:gd name="T16" fmla="*/ 465 w 767"/>
              <a:gd name="T17" fmla="*/ 622 h 855"/>
              <a:gd name="T18" fmla="*/ 455 w 767"/>
              <a:gd name="T19" fmla="*/ 624 h 855"/>
              <a:gd name="T20" fmla="*/ 447 w 767"/>
              <a:gd name="T21" fmla="*/ 628 h 855"/>
              <a:gd name="T22" fmla="*/ 441 w 767"/>
              <a:gd name="T23" fmla="*/ 634 h 855"/>
              <a:gd name="T24" fmla="*/ 278 w 767"/>
              <a:gd name="T25" fmla="*/ 843 h 855"/>
              <a:gd name="T26" fmla="*/ 269 w 767"/>
              <a:gd name="T27" fmla="*/ 851 h 855"/>
              <a:gd name="T28" fmla="*/ 258 w 767"/>
              <a:gd name="T29" fmla="*/ 855 h 855"/>
              <a:gd name="T30" fmla="*/ 248 w 767"/>
              <a:gd name="T31" fmla="*/ 855 h 855"/>
              <a:gd name="T32" fmla="*/ 238 w 767"/>
              <a:gd name="T33" fmla="*/ 851 h 855"/>
              <a:gd name="T34" fmla="*/ 228 w 767"/>
              <a:gd name="T35" fmla="*/ 844 h 855"/>
              <a:gd name="T36" fmla="*/ 223 w 767"/>
              <a:gd name="T37" fmla="*/ 834 h 855"/>
              <a:gd name="T38" fmla="*/ 0 w 767"/>
              <a:gd name="T39" fmla="*/ 140 h 855"/>
              <a:gd name="T40" fmla="*/ 7 w 767"/>
              <a:gd name="T41" fmla="*/ 135 h 855"/>
              <a:gd name="T42" fmla="*/ 13 w 767"/>
              <a:gd name="T43" fmla="*/ 129 h 855"/>
              <a:gd name="T44" fmla="*/ 152 w 767"/>
              <a:gd name="T45" fmla="*/ 2 h 855"/>
              <a:gd name="T46" fmla="*/ 332 w 767"/>
              <a:gd name="T47" fmla="*/ 56 h 855"/>
              <a:gd name="T48" fmla="*/ 364 w 767"/>
              <a:gd name="T49" fmla="*/ 62 h 855"/>
              <a:gd name="T50" fmla="*/ 396 w 767"/>
              <a:gd name="T51" fmla="*/ 65 h 855"/>
              <a:gd name="T52" fmla="*/ 432 w 767"/>
              <a:gd name="T53" fmla="*/ 62 h 855"/>
              <a:gd name="T54" fmla="*/ 466 w 767"/>
              <a:gd name="T55" fmla="*/ 54 h 855"/>
              <a:gd name="T56" fmla="*/ 498 w 767"/>
              <a:gd name="T57" fmla="*/ 40 h 855"/>
              <a:gd name="T58" fmla="*/ 527 w 767"/>
              <a:gd name="T59" fmla="*/ 22 h 855"/>
              <a:gd name="T60" fmla="*/ 553 w 767"/>
              <a:gd name="T61" fmla="*/ 0 h 8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67" h="855">
                <a:moveTo>
                  <a:pt x="553" y="0"/>
                </a:moveTo>
                <a:lnTo>
                  <a:pt x="766" y="657"/>
                </a:lnTo>
                <a:lnTo>
                  <a:pt x="767" y="672"/>
                </a:lnTo>
                <a:lnTo>
                  <a:pt x="763" y="684"/>
                </a:lnTo>
                <a:lnTo>
                  <a:pt x="753" y="693"/>
                </a:lnTo>
                <a:lnTo>
                  <a:pt x="741" y="698"/>
                </a:lnTo>
                <a:lnTo>
                  <a:pt x="727" y="698"/>
                </a:lnTo>
                <a:lnTo>
                  <a:pt x="474" y="623"/>
                </a:lnTo>
                <a:lnTo>
                  <a:pt x="465" y="622"/>
                </a:lnTo>
                <a:lnTo>
                  <a:pt x="455" y="624"/>
                </a:lnTo>
                <a:lnTo>
                  <a:pt x="447" y="628"/>
                </a:lnTo>
                <a:lnTo>
                  <a:pt x="441" y="634"/>
                </a:lnTo>
                <a:lnTo>
                  <a:pt x="278" y="843"/>
                </a:lnTo>
                <a:lnTo>
                  <a:pt x="269" y="851"/>
                </a:lnTo>
                <a:lnTo>
                  <a:pt x="258" y="855"/>
                </a:lnTo>
                <a:lnTo>
                  <a:pt x="248" y="855"/>
                </a:lnTo>
                <a:lnTo>
                  <a:pt x="238" y="851"/>
                </a:lnTo>
                <a:lnTo>
                  <a:pt x="228" y="844"/>
                </a:lnTo>
                <a:lnTo>
                  <a:pt x="223" y="834"/>
                </a:lnTo>
                <a:lnTo>
                  <a:pt x="0" y="140"/>
                </a:lnTo>
                <a:lnTo>
                  <a:pt x="7" y="135"/>
                </a:lnTo>
                <a:lnTo>
                  <a:pt x="13" y="129"/>
                </a:lnTo>
                <a:lnTo>
                  <a:pt x="152" y="2"/>
                </a:lnTo>
                <a:lnTo>
                  <a:pt x="332" y="56"/>
                </a:lnTo>
                <a:lnTo>
                  <a:pt x="364" y="62"/>
                </a:lnTo>
                <a:lnTo>
                  <a:pt x="396" y="65"/>
                </a:lnTo>
                <a:lnTo>
                  <a:pt x="432" y="62"/>
                </a:lnTo>
                <a:lnTo>
                  <a:pt x="466" y="54"/>
                </a:lnTo>
                <a:lnTo>
                  <a:pt x="498" y="40"/>
                </a:lnTo>
                <a:lnTo>
                  <a:pt x="527" y="22"/>
                </a:lnTo>
                <a:lnTo>
                  <a:pt x="553"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3" name="Freeform 29">
            <a:extLst>
              <a:ext uri="{FF2B5EF4-FFF2-40B4-BE49-F238E27FC236}">
                <a16:creationId xmlns:a16="http://schemas.microsoft.com/office/drawing/2014/main" id="{99EF2819-7734-4D0B-AADC-EDCFDA7E83A4}"/>
              </a:ext>
            </a:extLst>
          </p:cNvPr>
          <p:cNvSpPr>
            <a:spLocks/>
          </p:cNvSpPr>
          <p:nvPr/>
        </p:nvSpPr>
        <p:spPr bwMode="auto">
          <a:xfrm>
            <a:off x="9259160" y="3180420"/>
            <a:ext cx="109834" cy="122865"/>
          </a:xfrm>
          <a:custGeom>
            <a:avLst/>
            <a:gdLst>
              <a:gd name="T0" fmla="*/ 214 w 768"/>
              <a:gd name="T1" fmla="*/ 0 h 856"/>
              <a:gd name="T2" fmla="*/ 241 w 768"/>
              <a:gd name="T3" fmla="*/ 22 h 856"/>
              <a:gd name="T4" fmla="*/ 270 w 768"/>
              <a:gd name="T5" fmla="*/ 40 h 856"/>
              <a:gd name="T6" fmla="*/ 302 w 768"/>
              <a:gd name="T7" fmla="*/ 54 h 856"/>
              <a:gd name="T8" fmla="*/ 336 w 768"/>
              <a:gd name="T9" fmla="*/ 62 h 856"/>
              <a:gd name="T10" fmla="*/ 372 w 768"/>
              <a:gd name="T11" fmla="*/ 65 h 856"/>
              <a:gd name="T12" fmla="*/ 404 w 768"/>
              <a:gd name="T13" fmla="*/ 63 h 856"/>
              <a:gd name="T14" fmla="*/ 435 w 768"/>
              <a:gd name="T15" fmla="*/ 56 h 856"/>
              <a:gd name="T16" fmla="*/ 616 w 768"/>
              <a:gd name="T17" fmla="*/ 2 h 856"/>
              <a:gd name="T18" fmla="*/ 754 w 768"/>
              <a:gd name="T19" fmla="*/ 129 h 856"/>
              <a:gd name="T20" fmla="*/ 761 w 768"/>
              <a:gd name="T21" fmla="*/ 135 h 856"/>
              <a:gd name="T22" fmla="*/ 768 w 768"/>
              <a:gd name="T23" fmla="*/ 141 h 856"/>
              <a:gd name="T24" fmla="*/ 545 w 768"/>
              <a:gd name="T25" fmla="*/ 834 h 856"/>
              <a:gd name="T26" fmla="*/ 539 w 768"/>
              <a:gd name="T27" fmla="*/ 845 h 856"/>
              <a:gd name="T28" fmla="*/ 530 w 768"/>
              <a:gd name="T29" fmla="*/ 853 h 856"/>
              <a:gd name="T30" fmla="*/ 520 w 768"/>
              <a:gd name="T31" fmla="*/ 856 h 856"/>
              <a:gd name="T32" fmla="*/ 509 w 768"/>
              <a:gd name="T33" fmla="*/ 856 h 856"/>
              <a:gd name="T34" fmla="*/ 498 w 768"/>
              <a:gd name="T35" fmla="*/ 851 h 856"/>
              <a:gd name="T36" fmla="*/ 490 w 768"/>
              <a:gd name="T37" fmla="*/ 844 h 856"/>
              <a:gd name="T38" fmla="*/ 327 w 768"/>
              <a:gd name="T39" fmla="*/ 635 h 856"/>
              <a:gd name="T40" fmla="*/ 318 w 768"/>
              <a:gd name="T41" fmla="*/ 627 h 856"/>
              <a:gd name="T42" fmla="*/ 306 w 768"/>
              <a:gd name="T43" fmla="*/ 623 h 856"/>
              <a:gd name="T44" fmla="*/ 294 w 768"/>
              <a:gd name="T45" fmla="*/ 624 h 856"/>
              <a:gd name="T46" fmla="*/ 41 w 768"/>
              <a:gd name="T47" fmla="*/ 698 h 856"/>
              <a:gd name="T48" fmla="*/ 26 w 768"/>
              <a:gd name="T49" fmla="*/ 699 h 856"/>
              <a:gd name="T50" fmla="*/ 15 w 768"/>
              <a:gd name="T51" fmla="*/ 694 h 856"/>
              <a:gd name="T52" fmla="*/ 5 w 768"/>
              <a:gd name="T53" fmla="*/ 685 h 856"/>
              <a:gd name="T54" fmla="*/ 0 w 768"/>
              <a:gd name="T55" fmla="*/ 673 h 856"/>
              <a:gd name="T56" fmla="*/ 1 w 768"/>
              <a:gd name="T57" fmla="*/ 658 h 856"/>
              <a:gd name="T58" fmla="*/ 214 w 768"/>
              <a:gd name="T59" fmla="*/ 0 h 8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768" h="856">
                <a:moveTo>
                  <a:pt x="214" y="0"/>
                </a:moveTo>
                <a:lnTo>
                  <a:pt x="241" y="22"/>
                </a:lnTo>
                <a:lnTo>
                  <a:pt x="270" y="40"/>
                </a:lnTo>
                <a:lnTo>
                  <a:pt x="302" y="54"/>
                </a:lnTo>
                <a:lnTo>
                  <a:pt x="336" y="62"/>
                </a:lnTo>
                <a:lnTo>
                  <a:pt x="372" y="65"/>
                </a:lnTo>
                <a:lnTo>
                  <a:pt x="404" y="63"/>
                </a:lnTo>
                <a:lnTo>
                  <a:pt x="435" y="56"/>
                </a:lnTo>
                <a:lnTo>
                  <a:pt x="616" y="2"/>
                </a:lnTo>
                <a:lnTo>
                  <a:pt x="754" y="129"/>
                </a:lnTo>
                <a:lnTo>
                  <a:pt x="761" y="135"/>
                </a:lnTo>
                <a:lnTo>
                  <a:pt x="768" y="141"/>
                </a:lnTo>
                <a:lnTo>
                  <a:pt x="545" y="834"/>
                </a:lnTo>
                <a:lnTo>
                  <a:pt x="539" y="845"/>
                </a:lnTo>
                <a:lnTo>
                  <a:pt x="530" y="853"/>
                </a:lnTo>
                <a:lnTo>
                  <a:pt x="520" y="856"/>
                </a:lnTo>
                <a:lnTo>
                  <a:pt x="509" y="856"/>
                </a:lnTo>
                <a:lnTo>
                  <a:pt x="498" y="851"/>
                </a:lnTo>
                <a:lnTo>
                  <a:pt x="490" y="844"/>
                </a:lnTo>
                <a:lnTo>
                  <a:pt x="327" y="635"/>
                </a:lnTo>
                <a:lnTo>
                  <a:pt x="318" y="627"/>
                </a:lnTo>
                <a:lnTo>
                  <a:pt x="306" y="623"/>
                </a:lnTo>
                <a:lnTo>
                  <a:pt x="294" y="624"/>
                </a:lnTo>
                <a:lnTo>
                  <a:pt x="41" y="698"/>
                </a:lnTo>
                <a:lnTo>
                  <a:pt x="26" y="699"/>
                </a:lnTo>
                <a:lnTo>
                  <a:pt x="15" y="694"/>
                </a:lnTo>
                <a:lnTo>
                  <a:pt x="5" y="685"/>
                </a:lnTo>
                <a:lnTo>
                  <a:pt x="0" y="673"/>
                </a:lnTo>
                <a:lnTo>
                  <a:pt x="1" y="658"/>
                </a:lnTo>
                <a:lnTo>
                  <a:pt x="214"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4" name="Freeform 30">
            <a:extLst>
              <a:ext uri="{FF2B5EF4-FFF2-40B4-BE49-F238E27FC236}">
                <a16:creationId xmlns:a16="http://schemas.microsoft.com/office/drawing/2014/main" id="{204A6E4B-11A5-4BB9-8EDA-A8B30A4DBD96}"/>
              </a:ext>
            </a:extLst>
          </p:cNvPr>
          <p:cNvSpPr>
            <a:spLocks/>
          </p:cNvSpPr>
          <p:nvPr/>
        </p:nvSpPr>
        <p:spPr bwMode="auto">
          <a:xfrm>
            <a:off x="9315008" y="2925382"/>
            <a:ext cx="147066" cy="141481"/>
          </a:xfrm>
          <a:custGeom>
            <a:avLst/>
            <a:gdLst>
              <a:gd name="T0" fmla="*/ 503 w 1019"/>
              <a:gd name="T1" fmla="*/ 0 h 978"/>
              <a:gd name="T2" fmla="*/ 518 w 1019"/>
              <a:gd name="T3" fmla="*/ 0 h 978"/>
              <a:gd name="T4" fmla="*/ 533 w 1019"/>
              <a:gd name="T5" fmla="*/ 3 h 978"/>
              <a:gd name="T6" fmla="*/ 546 w 1019"/>
              <a:gd name="T7" fmla="*/ 11 h 978"/>
              <a:gd name="T8" fmla="*/ 558 w 1019"/>
              <a:gd name="T9" fmla="*/ 22 h 978"/>
              <a:gd name="T10" fmla="*/ 566 w 1019"/>
              <a:gd name="T11" fmla="*/ 38 h 978"/>
              <a:gd name="T12" fmla="*/ 675 w 1019"/>
              <a:gd name="T13" fmla="*/ 306 h 978"/>
              <a:gd name="T14" fmla="*/ 963 w 1019"/>
              <a:gd name="T15" fmla="*/ 327 h 978"/>
              <a:gd name="T16" fmla="*/ 981 w 1019"/>
              <a:gd name="T17" fmla="*/ 330 h 978"/>
              <a:gd name="T18" fmla="*/ 995 w 1019"/>
              <a:gd name="T19" fmla="*/ 337 h 978"/>
              <a:gd name="T20" fmla="*/ 1006 w 1019"/>
              <a:gd name="T21" fmla="*/ 349 h 978"/>
              <a:gd name="T22" fmla="*/ 1014 w 1019"/>
              <a:gd name="T23" fmla="*/ 361 h 978"/>
              <a:gd name="T24" fmla="*/ 1018 w 1019"/>
              <a:gd name="T25" fmla="*/ 376 h 978"/>
              <a:gd name="T26" fmla="*/ 1019 w 1019"/>
              <a:gd name="T27" fmla="*/ 391 h 978"/>
              <a:gd name="T28" fmla="*/ 1016 w 1019"/>
              <a:gd name="T29" fmla="*/ 406 h 978"/>
              <a:gd name="T30" fmla="*/ 1009 w 1019"/>
              <a:gd name="T31" fmla="*/ 420 h 978"/>
              <a:gd name="T32" fmla="*/ 998 w 1019"/>
              <a:gd name="T33" fmla="*/ 433 h 978"/>
              <a:gd name="T34" fmla="*/ 777 w 1019"/>
              <a:gd name="T35" fmla="*/ 620 h 978"/>
              <a:gd name="T36" fmla="*/ 846 w 1019"/>
              <a:gd name="T37" fmla="*/ 902 h 978"/>
              <a:gd name="T38" fmla="*/ 848 w 1019"/>
              <a:gd name="T39" fmla="*/ 922 h 978"/>
              <a:gd name="T40" fmla="*/ 844 w 1019"/>
              <a:gd name="T41" fmla="*/ 939 h 978"/>
              <a:gd name="T42" fmla="*/ 836 w 1019"/>
              <a:gd name="T43" fmla="*/ 954 h 978"/>
              <a:gd name="T44" fmla="*/ 823 w 1019"/>
              <a:gd name="T45" fmla="*/ 966 h 978"/>
              <a:gd name="T46" fmla="*/ 808 w 1019"/>
              <a:gd name="T47" fmla="*/ 974 h 978"/>
              <a:gd name="T48" fmla="*/ 791 w 1019"/>
              <a:gd name="T49" fmla="*/ 978 h 978"/>
              <a:gd name="T50" fmla="*/ 774 w 1019"/>
              <a:gd name="T51" fmla="*/ 976 h 978"/>
              <a:gd name="T52" fmla="*/ 756 w 1019"/>
              <a:gd name="T53" fmla="*/ 968 h 978"/>
              <a:gd name="T54" fmla="*/ 510 w 1019"/>
              <a:gd name="T55" fmla="*/ 816 h 978"/>
              <a:gd name="T56" fmla="*/ 265 w 1019"/>
              <a:gd name="T57" fmla="*/ 968 h 978"/>
              <a:gd name="T58" fmla="*/ 247 w 1019"/>
              <a:gd name="T59" fmla="*/ 976 h 978"/>
              <a:gd name="T60" fmla="*/ 229 w 1019"/>
              <a:gd name="T61" fmla="*/ 978 h 978"/>
              <a:gd name="T62" fmla="*/ 212 w 1019"/>
              <a:gd name="T63" fmla="*/ 974 h 978"/>
              <a:gd name="T64" fmla="*/ 198 w 1019"/>
              <a:gd name="T65" fmla="*/ 966 h 978"/>
              <a:gd name="T66" fmla="*/ 185 w 1019"/>
              <a:gd name="T67" fmla="*/ 954 h 978"/>
              <a:gd name="T68" fmla="*/ 176 w 1019"/>
              <a:gd name="T69" fmla="*/ 939 h 978"/>
              <a:gd name="T70" fmla="*/ 173 w 1019"/>
              <a:gd name="T71" fmla="*/ 922 h 978"/>
              <a:gd name="T72" fmla="*/ 174 w 1019"/>
              <a:gd name="T73" fmla="*/ 902 h 978"/>
              <a:gd name="T74" fmla="*/ 243 w 1019"/>
              <a:gd name="T75" fmla="*/ 620 h 978"/>
              <a:gd name="T76" fmla="*/ 22 w 1019"/>
              <a:gd name="T77" fmla="*/ 433 h 978"/>
              <a:gd name="T78" fmla="*/ 11 w 1019"/>
              <a:gd name="T79" fmla="*/ 420 h 978"/>
              <a:gd name="T80" fmla="*/ 4 w 1019"/>
              <a:gd name="T81" fmla="*/ 406 h 978"/>
              <a:gd name="T82" fmla="*/ 0 w 1019"/>
              <a:gd name="T83" fmla="*/ 391 h 978"/>
              <a:gd name="T84" fmla="*/ 1 w 1019"/>
              <a:gd name="T85" fmla="*/ 376 h 978"/>
              <a:gd name="T86" fmla="*/ 7 w 1019"/>
              <a:gd name="T87" fmla="*/ 361 h 978"/>
              <a:gd name="T88" fmla="*/ 15 w 1019"/>
              <a:gd name="T89" fmla="*/ 349 h 978"/>
              <a:gd name="T90" fmla="*/ 25 w 1019"/>
              <a:gd name="T91" fmla="*/ 337 h 978"/>
              <a:gd name="T92" fmla="*/ 40 w 1019"/>
              <a:gd name="T93" fmla="*/ 330 h 978"/>
              <a:gd name="T94" fmla="*/ 56 w 1019"/>
              <a:gd name="T95" fmla="*/ 327 h 978"/>
              <a:gd name="T96" fmla="*/ 346 w 1019"/>
              <a:gd name="T97" fmla="*/ 306 h 978"/>
              <a:gd name="T98" fmla="*/ 454 w 1019"/>
              <a:gd name="T99" fmla="*/ 38 h 978"/>
              <a:gd name="T100" fmla="*/ 463 w 1019"/>
              <a:gd name="T101" fmla="*/ 22 h 978"/>
              <a:gd name="T102" fmla="*/ 475 w 1019"/>
              <a:gd name="T103" fmla="*/ 11 h 978"/>
              <a:gd name="T104" fmla="*/ 488 w 1019"/>
              <a:gd name="T105" fmla="*/ 3 h 978"/>
              <a:gd name="T106" fmla="*/ 503 w 1019"/>
              <a:gd name="T107" fmla="*/ 0 h 9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19" h="978">
                <a:moveTo>
                  <a:pt x="503" y="0"/>
                </a:moveTo>
                <a:lnTo>
                  <a:pt x="518" y="0"/>
                </a:lnTo>
                <a:lnTo>
                  <a:pt x="533" y="3"/>
                </a:lnTo>
                <a:lnTo>
                  <a:pt x="546" y="11"/>
                </a:lnTo>
                <a:lnTo>
                  <a:pt x="558" y="22"/>
                </a:lnTo>
                <a:lnTo>
                  <a:pt x="566" y="38"/>
                </a:lnTo>
                <a:lnTo>
                  <a:pt x="675" y="306"/>
                </a:lnTo>
                <a:lnTo>
                  <a:pt x="963" y="327"/>
                </a:lnTo>
                <a:lnTo>
                  <a:pt x="981" y="330"/>
                </a:lnTo>
                <a:lnTo>
                  <a:pt x="995" y="337"/>
                </a:lnTo>
                <a:lnTo>
                  <a:pt x="1006" y="349"/>
                </a:lnTo>
                <a:lnTo>
                  <a:pt x="1014" y="361"/>
                </a:lnTo>
                <a:lnTo>
                  <a:pt x="1018" y="376"/>
                </a:lnTo>
                <a:lnTo>
                  <a:pt x="1019" y="391"/>
                </a:lnTo>
                <a:lnTo>
                  <a:pt x="1016" y="406"/>
                </a:lnTo>
                <a:lnTo>
                  <a:pt x="1009" y="420"/>
                </a:lnTo>
                <a:lnTo>
                  <a:pt x="998" y="433"/>
                </a:lnTo>
                <a:lnTo>
                  <a:pt x="777" y="620"/>
                </a:lnTo>
                <a:lnTo>
                  <a:pt x="846" y="902"/>
                </a:lnTo>
                <a:lnTo>
                  <a:pt x="848" y="922"/>
                </a:lnTo>
                <a:lnTo>
                  <a:pt x="844" y="939"/>
                </a:lnTo>
                <a:lnTo>
                  <a:pt x="836" y="954"/>
                </a:lnTo>
                <a:lnTo>
                  <a:pt x="823" y="966"/>
                </a:lnTo>
                <a:lnTo>
                  <a:pt x="808" y="974"/>
                </a:lnTo>
                <a:lnTo>
                  <a:pt x="791" y="978"/>
                </a:lnTo>
                <a:lnTo>
                  <a:pt x="774" y="976"/>
                </a:lnTo>
                <a:lnTo>
                  <a:pt x="756" y="968"/>
                </a:lnTo>
                <a:lnTo>
                  <a:pt x="510" y="816"/>
                </a:lnTo>
                <a:lnTo>
                  <a:pt x="265" y="968"/>
                </a:lnTo>
                <a:lnTo>
                  <a:pt x="247" y="976"/>
                </a:lnTo>
                <a:lnTo>
                  <a:pt x="229" y="978"/>
                </a:lnTo>
                <a:lnTo>
                  <a:pt x="212" y="974"/>
                </a:lnTo>
                <a:lnTo>
                  <a:pt x="198" y="966"/>
                </a:lnTo>
                <a:lnTo>
                  <a:pt x="185" y="954"/>
                </a:lnTo>
                <a:lnTo>
                  <a:pt x="176" y="939"/>
                </a:lnTo>
                <a:lnTo>
                  <a:pt x="173" y="922"/>
                </a:lnTo>
                <a:lnTo>
                  <a:pt x="174" y="902"/>
                </a:lnTo>
                <a:lnTo>
                  <a:pt x="243" y="620"/>
                </a:lnTo>
                <a:lnTo>
                  <a:pt x="22" y="433"/>
                </a:lnTo>
                <a:lnTo>
                  <a:pt x="11" y="420"/>
                </a:lnTo>
                <a:lnTo>
                  <a:pt x="4" y="406"/>
                </a:lnTo>
                <a:lnTo>
                  <a:pt x="0" y="391"/>
                </a:lnTo>
                <a:lnTo>
                  <a:pt x="1" y="376"/>
                </a:lnTo>
                <a:lnTo>
                  <a:pt x="7" y="361"/>
                </a:lnTo>
                <a:lnTo>
                  <a:pt x="15" y="349"/>
                </a:lnTo>
                <a:lnTo>
                  <a:pt x="25" y="337"/>
                </a:lnTo>
                <a:lnTo>
                  <a:pt x="40" y="330"/>
                </a:lnTo>
                <a:lnTo>
                  <a:pt x="56" y="327"/>
                </a:lnTo>
                <a:lnTo>
                  <a:pt x="346" y="306"/>
                </a:lnTo>
                <a:lnTo>
                  <a:pt x="454" y="38"/>
                </a:lnTo>
                <a:lnTo>
                  <a:pt x="463" y="22"/>
                </a:lnTo>
                <a:lnTo>
                  <a:pt x="475" y="11"/>
                </a:lnTo>
                <a:lnTo>
                  <a:pt x="488" y="3"/>
                </a:lnTo>
                <a:lnTo>
                  <a:pt x="503"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6" name="Freeform 1138">
            <a:extLst>
              <a:ext uri="{FF2B5EF4-FFF2-40B4-BE49-F238E27FC236}">
                <a16:creationId xmlns:a16="http://schemas.microsoft.com/office/drawing/2014/main" id="{1A29749F-1F34-4115-B0A4-F00A27A9DE4E}"/>
              </a:ext>
            </a:extLst>
          </p:cNvPr>
          <p:cNvSpPr>
            <a:spLocks/>
          </p:cNvSpPr>
          <p:nvPr/>
        </p:nvSpPr>
        <p:spPr bwMode="auto">
          <a:xfrm>
            <a:off x="5993678" y="3122512"/>
            <a:ext cx="23357" cy="38349"/>
          </a:xfrm>
          <a:custGeom>
            <a:avLst/>
            <a:gdLst>
              <a:gd name="T0" fmla="*/ 0 w 298"/>
              <a:gd name="T1" fmla="*/ 0 h 487"/>
              <a:gd name="T2" fmla="*/ 63 w 298"/>
              <a:gd name="T3" fmla="*/ 17 h 487"/>
              <a:gd name="T4" fmla="*/ 124 w 298"/>
              <a:gd name="T5" fmla="*/ 38 h 487"/>
              <a:gd name="T6" fmla="*/ 184 w 298"/>
              <a:gd name="T7" fmla="*/ 65 h 487"/>
              <a:gd name="T8" fmla="*/ 210 w 298"/>
              <a:gd name="T9" fmla="*/ 80 h 487"/>
              <a:gd name="T10" fmla="*/ 235 w 298"/>
              <a:gd name="T11" fmla="*/ 96 h 487"/>
              <a:gd name="T12" fmla="*/ 257 w 298"/>
              <a:gd name="T13" fmla="*/ 118 h 487"/>
              <a:gd name="T14" fmla="*/ 273 w 298"/>
              <a:gd name="T15" fmla="*/ 139 h 487"/>
              <a:gd name="T16" fmla="*/ 285 w 298"/>
              <a:gd name="T17" fmla="*/ 164 h 487"/>
              <a:gd name="T18" fmla="*/ 293 w 298"/>
              <a:gd name="T19" fmla="*/ 191 h 487"/>
              <a:gd name="T20" fmla="*/ 298 w 298"/>
              <a:gd name="T21" fmla="*/ 229 h 487"/>
              <a:gd name="T22" fmla="*/ 296 w 298"/>
              <a:gd name="T23" fmla="*/ 268 h 487"/>
              <a:gd name="T24" fmla="*/ 288 w 298"/>
              <a:gd name="T25" fmla="*/ 306 h 487"/>
              <a:gd name="T26" fmla="*/ 271 w 298"/>
              <a:gd name="T27" fmla="*/ 343 h 487"/>
              <a:gd name="T28" fmla="*/ 250 w 298"/>
              <a:gd name="T29" fmla="*/ 376 h 487"/>
              <a:gd name="T30" fmla="*/ 222 w 298"/>
              <a:gd name="T31" fmla="*/ 404 h 487"/>
              <a:gd name="T32" fmla="*/ 189 w 298"/>
              <a:gd name="T33" fmla="*/ 427 h 487"/>
              <a:gd name="T34" fmla="*/ 154 w 298"/>
              <a:gd name="T35" fmla="*/ 445 h 487"/>
              <a:gd name="T36" fmla="*/ 116 w 298"/>
              <a:gd name="T37" fmla="*/ 460 h 487"/>
              <a:gd name="T38" fmla="*/ 78 w 298"/>
              <a:gd name="T39" fmla="*/ 472 h 487"/>
              <a:gd name="T40" fmla="*/ 38 w 298"/>
              <a:gd name="T41" fmla="*/ 480 h 487"/>
              <a:gd name="T42" fmla="*/ 0 w 298"/>
              <a:gd name="T43" fmla="*/ 487 h 487"/>
              <a:gd name="T44" fmla="*/ 0 w 298"/>
              <a:gd name="T45" fmla="*/ 0 h 4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98" h="487">
                <a:moveTo>
                  <a:pt x="0" y="0"/>
                </a:moveTo>
                <a:lnTo>
                  <a:pt x="63" y="17"/>
                </a:lnTo>
                <a:lnTo>
                  <a:pt x="124" y="38"/>
                </a:lnTo>
                <a:lnTo>
                  <a:pt x="184" y="65"/>
                </a:lnTo>
                <a:lnTo>
                  <a:pt x="210" y="80"/>
                </a:lnTo>
                <a:lnTo>
                  <a:pt x="235" y="96"/>
                </a:lnTo>
                <a:lnTo>
                  <a:pt x="257" y="118"/>
                </a:lnTo>
                <a:lnTo>
                  <a:pt x="273" y="139"/>
                </a:lnTo>
                <a:lnTo>
                  <a:pt x="285" y="164"/>
                </a:lnTo>
                <a:lnTo>
                  <a:pt x="293" y="191"/>
                </a:lnTo>
                <a:lnTo>
                  <a:pt x="298" y="229"/>
                </a:lnTo>
                <a:lnTo>
                  <a:pt x="296" y="268"/>
                </a:lnTo>
                <a:lnTo>
                  <a:pt x="288" y="306"/>
                </a:lnTo>
                <a:lnTo>
                  <a:pt x="271" y="343"/>
                </a:lnTo>
                <a:lnTo>
                  <a:pt x="250" y="376"/>
                </a:lnTo>
                <a:lnTo>
                  <a:pt x="222" y="404"/>
                </a:lnTo>
                <a:lnTo>
                  <a:pt x="189" y="427"/>
                </a:lnTo>
                <a:lnTo>
                  <a:pt x="154" y="445"/>
                </a:lnTo>
                <a:lnTo>
                  <a:pt x="116" y="460"/>
                </a:lnTo>
                <a:lnTo>
                  <a:pt x="78" y="472"/>
                </a:lnTo>
                <a:lnTo>
                  <a:pt x="38" y="480"/>
                </a:lnTo>
                <a:lnTo>
                  <a:pt x="0" y="487"/>
                </a:lnTo>
                <a:lnTo>
                  <a:pt x="0"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7" name="Freeform 1139">
            <a:extLst>
              <a:ext uri="{FF2B5EF4-FFF2-40B4-BE49-F238E27FC236}">
                <a16:creationId xmlns:a16="http://schemas.microsoft.com/office/drawing/2014/main" id="{BA3C450F-98D8-480D-B42D-8107629EE535}"/>
              </a:ext>
            </a:extLst>
          </p:cNvPr>
          <p:cNvSpPr>
            <a:spLocks/>
          </p:cNvSpPr>
          <p:nvPr/>
        </p:nvSpPr>
        <p:spPr bwMode="auto">
          <a:xfrm>
            <a:off x="5953278" y="3060648"/>
            <a:ext cx="19253" cy="34877"/>
          </a:xfrm>
          <a:custGeom>
            <a:avLst/>
            <a:gdLst>
              <a:gd name="T0" fmla="*/ 243 w 243"/>
              <a:gd name="T1" fmla="*/ 0 h 442"/>
              <a:gd name="T2" fmla="*/ 243 w 243"/>
              <a:gd name="T3" fmla="*/ 442 h 442"/>
              <a:gd name="T4" fmla="*/ 199 w 243"/>
              <a:gd name="T5" fmla="*/ 427 h 442"/>
              <a:gd name="T6" fmla="*/ 157 w 243"/>
              <a:gd name="T7" fmla="*/ 412 h 442"/>
              <a:gd name="T8" fmla="*/ 113 w 243"/>
              <a:gd name="T9" fmla="*/ 390 h 442"/>
              <a:gd name="T10" fmla="*/ 70 w 243"/>
              <a:gd name="T11" fmla="*/ 365 h 442"/>
              <a:gd name="T12" fmla="*/ 47 w 243"/>
              <a:gd name="T13" fmla="*/ 347 h 442"/>
              <a:gd name="T14" fmla="*/ 27 w 243"/>
              <a:gd name="T15" fmla="*/ 327 h 442"/>
              <a:gd name="T16" fmla="*/ 12 w 243"/>
              <a:gd name="T17" fmla="*/ 301 h 442"/>
              <a:gd name="T18" fmla="*/ 4 w 243"/>
              <a:gd name="T19" fmla="*/ 271 h 442"/>
              <a:gd name="T20" fmla="*/ 0 w 243"/>
              <a:gd name="T21" fmla="*/ 238 h 442"/>
              <a:gd name="T22" fmla="*/ 0 w 243"/>
              <a:gd name="T23" fmla="*/ 207 h 442"/>
              <a:gd name="T24" fmla="*/ 7 w 243"/>
              <a:gd name="T25" fmla="*/ 177 h 442"/>
              <a:gd name="T26" fmla="*/ 17 w 243"/>
              <a:gd name="T27" fmla="*/ 147 h 442"/>
              <a:gd name="T28" fmla="*/ 33 w 243"/>
              <a:gd name="T29" fmla="*/ 121 h 442"/>
              <a:gd name="T30" fmla="*/ 58 w 243"/>
              <a:gd name="T31" fmla="*/ 89 h 442"/>
              <a:gd name="T32" fmla="*/ 91 w 243"/>
              <a:gd name="T33" fmla="*/ 63 h 442"/>
              <a:gd name="T34" fmla="*/ 126 w 243"/>
              <a:gd name="T35" fmla="*/ 41 h 442"/>
              <a:gd name="T36" fmla="*/ 164 w 243"/>
              <a:gd name="T37" fmla="*/ 23 h 442"/>
              <a:gd name="T38" fmla="*/ 204 w 243"/>
              <a:gd name="T39" fmla="*/ 10 h 442"/>
              <a:gd name="T40" fmla="*/ 243 w 243"/>
              <a:gd name="T41" fmla="*/ 0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43" h="442">
                <a:moveTo>
                  <a:pt x="243" y="0"/>
                </a:moveTo>
                <a:lnTo>
                  <a:pt x="243" y="442"/>
                </a:lnTo>
                <a:lnTo>
                  <a:pt x="199" y="427"/>
                </a:lnTo>
                <a:lnTo>
                  <a:pt x="157" y="412"/>
                </a:lnTo>
                <a:lnTo>
                  <a:pt x="113" y="390"/>
                </a:lnTo>
                <a:lnTo>
                  <a:pt x="70" y="365"/>
                </a:lnTo>
                <a:lnTo>
                  <a:pt x="47" y="347"/>
                </a:lnTo>
                <a:lnTo>
                  <a:pt x="27" y="327"/>
                </a:lnTo>
                <a:lnTo>
                  <a:pt x="12" y="301"/>
                </a:lnTo>
                <a:lnTo>
                  <a:pt x="4" y="271"/>
                </a:lnTo>
                <a:lnTo>
                  <a:pt x="0" y="238"/>
                </a:lnTo>
                <a:lnTo>
                  <a:pt x="0" y="207"/>
                </a:lnTo>
                <a:lnTo>
                  <a:pt x="7" y="177"/>
                </a:lnTo>
                <a:lnTo>
                  <a:pt x="17" y="147"/>
                </a:lnTo>
                <a:lnTo>
                  <a:pt x="33" y="121"/>
                </a:lnTo>
                <a:lnTo>
                  <a:pt x="58" y="89"/>
                </a:lnTo>
                <a:lnTo>
                  <a:pt x="91" y="63"/>
                </a:lnTo>
                <a:lnTo>
                  <a:pt x="126" y="41"/>
                </a:lnTo>
                <a:lnTo>
                  <a:pt x="164" y="23"/>
                </a:lnTo>
                <a:lnTo>
                  <a:pt x="204" y="10"/>
                </a:lnTo>
                <a:lnTo>
                  <a:pt x="243"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8" name="Freeform 1140">
            <a:extLst>
              <a:ext uri="{FF2B5EF4-FFF2-40B4-BE49-F238E27FC236}">
                <a16:creationId xmlns:a16="http://schemas.microsoft.com/office/drawing/2014/main" id="{482DC8BA-BAE1-4A98-BDDB-205B776F2209}"/>
              </a:ext>
            </a:extLst>
          </p:cNvPr>
          <p:cNvSpPr>
            <a:spLocks noEditPoints="1"/>
          </p:cNvSpPr>
          <p:nvPr/>
        </p:nvSpPr>
        <p:spPr bwMode="auto">
          <a:xfrm>
            <a:off x="5806667" y="2846334"/>
            <a:ext cx="355874" cy="429575"/>
          </a:xfrm>
          <a:custGeom>
            <a:avLst/>
            <a:gdLst>
              <a:gd name="T0" fmla="*/ 2105 w 4510"/>
              <a:gd name="T1" fmla="*/ 2268 h 5443"/>
              <a:gd name="T2" fmla="*/ 1792 w 4510"/>
              <a:gd name="T3" fmla="*/ 2563 h 5443"/>
              <a:gd name="T4" fmla="*/ 1592 w 4510"/>
              <a:gd name="T5" fmla="*/ 2900 h 5443"/>
              <a:gd name="T6" fmla="*/ 1683 w 4510"/>
              <a:gd name="T7" fmla="*/ 3220 h 5443"/>
              <a:gd name="T8" fmla="*/ 2040 w 4510"/>
              <a:gd name="T9" fmla="*/ 3420 h 5443"/>
              <a:gd name="T10" fmla="*/ 1898 w 4510"/>
              <a:gd name="T11" fmla="*/ 3837 h 5443"/>
              <a:gd name="T12" fmla="*/ 1781 w 4510"/>
              <a:gd name="T13" fmla="*/ 3635 h 5443"/>
              <a:gd name="T14" fmla="*/ 1592 w 4510"/>
              <a:gd name="T15" fmla="*/ 3688 h 5443"/>
              <a:gd name="T16" fmla="*/ 1632 w 4510"/>
              <a:gd name="T17" fmla="*/ 3916 h 5443"/>
              <a:gd name="T18" fmla="*/ 1971 w 4510"/>
              <a:gd name="T19" fmla="*/ 4206 h 5443"/>
              <a:gd name="T20" fmla="*/ 2153 w 4510"/>
              <a:gd name="T21" fmla="*/ 4502 h 5443"/>
              <a:gd name="T22" fmla="*/ 2343 w 4510"/>
              <a:gd name="T23" fmla="*/ 4476 h 5443"/>
              <a:gd name="T24" fmla="*/ 2568 w 4510"/>
              <a:gd name="T25" fmla="*/ 4214 h 5443"/>
              <a:gd name="T26" fmla="*/ 2900 w 4510"/>
              <a:gd name="T27" fmla="*/ 3920 h 5443"/>
              <a:gd name="T28" fmla="*/ 2877 w 4510"/>
              <a:gd name="T29" fmla="*/ 3511 h 5443"/>
              <a:gd name="T30" fmla="*/ 2887 w 4510"/>
              <a:gd name="T31" fmla="*/ 3529 h 5443"/>
              <a:gd name="T32" fmla="*/ 2869 w 4510"/>
              <a:gd name="T33" fmla="*/ 3496 h 5443"/>
              <a:gd name="T34" fmla="*/ 2870 w 4510"/>
              <a:gd name="T35" fmla="*/ 3498 h 5443"/>
              <a:gd name="T36" fmla="*/ 2735 w 4510"/>
              <a:gd name="T37" fmla="*/ 3362 h 5443"/>
              <a:gd name="T38" fmla="*/ 2369 w 4510"/>
              <a:gd name="T39" fmla="*/ 2715 h 5443"/>
              <a:gd name="T40" fmla="*/ 2627 w 4510"/>
              <a:gd name="T41" fmla="*/ 2874 h 5443"/>
              <a:gd name="T42" fmla="*/ 2740 w 4510"/>
              <a:gd name="T43" fmla="*/ 3021 h 5443"/>
              <a:gd name="T44" fmla="*/ 2907 w 4510"/>
              <a:gd name="T45" fmla="*/ 2925 h 5443"/>
              <a:gd name="T46" fmla="*/ 2812 w 4510"/>
              <a:gd name="T47" fmla="*/ 2669 h 5443"/>
              <a:gd name="T48" fmla="*/ 2421 w 4510"/>
              <a:gd name="T49" fmla="*/ 2452 h 5443"/>
              <a:gd name="T50" fmla="*/ 2292 w 4510"/>
              <a:gd name="T51" fmla="*/ 2176 h 5443"/>
              <a:gd name="T52" fmla="*/ 1528 w 4510"/>
              <a:gd name="T53" fmla="*/ 40 h 5443"/>
              <a:gd name="T54" fmla="*/ 1891 w 4510"/>
              <a:gd name="T55" fmla="*/ 185 h 5443"/>
              <a:gd name="T56" fmla="*/ 2263 w 4510"/>
              <a:gd name="T57" fmla="*/ 174 h 5443"/>
              <a:gd name="T58" fmla="*/ 2721 w 4510"/>
              <a:gd name="T59" fmla="*/ 50 h 5443"/>
              <a:gd name="T60" fmla="*/ 3079 w 4510"/>
              <a:gd name="T61" fmla="*/ 26 h 5443"/>
              <a:gd name="T62" fmla="*/ 3093 w 4510"/>
              <a:gd name="T63" fmla="*/ 260 h 5443"/>
              <a:gd name="T64" fmla="*/ 2931 w 4510"/>
              <a:gd name="T65" fmla="*/ 672 h 5443"/>
              <a:gd name="T66" fmla="*/ 2640 w 4510"/>
              <a:gd name="T67" fmla="*/ 1089 h 5443"/>
              <a:gd name="T68" fmla="*/ 2878 w 4510"/>
              <a:gd name="T69" fmla="*/ 1367 h 5443"/>
              <a:gd name="T70" fmla="*/ 3356 w 4510"/>
              <a:gd name="T71" fmla="*/ 1755 h 5443"/>
              <a:gd name="T72" fmla="*/ 3803 w 4510"/>
              <a:gd name="T73" fmla="*/ 2262 h 5443"/>
              <a:gd name="T74" fmla="*/ 4171 w 4510"/>
              <a:gd name="T75" fmla="*/ 2843 h 5443"/>
              <a:gd name="T76" fmla="*/ 4423 w 4510"/>
              <a:gd name="T77" fmla="*/ 3453 h 5443"/>
              <a:gd name="T78" fmla="*/ 4510 w 4510"/>
              <a:gd name="T79" fmla="*/ 4050 h 5443"/>
              <a:gd name="T80" fmla="*/ 4393 w 4510"/>
              <a:gd name="T81" fmla="*/ 4591 h 5443"/>
              <a:gd name="T82" fmla="*/ 4026 w 4510"/>
              <a:gd name="T83" fmla="*/ 5033 h 5443"/>
              <a:gd name="T84" fmla="*/ 3366 w 4510"/>
              <a:gd name="T85" fmla="*/ 5333 h 5443"/>
              <a:gd name="T86" fmla="*/ 2369 w 4510"/>
              <a:gd name="T87" fmla="*/ 5443 h 5443"/>
              <a:gd name="T88" fmla="*/ 1255 w 4510"/>
              <a:gd name="T89" fmla="*/ 5341 h 5443"/>
              <a:gd name="T90" fmla="*/ 536 w 4510"/>
              <a:gd name="T91" fmla="*/ 5038 h 5443"/>
              <a:gd name="T92" fmla="*/ 134 w 4510"/>
              <a:gd name="T93" fmla="*/ 4578 h 5443"/>
              <a:gd name="T94" fmla="*/ 0 w 4510"/>
              <a:gd name="T95" fmla="*/ 4011 h 5443"/>
              <a:gd name="T96" fmla="*/ 86 w 4510"/>
              <a:gd name="T97" fmla="*/ 3385 h 5443"/>
              <a:gd name="T98" fmla="*/ 341 w 4510"/>
              <a:gd name="T99" fmla="*/ 2750 h 5443"/>
              <a:gd name="T100" fmla="*/ 718 w 4510"/>
              <a:gd name="T101" fmla="*/ 2156 h 5443"/>
              <a:gd name="T102" fmla="*/ 1166 w 4510"/>
              <a:gd name="T103" fmla="*/ 1651 h 5443"/>
              <a:gd name="T104" fmla="*/ 1635 w 4510"/>
              <a:gd name="T105" fmla="*/ 1286 h 5443"/>
              <a:gd name="T106" fmla="*/ 1476 w 4510"/>
              <a:gd name="T107" fmla="*/ 953 h 5443"/>
              <a:gd name="T108" fmla="*/ 1209 w 4510"/>
              <a:gd name="T109" fmla="*/ 505 h 5443"/>
              <a:gd name="T110" fmla="*/ 1161 w 4510"/>
              <a:gd name="T111" fmla="*/ 134 h 54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510" h="5443">
                <a:moveTo>
                  <a:pt x="2230" y="2164"/>
                </a:moveTo>
                <a:lnTo>
                  <a:pt x="2201" y="2167"/>
                </a:lnTo>
                <a:lnTo>
                  <a:pt x="2173" y="2179"/>
                </a:lnTo>
                <a:lnTo>
                  <a:pt x="2146" y="2197"/>
                </a:lnTo>
                <a:lnTo>
                  <a:pt x="2128" y="2219"/>
                </a:lnTo>
                <a:lnTo>
                  <a:pt x="2113" y="2242"/>
                </a:lnTo>
                <a:lnTo>
                  <a:pt x="2105" y="2268"/>
                </a:lnTo>
                <a:lnTo>
                  <a:pt x="2101" y="2297"/>
                </a:lnTo>
                <a:lnTo>
                  <a:pt x="2101" y="2445"/>
                </a:lnTo>
                <a:lnTo>
                  <a:pt x="2035" y="2457"/>
                </a:lnTo>
                <a:lnTo>
                  <a:pt x="1971" y="2475"/>
                </a:lnTo>
                <a:lnTo>
                  <a:pt x="1908" y="2498"/>
                </a:lnTo>
                <a:lnTo>
                  <a:pt x="1848" y="2528"/>
                </a:lnTo>
                <a:lnTo>
                  <a:pt x="1792" y="2563"/>
                </a:lnTo>
                <a:lnTo>
                  <a:pt x="1741" y="2606"/>
                </a:lnTo>
                <a:lnTo>
                  <a:pt x="1698" y="2651"/>
                </a:lnTo>
                <a:lnTo>
                  <a:pt x="1660" y="2702"/>
                </a:lnTo>
                <a:lnTo>
                  <a:pt x="1630" y="2756"/>
                </a:lnTo>
                <a:lnTo>
                  <a:pt x="1612" y="2803"/>
                </a:lnTo>
                <a:lnTo>
                  <a:pt x="1600" y="2851"/>
                </a:lnTo>
                <a:lnTo>
                  <a:pt x="1592" y="2900"/>
                </a:lnTo>
                <a:lnTo>
                  <a:pt x="1591" y="2950"/>
                </a:lnTo>
                <a:lnTo>
                  <a:pt x="1594" y="3000"/>
                </a:lnTo>
                <a:lnTo>
                  <a:pt x="1600" y="3048"/>
                </a:lnTo>
                <a:lnTo>
                  <a:pt x="1614" y="3096"/>
                </a:lnTo>
                <a:lnTo>
                  <a:pt x="1632" y="3142"/>
                </a:lnTo>
                <a:lnTo>
                  <a:pt x="1655" y="3183"/>
                </a:lnTo>
                <a:lnTo>
                  <a:pt x="1683" y="3220"/>
                </a:lnTo>
                <a:lnTo>
                  <a:pt x="1715" y="3254"/>
                </a:lnTo>
                <a:lnTo>
                  <a:pt x="1751" y="3284"/>
                </a:lnTo>
                <a:lnTo>
                  <a:pt x="1802" y="3321"/>
                </a:lnTo>
                <a:lnTo>
                  <a:pt x="1858" y="3352"/>
                </a:lnTo>
                <a:lnTo>
                  <a:pt x="1918" y="3379"/>
                </a:lnTo>
                <a:lnTo>
                  <a:pt x="1977" y="3400"/>
                </a:lnTo>
                <a:lnTo>
                  <a:pt x="2040" y="3420"/>
                </a:lnTo>
                <a:lnTo>
                  <a:pt x="2101" y="3436"/>
                </a:lnTo>
                <a:lnTo>
                  <a:pt x="2101" y="3966"/>
                </a:lnTo>
                <a:lnTo>
                  <a:pt x="2055" y="3951"/>
                </a:lnTo>
                <a:lnTo>
                  <a:pt x="2010" y="3930"/>
                </a:lnTo>
                <a:lnTo>
                  <a:pt x="1969" y="3905"/>
                </a:lnTo>
                <a:lnTo>
                  <a:pt x="1931" y="3873"/>
                </a:lnTo>
                <a:lnTo>
                  <a:pt x="1898" y="3837"/>
                </a:lnTo>
                <a:lnTo>
                  <a:pt x="1872" y="3797"/>
                </a:lnTo>
                <a:lnTo>
                  <a:pt x="1852" y="3754"/>
                </a:lnTo>
                <a:lnTo>
                  <a:pt x="1843" y="3731"/>
                </a:lnTo>
                <a:lnTo>
                  <a:pt x="1837" y="3708"/>
                </a:lnTo>
                <a:lnTo>
                  <a:pt x="1824" y="3680"/>
                </a:lnTo>
                <a:lnTo>
                  <a:pt x="1805" y="3655"/>
                </a:lnTo>
                <a:lnTo>
                  <a:pt x="1781" y="3635"/>
                </a:lnTo>
                <a:lnTo>
                  <a:pt x="1753" y="3622"/>
                </a:lnTo>
                <a:lnTo>
                  <a:pt x="1723" y="3617"/>
                </a:lnTo>
                <a:lnTo>
                  <a:pt x="1690" y="3617"/>
                </a:lnTo>
                <a:lnTo>
                  <a:pt x="1660" y="3625"/>
                </a:lnTo>
                <a:lnTo>
                  <a:pt x="1634" y="3640"/>
                </a:lnTo>
                <a:lnTo>
                  <a:pt x="1610" y="3662"/>
                </a:lnTo>
                <a:lnTo>
                  <a:pt x="1592" y="3688"/>
                </a:lnTo>
                <a:lnTo>
                  <a:pt x="1582" y="3711"/>
                </a:lnTo>
                <a:lnTo>
                  <a:pt x="1577" y="3738"/>
                </a:lnTo>
                <a:lnTo>
                  <a:pt x="1577" y="3762"/>
                </a:lnTo>
                <a:lnTo>
                  <a:pt x="1581" y="3786"/>
                </a:lnTo>
                <a:lnTo>
                  <a:pt x="1587" y="3809"/>
                </a:lnTo>
                <a:lnTo>
                  <a:pt x="1604" y="3857"/>
                </a:lnTo>
                <a:lnTo>
                  <a:pt x="1632" y="3916"/>
                </a:lnTo>
                <a:lnTo>
                  <a:pt x="1665" y="3973"/>
                </a:lnTo>
                <a:lnTo>
                  <a:pt x="1705" y="4024"/>
                </a:lnTo>
                <a:lnTo>
                  <a:pt x="1751" y="4070"/>
                </a:lnTo>
                <a:lnTo>
                  <a:pt x="1801" y="4113"/>
                </a:lnTo>
                <a:lnTo>
                  <a:pt x="1853" y="4148"/>
                </a:lnTo>
                <a:lnTo>
                  <a:pt x="1911" y="4179"/>
                </a:lnTo>
                <a:lnTo>
                  <a:pt x="1971" y="4206"/>
                </a:lnTo>
                <a:lnTo>
                  <a:pt x="2032" y="4226"/>
                </a:lnTo>
                <a:lnTo>
                  <a:pt x="2101" y="4241"/>
                </a:lnTo>
                <a:lnTo>
                  <a:pt x="2101" y="4396"/>
                </a:lnTo>
                <a:lnTo>
                  <a:pt x="2105" y="4428"/>
                </a:lnTo>
                <a:lnTo>
                  <a:pt x="2115" y="4456"/>
                </a:lnTo>
                <a:lnTo>
                  <a:pt x="2131" y="4481"/>
                </a:lnTo>
                <a:lnTo>
                  <a:pt x="2153" y="4502"/>
                </a:lnTo>
                <a:lnTo>
                  <a:pt x="2179" y="4519"/>
                </a:lnTo>
                <a:lnTo>
                  <a:pt x="2209" y="4528"/>
                </a:lnTo>
                <a:lnTo>
                  <a:pt x="2239" y="4530"/>
                </a:lnTo>
                <a:lnTo>
                  <a:pt x="2270" y="4525"/>
                </a:lnTo>
                <a:lnTo>
                  <a:pt x="2298" y="4515"/>
                </a:lnTo>
                <a:lnTo>
                  <a:pt x="2323" y="4497"/>
                </a:lnTo>
                <a:lnTo>
                  <a:pt x="2343" y="4476"/>
                </a:lnTo>
                <a:lnTo>
                  <a:pt x="2356" y="4452"/>
                </a:lnTo>
                <a:lnTo>
                  <a:pt x="2366" y="4424"/>
                </a:lnTo>
                <a:lnTo>
                  <a:pt x="2369" y="4396"/>
                </a:lnTo>
                <a:lnTo>
                  <a:pt x="2369" y="4254"/>
                </a:lnTo>
                <a:lnTo>
                  <a:pt x="2435" y="4246"/>
                </a:lnTo>
                <a:lnTo>
                  <a:pt x="2503" y="4234"/>
                </a:lnTo>
                <a:lnTo>
                  <a:pt x="2568" y="4214"/>
                </a:lnTo>
                <a:lnTo>
                  <a:pt x="2630" y="4189"/>
                </a:lnTo>
                <a:lnTo>
                  <a:pt x="2690" y="4160"/>
                </a:lnTo>
                <a:lnTo>
                  <a:pt x="2746" y="4120"/>
                </a:lnTo>
                <a:lnTo>
                  <a:pt x="2794" y="4078"/>
                </a:lnTo>
                <a:lnTo>
                  <a:pt x="2837" y="4030"/>
                </a:lnTo>
                <a:lnTo>
                  <a:pt x="2872" y="3978"/>
                </a:lnTo>
                <a:lnTo>
                  <a:pt x="2900" y="3920"/>
                </a:lnTo>
                <a:lnTo>
                  <a:pt x="2920" y="3858"/>
                </a:lnTo>
                <a:lnTo>
                  <a:pt x="2931" y="3796"/>
                </a:lnTo>
                <a:lnTo>
                  <a:pt x="2935" y="3738"/>
                </a:lnTo>
                <a:lnTo>
                  <a:pt x="2930" y="3678"/>
                </a:lnTo>
                <a:lnTo>
                  <a:pt x="2920" y="3620"/>
                </a:lnTo>
                <a:lnTo>
                  <a:pt x="2902" y="3564"/>
                </a:lnTo>
                <a:lnTo>
                  <a:pt x="2877" y="3511"/>
                </a:lnTo>
                <a:lnTo>
                  <a:pt x="2878" y="3514"/>
                </a:lnTo>
                <a:lnTo>
                  <a:pt x="2882" y="3518"/>
                </a:lnTo>
                <a:lnTo>
                  <a:pt x="2883" y="3521"/>
                </a:lnTo>
                <a:lnTo>
                  <a:pt x="2885" y="3524"/>
                </a:lnTo>
                <a:lnTo>
                  <a:pt x="2887" y="3527"/>
                </a:lnTo>
                <a:lnTo>
                  <a:pt x="2887" y="3527"/>
                </a:lnTo>
                <a:lnTo>
                  <a:pt x="2887" y="3529"/>
                </a:lnTo>
                <a:lnTo>
                  <a:pt x="2887" y="3527"/>
                </a:lnTo>
                <a:lnTo>
                  <a:pt x="2885" y="3526"/>
                </a:lnTo>
                <a:lnTo>
                  <a:pt x="2883" y="3523"/>
                </a:lnTo>
                <a:lnTo>
                  <a:pt x="2880" y="3516"/>
                </a:lnTo>
                <a:lnTo>
                  <a:pt x="2877" y="3509"/>
                </a:lnTo>
                <a:lnTo>
                  <a:pt x="2872" y="3503"/>
                </a:lnTo>
                <a:lnTo>
                  <a:pt x="2869" y="3496"/>
                </a:lnTo>
                <a:lnTo>
                  <a:pt x="2867" y="3493"/>
                </a:lnTo>
                <a:lnTo>
                  <a:pt x="2865" y="3491"/>
                </a:lnTo>
                <a:lnTo>
                  <a:pt x="2865" y="3489"/>
                </a:lnTo>
                <a:lnTo>
                  <a:pt x="2865" y="3491"/>
                </a:lnTo>
                <a:lnTo>
                  <a:pt x="2867" y="3491"/>
                </a:lnTo>
                <a:lnTo>
                  <a:pt x="2869" y="3494"/>
                </a:lnTo>
                <a:lnTo>
                  <a:pt x="2870" y="3498"/>
                </a:lnTo>
                <a:lnTo>
                  <a:pt x="2872" y="3501"/>
                </a:lnTo>
                <a:lnTo>
                  <a:pt x="2874" y="3504"/>
                </a:lnTo>
                <a:lnTo>
                  <a:pt x="2877" y="3509"/>
                </a:lnTo>
                <a:lnTo>
                  <a:pt x="2847" y="3466"/>
                </a:lnTo>
                <a:lnTo>
                  <a:pt x="2814" y="3427"/>
                </a:lnTo>
                <a:lnTo>
                  <a:pt x="2776" y="3392"/>
                </a:lnTo>
                <a:lnTo>
                  <a:pt x="2735" y="3362"/>
                </a:lnTo>
                <a:lnTo>
                  <a:pt x="2692" y="3334"/>
                </a:lnTo>
                <a:lnTo>
                  <a:pt x="2645" y="3311"/>
                </a:lnTo>
                <a:lnTo>
                  <a:pt x="2597" y="3291"/>
                </a:lnTo>
                <a:lnTo>
                  <a:pt x="2523" y="3264"/>
                </a:lnTo>
                <a:lnTo>
                  <a:pt x="2445" y="3241"/>
                </a:lnTo>
                <a:lnTo>
                  <a:pt x="2369" y="3223"/>
                </a:lnTo>
                <a:lnTo>
                  <a:pt x="2369" y="2715"/>
                </a:lnTo>
                <a:lnTo>
                  <a:pt x="2417" y="2727"/>
                </a:lnTo>
                <a:lnTo>
                  <a:pt x="2465" y="2742"/>
                </a:lnTo>
                <a:lnTo>
                  <a:pt x="2510" y="2761"/>
                </a:lnTo>
                <a:lnTo>
                  <a:pt x="2553" y="2788"/>
                </a:lnTo>
                <a:lnTo>
                  <a:pt x="2587" y="2818"/>
                </a:lnTo>
                <a:lnTo>
                  <a:pt x="2616" y="2854"/>
                </a:lnTo>
                <a:lnTo>
                  <a:pt x="2627" y="2874"/>
                </a:lnTo>
                <a:lnTo>
                  <a:pt x="2637" y="2895"/>
                </a:lnTo>
                <a:lnTo>
                  <a:pt x="2645" y="2919"/>
                </a:lnTo>
                <a:lnTo>
                  <a:pt x="2652" y="2940"/>
                </a:lnTo>
                <a:lnTo>
                  <a:pt x="2667" y="2968"/>
                </a:lnTo>
                <a:lnTo>
                  <a:pt x="2687" y="2991"/>
                </a:lnTo>
                <a:lnTo>
                  <a:pt x="2711" y="3010"/>
                </a:lnTo>
                <a:lnTo>
                  <a:pt x="2740" y="3021"/>
                </a:lnTo>
                <a:lnTo>
                  <a:pt x="2771" y="3026"/>
                </a:lnTo>
                <a:lnTo>
                  <a:pt x="2802" y="3025"/>
                </a:lnTo>
                <a:lnTo>
                  <a:pt x="2832" y="3015"/>
                </a:lnTo>
                <a:lnTo>
                  <a:pt x="2859" y="2998"/>
                </a:lnTo>
                <a:lnTo>
                  <a:pt x="2880" y="2977"/>
                </a:lnTo>
                <a:lnTo>
                  <a:pt x="2898" y="2948"/>
                </a:lnTo>
                <a:lnTo>
                  <a:pt x="2907" y="2925"/>
                </a:lnTo>
                <a:lnTo>
                  <a:pt x="2910" y="2899"/>
                </a:lnTo>
                <a:lnTo>
                  <a:pt x="2908" y="2872"/>
                </a:lnTo>
                <a:lnTo>
                  <a:pt x="2903" y="2849"/>
                </a:lnTo>
                <a:lnTo>
                  <a:pt x="2897" y="2824"/>
                </a:lnTo>
                <a:lnTo>
                  <a:pt x="2877" y="2776"/>
                </a:lnTo>
                <a:lnTo>
                  <a:pt x="2849" y="2720"/>
                </a:lnTo>
                <a:lnTo>
                  <a:pt x="2812" y="2669"/>
                </a:lnTo>
                <a:lnTo>
                  <a:pt x="2771" y="2622"/>
                </a:lnTo>
                <a:lnTo>
                  <a:pt x="2721" y="2579"/>
                </a:lnTo>
                <a:lnTo>
                  <a:pt x="2667" y="2541"/>
                </a:lnTo>
                <a:lnTo>
                  <a:pt x="2609" y="2512"/>
                </a:lnTo>
                <a:lnTo>
                  <a:pt x="2548" y="2487"/>
                </a:lnTo>
                <a:lnTo>
                  <a:pt x="2485" y="2467"/>
                </a:lnTo>
                <a:lnTo>
                  <a:pt x="2421" y="2452"/>
                </a:lnTo>
                <a:lnTo>
                  <a:pt x="2369" y="2444"/>
                </a:lnTo>
                <a:lnTo>
                  <a:pt x="2369" y="2297"/>
                </a:lnTo>
                <a:lnTo>
                  <a:pt x="2366" y="2267"/>
                </a:lnTo>
                <a:lnTo>
                  <a:pt x="2354" y="2239"/>
                </a:lnTo>
                <a:lnTo>
                  <a:pt x="2338" y="2212"/>
                </a:lnTo>
                <a:lnTo>
                  <a:pt x="2316" y="2192"/>
                </a:lnTo>
                <a:lnTo>
                  <a:pt x="2292" y="2176"/>
                </a:lnTo>
                <a:lnTo>
                  <a:pt x="2262" y="2166"/>
                </a:lnTo>
                <a:lnTo>
                  <a:pt x="2230" y="2164"/>
                </a:lnTo>
                <a:close/>
                <a:moveTo>
                  <a:pt x="1346" y="0"/>
                </a:moveTo>
                <a:lnTo>
                  <a:pt x="1389" y="2"/>
                </a:lnTo>
                <a:lnTo>
                  <a:pt x="1433" y="10"/>
                </a:lnTo>
                <a:lnTo>
                  <a:pt x="1480" y="23"/>
                </a:lnTo>
                <a:lnTo>
                  <a:pt x="1528" y="40"/>
                </a:lnTo>
                <a:lnTo>
                  <a:pt x="1577" y="58"/>
                </a:lnTo>
                <a:lnTo>
                  <a:pt x="1627" y="79"/>
                </a:lnTo>
                <a:lnTo>
                  <a:pt x="1680" y="103"/>
                </a:lnTo>
                <a:lnTo>
                  <a:pt x="1731" y="126"/>
                </a:lnTo>
                <a:lnTo>
                  <a:pt x="1784" y="147"/>
                </a:lnTo>
                <a:lnTo>
                  <a:pt x="1837" y="167"/>
                </a:lnTo>
                <a:lnTo>
                  <a:pt x="1891" y="185"/>
                </a:lnTo>
                <a:lnTo>
                  <a:pt x="1944" y="199"/>
                </a:lnTo>
                <a:lnTo>
                  <a:pt x="1999" y="207"/>
                </a:lnTo>
                <a:lnTo>
                  <a:pt x="2052" y="212"/>
                </a:lnTo>
                <a:lnTo>
                  <a:pt x="2106" y="208"/>
                </a:lnTo>
                <a:lnTo>
                  <a:pt x="2153" y="200"/>
                </a:lnTo>
                <a:lnTo>
                  <a:pt x="2206" y="189"/>
                </a:lnTo>
                <a:lnTo>
                  <a:pt x="2263" y="174"/>
                </a:lnTo>
                <a:lnTo>
                  <a:pt x="2323" y="157"/>
                </a:lnTo>
                <a:lnTo>
                  <a:pt x="2387" y="139"/>
                </a:lnTo>
                <a:lnTo>
                  <a:pt x="2452" y="121"/>
                </a:lnTo>
                <a:lnTo>
                  <a:pt x="2520" y="103"/>
                </a:lnTo>
                <a:lnTo>
                  <a:pt x="2587" y="83"/>
                </a:lnTo>
                <a:lnTo>
                  <a:pt x="2655" y="66"/>
                </a:lnTo>
                <a:lnTo>
                  <a:pt x="2721" y="50"/>
                </a:lnTo>
                <a:lnTo>
                  <a:pt x="2786" y="35"/>
                </a:lnTo>
                <a:lnTo>
                  <a:pt x="2849" y="25"/>
                </a:lnTo>
                <a:lnTo>
                  <a:pt x="2908" y="17"/>
                </a:lnTo>
                <a:lnTo>
                  <a:pt x="2964" y="13"/>
                </a:lnTo>
                <a:lnTo>
                  <a:pt x="3016" y="13"/>
                </a:lnTo>
                <a:lnTo>
                  <a:pt x="3060" y="18"/>
                </a:lnTo>
                <a:lnTo>
                  <a:pt x="3079" y="26"/>
                </a:lnTo>
                <a:lnTo>
                  <a:pt x="3093" y="43"/>
                </a:lnTo>
                <a:lnTo>
                  <a:pt x="3103" y="65"/>
                </a:lnTo>
                <a:lnTo>
                  <a:pt x="3110" y="93"/>
                </a:lnTo>
                <a:lnTo>
                  <a:pt x="3112" y="127"/>
                </a:lnTo>
                <a:lnTo>
                  <a:pt x="3108" y="167"/>
                </a:lnTo>
                <a:lnTo>
                  <a:pt x="3103" y="210"/>
                </a:lnTo>
                <a:lnTo>
                  <a:pt x="3093" y="260"/>
                </a:lnTo>
                <a:lnTo>
                  <a:pt x="3080" y="311"/>
                </a:lnTo>
                <a:lnTo>
                  <a:pt x="3062" y="366"/>
                </a:lnTo>
                <a:lnTo>
                  <a:pt x="3042" y="424"/>
                </a:lnTo>
                <a:lnTo>
                  <a:pt x="3019" y="485"/>
                </a:lnTo>
                <a:lnTo>
                  <a:pt x="2993" y="546"/>
                </a:lnTo>
                <a:lnTo>
                  <a:pt x="2963" y="609"/>
                </a:lnTo>
                <a:lnTo>
                  <a:pt x="2931" y="672"/>
                </a:lnTo>
                <a:lnTo>
                  <a:pt x="2897" y="736"/>
                </a:lnTo>
                <a:lnTo>
                  <a:pt x="2860" y="799"/>
                </a:lnTo>
                <a:lnTo>
                  <a:pt x="2821" y="860"/>
                </a:lnTo>
                <a:lnTo>
                  <a:pt x="2778" y="922"/>
                </a:lnTo>
                <a:lnTo>
                  <a:pt x="2735" y="979"/>
                </a:lnTo>
                <a:lnTo>
                  <a:pt x="2688" y="1036"/>
                </a:lnTo>
                <a:lnTo>
                  <a:pt x="2640" y="1089"/>
                </a:lnTo>
                <a:lnTo>
                  <a:pt x="2591" y="1138"/>
                </a:lnTo>
                <a:lnTo>
                  <a:pt x="2540" y="1185"/>
                </a:lnTo>
                <a:lnTo>
                  <a:pt x="2606" y="1214"/>
                </a:lnTo>
                <a:lnTo>
                  <a:pt x="2673" y="1246"/>
                </a:lnTo>
                <a:lnTo>
                  <a:pt x="2741" y="1284"/>
                </a:lnTo>
                <a:lnTo>
                  <a:pt x="2809" y="1324"/>
                </a:lnTo>
                <a:lnTo>
                  <a:pt x="2878" y="1367"/>
                </a:lnTo>
                <a:lnTo>
                  <a:pt x="2946" y="1413"/>
                </a:lnTo>
                <a:lnTo>
                  <a:pt x="3016" y="1463"/>
                </a:lnTo>
                <a:lnTo>
                  <a:pt x="3084" y="1516"/>
                </a:lnTo>
                <a:lnTo>
                  <a:pt x="3153" y="1572"/>
                </a:lnTo>
                <a:lnTo>
                  <a:pt x="3221" y="1631"/>
                </a:lnTo>
                <a:lnTo>
                  <a:pt x="3289" y="1693"/>
                </a:lnTo>
                <a:lnTo>
                  <a:pt x="3356" y="1755"/>
                </a:lnTo>
                <a:lnTo>
                  <a:pt x="3422" y="1822"/>
                </a:lnTo>
                <a:lnTo>
                  <a:pt x="3489" y="1891"/>
                </a:lnTo>
                <a:lnTo>
                  <a:pt x="3553" y="1961"/>
                </a:lnTo>
                <a:lnTo>
                  <a:pt x="3618" y="2033"/>
                </a:lnTo>
                <a:lnTo>
                  <a:pt x="3680" y="2108"/>
                </a:lnTo>
                <a:lnTo>
                  <a:pt x="3742" y="2184"/>
                </a:lnTo>
                <a:lnTo>
                  <a:pt x="3803" y="2262"/>
                </a:lnTo>
                <a:lnTo>
                  <a:pt x="3861" y="2341"/>
                </a:lnTo>
                <a:lnTo>
                  <a:pt x="3917" y="2422"/>
                </a:lnTo>
                <a:lnTo>
                  <a:pt x="3973" y="2505"/>
                </a:lnTo>
                <a:lnTo>
                  <a:pt x="4026" y="2588"/>
                </a:lnTo>
                <a:lnTo>
                  <a:pt x="4077" y="2672"/>
                </a:lnTo>
                <a:lnTo>
                  <a:pt x="4125" y="2756"/>
                </a:lnTo>
                <a:lnTo>
                  <a:pt x="4171" y="2843"/>
                </a:lnTo>
                <a:lnTo>
                  <a:pt x="4216" y="2929"/>
                </a:lnTo>
                <a:lnTo>
                  <a:pt x="4257" y="3016"/>
                </a:lnTo>
                <a:lnTo>
                  <a:pt x="4297" y="3102"/>
                </a:lnTo>
                <a:lnTo>
                  <a:pt x="4333" y="3190"/>
                </a:lnTo>
                <a:lnTo>
                  <a:pt x="4367" y="3278"/>
                </a:lnTo>
                <a:lnTo>
                  <a:pt x="4396" y="3365"/>
                </a:lnTo>
                <a:lnTo>
                  <a:pt x="4423" y="3453"/>
                </a:lnTo>
                <a:lnTo>
                  <a:pt x="4446" y="3541"/>
                </a:lnTo>
                <a:lnTo>
                  <a:pt x="4467" y="3627"/>
                </a:lnTo>
                <a:lnTo>
                  <a:pt x="4484" y="3713"/>
                </a:lnTo>
                <a:lnTo>
                  <a:pt x="4495" y="3799"/>
                </a:lnTo>
                <a:lnTo>
                  <a:pt x="4505" y="3883"/>
                </a:lnTo>
                <a:lnTo>
                  <a:pt x="4510" y="3968"/>
                </a:lnTo>
                <a:lnTo>
                  <a:pt x="4510" y="4050"/>
                </a:lnTo>
                <a:lnTo>
                  <a:pt x="4509" y="4133"/>
                </a:lnTo>
                <a:lnTo>
                  <a:pt x="4500" y="4212"/>
                </a:lnTo>
                <a:lnTo>
                  <a:pt x="4489" y="4292"/>
                </a:lnTo>
                <a:lnTo>
                  <a:pt x="4472" y="4370"/>
                </a:lnTo>
                <a:lnTo>
                  <a:pt x="4451" y="4446"/>
                </a:lnTo>
                <a:lnTo>
                  <a:pt x="4424" y="4520"/>
                </a:lnTo>
                <a:lnTo>
                  <a:pt x="4393" y="4591"/>
                </a:lnTo>
                <a:lnTo>
                  <a:pt x="4357" y="4663"/>
                </a:lnTo>
                <a:lnTo>
                  <a:pt x="4315" y="4730"/>
                </a:lnTo>
                <a:lnTo>
                  <a:pt x="4269" y="4797"/>
                </a:lnTo>
                <a:lnTo>
                  <a:pt x="4216" y="4859"/>
                </a:lnTo>
                <a:lnTo>
                  <a:pt x="4158" y="4921"/>
                </a:lnTo>
                <a:lnTo>
                  <a:pt x="4095" y="4979"/>
                </a:lnTo>
                <a:lnTo>
                  <a:pt x="4026" y="5033"/>
                </a:lnTo>
                <a:lnTo>
                  <a:pt x="3950" y="5086"/>
                </a:lnTo>
                <a:lnTo>
                  <a:pt x="3869" y="5136"/>
                </a:lnTo>
                <a:lnTo>
                  <a:pt x="3781" y="5182"/>
                </a:lnTo>
                <a:lnTo>
                  <a:pt x="3687" y="5225"/>
                </a:lnTo>
                <a:lnTo>
                  <a:pt x="3586" y="5263"/>
                </a:lnTo>
                <a:lnTo>
                  <a:pt x="3480" y="5300"/>
                </a:lnTo>
                <a:lnTo>
                  <a:pt x="3366" y="5333"/>
                </a:lnTo>
                <a:lnTo>
                  <a:pt x="3246" y="5361"/>
                </a:lnTo>
                <a:lnTo>
                  <a:pt x="3117" y="5386"/>
                </a:lnTo>
                <a:lnTo>
                  <a:pt x="2983" y="5405"/>
                </a:lnTo>
                <a:lnTo>
                  <a:pt x="2840" y="5422"/>
                </a:lnTo>
                <a:lnTo>
                  <a:pt x="2692" y="5434"/>
                </a:lnTo>
                <a:lnTo>
                  <a:pt x="2535" y="5442"/>
                </a:lnTo>
                <a:lnTo>
                  <a:pt x="2369" y="5443"/>
                </a:lnTo>
                <a:lnTo>
                  <a:pt x="2197" y="5442"/>
                </a:lnTo>
                <a:lnTo>
                  <a:pt x="2017" y="5435"/>
                </a:lnTo>
                <a:lnTo>
                  <a:pt x="1829" y="5424"/>
                </a:lnTo>
                <a:lnTo>
                  <a:pt x="1673" y="5410"/>
                </a:lnTo>
                <a:lnTo>
                  <a:pt x="1526" y="5392"/>
                </a:lnTo>
                <a:lnTo>
                  <a:pt x="1387" y="5369"/>
                </a:lnTo>
                <a:lnTo>
                  <a:pt x="1255" y="5341"/>
                </a:lnTo>
                <a:lnTo>
                  <a:pt x="1131" y="5309"/>
                </a:lnTo>
                <a:lnTo>
                  <a:pt x="1015" y="5273"/>
                </a:lnTo>
                <a:lnTo>
                  <a:pt x="904" y="5233"/>
                </a:lnTo>
                <a:lnTo>
                  <a:pt x="802" y="5190"/>
                </a:lnTo>
                <a:lnTo>
                  <a:pt x="706" y="5142"/>
                </a:lnTo>
                <a:lnTo>
                  <a:pt x="618" y="5093"/>
                </a:lnTo>
                <a:lnTo>
                  <a:pt x="536" y="5038"/>
                </a:lnTo>
                <a:lnTo>
                  <a:pt x="460" y="4982"/>
                </a:lnTo>
                <a:lnTo>
                  <a:pt x="390" y="4921"/>
                </a:lnTo>
                <a:lnTo>
                  <a:pt x="327" y="4858"/>
                </a:lnTo>
                <a:lnTo>
                  <a:pt x="269" y="4792"/>
                </a:lnTo>
                <a:lnTo>
                  <a:pt x="218" y="4724"/>
                </a:lnTo>
                <a:lnTo>
                  <a:pt x="174" y="4653"/>
                </a:lnTo>
                <a:lnTo>
                  <a:pt x="134" y="4578"/>
                </a:lnTo>
                <a:lnTo>
                  <a:pt x="99" y="4504"/>
                </a:lnTo>
                <a:lnTo>
                  <a:pt x="69" y="4426"/>
                </a:lnTo>
                <a:lnTo>
                  <a:pt x="46" y="4345"/>
                </a:lnTo>
                <a:lnTo>
                  <a:pt x="26" y="4264"/>
                </a:lnTo>
                <a:lnTo>
                  <a:pt x="13" y="4181"/>
                </a:lnTo>
                <a:lnTo>
                  <a:pt x="5" y="4097"/>
                </a:lnTo>
                <a:lnTo>
                  <a:pt x="0" y="4011"/>
                </a:lnTo>
                <a:lnTo>
                  <a:pt x="0" y="3925"/>
                </a:lnTo>
                <a:lnTo>
                  <a:pt x="3" y="3835"/>
                </a:lnTo>
                <a:lnTo>
                  <a:pt x="13" y="3748"/>
                </a:lnTo>
                <a:lnTo>
                  <a:pt x="25" y="3657"/>
                </a:lnTo>
                <a:lnTo>
                  <a:pt x="41" y="3567"/>
                </a:lnTo>
                <a:lnTo>
                  <a:pt x="61" y="3476"/>
                </a:lnTo>
                <a:lnTo>
                  <a:pt x="86" y="3385"/>
                </a:lnTo>
                <a:lnTo>
                  <a:pt x="112" y="3294"/>
                </a:lnTo>
                <a:lnTo>
                  <a:pt x="144" y="3203"/>
                </a:lnTo>
                <a:lnTo>
                  <a:pt x="177" y="3111"/>
                </a:lnTo>
                <a:lnTo>
                  <a:pt x="215" y="3020"/>
                </a:lnTo>
                <a:lnTo>
                  <a:pt x="255" y="2930"/>
                </a:lnTo>
                <a:lnTo>
                  <a:pt x="296" y="2839"/>
                </a:lnTo>
                <a:lnTo>
                  <a:pt x="341" y="2750"/>
                </a:lnTo>
                <a:lnTo>
                  <a:pt x="389" y="2662"/>
                </a:lnTo>
                <a:lnTo>
                  <a:pt x="438" y="2574"/>
                </a:lnTo>
                <a:lnTo>
                  <a:pt x="491" y="2487"/>
                </a:lnTo>
                <a:lnTo>
                  <a:pt x="546" y="2402"/>
                </a:lnTo>
                <a:lnTo>
                  <a:pt x="600" y="2318"/>
                </a:lnTo>
                <a:lnTo>
                  <a:pt x="658" y="2237"/>
                </a:lnTo>
                <a:lnTo>
                  <a:pt x="718" y="2156"/>
                </a:lnTo>
                <a:lnTo>
                  <a:pt x="779" y="2076"/>
                </a:lnTo>
                <a:lnTo>
                  <a:pt x="840" y="2000"/>
                </a:lnTo>
                <a:lnTo>
                  <a:pt x="904" y="1926"/>
                </a:lnTo>
                <a:lnTo>
                  <a:pt x="969" y="1853"/>
                </a:lnTo>
                <a:lnTo>
                  <a:pt x="1033" y="1784"/>
                </a:lnTo>
                <a:lnTo>
                  <a:pt x="1099" y="1716"/>
                </a:lnTo>
                <a:lnTo>
                  <a:pt x="1166" y="1651"/>
                </a:lnTo>
                <a:lnTo>
                  <a:pt x="1232" y="1588"/>
                </a:lnTo>
                <a:lnTo>
                  <a:pt x="1300" y="1530"/>
                </a:lnTo>
                <a:lnTo>
                  <a:pt x="1367" y="1474"/>
                </a:lnTo>
                <a:lnTo>
                  <a:pt x="1435" y="1421"/>
                </a:lnTo>
                <a:lnTo>
                  <a:pt x="1501" y="1373"/>
                </a:lnTo>
                <a:lnTo>
                  <a:pt x="1569" y="1327"/>
                </a:lnTo>
                <a:lnTo>
                  <a:pt x="1635" y="1286"/>
                </a:lnTo>
                <a:lnTo>
                  <a:pt x="1701" y="1248"/>
                </a:lnTo>
                <a:lnTo>
                  <a:pt x="1766" y="1214"/>
                </a:lnTo>
                <a:lnTo>
                  <a:pt x="1703" y="1170"/>
                </a:lnTo>
                <a:lnTo>
                  <a:pt x="1642" y="1122"/>
                </a:lnTo>
                <a:lnTo>
                  <a:pt x="1584" y="1069"/>
                </a:lnTo>
                <a:lnTo>
                  <a:pt x="1529" y="1013"/>
                </a:lnTo>
                <a:lnTo>
                  <a:pt x="1476" y="953"/>
                </a:lnTo>
                <a:lnTo>
                  <a:pt x="1427" y="892"/>
                </a:lnTo>
                <a:lnTo>
                  <a:pt x="1382" y="829"/>
                </a:lnTo>
                <a:lnTo>
                  <a:pt x="1339" y="764"/>
                </a:lnTo>
                <a:lnTo>
                  <a:pt x="1301" y="698"/>
                </a:lnTo>
                <a:lnTo>
                  <a:pt x="1266" y="634"/>
                </a:lnTo>
                <a:lnTo>
                  <a:pt x="1235" y="569"/>
                </a:lnTo>
                <a:lnTo>
                  <a:pt x="1209" y="505"/>
                </a:lnTo>
                <a:lnTo>
                  <a:pt x="1187" y="443"/>
                </a:lnTo>
                <a:lnTo>
                  <a:pt x="1171" y="382"/>
                </a:lnTo>
                <a:lnTo>
                  <a:pt x="1157" y="326"/>
                </a:lnTo>
                <a:lnTo>
                  <a:pt x="1151" y="271"/>
                </a:lnTo>
                <a:lnTo>
                  <a:pt x="1149" y="222"/>
                </a:lnTo>
                <a:lnTo>
                  <a:pt x="1152" y="175"/>
                </a:lnTo>
                <a:lnTo>
                  <a:pt x="1161" y="134"/>
                </a:lnTo>
                <a:lnTo>
                  <a:pt x="1176" y="99"/>
                </a:lnTo>
                <a:lnTo>
                  <a:pt x="1197" y="69"/>
                </a:lnTo>
                <a:lnTo>
                  <a:pt x="1230" y="38"/>
                </a:lnTo>
                <a:lnTo>
                  <a:pt x="1266" y="18"/>
                </a:lnTo>
                <a:lnTo>
                  <a:pt x="1306" y="5"/>
                </a:lnTo>
                <a:lnTo>
                  <a:pt x="1346"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9" name="Freeform 1141">
            <a:extLst>
              <a:ext uri="{FF2B5EF4-FFF2-40B4-BE49-F238E27FC236}">
                <a16:creationId xmlns:a16="http://schemas.microsoft.com/office/drawing/2014/main" id="{1D44DA67-C120-4E26-A7AE-83DC9B52E06B}"/>
              </a:ext>
            </a:extLst>
          </p:cNvPr>
          <p:cNvSpPr>
            <a:spLocks/>
          </p:cNvSpPr>
          <p:nvPr/>
        </p:nvSpPr>
        <p:spPr bwMode="auto">
          <a:xfrm>
            <a:off x="6014826" y="3149814"/>
            <a:ext cx="0" cy="158"/>
          </a:xfrm>
          <a:custGeom>
            <a:avLst/>
            <a:gdLst>
              <a:gd name="T0" fmla="*/ 2 w 2"/>
              <a:gd name="T1" fmla="*/ 0 h 3"/>
              <a:gd name="T2" fmla="*/ 2 w 2"/>
              <a:gd name="T3" fmla="*/ 2 h 3"/>
              <a:gd name="T4" fmla="*/ 0 w 2"/>
              <a:gd name="T5" fmla="*/ 3 h 3"/>
              <a:gd name="T6" fmla="*/ 2 w 2"/>
              <a:gd name="T7" fmla="*/ 2 h 3"/>
              <a:gd name="T8" fmla="*/ 2 w 2"/>
              <a:gd name="T9" fmla="*/ 0 h 3"/>
            </a:gdLst>
            <a:ahLst/>
            <a:cxnLst>
              <a:cxn ang="0">
                <a:pos x="T0" y="T1"/>
              </a:cxn>
              <a:cxn ang="0">
                <a:pos x="T2" y="T3"/>
              </a:cxn>
              <a:cxn ang="0">
                <a:pos x="T4" y="T5"/>
              </a:cxn>
              <a:cxn ang="0">
                <a:pos x="T6" y="T7"/>
              </a:cxn>
              <a:cxn ang="0">
                <a:pos x="T8" y="T9"/>
              </a:cxn>
            </a:cxnLst>
            <a:rect l="0" t="0" r="r" b="b"/>
            <a:pathLst>
              <a:path w="2" h="3">
                <a:moveTo>
                  <a:pt x="2" y="0"/>
                </a:moveTo>
                <a:lnTo>
                  <a:pt x="2" y="2"/>
                </a:lnTo>
                <a:lnTo>
                  <a:pt x="0" y="3"/>
                </a:lnTo>
                <a:lnTo>
                  <a:pt x="2" y="2"/>
                </a:lnTo>
                <a:lnTo>
                  <a:pt x="2"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2" name="文本框 51">
            <a:extLst>
              <a:ext uri="{FF2B5EF4-FFF2-40B4-BE49-F238E27FC236}">
                <a16:creationId xmlns:a16="http://schemas.microsoft.com/office/drawing/2014/main" id="{13D0027D-232E-4193-9699-B47121250510}"/>
              </a:ext>
            </a:extLst>
          </p:cNvPr>
          <p:cNvSpPr txBox="1"/>
          <p:nvPr/>
        </p:nvSpPr>
        <p:spPr>
          <a:xfrm>
            <a:off x="4375016" y="918105"/>
            <a:ext cx="3441968" cy="52322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2800" b="0" i="0" u="none" strike="noStrike" kern="1200" cap="none" spc="0" normalizeH="0" baseline="0" noProof="0" dirty="0">
                <a:ln>
                  <a:noFill/>
                </a:ln>
                <a:solidFill>
                  <a:prstClr val="black"/>
                </a:solidFill>
                <a:effectLst/>
                <a:uLnTx/>
                <a:uFillTx/>
                <a:latin typeface="HarmonyOS Sans Black"/>
                <a:ea typeface="+mj-ea"/>
                <a:cs typeface="+mn-cs"/>
              </a:rPr>
              <a:t>Diving </a:t>
            </a:r>
            <a:r>
              <a:rPr kumimoji="0" lang="en-US" altLang="zh-CN" sz="2800" b="0" i="0" u="none" strike="noStrike" kern="1200" cap="none" spc="0" normalizeH="0" baseline="0" noProof="0" dirty="0">
                <a:ln>
                  <a:noFill/>
                </a:ln>
                <a:solidFill>
                  <a:schemeClr val="accent1"/>
                </a:solidFill>
                <a:effectLst/>
                <a:uLnTx/>
                <a:uFillTx/>
                <a:latin typeface="HarmonyOS Sans Black"/>
                <a:ea typeface="+mj-ea"/>
                <a:cs typeface="+mn-cs"/>
              </a:rPr>
              <a:t>Infographic</a:t>
            </a:r>
          </a:p>
        </p:txBody>
      </p:sp>
      <p:sp>
        <p:nvSpPr>
          <p:cNvPr id="53" name="TextBox 26">
            <a:extLst>
              <a:ext uri="{FF2B5EF4-FFF2-40B4-BE49-F238E27FC236}">
                <a16:creationId xmlns:a16="http://schemas.microsoft.com/office/drawing/2014/main" id="{D912C76A-B759-4A27-9A7D-A8E8563187E4}"/>
              </a:ext>
            </a:extLst>
          </p:cNvPr>
          <p:cNvSpPr txBox="1"/>
          <p:nvPr/>
        </p:nvSpPr>
        <p:spPr>
          <a:xfrm>
            <a:off x="3486150" y="1427611"/>
            <a:ext cx="5219700" cy="254163"/>
          </a:xfrm>
          <a:prstGeom prst="rect">
            <a:avLst/>
          </a:prstGeom>
          <a:noFill/>
        </p:spPr>
        <p:txBody>
          <a:bodyPr wrap="square" lIns="0" tIns="36000" rIns="0" bIns="36000" rtlCol="0">
            <a:spAutoFit/>
          </a:bodyPr>
          <a:lstStyle/>
          <a:p>
            <a:pPr marL="0" marR="0" lvl="0" indent="0" algn="ctr" defTabSz="914400" rtl="0" eaLnBrk="1" fontAlgn="auto" latinLnBrk="0" hangingPunct="1">
              <a:lnSpc>
                <a:spcPct val="130000"/>
              </a:lnSpc>
              <a:spcBef>
                <a:spcPts val="100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alpha val="70000"/>
                  </a:prstClr>
                </a:solidFill>
                <a:effectLst/>
                <a:uLnTx/>
                <a:uFillTx/>
                <a:latin typeface="HarmonyOS Sans SC"/>
                <a:cs typeface="+mn-cs"/>
              </a:rPr>
              <a:t>Trendy will show you The easiest and more</a:t>
            </a:r>
          </a:p>
        </p:txBody>
      </p:sp>
    </p:spTree>
    <p:extLst>
      <p:ext uri="{BB962C8B-B14F-4D97-AF65-F5344CB8AC3E}">
        <p14:creationId xmlns:p14="http://schemas.microsoft.com/office/powerpoint/2010/main" val="2655471104"/>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5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9">
            <a:extLst>
              <a:ext uri="{FF2B5EF4-FFF2-40B4-BE49-F238E27FC236}">
                <a16:creationId xmlns:a16="http://schemas.microsoft.com/office/drawing/2014/main" id="{FA4368DC-9552-41D7-9E55-DABA62425DDE}"/>
              </a:ext>
            </a:extLst>
          </p:cNvPr>
          <p:cNvSpPr>
            <a:spLocks/>
          </p:cNvSpPr>
          <p:nvPr/>
        </p:nvSpPr>
        <p:spPr bwMode="auto">
          <a:xfrm>
            <a:off x="3602051" y="4850213"/>
            <a:ext cx="3052888" cy="1410888"/>
          </a:xfrm>
          <a:custGeom>
            <a:avLst/>
            <a:gdLst>
              <a:gd name="T0" fmla="*/ 1638 w 1638"/>
              <a:gd name="T1" fmla="*/ 327 h 757"/>
              <a:gd name="T2" fmla="*/ 761 w 1638"/>
              <a:gd name="T3" fmla="*/ 757 h 757"/>
              <a:gd name="T4" fmla="*/ 0 w 1638"/>
              <a:gd name="T5" fmla="*/ 431 h 757"/>
              <a:gd name="T6" fmla="*/ 877 w 1638"/>
              <a:gd name="T7" fmla="*/ 0 h 757"/>
              <a:gd name="T8" fmla="*/ 1638 w 1638"/>
              <a:gd name="T9" fmla="*/ 327 h 757"/>
            </a:gdLst>
            <a:ahLst/>
            <a:cxnLst>
              <a:cxn ang="0">
                <a:pos x="T0" y="T1"/>
              </a:cxn>
              <a:cxn ang="0">
                <a:pos x="T2" y="T3"/>
              </a:cxn>
              <a:cxn ang="0">
                <a:pos x="T4" y="T5"/>
              </a:cxn>
              <a:cxn ang="0">
                <a:pos x="T6" y="T7"/>
              </a:cxn>
              <a:cxn ang="0">
                <a:pos x="T8" y="T9"/>
              </a:cxn>
            </a:cxnLst>
            <a:rect l="0" t="0" r="r" b="b"/>
            <a:pathLst>
              <a:path w="1638" h="757">
                <a:moveTo>
                  <a:pt x="1638" y="327"/>
                </a:moveTo>
                <a:lnTo>
                  <a:pt x="761" y="757"/>
                </a:lnTo>
                <a:lnTo>
                  <a:pt x="0" y="431"/>
                </a:lnTo>
                <a:lnTo>
                  <a:pt x="877" y="0"/>
                </a:lnTo>
                <a:lnTo>
                  <a:pt x="1638" y="32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sp>
        <p:nvSpPr>
          <p:cNvPr id="3" name="Freeform 11">
            <a:extLst>
              <a:ext uri="{FF2B5EF4-FFF2-40B4-BE49-F238E27FC236}">
                <a16:creationId xmlns:a16="http://schemas.microsoft.com/office/drawing/2014/main" id="{96684C47-4513-4A7E-96C4-EA41A2C5A067}"/>
              </a:ext>
            </a:extLst>
          </p:cNvPr>
          <p:cNvSpPr>
            <a:spLocks/>
          </p:cNvSpPr>
          <p:nvPr/>
        </p:nvSpPr>
        <p:spPr bwMode="auto">
          <a:xfrm>
            <a:off x="3602051" y="4777525"/>
            <a:ext cx="3052888" cy="1313971"/>
          </a:xfrm>
          <a:custGeom>
            <a:avLst/>
            <a:gdLst>
              <a:gd name="T0" fmla="*/ 1638 w 1638"/>
              <a:gd name="T1" fmla="*/ 327 h 705"/>
              <a:gd name="T2" fmla="*/ 761 w 1638"/>
              <a:gd name="T3" fmla="*/ 705 h 705"/>
              <a:gd name="T4" fmla="*/ 0 w 1638"/>
              <a:gd name="T5" fmla="*/ 379 h 705"/>
              <a:gd name="T6" fmla="*/ 877 w 1638"/>
              <a:gd name="T7" fmla="*/ 0 h 705"/>
              <a:gd name="T8" fmla="*/ 1638 w 1638"/>
              <a:gd name="T9" fmla="*/ 327 h 705"/>
            </a:gdLst>
            <a:ahLst/>
            <a:cxnLst>
              <a:cxn ang="0">
                <a:pos x="T0" y="T1"/>
              </a:cxn>
              <a:cxn ang="0">
                <a:pos x="T2" y="T3"/>
              </a:cxn>
              <a:cxn ang="0">
                <a:pos x="T4" y="T5"/>
              </a:cxn>
              <a:cxn ang="0">
                <a:pos x="T6" y="T7"/>
              </a:cxn>
              <a:cxn ang="0">
                <a:pos x="T8" y="T9"/>
              </a:cxn>
            </a:cxnLst>
            <a:rect l="0" t="0" r="r" b="b"/>
            <a:pathLst>
              <a:path w="1638" h="705">
                <a:moveTo>
                  <a:pt x="1638" y="327"/>
                </a:moveTo>
                <a:lnTo>
                  <a:pt x="761" y="705"/>
                </a:lnTo>
                <a:lnTo>
                  <a:pt x="0" y="379"/>
                </a:lnTo>
                <a:lnTo>
                  <a:pt x="877" y="0"/>
                </a:lnTo>
                <a:lnTo>
                  <a:pt x="1638" y="32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cxnSp>
        <p:nvCxnSpPr>
          <p:cNvPr id="4" name="Connector: Elbow 120">
            <a:extLst>
              <a:ext uri="{FF2B5EF4-FFF2-40B4-BE49-F238E27FC236}">
                <a16:creationId xmlns:a16="http://schemas.microsoft.com/office/drawing/2014/main" id="{BDDF4E33-3DA7-4640-817B-BEC456CC1851}"/>
              </a:ext>
            </a:extLst>
          </p:cNvPr>
          <p:cNvCxnSpPr/>
          <p:nvPr/>
        </p:nvCxnSpPr>
        <p:spPr>
          <a:xfrm rot="16200000" flipV="1">
            <a:off x="8179581" y="2673317"/>
            <a:ext cx="2303231" cy="756989"/>
          </a:xfrm>
          <a:prstGeom prst="bentConnector2">
            <a:avLst/>
          </a:prstGeom>
          <a:noFill/>
          <a:ln w="12700">
            <a:solidFill>
              <a:schemeClr val="accent1">
                <a:lumMod val="20000"/>
                <a:lumOff val="80000"/>
              </a:schemeClr>
            </a:solidFill>
          </a:ln>
        </p:spPr>
      </p:cxnSp>
      <p:sp>
        <p:nvSpPr>
          <p:cNvPr id="6" name="Freeform 10">
            <a:extLst>
              <a:ext uri="{FF2B5EF4-FFF2-40B4-BE49-F238E27FC236}">
                <a16:creationId xmlns:a16="http://schemas.microsoft.com/office/drawing/2014/main" id="{AE0808AC-6A12-4E11-B210-9281F76E498D}"/>
              </a:ext>
            </a:extLst>
          </p:cNvPr>
          <p:cNvSpPr>
            <a:spLocks/>
          </p:cNvSpPr>
          <p:nvPr/>
        </p:nvSpPr>
        <p:spPr bwMode="auto">
          <a:xfrm>
            <a:off x="3602051" y="4777525"/>
            <a:ext cx="3052888" cy="1313971"/>
          </a:xfrm>
          <a:custGeom>
            <a:avLst/>
            <a:gdLst>
              <a:gd name="T0" fmla="*/ 1638 w 1638"/>
              <a:gd name="T1" fmla="*/ 327 h 705"/>
              <a:gd name="T2" fmla="*/ 761 w 1638"/>
              <a:gd name="T3" fmla="*/ 705 h 705"/>
              <a:gd name="T4" fmla="*/ 0 w 1638"/>
              <a:gd name="T5" fmla="*/ 379 h 705"/>
              <a:gd name="T6" fmla="*/ 877 w 1638"/>
              <a:gd name="T7" fmla="*/ 0 h 705"/>
              <a:gd name="T8" fmla="*/ 1638 w 1638"/>
              <a:gd name="T9" fmla="*/ 327 h 705"/>
            </a:gdLst>
            <a:ahLst/>
            <a:cxnLst>
              <a:cxn ang="0">
                <a:pos x="T0" y="T1"/>
              </a:cxn>
              <a:cxn ang="0">
                <a:pos x="T2" y="T3"/>
              </a:cxn>
              <a:cxn ang="0">
                <a:pos x="T4" y="T5"/>
              </a:cxn>
              <a:cxn ang="0">
                <a:pos x="T6" y="T7"/>
              </a:cxn>
              <a:cxn ang="0">
                <a:pos x="T8" y="T9"/>
              </a:cxn>
            </a:cxnLst>
            <a:rect l="0" t="0" r="r" b="b"/>
            <a:pathLst>
              <a:path w="1638" h="705">
                <a:moveTo>
                  <a:pt x="1638" y="327"/>
                </a:moveTo>
                <a:lnTo>
                  <a:pt x="761" y="705"/>
                </a:lnTo>
                <a:lnTo>
                  <a:pt x="0" y="379"/>
                </a:lnTo>
                <a:lnTo>
                  <a:pt x="877" y="0"/>
                </a:lnTo>
                <a:lnTo>
                  <a:pt x="1638" y="327"/>
                </a:lnTo>
                <a:close/>
              </a:path>
            </a:pathLst>
          </a:custGeom>
          <a:gradFill>
            <a:gsLst>
              <a:gs pos="100000">
                <a:schemeClr val="accent1"/>
              </a:gs>
              <a:gs pos="31000">
                <a:schemeClr val="accent1">
                  <a:lumMod val="60000"/>
                  <a:lumOff val="40000"/>
                </a:schemeClr>
              </a:gs>
              <a:gs pos="0">
                <a:schemeClr val="accent1">
                  <a:lumMod val="40000"/>
                  <a:lumOff val="60000"/>
                </a:schemeClr>
              </a:gs>
            </a:gsLst>
            <a:lin ang="5400000" scaled="1"/>
          </a:gra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7" name="Freeform 12">
            <a:extLst>
              <a:ext uri="{FF2B5EF4-FFF2-40B4-BE49-F238E27FC236}">
                <a16:creationId xmlns:a16="http://schemas.microsoft.com/office/drawing/2014/main" id="{D68BCAAC-5DA2-4923-9D48-5FDA931B7804}"/>
              </a:ext>
            </a:extLst>
          </p:cNvPr>
          <p:cNvSpPr>
            <a:spLocks/>
          </p:cNvSpPr>
          <p:nvPr/>
        </p:nvSpPr>
        <p:spPr bwMode="auto">
          <a:xfrm>
            <a:off x="3602051" y="5481520"/>
            <a:ext cx="1418343" cy="777200"/>
          </a:xfrm>
          <a:custGeom>
            <a:avLst/>
            <a:gdLst>
              <a:gd name="T0" fmla="*/ 761 w 761"/>
              <a:gd name="T1" fmla="*/ 417 h 417"/>
              <a:gd name="T2" fmla="*/ 0 w 761"/>
              <a:gd name="T3" fmla="*/ 91 h 417"/>
              <a:gd name="T4" fmla="*/ 0 w 761"/>
              <a:gd name="T5" fmla="*/ 0 h 417"/>
              <a:gd name="T6" fmla="*/ 761 w 761"/>
              <a:gd name="T7" fmla="*/ 326 h 417"/>
              <a:gd name="T8" fmla="*/ 761 w 761"/>
              <a:gd name="T9" fmla="*/ 417 h 417"/>
            </a:gdLst>
            <a:ahLst/>
            <a:cxnLst>
              <a:cxn ang="0">
                <a:pos x="T0" y="T1"/>
              </a:cxn>
              <a:cxn ang="0">
                <a:pos x="T2" y="T3"/>
              </a:cxn>
              <a:cxn ang="0">
                <a:pos x="T4" y="T5"/>
              </a:cxn>
              <a:cxn ang="0">
                <a:pos x="T6" y="T7"/>
              </a:cxn>
              <a:cxn ang="0">
                <a:pos x="T8" y="T9"/>
              </a:cxn>
            </a:cxnLst>
            <a:rect l="0" t="0" r="r" b="b"/>
            <a:pathLst>
              <a:path w="761" h="417">
                <a:moveTo>
                  <a:pt x="761" y="417"/>
                </a:moveTo>
                <a:lnTo>
                  <a:pt x="0" y="91"/>
                </a:lnTo>
                <a:lnTo>
                  <a:pt x="0" y="0"/>
                </a:lnTo>
                <a:lnTo>
                  <a:pt x="761" y="326"/>
                </a:lnTo>
                <a:lnTo>
                  <a:pt x="761" y="417"/>
                </a:lnTo>
                <a:close/>
              </a:path>
            </a:pathLst>
          </a:custGeom>
          <a:gradFill flip="none" rotWithShape="1">
            <a:gsLst>
              <a:gs pos="100000">
                <a:schemeClr val="accent1"/>
              </a:gs>
              <a:gs pos="31000">
                <a:schemeClr val="accent1">
                  <a:lumMod val="60000"/>
                  <a:lumOff val="40000"/>
                </a:schemeClr>
              </a:gs>
              <a:gs pos="0">
                <a:schemeClr val="accent1">
                  <a:lumMod val="40000"/>
                  <a:lumOff val="60000"/>
                </a:schemeClr>
              </a:gs>
            </a:gsLst>
            <a:lin ang="540000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sp>
        <p:nvSpPr>
          <p:cNvPr id="82" name="任意多边形: 形状 81">
            <a:extLst>
              <a:ext uri="{FF2B5EF4-FFF2-40B4-BE49-F238E27FC236}">
                <a16:creationId xmlns:a16="http://schemas.microsoft.com/office/drawing/2014/main" id="{A32C1DA9-565E-42EB-98EB-32A6BBA4A3E2}"/>
              </a:ext>
            </a:extLst>
          </p:cNvPr>
          <p:cNvSpPr>
            <a:spLocks/>
          </p:cNvSpPr>
          <p:nvPr/>
        </p:nvSpPr>
        <p:spPr bwMode="auto">
          <a:xfrm>
            <a:off x="5020396" y="4632150"/>
            <a:ext cx="1634543" cy="1628951"/>
          </a:xfrm>
          <a:custGeom>
            <a:avLst/>
            <a:gdLst>
              <a:gd name="connsiteX0" fmla="*/ 1634543 w 1634543"/>
              <a:gd name="connsiteY0" fmla="*/ 0 h 1628951"/>
              <a:gd name="connsiteX1" fmla="*/ 1634543 w 1634543"/>
              <a:gd name="connsiteY1" fmla="*/ 754834 h 1628951"/>
              <a:gd name="connsiteX2" fmla="*/ 1634543 w 1634543"/>
              <a:gd name="connsiteY2" fmla="*/ 754835 h 1628951"/>
              <a:gd name="connsiteX3" fmla="*/ 1634543 w 1634543"/>
              <a:gd name="connsiteY3" fmla="*/ 948668 h 1628951"/>
              <a:gd name="connsiteX4" fmla="*/ 0 w 1634543"/>
              <a:gd name="connsiteY4" fmla="*/ 1628951 h 1628951"/>
              <a:gd name="connsiteX5" fmla="*/ 0 w 1634543"/>
              <a:gd name="connsiteY5" fmla="*/ 1459347 h 1628951"/>
              <a:gd name="connsiteX6" fmla="*/ 0 w 1634543"/>
              <a:gd name="connsiteY6" fmla="*/ 1459346 h 1628951"/>
              <a:gd name="connsiteX7" fmla="*/ 0 w 1634543"/>
              <a:gd name="connsiteY7" fmla="*/ 704513 h 1628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34543" h="1628951">
                <a:moveTo>
                  <a:pt x="1634543" y="0"/>
                </a:moveTo>
                <a:lnTo>
                  <a:pt x="1634543" y="754834"/>
                </a:lnTo>
                <a:lnTo>
                  <a:pt x="1634543" y="754835"/>
                </a:lnTo>
                <a:lnTo>
                  <a:pt x="1634543" y="948668"/>
                </a:lnTo>
                <a:lnTo>
                  <a:pt x="0" y="1628951"/>
                </a:lnTo>
                <a:lnTo>
                  <a:pt x="0" y="1459347"/>
                </a:lnTo>
                <a:lnTo>
                  <a:pt x="0" y="1459346"/>
                </a:lnTo>
                <a:lnTo>
                  <a:pt x="0" y="704513"/>
                </a:lnTo>
                <a:close/>
              </a:path>
            </a:pathLst>
          </a:custGeom>
          <a:gradFill flip="none" rotWithShape="1">
            <a:gsLst>
              <a:gs pos="65000">
                <a:schemeClr val="accent1"/>
              </a:gs>
              <a:gs pos="41000">
                <a:schemeClr val="accent1">
                  <a:lumMod val="60000"/>
                  <a:lumOff val="40000"/>
                </a:schemeClr>
              </a:gs>
              <a:gs pos="0">
                <a:schemeClr val="accent1">
                  <a:lumMod val="40000"/>
                  <a:lumOff val="60000"/>
                </a:schemeClr>
              </a:gs>
            </a:gsLst>
            <a:lin ang="16200000" scaled="1"/>
            <a:tileRect/>
          </a:gradFill>
          <a:ln>
            <a:noFill/>
          </a:ln>
        </p:spPr>
        <p:txBody>
          <a:bodyPr vert="horz" wrap="square" lIns="91440" tIns="45720" rIns="91440" bIns="45720" numCol="1" anchor="t"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sp>
        <p:nvSpPr>
          <p:cNvPr id="10" name="TextBox 58">
            <a:extLst>
              <a:ext uri="{FF2B5EF4-FFF2-40B4-BE49-F238E27FC236}">
                <a16:creationId xmlns:a16="http://schemas.microsoft.com/office/drawing/2014/main" id="{949109EB-5926-477D-A79B-8D59D8BE299D}"/>
              </a:ext>
            </a:extLst>
          </p:cNvPr>
          <p:cNvSpPr txBox="1"/>
          <p:nvPr/>
        </p:nvSpPr>
        <p:spPr>
          <a:xfrm rot="21309048">
            <a:off x="3838369" y="5108512"/>
            <a:ext cx="714941" cy="735651"/>
          </a:xfrm>
          <a:prstGeom prst="rect">
            <a:avLst/>
          </a:prstGeom>
          <a:noFill/>
        </p:spPr>
        <p:txBody>
          <a:bodyPr wrap="square" lIns="0" tIns="0" rIns="0" bIns="0" rtlCol="0">
            <a:spAutoFit/>
            <a:scene3d>
              <a:camera prst="isometricBottomDown"/>
              <a:lightRig rig="threePt" dir="t"/>
            </a:scene3d>
          </a:bodyPr>
          <a:lstStyle/>
          <a:p>
            <a:pPr marL="0" marR="0" lvl="0" indent="0" algn="r" defTabSz="457200" rtl="0" eaLnBrk="1" fontAlgn="base" latinLnBrk="0" hangingPunct="1">
              <a:lnSpc>
                <a:spcPct val="130000"/>
              </a:lnSpc>
              <a:spcBef>
                <a:spcPts val="1000"/>
              </a:spcBef>
              <a:spcAft>
                <a:spcPts val="0"/>
              </a:spcAft>
              <a:buClrTx/>
              <a:buSzTx/>
              <a:buFontTx/>
              <a:buNone/>
              <a:tabLst/>
              <a:defRPr/>
            </a:pPr>
            <a:r>
              <a:rPr kumimoji="0" lang="en-US" sz="4000" b="0" i="0" u="none" strike="noStrike" kern="1200" cap="none" spc="0" normalizeH="0" baseline="0" noProof="0" dirty="0">
                <a:ln>
                  <a:noFill/>
                </a:ln>
                <a:solidFill>
                  <a:prstClr val="white"/>
                </a:solidFill>
                <a:effectLst/>
                <a:uLnTx/>
                <a:uFillTx/>
                <a:latin typeface="HarmonyOS Sans SC Black"/>
                <a:ea typeface="+mj-ea"/>
                <a:cs typeface="+mn-cs"/>
              </a:rPr>
              <a:t>04</a:t>
            </a:r>
            <a:endParaRPr kumimoji="0" lang="en-US" sz="2000" b="0" i="0" u="none" strike="noStrike" kern="1200" cap="none" spc="0" normalizeH="0" baseline="0" noProof="0" dirty="0">
              <a:ln>
                <a:noFill/>
              </a:ln>
              <a:solidFill>
                <a:prstClr val="white"/>
              </a:solidFill>
              <a:effectLst/>
              <a:uLnTx/>
              <a:uFillTx/>
              <a:latin typeface="HarmonyOS Sans SC Black"/>
              <a:ea typeface="+mj-ea"/>
              <a:cs typeface="+mn-cs"/>
            </a:endParaRPr>
          </a:p>
        </p:txBody>
      </p:sp>
      <p:sp>
        <p:nvSpPr>
          <p:cNvPr id="14" name="Freeform 16">
            <a:extLst>
              <a:ext uri="{FF2B5EF4-FFF2-40B4-BE49-F238E27FC236}">
                <a16:creationId xmlns:a16="http://schemas.microsoft.com/office/drawing/2014/main" id="{ED336C39-33B3-4417-BF4E-1CBAB726D1C0}"/>
              </a:ext>
            </a:extLst>
          </p:cNvPr>
          <p:cNvSpPr>
            <a:spLocks/>
          </p:cNvSpPr>
          <p:nvPr/>
        </p:nvSpPr>
        <p:spPr bwMode="auto">
          <a:xfrm>
            <a:off x="4947707" y="4511003"/>
            <a:ext cx="3270951" cy="1410888"/>
          </a:xfrm>
          <a:custGeom>
            <a:avLst/>
            <a:gdLst>
              <a:gd name="T0" fmla="*/ 1755 w 1755"/>
              <a:gd name="T1" fmla="*/ 378 h 757"/>
              <a:gd name="T2" fmla="*/ 878 w 1755"/>
              <a:gd name="T3" fmla="*/ 757 h 757"/>
              <a:gd name="T4" fmla="*/ 0 w 1755"/>
              <a:gd name="T5" fmla="*/ 378 h 757"/>
              <a:gd name="T6" fmla="*/ 878 w 1755"/>
              <a:gd name="T7" fmla="*/ 0 h 757"/>
              <a:gd name="T8" fmla="*/ 1755 w 1755"/>
              <a:gd name="T9" fmla="*/ 378 h 757"/>
            </a:gdLst>
            <a:ahLst/>
            <a:cxnLst>
              <a:cxn ang="0">
                <a:pos x="T0" y="T1"/>
              </a:cxn>
              <a:cxn ang="0">
                <a:pos x="T2" y="T3"/>
              </a:cxn>
              <a:cxn ang="0">
                <a:pos x="T4" y="T5"/>
              </a:cxn>
              <a:cxn ang="0">
                <a:pos x="T6" y="T7"/>
              </a:cxn>
              <a:cxn ang="0">
                <a:pos x="T8" y="T9"/>
              </a:cxn>
            </a:cxnLst>
            <a:rect l="0" t="0" r="r" b="b"/>
            <a:pathLst>
              <a:path w="1755" h="757">
                <a:moveTo>
                  <a:pt x="1755" y="378"/>
                </a:moveTo>
                <a:lnTo>
                  <a:pt x="878" y="757"/>
                </a:lnTo>
                <a:lnTo>
                  <a:pt x="0" y="378"/>
                </a:lnTo>
                <a:lnTo>
                  <a:pt x="878" y="0"/>
                </a:lnTo>
                <a:lnTo>
                  <a:pt x="1755" y="378"/>
                </a:lnTo>
                <a:close/>
              </a:path>
            </a:pathLst>
          </a:custGeom>
          <a:gradFill>
            <a:gsLst>
              <a:gs pos="100000">
                <a:schemeClr val="accent1"/>
              </a:gs>
              <a:gs pos="31000">
                <a:schemeClr val="accent1">
                  <a:lumMod val="60000"/>
                  <a:lumOff val="40000"/>
                </a:schemeClr>
              </a:gs>
              <a:gs pos="0">
                <a:schemeClr val="accent1">
                  <a:lumMod val="40000"/>
                  <a:lumOff val="60000"/>
                </a:schemeClr>
              </a:gs>
            </a:gsLst>
            <a:lin ang="5400000" scaled="1"/>
          </a:gra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15" name="Freeform 17">
            <a:extLst>
              <a:ext uri="{FF2B5EF4-FFF2-40B4-BE49-F238E27FC236}">
                <a16:creationId xmlns:a16="http://schemas.microsoft.com/office/drawing/2014/main" id="{F5AEE235-838A-4106-9FE1-3C8FA80A80E0}"/>
              </a:ext>
            </a:extLst>
          </p:cNvPr>
          <p:cNvSpPr>
            <a:spLocks/>
          </p:cNvSpPr>
          <p:nvPr/>
        </p:nvSpPr>
        <p:spPr bwMode="auto">
          <a:xfrm>
            <a:off x="4947707" y="5210753"/>
            <a:ext cx="1636407" cy="875981"/>
          </a:xfrm>
          <a:custGeom>
            <a:avLst/>
            <a:gdLst>
              <a:gd name="T0" fmla="*/ 878 w 878"/>
              <a:gd name="T1" fmla="*/ 470 h 470"/>
              <a:gd name="T2" fmla="*/ 0 w 878"/>
              <a:gd name="T3" fmla="*/ 105 h 470"/>
              <a:gd name="T4" fmla="*/ 0 w 878"/>
              <a:gd name="T5" fmla="*/ 0 h 470"/>
              <a:gd name="T6" fmla="*/ 878 w 878"/>
              <a:gd name="T7" fmla="*/ 379 h 470"/>
              <a:gd name="T8" fmla="*/ 878 w 878"/>
              <a:gd name="T9" fmla="*/ 470 h 470"/>
            </a:gdLst>
            <a:ahLst/>
            <a:cxnLst>
              <a:cxn ang="0">
                <a:pos x="T0" y="T1"/>
              </a:cxn>
              <a:cxn ang="0">
                <a:pos x="T2" y="T3"/>
              </a:cxn>
              <a:cxn ang="0">
                <a:pos x="T4" y="T5"/>
              </a:cxn>
              <a:cxn ang="0">
                <a:pos x="T6" y="T7"/>
              </a:cxn>
              <a:cxn ang="0">
                <a:pos x="T8" y="T9"/>
              </a:cxn>
            </a:cxnLst>
            <a:rect l="0" t="0" r="r" b="b"/>
            <a:pathLst>
              <a:path w="878" h="470">
                <a:moveTo>
                  <a:pt x="878" y="470"/>
                </a:moveTo>
                <a:lnTo>
                  <a:pt x="0" y="105"/>
                </a:lnTo>
                <a:lnTo>
                  <a:pt x="0" y="0"/>
                </a:lnTo>
                <a:lnTo>
                  <a:pt x="878" y="379"/>
                </a:lnTo>
                <a:lnTo>
                  <a:pt x="878" y="470"/>
                </a:lnTo>
                <a:close/>
              </a:path>
            </a:pathLst>
          </a:custGeom>
          <a:gradFill flip="none" rotWithShape="1">
            <a:gsLst>
              <a:gs pos="100000">
                <a:schemeClr val="accent1"/>
              </a:gs>
              <a:gs pos="31000">
                <a:schemeClr val="accent1">
                  <a:lumMod val="60000"/>
                  <a:lumOff val="40000"/>
                </a:schemeClr>
              </a:gs>
              <a:gs pos="0">
                <a:schemeClr val="accent1">
                  <a:lumMod val="40000"/>
                  <a:lumOff val="60000"/>
                </a:schemeClr>
              </a:gs>
            </a:gsLst>
            <a:lin ang="540000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sp>
        <p:nvSpPr>
          <p:cNvPr id="83" name="任意多边形: 形状 82">
            <a:extLst>
              <a:ext uri="{FF2B5EF4-FFF2-40B4-BE49-F238E27FC236}">
                <a16:creationId xmlns:a16="http://schemas.microsoft.com/office/drawing/2014/main" id="{A257A2F2-39C9-45E5-9552-D3F36A2B3031}"/>
              </a:ext>
            </a:extLst>
          </p:cNvPr>
          <p:cNvSpPr>
            <a:spLocks/>
          </p:cNvSpPr>
          <p:nvPr/>
        </p:nvSpPr>
        <p:spPr bwMode="auto">
          <a:xfrm>
            <a:off x="6584115" y="4462543"/>
            <a:ext cx="1634543" cy="1628952"/>
          </a:xfrm>
          <a:custGeom>
            <a:avLst/>
            <a:gdLst>
              <a:gd name="connsiteX0" fmla="*/ 1634543 w 1634543"/>
              <a:gd name="connsiteY0" fmla="*/ 0 h 1628952"/>
              <a:gd name="connsiteX1" fmla="*/ 1634543 w 1634543"/>
              <a:gd name="connsiteY1" fmla="*/ 752971 h 1628952"/>
              <a:gd name="connsiteX2" fmla="*/ 1634543 w 1634543"/>
              <a:gd name="connsiteY2" fmla="*/ 948669 h 1628952"/>
              <a:gd name="connsiteX3" fmla="*/ 0 w 1634543"/>
              <a:gd name="connsiteY3" fmla="*/ 1628952 h 1628952"/>
              <a:gd name="connsiteX4" fmla="*/ 0 w 1634543"/>
              <a:gd name="connsiteY4" fmla="*/ 1459347 h 1628952"/>
              <a:gd name="connsiteX5" fmla="*/ 0 w 1634543"/>
              <a:gd name="connsiteY5" fmla="*/ 704513 h 16289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4543" h="1628952">
                <a:moveTo>
                  <a:pt x="1634543" y="0"/>
                </a:moveTo>
                <a:lnTo>
                  <a:pt x="1634543" y="752971"/>
                </a:lnTo>
                <a:lnTo>
                  <a:pt x="1634543" y="948669"/>
                </a:lnTo>
                <a:lnTo>
                  <a:pt x="0" y="1628952"/>
                </a:lnTo>
                <a:lnTo>
                  <a:pt x="0" y="1459347"/>
                </a:lnTo>
                <a:lnTo>
                  <a:pt x="0" y="704513"/>
                </a:lnTo>
                <a:close/>
              </a:path>
            </a:pathLst>
          </a:custGeom>
          <a:gradFill flip="none" rotWithShape="1">
            <a:gsLst>
              <a:gs pos="65000">
                <a:schemeClr val="accent1"/>
              </a:gs>
              <a:gs pos="41000">
                <a:schemeClr val="accent1">
                  <a:lumMod val="60000"/>
                  <a:lumOff val="40000"/>
                </a:schemeClr>
              </a:gs>
              <a:gs pos="0">
                <a:schemeClr val="accent1">
                  <a:lumMod val="40000"/>
                  <a:lumOff val="60000"/>
                </a:schemeClr>
              </a:gs>
            </a:gsLst>
            <a:lin ang="16200000" scaled="1"/>
            <a:tileRect/>
          </a:gradFill>
          <a:ln>
            <a:noFill/>
          </a:ln>
        </p:spPr>
        <p:txBody>
          <a:bodyPr vert="horz" wrap="square" lIns="91440" tIns="45720" rIns="91440" bIns="45720" numCol="1" anchor="t"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sp>
        <p:nvSpPr>
          <p:cNvPr id="22" name="Freeform 22">
            <a:extLst>
              <a:ext uri="{FF2B5EF4-FFF2-40B4-BE49-F238E27FC236}">
                <a16:creationId xmlns:a16="http://schemas.microsoft.com/office/drawing/2014/main" id="{C211090F-318F-4132-B305-5F75CB9D9652}"/>
              </a:ext>
            </a:extLst>
          </p:cNvPr>
          <p:cNvSpPr>
            <a:spLocks/>
          </p:cNvSpPr>
          <p:nvPr/>
        </p:nvSpPr>
        <p:spPr bwMode="auto">
          <a:xfrm>
            <a:off x="6511428" y="4363764"/>
            <a:ext cx="3246722" cy="1386660"/>
          </a:xfrm>
          <a:custGeom>
            <a:avLst/>
            <a:gdLst>
              <a:gd name="T0" fmla="*/ 1742 w 1742"/>
              <a:gd name="T1" fmla="*/ 379 h 744"/>
              <a:gd name="T2" fmla="*/ 864 w 1742"/>
              <a:gd name="T3" fmla="*/ 744 h 744"/>
              <a:gd name="T4" fmla="*/ 0 w 1742"/>
              <a:gd name="T5" fmla="*/ 366 h 744"/>
              <a:gd name="T6" fmla="*/ 877 w 1742"/>
              <a:gd name="T7" fmla="*/ 0 h 744"/>
              <a:gd name="T8" fmla="*/ 1742 w 1742"/>
              <a:gd name="T9" fmla="*/ 379 h 744"/>
            </a:gdLst>
            <a:ahLst/>
            <a:cxnLst>
              <a:cxn ang="0">
                <a:pos x="T0" y="T1"/>
              </a:cxn>
              <a:cxn ang="0">
                <a:pos x="T2" y="T3"/>
              </a:cxn>
              <a:cxn ang="0">
                <a:pos x="T4" y="T5"/>
              </a:cxn>
              <a:cxn ang="0">
                <a:pos x="T6" y="T7"/>
              </a:cxn>
              <a:cxn ang="0">
                <a:pos x="T8" y="T9"/>
              </a:cxn>
            </a:cxnLst>
            <a:rect l="0" t="0" r="r" b="b"/>
            <a:pathLst>
              <a:path w="1742" h="744">
                <a:moveTo>
                  <a:pt x="1742" y="379"/>
                </a:moveTo>
                <a:lnTo>
                  <a:pt x="864" y="744"/>
                </a:lnTo>
                <a:lnTo>
                  <a:pt x="0" y="366"/>
                </a:lnTo>
                <a:lnTo>
                  <a:pt x="877" y="0"/>
                </a:lnTo>
                <a:lnTo>
                  <a:pt x="1742" y="379"/>
                </a:lnTo>
                <a:close/>
              </a:path>
            </a:pathLst>
          </a:custGeom>
          <a:gradFill>
            <a:gsLst>
              <a:gs pos="100000">
                <a:schemeClr val="accent1"/>
              </a:gs>
              <a:gs pos="31000">
                <a:schemeClr val="accent1">
                  <a:lumMod val="60000"/>
                  <a:lumOff val="40000"/>
                </a:schemeClr>
              </a:gs>
              <a:gs pos="0">
                <a:schemeClr val="accent1">
                  <a:lumMod val="40000"/>
                  <a:lumOff val="60000"/>
                </a:schemeClr>
              </a:gs>
            </a:gsLst>
            <a:lin ang="5400000" scaled="1"/>
          </a:gra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84" name="任意多边形: 形状 83">
            <a:extLst>
              <a:ext uri="{FF2B5EF4-FFF2-40B4-BE49-F238E27FC236}">
                <a16:creationId xmlns:a16="http://schemas.microsoft.com/office/drawing/2014/main" id="{59692065-C86B-4B51-8742-B54F9598C346}"/>
              </a:ext>
            </a:extLst>
          </p:cNvPr>
          <p:cNvSpPr>
            <a:spLocks/>
          </p:cNvSpPr>
          <p:nvPr/>
        </p:nvSpPr>
        <p:spPr bwMode="auto">
          <a:xfrm>
            <a:off x="8121742" y="4291076"/>
            <a:ext cx="1636407" cy="1655045"/>
          </a:xfrm>
          <a:custGeom>
            <a:avLst/>
            <a:gdLst>
              <a:gd name="connsiteX0" fmla="*/ 1636407 w 1636407"/>
              <a:gd name="connsiteY0" fmla="*/ 0 h 1655045"/>
              <a:gd name="connsiteX1" fmla="*/ 1636407 w 1636407"/>
              <a:gd name="connsiteY1" fmla="*/ 779064 h 1655045"/>
              <a:gd name="connsiteX2" fmla="*/ 1636407 w 1636407"/>
              <a:gd name="connsiteY2" fmla="*/ 948669 h 1655045"/>
              <a:gd name="connsiteX3" fmla="*/ 0 w 1636407"/>
              <a:gd name="connsiteY3" fmla="*/ 1655045 h 1655045"/>
              <a:gd name="connsiteX4" fmla="*/ 0 w 1636407"/>
              <a:gd name="connsiteY4" fmla="*/ 1459347 h 1655045"/>
              <a:gd name="connsiteX5" fmla="*/ 0 w 1636407"/>
              <a:gd name="connsiteY5" fmla="*/ 706376 h 1655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36407" h="1655045">
                <a:moveTo>
                  <a:pt x="1636407" y="0"/>
                </a:moveTo>
                <a:lnTo>
                  <a:pt x="1636407" y="779064"/>
                </a:lnTo>
                <a:lnTo>
                  <a:pt x="1636407" y="948669"/>
                </a:lnTo>
                <a:lnTo>
                  <a:pt x="0" y="1655045"/>
                </a:lnTo>
                <a:lnTo>
                  <a:pt x="0" y="1459347"/>
                </a:lnTo>
                <a:lnTo>
                  <a:pt x="0" y="706376"/>
                </a:lnTo>
                <a:close/>
              </a:path>
            </a:pathLst>
          </a:custGeom>
          <a:gradFill flip="none" rotWithShape="1">
            <a:gsLst>
              <a:gs pos="65000">
                <a:schemeClr val="accent1"/>
              </a:gs>
              <a:gs pos="41000">
                <a:schemeClr val="accent1">
                  <a:lumMod val="60000"/>
                  <a:lumOff val="40000"/>
                </a:schemeClr>
              </a:gs>
              <a:gs pos="0">
                <a:schemeClr val="accent1">
                  <a:lumMod val="40000"/>
                  <a:lumOff val="60000"/>
                </a:schemeClr>
              </a:gs>
            </a:gsLst>
            <a:lin ang="16200000" scaled="1"/>
            <a:tileRect/>
          </a:gradFill>
          <a:ln>
            <a:noFill/>
          </a:ln>
        </p:spPr>
        <p:txBody>
          <a:bodyPr vert="horz" wrap="square" lIns="91440" tIns="45720" rIns="91440" bIns="45720" numCol="1" anchor="t"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cs typeface="+mn-cs"/>
            </a:endParaRPr>
          </a:p>
        </p:txBody>
      </p:sp>
      <p:sp>
        <p:nvSpPr>
          <p:cNvPr id="25" name="Freeform 31">
            <a:extLst>
              <a:ext uri="{FF2B5EF4-FFF2-40B4-BE49-F238E27FC236}">
                <a16:creationId xmlns:a16="http://schemas.microsoft.com/office/drawing/2014/main" id="{4F828913-5AA5-40B1-908C-B4D0E69D0805}"/>
              </a:ext>
            </a:extLst>
          </p:cNvPr>
          <p:cNvSpPr>
            <a:spLocks/>
          </p:cNvSpPr>
          <p:nvPr/>
        </p:nvSpPr>
        <p:spPr bwMode="auto">
          <a:xfrm>
            <a:off x="8050918" y="5067759"/>
            <a:ext cx="70824" cy="680283"/>
          </a:xfrm>
          <a:custGeom>
            <a:avLst/>
            <a:gdLst>
              <a:gd name="T0" fmla="*/ 38 w 38"/>
              <a:gd name="T1" fmla="*/ 365 h 365"/>
              <a:gd name="T2" fmla="*/ 0 w 38"/>
              <a:gd name="T3" fmla="*/ 352 h 365"/>
              <a:gd name="T4" fmla="*/ 0 w 38"/>
              <a:gd name="T5" fmla="*/ 0 h 365"/>
              <a:gd name="T6" fmla="*/ 38 w 38"/>
              <a:gd name="T7" fmla="*/ 13 h 365"/>
              <a:gd name="T8" fmla="*/ 38 w 38"/>
              <a:gd name="T9" fmla="*/ 365 h 365"/>
            </a:gdLst>
            <a:ahLst/>
            <a:cxnLst>
              <a:cxn ang="0">
                <a:pos x="T0" y="T1"/>
              </a:cxn>
              <a:cxn ang="0">
                <a:pos x="T2" y="T3"/>
              </a:cxn>
              <a:cxn ang="0">
                <a:pos x="T4" y="T5"/>
              </a:cxn>
              <a:cxn ang="0">
                <a:pos x="T6" y="T7"/>
              </a:cxn>
              <a:cxn ang="0">
                <a:pos x="T8" y="T9"/>
              </a:cxn>
            </a:cxnLst>
            <a:rect l="0" t="0" r="r" b="b"/>
            <a:pathLst>
              <a:path w="38" h="365">
                <a:moveTo>
                  <a:pt x="38" y="365"/>
                </a:moveTo>
                <a:lnTo>
                  <a:pt x="0" y="352"/>
                </a:lnTo>
                <a:lnTo>
                  <a:pt x="0" y="0"/>
                </a:lnTo>
                <a:lnTo>
                  <a:pt x="38" y="13"/>
                </a:lnTo>
                <a:lnTo>
                  <a:pt x="38" y="365"/>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sp>
        <p:nvSpPr>
          <p:cNvPr id="30" name="Freeform 28">
            <a:extLst>
              <a:ext uri="{FF2B5EF4-FFF2-40B4-BE49-F238E27FC236}">
                <a16:creationId xmlns:a16="http://schemas.microsoft.com/office/drawing/2014/main" id="{9AF70B85-7461-426E-AD47-4A0CA2F71F0C}"/>
              </a:ext>
            </a:extLst>
          </p:cNvPr>
          <p:cNvSpPr>
            <a:spLocks/>
          </p:cNvSpPr>
          <p:nvPr/>
        </p:nvSpPr>
        <p:spPr bwMode="auto">
          <a:xfrm>
            <a:off x="8050918" y="4194159"/>
            <a:ext cx="3270951" cy="1386660"/>
          </a:xfrm>
          <a:custGeom>
            <a:avLst/>
            <a:gdLst>
              <a:gd name="T0" fmla="*/ 1755 w 1755"/>
              <a:gd name="T1" fmla="*/ 379 h 744"/>
              <a:gd name="T2" fmla="*/ 877 w 1755"/>
              <a:gd name="T3" fmla="*/ 744 h 744"/>
              <a:gd name="T4" fmla="*/ 0 w 1755"/>
              <a:gd name="T5" fmla="*/ 365 h 744"/>
              <a:gd name="T6" fmla="*/ 877 w 1755"/>
              <a:gd name="T7" fmla="*/ 0 h 744"/>
              <a:gd name="T8" fmla="*/ 1755 w 1755"/>
              <a:gd name="T9" fmla="*/ 379 h 744"/>
            </a:gdLst>
            <a:ahLst/>
            <a:cxnLst>
              <a:cxn ang="0">
                <a:pos x="T0" y="T1"/>
              </a:cxn>
              <a:cxn ang="0">
                <a:pos x="T2" y="T3"/>
              </a:cxn>
              <a:cxn ang="0">
                <a:pos x="T4" y="T5"/>
              </a:cxn>
              <a:cxn ang="0">
                <a:pos x="T6" y="T7"/>
              </a:cxn>
              <a:cxn ang="0">
                <a:pos x="T8" y="T9"/>
              </a:cxn>
            </a:cxnLst>
            <a:rect l="0" t="0" r="r" b="b"/>
            <a:pathLst>
              <a:path w="1755" h="744">
                <a:moveTo>
                  <a:pt x="1755" y="379"/>
                </a:moveTo>
                <a:lnTo>
                  <a:pt x="877" y="744"/>
                </a:lnTo>
                <a:lnTo>
                  <a:pt x="0" y="365"/>
                </a:lnTo>
                <a:lnTo>
                  <a:pt x="877" y="0"/>
                </a:lnTo>
                <a:lnTo>
                  <a:pt x="1755" y="379"/>
                </a:lnTo>
                <a:close/>
              </a:path>
            </a:pathLst>
          </a:custGeom>
          <a:gradFill>
            <a:gsLst>
              <a:gs pos="100000">
                <a:schemeClr val="accent1"/>
              </a:gs>
              <a:gs pos="31000">
                <a:schemeClr val="accent1">
                  <a:lumMod val="60000"/>
                  <a:lumOff val="40000"/>
                </a:schemeClr>
              </a:gs>
              <a:gs pos="0">
                <a:schemeClr val="accent1">
                  <a:lumMod val="40000"/>
                  <a:lumOff val="60000"/>
                </a:schemeClr>
              </a:gs>
            </a:gsLst>
            <a:lin ang="5400000" scaled="1"/>
          </a:gra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86" name="任意多边形: 形状 85">
            <a:extLst>
              <a:ext uri="{FF2B5EF4-FFF2-40B4-BE49-F238E27FC236}">
                <a16:creationId xmlns:a16="http://schemas.microsoft.com/office/drawing/2014/main" id="{DDA10CF1-E697-49CB-833B-73041182F7CC}"/>
              </a:ext>
            </a:extLst>
          </p:cNvPr>
          <p:cNvSpPr>
            <a:spLocks/>
          </p:cNvSpPr>
          <p:nvPr/>
        </p:nvSpPr>
        <p:spPr bwMode="auto">
          <a:xfrm>
            <a:off x="9204603" y="2826548"/>
            <a:ext cx="2525435" cy="2948105"/>
          </a:xfrm>
          <a:custGeom>
            <a:avLst/>
            <a:gdLst>
              <a:gd name="connsiteX0" fmla="*/ 2117265 w 2525435"/>
              <a:gd name="connsiteY0" fmla="*/ 2073988 h 2948105"/>
              <a:gd name="connsiteX1" fmla="*/ 2117265 w 2525435"/>
              <a:gd name="connsiteY1" fmla="*/ 2243593 h 2948105"/>
              <a:gd name="connsiteX2" fmla="*/ 480858 w 2525435"/>
              <a:gd name="connsiteY2" fmla="*/ 2948105 h 2948105"/>
              <a:gd name="connsiteX3" fmla="*/ 480858 w 2525435"/>
              <a:gd name="connsiteY3" fmla="*/ 2754271 h 2948105"/>
              <a:gd name="connsiteX4" fmla="*/ 1299061 w 2525435"/>
              <a:gd name="connsiteY4" fmla="*/ 0 h 2948105"/>
              <a:gd name="connsiteX5" fmla="*/ 2525435 w 2525435"/>
              <a:gd name="connsiteY5" fmla="*/ 657918 h 2948105"/>
              <a:gd name="connsiteX6" fmla="*/ 2117265 w 2525435"/>
              <a:gd name="connsiteY6" fmla="*/ 830825 h 2948105"/>
              <a:gd name="connsiteX7" fmla="*/ 2117265 w 2525435"/>
              <a:gd name="connsiteY7" fmla="*/ 2073987 h 2948105"/>
              <a:gd name="connsiteX8" fmla="*/ 480858 w 2525435"/>
              <a:gd name="connsiteY8" fmla="*/ 2754270 h 2948105"/>
              <a:gd name="connsiteX9" fmla="*/ 480858 w 2525435"/>
              <a:gd name="connsiteY9" fmla="*/ 1524034 h 2948105"/>
              <a:gd name="connsiteX10" fmla="*/ 0 w 2525435"/>
              <a:gd name="connsiteY10" fmla="*/ 1727733 h 29481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525435" h="2948105">
                <a:moveTo>
                  <a:pt x="2117265" y="2073988"/>
                </a:moveTo>
                <a:lnTo>
                  <a:pt x="2117265" y="2243593"/>
                </a:lnTo>
                <a:lnTo>
                  <a:pt x="480858" y="2948105"/>
                </a:lnTo>
                <a:lnTo>
                  <a:pt x="480858" y="2754271"/>
                </a:lnTo>
                <a:close/>
                <a:moveTo>
                  <a:pt x="1299061" y="0"/>
                </a:moveTo>
                <a:lnTo>
                  <a:pt x="2525435" y="657918"/>
                </a:lnTo>
                <a:lnTo>
                  <a:pt x="2117265" y="830825"/>
                </a:lnTo>
                <a:lnTo>
                  <a:pt x="2117265" y="2073987"/>
                </a:lnTo>
                <a:lnTo>
                  <a:pt x="480858" y="2754270"/>
                </a:lnTo>
                <a:lnTo>
                  <a:pt x="480858" y="1524034"/>
                </a:lnTo>
                <a:lnTo>
                  <a:pt x="0" y="1727733"/>
                </a:lnTo>
                <a:close/>
              </a:path>
            </a:pathLst>
          </a:custGeom>
          <a:gradFill flip="none" rotWithShape="1">
            <a:gsLst>
              <a:gs pos="56000">
                <a:schemeClr val="accent1"/>
              </a:gs>
              <a:gs pos="0">
                <a:schemeClr val="accent1">
                  <a:lumMod val="60000"/>
                  <a:lumOff val="40000"/>
                </a:schemeClr>
              </a:gs>
            </a:gsLst>
            <a:lin ang="16200000" scaled="1"/>
            <a:tileRect/>
          </a:gradFill>
          <a:ln>
            <a:noFill/>
          </a:ln>
        </p:spPr>
        <p:txBody>
          <a:bodyPr vert="horz" wrap="square" lIns="91440" tIns="45720" rIns="91440" bIns="45720" numCol="1" anchor="t"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sp>
        <p:nvSpPr>
          <p:cNvPr id="35" name="Freeform 33">
            <a:extLst>
              <a:ext uri="{FF2B5EF4-FFF2-40B4-BE49-F238E27FC236}">
                <a16:creationId xmlns:a16="http://schemas.microsoft.com/office/drawing/2014/main" id="{9C907DD1-03AB-4BC4-ADB8-2B6DA35AB697}"/>
              </a:ext>
            </a:extLst>
          </p:cNvPr>
          <p:cNvSpPr>
            <a:spLocks/>
          </p:cNvSpPr>
          <p:nvPr/>
        </p:nvSpPr>
        <p:spPr bwMode="auto">
          <a:xfrm>
            <a:off x="9612774" y="4291076"/>
            <a:ext cx="72687" cy="1289743"/>
          </a:xfrm>
          <a:custGeom>
            <a:avLst/>
            <a:gdLst>
              <a:gd name="T0" fmla="*/ 39 w 39"/>
              <a:gd name="T1" fmla="*/ 692 h 692"/>
              <a:gd name="T2" fmla="*/ 0 w 39"/>
              <a:gd name="T3" fmla="*/ 679 h 692"/>
              <a:gd name="T4" fmla="*/ 0 w 39"/>
              <a:gd name="T5" fmla="*/ 0 h 692"/>
              <a:gd name="T6" fmla="*/ 39 w 39"/>
              <a:gd name="T7" fmla="*/ 26 h 692"/>
              <a:gd name="T8" fmla="*/ 39 w 39"/>
              <a:gd name="T9" fmla="*/ 692 h 692"/>
            </a:gdLst>
            <a:ahLst/>
            <a:cxnLst>
              <a:cxn ang="0">
                <a:pos x="T0" y="T1"/>
              </a:cxn>
              <a:cxn ang="0">
                <a:pos x="T2" y="T3"/>
              </a:cxn>
              <a:cxn ang="0">
                <a:pos x="T4" y="T5"/>
              </a:cxn>
              <a:cxn ang="0">
                <a:pos x="T6" y="T7"/>
              </a:cxn>
              <a:cxn ang="0">
                <a:pos x="T8" y="T9"/>
              </a:cxn>
            </a:cxnLst>
            <a:rect l="0" t="0" r="r" b="b"/>
            <a:pathLst>
              <a:path w="39" h="692">
                <a:moveTo>
                  <a:pt x="39" y="692"/>
                </a:moveTo>
                <a:lnTo>
                  <a:pt x="0" y="679"/>
                </a:lnTo>
                <a:lnTo>
                  <a:pt x="0" y="0"/>
                </a:lnTo>
                <a:lnTo>
                  <a:pt x="39" y="26"/>
                </a:lnTo>
                <a:lnTo>
                  <a:pt x="39" y="692"/>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sp>
        <p:nvSpPr>
          <p:cNvPr id="37" name="Freeform 35">
            <a:extLst>
              <a:ext uri="{FF2B5EF4-FFF2-40B4-BE49-F238E27FC236}">
                <a16:creationId xmlns:a16="http://schemas.microsoft.com/office/drawing/2014/main" id="{DC4E4A4C-A440-4CB3-887C-0E5A941A43E5}"/>
              </a:ext>
            </a:extLst>
          </p:cNvPr>
          <p:cNvSpPr>
            <a:spLocks/>
          </p:cNvSpPr>
          <p:nvPr/>
        </p:nvSpPr>
        <p:spPr bwMode="auto">
          <a:xfrm>
            <a:off x="9135091" y="2802320"/>
            <a:ext cx="1371749" cy="1751963"/>
          </a:xfrm>
          <a:custGeom>
            <a:avLst/>
            <a:gdLst>
              <a:gd name="T0" fmla="*/ 39 w 736"/>
              <a:gd name="T1" fmla="*/ 940 h 940"/>
              <a:gd name="T2" fmla="*/ 0 w 736"/>
              <a:gd name="T3" fmla="*/ 927 h 940"/>
              <a:gd name="T4" fmla="*/ 697 w 736"/>
              <a:gd name="T5" fmla="*/ 0 h 940"/>
              <a:gd name="T6" fmla="*/ 736 w 736"/>
              <a:gd name="T7" fmla="*/ 13 h 940"/>
              <a:gd name="T8" fmla="*/ 39 w 736"/>
              <a:gd name="T9" fmla="*/ 940 h 940"/>
            </a:gdLst>
            <a:ahLst/>
            <a:cxnLst>
              <a:cxn ang="0">
                <a:pos x="T0" y="T1"/>
              </a:cxn>
              <a:cxn ang="0">
                <a:pos x="T2" y="T3"/>
              </a:cxn>
              <a:cxn ang="0">
                <a:pos x="T4" y="T5"/>
              </a:cxn>
              <a:cxn ang="0">
                <a:pos x="T6" y="T7"/>
              </a:cxn>
              <a:cxn ang="0">
                <a:pos x="T8" y="T9"/>
              </a:cxn>
            </a:cxnLst>
            <a:rect l="0" t="0" r="r" b="b"/>
            <a:pathLst>
              <a:path w="736" h="940">
                <a:moveTo>
                  <a:pt x="39" y="940"/>
                </a:moveTo>
                <a:lnTo>
                  <a:pt x="0" y="927"/>
                </a:lnTo>
                <a:lnTo>
                  <a:pt x="697" y="0"/>
                </a:lnTo>
                <a:lnTo>
                  <a:pt x="736" y="13"/>
                </a:lnTo>
                <a:lnTo>
                  <a:pt x="39" y="940"/>
                </a:lnTo>
                <a:close/>
              </a:path>
            </a:pathLst>
          </a:custGeom>
          <a:gradFill>
            <a:gsLst>
              <a:gs pos="100000">
                <a:schemeClr val="accent1"/>
              </a:gs>
              <a:gs pos="31000">
                <a:schemeClr val="accent1">
                  <a:lumMod val="60000"/>
                  <a:lumOff val="40000"/>
                </a:schemeClr>
              </a:gs>
              <a:gs pos="0">
                <a:schemeClr val="accent1">
                  <a:lumMod val="40000"/>
                  <a:lumOff val="60000"/>
                </a:schemeClr>
              </a:gs>
            </a:gsLst>
            <a:lin ang="5400000" scaled="1"/>
          </a:gra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sp>
        <p:nvSpPr>
          <p:cNvPr id="38" name="Freeform 36">
            <a:extLst>
              <a:ext uri="{FF2B5EF4-FFF2-40B4-BE49-F238E27FC236}">
                <a16:creationId xmlns:a16="http://schemas.microsoft.com/office/drawing/2014/main" id="{AA6F7BAF-B14A-4F53-B7C3-ACD7EDECA370}"/>
              </a:ext>
            </a:extLst>
          </p:cNvPr>
          <p:cNvSpPr>
            <a:spLocks/>
          </p:cNvSpPr>
          <p:nvPr/>
        </p:nvSpPr>
        <p:spPr bwMode="auto">
          <a:xfrm>
            <a:off x="10430977" y="2802320"/>
            <a:ext cx="1299061" cy="682147"/>
          </a:xfrm>
          <a:custGeom>
            <a:avLst/>
            <a:gdLst>
              <a:gd name="T0" fmla="*/ 39 w 697"/>
              <a:gd name="T1" fmla="*/ 13 h 366"/>
              <a:gd name="T2" fmla="*/ 0 w 697"/>
              <a:gd name="T3" fmla="*/ 0 h 366"/>
              <a:gd name="T4" fmla="*/ 658 w 697"/>
              <a:gd name="T5" fmla="*/ 352 h 366"/>
              <a:gd name="T6" fmla="*/ 697 w 697"/>
              <a:gd name="T7" fmla="*/ 366 h 366"/>
              <a:gd name="T8" fmla="*/ 39 w 697"/>
              <a:gd name="T9" fmla="*/ 13 h 366"/>
            </a:gdLst>
            <a:ahLst/>
            <a:cxnLst>
              <a:cxn ang="0">
                <a:pos x="T0" y="T1"/>
              </a:cxn>
              <a:cxn ang="0">
                <a:pos x="T2" y="T3"/>
              </a:cxn>
              <a:cxn ang="0">
                <a:pos x="T4" y="T5"/>
              </a:cxn>
              <a:cxn ang="0">
                <a:pos x="T6" y="T7"/>
              </a:cxn>
              <a:cxn ang="0">
                <a:pos x="T8" y="T9"/>
              </a:cxn>
            </a:cxnLst>
            <a:rect l="0" t="0" r="r" b="b"/>
            <a:pathLst>
              <a:path w="697" h="366">
                <a:moveTo>
                  <a:pt x="39" y="13"/>
                </a:moveTo>
                <a:lnTo>
                  <a:pt x="0" y="0"/>
                </a:lnTo>
                <a:lnTo>
                  <a:pt x="658" y="352"/>
                </a:lnTo>
                <a:lnTo>
                  <a:pt x="697" y="366"/>
                </a:lnTo>
                <a:lnTo>
                  <a:pt x="39" y="13"/>
                </a:lnTo>
                <a:close/>
              </a:path>
            </a:pathLst>
          </a:custGeom>
          <a:solidFill>
            <a:schemeClr val="accent1">
              <a:lumMod val="60000"/>
              <a:lumOff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sp>
        <p:nvSpPr>
          <p:cNvPr id="29" name="TextBox 60">
            <a:extLst>
              <a:ext uri="{FF2B5EF4-FFF2-40B4-BE49-F238E27FC236}">
                <a16:creationId xmlns:a16="http://schemas.microsoft.com/office/drawing/2014/main" id="{288958DA-5744-45C4-A681-78CB9C314523}"/>
              </a:ext>
            </a:extLst>
          </p:cNvPr>
          <p:cNvSpPr txBox="1"/>
          <p:nvPr/>
        </p:nvSpPr>
        <p:spPr>
          <a:xfrm rot="21309048">
            <a:off x="8089711" y="4493107"/>
            <a:ext cx="891422" cy="735651"/>
          </a:xfrm>
          <a:prstGeom prst="rect">
            <a:avLst/>
          </a:prstGeom>
          <a:noFill/>
        </p:spPr>
        <p:txBody>
          <a:bodyPr wrap="square" lIns="0" tIns="0" rIns="0" bIns="0" rtlCol="0">
            <a:spAutoFit/>
            <a:scene3d>
              <a:camera prst="isometricBottomDown"/>
              <a:lightRig rig="threePt" dir="t"/>
            </a:scene3d>
          </a:bodyPr>
          <a:lstStyle/>
          <a:p>
            <a:pPr marL="0" marR="0" lvl="0" indent="0" algn="r" defTabSz="457200" rtl="0" eaLnBrk="1" fontAlgn="base" latinLnBrk="0" hangingPunct="1">
              <a:lnSpc>
                <a:spcPct val="130000"/>
              </a:lnSpc>
              <a:spcBef>
                <a:spcPts val="1000"/>
              </a:spcBef>
              <a:spcAft>
                <a:spcPts val="0"/>
              </a:spcAft>
              <a:buClrTx/>
              <a:buSzTx/>
              <a:buFontTx/>
              <a:buNone/>
              <a:tabLst/>
              <a:defRPr/>
            </a:pPr>
            <a:r>
              <a:rPr kumimoji="0" lang="en-US" sz="4000" b="0" i="0" u="none" strike="noStrike" kern="1200" cap="none" spc="0" normalizeH="0" baseline="0" noProof="0">
                <a:ln>
                  <a:noFill/>
                </a:ln>
                <a:solidFill>
                  <a:prstClr val="white"/>
                </a:solidFill>
                <a:effectLst/>
                <a:uLnTx/>
                <a:uFillTx/>
                <a:latin typeface="HarmonyOS Sans SC Black"/>
                <a:ea typeface="+mj-ea"/>
                <a:cs typeface="+mn-cs"/>
              </a:rPr>
              <a:t>01</a:t>
            </a:r>
            <a:endParaRPr kumimoji="0" lang="en-US" sz="2000" b="0" i="0" u="none" strike="noStrike" kern="1200" cap="none" spc="0" normalizeH="0" baseline="0" noProof="0" dirty="0">
              <a:ln>
                <a:noFill/>
              </a:ln>
              <a:solidFill>
                <a:prstClr val="white"/>
              </a:solidFill>
              <a:effectLst/>
              <a:uLnTx/>
              <a:uFillTx/>
              <a:latin typeface="HarmonyOS Sans SC Black"/>
              <a:ea typeface="+mj-ea"/>
              <a:cs typeface="+mn-cs"/>
            </a:endParaRPr>
          </a:p>
        </p:txBody>
      </p:sp>
      <p:sp>
        <p:nvSpPr>
          <p:cNvPr id="27" name="TextBox 61">
            <a:extLst>
              <a:ext uri="{FF2B5EF4-FFF2-40B4-BE49-F238E27FC236}">
                <a16:creationId xmlns:a16="http://schemas.microsoft.com/office/drawing/2014/main" id="{E76D958F-AB09-4D46-A382-F383A7567AA4}"/>
              </a:ext>
            </a:extLst>
          </p:cNvPr>
          <p:cNvSpPr txBox="1"/>
          <p:nvPr/>
        </p:nvSpPr>
        <p:spPr>
          <a:xfrm rot="21309048">
            <a:off x="6740544" y="4658723"/>
            <a:ext cx="714941" cy="735651"/>
          </a:xfrm>
          <a:prstGeom prst="rect">
            <a:avLst/>
          </a:prstGeom>
          <a:noFill/>
        </p:spPr>
        <p:txBody>
          <a:bodyPr wrap="square" lIns="0" tIns="0" rIns="0" bIns="0" rtlCol="0">
            <a:spAutoFit/>
            <a:scene3d>
              <a:camera prst="isometricBottomDown"/>
              <a:lightRig rig="threePt" dir="t"/>
            </a:scene3d>
          </a:bodyPr>
          <a:lstStyle/>
          <a:p>
            <a:pPr marL="0" marR="0" lvl="0" indent="0" algn="r" defTabSz="457200" rtl="0" eaLnBrk="1" fontAlgn="base" latinLnBrk="0" hangingPunct="1">
              <a:lnSpc>
                <a:spcPct val="130000"/>
              </a:lnSpc>
              <a:spcBef>
                <a:spcPts val="1000"/>
              </a:spcBef>
              <a:spcAft>
                <a:spcPts val="0"/>
              </a:spcAft>
              <a:buClrTx/>
              <a:buSzTx/>
              <a:buFontTx/>
              <a:buNone/>
              <a:tabLst/>
              <a:defRPr/>
            </a:pPr>
            <a:r>
              <a:rPr kumimoji="0" lang="en-US" sz="4000" b="0" i="0" u="none" strike="noStrike" kern="1200" cap="none" spc="0" normalizeH="0" baseline="0" noProof="0" dirty="0">
                <a:ln>
                  <a:noFill/>
                </a:ln>
                <a:solidFill>
                  <a:prstClr val="white"/>
                </a:solidFill>
                <a:effectLst/>
                <a:uLnTx/>
                <a:uFillTx/>
                <a:latin typeface="HarmonyOS Sans SC Black"/>
                <a:ea typeface="+mj-ea"/>
                <a:cs typeface="+mn-cs"/>
              </a:rPr>
              <a:t>02</a:t>
            </a:r>
            <a:endParaRPr kumimoji="0" lang="en-US" sz="2000" b="0" i="0" u="none" strike="noStrike" kern="1200" cap="none" spc="0" normalizeH="0" baseline="0" noProof="0" dirty="0">
              <a:ln>
                <a:noFill/>
              </a:ln>
              <a:solidFill>
                <a:prstClr val="white"/>
              </a:solidFill>
              <a:effectLst/>
              <a:uLnTx/>
              <a:uFillTx/>
              <a:latin typeface="HarmonyOS Sans SC Black"/>
              <a:ea typeface="+mj-ea"/>
              <a:cs typeface="+mn-cs"/>
            </a:endParaRPr>
          </a:p>
        </p:txBody>
      </p:sp>
      <p:sp>
        <p:nvSpPr>
          <p:cNvPr id="19" name="TextBox 62">
            <a:extLst>
              <a:ext uri="{FF2B5EF4-FFF2-40B4-BE49-F238E27FC236}">
                <a16:creationId xmlns:a16="http://schemas.microsoft.com/office/drawing/2014/main" id="{81A10F5E-EC5A-4B5A-8453-9AC2FC322D7A}"/>
              </a:ext>
            </a:extLst>
          </p:cNvPr>
          <p:cNvSpPr txBox="1"/>
          <p:nvPr/>
        </p:nvSpPr>
        <p:spPr>
          <a:xfrm rot="21309048">
            <a:off x="4970486" y="4839185"/>
            <a:ext cx="891422" cy="735651"/>
          </a:xfrm>
          <a:prstGeom prst="rect">
            <a:avLst/>
          </a:prstGeom>
          <a:noFill/>
        </p:spPr>
        <p:txBody>
          <a:bodyPr wrap="square" lIns="0" tIns="0" rIns="0" bIns="0" rtlCol="0">
            <a:spAutoFit/>
            <a:scene3d>
              <a:camera prst="isometricBottomDown"/>
              <a:lightRig rig="threePt" dir="t"/>
            </a:scene3d>
          </a:bodyPr>
          <a:lstStyle/>
          <a:p>
            <a:pPr marL="0" marR="0" lvl="0" indent="0" algn="r" defTabSz="457200" rtl="0" eaLnBrk="1" fontAlgn="base" latinLnBrk="0" hangingPunct="1">
              <a:lnSpc>
                <a:spcPct val="130000"/>
              </a:lnSpc>
              <a:spcBef>
                <a:spcPts val="1000"/>
              </a:spcBef>
              <a:spcAft>
                <a:spcPts val="0"/>
              </a:spcAft>
              <a:buClrTx/>
              <a:buSzTx/>
              <a:buFontTx/>
              <a:buNone/>
              <a:tabLst/>
              <a:defRPr/>
            </a:pPr>
            <a:r>
              <a:rPr kumimoji="0" lang="en-US" sz="4000" b="0" i="0" u="none" strike="noStrike" kern="1200" cap="none" spc="0" normalizeH="0" baseline="0" noProof="0" dirty="0">
                <a:ln>
                  <a:noFill/>
                </a:ln>
                <a:solidFill>
                  <a:prstClr val="white"/>
                </a:solidFill>
                <a:effectLst/>
                <a:uLnTx/>
                <a:uFillTx/>
                <a:latin typeface="HarmonyOS Sans SC Black"/>
                <a:ea typeface="+mj-ea"/>
                <a:cs typeface="+mn-cs"/>
              </a:rPr>
              <a:t>03</a:t>
            </a:r>
            <a:endParaRPr kumimoji="0" lang="en-US" sz="2000" b="0" i="0" u="none" strike="noStrike" kern="1200" cap="none" spc="0" normalizeH="0" baseline="0" noProof="0" dirty="0">
              <a:ln>
                <a:noFill/>
              </a:ln>
              <a:solidFill>
                <a:prstClr val="white"/>
              </a:solidFill>
              <a:effectLst/>
              <a:uLnTx/>
              <a:uFillTx/>
              <a:latin typeface="HarmonyOS Sans SC Black"/>
              <a:ea typeface="+mj-ea"/>
              <a:cs typeface="+mn-cs"/>
            </a:endParaRPr>
          </a:p>
        </p:txBody>
      </p:sp>
      <p:sp>
        <p:nvSpPr>
          <p:cNvPr id="12" name="Freeform 19">
            <a:extLst>
              <a:ext uri="{FF2B5EF4-FFF2-40B4-BE49-F238E27FC236}">
                <a16:creationId xmlns:a16="http://schemas.microsoft.com/office/drawing/2014/main" id="{BCB15989-F639-4E44-BC80-CA307EDB0F97}"/>
              </a:ext>
            </a:extLst>
          </p:cNvPr>
          <p:cNvSpPr>
            <a:spLocks/>
          </p:cNvSpPr>
          <p:nvPr/>
        </p:nvSpPr>
        <p:spPr bwMode="auto">
          <a:xfrm>
            <a:off x="4947707" y="5386984"/>
            <a:ext cx="72687" cy="704513"/>
          </a:xfrm>
          <a:custGeom>
            <a:avLst/>
            <a:gdLst>
              <a:gd name="T0" fmla="*/ 39 w 39"/>
              <a:gd name="T1" fmla="*/ 378 h 378"/>
              <a:gd name="T2" fmla="*/ 0 w 39"/>
              <a:gd name="T3" fmla="*/ 365 h 378"/>
              <a:gd name="T4" fmla="*/ 0 w 39"/>
              <a:gd name="T5" fmla="*/ 0 h 378"/>
              <a:gd name="T6" fmla="*/ 39 w 39"/>
              <a:gd name="T7" fmla="*/ 26 h 378"/>
              <a:gd name="T8" fmla="*/ 39 w 39"/>
              <a:gd name="T9" fmla="*/ 378 h 378"/>
            </a:gdLst>
            <a:ahLst/>
            <a:cxnLst>
              <a:cxn ang="0">
                <a:pos x="T0" y="T1"/>
              </a:cxn>
              <a:cxn ang="0">
                <a:pos x="T2" y="T3"/>
              </a:cxn>
              <a:cxn ang="0">
                <a:pos x="T4" y="T5"/>
              </a:cxn>
              <a:cxn ang="0">
                <a:pos x="T6" y="T7"/>
              </a:cxn>
              <a:cxn ang="0">
                <a:pos x="T8" y="T9"/>
              </a:cxn>
            </a:cxnLst>
            <a:rect l="0" t="0" r="r" b="b"/>
            <a:pathLst>
              <a:path w="39" h="378">
                <a:moveTo>
                  <a:pt x="39" y="378"/>
                </a:moveTo>
                <a:lnTo>
                  <a:pt x="0" y="365"/>
                </a:lnTo>
                <a:lnTo>
                  <a:pt x="0" y="0"/>
                </a:lnTo>
                <a:lnTo>
                  <a:pt x="39" y="26"/>
                </a:lnTo>
                <a:lnTo>
                  <a:pt x="39" y="378"/>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sp>
        <p:nvSpPr>
          <p:cNvPr id="13" name="Freeform 25">
            <a:extLst>
              <a:ext uri="{FF2B5EF4-FFF2-40B4-BE49-F238E27FC236}">
                <a16:creationId xmlns:a16="http://schemas.microsoft.com/office/drawing/2014/main" id="{52961C14-128F-428E-9983-39E020FE27A5}"/>
              </a:ext>
            </a:extLst>
          </p:cNvPr>
          <p:cNvSpPr>
            <a:spLocks/>
          </p:cNvSpPr>
          <p:nvPr/>
        </p:nvSpPr>
        <p:spPr bwMode="auto">
          <a:xfrm>
            <a:off x="6511428" y="5237364"/>
            <a:ext cx="72687" cy="682147"/>
          </a:xfrm>
          <a:custGeom>
            <a:avLst/>
            <a:gdLst>
              <a:gd name="T0" fmla="*/ 39 w 39"/>
              <a:gd name="T1" fmla="*/ 366 h 366"/>
              <a:gd name="T2" fmla="*/ 0 w 39"/>
              <a:gd name="T3" fmla="*/ 353 h 366"/>
              <a:gd name="T4" fmla="*/ 0 w 39"/>
              <a:gd name="T5" fmla="*/ 0 h 366"/>
              <a:gd name="T6" fmla="*/ 39 w 39"/>
              <a:gd name="T7" fmla="*/ 13 h 366"/>
              <a:gd name="T8" fmla="*/ 39 w 39"/>
              <a:gd name="T9" fmla="*/ 366 h 366"/>
            </a:gdLst>
            <a:ahLst/>
            <a:cxnLst>
              <a:cxn ang="0">
                <a:pos x="T0" y="T1"/>
              </a:cxn>
              <a:cxn ang="0">
                <a:pos x="T2" y="T3"/>
              </a:cxn>
              <a:cxn ang="0">
                <a:pos x="T4" y="T5"/>
              </a:cxn>
              <a:cxn ang="0">
                <a:pos x="T6" y="T7"/>
              </a:cxn>
              <a:cxn ang="0">
                <a:pos x="T8" y="T9"/>
              </a:cxn>
            </a:cxnLst>
            <a:rect l="0" t="0" r="r" b="b"/>
            <a:pathLst>
              <a:path w="39" h="366">
                <a:moveTo>
                  <a:pt x="39" y="366"/>
                </a:moveTo>
                <a:lnTo>
                  <a:pt x="0" y="353"/>
                </a:lnTo>
                <a:lnTo>
                  <a:pt x="0" y="0"/>
                </a:lnTo>
                <a:lnTo>
                  <a:pt x="39" y="13"/>
                </a:lnTo>
                <a:lnTo>
                  <a:pt x="39" y="366"/>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sp>
        <p:nvSpPr>
          <p:cNvPr id="41" name="Oval 83">
            <a:extLst>
              <a:ext uri="{FF2B5EF4-FFF2-40B4-BE49-F238E27FC236}">
                <a16:creationId xmlns:a16="http://schemas.microsoft.com/office/drawing/2014/main" id="{69D5E787-DB07-4B54-B91F-4766A572F878}"/>
              </a:ext>
            </a:extLst>
          </p:cNvPr>
          <p:cNvSpPr/>
          <p:nvPr/>
        </p:nvSpPr>
        <p:spPr>
          <a:xfrm>
            <a:off x="3137685" y="5141650"/>
            <a:ext cx="54804" cy="54804"/>
          </a:xfrm>
          <a:prstGeom prst="ellipse">
            <a:avLst/>
          </a:prstGeom>
          <a:noFill/>
          <a:ln w="12700">
            <a:solidFill>
              <a:schemeClr val="accent1">
                <a:lumMod val="20000"/>
                <a:lumOff val="80000"/>
              </a:schemeClr>
            </a:solid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cs typeface="+mn-cs"/>
            </a:endParaRPr>
          </a:p>
        </p:txBody>
      </p:sp>
      <p:sp>
        <p:nvSpPr>
          <p:cNvPr id="44" name="Oval 87">
            <a:extLst>
              <a:ext uri="{FF2B5EF4-FFF2-40B4-BE49-F238E27FC236}">
                <a16:creationId xmlns:a16="http://schemas.microsoft.com/office/drawing/2014/main" id="{B78CF4AC-19F8-48B9-8494-D04EE37BAF5E}"/>
              </a:ext>
            </a:extLst>
          </p:cNvPr>
          <p:cNvSpPr/>
          <p:nvPr/>
        </p:nvSpPr>
        <p:spPr>
          <a:xfrm>
            <a:off x="5029166" y="4052032"/>
            <a:ext cx="54804" cy="54804"/>
          </a:xfrm>
          <a:prstGeom prst="ellipse">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sp>
        <p:nvSpPr>
          <p:cNvPr id="47" name="Oval 90">
            <a:extLst>
              <a:ext uri="{FF2B5EF4-FFF2-40B4-BE49-F238E27FC236}">
                <a16:creationId xmlns:a16="http://schemas.microsoft.com/office/drawing/2014/main" id="{227569D9-B9AA-4587-8BFF-FF9937D4DC7F}"/>
              </a:ext>
            </a:extLst>
          </p:cNvPr>
          <p:cNvSpPr/>
          <p:nvPr/>
        </p:nvSpPr>
        <p:spPr>
          <a:xfrm>
            <a:off x="6920647" y="2962413"/>
            <a:ext cx="54804" cy="54804"/>
          </a:xfrm>
          <a:prstGeom prst="ellipse">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sp>
        <p:nvSpPr>
          <p:cNvPr id="50" name="Oval 93">
            <a:extLst>
              <a:ext uri="{FF2B5EF4-FFF2-40B4-BE49-F238E27FC236}">
                <a16:creationId xmlns:a16="http://schemas.microsoft.com/office/drawing/2014/main" id="{C9FF6A00-A54B-4E3D-B469-12BEB76B38F1}"/>
              </a:ext>
            </a:extLst>
          </p:cNvPr>
          <p:cNvSpPr/>
          <p:nvPr/>
        </p:nvSpPr>
        <p:spPr>
          <a:xfrm>
            <a:off x="8840497" y="1872794"/>
            <a:ext cx="54804" cy="54804"/>
          </a:xfrm>
          <a:prstGeom prst="ellipse">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cxnSp>
        <p:nvCxnSpPr>
          <p:cNvPr id="51" name="Connector: Elbow 108">
            <a:extLst>
              <a:ext uri="{FF2B5EF4-FFF2-40B4-BE49-F238E27FC236}">
                <a16:creationId xmlns:a16="http://schemas.microsoft.com/office/drawing/2014/main" id="{4EDE2469-7C33-40DB-8E01-0E8C377C884B}"/>
              </a:ext>
            </a:extLst>
          </p:cNvPr>
          <p:cNvCxnSpPr>
            <a:cxnSpLocks/>
            <a:stCxn id="3" idx="3"/>
            <a:endCxn id="41" idx="6"/>
          </p:cNvCxnSpPr>
          <p:nvPr/>
        </p:nvCxnSpPr>
        <p:spPr>
          <a:xfrm flipH="1">
            <a:off x="3192489" y="4777525"/>
            <a:ext cx="2044106" cy="391527"/>
          </a:xfrm>
          <a:prstGeom prst="bentConnector5">
            <a:avLst>
              <a:gd name="adj1" fmla="val 29201"/>
              <a:gd name="adj2" fmla="val -123"/>
              <a:gd name="adj3" fmla="val 56389"/>
            </a:avLst>
          </a:prstGeom>
          <a:noFill/>
          <a:ln w="12700">
            <a:solidFill>
              <a:schemeClr val="accent1">
                <a:lumMod val="20000"/>
                <a:lumOff val="80000"/>
              </a:schemeClr>
            </a:solidFill>
          </a:ln>
        </p:spPr>
      </p:cxnSp>
      <p:cxnSp>
        <p:nvCxnSpPr>
          <p:cNvPr id="52" name="Connector: Elbow 114">
            <a:extLst>
              <a:ext uri="{FF2B5EF4-FFF2-40B4-BE49-F238E27FC236}">
                <a16:creationId xmlns:a16="http://schemas.microsoft.com/office/drawing/2014/main" id="{6F747B15-56DF-44F8-925A-799C135E9C3B}"/>
              </a:ext>
            </a:extLst>
          </p:cNvPr>
          <p:cNvCxnSpPr>
            <a:cxnSpLocks/>
            <a:stCxn id="14" idx="3"/>
            <a:endCxn id="44" idx="6"/>
          </p:cNvCxnSpPr>
          <p:nvPr/>
        </p:nvCxnSpPr>
        <p:spPr>
          <a:xfrm flipH="1" flipV="1">
            <a:off x="5083970" y="4079434"/>
            <a:ext cx="1500144" cy="431569"/>
          </a:xfrm>
          <a:prstGeom prst="bentConnector3">
            <a:avLst>
              <a:gd name="adj1" fmla="val 673"/>
            </a:avLst>
          </a:prstGeom>
          <a:noFill/>
          <a:ln w="12700">
            <a:solidFill>
              <a:schemeClr val="accent1">
                <a:lumMod val="20000"/>
                <a:lumOff val="80000"/>
              </a:schemeClr>
            </a:solidFill>
          </a:ln>
          <a:extLst>
            <a:ext uri="{909E8E84-426E-40DD-AFC4-6F175D3DCCD1}">
              <a14:hiddenFill xmlns:a14="http://schemas.microsoft.com/office/drawing/2010/main">
                <a:solidFill>
                  <a:srgbClr val="FFFFFF"/>
                </a:solidFill>
              </a14:hiddenFill>
            </a:ext>
          </a:extLst>
        </p:spPr>
      </p:cxnSp>
      <p:cxnSp>
        <p:nvCxnSpPr>
          <p:cNvPr id="53" name="Connector: Elbow 117">
            <a:extLst>
              <a:ext uri="{FF2B5EF4-FFF2-40B4-BE49-F238E27FC236}">
                <a16:creationId xmlns:a16="http://schemas.microsoft.com/office/drawing/2014/main" id="{790F535F-EAD5-4189-9911-19FB83DBC77A}"/>
              </a:ext>
            </a:extLst>
          </p:cNvPr>
          <p:cNvCxnSpPr>
            <a:cxnSpLocks/>
            <a:stCxn id="22" idx="3"/>
            <a:endCxn id="47" idx="6"/>
          </p:cNvCxnSpPr>
          <p:nvPr/>
        </p:nvCxnSpPr>
        <p:spPr>
          <a:xfrm flipH="1" flipV="1">
            <a:off x="6975451" y="2989815"/>
            <a:ext cx="1170521" cy="1373949"/>
          </a:xfrm>
          <a:prstGeom prst="bentConnector3">
            <a:avLst>
              <a:gd name="adj1" fmla="val -1023"/>
            </a:avLst>
          </a:prstGeom>
          <a:noFill/>
          <a:ln w="12700">
            <a:solidFill>
              <a:schemeClr val="accent1">
                <a:lumMod val="20000"/>
                <a:lumOff val="80000"/>
              </a:schemeClr>
            </a:solidFill>
          </a:ln>
        </p:spPr>
      </p:cxnSp>
      <p:sp>
        <p:nvSpPr>
          <p:cNvPr id="62" name="TextBox 65">
            <a:extLst>
              <a:ext uri="{FF2B5EF4-FFF2-40B4-BE49-F238E27FC236}">
                <a16:creationId xmlns:a16="http://schemas.microsoft.com/office/drawing/2014/main" id="{6A3C5505-9D98-44A5-9F72-9DD25FD35C97}"/>
              </a:ext>
            </a:extLst>
          </p:cNvPr>
          <p:cNvSpPr txBox="1"/>
          <p:nvPr/>
        </p:nvSpPr>
        <p:spPr>
          <a:xfrm>
            <a:off x="824443" y="4699216"/>
            <a:ext cx="2056261" cy="387598"/>
          </a:xfrm>
          <a:prstGeom prst="rect">
            <a:avLst/>
          </a:prstGeom>
          <a:noFill/>
        </p:spPr>
        <p:txBody>
          <a:bodyPr wrap="square" lIns="0" tIns="36000" rIns="0" bIns="36000" rtlCol="0">
            <a:spAutoFit/>
          </a:bodyPr>
          <a:lstStyle/>
          <a:p>
            <a:pPr marL="0" marR="0" lvl="0" indent="0" algn="r" defTabSz="914400" rtl="0" eaLnBrk="1" fontAlgn="auto" latinLnBrk="0" hangingPunct="1">
              <a:lnSpc>
                <a:spcPct val="120000"/>
              </a:lnSpc>
              <a:spcBef>
                <a:spcPts val="600"/>
              </a:spcBef>
              <a:spcAft>
                <a:spcPts val="0"/>
              </a:spcAft>
              <a:buClrTx/>
              <a:buSzTx/>
              <a:buFontTx/>
              <a:buNone/>
              <a:tabLst/>
              <a:defRPr/>
            </a:pPr>
            <a:r>
              <a:rPr kumimoji="0" lang="zh-CN" altLang="en-US" sz="1800" b="0" i="0" u="none" strike="noStrike" kern="1200" cap="none" spc="0" normalizeH="0" baseline="0" noProof="0" dirty="0">
                <a:ln>
                  <a:noFill/>
                </a:ln>
                <a:solidFill>
                  <a:prstClr val="black">
                    <a:lumMod val="75000"/>
                    <a:lumOff val="25000"/>
                  </a:prstClr>
                </a:solidFill>
                <a:effectLst/>
                <a:uLnTx/>
                <a:uFillTx/>
                <a:latin typeface="HarmonyOS Sans SC Black"/>
                <a:ea typeface="+mj-ea"/>
                <a:cs typeface="+mn-cs"/>
              </a:rPr>
              <a:t>关键词标题</a:t>
            </a:r>
            <a:endParaRPr kumimoji="0" lang="en-US" sz="1800" b="0" i="0" u="none" strike="noStrike" kern="1200" cap="none" spc="0" normalizeH="0" baseline="0" noProof="0" dirty="0">
              <a:ln>
                <a:noFill/>
              </a:ln>
              <a:solidFill>
                <a:prstClr val="black">
                  <a:lumMod val="75000"/>
                  <a:lumOff val="25000"/>
                </a:prstClr>
              </a:solidFill>
              <a:effectLst/>
              <a:uLnTx/>
              <a:uFillTx/>
              <a:latin typeface="HarmonyOS Sans SC Black"/>
              <a:ea typeface="+mj-ea"/>
              <a:cs typeface="+mn-cs"/>
            </a:endParaRPr>
          </a:p>
        </p:txBody>
      </p:sp>
      <p:sp>
        <p:nvSpPr>
          <p:cNvPr id="63" name="TextBox 65">
            <a:extLst>
              <a:ext uri="{FF2B5EF4-FFF2-40B4-BE49-F238E27FC236}">
                <a16:creationId xmlns:a16="http://schemas.microsoft.com/office/drawing/2014/main" id="{5DA3A6F5-20C5-4B8E-A38A-32138E231EF4}"/>
              </a:ext>
            </a:extLst>
          </p:cNvPr>
          <p:cNvSpPr txBox="1"/>
          <p:nvPr/>
        </p:nvSpPr>
        <p:spPr>
          <a:xfrm>
            <a:off x="21534" y="5082615"/>
            <a:ext cx="2859171" cy="498204"/>
          </a:xfrm>
          <a:prstGeom prst="rect">
            <a:avLst/>
          </a:prstGeom>
          <a:noFill/>
        </p:spPr>
        <p:txBody>
          <a:bodyPr wrap="square" lIns="0" tIns="36000" rIns="0" bIns="36000" rtlCol="0">
            <a:spAutoFit/>
          </a:bodyPr>
          <a:lstStyle/>
          <a:p>
            <a:pPr marL="0" marR="0" lvl="0" indent="0" algn="r" defTabSz="914400" rtl="0" eaLnBrk="1" fontAlgn="auto" latinLnBrk="0" hangingPunct="1">
              <a:lnSpc>
                <a:spcPct val="120000"/>
              </a:lnSpc>
              <a:spcBef>
                <a:spcPts val="600"/>
              </a:spcBef>
              <a:spcAft>
                <a:spcPts val="0"/>
              </a:spcAft>
              <a:buClrTx/>
              <a:buSzTx/>
              <a:buFontTx/>
              <a:buNone/>
              <a:tabLst/>
              <a:defRPr/>
            </a:pPr>
            <a:r>
              <a:rPr kumimoji="0" lang="en-US" sz="1200" b="0" i="0" u="none" strike="noStrike" kern="1200" cap="none" spc="0" normalizeH="0" baseline="0" noProof="0" dirty="0">
                <a:ln>
                  <a:noFill/>
                </a:ln>
                <a:solidFill>
                  <a:prstClr val="black">
                    <a:lumMod val="50000"/>
                    <a:lumOff val="50000"/>
                  </a:prstClr>
                </a:solidFill>
                <a:effectLst/>
                <a:uLnTx/>
                <a:uFillTx/>
                <a:latin typeface="HarmonyOS Sans SC"/>
                <a:cs typeface="+mn-cs"/>
              </a:rPr>
              <a:t>Apparently we had reached a great height in the.</a:t>
            </a:r>
          </a:p>
        </p:txBody>
      </p:sp>
      <p:sp>
        <p:nvSpPr>
          <p:cNvPr id="64" name="TextBox 65">
            <a:extLst>
              <a:ext uri="{FF2B5EF4-FFF2-40B4-BE49-F238E27FC236}">
                <a16:creationId xmlns:a16="http://schemas.microsoft.com/office/drawing/2014/main" id="{B2F18DCC-88ED-40A9-A528-CE04602EDF54}"/>
              </a:ext>
            </a:extLst>
          </p:cNvPr>
          <p:cNvSpPr txBox="1"/>
          <p:nvPr/>
        </p:nvSpPr>
        <p:spPr>
          <a:xfrm>
            <a:off x="2760319" y="3643340"/>
            <a:ext cx="2056261" cy="387598"/>
          </a:xfrm>
          <a:prstGeom prst="rect">
            <a:avLst/>
          </a:prstGeom>
          <a:noFill/>
        </p:spPr>
        <p:txBody>
          <a:bodyPr wrap="square" lIns="0" tIns="36000" rIns="0" bIns="36000" rtlCol="0">
            <a:spAutoFit/>
          </a:bodyPr>
          <a:lstStyle/>
          <a:p>
            <a:pPr marL="0" marR="0" lvl="0" indent="0" algn="r" defTabSz="914400" rtl="0" eaLnBrk="1" fontAlgn="auto" latinLnBrk="0" hangingPunct="1">
              <a:lnSpc>
                <a:spcPct val="120000"/>
              </a:lnSpc>
              <a:spcBef>
                <a:spcPts val="600"/>
              </a:spcBef>
              <a:spcAft>
                <a:spcPts val="0"/>
              </a:spcAft>
              <a:buClrTx/>
              <a:buSzTx/>
              <a:buFontTx/>
              <a:buNone/>
              <a:tabLst/>
              <a:defRPr/>
            </a:pPr>
            <a:r>
              <a:rPr kumimoji="0" lang="zh-CN" altLang="en-US" sz="1800" b="0" i="0" u="none" strike="noStrike" kern="1200" cap="none" spc="0" normalizeH="0" baseline="0" noProof="0" dirty="0">
                <a:ln>
                  <a:noFill/>
                </a:ln>
                <a:solidFill>
                  <a:prstClr val="black">
                    <a:lumMod val="75000"/>
                    <a:lumOff val="25000"/>
                  </a:prstClr>
                </a:solidFill>
                <a:effectLst/>
                <a:uLnTx/>
                <a:uFillTx/>
                <a:latin typeface="HarmonyOS Sans SC Black"/>
                <a:ea typeface="+mj-ea"/>
                <a:cs typeface="+mn-cs"/>
              </a:rPr>
              <a:t>关键词标题</a:t>
            </a:r>
            <a:endParaRPr kumimoji="0" lang="en-US" sz="1800" b="0" i="0" u="none" strike="noStrike" kern="1200" cap="none" spc="0" normalizeH="0" baseline="0" noProof="0" dirty="0">
              <a:ln>
                <a:noFill/>
              </a:ln>
              <a:solidFill>
                <a:prstClr val="black">
                  <a:lumMod val="75000"/>
                  <a:lumOff val="25000"/>
                </a:prstClr>
              </a:solidFill>
              <a:effectLst/>
              <a:uLnTx/>
              <a:uFillTx/>
              <a:latin typeface="HarmonyOS Sans SC Black"/>
              <a:ea typeface="+mj-ea"/>
              <a:cs typeface="+mn-cs"/>
            </a:endParaRPr>
          </a:p>
        </p:txBody>
      </p:sp>
      <p:sp>
        <p:nvSpPr>
          <p:cNvPr id="65" name="TextBox 65">
            <a:extLst>
              <a:ext uri="{FF2B5EF4-FFF2-40B4-BE49-F238E27FC236}">
                <a16:creationId xmlns:a16="http://schemas.microsoft.com/office/drawing/2014/main" id="{C7F3714A-13BA-4828-8CDD-BB195D52618C}"/>
              </a:ext>
            </a:extLst>
          </p:cNvPr>
          <p:cNvSpPr txBox="1"/>
          <p:nvPr/>
        </p:nvSpPr>
        <p:spPr>
          <a:xfrm>
            <a:off x="1957410" y="4026739"/>
            <a:ext cx="2859171" cy="498204"/>
          </a:xfrm>
          <a:prstGeom prst="rect">
            <a:avLst/>
          </a:prstGeom>
          <a:noFill/>
        </p:spPr>
        <p:txBody>
          <a:bodyPr wrap="square" lIns="0" tIns="36000" rIns="0" bIns="36000" rtlCol="0">
            <a:spAutoFit/>
          </a:bodyPr>
          <a:lstStyle/>
          <a:p>
            <a:pPr marL="0" marR="0" lvl="0" indent="0" algn="r" defTabSz="914400" rtl="0" eaLnBrk="1" fontAlgn="auto" latinLnBrk="0" hangingPunct="1">
              <a:lnSpc>
                <a:spcPct val="120000"/>
              </a:lnSpc>
              <a:spcBef>
                <a:spcPts val="600"/>
              </a:spcBef>
              <a:spcAft>
                <a:spcPts val="0"/>
              </a:spcAft>
              <a:buClrTx/>
              <a:buSzTx/>
              <a:buFontTx/>
              <a:buNone/>
              <a:tabLst/>
              <a:defRPr/>
            </a:pPr>
            <a:r>
              <a:rPr kumimoji="0" lang="en-US" sz="1200" b="0" i="0" u="none" strike="noStrike" kern="1200" cap="none" spc="0" normalizeH="0" baseline="0" noProof="0" dirty="0">
                <a:ln>
                  <a:noFill/>
                </a:ln>
                <a:solidFill>
                  <a:prstClr val="black">
                    <a:lumMod val="50000"/>
                    <a:lumOff val="50000"/>
                  </a:prstClr>
                </a:solidFill>
                <a:effectLst/>
                <a:uLnTx/>
                <a:uFillTx/>
                <a:latin typeface="HarmonyOS Sans SC"/>
                <a:cs typeface="+mn-cs"/>
              </a:rPr>
              <a:t>Apparently we had reached a great height in the.</a:t>
            </a:r>
          </a:p>
        </p:txBody>
      </p:sp>
      <p:sp>
        <p:nvSpPr>
          <p:cNvPr id="66" name="TextBox 65">
            <a:extLst>
              <a:ext uri="{FF2B5EF4-FFF2-40B4-BE49-F238E27FC236}">
                <a16:creationId xmlns:a16="http://schemas.microsoft.com/office/drawing/2014/main" id="{4237AB7A-DF91-44A7-8F3C-D90809DC203F}"/>
              </a:ext>
            </a:extLst>
          </p:cNvPr>
          <p:cNvSpPr txBox="1"/>
          <p:nvPr/>
        </p:nvSpPr>
        <p:spPr>
          <a:xfrm>
            <a:off x="4696195" y="2587464"/>
            <a:ext cx="2056261" cy="387598"/>
          </a:xfrm>
          <a:prstGeom prst="rect">
            <a:avLst/>
          </a:prstGeom>
          <a:noFill/>
        </p:spPr>
        <p:txBody>
          <a:bodyPr wrap="square" lIns="0" tIns="36000" rIns="0" bIns="36000" rtlCol="0">
            <a:spAutoFit/>
          </a:bodyPr>
          <a:lstStyle/>
          <a:p>
            <a:pPr marL="0" marR="0" lvl="0" indent="0" algn="r" defTabSz="914400" rtl="0" eaLnBrk="1" fontAlgn="auto" latinLnBrk="0" hangingPunct="1">
              <a:lnSpc>
                <a:spcPct val="120000"/>
              </a:lnSpc>
              <a:spcBef>
                <a:spcPts val="600"/>
              </a:spcBef>
              <a:spcAft>
                <a:spcPts val="0"/>
              </a:spcAft>
              <a:buClrTx/>
              <a:buSzTx/>
              <a:buFontTx/>
              <a:buNone/>
              <a:tabLst/>
              <a:defRPr/>
            </a:pPr>
            <a:r>
              <a:rPr kumimoji="0" lang="zh-CN" altLang="en-US" sz="1800" b="0" i="0" u="none" strike="noStrike" kern="1200" cap="none" spc="0" normalizeH="0" baseline="0" noProof="0" dirty="0">
                <a:ln>
                  <a:noFill/>
                </a:ln>
                <a:solidFill>
                  <a:prstClr val="black">
                    <a:lumMod val="75000"/>
                    <a:lumOff val="25000"/>
                  </a:prstClr>
                </a:solidFill>
                <a:effectLst/>
                <a:uLnTx/>
                <a:uFillTx/>
                <a:latin typeface="HarmonyOS Sans SC Black"/>
                <a:ea typeface="+mj-ea"/>
                <a:cs typeface="+mn-cs"/>
              </a:rPr>
              <a:t>关键词标题</a:t>
            </a:r>
            <a:endParaRPr kumimoji="0" lang="en-US" sz="1800" b="0" i="0" u="none" strike="noStrike" kern="1200" cap="none" spc="0" normalizeH="0" baseline="0" noProof="0" dirty="0">
              <a:ln>
                <a:noFill/>
              </a:ln>
              <a:solidFill>
                <a:prstClr val="black">
                  <a:lumMod val="75000"/>
                  <a:lumOff val="25000"/>
                </a:prstClr>
              </a:solidFill>
              <a:effectLst/>
              <a:uLnTx/>
              <a:uFillTx/>
              <a:latin typeface="HarmonyOS Sans SC Black"/>
              <a:ea typeface="+mj-ea"/>
              <a:cs typeface="+mn-cs"/>
            </a:endParaRPr>
          </a:p>
        </p:txBody>
      </p:sp>
      <p:sp>
        <p:nvSpPr>
          <p:cNvPr id="67" name="TextBox 65">
            <a:extLst>
              <a:ext uri="{FF2B5EF4-FFF2-40B4-BE49-F238E27FC236}">
                <a16:creationId xmlns:a16="http://schemas.microsoft.com/office/drawing/2014/main" id="{07D8FA38-560C-42F6-B3AF-4723AEB77768}"/>
              </a:ext>
            </a:extLst>
          </p:cNvPr>
          <p:cNvSpPr txBox="1"/>
          <p:nvPr/>
        </p:nvSpPr>
        <p:spPr>
          <a:xfrm>
            <a:off x="3893286" y="2970863"/>
            <a:ext cx="2859171" cy="498204"/>
          </a:xfrm>
          <a:prstGeom prst="rect">
            <a:avLst/>
          </a:prstGeom>
          <a:noFill/>
        </p:spPr>
        <p:txBody>
          <a:bodyPr wrap="square" lIns="0" tIns="36000" rIns="0" bIns="36000" rtlCol="0">
            <a:spAutoFit/>
          </a:bodyPr>
          <a:lstStyle/>
          <a:p>
            <a:pPr marL="0" marR="0" lvl="0" indent="0" algn="r" defTabSz="914400" rtl="0" eaLnBrk="1" fontAlgn="auto" latinLnBrk="0" hangingPunct="1">
              <a:lnSpc>
                <a:spcPct val="120000"/>
              </a:lnSpc>
              <a:spcBef>
                <a:spcPts val="600"/>
              </a:spcBef>
              <a:spcAft>
                <a:spcPts val="0"/>
              </a:spcAft>
              <a:buClrTx/>
              <a:buSzTx/>
              <a:buFontTx/>
              <a:buNone/>
              <a:tabLst/>
              <a:defRPr/>
            </a:pPr>
            <a:r>
              <a:rPr kumimoji="0" lang="en-US" sz="1200" b="0" i="0" u="none" strike="noStrike" kern="1200" cap="none" spc="0" normalizeH="0" baseline="0" noProof="0" dirty="0">
                <a:ln>
                  <a:noFill/>
                </a:ln>
                <a:solidFill>
                  <a:prstClr val="black">
                    <a:lumMod val="50000"/>
                    <a:lumOff val="50000"/>
                  </a:prstClr>
                </a:solidFill>
                <a:effectLst/>
                <a:uLnTx/>
                <a:uFillTx/>
                <a:latin typeface="HarmonyOS Sans SC"/>
                <a:cs typeface="+mn-cs"/>
              </a:rPr>
              <a:t>Apparently we had reached a great height in the.</a:t>
            </a:r>
          </a:p>
        </p:txBody>
      </p:sp>
      <p:sp>
        <p:nvSpPr>
          <p:cNvPr id="68" name="TextBox 65">
            <a:extLst>
              <a:ext uri="{FF2B5EF4-FFF2-40B4-BE49-F238E27FC236}">
                <a16:creationId xmlns:a16="http://schemas.microsoft.com/office/drawing/2014/main" id="{98CC27C0-733C-4B81-A99D-F8CB33665D55}"/>
              </a:ext>
            </a:extLst>
          </p:cNvPr>
          <p:cNvSpPr txBox="1"/>
          <p:nvPr/>
        </p:nvSpPr>
        <p:spPr>
          <a:xfrm>
            <a:off x="6632071" y="1531588"/>
            <a:ext cx="2056261" cy="387598"/>
          </a:xfrm>
          <a:prstGeom prst="rect">
            <a:avLst/>
          </a:prstGeom>
          <a:noFill/>
        </p:spPr>
        <p:txBody>
          <a:bodyPr wrap="square" lIns="0" tIns="36000" rIns="0" bIns="36000" rtlCol="0">
            <a:spAutoFit/>
          </a:bodyPr>
          <a:lstStyle/>
          <a:p>
            <a:pPr marL="0" marR="0" lvl="0" indent="0" algn="r" defTabSz="914400" rtl="0" eaLnBrk="1" fontAlgn="auto" latinLnBrk="0" hangingPunct="1">
              <a:lnSpc>
                <a:spcPct val="120000"/>
              </a:lnSpc>
              <a:spcBef>
                <a:spcPts val="600"/>
              </a:spcBef>
              <a:spcAft>
                <a:spcPts val="0"/>
              </a:spcAft>
              <a:buClrTx/>
              <a:buSzTx/>
              <a:buFontTx/>
              <a:buNone/>
              <a:tabLst/>
              <a:defRPr/>
            </a:pPr>
            <a:r>
              <a:rPr kumimoji="0" lang="zh-CN" altLang="en-US" sz="1800" b="0" i="0" u="none" strike="noStrike" kern="1200" cap="none" spc="0" normalizeH="0" baseline="0" noProof="0" dirty="0">
                <a:ln>
                  <a:noFill/>
                </a:ln>
                <a:solidFill>
                  <a:prstClr val="black">
                    <a:lumMod val="75000"/>
                    <a:lumOff val="25000"/>
                  </a:prstClr>
                </a:solidFill>
                <a:effectLst/>
                <a:uLnTx/>
                <a:uFillTx/>
                <a:latin typeface="HarmonyOS Sans SC Black"/>
                <a:ea typeface="+mj-ea"/>
                <a:cs typeface="+mn-cs"/>
              </a:rPr>
              <a:t>关键词标题</a:t>
            </a:r>
            <a:endParaRPr kumimoji="0" lang="en-US" sz="1800" b="0" i="0" u="none" strike="noStrike" kern="1200" cap="none" spc="0" normalizeH="0" baseline="0" noProof="0" dirty="0">
              <a:ln>
                <a:noFill/>
              </a:ln>
              <a:solidFill>
                <a:prstClr val="black">
                  <a:lumMod val="75000"/>
                  <a:lumOff val="25000"/>
                </a:prstClr>
              </a:solidFill>
              <a:effectLst/>
              <a:uLnTx/>
              <a:uFillTx/>
              <a:latin typeface="HarmonyOS Sans SC Black"/>
              <a:ea typeface="+mj-ea"/>
              <a:cs typeface="+mn-cs"/>
            </a:endParaRPr>
          </a:p>
        </p:txBody>
      </p:sp>
      <p:sp>
        <p:nvSpPr>
          <p:cNvPr id="69" name="TextBox 65">
            <a:extLst>
              <a:ext uri="{FF2B5EF4-FFF2-40B4-BE49-F238E27FC236}">
                <a16:creationId xmlns:a16="http://schemas.microsoft.com/office/drawing/2014/main" id="{A4A3D56E-A0B8-4CCC-83EA-7AF9F18CCF4D}"/>
              </a:ext>
            </a:extLst>
          </p:cNvPr>
          <p:cNvSpPr txBox="1"/>
          <p:nvPr/>
        </p:nvSpPr>
        <p:spPr>
          <a:xfrm>
            <a:off x="5829162" y="1914987"/>
            <a:ext cx="2859171" cy="498204"/>
          </a:xfrm>
          <a:prstGeom prst="rect">
            <a:avLst/>
          </a:prstGeom>
          <a:noFill/>
        </p:spPr>
        <p:txBody>
          <a:bodyPr wrap="square" lIns="0" tIns="36000" rIns="0" bIns="36000" rtlCol="0">
            <a:spAutoFit/>
          </a:bodyPr>
          <a:lstStyle/>
          <a:p>
            <a:pPr marL="0" marR="0" lvl="0" indent="0" algn="r" defTabSz="914400" rtl="0" eaLnBrk="1" fontAlgn="auto" latinLnBrk="0" hangingPunct="1">
              <a:lnSpc>
                <a:spcPct val="120000"/>
              </a:lnSpc>
              <a:spcBef>
                <a:spcPts val="600"/>
              </a:spcBef>
              <a:spcAft>
                <a:spcPts val="0"/>
              </a:spcAft>
              <a:buClrTx/>
              <a:buSzTx/>
              <a:buFontTx/>
              <a:buNone/>
              <a:tabLst/>
              <a:defRPr/>
            </a:pPr>
            <a:r>
              <a:rPr kumimoji="0" lang="en-US" sz="1200" b="0" i="0" u="none" strike="noStrike" kern="1200" cap="none" spc="0" normalizeH="0" baseline="0" noProof="0" dirty="0">
                <a:ln>
                  <a:noFill/>
                </a:ln>
                <a:solidFill>
                  <a:prstClr val="black">
                    <a:lumMod val="50000"/>
                    <a:lumOff val="50000"/>
                  </a:prstClr>
                </a:solidFill>
                <a:effectLst/>
                <a:uLnTx/>
                <a:uFillTx/>
                <a:latin typeface="HarmonyOS Sans SC"/>
                <a:cs typeface="+mn-cs"/>
              </a:rPr>
              <a:t>Apparently we had reached a great height in the.</a:t>
            </a:r>
          </a:p>
        </p:txBody>
      </p:sp>
      <p:sp>
        <p:nvSpPr>
          <p:cNvPr id="23" name="Freeform 23">
            <a:extLst>
              <a:ext uri="{FF2B5EF4-FFF2-40B4-BE49-F238E27FC236}">
                <a16:creationId xmlns:a16="http://schemas.microsoft.com/office/drawing/2014/main" id="{3C2FFC12-E636-4B41-A1FD-C2A562BDD853}"/>
              </a:ext>
            </a:extLst>
          </p:cNvPr>
          <p:cNvSpPr>
            <a:spLocks/>
          </p:cNvSpPr>
          <p:nvPr/>
        </p:nvSpPr>
        <p:spPr bwMode="auto">
          <a:xfrm>
            <a:off x="6511428" y="5043530"/>
            <a:ext cx="1610314" cy="900210"/>
          </a:xfrm>
          <a:custGeom>
            <a:avLst/>
            <a:gdLst>
              <a:gd name="T0" fmla="*/ 864 w 864"/>
              <a:gd name="T1" fmla="*/ 483 h 483"/>
              <a:gd name="T2" fmla="*/ 0 w 864"/>
              <a:gd name="T3" fmla="*/ 104 h 483"/>
              <a:gd name="T4" fmla="*/ 0 w 864"/>
              <a:gd name="T5" fmla="*/ 0 h 483"/>
              <a:gd name="T6" fmla="*/ 864 w 864"/>
              <a:gd name="T7" fmla="*/ 378 h 483"/>
              <a:gd name="T8" fmla="*/ 864 w 864"/>
              <a:gd name="T9" fmla="*/ 483 h 483"/>
            </a:gdLst>
            <a:ahLst/>
            <a:cxnLst>
              <a:cxn ang="0">
                <a:pos x="T0" y="T1"/>
              </a:cxn>
              <a:cxn ang="0">
                <a:pos x="T2" y="T3"/>
              </a:cxn>
              <a:cxn ang="0">
                <a:pos x="T4" y="T5"/>
              </a:cxn>
              <a:cxn ang="0">
                <a:pos x="T6" y="T7"/>
              </a:cxn>
              <a:cxn ang="0">
                <a:pos x="T8" y="T9"/>
              </a:cxn>
            </a:cxnLst>
            <a:rect l="0" t="0" r="r" b="b"/>
            <a:pathLst>
              <a:path w="864" h="483">
                <a:moveTo>
                  <a:pt x="864" y="483"/>
                </a:moveTo>
                <a:lnTo>
                  <a:pt x="0" y="104"/>
                </a:lnTo>
                <a:lnTo>
                  <a:pt x="0" y="0"/>
                </a:lnTo>
                <a:lnTo>
                  <a:pt x="864" y="378"/>
                </a:lnTo>
                <a:lnTo>
                  <a:pt x="864" y="483"/>
                </a:lnTo>
                <a:close/>
              </a:path>
            </a:pathLst>
          </a:custGeom>
          <a:gradFill flip="none" rotWithShape="1">
            <a:gsLst>
              <a:gs pos="100000">
                <a:schemeClr val="accent1"/>
              </a:gs>
              <a:gs pos="31000">
                <a:schemeClr val="accent1">
                  <a:lumMod val="60000"/>
                  <a:lumOff val="40000"/>
                </a:schemeClr>
              </a:gs>
              <a:gs pos="0">
                <a:schemeClr val="accent1">
                  <a:lumMod val="40000"/>
                  <a:lumOff val="60000"/>
                </a:schemeClr>
              </a:gs>
            </a:gsLst>
            <a:lin ang="540000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sp>
        <p:nvSpPr>
          <p:cNvPr id="31" name="Freeform 29">
            <a:extLst>
              <a:ext uri="{FF2B5EF4-FFF2-40B4-BE49-F238E27FC236}">
                <a16:creationId xmlns:a16="http://schemas.microsoft.com/office/drawing/2014/main" id="{699BF112-F55E-4922-953D-E0D84312A43E}"/>
              </a:ext>
            </a:extLst>
          </p:cNvPr>
          <p:cNvSpPr>
            <a:spLocks/>
          </p:cNvSpPr>
          <p:nvPr/>
        </p:nvSpPr>
        <p:spPr bwMode="auto">
          <a:xfrm>
            <a:off x="8050918" y="4874442"/>
            <a:ext cx="1634543" cy="900210"/>
          </a:xfrm>
          <a:custGeom>
            <a:avLst/>
            <a:gdLst>
              <a:gd name="T0" fmla="*/ 877 w 877"/>
              <a:gd name="T1" fmla="*/ 483 h 483"/>
              <a:gd name="T2" fmla="*/ 0 w 877"/>
              <a:gd name="T3" fmla="*/ 105 h 483"/>
              <a:gd name="T4" fmla="*/ 0 w 877"/>
              <a:gd name="T5" fmla="*/ 0 h 483"/>
              <a:gd name="T6" fmla="*/ 877 w 877"/>
              <a:gd name="T7" fmla="*/ 379 h 483"/>
              <a:gd name="T8" fmla="*/ 877 w 877"/>
              <a:gd name="T9" fmla="*/ 483 h 483"/>
            </a:gdLst>
            <a:ahLst/>
            <a:cxnLst>
              <a:cxn ang="0">
                <a:pos x="T0" y="T1"/>
              </a:cxn>
              <a:cxn ang="0">
                <a:pos x="T2" y="T3"/>
              </a:cxn>
              <a:cxn ang="0">
                <a:pos x="T4" y="T5"/>
              </a:cxn>
              <a:cxn ang="0">
                <a:pos x="T6" y="T7"/>
              </a:cxn>
              <a:cxn ang="0">
                <a:pos x="T8" y="T9"/>
              </a:cxn>
            </a:cxnLst>
            <a:rect l="0" t="0" r="r" b="b"/>
            <a:pathLst>
              <a:path w="877" h="483">
                <a:moveTo>
                  <a:pt x="877" y="483"/>
                </a:moveTo>
                <a:lnTo>
                  <a:pt x="0" y="105"/>
                </a:lnTo>
                <a:lnTo>
                  <a:pt x="0" y="0"/>
                </a:lnTo>
                <a:lnTo>
                  <a:pt x="877" y="379"/>
                </a:lnTo>
                <a:lnTo>
                  <a:pt x="877" y="483"/>
                </a:lnTo>
                <a:close/>
              </a:path>
            </a:pathLst>
          </a:custGeom>
          <a:gradFill flip="none" rotWithShape="1">
            <a:gsLst>
              <a:gs pos="100000">
                <a:schemeClr val="accent1"/>
              </a:gs>
              <a:gs pos="31000">
                <a:schemeClr val="accent1">
                  <a:lumMod val="60000"/>
                  <a:lumOff val="40000"/>
                </a:schemeClr>
              </a:gs>
              <a:gs pos="0">
                <a:schemeClr val="accent1">
                  <a:lumMod val="40000"/>
                  <a:lumOff val="60000"/>
                </a:schemeClr>
              </a:gs>
            </a:gsLst>
            <a:lin ang="540000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spTree>
    <p:extLst>
      <p:ext uri="{BB962C8B-B14F-4D97-AF65-F5344CB8AC3E}">
        <p14:creationId xmlns:p14="http://schemas.microsoft.com/office/powerpoint/2010/main" val="1131283004"/>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5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extBox 17">
            <a:extLst>
              <a:ext uri="{FF2B5EF4-FFF2-40B4-BE49-F238E27FC236}">
                <a16:creationId xmlns:a16="http://schemas.microsoft.com/office/drawing/2014/main" id="{6C2B7220-79C4-4A3E-89C3-FED1043A79AE}"/>
              </a:ext>
            </a:extLst>
          </p:cNvPr>
          <p:cNvSpPr txBox="1"/>
          <p:nvPr/>
        </p:nvSpPr>
        <p:spPr>
          <a:xfrm>
            <a:off x="8084470" y="4768511"/>
            <a:ext cx="1938635" cy="831510"/>
          </a:xfrm>
          <a:prstGeom prst="rect">
            <a:avLst/>
          </a:prstGeom>
          <a:noFill/>
        </p:spPr>
        <p:txBody>
          <a:bodyPr wrap="square" lIns="0" tIns="0" rIns="0" bIns="0" rtlCol="0">
            <a:spAutoFit/>
          </a:bodyPr>
          <a:lstStyle/>
          <a:p>
            <a:pPr marL="0" marR="0" lvl="0" indent="0" algn="l" defTabSz="457200" rtl="0" eaLnBrk="1" fontAlgn="base" latinLnBrk="0" hangingPunct="1">
              <a:lnSpc>
                <a:spcPct val="130000"/>
              </a:lnSpc>
              <a:spcBef>
                <a:spcPts val="1000"/>
              </a:spcBef>
              <a:spcAft>
                <a:spcPts val="0"/>
              </a:spcAft>
              <a:buClrTx/>
              <a:buSzTx/>
              <a:buFontTx/>
              <a:buNone/>
              <a:tabLst/>
              <a:defRPr/>
            </a:pPr>
            <a:r>
              <a:rPr kumimoji="0" lang="zh-CN" altLang="en-US" sz="1600" b="1" i="0" u="none" strike="noStrike" kern="1200" cap="none" spc="0" normalizeH="0" baseline="0" noProof="0" dirty="0">
                <a:ln>
                  <a:noFill/>
                </a:ln>
                <a:solidFill>
                  <a:prstClr val="white"/>
                </a:solidFill>
                <a:effectLst/>
                <a:uLnTx/>
                <a:uFillTx/>
                <a:latin typeface="Open Sans"/>
                <a:ea typeface="+mn-ea"/>
                <a:cs typeface="+mn-cs"/>
              </a:rPr>
              <a:t>关键词标题</a:t>
            </a:r>
            <a:endParaRPr kumimoji="0" lang="en-US" sz="1600" b="1" i="0" u="none" strike="noStrike" kern="1200" cap="none" spc="0" normalizeH="0" baseline="0" noProof="0" dirty="0">
              <a:ln>
                <a:noFill/>
              </a:ln>
              <a:solidFill>
                <a:prstClr val="white"/>
              </a:solidFill>
              <a:effectLst/>
              <a:uLnTx/>
              <a:uFillTx/>
              <a:latin typeface="Open Sans"/>
              <a:ea typeface="+mn-ea"/>
              <a:cs typeface="+mn-cs"/>
            </a:endParaRPr>
          </a:p>
          <a:p>
            <a:pPr marL="0" marR="0" lvl="0" indent="0" algn="l" defTabSz="457200" rtl="0" eaLnBrk="1" fontAlgn="base" latinLnBrk="0" hangingPunct="1">
              <a:lnSpc>
                <a:spcPct val="130000"/>
              </a:lnSpc>
              <a:spcBef>
                <a:spcPts val="1000"/>
              </a:spcBef>
              <a:spcAft>
                <a:spcPts val="0"/>
              </a:spcAft>
              <a:buClrTx/>
              <a:buSzTx/>
              <a:buFontTx/>
              <a:buNone/>
              <a:tabLst/>
              <a:defRPr/>
            </a:pPr>
            <a:r>
              <a:rPr kumimoji="0" lang="en-US" sz="1000" b="0" i="0" u="none" strike="noStrike" kern="1200" cap="none" spc="0" normalizeH="0" baseline="0" noProof="0" dirty="0">
                <a:ln>
                  <a:noFill/>
                </a:ln>
                <a:solidFill>
                  <a:prstClr val="white">
                    <a:alpha val="70000"/>
                  </a:prstClr>
                </a:solidFill>
                <a:effectLst/>
                <a:uLnTx/>
                <a:uFillTx/>
                <a:latin typeface="Open Sans"/>
                <a:ea typeface="+mn-ea"/>
                <a:cs typeface="+mn-cs"/>
              </a:rPr>
              <a:t>Apparently we had reached a great height in the atmosphere..</a:t>
            </a:r>
          </a:p>
        </p:txBody>
      </p:sp>
      <p:sp>
        <p:nvSpPr>
          <p:cNvPr id="3" name="Freeform 5">
            <a:extLst>
              <a:ext uri="{FF2B5EF4-FFF2-40B4-BE49-F238E27FC236}">
                <a16:creationId xmlns:a16="http://schemas.microsoft.com/office/drawing/2014/main" id="{4CEF5D47-2F2C-4CC7-87CB-020CE7793E72}"/>
              </a:ext>
            </a:extLst>
          </p:cNvPr>
          <p:cNvSpPr>
            <a:spLocks/>
          </p:cNvSpPr>
          <p:nvPr/>
        </p:nvSpPr>
        <p:spPr bwMode="auto">
          <a:xfrm>
            <a:off x="4305300" y="1871150"/>
            <a:ext cx="3549077" cy="1932922"/>
          </a:xfrm>
          <a:custGeom>
            <a:avLst/>
            <a:gdLst>
              <a:gd name="T0" fmla="*/ 0 w 460"/>
              <a:gd name="T1" fmla="*/ 251 h 251"/>
              <a:gd name="T2" fmla="*/ 441 w 460"/>
              <a:gd name="T3" fmla="*/ 122 h 251"/>
              <a:gd name="T4" fmla="*/ 460 w 460"/>
              <a:gd name="T5" fmla="*/ 99 h 251"/>
              <a:gd name="T6" fmla="*/ 460 w 460"/>
              <a:gd name="T7" fmla="*/ 0 h 251"/>
              <a:gd name="T8" fmla="*/ 21 w 460"/>
              <a:gd name="T9" fmla="*/ 142 h 251"/>
              <a:gd name="T10" fmla="*/ 0 w 460"/>
              <a:gd name="T11" fmla="*/ 160 h 251"/>
              <a:gd name="T12" fmla="*/ 0 w 460"/>
              <a:gd name="T13" fmla="*/ 251 h 251"/>
            </a:gdLst>
            <a:ahLst/>
            <a:cxnLst>
              <a:cxn ang="0">
                <a:pos x="T0" y="T1"/>
              </a:cxn>
              <a:cxn ang="0">
                <a:pos x="T2" y="T3"/>
              </a:cxn>
              <a:cxn ang="0">
                <a:pos x="T4" y="T5"/>
              </a:cxn>
              <a:cxn ang="0">
                <a:pos x="T6" y="T7"/>
              </a:cxn>
              <a:cxn ang="0">
                <a:pos x="T8" y="T9"/>
              </a:cxn>
              <a:cxn ang="0">
                <a:pos x="T10" y="T11"/>
              </a:cxn>
              <a:cxn ang="0">
                <a:pos x="T12" y="T13"/>
              </a:cxn>
            </a:cxnLst>
            <a:rect l="0" t="0" r="r" b="b"/>
            <a:pathLst>
              <a:path w="460" h="251">
                <a:moveTo>
                  <a:pt x="0" y="251"/>
                </a:moveTo>
                <a:cubicBezTo>
                  <a:pt x="441" y="122"/>
                  <a:pt x="441" y="122"/>
                  <a:pt x="441" y="122"/>
                </a:cubicBezTo>
                <a:cubicBezTo>
                  <a:pt x="451" y="119"/>
                  <a:pt x="460" y="114"/>
                  <a:pt x="460" y="99"/>
                </a:cubicBezTo>
                <a:cubicBezTo>
                  <a:pt x="460" y="0"/>
                  <a:pt x="460" y="0"/>
                  <a:pt x="460" y="0"/>
                </a:cubicBezTo>
                <a:cubicBezTo>
                  <a:pt x="21" y="142"/>
                  <a:pt x="21" y="142"/>
                  <a:pt x="21" y="142"/>
                </a:cubicBezTo>
                <a:cubicBezTo>
                  <a:pt x="5" y="147"/>
                  <a:pt x="0" y="150"/>
                  <a:pt x="0" y="160"/>
                </a:cubicBezTo>
                <a:lnTo>
                  <a:pt x="0" y="251"/>
                </a:lnTo>
                <a:close/>
              </a:path>
            </a:pathLst>
          </a:custGeom>
          <a:gradFill>
            <a:gsLst>
              <a:gs pos="0">
                <a:schemeClr val="accent1">
                  <a:lumMod val="60000"/>
                  <a:lumOff val="40000"/>
                </a:schemeClr>
              </a:gs>
              <a:gs pos="100000">
                <a:schemeClr val="accent1"/>
              </a:gs>
            </a:gsLst>
            <a:lin ang="5400000" scaled="0"/>
          </a:gra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sp>
        <p:nvSpPr>
          <p:cNvPr id="12" name="Freeform 6">
            <a:extLst>
              <a:ext uri="{FF2B5EF4-FFF2-40B4-BE49-F238E27FC236}">
                <a16:creationId xmlns:a16="http://schemas.microsoft.com/office/drawing/2014/main" id="{CFE81647-4BFB-41CF-94C1-6D3AEF2FCCE8}"/>
              </a:ext>
            </a:extLst>
          </p:cNvPr>
          <p:cNvSpPr>
            <a:spLocks/>
          </p:cNvSpPr>
          <p:nvPr/>
        </p:nvSpPr>
        <p:spPr bwMode="auto">
          <a:xfrm>
            <a:off x="5656406" y="1887311"/>
            <a:ext cx="2197970" cy="801612"/>
          </a:xfrm>
          <a:custGeom>
            <a:avLst/>
            <a:gdLst>
              <a:gd name="T0" fmla="*/ 0 w 285"/>
              <a:gd name="T1" fmla="*/ 90 h 104"/>
              <a:gd name="T2" fmla="*/ 256 w 285"/>
              <a:gd name="T3" fmla="*/ 90 h 104"/>
              <a:gd name="T4" fmla="*/ 284 w 285"/>
              <a:gd name="T5" fmla="*/ 104 h 104"/>
              <a:gd name="T6" fmla="*/ 285 w 285"/>
              <a:gd name="T7" fmla="*/ 97 h 104"/>
              <a:gd name="T8" fmla="*/ 285 w 285"/>
              <a:gd name="T9" fmla="*/ 14 h 104"/>
              <a:gd name="T10" fmla="*/ 280 w 285"/>
              <a:gd name="T11" fmla="*/ 0 h 104"/>
              <a:gd name="T12" fmla="*/ 0 w 285"/>
              <a:gd name="T13" fmla="*/ 90 h 104"/>
            </a:gdLst>
            <a:ahLst/>
            <a:cxnLst>
              <a:cxn ang="0">
                <a:pos x="T0" y="T1"/>
              </a:cxn>
              <a:cxn ang="0">
                <a:pos x="T2" y="T3"/>
              </a:cxn>
              <a:cxn ang="0">
                <a:pos x="T4" y="T5"/>
              </a:cxn>
              <a:cxn ang="0">
                <a:pos x="T6" y="T7"/>
              </a:cxn>
              <a:cxn ang="0">
                <a:pos x="T8" y="T9"/>
              </a:cxn>
              <a:cxn ang="0">
                <a:pos x="T10" y="T11"/>
              </a:cxn>
              <a:cxn ang="0">
                <a:pos x="T12" y="T13"/>
              </a:cxn>
            </a:cxnLst>
            <a:rect l="0" t="0" r="r" b="b"/>
            <a:pathLst>
              <a:path w="285" h="104">
                <a:moveTo>
                  <a:pt x="0" y="90"/>
                </a:moveTo>
                <a:cubicBezTo>
                  <a:pt x="256" y="90"/>
                  <a:pt x="256" y="90"/>
                  <a:pt x="256" y="90"/>
                </a:cubicBezTo>
                <a:cubicBezTo>
                  <a:pt x="266" y="90"/>
                  <a:pt x="280" y="90"/>
                  <a:pt x="284" y="104"/>
                </a:cubicBezTo>
                <a:cubicBezTo>
                  <a:pt x="284" y="102"/>
                  <a:pt x="285" y="99"/>
                  <a:pt x="285" y="97"/>
                </a:cubicBezTo>
                <a:cubicBezTo>
                  <a:pt x="285" y="14"/>
                  <a:pt x="285" y="14"/>
                  <a:pt x="285" y="14"/>
                </a:cubicBezTo>
                <a:cubicBezTo>
                  <a:pt x="285" y="9"/>
                  <a:pt x="283" y="4"/>
                  <a:pt x="280" y="0"/>
                </a:cubicBezTo>
                <a:lnTo>
                  <a:pt x="0" y="90"/>
                </a:lnTo>
                <a:close/>
              </a:path>
            </a:pathLst>
          </a:custGeom>
          <a:solidFill>
            <a:schemeClr val="accent1">
              <a:lumMod val="75000"/>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sp>
        <p:nvSpPr>
          <p:cNvPr id="13" name="Freeform 7">
            <a:extLst>
              <a:ext uri="{FF2B5EF4-FFF2-40B4-BE49-F238E27FC236}">
                <a16:creationId xmlns:a16="http://schemas.microsoft.com/office/drawing/2014/main" id="{722AAF03-F107-4327-9F38-AD1EBAE10174}"/>
              </a:ext>
            </a:extLst>
          </p:cNvPr>
          <p:cNvSpPr>
            <a:spLocks/>
          </p:cNvSpPr>
          <p:nvPr/>
        </p:nvSpPr>
        <p:spPr bwMode="auto">
          <a:xfrm>
            <a:off x="4305300" y="1654584"/>
            <a:ext cx="3549077" cy="963228"/>
          </a:xfrm>
          <a:custGeom>
            <a:avLst/>
            <a:gdLst>
              <a:gd name="T0" fmla="*/ 432 w 460"/>
              <a:gd name="T1" fmla="*/ 0 h 125"/>
              <a:gd name="T2" fmla="*/ 0 w 460"/>
              <a:gd name="T3" fmla="*/ 0 h 125"/>
              <a:gd name="T4" fmla="*/ 0 w 460"/>
              <a:gd name="T5" fmla="*/ 104 h 125"/>
              <a:gd name="T6" fmla="*/ 431 w 460"/>
              <a:gd name="T7" fmla="*/ 104 h 125"/>
              <a:gd name="T8" fmla="*/ 460 w 460"/>
              <a:gd name="T9" fmla="*/ 125 h 125"/>
              <a:gd name="T10" fmla="*/ 460 w 460"/>
              <a:gd name="T11" fmla="*/ 28 h 125"/>
              <a:gd name="T12" fmla="*/ 432 w 460"/>
              <a:gd name="T13" fmla="*/ 0 h 125"/>
            </a:gdLst>
            <a:ahLst/>
            <a:cxnLst>
              <a:cxn ang="0">
                <a:pos x="T0" y="T1"/>
              </a:cxn>
              <a:cxn ang="0">
                <a:pos x="T2" y="T3"/>
              </a:cxn>
              <a:cxn ang="0">
                <a:pos x="T4" y="T5"/>
              </a:cxn>
              <a:cxn ang="0">
                <a:pos x="T6" y="T7"/>
              </a:cxn>
              <a:cxn ang="0">
                <a:pos x="T8" y="T9"/>
              </a:cxn>
              <a:cxn ang="0">
                <a:pos x="T10" y="T11"/>
              </a:cxn>
              <a:cxn ang="0">
                <a:pos x="T12" y="T13"/>
              </a:cxn>
            </a:cxnLst>
            <a:rect l="0" t="0" r="r" b="b"/>
            <a:pathLst>
              <a:path w="460" h="125">
                <a:moveTo>
                  <a:pt x="432" y="0"/>
                </a:moveTo>
                <a:cubicBezTo>
                  <a:pt x="0" y="0"/>
                  <a:pt x="0" y="0"/>
                  <a:pt x="0" y="0"/>
                </a:cubicBezTo>
                <a:cubicBezTo>
                  <a:pt x="0" y="104"/>
                  <a:pt x="0" y="104"/>
                  <a:pt x="0" y="104"/>
                </a:cubicBezTo>
                <a:cubicBezTo>
                  <a:pt x="431" y="104"/>
                  <a:pt x="431" y="104"/>
                  <a:pt x="431" y="104"/>
                </a:cubicBezTo>
                <a:cubicBezTo>
                  <a:pt x="442" y="104"/>
                  <a:pt x="460" y="104"/>
                  <a:pt x="460" y="125"/>
                </a:cubicBezTo>
                <a:cubicBezTo>
                  <a:pt x="460" y="28"/>
                  <a:pt x="460" y="28"/>
                  <a:pt x="460" y="28"/>
                </a:cubicBezTo>
                <a:cubicBezTo>
                  <a:pt x="460" y="13"/>
                  <a:pt x="447" y="0"/>
                  <a:pt x="432" y="0"/>
                </a:cubicBezTo>
                <a:close/>
              </a:path>
            </a:pathLst>
          </a:custGeom>
          <a:gradFill flip="none" rotWithShape="1">
            <a:gsLst>
              <a:gs pos="100000">
                <a:schemeClr val="accent1"/>
              </a:gs>
              <a:gs pos="31000">
                <a:schemeClr val="accent1">
                  <a:lumMod val="60000"/>
                  <a:lumOff val="40000"/>
                </a:schemeClr>
              </a:gs>
              <a:gs pos="0">
                <a:schemeClr val="accent1">
                  <a:lumMod val="40000"/>
                  <a:lumOff val="60000"/>
                </a:schemeClr>
              </a:gs>
            </a:gsLst>
            <a:lin ang="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HarmonyOS Sans SC"/>
              <a:cs typeface="+mn-cs"/>
            </a:endParaRPr>
          </a:p>
        </p:txBody>
      </p:sp>
      <p:sp>
        <p:nvSpPr>
          <p:cNvPr id="10" name="Freeform 8">
            <a:extLst>
              <a:ext uri="{FF2B5EF4-FFF2-40B4-BE49-F238E27FC236}">
                <a16:creationId xmlns:a16="http://schemas.microsoft.com/office/drawing/2014/main" id="{332539BF-CAF8-4C52-A4B0-668436F97FF8}"/>
              </a:ext>
            </a:extLst>
          </p:cNvPr>
          <p:cNvSpPr>
            <a:spLocks/>
          </p:cNvSpPr>
          <p:nvPr/>
        </p:nvSpPr>
        <p:spPr bwMode="auto">
          <a:xfrm>
            <a:off x="4305300" y="3251345"/>
            <a:ext cx="3549077" cy="1932922"/>
          </a:xfrm>
          <a:custGeom>
            <a:avLst/>
            <a:gdLst>
              <a:gd name="T0" fmla="*/ 0 w 460"/>
              <a:gd name="T1" fmla="*/ 251 h 251"/>
              <a:gd name="T2" fmla="*/ 441 w 460"/>
              <a:gd name="T3" fmla="*/ 121 h 251"/>
              <a:gd name="T4" fmla="*/ 460 w 460"/>
              <a:gd name="T5" fmla="*/ 98 h 251"/>
              <a:gd name="T6" fmla="*/ 460 w 460"/>
              <a:gd name="T7" fmla="*/ 0 h 251"/>
              <a:gd name="T8" fmla="*/ 21 w 460"/>
              <a:gd name="T9" fmla="*/ 142 h 251"/>
              <a:gd name="T10" fmla="*/ 0 w 460"/>
              <a:gd name="T11" fmla="*/ 159 h 251"/>
              <a:gd name="T12" fmla="*/ 0 w 460"/>
              <a:gd name="T13" fmla="*/ 251 h 251"/>
            </a:gdLst>
            <a:ahLst/>
            <a:cxnLst>
              <a:cxn ang="0">
                <a:pos x="T0" y="T1"/>
              </a:cxn>
              <a:cxn ang="0">
                <a:pos x="T2" y="T3"/>
              </a:cxn>
              <a:cxn ang="0">
                <a:pos x="T4" y="T5"/>
              </a:cxn>
              <a:cxn ang="0">
                <a:pos x="T6" y="T7"/>
              </a:cxn>
              <a:cxn ang="0">
                <a:pos x="T8" y="T9"/>
              </a:cxn>
              <a:cxn ang="0">
                <a:pos x="T10" y="T11"/>
              </a:cxn>
              <a:cxn ang="0">
                <a:pos x="T12" y="T13"/>
              </a:cxn>
            </a:cxnLst>
            <a:rect l="0" t="0" r="r" b="b"/>
            <a:pathLst>
              <a:path w="460" h="251">
                <a:moveTo>
                  <a:pt x="0" y="251"/>
                </a:moveTo>
                <a:cubicBezTo>
                  <a:pt x="441" y="121"/>
                  <a:pt x="441" y="121"/>
                  <a:pt x="441" y="121"/>
                </a:cubicBezTo>
                <a:cubicBezTo>
                  <a:pt x="451" y="118"/>
                  <a:pt x="460" y="113"/>
                  <a:pt x="460" y="98"/>
                </a:cubicBezTo>
                <a:cubicBezTo>
                  <a:pt x="460" y="0"/>
                  <a:pt x="460" y="0"/>
                  <a:pt x="460" y="0"/>
                </a:cubicBezTo>
                <a:cubicBezTo>
                  <a:pt x="21" y="142"/>
                  <a:pt x="21" y="142"/>
                  <a:pt x="21" y="142"/>
                </a:cubicBezTo>
                <a:cubicBezTo>
                  <a:pt x="5" y="147"/>
                  <a:pt x="0" y="150"/>
                  <a:pt x="0" y="159"/>
                </a:cubicBezTo>
                <a:lnTo>
                  <a:pt x="0" y="251"/>
                </a:lnTo>
                <a:close/>
              </a:path>
            </a:pathLst>
          </a:custGeom>
          <a:gradFill>
            <a:gsLst>
              <a:gs pos="0">
                <a:schemeClr val="accent1">
                  <a:lumMod val="60000"/>
                  <a:lumOff val="40000"/>
                </a:schemeClr>
              </a:gs>
              <a:gs pos="100000">
                <a:schemeClr val="accent1"/>
              </a:gs>
            </a:gsLst>
            <a:lin ang="5400000" scaled="0"/>
          </a:gra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sp>
        <p:nvSpPr>
          <p:cNvPr id="11" name="Freeform 9">
            <a:extLst>
              <a:ext uri="{FF2B5EF4-FFF2-40B4-BE49-F238E27FC236}">
                <a16:creationId xmlns:a16="http://schemas.microsoft.com/office/drawing/2014/main" id="{7E346690-CD95-488B-943A-CFC2A4BA3FFB}"/>
              </a:ext>
            </a:extLst>
          </p:cNvPr>
          <p:cNvSpPr>
            <a:spLocks/>
          </p:cNvSpPr>
          <p:nvPr/>
        </p:nvSpPr>
        <p:spPr bwMode="auto">
          <a:xfrm>
            <a:off x="4305300" y="4505481"/>
            <a:ext cx="1881204" cy="678785"/>
          </a:xfrm>
          <a:custGeom>
            <a:avLst/>
            <a:gdLst>
              <a:gd name="T0" fmla="*/ 153 w 244"/>
              <a:gd name="T1" fmla="*/ 16 h 88"/>
              <a:gd name="T2" fmla="*/ 93 w 244"/>
              <a:gd name="T3" fmla="*/ 16 h 88"/>
              <a:gd name="T4" fmla="*/ 32 w 244"/>
              <a:gd name="T5" fmla="*/ 16 h 88"/>
              <a:gd name="T6" fmla="*/ 24 w 244"/>
              <a:gd name="T7" fmla="*/ 16 h 88"/>
              <a:gd name="T8" fmla="*/ 0 w 244"/>
              <a:gd name="T9" fmla="*/ 0 h 88"/>
              <a:gd name="T10" fmla="*/ 0 w 244"/>
              <a:gd name="T11" fmla="*/ 3 h 88"/>
              <a:gd name="T12" fmla="*/ 0 w 244"/>
              <a:gd name="T13" fmla="*/ 16 h 88"/>
              <a:gd name="T14" fmla="*/ 0 w 244"/>
              <a:gd name="T15" fmla="*/ 67 h 88"/>
              <a:gd name="T16" fmla="*/ 0 w 244"/>
              <a:gd name="T17" fmla="*/ 87 h 88"/>
              <a:gd name="T18" fmla="*/ 0 w 244"/>
              <a:gd name="T19" fmla="*/ 88 h 88"/>
              <a:gd name="T20" fmla="*/ 244 w 244"/>
              <a:gd name="T21" fmla="*/ 16 h 88"/>
              <a:gd name="T22" fmla="*/ 153 w 244"/>
              <a:gd name="T23" fmla="*/ 1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4" h="88">
                <a:moveTo>
                  <a:pt x="153" y="16"/>
                </a:moveTo>
                <a:cubicBezTo>
                  <a:pt x="93" y="16"/>
                  <a:pt x="93" y="16"/>
                  <a:pt x="93" y="16"/>
                </a:cubicBezTo>
                <a:cubicBezTo>
                  <a:pt x="32" y="16"/>
                  <a:pt x="32" y="16"/>
                  <a:pt x="32" y="16"/>
                </a:cubicBezTo>
                <a:cubicBezTo>
                  <a:pt x="24" y="16"/>
                  <a:pt x="24" y="16"/>
                  <a:pt x="24" y="16"/>
                </a:cubicBezTo>
                <a:cubicBezTo>
                  <a:pt x="9" y="16"/>
                  <a:pt x="0" y="10"/>
                  <a:pt x="0" y="0"/>
                </a:cubicBezTo>
                <a:cubicBezTo>
                  <a:pt x="0" y="3"/>
                  <a:pt x="0" y="3"/>
                  <a:pt x="0" y="3"/>
                </a:cubicBezTo>
                <a:cubicBezTo>
                  <a:pt x="0" y="16"/>
                  <a:pt x="0" y="16"/>
                  <a:pt x="0" y="16"/>
                </a:cubicBezTo>
                <a:cubicBezTo>
                  <a:pt x="0" y="67"/>
                  <a:pt x="0" y="67"/>
                  <a:pt x="0" y="67"/>
                </a:cubicBezTo>
                <a:cubicBezTo>
                  <a:pt x="0" y="87"/>
                  <a:pt x="0" y="87"/>
                  <a:pt x="0" y="87"/>
                </a:cubicBezTo>
                <a:cubicBezTo>
                  <a:pt x="0" y="88"/>
                  <a:pt x="0" y="88"/>
                  <a:pt x="0" y="88"/>
                </a:cubicBezTo>
                <a:cubicBezTo>
                  <a:pt x="244" y="16"/>
                  <a:pt x="244" y="16"/>
                  <a:pt x="244" y="16"/>
                </a:cubicBezTo>
                <a:lnTo>
                  <a:pt x="153" y="16"/>
                </a:lnTo>
                <a:close/>
              </a:path>
            </a:pathLst>
          </a:custGeom>
          <a:solidFill>
            <a:schemeClr val="accent1">
              <a:lumMod val="75000"/>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sp>
        <p:nvSpPr>
          <p:cNvPr id="8" name="Freeform 10">
            <a:extLst>
              <a:ext uri="{FF2B5EF4-FFF2-40B4-BE49-F238E27FC236}">
                <a16:creationId xmlns:a16="http://schemas.microsoft.com/office/drawing/2014/main" id="{4E6C04A5-DB7F-449B-B9EB-5B2B780F3EED}"/>
              </a:ext>
            </a:extLst>
          </p:cNvPr>
          <p:cNvSpPr>
            <a:spLocks/>
          </p:cNvSpPr>
          <p:nvPr/>
        </p:nvSpPr>
        <p:spPr bwMode="auto">
          <a:xfrm>
            <a:off x="5656406" y="3257810"/>
            <a:ext cx="2197970" cy="808077"/>
          </a:xfrm>
          <a:custGeom>
            <a:avLst/>
            <a:gdLst>
              <a:gd name="T0" fmla="*/ 0 w 285"/>
              <a:gd name="T1" fmla="*/ 91 h 105"/>
              <a:gd name="T2" fmla="*/ 256 w 285"/>
              <a:gd name="T3" fmla="*/ 91 h 105"/>
              <a:gd name="T4" fmla="*/ 284 w 285"/>
              <a:gd name="T5" fmla="*/ 105 h 105"/>
              <a:gd name="T6" fmla="*/ 285 w 285"/>
              <a:gd name="T7" fmla="*/ 97 h 105"/>
              <a:gd name="T8" fmla="*/ 285 w 285"/>
              <a:gd name="T9" fmla="*/ 15 h 105"/>
              <a:gd name="T10" fmla="*/ 280 w 285"/>
              <a:gd name="T11" fmla="*/ 0 h 105"/>
              <a:gd name="T12" fmla="*/ 0 w 285"/>
              <a:gd name="T13" fmla="*/ 91 h 105"/>
            </a:gdLst>
            <a:ahLst/>
            <a:cxnLst>
              <a:cxn ang="0">
                <a:pos x="T0" y="T1"/>
              </a:cxn>
              <a:cxn ang="0">
                <a:pos x="T2" y="T3"/>
              </a:cxn>
              <a:cxn ang="0">
                <a:pos x="T4" y="T5"/>
              </a:cxn>
              <a:cxn ang="0">
                <a:pos x="T6" y="T7"/>
              </a:cxn>
              <a:cxn ang="0">
                <a:pos x="T8" y="T9"/>
              </a:cxn>
              <a:cxn ang="0">
                <a:pos x="T10" y="T11"/>
              </a:cxn>
              <a:cxn ang="0">
                <a:pos x="T12" y="T13"/>
              </a:cxn>
            </a:cxnLst>
            <a:rect l="0" t="0" r="r" b="b"/>
            <a:pathLst>
              <a:path w="285" h="105">
                <a:moveTo>
                  <a:pt x="0" y="91"/>
                </a:moveTo>
                <a:cubicBezTo>
                  <a:pt x="256" y="91"/>
                  <a:pt x="256" y="91"/>
                  <a:pt x="256" y="91"/>
                </a:cubicBezTo>
                <a:cubicBezTo>
                  <a:pt x="266" y="91"/>
                  <a:pt x="280" y="91"/>
                  <a:pt x="284" y="105"/>
                </a:cubicBezTo>
                <a:cubicBezTo>
                  <a:pt x="284" y="102"/>
                  <a:pt x="285" y="100"/>
                  <a:pt x="285" y="97"/>
                </a:cubicBezTo>
                <a:cubicBezTo>
                  <a:pt x="285" y="15"/>
                  <a:pt x="285" y="15"/>
                  <a:pt x="285" y="15"/>
                </a:cubicBezTo>
                <a:cubicBezTo>
                  <a:pt x="285" y="9"/>
                  <a:pt x="283" y="4"/>
                  <a:pt x="280" y="0"/>
                </a:cubicBezTo>
                <a:lnTo>
                  <a:pt x="0" y="91"/>
                </a:lnTo>
                <a:close/>
              </a:path>
            </a:pathLst>
          </a:custGeom>
          <a:solidFill>
            <a:schemeClr val="accent1">
              <a:lumMod val="75000"/>
              <a:alpha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sp>
        <p:nvSpPr>
          <p:cNvPr id="9" name="Freeform 11">
            <a:extLst>
              <a:ext uri="{FF2B5EF4-FFF2-40B4-BE49-F238E27FC236}">
                <a16:creationId xmlns:a16="http://schemas.microsoft.com/office/drawing/2014/main" id="{FC6C932C-1BCC-4EBF-A2F8-D5AA4A06568A}"/>
              </a:ext>
            </a:extLst>
          </p:cNvPr>
          <p:cNvSpPr>
            <a:spLocks/>
          </p:cNvSpPr>
          <p:nvPr/>
        </p:nvSpPr>
        <p:spPr bwMode="auto">
          <a:xfrm>
            <a:off x="4305300" y="3034781"/>
            <a:ext cx="3549077" cy="963228"/>
          </a:xfrm>
          <a:custGeom>
            <a:avLst/>
            <a:gdLst>
              <a:gd name="T0" fmla="*/ 432 w 460"/>
              <a:gd name="T1" fmla="*/ 0 h 125"/>
              <a:gd name="T2" fmla="*/ 0 w 460"/>
              <a:gd name="T3" fmla="*/ 0 h 125"/>
              <a:gd name="T4" fmla="*/ 0 w 460"/>
              <a:gd name="T5" fmla="*/ 104 h 125"/>
              <a:gd name="T6" fmla="*/ 431 w 460"/>
              <a:gd name="T7" fmla="*/ 104 h 125"/>
              <a:gd name="T8" fmla="*/ 460 w 460"/>
              <a:gd name="T9" fmla="*/ 125 h 125"/>
              <a:gd name="T10" fmla="*/ 460 w 460"/>
              <a:gd name="T11" fmla="*/ 28 h 125"/>
              <a:gd name="T12" fmla="*/ 432 w 460"/>
              <a:gd name="T13" fmla="*/ 0 h 125"/>
            </a:gdLst>
            <a:ahLst/>
            <a:cxnLst>
              <a:cxn ang="0">
                <a:pos x="T0" y="T1"/>
              </a:cxn>
              <a:cxn ang="0">
                <a:pos x="T2" y="T3"/>
              </a:cxn>
              <a:cxn ang="0">
                <a:pos x="T4" y="T5"/>
              </a:cxn>
              <a:cxn ang="0">
                <a:pos x="T6" y="T7"/>
              </a:cxn>
              <a:cxn ang="0">
                <a:pos x="T8" y="T9"/>
              </a:cxn>
              <a:cxn ang="0">
                <a:pos x="T10" y="T11"/>
              </a:cxn>
              <a:cxn ang="0">
                <a:pos x="T12" y="T13"/>
              </a:cxn>
            </a:cxnLst>
            <a:rect l="0" t="0" r="r" b="b"/>
            <a:pathLst>
              <a:path w="460" h="125">
                <a:moveTo>
                  <a:pt x="432" y="0"/>
                </a:moveTo>
                <a:cubicBezTo>
                  <a:pt x="0" y="0"/>
                  <a:pt x="0" y="0"/>
                  <a:pt x="0" y="0"/>
                </a:cubicBezTo>
                <a:cubicBezTo>
                  <a:pt x="0" y="104"/>
                  <a:pt x="0" y="104"/>
                  <a:pt x="0" y="104"/>
                </a:cubicBezTo>
                <a:cubicBezTo>
                  <a:pt x="431" y="104"/>
                  <a:pt x="431" y="104"/>
                  <a:pt x="431" y="104"/>
                </a:cubicBezTo>
                <a:cubicBezTo>
                  <a:pt x="442" y="104"/>
                  <a:pt x="460" y="104"/>
                  <a:pt x="460" y="125"/>
                </a:cubicBezTo>
                <a:cubicBezTo>
                  <a:pt x="460" y="28"/>
                  <a:pt x="460" y="28"/>
                  <a:pt x="460" y="28"/>
                </a:cubicBezTo>
                <a:cubicBezTo>
                  <a:pt x="460" y="12"/>
                  <a:pt x="447" y="0"/>
                  <a:pt x="432" y="0"/>
                </a:cubicBezTo>
                <a:close/>
              </a:path>
            </a:pathLst>
          </a:custGeom>
          <a:gradFill flip="none" rotWithShape="1">
            <a:gsLst>
              <a:gs pos="100000">
                <a:schemeClr val="accent1"/>
              </a:gs>
              <a:gs pos="31000">
                <a:schemeClr val="accent1">
                  <a:lumMod val="60000"/>
                  <a:lumOff val="40000"/>
                </a:schemeClr>
              </a:gs>
              <a:gs pos="0">
                <a:schemeClr val="accent1">
                  <a:lumMod val="40000"/>
                  <a:lumOff val="60000"/>
                </a:schemeClr>
              </a:gs>
            </a:gsLst>
            <a:lin ang="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HarmonyOS Sans SC"/>
              <a:cs typeface="+mn-cs"/>
            </a:endParaRPr>
          </a:p>
        </p:txBody>
      </p:sp>
      <p:sp>
        <p:nvSpPr>
          <p:cNvPr id="7" name="Freeform 12">
            <a:extLst>
              <a:ext uri="{FF2B5EF4-FFF2-40B4-BE49-F238E27FC236}">
                <a16:creationId xmlns:a16="http://schemas.microsoft.com/office/drawing/2014/main" id="{FA44EDDE-29B7-4E1F-B1B6-2599A674F96E}"/>
              </a:ext>
            </a:extLst>
          </p:cNvPr>
          <p:cNvSpPr>
            <a:spLocks/>
          </p:cNvSpPr>
          <p:nvPr/>
        </p:nvSpPr>
        <p:spPr bwMode="auto">
          <a:xfrm>
            <a:off x="4305300" y="4576592"/>
            <a:ext cx="3581400" cy="1208884"/>
          </a:xfrm>
          <a:custGeom>
            <a:avLst/>
            <a:gdLst>
              <a:gd name="T0" fmla="*/ 464 w 464"/>
              <a:gd name="T1" fmla="*/ 81 h 157"/>
              <a:gd name="T2" fmla="*/ 379 w 464"/>
              <a:gd name="T3" fmla="*/ 0 h 157"/>
              <a:gd name="T4" fmla="*/ 379 w 464"/>
              <a:gd name="T5" fmla="*/ 26 h 157"/>
              <a:gd name="T6" fmla="*/ 153 w 464"/>
              <a:gd name="T7" fmla="*/ 26 h 157"/>
              <a:gd name="T8" fmla="*/ 93 w 464"/>
              <a:gd name="T9" fmla="*/ 26 h 157"/>
              <a:gd name="T10" fmla="*/ 32 w 464"/>
              <a:gd name="T11" fmla="*/ 26 h 157"/>
              <a:gd name="T12" fmla="*/ 24 w 464"/>
              <a:gd name="T13" fmla="*/ 26 h 157"/>
              <a:gd name="T14" fmla="*/ 0 w 464"/>
              <a:gd name="T15" fmla="*/ 11 h 157"/>
              <a:gd name="T16" fmla="*/ 0 w 464"/>
              <a:gd name="T17" fmla="*/ 11 h 157"/>
              <a:gd name="T18" fmla="*/ 0 w 464"/>
              <a:gd name="T19" fmla="*/ 13 h 157"/>
              <a:gd name="T20" fmla="*/ 0 w 464"/>
              <a:gd name="T21" fmla="*/ 26 h 157"/>
              <a:gd name="T22" fmla="*/ 0 w 464"/>
              <a:gd name="T23" fmla="*/ 77 h 157"/>
              <a:gd name="T24" fmla="*/ 0 w 464"/>
              <a:gd name="T25" fmla="*/ 97 h 157"/>
              <a:gd name="T26" fmla="*/ 0 w 464"/>
              <a:gd name="T27" fmla="*/ 103 h 157"/>
              <a:gd name="T28" fmla="*/ 28 w 464"/>
              <a:gd name="T29" fmla="*/ 131 h 157"/>
              <a:gd name="T30" fmla="*/ 93 w 464"/>
              <a:gd name="T31" fmla="*/ 131 h 157"/>
              <a:gd name="T32" fmla="*/ 153 w 464"/>
              <a:gd name="T33" fmla="*/ 131 h 157"/>
              <a:gd name="T34" fmla="*/ 379 w 464"/>
              <a:gd name="T35" fmla="*/ 131 h 157"/>
              <a:gd name="T36" fmla="*/ 379 w 464"/>
              <a:gd name="T37" fmla="*/ 157 h 157"/>
              <a:gd name="T38" fmla="*/ 464 w 464"/>
              <a:gd name="T39" fmla="*/ 81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64" h="157">
                <a:moveTo>
                  <a:pt x="464" y="81"/>
                </a:moveTo>
                <a:cubicBezTo>
                  <a:pt x="379" y="0"/>
                  <a:pt x="379" y="0"/>
                  <a:pt x="379" y="0"/>
                </a:cubicBezTo>
                <a:cubicBezTo>
                  <a:pt x="379" y="26"/>
                  <a:pt x="379" y="26"/>
                  <a:pt x="379" y="26"/>
                </a:cubicBezTo>
                <a:cubicBezTo>
                  <a:pt x="153" y="26"/>
                  <a:pt x="153" y="26"/>
                  <a:pt x="153" y="26"/>
                </a:cubicBezTo>
                <a:cubicBezTo>
                  <a:pt x="93" y="26"/>
                  <a:pt x="93" y="26"/>
                  <a:pt x="93" y="26"/>
                </a:cubicBezTo>
                <a:cubicBezTo>
                  <a:pt x="32" y="26"/>
                  <a:pt x="32" y="26"/>
                  <a:pt x="32" y="26"/>
                </a:cubicBezTo>
                <a:cubicBezTo>
                  <a:pt x="24" y="26"/>
                  <a:pt x="24" y="26"/>
                  <a:pt x="24" y="26"/>
                </a:cubicBezTo>
                <a:cubicBezTo>
                  <a:pt x="9" y="26"/>
                  <a:pt x="0" y="20"/>
                  <a:pt x="0" y="11"/>
                </a:cubicBezTo>
                <a:cubicBezTo>
                  <a:pt x="0" y="11"/>
                  <a:pt x="0" y="11"/>
                  <a:pt x="0" y="11"/>
                </a:cubicBezTo>
                <a:cubicBezTo>
                  <a:pt x="0" y="13"/>
                  <a:pt x="0" y="13"/>
                  <a:pt x="0" y="13"/>
                </a:cubicBezTo>
                <a:cubicBezTo>
                  <a:pt x="0" y="26"/>
                  <a:pt x="0" y="26"/>
                  <a:pt x="0" y="26"/>
                </a:cubicBezTo>
                <a:cubicBezTo>
                  <a:pt x="0" y="77"/>
                  <a:pt x="0" y="77"/>
                  <a:pt x="0" y="77"/>
                </a:cubicBezTo>
                <a:cubicBezTo>
                  <a:pt x="0" y="97"/>
                  <a:pt x="0" y="97"/>
                  <a:pt x="0" y="97"/>
                </a:cubicBezTo>
                <a:cubicBezTo>
                  <a:pt x="0" y="103"/>
                  <a:pt x="0" y="103"/>
                  <a:pt x="0" y="103"/>
                </a:cubicBezTo>
                <a:cubicBezTo>
                  <a:pt x="0" y="118"/>
                  <a:pt x="12" y="131"/>
                  <a:pt x="28" y="131"/>
                </a:cubicBezTo>
                <a:cubicBezTo>
                  <a:pt x="93" y="131"/>
                  <a:pt x="93" y="131"/>
                  <a:pt x="93" y="131"/>
                </a:cubicBezTo>
                <a:cubicBezTo>
                  <a:pt x="153" y="131"/>
                  <a:pt x="153" y="131"/>
                  <a:pt x="153" y="131"/>
                </a:cubicBezTo>
                <a:cubicBezTo>
                  <a:pt x="379" y="131"/>
                  <a:pt x="379" y="131"/>
                  <a:pt x="379" y="131"/>
                </a:cubicBezTo>
                <a:cubicBezTo>
                  <a:pt x="379" y="157"/>
                  <a:pt x="379" y="157"/>
                  <a:pt x="379" y="157"/>
                </a:cubicBezTo>
                <a:lnTo>
                  <a:pt x="464" y="81"/>
                </a:lnTo>
                <a:close/>
              </a:path>
            </a:pathLst>
          </a:custGeom>
          <a:gradFill flip="none" rotWithShape="1">
            <a:gsLst>
              <a:gs pos="100000">
                <a:schemeClr val="accent1"/>
              </a:gs>
              <a:gs pos="31000">
                <a:schemeClr val="accent1">
                  <a:lumMod val="60000"/>
                  <a:lumOff val="40000"/>
                </a:schemeClr>
              </a:gs>
              <a:gs pos="0">
                <a:schemeClr val="accent1">
                  <a:lumMod val="40000"/>
                  <a:lumOff val="60000"/>
                </a:schemeClr>
              </a:gs>
            </a:gsLst>
            <a:lin ang="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HarmonyOS Sans SC"/>
              <a:cs typeface="+mn-cs"/>
            </a:endParaRPr>
          </a:p>
        </p:txBody>
      </p:sp>
      <p:sp>
        <p:nvSpPr>
          <p:cNvPr id="18" name="文本框 17">
            <a:extLst>
              <a:ext uri="{FF2B5EF4-FFF2-40B4-BE49-F238E27FC236}">
                <a16:creationId xmlns:a16="http://schemas.microsoft.com/office/drawing/2014/main" id="{27EDCA76-734E-435B-A602-2E4DDE52E2B0}"/>
              </a:ext>
            </a:extLst>
          </p:cNvPr>
          <p:cNvSpPr txBox="1"/>
          <p:nvPr/>
        </p:nvSpPr>
        <p:spPr>
          <a:xfrm>
            <a:off x="4829706" y="3185454"/>
            <a:ext cx="2532588" cy="47639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800" b="0" i="0" u="none" strike="noStrike" kern="1200" cap="none" spc="0" normalizeH="0" baseline="0" noProof="0" dirty="0">
                <a:ln>
                  <a:noFill/>
                </a:ln>
                <a:solidFill>
                  <a:prstClr val="white"/>
                </a:solidFill>
                <a:effectLst/>
                <a:uLnTx/>
                <a:uFillTx/>
                <a:latin typeface="HarmonyOS Sans SC Black"/>
                <a:ea typeface="+mj-ea"/>
                <a:cs typeface="+mn-cs"/>
              </a:rPr>
              <a:t>STEP 02</a:t>
            </a:r>
          </a:p>
        </p:txBody>
      </p:sp>
      <p:sp>
        <p:nvSpPr>
          <p:cNvPr id="19" name="文本框 18">
            <a:extLst>
              <a:ext uri="{FF2B5EF4-FFF2-40B4-BE49-F238E27FC236}">
                <a16:creationId xmlns:a16="http://schemas.microsoft.com/office/drawing/2014/main" id="{7F1E5DBF-9675-437C-9EE7-7A97B51F12FA}"/>
              </a:ext>
            </a:extLst>
          </p:cNvPr>
          <p:cNvSpPr txBox="1"/>
          <p:nvPr/>
        </p:nvSpPr>
        <p:spPr>
          <a:xfrm>
            <a:off x="4829706" y="1808241"/>
            <a:ext cx="2532588" cy="47639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800" b="0" i="0" u="none" strike="noStrike" kern="1200" cap="none" spc="0" normalizeH="0" baseline="0" noProof="0" dirty="0">
                <a:ln>
                  <a:noFill/>
                </a:ln>
                <a:solidFill>
                  <a:prstClr val="white"/>
                </a:solidFill>
                <a:effectLst/>
                <a:uLnTx/>
                <a:uFillTx/>
                <a:latin typeface="HarmonyOS Sans SC Black"/>
                <a:ea typeface="+mj-ea"/>
                <a:cs typeface="+mn-cs"/>
              </a:rPr>
              <a:t>STEP 01</a:t>
            </a:r>
          </a:p>
        </p:txBody>
      </p:sp>
      <p:sp>
        <p:nvSpPr>
          <p:cNvPr id="22" name="文本框 21">
            <a:extLst>
              <a:ext uri="{FF2B5EF4-FFF2-40B4-BE49-F238E27FC236}">
                <a16:creationId xmlns:a16="http://schemas.microsoft.com/office/drawing/2014/main" id="{5CCA85F8-E42C-4593-82CC-C92AA39C5F0F}"/>
              </a:ext>
            </a:extLst>
          </p:cNvPr>
          <p:cNvSpPr txBox="1"/>
          <p:nvPr/>
        </p:nvSpPr>
        <p:spPr>
          <a:xfrm>
            <a:off x="4829706" y="4942836"/>
            <a:ext cx="2532588" cy="47639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800" b="0" i="0" u="none" strike="noStrike" kern="1200" cap="none" spc="0" normalizeH="0" baseline="0" noProof="0" dirty="0">
                <a:ln>
                  <a:noFill/>
                </a:ln>
                <a:solidFill>
                  <a:prstClr val="white"/>
                </a:solidFill>
                <a:effectLst/>
                <a:uLnTx/>
                <a:uFillTx/>
                <a:latin typeface="HarmonyOS Sans SC Black"/>
                <a:ea typeface="+mj-ea"/>
                <a:cs typeface="+mn-cs"/>
              </a:rPr>
              <a:t>STEP 03</a:t>
            </a:r>
          </a:p>
        </p:txBody>
      </p:sp>
      <p:grpSp>
        <p:nvGrpSpPr>
          <p:cNvPr id="25" name="组合 24">
            <a:extLst>
              <a:ext uri="{FF2B5EF4-FFF2-40B4-BE49-F238E27FC236}">
                <a16:creationId xmlns:a16="http://schemas.microsoft.com/office/drawing/2014/main" id="{516E95B1-745D-4669-89A6-73BDB3BF8CD6}"/>
              </a:ext>
            </a:extLst>
          </p:cNvPr>
          <p:cNvGrpSpPr/>
          <p:nvPr/>
        </p:nvGrpSpPr>
        <p:grpSpPr>
          <a:xfrm>
            <a:off x="8106360" y="4771267"/>
            <a:ext cx="2859171" cy="881603"/>
            <a:chOff x="2777088" y="3678059"/>
            <a:chExt cx="2859171" cy="881603"/>
          </a:xfrm>
        </p:grpSpPr>
        <p:sp>
          <p:nvSpPr>
            <p:cNvPr id="26" name="TextBox 65">
              <a:extLst>
                <a:ext uri="{FF2B5EF4-FFF2-40B4-BE49-F238E27FC236}">
                  <a16:creationId xmlns:a16="http://schemas.microsoft.com/office/drawing/2014/main" id="{6E69E9C6-97DD-4D35-9CB8-366510C12215}"/>
                </a:ext>
              </a:extLst>
            </p:cNvPr>
            <p:cNvSpPr txBox="1"/>
            <p:nvPr/>
          </p:nvSpPr>
          <p:spPr>
            <a:xfrm flipH="1">
              <a:off x="2777089" y="3678059"/>
              <a:ext cx="2056261" cy="387598"/>
            </a:xfrm>
            <a:prstGeom prst="rect">
              <a:avLst/>
            </a:prstGeom>
            <a:noFill/>
          </p:spPr>
          <p:txBody>
            <a:bodyPr wrap="square" lIns="0" tIns="36000" rIns="0" bIns="36000" rtlCol="0">
              <a:spAutoFit/>
            </a:bodyPr>
            <a:lstStyle/>
            <a:p>
              <a:pPr marL="0" marR="0" lvl="0" indent="0" algn="l" defTabSz="914400" rtl="0" eaLnBrk="1" fontAlgn="auto" latinLnBrk="0" hangingPunct="1">
                <a:lnSpc>
                  <a:spcPct val="120000"/>
                </a:lnSpc>
                <a:spcBef>
                  <a:spcPts val="600"/>
                </a:spcBef>
                <a:spcAft>
                  <a:spcPts val="0"/>
                </a:spcAft>
                <a:buClrTx/>
                <a:buSzTx/>
                <a:buFontTx/>
                <a:buNone/>
                <a:tabLst/>
                <a:defRPr/>
              </a:pPr>
              <a:r>
                <a:rPr kumimoji="0" lang="zh-CN" altLang="en-US" sz="1800" b="0" i="0" u="none" strike="noStrike" kern="1200" cap="none" spc="0" normalizeH="0" baseline="0" noProof="0" dirty="0">
                  <a:ln>
                    <a:noFill/>
                  </a:ln>
                  <a:solidFill>
                    <a:schemeClr val="accent1"/>
                  </a:solidFill>
                  <a:effectLst/>
                  <a:uLnTx/>
                  <a:uFillTx/>
                  <a:latin typeface="HarmonyOS Sans SC Black"/>
                  <a:ea typeface="+mj-ea"/>
                  <a:cs typeface="+mn-cs"/>
                </a:rPr>
                <a:t>关键词标题</a:t>
              </a:r>
              <a:endParaRPr kumimoji="0" lang="en-US" sz="1800" b="0" i="0" u="none" strike="noStrike" kern="1200" cap="none" spc="0" normalizeH="0" baseline="0" noProof="0" dirty="0">
                <a:ln>
                  <a:noFill/>
                </a:ln>
                <a:solidFill>
                  <a:schemeClr val="accent1"/>
                </a:solidFill>
                <a:effectLst/>
                <a:uLnTx/>
                <a:uFillTx/>
                <a:latin typeface="HarmonyOS Sans SC Black"/>
                <a:ea typeface="+mj-ea"/>
                <a:cs typeface="+mn-cs"/>
              </a:endParaRPr>
            </a:p>
          </p:txBody>
        </p:sp>
        <p:sp>
          <p:nvSpPr>
            <p:cNvPr id="27" name="TextBox 65">
              <a:extLst>
                <a:ext uri="{FF2B5EF4-FFF2-40B4-BE49-F238E27FC236}">
                  <a16:creationId xmlns:a16="http://schemas.microsoft.com/office/drawing/2014/main" id="{A5A7A7DC-1831-46AE-A5C3-1724112A8E16}"/>
                </a:ext>
              </a:extLst>
            </p:cNvPr>
            <p:cNvSpPr txBox="1"/>
            <p:nvPr/>
          </p:nvSpPr>
          <p:spPr>
            <a:xfrm flipH="1">
              <a:off x="2777088" y="4061458"/>
              <a:ext cx="2859171" cy="498204"/>
            </a:xfrm>
            <a:prstGeom prst="rect">
              <a:avLst/>
            </a:prstGeom>
            <a:noFill/>
          </p:spPr>
          <p:txBody>
            <a:bodyPr wrap="square" lIns="0" tIns="36000" rIns="0" bIns="36000" rtlCol="0">
              <a:spAutoFit/>
            </a:bodyPr>
            <a:lstStyle/>
            <a:p>
              <a:pPr marL="0" marR="0" lvl="0" indent="0" algn="l" defTabSz="914400" rtl="0" eaLnBrk="1" fontAlgn="auto" latinLnBrk="0" hangingPunct="1">
                <a:lnSpc>
                  <a:spcPct val="120000"/>
                </a:lnSpc>
                <a:spcBef>
                  <a:spcPts val="600"/>
                </a:spcBef>
                <a:spcAft>
                  <a:spcPts val="0"/>
                </a:spcAft>
                <a:buClrTx/>
                <a:buSzTx/>
                <a:buFontTx/>
                <a:buNone/>
                <a:tabLst/>
                <a:defRPr/>
              </a:pPr>
              <a:r>
                <a:rPr kumimoji="0" lang="en-US" sz="1200" b="0" i="0" u="none" strike="noStrike" kern="1200" cap="none" spc="0" normalizeH="0" baseline="0" noProof="0" dirty="0">
                  <a:ln>
                    <a:noFill/>
                  </a:ln>
                  <a:solidFill>
                    <a:prstClr val="black">
                      <a:lumMod val="50000"/>
                      <a:lumOff val="50000"/>
                    </a:prstClr>
                  </a:solidFill>
                  <a:effectLst/>
                  <a:uLnTx/>
                  <a:uFillTx/>
                  <a:latin typeface="HarmonyOS Sans SC"/>
                  <a:cs typeface="+mn-cs"/>
                </a:rPr>
                <a:t>Apparently we had reached a great height in the.</a:t>
              </a:r>
            </a:p>
          </p:txBody>
        </p:sp>
      </p:grpSp>
      <p:sp>
        <p:nvSpPr>
          <p:cNvPr id="30" name="TextBox 65">
            <a:extLst>
              <a:ext uri="{FF2B5EF4-FFF2-40B4-BE49-F238E27FC236}">
                <a16:creationId xmlns:a16="http://schemas.microsoft.com/office/drawing/2014/main" id="{FB6D172E-7D38-4466-9790-DA9283A1AACC}"/>
              </a:ext>
            </a:extLst>
          </p:cNvPr>
          <p:cNvSpPr txBox="1"/>
          <p:nvPr/>
        </p:nvSpPr>
        <p:spPr>
          <a:xfrm>
            <a:off x="1835467" y="1586188"/>
            <a:ext cx="2056261" cy="387598"/>
          </a:xfrm>
          <a:prstGeom prst="rect">
            <a:avLst/>
          </a:prstGeom>
          <a:noFill/>
        </p:spPr>
        <p:txBody>
          <a:bodyPr wrap="square" lIns="0" tIns="36000" rIns="0" bIns="36000" rtlCol="0">
            <a:spAutoFit/>
          </a:bodyPr>
          <a:lstStyle/>
          <a:p>
            <a:pPr marL="0" marR="0" lvl="0" indent="0" algn="r" defTabSz="914400" rtl="0" eaLnBrk="1" fontAlgn="auto" latinLnBrk="0" hangingPunct="1">
              <a:lnSpc>
                <a:spcPct val="120000"/>
              </a:lnSpc>
              <a:spcBef>
                <a:spcPts val="600"/>
              </a:spcBef>
              <a:spcAft>
                <a:spcPts val="0"/>
              </a:spcAft>
              <a:buClrTx/>
              <a:buSzTx/>
              <a:buFontTx/>
              <a:buNone/>
              <a:tabLst/>
              <a:defRPr/>
            </a:pPr>
            <a:r>
              <a:rPr kumimoji="0" lang="zh-CN" altLang="en-US" sz="1800" b="0" i="0" u="none" strike="noStrike" kern="1200" cap="none" spc="0" normalizeH="0" baseline="0" noProof="0" dirty="0">
                <a:ln>
                  <a:noFill/>
                </a:ln>
                <a:solidFill>
                  <a:schemeClr val="accent1"/>
                </a:solidFill>
                <a:effectLst/>
                <a:uLnTx/>
                <a:uFillTx/>
                <a:latin typeface="HarmonyOS Sans SC Black"/>
                <a:ea typeface="+mj-ea"/>
                <a:cs typeface="+mn-cs"/>
              </a:rPr>
              <a:t>关键词标题</a:t>
            </a:r>
            <a:endParaRPr kumimoji="0" lang="en-US" sz="1800" b="0" i="0" u="none" strike="noStrike" kern="1200" cap="none" spc="0" normalizeH="0" baseline="0" noProof="0" dirty="0">
              <a:ln>
                <a:noFill/>
              </a:ln>
              <a:solidFill>
                <a:schemeClr val="accent1"/>
              </a:solidFill>
              <a:effectLst/>
              <a:uLnTx/>
              <a:uFillTx/>
              <a:latin typeface="HarmonyOS Sans SC Black"/>
              <a:ea typeface="+mj-ea"/>
              <a:cs typeface="+mn-cs"/>
            </a:endParaRPr>
          </a:p>
        </p:txBody>
      </p:sp>
      <p:sp>
        <p:nvSpPr>
          <p:cNvPr id="31" name="TextBox 65">
            <a:extLst>
              <a:ext uri="{FF2B5EF4-FFF2-40B4-BE49-F238E27FC236}">
                <a16:creationId xmlns:a16="http://schemas.microsoft.com/office/drawing/2014/main" id="{88E1B45B-B3E3-414D-9616-034C27526C8B}"/>
              </a:ext>
            </a:extLst>
          </p:cNvPr>
          <p:cNvSpPr txBox="1"/>
          <p:nvPr/>
        </p:nvSpPr>
        <p:spPr>
          <a:xfrm>
            <a:off x="1032558" y="1969587"/>
            <a:ext cx="2859171" cy="498204"/>
          </a:xfrm>
          <a:prstGeom prst="rect">
            <a:avLst/>
          </a:prstGeom>
          <a:noFill/>
        </p:spPr>
        <p:txBody>
          <a:bodyPr wrap="square" lIns="0" tIns="36000" rIns="0" bIns="36000" rtlCol="0">
            <a:spAutoFit/>
          </a:bodyPr>
          <a:lstStyle/>
          <a:p>
            <a:pPr marL="0" marR="0" lvl="0" indent="0" algn="r" defTabSz="914400" rtl="0" eaLnBrk="1" fontAlgn="auto" latinLnBrk="0" hangingPunct="1">
              <a:lnSpc>
                <a:spcPct val="120000"/>
              </a:lnSpc>
              <a:spcBef>
                <a:spcPts val="600"/>
              </a:spcBef>
              <a:spcAft>
                <a:spcPts val="0"/>
              </a:spcAft>
              <a:buClrTx/>
              <a:buSzTx/>
              <a:buFontTx/>
              <a:buNone/>
              <a:tabLst/>
              <a:defRPr/>
            </a:pPr>
            <a:r>
              <a:rPr kumimoji="0" lang="en-US" sz="1200" b="0" i="0" u="none" strike="noStrike" kern="1200" cap="none" spc="0" normalizeH="0" baseline="0" noProof="0" dirty="0">
                <a:ln>
                  <a:noFill/>
                </a:ln>
                <a:solidFill>
                  <a:prstClr val="black">
                    <a:lumMod val="50000"/>
                    <a:lumOff val="50000"/>
                  </a:prstClr>
                </a:solidFill>
                <a:effectLst/>
                <a:uLnTx/>
                <a:uFillTx/>
                <a:latin typeface="HarmonyOS Sans SC"/>
                <a:cs typeface="+mn-cs"/>
              </a:rPr>
              <a:t>Apparently we had reached a great height in the.</a:t>
            </a:r>
          </a:p>
        </p:txBody>
      </p:sp>
      <p:grpSp>
        <p:nvGrpSpPr>
          <p:cNvPr id="35" name="组合 34">
            <a:extLst>
              <a:ext uri="{FF2B5EF4-FFF2-40B4-BE49-F238E27FC236}">
                <a16:creationId xmlns:a16="http://schemas.microsoft.com/office/drawing/2014/main" id="{B5270BDB-EF30-46D7-9AAD-1E588B7EF0D8}"/>
              </a:ext>
            </a:extLst>
          </p:cNvPr>
          <p:cNvGrpSpPr/>
          <p:nvPr/>
        </p:nvGrpSpPr>
        <p:grpSpPr>
          <a:xfrm>
            <a:off x="1032558" y="2922469"/>
            <a:ext cx="2859171" cy="881603"/>
            <a:chOff x="1032558" y="2922469"/>
            <a:chExt cx="2859171" cy="881603"/>
          </a:xfrm>
        </p:grpSpPr>
        <p:sp>
          <p:nvSpPr>
            <p:cNvPr id="32" name="TextBox 65">
              <a:extLst>
                <a:ext uri="{FF2B5EF4-FFF2-40B4-BE49-F238E27FC236}">
                  <a16:creationId xmlns:a16="http://schemas.microsoft.com/office/drawing/2014/main" id="{2CCB1252-D89D-41CF-85B0-6795D1BF861A}"/>
                </a:ext>
              </a:extLst>
            </p:cNvPr>
            <p:cNvSpPr txBox="1"/>
            <p:nvPr/>
          </p:nvSpPr>
          <p:spPr>
            <a:xfrm>
              <a:off x="1835467" y="2922469"/>
              <a:ext cx="2056261" cy="387598"/>
            </a:xfrm>
            <a:prstGeom prst="rect">
              <a:avLst/>
            </a:prstGeom>
            <a:noFill/>
          </p:spPr>
          <p:txBody>
            <a:bodyPr wrap="square" lIns="0" tIns="36000" rIns="0" bIns="36000" rtlCol="0">
              <a:spAutoFit/>
            </a:bodyPr>
            <a:lstStyle/>
            <a:p>
              <a:pPr marL="0" marR="0" lvl="0" indent="0" algn="r" defTabSz="914400" rtl="0" eaLnBrk="1" fontAlgn="auto" latinLnBrk="0" hangingPunct="1">
                <a:lnSpc>
                  <a:spcPct val="120000"/>
                </a:lnSpc>
                <a:spcBef>
                  <a:spcPts val="600"/>
                </a:spcBef>
                <a:spcAft>
                  <a:spcPts val="0"/>
                </a:spcAft>
                <a:buClrTx/>
                <a:buSzTx/>
                <a:buFontTx/>
                <a:buNone/>
                <a:tabLst/>
                <a:defRPr/>
              </a:pPr>
              <a:r>
                <a:rPr kumimoji="0" lang="zh-CN" altLang="en-US" sz="1800" b="0" i="0" u="none" strike="noStrike" kern="1200" cap="none" spc="0" normalizeH="0" baseline="0" noProof="0" dirty="0">
                  <a:ln>
                    <a:noFill/>
                  </a:ln>
                  <a:solidFill>
                    <a:schemeClr val="accent1"/>
                  </a:solidFill>
                  <a:effectLst/>
                  <a:uLnTx/>
                  <a:uFillTx/>
                  <a:latin typeface="HarmonyOS Sans SC Black"/>
                  <a:ea typeface="+mj-ea"/>
                  <a:cs typeface="+mn-cs"/>
                </a:rPr>
                <a:t>关键词标题</a:t>
              </a:r>
              <a:endParaRPr kumimoji="0" lang="en-US" sz="1800" b="0" i="0" u="none" strike="noStrike" kern="1200" cap="none" spc="0" normalizeH="0" baseline="0" noProof="0" dirty="0">
                <a:ln>
                  <a:noFill/>
                </a:ln>
                <a:solidFill>
                  <a:schemeClr val="accent1"/>
                </a:solidFill>
                <a:effectLst/>
                <a:uLnTx/>
                <a:uFillTx/>
                <a:latin typeface="HarmonyOS Sans SC Black"/>
                <a:ea typeface="+mj-ea"/>
                <a:cs typeface="+mn-cs"/>
              </a:endParaRPr>
            </a:p>
          </p:txBody>
        </p:sp>
        <p:sp>
          <p:nvSpPr>
            <p:cNvPr id="33" name="TextBox 65">
              <a:extLst>
                <a:ext uri="{FF2B5EF4-FFF2-40B4-BE49-F238E27FC236}">
                  <a16:creationId xmlns:a16="http://schemas.microsoft.com/office/drawing/2014/main" id="{9AD261F7-0991-4031-8085-7EE56F16EA8E}"/>
                </a:ext>
              </a:extLst>
            </p:cNvPr>
            <p:cNvSpPr txBox="1"/>
            <p:nvPr/>
          </p:nvSpPr>
          <p:spPr>
            <a:xfrm>
              <a:off x="1032558" y="3305868"/>
              <a:ext cx="2859171" cy="498204"/>
            </a:xfrm>
            <a:prstGeom prst="rect">
              <a:avLst/>
            </a:prstGeom>
            <a:noFill/>
          </p:spPr>
          <p:txBody>
            <a:bodyPr wrap="square" lIns="0" tIns="36000" rIns="0" bIns="36000" rtlCol="0">
              <a:spAutoFit/>
            </a:bodyPr>
            <a:lstStyle/>
            <a:p>
              <a:pPr marL="0" marR="0" lvl="0" indent="0" algn="r" defTabSz="914400" rtl="0" eaLnBrk="1" fontAlgn="auto" latinLnBrk="0" hangingPunct="1">
                <a:lnSpc>
                  <a:spcPct val="120000"/>
                </a:lnSpc>
                <a:spcBef>
                  <a:spcPts val="600"/>
                </a:spcBef>
                <a:spcAft>
                  <a:spcPts val="0"/>
                </a:spcAft>
                <a:buClrTx/>
                <a:buSzTx/>
                <a:buFontTx/>
                <a:buNone/>
                <a:tabLst/>
                <a:defRPr/>
              </a:pPr>
              <a:r>
                <a:rPr kumimoji="0" lang="en-US" sz="1200" b="0" i="0" u="none" strike="noStrike" kern="1200" cap="none" spc="0" normalizeH="0" baseline="0" noProof="0" dirty="0">
                  <a:ln>
                    <a:noFill/>
                  </a:ln>
                  <a:solidFill>
                    <a:prstClr val="black">
                      <a:lumMod val="50000"/>
                      <a:lumOff val="50000"/>
                    </a:prstClr>
                  </a:solidFill>
                  <a:effectLst/>
                  <a:uLnTx/>
                  <a:uFillTx/>
                  <a:latin typeface="HarmonyOS Sans SC"/>
                  <a:cs typeface="+mn-cs"/>
                </a:rPr>
                <a:t>Apparently we had reached a great height in the.</a:t>
              </a:r>
            </a:p>
          </p:txBody>
        </p:sp>
      </p:grpSp>
    </p:spTree>
    <p:extLst>
      <p:ext uri="{BB962C8B-B14F-4D97-AF65-F5344CB8AC3E}">
        <p14:creationId xmlns:p14="http://schemas.microsoft.com/office/powerpoint/2010/main" val="385618969"/>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5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55" name="组合 154">
            <a:extLst>
              <a:ext uri="{FF2B5EF4-FFF2-40B4-BE49-F238E27FC236}">
                <a16:creationId xmlns:a16="http://schemas.microsoft.com/office/drawing/2014/main" id="{2307C8A7-48FA-46B4-8550-733EE91C4A14}"/>
              </a:ext>
            </a:extLst>
          </p:cNvPr>
          <p:cNvGrpSpPr/>
          <p:nvPr/>
        </p:nvGrpSpPr>
        <p:grpSpPr>
          <a:xfrm>
            <a:off x="1059942" y="3917593"/>
            <a:ext cx="1384456" cy="1219286"/>
            <a:chOff x="3054269" y="3917593"/>
            <a:chExt cx="1384456" cy="1219286"/>
          </a:xfrm>
        </p:grpSpPr>
        <p:sp>
          <p:nvSpPr>
            <p:cNvPr id="156" name="Freeform 5">
              <a:extLst>
                <a:ext uri="{FF2B5EF4-FFF2-40B4-BE49-F238E27FC236}">
                  <a16:creationId xmlns:a16="http://schemas.microsoft.com/office/drawing/2014/main" id="{2F61A113-AED3-4129-AEC2-6CC6BA99A951}"/>
                </a:ext>
              </a:extLst>
            </p:cNvPr>
            <p:cNvSpPr>
              <a:spLocks/>
            </p:cNvSpPr>
            <p:nvPr/>
          </p:nvSpPr>
          <p:spPr bwMode="auto">
            <a:xfrm>
              <a:off x="3054269" y="3917593"/>
              <a:ext cx="703556" cy="1219286"/>
            </a:xfrm>
            <a:custGeom>
              <a:avLst/>
              <a:gdLst>
                <a:gd name="T0" fmla="*/ 0 w 532"/>
                <a:gd name="T1" fmla="*/ 1380 h 1768"/>
                <a:gd name="T2" fmla="*/ 532 w 532"/>
                <a:gd name="T3" fmla="*/ 1768 h 1768"/>
                <a:gd name="T4" fmla="*/ 532 w 532"/>
                <a:gd name="T5" fmla="*/ 0 h 1768"/>
                <a:gd name="T6" fmla="*/ 0 w 532"/>
                <a:gd name="T7" fmla="*/ 1380 h 1768"/>
                <a:gd name="T8" fmla="*/ 0 w 532"/>
                <a:gd name="T9" fmla="*/ 1380 h 1768"/>
                <a:gd name="connsiteX0" fmla="*/ 0 w 10034"/>
                <a:gd name="connsiteY0" fmla="*/ 6006 h 8201"/>
                <a:gd name="connsiteX1" fmla="*/ 10000 w 10034"/>
                <a:gd name="connsiteY1" fmla="*/ 8201 h 8201"/>
                <a:gd name="connsiteX2" fmla="*/ 10034 w 10034"/>
                <a:gd name="connsiteY2" fmla="*/ 0 h 8201"/>
                <a:gd name="connsiteX3" fmla="*/ 0 w 10034"/>
                <a:gd name="connsiteY3" fmla="*/ 6006 h 8201"/>
                <a:gd name="connsiteX4" fmla="*/ 0 w 10034"/>
                <a:gd name="connsiteY4" fmla="*/ 6006 h 8201"/>
                <a:gd name="connsiteX0" fmla="*/ 0 w 10068"/>
                <a:gd name="connsiteY0" fmla="*/ 7442 h 10119"/>
                <a:gd name="connsiteX1" fmla="*/ 9966 w 10068"/>
                <a:gd name="connsiteY1" fmla="*/ 10119 h 10119"/>
                <a:gd name="connsiteX2" fmla="*/ 10068 w 10068"/>
                <a:gd name="connsiteY2" fmla="*/ 0 h 10119"/>
                <a:gd name="connsiteX3" fmla="*/ 0 w 10068"/>
                <a:gd name="connsiteY3" fmla="*/ 7442 h 10119"/>
                <a:gd name="connsiteX4" fmla="*/ 0 w 10068"/>
                <a:gd name="connsiteY4" fmla="*/ 7442 h 10119"/>
                <a:gd name="connsiteX0" fmla="*/ 0 w 10034"/>
                <a:gd name="connsiteY0" fmla="*/ 7442 h 10119"/>
                <a:gd name="connsiteX1" fmla="*/ 9966 w 10034"/>
                <a:gd name="connsiteY1" fmla="*/ 10119 h 10119"/>
                <a:gd name="connsiteX2" fmla="*/ 10034 w 10034"/>
                <a:gd name="connsiteY2" fmla="*/ 0 h 10119"/>
                <a:gd name="connsiteX3" fmla="*/ 0 w 10034"/>
                <a:gd name="connsiteY3" fmla="*/ 7442 h 10119"/>
                <a:gd name="connsiteX4" fmla="*/ 0 w 10034"/>
                <a:gd name="connsiteY4" fmla="*/ 7442 h 10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34" h="10119">
                  <a:moveTo>
                    <a:pt x="0" y="7442"/>
                  </a:moveTo>
                  <a:lnTo>
                    <a:pt x="9966" y="10119"/>
                  </a:lnTo>
                  <a:cubicBezTo>
                    <a:pt x="9977" y="6785"/>
                    <a:pt x="10023" y="3334"/>
                    <a:pt x="10034" y="0"/>
                  </a:cubicBezTo>
                  <a:lnTo>
                    <a:pt x="0" y="7442"/>
                  </a:lnTo>
                  <a:lnTo>
                    <a:pt x="0" y="7442"/>
                  </a:lnTo>
                  <a:close/>
                </a:path>
              </a:pathLst>
            </a:custGeom>
            <a:gradFill flip="none" rotWithShape="1">
              <a:gsLst>
                <a:gs pos="73000">
                  <a:schemeClr val="accent1"/>
                </a:gs>
                <a:gs pos="31000">
                  <a:schemeClr val="accent1">
                    <a:lumMod val="60000"/>
                    <a:lumOff val="40000"/>
                  </a:schemeClr>
                </a:gs>
                <a:gs pos="0">
                  <a:schemeClr val="accent1">
                    <a:lumMod val="40000"/>
                    <a:lumOff val="60000"/>
                  </a:schemeClr>
                </a:gs>
              </a:gsLst>
              <a:lin ang="2700000" scaled="1"/>
              <a:tileRect/>
            </a:gradFill>
            <a:ln w="25400">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22222"/>
                </a:solidFill>
                <a:effectLst/>
                <a:uLnTx/>
                <a:uFillTx/>
                <a:latin typeface="Inter"/>
                <a:cs typeface="+mn-cs"/>
              </a:endParaRPr>
            </a:p>
          </p:txBody>
        </p:sp>
        <p:sp>
          <p:nvSpPr>
            <p:cNvPr id="157" name="Freeform 6">
              <a:extLst>
                <a:ext uri="{FF2B5EF4-FFF2-40B4-BE49-F238E27FC236}">
                  <a16:creationId xmlns:a16="http://schemas.microsoft.com/office/drawing/2014/main" id="{F0DC72B9-7884-4F7A-9F54-4A3184695452}"/>
                </a:ext>
              </a:extLst>
            </p:cNvPr>
            <p:cNvSpPr>
              <a:spLocks/>
            </p:cNvSpPr>
            <p:nvPr/>
          </p:nvSpPr>
          <p:spPr bwMode="auto">
            <a:xfrm>
              <a:off x="3753065" y="3917680"/>
              <a:ext cx="685660" cy="1219199"/>
            </a:xfrm>
            <a:custGeom>
              <a:avLst/>
              <a:gdLst>
                <a:gd name="T0" fmla="*/ 522 w 522"/>
                <a:gd name="T1" fmla="*/ 1380 h 1768"/>
                <a:gd name="T2" fmla="*/ 0 w 522"/>
                <a:gd name="T3" fmla="*/ 1768 h 1768"/>
                <a:gd name="T4" fmla="*/ 0 w 522"/>
                <a:gd name="T5" fmla="*/ 0 h 1768"/>
                <a:gd name="T6" fmla="*/ 522 w 522"/>
                <a:gd name="T7" fmla="*/ 1380 h 1768"/>
                <a:gd name="T8" fmla="*/ 522 w 522"/>
                <a:gd name="T9" fmla="*/ 1380 h 1768"/>
                <a:gd name="connsiteX0" fmla="*/ 10000 w 10000"/>
                <a:gd name="connsiteY0" fmla="*/ 6103 h 8298"/>
                <a:gd name="connsiteX1" fmla="*/ 0 w 10000"/>
                <a:gd name="connsiteY1" fmla="*/ 8298 h 8298"/>
                <a:gd name="connsiteX2" fmla="*/ 35 w 10000"/>
                <a:gd name="connsiteY2" fmla="*/ 0 h 8298"/>
                <a:gd name="connsiteX3" fmla="*/ 10000 w 10000"/>
                <a:gd name="connsiteY3" fmla="*/ 6103 h 8298"/>
                <a:gd name="connsiteX4" fmla="*/ 10000 w 10000"/>
                <a:gd name="connsiteY4" fmla="*/ 6103 h 82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8298">
                  <a:moveTo>
                    <a:pt x="10000" y="6103"/>
                  </a:moveTo>
                  <a:lnTo>
                    <a:pt x="0" y="8298"/>
                  </a:lnTo>
                  <a:cubicBezTo>
                    <a:pt x="12" y="5532"/>
                    <a:pt x="23" y="2766"/>
                    <a:pt x="35" y="0"/>
                  </a:cubicBezTo>
                  <a:lnTo>
                    <a:pt x="10000" y="6103"/>
                  </a:lnTo>
                  <a:lnTo>
                    <a:pt x="10000" y="6103"/>
                  </a:lnTo>
                  <a:close/>
                </a:path>
              </a:pathLst>
            </a:custGeom>
            <a:gradFill flip="none" rotWithShape="1">
              <a:gsLst>
                <a:gs pos="73000">
                  <a:schemeClr val="accent1"/>
                </a:gs>
                <a:gs pos="31000">
                  <a:schemeClr val="accent1">
                    <a:lumMod val="60000"/>
                    <a:lumOff val="40000"/>
                  </a:schemeClr>
                </a:gs>
                <a:gs pos="0">
                  <a:schemeClr val="accent1">
                    <a:lumMod val="40000"/>
                    <a:lumOff val="60000"/>
                  </a:schemeClr>
                </a:gs>
              </a:gsLst>
              <a:lin ang="2700000" scaled="1"/>
              <a:tileRect/>
            </a:gradFill>
            <a:ln w="25400">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22222"/>
                </a:solidFill>
                <a:effectLst/>
                <a:uLnTx/>
                <a:uFillTx/>
                <a:latin typeface="Inter"/>
                <a:cs typeface="+mn-cs"/>
              </a:endParaRPr>
            </a:p>
          </p:txBody>
        </p:sp>
      </p:grpSp>
      <p:grpSp>
        <p:nvGrpSpPr>
          <p:cNvPr id="103" name="组合 102">
            <a:extLst>
              <a:ext uri="{FF2B5EF4-FFF2-40B4-BE49-F238E27FC236}">
                <a16:creationId xmlns:a16="http://schemas.microsoft.com/office/drawing/2014/main" id="{53383B8E-6608-47A4-A21C-158353D94594}"/>
              </a:ext>
            </a:extLst>
          </p:cNvPr>
          <p:cNvGrpSpPr/>
          <p:nvPr/>
        </p:nvGrpSpPr>
        <p:grpSpPr>
          <a:xfrm>
            <a:off x="5405900" y="3167619"/>
            <a:ext cx="1384456" cy="1969260"/>
            <a:chOff x="3054269" y="3167618"/>
            <a:chExt cx="1384456" cy="1969260"/>
          </a:xfrm>
        </p:grpSpPr>
        <p:sp>
          <p:nvSpPr>
            <p:cNvPr id="104" name="Freeform 5">
              <a:extLst>
                <a:ext uri="{FF2B5EF4-FFF2-40B4-BE49-F238E27FC236}">
                  <a16:creationId xmlns:a16="http://schemas.microsoft.com/office/drawing/2014/main" id="{505FB81A-6D03-4456-B52A-4BAAFAABDC2C}"/>
                </a:ext>
              </a:extLst>
            </p:cNvPr>
            <p:cNvSpPr>
              <a:spLocks/>
            </p:cNvSpPr>
            <p:nvPr/>
          </p:nvSpPr>
          <p:spPr bwMode="auto">
            <a:xfrm>
              <a:off x="3054269" y="3167618"/>
              <a:ext cx="701172" cy="1969260"/>
            </a:xfrm>
            <a:custGeom>
              <a:avLst/>
              <a:gdLst>
                <a:gd name="T0" fmla="*/ 0 w 532"/>
                <a:gd name="T1" fmla="*/ 1380 h 1768"/>
                <a:gd name="T2" fmla="*/ 532 w 532"/>
                <a:gd name="T3" fmla="*/ 1768 h 1768"/>
                <a:gd name="T4" fmla="*/ 532 w 532"/>
                <a:gd name="T5" fmla="*/ 0 h 1768"/>
                <a:gd name="T6" fmla="*/ 0 w 532"/>
                <a:gd name="T7" fmla="*/ 1380 h 1768"/>
                <a:gd name="T8" fmla="*/ 0 w 532"/>
                <a:gd name="T9" fmla="*/ 1380 h 1768"/>
                <a:gd name="connsiteX0" fmla="*/ 0 w 10034"/>
                <a:gd name="connsiteY0" fmla="*/ 11095 h 13290"/>
                <a:gd name="connsiteX1" fmla="*/ 10000 w 10034"/>
                <a:gd name="connsiteY1" fmla="*/ 13290 h 13290"/>
                <a:gd name="connsiteX2" fmla="*/ 10034 w 10034"/>
                <a:gd name="connsiteY2" fmla="*/ 0 h 13290"/>
                <a:gd name="connsiteX3" fmla="*/ 0 w 10034"/>
                <a:gd name="connsiteY3" fmla="*/ 11095 h 13290"/>
                <a:gd name="connsiteX4" fmla="*/ 0 w 10034"/>
                <a:gd name="connsiteY4" fmla="*/ 11095 h 13290"/>
                <a:gd name="connsiteX0" fmla="*/ 0 w 10068"/>
                <a:gd name="connsiteY0" fmla="*/ 11127 h 13322"/>
                <a:gd name="connsiteX1" fmla="*/ 10000 w 10068"/>
                <a:gd name="connsiteY1" fmla="*/ 13322 h 13322"/>
                <a:gd name="connsiteX2" fmla="*/ 10068 w 10068"/>
                <a:gd name="connsiteY2" fmla="*/ 0 h 13322"/>
                <a:gd name="connsiteX3" fmla="*/ 0 w 10068"/>
                <a:gd name="connsiteY3" fmla="*/ 11127 h 13322"/>
                <a:gd name="connsiteX4" fmla="*/ 0 w 10068"/>
                <a:gd name="connsiteY4" fmla="*/ 11127 h 13322"/>
                <a:gd name="connsiteX0" fmla="*/ 0 w 10001"/>
                <a:gd name="connsiteY0" fmla="*/ 11208 h 13403"/>
                <a:gd name="connsiteX1" fmla="*/ 10000 w 10001"/>
                <a:gd name="connsiteY1" fmla="*/ 13403 h 13403"/>
                <a:gd name="connsiteX2" fmla="*/ 9966 w 10001"/>
                <a:gd name="connsiteY2" fmla="*/ 0 h 13403"/>
                <a:gd name="connsiteX3" fmla="*/ 0 w 10001"/>
                <a:gd name="connsiteY3" fmla="*/ 11208 h 13403"/>
                <a:gd name="connsiteX4" fmla="*/ 0 w 10001"/>
                <a:gd name="connsiteY4" fmla="*/ 11208 h 13403"/>
                <a:gd name="connsiteX0" fmla="*/ 0 w 10003"/>
                <a:gd name="connsiteY0" fmla="*/ 11176 h 13371"/>
                <a:gd name="connsiteX1" fmla="*/ 10000 w 10003"/>
                <a:gd name="connsiteY1" fmla="*/ 13371 h 13371"/>
                <a:gd name="connsiteX2" fmla="*/ 10000 w 10003"/>
                <a:gd name="connsiteY2" fmla="*/ 0 h 13371"/>
                <a:gd name="connsiteX3" fmla="*/ 0 w 10003"/>
                <a:gd name="connsiteY3" fmla="*/ 11176 h 13371"/>
                <a:gd name="connsiteX4" fmla="*/ 0 w 10003"/>
                <a:gd name="connsiteY4" fmla="*/ 11176 h 13371"/>
                <a:gd name="connsiteX0" fmla="*/ 0 w 10034"/>
                <a:gd name="connsiteY0" fmla="*/ 11208 h 13403"/>
                <a:gd name="connsiteX1" fmla="*/ 10000 w 10034"/>
                <a:gd name="connsiteY1" fmla="*/ 13403 h 13403"/>
                <a:gd name="connsiteX2" fmla="*/ 10034 w 10034"/>
                <a:gd name="connsiteY2" fmla="*/ 0 h 13403"/>
                <a:gd name="connsiteX3" fmla="*/ 0 w 10034"/>
                <a:gd name="connsiteY3" fmla="*/ 11208 h 13403"/>
                <a:gd name="connsiteX4" fmla="*/ 0 w 10034"/>
                <a:gd name="connsiteY4" fmla="*/ 11208 h 134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34" h="13403">
                  <a:moveTo>
                    <a:pt x="0" y="11208"/>
                  </a:moveTo>
                  <a:lnTo>
                    <a:pt x="10000" y="13403"/>
                  </a:lnTo>
                  <a:cubicBezTo>
                    <a:pt x="10011" y="8973"/>
                    <a:pt x="10023" y="4430"/>
                    <a:pt x="10034" y="0"/>
                  </a:cubicBezTo>
                  <a:lnTo>
                    <a:pt x="0" y="11208"/>
                  </a:lnTo>
                  <a:lnTo>
                    <a:pt x="0" y="11208"/>
                  </a:lnTo>
                  <a:close/>
                </a:path>
              </a:pathLst>
            </a:custGeom>
            <a:gradFill flip="none" rotWithShape="1">
              <a:gsLst>
                <a:gs pos="73000">
                  <a:schemeClr val="accent1"/>
                </a:gs>
                <a:gs pos="31000">
                  <a:schemeClr val="accent1">
                    <a:lumMod val="60000"/>
                    <a:lumOff val="40000"/>
                  </a:schemeClr>
                </a:gs>
                <a:gs pos="0">
                  <a:schemeClr val="accent1">
                    <a:lumMod val="40000"/>
                    <a:lumOff val="60000"/>
                  </a:schemeClr>
                </a:gs>
              </a:gsLst>
              <a:lin ang="2700000" scaled="1"/>
              <a:tileRect/>
            </a:gradFill>
            <a:ln w="25400">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22222"/>
                </a:solidFill>
                <a:effectLst/>
                <a:uLnTx/>
                <a:uFillTx/>
                <a:latin typeface="Inter"/>
                <a:cs typeface="+mn-cs"/>
              </a:endParaRPr>
            </a:p>
          </p:txBody>
        </p:sp>
        <p:sp>
          <p:nvSpPr>
            <p:cNvPr id="105" name="Freeform 6">
              <a:extLst>
                <a:ext uri="{FF2B5EF4-FFF2-40B4-BE49-F238E27FC236}">
                  <a16:creationId xmlns:a16="http://schemas.microsoft.com/office/drawing/2014/main" id="{CD39C086-5E10-4772-AB06-FF59DE3E6EE3}"/>
                </a:ext>
              </a:extLst>
            </p:cNvPr>
            <p:cNvSpPr>
              <a:spLocks/>
            </p:cNvSpPr>
            <p:nvPr/>
          </p:nvSpPr>
          <p:spPr bwMode="auto">
            <a:xfrm>
              <a:off x="3752859" y="3169968"/>
              <a:ext cx="685866" cy="1966910"/>
            </a:xfrm>
            <a:custGeom>
              <a:avLst/>
              <a:gdLst>
                <a:gd name="T0" fmla="*/ 522 w 522"/>
                <a:gd name="T1" fmla="*/ 1380 h 1768"/>
                <a:gd name="T2" fmla="*/ 0 w 522"/>
                <a:gd name="T3" fmla="*/ 1768 h 1768"/>
                <a:gd name="T4" fmla="*/ 0 w 522"/>
                <a:gd name="T5" fmla="*/ 0 h 1768"/>
                <a:gd name="T6" fmla="*/ 522 w 522"/>
                <a:gd name="T7" fmla="*/ 1380 h 1768"/>
                <a:gd name="T8" fmla="*/ 522 w 522"/>
                <a:gd name="T9" fmla="*/ 1380 h 1768"/>
                <a:gd name="connsiteX0" fmla="*/ 10000 w 10000"/>
                <a:gd name="connsiteY0" fmla="*/ 11144 h 13339"/>
                <a:gd name="connsiteX1" fmla="*/ 0 w 10000"/>
                <a:gd name="connsiteY1" fmla="*/ 13339 h 13339"/>
                <a:gd name="connsiteX2" fmla="*/ 35 w 10000"/>
                <a:gd name="connsiteY2" fmla="*/ 0 h 13339"/>
                <a:gd name="connsiteX3" fmla="*/ 10000 w 10000"/>
                <a:gd name="connsiteY3" fmla="*/ 11144 h 13339"/>
                <a:gd name="connsiteX4" fmla="*/ 10000 w 10000"/>
                <a:gd name="connsiteY4" fmla="*/ 11144 h 13339"/>
                <a:gd name="connsiteX0" fmla="*/ 10000 w 10000"/>
                <a:gd name="connsiteY0" fmla="*/ 11144 h 13339"/>
                <a:gd name="connsiteX1" fmla="*/ 0 w 10000"/>
                <a:gd name="connsiteY1" fmla="*/ 13339 h 13339"/>
                <a:gd name="connsiteX2" fmla="*/ 35 w 10000"/>
                <a:gd name="connsiteY2" fmla="*/ 0 h 13339"/>
                <a:gd name="connsiteX3" fmla="*/ 10000 w 10000"/>
                <a:gd name="connsiteY3" fmla="*/ 11144 h 13339"/>
                <a:gd name="connsiteX4" fmla="*/ 10000 w 10000"/>
                <a:gd name="connsiteY4" fmla="*/ 11144 h 13339"/>
                <a:gd name="connsiteX0" fmla="*/ 10003 w 10003"/>
                <a:gd name="connsiteY0" fmla="*/ 11160 h 13355"/>
                <a:gd name="connsiteX1" fmla="*/ 3 w 10003"/>
                <a:gd name="connsiteY1" fmla="*/ 13355 h 13355"/>
                <a:gd name="connsiteX2" fmla="*/ 3 w 10003"/>
                <a:gd name="connsiteY2" fmla="*/ 0 h 13355"/>
                <a:gd name="connsiteX3" fmla="*/ 10003 w 10003"/>
                <a:gd name="connsiteY3" fmla="*/ 11160 h 13355"/>
                <a:gd name="connsiteX4" fmla="*/ 10003 w 10003"/>
                <a:gd name="connsiteY4" fmla="*/ 11160 h 13355"/>
                <a:gd name="connsiteX0" fmla="*/ 10003 w 10003"/>
                <a:gd name="connsiteY0" fmla="*/ 11160 h 13355"/>
                <a:gd name="connsiteX1" fmla="*/ 3 w 10003"/>
                <a:gd name="connsiteY1" fmla="*/ 13355 h 13355"/>
                <a:gd name="connsiteX2" fmla="*/ 3 w 10003"/>
                <a:gd name="connsiteY2" fmla="*/ 0 h 13355"/>
                <a:gd name="connsiteX3" fmla="*/ 10003 w 10003"/>
                <a:gd name="connsiteY3" fmla="*/ 11160 h 13355"/>
                <a:gd name="connsiteX4" fmla="*/ 10003 w 10003"/>
                <a:gd name="connsiteY4" fmla="*/ 11160 h 13355"/>
                <a:gd name="connsiteX0" fmla="*/ 10003 w 10003"/>
                <a:gd name="connsiteY0" fmla="*/ 11192 h 13387"/>
                <a:gd name="connsiteX1" fmla="*/ 3 w 10003"/>
                <a:gd name="connsiteY1" fmla="*/ 13387 h 13387"/>
                <a:gd name="connsiteX2" fmla="*/ 3 w 10003"/>
                <a:gd name="connsiteY2" fmla="*/ 0 h 13387"/>
                <a:gd name="connsiteX3" fmla="*/ 10003 w 10003"/>
                <a:gd name="connsiteY3" fmla="*/ 11192 h 13387"/>
                <a:gd name="connsiteX4" fmla="*/ 10003 w 10003"/>
                <a:gd name="connsiteY4" fmla="*/ 11192 h 133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3" h="13387">
                  <a:moveTo>
                    <a:pt x="10003" y="11192"/>
                  </a:moveTo>
                  <a:lnTo>
                    <a:pt x="3" y="13387"/>
                  </a:lnTo>
                  <a:cubicBezTo>
                    <a:pt x="15" y="8941"/>
                    <a:pt x="-9" y="4446"/>
                    <a:pt x="3" y="0"/>
                  </a:cubicBezTo>
                  <a:lnTo>
                    <a:pt x="10003" y="11192"/>
                  </a:lnTo>
                  <a:lnTo>
                    <a:pt x="10003" y="11192"/>
                  </a:lnTo>
                  <a:close/>
                </a:path>
              </a:pathLst>
            </a:custGeom>
            <a:gradFill flip="none" rotWithShape="1">
              <a:gsLst>
                <a:gs pos="73000">
                  <a:schemeClr val="accent1"/>
                </a:gs>
                <a:gs pos="31000">
                  <a:schemeClr val="accent1">
                    <a:lumMod val="60000"/>
                    <a:lumOff val="40000"/>
                  </a:schemeClr>
                </a:gs>
                <a:gs pos="0">
                  <a:schemeClr val="accent1">
                    <a:lumMod val="40000"/>
                    <a:lumOff val="60000"/>
                  </a:schemeClr>
                </a:gs>
              </a:gsLst>
              <a:lin ang="2700000" scaled="1"/>
              <a:tileRect/>
            </a:gradFill>
            <a:ln w="25400">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22222"/>
                </a:solidFill>
                <a:effectLst/>
                <a:uLnTx/>
                <a:uFillTx/>
                <a:latin typeface="Inter"/>
                <a:cs typeface="+mn-cs"/>
              </a:endParaRPr>
            </a:p>
          </p:txBody>
        </p:sp>
      </p:grpSp>
      <p:sp>
        <p:nvSpPr>
          <p:cNvPr id="4" name="Right Triangle 61">
            <a:extLst>
              <a:ext uri="{FF2B5EF4-FFF2-40B4-BE49-F238E27FC236}">
                <a16:creationId xmlns:a16="http://schemas.microsoft.com/office/drawing/2014/main" id="{E3BB46C6-3C66-483A-974B-25C6E2F27708}"/>
              </a:ext>
            </a:extLst>
          </p:cNvPr>
          <p:cNvSpPr/>
          <p:nvPr/>
        </p:nvSpPr>
        <p:spPr>
          <a:xfrm flipV="1">
            <a:off x="1055689" y="803583"/>
            <a:ext cx="72580" cy="72177"/>
          </a:xfrm>
          <a:prstGeom prst="r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HarmonyOS Sans SC"/>
              <a:cs typeface="+mn-cs"/>
            </a:endParaRPr>
          </a:p>
        </p:txBody>
      </p:sp>
      <p:sp>
        <p:nvSpPr>
          <p:cNvPr id="6" name="文本框 5">
            <a:extLst>
              <a:ext uri="{FF2B5EF4-FFF2-40B4-BE49-F238E27FC236}">
                <a16:creationId xmlns:a16="http://schemas.microsoft.com/office/drawing/2014/main" id="{C0CAAF5C-0786-4092-AF4D-1DEC5D2248E1}"/>
              </a:ext>
            </a:extLst>
          </p:cNvPr>
          <p:cNvSpPr txBox="1"/>
          <p:nvPr/>
        </p:nvSpPr>
        <p:spPr>
          <a:xfrm>
            <a:off x="941388" y="918105"/>
            <a:ext cx="5176417"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2800" b="0" i="0" u="none" strike="noStrike" kern="1200" cap="none" spc="0" normalizeH="0" baseline="0" noProof="0" dirty="0">
                <a:ln>
                  <a:noFill/>
                </a:ln>
                <a:solidFill>
                  <a:prstClr val="black"/>
                </a:solidFill>
                <a:effectLst/>
                <a:uLnTx/>
                <a:uFillTx/>
                <a:latin typeface="HarmonyOS Sans Black"/>
                <a:ea typeface="+mj-ea"/>
                <a:cs typeface="+mn-cs"/>
              </a:rPr>
              <a:t>Process &amp; Chart </a:t>
            </a:r>
            <a:r>
              <a:rPr kumimoji="0" lang="en-US" altLang="zh-CN" sz="1800" b="0" i="0" u="none" strike="noStrike" kern="1200" cap="none" spc="0" normalizeH="0" baseline="0" noProof="0" dirty="0">
                <a:ln>
                  <a:noFill/>
                </a:ln>
                <a:solidFill>
                  <a:prstClr val="black"/>
                </a:solidFill>
                <a:effectLst/>
                <a:uLnTx/>
                <a:uFillTx/>
                <a:latin typeface="HarmonyOS Sans SC"/>
                <a:cs typeface="+mn-cs"/>
              </a:rPr>
              <a:t> </a:t>
            </a:r>
            <a:r>
              <a:rPr kumimoji="0" lang="en-US" altLang="zh-CN" sz="2800" b="0" i="0" u="none" strike="noStrike" kern="1200" cap="none" spc="0" normalizeH="0" baseline="0" noProof="0" dirty="0">
                <a:ln>
                  <a:noFill/>
                </a:ln>
                <a:solidFill>
                  <a:schemeClr val="accent1"/>
                </a:solidFill>
                <a:effectLst/>
                <a:uLnTx/>
                <a:uFillTx/>
                <a:latin typeface="HarmonyOS Sans Black"/>
                <a:ea typeface="+mj-ea"/>
                <a:cs typeface="+mn-cs"/>
              </a:rPr>
              <a:t>Infographic</a:t>
            </a:r>
          </a:p>
        </p:txBody>
      </p:sp>
      <p:grpSp>
        <p:nvGrpSpPr>
          <p:cNvPr id="99" name="组合 98">
            <a:extLst>
              <a:ext uri="{FF2B5EF4-FFF2-40B4-BE49-F238E27FC236}">
                <a16:creationId xmlns:a16="http://schemas.microsoft.com/office/drawing/2014/main" id="{7BF28E23-1388-429A-9A8E-15D504C9F7A8}"/>
              </a:ext>
            </a:extLst>
          </p:cNvPr>
          <p:cNvGrpSpPr/>
          <p:nvPr/>
        </p:nvGrpSpPr>
        <p:grpSpPr>
          <a:xfrm>
            <a:off x="3232921" y="3667611"/>
            <a:ext cx="1384456" cy="1469268"/>
            <a:chOff x="3054269" y="3667611"/>
            <a:chExt cx="1384456" cy="1469268"/>
          </a:xfrm>
        </p:grpSpPr>
        <p:sp>
          <p:nvSpPr>
            <p:cNvPr id="9" name="Freeform 5">
              <a:extLst>
                <a:ext uri="{FF2B5EF4-FFF2-40B4-BE49-F238E27FC236}">
                  <a16:creationId xmlns:a16="http://schemas.microsoft.com/office/drawing/2014/main" id="{69FAC940-CB4F-4426-BB26-1A45F0377941}"/>
                </a:ext>
              </a:extLst>
            </p:cNvPr>
            <p:cNvSpPr>
              <a:spLocks/>
            </p:cNvSpPr>
            <p:nvPr/>
          </p:nvSpPr>
          <p:spPr bwMode="auto">
            <a:xfrm>
              <a:off x="3054269" y="3667611"/>
              <a:ext cx="698796" cy="1469268"/>
            </a:xfrm>
            <a:custGeom>
              <a:avLst/>
              <a:gdLst>
                <a:gd name="T0" fmla="*/ 0 w 532"/>
                <a:gd name="T1" fmla="*/ 1380 h 1768"/>
                <a:gd name="T2" fmla="*/ 532 w 532"/>
                <a:gd name="T3" fmla="*/ 1768 h 1768"/>
                <a:gd name="T4" fmla="*/ 532 w 532"/>
                <a:gd name="T5" fmla="*/ 0 h 1768"/>
                <a:gd name="T6" fmla="*/ 0 w 532"/>
                <a:gd name="T7" fmla="*/ 1380 h 1768"/>
                <a:gd name="T8" fmla="*/ 0 w 532"/>
                <a:gd name="T9" fmla="*/ 1380 h 1768"/>
              </a:gdLst>
              <a:ahLst/>
              <a:cxnLst>
                <a:cxn ang="0">
                  <a:pos x="T0" y="T1"/>
                </a:cxn>
                <a:cxn ang="0">
                  <a:pos x="T2" y="T3"/>
                </a:cxn>
                <a:cxn ang="0">
                  <a:pos x="T4" y="T5"/>
                </a:cxn>
                <a:cxn ang="0">
                  <a:pos x="T6" y="T7"/>
                </a:cxn>
                <a:cxn ang="0">
                  <a:pos x="T8" y="T9"/>
                </a:cxn>
              </a:cxnLst>
              <a:rect l="0" t="0" r="r" b="b"/>
              <a:pathLst>
                <a:path w="532" h="1768">
                  <a:moveTo>
                    <a:pt x="0" y="1380"/>
                  </a:moveTo>
                  <a:lnTo>
                    <a:pt x="532" y="1768"/>
                  </a:lnTo>
                  <a:lnTo>
                    <a:pt x="532" y="0"/>
                  </a:lnTo>
                  <a:lnTo>
                    <a:pt x="0" y="1380"/>
                  </a:lnTo>
                  <a:lnTo>
                    <a:pt x="0" y="1380"/>
                  </a:lnTo>
                  <a:close/>
                </a:path>
              </a:pathLst>
            </a:custGeom>
            <a:gradFill flip="none" rotWithShape="1">
              <a:gsLst>
                <a:gs pos="73000">
                  <a:schemeClr val="accent1"/>
                </a:gs>
                <a:gs pos="31000">
                  <a:schemeClr val="accent1">
                    <a:lumMod val="60000"/>
                    <a:lumOff val="40000"/>
                  </a:schemeClr>
                </a:gs>
                <a:gs pos="0">
                  <a:schemeClr val="accent1">
                    <a:lumMod val="40000"/>
                    <a:lumOff val="60000"/>
                  </a:schemeClr>
                </a:gs>
              </a:gsLst>
              <a:lin ang="2700000" scaled="1"/>
              <a:tileRect/>
            </a:gradFill>
            <a:ln w="25400">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22222"/>
                </a:solidFill>
                <a:effectLst/>
                <a:uLnTx/>
                <a:uFillTx/>
                <a:latin typeface="Inter"/>
                <a:cs typeface="+mn-cs"/>
              </a:endParaRPr>
            </a:p>
          </p:txBody>
        </p:sp>
        <p:sp>
          <p:nvSpPr>
            <p:cNvPr id="10" name="Freeform 6">
              <a:extLst>
                <a:ext uri="{FF2B5EF4-FFF2-40B4-BE49-F238E27FC236}">
                  <a16:creationId xmlns:a16="http://schemas.microsoft.com/office/drawing/2014/main" id="{FB891BAE-D160-43CA-AF1C-51496C2682BD}"/>
                </a:ext>
              </a:extLst>
            </p:cNvPr>
            <p:cNvSpPr>
              <a:spLocks/>
            </p:cNvSpPr>
            <p:nvPr/>
          </p:nvSpPr>
          <p:spPr bwMode="auto">
            <a:xfrm>
              <a:off x="3753065" y="3667611"/>
              <a:ext cx="685660" cy="1469268"/>
            </a:xfrm>
            <a:custGeom>
              <a:avLst/>
              <a:gdLst>
                <a:gd name="T0" fmla="*/ 522 w 522"/>
                <a:gd name="T1" fmla="*/ 1380 h 1768"/>
                <a:gd name="T2" fmla="*/ 0 w 522"/>
                <a:gd name="T3" fmla="*/ 1768 h 1768"/>
                <a:gd name="T4" fmla="*/ 0 w 522"/>
                <a:gd name="T5" fmla="*/ 0 h 1768"/>
                <a:gd name="T6" fmla="*/ 522 w 522"/>
                <a:gd name="T7" fmla="*/ 1380 h 1768"/>
                <a:gd name="T8" fmla="*/ 522 w 522"/>
                <a:gd name="T9" fmla="*/ 1380 h 1768"/>
              </a:gdLst>
              <a:ahLst/>
              <a:cxnLst>
                <a:cxn ang="0">
                  <a:pos x="T0" y="T1"/>
                </a:cxn>
                <a:cxn ang="0">
                  <a:pos x="T2" y="T3"/>
                </a:cxn>
                <a:cxn ang="0">
                  <a:pos x="T4" y="T5"/>
                </a:cxn>
                <a:cxn ang="0">
                  <a:pos x="T6" y="T7"/>
                </a:cxn>
                <a:cxn ang="0">
                  <a:pos x="T8" y="T9"/>
                </a:cxn>
              </a:cxnLst>
              <a:rect l="0" t="0" r="r" b="b"/>
              <a:pathLst>
                <a:path w="522" h="1768">
                  <a:moveTo>
                    <a:pt x="522" y="1380"/>
                  </a:moveTo>
                  <a:lnTo>
                    <a:pt x="0" y="1768"/>
                  </a:lnTo>
                  <a:lnTo>
                    <a:pt x="0" y="0"/>
                  </a:lnTo>
                  <a:lnTo>
                    <a:pt x="522" y="1380"/>
                  </a:lnTo>
                  <a:lnTo>
                    <a:pt x="522" y="1380"/>
                  </a:lnTo>
                  <a:close/>
                </a:path>
              </a:pathLst>
            </a:custGeom>
            <a:gradFill flip="none" rotWithShape="1">
              <a:gsLst>
                <a:gs pos="73000">
                  <a:schemeClr val="accent1"/>
                </a:gs>
                <a:gs pos="31000">
                  <a:schemeClr val="accent1">
                    <a:lumMod val="60000"/>
                    <a:lumOff val="40000"/>
                  </a:schemeClr>
                </a:gs>
                <a:gs pos="0">
                  <a:schemeClr val="accent1">
                    <a:lumMod val="40000"/>
                    <a:lumOff val="60000"/>
                  </a:schemeClr>
                </a:gs>
              </a:gsLst>
              <a:lin ang="2700000" scaled="1"/>
              <a:tileRect/>
            </a:gradFill>
            <a:ln w="25400">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22222"/>
                </a:solidFill>
                <a:effectLst/>
                <a:uLnTx/>
                <a:uFillTx/>
                <a:latin typeface="Inter"/>
                <a:cs typeface="+mn-cs"/>
              </a:endParaRPr>
            </a:p>
          </p:txBody>
        </p:sp>
      </p:grpSp>
      <p:grpSp>
        <p:nvGrpSpPr>
          <p:cNvPr id="115" name="组合 114">
            <a:extLst>
              <a:ext uri="{FF2B5EF4-FFF2-40B4-BE49-F238E27FC236}">
                <a16:creationId xmlns:a16="http://schemas.microsoft.com/office/drawing/2014/main" id="{6C80395F-2C50-45AC-A233-D406A966BF1D}"/>
              </a:ext>
            </a:extLst>
          </p:cNvPr>
          <p:cNvGrpSpPr/>
          <p:nvPr/>
        </p:nvGrpSpPr>
        <p:grpSpPr>
          <a:xfrm>
            <a:off x="7578879" y="3455029"/>
            <a:ext cx="1384456" cy="1681850"/>
            <a:chOff x="7562603" y="3455029"/>
            <a:chExt cx="1384456" cy="1681850"/>
          </a:xfrm>
        </p:grpSpPr>
        <p:sp>
          <p:nvSpPr>
            <p:cNvPr id="15" name="Freeform 5">
              <a:extLst>
                <a:ext uri="{FF2B5EF4-FFF2-40B4-BE49-F238E27FC236}">
                  <a16:creationId xmlns:a16="http://schemas.microsoft.com/office/drawing/2014/main" id="{F3ECC95C-C257-43CE-986F-78EEB7E78E62}"/>
                </a:ext>
              </a:extLst>
            </p:cNvPr>
            <p:cNvSpPr>
              <a:spLocks/>
            </p:cNvSpPr>
            <p:nvPr/>
          </p:nvSpPr>
          <p:spPr bwMode="auto">
            <a:xfrm>
              <a:off x="7562603" y="3455029"/>
              <a:ext cx="698796" cy="1681850"/>
            </a:xfrm>
            <a:custGeom>
              <a:avLst/>
              <a:gdLst>
                <a:gd name="T0" fmla="*/ 0 w 532"/>
                <a:gd name="T1" fmla="*/ 1380 h 1768"/>
                <a:gd name="T2" fmla="*/ 532 w 532"/>
                <a:gd name="T3" fmla="*/ 1768 h 1768"/>
                <a:gd name="T4" fmla="*/ 532 w 532"/>
                <a:gd name="T5" fmla="*/ 0 h 1768"/>
                <a:gd name="T6" fmla="*/ 0 w 532"/>
                <a:gd name="T7" fmla="*/ 1380 h 1768"/>
                <a:gd name="T8" fmla="*/ 0 w 532"/>
                <a:gd name="T9" fmla="*/ 1380 h 1768"/>
              </a:gdLst>
              <a:ahLst/>
              <a:cxnLst>
                <a:cxn ang="0">
                  <a:pos x="T0" y="T1"/>
                </a:cxn>
                <a:cxn ang="0">
                  <a:pos x="T2" y="T3"/>
                </a:cxn>
                <a:cxn ang="0">
                  <a:pos x="T4" y="T5"/>
                </a:cxn>
                <a:cxn ang="0">
                  <a:pos x="T6" y="T7"/>
                </a:cxn>
                <a:cxn ang="0">
                  <a:pos x="T8" y="T9"/>
                </a:cxn>
              </a:cxnLst>
              <a:rect l="0" t="0" r="r" b="b"/>
              <a:pathLst>
                <a:path w="532" h="1768">
                  <a:moveTo>
                    <a:pt x="0" y="1380"/>
                  </a:moveTo>
                  <a:lnTo>
                    <a:pt x="532" y="1768"/>
                  </a:lnTo>
                  <a:lnTo>
                    <a:pt x="532" y="0"/>
                  </a:lnTo>
                  <a:lnTo>
                    <a:pt x="0" y="1380"/>
                  </a:lnTo>
                  <a:lnTo>
                    <a:pt x="0" y="1380"/>
                  </a:lnTo>
                  <a:close/>
                </a:path>
              </a:pathLst>
            </a:custGeom>
            <a:gradFill flip="none" rotWithShape="1">
              <a:gsLst>
                <a:gs pos="73000">
                  <a:schemeClr val="accent1"/>
                </a:gs>
                <a:gs pos="31000">
                  <a:schemeClr val="accent1">
                    <a:lumMod val="60000"/>
                    <a:lumOff val="40000"/>
                  </a:schemeClr>
                </a:gs>
                <a:gs pos="0">
                  <a:schemeClr val="accent1">
                    <a:lumMod val="40000"/>
                    <a:lumOff val="60000"/>
                  </a:schemeClr>
                </a:gs>
              </a:gsLst>
              <a:lin ang="2700000" scaled="1"/>
              <a:tileRect/>
            </a:gradFill>
            <a:ln w="25400">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22222"/>
                </a:solidFill>
                <a:effectLst/>
                <a:uLnTx/>
                <a:uFillTx/>
                <a:latin typeface="Inter"/>
                <a:cs typeface="+mn-cs"/>
              </a:endParaRPr>
            </a:p>
          </p:txBody>
        </p:sp>
        <p:sp>
          <p:nvSpPr>
            <p:cNvPr id="16" name="Freeform 6">
              <a:extLst>
                <a:ext uri="{FF2B5EF4-FFF2-40B4-BE49-F238E27FC236}">
                  <a16:creationId xmlns:a16="http://schemas.microsoft.com/office/drawing/2014/main" id="{B90A04A7-7AF5-4B18-BEC0-A294C07D418B}"/>
                </a:ext>
              </a:extLst>
            </p:cNvPr>
            <p:cNvSpPr>
              <a:spLocks/>
            </p:cNvSpPr>
            <p:nvPr/>
          </p:nvSpPr>
          <p:spPr bwMode="auto">
            <a:xfrm>
              <a:off x="8261399" y="3455029"/>
              <a:ext cx="685660" cy="1681850"/>
            </a:xfrm>
            <a:custGeom>
              <a:avLst/>
              <a:gdLst>
                <a:gd name="T0" fmla="*/ 522 w 522"/>
                <a:gd name="T1" fmla="*/ 1380 h 1768"/>
                <a:gd name="T2" fmla="*/ 0 w 522"/>
                <a:gd name="T3" fmla="*/ 1768 h 1768"/>
                <a:gd name="T4" fmla="*/ 0 w 522"/>
                <a:gd name="T5" fmla="*/ 0 h 1768"/>
                <a:gd name="T6" fmla="*/ 522 w 522"/>
                <a:gd name="T7" fmla="*/ 1380 h 1768"/>
                <a:gd name="T8" fmla="*/ 522 w 522"/>
                <a:gd name="T9" fmla="*/ 1380 h 1768"/>
              </a:gdLst>
              <a:ahLst/>
              <a:cxnLst>
                <a:cxn ang="0">
                  <a:pos x="T0" y="T1"/>
                </a:cxn>
                <a:cxn ang="0">
                  <a:pos x="T2" y="T3"/>
                </a:cxn>
                <a:cxn ang="0">
                  <a:pos x="T4" y="T5"/>
                </a:cxn>
                <a:cxn ang="0">
                  <a:pos x="T6" y="T7"/>
                </a:cxn>
                <a:cxn ang="0">
                  <a:pos x="T8" y="T9"/>
                </a:cxn>
              </a:cxnLst>
              <a:rect l="0" t="0" r="r" b="b"/>
              <a:pathLst>
                <a:path w="522" h="1768">
                  <a:moveTo>
                    <a:pt x="522" y="1380"/>
                  </a:moveTo>
                  <a:lnTo>
                    <a:pt x="0" y="1768"/>
                  </a:lnTo>
                  <a:lnTo>
                    <a:pt x="0" y="0"/>
                  </a:lnTo>
                  <a:lnTo>
                    <a:pt x="522" y="1380"/>
                  </a:lnTo>
                  <a:lnTo>
                    <a:pt x="522" y="1380"/>
                  </a:lnTo>
                  <a:close/>
                </a:path>
              </a:pathLst>
            </a:custGeom>
            <a:gradFill flip="none" rotWithShape="1">
              <a:gsLst>
                <a:gs pos="73000">
                  <a:schemeClr val="accent1"/>
                </a:gs>
                <a:gs pos="31000">
                  <a:schemeClr val="accent1">
                    <a:lumMod val="60000"/>
                    <a:lumOff val="40000"/>
                  </a:schemeClr>
                </a:gs>
                <a:gs pos="0">
                  <a:schemeClr val="accent1">
                    <a:lumMod val="40000"/>
                    <a:lumOff val="60000"/>
                  </a:schemeClr>
                </a:gs>
              </a:gsLst>
              <a:lin ang="2700000" scaled="1"/>
              <a:tileRect/>
            </a:gradFill>
            <a:ln w="25400">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22222"/>
                </a:solidFill>
                <a:effectLst/>
                <a:uLnTx/>
                <a:uFillTx/>
                <a:latin typeface="Inter"/>
                <a:cs typeface="+mn-cs"/>
              </a:endParaRPr>
            </a:p>
          </p:txBody>
        </p:sp>
      </p:grpSp>
      <p:cxnSp>
        <p:nvCxnSpPr>
          <p:cNvPr id="32" name="Straight Connector 45">
            <a:extLst>
              <a:ext uri="{FF2B5EF4-FFF2-40B4-BE49-F238E27FC236}">
                <a16:creationId xmlns:a16="http://schemas.microsoft.com/office/drawing/2014/main" id="{E0A8B2DE-6F9D-4B1A-8F13-70D59CB77E69}"/>
              </a:ext>
            </a:extLst>
          </p:cNvPr>
          <p:cNvCxnSpPr>
            <a:cxnSpLocks/>
          </p:cNvCxnSpPr>
          <p:nvPr/>
        </p:nvCxnSpPr>
        <p:spPr>
          <a:xfrm flipV="1">
            <a:off x="3926681" y="2761447"/>
            <a:ext cx="2171700" cy="502444"/>
          </a:xfrm>
          <a:prstGeom prst="line">
            <a:avLst/>
          </a:prstGeom>
          <a:ln w="12700">
            <a:solidFill>
              <a:schemeClr val="accent1">
                <a:alpha val="40000"/>
              </a:schemeClr>
            </a:solidFill>
          </a:ln>
        </p:spPr>
        <p:style>
          <a:lnRef idx="1">
            <a:schemeClr val="accent1"/>
          </a:lnRef>
          <a:fillRef idx="0">
            <a:schemeClr val="accent1"/>
          </a:fillRef>
          <a:effectRef idx="0">
            <a:schemeClr val="accent1"/>
          </a:effectRef>
          <a:fontRef idx="minor">
            <a:schemeClr val="tx1"/>
          </a:fontRef>
        </p:style>
      </p:cxnSp>
      <p:cxnSp>
        <p:nvCxnSpPr>
          <p:cNvPr id="33" name="Straight Connector 46">
            <a:extLst>
              <a:ext uri="{FF2B5EF4-FFF2-40B4-BE49-F238E27FC236}">
                <a16:creationId xmlns:a16="http://schemas.microsoft.com/office/drawing/2014/main" id="{B7E35EB1-CDF3-421C-913F-E91B08E0482C}"/>
              </a:ext>
            </a:extLst>
          </p:cNvPr>
          <p:cNvCxnSpPr>
            <a:cxnSpLocks/>
            <a:stCxn id="36" idx="2"/>
            <a:endCxn id="37" idx="2"/>
          </p:cNvCxnSpPr>
          <p:nvPr/>
        </p:nvCxnSpPr>
        <p:spPr>
          <a:xfrm>
            <a:off x="6064736" y="2765610"/>
            <a:ext cx="2172979" cy="272132"/>
          </a:xfrm>
          <a:prstGeom prst="line">
            <a:avLst/>
          </a:prstGeom>
          <a:ln w="12700">
            <a:solidFill>
              <a:schemeClr val="accent1">
                <a:alpha val="40000"/>
              </a:schemeClr>
            </a:solidFill>
          </a:ln>
        </p:spPr>
        <p:style>
          <a:lnRef idx="1">
            <a:schemeClr val="accent1"/>
          </a:lnRef>
          <a:fillRef idx="0">
            <a:schemeClr val="accent1"/>
          </a:fillRef>
          <a:effectRef idx="0">
            <a:schemeClr val="accent1"/>
          </a:effectRef>
          <a:fontRef idx="minor">
            <a:schemeClr val="tx1"/>
          </a:fontRef>
        </p:style>
      </p:cxnSp>
      <p:cxnSp>
        <p:nvCxnSpPr>
          <p:cNvPr id="34" name="Straight Connector 47">
            <a:extLst>
              <a:ext uri="{FF2B5EF4-FFF2-40B4-BE49-F238E27FC236}">
                <a16:creationId xmlns:a16="http://schemas.microsoft.com/office/drawing/2014/main" id="{EF0B59B5-FB22-46F6-8F5E-58CCE2E2F8FB}"/>
              </a:ext>
            </a:extLst>
          </p:cNvPr>
          <p:cNvCxnSpPr>
            <a:cxnSpLocks/>
          </p:cNvCxnSpPr>
          <p:nvPr/>
        </p:nvCxnSpPr>
        <p:spPr>
          <a:xfrm flipV="1">
            <a:off x="8253413" y="2387591"/>
            <a:ext cx="2195512" cy="652462"/>
          </a:xfrm>
          <a:prstGeom prst="line">
            <a:avLst/>
          </a:prstGeom>
          <a:ln w="12700">
            <a:solidFill>
              <a:schemeClr val="accent1">
                <a:alpha val="40000"/>
              </a:schemeClr>
            </a:solidFill>
          </a:ln>
        </p:spPr>
        <p:style>
          <a:lnRef idx="1">
            <a:schemeClr val="accent1"/>
          </a:lnRef>
          <a:fillRef idx="0">
            <a:schemeClr val="accent1"/>
          </a:fillRef>
          <a:effectRef idx="0">
            <a:schemeClr val="accent1"/>
          </a:effectRef>
          <a:fontRef idx="minor">
            <a:schemeClr val="tx1"/>
          </a:fontRef>
        </p:style>
      </p:cxnSp>
      <p:sp>
        <p:nvSpPr>
          <p:cNvPr id="36" name="Oval 49">
            <a:extLst>
              <a:ext uri="{FF2B5EF4-FFF2-40B4-BE49-F238E27FC236}">
                <a16:creationId xmlns:a16="http://schemas.microsoft.com/office/drawing/2014/main" id="{6828F792-D372-40C1-A9DB-D7B2F7874D9F}"/>
              </a:ext>
            </a:extLst>
          </p:cNvPr>
          <p:cNvSpPr/>
          <p:nvPr/>
        </p:nvSpPr>
        <p:spPr>
          <a:xfrm>
            <a:off x="6064736" y="2731713"/>
            <a:ext cx="66784" cy="67794"/>
          </a:xfrm>
          <a:prstGeom prst="ellipse">
            <a:avLst/>
          </a:prstGeom>
          <a:gradFill>
            <a:gsLst>
              <a:gs pos="73000">
                <a:schemeClr val="accent1"/>
              </a:gs>
              <a:gs pos="31000">
                <a:schemeClr val="accent1">
                  <a:lumMod val="60000"/>
                  <a:lumOff val="40000"/>
                </a:schemeClr>
              </a:gs>
              <a:gs pos="0">
                <a:schemeClr val="accent1">
                  <a:lumMod val="40000"/>
                  <a:lumOff val="60000"/>
                </a:schemeClr>
              </a:gs>
            </a:gsLst>
            <a:path path="circle">
              <a:fillToRect r="100000" b="100000"/>
            </a:path>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HarmonyOS Sans SC"/>
              <a:cs typeface="+mn-cs"/>
            </a:endParaRPr>
          </a:p>
        </p:txBody>
      </p:sp>
      <p:sp>
        <p:nvSpPr>
          <p:cNvPr id="37" name="Oval 50">
            <a:extLst>
              <a:ext uri="{FF2B5EF4-FFF2-40B4-BE49-F238E27FC236}">
                <a16:creationId xmlns:a16="http://schemas.microsoft.com/office/drawing/2014/main" id="{217422CB-246E-41FF-8BFD-1631958FD144}"/>
              </a:ext>
            </a:extLst>
          </p:cNvPr>
          <p:cNvSpPr/>
          <p:nvPr/>
        </p:nvSpPr>
        <p:spPr>
          <a:xfrm>
            <a:off x="8237715" y="3003845"/>
            <a:ext cx="66784" cy="67794"/>
          </a:xfrm>
          <a:prstGeom prst="ellipse">
            <a:avLst/>
          </a:prstGeom>
          <a:gradFill>
            <a:gsLst>
              <a:gs pos="73000">
                <a:schemeClr val="accent1"/>
              </a:gs>
              <a:gs pos="31000">
                <a:schemeClr val="accent1">
                  <a:lumMod val="60000"/>
                  <a:lumOff val="40000"/>
                </a:schemeClr>
              </a:gs>
              <a:gs pos="0">
                <a:schemeClr val="accent1">
                  <a:lumMod val="40000"/>
                  <a:lumOff val="60000"/>
                </a:schemeClr>
              </a:gs>
            </a:gsLst>
            <a:path path="circle">
              <a:fillToRect r="100000" b="100000"/>
            </a:path>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HarmonyOS Sans SC"/>
              <a:cs typeface="+mn-cs"/>
            </a:endParaRPr>
          </a:p>
        </p:txBody>
      </p:sp>
      <p:sp>
        <p:nvSpPr>
          <p:cNvPr id="38" name="Oval 51">
            <a:extLst>
              <a:ext uri="{FF2B5EF4-FFF2-40B4-BE49-F238E27FC236}">
                <a16:creationId xmlns:a16="http://schemas.microsoft.com/office/drawing/2014/main" id="{927FEE4D-8689-4FBD-9A97-656490DDDD88}"/>
              </a:ext>
            </a:extLst>
          </p:cNvPr>
          <p:cNvSpPr/>
          <p:nvPr/>
        </p:nvSpPr>
        <p:spPr>
          <a:xfrm>
            <a:off x="10410693" y="2352577"/>
            <a:ext cx="66784" cy="67794"/>
          </a:xfrm>
          <a:prstGeom prst="ellipse">
            <a:avLst/>
          </a:prstGeom>
          <a:gradFill>
            <a:gsLst>
              <a:gs pos="73000">
                <a:schemeClr val="accent1"/>
              </a:gs>
              <a:gs pos="31000">
                <a:schemeClr val="accent1">
                  <a:lumMod val="60000"/>
                  <a:lumOff val="40000"/>
                </a:schemeClr>
              </a:gs>
              <a:gs pos="0">
                <a:schemeClr val="accent1">
                  <a:lumMod val="40000"/>
                  <a:lumOff val="60000"/>
                </a:schemeClr>
              </a:gs>
            </a:gsLst>
            <a:path path="circle">
              <a:fillToRect r="100000" b="100000"/>
            </a:path>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HarmonyOS Sans SC"/>
              <a:cs typeface="+mn-cs"/>
            </a:endParaRPr>
          </a:p>
        </p:txBody>
      </p:sp>
      <p:cxnSp>
        <p:nvCxnSpPr>
          <p:cNvPr id="39" name="Straight Connector 59">
            <a:extLst>
              <a:ext uri="{FF2B5EF4-FFF2-40B4-BE49-F238E27FC236}">
                <a16:creationId xmlns:a16="http://schemas.microsoft.com/office/drawing/2014/main" id="{5D959DD8-9D89-4F36-983A-F6B776F13F47}"/>
              </a:ext>
            </a:extLst>
          </p:cNvPr>
          <p:cNvCxnSpPr>
            <a:cxnSpLocks/>
          </p:cNvCxnSpPr>
          <p:nvPr/>
        </p:nvCxnSpPr>
        <p:spPr>
          <a:xfrm flipV="1">
            <a:off x="1635919" y="3266272"/>
            <a:ext cx="2283619" cy="247650"/>
          </a:xfrm>
          <a:prstGeom prst="line">
            <a:avLst/>
          </a:prstGeom>
          <a:ln w="12700">
            <a:solidFill>
              <a:schemeClr val="accent1">
                <a:alpha val="40000"/>
              </a:schemeClr>
            </a:solidFill>
          </a:ln>
        </p:spPr>
        <p:style>
          <a:lnRef idx="1">
            <a:schemeClr val="accent1"/>
          </a:lnRef>
          <a:fillRef idx="0">
            <a:schemeClr val="accent1"/>
          </a:fillRef>
          <a:effectRef idx="0">
            <a:schemeClr val="accent1"/>
          </a:effectRef>
          <a:fontRef idx="minor">
            <a:schemeClr val="tx1"/>
          </a:fontRef>
        </p:style>
      </p:cxnSp>
      <p:sp>
        <p:nvSpPr>
          <p:cNvPr id="40" name="Oval 60">
            <a:extLst>
              <a:ext uri="{FF2B5EF4-FFF2-40B4-BE49-F238E27FC236}">
                <a16:creationId xmlns:a16="http://schemas.microsoft.com/office/drawing/2014/main" id="{E336B446-7899-4F2B-8286-9E333E0F9F83}"/>
              </a:ext>
            </a:extLst>
          </p:cNvPr>
          <p:cNvSpPr/>
          <p:nvPr/>
        </p:nvSpPr>
        <p:spPr>
          <a:xfrm>
            <a:off x="1602740" y="3476681"/>
            <a:ext cx="66784" cy="67794"/>
          </a:xfrm>
          <a:prstGeom prst="ellipse">
            <a:avLst/>
          </a:prstGeom>
          <a:gradFill>
            <a:gsLst>
              <a:gs pos="73000">
                <a:schemeClr val="accent1"/>
              </a:gs>
              <a:gs pos="31000">
                <a:schemeClr val="accent1">
                  <a:lumMod val="60000"/>
                  <a:lumOff val="40000"/>
                </a:schemeClr>
              </a:gs>
              <a:gs pos="0">
                <a:schemeClr val="accent1">
                  <a:lumMod val="40000"/>
                  <a:lumOff val="60000"/>
                </a:schemeClr>
              </a:gs>
            </a:gsLst>
            <a:path path="circle">
              <a:fillToRect r="100000" b="100000"/>
            </a:path>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HarmonyOS Sans SC"/>
              <a:cs typeface="+mn-cs"/>
            </a:endParaRPr>
          </a:p>
        </p:txBody>
      </p:sp>
      <p:sp>
        <p:nvSpPr>
          <p:cNvPr id="57" name="TextBox 26">
            <a:extLst>
              <a:ext uri="{FF2B5EF4-FFF2-40B4-BE49-F238E27FC236}">
                <a16:creationId xmlns:a16="http://schemas.microsoft.com/office/drawing/2014/main" id="{3C4FC487-EAC8-408C-9435-A6877034C391}"/>
              </a:ext>
            </a:extLst>
          </p:cNvPr>
          <p:cNvSpPr txBox="1"/>
          <p:nvPr/>
        </p:nvSpPr>
        <p:spPr>
          <a:xfrm>
            <a:off x="1055689" y="5731861"/>
            <a:ext cx="1296319" cy="416067"/>
          </a:xfrm>
          <a:prstGeom prst="rect">
            <a:avLst/>
          </a:prstGeom>
          <a:noFill/>
        </p:spPr>
        <p:txBody>
          <a:bodyPr wrap="square" lIns="0" tIns="36000" rIns="0" bIns="36000" rtlCol="0">
            <a:spAutoFit/>
          </a:bodyPr>
          <a:lstStyle/>
          <a:p>
            <a:pPr marL="0" marR="0" lvl="0" indent="0" algn="l" defTabSz="914400" rtl="0" eaLnBrk="1" fontAlgn="auto" latinLnBrk="0" hangingPunct="1">
              <a:lnSpc>
                <a:spcPct val="130000"/>
              </a:lnSpc>
              <a:spcBef>
                <a:spcPts val="1000"/>
              </a:spcBef>
              <a:spcAft>
                <a:spcPts val="0"/>
              </a:spcAft>
              <a:buClrTx/>
              <a:buSzTx/>
              <a:buFontTx/>
              <a:buNone/>
              <a:tabLst/>
              <a:defRPr/>
            </a:pPr>
            <a:r>
              <a:rPr kumimoji="0" lang="en-US" sz="900" b="0" i="0" u="none" strike="noStrike" kern="1200" cap="none" spc="0" normalizeH="0" baseline="0" noProof="0" dirty="0">
                <a:ln>
                  <a:noFill/>
                </a:ln>
                <a:solidFill>
                  <a:prstClr val="black">
                    <a:lumMod val="50000"/>
                    <a:lumOff val="50000"/>
                  </a:prstClr>
                </a:solidFill>
                <a:effectLst/>
                <a:uLnTx/>
                <a:uFillTx/>
                <a:latin typeface="HarmonyOS Sans SC"/>
                <a:cs typeface="+mn-cs"/>
              </a:rPr>
              <a:t>A peep at some distant orb has power.</a:t>
            </a:r>
          </a:p>
        </p:txBody>
      </p:sp>
      <p:sp>
        <p:nvSpPr>
          <p:cNvPr id="58" name="TextBox 27">
            <a:extLst>
              <a:ext uri="{FF2B5EF4-FFF2-40B4-BE49-F238E27FC236}">
                <a16:creationId xmlns:a16="http://schemas.microsoft.com/office/drawing/2014/main" id="{F13F3011-CF42-4C80-B76F-3651C74DF006}"/>
              </a:ext>
            </a:extLst>
          </p:cNvPr>
          <p:cNvSpPr txBox="1"/>
          <p:nvPr/>
        </p:nvSpPr>
        <p:spPr>
          <a:xfrm>
            <a:off x="1055688" y="5369364"/>
            <a:ext cx="1758283" cy="288147"/>
          </a:xfrm>
          <a:prstGeom prst="rect">
            <a:avLst/>
          </a:prstGeom>
          <a:noFill/>
        </p:spPr>
        <p:txBody>
          <a:bodyPr wrap="square" lIns="0" tIns="36000" rIns="0" bIns="36000" rtlCol="0">
            <a:spAutoFit/>
          </a:bodyPr>
          <a:lstStyle/>
          <a:p>
            <a:pPr marL="0" marR="0" lvl="0" indent="0" algn="l" defTabSz="914400" rtl="0" eaLnBrk="1" fontAlgn="auto" latinLnBrk="0" hangingPunct="1">
              <a:lnSpc>
                <a:spcPct val="100000"/>
              </a:lnSpc>
              <a:spcBef>
                <a:spcPts val="1000"/>
              </a:spcBef>
              <a:spcAft>
                <a:spcPts val="0"/>
              </a:spcAft>
              <a:buClrTx/>
              <a:buSzTx/>
              <a:buFontTx/>
              <a:buNone/>
              <a:tabLst/>
              <a:defRPr/>
            </a:pPr>
            <a:r>
              <a:rPr kumimoji="0" lang="en-US" sz="1400" b="1" i="0" u="none" strike="noStrike" kern="1200" cap="none" spc="0" normalizeH="0" baseline="0" noProof="0" dirty="0">
                <a:ln>
                  <a:noFill/>
                </a:ln>
                <a:solidFill>
                  <a:prstClr val="black">
                    <a:lumMod val="75000"/>
                    <a:lumOff val="25000"/>
                  </a:prstClr>
                </a:solidFill>
                <a:effectLst/>
                <a:uLnTx/>
                <a:uFillTx/>
                <a:latin typeface="HarmonyOS Sans SC Black"/>
                <a:ea typeface="+mj-ea"/>
                <a:cs typeface="+mn-cs"/>
              </a:rPr>
              <a:t>Write title here</a:t>
            </a:r>
          </a:p>
        </p:txBody>
      </p:sp>
      <p:sp>
        <p:nvSpPr>
          <p:cNvPr id="59" name="TextBox 26">
            <a:extLst>
              <a:ext uri="{FF2B5EF4-FFF2-40B4-BE49-F238E27FC236}">
                <a16:creationId xmlns:a16="http://schemas.microsoft.com/office/drawing/2014/main" id="{967258FA-87E8-4275-874B-C1714ADE5D3A}"/>
              </a:ext>
            </a:extLst>
          </p:cNvPr>
          <p:cNvSpPr txBox="1"/>
          <p:nvPr/>
        </p:nvSpPr>
        <p:spPr>
          <a:xfrm>
            <a:off x="3229731" y="5731861"/>
            <a:ext cx="1296319" cy="416067"/>
          </a:xfrm>
          <a:prstGeom prst="rect">
            <a:avLst/>
          </a:prstGeom>
          <a:noFill/>
        </p:spPr>
        <p:txBody>
          <a:bodyPr wrap="square" lIns="0" tIns="36000" rIns="0" bIns="36000" rtlCol="0">
            <a:spAutoFit/>
          </a:bodyPr>
          <a:lstStyle/>
          <a:p>
            <a:pPr marL="0" marR="0" lvl="0" indent="0" algn="l" defTabSz="914400" rtl="0" eaLnBrk="1" fontAlgn="auto" latinLnBrk="0" hangingPunct="1">
              <a:lnSpc>
                <a:spcPct val="130000"/>
              </a:lnSpc>
              <a:spcBef>
                <a:spcPts val="1000"/>
              </a:spcBef>
              <a:spcAft>
                <a:spcPts val="0"/>
              </a:spcAft>
              <a:buClrTx/>
              <a:buSzTx/>
              <a:buFontTx/>
              <a:buNone/>
              <a:tabLst/>
              <a:defRPr/>
            </a:pPr>
            <a:r>
              <a:rPr kumimoji="0" lang="en-US" sz="900" b="0" i="0" u="none" strike="noStrike" kern="1200" cap="none" spc="0" normalizeH="0" baseline="0" noProof="0" dirty="0">
                <a:ln>
                  <a:noFill/>
                </a:ln>
                <a:solidFill>
                  <a:prstClr val="black">
                    <a:lumMod val="50000"/>
                    <a:lumOff val="50000"/>
                  </a:prstClr>
                </a:solidFill>
                <a:effectLst/>
                <a:uLnTx/>
                <a:uFillTx/>
                <a:latin typeface="HarmonyOS Sans SC"/>
                <a:cs typeface="+mn-cs"/>
              </a:rPr>
              <a:t>A peep at some distant orb has power.</a:t>
            </a:r>
          </a:p>
        </p:txBody>
      </p:sp>
      <p:sp>
        <p:nvSpPr>
          <p:cNvPr id="60" name="TextBox 27">
            <a:extLst>
              <a:ext uri="{FF2B5EF4-FFF2-40B4-BE49-F238E27FC236}">
                <a16:creationId xmlns:a16="http://schemas.microsoft.com/office/drawing/2014/main" id="{E98E8D4D-A49E-4B73-B5D4-F3BA5749D353}"/>
              </a:ext>
            </a:extLst>
          </p:cNvPr>
          <p:cNvSpPr txBox="1"/>
          <p:nvPr/>
        </p:nvSpPr>
        <p:spPr>
          <a:xfrm>
            <a:off x="3229730" y="5369364"/>
            <a:ext cx="1758283" cy="288147"/>
          </a:xfrm>
          <a:prstGeom prst="rect">
            <a:avLst/>
          </a:prstGeom>
          <a:noFill/>
        </p:spPr>
        <p:txBody>
          <a:bodyPr wrap="square" lIns="0" tIns="36000" rIns="0" bIns="36000" rtlCol="0">
            <a:spAutoFit/>
          </a:bodyPr>
          <a:lstStyle/>
          <a:p>
            <a:pPr marL="0" marR="0" lvl="0" indent="0" algn="l" defTabSz="914400" rtl="0" eaLnBrk="1" fontAlgn="auto" latinLnBrk="0" hangingPunct="1">
              <a:lnSpc>
                <a:spcPct val="100000"/>
              </a:lnSpc>
              <a:spcBef>
                <a:spcPts val="1000"/>
              </a:spcBef>
              <a:spcAft>
                <a:spcPts val="0"/>
              </a:spcAft>
              <a:buClrTx/>
              <a:buSzTx/>
              <a:buFontTx/>
              <a:buNone/>
              <a:tabLst/>
              <a:defRPr/>
            </a:pPr>
            <a:r>
              <a:rPr kumimoji="0" lang="en-US" sz="1400" b="1" i="0" u="none" strike="noStrike" kern="1200" cap="none" spc="0" normalizeH="0" baseline="0" noProof="0" dirty="0">
                <a:ln>
                  <a:noFill/>
                </a:ln>
                <a:solidFill>
                  <a:prstClr val="black">
                    <a:lumMod val="75000"/>
                    <a:lumOff val="25000"/>
                  </a:prstClr>
                </a:solidFill>
                <a:effectLst/>
                <a:uLnTx/>
                <a:uFillTx/>
                <a:latin typeface="HarmonyOS Sans SC Black"/>
                <a:ea typeface="+mj-ea"/>
                <a:cs typeface="+mn-cs"/>
              </a:rPr>
              <a:t>Write title here</a:t>
            </a:r>
          </a:p>
        </p:txBody>
      </p:sp>
      <p:sp>
        <p:nvSpPr>
          <p:cNvPr id="61" name="TextBox 26">
            <a:extLst>
              <a:ext uri="{FF2B5EF4-FFF2-40B4-BE49-F238E27FC236}">
                <a16:creationId xmlns:a16="http://schemas.microsoft.com/office/drawing/2014/main" id="{37A00EF6-94D8-47BF-A94A-708E8E3DECC6}"/>
              </a:ext>
            </a:extLst>
          </p:cNvPr>
          <p:cNvSpPr txBox="1"/>
          <p:nvPr/>
        </p:nvSpPr>
        <p:spPr>
          <a:xfrm>
            <a:off x="5403773" y="5731861"/>
            <a:ext cx="1296319" cy="416067"/>
          </a:xfrm>
          <a:prstGeom prst="rect">
            <a:avLst/>
          </a:prstGeom>
          <a:noFill/>
        </p:spPr>
        <p:txBody>
          <a:bodyPr wrap="square" lIns="0" tIns="36000" rIns="0" bIns="36000" rtlCol="0">
            <a:spAutoFit/>
          </a:bodyPr>
          <a:lstStyle/>
          <a:p>
            <a:pPr marL="0" marR="0" lvl="0" indent="0" algn="l" defTabSz="914400" rtl="0" eaLnBrk="1" fontAlgn="auto" latinLnBrk="0" hangingPunct="1">
              <a:lnSpc>
                <a:spcPct val="130000"/>
              </a:lnSpc>
              <a:spcBef>
                <a:spcPts val="1000"/>
              </a:spcBef>
              <a:spcAft>
                <a:spcPts val="0"/>
              </a:spcAft>
              <a:buClrTx/>
              <a:buSzTx/>
              <a:buFontTx/>
              <a:buNone/>
              <a:tabLst/>
              <a:defRPr/>
            </a:pPr>
            <a:r>
              <a:rPr kumimoji="0" lang="en-US" sz="900" b="0" i="0" u="none" strike="noStrike" kern="1200" cap="none" spc="0" normalizeH="0" baseline="0" noProof="0" dirty="0">
                <a:ln>
                  <a:noFill/>
                </a:ln>
                <a:solidFill>
                  <a:prstClr val="black">
                    <a:lumMod val="50000"/>
                    <a:lumOff val="50000"/>
                  </a:prstClr>
                </a:solidFill>
                <a:effectLst/>
                <a:uLnTx/>
                <a:uFillTx/>
                <a:latin typeface="HarmonyOS Sans SC"/>
                <a:cs typeface="+mn-cs"/>
              </a:rPr>
              <a:t>A peep at some distant orb has power.</a:t>
            </a:r>
          </a:p>
        </p:txBody>
      </p:sp>
      <p:sp>
        <p:nvSpPr>
          <p:cNvPr id="62" name="TextBox 27">
            <a:extLst>
              <a:ext uri="{FF2B5EF4-FFF2-40B4-BE49-F238E27FC236}">
                <a16:creationId xmlns:a16="http://schemas.microsoft.com/office/drawing/2014/main" id="{15E8D9C7-787B-4DC3-BE06-141863E0787A}"/>
              </a:ext>
            </a:extLst>
          </p:cNvPr>
          <p:cNvSpPr txBox="1"/>
          <p:nvPr/>
        </p:nvSpPr>
        <p:spPr>
          <a:xfrm>
            <a:off x="5403772" y="5369364"/>
            <a:ext cx="1758283" cy="288147"/>
          </a:xfrm>
          <a:prstGeom prst="rect">
            <a:avLst/>
          </a:prstGeom>
          <a:noFill/>
        </p:spPr>
        <p:txBody>
          <a:bodyPr wrap="square" lIns="0" tIns="36000" rIns="0" bIns="36000" rtlCol="0">
            <a:spAutoFit/>
          </a:bodyPr>
          <a:lstStyle/>
          <a:p>
            <a:pPr marL="0" marR="0" lvl="0" indent="0" algn="l" defTabSz="914400" rtl="0" eaLnBrk="1" fontAlgn="auto" latinLnBrk="0" hangingPunct="1">
              <a:lnSpc>
                <a:spcPct val="100000"/>
              </a:lnSpc>
              <a:spcBef>
                <a:spcPts val="1000"/>
              </a:spcBef>
              <a:spcAft>
                <a:spcPts val="0"/>
              </a:spcAft>
              <a:buClrTx/>
              <a:buSzTx/>
              <a:buFontTx/>
              <a:buNone/>
              <a:tabLst/>
              <a:defRPr/>
            </a:pPr>
            <a:r>
              <a:rPr kumimoji="0" lang="en-US" sz="1400" b="1" i="0" u="none" strike="noStrike" kern="1200" cap="none" spc="0" normalizeH="0" baseline="0" noProof="0" dirty="0">
                <a:ln>
                  <a:noFill/>
                </a:ln>
                <a:solidFill>
                  <a:prstClr val="black">
                    <a:lumMod val="75000"/>
                    <a:lumOff val="25000"/>
                  </a:prstClr>
                </a:solidFill>
                <a:effectLst/>
                <a:uLnTx/>
                <a:uFillTx/>
                <a:latin typeface="HarmonyOS Sans SC Black"/>
                <a:ea typeface="+mj-ea"/>
                <a:cs typeface="+mn-cs"/>
              </a:rPr>
              <a:t>Write title here</a:t>
            </a:r>
          </a:p>
        </p:txBody>
      </p:sp>
      <p:sp>
        <p:nvSpPr>
          <p:cNvPr id="63" name="TextBox 26">
            <a:extLst>
              <a:ext uri="{FF2B5EF4-FFF2-40B4-BE49-F238E27FC236}">
                <a16:creationId xmlns:a16="http://schemas.microsoft.com/office/drawing/2014/main" id="{9D352C14-F6DB-4359-B298-4FD24FBB4AB9}"/>
              </a:ext>
            </a:extLst>
          </p:cNvPr>
          <p:cNvSpPr txBox="1"/>
          <p:nvPr/>
        </p:nvSpPr>
        <p:spPr>
          <a:xfrm>
            <a:off x="7577815" y="5731861"/>
            <a:ext cx="1296319" cy="416067"/>
          </a:xfrm>
          <a:prstGeom prst="rect">
            <a:avLst/>
          </a:prstGeom>
          <a:noFill/>
        </p:spPr>
        <p:txBody>
          <a:bodyPr wrap="square" lIns="0" tIns="36000" rIns="0" bIns="36000" rtlCol="0">
            <a:spAutoFit/>
          </a:bodyPr>
          <a:lstStyle/>
          <a:p>
            <a:pPr marL="0" marR="0" lvl="0" indent="0" algn="l" defTabSz="914400" rtl="0" eaLnBrk="1" fontAlgn="auto" latinLnBrk="0" hangingPunct="1">
              <a:lnSpc>
                <a:spcPct val="130000"/>
              </a:lnSpc>
              <a:spcBef>
                <a:spcPts val="1000"/>
              </a:spcBef>
              <a:spcAft>
                <a:spcPts val="0"/>
              </a:spcAft>
              <a:buClrTx/>
              <a:buSzTx/>
              <a:buFontTx/>
              <a:buNone/>
              <a:tabLst/>
              <a:defRPr/>
            </a:pPr>
            <a:r>
              <a:rPr kumimoji="0" lang="en-US" sz="900" b="0" i="0" u="none" strike="noStrike" kern="1200" cap="none" spc="0" normalizeH="0" baseline="0" noProof="0" dirty="0">
                <a:ln>
                  <a:noFill/>
                </a:ln>
                <a:solidFill>
                  <a:prstClr val="black">
                    <a:lumMod val="50000"/>
                    <a:lumOff val="50000"/>
                  </a:prstClr>
                </a:solidFill>
                <a:effectLst/>
                <a:uLnTx/>
                <a:uFillTx/>
                <a:latin typeface="HarmonyOS Sans SC"/>
                <a:cs typeface="+mn-cs"/>
              </a:rPr>
              <a:t>A peep at some distant orb has power.</a:t>
            </a:r>
          </a:p>
        </p:txBody>
      </p:sp>
      <p:sp>
        <p:nvSpPr>
          <p:cNvPr id="64" name="TextBox 27">
            <a:extLst>
              <a:ext uri="{FF2B5EF4-FFF2-40B4-BE49-F238E27FC236}">
                <a16:creationId xmlns:a16="http://schemas.microsoft.com/office/drawing/2014/main" id="{05F44992-037C-4B99-BFE3-D2FDD7176ADD}"/>
              </a:ext>
            </a:extLst>
          </p:cNvPr>
          <p:cNvSpPr txBox="1"/>
          <p:nvPr/>
        </p:nvSpPr>
        <p:spPr>
          <a:xfrm>
            <a:off x="7577814" y="5369364"/>
            <a:ext cx="1758283" cy="288147"/>
          </a:xfrm>
          <a:prstGeom prst="rect">
            <a:avLst/>
          </a:prstGeom>
          <a:noFill/>
        </p:spPr>
        <p:txBody>
          <a:bodyPr wrap="square" lIns="0" tIns="36000" rIns="0" bIns="36000" rtlCol="0">
            <a:spAutoFit/>
          </a:bodyPr>
          <a:lstStyle/>
          <a:p>
            <a:pPr marL="0" marR="0" lvl="0" indent="0" algn="l" defTabSz="914400" rtl="0" eaLnBrk="1" fontAlgn="auto" latinLnBrk="0" hangingPunct="1">
              <a:lnSpc>
                <a:spcPct val="100000"/>
              </a:lnSpc>
              <a:spcBef>
                <a:spcPts val="1000"/>
              </a:spcBef>
              <a:spcAft>
                <a:spcPts val="0"/>
              </a:spcAft>
              <a:buClrTx/>
              <a:buSzTx/>
              <a:buFontTx/>
              <a:buNone/>
              <a:tabLst/>
              <a:defRPr/>
            </a:pPr>
            <a:r>
              <a:rPr kumimoji="0" lang="en-US" sz="1400" b="1" i="0" u="none" strike="noStrike" kern="1200" cap="none" spc="0" normalizeH="0" baseline="0" noProof="0" dirty="0">
                <a:ln>
                  <a:noFill/>
                </a:ln>
                <a:solidFill>
                  <a:prstClr val="black">
                    <a:lumMod val="75000"/>
                    <a:lumOff val="25000"/>
                  </a:prstClr>
                </a:solidFill>
                <a:effectLst/>
                <a:uLnTx/>
                <a:uFillTx/>
                <a:latin typeface="HarmonyOS Sans SC Black"/>
                <a:ea typeface="+mj-ea"/>
                <a:cs typeface="+mn-cs"/>
              </a:rPr>
              <a:t>Write title here</a:t>
            </a:r>
          </a:p>
        </p:txBody>
      </p:sp>
      <p:sp>
        <p:nvSpPr>
          <p:cNvPr id="65" name="TextBox 26">
            <a:extLst>
              <a:ext uri="{FF2B5EF4-FFF2-40B4-BE49-F238E27FC236}">
                <a16:creationId xmlns:a16="http://schemas.microsoft.com/office/drawing/2014/main" id="{54FA2A96-295A-46A6-8564-3551A8EACBA0}"/>
              </a:ext>
            </a:extLst>
          </p:cNvPr>
          <p:cNvSpPr txBox="1"/>
          <p:nvPr/>
        </p:nvSpPr>
        <p:spPr>
          <a:xfrm>
            <a:off x="9751858" y="5731861"/>
            <a:ext cx="1296319" cy="416067"/>
          </a:xfrm>
          <a:prstGeom prst="rect">
            <a:avLst/>
          </a:prstGeom>
          <a:noFill/>
        </p:spPr>
        <p:txBody>
          <a:bodyPr wrap="square" lIns="0" tIns="36000" rIns="0" bIns="36000" rtlCol="0">
            <a:spAutoFit/>
          </a:bodyPr>
          <a:lstStyle/>
          <a:p>
            <a:pPr marL="0" marR="0" lvl="0" indent="0" algn="l" defTabSz="914400" rtl="0" eaLnBrk="1" fontAlgn="auto" latinLnBrk="0" hangingPunct="1">
              <a:lnSpc>
                <a:spcPct val="130000"/>
              </a:lnSpc>
              <a:spcBef>
                <a:spcPts val="1000"/>
              </a:spcBef>
              <a:spcAft>
                <a:spcPts val="0"/>
              </a:spcAft>
              <a:buClrTx/>
              <a:buSzTx/>
              <a:buFontTx/>
              <a:buNone/>
              <a:tabLst/>
              <a:defRPr/>
            </a:pPr>
            <a:r>
              <a:rPr kumimoji="0" lang="en-US" sz="900" b="0" i="0" u="none" strike="noStrike" kern="1200" cap="none" spc="0" normalizeH="0" baseline="0" noProof="0" dirty="0">
                <a:ln>
                  <a:noFill/>
                </a:ln>
                <a:solidFill>
                  <a:prstClr val="black">
                    <a:lumMod val="50000"/>
                    <a:lumOff val="50000"/>
                  </a:prstClr>
                </a:solidFill>
                <a:effectLst/>
                <a:uLnTx/>
                <a:uFillTx/>
                <a:latin typeface="HarmonyOS Sans SC"/>
                <a:cs typeface="+mn-cs"/>
              </a:rPr>
              <a:t>A peep at some distant orb has power.</a:t>
            </a:r>
          </a:p>
        </p:txBody>
      </p:sp>
      <p:sp>
        <p:nvSpPr>
          <p:cNvPr id="66" name="TextBox 27">
            <a:extLst>
              <a:ext uri="{FF2B5EF4-FFF2-40B4-BE49-F238E27FC236}">
                <a16:creationId xmlns:a16="http://schemas.microsoft.com/office/drawing/2014/main" id="{531CBFA7-A16A-43FA-A5A3-FC2E1BAD70A2}"/>
              </a:ext>
            </a:extLst>
          </p:cNvPr>
          <p:cNvSpPr txBox="1"/>
          <p:nvPr/>
        </p:nvSpPr>
        <p:spPr>
          <a:xfrm>
            <a:off x="9751857" y="5369364"/>
            <a:ext cx="1758283" cy="288147"/>
          </a:xfrm>
          <a:prstGeom prst="rect">
            <a:avLst/>
          </a:prstGeom>
          <a:noFill/>
        </p:spPr>
        <p:txBody>
          <a:bodyPr wrap="square" lIns="0" tIns="36000" rIns="0" bIns="36000" rtlCol="0">
            <a:spAutoFit/>
          </a:bodyPr>
          <a:lstStyle/>
          <a:p>
            <a:pPr marL="0" marR="0" lvl="0" indent="0" algn="l" defTabSz="914400" rtl="0" eaLnBrk="1" fontAlgn="auto" latinLnBrk="0" hangingPunct="1">
              <a:lnSpc>
                <a:spcPct val="100000"/>
              </a:lnSpc>
              <a:spcBef>
                <a:spcPts val="1000"/>
              </a:spcBef>
              <a:spcAft>
                <a:spcPts val="0"/>
              </a:spcAft>
              <a:buClrTx/>
              <a:buSzTx/>
              <a:buFontTx/>
              <a:buNone/>
              <a:tabLst/>
              <a:defRPr/>
            </a:pPr>
            <a:r>
              <a:rPr kumimoji="0" lang="en-US" sz="1400" b="1" i="0" u="none" strike="noStrike" kern="1200" cap="none" spc="0" normalizeH="0" baseline="0" noProof="0" dirty="0">
                <a:ln>
                  <a:noFill/>
                </a:ln>
                <a:solidFill>
                  <a:prstClr val="black">
                    <a:lumMod val="75000"/>
                    <a:lumOff val="25000"/>
                  </a:prstClr>
                </a:solidFill>
                <a:effectLst/>
                <a:uLnTx/>
                <a:uFillTx/>
                <a:latin typeface="HarmonyOS Sans SC Black"/>
                <a:ea typeface="+mj-ea"/>
                <a:cs typeface="+mn-cs"/>
              </a:rPr>
              <a:t>Write title here</a:t>
            </a:r>
          </a:p>
        </p:txBody>
      </p:sp>
      <p:sp>
        <p:nvSpPr>
          <p:cNvPr id="35" name="Oval 48">
            <a:extLst>
              <a:ext uri="{FF2B5EF4-FFF2-40B4-BE49-F238E27FC236}">
                <a16:creationId xmlns:a16="http://schemas.microsoft.com/office/drawing/2014/main" id="{61061881-1F0C-4C1A-A60E-52A058FF3AC9}"/>
              </a:ext>
            </a:extLst>
          </p:cNvPr>
          <p:cNvSpPr/>
          <p:nvPr/>
        </p:nvSpPr>
        <p:spPr>
          <a:xfrm>
            <a:off x="3891757" y="3228486"/>
            <a:ext cx="66784" cy="67794"/>
          </a:xfrm>
          <a:prstGeom prst="ellipse">
            <a:avLst/>
          </a:prstGeom>
          <a:gradFill>
            <a:gsLst>
              <a:gs pos="73000">
                <a:schemeClr val="accent1"/>
              </a:gs>
              <a:gs pos="31000">
                <a:schemeClr val="accent1">
                  <a:lumMod val="60000"/>
                  <a:lumOff val="40000"/>
                </a:schemeClr>
              </a:gs>
              <a:gs pos="0">
                <a:schemeClr val="accent1">
                  <a:lumMod val="40000"/>
                  <a:lumOff val="60000"/>
                </a:schemeClr>
              </a:gs>
            </a:gsLst>
            <a:path path="circle">
              <a:fillToRect r="100000" b="100000"/>
            </a:path>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HarmonyOS Sans SC"/>
              <a:cs typeface="+mn-cs"/>
            </a:endParaRPr>
          </a:p>
        </p:txBody>
      </p:sp>
      <p:grpSp>
        <p:nvGrpSpPr>
          <p:cNvPr id="109" name="组合 108">
            <a:extLst>
              <a:ext uri="{FF2B5EF4-FFF2-40B4-BE49-F238E27FC236}">
                <a16:creationId xmlns:a16="http://schemas.microsoft.com/office/drawing/2014/main" id="{7B3D05D3-3CB4-4916-AA3B-13A39670C025}"/>
              </a:ext>
            </a:extLst>
          </p:cNvPr>
          <p:cNvGrpSpPr/>
          <p:nvPr/>
        </p:nvGrpSpPr>
        <p:grpSpPr>
          <a:xfrm>
            <a:off x="9751857" y="2796188"/>
            <a:ext cx="1384456" cy="2340691"/>
            <a:chOff x="3054269" y="2796186"/>
            <a:chExt cx="1384456" cy="2340691"/>
          </a:xfrm>
        </p:grpSpPr>
        <p:sp>
          <p:nvSpPr>
            <p:cNvPr id="110" name="Freeform 5">
              <a:extLst>
                <a:ext uri="{FF2B5EF4-FFF2-40B4-BE49-F238E27FC236}">
                  <a16:creationId xmlns:a16="http://schemas.microsoft.com/office/drawing/2014/main" id="{CD184503-200B-4F15-88D5-6E26AC7D90E8}"/>
                </a:ext>
              </a:extLst>
            </p:cNvPr>
            <p:cNvSpPr>
              <a:spLocks/>
            </p:cNvSpPr>
            <p:nvPr/>
          </p:nvSpPr>
          <p:spPr bwMode="auto">
            <a:xfrm>
              <a:off x="3054269" y="2796186"/>
              <a:ext cx="701172" cy="2340691"/>
            </a:xfrm>
            <a:custGeom>
              <a:avLst/>
              <a:gdLst>
                <a:gd name="T0" fmla="*/ 0 w 532"/>
                <a:gd name="T1" fmla="*/ 1380 h 1768"/>
                <a:gd name="T2" fmla="*/ 532 w 532"/>
                <a:gd name="T3" fmla="*/ 1768 h 1768"/>
                <a:gd name="T4" fmla="*/ 532 w 532"/>
                <a:gd name="T5" fmla="*/ 0 h 1768"/>
                <a:gd name="T6" fmla="*/ 0 w 532"/>
                <a:gd name="T7" fmla="*/ 1380 h 1768"/>
                <a:gd name="T8" fmla="*/ 0 w 532"/>
                <a:gd name="T9" fmla="*/ 1380 h 1768"/>
                <a:gd name="connsiteX0" fmla="*/ 0 w 10034"/>
                <a:gd name="connsiteY0" fmla="*/ 11095 h 13290"/>
                <a:gd name="connsiteX1" fmla="*/ 10000 w 10034"/>
                <a:gd name="connsiteY1" fmla="*/ 13290 h 13290"/>
                <a:gd name="connsiteX2" fmla="*/ 10034 w 10034"/>
                <a:gd name="connsiteY2" fmla="*/ 0 h 13290"/>
                <a:gd name="connsiteX3" fmla="*/ 0 w 10034"/>
                <a:gd name="connsiteY3" fmla="*/ 11095 h 13290"/>
                <a:gd name="connsiteX4" fmla="*/ 0 w 10034"/>
                <a:gd name="connsiteY4" fmla="*/ 11095 h 13290"/>
                <a:gd name="connsiteX0" fmla="*/ 0 w 10068"/>
                <a:gd name="connsiteY0" fmla="*/ 11127 h 13322"/>
                <a:gd name="connsiteX1" fmla="*/ 10000 w 10068"/>
                <a:gd name="connsiteY1" fmla="*/ 13322 h 13322"/>
                <a:gd name="connsiteX2" fmla="*/ 10068 w 10068"/>
                <a:gd name="connsiteY2" fmla="*/ 0 h 13322"/>
                <a:gd name="connsiteX3" fmla="*/ 0 w 10068"/>
                <a:gd name="connsiteY3" fmla="*/ 11127 h 13322"/>
                <a:gd name="connsiteX4" fmla="*/ 0 w 10068"/>
                <a:gd name="connsiteY4" fmla="*/ 11127 h 13322"/>
                <a:gd name="connsiteX0" fmla="*/ 0 w 10001"/>
                <a:gd name="connsiteY0" fmla="*/ 11208 h 13403"/>
                <a:gd name="connsiteX1" fmla="*/ 10000 w 10001"/>
                <a:gd name="connsiteY1" fmla="*/ 13403 h 13403"/>
                <a:gd name="connsiteX2" fmla="*/ 9966 w 10001"/>
                <a:gd name="connsiteY2" fmla="*/ 0 h 13403"/>
                <a:gd name="connsiteX3" fmla="*/ 0 w 10001"/>
                <a:gd name="connsiteY3" fmla="*/ 11208 h 13403"/>
                <a:gd name="connsiteX4" fmla="*/ 0 w 10001"/>
                <a:gd name="connsiteY4" fmla="*/ 11208 h 13403"/>
                <a:gd name="connsiteX0" fmla="*/ 0 w 10003"/>
                <a:gd name="connsiteY0" fmla="*/ 11176 h 13371"/>
                <a:gd name="connsiteX1" fmla="*/ 10000 w 10003"/>
                <a:gd name="connsiteY1" fmla="*/ 13371 h 13371"/>
                <a:gd name="connsiteX2" fmla="*/ 10000 w 10003"/>
                <a:gd name="connsiteY2" fmla="*/ 0 h 13371"/>
                <a:gd name="connsiteX3" fmla="*/ 0 w 10003"/>
                <a:gd name="connsiteY3" fmla="*/ 11176 h 13371"/>
                <a:gd name="connsiteX4" fmla="*/ 0 w 10003"/>
                <a:gd name="connsiteY4" fmla="*/ 11176 h 13371"/>
                <a:gd name="connsiteX0" fmla="*/ 0 w 10034"/>
                <a:gd name="connsiteY0" fmla="*/ 11208 h 13403"/>
                <a:gd name="connsiteX1" fmla="*/ 10000 w 10034"/>
                <a:gd name="connsiteY1" fmla="*/ 13403 h 13403"/>
                <a:gd name="connsiteX2" fmla="*/ 10034 w 10034"/>
                <a:gd name="connsiteY2" fmla="*/ 0 h 13403"/>
                <a:gd name="connsiteX3" fmla="*/ 0 w 10034"/>
                <a:gd name="connsiteY3" fmla="*/ 11208 h 13403"/>
                <a:gd name="connsiteX4" fmla="*/ 0 w 10034"/>
                <a:gd name="connsiteY4" fmla="*/ 11208 h 13403"/>
                <a:gd name="connsiteX0" fmla="*/ 0 w 10034"/>
                <a:gd name="connsiteY0" fmla="*/ 13736 h 15931"/>
                <a:gd name="connsiteX1" fmla="*/ 10000 w 10034"/>
                <a:gd name="connsiteY1" fmla="*/ 15931 h 15931"/>
                <a:gd name="connsiteX2" fmla="*/ 10034 w 10034"/>
                <a:gd name="connsiteY2" fmla="*/ 0 h 15931"/>
                <a:gd name="connsiteX3" fmla="*/ 0 w 10034"/>
                <a:gd name="connsiteY3" fmla="*/ 13736 h 15931"/>
                <a:gd name="connsiteX4" fmla="*/ 0 w 10034"/>
                <a:gd name="connsiteY4" fmla="*/ 13736 h 159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34" h="15931">
                  <a:moveTo>
                    <a:pt x="0" y="13736"/>
                  </a:moveTo>
                  <a:lnTo>
                    <a:pt x="10000" y="15931"/>
                  </a:lnTo>
                  <a:cubicBezTo>
                    <a:pt x="10011" y="11501"/>
                    <a:pt x="10023" y="4430"/>
                    <a:pt x="10034" y="0"/>
                  </a:cubicBezTo>
                  <a:lnTo>
                    <a:pt x="0" y="13736"/>
                  </a:lnTo>
                  <a:lnTo>
                    <a:pt x="0" y="13736"/>
                  </a:lnTo>
                  <a:close/>
                </a:path>
              </a:pathLst>
            </a:custGeom>
            <a:gradFill flip="none" rotWithShape="1">
              <a:gsLst>
                <a:gs pos="73000">
                  <a:schemeClr val="accent1"/>
                </a:gs>
                <a:gs pos="31000">
                  <a:schemeClr val="accent1">
                    <a:lumMod val="60000"/>
                    <a:lumOff val="40000"/>
                  </a:schemeClr>
                </a:gs>
                <a:gs pos="0">
                  <a:schemeClr val="accent1">
                    <a:lumMod val="40000"/>
                    <a:lumOff val="60000"/>
                  </a:schemeClr>
                </a:gs>
              </a:gsLst>
              <a:lin ang="2700000" scaled="1"/>
              <a:tileRect/>
            </a:gradFill>
            <a:ln w="25400">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22222"/>
                </a:solidFill>
                <a:effectLst/>
                <a:uLnTx/>
                <a:uFillTx/>
                <a:latin typeface="Inter"/>
                <a:cs typeface="+mn-cs"/>
              </a:endParaRPr>
            </a:p>
          </p:txBody>
        </p:sp>
        <p:sp>
          <p:nvSpPr>
            <p:cNvPr id="111" name="Freeform 6">
              <a:extLst>
                <a:ext uri="{FF2B5EF4-FFF2-40B4-BE49-F238E27FC236}">
                  <a16:creationId xmlns:a16="http://schemas.microsoft.com/office/drawing/2014/main" id="{7DA31708-C290-4876-A62A-05B68C6FC81B}"/>
                </a:ext>
              </a:extLst>
            </p:cNvPr>
            <p:cNvSpPr>
              <a:spLocks/>
            </p:cNvSpPr>
            <p:nvPr/>
          </p:nvSpPr>
          <p:spPr bwMode="auto">
            <a:xfrm>
              <a:off x="3753065" y="2798536"/>
              <a:ext cx="685660" cy="2338341"/>
            </a:xfrm>
            <a:custGeom>
              <a:avLst/>
              <a:gdLst>
                <a:gd name="T0" fmla="*/ 522 w 522"/>
                <a:gd name="T1" fmla="*/ 1380 h 1768"/>
                <a:gd name="T2" fmla="*/ 0 w 522"/>
                <a:gd name="T3" fmla="*/ 1768 h 1768"/>
                <a:gd name="T4" fmla="*/ 0 w 522"/>
                <a:gd name="T5" fmla="*/ 0 h 1768"/>
                <a:gd name="T6" fmla="*/ 522 w 522"/>
                <a:gd name="T7" fmla="*/ 1380 h 1768"/>
                <a:gd name="T8" fmla="*/ 522 w 522"/>
                <a:gd name="T9" fmla="*/ 1380 h 1768"/>
                <a:gd name="connsiteX0" fmla="*/ 10000 w 10000"/>
                <a:gd name="connsiteY0" fmla="*/ 11144 h 13339"/>
                <a:gd name="connsiteX1" fmla="*/ 0 w 10000"/>
                <a:gd name="connsiteY1" fmla="*/ 13339 h 13339"/>
                <a:gd name="connsiteX2" fmla="*/ 35 w 10000"/>
                <a:gd name="connsiteY2" fmla="*/ 0 h 13339"/>
                <a:gd name="connsiteX3" fmla="*/ 10000 w 10000"/>
                <a:gd name="connsiteY3" fmla="*/ 11144 h 13339"/>
                <a:gd name="connsiteX4" fmla="*/ 10000 w 10000"/>
                <a:gd name="connsiteY4" fmla="*/ 11144 h 13339"/>
                <a:gd name="connsiteX0" fmla="*/ 10000 w 10000"/>
                <a:gd name="connsiteY0" fmla="*/ 11144 h 13339"/>
                <a:gd name="connsiteX1" fmla="*/ 0 w 10000"/>
                <a:gd name="connsiteY1" fmla="*/ 13339 h 13339"/>
                <a:gd name="connsiteX2" fmla="*/ 35 w 10000"/>
                <a:gd name="connsiteY2" fmla="*/ 0 h 13339"/>
                <a:gd name="connsiteX3" fmla="*/ 10000 w 10000"/>
                <a:gd name="connsiteY3" fmla="*/ 11144 h 13339"/>
                <a:gd name="connsiteX4" fmla="*/ 10000 w 10000"/>
                <a:gd name="connsiteY4" fmla="*/ 11144 h 13339"/>
                <a:gd name="connsiteX0" fmla="*/ 10003 w 10003"/>
                <a:gd name="connsiteY0" fmla="*/ 11160 h 13355"/>
                <a:gd name="connsiteX1" fmla="*/ 3 w 10003"/>
                <a:gd name="connsiteY1" fmla="*/ 13355 h 13355"/>
                <a:gd name="connsiteX2" fmla="*/ 3 w 10003"/>
                <a:gd name="connsiteY2" fmla="*/ 0 h 13355"/>
                <a:gd name="connsiteX3" fmla="*/ 10003 w 10003"/>
                <a:gd name="connsiteY3" fmla="*/ 11160 h 13355"/>
                <a:gd name="connsiteX4" fmla="*/ 10003 w 10003"/>
                <a:gd name="connsiteY4" fmla="*/ 11160 h 13355"/>
                <a:gd name="connsiteX0" fmla="*/ 10003 w 10003"/>
                <a:gd name="connsiteY0" fmla="*/ 11160 h 13355"/>
                <a:gd name="connsiteX1" fmla="*/ 3 w 10003"/>
                <a:gd name="connsiteY1" fmla="*/ 13355 h 13355"/>
                <a:gd name="connsiteX2" fmla="*/ 3 w 10003"/>
                <a:gd name="connsiteY2" fmla="*/ 0 h 13355"/>
                <a:gd name="connsiteX3" fmla="*/ 10003 w 10003"/>
                <a:gd name="connsiteY3" fmla="*/ 11160 h 13355"/>
                <a:gd name="connsiteX4" fmla="*/ 10003 w 10003"/>
                <a:gd name="connsiteY4" fmla="*/ 11160 h 13355"/>
                <a:gd name="connsiteX0" fmla="*/ 10003 w 10003"/>
                <a:gd name="connsiteY0" fmla="*/ 11192 h 13387"/>
                <a:gd name="connsiteX1" fmla="*/ 3 w 10003"/>
                <a:gd name="connsiteY1" fmla="*/ 13387 h 13387"/>
                <a:gd name="connsiteX2" fmla="*/ 3 w 10003"/>
                <a:gd name="connsiteY2" fmla="*/ 0 h 13387"/>
                <a:gd name="connsiteX3" fmla="*/ 10003 w 10003"/>
                <a:gd name="connsiteY3" fmla="*/ 11192 h 13387"/>
                <a:gd name="connsiteX4" fmla="*/ 10003 w 10003"/>
                <a:gd name="connsiteY4" fmla="*/ 11192 h 13387"/>
                <a:gd name="connsiteX0" fmla="*/ 10000 w 10000"/>
                <a:gd name="connsiteY0" fmla="*/ 13720 h 15915"/>
                <a:gd name="connsiteX1" fmla="*/ 0 w 10000"/>
                <a:gd name="connsiteY1" fmla="*/ 15915 h 15915"/>
                <a:gd name="connsiteX2" fmla="*/ 35 w 10000"/>
                <a:gd name="connsiteY2" fmla="*/ 0 h 15915"/>
                <a:gd name="connsiteX3" fmla="*/ 10000 w 10000"/>
                <a:gd name="connsiteY3" fmla="*/ 13720 h 15915"/>
                <a:gd name="connsiteX4" fmla="*/ 10000 w 10000"/>
                <a:gd name="connsiteY4" fmla="*/ 13720 h 159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5915">
                  <a:moveTo>
                    <a:pt x="10000" y="13720"/>
                  </a:moveTo>
                  <a:lnTo>
                    <a:pt x="0" y="15915"/>
                  </a:lnTo>
                  <a:cubicBezTo>
                    <a:pt x="12" y="11469"/>
                    <a:pt x="23" y="4446"/>
                    <a:pt x="35" y="0"/>
                  </a:cubicBezTo>
                  <a:lnTo>
                    <a:pt x="10000" y="13720"/>
                  </a:lnTo>
                  <a:lnTo>
                    <a:pt x="10000" y="13720"/>
                  </a:lnTo>
                  <a:close/>
                </a:path>
              </a:pathLst>
            </a:custGeom>
            <a:gradFill flip="none" rotWithShape="1">
              <a:gsLst>
                <a:gs pos="73000">
                  <a:schemeClr val="accent1"/>
                </a:gs>
                <a:gs pos="31000">
                  <a:schemeClr val="accent1">
                    <a:lumMod val="60000"/>
                    <a:lumOff val="40000"/>
                  </a:schemeClr>
                </a:gs>
                <a:gs pos="0">
                  <a:schemeClr val="accent1">
                    <a:lumMod val="40000"/>
                    <a:lumOff val="60000"/>
                  </a:schemeClr>
                </a:gs>
              </a:gsLst>
              <a:lin ang="2700000" scaled="1"/>
              <a:tileRect/>
            </a:gradFill>
            <a:ln w="25400">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22222"/>
                </a:solidFill>
                <a:effectLst/>
                <a:uLnTx/>
                <a:uFillTx/>
                <a:latin typeface="Inter"/>
                <a:cs typeface="+mn-cs"/>
              </a:endParaRPr>
            </a:p>
          </p:txBody>
        </p:sp>
      </p:grpSp>
      <p:sp>
        <p:nvSpPr>
          <p:cNvPr id="169" name="TextBox 27">
            <a:extLst>
              <a:ext uri="{FF2B5EF4-FFF2-40B4-BE49-F238E27FC236}">
                <a16:creationId xmlns:a16="http://schemas.microsoft.com/office/drawing/2014/main" id="{DF87650B-8089-47CB-A88D-FE519FF61F55}"/>
              </a:ext>
            </a:extLst>
          </p:cNvPr>
          <p:cNvSpPr txBox="1"/>
          <p:nvPr/>
        </p:nvSpPr>
        <p:spPr>
          <a:xfrm>
            <a:off x="1374784" y="3101005"/>
            <a:ext cx="754772" cy="380480"/>
          </a:xfrm>
          <a:prstGeom prst="rect">
            <a:avLst/>
          </a:prstGeom>
          <a:noFill/>
        </p:spPr>
        <p:txBody>
          <a:bodyPr wrap="square" lIns="0" tIns="36000" rIns="0" bIns="36000" rtlCol="0">
            <a:spAutoFit/>
          </a:bodyPr>
          <a:lstStyle/>
          <a:p>
            <a:pPr marL="0" marR="0" lvl="0" indent="0" algn="ctr" defTabSz="914400" rtl="0" eaLnBrk="1" fontAlgn="auto" latinLnBrk="0" hangingPunct="1">
              <a:lnSpc>
                <a:spcPct val="100000"/>
              </a:lnSpc>
              <a:spcBef>
                <a:spcPts val="1000"/>
              </a:spcBef>
              <a:spcAft>
                <a:spcPts val="0"/>
              </a:spcAft>
              <a:buClrTx/>
              <a:buSzTx/>
              <a:buFontTx/>
              <a:buNone/>
              <a:tabLst/>
              <a:defRPr/>
            </a:pPr>
            <a:r>
              <a:rPr kumimoji="0" lang="en-US" sz="2000" b="1" i="0" u="none" strike="noStrike" kern="1200" cap="none" spc="0" normalizeH="0" baseline="0" noProof="0" dirty="0">
                <a:ln>
                  <a:noFill/>
                </a:ln>
                <a:solidFill>
                  <a:schemeClr val="accent1"/>
                </a:solidFill>
                <a:effectLst/>
                <a:uLnTx/>
                <a:uFillTx/>
                <a:latin typeface="HarmonyOS Sans SC Black"/>
                <a:ea typeface="+mj-ea"/>
                <a:cs typeface="+mn-cs"/>
              </a:rPr>
              <a:t>$900</a:t>
            </a:r>
          </a:p>
        </p:txBody>
      </p:sp>
      <p:sp>
        <p:nvSpPr>
          <p:cNvPr id="170" name="TextBox 27">
            <a:extLst>
              <a:ext uri="{FF2B5EF4-FFF2-40B4-BE49-F238E27FC236}">
                <a16:creationId xmlns:a16="http://schemas.microsoft.com/office/drawing/2014/main" id="{9CC330B0-877A-4E72-9D9F-4828A586371B}"/>
              </a:ext>
            </a:extLst>
          </p:cNvPr>
          <p:cNvSpPr txBox="1"/>
          <p:nvPr/>
        </p:nvSpPr>
        <p:spPr>
          <a:xfrm>
            <a:off x="3402123" y="2697783"/>
            <a:ext cx="1046052" cy="380480"/>
          </a:xfrm>
          <a:prstGeom prst="rect">
            <a:avLst/>
          </a:prstGeom>
          <a:noFill/>
        </p:spPr>
        <p:txBody>
          <a:bodyPr wrap="square" lIns="0" tIns="36000" rIns="0" bIns="36000" rtlCol="0">
            <a:spAutoFit/>
          </a:bodyPr>
          <a:lstStyle/>
          <a:p>
            <a:pPr marL="0" marR="0" lvl="0" indent="0" algn="ctr" defTabSz="914400" rtl="0" eaLnBrk="1" fontAlgn="auto" latinLnBrk="0" hangingPunct="1">
              <a:lnSpc>
                <a:spcPct val="100000"/>
              </a:lnSpc>
              <a:spcBef>
                <a:spcPts val="1000"/>
              </a:spcBef>
              <a:spcAft>
                <a:spcPts val="0"/>
              </a:spcAft>
              <a:buClrTx/>
              <a:buSzTx/>
              <a:buFontTx/>
              <a:buNone/>
              <a:tabLst/>
              <a:defRPr/>
            </a:pPr>
            <a:r>
              <a:rPr kumimoji="0" lang="en-US" sz="2000" b="1" i="0" u="none" strike="noStrike" kern="1200" cap="none" spc="0" normalizeH="0" baseline="0" noProof="0" dirty="0">
                <a:ln>
                  <a:noFill/>
                </a:ln>
                <a:solidFill>
                  <a:schemeClr val="accent1"/>
                </a:solidFill>
                <a:effectLst/>
                <a:uLnTx/>
                <a:uFillTx/>
                <a:latin typeface="HarmonyOS Sans SC Black"/>
                <a:ea typeface="+mj-ea"/>
                <a:cs typeface="+mn-cs"/>
              </a:rPr>
              <a:t>$1000</a:t>
            </a:r>
          </a:p>
        </p:txBody>
      </p:sp>
      <p:sp>
        <p:nvSpPr>
          <p:cNvPr id="171" name="TextBox 27">
            <a:extLst>
              <a:ext uri="{FF2B5EF4-FFF2-40B4-BE49-F238E27FC236}">
                <a16:creationId xmlns:a16="http://schemas.microsoft.com/office/drawing/2014/main" id="{3E8632F6-499E-45DC-BABA-7E78AB2ECBF8}"/>
              </a:ext>
            </a:extLst>
          </p:cNvPr>
          <p:cNvSpPr txBox="1"/>
          <p:nvPr/>
        </p:nvSpPr>
        <p:spPr>
          <a:xfrm>
            <a:off x="5559403" y="2190723"/>
            <a:ext cx="1077450" cy="380480"/>
          </a:xfrm>
          <a:prstGeom prst="rect">
            <a:avLst/>
          </a:prstGeom>
          <a:noFill/>
        </p:spPr>
        <p:txBody>
          <a:bodyPr wrap="square" lIns="0" tIns="36000" rIns="0" bIns="36000" rtlCol="0">
            <a:spAutoFit/>
          </a:bodyPr>
          <a:lstStyle/>
          <a:p>
            <a:pPr marL="0" marR="0" lvl="0" indent="0" algn="ctr" defTabSz="914400" rtl="0" eaLnBrk="1" fontAlgn="auto" latinLnBrk="0" hangingPunct="1">
              <a:lnSpc>
                <a:spcPct val="100000"/>
              </a:lnSpc>
              <a:spcBef>
                <a:spcPts val="1000"/>
              </a:spcBef>
              <a:spcAft>
                <a:spcPts val="0"/>
              </a:spcAft>
              <a:buClrTx/>
              <a:buSzTx/>
              <a:buFontTx/>
              <a:buNone/>
              <a:tabLst/>
              <a:defRPr/>
            </a:pPr>
            <a:r>
              <a:rPr kumimoji="0" lang="en-US" sz="2000" b="1" i="0" u="none" strike="noStrike" kern="1200" cap="none" spc="0" normalizeH="0" baseline="0" noProof="0" dirty="0">
                <a:ln>
                  <a:noFill/>
                </a:ln>
                <a:solidFill>
                  <a:schemeClr val="accent1"/>
                </a:solidFill>
                <a:effectLst/>
                <a:uLnTx/>
                <a:uFillTx/>
                <a:latin typeface="HarmonyOS Sans SC Black"/>
                <a:ea typeface="+mj-ea"/>
                <a:cs typeface="+mn-cs"/>
              </a:rPr>
              <a:t>$1300</a:t>
            </a:r>
          </a:p>
        </p:txBody>
      </p:sp>
      <p:sp>
        <p:nvSpPr>
          <p:cNvPr id="172" name="TextBox 27">
            <a:extLst>
              <a:ext uri="{FF2B5EF4-FFF2-40B4-BE49-F238E27FC236}">
                <a16:creationId xmlns:a16="http://schemas.microsoft.com/office/drawing/2014/main" id="{83341557-FB33-4668-8109-B8D85D707D70}"/>
              </a:ext>
            </a:extLst>
          </p:cNvPr>
          <p:cNvSpPr txBox="1"/>
          <p:nvPr/>
        </p:nvSpPr>
        <p:spPr>
          <a:xfrm>
            <a:off x="7716683" y="2419304"/>
            <a:ext cx="1108848" cy="380480"/>
          </a:xfrm>
          <a:prstGeom prst="rect">
            <a:avLst/>
          </a:prstGeom>
          <a:noFill/>
        </p:spPr>
        <p:txBody>
          <a:bodyPr wrap="square" lIns="0" tIns="36000" rIns="0" bIns="36000" rtlCol="0">
            <a:spAutoFit/>
          </a:bodyPr>
          <a:lstStyle/>
          <a:p>
            <a:pPr marL="0" marR="0" lvl="0" indent="0" algn="ctr" defTabSz="914400" rtl="0" eaLnBrk="1" fontAlgn="auto" latinLnBrk="0" hangingPunct="1">
              <a:lnSpc>
                <a:spcPct val="100000"/>
              </a:lnSpc>
              <a:spcBef>
                <a:spcPts val="1000"/>
              </a:spcBef>
              <a:spcAft>
                <a:spcPts val="0"/>
              </a:spcAft>
              <a:buClrTx/>
              <a:buSzTx/>
              <a:buFontTx/>
              <a:buNone/>
              <a:tabLst/>
              <a:defRPr/>
            </a:pPr>
            <a:r>
              <a:rPr kumimoji="0" lang="en-US" sz="2000" b="1" i="0" u="none" strike="noStrike" kern="1200" cap="none" spc="0" normalizeH="0" baseline="0" noProof="0" dirty="0">
                <a:ln>
                  <a:noFill/>
                </a:ln>
                <a:solidFill>
                  <a:schemeClr val="accent1"/>
                </a:solidFill>
                <a:effectLst/>
                <a:uLnTx/>
                <a:uFillTx/>
                <a:latin typeface="HarmonyOS Sans SC Black"/>
                <a:ea typeface="+mj-ea"/>
                <a:cs typeface="+mn-cs"/>
              </a:rPr>
              <a:t>$1100</a:t>
            </a:r>
          </a:p>
        </p:txBody>
      </p:sp>
      <p:sp>
        <p:nvSpPr>
          <p:cNvPr id="173" name="TextBox 27">
            <a:extLst>
              <a:ext uri="{FF2B5EF4-FFF2-40B4-BE49-F238E27FC236}">
                <a16:creationId xmlns:a16="http://schemas.microsoft.com/office/drawing/2014/main" id="{3F05A5C3-099C-4F5D-852E-DE4F4DDC4189}"/>
              </a:ext>
            </a:extLst>
          </p:cNvPr>
          <p:cNvSpPr txBox="1"/>
          <p:nvPr/>
        </p:nvSpPr>
        <p:spPr>
          <a:xfrm>
            <a:off x="10066699" y="1855855"/>
            <a:ext cx="918956" cy="380480"/>
          </a:xfrm>
          <a:prstGeom prst="rect">
            <a:avLst/>
          </a:prstGeom>
          <a:noFill/>
        </p:spPr>
        <p:txBody>
          <a:bodyPr wrap="square" lIns="0" tIns="36000" rIns="0" bIns="36000" rtlCol="0">
            <a:spAutoFit/>
          </a:bodyPr>
          <a:lstStyle/>
          <a:p>
            <a:pPr marL="0" marR="0" lvl="0" indent="0" algn="ctr" defTabSz="914400" rtl="0" eaLnBrk="1" fontAlgn="auto" latinLnBrk="0" hangingPunct="1">
              <a:lnSpc>
                <a:spcPct val="100000"/>
              </a:lnSpc>
              <a:spcBef>
                <a:spcPts val="1000"/>
              </a:spcBef>
              <a:spcAft>
                <a:spcPts val="0"/>
              </a:spcAft>
              <a:buClrTx/>
              <a:buSzTx/>
              <a:buFontTx/>
              <a:buNone/>
              <a:tabLst/>
              <a:defRPr/>
            </a:pPr>
            <a:r>
              <a:rPr kumimoji="0" lang="en-US" sz="2000" b="1" i="0" u="none" strike="noStrike" kern="1200" cap="none" spc="0" normalizeH="0" baseline="0" noProof="0" dirty="0">
                <a:ln>
                  <a:noFill/>
                </a:ln>
                <a:solidFill>
                  <a:schemeClr val="accent1"/>
                </a:solidFill>
                <a:effectLst/>
                <a:uLnTx/>
                <a:uFillTx/>
                <a:latin typeface="HarmonyOS Sans SC Black"/>
                <a:ea typeface="+mj-ea"/>
                <a:cs typeface="+mn-cs"/>
              </a:rPr>
              <a:t>$1500</a:t>
            </a:r>
          </a:p>
        </p:txBody>
      </p:sp>
    </p:spTree>
    <p:extLst>
      <p:ext uri="{BB962C8B-B14F-4D97-AF65-F5344CB8AC3E}">
        <p14:creationId xmlns:p14="http://schemas.microsoft.com/office/powerpoint/2010/main" val="3003093351"/>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5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5">
            <a:extLst>
              <a:ext uri="{FF2B5EF4-FFF2-40B4-BE49-F238E27FC236}">
                <a16:creationId xmlns:a16="http://schemas.microsoft.com/office/drawing/2014/main" id="{D8040F10-212F-4E3C-AF4F-C8520DA9E9D6}"/>
              </a:ext>
            </a:extLst>
          </p:cNvPr>
          <p:cNvSpPr>
            <a:spLocks/>
          </p:cNvSpPr>
          <p:nvPr/>
        </p:nvSpPr>
        <p:spPr bwMode="auto">
          <a:xfrm>
            <a:off x="1149350" y="1883655"/>
            <a:ext cx="9893300" cy="1503363"/>
          </a:xfrm>
          <a:custGeom>
            <a:avLst/>
            <a:gdLst>
              <a:gd name="T0" fmla="*/ 2632 w 2740"/>
              <a:gd name="T1" fmla="*/ 115 h 416"/>
              <a:gd name="T2" fmla="*/ 2293 w 2740"/>
              <a:gd name="T3" fmla="*/ 0 h 416"/>
              <a:gd name="T4" fmla="*/ 2032 w 2740"/>
              <a:gd name="T5" fmla="*/ 223 h 416"/>
              <a:gd name="T6" fmla="*/ 1807 w 2740"/>
              <a:gd name="T7" fmla="*/ 282 h 416"/>
              <a:gd name="T8" fmla="*/ 1639 w 2740"/>
              <a:gd name="T9" fmla="*/ 115 h 416"/>
              <a:gd name="T10" fmla="*/ 1301 w 2740"/>
              <a:gd name="T11" fmla="*/ 0 h 416"/>
              <a:gd name="T12" fmla="*/ 1032 w 2740"/>
              <a:gd name="T13" fmla="*/ 235 h 416"/>
              <a:gd name="T14" fmla="*/ 929 w 2740"/>
              <a:gd name="T15" fmla="*/ 282 h 416"/>
              <a:gd name="T16" fmla="*/ 816 w 2740"/>
              <a:gd name="T17" fmla="*/ 282 h 416"/>
              <a:gd name="T18" fmla="*/ 802 w 2740"/>
              <a:gd name="T19" fmla="*/ 282 h 416"/>
              <a:gd name="T20" fmla="*/ 715 w 2740"/>
              <a:gd name="T21" fmla="*/ 235 h 416"/>
              <a:gd name="T22" fmla="*/ 447 w 2740"/>
              <a:gd name="T23" fmla="*/ 0 h 416"/>
              <a:gd name="T24" fmla="*/ 108 w 2740"/>
              <a:gd name="T25" fmla="*/ 115 h 416"/>
              <a:gd name="T26" fmla="*/ 16 w 2740"/>
              <a:gd name="T27" fmla="*/ 410 h 416"/>
              <a:gd name="T28" fmla="*/ 31 w 2740"/>
              <a:gd name="T29" fmla="*/ 407 h 416"/>
              <a:gd name="T30" fmla="*/ 121 w 2740"/>
              <a:gd name="T31" fmla="*/ 123 h 416"/>
              <a:gd name="T32" fmla="*/ 447 w 2740"/>
              <a:gd name="T33" fmla="*/ 15 h 416"/>
              <a:gd name="T34" fmla="*/ 702 w 2740"/>
              <a:gd name="T35" fmla="*/ 243 h 416"/>
              <a:gd name="T36" fmla="*/ 706 w 2740"/>
              <a:gd name="T37" fmla="*/ 250 h 416"/>
              <a:gd name="T38" fmla="*/ 802 w 2740"/>
              <a:gd name="T39" fmla="*/ 298 h 416"/>
              <a:gd name="T40" fmla="*/ 806 w 2740"/>
              <a:gd name="T41" fmla="*/ 298 h 416"/>
              <a:gd name="T42" fmla="*/ 831 w 2740"/>
              <a:gd name="T43" fmla="*/ 298 h 416"/>
              <a:gd name="T44" fmla="*/ 1042 w 2740"/>
              <a:gd name="T45" fmla="*/ 249 h 416"/>
              <a:gd name="T46" fmla="*/ 1045 w 2740"/>
              <a:gd name="T47" fmla="*/ 243 h 416"/>
              <a:gd name="T48" fmla="*/ 1301 w 2740"/>
              <a:gd name="T49" fmla="*/ 15 h 416"/>
              <a:gd name="T50" fmla="*/ 1626 w 2740"/>
              <a:gd name="T51" fmla="*/ 123 h 416"/>
              <a:gd name="T52" fmla="*/ 1694 w 2740"/>
              <a:gd name="T53" fmla="*/ 242 h 416"/>
              <a:gd name="T54" fmla="*/ 1924 w 2740"/>
              <a:gd name="T55" fmla="*/ 298 h 416"/>
              <a:gd name="T56" fmla="*/ 2107 w 2740"/>
              <a:gd name="T57" fmla="*/ 123 h 416"/>
              <a:gd name="T58" fmla="*/ 2432 w 2740"/>
              <a:gd name="T59" fmla="*/ 15 h 416"/>
              <a:gd name="T60" fmla="*/ 2688 w 2740"/>
              <a:gd name="T61" fmla="*/ 243 h 416"/>
              <a:gd name="T62" fmla="*/ 2717 w 2740"/>
              <a:gd name="T63" fmla="*/ 416 h 416"/>
              <a:gd name="T64" fmla="*/ 2701 w 2740"/>
              <a:gd name="T65" fmla="*/ 235 h 4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740" h="416">
                <a:moveTo>
                  <a:pt x="2701" y="235"/>
                </a:moveTo>
                <a:cubicBezTo>
                  <a:pt x="2632" y="115"/>
                  <a:pt x="2632" y="115"/>
                  <a:pt x="2632" y="115"/>
                </a:cubicBezTo>
                <a:cubicBezTo>
                  <a:pt x="2591" y="44"/>
                  <a:pt x="2514" y="0"/>
                  <a:pt x="2432" y="0"/>
                </a:cubicBezTo>
                <a:cubicBezTo>
                  <a:pt x="2293" y="0"/>
                  <a:pt x="2293" y="0"/>
                  <a:pt x="2293" y="0"/>
                </a:cubicBezTo>
                <a:cubicBezTo>
                  <a:pt x="2212" y="0"/>
                  <a:pt x="2135" y="44"/>
                  <a:pt x="2094" y="115"/>
                </a:cubicBezTo>
                <a:cubicBezTo>
                  <a:pt x="2032" y="223"/>
                  <a:pt x="2032" y="223"/>
                  <a:pt x="2032" y="223"/>
                </a:cubicBezTo>
                <a:cubicBezTo>
                  <a:pt x="2002" y="274"/>
                  <a:pt x="1946" y="281"/>
                  <a:pt x="1924" y="282"/>
                </a:cubicBezTo>
                <a:cubicBezTo>
                  <a:pt x="1807" y="282"/>
                  <a:pt x="1807" y="282"/>
                  <a:pt x="1807" y="282"/>
                </a:cubicBezTo>
                <a:cubicBezTo>
                  <a:pt x="1749" y="282"/>
                  <a:pt x="1720" y="252"/>
                  <a:pt x="1707" y="233"/>
                </a:cubicBezTo>
                <a:cubicBezTo>
                  <a:pt x="1639" y="115"/>
                  <a:pt x="1639" y="115"/>
                  <a:pt x="1639" y="115"/>
                </a:cubicBezTo>
                <a:cubicBezTo>
                  <a:pt x="1598" y="44"/>
                  <a:pt x="1521" y="0"/>
                  <a:pt x="1439" y="0"/>
                </a:cubicBezTo>
                <a:cubicBezTo>
                  <a:pt x="1301" y="0"/>
                  <a:pt x="1301" y="0"/>
                  <a:pt x="1301" y="0"/>
                </a:cubicBezTo>
                <a:cubicBezTo>
                  <a:pt x="1219" y="0"/>
                  <a:pt x="1142" y="44"/>
                  <a:pt x="1101" y="115"/>
                </a:cubicBezTo>
                <a:cubicBezTo>
                  <a:pt x="1032" y="235"/>
                  <a:pt x="1032" y="235"/>
                  <a:pt x="1032" y="235"/>
                </a:cubicBezTo>
                <a:cubicBezTo>
                  <a:pt x="1031" y="237"/>
                  <a:pt x="1030" y="239"/>
                  <a:pt x="1029" y="240"/>
                </a:cubicBezTo>
                <a:cubicBezTo>
                  <a:pt x="1018" y="256"/>
                  <a:pt x="990" y="282"/>
                  <a:pt x="929" y="282"/>
                </a:cubicBezTo>
                <a:cubicBezTo>
                  <a:pt x="831" y="282"/>
                  <a:pt x="831" y="282"/>
                  <a:pt x="831" y="282"/>
                </a:cubicBezTo>
                <a:cubicBezTo>
                  <a:pt x="826" y="282"/>
                  <a:pt x="821" y="282"/>
                  <a:pt x="816" y="282"/>
                </a:cubicBezTo>
                <a:cubicBezTo>
                  <a:pt x="806" y="282"/>
                  <a:pt x="806" y="282"/>
                  <a:pt x="806" y="282"/>
                </a:cubicBezTo>
                <a:cubicBezTo>
                  <a:pt x="805" y="282"/>
                  <a:pt x="803" y="282"/>
                  <a:pt x="802" y="282"/>
                </a:cubicBezTo>
                <a:cubicBezTo>
                  <a:pt x="766" y="281"/>
                  <a:pt x="738" y="267"/>
                  <a:pt x="719" y="241"/>
                </a:cubicBezTo>
                <a:cubicBezTo>
                  <a:pt x="718" y="239"/>
                  <a:pt x="716" y="237"/>
                  <a:pt x="715" y="235"/>
                </a:cubicBezTo>
                <a:cubicBezTo>
                  <a:pt x="646" y="115"/>
                  <a:pt x="646" y="115"/>
                  <a:pt x="646" y="115"/>
                </a:cubicBezTo>
                <a:cubicBezTo>
                  <a:pt x="605" y="44"/>
                  <a:pt x="529" y="0"/>
                  <a:pt x="447" y="0"/>
                </a:cubicBezTo>
                <a:cubicBezTo>
                  <a:pt x="308" y="0"/>
                  <a:pt x="308" y="0"/>
                  <a:pt x="308" y="0"/>
                </a:cubicBezTo>
                <a:cubicBezTo>
                  <a:pt x="226" y="0"/>
                  <a:pt x="149" y="44"/>
                  <a:pt x="108" y="115"/>
                </a:cubicBezTo>
                <a:cubicBezTo>
                  <a:pt x="39" y="235"/>
                  <a:pt x="39" y="235"/>
                  <a:pt x="39" y="235"/>
                </a:cubicBezTo>
                <a:cubicBezTo>
                  <a:pt x="8" y="289"/>
                  <a:pt x="0" y="352"/>
                  <a:pt x="16" y="410"/>
                </a:cubicBezTo>
                <a:cubicBezTo>
                  <a:pt x="17" y="414"/>
                  <a:pt x="20" y="416"/>
                  <a:pt x="23" y="416"/>
                </a:cubicBezTo>
                <a:cubicBezTo>
                  <a:pt x="28" y="416"/>
                  <a:pt x="32" y="411"/>
                  <a:pt x="31" y="407"/>
                </a:cubicBezTo>
                <a:cubicBezTo>
                  <a:pt x="16" y="352"/>
                  <a:pt x="23" y="293"/>
                  <a:pt x="52" y="243"/>
                </a:cubicBezTo>
                <a:cubicBezTo>
                  <a:pt x="121" y="123"/>
                  <a:pt x="121" y="123"/>
                  <a:pt x="121" y="123"/>
                </a:cubicBezTo>
                <a:cubicBezTo>
                  <a:pt x="160" y="56"/>
                  <a:pt x="231" y="15"/>
                  <a:pt x="308" y="15"/>
                </a:cubicBezTo>
                <a:cubicBezTo>
                  <a:pt x="447" y="15"/>
                  <a:pt x="447" y="15"/>
                  <a:pt x="447" y="15"/>
                </a:cubicBezTo>
                <a:cubicBezTo>
                  <a:pt x="523" y="15"/>
                  <a:pt x="594" y="56"/>
                  <a:pt x="633" y="123"/>
                </a:cubicBezTo>
                <a:cubicBezTo>
                  <a:pt x="702" y="243"/>
                  <a:pt x="702" y="243"/>
                  <a:pt x="702" y="243"/>
                </a:cubicBezTo>
                <a:cubicBezTo>
                  <a:pt x="703" y="245"/>
                  <a:pt x="704" y="247"/>
                  <a:pt x="705" y="249"/>
                </a:cubicBezTo>
                <a:cubicBezTo>
                  <a:pt x="706" y="250"/>
                  <a:pt x="706" y="250"/>
                  <a:pt x="706" y="250"/>
                </a:cubicBezTo>
                <a:cubicBezTo>
                  <a:pt x="729" y="280"/>
                  <a:pt x="761" y="296"/>
                  <a:pt x="802" y="298"/>
                </a:cubicBezTo>
                <a:cubicBezTo>
                  <a:pt x="802" y="298"/>
                  <a:pt x="802" y="298"/>
                  <a:pt x="802" y="298"/>
                </a:cubicBezTo>
                <a:cubicBezTo>
                  <a:pt x="803" y="298"/>
                  <a:pt x="803" y="298"/>
                  <a:pt x="803" y="298"/>
                </a:cubicBezTo>
                <a:cubicBezTo>
                  <a:pt x="804" y="298"/>
                  <a:pt x="805" y="298"/>
                  <a:pt x="806" y="298"/>
                </a:cubicBezTo>
                <a:cubicBezTo>
                  <a:pt x="816" y="298"/>
                  <a:pt x="816" y="298"/>
                  <a:pt x="816" y="298"/>
                </a:cubicBezTo>
                <a:cubicBezTo>
                  <a:pt x="821" y="297"/>
                  <a:pt x="826" y="297"/>
                  <a:pt x="831" y="298"/>
                </a:cubicBezTo>
                <a:cubicBezTo>
                  <a:pt x="929" y="298"/>
                  <a:pt x="929" y="298"/>
                  <a:pt x="929" y="298"/>
                </a:cubicBezTo>
                <a:cubicBezTo>
                  <a:pt x="997" y="298"/>
                  <a:pt x="1029" y="267"/>
                  <a:pt x="1042" y="249"/>
                </a:cubicBezTo>
                <a:cubicBezTo>
                  <a:pt x="1042" y="248"/>
                  <a:pt x="1042" y="248"/>
                  <a:pt x="1042" y="248"/>
                </a:cubicBezTo>
                <a:cubicBezTo>
                  <a:pt x="1043" y="246"/>
                  <a:pt x="1044" y="245"/>
                  <a:pt x="1045" y="243"/>
                </a:cubicBezTo>
                <a:cubicBezTo>
                  <a:pt x="1114" y="123"/>
                  <a:pt x="1114" y="123"/>
                  <a:pt x="1114" y="123"/>
                </a:cubicBezTo>
                <a:cubicBezTo>
                  <a:pt x="1153" y="56"/>
                  <a:pt x="1224" y="15"/>
                  <a:pt x="1301" y="15"/>
                </a:cubicBezTo>
                <a:cubicBezTo>
                  <a:pt x="1439" y="15"/>
                  <a:pt x="1439" y="15"/>
                  <a:pt x="1439" y="15"/>
                </a:cubicBezTo>
                <a:cubicBezTo>
                  <a:pt x="1516" y="15"/>
                  <a:pt x="1587" y="56"/>
                  <a:pt x="1626" y="123"/>
                </a:cubicBezTo>
                <a:cubicBezTo>
                  <a:pt x="1694" y="241"/>
                  <a:pt x="1694" y="241"/>
                  <a:pt x="1694" y="241"/>
                </a:cubicBezTo>
                <a:cubicBezTo>
                  <a:pt x="1694" y="242"/>
                  <a:pt x="1694" y="242"/>
                  <a:pt x="1694" y="242"/>
                </a:cubicBezTo>
                <a:cubicBezTo>
                  <a:pt x="1708" y="263"/>
                  <a:pt x="1742" y="298"/>
                  <a:pt x="1807" y="298"/>
                </a:cubicBezTo>
                <a:cubicBezTo>
                  <a:pt x="1924" y="298"/>
                  <a:pt x="1924" y="298"/>
                  <a:pt x="1924" y="298"/>
                </a:cubicBezTo>
                <a:cubicBezTo>
                  <a:pt x="1949" y="297"/>
                  <a:pt x="2012" y="288"/>
                  <a:pt x="2045" y="231"/>
                </a:cubicBezTo>
                <a:cubicBezTo>
                  <a:pt x="2107" y="123"/>
                  <a:pt x="2107" y="123"/>
                  <a:pt x="2107" y="123"/>
                </a:cubicBezTo>
                <a:cubicBezTo>
                  <a:pt x="2146" y="56"/>
                  <a:pt x="2217" y="15"/>
                  <a:pt x="2293" y="15"/>
                </a:cubicBezTo>
                <a:cubicBezTo>
                  <a:pt x="2432" y="15"/>
                  <a:pt x="2432" y="15"/>
                  <a:pt x="2432" y="15"/>
                </a:cubicBezTo>
                <a:cubicBezTo>
                  <a:pt x="2509" y="15"/>
                  <a:pt x="2580" y="56"/>
                  <a:pt x="2619" y="123"/>
                </a:cubicBezTo>
                <a:cubicBezTo>
                  <a:pt x="2688" y="243"/>
                  <a:pt x="2688" y="243"/>
                  <a:pt x="2688" y="243"/>
                </a:cubicBezTo>
                <a:cubicBezTo>
                  <a:pt x="2717" y="293"/>
                  <a:pt x="2724" y="352"/>
                  <a:pt x="2709" y="407"/>
                </a:cubicBezTo>
                <a:cubicBezTo>
                  <a:pt x="2708" y="411"/>
                  <a:pt x="2712" y="416"/>
                  <a:pt x="2717" y="416"/>
                </a:cubicBezTo>
                <a:cubicBezTo>
                  <a:pt x="2720" y="416"/>
                  <a:pt x="2723" y="414"/>
                  <a:pt x="2724" y="410"/>
                </a:cubicBezTo>
                <a:cubicBezTo>
                  <a:pt x="2740" y="352"/>
                  <a:pt x="2732" y="289"/>
                  <a:pt x="2701" y="235"/>
                </a:cubicBezTo>
              </a:path>
            </a:pathLst>
          </a:custGeom>
          <a:gradFill flip="none" rotWithShape="1">
            <a:gsLst>
              <a:gs pos="57000">
                <a:schemeClr val="accent1">
                  <a:lumMod val="60000"/>
                  <a:lumOff val="40000"/>
                </a:schemeClr>
              </a:gs>
              <a:gs pos="0">
                <a:schemeClr val="accent1"/>
              </a:gs>
              <a:gs pos="100000">
                <a:schemeClr val="accent1">
                  <a:lumMod val="40000"/>
                  <a:lumOff val="60000"/>
                </a:schemeClr>
              </a:gs>
            </a:gsLst>
            <a:lin ang="1350000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Black"/>
              <a:ea typeface="+mj-ea"/>
              <a:cs typeface="+mn-cs"/>
            </a:endParaRPr>
          </a:p>
        </p:txBody>
      </p:sp>
      <p:sp>
        <p:nvSpPr>
          <p:cNvPr id="3" name="Freeform 6">
            <a:extLst>
              <a:ext uri="{FF2B5EF4-FFF2-40B4-BE49-F238E27FC236}">
                <a16:creationId xmlns:a16="http://schemas.microsoft.com/office/drawing/2014/main" id="{7B041DDC-7706-40F8-809E-E6E2853BAC10}"/>
              </a:ext>
            </a:extLst>
          </p:cNvPr>
          <p:cNvSpPr>
            <a:spLocks/>
          </p:cNvSpPr>
          <p:nvPr/>
        </p:nvSpPr>
        <p:spPr bwMode="auto">
          <a:xfrm>
            <a:off x="1384300" y="2118605"/>
            <a:ext cx="9423400" cy="3086101"/>
          </a:xfrm>
          <a:custGeom>
            <a:avLst/>
            <a:gdLst>
              <a:gd name="T0" fmla="*/ 2580 w 2610"/>
              <a:gd name="T1" fmla="*/ 203 h 854"/>
              <a:gd name="T2" fmla="*/ 2511 w 2610"/>
              <a:gd name="T3" fmla="*/ 82 h 854"/>
              <a:gd name="T4" fmla="*/ 2367 w 2610"/>
              <a:gd name="T5" fmla="*/ 0 h 854"/>
              <a:gd name="T6" fmla="*/ 2228 w 2610"/>
              <a:gd name="T7" fmla="*/ 0 h 854"/>
              <a:gd name="T8" fmla="*/ 2085 w 2610"/>
              <a:gd name="T9" fmla="*/ 82 h 854"/>
              <a:gd name="T10" fmla="*/ 2023 w 2610"/>
              <a:gd name="T11" fmla="*/ 191 h 854"/>
              <a:gd name="T12" fmla="*/ 1860 w 2610"/>
              <a:gd name="T13" fmla="*/ 282 h 854"/>
              <a:gd name="T14" fmla="*/ 1742 w 2610"/>
              <a:gd name="T15" fmla="*/ 282 h 854"/>
              <a:gd name="T16" fmla="*/ 1587 w 2610"/>
              <a:gd name="T17" fmla="*/ 202 h 854"/>
              <a:gd name="T18" fmla="*/ 1518 w 2610"/>
              <a:gd name="T19" fmla="*/ 82 h 854"/>
              <a:gd name="T20" fmla="*/ 1374 w 2610"/>
              <a:gd name="T21" fmla="*/ 0 h 854"/>
              <a:gd name="T22" fmla="*/ 1236 w 2610"/>
              <a:gd name="T23" fmla="*/ 0 h 854"/>
              <a:gd name="T24" fmla="*/ 1092 w 2610"/>
              <a:gd name="T25" fmla="*/ 82 h 854"/>
              <a:gd name="T26" fmla="*/ 1027 w 2610"/>
              <a:gd name="T27" fmla="*/ 195 h 854"/>
              <a:gd name="T28" fmla="*/ 1027 w 2610"/>
              <a:gd name="T29" fmla="*/ 195 h 854"/>
              <a:gd name="T30" fmla="*/ 1023 w 2610"/>
              <a:gd name="T31" fmla="*/ 203 h 854"/>
              <a:gd name="T32" fmla="*/ 1020 w 2610"/>
              <a:gd name="T33" fmla="*/ 209 h 854"/>
              <a:gd name="T34" fmla="*/ 860 w 2610"/>
              <a:gd name="T35" fmla="*/ 282 h 854"/>
              <a:gd name="T36" fmla="*/ 764 w 2610"/>
              <a:gd name="T37" fmla="*/ 282 h 854"/>
              <a:gd name="T38" fmla="*/ 752 w 2610"/>
              <a:gd name="T39" fmla="*/ 282 h 854"/>
              <a:gd name="T40" fmla="*/ 741 w 2610"/>
              <a:gd name="T41" fmla="*/ 282 h 854"/>
              <a:gd name="T42" fmla="*/ 738 w 2610"/>
              <a:gd name="T43" fmla="*/ 282 h 854"/>
              <a:gd name="T44" fmla="*/ 598 w 2610"/>
              <a:gd name="T45" fmla="*/ 210 h 854"/>
              <a:gd name="T46" fmla="*/ 594 w 2610"/>
              <a:gd name="T47" fmla="*/ 203 h 854"/>
              <a:gd name="T48" fmla="*/ 525 w 2610"/>
              <a:gd name="T49" fmla="*/ 82 h 854"/>
              <a:gd name="T50" fmla="*/ 382 w 2610"/>
              <a:gd name="T51" fmla="*/ 0 h 854"/>
              <a:gd name="T52" fmla="*/ 243 w 2610"/>
              <a:gd name="T53" fmla="*/ 0 h 854"/>
              <a:gd name="T54" fmla="*/ 99 w 2610"/>
              <a:gd name="T55" fmla="*/ 82 h 854"/>
              <a:gd name="T56" fmla="*/ 30 w 2610"/>
              <a:gd name="T57" fmla="*/ 203 h 854"/>
              <a:gd name="T58" fmla="*/ 30 w 2610"/>
              <a:gd name="T59" fmla="*/ 368 h 854"/>
              <a:gd name="T60" fmla="*/ 99 w 2610"/>
              <a:gd name="T61" fmla="*/ 488 h 854"/>
              <a:gd name="T62" fmla="*/ 243 w 2610"/>
              <a:gd name="T63" fmla="*/ 571 h 854"/>
              <a:gd name="T64" fmla="*/ 382 w 2610"/>
              <a:gd name="T65" fmla="*/ 571 h 854"/>
              <a:gd name="T66" fmla="*/ 383 w 2610"/>
              <a:gd name="T67" fmla="*/ 571 h 854"/>
              <a:gd name="T68" fmla="*/ 528 w 2610"/>
              <a:gd name="T69" fmla="*/ 651 h 854"/>
              <a:gd name="T70" fmla="*/ 597 w 2610"/>
              <a:gd name="T71" fmla="*/ 771 h 854"/>
              <a:gd name="T72" fmla="*/ 741 w 2610"/>
              <a:gd name="T73" fmla="*/ 854 h 854"/>
              <a:gd name="T74" fmla="*/ 880 w 2610"/>
              <a:gd name="T75" fmla="*/ 854 h 854"/>
              <a:gd name="T76" fmla="*/ 1023 w 2610"/>
              <a:gd name="T77" fmla="*/ 771 h 854"/>
              <a:gd name="T78" fmla="*/ 1092 w 2610"/>
              <a:gd name="T79" fmla="*/ 651 h 854"/>
              <a:gd name="T80" fmla="*/ 1094 w 2610"/>
              <a:gd name="T81" fmla="*/ 647 h 854"/>
              <a:gd name="T82" fmla="*/ 1227 w 2610"/>
              <a:gd name="T83" fmla="*/ 571 h 854"/>
              <a:gd name="T84" fmla="*/ 1236 w 2610"/>
              <a:gd name="T85" fmla="*/ 571 h 854"/>
              <a:gd name="T86" fmla="*/ 1251 w 2610"/>
              <a:gd name="T87" fmla="*/ 571 h 854"/>
              <a:gd name="T88" fmla="*/ 1271 w 2610"/>
              <a:gd name="T89" fmla="*/ 571 h 854"/>
              <a:gd name="T90" fmla="*/ 1362 w 2610"/>
              <a:gd name="T91" fmla="*/ 571 h 854"/>
              <a:gd name="T92" fmla="*/ 1521 w 2610"/>
              <a:gd name="T93" fmla="*/ 651 h 854"/>
              <a:gd name="T94" fmla="*/ 1590 w 2610"/>
              <a:gd name="T95" fmla="*/ 771 h 854"/>
              <a:gd name="T96" fmla="*/ 1734 w 2610"/>
              <a:gd name="T97" fmla="*/ 854 h 854"/>
              <a:gd name="T98" fmla="*/ 1872 w 2610"/>
              <a:gd name="T99" fmla="*/ 854 h 854"/>
              <a:gd name="T100" fmla="*/ 2016 w 2610"/>
              <a:gd name="T101" fmla="*/ 771 h 854"/>
              <a:gd name="T102" fmla="*/ 2085 w 2610"/>
              <a:gd name="T103" fmla="*/ 651 h 854"/>
              <a:gd name="T104" fmla="*/ 2250 w 2610"/>
              <a:gd name="T105" fmla="*/ 571 h 854"/>
              <a:gd name="T106" fmla="*/ 2367 w 2610"/>
              <a:gd name="T107" fmla="*/ 571 h 854"/>
              <a:gd name="T108" fmla="*/ 2511 w 2610"/>
              <a:gd name="T109" fmla="*/ 488 h 854"/>
              <a:gd name="T110" fmla="*/ 2580 w 2610"/>
              <a:gd name="T111" fmla="*/ 368 h 854"/>
              <a:gd name="T112" fmla="*/ 2580 w 2610"/>
              <a:gd name="T113" fmla="*/ 203 h 8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610" h="854">
                <a:moveTo>
                  <a:pt x="2580" y="203"/>
                </a:moveTo>
                <a:cubicBezTo>
                  <a:pt x="2511" y="82"/>
                  <a:pt x="2511" y="82"/>
                  <a:pt x="2511" y="82"/>
                </a:cubicBezTo>
                <a:cubicBezTo>
                  <a:pt x="2481" y="31"/>
                  <a:pt x="2426" y="0"/>
                  <a:pt x="2367" y="0"/>
                </a:cubicBezTo>
                <a:cubicBezTo>
                  <a:pt x="2228" y="0"/>
                  <a:pt x="2228" y="0"/>
                  <a:pt x="2228" y="0"/>
                </a:cubicBezTo>
                <a:cubicBezTo>
                  <a:pt x="2170" y="0"/>
                  <a:pt x="2115" y="31"/>
                  <a:pt x="2085" y="82"/>
                </a:cubicBezTo>
                <a:cubicBezTo>
                  <a:pt x="2023" y="191"/>
                  <a:pt x="2023" y="191"/>
                  <a:pt x="2023" y="191"/>
                </a:cubicBezTo>
                <a:cubicBezTo>
                  <a:pt x="1976" y="271"/>
                  <a:pt x="1892" y="281"/>
                  <a:pt x="1860" y="282"/>
                </a:cubicBezTo>
                <a:cubicBezTo>
                  <a:pt x="1742" y="282"/>
                  <a:pt x="1742" y="282"/>
                  <a:pt x="1742" y="282"/>
                </a:cubicBezTo>
                <a:cubicBezTo>
                  <a:pt x="1649" y="282"/>
                  <a:pt x="1603" y="227"/>
                  <a:pt x="1587" y="202"/>
                </a:cubicBezTo>
                <a:cubicBezTo>
                  <a:pt x="1518" y="82"/>
                  <a:pt x="1518" y="82"/>
                  <a:pt x="1518" y="82"/>
                </a:cubicBezTo>
                <a:cubicBezTo>
                  <a:pt x="1488" y="31"/>
                  <a:pt x="1433" y="0"/>
                  <a:pt x="1374" y="0"/>
                </a:cubicBezTo>
                <a:cubicBezTo>
                  <a:pt x="1236" y="0"/>
                  <a:pt x="1236" y="0"/>
                  <a:pt x="1236" y="0"/>
                </a:cubicBezTo>
                <a:cubicBezTo>
                  <a:pt x="1177" y="0"/>
                  <a:pt x="1122" y="31"/>
                  <a:pt x="1092" y="82"/>
                </a:cubicBezTo>
                <a:cubicBezTo>
                  <a:pt x="1027" y="195"/>
                  <a:pt x="1027" y="195"/>
                  <a:pt x="1027" y="195"/>
                </a:cubicBezTo>
                <a:cubicBezTo>
                  <a:pt x="1027" y="195"/>
                  <a:pt x="1027" y="195"/>
                  <a:pt x="1027" y="195"/>
                </a:cubicBezTo>
                <a:cubicBezTo>
                  <a:pt x="1023" y="203"/>
                  <a:pt x="1023" y="203"/>
                  <a:pt x="1023" y="203"/>
                </a:cubicBezTo>
                <a:cubicBezTo>
                  <a:pt x="1022" y="205"/>
                  <a:pt x="1021" y="207"/>
                  <a:pt x="1020" y="209"/>
                </a:cubicBezTo>
                <a:cubicBezTo>
                  <a:pt x="1003" y="233"/>
                  <a:pt x="959" y="283"/>
                  <a:pt x="860" y="282"/>
                </a:cubicBezTo>
                <a:cubicBezTo>
                  <a:pt x="764" y="282"/>
                  <a:pt x="764" y="282"/>
                  <a:pt x="764" y="282"/>
                </a:cubicBezTo>
                <a:cubicBezTo>
                  <a:pt x="761" y="282"/>
                  <a:pt x="757" y="282"/>
                  <a:pt x="752" y="282"/>
                </a:cubicBezTo>
                <a:cubicBezTo>
                  <a:pt x="741" y="282"/>
                  <a:pt x="741" y="282"/>
                  <a:pt x="741" y="282"/>
                </a:cubicBezTo>
                <a:cubicBezTo>
                  <a:pt x="740" y="282"/>
                  <a:pt x="739" y="282"/>
                  <a:pt x="738" y="282"/>
                </a:cubicBezTo>
                <a:cubicBezTo>
                  <a:pt x="661" y="281"/>
                  <a:pt x="618" y="239"/>
                  <a:pt x="598" y="210"/>
                </a:cubicBezTo>
                <a:cubicBezTo>
                  <a:pt x="597" y="208"/>
                  <a:pt x="596" y="205"/>
                  <a:pt x="594" y="203"/>
                </a:cubicBezTo>
                <a:cubicBezTo>
                  <a:pt x="525" y="82"/>
                  <a:pt x="525" y="82"/>
                  <a:pt x="525" y="82"/>
                </a:cubicBezTo>
                <a:cubicBezTo>
                  <a:pt x="495" y="31"/>
                  <a:pt x="440" y="0"/>
                  <a:pt x="382" y="0"/>
                </a:cubicBezTo>
                <a:cubicBezTo>
                  <a:pt x="243" y="0"/>
                  <a:pt x="243" y="0"/>
                  <a:pt x="243" y="0"/>
                </a:cubicBezTo>
                <a:cubicBezTo>
                  <a:pt x="184" y="0"/>
                  <a:pt x="129" y="31"/>
                  <a:pt x="99" y="82"/>
                </a:cubicBezTo>
                <a:cubicBezTo>
                  <a:pt x="30" y="203"/>
                  <a:pt x="30" y="203"/>
                  <a:pt x="30" y="203"/>
                </a:cubicBezTo>
                <a:cubicBezTo>
                  <a:pt x="0" y="254"/>
                  <a:pt x="0" y="317"/>
                  <a:pt x="30" y="368"/>
                </a:cubicBezTo>
                <a:cubicBezTo>
                  <a:pt x="99" y="488"/>
                  <a:pt x="99" y="488"/>
                  <a:pt x="99" y="488"/>
                </a:cubicBezTo>
                <a:cubicBezTo>
                  <a:pt x="129" y="539"/>
                  <a:pt x="184" y="571"/>
                  <a:pt x="243" y="571"/>
                </a:cubicBezTo>
                <a:cubicBezTo>
                  <a:pt x="382" y="571"/>
                  <a:pt x="382" y="571"/>
                  <a:pt x="382" y="571"/>
                </a:cubicBezTo>
                <a:cubicBezTo>
                  <a:pt x="382" y="571"/>
                  <a:pt x="383" y="571"/>
                  <a:pt x="383" y="571"/>
                </a:cubicBezTo>
                <a:cubicBezTo>
                  <a:pt x="415" y="572"/>
                  <a:pt x="489" y="583"/>
                  <a:pt x="528" y="651"/>
                </a:cubicBezTo>
                <a:cubicBezTo>
                  <a:pt x="597" y="771"/>
                  <a:pt x="597" y="771"/>
                  <a:pt x="597" y="771"/>
                </a:cubicBezTo>
                <a:cubicBezTo>
                  <a:pt x="627" y="822"/>
                  <a:pt x="682" y="854"/>
                  <a:pt x="741" y="854"/>
                </a:cubicBezTo>
                <a:cubicBezTo>
                  <a:pt x="880" y="854"/>
                  <a:pt x="880" y="854"/>
                  <a:pt x="880" y="854"/>
                </a:cubicBezTo>
                <a:cubicBezTo>
                  <a:pt x="938" y="854"/>
                  <a:pt x="993" y="822"/>
                  <a:pt x="1023" y="771"/>
                </a:cubicBezTo>
                <a:cubicBezTo>
                  <a:pt x="1092" y="651"/>
                  <a:pt x="1092" y="651"/>
                  <a:pt x="1092" y="651"/>
                </a:cubicBezTo>
                <a:cubicBezTo>
                  <a:pt x="1093" y="649"/>
                  <a:pt x="1094" y="648"/>
                  <a:pt x="1094" y="647"/>
                </a:cubicBezTo>
                <a:cubicBezTo>
                  <a:pt x="1103" y="632"/>
                  <a:pt x="1141" y="575"/>
                  <a:pt x="1227" y="571"/>
                </a:cubicBezTo>
                <a:cubicBezTo>
                  <a:pt x="1230" y="571"/>
                  <a:pt x="1233" y="571"/>
                  <a:pt x="1236" y="571"/>
                </a:cubicBezTo>
                <a:cubicBezTo>
                  <a:pt x="1251" y="571"/>
                  <a:pt x="1251" y="571"/>
                  <a:pt x="1251" y="571"/>
                </a:cubicBezTo>
                <a:cubicBezTo>
                  <a:pt x="1259" y="571"/>
                  <a:pt x="1265" y="571"/>
                  <a:pt x="1271" y="571"/>
                </a:cubicBezTo>
                <a:cubicBezTo>
                  <a:pt x="1362" y="571"/>
                  <a:pt x="1362" y="571"/>
                  <a:pt x="1362" y="571"/>
                </a:cubicBezTo>
                <a:cubicBezTo>
                  <a:pt x="1381" y="571"/>
                  <a:pt x="1478" y="576"/>
                  <a:pt x="1521" y="651"/>
                </a:cubicBezTo>
                <a:cubicBezTo>
                  <a:pt x="1590" y="771"/>
                  <a:pt x="1590" y="771"/>
                  <a:pt x="1590" y="771"/>
                </a:cubicBezTo>
                <a:cubicBezTo>
                  <a:pt x="1620" y="822"/>
                  <a:pt x="1675" y="854"/>
                  <a:pt x="1734" y="854"/>
                </a:cubicBezTo>
                <a:cubicBezTo>
                  <a:pt x="1872" y="854"/>
                  <a:pt x="1872" y="854"/>
                  <a:pt x="1872" y="854"/>
                </a:cubicBezTo>
                <a:cubicBezTo>
                  <a:pt x="1931" y="854"/>
                  <a:pt x="1986" y="822"/>
                  <a:pt x="2016" y="771"/>
                </a:cubicBezTo>
                <a:cubicBezTo>
                  <a:pt x="2085" y="651"/>
                  <a:pt x="2085" y="651"/>
                  <a:pt x="2085" y="651"/>
                </a:cubicBezTo>
                <a:cubicBezTo>
                  <a:pt x="2088" y="645"/>
                  <a:pt x="2127" y="571"/>
                  <a:pt x="2250" y="571"/>
                </a:cubicBezTo>
                <a:cubicBezTo>
                  <a:pt x="2367" y="571"/>
                  <a:pt x="2367" y="571"/>
                  <a:pt x="2367" y="571"/>
                </a:cubicBezTo>
                <a:cubicBezTo>
                  <a:pt x="2426" y="571"/>
                  <a:pt x="2481" y="539"/>
                  <a:pt x="2511" y="488"/>
                </a:cubicBezTo>
                <a:cubicBezTo>
                  <a:pt x="2580" y="368"/>
                  <a:pt x="2580" y="368"/>
                  <a:pt x="2580" y="368"/>
                </a:cubicBezTo>
                <a:cubicBezTo>
                  <a:pt x="2610" y="317"/>
                  <a:pt x="2610" y="254"/>
                  <a:pt x="2580" y="203"/>
                </a:cubicBezTo>
              </a:path>
            </a:pathLst>
          </a:custGeom>
          <a:gradFill flip="none" rotWithShape="1">
            <a:gsLst>
              <a:gs pos="70000">
                <a:schemeClr val="accent1">
                  <a:lumMod val="60000"/>
                  <a:lumOff val="40000"/>
                </a:schemeClr>
              </a:gs>
              <a:gs pos="0">
                <a:schemeClr val="accent1"/>
              </a:gs>
              <a:gs pos="100000">
                <a:schemeClr val="accent1">
                  <a:lumMod val="40000"/>
                  <a:lumOff val="60000"/>
                </a:schemeClr>
              </a:gs>
            </a:gsLst>
            <a:lin ang="1350000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Black"/>
              <a:ea typeface="+mj-ea"/>
              <a:cs typeface="+mn-cs"/>
            </a:endParaRPr>
          </a:p>
        </p:txBody>
      </p:sp>
      <p:sp>
        <p:nvSpPr>
          <p:cNvPr id="5" name="Freeform 21">
            <a:extLst>
              <a:ext uri="{FF2B5EF4-FFF2-40B4-BE49-F238E27FC236}">
                <a16:creationId xmlns:a16="http://schemas.microsoft.com/office/drawing/2014/main" id="{6E0EA0AA-E43C-43E6-9B58-E3D433B902CC}"/>
              </a:ext>
            </a:extLst>
          </p:cNvPr>
          <p:cNvSpPr>
            <a:spLocks/>
          </p:cNvSpPr>
          <p:nvPr/>
        </p:nvSpPr>
        <p:spPr bwMode="auto">
          <a:xfrm>
            <a:off x="1738313" y="2456742"/>
            <a:ext cx="1536700" cy="1385888"/>
          </a:xfrm>
          <a:custGeom>
            <a:avLst/>
            <a:gdLst>
              <a:gd name="T0" fmla="*/ 463 w 480"/>
              <a:gd name="T1" fmla="*/ 168 h 433"/>
              <a:gd name="T2" fmla="*/ 393 w 480"/>
              <a:gd name="T3" fmla="*/ 48 h 433"/>
              <a:gd name="T4" fmla="*/ 310 w 480"/>
              <a:gd name="T5" fmla="*/ 0 h 433"/>
              <a:gd name="T6" fmla="*/ 171 w 480"/>
              <a:gd name="T7" fmla="*/ 0 h 433"/>
              <a:gd name="T8" fmla="*/ 87 w 480"/>
              <a:gd name="T9" fmla="*/ 48 h 433"/>
              <a:gd name="T10" fmla="*/ 18 w 480"/>
              <a:gd name="T11" fmla="*/ 168 h 433"/>
              <a:gd name="T12" fmla="*/ 18 w 480"/>
              <a:gd name="T13" fmla="*/ 265 h 433"/>
              <a:gd name="T14" fmla="*/ 87 w 480"/>
              <a:gd name="T15" fmla="*/ 385 h 433"/>
              <a:gd name="T16" fmla="*/ 171 w 480"/>
              <a:gd name="T17" fmla="*/ 433 h 433"/>
              <a:gd name="T18" fmla="*/ 310 w 480"/>
              <a:gd name="T19" fmla="*/ 433 h 433"/>
              <a:gd name="T20" fmla="*/ 393 w 480"/>
              <a:gd name="T21" fmla="*/ 385 h 433"/>
              <a:gd name="T22" fmla="*/ 463 w 480"/>
              <a:gd name="T23" fmla="*/ 265 h 433"/>
              <a:gd name="T24" fmla="*/ 463 w 480"/>
              <a:gd name="T25" fmla="*/ 168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80" h="433">
                <a:moveTo>
                  <a:pt x="463" y="168"/>
                </a:moveTo>
                <a:cubicBezTo>
                  <a:pt x="393" y="48"/>
                  <a:pt x="393" y="48"/>
                  <a:pt x="393" y="48"/>
                </a:cubicBezTo>
                <a:cubicBezTo>
                  <a:pt x="376" y="18"/>
                  <a:pt x="344" y="0"/>
                  <a:pt x="310" y="0"/>
                </a:cubicBezTo>
                <a:cubicBezTo>
                  <a:pt x="171" y="0"/>
                  <a:pt x="171" y="0"/>
                  <a:pt x="171" y="0"/>
                </a:cubicBezTo>
                <a:cubicBezTo>
                  <a:pt x="136" y="0"/>
                  <a:pt x="104" y="18"/>
                  <a:pt x="87" y="48"/>
                </a:cubicBezTo>
                <a:cubicBezTo>
                  <a:pt x="18" y="168"/>
                  <a:pt x="18" y="168"/>
                  <a:pt x="18" y="168"/>
                </a:cubicBezTo>
                <a:cubicBezTo>
                  <a:pt x="0" y="198"/>
                  <a:pt x="0" y="235"/>
                  <a:pt x="18" y="265"/>
                </a:cubicBezTo>
                <a:cubicBezTo>
                  <a:pt x="87" y="385"/>
                  <a:pt x="87" y="385"/>
                  <a:pt x="87" y="385"/>
                </a:cubicBezTo>
                <a:cubicBezTo>
                  <a:pt x="104" y="415"/>
                  <a:pt x="136" y="433"/>
                  <a:pt x="171" y="433"/>
                </a:cubicBezTo>
                <a:cubicBezTo>
                  <a:pt x="310" y="433"/>
                  <a:pt x="310" y="433"/>
                  <a:pt x="310" y="433"/>
                </a:cubicBezTo>
                <a:cubicBezTo>
                  <a:pt x="344" y="433"/>
                  <a:pt x="376" y="415"/>
                  <a:pt x="393" y="385"/>
                </a:cubicBezTo>
                <a:cubicBezTo>
                  <a:pt x="463" y="265"/>
                  <a:pt x="463" y="265"/>
                  <a:pt x="463" y="265"/>
                </a:cubicBezTo>
                <a:cubicBezTo>
                  <a:pt x="480" y="235"/>
                  <a:pt x="480" y="198"/>
                  <a:pt x="463" y="168"/>
                </a:cubicBezTo>
                <a:close/>
              </a:path>
            </a:pathLst>
          </a:custGeom>
          <a:solidFill>
            <a:srgbClr val="FFFFFF"/>
          </a:solidFill>
          <a:ln>
            <a:noFill/>
          </a:ln>
          <a:effectLst>
            <a:outerShdw blurRad="304800" sx="102000" sy="102000" algn="ctr" rotWithShape="0">
              <a:schemeClr val="accent1">
                <a:lumMod val="75000"/>
                <a:alpha val="34000"/>
              </a:scheme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Black"/>
              <a:ea typeface="+mj-ea"/>
              <a:cs typeface="+mn-cs"/>
            </a:endParaRPr>
          </a:p>
        </p:txBody>
      </p:sp>
      <p:sp>
        <p:nvSpPr>
          <p:cNvPr id="6" name="TextBox 29">
            <a:extLst>
              <a:ext uri="{FF2B5EF4-FFF2-40B4-BE49-F238E27FC236}">
                <a16:creationId xmlns:a16="http://schemas.microsoft.com/office/drawing/2014/main" id="{2B7C41A3-AD20-4269-88B2-C0C07A612B07}"/>
              </a:ext>
            </a:extLst>
          </p:cNvPr>
          <p:cNvSpPr txBox="1"/>
          <p:nvPr/>
        </p:nvSpPr>
        <p:spPr>
          <a:xfrm>
            <a:off x="2046719" y="2929242"/>
            <a:ext cx="919887" cy="409279"/>
          </a:xfrm>
          <a:prstGeom prst="rect">
            <a:avLst/>
          </a:prstGeom>
          <a:noFill/>
        </p:spPr>
        <p:txBody>
          <a:bodyPr wrap="square" lIns="0" tIns="0" rIns="0" bIns="0" rtlCol="0">
            <a:spAutoFit/>
          </a:bodyPr>
          <a:lstStyle/>
          <a:p>
            <a:pPr marL="0" marR="0" lvl="0" indent="0" algn="ctr" defTabSz="457200" rtl="0" eaLnBrk="1" fontAlgn="auto" latinLnBrk="0" hangingPunct="1">
              <a:lnSpc>
                <a:spcPct val="120000"/>
              </a:lnSpc>
              <a:spcBef>
                <a:spcPts val="0"/>
              </a:spcBef>
              <a:spcAft>
                <a:spcPts val="0"/>
              </a:spcAft>
              <a:buClrTx/>
              <a:buSzTx/>
              <a:buFontTx/>
              <a:buNone/>
              <a:tabLst/>
              <a:defRPr/>
            </a:pPr>
            <a:r>
              <a:rPr kumimoji="0" lang="en-US" sz="2400" b="1" i="0" u="none" strike="noStrike" kern="1200" cap="none" spc="0" normalizeH="0" baseline="0" noProof="0" dirty="0">
                <a:ln>
                  <a:noFill/>
                </a:ln>
                <a:solidFill>
                  <a:schemeClr val="accent1"/>
                </a:solidFill>
                <a:effectLst/>
                <a:uLnTx/>
                <a:uFillTx/>
                <a:latin typeface="HarmonyOS Sans SC Black"/>
                <a:ea typeface="+mj-ea"/>
                <a:cs typeface="+mn-cs"/>
              </a:rPr>
              <a:t>2019</a:t>
            </a:r>
          </a:p>
        </p:txBody>
      </p:sp>
      <p:sp>
        <p:nvSpPr>
          <p:cNvPr id="8" name="Freeform 21">
            <a:extLst>
              <a:ext uri="{FF2B5EF4-FFF2-40B4-BE49-F238E27FC236}">
                <a16:creationId xmlns:a16="http://schemas.microsoft.com/office/drawing/2014/main" id="{BE9838A1-C945-421C-BF23-739A5EC7A178}"/>
              </a:ext>
            </a:extLst>
          </p:cNvPr>
          <p:cNvSpPr>
            <a:spLocks/>
          </p:cNvSpPr>
          <p:nvPr/>
        </p:nvSpPr>
        <p:spPr bwMode="auto">
          <a:xfrm>
            <a:off x="5327650" y="2456742"/>
            <a:ext cx="1536700" cy="1385888"/>
          </a:xfrm>
          <a:custGeom>
            <a:avLst/>
            <a:gdLst>
              <a:gd name="T0" fmla="*/ 463 w 480"/>
              <a:gd name="T1" fmla="*/ 168 h 433"/>
              <a:gd name="T2" fmla="*/ 393 w 480"/>
              <a:gd name="T3" fmla="*/ 48 h 433"/>
              <a:gd name="T4" fmla="*/ 310 w 480"/>
              <a:gd name="T5" fmla="*/ 0 h 433"/>
              <a:gd name="T6" fmla="*/ 171 w 480"/>
              <a:gd name="T7" fmla="*/ 0 h 433"/>
              <a:gd name="T8" fmla="*/ 87 w 480"/>
              <a:gd name="T9" fmla="*/ 48 h 433"/>
              <a:gd name="T10" fmla="*/ 18 w 480"/>
              <a:gd name="T11" fmla="*/ 168 h 433"/>
              <a:gd name="T12" fmla="*/ 18 w 480"/>
              <a:gd name="T13" fmla="*/ 265 h 433"/>
              <a:gd name="T14" fmla="*/ 87 w 480"/>
              <a:gd name="T15" fmla="*/ 385 h 433"/>
              <a:gd name="T16" fmla="*/ 171 w 480"/>
              <a:gd name="T17" fmla="*/ 433 h 433"/>
              <a:gd name="T18" fmla="*/ 310 w 480"/>
              <a:gd name="T19" fmla="*/ 433 h 433"/>
              <a:gd name="T20" fmla="*/ 393 w 480"/>
              <a:gd name="T21" fmla="*/ 385 h 433"/>
              <a:gd name="T22" fmla="*/ 463 w 480"/>
              <a:gd name="T23" fmla="*/ 265 h 433"/>
              <a:gd name="T24" fmla="*/ 463 w 480"/>
              <a:gd name="T25" fmla="*/ 168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80" h="433">
                <a:moveTo>
                  <a:pt x="463" y="168"/>
                </a:moveTo>
                <a:cubicBezTo>
                  <a:pt x="393" y="48"/>
                  <a:pt x="393" y="48"/>
                  <a:pt x="393" y="48"/>
                </a:cubicBezTo>
                <a:cubicBezTo>
                  <a:pt x="376" y="18"/>
                  <a:pt x="344" y="0"/>
                  <a:pt x="310" y="0"/>
                </a:cubicBezTo>
                <a:cubicBezTo>
                  <a:pt x="171" y="0"/>
                  <a:pt x="171" y="0"/>
                  <a:pt x="171" y="0"/>
                </a:cubicBezTo>
                <a:cubicBezTo>
                  <a:pt x="136" y="0"/>
                  <a:pt x="104" y="18"/>
                  <a:pt x="87" y="48"/>
                </a:cubicBezTo>
                <a:cubicBezTo>
                  <a:pt x="18" y="168"/>
                  <a:pt x="18" y="168"/>
                  <a:pt x="18" y="168"/>
                </a:cubicBezTo>
                <a:cubicBezTo>
                  <a:pt x="0" y="198"/>
                  <a:pt x="0" y="235"/>
                  <a:pt x="18" y="265"/>
                </a:cubicBezTo>
                <a:cubicBezTo>
                  <a:pt x="87" y="385"/>
                  <a:pt x="87" y="385"/>
                  <a:pt x="87" y="385"/>
                </a:cubicBezTo>
                <a:cubicBezTo>
                  <a:pt x="104" y="415"/>
                  <a:pt x="136" y="433"/>
                  <a:pt x="171" y="433"/>
                </a:cubicBezTo>
                <a:cubicBezTo>
                  <a:pt x="310" y="433"/>
                  <a:pt x="310" y="433"/>
                  <a:pt x="310" y="433"/>
                </a:cubicBezTo>
                <a:cubicBezTo>
                  <a:pt x="344" y="433"/>
                  <a:pt x="376" y="415"/>
                  <a:pt x="393" y="385"/>
                </a:cubicBezTo>
                <a:cubicBezTo>
                  <a:pt x="463" y="265"/>
                  <a:pt x="463" y="265"/>
                  <a:pt x="463" y="265"/>
                </a:cubicBezTo>
                <a:cubicBezTo>
                  <a:pt x="480" y="235"/>
                  <a:pt x="480" y="198"/>
                  <a:pt x="463" y="168"/>
                </a:cubicBezTo>
                <a:close/>
              </a:path>
            </a:pathLst>
          </a:custGeom>
          <a:solidFill>
            <a:srgbClr val="FFFFFF"/>
          </a:solidFill>
          <a:ln>
            <a:noFill/>
          </a:ln>
          <a:effectLst>
            <a:outerShdw blurRad="304800" sx="102000" sy="102000" algn="ctr" rotWithShape="0">
              <a:schemeClr val="accent1">
                <a:lumMod val="75000"/>
                <a:alpha val="34000"/>
              </a:scheme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Black"/>
              <a:ea typeface="+mj-ea"/>
              <a:cs typeface="+mn-cs"/>
            </a:endParaRPr>
          </a:p>
        </p:txBody>
      </p:sp>
      <p:sp>
        <p:nvSpPr>
          <p:cNvPr id="9" name="TextBox 30">
            <a:extLst>
              <a:ext uri="{FF2B5EF4-FFF2-40B4-BE49-F238E27FC236}">
                <a16:creationId xmlns:a16="http://schemas.microsoft.com/office/drawing/2014/main" id="{914DBBA2-B350-47A5-A236-8F70D7D17A07}"/>
              </a:ext>
            </a:extLst>
          </p:cNvPr>
          <p:cNvSpPr txBox="1"/>
          <p:nvPr/>
        </p:nvSpPr>
        <p:spPr>
          <a:xfrm>
            <a:off x="5636056" y="2929242"/>
            <a:ext cx="919887" cy="409279"/>
          </a:xfrm>
          <a:prstGeom prst="rect">
            <a:avLst/>
          </a:prstGeom>
          <a:noFill/>
        </p:spPr>
        <p:txBody>
          <a:bodyPr wrap="square" lIns="0" tIns="0" rIns="0" bIns="0" rtlCol="0">
            <a:spAutoFit/>
          </a:bodyPr>
          <a:lstStyle/>
          <a:p>
            <a:pPr marL="0" marR="0" lvl="0" indent="0" algn="ctr" defTabSz="457200" rtl="0" eaLnBrk="1" fontAlgn="auto" latinLnBrk="0" hangingPunct="1">
              <a:lnSpc>
                <a:spcPct val="120000"/>
              </a:lnSpc>
              <a:spcBef>
                <a:spcPts val="0"/>
              </a:spcBef>
              <a:spcAft>
                <a:spcPts val="0"/>
              </a:spcAft>
              <a:buClrTx/>
              <a:buSzTx/>
              <a:buFontTx/>
              <a:buNone/>
              <a:tabLst/>
              <a:defRPr/>
            </a:pPr>
            <a:r>
              <a:rPr kumimoji="0" lang="en-US" sz="2400" b="1" i="0" u="none" strike="noStrike" kern="1200" cap="none" spc="0" normalizeH="0" baseline="0" noProof="0" dirty="0">
                <a:ln>
                  <a:noFill/>
                </a:ln>
                <a:solidFill>
                  <a:schemeClr val="accent1"/>
                </a:solidFill>
                <a:effectLst/>
                <a:uLnTx/>
                <a:uFillTx/>
                <a:latin typeface="HarmonyOS Sans SC Black"/>
                <a:ea typeface="+mj-ea"/>
                <a:cs typeface="+mn-cs"/>
              </a:rPr>
              <a:t>2021</a:t>
            </a:r>
          </a:p>
        </p:txBody>
      </p:sp>
      <p:sp>
        <p:nvSpPr>
          <p:cNvPr id="11" name="Freeform 21">
            <a:extLst>
              <a:ext uri="{FF2B5EF4-FFF2-40B4-BE49-F238E27FC236}">
                <a16:creationId xmlns:a16="http://schemas.microsoft.com/office/drawing/2014/main" id="{13705F7C-B975-42E6-B76A-1A86AD283D23}"/>
              </a:ext>
            </a:extLst>
          </p:cNvPr>
          <p:cNvSpPr>
            <a:spLocks/>
          </p:cNvSpPr>
          <p:nvPr/>
        </p:nvSpPr>
        <p:spPr bwMode="auto">
          <a:xfrm>
            <a:off x="8918575" y="2456742"/>
            <a:ext cx="1536700" cy="1385888"/>
          </a:xfrm>
          <a:custGeom>
            <a:avLst/>
            <a:gdLst>
              <a:gd name="T0" fmla="*/ 463 w 480"/>
              <a:gd name="T1" fmla="*/ 168 h 433"/>
              <a:gd name="T2" fmla="*/ 393 w 480"/>
              <a:gd name="T3" fmla="*/ 48 h 433"/>
              <a:gd name="T4" fmla="*/ 310 w 480"/>
              <a:gd name="T5" fmla="*/ 0 h 433"/>
              <a:gd name="T6" fmla="*/ 171 w 480"/>
              <a:gd name="T7" fmla="*/ 0 h 433"/>
              <a:gd name="T8" fmla="*/ 87 w 480"/>
              <a:gd name="T9" fmla="*/ 48 h 433"/>
              <a:gd name="T10" fmla="*/ 18 w 480"/>
              <a:gd name="T11" fmla="*/ 168 h 433"/>
              <a:gd name="T12" fmla="*/ 18 w 480"/>
              <a:gd name="T13" fmla="*/ 265 h 433"/>
              <a:gd name="T14" fmla="*/ 87 w 480"/>
              <a:gd name="T15" fmla="*/ 385 h 433"/>
              <a:gd name="T16" fmla="*/ 171 w 480"/>
              <a:gd name="T17" fmla="*/ 433 h 433"/>
              <a:gd name="T18" fmla="*/ 310 w 480"/>
              <a:gd name="T19" fmla="*/ 433 h 433"/>
              <a:gd name="T20" fmla="*/ 393 w 480"/>
              <a:gd name="T21" fmla="*/ 385 h 433"/>
              <a:gd name="T22" fmla="*/ 463 w 480"/>
              <a:gd name="T23" fmla="*/ 265 h 433"/>
              <a:gd name="T24" fmla="*/ 463 w 480"/>
              <a:gd name="T25" fmla="*/ 168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80" h="433">
                <a:moveTo>
                  <a:pt x="463" y="168"/>
                </a:moveTo>
                <a:cubicBezTo>
                  <a:pt x="393" y="48"/>
                  <a:pt x="393" y="48"/>
                  <a:pt x="393" y="48"/>
                </a:cubicBezTo>
                <a:cubicBezTo>
                  <a:pt x="376" y="18"/>
                  <a:pt x="344" y="0"/>
                  <a:pt x="310" y="0"/>
                </a:cubicBezTo>
                <a:cubicBezTo>
                  <a:pt x="171" y="0"/>
                  <a:pt x="171" y="0"/>
                  <a:pt x="171" y="0"/>
                </a:cubicBezTo>
                <a:cubicBezTo>
                  <a:pt x="136" y="0"/>
                  <a:pt x="104" y="18"/>
                  <a:pt x="87" y="48"/>
                </a:cubicBezTo>
                <a:cubicBezTo>
                  <a:pt x="18" y="168"/>
                  <a:pt x="18" y="168"/>
                  <a:pt x="18" y="168"/>
                </a:cubicBezTo>
                <a:cubicBezTo>
                  <a:pt x="0" y="198"/>
                  <a:pt x="0" y="235"/>
                  <a:pt x="18" y="265"/>
                </a:cubicBezTo>
                <a:cubicBezTo>
                  <a:pt x="87" y="385"/>
                  <a:pt x="87" y="385"/>
                  <a:pt x="87" y="385"/>
                </a:cubicBezTo>
                <a:cubicBezTo>
                  <a:pt x="104" y="415"/>
                  <a:pt x="136" y="433"/>
                  <a:pt x="171" y="433"/>
                </a:cubicBezTo>
                <a:cubicBezTo>
                  <a:pt x="310" y="433"/>
                  <a:pt x="310" y="433"/>
                  <a:pt x="310" y="433"/>
                </a:cubicBezTo>
                <a:cubicBezTo>
                  <a:pt x="344" y="433"/>
                  <a:pt x="376" y="415"/>
                  <a:pt x="393" y="385"/>
                </a:cubicBezTo>
                <a:cubicBezTo>
                  <a:pt x="463" y="265"/>
                  <a:pt x="463" y="265"/>
                  <a:pt x="463" y="265"/>
                </a:cubicBezTo>
                <a:cubicBezTo>
                  <a:pt x="480" y="235"/>
                  <a:pt x="480" y="198"/>
                  <a:pt x="463" y="168"/>
                </a:cubicBezTo>
                <a:close/>
              </a:path>
            </a:pathLst>
          </a:custGeom>
          <a:solidFill>
            <a:srgbClr val="FFFFFF"/>
          </a:solidFill>
          <a:ln>
            <a:noFill/>
          </a:ln>
          <a:effectLst>
            <a:outerShdw blurRad="304800" sx="102000" sy="102000" algn="ctr" rotWithShape="0">
              <a:schemeClr val="accent1">
                <a:lumMod val="75000"/>
                <a:alpha val="34000"/>
              </a:scheme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Black"/>
              <a:ea typeface="+mj-ea"/>
              <a:cs typeface="+mn-cs"/>
            </a:endParaRPr>
          </a:p>
        </p:txBody>
      </p:sp>
      <p:sp>
        <p:nvSpPr>
          <p:cNvPr id="12" name="TextBox 31">
            <a:extLst>
              <a:ext uri="{FF2B5EF4-FFF2-40B4-BE49-F238E27FC236}">
                <a16:creationId xmlns:a16="http://schemas.microsoft.com/office/drawing/2014/main" id="{75771D19-7C9E-47A2-9E11-73A7FF5D03AF}"/>
              </a:ext>
            </a:extLst>
          </p:cNvPr>
          <p:cNvSpPr txBox="1"/>
          <p:nvPr/>
        </p:nvSpPr>
        <p:spPr>
          <a:xfrm>
            <a:off x="9225394" y="2929242"/>
            <a:ext cx="919887" cy="409279"/>
          </a:xfrm>
          <a:prstGeom prst="rect">
            <a:avLst/>
          </a:prstGeom>
          <a:noFill/>
        </p:spPr>
        <p:txBody>
          <a:bodyPr wrap="square" lIns="0" tIns="0" rIns="0" bIns="0" rtlCol="0">
            <a:spAutoFit/>
          </a:bodyPr>
          <a:lstStyle/>
          <a:p>
            <a:pPr marL="0" marR="0" lvl="0" indent="0" algn="ctr" defTabSz="457200" rtl="0" eaLnBrk="1" fontAlgn="auto" latinLnBrk="0" hangingPunct="1">
              <a:lnSpc>
                <a:spcPct val="120000"/>
              </a:lnSpc>
              <a:spcBef>
                <a:spcPts val="0"/>
              </a:spcBef>
              <a:spcAft>
                <a:spcPts val="0"/>
              </a:spcAft>
              <a:buClrTx/>
              <a:buSzTx/>
              <a:buFontTx/>
              <a:buNone/>
              <a:tabLst/>
              <a:defRPr/>
            </a:pPr>
            <a:r>
              <a:rPr kumimoji="0" lang="en-US" sz="2400" b="1" i="0" u="none" strike="noStrike" kern="1200" cap="none" spc="0" normalizeH="0" baseline="0" noProof="0" dirty="0">
                <a:ln>
                  <a:noFill/>
                </a:ln>
                <a:solidFill>
                  <a:schemeClr val="accent1"/>
                </a:solidFill>
                <a:effectLst/>
                <a:uLnTx/>
                <a:uFillTx/>
                <a:latin typeface="HarmonyOS Sans SC Black"/>
                <a:ea typeface="+mj-ea"/>
                <a:cs typeface="+mn-cs"/>
              </a:rPr>
              <a:t>2023</a:t>
            </a:r>
          </a:p>
        </p:txBody>
      </p:sp>
      <p:sp>
        <p:nvSpPr>
          <p:cNvPr id="14" name="Freeform 21">
            <a:extLst>
              <a:ext uri="{FF2B5EF4-FFF2-40B4-BE49-F238E27FC236}">
                <a16:creationId xmlns:a16="http://schemas.microsoft.com/office/drawing/2014/main" id="{B43A6D3A-9C45-4D5F-957A-0BE293C91037}"/>
              </a:ext>
            </a:extLst>
          </p:cNvPr>
          <p:cNvSpPr>
            <a:spLocks/>
          </p:cNvSpPr>
          <p:nvPr/>
        </p:nvSpPr>
        <p:spPr bwMode="auto">
          <a:xfrm>
            <a:off x="3532823" y="3462583"/>
            <a:ext cx="1536700" cy="1385888"/>
          </a:xfrm>
          <a:custGeom>
            <a:avLst/>
            <a:gdLst>
              <a:gd name="T0" fmla="*/ 463 w 480"/>
              <a:gd name="T1" fmla="*/ 168 h 433"/>
              <a:gd name="T2" fmla="*/ 393 w 480"/>
              <a:gd name="T3" fmla="*/ 48 h 433"/>
              <a:gd name="T4" fmla="*/ 310 w 480"/>
              <a:gd name="T5" fmla="*/ 0 h 433"/>
              <a:gd name="T6" fmla="*/ 171 w 480"/>
              <a:gd name="T7" fmla="*/ 0 h 433"/>
              <a:gd name="T8" fmla="*/ 87 w 480"/>
              <a:gd name="T9" fmla="*/ 48 h 433"/>
              <a:gd name="T10" fmla="*/ 18 w 480"/>
              <a:gd name="T11" fmla="*/ 168 h 433"/>
              <a:gd name="T12" fmla="*/ 18 w 480"/>
              <a:gd name="T13" fmla="*/ 265 h 433"/>
              <a:gd name="T14" fmla="*/ 87 w 480"/>
              <a:gd name="T15" fmla="*/ 385 h 433"/>
              <a:gd name="T16" fmla="*/ 171 w 480"/>
              <a:gd name="T17" fmla="*/ 433 h 433"/>
              <a:gd name="T18" fmla="*/ 310 w 480"/>
              <a:gd name="T19" fmla="*/ 433 h 433"/>
              <a:gd name="T20" fmla="*/ 393 w 480"/>
              <a:gd name="T21" fmla="*/ 385 h 433"/>
              <a:gd name="T22" fmla="*/ 463 w 480"/>
              <a:gd name="T23" fmla="*/ 265 h 433"/>
              <a:gd name="T24" fmla="*/ 463 w 480"/>
              <a:gd name="T25" fmla="*/ 168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80" h="433">
                <a:moveTo>
                  <a:pt x="463" y="168"/>
                </a:moveTo>
                <a:cubicBezTo>
                  <a:pt x="393" y="48"/>
                  <a:pt x="393" y="48"/>
                  <a:pt x="393" y="48"/>
                </a:cubicBezTo>
                <a:cubicBezTo>
                  <a:pt x="376" y="18"/>
                  <a:pt x="344" y="0"/>
                  <a:pt x="310" y="0"/>
                </a:cubicBezTo>
                <a:cubicBezTo>
                  <a:pt x="171" y="0"/>
                  <a:pt x="171" y="0"/>
                  <a:pt x="171" y="0"/>
                </a:cubicBezTo>
                <a:cubicBezTo>
                  <a:pt x="136" y="0"/>
                  <a:pt x="104" y="18"/>
                  <a:pt x="87" y="48"/>
                </a:cubicBezTo>
                <a:cubicBezTo>
                  <a:pt x="18" y="168"/>
                  <a:pt x="18" y="168"/>
                  <a:pt x="18" y="168"/>
                </a:cubicBezTo>
                <a:cubicBezTo>
                  <a:pt x="0" y="198"/>
                  <a:pt x="0" y="235"/>
                  <a:pt x="18" y="265"/>
                </a:cubicBezTo>
                <a:cubicBezTo>
                  <a:pt x="87" y="385"/>
                  <a:pt x="87" y="385"/>
                  <a:pt x="87" y="385"/>
                </a:cubicBezTo>
                <a:cubicBezTo>
                  <a:pt x="104" y="415"/>
                  <a:pt x="136" y="433"/>
                  <a:pt x="171" y="433"/>
                </a:cubicBezTo>
                <a:cubicBezTo>
                  <a:pt x="310" y="433"/>
                  <a:pt x="310" y="433"/>
                  <a:pt x="310" y="433"/>
                </a:cubicBezTo>
                <a:cubicBezTo>
                  <a:pt x="344" y="433"/>
                  <a:pt x="376" y="415"/>
                  <a:pt x="393" y="385"/>
                </a:cubicBezTo>
                <a:cubicBezTo>
                  <a:pt x="463" y="265"/>
                  <a:pt x="463" y="265"/>
                  <a:pt x="463" y="265"/>
                </a:cubicBezTo>
                <a:cubicBezTo>
                  <a:pt x="480" y="235"/>
                  <a:pt x="480" y="198"/>
                  <a:pt x="463" y="168"/>
                </a:cubicBezTo>
                <a:close/>
              </a:path>
            </a:pathLst>
          </a:custGeom>
          <a:solidFill>
            <a:srgbClr val="FFFFFF"/>
          </a:solidFill>
          <a:ln>
            <a:noFill/>
          </a:ln>
          <a:effectLst>
            <a:outerShdw blurRad="304800" sx="102000" sy="102000" algn="ctr" rotWithShape="0">
              <a:schemeClr val="accent1">
                <a:lumMod val="75000"/>
                <a:alpha val="34000"/>
              </a:scheme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Black"/>
              <a:ea typeface="+mj-ea"/>
              <a:cs typeface="+mn-cs"/>
            </a:endParaRPr>
          </a:p>
        </p:txBody>
      </p:sp>
      <p:sp>
        <p:nvSpPr>
          <p:cNvPr id="15" name="TextBox 32">
            <a:extLst>
              <a:ext uri="{FF2B5EF4-FFF2-40B4-BE49-F238E27FC236}">
                <a16:creationId xmlns:a16="http://schemas.microsoft.com/office/drawing/2014/main" id="{58999F5B-7DB3-4DBF-B2B3-AE0303AD3CEA}"/>
              </a:ext>
            </a:extLst>
          </p:cNvPr>
          <p:cNvSpPr txBox="1"/>
          <p:nvPr/>
        </p:nvSpPr>
        <p:spPr>
          <a:xfrm>
            <a:off x="3841229" y="3932223"/>
            <a:ext cx="919887" cy="409279"/>
          </a:xfrm>
          <a:prstGeom prst="rect">
            <a:avLst/>
          </a:prstGeom>
          <a:noFill/>
        </p:spPr>
        <p:txBody>
          <a:bodyPr wrap="square" lIns="0" tIns="0" rIns="0" bIns="0" rtlCol="0">
            <a:spAutoFit/>
          </a:bodyPr>
          <a:lstStyle/>
          <a:p>
            <a:pPr marL="0" marR="0" lvl="0" indent="0" algn="ctr" defTabSz="457200" rtl="0" eaLnBrk="1" fontAlgn="auto" latinLnBrk="0" hangingPunct="1">
              <a:lnSpc>
                <a:spcPct val="120000"/>
              </a:lnSpc>
              <a:spcBef>
                <a:spcPts val="0"/>
              </a:spcBef>
              <a:spcAft>
                <a:spcPts val="0"/>
              </a:spcAft>
              <a:buClrTx/>
              <a:buSzTx/>
              <a:buFontTx/>
              <a:buNone/>
              <a:tabLst/>
              <a:defRPr/>
            </a:pPr>
            <a:r>
              <a:rPr kumimoji="0" lang="en-US" sz="2400" b="1" i="0" u="none" strike="noStrike" kern="1200" cap="none" spc="0" normalizeH="0" baseline="0" noProof="0" dirty="0">
                <a:ln>
                  <a:noFill/>
                </a:ln>
                <a:solidFill>
                  <a:schemeClr val="accent1"/>
                </a:solidFill>
                <a:effectLst/>
                <a:uLnTx/>
                <a:uFillTx/>
                <a:latin typeface="HarmonyOS Sans SC Black"/>
                <a:ea typeface="+mj-ea"/>
                <a:cs typeface="+mn-cs"/>
              </a:rPr>
              <a:t>2020</a:t>
            </a:r>
          </a:p>
        </p:txBody>
      </p:sp>
      <p:sp>
        <p:nvSpPr>
          <p:cNvPr id="17" name="Freeform 21">
            <a:extLst>
              <a:ext uri="{FF2B5EF4-FFF2-40B4-BE49-F238E27FC236}">
                <a16:creationId xmlns:a16="http://schemas.microsoft.com/office/drawing/2014/main" id="{AD836577-EF95-4B4F-A674-C92ABCA48C7A}"/>
              </a:ext>
            </a:extLst>
          </p:cNvPr>
          <p:cNvSpPr>
            <a:spLocks/>
          </p:cNvSpPr>
          <p:nvPr/>
        </p:nvSpPr>
        <p:spPr bwMode="auto">
          <a:xfrm>
            <a:off x="7122160" y="3462583"/>
            <a:ext cx="1536700" cy="1385888"/>
          </a:xfrm>
          <a:custGeom>
            <a:avLst/>
            <a:gdLst>
              <a:gd name="T0" fmla="*/ 463 w 480"/>
              <a:gd name="T1" fmla="*/ 168 h 433"/>
              <a:gd name="T2" fmla="*/ 393 w 480"/>
              <a:gd name="T3" fmla="*/ 48 h 433"/>
              <a:gd name="T4" fmla="*/ 310 w 480"/>
              <a:gd name="T5" fmla="*/ 0 h 433"/>
              <a:gd name="T6" fmla="*/ 171 w 480"/>
              <a:gd name="T7" fmla="*/ 0 h 433"/>
              <a:gd name="T8" fmla="*/ 87 w 480"/>
              <a:gd name="T9" fmla="*/ 48 h 433"/>
              <a:gd name="T10" fmla="*/ 18 w 480"/>
              <a:gd name="T11" fmla="*/ 168 h 433"/>
              <a:gd name="T12" fmla="*/ 18 w 480"/>
              <a:gd name="T13" fmla="*/ 265 h 433"/>
              <a:gd name="T14" fmla="*/ 87 w 480"/>
              <a:gd name="T15" fmla="*/ 385 h 433"/>
              <a:gd name="T16" fmla="*/ 171 w 480"/>
              <a:gd name="T17" fmla="*/ 433 h 433"/>
              <a:gd name="T18" fmla="*/ 310 w 480"/>
              <a:gd name="T19" fmla="*/ 433 h 433"/>
              <a:gd name="T20" fmla="*/ 393 w 480"/>
              <a:gd name="T21" fmla="*/ 385 h 433"/>
              <a:gd name="T22" fmla="*/ 463 w 480"/>
              <a:gd name="T23" fmla="*/ 265 h 433"/>
              <a:gd name="T24" fmla="*/ 463 w 480"/>
              <a:gd name="T25" fmla="*/ 168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80" h="433">
                <a:moveTo>
                  <a:pt x="463" y="168"/>
                </a:moveTo>
                <a:cubicBezTo>
                  <a:pt x="393" y="48"/>
                  <a:pt x="393" y="48"/>
                  <a:pt x="393" y="48"/>
                </a:cubicBezTo>
                <a:cubicBezTo>
                  <a:pt x="376" y="18"/>
                  <a:pt x="344" y="0"/>
                  <a:pt x="310" y="0"/>
                </a:cubicBezTo>
                <a:cubicBezTo>
                  <a:pt x="171" y="0"/>
                  <a:pt x="171" y="0"/>
                  <a:pt x="171" y="0"/>
                </a:cubicBezTo>
                <a:cubicBezTo>
                  <a:pt x="136" y="0"/>
                  <a:pt x="104" y="18"/>
                  <a:pt x="87" y="48"/>
                </a:cubicBezTo>
                <a:cubicBezTo>
                  <a:pt x="18" y="168"/>
                  <a:pt x="18" y="168"/>
                  <a:pt x="18" y="168"/>
                </a:cubicBezTo>
                <a:cubicBezTo>
                  <a:pt x="0" y="198"/>
                  <a:pt x="0" y="235"/>
                  <a:pt x="18" y="265"/>
                </a:cubicBezTo>
                <a:cubicBezTo>
                  <a:pt x="87" y="385"/>
                  <a:pt x="87" y="385"/>
                  <a:pt x="87" y="385"/>
                </a:cubicBezTo>
                <a:cubicBezTo>
                  <a:pt x="104" y="415"/>
                  <a:pt x="136" y="433"/>
                  <a:pt x="171" y="433"/>
                </a:cubicBezTo>
                <a:cubicBezTo>
                  <a:pt x="310" y="433"/>
                  <a:pt x="310" y="433"/>
                  <a:pt x="310" y="433"/>
                </a:cubicBezTo>
                <a:cubicBezTo>
                  <a:pt x="344" y="433"/>
                  <a:pt x="376" y="415"/>
                  <a:pt x="393" y="385"/>
                </a:cubicBezTo>
                <a:cubicBezTo>
                  <a:pt x="463" y="265"/>
                  <a:pt x="463" y="265"/>
                  <a:pt x="463" y="265"/>
                </a:cubicBezTo>
                <a:cubicBezTo>
                  <a:pt x="480" y="235"/>
                  <a:pt x="480" y="198"/>
                  <a:pt x="463" y="168"/>
                </a:cubicBezTo>
                <a:close/>
              </a:path>
            </a:pathLst>
          </a:custGeom>
          <a:solidFill>
            <a:srgbClr val="FFFFFF"/>
          </a:solidFill>
          <a:ln>
            <a:noFill/>
          </a:ln>
          <a:effectLst>
            <a:outerShdw blurRad="304800" sx="102000" sy="102000" algn="ctr" rotWithShape="0">
              <a:schemeClr val="accent1">
                <a:lumMod val="75000"/>
                <a:alpha val="34000"/>
              </a:scheme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Black"/>
              <a:ea typeface="+mj-ea"/>
              <a:cs typeface="+mn-cs"/>
            </a:endParaRPr>
          </a:p>
        </p:txBody>
      </p:sp>
      <p:sp>
        <p:nvSpPr>
          <p:cNvPr id="18" name="TextBox 33">
            <a:extLst>
              <a:ext uri="{FF2B5EF4-FFF2-40B4-BE49-F238E27FC236}">
                <a16:creationId xmlns:a16="http://schemas.microsoft.com/office/drawing/2014/main" id="{C12760E3-6386-483B-A809-AECBC2CC39AD}"/>
              </a:ext>
            </a:extLst>
          </p:cNvPr>
          <p:cNvSpPr txBox="1"/>
          <p:nvPr/>
        </p:nvSpPr>
        <p:spPr>
          <a:xfrm>
            <a:off x="7430566" y="3932223"/>
            <a:ext cx="919887" cy="409279"/>
          </a:xfrm>
          <a:prstGeom prst="rect">
            <a:avLst/>
          </a:prstGeom>
          <a:noFill/>
        </p:spPr>
        <p:txBody>
          <a:bodyPr wrap="square" lIns="0" tIns="0" rIns="0" bIns="0" rtlCol="0">
            <a:spAutoFit/>
          </a:bodyPr>
          <a:lstStyle/>
          <a:p>
            <a:pPr marL="0" marR="0" lvl="0" indent="0" algn="ctr" defTabSz="457200" rtl="0" eaLnBrk="1" fontAlgn="auto" latinLnBrk="0" hangingPunct="1">
              <a:lnSpc>
                <a:spcPct val="120000"/>
              </a:lnSpc>
              <a:spcBef>
                <a:spcPts val="0"/>
              </a:spcBef>
              <a:spcAft>
                <a:spcPts val="0"/>
              </a:spcAft>
              <a:buClrTx/>
              <a:buSzTx/>
              <a:buFontTx/>
              <a:buNone/>
              <a:tabLst/>
              <a:defRPr/>
            </a:pPr>
            <a:r>
              <a:rPr kumimoji="0" lang="en-US" sz="2400" b="1" i="0" u="none" strike="noStrike" kern="1200" cap="none" spc="0" normalizeH="0" baseline="0" noProof="0" dirty="0">
                <a:ln>
                  <a:noFill/>
                </a:ln>
                <a:solidFill>
                  <a:schemeClr val="accent1"/>
                </a:solidFill>
                <a:effectLst/>
                <a:uLnTx/>
                <a:uFillTx/>
                <a:latin typeface="HarmonyOS Sans SC Black"/>
                <a:ea typeface="+mj-ea"/>
                <a:cs typeface="+mn-cs"/>
              </a:rPr>
              <a:t>2022</a:t>
            </a:r>
          </a:p>
        </p:txBody>
      </p:sp>
      <p:pic>
        <p:nvPicPr>
          <p:cNvPr id="19" name="Graphic 21">
            <a:extLst>
              <a:ext uri="{FF2B5EF4-FFF2-40B4-BE49-F238E27FC236}">
                <a16:creationId xmlns:a16="http://schemas.microsoft.com/office/drawing/2014/main" id="{C3AF9CAE-EA03-4BB9-900F-939863B315A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rot="10800000">
            <a:off x="4219864" y="2269484"/>
            <a:ext cx="142875" cy="361950"/>
          </a:xfrm>
          <a:prstGeom prst="rect">
            <a:avLst/>
          </a:prstGeom>
        </p:spPr>
      </p:pic>
      <p:pic>
        <p:nvPicPr>
          <p:cNvPr id="20" name="Graphic 73">
            <a:extLst>
              <a:ext uri="{FF2B5EF4-FFF2-40B4-BE49-F238E27FC236}">
                <a16:creationId xmlns:a16="http://schemas.microsoft.com/office/drawing/2014/main" id="{9ECDB981-6EA2-4EFD-888B-FA0FD596CEA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387124" y="4296489"/>
            <a:ext cx="142875" cy="361950"/>
          </a:xfrm>
          <a:prstGeom prst="rect">
            <a:avLst/>
          </a:prstGeom>
        </p:spPr>
      </p:pic>
      <p:pic>
        <p:nvPicPr>
          <p:cNvPr id="21" name="Graphic 74">
            <a:extLst>
              <a:ext uri="{FF2B5EF4-FFF2-40B4-BE49-F238E27FC236}">
                <a16:creationId xmlns:a16="http://schemas.microsoft.com/office/drawing/2014/main" id="{F2B4D998-F1D8-4E40-A0CB-0D2A521CA2B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rot="10800000">
            <a:off x="7814925" y="2269484"/>
            <a:ext cx="142875" cy="361950"/>
          </a:xfrm>
          <a:prstGeom prst="rect">
            <a:avLst/>
          </a:prstGeom>
        </p:spPr>
      </p:pic>
      <p:pic>
        <p:nvPicPr>
          <p:cNvPr id="22" name="Graphic 75">
            <a:extLst>
              <a:ext uri="{FF2B5EF4-FFF2-40B4-BE49-F238E27FC236}">
                <a16:creationId xmlns:a16="http://schemas.microsoft.com/office/drawing/2014/main" id="{F63BD9D9-F948-4B23-8EA0-8C0DE6AB3ED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024561" y="4296489"/>
            <a:ext cx="142875" cy="361950"/>
          </a:xfrm>
          <a:prstGeom prst="rect">
            <a:avLst/>
          </a:prstGeom>
        </p:spPr>
      </p:pic>
      <p:pic>
        <p:nvPicPr>
          <p:cNvPr id="23" name="Graphic 76">
            <a:extLst>
              <a:ext uri="{FF2B5EF4-FFF2-40B4-BE49-F238E27FC236}">
                <a16:creationId xmlns:a16="http://schemas.microsoft.com/office/drawing/2014/main" id="{F73BA3B8-1228-4E71-8565-CD3FB4969A9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622818" y="4296489"/>
            <a:ext cx="142875" cy="361950"/>
          </a:xfrm>
          <a:prstGeom prst="rect">
            <a:avLst/>
          </a:prstGeom>
        </p:spPr>
      </p:pic>
      <p:grpSp>
        <p:nvGrpSpPr>
          <p:cNvPr id="45" name="组合 44">
            <a:extLst>
              <a:ext uri="{FF2B5EF4-FFF2-40B4-BE49-F238E27FC236}">
                <a16:creationId xmlns:a16="http://schemas.microsoft.com/office/drawing/2014/main" id="{AF36B60C-003B-494A-9011-59D6BBE3DDDF}"/>
              </a:ext>
            </a:extLst>
          </p:cNvPr>
          <p:cNvGrpSpPr/>
          <p:nvPr/>
        </p:nvGrpSpPr>
        <p:grpSpPr>
          <a:xfrm>
            <a:off x="3213135" y="946526"/>
            <a:ext cx="2299208" cy="926901"/>
            <a:chOff x="8924793" y="1788672"/>
            <a:chExt cx="2056261" cy="828960"/>
          </a:xfrm>
        </p:grpSpPr>
        <p:sp>
          <p:nvSpPr>
            <p:cNvPr id="46" name="TextBox 65">
              <a:extLst>
                <a:ext uri="{FF2B5EF4-FFF2-40B4-BE49-F238E27FC236}">
                  <a16:creationId xmlns:a16="http://schemas.microsoft.com/office/drawing/2014/main" id="{8D1399AD-8336-4004-AD3E-BF4BC105E3F7}"/>
                </a:ext>
              </a:extLst>
            </p:cNvPr>
            <p:cNvSpPr txBox="1"/>
            <p:nvPr/>
          </p:nvSpPr>
          <p:spPr>
            <a:xfrm flipH="1">
              <a:off x="8924793" y="1788672"/>
              <a:ext cx="2056261" cy="339532"/>
            </a:xfrm>
            <a:prstGeom prst="rect">
              <a:avLst/>
            </a:prstGeom>
            <a:noFill/>
          </p:spPr>
          <p:txBody>
            <a:bodyPr wrap="square" lIns="0" tIns="36000" rIns="0" bIns="36000" rtlCol="0">
              <a:spAutoFit/>
            </a:bodyPr>
            <a:lstStyle/>
            <a:p>
              <a:pPr marL="0" marR="0" lvl="0" indent="0" algn="ctr" defTabSz="914400" rtl="0" eaLnBrk="1" fontAlgn="auto" latinLnBrk="0" hangingPunct="1">
                <a:lnSpc>
                  <a:spcPct val="120000"/>
                </a:lnSpc>
                <a:spcBef>
                  <a:spcPts val="600"/>
                </a:spcBef>
                <a:spcAft>
                  <a:spcPts val="0"/>
                </a:spcAft>
                <a:buClrTx/>
                <a:buSzTx/>
                <a:buFontTx/>
                <a:buNone/>
                <a:tabLst/>
                <a:defRPr/>
              </a:pPr>
              <a:r>
                <a:rPr kumimoji="0" lang="en-US" sz="1800" b="0" i="0" u="none" strike="noStrike" kern="1200" cap="none" spc="0" normalizeH="0" baseline="0" noProof="0" dirty="0">
                  <a:ln>
                    <a:noFill/>
                  </a:ln>
                  <a:solidFill>
                    <a:schemeClr val="accent1"/>
                  </a:solidFill>
                  <a:effectLst/>
                  <a:uLnTx/>
                  <a:uFillTx/>
                  <a:latin typeface="HarmonyOS Sans SC Black"/>
                  <a:ea typeface="+mj-ea"/>
                  <a:cs typeface="+mn-cs"/>
                </a:rPr>
                <a:t>Your subtitle here</a:t>
              </a:r>
            </a:p>
          </p:txBody>
        </p:sp>
        <p:sp>
          <p:nvSpPr>
            <p:cNvPr id="47" name="TextBox 65">
              <a:extLst>
                <a:ext uri="{FF2B5EF4-FFF2-40B4-BE49-F238E27FC236}">
                  <a16:creationId xmlns:a16="http://schemas.microsoft.com/office/drawing/2014/main" id="{F73EA39D-BC44-4F69-B0F0-9BE26C520ADB}"/>
                </a:ext>
              </a:extLst>
            </p:cNvPr>
            <p:cNvSpPr txBox="1"/>
            <p:nvPr/>
          </p:nvSpPr>
          <p:spPr>
            <a:xfrm flipH="1">
              <a:off x="8958967" y="2172071"/>
              <a:ext cx="1987912" cy="445561"/>
            </a:xfrm>
            <a:prstGeom prst="rect">
              <a:avLst/>
            </a:prstGeom>
            <a:noFill/>
          </p:spPr>
          <p:txBody>
            <a:bodyPr wrap="square" lIns="0" tIns="36000" rIns="0" bIns="36000" rtlCol="0">
              <a:spAutoFit/>
            </a:bodyPr>
            <a:lstStyle/>
            <a:p>
              <a:pPr marL="0" marR="0" lvl="0" indent="0" algn="ctr" defTabSz="914400" rtl="0" eaLnBrk="1" fontAlgn="auto" latinLnBrk="0" hangingPunct="1">
                <a:lnSpc>
                  <a:spcPct val="120000"/>
                </a:lnSpc>
                <a:spcBef>
                  <a:spcPts val="600"/>
                </a:spcBef>
                <a:spcAft>
                  <a:spcPts val="0"/>
                </a:spcAft>
                <a:buClrTx/>
                <a:buSzTx/>
                <a:buFontTx/>
                <a:buNone/>
                <a:tabLst/>
                <a:defRPr/>
              </a:pPr>
              <a:r>
                <a:rPr kumimoji="0" lang="en-US" sz="1200" b="0" i="0" u="none" strike="noStrike" kern="1200" cap="none" spc="0" normalizeH="0" baseline="0" noProof="0" dirty="0">
                  <a:ln>
                    <a:noFill/>
                  </a:ln>
                  <a:solidFill>
                    <a:prstClr val="black">
                      <a:lumMod val="50000"/>
                      <a:lumOff val="50000"/>
                    </a:prstClr>
                  </a:solidFill>
                  <a:effectLst/>
                  <a:uLnTx/>
                  <a:uFillTx/>
                  <a:latin typeface="HarmonyOS Sans SC"/>
                  <a:cs typeface="+mn-cs"/>
                </a:rPr>
                <a:t>Apparently we had reached a great height in the atmosphere.</a:t>
              </a:r>
            </a:p>
          </p:txBody>
        </p:sp>
      </p:grpSp>
      <p:grpSp>
        <p:nvGrpSpPr>
          <p:cNvPr id="48" name="组合 47">
            <a:extLst>
              <a:ext uri="{FF2B5EF4-FFF2-40B4-BE49-F238E27FC236}">
                <a16:creationId xmlns:a16="http://schemas.microsoft.com/office/drawing/2014/main" id="{1B4A4666-279B-4F99-A9CE-8FBFD9F31A09}"/>
              </a:ext>
            </a:extLst>
          </p:cNvPr>
          <p:cNvGrpSpPr/>
          <p:nvPr/>
        </p:nvGrpSpPr>
        <p:grpSpPr>
          <a:xfrm>
            <a:off x="6808196" y="946526"/>
            <a:ext cx="2299208" cy="926901"/>
            <a:chOff x="8924793" y="1788672"/>
            <a:chExt cx="2056261" cy="828960"/>
          </a:xfrm>
        </p:grpSpPr>
        <p:sp>
          <p:nvSpPr>
            <p:cNvPr id="49" name="TextBox 65">
              <a:extLst>
                <a:ext uri="{FF2B5EF4-FFF2-40B4-BE49-F238E27FC236}">
                  <a16:creationId xmlns:a16="http://schemas.microsoft.com/office/drawing/2014/main" id="{A1540959-D770-4D54-8912-31507A0A9B00}"/>
                </a:ext>
              </a:extLst>
            </p:cNvPr>
            <p:cNvSpPr txBox="1"/>
            <p:nvPr/>
          </p:nvSpPr>
          <p:spPr>
            <a:xfrm flipH="1">
              <a:off x="8924793" y="1788672"/>
              <a:ext cx="2056261" cy="339532"/>
            </a:xfrm>
            <a:prstGeom prst="rect">
              <a:avLst/>
            </a:prstGeom>
            <a:noFill/>
          </p:spPr>
          <p:txBody>
            <a:bodyPr wrap="square" lIns="0" tIns="36000" rIns="0" bIns="36000" rtlCol="0">
              <a:spAutoFit/>
            </a:bodyPr>
            <a:lstStyle/>
            <a:p>
              <a:pPr marL="0" marR="0" lvl="0" indent="0" algn="ctr" defTabSz="914400" rtl="0" eaLnBrk="1" fontAlgn="auto" latinLnBrk="0" hangingPunct="1">
                <a:lnSpc>
                  <a:spcPct val="120000"/>
                </a:lnSpc>
                <a:spcBef>
                  <a:spcPts val="600"/>
                </a:spcBef>
                <a:spcAft>
                  <a:spcPts val="0"/>
                </a:spcAft>
                <a:buClrTx/>
                <a:buSzTx/>
                <a:buFontTx/>
                <a:buNone/>
                <a:tabLst/>
                <a:defRPr/>
              </a:pPr>
              <a:r>
                <a:rPr kumimoji="0" lang="en-US" sz="1800" b="0" i="0" u="none" strike="noStrike" kern="1200" cap="none" spc="0" normalizeH="0" baseline="0" noProof="0" dirty="0">
                  <a:ln>
                    <a:noFill/>
                  </a:ln>
                  <a:solidFill>
                    <a:schemeClr val="accent1"/>
                  </a:solidFill>
                  <a:effectLst/>
                  <a:uLnTx/>
                  <a:uFillTx/>
                  <a:latin typeface="HarmonyOS Sans SC Black"/>
                  <a:ea typeface="+mj-ea"/>
                  <a:cs typeface="+mn-cs"/>
                </a:rPr>
                <a:t>Your subtitle here</a:t>
              </a:r>
            </a:p>
          </p:txBody>
        </p:sp>
        <p:sp>
          <p:nvSpPr>
            <p:cNvPr id="50" name="TextBox 65">
              <a:extLst>
                <a:ext uri="{FF2B5EF4-FFF2-40B4-BE49-F238E27FC236}">
                  <a16:creationId xmlns:a16="http://schemas.microsoft.com/office/drawing/2014/main" id="{137E8567-8531-45DA-8CBE-3C07B70A39E6}"/>
                </a:ext>
              </a:extLst>
            </p:cNvPr>
            <p:cNvSpPr txBox="1"/>
            <p:nvPr/>
          </p:nvSpPr>
          <p:spPr>
            <a:xfrm flipH="1">
              <a:off x="8958967" y="2172071"/>
              <a:ext cx="1987912" cy="445561"/>
            </a:xfrm>
            <a:prstGeom prst="rect">
              <a:avLst/>
            </a:prstGeom>
            <a:noFill/>
          </p:spPr>
          <p:txBody>
            <a:bodyPr wrap="square" lIns="0" tIns="36000" rIns="0" bIns="36000" rtlCol="0">
              <a:spAutoFit/>
            </a:bodyPr>
            <a:lstStyle/>
            <a:p>
              <a:pPr marL="0" marR="0" lvl="0" indent="0" algn="ctr" defTabSz="914400" rtl="0" eaLnBrk="1" fontAlgn="auto" latinLnBrk="0" hangingPunct="1">
                <a:lnSpc>
                  <a:spcPct val="120000"/>
                </a:lnSpc>
                <a:spcBef>
                  <a:spcPts val="600"/>
                </a:spcBef>
                <a:spcAft>
                  <a:spcPts val="0"/>
                </a:spcAft>
                <a:buClrTx/>
                <a:buSzTx/>
                <a:buFontTx/>
                <a:buNone/>
                <a:tabLst/>
                <a:defRPr/>
              </a:pPr>
              <a:r>
                <a:rPr kumimoji="0" lang="en-US" sz="1200" b="0" i="0" u="none" strike="noStrike" kern="1200" cap="none" spc="0" normalizeH="0" baseline="0" noProof="0" dirty="0">
                  <a:ln>
                    <a:noFill/>
                  </a:ln>
                  <a:solidFill>
                    <a:prstClr val="black">
                      <a:lumMod val="50000"/>
                      <a:lumOff val="50000"/>
                    </a:prstClr>
                  </a:solidFill>
                  <a:effectLst/>
                  <a:uLnTx/>
                  <a:uFillTx/>
                  <a:latin typeface="HarmonyOS Sans SC"/>
                  <a:cs typeface="+mn-cs"/>
                </a:rPr>
                <a:t>Apparently we had reached a great height in the atmosphere.</a:t>
              </a:r>
            </a:p>
          </p:txBody>
        </p:sp>
      </p:grpSp>
      <p:grpSp>
        <p:nvGrpSpPr>
          <p:cNvPr id="51" name="组合 50">
            <a:extLst>
              <a:ext uri="{FF2B5EF4-FFF2-40B4-BE49-F238E27FC236}">
                <a16:creationId xmlns:a16="http://schemas.microsoft.com/office/drawing/2014/main" id="{AAA96AC6-CF9F-47AD-8349-7966D40E127A}"/>
              </a:ext>
            </a:extLst>
          </p:cNvPr>
          <p:cNvGrpSpPr/>
          <p:nvPr/>
        </p:nvGrpSpPr>
        <p:grpSpPr>
          <a:xfrm>
            <a:off x="1384300" y="4892134"/>
            <a:ext cx="2299208" cy="926901"/>
            <a:chOff x="8924793" y="1788672"/>
            <a:chExt cx="2056261" cy="828960"/>
          </a:xfrm>
        </p:grpSpPr>
        <p:sp>
          <p:nvSpPr>
            <p:cNvPr id="52" name="TextBox 65">
              <a:extLst>
                <a:ext uri="{FF2B5EF4-FFF2-40B4-BE49-F238E27FC236}">
                  <a16:creationId xmlns:a16="http://schemas.microsoft.com/office/drawing/2014/main" id="{1CB9984C-7D24-4A50-ACD0-42A67824AE9F}"/>
                </a:ext>
              </a:extLst>
            </p:cNvPr>
            <p:cNvSpPr txBox="1"/>
            <p:nvPr/>
          </p:nvSpPr>
          <p:spPr>
            <a:xfrm flipH="1">
              <a:off x="8924793" y="1788672"/>
              <a:ext cx="2056261" cy="339532"/>
            </a:xfrm>
            <a:prstGeom prst="rect">
              <a:avLst/>
            </a:prstGeom>
            <a:noFill/>
          </p:spPr>
          <p:txBody>
            <a:bodyPr wrap="square" lIns="0" tIns="36000" rIns="0" bIns="36000" rtlCol="0">
              <a:spAutoFit/>
            </a:bodyPr>
            <a:lstStyle/>
            <a:p>
              <a:pPr marL="0" marR="0" lvl="0" indent="0" algn="ctr" defTabSz="914400" rtl="0" eaLnBrk="1" fontAlgn="auto" latinLnBrk="0" hangingPunct="1">
                <a:lnSpc>
                  <a:spcPct val="120000"/>
                </a:lnSpc>
                <a:spcBef>
                  <a:spcPts val="600"/>
                </a:spcBef>
                <a:spcAft>
                  <a:spcPts val="0"/>
                </a:spcAft>
                <a:buClrTx/>
                <a:buSzTx/>
                <a:buFontTx/>
                <a:buNone/>
                <a:tabLst/>
                <a:defRPr/>
              </a:pPr>
              <a:r>
                <a:rPr kumimoji="0" lang="en-US" sz="1800" b="0" i="0" u="none" strike="noStrike" kern="1200" cap="none" spc="0" normalizeH="0" baseline="0" noProof="0" dirty="0">
                  <a:ln>
                    <a:noFill/>
                  </a:ln>
                  <a:solidFill>
                    <a:schemeClr val="accent1"/>
                  </a:solidFill>
                  <a:effectLst/>
                  <a:uLnTx/>
                  <a:uFillTx/>
                  <a:latin typeface="HarmonyOS Sans SC Black"/>
                  <a:ea typeface="+mj-ea"/>
                  <a:cs typeface="+mn-cs"/>
                </a:rPr>
                <a:t>Your subtitle here</a:t>
              </a:r>
            </a:p>
          </p:txBody>
        </p:sp>
        <p:sp>
          <p:nvSpPr>
            <p:cNvPr id="53" name="TextBox 65">
              <a:extLst>
                <a:ext uri="{FF2B5EF4-FFF2-40B4-BE49-F238E27FC236}">
                  <a16:creationId xmlns:a16="http://schemas.microsoft.com/office/drawing/2014/main" id="{14DA79B1-6624-4F9B-8C4E-47D73B59A651}"/>
                </a:ext>
              </a:extLst>
            </p:cNvPr>
            <p:cNvSpPr txBox="1"/>
            <p:nvPr/>
          </p:nvSpPr>
          <p:spPr>
            <a:xfrm flipH="1">
              <a:off x="8958967" y="2172071"/>
              <a:ext cx="1987912" cy="445561"/>
            </a:xfrm>
            <a:prstGeom prst="rect">
              <a:avLst/>
            </a:prstGeom>
            <a:noFill/>
          </p:spPr>
          <p:txBody>
            <a:bodyPr wrap="square" lIns="0" tIns="36000" rIns="0" bIns="36000" rtlCol="0">
              <a:spAutoFit/>
            </a:bodyPr>
            <a:lstStyle/>
            <a:p>
              <a:pPr marL="0" marR="0" lvl="0" indent="0" algn="ctr" defTabSz="914400" rtl="0" eaLnBrk="1" fontAlgn="auto" latinLnBrk="0" hangingPunct="1">
                <a:lnSpc>
                  <a:spcPct val="120000"/>
                </a:lnSpc>
                <a:spcBef>
                  <a:spcPts val="600"/>
                </a:spcBef>
                <a:spcAft>
                  <a:spcPts val="0"/>
                </a:spcAft>
                <a:buClrTx/>
                <a:buSzTx/>
                <a:buFontTx/>
                <a:buNone/>
                <a:tabLst/>
                <a:defRPr/>
              </a:pPr>
              <a:r>
                <a:rPr kumimoji="0" lang="en-US" sz="1200" b="0" i="0" u="none" strike="noStrike" kern="1200" cap="none" spc="0" normalizeH="0" baseline="0" noProof="0" dirty="0">
                  <a:ln>
                    <a:noFill/>
                  </a:ln>
                  <a:solidFill>
                    <a:prstClr val="black">
                      <a:lumMod val="50000"/>
                      <a:lumOff val="50000"/>
                    </a:prstClr>
                  </a:solidFill>
                  <a:effectLst/>
                  <a:uLnTx/>
                  <a:uFillTx/>
                  <a:latin typeface="HarmonyOS Sans SC"/>
                  <a:cs typeface="+mn-cs"/>
                </a:rPr>
                <a:t>Apparently we had reached a great height in the atmosphere.</a:t>
              </a:r>
            </a:p>
          </p:txBody>
        </p:sp>
      </p:grpSp>
      <p:grpSp>
        <p:nvGrpSpPr>
          <p:cNvPr id="54" name="组合 53">
            <a:extLst>
              <a:ext uri="{FF2B5EF4-FFF2-40B4-BE49-F238E27FC236}">
                <a16:creationId xmlns:a16="http://schemas.microsoft.com/office/drawing/2014/main" id="{E3C5ACAA-7E03-4A92-9BB9-EC91889B098B}"/>
              </a:ext>
            </a:extLst>
          </p:cNvPr>
          <p:cNvGrpSpPr/>
          <p:nvPr/>
        </p:nvGrpSpPr>
        <p:grpSpPr>
          <a:xfrm>
            <a:off x="4979361" y="4892134"/>
            <a:ext cx="2299208" cy="926901"/>
            <a:chOff x="8924793" y="1788672"/>
            <a:chExt cx="2056261" cy="828960"/>
          </a:xfrm>
        </p:grpSpPr>
        <p:sp>
          <p:nvSpPr>
            <p:cNvPr id="55" name="TextBox 65">
              <a:extLst>
                <a:ext uri="{FF2B5EF4-FFF2-40B4-BE49-F238E27FC236}">
                  <a16:creationId xmlns:a16="http://schemas.microsoft.com/office/drawing/2014/main" id="{26A8C86F-1CE8-40CC-8FD9-0CD14D935083}"/>
                </a:ext>
              </a:extLst>
            </p:cNvPr>
            <p:cNvSpPr txBox="1"/>
            <p:nvPr/>
          </p:nvSpPr>
          <p:spPr>
            <a:xfrm flipH="1">
              <a:off x="8924793" y="1788672"/>
              <a:ext cx="2056261" cy="339532"/>
            </a:xfrm>
            <a:prstGeom prst="rect">
              <a:avLst/>
            </a:prstGeom>
            <a:noFill/>
          </p:spPr>
          <p:txBody>
            <a:bodyPr wrap="square" lIns="0" tIns="36000" rIns="0" bIns="36000" rtlCol="0">
              <a:spAutoFit/>
            </a:bodyPr>
            <a:lstStyle/>
            <a:p>
              <a:pPr marL="0" marR="0" lvl="0" indent="0" algn="ctr" defTabSz="914400" rtl="0" eaLnBrk="1" fontAlgn="auto" latinLnBrk="0" hangingPunct="1">
                <a:lnSpc>
                  <a:spcPct val="120000"/>
                </a:lnSpc>
                <a:spcBef>
                  <a:spcPts val="600"/>
                </a:spcBef>
                <a:spcAft>
                  <a:spcPts val="0"/>
                </a:spcAft>
                <a:buClrTx/>
                <a:buSzTx/>
                <a:buFontTx/>
                <a:buNone/>
                <a:tabLst/>
                <a:defRPr/>
              </a:pPr>
              <a:r>
                <a:rPr kumimoji="0" lang="en-US" sz="1800" b="0" i="0" u="none" strike="noStrike" kern="1200" cap="none" spc="0" normalizeH="0" baseline="0" noProof="0" dirty="0">
                  <a:ln>
                    <a:noFill/>
                  </a:ln>
                  <a:solidFill>
                    <a:schemeClr val="accent1"/>
                  </a:solidFill>
                  <a:effectLst/>
                  <a:uLnTx/>
                  <a:uFillTx/>
                  <a:latin typeface="HarmonyOS Sans SC Black"/>
                  <a:ea typeface="+mj-ea"/>
                  <a:cs typeface="+mn-cs"/>
                </a:rPr>
                <a:t>Your subtitle here</a:t>
              </a:r>
            </a:p>
          </p:txBody>
        </p:sp>
        <p:sp>
          <p:nvSpPr>
            <p:cNvPr id="56" name="TextBox 65">
              <a:extLst>
                <a:ext uri="{FF2B5EF4-FFF2-40B4-BE49-F238E27FC236}">
                  <a16:creationId xmlns:a16="http://schemas.microsoft.com/office/drawing/2014/main" id="{E11B5526-86AE-4B90-8139-CE791157DF7A}"/>
                </a:ext>
              </a:extLst>
            </p:cNvPr>
            <p:cNvSpPr txBox="1"/>
            <p:nvPr/>
          </p:nvSpPr>
          <p:spPr>
            <a:xfrm flipH="1">
              <a:off x="8958967" y="2172071"/>
              <a:ext cx="1987912" cy="445561"/>
            </a:xfrm>
            <a:prstGeom prst="rect">
              <a:avLst/>
            </a:prstGeom>
            <a:noFill/>
          </p:spPr>
          <p:txBody>
            <a:bodyPr wrap="square" lIns="0" tIns="36000" rIns="0" bIns="36000" rtlCol="0">
              <a:spAutoFit/>
            </a:bodyPr>
            <a:lstStyle/>
            <a:p>
              <a:pPr marL="0" marR="0" lvl="0" indent="0" algn="ctr" defTabSz="914400" rtl="0" eaLnBrk="1" fontAlgn="auto" latinLnBrk="0" hangingPunct="1">
                <a:lnSpc>
                  <a:spcPct val="120000"/>
                </a:lnSpc>
                <a:spcBef>
                  <a:spcPts val="600"/>
                </a:spcBef>
                <a:spcAft>
                  <a:spcPts val="0"/>
                </a:spcAft>
                <a:buClrTx/>
                <a:buSzTx/>
                <a:buFontTx/>
                <a:buNone/>
                <a:tabLst/>
                <a:defRPr/>
              </a:pPr>
              <a:r>
                <a:rPr kumimoji="0" lang="en-US" sz="1200" b="0" i="0" u="none" strike="noStrike" kern="1200" cap="none" spc="0" normalizeH="0" baseline="0" noProof="0" dirty="0">
                  <a:ln>
                    <a:noFill/>
                  </a:ln>
                  <a:solidFill>
                    <a:prstClr val="black">
                      <a:lumMod val="50000"/>
                      <a:lumOff val="50000"/>
                    </a:prstClr>
                  </a:solidFill>
                  <a:effectLst/>
                  <a:uLnTx/>
                  <a:uFillTx/>
                  <a:latin typeface="HarmonyOS Sans SC"/>
                  <a:cs typeface="+mn-cs"/>
                </a:rPr>
                <a:t>Apparently we had reached a great height in the atmosphere.</a:t>
              </a:r>
            </a:p>
          </p:txBody>
        </p:sp>
      </p:grpSp>
      <p:grpSp>
        <p:nvGrpSpPr>
          <p:cNvPr id="57" name="组合 56">
            <a:extLst>
              <a:ext uri="{FF2B5EF4-FFF2-40B4-BE49-F238E27FC236}">
                <a16:creationId xmlns:a16="http://schemas.microsoft.com/office/drawing/2014/main" id="{439DE8D4-C2FD-4455-B700-13D0A362BB44}"/>
              </a:ext>
            </a:extLst>
          </p:cNvPr>
          <p:cNvGrpSpPr/>
          <p:nvPr/>
        </p:nvGrpSpPr>
        <p:grpSpPr>
          <a:xfrm>
            <a:off x="8658860" y="4892134"/>
            <a:ext cx="2299208" cy="926901"/>
            <a:chOff x="8924793" y="1788672"/>
            <a:chExt cx="2056261" cy="828960"/>
          </a:xfrm>
        </p:grpSpPr>
        <p:sp>
          <p:nvSpPr>
            <p:cNvPr id="58" name="TextBox 65">
              <a:extLst>
                <a:ext uri="{FF2B5EF4-FFF2-40B4-BE49-F238E27FC236}">
                  <a16:creationId xmlns:a16="http://schemas.microsoft.com/office/drawing/2014/main" id="{BC5447A8-E8CF-4DCA-B69B-D11BEE067B9A}"/>
                </a:ext>
              </a:extLst>
            </p:cNvPr>
            <p:cNvSpPr txBox="1"/>
            <p:nvPr/>
          </p:nvSpPr>
          <p:spPr>
            <a:xfrm flipH="1">
              <a:off x="8924793" y="1788672"/>
              <a:ext cx="2056261" cy="339532"/>
            </a:xfrm>
            <a:prstGeom prst="rect">
              <a:avLst/>
            </a:prstGeom>
            <a:noFill/>
          </p:spPr>
          <p:txBody>
            <a:bodyPr wrap="square" lIns="0" tIns="36000" rIns="0" bIns="36000" rtlCol="0">
              <a:spAutoFit/>
            </a:bodyPr>
            <a:lstStyle/>
            <a:p>
              <a:pPr marL="0" marR="0" lvl="0" indent="0" algn="ctr" defTabSz="914400" rtl="0" eaLnBrk="1" fontAlgn="auto" latinLnBrk="0" hangingPunct="1">
                <a:lnSpc>
                  <a:spcPct val="120000"/>
                </a:lnSpc>
                <a:spcBef>
                  <a:spcPts val="600"/>
                </a:spcBef>
                <a:spcAft>
                  <a:spcPts val="0"/>
                </a:spcAft>
                <a:buClrTx/>
                <a:buSzTx/>
                <a:buFontTx/>
                <a:buNone/>
                <a:tabLst/>
                <a:defRPr/>
              </a:pPr>
              <a:r>
                <a:rPr kumimoji="0" lang="en-US" sz="1800" b="0" i="0" u="none" strike="noStrike" kern="1200" cap="none" spc="0" normalizeH="0" baseline="0" noProof="0" dirty="0">
                  <a:ln>
                    <a:noFill/>
                  </a:ln>
                  <a:solidFill>
                    <a:schemeClr val="accent1"/>
                  </a:solidFill>
                  <a:effectLst/>
                  <a:uLnTx/>
                  <a:uFillTx/>
                  <a:latin typeface="HarmonyOS Sans SC Black"/>
                  <a:ea typeface="+mj-ea"/>
                  <a:cs typeface="+mn-cs"/>
                </a:rPr>
                <a:t>Your subtitle here</a:t>
              </a:r>
            </a:p>
          </p:txBody>
        </p:sp>
        <p:sp>
          <p:nvSpPr>
            <p:cNvPr id="59" name="TextBox 65">
              <a:extLst>
                <a:ext uri="{FF2B5EF4-FFF2-40B4-BE49-F238E27FC236}">
                  <a16:creationId xmlns:a16="http://schemas.microsoft.com/office/drawing/2014/main" id="{2D267DFA-F688-4D7D-BF58-AAC9D763EE6E}"/>
                </a:ext>
              </a:extLst>
            </p:cNvPr>
            <p:cNvSpPr txBox="1"/>
            <p:nvPr/>
          </p:nvSpPr>
          <p:spPr>
            <a:xfrm flipH="1">
              <a:off x="8958967" y="2172071"/>
              <a:ext cx="1987912" cy="445561"/>
            </a:xfrm>
            <a:prstGeom prst="rect">
              <a:avLst/>
            </a:prstGeom>
            <a:noFill/>
          </p:spPr>
          <p:txBody>
            <a:bodyPr wrap="square" lIns="0" tIns="36000" rIns="0" bIns="36000" rtlCol="0">
              <a:spAutoFit/>
            </a:bodyPr>
            <a:lstStyle/>
            <a:p>
              <a:pPr marL="0" marR="0" lvl="0" indent="0" algn="ctr" defTabSz="914400" rtl="0" eaLnBrk="1" fontAlgn="auto" latinLnBrk="0" hangingPunct="1">
                <a:lnSpc>
                  <a:spcPct val="120000"/>
                </a:lnSpc>
                <a:spcBef>
                  <a:spcPts val="600"/>
                </a:spcBef>
                <a:spcAft>
                  <a:spcPts val="0"/>
                </a:spcAft>
                <a:buClrTx/>
                <a:buSzTx/>
                <a:buFontTx/>
                <a:buNone/>
                <a:tabLst/>
                <a:defRPr/>
              </a:pPr>
              <a:r>
                <a:rPr kumimoji="0" lang="en-US" sz="1200" b="0" i="0" u="none" strike="noStrike" kern="1200" cap="none" spc="0" normalizeH="0" baseline="0" noProof="0" dirty="0">
                  <a:ln>
                    <a:noFill/>
                  </a:ln>
                  <a:solidFill>
                    <a:prstClr val="black">
                      <a:lumMod val="50000"/>
                      <a:lumOff val="50000"/>
                    </a:prstClr>
                  </a:solidFill>
                  <a:effectLst/>
                  <a:uLnTx/>
                  <a:uFillTx/>
                  <a:latin typeface="HarmonyOS Sans SC"/>
                  <a:cs typeface="+mn-cs"/>
                </a:rPr>
                <a:t>Apparently we had reached a great height in the atmosphere.</a:t>
              </a:r>
            </a:p>
          </p:txBody>
        </p:sp>
      </p:grpSp>
    </p:spTree>
    <p:extLst>
      <p:ext uri="{BB962C8B-B14F-4D97-AF65-F5344CB8AC3E}">
        <p14:creationId xmlns:p14="http://schemas.microsoft.com/office/powerpoint/2010/main" val="2608996959"/>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5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Freeform 9">
            <a:extLst>
              <a:ext uri="{FF2B5EF4-FFF2-40B4-BE49-F238E27FC236}">
                <a16:creationId xmlns:a16="http://schemas.microsoft.com/office/drawing/2014/main" id="{CED4C286-8553-4536-ADD4-97758B827994}"/>
              </a:ext>
            </a:extLst>
          </p:cNvPr>
          <p:cNvSpPr>
            <a:spLocks/>
          </p:cNvSpPr>
          <p:nvPr/>
        </p:nvSpPr>
        <p:spPr bwMode="auto">
          <a:xfrm rot="5400000">
            <a:off x="1440049" y="2651216"/>
            <a:ext cx="3024727" cy="1879276"/>
          </a:xfrm>
          <a:custGeom>
            <a:avLst/>
            <a:gdLst>
              <a:gd name="T0" fmla="*/ 3383038 w 1460"/>
              <a:gd name="T1" fmla="*/ 1070523 h 907"/>
              <a:gd name="T2" fmla="*/ 1691519 w 1460"/>
              <a:gd name="T3" fmla="*/ 0 h 907"/>
              <a:gd name="T4" fmla="*/ 1691519 w 1460"/>
              <a:gd name="T5" fmla="*/ 0 h 907"/>
              <a:gd name="T6" fmla="*/ 1684568 w 1460"/>
              <a:gd name="T7" fmla="*/ 0 h 907"/>
              <a:gd name="T8" fmla="*/ 0 w 1460"/>
              <a:gd name="T9" fmla="*/ 1070523 h 907"/>
              <a:gd name="T10" fmla="*/ 0 w 1460"/>
              <a:gd name="T11" fmla="*/ 2101655 h 907"/>
              <a:gd name="T12" fmla="*/ 1691519 w 1460"/>
              <a:gd name="T13" fmla="*/ 1031132 h 907"/>
              <a:gd name="T14" fmla="*/ 3383038 w 1460"/>
              <a:gd name="T15" fmla="*/ 2101655 h 907"/>
              <a:gd name="T16" fmla="*/ 3383038 w 1460"/>
              <a:gd name="T17" fmla="*/ 1070523 h 90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460" h="907">
                <a:moveTo>
                  <a:pt x="1460" y="462"/>
                </a:moveTo>
                <a:lnTo>
                  <a:pt x="730" y="0"/>
                </a:lnTo>
                <a:lnTo>
                  <a:pt x="727" y="0"/>
                </a:lnTo>
                <a:lnTo>
                  <a:pt x="0" y="462"/>
                </a:lnTo>
                <a:lnTo>
                  <a:pt x="0" y="907"/>
                </a:lnTo>
                <a:lnTo>
                  <a:pt x="730" y="445"/>
                </a:lnTo>
                <a:lnTo>
                  <a:pt x="1460" y="907"/>
                </a:lnTo>
                <a:lnTo>
                  <a:pt x="1460" y="462"/>
                </a:lnTo>
                <a:close/>
              </a:path>
            </a:pathLst>
          </a:custGeom>
          <a:gradFill flip="none" rotWithShape="1">
            <a:gsLst>
              <a:gs pos="73000">
                <a:schemeClr val="accent1"/>
              </a:gs>
              <a:gs pos="31000">
                <a:schemeClr val="accent1">
                  <a:lumMod val="60000"/>
                  <a:lumOff val="40000"/>
                </a:schemeClr>
              </a:gs>
              <a:gs pos="0">
                <a:schemeClr val="accent1">
                  <a:lumMod val="40000"/>
                  <a:lumOff val="60000"/>
                </a:schemeClr>
              </a:gs>
            </a:gsLst>
            <a:lin ang="540000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222222"/>
              </a:solidFill>
              <a:effectLst/>
              <a:uLnTx/>
              <a:uFillTx/>
              <a:latin typeface="Inter"/>
              <a:cs typeface="+mn-cs"/>
            </a:endParaRPr>
          </a:p>
        </p:txBody>
      </p:sp>
      <p:sp>
        <p:nvSpPr>
          <p:cNvPr id="17" name="Freeform 10">
            <a:extLst>
              <a:ext uri="{FF2B5EF4-FFF2-40B4-BE49-F238E27FC236}">
                <a16:creationId xmlns:a16="http://schemas.microsoft.com/office/drawing/2014/main" id="{E315BCBE-4EA7-4591-8072-B312F556A6F8}"/>
              </a:ext>
            </a:extLst>
          </p:cNvPr>
          <p:cNvSpPr>
            <a:spLocks/>
          </p:cNvSpPr>
          <p:nvPr/>
        </p:nvSpPr>
        <p:spPr bwMode="auto">
          <a:xfrm rot="5400000">
            <a:off x="1741566" y="2356048"/>
            <a:ext cx="1512364" cy="957249"/>
          </a:xfrm>
          <a:custGeom>
            <a:avLst/>
            <a:gdLst>
              <a:gd name="T0" fmla="*/ 0 w 730"/>
              <a:gd name="T1" fmla="*/ 1070523 h 462"/>
              <a:gd name="T2" fmla="*/ 449527 w 730"/>
              <a:gd name="T3" fmla="*/ 1070523 h 462"/>
              <a:gd name="T4" fmla="*/ 1691519 w 730"/>
              <a:gd name="T5" fmla="*/ 285009 h 462"/>
              <a:gd name="T6" fmla="*/ 1691519 w 730"/>
              <a:gd name="T7" fmla="*/ 0 h 462"/>
              <a:gd name="T8" fmla="*/ 0 w 730"/>
              <a:gd name="T9" fmla="*/ 1070523 h 46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30" h="462">
                <a:moveTo>
                  <a:pt x="0" y="462"/>
                </a:moveTo>
                <a:lnTo>
                  <a:pt x="194" y="462"/>
                </a:lnTo>
                <a:lnTo>
                  <a:pt x="730" y="123"/>
                </a:lnTo>
                <a:lnTo>
                  <a:pt x="730" y="0"/>
                </a:lnTo>
                <a:lnTo>
                  <a:pt x="0" y="462"/>
                </a:lnTo>
                <a:close/>
              </a:path>
            </a:pathLst>
          </a:custGeom>
          <a:gradFill flip="none" rotWithShape="1">
            <a:gsLst>
              <a:gs pos="32000">
                <a:schemeClr val="accent1">
                  <a:lumMod val="60000"/>
                  <a:lumOff val="40000"/>
                </a:schemeClr>
              </a:gs>
              <a:gs pos="0">
                <a:schemeClr val="accent1">
                  <a:lumMod val="40000"/>
                  <a:lumOff val="60000"/>
                </a:schemeClr>
              </a:gs>
            </a:gsLst>
            <a:lin ang="540000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222222"/>
              </a:solidFill>
              <a:effectLst/>
              <a:uLnTx/>
              <a:uFillTx/>
              <a:latin typeface="Inter"/>
              <a:cs typeface="+mn-cs"/>
            </a:endParaRPr>
          </a:p>
        </p:txBody>
      </p:sp>
      <p:sp>
        <p:nvSpPr>
          <p:cNvPr id="18" name="Freeform 11">
            <a:extLst>
              <a:ext uri="{FF2B5EF4-FFF2-40B4-BE49-F238E27FC236}">
                <a16:creationId xmlns:a16="http://schemas.microsoft.com/office/drawing/2014/main" id="{EB33EAD2-E2F2-418A-A8D2-193E85878072}"/>
              </a:ext>
            </a:extLst>
          </p:cNvPr>
          <p:cNvSpPr>
            <a:spLocks/>
          </p:cNvSpPr>
          <p:nvPr/>
        </p:nvSpPr>
        <p:spPr bwMode="auto">
          <a:xfrm rot="5400000">
            <a:off x="1741566" y="3868412"/>
            <a:ext cx="1512364" cy="957249"/>
          </a:xfrm>
          <a:custGeom>
            <a:avLst/>
            <a:gdLst>
              <a:gd name="T0" fmla="*/ 0 w 730"/>
              <a:gd name="T1" fmla="*/ 0 h 462"/>
              <a:gd name="T2" fmla="*/ 0 w 730"/>
              <a:gd name="T3" fmla="*/ 285009 h 462"/>
              <a:gd name="T4" fmla="*/ 1239675 w 730"/>
              <a:gd name="T5" fmla="*/ 1070523 h 462"/>
              <a:gd name="T6" fmla="*/ 1691519 w 730"/>
              <a:gd name="T7" fmla="*/ 1070523 h 462"/>
              <a:gd name="T8" fmla="*/ 0 w 730"/>
              <a:gd name="T9" fmla="*/ 0 h 46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30" h="462">
                <a:moveTo>
                  <a:pt x="0" y="0"/>
                </a:moveTo>
                <a:lnTo>
                  <a:pt x="0" y="123"/>
                </a:lnTo>
                <a:lnTo>
                  <a:pt x="535" y="462"/>
                </a:lnTo>
                <a:lnTo>
                  <a:pt x="730" y="462"/>
                </a:lnTo>
                <a:lnTo>
                  <a:pt x="0" y="0"/>
                </a:lnTo>
                <a:close/>
              </a:path>
            </a:pathLst>
          </a:custGeom>
          <a:gradFill flip="none" rotWithShape="1">
            <a:gsLst>
              <a:gs pos="32000">
                <a:schemeClr val="accent1">
                  <a:lumMod val="60000"/>
                  <a:lumOff val="40000"/>
                </a:schemeClr>
              </a:gs>
              <a:gs pos="0">
                <a:schemeClr val="accent1">
                  <a:lumMod val="40000"/>
                  <a:lumOff val="60000"/>
                </a:schemeClr>
              </a:gs>
            </a:gsLst>
            <a:lin ang="540000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222222"/>
              </a:solidFill>
              <a:effectLst/>
              <a:uLnTx/>
              <a:uFillTx/>
              <a:latin typeface="Inter"/>
              <a:cs typeface="+mn-cs"/>
            </a:endParaRPr>
          </a:p>
        </p:txBody>
      </p:sp>
      <p:sp>
        <p:nvSpPr>
          <p:cNvPr id="13" name="Freeform 5">
            <a:extLst>
              <a:ext uri="{FF2B5EF4-FFF2-40B4-BE49-F238E27FC236}">
                <a16:creationId xmlns:a16="http://schemas.microsoft.com/office/drawing/2014/main" id="{3CA371C0-A1F0-45CA-A0B2-404B36AB1B80}"/>
              </a:ext>
            </a:extLst>
          </p:cNvPr>
          <p:cNvSpPr>
            <a:spLocks/>
          </p:cNvSpPr>
          <p:nvPr/>
        </p:nvSpPr>
        <p:spPr bwMode="auto">
          <a:xfrm rot="5400000">
            <a:off x="2090840" y="2366629"/>
            <a:ext cx="4124755" cy="2444195"/>
          </a:xfrm>
          <a:custGeom>
            <a:avLst/>
            <a:gdLst>
              <a:gd name="T0" fmla="*/ 4613444 w 1991"/>
              <a:gd name="T1" fmla="*/ 1466755 h 1180"/>
              <a:gd name="T2" fmla="*/ 2307881 w 1991"/>
              <a:gd name="T3" fmla="*/ 0 h 1180"/>
              <a:gd name="T4" fmla="*/ 2307881 w 1991"/>
              <a:gd name="T5" fmla="*/ 4634 h 1180"/>
              <a:gd name="T6" fmla="*/ 2300929 w 1991"/>
              <a:gd name="T7" fmla="*/ 0 h 1180"/>
              <a:gd name="T8" fmla="*/ 0 w 1991"/>
              <a:gd name="T9" fmla="*/ 1466755 h 1180"/>
              <a:gd name="T10" fmla="*/ 0 w 1991"/>
              <a:gd name="T11" fmla="*/ 2734236 h 1180"/>
              <a:gd name="T12" fmla="*/ 2307881 w 1991"/>
              <a:gd name="T13" fmla="*/ 1274432 h 1180"/>
              <a:gd name="T14" fmla="*/ 4613444 w 1991"/>
              <a:gd name="T15" fmla="*/ 2734236 h 1180"/>
              <a:gd name="T16" fmla="*/ 4613444 w 1991"/>
              <a:gd name="T17" fmla="*/ 1466755 h 118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991" h="1180">
                <a:moveTo>
                  <a:pt x="1991" y="633"/>
                </a:moveTo>
                <a:lnTo>
                  <a:pt x="996" y="0"/>
                </a:lnTo>
                <a:lnTo>
                  <a:pt x="996" y="2"/>
                </a:lnTo>
                <a:lnTo>
                  <a:pt x="993" y="0"/>
                </a:lnTo>
                <a:lnTo>
                  <a:pt x="0" y="633"/>
                </a:lnTo>
                <a:lnTo>
                  <a:pt x="0" y="1180"/>
                </a:lnTo>
                <a:lnTo>
                  <a:pt x="996" y="550"/>
                </a:lnTo>
                <a:lnTo>
                  <a:pt x="1991" y="1180"/>
                </a:lnTo>
                <a:lnTo>
                  <a:pt x="1991" y="633"/>
                </a:lnTo>
                <a:close/>
              </a:path>
            </a:pathLst>
          </a:custGeom>
          <a:gradFill flip="none" rotWithShape="1">
            <a:gsLst>
              <a:gs pos="73000">
                <a:schemeClr val="accent1"/>
              </a:gs>
              <a:gs pos="31000">
                <a:schemeClr val="accent1">
                  <a:lumMod val="60000"/>
                  <a:lumOff val="40000"/>
                </a:schemeClr>
              </a:gs>
              <a:gs pos="0">
                <a:schemeClr val="accent1">
                  <a:lumMod val="40000"/>
                  <a:lumOff val="60000"/>
                </a:schemeClr>
              </a:gs>
            </a:gsLst>
            <a:lin ang="540000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222222"/>
              </a:solidFill>
              <a:effectLst/>
              <a:uLnTx/>
              <a:uFillTx/>
              <a:latin typeface="Inter"/>
              <a:cs typeface="+mn-cs"/>
            </a:endParaRPr>
          </a:p>
        </p:txBody>
      </p:sp>
      <p:sp>
        <p:nvSpPr>
          <p:cNvPr id="14" name="Freeform 6">
            <a:extLst>
              <a:ext uri="{FF2B5EF4-FFF2-40B4-BE49-F238E27FC236}">
                <a16:creationId xmlns:a16="http://schemas.microsoft.com/office/drawing/2014/main" id="{96A70B71-36B2-45B4-A5CE-E323B8E1B361}"/>
              </a:ext>
            </a:extLst>
          </p:cNvPr>
          <p:cNvSpPr>
            <a:spLocks/>
          </p:cNvSpPr>
          <p:nvPr/>
        </p:nvSpPr>
        <p:spPr bwMode="auto">
          <a:xfrm rot="5400000">
            <a:off x="2559137" y="1902472"/>
            <a:ext cx="2063414" cy="1311166"/>
          </a:xfrm>
          <a:custGeom>
            <a:avLst/>
            <a:gdLst>
              <a:gd name="T0" fmla="*/ 2307881 w 996"/>
              <a:gd name="T1" fmla="*/ 396233 h 633"/>
              <a:gd name="T2" fmla="*/ 2307881 w 996"/>
              <a:gd name="T3" fmla="*/ 0 h 633"/>
              <a:gd name="T4" fmla="*/ 0 w 996"/>
              <a:gd name="T5" fmla="*/ 1466756 h 633"/>
              <a:gd name="T6" fmla="*/ 616362 w 996"/>
              <a:gd name="T7" fmla="*/ 1466756 h 633"/>
              <a:gd name="T8" fmla="*/ 2307881 w 996"/>
              <a:gd name="T9" fmla="*/ 396233 h 633"/>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996" h="633">
                <a:moveTo>
                  <a:pt x="996" y="171"/>
                </a:moveTo>
                <a:lnTo>
                  <a:pt x="996" y="0"/>
                </a:lnTo>
                <a:lnTo>
                  <a:pt x="0" y="633"/>
                </a:lnTo>
                <a:lnTo>
                  <a:pt x="266" y="633"/>
                </a:lnTo>
                <a:lnTo>
                  <a:pt x="996" y="171"/>
                </a:lnTo>
                <a:close/>
              </a:path>
            </a:pathLst>
          </a:custGeom>
          <a:gradFill flip="none" rotWithShape="1">
            <a:gsLst>
              <a:gs pos="32000">
                <a:schemeClr val="accent1">
                  <a:lumMod val="60000"/>
                  <a:lumOff val="40000"/>
                </a:schemeClr>
              </a:gs>
              <a:gs pos="0">
                <a:schemeClr val="accent1">
                  <a:lumMod val="40000"/>
                  <a:lumOff val="60000"/>
                </a:schemeClr>
              </a:gs>
            </a:gsLst>
            <a:lin ang="540000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222222"/>
              </a:solidFill>
              <a:effectLst/>
              <a:uLnTx/>
              <a:uFillTx/>
              <a:latin typeface="Inter"/>
              <a:cs typeface="+mn-cs"/>
            </a:endParaRPr>
          </a:p>
        </p:txBody>
      </p:sp>
      <p:sp>
        <p:nvSpPr>
          <p:cNvPr id="15" name="Freeform 7">
            <a:extLst>
              <a:ext uri="{FF2B5EF4-FFF2-40B4-BE49-F238E27FC236}">
                <a16:creationId xmlns:a16="http://schemas.microsoft.com/office/drawing/2014/main" id="{8DBB55BB-3A56-406D-BD99-BD8F383D1AC8}"/>
              </a:ext>
            </a:extLst>
          </p:cNvPr>
          <p:cNvSpPr>
            <a:spLocks/>
          </p:cNvSpPr>
          <p:nvPr/>
        </p:nvSpPr>
        <p:spPr bwMode="auto">
          <a:xfrm rot="5400000">
            <a:off x="2560174" y="3964850"/>
            <a:ext cx="2061341" cy="1311166"/>
          </a:xfrm>
          <a:custGeom>
            <a:avLst/>
            <a:gdLst>
              <a:gd name="T0" fmla="*/ 0 w 995"/>
              <a:gd name="T1" fmla="*/ 0 h 633"/>
              <a:gd name="T2" fmla="*/ 0 w 995"/>
              <a:gd name="T3" fmla="*/ 396233 h 633"/>
              <a:gd name="T4" fmla="*/ 1691519 w 995"/>
              <a:gd name="T5" fmla="*/ 1466756 h 633"/>
              <a:gd name="T6" fmla="*/ 2305563 w 995"/>
              <a:gd name="T7" fmla="*/ 1466756 h 633"/>
              <a:gd name="T8" fmla="*/ 0 w 995"/>
              <a:gd name="T9" fmla="*/ 0 h 633"/>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995" h="633">
                <a:moveTo>
                  <a:pt x="0" y="0"/>
                </a:moveTo>
                <a:lnTo>
                  <a:pt x="0" y="171"/>
                </a:lnTo>
                <a:lnTo>
                  <a:pt x="730" y="633"/>
                </a:lnTo>
                <a:lnTo>
                  <a:pt x="995" y="633"/>
                </a:lnTo>
                <a:lnTo>
                  <a:pt x="0" y="0"/>
                </a:lnTo>
                <a:close/>
              </a:path>
            </a:pathLst>
          </a:custGeom>
          <a:gradFill flip="none" rotWithShape="1">
            <a:gsLst>
              <a:gs pos="32000">
                <a:schemeClr val="accent1">
                  <a:lumMod val="60000"/>
                  <a:lumOff val="40000"/>
                </a:schemeClr>
              </a:gs>
              <a:gs pos="0">
                <a:schemeClr val="accent1">
                  <a:lumMod val="40000"/>
                  <a:lumOff val="60000"/>
                </a:schemeClr>
              </a:gs>
            </a:gsLst>
            <a:lin ang="540000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222222"/>
              </a:solidFill>
              <a:effectLst/>
              <a:uLnTx/>
              <a:uFillTx/>
              <a:latin typeface="Inter"/>
              <a:cs typeface="+mn-cs"/>
            </a:endParaRPr>
          </a:p>
        </p:txBody>
      </p:sp>
      <p:sp>
        <p:nvSpPr>
          <p:cNvPr id="10" name="Freeform 13">
            <a:extLst>
              <a:ext uri="{FF2B5EF4-FFF2-40B4-BE49-F238E27FC236}">
                <a16:creationId xmlns:a16="http://schemas.microsoft.com/office/drawing/2014/main" id="{960AFC4A-B716-4272-8858-7E9E58176F49}"/>
              </a:ext>
            </a:extLst>
          </p:cNvPr>
          <p:cNvSpPr>
            <a:spLocks/>
          </p:cNvSpPr>
          <p:nvPr/>
        </p:nvSpPr>
        <p:spPr bwMode="auto">
          <a:xfrm rot="5400000">
            <a:off x="904229" y="2870514"/>
            <a:ext cx="2214252" cy="1433586"/>
          </a:xfrm>
          <a:custGeom>
            <a:avLst/>
            <a:gdLst>
              <a:gd name="T0" fmla="*/ 2477032 w 1069"/>
              <a:gd name="T1" fmla="*/ 785514 h 692"/>
              <a:gd name="T2" fmla="*/ 1241992 w 1069"/>
              <a:gd name="T3" fmla="*/ 0 h 692"/>
              <a:gd name="T4" fmla="*/ 1241992 w 1069"/>
              <a:gd name="T5" fmla="*/ 0 h 692"/>
              <a:gd name="T6" fmla="*/ 1241992 w 1069"/>
              <a:gd name="T7" fmla="*/ 0 h 692"/>
              <a:gd name="T8" fmla="*/ 0 w 1069"/>
              <a:gd name="T9" fmla="*/ 785514 h 692"/>
              <a:gd name="T10" fmla="*/ 0 w 1069"/>
              <a:gd name="T11" fmla="*/ 1603468 h 692"/>
              <a:gd name="T12" fmla="*/ 1241992 w 1069"/>
              <a:gd name="T13" fmla="*/ 817954 h 692"/>
              <a:gd name="T14" fmla="*/ 2477032 w 1069"/>
              <a:gd name="T15" fmla="*/ 1603468 h 692"/>
              <a:gd name="T16" fmla="*/ 2477032 w 1069"/>
              <a:gd name="T17" fmla="*/ 785514 h 69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069" h="692">
                <a:moveTo>
                  <a:pt x="1069" y="339"/>
                </a:moveTo>
                <a:lnTo>
                  <a:pt x="536" y="0"/>
                </a:lnTo>
                <a:lnTo>
                  <a:pt x="0" y="339"/>
                </a:lnTo>
                <a:lnTo>
                  <a:pt x="0" y="692"/>
                </a:lnTo>
                <a:lnTo>
                  <a:pt x="536" y="353"/>
                </a:lnTo>
                <a:lnTo>
                  <a:pt x="1069" y="692"/>
                </a:lnTo>
                <a:lnTo>
                  <a:pt x="1069" y="339"/>
                </a:lnTo>
                <a:close/>
              </a:path>
            </a:pathLst>
          </a:custGeom>
          <a:gradFill flip="none" rotWithShape="1">
            <a:gsLst>
              <a:gs pos="73000">
                <a:schemeClr val="accent1"/>
              </a:gs>
              <a:gs pos="31000">
                <a:schemeClr val="accent1">
                  <a:lumMod val="60000"/>
                  <a:lumOff val="40000"/>
                </a:schemeClr>
              </a:gs>
              <a:gs pos="0">
                <a:schemeClr val="accent1">
                  <a:lumMod val="40000"/>
                  <a:lumOff val="60000"/>
                </a:schemeClr>
              </a:gs>
            </a:gsLst>
            <a:lin ang="540000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222222"/>
              </a:solidFill>
              <a:effectLst/>
              <a:uLnTx/>
              <a:uFillTx/>
              <a:latin typeface="Inter"/>
              <a:cs typeface="+mn-cs"/>
            </a:endParaRPr>
          </a:p>
        </p:txBody>
      </p:sp>
      <p:sp>
        <p:nvSpPr>
          <p:cNvPr id="11" name="Freeform 14">
            <a:extLst>
              <a:ext uri="{FF2B5EF4-FFF2-40B4-BE49-F238E27FC236}">
                <a16:creationId xmlns:a16="http://schemas.microsoft.com/office/drawing/2014/main" id="{8E957011-A00C-46E1-8A86-73B279F6B50A}"/>
              </a:ext>
            </a:extLst>
          </p:cNvPr>
          <p:cNvSpPr>
            <a:spLocks/>
          </p:cNvSpPr>
          <p:nvPr/>
        </p:nvSpPr>
        <p:spPr bwMode="auto">
          <a:xfrm rot="5400000">
            <a:off x="1090590" y="2684151"/>
            <a:ext cx="1110233" cy="702292"/>
          </a:xfrm>
          <a:custGeom>
            <a:avLst/>
            <a:gdLst>
              <a:gd name="T0" fmla="*/ 1241992 w 536"/>
              <a:gd name="T1" fmla="*/ 208544 h 339"/>
              <a:gd name="T2" fmla="*/ 1241992 w 536"/>
              <a:gd name="T3" fmla="*/ 0 h 339"/>
              <a:gd name="T4" fmla="*/ 0 w 536"/>
              <a:gd name="T5" fmla="*/ 785514 h 339"/>
              <a:gd name="T6" fmla="*/ 335987 w 536"/>
              <a:gd name="T7" fmla="*/ 785514 h 339"/>
              <a:gd name="T8" fmla="*/ 1241992 w 536"/>
              <a:gd name="T9" fmla="*/ 208544 h 33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36" h="339">
                <a:moveTo>
                  <a:pt x="536" y="90"/>
                </a:moveTo>
                <a:lnTo>
                  <a:pt x="536" y="0"/>
                </a:lnTo>
                <a:lnTo>
                  <a:pt x="0" y="339"/>
                </a:lnTo>
                <a:lnTo>
                  <a:pt x="145" y="339"/>
                </a:lnTo>
                <a:lnTo>
                  <a:pt x="536" y="90"/>
                </a:lnTo>
                <a:close/>
              </a:path>
            </a:pathLst>
          </a:custGeom>
          <a:gradFill flip="none" rotWithShape="1">
            <a:gsLst>
              <a:gs pos="32000">
                <a:schemeClr val="accent1">
                  <a:lumMod val="60000"/>
                  <a:lumOff val="40000"/>
                </a:schemeClr>
              </a:gs>
              <a:gs pos="0">
                <a:schemeClr val="accent1">
                  <a:lumMod val="40000"/>
                  <a:lumOff val="60000"/>
                </a:schemeClr>
              </a:gs>
            </a:gsLst>
            <a:lin ang="540000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222222"/>
              </a:solidFill>
              <a:effectLst/>
              <a:uLnTx/>
              <a:uFillTx/>
              <a:latin typeface="Inter"/>
              <a:cs typeface="+mn-cs"/>
            </a:endParaRPr>
          </a:p>
        </p:txBody>
      </p:sp>
      <p:sp>
        <p:nvSpPr>
          <p:cNvPr id="12" name="Freeform 15">
            <a:extLst>
              <a:ext uri="{FF2B5EF4-FFF2-40B4-BE49-F238E27FC236}">
                <a16:creationId xmlns:a16="http://schemas.microsoft.com/office/drawing/2014/main" id="{3F545F60-D18F-4FF6-8B43-31F6AEF26D61}"/>
              </a:ext>
            </a:extLst>
          </p:cNvPr>
          <p:cNvSpPr>
            <a:spLocks/>
          </p:cNvSpPr>
          <p:nvPr/>
        </p:nvSpPr>
        <p:spPr bwMode="auto">
          <a:xfrm rot="5400000">
            <a:off x="1093697" y="3791277"/>
            <a:ext cx="1104019" cy="702292"/>
          </a:xfrm>
          <a:custGeom>
            <a:avLst/>
            <a:gdLst>
              <a:gd name="T0" fmla="*/ 0 w 533"/>
              <a:gd name="T1" fmla="*/ 208544 h 339"/>
              <a:gd name="T2" fmla="*/ 906005 w 533"/>
              <a:gd name="T3" fmla="*/ 785514 h 339"/>
              <a:gd name="T4" fmla="*/ 1235040 w 533"/>
              <a:gd name="T5" fmla="*/ 785514 h 339"/>
              <a:gd name="T6" fmla="*/ 0 w 533"/>
              <a:gd name="T7" fmla="*/ 0 h 339"/>
              <a:gd name="T8" fmla="*/ 0 w 533"/>
              <a:gd name="T9" fmla="*/ 208544 h 33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33" h="339">
                <a:moveTo>
                  <a:pt x="0" y="90"/>
                </a:moveTo>
                <a:lnTo>
                  <a:pt x="391" y="339"/>
                </a:lnTo>
                <a:lnTo>
                  <a:pt x="533" y="339"/>
                </a:lnTo>
                <a:lnTo>
                  <a:pt x="0" y="0"/>
                </a:lnTo>
                <a:lnTo>
                  <a:pt x="0" y="90"/>
                </a:lnTo>
                <a:close/>
              </a:path>
            </a:pathLst>
          </a:custGeom>
          <a:gradFill flip="none" rotWithShape="1">
            <a:gsLst>
              <a:gs pos="32000">
                <a:schemeClr val="accent1">
                  <a:lumMod val="60000"/>
                  <a:lumOff val="40000"/>
                </a:schemeClr>
              </a:gs>
              <a:gs pos="0">
                <a:schemeClr val="accent1">
                  <a:lumMod val="40000"/>
                  <a:lumOff val="60000"/>
                </a:schemeClr>
              </a:gs>
            </a:gsLst>
            <a:lin ang="540000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222222"/>
              </a:solidFill>
              <a:effectLst/>
              <a:uLnTx/>
              <a:uFillTx/>
              <a:latin typeface="Inter"/>
              <a:cs typeface="+mn-cs"/>
            </a:endParaRPr>
          </a:p>
        </p:txBody>
      </p:sp>
      <p:sp>
        <p:nvSpPr>
          <p:cNvPr id="4" name="Freeform 24">
            <a:extLst>
              <a:ext uri="{FF2B5EF4-FFF2-40B4-BE49-F238E27FC236}">
                <a16:creationId xmlns:a16="http://schemas.microsoft.com/office/drawing/2014/main" id="{61863E94-A311-4FF2-AF01-0A83D123E724}"/>
              </a:ext>
            </a:extLst>
          </p:cNvPr>
          <p:cNvSpPr>
            <a:spLocks noEditPoints="1"/>
          </p:cNvSpPr>
          <p:nvPr/>
        </p:nvSpPr>
        <p:spPr bwMode="auto">
          <a:xfrm>
            <a:off x="4472761" y="3351347"/>
            <a:ext cx="464592" cy="412508"/>
          </a:xfrm>
          <a:custGeom>
            <a:avLst/>
            <a:gdLst>
              <a:gd name="T0" fmla="*/ 181 w 208"/>
              <a:gd name="T1" fmla="*/ 40 h 184"/>
              <a:gd name="T2" fmla="*/ 163 w 208"/>
              <a:gd name="T3" fmla="*/ 40 h 184"/>
              <a:gd name="T4" fmla="*/ 143 w 208"/>
              <a:gd name="T5" fmla="*/ 24 h 184"/>
              <a:gd name="T6" fmla="*/ 115 w 208"/>
              <a:gd name="T7" fmla="*/ 0 h 184"/>
              <a:gd name="T8" fmla="*/ 93 w 208"/>
              <a:gd name="T9" fmla="*/ 0 h 184"/>
              <a:gd name="T10" fmla="*/ 65 w 208"/>
              <a:gd name="T11" fmla="*/ 24 h 184"/>
              <a:gd name="T12" fmla="*/ 45 w 208"/>
              <a:gd name="T13" fmla="*/ 40 h 184"/>
              <a:gd name="T14" fmla="*/ 27 w 208"/>
              <a:gd name="T15" fmla="*/ 40 h 184"/>
              <a:gd name="T16" fmla="*/ 0 w 208"/>
              <a:gd name="T17" fmla="*/ 68 h 184"/>
              <a:gd name="T18" fmla="*/ 0 w 208"/>
              <a:gd name="T19" fmla="*/ 156 h 184"/>
              <a:gd name="T20" fmla="*/ 27 w 208"/>
              <a:gd name="T21" fmla="*/ 184 h 184"/>
              <a:gd name="T22" fmla="*/ 181 w 208"/>
              <a:gd name="T23" fmla="*/ 184 h 184"/>
              <a:gd name="T24" fmla="*/ 208 w 208"/>
              <a:gd name="T25" fmla="*/ 156 h 184"/>
              <a:gd name="T26" fmla="*/ 208 w 208"/>
              <a:gd name="T27" fmla="*/ 68 h 184"/>
              <a:gd name="T28" fmla="*/ 181 w 208"/>
              <a:gd name="T29" fmla="*/ 40 h 184"/>
              <a:gd name="T30" fmla="*/ 73 w 208"/>
              <a:gd name="T31" fmla="*/ 24 h 184"/>
              <a:gd name="T32" fmla="*/ 93 w 208"/>
              <a:gd name="T33" fmla="*/ 8 h 184"/>
              <a:gd name="T34" fmla="*/ 115 w 208"/>
              <a:gd name="T35" fmla="*/ 8 h 184"/>
              <a:gd name="T36" fmla="*/ 135 w 208"/>
              <a:gd name="T37" fmla="*/ 24 h 184"/>
              <a:gd name="T38" fmla="*/ 143 w 208"/>
              <a:gd name="T39" fmla="*/ 40 h 184"/>
              <a:gd name="T40" fmla="*/ 65 w 208"/>
              <a:gd name="T41" fmla="*/ 40 h 184"/>
              <a:gd name="T42" fmla="*/ 73 w 208"/>
              <a:gd name="T43" fmla="*/ 24 h 184"/>
              <a:gd name="T44" fmla="*/ 200 w 208"/>
              <a:gd name="T45" fmla="*/ 156 h 184"/>
              <a:gd name="T46" fmla="*/ 181 w 208"/>
              <a:gd name="T47" fmla="*/ 176 h 184"/>
              <a:gd name="T48" fmla="*/ 27 w 208"/>
              <a:gd name="T49" fmla="*/ 176 h 184"/>
              <a:gd name="T50" fmla="*/ 8 w 208"/>
              <a:gd name="T51" fmla="*/ 156 h 184"/>
              <a:gd name="T52" fmla="*/ 8 w 208"/>
              <a:gd name="T53" fmla="*/ 68 h 184"/>
              <a:gd name="T54" fmla="*/ 27 w 208"/>
              <a:gd name="T55" fmla="*/ 48 h 184"/>
              <a:gd name="T56" fmla="*/ 45 w 208"/>
              <a:gd name="T57" fmla="*/ 48 h 184"/>
              <a:gd name="T58" fmla="*/ 52 w 208"/>
              <a:gd name="T59" fmla="*/ 47 h 184"/>
              <a:gd name="T60" fmla="*/ 52 w 208"/>
              <a:gd name="T61" fmla="*/ 48 h 184"/>
              <a:gd name="T62" fmla="*/ 152 w 208"/>
              <a:gd name="T63" fmla="*/ 48 h 184"/>
              <a:gd name="T64" fmla="*/ 152 w 208"/>
              <a:gd name="T65" fmla="*/ 46 h 184"/>
              <a:gd name="T66" fmla="*/ 163 w 208"/>
              <a:gd name="T67" fmla="*/ 48 h 184"/>
              <a:gd name="T68" fmla="*/ 181 w 208"/>
              <a:gd name="T69" fmla="*/ 48 h 184"/>
              <a:gd name="T70" fmla="*/ 200 w 208"/>
              <a:gd name="T71" fmla="*/ 68 h 184"/>
              <a:gd name="T72" fmla="*/ 200 w 208"/>
              <a:gd name="T73" fmla="*/ 156 h 184"/>
              <a:gd name="T74" fmla="*/ 120 w 208"/>
              <a:gd name="T75" fmla="*/ 72 h 184"/>
              <a:gd name="T76" fmla="*/ 88 w 208"/>
              <a:gd name="T77" fmla="*/ 72 h 184"/>
              <a:gd name="T78" fmla="*/ 88 w 208"/>
              <a:gd name="T79" fmla="*/ 96 h 184"/>
              <a:gd name="T80" fmla="*/ 64 w 208"/>
              <a:gd name="T81" fmla="*/ 96 h 184"/>
              <a:gd name="T82" fmla="*/ 64 w 208"/>
              <a:gd name="T83" fmla="*/ 128 h 184"/>
              <a:gd name="T84" fmla="*/ 88 w 208"/>
              <a:gd name="T85" fmla="*/ 128 h 184"/>
              <a:gd name="T86" fmla="*/ 88 w 208"/>
              <a:gd name="T87" fmla="*/ 152 h 184"/>
              <a:gd name="T88" fmla="*/ 120 w 208"/>
              <a:gd name="T89" fmla="*/ 152 h 184"/>
              <a:gd name="T90" fmla="*/ 120 w 208"/>
              <a:gd name="T91" fmla="*/ 128 h 184"/>
              <a:gd name="T92" fmla="*/ 144 w 208"/>
              <a:gd name="T93" fmla="*/ 128 h 184"/>
              <a:gd name="T94" fmla="*/ 144 w 208"/>
              <a:gd name="T95" fmla="*/ 96 h 184"/>
              <a:gd name="T96" fmla="*/ 120 w 208"/>
              <a:gd name="T97" fmla="*/ 96 h 184"/>
              <a:gd name="T98" fmla="*/ 120 w 208"/>
              <a:gd name="T99" fmla="*/ 72 h 184"/>
              <a:gd name="T100" fmla="*/ 136 w 208"/>
              <a:gd name="T101" fmla="*/ 104 h 184"/>
              <a:gd name="T102" fmla="*/ 136 w 208"/>
              <a:gd name="T103" fmla="*/ 120 h 184"/>
              <a:gd name="T104" fmla="*/ 112 w 208"/>
              <a:gd name="T105" fmla="*/ 120 h 184"/>
              <a:gd name="T106" fmla="*/ 112 w 208"/>
              <a:gd name="T107" fmla="*/ 144 h 184"/>
              <a:gd name="T108" fmla="*/ 96 w 208"/>
              <a:gd name="T109" fmla="*/ 144 h 184"/>
              <a:gd name="T110" fmla="*/ 96 w 208"/>
              <a:gd name="T111" fmla="*/ 120 h 184"/>
              <a:gd name="T112" fmla="*/ 72 w 208"/>
              <a:gd name="T113" fmla="*/ 120 h 184"/>
              <a:gd name="T114" fmla="*/ 72 w 208"/>
              <a:gd name="T115" fmla="*/ 104 h 184"/>
              <a:gd name="T116" fmla="*/ 96 w 208"/>
              <a:gd name="T117" fmla="*/ 104 h 184"/>
              <a:gd name="T118" fmla="*/ 96 w 208"/>
              <a:gd name="T119" fmla="*/ 80 h 184"/>
              <a:gd name="T120" fmla="*/ 112 w 208"/>
              <a:gd name="T121" fmla="*/ 80 h 184"/>
              <a:gd name="T122" fmla="*/ 112 w 208"/>
              <a:gd name="T123" fmla="*/ 104 h 184"/>
              <a:gd name="T124" fmla="*/ 136 w 208"/>
              <a:gd name="T125" fmla="*/ 104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8" h="184">
                <a:moveTo>
                  <a:pt x="181" y="40"/>
                </a:moveTo>
                <a:cubicBezTo>
                  <a:pt x="163" y="40"/>
                  <a:pt x="163" y="40"/>
                  <a:pt x="163" y="40"/>
                </a:cubicBezTo>
                <a:cubicBezTo>
                  <a:pt x="152" y="40"/>
                  <a:pt x="143" y="33"/>
                  <a:pt x="143" y="24"/>
                </a:cubicBezTo>
                <a:cubicBezTo>
                  <a:pt x="143" y="11"/>
                  <a:pt x="130" y="0"/>
                  <a:pt x="115" y="0"/>
                </a:cubicBezTo>
                <a:cubicBezTo>
                  <a:pt x="93" y="0"/>
                  <a:pt x="93" y="0"/>
                  <a:pt x="93" y="0"/>
                </a:cubicBezTo>
                <a:cubicBezTo>
                  <a:pt x="78" y="0"/>
                  <a:pt x="65" y="11"/>
                  <a:pt x="65" y="24"/>
                </a:cubicBezTo>
                <a:cubicBezTo>
                  <a:pt x="65" y="33"/>
                  <a:pt x="56" y="40"/>
                  <a:pt x="45" y="40"/>
                </a:cubicBezTo>
                <a:cubicBezTo>
                  <a:pt x="27" y="40"/>
                  <a:pt x="27" y="40"/>
                  <a:pt x="27" y="40"/>
                </a:cubicBezTo>
                <a:cubicBezTo>
                  <a:pt x="12" y="40"/>
                  <a:pt x="0" y="52"/>
                  <a:pt x="0" y="68"/>
                </a:cubicBezTo>
                <a:cubicBezTo>
                  <a:pt x="0" y="156"/>
                  <a:pt x="0" y="156"/>
                  <a:pt x="0" y="156"/>
                </a:cubicBezTo>
                <a:cubicBezTo>
                  <a:pt x="0" y="172"/>
                  <a:pt x="12" y="184"/>
                  <a:pt x="27" y="184"/>
                </a:cubicBezTo>
                <a:cubicBezTo>
                  <a:pt x="181" y="184"/>
                  <a:pt x="181" y="184"/>
                  <a:pt x="181" y="184"/>
                </a:cubicBezTo>
                <a:cubicBezTo>
                  <a:pt x="196" y="184"/>
                  <a:pt x="208" y="172"/>
                  <a:pt x="208" y="156"/>
                </a:cubicBezTo>
                <a:cubicBezTo>
                  <a:pt x="208" y="68"/>
                  <a:pt x="208" y="68"/>
                  <a:pt x="208" y="68"/>
                </a:cubicBezTo>
                <a:cubicBezTo>
                  <a:pt x="208" y="52"/>
                  <a:pt x="197" y="40"/>
                  <a:pt x="181" y="40"/>
                </a:cubicBezTo>
                <a:close/>
                <a:moveTo>
                  <a:pt x="73" y="24"/>
                </a:moveTo>
                <a:cubicBezTo>
                  <a:pt x="73" y="15"/>
                  <a:pt x="82" y="8"/>
                  <a:pt x="93" y="8"/>
                </a:cubicBezTo>
                <a:cubicBezTo>
                  <a:pt x="115" y="8"/>
                  <a:pt x="115" y="8"/>
                  <a:pt x="115" y="8"/>
                </a:cubicBezTo>
                <a:cubicBezTo>
                  <a:pt x="126" y="8"/>
                  <a:pt x="135" y="15"/>
                  <a:pt x="135" y="24"/>
                </a:cubicBezTo>
                <a:cubicBezTo>
                  <a:pt x="135" y="30"/>
                  <a:pt x="138" y="36"/>
                  <a:pt x="143" y="40"/>
                </a:cubicBezTo>
                <a:cubicBezTo>
                  <a:pt x="65" y="40"/>
                  <a:pt x="65" y="40"/>
                  <a:pt x="65" y="40"/>
                </a:cubicBezTo>
                <a:cubicBezTo>
                  <a:pt x="70" y="36"/>
                  <a:pt x="73" y="30"/>
                  <a:pt x="73" y="24"/>
                </a:cubicBezTo>
                <a:close/>
                <a:moveTo>
                  <a:pt x="200" y="156"/>
                </a:moveTo>
                <a:cubicBezTo>
                  <a:pt x="200" y="167"/>
                  <a:pt x="192" y="176"/>
                  <a:pt x="181" y="176"/>
                </a:cubicBezTo>
                <a:cubicBezTo>
                  <a:pt x="27" y="176"/>
                  <a:pt x="27" y="176"/>
                  <a:pt x="27" y="176"/>
                </a:cubicBezTo>
                <a:cubicBezTo>
                  <a:pt x="16" y="176"/>
                  <a:pt x="8" y="167"/>
                  <a:pt x="8" y="156"/>
                </a:cubicBezTo>
                <a:cubicBezTo>
                  <a:pt x="8" y="68"/>
                  <a:pt x="8" y="68"/>
                  <a:pt x="8" y="68"/>
                </a:cubicBezTo>
                <a:cubicBezTo>
                  <a:pt x="8" y="56"/>
                  <a:pt x="16" y="48"/>
                  <a:pt x="27" y="48"/>
                </a:cubicBezTo>
                <a:cubicBezTo>
                  <a:pt x="45" y="48"/>
                  <a:pt x="45" y="48"/>
                  <a:pt x="45" y="48"/>
                </a:cubicBezTo>
                <a:cubicBezTo>
                  <a:pt x="47" y="48"/>
                  <a:pt x="50" y="48"/>
                  <a:pt x="52" y="47"/>
                </a:cubicBezTo>
                <a:cubicBezTo>
                  <a:pt x="52" y="48"/>
                  <a:pt x="52" y="48"/>
                  <a:pt x="52" y="48"/>
                </a:cubicBezTo>
                <a:cubicBezTo>
                  <a:pt x="152" y="48"/>
                  <a:pt x="152" y="48"/>
                  <a:pt x="152" y="48"/>
                </a:cubicBezTo>
                <a:cubicBezTo>
                  <a:pt x="152" y="46"/>
                  <a:pt x="152" y="46"/>
                  <a:pt x="152" y="46"/>
                </a:cubicBezTo>
                <a:cubicBezTo>
                  <a:pt x="155" y="47"/>
                  <a:pt x="159" y="48"/>
                  <a:pt x="163" y="48"/>
                </a:cubicBezTo>
                <a:cubicBezTo>
                  <a:pt x="181" y="48"/>
                  <a:pt x="181" y="48"/>
                  <a:pt x="181" y="48"/>
                </a:cubicBezTo>
                <a:cubicBezTo>
                  <a:pt x="192" y="48"/>
                  <a:pt x="200" y="56"/>
                  <a:pt x="200" y="68"/>
                </a:cubicBezTo>
                <a:lnTo>
                  <a:pt x="200" y="156"/>
                </a:lnTo>
                <a:close/>
                <a:moveTo>
                  <a:pt x="120" y="72"/>
                </a:moveTo>
                <a:cubicBezTo>
                  <a:pt x="88" y="72"/>
                  <a:pt x="88" y="72"/>
                  <a:pt x="88" y="72"/>
                </a:cubicBezTo>
                <a:cubicBezTo>
                  <a:pt x="88" y="96"/>
                  <a:pt x="88" y="96"/>
                  <a:pt x="88" y="96"/>
                </a:cubicBezTo>
                <a:cubicBezTo>
                  <a:pt x="64" y="96"/>
                  <a:pt x="64" y="96"/>
                  <a:pt x="64" y="96"/>
                </a:cubicBezTo>
                <a:cubicBezTo>
                  <a:pt x="64" y="128"/>
                  <a:pt x="64" y="128"/>
                  <a:pt x="64" y="128"/>
                </a:cubicBezTo>
                <a:cubicBezTo>
                  <a:pt x="88" y="128"/>
                  <a:pt x="88" y="128"/>
                  <a:pt x="88" y="128"/>
                </a:cubicBezTo>
                <a:cubicBezTo>
                  <a:pt x="88" y="152"/>
                  <a:pt x="88" y="152"/>
                  <a:pt x="88" y="152"/>
                </a:cubicBezTo>
                <a:cubicBezTo>
                  <a:pt x="120" y="152"/>
                  <a:pt x="120" y="152"/>
                  <a:pt x="120" y="152"/>
                </a:cubicBezTo>
                <a:cubicBezTo>
                  <a:pt x="120" y="128"/>
                  <a:pt x="120" y="128"/>
                  <a:pt x="120" y="128"/>
                </a:cubicBezTo>
                <a:cubicBezTo>
                  <a:pt x="144" y="128"/>
                  <a:pt x="144" y="128"/>
                  <a:pt x="144" y="128"/>
                </a:cubicBezTo>
                <a:cubicBezTo>
                  <a:pt x="144" y="96"/>
                  <a:pt x="144" y="96"/>
                  <a:pt x="144" y="96"/>
                </a:cubicBezTo>
                <a:cubicBezTo>
                  <a:pt x="120" y="96"/>
                  <a:pt x="120" y="96"/>
                  <a:pt x="120" y="96"/>
                </a:cubicBezTo>
                <a:lnTo>
                  <a:pt x="120" y="72"/>
                </a:lnTo>
                <a:close/>
                <a:moveTo>
                  <a:pt x="136" y="104"/>
                </a:moveTo>
                <a:cubicBezTo>
                  <a:pt x="136" y="120"/>
                  <a:pt x="136" y="120"/>
                  <a:pt x="136" y="120"/>
                </a:cubicBezTo>
                <a:cubicBezTo>
                  <a:pt x="112" y="120"/>
                  <a:pt x="112" y="120"/>
                  <a:pt x="112" y="120"/>
                </a:cubicBezTo>
                <a:cubicBezTo>
                  <a:pt x="112" y="144"/>
                  <a:pt x="112" y="144"/>
                  <a:pt x="112" y="144"/>
                </a:cubicBezTo>
                <a:cubicBezTo>
                  <a:pt x="96" y="144"/>
                  <a:pt x="96" y="144"/>
                  <a:pt x="96" y="144"/>
                </a:cubicBezTo>
                <a:cubicBezTo>
                  <a:pt x="96" y="120"/>
                  <a:pt x="96" y="120"/>
                  <a:pt x="96" y="120"/>
                </a:cubicBezTo>
                <a:cubicBezTo>
                  <a:pt x="72" y="120"/>
                  <a:pt x="72" y="120"/>
                  <a:pt x="72" y="120"/>
                </a:cubicBezTo>
                <a:cubicBezTo>
                  <a:pt x="72" y="104"/>
                  <a:pt x="72" y="104"/>
                  <a:pt x="72" y="104"/>
                </a:cubicBezTo>
                <a:cubicBezTo>
                  <a:pt x="96" y="104"/>
                  <a:pt x="96" y="104"/>
                  <a:pt x="96" y="104"/>
                </a:cubicBezTo>
                <a:cubicBezTo>
                  <a:pt x="96" y="80"/>
                  <a:pt x="96" y="80"/>
                  <a:pt x="96" y="80"/>
                </a:cubicBezTo>
                <a:cubicBezTo>
                  <a:pt x="112" y="80"/>
                  <a:pt x="112" y="80"/>
                  <a:pt x="112" y="80"/>
                </a:cubicBezTo>
                <a:cubicBezTo>
                  <a:pt x="112" y="104"/>
                  <a:pt x="112" y="104"/>
                  <a:pt x="112" y="104"/>
                </a:cubicBezTo>
                <a:lnTo>
                  <a:pt x="136" y="10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armonyOS Sans SC"/>
              <a:cs typeface="+mn-cs"/>
            </a:endParaRPr>
          </a:p>
        </p:txBody>
      </p:sp>
      <p:sp>
        <p:nvSpPr>
          <p:cNvPr id="5" name="Freeform 44">
            <a:extLst>
              <a:ext uri="{FF2B5EF4-FFF2-40B4-BE49-F238E27FC236}">
                <a16:creationId xmlns:a16="http://schemas.microsoft.com/office/drawing/2014/main" id="{52B9942B-DF40-4FCF-B639-D0AAF4EABBC0}"/>
              </a:ext>
            </a:extLst>
          </p:cNvPr>
          <p:cNvSpPr>
            <a:spLocks noEditPoints="1"/>
          </p:cNvSpPr>
          <p:nvPr/>
        </p:nvSpPr>
        <p:spPr bwMode="auto">
          <a:xfrm>
            <a:off x="2091042" y="3364889"/>
            <a:ext cx="412508" cy="385422"/>
          </a:xfrm>
          <a:custGeom>
            <a:avLst/>
            <a:gdLst>
              <a:gd name="T0" fmla="*/ 169 w 184"/>
              <a:gd name="T1" fmla="*/ 87 h 172"/>
              <a:gd name="T2" fmla="*/ 143 w 184"/>
              <a:gd name="T3" fmla="*/ 73 h 172"/>
              <a:gd name="T4" fmla="*/ 148 w 184"/>
              <a:gd name="T5" fmla="*/ 69 h 172"/>
              <a:gd name="T6" fmla="*/ 159 w 184"/>
              <a:gd name="T7" fmla="*/ 40 h 172"/>
              <a:gd name="T8" fmla="*/ 148 w 184"/>
              <a:gd name="T9" fmla="*/ 12 h 172"/>
              <a:gd name="T10" fmla="*/ 119 w 184"/>
              <a:gd name="T11" fmla="*/ 0 h 172"/>
              <a:gd name="T12" fmla="*/ 91 w 184"/>
              <a:gd name="T13" fmla="*/ 12 h 172"/>
              <a:gd name="T14" fmla="*/ 12 w 184"/>
              <a:gd name="T15" fmla="*/ 91 h 172"/>
              <a:gd name="T16" fmla="*/ 0 w 184"/>
              <a:gd name="T17" fmla="*/ 120 h 172"/>
              <a:gd name="T18" fmla="*/ 12 w 184"/>
              <a:gd name="T19" fmla="*/ 148 h 172"/>
              <a:gd name="T20" fmla="*/ 40 w 184"/>
              <a:gd name="T21" fmla="*/ 160 h 172"/>
              <a:gd name="T22" fmla="*/ 68 w 184"/>
              <a:gd name="T23" fmla="*/ 148 h 172"/>
              <a:gd name="T24" fmla="*/ 85 w 184"/>
              <a:gd name="T25" fmla="*/ 132 h 172"/>
              <a:gd name="T26" fmla="*/ 98 w 184"/>
              <a:gd name="T27" fmla="*/ 157 h 172"/>
              <a:gd name="T28" fmla="*/ 134 w 184"/>
              <a:gd name="T29" fmla="*/ 172 h 172"/>
              <a:gd name="T30" fmla="*/ 169 w 184"/>
              <a:gd name="T31" fmla="*/ 157 h 172"/>
              <a:gd name="T32" fmla="*/ 184 w 184"/>
              <a:gd name="T33" fmla="*/ 122 h 172"/>
              <a:gd name="T34" fmla="*/ 169 w 184"/>
              <a:gd name="T35" fmla="*/ 87 h 172"/>
              <a:gd name="T36" fmla="*/ 97 w 184"/>
              <a:gd name="T37" fmla="*/ 18 h 172"/>
              <a:gd name="T38" fmla="*/ 119 w 184"/>
              <a:gd name="T39" fmla="*/ 8 h 172"/>
              <a:gd name="T40" fmla="*/ 142 w 184"/>
              <a:gd name="T41" fmla="*/ 18 h 172"/>
              <a:gd name="T42" fmla="*/ 151 w 184"/>
              <a:gd name="T43" fmla="*/ 40 h 172"/>
              <a:gd name="T44" fmla="*/ 142 w 184"/>
              <a:gd name="T45" fmla="*/ 63 h 172"/>
              <a:gd name="T46" fmla="*/ 133 w 184"/>
              <a:gd name="T47" fmla="*/ 72 h 172"/>
              <a:gd name="T48" fmla="*/ 98 w 184"/>
              <a:gd name="T49" fmla="*/ 87 h 172"/>
              <a:gd name="T50" fmla="*/ 94 w 184"/>
              <a:gd name="T51" fmla="*/ 92 h 172"/>
              <a:gd name="T52" fmla="*/ 57 w 184"/>
              <a:gd name="T53" fmla="*/ 57 h 172"/>
              <a:gd name="T54" fmla="*/ 97 w 184"/>
              <a:gd name="T55" fmla="*/ 18 h 172"/>
              <a:gd name="T56" fmla="*/ 63 w 184"/>
              <a:gd name="T57" fmla="*/ 142 h 172"/>
              <a:gd name="T58" fmla="*/ 17 w 184"/>
              <a:gd name="T59" fmla="*/ 142 h 172"/>
              <a:gd name="T60" fmla="*/ 8 w 184"/>
              <a:gd name="T61" fmla="*/ 120 h 172"/>
              <a:gd name="T62" fmla="*/ 17 w 184"/>
              <a:gd name="T63" fmla="*/ 97 h 172"/>
              <a:gd name="T64" fmla="*/ 51 w 184"/>
              <a:gd name="T65" fmla="*/ 63 h 172"/>
              <a:gd name="T66" fmla="*/ 89 w 184"/>
              <a:gd name="T67" fmla="*/ 99 h 172"/>
              <a:gd name="T68" fmla="*/ 90 w 184"/>
              <a:gd name="T69" fmla="*/ 98 h 172"/>
              <a:gd name="T70" fmla="*/ 84 w 184"/>
              <a:gd name="T71" fmla="*/ 121 h 172"/>
              <a:gd name="T72" fmla="*/ 63 w 184"/>
              <a:gd name="T73" fmla="*/ 142 h 172"/>
              <a:gd name="T74" fmla="*/ 104 w 184"/>
              <a:gd name="T75" fmla="*/ 152 h 172"/>
              <a:gd name="T76" fmla="*/ 100 w 184"/>
              <a:gd name="T77" fmla="*/ 97 h 172"/>
              <a:gd name="T78" fmla="*/ 159 w 184"/>
              <a:gd name="T79" fmla="*/ 156 h 172"/>
              <a:gd name="T80" fmla="*/ 134 w 184"/>
              <a:gd name="T81" fmla="*/ 164 h 172"/>
              <a:gd name="T82" fmla="*/ 104 w 184"/>
              <a:gd name="T83" fmla="*/ 152 h 172"/>
              <a:gd name="T84" fmla="*/ 165 w 184"/>
              <a:gd name="T85" fmla="*/ 150 h 172"/>
              <a:gd name="T86" fmla="*/ 105 w 184"/>
              <a:gd name="T87" fmla="*/ 91 h 172"/>
              <a:gd name="T88" fmla="*/ 134 w 184"/>
              <a:gd name="T89" fmla="*/ 80 h 172"/>
              <a:gd name="T90" fmla="*/ 163 w 184"/>
              <a:gd name="T91" fmla="*/ 92 h 172"/>
              <a:gd name="T92" fmla="*/ 176 w 184"/>
              <a:gd name="T93" fmla="*/ 122 h 172"/>
              <a:gd name="T94" fmla="*/ 165 w 184"/>
              <a:gd name="T95" fmla="*/ 15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4" h="172">
                <a:moveTo>
                  <a:pt x="169" y="87"/>
                </a:moveTo>
                <a:cubicBezTo>
                  <a:pt x="162" y="80"/>
                  <a:pt x="153" y="75"/>
                  <a:pt x="143" y="73"/>
                </a:cubicBezTo>
                <a:cubicBezTo>
                  <a:pt x="148" y="69"/>
                  <a:pt x="148" y="69"/>
                  <a:pt x="148" y="69"/>
                </a:cubicBezTo>
                <a:cubicBezTo>
                  <a:pt x="155" y="61"/>
                  <a:pt x="159" y="51"/>
                  <a:pt x="159" y="40"/>
                </a:cubicBezTo>
                <a:cubicBezTo>
                  <a:pt x="159" y="30"/>
                  <a:pt x="155" y="20"/>
                  <a:pt x="148" y="12"/>
                </a:cubicBezTo>
                <a:cubicBezTo>
                  <a:pt x="140" y="5"/>
                  <a:pt x="130" y="0"/>
                  <a:pt x="119" y="0"/>
                </a:cubicBezTo>
                <a:cubicBezTo>
                  <a:pt x="109" y="0"/>
                  <a:pt x="99" y="5"/>
                  <a:pt x="91" y="12"/>
                </a:cubicBezTo>
                <a:cubicBezTo>
                  <a:pt x="12" y="91"/>
                  <a:pt x="12" y="91"/>
                  <a:pt x="12" y="91"/>
                </a:cubicBezTo>
                <a:cubicBezTo>
                  <a:pt x="4" y="99"/>
                  <a:pt x="0" y="109"/>
                  <a:pt x="0" y="120"/>
                </a:cubicBezTo>
                <a:cubicBezTo>
                  <a:pt x="0" y="130"/>
                  <a:pt x="4" y="140"/>
                  <a:pt x="12" y="148"/>
                </a:cubicBezTo>
                <a:cubicBezTo>
                  <a:pt x="20" y="156"/>
                  <a:pt x="30" y="160"/>
                  <a:pt x="40" y="160"/>
                </a:cubicBezTo>
                <a:cubicBezTo>
                  <a:pt x="50" y="160"/>
                  <a:pt x="61" y="156"/>
                  <a:pt x="68" y="148"/>
                </a:cubicBezTo>
                <a:cubicBezTo>
                  <a:pt x="85" y="132"/>
                  <a:pt x="85" y="132"/>
                  <a:pt x="85" y="132"/>
                </a:cubicBezTo>
                <a:cubicBezTo>
                  <a:pt x="86" y="141"/>
                  <a:pt x="91" y="150"/>
                  <a:pt x="98" y="157"/>
                </a:cubicBezTo>
                <a:cubicBezTo>
                  <a:pt x="108" y="167"/>
                  <a:pt x="120" y="172"/>
                  <a:pt x="134" y="172"/>
                </a:cubicBezTo>
                <a:cubicBezTo>
                  <a:pt x="147" y="172"/>
                  <a:pt x="160" y="167"/>
                  <a:pt x="169" y="157"/>
                </a:cubicBezTo>
                <a:cubicBezTo>
                  <a:pt x="178" y="148"/>
                  <a:pt x="184" y="135"/>
                  <a:pt x="184" y="122"/>
                </a:cubicBezTo>
                <a:cubicBezTo>
                  <a:pt x="184" y="109"/>
                  <a:pt x="178" y="96"/>
                  <a:pt x="169" y="87"/>
                </a:cubicBezTo>
                <a:close/>
                <a:moveTo>
                  <a:pt x="97" y="18"/>
                </a:moveTo>
                <a:cubicBezTo>
                  <a:pt x="103" y="12"/>
                  <a:pt x="111" y="8"/>
                  <a:pt x="119" y="8"/>
                </a:cubicBezTo>
                <a:cubicBezTo>
                  <a:pt x="128" y="8"/>
                  <a:pt x="136" y="12"/>
                  <a:pt x="142" y="18"/>
                </a:cubicBezTo>
                <a:cubicBezTo>
                  <a:pt x="148" y="24"/>
                  <a:pt x="151" y="32"/>
                  <a:pt x="151" y="40"/>
                </a:cubicBezTo>
                <a:cubicBezTo>
                  <a:pt x="151" y="49"/>
                  <a:pt x="148" y="57"/>
                  <a:pt x="142" y="63"/>
                </a:cubicBezTo>
                <a:cubicBezTo>
                  <a:pt x="133" y="72"/>
                  <a:pt x="133" y="72"/>
                  <a:pt x="133" y="72"/>
                </a:cubicBezTo>
                <a:cubicBezTo>
                  <a:pt x="120" y="72"/>
                  <a:pt x="108" y="77"/>
                  <a:pt x="98" y="87"/>
                </a:cubicBezTo>
                <a:cubicBezTo>
                  <a:pt x="97" y="88"/>
                  <a:pt x="95" y="90"/>
                  <a:pt x="94" y="92"/>
                </a:cubicBezTo>
                <a:cubicBezTo>
                  <a:pt x="57" y="57"/>
                  <a:pt x="57" y="57"/>
                  <a:pt x="57" y="57"/>
                </a:cubicBezTo>
                <a:lnTo>
                  <a:pt x="97" y="18"/>
                </a:lnTo>
                <a:close/>
                <a:moveTo>
                  <a:pt x="63" y="142"/>
                </a:moveTo>
                <a:cubicBezTo>
                  <a:pt x="50" y="155"/>
                  <a:pt x="30" y="155"/>
                  <a:pt x="17" y="142"/>
                </a:cubicBezTo>
                <a:cubicBezTo>
                  <a:pt x="11" y="136"/>
                  <a:pt x="8" y="128"/>
                  <a:pt x="8" y="120"/>
                </a:cubicBezTo>
                <a:cubicBezTo>
                  <a:pt x="8" y="111"/>
                  <a:pt x="11" y="103"/>
                  <a:pt x="17" y="97"/>
                </a:cubicBezTo>
                <a:cubicBezTo>
                  <a:pt x="51" y="63"/>
                  <a:pt x="51" y="63"/>
                  <a:pt x="51" y="63"/>
                </a:cubicBezTo>
                <a:cubicBezTo>
                  <a:pt x="89" y="99"/>
                  <a:pt x="89" y="99"/>
                  <a:pt x="89" y="99"/>
                </a:cubicBezTo>
                <a:cubicBezTo>
                  <a:pt x="90" y="98"/>
                  <a:pt x="90" y="98"/>
                  <a:pt x="90" y="98"/>
                </a:cubicBezTo>
                <a:cubicBezTo>
                  <a:pt x="86" y="105"/>
                  <a:pt x="84" y="113"/>
                  <a:pt x="84" y="121"/>
                </a:cubicBezTo>
                <a:lnTo>
                  <a:pt x="63" y="142"/>
                </a:lnTo>
                <a:close/>
                <a:moveTo>
                  <a:pt x="104" y="152"/>
                </a:moveTo>
                <a:cubicBezTo>
                  <a:pt x="89" y="137"/>
                  <a:pt x="88" y="113"/>
                  <a:pt x="100" y="97"/>
                </a:cubicBezTo>
                <a:cubicBezTo>
                  <a:pt x="159" y="156"/>
                  <a:pt x="159" y="156"/>
                  <a:pt x="159" y="156"/>
                </a:cubicBezTo>
                <a:cubicBezTo>
                  <a:pt x="152" y="161"/>
                  <a:pt x="143" y="164"/>
                  <a:pt x="134" y="164"/>
                </a:cubicBezTo>
                <a:cubicBezTo>
                  <a:pt x="122" y="164"/>
                  <a:pt x="112" y="160"/>
                  <a:pt x="104" y="152"/>
                </a:cubicBezTo>
                <a:close/>
                <a:moveTo>
                  <a:pt x="165" y="150"/>
                </a:moveTo>
                <a:cubicBezTo>
                  <a:pt x="105" y="91"/>
                  <a:pt x="105" y="91"/>
                  <a:pt x="105" y="91"/>
                </a:cubicBezTo>
                <a:cubicBezTo>
                  <a:pt x="113" y="84"/>
                  <a:pt x="123" y="80"/>
                  <a:pt x="134" y="80"/>
                </a:cubicBezTo>
                <a:cubicBezTo>
                  <a:pt x="145" y="80"/>
                  <a:pt x="155" y="84"/>
                  <a:pt x="163" y="92"/>
                </a:cubicBezTo>
                <a:cubicBezTo>
                  <a:pt x="171" y="100"/>
                  <a:pt x="176" y="111"/>
                  <a:pt x="176" y="122"/>
                </a:cubicBezTo>
                <a:cubicBezTo>
                  <a:pt x="176" y="133"/>
                  <a:pt x="172" y="142"/>
                  <a:pt x="165" y="15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armonyOS Sans SC"/>
              <a:cs typeface="+mn-cs"/>
            </a:endParaRPr>
          </a:p>
        </p:txBody>
      </p:sp>
      <p:sp>
        <p:nvSpPr>
          <p:cNvPr id="6" name="Freeform 57">
            <a:extLst>
              <a:ext uri="{FF2B5EF4-FFF2-40B4-BE49-F238E27FC236}">
                <a16:creationId xmlns:a16="http://schemas.microsoft.com/office/drawing/2014/main" id="{8F240F72-2D79-4E9F-90D8-37A683AB180B}"/>
              </a:ext>
            </a:extLst>
          </p:cNvPr>
          <p:cNvSpPr>
            <a:spLocks noEditPoints="1"/>
          </p:cNvSpPr>
          <p:nvPr/>
        </p:nvSpPr>
        <p:spPr bwMode="auto">
          <a:xfrm>
            <a:off x="3122786" y="3338847"/>
            <a:ext cx="510424" cy="437508"/>
          </a:xfrm>
          <a:custGeom>
            <a:avLst/>
            <a:gdLst>
              <a:gd name="T0" fmla="*/ 156 w 228"/>
              <a:gd name="T1" fmla="*/ 84 h 196"/>
              <a:gd name="T2" fmla="*/ 143 w 228"/>
              <a:gd name="T3" fmla="*/ 84 h 196"/>
              <a:gd name="T4" fmla="*/ 128 w 228"/>
              <a:gd name="T5" fmla="*/ 3 h 196"/>
              <a:gd name="T6" fmla="*/ 124 w 228"/>
              <a:gd name="T7" fmla="*/ 0 h 196"/>
              <a:gd name="T8" fmla="*/ 120 w 228"/>
              <a:gd name="T9" fmla="*/ 3 h 196"/>
              <a:gd name="T10" fmla="*/ 99 w 228"/>
              <a:gd name="T11" fmla="*/ 169 h 196"/>
              <a:gd name="T12" fmla="*/ 72 w 228"/>
              <a:gd name="T13" fmla="*/ 47 h 196"/>
              <a:gd name="T14" fmla="*/ 68 w 228"/>
              <a:gd name="T15" fmla="*/ 44 h 196"/>
              <a:gd name="T16" fmla="*/ 64 w 228"/>
              <a:gd name="T17" fmla="*/ 47 h 196"/>
              <a:gd name="T18" fmla="*/ 43 w 228"/>
              <a:gd name="T19" fmla="*/ 126 h 196"/>
              <a:gd name="T20" fmla="*/ 28 w 228"/>
              <a:gd name="T21" fmla="*/ 83 h 196"/>
              <a:gd name="T22" fmla="*/ 24 w 228"/>
              <a:gd name="T23" fmla="*/ 80 h 196"/>
              <a:gd name="T24" fmla="*/ 4 w 228"/>
              <a:gd name="T25" fmla="*/ 80 h 196"/>
              <a:gd name="T26" fmla="*/ 0 w 228"/>
              <a:gd name="T27" fmla="*/ 84 h 196"/>
              <a:gd name="T28" fmla="*/ 4 w 228"/>
              <a:gd name="T29" fmla="*/ 88 h 196"/>
              <a:gd name="T30" fmla="*/ 21 w 228"/>
              <a:gd name="T31" fmla="*/ 88 h 196"/>
              <a:gd name="T32" fmla="*/ 40 w 228"/>
              <a:gd name="T33" fmla="*/ 141 h 196"/>
              <a:gd name="T34" fmla="*/ 44 w 228"/>
              <a:gd name="T35" fmla="*/ 144 h 196"/>
              <a:gd name="T36" fmla="*/ 48 w 228"/>
              <a:gd name="T37" fmla="*/ 141 h 196"/>
              <a:gd name="T38" fmla="*/ 68 w 228"/>
              <a:gd name="T39" fmla="*/ 65 h 196"/>
              <a:gd name="T40" fmla="*/ 96 w 228"/>
              <a:gd name="T41" fmla="*/ 193 h 196"/>
              <a:gd name="T42" fmla="*/ 100 w 228"/>
              <a:gd name="T43" fmla="*/ 196 h 196"/>
              <a:gd name="T44" fmla="*/ 100 w 228"/>
              <a:gd name="T45" fmla="*/ 196 h 196"/>
              <a:gd name="T46" fmla="*/ 104 w 228"/>
              <a:gd name="T47" fmla="*/ 193 h 196"/>
              <a:gd name="T48" fmla="*/ 125 w 228"/>
              <a:gd name="T49" fmla="*/ 29 h 196"/>
              <a:gd name="T50" fmla="*/ 136 w 228"/>
              <a:gd name="T51" fmla="*/ 89 h 196"/>
              <a:gd name="T52" fmla="*/ 140 w 228"/>
              <a:gd name="T53" fmla="*/ 92 h 196"/>
              <a:gd name="T54" fmla="*/ 156 w 228"/>
              <a:gd name="T55" fmla="*/ 92 h 196"/>
              <a:gd name="T56" fmla="*/ 160 w 228"/>
              <a:gd name="T57" fmla="*/ 88 h 196"/>
              <a:gd name="T58" fmla="*/ 156 w 228"/>
              <a:gd name="T59" fmla="*/ 84 h 196"/>
              <a:gd name="T60" fmla="*/ 196 w 228"/>
              <a:gd name="T61" fmla="*/ 84 h 196"/>
              <a:gd name="T62" fmla="*/ 176 w 228"/>
              <a:gd name="T63" fmla="*/ 84 h 196"/>
              <a:gd name="T64" fmla="*/ 172 w 228"/>
              <a:gd name="T65" fmla="*/ 88 h 196"/>
              <a:gd name="T66" fmla="*/ 176 w 228"/>
              <a:gd name="T67" fmla="*/ 92 h 196"/>
              <a:gd name="T68" fmla="*/ 196 w 228"/>
              <a:gd name="T69" fmla="*/ 92 h 196"/>
              <a:gd name="T70" fmla="*/ 200 w 228"/>
              <a:gd name="T71" fmla="*/ 88 h 196"/>
              <a:gd name="T72" fmla="*/ 196 w 228"/>
              <a:gd name="T73" fmla="*/ 84 h 196"/>
              <a:gd name="T74" fmla="*/ 224 w 228"/>
              <a:gd name="T75" fmla="*/ 84 h 196"/>
              <a:gd name="T76" fmla="*/ 212 w 228"/>
              <a:gd name="T77" fmla="*/ 84 h 196"/>
              <a:gd name="T78" fmla="*/ 208 w 228"/>
              <a:gd name="T79" fmla="*/ 88 h 196"/>
              <a:gd name="T80" fmla="*/ 212 w 228"/>
              <a:gd name="T81" fmla="*/ 92 h 196"/>
              <a:gd name="T82" fmla="*/ 224 w 228"/>
              <a:gd name="T83" fmla="*/ 92 h 196"/>
              <a:gd name="T84" fmla="*/ 228 w 228"/>
              <a:gd name="T85" fmla="*/ 88 h 196"/>
              <a:gd name="T86" fmla="*/ 224 w 228"/>
              <a:gd name="T87" fmla="*/ 84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28" h="196">
                <a:moveTo>
                  <a:pt x="156" y="84"/>
                </a:moveTo>
                <a:cubicBezTo>
                  <a:pt x="143" y="84"/>
                  <a:pt x="143" y="84"/>
                  <a:pt x="143" y="84"/>
                </a:cubicBezTo>
                <a:cubicBezTo>
                  <a:pt x="128" y="3"/>
                  <a:pt x="128" y="3"/>
                  <a:pt x="128" y="3"/>
                </a:cubicBezTo>
                <a:cubicBezTo>
                  <a:pt x="128" y="1"/>
                  <a:pt x="126" y="0"/>
                  <a:pt x="124" y="0"/>
                </a:cubicBezTo>
                <a:cubicBezTo>
                  <a:pt x="122" y="0"/>
                  <a:pt x="120" y="2"/>
                  <a:pt x="120" y="3"/>
                </a:cubicBezTo>
                <a:cubicBezTo>
                  <a:pt x="99" y="169"/>
                  <a:pt x="99" y="169"/>
                  <a:pt x="99" y="169"/>
                </a:cubicBezTo>
                <a:cubicBezTo>
                  <a:pt x="72" y="47"/>
                  <a:pt x="72" y="47"/>
                  <a:pt x="72" y="47"/>
                </a:cubicBezTo>
                <a:cubicBezTo>
                  <a:pt x="72" y="45"/>
                  <a:pt x="70" y="44"/>
                  <a:pt x="68" y="44"/>
                </a:cubicBezTo>
                <a:cubicBezTo>
                  <a:pt x="66" y="44"/>
                  <a:pt x="65" y="45"/>
                  <a:pt x="64" y="47"/>
                </a:cubicBezTo>
                <a:cubicBezTo>
                  <a:pt x="43" y="126"/>
                  <a:pt x="43" y="126"/>
                  <a:pt x="43" y="126"/>
                </a:cubicBezTo>
                <a:cubicBezTo>
                  <a:pt x="28" y="83"/>
                  <a:pt x="28" y="83"/>
                  <a:pt x="28" y="83"/>
                </a:cubicBezTo>
                <a:cubicBezTo>
                  <a:pt x="27" y="81"/>
                  <a:pt x="26" y="80"/>
                  <a:pt x="24" y="80"/>
                </a:cubicBezTo>
                <a:cubicBezTo>
                  <a:pt x="4" y="80"/>
                  <a:pt x="4" y="80"/>
                  <a:pt x="4" y="80"/>
                </a:cubicBezTo>
                <a:cubicBezTo>
                  <a:pt x="2" y="80"/>
                  <a:pt x="0" y="82"/>
                  <a:pt x="0" y="84"/>
                </a:cubicBezTo>
                <a:cubicBezTo>
                  <a:pt x="0" y="86"/>
                  <a:pt x="2" y="88"/>
                  <a:pt x="4" y="88"/>
                </a:cubicBezTo>
                <a:cubicBezTo>
                  <a:pt x="21" y="88"/>
                  <a:pt x="21" y="88"/>
                  <a:pt x="21" y="88"/>
                </a:cubicBezTo>
                <a:cubicBezTo>
                  <a:pt x="40" y="141"/>
                  <a:pt x="40" y="141"/>
                  <a:pt x="40" y="141"/>
                </a:cubicBezTo>
                <a:cubicBezTo>
                  <a:pt x="41" y="143"/>
                  <a:pt x="42" y="144"/>
                  <a:pt x="44" y="144"/>
                </a:cubicBezTo>
                <a:cubicBezTo>
                  <a:pt x="46" y="144"/>
                  <a:pt x="47" y="143"/>
                  <a:pt x="48" y="141"/>
                </a:cubicBezTo>
                <a:cubicBezTo>
                  <a:pt x="68" y="65"/>
                  <a:pt x="68" y="65"/>
                  <a:pt x="68" y="65"/>
                </a:cubicBezTo>
                <a:cubicBezTo>
                  <a:pt x="96" y="193"/>
                  <a:pt x="96" y="193"/>
                  <a:pt x="96" y="193"/>
                </a:cubicBezTo>
                <a:cubicBezTo>
                  <a:pt x="97" y="195"/>
                  <a:pt x="98" y="196"/>
                  <a:pt x="100" y="196"/>
                </a:cubicBezTo>
                <a:cubicBezTo>
                  <a:pt x="100" y="196"/>
                  <a:pt x="100" y="196"/>
                  <a:pt x="100" y="196"/>
                </a:cubicBezTo>
                <a:cubicBezTo>
                  <a:pt x="102" y="196"/>
                  <a:pt x="104" y="194"/>
                  <a:pt x="104" y="193"/>
                </a:cubicBezTo>
                <a:cubicBezTo>
                  <a:pt x="125" y="29"/>
                  <a:pt x="125" y="29"/>
                  <a:pt x="125" y="29"/>
                </a:cubicBezTo>
                <a:cubicBezTo>
                  <a:pt x="136" y="89"/>
                  <a:pt x="136" y="89"/>
                  <a:pt x="136" y="89"/>
                </a:cubicBezTo>
                <a:cubicBezTo>
                  <a:pt x="136" y="91"/>
                  <a:pt x="138" y="92"/>
                  <a:pt x="140" y="92"/>
                </a:cubicBezTo>
                <a:cubicBezTo>
                  <a:pt x="156" y="92"/>
                  <a:pt x="156" y="92"/>
                  <a:pt x="156" y="92"/>
                </a:cubicBezTo>
                <a:cubicBezTo>
                  <a:pt x="158" y="92"/>
                  <a:pt x="160" y="90"/>
                  <a:pt x="160" y="88"/>
                </a:cubicBezTo>
                <a:cubicBezTo>
                  <a:pt x="160" y="86"/>
                  <a:pt x="158" y="84"/>
                  <a:pt x="156" y="84"/>
                </a:cubicBezTo>
                <a:close/>
                <a:moveTo>
                  <a:pt x="196" y="84"/>
                </a:moveTo>
                <a:cubicBezTo>
                  <a:pt x="176" y="84"/>
                  <a:pt x="176" y="84"/>
                  <a:pt x="176" y="84"/>
                </a:cubicBezTo>
                <a:cubicBezTo>
                  <a:pt x="174" y="84"/>
                  <a:pt x="172" y="86"/>
                  <a:pt x="172" y="88"/>
                </a:cubicBezTo>
                <a:cubicBezTo>
                  <a:pt x="172" y="90"/>
                  <a:pt x="174" y="92"/>
                  <a:pt x="176" y="92"/>
                </a:cubicBezTo>
                <a:cubicBezTo>
                  <a:pt x="196" y="92"/>
                  <a:pt x="196" y="92"/>
                  <a:pt x="196" y="92"/>
                </a:cubicBezTo>
                <a:cubicBezTo>
                  <a:pt x="198" y="92"/>
                  <a:pt x="200" y="90"/>
                  <a:pt x="200" y="88"/>
                </a:cubicBezTo>
                <a:cubicBezTo>
                  <a:pt x="200" y="86"/>
                  <a:pt x="198" y="84"/>
                  <a:pt x="196" y="84"/>
                </a:cubicBezTo>
                <a:close/>
                <a:moveTo>
                  <a:pt x="224" y="84"/>
                </a:moveTo>
                <a:cubicBezTo>
                  <a:pt x="212" y="84"/>
                  <a:pt x="212" y="84"/>
                  <a:pt x="212" y="84"/>
                </a:cubicBezTo>
                <a:cubicBezTo>
                  <a:pt x="210" y="84"/>
                  <a:pt x="208" y="86"/>
                  <a:pt x="208" y="88"/>
                </a:cubicBezTo>
                <a:cubicBezTo>
                  <a:pt x="208" y="90"/>
                  <a:pt x="210" y="92"/>
                  <a:pt x="212" y="92"/>
                </a:cubicBezTo>
                <a:cubicBezTo>
                  <a:pt x="224" y="92"/>
                  <a:pt x="224" y="92"/>
                  <a:pt x="224" y="92"/>
                </a:cubicBezTo>
                <a:cubicBezTo>
                  <a:pt x="226" y="92"/>
                  <a:pt x="228" y="90"/>
                  <a:pt x="228" y="88"/>
                </a:cubicBezTo>
                <a:cubicBezTo>
                  <a:pt x="228" y="86"/>
                  <a:pt x="226" y="84"/>
                  <a:pt x="224" y="8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HarmonyOS Sans SC"/>
              <a:cs typeface="+mn-cs"/>
            </a:endParaRPr>
          </a:p>
        </p:txBody>
      </p:sp>
      <p:sp>
        <p:nvSpPr>
          <p:cNvPr id="20" name="TextBox 29">
            <a:extLst>
              <a:ext uri="{FF2B5EF4-FFF2-40B4-BE49-F238E27FC236}">
                <a16:creationId xmlns:a16="http://schemas.microsoft.com/office/drawing/2014/main" id="{4167A77F-1B92-4FBE-B6BE-82AF1E4CA70E}"/>
              </a:ext>
            </a:extLst>
          </p:cNvPr>
          <p:cNvSpPr txBox="1"/>
          <p:nvPr/>
        </p:nvSpPr>
        <p:spPr>
          <a:xfrm>
            <a:off x="6070602" y="1526349"/>
            <a:ext cx="5029198" cy="689291"/>
          </a:xfrm>
          <a:prstGeom prst="rect">
            <a:avLst/>
          </a:prstGeom>
          <a:noFill/>
        </p:spPr>
        <p:txBody>
          <a:bodyPr wrap="square" rtlCol="0" anchor="t">
            <a:spAutoFit/>
          </a:bodyPr>
          <a:lstStyle>
            <a:defPPr>
              <a:defRPr lang="en-US"/>
            </a:defPPr>
            <a:lvl1pPr>
              <a:lnSpc>
                <a:spcPct val="80000"/>
              </a:lnSpc>
              <a:defRPr sz="5400">
                <a:solidFill>
                  <a:schemeClr val="tx1">
                    <a:lumMod val="85000"/>
                    <a:lumOff val="15000"/>
                  </a:schemeClr>
                </a:solidFill>
                <a:latin typeface="Poppins ExtraBold" panose="00000900000000000000" pitchFamily="2" charset="0"/>
                <a:ea typeface="Roboto" panose="02000000000000000000" pitchFamily="2" charset="0"/>
                <a:cs typeface="Poppins ExtraBold" panose="00000900000000000000" pitchFamily="2" charset="0"/>
              </a:defRPr>
            </a:lvl1pPr>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lang="en-US" sz="4800" b="0" i="0" u="none" strike="noStrike" kern="1200" cap="none" spc="0" normalizeH="0" baseline="0" noProof="0" dirty="0">
                <a:ln>
                  <a:noFill/>
                </a:ln>
                <a:solidFill>
                  <a:schemeClr val="accent1"/>
                </a:solidFill>
                <a:effectLst/>
                <a:uLnTx/>
                <a:uFillTx/>
                <a:latin typeface="HarmonyOS Sans SC Black"/>
                <a:ea typeface="+mj-ea"/>
                <a:cs typeface="Poppins ExtraBold" panose="00000900000000000000" pitchFamily="2" charset="0"/>
              </a:rPr>
              <a:t>INFOGRAPHIC</a:t>
            </a:r>
          </a:p>
        </p:txBody>
      </p:sp>
      <p:sp>
        <p:nvSpPr>
          <p:cNvPr id="21" name="Rectangle 30">
            <a:extLst>
              <a:ext uri="{FF2B5EF4-FFF2-40B4-BE49-F238E27FC236}">
                <a16:creationId xmlns:a16="http://schemas.microsoft.com/office/drawing/2014/main" id="{5214A8B2-9D31-4C5B-96EA-DD71EEC86849}"/>
              </a:ext>
            </a:extLst>
          </p:cNvPr>
          <p:cNvSpPr/>
          <p:nvPr/>
        </p:nvSpPr>
        <p:spPr>
          <a:xfrm>
            <a:off x="6070602" y="1005065"/>
            <a:ext cx="1809470" cy="338554"/>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100" normalizeH="0" baseline="0" noProof="0" dirty="0">
                <a:ln>
                  <a:noFill/>
                </a:ln>
                <a:solidFill>
                  <a:prstClr val="black">
                    <a:lumMod val="75000"/>
                    <a:lumOff val="25000"/>
                  </a:prstClr>
                </a:solidFill>
                <a:effectLst/>
                <a:uLnTx/>
                <a:uFillTx/>
                <a:latin typeface="HarmonyOS Sans SC"/>
                <a:cs typeface="Open Sans Semibold" panose="020B0706030804020204" pitchFamily="34" charset="0"/>
              </a:rPr>
              <a:t>Your Text Here</a:t>
            </a:r>
          </a:p>
        </p:txBody>
      </p:sp>
      <p:sp>
        <p:nvSpPr>
          <p:cNvPr id="23" name="Round Diagonal Corner Rectangle 43">
            <a:extLst>
              <a:ext uri="{FF2B5EF4-FFF2-40B4-BE49-F238E27FC236}">
                <a16:creationId xmlns:a16="http://schemas.microsoft.com/office/drawing/2014/main" id="{4AFF4CC6-DECF-4ADA-888B-739907F52325}"/>
              </a:ext>
            </a:extLst>
          </p:cNvPr>
          <p:cNvSpPr/>
          <p:nvPr/>
        </p:nvSpPr>
        <p:spPr>
          <a:xfrm>
            <a:off x="6204857" y="2933577"/>
            <a:ext cx="413526" cy="413526"/>
          </a:xfrm>
          <a:prstGeom prst="round2DiagRect">
            <a:avLst/>
          </a:prstGeom>
          <a:gradFill>
            <a:gsLst>
              <a:gs pos="73000">
                <a:schemeClr val="accent1"/>
              </a:gs>
              <a:gs pos="31000">
                <a:schemeClr val="accent1">
                  <a:lumMod val="60000"/>
                  <a:lumOff val="40000"/>
                </a:schemeClr>
              </a:gs>
              <a:gs pos="0">
                <a:schemeClr val="accent1">
                  <a:lumMod val="40000"/>
                  <a:lumOff val="60000"/>
                </a:schemeClr>
              </a:gs>
            </a:gsLst>
            <a:path path="circle">
              <a:fillToRect r="100000" b="100000"/>
            </a:path>
          </a:gradFill>
          <a:ln>
            <a:noFill/>
          </a:ln>
          <a:effectLst>
            <a:outerShdw blurRad="444500" dist="317500" dir="5400000" sx="92000" sy="92000" algn="t" rotWithShape="0">
              <a:schemeClr val="accent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24" name="Freeform 29">
            <a:extLst>
              <a:ext uri="{FF2B5EF4-FFF2-40B4-BE49-F238E27FC236}">
                <a16:creationId xmlns:a16="http://schemas.microsoft.com/office/drawing/2014/main" id="{ADAE5EDA-E989-4D43-8BBC-2A35748A2C4B}"/>
              </a:ext>
            </a:extLst>
          </p:cNvPr>
          <p:cNvSpPr>
            <a:spLocks/>
          </p:cNvSpPr>
          <p:nvPr/>
        </p:nvSpPr>
        <p:spPr bwMode="auto">
          <a:xfrm>
            <a:off x="6317459" y="3064101"/>
            <a:ext cx="197601" cy="152479"/>
          </a:xfrm>
          <a:custGeom>
            <a:avLst/>
            <a:gdLst>
              <a:gd name="T0" fmla="*/ 198196 w 59"/>
              <a:gd name="T1" fmla="*/ 41487 h 45"/>
              <a:gd name="T2" fmla="*/ 102515 w 59"/>
              <a:gd name="T3" fmla="*/ 134832 h 45"/>
              <a:gd name="T4" fmla="*/ 85429 w 59"/>
              <a:gd name="T5" fmla="*/ 152118 h 45"/>
              <a:gd name="T6" fmla="*/ 78595 w 59"/>
              <a:gd name="T7" fmla="*/ 155575 h 45"/>
              <a:gd name="T8" fmla="*/ 68343 w 59"/>
              <a:gd name="T9" fmla="*/ 152118 h 45"/>
              <a:gd name="T10" fmla="*/ 51258 w 59"/>
              <a:gd name="T11" fmla="*/ 134832 h 45"/>
              <a:gd name="T12" fmla="*/ 3417 w 59"/>
              <a:gd name="T13" fmla="*/ 89888 h 45"/>
              <a:gd name="T14" fmla="*/ 0 w 59"/>
              <a:gd name="T15" fmla="*/ 79516 h 45"/>
              <a:gd name="T16" fmla="*/ 3417 w 59"/>
              <a:gd name="T17" fmla="*/ 69144 h 45"/>
              <a:gd name="T18" fmla="*/ 20503 w 59"/>
              <a:gd name="T19" fmla="*/ 51858 h 45"/>
              <a:gd name="T20" fmla="*/ 30755 w 59"/>
              <a:gd name="T21" fmla="*/ 48401 h 45"/>
              <a:gd name="T22" fmla="*/ 37589 w 59"/>
              <a:gd name="T23" fmla="*/ 51858 h 45"/>
              <a:gd name="T24" fmla="*/ 78595 w 59"/>
              <a:gd name="T25" fmla="*/ 89888 h 45"/>
              <a:gd name="T26" fmla="*/ 160607 w 59"/>
              <a:gd name="T27" fmla="*/ 3457 h 45"/>
              <a:gd name="T28" fmla="*/ 170858 w 59"/>
              <a:gd name="T29" fmla="*/ 0 h 45"/>
              <a:gd name="T30" fmla="*/ 181110 w 59"/>
              <a:gd name="T31" fmla="*/ 3457 h 45"/>
              <a:gd name="T32" fmla="*/ 198196 w 59"/>
              <a:gd name="T33" fmla="*/ 24201 h 45"/>
              <a:gd name="T34" fmla="*/ 201613 w 59"/>
              <a:gd name="T35" fmla="*/ 31115 h 45"/>
              <a:gd name="T36" fmla="*/ 198196 w 59"/>
              <a:gd name="T37" fmla="*/ 41487 h 4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9" h="45">
                <a:moveTo>
                  <a:pt x="58" y="12"/>
                </a:moveTo>
                <a:cubicBezTo>
                  <a:pt x="30" y="39"/>
                  <a:pt x="30" y="39"/>
                  <a:pt x="30" y="39"/>
                </a:cubicBezTo>
                <a:cubicBezTo>
                  <a:pt x="25" y="44"/>
                  <a:pt x="25" y="44"/>
                  <a:pt x="25" y="44"/>
                </a:cubicBezTo>
                <a:cubicBezTo>
                  <a:pt x="24" y="45"/>
                  <a:pt x="24" y="45"/>
                  <a:pt x="23" y="45"/>
                </a:cubicBezTo>
                <a:cubicBezTo>
                  <a:pt x="22" y="45"/>
                  <a:pt x="21" y="45"/>
                  <a:pt x="20" y="44"/>
                </a:cubicBezTo>
                <a:cubicBezTo>
                  <a:pt x="15" y="39"/>
                  <a:pt x="15" y="39"/>
                  <a:pt x="15" y="39"/>
                </a:cubicBezTo>
                <a:cubicBezTo>
                  <a:pt x="1" y="26"/>
                  <a:pt x="1" y="26"/>
                  <a:pt x="1" y="26"/>
                </a:cubicBezTo>
                <a:cubicBezTo>
                  <a:pt x="0" y="25"/>
                  <a:pt x="0" y="24"/>
                  <a:pt x="0" y="23"/>
                </a:cubicBezTo>
                <a:cubicBezTo>
                  <a:pt x="0" y="22"/>
                  <a:pt x="0" y="21"/>
                  <a:pt x="1" y="20"/>
                </a:cubicBezTo>
                <a:cubicBezTo>
                  <a:pt x="6" y="15"/>
                  <a:pt x="6" y="15"/>
                  <a:pt x="6" y="15"/>
                </a:cubicBezTo>
                <a:cubicBezTo>
                  <a:pt x="7" y="14"/>
                  <a:pt x="8" y="14"/>
                  <a:pt x="9" y="14"/>
                </a:cubicBezTo>
                <a:cubicBezTo>
                  <a:pt x="10" y="14"/>
                  <a:pt x="11" y="14"/>
                  <a:pt x="11" y="15"/>
                </a:cubicBezTo>
                <a:cubicBezTo>
                  <a:pt x="23" y="26"/>
                  <a:pt x="23" y="26"/>
                  <a:pt x="23" y="26"/>
                </a:cubicBezTo>
                <a:cubicBezTo>
                  <a:pt x="47" y="1"/>
                  <a:pt x="47" y="1"/>
                  <a:pt x="47" y="1"/>
                </a:cubicBezTo>
                <a:cubicBezTo>
                  <a:pt x="48" y="1"/>
                  <a:pt x="49" y="0"/>
                  <a:pt x="50" y="0"/>
                </a:cubicBezTo>
                <a:cubicBezTo>
                  <a:pt x="51" y="0"/>
                  <a:pt x="52" y="1"/>
                  <a:pt x="53" y="1"/>
                </a:cubicBezTo>
                <a:cubicBezTo>
                  <a:pt x="58" y="7"/>
                  <a:pt x="58" y="7"/>
                  <a:pt x="58" y="7"/>
                </a:cubicBezTo>
                <a:cubicBezTo>
                  <a:pt x="58" y="7"/>
                  <a:pt x="59" y="8"/>
                  <a:pt x="59" y="9"/>
                </a:cubicBezTo>
                <a:cubicBezTo>
                  <a:pt x="59" y="10"/>
                  <a:pt x="58" y="11"/>
                  <a:pt x="58" y="12"/>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HarmonyOS Sans SC"/>
              <a:cs typeface="+mn-cs"/>
            </a:endParaRPr>
          </a:p>
        </p:txBody>
      </p:sp>
      <p:sp>
        <p:nvSpPr>
          <p:cNvPr id="25" name="TextBox 35">
            <a:extLst>
              <a:ext uri="{FF2B5EF4-FFF2-40B4-BE49-F238E27FC236}">
                <a16:creationId xmlns:a16="http://schemas.microsoft.com/office/drawing/2014/main" id="{19C39B1D-0E55-4036-92EB-600652E4D452}"/>
              </a:ext>
            </a:extLst>
          </p:cNvPr>
          <p:cNvSpPr txBox="1"/>
          <p:nvPr/>
        </p:nvSpPr>
        <p:spPr>
          <a:xfrm>
            <a:off x="6746550" y="2900275"/>
            <a:ext cx="3424823" cy="464614"/>
          </a:xfrm>
          <a:prstGeom prst="rect">
            <a:avLst/>
          </a:prstGeom>
          <a:noFill/>
        </p:spPr>
        <p:txBody>
          <a:bodyPr wrap="square" rtlCol="0">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1050" b="0" i="0" u="none" strike="noStrike" kern="1200" cap="none" spc="100" normalizeH="0" baseline="0" noProof="0" dirty="0">
                <a:ln>
                  <a:noFill/>
                </a:ln>
                <a:solidFill>
                  <a:prstClr val="black">
                    <a:lumMod val="50000"/>
                    <a:lumOff val="50000"/>
                  </a:prstClr>
                </a:solidFill>
                <a:effectLst/>
                <a:uLnTx/>
                <a:uFillTx/>
                <a:latin typeface="HarmonyOS Sans SC"/>
                <a:cs typeface="Open Sans" panose="020B0606030504020204" pitchFamily="34" charset="0"/>
              </a:rPr>
              <a:t>A wonderful serenity</a:t>
            </a:r>
            <a:r>
              <a:rPr kumimoji="0" lang="en-US" sz="1050" b="0" i="0" u="none" strike="noStrike" kern="1200" cap="none" spc="100" normalizeH="0" baseline="0" noProof="0" dirty="0">
                <a:ln>
                  <a:noFill/>
                </a:ln>
                <a:solidFill>
                  <a:prstClr val="black">
                    <a:lumMod val="50000"/>
                    <a:lumOff val="50000"/>
                  </a:prstClr>
                </a:solidFill>
                <a:effectLst/>
                <a:uLnTx/>
                <a:uFillTx/>
                <a:latin typeface="HarmonyOS Sans SC"/>
                <a:cs typeface="Open Sans Light" panose="020B0306030504020204" pitchFamily="34" charset="0"/>
              </a:rPr>
              <a:t> has taken possession of my entire soul</a:t>
            </a:r>
          </a:p>
        </p:txBody>
      </p:sp>
      <p:sp>
        <p:nvSpPr>
          <p:cNvPr id="27" name="Round Diagonal Corner Rectangle 44">
            <a:extLst>
              <a:ext uri="{FF2B5EF4-FFF2-40B4-BE49-F238E27FC236}">
                <a16:creationId xmlns:a16="http://schemas.microsoft.com/office/drawing/2014/main" id="{1A7D6378-21A1-413B-942D-F0E9BFA5CB98}"/>
              </a:ext>
            </a:extLst>
          </p:cNvPr>
          <p:cNvSpPr/>
          <p:nvPr/>
        </p:nvSpPr>
        <p:spPr>
          <a:xfrm>
            <a:off x="6204857" y="3925931"/>
            <a:ext cx="413526" cy="413526"/>
          </a:xfrm>
          <a:prstGeom prst="round2DiagRect">
            <a:avLst/>
          </a:prstGeom>
          <a:gradFill>
            <a:gsLst>
              <a:gs pos="73000">
                <a:schemeClr val="accent1"/>
              </a:gs>
              <a:gs pos="31000">
                <a:schemeClr val="accent1">
                  <a:lumMod val="60000"/>
                  <a:lumOff val="40000"/>
                </a:schemeClr>
              </a:gs>
              <a:gs pos="0">
                <a:schemeClr val="accent1">
                  <a:lumMod val="40000"/>
                  <a:lumOff val="60000"/>
                </a:schemeClr>
              </a:gs>
            </a:gsLst>
            <a:path path="circle">
              <a:fillToRect r="100000" b="100000"/>
            </a:path>
          </a:gradFill>
          <a:ln>
            <a:noFill/>
          </a:ln>
          <a:effectLst>
            <a:outerShdw blurRad="444500" dist="317500" dir="5400000" sx="92000" sy="92000" algn="t" rotWithShape="0">
              <a:schemeClr val="accent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28" name="Freeform 29">
            <a:extLst>
              <a:ext uri="{FF2B5EF4-FFF2-40B4-BE49-F238E27FC236}">
                <a16:creationId xmlns:a16="http://schemas.microsoft.com/office/drawing/2014/main" id="{40045701-28FE-4978-9BAA-BEB3AF2208CB}"/>
              </a:ext>
            </a:extLst>
          </p:cNvPr>
          <p:cNvSpPr>
            <a:spLocks/>
          </p:cNvSpPr>
          <p:nvPr/>
        </p:nvSpPr>
        <p:spPr bwMode="auto">
          <a:xfrm>
            <a:off x="6317459" y="4056455"/>
            <a:ext cx="197601" cy="152479"/>
          </a:xfrm>
          <a:custGeom>
            <a:avLst/>
            <a:gdLst>
              <a:gd name="T0" fmla="*/ 198196 w 59"/>
              <a:gd name="T1" fmla="*/ 41487 h 45"/>
              <a:gd name="T2" fmla="*/ 102515 w 59"/>
              <a:gd name="T3" fmla="*/ 134832 h 45"/>
              <a:gd name="T4" fmla="*/ 85429 w 59"/>
              <a:gd name="T5" fmla="*/ 152118 h 45"/>
              <a:gd name="T6" fmla="*/ 78595 w 59"/>
              <a:gd name="T7" fmla="*/ 155575 h 45"/>
              <a:gd name="T8" fmla="*/ 68343 w 59"/>
              <a:gd name="T9" fmla="*/ 152118 h 45"/>
              <a:gd name="T10" fmla="*/ 51258 w 59"/>
              <a:gd name="T11" fmla="*/ 134832 h 45"/>
              <a:gd name="T12" fmla="*/ 3417 w 59"/>
              <a:gd name="T13" fmla="*/ 89888 h 45"/>
              <a:gd name="T14" fmla="*/ 0 w 59"/>
              <a:gd name="T15" fmla="*/ 79516 h 45"/>
              <a:gd name="T16" fmla="*/ 3417 w 59"/>
              <a:gd name="T17" fmla="*/ 69144 h 45"/>
              <a:gd name="T18" fmla="*/ 20503 w 59"/>
              <a:gd name="T19" fmla="*/ 51858 h 45"/>
              <a:gd name="T20" fmla="*/ 30755 w 59"/>
              <a:gd name="T21" fmla="*/ 48401 h 45"/>
              <a:gd name="T22" fmla="*/ 37589 w 59"/>
              <a:gd name="T23" fmla="*/ 51858 h 45"/>
              <a:gd name="T24" fmla="*/ 78595 w 59"/>
              <a:gd name="T25" fmla="*/ 89888 h 45"/>
              <a:gd name="T26" fmla="*/ 160607 w 59"/>
              <a:gd name="T27" fmla="*/ 3457 h 45"/>
              <a:gd name="T28" fmla="*/ 170858 w 59"/>
              <a:gd name="T29" fmla="*/ 0 h 45"/>
              <a:gd name="T30" fmla="*/ 181110 w 59"/>
              <a:gd name="T31" fmla="*/ 3457 h 45"/>
              <a:gd name="T32" fmla="*/ 198196 w 59"/>
              <a:gd name="T33" fmla="*/ 24201 h 45"/>
              <a:gd name="T34" fmla="*/ 201613 w 59"/>
              <a:gd name="T35" fmla="*/ 31115 h 45"/>
              <a:gd name="T36" fmla="*/ 198196 w 59"/>
              <a:gd name="T37" fmla="*/ 41487 h 4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9" h="45">
                <a:moveTo>
                  <a:pt x="58" y="12"/>
                </a:moveTo>
                <a:cubicBezTo>
                  <a:pt x="30" y="39"/>
                  <a:pt x="30" y="39"/>
                  <a:pt x="30" y="39"/>
                </a:cubicBezTo>
                <a:cubicBezTo>
                  <a:pt x="25" y="44"/>
                  <a:pt x="25" y="44"/>
                  <a:pt x="25" y="44"/>
                </a:cubicBezTo>
                <a:cubicBezTo>
                  <a:pt x="24" y="45"/>
                  <a:pt x="24" y="45"/>
                  <a:pt x="23" y="45"/>
                </a:cubicBezTo>
                <a:cubicBezTo>
                  <a:pt x="22" y="45"/>
                  <a:pt x="21" y="45"/>
                  <a:pt x="20" y="44"/>
                </a:cubicBezTo>
                <a:cubicBezTo>
                  <a:pt x="15" y="39"/>
                  <a:pt x="15" y="39"/>
                  <a:pt x="15" y="39"/>
                </a:cubicBezTo>
                <a:cubicBezTo>
                  <a:pt x="1" y="26"/>
                  <a:pt x="1" y="26"/>
                  <a:pt x="1" y="26"/>
                </a:cubicBezTo>
                <a:cubicBezTo>
                  <a:pt x="0" y="25"/>
                  <a:pt x="0" y="24"/>
                  <a:pt x="0" y="23"/>
                </a:cubicBezTo>
                <a:cubicBezTo>
                  <a:pt x="0" y="22"/>
                  <a:pt x="0" y="21"/>
                  <a:pt x="1" y="20"/>
                </a:cubicBezTo>
                <a:cubicBezTo>
                  <a:pt x="6" y="15"/>
                  <a:pt x="6" y="15"/>
                  <a:pt x="6" y="15"/>
                </a:cubicBezTo>
                <a:cubicBezTo>
                  <a:pt x="7" y="14"/>
                  <a:pt x="8" y="14"/>
                  <a:pt x="9" y="14"/>
                </a:cubicBezTo>
                <a:cubicBezTo>
                  <a:pt x="10" y="14"/>
                  <a:pt x="11" y="14"/>
                  <a:pt x="11" y="15"/>
                </a:cubicBezTo>
                <a:cubicBezTo>
                  <a:pt x="23" y="26"/>
                  <a:pt x="23" y="26"/>
                  <a:pt x="23" y="26"/>
                </a:cubicBezTo>
                <a:cubicBezTo>
                  <a:pt x="47" y="1"/>
                  <a:pt x="47" y="1"/>
                  <a:pt x="47" y="1"/>
                </a:cubicBezTo>
                <a:cubicBezTo>
                  <a:pt x="48" y="1"/>
                  <a:pt x="49" y="0"/>
                  <a:pt x="50" y="0"/>
                </a:cubicBezTo>
                <a:cubicBezTo>
                  <a:pt x="51" y="0"/>
                  <a:pt x="52" y="1"/>
                  <a:pt x="53" y="1"/>
                </a:cubicBezTo>
                <a:cubicBezTo>
                  <a:pt x="58" y="7"/>
                  <a:pt x="58" y="7"/>
                  <a:pt x="58" y="7"/>
                </a:cubicBezTo>
                <a:cubicBezTo>
                  <a:pt x="58" y="7"/>
                  <a:pt x="59" y="8"/>
                  <a:pt x="59" y="9"/>
                </a:cubicBezTo>
                <a:cubicBezTo>
                  <a:pt x="59" y="10"/>
                  <a:pt x="58" y="11"/>
                  <a:pt x="58" y="12"/>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HarmonyOS Sans SC"/>
              <a:cs typeface="+mn-cs"/>
            </a:endParaRPr>
          </a:p>
        </p:txBody>
      </p:sp>
      <p:sp>
        <p:nvSpPr>
          <p:cNvPr id="29" name="TextBox 38">
            <a:extLst>
              <a:ext uri="{FF2B5EF4-FFF2-40B4-BE49-F238E27FC236}">
                <a16:creationId xmlns:a16="http://schemas.microsoft.com/office/drawing/2014/main" id="{2B143104-D32C-4A21-83A7-D7CE4DC541C0}"/>
              </a:ext>
            </a:extLst>
          </p:cNvPr>
          <p:cNvSpPr txBox="1"/>
          <p:nvPr/>
        </p:nvSpPr>
        <p:spPr>
          <a:xfrm>
            <a:off x="6746550" y="3892629"/>
            <a:ext cx="3424823" cy="464614"/>
          </a:xfrm>
          <a:prstGeom prst="rect">
            <a:avLst/>
          </a:prstGeom>
          <a:noFill/>
        </p:spPr>
        <p:txBody>
          <a:bodyPr wrap="square" rtlCol="0">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1050" b="0" i="0" u="none" strike="noStrike" kern="1200" cap="none" spc="100" normalizeH="0" baseline="0" noProof="0" dirty="0">
                <a:ln>
                  <a:noFill/>
                </a:ln>
                <a:solidFill>
                  <a:prstClr val="black">
                    <a:lumMod val="50000"/>
                    <a:lumOff val="50000"/>
                  </a:prstClr>
                </a:solidFill>
                <a:effectLst/>
                <a:uLnTx/>
                <a:uFillTx/>
                <a:latin typeface="HarmonyOS Sans SC"/>
                <a:cs typeface="Open Sans" panose="020B0606030504020204" pitchFamily="34" charset="0"/>
              </a:rPr>
              <a:t>A wonderful serenity</a:t>
            </a:r>
            <a:r>
              <a:rPr kumimoji="0" lang="en-US" sz="1050" b="0" i="0" u="none" strike="noStrike" kern="1200" cap="none" spc="100" normalizeH="0" baseline="0" noProof="0" dirty="0">
                <a:ln>
                  <a:noFill/>
                </a:ln>
                <a:solidFill>
                  <a:prstClr val="black">
                    <a:lumMod val="50000"/>
                    <a:lumOff val="50000"/>
                  </a:prstClr>
                </a:solidFill>
                <a:effectLst/>
                <a:uLnTx/>
                <a:uFillTx/>
                <a:latin typeface="HarmonyOS Sans SC"/>
                <a:cs typeface="Open Sans Light" panose="020B0306030504020204" pitchFamily="34" charset="0"/>
              </a:rPr>
              <a:t> has taken possession of my entire soul</a:t>
            </a:r>
          </a:p>
        </p:txBody>
      </p:sp>
      <p:sp>
        <p:nvSpPr>
          <p:cNvPr id="31" name="Round Diagonal Corner Rectangle 45">
            <a:extLst>
              <a:ext uri="{FF2B5EF4-FFF2-40B4-BE49-F238E27FC236}">
                <a16:creationId xmlns:a16="http://schemas.microsoft.com/office/drawing/2014/main" id="{95B2A4D6-391E-4DB6-B349-7B06E162A924}"/>
              </a:ext>
            </a:extLst>
          </p:cNvPr>
          <p:cNvSpPr/>
          <p:nvPr/>
        </p:nvSpPr>
        <p:spPr>
          <a:xfrm>
            <a:off x="6204857" y="4918285"/>
            <a:ext cx="413526" cy="413526"/>
          </a:xfrm>
          <a:prstGeom prst="round2DiagRect">
            <a:avLst/>
          </a:prstGeom>
          <a:gradFill>
            <a:gsLst>
              <a:gs pos="73000">
                <a:schemeClr val="accent1"/>
              </a:gs>
              <a:gs pos="31000">
                <a:schemeClr val="accent1">
                  <a:lumMod val="60000"/>
                  <a:lumOff val="40000"/>
                </a:schemeClr>
              </a:gs>
              <a:gs pos="0">
                <a:schemeClr val="accent1">
                  <a:lumMod val="40000"/>
                  <a:lumOff val="60000"/>
                </a:schemeClr>
              </a:gs>
            </a:gsLst>
            <a:path path="circle">
              <a:fillToRect r="100000" b="100000"/>
            </a:path>
          </a:gradFill>
          <a:ln>
            <a:noFill/>
          </a:ln>
          <a:effectLst>
            <a:outerShdw blurRad="444500" dist="317500" dir="5400000" sx="92000" sy="92000" algn="t" rotWithShape="0">
              <a:schemeClr val="accent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32" name="Freeform 29">
            <a:extLst>
              <a:ext uri="{FF2B5EF4-FFF2-40B4-BE49-F238E27FC236}">
                <a16:creationId xmlns:a16="http://schemas.microsoft.com/office/drawing/2014/main" id="{7DEE94A7-4CF4-4898-BBC2-BDC538201777}"/>
              </a:ext>
            </a:extLst>
          </p:cNvPr>
          <p:cNvSpPr>
            <a:spLocks/>
          </p:cNvSpPr>
          <p:nvPr/>
        </p:nvSpPr>
        <p:spPr bwMode="auto">
          <a:xfrm>
            <a:off x="6317459" y="5048809"/>
            <a:ext cx="197601" cy="152479"/>
          </a:xfrm>
          <a:custGeom>
            <a:avLst/>
            <a:gdLst>
              <a:gd name="T0" fmla="*/ 198196 w 59"/>
              <a:gd name="T1" fmla="*/ 41487 h 45"/>
              <a:gd name="T2" fmla="*/ 102515 w 59"/>
              <a:gd name="T3" fmla="*/ 134832 h 45"/>
              <a:gd name="T4" fmla="*/ 85429 w 59"/>
              <a:gd name="T5" fmla="*/ 152118 h 45"/>
              <a:gd name="T6" fmla="*/ 78595 w 59"/>
              <a:gd name="T7" fmla="*/ 155575 h 45"/>
              <a:gd name="T8" fmla="*/ 68343 w 59"/>
              <a:gd name="T9" fmla="*/ 152118 h 45"/>
              <a:gd name="T10" fmla="*/ 51258 w 59"/>
              <a:gd name="T11" fmla="*/ 134832 h 45"/>
              <a:gd name="T12" fmla="*/ 3417 w 59"/>
              <a:gd name="T13" fmla="*/ 89888 h 45"/>
              <a:gd name="T14" fmla="*/ 0 w 59"/>
              <a:gd name="T15" fmla="*/ 79516 h 45"/>
              <a:gd name="T16" fmla="*/ 3417 w 59"/>
              <a:gd name="T17" fmla="*/ 69144 h 45"/>
              <a:gd name="T18" fmla="*/ 20503 w 59"/>
              <a:gd name="T19" fmla="*/ 51858 h 45"/>
              <a:gd name="T20" fmla="*/ 30755 w 59"/>
              <a:gd name="T21" fmla="*/ 48401 h 45"/>
              <a:gd name="T22" fmla="*/ 37589 w 59"/>
              <a:gd name="T23" fmla="*/ 51858 h 45"/>
              <a:gd name="T24" fmla="*/ 78595 w 59"/>
              <a:gd name="T25" fmla="*/ 89888 h 45"/>
              <a:gd name="T26" fmla="*/ 160607 w 59"/>
              <a:gd name="T27" fmla="*/ 3457 h 45"/>
              <a:gd name="T28" fmla="*/ 170858 w 59"/>
              <a:gd name="T29" fmla="*/ 0 h 45"/>
              <a:gd name="T30" fmla="*/ 181110 w 59"/>
              <a:gd name="T31" fmla="*/ 3457 h 45"/>
              <a:gd name="T32" fmla="*/ 198196 w 59"/>
              <a:gd name="T33" fmla="*/ 24201 h 45"/>
              <a:gd name="T34" fmla="*/ 201613 w 59"/>
              <a:gd name="T35" fmla="*/ 31115 h 45"/>
              <a:gd name="T36" fmla="*/ 198196 w 59"/>
              <a:gd name="T37" fmla="*/ 41487 h 4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9" h="45">
                <a:moveTo>
                  <a:pt x="58" y="12"/>
                </a:moveTo>
                <a:cubicBezTo>
                  <a:pt x="30" y="39"/>
                  <a:pt x="30" y="39"/>
                  <a:pt x="30" y="39"/>
                </a:cubicBezTo>
                <a:cubicBezTo>
                  <a:pt x="25" y="44"/>
                  <a:pt x="25" y="44"/>
                  <a:pt x="25" y="44"/>
                </a:cubicBezTo>
                <a:cubicBezTo>
                  <a:pt x="24" y="45"/>
                  <a:pt x="24" y="45"/>
                  <a:pt x="23" y="45"/>
                </a:cubicBezTo>
                <a:cubicBezTo>
                  <a:pt x="22" y="45"/>
                  <a:pt x="21" y="45"/>
                  <a:pt x="20" y="44"/>
                </a:cubicBezTo>
                <a:cubicBezTo>
                  <a:pt x="15" y="39"/>
                  <a:pt x="15" y="39"/>
                  <a:pt x="15" y="39"/>
                </a:cubicBezTo>
                <a:cubicBezTo>
                  <a:pt x="1" y="26"/>
                  <a:pt x="1" y="26"/>
                  <a:pt x="1" y="26"/>
                </a:cubicBezTo>
                <a:cubicBezTo>
                  <a:pt x="0" y="25"/>
                  <a:pt x="0" y="24"/>
                  <a:pt x="0" y="23"/>
                </a:cubicBezTo>
                <a:cubicBezTo>
                  <a:pt x="0" y="22"/>
                  <a:pt x="0" y="21"/>
                  <a:pt x="1" y="20"/>
                </a:cubicBezTo>
                <a:cubicBezTo>
                  <a:pt x="6" y="15"/>
                  <a:pt x="6" y="15"/>
                  <a:pt x="6" y="15"/>
                </a:cubicBezTo>
                <a:cubicBezTo>
                  <a:pt x="7" y="14"/>
                  <a:pt x="8" y="14"/>
                  <a:pt x="9" y="14"/>
                </a:cubicBezTo>
                <a:cubicBezTo>
                  <a:pt x="10" y="14"/>
                  <a:pt x="11" y="14"/>
                  <a:pt x="11" y="15"/>
                </a:cubicBezTo>
                <a:cubicBezTo>
                  <a:pt x="23" y="26"/>
                  <a:pt x="23" y="26"/>
                  <a:pt x="23" y="26"/>
                </a:cubicBezTo>
                <a:cubicBezTo>
                  <a:pt x="47" y="1"/>
                  <a:pt x="47" y="1"/>
                  <a:pt x="47" y="1"/>
                </a:cubicBezTo>
                <a:cubicBezTo>
                  <a:pt x="48" y="1"/>
                  <a:pt x="49" y="0"/>
                  <a:pt x="50" y="0"/>
                </a:cubicBezTo>
                <a:cubicBezTo>
                  <a:pt x="51" y="0"/>
                  <a:pt x="52" y="1"/>
                  <a:pt x="53" y="1"/>
                </a:cubicBezTo>
                <a:cubicBezTo>
                  <a:pt x="58" y="7"/>
                  <a:pt x="58" y="7"/>
                  <a:pt x="58" y="7"/>
                </a:cubicBezTo>
                <a:cubicBezTo>
                  <a:pt x="58" y="7"/>
                  <a:pt x="59" y="8"/>
                  <a:pt x="59" y="9"/>
                </a:cubicBezTo>
                <a:cubicBezTo>
                  <a:pt x="59" y="10"/>
                  <a:pt x="58" y="11"/>
                  <a:pt x="58" y="12"/>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HarmonyOS Sans SC"/>
              <a:cs typeface="+mn-cs"/>
            </a:endParaRPr>
          </a:p>
        </p:txBody>
      </p:sp>
      <p:sp>
        <p:nvSpPr>
          <p:cNvPr id="33" name="TextBox 41">
            <a:extLst>
              <a:ext uri="{FF2B5EF4-FFF2-40B4-BE49-F238E27FC236}">
                <a16:creationId xmlns:a16="http://schemas.microsoft.com/office/drawing/2014/main" id="{4F3F2499-F2A0-40F3-8654-9C76639429C7}"/>
              </a:ext>
            </a:extLst>
          </p:cNvPr>
          <p:cNvSpPr txBox="1"/>
          <p:nvPr/>
        </p:nvSpPr>
        <p:spPr>
          <a:xfrm>
            <a:off x="6746550" y="4884983"/>
            <a:ext cx="3424823" cy="464614"/>
          </a:xfrm>
          <a:prstGeom prst="rect">
            <a:avLst/>
          </a:prstGeom>
          <a:noFill/>
        </p:spPr>
        <p:txBody>
          <a:bodyPr wrap="square" rtlCol="0">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1050" b="0" i="0" u="none" strike="noStrike" kern="1200" cap="none" spc="100" normalizeH="0" baseline="0" noProof="0" dirty="0">
                <a:ln>
                  <a:noFill/>
                </a:ln>
                <a:solidFill>
                  <a:prstClr val="black">
                    <a:lumMod val="50000"/>
                    <a:lumOff val="50000"/>
                  </a:prstClr>
                </a:solidFill>
                <a:effectLst/>
                <a:uLnTx/>
                <a:uFillTx/>
                <a:latin typeface="HarmonyOS Sans SC"/>
                <a:cs typeface="Open Sans" panose="020B0606030504020204" pitchFamily="34" charset="0"/>
              </a:rPr>
              <a:t>A wonderful serenity</a:t>
            </a:r>
            <a:r>
              <a:rPr kumimoji="0" lang="en-US" sz="1050" b="0" i="0" u="none" strike="noStrike" kern="1200" cap="none" spc="100" normalizeH="0" baseline="0" noProof="0" dirty="0">
                <a:ln>
                  <a:noFill/>
                </a:ln>
                <a:solidFill>
                  <a:prstClr val="black">
                    <a:lumMod val="50000"/>
                    <a:lumOff val="50000"/>
                  </a:prstClr>
                </a:solidFill>
                <a:effectLst/>
                <a:uLnTx/>
                <a:uFillTx/>
                <a:latin typeface="HarmonyOS Sans SC"/>
                <a:cs typeface="Open Sans Light" panose="020B0306030504020204" pitchFamily="34" charset="0"/>
              </a:rPr>
              <a:t> has taken possession of my entire soul</a:t>
            </a:r>
          </a:p>
        </p:txBody>
      </p:sp>
    </p:spTree>
    <p:extLst>
      <p:ext uri="{BB962C8B-B14F-4D97-AF65-F5344CB8AC3E}">
        <p14:creationId xmlns:p14="http://schemas.microsoft.com/office/powerpoint/2010/main" val="2536662878"/>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5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6">
            <a:extLst>
              <a:ext uri="{FF2B5EF4-FFF2-40B4-BE49-F238E27FC236}">
                <a16:creationId xmlns:a16="http://schemas.microsoft.com/office/drawing/2014/main" id="{1B430023-17EA-435F-88E2-66B57563D008}"/>
              </a:ext>
            </a:extLst>
          </p:cNvPr>
          <p:cNvSpPr>
            <a:spLocks/>
          </p:cNvSpPr>
          <p:nvPr/>
        </p:nvSpPr>
        <p:spPr bwMode="auto">
          <a:xfrm>
            <a:off x="5004691" y="2235659"/>
            <a:ext cx="907160" cy="88758"/>
          </a:xfrm>
          <a:custGeom>
            <a:avLst/>
            <a:gdLst>
              <a:gd name="T0" fmla="*/ 0 w 1803"/>
              <a:gd name="T1" fmla="*/ 67 h 175"/>
              <a:gd name="T2" fmla="*/ 1631 w 1803"/>
              <a:gd name="T3" fmla="*/ 67 h 175"/>
              <a:gd name="T4" fmla="*/ 1716 w 1803"/>
              <a:gd name="T5" fmla="*/ 0 h 175"/>
              <a:gd name="T6" fmla="*/ 1803 w 1803"/>
              <a:gd name="T7" fmla="*/ 87 h 175"/>
              <a:gd name="T8" fmla="*/ 1716 w 1803"/>
              <a:gd name="T9" fmla="*/ 175 h 175"/>
              <a:gd name="T10" fmla="*/ 1631 w 1803"/>
              <a:gd name="T11" fmla="*/ 107 h 175"/>
              <a:gd name="T12" fmla="*/ 0 w 1803"/>
              <a:gd name="T13" fmla="*/ 107 h 175"/>
              <a:gd name="T14" fmla="*/ 0 w 1803"/>
              <a:gd name="T15" fmla="*/ 67 h 1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03" h="175">
                <a:moveTo>
                  <a:pt x="0" y="67"/>
                </a:moveTo>
                <a:cubicBezTo>
                  <a:pt x="1631" y="67"/>
                  <a:pt x="1631" y="67"/>
                  <a:pt x="1631" y="67"/>
                </a:cubicBezTo>
                <a:cubicBezTo>
                  <a:pt x="1640" y="29"/>
                  <a:pt x="1675" y="0"/>
                  <a:pt x="1716" y="0"/>
                </a:cubicBezTo>
                <a:cubicBezTo>
                  <a:pt x="1764" y="0"/>
                  <a:pt x="1803" y="39"/>
                  <a:pt x="1803" y="87"/>
                </a:cubicBezTo>
                <a:cubicBezTo>
                  <a:pt x="1803" y="136"/>
                  <a:pt x="1764" y="175"/>
                  <a:pt x="1716" y="175"/>
                </a:cubicBezTo>
                <a:cubicBezTo>
                  <a:pt x="1675" y="175"/>
                  <a:pt x="1640" y="146"/>
                  <a:pt x="1631" y="107"/>
                </a:cubicBezTo>
                <a:cubicBezTo>
                  <a:pt x="0" y="107"/>
                  <a:pt x="0" y="107"/>
                  <a:pt x="0" y="107"/>
                </a:cubicBezTo>
                <a:lnTo>
                  <a:pt x="0" y="67"/>
                </a:lnTo>
                <a:close/>
              </a:path>
            </a:pathLst>
          </a:cu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sp>
        <p:nvSpPr>
          <p:cNvPr id="4" name="Freeform 7">
            <a:extLst>
              <a:ext uri="{FF2B5EF4-FFF2-40B4-BE49-F238E27FC236}">
                <a16:creationId xmlns:a16="http://schemas.microsoft.com/office/drawing/2014/main" id="{3B8776DC-36F9-41C1-A372-4C29BEB2BE65}"/>
              </a:ext>
            </a:extLst>
          </p:cNvPr>
          <p:cNvSpPr>
            <a:spLocks/>
          </p:cNvSpPr>
          <p:nvPr/>
        </p:nvSpPr>
        <p:spPr bwMode="auto">
          <a:xfrm>
            <a:off x="3950036" y="1644373"/>
            <a:ext cx="41769" cy="788381"/>
          </a:xfrm>
          <a:custGeom>
            <a:avLst/>
            <a:gdLst>
              <a:gd name="T0" fmla="*/ 32 w 32"/>
              <a:gd name="T1" fmla="*/ 604 h 604"/>
              <a:gd name="T2" fmla="*/ 1 w 32"/>
              <a:gd name="T3" fmla="*/ 587 h 604"/>
              <a:gd name="T4" fmla="*/ 0 w 32"/>
              <a:gd name="T5" fmla="*/ 0 h 604"/>
              <a:gd name="T6" fmla="*/ 31 w 32"/>
              <a:gd name="T7" fmla="*/ 18 h 604"/>
              <a:gd name="T8" fmla="*/ 32 w 32"/>
              <a:gd name="T9" fmla="*/ 604 h 604"/>
            </a:gdLst>
            <a:ahLst/>
            <a:cxnLst>
              <a:cxn ang="0">
                <a:pos x="T0" y="T1"/>
              </a:cxn>
              <a:cxn ang="0">
                <a:pos x="T2" y="T3"/>
              </a:cxn>
              <a:cxn ang="0">
                <a:pos x="T4" y="T5"/>
              </a:cxn>
              <a:cxn ang="0">
                <a:pos x="T6" y="T7"/>
              </a:cxn>
              <a:cxn ang="0">
                <a:pos x="T8" y="T9"/>
              </a:cxn>
            </a:cxnLst>
            <a:rect l="0" t="0" r="r" b="b"/>
            <a:pathLst>
              <a:path w="32" h="604">
                <a:moveTo>
                  <a:pt x="32" y="604"/>
                </a:moveTo>
                <a:lnTo>
                  <a:pt x="1" y="587"/>
                </a:lnTo>
                <a:lnTo>
                  <a:pt x="0" y="0"/>
                </a:lnTo>
                <a:lnTo>
                  <a:pt x="31" y="18"/>
                </a:lnTo>
                <a:lnTo>
                  <a:pt x="32" y="604"/>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5" name="Freeform 8">
            <a:extLst>
              <a:ext uri="{FF2B5EF4-FFF2-40B4-BE49-F238E27FC236}">
                <a16:creationId xmlns:a16="http://schemas.microsoft.com/office/drawing/2014/main" id="{D2606AC2-BD6A-466F-B2AE-689091A3C1B6}"/>
              </a:ext>
            </a:extLst>
          </p:cNvPr>
          <p:cNvSpPr>
            <a:spLocks/>
          </p:cNvSpPr>
          <p:nvPr/>
        </p:nvSpPr>
        <p:spPr bwMode="auto">
          <a:xfrm>
            <a:off x="3784267" y="926477"/>
            <a:ext cx="995919" cy="1506277"/>
          </a:xfrm>
          <a:custGeom>
            <a:avLst/>
            <a:gdLst>
              <a:gd name="T0" fmla="*/ 380 w 763"/>
              <a:gd name="T1" fmla="*/ 0 h 1154"/>
              <a:gd name="T2" fmla="*/ 763 w 763"/>
              <a:gd name="T3" fmla="*/ 218 h 1154"/>
              <a:gd name="T4" fmla="*/ 605 w 763"/>
              <a:gd name="T5" fmla="*/ 309 h 1154"/>
              <a:gd name="T6" fmla="*/ 607 w 763"/>
              <a:gd name="T7" fmla="*/ 896 h 1154"/>
              <a:gd name="T8" fmla="*/ 159 w 763"/>
              <a:gd name="T9" fmla="*/ 1154 h 1154"/>
              <a:gd name="T10" fmla="*/ 158 w 763"/>
              <a:gd name="T11" fmla="*/ 568 h 1154"/>
              <a:gd name="T12" fmla="*/ 0 w 763"/>
              <a:gd name="T13" fmla="*/ 659 h 1154"/>
              <a:gd name="T14" fmla="*/ 380 w 763"/>
              <a:gd name="T15" fmla="*/ 0 h 11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63" h="1154">
                <a:moveTo>
                  <a:pt x="380" y="0"/>
                </a:moveTo>
                <a:lnTo>
                  <a:pt x="763" y="218"/>
                </a:lnTo>
                <a:lnTo>
                  <a:pt x="605" y="309"/>
                </a:lnTo>
                <a:lnTo>
                  <a:pt x="607" y="896"/>
                </a:lnTo>
                <a:lnTo>
                  <a:pt x="159" y="1154"/>
                </a:lnTo>
                <a:lnTo>
                  <a:pt x="158" y="568"/>
                </a:lnTo>
                <a:lnTo>
                  <a:pt x="0" y="659"/>
                </a:lnTo>
                <a:lnTo>
                  <a:pt x="380" y="0"/>
                </a:lnTo>
                <a:close/>
              </a:path>
            </a:pathLst>
          </a:custGeom>
          <a:gradFill flip="none" rotWithShape="1">
            <a:gsLst>
              <a:gs pos="100000">
                <a:schemeClr val="accent1"/>
              </a:gs>
              <a:gs pos="31000">
                <a:schemeClr val="accent1">
                  <a:lumMod val="60000"/>
                  <a:lumOff val="40000"/>
                </a:schemeClr>
              </a:gs>
              <a:gs pos="0">
                <a:schemeClr val="accent1">
                  <a:lumMod val="40000"/>
                  <a:lumOff val="60000"/>
                </a:schemeClr>
              </a:gs>
            </a:gsLst>
            <a:lin ang="540000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6" name="Freeform 9">
            <a:extLst>
              <a:ext uri="{FF2B5EF4-FFF2-40B4-BE49-F238E27FC236}">
                <a16:creationId xmlns:a16="http://schemas.microsoft.com/office/drawing/2014/main" id="{2ED729DA-32B5-45DF-8483-E850DE558794}"/>
              </a:ext>
            </a:extLst>
          </p:cNvPr>
          <p:cNvSpPr>
            <a:spLocks/>
          </p:cNvSpPr>
          <p:nvPr/>
        </p:nvSpPr>
        <p:spPr bwMode="auto">
          <a:xfrm>
            <a:off x="4239805" y="902982"/>
            <a:ext cx="540380" cy="308043"/>
          </a:xfrm>
          <a:custGeom>
            <a:avLst/>
            <a:gdLst>
              <a:gd name="T0" fmla="*/ 31 w 414"/>
              <a:gd name="T1" fmla="*/ 18 h 236"/>
              <a:gd name="T2" fmla="*/ 0 w 414"/>
              <a:gd name="T3" fmla="*/ 0 h 236"/>
              <a:gd name="T4" fmla="*/ 383 w 414"/>
              <a:gd name="T5" fmla="*/ 219 h 236"/>
              <a:gd name="T6" fmla="*/ 414 w 414"/>
              <a:gd name="T7" fmla="*/ 236 h 236"/>
              <a:gd name="T8" fmla="*/ 31 w 414"/>
              <a:gd name="T9" fmla="*/ 18 h 236"/>
            </a:gdLst>
            <a:ahLst/>
            <a:cxnLst>
              <a:cxn ang="0">
                <a:pos x="T0" y="T1"/>
              </a:cxn>
              <a:cxn ang="0">
                <a:pos x="T2" y="T3"/>
              </a:cxn>
              <a:cxn ang="0">
                <a:pos x="T4" y="T5"/>
              </a:cxn>
              <a:cxn ang="0">
                <a:pos x="T6" y="T7"/>
              </a:cxn>
              <a:cxn ang="0">
                <a:pos x="T8" y="T9"/>
              </a:cxn>
            </a:cxnLst>
            <a:rect l="0" t="0" r="r" b="b"/>
            <a:pathLst>
              <a:path w="414" h="236">
                <a:moveTo>
                  <a:pt x="31" y="18"/>
                </a:moveTo>
                <a:lnTo>
                  <a:pt x="0" y="0"/>
                </a:lnTo>
                <a:lnTo>
                  <a:pt x="383" y="219"/>
                </a:lnTo>
                <a:lnTo>
                  <a:pt x="414" y="236"/>
                </a:lnTo>
                <a:lnTo>
                  <a:pt x="31" y="18"/>
                </a:lnTo>
                <a:close/>
              </a:path>
            </a:pathLst>
          </a:custGeom>
          <a:solidFill>
            <a:srgbClr val="FFD0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7" name="Freeform 10">
            <a:extLst>
              <a:ext uri="{FF2B5EF4-FFF2-40B4-BE49-F238E27FC236}">
                <a16:creationId xmlns:a16="http://schemas.microsoft.com/office/drawing/2014/main" id="{B841B0DB-9252-4C0B-9074-3DC1829BCBAD}"/>
              </a:ext>
            </a:extLst>
          </p:cNvPr>
          <p:cNvSpPr>
            <a:spLocks/>
          </p:cNvSpPr>
          <p:nvPr/>
        </p:nvSpPr>
        <p:spPr bwMode="auto">
          <a:xfrm>
            <a:off x="3743803" y="902982"/>
            <a:ext cx="536465" cy="883666"/>
          </a:xfrm>
          <a:custGeom>
            <a:avLst/>
            <a:gdLst>
              <a:gd name="T0" fmla="*/ 31 w 411"/>
              <a:gd name="T1" fmla="*/ 677 h 677"/>
              <a:gd name="T2" fmla="*/ 0 w 411"/>
              <a:gd name="T3" fmla="*/ 659 h 677"/>
              <a:gd name="T4" fmla="*/ 380 w 411"/>
              <a:gd name="T5" fmla="*/ 0 h 677"/>
              <a:gd name="T6" fmla="*/ 411 w 411"/>
              <a:gd name="T7" fmla="*/ 18 h 677"/>
              <a:gd name="T8" fmla="*/ 31 w 411"/>
              <a:gd name="T9" fmla="*/ 677 h 677"/>
            </a:gdLst>
            <a:ahLst/>
            <a:cxnLst>
              <a:cxn ang="0">
                <a:pos x="T0" y="T1"/>
              </a:cxn>
              <a:cxn ang="0">
                <a:pos x="T2" y="T3"/>
              </a:cxn>
              <a:cxn ang="0">
                <a:pos x="T4" y="T5"/>
              </a:cxn>
              <a:cxn ang="0">
                <a:pos x="T6" y="T7"/>
              </a:cxn>
              <a:cxn ang="0">
                <a:pos x="T8" y="T9"/>
              </a:cxn>
            </a:cxnLst>
            <a:rect l="0" t="0" r="r" b="b"/>
            <a:pathLst>
              <a:path w="411" h="677">
                <a:moveTo>
                  <a:pt x="31" y="677"/>
                </a:moveTo>
                <a:lnTo>
                  <a:pt x="0" y="659"/>
                </a:lnTo>
                <a:lnTo>
                  <a:pt x="380" y="0"/>
                </a:lnTo>
                <a:lnTo>
                  <a:pt x="411" y="18"/>
                </a:lnTo>
                <a:lnTo>
                  <a:pt x="31" y="677"/>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8" name="Freeform 11">
            <a:extLst>
              <a:ext uri="{FF2B5EF4-FFF2-40B4-BE49-F238E27FC236}">
                <a16:creationId xmlns:a16="http://schemas.microsoft.com/office/drawing/2014/main" id="{1BBC8D61-5239-4C42-AEC5-9A3130992526}"/>
              </a:ext>
            </a:extLst>
          </p:cNvPr>
          <p:cNvSpPr>
            <a:spLocks/>
          </p:cNvSpPr>
          <p:nvPr/>
        </p:nvSpPr>
        <p:spPr bwMode="auto">
          <a:xfrm>
            <a:off x="3952646" y="1909343"/>
            <a:ext cx="1247834" cy="723118"/>
          </a:xfrm>
          <a:custGeom>
            <a:avLst/>
            <a:gdLst>
              <a:gd name="T0" fmla="*/ 956 w 956"/>
              <a:gd name="T1" fmla="*/ 277 h 554"/>
              <a:gd name="T2" fmla="*/ 479 w 956"/>
              <a:gd name="T3" fmla="*/ 554 h 554"/>
              <a:gd name="T4" fmla="*/ 0 w 956"/>
              <a:gd name="T5" fmla="*/ 277 h 554"/>
              <a:gd name="T6" fmla="*/ 476 w 956"/>
              <a:gd name="T7" fmla="*/ 0 h 554"/>
              <a:gd name="T8" fmla="*/ 956 w 956"/>
              <a:gd name="T9" fmla="*/ 277 h 554"/>
            </a:gdLst>
            <a:ahLst/>
            <a:cxnLst>
              <a:cxn ang="0">
                <a:pos x="T0" y="T1"/>
              </a:cxn>
              <a:cxn ang="0">
                <a:pos x="T2" y="T3"/>
              </a:cxn>
              <a:cxn ang="0">
                <a:pos x="T4" y="T5"/>
              </a:cxn>
              <a:cxn ang="0">
                <a:pos x="T6" y="T7"/>
              </a:cxn>
              <a:cxn ang="0">
                <a:pos x="T8" y="T9"/>
              </a:cxn>
            </a:cxnLst>
            <a:rect l="0" t="0" r="r" b="b"/>
            <a:pathLst>
              <a:path w="956" h="554">
                <a:moveTo>
                  <a:pt x="956" y="277"/>
                </a:moveTo>
                <a:lnTo>
                  <a:pt x="479" y="554"/>
                </a:lnTo>
                <a:lnTo>
                  <a:pt x="0" y="277"/>
                </a:lnTo>
                <a:lnTo>
                  <a:pt x="476" y="0"/>
                </a:lnTo>
                <a:lnTo>
                  <a:pt x="956" y="277"/>
                </a:lnTo>
                <a:close/>
              </a:path>
            </a:pathLst>
          </a:custGeom>
          <a:gradFill>
            <a:gsLst>
              <a:gs pos="100000">
                <a:schemeClr val="accent1"/>
              </a:gs>
              <a:gs pos="31000">
                <a:schemeClr val="accent1">
                  <a:lumMod val="60000"/>
                  <a:lumOff val="40000"/>
                </a:schemeClr>
              </a:gs>
              <a:gs pos="0">
                <a:schemeClr val="accent1">
                  <a:lumMod val="40000"/>
                  <a:lumOff val="60000"/>
                </a:schemeClr>
              </a:gs>
            </a:gsLst>
            <a:lin ang="5400000" scaled="1"/>
          </a:gra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9" name="Freeform 12">
            <a:extLst>
              <a:ext uri="{FF2B5EF4-FFF2-40B4-BE49-F238E27FC236}">
                <a16:creationId xmlns:a16="http://schemas.microsoft.com/office/drawing/2014/main" id="{A9318925-DA3F-4DC7-A21E-5C84F23ADB33}"/>
              </a:ext>
            </a:extLst>
          </p:cNvPr>
          <p:cNvSpPr>
            <a:spLocks/>
          </p:cNvSpPr>
          <p:nvPr/>
        </p:nvSpPr>
        <p:spPr bwMode="auto">
          <a:xfrm>
            <a:off x="4576563" y="2270901"/>
            <a:ext cx="623917" cy="2909439"/>
          </a:xfrm>
          <a:custGeom>
            <a:avLst/>
            <a:gdLst>
              <a:gd name="T0" fmla="*/ 478 w 478"/>
              <a:gd name="T1" fmla="*/ 0 h 2229"/>
              <a:gd name="T2" fmla="*/ 476 w 478"/>
              <a:gd name="T3" fmla="*/ 1952 h 2229"/>
              <a:gd name="T4" fmla="*/ 0 w 478"/>
              <a:gd name="T5" fmla="*/ 2229 h 2229"/>
              <a:gd name="T6" fmla="*/ 1 w 478"/>
              <a:gd name="T7" fmla="*/ 277 h 2229"/>
              <a:gd name="T8" fmla="*/ 478 w 478"/>
              <a:gd name="T9" fmla="*/ 0 h 2229"/>
            </a:gdLst>
            <a:ahLst/>
            <a:cxnLst>
              <a:cxn ang="0">
                <a:pos x="T0" y="T1"/>
              </a:cxn>
              <a:cxn ang="0">
                <a:pos x="T2" y="T3"/>
              </a:cxn>
              <a:cxn ang="0">
                <a:pos x="T4" y="T5"/>
              </a:cxn>
              <a:cxn ang="0">
                <a:pos x="T6" y="T7"/>
              </a:cxn>
              <a:cxn ang="0">
                <a:pos x="T8" y="T9"/>
              </a:cxn>
            </a:cxnLst>
            <a:rect l="0" t="0" r="r" b="b"/>
            <a:pathLst>
              <a:path w="478" h="2229">
                <a:moveTo>
                  <a:pt x="478" y="0"/>
                </a:moveTo>
                <a:lnTo>
                  <a:pt x="476" y="1952"/>
                </a:lnTo>
                <a:lnTo>
                  <a:pt x="0" y="2229"/>
                </a:lnTo>
                <a:lnTo>
                  <a:pt x="1" y="277"/>
                </a:lnTo>
                <a:lnTo>
                  <a:pt x="478" y="0"/>
                </a:lnTo>
                <a:close/>
              </a:path>
            </a:pathLst>
          </a:custGeom>
          <a:gradFill flip="none" rotWithShape="1">
            <a:gsLst>
              <a:gs pos="100000">
                <a:schemeClr val="accent1"/>
              </a:gs>
              <a:gs pos="31000">
                <a:schemeClr val="accent1">
                  <a:lumMod val="60000"/>
                  <a:lumOff val="40000"/>
                </a:schemeClr>
              </a:gs>
              <a:gs pos="0">
                <a:schemeClr val="accent1">
                  <a:lumMod val="40000"/>
                  <a:lumOff val="60000"/>
                </a:schemeClr>
              </a:gs>
            </a:gsLst>
            <a:lin ang="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10" name="Freeform 13">
            <a:extLst>
              <a:ext uri="{FF2B5EF4-FFF2-40B4-BE49-F238E27FC236}">
                <a16:creationId xmlns:a16="http://schemas.microsoft.com/office/drawing/2014/main" id="{9E5BFA33-5A3C-4B4B-8482-1D4BDD1DF5C4}"/>
              </a:ext>
            </a:extLst>
          </p:cNvPr>
          <p:cNvSpPr>
            <a:spLocks/>
          </p:cNvSpPr>
          <p:nvPr/>
        </p:nvSpPr>
        <p:spPr bwMode="auto">
          <a:xfrm>
            <a:off x="3951341" y="2270901"/>
            <a:ext cx="626528" cy="2909439"/>
          </a:xfrm>
          <a:custGeom>
            <a:avLst/>
            <a:gdLst>
              <a:gd name="T0" fmla="*/ 480 w 480"/>
              <a:gd name="T1" fmla="*/ 277 h 2229"/>
              <a:gd name="T2" fmla="*/ 479 w 480"/>
              <a:gd name="T3" fmla="*/ 2229 h 2229"/>
              <a:gd name="T4" fmla="*/ 0 w 480"/>
              <a:gd name="T5" fmla="*/ 1952 h 2229"/>
              <a:gd name="T6" fmla="*/ 1 w 480"/>
              <a:gd name="T7" fmla="*/ 0 h 2229"/>
              <a:gd name="T8" fmla="*/ 480 w 480"/>
              <a:gd name="T9" fmla="*/ 277 h 2229"/>
            </a:gdLst>
            <a:ahLst/>
            <a:cxnLst>
              <a:cxn ang="0">
                <a:pos x="T0" y="T1"/>
              </a:cxn>
              <a:cxn ang="0">
                <a:pos x="T2" y="T3"/>
              </a:cxn>
              <a:cxn ang="0">
                <a:pos x="T4" y="T5"/>
              </a:cxn>
              <a:cxn ang="0">
                <a:pos x="T6" y="T7"/>
              </a:cxn>
              <a:cxn ang="0">
                <a:pos x="T8" y="T9"/>
              </a:cxn>
            </a:cxnLst>
            <a:rect l="0" t="0" r="r" b="b"/>
            <a:pathLst>
              <a:path w="480" h="2229">
                <a:moveTo>
                  <a:pt x="480" y="277"/>
                </a:moveTo>
                <a:lnTo>
                  <a:pt x="479" y="2229"/>
                </a:lnTo>
                <a:lnTo>
                  <a:pt x="0" y="1952"/>
                </a:lnTo>
                <a:lnTo>
                  <a:pt x="1" y="0"/>
                </a:lnTo>
                <a:lnTo>
                  <a:pt x="480" y="277"/>
                </a:lnTo>
                <a:close/>
              </a:path>
            </a:pathLst>
          </a:custGeom>
          <a:gradFill flip="none" rotWithShape="1">
            <a:gsLst>
              <a:gs pos="100000">
                <a:schemeClr val="accent1"/>
              </a:gs>
              <a:gs pos="31000">
                <a:schemeClr val="accent1">
                  <a:lumMod val="60000"/>
                  <a:lumOff val="40000"/>
                </a:schemeClr>
              </a:gs>
              <a:gs pos="0">
                <a:schemeClr val="accent1">
                  <a:lumMod val="40000"/>
                  <a:lumOff val="60000"/>
                </a:schemeClr>
              </a:gs>
            </a:gsLst>
            <a:lin ang="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11" name="Freeform 14">
            <a:extLst>
              <a:ext uri="{FF2B5EF4-FFF2-40B4-BE49-F238E27FC236}">
                <a16:creationId xmlns:a16="http://schemas.microsoft.com/office/drawing/2014/main" id="{1859414D-40AE-4A32-B792-90ADC9EB1186}"/>
              </a:ext>
            </a:extLst>
          </p:cNvPr>
          <p:cNvSpPr>
            <a:spLocks/>
          </p:cNvSpPr>
          <p:nvPr/>
        </p:nvSpPr>
        <p:spPr bwMode="auto">
          <a:xfrm>
            <a:off x="4576563" y="3298146"/>
            <a:ext cx="1335288" cy="87453"/>
          </a:xfrm>
          <a:custGeom>
            <a:avLst/>
            <a:gdLst>
              <a:gd name="T0" fmla="*/ 0 w 2653"/>
              <a:gd name="T1" fmla="*/ 67 h 174"/>
              <a:gd name="T2" fmla="*/ 2481 w 2653"/>
              <a:gd name="T3" fmla="*/ 67 h 174"/>
              <a:gd name="T4" fmla="*/ 2566 w 2653"/>
              <a:gd name="T5" fmla="*/ 0 h 174"/>
              <a:gd name="T6" fmla="*/ 2653 w 2653"/>
              <a:gd name="T7" fmla="*/ 87 h 174"/>
              <a:gd name="T8" fmla="*/ 2566 w 2653"/>
              <a:gd name="T9" fmla="*/ 174 h 174"/>
              <a:gd name="T10" fmla="*/ 2481 w 2653"/>
              <a:gd name="T11" fmla="*/ 107 h 174"/>
              <a:gd name="T12" fmla="*/ 0 w 2653"/>
              <a:gd name="T13" fmla="*/ 107 h 174"/>
              <a:gd name="T14" fmla="*/ 0 w 2653"/>
              <a:gd name="T15" fmla="*/ 67 h 17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53" h="174">
                <a:moveTo>
                  <a:pt x="0" y="67"/>
                </a:moveTo>
                <a:cubicBezTo>
                  <a:pt x="2481" y="67"/>
                  <a:pt x="2481" y="67"/>
                  <a:pt x="2481" y="67"/>
                </a:cubicBezTo>
                <a:cubicBezTo>
                  <a:pt x="2490" y="29"/>
                  <a:pt x="2525" y="0"/>
                  <a:pt x="2566" y="0"/>
                </a:cubicBezTo>
                <a:cubicBezTo>
                  <a:pt x="2614" y="0"/>
                  <a:pt x="2653" y="39"/>
                  <a:pt x="2653" y="87"/>
                </a:cubicBezTo>
                <a:cubicBezTo>
                  <a:pt x="2653" y="135"/>
                  <a:pt x="2614" y="174"/>
                  <a:pt x="2566" y="174"/>
                </a:cubicBezTo>
                <a:cubicBezTo>
                  <a:pt x="2525" y="174"/>
                  <a:pt x="2490" y="146"/>
                  <a:pt x="2481" y="107"/>
                </a:cubicBezTo>
                <a:cubicBezTo>
                  <a:pt x="0" y="107"/>
                  <a:pt x="0" y="107"/>
                  <a:pt x="0" y="107"/>
                </a:cubicBezTo>
                <a:lnTo>
                  <a:pt x="0" y="67"/>
                </a:lnTo>
                <a:close/>
              </a:path>
            </a:pathLst>
          </a:cu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sp>
        <p:nvSpPr>
          <p:cNvPr id="13" name="Freeform 15">
            <a:extLst>
              <a:ext uri="{FF2B5EF4-FFF2-40B4-BE49-F238E27FC236}">
                <a16:creationId xmlns:a16="http://schemas.microsoft.com/office/drawing/2014/main" id="{929A4AB4-263F-47B3-B0E7-FF9D42549F91}"/>
              </a:ext>
            </a:extLst>
          </p:cNvPr>
          <p:cNvSpPr>
            <a:spLocks/>
          </p:cNvSpPr>
          <p:nvPr/>
        </p:nvSpPr>
        <p:spPr bwMode="auto">
          <a:xfrm>
            <a:off x="3328729" y="2704250"/>
            <a:ext cx="43074" cy="788381"/>
          </a:xfrm>
          <a:custGeom>
            <a:avLst/>
            <a:gdLst>
              <a:gd name="T0" fmla="*/ 33 w 33"/>
              <a:gd name="T1" fmla="*/ 604 h 604"/>
              <a:gd name="T2" fmla="*/ 2 w 33"/>
              <a:gd name="T3" fmla="*/ 586 h 604"/>
              <a:gd name="T4" fmla="*/ 0 w 33"/>
              <a:gd name="T5" fmla="*/ 0 h 604"/>
              <a:gd name="T6" fmla="*/ 31 w 33"/>
              <a:gd name="T7" fmla="*/ 18 h 604"/>
              <a:gd name="T8" fmla="*/ 33 w 33"/>
              <a:gd name="T9" fmla="*/ 604 h 604"/>
            </a:gdLst>
            <a:ahLst/>
            <a:cxnLst>
              <a:cxn ang="0">
                <a:pos x="T0" y="T1"/>
              </a:cxn>
              <a:cxn ang="0">
                <a:pos x="T2" y="T3"/>
              </a:cxn>
              <a:cxn ang="0">
                <a:pos x="T4" y="T5"/>
              </a:cxn>
              <a:cxn ang="0">
                <a:pos x="T6" y="T7"/>
              </a:cxn>
              <a:cxn ang="0">
                <a:pos x="T8" y="T9"/>
              </a:cxn>
            </a:cxnLst>
            <a:rect l="0" t="0" r="r" b="b"/>
            <a:pathLst>
              <a:path w="33" h="604">
                <a:moveTo>
                  <a:pt x="33" y="604"/>
                </a:moveTo>
                <a:lnTo>
                  <a:pt x="2" y="586"/>
                </a:lnTo>
                <a:lnTo>
                  <a:pt x="0" y="0"/>
                </a:lnTo>
                <a:lnTo>
                  <a:pt x="31" y="18"/>
                </a:lnTo>
                <a:lnTo>
                  <a:pt x="33" y="604"/>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14" name="Freeform 16">
            <a:extLst>
              <a:ext uri="{FF2B5EF4-FFF2-40B4-BE49-F238E27FC236}">
                <a16:creationId xmlns:a16="http://schemas.microsoft.com/office/drawing/2014/main" id="{9A8C231F-79EF-48D3-8B18-3A9D41F6F321}"/>
              </a:ext>
            </a:extLst>
          </p:cNvPr>
          <p:cNvSpPr>
            <a:spLocks/>
          </p:cNvSpPr>
          <p:nvPr/>
        </p:nvSpPr>
        <p:spPr bwMode="auto">
          <a:xfrm>
            <a:off x="3162960" y="1986353"/>
            <a:ext cx="995919" cy="1506277"/>
          </a:xfrm>
          <a:custGeom>
            <a:avLst/>
            <a:gdLst>
              <a:gd name="T0" fmla="*/ 381 w 763"/>
              <a:gd name="T1" fmla="*/ 0 h 1154"/>
              <a:gd name="T2" fmla="*/ 763 w 763"/>
              <a:gd name="T3" fmla="*/ 218 h 1154"/>
              <a:gd name="T4" fmla="*/ 606 w 763"/>
              <a:gd name="T5" fmla="*/ 309 h 1154"/>
              <a:gd name="T6" fmla="*/ 607 w 763"/>
              <a:gd name="T7" fmla="*/ 895 h 1154"/>
              <a:gd name="T8" fmla="*/ 160 w 763"/>
              <a:gd name="T9" fmla="*/ 1154 h 1154"/>
              <a:gd name="T10" fmla="*/ 158 w 763"/>
              <a:gd name="T11" fmla="*/ 568 h 1154"/>
              <a:gd name="T12" fmla="*/ 0 w 763"/>
              <a:gd name="T13" fmla="*/ 659 h 1154"/>
              <a:gd name="T14" fmla="*/ 381 w 763"/>
              <a:gd name="T15" fmla="*/ 0 h 11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63" h="1154">
                <a:moveTo>
                  <a:pt x="381" y="0"/>
                </a:moveTo>
                <a:lnTo>
                  <a:pt x="763" y="218"/>
                </a:lnTo>
                <a:lnTo>
                  <a:pt x="606" y="309"/>
                </a:lnTo>
                <a:lnTo>
                  <a:pt x="607" y="895"/>
                </a:lnTo>
                <a:lnTo>
                  <a:pt x="160" y="1154"/>
                </a:lnTo>
                <a:lnTo>
                  <a:pt x="158" y="568"/>
                </a:lnTo>
                <a:lnTo>
                  <a:pt x="0" y="659"/>
                </a:lnTo>
                <a:lnTo>
                  <a:pt x="381" y="0"/>
                </a:lnTo>
                <a:close/>
              </a:path>
            </a:pathLst>
          </a:custGeom>
          <a:gradFill flip="none" rotWithShape="1">
            <a:gsLst>
              <a:gs pos="100000">
                <a:schemeClr val="accent1"/>
              </a:gs>
              <a:gs pos="31000">
                <a:schemeClr val="accent1">
                  <a:lumMod val="60000"/>
                  <a:lumOff val="40000"/>
                </a:schemeClr>
              </a:gs>
              <a:gs pos="0">
                <a:schemeClr val="accent1">
                  <a:lumMod val="40000"/>
                  <a:lumOff val="60000"/>
                </a:schemeClr>
              </a:gs>
            </a:gsLst>
            <a:lin ang="540000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15" name="Freeform 17">
            <a:extLst>
              <a:ext uri="{FF2B5EF4-FFF2-40B4-BE49-F238E27FC236}">
                <a16:creationId xmlns:a16="http://schemas.microsoft.com/office/drawing/2014/main" id="{1D999BEE-B40E-45F5-A761-93B77D57A4AA}"/>
              </a:ext>
            </a:extLst>
          </p:cNvPr>
          <p:cNvSpPr>
            <a:spLocks/>
          </p:cNvSpPr>
          <p:nvPr/>
        </p:nvSpPr>
        <p:spPr bwMode="auto">
          <a:xfrm>
            <a:off x="3619804" y="1962858"/>
            <a:ext cx="539075" cy="308043"/>
          </a:xfrm>
          <a:custGeom>
            <a:avLst/>
            <a:gdLst>
              <a:gd name="T0" fmla="*/ 31 w 413"/>
              <a:gd name="T1" fmla="*/ 18 h 236"/>
              <a:gd name="T2" fmla="*/ 0 w 413"/>
              <a:gd name="T3" fmla="*/ 0 h 236"/>
              <a:gd name="T4" fmla="*/ 383 w 413"/>
              <a:gd name="T5" fmla="*/ 218 h 236"/>
              <a:gd name="T6" fmla="*/ 413 w 413"/>
              <a:gd name="T7" fmla="*/ 236 h 236"/>
              <a:gd name="T8" fmla="*/ 31 w 413"/>
              <a:gd name="T9" fmla="*/ 18 h 236"/>
            </a:gdLst>
            <a:ahLst/>
            <a:cxnLst>
              <a:cxn ang="0">
                <a:pos x="T0" y="T1"/>
              </a:cxn>
              <a:cxn ang="0">
                <a:pos x="T2" y="T3"/>
              </a:cxn>
              <a:cxn ang="0">
                <a:pos x="T4" y="T5"/>
              </a:cxn>
              <a:cxn ang="0">
                <a:pos x="T6" y="T7"/>
              </a:cxn>
              <a:cxn ang="0">
                <a:pos x="T8" y="T9"/>
              </a:cxn>
            </a:cxnLst>
            <a:rect l="0" t="0" r="r" b="b"/>
            <a:pathLst>
              <a:path w="413" h="236">
                <a:moveTo>
                  <a:pt x="31" y="18"/>
                </a:moveTo>
                <a:lnTo>
                  <a:pt x="0" y="0"/>
                </a:lnTo>
                <a:lnTo>
                  <a:pt x="383" y="218"/>
                </a:lnTo>
                <a:lnTo>
                  <a:pt x="413" y="236"/>
                </a:lnTo>
                <a:lnTo>
                  <a:pt x="31" y="18"/>
                </a:lnTo>
                <a:close/>
              </a:path>
            </a:pathLst>
          </a:custGeom>
          <a:solidFill>
            <a:srgbClr val="7D31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16" name="Freeform 18">
            <a:extLst>
              <a:ext uri="{FF2B5EF4-FFF2-40B4-BE49-F238E27FC236}">
                <a16:creationId xmlns:a16="http://schemas.microsoft.com/office/drawing/2014/main" id="{9183BC4A-7C02-4063-BF7C-0B403F75BBCE}"/>
              </a:ext>
            </a:extLst>
          </p:cNvPr>
          <p:cNvSpPr>
            <a:spLocks/>
          </p:cNvSpPr>
          <p:nvPr/>
        </p:nvSpPr>
        <p:spPr bwMode="auto">
          <a:xfrm>
            <a:off x="3122497" y="1962858"/>
            <a:ext cx="537770" cy="883666"/>
          </a:xfrm>
          <a:custGeom>
            <a:avLst/>
            <a:gdLst>
              <a:gd name="T0" fmla="*/ 31 w 412"/>
              <a:gd name="T1" fmla="*/ 677 h 677"/>
              <a:gd name="T2" fmla="*/ 0 w 412"/>
              <a:gd name="T3" fmla="*/ 659 h 677"/>
              <a:gd name="T4" fmla="*/ 381 w 412"/>
              <a:gd name="T5" fmla="*/ 0 h 677"/>
              <a:gd name="T6" fmla="*/ 412 w 412"/>
              <a:gd name="T7" fmla="*/ 18 h 677"/>
              <a:gd name="T8" fmla="*/ 31 w 412"/>
              <a:gd name="T9" fmla="*/ 677 h 677"/>
            </a:gdLst>
            <a:ahLst/>
            <a:cxnLst>
              <a:cxn ang="0">
                <a:pos x="T0" y="T1"/>
              </a:cxn>
              <a:cxn ang="0">
                <a:pos x="T2" y="T3"/>
              </a:cxn>
              <a:cxn ang="0">
                <a:pos x="T4" y="T5"/>
              </a:cxn>
              <a:cxn ang="0">
                <a:pos x="T6" y="T7"/>
              </a:cxn>
              <a:cxn ang="0">
                <a:pos x="T8" y="T9"/>
              </a:cxn>
            </a:cxnLst>
            <a:rect l="0" t="0" r="r" b="b"/>
            <a:pathLst>
              <a:path w="412" h="677">
                <a:moveTo>
                  <a:pt x="31" y="677"/>
                </a:moveTo>
                <a:lnTo>
                  <a:pt x="0" y="659"/>
                </a:lnTo>
                <a:lnTo>
                  <a:pt x="381" y="0"/>
                </a:lnTo>
                <a:lnTo>
                  <a:pt x="412" y="18"/>
                </a:lnTo>
                <a:lnTo>
                  <a:pt x="31" y="677"/>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17" name="Freeform 19">
            <a:extLst>
              <a:ext uri="{FF2B5EF4-FFF2-40B4-BE49-F238E27FC236}">
                <a16:creationId xmlns:a16="http://schemas.microsoft.com/office/drawing/2014/main" id="{F73BC716-E749-4C4C-BE84-3A3C14F0D01F}"/>
              </a:ext>
            </a:extLst>
          </p:cNvPr>
          <p:cNvSpPr>
            <a:spLocks/>
          </p:cNvSpPr>
          <p:nvPr/>
        </p:nvSpPr>
        <p:spPr bwMode="auto">
          <a:xfrm>
            <a:off x="3324378" y="2976181"/>
            <a:ext cx="1247834" cy="723118"/>
          </a:xfrm>
          <a:custGeom>
            <a:avLst/>
            <a:gdLst>
              <a:gd name="T0" fmla="*/ 956 w 956"/>
              <a:gd name="T1" fmla="*/ 277 h 554"/>
              <a:gd name="T2" fmla="*/ 480 w 956"/>
              <a:gd name="T3" fmla="*/ 554 h 554"/>
              <a:gd name="T4" fmla="*/ 0 w 956"/>
              <a:gd name="T5" fmla="*/ 277 h 554"/>
              <a:gd name="T6" fmla="*/ 477 w 956"/>
              <a:gd name="T7" fmla="*/ 0 h 554"/>
              <a:gd name="T8" fmla="*/ 956 w 956"/>
              <a:gd name="T9" fmla="*/ 277 h 554"/>
            </a:gdLst>
            <a:ahLst/>
            <a:cxnLst>
              <a:cxn ang="0">
                <a:pos x="T0" y="T1"/>
              </a:cxn>
              <a:cxn ang="0">
                <a:pos x="T2" y="T3"/>
              </a:cxn>
              <a:cxn ang="0">
                <a:pos x="T4" y="T5"/>
              </a:cxn>
              <a:cxn ang="0">
                <a:pos x="T6" y="T7"/>
              </a:cxn>
              <a:cxn ang="0">
                <a:pos x="T8" y="T9"/>
              </a:cxn>
            </a:cxnLst>
            <a:rect l="0" t="0" r="r" b="b"/>
            <a:pathLst>
              <a:path w="956" h="554">
                <a:moveTo>
                  <a:pt x="956" y="277"/>
                </a:moveTo>
                <a:lnTo>
                  <a:pt x="480" y="554"/>
                </a:lnTo>
                <a:lnTo>
                  <a:pt x="0" y="277"/>
                </a:lnTo>
                <a:lnTo>
                  <a:pt x="477" y="0"/>
                </a:lnTo>
                <a:lnTo>
                  <a:pt x="956" y="277"/>
                </a:lnTo>
                <a:close/>
              </a:path>
            </a:pathLst>
          </a:custGeom>
          <a:gradFill>
            <a:gsLst>
              <a:gs pos="100000">
                <a:schemeClr val="accent1"/>
              </a:gs>
              <a:gs pos="31000">
                <a:schemeClr val="accent1">
                  <a:lumMod val="60000"/>
                  <a:lumOff val="40000"/>
                </a:schemeClr>
              </a:gs>
              <a:gs pos="0">
                <a:schemeClr val="accent1">
                  <a:lumMod val="40000"/>
                  <a:lumOff val="60000"/>
                </a:schemeClr>
              </a:gs>
            </a:gsLst>
            <a:lin ang="5400000" scaled="1"/>
          </a:gra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18" name="Freeform 20">
            <a:extLst>
              <a:ext uri="{FF2B5EF4-FFF2-40B4-BE49-F238E27FC236}">
                <a16:creationId xmlns:a16="http://schemas.microsoft.com/office/drawing/2014/main" id="{A4F5ED73-70C8-493E-8D55-7CE38497097E}"/>
              </a:ext>
            </a:extLst>
          </p:cNvPr>
          <p:cNvSpPr>
            <a:spLocks/>
          </p:cNvSpPr>
          <p:nvPr/>
        </p:nvSpPr>
        <p:spPr bwMode="auto">
          <a:xfrm>
            <a:off x="3955257" y="3330778"/>
            <a:ext cx="623917" cy="2209816"/>
          </a:xfrm>
          <a:custGeom>
            <a:avLst/>
            <a:gdLst>
              <a:gd name="T0" fmla="*/ 478 w 478"/>
              <a:gd name="T1" fmla="*/ 0 h 1693"/>
              <a:gd name="T2" fmla="*/ 476 w 478"/>
              <a:gd name="T3" fmla="*/ 1416 h 1693"/>
              <a:gd name="T4" fmla="*/ 0 w 478"/>
              <a:gd name="T5" fmla="*/ 1693 h 1693"/>
              <a:gd name="T6" fmla="*/ 2 w 478"/>
              <a:gd name="T7" fmla="*/ 277 h 1693"/>
              <a:gd name="T8" fmla="*/ 478 w 478"/>
              <a:gd name="T9" fmla="*/ 0 h 1693"/>
            </a:gdLst>
            <a:ahLst/>
            <a:cxnLst>
              <a:cxn ang="0">
                <a:pos x="T0" y="T1"/>
              </a:cxn>
              <a:cxn ang="0">
                <a:pos x="T2" y="T3"/>
              </a:cxn>
              <a:cxn ang="0">
                <a:pos x="T4" y="T5"/>
              </a:cxn>
              <a:cxn ang="0">
                <a:pos x="T6" y="T7"/>
              </a:cxn>
              <a:cxn ang="0">
                <a:pos x="T8" y="T9"/>
              </a:cxn>
            </a:cxnLst>
            <a:rect l="0" t="0" r="r" b="b"/>
            <a:pathLst>
              <a:path w="478" h="1693">
                <a:moveTo>
                  <a:pt x="478" y="0"/>
                </a:moveTo>
                <a:lnTo>
                  <a:pt x="476" y="1416"/>
                </a:lnTo>
                <a:lnTo>
                  <a:pt x="0" y="1693"/>
                </a:lnTo>
                <a:lnTo>
                  <a:pt x="2" y="277"/>
                </a:lnTo>
                <a:lnTo>
                  <a:pt x="478" y="0"/>
                </a:lnTo>
                <a:close/>
              </a:path>
            </a:pathLst>
          </a:custGeom>
          <a:gradFill flip="none" rotWithShape="1">
            <a:gsLst>
              <a:gs pos="100000">
                <a:schemeClr val="accent1"/>
              </a:gs>
              <a:gs pos="31000">
                <a:schemeClr val="accent1">
                  <a:lumMod val="60000"/>
                  <a:lumOff val="40000"/>
                </a:schemeClr>
              </a:gs>
              <a:gs pos="0">
                <a:schemeClr val="accent1">
                  <a:lumMod val="40000"/>
                  <a:lumOff val="60000"/>
                </a:schemeClr>
              </a:gs>
            </a:gsLst>
            <a:lin ang="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19" name="Freeform 21">
            <a:extLst>
              <a:ext uri="{FF2B5EF4-FFF2-40B4-BE49-F238E27FC236}">
                <a16:creationId xmlns:a16="http://schemas.microsoft.com/office/drawing/2014/main" id="{CABE5743-03A9-48DC-A1D0-A7E9FB4B3952}"/>
              </a:ext>
            </a:extLst>
          </p:cNvPr>
          <p:cNvSpPr>
            <a:spLocks/>
          </p:cNvSpPr>
          <p:nvPr/>
        </p:nvSpPr>
        <p:spPr bwMode="auto">
          <a:xfrm>
            <a:off x="3330034" y="3330778"/>
            <a:ext cx="627833" cy="2209816"/>
          </a:xfrm>
          <a:custGeom>
            <a:avLst/>
            <a:gdLst>
              <a:gd name="T0" fmla="*/ 481 w 481"/>
              <a:gd name="T1" fmla="*/ 277 h 1693"/>
              <a:gd name="T2" fmla="*/ 479 w 481"/>
              <a:gd name="T3" fmla="*/ 1693 h 1693"/>
              <a:gd name="T4" fmla="*/ 0 w 481"/>
              <a:gd name="T5" fmla="*/ 1416 h 1693"/>
              <a:gd name="T6" fmla="*/ 1 w 481"/>
              <a:gd name="T7" fmla="*/ 0 h 1693"/>
              <a:gd name="T8" fmla="*/ 481 w 481"/>
              <a:gd name="T9" fmla="*/ 277 h 1693"/>
            </a:gdLst>
            <a:ahLst/>
            <a:cxnLst>
              <a:cxn ang="0">
                <a:pos x="T0" y="T1"/>
              </a:cxn>
              <a:cxn ang="0">
                <a:pos x="T2" y="T3"/>
              </a:cxn>
              <a:cxn ang="0">
                <a:pos x="T4" y="T5"/>
              </a:cxn>
              <a:cxn ang="0">
                <a:pos x="T6" y="T7"/>
              </a:cxn>
              <a:cxn ang="0">
                <a:pos x="T8" y="T9"/>
              </a:cxn>
            </a:cxnLst>
            <a:rect l="0" t="0" r="r" b="b"/>
            <a:pathLst>
              <a:path w="481" h="1693">
                <a:moveTo>
                  <a:pt x="481" y="277"/>
                </a:moveTo>
                <a:lnTo>
                  <a:pt x="479" y="1693"/>
                </a:lnTo>
                <a:lnTo>
                  <a:pt x="0" y="1416"/>
                </a:lnTo>
                <a:lnTo>
                  <a:pt x="1" y="0"/>
                </a:lnTo>
                <a:lnTo>
                  <a:pt x="481" y="277"/>
                </a:lnTo>
                <a:close/>
              </a:path>
            </a:pathLst>
          </a:custGeom>
          <a:gradFill flip="none" rotWithShape="1">
            <a:gsLst>
              <a:gs pos="100000">
                <a:schemeClr val="accent1"/>
              </a:gs>
              <a:gs pos="31000">
                <a:schemeClr val="accent1">
                  <a:lumMod val="60000"/>
                  <a:lumOff val="40000"/>
                </a:schemeClr>
              </a:gs>
              <a:gs pos="0">
                <a:schemeClr val="accent1">
                  <a:lumMod val="40000"/>
                  <a:lumOff val="60000"/>
                </a:schemeClr>
              </a:gs>
            </a:gsLst>
            <a:lin ang="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21" name="Freeform 22">
            <a:extLst>
              <a:ext uri="{FF2B5EF4-FFF2-40B4-BE49-F238E27FC236}">
                <a16:creationId xmlns:a16="http://schemas.microsoft.com/office/drawing/2014/main" id="{FB8BC40D-2CC0-43CD-8999-B54F5C498D8C}"/>
              </a:ext>
            </a:extLst>
          </p:cNvPr>
          <p:cNvSpPr>
            <a:spLocks/>
          </p:cNvSpPr>
          <p:nvPr/>
        </p:nvSpPr>
        <p:spPr bwMode="auto">
          <a:xfrm>
            <a:off x="2708728" y="3786316"/>
            <a:ext cx="41769" cy="788381"/>
          </a:xfrm>
          <a:custGeom>
            <a:avLst/>
            <a:gdLst>
              <a:gd name="T0" fmla="*/ 32 w 32"/>
              <a:gd name="T1" fmla="*/ 604 h 604"/>
              <a:gd name="T2" fmla="*/ 1 w 32"/>
              <a:gd name="T3" fmla="*/ 587 h 604"/>
              <a:gd name="T4" fmla="*/ 0 w 32"/>
              <a:gd name="T5" fmla="*/ 0 h 604"/>
              <a:gd name="T6" fmla="*/ 30 w 32"/>
              <a:gd name="T7" fmla="*/ 18 h 604"/>
              <a:gd name="T8" fmla="*/ 32 w 32"/>
              <a:gd name="T9" fmla="*/ 604 h 604"/>
            </a:gdLst>
            <a:ahLst/>
            <a:cxnLst>
              <a:cxn ang="0">
                <a:pos x="T0" y="T1"/>
              </a:cxn>
              <a:cxn ang="0">
                <a:pos x="T2" y="T3"/>
              </a:cxn>
              <a:cxn ang="0">
                <a:pos x="T4" y="T5"/>
              </a:cxn>
              <a:cxn ang="0">
                <a:pos x="T6" y="T7"/>
              </a:cxn>
              <a:cxn ang="0">
                <a:pos x="T8" y="T9"/>
              </a:cxn>
            </a:cxnLst>
            <a:rect l="0" t="0" r="r" b="b"/>
            <a:pathLst>
              <a:path w="32" h="604">
                <a:moveTo>
                  <a:pt x="32" y="604"/>
                </a:moveTo>
                <a:lnTo>
                  <a:pt x="1" y="587"/>
                </a:lnTo>
                <a:lnTo>
                  <a:pt x="0" y="0"/>
                </a:lnTo>
                <a:lnTo>
                  <a:pt x="30" y="18"/>
                </a:lnTo>
                <a:lnTo>
                  <a:pt x="32" y="604"/>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22" name="Freeform 23">
            <a:extLst>
              <a:ext uri="{FF2B5EF4-FFF2-40B4-BE49-F238E27FC236}">
                <a16:creationId xmlns:a16="http://schemas.microsoft.com/office/drawing/2014/main" id="{74C76A53-CF3E-4EA2-B8DE-6C9D673B8590}"/>
              </a:ext>
            </a:extLst>
          </p:cNvPr>
          <p:cNvSpPr>
            <a:spLocks/>
          </p:cNvSpPr>
          <p:nvPr/>
        </p:nvSpPr>
        <p:spPr bwMode="auto">
          <a:xfrm>
            <a:off x="2541654" y="3068419"/>
            <a:ext cx="997223" cy="1506277"/>
          </a:xfrm>
          <a:custGeom>
            <a:avLst/>
            <a:gdLst>
              <a:gd name="T0" fmla="*/ 381 w 764"/>
              <a:gd name="T1" fmla="*/ 0 h 1154"/>
              <a:gd name="T2" fmla="*/ 764 w 764"/>
              <a:gd name="T3" fmla="*/ 218 h 1154"/>
              <a:gd name="T4" fmla="*/ 606 w 764"/>
              <a:gd name="T5" fmla="*/ 309 h 1154"/>
              <a:gd name="T6" fmla="*/ 607 w 764"/>
              <a:gd name="T7" fmla="*/ 896 h 1154"/>
              <a:gd name="T8" fmla="*/ 160 w 764"/>
              <a:gd name="T9" fmla="*/ 1154 h 1154"/>
              <a:gd name="T10" fmla="*/ 158 w 764"/>
              <a:gd name="T11" fmla="*/ 568 h 1154"/>
              <a:gd name="T12" fmla="*/ 0 w 764"/>
              <a:gd name="T13" fmla="*/ 659 h 1154"/>
              <a:gd name="T14" fmla="*/ 381 w 764"/>
              <a:gd name="T15" fmla="*/ 0 h 11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64" h="1154">
                <a:moveTo>
                  <a:pt x="381" y="0"/>
                </a:moveTo>
                <a:lnTo>
                  <a:pt x="764" y="218"/>
                </a:lnTo>
                <a:lnTo>
                  <a:pt x="606" y="309"/>
                </a:lnTo>
                <a:lnTo>
                  <a:pt x="607" y="896"/>
                </a:lnTo>
                <a:lnTo>
                  <a:pt x="160" y="1154"/>
                </a:lnTo>
                <a:lnTo>
                  <a:pt x="158" y="568"/>
                </a:lnTo>
                <a:lnTo>
                  <a:pt x="0" y="659"/>
                </a:lnTo>
                <a:lnTo>
                  <a:pt x="381" y="0"/>
                </a:lnTo>
                <a:close/>
              </a:path>
            </a:pathLst>
          </a:custGeom>
          <a:gradFill flip="none" rotWithShape="1">
            <a:gsLst>
              <a:gs pos="100000">
                <a:schemeClr val="accent1"/>
              </a:gs>
              <a:gs pos="31000">
                <a:schemeClr val="accent1">
                  <a:lumMod val="60000"/>
                  <a:lumOff val="40000"/>
                </a:schemeClr>
              </a:gs>
              <a:gs pos="0">
                <a:schemeClr val="accent1">
                  <a:lumMod val="40000"/>
                  <a:lumOff val="60000"/>
                </a:schemeClr>
              </a:gs>
            </a:gsLst>
            <a:lin ang="540000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23" name="Freeform 24">
            <a:extLst>
              <a:ext uri="{FF2B5EF4-FFF2-40B4-BE49-F238E27FC236}">
                <a16:creationId xmlns:a16="http://schemas.microsoft.com/office/drawing/2014/main" id="{D2D03976-B128-4F0F-9E99-B72D7BC469C0}"/>
              </a:ext>
            </a:extLst>
          </p:cNvPr>
          <p:cNvSpPr>
            <a:spLocks/>
          </p:cNvSpPr>
          <p:nvPr/>
        </p:nvSpPr>
        <p:spPr bwMode="auto">
          <a:xfrm>
            <a:off x="2998497" y="3044925"/>
            <a:ext cx="540380" cy="308043"/>
          </a:xfrm>
          <a:custGeom>
            <a:avLst/>
            <a:gdLst>
              <a:gd name="T0" fmla="*/ 31 w 414"/>
              <a:gd name="T1" fmla="*/ 18 h 236"/>
              <a:gd name="T2" fmla="*/ 0 w 414"/>
              <a:gd name="T3" fmla="*/ 0 h 236"/>
              <a:gd name="T4" fmla="*/ 383 w 414"/>
              <a:gd name="T5" fmla="*/ 218 h 236"/>
              <a:gd name="T6" fmla="*/ 414 w 414"/>
              <a:gd name="T7" fmla="*/ 236 h 236"/>
              <a:gd name="T8" fmla="*/ 31 w 414"/>
              <a:gd name="T9" fmla="*/ 18 h 236"/>
            </a:gdLst>
            <a:ahLst/>
            <a:cxnLst>
              <a:cxn ang="0">
                <a:pos x="T0" y="T1"/>
              </a:cxn>
              <a:cxn ang="0">
                <a:pos x="T2" y="T3"/>
              </a:cxn>
              <a:cxn ang="0">
                <a:pos x="T4" y="T5"/>
              </a:cxn>
              <a:cxn ang="0">
                <a:pos x="T6" y="T7"/>
              </a:cxn>
              <a:cxn ang="0">
                <a:pos x="T8" y="T9"/>
              </a:cxn>
            </a:cxnLst>
            <a:rect l="0" t="0" r="r" b="b"/>
            <a:pathLst>
              <a:path w="414" h="236">
                <a:moveTo>
                  <a:pt x="31" y="18"/>
                </a:moveTo>
                <a:lnTo>
                  <a:pt x="0" y="0"/>
                </a:lnTo>
                <a:lnTo>
                  <a:pt x="383" y="218"/>
                </a:lnTo>
                <a:lnTo>
                  <a:pt x="414" y="236"/>
                </a:lnTo>
                <a:lnTo>
                  <a:pt x="31" y="18"/>
                </a:lnTo>
                <a:close/>
              </a:path>
            </a:pathLst>
          </a:custGeom>
          <a:solidFill>
            <a:srgbClr val="31D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24" name="Freeform 25">
            <a:extLst>
              <a:ext uri="{FF2B5EF4-FFF2-40B4-BE49-F238E27FC236}">
                <a16:creationId xmlns:a16="http://schemas.microsoft.com/office/drawing/2014/main" id="{9F0CB0DC-0A3D-47F2-986E-6E18AA0CC392}"/>
              </a:ext>
            </a:extLst>
          </p:cNvPr>
          <p:cNvSpPr>
            <a:spLocks/>
          </p:cNvSpPr>
          <p:nvPr/>
        </p:nvSpPr>
        <p:spPr bwMode="auto">
          <a:xfrm>
            <a:off x="2502496" y="3044925"/>
            <a:ext cx="536465" cy="883666"/>
          </a:xfrm>
          <a:custGeom>
            <a:avLst/>
            <a:gdLst>
              <a:gd name="T0" fmla="*/ 30 w 411"/>
              <a:gd name="T1" fmla="*/ 677 h 677"/>
              <a:gd name="T2" fmla="*/ 0 w 411"/>
              <a:gd name="T3" fmla="*/ 659 h 677"/>
              <a:gd name="T4" fmla="*/ 380 w 411"/>
              <a:gd name="T5" fmla="*/ 0 h 677"/>
              <a:gd name="T6" fmla="*/ 411 w 411"/>
              <a:gd name="T7" fmla="*/ 18 h 677"/>
              <a:gd name="T8" fmla="*/ 30 w 411"/>
              <a:gd name="T9" fmla="*/ 677 h 677"/>
            </a:gdLst>
            <a:ahLst/>
            <a:cxnLst>
              <a:cxn ang="0">
                <a:pos x="T0" y="T1"/>
              </a:cxn>
              <a:cxn ang="0">
                <a:pos x="T2" y="T3"/>
              </a:cxn>
              <a:cxn ang="0">
                <a:pos x="T4" y="T5"/>
              </a:cxn>
              <a:cxn ang="0">
                <a:pos x="T6" y="T7"/>
              </a:cxn>
              <a:cxn ang="0">
                <a:pos x="T8" y="T9"/>
              </a:cxn>
            </a:cxnLst>
            <a:rect l="0" t="0" r="r" b="b"/>
            <a:pathLst>
              <a:path w="411" h="677">
                <a:moveTo>
                  <a:pt x="30" y="677"/>
                </a:moveTo>
                <a:lnTo>
                  <a:pt x="0" y="659"/>
                </a:lnTo>
                <a:lnTo>
                  <a:pt x="380" y="0"/>
                </a:lnTo>
                <a:lnTo>
                  <a:pt x="411" y="18"/>
                </a:lnTo>
                <a:lnTo>
                  <a:pt x="30" y="677"/>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25" name="Freeform 26">
            <a:extLst>
              <a:ext uri="{FF2B5EF4-FFF2-40B4-BE49-F238E27FC236}">
                <a16:creationId xmlns:a16="http://schemas.microsoft.com/office/drawing/2014/main" id="{2DB464A9-5A8F-4DD3-9E53-AC8755F8B5F1}"/>
              </a:ext>
            </a:extLst>
          </p:cNvPr>
          <p:cNvSpPr>
            <a:spLocks/>
          </p:cNvSpPr>
          <p:nvPr/>
        </p:nvSpPr>
        <p:spPr bwMode="auto">
          <a:xfrm>
            <a:off x="2711338" y="4051285"/>
            <a:ext cx="1246530" cy="723118"/>
          </a:xfrm>
          <a:custGeom>
            <a:avLst/>
            <a:gdLst>
              <a:gd name="T0" fmla="*/ 955 w 955"/>
              <a:gd name="T1" fmla="*/ 277 h 554"/>
              <a:gd name="T2" fmla="*/ 479 w 955"/>
              <a:gd name="T3" fmla="*/ 554 h 554"/>
              <a:gd name="T4" fmla="*/ 0 w 955"/>
              <a:gd name="T5" fmla="*/ 277 h 554"/>
              <a:gd name="T6" fmla="*/ 476 w 955"/>
              <a:gd name="T7" fmla="*/ 0 h 554"/>
              <a:gd name="T8" fmla="*/ 955 w 955"/>
              <a:gd name="T9" fmla="*/ 277 h 554"/>
            </a:gdLst>
            <a:ahLst/>
            <a:cxnLst>
              <a:cxn ang="0">
                <a:pos x="T0" y="T1"/>
              </a:cxn>
              <a:cxn ang="0">
                <a:pos x="T2" y="T3"/>
              </a:cxn>
              <a:cxn ang="0">
                <a:pos x="T4" y="T5"/>
              </a:cxn>
              <a:cxn ang="0">
                <a:pos x="T6" y="T7"/>
              </a:cxn>
              <a:cxn ang="0">
                <a:pos x="T8" y="T9"/>
              </a:cxn>
            </a:cxnLst>
            <a:rect l="0" t="0" r="r" b="b"/>
            <a:pathLst>
              <a:path w="955" h="554">
                <a:moveTo>
                  <a:pt x="955" y="277"/>
                </a:moveTo>
                <a:lnTo>
                  <a:pt x="479" y="554"/>
                </a:lnTo>
                <a:lnTo>
                  <a:pt x="0" y="277"/>
                </a:lnTo>
                <a:lnTo>
                  <a:pt x="476" y="0"/>
                </a:lnTo>
                <a:lnTo>
                  <a:pt x="955" y="277"/>
                </a:lnTo>
                <a:close/>
              </a:path>
            </a:pathLst>
          </a:custGeom>
          <a:gradFill>
            <a:gsLst>
              <a:gs pos="100000">
                <a:schemeClr val="accent1"/>
              </a:gs>
              <a:gs pos="31000">
                <a:schemeClr val="accent1">
                  <a:lumMod val="60000"/>
                  <a:lumOff val="40000"/>
                </a:schemeClr>
              </a:gs>
              <a:gs pos="0">
                <a:schemeClr val="accent1">
                  <a:lumMod val="40000"/>
                  <a:lumOff val="60000"/>
                </a:schemeClr>
              </a:gs>
            </a:gsLst>
            <a:lin ang="5400000" scaled="1"/>
          </a:gra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26" name="Freeform 27">
            <a:extLst>
              <a:ext uri="{FF2B5EF4-FFF2-40B4-BE49-F238E27FC236}">
                <a16:creationId xmlns:a16="http://schemas.microsoft.com/office/drawing/2014/main" id="{E671C01B-F497-4E52-AEF9-34B87204B646}"/>
              </a:ext>
            </a:extLst>
          </p:cNvPr>
          <p:cNvSpPr>
            <a:spLocks/>
          </p:cNvSpPr>
          <p:nvPr/>
        </p:nvSpPr>
        <p:spPr bwMode="auto">
          <a:xfrm>
            <a:off x="3333950" y="4412844"/>
            <a:ext cx="623917" cy="1488004"/>
          </a:xfrm>
          <a:custGeom>
            <a:avLst/>
            <a:gdLst>
              <a:gd name="T0" fmla="*/ 478 w 478"/>
              <a:gd name="T1" fmla="*/ 0 h 1140"/>
              <a:gd name="T2" fmla="*/ 477 w 478"/>
              <a:gd name="T3" fmla="*/ 864 h 1140"/>
              <a:gd name="T4" fmla="*/ 0 w 478"/>
              <a:gd name="T5" fmla="*/ 1140 h 1140"/>
              <a:gd name="T6" fmla="*/ 2 w 478"/>
              <a:gd name="T7" fmla="*/ 277 h 1140"/>
              <a:gd name="T8" fmla="*/ 478 w 478"/>
              <a:gd name="T9" fmla="*/ 0 h 1140"/>
            </a:gdLst>
            <a:ahLst/>
            <a:cxnLst>
              <a:cxn ang="0">
                <a:pos x="T0" y="T1"/>
              </a:cxn>
              <a:cxn ang="0">
                <a:pos x="T2" y="T3"/>
              </a:cxn>
              <a:cxn ang="0">
                <a:pos x="T4" y="T5"/>
              </a:cxn>
              <a:cxn ang="0">
                <a:pos x="T6" y="T7"/>
              </a:cxn>
              <a:cxn ang="0">
                <a:pos x="T8" y="T9"/>
              </a:cxn>
            </a:cxnLst>
            <a:rect l="0" t="0" r="r" b="b"/>
            <a:pathLst>
              <a:path w="478" h="1140">
                <a:moveTo>
                  <a:pt x="478" y="0"/>
                </a:moveTo>
                <a:lnTo>
                  <a:pt x="477" y="864"/>
                </a:lnTo>
                <a:lnTo>
                  <a:pt x="0" y="1140"/>
                </a:lnTo>
                <a:lnTo>
                  <a:pt x="2" y="277"/>
                </a:lnTo>
                <a:lnTo>
                  <a:pt x="478" y="0"/>
                </a:lnTo>
                <a:close/>
              </a:path>
            </a:pathLst>
          </a:custGeom>
          <a:gradFill flip="none" rotWithShape="1">
            <a:gsLst>
              <a:gs pos="100000">
                <a:schemeClr val="accent1"/>
              </a:gs>
              <a:gs pos="31000">
                <a:schemeClr val="accent1">
                  <a:lumMod val="60000"/>
                  <a:lumOff val="40000"/>
                </a:schemeClr>
              </a:gs>
              <a:gs pos="0">
                <a:schemeClr val="accent1">
                  <a:lumMod val="40000"/>
                  <a:lumOff val="60000"/>
                </a:schemeClr>
              </a:gs>
            </a:gsLst>
            <a:lin ang="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27" name="Freeform 28">
            <a:extLst>
              <a:ext uri="{FF2B5EF4-FFF2-40B4-BE49-F238E27FC236}">
                <a16:creationId xmlns:a16="http://schemas.microsoft.com/office/drawing/2014/main" id="{7E1B1EE5-AAB2-4610-9BE8-26015E17CFC6}"/>
              </a:ext>
            </a:extLst>
          </p:cNvPr>
          <p:cNvSpPr>
            <a:spLocks/>
          </p:cNvSpPr>
          <p:nvPr/>
        </p:nvSpPr>
        <p:spPr bwMode="auto">
          <a:xfrm>
            <a:off x="2708728" y="4412844"/>
            <a:ext cx="627833" cy="1488004"/>
          </a:xfrm>
          <a:custGeom>
            <a:avLst/>
            <a:gdLst>
              <a:gd name="T0" fmla="*/ 481 w 481"/>
              <a:gd name="T1" fmla="*/ 277 h 1140"/>
              <a:gd name="T2" fmla="*/ 479 w 481"/>
              <a:gd name="T3" fmla="*/ 1140 h 1140"/>
              <a:gd name="T4" fmla="*/ 0 w 481"/>
              <a:gd name="T5" fmla="*/ 864 h 1140"/>
              <a:gd name="T6" fmla="*/ 2 w 481"/>
              <a:gd name="T7" fmla="*/ 0 h 1140"/>
              <a:gd name="T8" fmla="*/ 481 w 481"/>
              <a:gd name="T9" fmla="*/ 277 h 1140"/>
            </a:gdLst>
            <a:ahLst/>
            <a:cxnLst>
              <a:cxn ang="0">
                <a:pos x="T0" y="T1"/>
              </a:cxn>
              <a:cxn ang="0">
                <a:pos x="T2" y="T3"/>
              </a:cxn>
              <a:cxn ang="0">
                <a:pos x="T4" y="T5"/>
              </a:cxn>
              <a:cxn ang="0">
                <a:pos x="T6" y="T7"/>
              </a:cxn>
              <a:cxn ang="0">
                <a:pos x="T8" y="T9"/>
              </a:cxn>
            </a:cxnLst>
            <a:rect l="0" t="0" r="r" b="b"/>
            <a:pathLst>
              <a:path w="481" h="1140">
                <a:moveTo>
                  <a:pt x="481" y="277"/>
                </a:moveTo>
                <a:lnTo>
                  <a:pt x="479" y="1140"/>
                </a:lnTo>
                <a:lnTo>
                  <a:pt x="0" y="864"/>
                </a:lnTo>
                <a:lnTo>
                  <a:pt x="2" y="0"/>
                </a:lnTo>
                <a:lnTo>
                  <a:pt x="481" y="277"/>
                </a:lnTo>
                <a:close/>
              </a:path>
            </a:pathLst>
          </a:custGeom>
          <a:gradFill flip="none" rotWithShape="1">
            <a:gsLst>
              <a:gs pos="100000">
                <a:schemeClr val="accent1"/>
              </a:gs>
              <a:gs pos="31000">
                <a:schemeClr val="accent1">
                  <a:lumMod val="60000"/>
                  <a:lumOff val="40000"/>
                </a:schemeClr>
              </a:gs>
              <a:gs pos="0">
                <a:schemeClr val="accent1">
                  <a:lumMod val="40000"/>
                  <a:lumOff val="60000"/>
                </a:schemeClr>
              </a:gs>
            </a:gsLst>
            <a:lin ang="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28" name="Freeform 29">
            <a:extLst>
              <a:ext uri="{FF2B5EF4-FFF2-40B4-BE49-F238E27FC236}">
                <a16:creationId xmlns:a16="http://schemas.microsoft.com/office/drawing/2014/main" id="{B4C54161-80CC-43DD-B87D-3099A4CF2907}"/>
              </a:ext>
            </a:extLst>
          </p:cNvPr>
          <p:cNvSpPr>
            <a:spLocks/>
          </p:cNvSpPr>
          <p:nvPr/>
        </p:nvSpPr>
        <p:spPr bwMode="auto">
          <a:xfrm>
            <a:off x="3268687" y="5199919"/>
            <a:ext cx="2643164" cy="88758"/>
          </a:xfrm>
          <a:custGeom>
            <a:avLst/>
            <a:gdLst>
              <a:gd name="T0" fmla="*/ 0 w 5250"/>
              <a:gd name="T1" fmla="*/ 68 h 175"/>
              <a:gd name="T2" fmla="*/ 5078 w 5250"/>
              <a:gd name="T3" fmla="*/ 68 h 175"/>
              <a:gd name="T4" fmla="*/ 5163 w 5250"/>
              <a:gd name="T5" fmla="*/ 0 h 175"/>
              <a:gd name="T6" fmla="*/ 5250 w 5250"/>
              <a:gd name="T7" fmla="*/ 88 h 175"/>
              <a:gd name="T8" fmla="*/ 5163 w 5250"/>
              <a:gd name="T9" fmla="*/ 175 h 175"/>
              <a:gd name="T10" fmla="*/ 5078 w 5250"/>
              <a:gd name="T11" fmla="*/ 108 h 175"/>
              <a:gd name="T12" fmla="*/ 0 w 5250"/>
              <a:gd name="T13" fmla="*/ 108 h 175"/>
              <a:gd name="T14" fmla="*/ 0 w 5250"/>
              <a:gd name="T15" fmla="*/ 68 h 1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50" h="175">
                <a:moveTo>
                  <a:pt x="0" y="68"/>
                </a:moveTo>
                <a:cubicBezTo>
                  <a:pt x="5078" y="68"/>
                  <a:pt x="5078" y="68"/>
                  <a:pt x="5078" y="68"/>
                </a:cubicBezTo>
                <a:cubicBezTo>
                  <a:pt x="5087" y="29"/>
                  <a:pt x="5122" y="0"/>
                  <a:pt x="5163" y="0"/>
                </a:cubicBezTo>
                <a:cubicBezTo>
                  <a:pt x="5211" y="0"/>
                  <a:pt x="5250" y="40"/>
                  <a:pt x="5250" y="88"/>
                </a:cubicBezTo>
                <a:cubicBezTo>
                  <a:pt x="5250" y="136"/>
                  <a:pt x="5211" y="175"/>
                  <a:pt x="5163" y="175"/>
                </a:cubicBezTo>
                <a:cubicBezTo>
                  <a:pt x="5122" y="175"/>
                  <a:pt x="5087" y="146"/>
                  <a:pt x="5078" y="108"/>
                </a:cubicBezTo>
                <a:cubicBezTo>
                  <a:pt x="0" y="108"/>
                  <a:pt x="0" y="108"/>
                  <a:pt x="0" y="108"/>
                </a:cubicBezTo>
                <a:lnTo>
                  <a:pt x="0" y="68"/>
                </a:lnTo>
                <a:close/>
              </a:path>
            </a:pathLst>
          </a:cu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sp>
        <p:nvSpPr>
          <p:cNvPr id="29" name="Freeform 37">
            <a:extLst>
              <a:ext uri="{FF2B5EF4-FFF2-40B4-BE49-F238E27FC236}">
                <a16:creationId xmlns:a16="http://schemas.microsoft.com/office/drawing/2014/main" id="{4096B6AC-8316-4BA3-BA8A-52AB778977F6}"/>
              </a:ext>
            </a:extLst>
          </p:cNvPr>
          <p:cNvSpPr>
            <a:spLocks/>
          </p:cNvSpPr>
          <p:nvPr/>
        </p:nvSpPr>
        <p:spPr bwMode="auto">
          <a:xfrm>
            <a:off x="3951341" y="4382822"/>
            <a:ext cx="1960510" cy="87453"/>
          </a:xfrm>
          <a:custGeom>
            <a:avLst/>
            <a:gdLst>
              <a:gd name="T0" fmla="*/ 0 w 3895"/>
              <a:gd name="T1" fmla="*/ 67 h 175"/>
              <a:gd name="T2" fmla="*/ 3723 w 3895"/>
              <a:gd name="T3" fmla="*/ 67 h 175"/>
              <a:gd name="T4" fmla="*/ 3808 w 3895"/>
              <a:gd name="T5" fmla="*/ 0 h 175"/>
              <a:gd name="T6" fmla="*/ 3895 w 3895"/>
              <a:gd name="T7" fmla="*/ 87 h 175"/>
              <a:gd name="T8" fmla="*/ 3808 w 3895"/>
              <a:gd name="T9" fmla="*/ 175 h 175"/>
              <a:gd name="T10" fmla="*/ 3723 w 3895"/>
              <a:gd name="T11" fmla="*/ 107 h 175"/>
              <a:gd name="T12" fmla="*/ 0 w 3895"/>
              <a:gd name="T13" fmla="*/ 107 h 175"/>
              <a:gd name="T14" fmla="*/ 0 w 3895"/>
              <a:gd name="T15" fmla="*/ 67 h 1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95" h="175">
                <a:moveTo>
                  <a:pt x="0" y="67"/>
                </a:moveTo>
                <a:cubicBezTo>
                  <a:pt x="3723" y="67"/>
                  <a:pt x="3723" y="67"/>
                  <a:pt x="3723" y="67"/>
                </a:cubicBezTo>
                <a:cubicBezTo>
                  <a:pt x="3732" y="29"/>
                  <a:pt x="3767" y="0"/>
                  <a:pt x="3808" y="0"/>
                </a:cubicBezTo>
                <a:cubicBezTo>
                  <a:pt x="3856" y="0"/>
                  <a:pt x="3895" y="39"/>
                  <a:pt x="3895" y="87"/>
                </a:cubicBezTo>
                <a:cubicBezTo>
                  <a:pt x="3895" y="136"/>
                  <a:pt x="3856" y="175"/>
                  <a:pt x="3808" y="175"/>
                </a:cubicBezTo>
                <a:cubicBezTo>
                  <a:pt x="3767" y="175"/>
                  <a:pt x="3732" y="146"/>
                  <a:pt x="3723" y="107"/>
                </a:cubicBezTo>
                <a:cubicBezTo>
                  <a:pt x="0" y="107"/>
                  <a:pt x="0" y="107"/>
                  <a:pt x="0" y="107"/>
                </a:cubicBezTo>
                <a:lnTo>
                  <a:pt x="0" y="67"/>
                </a:lnTo>
                <a:close/>
              </a:path>
            </a:pathLst>
          </a:cu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grpSp>
        <p:nvGrpSpPr>
          <p:cNvPr id="30" name="Group 39">
            <a:extLst>
              <a:ext uri="{FF2B5EF4-FFF2-40B4-BE49-F238E27FC236}">
                <a16:creationId xmlns:a16="http://schemas.microsoft.com/office/drawing/2014/main" id="{E1B7D74B-8A6D-4C6C-8AA5-F96802C3F56D}"/>
              </a:ext>
            </a:extLst>
          </p:cNvPr>
          <p:cNvGrpSpPr/>
          <p:nvPr/>
        </p:nvGrpSpPr>
        <p:grpSpPr>
          <a:xfrm>
            <a:off x="3762853" y="3172390"/>
            <a:ext cx="413916" cy="275279"/>
            <a:chOff x="7953375" y="1320800"/>
            <a:chExt cx="2303463" cy="1531938"/>
          </a:xfrm>
          <a:solidFill>
            <a:srgbClr val="FFFFFF"/>
          </a:solidFill>
        </p:grpSpPr>
        <p:sp>
          <p:nvSpPr>
            <p:cNvPr id="31" name="Freeform 9">
              <a:extLst>
                <a:ext uri="{FF2B5EF4-FFF2-40B4-BE49-F238E27FC236}">
                  <a16:creationId xmlns:a16="http://schemas.microsoft.com/office/drawing/2014/main" id="{AD04EA60-F266-42B1-8E0C-B672D3D8A9E1}"/>
                </a:ext>
              </a:extLst>
            </p:cNvPr>
            <p:cNvSpPr>
              <a:spLocks/>
            </p:cNvSpPr>
            <p:nvPr/>
          </p:nvSpPr>
          <p:spPr bwMode="auto">
            <a:xfrm>
              <a:off x="9498013" y="1320800"/>
              <a:ext cx="479425" cy="673100"/>
            </a:xfrm>
            <a:custGeom>
              <a:avLst/>
              <a:gdLst>
                <a:gd name="T0" fmla="*/ 127 w 426"/>
                <a:gd name="T1" fmla="*/ 0 h 598"/>
                <a:gd name="T2" fmla="*/ 0 w 426"/>
                <a:gd name="T3" fmla="*/ 29 h 598"/>
                <a:gd name="T4" fmla="*/ 40 w 426"/>
                <a:gd name="T5" fmla="*/ 89 h 598"/>
                <a:gd name="T6" fmla="*/ 68 w 426"/>
                <a:gd name="T7" fmla="*/ 155 h 598"/>
                <a:gd name="T8" fmla="*/ 93 w 426"/>
                <a:gd name="T9" fmla="*/ 299 h 598"/>
                <a:gd name="T10" fmla="*/ 68 w 426"/>
                <a:gd name="T11" fmla="*/ 443 h 598"/>
                <a:gd name="T12" fmla="*/ 40 w 426"/>
                <a:gd name="T13" fmla="*/ 509 h 598"/>
                <a:gd name="T14" fmla="*/ 0 w 426"/>
                <a:gd name="T15" fmla="*/ 569 h 598"/>
                <a:gd name="T16" fmla="*/ 127 w 426"/>
                <a:gd name="T17" fmla="*/ 598 h 598"/>
                <a:gd name="T18" fmla="*/ 426 w 426"/>
                <a:gd name="T19" fmla="*/ 299 h 598"/>
                <a:gd name="T20" fmla="*/ 127 w 426"/>
                <a:gd name="T21" fmla="*/ 0 h 5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26" h="598">
                  <a:moveTo>
                    <a:pt x="127" y="0"/>
                  </a:moveTo>
                  <a:cubicBezTo>
                    <a:pt x="82" y="0"/>
                    <a:pt x="39" y="10"/>
                    <a:pt x="0" y="29"/>
                  </a:cubicBezTo>
                  <a:cubicBezTo>
                    <a:pt x="15" y="48"/>
                    <a:pt x="28" y="68"/>
                    <a:pt x="40" y="89"/>
                  </a:cubicBezTo>
                  <a:cubicBezTo>
                    <a:pt x="51" y="110"/>
                    <a:pt x="61" y="132"/>
                    <a:pt x="68" y="155"/>
                  </a:cubicBezTo>
                  <a:cubicBezTo>
                    <a:pt x="84" y="200"/>
                    <a:pt x="93" y="248"/>
                    <a:pt x="93" y="299"/>
                  </a:cubicBezTo>
                  <a:cubicBezTo>
                    <a:pt x="93" y="350"/>
                    <a:pt x="84" y="398"/>
                    <a:pt x="68" y="443"/>
                  </a:cubicBezTo>
                  <a:cubicBezTo>
                    <a:pt x="61" y="466"/>
                    <a:pt x="51" y="488"/>
                    <a:pt x="40" y="509"/>
                  </a:cubicBezTo>
                  <a:cubicBezTo>
                    <a:pt x="28" y="530"/>
                    <a:pt x="15" y="550"/>
                    <a:pt x="0" y="569"/>
                  </a:cubicBezTo>
                  <a:cubicBezTo>
                    <a:pt x="39" y="588"/>
                    <a:pt x="82" y="598"/>
                    <a:pt x="127" y="598"/>
                  </a:cubicBezTo>
                  <a:cubicBezTo>
                    <a:pt x="292" y="598"/>
                    <a:pt x="426" y="464"/>
                    <a:pt x="426" y="299"/>
                  </a:cubicBezTo>
                  <a:cubicBezTo>
                    <a:pt x="426" y="134"/>
                    <a:pt x="292" y="0"/>
                    <a:pt x="12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HarmonyOS Sans SC"/>
                <a:cs typeface="+mn-cs"/>
              </a:endParaRPr>
            </a:p>
          </p:txBody>
        </p:sp>
        <p:sp>
          <p:nvSpPr>
            <p:cNvPr id="32" name="Freeform 10">
              <a:extLst>
                <a:ext uri="{FF2B5EF4-FFF2-40B4-BE49-F238E27FC236}">
                  <a16:creationId xmlns:a16="http://schemas.microsoft.com/office/drawing/2014/main" id="{3A1DFB71-E8AD-4C87-B54E-417AF35D56E3}"/>
                </a:ext>
              </a:extLst>
            </p:cNvPr>
            <p:cNvSpPr>
              <a:spLocks/>
            </p:cNvSpPr>
            <p:nvPr/>
          </p:nvSpPr>
          <p:spPr bwMode="auto">
            <a:xfrm>
              <a:off x="9580563" y="2155825"/>
              <a:ext cx="676275" cy="696913"/>
            </a:xfrm>
            <a:custGeom>
              <a:avLst/>
              <a:gdLst>
                <a:gd name="T0" fmla="*/ 53 w 601"/>
                <a:gd name="T1" fmla="*/ 0 h 619"/>
                <a:gd name="T2" fmla="*/ 0 w 601"/>
                <a:gd name="T3" fmla="*/ 2 h 619"/>
                <a:gd name="T4" fmla="*/ 77 w 601"/>
                <a:gd name="T5" fmla="*/ 72 h 619"/>
                <a:gd name="T6" fmla="*/ 143 w 601"/>
                <a:gd name="T7" fmla="*/ 153 h 619"/>
                <a:gd name="T8" fmla="*/ 264 w 601"/>
                <a:gd name="T9" fmla="*/ 476 h 619"/>
                <a:gd name="T10" fmla="*/ 268 w 601"/>
                <a:gd name="T11" fmla="*/ 547 h 619"/>
                <a:gd name="T12" fmla="*/ 255 w 601"/>
                <a:gd name="T13" fmla="*/ 619 h 619"/>
                <a:gd name="T14" fmla="*/ 530 w 601"/>
                <a:gd name="T15" fmla="*/ 619 h 619"/>
                <a:gd name="T16" fmla="*/ 601 w 601"/>
                <a:gd name="T17" fmla="*/ 547 h 619"/>
                <a:gd name="T18" fmla="*/ 53 w 601"/>
                <a:gd name="T19" fmla="*/ 0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1" h="619">
                  <a:moveTo>
                    <a:pt x="53" y="0"/>
                  </a:moveTo>
                  <a:cubicBezTo>
                    <a:pt x="36" y="0"/>
                    <a:pt x="18" y="1"/>
                    <a:pt x="0" y="2"/>
                  </a:cubicBezTo>
                  <a:cubicBezTo>
                    <a:pt x="28" y="24"/>
                    <a:pt x="53" y="47"/>
                    <a:pt x="77" y="72"/>
                  </a:cubicBezTo>
                  <a:cubicBezTo>
                    <a:pt x="101" y="97"/>
                    <a:pt x="123" y="124"/>
                    <a:pt x="143" y="153"/>
                  </a:cubicBezTo>
                  <a:cubicBezTo>
                    <a:pt x="209" y="246"/>
                    <a:pt x="252" y="357"/>
                    <a:pt x="264" y="476"/>
                  </a:cubicBezTo>
                  <a:cubicBezTo>
                    <a:pt x="266" y="499"/>
                    <a:pt x="268" y="523"/>
                    <a:pt x="268" y="547"/>
                  </a:cubicBezTo>
                  <a:cubicBezTo>
                    <a:pt x="268" y="572"/>
                    <a:pt x="263" y="597"/>
                    <a:pt x="255" y="619"/>
                  </a:cubicBezTo>
                  <a:cubicBezTo>
                    <a:pt x="530" y="619"/>
                    <a:pt x="530" y="619"/>
                    <a:pt x="530" y="619"/>
                  </a:cubicBezTo>
                  <a:cubicBezTo>
                    <a:pt x="569" y="619"/>
                    <a:pt x="601" y="587"/>
                    <a:pt x="601" y="547"/>
                  </a:cubicBezTo>
                  <a:cubicBezTo>
                    <a:pt x="601" y="245"/>
                    <a:pt x="355" y="0"/>
                    <a:pt x="5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HarmonyOS Sans SC"/>
                <a:cs typeface="+mn-cs"/>
              </a:endParaRPr>
            </a:p>
          </p:txBody>
        </p:sp>
        <p:sp>
          <p:nvSpPr>
            <p:cNvPr id="33" name="Freeform 11">
              <a:extLst>
                <a:ext uri="{FF2B5EF4-FFF2-40B4-BE49-F238E27FC236}">
                  <a16:creationId xmlns:a16="http://schemas.microsoft.com/office/drawing/2014/main" id="{8337DA71-4DDE-4D4A-BFB2-31DFD3BB6D80}"/>
                </a:ext>
              </a:extLst>
            </p:cNvPr>
            <p:cNvSpPr>
              <a:spLocks/>
            </p:cNvSpPr>
            <p:nvPr/>
          </p:nvSpPr>
          <p:spPr bwMode="auto">
            <a:xfrm>
              <a:off x="8232775" y="1320800"/>
              <a:ext cx="479425" cy="673100"/>
            </a:xfrm>
            <a:custGeom>
              <a:avLst/>
              <a:gdLst>
                <a:gd name="T0" fmla="*/ 358 w 426"/>
                <a:gd name="T1" fmla="*/ 443 h 598"/>
                <a:gd name="T2" fmla="*/ 333 w 426"/>
                <a:gd name="T3" fmla="*/ 299 h 598"/>
                <a:gd name="T4" fmla="*/ 358 w 426"/>
                <a:gd name="T5" fmla="*/ 155 h 598"/>
                <a:gd name="T6" fmla="*/ 386 w 426"/>
                <a:gd name="T7" fmla="*/ 89 h 598"/>
                <a:gd name="T8" fmla="*/ 426 w 426"/>
                <a:gd name="T9" fmla="*/ 29 h 598"/>
                <a:gd name="T10" fmla="*/ 299 w 426"/>
                <a:gd name="T11" fmla="*/ 0 h 598"/>
                <a:gd name="T12" fmla="*/ 0 w 426"/>
                <a:gd name="T13" fmla="*/ 299 h 598"/>
                <a:gd name="T14" fmla="*/ 299 w 426"/>
                <a:gd name="T15" fmla="*/ 598 h 598"/>
                <a:gd name="T16" fmla="*/ 426 w 426"/>
                <a:gd name="T17" fmla="*/ 569 h 598"/>
                <a:gd name="T18" fmla="*/ 386 w 426"/>
                <a:gd name="T19" fmla="*/ 509 h 598"/>
                <a:gd name="T20" fmla="*/ 358 w 426"/>
                <a:gd name="T21" fmla="*/ 443 h 5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26" h="598">
                  <a:moveTo>
                    <a:pt x="358" y="443"/>
                  </a:moveTo>
                  <a:cubicBezTo>
                    <a:pt x="342" y="398"/>
                    <a:pt x="333" y="350"/>
                    <a:pt x="333" y="299"/>
                  </a:cubicBezTo>
                  <a:cubicBezTo>
                    <a:pt x="333" y="248"/>
                    <a:pt x="342" y="200"/>
                    <a:pt x="358" y="155"/>
                  </a:cubicBezTo>
                  <a:cubicBezTo>
                    <a:pt x="365" y="132"/>
                    <a:pt x="375" y="110"/>
                    <a:pt x="386" y="89"/>
                  </a:cubicBezTo>
                  <a:cubicBezTo>
                    <a:pt x="398" y="68"/>
                    <a:pt x="411" y="48"/>
                    <a:pt x="426" y="29"/>
                  </a:cubicBezTo>
                  <a:cubicBezTo>
                    <a:pt x="387" y="10"/>
                    <a:pt x="344" y="0"/>
                    <a:pt x="299" y="0"/>
                  </a:cubicBezTo>
                  <a:cubicBezTo>
                    <a:pt x="134" y="0"/>
                    <a:pt x="0" y="134"/>
                    <a:pt x="0" y="299"/>
                  </a:cubicBezTo>
                  <a:cubicBezTo>
                    <a:pt x="0" y="464"/>
                    <a:pt x="134" y="598"/>
                    <a:pt x="299" y="598"/>
                  </a:cubicBezTo>
                  <a:cubicBezTo>
                    <a:pt x="344" y="598"/>
                    <a:pt x="387" y="588"/>
                    <a:pt x="426" y="569"/>
                  </a:cubicBezTo>
                  <a:cubicBezTo>
                    <a:pt x="411" y="550"/>
                    <a:pt x="398" y="530"/>
                    <a:pt x="386" y="509"/>
                  </a:cubicBezTo>
                  <a:cubicBezTo>
                    <a:pt x="375" y="488"/>
                    <a:pt x="365" y="466"/>
                    <a:pt x="358" y="4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HarmonyOS Sans SC"/>
                <a:cs typeface="+mn-cs"/>
              </a:endParaRPr>
            </a:p>
          </p:txBody>
        </p:sp>
        <p:sp>
          <p:nvSpPr>
            <p:cNvPr id="34" name="Freeform 12">
              <a:extLst>
                <a:ext uri="{FF2B5EF4-FFF2-40B4-BE49-F238E27FC236}">
                  <a16:creationId xmlns:a16="http://schemas.microsoft.com/office/drawing/2014/main" id="{E639A26E-41B9-4E86-AC6A-AA74A5051CA5}"/>
                </a:ext>
              </a:extLst>
            </p:cNvPr>
            <p:cNvSpPr>
              <a:spLocks/>
            </p:cNvSpPr>
            <p:nvPr/>
          </p:nvSpPr>
          <p:spPr bwMode="auto">
            <a:xfrm>
              <a:off x="7953375" y="2155825"/>
              <a:ext cx="676275" cy="696913"/>
            </a:xfrm>
            <a:custGeom>
              <a:avLst/>
              <a:gdLst>
                <a:gd name="T0" fmla="*/ 548 w 601"/>
                <a:gd name="T1" fmla="*/ 0 h 619"/>
                <a:gd name="T2" fmla="*/ 0 w 601"/>
                <a:gd name="T3" fmla="*/ 547 h 619"/>
                <a:gd name="T4" fmla="*/ 71 w 601"/>
                <a:gd name="T5" fmla="*/ 619 h 619"/>
                <a:gd name="T6" fmla="*/ 346 w 601"/>
                <a:gd name="T7" fmla="*/ 619 h 619"/>
                <a:gd name="T8" fmla="*/ 333 w 601"/>
                <a:gd name="T9" fmla="*/ 547 h 619"/>
                <a:gd name="T10" fmla="*/ 337 w 601"/>
                <a:gd name="T11" fmla="*/ 476 h 619"/>
                <a:gd name="T12" fmla="*/ 458 w 601"/>
                <a:gd name="T13" fmla="*/ 153 h 619"/>
                <a:gd name="T14" fmla="*/ 524 w 601"/>
                <a:gd name="T15" fmla="*/ 72 h 619"/>
                <a:gd name="T16" fmla="*/ 601 w 601"/>
                <a:gd name="T17" fmla="*/ 2 h 619"/>
                <a:gd name="T18" fmla="*/ 548 w 601"/>
                <a:gd name="T19" fmla="*/ 0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1" h="619">
                  <a:moveTo>
                    <a:pt x="548" y="0"/>
                  </a:moveTo>
                  <a:cubicBezTo>
                    <a:pt x="246" y="0"/>
                    <a:pt x="0" y="245"/>
                    <a:pt x="0" y="547"/>
                  </a:cubicBezTo>
                  <a:cubicBezTo>
                    <a:pt x="0" y="587"/>
                    <a:pt x="32" y="619"/>
                    <a:pt x="71" y="619"/>
                  </a:cubicBezTo>
                  <a:cubicBezTo>
                    <a:pt x="346" y="619"/>
                    <a:pt x="346" y="619"/>
                    <a:pt x="346" y="619"/>
                  </a:cubicBezTo>
                  <a:cubicBezTo>
                    <a:pt x="338" y="597"/>
                    <a:pt x="333" y="572"/>
                    <a:pt x="333" y="547"/>
                  </a:cubicBezTo>
                  <a:cubicBezTo>
                    <a:pt x="333" y="523"/>
                    <a:pt x="335" y="499"/>
                    <a:pt x="337" y="476"/>
                  </a:cubicBezTo>
                  <a:cubicBezTo>
                    <a:pt x="349" y="357"/>
                    <a:pt x="392" y="246"/>
                    <a:pt x="458" y="153"/>
                  </a:cubicBezTo>
                  <a:cubicBezTo>
                    <a:pt x="478" y="124"/>
                    <a:pt x="500" y="97"/>
                    <a:pt x="524" y="72"/>
                  </a:cubicBezTo>
                  <a:cubicBezTo>
                    <a:pt x="548" y="47"/>
                    <a:pt x="573" y="24"/>
                    <a:pt x="601" y="2"/>
                  </a:cubicBezTo>
                  <a:cubicBezTo>
                    <a:pt x="583" y="1"/>
                    <a:pt x="565" y="0"/>
                    <a:pt x="54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HarmonyOS Sans SC"/>
                <a:cs typeface="+mn-cs"/>
              </a:endParaRPr>
            </a:p>
          </p:txBody>
        </p:sp>
        <p:sp>
          <p:nvSpPr>
            <p:cNvPr id="35" name="Freeform 13">
              <a:extLst>
                <a:ext uri="{FF2B5EF4-FFF2-40B4-BE49-F238E27FC236}">
                  <a16:creationId xmlns:a16="http://schemas.microsoft.com/office/drawing/2014/main" id="{EA67FA4B-DD32-4A0C-8B09-F2B6FA39A3F1}"/>
                </a:ext>
              </a:extLst>
            </p:cNvPr>
            <p:cNvSpPr>
              <a:spLocks/>
            </p:cNvSpPr>
            <p:nvPr/>
          </p:nvSpPr>
          <p:spPr bwMode="auto">
            <a:xfrm>
              <a:off x="8769350" y="1320800"/>
              <a:ext cx="673100" cy="673100"/>
            </a:xfrm>
            <a:custGeom>
              <a:avLst/>
              <a:gdLst>
                <a:gd name="T0" fmla="*/ 577 w 598"/>
                <a:gd name="T1" fmla="*/ 188 h 598"/>
                <a:gd name="T2" fmla="*/ 537 w 598"/>
                <a:gd name="T3" fmla="*/ 119 h 598"/>
                <a:gd name="T4" fmla="*/ 299 w 598"/>
                <a:gd name="T5" fmla="*/ 0 h 598"/>
                <a:gd name="T6" fmla="*/ 61 w 598"/>
                <a:gd name="T7" fmla="*/ 119 h 598"/>
                <a:gd name="T8" fmla="*/ 21 w 598"/>
                <a:gd name="T9" fmla="*/ 188 h 598"/>
                <a:gd name="T10" fmla="*/ 0 w 598"/>
                <a:gd name="T11" fmla="*/ 299 h 598"/>
                <a:gd name="T12" fmla="*/ 21 w 598"/>
                <a:gd name="T13" fmla="*/ 410 h 598"/>
                <a:gd name="T14" fmla="*/ 61 w 598"/>
                <a:gd name="T15" fmla="*/ 479 h 598"/>
                <a:gd name="T16" fmla="*/ 299 w 598"/>
                <a:gd name="T17" fmla="*/ 598 h 598"/>
                <a:gd name="T18" fmla="*/ 537 w 598"/>
                <a:gd name="T19" fmla="*/ 479 h 598"/>
                <a:gd name="T20" fmla="*/ 577 w 598"/>
                <a:gd name="T21" fmla="*/ 410 h 598"/>
                <a:gd name="T22" fmla="*/ 598 w 598"/>
                <a:gd name="T23" fmla="*/ 299 h 598"/>
                <a:gd name="T24" fmla="*/ 577 w 598"/>
                <a:gd name="T25" fmla="*/ 188 h 5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98" h="598">
                  <a:moveTo>
                    <a:pt x="577" y="188"/>
                  </a:moveTo>
                  <a:cubicBezTo>
                    <a:pt x="567" y="163"/>
                    <a:pt x="553" y="140"/>
                    <a:pt x="537" y="119"/>
                  </a:cubicBezTo>
                  <a:cubicBezTo>
                    <a:pt x="483" y="47"/>
                    <a:pt x="396" y="0"/>
                    <a:pt x="299" y="0"/>
                  </a:cubicBezTo>
                  <a:cubicBezTo>
                    <a:pt x="202" y="0"/>
                    <a:pt x="115" y="47"/>
                    <a:pt x="61" y="119"/>
                  </a:cubicBezTo>
                  <a:cubicBezTo>
                    <a:pt x="45" y="140"/>
                    <a:pt x="31" y="163"/>
                    <a:pt x="21" y="188"/>
                  </a:cubicBezTo>
                  <a:cubicBezTo>
                    <a:pt x="8" y="223"/>
                    <a:pt x="0" y="260"/>
                    <a:pt x="0" y="299"/>
                  </a:cubicBezTo>
                  <a:cubicBezTo>
                    <a:pt x="0" y="338"/>
                    <a:pt x="8" y="375"/>
                    <a:pt x="21" y="410"/>
                  </a:cubicBezTo>
                  <a:cubicBezTo>
                    <a:pt x="31" y="435"/>
                    <a:pt x="45" y="458"/>
                    <a:pt x="61" y="479"/>
                  </a:cubicBezTo>
                  <a:cubicBezTo>
                    <a:pt x="115" y="551"/>
                    <a:pt x="202" y="598"/>
                    <a:pt x="299" y="598"/>
                  </a:cubicBezTo>
                  <a:cubicBezTo>
                    <a:pt x="396" y="598"/>
                    <a:pt x="483" y="551"/>
                    <a:pt x="537" y="479"/>
                  </a:cubicBezTo>
                  <a:cubicBezTo>
                    <a:pt x="553" y="458"/>
                    <a:pt x="567" y="435"/>
                    <a:pt x="577" y="410"/>
                  </a:cubicBezTo>
                  <a:cubicBezTo>
                    <a:pt x="590" y="375"/>
                    <a:pt x="598" y="338"/>
                    <a:pt x="598" y="299"/>
                  </a:cubicBezTo>
                  <a:cubicBezTo>
                    <a:pt x="598" y="260"/>
                    <a:pt x="590" y="223"/>
                    <a:pt x="577" y="1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HarmonyOS Sans SC"/>
                <a:cs typeface="+mn-cs"/>
              </a:endParaRPr>
            </a:p>
          </p:txBody>
        </p:sp>
        <p:sp>
          <p:nvSpPr>
            <p:cNvPr id="36" name="Freeform 14">
              <a:extLst>
                <a:ext uri="{FF2B5EF4-FFF2-40B4-BE49-F238E27FC236}">
                  <a16:creationId xmlns:a16="http://schemas.microsoft.com/office/drawing/2014/main" id="{432F9E45-7698-4825-976E-F723409B602C}"/>
                </a:ext>
              </a:extLst>
            </p:cNvPr>
            <p:cNvSpPr>
              <a:spLocks/>
            </p:cNvSpPr>
            <p:nvPr/>
          </p:nvSpPr>
          <p:spPr bwMode="auto">
            <a:xfrm>
              <a:off x="8488363" y="2160588"/>
              <a:ext cx="1233488" cy="692150"/>
            </a:xfrm>
            <a:custGeom>
              <a:avLst/>
              <a:gdLst>
                <a:gd name="T0" fmla="*/ 1091 w 1096"/>
                <a:gd name="T1" fmla="*/ 472 h 615"/>
                <a:gd name="T2" fmla="*/ 929 w 1096"/>
                <a:gd name="T3" fmla="*/ 150 h 615"/>
                <a:gd name="T4" fmla="*/ 863 w 1096"/>
                <a:gd name="T5" fmla="*/ 95 h 615"/>
                <a:gd name="T6" fmla="*/ 786 w 1096"/>
                <a:gd name="T7" fmla="*/ 50 h 615"/>
                <a:gd name="T8" fmla="*/ 619 w 1096"/>
                <a:gd name="T9" fmla="*/ 0 h 615"/>
                <a:gd name="T10" fmla="*/ 619 w 1096"/>
                <a:gd name="T11" fmla="*/ 448 h 615"/>
                <a:gd name="T12" fmla="*/ 548 w 1096"/>
                <a:gd name="T13" fmla="*/ 520 h 615"/>
                <a:gd name="T14" fmla="*/ 477 w 1096"/>
                <a:gd name="T15" fmla="*/ 448 h 615"/>
                <a:gd name="T16" fmla="*/ 477 w 1096"/>
                <a:gd name="T17" fmla="*/ 0 h 615"/>
                <a:gd name="T18" fmla="*/ 310 w 1096"/>
                <a:gd name="T19" fmla="*/ 50 h 615"/>
                <a:gd name="T20" fmla="*/ 233 w 1096"/>
                <a:gd name="T21" fmla="*/ 95 h 615"/>
                <a:gd name="T22" fmla="*/ 167 w 1096"/>
                <a:gd name="T23" fmla="*/ 150 h 615"/>
                <a:gd name="T24" fmla="*/ 5 w 1096"/>
                <a:gd name="T25" fmla="*/ 472 h 615"/>
                <a:gd name="T26" fmla="*/ 0 w 1096"/>
                <a:gd name="T27" fmla="*/ 543 h 615"/>
                <a:gd name="T28" fmla="*/ 72 w 1096"/>
                <a:gd name="T29" fmla="*/ 615 h 615"/>
                <a:gd name="T30" fmla="*/ 1024 w 1096"/>
                <a:gd name="T31" fmla="*/ 615 h 615"/>
                <a:gd name="T32" fmla="*/ 1096 w 1096"/>
                <a:gd name="T33" fmla="*/ 543 h 615"/>
                <a:gd name="T34" fmla="*/ 1091 w 1096"/>
                <a:gd name="T35" fmla="*/ 472 h 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96" h="615">
                  <a:moveTo>
                    <a:pt x="1091" y="472"/>
                  </a:moveTo>
                  <a:cubicBezTo>
                    <a:pt x="1075" y="346"/>
                    <a:pt x="1015" y="234"/>
                    <a:pt x="929" y="150"/>
                  </a:cubicBezTo>
                  <a:cubicBezTo>
                    <a:pt x="908" y="130"/>
                    <a:pt x="886" y="112"/>
                    <a:pt x="863" y="95"/>
                  </a:cubicBezTo>
                  <a:cubicBezTo>
                    <a:pt x="838" y="78"/>
                    <a:pt x="813" y="63"/>
                    <a:pt x="786" y="50"/>
                  </a:cubicBezTo>
                  <a:cubicBezTo>
                    <a:pt x="734" y="25"/>
                    <a:pt x="678" y="8"/>
                    <a:pt x="619" y="0"/>
                  </a:cubicBezTo>
                  <a:cubicBezTo>
                    <a:pt x="619" y="448"/>
                    <a:pt x="619" y="448"/>
                    <a:pt x="619" y="448"/>
                  </a:cubicBezTo>
                  <a:cubicBezTo>
                    <a:pt x="619" y="488"/>
                    <a:pt x="587" y="520"/>
                    <a:pt x="548" y="520"/>
                  </a:cubicBezTo>
                  <a:cubicBezTo>
                    <a:pt x="509" y="520"/>
                    <a:pt x="477" y="488"/>
                    <a:pt x="477" y="448"/>
                  </a:cubicBezTo>
                  <a:cubicBezTo>
                    <a:pt x="477" y="0"/>
                    <a:pt x="477" y="0"/>
                    <a:pt x="477" y="0"/>
                  </a:cubicBezTo>
                  <a:cubicBezTo>
                    <a:pt x="418" y="8"/>
                    <a:pt x="362" y="25"/>
                    <a:pt x="310" y="50"/>
                  </a:cubicBezTo>
                  <a:cubicBezTo>
                    <a:pt x="283" y="63"/>
                    <a:pt x="258" y="78"/>
                    <a:pt x="233" y="95"/>
                  </a:cubicBezTo>
                  <a:cubicBezTo>
                    <a:pt x="210" y="112"/>
                    <a:pt x="188" y="130"/>
                    <a:pt x="167" y="150"/>
                  </a:cubicBezTo>
                  <a:cubicBezTo>
                    <a:pt x="81" y="234"/>
                    <a:pt x="21" y="346"/>
                    <a:pt x="5" y="472"/>
                  </a:cubicBezTo>
                  <a:cubicBezTo>
                    <a:pt x="2" y="495"/>
                    <a:pt x="0" y="519"/>
                    <a:pt x="0" y="543"/>
                  </a:cubicBezTo>
                  <a:cubicBezTo>
                    <a:pt x="0" y="583"/>
                    <a:pt x="32" y="615"/>
                    <a:pt x="72" y="615"/>
                  </a:cubicBezTo>
                  <a:cubicBezTo>
                    <a:pt x="1024" y="615"/>
                    <a:pt x="1024" y="615"/>
                    <a:pt x="1024" y="615"/>
                  </a:cubicBezTo>
                  <a:cubicBezTo>
                    <a:pt x="1064" y="615"/>
                    <a:pt x="1096" y="583"/>
                    <a:pt x="1096" y="543"/>
                  </a:cubicBezTo>
                  <a:cubicBezTo>
                    <a:pt x="1096" y="519"/>
                    <a:pt x="1094" y="495"/>
                    <a:pt x="1091" y="4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HarmonyOS Sans SC"/>
                <a:cs typeface="+mn-cs"/>
              </a:endParaRPr>
            </a:p>
          </p:txBody>
        </p:sp>
      </p:grpSp>
      <p:sp>
        <p:nvSpPr>
          <p:cNvPr id="38" name="Freeform 30">
            <a:extLst>
              <a:ext uri="{FF2B5EF4-FFF2-40B4-BE49-F238E27FC236}">
                <a16:creationId xmlns:a16="http://schemas.microsoft.com/office/drawing/2014/main" id="{81A26198-5922-4369-9FA1-985A4ECBE8EC}"/>
              </a:ext>
            </a:extLst>
          </p:cNvPr>
          <p:cNvSpPr>
            <a:spLocks/>
          </p:cNvSpPr>
          <p:nvPr/>
        </p:nvSpPr>
        <p:spPr bwMode="auto">
          <a:xfrm>
            <a:off x="2087421" y="4600802"/>
            <a:ext cx="41769" cy="788381"/>
          </a:xfrm>
          <a:custGeom>
            <a:avLst/>
            <a:gdLst>
              <a:gd name="T0" fmla="*/ 32 w 32"/>
              <a:gd name="T1" fmla="*/ 604 h 604"/>
              <a:gd name="T2" fmla="*/ 2 w 32"/>
              <a:gd name="T3" fmla="*/ 587 h 604"/>
              <a:gd name="T4" fmla="*/ 0 w 32"/>
              <a:gd name="T5" fmla="*/ 0 h 604"/>
              <a:gd name="T6" fmla="*/ 30 w 32"/>
              <a:gd name="T7" fmla="*/ 18 h 604"/>
              <a:gd name="T8" fmla="*/ 32 w 32"/>
              <a:gd name="T9" fmla="*/ 604 h 604"/>
            </a:gdLst>
            <a:ahLst/>
            <a:cxnLst>
              <a:cxn ang="0">
                <a:pos x="T0" y="T1"/>
              </a:cxn>
              <a:cxn ang="0">
                <a:pos x="T2" y="T3"/>
              </a:cxn>
              <a:cxn ang="0">
                <a:pos x="T4" y="T5"/>
              </a:cxn>
              <a:cxn ang="0">
                <a:pos x="T6" y="T7"/>
              </a:cxn>
              <a:cxn ang="0">
                <a:pos x="T8" y="T9"/>
              </a:cxn>
            </a:cxnLst>
            <a:rect l="0" t="0" r="r" b="b"/>
            <a:pathLst>
              <a:path w="32" h="604">
                <a:moveTo>
                  <a:pt x="32" y="604"/>
                </a:moveTo>
                <a:lnTo>
                  <a:pt x="2" y="587"/>
                </a:lnTo>
                <a:lnTo>
                  <a:pt x="0" y="0"/>
                </a:lnTo>
                <a:lnTo>
                  <a:pt x="30" y="18"/>
                </a:lnTo>
                <a:lnTo>
                  <a:pt x="32" y="604"/>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39" name="Freeform 31">
            <a:extLst>
              <a:ext uri="{FF2B5EF4-FFF2-40B4-BE49-F238E27FC236}">
                <a16:creationId xmlns:a16="http://schemas.microsoft.com/office/drawing/2014/main" id="{9687DFB6-E8D3-467A-8A92-1CFCCEBFA3F1}"/>
              </a:ext>
            </a:extLst>
          </p:cNvPr>
          <p:cNvSpPr>
            <a:spLocks/>
          </p:cNvSpPr>
          <p:nvPr/>
        </p:nvSpPr>
        <p:spPr bwMode="auto">
          <a:xfrm>
            <a:off x="1921652" y="3882906"/>
            <a:ext cx="995919" cy="1506277"/>
          </a:xfrm>
          <a:custGeom>
            <a:avLst/>
            <a:gdLst>
              <a:gd name="T0" fmla="*/ 380 w 763"/>
              <a:gd name="T1" fmla="*/ 0 h 1154"/>
              <a:gd name="T2" fmla="*/ 763 w 763"/>
              <a:gd name="T3" fmla="*/ 219 h 1154"/>
              <a:gd name="T4" fmla="*/ 605 w 763"/>
              <a:gd name="T5" fmla="*/ 310 h 1154"/>
              <a:gd name="T6" fmla="*/ 607 w 763"/>
              <a:gd name="T7" fmla="*/ 896 h 1154"/>
              <a:gd name="T8" fmla="*/ 159 w 763"/>
              <a:gd name="T9" fmla="*/ 1154 h 1154"/>
              <a:gd name="T10" fmla="*/ 157 w 763"/>
              <a:gd name="T11" fmla="*/ 568 h 1154"/>
              <a:gd name="T12" fmla="*/ 0 w 763"/>
              <a:gd name="T13" fmla="*/ 659 h 1154"/>
              <a:gd name="T14" fmla="*/ 380 w 763"/>
              <a:gd name="T15" fmla="*/ 0 h 11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63" h="1154">
                <a:moveTo>
                  <a:pt x="380" y="0"/>
                </a:moveTo>
                <a:lnTo>
                  <a:pt x="763" y="219"/>
                </a:lnTo>
                <a:lnTo>
                  <a:pt x="605" y="310"/>
                </a:lnTo>
                <a:lnTo>
                  <a:pt x="607" y="896"/>
                </a:lnTo>
                <a:lnTo>
                  <a:pt x="159" y="1154"/>
                </a:lnTo>
                <a:lnTo>
                  <a:pt x="157" y="568"/>
                </a:lnTo>
                <a:lnTo>
                  <a:pt x="0" y="659"/>
                </a:lnTo>
                <a:lnTo>
                  <a:pt x="380" y="0"/>
                </a:lnTo>
                <a:close/>
              </a:path>
            </a:pathLst>
          </a:custGeom>
          <a:gradFill flip="none" rotWithShape="1">
            <a:gsLst>
              <a:gs pos="100000">
                <a:schemeClr val="accent1"/>
              </a:gs>
              <a:gs pos="31000">
                <a:schemeClr val="accent1">
                  <a:lumMod val="60000"/>
                  <a:lumOff val="40000"/>
                </a:schemeClr>
              </a:gs>
              <a:gs pos="0">
                <a:schemeClr val="accent1">
                  <a:lumMod val="40000"/>
                  <a:lumOff val="60000"/>
                </a:schemeClr>
              </a:gs>
            </a:gsLst>
            <a:lin ang="540000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40" name="Freeform 32">
            <a:extLst>
              <a:ext uri="{FF2B5EF4-FFF2-40B4-BE49-F238E27FC236}">
                <a16:creationId xmlns:a16="http://schemas.microsoft.com/office/drawing/2014/main" id="{499F52BB-F3E4-454E-90CA-C15BCB258953}"/>
              </a:ext>
            </a:extLst>
          </p:cNvPr>
          <p:cNvSpPr>
            <a:spLocks/>
          </p:cNvSpPr>
          <p:nvPr/>
        </p:nvSpPr>
        <p:spPr bwMode="auto">
          <a:xfrm>
            <a:off x="2378495" y="3860716"/>
            <a:ext cx="539075" cy="308043"/>
          </a:xfrm>
          <a:custGeom>
            <a:avLst/>
            <a:gdLst>
              <a:gd name="T0" fmla="*/ 30 w 413"/>
              <a:gd name="T1" fmla="*/ 17 h 236"/>
              <a:gd name="T2" fmla="*/ 0 w 413"/>
              <a:gd name="T3" fmla="*/ 0 h 236"/>
              <a:gd name="T4" fmla="*/ 382 w 413"/>
              <a:gd name="T5" fmla="*/ 218 h 236"/>
              <a:gd name="T6" fmla="*/ 413 w 413"/>
              <a:gd name="T7" fmla="*/ 236 h 236"/>
              <a:gd name="T8" fmla="*/ 30 w 413"/>
              <a:gd name="T9" fmla="*/ 17 h 236"/>
            </a:gdLst>
            <a:ahLst/>
            <a:cxnLst>
              <a:cxn ang="0">
                <a:pos x="T0" y="T1"/>
              </a:cxn>
              <a:cxn ang="0">
                <a:pos x="T2" y="T3"/>
              </a:cxn>
              <a:cxn ang="0">
                <a:pos x="T4" y="T5"/>
              </a:cxn>
              <a:cxn ang="0">
                <a:pos x="T6" y="T7"/>
              </a:cxn>
              <a:cxn ang="0">
                <a:pos x="T8" y="T9"/>
              </a:cxn>
            </a:cxnLst>
            <a:rect l="0" t="0" r="r" b="b"/>
            <a:pathLst>
              <a:path w="413" h="236">
                <a:moveTo>
                  <a:pt x="30" y="17"/>
                </a:moveTo>
                <a:lnTo>
                  <a:pt x="0" y="0"/>
                </a:lnTo>
                <a:lnTo>
                  <a:pt x="382" y="218"/>
                </a:lnTo>
                <a:lnTo>
                  <a:pt x="413" y="236"/>
                </a:lnTo>
                <a:lnTo>
                  <a:pt x="30" y="17"/>
                </a:lnTo>
                <a:close/>
              </a:path>
            </a:pathLst>
          </a:custGeom>
          <a:solidFill>
            <a:srgbClr val="FF9F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41" name="Freeform 33">
            <a:extLst>
              <a:ext uri="{FF2B5EF4-FFF2-40B4-BE49-F238E27FC236}">
                <a16:creationId xmlns:a16="http://schemas.microsoft.com/office/drawing/2014/main" id="{4E1A3421-D912-4F5F-B417-446A0838A222}"/>
              </a:ext>
            </a:extLst>
          </p:cNvPr>
          <p:cNvSpPr>
            <a:spLocks/>
          </p:cNvSpPr>
          <p:nvPr/>
        </p:nvSpPr>
        <p:spPr bwMode="auto">
          <a:xfrm>
            <a:off x="1881189" y="3860716"/>
            <a:ext cx="536465" cy="882360"/>
          </a:xfrm>
          <a:custGeom>
            <a:avLst/>
            <a:gdLst>
              <a:gd name="T0" fmla="*/ 31 w 411"/>
              <a:gd name="T1" fmla="*/ 676 h 676"/>
              <a:gd name="T2" fmla="*/ 0 w 411"/>
              <a:gd name="T3" fmla="*/ 658 h 676"/>
              <a:gd name="T4" fmla="*/ 381 w 411"/>
              <a:gd name="T5" fmla="*/ 0 h 676"/>
              <a:gd name="T6" fmla="*/ 411 w 411"/>
              <a:gd name="T7" fmla="*/ 17 h 676"/>
              <a:gd name="T8" fmla="*/ 31 w 411"/>
              <a:gd name="T9" fmla="*/ 676 h 676"/>
            </a:gdLst>
            <a:ahLst/>
            <a:cxnLst>
              <a:cxn ang="0">
                <a:pos x="T0" y="T1"/>
              </a:cxn>
              <a:cxn ang="0">
                <a:pos x="T2" y="T3"/>
              </a:cxn>
              <a:cxn ang="0">
                <a:pos x="T4" y="T5"/>
              </a:cxn>
              <a:cxn ang="0">
                <a:pos x="T6" y="T7"/>
              </a:cxn>
              <a:cxn ang="0">
                <a:pos x="T8" y="T9"/>
              </a:cxn>
            </a:cxnLst>
            <a:rect l="0" t="0" r="r" b="b"/>
            <a:pathLst>
              <a:path w="411" h="676">
                <a:moveTo>
                  <a:pt x="31" y="676"/>
                </a:moveTo>
                <a:lnTo>
                  <a:pt x="0" y="658"/>
                </a:lnTo>
                <a:lnTo>
                  <a:pt x="381" y="0"/>
                </a:lnTo>
                <a:lnTo>
                  <a:pt x="411" y="17"/>
                </a:lnTo>
                <a:lnTo>
                  <a:pt x="31" y="676"/>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42" name="Freeform 34">
            <a:extLst>
              <a:ext uri="{FF2B5EF4-FFF2-40B4-BE49-F238E27FC236}">
                <a16:creationId xmlns:a16="http://schemas.microsoft.com/office/drawing/2014/main" id="{7592EA88-C682-4EC1-BD67-7916987FABB2}"/>
              </a:ext>
            </a:extLst>
          </p:cNvPr>
          <p:cNvSpPr>
            <a:spLocks/>
          </p:cNvSpPr>
          <p:nvPr/>
        </p:nvSpPr>
        <p:spPr bwMode="auto">
          <a:xfrm>
            <a:off x="2090032" y="4865771"/>
            <a:ext cx="1246530" cy="723118"/>
          </a:xfrm>
          <a:custGeom>
            <a:avLst/>
            <a:gdLst>
              <a:gd name="T0" fmla="*/ 955 w 955"/>
              <a:gd name="T1" fmla="*/ 277 h 554"/>
              <a:gd name="T2" fmla="*/ 479 w 955"/>
              <a:gd name="T3" fmla="*/ 554 h 554"/>
              <a:gd name="T4" fmla="*/ 0 w 955"/>
              <a:gd name="T5" fmla="*/ 277 h 554"/>
              <a:gd name="T6" fmla="*/ 476 w 955"/>
              <a:gd name="T7" fmla="*/ 0 h 554"/>
              <a:gd name="T8" fmla="*/ 955 w 955"/>
              <a:gd name="T9" fmla="*/ 277 h 554"/>
            </a:gdLst>
            <a:ahLst/>
            <a:cxnLst>
              <a:cxn ang="0">
                <a:pos x="T0" y="T1"/>
              </a:cxn>
              <a:cxn ang="0">
                <a:pos x="T2" y="T3"/>
              </a:cxn>
              <a:cxn ang="0">
                <a:pos x="T4" y="T5"/>
              </a:cxn>
              <a:cxn ang="0">
                <a:pos x="T6" y="T7"/>
              </a:cxn>
              <a:cxn ang="0">
                <a:pos x="T8" y="T9"/>
              </a:cxn>
            </a:cxnLst>
            <a:rect l="0" t="0" r="r" b="b"/>
            <a:pathLst>
              <a:path w="955" h="554">
                <a:moveTo>
                  <a:pt x="955" y="277"/>
                </a:moveTo>
                <a:lnTo>
                  <a:pt x="479" y="554"/>
                </a:lnTo>
                <a:lnTo>
                  <a:pt x="0" y="277"/>
                </a:lnTo>
                <a:lnTo>
                  <a:pt x="476" y="0"/>
                </a:lnTo>
                <a:lnTo>
                  <a:pt x="955" y="277"/>
                </a:lnTo>
                <a:close/>
              </a:path>
            </a:pathLst>
          </a:custGeom>
          <a:gradFill>
            <a:gsLst>
              <a:gs pos="100000">
                <a:schemeClr val="accent1"/>
              </a:gs>
              <a:gs pos="31000">
                <a:schemeClr val="accent1">
                  <a:lumMod val="60000"/>
                  <a:lumOff val="40000"/>
                </a:schemeClr>
              </a:gs>
              <a:gs pos="0">
                <a:schemeClr val="accent1">
                  <a:lumMod val="40000"/>
                  <a:lumOff val="60000"/>
                </a:schemeClr>
              </a:gs>
            </a:gsLst>
            <a:lin ang="5400000" scaled="1"/>
          </a:gra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43" name="Freeform 35">
            <a:extLst>
              <a:ext uri="{FF2B5EF4-FFF2-40B4-BE49-F238E27FC236}">
                <a16:creationId xmlns:a16="http://schemas.microsoft.com/office/drawing/2014/main" id="{C201E997-81C4-4BB8-B6AE-EC2A8676C2F4}"/>
              </a:ext>
            </a:extLst>
          </p:cNvPr>
          <p:cNvSpPr>
            <a:spLocks/>
          </p:cNvSpPr>
          <p:nvPr/>
        </p:nvSpPr>
        <p:spPr bwMode="auto">
          <a:xfrm>
            <a:off x="2713949" y="5227330"/>
            <a:ext cx="622612" cy="1033771"/>
          </a:xfrm>
          <a:custGeom>
            <a:avLst/>
            <a:gdLst>
              <a:gd name="T0" fmla="*/ 477 w 477"/>
              <a:gd name="T1" fmla="*/ 0 h 792"/>
              <a:gd name="T2" fmla="*/ 476 w 477"/>
              <a:gd name="T3" fmla="*/ 515 h 792"/>
              <a:gd name="T4" fmla="*/ 0 w 477"/>
              <a:gd name="T5" fmla="*/ 792 h 792"/>
              <a:gd name="T6" fmla="*/ 1 w 477"/>
              <a:gd name="T7" fmla="*/ 277 h 792"/>
              <a:gd name="T8" fmla="*/ 477 w 477"/>
              <a:gd name="T9" fmla="*/ 0 h 792"/>
            </a:gdLst>
            <a:ahLst/>
            <a:cxnLst>
              <a:cxn ang="0">
                <a:pos x="T0" y="T1"/>
              </a:cxn>
              <a:cxn ang="0">
                <a:pos x="T2" y="T3"/>
              </a:cxn>
              <a:cxn ang="0">
                <a:pos x="T4" y="T5"/>
              </a:cxn>
              <a:cxn ang="0">
                <a:pos x="T6" y="T7"/>
              </a:cxn>
              <a:cxn ang="0">
                <a:pos x="T8" y="T9"/>
              </a:cxn>
            </a:cxnLst>
            <a:rect l="0" t="0" r="r" b="b"/>
            <a:pathLst>
              <a:path w="477" h="792">
                <a:moveTo>
                  <a:pt x="477" y="0"/>
                </a:moveTo>
                <a:lnTo>
                  <a:pt x="476" y="515"/>
                </a:lnTo>
                <a:lnTo>
                  <a:pt x="0" y="792"/>
                </a:lnTo>
                <a:lnTo>
                  <a:pt x="1" y="277"/>
                </a:lnTo>
                <a:lnTo>
                  <a:pt x="477" y="0"/>
                </a:lnTo>
                <a:close/>
              </a:path>
            </a:pathLst>
          </a:custGeom>
          <a:gradFill flip="none" rotWithShape="1">
            <a:gsLst>
              <a:gs pos="100000">
                <a:schemeClr val="accent1"/>
              </a:gs>
              <a:gs pos="31000">
                <a:schemeClr val="accent1">
                  <a:lumMod val="60000"/>
                  <a:lumOff val="40000"/>
                </a:schemeClr>
              </a:gs>
              <a:gs pos="0">
                <a:schemeClr val="accent1">
                  <a:lumMod val="40000"/>
                  <a:lumOff val="60000"/>
                </a:schemeClr>
              </a:gs>
            </a:gsLst>
            <a:lin ang="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44" name="Freeform 36">
            <a:extLst>
              <a:ext uri="{FF2B5EF4-FFF2-40B4-BE49-F238E27FC236}">
                <a16:creationId xmlns:a16="http://schemas.microsoft.com/office/drawing/2014/main" id="{1D9EFC18-4755-4C85-928C-23626F3CBACE}"/>
              </a:ext>
            </a:extLst>
          </p:cNvPr>
          <p:cNvSpPr>
            <a:spLocks/>
          </p:cNvSpPr>
          <p:nvPr/>
        </p:nvSpPr>
        <p:spPr bwMode="auto">
          <a:xfrm>
            <a:off x="2087421" y="5227330"/>
            <a:ext cx="627833" cy="1033771"/>
          </a:xfrm>
          <a:custGeom>
            <a:avLst/>
            <a:gdLst>
              <a:gd name="T0" fmla="*/ 481 w 481"/>
              <a:gd name="T1" fmla="*/ 277 h 792"/>
              <a:gd name="T2" fmla="*/ 480 w 481"/>
              <a:gd name="T3" fmla="*/ 792 h 792"/>
              <a:gd name="T4" fmla="*/ 0 w 481"/>
              <a:gd name="T5" fmla="*/ 515 h 792"/>
              <a:gd name="T6" fmla="*/ 2 w 481"/>
              <a:gd name="T7" fmla="*/ 0 h 792"/>
              <a:gd name="T8" fmla="*/ 481 w 481"/>
              <a:gd name="T9" fmla="*/ 277 h 792"/>
            </a:gdLst>
            <a:ahLst/>
            <a:cxnLst>
              <a:cxn ang="0">
                <a:pos x="T0" y="T1"/>
              </a:cxn>
              <a:cxn ang="0">
                <a:pos x="T2" y="T3"/>
              </a:cxn>
              <a:cxn ang="0">
                <a:pos x="T4" y="T5"/>
              </a:cxn>
              <a:cxn ang="0">
                <a:pos x="T6" y="T7"/>
              </a:cxn>
              <a:cxn ang="0">
                <a:pos x="T8" y="T9"/>
              </a:cxn>
            </a:cxnLst>
            <a:rect l="0" t="0" r="r" b="b"/>
            <a:pathLst>
              <a:path w="481" h="792">
                <a:moveTo>
                  <a:pt x="481" y="277"/>
                </a:moveTo>
                <a:lnTo>
                  <a:pt x="480" y="792"/>
                </a:lnTo>
                <a:lnTo>
                  <a:pt x="0" y="515"/>
                </a:lnTo>
                <a:lnTo>
                  <a:pt x="2" y="0"/>
                </a:lnTo>
                <a:lnTo>
                  <a:pt x="481" y="277"/>
                </a:lnTo>
                <a:close/>
              </a:path>
            </a:pathLst>
          </a:custGeom>
          <a:gradFill flip="none" rotWithShape="1">
            <a:gsLst>
              <a:gs pos="100000">
                <a:schemeClr val="accent1"/>
              </a:gs>
              <a:gs pos="31000">
                <a:schemeClr val="accent1">
                  <a:lumMod val="60000"/>
                  <a:lumOff val="40000"/>
                </a:schemeClr>
              </a:gs>
              <a:gs pos="0">
                <a:schemeClr val="accent1">
                  <a:lumMod val="40000"/>
                  <a:lumOff val="60000"/>
                </a:schemeClr>
              </a:gs>
            </a:gsLst>
            <a:lin ang="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grpSp>
        <p:nvGrpSpPr>
          <p:cNvPr id="45" name="Group 51">
            <a:extLst>
              <a:ext uri="{FF2B5EF4-FFF2-40B4-BE49-F238E27FC236}">
                <a16:creationId xmlns:a16="http://schemas.microsoft.com/office/drawing/2014/main" id="{506DCFEB-F390-459D-BD0E-2B741F2D4A7E}"/>
              </a:ext>
            </a:extLst>
          </p:cNvPr>
          <p:cNvGrpSpPr/>
          <p:nvPr/>
        </p:nvGrpSpPr>
        <p:grpSpPr>
          <a:xfrm>
            <a:off x="3103695" y="4275036"/>
            <a:ext cx="454281" cy="282227"/>
            <a:chOff x="8420100" y="1390651"/>
            <a:chExt cx="2493963" cy="1549400"/>
          </a:xfrm>
          <a:solidFill>
            <a:srgbClr val="FFFFFF"/>
          </a:solidFill>
        </p:grpSpPr>
        <p:sp>
          <p:nvSpPr>
            <p:cNvPr id="46" name="Freeform 25">
              <a:extLst>
                <a:ext uri="{FF2B5EF4-FFF2-40B4-BE49-F238E27FC236}">
                  <a16:creationId xmlns:a16="http://schemas.microsoft.com/office/drawing/2014/main" id="{9A8A3143-F9F9-497C-9F70-4EDB3D25CBEB}"/>
                </a:ext>
              </a:extLst>
            </p:cNvPr>
            <p:cNvSpPr>
              <a:spLocks/>
            </p:cNvSpPr>
            <p:nvPr/>
          </p:nvSpPr>
          <p:spPr bwMode="auto">
            <a:xfrm>
              <a:off x="9567863" y="2698751"/>
              <a:ext cx="198438" cy="241300"/>
            </a:xfrm>
            <a:custGeom>
              <a:avLst/>
              <a:gdLst>
                <a:gd name="T0" fmla="*/ 81 w 162"/>
                <a:gd name="T1" fmla="*/ 1 h 199"/>
                <a:gd name="T2" fmla="*/ 0 w 162"/>
                <a:gd name="T3" fmla="*/ 0 h 199"/>
                <a:gd name="T4" fmla="*/ 0 w 162"/>
                <a:gd name="T5" fmla="*/ 118 h 199"/>
                <a:gd name="T6" fmla="*/ 81 w 162"/>
                <a:gd name="T7" fmla="*/ 199 h 199"/>
                <a:gd name="T8" fmla="*/ 162 w 162"/>
                <a:gd name="T9" fmla="*/ 118 h 199"/>
                <a:gd name="T10" fmla="*/ 162 w 162"/>
                <a:gd name="T11" fmla="*/ 0 h 199"/>
                <a:gd name="T12" fmla="*/ 81 w 162"/>
                <a:gd name="T13" fmla="*/ 1 h 199"/>
              </a:gdLst>
              <a:ahLst/>
              <a:cxnLst>
                <a:cxn ang="0">
                  <a:pos x="T0" y="T1"/>
                </a:cxn>
                <a:cxn ang="0">
                  <a:pos x="T2" y="T3"/>
                </a:cxn>
                <a:cxn ang="0">
                  <a:pos x="T4" y="T5"/>
                </a:cxn>
                <a:cxn ang="0">
                  <a:pos x="T6" y="T7"/>
                </a:cxn>
                <a:cxn ang="0">
                  <a:pos x="T8" y="T9"/>
                </a:cxn>
                <a:cxn ang="0">
                  <a:pos x="T10" y="T11"/>
                </a:cxn>
                <a:cxn ang="0">
                  <a:pos x="T12" y="T13"/>
                </a:cxn>
              </a:cxnLst>
              <a:rect l="0" t="0" r="r" b="b"/>
              <a:pathLst>
                <a:path w="162" h="199">
                  <a:moveTo>
                    <a:pt x="81" y="1"/>
                  </a:moveTo>
                  <a:cubicBezTo>
                    <a:pt x="54" y="1"/>
                    <a:pt x="27" y="1"/>
                    <a:pt x="0" y="0"/>
                  </a:cubicBezTo>
                  <a:cubicBezTo>
                    <a:pt x="0" y="118"/>
                    <a:pt x="0" y="118"/>
                    <a:pt x="0" y="118"/>
                  </a:cubicBezTo>
                  <a:cubicBezTo>
                    <a:pt x="0" y="162"/>
                    <a:pt x="36" y="199"/>
                    <a:pt x="81" y="199"/>
                  </a:cubicBezTo>
                  <a:cubicBezTo>
                    <a:pt x="126" y="199"/>
                    <a:pt x="162" y="162"/>
                    <a:pt x="162" y="118"/>
                  </a:cubicBezTo>
                  <a:cubicBezTo>
                    <a:pt x="162" y="0"/>
                    <a:pt x="162" y="0"/>
                    <a:pt x="162" y="0"/>
                  </a:cubicBezTo>
                  <a:cubicBezTo>
                    <a:pt x="135" y="1"/>
                    <a:pt x="108" y="1"/>
                    <a:pt x="8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HarmonyOS Sans SC"/>
                <a:cs typeface="+mn-cs"/>
              </a:endParaRPr>
            </a:p>
          </p:txBody>
        </p:sp>
        <p:sp>
          <p:nvSpPr>
            <p:cNvPr id="47" name="Freeform 26">
              <a:extLst>
                <a:ext uri="{FF2B5EF4-FFF2-40B4-BE49-F238E27FC236}">
                  <a16:creationId xmlns:a16="http://schemas.microsoft.com/office/drawing/2014/main" id="{F428B700-4468-4D59-BC17-0E0A56B5F31E}"/>
                </a:ext>
              </a:extLst>
            </p:cNvPr>
            <p:cNvSpPr>
              <a:spLocks/>
            </p:cNvSpPr>
            <p:nvPr/>
          </p:nvSpPr>
          <p:spPr bwMode="auto">
            <a:xfrm>
              <a:off x="8943975" y="2646363"/>
              <a:ext cx="273050" cy="293688"/>
            </a:xfrm>
            <a:custGeom>
              <a:avLst/>
              <a:gdLst>
                <a:gd name="T0" fmla="*/ 61 w 224"/>
                <a:gd name="T1" fmla="*/ 0 h 241"/>
                <a:gd name="T2" fmla="*/ 15 w 224"/>
                <a:gd name="T3" fmla="*/ 133 h 241"/>
                <a:gd name="T4" fmla="*/ 64 w 224"/>
                <a:gd name="T5" fmla="*/ 236 h 241"/>
                <a:gd name="T6" fmla="*/ 91 w 224"/>
                <a:gd name="T7" fmla="*/ 241 h 241"/>
                <a:gd name="T8" fmla="*/ 167 w 224"/>
                <a:gd name="T9" fmla="*/ 187 h 241"/>
                <a:gd name="T10" fmla="*/ 224 w 224"/>
                <a:gd name="T11" fmla="*/ 23 h 241"/>
                <a:gd name="T12" fmla="*/ 61 w 224"/>
                <a:gd name="T13" fmla="*/ 0 h 241"/>
              </a:gdLst>
              <a:ahLst/>
              <a:cxnLst>
                <a:cxn ang="0">
                  <a:pos x="T0" y="T1"/>
                </a:cxn>
                <a:cxn ang="0">
                  <a:pos x="T2" y="T3"/>
                </a:cxn>
                <a:cxn ang="0">
                  <a:pos x="T4" y="T5"/>
                </a:cxn>
                <a:cxn ang="0">
                  <a:pos x="T6" y="T7"/>
                </a:cxn>
                <a:cxn ang="0">
                  <a:pos x="T8" y="T9"/>
                </a:cxn>
                <a:cxn ang="0">
                  <a:pos x="T10" y="T11"/>
                </a:cxn>
                <a:cxn ang="0">
                  <a:pos x="T12" y="T13"/>
                </a:cxn>
              </a:cxnLst>
              <a:rect l="0" t="0" r="r" b="b"/>
              <a:pathLst>
                <a:path w="224" h="241">
                  <a:moveTo>
                    <a:pt x="61" y="0"/>
                  </a:moveTo>
                  <a:cubicBezTo>
                    <a:pt x="15" y="133"/>
                    <a:pt x="15" y="133"/>
                    <a:pt x="15" y="133"/>
                  </a:cubicBezTo>
                  <a:cubicBezTo>
                    <a:pt x="0" y="175"/>
                    <a:pt x="22" y="221"/>
                    <a:pt x="64" y="236"/>
                  </a:cubicBezTo>
                  <a:cubicBezTo>
                    <a:pt x="73" y="239"/>
                    <a:pt x="82" y="241"/>
                    <a:pt x="91" y="241"/>
                  </a:cubicBezTo>
                  <a:cubicBezTo>
                    <a:pt x="124" y="241"/>
                    <a:pt x="156" y="220"/>
                    <a:pt x="167" y="187"/>
                  </a:cubicBezTo>
                  <a:cubicBezTo>
                    <a:pt x="224" y="23"/>
                    <a:pt x="224" y="23"/>
                    <a:pt x="224" y="23"/>
                  </a:cubicBezTo>
                  <a:cubicBezTo>
                    <a:pt x="168" y="17"/>
                    <a:pt x="114" y="9"/>
                    <a:pt x="6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HarmonyOS Sans SC"/>
                <a:cs typeface="+mn-cs"/>
              </a:endParaRPr>
            </a:p>
          </p:txBody>
        </p:sp>
        <p:sp>
          <p:nvSpPr>
            <p:cNvPr id="48" name="Freeform 27">
              <a:extLst>
                <a:ext uri="{FF2B5EF4-FFF2-40B4-BE49-F238E27FC236}">
                  <a16:creationId xmlns:a16="http://schemas.microsoft.com/office/drawing/2014/main" id="{9F793FD9-6649-4718-AF3E-6E42BB739F52}"/>
                </a:ext>
              </a:extLst>
            </p:cNvPr>
            <p:cNvSpPr>
              <a:spLocks/>
            </p:cNvSpPr>
            <p:nvPr/>
          </p:nvSpPr>
          <p:spPr bwMode="auto">
            <a:xfrm>
              <a:off x="10118725" y="2646363"/>
              <a:ext cx="271463" cy="293688"/>
            </a:xfrm>
            <a:custGeom>
              <a:avLst/>
              <a:gdLst>
                <a:gd name="T0" fmla="*/ 209 w 224"/>
                <a:gd name="T1" fmla="*/ 133 h 241"/>
                <a:gd name="T2" fmla="*/ 163 w 224"/>
                <a:gd name="T3" fmla="*/ 0 h 241"/>
                <a:gd name="T4" fmla="*/ 0 w 224"/>
                <a:gd name="T5" fmla="*/ 23 h 241"/>
                <a:gd name="T6" fmla="*/ 57 w 224"/>
                <a:gd name="T7" fmla="*/ 187 h 241"/>
                <a:gd name="T8" fmla="*/ 133 w 224"/>
                <a:gd name="T9" fmla="*/ 241 h 241"/>
                <a:gd name="T10" fmla="*/ 160 w 224"/>
                <a:gd name="T11" fmla="*/ 236 h 241"/>
                <a:gd name="T12" fmla="*/ 209 w 224"/>
                <a:gd name="T13" fmla="*/ 133 h 241"/>
              </a:gdLst>
              <a:ahLst/>
              <a:cxnLst>
                <a:cxn ang="0">
                  <a:pos x="T0" y="T1"/>
                </a:cxn>
                <a:cxn ang="0">
                  <a:pos x="T2" y="T3"/>
                </a:cxn>
                <a:cxn ang="0">
                  <a:pos x="T4" y="T5"/>
                </a:cxn>
                <a:cxn ang="0">
                  <a:pos x="T6" y="T7"/>
                </a:cxn>
                <a:cxn ang="0">
                  <a:pos x="T8" y="T9"/>
                </a:cxn>
                <a:cxn ang="0">
                  <a:pos x="T10" y="T11"/>
                </a:cxn>
                <a:cxn ang="0">
                  <a:pos x="T12" y="T13"/>
                </a:cxn>
              </a:cxnLst>
              <a:rect l="0" t="0" r="r" b="b"/>
              <a:pathLst>
                <a:path w="224" h="241">
                  <a:moveTo>
                    <a:pt x="209" y="133"/>
                  </a:moveTo>
                  <a:cubicBezTo>
                    <a:pt x="163" y="0"/>
                    <a:pt x="163" y="0"/>
                    <a:pt x="163" y="0"/>
                  </a:cubicBezTo>
                  <a:cubicBezTo>
                    <a:pt x="110" y="9"/>
                    <a:pt x="56" y="17"/>
                    <a:pt x="0" y="23"/>
                  </a:cubicBezTo>
                  <a:cubicBezTo>
                    <a:pt x="57" y="187"/>
                    <a:pt x="57" y="187"/>
                    <a:pt x="57" y="187"/>
                  </a:cubicBezTo>
                  <a:cubicBezTo>
                    <a:pt x="68" y="220"/>
                    <a:pt x="100" y="241"/>
                    <a:pt x="133" y="241"/>
                  </a:cubicBezTo>
                  <a:cubicBezTo>
                    <a:pt x="142" y="241"/>
                    <a:pt x="151" y="239"/>
                    <a:pt x="160" y="236"/>
                  </a:cubicBezTo>
                  <a:cubicBezTo>
                    <a:pt x="202" y="221"/>
                    <a:pt x="224" y="175"/>
                    <a:pt x="209" y="1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HarmonyOS Sans SC"/>
                <a:cs typeface="+mn-cs"/>
              </a:endParaRPr>
            </a:p>
          </p:txBody>
        </p:sp>
        <p:sp>
          <p:nvSpPr>
            <p:cNvPr id="49" name="Freeform 28">
              <a:extLst>
                <a:ext uri="{FF2B5EF4-FFF2-40B4-BE49-F238E27FC236}">
                  <a16:creationId xmlns:a16="http://schemas.microsoft.com/office/drawing/2014/main" id="{000579DC-FDB2-4BC0-93C4-3795B87C63C6}"/>
                </a:ext>
              </a:extLst>
            </p:cNvPr>
            <p:cNvSpPr>
              <a:spLocks/>
            </p:cNvSpPr>
            <p:nvPr/>
          </p:nvSpPr>
          <p:spPr bwMode="auto">
            <a:xfrm>
              <a:off x="8420100" y="1709738"/>
              <a:ext cx="2493963" cy="792163"/>
            </a:xfrm>
            <a:custGeom>
              <a:avLst/>
              <a:gdLst>
                <a:gd name="T0" fmla="*/ 1592 w 2048"/>
                <a:gd name="T1" fmla="*/ 3 h 651"/>
                <a:gd name="T2" fmla="*/ 1615 w 2048"/>
                <a:gd name="T3" fmla="*/ 163 h 651"/>
                <a:gd name="T4" fmla="*/ 1519 w 2048"/>
                <a:gd name="T5" fmla="*/ 311 h 651"/>
                <a:gd name="T6" fmla="*/ 1029 w 2048"/>
                <a:gd name="T7" fmla="*/ 409 h 651"/>
                <a:gd name="T8" fmla="*/ 539 w 2048"/>
                <a:gd name="T9" fmla="*/ 311 h 651"/>
                <a:gd name="T10" fmla="*/ 443 w 2048"/>
                <a:gd name="T11" fmla="*/ 163 h 651"/>
                <a:gd name="T12" fmla="*/ 466 w 2048"/>
                <a:gd name="T13" fmla="*/ 0 h 651"/>
                <a:gd name="T14" fmla="*/ 0 w 2048"/>
                <a:gd name="T15" fmla="*/ 301 h 651"/>
                <a:gd name="T16" fmla="*/ 335 w 2048"/>
                <a:gd name="T17" fmla="*/ 569 h 651"/>
                <a:gd name="T18" fmla="*/ 545 w 2048"/>
                <a:gd name="T19" fmla="*/ 615 h 651"/>
                <a:gd name="T20" fmla="*/ 709 w 2048"/>
                <a:gd name="T21" fmla="*/ 636 h 651"/>
                <a:gd name="T22" fmla="*/ 943 w 2048"/>
                <a:gd name="T23" fmla="*/ 650 h 651"/>
                <a:gd name="T24" fmla="*/ 1024 w 2048"/>
                <a:gd name="T25" fmla="*/ 651 h 651"/>
                <a:gd name="T26" fmla="*/ 1105 w 2048"/>
                <a:gd name="T27" fmla="*/ 650 h 651"/>
                <a:gd name="T28" fmla="*/ 1339 w 2048"/>
                <a:gd name="T29" fmla="*/ 636 h 651"/>
                <a:gd name="T30" fmla="*/ 1503 w 2048"/>
                <a:gd name="T31" fmla="*/ 615 h 651"/>
                <a:gd name="T32" fmla="*/ 1713 w 2048"/>
                <a:gd name="T33" fmla="*/ 569 h 651"/>
                <a:gd name="T34" fmla="*/ 2048 w 2048"/>
                <a:gd name="T35" fmla="*/ 301 h 651"/>
                <a:gd name="T36" fmla="*/ 1592 w 2048"/>
                <a:gd name="T37" fmla="*/ 3 h 6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048" h="651">
                  <a:moveTo>
                    <a:pt x="1592" y="3"/>
                  </a:moveTo>
                  <a:cubicBezTo>
                    <a:pt x="1607" y="54"/>
                    <a:pt x="1615" y="108"/>
                    <a:pt x="1615" y="163"/>
                  </a:cubicBezTo>
                  <a:cubicBezTo>
                    <a:pt x="1615" y="227"/>
                    <a:pt x="1577" y="285"/>
                    <a:pt x="1519" y="311"/>
                  </a:cubicBezTo>
                  <a:cubicBezTo>
                    <a:pt x="1510" y="315"/>
                    <a:pt x="1294" y="409"/>
                    <a:pt x="1029" y="409"/>
                  </a:cubicBezTo>
                  <a:cubicBezTo>
                    <a:pt x="763" y="409"/>
                    <a:pt x="548" y="315"/>
                    <a:pt x="539" y="311"/>
                  </a:cubicBezTo>
                  <a:cubicBezTo>
                    <a:pt x="481" y="285"/>
                    <a:pt x="443" y="227"/>
                    <a:pt x="443" y="163"/>
                  </a:cubicBezTo>
                  <a:cubicBezTo>
                    <a:pt x="443" y="107"/>
                    <a:pt x="451" y="53"/>
                    <a:pt x="466" y="0"/>
                  </a:cubicBezTo>
                  <a:cubicBezTo>
                    <a:pt x="250" y="44"/>
                    <a:pt x="0" y="131"/>
                    <a:pt x="0" y="301"/>
                  </a:cubicBezTo>
                  <a:cubicBezTo>
                    <a:pt x="0" y="415"/>
                    <a:pt x="113" y="506"/>
                    <a:pt x="335" y="569"/>
                  </a:cubicBezTo>
                  <a:cubicBezTo>
                    <a:pt x="399" y="587"/>
                    <a:pt x="469" y="603"/>
                    <a:pt x="545" y="615"/>
                  </a:cubicBezTo>
                  <a:cubicBezTo>
                    <a:pt x="598" y="624"/>
                    <a:pt x="653" y="631"/>
                    <a:pt x="709" y="636"/>
                  </a:cubicBezTo>
                  <a:cubicBezTo>
                    <a:pt x="784" y="644"/>
                    <a:pt x="863" y="648"/>
                    <a:pt x="943" y="650"/>
                  </a:cubicBezTo>
                  <a:cubicBezTo>
                    <a:pt x="970" y="651"/>
                    <a:pt x="997" y="651"/>
                    <a:pt x="1024" y="651"/>
                  </a:cubicBezTo>
                  <a:cubicBezTo>
                    <a:pt x="1051" y="651"/>
                    <a:pt x="1078" y="651"/>
                    <a:pt x="1105" y="650"/>
                  </a:cubicBezTo>
                  <a:cubicBezTo>
                    <a:pt x="1185" y="648"/>
                    <a:pt x="1264" y="644"/>
                    <a:pt x="1339" y="636"/>
                  </a:cubicBezTo>
                  <a:cubicBezTo>
                    <a:pt x="1395" y="631"/>
                    <a:pt x="1450" y="624"/>
                    <a:pt x="1503" y="615"/>
                  </a:cubicBezTo>
                  <a:cubicBezTo>
                    <a:pt x="1579" y="603"/>
                    <a:pt x="1649" y="587"/>
                    <a:pt x="1713" y="569"/>
                  </a:cubicBezTo>
                  <a:cubicBezTo>
                    <a:pt x="1935" y="506"/>
                    <a:pt x="2048" y="415"/>
                    <a:pt x="2048" y="301"/>
                  </a:cubicBezTo>
                  <a:cubicBezTo>
                    <a:pt x="2048" y="133"/>
                    <a:pt x="1804" y="46"/>
                    <a:pt x="1592"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HarmonyOS Sans SC"/>
                <a:cs typeface="+mn-cs"/>
              </a:endParaRPr>
            </a:p>
          </p:txBody>
        </p:sp>
        <p:sp>
          <p:nvSpPr>
            <p:cNvPr id="50" name="Freeform 29">
              <a:extLst>
                <a:ext uri="{FF2B5EF4-FFF2-40B4-BE49-F238E27FC236}">
                  <a16:creationId xmlns:a16="http://schemas.microsoft.com/office/drawing/2014/main" id="{435AE847-68F6-4BFF-B885-6DCC0921F0DA}"/>
                </a:ext>
              </a:extLst>
            </p:cNvPr>
            <p:cNvSpPr>
              <a:spLocks/>
            </p:cNvSpPr>
            <p:nvPr/>
          </p:nvSpPr>
          <p:spPr bwMode="auto">
            <a:xfrm>
              <a:off x="9156700" y="1390651"/>
              <a:ext cx="1033463" cy="620713"/>
            </a:xfrm>
            <a:custGeom>
              <a:avLst/>
              <a:gdLst>
                <a:gd name="T0" fmla="*/ 807 w 848"/>
                <a:gd name="T1" fmla="*/ 243 h 509"/>
                <a:gd name="T2" fmla="*/ 766 w 848"/>
                <a:gd name="T3" fmla="*/ 173 h 509"/>
                <a:gd name="T4" fmla="*/ 710 w 848"/>
                <a:gd name="T5" fmla="*/ 111 h 509"/>
                <a:gd name="T6" fmla="*/ 424 w 848"/>
                <a:gd name="T7" fmla="*/ 0 h 509"/>
                <a:gd name="T8" fmla="*/ 139 w 848"/>
                <a:gd name="T9" fmla="*/ 111 h 509"/>
                <a:gd name="T10" fmla="*/ 83 w 848"/>
                <a:gd name="T11" fmla="*/ 172 h 509"/>
                <a:gd name="T12" fmla="*/ 41 w 848"/>
                <a:gd name="T13" fmla="*/ 242 h 509"/>
                <a:gd name="T14" fmla="*/ 0 w 848"/>
                <a:gd name="T15" fmla="*/ 424 h 509"/>
                <a:gd name="T16" fmla="*/ 424 w 848"/>
                <a:gd name="T17" fmla="*/ 509 h 509"/>
                <a:gd name="T18" fmla="*/ 848 w 848"/>
                <a:gd name="T19" fmla="*/ 424 h 509"/>
                <a:gd name="T20" fmla="*/ 807 w 848"/>
                <a:gd name="T21" fmla="*/ 243 h 5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48" h="509">
                  <a:moveTo>
                    <a:pt x="807" y="243"/>
                  </a:moveTo>
                  <a:cubicBezTo>
                    <a:pt x="796" y="219"/>
                    <a:pt x="782" y="195"/>
                    <a:pt x="766" y="173"/>
                  </a:cubicBezTo>
                  <a:cubicBezTo>
                    <a:pt x="749" y="151"/>
                    <a:pt x="730" y="130"/>
                    <a:pt x="710" y="111"/>
                  </a:cubicBezTo>
                  <a:cubicBezTo>
                    <a:pt x="635" y="42"/>
                    <a:pt x="534" y="0"/>
                    <a:pt x="424" y="0"/>
                  </a:cubicBezTo>
                  <a:cubicBezTo>
                    <a:pt x="314" y="0"/>
                    <a:pt x="214" y="42"/>
                    <a:pt x="139" y="111"/>
                  </a:cubicBezTo>
                  <a:cubicBezTo>
                    <a:pt x="118" y="129"/>
                    <a:pt x="100" y="150"/>
                    <a:pt x="83" y="172"/>
                  </a:cubicBezTo>
                  <a:cubicBezTo>
                    <a:pt x="67" y="194"/>
                    <a:pt x="53" y="217"/>
                    <a:pt x="41" y="242"/>
                  </a:cubicBezTo>
                  <a:cubicBezTo>
                    <a:pt x="15" y="297"/>
                    <a:pt x="0" y="359"/>
                    <a:pt x="0" y="424"/>
                  </a:cubicBezTo>
                  <a:cubicBezTo>
                    <a:pt x="0" y="424"/>
                    <a:pt x="190" y="509"/>
                    <a:pt x="424" y="509"/>
                  </a:cubicBezTo>
                  <a:cubicBezTo>
                    <a:pt x="658" y="509"/>
                    <a:pt x="848" y="424"/>
                    <a:pt x="848" y="424"/>
                  </a:cubicBezTo>
                  <a:cubicBezTo>
                    <a:pt x="848" y="359"/>
                    <a:pt x="833" y="298"/>
                    <a:pt x="807" y="2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HarmonyOS Sans SC"/>
                <a:cs typeface="+mn-cs"/>
              </a:endParaRPr>
            </a:p>
          </p:txBody>
        </p:sp>
      </p:grpSp>
      <p:grpSp>
        <p:nvGrpSpPr>
          <p:cNvPr id="51" name="Group 57">
            <a:extLst>
              <a:ext uri="{FF2B5EF4-FFF2-40B4-BE49-F238E27FC236}">
                <a16:creationId xmlns:a16="http://schemas.microsoft.com/office/drawing/2014/main" id="{D7EB3C6B-293B-485B-A066-2DA62542ECAA}"/>
              </a:ext>
            </a:extLst>
          </p:cNvPr>
          <p:cNvGrpSpPr/>
          <p:nvPr/>
        </p:nvGrpSpPr>
        <p:grpSpPr>
          <a:xfrm>
            <a:off x="4353321" y="2139642"/>
            <a:ext cx="439387" cy="269765"/>
            <a:chOff x="6411913" y="1622425"/>
            <a:chExt cx="1023937" cy="628651"/>
          </a:xfrm>
          <a:solidFill>
            <a:srgbClr val="FFFFFF"/>
          </a:solidFill>
        </p:grpSpPr>
        <p:sp>
          <p:nvSpPr>
            <p:cNvPr id="52" name="Freeform 21">
              <a:extLst>
                <a:ext uri="{FF2B5EF4-FFF2-40B4-BE49-F238E27FC236}">
                  <a16:creationId xmlns:a16="http://schemas.microsoft.com/office/drawing/2014/main" id="{16ACAAF0-4330-436D-A6FB-5C53EEF640E5}"/>
                </a:ext>
              </a:extLst>
            </p:cNvPr>
            <p:cNvSpPr>
              <a:spLocks/>
            </p:cNvSpPr>
            <p:nvPr/>
          </p:nvSpPr>
          <p:spPr bwMode="auto">
            <a:xfrm>
              <a:off x="6648450" y="2005013"/>
              <a:ext cx="550862" cy="246063"/>
            </a:xfrm>
            <a:custGeom>
              <a:avLst/>
              <a:gdLst>
                <a:gd name="T0" fmla="*/ 622 w 1100"/>
                <a:gd name="T1" fmla="*/ 159 h 493"/>
                <a:gd name="T2" fmla="*/ 550 w 1100"/>
                <a:gd name="T3" fmla="*/ 171 h 493"/>
                <a:gd name="T4" fmla="*/ 478 w 1100"/>
                <a:gd name="T5" fmla="*/ 159 h 493"/>
                <a:gd name="T6" fmla="*/ 0 w 1100"/>
                <a:gd name="T7" fmla="*/ 0 h 493"/>
                <a:gd name="T8" fmla="*/ 0 w 1100"/>
                <a:gd name="T9" fmla="*/ 259 h 493"/>
                <a:gd name="T10" fmla="*/ 52 w 1100"/>
                <a:gd name="T11" fmla="*/ 331 h 493"/>
                <a:gd name="T12" fmla="*/ 526 w 1100"/>
                <a:gd name="T13" fmla="*/ 489 h 493"/>
                <a:gd name="T14" fmla="*/ 550 w 1100"/>
                <a:gd name="T15" fmla="*/ 493 h 493"/>
                <a:gd name="T16" fmla="*/ 574 w 1100"/>
                <a:gd name="T17" fmla="*/ 489 h 493"/>
                <a:gd name="T18" fmla="*/ 1048 w 1100"/>
                <a:gd name="T19" fmla="*/ 331 h 493"/>
                <a:gd name="T20" fmla="*/ 1100 w 1100"/>
                <a:gd name="T21" fmla="*/ 259 h 493"/>
                <a:gd name="T22" fmla="*/ 1100 w 1100"/>
                <a:gd name="T23" fmla="*/ 0 h 493"/>
                <a:gd name="T24" fmla="*/ 622 w 1100"/>
                <a:gd name="T25" fmla="*/ 159 h 4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00" h="493">
                  <a:moveTo>
                    <a:pt x="622" y="159"/>
                  </a:moveTo>
                  <a:cubicBezTo>
                    <a:pt x="599" y="167"/>
                    <a:pt x="575" y="171"/>
                    <a:pt x="550" y="171"/>
                  </a:cubicBezTo>
                  <a:cubicBezTo>
                    <a:pt x="525" y="171"/>
                    <a:pt x="501" y="167"/>
                    <a:pt x="478" y="159"/>
                  </a:cubicBezTo>
                  <a:cubicBezTo>
                    <a:pt x="0" y="0"/>
                    <a:pt x="0" y="0"/>
                    <a:pt x="0" y="0"/>
                  </a:cubicBezTo>
                  <a:cubicBezTo>
                    <a:pt x="0" y="259"/>
                    <a:pt x="0" y="259"/>
                    <a:pt x="0" y="259"/>
                  </a:cubicBezTo>
                  <a:cubicBezTo>
                    <a:pt x="0" y="292"/>
                    <a:pt x="21" y="321"/>
                    <a:pt x="52" y="331"/>
                  </a:cubicBezTo>
                  <a:cubicBezTo>
                    <a:pt x="526" y="489"/>
                    <a:pt x="526" y="489"/>
                    <a:pt x="526" y="489"/>
                  </a:cubicBezTo>
                  <a:cubicBezTo>
                    <a:pt x="534" y="492"/>
                    <a:pt x="542" y="493"/>
                    <a:pt x="550" y="493"/>
                  </a:cubicBezTo>
                  <a:cubicBezTo>
                    <a:pt x="558" y="493"/>
                    <a:pt x="566" y="492"/>
                    <a:pt x="574" y="489"/>
                  </a:cubicBezTo>
                  <a:cubicBezTo>
                    <a:pt x="1048" y="331"/>
                    <a:pt x="1048" y="331"/>
                    <a:pt x="1048" y="331"/>
                  </a:cubicBezTo>
                  <a:cubicBezTo>
                    <a:pt x="1079" y="321"/>
                    <a:pt x="1100" y="292"/>
                    <a:pt x="1100" y="259"/>
                  </a:cubicBezTo>
                  <a:cubicBezTo>
                    <a:pt x="1100" y="0"/>
                    <a:pt x="1100" y="0"/>
                    <a:pt x="1100" y="0"/>
                  </a:cubicBezTo>
                  <a:lnTo>
                    <a:pt x="622" y="1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HarmonyOS Sans SC"/>
                <a:cs typeface="+mn-cs"/>
              </a:endParaRPr>
            </a:p>
          </p:txBody>
        </p:sp>
        <p:sp>
          <p:nvSpPr>
            <p:cNvPr id="53" name="Freeform 22">
              <a:extLst>
                <a:ext uri="{FF2B5EF4-FFF2-40B4-BE49-F238E27FC236}">
                  <a16:creationId xmlns:a16="http://schemas.microsoft.com/office/drawing/2014/main" id="{46053B55-CBF2-468A-9B55-85B00A0710C2}"/>
                </a:ext>
              </a:extLst>
            </p:cNvPr>
            <p:cNvSpPr>
              <a:spLocks/>
            </p:cNvSpPr>
            <p:nvPr/>
          </p:nvSpPr>
          <p:spPr bwMode="auto">
            <a:xfrm>
              <a:off x="6411913" y="1622425"/>
              <a:ext cx="1023937" cy="457200"/>
            </a:xfrm>
            <a:custGeom>
              <a:avLst/>
              <a:gdLst>
                <a:gd name="T0" fmla="*/ 1996 w 2048"/>
                <a:gd name="T1" fmla="*/ 320 h 915"/>
                <a:gd name="T2" fmla="*/ 1048 w 2048"/>
                <a:gd name="T3" fmla="*/ 4 h 915"/>
                <a:gd name="T4" fmla="*/ 1024 w 2048"/>
                <a:gd name="T5" fmla="*/ 0 h 915"/>
                <a:gd name="T6" fmla="*/ 1000 w 2048"/>
                <a:gd name="T7" fmla="*/ 4 h 915"/>
                <a:gd name="T8" fmla="*/ 52 w 2048"/>
                <a:gd name="T9" fmla="*/ 320 h 915"/>
                <a:gd name="T10" fmla="*/ 0 w 2048"/>
                <a:gd name="T11" fmla="*/ 392 h 915"/>
                <a:gd name="T12" fmla="*/ 52 w 2048"/>
                <a:gd name="T13" fmla="*/ 464 h 915"/>
                <a:gd name="T14" fmla="*/ 474 w 2048"/>
                <a:gd name="T15" fmla="*/ 605 h 915"/>
                <a:gd name="T16" fmla="*/ 1000 w 2048"/>
                <a:gd name="T17" fmla="*/ 780 h 915"/>
                <a:gd name="T18" fmla="*/ 1024 w 2048"/>
                <a:gd name="T19" fmla="*/ 784 h 915"/>
                <a:gd name="T20" fmla="*/ 1048 w 2048"/>
                <a:gd name="T21" fmla="*/ 780 h 915"/>
                <a:gd name="T22" fmla="*/ 1574 w 2048"/>
                <a:gd name="T23" fmla="*/ 605 h 915"/>
                <a:gd name="T24" fmla="*/ 1896 w 2048"/>
                <a:gd name="T25" fmla="*/ 497 h 915"/>
                <a:gd name="T26" fmla="*/ 1896 w 2048"/>
                <a:gd name="T27" fmla="*/ 840 h 915"/>
                <a:gd name="T28" fmla="*/ 1972 w 2048"/>
                <a:gd name="T29" fmla="*/ 915 h 915"/>
                <a:gd name="T30" fmla="*/ 2048 w 2048"/>
                <a:gd name="T31" fmla="*/ 840 h 915"/>
                <a:gd name="T32" fmla="*/ 2048 w 2048"/>
                <a:gd name="T33" fmla="*/ 392 h 915"/>
                <a:gd name="T34" fmla="*/ 1996 w 2048"/>
                <a:gd name="T35" fmla="*/ 320 h 9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48" h="915">
                  <a:moveTo>
                    <a:pt x="1996" y="320"/>
                  </a:moveTo>
                  <a:cubicBezTo>
                    <a:pt x="1048" y="4"/>
                    <a:pt x="1048" y="4"/>
                    <a:pt x="1048" y="4"/>
                  </a:cubicBezTo>
                  <a:cubicBezTo>
                    <a:pt x="1040" y="1"/>
                    <a:pt x="1032" y="0"/>
                    <a:pt x="1024" y="0"/>
                  </a:cubicBezTo>
                  <a:cubicBezTo>
                    <a:pt x="1016" y="0"/>
                    <a:pt x="1008" y="1"/>
                    <a:pt x="1000" y="4"/>
                  </a:cubicBezTo>
                  <a:cubicBezTo>
                    <a:pt x="52" y="320"/>
                    <a:pt x="52" y="320"/>
                    <a:pt x="52" y="320"/>
                  </a:cubicBezTo>
                  <a:cubicBezTo>
                    <a:pt x="21" y="330"/>
                    <a:pt x="0" y="359"/>
                    <a:pt x="0" y="392"/>
                  </a:cubicBezTo>
                  <a:cubicBezTo>
                    <a:pt x="0" y="425"/>
                    <a:pt x="21" y="454"/>
                    <a:pt x="52" y="464"/>
                  </a:cubicBezTo>
                  <a:cubicBezTo>
                    <a:pt x="474" y="605"/>
                    <a:pt x="474" y="605"/>
                    <a:pt x="474" y="605"/>
                  </a:cubicBezTo>
                  <a:cubicBezTo>
                    <a:pt x="1000" y="780"/>
                    <a:pt x="1000" y="780"/>
                    <a:pt x="1000" y="780"/>
                  </a:cubicBezTo>
                  <a:cubicBezTo>
                    <a:pt x="1008" y="783"/>
                    <a:pt x="1016" y="784"/>
                    <a:pt x="1024" y="784"/>
                  </a:cubicBezTo>
                  <a:cubicBezTo>
                    <a:pt x="1032" y="784"/>
                    <a:pt x="1040" y="783"/>
                    <a:pt x="1048" y="780"/>
                  </a:cubicBezTo>
                  <a:cubicBezTo>
                    <a:pt x="1574" y="605"/>
                    <a:pt x="1574" y="605"/>
                    <a:pt x="1574" y="605"/>
                  </a:cubicBezTo>
                  <a:cubicBezTo>
                    <a:pt x="1896" y="497"/>
                    <a:pt x="1896" y="497"/>
                    <a:pt x="1896" y="497"/>
                  </a:cubicBezTo>
                  <a:cubicBezTo>
                    <a:pt x="1896" y="840"/>
                    <a:pt x="1896" y="840"/>
                    <a:pt x="1896" y="840"/>
                  </a:cubicBezTo>
                  <a:cubicBezTo>
                    <a:pt x="1896" y="881"/>
                    <a:pt x="1930" y="915"/>
                    <a:pt x="1972" y="915"/>
                  </a:cubicBezTo>
                  <a:cubicBezTo>
                    <a:pt x="2014" y="915"/>
                    <a:pt x="2048" y="881"/>
                    <a:pt x="2048" y="840"/>
                  </a:cubicBezTo>
                  <a:cubicBezTo>
                    <a:pt x="2048" y="392"/>
                    <a:pt x="2048" y="392"/>
                    <a:pt x="2048" y="392"/>
                  </a:cubicBezTo>
                  <a:cubicBezTo>
                    <a:pt x="2048" y="359"/>
                    <a:pt x="2027" y="330"/>
                    <a:pt x="1996" y="3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HarmonyOS Sans SC"/>
                <a:cs typeface="+mn-cs"/>
              </a:endParaRPr>
            </a:p>
          </p:txBody>
        </p:sp>
      </p:grpSp>
      <p:grpSp>
        <p:nvGrpSpPr>
          <p:cNvPr id="58" name="Group 32">
            <a:extLst>
              <a:ext uri="{FF2B5EF4-FFF2-40B4-BE49-F238E27FC236}">
                <a16:creationId xmlns:a16="http://schemas.microsoft.com/office/drawing/2014/main" id="{3B7C2ACF-81EE-4672-8FB8-4140B64FB462}"/>
              </a:ext>
            </a:extLst>
          </p:cNvPr>
          <p:cNvGrpSpPr/>
          <p:nvPr/>
        </p:nvGrpSpPr>
        <p:grpSpPr>
          <a:xfrm>
            <a:off x="2528704" y="5073804"/>
            <a:ext cx="359585" cy="283663"/>
            <a:chOff x="2236604" y="5391304"/>
            <a:chExt cx="359585" cy="283663"/>
          </a:xfrm>
          <a:solidFill>
            <a:srgbClr val="FFFFFF"/>
          </a:solidFill>
        </p:grpSpPr>
        <p:sp>
          <p:nvSpPr>
            <p:cNvPr id="59" name="Freeform 18">
              <a:extLst>
                <a:ext uri="{FF2B5EF4-FFF2-40B4-BE49-F238E27FC236}">
                  <a16:creationId xmlns:a16="http://schemas.microsoft.com/office/drawing/2014/main" id="{A1DD095D-1D28-429C-9895-B61AFE9C8874}"/>
                </a:ext>
              </a:extLst>
            </p:cNvPr>
            <p:cNvSpPr>
              <a:spLocks/>
            </p:cNvSpPr>
            <p:nvPr/>
          </p:nvSpPr>
          <p:spPr bwMode="auto">
            <a:xfrm>
              <a:off x="2236604" y="5424120"/>
              <a:ext cx="32538" cy="98170"/>
            </a:xfrm>
            <a:custGeom>
              <a:avLst/>
              <a:gdLst>
                <a:gd name="T0" fmla="*/ 93 w 186"/>
                <a:gd name="T1" fmla="*/ 0 h 559"/>
                <a:gd name="T2" fmla="*/ 0 w 186"/>
                <a:gd name="T3" fmla="*/ 93 h 559"/>
                <a:gd name="T4" fmla="*/ 0 w 186"/>
                <a:gd name="T5" fmla="*/ 466 h 559"/>
                <a:gd name="T6" fmla="*/ 93 w 186"/>
                <a:gd name="T7" fmla="*/ 559 h 559"/>
                <a:gd name="T8" fmla="*/ 186 w 186"/>
                <a:gd name="T9" fmla="*/ 466 h 559"/>
                <a:gd name="T10" fmla="*/ 186 w 186"/>
                <a:gd name="T11" fmla="*/ 373 h 559"/>
                <a:gd name="T12" fmla="*/ 186 w 186"/>
                <a:gd name="T13" fmla="*/ 187 h 559"/>
                <a:gd name="T14" fmla="*/ 186 w 186"/>
                <a:gd name="T15" fmla="*/ 93 h 559"/>
                <a:gd name="T16" fmla="*/ 93 w 186"/>
                <a:gd name="T17" fmla="*/ 0 h 5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6" h="559">
                  <a:moveTo>
                    <a:pt x="93" y="0"/>
                  </a:moveTo>
                  <a:cubicBezTo>
                    <a:pt x="42" y="0"/>
                    <a:pt x="0" y="42"/>
                    <a:pt x="0" y="93"/>
                  </a:cubicBezTo>
                  <a:cubicBezTo>
                    <a:pt x="0" y="466"/>
                    <a:pt x="0" y="466"/>
                    <a:pt x="0" y="466"/>
                  </a:cubicBezTo>
                  <a:cubicBezTo>
                    <a:pt x="0" y="517"/>
                    <a:pt x="42" y="559"/>
                    <a:pt x="93" y="559"/>
                  </a:cubicBezTo>
                  <a:cubicBezTo>
                    <a:pt x="145" y="559"/>
                    <a:pt x="186" y="517"/>
                    <a:pt x="186" y="466"/>
                  </a:cubicBezTo>
                  <a:cubicBezTo>
                    <a:pt x="186" y="373"/>
                    <a:pt x="186" y="373"/>
                    <a:pt x="186" y="373"/>
                  </a:cubicBezTo>
                  <a:cubicBezTo>
                    <a:pt x="186" y="187"/>
                    <a:pt x="186" y="187"/>
                    <a:pt x="186" y="187"/>
                  </a:cubicBezTo>
                  <a:cubicBezTo>
                    <a:pt x="186" y="93"/>
                    <a:pt x="186" y="93"/>
                    <a:pt x="186" y="93"/>
                  </a:cubicBezTo>
                  <a:cubicBezTo>
                    <a:pt x="186" y="42"/>
                    <a:pt x="145" y="0"/>
                    <a:pt x="9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HarmonyOS Sans SC"/>
                <a:cs typeface="+mn-cs"/>
              </a:endParaRPr>
            </a:p>
          </p:txBody>
        </p:sp>
        <p:sp>
          <p:nvSpPr>
            <p:cNvPr id="60" name="Freeform 19">
              <a:extLst>
                <a:ext uri="{FF2B5EF4-FFF2-40B4-BE49-F238E27FC236}">
                  <a16:creationId xmlns:a16="http://schemas.microsoft.com/office/drawing/2014/main" id="{5ACA7AA7-C3EB-4EBD-8AEF-18B8F2D5014C}"/>
                </a:ext>
              </a:extLst>
            </p:cNvPr>
            <p:cNvSpPr>
              <a:spLocks/>
            </p:cNvSpPr>
            <p:nvPr/>
          </p:nvSpPr>
          <p:spPr bwMode="auto">
            <a:xfrm>
              <a:off x="2321703" y="5565951"/>
              <a:ext cx="167695" cy="109016"/>
            </a:xfrm>
            <a:custGeom>
              <a:avLst/>
              <a:gdLst>
                <a:gd name="T0" fmla="*/ 935 w 956"/>
                <a:gd name="T1" fmla="*/ 489 h 621"/>
                <a:gd name="T2" fmla="*/ 709 w 956"/>
                <a:gd name="T3" fmla="*/ 0 h 621"/>
                <a:gd name="T4" fmla="*/ 478 w 956"/>
                <a:gd name="T5" fmla="*/ 0 h 621"/>
                <a:gd name="T6" fmla="*/ 247 w 956"/>
                <a:gd name="T7" fmla="*/ 0 h 621"/>
                <a:gd name="T8" fmla="*/ 21 w 956"/>
                <a:gd name="T9" fmla="*/ 489 h 621"/>
                <a:gd name="T10" fmla="*/ 67 w 956"/>
                <a:gd name="T11" fmla="*/ 612 h 621"/>
                <a:gd name="T12" fmla="*/ 106 w 956"/>
                <a:gd name="T13" fmla="*/ 621 h 621"/>
                <a:gd name="T14" fmla="*/ 190 w 956"/>
                <a:gd name="T15" fmla="*/ 567 h 621"/>
                <a:gd name="T16" fmla="*/ 385 w 956"/>
                <a:gd name="T17" fmla="*/ 145 h 621"/>
                <a:gd name="T18" fmla="*/ 385 w 956"/>
                <a:gd name="T19" fmla="*/ 528 h 621"/>
                <a:gd name="T20" fmla="*/ 478 w 956"/>
                <a:gd name="T21" fmla="*/ 621 h 621"/>
                <a:gd name="T22" fmla="*/ 571 w 956"/>
                <a:gd name="T23" fmla="*/ 528 h 621"/>
                <a:gd name="T24" fmla="*/ 571 w 956"/>
                <a:gd name="T25" fmla="*/ 145 h 621"/>
                <a:gd name="T26" fmla="*/ 766 w 956"/>
                <a:gd name="T27" fmla="*/ 567 h 621"/>
                <a:gd name="T28" fmla="*/ 850 w 956"/>
                <a:gd name="T29" fmla="*/ 621 h 621"/>
                <a:gd name="T30" fmla="*/ 889 w 956"/>
                <a:gd name="T31" fmla="*/ 612 h 621"/>
                <a:gd name="T32" fmla="*/ 935 w 956"/>
                <a:gd name="T33" fmla="*/ 489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56" h="621">
                  <a:moveTo>
                    <a:pt x="935" y="489"/>
                  </a:moveTo>
                  <a:cubicBezTo>
                    <a:pt x="709" y="0"/>
                    <a:pt x="709" y="0"/>
                    <a:pt x="709" y="0"/>
                  </a:cubicBezTo>
                  <a:cubicBezTo>
                    <a:pt x="478" y="0"/>
                    <a:pt x="478" y="0"/>
                    <a:pt x="478" y="0"/>
                  </a:cubicBezTo>
                  <a:cubicBezTo>
                    <a:pt x="247" y="0"/>
                    <a:pt x="247" y="0"/>
                    <a:pt x="247" y="0"/>
                  </a:cubicBezTo>
                  <a:cubicBezTo>
                    <a:pt x="21" y="489"/>
                    <a:pt x="21" y="489"/>
                    <a:pt x="21" y="489"/>
                  </a:cubicBezTo>
                  <a:cubicBezTo>
                    <a:pt x="0" y="535"/>
                    <a:pt x="20" y="591"/>
                    <a:pt x="67" y="612"/>
                  </a:cubicBezTo>
                  <a:cubicBezTo>
                    <a:pt x="79" y="618"/>
                    <a:pt x="92" y="621"/>
                    <a:pt x="106" y="621"/>
                  </a:cubicBezTo>
                  <a:cubicBezTo>
                    <a:pt x="141" y="621"/>
                    <a:pt x="174" y="601"/>
                    <a:pt x="190" y="567"/>
                  </a:cubicBezTo>
                  <a:cubicBezTo>
                    <a:pt x="385" y="145"/>
                    <a:pt x="385" y="145"/>
                    <a:pt x="385" y="145"/>
                  </a:cubicBezTo>
                  <a:cubicBezTo>
                    <a:pt x="385" y="528"/>
                    <a:pt x="385" y="528"/>
                    <a:pt x="385" y="528"/>
                  </a:cubicBezTo>
                  <a:cubicBezTo>
                    <a:pt x="385" y="579"/>
                    <a:pt x="427" y="621"/>
                    <a:pt x="478" y="621"/>
                  </a:cubicBezTo>
                  <a:cubicBezTo>
                    <a:pt x="529" y="621"/>
                    <a:pt x="571" y="579"/>
                    <a:pt x="571" y="528"/>
                  </a:cubicBezTo>
                  <a:cubicBezTo>
                    <a:pt x="571" y="145"/>
                    <a:pt x="571" y="145"/>
                    <a:pt x="571" y="145"/>
                  </a:cubicBezTo>
                  <a:cubicBezTo>
                    <a:pt x="766" y="567"/>
                    <a:pt x="766" y="567"/>
                    <a:pt x="766" y="567"/>
                  </a:cubicBezTo>
                  <a:cubicBezTo>
                    <a:pt x="781" y="601"/>
                    <a:pt x="815" y="621"/>
                    <a:pt x="850" y="621"/>
                  </a:cubicBezTo>
                  <a:cubicBezTo>
                    <a:pt x="863" y="621"/>
                    <a:pt x="877" y="618"/>
                    <a:pt x="889" y="612"/>
                  </a:cubicBezTo>
                  <a:cubicBezTo>
                    <a:pt x="936" y="591"/>
                    <a:pt x="956" y="535"/>
                    <a:pt x="935" y="48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HarmonyOS Sans SC"/>
                <a:cs typeface="+mn-cs"/>
              </a:endParaRPr>
            </a:p>
          </p:txBody>
        </p:sp>
        <p:sp>
          <p:nvSpPr>
            <p:cNvPr id="61" name="Freeform 20">
              <a:extLst>
                <a:ext uri="{FF2B5EF4-FFF2-40B4-BE49-F238E27FC236}">
                  <a16:creationId xmlns:a16="http://schemas.microsoft.com/office/drawing/2014/main" id="{90FA9904-857C-4F9F-B31A-2866DD1A12F1}"/>
                </a:ext>
              </a:extLst>
            </p:cNvPr>
            <p:cNvSpPr>
              <a:spLocks/>
            </p:cNvSpPr>
            <p:nvPr/>
          </p:nvSpPr>
          <p:spPr bwMode="auto">
            <a:xfrm>
              <a:off x="2301958" y="5424120"/>
              <a:ext cx="54786" cy="98170"/>
            </a:xfrm>
            <a:custGeom>
              <a:avLst/>
              <a:gdLst>
                <a:gd name="T0" fmla="*/ 311 w 312"/>
                <a:gd name="T1" fmla="*/ 31 h 559"/>
                <a:gd name="T2" fmla="*/ 312 w 312"/>
                <a:gd name="T3" fmla="*/ 0 h 559"/>
                <a:gd name="T4" fmla="*/ 93 w 312"/>
                <a:gd name="T5" fmla="*/ 0 h 559"/>
                <a:gd name="T6" fmla="*/ 0 w 312"/>
                <a:gd name="T7" fmla="*/ 93 h 559"/>
                <a:gd name="T8" fmla="*/ 0 w 312"/>
                <a:gd name="T9" fmla="*/ 187 h 559"/>
                <a:gd name="T10" fmla="*/ 0 w 312"/>
                <a:gd name="T11" fmla="*/ 373 h 559"/>
                <a:gd name="T12" fmla="*/ 0 w 312"/>
                <a:gd name="T13" fmla="*/ 466 h 559"/>
                <a:gd name="T14" fmla="*/ 93 w 312"/>
                <a:gd name="T15" fmla="*/ 559 h 559"/>
                <a:gd name="T16" fmla="*/ 312 w 312"/>
                <a:gd name="T17" fmla="*/ 559 h 559"/>
                <a:gd name="T18" fmla="*/ 311 w 312"/>
                <a:gd name="T19" fmla="*/ 528 h 559"/>
                <a:gd name="T20" fmla="*/ 311 w 312"/>
                <a:gd name="T21" fmla="*/ 31 h 5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2" h="559">
                  <a:moveTo>
                    <a:pt x="311" y="31"/>
                  </a:moveTo>
                  <a:cubicBezTo>
                    <a:pt x="311" y="21"/>
                    <a:pt x="311" y="11"/>
                    <a:pt x="312" y="0"/>
                  </a:cubicBezTo>
                  <a:cubicBezTo>
                    <a:pt x="93" y="0"/>
                    <a:pt x="93" y="0"/>
                    <a:pt x="93" y="0"/>
                  </a:cubicBezTo>
                  <a:cubicBezTo>
                    <a:pt x="42" y="0"/>
                    <a:pt x="0" y="42"/>
                    <a:pt x="0" y="93"/>
                  </a:cubicBezTo>
                  <a:cubicBezTo>
                    <a:pt x="0" y="187"/>
                    <a:pt x="0" y="187"/>
                    <a:pt x="0" y="187"/>
                  </a:cubicBezTo>
                  <a:cubicBezTo>
                    <a:pt x="0" y="373"/>
                    <a:pt x="0" y="373"/>
                    <a:pt x="0" y="373"/>
                  </a:cubicBezTo>
                  <a:cubicBezTo>
                    <a:pt x="0" y="466"/>
                    <a:pt x="0" y="466"/>
                    <a:pt x="0" y="466"/>
                  </a:cubicBezTo>
                  <a:cubicBezTo>
                    <a:pt x="0" y="517"/>
                    <a:pt x="42" y="559"/>
                    <a:pt x="93" y="559"/>
                  </a:cubicBezTo>
                  <a:cubicBezTo>
                    <a:pt x="312" y="559"/>
                    <a:pt x="312" y="559"/>
                    <a:pt x="312" y="559"/>
                  </a:cubicBezTo>
                  <a:cubicBezTo>
                    <a:pt x="311" y="549"/>
                    <a:pt x="311" y="538"/>
                    <a:pt x="311" y="528"/>
                  </a:cubicBezTo>
                  <a:lnTo>
                    <a:pt x="31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HarmonyOS Sans SC"/>
                <a:cs typeface="+mn-cs"/>
              </a:endParaRPr>
            </a:p>
          </p:txBody>
        </p:sp>
        <p:sp>
          <p:nvSpPr>
            <p:cNvPr id="62" name="Freeform 21">
              <a:extLst>
                <a:ext uri="{FF2B5EF4-FFF2-40B4-BE49-F238E27FC236}">
                  <a16:creationId xmlns:a16="http://schemas.microsoft.com/office/drawing/2014/main" id="{FFD9E788-438A-4584-9D75-40C5E4B5477A}"/>
                </a:ext>
              </a:extLst>
            </p:cNvPr>
            <p:cNvSpPr>
              <a:spLocks/>
            </p:cNvSpPr>
            <p:nvPr/>
          </p:nvSpPr>
          <p:spPr bwMode="auto">
            <a:xfrm>
              <a:off x="2389282" y="5391304"/>
              <a:ext cx="206907" cy="163802"/>
            </a:xfrm>
            <a:custGeom>
              <a:avLst/>
              <a:gdLst>
                <a:gd name="T0" fmla="*/ 1086 w 1179"/>
                <a:gd name="T1" fmla="*/ 0 h 931"/>
                <a:gd name="T2" fmla="*/ 993 w 1179"/>
                <a:gd name="T3" fmla="*/ 93 h 931"/>
                <a:gd name="T4" fmla="*/ 993 w 1179"/>
                <a:gd name="T5" fmla="*/ 124 h 931"/>
                <a:gd name="T6" fmla="*/ 325 w 1179"/>
                <a:gd name="T7" fmla="*/ 124 h 931"/>
                <a:gd name="T8" fmla="*/ 196 w 1179"/>
                <a:gd name="T9" fmla="*/ 124 h 931"/>
                <a:gd name="T10" fmla="*/ 93 w 1179"/>
                <a:gd name="T11" fmla="*/ 124 h 931"/>
                <a:gd name="T12" fmla="*/ 5 w 1179"/>
                <a:gd name="T13" fmla="*/ 186 h 931"/>
                <a:gd name="T14" fmla="*/ 0 w 1179"/>
                <a:gd name="T15" fmla="*/ 217 h 931"/>
                <a:gd name="T16" fmla="*/ 0 w 1179"/>
                <a:gd name="T17" fmla="*/ 693 h 931"/>
                <a:gd name="T18" fmla="*/ 0 w 1179"/>
                <a:gd name="T19" fmla="*/ 714 h 931"/>
                <a:gd name="T20" fmla="*/ 5 w 1179"/>
                <a:gd name="T21" fmla="*/ 745 h 931"/>
                <a:gd name="T22" fmla="*/ 93 w 1179"/>
                <a:gd name="T23" fmla="*/ 807 h 931"/>
                <a:gd name="T24" fmla="*/ 196 w 1179"/>
                <a:gd name="T25" fmla="*/ 807 h 931"/>
                <a:gd name="T26" fmla="*/ 238 w 1179"/>
                <a:gd name="T27" fmla="*/ 807 h 931"/>
                <a:gd name="T28" fmla="*/ 325 w 1179"/>
                <a:gd name="T29" fmla="*/ 807 h 931"/>
                <a:gd name="T30" fmla="*/ 854 w 1179"/>
                <a:gd name="T31" fmla="*/ 807 h 931"/>
                <a:gd name="T32" fmla="*/ 993 w 1179"/>
                <a:gd name="T33" fmla="*/ 807 h 931"/>
                <a:gd name="T34" fmla="*/ 993 w 1179"/>
                <a:gd name="T35" fmla="*/ 838 h 931"/>
                <a:gd name="T36" fmla="*/ 1086 w 1179"/>
                <a:gd name="T37" fmla="*/ 931 h 931"/>
                <a:gd name="T38" fmla="*/ 1179 w 1179"/>
                <a:gd name="T39" fmla="*/ 838 h 931"/>
                <a:gd name="T40" fmla="*/ 1179 w 1179"/>
                <a:gd name="T41" fmla="*/ 714 h 931"/>
                <a:gd name="T42" fmla="*/ 1179 w 1179"/>
                <a:gd name="T43" fmla="*/ 217 h 931"/>
                <a:gd name="T44" fmla="*/ 1179 w 1179"/>
                <a:gd name="T45" fmla="*/ 93 h 931"/>
                <a:gd name="T46" fmla="*/ 1086 w 1179"/>
                <a:gd name="T47" fmla="*/ 0 h 9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79" h="931">
                  <a:moveTo>
                    <a:pt x="1086" y="0"/>
                  </a:moveTo>
                  <a:cubicBezTo>
                    <a:pt x="1034" y="0"/>
                    <a:pt x="993" y="42"/>
                    <a:pt x="993" y="93"/>
                  </a:cubicBezTo>
                  <a:cubicBezTo>
                    <a:pt x="993" y="124"/>
                    <a:pt x="993" y="124"/>
                    <a:pt x="993" y="124"/>
                  </a:cubicBezTo>
                  <a:cubicBezTo>
                    <a:pt x="325" y="124"/>
                    <a:pt x="325" y="124"/>
                    <a:pt x="325" y="124"/>
                  </a:cubicBezTo>
                  <a:cubicBezTo>
                    <a:pt x="196" y="124"/>
                    <a:pt x="196" y="124"/>
                    <a:pt x="196" y="124"/>
                  </a:cubicBezTo>
                  <a:cubicBezTo>
                    <a:pt x="93" y="124"/>
                    <a:pt x="93" y="124"/>
                    <a:pt x="93" y="124"/>
                  </a:cubicBezTo>
                  <a:cubicBezTo>
                    <a:pt x="52" y="124"/>
                    <a:pt x="18" y="150"/>
                    <a:pt x="5" y="186"/>
                  </a:cubicBezTo>
                  <a:cubicBezTo>
                    <a:pt x="2" y="196"/>
                    <a:pt x="0" y="207"/>
                    <a:pt x="0" y="217"/>
                  </a:cubicBezTo>
                  <a:cubicBezTo>
                    <a:pt x="0" y="693"/>
                    <a:pt x="0" y="693"/>
                    <a:pt x="0" y="693"/>
                  </a:cubicBezTo>
                  <a:cubicBezTo>
                    <a:pt x="0" y="714"/>
                    <a:pt x="0" y="714"/>
                    <a:pt x="0" y="714"/>
                  </a:cubicBezTo>
                  <a:cubicBezTo>
                    <a:pt x="0" y="725"/>
                    <a:pt x="2" y="735"/>
                    <a:pt x="5" y="745"/>
                  </a:cubicBezTo>
                  <a:cubicBezTo>
                    <a:pt x="18" y="781"/>
                    <a:pt x="52" y="807"/>
                    <a:pt x="93" y="807"/>
                  </a:cubicBezTo>
                  <a:cubicBezTo>
                    <a:pt x="196" y="807"/>
                    <a:pt x="196" y="807"/>
                    <a:pt x="196" y="807"/>
                  </a:cubicBezTo>
                  <a:cubicBezTo>
                    <a:pt x="238" y="807"/>
                    <a:pt x="238" y="807"/>
                    <a:pt x="238" y="807"/>
                  </a:cubicBezTo>
                  <a:cubicBezTo>
                    <a:pt x="325" y="807"/>
                    <a:pt x="325" y="807"/>
                    <a:pt x="325" y="807"/>
                  </a:cubicBezTo>
                  <a:cubicBezTo>
                    <a:pt x="854" y="807"/>
                    <a:pt x="854" y="807"/>
                    <a:pt x="854" y="807"/>
                  </a:cubicBezTo>
                  <a:cubicBezTo>
                    <a:pt x="993" y="807"/>
                    <a:pt x="993" y="807"/>
                    <a:pt x="993" y="807"/>
                  </a:cubicBezTo>
                  <a:cubicBezTo>
                    <a:pt x="993" y="838"/>
                    <a:pt x="993" y="838"/>
                    <a:pt x="993" y="838"/>
                  </a:cubicBezTo>
                  <a:cubicBezTo>
                    <a:pt x="993" y="889"/>
                    <a:pt x="1035" y="931"/>
                    <a:pt x="1086" y="931"/>
                  </a:cubicBezTo>
                  <a:cubicBezTo>
                    <a:pt x="1137" y="931"/>
                    <a:pt x="1179" y="889"/>
                    <a:pt x="1179" y="838"/>
                  </a:cubicBezTo>
                  <a:cubicBezTo>
                    <a:pt x="1179" y="714"/>
                    <a:pt x="1179" y="714"/>
                    <a:pt x="1179" y="714"/>
                  </a:cubicBezTo>
                  <a:cubicBezTo>
                    <a:pt x="1179" y="217"/>
                    <a:pt x="1179" y="217"/>
                    <a:pt x="1179" y="217"/>
                  </a:cubicBezTo>
                  <a:cubicBezTo>
                    <a:pt x="1179" y="93"/>
                    <a:pt x="1179" y="93"/>
                    <a:pt x="1179" y="93"/>
                  </a:cubicBezTo>
                  <a:cubicBezTo>
                    <a:pt x="1179" y="42"/>
                    <a:pt x="1137" y="0"/>
                    <a:pt x="108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HarmonyOS Sans SC"/>
                <a:cs typeface="+mn-cs"/>
              </a:endParaRPr>
            </a:p>
          </p:txBody>
        </p:sp>
      </p:grpSp>
      <p:grpSp>
        <p:nvGrpSpPr>
          <p:cNvPr id="75" name="组合 74">
            <a:extLst>
              <a:ext uri="{FF2B5EF4-FFF2-40B4-BE49-F238E27FC236}">
                <a16:creationId xmlns:a16="http://schemas.microsoft.com/office/drawing/2014/main" id="{BF646CCA-3062-4448-A91F-090FFF8C8405}"/>
              </a:ext>
            </a:extLst>
          </p:cNvPr>
          <p:cNvGrpSpPr/>
          <p:nvPr/>
        </p:nvGrpSpPr>
        <p:grpSpPr>
          <a:xfrm>
            <a:off x="6198649" y="2044246"/>
            <a:ext cx="4163166" cy="660004"/>
            <a:chOff x="2777087" y="3678059"/>
            <a:chExt cx="4163166" cy="660004"/>
          </a:xfrm>
        </p:grpSpPr>
        <p:sp>
          <p:nvSpPr>
            <p:cNvPr id="76" name="TextBox 65">
              <a:extLst>
                <a:ext uri="{FF2B5EF4-FFF2-40B4-BE49-F238E27FC236}">
                  <a16:creationId xmlns:a16="http://schemas.microsoft.com/office/drawing/2014/main" id="{EB4ACB6B-AE94-445E-AB40-CA1AFB49CDC8}"/>
                </a:ext>
              </a:extLst>
            </p:cNvPr>
            <p:cNvSpPr txBox="1"/>
            <p:nvPr/>
          </p:nvSpPr>
          <p:spPr>
            <a:xfrm flipH="1">
              <a:off x="2777089" y="3678059"/>
              <a:ext cx="2056261" cy="387598"/>
            </a:xfrm>
            <a:prstGeom prst="rect">
              <a:avLst/>
            </a:prstGeom>
            <a:noFill/>
          </p:spPr>
          <p:txBody>
            <a:bodyPr wrap="square" lIns="0" tIns="36000" rIns="0" bIns="36000" rtlCol="0">
              <a:spAutoFit/>
            </a:bodyPr>
            <a:lstStyle/>
            <a:p>
              <a:pPr marL="0" marR="0" lvl="0" indent="0" algn="l" defTabSz="914400" rtl="0" eaLnBrk="1" fontAlgn="auto" latinLnBrk="0" hangingPunct="1">
                <a:lnSpc>
                  <a:spcPct val="120000"/>
                </a:lnSpc>
                <a:spcBef>
                  <a:spcPts val="600"/>
                </a:spcBef>
                <a:spcAft>
                  <a:spcPts val="0"/>
                </a:spcAft>
                <a:buClrTx/>
                <a:buSzTx/>
                <a:buFontTx/>
                <a:buNone/>
                <a:tabLst/>
                <a:defRPr/>
              </a:pPr>
              <a:r>
                <a:rPr kumimoji="0" lang="zh-CN" altLang="en-US" sz="1800" b="0" i="0" u="none" strike="noStrike" kern="1200" cap="none" spc="0" normalizeH="0" baseline="0" noProof="0" dirty="0">
                  <a:ln>
                    <a:noFill/>
                  </a:ln>
                  <a:solidFill>
                    <a:schemeClr val="accent1"/>
                  </a:solidFill>
                  <a:effectLst/>
                  <a:uLnTx/>
                  <a:uFillTx/>
                  <a:latin typeface="HarmonyOS Sans SC Black"/>
                  <a:ea typeface="+mj-ea"/>
                  <a:cs typeface="+mn-cs"/>
                </a:rPr>
                <a:t>关键词标题</a:t>
              </a:r>
              <a:endParaRPr kumimoji="0" lang="en-US" sz="1800" b="0" i="0" u="none" strike="noStrike" kern="1200" cap="none" spc="0" normalizeH="0" baseline="0" noProof="0" dirty="0">
                <a:ln>
                  <a:noFill/>
                </a:ln>
                <a:solidFill>
                  <a:schemeClr val="accent1"/>
                </a:solidFill>
                <a:effectLst/>
                <a:uLnTx/>
                <a:uFillTx/>
                <a:latin typeface="HarmonyOS Sans SC Black"/>
                <a:ea typeface="+mj-ea"/>
                <a:cs typeface="+mn-cs"/>
              </a:endParaRPr>
            </a:p>
          </p:txBody>
        </p:sp>
        <p:sp>
          <p:nvSpPr>
            <p:cNvPr id="77" name="TextBox 65">
              <a:extLst>
                <a:ext uri="{FF2B5EF4-FFF2-40B4-BE49-F238E27FC236}">
                  <a16:creationId xmlns:a16="http://schemas.microsoft.com/office/drawing/2014/main" id="{E52CC32D-58D3-48CA-AD89-7C6E67FC7EAD}"/>
                </a:ext>
              </a:extLst>
            </p:cNvPr>
            <p:cNvSpPr txBox="1"/>
            <p:nvPr/>
          </p:nvSpPr>
          <p:spPr>
            <a:xfrm flipH="1">
              <a:off x="2777087" y="4061458"/>
              <a:ext cx="4163166" cy="276605"/>
            </a:xfrm>
            <a:prstGeom prst="rect">
              <a:avLst/>
            </a:prstGeom>
            <a:noFill/>
          </p:spPr>
          <p:txBody>
            <a:bodyPr wrap="square" lIns="0" tIns="36000" rIns="0" bIns="36000" rtlCol="0">
              <a:spAutoFit/>
            </a:bodyPr>
            <a:lstStyle/>
            <a:p>
              <a:pPr marL="0" marR="0" lvl="0" indent="0" algn="l" defTabSz="914400" rtl="0" eaLnBrk="1" fontAlgn="auto" latinLnBrk="0" hangingPunct="1">
                <a:lnSpc>
                  <a:spcPct val="120000"/>
                </a:lnSpc>
                <a:spcBef>
                  <a:spcPts val="600"/>
                </a:spcBef>
                <a:spcAft>
                  <a:spcPts val="0"/>
                </a:spcAft>
                <a:buClrTx/>
                <a:buSzTx/>
                <a:buFontTx/>
                <a:buNone/>
                <a:tabLst/>
                <a:defRPr/>
              </a:pPr>
              <a:r>
                <a:rPr kumimoji="0" lang="en-US" sz="1200" b="0" i="0" u="none" strike="noStrike" kern="1200" cap="none" spc="0" normalizeH="0" baseline="0" noProof="0" dirty="0">
                  <a:ln>
                    <a:noFill/>
                  </a:ln>
                  <a:solidFill>
                    <a:prstClr val="black">
                      <a:lumMod val="50000"/>
                      <a:lumOff val="50000"/>
                    </a:prstClr>
                  </a:solidFill>
                  <a:effectLst/>
                  <a:uLnTx/>
                  <a:uFillTx/>
                  <a:latin typeface="HarmonyOS Sans SC"/>
                  <a:cs typeface="+mn-cs"/>
                </a:rPr>
                <a:t>Apparently we had reached a great height in the.</a:t>
              </a:r>
            </a:p>
          </p:txBody>
        </p:sp>
      </p:grpSp>
      <p:grpSp>
        <p:nvGrpSpPr>
          <p:cNvPr id="78" name="组合 77">
            <a:extLst>
              <a:ext uri="{FF2B5EF4-FFF2-40B4-BE49-F238E27FC236}">
                <a16:creationId xmlns:a16="http://schemas.microsoft.com/office/drawing/2014/main" id="{3089E894-36E9-4018-9164-CE3C3145A18E}"/>
              </a:ext>
            </a:extLst>
          </p:cNvPr>
          <p:cNvGrpSpPr/>
          <p:nvPr/>
        </p:nvGrpSpPr>
        <p:grpSpPr>
          <a:xfrm>
            <a:off x="6198649" y="3117667"/>
            <a:ext cx="4163166" cy="660004"/>
            <a:chOff x="2777087" y="3678059"/>
            <a:chExt cx="4163166" cy="660004"/>
          </a:xfrm>
        </p:grpSpPr>
        <p:sp>
          <p:nvSpPr>
            <p:cNvPr id="79" name="TextBox 65">
              <a:extLst>
                <a:ext uri="{FF2B5EF4-FFF2-40B4-BE49-F238E27FC236}">
                  <a16:creationId xmlns:a16="http://schemas.microsoft.com/office/drawing/2014/main" id="{68E8D921-0FEC-41C0-9422-D2F75E445FF7}"/>
                </a:ext>
              </a:extLst>
            </p:cNvPr>
            <p:cNvSpPr txBox="1"/>
            <p:nvPr/>
          </p:nvSpPr>
          <p:spPr>
            <a:xfrm flipH="1">
              <a:off x="2777089" y="3678059"/>
              <a:ext cx="2056261" cy="387598"/>
            </a:xfrm>
            <a:prstGeom prst="rect">
              <a:avLst/>
            </a:prstGeom>
            <a:noFill/>
          </p:spPr>
          <p:txBody>
            <a:bodyPr wrap="square" lIns="0" tIns="36000" rIns="0" bIns="36000" rtlCol="0">
              <a:spAutoFit/>
            </a:bodyPr>
            <a:lstStyle/>
            <a:p>
              <a:pPr marL="0" marR="0" lvl="0" indent="0" algn="l" defTabSz="914400" rtl="0" eaLnBrk="1" fontAlgn="auto" latinLnBrk="0" hangingPunct="1">
                <a:lnSpc>
                  <a:spcPct val="120000"/>
                </a:lnSpc>
                <a:spcBef>
                  <a:spcPts val="600"/>
                </a:spcBef>
                <a:spcAft>
                  <a:spcPts val="0"/>
                </a:spcAft>
                <a:buClrTx/>
                <a:buSzTx/>
                <a:buFontTx/>
                <a:buNone/>
                <a:tabLst/>
                <a:defRPr/>
              </a:pPr>
              <a:r>
                <a:rPr kumimoji="0" lang="zh-CN" altLang="en-US" sz="1800" b="0" i="0" u="none" strike="noStrike" kern="1200" cap="none" spc="0" normalizeH="0" baseline="0" noProof="0" dirty="0">
                  <a:ln>
                    <a:noFill/>
                  </a:ln>
                  <a:solidFill>
                    <a:schemeClr val="accent1"/>
                  </a:solidFill>
                  <a:effectLst/>
                  <a:uLnTx/>
                  <a:uFillTx/>
                  <a:latin typeface="HarmonyOS Sans SC Black"/>
                  <a:ea typeface="+mj-ea"/>
                  <a:cs typeface="+mn-cs"/>
                </a:rPr>
                <a:t>关键词标题</a:t>
              </a:r>
              <a:endParaRPr kumimoji="0" lang="en-US" sz="1800" b="0" i="0" u="none" strike="noStrike" kern="1200" cap="none" spc="0" normalizeH="0" baseline="0" noProof="0" dirty="0">
                <a:ln>
                  <a:noFill/>
                </a:ln>
                <a:solidFill>
                  <a:schemeClr val="accent1"/>
                </a:solidFill>
                <a:effectLst/>
                <a:uLnTx/>
                <a:uFillTx/>
                <a:latin typeface="HarmonyOS Sans SC Black"/>
                <a:ea typeface="+mj-ea"/>
                <a:cs typeface="+mn-cs"/>
              </a:endParaRPr>
            </a:p>
          </p:txBody>
        </p:sp>
        <p:sp>
          <p:nvSpPr>
            <p:cNvPr id="80" name="TextBox 65">
              <a:extLst>
                <a:ext uri="{FF2B5EF4-FFF2-40B4-BE49-F238E27FC236}">
                  <a16:creationId xmlns:a16="http://schemas.microsoft.com/office/drawing/2014/main" id="{61D8B983-16F2-4421-9F9A-6565310CBCE3}"/>
                </a:ext>
              </a:extLst>
            </p:cNvPr>
            <p:cNvSpPr txBox="1"/>
            <p:nvPr/>
          </p:nvSpPr>
          <p:spPr>
            <a:xfrm flipH="1">
              <a:off x="2777087" y="4061458"/>
              <a:ext cx="4163166" cy="276605"/>
            </a:xfrm>
            <a:prstGeom prst="rect">
              <a:avLst/>
            </a:prstGeom>
            <a:noFill/>
          </p:spPr>
          <p:txBody>
            <a:bodyPr wrap="square" lIns="0" tIns="36000" rIns="0" bIns="36000" rtlCol="0">
              <a:spAutoFit/>
            </a:bodyPr>
            <a:lstStyle/>
            <a:p>
              <a:pPr marL="0" marR="0" lvl="0" indent="0" algn="l" defTabSz="914400" rtl="0" eaLnBrk="1" fontAlgn="auto" latinLnBrk="0" hangingPunct="1">
                <a:lnSpc>
                  <a:spcPct val="120000"/>
                </a:lnSpc>
                <a:spcBef>
                  <a:spcPts val="600"/>
                </a:spcBef>
                <a:spcAft>
                  <a:spcPts val="0"/>
                </a:spcAft>
                <a:buClrTx/>
                <a:buSzTx/>
                <a:buFontTx/>
                <a:buNone/>
                <a:tabLst/>
                <a:defRPr/>
              </a:pPr>
              <a:r>
                <a:rPr kumimoji="0" lang="en-US" sz="1200" b="0" i="0" u="none" strike="noStrike" kern="1200" cap="none" spc="0" normalizeH="0" baseline="0" noProof="0" dirty="0">
                  <a:ln>
                    <a:noFill/>
                  </a:ln>
                  <a:solidFill>
                    <a:prstClr val="black">
                      <a:lumMod val="50000"/>
                      <a:lumOff val="50000"/>
                    </a:prstClr>
                  </a:solidFill>
                  <a:effectLst/>
                  <a:uLnTx/>
                  <a:uFillTx/>
                  <a:latin typeface="HarmonyOS Sans SC"/>
                  <a:cs typeface="+mn-cs"/>
                </a:rPr>
                <a:t>Apparently we had reached a great height in the.</a:t>
              </a:r>
            </a:p>
          </p:txBody>
        </p:sp>
      </p:grpSp>
      <p:grpSp>
        <p:nvGrpSpPr>
          <p:cNvPr id="81" name="组合 80">
            <a:extLst>
              <a:ext uri="{FF2B5EF4-FFF2-40B4-BE49-F238E27FC236}">
                <a16:creationId xmlns:a16="http://schemas.microsoft.com/office/drawing/2014/main" id="{FFD2B5C8-E62B-4DB5-9957-10FA2B5CA73B}"/>
              </a:ext>
            </a:extLst>
          </p:cNvPr>
          <p:cNvGrpSpPr/>
          <p:nvPr/>
        </p:nvGrpSpPr>
        <p:grpSpPr>
          <a:xfrm>
            <a:off x="6198649" y="4205767"/>
            <a:ext cx="4163166" cy="660004"/>
            <a:chOff x="2777087" y="3678059"/>
            <a:chExt cx="4163166" cy="660004"/>
          </a:xfrm>
        </p:grpSpPr>
        <p:sp>
          <p:nvSpPr>
            <p:cNvPr id="82" name="TextBox 65">
              <a:extLst>
                <a:ext uri="{FF2B5EF4-FFF2-40B4-BE49-F238E27FC236}">
                  <a16:creationId xmlns:a16="http://schemas.microsoft.com/office/drawing/2014/main" id="{2B805533-A2DA-4BD7-9628-D137E52E48F1}"/>
                </a:ext>
              </a:extLst>
            </p:cNvPr>
            <p:cNvSpPr txBox="1"/>
            <p:nvPr/>
          </p:nvSpPr>
          <p:spPr>
            <a:xfrm flipH="1">
              <a:off x="2777089" y="3678059"/>
              <a:ext cx="2056261" cy="387598"/>
            </a:xfrm>
            <a:prstGeom prst="rect">
              <a:avLst/>
            </a:prstGeom>
            <a:noFill/>
          </p:spPr>
          <p:txBody>
            <a:bodyPr wrap="square" lIns="0" tIns="36000" rIns="0" bIns="36000" rtlCol="0">
              <a:spAutoFit/>
            </a:bodyPr>
            <a:lstStyle/>
            <a:p>
              <a:pPr marL="0" marR="0" lvl="0" indent="0" algn="l" defTabSz="914400" rtl="0" eaLnBrk="1" fontAlgn="auto" latinLnBrk="0" hangingPunct="1">
                <a:lnSpc>
                  <a:spcPct val="120000"/>
                </a:lnSpc>
                <a:spcBef>
                  <a:spcPts val="600"/>
                </a:spcBef>
                <a:spcAft>
                  <a:spcPts val="0"/>
                </a:spcAft>
                <a:buClrTx/>
                <a:buSzTx/>
                <a:buFontTx/>
                <a:buNone/>
                <a:tabLst/>
                <a:defRPr/>
              </a:pPr>
              <a:r>
                <a:rPr kumimoji="0" lang="zh-CN" altLang="en-US" sz="1800" b="0" i="0" u="none" strike="noStrike" kern="1200" cap="none" spc="0" normalizeH="0" baseline="0" noProof="0" dirty="0">
                  <a:ln>
                    <a:noFill/>
                  </a:ln>
                  <a:solidFill>
                    <a:schemeClr val="accent1"/>
                  </a:solidFill>
                  <a:effectLst/>
                  <a:uLnTx/>
                  <a:uFillTx/>
                  <a:latin typeface="HarmonyOS Sans SC Black"/>
                  <a:ea typeface="+mj-ea"/>
                  <a:cs typeface="+mn-cs"/>
                </a:rPr>
                <a:t>关键词标题</a:t>
              </a:r>
              <a:endParaRPr kumimoji="0" lang="en-US" sz="1800" b="0" i="0" u="none" strike="noStrike" kern="1200" cap="none" spc="0" normalizeH="0" baseline="0" noProof="0" dirty="0">
                <a:ln>
                  <a:noFill/>
                </a:ln>
                <a:solidFill>
                  <a:schemeClr val="accent1"/>
                </a:solidFill>
                <a:effectLst/>
                <a:uLnTx/>
                <a:uFillTx/>
                <a:latin typeface="HarmonyOS Sans SC Black"/>
                <a:ea typeface="+mj-ea"/>
                <a:cs typeface="+mn-cs"/>
              </a:endParaRPr>
            </a:p>
          </p:txBody>
        </p:sp>
        <p:sp>
          <p:nvSpPr>
            <p:cNvPr id="83" name="TextBox 65">
              <a:extLst>
                <a:ext uri="{FF2B5EF4-FFF2-40B4-BE49-F238E27FC236}">
                  <a16:creationId xmlns:a16="http://schemas.microsoft.com/office/drawing/2014/main" id="{3ED64735-F6E0-4067-AB54-282FA7C98971}"/>
                </a:ext>
              </a:extLst>
            </p:cNvPr>
            <p:cNvSpPr txBox="1"/>
            <p:nvPr/>
          </p:nvSpPr>
          <p:spPr>
            <a:xfrm flipH="1">
              <a:off x="2777087" y="4061458"/>
              <a:ext cx="4163166" cy="276605"/>
            </a:xfrm>
            <a:prstGeom prst="rect">
              <a:avLst/>
            </a:prstGeom>
            <a:noFill/>
          </p:spPr>
          <p:txBody>
            <a:bodyPr wrap="square" lIns="0" tIns="36000" rIns="0" bIns="36000" rtlCol="0">
              <a:spAutoFit/>
            </a:bodyPr>
            <a:lstStyle/>
            <a:p>
              <a:pPr marL="0" marR="0" lvl="0" indent="0" algn="l" defTabSz="914400" rtl="0" eaLnBrk="1" fontAlgn="auto" latinLnBrk="0" hangingPunct="1">
                <a:lnSpc>
                  <a:spcPct val="120000"/>
                </a:lnSpc>
                <a:spcBef>
                  <a:spcPts val="600"/>
                </a:spcBef>
                <a:spcAft>
                  <a:spcPts val="0"/>
                </a:spcAft>
                <a:buClrTx/>
                <a:buSzTx/>
                <a:buFontTx/>
                <a:buNone/>
                <a:tabLst/>
                <a:defRPr/>
              </a:pPr>
              <a:r>
                <a:rPr kumimoji="0" lang="en-US" sz="1200" b="0" i="0" u="none" strike="noStrike" kern="1200" cap="none" spc="0" normalizeH="0" baseline="0" noProof="0" dirty="0">
                  <a:ln>
                    <a:noFill/>
                  </a:ln>
                  <a:solidFill>
                    <a:prstClr val="black">
                      <a:lumMod val="50000"/>
                      <a:lumOff val="50000"/>
                    </a:prstClr>
                  </a:solidFill>
                  <a:effectLst/>
                  <a:uLnTx/>
                  <a:uFillTx/>
                  <a:latin typeface="HarmonyOS Sans SC"/>
                  <a:cs typeface="+mn-cs"/>
                </a:rPr>
                <a:t>Apparently we had reached a great height in the.</a:t>
              </a:r>
            </a:p>
          </p:txBody>
        </p:sp>
      </p:grpSp>
      <p:grpSp>
        <p:nvGrpSpPr>
          <p:cNvPr id="84" name="组合 83">
            <a:extLst>
              <a:ext uri="{FF2B5EF4-FFF2-40B4-BE49-F238E27FC236}">
                <a16:creationId xmlns:a16="http://schemas.microsoft.com/office/drawing/2014/main" id="{84F1D959-41A5-40A2-B8D8-EC30B67B99A4}"/>
              </a:ext>
            </a:extLst>
          </p:cNvPr>
          <p:cNvGrpSpPr/>
          <p:nvPr/>
        </p:nvGrpSpPr>
        <p:grpSpPr>
          <a:xfrm>
            <a:off x="6198649" y="5013020"/>
            <a:ext cx="4163166" cy="660004"/>
            <a:chOff x="2777087" y="3678059"/>
            <a:chExt cx="4163166" cy="660004"/>
          </a:xfrm>
        </p:grpSpPr>
        <p:sp>
          <p:nvSpPr>
            <p:cNvPr id="85" name="TextBox 65">
              <a:extLst>
                <a:ext uri="{FF2B5EF4-FFF2-40B4-BE49-F238E27FC236}">
                  <a16:creationId xmlns:a16="http://schemas.microsoft.com/office/drawing/2014/main" id="{244B6B19-8DBE-46E0-BD5C-4F68C023D642}"/>
                </a:ext>
              </a:extLst>
            </p:cNvPr>
            <p:cNvSpPr txBox="1"/>
            <p:nvPr/>
          </p:nvSpPr>
          <p:spPr>
            <a:xfrm flipH="1">
              <a:off x="2777089" y="3678059"/>
              <a:ext cx="2056261" cy="387598"/>
            </a:xfrm>
            <a:prstGeom prst="rect">
              <a:avLst/>
            </a:prstGeom>
            <a:noFill/>
          </p:spPr>
          <p:txBody>
            <a:bodyPr wrap="square" lIns="0" tIns="36000" rIns="0" bIns="36000" rtlCol="0">
              <a:spAutoFit/>
            </a:bodyPr>
            <a:lstStyle/>
            <a:p>
              <a:pPr marL="0" marR="0" lvl="0" indent="0" algn="l" defTabSz="914400" rtl="0" eaLnBrk="1" fontAlgn="auto" latinLnBrk="0" hangingPunct="1">
                <a:lnSpc>
                  <a:spcPct val="120000"/>
                </a:lnSpc>
                <a:spcBef>
                  <a:spcPts val="600"/>
                </a:spcBef>
                <a:spcAft>
                  <a:spcPts val="0"/>
                </a:spcAft>
                <a:buClrTx/>
                <a:buSzTx/>
                <a:buFontTx/>
                <a:buNone/>
                <a:tabLst/>
                <a:defRPr/>
              </a:pPr>
              <a:r>
                <a:rPr kumimoji="0" lang="zh-CN" altLang="en-US" sz="1800" b="0" i="0" u="none" strike="noStrike" kern="1200" cap="none" spc="0" normalizeH="0" baseline="0" noProof="0" dirty="0">
                  <a:ln>
                    <a:noFill/>
                  </a:ln>
                  <a:solidFill>
                    <a:schemeClr val="accent1"/>
                  </a:solidFill>
                  <a:effectLst/>
                  <a:uLnTx/>
                  <a:uFillTx/>
                  <a:latin typeface="HarmonyOS Sans SC Black"/>
                  <a:ea typeface="+mj-ea"/>
                  <a:cs typeface="+mn-cs"/>
                </a:rPr>
                <a:t>关键词标题</a:t>
              </a:r>
              <a:endParaRPr kumimoji="0" lang="en-US" sz="1800" b="0" i="0" u="none" strike="noStrike" kern="1200" cap="none" spc="0" normalizeH="0" baseline="0" noProof="0" dirty="0">
                <a:ln>
                  <a:noFill/>
                </a:ln>
                <a:solidFill>
                  <a:schemeClr val="accent1"/>
                </a:solidFill>
                <a:effectLst/>
                <a:uLnTx/>
                <a:uFillTx/>
                <a:latin typeface="HarmonyOS Sans SC Black"/>
                <a:ea typeface="+mj-ea"/>
                <a:cs typeface="+mn-cs"/>
              </a:endParaRPr>
            </a:p>
          </p:txBody>
        </p:sp>
        <p:sp>
          <p:nvSpPr>
            <p:cNvPr id="86" name="TextBox 65">
              <a:extLst>
                <a:ext uri="{FF2B5EF4-FFF2-40B4-BE49-F238E27FC236}">
                  <a16:creationId xmlns:a16="http://schemas.microsoft.com/office/drawing/2014/main" id="{A426E5C5-C874-45CA-A6A2-CDE4E58C7E40}"/>
                </a:ext>
              </a:extLst>
            </p:cNvPr>
            <p:cNvSpPr txBox="1"/>
            <p:nvPr/>
          </p:nvSpPr>
          <p:spPr>
            <a:xfrm flipH="1">
              <a:off x="2777087" y="4061458"/>
              <a:ext cx="4163166" cy="276605"/>
            </a:xfrm>
            <a:prstGeom prst="rect">
              <a:avLst/>
            </a:prstGeom>
            <a:noFill/>
          </p:spPr>
          <p:txBody>
            <a:bodyPr wrap="square" lIns="0" tIns="36000" rIns="0" bIns="36000" rtlCol="0">
              <a:spAutoFit/>
            </a:bodyPr>
            <a:lstStyle/>
            <a:p>
              <a:pPr marL="0" marR="0" lvl="0" indent="0" algn="l" defTabSz="914400" rtl="0" eaLnBrk="1" fontAlgn="auto" latinLnBrk="0" hangingPunct="1">
                <a:lnSpc>
                  <a:spcPct val="120000"/>
                </a:lnSpc>
                <a:spcBef>
                  <a:spcPts val="600"/>
                </a:spcBef>
                <a:spcAft>
                  <a:spcPts val="0"/>
                </a:spcAft>
                <a:buClrTx/>
                <a:buSzTx/>
                <a:buFontTx/>
                <a:buNone/>
                <a:tabLst/>
                <a:defRPr/>
              </a:pPr>
              <a:r>
                <a:rPr kumimoji="0" lang="en-US" sz="1200" b="0" i="0" u="none" strike="noStrike" kern="1200" cap="none" spc="0" normalizeH="0" baseline="0" noProof="0" dirty="0">
                  <a:ln>
                    <a:noFill/>
                  </a:ln>
                  <a:solidFill>
                    <a:prstClr val="black">
                      <a:lumMod val="50000"/>
                      <a:lumOff val="50000"/>
                    </a:prstClr>
                  </a:solidFill>
                  <a:effectLst/>
                  <a:uLnTx/>
                  <a:uFillTx/>
                  <a:latin typeface="HarmonyOS Sans SC"/>
                  <a:cs typeface="+mn-cs"/>
                </a:rPr>
                <a:t>Apparently we had reached a great height in the.</a:t>
              </a:r>
            </a:p>
          </p:txBody>
        </p:sp>
      </p:grpSp>
    </p:spTree>
    <p:extLst>
      <p:ext uri="{BB962C8B-B14F-4D97-AF65-F5344CB8AC3E}">
        <p14:creationId xmlns:p14="http://schemas.microsoft.com/office/powerpoint/2010/main" val="2961609099"/>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5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Rounded Corners 2">
            <a:extLst>
              <a:ext uri="{FF2B5EF4-FFF2-40B4-BE49-F238E27FC236}">
                <a16:creationId xmlns:a16="http://schemas.microsoft.com/office/drawing/2014/main" id="{F0A8C67D-C404-4871-840F-C1F5C4862167}"/>
              </a:ext>
            </a:extLst>
          </p:cNvPr>
          <p:cNvSpPr/>
          <p:nvPr/>
        </p:nvSpPr>
        <p:spPr>
          <a:xfrm>
            <a:off x="1055688" y="3857466"/>
            <a:ext cx="1881597" cy="1040131"/>
          </a:xfrm>
          <a:prstGeom prst="roundRect">
            <a:avLst>
              <a:gd name="adj" fmla="val 4762"/>
            </a:avLst>
          </a:prstGeom>
          <a:gradFill>
            <a:gsLst>
              <a:gs pos="73000">
                <a:schemeClr val="accent1"/>
              </a:gs>
              <a:gs pos="31000">
                <a:schemeClr val="accent1">
                  <a:lumMod val="60000"/>
                  <a:lumOff val="40000"/>
                </a:schemeClr>
              </a:gs>
              <a:gs pos="0">
                <a:schemeClr val="accent1">
                  <a:lumMod val="40000"/>
                  <a:lumOff val="60000"/>
                </a:schemeClr>
              </a:gs>
            </a:gsLst>
            <a:path path="circle">
              <a:fillToRect r="100000" b="100000"/>
            </a:path>
          </a:gradFill>
          <a:ln>
            <a:noFill/>
          </a:ln>
          <a:effectLst>
            <a:outerShdw blurRad="444500" dist="317500" dir="5400000" sx="92000" sy="92000" algn="t" rotWithShape="0">
              <a:schemeClr val="accent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HarmonyOS Sans SC"/>
              <a:cs typeface="+mn-cs"/>
            </a:endParaRPr>
          </a:p>
        </p:txBody>
      </p:sp>
      <p:cxnSp>
        <p:nvCxnSpPr>
          <p:cNvPr id="7" name="Connector: Curved 16">
            <a:extLst>
              <a:ext uri="{FF2B5EF4-FFF2-40B4-BE49-F238E27FC236}">
                <a16:creationId xmlns:a16="http://schemas.microsoft.com/office/drawing/2014/main" id="{6235E1AB-B868-4F1F-A0EC-E13F78B9AA04}"/>
              </a:ext>
            </a:extLst>
          </p:cNvPr>
          <p:cNvCxnSpPr>
            <a:stCxn id="3" idx="3"/>
            <a:endCxn id="4" idx="1"/>
          </p:cNvCxnSpPr>
          <p:nvPr/>
        </p:nvCxnSpPr>
        <p:spPr>
          <a:xfrm flipV="1">
            <a:off x="2937285" y="3074356"/>
            <a:ext cx="1258790" cy="1303176"/>
          </a:xfrm>
          <a:prstGeom prst="curvedConnector3">
            <a:avLst/>
          </a:prstGeom>
          <a:ln w="190500">
            <a:gradFill flip="none" rotWithShape="1">
              <a:gsLst>
                <a:gs pos="0">
                  <a:schemeClr val="accent1">
                    <a:alpha val="27000"/>
                  </a:schemeClr>
                </a:gs>
                <a:gs pos="78000">
                  <a:schemeClr val="accent1">
                    <a:alpha val="82000"/>
                  </a:schemeClr>
                </a:gs>
              </a:gsLst>
              <a:lin ang="10800000" scaled="1"/>
              <a:tileRect/>
            </a:gradFill>
          </a:ln>
        </p:spPr>
        <p:style>
          <a:lnRef idx="1">
            <a:schemeClr val="accent1"/>
          </a:lnRef>
          <a:fillRef idx="0">
            <a:schemeClr val="accent1"/>
          </a:fillRef>
          <a:effectRef idx="0">
            <a:schemeClr val="accent1"/>
          </a:effectRef>
          <a:fontRef idx="minor">
            <a:schemeClr val="tx1"/>
          </a:fontRef>
        </p:style>
      </p:cxnSp>
      <p:cxnSp>
        <p:nvCxnSpPr>
          <p:cNvPr id="8" name="Connector: Curved 18">
            <a:extLst>
              <a:ext uri="{FF2B5EF4-FFF2-40B4-BE49-F238E27FC236}">
                <a16:creationId xmlns:a16="http://schemas.microsoft.com/office/drawing/2014/main" id="{5366F77F-5730-4A8D-B73B-6737C80D45B2}"/>
              </a:ext>
            </a:extLst>
          </p:cNvPr>
          <p:cNvCxnSpPr>
            <a:stCxn id="3" idx="3"/>
            <a:endCxn id="6" idx="1"/>
          </p:cNvCxnSpPr>
          <p:nvPr/>
        </p:nvCxnSpPr>
        <p:spPr>
          <a:xfrm>
            <a:off x="2937285" y="4377532"/>
            <a:ext cx="1258790" cy="1303178"/>
          </a:xfrm>
          <a:prstGeom prst="curvedConnector3">
            <a:avLst/>
          </a:prstGeom>
          <a:ln w="190500">
            <a:gradFill flip="none" rotWithShape="1">
              <a:gsLst>
                <a:gs pos="0">
                  <a:schemeClr val="accent1">
                    <a:alpha val="27000"/>
                  </a:schemeClr>
                </a:gs>
                <a:gs pos="78000">
                  <a:schemeClr val="accent1">
                    <a:alpha val="82000"/>
                  </a:schemeClr>
                </a:gs>
              </a:gsLst>
              <a:lin ang="10800000" scaled="1"/>
              <a:tileRect/>
            </a:gradFill>
          </a:ln>
        </p:spPr>
        <p:style>
          <a:lnRef idx="1">
            <a:schemeClr val="accent1"/>
          </a:lnRef>
          <a:fillRef idx="0">
            <a:schemeClr val="accent1"/>
          </a:fillRef>
          <a:effectRef idx="0">
            <a:schemeClr val="accent1"/>
          </a:effectRef>
          <a:fontRef idx="minor">
            <a:schemeClr val="tx1"/>
          </a:fontRef>
        </p:style>
      </p:cxnSp>
      <p:cxnSp>
        <p:nvCxnSpPr>
          <p:cNvPr id="9" name="Straight Connector 22">
            <a:extLst>
              <a:ext uri="{FF2B5EF4-FFF2-40B4-BE49-F238E27FC236}">
                <a16:creationId xmlns:a16="http://schemas.microsoft.com/office/drawing/2014/main" id="{3BA9CA9E-5866-4B1F-8937-CB154358BDDE}"/>
              </a:ext>
            </a:extLst>
          </p:cNvPr>
          <p:cNvCxnSpPr>
            <a:cxnSpLocks/>
          </p:cNvCxnSpPr>
          <p:nvPr/>
        </p:nvCxnSpPr>
        <p:spPr>
          <a:xfrm>
            <a:off x="2937285" y="4377532"/>
            <a:ext cx="1261335" cy="0"/>
          </a:xfrm>
          <a:prstGeom prst="line">
            <a:avLst/>
          </a:prstGeom>
          <a:ln w="190500">
            <a:gradFill flip="none" rotWithShape="1">
              <a:gsLst>
                <a:gs pos="0">
                  <a:schemeClr val="accent1">
                    <a:alpha val="27000"/>
                  </a:schemeClr>
                </a:gs>
                <a:gs pos="78000">
                  <a:schemeClr val="accent1">
                    <a:alpha val="82000"/>
                  </a:schemeClr>
                </a:gs>
              </a:gsLst>
              <a:lin ang="10800000" scaled="1"/>
              <a:tileRect/>
            </a:gradFill>
          </a:ln>
        </p:spPr>
        <p:style>
          <a:lnRef idx="1">
            <a:schemeClr val="accent1"/>
          </a:lnRef>
          <a:fillRef idx="0">
            <a:schemeClr val="accent1"/>
          </a:fillRef>
          <a:effectRef idx="0">
            <a:schemeClr val="accent1"/>
          </a:effectRef>
          <a:fontRef idx="minor">
            <a:schemeClr val="tx1"/>
          </a:fontRef>
        </p:style>
      </p:cxnSp>
      <p:cxnSp>
        <p:nvCxnSpPr>
          <p:cNvPr id="14" name="Connector: Curved 67">
            <a:extLst>
              <a:ext uri="{FF2B5EF4-FFF2-40B4-BE49-F238E27FC236}">
                <a16:creationId xmlns:a16="http://schemas.microsoft.com/office/drawing/2014/main" id="{133C9C25-D4D0-4BEE-899A-166B6846CA9F}"/>
              </a:ext>
            </a:extLst>
          </p:cNvPr>
          <p:cNvCxnSpPr>
            <a:cxnSpLocks/>
            <a:stCxn id="4" idx="3"/>
            <a:endCxn id="12" idx="1"/>
          </p:cNvCxnSpPr>
          <p:nvPr/>
        </p:nvCxnSpPr>
        <p:spPr>
          <a:xfrm>
            <a:off x="6077672" y="3074356"/>
            <a:ext cx="1547025" cy="2606354"/>
          </a:xfrm>
          <a:prstGeom prst="curvedConnector3">
            <a:avLst/>
          </a:prstGeom>
          <a:ln w="190500">
            <a:gradFill flip="none" rotWithShape="1">
              <a:gsLst>
                <a:gs pos="0">
                  <a:schemeClr val="accent1">
                    <a:alpha val="27000"/>
                  </a:schemeClr>
                </a:gs>
                <a:gs pos="78000">
                  <a:schemeClr val="accent1">
                    <a:alpha val="82000"/>
                  </a:schemeClr>
                </a:gs>
              </a:gsLst>
              <a:lin ang="10800000" scaled="1"/>
              <a:tileRect/>
            </a:gradFill>
          </a:ln>
        </p:spPr>
        <p:style>
          <a:lnRef idx="1">
            <a:schemeClr val="accent1"/>
          </a:lnRef>
          <a:fillRef idx="0">
            <a:schemeClr val="accent1"/>
          </a:fillRef>
          <a:effectRef idx="0">
            <a:schemeClr val="accent1"/>
          </a:effectRef>
          <a:fontRef idx="minor">
            <a:schemeClr val="tx1"/>
          </a:fontRef>
        </p:style>
      </p:cxnSp>
      <p:cxnSp>
        <p:nvCxnSpPr>
          <p:cNvPr id="15" name="Connector: Curved 75">
            <a:extLst>
              <a:ext uri="{FF2B5EF4-FFF2-40B4-BE49-F238E27FC236}">
                <a16:creationId xmlns:a16="http://schemas.microsoft.com/office/drawing/2014/main" id="{68A5C650-391D-439D-9360-27CEDBB718FB}"/>
              </a:ext>
            </a:extLst>
          </p:cNvPr>
          <p:cNvCxnSpPr>
            <a:cxnSpLocks/>
            <a:stCxn id="4" idx="3"/>
            <a:endCxn id="13" idx="1"/>
          </p:cNvCxnSpPr>
          <p:nvPr/>
        </p:nvCxnSpPr>
        <p:spPr>
          <a:xfrm flipV="1">
            <a:off x="6077672" y="1762840"/>
            <a:ext cx="1547025" cy="1311516"/>
          </a:xfrm>
          <a:prstGeom prst="curvedConnector3">
            <a:avLst/>
          </a:prstGeom>
          <a:ln w="190500">
            <a:gradFill flip="none" rotWithShape="1">
              <a:gsLst>
                <a:gs pos="0">
                  <a:schemeClr val="accent1">
                    <a:alpha val="27000"/>
                  </a:schemeClr>
                </a:gs>
                <a:gs pos="78000">
                  <a:schemeClr val="accent1">
                    <a:alpha val="82000"/>
                  </a:schemeClr>
                </a:gs>
              </a:gsLst>
              <a:lin ang="10800000" scaled="1"/>
              <a:tileRect/>
            </a:gradFill>
          </a:ln>
        </p:spPr>
        <p:style>
          <a:lnRef idx="1">
            <a:schemeClr val="accent1"/>
          </a:lnRef>
          <a:fillRef idx="0">
            <a:schemeClr val="accent1"/>
          </a:fillRef>
          <a:effectRef idx="0">
            <a:schemeClr val="accent1"/>
          </a:effectRef>
          <a:fontRef idx="minor">
            <a:schemeClr val="tx1"/>
          </a:fontRef>
        </p:style>
      </p:cxnSp>
      <p:cxnSp>
        <p:nvCxnSpPr>
          <p:cNvPr id="16" name="Connector: Curved 77">
            <a:extLst>
              <a:ext uri="{FF2B5EF4-FFF2-40B4-BE49-F238E27FC236}">
                <a16:creationId xmlns:a16="http://schemas.microsoft.com/office/drawing/2014/main" id="{54140BA9-710C-4BF2-8D64-6921B1947136}"/>
              </a:ext>
            </a:extLst>
          </p:cNvPr>
          <p:cNvCxnSpPr>
            <a:cxnSpLocks/>
            <a:stCxn id="6" idx="3"/>
            <a:endCxn id="11" idx="1"/>
          </p:cNvCxnSpPr>
          <p:nvPr/>
        </p:nvCxnSpPr>
        <p:spPr>
          <a:xfrm flipV="1">
            <a:off x="6077672" y="4377533"/>
            <a:ext cx="1547025" cy="1303177"/>
          </a:xfrm>
          <a:prstGeom prst="curvedConnector3">
            <a:avLst/>
          </a:prstGeom>
          <a:ln w="190500">
            <a:gradFill flip="none" rotWithShape="1">
              <a:gsLst>
                <a:gs pos="0">
                  <a:schemeClr val="accent1">
                    <a:alpha val="27000"/>
                  </a:schemeClr>
                </a:gs>
                <a:gs pos="78000">
                  <a:schemeClr val="accent1">
                    <a:alpha val="82000"/>
                  </a:schemeClr>
                </a:gs>
              </a:gsLst>
              <a:lin ang="10800000" scaled="1"/>
              <a:tileRect/>
            </a:gradFill>
          </a:ln>
        </p:spPr>
        <p:style>
          <a:lnRef idx="1">
            <a:schemeClr val="accent1"/>
          </a:lnRef>
          <a:fillRef idx="0">
            <a:schemeClr val="accent1"/>
          </a:fillRef>
          <a:effectRef idx="0">
            <a:schemeClr val="accent1"/>
          </a:effectRef>
          <a:fontRef idx="minor">
            <a:schemeClr val="tx1"/>
          </a:fontRef>
        </p:style>
      </p:cxnSp>
      <p:cxnSp>
        <p:nvCxnSpPr>
          <p:cNvPr id="17" name="Straight Connector 79">
            <a:extLst>
              <a:ext uri="{FF2B5EF4-FFF2-40B4-BE49-F238E27FC236}">
                <a16:creationId xmlns:a16="http://schemas.microsoft.com/office/drawing/2014/main" id="{5A23F62C-6338-4142-85E0-BEA1D8B31051}"/>
              </a:ext>
            </a:extLst>
          </p:cNvPr>
          <p:cNvCxnSpPr>
            <a:cxnSpLocks/>
          </p:cNvCxnSpPr>
          <p:nvPr/>
        </p:nvCxnSpPr>
        <p:spPr>
          <a:xfrm>
            <a:off x="6075494" y="3074355"/>
            <a:ext cx="1553753" cy="0"/>
          </a:xfrm>
          <a:prstGeom prst="line">
            <a:avLst/>
          </a:prstGeom>
          <a:ln w="190500">
            <a:gradFill flip="none" rotWithShape="1">
              <a:gsLst>
                <a:gs pos="0">
                  <a:schemeClr val="accent1">
                    <a:alpha val="27000"/>
                  </a:schemeClr>
                </a:gs>
                <a:gs pos="78000">
                  <a:schemeClr val="accent1">
                    <a:alpha val="82000"/>
                  </a:schemeClr>
                </a:gs>
              </a:gsLst>
              <a:lin ang="10800000" scaled="1"/>
              <a:tileRect/>
            </a:gradFill>
          </a:ln>
        </p:spPr>
        <p:style>
          <a:lnRef idx="1">
            <a:schemeClr val="accent1"/>
          </a:lnRef>
          <a:fillRef idx="0">
            <a:schemeClr val="accent1"/>
          </a:fillRef>
          <a:effectRef idx="0">
            <a:schemeClr val="accent1"/>
          </a:effectRef>
          <a:fontRef idx="minor">
            <a:schemeClr val="tx1"/>
          </a:fontRef>
        </p:style>
      </p:cxnSp>
      <p:sp>
        <p:nvSpPr>
          <p:cNvPr id="23" name="文本框 22">
            <a:extLst>
              <a:ext uri="{FF2B5EF4-FFF2-40B4-BE49-F238E27FC236}">
                <a16:creationId xmlns:a16="http://schemas.microsoft.com/office/drawing/2014/main" id="{A7524AA4-BBD7-4581-8A08-4528062BAA72}"/>
              </a:ext>
            </a:extLst>
          </p:cNvPr>
          <p:cNvSpPr txBox="1"/>
          <p:nvPr/>
        </p:nvSpPr>
        <p:spPr>
          <a:xfrm>
            <a:off x="941388" y="918105"/>
            <a:ext cx="4410182" cy="95410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2800" b="0" i="0" u="none" strike="noStrike" kern="1200" cap="none" spc="0" normalizeH="0" baseline="0" noProof="0" dirty="0">
                <a:ln>
                  <a:noFill/>
                </a:ln>
                <a:solidFill>
                  <a:prstClr val="black"/>
                </a:solidFill>
                <a:effectLst/>
                <a:uLnTx/>
                <a:uFillTx/>
                <a:latin typeface="HarmonyOS Sans Black"/>
                <a:ea typeface="+mj-ea"/>
                <a:cs typeface="+mn-cs"/>
              </a:rPr>
              <a:t>TECHNOLOGY GLOBAL </a:t>
            </a:r>
            <a:br>
              <a:rPr kumimoji="0" lang="en-US" altLang="zh-CN" sz="2800" b="0" i="0" u="none" strike="noStrike" kern="1200" cap="none" spc="0" normalizeH="0" baseline="0" noProof="0" dirty="0">
                <a:ln>
                  <a:noFill/>
                </a:ln>
                <a:solidFill>
                  <a:prstClr val="black"/>
                </a:solidFill>
                <a:effectLst/>
                <a:uLnTx/>
                <a:uFillTx/>
                <a:latin typeface="HarmonyOS Sans Black"/>
                <a:ea typeface="+mj-ea"/>
                <a:cs typeface="+mn-cs"/>
              </a:rPr>
            </a:br>
            <a:r>
              <a:rPr kumimoji="0" lang="en-US" altLang="zh-CN" sz="2800" b="0" i="0" u="none" strike="noStrike" kern="1200" cap="none" spc="0" normalizeH="0" baseline="0" noProof="0" dirty="0">
                <a:ln>
                  <a:noFill/>
                </a:ln>
                <a:solidFill>
                  <a:prstClr val="black"/>
                </a:solidFill>
                <a:effectLst/>
                <a:uLnTx/>
                <a:uFillTx/>
                <a:latin typeface="HarmonyOS Sans Black"/>
                <a:ea typeface="+mj-ea"/>
                <a:cs typeface="+mn-cs"/>
              </a:rPr>
              <a:t>ECONOMY</a:t>
            </a:r>
          </a:p>
        </p:txBody>
      </p:sp>
      <p:grpSp>
        <p:nvGrpSpPr>
          <p:cNvPr id="50" name="组合 49">
            <a:extLst>
              <a:ext uri="{FF2B5EF4-FFF2-40B4-BE49-F238E27FC236}">
                <a16:creationId xmlns:a16="http://schemas.microsoft.com/office/drawing/2014/main" id="{421129C5-F2F7-43EF-9D51-4EF139338ECA}"/>
              </a:ext>
            </a:extLst>
          </p:cNvPr>
          <p:cNvGrpSpPr/>
          <p:nvPr/>
        </p:nvGrpSpPr>
        <p:grpSpPr>
          <a:xfrm>
            <a:off x="1287628" y="4012063"/>
            <a:ext cx="1549203" cy="730939"/>
            <a:chOff x="2979935" y="3888581"/>
            <a:chExt cx="1549203" cy="730939"/>
          </a:xfrm>
        </p:grpSpPr>
        <p:sp>
          <p:nvSpPr>
            <p:cNvPr id="25" name="TextBox 26">
              <a:extLst>
                <a:ext uri="{FF2B5EF4-FFF2-40B4-BE49-F238E27FC236}">
                  <a16:creationId xmlns:a16="http://schemas.microsoft.com/office/drawing/2014/main" id="{997E536D-D167-4D99-B8E7-3462145821C9}"/>
                </a:ext>
              </a:extLst>
            </p:cNvPr>
            <p:cNvSpPr txBox="1"/>
            <p:nvPr/>
          </p:nvSpPr>
          <p:spPr>
            <a:xfrm>
              <a:off x="2979935" y="4203453"/>
              <a:ext cx="1549203" cy="416067"/>
            </a:xfrm>
            <a:prstGeom prst="rect">
              <a:avLst/>
            </a:prstGeom>
            <a:noFill/>
          </p:spPr>
          <p:txBody>
            <a:bodyPr wrap="square" lIns="0" tIns="36000" rIns="0" bIns="36000" rtlCol="0">
              <a:spAutoFit/>
            </a:bodyPr>
            <a:lstStyle/>
            <a:p>
              <a:pPr marL="0" marR="0" lvl="0" indent="0" algn="l" defTabSz="914400" rtl="0" eaLnBrk="1" fontAlgn="auto" latinLnBrk="0" hangingPunct="1">
                <a:lnSpc>
                  <a:spcPct val="130000"/>
                </a:lnSpc>
                <a:spcBef>
                  <a:spcPts val="100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HarmonyOS Sans SC"/>
                  <a:cs typeface="+mn-cs"/>
                </a:rPr>
                <a:t>A peep at some distant orb has power.</a:t>
              </a:r>
            </a:p>
          </p:txBody>
        </p:sp>
        <p:sp>
          <p:nvSpPr>
            <p:cNvPr id="26" name="TextBox 27">
              <a:extLst>
                <a:ext uri="{FF2B5EF4-FFF2-40B4-BE49-F238E27FC236}">
                  <a16:creationId xmlns:a16="http://schemas.microsoft.com/office/drawing/2014/main" id="{76AAE918-D0EA-4718-991F-B5C12655857F}"/>
                </a:ext>
              </a:extLst>
            </p:cNvPr>
            <p:cNvSpPr txBox="1"/>
            <p:nvPr/>
          </p:nvSpPr>
          <p:spPr>
            <a:xfrm>
              <a:off x="2979935" y="3888581"/>
              <a:ext cx="1419028" cy="288147"/>
            </a:xfrm>
            <a:prstGeom prst="rect">
              <a:avLst/>
            </a:prstGeom>
            <a:noFill/>
          </p:spPr>
          <p:txBody>
            <a:bodyPr wrap="square" lIns="0" tIns="36000" rIns="0" bIns="36000" rtlCol="0">
              <a:spAutoFit/>
            </a:bodyPr>
            <a:lstStyle/>
            <a:p>
              <a:pPr marL="0" marR="0" lvl="0" indent="0" algn="l" defTabSz="914400" rtl="0" eaLnBrk="1" fontAlgn="auto" latinLnBrk="0" hangingPunct="1">
                <a:lnSpc>
                  <a:spcPct val="100000"/>
                </a:lnSpc>
                <a:spcBef>
                  <a:spcPts val="100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HarmonyOS Sans SC Black"/>
                  <a:ea typeface="+mj-ea"/>
                  <a:cs typeface="+mn-cs"/>
                </a:rPr>
                <a:t>Process name</a:t>
              </a:r>
            </a:p>
          </p:txBody>
        </p:sp>
      </p:grpSp>
      <p:sp>
        <p:nvSpPr>
          <p:cNvPr id="4" name="Rectangle: Rounded Corners 37">
            <a:extLst>
              <a:ext uri="{FF2B5EF4-FFF2-40B4-BE49-F238E27FC236}">
                <a16:creationId xmlns:a16="http://schemas.microsoft.com/office/drawing/2014/main" id="{2E1F69B8-50C9-4969-A202-0F4339D66994}"/>
              </a:ext>
            </a:extLst>
          </p:cNvPr>
          <p:cNvSpPr/>
          <p:nvPr/>
        </p:nvSpPr>
        <p:spPr>
          <a:xfrm>
            <a:off x="4196075" y="2554290"/>
            <a:ext cx="1881597" cy="1040131"/>
          </a:xfrm>
          <a:prstGeom prst="roundRect">
            <a:avLst>
              <a:gd name="adj" fmla="val 4762"/>
            </a:avLst>
          </a:prstGeom>
          <a:noFill/>
          <a:ln>
            <a:gradFill>
              <a:gsLst>
                <a:gs pos="0">
                  <a:schemeClr val="accent1"/>
                </a:gs>
                <a:gs pos="100000">
                  <a:schemeClr val="accent1">
                    <a:lumMod val="60000"/>
                    <a:lumOff val="40000"/>
                  </a:schemeClr>
                </a:gs>
              </a:gsLst>
              <a:lin ang="5400000" scaled="1"/>
            </a:gra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HarmonyOS Sans SC"/>
              <a:cs typeface="+mn-cs"/>
            </a:endParaRPr>
          </a:p>
        </p:txBody>
      </p:sp>
      <p:sp>
        <p:nvSpPr>
          <p:cNvPr id="5" name="Rectangle: Rounded Corners 38">
            <a:extLst>
              <a:ext uri="{FF2B5EF4-FFF2-40B4-BE49-F238E27FC236}">
                <a16:creationId xmlns:a16="http://schemas.microsoft.com/office/drawing/2014/main" id="{0518C914-3154-4C1F-90E7-36F7E48E5473}"/>
              </a:ext>
            </a:extLst>
          </p:cNvPr>
          <p:cNvSpPr/>
          <p:nvPr/>
        </p:nvSpPr>
        <p:spPr>
          <a:xfrm>
            <a:off x="4196075" y="3857467"/>
            <a:ext cx="1881597" cy="1040131"/>
          </a:xfrm>
          <a:prstGeom prst="roundRect">
            <a:avLst>
              <a:gd name="adj" fmla="val 4762"/>
            </a:avLst>
          </a:prstGeom>
          <a:noFill/>
          <a:ln>
            <a:gradFill>
              <a:gsLst>
                <a:gs pos="0">
                  <a:schemeClr val="accent1"/>
                </a:gs>
                <a:gs pos="100000">
                  <a:schemeClr val="accent1">
                    <a:lumMod val="60000"/>
                    <a:lumOff val="40000"/>
                  </a:schemeClr>
                </a:gs>
              </a:gsLst>
              <a:lin ang="5400000" scaled="1"/>
            </a:gra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HarmonyOS Sans SC"/>
              <a:cs typeface="+mn-cs"/>
            </a:endParaRPr>
          </a:p>
        </p:txBody>
      </p:sp>
      <p:sp>
        <p:nvSpPr>
          <p:cNvPr id="6" name="Rectangle: Rounded Corners 40">
            <a:extLst>
              <a:ext uri="{FF2B5EF4-FFF2-40B4-BE49-F238E27FC236}">
                <a16:creationId xmlns:a16="http://schemas.microsoft.com/office/drawing/2014/main" id="{12BEDA13-B4CC-44CD-8FF3-BED34C5E2096}"/>
              </a:ext>
            </a:extLst>
          </p:cNvPr>
          <p:cNvSpPr/>
          <p:nvPr/>
        </p:nvSpPr>
        <p:spPr>
          <a:xfrm>
            <a:off x="4196075" y="5160644"/>
            <a:ext cx="1881597" cy="1040131"/>
          </a:xfrm>
          <a:prstGeom prst="roundRect">
            <a:avLst>
              <a:gd name="adj" fmla="val 4762"/>
            </a:avLst>
          </a:prstGeom>
          <a:noFill/>
          <a:ln>
            <a:gradFill>
              <a:gsLst>
                <a:gs pos="0">
                  <a:schemeClr val="accent1"/>
                </a:gs>
                <a:gs pos="100000">
                  <a:schemeClr val="accent1">
                    <a:lumMod val="60000"/>
                    <a:lumOff val="40000"/>
                  </a:schemeClr>
                </a:gs>
              </a:gsLst>
              <a:lin ang="5400000" scaled="1"/>
            </a:gra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HarmonyOS Sans SC"/>
              <a:cs typeface="+mn-cs"/>
            </a:endParaRPr>
          </a:p>
        </p:txBody>
      </p:sp>
      <p:sp>
        <p:nvSpPr>
          <p:cNvPr id="10" name="Rectangle: Rounded Corners 54">
            <a:extLst>
              <a:ext uri="{FF2B5EF4-FFF2-40B4-BE49-F238E27FC236}">
                <a16:creationId xmlns:a16="http://schemas.microsoft.com/office/drawing/2014/main" id="{C936F8A0-8FA9-4CEA-A6BE-C07D0D8B5C09}"/>
              </a:ext>
            </a:extLst>
          </p:cNvPr>
          <p:cNvSpPr/>
          <p:nvPr/>
        </p:nvSpPr>
        <p:spPr>
          <a:xfrm>
            <a:off x="7624697" y="2554290"/>
            <a:ext cx="1881597" cy="1040131"/>
          </a:xfrm>
          <a:prstGeom prst="roundRect">
            <a:avLst>
              <a:gd name="adj" fmla="val 4762"/>
            </a:avLst>
          </a:prstGeom>
          <a:noFill/>
          <a:ln>
            <a:gradFill>
              <a:gsLst>
                <a:gs pos="0">
                  <a:schemeClr val="accent1"/>
                </a:gs>
                <a:gs pos="100000">
                  <a:schemeClr val="accent1">
                    <a:lumMod val="60000"/>
                    <a:lumOff val="40000"/>
                  </a:schemeClr>
                </a:gs>
              </a:gsLst>
              <a:lin ang="5400000" scaled="1"/>
            </a:gra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HarmonyOS Sans SC"/>
              <a:cs typeface="+mn-cs"/>
            </a:endParaRPr>
          </a:p>
        </p:txBody>
      </p:sp>
      <p:sp>
        <p:nvSpPr>
          <p:cNvPr id="11" name="Rectangle: Rounded Corners 55">
            <a:extLst>
              <a:ext uri="{FF2B5EF4-FFF2-40B4-BE49-F238E27FC236}">
                <a16:creationId xmlns:a16="http://schemas.microsoft.com/office/drawing/2014/main" id="{FE92196D-90B5-4AAE-96BB-13A6002DED06}"/>
              </a:ext>
            </a:extLst>
          </p:cNvPr>
          <p:cNvSpPr/>
          <p:nvPr/>
        </p:nvSpPr>
        <p:spPr>
          <a:xfrm>
            <a:off x="7624697" y="3857467"/>
            <a:ext cx="1881597" cy="1040131"/>
          </a:xfrm>
          <a:prstGeom prst="roundRect">
            <a:avLst>
              <a:gd name="adj" fmla="val 4762"/>
            </a:avLst>
          </a:prstGeom>
          <a:noFill/>
          <a:ln>
            <a:gradFill>
              <a:gsLst>
                <a:gs pos="0">
                  <a:schemeClr val="accent1"/>
                </a:gs>
                <a:gs pos="100000">
                  <a:schemeClr val="accent1">
                    <a:lumMod val="60000"/>
                    <a:lumOff val="40000"/>
                  </a:schemeClr>
                </a:gs>
              </a:gsLst>
              <a:lin ang="5400000" scaled="1"/>
            </a:gra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HarmonyOS Sans SC"/>
              <a:cs typeface="+mn-cs"/>
            </a:endParaRPr>
          </a:p>
        </p:txBody>
      </p:sp>
      <p:sp>
        <p:nvSpPr>
          <p:cNvPr id="12" name="Rectangle: Rounded Corners 56">
            <a:extLst>
              <a:ext uri="{FF2B5EF4-FFF2-40B4-BE49-F238E27FC236}">
                <a16:creationId xmlns:a16="http://schemas.microsoft.com/office/drawing/2014/main" id="{4F762F63-06FB-4E9B-BBE4-EC62CA2F7AE0}"/>
              </a:ext>
            </a:extLst>
          </p:cNvPr>
          <p:cNvSpPr/>
          <p:nvPr/>
        </p:nvSpPr>
        <p:spPr>
          <a:xfrm>
            <a:off x="7624697" y="5160644"/>
            <a:ext cx="1881597" cy="1040131"/>
          </a:xfrm>
          <a:prstGeom prst="roundRect">
            <a:avLst>
              <a:gd name="adj" fmla="val 4762"/>
            </a:avLst>
          </a:prstGeom>
          <a:noFill/>
          <a:ln>
            <a:gradFill>
              <a:gsLst>
                <a:gs pos="0">
                  <a:schemeClr val="accent1"/>
                </a:gs>
                <a:gs pos="100000">
                  <a:schemeClr val="accent1">
                    <a:lumMod val="60000"/>
                    <a:lumOff val="40000"/>
                  </a:schemeClr>
                </a:gs>
              </a:gsLst>
              <a:lin ang="5400000" scaled="1"/>
            </a:gra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HarmonyOS Sans SC"/>
              <a:cs typeface="+mn-cs"/>
            </a:endParaRPr>
          </a:p>
        </p:txBody>
      </p:sp>
      <p:sp>
        <p:nvSpPr>
          <p:cNvPr id="13" name="Rectangle: Rounded Corners 57">
            <a:extLst>
              <a:ext uri="{FF2B5EF4-FFF2-40B4-BE49-F238E27FC236}">
                <a16:creationId xmlns:a16="http://schemas.microsoft.com/office/drawing/2014/main" id="{CABFAF22-EB44-4662-932D-6CB601083F74}"/>
              </a:ext>
            </a:extLst>
          </p:cNvPr>
          <p:cNvSpPr/>
          <p:nvPr/>
        </p:nvSpPr>
        <p:spPr>
          <a:xfrm>
            <a:off x="7624697" y="1242774"/>
            <a:ext cx="1881597" cy="1040131"/>
          </a:xfrm>
          <a:prstGeom prst="roundRect">
            <a:avLst>
              <a:gd name="adj" fmla="val 4762"/>
            </a:avLst>
          </a:prstGeom>
          <a:noFill/>
          <a:ln>
            <a:gradFill>
              <a:gsLst>
                <a:gs pos="0">
                  <a:schemeClr val="accent1"/>
                </a:gs>
                <a:gs pos="100000">
                  <a:schemeClr val="accent1">
                    <a:lumMod val="60000"/>
                    <a:lumOff val="40000"/>
                  </a:schemeClr>
                </a:gs>
              </a:gsLst>
              <a:lin ang="5400000" scaled="1"/>
            </a:gra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HarmonyOS Sans SC"/>
              <a:cs typeface="+mn-cs"/>
            </a:endParaRPr>
          </a:p>
        </p:txBody>
      </p:sp>
      <p:sp>
        <p:nvSpPr>
          <p:cNvPr id="34" name="TextBox 26">
            <a:extLst>
              <a:ext uri="{FF2B5EF4-FFF2-40B4-BE49-F238E27FC236}">
                <a16:creationId xmlns:a16="http://schemas.microsoft.com/office/drawing/2014/main" id="{98D5C9EA-046E-43CC-AB70-ADF853F1C0F1}"/>
              </a:ext>
            </a:extLst>
          </p:cNvPr>
          <p:cNvSpPr txBox="1"/>
          <p:nvPr/>
        </p:nvSpPr>
        <p:spPr>
          <a:xfrm>
            <a:off x="4408243" y="3023758"/>
            <a:ext cx="1549203" cy="416067"/>
          </a:xfrm>
          <a:prstGeom prst="rect">
            <a:avLst/>
          </a:prstGeom>
          <a:noFill/>
        </p:spPr>
        <p:txBody>
          <a:bodyPr wrap="square" lIns="0" tIns="36000" rIns="0" bIns="36000" rtlCol="0">
            <a:spAutoFit/>
          </a:bodyPr>
          <a:lstStyle/>
          <a:p>
            <a:pPr marL="0" marR="0" lvl="0" indent="0" algn="l" defTabSz="914400" rtl="0" eaLnBrk="1" fontAlgn="auto" latinLnBrk="0" hangingPunct="1">
              <a:lnSpc>
                <a:spcPct val="130000"/>
              </a:lnSpc>
              <a:spcBef>
                <a:spcPts val="1000"/>
              </a:spcBef>
              <a:spcAft>
                <a:spcPts val="0"/>
              </a:spcAft>
              <a:buClrTx/>
              <a:buSzTx/>
              <a:buFontTx/>
              <a:buNone/>
              <a:tabLst/>
              <a:defRPr/>
            </a:pPr>
            <a:r>
              <a:rPr kumimoji="0" lang="en-US" sz="900" b="0" i="0" u="none" strike="noStrike" kern="1200" cap="none" spc="0" normalizeH="0" baseline="0" noProof="0" dirty="0">
                <a:ln>
                  <a:noFill/>
                </a:ln>
                <a:solidFill>
                  <a:prstClr val="black">
                    <a:lumMod val="50000"/>
                    <a:lumOff val="50000"/>
                  </a:prstClr>
                </a:solidFill>
                <a:effectLst/>
                <a:uLnTx/>
                <a:uFillTx/>
                <a:latin typeface="HarmonyOS Sans SC"/>
                <a:cs typeface="+mn-cs"/>
              </a:rPr>
              <a:t>All their equipment and instruments are alive.</a:t>
            </a:r>
          </a:p>
        </p:txBody>
      </p:sp>
      <p:sp>
        <p:nvSpPr>
          <p:cNvPr id="35" name="TextBox 27">
            <a:extLst>
              <a:ext uri="{FF2B5EF4-FFF2-40B4-BE49-F238E27FC236}">
                <a16:creationId xmlns:a16="http://schemas.microsoft.com/office/drawing/2014/main" id="{941884E5-8CEE-4ECE-B531-B5E9FD563192}"/>
              </a:ext>
            </a:extLst>
          </p:cNvPr>
          <p:cNvSpPr txBox="1"/>
          <p:nvPr/>
        </p:nvSpPr>
        <p:spPr>
          <a:xfrm>
            <a:off x="4408243" y="2708886"/>
            <a:ext cx="1419028" cy="288147"/>
          </a:xfrm>
          <a:prstGeom prst="rect">
            <a:avLst/>
          </a:prstGeom>
          <a:noFill/>
        </p:spPr>
        <p:txBody>
          <a:bodyPr wrap="square" lIns="0" tIns="36000" rIns="0" bIns="36000" rtlCol="0">
            <a:spAutoFit/>
          </a:bodyPr>
          <a:lstStyle/>
          <a:p>
            <a:pPr marL="0" marR="0" lvl="0" indent="0" algn="l" defTabSz="914400" rtl="0" eaLnBrk="1" fontAlgn="auto" latinLnBrk="0" hangingPunct="1">
              <a:lnSpc>
                <a:spcPct val="100000"/>
              </a:lnSpc>
              <a:spcBef>
                <a:spcPts val="1000"/>
              </a:spcBef>
              <a:spcAft>
                <a:spcPts val="0"/>
              </a:spcAft>
              <a:buClrTx/>
              <a:buSzTx/>
              <a:buFontTx/>
              <a:buNone/>
              <a:tabLst/>
              <a:defRPr/>
            </a:pPr>
            <a:r>
              <a:rPr kumimoji="0" lang="en-US" sz="1400" b="1" i="0" u="none" strike="noStrike" kern="1200" cap="none" spc="0" normalizeH="0" baseline="0" noProof="0" dirty="0">
                <a:ln>
                  <a:noFill/>
                </a:ln>
                <a:solidFill>
                  <a:prstClr val="black">
                    <a:lumMod val="75000"/>
                    <a:lumOff val="25000"/>
                  </a:prstClr>
                </a:solidFill>
                <a:effectLst/>
                <a:uLnTx/>
                <a:uFillTx/>
                <a:latin typeface="HarmonyOS Sans SC Black"/>
                <a:ea typeface="+mj-ea"/>
                <a:cs typeface="+mn-cs"/>
              </a:rPr>
              <a:t>Mobile Internet</a:t>
            </a:r>
          </a:p>
        </p:txBody>
      </p:sp>
      <p:sp>
        <p:nvSpPr>
          <p:cNvPr id="36" name="TextBox 26">
            <a:extLst>
              <a:ext uri="{FF2B5EF4-FFF2-40B4-BE49-F238E27FC236}">
                <a16:creationId xmlns:a16="http://schemas.microsoft.com/office/drawing/2014/main" id="{549659BC-EB1A-4548-B211-6571C1E726E9}"/>
              </a:ext>
            </a:extLst>
          </p:cNvPr>
          <p:cNvSpPr txBox="1"/>
          <p:nvPr/>
        </p:nvSpPr>
        <p:spPr>
          <a:xfrm>
            <a:off x="4408243" y="4326935"/>
            <a:ext cx="1549203" cy="416067"/>
          </a:xfrm>
          <a:prstGeom prst="rect">
            <a:avLst/>
          </a:prstGeom>
          <a:noFill/>
        </p:spPr>
        <p:txBody>
          <a:bodyPr wrap="square" lIns="0" tIns="36000" rIns="0" bIns="36000" rtlCol="0">
            <a:spAutoFit/>
          </a:bodyPr>
          <a:lstStyle/>
          <a:p>
            <a:pPr marL="0" marR="0" lvl="0" indent="0" algn="l" defTabSz="914400" rtl="0" eaLnBrk="1" fontAlgn="auto" latinLnBrk="0" hangingPunct="1">
              <a:lnSpc>
                <a:spcPct val="130000"/>
              </a:lnSpc>
              <a:spcBef>
                <a:spcPts val="1000"/>
              </a:spcBef>
              <a:spcAft>
                <a:spcPts val="0"/>
              </a:spcAft>
              <a:buClrTx/>
              <a:buSzTx/>
              <a:buFontTx/>
              <a:buNone/>
              <a:tabLst/>
              <a:defRPr/>
            </a:pPr>
            <a:r>
              <a:rPr kumimoji="0" lang="en-US" sz="900" b="0" i="0" u="none" strike="noStrike" kern="1200" cap="none" spc="0" normalizeH="0" baseline="0" noProof="0" dirty="0">
                <a:ln>
                  <a:noFill/>
                </a:ln>
                <a:solidFill>
                  <a:prstClr val="black">
                    <a:lumMod val="50000"/>
                    <a:lumOff val="50000"/>
                  </a:prstClr>
                </a:solidFill>
                <a:effectLst/>
                <a:uLnTx/>
                <a:uFillTx/>
                <a:latin typeface="HarmonyOS Sans SC"/>
                <a:cs typeface="+mn-cs"/>
              </a:rPr>
              <a:t>All their equipment and instruments are alive.</a:t>
            </a:r>
          </a:p>
        </p:txBody>
      </p:sp>
      <p:sp>
        <p:nvSpPr>
          <p:cNvPr id="37" name="TextBox 27">
            <a:extLst>
              <a:ext uri="{FF2B5EF4-FFF2-40B4-BE49-F238E27FC236}">
                <a16:creationId xmlns:a16="http://schemas.microsoft.com/office/drawing/2014/main" id="{71A253D3-DC6D-4316-B114-BD3168E53681}"/>
              </a:ext>
            </a:extLst>
          </p:cNvPr>
          <p:cNvSpPr txBox="1"/>
          <p:nvPr/>
        </p:nvSpPr>
        <p:spPr>
          <a:xfrm>
            <a:off x="4408243" y="4012063"/>
            <a:ext cx="1419028" cy="288147"/>
          </a:xfrm>
          <a:prstGeom prst="rect">
            <a:avLst/>
          </a:prstGeom>
          <a:noFill/>
        </p:spPr>
        <p:txBody>
          <a:bodyPr wrap="square" lIns="0" tIns="36000" rIns="0" bIns="36000" rtlCol="0">
            <a:spAutoFit/>
          </a:bodyPr>
          <a:lstStyle/>
          <a:p>
            <a:pPr marL="0" marR="0" lvl="0" indent="0" algn="l" defTabSz="914400" rtl="0" eaLnBrk="1" fontAlgn="auto" latinLnBrk="0" hangingPunct="1">
              <a:lnSpc>
                <a:spcPct val="100000"/>
              </a:lnSpc>
              <a:spcBef>
                <a:spcPts val="1000"/>
              </a:spcBef>
              <a:spcAft>
                <a:spcPts val="0"/>
              </a:spcAft>
              <a:buClrTx/>
              <a:buSzTx/>
              <a:buFontTx/>
              <a:buNone/>
              <a:tabLst/>
              <a:defRPr/>
            </a:pPr>
            <a:r>
              <a:rPr kumimoji="0" lang="en-US" sz="1400" b="1" i="0" u="none" strike="noStrike" kern="1200" cap="none" spc="0" normalizeH="0" baseline="0" noProof="0" dirty="0">
                <a:ln>
                  <a:noFill/>
                </a:ln>
                <a:solidFill>
                  <a:prstClr val="black">
                    <a:lumMod val="75000"/>
                    <a:lumOff val="25000"/>
                  </a:prstClr>
                </a:solidFill>
                <a:effectLst/>
                <a:uLnTx/>
                <a:uFillTx/>
                <a:latin typeface="HarmonyOS Sans SC Black"/>
                <a:ea typeface="+mj-ea"/>
                <a:cs typeface="+mn-cs"/>
              </a:rPr>
              <a:t>Cloud</a:t>
            </a:r>
          </a:p>
        </p:txBody>
      </p:sp>
      <p:sp>
        <p:nvSpPr>
          <p:cNvPr id="38" name="TextBox 26">
            <a:extLst>
              <a:ext uri="{FF2B5EF4-FFF2-40B4-BE49-F238E27FC236}">
                <a16:creationId xmlns:a16="http://schemas.microsoft.com/office/drawing/2014/main" id="{0C03573F-6768-47A7-A071-55F01AFA2C2E}"/>
              </a:ext>
            </a:extLst>
          </p:cNvPr>
          <p:cNvSpPr txBox="1"/>
          <p:nvPr/>
        </p:nvSpPr>
        <p:spPr>
          <a:xfrm>
            <a:off x="4408243" y="5630112"/>
            <a:ext cx="1549203" cy="416067"/>
          </a:xfrm>
          <a:prstGeom prst="rect">
            <a:avLst/>
          </a:prstGeom>
          <a:noFill/>
        </p:spPr>
        <p:txBody>
          <a:bodyPr wrap="square" lIns="0" tIns="36000" rIns="0" bIns="36000" rtlCol="0">
            <a:spAutoFit/>
          </a:bodyPr>
          <a:lstStyle/>
          <a:p>
            <a:pPr marL="0" marR="0" lvl="0" indent="0" algn="l" defTabSz="914400" rtl="0" eaLnBrk="1" fontAlgn="auto" latinLnBrk="0" hangingPunct="1">
              <a:lnSpc>
                <a:spcPct val="130000"/>
              </a:lnSpc>
              <a:spcBef>
                <a:spcPts val="1000"/>
              </a:spcBef>
              <a:spcAft>
                <a:spcPts val="0"/>
              </a:spcAft>
              <a:buClrTx/>
              <a:buSzTx/>
              <a:buFontTx/>
              <a:buNone/>
              <a:tabLst/>
              <a:defRPr/>
            </a:pPr>
            <a:r>
              <a:rPr kumimoji="0" lang="en-US" sz="900" b="0" i="0" u="none" strike="noStrike" kern="1200" cap="none" spc="0" normalizeH="0" baseline="0" noProof="0" dirty="0">
                <a:ln>
                  <a:noFill/>
                </a:ln>
                <a:solidFill>
                  <a:prstClr val="black">
                    <a:lumMod val="50000"/>
                    <a:lumOff val="50000"/>
                  </a:prstClr>
                </a:solidFill>
                <a:effectLst/>
                <a:uLnTx/>
                <a:uFillTx/>
                <a:latin typeface="HarmonyOS Sans SC"/>
                <a:cs typeface="+mn-cs"/>
              </a:rPr>
              <a:t>All their equipment and instruments are alive.</a:t>
            </a:r>
          </a:p>
        </p:txBody>
      </p:sp>
      <p:sp>
        <p:nvSpPr>
          <p:cNvPr id="39" name="TextBox 27">
            <a:extLst>
              <a:ext uri="{FF2B5EF4-FFF2-40B4-BE49-F238E27FC236}">
                <a16:creationId xmlns:a16="http://schemas.microsoft.com/office/drawing/2014/main" id="{9A720163-F0BB-40DF-AC4F-1D804A80B1E4}"/>
              </a:ext>
            </a:extLst>
          </p:cNvPr>
          <p:cNvSpPr txBox="1"/>
          <p:nvPr/>
        </p:nvSpPr>
        <p:spPr>
          <a:xfrm>
            <a:off x="4408243" y="5315240"/>
            <a:ext cx="1773940" cy="288147"/>
          </a:xfrm>
          <a:prstGeom prst="rect">
            <a:avLst/>
          </a:prstGeom>
          <a:noFill/>
        </p:spPr>
        <p:txBody>
          <a:bodyPr wrap="square" lIns="0" tIns="36000" rIns="0" bIns="36000" rtlCol="0">
            <a:spAutoFit/>
          </a:bodyPr>
          <a:lstStyle/>
          <a:p>
            <a:pPr marL="0" marR="0" lvl="0" indent="0" algn="l" defTabSz="914400" rtl="0" eaLnBrk="1" fontAlgn="auto" latinLnBrk="0" hangingPunct="1">
              <a:lnSpc>
                <a:spcPct val="100000"/>
              </a:lnSpc>
              <a:spcBef>
                <a:spcPts val="1000"/>
              </a:spcBef>
              <a:spcAft>
                <a:spcPts val="0"/>
              </a:spcAft>
              <a:buClrTx/>
              <a:buSzTx/>
              <a:buFontTx/>
              <a:buNone/>
              <a:tabLst/>
              <a:defRPr/>
            </a:pPr>
            <a:r>
              <a:rPr kumimoji="0" lang="en-US" sz="1400" b="1" i="0" u="none" strike="noStrike" kern="1200" cap="none" spc="0" normalizeH="0" baseline="0" noProof="0" dirty="0">
                <a:ln>
                  <a:noFill/>
                </a:ln>
                <a:solidFill>
                  <a:prstClr val="black">
                    <a:lumMod val="75000"/>
                    <a:lumOff val="25000"/>
                  </a:prstClr>
                </a:solidFill>
                <a:effectLst/>
                <a:uLnTx/>
                <a:uFillTx/>
                <a:latin typeface="HarmonyOS Sans SC Black"/>
                <a:ea typeface="+mj-ea"/>
                <a:cs typeface="+mn-cs"/>
              </a:rPr>
              <a:t>Internet of Things</a:t>
            </a:r>
          </a:p>
        </p:txBody>
      </p:sp>
      <p:sp>
        <p:nvSpPr>
          <p:cNvPr id="41" name="TextBox 26">
            <a:extLst>
              <a:ext uri="{FF2B5EF4-FFF2-40B4-BE49-F238E27FC236}">
                <a16:creationId xmlns:a16="http://schemas.microsoft.com/office/drawing/2014/main" id="{CD892485-6480-4E94-8D59-9272127AAA3A}"/>
              </a:ext>
            </a:extLst>
          </p:cNvPr>
          <p:cNvSpPr txBox="1"/>
          <p:nvPr/>
        </p:nvSpPr>
        <p:spPr>
          <a:xfrm>
            <a:off x="7849434" y="1712242"/>
            <a:ext cx="1549203" cy="416067"/>
          </a:xfrm>
          <a:prstGeom prst="rect">
            <a:avLst/>
          </a:prstGeom>
          <a:noFill/>
        </p:spPr>
        <p:txBody>
          <a:bodyPr wrap="square" lIns="0" tIns="36000" rIns="0" bIns="36000" rtlCol="0">
            <a:spAutoFit/>
          </a:bodyPr>
          <a:lstStyle/>
          <a:p>
            <a:pPr marL="0" marR="0" lvl="0" indent="0" algn="l" defTabSz="914400" rtl="0" eaLnBrk="1" fontAlgn="auto" latinLnBrk="0" hangingPunct="1">
              <a:lnSpc>
                <a:spcPct val="130000"/>
              </a:lnSpc>
              <a:spcBef>
                <a:spcPts val="1000"/>
              </a:spcBef>
              <a:spcAft>
                <a:spcPts val="0"/>
              </a:spcAft>
              <a:buClrTx/>
              <a:buSzTx/>
              <a:buFontTx/>
              <a:buNone/>
              <a:tabLst/>
              <a:defRPr/>
            </a:pPr>
            <a:r>
              <a:rPr kumimoji="0" lang="en-US" sz="900" b="0" i="0" u="none" strike="noStrike" kern="1200" cap="none" spc="0" normalizeH="0" baseline="0" noProof="0" dirty="0">
                <a:ln>
                  <a:noFill/>
                </a:ln>
                <a:solidFill>
                  <a:prstClr val="black">
                    <a:lumMod val="50000"/>
                    <a:lumOff val="50000"/>
                  </a:prstClr>
                </a:solidFill>
                <a:effectLst/>
                <a:uLnTx/>
                <a:uFillTx/>
                <a:latin typeface="HarmonyOS Sans SC"/>
                <a:cs typeface="+mn-cs"/>
              </a:rPr>
              <a:t>All their equipment and instruments are alive.</a:t>
            </a:r>
          </a:p>
        </p:txBody>
      </p:sp>
      <p:sp>
        <p:nvSpPr>
          <p:cNvPr id="42" name="TextBox 27">
            <a:extLst>
              <a:ext uri="{FF2B5EF4-FFF2-40B4-BE49-F238E27FC236}">
                <a16:creationId xmlns:a16="http://schemas.microsoft.com/office/drawing/2014/main" id="{E90CFA8E-1970-4CDC-A572-A64AE253AEF0}"/>
              </a:ext>
            </a:extLst>
          </p:cNvPr>
          <p:cNvSpPr txBox="1"/>
          <p:nvPr/>
        </p:nvSpPr>
        <p:spPr>
          <a:xfrm>
            <a:off x="7849434" y="1397370"/>
            <a:ext cx="1419028" cy="288147"/>
          </a:xfrm>
          <a:prstGeom prst="rect">
            <a:avLst/>
          </a:prstGeom>
          <a:noFill/>
        </p:spPr>
        <p:txBody>
          <a:bodyPr wrap="square" lIns="0" tIns="36000" rIns="0" bIns="36000" rtlCol="0">
            <a:spAutoFit/>
          </a:bodyPr>
          <a:lstStyle/>
          <a:p>
            <a:pPr marL="0" marR="0" lvl="0" indent="0" algn="l" defTabSz="914400" rtl="0" eaLnBrk="1" fontAlgn="auto" latinLnBrk="0" hangingPunct="1">
              <a:lnSpc>
                <a:spcPct val="100000"/>
              </a:lnSpc>
              <a:spcBef>
                <a:spcPts val="1000"/>
              </a:spcBef>
              <a:spcAft>
                <a:spcPts val="0"/>
              </a:spcAft>
              <a:buClrTx/>
              <a:buSzTx/>
              <a:buFontTx/>
              <a:buNone/>
              <a:tabLst/>
              <a:defRPr/>
            </a:pPr>
            <a:r>
              <a:rPr kumimoji="0" lang="en-US" sz="1400" b="1" i="0" u="none" strike="noStrike" kern="1200" cap="none" spc="0" normalizeH="0" baseline="0" noProof="0" dirty="0">
                <a:ln>
                  <a:noFill/>
                </a:ln>
                <a:solidFill>
                  <a:prstClr val="black">
                    <a:lumMod val="75000"/>
                    <a:lumOff val="25000"/>
                  </a:prstClr>
                </a:solidFill>
                <a:effectLst/>
                <a:uLnTx/>
                <a:uFillTx/>
                <a:latin typeface="HarmonyOS Sans SC Black"/>
                <a:ea typeface="+mj-ea"/>
                <a:cs typeface="+mn-cs"/>
              </a:rPr>
              <a:t>Data</a:t>
            </a:r>
          </a:p>
        </p:txBody>
      </p:sp>
      <p:sp>
        <p:nvSpPr>
          <p:cNvPr id="43" name="TextBox 26">
            <a:extLst>
              <a:ext uri="{FF2B5EF4-FFF2-40B4-BE49-F238E27FC236}">
                <a16:creationId xmlns:a16="http://schemas.microsoft.com/office/drawing/2014/main" id="{8352958B-9A52-4786-A596-1ED8BF109DED}"/>
              </a:ext>
            </a:extLst>
          </p:cNvPr>
          <p:cNvSpPr txBox="1"/>
          <p:nvPr/>
        </p:nvSpPr>
        <p:spPr>
          <a:xfrm>
            <a:off x="7849434" y="3023758"/>
            <a:ext cx="1549203" cy="416067"/>
          </a:xfrm>
          <a:prstGeom prst="rect">
            <a:avLst/>
          </a:prstGeom>
          <a:noFill/>
        </p:spPr>
        <p:txBody>
          <a:bodyPr wrap="square" lIns="0" tIns="36000" rIns="0" bIns="36000" rtlCol="0">
            <a:spAutoFit/>
          </a:bodyPr>
          <a:lstStyle/>
          <a:p>
            <a:pPr marL="0" marR="0" lvl="0" indent="0" algn="l" defTabSz="914400" rtl="0" eaLnBrk="1" fontAlgn="auto" latinLnBrk="0" hangingPunct="1">
              <a:lnSpc>
                <a:spcPct val="130000"/>
              </a:lnSpc>
              <a:spcBef>
                <a:spcPts val="1000"/>
              </a:spcBef>
              <a:spcAft>
                <a:spcPts val="0"/>
              </a:spcAft>
              <a:buClrTx/>
              <a:buSzTx/>
              <a:buFontTx/>
              <a:buNone/>
              <a:tabLst/>
              <a:defRPr/>
            </a:pPr>
            <a:r>
              <a:rPr kumimoji="0" lang="en-US" sz="900" b="0" i="0" u="none" strike="noStrike" kern="1200" cap="none" spc="0" normalizeH="0" baseline="0" noProof="0" dirty="0">
                <a:ln>
                  <a:noFill/>
                </a:ln>
                <a:solidFill>
                  <a:prstClr val="black">
                    <a:lumMod val="50000"/>
                    <a:lumOff val="50000"/>
                  </a:prstClr>
                </a:solidFill>
                <a:effectLst/>
                <a:uLnTx/>
                <a:uFillTx/>
                <a:latin typeface="HarmonyOS Sans SC"/>
                <a:cs typeface="+mn-cs"/>
              </a:rPr>
              <a:t>All their equipment and instruments are alive.</a:t>
            </a:r>
          </a:p>
        </p:txBody>
      </p:sp>
      <p:sp>
        <p:nvSpPr>
          <p:cNvPr id="44" name="TextBox 27">
            <a:extLst>
              <a:ext uri="{FF2B5EF4-FFF2-40B4-BE49-F238E27FC236}">
                <a16:creationId xmlns:a16="http://schemas.microsoft.com/office/drawing/2014/main" id="{30BCF915-19C2-413D-A17F-4C1C04115755}"/>
              </a:ext>
            </a:extLst>
          </p:cNvPr>
          <p:cNvSpPr txBox="1"/>
          <p:nvPr/>
        </p:nvSpPr>
        <p:spPr>
          <a:xfrm>
            <a:off x="7849434" y="2708886"/>
            <a:ext cx="1419028" cy="288147"/>
          </a:xfrm>
          <a:prstGeom prst="rect">
            <a:avLst/>
          </a:prstGeom>
          <a:noFill/>
        </p:spPr>
        <p:txBody>
          <a:bodyPr wrap="square" lIns="0" tIns="36000" rIns="0" bIns="36000" rtlCol="0">
            <a:spAutoFit/>
          </a:bodyPr>
          <a:lstStyle/>
          <a:p>
            <a:pPr marL="0" marR="0" lvl="0" indent="0" algn="l" defTabSz="914400" rtl="0" eaLnBrk="1" fontAlgn="auto" latinLnBrk="0" hangingPunct="1">
              <a:lnSpc>
                <a:spcPct val="100000"/>
              </a:lnSpc>
              <a:spcBef>
                <a:spcPts val="1000"/>
              </a:spcBef>
              <a:spcAft>
                <a:spcPts val="0"/>
              </a:spcAft>
              <a:buClrTx/>
              <a:buSzTx/>
              <a:buFontTx/>
              <a:buNone/>
              <a:tabLst/>
              <a:defRPr/>
            </a:pPr>
            <a:r>
              <a:rPr kumimoji="0" lang="en-US" sz="1400" b="1" i="0" u="none" strike="noStrike" kern="1200" cap="none" spc="0" normalizeH="0" baseline="0" noProof="0" dirty="0" err="1">
                <a:ln>
                  <a:noFill/>
                </a:ln>
                <a:solidFill>
                  <a:prstClr val="black">
                    <a:lumMod val="75000"/>
                    <a:lumOff val="25000"/>
                  </a:prstClr>
                </a:solidFill>
                <a:effectLst/>
                <a:uLnTx/>
                <a:uFillTx/>
                <a:latin typeface="HarmonyOS Sans SC Black"/>
                <a:ea typeface="+mj-ea"/>
                <a:cs typeface="+mn-cs"/>
              </a:rPr>
              <a:t>Wifi</a:t>
            </a:r>
            <a:endParaRPr kumimoji="0" lang="en-US" sz="1400" b="1" i="0" u="none" strike="noStrike" kern="1200" cap="none" spc="0" normalizeH="0" baseline="0" noProof="0" dirty="0">
              <a:ln>
                <a:noFill/>
              </a:ln>
              <a:solidFill>
                <a:prstClr val="black">
                  <a:lumMod val="75000"/>
                  <a:lumOff val="25000"/>
                </a:prstClr>
              </a:solidFill>
              <a:effectLst/>
              <a:uLnTx/>
              <a:uFillTx/>
              <a:latin typeface="HarmonyOS Sans SC Black"/>
              <a:ea typeface="+mj-ea"/>
              <a:cs typeface="+mn-cs"/>
            </a:endParaRPr>
          </a:p>
        </p:txBody>
      </p:sp>
      <p:sp>
        <p:nvSpPr>
          <p:cNvPr id="45" name="TextBox 26">
            <a:extLst>
              <a:ext uri="{FF2B5EF4-FFF2-40B4-BE49-F238E27FC236}">
                <a16:creationId xmlns:a16="http://schemas.microsoft.com/office/drawing/2014/main" id="{A25B7BB3-D99F-45AF-A082-607DC5472016}"/>
              </a:ext>
            </a:extLst>
          </p:cNvPr>
          <p:cNvSpPr txBox="1"/>
          <p:nvPr/>
        </p:nvSpPr>
        <p:spPr>
          <a:xfrm>
            <a:off x="7849434" y="4326935"/>
            <a:ext cx="1549203" cy="416067"/>
          </a:xfrm>
          <a:prstGeom prst="rect">
            <a:avLst/>
          </a:prstGeom>
          <a:noFill/>
        </p:spPr>
        <p:txBody>
          <a:bodyPr wrap="square" lIns="0" tIns="36000" rIns="0" bIns="36000" rtlCol="0">
            <a:spAutoFit/>
          </a:bodyPr>
          <a:lstStyle/>
          <a:p>
            <a:pPr marL="0" marR="0" lvl="0" indent="0" algn="l" defTabSz="914400" rtl="0" eaLnBrk="1" fontAlgn="auto" latinLnBrk="0" hangingPunct="1">
              <a:lnSpc>
                <a:spcPct val="130000"/>
              </a:lnSpc>
              <a:spcBef>
                <a:spcPts val="1000"/>
              </a:spcBef>
              <a:spcAft>
                <a:spcPts val="0"/>
              </a:spcAft>
              <a:buClrTx/>
              <a:buSzTx/>
              <a:buFontTx/>
              <a:buNone/>
              <a:tabLst/>
              <a:defRPr/>
            </a:pPr>
            <a:r>
              <a:rPr kumimoji="0" lang="en-US" sz="900" b="0" i="0" u="none" strike="noStrike" kern="1200" cap="none" spc="0" normalizeH="0" baseline="0" noProof="0" dirty="0">
                <a:ln>
                  <a:noFill/>
                </a:ln>
                <a:solidFill>
                  <a:prstClr val="black">
                    <a:lumMod val="50000"/>
                    <a:lumOff val="50000"/>
                  </a:prstClr>
                </a:solidFill>
                <a:effectLst/>
                <a:uLnTx/>
                <a:uFillTx/>
                <a:latin typeface="HarmonyOS Sans SC"/>
                <a:cs typeface="+mn-cs"/>
              </a:rPr>
              <a:t>All their equipment and instruments are alive.</a:t>
            </a:r>
          </a:p>
        </p:txBody>
      </p:sp>
      <p:sp>
        <p:nvSpPr>
          <p:cNvPr id="46" name="TextBox 27">
            <a:extLst>
              <a:ext uri="{FF2B5EF4-FFF2-40B4-BE49-F238E27FC236}">
                <a16:creationId xmlns:a16="http://schemas.microsoft.com/office/drawing/2014/main" id="{680FF733-47E1-4467-A148-B40ED8419D2B}"/>
              </a:ext>
            </a:extLst>
          </p:cNvPr>
          <p:cNvSpPr txBox="1"/>
          <p:nvPr/>
        </p:nvSpPr>
        <p:spPr>
          <a:xfrm>
            <a:off x="7849434" y="4012063"/>
            <a:ext cx="1419028" cy="288147"/>
          </a:xfrm>
          <a:prstGeom prst="rect">
            <a:avLst/>
          </a:prstGeom>
          <a:noFill/>
        </p:spPr>
        <p:txBody>
          <a:bodyPr wrap="square" lIns="0" tIns="36000" rIns="0" bIns="36000" rtlCol="0">
            <a:spAutoFit/>
          </a:bodyPr>
          <a:lstStyle/>
          <a:p>
            <a:pPr marL="0" marR="0" lvl="0" indent="0" algn="l" defTabSz="914400" rtl="0" eaLnBrk="1" fontAlgn="auto" latinLnBrk="0" hangingPunct="1">
              <a:lnSpc>
                <a:spcPct val="100000"/>
              </a:lnSpc>
              <a:spcBef>
                <a:spcPts val="1000"/>
              </a:spcBef>
              <a:spcAft>
                <a:spcPts val="0"/>
              </a:spcAft>
              <a:buClrTx/>
              <a:buSzTx/>
              <a:buFontTx/>
              <a:buNone/>
              <a:tabLst/>
              <a:defRPr/>
            </a:pPr>
            <a:r>
              <a:rPr kumimoji="0" lang="en-US" sz="1400" b="1" i="0" u="none" strike="noStrike" kern="1200" cap="none" spc="0" normalizeH="0" baseline="0" noProof="0" dirty="0">
                <a:ln>
                  <a:noFill/>
                </a:ln>
                <a:solidFill>
                  <a:prstClr val="black">
                    <a:lumMod val="75000"/>
                    <a:lumOff val="25000"/>
                  </a:prstClr>
                </a:solidFill>
                <a:effectLst/>
                <a:uLnTx/>
                <a:uFillTx/>
                <a:latin typeface="HarmonyOS Sans SC Black"/>
                <a:ea typeface="+mj-ea"/>
                <a:cs typeface="+mn-cs"/>
              </a:rPr>
              <a:t>Router</a:t>
            </a:r>
          </a:p>
        </p:txBody>
      </p:sp>
      <p:sp>
        <p:nvSpPr>
          <p:cNvPr id="47" name="TextBox 26">
            <a:extLst>
              <a:ext uri="{FF2B5EF4-FFF2-40B4-BE49-F238E27FC236}">
                <a16:creationId xmlns:a16="http://schemas.microsoft.com/office/drawing/2014/main" id="{7C20ADC4-896D-4CDD-AAC8-2C1802F52994}"/>
              </a:ext>
            </a:extLst>
          </p:cNvPr>
          <p:cNvSpPr txBox="1"/>
          <p:nvPr/>
        </p:nvSpPr>
        <p:spPr>
          <a:xfrm>
            <a:off x="7849434" y="5630112"/>
            <a:ext cx="1549203" cy="416067"/>
          </a:xfrm>
          <a:prstGeom prst="rect">
            <a:avLst/>
          </a:prstGeom>
          <a:noFill/>
        </p:spPr>
        <p:txBody>
          <a:bodyPr wrap="square" lIns="0" tIns="36000" rIns="0" bIns="36000" rtlCol="0">
            <a:spAutoFit/>
          </a:bodyPr>
          <a:lstStyle/>
          <a:p>
            <a:pPr marL="0" marR="0" lvl="0" indent="0" algn="l" defTabSz="914400" rtl="0" eaLnBrk="1" fontAlgn="auto" latinLnBrk="0" hangingPunct="1">
              <a:lnSpc>
                <a:spcPct val="130000"/>
              </a:lnSpc>
              <a:spcBef>
                <a:spcPts val="1000"/>
              </a:spcBef>
              <a:spcAft>
                <a:spcPts val="0"/>
              </a:spcAft>
              <a:buClrTx/>
              <a:buSzTx/>
              <a:buFontTx/>
              <a:buNone/>
              <a:tabLst/>
              <a:defRPr/>
            </a:pPr>
            <a:r>
              <a:rPr kumimoji="0" lang="en-US" sz="900" b="0" i="0" u="none" strike="noStrike" kern="1200" cap="none" spc="0" normalizeH="0" baseline="0" noProof="0" dirty="0">
                <a:ln>
                  <a:noFill/>
                </a:ln>
                <a:solidFill>
                  <a:prstClr val="black">
                    <a:lumMod val="50000"/>
                    <a:lumOff val="50000"/>
                  </a:prstClr>
                </a:solidFill>
                <a:effectLst/>
                <a:uLnTx/>
                <a:uFillTx/>
                <a:latin typeface="HarmonyOS Sans SC"/>
                <a:cs typeface="+mn-cs"/>
              </a:rPr>
              <a:t>All their equipment and instruments are alive.</a:t>
            </a:r>
          </a:p>
        </p:txBody>
      </p:sp>
      <p:sp>
        <p:nvSpPr>
          <p:cNvPr id="48" name="TextBox 27">
            <a:extLst>
              <a:ext uri="{FF2B5EF4-FFF2-40B4-BE49-F238E27FC236}">
                <a16:creationId xmlns:a16="http://schemas.microsoft.com/office/drawing/2014/main" id="{0CB33438-0FE2-45E1-B2BA-A83E0E43400B}"/>
              </a:ext>
            </a:extLst>
          </p:cNvPr>
          <p:cNvSpPr txBox="1"/>
          <p:nvPr/>
        </p:nvSpPr>
        <p:spPr>
          <a:xfrm>
            <a:off x="7849434" y="5315240"/>
            <a:ext cx="1419028" cy="288147"/>
          </a:xfrm>
          <a:prstGeom prst="rect">
            <a:avLst/>
          </a:prstGeom>
          <a:noFill/>
        </p:spPr>
        <p:txBody>
          <a:bodyPr wrap="square" lIns="0" tIns="36000" rIns="0" bIns="36000" rtlCol="0">
            <a:spAutoFit/>
          </a:bodyPr>
          <a:lstStyle/>
          <a:p>
            <a:pPr marL="0" marR="0" lvl="0" indent="0" algn="l" defTabSz="914400" rtl="0" eaLnBrk="1" fontAlgn="auto" latinLnBrk="0" hangingPunct="1">
              <a:lnSpc>
                <a:spcPct val="100000"/>
              </a:lnSpc>
              <a:spcBef>
                <a:spcPts val="1000"/>
              </a:spcBef>
              <a:spcAft>
                <a:spcPts val="0"/>
              </a:spcAft>
              <a:buClrTx/>
              <a:buSzTx/>
              <a:buFontTx/>
              <a:buNone/>
              <a:tabLst/>
              <a:defRPr/>
            </a:pPr>
            <a:r>
              <a:rPr kumimoji="0" lang="en-US" sz="1400" b="1" i="0" u="none" strike="noStrike" kern="1200" cap="none" spc="0" normalizeH="0" baseline="0" noProof="0" dirty="0">
                <a:ln>
                  <a:noFill/>
                </a:ln>
                <a:solidFill>
                  <a:prstClr val="black">
                    <a:lumMod val="75000"/>
                    <a:lumOff val="25000"/>
                  </a:prstClr>
                </a:solidFill>
                <a:effectLst/>
                <a:uLnTx/>
                <a:uFillTx/>
                <a:latin typeface="HarmonyOS Sans SC Black"/>
                <a:ea typeface="+mj-ea"/>
                <a:cs typeface="+mn-cs"/>
              </a:rPr>
              <a:t>Hot-spot</a:t>
            </a:r>
          </a:p>
        </p:txBody>
      </p:sp>
    </p:spTree>
    <p:extLst>
      <p:ext uri="{BB962C8B-B14F-4D97-AF65-F5344CB8AC3E}">
        <p14:creationId xmlns:p14="http://schemas.microsoft.com/office/powerpoint/2010/main" val="1608729441"/>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5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ircle">
            <a:extLst>
              <a:ext uri="{FF2B5EF4-FFF2-40B4-BE49-F238E27FC236}">
                <a16:creationId xmlns:a16="http://schemas.microsoft.com/office/drawing/2014/main" id="{F2448458-A351-4084-99AB-14602CC382AF}"/>
              </a:ext>
            </a:extLst>
          </p:cNvPr>
          <p:cNvSpPr/>
          <p:nvPr/>
        </p:nvSpPr>
        <p:spPr>
          <a:xfrm>
            <a:off x="2616874" y="3159271"/>
            <a:ext cx="1627459" cy="1627459"/>
          </a:xfrm>
          <a:prstGeom prst="ellipse">
            <a:avLst/>
          </a:prstGeom>
          <a:noFill/>
          <a:ln w="12700" cap="flat">
            <a:gradFill flip="none" rotWithShape="1">
              <a:gsLst>
                <a:gs pos="0">
                  <a:schemeClr val="accent1">
                    <a:lumMod val="60000"/>
                    <a:lumOff val="40000"/>
                  </a:schemeClr>
                </a:gs>
                <a:gs pos="100000">
                  <a:schemeClr val="accent1"/>
                </a:gs>
              </a:gsLst>
              <a:lin ang="2700000" scaled="1"/>
              <a:tileRect/>
            </a:gradFill>
            <a:miter lim="400000"/>
          </a:ln>
          <a:effectLst/>
        </p:spPr>
        <p:txBody>
          <a:bodyPr wrap="square" lIns="0" tIns="0" rIns="0" bIns="0" numCol="1" anchor="ctr">
            <a:noAutofit/>
          </a:bodyPr>
          <a:lstStyle/>
          <a:p>
            <a:pPr marL="0" marR="0" lvl="0" indent="0" algn="ctr" defTabSz="412750" rtl="0" eaLnBrk="1" fontAlgn="auto" latinLnBrk="0" hangingPunct="0">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1600" b="0" i="0" u="none" strike="noStrike" kern="0" cap="none" spc="0" normalizeH="0" baseline="0" noProof="0">
              <a:ln>
                <a:noFill/>
              </a:ln>
              <a:solidFill>
                <a:srgbClr val="FFFFFF"/>
              </a:solidFill>
              <a:effectLst/>
              <a:uLnTx/>
              <a:uFillTx/>
              <a:latin typeface="HarmonyOS Sans SC"/>
              <a:cs typeface="+mn-cs"/>
              <a:sym typeface="Helvetica Neue Medium"/>
            </a:endParaRPr>
          </a:p>
        </p:txBody>
      </p:sp>
      <p:sp>
        <p:nvSpPr>
          <p:cNvPr id="4" name="Circle">
            <a:extLst>
              <a:ext uri="{FF2B5EF4-FFF2-40B4-BE49-F238E27FC236}">
                <a16:creationId xmlns:a16="http://schemas.microsoft.com/office/drawing/2014/main" id="{F3585672-37EF-4B64-A5A5-E9D6D0BE73A6}"/>
              </a:ext>
            </a:extLst>
          </p:cNvPr>
          <p:cNvSpPr/>
          <p:nvPr/>
        </p:nvSpPr>
        <p:spPr>
          <a:xfrm>
            <a:off x="8024682" y="3159271"/>
            <a:ext cx="1627459" cy="1627459"/>
          </a:xfrm>
          <a:prstGeom prst="ellipse">
            <a:avLst/>
          </a:prstGeom>
          <a:noFill/>
          <a:ln w="12700" cap="flat">
            <a:gradFill flip="none" rotWithShape="1">
              <a:gsLst>
                <a:gs pos="0">
                  <a:schemeClr val="accent1">
                    <a:lumMod val="60000"/>
                    <a:lumOff val="40000"/>
                  </a:schemeClr>
                </a:gs>
                <a:gs pos="100000">
                  <a:schemeClr val="accent1"/>
                </a:gs>
              </a:gsLst>
              <a:lin ang="2700000" scaled="1"/>
              <a:tileRect/>
            </a:gradFill>
            <a:miter lim="400000"/>
          </a:ln>
          <a:effectLst/>
        </p:spPr>
        <p:txBody>
          <a:bodyPr wrap="square" lIns="0" tIns="0" rIns="0" bIns="0" numCol="1" anchor="ctr">
            <a:noAutofit/>
          </a:bodyPr>
          <a:lstStyle/>
          <a:p>
            <a:pPr marL="0" marR="0" lvl="0" indent="0" algn="ctr" defTabSz="412750" rtl="0" eaLnBrk="1" fontAlgn="auto" latinLnBrk="0" hangingPunct="0">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1600" b="0" i="0" u="none" strike="noStrike" kern="0" cap="none" spc="0" normalizeH="0" baseline="0" noProof="0">
              <a:ln>
                <a:noFill/>
              </a:ln>
              <a:solidFill>
                <a:srgbClr val="FFFFFF"/>
              </a:solidFill>
              <a:effectLst/>
              <a:uLnTx/>
              <a:uFillTx/>
              <a:latin typeface="HarmonyOS Sans SC"/>
              <a:cs typeface="+mn-cs"/>
              <a:sym typeface="Helvetica Neue Medium"/>
            </a:endParaRPr>
          </a:p>
        </p:txBody>
      </p:sp>
      <p:sp>
        <p:nvSpPr>
          <p:cNvPr id="5" name="Shape">
            <a:extLst>
              <a:ext uri="{FF2B5EF4-FFF2-40B4-BE49-F238E27FC236}">
                <a16:creationId xmlns:a16="http://schemas.microsoft.com/office/drawing/2014/main" id="{6168C8C3-05E8-4D2D-8A13-173F5AFD8F9F}"/>
              </a:ext>
            </a:extLst>
          </p:cNvPr>
          <p:cNvSpPr/>
          <p:nvPr/>
        </p:nvSpPr>
        <p:spPr>
          <a:xfrm>
            <a:off x="3712612" y="2282809"/>
            <a:ext cx="2546487" cy="585218"/>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19118" y="0"/>
                </a:lnTo>
                <a:lnTo>
                  <a:pt x="21600" y="10922"/>
                </a:lnTo>
                <a:lnTo>
                  <a:pt x="19234" y="21600"/>
                </a:lnTo>
                <a:lnTo>
                  <a:pt x="127" y="21600"/>
                </a:lnTo>
                <a:lnTo>
                  <a:pt x="2478" y="10798"/>
                </a:lnTo>
                <a:lnTo>
                  <a:pt x="0" y="0"/>
                </a:lnTo>
                <a:close/>
              </a:path>
            </a:pathLst>
          </a:custGeom>
          <a:gradFill flip="none" rotWithShape="1">
            <a:gsLst>
              <a:gs pos="100000">
                <a:schemeClr val="accent1"/>
              </a:gs>
              <a:gs pos="36000">
                <a:schemeClr val="accent1">
                  <a:lumMod val="60000"/>
                  <a:lumOff val="40000"/>
                </a:schemeClr>
              </a:gs>
              <a:gs pos="0">
                <a:schemeClr val="accent1">
                  <a:lumMod val="20000"/>
                  <a:lumOff val="80000"/>
                </a:schemeClr>
              </a:gs>
              <a:gs pos="16000">
                <a:schemeClr val="accent1">
                  <a:lumMod val="40000"/>
                  <a:lumOff val="60000"/>
                </a:schemeClr>
              </a:gs>
            </a:gsLst>
            <a:lin ang="10800000" scaled="1"/>
            <a:tileRect/>
          </a:gradFill>
          <a:ln>
            <a:noFill/>
          </a:ln>
          <a:effectLst>
            <a:outerShdw blurRad="177800" sx="102000" sy="102000" algn="ctr" rotWithShape="0">
              <a:schemeClr val="accent1">
                <a:lumMod val="75000"/>
                <a:alpha val="11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white"/>
              </a:solidFill>
              <a:effectLst/>
              <a:uLnTx/>
              <a:uFillTx/>
              <a:latin typeface="HarmonyOS Sans SC"/>
              <a:cs typeface="+mn-cs"/>
              <a:sym typeface="Helvetica Neue Medium"/>
            </a:endParaRPr>
          </a:p>
        </p:txBody>
      </p:sp>
      <p:sp>
        <p:nvSpPr>
          <p:cNvPr id="6" name="Shape">
            <a:extLst>
              <a:ext uri="{FF2B5EF4-FFF2-40B4-BE49-F238E27FC236}">
                <a16:creationId xmlns:a16="http://schemas.microsoft.com/office/drawing/2014/main" id="{23400946-79AF-427A-AA41-B346C33EB6D7}"/>
              </a:ext>
            </a:extLst>
          </p:cNvPr>
          <p:cNvSpPr/>
          <p:nvPr/>
        </p:nvSpPr>
        <p:spPr>
          <a:xfrm>
            <a:off x="6106227" y="2283690"/>
            <a:ext cx="2549222" cy="582992"/>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19116" y="0"/>
                </a:lnTo>
                <a:lnTo>
                  <a:pt x="21600" y="10872"/>
                </a:lnTo>
                <a:lnTo>
                  <a:pt x="19242" y="21600"/>
                </a:lnTo>
                <a:lnTo>
                  <a:pt x="127" y="21600"/>
                </a:lnTo>
                <a:lnTo>
                  <a:pt x="2468" y="10820"/>
                </a:lnTo>
                <a:lnTo>
                  <a:pt x="0" y="0"/>
                </a:lnTo>
                <a:close/>
              </a:path>
            </a:pathLst>
          </a:custGeom>
          <a:gradFill flip="none" rotWithShape="1">
            <a:gsLst>
              <a:gs pos="100000">
                <a:schemeClr val="accent1"/>
              </a:gs>
              <a:gs pos="36000">
                <a:schemeClr val="accent1">
                  <a:lumMod val="60000"/>
                  <a:lumOff val="40000"/>
                </a:schemeClr>
              </a:gs>
              <a:gs pos="0">
                <a:schemeClr val="accent1">
                  <a:lumMod val="20000"/>
                  <a:lumOff val="80000"/>
                </a:schemeClr>
              </a:gs>
              <a:gs pos="16000">
                <a:schemeClr val="accent1">
                  <a:lumMod val="40000"/>
                  <a:lumOff val="60000"/>
                </a:schemeClr>
              </a:gs>
            </a:gsLst>
            <a:lin ang="10800000" scaled="1"/>
            <a:tileRect/>
          </a:gradFill>
          <a:ln>
            <a:noFill/>
          </a:ln>
          <a:effectLst>
            <a:outerShdw blurRad="177800" sx="102000" sy="102000" algn="ctr" rotWithShape="0">
              <a:schemeClr val="accent1">
                <a:lumMod val="75000"/>
                <a:alpha val="11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white"/>
              </a:solidFill>
              <a:effectLst/>
              <a:uLnTx/>
              <a:uFillTx/>
              <a:latin typeface="HarmonyOS Sans SC"/>
              <a:cs typeface="+mn-cs"/>
              <a:sym typeface="Helvetica Neue Medium"/>
            </a:endParaRPr>
          </a:p>
        </p:txBody>
      </p:sp>
      <p:sp>
        <p:nvSpPr>
          <p:cNvPr id="7" name="Shape">
            <a:extLst>
              <a:ext uri="{FF2B5EF4-FFF2-40B4-BE49-F238E27FC236}">
                <a16:creationId xmlns:a16="http://schemas.microsoft.com/office/drawing/2014/main" id="{00A305E8-2F4A-4BAE-952D-877D49007C7F}"/>
              </a:ext>
            </a:extLst>
          </p:cNvPr>
          <p:cNvSpPr/>
          <p:nvPr/>
        </p:nvSpPr>
        <p:spPr>
          <a:xfrm>
            <a:off x="8401102" y="2283020"/>
            <a:ext cx="2130101" cy="3383435"/>
          </a:xfrm>
          <a:custGeom>
            <a:avLst/>
            <a:gdLst/>
            <a:ahLst/>
            <a:cxnLst>
              <a:cxn ang="0">
                <a:pos x="wd2" y="hd2"/>
              </a:cxn>
              <a:cxn ang="5400000">
                <a:pos x="wd2" y="hd2"/>
              </a:cxn>
              <a:cxn ang="10800000">
                <a:pos x="wd2" y="hd2"/>
              </a:cxn>
              <a:cxn ang="16200000">
                <a:pos x="wd2" y="hd2"/>
              </a:cxn>
            </a:cxnLst>
            <a:rect l="0" t="0" r="r" b="b"/>
            <a:pathLst>
              <a:path w="20972" h="21600" extrusionOk="0">
                <a:moveTo>
                  <a:pt x="991" y="0"/>
                </a:moveTo>
                <a:lnTo>
                  <a:pt x="4744" y="0"/>
                </a:lnTo>
                <a:cubicBezTo>
                  <a:pt x="8724" y="71"/>
                  <a:pt x="12395" y="1052"/>
                  <a:pt x="15230" y="2659"/>
                </a:cubicBezTo>
                <a:cubicBezTo>
                  <a:pt x="18034" y="4247"/>
                  <a:pt x="20013" y="6442"/>
                  <a:pt x="20712" y="8956"/>
                </a:cubicBezTo>
                <a:cubicBezTo>
                  <a:pt x="21600" y="12150"/>
                  <a:pt x="20186" y="15430"/>
                  <a:pt x="16903" y="17882"/>
                </a:cubicBezTo>
                <a:cubicBezTo>
                  <a:pt x="13745" y="20240"/>
                  <a:pt x="9167" y="21596"/>
                  <a:pt x="4351" y="21600"/>
                </a:cubicBezTo>
                <a:lnTo>
                  <a:pt x="2879" y="21600"/>
                </a:lnTo>
                <a:lnTo>
                  <a:pt x="0" y="19748"/>
                </a:lnTo>
                <a:lnTo>
                  <a:pt x="2754" y="17872"/>
                </a:lnTo>
                <a:lnTo>
                  <a:pt x="4475" y="17872"/>
                </a:lnTo>
                <a:cubicBezTo>
                  <a:pt x="7325" y="17808"/>
                  <a:pt x="9903" y="17051"/>
                  <a:pt x="11818" y="15851"/>
                </a:cubicBezTo>
                <a:cubicBezTo>
                  <a:pt x="13713" y="14665"/>
                  <a:pt x="14967" y="13039"/>
                  <a:pt x="15142" y="11211"/>
                </a:cubicBezTo>
                <a:cubicBezTo>
                  <a:pt x="15525" y="7206"/>
                  <a:pt x="10677" y="3803"/>
                  <a:pt x="4490" y="3733"/>
                </a:cubicBezTo>
                <a:lnTo>
                  <a:pt x="1123" y="3733"/>
                </a:lnTo>
                <a:lnTo>
                  <a:pt x="3882" y="1866"/>
                </a:lnTo>
                <a:lnTo>
                  <a:pt x="991" y="0"/>
                </a:lnTo>
                <a:close/>
              </a:path>
            </a:pathLst>
          </a:custGeom>
          <a:gradFill flip="none" rotWithShape="1">
            <a:gsLst>
              <a:gs pos="100000">
                <a:schemeClr val="accent1"/>
              </a:gs>
              <a:gs pos="36000">
                <a:schemeClr val="accent1">
                  <a:lumMod val="60000"/>
                  <a:lumOff val="40000"/>
                </a:schemeClr>
              </a:gs>
              <a:gs pos="0">
                <a:schemeClr val="accent1">
                  <a:lumMod val="20000"/>
                  <a:lumOff val="80000"/>
                </a:schemeClr>
              </a:gs>
              <a:gs pos="16000">
                <a:schemeClr val="accent1">
                  <a:lumMod val="40000"/>
                  <a:lumOff val="60000"/>
                </a:schemeClr>
              </a:gs>
            </a:gsLst>
            <a:lin ang="11400000" scaled="0"/>
            <a:tileRect/>
          </a:gradFill>
          <a:ln>
            <a:noFill/>
          </a:ln>
          <a:effectLst>
            <a:outerShdw blurRad="177800" sx="102000" sy="102000" algn="ctr" rotWithShape="0">
              <a:schemeClr val="accent1">
                <a:lumMod val="75000"/>
                <a:alpha val="11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white"/>
              </a:solidFill>
              <a:effectLst/>
              <a:uLnTx/>
              <a:uFillTx/>
              <a:latin typeface="HarmonyOS Sans SC"/>
              <a:cs typeface="+mn-cs"/>
              <a:sym typeface="Helvetica Neue Medium"/>
            </a:endParaRPr>
          </a:p>
        </p:txBody>
      </p:sp>
      <p:sp>
        <p:nvSpPr>
          <p:cNvPr id="8" name="Shape">
            <a:extLst>
              <a:ext uri="{FF2B5EF4-FFF2-40B4-BE49-F238E27FC236}">
                <a16:creationId xmlns:a16="http://schemas.microsoft.com/office/drawing/2014/main" id="{05DABF07-4F34-4698-87F5-0421628ABD38}"/>
              </a:ext>
            </a:extLst>
          </p:cNvPr>
          <p:cNvSpPr/>
          <p:nvPr/>
        </p:nvSpPr>
        <p:spPr>
          <a:xfrm>
            <a:off x="6012927" y="5081004"/>
            <a:ext cx="2542620" cy="586152"/>
          </a:xfrm>
          <a:custGeom>
            <a:avLst/>
            <a:gdLst/>
            <a:ahLst/>
            <a:cxnLst>
              <a:cxn ang="0">
                <a:pos x="wd2" y="hd2"/>
              </a:cxn>
              <a:cxn ang="5400000">
                <a:pos x="wd2" y="hd2"/>
              </a:cxn>
              <a:cxn ang="10800000">
                <a:pos x="wd2" y="hd2"/>
              </a:cxn>
              <a:cxn ang="16200000">
                <a:pos x="wd2" y="hd2"/>
              </a:cxn>
            </a:cxnLst>
            <a:rect l="0" t="0" r="r" b="b"/>
            <a:pathLst>
              <a:path w="21600" h="21600" extrusionOk="0">
                <a:moveTo>
                  <a:pt x="21482" y="0"/>
                </a:moveTo>
                <a:lnTo>
                  <a:pt x="2374" y="0"/>
                </a:lnTo>
                <a:lnTo>
                  <a:pt x="0" y="10739"/>
                </a:lnTo>
                <a:lnTo>
                  <a:pt x="2489" y="21545"/>
                </a:lnTo>
                <a:lnTo>
                  <a:pt x="21600" y="21600"/>
                </a:lnTo>
                <a:lnTo>
                  <a:pt x="19087" y="10844"/>
                </a:lnTo>
                <a:lnTo>
                  <a:pt x="21482" y="0"/>
                </a:lnTo>
                <a:close/>
              </a:path>
            </a:pathLst>
          </a:custGeom>
          <a:gradFill flip="none" rotWithShape="1">
            <a:gsLst>
              <a:gs pos="100000">
                <a:schemeClr val="accent1"/>
              </a:gs>
              <a:gs pos="36000">
                <a:schemeClr val="accent1">
                  <a:lumMod val="60000"/>
                  <a:lumOff val="40000"/>
                </a:schemeClr>
              </a:gs>
              <a:gs pos="0">
                <a:schemeClr val="accent1">
                  <a:lumMod val="20000"/>
                  <a:lumOff val="80000"/>
                </a:schemeClr>
              </a:gs>
              <a:gs pos="16000">
                <a:schemeClr val="accent1">
                  <a:lumMod val="40000"/>
                  <a:lumOff val="60000"/>
                </a:schemeClr>
              </a:gs>
            </a:gsLst>
            <a:lin ang="0" scaled="0"/>
            <a:tileRect/>
          </a:gradFill>
          <a:ln>
            <a:noFill/>
          </a:ln>
          <a:effectLst>
            <a:outerShdw blurRad="177800" sx="102000" sy="102000" algn="ctr" rotWithShape="0">
              <a:schemeClr val="accent1">
                <a:lumMod val="75000"/>
                <a:alpha val="11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white"/>
              </a:solidFill>
              <a:effectLst/>
              <a:uLnTx/>
              <a:uFillTx/>
              <a:latin typeface="HarmonyOS Sans SC"/>
              <a:cs typeface="+mn-cs"/>
              <a:sym typeface="Helvetica Neue Medium"/>
            </a:endParaRPr>
          </a:p>
        </p:txBody>
      </p:sp>
      <p:sp>
        <p:nvSpPr>
          <p:cNvPr id="9" name="Shape">
            <a:extLst>
              <a:ext uri="{FF2B5EF4-FFF2-40B4-BE49-F238E27FC236}">
                <a16:creationId xmlns:a16="http://schemas.microsoft.com/office/drawing/2014/main" id="{E5BB5E4C-4DE0-4B2A-919C-7F9B57211065}"/>
              </a:ext>
            </a:extLst>
          </p:cNvPr>
          <p:cNvSpPr/>
          <p:nvPr/>
        </p:nvSpPr>
        <p:spPr>
          <a:xfrm>
            <a:off x="3621473" y="5082261"/>
            <a:ext cx="2542341" cy="584812"/>
          </a:xfrm>
          <a:custGeom>
            <a:avLst/>
            <a:gdLst/>
            <a:ahLst/>
            <a:cxnLst>
              <a:cxn ang="0">
                <a:pos x="wd2" y="hd2"/>
              </a:cxn>
              <a:cxn ang="5400000">
                <a:pos x="wd2" y="hd2"/>
              </a:cxn>
              <a:cxn ang="10800000">
                <a:pos x="wd2" y="hd2"/>
              </a:cxn>
              <a:cxn ang="16200000">
                <a:pos x="wd2" y="hd2"/>
              </a:cxn>
            </a:cxnLst>
            <a:rect l="0" t="0" r="r" b="b"/>
            <a:pathLst>
              <a:path w="21600" h="21600" extrusionOk="0">
                <a:moveTo>
                  <a:pt x="2387" y="0"/>
                </a:moveTo>
                <a:lnTo>
                  <a:pt x="21506" y="0"/>
                </a:lnTo>
                <a:lnTo>
                  <a:pt x="19125" y="10802"/>
                </a:lnTo>
                <a:lnTo>
                  <a:pt x="21600" y="21583"/>
                </a:lnTo>
                <a:lnTo>
                  <a:pt x="2461" y="21600"/>
                </a:lnTo>
                <a:lnTo>
                  <a:pt x="0" y="10827"/>
                </a:lnTo>
                <a:lnTo>
                  <a:pt x="2387" y="0"/>
                </a:lnTo>
                <a:close/>
              </a:path>
            </a:pathLst>
          </a:custGeom>
          <a:gradFill flip="none" rotWithShape="1">
            <a:gsLst>
              <a:gs pos="100000">
                <a:schemeClr val="accent1"/>
              </a:gs>
              <a:gs pos="36000">
                <a:schemeClr val="accent1">
                  <a:lumMod val="60000"/>
                  <a:lumOff val="40000"/>
                </a:schemeClr>
              </a:gs>
              <a:gs pos="0">
                <a:schemeClr val="accent1">
                  <a:lumMod val="20000"/>
                  <a:lumOff val="80000"/>
                </a:schemeClr>
              </a:gs>
              <a:gs pos="16000">
                <a:schemeClr val="accent1">
                  <a:lumMod val="40000"/>
                  <a:lumOff val="60000"/>
                </a:schemeClr>
              </a:gs>
            </a:gsLst>
            <a:lin ang="0" scaled="0"/>
            <a:tileRect/>
          </a:gradFill>
          <a:ln>
            <a:noFill/>
          </a:ln>
          <a:effectLst>
            <a:outerShdw blurRad="177800" sx="102000" sy="102000" algn="ctr" rotWithShape="0">
              <a:schemeClr val="accent1">
                <a:lumMod val="75000"/>
                <a:alpha val="11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white"/>
              </a:solidFill>
              <a:effectLst/>
              <a:uLnTx/>
              <a:uFillTx/>
              <a:latin typeface="HarmonyOS Sans SC"/>
              <a:cs typeface="+mn-cs"/>
              <a:sym typeface="Helvetica Neue Medium"/>
            </a:endParaRPr>
          </a:p>
        </p:txBody>
      </p:sp>
      <p:sp>
        <p:nvSpPr>
          <p:cNvPr id="10" name="Shape">
            <a:extLst>
              <a:ext uri="{FF2B5EF4-FFF2-40B4-BE49-F238E27FC236}">
                <a16:creationId xmlns:a16="http://schemas.microsoft.com/office/drawing/2014/main" id="{96D88DE9-042F-4B45-A5BD-C558BE107F45}"/>
              </a:ext>
            </a:extLst>
          </p:cNvPr>
          <p:cNvSpPr/>
          <p:nvPr/>
        </p:nvSpPr>
        <p:spPr>
          <a:xfrm>
            <a:off x="1738779" y="2279477"/>
            <a:ext cx="2126757" cy="3388361"/>
          </a:xfrm>
          <a:custGeom>
            <a:avLst/>
            <a:gdLst/>
            <a:ahLst/>
            <a:cxnLst>
              <a:cxn ang="0">
                <a:pos x="wd2" y="hd2"/>
              </a:cxn>
              <a:cxn ang="5400000">
                <a:pos x="wd2" y="hd2"/>
              </a:cxn>
              <a:cxn ang="10800000">
                <a:pos x="wd2" y="hd2"/>
              </a:cxn>
              <a:cxn ang="16200000">
                <a:pos x="wd2" y="hd2"/>
              </a:cxn>
            </a:cxnLst>
            <a:rect l="0" t="0" r="r" b="b"/>
            <a:pathLst>
              <a:path w="21030" h="21600" extrusionOk="0">
                <a:moveTo>
                  <a:pt x="19990" y="17862"/>
                </a:moveTo>
                <a:lnTo>
                  <a:pt x="17248" y="19733"/>
                </a:lnTo>
                <a:lnTo>
                  <a:pt x="20143" y="21600"/>
                </a:lnTo>
                <a:lnTo>
                  <a:pt x="16281" y="21582"/>
                </a:lnTo>
                <a:cubicBezTo>
                  <a:pt x="10679" y="21490"/>
                  <a:pt x="5521" y="19597"/>
                  <a:pt x="2539" y="16539"/>
                </a:cubicBezTo>
                <a:cubicBezTo>
                  <a:pt x="176" y="14113"/>
                  <a:pt x="-570" y="11178"/>
                  <a:pt x="437" y="8388"/>
                </a:cubicBezTo>
                <a:cubicBezTo>
                  <a:pt x="1452" y="5576"/>
                  <a:pt x="4161" y="3141"/>
                  <a:pt x="7964" y="1617"/>
                </a:cubicBezTo>
                <a:cubicBezTo>
                  <a:pt x="10512" y="597"/>
                  <a:pt x="13439" y="38"/>
                  <a:pt x="16438" y="0"/>
                </a:cubicBezTo>
                <a:lnTo>
                  <a:pt x="18204" y="32"/>
                </a:lnTo>
                <a:lnTo>
                  <a:pt x="21030" y="1892"/>
                </a:lnTo>
                <a:lnTo>
                  <a:pt x="18320" y="3730"/>
                </a:lnTo>
                <a:lnTo>
                  <a:pt x="16626" y="3730"/>
                </a:lnTo>
                <a:cubicBezTo>
                  <a:pt x="11435" y="3780"/>
                  <a:pt x="7009" y="6169"/>
                  <a:pt x="6019" y="9454"/>
                </a:cubicBezTo>
                <a:cubicBezTo>
                  <a:pt x="5185" y="12222"/>
                  <a:pt x="7027" y="15033"/>
                  <a:pt x="10636" y="16633"/>
                </a:cubicBezTo>
                <a:cubicBezTo>
                  <a:pt x="12457" y="17441"/>
                  <a:pt x="14619" y="17869"/>
                  <a:pt x="16830" y="17861"/>
                </a:cubicBezTo>
                <a:lnTo>
                  <a:pt x="19990" y="17862"/>
                </a:lnTo>
                <a:close/>
              </a:path>
            </a:pathLst>
          </a:custGeom>
          <a:gradFill flip="none" rotWithShape="1">
            <a:gsLst>
              <a:gs pos="100000">
                <a:schemeClr val="accent1"/>
              </a:gs>
              <a:gs pos="36000">
                <a:schemeClr val="accent1">
                  <a:lumMod val="60000"/>
                  <a:lumOff val="40000"/>
                </a:schemeClr>
              </a:gs>
              <a:gs pos="0">
                <a:schemeClr val="accent1">
                  <a:lumMod val="20000"/>
                  <a:lumOff val="80000"/>
                </a:schemeClr>
              </a:gs>
              <a:gs pos="16000">
                <a:schemeClr val="accent1">
                  <a:lumMod val="40000"/>
                  <a:lumOff val="60000"/>
                </a:schemeClr>
              </a:gs>
            </a:gsLst>
            <a:lin ang="10200000" scaled="0"/>
            <a:tileRect/>
          </a:gradFill>
          <a:ln>
            <a:noFill/>
          </a:ln>
          <a:effectLst>
            <a:outerShdw blurRad="177800" sx="102000" sy="102000" algn="ctr" rotWithShape="0">
              <a:schemeClr val="accent1">
                <a:lumMod val="75000"/>
                <a:alpha val="11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white"/>
              </a:solidFill>
              <a:effectLst/>
              <a:uLnTx/>
              <a:uFillTx/>
              <a:latin typeface="HarmonyOS Sans SC"/>
              <a:cs typeface="+mn-cs"/>
              <a:sym typeface="Helvetica Neue Medium"/>
            </a:endParaRPr>
          </a:p>
        </p:txBody>
      </p:sp>
      <p:sp>
        <p:nvSpPr>
          <p:cNvPr id="11" name="Line">
            <a:extLst>
              <a:ext uri="{FF2B5EF4-FFF2-40B4-BE49-F238E27FC236}">
                <a16:creationId xmlns:a16="http://schemas.microsoft.com/office/drawing/2014/main" id="{6D02FF27-57C8-43F3-954B-DEF795C7B433}"/>
              </a:ext>
            </a:extLst>
          </p:cNvPr>
          <p:cNvSpPr/>
          <p:nvPr/>
        </p:nvSpPr>
        <p:spPr>
          <a:xfrm flipV="1">
            <a:off x="3770054" y="3180157"/>
            <a:ext cx="3796436" cy="1"/>
          </a:xfrm>
          <a:prstGeom prst="line">
            <a:avLst/>
          </a:prstGeom>
          <a:noFill/>
          <a:ln w="25400" cap="flat">
            <a:gradFill>
              <a:gsLst>
                <a:gs pos="0">
                  <a:schemeClr val="accent1">
                    <a:lumMod val="5000"/>
                    <a:lumOff val="95000"/>
                    <a:alpha val="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0" scaled="0"/>
            </a:gradFill>
            <a:custDash>
              <a:ds d="200000" sp="200000"/>
            </a:custDash>
            <a:miter lim="400000"/>
            <a:tailEnd type="triangle" w="med" len="med"/>
          </a:ln>
          <a:effectLst/>
        </p:spPr>
        <p:txBody>
          <a:bodyPr wrap="square" lIns="0" tIns="0" rIns="0" bIns="0" numCol="1" anchor="ctr">
            <a:noAutofit/>
          </a:bodyPr>
          <a:lstStyle/>
          <a:p>
            <a:pPr marL="0" marR="0" lvl="0" indent="0" algn="ctr" defTabSz="412750" rtl="0" eaLnBrk="1" fontAlgn="auto" latinLnBrk="0" hangingPunct="0">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1600" b="0" i="0" u="none" strike="noStrike" kern="0" cap="none" spc="0" normalizeH="0" baseline="0" noProof="0">
              <a:ln>
                <a:noFill/>
              </a:ln>
              <a:solidFill>
                <a:srgbClr val="FFFFFF"/>
              </a:solidFill>
              <a:effectLst/>
              <a:uLnTx/>
              <a:uFillTx/>
              <a:latin typeface="HarmonyOS Sans SC"/>
              <a:cs typeface="+mn-cs"/>
              <a:sym typeface="Helvetica Neue Medium"/>
            </a:endParaRPr>
          </a:p>
        </p:txBody>
      </p:sp>
      <p:sp>
        <p:nvSpPr>
          <p:cNvPr id="12" name="Line">
            <a:extLst>
              <a:ext uri="{FF2B5EF4-FFF2-40B4-BE49-F238E27FC236}">
                <a16:creationId xmlns:a16="http://schemas.microsoft.com/office/drawing/2014/main" id="{F6D3D55D-BE7C-4A70-9804-917BD0AF7006}"/>
              </a:ext>
            </a:extLst>
          </p:cNvPr>
          <p:cNvSpPr/>
          <p:nvPr/>
        </p:nvSpPr>
        <p:spPr>
          <a:xfrm flipV="1">
            <a:off x="4762003" y="4782928"/>
            <a:ext cx="3796436" cy="1"/>
          </a:xfrm>
          <a:prstGeom prst="line">
            <a:avLst/>
          </a:prstGeom>
          <a:noFill/>
          <a:ln w="25400" cap="flat">
            <a:gradFill>
              <a:gsLst>
                <a:gs pos="0">
                  <a:schemeClr val="accent1">
                    <a:lumMod val="5000"/>
                    <a:lumOff val="95000"/>
                    <a:alpha val="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10800000" scaled="0"/>
            </a:gradFill>
            <a:custDash>
              <a:ds d="200000" sp="200000"/>
            </a:custDash>
            <a:miter lim="400000"/>
            <a:headEnd type="triangle" w="med" len="med"/>
          </a:ln>
          <a:effectLst/>
        </p:spPr>
        <p:txBody>
          <a:bodyPr wrap="square" lIns="0" tIns="0" rIns="0" bIns="0" numCol="1" anchor="ctr">
            <a:noAutofit/>
          </a:bodyPr>
          <a:lstStyle/>
          <a:p>
            <a:pPr marL="0" marR="0" lvl="0" indent="0" algn="ctr" defTabSz="412750" rtl="0" eaLnBrk="1" fontAlgn="auto" latinLnBrk="0" hangingPunct="0">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1600" b="0" i="0" u="none" strike="noStrike" kern="0" cap="none" spc="0" normalizeH="0" baseline="0" noProof="0">
              <a:ln>
                <a:noFill/>
              </a:ln>
              <a:solidFill>
                <a:srgbClr val="FFFFFF"/>
              </a:solidFill>
              <a:effectLst/>
              <a:uLnTx/>
              <a:uFillTx/>
              <a:latin typeface="HarmonyOS Sans SC"/>
              <a:cs typeface="+mn-cs"/>
              <a:sym typeface="Helvetica Neue Medium"/>
            </a:endParaRPr>
          </a:p>
        </p:txBody>
      </p:sp>
      <p:sp>
        <p:nvSpPr>
          <p:cNvPr id="13" name="Process flow diagram">
            <a:extLst>
              <a:ext uri="{FF2B5EF4-FFF2-40B4-BE49-F238E27FC236}">
                <a16:creationId xmlns:a16="http://schemas.microsoft.com/office/drawing/2014/main" id="{1F3036A7-A144-4150-B67C-C2513D29DDA8}"/>
              </a:ext>
            </a:extLst>
          </p:cNvPr>
          <p:cNvSpPr txBox="1"/>
          <p:nvPr/>
        </p:nvSpPr>
        <p:spPr>
          <a:xfrm>
            <a:off x="5000021" y="3587074"/>
            <a:ext cx="2268972" cy="282129"/>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5400" tIns="25400" rIns="25400" bIns="25400" numCol="1" anchor="t">
            <a:spAutoFit/>
          </a:bodyPr>
          <a:lstStyle>
            <a:lvl1pPr>
              <a:defRPr b="0">
                <a:solidFill>
                  <a:srgbClr val="535454"/>
                </a:solidFill>
                <a:latin typeface="Barlow Bold"/>
                <a:ea typeface="Barlow Bold"/>
                <a:cs typeface="Barlow Bold"/>
                <a:sym typeface="Barlow Bold"/>
              </a:defRPr>
            </a:lvl1pPr>
          </a:lstStyle>
          <a:p>
            <a:pPr marL="0" marR="0" lvl="0" indent="0" algn="ctr" defTabSz="412750" rtl="0" eaLnBrk="1" fontAlgn="auto" latinLnBrk="0" hangingPunct="0">
              <a:lnSpc>
                <a:spcPct val="100000"/>
              </a:lnSpc>
              <a:spcBef>
                <a:spcPts val="0"/>
              </a:spcBef>
              <a:spcAft>
                <a:spcPts val="0"/>
              </a:spcAft>
              <a:buClrTx/>
              <a:buSzTx/>
              <a:buFontTx/>
              <a:buNone/>
              <a:tabLst/>
              <a:defRPr/>
            </a:pPr>
            <a:r>
              <a:rPr kumimoji="0" sz="1500" b="0" i="0" u="none" strike="noStrike" kern="0" cap="none" spc="0" normalizeH="0" baseline="0" noProof="0">
                <a:ln>
                  <a:noFill/>
                </a:ln>
                <a:solidFill>
                  <a:srgbClr val="525455"/>
                </a:solidFill>
                <a:effectLst/>
                <a:uLnTx/>
                <a:uFillTx/>
                <a:latin typeface="HarmonyOS Sans SC Black"/>
                <a:ea typeface="+mj-ea"/>
                <a:sym typeface="Barlow Bold"/>
              </a:rPr>
              <a:t>Process flow diagram</a:t>
            </a:r>
          </a:p>
        </p:txBody>
      </p:sp>
      <p:sp>
        <p:nvSpPr>
          <p:cNvPr id="14" name="This is a sample text.…">
            <a:extLst>
              <a:ext uri="{FF2B5EF4-FFF2-40B4-BE49-F238E27FC236}">
                <a16:creationId xmlns:a16="http://schemas.microsoft.com/office/drawing/2014/main" id="{8C2FE2D9-F0E2-49E6-9F6B-0E4BF0913BE0}"/>
              </a:ext>
            </a:extLst>
          </p:cNvPr>
          <p:cNvSpPr txBox="1"/>
          <p:nvPr/>
        </p:nvSpPr>
        <p:spPr>
          <a:xfrm>
            <a:off x="4931614" y="3927125"/>
            <a:ext cx="2405787" cy="436017"/>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5400" tIns="25400" rIns="25400" bIns="25400" numCol="1" anchor="t">
            <a:spAutoFit/>
          </a:bodyPr>
          <a:lstStyle/>
          <a:p>
            <a:pPr marL="0" marR="0" lvl="0" indent="0" algn="ctr" defTabSz="412750" rtl="0" eaLnBrk="1" fontAlgn="auto" latinLnBrk="0" hangingPunct="0">
              <a:lnSpc>
                <a:spcPct val="100000"/>
              </a:lnSpc>
              <a:spcBef>
                <a:spcPts val="0"/>
              </a:spcBef>
              <a:spcAft>
                <a:spcPts val="0"/>
              </a:spcAft>
              <a:buClrTx/>
              <a:buSzTx/>
              <a:buFontTx/>
              <a:buNone/>
              <a:tabLst/>
              <a:defRPr sz="2500" b="0">
                <a:solidFill>
                  <a:srgbClr val="9E9F9E"/>
                </a:solidFill>
                <a:latin typeface="Barlow Medium"/>
                <a:ea typeface="Barlow Medium"/>
                <a:cs typeface="Barlow Medium"/>
                <a:sym typeface="Barlow Medium"/>
              </a:defRPr>
            </a:pPr>
            <a:r>
              <a:rPr kumimoji="0" sz="1250" b="0" i="0" u="none" strike="noStrike" kern="0" cap="none" spc="0" normalizeH="0" baseline="0" noProof="0" dirty="0">
                <a:ln>
                  <a:noFill/>
                </a:ln>
                <a:solidFill>
                  <a:prstClr val="black">
                    <a:lumMod val="50000"/>
                    <a:lumOff val="50000"/>
                  </a:prstClr>
                </a:solidFill>
                <a:effectLst/>
                <a:uLnTx/>
                <a:uFillTx/>
                <a:latin typeface="HarmonyOS Sans SC"/>
                <a:sym typeface="Barlow Medium"/>
              </a:rPr>
              <a:t>This is a sample text. </a:t>
            </a:r>
          </a:p>
          <a:p>
            <a:pPr marL="0" marR="0" lvl="0" indent="0" algn="ctr" defTabSz="412750" rtl="0" eaLnBrk="1" fontAlgn="auto" latinLnBrk="0" hangingPunct="0">
              <a:lnSpc>
                <a:spcPct val="100000"/>
              </a:lnSpc>
              <a:spcBef>
                <a:spcPts val="0"/>
              </a:spcBef>
              <a:spcAft>
                <a:spcPts val="0"/>
              </a:spcAft>
              <a:buClrTx/>
              <a:buSzTx/>
              <a:buFontTx/>
              <a:buNone/>
              <a:tabLst/>
              <a:defRPr sz="2500" b="0">
                <a:solidFill>
                  <a:srgbClr val="9E9F9E"/>
                </a:solidFill>
                <a:latin typeface="Barlow Medium"/>
                <a:ea typeface="Barlow Medium"/>
                <a:cs typeface="Barlow Medium"/>
                <a:sym typeface="Barlow Medium"/>
              </a:defRPr>
            </a:pPr>
            <a:r>
              <a:rPr kumimoji="0" sz="1250" b="0" i="0" u="none" strike="noStrike" kern="0" cap="none" spc="0" normalizeH="0" baseline="0" noProof="0" dirty="0">
                <a:ln>
                  <a:noFill/>
                </a:ln>
                <a:solidFill>
                  <a:prstClr val="black">
                    <a:lumMod val="50000"/>
                    <a:lumOff val="50000"/>
                  </a:prstClr>
                </a:solidFill>
                <a:effectLst/>
                <a:uLnTx/>
                <a:uFillTx/>
                <a:latin typeface="HarmonyOS Sans SC"/>
                <a:sym typeface="Barlow Medium"/>
              </a:rPr>
              <a:t>Insert your description here.</a:t>
            </a:r>
          </a:p>
        </p:txBody>
      </p:sp>
      <p:sp>
        <p:nvSpPr>
          <p:cNvPr id="15" name="This is a sample text.…">
            <a:extLst>
              <a:ext uri="{FF2B5EF4-FFF2-40B4-BE49-F238E27FC236}">
                <a16:creationId xmlns:a16="http://schemas.microsoft.com/office/drawing/2014/main" id="{75367B1B-A210-4BA7-B8C4-8E9E594B75AC}"/>
              </a:ext>
            </a:extLst>
          </p:cNvPr>
          <p:cNvSpPr txBox="1"/>
          <p:nvPr/>
        </p:nvSpPr>
        <p:spPr>
          <a:xfrm>
            <a:off x="2925712" y="3568024"/>
            <a:ext cx="1009782" cy="837222"/>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5400" tIns="25400" rIns="25400" bIns="25400" numCol="1" anchor="t">
            <a:noAutofit/>
          </a:bodyPr>
          <a:lstStyle/>
          <a:p>
            <a:pPr marL="0" marR="0" lvl="0" indent="0" algn="ctr" defTabSz="412750" rtl="0" eaLnBrk="1" fontAlgn="auto" latinLnBrk="0" hangingPunct="0">
              <a:lnSpc>
                <a:spcPct val="100000"/>
              </a:lnSpc>
              <a:spcBef>
                <a:spcPts val="0"/>
              </a:spcBef>
              <a:spcAft>
                <a:spcPts val="0"/>
              </a:spcAft>
              <a:buClrTx/>
              <a:buSzTx/>
              <a:buFontTx/>
              <a:buNone/>
              <a:tabLst/>
              <a:defRPr sz="2500" b="0">
                <a:solidFill>
                  <a:srgbClr val="545455"/>
                </a:solidFill>
                <a:latin typeface="Barlow Medium"/>
                <a:ea typeface="Barlow Medium"/>
                <a:cs typeface="Barlow Medium"/>
                <a:sym typeface="Barlow Medium"/>
              </a:defRPr>
            </a:pPr>
            <a:r>
              <a:rPr kumimoji="0" sz="1250" b="0" i="0" u="none" strike="noStrike" kern="0" cap="none" spc="0" normalizeH="0" baseline="0" noProof="0" dirty="0">
                <a:ln>
                  <a:noFill/>
                </a:ln>
                <a:solidFill>
                  <a:prstClr val="black">
                    <a:lumMod val="75000"/>
                    <a:lumOff val="25000"/>
                  </a:prstClr>
                </a:solidFill>
                <a:effectLst/>
                <a:uLnTx/>
                <a:uFillTx/>
                <a:latin typeface="HarmonyOS Sans SC Black"/>
                <a:ea typeface="+mj-ea"/>
                <a:sym typeface="Barlow Medium"/>
              </a:rPr>
              <a:t>This is a sample text. </a:t>
            </a:r>
          </a:p>
          <a:p>
            <a:pPr marL="0" marR="0" lvl="0" indent="0" algn="ctr" defTabSz="412750" rtl="0" eaLnBrk="1" fontAlgn="auto" latinLnBrk="0" hangingPunct="0">
              <a:lnSpc>
                <a:spcPct val="100000"/>
              </a:lnSpc>
              <a:spcBef>
                <a:spcPts val="0"/>
              </a:spcBef>
              <a:spcAft>
                <a:spcPts val="0"/>
              </a:spcAft>
              <a:buClrTx/>
              <a:buSzTx/>
              <a:buFontTx/>
              <a:buNone/>
              <a:tabLst/>
              <a:defRPr sz="2500" b="0">
                <a:solidFill>
                  <a:srgbClr val="545455"/>
                </a:solidFill>
                <a:latin typeface="Barlow Medium"/>
                <a:ea typeface="Barlow Medium"/>
                <a:cs typeface="Barlow Medium"/>
                <a:sym typeface="Barlow Medium"/>
              </a:defRPr>
            </a:pPr>
            <a:r>
              <a:rPr kumimoji="0" sz="1250" b="0" i="0" u="none" strike="noStrike" kern="0" cap="none" spc="0" normalizeH="0" baseline="0" noProof="0" dirty="0">
                <a:ln>
                  <a:noFill/>
                </a:ln>
                <a:solidFill>
                  <a:prstClr val="black">
                    <a:lumMod val="75000"/>
                    <a:lumOff val="25000"/>
                  </a:prstClr>
                </a:solidFill>
                <a:effectLst/>
                <a:uLnTx/>
                <a:uFillTx/>
                <a:latin typeface="HarmonyOS Sans SC Black"/>
                <a:ea typeface="+mj-ea"/>
                <a:sym typeface="Barlow Medium"/>
              </a:rPr>
              <a:t>Insert your text here.</a:t>
            </a:r>
          </a:p>
        </p:txBody>
      </p:sp>
      <p:sp>
        <p:nvSpPr>
          <p:cNvPr id="16" name="This is a sample text.…">
            <a:extLst>
              <a:ext uri="{FF2B5EF4-FFF2-40B4-BE49-F238E27FC236}">
                <a16:creationId xmlns:a16="http://schemas.microsoft.com/office/drawing/2014/main" id="{3CFF3468-2596-498D-AFC6-056DFF9C7E6A}"/>
              </a:ext>
            </a:extLst>
          </p:cNvPr>
          <p:cNvSpPr txBox="1"/>
          <p:nvPr/>
        </p:nvSpPr>
        <p:spPr>
          <a:xfrm>
            <a:off x="8339871" y="3568024"/>
            <a:ext cx="1009782" cy="837222"/>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5400" tIns="25400" rIns="25400" bIns="25400" numCol="1" anchor="t">
            <a:noAutofit/>
          </a:bodyPr>
          <a:lstStyle/>
          <a:p>
            <a:pPr marL="0" marR="0" lvl="0" indent="0" algn="ctr" defTabSz="412750" rtl="0" eaLnBrk="1" fontAlgn="auto" latinLnBrk="0" hangingPunct="0">
              <a:lnSpc>
                <a:spcPct val="100000"/>
              </a:lnSpc>
              <a:spcBef>
                <a:spcPts val="0"/>
              </a:spcBef>
              <a:spcAft>
                <a:spcPts val="0"/>
              </a:spcAft>
              <a:buClrTx/>
              <a:buSzTx/>
              <a:buFontTx/>
              <a:buNone/>
              <a:tabLst/>
              <a:defRPr sz="2500" b="0">
                <a:solidFill>
                  <a:srgbClr val="545455"/>
                </a:solidFill>
                <a:latin typeface="Barlow Medium"/>
                <a:ea typeface="Barlow Medium"/>
                <a:cs typeface="Barlow Medium"/>
                <a:sym typeface="Barlow Medium"/>
              </a:defRPr>
            </a:pPr>
            <a:r>
              <a:rPr kumimoji="0" sz="1250" b="0" i="0" u="none" strike="noStrike" kern="0" cap="none" spc="0" normalizeH="0" baseline="0" noProof="0" dirty="0">
                <a:ln>
                  <a:noFill/>
                </a:ln>
                <a:solidFill>
                  <a:prstClr val="black">
                    <a:lumMod val="75000"/>
                    <a:lumOff val="25000"/>
                  </a:prstClr>
                </a:solidFill>
                <a:effectLst/>
                <a:uLnTx/>
                <a:uFillTx/>
                <a:latin typeface="HarmonyOS Sans SC Black"/>
                <a:ea typeface="+mj-ea"/>
                <a:sym typeface="Barlow Medium"/>
              </a:rPr>
              <a:t>This is a sample text. </a:t>
            </a:r>
          </a:p>
          <a:p>
            <a:pPr marL="0" marR="0" lvl="0" indent="0" algn="ctr" defTabSz="412750" rtl="0" eaLnBrk="1" fontAlgn="auto" latinLnBrk="0" hangingPunct="0">
              <a:lnSpc>
                <a:spcPct val="100000"/>
              </a:lnSpc>
              <a:spcBef>
                <a:spcPts val="0"/>
              </a:spcBef>
              <a:spcAft>
                <a:spcPts val="0"/>
              </a:spcAft>
              <a:buClrTx/>
              <a:buSzTx/>
              <a:buFontTx/>
              <a:buNone/>
              <a:tabLst/>
              <a:defRPr sz="2500" b="0">
                <a:solidFill>
                  <a:srgbClr val="545455"/>
                </a:solidFill>
                <a:latin typeface="Barlow Medium"/>
                <a:ea typeface="Barlow Medium"/>
                <a:cs typeface="Barlow Medium"/>
                <a:sym typeface="Barlow Medium"/>
              </a:defRPr>
            </a:pPr>
            <a:r>
              <a:rPr kumimoji="0" sz="1250" b="0" i="0" u="none" strike="noStrike" kern="0" cap="none" spc="0" normalizeH="0" baseline="0" noProof="0" dirty="0">
                <a:ln>
                  <a:noFill/>
                </a:ln>
                <a:solidFill>
                  <a:prstClr val="black">
                    <a:lumMod val="75000"/>
                    <a:lumOff val="25000"/>
                  </a:prstClr>
                </a:solidFill>
                <a:effectLst/>
                <a:uLnTx/>
                <a:uFillTx/>
                <a:latin typeface="HarmonyOS Sans SC Black"/>
                <a:ea typeface="+mj-ea"/>
                <a:sym typeface="Barlow Medium"/>
              </a:rPr>
              <a:t>Insert your text here.</a:t>
            </a:r>
          </a:p>
        </p:txBody>
      </p:sp>
      <p:sp>
        <p:nvSpPr>
          <p:cNvPr id="17" name="Sample text">
            <a:extLst>
              <a:ext uri="{FF2B5EF4-FFF2-40B4-BE49-F238E27FC236}">
                <a16:creationId xmlns:a16="http://schemas.microsoft.com/office/drawing/2014/main" id="{3947E6DD-252D-4B1C-94C1-EFE649763B41}"/>
              </a:ext>
            </a:extLst>
          </p:cNvPr>
          <p:cNvSpPr txBox="1"/>
          <p:nvPr/>
        </p:nvSpPr>
        <p:spPr>
          <a:xfrm>
            <a:off x="6627915" y="2434314"/>
            <a:ext cx="1009783" cy="290061"/>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5400" tIns="25400" rIns="25400" bIns="25400" numCol="1" anchor="t">
            <a:noAutofit/>
          </a:bodyPr>
          <a:lstStyle>
            <a:lvl1pPr algn="l">
              <a:defRPr sz="2500" b="0">
                <a:solidFill>
                  <a:srgbClr val="F6F6F7"/>
                </a:solidFill>
                <a:latin typeface="Barlow Medium"/>
                <a:ea typeface="Barlow Medium"/>
                <a:cs typeface="Barlow Medium"/>
                <a:sym typeface="Barlow Medium"/>
              </a:defRPr>
            </a:lvl1pPr>
          </a:lstStyle>
          <a:p>
            <a:pPr marL="0" marR="0" lvl="0" indent="0" algn="l" defTabSz="412750" rtl="0" eaLnBrk="1" fontAlgn="auto" latinLnBrk="0" hangingPunct="0">
              <a:lnSpc>
                <a:spcPct val="100000"/>
              </a:lnSpc>
              <a:spcBef>
                <a:spcPts val="0"/>
              </a:spcBef>
              <a:spcAft>
                <a:spcPts val="0"/>
              </a:spcAft>
              <a:buClrTx/>
              <a:buSzTx/>
              <a:buFontTx/>
              <a:buNone/>
              <a:tabLst/>
              <a:defRPr/>
            </a:pPr>
            <a:r>
              <a:rPr kumimoji="0" sz="1250" b="0" i="0" u="none" strike="noStrike" kern="0" cap="none" spc="0" normalizeH="0" baseline="0" noProof="0">
                <a:ln>
                  <a:noFill/>
                </a:ln>
                <a:solidFill>
                  <a:srgbClr val="F6F6F7"/>
                </a:solidFill>
                <a:effectLst/>
                <a:uLnTx/>
                <a:uFillTx/>
                <a:latin typeface="HarmonyOS Sans SC"/>
                <a:ea typeface="+mn-ea"/>
                <a:sym typeface="Barlow Medium"/>
              </a:rPr>
              <a:t>Sample text</a:t>
            </a:r>
          </a:p>
        </p:txBody>
      </p:sp>
      <p:sp>
        <p:nvSpPr>
          <p:cNvPr id="18" name="Sample text">
            <a:extLst>
              <a:ext uri="{FF2B5EF4-FFF2-40B4-BE49-F238E27FC236}">
                <a16:creationId xmlns:a16="http://schemas.microsoft.com/office/drawing/2014/main" id="{EFCC7411-D539-43EC-BF25-321EE4BAAAC4}"/>
              </a:ext>
            </a:extLst>
          </p:cNvPr>
          <p:cNvSpPr txBox="1"/>
          <p:nvPr/>
        </p:nvSpPr>
        <p:spPr>
          <a:xfrm>
            <a:off x="4176484" y="2434314"/>
            <a:ext cx="1009782" cy="290061"/>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5400" tIns="25400" rIns="25400" bIns="25400" numCol="1" anchor="t">
            <a:noAutofit/>
          </a:bodyPr>
          <a:lstStyle>
            <a:lvl1pPr algn="l">
              <a:defRPr sz="2500" b="0">
                <a:solidFill>
                  <a:srgbClr val="F6F6F7"/>
                </a:solidFill>
                <a:latin typeface="Barlow Medium"/>
                <a:ea typeface="Barlow Medium"/>
                <a:cs typeface="Barlow Medium"/>
                <a:sym typeface="Barlow Medium"/>
              </a:defRPr>
            </a:lvl1pPr>
          </a:lstStyle>
          <a:p>
            <a:pPr marL="0" marR="0" lvl="0" indent="0" algn="l" defTabSz="412750" rtl="0" eaLnBrk="1" fontAlgn="auto" latinLnBrk="0" hangingPunct="0">
              <a:lnSpc>
                <a:spcPct val="100000"/>
              </a:lnSpc>
              <a:spcBef>
                <a:spcPts val="0"/>
              </a:spcBef>
              <a:spcAft>
                <a:spcPts val="0"/>
              </a:spcAft>
              <a:buClrTx/>
              <a:buSzTx/>
              <a:buFontTx/>
              <a:buNone/>
              <a:tabLst/>
              <a:defRPr/>
            </a:pPr>
            <a:r>
              <a:rPr kumimoji="0" sz="1250" b="0" i="0" u="none" strike="noStrike" kern="0" cap="none" spc="0" normalizeH="0" baseline="0" noProof="0">
                <a:ln>
                  <a:noFill/>
                </a:ln>
                <a:solidFill>
                  <a:srgbClr val="F6F6F7"/>
                </a:solidFill>
                <a:effectLst/>
                <a:uLnTx/>
                <a:uFillTx/>
                <a:latin typeface="HarmonyOS Sans SC"/>
                <a:ea typeface="+mn-ea"/>
                <a:sym typeface="Barlow Medium"/>
              </a:rPr>
              <a:t>Sample text</a:t>
            </a:r>
          </a:p>
        </p:txBody>
      </p:sp>
      <p:sp>
        <p:nvSpPr>
          <p:cNvPr id="19" name="Sample text">
            <a:extLst>
              <a:ext uri="{FF2B5EF4-FFF2-40B4-BE49-F238E27FC236}">
                <a16:creationId xmlns:a16="http://schemas.microsoft.com/office/drawing/2014/main" id="{F24CA559-5855-43FF-A41D-35C8C6305E5E}"/>
              </a:ext>
            </a:extLst>
          </p:cNvPr>
          <p:cNvSpPr txBox="1"/>
          <p:nvPr/>
        </p:nvSpPr>
        <p:spPr>
          <a:xfrm>
            <a:off x="4679777" y="5242440"/>
            <a:ext cx="1009782" cy="290061"/>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5400" tIns="25400" rIns="25400" bIns="25400" numCol="1" anchor="t">
            <a:noAutofit/>
          </a:bodyPr>
          <a:lstStyle>
            <a:lvl1pPr algn="r">
              <a:defRPr sz="2500" b="0">
                <a:solidFill>
                  <a:srgbClr val="F6F6F7"/>
                </a:solidFill>
                <a:latin typeface="Barlow Medium"/>
                <a:ea typeface="Barlow Medium"/>
                <a:cs typeface="Barlow Medium"/>
                <a:sym typeface="Barlow Medium"/>
              </a:defRPr>
            </a:lvl1pPr>
          </a:lstStyle>
          <a:p>
            <a:pPr marL="0" marR="0" lvl="0" indent="0" algn="r" defTabSz="412750" rtl="0" eaLnBrk="1" fontAlgn="auto" latinLnBrk="0" hangingPunct="0">
              <a:lnSpc>
                <a:spcPct val="100000"/>
              </a:lnSpc>
              <a:spcBef>
                <a:spcPts val="0"/>
              </a:spcBef>
              <a:spcAft>
                <a:spcPts val="0"/>
              </a:spcAft>
              <a:buClrTx/>
              <a:buSzTx/>
              <a:buFontTx/>
              <a:buNone/>
              <a:tabLst/>
              <a:defRPr/>
            </a:pPr>
            <a:r>
              <a:rPr kumimoji="0" sz="1250" b="0" i="0" u="none" strike="noStrike" kern="0" cap="none" spc="0" normalizeH="0" baseline="0" noProof="0">
                <a:ln>
                  <a:noFill/>
                </a:ln>
                <a:solidFill>
                  <a:srgbClr val="F6F6F7"/>
                </a:solidFill>
                <a:effectLst/>
                <a:uLnTx/>
                <a:uFillTx/>
                <a:latin typeface="HarmonyOS Sans SC"/>
                <a:ea typeface="+mn-ea"/>
                <a:sym typeface="Barlow Medium"/>
              </a:rPr>
              <a:t>Sample text</a:t>
            </a:r>
          </a:p>
        </p:txBody>
      </p:sp>
      <p:sp>
        <p:nvSpPr>
          <p:cNvPr id="20" name="Sample text">
            <a:extLst>
              <a:ext uri="{FF2B5EF4-FFF2-40B4-BE49-F238E27FC236}">
                <a16:creationId xmlns:a16="http://schemas.microsoft.com/office/drawing/2014/main" id="{0DD7241F-86C1-4429-88F7-A5F663A6E037}"/>
              </a:ext>
            </a:extLst>
          </p:cNvPr>
          <p:cNvSpPr txBox="1"/>
          <p:nvPr/>
        </p:nvSpPr>
        <p:spPr>
          <a:xfrm>
            <a:off x="7090485" y="5248304"/>
            <a:ext cx="1009782" cy="290061"/>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5400" tIns="25400" rIns="25400" bIns="25400" numCol="1" anchor="t">
            <a:noAutofit/>
          </a:bodyPr>
          <a:lstStyle>
            <a:lvl1pPr algn="r">
              <a:defRPr sz="2500" b="0">
                <a:solidFill>
                  <a:srgbClr val="F6F6F7"/>
                </a:solidFill>
                <a:latin typeface="Barlow Medium"/>
                <a:ea typeface="Barlow Medium"/>
                <a:cs typeface="Barlow Medium"/>
                <a:sym typeface="Barlow Medium"/>
              </a:defRPr>
            </a:lvl1pPr>
          </a:lstStyle>
          <a:p>
            <a:pPr marL="0" marR="0" lvl="0" indent="0" algn="r" defTabSz="412750" rtl="0" eaLnBrk="1" fontAlgn="auto" latinLnBrk="0" hangingPunct="0">
              <a:lnSpc>
                <a:spcPct val="100000"/>
              </a:lnSpc>
              <a:spcBef>
                <a:spcPts val="0"/>
              </a:spcBef>
              <a:spcAft>
                <a:spcPts val="0"/>
              </a:spcAft>
              <a:buClrTx/>
              <a:buSzTx/>
              <a:buFontTx/>
              <a:buNone/>
              <a:tabLst/>
              <a:defRPr/>
            </a:pPr>
            <a:r>
              <a:rPr kumimoji="0" sz="1250" b="0" i="0" u="none" strike="noStrike" kern="0" cap="none" spc="0" normalizeH="0" baseline="0" noProof="0" dirty="0">
                <a:ln>
                  <a:noFill/>
                </a:ln>
                <a:solidFill>
                  <a:srgbClr val="F6F6F7"/>
                </a:solidFill>
                <a:effectLst/>
                <a:uLnTx/>
                <a:uFillTx/>
                <a:latin typeface="HarmonyOS Sans SC"/>
                <a:ea typeface="+mn-ea"/>
                <a:sym typeface="Barlow Medium"/>
              </a:rPr>
              <a:t>Sample text</a:t>
            </a:r>
          </a:p>
        </p:txBody>
      </p:sp>
      <p:sp>
        <p:nvSpPr>
          <p:cNvPr id="21" name="Sample text">
            <a:extLst>
              <a:ext uri="{FF2B5EF4-FFF2-40B4-BE49-F238E27FC236}">
                <a16:creationId xmlns:a16="http://schemas.microsoft.com/office/drawing/2014/main" id="{66819EEC-EE73-40B3-8A2F-C0042D636644}"/>
              </a:ext>
            </a:extLst>
          </p:cNvPr>
          <p:cNvSpPr txBox="1"/>
          <p:nvPr/>
        </p:nvSpPr>
        <p:spPr>
          <a:xfrm>
            <a:off x="10014286" y="2210953"/>
            <a:ext cx="1009782" cy="290061"/>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5400" tIns="25400" rIns="25400" bIns="25400" numCol="1" anchor="t">
            <a:noAutofit/>
          </a:bodyPr>
          <a:lstStyle>
            <a:lvl1pPr algn="l">
              <a:defRPr sz="2500" b="0">
                <a:solidFill>
                  <a:srgbClr val="9FA09E"/>
                </a:solidFill>
                <a:latin typeface="Barlow Medium"/>
                <a:ea typeface="Barlow Medium"/>
                <a:cs typeface="Barlow Medium"/>
                <a:sym typeface="Barlow Medium"/>
              </a:defRPr>
            </a:lvl1pPr>
          </a:lstStyle>
          <a:p>
            <a:pPr marL="0" marR="0" lvl="0" indent="0" algn="ctr" defTabSz="412750" rtl="0" eaLnBrk="1" fontAlgn="auto" latinLnBrk="0" hangingPunct="0">
              <a:lnSpc>
                <a:spcPct val="100000"/>
              </a:lnSpc>
              <a:spcBef>
                <a:spcPts val="0"/>
              </a:spcBef>
              <a:spcAft>
                <a:spcPts val="0"/>
              </a:spcAft>
              <a:buClrTx/>
              <a:buSzTx/>
              <a:buFontTx/>
              <a:buNone/>
              <a:tabLst/>
              <a:defRPr/>
            </a:pPr>
            <a:r>
              <a:rPr kumimoji="0" sz="1250" b="0" i="0" u="none" strike="noStrike" kern="0" cap="none" spc="0" normalizeH="0" baseline="0" noProof="0">
                <a:ln>
                  <a:noFill/>
                </a:ln>
                <a:solidFill>
                  <a:prstClr val="black">
                    <a:lumMod val="50000"/>
                    <a:lumOff val="50000"/>
                  </a:prstClr>
                </a:solidFill>
                <a:effectLst/>
                <a:uLnTx/>
                <a:uFillTx/>
                <a:latin typeface="HarmonyOS Sans SC Black"/>
                <a:ea typeface="+mj-ea"/>
                <a:sym typeface="Barlow Medium"/>
              </a:rPr>
              <a:t>Sample text</a:t>
            </a:r>
          </a:p>
        </p:txBody>
      </p:sp>
      <p:sp>
        <p:nvSpPr>
          <p:cNvPr id="22" name="Sample text">
            <a:extLst>
              <a:ext uri="{FF2B5EF4-FFF2-40B4-BE49-F238E27FC236}">
                <a16:creationId xmlns:a16="http://schemas.microsoft.com/office/drawing/2014/main" id="{B02A6305-B1EA-4C72-B8DF-F80C7BBEB418}"/>
              </a:ext>
            </a:extLst>
          </p:cNvPr>
          <p:cNvSpPr txBox="1"/>
          <p:nvPr/>
        </p:nvSpPr>
        <p:spPr>
          <a:xfrm>
            <a:off x="1167933" y="5475159"/>
            <a:ext cx="1009782" cy="290061"/>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5400" tIns="25400" rIns="25400" bIns="25400" numCol="1" anchor="t">
            <a:noAutofit/>
          </a:bodyPr>
          <a:lstStyle>
            <a:lvl1pPr algn="r">
              <a:defRPr sz="2500" b="0">
                <a:solidFill>
                  <a:srgbClr val="9FA09E"/>
                </a:solidFill>
                <a:latin typeface="Barlow Medium"/>
                <a:ea typeface="Barlow Medium"/>
                <a:cs typeface="Barlow Medium"/>
                <a:sym typeface="Barlow Medium"/>
              </a:defRPr>
            </a:lvl1pPr>
          </a:lstStyle>
          <a:p>
            <a:pPr marL="0" marR="0" lvl="0" indent="0" algn="ctr" defTabSz="412750" rtl="0" eaLnBrk="1" fontAlgn="auto" latinLnBrk="0" hangingPunct="0">
              <a:lnSpc>
                <a:spcPct val="100000"/>
              </a:lnSpc>
              <a:spcBef>
                <a:spcPts val="0"/>
              </a:spcBef>
              <a:spcAft>
                <a:spcPts val="0"/>
              </a:spcAft>
              <a:buClrTx/>
              <a:buSzTx/>
              <a:buFontTx/>
              <a:buNone/>
              <a:tabLst/>
              <a:defRPr/>
            </a:pPr>
            <a:r>
              <a:rPr kumimoji="0" sz="1250" b="0" i="0" u="none" strike="noStrike" kern="0" cap="none" spc="0" normalizeH="0" baseline="0" noProof="0" dirty="0">
                <a:ln>
                  <a:noFill/>
                </a:ln>
                <a:solidFill>
                  <a:prstClr val="black">
                    <a:lumMod val="50000"/>
                    <a:lumOff val="50000"/>
                  </a:prstClr>
                </a:solidFill>
                <a:effectLst/>
                <a:uLnTx/>
                <a:uFillTx/>
                <a:latin typeface="HarmonyOS Sans SC Black"/>
                <a:ea typeface="+mj-ea"/>
                <a:sym typeface="Barlow Medium"/>
              </a:rPr>
              <a:t>Sample text</a:t>
            </a:r>
          </a:p>
        </p:txBody>
      </p:sp>
      <p:sp>
        <p:nvSpPr>
          <p:cNvPr id="30" name="文本框 29">
            <a:extLst>
              <a:ext uri="{FF2B5EF4-FFF2-40B4-BE49-F238E27FC236}">
                <a16:creationId xmlns:a16="http://schemas.microsoft.com/office/drawing/2014/main" id="{96019785-5841-42F7-B8A8-7179B47824D0}"/>
              </a:ext>
            </a:extLst>
          </p:cNvPr>
          <p:cNvSpPr txBox="1"/>
          <p:nvPr/>
        </p:nvSpPr>
        <p:spPr>
          <a:xfrm>
            <a:off x="941388" y="918105"/>
            <a:ext cx="3932487"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2800" b="0" i="0" u="none" strike="noStrike" kern="1200" cap="none" spc="0" normalizeH="0" baseline="0" noProof="0" dirty="0">
                <a:ln>
                  <a:noFill/>
                </a:ln>
                <a:solidFill>
                  <a:prstClr val="black"/>
                </a:solidFill>
                <a:effectLst/>
                <a:uLnTx/>
                <a:uFillTx/>
                <a:latin typeface="HarmonyOS Sans Black"/>
                <a:ea typeface="+mj-ea"/>
                <a:cs typeface="+mn-cs"/>
              </a:rPr>
              <a:t>Process flow diagram</a:t>
            </a:r>
          </a:p>
        </p:txBody>
      </p:sp>
    </p:spTree>
    <p:extLst>
      <p:ext uri="{BB962C8B-B14F-4D97-AF65-F5344CB8AC3E}">
        <p14:creationId xmlns:p14="http://schemas.microsoft.com/office/powerpoint/2010/main" val="4176700447"/>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bg>
      <p:bgPr>
        <a:solidFill>
          <a:schemeClr val="bg1">
            <a:lumMod val="85000"/>
          </a:schemeClr>
        </a:solidFill>
        <a:effectLst/>
      </p:bgPr>
    </p:bg>
    <p:spTree>
      <p:nvGrpSpPr>
        <p:cNvPr id="1" name=""/>
        <p:cNvGrpSpPr/>
        <p:nvPr/>
      </p:nvGrpSpPr>
      <p:grpSpPr>
        <a:xfrm>
          <a:off x="0" y="0"/>
          <a:ext cx="0" cy="0"/>
          <a:chOff x="0" y="0"/>
          <a:chExt cx="0" cy="0"/>
        </a:xfrm>
      </p:grpSpPr>
      <p:sp>
        <p:nvSpPr>
          <p:cNvPr id="24" name="任意多边形: 形状 23">
            <a:extLst>
              <a:ext uri="{FF2B5EF4-FFF2-40B4-BE49-F238E27FC236}">
                <a16:creationId xmlns:a16="http://schemas.microsoft.com/office/drawing/2014/main" id="{B64A270C-CA20-4BEF-870A-F0FA696CF7A5}"/>
              </a:ext>
            </a:extLst>
          </p:cNvPr>
          <p:cNvSpPr/>
          <p:nvPr/>
        </p:nvSpPr>
        <p:spPr>
          <a:xfrm>
            <a:off x="0" y="0"/>
            <a:ext cx="9710928" cy="6858000"/>
          </a:xfrm>
          <a:custGeom>
            <a:avLst/>
            <a:gdLst>
              <a:gd name="connsiteX0" fmla="*/ 51898 w 9710928"/>
              <a:gd name="connsiteY0" fmla="*/ 0 h 6858000"/>
              <a:gd name="connsiteX1" fmla="*/ 9710928 w 9710928"/>
              <a:gd name="connsiteY1" fmla="*/ 0 h 6858000"/>
              <a:gd name="connsiteX2" fmla="*/ 7996428 w 9710928"/>
              <a:gd name="connsiteY2" fmla="*/ 6858000 h 6858000"/>
              <a:gd name="connsiteX3" fmla="*/ 0 w 9710928"/>
              <a:gd name="connsiteY3" fmla="*/ 6858000 h 6858000"/>
              <a:gd name="connsiteX4" fmla="*/ 0 w 9710928"/>
              <a:gd name="connsiteY4" fmla="*/ 207592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10928" h="6858000">
                <a:moveTo>
                  <a:pt x="51898" y="0"/>
                </a:moveTo>
                <a:lnTo>
                  <a:pt x="9710928" y="0"/>
                </a:lnTo>
                <a:lnTo>
                  <a:pt x="7996428" y="6858000"/>
                </a:lnTo>
                <a:lnTo>
                  <a:pt x="0" y="6858000"/>
                </a:lnTo>
                <a:lnTo>
                  <a:pt x="0" y="207592"/>
                </a:lnTo>
                <a:close/>
              </a:path>
            </a:pathLst>
          </a:custGeom>
          <a:solidFill>
            <a:schemeClr val="accent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6000" dirty="0"/>
          </a:p>
        </p:txBody>
      </p:sp>
      <p:sp>
        <p:nvSpPr>
          <p:cNvPr id="23" name="任意多边形: 形状 22">
            <a:extLst>
              <a:ext uri="{FF2B5EF4-FFF2-40B4-BE49-F238E27FC236}">
                <a16:creationId xmlns:a16="http://schemas.microsoft.com/office/drawing/2014/main" id="{4FAFDA7B-8DE4-4913-B91C-21BFA4001028}"/>
              </a:ext>
            </a:extLst>
          </p:cNvPr>
          <p:cNvSpPr/>
          <p:nvPr/>
        </p:nvSpPr>
        <p:spPr>
          <a:xfrm>
            <a:off x="0" y="0"/>
            <a:ext cx="9491472" cy="6858000"/>
          </a:xfrm>
          <a:custGeom>
            <a:avLst/>
            <a:gdLst>
              <a:gd name="connsiteX0" fmla="*/ 0 w 9491472"/>
              <a:gd name="connsiteY0" fmla="*/ 0 h 6858000"/>
              <a:gd name="connsiteX1" fmla="*/ 9491472 w 9491472"/>
              <a:gd name="connsiteY1" fmla="*/ 0 h 6858000"/>
              <a:gd name="connsiteX2" fmla="*/ 7776972 w 9491472"/>
              <a:gd name="connsiteY2" fmla="*/ 6858000 h 6858000"/>
              <a:gd name="connsiteX3" fmla="*/ 0 w 949147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9491472" h="6858000">
                <a:moveTo>
                  <a:pt x="0" y="0"/>
                </a:moveTo>
                <a:lnTo>
                  <a:pt x="9491472" y="0"/>
                </a:lnTo>
                <a:lnTo>
                  <a:pt x="7776972" y="6858000"/>
                </a:lnTo>
                <a:lnTo>
                  <a:pt x="0" y="68580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6000" dirty="0"/>
          </a:p>
        </p:txBody>
      </p:sp>
      <p:grpSp>
        <p:nvGrpSpPr>
          <p:cNvPr id="5" name="组合 4">
            <a:extLst>
              <a:ext uri="{FF2B5EF4-FFF2-40B4-BE49-F238E27FC236}">
                <a16:creationId xmlns:a16="http://schemas.microsoft.com/office/drawing/2014/main" id="{FB2CBAA5-9407-4105-A125-E5F80DF0CD8D}"/>
              </a:ext>
            </a:extLst>
          </p:cNvPr>
          <p:cNvGrpSpPr/>
          <p:nvPr/>
        </p:nvGrpSpPr>
        <p:grpSpPr>
          <a:xfrm>
            <a:off x="1033653" y="1922029"/>
            <a:ext cx="7191761" cy="2864093"/>
            <a:chOff x="397884" y="1476375"/>
            <a:chExt cx="8586330" cy="3419475"/>
          </a:xfrm>
        </p:grpSpPr>
        <p:sp>
          <p:nvSpPr>
            <p:cNvPr id="22" name="文本框 21">
              <a:extLst>
                <a:ext uri="{FF2B5EF4-FFF2-40B4-BE49-F238E27FC236}">
                  <a16:creationId xmlns:a16="http://schemas.microsoft.com/office/drawing/2014/main" id="{48658C3D-4517-4E29-BFD9-73130A61E547}"/>
                </a:ext>
              </a:extLst>
            </p:cNvPr>
            <p:cNvSpPr txBox="1"/>
            <p:nvPr/>
          </p:nvSpPr>
          <p:spPr>
            <a:xfrm>
              <a:off x="716405" y="2689431"/>
              <a:ext cx="8267809" cy="1102375"/>
            </a:xfrm>
            <a:prstGeom prst="rect">
              <a:avLst/>
            </a:prstGeom>
            <a:noFill/>
          </p:spPr>
          <p:txBody>
            <a:bodyPr wrap="none" lIns="0" tIns="0" rIns="0" bIns="0" rtlCol="0" anchor="t">
              <a:spAutoFit/>
            </a:bodyPr>
            <a:lstStyle/>
            <a:p>
              <a:pPr algn="ctr"/>
              <a:r>
                <a:rPr lang="zh-CN" altLang="en-US" sz="6000" dirty="0">
                  <a:solidFill>
                    <a:schemeClr val="bg1"/>
                  </a:solidFill>
                  <a:latin typeface="+mj-ea"/>
                  <a:ea typeface="+mj-ea"/>
                </a:rPr>
                <a:t>输入你的封面大标题</a:t>
              </a:r>
            </a:p>
          </p:txBody>
        </p:sp>
        <p:sp>
          <p:nvSpPr>
            <p:cNvPr id="26" name="文本框 25">
              <a:extLst>
                <a:ext uri="{FF2B5EF4-FFF2-40B4-BE49-F238E27FC236}">
                  <a16:creationId xmlns:a16="http://schemas.microsoft.com/office/drawing/2014/main" id="{B6E90A8A-3405-4300-A3BB-B1E43CB8BFF0}"/>
                </a:ext>
              </a:extLst>
            </p:cNvPr>
            <p:cNvSpPr txBox="1"/>
            <p:nvPr/>
          </p:nvSpPr>
          <p:spPr>
            <a:xfrm>
              <a:off x="799071" y="2282654"/>
              <a:ext cx="1929155" cy="330712"/>
            </a:xfrm>
            <a:prstGeom prst="rect">
              <a:avLst/>
            </a:prstGeom>
            <a:noFill/>
          </p:spPr>
          <p:txBody>
            <a:bodyPr wrap="none" lIns="0" tIns="0" rIns="0" bIns="0" rtlCol="0" anchor="t">
              <a:spAutoFit/>
            </a:bodyPr>
            <a:lstStyle/>
            <a:p>
              <a:r>
                <a:rPr lang="zh-CN" altLang="en-US" dirty="0">
                  <a:solidFill>
                    <a:schemeClr val="bg1"/>
                  </a:solidFill>
                  <a:latin typeface="+mn-ea"/>
                </a:rPr>
                <a:t>输入你的副标题</a:t>
              </a:r>
            </a:p>
          </p:txBody>
        </p:sp>
        <p:grpSp>
          <p:nvGrpSpPr>
            <p:cNvPr id="27" name="组合 26">
              <a:extLst>
                <a:ext uri="{FF2B5EF4-FFF2-40B4-BE49-F238E27FC236}">
                  <a16:creationId xmlns:a16="http://schemas.microsoft.com/office/drawing/2014/main" id="{25156534-1677-4D33-AF38-FDDA34AD07AB}"/>
                </a:ext>
              </a:extLst>
            </p:cNvPr>
            <p:cNvGrpSpPr/>
            <p:nvPr/>
          </p:nvGrpSpPr>
          <p:grpSpPr>
            <a:xfrm>
              <a:off x="791575" y="3964841"/>
              <a:ext cx="1352255" cy="220475"/>
              <a:chOff x="4095451" y="4640913"/>
              <a:chExt cx="1352255" cy="220475"/>
            </a:xfrm>
          </p:grpSpPr>
          <p:sp>
            <p:nvSpPr>
              <p:cNvPr id="28" name="矩形 27">
                <a:extLst>
                  <a:ext uri="{FF2B5EF4-FFF2-40B4-BE49-F238E27FC236}">
                    <a16:creationId xmlns:a16="http://schemas.microsoft.com/office/drawing/2014/main" id="{914E2EDE-04A1-4C79-8A42-8EE633F1791A}"/>
                  </a:ext>
                </a:extLst>
              </p:cNvPr>
              <p:cNvSpPr/>
              <p:nvPr/>
            </p:nvSpPr>
            <p:spPr>
              <a:xfrm>
                <a:off x="4095451" y="4672584"/>
                <a:ext cx="164592" cy="1645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4800" dirty="0">
                  <a:solidFill>
                    <a:schemeClr val="bg1"/>
                  </a:solidFill>
                </a:endParaRPr>
              </a:p>
            </p:txBody>
          </p:sp>
          <p:sp>
            <p:nvSpPr>
              <p:cNvPr id="29" name="文本框 28">
                <a:extLst>
                  <a:ext uri="{FF2B5EF4-FFF2-40B4-BE49-F238E27FC236}">
                    <a16:creationId xmlns:a16="http://schemas.microsoft.com/office/drawing/2014/main" id="{DC363E85-BA0E-4D5B-8260-CFBC45C8F734}"/>
                  </a:ext>
                </a:extLst>
              </p:cNvPr>
              <p:cNvSpPr txBox="1"/>
              <p:nvPr/>
            </p:nvSpPr>
            <p:spPr>
              <a:xfrm>
                <a:off x="4408488" y="4640913"/>
                <a:ext cx="1039218" cy="220475"/>
              </a:xfrm>
              <a:prstGeom prst="rect">
                <a:avLst/>
              </a:prstGeom>
              <a:noFill/>
            </p:spPr>
            <p:txBody>
              <a:bodyPr wrap="none" lIns="0" tIns="0" rIns="0" bIns="0" rtlCol="0" anchor="t">
                <a:spAutoFit/>
              </a:bodyPr>
              <a:lstStyle/>
              <a:p>
                <a:r>
                  <a:rPr lang="zh-CN" altLang="en-US" sz="1200" dirty="0">
                    <a:solidFill>
                      <a:schemeClr val="bg1"/>
                    </a:solidFill>
                    <a:latin typeface="+mn-ea"/>
                  </a:rPr>
                  <a:t>汇报人：</a:t>
                </a:r>
                <a:r>
                  <a:rPr lang="en-US" altLang="zh-CN" sz="1200" dirty="0">
                    <a:solidFill>
                      <a:schemeClr val="bg1"/>
                    </a:solidFill>
                    <a:latin typeface="+mn-ea"/>
                  </a:rPr>
                  <a:t>xxx</a:t>
                </a:r>
                <a:endParaRPr lang="zh-CN" altLang="en-US" sz="1200" dirty="0">
                  <a:solidFill>
                    <a:schemeClr val="bg1"/>
                  </a:solidFill>
                  <a:latin typeface="+mn-ea"/>
                </a:endParaRPr>
              </a:p>
            </p:txBody>
          </p:sp>
        </p:grpSp>
        <p:grpSp>
          <p:nvGrpSpPr>
            <p:cNvPr id="30" name="组合 29">
              <a:extLst>
                <a:ext uri="{FF2B5EF4-FFF2-40B4-BE49-F238E27FC236}">
                  <a16:creationId xmlns:a16="http://schemas.microsoft.com/office/drawing/2014/main" id="{F62C6FD7-ACFA-422B-88DC-DB2B42CDD668}"/>
                </a:ext>
              </a:extLst>
            </p:cNvPr>
            <p:cNvGrpSpPr/>
            <p:nvPr/>
          </p:nvGrpSpPr>
          <p:grpSpPr>
            <a:xfrm>
              <a:off x="791575" y="4431230"/>
              <a:ext cx="1168524" cy="220475"/>
              <a:chOff x="4095451" y="4640913"/>
              <a:chExt cx="1168524" cy="220475"/>
            </a:xfrm>
          </p:grpSpPr>
          <p:sp>
            <p:nvSpPr>
              <p:cNvPr id="31" name="矩形 30">
                <a:extLst>
                  <a:ext uri="{FF2B5EF4-FFF2-40B4-BE49-F238E27FC236}">
                    <a16:creationId xmlns:a16="http://schemas.microsoft.com/office/drawing/2014/main" id="{4363F212-EF16-457E-9BA2-5D9629C31D55}"/>
                  </a:ext>
                </a:extLst>
              </p:cNvPr>
              <p:cNvSpPr/>
              <p:nvPr/>
            </p:nvSpPr>
            <p:spPr>
              <a:xfrm>
                <a:off x="4095451" y="4672584"/>
                <a:ext cx="164592" cy="1645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4800" dirty="0">
                  <a:solidFill>
                    <a:schemeClr val="bg1"/>
                  </a:solidFill>
                </a:endParaRPr>
              </a:p>
            </p:txBody>
          </p:sp>
          <p:sp>
            <p:nvSpPr>
              <p:cNvPr id="32" name="文本框 31">
                <a:extLst>
                  <a:ext uri="{FF2B5EF4-FFF2-40B4-BE49-F238E27FC236}">
                    <a16:creationId xmlns:a16="http://schemas.microsoft.com/office/drawing/2014/main" id="{BEB4B3B9-2B90-4E90-8178-0CD5FFAF101D}"/>
                  </a:ext>
                </a:extLst>
              </p:cNvPr>
              <p:cNvSpPr txBox="1"/>
              <p:nvPr/>
            </p:nvSpPr>
            <p:spPr>
              <a:xfrm>
                <a:off x="4408486" y="4640913"/>
                <a:ext cx="855489" cy="220475"/>
              </a:xfrm>
              <a:prstGeom prst="rect">
                <a:avLst/>
              </a:prstGeom>
              <a:noFill/>
            </p:spPr>
            <p:txBody>
              <a:bodyPr wrap="none" lIns="0" tIns="0" rIns="0" bIns="0" rtlCol="0" anchor="t">
                <a:spAutoFit/>
              </a:bodyPr>
              <a:lstStyle/>
              <a:p>
                <a:r>
                  <a:rPr lang="zh-CN" altLang="en-US" sz="1200" dirty="0">
                    <a:solidFill>
                      <a:schemeClr val="bg1"/>
                    </a:solidFill>
                    <a:latin typeface="+mn-ea"/>
                  </a:rPr>
                  <a:t>单位：</a:t>
                </a:r>
                <a:r>
                  <a:rPr lang="en-US" altLang="zh-CN" sz="1200" dirty="0">
                    <a:solidFill>
                      <a:schemeClr val="bg1"/>
                    </a:solidFill>
                    <a:latin typeface="+mn-ea"/>
                  </a:rPr>
                  <a:t>xxx</a:t>
                </a:r>
                <a:endParaRPr lang="zh-CN" altLang="en-US" sz="1200" dirty="0">
                  <a:solidFill>
                    <a:schemeClr val="bg1"/>
                  </a:solidFill>
                  <a:latin typeface="+mn-ea"/>
                </a:endParaRPr>
              </a:p>
            </p:txBody>
          </p:sp>
        </p:grpSp>
        <p:grpSp>
          <p:nvGrpSpPr>
            <p:cNvPr id="33" name="组合 32">
              <a:extLst>
                <a:ext uri="{FF2B5EF4-FFF2-40B4-BE49-F238E27FC236}">
                  <a16:creationId xmlns:a16="http://schemas.microsoft.com/office/drawing/2014/main" id="{8380C770-A2C3-4DD0-B0CC-C0EF577B5652}"/>
                </a:ext>
              </a:extLst>
            </p:cNvPr>
            <p:cNvGrpSpPr/>
            <p:nvPr/>
          </p:nvGrpSpPr>
          <p:grpSpPr>
            <a:xfrm>
              <a:off x="397884" y="1476375"/>
              <a:ext cx="3023835" cy="3419475"/>
              <a:chOff x="942623" y="902047"/>
              <a:chExt cx="3090862" cy="4541207"/>
            </a:xfrm>
          </p:grpSpPr>
          <p:cxnSp>
            <p:nvCxnSpPr>
              <p:cNvPr id="34" name="直接连接符 49">
                <a:extLst>
                  <a:ext uri="{FF2B5EF4-FFF2-40B4-BE49-F238E27FC236}">
                    <a16:creationId xmlns:a16="http://schemas.microsoft.com/office/drawing/2014/main" id="{41ABF298-AF72-44B7-86DE-70BD473969D9}"/>
                  </a:ext>
                </a:extLst>
              </p:cNvPr>
              <p:cNvCxnSpPr/>
              <p:nvPr/>
            </p:nvCxnSpPr>
            <p:spPr>
              <a:xfrm>
                <a:off x="942623" y="902047"/>
                <a:ext cx="3090862" cy="0"/>
              </a:xfrm>
              <a:prstGeom prst="line">
                <a:avLst/>
              </a:prstGeom>
              <a:ln w="34925" cap="sq">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5" name="直接连接符 50">
                <a:extLst>
                  <a:ext uri="{FF2B5EF4-FFF2-40B4-BE49-F238E27FC236}">
                    <a16:creationId xmlns:a16="http://schemas.microsoft.com/office/drawing/2014/main" id="{F42E2120-450C-4F0C-B442-5677F41D2D45}"/>
                  </a:ext>
                </a:extLst>
              </p:cNvPr>
              <p:cNvCxnSpPr>
                <a:cxnSpLocks/>
              </p:cNvCxnSpPr>
              <p:nvPr/>
            </p:nvCxnSpPr>
            <p:spPr>
              <a:xfrm>
                <a:off x="942623" y="5443254"/>
                <a:ext cx="3089627" cy="0"/>
              </a:xfrm>
              <a:prstGeom prst="line">
                <a:avLst/>
              </a:prstGeom>
              <a:ln w="34925" cap="sq">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6" name="直接连接符 51">
                <a:extLst>
                  <a:ext uri="{FF2B5EF4-FFF2-40B4-BE49-F238E27FC236}">
                    <a16:creationId xmlns:a16="http://schemas.microsoft.com/office/drawing/2014/main" id="{E3623781-E210-457C-A7F0-35A24DA0B655}"/>
                  </a:ext>
                </a:extLst>
              </p:cNvPr>
              <p:cNvCxnSpPr>
                <a:cxnSpLocks/>
              </p:cNvCxnSpPr>
              <p:nvPr/>
            </p:nvCxnSpPr>
            <p:spPr>
              <a:xfrm>
                <a:off x="942623" y="902047"/>
                <a:ext cx="0" cy="4541207"/>
              </a:xfrm>
              <a:prstGeom prst="line">
                <a:avLst/>
              </a:prstGeom>
              <a:ln w="34925" cap="sq">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7" name="直接连接符 52">
                <a:extLst>
                  <a:ext uri="{FF2B5EF4-FFF2-40B4-BE49-F238E27FC236}">
                    <a16:creationId xmlns:a16="http://schemas.microsoft.com/office/drawing/2014/main" id="{A45D3BA6-9C15-4F95-98F6-443D68FBE5D5}"/>
                  </a:ext>
                </a:extLst>
              </p:cNvPr>
              <p:cNvCxnSpPr>
                <a:cxnSpLocks/>
              </p:cNvCxnSpPr>
              <p:nvPr/>
            </p:nvCxnSpPr>
            <p:spPr>
              <a:xfrm>
                <a:off x="4033485" y="902047"/>
                <a:ext cx="0" cy="1388657"/>
              </a:xfrm>
              <a:prstGeom prst="line">
                <a:avLst/>
              </a:prstGeom>
              <a:ln w="34925" cap="sq">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8" name="直接连接符 53">
                <a:extLst>
                  <a:ext uri="{FF2B5EF4-FFF2-40B4-BE49-F238E27FC236}">
                    <a16:creationId xmlns:a16="http://schemas.microsoft.com/office/drawing/2014/main" id="{2A9EE539-F973-426E-B81D-82589CE722A7}"/>
                  </a:ext>
                </a:extLst>
              </p:cNvPr>
              <p:cNvCxnSpPr>
                <a:cxnSpLocks/>
              </p:cNvCxnSpPr>
              <p:nvPr/>
            </p:nvCxnSpPr>
            <p:spPr>
              <a:xfrm>
                <a:off x="4033485" y="4275581"/>
                <a:ext cx="0" cy="1163194"/>
              </a:xfrm>
              <a:prstGeom prst="line">
                <a:avLst/>
              </a:prstGeom>
              <a:ln w="34925" cap="sq">
                <a:solidFill>
                  <a:schemeClr val="bg1"/>
                </a:solidFill>
              </a:ln>
            </p:spPr>
            <p:style>
              <a:lnRef idx="1">
                <a:schemeClr val="accent1"/>
              </a:lnRef>
              <a:fillRef idx="0">
                <a:schemeClr val="accent1"/>
              </a:fillRef>
              <a:effectRef idx="0">
                <a:schemeClr val="accent1"/>
              </a:effectRef>
              <a:fontRef idx="minor">
                <a:schemeClr val="tx1"/>
              </a:fontRef>
            </p:style>
          </p:cxnSp>
        </p:grpSp>
      </p:grpSp>
      <p:sp>
        <p:nvSpPr>
          <p:cNvPr id="19" name="任意多边形: 形状 18">
            <a:extLst>
              <a:ext uri="{FF2B5EF4-FFF2-40B4-BE49-F238E27FC236}">
                <a16:creationId xmlns:a16="http://schemas.microsoft.com/office/drawing/2014/main" id="{6F6A85CC-E397-49D5-A8A5-3C589FEA89F5}"/>
              </a:ext>
            </a:extLst>
          </p:cNvPr>
          <p:cNvSpPr/>
          <p:nvPr/>
        </p:nvSpPr>
        <p:spPr>
          <a:xfrm>
            <a:off x="9615807" y="2874353"/>
            <a:ext cx="1331826" cy="1221507"/>
          </a:xfrm>
          <a:custGeom>
            <a:avLst/>
            <a:gdLst>
              <a:gd name="connsiteX0" fmla="*/ 1006264 w 1331826"/>
              <a:gd name="connsiteY0" fmla="*/ 238125 h 1221507"/>
              <a:gd name="connsiteX1" fmla="*/ 1123466 w 1331826"/>
              <a:gd name="connsiteY1" fmla="*/ 355327 h 1221507"/>
              <a:gd name="connsiteX2" fmla="*/ 1006264 w 1331826"/>
              <a:gd name="connsiteY2" fmla="*/ 472529 h 1221507"/>
              <a:gd name="connsiteX3" fmla="*/ 889062 w 1331826"/>
              <a:gd name="connsiteY3" fmla="*/ 355327 h 1221507"/>
              <a:gd name="connsiteX4" fmla="*/ 1006264 w 1331826"/>
              <a:gd name="connsiteY4" fmla="*/ 238125 h 1221507"/>
              <a:gd name="connsiteX5" fmla="*/ 172827 w 1331826"/>
              <a:gd name="connsiteY5" fmla="*/ 104180 h 1221507"/>
              <a:gd name="connsiteX6" fmla="*/ 105482 w 1331826"/>
              <a:gd name="connsiteY6" fmla="*/ 171152 h 1221507"/>
              <a:gd name="connsiteX7" fmla="*/ 105482 w 1331826"/>
              <a:gd name="connsiteY7" fmla="*/ 726281 h 1221507"/>
              <a:gd name="connsiteX8" fmla="*/ 179152 w 1331826"/>
              <a:gd name="connsiteY8" fmla="*/ 599777 h 1221507"/>
              <a:gd name="connsiteX9" fmla="*/ 303795 w 1331826"/>
              <a:gd name="connsiteY9" fmla="*/ 490761 h 1221507"/>
              <a:gd name="connsiteX10" fmla="*/ 414300 w 1331826"/>
              <a:gd name="connsiteY10" fmla="*/ 507504 h 1221507"/>
              <a:gd name="connsiteX11" fmla="*/ 731676 w 1331826"/>
              <a:gd name="connsiteY11" fmla="*/ 856878 h 1221507"/>
              <a:gd name="connsiteX12" fmla="*/ 780790 w 1331826"/>
              <a:gd name="connsiteY12" fmla="*/ 791022 h 1221507"/>
              <a:gd name="connsiteX13" fmla="*/ 988777 w 1331826"/>
              <a:gd name="connsiteY13" fmla="*/ 633264 h 1221507"/>
              <a:gd name="connsiteX14" fmla="*/ 1093329 w 1331826"/>
              <a:gd name="connsiteY14" fmla="*/ 666006 h 1221507"/>
              <a:gd name="connsiteX15" fmla="*/ 1227646 w 1331826"/>
              <a:gd name="connsiteY15" fmla="*/ 821159 h 1221507"/>
              <a:gd name="connsiteX16" fmla="*/ 1227646 w 1331826"/>
              <a:gd name="connsiteY16" fmla="*/ 171152 h 1221507"/>
              <a:gd name="connsiteX17" fmla="*/ 1160673 w 1331826"/>
              <a:gd name="connsiteY17" fmla="*/ 104180 h 1221507"/>
              <a:gd name="connsiteX18" fmla="*/ 172827 w 1331826"/>
              <a:gd name="connsiteY18" fmla="*/ 0 h 1221507"/>
              <a:gd name="connsiteX19" fmla="*/ 1160673 w 1331826"/>
              <a:gd name="connsiteY19" fmla="*/ 0 h 1221507"/>
              <a:gd name="connsiteX20" fmla="*/ 1331826 w 1331826"/>
              <a:gd name="connsiteY20" fmla="*/ 171152 h 1221507"/>
              <a:gd name="connsiteX21" fmla="*/ 1331826 w 1331826"/>
              <a:gd name="connsiteY21" fmla="*/ 1050355 h 1221507"/>
              <a:gd name="connsiteX22" fmla="*/ 1160673 w 1331826"/>
              <a:gd name="connsiteY22" fmla="*/ 1221507 h 1221507"/>
              <a:gd name="connsiteX23" fmla="*/ 172827 w 1331826"/>
              <a:gd name="connsiteY23" fmla="*/ 1221507 h 1221507"/>
              <a:gd name="connsiteX24" fmla="*/ 1674 w 1331826"/>
              <a:gd name="connsiteY24" fmla="*/ 1050355 h 1221507"/>
              <a:gd name="connsiteX25" fmla="*/ 1674 w 1331826"/>
              <a:gd name="connsiteY25" fmla="*/ 1006450 h 1221507"/>
              <a:gd name="connsiteX26" fmla="*/ 1674 w 1331826"/>
              <a:gd name="connsiteY26" fmla="*/ 980405 h 1221507"/>
              <a:gd name="connsiteX27" fmla="*/ 1674 w 1331826"/>
              <a:gd name="connsiteY27" fmla="*/ 171152 h 1221507"/>
              <a:gd name="connsiteX28" fmla="*/ 172827 w 1331826"/>
              <a:gd name="connsiteY28" fmla="*/ 0 h 1221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31826" h="1221507">
                <a:moveTo>
                  <a:pt x="1006264" y="238125"/>
                </a:moveTo>
                <a:cubicBezTo>
                  <a:pt x="1070993" y="238125"/>
                  <a:pt x="1123466" y="290598"/>
                  <a:pt x="1123466" y="355327"/>
                </a:cubicBezTo>
                <a:cubicBezTo>
                  <a:pt x="1123466" y="420056"/>
                  <a:pt x="1070993" y="472529"/>
                  <a:pt x="1006264" y="472529"/>
                </a:cubicBezTo>
                <a:cubicBezTo>
                  <a:pt x="941535" y="472529"/>
                  <a:pt x="889062" y="420056"/>
                  <a:pt x="889062" y="355327"/>
                </a:cubicBezTo>
                <a:cubicBezTo>
                  <a:pt x="889062" y="290598"/>
                  <a:pt x="941535" y="238125"/>
                  <a:pt x="1006264" y="238125"/>
                </a:cubicBezTo>
                <a:close/>
                <a:moveTo>
                  <a:pt x="172827" y="104180"/>
                </a:moveTo>
                <a:cubicBezTo>
                  <a:pt x="135620" y="104180"/>
                  <a:pt x="105854" y="133945"/>
                  <a:pt x="105482" y="171152"/>
                </a:cubicBezTo>
                <a:lnTo>
                  <a:pt x="105482" y="726281"/>
                </a:lnTo>
                <a:cubicBezTo>
                  <a:pt x="130411" y="676424"/>
                  <a:pt x="154967" y="634008"/>
                  <a:pt x="179152" y="599777"/>
                </a:cubicBezTo>
                <a:cubicBezTo>
                  <a:pt x="220824" y="540246"/>
                  <a:pt x="261751" y="504527"/>
                  <a:pt x="303795" y="490761"/>
                </a:cubicBezTo>
                <a:cubicBezTo>
                  <a:pt x="342491" y="478110"/>
                  <a:pt x="380442" y="483691"/>
                  <a:pt x="414300" y="507504"/>
                </a:cubicBezTo>
                <a:cubicBezTo>
                  <a:pt x="528526" y="587871"/>
                  <a:pt x="663215" y="762372"/>
                  <a:pt x="731676" y="856878"/>
                </a:cubicBezTo>
                <a:cubicBezTo>
                  <a:pt x="745443" y="837158"/>
                  <a:pt x="762186" y="814090"/>
                  <a:pt x="780790" y="791022"/>
                </a:cubicBezTo>
                <a:cubicBezTo>
                  <a:pt x="858552" y="693911"/>
                  <a:pt x="926641" y="642193"/>
                  <a:pt x="988777" y="633264"/>
                </a:cubicBezTo>
                <a:cubicBezTo>
                  <a:pt x="1028216" y="627683"/>
                  <a:pt x="1064307" y="638845"/>
                  <a:pt x="1093329" y="666006"/>
                </a:cubicBezTo>
                <a:cubicBezTo>
                  <a:pt x="1142070" y="711398"/>
                  <a:pt x="1188951" y="768697"/>
                  <a:pt x="1227646" y="821159"/>
                </a:cubicBezTo>
                <a:lnTo>
                  <a:pt x="1227646" y="171152"/>
                </a:lnTo>
                <a:cubicBezTo>
                  <a:pt x="1227646" y="134317"/>
                  <a:pt x="1197508" y="104180"/>
                  <a:pt x="1160673" y="104180"/>
                </a:cubicBezTo>
                <a:close/>
                <a:moveTo>
                  <a:pt x="172827" y="0"/>
                </a:moveTo>
                <a:lnTo>
                  <a:pt x="1160673" y="0"/>
                </a:lnTo>
                <a:cubicBezTo>
                  <a:pt x="1255179" y="0"/>
                  <a:pt x="1331826" y="76646"/>
                  <a:pt x="1331826" y="171152"/>
                </a:cubicBezTo>
                <a:lnTo>
                  <a:pt x="1331826" y="1050355"/>
                </a:lnTo>
                <a:cubicBezTo>
                  <a:pt x="1331826" y="1144860"/>
                  <a:pt x="1255179" y="1221507"/>
                  <a:pt x="1160673" y="1221507"/>
                </a:cubicBezTo>
                <a:lnTo>
                  <a:pt x="172827" y="1221507"/>
                </a:lnTo>
                <a:cubicBezTo>
                  <a:pt x="78321" y="1221507"/>
                  <a:pt x="1674" y="1144860"/>
                  <a:pt x="1674" y="1050355"/>
                </a:cubicBezTo>
                <a:lnTo>
                  <a:pt x="1674" y="1006450"/>
                </a:lnTo>
                <a:cubicBezTo>
                  <a:pt x="-558" y="997893"/>
                  <a:pt x="-558" y="989335"/>
                  <a:pt x="1674" y="980405"/>
                </a:cubicBezTo>
                <a:lnTo>
                  <a:pt x="1674" y="171152"/>
                </a:lnTo>
                <a:cubicBezTo>
                  <a:pt x="1674" y="76646"/>
                  <a:pt x="78321" y="0"/>
                  <a:pt x="172827" y="0"/>
                </a:cubicBezTo>
                <a:close/>
              </a:path>
            </a:pathLst>
          </a:custGeom>
          <a:solidFill>
            <a:schemeClr val="bg1"/>
          </a:solidFill>
          <a:ln w="1860" cap="flat">
            <a:noFill/>
            <a:prstDash val="solid"/>
            <a:miter/>
          </a:ln>
        </p:spPr>
        <p:txBody>
          <a:bodyPr rtlCol="0" anchor="ctr"/>
          <a:lstStyle/>
          <a:p>
            <a:endParaRPr lang="zh-CN" altLang="en-US"/>
          </a:p>
        </p:txBody>
      </p:sp>
    </p:spTree>
    <p:extLst>
      <p:ext uri="{BB962C8B-B14F-4D97-AF65-F5344CB8AC3E}">
        <p14:creationId xmlns:p14="http://schemas.microsoft.com/office/powerpoint/2010/main" val="4017828045"/>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5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5">
            <a:extLst>
              <a:ext uri="{FF2B5EF4-FFF2-40B4-BE49-F238E27FC236}">
                <a16:creationId xmlns:a16="http://schemas.microsoft.com/office/drawing/2014/main" id="{0C1861FB-08F0-476D-A902-F6DCF279DE8E}"/>
              </a:ext>
            </a:extLst>
          </p:cNvPr>
          <p:cNvSpPr>
            <a:spLocks/>
          </p:cNvSpPr>
          <p:nvPr/>
        </p:nvSpPr>
        <p:spPr bwMode="auto">
          <a:xfrm>
            <a:off x="6809626" y="2279147"/>
            <a:ext cx="983369" cy="1278232"/>
          </a:xfrm>
          <a:custGeom>
            <a:avLst/>
            <a:gdLst>
              <a:gd name="T0" fmla="*/ 599 w 693"/>
              <a:gd name="T1" fmla="*/ 347 h 901"/>
              <a:gd name="T2" fmla="*/ 375 w 693"/>
              <a:gd name="T3" fmla="*/ 0 h 901"/>
              <a:gd name="T4" fmla="*/ 264 w 693"/>
              <a:gd name="T5" fmla="*/ 112 h 901"/>
              <a:gd name="T6" fmla="*/ 272 w 693"/>
              <a:gd name="T7" fmla="*/ 139 h 901"/>
              <a:gd name="T8" fmla="*/ 267 w 693"/>
              <a:gd name="T9" fmla="*/ 251 h 901"/>
              <a:gd name="T10" fmla="*/ 218 w 693"/>
              <a:gd name="T11" fmla="*/ 268 h 901"/>
              <a:gd name="T12" fmla="*/ 122 w 693"/>
              <a:gd name="T13" fmla="*/ 255 h 901"/>
              <a:gd name="T14" fmla="*/ 1 w 693"/>
              <a:gd name="T15" fmla="*/ 376 h 901"/>
              <a:gd name="T16" fmla="*/ 0 w 693"/>
              <a:gd name="T17" fmla="*/ 378 h 901"/>
              <a:gd name="T18" fmla="*/ 162 w 693"/>
              <a:gd name="T19" fmla="*/ 807 h 901"/>
              <a:gd name="T20" fmla="*/ 388 w 693"/>
              <a:gd name="T21" fmla="*/ 807 h 901"/>
              <a:gd name="T22" fmla="*/ 447 w 693"/>
              <a:gd name="T23" fmla="*/ 901 h 901"/>
              <a:gd name="T24" fmla="*/ 507 w 693"/>
              <a:gd name="T25" fmla="*/ 807 h 901"/>
              <a:gd name="T26" fmla="*/ 693 w 693"/>
              <a:gd name="T27" fmla="*/ 807 h 901"/>
              <a:gd name="T28" fmla="*/ 599 w 693"/>
              <a:gd name="T29" fmla="*/ 347 h 9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93" h="901">
                <a:moveTo>
                  <a:pt x="599" y="347"/>
                </a:moveTo>
                <a:cubicBezTo>
                  <a:pt x="545" y="218"/>
                  <a:pt x="470" y="102"/>
                  <a:pt x="375" y="0"/>
                </a:cubicBezTo>
                <a:cubicBezTo>
                  <a:pt x="264" y="112"/>
                  <a:pt x="264" y="112"/>
                  <a:pt x="264" y="112"/>
                </a:cubicBezTo>
                <a:cubicBezTo>
                  <a:pt x="267" y="120"/>
                  <a:pt x="269" y="129"/>
                  <a:pt x="272" y="139"/>
                </a:cubicBezTo>
                <a:cubicBezTo>
                  <a:pt x="285" y="190"/>
                  <a:pt x="292" y="225"/>
                  <a:pt x="267" y="251"/>
                </a:cubicBezTo>
                <a:cubicBezTo>
                  <a:pt x="249" y="268"/>
                  <a:pt x="227" y="268"/>
                  <a:pt x="218" y="268"/>
                </a:cubicBezTo>
                <a:cubicBezTo>
                  <a:pt x="194" y="268"/>
                  <a:pt x="151" y="261"/>
                  <a:pt x="122" y="255"/>
                </a:cubicBezTo>
                <a:cubicBezTo>
                  <a:pt x="1" y="376"/>
                  <a:pt x="1" y="376"/>
                  <a:pt x="1" y="376"/>
                </a:cubicBezTo>
                <a:cubicBezTo>
                  <a:pt x="1" y="377"/>
                  <a:pt x="0" y="377"/>
                  <a:pt x="0" y="378"/>
                </a:cubicBezTo>
                <a:cubicBezTo>
                  <a:pt x="100" y="493"/>
                  <a:pt x="161" y="643"/>
                  <a:pt x="162" y="807"/>
                </a:cubicBezTo>
                <a:cubicBezTo>
                  <a:pt x="388" y="807"/>
                  <a:pt x="388" y="807"/>
                  <a:pt x="388" y="807"/>
                </a:cubicBezTo>
                <a:cubicBezTo>
                  <a:pt x="447" y="901"/>
                  <a:pt x="447" y="901"/>
                  <a:pt x="447" y="901"/>
                </a:cubicBezTo>
                <a:cubicBezTo>
                  <a:pt x="507" y="807"/>
                  <a:pt x="507" y="807"/>
                  <a:pt x="507" y="807"/>
                </a:cubicBezTo>
                <a:cubicBezTo>
                  <a:pt x="693" y="807"/>
                  <a:pt x="693" y="807"/>
                  <a:pt x="693" y="807"/>
                </a:cubicBezTo>
                <a:cubicBezTo>
                  <a:pt x="692" y="648"/>
                  <a:pt x="661" y="493"/>
                  <a:pt x="599" y="347"/>
                </a:cubicBezTo>
                <a:close/>
              </a:path>
            </a:pathLst>
          </a:custGeom>
          <a:gradFill flip="none" rotWithShape="1">
            <a:gsLst>
              <a:gs pos="73000">
                <a:schemeClr val="accent1"/>
              </a:gs>
              <a:gs pos="31000">
                <a:schemeClr val="accent1">
                  <a:lumMod val="60000"/>
                  <a:lumOff val="40000"/>
                </a:schemeClr>
              </a:gs>
              <a:gs pos="0">
                <a:schemeClr val="accent1">
                  <a:lumMod val="40000"/>
                  <a:lumOff val="60000"/>
                </a:schemeClr>
              </a:gs>
            </a:gsLst>
            <a:lin ang="1620000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3" name="Freeform 6">
            <a:extLst>
              <a:ext uri="{FF2B5EF4-FFF2-40B4-BE49-F238E27FC236}">
                <a16:creationId xmlns:a16="http://schemas.microsoft.com/office/drawing/2014/main" id="{6203EE26-7CEA-4501-B841-E14A25E7AB5E}"/>
              </a:ext>
            </a:extLst>
          </p:cNvPr>
          <p:cNvSpPr>
            <a:spLocks/>
          </p:cNvSpPr>
          <p:nvPr/>
        </p:nvSpPr>
        <p:spPr bwMode="auto">
          <a:xfrm>
            <a:off x="6772768" y="3498407"/>
            <a:ext cx="1018752" cy="1119006"/>
          </a:xfrm>
          <a:custGeom>
            <a:avLst/>
            <a:gdLst>
              <a:gd name="T0" fmla="*/ 562 w 718"/>
              <a:gd name="T1" fmla="*/ 0 h 789"/>
              <a:gd name="T2" fmla="*/ 517 w 718"/>
              <a:gd name="T3" fmla="*/ 70 h 789"/>
              <a:gd name="T4" fmla="*/ 473 w 718"/>
              <a:gd name="T5" fmla="*/ 94 h 789"/>
              <a:gd name="T6" fmla="*/ 429 w 718"/>
              <a:gd name="T7" fmla="*/ 70 h 789"/>
              <a:gd name="T8" fmla="*/ 385 w 718"/>
              <a:gd name="T9" fmla="*/ 0 h 789"/>
              <a:gd name="T10" fmla="*/ 188 w 718"/>
              <a:gd name="T11" fmla="*/ 0 h 789"/>
              <a:gd name="T12" fmla="*/ 186 w 718"/>
              <a:gd name="T13" fmla="*/ 0 h 789"/>
              <a:gd name="T14" fmla="*/ 0 w 718"/>
              <a:gd name="T15" fmla="*/ 414 h 789"/>
              <a:gd name="T16" fmla="*/ 152 w 718"/>
              <a:gd name="T17" fmla="*/ 565 h 789"/>
              <a:gd name="T18" fmla="*/ 125 w 718"/>
              <a:gd name="T19" fmla="*/ 688 h 789"/>
              <a:gd name="T20" fmla="*/ 248 w 718"/>
              <a:gd name="T21" fmla="*/ 661 h 789"/>
              <a:gd name="T22" fmla="*/ 376 w 718"/>
              <a:gd name="T23" fmla="*/ 789 h 789"/>
              <a:gd name="T24" fmla="*/ 625 w 718"/>
              <a:gd name="T25" fmla="*/ 417 h 789"/>
              <a:gd name="T26" fmla="*/ 718 w 718"/>
              <a:gd name="T27" fmla="*/ 0 h 789"/>
              <a:gd name="T28" fmla="*/ 562 w 718"/>
              <a:gd name="T29" fmla="*/ 0 h 7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18" h="789">
                <a:moveTo>
                  <a:pt x="562" y="0"/>
                </a:moveTo>
                <a:cubicBezTo>
                  <a:pt x="517" y="70"/>
                  <a:pt x="517" y="70"/>
                  <a:pt x="517" y="70"/>
                </a:cubicBezTo>
                <a:cubicBezTo>
                  <a:pt x="508" y="85"/>
                  <a:pt x="491" y="94"/>
                  <a:pt x="473" y="94"/>
                </a:cubicBezTo>
                <a:cubicBezTo>
                  <a:pt x="455" y="94"/>
                  <a:pt x="439" y="85"/>
                  <a:pt x="429" y="70"/>
                </a:cubicBezTo>
                <a:cubicBezTo>
                  <a:pt x="385" y="0"/>
                  <a:pt x="385" y="0"/>
                  <a:pt x="385" y="0"/>
                </a:cubicBezTo>
                <a:cubicBezTo>
                  <a:pt x="188" y="0"/>
                  <a:pt x="188" y="0"/>
                  <a:pt x="188" y="0"/>
                </a:cubicBezTo>
                <a:cubicBezTo>
                  <a:pt x="187" y="0"/>
                  <a:pt x="187" y="0"/>
                  <a:pt x="186" y="0"/>
                </a:cubicBezTo>
                <a:cubicBezTo>
                  <a:pt x="175" y="160"/>
                  <a:pt x="106" y="305"/>
                  <a:pt x="0" y="414"/>
                </a:cubicBezTo>
                <a:cubicBezTo>
                  <a:pt x="152" y="565"/>
                  <a:pt x="152" y="565"/>
                  <a:pt x="152" y="565"/>
                </a:cubicBezTo>
                <a:cubicBezTo>
                  <a:pt x="125" y="688"/>
                  <a:pt x="125" y="688"/>
                  <a:pt x="125" y="688"/>
                </a:cubicBezTo>
                <a:cubicBezTo>
                  <a:pt x="248" y="661"/>
                  <a:pt x="248" y="661"/>
                  <a:pt x="248" y="661"/>
                </a:cubicBezTo>
                <a:cubicBezTo>
                  <a:pt x="376" y="789"/>
                  <a:pt x="376" y="789"/>
                  <a:pt x="376" y="789"/>
                </a:cubicBezTo>
                <a:cubicBezTo>
                  <a:pt x="483" y="681"/>
                  <a:pt x="566" y="556"/>
                  <a:pt x="625" y="417"/>
                </a:cubicBezTo>
                <a:cubicBezTo>
                  <a:pt x="681" y="284"/>
                  <a:pt x="712" y="144"/>
                  <a:pt x="718" y="0"/>
                </a:cubicBezTo>
                <a:lnTo>
                  <a:pt x="562" y="0"/>
                </a:lnTo>
                <a:close/>
              </a:path>
            </a:pathLst>
          </a:custGeom>
          <a:gradFill flip="none" rotWithShape="1">
            <a:gsLst>
              <a:gs pos="73000">
                <a:schemeClr val="accent1"/>
              </a:gs>
              <a:gs pos="31000">
                <a:schemeClr val="accent1">
                  <a:lumMod val="60000"/>
                  <a:lumOff val="40000"/>
                </a:schemeClr>
              </a:gs>
              <a:gs pos="0">
                <a:schemeClr val="accent1">
                  <a:lumMod val="40000"/>
                  <a:lumOff val="60000"/>
                </a:schemeClr>
              </a:gs>
            </a:gsLst>
            <a:lin ang="1890000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4" name="Freeform 7">
            <a:extLst>
              <a:ext uri="{FF2B5EF4-FFF2-40B4-BE49-F238E27FC236}">
                <a16:creationId xmlns:a16="http://schemas.microsoft.com/office/drawing/2014/main" id="{0C16CD32-8F18-4848-B264-9EFF235E84F3}"/>
              </a:ext>
            </a:extLst>
          </p:cNvPr>
          <p:cNvSpPr>
            <a:spLocks/>
          </p:cNvSpPr>
          <p:nvPr/>
        </p:nvSpPr>
        <p:spPr bwMode="auto">
          <a:xfrm>
            <a:off x="6166825" y="1738074"/>
            <a:ext cx="1123428" cy="1023175"/>
          </a:xfrm>
          <a:custGeom>
            <a:avLst/>
            <a:gdLst>
              <a:gd name="T0" fmla="*/ 792 w 792"/>
              <a:gd name="T1" fmla="*/ 344 h 721"/>
              <a:gd name="T2" fmla="*/ 417 w 792"/>
              <a:gd name="T3" fmla="*/ 93 h 721"/>
              <a:gd name="T4" fmla="*/ 0 w 792"/>
              <a:gd name="T5" fmla="*/ 0 h 721"/>
              <a:gd name="T6" fmla="*/ 0 w 792"/>
              <a:gd name="T7" fmla="*/ 182 h 721"/>
              <a:gd name="T8" fmla="*/ 89 w 792"/>
              <a:gd name="T9" fmla="*/ 238 h 721"/>
              <a:gd name="T10" fmla="*/ 113 w 792"/>
              <a:gd name="T11" fmla="*/ 282 h 721"/>
              <a:gd name="T12" fmla="*/ 89 w 792"/>
              <a:gd name="T13" fmla="*/ 326 h 721"/>
              <a:gd name="T14" fmla="*/ 0 w 792"/>
              <a:gd name="T15" fmla="*/ 383 h 721"/>
              <a:gd name="T16" fmla="*/ 0 w 792"/>
              <a:gd name="T17" fmla="*/ 530 h 721"/>
              <a:gd name="T18" fmla="*/ 0 w 792"/>
              <a:gd name="T19" fmla="*/ 532 h 721"/>
              <a:gd name="T20" fmla="*/ 417 w 792"/>
              <a:gd name="T21" fmla="*/ 721 h 721"/>
              <a:gd name="T22" fmla="*/ 558 w 792"/>
              <a:gd name="T23" fmla="*/ 579 h 721"/>
              <a:gd name="T24" fmla="*/ 683 w 792"/>
              <a:gd name="T25" fmla="*/ 595 h 721"/>
              <a:gd name="T26" fmla="*/ 659 w 792"/>
              <a:gd name="T27" fmla="*/ 478 h 721"/>
              <a:gd name="T28" fmla="*/ 792 w 792"/>
              <a:gd name="T29" fmla="*/ 344 h 7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92" h="721">
                <a:moveTo>
                  <a:pt x="792" y="344"/>
                </a:moveTo>
                <a:cubicBezTo>
                  <a:pt x="683" y="236"/>
                  <a:pt x="557" y="152"/>
                  <a:pt x="417" y="93"/>
                </a:cubicBezTo>
                <a:cubicBezTo>
                  <a:pt x="284" y="36"/>
                  <a:pt x="144" y="5"/>
                  <a:pt x="0" y="0"/>
                </a:cubicBezTo>
                <a:cubicBezTo>
                  <a:pt x="0" y="182"/>
                  <a:pt x="0" y="182"/>
                  <a:pt x="0" y="182"/>
                </a:cubicBezTo>
                <a:cubicBezTo>
                  <a:pt x="89" y="238"/>
                  <a:pt x="89" y="238"/>
                  <a:pt x="89" y="238"/>
                </a:cubicBezTo>
                <a:cubicBezTo>
                  <a:pt x="104" y="248"/>
                  <a:pt x="113" y="264"/>
                  <a:pt x="113" y="282"/>
                </a:cubicBezTo>
                <a:cubicBezTo>
                  <a:pt x="113" y="300"/>
                  <a:pt x="104" y="317"/>
                  <a:pt x="89" y="326"/>
                </a:cubicBezTo>
                <a:cubicBezTo>
                  <a:pt x="0" y="383"/>
                  <a:pt x="0" y="383"/>
                  <a:pt x="0" y="383"/>
                </a:cubicBezTo>
                <a:cubicBezTo>
                  <a:pt x="0" y="530"/>
                  <a:pt x="0" y="530"/>
                  <a:pt x="0" y="530"/>
                </a:cubicBezTo>
                <a:cubicBezTo>
                  <a:pt x="0" y="531"/>
                  <a:pt x="0" y="531"/>
                  <a:pt x="0" y="532"/>
                </a:cubicBezTo>
                <a:cubicBezTo>
                  <a:pt x="162" y="543"/>
                  <a:pt x="308" y="613"/>
                  <a:pt x="417" y="721"/>
                </a:cubicBezTo>
                <a:cubicBezTo>
                  <a:pt x="558" y="579"/>
                  <a:pt x="558" y="579"/>
                  <a:pt x="558" y="579"/>
                </a:cubicBezTo>
                <a:cubicBezTo>
                  <a:pt x="683" y="595"/>
                  <a:pt x="683" y="595"/>
                  <a:pt x="683" y="595"/>
                </a:cubicBezTo>
                <a:cubicBezTo>
                  <a:pt x="659" y="478"/>
                  <a:pt x="659" y="478"/>
                  <a:pt x="659" y="478"/>
                </a:cubicBezTo>
                <a:lnTo>
                  <a:pt x="792" y="344"/>
                </a:lnTo>
                <a:close/>
              </a:path>
            </a:pathLst>
          </a:custGeom>
          <a:gradFill flip="none" rotWithShape="1">
            <a:gsLst>
              <a:gs pos="73000">
                <a:schemeClr val="accent1"/>
              </a:gs>
              <a:gs pos="31000">
                <a:schemeClr val="accent1">
                  <a:lumMod val="60000"/>
                  <a:lumOff val="40000"/>
                </a:schemeClr>
              </a:gs>
              <a:gs pos="0">
                <a:schemeClr val="accent1">
                  <a:lumMod val="40000"/>
                  <a:lumOff val="60000"/>
                </a:schemeClr>
              </a:gs>
            </a:gsLst>
            <a:lin ang="1350000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5" name="Freeform 8">
            <a:extLst>
              <a:ext uri="{FF2B5EF4-FFF2-40B4-BE49-F238E27FC236}">
                <a16:creationId xmlns:a16="http://schemas.microsoft.com/office/drawing/2014/main" id="{B556F117-A461-411E-B326-A7C87FB31E2D}"/>
              </a:ext>
            </a:extLst>
          </p:cNvPr>
          <p:cNvSpPr>
            <a:spLocks/>
          </p:cNvSpPr>
          <p:nvPr/>
        </p:nvSpPr>
        <p:spPr bwMode="auto">
          <a:xfrm>
            <a:off x="5942729" y="4136785"/>
            <a:ext cx="1310667" cy="986317"/>
          </a:xfrm>
          <a:custGeom>
            <a:avLst/>
            <a:gdLst>
              <a:gd name="T0" fmla="*/ 816 w 923"/>
              <a:gd name="T1" fmla="*/ 268 h 695"/>
              <a:gd name="T2" fmla="*/ 720 w 923"/>
              <a:gd name="T3" fmla="*/ 289 h 695"/>
              <a:gd name="T4" fmla="*/ 709 w 923"/>
              <a:gd name="T5" fmla="*/ 291 h 695"/>
              <a:gd name="T6" fmla="*/ 672 w 923"/>
              <a:gd name="T7" fmla="*/ 275 h 695"/>
              <a:gd name="T8" fmla="*/ 658 w 923"/>
              <a:gd name="T9" fmla="*/ 227 h 695"/>
              <a:gd name="T10" fmla="*/ 679 w 923"/>
              <a:gd name="T11" fmla="*/ 132 h 695"/>
              <a:gd name="T12" fmla="*/ 547 w 923"/>
              <a:gd name="T13" fmla="*/ 1 h 695"/>
              <a:gd name="T14" fmla="*/ 546 w 923"/>
              <a:gd name="T15" fmla="*/ 0 h 695"/>
              <a:gd name="T16" fmla="*/ 110 w 923"/>
              <a:gd name="T17" fmla="*/ 164 h 695"/>
              <a:gd name="T18" fmla="*/ 104 w 923"/>
              <a:gd name="T19" fmla="*/ 164 h 695"/>
              <a:gd name="T20" fmla="*/ 104 w 923"/>
              <a:gd name="T21" fmla="*/ 351 h 695"/>
              <a:gd name="T22" fmla="*/ 0 w 923"/>
              <a:gd name="T23" fmla="*/ 418 h 695"/>
              <a:gd name="T24" fmla="*/ 104 w 923"/>
              <a:gd name="T25" fmla="*/ 484 h 695"/>
              <a:gd name="T26" fmla="*/ 104 w 923"/>
              <a:gd name="T27" fmla="*/ 695 h 695"/>
              <a:gd name="T28" fmla="*/ 110 w 923"/>
              <a:gd name="T29" fmla="*/ 695 h 695"/>
              <a:gd name="T30" fmla="*/ 574 w 923"/>
              <a:gd name="T31" fmla="*/ 602 h 695"/>
              <a:gd name="T32" fmla="*/ 923 w 923"/>
              <a:gd name="T33" fmla="*/ 375 h 695"/>
              <a:gd name="T34" fmla="*/ 816 w 923"/>
              <a:gd name="T35" fmla="*/ 268 h 6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23" h="695">
                <a:moveTo>
                  <a:pt x="816" y="268"/>
                </a:moveTo>
                <a:cubicBezTo>
                  <a:pt x="720" y="289"/>
                  <a:pt x="720" y="289"/>
                  <a:pt x="720" y="289"/>
                </a:cubicBezTo>
                <a:cubicBezTo>
                  <a:pt x="716" y="290"/>
                  <a:pt x="713" y="291"/>
                  <a:pt x="709" y="291"/>
                </a:cubicBezTo>
                <a:cubicBezTo>
                  <a:pt x="695" y="291"/>
                  <a:pt x="682" y="285"/>
                  <a:pt x="672" y="275"/>
                </a:cubicBezTo>
                <a:cubicBezTo>
                  <a:pt x="659" y="263"/>
                  <a:pt x="654" y="245"/>
                  <a:pt x="658" y="227"/>
                </a:cubicBezTo>
                <a:cubicBezTo>
                  <a:pt x="679" y="132"/>
                  <a:pt x="679" y="132"/>
                  <a:pt x="679" y="132"/>
                </a:cubicBezTo>
                <a:cubicBezTo>
                  <a:pt x="547" y="1"/>
                  <a:pt x="547" y="1"/>
                  <a:pt x="547" y="1"/>
                </a:cubicBezTo>
                <a:cubicBezTo>
                  <a:pt x="547" y="0"/>
                  <a:pt x="547" y="0"/>
                  <a:pt x="546" y="0"/>
                </a:cubicBezTo>
                <a:cubicBezTo>
                  <a:pt x="430" y="102"/>
                  <a:pt x="277" y="164"/>
                  <a:pt x="110" y="164"/>
                </a:cubicBezTo>
                <a:cubicBezTo>
                  <a:pt x="108" y="164"/>
                  <a:pt x="106" y="164"/>
                  <a:pt x="104" y="164"/>
                </a:cubicBezTo>
                <a:cubicBezTo>
                  <a:pt x="104" y="351"/>
                  <a:pt x="104" y="351"/>
                  <a:pt x="104" y="351"/>
                </a:cubicBezTo>
                <a:cubicBezTo>
                  <a:pt x="0" y="418"/>
                  <a:pt x="0" y="418"/>
                  <a:pt x="0" y="418"/>
                </a:cubicBezTo>
                <a:cubicBezTo>
                  <a:pt x="104" y="484"/>
                  <a:pt x="104" y="484"/>
                  <a:pt x="104" y="484"/>
                </a:cubicBezTo>
                <a:cubicBezTo>
                  <a:pt x="104" y="695"/>
                  <a:pt x="104" y="695"/>
                  <a:pt x="104" y="695"/>
                </a:cubicBezTo>
                <a:cubicBezTo>
                  <a:pt x="106" y="695"/>
                  <a:pt x="108" y="695"/>
                  <a:pt x="110" y="695"/>
                </a:cubicBezTo>
                <a:cubicBezTo>
                  <a:pt x="271" y="695"/>
                  <a:pt x="427" y="664"/>
                  <a:pt x="574" y="602"/>
                </a:cubicBezTo>
                <a:cubicBezTo>
                  <a:pt x="703" y="547"/>
                  <a:pt x="821" y="471"/>
                  <a:pt x="923" y="375"/>
                </a:cubicBezTo>
                <a:lnTo>
                  <a:pt x="816" y="268"/>
                </a:lnTo>
                <a:close/>
              </a:path>
            </a:pathLst>
          </a:custGeom>
          <a:gradFill flip="none" rotWithShape="1">
            <a:gsLst>
              <a:gs pos="73000">
                <a:schemeClr val="accent1"/>
              </a:gs>
              <a:gs pos="31000">
                <a:schemeClr val="accent1">
                  <a:lumMod val="60000"/>
                  <a:lumOff val="40000"/>
                </a:schemeClr>
              </a:gs>
              <a:gs pos="0">
                <a:schemeClr val="accent1">
                  <a:lumMod val="40000"/>
                  <a:lumOff val="60000"/>
                </a:schemeClr>
              </a:gs>
            </a:gsLst>
            <a:lin ang="1890000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6" name="Freeform 9">
            <a:extLst>
              <a:ext uri="{FF2B5EF4-FFF2-40B4-BE49-F238E27FC236}">
                <a16:creationId xmlns:a16="http://schemas.microsoft.com/office/drawing/2014/main" id="{796976FA-F1BD-484E-9591-5426EDAE9B93}"/>
              </a:ext>
            </a:extLst>
          </p:cNvPr>
          <p:cNvSpPr>
            <a:spLocks/>
          </p:cNvSpPr>
          <p:nvPr/>
        </p:nvSpPr>
        <p:spPr bwMode="auto">
          <a:xfrm>
            <a:off x="4400595" y="3303797"/>
            <a:ext cx="983369" cy="1278232"/>
          </a:xfrm>
          <a:custGeom>
            <a:avLst/>
            <a:gdLst>
              <a:gd name="T0" fmla="*/ 94 w 693"/>
              <a:gd name="T1" fmla="*/ 555 h 901"/>
              <a:gd name="T2" fmla="*/ 318 w 693"/>
              <a:gd name="T3" fmla="*/ 901 h 901"/>
              <a:gd name="T4" fmla="*/ 428 w 693"/>
              <a:gd name="T5" fmla="*/ 790 h 901"/>
              <a:gd name="T6" fmla="*/ 421 w 693"/>
              <a:gd name="T7" fmla="*/ 763 h 901"/>
              <a:gd name="T8" fmla="*/ 426 w 693"/>
              <a:gd name="T9" fmla="*/ 651 h 901"/>
              <a:gd name="T10" fmla="*/ 475 w 693"/>
              <a:gd name="T11" fmla="*/ 633 h 901"/>
              <a:gd name="T12" fmla="*/ 571 w 693"/>
              <a:gd name="T13" fmla="*/ 646 h 901"/>
              <a:gd name="T14" fmla="*/ 692 w 693"/>
              <a:gd name="T15" fmla="*/ 525 h 901"/>
              <a:gd name="T16" fmla="*/ 693 w 693"/>
              <a:gd name="T17" fmla="*/ 524 h 901"/>
              <a:gd name="T18" fmla="*/ 531 w 693"/>
              <a:gd name="T19" fmla="*/ 94 h 901"/>
              <a:gd name="T20" fmla="*/ 305 w 693"/>
              <a:gd name="T21" fmla="*/ 94 h 901"/>
              <a:gd name="T22" fmla="*/ 245 w 693"/>
              <a:gd name="T23" fmla="*/ 0 h 901"/>
              <a:gd name="T24" fmla="*/ 186 w 693"/>
              <a:gd name="T25" fmla="*/ 94 h 901"/>
              <a:gd name="T26" fmla="*/ 0 w 693"/>
              <a:gd name="T27" fmla="*/ 94 h 901"/>
              <a:gd name="T28" fmla="*/ 94 w 693"/>
              <a:gd name="T29" fmla="*/ 555 h 9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93" h="901">
                <a:moveTo>
                  <a:pt x="94" y="555"/>
                </a:moveTo>
                <a:cubicBezTo>
                  <a:pt x="148" y="683"/>
                  <a:pt x="223" y="799"/>
                  <a:pt x="318" y="901"/>
                </a:cubicBezTo>
                <a:cubicBezTo>
                  <a:pt x="428" y="790"/>
                  <a:pt x="428" y="790"/>
                  <a:pt x="428" y="790"/>
                </a:cubicBezTo>
                <a:cubicBezTo>
                  <a:pt x="426" y="781"/>
                  <a:pt x="423" y="772"/>
                  <a:pt x="421" y="763"/>
                </a:cubicBezTo>
                <a:cubicBezTo>
                  <a:pt x="408" y="711"/>
                  <a:pt x="401" y="676"/>
                  <a:pt x="426" y="651"/>
                </a:cubicBezTo>
                <a:cubicBezTo>
                  <a:pt x="444" y="633"/>
                  <a:pt x="466" y="633"/>
                  <a:pt x="475" y="633"/>
                </a:cubicBezTo>
                <a:cubicBezTo>
                  <a:pt x="499" y="633"/>
                  <a:pt x="542" y="641"/>
                  <a:pt x="571" y="646"/>
                </a:cubicBezTo>
                <a:cubicBezTo>
                  <a:pt x="692" y="525"/>
                  <a:pt x="692" y="525"/>
                  <a:pt x="692" y="525"/>
                </a:cubicBezTo>
                <a:cubicBezTo>
                  <a:pt x="692" y="524"/>
                  <a:pt x="693" y="524"/>
                  <a:pt x="693" y="524"/>
                </a:cubicBezTo>
                <a:cubicBezTo>
                  <a:pt x="593" y="408"/>
                  <a:pt x="532" y="258"/>
                  <a:pt x="531" y="94"/>
                </a:cubicBezTo>
                <a:cubicBezTo>
                  <a:pt x="305" y="94"/>
                  <a:pt x="305" y="94"/>
                  <a:pt x="305" y="94"/>
                </a:cubicBezTo>
                <a:cubicBezTo>
                  <a:pt x="245" y="0"/>
                  <a:pt x="245" y="0"/>
                  <a:pt x="245" y="0"/>
                </a:cubicBezTo>
                <a:cubicBezTo>
                  <a:pt x="186" y="94"/>
                  <a:pt x="186" y="94"/>
                  <a:pt x="186" y="94"/>
                </a:cubicBezTo>
                <a:cubicBezTo>
                  <a:pt x="0" y="94"/>
                  <a:pt x="0" y="94"/>
                  <a:pt x="0" y="94"/>
                </a:cubicBezTo>
                <a:cubicBezTo>
                  <a:pt x="0" y="254"/>
                  <a:pt x="32" y="409"/>
                  <a:pt x="94" y="555"/>
                </a:cubicBezTo>
                <a:close/>
              </a:path>
            </a:pathLst>
          </a:custGeom>
          <a:gradFill flip="none" rotWithShape="1">
            <a:gsLst>
              <a:gs pos="73000">
                <a:schemeClr val="accent1"/>
              </a:gs>
              <a:gs pos="31000">
                <a:schemeClr val="accent1">
                  <a:lumMod val="60000"/>
                  <a:lumOff val="40000"/>
                </a:schemeClr>
              </a:gs>
              <a:gs pos="0">
                <a:schemeClr val="accent1">
                  <a:lumMod val="40000"/>
                  <a:lumOff val="60000"/>
                </a:schemeClr>
              </a:gs>
            </a:gsLst>
            <a:lin ang="540000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7" name="Freeform 10">
            <a:extLst>
              <a:ext uri="{FF2B5EF4-FFF2-40B4-BE49-F238E27FC236}">
                <a16:creationId xmlns:a16="http://schemas.microsoft.com/office/drawing/2014/main" id="{9123D004-34B3-4949-8AF1-D8A2F2934113}"/>
              </a:ext>
            </a:extLst>
          </p:cNvPr>
          <p:cNvSpPr>
            <a:spLocks/>
          </p:cNvSpPr>
          <p:nvPr/>
        </p:nvSpPr>
        <p:spPr bwMode="auto">
          <a:xfrm>
            <a:off x="4402069" y="2243764"/>
            <a:ext cx="1018752" cy="1119006"/>
          </a:xfrm>
          <a:custGeom>
            <a:avLst/>
            <a:gdLst>
              <a:gd name="T0" fmla="*/ 156 w 718"/>
              <a:gd name="T1" fmla="*/ 789 h 789"/>
              <a:gd name="T2" fmla="*/ 200 w 718"/>
              <a:gd name="T3" fmla="*/ 719 h 789"/>
              <a:gd name="T4" fmla="*/ 244 w 718"/>
              <a:gd name="T5" fmla="*/ 695 h 789"/>
              <a:gd name="T6" fmla="*/ 289 w 718"/>
              <a:gd name="T7" fmla="*/ 719 h 789"/>
              <a:gd name="T8" fmla="*/ 333 w 718"/>
              <a:gd name="T9" fmla="*/ 789 h 789"/>
              <a:gd name="T10" fmla="*/ 530 w 718"/>
              <a:gd name="T11" fmla="*/ 789 h 789"/>
              <a:gd name="T12" fmla="*/ 532 w 718"/>
              <a:gd name="T13" fmla="*/ 789 h 789"/>
              <a:gd name="T14" fmla="*/ 718 w 718"/>
              <a:gd name="T15" fmla="*/ 376 h 789"/>
              <a:gd name="T16" fmla="*/ 566 w 718"/>
              <a:gd name="T17" fmla="*/ 224 h 789"/>
              <a:gd name="T18" fmla="*/ 593 w 718"/>
              <a:gd name="T19" fmla="*/ 101 h 789"/>
              <a:gd name="T20" fmla="*/ 470 w 718"/>
              <a:gd name="T21" fmla="*/ 128 h 789"/>
              <a:gd name="T22" fmla="*/ 341 w 718"/>
              <a:gd name="T23" fmla="*/ 0 h 789"/>
              <a:gd name="T24" fmla="*/ 93 w 718"/>
              <a:gd name="T25" fmla="*/ 373 h 789"/>
              <a:gd name="T26" fmla="*/ 0 w 718"/>
              <a:gd name="T27" fmla="*/ 789 h 789"/>
              <a:gd name="T28" fmla="*/ 156 w 718"/>
              <a:gd name="T29" fmla="*/ 789 h 7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18" h="789">
                <a:moveTo>
                  <a:pt x="156" y="789"/>
                </a:moveTo>
                <a:cubicBezTo>
                  <a:pt x="200" y="719"/>
                  <a:pt x="200" y="719"/>
                  <a:pt x="200" y="719"/>
                </a:cubicBezTo>
                <a:cubicBezTo>
                  <a:pt x="210" y="704"/>
                  <a:pt x="227" y="695"/>
                  <a:pt x="244" y="695"/>
                </a:cubicBezTo>
                <a:cubicBezTo>
                  <a:pt x="262" y="695"/>
                  <a:pt x="279" y="704"/>
                  <a:pt x="289" y="719"/>
                </a:cubicBezTo>
                <a:cubicBezTo>
                  <a:pt x="333" y="789"/>
                  <a:pt x="333" y="789"/>
                  <a:pt x="333" y="789"/>
                </a:cubicBezTo>
                <a:cubicBezTo>
                  <a:pt x="530" y="789"/>
                  <a:pt x="530" y="789"/>
                  <a:pt x="530" y="789"/>
                </a:cubicBezTo>
                <a:cubicBezTo>
                  <a:pt x="531" y="789"/>
                  <a:pt x="531" y="789"/>
                  <a:pt x="532" y="789"/>
                </a:cubicBezTo>
                <a:cubicBezTo>
                  <a:pt x="543" y="629"/>
                  <a:pt x="612" y="484"/>
                  <a:pt x="718" y="376"/>
                </a:cubicBezTo>
                <a:cubicBezTo>
                  <a:pt x="566" y="224"/>
                  <a:pt x="566" y="224"/>
                  <a:pt x="566" y="224"/>
                </a:cubicBezTo>
                <a:cubicBezTo>
                  <a:pt x="593" y="101"/>
                  <a:pt x="593" y="101"/>
                  <a:pt x="593" y="101"/>
                </a:cubicBezTo>
                <a:cubicBezTo>
                  <a:pt x="470" y="128"/>
                  <a:pt x="470" y="128"/>
                  <a:pt x="470" y="128"/>
                </a:cubicBezTo>
                <a:cubicBezTo>
                  <a:pt x="341" y="0"/>
                  <a:pt x="341" y="0"/>
                  <a:pt x="341" y="0"/>
                </a:cubicBezTo>
                <a:cubicBezTo>
                  <a:pt x="235" y="108"/>
                  <a:pt x="152" y="233"/>
                  <a:pt x="93" y="373"/>
                </a:cubicBezTo>
                <a:cubicBezTo>
                  <a:pt x="37" y="505"/>
                  <a:pt x="6" y="645"/>
                  <a:pt x="0" y="789"/>
                </a:cubicBezTo>
                <a:lnTo>
                  <a:pt x="156" y="789"/>
                </a:lnTo>
                <a:close/>
              </a:path>
            </a:pathLst>
          </a:custGeom>
          <a:gradFill flip="none" rotWithShape="1">
            <a:gsLst>
              <a:gs pos="73000">
                <a:schemeClr val="accent1"/>
              </a:gs>
              <a:gs pos="31000">
                <a:schemeClr val="accent1">
                  <a:lumMod val="60000"/>
                  <a:lumOff val="40000"/>
                </a:schemeClr>
              </a:gs>
              <a:gs pos="0">
                <a:schemeClr val="accent1">
                  <a:lumMod val="40000"/>
                  <a:lumOff val="60000"/>
                </a:schemeClr>
              </a:gs>
            </a:gsLst>
            <a:lin ang="810000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8" name="Freeform 11">
            <a:extLst>
              <a:ext uri="{FF2B5EF4-FFF2-40B4-BE49-F238E27FC236}">
                <a16:creationId xmlns:a16="http://schemas.microsoft.com/office/drawing/2014/main" id="{F667157D-BB51-4B54-AC99-0C910487F2C1}"/>
              </a:ext>
            </a:extLst>
          </p:cNvPr>
          <p:cNvSpPr>
            <a:spLocks/>
          </p:cNvSpPr>
          <p:nvPr/>
        </p:nvSpPr>
        <p:spPr bwMode="auto">
          <a:xfrm>
            <a:off x="4903336" y="4101401"/>
            <a:ext cx="1123428" cy="1021701"/>
          </a:xfrm>
          <a:custGeom>
            <a:avLst/>
            <a:gdLst>
              <a:gd name="T0" fmla="*/ 0 w 792"/>
              <a:gd name="T1" fmla="*/ 376 h 720"/>
              <a:gd name="T2" fmla="*/ 375 w 792"/>
              <a:gd name="T3" fmla="*/ 628 h 720"/>
              <a:gd name="T4" fmla="*/ 792 w 792"/>
              <a:gd name="T5" fmla="*/ 720 h 720"/>
              <a:gd name="T6" fmla="*/ 792 w 792"/>
              <a:gd name="T7" fmla="*/ 539 h 720"/>
              <a:gd name="T8" fmla="*/ 703 w 792"/>
              <a:gd name="T9" fmla="*/ 482 h 720"/>
              <a:gd name="T10" fmla="*/ 679 w 792"/>
              <a:gd name="T11" fmla="*/ 438 h 720"/>
              <a:gd name="T12" fmla="*/ 703 w 792"/>
              <a:gd name="T13" fmla="*/ 394 h 720"/>
              <a:gd name="T14" fmla="*/ 792 w 792"/>
              <a:gd name="T15" fmla="*/ 337 h 720"/>
              <a:gd name="T16" fmla="*/ 792 w 792"/>
              <a:gd name="T17" fmla="*/ 190 h 720"/>
              <a:gd name="T18" fmla="*/ 792 w 792"/>
              <a:gd name="T19" fmla="*/ 189 h 720"/>
              <a:gd name="T20" fmla="*/ 375 w 792"/>
              <a:gd name="T21" fmla="*/ 0 h 720"/>
              <a:gd name="T22" fmla="*/ 234 w 792"/>
              <a:gd name="T23" fmla="*/ 141 h 720"/>
              <a:gd name="T24" fmla="*/ 109 w 792"/>
              <a:gd name="T25" fmla="*/ 126 h 720"/>
              <a:gd name="T26" fmla="*/ 133 w 792"/>
              <a:gd name="T27" fmla="*/ 242 h 720"/>
              <a:gd name="T28" fmla="*/ 0 w 792"/>
              <a:gd name="T29" fmla="*/ 376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92" h="720">
                <a:moveTo>
                  <a:pt x="0" y="376"/>
                </a:moveTo>
                <a:cubicBezTo>
                  <a:pt x="108" y="484"/>
                  <a:pt x="234" y="568"/>
                  <a:pt x="375" y="628"/>
                </a:cubicBezTo>
                <a:cubicBezTo>
                  <a:pt x="507" y="684"/>
                  <a:pt x="648" y="715"/>
                  <a:pt x="792" y="720"/>
                </a:cubicBezTo>
                <a:cubicBezTo>
                  <a:pt x="792" y="539"/>
                  <a:pt x="792" y="539"/>
                  <a:pt x="792" y="539"/>
                </a:cubicBezTo>
                <a:cubicBezTo>
                  <a:pt x="703" y="482"/>
                  <a:pt x="703" y="482"/>
                  <a:pt x="703" y="482"/>
                </a:cubicBezTo>
                <a:cubicBezTo>
                  <a:pt x="688" y="473"/>
                  <a:pt x="679" y="456"/>
                  <a:pt x="679" y="438"/>
                </a:cubicBezTo>
                <a:cubicBezTo>
                  <a:pt x="679" y="420"/>
                  <a:pt x="688" y="404"/>
                  <a:pt x="703" y="394"/>
                </a:cubicBezTo>
                <a:cubicBezTo>
                  <a:pt x="792" y="337"/>
                  <a:pt x="792" y="337"/>
                  <a:pt x="792" y="337"/>
                </a:cubicBezTo>
                <a:cubicBezTo>
                  <a:pt x="792" y="190"/>
                  <a:pt x="792" y="190"/>
                  <a:pt x="792" y="190"/>
                </a:cubicBezTo>
                <a:cubicBezTo>
                  <a:pt x="792" y="190"/>
                  <a:pt x="792" y="189"/>
                  <a:pt x="792" y="189"/>
                </a:cubicBezTo>
                <a:cubicBezTo>
                  <a:pt x="630" y="177"/>
                  <a:pt x="484" y="107"/>
                  <a:pt x="375" y="0"/>
                </a:cubicBezTo>
                <a:cubicBezTo>
                  <a:pt x="234" y="141"/>
                  <a:pt x="234" y="141"/>
                  <a:pt x="234" y="141"/>
                </a:cubicBezTo>
                <a:cubicBezTo>
                  <a:pt x="109" y="126"/>
                  <a:pt x="109" y="126"/>
                  <a:pt x="109" y="126"/>
                </a:cubicBezTo>
                <a:cubicBezTo>
                  <a:pt x="133" y="242"/>
                  <a:pt x="133" y="242"/>
                  <a:pt x="133" y="242"/>
                </a:cubicBezTo>
                <a:lnTo>
                  <a:pt x="0" y="376"/>
                </a:lnTo>
                <a:close/>
              </a:path>
            </a:pathLst>
          </a:custGeom>
          <a:gradFill flip="none" rotWithShape="1">
            <a:gsLst>
              <a:gs pos="73000">
                <a:schemeClr val="accent1"/>
              </a:gs>
              <a:gs pos="31000">
                <a:schemeClr val="accent1">
                  <a:lumMod val="60000"/>
                  <a:lumOff val="40000"/>
                </a:schemeClr>
              </a:gs>
              <a:gs pos="0">
                <a:schemeClr val="accent1">
                  <a:lumMod val="40000"/>
                  <a:lumOff val="60000"/>
                </a:schemeClr>
              </a:gs>
            </a:gsLst>
            <a:lin ang="270000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9" name="Freeform 12">
            <a:extLst>
              <a:ext uri="{FF2B5EF4-FFF2-40B4-BE49-F238E27FC236}">
                <a16:creationId xmlns:a16="http://schemas.microsoft.com/office/drawing/2014/main" id="{3C49F0E5-9D7E-43B8-9B42-861D107DF5F2}"/>
              </a:ext>
            </a:extLst>
          </p:cNvPr>
          <p:cNvSpPr>
            <a:spLocks/>
          </p:cNvSpPr>
          <p:nvPr/>
        </p:nvSpPr>
        <p:spPr bwMode="auto">
          <a:xfrm>
            <a:off x="4940194" y="1738074"/>
            <a:ext cx="1309192" cy="987791"/>
          </a:xfrm>
          <a:custGeom>
            <a:avLst/>
            <a:gdLst>
              <a:gd name="T0" fmla="*/ 107 w 923"/>
              <a:gd name="T1" fmla="*/ 427 h 696"/>
              <a:gd name="T2" fmla="*/ 203 w 923"/>
              <a:gd name="T3" fmla="*/ 406 h 696"/>
              <a:gd name="T4" fmla="*/ 214 w 923"/>
              <a:gd name="T5" fmla="*/ 405 h 696"/>
              <a:gd name="T6" fmla="*/ 251 w 923"/>
              <a:gd name="T7" fmla="*/ 420 h 696"/>
              <a:gd name="T8" fmla="*/ 265 w 923"/>
              <a:gd name="T9" fmla="*/ 468 h 696"/>
              <a:gd name="T10" fmla="*/ 244 w 923"/>
              <a:gd name="T11" fmla="*/ 563 h 696"/>
              <a:gd name="T12" fmla="*/ 376 w 923"/>
              <a:gd name="T13" fmla="*/ 695 h 696"/>
              <a:gd name="T14" fmla="*/ 376 w 923"/>
              <a:gd name="T15" fmla="*/ 696 h 696"/>
              <a:gd name="T16" fmla="*/ 813 w 923"/>
              <a:gd name="T17" fmla="*/ 531 h 696"/>
              <a:gd name="T18" fmla="*/ 818 w 923"/>
              <a:gd name="T19" fmla="*/ 531 h 696"/>
              <a:gd name="T20" fmla="*/ 818 w 923"/>
              <a:gd name="T21" fmla="*/ 348 h 696"/>
              <a:gd name="T22" fmla="*/ 923 w 923"/>
              <a:gd name="T23" fmla="*/ 281 h 696"/>
              <a:gd name="T24" fmla="*/ 818 w 923"/>
              <a:gd name="T25" fmla="*/ 215 h 696"/>
              <a:gd name="T26" fmla="*/ 818 w 923"/>
              <a:gd name="T27" fmla="*/ 0 h 696"/>
              <a:gd name="T28" fmla="*/ 813 w 923"/>
              <a:gd name="T29" fmla="*/ 0 h 696"/>
              <a:gd name="T30" fmla="*/ 349 w 923"/>
              <a:gd name="T31" fmla="*/ 94 h 696"/>
              <a:gd name="T32" fmla="*/ 0 w 923"/>
              <a:gd name="T33" fmla="*/ 320 h 696"/>
              <a:gd name="T34" fmla="*/ 107 w 923"/>
              <a:gd name="T35" fmla="*/ 427 h 6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23" h="696">
                <a:moveTo>
                  <a:pt x="107" y="427"/>
                </a:moveTo>
                <a:cubicBezTo>
                  <a:pt x="203" y="406"/>
                  <a:pt x="203" y="406"/>
                  <a:pt x="203" y="406"/>
                </a:cubicBezTo>
                <a:cubicBezTo>
                  <a:pt x="206" y="405"/>
                  <a:pt x="210" y="405"/>
                  <a:pt x="214" y="405"/>
                </a:cubicBezTo>
                <a:cubicBezTo>
                  <a:pt x="228" y="405"/>
                  <a:pt x="241" y="410"/>
                  <a:pt x="251" y="420"/>
                </a:cubicBezTo>
                <a:cubicBezTo>
                  <a:pt x="264" y="433"/>
                  <a:pt x="269" y="451"/>
                  <a:pt x="265" y="468"/>
                </a:cubicBezTo>
                <a:cubicBezTo>
                  <a:pt x="244" y="563"/>
                  <a:pt x="244" y="563"/>
                  <a:pt x="244" y="563"/>
                </a:cubicBezTo>
                <a:cubicBezTo>
                  <a:pt x="376" y="695"/>
                  <a:pt x="376" y="695"/>
                  <a:pt x="376" y="695"/>
                </a:cubicBezTo>
                <a:cubicBezTo>
                  <a:pt x="376" y="695"/>
                  <a:pt x="376" y="695"/>
                  <a:pt x="376" y="696"/>
                </a:cubicBezTo>
                <a:cubicBezTo>
                  <a:pt x="493" y="593"/>
                  <a:pt x="646" y="531"/>
                  <a:pt x="813" y="531"/>
                </a:cubicBezTo>
                <a:cubicBezTo>
                  <a:pt x="815" y="531"/>
                  <a:pt x="817" y="531"/>
                  <a:pt x="818" y="531"/>
                </a:cubicBezTo>
                <a:cubicBezTo>
                  <a:pt x="818" y="348"/>
                  <a:pt x="818" y="348"/>
                  <a:pt x="818" y="348"/>
                </a:cubicBezTo>
                <a:cubicBezTo>
                  <a:pt x="923" y="281"/>
                  <a:pt x="923" y="281"/>
                  <a:pt x="923" y="281"/>
                </a:cubicBezTo>
                <a:cubicBezTo>
                  <a:pt x="818" y="215"/>
                  <a:pt x="818" y="215"/>
                  <a:pt x="818" y="215"/>
                </a:cubicBezTo>
                <a:cubicBezTo>
                  <a:pt x="818" y="0"/>
                  <a:pt x="818" y="0"/>
                  <a:pt x="818" y="0"/>
                </a:cubicBezTo>
                <a:cubicBezTo>
                  <a:pt x="817" y="0"/>
                  <a:pt x="815" y="0"/>
                  <a:pt x="813" y="0"/>
                </a:cubicBezTo>
                <a:cubicBezTo>
                  <a:pt x="652" y="0"/>
                  <a:pt x="496" y="31"/>
                  <a:pt x="349" y="94"/>
                </a:cubicBezTo>
                <a:cubicBezTo>
                  <a:pt x="219" y="148"/>
                  <a:pt x="102" y="224"/>
                  <a:pt x="0" y="320"/>
                </a:cubicBezTo>
                <a:lnTo>
                  <a:pt x="107" y="427"/>
                </a:lnTo>
                <a:close/>
              </a:path>
            </a:pathLst>
          </a:custGeom>
          <a:gradFill flip="none" rotWithShape="1">
            <a:gsLst>
              <a:gs pos="73000">
                <a:schemeClr val="accent1"/>
              </a:gs>
              <a:gs pos="31000">
                <a:schemeClr val="accent1">
                  <a:lumMod val="60000"/>
                  <a:lumOff val="40000"/>
                </a:schemeClr>
              </a:gs>
              <a:gs pos="0">
                <a:schemeClr val="accent1">
                  <a:lumMod val="40000"/>
                  <a:lumOff val="60000"/>
                </a:schemeClr>
              </a:gs>
            </a:gsLst>
            <a:lin ang="1080000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grpSp>
        <p:nvGrpSpPr>
          <p:cNvPr id="10" name="Group 67">
            <a:extLst>
              <a:ext uri="{FF2B5EF4-FFF2-40B4-BE49-F238E27FC236}">
                <a16:creationId xmlns:a16="http://schemas.microsoft.com/office/drawing/2014/main" id="{8036BE9B-FA7F-47B3-A7DD-5A8ACB1B789F}"/>
              </a:ext>
            </a:extLst>
          </p:cNvPr>
          <p:cNvGrpSpPr/>
          <p:nvPr/>
        </p:nvGrpSpPr>
        <p:grpSpPr>
          <a:xfrm>
            <a:off x="4683551" y="3684282"/>
            <a:ext cx="327088" cy="361256"/>
            <a:chOff x="5153025" y="2384426"/>
            <a:chExt cx="1884363" cy="2081213"/>
          </a:xfrm>
          <a:solidFill>
            <a:srgbClr val="FFFFFF"/>
          </a:solidFill>
        </p:grpSpPr>
        <p:sp>
          <p:nvSpPr>
            <p:cNvPr id="11" name="Freeform 5">
              <a:extLst>
                <a:ext uri="{FF2B5EF4-FFF2-40B4-BE49-F238E27FC236}">
                  <a16:creationId xmlns:a16="http://schemas.microsoft.com/office/drawing/2014/main" id="{837328E9-F00B-4A79-A9BF-D1E3A61E1FC5}"/>
                </a:ext>
              </a:extLst>
            </p:cNvPr>
            <p:cNvSpPr>
              <a:spLocks/>
            </p:cNvSpPr>
            <p:nvPr/>
          </p:nvSpPr>
          <p:spPr bwMode="auto">
            <a:xfrm>
              <a:off x="5529263" y="2384426"/>
              <a:ext cx="377825" cy="763588"/>
            </a:xfrm>
            <a:custGeom>
              <a:avLst/>
              <a:gdLst>
                <a:gd name="T0" fmla="*/ 252 w 373"/>
                <a:gd name="T1" fmla="*/ 409 h 754"/>
                <a:gd name="T2" fmla="*/ 187 w 373"/>
                <a:gd name="T3" fmla="*/ 288 h 754"/>
                <a:gd name="T4" fmla="*/ 252 w 373"/>
                <a:gd name="T5" fmla="*/ 168 h 754"/>
                <a:gd name="T6" fmla="*/ 252 w 373"/>
                <a:gd name="T7" fmla="*/ 36 h 754"/>
                <a:gd name="T8" fmla="*/ 121 w 373"/>
                <a:gd name="T9" fmla="*/ 36 h 754"/>
                <a:gd name="T10" fmla="*/ 0 w 373"/>
                <a:gd name="T11" fmla="*/ 288 h 754"/>
                <a:gd name="T12" fmla="*/ 121 w 373"/>
                <a:gd name="T13" fmla="*/ 540 h 754"/>
                <a:gd name="T14" fmla="*/ 187 w 373"/>
                <a:gd name="T15" fmla="*/ 661 h 754"/>
                <a:gd name="T16" fmla="*/ 280 w 373"/>
                <a:gd name="T17" fmla="*/ 754 h 754"/>
                <a:gd name="T18" fmla="*/ 373 w 373"/>
                <a:gd name="T19" fmla="*/ 661 h 754"/>
                <a:gd name="T20" fmla="*/ 252 w 373"/>
                <a:gd name="T21" fmla="*/ 409 h 7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3" h="754">
                  <a:moveTo>
                    <a:pt x="252" y="409"/>
                  </a:moveTo>
                  <a:cubicBezTo>
                    <a:pt x="207" y="363"/>
                    <a:pt x="187" y="341"/>
                    <a:pt x="187" y="288"/>
                  </a:cubicBezTo>
                  <a:cubicBezTo>
                    <a:pt x="187" y="236"/>
                    <a:pt x="207" y="214"/>
                    <a:pt x="252" y="168"/>
                  </a:cubicBezTo>
                  <a:cubicBezTo>
                    <a:pt x="289" y="132"/>
                    <a:pt x="289" y="73"/>
                    <a:pt x="252" y="36"/>
                  </a:cubicBezTo>
                  <a:cubicBezTo>
                    <a:pt x="216" y="0"/>
                    <a:pt x="157" y="0"/>
                    <a:pt x="121" y="36"/>
                  </a:cubicBezTo>
                  <a:cubicBezTo>
                    <a:pt x="70" y="87"/>
                    <a:pt x="0" y="157"/>
                    <a:pt x="0" y="288"/>
                  </a:cubicBezTo>
                  <a:cubicBezTo>
                    <a:pt x="0" y="420"/>
                    <a:pt x="70" y="489"/>
                    <a:pt x="121" y="540"/>
                  </a:cubicBezTo>
                  <a:cubicBezTo>
                    <a:pt x="166" y="586"/>
                    <a:pt x="187" y="608"/>
                    <a:pt x="187" y="661"/>
                  </a:cubicBezTo>
                  <a:cubicBezTo>
                    <a:pt x="187" y="712"/>
                    <a:pt x="228" y="754"/>
                    <a:pt x="280" y="754"/>
                  </a:cubicBezTo>
                  <a:cubicBezTo>
                    <a:pt x="331" y="754"/>
                    <a:pt x="373" y="712"/>
                    <a:pt x="373" y="661"/>
                  </a:cubicBezTo>
                  <a:cubicBezTo>
                    <a:pt x="373" y="529"/>
                    <a:pt x="303" y="459"/>
                    <a:pt x="252" y="40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12" name="Freeform 6">
              <a:extLst>
                <a:ext uri="{FF2B5EF4-FFF2-40B4-BE49-F238E27FC236}">
                  <a16:creationId xmlns:a16="http://schemas.microsoft.com/office/drawing/2014/main" id="{98E1A41C-9717-48C3-ABE6-7049336F609A}"/>
                </a:ext>
              </a:extLst>
            </p:cNvPr>
            <p:cNvSpPr>
              <a:spLocks/>
            </p:cNvSpPr>
            <p:nvPr/>
          </p:nvSpPr>
          <p:spPr bwMode="auto">
            <a:xfrm>
              <a:off x="5970588" y="2384426"/>
              <a:ext cx="376238" cy="763588"/>
            </a:xfrm>
            <a:custGeom>
              <a:avLst/>
              <a:gdLst>
                <a:gd name="T0" fmla="*/ 252 w 372"/>
                <a:gd name="T1" fmla="*/ 409 h 754"/>
                <a:gd name="T2" fmla="*/ 186 w 372"/>
                <a:gd name="T3" fmla="*/ 288 h 754"/>
                <a:gd name="T4" fmla="*/ 252 w 372"/>
                <a:gd name="T5" fmla="*/ 168 h 754"/>
                <a:gd name="T6" fmla="*/ 252 w 372"/>
                <a:gd name="T7" fmla="*/ 36 h 754"/>
                <a:gd name="T8" fmla="*/ 120 w 372"/>
                <a:gd name="T9" fmla="*/ 36 h 754"/>
                <a:gd name="T10" fmla="*/ 0 w 372"/>
                <a:gd name="T11" fmla="*/ 288 h 754"/>
                <a:gd name="T12" fmla="*/ 120 w 372"/>
                <a:gd name="T13" fmla="*/ 540 h 754"/>
                <a:gd name="T14" fmla="*/ 186 w 372"/>
                <a:gd name="T15" fmla="*/ 661 h 754"/>
                <a:gd name="T16" fmla="*/ 279 w 372"/>
                <a:gd name="T17" fmla="*/ 754 h 754"/>
                <a:gd name="T18" fmla="*/ 372 w 372"/>
                <a:gd name="T19" fmla="*/ 661 h 754"/>
                <a:gd name="T20" fmla="*/ 252 w 372"/>
                <a:gd name="T21" fmla="*/ 409 h 7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2" h="754">
                  <a:moveTo>
                    <a:pt x="252" y="409"/>
                  </a:moveTo>
                  <a:cubicBezTo>
                    <a:pt x="206" y="363"/>
                    <a:pt x="186" y="341"/>
                    <a:pt x="186" y="288"/>
                  </a:cubicBezTo>
                  <a:cubicBezTo>
                    <a:pt x="186" y="236"/>
                    <a:pt x="206" y="214"/>
                    <a:pt x="252" y="168"/>
                  </a:cubicBezTo>
                  <a:cubicBezTo>
                    <a:pt x="288" y="132"/>
                    <a:pt x="288" y="73"/>
                    <a:pt x="252" y="36"/>
                  </a:cubicBezTo>
                  <a:cubicBezTo>
                    <a:pt x="216" y="0"/>
                    <a:pt x="157" y="0"/>
                    <a:pt x="120" y="36"/>
                  </a:cubicBezTo>
                  <a:cubicBezTo>
                    <a:pt x="69" y="87"/>
                    <a:pt x="0" y="157"/>
                    <a:pt x="0" y="288"/>
                  </a:cubicBezTo>
                  <a:cubicBezTo>
                    <a:pt x="0" y="420"/>
                    <a:pt x="69" y="489"/>
                    <a:pt x="120" y="540"/>
                  </a:cubicBezTo>
                  <a:cubicBezTo>
                    <a:pt x="166" y="586"/>
                    <a:pt x="186" y="608"/>
                    <a:pt x="186" y="661"/>
                  </a:cubicBezTo>
                  <a:cubicBezTo>
                    <a:pt x="186" y="712"/>
                    <a:pt x="228" y="754"/>
                    <a:pt x="279" y="754"/>
                  </a:cubicBezTo>
                  <a:cubicBezTo>
                    <a:pt x="331" y="754"/>
                    <a:pt x="372" y="712"/>
                    <a:pt x="372" y="661"/>
                  </a:cubicBezTo>
                  <a:cubicBezTo>
                    <a:pt x="372" y="529"/>
                    <a:pt x="303" y="459"/>
                    <a:pt x="252" y="40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13" name="Freeform 7">
              <a:extLst>
                <a:ext uri="{FF2B5EF4-FFF2-40B4-BE49-F238E27FC236}">
                  <a16:creationId xmlns:a16="http://schemas.microsoft.com/office/drawing/2014/main" id="{6F4ECB64-F207-476A-9018-83C02CAD9395}"/>
                </a:ext>
              </a:extLst>
            </p:cNvPr>
            <p:cNvSpPr>
              <a:spLocks noEditPoints="1"/>
            </p:cNvSpPr>
            <p:nvPr/>
          </p:nvSpPr>
          <p:spPr bwMode="auto">
            <a:xfrm>
              <a:off x="5153025" y="3335340"/>
              <a:ext cx="1884363" cy="1130299"/>
            </a:xfrm>
            <a:custGeom>
              <a:avLst/>
              <a:gdLst>
                <a:gd name="T0" fmla="*/ 1433 w 1862"/>
                <a:gd name="T1" fmla="*/ 683 h 1117"/>
                <a:gd name="T2" fmla="*/ 1521 w 1862"/>
                <a:gd name="T3" fmla="*/ 683 h 1117"/>
                <a:gd name="T4" fmla="*/ 1521 w 1862"/>
                <a:gd name="T5" fmla="*/ 683 h 1117"/>
                <a:gd name="T6" fmla="*/ 1862 w 1862"/>
                <a:gd name="T7" fmla="*/ 341 h 1117"/>
                <a:gd name="T8" fmla="*/ 1521 w 1862"/>
                <a:gd name="T9" fmla="*/ 0 h 1117"/>
                <a:gd name="T10" fmla="*/ 1396 w 1862"/>
                <a:gd name="T11" fmla="*/ 0 h 1117"/>
                <a:gd name="T12" fmla="*/ 155 w 1862"/>
                <a:gd name="T13" fmla="*/ 0 h 1117"/>
                <a:gd name="T14" fmla="*/ 62 w 1862"/>
                <a:gd name="T15" fmla="*/ 93 h 1117"/>
                <a:gd name="T16" fmla="*/ 62 w 1862"/>
                <a:gd name="T17" fmla="*/ 403 h 1117"/>
                <a:gd name="T18" fmla="*/ 296 w 1862"/>
                <a:gd name="T19" fmla="*/ 931 h 1117"/>
                <a:gd name="T20" fmla="*/ 93 w 1862"/>
                <a:gd name="T21" fmla="*/ 931 h 1117"/>
                <a:gd name="T22" fmla="*/ 0 w 1862"/>
                <a:gd name="T23" fmla="*/ 1024 h 1117"/>
                <a:gd name="T24" fmla="*/ 93 w 1862"/>
                <a:gd name="T25" fmla="*/ 1117 h 1117"/>
                <a:gd name="T26" fmla="*/ 776 w 1862"/>
                <a:gd name="T27" fmla="*/ 1117 h 1117"/>
                <a:gd name="T28" fmla="*/ 1459 w 1862"/>
                <a:gd name="T29" fmla="*/ 1117 h 1117"/>
                <a:gd name="T30" fmla="*/ 1552 w 1862"/>
                <a:gd name="T31" fmla="*/ 1024 h 1117"/>
                <a:gd name="T32" fmla="*/ 1459 w 1862"/>
                <a:gd name="T33" fmla="*/ 931 h 1117"/>
                <a:gd name="T34" fmla="*/ 1256 w 1862"/>
                <a:gd name="T35" fmla="*/ 931 h 1117"/>
                <a:gd name="T36" fmla="*/ 1433 w 1862"/>
                <a:gd name="T37" fmla="*/ 683 h 1117"/>
                <a:gd name="T38" fmla="*/ 1490 w 1862"/>
                <a:gd name="T39" fmla="*/ 403 h 1117"/>
                <a:gd name="T40" fmla="*/ 1490 w 1862"/>
                <a:gd name="T41" fmla="*/ 186 h 1117"/>
                <a:gd name="T42" fmla="*/ 1521 w 1862"/>
                <a:gd name="T43" fmla="*/ 186 h 1117"/>
                <a:gd name="T44" fmla="*/ 1676 w 1862"/>
                <a:gd name="T45" fmla="*/ 341 h 1117"/>
                <a:gd name="T46" fmla="*/ 1521 w 1862"/>
                <a:gd name="T47" fmla="*/ 496 h 1117"/>
                <a:gd name="T48" fmla="*/ 1520 w 1862"/>
                <a:gd name="T49" fmla="*/ 496 h 1117"/>
                <a:gd name="T50" fmla="*/ 1483 w 1862"/>
                <a:gd name="T51" fmla="*/ 496 h 1117"/>
                <a:gd name="T52" fmla="*/ 1490 w 1862"/>
                <a:gd name="T53" fmla="*/ 403 h 1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62" h="1117">
                  <a:moveTo>
                    <a:pt x="1433" y="683"/>
                  </a:moveTo>
                  <a:cubicBezTo>
                    <a:pt x="1521" y="683"/>
                    <a:pt x="1521" y="683"/>
                    <a:pt x="1521" y="683"/>
                  </a:cubicBezTo>
                  <a:cubicBezTo>
                    <a:pt x="1521" y="683"/>
                    <a:pt x="1521" y="683"/>
                    <a:pt x="1521" y="683"/>
                  </a:cubicBezTo>
                  <a:cubicBezTo>
                    <a:pt x="1709" y="682"/>
                    <a:pt x="1862" y="529"/>
                    <a:pt x="1862" y="341"/>
                  </a:cubicBezTo>
                  <a:cubicBezTo>
                    <a:pt x="1862" y="153"/>
                    <a:pt x="1709" y="0"/>
                    <a:pt x="1521" y="0"/>
                  </a:cubicBezTo>
                  <a:cubicBezTo>
                    <a:pt x="1396" y="0"/>
                    <a:pt x="1396" y="0"/>
                    <a:pt x="1396" y="0"/>
                  </a:cubicBezTo>
                  <a:cubicBezTo>
                    <a:pt x="155" y="0"/>
                    <a:pt x="155" y="0"/>
                    <a:pt x="155" y="0"/>
                  </a:cubicBezTo>
                  <a:cubicBezTo>
                    <a:pt x="104" y="0"/>
                    <a:pt x="62" y="42"/>
                    <a:pt x="62" y="93"/>
                  </a:cubicBezTo>
                  <a:cubicBezTo>
                    <a:pt x="62" y="403"/>
                    <a:pt x="62" y="403"/>
                    <a:pt x="62" y="403"/>
                  </a:cubicBezTo>
                  <a:cubicBezTo>
                    <a:pt x="62" y="612"/>
                    <a:pt x="152" y="800"/>
                    <a:pt x="296" y="931"/>
                  </a:cubicBezTo>
                  <a:cubicBezTo>
                    <a:pt x="93" y="931"/>
                    <a:pt x="93" y="931"/>
                    <a:pt x="93" y="931"/>
                  </a:cubicBezTo>
                  <a:cubicBezTo>
                    <a:pt x="42" y="931"/>
                    <a:pt x="0" y="972"/>
                    <a:pt x="0" y="1024"/>
                  </a:cubicBezTo>
                  <a:cubicBezTo>
                    <a:pt x="0" y="1075"/>
                    <a:pt x="42" y="1117"/>
                    <a:pt x="93" y="1117"/>
                  </a:cubicBezTo>
                  <a:cubicBezTo>
                    <a:pt x="776" y="1117"/>
                    <a:pt x="776" y="1117"/>
                    <a:pt x="776" y="1117"/>
                  </a:cubicBezTo>
                  <a:cubicBezTo>
                    <a:pt x="1459" y="1117"/>
                    <a:pt x="1459" y="1117"/>
                    <a:pt x="1459" y="1117"/>
                  </a:cubicBezTo>
                  <a:cubicBezTo>
                    <a:pt x="1510" y="1117"/>
                    <a:pt x="1552" y="1075"/>
                    <a:pt x="1552" y="1024"/>
                  </a:cubicBezTo>
                  <a:cubicBezTo>
                    <a:pt x="1552" y="972"/>
                    <a:pt x="1510" y="931"/>
                    <a:pt x="1459" y="931"/>
                  </a:cubicBezTo>
                  <a:cubicBezTo>
                    <a:pt x="1256" y="931"/>
                    <a:pt x="1256" y="931"/>
                    <a:pt x="1256" y="931"/>
                  </a:cubicBezTo>
                  <a:cubicBezTo>
                    <a:pt x="1331" y="862"/>
                    <a:pt x="1392" y="778"/>
                    <a:pt x="1433" y="683"/>
                  </a:cubicBezTo>
                  <a:close/>
                  <a:moveTo>
                    <a:pt x="1490" y="403"/>
                  </a:moveTo>
                  <a:cubicBezTo>
                    <a:pt x="1490" y="186"/>
                    <a:pt x="1490" y="186"/>
                    <a:pt x="1490" y="186"/>
                  </a:cubicBezTo>
                  <a:cubicBezTo>
                    <a:pt x="1521" y="186"/>
                    <a:pt x="1521" y="186"/>
                    <a:pt x="1521" y="186"/>
                  </a:cubicBezTo>
                  <a:cubicBezTo>
                    <a:pt x="1606" y="186"/>
                    <a:pt x="1676" y="256"/>
                    <a:pt x="1676" y="341"/>
                  </a:cubicBezTo>
                  <a:cubicBezTo>
                    <a:pt x="1676" y="427"/>
                    <a:pt x="1606" y="496"/>
                    <a:pt x="1521" y="496"/>
                  </a:cubicBezTo>
                  <a:cubicBezTo>
                    <a:pt x="1521" y="496"/>
                    <a:pt x="1521" y="496"/>
                    <a:pt x="1520" y="496"/>
                  </a:cubicBezTo>
                  <a:cubicBezTo>
                    <a:pt x="1483" y="496"/>
                    <a:pt x="1483" y="496"/>
                    <a:pt x="1483" y="496"/>
                  </a:cubicBezTo>
                  <a:cubicBezTo>
                    <a:pt x="1487" y="466"/>
                    <a:pt x="1490" y="435"/>
                    <a:pt x="1490" y="4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HarmonyOS Sans SC"/>
                <a:cs typeface="+mn-cs"/>
              </a:endParaRPr>
            </a:p>
          </p:txBody>
        </p:sp>
      </p:grpSp>
      <p:grpSp>
        <p:nvGrpSpPr>
          <p:cNvPr id="14" name="Group 71">
            <a:extLst>
              <a:ext uri="{FF2B5EF4-FFF2-40B4-BE49-F238E27FC236}">
                <a16:creationId xmlns:a16="http://schemas.microsoft.com/office/drawing/2014/main" id="{26C31038-58E3-4A87-AB36-AA2112AAB40A}"/>
              </a:ext>
            </a:extLst>
          </p:cNvPr>
          <p:cNvGrpSpPr/>
          <p:nvPr/>
        </p:nvGrpSpPr>
        <p:grpSpPr>
          <a:xfrm>
            <a:off x="4780255" y="2688455"/>
            <a:ext cx="262380" cy="326376"/>
            <a:chOff x="4862513" y="3505200"/>
            <a:chExt cx="260350" cy="323851"/>
          </a:xfrm>
          <a:solidFill>
            <a:srgbClr val="FFFFFF"/>
          </a:solidFill>
        </p:grpSpPr>
        <p:sp>
          <p:nvSpPr>
            <p:cNvPr id="15" name="Freeform 9">
              <a:extLst>
                <a:ext uri="{FF2B5EF4-FFF2-40B4-BE49-F238E27FC236}">
                  <a16:creationId xmlns:a16="http://schemas.microsoft.com/office/drawing/2014/main" id="{A9403978-51F8-40F1-87CA-7633B7A977CF}"/>
                </a:ext>
              </a:extLst>
            </p:cNvPr>
            <p:cNvSpPr>
              <a:spLocks/>
            </p:cNvSpPr>
            <p:nvPr/>
          </p:nvSpPr>
          <p:spPr bwMode="auto">
            <a:xfrm>
              <a:off x="4870451" y="3505200"/>
              <a:ext cx="220663" cy="234950"/>
            </a:xfrm>
            <a:custGeom>
              <a:avLst/>
              <a:gdLst>
                <a:gd name="T0" fmla="*/ 761 w 1393"/>
                <a:gd name="T1" fmla="*/ 0 h 1489"/>
                <a:gd name="T2" fmla="*/ 240 w 1393"/>
                <a:gd name="T3" fmla="*/ 0 h 1489"/>
                <a:gd name="T4" fmla="*/ 93 w 1393"/>
                <a:gd name="T5" fmla="*/ 0 h 1489"/>
                <a:gd name="T6" fmla="*/ 0 w 1393"/>
                <a:gd name="T7" fmla="*/ 93 h 1489"/>
                <a:gd name="T8" fmla="*/ 93 w 1393"/>
                <a:gd name="T9" fmla="*/ 186 h 1489"/>
                <a:gd name="T10" fmla="*/ 147 w 1393"/>
                <a:gd name="T11" fmla="*/ 186 h 1489"/>
                <a:gd name="T12" fmla="*/ 147 w 1393"/>
                <a:gd name="T13" fmla="*/ 938 h 1489"/>
                <a:gd name="T14" fmla="*/ 240 w 1393"/>
                <a:gd name="T15" fmla="*/ 1031 h 1489"/>
                <a:gd name="T16" fmla="*/ 397 w 1393"/>
                <a:gd name="T17" fmla="*/ 1031 h 1489"/>
                <a:gd name="T18" fmla="*/ 462 w 1393"/>
                <a:gd name="T19" fmla="*/ 1004 h 1489"/>
                <a:gd name="T20" fmla="*/ 591 w 1393"/>
                <a:gd name="T21" fmla="*/ 876 h 1489"/>
                <a:gd name="T22" fmla="*/ 591 w 1393"/>
                <a:gd name="T23" fmla="*/ 1100 h 1489"/>
                <a:gd name="T24" fmla="*/ 201 w 1393"/>
                <a:gd name="T25" fmla="*/ 1489 h 1489"/>
                <a:gd name="T26" fmla="*/ 1393 w 1393"/>
                <a:gd name="T27" fmla="*/ 1489 h 1489"/>
                <a:gd name="T28" fmla="*/ 1393 w 1393"/>
                <a:gd name="T29" fmla="*/ 633 h 1489"/>
                <a:gd name="T30" fmla="*/ 761 w 1393"/>
                <a:gd name="T31" fmla="*/ 0 h 14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93" h="1489">
                  <a:moveTo>
                    <a:pt x="761" y="0"/>
                  </a:moveTo>
                  <a:cubicBezTo>
                    <a:pt x="240" y="0"/>
                    <a:pt x="240" y="0"/>
                    <a:pt x="240" y="0"/>
                  </a:cubicBezTo>
                  <a:cubicBezTo>
                    <a:pt x="93" y="0"/>
                    <a:pt x="93" y="0"/>
                    <a:pt x="93" y="0"/>
                  </a:cubicBezTo>
                  <a:cubicBezTo>
                    <a:pt x="41" y="0"/>
                    <a:pt x="0" y="42"/>
                    <a:pt x="0" y="93"/>
                  </a:cubicBezTo>
                  <a:cubicBezTo>
                    <a:pt x="0" y="145"/>
                    <a:pt x="41" y="186"/>
                    <a:pt x="93" y="186"/>
                  </a:cubicBezTo>
                  <a:cubicBezTo>
                    <a:pt x="147" y="186"/>
                    <a:pt x="147" y="186"/>
                    <a:pt x="147" y="186"/>
                  </a:cubicBezTo>
                  <a:cubicBezTo>
                    <a:pt x="147" y="938"/>
                    <a:pt x="147" y="938"/>
                    <a:pt x="147" y="938"/>
                  </a:cubicBezTo>
                  <a:cubicBezTo>
                    <a:pt x="147" y="990"/>
                    <a:pt x="188" y="1031"/>
                    <a:pt x="240" y="1031"/>
                  </a:cubicBezTo>
                  <a:cubicBezTo>
                    <a:pt x="397" y="1031"/>
                    <a:pt x="397" y="1031"/>
                    <a:pt x="397" y="1031"/>
                  </a:cubicBezTo>
                  <a:cubicBezTo>
                    <a:pt x="421" y="1031"/>
                    <a:pt x="445" y="1021"/>
                    <a:pt x="462" y="1004"/>
                  </a:cubicBezTo>
                  <a:cubicBezTo>
                    <a:pt x="591" y="876"/>
                    <a:pt x="591" y="876"/>
                    <a:pt x="591" y="876"/>
                  </a:cubicBezTo>
                  <a:cubicBezTo>
                    <a:pt x="591" y="1100"/>
                    <a:pt x="591" y="1100"/>
                    <a:pt x="591" y="1100"/>
                  </a:cubicBezTo>
                  <a:cubicBezTo>
                    <a:pt x="201" y="1489"/>
                    <a:pt x="201" y="1489"/>
                    <a:pt x="201" y="1489"/>
                  </a:cubicBezTo>
                  <a:cubicBezTo>
                    <a:pt x="1393" y="1489"/>
                    <a:pt x="1393" y="1489"/>
                    <a:pt x="1393" y="1489"/>
                  </a:cubicBezTo>
                  <a:cubicBezTo>
                    <a:pt x="1393" y="633"/>
                    <a:pt x="1393" y="633"/>
                    <a:pt x="1393" y="633"/>
                  </a:cubicBezTo>
                  <a:cubicBezTo>
                    <a:pt x="1393" y="284"/>
                    <a:pt x="1109" y="0"/>
                    <a:pt x="76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16" name="Freeform 10">
              <a:extLst>
                <a:ext uri="{FF2B5EF4-FFF2-40B4-BE49-F238E27FC236}">
                  <a16:creationId xmlns:a16="http://schemas.microsoft.com/office/drawing/2014/main" id="{B6AA14E0-27C8-4BAF-9F76-7DD0A35CE84C}"/>
                </a:ext>
              </a:extLst>
            </p:cNvPr>
            <p:cNvSpPr>
              <a:spLocks/>
            </p:cNvSpPr>
            <p:nvPr/>
          </p:nvSpPr>
          <p:spPr bwMode="auto">
            <a:xfrm>
              <a:off x="4862513" y="3770313"/>
              <a:ext cx="260350" cy="58738"/>
            </a:xfrm>
            <a:custGeom>
              <a:avLst/>
              <a:gdLst>
                <a:gd name="T0" fmla="*/ 0 w 1646"/>
                <a:gd name="T1" fmla="*/ 0 h 372"/>
                <a:gd name="T2" fmla="*/ 0 w 1646"/>
                <a:gd name="T3" fmla="*/ 279 h 372"/>
                <a:gd name="T4" fmla="*/ 93 w 1646"/>
                <a:gd name="T5" fmla="*/ 372 h 372"/>
                <a:gd name="T6" fmla="*/ 1553 w 1646"/>
                <a:gd name="T7" fmla="*/ 372 h 372"/>
                <a:gd name="T8" fmla="*/ 1646 w 1646"/>
                <a:gd name="T9" fmla="*/ 279 h 372"/>
                <a:gd name="T10" fmla="*/ 1646 w 1646"/>
                <a:gd name="T11" fmla="*/ 0 h 372"/>
                <a:gd name="T12" fmla="*/ 0 w 1646"/>
                <a:gd name="T13" fmla="*/ 0 h 372"/>
              </a:gdLst>
              <a:ahLst/>
              <a:cxnLst>
                <a:cxn ang="0">
                  <a:pos x="T0" y="T1"/>
                </a:cxn>
                <a:cxn ang="0">
                  <a:pos x="T2" y="T3"/>
                </a:cxn>
                <a:cxn ang="0">
                  <a:pos x="T4" y="T5"/>
                </a:cxn>
                <a:cxn ang="0">
                  <a:pos x="T6" y="T7"/>
                </a:cxn>
                <a:cxn ang="0">
                  <a:pos x="T8" y="T9"/>
                </a:cxn>
                <a:cxn ang="0">
                  <a:pos x="T10" y="T11"/>
                </a:cxn>
                <a:cxn ang="0">
                  <a:pos x="T12" y="T13"/>
                </a:cxn>
              </a:cxnLst>
              <a:rect l="0" t="0" r="r" b="b"/>
              <a:pathLst>
                <a:path w="1646" h="372">
                  <a:moveTo>
                    <a:pt x="0" y="0"/>
                  </a:moveTo>
                  <a:cubicBezTo>
                    <a:pt x="0" y="279"/>
                    <a:pt x="0" y="279"/>
                    <a:pt x="0" y="279"/>
                  </a:cubicBezTo>
                  <a:cubicBezTo>
                    <a:pt x="0" y="330"/>
                    <a:pt x="42" y="372"/>
                    <a:pt x="93" y="372"/>
                  </a:cubicBezTo>
                  <a:cubicBezTo>
                    <a:pt x="1553" y="372"/>
                    <a:pt x="1553" y="372"/>
                    <a:pt x="1553" y="372"/>
                  </a:cubicBezTo>
                  <a:cubicBezTo>
                    <a:pt x="1604" y="372"/>
                    <a:pt x="1646" y="330"/>
                    <a:pt x="1646" y="279"/>
                  </a:cubicBezTo>
                  <a:cubicBezTo>
                    <a:pt x="1646" y="0"/>
                    <a:pt x="1646" y="0"/>
                    <a:pt x="1646" y="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grpSp>
      <p:grpSp>
        <p:nvGrpSpPr>
          <p:cNvPr id="17" name="Group 74">
            <a:extLst>
              <a:ext uri="{FF2B5EF4-FFF2-40B4-BE49-F238E27FC236}">
                <a16:creationId xmlns:a16="http://schemas.microsoft.com/office/drawing/2014/main" id="{A1EB1F19-7459-4603-9F2D-4354BE714098}"/>
              </a:ext>
            </a:extLst>
          </p:cNvPr>
          <p:cNvGrpSpPr/>
          <p:nvPr/>
        </p:nvGrpSpPr>
        <p:grpSpPr>
          <a:xfrm>
            <a:off x="6398003" y="4500641"/>
            <a:ext cx="263004" cy="326376"/>
            <a:chOff x="3333750" y="6040438"/>
            <a:chExt cx="658813" cy="817562"/>
          </a:xfrm>
          <a:solidFill>
            <a:srgbClr val="FFFFFF"/>
          </a:solidFill>
        </p:grpSpPr>
        <p:sp>
          <p:nvSpPr>
            <p:cNvPr id="18" name="Oval 5">
              <a:extLst>
                <a:ext uri="{FF2B5EF4-FFF2-40B4-BE49-F238E27FC236}">
                  <a16:creationId xmlns:a16="http://schemas.microsoft.com/office/drawing/2014/main" id="{4DC29F2D-CCD0-468D-B71A-40FCB5A4493D}"/>
                </a:ext>
              </a:extLst>
            </p:cNvPr>
            <p:cNvSpPr>
              <a:spLocks noChangeArrowheads="1"/>
            </p:cNvSpPr>
            <p:nvPr/>
          </p:nvSpPr>
          <p:spPr bwMode="auto">
            <a:xfrm>
              <a:off x="3484563" y="6040438"/>
              <a:ext cx="358775" cy="3587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19" name="Freeform 6">
              <a:extLst>
                <a:ext uri="{FF2B5EF4-FFF2-40B4-BE49-F238E27FC236}">
                  <a16:creationId xmlns:a16="http://schemas.microsoft.com/office/drawing/2014/main" id="{7FD2D895-5536-4B63-A28B-A4ED332037E6}"/>
                </a:ext>
              </a:extLst>
            </p:cNvPr>
            <p:cNvSpPr>
              <a:spLocks/>
            </p:cNvSpPr>
            <p:nvPr/>
          </p:nvSpPr>
          <p:spPr bwMode="auto">
            <a:xfrm>
              <a:off x="3333750" y="6488113"/>
              <a:ext cx="658813" cy="369887"/>
            </a:xfrm>
            <a:custGeom>
              <a:avLst/>
              <a:gdLst>
                <a:gd name="T0" fmla="*/ 933 w 1650"/>
                <a:gd name="T1" fmla="*/ 0 h 926"/>
                <a:gd name="T2" fmla="*/ 933 w 1650"/>
                <a:gd name="T3" fmla="*/ 109 h 926"/>
                <a:gd name="T4" fmla="*/ 933 w 1650"/>
                <a:gd name="T5" fmla="*/ 218 h 926"/>
                <a:gd name="T6" fmla="*/ 933 w 1650"/>
                <a:gd name="T7" fmla="*/ 675 h 926"/>
                <a:gd name="T8" fmla="*/ 926 w 1650"/>
                <a:gd name="T9" fmla="*/ 711 h 926"/>
                <a:gd name="T10" fmla="*/ 825 w 1650"/>
                <a:gd name="T11" fmla="*/ 783 h 926"/>
                <a:gd name="T12" fmla="*/ 724 w 1650"/>
                <a:gd name="T13" fmla="*/ 711 h 926"/>
                <a:gd name="T14" fmla="*/ 717 w 1650"/>
                <a:gd name="T15" fmla="*/ 675 h 926"/>
                <a:gd name="T16" fmla="*/ 717 w 1650"/>
                <a:gd name="T17" fmla="*/ 218 h 926"/>
                <a:gd name="T18" fmla="*/ 717 w 1650"/>
                <a:gd name="T19" fmla="*/ 109 h 926"/>
                <a:gd name="T20" fmla="*/ 717 w 1650"/>
                <a:gd name="T21" fmla="*/ 0 h 926"/>
                <a:gd name="T22" fmla="*/ 0 w 1650"/>
                <a:gd name="T23" fmla="*/ 818 h 926"/>
                <a:gd name="T24" fmla="*/ 108 w 1650"/>
                <a:gd name="T25" fmla="*/ 926 h 926"/>
                <a:gd name="T26" fmla="*/ 1542 w 1650"/>
                <a:gd name="T27" fmla="*/ 926 h 926"/>
                <a:gd name="T28" fmla="*/ 1650 w 1650"/>
                <a:gd name="T29" fmla="*/ 818 h 926"/>
                <a:gd name="T30" fmla="*/ 933 w 1650"/>
                <a:gd name="T31" fmla="*/ 0 h 9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50" h="926">
                  <a:moveTo>
                    <a:pt x="933" y="0"/>
                  </a:moveTo>
                  <a:cubicBezTo>
                    <a:pt x="933" y="109"/>
                    <a:pt x="933" y="109"/>
                    <a:pt x="933" y="109"/>
                  </a:cubicBezTo>
                  <a:cubicBezTo>
                    <a:pt x="933" y="218"/>
                    <a:pt x="933" y="218"/>
                    <a:pt x="933" y="218"/>
                  </a:cubicBezTo>
                  <a:cubicBezTo>
                    <a:pt x="933" y="675"/>
                    <a:pt x="933" y="675"/>
                    <a:pt x="933" y="675"/>
                  </a:cubicBezTo>
                  <a:cubicBezTo>
                    <a:pt x="933" y="688"/>
                    <a:pt x="930" y="700"/>
                    <a:pt x="926" y="711"/>
                  </a:cubicBezTo>
                  <a:cubicBezTo>
                    <a:pt x="912" y="753"/>
                    <a:pt x="872" y="783"/>
                    <a:pt x="825" y="783"/>
                  </a:cubicBezTo>
                  <a:cubicBezTo>
                    <a:pt x="778" y="783"/>
                    <a:pt x="738" y="753"/>
                    <a:pt x="724" y="711"/>
                  </a:cubicBezTo>
                  <a:cubicBezTo>
                    <a:pt x="720" y="700"/>
                    <a:pt x="717" y="688"/>
                    <a:pt x="717" y="675"/>
                  </a:cubicBezTo>
                  <a:cubicBezTo>
                    <a:pt x="717" y="218"/>
                    <a:pt x="717" y="218"/>
                    <a:pt x="717" y="218"/>
                  </a:cubicBezTo>
                  <a:cubicBezTo>
                    <a:pt x="717" y="109"/>
                    <a:pt x="717" y="109"/>
                    <a:pt x="717" y="109"/>
                  </a:cubicBezTo>
                  <a:cubicBezTo>
                    <a:pt x="717" y="0"/>
                    <a:pt x="717" y="0"/>
                    <a:pt x="717" y="0"/>
                  </a:cubicBezTo>
                  <a:cubicBezTo>
                    <a:pt x="313" y="53"/>
                    <a:pt x="0" y="400"/>
                    <a:pt x="0" y="818"/>
                  </a:cubicBezTo>
                  <a:cubicBezTo>
                    <a:pt x="0" y="878"/>
                    <a:pt x="48" y="926"/>
                    <a:pt x="108" y="926"/>
                  </a:cubicBezTo>
                  <a:cubicBezTo>
                    <a:pt x="1542" y="926"/>
                    <a:pt x="1542" y="926"/>
                    <a:pt x="1542" y="926"/>
                  </a:cubicBezTo>
                  <a:cubicBezTo>
                    <a:pt x="1602" y="926"/>
                    <a:pt x="1650" y="878"/>
                    <a:pt x="1650" y="818"/>
                  </a:cubicBezTo>
                  <a:cubicBezTo>
                    <a:pt x="1650" y="400"/>
                    <a:pt x="1337" y="53"/>
                    <a:pt x="93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grpSp>
      <p:sp>
        <p:nvSpPr>
          <p:cNvPr id="20" name="Freeform 14">
            <a:extLst>
              <a:ext uri="{FF2B5EF4-FFF2-40B4-BE49-F238E27FC236}">
                <a16:creationId xmlns:a16="http://schemas.microsoft.com/office/drawing/2014/main" id="{1A3E1E64-D408-4C38-BA21-E0DEF390017B}"/>
              </a:ext>
            </a:extLst>
          </p:cNvPr>
          <p:cNvSpPr>
            <a:spLocks/>
          </p:cNvSpPr>
          <p:nvPr/>
        </p:nvSpPr>
        <p:spPr bwMode="auto">
          <a:xfrm>
            <a:off x="5382352" y="4451619"/>
            <a:ext cx="252948" cy="330052"/>
          </a:xfrm>
          <a:custGeom>
            <a:avLst/>
            <a:gdLst>
              <a:gd name="T0" fmla="*/ 1538 w 1573"/>
              <a:gd name="T1" fmla="*/ 277 h 2048"/>
              <a:gd name="T2" fmla="*/ 1475 w 1573"/>
              <a:gd name="T3" fmla="*/ 215 h 2048"/>
              <a:gd name="T4" fmla="*/ 1496 w 1573"/>
              <a:gd name="T5" fmla="*/ 194 h 2048"/>
              <a:gd name="T6" fmla="*/ 1496 w 1573"/>
              <a:gd name="T7" fmla="*/ 68 h 2048"/>
              <a:gd name="T8" fmla="*/ 1370 w 1573"/>
              <a:gd name="T9" fmla="*/ 68 h 2048"/>
              <a:gd name="T10" fmla="*/ 1349 w 1573"/>
              <a:gd name="T11" fmla="*/ 89 h 2048"/>
              <a:gd name="T12" fmla="*/ 1286 w 1573"/>
              <a:gd name="T13" fmla="*/ 26 h 2048"/>
              <a:gd name="T14" fmla="*/ 1224 w 1573"/>
              <a:gd name="T15" fmla="*/ 0 h 2048"/>
              <a:gd name="T16" fmla="*/ 1161 w 1573"/>
              <a:gd name="T17" fmla="*/ 26 h 2048"/>
              <a:gd name="T18" fmla="*/ 574 w 1573"/>
              <a:gd name="T19" fmla="*/ 613 h 2048"/>
              <a:gd name="T20" fmla="*/ 548 w 1573"/>
              <a:gd name="T21" fmla="*/ 676 h 2048"/>
              <a:gd name="T22" fmla="*/ 574 w 1573"/>
              <a:gd name="T23" fmla="*/ 738 h 2048"/>
              <a:gd name="T24" fmla="*/ 825 w 1573"/>
              <a:gd name="T25" fmla="*/ 990 h 2048"/>
              <a:gd name="T26" fmla="*/ 888 w 1573"/>
              <a:gd name="T27" fmla="*/ 1016 h 2048"/>
              <a:gd name="T28" fmla="*/ 951 w 1573"/>
              <a:gd name="T29" fmla="*/ 990 h 2048"/>
              <a:gd name="T30" fmla="*/ 1218 w 1573"/>
              <a:gd name="T31" fmla="*/ 723 h 2048"/>
              <a:gd name="T32" fmla="*/ 1308 w 1573"/>
              <a:gd name="T33" fmla="*/ 1011 h 2048"/>
              <a:gd name="T34" fmla="*/ 804 w 1573"/>
              <a:gd name="T35" fmla="*/ 1515 h 2048"/>
              <a:gd name="T36" fmla="*/ 420 w 1573"/>
              <a:gd name="T37" fmla="*/ 1337 h 2048"/>
              <a:gd name="T38" fmla="*/ 682 w 1573"/>
              <a:gd name="T39" fmla="*/ 1337 h 2048"/>
              <a:gd name="T40" fmla="*/ 771 w 1573"/>
              <a:gd name="T41" fmla="*/ 1248 h 2048"/>
              <a:gd name="T42" fmla="*/ 682 w 1573"/>
              <a:gd name="T43" fmla="*/ 1159 h 2048"/>
              <a:gd name="T44" fmla="*/ 330 w 1573"/>
              <a:gd name="T45" fmla="*/ 1159 h 2048"/>
              <a:gd name="T46" fmla="*/ 89 w 1573"/>
              <a:gd name="T47" fmla="*/ 1159 h 2048"/>
              <a:gd name="T48" fmla="*/ 0 w 1573"/>
              <a:gd name="T49" fmla="*/ 1248 h 2048"/>
              <a:gd name="T50" fmla="*/ 89 w 1573"/>
              <a:gd name="T51" fmla="*/ 1337 h 2048"/>
              <a:gd name="T52" fmla="*/ 241 w 1573"/>
              <a:gd name="T53" fmla="*/ 1337 h 2048"/>
              <a:gd name="T54" fmla="*/ 241 w 1573"/>
              <a:gd name="T55" fmla="*/ 1366 h 2048"/>
              <a:gd name="T56" fmla="*/ 259 w 1573"/>
              <a:gd name="T57" fmla="*/ 1420 h 2048"/>
              <a:gd name="T58" fmla="*/ 716 w 1573"/>
              <a:gd name="T59" fmla="*/ 1687 h 2048"/>
              <a:gd name="T60" fmla="*/ 716 w 1573"/>
              <a:gd name="T61" fmla="*/ 1870 h 2048"/>
              <a:gd name="T62" fmla="*/ 390 w 1573"/>
              <a:gd name="T63" fmla="*/ 1870 h 2048"/>
              <a:gd name="T64" fmla="*/ 301 w 1573"/>
              <a:gd name="T65" fmla="*/ 1959 h 2048"/>
              <a:gd name="T66" fmla="*/ 390 w 1573"/>
              <a:gd name="T67" fmla="*/ 2048 h 2048"/>
              <a:gd name="T68" fmla="*/ 805 w 1573"/>
              <a:gd name="T69" fmla="*/ 2048 h 2048"/>
              <a:gd name="T70" fmla="*/ 1220 w 1573"/>
              <a:gd name="T71" fmla="*/ 2048 h 2048"/>
              <a:gd name="T72" fmla="*/ 1308 w 1573"/>
              <a:gd name="T73" fmla="*/ 1959 h 2048"/>
              <a:gd name="T74" fmla="*/ 1220 w 1573"/>
              <a:gd name="T75" fmla="*/ 1870 h 2048"/>
              <a:gd name="T76" fmla="*/ 894 w 1573"/>
              <a:gd name="T77" fmla="*/ 1870 h 2048"/>
              <a:gd name="T78" fmla="*/ 894 w 1573"/>
              <a:gd name="T79" fmla="*/ 1687 h 2048"/>
              <a:gd name="T80" fmla="*/ 1486 w 1573"/>
              <a:gd name="T81" fmla="*/ 1011 h 2048"/>
              <a:gd name="T82" fmla="*/ 1345 w 1573"/>
              <a:gd name="T83" fmla="*/ 596 h 2048"/>
              <a:gd name="T84" fmla="*/ 1538 w 1573"/>
              <a:gd name="T85" fmla="*/ 403 h 2048"/>
              <a:gd name="T86" fmla="*/ 1538 w 1573"/>
              <a:gd name="T87" fmla="*/ 277 h 20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573" h="2048">
                <a:moveTo>
                  <a:pt x="1538" y="277"/>
                </a:moveTo>
                <a:cubicBezTo>
                  <a:pt x="1475" y="215"/>
                  <a:pt x="1475" y="215"/>
                  <a:pt x="1475" y="215"/>
                </a:cubicBezTo>
                <a:cubicBezTo>
                  <a:pt x="1496" y="194"/>
                  <a:pt x="1496" y="194"/>
                  <a:pt x="1496" y="194"/>
                </a:cubicBezTo>
                <a:cubicBezTo>
                  <a:pt x="1531" y="159"/>
                  <a:pt x="1531" y="103"/>
                  <a:pt x="1496" y="68"/>
                </a:cubicBezTo>
                <a:cubicBezTo>
                  <a:pt x="1461" y="33"/>
                  <a:pt x="1405" y="33"/>
                  <a:pt x="1370" y="68"/>
                </a:cubicBezTo>
                <a:cubicBezTo>
                  <a:pt x="1349" y="89"/>
                  <a:pt x="1349" y="89"/>
                  <a:pt x="1349" y="89"/>
                </a:cubicBezTo>
                <a:cubicBezTo>
                  <a:pt x="1286" y="26"/>
                  <a:pt x="1286" y="26"/>
                  <a:pt x="1286" y="26"/>
                </a:cubicBezTo>
                <a:cubicBezTo>
                  <a:pt x="1270" y="9"/>
                  <a:pt x="1247" y="0"/>
                  <a:pt x="1224" y="0"/>
                </a:cubicBezTo>
                <a:cubicBezTo>
                  <a:pt x="1200" y="0"/>
                  <a:pt x="1177" y="9"/>
                  <a:pt x="1161" y="26"/>
                </a:cubicBezTo>
                <a:cubicBezTo>
                  <a:pt x="574" y="613"/>
                  <a:pt x="574" y="613"/>
                  <a:pt x="574" y="613"/>
                </a:cubicBezTo>
                <a:cubicBezTo>
                  <a:pt x="557" y="629"/>
                  <a:pt x="548" y="652"/>
                  <a:pt x="548" y="676"/>
                </a:cubicBezTo>
                <a:cubicBezTo>
                  <a:pt x="548" y="699"/>
                  <a:pt x="557" y="722"/>
                  <a:pt x="574" y="738"/>
                </a:cubicBezTo>
                <a:cubicBezTo>
                  <a:pt x="825" y="990"/>
                  <a:pt x="825" y="990"/>
                  <a:pt x="825" y="990"/>
                </a:cubicBezTo>
                <a:cubicBezTo>
                  <a:pt x="843" y="1007"/>
                  <a:pt x="866" y="1016"/>
                  <a:pt x="888" y="1016"/>
                </a:cubicBezTo>
                <a:cubicBezTo>
                  <a:pt x="911" y="1016"/>
                  <a:pt x="934" y="1007"/>
                  <a:pt x="951" y="990"/>
                </a:cubicBezTo>
                <a:cubicBezTo>
                  <a:pt x="1218" y="723"/>
                  <a:pt x="1218" y="723"/>
                  <a:pt x="1218" y="723"/>
                </a:cubicBezTo>
                <a:cubicBezTo>
                  <a:pt x="1277" y="807"/>
                  <a:pt x="1308" y="906"/>
                  <a:pt x="1308" y="1011"/>
                </a:cubicBezTo>
                <a:cubicBezTo>
                  <a:pt x="1308" y="1289"/>
                  <a:pt x="1082" y="1515"/>
                  <a:pt x="804" y="1515"/>
                </a:cubicBezTo>
                <a:cubicBezTo>
                  <a:pt x="655" y="1515"/>
                  <a:pt x="516" y="1450"/>
                  <a:pt x="420" y="1337"/>
                </a:cubicBezTo>
                <a:cubicBezTo>
                  <a:pt x="682" y="1337"/>
                  <a:pt x="682" y="1337"/>
                  <a:pt x="682" y="1337"/>
                </a:cubicBezTo>
                <a:cubicBezTo>
                  <a:pt x="731" y="1337"/>
                  <a:pt x="771" y="1297"/>
                  <a:pt x="771" y="1248"/>
                </a:cubicBezTo>
                <a:cubicBezTo>
                  <a:pt x="771" y="1199"/>
                  <a:pt x="731" y="1159"/>
                  <a:pt x="682" y="1159"/>
                </a:cubicBezTo>
                <a:cubicBezTo>
                  <a:pt x="330" y="1159"/>
                  <a:pt x="330" y="1159"/>
                  <a:pt x="330" y="1159"/>
                </a:cubicBezTo>
                <a:cubicBezTo>
                  <a:pt x="89" y="1159"/>
                  <a:pt x="89" y="1159"/>
                  <a:pt x="89" y="1159"/>
                </a:cubicBezTo>
                <a:cubicBezTo>
                  <a:pt x="40" y="1159"/>
                  <a:pt x="0" y="1199"/>
                  <a:pt x="0" y="1248"/>
                </a:cubicBezTo>
                <a:cubicBezTo>
                  <a:pt x="0" y="1297"/>
                  <a:pt x="40" y="1337"/>
                  <a:pt x="89" y="1337"/>
                </a:cubicBezTo>
                <a:cubicBezTo>
                  <a:pt x="241" y="1337"/>
                  <a:pt x="241" y="1337"/>
                  <a:pt x="241" y="1337"/>
                </a:cubicBezTo>
                <a:cubicBezTo>
                  <a:pt x="241" y="1366"/>
                  <a:pt x="241" y="1366"/>
                  <a:pt x="241" y="1366"/>
                </a:cubicBezTo>
                <a:cubicBezTo>
                  <a:pt x="241" y="1386"/>
                  <a:pt x="248" y="1404"/>
                  <a:pt x="259" y="1420"/>
                </a:cubicBezTo>
                <a:cubicBezTo>
                  <a:pt x="371" y="1569"/>
                  <a:pt x="534" y="1663"/>
                  <a:pt x="716" y="1687"/>
                </a:cubicBezTo>
                <a:cubicBezTo>
                  <a:pt x="716" y="1870"/>
                  <a:pt x="716" y="1870"/>
                  <a:pt x="716" y="1870"/>
                </a:cubicBezTo>
                <a:cubicBezTo>
                  <a:pt x="390" y="1870"/>
                  <a:pt x="390" y="1870"/>
                  <a:pt x="390" y="1870"/>
                </a:cubicBezTo>
                <a:cubicBezTo>
                  <a:pt x="341" y="1870"/>
                  <a:pt x="301" y="1910"/>
                  <a:pt x="301" y="1959"/>
                </a:cubicBezTo>
                <a:cubicBezTo>
                  <a:pt x="301" y="2008"/>
                  <a:pt x="341" y="2048"/>
                  <a:pt x="390" y="2048"/>
                </a:cubicBezTo>
                <a:cubicBezTo>
                  <a:pt x="805" y="2048"/>
                  <a:pt x="805" y="2048"/>
                  <a:pt x="805" y="2048"/>
                </a:cubicBezTo>
                <a:cubicBezTo>
                  <a:pt x="1220" y="2048"/>
                  <a:pt x="1220" y="2048"/>
                  <a:pt x="1220" y="2048"/>
                </a:cubicBezTo>
                <a:cubicBezTo>
                  <a:pt x="1269" y="2048"/>
                  <a:pt x="1308" y="2008"/>
                  <a:pt x="1308" y="1959"/>
                </a:cubicBezTo>
                <a:cubicBezTo>
                  <a:pt x="1308" y="1910"/>
                  <a:pt x="1269" y="1870"/>
                  <a:pt x="1220" y="1870"/>
                </a:cubicBezTo>
                <a:cubicBezTo>
                  <a:pt x="894" y="1870"/>
                  <a:pt x="894" y="1870"/>
                  <a:pt x="894" y="1870"/>
                </a:cubicBezTo>
                <a:cubicBezTo>
                  <a:pt x="894" y="1687"/>
                  <a:pt x="894" y="1687"/>
                  <a:pt x="894" y="1687"/>
                </a:cubicBezTo>
                <a:cubicBezTo>
                  <a:pt x="1227" y="1643"/>
                  <a:pt x="1486" y="1356"/>
                  <a:pt x="1486" y="1011"/>
                </a:cubicBezTo>
                <a:cubicBezTo>
                  <a:pt x="1486" y="859"/>
                  <a:pt x="1436" y="714"/>
                  <a:pt x="1345" y="596"/>
                </a:cubicBezTo>
                <a:cubicBezTo>
                  <a:pt x="1538" y="403"/>
                  <a:pt x="1538" y="403"/>
                  <a:pt x="1538" y="403"/>
                </a:cubicBezTo>
                <a:cubicBezTo>
                  <a:pt x="1573" y="368"/>
                  <a:pt x="1573" y="312"/>
                  <a:pt x="1538" y="277"/>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21" name="Freeform 18">
            <a:extLst>
              <a:ext uri="{FF2B5EF4-FFF2-40B4-BE49-F238E27FC236}">
                <a16:creationId xmlns:a16="http://schemas.microsoft.com/office/drawing/2014/main" id="{D79D0F5D-591F-4B5C-8811-613CF3A06EDC}"/>
              </a:ext>
            </a:extLst>
          </p:cNvPr>
          <p:cNvSpPr>
            <a:spLocks noEditPoints="1"/>
          </p:cNvSpPr>
          <p:nvPr/>
        </p:nvSpPr>
        <p:spPr bwMode="auto">
          <a:xfrm>
            <a:off x="7144412" y="3864910"/>
            <a:ext cx="291682" cy="331256"/>
          </a:xfrm>
          <a:custGeom>
            <a:avLst/>
            <a:gdLst>
              <a:gd name="T0" fmla="*/ 1785 w 1806"/>
              <a:gd name="T1" fmla="*/ 223 h 2048"/>
              <a:gd name="T2" fmla="*/ 1512 w 1806"/>
              <a:gd name="T3" fmla="*/ 0 h 2048"/>
              <a:gd name="T4" fmla="*/ 1512 w 1806"/>
              <a:gd name="T5" fmla="*/ 0 h 2048"/>
              <a:gd name="T6" fmla="*/ 1349 w 1806"/>
              <a:gd name="T7" fmla="*/ 0 h 2048"/>
              <a:gd name="T8" fmla="*/ 457 w 1806"/>
              <a:gd name="T9" fmla="*/ 0 h 2048"/>
              <a:gd name="T10" fmla="*/ 294 w 1806"/>
              <a:gd name="T11" fmla="*/ 0 h 2048"/>
              <a:gd name="T12" fmla="*/ 294 w 1806"/>
              <a:gd name="T13" fmla="*/ 0 h 2048"/>
              <a:gd name="T14" fmla="*/ 21 w 1806"/>
              <a:gd name="T15" fmla="*/ 223 h 2048"/>
              <a:gd name="T16" fmla="*/ 78 w 1806"/>
              <a:gd name="T17" fmla="*/ 520 h 2048"/>
              <a:gd name="T18" fmla="*/ 366 w 1806"/>
              <a:gd name="T19" fmla="*/ 782 h 2048"/>
              <a:gd name="T20" fmla="*/ 810 w 1806"/>
              <a:gd name="T21" fmla="*/ 1276 h 2048"/>
              <a:gd name="T22" fmla="*/ 810 w 1806"/>
              <a:gd name="T23" fmla="*/ 1480 h 2048"/>
              <a:gd name="T24" fmla="*/ 521 w 1806"/>
              <a:gd name="T25" fmla="*/ 1480 h 2048"/>
              <a:gd name="T26" fmla="*/ 428 w 1806"/>
              <a:gd name="T27" fmla="*/ 1573 h 2048"/>
              <a:gd name="T28" fmla="*/ 428 w 1806"/>
              <a:gd name="T29" fmla="*/ 1955 h 2048"/>
              <a:gd name="T30" fmla="*/ 521 w 1806"/>
              <a:gd name="T31" fmla="*/ 2048 h 2048"/>
              <a:gd name="T32" fmla="*/ 1285 w 1806"/>
              <a:gd name="T33" fmla="*/ 2048 h 2048"/>
              <a:gd name="T34" fmla="*/ 1378 w 1806"/>
              <a:gd name="T35" fmla="*/ 1955 h 2048"/>
              <a:gd name="T36" fmla="*/ 1378 w 1806"/>
              <a:gd name="T37" fmla="*/ 1573 h 2048"/>
              <a:gd name="T38" fmla="*/ 1285 w 1806"/>
              <a:gd name="T39" fmla="*/ 1480 h 2048"/>
              <a:gd name="T40" fmla="*/ 996 w 1806"/>
              <a:gd name="T41" fmla="*/ 1480 h 2048"/>
              <a:gd name="T42" fmla="*/ 996 w 1806"/>
              <a:gd name="T43" fmla="*/ 1276 h 2048"/>
              <a:gd name="T44" fmla="*/ 1440 w 1806"/>
              <a:gd name="T45" fmla="*/ 781 h 2048"/>
              <a:gd name="T46" fmla="*/ 1728 w 1806"/>
              <a:gd name="T47" fmla="*/ 520 h 2048"/>
              <a:gd name="T48" fmla="*/ 1785 w 1806"/>
              <a:gd name="T49" fmla="*/ 223 h 2048"/>
              <a:gd name="T50" fmla="*/ 201 w 1806"/>
              <a:gd name="T51" fmla="*/ 269 h 2048"/>
              <a:gd name="T52" fmla="*/ 294 w 1806"/>
              <a:gd name="T53" fmla="*/ 186 h 2048"/>
              <a:gd name="T54" fmla="*/ 294 w 1806"/>
              <a:gd name="T55" fmla="*/ 186 h 2048"/>
              <a:gd name="T56" fmla="*/ 364 w 1806"/>
              <a:gd name="T57" fmla="*/ 186 h 2048"/>
              <a:gd name="T58" fmla="*/ 365 w 1806"/>
              <a:gd name="T59" fmla="*/ 557 h 2048"/>
              <a:gd name="T60" fmla="*/ 201 w 1806"/>
              <a:gd name="T61" fmla="*/ 269 h 2048"/>
              <a:gd name="T62" fmla="*/ 1442 w 1806"/>
              <a:gd name="T63" fmla="*/ 556 h 2048"/>
              <a:gd name="T64" fmla="*/ 1442 w 1806"/>
              <a:gd name="T65" fmla="*/ 186 h 2048"/>
              <a:gd name="T66" fmla="*/ 1512 w 1806"/>
              <a:gd name="T67" fmla="*/ 186 h 2048"/>
              <a:gd name="T68" fmla="*/ 1512 w 1806"/>
              <a:gd name="T69" fmla="*/ 186 h 2048"/>
              <a:gd name="T70" fmla="*/ 1605 w 1806"/>
              <a:gd name="T71" fmla="*/ 269 h 2048"/>
              <a:gd name="T72" fmla="*/ 1442 w 1806"/>
              <a:gd name="T73" fmla="*/ 556 h 20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806" h="2048">
                <a:moveTo>
                  <a:pt x="1785" y="223"/>
                </a:moveTo>
                <a:cubicBezTo>
                  <a:pt x="1752" y="92"/>
                  <a:pt x="1640" y="0"/>
                  <a:pt x="1512" y="0"/>
                </a:cubicBezTo>
                <a:cubicBezTo>
                  <a:pt x="1512" y="0"/>
                  <a:pt x="1512" y="0"/>
                  <a:pt x="1512" y="0"/>
                </a:cubicBezTo>
                <a:cubicBezTo>
                  <a:pt x="1349" y="0"/>
                  <a:pt x="1349" y="0"/>
                  <a:pt x="1349" y="0"/>
                </a:cubicBezTo>
                <a:cubicBezTo>
                  <a:pt x="457" y="0"/>
                  <a:pt x="457" y="0"/>
                  <a:pt x="457" y="0"/>
                </a:cubicBezTo>
                <a:cubicBezTo>
                  <a:pt x="294" y="0"/>
                  <a:pt x="294" y="0"/>
                  <a:pt x="294" y="0"/>
                </a:cubicBezTo>
                <a:cubicBezTo>
                  <a:pt x="294" y="0"/>
                  <a:pt x="294" y="0"/>
                  <a:pt x="294" y="0"/>
                </a:cubicBezTo>
                <a:cubicBezTo>
                  <a:pt x="166" y="0"/>
                  <a:pt x="54" y="92"/>
                  <a:pt x="21" y="223"/>
                </a:cubicBezTo>
                <a:cubicBezTo>
                  <a:pt x="3" y="290"/>
                  <a:pt x="0" y="396"/>
                  <a:pt x="78" y="520"/>
                </a:cubicBezTo>
                <a:cubicBezTo>
                  <a:pt x="137" y="615"/>
                  <a:pt x="234" y="703"/>
                  <a:pt x="366" y="782"/>
                </a:cubicBezTo>
                <a:cubicBezTo>
                  <a:pt x="383" y="1030"/>
                  <a:pt x="569" y="1234"/>
                  <a:pt x="810" y="1276"/>
                </a:cubicBezTo>
                <a:cubicBezTo>
                  <a:pt x="810" y="1480"/>
                  <a:pt x="810" y="1480"/>
                  <a:pt x="810" y="1480"/>
                </a:cubicBezTo>
                <a:cubicBezTo>
                  <a:pt x="521" y="1480"/>
                  <a:pt x="521" y="1480"/>
                  <a:pt x="521" y="1480"/>
                </a:cubicBezTo>
                <a:cubicBezTo>
                  <a:pt x="470" y="1480"/>
                  <a:pt x="428" y="1522"/>
                  <a:pt x="428" y="1573"/>
                </a:cubicBezTo>
                <a:cubicBezTo>
                  <a:pt x="428" y="1955"/>
                  <a:pt x="428" y="1955"/>
                  <a:pt x="428" y="1955"/>
                </a:cubicBezTo>
                <a:cubicBezTo>
                  <a:pt x="428" y="2006"/>
                  <a:pt x="470" y="2048"/>
                  <a:pt x="521" y="2048"/>
                </a:cubicBezTo>
                <a:cubicBezTo>
                  <a:pt x="1285" y="2048"/>
                  <a:pt x="1285" y="2048"/>
                  <a:pt x="1285" y="2048"/>
                </a:cubicBezTo>
                <a:cubicBezTo>
                  <a:pt x="1336" y="2048"/>
                  <a:pt x="1378" y="2006"/>
                  <a:pt x="1378" y="1955"/>
                </a:cubicBezTo>
                <a:cubicBezTo>
                  <a:pt x="1378" y="1573"/>
                  <a:pt x="1378" y="1573"/>
                  <a:pt x="1378" y="1573"/>
                </a:cubicBezTo>
                <a:cubicBezTo>
                  <a:pt x="1378" y="1522"/>
                  <a:pt x="1336" y="1480"/>
                  <a:pt x="1285" y="1480"/>
                </a:cubicBezTo>
                <a:cubicBezTo>
                  <a:pt x="996" y="1480"/>
                  <a:pt x="996" y="1480"/>
                  <a:pt x="996" y="1480"/>
                </a:cubicBezTo>
                <a:cubicBezTo>
                  <a:pt x="996" y="1276"/>
                  <a:pt x="996" y="1276"/>
                  <a:pt x="996" y="1276"/>
                </a:cubicBezTo>
                <a:cubicBezTo>
                  <a:pt x="1238" y="1234"/>
                  <a:pt x="1424" y="1031"/>
                  <a:pt x="1440" y="781"/>
                </a:cubicBezTo>
                <a:cubicBezTo>
                  <a:pt x="1572" y="703"/>
                  <a:pt x="1669" y="615"/>
                  <a:pt x="1728" y="520"/>
                </a:cubicBezTo>
                <a:cubicBezTo>
                  <a:pt x="1806" y="396"/>
                  <a:pt x="1803" y="290"/>
                  <a:pt x="1785" y="223"/>
                </a:cubicBezTo>
                <a:close/>
                <a:moveTo>
                  <a:pt x="201" y="269"/>
                </a:moveTo>
                <a:cubicBezTo>
                  <a:pt x="215" y="215"/>
                  <a:pt x="258" y="186"/>
                  <a:pt x="294" y="186"/>
                </a:cubicBezTo>
                <a:cubicBezTo>
                  <a:pt x="294" y="186"/>
                  <a:pt x="294" y="186"/>
                  <a:pt x="294" y="186"/>
                </a:cubicBezTo>
                <a:cubicBezTo>
                  <a:pt x="364" y="186"/>
                  <a:pt x="364" y="186"/>
                  <a:pt x="364" y="186"/>
                </a:cubicBezTo>
                <a:cubicBezTo>
                  <a:pt x="365" y="557"/>
                  <a:pt x="365" y="557"/>
                  <a:pt x="365" y="557"/>
                </a:cubicBezTo>
                <a:cubicBezTo>
                  <a:pt x="221" y="446"/>
                  <a:pt x="183" y="340"/>
                  <a:pt x="201" y="269"/>
                </a:cubicBezTo>
                <a:close/>
                <a:moveTo>
                  <a:pt x="1442" y="556"/>
                </a:moveTo>
                <a:cubicBezTo>
                  <a:pt x="1442" y="186"/>
                  <a:pt x="1442" y="186"/>
                  <a:pt x="1442" y="186"/>
                </a:cubicBezTo>
                <a:cubicBezTo>
                  <a:pt x="1512" y="186"/>
                  <a:pt x="1512" y="186"/>
                  <a:pt x="1512" y="186"/>
                </a:cubicBezTo>
                <a:cubicBezTo>
                  <a:pt x="1512" y="186"/>
                  <a:pt x="1512" y="186"/>
                  <a:pt x="1512" y="186"/>
                </a:cubicBezTo>
                <a:cubicBezTo>
                  <a:pt x="1548" y="186"/>
                  <a:pt x="1591" y="215"/>
                  <a:pt x="1605" y="269"/>
                </a:cubicBezTo>
                <a:cubicBezTo>
                  <a:pt x="1623" y="340"/>
                  <a:pt x="1585" y="446"/>
                  <a:pt x="1442" y="556"/>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grpSp>
        <p:nvGrpSpPr>
          <p:cNvPr id="22" name="Group 79">
            <a:extLst>
              <a:ext uri="{FF2B5EF4-FFF2-40B4-BE49-F238E27FC236}">
                <a16:creationId xmlns:a16="http://schemas.microsoft.com/office/drawing/2014/main" id="{3E37C4BB-FAC8-4E99-81C3-658C574BB55A}"/>
              </a:ext>
            </a:extLst>
          </p:cNvPr>
          <p:cNvGrpSpPr/>
          <p:nvPr/>
        </p:nvGrpSpPr>
        <p:grpSpPr>
          <a:xfrm>
            <a:off x="7229581" y="2837246"/>
            <a:ext cx="233756" cy="332346"/>
            <a:chOff x="3679825" y="6196013"/>
            <a:chExt cx="466725" cy="663575"/>
          </a:xfrm>
          <a:solidFill>
            <a:srgbClr val="FFFFFF"/>
          </a:solidFill>
        </p:grpSpPr>
        <p:sp>
          <p:nvSpPr>
            <p:cNvPr id="23" name="Freeform 29">
              <a:extLst>
                <a:ext uri="{FF2B5EF4-FFF2-40B4-BE49-F238E27FC236}">
                  <a16:creationId xmlns:a16="http://schemas.microsoft.com/office/drawing/2014/main" id="{6419F41A-AD3D-4B39-8B0D-741ED4ED3E7E}"/>
                </a:ext>
              </a:extLst>
            </p:cNvPr>
            <p:cNvSpPr>
              <a:spLocks/>
            </p:cNvSpPr>
            <p:nvPr/>
          </p:nvSpPr>
          <p:spPr bwMode="auto">
            <a:xfrm>
              <a:off x="3752850" y="6675438"/>
              <a:ext cx="320675" cy="184150"/>
            </a:xfrm>
            <a:custGeom>
              <a:avLst/>
              <a:gdLst>
                <a:gd name="T0" fmla="*/ 900 w 994"/>
                <a:gd name="T1" fmla="*/ 54 h 571"/>
                <a:gd name="T2" fmla="*/ 806 w 994"/>
                <a:gd name="T3" fmla="*/ 94 h 571"/>
                <a:gd name="T4" fmla="*/ 497 w 994"/>
                <a:gd name="T5" fmla="*/ 149 h 571"/>
                <a:gd name="T6" fmla="*/ 188 w 994"/>
                <a:gd name="T7" fmla="*/ 94 h 571"/>
                <a:gd name="T8" fmla="*/ 94 w 994"/>
                <a:gd name="T9" fmla="*/ 54 h 571"/>
                <a:gd name="T10" fmla="*/ 0 w 994"/>
                <a:gd name="T11" fmla="*/ 0 h 571"/>
                <a:gd name="T12" fmla="*/ 0 w 994"/>
                <a:gd name="T13" fmla="*/ 472 h 571"/>
                <a:gd name="T14" fmla="*/ 45 w 994"/>
                <a:gd name="T15" fmla="*/ 552 h 571"/>
                <a:gd name="T16" fmla="*/ 136 w 994"/>
                <a:gd name="T17" fmla="*/ 556 h 571"/>
                <a:gd name="T18" fmla="*/ 497 w 994"/>
                <a:gd name="T19" fmla="*/ 372 h 571"/>
                <a:gd name="T20" fmla="*/ 858 w 994"/>
                <a:gd name="T21" fmla="*/ 556 h 571"/>
                <a:gd name="T22" fmla="*/ 900 w 994"/>
                <a:gd name="T23" fmla="*/ 566 h 571"/>
                <a:gd name="T24" fmla="*/ 949 w 994"/>
                <a:gd name="T25" fmla="*/ 552 h 571"/>
                <a:gd name="T26" fmla="*/ 994 w 994"/>
                <a:gd name="T27" fmla="*/ 472 h 571"/>
                <a:gd name="T28" fmla="*/ 994 w 994"/>
                <a:gd name="T29" fmla="*/ 0 h 571"/>
                <a:gd name="T30" fmla="*/ 900 w 994"/>
                <a:gd name="T31" fmla="*/ 54 h 5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94" h="571">
                  <a:moveTo>
                    <a:pt x="900" y="54"/>
                  </a:moveTo>
                  <a:cubicBezTo>
                    <a:pt x="870" y="69"/>
                    <a:pt x="839" y="83"/>
                    <a:pt x="806" y="94"/>
                  </a:cubicBezTo>
                  <a:cubicBezTo>
                    <a:pt x="710" y="129"/>
                    <a:pt x="606" y="149"/>
                    <a:pt x="497" y="149"/>
                  </a:cubicBezTo>
                  <a:cubicBezTo>
                    <a:pt x="388" y="149"/>
                    <a:pt x="284" y="129"/>
                    <a:pt x="188" y="94"/>
                  </a:cubicBezTo>
                  <a:cubicBezTo>
                    <a:pt x="155" y="83"/>
                    <a:pt x="124" y="69"/>
                    <a:pt x="94" y="54"/>
                  </a:cubicBezTo>
                  <a:cubicBezTo>
                    <a:pt x="61" y="38"/>
                    <a:pt x="30" y="20"/>
                    <a:pt x="0" y="0"/>
                  </a:cubicBezTo>
                  <a:cubicBezTo>
                    <a:pt x="0" y="472"/>
                    <a:pt x="0" y="472"/>
                    <a:pt x="0" y="472"/>
                  </a:cubicBezTo>
                  <a:cubicBezTo>
                    <a:pt x="0" y="505"/>
                    <a:pt x="17" y="535"/>
                    <a:pt x="45" y="552"/>
                  </a:cubicBezTo>
                  <a:cubicBezTo>
                    <a:pt x="72" y="569"/>
                    <a:pt x="107" y="571"/>
                    <a:pt x="136" y="556"/>
                  </a:cubicBezTo>
                  <a:cubicBezTo>
                    <a:pt x="497" y="372"/>
                    <a:pt x="497" y="372"/>
                    <a:pt x="497" y="372"/>
                  </a:cubicBezTo>
                  <a:cubicBezTo>
                    <a:pt x="858" y="556"/>
                    <a:pt x="858" y="556"/>
                    <a:pt x="858" y="556"/>
                  </a:cubicBezTo>
                  <a:cubicBezTo>
                    <a:pt x="871" y="563"/>
                    <a:pt x="886" y="566"/>
                    <a:pt x="900" y="566"/>
                  </a:cubicBezTo>
                  <a:cubicBezTo>
                    <a:pt x="917" y="566"/>
                    <a:pt x="934" y="561"/>
                    <a:pt x="949" y="552"/>
                  </a:cubicBezTo>
                  <a:cubicBezTo>
                    <a:pt x="977" y="535"/>
                    <a:pt x="994" y="505"/>
                    <a:pt x="994" y="472"/>
                  </a:cubicBezTo>
                  <a:cubicBezTo>
                    <a:pt x="994" y="0"/>
                    <a:pt x="994" y="0"/>
                    <a:pt x="994" y="0"/>
                  </a:cubicBezTo>
                  <a:cubicBezTo>
                    <a:pt x="964" y="20"/>
                    <a:pt x="933" y="38"/>
                    <a:pt x="900"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24" name="Oval 30">
              <a:extLst>
                <a:ext uri="{FF2B5EF4-FFF2-40B4-BE49-F238E27FC236}">
                  <a16:creationId xmlns:a16="http://schemas.microsoft.com/office/drawing/2014/main" id="{00823A3F-E538-4F3A-8965-3C8ABF03BDE9}"/>
                </a:ext>
              </a:extLst>
            </p:cNvPr>
            <p:cNvSpPr>
              <a:spLocks noChangeArrowheads="1"/>
            </p:cNvSpPr>
            <p:nvPr/>
          </p:nvSpPr>
          <p:spPr bwMode="auto">
            <a:xfrm>
              <a:off x="3862388" y="6378575"/>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25" name="Freeform 31">
              <a:extLst>
                <a:ext uri="{FF2B5EF4-FFF2-40B4-BE49-F238E27FC236}">
                  <a16:creationId xmlns:a16="http://schemas.microsoft.com/office/drawing/2014/main" id="{25030C0B-FFAF-47F1-8926-10B34707C0F2}"/>
                </a:ext>
              </a:extLst>
            </p:cNvPr>
            <p:cNvSpPr>
              <a:spLocks noEditPoints="1"/>
            </p:cNvSpPr>
            <p:nvPr/>
          </p:nvSpPr>
          <p:spPr bwMode="auto">
            <a:xfrm>
              <a:off x="3679825" y="6196013"/>
              <a:ext cx="466725" cy="466725"/>
            </a:xfrm>
            <a:custGeom>
              <a:avLst/>
              <a:gdLst>
                <a:gd name="T0" fmla="*/ 721 w 1442"/>
                <a:gd name="T1" fmla="*/ 0 h 1442"/>
                <a:gd name="T2" fmla="*/ 0 w 1442"/>
                <a:gd name="T3" fmla="*/ 721 h 1442"/>
                <a:gd name="T4" fmla="*/ 224 w 1442"/>
                <a:gd name="T5" fmla="*/ 1243 h 1442"/>
                <a:gd name="T6" fmla="*/ 318 w 1442"/>
                <a:gd name="T7" fmla="*/ 1319 h 1442"/>
                <a:gd name="T8" fmla="*/ 412 w 1442"/>
                <a:gd name="T9" fmla="*/ 1373 h 1442"/>
                <a:gd name="T10" fmla="*/ 721 w 1442"/>
                <a:gd name="T11" fmla="*/ 1442 h 1442"/>
                <a:gd name="T12" fmla="*/ 1030 w 1442"/>
                <a:gd name="T13" fmla="*/ 1373 h 1442"/>
                <a:gd name="T14" fmla="*/ 1124 w 1442"/>
                <a:gd name="T15" fmla="*/ 1319 h 1442"/>
                <a:gd name="T16" fmla="*/ 1218 w 1442"/>
                <a:gd name="T17" fmla="*/ 1243 h 1442"/>
                <a:gd name="T18" fmla="*/ 1442 w 1442"/>
                <a:gd name="T19" fmla="*/ 721 h 1442"/>
                <a:gd name="T20" fmla="*/ 721 w 1442"/>
                <a:gd name="T21" fmla="*/ 0 h 1442"/>
                <a:gd name="T22" fmla="*/ 721 w 1442"/>
                <a:gd name="T23" fmla="*/ 1066 h 1442"/>
                <a:gd name="T24" fmla="*/ 376 w 1442"/>
                <a:gd name="T25" fmla="*/ 721 h 1442"/>
                <a:gd name="T26" fmla="*/ 721 w 1442"/>
                <a:gd name="T27" fmla="*/ 376 h 1442"/>
                <a:gd name="T28" fmla="*/ 1066 w 1442"/>
                <a:gd name="T29" fmla="*/ 721 h 1442"/>
                <a:gd name="T30" fmla="*/ 721 w 1442"/>
                <a:gd name="T31" fmla="*/ 1066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42" h="1442">
                  <a:moveTo>
                    <a:pt x="721" y="0"/>
                  </a:moveTo>
                  <a:cubicBezTo>
                    <a:pt x="323" y="0"/>
                    <a:pt x="0" y="324"/>
                    <a:pt x="0" y="721"/>
                  </a:cubicBezTo>
                  <a:cubicBezTo>
                    <a:pt x="0" y="926"/>
                    <a:pt x="86" y="1112"/>
                    <a:pt x="224" y="1243"/>
                  </a:cubicBezTo>
                  <a:cubicBezTo>
                    <a:pt x="253" y="1271"/>
                    <a:pt x="284" y="1296"/>
                    <a:pt x="318" y="1319"/>
                  </a:cubicBezTo>
                  <a:cubicBezTo>
                    <a:pt x="347" y="1339"/>
                    <a:pt x="379" y="1357"/>
                    <a:pt x="412" y="1373"/>
                  </a:cubicBezTo>
                  <a:cubicBezTo>
                    <a:pt x="505" y="1417"/>
                    <a:pt x="610" y="1442"/>
                    <a:pt x="721" y="1442"/>
                  </a:cubicBezTo>
                  <a:cubicBezTo>
                    <a:pt x="832" y="1442"/>
                    <a:pt x="937" y="1417"/>
                    <a:pt x="1030" y="1373"/>
                  </a:cubicBezTo>
                  <a:cubicBezTo>
                    <a:pt x="1063" y="1357"/>
                    <a:pt x="1095" y="1339"/>
                    <a:pt x="1124" y="1319"/>
                  </a:cubicBezTo>
                  <a:cubicBezTo>
                    <a:pt x="1158" y="1296"/>
                    <a:pt x="1189" y="1271"/>
                    <a:pt x="1218" y="1243"/>
                  </a:cubicBezTo>
                  <a:cubicBezTo>
                    <a:pt x="1356" y="1112"/>
                    <a:pt x="1442" y="926"/>
                    <a:pt x="1442" y="721"/>
                  </a:cubicBezTo>
                  <a:cubicBezTo>
                    <a:pt x="1442" y="324"/>
                    <a:pt x="1119" y="0"/>
                    <a:pt x="721" y="0"/>
                  </a:cubicBezTo>
                  <a:close/>
                  <a:moveTo>
                    <a:pt x="721" y="1066"/>
                  </a:moveTo>
                  <a:cubicBezTo>
                    <a:pt x="531" y="1066"/>
                    <a:pt x="376" y="911"/>
                    <a:pt x="376" y="721"/>
                  </a:cubicBezTo>
                  <a:cubicBezTo>
                    <a:pt x="376" y="531"/>
                    <a:pt x="531" y="376"/>
                    <a:pt x="721" y="376"/>
                  </a:cubicBezTo>
                  <a:cubicBezTo>
                    <a:pt x="911" y="376"/>
                    <a:pt x="1066" y="531"/>
                    <a:pt x="1066" y="721"/>
                  </a:cubicBezTo>
                  <a:cubicBezTo>
                    <a:pt x="1066" y="911"/>
                    <a:pt x="911" y="1066"/>
                    <a:pt x="721" y="106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grpSp>
      <p:grpSp>
        <p:nvGrpSpPr>
          <p:cNvPr id="26" name="Group 83">
            <a:extLst>
              <a:ext uri="{FF2B5EF4-FFF2-40B4-BE49-F238E27FC236}">
                <a16:creationId xmlns:a16="http://schemas.microsoft.com/office/drawing/2014/main" id="{1D907309-1F54-4051-9F0E-290A7A101D52}"/>
              </a:ext>
            </a:extLst>
          </p:cNvPr>
          <p:cNvGrpSpPr/>
          <p:nvPr/>
        </p:nvGrpSpPr>
        <p:grpSpPr>
          <a:xfrm>
            <a:off x="6519395" y="2051341"/>
            <a:ext cx="327088" cy="361256"/>
            <a:chOff x="5153025" y="2384426"/>
            <a:chExt cx="1884363" cy="2081213"/>
          </a:xfrm>
          <a:solidFill>
            <a:srgbClr val="FFFFFF"/>
          </a:solidFill>
        </p:grpSpPr>
        <p:sp>
          <p:nvSpPr>
            <p:cNvPr id="27" name="Freeform 5">
              <a:extLst>
                <a:ext uri="{FF2B5EF4-FFF2-40B4-BE49-F238E27FC236}">
                  <a16:creationId xmlns:a16="http://schemas.microsoft.com/office/drawing/2014/main" id="{96A79A5B-0955-480E-9A91-5382B1B36E59}"/>
                </a:ext>
              </a:extLst>
            </p:cNvPr>
            <p:cNvSpPr>
              <a:spLocks/>
            </p:cNvSpPr>
            <p:nvPr/>
          </p:nvSpPr>
          <p:spPr bwMode="auto">
            <a:xfrm>
              <a:off x="5529263" y="2384426"/>
              <a:ext cx="377825" cy="763588"/>
            </a:xfrm>
            <a:custGeom>
              <a:avLst/>
              <a:gdLst>
                <a:gd name="T0" fmla="*/ 252 w 373"/>
                <a:gd name="T1" fmla="*/ 409 h 754"/>
                <a:gd name="T2" fmla="*/ 187 w 373"/>
                <a:gd name="T3" fmla="*/ 288 h 754"/>
                <a:gd name="T4" fmla="*/ 252 w 373"/>
                <a:gd name="T5" fmla="*/ 168 h 754"/>
                <a:gd name="T6" fmla="*/ 252 w 373"/>
                <a:gd name="T7" fmla="*/ 36 h 754"/>
                <a:gd name="T8" fmla="*/ 121 w 373"/>
                <a:gd name="T9" fmla="*/ 36 h 754"/>
                <a:gd name="T10" fmla="*/ 0 w 373"/>
                <a:gd name="T11" fmla="*/ 288 h 754"/>
                <a:gd name="T12" fmla="*/ 121 w 373"/>
                <a:gd name="T13" fmla="*/ 540 h 754"/>
                <a:gd name="T14" fmla="*/ 187 w 373"/>
                <a:gd name="T15" fmla="*/ 661 h 754"/>
                <a:gd name="T16" fmla="*/ 280 w 373"/>
                <a:gd name="T17" fmla="*/ 754 h 754"/>
                <a:gd name="T18" fmla="*/ 373 w 373"/>
                <a:gd name="T19" fmla="*/ 661 h 754"/>
                <a:gd name="T20" fmla="*/ 252 w 373"/>
                <a:gd name="T21" fmla="*/ 409 h 7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3" h="754">
                  <a:moveTo>
                    <a:pt x="252" y="409"/>
                  </a:moveTo>
                  <a:cubicBezTo>
                    <a:pt x="207" y="363"/>
                    <a:pt x="187" y="341"/>
                    <a:pt x="187" y="288"/>
                  </a:cubicBezTo>
                  <a:cubicBezTo>
                    <a:pt x="187" y="236"/>
                    <a:pt x="207" y="214"/>
                    <a:pt x="252" y="168"/>
                  </a:cubicBezTo>
                  <a:cubicBezTo>
                    <a:pt x="289" y="132"/>
                    <a:pt x="289" y="73"/>
                    <a:pt x="252" y="36"/>
                  </a:cubicBezTo>
                  <a:cubicBezTo>
                    <a:pt x="216" y="0"/>
                    <a:pt x="157" y="0"/>
                    <a:pt x="121" y="36"/>
                  </a:cubicBezTo>
                  <a:cubicBezTo>
                    <a:pt x="70" y="87"/>
                    <a:pt x="0" y="157"/>
                    <a:pt x="0" y="288"/>
                  </a:cubicBezTo>
                  <a:cubicBezTo>
                    <a:pt x="0" y="420"/>
                    <a:pt x="70" y="489"/>
                    <a:pt x="121" y="540"/>
                  </a:cubicBezTo>
                  <a:cubicBezTo>
                    <a:pt x="166" y="586"/>
                    <a:pt x="187" y="608"/>
                    <a:pt x="187" y="661"/>
                  </a:cubicBezTo>
                  <a:cubicBezTo>
                    <a:pt x="187" y="712"/>
                    <a:pt x="228" y="754"/>
                    <a:pt x="280" y="754"/>
                  </a:cubicBezTo>
                  <a:cubicBezTo>
                    <a:pt x="331" y="754"/>
                    <a:pt x="373" y="712"/>
                    <a:pt x="373" y="661"/>
                  </a:cubicBezTo>
                  <a:cubicBezTo>
                    <a:pt x="373" y="529"/>
                    <a:pt x="303" y="459"/>
                    <a:pt x="252" y="40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28" name="Freeform 6">
              <a:extLst>
                <a:ext uri="{FF2B5EF4-FFF2-40B4-BE49-F238E27FC236}">
                  <a16:creationId xmlns:a16="http://schemas.microsoft.com/office/drawing/2014/main" id="{4167919D-0285-43D5-8E34-2AFE82E3D384}"/>
                </a:ext>
              </a:extLst>
            </p:cNvPr>
            <p:cNvSpPr>
              <a:spLocks/>
            </p:cNvSpPr>
            <p:nvPr/>
          </p:nvSpPr>
          <p:spPr bwMode="auto">
            <a:xfrm>
              <a:off x="5970588" y="2384426"/>
              <a:ext cx="376238" cy="763588"/>
            </a:xfrm>
            <a:custGeom>
              <a:avLst/>
              <a:gdLst>
                <a:gd name="T0" fmla="*/ 252 w 372"/>
                <a:gd name="T1" fmla="*/ 409 h 754"/>
                <a:gd name="T2" fmla="*/ 186 w 372"/>
                <a:gd name="T3" fmla="*/ 288 h 754"/>
                <a:gd name="T4" fmla="*/ 252 w 372"/>
                <a:gd name="T5" fmla="*/ 168 h 754"/>
                <a:gd name="T6" fmla="*/ 252 w 372"/>
                <a:gd name="T7" fmla="*/ 36 h 754"/>
                <a:gd name="T8" fmla="*/ 120 w 372"/>
                <a:gd name="T9" fmla="*/ 36 h 754"/>
                <a:gd name="T10" fmla="*/ 0 w 372"/>
                <a:gd name="T11" fmla="*/ 288 h 754"/>
                <a:gd name="T12" fmla="*/ 120 w 372"/>
                <a:gd name="T13" fmla="*/ 540 h 754"/>
                <a:gd name="T14" fmla="*/ 186 w 372"/>
                <a:gd name="T15" fmla="*/ 661 h 754"/>
                <a:gd name="T16" fmla="*/ 279 w 372"/>
                <a:gd name="T17" fmla="*/ 754 h 754"/>
                <a:gd name="T18" fmla="*/ 372 w 372"/>
                <a:gd name="T19" fmla="*/ 661 h 754"/>
                <a:gd name="T20" fmla="*/ 252 w 372"/>
                <a:gd name="T21" fmla="*/ 409 h 7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2" h="754">
                  <a:moveTo>
                    <a:pt x="252" y="409"/>
                  </a:moveTo>
                  <a:cubicBezTo>
                    <a:pt x="206" y="363"/>
                    <a:pt x="186" y="341"/>
                    <a:pt x="186" y="288"/>
                  </a:cubicBezTo>
                  <a:cubicBezTo>
                    <a:pt x="186" y="236"/>
                    <a:pt x="206" y="214"/>
                    <a:pt x="252" y="168"/>
                  </a:cubicBezTo>
                  <a:cubicBezTo>
                    <a:pt x="288" y="132"/>
                    <a:pt x="288" y="73"/>
                    <a:pt x="252" y="36"/>
                  </a:cubicBezTo>
                  <a:cubicBezTo>
                    <a:pt x="216" y="0"/>
                    <a:pt x="157" y="0"/>
                    <a:pt x="120" y="36"/>
                  </a:cubicBezTo>
                  <a:cubicBezTo>
                    <a:pt x="69" y="87"/>
                    <a:pt x="0" y="157"/>
                    <a:pt x="0" y="288"/>
                  </a:cubicBezTo>
                  <a:cubicBezTo>
                    <a:pt x="0" y="420"/>
                    <a:pt x="69" y="489"/>
                    <a:pt x="120" y="540"/>
                  </a:cubicBezTo>
                  <a:cubicBezTo>
                    <a:pt x="166" y="586"/>
                    <a:pt x="186" y="608"/>
                    <a:pt x="186" y="661"/>
                  </a:cubicBezTo>
                  <a:cubicBezTo>
                    <a:pt x="186" y="712"/>
                    <a:pt x="228" y="754"/>
                    <a:pt x="279" y="754"/>
                  </a:cubicBezTo>
                  <a:cubicBezTo>
                    <a:pt x="331" y="754"/>
                    <a:pt x="372" y="712"/>
                    <a:pt x="372" y="661"/>
                  </a:cubicBezTo>
                  <a:cubicBezTo>
                    <a:pt x="372" y="529"/>
                    <a:pt x="303" y="459"/>
                    <a:pt x="252" y="40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29" name="Freeform 7">
              <a:extLst>
                <a:ext uri="{FF2B5EF4-FFF2-40B4-BE49-F238E27FC236}">
                  <a16:creationId xmlns:a16="http://schemas.microsoft.com/office/drawing/2014/main" id="{1CC94DCD-AB78-425B-B626-63D54BA7AE52}"/>
                </a:ext>
              </a:extLst>
            </p:cNvPr>
            <p:cNvSpPr>
              <a:spLocks noEditPoints="1"/>
            </p:cNvSpPr>
            <p:nvPr/>
          </p:nvSpPr>
          <p:spPr bwMode="auto">
            <a:xfrm>
              <a:off x="5153025" y="3335340"/>
              <a:ext cx="1884363" cy="1130299"/>
            </a:xfrm>
            <a:custGeom>
              <a:avLst/>
              <a:gdLst>
                <a:gd name="T0" fmla="*/ 1433 w 1862"/>
                <a:gd name="T1" fmla="*/ 683 h 1117"/>
                <a:gd name="T2" fmla="*/ 1521 w 1862"/>
                <a:gd name="T3" fmla="*/ 683 h 1117"/>
                <a:gd name="T4" fmla="*/ 1521 w 1862"/>
                <a:gd name="T5" fmla="*/ 683 h 1117"/>
                <a:gd name="T6" fmla="*/ 1862 w 1862"/>
                <a:gd name="T7" fmla="*/ 341 h 1117"/>
                <a:gd name="T8" fmla="*/ 1521 w 1862"/>
                <a:gd name="T9" fmla="*/ 0 h 1117"/>
                <a:gd name="T10" fmla="*/ 1396 w 1862"/>
                <a:gd name="T11" fmla="*/ 0 h 1117"/>
                <a:gd name="T12" fmla="*/ 155 w 1862"/>
                <a:gd name="T13" fmla="*/ 0 h 1117"/>
                <a:gd name="T14" fmla="*/ 62 w 1862"/>
                <a:gd name="T15" fmla="*/ 93 h 1117"/>
                <a:gd name="T16" fmla="*/ 62 w 1862"/>
                <a:gd name="T17" fmla="*/ 403 h 1117"/>
                <a:gd name="T18" fmla="*/ 296 w 1862"/>
                <a:gd name="T19" fmla="*/ 931 h 1117"/>
                <a:gd name="T20" fmla="*/ 93 w 1862"/>
                <a:gd name="T21" fmla="*/ 931 h 1117"/>
                <a:gd name="T22" fmla="*/ 0 w 1862"/>
                <a:gd name="T23" fmla="*/ 1024 h 1117"/>
                <a:gd name="T24" fmla="*/ 93 w 1862"/>
                <a:gd name="T25" fmla="*/ 1117 h 1117"/>
                <a:gd name="T26" fmla="*/ 776 w 1862"/>
                <a:gd name="T27" fmla="*/ 1117 h 1117"/>
                <a:gd name="T28" fmla="*/ 1459 w 1862"/>
                <a:gd name="T29" fmla="*/ 1117 h 1117"/>
                <a:gd name="T30" fmla="*/ 1552 w 1862"/>
                <a:gd name="T31" fmla="*/ 1024 h 1117"/>
                <a:gd name="T32" fmla="*/ 1459 w 1862"/>
                <a:gd name="T33" fmla="*/ 931 h 1117"/>
                <a:gd name="T34" fmla="*/ 1256 w 1862"/>
                <a:gd name="T35" fmla="*/ 931 h 1117"/>
                <a:gd name="T36" fmla="*/ 1433 w 1862"/>
                <a:gd name="T37" fmla="*/ 683 h 1117"/>
                <a:gd name="T38" fmla="*/ 1490 w 1862"/>
                <a:gd name="T39" fmla="*/ 403 h 1117"/>
                <a:gd name="T40" fmla="*/ 1490 w 1862"/>
                <a:gd name="T41" fmla="*/ 186 h 1117"/>
                <a:gd name="T42" fmla="*/ 1521 w 1862"/>
                <a:gd name="T43" fmla="*/ 186 h 1117"/>
                <a:gd name="T44" fmla="*/ 1676 w 1862"/>
                <a:gd name="T45" fmla="*/ 341 h 1117"/>
                <a:gd name="T46" fmla="*/ 1521 w 1862"/>
                <a:gd name="T47" fmla="*/ 496 h 1117"/>
                <a:gd name="T48" fmla="*/ 1520 w 1862"/>
                <a:gd name="T49" fmla="*/ 496 h 1117"/>
                <a:gd name="T50" fmla="*/ 1483 w 1862"/>
                <a:gd name="T51" fmla="*/ 496 h 1117"/>
                <a:gd name="T52" fmla="*/ 1490 w 1862"/>
                <a:gd name="T53" fmla="*/ 403 h 1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62" h="1117">
                  <a:moveTo>
                    <a:pt x="1433" y="683"/>
                  </a:moveTo>
                  <a:cubicBezTo>
                    <a:pt x="1521" y="683"/>
                    <a:pt x="1521" y="683"/>
                    <a:pt x="1521" y="683"/>
                  </a:cubicBezTo>
                  <a:cubicBezTo>
                    <a:pt x="1521" y="683"/>
                    <a:pt x="1521" y="683"/>
                    <a:pt x="1521" y="683"/>
                  </a:cubicBezTo>
                  <a:cubicBezTo>
                    <a:pt x="1709" y="682"/>
                    <a:pt x="1862" y="529"/>
                    <a:pt x="1862" y="341"/>
                  </a:cubicBezTo>
                  <a:cubicBezTo>
                    <a:pt x="1862" y="153"/>
                    <a:pt x="1709" y="0"/>
                    <a:pt x="1521" y="0"/>
                  </a:cubicBezTo>
                  <a:cubicBezTo>
                    <a:pt x="1396" y="0"/>
                    <a:pt x="1396" y="0"/>
                    <a:pt x="1396" y="0"/>
                  </a:cubicBezTo>
                  <a:cubicBezTo>
                    <a:pt x="155" y="0"/>
                    <a:pt x="155" y="0"/>
                    <a:pt x="155" y="0"/>
                  </a:cubicBezTo>
                  <a:cubicBezTo>
                    <a:pt x="104" y="0"/>
                    <a:pt x="62" y="42"/>
                    <a:pt x="62" y="93"/>
                  </a:cubicBezTo>
                  <a:cubicBezTo>
                    <a:pt x="62" y="403"/>
                    <a:pt x="62" y="403"/>
                    <a:pt x="62" y="403"/>
                  </a:cubicBezTo>
                  <a:cubicBezTo>
                    <a:pt x="62" y="612"/>
                    <a:pt x="152" y="800"/>
                    <a:pt x="296" y="931"/>
                  </a:cubicBezTo>
                  <a:cubicBezTo>
                    <a:pt x="93" y="931"/>
                    <a:pt x="93" y="931"/>
                    <a:pt x="93" y="931"/>
                  </a:cubicBezTo>
                  <a:cubicBezTo>
                    <a:pt x="42" y="931"/>
                    <a:pt x="0" y="972"/>
                    <a:pt x="0" y="1024"/>
                  </a:cubicBezTo>
                  <a:cubicBezTo>
                    <a:pt x="0" y="1075"/>
                    <a:pt x="42" y="1117"/>
                    <a:pt x="93" y="1117"/>
                  </a:cubicBezTo>
                  <a:cubicBezTo>
                    <a:pt x="776" y="1117"/>
                    <a:pt x="776" y="1117"/>
                    <a:pt x="776" y="1117"/>
                  </a:cubicBezTo>
                  <a:cubicBezTo>
                    <a:pt x="1459" y="1117"/>
                    <a:pt x="1459" y="1117"/>
                    <a:pt x="1459" y="1117"/>
                  </a:cubicBezTo>
                  <a:cubicBezTo>
                    <a:pt x="1510" y="1117"/>
                    <a:pt x="1552" y="1075"/>
                    <a:pt x="1552" y="1024"/>
                  </a:cubicBezTo>
                  <a:cubicBezTo>
                    <a:pt x="1552" y="972"/>
                    <a:pt x="1510" y="931"/>
                    <a:pt x="1459" y="931"/>
                  </a:cubicBezTo>
                  <a:cubicBezTo>
                    <a:pt x="1256" y="931"/>
                    <a:pt x="1256" y="931"/>
                    <a:pt x="1256" y="931"/>
                  </a:cubicBezTo>
                  <a:cubicBezTo>
                    <a:pt x="1331" y="862"/>
                    <a:pt x="1392" y="778"/>
                    <a:pt x="1433" y="683"/>
                  </a:cubicBezTo>
                  <a:close/>
                  <a:moveTo>
                    <a:pt x="1490" y="403"/>
                  </a:moveTo>
                  <a:cubicBezTo>
                    <a:pt x="1490" y="186"/>
                    <a:pt x="1490" y="186"/>
                    <a:pt x="1490" y="186"/>
                  </a:cubicBezTo>
                  <a:cubicBezTo>
                    <a:pt x="1521" y="186"/>
                    <a:pt x="1521" y="186"/>
                    <a:pt x="1521" y="186"/>
                  </a:cubicBezTo>
                  <a:cubicBezTo>
                    <a:pt x="1606" y="186"/>
                    <a:pt x="1676" y="256"/>
                    <a:pt x="1676" y="341"/>
                  </a:cubicBezTo>
                  <a:cubicBezTo>
                    <a:pt x="1676" y="427"/>
                    <a:pt x="1606" y="496"/>
                    <a:pt x="1521" y="496"/>
                  </a:cubicBezTo>
                  <a:cubicBezTo>
                    <a:pt x="1521" y="496"/>
                    <a:pt x="1521" y="496"/>
                    <a:pt x="1520" y="496"/>
                  </a:cubicBezTo>
                  <a:cubicBezTo>
                    <a:pt x="1483" y="496"/>
                    <a:pt x="1483" y="496"/>
                    <a:pt x="1483" y="496"/>
                  </a:cubicBezTo>
                  <a:cubicBezTo>
                    <a:pt x="1487" y="466"/>
                    <a:pt x="1490" y="435"/>
                    <a:pt x="1490" y="4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HarmonyOS Sans SC"/>
                <a:cs typeface="+mn-cs"/>
              </a:endParaRPr>
            </a:p>
          </p:txBody>
        </p:sp>
      </p:grpSp>
      <p:sp>
        <p:nvSpPr>
          <p:cNvPr id="30" name="Freeform 18">
            <a:extLst>
              <a:ext uri="{FF2B5EF4-FFF2-40B4-BE49-F238E27FC236}">
                <a16:creationId xmlns:a16="http://schemas.microsoft.com/office/drawing/2014/main" id="{107F2181-D86E-449C-BF76-D15FA690E180}"/>
              </a:ext>
            </a:extLst>
          </p:cNvPr>
          <p:cNvSpPr>
            <a:spLocks noEditPoints="1"/>
          </p:cNvSpPr>
          <p:nvPr/>
        </p:nvSpPr>
        <p:spPr bwMode="auto">
          <a:xfrm>
            <a:off x="5535464" y="2041246"/>
            <a:ext cx="291682" cy="331256"/>
          </a:xfrm>
          <a:custGeom>
            <a:avLst/>
            <a:gdLst>
              <a:gd name="T0" fmla="*/ 1785 w 1806"/>
              <a:gd name="T1" fmla="*/ 223 h 2048"/>
              <a:gd name="T2" fmla="*/ 1512 w 1806"/>
              <a:gd name="T3" fmla="*/ 0 h 2048"/>
              <a:gd name="T4" fmla="*/ 1512 w 1806"/>
              <a:gd name="T5" fmla="*/ 0 h 2048"/>
              <a:gd name="T6" fmla="*/ 1349 w 1806"/>
              <a:gd name="T7" fmla="*/ 0 h 2048"/>
              <a:gd name="T8" fmla="*/ 457 w 1806"/>
              <a:gd name="T9" fmla="*/ 0 h 2048"/>
              <a:gd name="T10" fmla="*/ 294 w 1806"/>
              <a:gd name="T11" fmla="*/ 0 h 2048"/>
              <a:gd name="T12" fmla="*/ 294 w 1806"/>
              <a:gd name="T13" fmla="*/ 0 h 2048"/>
              <a:gd name="T14" fmla="*/ 21 w 1806"/>
              <a:gd name="T15" fmla="*/ 223 h 2048"/>
              <a:gd name="T16" fmla="*/ 78 w 1806"/>
              <a:gd name="T17" fmla="*/ 520 h 2048"/>
              <a:gd name="T18" fmla="*/ 366 w 1806"/>
              <a:gd name="T19" fmla="*/ 782 h 2048"/>
              <a:gd name="T20" fmla="*/ 810 w 1806"/>
              <a:gd name="T21" fmla="*/ 1276 h 2048"/>
              <a:gd name="T22" fmla="*/ 810 w 1806"/>
              <a:gd name="T23" fmla="*/ 1480 h 2048"/>
              <a:gd name="T24" fmla="*/ 521 w 1806"/>
              <a:gd name="T25" fmla="*/ 1480 h 2048"/>
              <a:gd name="T26" fmla="*/ 428 w 1806"/>
              <a:gd name="T27" fmla="*/ 1573 h 2048"/>
              <a:gd name="T28" fmla="*/ 428 w 1806"/>
              <a:gd name="T29" fmla="*/ 1955 h 2048"/>
              <a:gd name="T30" fmla="*/ 521 w 1806"/>
              <a:gd name="T31" fmla="*/ 2048 h 2048"/>
              <a:gd name="T32" fmla="*/ 1285 w 1806"/>
              <a:gd name="T33" fmla="*/ 2048 h 2048"/>
              <a:gd name="T34" fmla="*/ 1378 w 1806"/>
              <a:gd name="T35" fmla="*/ 1955 h 2048"/>
              <a:gd name="T36" fmla="*/ 1378 w 1806"/>
              <a:gd name="T37" fmla="*/ 1573 h 2048"/>
              <a:gd name="T38" fmla="*/ 1285 w 1806"/>
              <a:gd name="T39" fmla="*/ 1480 h 2048"/>
              <a:gd name="T40" fmla="*/ 996 w 1806"/>
              <a:gd name="T41" fmla="*/ 1480 h 2048"/>
              <a:gd name="T42" fmla="*/ 996 w 1806"/>
              <a:gd name="T43" fmla="*/ 1276 h 2048"/>
              <a:gd name="T44" fmla="*/ 1440 w 1806"/>
              <a:gd name="T45" fmla="*/ 781 h 2048"/>
              <a:gd name="T46" fmla="*/ 1728 w 1806"/>
              <a:gd name="T47" fmla="*/ 520 h 2048"/>
              <a:gd name="T48" fmla="*/ 1785 w 1806"/>
              <a:gd name="T49" fmla="*/ 223 h 2048"/>
              <a:gd name="T50" fmla="*/ 201 w 1806"/>
              <a:gd name="T51" fmla="*/ 269 h 2048"/>
              <a:gd name="T52" fmla="*/ 294 w 1806"/>
              <a:gd name="T53" fmla="*/ 186 h 2048"/>
              <a:gd name="T54" fmla="*/ 294 w 1806"/>
              <a:gd name="T55" fmla="*/ 186 h 2048"/>
              <a:gd name="T56" fmla="*/ 364 w 1806"/>
              <a:gd name="T57" fmla="*/ 186 h 2048"/>
              <a:gd name="T58" fmla="*/ 365 w 1806"/>
              <a:gd name="T59" fmla="*/ 557 h 2048"/>
              <a:gd name="T60" fmla="*/ 201 w 1806"/>
              <a:gd name="T61" fmla="*/ 269 h 2048"/>
              <a:gd name="T62" fmla="*/ 1442 w 1806"/>
              <a:gd name="T63" fmla="*/ 556 h 2048"/>
              <a:gd name="T64" fmla="*/ 1442 w 1806"/>
              <a:gd name="T65" fmla="*/ 186 h 2048"/>
              <a:gd name="T66" fmla="*/ 1512 w 1806"/>
              <a:gd name="T67" fmla="*/ 186 h 2048"/>
              <a:gd name="T68" fmla="*/ 1512 w 1806"/>
              <a:gd name="T69" fmla="*/ 186 h 2048"/>
              <a:gd name="T70" fmla="*/ 1605 w 1806"/>
              <a:gd name="T71" fmla="*/ 269 h 2048"/>
              <a:gd name="T72" fmla="*/ 1442 w 1806"/>
              <a:gd name="T73" fmla="*/ 556 h 20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806" h="2048">
                <a:moveTo>
                  <a:pt x="1785" y="223"/>
                </a:moveTo>
                <a:cubicBezTo>
                  <a:pt x="1752" y="92"/>
                  <a:pt x="1640" y="0"/>
                  <a:pt x="1512" y="0"/>
                </a:cubicBezTo>
                <a:cubicBezTo>
                  <a:pt x="1512" y="0"/>
                  <a:pt x="1512" y="0"/>
                  <a:pt x="1512" y="0"/>
                </a:cubicBezTo>
                <a:cubicBezTo>
                  <a:pt x="1349" y="0"/>
                  <a:pt x="1349" y="0"/>
                  <a:pt x="1349" y="0"/>
                </a:cubicBezTo>
                <a:cubicBezTo>
                  <a:pt x="457" y="0"/>
                  <a:pt x="457" y="0"/>
                  <a:pt x="457" y="0"/>
                </a:cubicBezTo>
                <a:cubicBezTo>
                  <a:pt x="294" y="0"/>
                  <a:pt x="294" y="0"/>
                  <a:pt x="294" y="0"/>
                </a:cubicBezTo>
                <a:cubicBezTo>
                  <a:pt x="294" y="0"/>
                  <a:pt x="294" y="0"/>
                  <a:pt x="294" y="0"/>
                </a:cubicBezTo>
                <a:cubicBezTo>
                  <a:pt x="166" y="0"/>
                  <a:pt x="54" y="92"/>
                  <a:pt x="21" y="223"/>
                </a:cubicBezTo>
                <a:cubicBezTo>
                  <a:pt x="3" y="290"/>
                  <a:pt x="0" y="396"/>
                  <a:pt x="78" y="520"/>
                </a:cubicBezTo>
                <a:cubicBezTo>
                  <a:pt x="137" y="615"/>
                  <a:pt x="234" y="703"/>
                  <a:pt x="366" y="782"/>
                </a:cubicBezTo>
                <a:cubicBezTo>
                  <a:pt x="383" y="1030"/>
                  <a:pt x="569" y="1234"/>
                  <a:pt x="810" y="1276"/>
                </a:cubicBezTo>
                <a:cubicBezTo>
                  <a:pt x="810" y="1480"/>
                  <a:pt x="810" y="1480"/>
                  <a:pt x="810" y="1480"/>
                </a:cubicBezTo>
                <a:cubicBezTo>
                  <a:pt x="521" y="1480"/>
                  <a:pt x="521" y="1480"/>
                  <a:pt x="521" y="1480"/>
                </a:cubicBezTo>
                <a:cubicBezTo>
                  <a:pt x="470" y="1480"/>
                  <a:pt x="428" y="1522"/>
                  <a:pt x="428" y="1573"/>
                </a:cubicBezTo>
                <a:cubicBezTo>
                  <a:pt x="428" y="1955"/>
                  <a:pt x="428" y="1955"/>
                  <a:pt x="428" y="1955"/>
                </a:cubicBezTo>
                <a:cubicBezTo>
                  <a:pt x="428" y="2006"/>
                  <a:pt x="470" y="2048"/>
                  <a:pt x="521" y="2048"/>
                </a:cubicBezTo>
                <a:cubicBezTo>
                  <a:pt x="1285" y="2048"/>
                  <a:pt x="1285" y="2048"/>
                  <a:pt x="1285" y="2048"/>
                </a:cubicBezTo>
                <a:cubicBezTo>
                  <a:pt x="1336" y="2048"/>
                  <a:pt x="1378" y="2006"/>
                  <a:pt x="1378" y="1955"/>
                </a:cubicBezTo>
                <a:cubicBezTo>
                  <a:pt x="1378" y="1573"/>
                  <a:pt x="1378" y="1573"/>
                  <a:pt x="1378" y="1573"/>
                </a:cubicBezTo>
                <a:cubicBezTo>
                  <a:pt x="1378" y="1522"/>
                  <a:pt x="1336" y="1480"/>
                  <a:pt x="1285" y="1480"/>
                </a:cubicBezTo>
                <a:cubicBezTo>
                  <a:pt x="996" y="1480"/>
                  <a:pt x="996" y="1480"/>
                  <a:pt x="996" y="1480"/>
                </a:cubicBezTo>
                <a:cubicBezTo>
                  <a:pt x="996" y="1276"/>
                  <a:pt x="996" y="1276"/>
                  <a:pt x="996" y="1276"/>
                </a:cubicBezTo>
                <a:cubicBezTo>
                  <a:pt x="1238" y="1234"/>
                  <a:pt x="1424" y="1031"/>
                  <a:pt x="1440" y="781"/>
                </a:cubicBezTo>
                <a:cubicBezTo>
                  <a:pt x="1572" y="703"/>
                  <a:pt x="1669" y="615"/>
                  <a:pt x="1728" y="520"/>
                </a:cubicBezTo>
                <a:cubicBezTo>
                  <a:pt x="1806" y="396"/>
                  <a:pt x="1803" y="290"/>
                  <a:pt x="1785" y="223"/>
                </a:cubicBezTo>
                <a:close/>
                <a:moveTo>
                  <a:pt x="201" y="269"/>
                </a:moveTo>
                <a:cubicBezTo>
                  <a:pt x="215" y="215"/>
                  <a:pt x="258" y="186"/>
                  <a:pt x="294" y="186"/>
                </a:cubicBezTo>
                <a:cubicBezTo>
                  <a:pt x="294" y="186"/>
                  <a:pt x="294" y="186"/>
                  <a:pt x="294" y="186"/>
                </a:cubicBezTo>
                <a:cubicBezTo>
                  <a:pt x="364" y="186"/>
                  <a:pt x="364" y="186"/>
                  <a:pt x="364" y="186"/>
                </a:cubicBezTo>
                <a:cubicBezTo>
                  <a:pt x="365" y="557"/>
                  <a:pt x="365" y="557"/>
                  <a:pt x="365" y="557"/>
                </a:cubicBezTo>
                <a:cubicBezTo>
                  <a:pt x="221" y="446"/>
                  <a:pt x="183" y="340"/>
                  <a:pt x="201" y="269"/>
                </a:cubicBezTo>
                <a:close/>
                <a:moveTo>
                  <a:pt x="1442" y="556"/>
                </a:moveTo>
                <a:cubicBezTo>
                  <a:pt x="1442" y="186"/>
                  <a:pt x="1442" y="186"/>
                  <a:pt x="1442" y="186"/>
                </a:cubicBezTo>
                <a:cubicBezTo>
                  <a:pt x="1512" y="186"/>
                  <a:pt x="1512" y="186"/>
                  <a:pt x="1512" y="186"/>
                </a:cubicBezTo>
                <a:cubicBezTo>
                  <a:pt x="1512" y="186"/>
                  <a:pt x="1512" y="186"/>
                  <a:pt x="1512" y="186"/>
                </a:cubicBezTo>
                <a:cubicBezTo>
                  <a:pt x="1548" y="186"/>
                  <a:pt x="1591" y="215"/>
                  <a:pt x="1605" y="269"/>
                </a:cubicBezTo>
                <a:cubicBezTo>
                  <a:pt x="1623" y="340"/>
                  <a:pt x="1585" y="446"/>
                  <a:pt x="1442" y="556"/>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39" name="TextBox 96">
            <a:extLst>
              <a:ext uri="{FF2B5EF4-FFF2-40B4-BE49-F238E27FC236}">
                <a16:creationId xmlns:a16="http://schemas.microsoft.com/office/drawing/2014/main" id="{B550495A-DB17-439D-B8C9-44275C45279F}"/>
              </a:ext>
            </a:extLst>
          </p:cNvPr>
          <p:cNvSpPr txBox="1"/>
          <p:nvPr/>
        </p:nvSpPr>
        <p:spPr>
          <a:xfrm>
            <a:off x="5366801" y="3225991"/>
            <a:ext cx="1459989" cy="492443"/>
          </a:xfrm>
          <a:prstGeom prst="rect">
            <a:avLst/>
          </a:prstGeom>
          <a:noFill/>
        </p:spPr>
        <p:txBody>
          <a:bodyPr wrap="square" lIns="0" tIns="0" rIns="0" bIns="0" rtlCol="0">
            <a:spAutoFit/>
          </a:bodyPr>
          <a:lstStyle/>
          <a:p>
            <a:pPr marL="0" marR="0" lvl="0" indent="0" algn="ctr" defTabSz="457200" rtl="0" eaLnBrk="1" fontAlgn="base" latinLnBrk="0" hangingPunct="1">
              <a:lnSpc>
                <a:spcPct val="100000"/>
              </a:lnSpc>
              <a:spcBef>
                <a:spcPts val="100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HarmonyOS Sans SC"/>
                <a:cs typeface="+mn-cs"/>
              </a:rPr>
              <a:t>Your title</a:t>
            </a:r>
            <a:br>
              <a:rPr kumimoji="0" lang="en-US" sz="1600" b="1" i="0" u="none" strike="noStrike" kern="1200" cap="none" spc="0" normalizeH="0" baseline="0" noProof="0" dirty="0">
                <a:ln>
                  <a:noFill/>
                </a:ln>
                <a:solidFill>
                  <a:prstClr val="white"/>
                </a:solidFill>
                <a:effectLst/>
                <a:uLnTx/>
                <a:uFillTx/>
                <a:latin typeface="HarmonyOS Sans SC"/>
                <a:cs typeface="+mn-cs"/>
              </a:rPr>
            </a:br>
            <a:r>
              <a:rPr kumimoji="0" lang="en-US" sz="1600" b="1" i="0" u="none" strike="noStrike" kern="1200" cap="none" spc="0" normalizeH="0" baseline="0" noProof="0" dirty="0">
                <a:ln>
                  <a:noFill/>
                </a:ln>
                <a:solidFill>
                  <a:prstClr val="white"/>
                </a:solidFill>
                <a:effectLst/>
                <a:uLnTx/>
                <a:uFillTx/>
                <a:latin typeface="HarmonyOS Sans SC"/>
                <a:cs typeface="+mn-cs"/>
              </a:rPr>
              <a:t>is here</a:t>
            </a:r>
          </a:p>
        </p:txBody>
      </p:sp>
      <p:grpSp>
        <p:nvGrpSpPr>
          <p:cNvPr id="68" name="组合 67">
            <a:extLst>
              <a:ext uri="{FF2B5EF4-FFF2-40B4-BE49-F238E27FC236}">
                <a16:creationId xmlns:a16="http://schemas.microsoft.com/office/drawing/2014/main" id="{3A9F0F4D-B53D-43A4-8E5E-0AD11916822E}"/>
              </a:ext>
            </a:extLst>
          </p:cNvPr>
          <p:cNvGrpSpPr/>
          <p:nvPr/>
        </p:nvGrpSpPr>
        <p:grpSpPr>
          <a:xfrm>
            <a:off x="1114278" y="1616229"/>
            <a:ext cx="3266060" cy="4077226"/>
            <a:chOff x="1635151" y="1616229"/>
            <a:chExt cx="3266060" cy="4077226"/>
          </a:xfrm>
        </p:grpSpPr>
        <p:grpSp>
          <p:nvGrpSpPr>
            <p:cNvPr id="56" name="组合 55">
              <a:extLst>
                <a:ext uri="{FF2B5EF4-FFF2-40B4-BE49-F238E27FC236}">
                  <a16:creationId xmlns:a16="http://schemas.microsoft.com/office/drawing/2014/main" id="{A5C3FAC6-A4D6-462A-A8DA-6A11AB12012F}"/>
                </a:ext>
              </a:extLst>
            </p:cNvPr>
            <p:cNvGrpSpPr/>
            <p:nvPr/>
          </p:nvGrpSpPr>
          <p:grpSpPr>
            <a:xfrm>
              <a:off x="2120938" y="1616229"/>
              <a:ext cx="2262702" cy="846145"/>
              <a:chOff x="1508465" y="2482630"/>
              <a:chExt cx="2262702" cy="846145"/>
            </a:xfrm>
          </p:grpSpPr>
          <p:sp>
            <p:nvSpPr>
              <p:cNvPr id="57" name="TextBox 65">
                <a:extLst>
                  <a:ext uri="{FF2B5EF4-FFF2-40B4-BE49-F238E27FC236}">
                    <a16:creationId xmlns:a16="http://schemas.microsoft.com/office/drawing/2014/main" id="{8625A847-83AC-41D2-9C86-26B5E001AC37}"/>
                  </a:ext>
                </a:extLst>
              </p:cNvPr>
              <p:cNvSpPr txBox="1"/>
              <p:nvPr/>
            </p:nvSpPr>
            <p:spPr>
              <a:xfrm>
                <a:off x="1714906" y="2482630"/>
                <a:ext cx="2056261" cy="352588"/>
              </a:xfrm>
              <a:prstGeom prst="rect">
                <a:avLst/>
              </a:prstGeom>
              <a:noFill/>
            </p:spPr>
            <p:txBody>
              <a:bodyPr wrap="square" lIns="0" tIns="36000" rIns="0" bIns="36000" rtlCol="0">
                <a:spAutoFit/>
              </a:bodyPr>
              <a:lstStyle/>
              <a:p>
                <a:pPr marL="0" marR="0" lvl="0" indent="0" algn="r" defTabSz="914400" rtl="0" eaLnBrk="1" fontAlgn="auto" latinLnBrk="0" hangingPunct="1">
                  <a:lnSpc>
                    <a:spcPct val="120000"/>
                  </a:lnSpc>
                  <a:spcBef>
                    <a:spcPts val="600"/>
                  </a:spcBef>
                  <a:spcAft>
                    <a:spcPts val="0"/>
                  </a:spcAft>
                  <a:buClrTx/>
                  <a:buSzTx/>
                  <a:buFontTx/>
                  <a:buNone/>
                  <a:tabLst/>
                  <a:defRPr/>
                </a:pPr>
                <a:r>
                  <a:rPr kumimoji="0" lang="zh-CN" altLang="en-US" sz="1600" b="0" i="0" u="none" strike="noStrike" kern="1200" cap="none" spc="0" normalizeH="0" baseline="0" noProof="0" dirty="0">
                    <a:ln>
                      <a:noFill/>
                    </a:ln>
                    <a:solidFill>
                      <a:schemeClr val="accent1"/>
                    </a:solidFill>
                    <a:effectLst/>
                    <a:uLnTx/>
                    <a:uFillTx/>
                    <a:latin typeface="HarmonyOS Sans SC Black"/>
                    <a:ea typeface="+mj-ea"/>
                    <a:cs typeface="+mn-cs"/>
                  </a:rPr>
                  <a:t>关键词标题</a:t>
                </a:r>
                <a:endParaRPr kumimoji="0" lang="en-US" sz="1600" b="0" i="0" u="none" strike="noStrike" kern="1200" cap="none" spc="0" normalizeH="0" baseline="0" noProof="0" dirty="0">
                  <a:ln>
                    <a:noFill/>
                  </a:ln>
                  <a:solidFill>
                    <a:schemeClr val="accent1"/>
                  </a:solidFill>
                  <a:effectLst/>
                  <a:uLnTx/>
                  <a:uFillTx/>
                  <a:latin typeface="HarmonyOS Sans SC Black"/>
                  <a:ea typeface="+mj-ea"/>
                  <a:cs typeface="+mn-cs"/>
                </a:endParaRPr>
              </a:p>
            </p:txBody>
          </p:sp>
          <p:sp>
            <p:nvSpPr>
              <p:cNvPr id="58" name="TextBox 65">
                <a:extLst>
                  <a:ext uri="{FF2B5EF4-FFF2-40B4-BE49-F238E27FC236}">
                    <a16:creationId xmlns:a16="http://schemas.microsoft.com/office/drawing/2014/main" id="{33388F15-AC7C-44F5-B018-CC87E6DAE86A}"/>
                  </a:ext>
                </a:extLst>
              </p:cNvPr>
              <p:cNvSpPr txBox="1"/>
              <p:nvPr/>
            </p:nvSpPr>
            <p:spPr>
              <a:xfrm>
                <a:off x="1508465" y="2866029"/>
                <a:ext cx="2262702" cy="462746"/>
              </a:xfrm>
              <a:prstGeom prst="rect">
                <a:avLst/>
              </a:prstGeom>
              <a:noFill/>
            </p:spPr>
            <p:txBody>
              <a:bodyPr wrap="square" lIns="0" tIns="36000" rIns="0" bIns="36000" rtlCol="0">
                <a:spAutoFit/>
              </a:bodyPr>
              <a:lstStyle/>
              <a:p>
                <a:pPr marL="0" marR="0" lvl="0" indent="0" algn="r" defTabSz="914400" rtl="0" eaLnBrk="1" fontAlgn="auto" latinLnBrk="0" hangingPunct="1">
                  <a:lnSpc>
                    <a:spcPct val="120000"/>
                  </a:lnSpc>
                  <a:spcBef>
                    <a:spcPts val="600"/>
                  </a:spcBef>
                  <a:spcAft>
                    <a:spcPts val="0"/>
                  </a:spcAft>
                  <a:buClrTx/>
                  <a:buSzTx/>
                  <a:buFontTx/>
                  <a:buNone/>
                  <a:tabLst/>
                  <a:defRPr/>
                </a:pPr>
                <a:r>
                  <a:rPr kumimoji="0" lang="en-US" sz="1100" b="0" i="0" u="none" strike="noStrike" kern="1200" cap="none" spc="0" normalizeH="0" baseline="0" noProof="0" dirty="0">
                    <a:ln>
                      <a:noFill/>
                    </a:ln>
                    <a:solidFill>
                      <a:prstClr val="black">
                        <a:lumMod val="50000"/>
                        <a:lumOff val="50000"/>
                      </a:prstClr>
                    </a:solidFill>
                    <a:effectLst/>
                    <a:uLnTx/>
                    <a:uFillTx/>
                    <a:latin typeface="HarmonyOS Sans SC"/>
                    <a:cs typeface="+mn-cs"/>
                  </a:rPr>
                  <a:t>Apparently we had reached a great height in the.</a:t>
                </a:r>
              </a:p>
            </p:txBody>
          </p:sp>
        </p:grpSp>
        <p:grpSp>
          <p:nvGrpSpPr>
            <p:cNvPr id="59" name="组合 58">
              <a:extLst>
                <a:ext uri="{FF2B5EF4-FFF2-40B4-BE49-F238E27FC236}">
                  <a16:creationId xmlns:a16="http://schemas.microsoft.com/office/drawing/2014/main" id="{86254690-2A4A-4A8D-982D-00BB0FDC792A}"/>
                </a:ext>
              </a:extLst>
            </p:cNvPr>
            <p:cNvGrpSpPr/>
            <p:nvPr/>
          </p:nvGrpSpPr>
          <p:grpSpPr>
            <a:xfrm>
              <a:off x="1635151" y="2699641"/>
              <a:ext cx="2262702" cy="846145"/>
              <a:chOff x="1508465" y="2482630"/>
              <a:chExt cx="2262702" cy="846145"/>
            </a:xfrm>
          </p:grpSpPr>
          <p:sp>
            <p:nvSpPr>
              <p:cNvPr id="60" name="TextBox 65">
                <a:extLst>
                  <a:ext uri="{FF2B5EF4-FFF2-40B4-BE49-F238E27FC236}">
                    <a16:creationId xmlns:a16="http://schemas.microsoft.com/office/drawing/2014/main" id="{66B81A85-CD47-4F9D-BC38-6EDCF20FB1C7}"/>
                  </a:ext>
                </a:extLst>
              </p:cNvPr>
              <p:cNvSpPr txBox="1"/>
              <p:nvPr/>
            </p:nvSpPr>
            <p:spPr>
              <a:xfrm>
                <a:off x="1714906" y="2482630"/>
                <a:ext cx="2056261" cy="352588"/>
              </a:xfrm>
              <a:prstGeom prst="rect">
                <a:avLst/>
              </a:prstGeom>
              <a:noFill/>
            </p:spPr>
            <p:txBody>
              <a:bodyPr wrap="square" lIns="0" tIns="36000" rIns="0" bIns="36000" rtlCol="0">
                <a:spAutoFit/>
              </a:bodyPr>
              <a:lstStyle/>
              <a:p>
                <a:pPr marL="0" marR="0" lvl="0" indent="0" algn="r" defTabSz="914400" rtl="0" eaLnBrk="1" fontAlgn="auto" latinLnBrk="0" hangingPunct="1">
                  <a:lnSpc>
                    <a:spcPct val="120000"/>
                  </a:lnSpc>
                  <a:spcBef>
                    <a:spcPts val="600"/>
                  </a:spcBef>
                  <a:spcAft>
                    <a:spcPts val="0"/>
                  </a:spcAft>
                  <a:buClrTx/>
                  <a:buSzTx/>
                  <a:buFontTx/>
                  <a:buNone/>
                  <a:tabLst/>
                  <a:defRPr/>
                </a:pPr>
                <a:r>
                  <a:rPr kumimoji="0" lang="zh-CN" altLang="en-US" sz="1600" b="0" i="0" u="none" strike="noStrike" kern="1200" cap="none" spc="0" normalizeH="0" baseline="0" noProof="0" dirty="0">
                    <a:ln>
                      <a:noFill/>
                    </a:ln>
                    <a:solidFill>
                      <a:schemeClr val="accent1"/>
                    </a:solidFill>
                    <a:effectLst/>
                    <a:uLnTx/>
                    <a:uFillTx/>
                    <a:latin typeface="HarmonyOS Sans SC Black"/>
                    <a:ea typeface="+mj-ea"/>
                    <a:cs typeface="+mn-cs"/>
                  </a:rPr>
                  <a:t>关键词标题</a:t>
                </a:r>
                <a:endParaRPr kumimoji="0" lang="en-US" sz="1600" b="0" i="0" u="none" strike="noStrike" kern="1200" cap="none" spc="0" normalizeH="0" baseline="0" noProof="0" dirty="0">
                  <a:ln>
                    <a:noFill/>
                  </a:ln>
                  <a:solidFill>
                    <a:schemeClr val="accent1"/>
                  </a:solidFill>
                  <a:effectLst/>
                  <a:uLnTx/>
                  <a:uFillTx/>
                  <a:latin typeface="HarmonyOS Sans SC Black"/>
                  <a:ea typeface="+mj-ea"/>
                  <a:cs typeface="+mn-cs"/>
                </a:endParaRPr>
              </a:p>
            </p:txBody>
          </p:sp>
          <p:sp>
            <p:nvSpPr>
              <p:cNvPr id="61" name="TextBox 65">
                <a:extLst>
                  <a:ext uri="{FF2B5EF4-FFF2-40B4-BE49-F238E27FC236}">
                    <a16:creationId xmlns:a16="http://schemas.microsoft.com/office/drawing/2014/main" id="{6C39D23E-8359-4C94-828D-2A3FCC228F5D}"/>
                  </a:ext>
                </a:extLst>
              </p:cNvPr>
              <p:cNvSpPr txBox="1"/>
              <p:nvPr/>
            </p:nvSpPr>
            <p:spPr>
              <a:xfrm>
                <a:off x="1508465" y="2866029"/>
                <a:ext cx="2262702" cy="462746"/>
              </a:xfrm>
              <a:prstGeom prst="rect">
                <a:avLst/>
              </a:prstGeom>
              <a:noFill/>
            </p:spPr>
            <p:txBody>
              <a:bodyPr wrap="square" lIns="0" tIns="36000" rIns="0" bIns="36000" rtlCol="0">
                <a:spAutoFit/>
              </a:bodyPr>
              <a:lstStyle/>
              <a:p>
                <a:pPr marL="0" marR="0" lvl="0" indent="0" algn="r" defTabSz="914400" rtl="0" eaLnBrk="1" fontAlgn="auto" latinLnBrk="0" hangingPunct="1">
                  <a:lnSpc>
                    <a:spcPct val="120000"/>
                  </a:lnSpc>
                  <a:spcBef>
                    <a:spcPts val="600"/>
                  </a:spcBef>
                  <a:spcAft>
                    <a:spcPts val="0"/>
                  </a:spcAft>
                  <a:buClrTx/>
                  <a:buSzTx/>
                  <a:buFontTx/>
                  <a:buNone/>
                  <a:tabLst/>
                  <a:defRPr/>
                </a:pPr>
                <a:r>
                  <a:rPr kumimoji="0" lang="en-US" sz="1100" b="0" i="0" u="none" strike="noStrike" kern="1200" cap="none" spc="0" normalizeH="0" baseline="0" noProof="0" dirty="0">
                    <a:ln>
                      <a:noFill/>
                    </a:ln>
                    <a:solidFill>
                      <a:prstClr val="black">
                        <a:lumMod val="50000"/>
                        <a:lumOff val="50000"/>
                      </a:prstClr>
                    </a:solidFill>
                    <a:effectLst/>
                    <a:uLnTx/>
                    <a:uFillTx/>
                    <a:latin typeface="HarmonyOS Sans SC"/>
                    <a:cs typeface="+mn-cs"/>
                  </a:rPr>
                  <a:t>Apparently we had reached a great height in the.</a:t>
                </a:r>
              </a:p>
            </p:txBody>
          </p:sp>
        </p:grpSp>
        <p:grpSp>
          <p:nvGrpSpPr>
            <p:cNvPr id="62" name="组合 61">
              <a:extLst>
                <a:ext uri="{FF2B5EF4-FFF2-40B4-BE49-F238E27FC236}">
                  <a16:creationId xmlns:a16="http://schemas.microsoft.com/office/drawing/2014/main" id="{21853136-704F-4896-96D7-45FAA8DFC60E}"/>
                </a:ext>
              </a:extLst>
            </p:cNvPr>
            <p:cNvGrpSpPr/>
            <p:nvPr/>
          </p:nvGrpSpPr>
          <p:grpSpPr>
            <a:xfrm>
              <a:off x="1635151" y="3765776"/>
              <a:ext cx="2262702" cy="846145"/>
              <a:chOff x="1508465" y="2482630"/>
              <a:chExt cx="2262702" cy="846145"/>
            </a:xfrm>
          </p:grpSpPr>
          <p:sp>
            <p:nvSpPr>
              <p:cNvPr id="63" name="TextBox 65">
                <a:extLst>
                  <a:ext uri="{FF2B5EF4-FFF2-40B4-BE49-F238E27FC236}">
                    <a16:creationId xmlns:a16="http://schemas.microsoft.com/office/drawing/2014/main" id="{924B87F6-03FC-4939-B33D-689F60E3A3E0}"/>
                  </a:ext>
                </a:extLst>
              </p:cNvPr>
              <p:cNvSpPr txBox="1"/>
              <p:nvPr/>
            </p:nvSpPr>
            <p:spPr>
              <a:xfrm>
                <a:off x="1714906" y="2482630"/>
                <a:ext cx="2056261" cy="352588"/>
              </a:xfrm>
              <a:prstGeom prst="rect">
                <a:avLst/>
              </a:prstGeom>
              <a:noFill/>
            </p:spPr>
            <p:txBody>
              <a:bodyPr wrap="square" lIns="0" tIns="36000" rIns="0" bIns="36000" rtlCol="0">
                <a:spAutoFit/>
              </a:bodyPr>
              <a:lstStyle/>
              <a:p>
                <a:pPr marL="0" marR="0" lvl="0" indent="0" algn="r" defTabSz="914400" rtl="0" eaLnBrk="1" fontAlgn="auto" latinLnBrk="0" hangingPunct="1">
                  <a:lnSpc>
                    <a:spcPct val="120000"/>
                  </a:lnSpc>
                  <a:spcBef>
                    <a:spcPts val="600"/>
                  </a:spcBef>
                  <a:spcAft>
                    <a:spcPts val="0"/>
                  </a:spcAft>
                  <a:buClrTx/>
                  <a:buSzTx/>
                  <a:buFontTx/>
                  <a:buNone/>
                  <a:tabLst/>
                  <a:defRPr/>
                </a:pPr>
                <a:r>
                  <a:rPr kumimoji="0" lang="zh-CN" altLang="en-US" sz="1600" b="0" i="0" u="none" strike="noStrike" kern="1200" cap="none" spc="0" normalizeH="0" baseline="0" noProof="0" dirty="0">
                    <a:ln>
                      <a:noFill/>
                    </a:ln>
                    <a:solidFill>
                      <a:schemeClr val="accent1"/>
                    </a:solidFill>
                    <a:effectLst/>
                    <a:uLnTx/>
                    <a:uFillTx/>
                    <a:latin typeface="HarmonyOS Sans SC Black"/>
                    <a:ea typeface="+mj-ea"/>
                    <a:cs typeface="+mn-cs"/>
                  </a:rPr>
                  <a:t>关键词标题</a:t>
                </a:r>
                <a:endParaRPr kumimoji="0" lang="en-US" sz="1600" b="0" i="0" u="none" strike="noStrike" kern="1200" cap="none" spc="0" normalizeH="0" baseline="0" noProof="0" dirty="0">
                  <a:ln>
                    <a:noFill/>
                  </a:ln>
                  <a:solidFill>
                    <a:schemeClr val="accent1"/>
                  </a:solidFill>
                  <a:effectLst/>
                  <a:uLnTx/>
                  <a:uFillTx/>
                  <a:latin typeface="HarmonyOS Sans SC Black"/>
                  <a:ea typeface="+mj-ea"/>
                  <a:cs typeface="+mn-cs"/>
                </a:endParaRPr>
              </a:p>
            </p:txBody>
          </p:sp>
          <p:sp>
            <p:nvSpPr>
              <p:cNvPr id="64" name="TextBox 65">
                <a:extLst>
                  <a:ext uri="{FF2B5EF4-FFF2-40B4-BE49-F238E27FC236}">
                    <a16:creationId xmlns:a16="http://schemas.microsoft.com/office/drawing/2014/main" id="{48B102EB-DEDA-4364-A972-FF6B4AC160B2}"/>
                  </a:ext>
                </a:extLst>
              </p:cNvPr>
              <p:cNvSpPr txBox="1"/>
              <p:nvPr/>
            </p:nvSpPr>
            <p:spPr>
              <a:xfrm>
                <a:off x="1508465" y="2866029"/>
                <a:ext cx="2262702" cy="462746"/>
              </a:xfrm>
              <a:prstGeom prst="rect">
                <a:avLst/>
              </a:prstGeom>
              <a:noFill/>
            </p:spPr>
            <p:txBody>
              <a:bodyPr wrap="square" lIns="0" tIns="36000" rIns="0" bIns="36000" rtlCol="0">
                <a:spAutoFit/>
              </a:bodyPr>
              <a:lstStyle/>
              <a:p>
                <a:pPr marL="0" marR="0" lvl="0" indent="0" algn="r" defTabSz="914400" rtl="0" eaLnBrk="1" fontAlgn="auto" latinLnBrk="0" hangingPunct="1">
                  <a:lnSpc>
                    <a:spcPct val="120000"/>
                  </a:lnSpc>
                  <a:spcBef>
                    <a:spcPts val="600"/>
                  </a:spcBef>
                  <a:spcAft>
                    <a:spcPts val="0"/>
                  </a:spcAft>
                  <a:buClrTx/>
                  <a:buSzTx/>
                  <a:buFontTx/>
                  <a:buNone/>
                  <a:tabLst/>
                  <a:defRPr/>
                </a:pPr>
                <a:r>
                  <a:rPr kumimoji="0" lang="en-US" sz="1100" b="0" i="0" u="none" strike="noStrike" kern="1200" cap="none" spc="0" normalizeH="0" baseline="0" noProof="0" dirty="0">
                    <a:ln>
                      <a:noFill/>
                    </a:ln>
                    <a:solidFill>
                      <a:prstClr val="black">
                        <a:lumMod val="50000"/>
                        <a:lumOff val="50000"/>
                      </a:prstClr>
                    </a:solidFill>
                    <a:effectLst/>
                    <a:uLnTx/>
                    <a:uFillTx/>
                    <a:latin typeface="HarmonyOS Sans SC"/>
                    <a:cs typeface="+mn-cs"/>
                  </a:rPr>
                  <a:t>Apparently we had reached a great height in the.</a:t>
                </a:r>
              </a:p>
            </p:txBody>
          </p:sp>
        </p:grpSp>
        <p:grpSp>
          <p:nvGrpSpPr>
            <p:cNvPr id="65" name="组合 64">
              <a:extLst>
                <a:ext uri="{FF2B5EF4-FFF2-40B4-BE49-F238E27FC236}">
                  <a16:creationId xmlns:a16="http://schemas.microsoft.com/office/drawing/2014/main" id="{BF993622-FD97-4FB4-A561-5E5734E56FD9}"/>
                </a:ext>
              </a:extLst>
            </p:cNvPr>
            <p:cNvGrpSpPr/>
            <p:nvPr/>
          </p:nvGrpSpPr>
          <p:grpSpPr>
            <a:xfrm>
              <a:off x="2638509" y="4847310"/>
              <a:ext cx="2262702" cy="846145"/>
              <a:chOff x="1508465" y="2482630"/>
              <a:chExt cx="2262702" cy="846145"/>
            </a:xfrm>
          </p:grpSpPr>
          <p:sp>
            <p:nvSpPr>
              <p:cNvPr id="66" name="TextBox 65">
                <a:extLst>
                  <a:ext uri="{FF2B5EF4-FFF2-40B4-BE49-F238E27FC236}">
                    <a16:creationId xmlns:a16="http://schemas.microsoft.com/office/drawing/2014/main" id="{667B2043-FD09-4AED-B63A-A73DDF8D372B}"/>
                  </a:ext>
                </a:extLst>
              </p:cNvPr>
              <p:cNvSpPr txBox="1"/>
              <p:nvPr/>
            </p:nvSpPr>
            <p:spPr>
              <a:xfrm>
                <a:off x="1714906" y="2482630"/>
                <a:ext cx="2056261" cy="352588"/>
              </a:xfrm>
              <a:prstGeom prst="rect">
                <a:avLst/>
              </a:prstGeom>
              <a:noFill/>
            </p:spPr>
            <p:txBody>
              <a:bodyPr wrap="square" lIns="0" tIns="36000" rIns="0" bIns="36000" rtlCol="0">
                <a:spAutoFit/>
              </a:bodyPr>
              <a:lstStyle/>
              <a:p>
                <a:pPr marL="0" marR="0" lvl="0" indent="0" algn="r" defTabSz="914400" rtl="0" eaLnBrk="1" fontAlgn="auto" latinLnBrk="0" hangingPunct="1">
                  <a:lnSpc>
                    <a:spcPct val="120000"/>
                  </a:lnSpc>
                  <a:spcBef>
                    <a:spcPts val="600"/>
                  </a:spcBef>
                  <a:spcAft>
                    <a:spcPts val="0"/>
                  </a:spcAft>
                  <a:buClrTx/>
                  <a:buSzTx/>
                  <a:buFontTx/>
                  <a:buNone/>
                  <a:tabLst/>
                  <a:defRPr/>
                </a:pPr>
                <a:r>
                  <a:rPr kumimoji="0" lang="zh-CN" altLang="en-US" sz="1600" b="0" i="0" u="none" strike="noStrike" kern="1200" cap="none" spc="0" normalizeH="0" baseline="0" noProof="0" dirty="0">
                    <a:ln>
                      <a:noFill/>
                    </a:ln>
                    <a:solidFill>
                      <a:schemeClr val="accent1"/>
                    </a:solidFill>
                    <a:effectLst/>
                    <a:uLnTx/>
                    <a:uFillTx/>
                    <a:latin typeface="HarmonyOS Sans SC Black"/>
                    <a:ea typeface="+mj-ea"/>
                    <a:cs typeface="+mn-cs"/>
                  </a:rPr>
                  <a:t>关键词标题</a:t>
                </a:r>
                <a:endParaRPr kumimoji="0" lang="en-US" sz="1600" b="0" i="0" u="none" strike="noStrike" kern="1200" cap="none" spc="0" normalizeH="0" baseline="0" noProof="0" dirty="0">
                  <a:ln>
                    <a:noFill/>
                  </a:ln>
                  <a:solidFill>
                    <a:schemeClr val="accent1"/>
                  </a:solidFill>
                  <a:effectLst/>
                  <a:uLnTx/>
                  <a:uFillTx/>
                  <a:latin typeface="HarmonyOS Sans SC Black"/>
                  <a:ea typeface="+mj-ea"/>
                  <a:cs typeface="+mn-cs"/>
                </a:endParaRPr>
              </a:p>
            </p:txBody>
          </p:sp>
          <p:sp>
            <p:nvSpPr>
              <p:cNvPr id="67" name="TextBox 65">
                <a:extLst>
                  <a:ext uri="{FF2B5EF4-FFF2-40B4-BE49-F238E27FC236}">
                    <a16:creationId xmlns:a16="http://schemas.microsoft.com/office/drawing/2014/main" id="{1BEADC87-2DC9-45C6-B8AA-2647A522D38B}"/>
                  </a:ext>
                </a:extLst>
              </p:cNvPr>
              <p:cNvSpPr txBox="1"/>
              <p:nvPr/>
            </p:nvSpPr>
            <p:spPr>
              <a:xfrm>
                <a:off x="1508465" y="2866029"/>
                <a:ext cx="2262702" cy="462746"/>
              </a:xfrm>
              <a:prstGeom prst="rect">
                <a:avLst/>
              </a:prstGeom>
              <a:noFill/>
            </p:spPr>
            <p:txBody>
              <a:bodyPr wrap="square" lIns="0" tIns="36000" rIns="0" bIns="36000" rtlCol="0">
                <a:spAutoFit/>
              </a:bodyPr>
              <a:lstStyle/>
              <a:p>
                <a:pPr marL="0" marR="0" lvl="0" indent="0" algn="r" defTabSz="914400" rtl="0" eaLnBrk="1" fontAlgn="auto" latinLnBrk="0" hangingPunct="1">
                  <a:lnSpc>
                    <a:spcPct val="120000"/>
                  </a:lnSpc>
                  <a:spcBef>
                    <a:spcPts val="600"/>
                  </a:spcBef>
                  <a:spcAft>
                    <a:spcPts val="0"/>
                  </a:spcAft>
                  <a:buClrTx/>
                  <a:buSzTx/>
                  <a:buFontTx/>
                  <a:buNone/>
                  <a:tabLst/>
                  <a:defRPr/>
                </a:pPr>
                <a:r>
                  <a:rPr kumimoji="0" lang="en-US" sz="1100" b="0" i="0" u="none" strike="noStrike" kern="1200" cap="none" spc="0" normalizeH="0" baseline="0" noProof="0" dirty="0">
                    <a:ln>
                      <a:noFill/>
                    </a:ln>
                    <a:solidFill>
                      <a:prstClr val="black">
                        <a:lumMod val="50000"/>
                        <a:lumOff val="50000"/>
                      </a:prstClr>
                    </a:solidFill>
                    <a:effectLst/>
                    <a:uLnTx/>
                    <a:uFillTx/>
                    <a:latin typeface="HarmonyOS Sans SC"/>
                    <a:cs typeface="+mn-cs"/>
                  </a:rPr>
                  <a:t>Apparently we had reached a great height in the.</a:t>
                </a:r>
              </a:p>
            </p:txBody>
          </p:sp>
        </p:grpSp>
      </p:grpSp>
      <p:grpSp>
        <p:nvGrpSpPr>
          <p:cNvPr id="82" name="组合 81">
            <a:extLst>
              <a:ext uri="{FF2B5EF4-FFF2-40B4-BE49-F238E27FC236}">
                <a16:creationId xmlns:a16="http://schemas.microsoft.com/office/drawing/2014/main" id="{C5ECC2DA-2C2F-4E4A-A6AD-047BF0EAE9C1}"/>
              </a:ext>
            </a:extLst>
          </p:cNvPr>
          <p:cNvGrpSpPr/>
          <p:nvPr/>
        </p:nvGrpSpPr>
        <p:grpSpPr>
          <a:xfrm flipH="1">
            <a:off x="7811663" y="1616229"/>
            <a:ext cx="3266060" cy="4077226"/>
            <a:chOff x="1635151" y="1616229"/>
            <a:chExt cx="3266060" cy="4077226"/>
          </a:xfrm>
        </p:grpSpPr>
        <p:grpSp>
          <p:nvGrpSpPr>
            <p:cNvPr id="83" name="组合 82">
              <a:extLst>
                <a:ext uri="{FF2B5EF4-FFF2-40B4-BE49-F238E27FC236}">
                  <a16:creationId xmlns:a16="http://schemas.microsoft.com/office/drawing/2014/main" id="{73BE5689-A72F-43DF-9BFC-635879CC4501}"/>
                </a:ext>
              </a:extLst>
            </p:cNvPr>
            <p:cNvGrpSpPr/>
            <p:nvPr/>
          </p:nvGrpSpPr>
          <p:grpSpPr>
            <a:xfrm>
              <a:off x="2120938" y="1616229"/>
              <a:ext cx="2262702" cy="846145"/>
              <a:chOff x="1508465" y="2482630"/>
              <a:chExt cx="2262702" cy="846145"/>
            </a:xfrm>
          </p:grpSpPr>
          <p:sp>
            <p:nvSpPr>
              <p:cNvPr id="93" name="TextBox 65">
                <a:extLst>
                  <a:ext uri="{FF2B5EF4-FFF2-40B4-BE49-F238E27FC236}">
                    <a16:creationId xmlns:a16="http://schemas.microsoft.com/office/drawing/2014/main" id="{F613CF01-6A6E-412E-B545-AEFC4B5CEBAE}"/>
                  </a:ext>
                </a:extLst>
              </p:cNvPr>
              <p:cNvSpPr txBox="1"/>
              <p:nvPr/>
            </p:nvSpPr>
            <p:spPr>
              <a:xfrm>
                <a:off x="1714906" y="2482630"/>
                <a:ext cx="2056261" cy="352588"/>
              </a:xfrm>
              <a:prstGeom prst="rect">
                <a:avLst/>
              </a:prstGeom>
              <a:noFill/>
            </p:spPr>
            <p:txBody>
              <a:bodyPr wrap="square" lIns="0" tIns="36000" rIns="0" bIns="36000" rtlCol="0">
                <a:spAutoFit/>
              </a:bodyPr>
              <a:lstStyle/>
              <a:p>
                <a:pPr marL="0" marR="0" lvl="0" indent="0" algn="l" defTabSz="914400" rtl="0" eaLnBrk="1" fontAlgn="auto" latinLnBrk="0" hangingPunct="1">
                  <a:lnSpc>
                    <a:spcPct val="120000"/>
                  </a:lnSpc>
                  <a:spcBef>
                    <a:spcPts val="600"/>
                  </a:spcBef>
                  <a:spcAft>
                    <a:spcPts val="0"/>
                  </a:spcAft>
                  <a:buClrTx/>
                  <a:buSzTx/>
                  <a:buFontTx/>
                  <a:buNone/>
                  <a:tabLst/>
                  <a:defRPr/>
                </a:pPr>
                <a:r>
                  <a:rPr kumimoji="0" lang="zh-CN" altLang="en-US" sz="1600" b="0" i="0" u="none" strike="noStrike" kern="1200" cap="none" spc="0" normalizeH="0" baseline="0" noProof="0" dirty="0">
                    <a:ln>
                      <a:noFill/>
                    </a:ln>
                    <a:solidFill>
                      <a:schemeClr val="accent1"/>
                    </a:solidFill>
                    <a:effectLst/>
                    <a:uLnTx/>
                    <a:uFillTx/>
                    <a:latin typeface="HarmonyOS Sans SC Black"/>
                    <a:ea typeface="+mj-ea"/>
                    <a:cs typeface="+mn-cs"/>
                  </a:rPr>
                  <a:t>关键词标题</a:t>
                </a:r>
                <a:endParaRPr kumimoji="0" lang="en-US" sz="1600" b="0" i="0" u="none" strike="noStrike" kern="1200" cap="none" spc="0" normalizeH="0" baseline="0" noProof="0" dirty="0">
                  <a:ln>
                    <a:noFill/>
                  </a:ln>
                  <a:solidFill>
                    <a:schemeClr val="accent1"/>
                  </a:solidFill>
                  <a:effectLst/>
                  <a:uLnTx/>
                  <a:uFillTx/>
                  <a:latin typeface="HarmonyOS Sans SC Black"/>
                  <a:ea typeface="+mj-ea"/>
                  <a:cs typeface="+mn-cs"/>
                </a:endParaRPr>
              </a:p>
            </p:txBody>
          </p:sp>
          <p:sp>
            <p:nvSpPr>
              <p:cNvPr id="94" name="TextBox 65">
                <a:extLst>
                  <a:ext uri="{FF2B5EF4-FFF2-40B4-BE49-F238E27FC236}">
                    <a16:creationId xmlns:a16="http://schemas.microsoft.com/office/drawing/2014/main" id="{51CF6054-E25D-4359-A3FF-10B468D3C5A2}"/>
                  </a:ext>
                </a:extLst>
              </p:cNvPr>
              <p:cNvSpPr txBox="1"/>
              <p:nvPr/>
            </p:nvSpPr>
            <p:spPr>
              <a:xfrm>
                <a:off x="1508465" y="2866029"/>
                <a:ext cx="2262702" cy="462746"/>
              </a:xfrm>
              <a:prstGeom prst="rect">
                <a:avLst/>
              </a:prstGeom>
              <a:noFill/>
            </p:spPr>
            <p:txBody>
              <a:bodyPr wrap="square" lIns="0" tIns="36000" rIns="0" bIns="36000" rtlCol="0">
                <a:spAutoFit/>
              </a:bodyPr>
              <a:lstStyle/>
              <a:p>
                <a:pPr marL="0" marR="0" lvl="0" indent="0" algn="l" defTabSz="914400" rtl="0" eaLnBrk="1" fontAlgn="auto" latinLnBrk="0" hangingPunct="1">
                  <a:lnSpc>
                    <a:spcPct val="120000"/>
                  </a:lnSpc>
                  <a:spcBef>
                    <a:spcPts val="600"/>
                  </a:spcBef>
                  <a:spcAft>
                    <a:spcPts val="0"/>
                  </a:spcAft>
                  <a:buClrTx/>
                  <a:buSzTx/>
                  <a:buFontTx/>
                  <a:buNone/>
                  <a:tabLst/>
                  <a:defRPr/>
                </a:pPr>
                <a:r>
                  <a:rPr kumimoji="0" lang="en-US" sz="1100" b="0" i="0" u="none" strike="noStrike" kern="1200" cap="none" spc="0" normalizeH="0" baseline="0" noProof="0" dirty="0">
                    <a:ln>
                      <a:noFill/>
                    </a:ln>
                    <a:solidFill>
                      <a:prstClr val="black">
                        <a:lumMod val="50000"/>
                        <a:lumOff val="50000"/>
                      </a:prstClr>
                    </a:solidFill>
                    <a:effectLst/>
                    <a:uLnTx/>
                    <a:uFillTx/>
                    <a:latin typeface="HarmonyOS Sans SC"/>
                    <a:cs typeface="+mn-cs"/>
                  </a:rPr>
                  <a:t>Apparently we had reached a great height in the.</a:t>
                </a:r>
              </a:p>
            </p:txBody>
          </p:sp>
        </p:grpSp>
        <p:grpSp>
          <p:nvGrpSpPr>
            <p:cNvPr id="84" name="组合 83">
              <a:extLst>
                <a:ext uri="{FF2B5EF4-FFF2-40B4-BE49-F238E27FC236}">
                  <a16:creationId xmlns:a16="http://schemas.microsoft.com/office/drawing/2014/main" id="{D80B9839-D46D-4D61-80B5-43DC313003E0}"/>
                </a:ext>
              </a:extLst>
            </p:cNvPr>
            <p:cNvGrpSpPr/>
            <p:nvPr/>
          </p:nvGrpSpPr>
          <p:grpSpPr>
            <a:xfrm>
              <a:off x="1635151" y="2699641"/>
              <a:ext cx="2262702" cy="846145"/>
              <a:chOff x="1508465" y="2482630"/>
              <a:chExt cx="2262702" cy="846145"/>
            </a:xfrm>
          </p:grpSpPr>
          <p:sp>
            <p:nvSpPr>
              <p:cNvPr id="91" name="TextBox 65">
                <a:extLst>
                  <a:ext uri="{FF2B5EF4-FFF2-40B4-BE49-F238E27FC236}">
                    <a16:creationId xmlns:a16="http://schemas.microsoft.com/office/drawing/2014/main" id="{39FFC4EF-C33E-458D-A8A8-ED3517161B53}"/>
                  </a:ext>
                </a:extLst>
              </p:cNvPr>
              <p:cNvSpPr txBox="1"/>
              <p:nvPr/>
            </p:nvSpPr>
            <p:spPr>
              <a:xfrm>
                <a:off x="1714906" y="2482630"/>
                <a:ext cx="2056261" cy="352588"/>
              </a:xfrm>
              <a:prstGeom prst="rect">
                <a:avLst/>
              </a:prstGeom>
              <a:noFill/>
            </p:spPr>
            <p:txBody>
              <a:bodyPr wrap="square" lIns="0" tIns="36000" rIns="0" bIns="36000" rtlCol="0">
                <a:spAutoFit/>
              </a:bodyPr>
              <a:lstStyle/>
              <a:p>
                <a:pPr marL="0" marR="0" lvl="0" indent="0" algn="l" defTabSz="914400" rtl="0" eaLnBrk="1" fontAlgn="auto" latinLnBrk="0" hangingPunct="1">
                  <a:lnSpc>
                    <a:spcPct val="120000"/>
                  </a:lnSpc>
                  <a:spcBef>
                    <a:spcPts val="600"/>
                  </a:spcBef>
                  <a:spcAft>
                    <a:spcPts val="0"/>
                  </a:spcAft>
                  <a:buClrTx/>
                  <a:buSzTx/>
                  <a:buFontTx/>
                  <a:buNone/>
                  <a:tabLst/>
                  <a:defRPr/>
                </a:pPr>
                <a:r>
                  <a:rPr kumimoji="0" lang="zh-CN" altLang="en-US" sz="1600" b="0" i="0" u="none" strike="noStrike" kern="1200" cap="none" spc="0" normalizeH="0" baseline="0" noProof="0" dirty="0">
                    <a:ln>
                      <a:noFill/>
                    </a:ln>
                    <a:solidFill>
                      <a:schemeClr val="accent1"/>
                    </a:solidFill>
                    <a:effectLst/>
                    <a:uLnTx/>
                    <a:uFillTx/>
                    <a:latin typeface="HarmonyOS Sans SC Black"/>
                    <a:ea typeface="+mj-ea"/>
                    <a:cs typeface="+mn-cs"/>
                  </a:rPr>
                  <a:t>关键词标题</a:t>
                </a:r>
                <a:endParaRPr kumimoji="0" lang="en-US" sz="1600" b="0" i="0" u="none" strike="noStrike" kern="1200" cap="none" spc="0" normalizeH="0" baseline="0" noProof="0" dirty="0">
                  <a:ln>
                    <a:noFill/>
                  </a:ln>
                  <a:solidFill>
                    <a:schemeClr val="accent1"/>
                  </a:solidFill>
                  <a:effectLst/>
                  <a:uLnTx/>
                  <a:uFillTx/>
                  <a:latin typeface="HarmonyOS Sans SC Black"/>
                  <a:ea typeface="+mj-ea"/>
                  <a:cs typeface="+mn-cs"/>
                </a:endParaRPr>
              </a:p>
            </p:txBody>
          </p:sp>
          <p:sp>
            <p:nvSpPr>
              <p:cNvPr id="92" name="TextBox 65">
                <a:extLst>
                  <a:ext uri="{FF2B5EF4-FFF2-40B4-BE49-F238E27FC236}">
                    <a16:creationId xmlns:a16="http://schemas.microsoft.com/office/drawing/2014/main" id="{4943442A-5B5F-4C63-A7B0-94A9DFB38DAA}"/>
                  </a:ext>
                </a:extLst>
              </p:cNvPr>
              <p:cNvSpPr txBox="1"/>
              <p:nvPr/>
            </p:nvSpPr>
            <p:spPr>
              <a:xfrm>
                <a:off x="1508465" y="2866029"/>
                <a:ext cx="2262702" cy="462746"/>
              </a:xfrm>
              <a:prstGeom prst="rect">
                <a:avLst/>
              </a:prstGeom>
              <a:noFill/>
            </p:spPr>
            <p:txBody>
              <a:bodyPr wrap="square" lIns="0" tIns="36000" rIns="0" bIns="36000" rtlCol="0">
                <a:spAutoFit/>
              </a:bodyPr>
              <a:lstStyle/>
              <a:p>
                <a:pPr marL="0" marR="0" lvl="0" indent="0" algn="l" defTabSz="914400" rtl="0" eaLnBrk="1" fontAlgn="auto" latinLnBrk="0" hangingPunct="1">
                  <a:lnSpc>
                    <a:spcPct val="120000"/>
                  </a:lnSpc>
                  <a:spcBef>
                    <a:spcPts val="600"/>
                  </a:spcBef>
                  <a:spcAft>
                    <a:spcPts val="0"/>
                  </a:spcAft>
                  <a:buClrTx/>
                  <a:buSzTx/>
                  <a:buFontTx/>
                  <a:buNone/>
                  <a:tabLst/>
                  <a:defRPr/>
                </a:pPr>
                <a:r>
                  <a:rPr kumimoji="0" lang="en-US" sz="1100" b="0" i="0" u="none" strike="noStrike" kern="1200" cap="none" spc="0" normalizeH="0" baseline="0" noProof="0" dirty="0">
                    <a:ln>
                      <a:noFill/>
                    </a:ln>
                    <a:solidFill>
                      <a:prstClr val="black">
                        <a:lumMod val="50000"/>
                        <a:lumOff val="50000"/>
                      </a:prstClr>
                    </a:solidFill>
                    <a:effectLst/>
                    <a:uLnTx/>
                    <a:uFillTx/>
                    <a:latin typeface="HarmonyOS Sans SC"/>
                    <a:cs typeface="+mn-cs"/>
                  </a:rPr>
                  <a:t>Apparently we had reached a great height in the.</a:t>
                </a:r>
              </a:p>
            </p:txBody>
          </p:sp>
        </p:grpSp>
        <p:grpSp>
          <p:nvGrpSpPr>
            <p:cNvPr id="85" name="组合 84">
              <a:extLst>
                <a:ext uri="{FF2B5EF4-FFF2-40B4-BE49-F238E27FC236}">
                  <a16:creationId xmlns:a16="http://schemas.microsoft.com/office/drawing/2014/main" id="{77743ED8-D7F4-4F4B-90DD-3F7493C88271}"/>
                </a:ext>
              </a:extLst>
            </p:cNvPr>
            <p:cNvGrpSpPr/>
            <p:nvPr/>
          </p:nvGrpSpPr>
          <p:grpSpPr>
            <a:xfrm>
              <a:off x="1635151" y="3765776"/>
              <a:ext cx="2262702" cy="846145"/>
              <a:chOff x="1508465" y="2482630"/>
              <a:chExt cx="2262702" cy="846145"/>
            </a:xfrm>
          </p:grpSpPr>
          <p:sp>
            <p:nvSpPr>
              <p:cNvPr id="89" name="TextBox 65">
                <a:extLst>
                  <a:ext uri="{FF2B5EF4-FFF2-40B4-BE49-F238E27FC236}">
                    <a16:creationId xmlns:a16="http://schemas.microsoft.com/office/drawing/2014/main" id="{5797707C-E12C-4539-A2BB-7A19F016543C}"/>
                  </a:ext>
                </a:extLst>
              </p:cNvPr>
              <p:cNvSpPr txBox="1"/>
              <p:nvPr/>
            </p:nvSpPr>
            <p:spPr>
              <a:xfrm>
                <a:off x="1714906" y="2482630"/>
                <a:ext cx="2056261" cy="352588"/>
              </a:xfrm>
              <a:prstGeom prst="rect">
                <a:avLst/>
              </a:prstGeom>
              <a:noFill/>
            </p:spPr>
            <p:txBody>
              <a:bodyPr wrap="square" lIns="0" tIns="36000" rIns="0" bIns="36000" rtlCol="0">
                <a:spAutoFit/>
              </a:bodyPr>
              <a:lstStyle/>
              <a:p>
                <a:pPr marL="0" marR="0" lvl="0" indent="0" algn="l" defTabSz="914400" rtl="0" eaLnBrk="1" fontAlgn="auto" latinLnBrk="0" hangingPunct="1">
                  <a:lnSpc>
                    <a:spcPct val="120000"/>
                  </a:lnSpc>
                  <a:spcBef>
                    <a:spcPts val="600"/>
                  </a:spcBef>
                  <a:spcAft>
                    <a:spcPts val="0"/>
                  </a:spcAft>
                  <a:buClrTx/>
                  <a:buSzTx/>
                  <a:buFontTx/>
                  <a:buNone/>
                  <a:tabLst/>
                  <a:defRPr/>
                </a:pPr>
                <a:r>
                  <a:rPr kumimoji="0" lang="zh-CN" altLang="en-US" sz="1600" b="0" i="0" u="none" strike="noStrike" kern="1200" cap="none" spc="0" normalizeH="0" baseline="0" noProof="0" dirty="0">
                    <a:ln>
                      <a:noFill/>
                    </a:ln>
                    <a:solidFill>
                      <a:schemeClr val="accent1"/>
                    </a:solidFill>
                    <a:effectLst/>
                    <a:uLnTx/>
                    <a:uFillTx/>
                    <a:latin typeface="HarmonyOS Sans SC Black"/>
                    <a:ea typeface="+mj-ea"/>
                    <a:cs typeface="+mn-cs"/>
                  </a:rPr>
                  <a:t>关键词标题</a:t>
                </a:r>
                <a:endParaRPr kumimoji="0" lang="en-US" sz="1600" b="0" i="0" u="none" strike="noStrike" kern="1200" cap="none" spc="0" normalizeH="0" baseline="0" noProof="0" dirty="0">
                  <a:ln>
                    <a:noFill/>
                  </a:ln>
                  <a:solidFill>
                    <a:schemeClr val="accent1"/>
                  </a:solidFill>
                  <a:effectLst/>
                  <a:uLnTx/>
                  <a:uFillTx/>
                  <a:latin typeface="HarmonyOS Sans SC Black"/>
                  <a:ea typeface="+mj-ea"/>
                  <a:cs typeface="+mn-cs"/>
                </a:endParaRPr>
              </a:p>
            </p:txBody>
          </p:sp>
          <p:sp>
            <p:nvSpPr>
              <p:cNvPr id="90" name="TextBox 65">
                <a:extLst>
                  <a:ext uri="{FF2B5EF4-FFF2-40B4-BE49-F238E27FC236}">
                    <a16:creationId xmlns:a16="http://schemas.microsoft.com/office/drawing/2014/main" id="{367946DF-77A6-4B7E-B335-B5271E266D38}"/>
                  </a:ext>
                </a:extLst>
              </p:cNvPr>
              <p:cNvSpPr txBox="1"/>
              <p:nvPr/>
            </p:nvSpPr>
            <p:spPr>
              <a:xfrm>
                <a:off x="1508465" y="2866029"/>
                <a:ext cx="2262702" cy="462746"/>
              </a:xfrm>
              <a:prstGeom prst="rect">
                <a:avLst/>
              </a:prstGeom>
              <a:noFill/>
            </p:spPr>
            <p:txBody>
              <a:bodyPr wrap="square" lIns="0" tIns="36000" rIns="0" bIns="36000" rtlCol="0">
                <a:spAutoFit/>
              </a:bodyPr>
              <a:lstStyle/>
              <a:p>
                <a:pPr marL="0" marR="0" lvl="0" indent="0" algn="l" defTabSz="914400" rtl="0" eaLnBrk="1" fontAlgn="auto" latinLnBrk="0" hangingPunct="1">
                  <a:lnSpc>
                    <a:spcPct val="120000"/>
                  </a:lnSpc>
                  <a:spcBef>
                    <a:spcPts val="600"/>
                  </a:spcBef>
                  <a:spcAft>
                    <a:spcPts val="0"/>
                  </a:spcAft>
                  <a:buClrTx/>
                  <a:buSzTx/>
                  <a:buFontTx/>
                  <a:buNone/>
                  <a:tabLst/>
                  <a:defRPr/>
                </a:pPr>
                <a:r>
                  <a:rPr kumimoji="0" lang="en-US" sz="1100" b="0" i="0" u="none" strike="noStrike" kern="1200" cap="none" spc="0" normalizeH="0" baseline="0" noProof="0" dirty="0">
                    <a:ln>
                      <a:noFill/>
                    </a:ln>
                    <a:solidFill>
                      <a:prstClr val="black">
                        <a:lumMod val="50000"/>
                        <a:lumOff val="50000"/>
                      </a:prstClr>
                    </a:solidFill>
                    <a:effectLst/>
                    <a:uLnTx/>
                    <a:uFillTx/>
                    <a:latin typeface="HarmonyOS Sans SC"/>
                    <a:cs typeface="+mn-cs"/>
                  </a:rPr>
                  <a:t>Apparently we had reached a great height in the.</a:t>
                </a:r>
              </a:p>
            </p:txBody>
          </p:sp>
        </p:grpSp>
        <p:grpSp>
          <p:nvGrpSpPr>
            <p:cNvPr id="86" name="组合 85">
              <a:extLst>
                <a:ext uri="{FF2B5EF4-FFF2-40B4-BE49-F238E27FC236}">
                  <a16:creationId xmlns:a16="http://schemas.microsoft.com/office/drawing/2014/main" id="{641C4F7F-745D-49C0-B7B0-BBAE7E802DEA}"/>
                </a:ext>
              </a:extLst>
            </p:cNvPr>
            <p:cNvGrpSpPr/>
            <p:nvPr/>
          </p:nvGrpSpPr>
          <p:grpSpPr>
            <a:xfrm>
              <a:off x="2638509" y="4847310"/>
              <a:ext cx="2262702" cy="846145"/>
              <a:chOff x="1508465" y="2482630"/>
              <a:chExt cx="2262702" cy="846145"/>
            </a:xfrm>
          </p:grpSpPr>
          <p:sp>
            <p:nvSpPr>
              <p:cNvPr id="87" name="TextBox 65">
                <a:extLst>
                  <a:ext uri="{FF2B5EF4-FFF2-40B4-BE49-F238E27FC236}">
                    <a16:creationId xmlns:a16="http://schemas.microsoft.com/office/drawing/2014/main" id="{ECCB8D6B-D2F4-4BF5-B06D-A75C515D5EC7}"/>
                  </a:ext>
                </a:extLst>
              </p:cNvPr>
              <p:cNvSpPr txBox="1"/>
              <p:nvPr/>
            </p:nvSpPr>
            <p:spPr>
              <a:xfrm>
                <a:off x="1714906" y="2482630"/>
                <a:ext cx="2056261" cy="352588"/>
              </a:xfrm>
              <a:prstGeom prst="rect">
                <a:avLst/>
              </a:prstGeom>
              <a:noFill/>
            </p:spPr>
            <p:txBody>
              <a:bodyPr wrap="square" lIns="0" tIns="36000" rIns="0" bIns="36000" rtlCol="0">
                <a:spAutoFit/>
              </a:bodyPr>
              <a:lstStyle/>
              <a:p>
                <a:pPr marL="0" marR="0" lvl="0" indent="0" algn="l" defTabSz="914400" rtl="0" eaLnBrk="1" fontAlgn="auto" latinLnBrk="0" hangingPunct="1">
                  <a:lnSpc>
                    <a:spcPct val="120000"/>
                  </a:lnSpc>
                  <a:spcBef>
                    <a:spcPts val="600"/>
                  </a:spcBef>
                  <a:spcAft>
                    <a:spcPts val="0"/>
                  </a:spcAft>
                  <a:buClrTx/>
                  <a:buSzTx/>
                  <a:buFontTx/>
                  <a:buNone/>
                  <a:tabLst/>
                  <a:defRPr/>
                </a:pPr>
                <a:r>
                  <a:rPr kumimoji="0" lang="zh-CN" altLang="en-US" sz="1600" b="0" i="0" u="none" strike="noStrike" kern="1200" cap="none" spc="0" normalizeH="0" baseline="0" noProof="0" dirty="0">
                    <a:ln>
                      <a:noFill/>
                    </a:ln>
                    <a:solidFill>
                      <a:schemeClr val="accent1"/>
                    </a:solidFill>
                    <a:effectLst/>
                    <a:uLnTx/>
                    <a:uFillTx/>
                    <a:latin typeface="HarmonyOS Sans SC Black"/>
                    <a:ea typeface="+mj-ea"/>
                    <a:cs typeface="+mn-cs"/>
                  </a:rPr>
                  <a:t>关键词标题</a:t>
                </a:r>
                <a:endParaRPr kumimoji="0" lang="en-US" sz="1600" b="0" i="0" u="none" strike="noStrike" kern="1200" cap="none" spc="0" normalizeH="0" baseline="0" noProof="0" dirty="0">
                  <a:ln>
                    <a:noFill/>
                  </a:ln>
                  <a:solidFill>
                    <a:schemeClr val="accent1"/>
                  </a:solidFill>
                  <a:effectLst/>
                  <a:uLnTx/>
                  <a:uFillTx/>
                  <a:latin typeface="HarmonyOS Sans SC Black"/>
                  <a:ea typeface="+mj-ea"/>
                  <a:cs typeface="+mn-cs"/>
                </a:endParaRPr>
              </a:p>
            </p:txBody>
          </p:sp>
          <p:sp>
            <p:nvSpPr>
              <p:cNvPr id="88" name="TextBox 65">
                <a:extLst>
                  <a:ext uri="{FF2B5EF4-FFF2-40B4-BE49-F238E27FC236}">
                    <a16:creationId xmlns:a16="http://schemas.microsoft.com/office/drawing/2014/main" id="{6D782AA7-CEA0-44A6-A9F0-F3392E0EC80F}"/>
                  </a:ext>
                </a:extLst>
              </p:cNvPr>
              <p:cNvSpPr txBox="1"/>
              <p:nvPr/>
            </p:nvSpPr>
            <p:spPr>
              <a:xfrm>
                <a:off x="1508465" y="2866029"/>
                <a:ext cx="2262702" cy="462746"/>
              </a:xfrm>
              <a:prstGeom prst="rect">
                <a:avLst/>
              </a:prstGeom>
              <a:noFill/>
            </p:spPr>
            <p:txBody>
              <a:bodyPr wrap="square" lIns="0" tIns="36000" rIns="0" bIns="36000" rtlCol="0">
                <a:spAutoFit/>
              </a:bodyPr>
              <a:lstStyle/>
              <a:p>
                <a:pPr marL="0" marR="0" lvl="0" indent="0" algn="l" defTabSz="914400" rtl="0" eaLnBrk="1" fontAlgn="auto" latinLnBrk="0" hangingPunct="1">
                  <a:lnSpc>
                    <a:spcPct val="120000"/>
                  </a:lnSpc>
                  <a:spcBef>
                    <a:spcPts val="600"/>
                  </a:spcBef>
                  <a:spcAft>
                    <a:spcPts val="0"/>
                  </a:spcAft>
                  <a:buClrTx/>
                  <a:buSzTx/>
                  <a:buFontTx/>
                  <a:buNone/>
                  <a:tabLst/>
                  <a:defRPr/>
                </a:pPr>
                <a:r>
                  <a:rPr kumimoji="0" lang="en-US" sz="1100" b="0" i="0" u="none" strike="noStrike" kern="1200" cap="none" spc="0" normalizeH="0" baseline="0" noProof="0" dirty="0">
                    <a:ln>
                      <a:noFill/>
                    </a:ln>
                    <a:solidFill>
                      <a:prstClr val="black">
                        <a:lumMod val="50000"/>
                        <a:lumOff val="50000"/>
                      </a:prstClr>
                    </a:solidFill>
                    <a:effectLst/>
                    <a:uLnTx/>
                    <a:uFillTx/>
                    <a:latin typeface="HarmonyOS Sans SC"/>
                    <a:cs typeface="+mn-cs"/>
                  </a:rPr>
                  <a:t>Apparently we had reached a great height in the.</a:t>
                </a:r>
              </a:p>
            </p:txBody>
          </p:sp>
        </p:grpSp>
      </p:grpSp>
    </p:spTree>
    <p:extLst>
      <p:ext uri="{BB962C8B-B14F-4D97-AF65-F5344CB8AC3E}">
        <p14:creationId xmlns:p14="http://schemas.microsoft.com/office/powerpoint/2010/main" val="1253061237"/>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5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reeform 7">
            <a:extLst>
              <a:ext uri="{FF2B5EF4-FFF2-40B4-BE49-F238E27FC236}">
                <a16:creationId xmlns:a16="http://schemas.microsoft.com/office/drawing/2014/main" id="{CD63F223-B826-47F9-AD81-1FD8E642A9D6}"/>
              </a:ext>
            </a:extLst>
          </p:cNvPr>
          <p:cNvSpPr>
            <a:spLocks/>
          </p:cNvSpPr>
          <p:nvPr/>
        </p:nvSpPr>
        <p:spPr bwMode="auto">
          <a:xfrm>
            <a:off x="4936625" y="4343241"/>
            <a:ext cx="1267950" cy="955068"/>
          </a:xfrm>
          <a:custGeom>
            <a:avLst/>
            <a:gdLst>
              <a:gd name="T0" fmla="*/ 6799 w 6799"/>
              <a:gd name="T1" fmla="*/ 5120 h 5122"/>
              <a:gd name="T2" fmla="*/ 6656 w 6799"/>
              <a:gd name="T3" fmla="*/ 5122 h 5122"/>
              <a:gd name="T4" fmla="*/ 0 w 6799"/>
              <a:gd name="T5" fmla="*/ 2040 h 5122"/>
              <a:gd name="T6" fmla="*/ 646 w 6799"/>
              <a:gd name="T7" fmla="*/ 169 h 5122"/>
              <a:gd name="T8" fmla="*/ 2343 w 6799"/>
              <a:gd name="T9" fmla="*/ 0 h 5122"/>
              <a:gd name="T10" fmla="*/ 6382 w 6799"/>
              <a:gd name="T11" fmla="*/ 2010 h 5122"/>
              <a:gd name="T12" fmla="*/ 5600 w 6799"/>
              <a:gd name="T13" fmla="*/ 3739 h 5122"/>
              <a:gd name="T14" fmla="*/ 6799 w 6799"/>
              <a:gd name="T15" fmla="*/ 5120 h 51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799" h="5122">
                <a:moveTo>
                  <a:pt x="6799" y="5120"/>
                </a:moveTo>
                <a:cubicBezTo>
                  <a:pt x="6752" y="5121"/>
                  <a:pt x="6704" y="5122"/>
                  <a:pt x="6656" y="5122"/>
                </a:cubicBezTo>
                <a:cubicBezTo>
                  <a:pt x="3989" y="5122"/>
                  <a:pt x="1601" y="3925"/>
                  <a:pt x="0" y="2040"/>
                </a:cubicBezTo>
                <a:lnTo>
                  <a:pt x="646" y="169"/>
                </a:lnTo>
                <a:lnTo>
                  <a:pt x="2343" y="0"/>
                </a:lnTo>
                <a:cubicBezTo>
                  <a:pt x="3319" y="1167"/>
                  <a:pt x="4761" y="1932"/>
                  <a:pt x="6382" y="2010"/>
                </a:cubicBezTo>
                <a:lnTo>
                  <a:pt x="5600" y="3739"/>
                </a:lnTo>
                <a:lnTo>
                  <a:pt x="6799" y="5120"/>
                </a:lnTo>
                <a:close/>
              </a:path>
            </a:pathLst>
          </a:custGeom>
          <a:gradFill flip="none" rotWithShape="1">
            <a:gsLst>
              <a:gs pos="73000">
                <a:schemeClr val="accent1"/>
              </a:gs>
              <a:gs pos="31000">
                <a:schemeClr val="accent1">
                  <a:lumMod val="60000"/>
                  <a:lumOff val="40000"/>
                </a:schemeClr>
              </a:gs>
              <a:gs pos="0">
                <a:schemeClr val="accent1">
                  <a:lumMod val="40000"/>
                  <a:lumOff val="60000"/>
                </a:schemeClr>
              </a:gs>
            </a:gsLst>
            <a:lin ang="270000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Black"/>
              <a:ea typeface="+mj-ea"/>
              <a:cs typeface="+mn-cs"/>
            </a:endParaRPr>
          </a:p>
        </p:txBody>
      </p:sp>
      <p:sp>
        <p:nvSpPr>
          <p:cNvPr id="4" name="Rectangle 13">
            <a:extLst>
              <a:ext uri="{FF2B5EF4-FFF2-40B4-BE49-F238E27FC236}">
                <a16:creationId xmlns:a16="http://schemas.microsoft.com/office/drawing/2014/main" id="{85AF400D-F3DB-4C7B-BB42-4AABB13FE117}"/>
              </a:ext>
            </a:extLst>
          </p:cNvPr>
          <p:cNvSpPr/>
          <p:nvPr/>
        </p:nvSpPr>
        <p:spPr>
          <a:xfrm>
            <a:off x="5255428" y="4569399"/>
            <a:ext cx="466795" cy="420051"/>
          </a:xfrm>
          <a:prstGeom prst="rect">
            <a:avLst/>
          </a:prstGeom>
        </p:spPr>
        <p:txBody>
          <a:bodyPr wrap="none">
            <a:spAutoFit/>
          </a:bodyPr>
          <a:lstStyle/>
          <a:p>
            <a:pPr marL="0" marR="0" lvl="0" indent="0" algn="ctr" defTabSz="457200" rtl="0" eaLnBrk="1" fontAlgn="base" latinLnBrk="0" hangingPunct="1">
              <a:lnSpc>
                <a:spcPct val="130000"/>
              </a:lnSpc>
              <a:spcBef>
                <a:spcPts val="100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HarmonyOS Sans SC Black"/>
                <a:ea typeface="+mj-ea"/>
                <a:cs typeface="+mn-cs"/>
              </a:rPr>
              <a:t>01</a:t>
            </a:r>
          </a:p>
        </p:txBody>
      </p:sp>
      <p:sp>
        <p:nvSpPr>
          <p:cNvPr id="6" name="Freeform 6">
            <a:extLst>
              <a:ext uri="{FF2B5EF4-FFF2-40B4-BE49-F238E27FC236}">
                <a16:creationId xmlns:a16="http://schemas.microsoft.com/office/drawing/2014/main" id="{C1EEF315-5F0B-4307-A376-F7F250D6E63F}"/>
              </a:ext>
            </a:extLst>
          </p:cNvPr>
          <p:cNvSpPr>
            <a:spLocks/>
          </p:cNvSpPr>
          <p:nvPr/>
        </p:nvSpPr>
        <p:spPr bwMode="auto">
          <a:xfrm>
            <a:off x="4667948" y="3201012"/>
            <a:ext cx="686532" cy="1469966"/>
          </a:xfrm>
          <a:custGeom>
            <a:avLst/>
            <a:gdLst>
              <a:gd name="T0" fmla="*/ 1229 w 3684"/>
              <a:gd name="T1" fmla="*/ 7876 h 7876"/>
              <a:gd name="T2" fmla="*/ 0 w 3684"/>
              <a:gd name="T3" fmla="*/ 3408 h 7876"/>
              <a:gd name="T4" fmla="*/ 543 w 3684"/>
              <a:gd name="T5" fmla="*/ 372 h 7876"/>
              <a:gd name="T6" fmla="*/ 2465 w 3684"/>
              <a:gd name="T7" fmla="*/ 0 h 7876"/>
              <a:gd name="T8" fmla="*/ 3473 w 3684"/>
              <a:gd name="T9" fmla="*/ 1405 h 7876"/>
              <a:gd name="T10" fmla="*/ 3106 w 3684"/>
              <a:gd name="T11" fmla="*/ 3408 h 7876"/>
              <a:gd name="T12" fmla="*/ 3684 w 3684"/>
              <a:gd name="T13" fmla="*/ 5894 h 7876"/>
              <a:gd name="T14" fmla="*/ 1850 w 3684"/>
              <a:gd name="T15" fmla="*/ 6076 h 7876"/>
              <a:gd name="T16" fmla="*/ 1229 w 3684"/>
              <a:gd name="T17" fmla="*/ 7876 h 78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84" h="7876">
                <a:moveTo>
                  <a:pt x="1229" y="7876"/>
                </a:moveTo>
                <a:cubicBezTo>
                  <a:pt x="449" y="6569"/>
                  <a:pt x="0" y="5041"/>
                  <a:pt x="0" y="3408"/>
                </a:cubicBezTo>
                <a:cubicBezTo>
                  <a:pt x="0" y="2340"/>
                  <a:pt x="192" y="1318"/>
                  <a:pt x="543" y="372"/>
                </a:cubicBezTo>
                <a:lnTo>
                  <a:pt x="2465" y="0"/>
                </a:lnTo>
                <a:lnTo>
                  <a:pt x="3473" y="1405"/>
                </a:lnTo>
                <a:cubicBezTo>
                  <a:pt x="3236" y="2028"/>
                  <a:pt x="3106" y="2703"/>
                  <a:pt x="3106" y="3408"/>
                </a:cubicBezTo>
                <a:cubicBezTo>
                  <a:pt x="3106" y="4301"/>
                  <a:pt x="3314" y="5144"/>
                  <a:pt x="3684" y="5894"/>
                </a:cubicBezTo>
                <a:lnTo>
                  <a:pt x="1850" y="6076"/>
                </a:lnTo>
                <a:lnTo>
                  <a:pt x="1229" y="7876"/>
                </a:lnTo>
                <a:close/>
              </a:path>
            </a:pathLst>
          </a:custGeom>
          <a:gradFill flip="none" rotWithShape="1">
            <a:gsLst>
              <a:gs pos="73000">
                <a:schemeClr val="accent1"/>
              </a:gs>
              <a:gs pos="31000">
                <a:schemeClr val="accent1">
                  <a:lumMod val="60000"/>
                  <a:lumOff val="40000"/>
                </a:schemeClr>
              </a:gs>
              <a:gs pos="0">
                <a:schemeClr val="accent1">
                  <a:lumMod val="40000"/>
                  <a:lumOff val="60000"/>
                </a:schemeClr>
              </a:gs>
            </a:gsLst>
            <a:lin ang="540000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Black"/>
              <a:ea typeface="+mj-ea"/>
              <a:cs typeface="+mn-cs"/>
            </a:endParaRPr>
          </a:p>
        </p:txBody>
      </p:sp>
      <p:sp>
        <p:nvSpPr>
          <p:cNvPr id="7" name="Rectangle 14">
            <a:extLst>
              <a:ext uri="{FF2B5EF4-FFF2-40B4-BE49-F238E27FC236}">
                <a16:creationId xmlns:a16="http://schemas.microsoft.com/office/drawing/2014/main" id="{FAC2E7E2-5786-424D-8445-BF07546A0048}"/>
              </a:ext>
            </a:extLst>
          </p:cNvPr>
          <p:cNvSpPr/>
          <p:nvPr/>
        </p:nvSpPr>
        <p:spPr>
          <a:xfrm>
            <a:off x="4722645" y="3584943"/>
            <a:ext cx="466795" cy="420051"/>
          </a:xfrm>
          <a:prstGeom prst="rect">
            <a:avLst/>
          </a:prstGeom>
        </p:spPr>
        <p:txBody>
          <a:bodyPr wrap="none">
            <a:spAutoFit/>
          </a:bodyPr>
          <a:lstStyle/>
          <a:p>
            <a:pPr marL="0" marR="0" lvl="0" indent="0" algn="ctr" defTabSz="457200" rtl="0" eaLnBrk="1" fontAlgn="base" latinLnBrk="0" hangingPunct="1">
              <a:lnSpc>
                <a:spcPct val="130000"/>
              </a:lnSpc>
              <a:spcBef>
                <a:spcPts val="100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HarmonyOS Sans SC Black"/>
                <a:ea typeface="+mj-ea"/>
                <a:cs typeface="+mn-cs"/>
              </a:rPr>
              <a:t>02</a:t>
            </a:r>
          </a:p>
        </p:txBody>
      </p:sp>
      <p:sp>
        <p:nvSpPr>
          <p:cNvPr id="9" name="Freeform 5">
            <a:extLst>
              <a:ext uri="{FF2B5EF4-FFF2-40B4-BE49-F238E27FC236}">
                <a16:creationId xmlns:a16="http://schemas.microsoft.com/office/drawing/2014/main" id="{9058D234-93BF-4C33-B2DD-10A1E2A2876C}"/>
              </a:ext>
            </a:extLst>
          </p:cNvPr>
          <p:cNvSpPr>
            <a:spLocks/>
          </p:cNvSpPr>
          <p:nvPr/>
        </p:nvSpPr>
        <p:spPr bwMode="auto">
          <a:xfrm>
            <a:off x="4804619" y="2400724"/>
            <a:ext cx="1378814" cy="1015016"/>
          </a:xfrm>
          <a:custGeom>
            <a:avLst/>
            <a:gdLst>
              <a:gd name="T0" fmla="*/ 0 w 7393"/>
              <a:gd name="T1" fmla="*/ 4258 h 5439"/>
              <a:gd name="T2" fmla="*/ 6178 w 7393"/>
              <a:gd name="T3" fmla="*/ 0 h 5439"/>
              <a:gd name="T4" fmla="*/ 7393 w 7393"/>
              <a:gd name="T5" fmla="*/ 1399 h 5439"/>
              <a:gd name="T6" fmla="*/ 6636 w 7393"/>
              <a:gd name="T7" fmla="*/ 3072 h 5439"/>
              <a:gd name="T8" fmla="*/ 2925 w 7393"/>
              <a:gd name="T9" fmla="*/ 5439 h 5439"/>
              <a:gd name="T10" fmla="*/ 1824 w 7393"/>
              <a:gd name="T11" fmla="*/ 3905 h 5439"/>
              <a:gd name="T12" fmla="*/ 0 w 7393"/>
              <a:gd name="T13" fmla="*/ 4258 h 5439"/>
            </a:gdLst>
            <a:ahLst/>
            <a:cxnLst>
              <a:cxn ang="0">
                <a:pos x="T0" y="T1"/>
              </a:cxn>
              <a:cxn ang="0">
                <a:pos x="T2" y="T3"/>
              </a:cxn>
              <a:cxn ang="0">
                <a:pos x="T4" y="T5"/>
              </a:cxn>
              <a:cxn ang="0">
                <a:pos x="T6" y="T7"/>
              </a:cxn>
              <a:cxn ang="0">
                <a:pos x="T8" y="T9"/>
              </a:cxn>
              <a:cxn ang="0">
                <a:pos x="T10" y="T11"/>
              </a:cxn>
              <a:cxn ang="0">
                <a:pos x="T12" y="T13"/>
              </a:cxn>
            </a:cxnLst>
            <a:rect l="0" t="0" r="r" b="b"/>
            <a:pathLst>
              <a:path w="7393" h="5439">
                <a:moveTo>
                  <a:pt x="0" y="4258"/>
                </a:moveTo>
                <a:cubicBezTo>
                  <a:pt x="1289" y="2028"/>
                  <a:pt x="3536" y="421"/>
                  <a:pt x="6178" y="0"/>
                </a:cubicBezTo>
                <a:lnTo>
                  <a:pt x="7393" y="1399"/>
                </a:lnTo>
                <a:lnTo>
                  <a:pt x="6636" y="3072"/>
                </a:lnTo>
                <a:cubicBezTo>
                  <a:pt x="5099" y="3327"/>
                  <a:pt x="3772" y="4206"/>
                  <a:pt x="2925" y="5439"/>
                </a:cubicBezTo>
                <a:lnTo>
                  <a:pt x="1824" y="3905"/>
                </a:lnTo>
                <a:lnTo>
                  <a:pt x="0" y="4258"/>
                </a:lnTo>
                <a:close/>
              </a:path>
            </a:pathLst>
          </a:custGeom>
          <a:gradFill flip="none" rotWithShape="1">
            <a:gsLst>
              <a:gs pos="73000">
                <a:schemeClr val="accent1"/>
              </a:gs>
              <a:gs pos="31000">
                <a:schemeClr val="accent1">
                  <a:lumMod val="60000"/>
                  <a:lumOff val="40000"/>
                </a:schemeClr>
              </a:gs>
              <a:gs pos="0">
                <a:schemeClr val="accent1">
                  <a:lumMod val="40000"/>
                  <a:lumOff val="60000"/>
                </a:schemeClr>
              </a:gs>
            </a:gsLst>
            <a:lin ang="810000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Black"/>
              <a:ea typeface="+mj-ea"/>
              <a:cs typeface="+mn-cs"/>
            </a:endParaRPr>
          </a:p>
        </p:txBody>
      </p:sp>
      <p:sp>
        <p:nvSpPr>
          <p:cNvPr id="10" name="Rectangle 15">
            <a:extLst>
              <a:ext uri="{FF2B5EF4-FFF2-40B4-BE49-F238E27FC236}">
                <a16:creationId xmlns:a16="http://schemas.microsoft.com/office/drawing/2014/main" id="{34A9CBF0-2486-4316-A33E-3C9D54DDD770}"/>
              </a:ext>
            </a:extLst>
          </p:cNvPr>
          <p:cNvSpPr/>
          <p:nvPr/>
        </p:nvSpPr>
        <p:spPr>
          <a:xfrm>
            <a:off x="5300749" y="2611284"/>
            <a:ext cx="466795" cy="420051"/>
          </a:xfrm>
          <a:prstGeom prst="rect">
            <a:avLst/>
          </a:prstGeom>
        </p:spPr>
        <p:txBody>
          <a:bodyPr wrap="none">
            <a:spAutoFit/>
          </a:bodyPr>
          <a:lstStyle/>
          <a:p>
            <a:pPr marL="0" marR="0" lvl="0" indent="0" algn="ctr" defTabSz="457200" rtl="0" eaLnBrk="1" fontAlgn="base" latinLnBrk="0" hangingPunct="1">
              <a:lnSpc>
                <a:spcPct val="130000"/>
              </a:lnSpc>
              <a:spcBef>
                <a:spcPts val="100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HarmonyOS Sans SC Black"/>
                <a:ea typeface="+mj-ea"/>
                <a:cs typeface="+mn-cs"/>
              </a:rPr>
              <a:t>03</a:t>
            </a:r>
            <a:endParaRPr kumimoji="0" lang="en-US" sz="1800" b="1" i="0" u="none" strike="noStrike" kern="1200" cap="none" spc="0" normalizeH="0" baseline="0" noProof="0" dirty="0">
              <a:ln>
                <a:noFill/>
              </a:ln>
              <a:solidFill>
                <a:srgbClr val="FFFFFF"/>
              </a:solidFill>
              <a:effectLst/>
              <a:uLnTx/>
              <a:uFillTx/>
              <a:latin typeface="HarmonyOS Sans SC Black"/>
              <a:ea typeface="+mj-ea"/>
              <a:cs typeface="+mn-cs"/>
            </a:endParaRPr>
          </a:p>
        </p:txBody>
      </p:sp>
      <p:sp>
        <p:nvSpPr>
          <p:cNvPr id="12" name="Freeform 8">
            <a:extLst>
              <a:ext uri="{FF2B5EF4-FFF2-40B4-BE49-F238E27FC236}">
                <a16:creationId xmlns:a16="http://schemas.microsoft.com/office/drawing/2014/main" id="{CEFAE5B7-AC38-47A3-A4D7-F173B95D5BDE}"/>
              </a:ext>
            </a:extLst>
          </p:cNvPr>
          <p:cNvSpPr>
            <a:spLocks/>
          </p:cNvSpPr>
          <p:nvPr/>
        </p:nvSpPr>
        <p:spPr bwMode="auto">
          <a:xfrm>
            <a:off x="6046092" y="4244055"/>
            <a:ext cx="1351714" cy="1038830"/>
          </a:xfrm>
          <a:custGeom>
            <a:avLst/>
            <a:gdLst>
              <a:gd name="T0" fmla="*/ 7251 w 7251"/>
              <a:gd name="T1" fmla="*/ 1295 h 5564"/>
              <a:gd name="T2" fmla="*/ 1248 w 7251"/>
              <a:gd name="T3" fmla="*/ 5564 h 5564"/>
              <a:gd name="T4" fmla="*/ 0 w 7251"/>
              <a:gd name="T5" fmla="*/ 4126 h 5564"/>
              <a:gd name="T6" fmla="*/ 736 w 7251"/>
              <a:gd name="T7" fmla="*/ 2500 h 5564"/>
              <a:gd name="T8" fmla="*/ 4406 w 7251"/>
              <a:gd name="T9" fmla="*/ 0 h 5564"/>
              <a:gd name="T10" fmla="*/ 5569 w 7251"/>
              <a:gd name="T11" fmla="*/ 1621 h 5564"/>
              <a:gd name="T12" fmla="*/ 7251 w 7251"/>
              <a:gd name="T13" fmla="*/ 1295 h 5564"/>
            </a:gdLst>
            <a:ahLst/>
            <a:cxnLst>
              <a:cxn ang="0">
                <a:pos x="T0" y="T1"/>
              </a:cxn>
              <a:cxn ang="0">
                <a:pos x="T2" y="T3"/>
              </a:cxn>
              <a:cxn ang="0">
                <a:pos x="T4" y="T5"/>
              </a:cxn>
              <a:cxn ang="0">
                <a:pos x="T6" y="T7"/>
              </a:cxn>
              <a:cxn ang="0">
                <a:pos x="T8" y="T9"/>
              </a:cxn>
              <a:cxn ang="0">
                <a:pos x="T10" y="T11"/>
              </a:cxn>
              <a:cxn ang="0">
                <a:pos x="T12" y="T13"/>
              </a:cxn>
            </a:cxnLst>
            <a:rect l="0" t="0" r="r" b="b"/>
            <a:pathLst>
              <a:path w="7251" h="5564">
                <a:moveTo>
                  <a:pt x="7251" y="1295"/>
                </a:moveTo>
                <a:cubicBezTo>
                  <a:pt x="5999" y="3492"/>
                  <a:pt x="3821" y="5092"/>
                  <a:pt x="1248" y="5564"/>
                </a:cubicBezTo>
                <a:lnTo>
                  <a:pt x="0" y="4126"/>
                </a:lnTo>
                <a:lnTo>
                  <a:pt x="736" y="2500"/>
                </a:lnTo>
                <a:cubicBezTo>
                  <a:pt x="2275" y="2202"/>
                  <a:pt x="3591" y="1276"/>
                  <a:pt x="4406" y="0"/>
                </a:cubicBezTo>
                <a:lnTo>
                  <a:pt x="5569" y="1621"/>
                </a:lnTo>
                <a:lnTo>
                  <a:pt x="7251" y="1295"/>
                </a:lnTo>
                <a:close/>
              </a:path>
            </a:pathLst>
          </a:custGeom>
          <a:gradFill flip="none" rotWithShape="1">
            <a:gsLst>
              <a:gs pos="73000">
                <a:schemeClr val="accent1"/>
              </a:gs>
              <a:gs pos="31000">
                <a:schemeClr val="accent1">
                  <a:lumMod val="60000"/>
                  <a:lumOff val="40000"/>
                </a:schemeClr>
              </a:gs>
              <a:gs pos="0">
                <a:schemeClr val="accent1">
                  <a:lumMod val="40000"/>
                  <a:lumOff val="60000"/>
                </a:schemeClr>
              </a:gs>
            </a:gsLst>
            <a:lin ang="1890000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Black"/>
              <a:ea typeface="+mj-ea"/>
              <a:cs typeface="+mn-cs"/>
            </a:endParaRPr>
          </a:p>
        </p:txBody>
      </p:sp>
      <p:sp>
        <p:nvSpPr>
          <p:cNvPr id="13" name="Rectangle 18">
            <a:extLst>
              <a:ext uri="{FF2B5EF4-FFF2-40B4-BE49-F238E27FC236}">
                <a16:creationId xmlns:a16="http://schemas.microsoft.com/office/drawing/2014/main" id="{21D940F6-ED2C-41B3-AE8C-070FA2C2F9F6}"/>
              </a:ext>
            </a:extLst>
          </p:cNvPr>
          <p:cNvSpPr/>
          <p:nvPr/>
        </p:nvSpPr>
        <p:spPr>
          <a:xfrm>
            <a:off x="6427384" y="4597974"/>
            <a:ext cx="466795" cy="420051"/>
          </a:xfrm>
          <a:prstGeom prst="rect">
            <a:avLst/>
          </a:prstGeom>
        </p:spPr>
        <p:txBody>
          <a:bodyPr wrap="none">
            <a:spAutoFit/>
          </a:bodyPr>
          <a:lstStyle/>
          <a:p>
            <a:pPr marL="0" marR="0" lvl="0" indent="0" algn="ctr" defTabSz="457200" rtl="0" eaLnBrk="1" fontAlgn="base" latinLnBrk="0" hangingPunct="1">
              <a:lnSpc>
                <a:spcPct val="130000"/>
              </a:lnSpc>
              <a:spcBef>
                <a:spcPts val="100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HarmonyOS Sans SC Black"/>
                <a:ea typeface="+mj-ea"/>
                <a:cs typeface="+mn-cs"/>
              </a:rPr>
              <a:t>06</a:t>
            </a:r>
          </a:p>
        </p:txBody>
      </p:sp>
      <p:sp>
        <p:nvSpPr>
          <p:cNvPr id="15" name="Freeform 10">
            <a:extLst>
              <a:ext uri="{FF2B5EF4-FFF2-40B4-BE49-F238E27FC236}">
                <a16:creationId xmlns:a16="http://schemas.microsoft.com/office/drawing/2014/main" id="{A6B890E0-F1FB-466F-824A-7751B1319D0C}"/>
              </a:ext>
            </a:extLst>
          </p:cNvPr>
          <p:cNvSpPr>
            <a:spLocks/>
          </p:cNvSpPr>
          <p:nvPr/>
        </p:nvSpPr>
        <p:spPr bwMode="auto">
          <a:xfrm>
            <a:off x="6034354" y="2408697"/>
            <a:ext cx="1244136" cy="946034"/>
          </a:xfrm>
          <a:custGeom>
            <a:avLst/>
            <a:gdLst>
              <a:gd name="T0" fmla="*/ 0 w 6671"/>
              <a:gd name="T1" fmla="*/ 0 h 5070"/>
              <a:gd name="T2" fmla="*/ 6671 w 6671"/>
              <a:gd name="T3" fmla="*/ 3202 h 5070"/>
              <a:gd name="T4" fmla="*/ 6092 w 6671"/>
              <a:gd name="T5" fmla="*/ 4880 h 5070"/>
              <a:gd name="T6" fmla="*/ 4184 w 6671"/>
              <a:gd name="T7" fmla="*/ 5070 h 5070"/>
              <a:gd name="T8" fmla="*/ 319 w 6671"/>
              <a:gd name="T9" fmla="*/ 3119 h 5070"/>
              <a:gd name="T10" fmla="*/ 1137 w 6671"/>
              <a:gd name="T11" fmla="*/ 1310 h 5070"/>
              <a:gd name="T12" fmla="*/ 0 w 6671"/>
              <a:gd name="T13" fmla="*/ 0 h 5070"/>
            </a:gdLst>
            <a:ahLst/>
            <a:cxnLst>
              <a:cxn ang="0">
                <a:pos x="T0" y="T1"/>
              </a:cxn>
              <a:cxn ang="0">
                <a:pos x="T2" y="T3"/>
              </a:cxn>
              <a:cxn ang="0">
                <a:pos x="T4" y="T5"/>
              </a:cxn>
              <a:cxn ang="0">
                <a:pos x="T6" y="T7"/>
              </a:cxn>
              <a:cxn ang="0">
                <a:pos x="T8" y="T9"/>
              </a:cxn>
              <a:cxn ang="0">
                <a:pos x="T10" y="T11"/>
              </a:cxn>
              <a:cxn ang="0">
                <a:pos x="T12" y="T13"/>
              </a:cxn>
            </a:cxnLst>
            <a:rect l="0" t="0" r="r" b="b"/>
            <a:pathLst>
              <a:path w="6671" h="5070">
                <a:moveTo>
                  <a:pt x="0" y="0"/>
                </a:moveTo>
                <a:cubicBezTo>
                  <a:pt x="2689" y="26"/>
                  <a:pt x="5087" y="1268"/>
                  <a:pt x="6671" y="3202"/>
                </a:cubicBezTo>
                <a:lnTo>
                  <a:pt x="6092" y="4880"/>
                </a:lnTo>
                <a:lnTo>
                  <a:pt x="4184" y="5070"/>
                </a:lnTo>
                <a:cubicBezTo>
                  <a:pt x="3235" y="3963"/>
                  <a:pt x="1863" y="3229"/>
                  <a:pt x="319" y="3119"/>
                </a:cubicBezTo>
                <a:lnTo>
                  <a:pt x="1137" y="1310"/>
                </a:lnTo>
                <a:lnTo>
                  <a:pt x="0" y="0"/>
                </a:lnTo>
                <a:close/>
              </a:path>
            </a:pathLst>
          </a:custGeom>
          <a:gradFill flip="none" rotWithShape="1">
            <a:gsLst>
              <a:gs pos="73000">
                <a:schemeClr val="accent1"/>
              </a:gs>
              <a:gs pos="31000">
                <a:schemeClr val="accent1">
                  <a:lumMod val="60000"/>
                  <a:lumOff val="40000"/>
                </a:schemeClr>
              </a:gs>
              <a:gs pos="0">
                <a:schemeClr val="accent1">
                  <a:lumMod val="40000"/>
                  <a:lumOff val="60000"/>
                </a:schemeClr>
              </a:gs>
            </a:gsLst>
            <a:lin ang="1350000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Black"/>
              <a:ea typeface="+mj-ea"/>
              <a:cs typeface="+mn-cs"/>
            </a:endParaRPr>
          </a:p>
        </p:txBody>
      </p:sp>
      <p:sp>
        <p:nvSpPr>
          <p:cNvPr id="16" name="Rectangle 19">
            <a:extLst>
              <a:ext uri="{FF2B5EF4-FFF2-40B4-BE49-F238E27FC236}">
                <a16:creationId xmlns:a16="http://schemas.microsoft.com/office/drawing/2014/main" id="{3760FEE9-4E70-453E-825D-2B4B6FE9E615}"/>
              </a:ext>
            </a:extLst>
          </p:cNvPr>
          <p:cNvSpPr/>
          <p:nvPr/>
        </p:nvSpPr>
        <p:spPr>
          <a:xfrm>
            <a:off x="6444130" y="2658909"/>
            <a:ext cx="466795" cy="420051"/>
          </a:xfrm>
          <a:prstGeom prst="rect">
            <a:avLst/>
          </a:prstGeom>
        </p:spPr>
        <p:txBody>
          <a:bodyPr wrap="none">
            <a:spAutoFit/>
          </a:bodyPr>
          <a:lstStyle/>
          <a:p>
            <a:pPr marL="0" marR="0" lvl="0" indent="0" algn="ctr" defTabSz="457200" rtl="0" eaLnBrk="1" fontAlgn="base" latinLnBrk="0" hangingPunct="1">
              <a:lnSpc>
                <a:spcPct val="130000"/>
              </a:lnSpc>
              <a:spcBef>
                <a:spcPts val="100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HarmonyOS Sans SC Black"/>
                <a:ea typeface="+mj-ea"/>
                <a:cs typeface="+mn-cs"/>
              </a:rPr>
              <a:t>04</a:t>
            </a:r>
          </a:p>
        </p:txBody>
      </p:sp>
      <p:sp>
        <p:nvSpPr>
          <p:cNvPr id="18" name="Freeform 9">
            <a:extLst>
              <a:ext uri="{FF2B5EF4-FFF2-40B4-BE49-F238E27FC236}">
                <a16:creationId xmlns:a16="http://schemas.microsoft.com/office/drawing/2014/main" id="{7D8BC4BC-98CD-4BDC-984C-18AAA0337C10}"/>
              </a:ext>
            </a:extLst>
          </p:cNvPr>
          <p:cNvSpPr>
            <a:spLocks/>
          </p:cNvSpPr>
          <p:nvPr/>
        </p:nvSpPr>
        <p:spPr bwMode="auto">
          <a:xfrm>
            <a:off x="6832590" y="3072398"/>
            <a:ext cx="691462" cy="1427266"/>
          </a:xfrm>
          <a:custGeom>
            <a:avLst/>
            <a:gdLst>
              <a:gd name="T0" fmla="*/ 2571 w 3710"/>
              <a:gd name="T1" fmla="*/ 0 h 7650"/>
              <a:gd name="T2" fmla="*/ 3710 w 3710"/>
              <a:gd name="T3" fmla="*/ 4314 h 7650"/>
              <a:gd name="T4" fmla="*/ 3184 w 3710"/>
              <a:gd name="T5" fmla="*/ 7307 h 7650"/>
              <a:gd name="T6" fmla="*/ 1413 w 3710"/>
              <a:gd name="T7" fmla="*/ 7650 h 7650"/>
              <a:gd name="T8" fmla="*/ 310 w 3710"/>
              <a:gd name="T9" fmla="*/ 6113 h 7650"/>
              <a:gd name="T10" fmla="*/ 604 w 3710"/>
              <a:gd name="T11" fmla="*/ 4314 h 7650"/>
              <a:gd name="T12" fmla="*/ 0 w 3710"/>
              <a:gd name="T13" fmla="*/ 1775 h 7650"/>
              <a:gd name="T14" fmla="*/ 2028 w 3710"/>
              <a:gd name="T15" fmla="*/ 1574 h 7650"/>
              <a:gd name="T16" fmla="*/ 2571 w 3710"/>
              <a:gd name="T17" fmla="*/ 0 h 7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10" h="7650">
                <a:moveTo>
                  <a:pt x="2571" y="0"/>
                </a:moveTo>
                <a:cubicBezTo>
                  <a:pt x="3296" y="1272"/>
                  <a:pt x="3710" y="2745"/>
                  <a:pt x="3710" y="4314"/>
                </a:cubicBezTo>
                <a:cubicBezTo>
                  <a:pt x="3710" y="5366"/>
                  <a:pt x="3524" y="6374"/>
                  <a:pt x="3184" y="7307"/>
                </a:cubicBezTo>
                <a:lnTo>
                  <a:pt x="1413" y="7650"/>
                </a:lnTo>
                <a:lnTo>
                  <a:pt x="310" y="6113"/>
                </a:lnTo>
                <a:cubicBezTo>
                  <a:pt x="501" y="5548"/>
                  <a:pt x="604" y="4943"/>
                  <a:pt x="604" y="4314"/>
                </a:cubicBezTo>
                <a:cubicBezTo>
                  <a:pt x="604" y="3400"/>
                  <a:pt x="386" y="2538"/>
                  <a:pt x="0" y="1775"/>
                </a:cubicBezTo>
                <a:lnTo>
                  <a:pt x="2028" y="1574"/>
                </a:lnTo>
                <a:lnTo>
                  <a:pt x="2571" y="0"/>
                </a:lnTo>
                <a:close/>
              </a:path>
            </a:pathLst>
          </a:custGeom>
          <a:gradFill flip="none" rotWithShape="1">
            <a:gsLst>
              <a:gs pos="73000">
                <a:schemeClr val="accent1"/>
              </a:gs>
              <a:gs pos="31000">
                <a:schemeClr val="accent1">
                  <a:lumMod val="60000"/>
                  <a:lumOff val="40000"/>
                </a:schemeClr>
              </a:gs>
              <a:gs pos="0">
                <a:schemeClr val="accent1">
                  <a:lumMod val="40000"/>
                  <a:lumOff val="60000"/>
                </a:schemeClr>
              </a:gs>
            </a:gsLst>
            <a:lin ang="1620000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Black"/>
              <a:ea typeface="+mj-ea"/>
              <a:cs typeface="+mn-cs"/>
            </a:endParaRPr>
          </a:p>
        </p:txBody>
      </p:sp>
      <p:sp>
        <p:nvSpPr>
          <p:cNvPr id="19" name="Rectangle 20">
            <a:extLst>
              <a:ext uri="{FF2B5EF4-FFF2-40B4-BE49-F238E27FC236}">
                <a16:creationId xmlns:a16="http://schemas.microsoft.com/office/drawing/2014/main" id="{42448943-632C-4524-928D-F94B0F3BB1EE}"/>
              </a:ext>
            </a:extLst>
          </p:cNvPr>
          <p:cNvSpPr/>
          <p:nvPr/>
        </p:nvSpPr>
        <p:spPr>
          <a:xfrm>
            <a:off x="6999887" y="3661143"/>
            <a:ext cx="466795" cy="420051"/>
          </a:xfrm>
          <a:prstGeom prst="rect">
            <a:avLst/>
          </a:prstGeom>
        </p:spPr>
        <p:txBody>
          <a:bodyPr wrap="none">
            <a:spAutoFit/>
          </a:bodyPr>
          <a:lstStyle/>
          <a:p>
            <a:pPr marL="0" marR="0" lvl="0" indent="0" algn="ctr" defTabSz="457200" rtl="0" eaLnBrk="1" fontAlgn="base" latinLnBrk="0" hangingPunct="1">
              <a:lnSpc>
                <a:spcPct val="130000"/>
              </a:lnSpc>
              <a:spcBef>
                <a:spcPts val="100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HarmonyOS Sans SC Black"/>
                <a:ea typeface="+mj-ea"/>
                <a:cs typeface="+mn-cs"/>
              </a:rPr>
              <a:t>05</a:t>
            </a:r>
          </a:p>
        </p:txBody>
      </p:sp>
      <p:sp>
        <p:nvSpPr>
          <p:cNvPr id="20" name="Rectangle 21">
            <a:extLst>
              <a:ext uri="{FF2B5EF4-FFF2-40B4-BE49-F238E27FC236}">
                <a16:creationId xmlns:a16="http://schemas.microsoft.com/office/drawing/2014/main" id="{B2E3D619-F376-4B12-AB85-DD8B4DB05196}"/>
              </a:ext>
            </a:extLst>
          </p:cNvPr>
          <p:cNvSpPr/>
          <p:nvPr/>
        </p:nvSpPr>
        <p:spPr>
          <a:xfrm>
            <a:off x="5440638" y="3553026"/>
            <a:ext cx="1310725" cy="661720"/>
          </a:xfrm>
          <a:prstGeom prst="rect">
            <a:avLst/>
          </a:prstGeom>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500" b="1" i="0" u="none" strike="noStrike" kern="1200" cap="none" spc="0" normalizeH="0" baseline="0" noProof="0" dirty="0">
                <a:ln>
                  <a:noFill/>
                </a:ln>
                <a:solidFill>
                  <a:prstClr val="black">
                    <a:lumMod val="75000"/>
                    <a:lumOff val="25000"/>
                  </a:prstClr>
                </a:solidFill>
                <a:effectLst/>
                <a:uLnTx/>
                <a:uFillTx/>
                <a:latin typeface="HarmonyOS Sans SC Black"/>
                <a:ea typeface="+mj-ea"/>
                <a:cs typeface="+mn-cs"/>
              </a:rPr>
              <a:t>6 STEP</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75000"/>
                    <a:lumOff val="25000"/>
                  </a:prstClr>
                </a:solidFill>
                <a:effectLst/>
                <a:uLnTx/>
                <a:uFillTx/>
                <a:latin typeface="HarmonyOS Sans SC Black"/>
                <a:ea typeface="+mj-ea"/>
                <a:cs typeface="+mn-cs"/>
              </a:rPr>
              <a:t>INFOGRAPHIC</a:t>
            </a:r>
          </a:p>
        </p:txBody>
      </p:sp>
      <p:sp>
        <p:nvSpPr>
          <p:cNvPr id="23" name="Freeform 28">
            <a:extLst>
              <a:ext uri="{FF2B5EF4-FFF2-40B4-BE49-F238E27FC236}">
                <a16:creationId xmlns:a16="http://schemas.microsoft.com/office/drawing/2014/main" id="{9181ECD8-CFFE-4B92-A64F-E4DBC1987767}"/>
              </a:ext>
            </a:extLst>
          </p:cNvPr>
          <p:cNvSpPr>
            <a:spLocks noEditPoints="1"/>
          </p:cNvSpPr>
          <p:nvPr/>
        </p:nvSpPr>
        <p:spPr bwMode="auto">
          <a:xfrm>
            <a:off x="1341770" y="5005296"/>
            <a:ext cx="555626" cy="502660"/>
          </a:xfrm>
          <a:custGeom>
            <a:avLst/>
            <a:gdLst>
              <a:gd name="T0" fmla="*/ 2119 w 2125"/>
              <a:gd name="T1" fmla="*/ 400 h 2053"/>
              <a:gd name="T2" fmla="*/ 2061 w 2125"/>
              <a:gd name="T3" fmla="*/ 337 h 2053"/>
              <a:gd name="T4" fmla="*/ 1857 w 2125"/>
              <a:gd name="T5" fmla="*/ 269 h 2053"/>
              <a:gd name="T6" fmla="*/ 1789 w 2125"/>
              <a:gd name="T7" fmla="*/ 64 h 2053"/>
              <a:gd name="T8" fmla="*/ 1726 w 2125"/>
              <a:gd name="T9" fmla="*/ 7 h 2053"/>
              <a:gd name="T10" fmla="*/ 1645 w 2125"/>
              <a:gd name="T11" fmla="*/ 30 h 2053"/>
              <a:gd name="T12" fmla="*/ 1399 w 2125"/>
              <a:gd name="T13" fmla="*/ 276 h 2053"/>
              <a:gd name="T14" fmla="*/ 1378 w 2125"/>
              <a:gd name="T15" fmla="*/ 365 h 2053"/>
              <a:gd name="T16" fmla="*/ 1443 w 2125"/>
              <a:gd name="T17" fmla="*/ 560 h 2053"/>
              <a:gd name="T18" fmla="*/ 1293 w 2125"/>
              <a:gd name="T19" fmla="*/ 710 h 2053"/>
              <a:gd name="T20" fmla="*/ 826 w 2125"/>
              <a:gd name="T21" fmla="*/ 547 h 2053"/>
              <a:gd name="T22" fmla="*/ 293 w 2125"/>
              <a:gd name="T23" fmla="*/ 768 h 2053"/>
              <a:gd name="T24" fmla="*/ 293 w 2125"/>
              <a:gd name="T25" fmla="*/ 1832 h 2053"/>
              <a:gd name="T26" fmla="*/ 826 w 2125"/>
              <a:gd name="T27" fmla="*/ 2053 h 2053"/>
              <a:gd name="T28" fmla="*/ 1358 w 2125"/>
              <a:gd name="T29" fmla="*/ 1832 h 2053"/>
              <a:gd name="T30" fmla="*/ 1416 w 2125"/>
              <a:gd name="T31" fmla="*/ 833 h 2053"/>
              <a:gd name="T32" fmla="*/ 1566 w 2125"/>
              <a:gd name="T33" fmla="*/ 683 h 2053"/>
              <a:gd name="T34" fmla="*/ 1761 w 2125"/>
              <a:gd name="T35" fmla="*/ 748 h 2053"/>
              <a:gd name="T36" fmla="*/ 1788 w 2125"/>
              <a:gd name="T37" fmla="*/ 752 h 2053"/>
              <a:gd name="T38" fmla="*/ 1850 w 2125"/>
              <a:gd name="T39" fmla="*/ 727 h 2053"/>
              <a:gd name="T40" fmla="*/ 2095 w 2125"/>
              <a:gd name="T41" fmla="*/ 481 h 2053"/>
              <a:gd name="T42" fmla="*/ 2119 w 2125"/>
              <a:gd name="T43" fmla="*/ 400 h 2053"/>
              <a:gd name="T44" fmla="*/ 1235 w 2125"/>
              <a:gd name="T45" fmla="*/ 1710 h 2053"/>
              <a:gd name="T46" fmla="*/ 826 w 2125"/>
              <a:gd name="T47" fmla="*/ 1879 h 2053"/>
              <a:gd name="T48" fmla="*/ 416 w 2125"/>
              <a:gd name="T49" fmla="*/ 1710 h 2053"/>
              <a:gd name="T50" fmla="*/ 416 w 2125"/>
              <a:gd name="T51" fmla="*/ 890 h 2053"/>
              <a:gd name="T52" fmla="*/ 826 w 2125"/>
              <a:gd name="T53" fmla="*/ 721 h 2053"/>
              <a:gd name="T54" fmla="*/ 1169 w 2125"/>
              <a:gd name="T55" fmla="*/ 834 h 2053"/>
              <a:gd name="T56" fmla="*/ 1044 w 2125"/>
              <a:gd name="T57" fmla="*/ 959 h 2053"/>
              <a:gd name="T58" fmla="*/ 826 w 2125"/>
              <a:gd name="T59" fmla="*/ 895 h 2053"/>
              <a:gd name="T60" fmla="*/ 539 w 2125"/>
              <a:gd name="T61" fmla="*/ 1013 h 2053"/>
              <a:gd name="T62" fmla="*/ 420 w 2125"/>
              <a:gd name="T63" fmla="*/ 1300 h 2053"/>
              <a:gd name="T64" fmla="*/ 539 w 2125"/>
              <a:gd name="T65" fmla="*/ 1587 h 2053"/>
              <a:gd name="T66" fmla="*/ 826 w 2125"/>
              <a:gd name="T67" fmla="*/ 1705 h 2053"/>
              <a:gd name="T68" fmla="*/ 1112 w 2125"/>
              <a:gd name="T69" fmla="*/ 1587 h 2053"/>
              <a:gd name="T70" fmla="*/ 1167 w 2125"/>
              <a:gd name="T71" fmla="*/ 1081 h 2053"/>
              <a:gd name="T72" fmla="*/ 1292 w 2125"/>
              <a:gd name="T73" fmla="*/ 957 h 2053"/>
              <a:gd name="T74" fmla="*/ 1235 w 2125"/>
              <a:gd name="T75" fmla="*/ 1710 h 2053"/>
              <a:gd name="T76" fmla="*/ 764 w 2125"/>
              <a:gd name="T77" fmla="*/ 1361 h 2053"/>
              <a:gd name="T78" fmla="*/ 826 w 2125"/>
              <a:gd name="T79" fmla="*/ 1387 h 2053"/>
              <a:gd name="T80" fmla="*/ 887 w 2125"/>
              <a:gd name="T81" fmla="*/ 1361 h 2053"/>
              <a:gd name="T82" fmla="*/ 1039 w 2125"/>
              <a:gd name="T83" fmla="*/ 1210 h 2053"/>
              <a:gd name="T84" fmla="*/ 990 w 2125"/>
              <a:gd name="T85" fmla="*/ 1464 h 2053"/>
              <a:gd name="T86" fmla="*/ 826 w 2125"/>
              <a:gd name="T87" fmla="*/ 1532 h 2053"/>
              <a:gd name="T88" fmla="*/ 662 w 2125"/>
              <a:gd name="T89" fmla="*/ 1464 h 2053"/>
              <a:gd name="T90" fmla="*/ 594 w 2125"/>
              <a:gd name="T91" fmla="*/ 1300 h 2053"/>
              <a:gd name="T92" fmla="*/ 662 w 2125"/>
              <a:gd name="T93" fmla="*/ 1136 h 2053"/>
              <a:gd name="T94" fmla="*/ 826 w 2125"/>
              <a:gd name="T95" fmla="*/ 1068 h 2053"/>
              <a:gd name="T96" fmla="*/ 916 w 2125"/>
              <a:gd name="T97" fmla="*/ 1087 h 2053"/>
              <a:gd name="T98" fmla="*/ 764 w 2125"/>
              <a:gd name="T99" fmla="*/ 1239 h 2053"/>
              <a:gd name="T100" fmla="*/ 764 w 2125"/>
              <a:gd name="T101" fmla="*/ 1361 h 20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125" h="2053">
                <a:moveTo>
                  <a:pt x="2119" y="400"/>
                </a:moveTo>
                <a:cubicBezTo>
                  <a:pt x="2112" y="370"/>
                  <a:pt x="2090" y="347"/>
                  <a:pt x="2061" y="337"/>
                </a:cubicBezTo>
                <a:cubicBezTo>
                  <a:pt x="1857" y="269"/>
                  <a:pt x="1857" y="269"/>
                  <a:pt x="1857" y="269"/>
                </a:cubicBezTo>
                <a:cubicBezTo>
                  <a:pt x="1789" y="64"/>
                  <a:pt x="1789" y="64"/>
                  <a:pt x="1789" y="64"/>
                </a:cubicBezTo>
                <a:cubicBezTo>
                  <a:pt x="1779" y="36"/>
                  <a:pt x="1756" y="14"/>
                  <a:pt x="1726" y="7"/>
                </a:cubicBezTo>
                <a:cubicBezTo>
                  <a:pt x="1697" y="0"/>
                  <a:pt x="1666" y="9"/>
                  <a:pt x="1645" y="30"/>
                </a:cubicBezTo>
                <a:cubicBezTo>
                  <a:pt x="1399" y="276"/>
                  <a:pt x="1399" y="276"/>
                  <a:pt x="1399" y="276"/>
                </a:cubicBezTo>
                <a:cubicBezTo>
                  <a:pt x="1376" y="299"/>
                  <a:pt x="1368" y="334"/>
                  <a:pt x="1378" y="365"/>
                </a:cubicBezTo>
                <a:cubicBezTo>
                  <a:pt x="1443" y="560"/>
                  <a:pt x="1443" y="560"/>
                  <a:pt x="1443" y="560"/>
                </a:cubicBezTo>
                <a:cubicBezTo>
                  <a:pt x="1293" y="710"/>
                  <a:pt x="1293" y="710"/>
                  <a:pt x="1293" y="710"/>
                </a:cubicBezTo>
                <a:cubicBezTo>
                  <a:pt x="1161" y="604"/>
                  <a:pt x="998" y="547"/>
                  <a:pt x="826" y="547"/>
                </a:cubicBezTo>
                <a:cubicBezTo>
                  <a:pt x="625" y="547"/>
                  <a:pt x="436" y="625"/>
                  <a:pt x="293" y="768"/>
                </a:cubicBezTo>
                <a:cubicBezTo>
                  <a:pt x="0" y="1061"/>
                  <a:pt x="0" y="1539"/>
                  <a:pt x="293" y="1832"/>
                </a:cubicBezTo>
                <a:cubicBezTo>
                  <a:pt x="436" y="1975"/>
                  <a:pt x="625" y="2053"/>
                  <a:pt x="826" y="2053"/>
                </a:cubicBezTo>
                <a:cubicBezTo>
                  <a:pt x="1027" y="2053"/>
                  <a:pt x="1216" y="1975"/>
                  <a:pt x="1358" y="1832"/>
                </a:cubicBezTo>
                <a:cubicBezTo>
                  <a:pt x="1631" y="1560"/>
                  <a:pt x="1650" y="1128"/>
                  <a:pt x="1416" y="833"/>
                </a:cubicBezTo>
                <a:cubicBezTo>
                  <a:pt x="1566" y="683"/>
                  <a:pt x="1566" y="683"/>
                  <a:pt x="1566" y="683"/>
                </a:cubicBezTo>
                <a:cubicBezTo>
                  <a:pt x="1761" y="748"/>
                  <a:pt x="1761" y="748"/>
                  <a:pt x="1761" y="748"/>
                </a:cubicBezTo>
                <a:cubicBezTo>
                  <a:pt x="1770" y="751"/>
                  <a:pt x="1779" y="752"/>
                  <a:pt x="1788" y="752"/>
                </a:cubicBezTo>
                <a:cubicBezTo>
                  <a:pt x="1811" y="752"/>
                  <a:pt x="1833" y="743"/>
                  <a:pt x="1850" y="727"/>
                </a:cubicBezTo>
                <a:cubicBezTo>
                  <a:pt x="2095" y="481"/>
                  <a:pt x="2095" y="481"/>
                  <a:pt x="2095" y="481"/>
                </a:cubicBezTo>
                <a:cubicBezTo>
                  <a:pt x="2117" y="460"/>
                  <a:pt x="2125" y="429"/>
                  <a:pt x="2119" y="400"/>
                </a:cubicBezTo>
                <a:close/>
                <a:moveTo>
                  <a:pt x="1235" y="1710"/>
                </a:moveTo>
                <a:cubicBezTo>
                  <a:pt x="1126" y="1819"/>
                  <a:pt x="980" y="1879"/>
                  <a:pt x="826" y="1879"/>
                </a:cubicBezTo>
                <a:cubicBezTo>
                  <a:pt x="671" y="1879"/>
                  <a:pt x="526" y="1819"/>
                  <a:pt x="416" y="1710"/>
                </a:cubicBezTo>
                <a:cubicBezTo>
                  <a:pt x="190" y="1484"/>
                  <a:pt x="190" y="1116"/>
                  <a:pt x="416" y="890"/>
                </a:cubicBezTo>
                <a:cubicBezTo>
                  <a:pt x="526" y="781"/>
                  <a:pt x="671" y="721"/>
                  <a:pt x="826" y="721"/>
                </a:cubicBezTo>
                <a:cubicBezTo>
                  <a:pt x="951" y="721"/>
                  <a:pt x="1070" y="760"/>
                  <a:pt x="1169" y="834"/>
                </a:cubicBezTo>
                <a:cubicBezTo>
                  <a:pt x="1044" y="959"/>
                  <a:pt x="1044" y="959"/>
                  <a:pt x="1044" y="959"/>
                </a:cubicBezTo>
                <a:cubicBezTo>
                  <a:pt x="980" y="917"/>
                  <a:pt x="904" y="895"/>
                  <a:pt x="826" y="895"/>
                </a:cubicBezTo>
                <a:cubicBezTo>
                  <a:pt x="717" y="895"/>
                  <a:pt x="616" y="937"/>
                  <a:pt x="539" y="1013"/>
                </a:cubicBezTo>
                <a:cubicBezTo>
                  <a:pt x="463" y="1090"/>
                  <a:pt x="420" y="1192"/>
                  <a:pt x="420" y="1300"/>
                </a:cubicBezTo>
                <a:cubicBezTo>
                  <a:pt x="420" y="1408"/>
                  <a:pt x="463" y="1510"/>
                  <a:pt x="539" y="1587"/>
                </a:cubicBezTo>
                <a:cubicBezTo>
                  <a:pt x="616" y="1663"/>
                  <a:pt x="717" y="1705"/>
                  <a:pt x="826" y="1705"/>
                </a:cubicBezTo>
                <a:cubicBezTo>
                  <a:pt x="934" y="1705"/>
                  <a:pt x="1036" y="1663"/>
                  <a:pt x="1112" y="1587"/>
                </a:cubicBezTo>
                <a:cubicBezTo>
                  <a:pt x="1249" y="1450"/>
                  <a:pt x="1268" y="1238"/>
                  <a:pt x="1167" y="1081"/>
                </a:cubicBezTo>
                <a:cubicBezTo>
                  <a:pt x="1292" y="957"/>
                  <a:pt x="1292" y="957"/>
                  <a:pt x="1292" y="957"/>
                </a:cubicBezTo>
                <a:cubicBezTo>
                  <a:pt x="1459" y="1183"/>
                  <a:pt x="1440" y="1505"/>
                  <a:pt x="1235" y="1710"/>
                </a:cubicBezTo>
                <a:close/>
                <a:moveTo>
                  <a:pt x="764" y="1361"/>
                </a:moveTo>
                <a:cubicBezTo>
                  <a:pt x="781" y="1378"/>
                  <a:pt x="804" y="1387"/>
                  <a:pt x="826" y="1387"/>
                </a:cubicBezTo>
                <a:cubicBezTo>
                  <a:pt x="848" y="1387"/>
                  <a:pt x="870" y="1378"/>
                  <a:pt x="887" y="1361"/>
                </a:cubicBezTo>
                <a:cubicBezTo>
                  <a:pt x="1039" y="1210"/>
                  <a:pt x="1039" y="1210"/>
                  <a:pt x="1039" y="1210"/>
                </a:cubicBezTo>
                <a:cubicBezTo>
                  <a:pt x="1075" y="1294"/>
                  <a:pt x="1058" y="1395"/>
                  <a:pt x="990" y="1464"/>
                </a:cubicBezTo>
                <a:cubicBezTo>
                  <a:pt x="946" y="1508"/>
                  <a:pt x="888" y="1532"/>
                  <a:pt x="826" y="1532"/>
                </a:cubicBezTo>
                <a:cubicBezTo>
                  <a:pt x="764" y="1532"/>
                  <a:pt x="706" y="1508"/>
                  <a:pt x="662" y="1464"/>
                </a:cubicBezTo>
                <a:cubicBezTo>
                  <a:pt x="618" y="1420"/>
                  <a:pt x="594" y="1362"/>
                  <a:pt x="594" y="1300"/>
                </a:cubicBezTo>
                <a:cubicBezTo>
                  <a:pt x="594" y="1238"/>
                  <a:pt x="618" y="1180"/>
                  <a:pt x="662" y="1136"/>
                </a:cubicBezTo>
                <a:cubicBezTo>
                  <a:pt x="706" y="1092"/>
                  <a:pt x="764" y="1068"/>
                  <a:pt x="826" y="1068"/>
                </a:cubicBezTo>
                <a:cubicBezTo>
                  <a:pt x="857" y="1068"/>
                  <a:pt x="888" y="1075"/>
                  <a:pt x="916" y="1087"/>
                </a:cubicBezTo>
                <a:cubicBezTo>
                  <a:pt x="764" y="1239"/>
                  <a:pt x="764" y="1239"/>
                  <a:pt x="764" y="1239"/>
                </a:cubicBezTo>
                <a:cubicBezTo>
                  <a:pt x="730" y="1273"/>
                  <a:pt x="730" y="1328"/>
                  <a:pt x="764" y="1361"/>
                </a:cubicBezTo>
                <a:close/>
              </a:path>
            </a:pathLst>
          </a:custGeom>
          <a:gradFill>
            <a:gsLst>
              <a:gs pos="73000">
                <a:schemeClr val="accent1"/>
              </a:gs>
              <a:gs pos="31000">
                <a:schemeClr val="accent1">
                  <a:lumMod val="60000"/>
                  <a:lumOff val="40000"/>
                </a:schemeClr>
              </a:gs>
              <a:gs pos="0">
                <a:schemeClr val="accent1">
                  <a:lumMod val="40000"/>
                  <a:lumOff val="60000"/>
                </a:schemeClr>
              </a:gs>
            </a:gsLst>
            <a:lin ang="8100000" scaled="1"/>
          </a:gra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grpSp>
        <p:nvGrpSpPr>
          <p:cNvPr id="24" name="Group 29">
            <a:extLst>
              <a:ext uri="{FF2B5EF4-FFF2-40B4-BE49-F238E27FC236}">
                <a16:creationId xmlns:a16="http://schemas.microsoft.com/office/drawing/2014/main" id="{403365AF-3A16-498B-8A36-C96315A352B4}"/>
              </a:ext>
            </a:extLst>
          </p:cNvPr>
          <p:cNvGrpSpPr/>
          <p:nvPr/>
        </p:nvGrpSpPr>
        <p:grpSpPr>
          <a:xfrm>
            <a:off x="10583237" y="3668523"/>
            <a:ext cx="518680" cy="449776"/>
            <a:chOff x="9682163" y="3494088"/>
            <a:chExt cx="338137" cy="336551"/>
          </a:xfrm>
          <a:gradFill>
            <a:gsLst>
              <a:gs pos="73000">
                <a:schemeClr val="accent1"/>
              </a:gs>
              <a:gs pos="31000">
                <a:schemeClr val="accent1">
                  <a:lumMod val="60000"/>
                  <a:lumOff val="40000"/>
                </a:schemeClr>
              </a:gs>
              <a:gs pos="0">
                <a:schemeClr val="accent1">
                  <a:lumMod val="40000"/>
                  <a:lumOff val="60000"/>
                </a:schemeClr>
              </a:gs>
            </a:gsLst>
            <a:lin ang="8100000" scaled="1"/>
          </a:gradFill>
        </p:grpSpPr>
        <p:sp>
          <p:nvSpPr>
            <p:cNvPr id="25" name="Rectangle 18">
              <a:extLst>
                <a:ext uri="{FF2B5EF4-FFF2-40B4-BE49-F238E27FC236}">
                  <a16:creationId xmlns:a16="http://schemas.microsoft.com/office/drawing/2014/main" id="{F5E14DB2-C293-4132-9A7B-B83E2B3BAD35}"/>
                </a:ext>
              </a:extLst>
            </p:cNvPr>
            <p:cNvSpPr>
              <a:spLocks noChangeArrowheads="1"/>
            </p:cNvSpPr>
            <p:nvPr/>
          </p:nvSpPr>
          <p:spPr bwMode="auto">
            <a:xfrm>
              <a:off x="9836150" y="3687763"/>
              <a:ext cx="30162" cy="301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sp>
          <p:nvSpPr>
            <p:cNvPr id="26" name="Freeform 19">
              <a:extLst>
                <a:ext uri="{FF2B5EF4-FFF2-40B4-BE49-F238E27FC236}">
                  <a16:creationId xmlns:a16="http://schemas.microsoft.com/office/drawing/2014/main" id="{ACA356D5-47C6-4431-A105-CC62B0FED04E}"/>
                </a:ext>
              </a:extLst>
            </p:cNvPr>
            <p:cNvSpPr>
              <a:spLocks noEditPoints="1"/>
            </p:cNvSpPr>
            <p:nvPr/>
          </p:nvSpPr>
          <p:spPr bwMode="auto">
            <a:xfrm>
              <a:off x="9682163" y="3494088"/>
              <a:ext cx="338137" cy="163513"/>
            </a:xfrm>
            <a:custGeom>
              <a:avLst/>
              <a:gdLst>
                <a:gd name="T0" fmla="*/ 1955 w 2048"/>
                <a:gd name="T1" fmla="*/ 372 h 993"/>
                <a:gd name="T2" fmla="*/ 1427 w 2048"/>
                <a:gd name="T3" fmla="*/ 372 h 993"/>
                <a:gd name="T4" fmla="*/ 1427 w 2048"/>
                <a:gd name="T5" fmla="*/ 93 h 993"/>
                <a:gd name="T6" fmla="*/ 1334 w 2048"/>
                <a:gd name="T7" fmla="*/ 0 h 993"/>
                <a:gd name="T8" fmla="*/ 714 w 2048"/>
                <a:gd name="T9" fmla="*/ 0 h 993"/>
                <a:gd name="T10" fmla="*/ 621 w 2048"/>
                <a:gd name="T11" fmla="*/ 93 h 993"/>
                <a:gd name="T12" fmla="*/ 621 w 2048"/>
                <a:gd name="T13" fmla="*/ 372 h 993"/>
                <a:gd name="T14" fmla="*/ 93 w 2048"/>
                <a:gd name="T15" fmla="*/ 372 h 993"/>
                <a:gd name="T16" fmla="*/ 0 w 2048"/>
                <a:gd name="T17" fmla="*/ 465 h 993"/>
                <a:gd name="T18" fmla="*/ 0 w 2048"/>
                <a:gd name="T19" fmla="*/ 781 h 993"/>
                <a:gd name="T20" fmla="*/ 93 w 2048"/>
                <a:gd name="T21" fmla="*/ 804 h 993"/>
                <a:gd name="T22" fmla="*/ 186 w 2048"/>
                <a:gd name="T23" fmla="*/ 827 h 993"/>
                <a:gd name="T24" fmla="*/ 849 w 2048"/>
                <a:gd name="T25" fmla="*/ 993 h 993"/>
                <a:gd name="T26" fmla="*/ 1199 w 2048"/>
                <a:gd name="T27" fmla="*/ 993 h 993"/>
                <a:gd name="T28" fmla="*/ 1862 w 2048"/>
                <a:gd name="T29" fmla="*/ 827 h 993"/>
                <a:gd name="T30" fmla="*/ 1955 w 2048"/>
                <a:gd name="T31" fmla="*/ 804 h 993"/>
                <a:gd name="T32" fmla="*/ 2048 w 2048"/>
                <a:gd name="T33" fmla="*/ 781 h 993"/>
                <a:gd name="T34" fmla="*/ 2048 w 2048"/>
                <a:gd name="T35" fmla="*/ 465 h 993"/>
                <a:gd name="T36" fmla="*/ 1955 w 2048"/>
                <a:gd name="T37" fmla="*/ 372 h 993"/>
                <a:gd name="T38" fmla="*/ 1241 w 2048"/>
                <a:gd name="T39" fmla="*/ 372 h 993"/>
                <a:gd name="T40" fmla="*/ 807 w 2048"/>
                <a:gd name="T41" fmla="*/ 372 h 993"/>
                <a:gd name="T42" fmla="*/ 807 w 2048"/>
                <a:gd name="T43" fmla="*/ 186 h 993"/>
                <a:gd name="T44" fmla="*/ 1241 w 2048"/>
                <a:gd name="T45" fmla="*/ 186 h 993"/>
                <a:gd name="T46" fmla="*/ 1241 w 2048"/>
                <a:gd name="T47" fmla="*/ 372 h 9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048" h="993">
                  <a:moveTo>
                    <a:pt x="1955" y="372"/>
                  </a:moveTo>
                  <a:cubicBezTo>
                    <a:pt x="1427" y="372"/>
                    <a:pt x="1427" y="372"/>
                    <a:pt x="1427" y="372"/>
                  </a:cubicBezTo>
                  <a:cubicBezTo>
                    <a:pt x="1427" y="93"/>
                    <a:pt x="1427" y="93"/>
                    <a:pt x="1427" y="93"/>
                  </a:cubicBezTo>
                  <a:cubicBezTo>
                    <a:pt x="1427" y="42"/>
                    <a:pt x="1386" y="0"/>
                    <a:pt x="1334" y="0"/>
                  </a:cubicBezTo>
                  <a:cubicBezTo>
                    <a:pt x="714" y="0"/>
                    <a:pt x="714" y="0"/>
                    <a:pt x="714" y="0"/>
                  </a:cubicBezTo>
                  <a:cubicBezTo>
                    <a:pt x="662" y="0"/>
                    <a:pt x="621" y="42"/>
                    <a:pt x="621" y="93"/>
                  </a:cubicBezTo>
                  <a:cubicBezTo>
                    <a:pt x="621" y="372"/>
                    <a:pt x="621" y="372"/>
                    <a:pt x="621" y="372"/>
                  </a:cubicBezTo>
                  <a:cubicBezTo>
                    <a:pt x="93" y="372"/>
                    <a:pt x="93" y="372"/>
                    <a:pt x="93" y="372"/>
                  </a:cubicBezTo>
                  <a:cubicBezTo>
                    <a:pt x="42" y="372"/>
                    <a:pt x="0" y="414"/>
                    <a:pt x="0" y="465"/>
                  </a:cubicBezTo>
                  <a:cubicBezTo>
                    <a:pt x="0" y="781"/>
                    <a:pt x="0" y="781"/>
                    <a:pt x="0" y="781"/>
                  </a:cubicBezTo>
                  <a:cubicBezTo>
                    <a:pt x="93" y="804"/>
                    <a:pt x="93" y="804"/>
                    <a:pt x="93" y="804"/>
                  </a:cubicBezTo>
                  <a:cubicBezTo>
                    <a:pt x="186" y="827"/>
                    <a:pt x="186" y="827"/>
                    <a:pt x="186" y="827"/>
                  </a:cubicBezTo>
                  <a:cubicBezTo>
                    <a:pt x="849" y="993"/>
                    <a:pt x="849" y="993"/>
                    <a:pt x="849" y="993"/>
                  </a:cubicBezTo>
                  <a:cubicBezTo>
                    <a:pt x="1199" y="993"/>
                    <a:pt x="1199" y="993"/>
                    <a:pt x="1199" y="993"/>
                  </a:cubicBezTo>
                  <a:cubicBezTo>
                    <a:pt x="1862" y="827"/>
                    <a:pt x="1862" y="827"/>
                    <a:pt x="1862" y="827"/>
                  </a:cubicBezTo>
                  <a:cubicBezTo>
                    <a:pt x="1955" y="804"/>
                    <a:pt x="1955" y="804"/>
                    <a:pt x="1955" y="804"/>
                  </a:cubicBezTo>
                  <a:cubicBezTo>
                    <a:pt x="2048" y="781"/>
                    <a:pt x="2048" y="781"/>
                    <a:pt x="2048" y="781"/>
                  </a:cubicBezTo>
                  <a:cubicBezTo>
                    <a:pt x="2048" y="465"/>
                    <a:pt x="2048" y="465"/>
                    <a:pt x="2048" y="465"/>
                  </a:cubicBezTo>
                  <a:cubicBezTo>
                    <a:pt x="2048" y="414"/>
                    <a:pt x="2006" y="372"/>
                    <a:pt x="1955" y="372"/>
                  </a:cubicBezTo>
                  <a:close/>
                  <a:moveTo>
                    <a:pt x="1241" y="372"/>
                  </a:moveTo>
                  <a:cubicBezTo>
                    <a:pt x="807" y="372"/>
                    <a:pt x="807" y="372"/>
                    <a:pt x="807" y="372"/>
                  </a:cubicBezTo>
                  <a:cubicBezTo>
                    <a:pt x="807" y="186"/>
                    <a:pt x="807" y="186"/>
                    <a:pt x="807" y="186"/>
                  </a:cubicBezTo>
                  <a:cubicBezTo>
                    <a:pt x="1241" y="186"/>
                    <a:pt x="1241" y="186"/>
                    <a:pt x="1241" y="186"/>
                  </a:cubicBezTo>
                  <a:lnTo>
                    <a:pt x="1241" y="3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sp>
          <p:nvSpPr>
            <p:cNvPr id="27" name="Freeform 20">
              <a:extLst>
                <a:ext uri="{FF2B5EF4-FFF2-40B4-BE49-F238E27FC236}">
                  <a16:creationId xmlns:a16="http://schemas.microsoft.com/office/drawing/2014/main" id="{C250AAE1-FF4F-462C-901D-BF9511843506}"/>
                </a:ext>
              </a:extLst>
            </p:cNvPr>
            <p:cNvSpPr>
              <a:spLocks/>
            </p:cNvSpPr>
            <p:nvPr/>
          </p:nvSpPr>
          <p:spPr bwMode="auto">
            <a:xfrm>
              <a:off x="9682163" y="3654426"/>
              <a:ext cx="338137" cy="176213"/>
            </a:xfrm>
            <a:custGeom>
              <a:avLst/>
              <a:gdLst>
                <a:gd name="T0" fmla="*/ 1955 w 2048"/>
                <a:gd name="T1" fmla="*/ 23 h 1075"/>
                <a:gd name="T2" fmla="*/ 1862 w 2048"/>
                <a:gd name="T3" fmla="*/ 46 h 1075"/>
                <a:gd name="T4" fmla="*/ 1303 w 2048"/>
                <a:gd name="T5" fmla="*/ 186 h 1075"/>
                <a:gd name="T6" fmla="*/ 1303 w 2048"/>
                <a:gd name="T7" fmla="*/ 485 h 1075"/>
                <a:gd name="T8" fmla="*/ 1210 w 2048"/>
                <a:gd name="T9" fmla="*/ 579 h 1075"/>
                <a:gd name="T10" fmla="*/ 838 w 2048"/>
                <a:gd name="T11" fmla="*/ 579 h 1075"/>
                <a:gd name="T12" fmla="*/ 745 w 2048"/>
                <a:gd name="T13" fmla="*/ 485 h 1075"/>
                <a:gd name="T14" fmla="*/ 745 w 2048"/>
                <a:gd name="T15" fmla="*/ 186 h 1075"/>
                <a:gd name="T16" fmla="*/ 186 w 2048"/>
                <a:gd name="T17" fmla="*/ 46 h 1075"/>
                <a:gd name="T18" fmla="*/ 93 w 2048"/>
                <a:gd name="T19" fmla="*/ 23 h 1075"/>
                <a:gd name="T20" fmla="*/ 0 w 2048"/>
                <a:gd name="T21" fmla="*/ 0 h 1075"/>
                <a:gd name="T22" fmla="*/ 0 w 2048"/>
                <a:gd name="T23" fmla="*/ 982 h 1075"/>
                <a:gd name="T24" fmla="*/ 93 w 2048"/>
                <a:gd name="T25" fmla="*/ 1075 h 1075"/>
                <a:gd name="T26" fmla="*/ 1955 w 2048"/>
                <a:gd name="T27" fmla="*/ 1075 h 1075"/>
                <a:gd name="T28" fmla="*/ 2048 w 2048"/>
                <a:gd name="T29" fmla="*/ 982 h 1075"/>
                <a:gd name="T30" fmla="*/ 2048 w 2048"/>
                <a:gd name="T31" fmla="*/ 0 h 1075"/>
                <a:gd name="T32" fmla="*/ 1955 w 2048"/>
                <a:gd name="T33" fmla="*/ 23 h 10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48" h="1075">
                  <a:moveTo>
                    <a:pt x="1955" y="23"/>
                  </a:moveTo>
                  <a:cubicBezTo>
                    <a:pt x="1862" y="46"/>
                    <a:pt x="1862" y="46"/>
                    <a:pt x="1862" y="46"/>
                  </a:cubicBezTo>
                  <a:cubicBezTo>
                    <a:pt x="1303" y="186"/>
                    <a:pt x="1303" y="186"/>
                    <a:pt x="1303" y="186"/>
                  </a:cubicBezTo>
                  <a:cubicBezTo>
                    <a:pt x="1303" y="485"/>
                    <a:pt x="1303" y="485"/>
                    <a:pt x="1303" y="485"/>
                  </a:cubicBezTo>
                  <a:cubicBezTo>
                    <a:pt x="1303" y="537"/>
                    <a:pt x="1262" y="579"/>
                    <a:pt x="1210" y="579"/>
                  </a:cubicBezTo>
                  <a:cubicBezTo>
                    <a:pt x="838" y="579"/>
                    <a:pt x="838" y="579"/>
                    <a:pt x="838" y="579"/>
                  </a:cubicBezTo>
                  <a:cubicBezTo>
                    <a:pt x="786" y="579"/>
                    <a:pt x="745" y="537"/>
                    <a:pt x="745" y="485"/>
                  </a:cubicBezTo>
                  <a:cubicBezTo>
                    <a:pt x="745" y="186"/>
                    <a:pt x="745" y="186"/>
                    <a:pt x="745" y="186"/>
                  </a:cubicBezTo>
                  <a:cubicBezTo>
                    <a:pt x="186" y="46"/>
                    <a:pt x="186" y="46"/>
                    <a:pt x="186" y="46"/>
                  </a:cubicBezTo>
                  <a:cubicBezTo>
                    <a:pt x="93" y="23"/>
                    <a:pt x="93" y="23"/>
                    <a:pt x="93" y="23"/>
                  </a:cubicBezTo>
                  <a:cubicBezTo>
                    <a:pt x="0" y="0"/>
                    <a:pt x="0" y="0"/>
                    <a:pt x="0" y="0"/>
                  </a:cubicBezTo>
                  <a:cubicBezTo>
                    <a:pt x="0" y="982"/>
                    <a:pt x="0" y="982"/>
                    <a:pt x="0" y="982"/>
                  </a:cubicBezTo>
                  <a:cubicBezTo>
                    <a:pt x="0" y="1033"/>
                    <a:pt x="42" y="1075"/>
                    <a:pt x="93" y="1075"/>
                  </a:cubicBezTo>
                  <a:cubicBezTo>
                    <a:pt x="1955" y="1075"/>
                    <a:pt x="1955" y="1075"/>
                    <a:pt x="1955" y="1075"/>
                  </a:cubicBezTo>
                  <a:cubicBezTo>
                    <a:pt x="2006" y="1075"/>
                    <a:pt x="2048" y="1033"/>
                    <a:pt x="2048" y="982"/>
                  </a:cubicBezTo>
                  <a:cubicBezTo>
                    <a:pt x="2048" y="0"/>
                    <a:pt x="2048" y="0"/>
                    <a:pt x="2048" y="0"/>
                  </a:cubicBezTo>
                  <a:lnTo>
                    <a:pt x="1955" y="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Open Sans"/>
                <a:ea typeface="+mn-ea"/>
                <a:cs typeface="+mn-cs"/>
              </a:endParaRPr>
            </a:p>
          </p:txBody>
        </p:sp>
      </p:grpSp>
      <p:grpSp>
        <p:nvGrpSpPr>
          <p:cNvPr id="28" name="Group 33">
            <a:extLst>
              <a:ext uri="{FF2B5EF4-FFF2-40B4-BE49-F238E27FC236}">
                <a16:creationId xmlns:a16="http://schemas.microsoft.com/office/drawing/2014/main" id="{32E77555-B795-4434-B57A-1DF523841E63}"/>
              </a:ext>
            </a:extLst>
          </p:cNvPr>
          <p:cNvGrpSpPr/>
          <p:nvPr/>
        </p:nvGrpSpPr>
        <p:grpSpPr>
          <a:xfrm>
            <a:off x="10185240" y="2078672"/>
            <a:ext cx="652920" cy="469020"/>
            <a:chOff x="5168900" y="2687638"/>
            <a:chExt cx="1855788" cy="1477963"/>
          </a:xfrm>
          <a:gradFill>
            <a:gsLst>
              <a:gs pos="73000">
                <a:schemeClr val="accent1"/>
              </a:gs>
              <a:gs pos="31000">
                <a:schemeClr val="accent1">
                  <a:lumMod val="60000"/>
                  <a:lumOff val="40000"/>
                </a:schemeClr>
              </a:gs>
              <a:gs pos="0">
                <a:schemeClr val="accent1">
                  <a:lumMod val="40000"/>
                  <a:lumOff val="60000"/>
                </a:schemeClr>
              </a:gs>
            </a:gsLst>
            <a:lin ang="8100000" scaled="1"/>
          </a:gradFill>
        </p:grpSpPr>
        <p:sp>
          <p:nvSpPr>
            <p:cNvPr id="29" name="Freeform 15">
              <a:extLst>
                <a:ext uri="{FF2B5EF4-FFF2-40B4-BE49-F238E27FC236}">
                  <a16:creationId xmlns:a16="http://schemas.microsoft.com/office/drawing/2014/main" id="{935E1EBC-C948-47EA-9666-979A7F49CDEF}"/>
                </a:ext>
              </a:extLst>
            </p:cNvPr>
            <p:cNvSpPr>
              <a:spLocks/>
            </p:cNvSpPr>
            <p:nvPr/>
          </p:nvSpPr>
          <p:spPr bwMode="auto">
            <a:xfrm>
              <a:off x="5430838" y="2687638"/>
              <a:ext cx="642938" cy="714375"/>
            </a:xfrm>
            <a:custGeom>
              <a:avLst/>
              <a:gdLst>
                <a:gd name="T0" fmla="*/ 337 w 678"/>
                <a:gd name="T1" fmla="*/ 754 h 754"/>
                <a:gd name="T2" fmla="*/ 337 w 678"/>
                <a:gd name="T3" fmla="*/ 754 h 754"/>
                <a:gd name="T4" fmla="*/ 339 w 678"/>
                <a:gd name="T5" fmla="*/ 754 h 754"/>
                <a:gd name="T6" fmla="*/ 341 w 678"/>
                <a:gd name="T7" fmla="*/ 754 h 754"/>
                <a:gd name="T8" fmla="*/ 341 w 678"/>
                <a:gd name="T9" fmla="*/ 754 h 754"/>
                <a:gd name="T10" fmla="*/ 629 w 678"/>
                <a:gd name="T11" fmla="*/ 301 h 754"/>
                <a:gd name="T12" fmla="*/ 339 w 678"/>
                <a:gd name="T13" fmla="*/ 4 h 754"/>
                <a:gd name="T14" fmla="*/ 49 w 678"/>
                <a:gd name="T15" fmla="*/ 301 h 754"/>
                <a:gd name="T16" fmla="*/ 337 w 678"/>
                <a:gd name="T17" fmla="*/ 754 h 7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78" h="754">
                  <a:moveTo>
                    <a:pt x="337" y="754"/>
                  </a:moveTo>
                  <a:cubicBezTo>
                    <a:pt x="337" y="754"/>
                    <a:pt x="337" y="754"/>
                    <a:pt x="337" y="754"/>
                  </a:cubicBezTo>
                  <a:cubicBezTo>
                    <a:pt x="338" y="754"/>
                    <a:pt x="338" y="754"/>
                    <a:pt x="339" y="754"/>
                  </a:cubicBezTo>
                  <a:cubicBezTo>
                    <a:pt x="340" y="754"/>
                    <a:pt x="340" y="754"/>
                    <a:pt x="341" y="754"/>
                  </a:cubicBezTo>
                  <a:cubicBezTo>
                    <a:pt x="341" y="754"/>
                    <a:pt x="341" y="754"/>
                    <a:pt x="341" y="754"/>
                  </a:cubicBezTo>
                  <a:cubicBezTo>
                    <a:pt x="678" y="751"/>
                    <a:pt x="629" y="301"/>
                    <a:pt x="629" y="301"/>
                  </a:cubicBezTo>
                  <a:cubicBezTo>
                    <a:pt x="615" y="1"/>
                    <a:pt x="364" y="3"/>
                    <a:pt x="339" y="4"/>
                  </a:cubicBezTo>
                  <a:cubicBezTo>
                    <a:pt x="314" y="3"/>
                    <a:pt x="63" y="0"/>
                    <a:pt x="49" y="301"/>
                  </a:cubicBezTo>
                  <a:cubicBezTo>
                    <a:pt x="49" y="301"/>
                    <a:pt x="0" y="751"/>
                    <a:pt x="337" y="7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Open Sans"/>
                <a:ea typeface="+mn-ea"/>
                <a:cs typeface="+mn-cs"/>
              </a:endParaRPr>
            </a:p>
          </p:txBody>
        </p:sp>
        <p:sp>
          <p:nvSpPr>
            <p:cNvPr id="30" name="Freeform 16">
              <a:extLst>
                <a:ext uri="{FF2B5EF4-FFF2-40B4-BE49-F238E27FC236}">
                  <a16:creationId xmlns:a16="http://schemas.microsoft.com/office/drawing/2014/main" id="{7A8A458D-0A20-4539-A2E2-2D31A74A4BB8}"/>
                </a:ext>
              </a:extLst>
            </p:cNvPr>
            <p:cNvSpPr>
              <a:spLocks/>
            </p:cNvSpPr>
            <p:nvPr/>
          </p:nvSpPr>
          <p:spPr bwMode="auto">
            <a:xfrm>
              <a:off x="5168900" y="3481388"/>
              <a:ext cx="1052513" cy="671513"/>
            </a:xfrm>
            <a:custGeom>
              <a:avLst/>
              <a:gdLst>
                <a:gd name="T0" fmla="*/ 834 w 1111"/>
                <a:gd name="T1" fmla="*/ 0 h 708"/>
                <a:gd name="T2" fmla="*/ 717 w 1111"/>
                <a:gd name="T3" fmla="*/ 370 h 708"/>
                <a:gd name="T4" fmla="*/ 648 w 1111"/>
                <a:gd name="T5" fmla="*/ 176 h 708"/>
                <a:gd name="T6" fmla="*/ 617 w 1111"/>
                <a:gd name="T7" fmla="*/ 0 h 708"/>
                <a:gd name="T8" fmla="*/ 617 w 1111"/>
                <a:gd name="T9" fmla="*/ 0 h 708"/>
                <a:gd name="T10" fmla="*/ 616 w 1111"/>
                <a:gd name="T11" fmla="*/ 0 h 708"/>
                <a:gd name="T12" fmla="*/ 616 w 1111"/>
                <a:gd name="T13" fmla="*/ 0 h 708"/>
                <a:gd name="T14" fmla="*/ 616 w 1111"/>
                <a:gd name="T15" fmla="*/ 0 h 708"/>
                <a:gd name="T16" fmla="*/ 584 w 1111"/>
                <a:gd name="T17" fmla="*/ 176 h 708"/>
                <a:gd name="T18" fmla="*/ 516 w 1111"/>
                <a:gd name="T19" fmla="*/ 370 h 708"/>
                <a:gd name="T20" fmla="*/ 399 w 1111"/>
                <a:gd name="T21" fmla="*/ 0 h 708"/>
                <a:gd name="T22" fmla="*/ 121 w 1111"/>
                <a:gd name="T23" fmla="*/ 154 h 708"/>
                <a:gd name="T24" fmla="*/ 0 w 1111"/>
                <a:gd name="T25" fmla="*/ 381 h 708"/>
                <a:gd name="T26" fmla="*/ 0 w 1111"/>
                <a:gd name="T27" fmla="*/ 708 h 708"/>
                <a:gd name="T28" fmla="*/ 617 w 1111"/>
                <a:gd name="T29" fmla="*/ 708 h 708"/>
                <a:gd name="T30" fmla="*/ 811 w 1111"/>
                <a:gd name="T31" fmla="*/ 708 h 708"/>
                <a:gd name="T32" fmla="*/ 808 w 1111"/>
                <a:gd name="T33" fmla="*/ 683 h 708"/>
                <a:gd name="T34" fmla="*/ 808 w 1111"/>
                <a:gd name="T35" fmla="*/ 380 h 708"/>
                <a:gd name="T36" fmla="*/ 900 w 1111"/>
                <a:gd name="T37" fmla="*/ 288 h 708"/>
                <a:gd name="T38" fmla="*/ 1014 w 1111"/>
                <a:gd name="T39" fmla="*/ 288 h 708"/>
                <a:gd name="T40" fmla="*/ 1038 w 1111"/>
                <a:gd name="T41" fmla="*/ 291 h 708"/>
                <a:gd name="T42" fmla="*/ 1038 w 1111"/>
                <a:gd name="T43" fmla="*/ 243 h 708"/>
                <a:gd name="T44" fmla="*/ 1111 w 1111"/>
                <a:gd name="T45" fmla="*/ 153 h 708"/>
                <a:gd name="T46" fmla="*/ 834 w 1111"/>
                <a:gd name="T47" fmla="*/ 0 h 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11" h="708">
                  <a:moveTo>
                    <a:pt x="834" y="0"/>
                  </a:moveTo>
                  <a:cubicBezTo>
                    <a:pt x="717" y="370"/>
                    <a:pt x="717" y="370"/>
                    <a:pt x="717" y="370"/>
                  </a:cubicBezTo>
                  <a:cubicBezTo>
                    <a:pt x="648" y="176"/>
                    <a:pt x="648" y="176"/>
                    <a:pt x="648" y="176"/>
                  </a:cubicBezTo>
                  <a:cubicBezTo>
                    <a:pt x="768" y="9"/>
                    <a:pt x="640" y="1"/>
                    <a:pt x="617" y="0"/>
                  </a:cubicBezTo>
                  <a:cubicBezTo>
                    <a:pt x="617" y="0"/>
                    <a:pt x="617" y="0"/>
                    <a:pt x="617" y="0"/>
                  </a:cubicBezTo>
                  <a:cubicBezTo>
                    <a:pt x="617" y="0"/>
                    <a:pt x="617" y="0"/>
                    <a:pt x="616" y="0"/>
                  </a:cubicBezTo>
                  <a:cubicBezTo>
                    <a:pt x="616" y="0"/>
                    <a:pt x="616" y="0"/>
                    <a:pt x="616" y="0"/>
                  </a:cubicBezTo>
                  <a:cubicBezTo>
                    <a:pt x="616" y="0"/>
                    <a:pt x="616" y="0"/>
                    <a:pt x="616" y="0"/>
                  </a:cubicBezTo>
                  <a:cubicBezTo>
                    <a:pt x="593" y="1"/>
                    <a:pt x="464" y="9"/>
                    <a:pt x="584" y="176"/>
                  </a:cubicBezTo>
                  <a:cubicBezTo>
                    <a:pt x="516" y="370"/>
                    <a:pt x="516" y="370"/>
                    <a:pt x="516" y="370"/>
                  </a:cubicBezTo>
                  <a:cubicBezTo>
                    <a:pt x="399" y="0"/>
                    <a:pt x="399" y="0"/>
                    <a:pt x="399" y="0"/>
                  </a:cubicBezTo>
                  <a:cubicBezTo>
                    <a:pt x="399" y="0"/>
                    <a:pt x="252" y="71"/>
                    <a:pt x="121" y="154"/>
                  </a:cubicBezTo>
                  <a:cubicBezTo>
                    <a:pt x="22" y="217"/>
                    <a:pt x="3" y="283"/>
                    <a:pt x="0" y="381"/>
                  </a:cubicBezTo>
                  <a:cubicBezTo>
                    <a:pt x="0" y="708"/>
                    <a:pt x="0" y="708"/>
                    <a:pt x="0" y="708"/>
                  </a:cubicBezTo>
                  <a:cubicBezTo>
                    <a:pt x="617" y="708"/>
                    <a:pt x="617" y="708"/>
                    <a:pt x="617" y="708"/>
                  </a:cubicBezTo>
                  <a:cubicBezTo>
                    <a:pt x="811" y="708"/>
                    <a:pt x="811" y="708"/>
                    <a:pt x="811" y="708"/>
                  </a:cubicBezTo>
                  <a:cubicBezTo>
                    <a:pt x="809" y="700"/>
                    <a:pt x="808" y="692"/>
                    <a:pt x="808" y="683"/>
                  </a:cubicBezTo>
                  <a:cubicBezTo>
                    <a:pt x="808" y="380"/>
                    <a:pt x="808" y="380"/>
                    <a:pt x="808" y="380"/>
                  </a:cubicBezTo>
                  <a:cubicBezTo>
                    <a:pt x="808" y="329"/>
                    <a:pt x="849" y="288"/>
                    <a:pt x="900" y="288"/>
                  </a:cubicBezTo>
                  <a:cubicBezTo>
                    <a:pt x="1014" y="288"/>
                    <a:pt x="1014" y="288"/>
                    <a:pt x="1014" y="288"/>
                  </a:cubicBezTo>
                  <a:cubicBezTo>
                    <a:pt x="1022" y="288"/>
                    <a:pt x="1030" y="289"/>
                    <a:pt x="1038" y="291"/>
                  </a:cubicBezTo>
                  <a:cubicBezTo>
                    <a:pt x="1038" y="243"/>
                    <a:pt x="1038" y="243"/>
                    <a:pt x="1038" y="243"/>
                  </a:cubicBezTo>
                  <a:cubicBezTo>
                    <a:pt x="1038" y="199"/>
                    <a:pt x="1069" y="162"/>
                    <a:pt x="1111" y="153"/>
                  </a:cubicBezTo>
                  <a:cubicBezTo>
                    <a:pt x="980" y="71"/>
                    <a:pt x="834" y="0"/>
                    <a:pt x="83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Open Sans"/>
                <a:ea typeface="+mn-ea"/>
                <a:cs typeface="+mn-cs"/>
              </a:endParaRPr>
            </a:p>
          </p:txBody>
        </p:sp>
        <p:sp>
          <p:nvSpPr>
            <p:cNvPr id="31" name="Freeform 17">
              <a:extLst>
                <a:ext uri="{FF2B5EF4-FFF2-40B4-BE49-F238E27FC236}">
                  <a16:creationId xmlns:a16="http://schemas.microsoft.com/office/drawing/2014/main" id="{E5935FAD-373E-48CD-8CD6-412CA3E49999}"/>
                </a:ext>
              </a:extLst>
            </p:cNvPr>
            <p:cNvSpPr>
              <a:spLocks/>
            </p:cNvSpPr>
            <p:nvPr/>
          </p:nvSpPr>
          <p:spPr bwMode="auto">
            <a:xfrm>
              <a:off x="5999163" y="3817938"/>
              <a:ext cx="153988" cy="334963"/>
            </a:xfrm>
            <a:custGeom>
              <a:avLst/>
              <a:gdLst>
                <a:gd name="T0" fmla="*/ 138 w 163"/>
                <a:gd name="T1" fmla="*/ 0 h 352"/>
                <a:gd name="T2" fmla="*/ 24 w 163"/>
                <a:gd name="T3" fmla="*/ 0 h 352"/>
                <a:gd name="T4" fmla="*/ 0 w 163"/>
                <a:gd name="T5" fmla="*/ 25 h 352"/>
                <a:gd name="T6" fmla="*/ 0 w 163"/>
                <a:gd name="T7" fmla="*/ 72 h 352"/>
                <a:gd name="T8" fmla="*/ 0 w 163"/>
                <a:gd name="T9" fmla="*/ 281 h 352"/>
                <a:gd name="T10" fmla="*/ 0 w 163"/>
                <a:gd name="T11" fmla="*/ 328 h 352"/>
                <a:gd name="T12" fmla="*/ 24 w 163"/>
                <a:gd name="T13" fmla="*/ 352 h 352"/>
                <a:gd name="T14" fmla="*/ 138 w 163"/>
                <a:gd name="T15" fmla="*/ 352 h 352"/>
                <a:gd name="T16" fmla="*/ 162 w 163"/>
                <a:gd name="T17" fmla="*/ 328 h 352"/>
                <a:gd name="T18" fmla="*/ 162 w 163"/>
                <a:gd name="T19" fmla="*/ 281 h 352"/>
                <a:gd name="T20" fmla="*/ 162 w 163"/>
                <a:gd name="T21" fmla="*/ 72 h 352"/>
                <a:gd name="T22" fmla="*/ 162 w 163"/>
                <a:gd name="T23" fmla="*/ 25 h 352"/>
                <a:gd name="T24" fmla="*/ 138 w 163"/>
                <a:gd name="T25" fmla="*/ 0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3" h="352">
                  <a:moveTo>
                    <a:pt x="138" y="0"/>
                  </a:moveTo>
                  <a:cubicBezTo>
                    <a:pt x="24" y="0"/>
                    <a:pt x="24" y="0"/>
                    <a:pt x="24" y="0"/>
                  </a:cubicBezTo>
                  <a:cubicBezTo>
                    <a:pt x="10" y="0"/>
                    <a:pt x="0" y="12"/>
                    <a:pt x="0" y="25"/>
                  </a:cubicBezTo>
                  <a:cubicBezTo>
                    <a:pt x="0" y="72"/>
                    <a:pt x="0" y="72"/>
                    <a:pt x="0" y="72"/>
                  </a:cubicBezTo>
                  <a:cubicBezTo>
                    <a:pt x="0" y="281"/>
                    <a:pt x="0" y="281"/>
                    <a:pt x="0" y="281"/>
                  </a:cubicBezTo>
                  <a:cubicBezTo>
                    <a:pt x="0" y="328"/>
                    <a:pt x="0" y="328"/>
                    <a:pt x="0" y="328"/>
                  </a:cubicBezTo>
                  <a:cubicBezTo>
                    <a:pt x="0" y="342"/>
                    <a:pt x="11" y="352"/>
                    <a:pt x="24" y="352"/>
                  </a:cubicBezTo>
                  <a:cubicBezTo>
                    <a:pt x="138" y="352"/>
                    <a:pt x="138" y="352"/>
                    <a:pt x="138" y="352"/>
                  </a:cubicBezTo>
                  <a:cubicBezTo>
                    <a:pt x="152" y="352"/>
                    <a:pt x="162" y="341"/>
                    <a:pt x="162" y="328"/>
                  </a:cubicBezTo>
                  <a:cubicBezTo>
                    <a:pt x="162" y="281"/>
                    <a:pt x="162" y="281"/>
                    <a:pt x="162" y="281"/>
                  </a:cubicBezTo>
                  <a:cubicBezTo>
                    <a:pt x="162" y="72"/>
                    <a:pt x="162" y="72"/>
                    <a:pt x="162" y="72"/>
                  </a:cubicBezTo>
                  <a:cubicBezTo>
                    <a:pt x="162" y="25"/>
                    <a:pt x="162" y="25"/>
                    <a:pt x="162" y="25"/>
                  </a:cubicBezTo>
                  <a:cubicBezTo>
                    <a:pt x="163" y="12"/>
                    <a:pt x="152" y="0"/>
                    <a:pt x="13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sp>
          <p:nvSpPr>
            <p:cNvPr id="32" name="Freeform 18">
              <a:extLst>
                <a:ext uri="{FF2B5EF4-FFF2-40B4-BE49-F238E27FC236}">
                  <a16:creationId xmlns:a16="http://schemas.microsoft.com/office/drawing/2014/main" id="{702DBCD3-6E8C-4D09-933C-E92E687891BF}"/>
                </a:ext>
              </a:extLst>
            </p:cNvPr>
            <p:cNvSpPr>
              <a:spLocks/>
            </p:cNvSpPr>
            <p:nvPr/>
          </p:nvSpPr>
          <p:spPr bwMode="auto">
            <a:xfrm>
              <a:off x="6216650" y="3689350"/>
              <a:ext cx="155575" cy="463550"/>
            </a:xfrm>
            <a:custGeom>
              <a:avLst/>
              <a:gdLst>
                <a:gd name="T0" fmla="*/ 138 w 163"/>
                <a:gd name="T1" fmla="*/ 0 h 488"/>
                <a:gd name="T2" fmla="*/ 24 w 163"/>
                <a:gd name="T3" fmla="*/ 0 h 488"/>
                <a:gd name="T4" fmla="*/ 0 w 163"/>
                <a:gd name="T5" fmla="*/ 24 h 488"/>
                <a:gd name="T6" fmla="*/ 0 w 163"/>
                <a:gd name="T7" fmla="*/ 208 h 488"/>
                <a:gd name="T8" fmla="*/ 0 w 163"/>
                <a:gd name="T9" fmla="*/ 280 h 488"/>
                <a:gd name="T10" fmla="*/ 0 w 163"/>
                <a:gd name="T11" fmla="*/ 464 h 488"/>
                <a:gd name="T12" fmla="*/ 24 w 163"/>
                <a:gd name="T13" fmla="*/ 488 h 488"/>
                <a:gd name="T14" fmla="*/ 138 w 163"/>
                <a:gd name="T15" fmla="*/ 488 h 488"/>
                <a:gd name="T16" fmla="*/ 163 w 163"/>
                <a:gd name="T17" fmla="*/ 464 h 488"/>
                <a:gd name="T18" fmla="*/ 163 w 163"/>
                <a:gd name="T19" fmla="*/ 280 h 488"/>
                <a:gd name="T20" fmla="*/ 163 w 163"/>
                <a:gd name="T21" fmla="*/ 208 h 488"/>
                <a:gd name="T22" fmla="*/ 163 w 163"/>
                <a:gd name="T23" fmla="*/ 25 h 488"/>
                <a:gd name="T24" fmla="*/ 138 w 163"/>
                <a:gd name="T25" fmla="*/ 0 h 4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3" h="488">
                  <a:moveTo>
                    <a:pt x="138" y="0"/>
                  </a:moveTo>
                  <a:cubicBezTo>
                    <a:pt x="24" y="0"/>
                    <a:pt x="24" y="0"/>
                    <a:pt x="24" y="0"/>
                  </a:cubicBezTo>
                  <a:cubicBezTo>
                    <a:pt x="11" y="0"/>
                    <a:pt x="0" y="11"/>
                    <a:pt x="0" y="24"/>
                  </a:cubicBezTo>
                  <a:cubicBezTo>
                    <a:pt x="0" y="208"/>
                    <a:pt x="0" y="208"/>
                    <a:pt x="0" y="208"/>
                  </a:cubicBezTo>
                  <a:cubicBezTo>
                    <a:pt x="0" y="280"/>
                    <a:pt x="0" y="280"/>
                    <a:pt x="0" y="280"/>
                  </a:cubicBezTo>
                  <a:cubicBezTo>
                    <a:pt x="0" y="464"/>
                    <a:pt x="0" y="464"/>
                    <a:pt x="0" y="464"/>
                  </a:cubicBezTo>
                  <a:cubicBezTo>
                    <a:pt x="0" y="478"/>
                    <a:pt x="11" y="488"/>
                    <a:pt x="24" y="488"/>
                  </a:cubicBezTo>
                  <a:cubicBezTo>
                    <a:pt x="138" y="488"/>
                    <a:pt x="138" y="488"/>
                    <a:pt x="138" y="488"/>
                  </a:cubicBezTo>
                  <a:cubicBezTo>
                    <a:pt x="152" y="488"/>
                    <a:pt x="163" y="477"/>
                    <a:pt x="163" y="464"/>
                  </a:cubicBezTo>
                  <a:cubicBezTo>
                    <a:pt x="163" y="280"/>
                    <a:pt x="163" y="280"/>
                    <a:pt x="163" y="280"/>
                  </a:cubicBezTo>
                  <a:cubicBezTo>
                    <a:pt x="163" y="208"/>
                    <a:pt x="163" y="208"/>
                    <a:pt x="163" y="208"/>
                  </a:cubicBezTo>
                  <a:cubicBezTo>
                    <a:pt x="163" y="25"/>
                    <a:pt x="163" y="25"/>
                    <a:pt x="163" y="25"/>
                  </a:cubicBezTo>
                  <a:cubicBezTo>
                    <a:pt x="163" y="11"/>
                    <a:pt x="152" y="0"/>
                    <a:pt x="13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sp>
          <p:nvSpPr>
            <p:cNvPr id="33" name="Freeform 19">
              <a:extLst>
                <a:ext uri="{FF2B5EF4-FFF2-40B4-BE49-F238E27FC236}">
                  <a16:creationId xmlns:a16="http://schemas.microsoft.com/office/drawing/2014/main" id="{7C7898A4-06C8-4727-BEDA-AA713785D72E}"/>
                </a:ext>
              </a:extLst>
            </p:cNvPr>
            <p:cNvSpPr>
              <a:spLocks/>
            </p:cNvSpPr>
            <p:nvPr/>
          </p:nvSpPr>
          <p:spPr bwMode="auto">
            <a:xfrm>
              <a:off x="6338888" y="3284538"/>
              <a:ext cx="349250" cy="868363"/>
            </a:xfrm>
            <a:custGeom>
              <a:avLst/>
              <a:gdLst>
                <a:gd name="T0" fmla="*/ 266 w 368"/>
                <a:gd name="T1" fmla="*/ 501 h 916"/>
                <a:gd name="T2" fmla="*/ 266 w 368"/>
                <a:gd name="T3" fmla="*/ 298 h 916"/>
                <a:gd name="T4" fmla="*/ 344 w 368"/>
                <a:gd name="T5" fmla="*/ 298 h 916"/>
                <a:gd name="T6" fmla="*/ 360 w 368"/>
                <a:gd name="T7" fmla="*/ 270 h 916"/>
                <a:gd name="T8" fmla="*/ 200 w 368"/>
                <a:gd name="T9" fmla="*/ 12 h 916"/>
                <a:gd name="T10" fmla="*/ 168 w 368"/>
                <a:gd name="T11" fmla="*/ 12 h 916"/>
                <a:gd name="T12" fmla="*/ 8 w 368"/>
                <a:gd name="T13" fmla="*/ 270 h 916"/>
                <a:gd name="T14" fmla="*/ 23 w 368"/>
                <a:gd name="T15" fmla="*/ 298 h 916"/>
                <a:gd name="T16" fmla="*/ 102 w 368"/>
                <a:gd name="T17" fmla="*/ 298 h 916"/>
                <a:gd name="T18" fmla="*/ 102 w 368"/>
                <a:gd name="T19" fmla="*/ 892 h 916"/>
                <a:gd name="T20" fmla="*/ 126 w 368"/>
                <a:gd name="T21" fmla="*/ 916 h 916"/>
                <a:gd name="T22" fmla="*/ 241 w 368"/>
                <a:gd name="T23" fmla="*/ 916 h 916"/>
                <a:gd name="T24" fmla="*/ 265 w 368"/>
                <a:gd name="T25" fmla="*/ 892 h 916"/>
                <a:gd name="T26" fmla="*/ 192 w 368"/>
                <a:gd name="T27" fmla="*/ 696 h 916"/>
                <a:gd name="T28" fmla="*/ 266 w 368"/>
                <a:gd name="T29" fmla="*/ 501 h 9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8" h="916">
                  <a:moveTo>
                    <a:pt x="266" y="501"/>
                  </a:moveTo>
                  <a:cubicBezTo>
                    <a:pt x="266" y="298"/>
                    <a:pt x="266" y="298"/>
                    <a:pt x="266" y="298"/>
                  </a:cubicBezTo>
                  <a:cubicBezTo>
                    <a:pt x="344" y="298"/>
                    <a:pt x="344" y="298"/>
                    <a:pt x="344" y="298"/>
                  </a:cubicBezTo>
                  <a:cubicBezTo>
                    <a:pt x="359" y="298"/>
                    <a:pt x="368" y="282"/>
                    <a:pt x="360" y="270"/>
                  </a:cubicBezTo>
                  <a:cubicBezTo>
                    <a:pt x="200" y="12"/>
                    <a:pt x="200" y="12"/>
                    <a:pt x="200" y="12"/>
                  </a:cubicBezTo>
                  <a:cubicBezTo>
                    <a:pt x="192" y="0"/>
                    <a:pt x="175" y="0"/>
                    <a:pt x="168" y="12"/>
                  </a:cubicBezTo>
                  <a:cubicBezTo>
                    <a:pt x="8" y="270"/>
                    <a:pt x="8" y="270"/>
                    <a:pt x="8" y="270"/>
                  </a:cubicBezTo>
                  <a:cubicBezTo>
                    <a:pt x="0" y="282"/>
                    <a:pt x="9" y="298"/>
                    <a:pt x="23" y="298"/>
                  </a:cubicBezTo>
                  <a:cubicBezTo>
                    <a:pt x="102" y="298"/>
                    <a:pt x="102" y="298"/>
                    <a:pt x="102" y="298"/>
                  </a:cubicBezTo>
                  <a:cubicBezTo>
                    <a:pt x="102" y="892"/>
                    <a:pt x="102" y="892"/>
                    <a:pt x="102" y="892"/>
                  </a:cubicBezTo>
                  <a:cubicBezTo>
                    <a:pt x="102" y="906"/>
                    <a:pt x="113" y="916"/>
                    <a:pt x="126" y="916"/>
                  </a:cubicBezTo>
                  <a:cubicBezTo>
                    <a:pt x="241" y="916"/>
                    <a:pt x="241" y="916"/>
                    <a:pt x="241" y="916"/>
                  </a:cubicBezTo>
                  <a:cubicBezTo>
                    <a:pt x="254" y="916"/>
                    <a:pt x="265" y="906"/>
                    <a:pt x="265" y="892"/>
                  </a:cubicBezTo>
                  <a:cubicBezTo>
                    <a:pt x="219" y="840"/>
                    <a:pt x="192" y="771"/>
                    <a:pt x="192" y="696"/>
                  </a:cubicBezTo>
                  <a:cubicBezTo>
                    <a:pt x="192" y="622"/>
                    <a:pt x="220" y="553"/>
                    <a:pt x="266" y="5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sp>
          <p:nvSpPr>
            <p:cNvPr id="34" name="Freeform 20">
              <a:extLst>
                <a:ext uri="{FF2B5EF4-FFF2-40B4-BE49-F238E27FC236}">
                  <a16:creationId xmlns:a16="http://schemas.microsoft.com/office/drawing/2014/main" id="{F7764FB9-5401-4DAE-9998-3FE7620E1F92}"/>
                </a:ext>
              </a:extLst>
            </p:cNvPr>
            <p:cNvSpPr>
              <a:spLocks noEditPoints="1"/>
            </p:cNvSpPr>
            <p:nvPr/>
          </p:nvSpPr>
          <p:spPr bwMode="auto">
            <a:xfrm>
              <a:off x="6581775" y="3722688"/>
              <a:ext cx="442913" cy="442913"/>
            </a:xfrm>
            <a:custGeom>
              <a:avLst/>
              <a:gdLst>
                <a:gd name="T0" fmla="*/ 234 w 467"/>
                <a:gd name="T1" fmla="*/ 0 h 467"/>
                <a:gd name="T2" fmla="*/ 0 w 467"/>
                <a:gd name="T3" fmla="*/ 233 h 467"/>
                <a:gd name="T4" fmla="*/ 234 w 467"/>
                <a:gd name="T5" fmla="*/ 467 h 467"/>
                <a:gd name="T6" fmla="*/ 467 w 467"/>
                <a:gd name="T7" fmla="*/ 233 h 467"/>
                <a:gd name="T8" fmla="*/ 234 w 467"/>
                <a:gd name="T9" fmla="*/ 0 h 467"/>
                <a:gd name="T10" fmla="*/ 301 w 467"/>
                <a:gd name="T11" fmla="*/ 326 h 467"/>
                <a:gd name="T12" fmla="*/ 262 w 467"/>
                <a:gd name="T13" fmla="*/ 351 h 467"/>
                <a:gd name="T14" fmla="*/ 252 w 467"/>
                <a:gd name="T15" fmla="*/ 363 h 467"/>
                <a:gd name="T16" fmla="*/ 252 w 467"/>
                <a:gd name="T17" fmla="*/ 384 h 467"/>
                <a:gd name="T18" fmla="*/ 243 w 467"/>
                <a:gd name="T19" fmla="*/ 393 h 467"/>
                <a:gd name="T20" fmla="*/ 221 w 467"/>
                <a:gd name="T21" fmla="*/ 393 h 467"/>
                <a:gd name="T22" fmla="*/ 211 w 467"/>
                <a:gd name="T23" fmla="*/ 383 h 467"/>
                <a:gd name="T24" fmla="*/ 211 w 467"/>
                <a:gd name="T25" fmla="*/ 368 h 467"/>
                <a:gd name="T26" fmla="*/ 200 w 467"/>
                <a:gd name="T27" fmla="*/ 355 h 467"/>
                <a:gd name="T28" fmla="*/ 160 w 467"/>
                <a:gd name="T29" fmla="*/ 344 h 467"/>
                <a:gd name="T30" fmla="*/ 152 w 467"/>
                <a:gd name="T31" fmla="*/ 326 h 467"/>
                <a:gd name="T32" fmla="*/ 159 w 467"/>
                <a:gd name="T33" fmla="*/ 303 h 467"/>
                <a:gd name="T34" fmla="*/ 172 w 467"/>
                <a:gd name="T35" fmla="*/ 298 h 467"/>
                <a:gd name="T36" fmla="*/ 216 w 467"/>
                <a:gd name="T37" fmla="*/ 311 h 467"/>
                <a:gd name="T38" fmla="*/ 245 w 467"/>
                <a:gd name="T39" fmla="*/ 307 h 467"/>
                <a:gd name="T40" fmla="*/ 250 w 467"/>
                <a:gd name="T41" fmla="*/ 268 h 467"/>
                <a:gd name="T42" fmla="*/ 234 w 467"/>
                <a:gd name="T43" fmla="*/ 259 h 467"/>
                <a:gd name="T44" fmla="*/ 189 w 467"/>
                <a:gd name="T45" fmla="*/ 239 h 467"/>
                <a:gd name="T46" fmla="*/ 153 w 467"/>
                <a:gd name="T47" fmla="*/ 178 h 467"/>
                <a:gd name="T48" fmla="*/ 202 w 467"/>
                <a:gd name="T49" fmla="*/ 116 h 467"/>
                <a:gd name="T50" fmla="*/ 214 w 467"/>
                <a:gd name="T51" fmla="*/ 99 h 467"/>
                <a:gd name="T52" fmla="*/ 214 w 467"/>
                <a:gd name="T53" fmla="*/ 86 h 467"/>
                <a:gd name="T54" fmla="*/ 225 w 467"/>
                <a:gd name="T55" fmla="*/ 75 h 467"/>
                <a:gd name="T56" fmla="*/ 234 w 467"/>
                <a:gd name="T57" fmla="*/ 75 h 467"/>
                <a:gd name="T58" fmla="*/ 254 w 467"/>
                <a:gd name="T59" fmla="*/ 95 h 467"/>
                <a:gd name="T60" fmla="*/ 268 w 467"/>
                <a:gd name="T61" fmla="*/ 111 h 467"/>
                <a:gd name="T62" fmla="*/ 299 w 467"/>
                <a:gd name="T63" fmla="*/ 121 h 467"/>
                <a:gd name="T64" fmla="*/ 305 w 467"/>
                <a:gd name="T65" fmla="*/ 133 h 467"/>
                <a:gd name="T66" fmla="*/ 297 w 467"/>
                <a:gd name="T67" fmla="*/ 159 h 467"/>
                <a:gd name="T68" fmla="*/ 284 w 467"/>
                <a:gd name="T69" fmla="*/ 164 h 467"/>
                <a:gd name="T70" fmla="*/ 234 w 467"/>
                <a:gd name="T71" fmla="*/ 155 h 467"/>
                <a:gd name="T72" fmla="*/ 221 w 467"/>
                <a:gd name="T73" fmla="*/ 157 h 467"/>
                <a:gd name="T74" fmla="*/ 216 w 467"/>
                <a:gd name="T75" fmla="*/ 191 h 467"/>
                <a:gd name="T76" fmla="*/ 238 w 467"/>
                <a:gd name="T77" fmla="*/ 203 h 467"/>
                <a:gd name="T78" fmla="*/ 277 w 467"/>
                <a:gd name="T79" fmla="*/ 220 h 467"/>
                <a:gd name="T80" fmla="*/ 301 w 467"/>
                <a:gd name="T81" fmla="*/ 326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67" h="467">
                  <a:moveTo>
                    <a:pt x="234" y="0"/>
                  </a:moveTo>
                  <a:cubicBezTo>
                    <a:pt x="104" y="0"/>
                    <a:pt x="0" y="104"/>
                    <a:pt x="0" y="233"/>
                  </a:cubicBezTo>
                  <a:cubicBezTo>
                    <a:pt x="0" y="363"/>
                    <a:pt x="104" y="467"/>
                    <a:pt x="234" y="467"/>
                  </a:cubicBezTo>
                  <a:cubicBezTo>
                    <a:pt x="363" y="467"/>
                    <a:pt x="467" y="363"/>
                    <a:pt x="467" y="233"/>
                  </a:cubicBezTo>
                  <a:cubicBezTo>
                    <a:pt x="467" y="104"/>
                    <a:pt x="363" y="0"/>
                    <a:pt x="234" y="0"/>
                  </a:cubicBezTo>
                  <a:close/>
                  <a:moveTo>
                    <a:pt x="301" y="326"/>
                  </a:moveTo>
                  <a:cubicBezTo>
                    <a:pt x="291" y="338"/>
                    <a:pt x="277" y="347"/>
                    <a:pt x="262" y="351"/>
                  </a:cubicBezTo>
                  <a:cubicBezTo>
                    <a:pt x="255" y="353"/>
                    <a:pt x="252" y="356"/>
                    <a:pt x="252" y="363"/>
                  </a:cubicBezTo>
                  <a:cubicBezTo>
                    <a:pt x="253" y="370"/>
                    <a:pt x="252" y="377"/>
                    <a:pt x="252" y="384"/>
                  </a:cubicBezTo>
                  <a:cubicBezTo>
                    <a:pt x="252" y="390"/>
                    <a:pt x="249" y="393"/>
                    <a:pt x="243" y="393"/>
                  </a:cubicBezTo>
                  <a:cubicBezTo>
                    <a:pt x="236" y="393"/>
                    <a:pt x="228" y="393"/>
                    <a:pt x="221" y="393"/>
                  </a:cubicBezTo>
                  <a:cubicBezTo>
                    <a:pt x="214" y="393"/>
                    <a:pt x="211" y="389"/>
                    <a:pt x="211" y="383"/>
                  </a:cubicBezTo>
                  <a:cubicBezTo>
                    <a:pt x="211" y="378"/>
                    <a:pt x="211" y="373"/>
                    <a:pt x="211" y="368"/>
                  </a:cubicBezTo>
                  <a:cubicBezTo>
                    <a:pt x="211" y="357"/>
                    <a:pt x="211" y="357"/>
                    <a:pt x="200" y="355"/>
                  </a:cubicBezTo>
                  <a:cubicBezTo>
                    <a:pt x="186" y="353"/>
                    <a:pt x="173" y="350"/>
                    <a:pt x="160" y="344"/>
                  </a:cubicBezTo>
                  <a:cubicBezTo>
                    <a:pt x="150" y="339"/>
                    <a:pt x="150" y="337"/>
                    <a:pt x="152" y="326"/>
                  </a:cubicBezTo>
                  <a:cubicBezTo>
                    <a:pt x="154" y="319"/>
                    <a:pt x="157" y="311"/>
                    <a:pt x="159" y="303"/>
                  </a:cubicBezTo>
                  <a:cubicBezTo>
                    <a:pt x="162" y="295"/>
                    <a:pt x="164" y="293"/>
                    <a:pt x="172" y="298"/>
                  </a:cubicBezTo>
                  <a:cubicBezTo>
                    <a:pt x="186" y="305"/>
                    <a:pt x="200" y="309"/>
                    <a:pt x="216" y="311"/>
                  </a:cubicBezTo>
                  <a:cubicBezTo>
                    <a:pt x="226" y="312"/>
                    <a:pt x="236" y="311"/>
                    <a:pt x="245" y="307"/>
                  </a:cubicBezTo>
                  <a:cubicBezTo>
                    <a:pt x="262" y="300"/>
                    <a:pt x="265" y="280"/>
                    <a:pt x="250" y="268"/>
                  </a:cubicBezTo>
                  <a:cubicBezTo>
                    <a:pt x="245" y="264"/>
                    <a:pt x="240" y="261"/>
                    <a:pt x="234" y="259"/>
                  </a:cubicBezTo>
                  <a:cubicBezTo>
                    <a:pt x="218" y="252"/>
                    <a:pt x="203" y="247"/>
                    <a:pt x="189" y="239"/>
                  </a:cubicBezTo>
                  <a:cubicBezTo>
                    <a:pt x="166" y="225"/>
                    <a:pt x="151" y="206"/>
                    <a:pt x="153" y="178"/>
                  </a:cubicBezTo>
                  <a:cubicBezTo>
                    <a:pt x="155" y="146"/>
                    <a:pt x="173" y="126"/>
                    <a:pt x="202" y="116"/>
                  </a:cubicBezTo>
                  <a:cubicBezTo>
                    <a:pt x="214" y="111"/>
                    <a:pt x="214" y="112"/>
                    <a:pt x="214" y="99"/>
                  </a:cubicBezTo>
                  <a:cubicBezTo>
                    <a:pt x="214" y="95"/>
                    <a:pt x="214" y="91"/>
                    <a:pt x="214" y="86"/>
                  </a:cubicBezTo>
                  <a:cubicBezTo>
                    <a:pt x="214" y="77"/>
                    <a:pt x="216" y="75"/>
                    <a:pt x="225" y="75"/>
                  </a:cubicBezTo>
                  <a:cubicBezTo>
                    <a:pt x="228" y="75"/>
                    <a:pt x="231" y="75"/>
                    <a:pt x="234" y="75"/>
                  </a:cubicBezTo>
                  <a:cubicBezTo>
                    <a:pt x="254" y="75"/>
                    <a:pt x="254" y="75"/>
                    <a:pt x="254" y="95"/>
                  </a:cubicBezTo>
                  <a:cubicBezTo>
                    <a:pt x="254" y="109"/>
                    <a:pt x="254" y="109"/>
                    <a:pt x="268" y="111"/>
                  </a:cubicBezTo>
                  <a:cubicBezTo>
                    <a:pt x="278" y="113"/>
                    <a:pt x="289" y="116"/>
                    <a:pt x="299" y="121"/>
                  </a:cubicBezTo>
                  <a:cubicBezTo>
                    <a:pt x="304" y="123"/>
                    <a:pt x="306" y="127"/>
                    <a:pt x="305" y="133"/>
                  </a:cubicBezTo>
                  <a:cubicBezTo>
                    <a:pt x="302" y="141"/>
                    <a:pt x="300" y="150"/>
                    <a:pt x="297" y="159"/>
                  </a:cubicBezTo>
                  <a:cubicBezTo>
                    <a:pt x="294" y="167"/>
                    <a:pt x="292" y="168"/>
                    <a:pt x="284" y="164"/>
                  </a:cubicBezTo>
                  <a:cubicBezTo>
                    <a:pt x="268" y="157"/>
                    <a:pt x="252" y="153"/>
                    <a:pt x="234" y="155"/>
                  </a:cubicBezTo>
                  <a:cubicBezTo>
                    <a:pt x="230" y="155"/>
                    <a:pt x="226" y="155"/>
                    <a:pt x="221" y="157"/>
                  </a:cubicBezTo>
                  <a:cubicBezTo>
                    <a:pt x="206" y="164"/>
                    <a:pt x="204" y="181"/>
                    <a:pt x="216" y="191"/>
                  </a:cubicBezTo>
                  <a:cubicBezTo>
                    <a:pt x="223" y="196"/>
                    <a:pt x="230" y="199"/>
                    <a:pt x="238" y="203"/>
                  </a:cubicBezTo>
                  <a:cubicBezTo>
                    <a:pt x="251" y="208"/>
                    <a:pt x="264" y="213"/>
                    <a:pt x="277" y="220"/>
                  </a:cubicBezTo>
                  <a:cubicBezTo>
                    <a:pt x="318" y="241"/>
                    <a:pt x="329" y="291"/>
                    <a:pt x="301" y="3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grpSp>
      <p:sp>
        <p:nvSpPr>
          <p:cNvPr id="35" name="Freeform 5">
            <a:extLst>
              <a:ext uri="{FF2B5EF4-FFF2-40B4-BE49-F238E27FC236}">
                <a16:creationId xmlns:a16="http://schemas.microsoft.com/office/drawing/2014/main" id="{FED095F0-12F4-4829-A2B7-36D1CAB75DCD}"/>
              </a:ext>
            </a:extLst>
          </p:cNvPr>
          <p:cNvSpPr>
            <a:spLocks noEditPoints="1"/>
          </p:cNvSpPr>
          <p:nvPr/>
        </p:nvSpPr>
        <p:spPr bwMode="auto">
          <a:xfrm>
            <a:off x="1340678" y="2119314"/>
            <a:ext cx="454770" cy="454768"/>
          </a:xfrm>
          <a:custGeom>
            <a:avLst/>
            <a:gdLst>
              <a:gd name="T0" fmla="*/ 1024 w 2048"/>
              <a:gd name="T1" fmla="*/ 0 h 2048"/>
              <a:gd name="T2" fmla="*/ 0 w 2048"/>
              <a:gd name="T3" fmla="*/ 1024 h 2048"/>
              <a:gd name="T4" fmla="*/ 1024 w 2048"/>
              <a:gd name="T5" fmla="*/ 2048 h 2048"/>
              <a:gd name="T6" fmla="*/ 2048 w 2048"/>
              <a:gd name="T7" fmla="*/ 1024 h 2048"/>
              <a:gd name="T8" fmla="*/ 1024 w 2048"/>
              <a:gd name="T9" fmla="*/ 0 h 2048"/>
              <a:gd name="T10" fmla="*/ 1499 w 2048"/>
              <a:gd name="T11" fmla="*/ 1134 h 2048"/>
              <a:gd name="T12" fmla="*/ 1024 w 2048"/>
              <a:gd name="T13" fmla="*/ 1134 h 2048"/>
              <a:gd name="T14" fmla="*/ 914 w 2048"/>
              <a:gd name="T15" fmla="*/ 1024 h 2048"/>
              <a:gd name="T16" fmla="*/ 914 w 2048"/>
              <a:gd name="T17" fmla="*/ 549 h 2048"/>
              <a:gd name="T18" fmla="*/ 1024 w 2048"/>
              <a:gd name="T19" fmla="*/ 439 h 2048"/>
              <a:gd name="T20" fmla="*/ 1134 w 2048"/>
              <a:gd name="T21" fmla="*/ 549 h 2048"/>
              <a:gd name="T22" fmla="*/ 1134 w 2048"/>
              <a:gd name="T23" fmla="*/ 915 h 2048"/>
              <a:gd name="T24" fmla="*/ 1499 w 2048"/>
              <a:gd name="T25" fmla="*/ 915 h 2048"/>
              <a:gd name="T26" fmla="*/ 1609 w 2048"/>
              <a:gd name="T27" fmla="*/ 1024 h 2048"/>
              <a:gd name="T28" fmla="*/ 1499 w 2048"/>
              <a:gd name="T29" fmla="*/ 1134 h 20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48" h="2048">
                <a:moveTo>
                  <a:pt x="1024" y="0"/>
                </a:moveTo>
                <a:cubicBezTo>
                  <a:pt x="459" y="0"/>
                  <a:pt x="0" y="459"/>
                  <a:pt x="0" y="1024"/>
                </a:cubicBezTo>
                <a:cubicBezTo>
                  <a:pt x="0" y="1589"/>
                  <a:pt x="459" y="2048"/>
                  <a:pt x="1024" y="2048"/>
                </a:cubicBezTo>
                <a:cubicBezTo>
                  <a:pt x="1589" y="2048"/>
                  <a:pt x="2048" y="1589"/>
                  <a:pt x="2048" y="1024"/>
                </a:cubicBezTo>
                <a:cubicBezTo>
                  <a:pt x="2048" y="459"/>
                  <a:pt x="1589" y="0"/>
                  <a:pt x="1024" y="0"/>
                </a:cubicBezTo>
                <a:close/>
                <a:moveTo>
                  <a:pt x="1499" y="1134"/>
                </a:moveTo>
                <a:cubicBezTo>
                  <a:pt x="1024" y="1134"/>
                  <a:pt x="1024" y="1134"/>
                  <a:pt x="1024" y="1134"/>
                </a:cubicBezTo>
                <a:cubicBezTo>
                  <a:pt x="963" y="1134"/>
                  <a:pt x="914" y="1085"/>
                  <a:pt x="914" y="1024"/>
                </a:cubicBezTo>
                <a:cubicBezTo>
                  <a:pt x="914" y="549"/>
                  <a:pt x="914" y="549"/>
                  <a:pt x="914" y="549"/>
                </a:cubicBezTo>
                <a:cubicBezTo>
                  <a:pt x="914" y="489"/>
                  <a:pt x="963" y="439"/>
                  <a:pt x="1024" y="439"/>
                </a:cubicBezTo>
                <a:cubicBezTo>
                  <a:pt x="1085" y="439"/>
                  <a:pt x="1134" y="489"/>
                  <a:pt x="1134" y="549"/>
                </a:cubicBezTo>
                <a:cubicBezTo>
                  <a:pt x="1134" y="915"/>
                  <a:pt x="1134" y="915"/>
                  <a:pt x="1134" y="915"/>
                </a:cubicBezTo>
                <a:cubicBezTo>
                  <a:pt x="1499" y="915"/>
                  <a:pt x="1499" y="915"/>
                  <a:pt x="1499" y="915"/>
                </a:cubicBezTo>
                <a:cubicBezTo>
                  <a:pt x="1560" y="915"/>
                  <a:pt x="1609" y="964"/>
                  <a:pt x="1609" y="1024"/>
                </a:cubicBezTo>
                <a:cubicBezTo>
                  <a:pt x="1609" y="1085"/>
                  <a:pt x="1560" y="1134"/>
                  <a:pt x="1499" y="1134"/>
                </a:cubicBezTo>
                <a:close/>
              </a:path>
            </a:pathLst>
          </a:custGeom>
          <a:gradFill>
            <a:gsLst>
              <a:gs pos="73000">
                <a:schemeClr val="accent1"/>
              </a:gs>
              <a:gs pos="31000">
                <a:schemeClr val="accent1">
                  <a:lumMod val="60000"/>
                  <a:lumOff val="40000"/>
                </a:schemeClr>
              </a:gs>
              <a:gs pos="0">
                <a:schemeClr val="accent1">
                  <a:lumMod val="40000"/>
                  <a:lumOff val="60000"/>
                </a:schemeClr>
              </a:gs>
            </a:gsLst>
            <a:lin ang="8100000" scaled="1"/>
          </a:gra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Open Sans"/>
              <a:ea typeface="+mn-ea"/>
              <a:cs typeface="+mn-cs"/>
            </a:endParaRPr>
          </a:p>
        </p:txBody>
      </p:sp>
      <p:grpSp>
        <p:nvGrpSpPr>
          <p:cNvPr id="36" name="Group 41">
            <a:extLst>
              <a:ext uri="{FF2B5EF4-FFF2-40B4-BE49-F238E27FC236}">
                <a16:creationId xmlns:a16="http://schemas.microsoft.com/office/drawing/2014/main" id="{7F7E3331-483A-4C0D-BEA4-6FF91561947C}"/>
              </a:ext>
            </a:extLst>
          </p:cNvPr>
          <p:cNvGrpSpPr/>
          <p:nvPr/>
        </p:nvGrpSpPr>
        <p:grpSpPr>
          <a:xfrm>
            <a:off x="1060229" y="3660851"/>
            <a:ext cx="398042" cy="456456"/>
            <a:chOff x="4862513" y="3505200"/>
            <a:chExt cx="260350" cy="323851"/>
          </a:xfrm>
          <a:gradFill>
            <a:gsLst>
              <a:gs pos="73000">
                <a:schemeClr val="accent1"/>
              </a:gs>
              <a:gs pos="31000">
                <a:schemeClr val="accent1">
                  <a:lumMod val="60000"/>
                  <a:lumOff val="40000"/>
                </a:schemeClr>
              </a:gs>
              <a:gs pos="0">
                <a:schemeClr val="accent1">
                  <a:lumMod val="40000"/>
                  <a:lumOff val="60000"/>
                </a:schemeClr>
              </a:gs>
            </a:gsLst>
            <a:lin ang="8100000" scaled="1"/>
          </a:gradFill>
        </p:grpSpPr>
        <p:sp>
          <p:nvSpPr>
            <p:cNvPr id="37" name="Freeform 9">
              <a:extLst>
                <a:ext uri="{FF2B5EF4-FFF2-40B4-BE49-F238E27FC236}">
                  <a16:creationId xmlns:a16="http://schemas.microsoft.com/office/drawing/2014/main" id="{6B49CE82-BC48-455D-8F42-F01454B4D4EB}"/>
                </a:ext>
              </a:extLst>
            </p:cNvPr>
            <p:cNvSpPr>
              <a:spLocks/>
            </p:cNvSpPr>
            <p:nvPr/>
          </p:nvSpPr>
          <p:spPr bwMode="auto">
            <a:xfrm>
              <a:off x="4870451" y="3505200"/>
              <a:ext cx="220663" cy="234950"/>
            </a:xfrm>
            <a:custGeom>
              <a:avLst/>
              <a:gdLst>
                <a:gd name="T0" fmla="*/ 761 w 1393"/>
                <a:gd name="T1" fmla="*/ 0 h 1489"/>
                <a:gd name="T2" fmla="*/ 240 w 1393"/>
                <a:gd name="T3" fmla="*/ 0 h 1489"/>
                <a:gd name="T4" fmla="*/ 93 w 1393"/>
                <a:gd name="T5" fmla="*/ 0 h 1489"/>
                <a:gd name="T6" fmla="*/ 0 w 1393"/>
                <a:gd name="T7" fmla="*/ 93 h 1489"/>
                <a:gd name="T8" fmla="*/ 93 w 1393"/>
                <a:gd name="T9" fmla="*/ 186 h 1489"/>
                <a:gd name="T10" fmla="*/ 147 w 1393"/>
                <a:gd name="T11" fmla="*/ 186 h 1489"/>
                <a:gd name="T12" fmla="*/ 147 w 1393"/>
                <a:gd name="T13" fmla="*/ 938 h 1489"/>
                <a:gd name="T14" fmla="*/ 240 w 1393"/>
                <a:gd name="T15" fmla="*/ 1031 h 1489"/>
                <a:gd name="T16" fmla="*/ 397 w 1393"/>
                <a:gd name="T17" fmla="*/ 1031 h 1489"/>
                <a:gd name="T18" fmla="*/ 462 w 1393"/>
                <a:gd name="T19" fmla="*/ 1004 h 1489"/>
                <a:gd name="T20" fmla="*/ 591 w 1393"/>
                <a:gd name="T21" fmla="*/ 876 h 1489"/>
                <a:gd name="T22" fmla="*/ 591 w 1393"/>
                <a:gd name="T23" fmla="*/ 1100 h 1489"/>
                <a:gd name="T24" fmla="*/ 201 w 1393"/>
                <a:gd name="T25" fmla="*/ 1489 h 1489"/>
                <a:gd name="T26" fmla="*/ 1393 w 1393"/>
                <a:gd name="T27" fmla="*/ 1489 h 1489"/>
                <a:gd name="T28" fmla="*/ 1393 w 1393"/>
                <a:gd name="T29" fmla="*/ 633 h 1489"/>
                <a:gd name="T30" fmla="*/ 761 w 1393"/>
                <a:gd name="T31" fmla="*/ 0 h 14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93" h="1489">
                  <a:moveTo>
                    <a:pt x="761" y="0"/>
                  </a:moveTo>
                  <a:cubicBezTo>
                    <a:pt x="240" y="0"/>
                    <a:pt x="240" y="0"/>
                    <a:pt x="240" y="0"/>
                  </a:cubicBezTo>
                  <a:cubicBezTo>
                    <a:pt x="93" y="0"/>
                    <a:pt x="93" y="0"/>
                    <a:pt x="93" y="0"/>
                  </a:cubicBezTo>
                  <a:cubicBezTo>
                    <a:pt x="41" y="0"/>
                    <a:pt x="0" y="42"/>
                    <a:pt x="0" y="93"/>
                  </a:cubicBezTo>
                  <a:cubicBezTo>
                    <a:pt x="0" y="145"/>
                    <a:pt x="41" y="186"/>
                    <a:pt x="93" y="186"/>
                  </a:cubicBezTo>
                  <a:cubicBezTo>
                    <a:pt x="147" y="186"/>
                    <a:pt x="147" y="186"/>
                    <a:pt x="147" y="186"/>
                  </a:cubicBezTo>
                  <a:cubicBezTo>
                    <a:pt x="147" y="938"/>
                    <a:pt x="147" y="938"/>
                    <a:pt x="147" y="938"/>
                  </a:cubicBezTo>
                  <a:cubicBezTo>
                    <a:pt x="147" y="990"/>
                    <a:pt x="188" y="1031"/>
                    <a:pt x="240" y="1031"/>
                  </a:cubicBezTo>
                  <a:cubicBezTo>
                    <a:pt x="397" y="1031"/>
                    <a:pt x="397" y="1031"/>
                    <a:pt x="397" y="1031"/>
                  </a:cubicBezTo>
                  <a:cubicBezTo>
                    <a:pt x="421" y="1031"/>
                    <a:pt x="445" y="1021"/>
                    <a:pt x="462" y="1004"/>
                  </a:cubicBezTo>
                  <a:cubicBezTo>
                    <a:pt x="591" y="876"/>
                    <a:pt x="591" y="876"/>
                    <a:pt x="591" y="876"/>
                  </a:cubicBezTo>
                  <a:cubicBezTo>
                    <a:pt x="591" y="1100"/>
                    <a:pt x="591" y="1100"/>
                    <a:pt x="591" y="1100"/>
                  </a:cubicBezTo>
                  <a:cubicBezTo>
                    <a:pt x="201" y="1489"/>
                    <a:pt x="201" y="1489"/>
                    <a:pt x="201" y="1489"/>
                  </a:cubicBezTo>
                  <a:cubicBezTo>
                    <a:pt x="1393" y="1489"/>
                    <a:pt x="1393" y="1489"/>
                    <a:pt x="1393" y="1489"/>
                  </a:cubicBezTo>
                  <a:cubicBezTo>
                    <a:pt x="1393" y="633"/>
                    <a:pt x="1393" y="633"/>
                    <a:pt x="1393" y="633"/>
                  </a:cubicBezTo>
                  <a:cubicBezTo>
                    <a:pt x="1393" y="284"/>
                    <a:pt x="1109" y="0"/>
                    <a:pt x="76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sp>
          <p:nvSpPr>
            <p:cNvPr id="38" name="Freeform 10">
              <a:extLst>
                <a:ext uri="{FF2B5EF4-FFF2-40B4-BE49-F238E27FC236}">
                  <a16:creationId xmlns:a16="http://schemas.microsoft.com/office/drawing/2014/main" id="{430AFA80-DD67-421E-8A2F-B3831E317491}"/>
                </a:ext>
              </a:extLst>
            </p:cNvPr>
            <p:cNvSpPr>
              <a:spLocks/>
            </p:cNvSpPr>
            <p:nvPr/>
          </p:nvSpPr>
          <p:spPr bwMode="auto">
            <a:xfrm>
              <a:off x="4862513" y="3770313"/>
              <a:ext cx="260350" cy="58738"/>
            </a:xfrm>
            <a:custGeom>
              <a:avLst/>
              <a:gdLst>
                <a:gd name="T0" fmla="*/ 0 w 1646"/>
                <a:gd name="T1" fmla="*/ 0 h 372"/>
                <a:gd name="T2" fmla="*/ 0 w 1646"/>
                <a:gd name="T3" fmla="*/ 279 h 372"/>
                <a:gd name="T4" fmla="*/ 93 w 1646"/>
                <a:gd name="T5" fmla="*/ 372 h 372"/>
                <a:gd name="T6" fmla="*/ 1553 w 1646"/>
                <a:gd name="T7" fmla="*/ 372 h 372"/>
                <a:gd name="T8" fmla="*/ 1646 w 1646"/>
                <a:gd name="T9" fmla="*/ 279 h 372"/>
                <a:gd name="T10" fmla="*/ 1646 w 1646"/>
                <a:gd name="T11" fmla="*/ 0 h 372"/>
                <a:gd name="T12" fmla="*/ 0 w 1646"/>
                <a:gd name="T13" fmla="*/ 0 h 372"/>
              </a:gdLst>
              <a:ahLst/>
              <a:cxnLst>
                <a:cxn ang="0">
                  <a:pos x="T0" y="T1"/>
                </a:cxn>
                <a:cxn ang="0">
                  <a:pos x="T2" y="T3"/>
                </a:cxn>
                <a:cxn ang="0">
                  <a:pos x="T4" y="T5"/>
                </a:cxn>
                <a:cxn ang="0">
                  <a:pos x="T6" y="T7"/>
                </a:cxn>
                <a:cxn ang="0">
                  <a:pos x="T8" y="T9"/>
                </a:cxn>
                <a:cxn ang="0">
                  <a:pos x="T10" y="T11"/>
                </a:cxn>
                <a:cxn ang="0">
                  <a:pos x="T12" y="T13"/>
                </a:cxn>
              </a:cxnLst>
              <a:rect l="0" t="0" r="r" b="b"/>
              <a:pathLst>
                <a:path w="1646" h="372">
                  <a:moveTo>
                    <a:pt x="0" y="0"/>
                  </a:moveTo>
                  <a:cubicBezTo>
                    <a:pt x="0" y="279"/>
                    <a:pt x="0" y="279"/>
                    <a:pt x="0" y="279"/>
                  </a:cubicBezTo>
                  <a:cubicBezTo>
                    <a:pt x="0" y="330"/>
                    <a:pt x="42" y="372"/>
                    <a:pt x="93" y="372"/>
                  </a:cubicBezTo>
                  <a:cubicBezTo>
                    <a:pt x="1553" y="372"/>
                    <a:pt x="1553" y="372"/>
                    <a:pt x="1553" y="372"/>
                  </a:cubicBezTo>
                  <a:cubicBezTo>
                    <a:pt x="1604" y="372"/>
                    <a:pt x="1646" y="330"/>
                    <a:pt x="1646" y="279"/>
                  </a:cubicBezTo>
                  <a:cubicBezTo>
                    <a:pt x="1646" y="0"/>
                    <a:pt x="1646" y="0"/>
                    <a:pt x="1646" y="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grpSp>
      <p:grpSp>
        <p:nvGrpSpPr>
          <p:cNvPr id="39" name="Group 60">
            <a:extLst>
              <a:ext uri="{FF2B5EF4-FFF2-40B4-BE49-F238E27FC236}">
                <a16:creationId xmlns:a16="http://schemas.microsoft.com/office/drawing/2014/main" id="{A538CE5B-7BF8-4AF0-8A72-DACD89DB69D3}"/>
              </a:ext>
            </a:extLst>
          </p:cNvPr>
          <p:cNvGrpSpPr/>
          <p:nvPr/>
        </p:nvGrpSpPr>
        <p:grpSpPr>
          <a:xfrm>
            <a:off x="10162095" y="4920654"/>
            <a:ext cx="497092" cy="549018"/>
            <a:chOff x="5153021" y="2384425"/>
            <a:chExt cx="1884361" cy="2081215"/>
          </a:xfrm>
          <a:gradFill>
            <a:gsLst>
              <a:gs pos="73000">
                <a:schemeClr val="accent1"/>
              </a:gs>
              <a:gs pos="31000">
                <a:schemeClr val="accent1">
                  <a:lumMod val="60000"/>
                  <a:lumOff val="40000"/>
                </a:schemeClr>
              </a:gs>
              <a:gs pos="0">
                <a:schemeClr val="accent1">
                  <a:lumMod val="40000"/>
                  <a:lumOff val="60000"/>
                </a:schemeClr>
              </a:gs>
            </a:gsLst>
            <a:lin ang="8100000" scaled="1"/>
          </a:gradFill>
        </p:grpSpPr>
        <p:sp>
          <p:nvSpPr>
            <p:cNvPr id="40" name="Freeform 5">
              <a:extLst>
                <a:ext uri="{FF2B5EF4-FFF2-40B4-BE49-F238E27FC236}">
                  <a16:creationId xmlns:a16="http://schemas.microsoft.com/office/drawing/2014/main" id="{D702FA62-57E1-48D5-A628-D4248FEBAF48}"/>
                </a:ext>
              </a:extLst>
            </p:cNvPr>
            <p:cNvSpPr>
              <a:spLocks/>
            </p:cNvSpPr>
            <p:nvPr/>
          </p:nvSpPr>
          <p:spPr bwMode="auto">
            <a:xfrm>
              <a:off x="5529262" y="2384425"/>
              <a:ext cx="377826" cy="763588"/>
            </a:xfrm>
            <a:custGeom>
              <a:avLst/>
              <a:gdLst>
                <a:gd name="T0" fmla="*/ 252 w 373"/>
                <a:gd name="T1" fmla="*/ 409 h 754"/>
                <a:gd name="T2" fmla="*/ 187 w 373"/>
                <a:gd name="T3" fmla="*/ 288 h 754"/>
                <a:gd name="T4" fmla="*/ 252 w 373"/>
                <a:gd name="T5" fmla="*/ 168 h 754"/>
                <a:gd name="T6" fmla="*/ 252 w 373"/>
                <a:gd name="T7" fmla="*/ 36 h 754"/>
                <a:gd name="T8" fmla="*/ 121 w 373"/>
                <a:gd name="T9" fmla="*/ 36 h 754"/>
                <a:gd name="T10" fmla="*/ 0 w 373"/>
                <a:gd name="T11" fmla="*/ 288 h 754"/>
                <a:gd name="T12" fmla="*/ 121 w 373"/>
                <a:gd name="T13" fmla="*/ 540 h 754"/>
                <a:gd name="T14" fmla="*/ 187 w 373"/>
                <a:gd name="T15" fmla="*/ 661 h 754"/>
                <a:gd name="T16" fmla="*/ 280 w 373"/>
                <a:gd name="T17" fmla="*/ 754 h 754"/>
                <a:gd name="T18" fmla="*/ 373 w 373"/>
                <a:gd name="T19" fmla="*/ 661 h 754"/>
                <a:gd name="T20" fmla="*/ 252 w 373"/>
                <a:gd name="T21" fmla="*/ 409 h 7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3" h="754">
                  <a:moveTo>
                    <a:pt x="252" y="409"/>
                  </a:moveTo>
                  <a:cubicBezTo>
                    <a:pt x="207" y="363"/>
                    <a:pt x="187" y="341"/>
                    <a:pt x="187" y="288"/>
                  </a:cubicBezTo>
                  <a:cubicBezTo>
                    <a:pt x="187" y="236"/>
                    <a:pt x="207" y="214"/>
                    <a:pt x="252" y="168"/>
                  </a:cubicBezTo>
                  <a:cubicBezTo>
                    <a:pt x="289" y="132"/>
                    <a:pt x="289" y="73"/>
                    <a:pt x="252" y="36"/>
                  </a:cubicBezTo>
                  <a:cubicBezTo>
                    <a:pt x="216" y="0"/>
                    <a:pt x="157" y="0"/>
                    <a:pt x="121" y="36"/>
                  </a:cubicBezTo>
                  <a:cubicBezTo>
                    <a:pt x="70" y="87"/>
                    <a:pt x="0" y="157"/>
                    <a:pt x="0" y="288"/>
                  </a:cubicBezTo>
                  <a:cubicBezTo>
                    <a:pt x="0" y="420"/>
                    <a:pt x="70" y="489"/>
                    <a:pt x="121" y="540"/>
                  </a:cubicBezTo>
                  <a:cubicBezTo>
                    <a:pt x="166" y="586"/>
                    <a:pt x="187" y="608"/>
                    <a:pt x="187" y="661"/>
                  </a:cubicBezTo>
                  <a:cubicBezTo>
                    <a:pt x="187" y="712"/>
                    <a:pt x="228" y="754"/>
                    <a:pt x="280" y="754"/>
                  </a:cubicBezTo>
                  <a:cubicBezTo>
                    <a:pt x="331" y="754"/>
                    <a:pt x="373" y="712"/>
                    <a:pt x="373" y="661"/>
                  </a:cubicBezTo>
                  <a:cubicBezTo>
                    <a:pt x="373" y="529"/>
                    <a:pt x="303" y="459"/>
                    <a:pt x="252" y="40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sp>
          <p:nvSpPr>
            <p:cNvPr id="41" name="Freeform 6">
              <a:extLst>
                <a:ext uri="{FF2B5EF4-FFF2-40B4-BE49-F238E27FC236}">
                  <a16:creationId xmlns:a16="http://schemas.microsoft.com/office/drawing/2014/main" id="{CB877DCA-AE20-4653-BB58-ACA74BFF90F3}"/>
                </a:ext>
              </a:extLst>
            </p:cNvPr>
            <p:cNvSpPr>
              <a:spLocks/>
            </p:cNvSpPr>
            <p:nvPr/>
          </p:nvSpPr>
          <p:spPr bwMode="auto">
            <a:xfrm>
              <a:off x="5970587" y="2384425"/>
              <a:ext cx="376237" cy="763588"/>
            </a:xfrm>
            <a:custGeom>
              <a:avLst/>
              <a:gdLst>
                <a:gd name="T0" fmla="*/ 252 w 372"/>
                <a:gd name="T1" fmla="*/ 409 h 754"/>
                <a:gd name="T2" fmla="*/ 186 w 372"/>
                <a:gd name="T3" fmla="*/ 288 h 754"/>
                <a:gd name="T4" fmla="*/ 252 w 372"/>
                <a:gd name="T5" fmla="*/ 168 h 754"/>
                <a:gd name="T6" fmla="*/ 252 w 372"/>
                <a:gd name="T7" fmla="*/ 36 h 754"/>
                <a:gd name="T8" fmla="*/ 120 w 372"/>
                <a:gd name="T9" fmla="*/ 36 h 754"/>
                <a:gd name="T10" fmla="*/ 0 w 372"/>
                <a:gd name="T11" fmla="*/ 288 h 754"/>
                <a:gd name="T12" fmla="*/ 120 w 372"/>
                <a:gd name="T13" fmla="*/ 540 h 754"/>
                <a:gd name="T14" fmla="*/ 186 w 372"/>
                <a:gd name="T15" fmla="*/ 661 h 754"/>
                <a:gd name="T16" fmla="*/ 279 w 372"/>
                <a:gd name="T17" fmla="*/ 754 h 754"/>
                <a:gd name="T18" fmla="*/ 372 w 372"/>
                <a:gd name="T19" fmla="*/ 661 h 754"/>
                <a:gd name="T20" fmla="*/ 252 w 372"/>
                <a:gd name="T21" fmla="*/ 409 h 7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2" h="754">
                  <a:moveTo>
                    <a:pt x="252" y="409"/>
                  </a:moveTo>
                  <a:cubicBezTo>
                    <a:pt x="206" y="363"/>
                    <a:pt x="186" y="341"/>
                    <a:pt x="186" y="288"/>
                  </a:cubicBezTo>
                  <a:cubicBezTo>
                    <a:pt x="186" y="236"/>
                    <a:pt x="206" y="214"/>
                    <a:pt x="252" y="168"/>
                  </a:cubicBezTo>
                  <a:cubicBezTo>
                    <a:pt x="288" y="132"/>
                    <a:pt x="288" y="73"/>
                    <a:pt x="252" y="36"/>
                  </a:cubicBezTo>
                  <a:cubicBezTo>
                    <a:pt x="216" y="0"/>
                    <a:pt x="157" y="0"/>
                    <a:pt x="120" y="36"/>
                  </a:cubicBezTo>
                  <a:cubicBezTo>
                    <a:pt x="69" y="87"/>
                    <a:pt x="0" y="157"/>
                    <a:pt x="0" y="288"/>
                  </a:cubicBezTo>
                  <a:cubicBezTo>
                    <a:pt x="0" y="420"/>
                    <a:pt x="69" y="489"/>
                    <a:pt x="120" y="540"/>
                  </a:cubicBezTo>
                  <a:cubicBezTo>
                    <a:pt x="166" y="586"/>
                    <a:pt x="186" y="608"/>
                    <a:pt x="186" y="661"/>
                  </a:cubicBezTo>
                  <a:cubicBezTo>
                    <a:pt x="186" y="712"/>
                    <a:pt x="228" y="754"/>
                    <a:pt x="279" y="754"/>
                  </a:cubicBezTo>
                  <a:cubicBezTo>
                    <a:pt x="331" y="754"/>
                    <a:pt x="372" y="712"/>
                    <a:pt x="372" y="661"/>
                  </a:cubicBezTo>
                  <a:cubicBezTo>
                    <a:pt x="372" y="529"/>
                    <a:pt x="303" y="459"/>
                    <a:pt x="252" y="40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sp>
          <p:nvSpPr>
            <p:cNvPr id="42" name="Freeform 7">
              <a:extLst>
                <a:ext uri="{FF2B5EF4-FFF2-40B4-BE49-F238E27FC236}">
                  <a16:creationId xmlns:a16="http://schemas.microsoft.com/office/drawing/2014/main" id="{1E8AB513-23EE-48C1-B82F-91333F2CD6F0}"/>
                </a:ext>
              </a:extLst>
            </p:cNvPr>
            <p:cNvSpPr>
              <a:spLocks noEditPoints="1"/>
            </p:cNvSpPr>
            <p:nvPr/>
          </p:nvSpPr>
          <p:spPr bwMode="auto">
            <a:xfrm>
              <a:off x="5153021" y="3335339"/>
              <a:ext cx="1884361" cy="1130301"/>
            </a:xfrm>
            <a:custGeom>
              <a:avLst/>
              <a:gdLst>
                <a:gd name="T0" fmla="*/ 1433 w 1862"/>
                <a:gd name="T1" fmla="*/ 683 h 1117"/>
                <a:gd name="T2" fmla="*/ 1521 w 1862"/>
                <a:gd name="T3" fmla="*/ 683 h 1117"/>
                <a:gd name="T4" fmla="*/ 1521 w 1862"/>
                <a:gd name="T5" fmla="*/ 683 h 1117"/>
                <a:gd name="T6" fmla="*/ 1862 w 1862"/>
                <a:gd name="T7" fmla="*/ 341 h 1117"/>
                <a:gd name="T8" fmla="*/ 1521 w 1862"/>
                <a:gd name="T9" fmla="*/ 0 h 1117"/>
                <a:gd name="T10" fmla="*/ 1396 w 1862"/>
                <a:gd name="T11" fmla="*/ 0 h 1117"/>
                <a:gd name="T12" fmla="*/ 155 w 1862"/>
                <a:gd name="T13" fmla="*/ 0 h 1117"/>
                <a:gd name="T14" fmla="*/ 62 w 1862"/>
                <a:gd name="T15" fmla="*/ 93 h 1117"/>
                <a:gd name="T16" fmla="*/ 62 w 1862"/>
                <a:gd name="T17" fmla="*/ 403 h 1117"/>
                <a:gd name="T18" fmla="*/ 296 w 1862"/>
                <a:gd name="T19" fmla="*/ 931 h 1117"/>
                <a:gd name="T20" fmla="*/ 93 w 1862"/>
                <a:gd name="T21" fmla="*/ 931 h 1117"/>
                <a:gd name="T22" fmla="*/ 0 w 1862"/>
                <a:gd name="T23" fmla="*/ 1024 h 1117"/>
                <a:gd name="T24" fmla="*/ 93 w 1862"/>
                <a:gd name="T25" fmla="*/ 1117 h 1117"/>
                <a:gd name="T26" fmla="*/ 776 w 1862"/>
                <a:gd name="T27" fmla="*/ 1117 h 1117"/>
                <a:gd name="T28" fmla="*/ 1459 w 1862"/>
                <a:gd name="T29" fmla="*/ 1117 h 1117"/>
                <a:gd name="T30" fmla="*/ 1552 w 1862"/>
                <a:gd name="T31" fmla="*/ 1024 h 1117"/>
                <a:gd name="T32" fmla="*/ 1459 w 1862"/>
                <a:gd name="T33" fmla="*/ 931 h 1117"/>
                <a:gd name="T34" fmla="*/ 1256 w 1862"/>
                <a:gd name="T35" fmla="*/ 931 h 1117"/>
                <a:gd name="T36" fmla="*/ 1433 w 1862"/>
                <a:gd name="T37" fmla="*/ 683 h 1117"/>
                <a:gd name="T38" fmla="*/ 1490 w 1862"/>
                <a:gd name="T39" fmla="*/ 403 h 1117"/>
                <a:gd name="T40" fmla="*/ 1490 w 1862"/>
                <a:gd name="T41" fmla="*/ 186 h 1117"/>
                <a:gd name="T42" fmla="*/ 1521 w 1862"/>
                <a:gd name="T43" fmla="*/ 186 h 1117"/>
                <a:gd name="T44" fmla="*/ 1676 w 1862"/>
                <a:gd name="T45" fmla="*/ 341 h 1117"/>
                <a:gd name="T46" fmla="*/ 1521 w 1862"/>
                <a:gd name="T47" fmla="*/ 496 h 1117"/>
                <a:gd name="T48" fmla="*/ 1520 w 1862"/>
                <a:gd name="T49" fmla="*/ 496 h 1117"/>
                <a:gd name="T50" fmla="*/ 1483 w 1862"/>
                <a:gd name="T51" fmla="*/ 496 h 1117"/>
                <a:gd name="T52" fmla="*/ 1490 w 1862"/>
                <a:gd name="T53" fmla="*/ 403 h 1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62" h="1117">
                  <a:moveTo>
                    <a:pt x="1433" y="683"/>
                  </a:moveTo>
                  <a:cubicBezTo>
                    <a:pt x="1521" y="683"/>
                    <a:pt x="1521" y="683"/>
                    <a:pt x="1521" y="683"/>
                  </a:cubicBezTo>
                  <a:cubicBezTo>
                    <a:pt x="1521" y="683"/>
                    <a:pt x="1521" y="683"/>
                    <a:pt x="1521" y="683"/>
                  </a:cubicBezTo>
                  <a:cubicBezTo>
                    <a:pt x="1709" y="682"/>
                    <a:pt x="1862" y="529"/>
                    <a:pt x="1862" y="341"/>
                  </a:cubicBezTo>
                  <a:cubicBezTo>
                    <a:pt x="1862" y="153"/>
                    <a:pt x="1709" y="0"/>
                    <a:pt x="1521" y="0"/>
                  </a:cubicBezTo>
                  <a:cubicBezTo>
                    <a:pt x="1396" y="0"/>
                    <a:pt x="1396" y="0"/>
                    <a:pt x="1396" y="0"/>
                  </a:cubicBezTo>
                  <a:cubicBezTo>
                    <a:pt x="155" y="0"/>
                    <a:pt x="155" y="0"/>
                    <a:pt x="155" y="0"/>
                  </a:cubicBezTo>
                  <a:cubicBezTo>
                    <a:pt x="104" y="0"/>
                    <a:pt x="62" y="42"/>
                    <a:pt x="62" y="93"/>
                  </a:cubicBezTo>
                  <a:cubicBezTo>
                    <a:pt x="62" y="403"/>
                    <a:pt x="62" y="403"/>
                    <a:pt x="62" y="403"/>
                  </a:cubicBezTo>
                  <a:cubicBezTo>
                    <a:pt x="62" y="612"/>
                    <a:pt x="152" y="800"/>
                    <a:pt x="296" y="931"/>
                  </a:cubicBezTo>
                  <a:cubicBezTo>
                    <a:pt x="93" y="931"/>
                    <a:pt x="93" y="931"/>
                    <a:pt x="93" y="931"/>
                  </a:cubicBezTo>
                  <a:cubicBezTo>
                    <a:pt x="42" y="931"/>
                    <a:pt x="0" y="972"/>
                    <a:pt x="0" y="1024"/>
                  </a:cubicBezTo>
                  <a:cubicBezTo>
                    <a:pt x="0" y="1075"/>
                    <a:pt x="42" y="1117"/>
                    <a:pt x="93" y="1117"/>
                  </a:cubicBezTo>
                  <a:cubicBezTo>
                    <a:pt x="776" y="1117"/>
                    <a:pt x="776" y="1117"/>
                    <a:pt x="776" y="1117"/>
                  </a:cubicBezTo>
                  <a:cubicBezTo>
                    <a:pt x="1459" y="1117"/>
                    <a:pt x="1459" y="1117"/>
                    <a:pt x="1459" y="1117"/>
                  </a:cubicBezTo>
                  <a:cubicBezTo>
                    <a:pt x="1510" y="1117"/>
                    <a:pt x="1552" y="1075"/>
                    <a:pt x="1552" y="1024"/>
                  </a:cubicBezTo>
                  <a:cubicBezTo>
                    <a:pt x="1552" y="972"/>
                    <a:pt x="1510" y="931"/>
                    <a:pt x="1459" y="931"/>
                  </a:cubicBezTo>
                  <a:cubicBezTo>
                    <a:pt x="1256" y="931"/>
                    <a:pt x="1256" y="931"/>
                    <a:pt x="1256" y="931"/>
                  </a:cubicBezTo>
                  <a:cubicBezTo>
                    <a:pt x="1331" y="862"/>
                    <a:pt x="1392" y="778"/>
                    <a:pt x="1433" y="683"/>
                  </a:cubicBezTo>
                  <a:close/>
                  <a:moveTo>
                    <a:pt x="1490" y="403"/>
                  </a:moveTo>
                  <a:cubicBezTo>
                    <a:pt x="1490" y="186"/>
                    <a:pt x="1490" y="186"/>
                    <a:pt x="1490" y="186"/>
                  </a:cubicBezTo>
                  <a:cubicBezTo>
                    <a:pt x="1521" y="186"/>
                    <a:pt x="1521" y="186"/>
                    <a:pt x="1521" y="186"/>
                  </a:cubicBezTo>
                  <a:cubicBezTo>
                    <a:pt x="1606" y="186"/>
                    <a:pt x="1676" y="256"/>
                    <a:pt x="1676" y="341"/>
                  </a:cubicBezTo>
                  <a:cubicBezTo>
                    <a:pt x="1676" y="427"/>
                    <a:pt x="1606" y="496"/>
                    <a:pt x="1521" y="496"/>
                  </a:cubicBezTo>
                  <a:cubicBezTo>
                    <a:pt x="1521" y="496"/>
                    <a:pt x="1521" y="496"/>
                    <a:pt x="1520" y="496"/>
                  </a:cubicBezTo>
                  <a:cubicBezTo>
                    <a:pt x="1483" y="496"/>
                    <a:pt x="1483" y="496"/>
                    <a:pt x="1483" y="496"/>
                  </a:cubicBezTo>
                  <a:cubicBezTo>
                    <a:pt x="1487" y="466"/>
                    <a:pt x="1490" y="435"/>
                    <a:pt x="1490" y="4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Open Sans"/>
                <a:ea typeface="+mn-ea"/>
                <a:cs typeface="+mn-cs"/>
              </a:endParaRPr>
            </a:p>
          </p:txBody>
        </p:sp>
      </p:grpSp>
      <p:grpSp>
        <p:nvGrpSpPr>
          <p:cNvPr id="77" name="组合 76">
            <a:extLst>
              <a:ext uri="{FF2B5EF4-FFF2-40B4-BE49-F238E27FC236}">
                <a16:creationId xmlns:a16="http://schemas.microsoft.com/office/drawing/2014/main" id="{A6DF8801-558C-4F80-855A-EC2E7245EC6B}"/>
              </a:ext>
            </a:extLst>
          </p:cNvPr>
          <p:cNvGrpSpPr/>
          <p:nvPr/>
        </p:nvGrpSpPr>
        <p:grpSpPr>
          <a:xfrm>
            <a:off x="1825630" y="1825592"/>
            <a:ext cx="2624788" cy="3837331"/>
            <a:chOff x="1825630" y="1596992"/>
            <a:chExt cx="2624788" cy="3837331"/>
          </a:xfrm>
        </p:grpSpPr>
        <p:grpSp>
          <p:nvGrpSpPr>
            <p:cNvPr id="78" name="组合 77">
              <a:extLst>
                <a:ext uri="{FF2B5EF4-FFF2-40B4-BE49-F238E27FC236}">
                  <a16:creationId xmlns:a16="http://schemas.microsoft.com/office/drawing/2014/main" id="{0B4FE3CA-DAF5-45EE-A7F0-9DB52D70D071}"/>
                </a:ext>
              </a:extLst>
            </p:cNvPr>
            <p:cNvGrpSpPr/>
            <p:nvPr/>
          </p:nvGrpSpPr>
          <p:grpSpPr>
            <a:xfrm>
              <a:off x="2086296" y="1596992"/>
              <a:ext cx="2364122" cy="881603"/>
              <a:chOff x="1281487" y="2692095"/>
              <a:chExt cx="2364122" cy="881603"/>
            </a:xfrm>
          </p:grpSpPr>
          <p:sp>
            <p:nvSpPr>
              <p:cNvPr id="85" name="TextBox 65">
                <a:extLst>
                  <a:ext uri="{FF2B5EF4-FFF2-40B4-BE49-F238E27FC236}">
                    <a16:creationId xmlns:a16="http://schemas.microsoft.com/office/drawing/2014/main" id="{20B2D7AF-61C0-421F-AE77-E45E97FE7408}"/>
                  </a:ext>
                </a:extLst>
              </p:cNvPr>
              <p:cNvSpPr txBox="1"/>
              <p:nvPr/>
            </p:nvSpPr>
            <p:spPr>
              <a:xfrm>
                <a:off x="1589348" y="2692095"/>
                <a:ext cx="2056261" cy="387598"/>
              </a:xfrm>
              <a:prstGeom prst="rect">
                <a:avLst/>
              </a:prstGeom>
              <a:noFill/>
            </p:spPr>
            <p:txBody>
              <a:bodyPr wrap="square" lIns="0" tIns="36000" rIns="0" bIns="36000" rtlCol="0">
                <a:spAutoFit/>
              </a:bodyPr>
              <a:lstStyle/>
              <a:p>
                <a:pPr marL="0" marR="0" lvl="0" indent="0" algn="r" defTabSz="914400" rtl="0" eaLnBrk="1" fontAlgn="auto" latinLnBrk="0" hangingPunct="1">
                  <a:lnSpc>
                    <a:spcPct val="120000"/>
                  </a:lnSpc>
                  <a:spcBef>
                    <a:spcPts val="600"/>
                  </a:spcBef>
                  <a:spcAft>
                    <a:spcPts val="0"/>
                  </a:spcAft>
                  <a:buClrTx/>
                  <a:buSzTx/>
                  <a:buFontTx/>
                  <a:buNone/>
                  <a:tabLst/>
                  <a:defRPr/>
                </a:pPr>
                <a:r>
                  <a:rPr kumimoji="0" lang="zh-CN" altLang="en-US" sz="1800" b="0" i="0" u="none" strike="noStrike" kern="1200" cap="none" spc="0" normalizeH="0" baseline="0" noProof="0" dirty="0">
                    <a:ln>
                      <a:noFill/>
                    </a:ln>
                    <a:solidFill>
                      <a:schemeClr val="accent1"/>
                    </a:solidFill>
                    <a:effectLst/>
                    <a:uLnTx/>
                    <a:uFillTx/>
                    <a:latin typeface="HarmonyOS Sans SC Black"/>
                    <a:ea typeface="+mj-ea"/>
                    <a:cs typeface="+mn-cs"/>
                  </a:rPr>
                  <a:t>关键词标题</a:t>
                </a:r>
                <a:endParaRPr kumimoji="0" lang="en-US" sz="1800" b="0" i="0" u="none" strike="noStrike" kern="1200" cap="none" spc="0" normalizeH="0" baseline="0" noProof="0" dirty="0">
                  <a:ln>
                    <a:noFill/>
                  </a:ln>
                  <a:solidFill>
                    <a:schemeClr val="accent1"/>
                  </a:solidFill>
                  <a:effectLst/>
                  <a:uLnTx/>
                  <a:uFillTx/>
                  <a:latin typeface="HarmonyOS Sans SC Black"/>
                  <a:ea typeface="+mj-ea"/>
                  <a:cs typeface="+mn-cs"/>
                </a:endParaRPr>
              </a:p>
            </p:txBody>
          </p:sp>
          <p:sp>
            <p:nvSpPr>
              <p:cNvPr id="86" name="TextBox 65">
                <a:extLst>
                  <a:ext uri="{FF2B5EF4-FFF2-40B4-BE49-F238E27FC236}">
                    <a16:creationId xmlns:a16="http://schemas.microsoft.com/office/drawing/2014/main" id="{499BE265-3326-4DFD-A494-1539B24A829B}"/>
                  </a:ext>
                </a:extLst>
              </p:cNvPr>
              <p:cNvSpPr txBox="1"/>
              <p:nvPr/>
            </p:nvSpPr>
            <p:spPr>
              <a:xfrm>
                <a:off x="1281487" y="3075494"/>
                <a:ext cx="2364121" cy="498204"/>
              </a:xfrm>
              <a:prstGeom prst="rect">
                <a:avLst/>
              </a:prstGeom>
              <a:noFill/>
            </p:spPr>
            <p:txBody>
              <a:bodyPr wrap="square" lIns="0" tIns="36000" rIns="0" bIns="36000" rtlCol="0">
                <a:spAutoFit/>
              </a:bodyPr>
              <a:lstStyle/>
              <a:p>
                <a:pPr marL="0" marR="0" lvl="0" indent="0" algn="r" defTabSz="914400" rtl="0" eaLnBrk="1" fontAlgn="auto" latinLnBrk="0" hangingPunct="1">
                  <a:lnSpc>
                    <a:spcPct val="120000"/>
                  </a:lnSpc>
                  <a:spcBef>
                    <a:spcPts val="600"/>
                  </a:spcBef>
                  <a:spcAft>
                    <a:spcPts val="0"/>
                  </a:spcAft>
                  <a:buClrTx/>
                  <a:buSzTx/>
                  <a:buFontTx/>
                  <a:buNone/>
                  <a:tabLst/>
                  <a:defRPr/>
                </a:pPr>
                <a:r>
                  <a:rPr kumimoji="0" lang="en-US" sz="1200" b="0" i="0" u="none" strike="noStrike" kern="1200" cap="none" spc="0" normalizeH="0" baseline="0" noProof="0" dirty="0">
                    <a:ln>
                      <a:noFill/>
                    </a:ln>
                    <a:solidFill>
                      <a:prstClr val="black">
                        <a:lumMod val="50000"/>
                        <a:lumOff val="50000"/>
                      </a:prstClr>
                    </a:solidFill>
                    <a:effectLst/>
                    <a:uLnTx/>
                    <a:uFillTx/>
                    <a:latin typeface="HarmonyOS Sans SC"/>
                    <a:cs typeface="+mn-cs"/>
                  </a:rPr>
                  <a:t>Apparently we had reached a great height in the.</a:t>
                </a:r>
              </a:p>
            </p:txBody>
          </p:sp>
        </p:grpSp>
        <p:grpSp>
          <p:nvGrpSpPr>
            <p:cNvPr id="79" name="组合 78">
              <a:extLst>
                <a:ext uri="{FF2B5EF4-FFF2-40B4-BE49-F238E27FC236}">
                  <a16:creationId xmlns:a16="http://schemas.microsoft.com/office/drawing/2014/main" id="{36B1EE2A-672B-42EE-9BC6-B634A65135AA}"/>
                </a:ext>
              </a:extLst>
            </p:cNvPr>
            <p:cNvGrpSpPr/>
            <p:nvPr/>
          </p:nvGrpSpPr>
          <p:grpSpPr>
            <a:xfrm>
              <a:off x="1825630" y="3116629"/>
              <a:ext cx="2364122" cy="881603"/>
              <a:chOff x="1281487" y="2692095"/>
              <a:chExt cx="2364122" cy="881603"/>
            </a:xfrm>
          </p:grpSpPr>
          <p:sp>
            <p:nvSpPr>
              <p:cNvPr id="83" name="TextBox 65">
                <a:extLst>
                  <a:ext uri="{FF2B5EF4-FFF2-40B4-BE49-F238E27FC236}">
                    <a16:creationId xmlns:a16="http://schemas.microsoft.com/office/drawing/2014/main" id="{17760EBD-F651-4845-A41E-45B2AE94CC0B}"/>
                  </a:ext>
                </a:extLst>
              </p:cNvPr>
              <p:cNvSpPr txBox="1"/>
              <p:nvPr/>
            </p:nvSpPr>
            <p:spPr>
              <a:xfrm>
                <a:off x="1589348" y="2692095"/>
                <a:ext cx="2056261" cy="387598"/>
              </a:xfrm>
              <a:prstGeom prst="rect">
                <a:avLst/>
              </a:prstGeom>
              <a:noFill/>
            </p:spPr>
            <p:txBody>
              <a:bodyPr wrap="square" lIns="0" tIns="36000" rIns="0" bIns="36000" rtlCol="0">
                <a:spAutoFit/>
              </a:bodyPr>
              <a:lstStyle/>
              <a:p>
                <a:pPr marL="0" marR="0" lvl="0" indent="0" algn="r" defTabSz="914400" rtl="0" eaLnBrk="1" fontAlgn="auto" latinLnBrk="0" hangingPunct="1">
                  <a:lnSpc>
                    <a:spcPct val="120000"/>
                  </a:lnSpc>
                  <a:spcBef>
                    <a:spcPts val="600"/>
                  </a:spcBef>
                  <a:spcAft>
                    <a:spcPts val="0"/>
                  </a:spcAft>
                  <a:buClrTx/>
                  <a:buSzTx/>
                  <a:buFontTx/>
                  <a:buNone/>
                  <a:tabLst/>
                  <a:defRPr/>
                </a:pPr>
                <a:r>
                  <a:rPr kumimoji="0" lang="zh-CN" altLang="en-US" sz="1800" b="0" i="0" u="none" strike="noStrike" kern="1200" cap="none" spc="0" normalizeH="0" baseline="0" noProof="0" dirty="0">
                    <a:ln>
                      <a:noFill/>
                    </a:ln>
                    <a:solidFill>
                      <a:schemeClr val="accent1"/>
                    </a:solidFill>
                    <a:effectLst/>
                    <a:uLnTx/>
                    <a:uFillTx/>
                    <a:latin typeface="HarmonyOS Sans SC Black"/>
                    <a:ea typeface="+mj-ea"/>
                    <a:cs typeface="+mn-cs"/>
                  </a:rPr>
                  <a:t>关键词标题</a:t>
                </a:r>
                <a:endParaRPr kumimoji="0" lang="en-US" sz="1800" b="0" i="0" u="none" strike="noStrike" kern="1200" cap="none" spc="0" normalizeH="0" baseline="0" noProof="0" dirty="0">
                  <a:ln>
                    <a:noFill/>
                  </a:ln>
                  <a:solidFill>
                    <a:schemeClr val="accent1"/>
                  </a:solidFill>
                  <a:effectLst/>
                  <a:uLnTx/>
                  <a:uFillTx/>
                  <a:latin typeface="HarmonyOS Sans SC Black"/>
                  <a:ea typeface="+mj-ea"/>
                  <a:cs typeface="+mn-cs"/>
                </a:endParaRPr>
              </a:p>
            </p:txBody>
          </p:sp>
          <p:sp>
            <p:nvSpPr>
              <p:cNvPr id="84" name="TextBox 65">
                <a:extLst>
                  <a:ext uri="{FF2B5EF4-FFF2-40B4-BE49-F238E27FC236}">
                    <a16:creationId xmlns:a16="http://schemas.microsoft.com/office/drawing/2014/main" id="{1B822192-9246-4FF3-953B-D688140E3E0C}"/>
                  </a:ext>
                </a:extLst>
              </p:cNvPr>
              <p:cNvSpPr txBox="1"/>
              <p:nvPr/>
            </p:nvSpPr>
            <p:spPr>
              <a:xfrm>
                <a:off x="1281487" y="3075494"/>
                <a:ext cx="2364121" cy="498204"/>
              </a:xfrm>
              <a:prstGeom prst="rect">
                <a:avLst/>
              </a:prstGeom>
              <a:noFill/>
            </p:spPr>
            <p:txBody>
              <a:bodyPr wrap="square" lIns="0" tIns="36000" rIns="0" bIns="36000" rtlCol="0">
                <a:spAutoFit/>
              </a:bodyPr>
              <a:lstStyle/>
              <a:p>
                <a:pPr marL="0" marR="0" lvl="0" indent="0" algn="r" defTabSz="914400" rtl="0" eaLnBrk="1" fontAlgn="auto" latinLnBrk="0" hangingPunct="1">
                  <a:lnSpc>
                    <a:spcPct val="120000"/>
                  </a:lnSpc>
                  <a:spcBef>
                    <a:spcPts val="600"/>
                  </a:spcBef>
                  <a:spcAft>
                    <a:spcPts val="0"/>
                  </a:spcAft>
                  <a:buClrTx/>
                  <a:buSzTx/>
                  <a:buFontTx/>
                  <a:buNone/>
                  <a:tabLst/>
                  <a:defRPr/>
                </a:pPr>
                <a:r>
                  <a:rPr kumimoji="0" lang="en-US" sz="1200" b="0" i="0" u="none" strike="noStrike" kern="1200" cap="none" spc="0" normalizeH="0" baseline="0" noProof="0" dirty="0">
                    <a:ln>
                      <a:noFill/>
                    </a:ln>
                    <a:solidFill>
                      <a:prstClr val="black">
                        <a:lumMod val="50000"/>
                        <a:lumOff val="50000"/>
                      </a:prstClr>
                    </a:solidFill>
                    <a:effectLst/>
                    <a:uLnTx/>
                    <a:uFillTx/>
                    <a:latin typeface="HarmonyOS Sans SC"/>
                    <a:cs typeface="+mn-cs"/>
                  </a:rPr>
                  <a:t>Apparently we had reached a great height in the.</a:t>
                </a:r>
              </a:p>
            </p:txBody>
          </p:sp>
        </p:grpSp>
        <p:grpSp>
          <p:nvGrpSpPr>
            <p:cNvPr id="80" name="组合 79">
              <a:extLst>
                <a:ext uri="{FF2B5EF4-FFF2-40B4-BE49-F238E27FC236}">
                  <a16:creationId xmlns:a16="http://schemas.microsoft.com/office/drawing/2014/main" id="{7F3DD422-B003-4DD1-B703-F5138ACD10EE}"/>
                </a:ext>
              </a:extLst>
            </p:cNvPr>
            <p:cNvGrpSpPr/>
            <p:nvPr/>
          </p:nvGrpSpPr>
          <p:grpSpPr>
            <a:xfrm>
              <a:off x="2086296" y="4552720"/>
              <a:ext cx="2364122" cy="881603"/>
              <a:chOff x="1281487" y="2692095"/>
              <a:chExt cx="2364122" cy="881603"/>
            </a:xfrm>
          </p:grpSpPr>
          <p:sp>
            <p:nvSpPr>
              <p:cNvPr id="81" name="TextBox 65">
                <a:extLst>
                  <a:ext uri="{FF2B5EF4-FFF2-40B4-BE49-F238E27FC236}">
                    <a16:creationId xmlns:a16="http://schemas.microsoft.com/office/drawing/2014/main" id="{8721466E-AA72-4D2C-A3A9-97D31572FD14}"/>
                  </a:ext>
                </a:extLst>
              </p:cNvPr>
              <p:cNvSpPr txBox="1"/>
              <p:nvPr/>
            </p:nvSpPr>
            <p:spPr>
              <a:xfrm>
                <a:off x="1589348" y="2692095"/>
                <a:ext cx="2056261" cy="387598"/>
              </a:xfrm>
              <a:prstGeom prst="rect">
                <a:avLst/>
              </a:prstGeom>
              <a:noFill/>
            </p:spPr>
            <p:txBody>
              <a:bodyPr wrap="square" lIns="0" tIns="36000" rIns="0" bIns="36000" rtlCol="0">
                <a:spAutoFit/>
              </a:bodyPr>
              <a:lstStyle/>
              <a:p>
                <a:pPr marL="0" marR="0" lvl="0" indent="0" algn="r" defTabSz="914400" rtl="0" eaLnBrk="1" fontAlgn="auto" latinLnBrk="0" hangingPunct="1">
                  <a:lnSpc>
                    <a:spcPct val="120000"/>
                  </a:lnSpc>
                  <a:spcBef>
                    <a:spcPts val="600"/>
                  </a:spcBef>
                  <a:spcAft>
                    <a:spcPts val="0"/>
                  </a:spcAft>
                  <a:buClrTx/>
                  <a:buSzTx/>
                  <a:buFontTx/>
                  <a:buNone/>
                  <a:tabLst/>
                  <a:defRPr/>
                </a:pPr>
                <a:r>
                  <a:rPr kumimoji="0" lang="zh-CN" altLang="en-US" sz="1800" b="0" i="0" u="none" strike="noStrike" kern="1200" cap="none" spc="0" normalizeH="0" baseline="0" noProof="0" dirty="0">
                    <a:ln>
                      <a:noFill/>
                    </a:ln>
                    <a:solidFill>
                      <a:schemeClr val="accent1"/>
                    </a:solidFill>
                    <a:effectLst/>
                    <a:uLnTx/>
                    <a:uFillTx/>
                    <a:latin typeface="HarmonyOS Sans SC Black"/>
                    <a:ea typeface="+mj-ea"/>
                    <a:cs typeface="+mn-cs"/>
                  </a:rPr>
                  <a:t>关键词标题</a:t>
                </a:r>
                <a:endParaRPr kumimoji="0" lang="en-US" sz="1800" b="0" i="0" u="none" strike="noStrike" kern="1200" cap="none" spc="0" normalizeH="0" baseline="0" noProof="0" dirty="0">
                  <a:ln>
                    <a:noFill/>
                  </a:ln>
                  <a:solidFill>
                    <a:schemeClr val="accent1"/>
                  </a:solidFill>
                  <a:effectLst/>
                  <a:uLnTx/>
                  <a:uFillTx/>
                  <a:latin typeface="HarmonyOS Sans SC Black"/>
                  <a:ea typeface="+mj-ea"/>
                  <a:cs typeface="+mn-cs"/>
                </a:endParaRPr>
              </a:p>
            </p:txBody>
          </p:sp>
          <p:sp>
            <p:nvSpPr>
              <p:cNvPr id="82" name="TextBox 65">
                <a:extLst>
                  <a:ext uri="{FF2B5EF4-FFF2-40B4-BE49-F238E27FC236}">
                    <a16:creationId xmlns:a16="http://schemas.microsoft.com/office/drawing/2014/main" id="{F9955E46-6562-43C3-BCB1-CC4F1A855227}"/>
                  </a:ext>
                </a:extLst>
              </p:cNvPr>
              <p:cNvSpPr txBox="1"/>
              <p:nvPr/>
            </p:nvSpPr>
            <p:spPr>
              <a:xfrm>
                <a:off x="1281487" y="3075494"/>
                <a:ext cx="2364121" cy="498204"/>
              </a:xfrm>
              <a:prstGeom prst="rect">
                <a:avLst/>
              </a:prstGeom>
              <a:noFill/>
            </p:spPr>
            <p:txBody>
              <a:bodyPr wrap="square" lIns="0" tIns="36000" rIns="0" bIns="36000" rtlCol="0">
                <a:spAutoFit/>
              </a:bodyPr>
              <a:lstStyle/>
              <a:p>
                <a:pPr marL="0" marR="0" lvl="0" indent="0" algn="r" defTabSz="914400" rtl="0" eaLnBrk="1" fontAlgn="auto" latinLnBrk="0" hangingPunct="1">
                  <a:lnSpc>
                    <a:spcPct val="120000"/>
                  </a:lnSpc>
                  <a:spcBef>
                    <a:spcPts val="600"/>
                  </a:spcBef>
                  <a:spcAft>
                    <a:spcPts val="0"/>
                  </a:spcAft>
                  <a:buClrTx/>
                  <a:buSzTx/>
                  <a:buFontTx/>
                  <a:buNone/>
                  <a:tabLst/>
                  <a:defRPr/>
                </a:pPr>
                <a:r>
                  <a:rPr kumimoji="0" lang="en-US" sz="1200" b="0" i="0" u="none" strike="noStrike" kern="1200" cap="none" spc="0" normalizeH="0" baseline="0" noProof="0" dirty="0">
                    <a:ln>
                      <a:noFill/>
                    </a:ln>
                    <a:solidFill>
                      <a:prstClr val="black">
                        <a:lumMod val="50000"/>
                        <a:lumOff val="50000"/>
                      </a:prstClr>
                    </a:solidFill>
                    <a:effectLst/>
                    <a:uLnTx/>
                    <a:uFillTx/>
                    <a:latin typeface="HarmonyOS Sans SC"/>
                    <a:cs typeface="+mn-cs"/>
                  </a:rPr>
                  <a:t>Apparently we had reached a great height in the.</a:t>
                </a:r>
              </a:p>
            </p:txBody>
          </p:sp>
        </p:grpSp>
      </p:grpSp>
      <p:grpSp>
        <p:nvGrpSpPr>
          <p:cNvPr id="88" name="组合 87">
            <a:extLst>
              <a:ext uri="{FF2B5EF4-FFF2-40B4-BE49-F238E27FC236}">
                <a16:creationId xmlns:a16="http://schemas.microsoft.com/office/drawing/2014/main" id="{14D3D881-C536-497F-88E8-F0F3113B5E18}"/>
              </a:ext>
            </a:extLst>
          </p:cNvPr>
          <p:cNvGrpSpPr/>
          <p:nvPr/>
        </p:nvGrpSpPr>
        <p:grpSpPr>
          <a:xfrm flipH="1">
            <a:off x="7586707" y="1825592"/>
            <a:ext cx="2405772" cy="881603"/>
            <a:chOff x="1239837" y="2692095"/>
            <a:chExt cx="2405772" cy="881603"/>
          </a:xfrm>
        </p:grpSpPr>
        <p:sp>
          <p:nvSpPr>
            <p:cNvPr id="95" name="TextBox 65">
              <a:extLst>
                <a:ext uri="{FF2B5EF4-FFF2-40B4-BE49-F238E27FC236}">
                  <a16:creationId xmlns:a16="http://schemas.microsoft.com/office/drawing/2014/main" id="{C7BD80BC-A16D-403C-BB98-C6D487A8BD8A}"/>
                </a:ext>
              </a:extLst>
            </p:cNvPr>
            <p:cNvSpPr txBox="1"/>
            <p:nvPr/>
          </p:nvSpPr>
          <p:spPr>
            <a:xfrm>
              <a:off x="1589348" y="2692095"/>
              <a:ext cx="2056261" cy="387598"/>
            </a:xfrm>
            <a:prstGeom prst="rect">
              <a:avLst/>
            </a:prstGeom>
            <a:noFill/>
          </p:spPr>
          <p:txBody>
            <a:bodyPr wrap="square" lIns="0" tIns="36000" rIns="0" bIns="36000" rtlCol="0">
              <a:spAutoFit/>
            </a:bodyPr>
            <a:lstStyle/>
            <a:p>
              <a:pPr marL="0" marR="0" lvl="0" indent="0" algn="l" defTabSz="914400" rtl="0" eaLnBrk="1" fontAlgn="auto" latinLnBrk="0" hangingPunct="1">
                <a:lnSpc>
                  <a:spcPct val="120000"/>
                </a:lnSpc>
                <a:spcBef>
                  <a:spcPts val="600"/>
                </a:spcBef>
                <a:spcAft>
                  <a:spcPts val="0"/>
                </a:spcAft>
                <a:buClrTx/>
                <a:buSzTx/>
                <a:buFontTx/>
                <a:buNone/>
                <a:tabLst/>
                <a:defRPr/>
              </a:pPr>
              <a:r>
                <a:rPr kumimoji="0" lang="zh-CN" altLang="en-US" sz="1800" b="0" i="0" u="none" strike="noStrike" kern="1200" cap="none" spc="0" normalizeH="0" baseline="0" noProof="0" dirty="0">
                  <a:ln>
                    <a:noFill/>
                  </a:ln>
                  <a:solidFill>
                    <a:schemeClr val="accent1"/>
                  </a:solidFill>
                  <a:effectLst/>
                  <a:uLnTx/>
                  <a:uFillTx/>
                  <a:latin typeface="HarmonyOS Sans SC Black"/>
                  <a:ea typeface="+mj-ea"/>
                  <a:cs typeface="+mn-cs"/>
                </a:rPr>
                <a:t>关键词标题</a:t>
              </a:r>
              <a:endParaRPr kumimoji="0" lang="en-US" sz="1800" b="0" i="0" u="none" strike="noStrike" kern="1200" cap="none" spc="0" normalizeH="0" baseline="0" noProof="0" dirty="0">
                <a:ln>
                  <a:noFill/>
                </a:ln>
                <a:solidFill>
                  <a:schemeClr val="accent1"/>
                </a:solidFill>
                <a:effectLst/>
                <a:uLnTx/>
                <a:uFillTx/>
                <a:latin typeface="HarmonyOS Sans SC Black"/>
                <a:ea typeface="+mj-ea"/>
                <a:cs typeface="+mn-cs"/>
              </a:endParaRPr>
            </a:p>
          </p:txBody>
        </p:sp>
        <p:sp>
          <p:nvSpPr>
            <p:cNvPr id="96" name="TextBox 65">
              <a:extLst>
                <a:ext uri="{FF2B5EF4-FFF2-40B4-BE49-F238E27FC236}">
                  <a16:creationId xmlns:a16="http://schemas.microsoft.com/office/drawing/2014/main" id="{2C9CF355-D2BE-47C7-8C7C-2993715075D9}"/>
                </a:ext>
              </a:extLst>
            </p:cNvPr>
            <p:cNvSpPr txBox="1"/>
            <p:nvPr/>
          </p:nvSpPr>
          <p:spPr>
            <a:xfrm>
              <a:off x="1239837" y="3075494"/>
              <a:ext cx="2405772" cy="498204"/>
            </a:xfrm>
            <a:prstGeom prst="rect">
              <a:avLst/>
            </a:prstGeom>
            <a:noFill/>
          </p:spPr>
          <p:txBody>
            <a:bodyPr wrap="square" lIns="0" tIns="36000" rIns="0" bIns="36000" rtlCol="0">
              <a:spAutoFit/>
            </a:bodyPr>
            <a:lstStyle/>
            <a:p>
              <a:pPr marL="0" marR="0" lvl="0" indent="0" algn="l" defTabSz="914400" rtl="0" eaLnBrk="1" fontAlgn="auto" latinLnBrk="0" hangingPunct="1">
                <a:lnSpc>
                  <a:spcPct val="120000"/>
                </a:lnSpc>
                <a:spcBef>
                  <a:spcPts val="600"/>
                </a:spcBef>
                <a:spcAft>
                  <a:spcPts val="0"/>
                </a:spcAft>
                <a:buClrTx/>
                <a:buSzTx/>
                <a:buFontTx/>
                <a:buNone/>
                <a:tabLst/>
                <a:defRPr/>
              </a:pPr>
              <a:r>
                <a:rPr kumimoji="0" lang="en-US" sz="1200" b="0" i="0" u="none" strike="noStrike" kern="1200" cap="none" spc="0" normalizeH="0" baseline="0" noProof="0" dirty="0">
                  <a:ln>
                    <a:noFill/>
                  </a:ln>
                  <a:solidFill>
                    <a:prstClr val="black">
                      <a:lumMod val="50000"/>
                      <a:lumOff val="50000"/>
                    </a:prstClr>
                  </a:solidFill>
                  <a:effectLst/>
                  <a:uLnTx/>
                  <a:uFillTx/>
                  <a:latin typeface="HarmonyOS Sans SC"/>
                  <a:cs typeface="+mn-cs"/>
                </a:rPr>
                <a:t>Apparently we had reached a great height in the.</a:t>
              </a:r>
            </a:p>
          </p:txBody>
        </p:sp>
      </p:grpSp>
      <p:grpSp>
        <p:nvGrpSpPr>
          <p:cNvPr id="89" name="组合 88">
            <a:extLst>
              <a:ext uri="{FF2B5EF4-FFF2-40B4-BE49-F238E27FC236}">
                <a16:creationId xmlns:a16="http://schemas.microsoft.com/office/drawing/2014/main" id="{7D49B514-1662-4ED5-B405-4D751076A7A4}"/>
              </a:ext>
            </a:extLst>
          </p:cNvPr>
          <p:cNvGrpSpPr/>
          <p:nvPr/>
        </p:nvGrpSpPr>
        <p:grpSpPr>
          <a:xfrm flipH="1">
            <a:off x="7847373" y="3345229"/>
            <a:ext cx="2405772" cy="881603"/>
            <a:chOff x="1239837" y="2692095"/>
            <a:chExt cx="2405772" cy="881603"/>
          </a:xfrm>
        </p:grpSpPr>
        <p:sp>
          <p:nvSpPr>
            <p:cNvPr id="93" name="TextBox 65">
              <a:extLst>
                <a:ext uri="{FF2B5EF4-FFF2-40B4-BE49-F238E27FC236}">
                  <a16:creationId xmlns:a16="http://schemas.microsoft.com/office/drawing/2014/main" id="{A5F12B39-8382-4E54-9FE5-2EDD59498117}"/>
                </a:ext>
              </a:extLst>
            </p:cNvPr>
            <p:cNvSpPr txBox="1"/>
            <p:nvPr/>
          </p:nvSpPr>
          <p:spPr>
            <a:xfrm>
              <a:off x="1589348" y="2692095"/>
              <a:ext cx="2056261" cy="387598"/>
            </a:xfrm>
            <a:prstGeom prst="rect">
              <a:avLst/>
            </a:prstGeom>
            <a:noFill/>
          </p:spPr>
          <p:txBody>
            <a:bodyPr wrap="square" lIns="0" tIns="36000" rIns="0" bIns="36000" rtlCol="0">
              <a:spAutoFit/>
            </a:bodyPr>
            <a:lstStyle/>
            <a:p>
              <a:pPr marL="0" marR="0" lvl="0" indent="0" algn="l" defTabSz="914400" rtl="0" eaLnBrk="1" fontAlgn="auto" latinLnBrk="0" hangingPunct="1">
                <a:lnSpc>
                  <a:spcPct val="120000"/>
                </a:lnSpc>
                <a:spcBef>
                  <a:spcPts val="600"/>
                </a:spcBef>
                <a:spcAft>
                  <a:spcPts val="0"/>
                </a:spcAft>
                <a:buClrTx/>
                <a:buSzTx/>
                <a:buFontTx/>
                <a:buNone/>
                <a:tabLst/>
                <a:defRPr/>
              </a:pPr>
              <a:r>
                <a:rPr kumimoji="0" lang="zh-CN" altLang="en-US" sz="1800" b="0" i="0" u="none" strike="noStrike" kern="1200" cap="none" spc="0" normalizeH="0" baseline="0" noProof="0" dirty="0">
                  <a:ln>
                    <a:noFill/>
                  </a:ln>
                  <a:solidFill>
                    <a:schemeClr val="accent1"/>
                  </a:solidFill>
                  <a:effectLst/>
                  <a:uLnTx/>
                  <a:uFillTx/>
                  <a:latin typeface="HarmonyOS Sans SC Black"/>
                  <a:ea typeface="+mj-ea"/>
                  <a:cs typeface="+mn-cs"/>
                </a:rPr>
                <a:t>关键词标题</a:t>
              </a:r>
              <a:endParaRPr kumimoji="0" lang="en-US" sz="1800" b="0" i="0" u="none" strike="noStrike" kern="1200" cap="none" spc="0" normalizeH="0" baseline="0" noProof="0" dirty="0">
                <a:ln>
                  <a:noFill/>
                </a:ln>
                <a:solidFill>
                  <a:schemeClr val="accent1"/>
                </a:solidFill>
                <a:effectLst/>
                <a:uLnTx/>
                <a:uFillTx/>
                <a:latin typeface="HarmonyOS Sans SC Black"/>
                <a:ea typeface="+mj-ea"/>
                <a:cs typeface="+mn-cs"/>
              </a:endParaRPr>
            </a:p>
          </p:txBody>
        </p:sp>
        <p:sp>
          <p:nvSpPr>
            <p:cNvPr id="94" name="TextBox 65">
              <a:extLst>
                <a:ext uri="{FF2B5EF4-FFF2-40B4-BE49-F238E27FC236}">
                  <a16:creationId xmlns:a16="http://schemas.microsoft.com/office/drawing/2014/main" id="{F90C799C-B6DE-4E65-B71B-AAB47CF485A6}"/>
                </a:ext>
              </a:extLst>
            </p:cNvPr>
            <p:cNvSpPr txBox="1"/>
            <p:nvPr/>
          </p:nvSpPr>
          <p:spPr>
            <a:xfrm>
              <a:off x="1239837" y="3075494"/>
              <a:ext cx="2405772" cy="498204"/>
            </a:xfrm>
            <a:prstGeom prst="rect">
              <a:avLst/>
            </a:prstGeom>
            <a:noFill/>
          </p:spPr>
          <p:txBody>
            <a:bodyPr wrap="square" lIns="0" tIns="36000" rIns="0" bIns="36000" rtlCol="0">
              <a:spAutoFit/>
            </a:bodyPr>
            <a:lstStyle/>
            <a:p>
              <a:pPr marL="0" marR="0" lvl="0" indent="0" algn="l" defTabSz="914400" rtl="0" eaLnBrk="1" fontAlgn="auto" latinLnBrk="0" hangingPunct="1">
                <a:lnSpc>
                  <a:spcPct val="120000"/>
                </a:lnSpc>
                <a:spcBef>
                  <a:spcPts val="600"/>
                </a:spcBef>
                <a:spcAft>
                  <a:spcPts val="0"/>
                </a:spcAft>
                <a:buClrTx/>
                <a:buSzTx/>
                <a:buFontTx/>
                <a:buNone/>
                <a:tabLst/>
                <a:defRPr/>
              </a:pPr>
              <a:r>
                <a:rPr kumimoji="0" lang="en-US" sz="1200" b="0" i="0" u="none" strike="noStrike" kern="1200" cap="none" spc="0" normalizeH="0" baseline="0" noProof="0" dirty="0">
                  <a:ln>
                    <a:noFill/>
                  </a:ln>
                  <a:solidFill>
                    <a:prstClr val="black">
                      <a:lumMod val="50000"/>
                      <a:lumOff val="50000"/>
                    </a:prstClr>
                  </a:solidFill>
                  <a:effectLst/>
                  <a:uLnTx/>
                  <a:uFillTx/>
                  <a:latin typeface="HarmonyOS Sans SC"/>
                  <a:cs typeface="+mn-cs"/>
                </a:rPr>
                <a:t>Apparently we had reached a great height in the.</a:t>
              </a:r>
            </a:p>
          </p:txBody>
        </p:sp>
      </p:grpSp>
      <p:grpSp>
        <p:nvGrpSpPr>
          <p:cNvPr id="90" name="组合 89">
            <a:extLst>
              <a:ext uri="{FF2B5EF4-FFF2-40B4-BE49-F238E27FC236}">
                <a16:creationId xmlns:a16="http://schemas.microsoft.com/office/drawing/2014/main" id="{A5AA69C3-C57E-4D39-8333-301EC7A43FF8}"/>
              </a:ext>
            </a:extLst>
          </p:cNvPr>
          <p:cNvGrpSpPr/>
          <p:nvPr/>
        </p:nvGrpSpPr>
        <p:grpSpPr>
          <a:xfrm flipH="1">
            <a:off x="7586707" y="4781320"/>
            <a:ext cx="2405772" cy="881603"/>
            <a:chOff x="1239837" y="2692095"/>
            <a:chExt cx="2405772" cy="881603"/>
          </a:xfrm>
        </p:grpSpPr>
        <p:sp>
          <p:nvSpPr>
            <p:cNvPr id="91" name="TextBox 65">
              <a:extLst>
                <a:ext uri="{FF2B5EF4-FFF2-40B4-BE49-F238E27FC236}">
                  <a16:creationId xmlns:a16="http://schemas.microsoft.com/office/drawing/2014/main" id="{1CCBC988-728B-40A2-A7C3-90DB6D0AEB02}"/>
                </a:ext>
              </a:extLst>
            </p:cNvPr>
            <p:cNvSpPr txBox="1"/>
            <p:nvPr/>
          </p:nvSpPr>
          <p:spPr>
            <a:xfrm>
              <a:off x="1589348" y="2692095"/>
              <a:ext cx="2056261" cy="387598"/>
            </a:xfrm>
            <a:prstGeom prst="rect">
              <a:avLst/>
            </a:prstGeom>
            <a:noFill/>
          </p:spPr>
          <p:txBody>
            <a:bodyPr wrap="square" lIns="0" tIns="36000" rIns="0" bIns="36000" rtlCol="0">
              <a:spAutoFit/>
            </a:bodyPr>
            <a:lstStyle/>
            <a:p>
              <a:pPr marL="0" marR="0" lvl="0" indent="0" algn="l" defTabSz="914400" rtl="0" eaLnBrk="1" fontAlgn="auto" latinLnBrk="0" hangingPunct="1">
                <a:lnSpc>
                  <a:spcPct val="120000"/>
                </a:lnSpc>
                <a:spcBef>
                  <a:spcPts val="600"/>
                </a:spcBef>
                <a:spcAft>
                  <a:spcPts val="0"/>
                </a:spcAft>
                <a:buClrTx/>
                <a:buSzTx/>
                <a:buFontTx/>
                <a:buNone/>
                <a:tabLst/>
                <a:defRPr/>
              </a:pPr>
              <a:r>
                <a:rPr kumimoji="0" lang="zh-CN" altLang="en-US" sz="1800" b="0" i="0" u="none" strike="noStrike" kern="1200" cap="none" spc="0" normalizeH="0" baseline="0" noProof="0" dirty="0">
                  <a:ln>
                    <a:noFill/>
                  </a:ln>
                  <a:solidFill>
                    <a:schemeClr val="accent1"/>
                  </a:solidFill>
                  <a:effectLst/>
                  <a:uLnTx/>
                  <a:uFillTx/>
                  <a:latin typeface="HarmonyOS Sans SC Black"/>
                  <a:ea typeface="+mj-ea"/>
                  <a:cs typeface="+mn-cs"/>
                </a:rPr>
                <a:t>关键词标题</a:t>
              </a:r>
              <a:endParaRPr kumimoji="0" lang="en-US" sz="1800" b="0" i="0" u="none" strike="noStrike" kern="1200" cap="none" spc="0" normalizeH="0" baseline="0" noProof="0" dirty="0">
                <a:ln>
                  <a:noFill/>
                </a:ln>
                <a:solidFill>
                  <a:schemeClr val="accent1"/>
                </a:solidFill>
                <a:effectLst/>
                <a:uLnTx/>
                <a:uFillTx/>
                <a:latin typeface="HarmonyOS Sans SC Black"/>
                <a:ea typeface="+mj-ea"/>
                <a:cs typeface="+mn-cs"/>
              </a:endParaRPr>
            </a:p>
          </p:txBody>
        </p:sp>
        <p:sp>
          <p:nvSpPr>
            <p:cNvPr id="92" name="TextBox 65">
              <a:extLst>
                <a:ext uri="{FF2B5EF4-FFF2-40B4-BE49-F238E27FC236}">
                  <a16:creationId xmlns:a16="http://schemas.microsoft.com/office/drawing/2014/main" id="{BDB11690-4239-46F7-A048-9A830C80EEFC}"/>
                </a:ext>
              </a:extLst>
            </p:cNvPr>
            <p:cNvSpPr txBox="1"/>
            <p:nvPr/>
          </p:nvSpPr>
          <p:spPr>
            <a:xfrm>
              <a:off x="1239837" y="3075494"/>
              <a:ext cx="2405772" cy="498204"/>
            </a:xfrm>
            <a:prstGeom prst="rect">
              <a:avLst/>
            </a:prstGeom>
            <a:noFill/>
          </p:spPr>
          <p:txBody>
            <a:bodyPr wrap="square" lIns="0" tIns="36000" rIns="0" bIns="36000" rtlCol="0">
              <a:spAutoFit/>
            </a:bodyPr>
            <a:lstStyle/>
            <a:p>
              <a:pPr marL="0" marR="0" lvl="0" indent="0" algn="l" defTabSz="914400" rtl="0" eaLnBrk="1" fontAlgn="auto" latinLnBrk="0" hangingPunct="1">
                <a:lnSpc>
                  <a:spcPct val="120000"/>
                </a:lnSpc>
                <a:spcBef>
                  <a:spcPts val="600"/>
                </a:spcBef>
                <a:spcAft>
                  <a:spcPts val="0"/>
                </a:spcAft>
                <a:buClrTx/>
                <a:buSzTx/>
                <a:buFontTx/>
                <a:buNone/>
                <a:tabLst/>
                <a:defRPr/>
              </a:pPr>
              <a:r>
                <a:rPr kumimoji="0" lang="en-US" sz="1200" b="0" i="0" u="none" strike="noStrike" kern="1200" cap="none" spc="0" normalizeH="0" baseline="0" noProof="0" dirty="0">
                  <a:ln>
                    <a:noFill/>
                  </a:ln>
                  <a:solidFill>
                    <a:prstClr val="black">
                      <a:lumMod val="50000"/>
                      <a:lumOff val="50000"/>
                    </a:prstClr>
                  </a:solidFill>
                  <a:effectLst/>
                  <a:uLnTx/>
                  <a:uFillTx/>
                  <a:latin typeface="HarmonyOS Sans SC"/>
                  <a:cs typeface="+mn-cs"/>
                </a:rPr>
                <a:t>Apparently we had reached a great height in the.</a:t>
              </a:r>
            </a:p>
          </p:txBody>
        </p:sp>
      </p:grpSp>
    </p:spTree>
    <p:extLst>
      <p:ext uri="{BB962C8B-B14F-4D97-AF65-F5344CB8AC3E}">
        <p14:creationId xmlns:p14="http://schemas.microsoft.com/office/powerpoint/2010/main" val="795108410"/>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5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reeform 5">
            <a:extLst>
              <a:ext uri="{FF2B5EF4-FFF2-40B4-BE49-F238E27FC236}">
                <a16:creationId xmlns:a16="http://schemas.microsoft.com/office/drawing/2014/main" id="{78AE6515-5E62-4578-8D8E-9546665BB5BC}"/>
              </a:ext>
            </a:extLst>
          </p:cNvPr>
          <p:cNvSpPr>
            <a:spLocks/>
          </p:cNvSpPr>
          <p:nvPr/>
        </p:nvSpPr>
        <p:spPr bwMode="auto">
          <a:xfrm>
            <a:off x="5607050" y="4889500"/>
            <a:ext cx="1038225" cy="996950"/>
          </a:xfrm>
          <a:custGeom>
            <a:avLst/>
            <a:gdLst>
              <a:gd name="T0" fmla="*/ 435 w 435"/>
              <a:gd name="T1" fmla="*/ 416 h 418"/>
              <a:gd name="T2" fmla="*/ 364 w 435"/>
              <a:gd name="T3" fmla="*/ 354 h 418"/>
              <a:gd name="T4" fmla="*/ 218 w 435"/>
              <a:gd name="T5" fmla="*/ 298 h 418"/>
              <a:gd name="T6" fmla="*/ 218 w 435"/>
              <a:gd name="T7" fmla="*/ 298 h 418"/>
              <a:gd name="T8" fmla="*/ 72 w 435"/>
              <a:gd name="T9" fmla="*/ 355 h 418"/>
              <a:gd name="T10" fmla="*/ 2 w 435"/>
              <a:gd name="T11" fmla="*/ 418 h 418"/>
              <a:gd name="T12" fmla="*/ 0 w 435"/>
              <a:gd name="T13" fmla="*/ 2 h 418"/>
              <a:gd name="T14" fmla="*/ 71 w 435"/>
              <a:gd name="T15" fmla="*/ 64 h 418"/>
              <a:gd name="T16" fmla="*/ 217 w 435"/>
              <a:gd name="T17" fmla="*/ 120 h 418"/>
              <a:gd name="T18" fmla="*/ 217 w 435"/>
              <a:gd name="T19" fmla="*/ 120 h 418"/>
              <a:gd name="T20" fmla="*/ 363 w 435"/>
              <a:gd name="T21" fmla="*/ 63 h 418"/>
              <a:gd name="T22" fmla="*/ 434 w 435"/>
              <a:gd name="T23" fmla="*/ 0 h 418"/>
              <a:gd name="T24" fmla="*/ 435 w 435"/>
              <a:gd name="T25" fmla="*/ 416 h 4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5" h="418">
                <a:moveTo>
                  <a:pt x="435" y="416"/>
                </a:moveTo>
                <a:cubicBezTo>
                  <a:pt x="364" y="354"/>
                  <a:pt x="364" y="354"/>
                  <a:pt x="364" y="354"/>
                </a:cubicBezTo>
                <a:cubicBezTo>
                  <a:pt x="364" y="354"/>
                  <a:pt x="297" y="298"/>
                  <a:pt x="218" y="298"/>
                </a:cubicBezTo>
                <a:cubicBezTo>
                  <a:pt x="218" y="298"/>
                  <a:pt x="218" y="298"/>
                  <a:pt x="218" y="298"/>
                </a:cubicBezTo>
                <a:cubicBezTo>
                  <a:pt x="139" y="298"/>
                  <a:pt x="73" y="355"/>
                  <a:pt x="72" y="355"/>
                </a:cubicBezTo>
                <a:cubicBezTo>
                  <a:pt x="2" y="418"/>
                  <a:pt x="2" y="418"/>
                  <a:pt x="2" y="418"/>
                </a:cubicBezTo>
                <a:cubicBezTo>
                  <a:pt x="0" y="2"/>
                  <a:pt x="0" y="2"/>
                  <a:pt x="0" y="2"/>
                </a:cubicBezTo>
                <a:cubicBezTo>
                  <a:pt x="71" y="64"/>
                  <a:pt x="71" y="64"/>
                  <a:pt x="71" y="64"/>
                </a:cubicBezTo>
                <a:cubicBezTo>
                  <a:pt x="72" y="64"/>
                  <a:pt x="138" y="120"/>
                  <a:pt x="217" y="120"/>
                </a:cubicBezTo>
                <a:cubicBezTo>
                  <a:pt x="217" y="120"/>
                  <a:pt x="217" y="120"/>
                  <a:pt x="217" y="120"/>
                </a:cubicBezTo>
                <a:cubicBezTo>
                  <a:pt x="296" y="120"/>
                  <a:pt x="362" y="63"/>
                  <a:pt x="363" y="63"/>
                </a:cubicBezTo>
                <a:cubicBezTo>
                  <a:pt x="434" y="0"/>
                  <a:pt x="434" y="0"/>
                  <a:pt x="434" y="0"/>
                </a:cubicBezTo>
                <a:lnTo>
                  <a:pt x="435" y="416"/>
                </a:lnTo>
                <a:close/>
              </a:path>
            </a:pathLst>
          </a:custGeom>
          <a:solidFill>
            <a:schemeClr val="accent1">
              <a:alpha val="26000"/>
            </a:schemeClr>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33333"/>
              </a:solidFill>
              <a:effectLst/>
              <a:uLnTx/>
              <a:uFillTx/>
              <a:latin typeface="Open Sans"/>
              <a:ea typeface="+mn-ea"/>
              <a:cs typeface="+mn-cs"/>
            </a:endParaRPr>
          </a:p>
        </p:txBody>
      </p:sp>
      <p:sp>
        <p:nvSpPr>
          <p:cNvPr id="5" name="Freeform 6">
            <a:extLst>
              <a:ext uri="{FF2B5EF4-FFF2-40B4-BE49-F238E27FC236}">
                <a16:creationId xmlns:a16="http://schemas.microsoft.com/office/drawing/2014/main" id="{DDC582CE-ED70-49C5-928B-27168773DA75}"/>
              </a:ext>
            </a:extLst>
          </p:cNvPr>
          <p:cNvSpPr>
            <a:spLocks/>
          </p:cNvSpPr>
          <p:nvPr/>
        </p:nvSpPr>
        <p:spPr bwMode="auto">
          <a:xfrm>
            <a:off x="6545263" y="3984625"/>
            <a:ext cx="1227138" cy="1298575"/>
          </a:xfrm>
          <a:custGeom>
            <a:avLst/>
            <a:gdLst>
              <a:gd name="T0" fmla="*/ 212 w 514"/>
              <a:gd name="T1" fmla="*/ 29 h 544"/>
              <a:gd name="T2" fmla="*/ 514 w 514"/>
              <a:gd name="T3" fmla="*/ 131 h 544"/>
              <a:gd name="T4" fmla="*/ 436 w 514"/>
              <a:gd name="T5" fmla="*/ 179 h 544"/>
              <a:gd name="T6" fmla="*/ 340 w 514"/>
              <a:gd name="T7" fmla="*/ 300 h 544"/>
              <a:gd name="T8" fmla="*/ 351 w 514"/>
              <a:gd name="T9" fmla="*/ 457 h 544"/>
              <a:gd name="T10" fmla="*/ 388 w 514"/>
              <a:gd name="T11" fmla="*/ 544 h 544"/>
              <a:gd name="T12" fmla="*/ 0 w 514"/>
              <a:gd name="T13" fmla="*/ 413 h 544"/>
              <a:gd name="T14" fmla="*/ 79 w 514"/>
              <a:gd name="T15" fmla="*/ 365 h 544"/>
              <a:gd name="T16" fmla="*/ 174 w 514"/>
              <a:gd name="T17" fmla="*/ 244 h 544"/>
              <a:gd name="T18" fmla="*/ 163 w 514"/>
              <a:gd name="T19" fmla="*/ 87 h 544"/>
              <a:gd name="T20" fmla="*/ 127 w 514"/>
              <a:gd name="T21" fmla="*/ 0 h 544"/>
              <a:gd name="T22" fmla="*/ 212 w 514"/>
              <a:gd name="T23" fmla="*/ 29 h 5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4" h="544">
                <a:moveTo>
                  <a:pt x="212" y="29"/>
                </a:moveTo>
                <a:cubicBezTo>
                  <a:pt x="514" y="131"/>
                  <a:pt x="514" y="131"/>
                  <a:pt x="514" y="131"/>
                </a:cubicBezTo>
                <a:cubicBezTo>
                  <a:pt x="436" y="179"/>
                  <a:pt x="436" y="179"/>
                  <a:pt x="436" y="179"/>
                </a:cubicBezTo>
                <a:cubicBezTo>
                  <a:pt x="435" y="179"/>
                  <a:pt x="363" y="224"/>
                  <a:pt x="340" y="300"/>
                </a:cubicBezTo>
                <a:cubicBezTo>
                  <a:pt x="317" y="375"/>
                  <a:pt x="351" y="456"/>
                  <a:pt x="351" y="457"/>
                </a:cubicBezTo>
                <a:cubicBezTo>
                  <a:pt x="388" y="544"/>
                  <a:pt x="388" y="544"/>
                  <a:pt x="388" y="544"/>
                </a:cubicBezTo>
                <a:cubicBezTo>
                  <a:pt x="0" y="413"/>
                  <a:pt x="0" y="413"/>
                  <a:pt x="0" y="413"/>
                </a:cubicBezTo>
                <a:cubicBezTo>
                  <a:pt x="79" y="365"/>
                  <a:pt x="79" y="365"/>
                  <a:pt x="79" y="365"/>
                </a:cubicBezTo>
                <a:cubicBezTo>
                  <a:pt x="79" y="364"/>
                  <a:pt x="151" y="319"/>
                  <a:pt x="174" y="244"/>
                </a:cubicBezTo>
                <a:cubicBezTo>
                  <a:pt x="197" y="168"/>
                  <a:pt x="164" y="88"/>
                  <a:pt x="163" y="87"/>
                </a:cubicBezTo>
                <a:cubicBezTo>
                  <a:pt x="127" y="0"/>
                  <a:pt x="127" y="0"/>
                  <a:pt x="127" y="0"/>
                </a:cubicBezTo>
                <a:lnTo>
                  <a:pt x="212" y="29"/>
                </a:lnTo>
                <a:close/>
              </a:path>
            </a:pathLst>
          </a:custGeom>
          <a:solidFill>
            <a:schemeClr val="accent1">
              <a:alpha val="26000"/>
            </a:schemeClr>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33333"/>
              </a:solidFill>
              <a:effectLst/>
              <a:uLnTx/>
              <a:uFillTx/>
              <a:latin typeface="Open Sans"/>
              <a:ea typeface="+mn-ea"/>
              <a:cs typeface="+mn-cs"/>
            </a:endParaRPr>
          </a:p>
        </p:txBody>
      </p:sp>
      <p:sp>
        <p:nvSpPr>
          <p:cNvPr id="6" name="Freeform 7">
            <a:extLst>
              <a:ext uri="{FF2B5EF4-FFF2-40B4-BE49-F238E27FC236}">
                <a16:creationId xmlns:a16="http://schemas.microsoft.com/office/drawing/2014/main" id="{658CF156-0970-4E3B-86D3-C9A2E95FFE3E}"/>
              </a:ext>
            </a:extLst>
          </p:cNvPr>
          <p:cNvSpPr>
            <a:spLocks/>
          </p:cNvSpPr>
          <p:nvPr/>
        </p:nvSpPr>
        <p:spPr bwMode="auto">
          <a:xfrm>
            <a:off x="6073775" y="2727325"/>
            <a:ext cx="1376363" cy="1385888"/>
          </a:xfrm>
          <a:custGeom>
            <a:avLst/>
            <a:gdLst>
              <a:gd name="T0" fmla="*/ 259 w 576"/>
              <a:gd name="T1" fmla="*/ 90 h 580"/>
              <a:gd name="T2" fmla="*/ 339 w 576"/>
              <a:gd name="T3" fmla="*/ 218 h 580"/>
              <a:gd name="T4" fmla="*/ 468 w 576"/>
              <a:gd name="T5" fmla="*/ 256 h 580"/>
              <a:gd name="T6" fmla="*/ 486 w 576"/>
              <a:gd name="T7" fmla="*/ 255 h 580"/>
              <a:gd name="T8" fmla="*/ 576 w 576"/>
              <a:gd name="T9" fmla="*/ 245 h 580"/>
              <a:gd name="T10" fmla="*/ 523 w 576"/>
              <a:gd name="T11" fmla="*/ 319 h 580"/>
              <a:gd name="T12" fmla="*/ 336 w 576"/>
              <a:gd name="T13" fmla="*/ 580 h 580"/>
              <a:gd name="T14" fmla="*/ 317 w 576"/>
              <a:gd name="T15" fmla="*/ 490 h 580"/>
              <a:gd name="T16" fmla="*/ 237 w 576"/>
              <a:gd name="T17" fmla="*/ 362 h 580"/>
              <a:gd name="T18" fmla="*/ 107 w 576"/>
              <a:gd name="T19" fmla="*/ 325 h 580"/>
              <a:gd name="T20" fmla="*/ 90 w 576"/>
              <a:gd name="T21" fmla="*/ 325 h 580"/>
              <a:gd name="T22" fmla="*/ 0 w 576"/>
              <a:gd name="T23" fmla="*/ 335 h 580"/>
              <a:gd name="T24" fmla="*/ 53 w 576"/>
              <a:gd name="T25" fmla="*/ 261 h 580"/>
              <a:gd name="T26" fmla="*/ 240 w 576"/>
              <a:gd name="T27" fmla="*/ 0 h 580"/>
              <a:gd name="T28" fmla="*/ 259 w 576"/>
              <a:gd name="T29" fmla="*/ 90 h 5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76" h="580">
                <a:moveTo>
                  <a:pt x="259" y="90"/>
                </a:moveTo>
                <a:cubicBezTo>
                  <a:pt x="259" y="92"/>
                  <a:pt x="278" y="174"/>
                  <a:pt x="339" y="218"/>
                </a:cubicBezTo>
                <a:cubicBezTo>
                  <a:pt x="384" y="251"/>
                  <a:pt x="439" y="256"/>
                  <a:pt x="468" y="256"/>
                </a:cubicBezTo>
                <a:cubicBezTo>
                  <a:pt x="479" y="256"/>
                  <a:pt x="486" y="255"/>
                  <a:pt x="486" y="255"/>
                </a:cubicBezTo>
                <a:cubicBezTo>
                  <a:pt x="576" y="245"/>
                  <a:pt x="576" y="245"/>
                  <a:pt x="576" y="245"/>
                </a:cubicBezTo>
                <a:cubicBezTo>
                  <a:pt x="523" y="319"/>
                  <a:pt x="523" y="319"/>
                  <a:pt x="523" y="319"/>
                </a:cubicBezTo>
                <a:cubicBezTo>
                  <a:pt x="336" y="580"/>
                  <a:pt x="336" y="580"/>
                  <a:pt x="336" y="580"/>
                </a:cubicBezTo>
                <a:cubicBezTo>
                  <a:pt x="317" y="490"/>
                  <a:pt x="317" y="490"/>
                  <a:pt x="317" y="490"/>
                </a:cubicBezTo>
                <a:cubicBezTo>
                  <a:pt x="317" y="489"/>
                  <a:pt x="298" y="406"/>
                  <a:pt x="237" y="362"/>
                </a:cubicBezTo>
                <a:cubicBezTo>
                  <a:pt x="192" y="330"/>
                  <a:pt x="137" y="325"/>
                  <a:pt x="107" y="325"/>
                </a:cubicBezTo>
                <a:cubicBezTo>
                  <a:pt x="97" y="325"/>
                  <a:pt x="90" y="325"/>
                  <a:pt x="90" y="325"/>
                </a:cubicBezTo>
                <a:cubicBezTo>
                  <a:pt x="0" y="335"/>
                  <a:pt x="0" y="335"/>
                  <a:pt x="0" y="335"/>
                </a:cubicBezTo>
                <a:cubicBezTo>
                  <a:pt x="53" y="261"/>
                  <a:pt x="53" y="261"/>
                  <a:pt x="53" y="261"/>
                </a:cubicBezTo>
                <a:cubicBezTo>
                  <a:pt x="240" y="0"/>
                  <a:pt x="240" y="0"/>
                  <a:pt x="240" y="0"/>
                </a:cubicBezTo>
                <a:lnTo>
                  <a:pt x="259" y="90"/>
                </a:lnTo>
                <a:close/>
              </a:path>
            </a:pathLst>
          </a:custGeom>
          <a:solidFill>
            <a:schemeClr val="accent1">
              <a:alpha val="26000"/>
            </a:schemeClr>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33333"/>
              </a:solidFill>
              <a:effectLst/>
              <a:uLnTx/>
              <a:uFillTx/>
              <a:latin typeface="Open Sans"/>
              <a:ea typeface="+mn-ea"/>
              <a:cs typeface="+mn-cs"/>
            </a:endParaRPr>
          </a:p>
        </p:txBody>
      </p:sp>
      <p:sp>
        <p:nvSpPr>
          <p:cNvPr id="7" name="Freeform 8">
            <a:extLst>
              <a:ext uri="{FF2B5EF4-FFF2-40B4-BE49-F238E27FC236}">
                <a16:creationId xmlns:a16="http://schemas.microsoft.com/office/drawing/2014/main" id="{D813B448-AA57-4F7F-A76A-D5477832E8C3}"/>
              </a:ext>
            </a:extLst>
          </p:cNvPr>
          <p:cNvSpPr>
            <a:spLocks/>
          </p:cNvSpPr>
          <p:nvPr/>
        </p:nvSpPr>
        <p:spPr bwMode="auto">
          <a:xfrm>
            <a:off x="4768850" y="2751137"/>
            <a:ext cx="1439863" cy="1343025"/>
          </a:xfrm>
          <a:custGeom>
            <a:avLst/>
            <a:gdLst>
              <a:gd name="T0" fmla="*/ 603 w 603"/>
              <a:gd name="T1" fmla="*/ 323 h 562"/>
              <a:gd name="T2" fmla="*/ 508 w 603"/>
              <a:gd name="T3" fmla="*/ 314 h 562"/>
              <a:gd name="T4" fmla="*/ 492 w 603"/>
              <a:gd name="T5" fmla="*/ 314 h 562"/>
              <a:gd name="T6" fmla="*/ 356 w 603"/>
              <a:gd name="T7" fmla="*/ 350 h 562"/>
              <a:gd name="T8" fmla="*/ 273 w 603"/>
              <a:gd name="T9" fmla="*/ 475 h 562"/>
              <a:gd name="T10" fmla="*/ 253 w 603"/>
              <a:gd name="T11" fmla="*/ 562 h 562"/>
              <a:gd name="T12" fmla="*/ 197 w 603"/>
              <a:gd name="T13" fmla="*/ 491 h 562"/>
              <a:gd name="T14" fmla="*/ 0 w 603"/>
              <a:gd name="T15" fmla="*/ 239 h 562"/>
              <a:gd name="T16" fmla="*/ 95 w 603"/>
              <a:gd name="T17" fmla="*/ 248 h 562"/>
              <a:gd name="T18" fmla="*/ 111 w 603"/>
              <a:gd name="T19" fmla="*/ 249 h 562"/>
              <a:gd name="T20" fmla="*/ 247 w 603"/>
              <a:gd name="T21" fmla="*/ 212 h 562"/>
              <a:gd name="T22" fmla="*/ 331 w 603"/>
              <a:gd name="T23" fmla="*/ 87 h 562"/>
              <a:gd name="T24" fmla="*/ 350 w 603"/>
              <a:gd name="T25" fmla="*/ 0 h 562"/>
              <a:gd name="T26" fmla="*/ 603 w 603"/>
              <a:gd name="T27" fmla="*/ 323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3" h="562">
                <a:moveTo>
                  <a:pt x="603" y="323"/>
                </a:moveTo>
                <a:cubicBezTo>
                  <a:pt x="508" y="314"/>
                  <a:pt x="508" y="314"/>
                  <a:pt x="508" y="314"/>
                </a:cubicBezTo>
                <a:cubicBezTo>
                  <a:pt x="508" y="314"/>
                  <a:pt x="502" y="314"/>
                  <a:pt x="492" y="314"/>
                </a:cubicBezTo>
                <a:cubicBezTo>
                  <a:pt x="467" y="314"/>
                  <a:pt x="404" y="317"/>
                  <a:pt x="356" y="350"/>
                </a:cubicBezTo>
                <a:cubicBezTo>
                  <a:pt x="292" y="394"/>
                  <a:pt x="273" y="474"/>
                  <a:pt x="273" y="475"/>
                </a:cubicBezTo>
                <a:cubicBezTo>
                  <a:pt x="253" y="562"/>
                  <a:pt x="253" y="562"/>
                  <a:pt x="253" y="562"/>
                </a:cubicBezTo>
                <a:cubicBezTo>
                  <a:pt x="197" y="491"/>
                  <a:pt x="197" y="491"/>
                  <a:pt x="197" y="491"/>
                </a:cubicBezTo>
                <a:cubicBezTo>
                  <a:pt x="0" y="239"/>
                  <a:pt x="0" y="239"/>
                  <a:pt x="0" y="239"/>
                </a:cubicBezTo>
                <a:cubicBezTo>
                  <a:pt x="95" y="248"/>
                  <a:pt x="95" y="248"/>
                  <a:pt x="95" y="248"/>
                </a:cubicBezTo>
                <a:cubicBezTo>
                  <a:pt x="95" y="248"/>
                  <a:pt x="101" y="249"/>
                  <a:pt x="111" y="249"/>
                </a:cubicBezTo>
                <a:cubicBezTo>
                  <a:pt x="136" y="249"/>
                  <a:pt x="199" y="245"/>
                  <a:pt x="247" y="212"/>
                </a:cubicBezTo>
                <a:cubicBezTo>
                  <a:pt x="311" y="169"/>
                  <a:pt x="330" y="88"/>
                  <a:pt x="331" y="87"/>
                </a:cubicBezTo>
                <a:cubicBezTo>
                  <a:pt x="350" y="0"/>
                  <a:pt x="350" y="0"/>
                  <a:pt x="350" y="0"/>
                </a:cubicBezTo>
                <a:lnTo>
                  <a:pt x="603" y="323"/>
                </a:lnTo>
                <a:close/>
              </a:path>
            </a:pathLst>
          </a:custGeom>
          <a:solidFill>
            <a:schemeClr val="accent1">
              <a:alpha val="26000"/>
            </a:schemeClr>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33333"/>
              </a:solidFill>
              <a:effectLst/>
              <a:uLnTx/>
              <a:uFillTx/>
              <a:latin typeface="Open Sans"/>
              <a:ea typeface="+mn-ea"/>
              <a:cs typeface="+mn-cs"/>
            </a:endParaRPr>
          </a:p>
        </p:txBody>
      </p:sp>
      <p:sp>
        <p:nvSpPr>
          <p:cNvPr id="8" name="Freeform 9">
            <a:extLst>
              <a:ext uri="{FF2B5EF4-FFF2-40B4-BE49-F238E27FC236}">
                <a16:creationId xmlns:a16="http://schemas.microsoft.com/office/drawing/2014/main" id="{209BA7DB-A887-41BF-86D1-03B71286178E}"/>
              </a:ext>
            </a:extLst>
          </p:cNvPr>
          <p:cNvSpPr>
            <a:spLocks/>
          </p:cNvSpPr>
          <p:nvPr/>
        </p:nvSpPr>
        <p:spPr bwMode="auto">
          <a:xfrm>
            <a:off x="4478338" y="3989387"/>
            <a:ext cx="1235075" cy="1303338"/>
          </a:xfrm>
          <a:custGeom>
            <a:avLst/>
            <a:gdLst>
              <a:gd name="T0" fmla="*/ 352 w 517"/>
              <a:gd name="T1" fmla="*/ 87 h 546"/>
              <a:gd name="T2" fmla="*/ 342 w 517"/>
              <a:gd name="T3" fmla="*/ 244 h 546"/>
              <a:gd name="T4" fmla="*/ 439 w 517"/>
              <a:gd name="T5" fmla="*/ 365 h 546"/>
              <a:gd name="T6" fmla="*/ 517 w 517"/>
              <a:gd name="T7" fmla="*/ 412 h 546"/>
              <a:gd name="T8" fmla="*/ 431 w 517"/>
              <a:gd name="T9" fmla="*/ 441 h 546"/>
              <a:gd name="T10" fmla="*/ 128 w 517"/>
              <a:gd name="T11" fmla="*/ 546 h 546"/>
              <a:gd name="T12" fmla="*/ 165 w 517"/>
              <a:gd name="T13" fmla="*/ 458 h 546"/>
              <a:gd name="T14" fmla="*/ 175 w 517"/>
              <a:gd name="T15" fmla="*/ 301 h 546"/>
              <a:gd name="T16" fmla="*/ 78 w 517"/>
              <a:gd name="T17" fmla="*/ 181 h 546"/>
              <a:gd name="T18" fmla="*/ 0 w 517"/>
              <a:gd name="T19" fmla="*/ 134 h 546"/>
              <a:gd name="T20" fmla="*/ 86 w 517"/>
              <a:gd name="T21" fmla="*/ 104 h 546"/>
              <a:gd name="T22" fmla="*/ 389 w 517"/>
              <a:gd name="T23" fmla="*/ 0 h 546"/>
              <a:gd name="T24" fmla="*/ 352 w 517"/>
              <a:gd name="T25" fmla="*/ 87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17" h="546">
                <a:moveTo>
                  <a:pt x="352" y="87"/>
                </a:moveTo>
                <a:cubicBezTo>
                  <a:pt x="351" y="89"/>
                  <a:pt x="318" y="169"/>
                  <a:pt x="342" y="244"/>
                </a:cubicBezTo>
                <a:cubicBezTo>
                  <a:pt x="365" y="319"/>
                  <a:pt x="438" y="364"/>
                  <a:pt x="439" y="365"/>
                </a:cubicBezTo>
                <a:cubicBezTo>
                  <a:pt x="517" y="412"/>
                  <a:pt x="517" y="412"/>
                  <a:pt x="517" y="412"/>
                </a:cubicBezTo>
                <a:cubicBezTo>
                  <a:pt x="431" y="441"/>
                  <a:pt x="431" y="441"/>
                  <a:pt x="431" y="441"/>
                </a:cubicBezTo>
                <a:cubicBezTo>
                  <a:pt x="128" y="546"/>
                  <a:pt x="128" y="546"/>
                  <a:pt x="128" y="546"/>
                </a:cubicBezTo>
                <a:cubicBezTo>
                  <a:pt x="165" y="458"/>
                  <a:pt x="165" y="458"/>
                  <a:pt x="165" y="458"/>
                </a:cubicBezTo>
                <a:cubicBezTo>
                  <a:pt x="166" y="458"/>
                  <a:pt x="199" y="377"/>
                  <a:pt x="175" y="301"/>
                </a:cubicBezTo>
                <a:cubicBezTo>
                  <a:pt x="152" y="226"/>
                  <a:pt x="79" y="181"/>
                  <a:pt x="78" y="181"/>
                </a:cubicBezTo>
                <a:cubicBezTo>
                  <a:pt x="0" y="134"/>
                  <a:pt x="0" y="134"/>
                  <a:pt x="0" y="134"/>
                </a:cubicBezTo>
                <a:cubicBezTo>
                  <a:pt x="86" y="104"/>
                  <a:pt x="86" y="104"/>
                  <a:pt x="86" y="104"/>
                </a:cubicBezTo>
                <a:cubicBezTo>
                  <a:pt x="389" y="0"/>
                  <a:pt x="389" y="0"/>
                  <a:pt x="389" y="0"/>
                </a:cubicBezTo>
                <a:lnTo>
                  <a:pt x="352" y="87"/>
                </a:lnTo>
                <a:close/>
              </a:path>
            </a:pathLst>
          </a:custGeom>
          <a:solidFill>
            <a:schemeClr val="accent1">
              <a:alpha val="26000"/>
            </a:schemeClr>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33333"/>
              </a:solidFill>
              <a:effectLst/>
              <a:uLnTx/>
              <a:uFillTx/>
              <a:latin typeface="Open Sans"/>
              <a:ea typeface="+mn-ea"/>
              <a:cs typeface="+mn-cs"/>
            </a:endParaRPr>
          </a:p>
        </p:txBody>
      </p:sp>
      <p:sp>
        <p:nvSpPr>
          <p:cNvPr id="9" name="Oval 18">
            <a:extLst>
              <a:ext uri="{FF2B5EF4-FFF2-40B4-BE49-F238E27FC236}">
                <a16:creationId xmlns:a16="http://schemas.microsoft.com/office/drawing/2014/main" id="{10291A1B-CF02-4227-81CF-12724B6944A0}"/>
              </a:ext>
            </a:extLst>
          </p:cNvPr>
          <p:cNvSpPr/>
          <p:nvPr/>
        </p:nvSpPr>
        <p:spPr>
          <a:xfrm>
            <a:off x="5547515" y="2382441"/>
            <a:ext cx="1148560" cy="1148558"/>
          </a:xfrm>
          <a:prstGeom prst="ellipse">
            <a:avLst/>
          </a:prstGeom>
          <a:gradFill>
            <a:gsLst>
              <a:gs pos="73000">
                <a:schemeClr val="accent1"/>
              </a:gs>
              <a:gs pos="31000">
                <a:schemeClr val="accent1">
                  <a:lumMod val="60000"/>
                  <a:lumOff val="40000"/>
                </a:schemeClr>
              </a:gs>
              <a:gs pos="0">
                <a:schemeClr val="accent1">
                  <a:lumMod val="40000"/>
                  <a:lumOff val="60000"/>
                </a:schemeClr>
              </a:gs>
            </a:gsLst>
            <a:path path="circle">
              <a:fillToRect r="100000" b="100000"/>
            </a:path>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HarmonyOS Sans SC"/>
              <a:cs typeface="+mn-cs"/>
            </a:endParaRPr>
          </a:p>
        </p:txBody>
      </p:sp>
      <p:sp>
        <p:nvSpPr>
          <p:cNvPr id="10" name="Oval 19">
            <a:extLst>
              <a:ext uri="{FF2B5EF4-FFF2-40B4-BE49-F238E27FC236}">
                <a16:creationId xmlns:a16="http://schemas.microsoft.com/office/drawing/2014/main" id="{66483FDD-E214-4F91-B6BA-110CC97BE6D6}"/>
              </a:ext>
            </a:extLst>
          </p:cNvPr>
          <p:cNvSpPr/>
          <p:nvPr/>
        </p:nvSpPr>
        <p:spPr>
          <a:xfrm>
            <a:off x="6820818" y="3302488"/>
            <a:ext cx="1148560" cy="1148558"/>
          </a:xfrm>
          <a:prstGeom prst="ellipse">
            <a:avLst/>
          </a:prstGeom>
          <a:gradFill>
            <a:gsLst>
              <a:gs pos="73000">
                <a:schemeClr val="accent1"/>
              </a:gs>
              <a:gs pos="31000">
                <a:schemeClr val="accent1">
                  <a:lumMod val="60000"/>
                  <a:lumOff val="40000"/>
                </a:schemeClr>
              </a:gs>
              <a:gs pos="0">
                <a:schemeClr val="accent1">
                  <a:lumMod val="40000"/>
                  <a:lumOff val="60000"/>
                </a:schemeClr>
              </a:gs>
            </a:gsLst>
            <a:path path="circle">
              <a:fillToRect r="100000" b="100000"/>
            </a:path>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HarmonyOS Sans SC"/>
              <a:cs typeface="+mn-cs"/>
            </a:endParaRPr>
          </a:p>
        </p:txBody>
      </p:sp>
      <p:sp>
        <p:nvSpPr>
          <p:cNvPr id="11" name="Oval 20">
            <a:extLst>
              <a:ext uri="{FF2B5EF4-FFF2-40B4-BE49-F238E27FC236}">
                <a16:creationId xmlns:a16="http://schemas.microsoft.com/office/drawing/2014/main" id="{3706B8F6-E622-4646-B6AE-55C1C2C50F52}"/>
              </a:ext>
            </a:extLst>
          </p:cNvPr>
          <p:cNvSpPr/>
          <p:nvPr/>
        </p:nvSpPr>
        <p:spPr>
          <a:xfrm>
            <a:off x="4281361" y="3302488"/>
            <a:ext cx="1148560" cy="1148558"/>
          </a:xfrm>
          <a:prstGeom prst="ellipse">
            <a:avLst/>
          </a:prstGeom>
          <a:gradFill>
            <a:gsLst>
              <a:gs pos="73000">
                <a:schemeClr val="accent1"/>
              </a:gs>
              <a:gs pos="31000">
                <a:schemeClr val="accent1">
                  <a:lumMod val="60000"/>
                  <a:lumOff val="40000"/>
                </a:schemeClr>
              </a:gs>
              <a:gs pos="0">
                <a:schemeClr val="accent1">
                  <a:lumMod val="40000"/>
                  <a:lumOff val="60000"/>
                </a:schemeClr>
              </a:gs>
            </a:gsLst>
            <a:path path="circle">
              <a:fillToRect r="100000" b="100000"/>
            </a:path>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HarmonyOS Sans SC"/>
              <a:cs typeface="+mn-cs"/>
            </a:endParaRPr>
          </a:p>
        </p:txBody>
      </p:sp>
      <p:sp>
        <p:nvSpPr>
          <p:cNvPr id="12" name="Oval 21">
            <a:extLst>
              <a:ext uri="{FF2B5EF4-FFF2-40B4-BE49-F238E27FC236}">
                <a16:creationId xmlns:a16="http://schemas.microsoft.com/office/drawing/2014/main" id="{6F729EC0-C4E0-4AFA-AE69-6FDA7A22EF44}"/>
              </a:ext>
            </a:extLst>
          </p:cNvPr>
          <p:cNvSpPr/>
          <p:nvPr/>
        </p:nvSpPr>
        <p:spPr>
          <a:xfrm>
            <a:off x="4761830" y="4802016"/>
            <a:ext cx="1148560" cy="1148558"/>
          </a:xfrm>
          <a:prstGeom prst="ellipse">
            <a:avLst/>
          </a:prstGeom>
          <a:gradFill>
            <a:gsLst>
              <a:gs pos="73000">
                <a:schemeClr val="accent1"/>
              </a:gs>
              <a:gs pos="31000">
                <a:schemeClr val="accent1">
                  <a:lumMod val="60000"/>
                  <a:lumOff val="40000"/>
                </a:schemeClr>
              </a:gs>
              <a:gs pos="0">
                <a:schemeClr val="accent1">
                  <a:lumMod val="40000"/>
                  <a:lumOff val="60000"/>
                </a:schemeClr>
              </a:gs>
            </a:gsLst>
            <a:path path="circle">
              <a:fillToRect r="100000" b="100000"/>
            </a:path>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HarmonyOS Sans SC"/>
              <a:cs typeface="+mn-cs"/>
            </a:endParaRPr>
          </a:p>
        </p:txBody>
      </p:sp>
      <p:sp>
        <p:nvSpPr>
          <p:cNvPr id="13" name="Oval 22">
            <a:extLst>
              <a:ext uri="{FF2B5EF4-FFF2-40B4-BE49-F238E27FC236}">
                <a16:creationId xmlns:a16="http://schemas.microsoft.com/office/drawing/2014/main" id="{A3F16B98-17B9-4106-ABBC-0BB424C9CFA3}"/>
              </a:ext>
            </a:extLst>
          </p:cNvPr>
          <p:cNvSpPr/>
          <p:nvPr/>
        </p:nvSpPr>
        <p:spPr>
          <a:xfrm>
            <a:off x="6341393" y="4802016"/>
            <a:ext cx="1148560" cy="1148558"/>
          </a:xfrm>
          <a:prstGeom prst="ellipse">
            <a:avLst/>
          </a:prstGeom>
          <a:gradFill>
            <a:gsLst>
              <a:gs pos="73000">
                <a:schemeClr val="accent1"/>
              </a:gs>
              <a:gs pos="31000">
                <a:schemeClr val="accent1">
                  <a:lumMod val="60000"/>
                  <a:lumOff val="40000"/>
                </a:schemeClr>
              </a:gs>
              <a:gs pos="0">
                <a:schemeClr val="accent1">
                  <a:lumMod val="40000"/>
                  <a:lumOff val="60000"/>
                </a:schemeClr>
              </a:gs>
            </a:gsLst>
            <a:path path="circle">
              <a:fillToRect r="100000" b="100000"/>
            </a:path>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HarmonyOS Sans SC"/>
              <a:cs typeface="+mn-cs"/>
            </a:endParaRPr>
          </a:p>
        </p:txBody>
      </p:sp>
      <p:sp>
        <p:nvSpPr>
          <p:cNvPr id="14" name="Freeform 5">
            <a:extLst>
              <a:ext uri="{FF2B5EF4-FFF2-40B4-BE49-F238E27FC236}">
                <a16:creationId xmlns:a16="http://schemas.microsoft.com/office/drawing/2014/main" id="{1B54D4B1-748D-4E93-B2DA-8DB484785170}"/>
              </a:ext>
            </a:extLst>
          </p:cNvPr>
          <p:cNvSpPr>
            <a:spLocks/>
          </p:cNvSpPr>
          <p:nvPr/>
        </p:nvSpPr>
        <p:spPr bwMode="auto">
          <a:xfrm>
            <a:off x="4757738" y="2611438"/>
            <a:ext cx="701675" cy="536575"/>
          </a:xfrm>
          <a:custGeom>
            <a:avLst/>
            <a:gdLst>
              <a:gd name="T0" fmla="*/ 269 w 295"/>
              <a:gd name="T1" fmla="*/ 13 h 225"/>
              <a:gd name="T2" fmla="*/ 113 w 295"/>
              <a:gd name="T3" fmla="*/ 71 h 225"/>
              <a:gd name="T4" fmla="*/ 0 w 295"/>
              <a:gd name="T5" fmla="*/ 224 h 225"/>
              <a:gd name="T6" fmla="*/ 4 w 295"/>
              <a:gd name="T7" fmla="*/ 225 h 225"/>
              <a:gd name="T8" fmla="*/ 116 w 295"/>
              <a:gd name="T9" fmla="*/ 74 h 225"/>
              <a:gd name="T10" fmla="*/ 269 w 295"/>
              <a:gd name="T11" fmla="*/ 17 h 225"/>
              <a:gd name="T12" fmla="*/ 271 w 295"/>
              <a:gd name="T13" fmla="*/ 30 h 225"/>
              <a:gd name="T14" fmla="*/ 295 w 295"/>
              <a:gd name="T15" fmla="*/ 12 h 225"/>
              <a:gd name="T16" fmla="*/ 268 w 295"/>
              <a:gd name="T17" fmla="*/ 0 h 225"/>
              <a:gd name="T18" fmla="*/ 269 w 295"/>
              <a:gd name="T19" fmla="*/ 13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5" h="225">
                <a:moveTo>
                  <a:pt x="269" y="13"/>
                </a:moveTo>
                <a:cubicBezTo>
                  <a:pt x="232" y="18"/>
                  <a:pt x="167" y="32"/>
                  <a:pt x="113" y="71"/>
                </a:cubicBezTo>
                <a:cubicBezTo>
                  <a:pt x="36" y="127"/>
                  <a:pt x="1" y="223"/>
                  <a:pt x="0" y="224"/>
                </a:cubicBezTo>
                <a:cubicBezTo>
                  <a:pt x="4" y="225"/>
                  <a:pt x="4" y="225"/>
                  <a:pt x="4" y="225"/>
                </a:cubicBezTo>
                <a:cubicBezTo>
                  <a:pt x="5" y="224"/>
                  <a:pt x="40" y="130"/>
                  <a:pt x="116" y="74"/>
                </a:cubicBezTo>
                <a:cubicBezTo>
                  <a:pt x="169" y="36"/>
                  <a:pt x="233" y="22"/>
                  <a:pt x="269" y="17"/>
                </a:cubicBezTo>
                <a:cubicBezTo>
                  <a:pt x="271" y="30"/>
                  <a:pt x="271" y="30"/>
                  <a:pt x="271" y="30"/>
                </a:cubicBezTo>
                <a:cubicBezTo>
                  <a:pt x="295" y="12"/>
                  <a:pt x="295" y="12"/>
                  <a:pt x="295" y="12"/>
                </a:cubicBezTo>
                <a:cubicBezTo>
                  <a:pt x="268" y="0"/>
                  <a:pt x="268" y="0"/>
                  <a:pt x="268" y="0"/>
                </a:cubicBezTo>
                <a:lnTo>
                  <a:pt x="269" y="13"/>
                </a:lnTo>
                <a:close/>
              </a:path>
            </a:pathLst>
          </a:custGeom>
          <a:gradFill flip="none" rotWithShape="1">
            <a:gsLst>
              <a:gs pos="43000">
                <a:schemeClr val="accent1"/>
              </a:gs>
              <a:gs pos="97345">
                <a:schemeClr val="accent1">
                  <a:lumMod val="20000"/>
                  <a:lumOff val="80000"/>
                </a:schemeClr>
              </a:gs>
              <a:gs pos="81000">
                <a:schemeClr val="accent1">
                  <a:lumMod val="40000"/>
                  <a:lumOff val="60000"/>
                </a:schemeClr>
              </a:gs>
              <a:gs pos="62000">
                <a:schemeClr val="accent1">
                  <a:lumMod val="60000"/>
                  <a:lumOff val="40000"/>
                </a:schemeClr>
              </a:gs>
            </a:gsLst>
            <a:lin ang="1080000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33333"/>
              </a:solidFill>
              <a:effectLst/>
              <a:uLnTx/>
              <a:uFillTx/>
              <a:latin typeface="Open Sans"/>
              <a:ea typeface="+mn-ea"/>
              <a:cs typeface="+mn-cs"/>
            </a:endParaRPr>
          </a:p>
        </p:txBody>
      </p:sp>
      <p:sp>
        <p:nvSpPr>
          <p:cNvPr id="15" name="Freeform 6">
            <a:extLst>
              <a:ext uri="{FF2B5EF4-FFF2-40B4-BE49-F238E27FC236}">
                <a16:creationId xmlns:a16="http://schemas.microsoft.com/office/drawing/2014/main" id="{0BF24ECC-3177-47ED-BDB1-8742FFB5784E}"/>
              </a:ext>
            </a:extLst>
          </p:cNvPr>
          <p:cNvSpPr>
            <a:spLocks/>
          </p:cNvSpPr>
          <p:nvPr/>
        </p:nvSpPr>
        <p:spPr bwMode="auto">
          <a:xfrm>
            <a:off x="4313237" y="4367213"/>
            <a:ext cx="319088" cy="823912"/>
          </a:xfrm>
          <a:custGeom>
            <a:avLst/>
            <a:gdLst>
              <a:gd name="T0" fmla="*/ 25 w 134"/>
              <a:gd name="T1" fmla="*/ 190 h 346"/>
              <a:gd name="T2" fmla="*/ 17 w 134"/>
              <a:gd name="T3" fmla="*/ 26 h 346"/>
              <a:gd name="T4" fmla="*/ 30 w 134"/>
              <a:gd name="T5" fmla="*/ 29 h 346"/>
              <a:gd name="T6" fmla="*/ 21 w 134"/>
              <a:gd name="T7" fmla="*/ 0 h 346"/>
              <a:gd name="T8" fmla="*/ 1 w 134"/>
              <a:gd name="T9" fmla="*/ 23 h 346"/>
              <a:gd name="T10" fmla="*/ 13 w 134"/>
              <a:gd name="T11" fmla="*/ 25 h 346"/>
              <a:gd name="T12" fmla="*/ 21 w 134"/>
              <a:gd name="T13" fmla="*/ 191 h 346"/>
              <a:gd name="T14" fmla="*/ 132 w 134"/>
              <a:gd name="T15" fmla="*/ 346 h 346"/>
              <a:gd name="T16" fmla="*/ 134 w 134"/>
              <a:gd name="T17" fmla="*/ 343 h 346"/>
              <a:gd name="T18" fmla="*/ 25 w 134"/>
              <a:gd name="T19" fmla="*/ 190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4" h="346">
                <a:moveTo>
                  <a:pt x="25" y="190"/>
                </a:moveTo>
                <a:cubicBezTo>
                  <a:pt x="4" y="128"/>
                  <a:pt x="11" y="62"/>
                  <a:pt x="17" y="26"/>
                </a:cubicBezTo>
                <a:cubicBezTo>
                  <a:pt x="30" y="29"/>
                  <a:pt x="30" y="29"/>
                  <a:pt x="30" y="29"/>
                </a:cubicBezTo>
                <a:cubicBezTo>
                  <a:pt x="21" y="0"/>
                  <a:pt x="21" y="0"/>
                  <a:pt x="21" y="0"/>
                </a:cubicBezTo>
                <a:cubicBezTo>
                  <a:pt x="1" y="23"/>
                  <a:pt x="1" y="23"/>
                  <a:pt x="1" y="23"/>
                </a:cubicBezTo>
                <a:cubicBezTo>
                  <a:pt x="13" y="25"/>
                  <a:pt x="13" y="25"/>
                  <a:pt x="13" y="25"/>
                </a:cubicBezTo>
                <a:cubicBezTo>
                  <a:pt x="7" y="62"/>
                  <a:pt x="0" y="128"/>
                  <a:pt x="21" y="191"/>
                </a:cubicBezTo>
                <a:cubicBezTo>
                  <a:pt x="50" y="282"/>
                  <a:pt x="131" y="346"/>
                  <a:pt x="132" y="346"/>
                </a:cubicBezTo>
                <a:cubicBezTo>
                  <a:pt x="134" y="343"/>
                  <a:pt x="134" y="343"/>
                  <a:pt x="134" y="343"/>
                </a:cubicBezTo>
                <a:cubicBezTo>
                  <a:pt x="133" y="342"/>
                  <a:pt x="54" y="280"/>
                  <a:pt x="25" y="190"/>
                </a:cubicBezTo>
                <a:close/>
              </a:path>
            </a:pathLst>
          </a:custGeom>
          <a:gradFill flip="none" rotWithShape="1">
            <a:gsLst>
              <a:gs pos="43000">
                <a:schemeClr val="accent1"/>
              </a:gs>
              <a:gs pos="97345">
                <a:schemeClr val="accent1">
                  <a:lumMod val="20000"/>
                  <a:lumOff val="80000"/>
                </a:schemeClr>
              </a:gs>
              <a:gs pos="81000">
                <a:schemeClr val="accent1">
                  <a:lumMod val="40000"/>
                  <a:lumOff val="60000"/>
                </a:schemeClr>
              </a:gs>
              <a:gs pos="62000">
                <a:schemeClr val="accent1">
                  <a:lumMod val="60000"/>
                  <a:lumOff val="40000"/>
                </a:schemeClr>
              </a:gs>
            </a:gsLst>
            <a:lin ang="540000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33333"/>
              </a:solidFill>
              <a:effectLst/>
              <a:uLnTx/>
              <a:uFillTx/>
              <a:latin typeface="Open Sans"/>
              <a:ea typeface="+mn-ea"/>
              <a:cs typeface="+mn-cs"/>
            </a:endParaRPr>
          </a:p>
        </p:txBody>
      </p:sp>
      <p:sp>
        <p:nvSpPr>
          <p:cNvPr id="16" name="Freeform 7">
            <a:extLst>
              <a:ext uri="{FF2B5EF4-FFF2-40B4-BE49-F238E27FC236}">
                <a16:creationId xmlns:a16="http://schemas.microsoft.com/office/drawing/2014/main" id="{C341DD50-B82E-4765-9BA6-359D26F5A6CF}"/>
              </a:ext>
            </a:extLst>
          </p:cNvPr>
          <p:cNvSpPr>
            <a:spLocks/>
          </p:cNvSpPr>
          <p:nvPr/>
        </p:nvSpPr>
        <p:spPr bwMode="auto">
          <a:xfrm>
            <a:off x="5667375" y="5943600"/>
            <a:ext cx="863600" cy="142875"/>
          </a:xfrm>
          <a:custGeom>
            <a:avLst/>
            <a:gdLst>
              <a:gd name="T0" fmla="*/ 182 w 363"/>
              <a:gd name="T1" fmla="*/ 56 h 60"/>
              <a:gd name="T2" fmla="*/ 24 w 363"/>
              <a:gd name="T3" fmla="*/ 13 h 60"/>
              <a:gd name="T4" fmla="*/ 30 w 363"/>
              <a:gd name="T5" fmla="*/ 1 h 60"/>
              <a:gd name="T6" fmla="*/ 0 w 363"/>
              <a:gd name="T7" fmla="*/ 1 h 60"/>
              <a:gd name="T8" fmla="*/ 15 w 363"/>
              <a:gd name="T9" fmla="*/ 28 h 60"/>
              <a:gd name="T10" fmla="*/ 22 w 363"/>
              <a:gd name="T11" fmla="*/ 16 h 60"/>
              <a:gd name="T12" fmla="*/ 182 w 363"/>
              <a:gd name="T13" fmla="*/ 60 h 60"/>
              <a:gd name="T14" fmla="*/ 363 w 363"/>
              <a:gd name="T15" fmla="*/ 3 h 60"/>
              <a:gd name="T16" fmla="*/ 361 w 363"/>
              <a:gd name="T17" fmla="*/ 0 h 60"/>
              <a:gd name="T18" fmla="*/ 182 w 363"/>
              <a:gd name="T19"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3" h="60">
                <a:moveTo>
                  <a:pt x="182" y="56"/>
                </a:moveTo>
                <a:cubicBezTo>
                  <a:pt x="116" y="56"/>
                  <a:pt x="56" y="30"/>
                  <a:pt x="24" y="13"/>
                </a:cubicBezTo>
                <a:cubicBezTo>
                  <a:pt x="30" y="1"/>
                  <a:pt x="30" y="1"/>
                  <a:pt x="30" y="1"/>
                </a:cubicBezTo>
                <a:cubicBezTo>
                  <a:pt x="0" y="1"/>
                  <a:pt x="0" y="1"/>
                  <a:pt x="0" y="1"/>
                </a:cubicBezTo>
                <a:cubicBezTo>
                  <a:pt x="15" y="28"/>
                  <a:pt x="15" y="28"/>
                  <a:pt x="15" y="28"/>
                </a:cubicBezTo>
                <a:cubicBezTo>
                  <a:pt x="22" y="16"/>
                  <a:pt x="22" y="16"/>
                  <a:pt x="22" y="16"/>
                </a:cubicBezTo>
                <a:cubicBezTo>
                  <a:pt x="54" y="34"/>
                  <a:pt x="116" y="60"/>
                  <a:pt x="182" y="60"/>
                </a:cubicBezTo>
                <a:cubicBezTo>
                  <a:pt x="277" y="60"/>
                  <a:pt x="362" y="4"/>
                  <a:pt x="363" y="3"/>
                </a:cubicBezTo>
                <a:cubicBezTo>
                  <a:pt x="361" y="0"/>
                  <a:pt x="361" y="0"/>
                  <a:pt x="361" y="0"/>
                </a:cubicBezTo>
                <a:cubicBezTo>
                  <a:pt x="360" y="0"/>
                  <a:pt x="276" y="56"/>
                  <a:pt x="182" y="56"/>
                </a:cubicBezTo>
                <a:close/>
              </a:path>
            </a:pathLst>
          </a:custGeom>
          <a:gradFill flip="none" rotWithShape="1">
            <a:gsLst>
              <a:gs pos="43000">
                <a:schemeClr val="accent1"/>
              </a:gs>
              <a:gs pos="97345">
                <a:schemeClr val="accent1">
                  <a:lumMod val="20000"/>
                  <a:lumOff val="80000"/>
                </a:schemeClr>
              </a:gs>
              <a:gs pos="81000">
                <a:schemeClr val="accent1">
                  <a:lumMod val="40000"/>
                  <a:lumOff val="60000"/>
                </a:schemeClr>
              </a:gs>
              <a:gs pos="62000">
                <a:schemeClr val="accent1">
                  <a:lumMod val="60000"/>
                  <a:lumOff val="40000"/>
                </a:schemeClr>
              </a:gs>
            </a:gsLst>
            <a:lin ang="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33333"/>
              </a:solidFill>
              <a:effectLst/>
              <a:uLnTx/>
              <a:uFillTx/>
              <a:latin typeface="Open Sans"/>
              <a:ea typeface="+mn-ea"/>
              <a:cs typeface="+mn-cs"/>
            </a:endParaRPr>
          </a:p>
        </p:txBody>
      </p:sp>
      <p:sp>
        <p:nvSpPr>
          <p:cNvPr id="17" name="Freeform 8">
            <a:extLst>
              <a:ext uri="{FF2B5EF4-FFF2-40B4-BE49-F238E27FC236}">
                <a16:creationId xmlns:a16="http://schemas.microsoft.com/office/drawing/2014/main" id="{1890A5FA-332F-4F8C-8FDA-654153498998}"/>
              </a:ext>
            </a:extLst>
          </p:cNvPr>
          <p:cNvSpPr>
            <a:spLocks/>
          </p:cNvSpPr>
          <p:nvPr/>
        </p:nvSpPr>
        <p:spPr bwMode="auto">
          <a:xfrm>
            <a:off x="7570788" y="4371975"/>
            <a:ext cx="336550" cy="822325"/>
          </a:xfrm>
          <a:custGeom>
            <a:avLst/>
            <a:gdLst>
              <a:gd name="T0" fmla="*/ 113 w 142"/>
              <a:gd name="T1" fmla="*/ 190 h 345"/>
              <a:gd name="T2" fmla="*/ 114 w 142"/>
              <a:gd name="T3" fmla="*/ 0 h 345"/>
              <a:gd name="T4" fmla="*/ 110 w 142"/>
              <a:gd name="T5" fmla="*/ 1 h 345"/>
              <a:gd name="T6" fmla="*/ 109 w 142"/>
              <a:gd name="T7" fmla="*/ 189 h 345"/>
              <a:gd name="T8" fmla="*/ 18 w 142"/>
              <a:gd name="T9" fmla="*/ 326 h 345"/>
              <a:gd name="T10" fmla="*/ 9 w 142"/>
              <a:gd name="T11" fmla="*/ 316 h 345"/>
              <a:gd name="T12" fmla="*/ 0 w 142"/>
              <a:gd name="T13" fmla="*/ 345 h 345"/>
              <a:gd name="T14" fmla="*/ 30 w 142"/>
              <a:gd name="T15" fmla="*/ 339 h 345"/>
              <a:gd name="T16" fmla="*/ 21 w 142"/>
              <a:gd name="T17" fmla="*/ 329 h 345"/>
              <a:gd name="T18" fmla="*/ 113 w 142"/>
              <a:gd name="T19" fmla="*/ 190 h 3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2" h="345">
                <a:moveTo>
                  <a:pt x="113" y="190"/>
                </a:moveTo>
                <a:cubicBezTo>
                  <a:pt x="142" y="100"/>
                  <a:pt x="114" y="1"/>
                  <a:pt x="114" y="0"/>
                </a:cubicBezTo>
                <a:cubicBezTo>
                  <a:pt x="110" y="1"/>
                  <a:pt x="110" y="1"/>
                  <a:pt x="110" y="1"/>
                </a:cubicBezTo>
                <a:cubicBezTo>
                  <a:pt x="110" y="2"/>
                  <a:pt x="138" y="99"/>
                  <a:pt x="109" y="189"/>
                </a:cubicBezTo>
                <a:cubicBezTo>
                  <a:pt x="89" y="251"/>
                  <a:pt x="45" y="301"/>
                  <a:pt x="18" y="326"/>
                </a:cubicBezTo>
                <a:cubicBezTo>
                  <a:pt x="9" y="316"/>
                  <a:pt x="9" y="316"/>
                  <a:pt x="9" y="316"/>
                </a:cubicBezTo>
                <a:cubicBezTo>
                  <a:pt x="0" y="345"/>
                  <a:pt x="0" y="345"/>
                  <a:pt x="0" y="345"/>
                </a:cubicBezTo>
                <a:cubicBezTo>
                  <a:pt x="30" y="339"/>
                  <a:pt x="30" y="339"/>
                  <a:pt x="30" y="339"/>
                </a:cubicBezTo>
                <a:cubicBezTo>
                  <a:pt x="21" y="329"/>
                  <a:pt x="21" y="329"/>
                  <a:pt x="21" y="329"/>
                </a:cubicBezTo>
                <a:cubicBezTo>
                  <a:pt x="48" y="303"/>
                  <a:pt x="92" y="253"/>
                  <a:pt x="113" y="190"/>
                </a:cubicBezTo>
                <a:close/>
              </a:path>
            </a:pathLst>
          </a:custGeom>
          <a:gradFill flip="none" rotWithShape="1">
            <a:gsLst>
              <a:gs pos="43000">
                <a:schemeClr val="accent1"/>
              </a:gs>
              <a:gs pos="97345">
                <a:schemeClr val="accent1">
                  <a:lumMod val="20000"/>
                  <a:lumOff val="80000"/>
                </a:schemeClr>
              </a:gs>
              <a:gs pos="81000">
                <a:schemeClr val="accent1">
                  <a:lumMod val="40000"/>
                  <a:lumOff val="60000"/>
                </a:schemeClr>
              </a:gs>
              <a:gs pos="62000">
                <a:schemeClr val="accent1">
                  <a:lumMod val="60000"/>
                  <a:lumOff val="40000"/>
                </a:schemeClr>
              </a:gs>
            </a:gsLst>
            <a:lin ang="1620000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33333"/>
              </a:solidFill>
              <a:effectLst/>
              <a:uLnTx/>
              <a:uFillTx/>
              <a:latin typeface="Open Sans"/>
              <a:ea typeface="+mn-ea"/>
              <a:cs typeface="+mn-cs"/>
            </a:endParaRPr>
          </a:p>
        </p:txBody>
      </p:sp>
      <p:sp>
        <p:nvSpPr>
          <p:cNvPr id="18" name="Freeform 9">
            <a:extLst>
              <a:ext uri="{FF2B5EF4-FFF2-40B4-BE49-F238E27FC236}">
                <a16:creationId xmlns:a16="http://schemas.microsoft.com/office/drawing/2014/main" id="{A1310359-58C8-4A92-B43A-1037264DADBB}"/>
              </a:ext>
            </a:extLst>
          </p:cNvPr>
          <p:cNvSpPr>
            <a:spLocks/>
          </p:cNvSpPr>
          <p:nvPr/>
        </p:nvSpPr>
        <p:spPr bwMode="auto">
          <a:xfrm>
            <a:off x="6746875" y="2638425"/>
            <a:ext cx="704850" cy="511175"/>
          </a:xfrm>
          <a:custGeom>
            <a:avLst/>
            <a:gdLst>
              <a:gd name="T0" fmla="*/ 180 w 296"/>
              <a:gd name="T1" fmla="*/ 61 h 215"/>
              <a:gd name="T2" fmla="*/ 0 w 296"/>
              <a:gd name="T3" fmla="*/ 0 h 215"/>
              <a:gd name="T4" fmla="*/ 0 w 296"/>
              <a:gd name="T5" fmla="*/ 4 h 215"/>
              <a:gd name="T6" fmla="*/ 178 w 296"/>
              <a:gd name="T7" fmla="*/ 64 h 215"/>
              <a:gd name="T8" fmla="*/ 280 w 296"/>
              <a:gd name="T9" fmla="*/ 192 h 215"/>
              <a:gd name="T10" fmla="*/ 268 w 296"/>
              <a:gd name="T11" fmla="*/ 198 h 215"/>
              <a:gd name="T12" fmla="*/ 293 w 296"/>
              <a:gd name="T13" fmla="*/ 215 h 215"/>
              <a:gd name="T14" fmla="*/ 296 w 296"/>
              <a:gd name="T15" fmla="*/ 185 h 215"/>
              <a:gd name="T16" fmla="*/ 284 w 296"/>
              <a:gd name="T17" fmla="*/ 191 h 215"/>
              <a:gd name="T18" fmla="*/ 180 w 296"/>
              <a:gd name="T19" fmla="*/ 61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6" h="215">
                <a:moveTo>
                  <a:pt x="180" y="61"/>
                </a:moveTo>
                <a:cubicBezTo>
                  <a:pt x="103" y="4"/>
                  <a:pt x="1" y="0"/>
                  <a:pt x="0" y="0"/>
                </a:cubicBezTo>
                <a:cubicBezTo>
                  <a:pt x="0" y="4"/>
                  <a:pt x="0" y="4"/>
                  <a:pt x="0" y="4"/>
                </a:cubicBezTo>
                <a:cubicBezTo>
                  <a:pt x="1" y="4"/>
                  <a:pt x="102" y="8"/>
                  <a:pt x="178" y="64"/>
                </a:cubicBezTo>
                <a:cubicBezTo>
                  <a:pt x="231" y="102"/>
                  <a:pt x="264" y="159"/>
                  <a:pt x="280" y="192"/>
                </a:cubicBezTo>
                <a:cubicBezTo>
                  <a:pt x="268" y="198"/>
                  <a:pt x="268" y="198"/>
                  <a:pt x="268" y="198"/>
                </a:cubicBezTo>
                <a:cubicBezTo>
                  <a:pt x="293" y="215"/>
                  <a:pt x="293" y="215"/>
                  <a:pt x="293" y="215"/>
                </a:cubicBezTo>
                <a:cubicBezTo>
                  <a:pt x="296" y="185"/>
                  <a:pt x="296" y="185"/>
                  <a:pt x="296" y="185"/>
                </a:cubicBezTo>
                <a:cubicBezTo>
                  <a:pt x="284" y="191"/>
                  <a:pt x="284" y="191"/>
                  <a:pt x="284" y="191"/>
                </a:cubicBezTo>
                <a:cubicBezTo>
                  <a:pt x="268" y="157"/>
                  <a:pt x="234" y="100"/>
                  <a:pt x="180" y="61"/>
                </a:cubicBezTo>
                <a:close/>
              </a:path>
            </a:pathLst>
          </a:custGeom>
          <a:gradFill flip="none" rotWithShape="1">
            <a:gsLst>
              <a:gs pos="43000">
                <a:schemeClr val="accent1"/>
              </a:gs>
              <a:gs pos="97345">
                <a:schemeClr val="accent1">
                  <a:lumMod val="20000"/>
                  <a:lumOff val="80000"/>
                </a:schemeClr>
              </a:gs>
              <a:gs pos="81000">
                <a:schemeClr val="accent1">
                  <a:lumMod val="40000"/>
                  <a:lumOff val="60000"/>
                </a:schemeClr>
              </a:gs>
              <a:gs pos="62000">
                <a:schemeClr val="accent1">
                  <a:lumMod val="60000"/>
                  <a:lumOff val="40000"/>
                </a:schemeClr>
              </a:gs>
            </a:gsLst>
            <a:lin ang="1620000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33333"/>
              </a:solidFill>
              <a:effectLst/>
              <a:uLnTx/>
              <a:uFillTx/>
              <a:latin typeface="Open Sans"/>
              <a:ea typeface="+mn-ea"/>
              <a:cs typeface="+mn-cs"/>
            </a:endParaRPr>
          </a:p>
        </p:txBody>
      </p:sp>
      <p:sp>
        <p:nvSpPr>
          <p:cNvPr id="19" name="Freeform 5">
            <a:extLst>
              <a:ext uri="{FF2B5EF4-FFF2-40B4-BE49-F238E27FC236}">
                <a16:creationId xmlns:a16="http://schemas.microsoft.com/office/drawing/2014/main" id="{4E834257-257A-41F7-A57B-9B638703537E}"/>
              </a:ext>
            </a:extLst>
          </p:cNvPr>
          <p:cNvSpPr>
            <a:spLocks noEditPoints="1"/>
          </p:cNvSpPr>
          <p:nvPr/>
        </p:nvSpPr>
        <p:spPr bwMode="auto">
          <a:xfrm>
            <a:off x="5951393" y="2779976"/>
            <a:ext cx="340804" cy="340802"/>
          </a:xfrm>
          <a:custGeom>
            <a:avLst/>
            <a:gdLst>
              <a:gd name="T0" fmla="*/ 1024 w 2048"/>
              <a:gd name="T1" fmla="*/ 0 h 2048"/>
              <a:gd name="T2" fmla="*/ 0 w 2048"/>
              <a:gd name="T3" fmla="*/ 1024 h 2048"/>
              <a:gd name="T4" fmla="*/ 1024 w 2048"/>
              <a:gd name="T5" fmla="*/ 2048 h 2048"/>
              <a:gd name="T6" fmla="*/ 2048 w 2048"/>
              <a:gd name="T7" fmla="*/ 1024 h 2048"/>
              <a:gd name="T8" fmla="*/ 1024 w 2048"/>
              <a:gd name="T9" fmla="*/ 0 h 2048"/>
              <a:gd name="T10" fmla="*/ 1499 w 2048"/>
              <a:gd name="T11" fmla="*/ 1134 h 2048"/>
              <a:gd name="T12" fmla="*/ 1024 w 2048"/>
              <a:gd name="T13" fmla="*/ 1134 h 2048"/>
              <a:gd name="T14" fmla="*/ 914 w 2048"/>
              <a:gd name="T15" fmla="*/ 1024 h 2048"/>
              <a:gd name="T16" fmla="*/ 914 w 2048"/>
              <a:gd name="T17" fmla="*/ 549 h 2048"/>
              <a:gd name="T18" fmla="*/ 1024 w 2048"/>
              <a:gd name="T19" fmla="*/ 439 h 2048"/>
              <a:gd name="T20" fmla="*/ 1134 w 2048"/>
              <a:gd name="T21" fmla="*/ 549 h 2048"/>
              <a:gd name="T22" fmla="*/ 1134 w 2048"/>
              <a:gd name="T23" fmla="*/ 915 h 2048"/>
              <a:gd name="T24" fmla="*/ 1499 w 2048"/>
              <a:gd name="T25" fmla="*/ 915 h 2048"/>
              <a:gd name="T26" fmla="*/ 1609 w 2048"/>
              <a:gd name="T27" fmla="*/ 1024 h 2048"/>
              <a:gd name="T28" fmla="*/ 1499 w 2048"/>
              <a:gd name="T29" fmla="*/ 1134 h 20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48" h="2048">
                <a:moveTo>
                  <a:pt x="1024" y="0"/>
                </a:moveTo>
                <a:cubicBezTo>
                  <a:pt x="459" y="0"/>
                  <a:pt x="0" y="459"/>
                  <a:pt x="0" y="1024"/>
                </a:cubicBezTo>
                <a:cubicBezTo>
                  <a:pt x="0" y="1589"/>
                  <a:pt x="459" y="2048"/>
                  <a:pt x="1024" y="2048"/>
                </a:cubicBezTo>
                <a:cubicBezTo>
                  <a:pt x="1589" y="2048"/>
                  <a:pt x="2048" y="1589"/>
                  <a:pt x="2048" y="1024"/>
                </a:cubicBezTo>
                <a:cubicBezTo>
                  <a:pt x="2048" y="459"/>
                  <a:pt x="1589" y="0"/>
                  <a:pt x="1024" y="0"/>
                </a:cubicBezTo>
                <a:close/>
                <a:moveTo>
                  <a:pt x="1499" y="1134"/>
                </a:moveTo>
                <a:cubicBezTo>
                  <a:pt x="1024" y="1134"/>
                  <a:pt x="1024" y="1134"/>
                  <a:pt x="1024" y="1134"/>
                </a:cubicBezTo>
                <a:cubicBezTo>
                  <a:pt x="963" y="1134"/>
                  <a:pt x="914" y="1085"/>
                  <a:pt x="914" y="1024"/>
                </a:cubicBezTo>
                <a:cubicBezTo>
                  <a:pt x="914" y="549"/>
                  <a:pt x="914" y="549"/>
                  <a:pt x="914" y="549"/>
                </a:cubicBezTo>
                <a:cubicBezTo>
                  <a:pt x="914" y="489"/>
                  <a:pt x="963" y="439"/>
                  <a:pt x="1024" y="439"/>
                </a:cubicBezTo>
                <a:cubicBezTo>
                  <a:pt x="1085" y="439"/>
                  <a:pt x="1134" y="489"/>
                  <a:pt x="1134" y="549"/>
                </a:cubicBezTo>
                <a:cubicBezTo>
                  <a:pt x="1134" y="915"/>
                  <a:pt x="1134" y="915"/>
                  <a:pt x="1134" y="915"/>
                </a:cubicBezTo>
                <a:cubicBezTo>
                  <a:pt x="1499" y="915"/>
                  <a:pt x="1499" y="915"/>
                  <a:pt x="1499" y="915"/>
                </a:cubicBezTo>
                <a:cubicBezTo>
                  <a:pt x="1560" y="915"/>
                  <a:pt x="1609" y="964"/>
                  <a:pt x="1609" y="1024"/>
                </a:cubicBezTo>
                <a:cubicBezTo>
                  <a:pt x="1609" y="1085"/>
                  <a:pt x="1560" y="1134"/>
                  <a:pt x="1499" y="1134"/>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33333"/>
              </a:solidFill>
              <a:effectLst/>
              <a:uLnTx/>
              <a:uFillTx/>
              <a:latin typeface="Open Sans"/>
              <a:ea typeface="+mn-ea"/>
              <a:cs typeface="+mn-cs"/>
            </a:endParaRPr>
          </a:p>
        </p:txBody>
      </p:sp>
      <p:grpSp>
        <p:nvGrpSpPr>
          <p:cNvPr id="20" name="Group 32">
            <a:extLst>
              <a:ext uri="{FF2B5EF4-FFF2-40B4-BE49-F238E27FC236}">
                <a16:creationId xmlns:a16="http://schemas.microsoft.com/office/drawing/2014/main" id="{38130015-ED58-4ABA-BC9B-EF63156BD622}"/>
              </a:ext>
            </a:extLst>
          </p:cNvPr>
          <p:cNvGrpSpPr/>
          <p:nvPr/>
        </p:nvGrpSpPr>
        <p:grpSpPr>
          <a:xfrm>
            <a:off x="4712936" y="3706905"/>
            <a:ext cx="277646" cy="345366"/>
            <a:chOff x="4862513" y="3505200"/>
            <a:chExt cx="260350" cy="323851"/>
          </a:xfrm>
          <a:solidFill>
            <a:srgbClr val="FFFFFF"/>
          </a:solidFill>
        </p:grpSpPr>
        <p:sp>
          <p:nvSpPr>
            <p:cNvPr id="21" name="Freeform 9">
              <a:extLst>
                <a:ext uri="{FF2B5EF4-FFF2-40B4-BE49-F238E27FC236}">
                  <a16:creationId xmlns:a16="http://schemas.microsoft.com/office/drawing/2014/main" id="{CE984D58-1C2D-4EB9-9729-3C04538E67BC}"/>
                </a:ext>
              </a:extLst>
            </p:cNvPr>
            <p:cNvSpPr>
              <a:spLocks/>
            </p:cNvSpPr>
            <p:nvPr/>
          </p:nvSpPr>
          <p:spPr bwMode="auto">
            <a:xfrm>
              <a:off x="4870451" y="3505200"/>
              <a:ext cx="220663" cy="234950"/>
            </a:xfrm>
            <a:custGeom>
              <a:avLst/>
              <a:gdLst>
                <a:gd name="T0" fmla="*/ 761 w 1393"/>
                <a:gd name="T1" fmla="*/ 0 h 1489"/>
                <a:gd name="T2" fmla="*/ 240 w 1393"/>
                <a:gd name="T3" fmla="*/ 0 h 1489"/>
                <a:gd name="T4" fmla="*/ 93 w 1393"/>
                <a:gd name="T5" fmla="*/ 0 h 1489"/>
                <a:gd name="T6" fmla="*/ 0 w 1393"/>
                <a:gd name="T7" fmla="*/ 93 h 1489"/>
                <a:gd name="T8" fmla="*/ 93 w 1393"/>
                <a:gd name="T9" fmla="*/ 186 h 1489"/>
                <a:gd name="T10" fmla="*/ 147 w 1393"/>
                <a:gd name="T11" fmla="*/ 186 h 1489"/>
                <a:gd name="T12" fmla="*/ 147 w 1393"/>
                <a:gd name="T13" fmla="*/ 938 h 1489"/>
                <a:gd name="T14" fmla="*/ 240 w 1393"/>
                <a:gd name="T15" fmla="*/ 1031 h 1489"/>
                <a:gd name="T16" fmla="*/ 397 w 1393"/>
                <a:gd name="T17" fmla="*/ 1031 h 1489"/>
                <a:gd name="T18" fmla="*/ 462 w 1393"/>
                <a:gd name="T19" fmla="*/ 1004 h 1489"/>
                <a:gd name="T20" fmla="*/ 591 w 1393"/>
                <a:gd name="T21" fmla="*/ 876 h 1489"/>
                <a:gd name="T22" fmla="*/ 591 w 1393"/>
                <a:gd name="T23" fmla="*/ 1100 h 1489"/>
                <a:gd name="T24" fmla="*/ 201 w 1393"/>
                <a:gd name="T25" fmla="*/ 1489 h 1489"/>
                <a:gd name="T26" fmla="*/ 1393 w 1393"/>
                <a:gd name="T27" fmla="*/ 1489 h 1489"/>
                <a:gd name="T28" fmla="*/ 1393 w 1393"/>
                <a:gd name="T29" fmla="*/ 633 h 1489"/>
                <a:gd name="T30" fmla="*/ 761 w 1393"/>
                <a:gd name="T31" fmla="*/ 0 h 14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93" h="1489">
                  <a:moveTo>
                    <a:pt x="761" y="0"/>
                  </a:moveTo>
                  <a:cubicBezTo>
                    <a:pt x="240" y="0"/>
                    <a:pt x="240" y="0"/>
                    <a:pt x="240" y="0"/>
                  </a:cubicBezTo>
                  <a:cubicBezTo>
                    <a:pt x="93" y="0"/>
                    <a:pt x="93" y="0"/>
                    <a:pt x="93" y="0"/>
                  </a:cubicBezTo>
                  <a:cubicBezTo>
                    <a:pt x="41" y="0"/>
                    <a:pt x="0" y="42"/>
                    <a:pt x="0" y="93"/>
                  </a:cubicBezTo>
                  <a:cubicBezTo>
                    <a:pt x="0" y="145"/>
                    <a:pt x="41" y="186"/>
                    <a:pt x="93" y="186"/>
                  </a:cubicBezTo>
                  <a:cubicBezTo>
                    <a:pt x="147" y="186"/>
                    <a:pt x="147" y="186"/>
                    <a:pt x="147" y="186"/>
                  </a:cubicBezTo>
                  <a:cubicBezTo>
                    <a:pt x="147" y="938"/>
                    <a:pt x="147" y="938"/>
                    <a:pt x="147" y="938"/>
                  </a:cubicBezTo>
                  <a:cubicBezTo>
                    <a:pt x="147" y="990"/>
                    <a:pt x="188" y="1031"/>
                    <a:pt x="240" y="1031"/>
                  </a:cubicBezTo>
                  <a:cubicBezTo>
                    <a:pt x="397" y="1031"/>
                    <a:pt x="397" y="1031"/>
                    <a:pt x="397" y="1031"/>
                  </a:cubicBezTo>
                  <a:cubicBezTo>
                    <a:pt x="421" y="1031"/>
                    <a:pt x="445" y="1021"/>
                    <a:pt x="462" y="1004"/>
                  </a:cubicBezTo>
                  <a:cubicBezTo>
                    <a:pt x="591" y="876"/>
                    <a:pt x="591" y="876"/>
                    <a:pt x="591" y="876"/>
                  </a:cubicBezTo>
                  <a:cubicBezTo>
                    <a:pt x="591" y="1100"/>
                    <a:pt x="591" y="1100"/>
                    <a:pt x="591" y="1100"/>
                  </a:cubicBezTo>
                  <a:cubicBezTo>
                    <a:pt x="201" y="1489"/>
                    <a:pt x="201" y="1489"/>
                    <a:pt x="201" y="1489"/>
                  </a:cubicBezTo>
                  <a:cubicBezTo>
                    <a:pt x="1393" y="1489"/>
                    <a:pt x="1393" y="1489"/>
                    <a:pt x="1393" y="1489"/>
                  </a:cubicBezTo>
                  <a:cubicBezTo>
                    <a:pt x="1393" y="633"/>
                    <a:pt x="1393" y="633"/>
                    <a:pt x="1393" y="633"/>
                  </a:cubicBezTo>
                  <a:cubicBezTo>
                    <a:pt x="1393" y="284"/>
                    <a:pt x="1109" y="0"/>
                    <a:pt x="76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33333"/>
                </a:solidFill>
                <a:effectLst/>
                <a:uLnTx/>
                <a:uFillTx/>
                <a:latin typeface="Open Sans"/>
                <a:ea typeface="+mn-ea"/>
                <a:cs typeface="+mn-cs"/>
              </a:endParaRPr>
            </a:p>
          </p:txBody>
        </p:sp>
        <p:sp>
          <p:nvSpPr>
            <p:cNvPr id="22" name="Freeform 10">
              <a:extLst>
                <a:ext uri="{FF2B5EF4-FFF2-40B4-BE49-F238E27FC236}">
                  <a16:creationId xmlns:a16="http://schemas.microsoft.com/office/drawing/2014/main" id="{F5E16894-EC29-43E0-9319-E2E98E27878E}"/>
                </a:ext>
              </a:extLst>
            </p:cNvPr>
            <p:cNvSpPr>
              <a:spLocks/>
            </p:cNvSpPr>
            <p:nvPr/>
          </p:nvSpPr>
          <p:spPr bwMode="auto">
            <a:xfrm>
              <a:off x="4862513" y="3770313"/>
              <a:ext cx="260350" cy="58738"/>
            </a:xfrm>
            <a:custGeom>
              <a:avLst/>
              <a:gdLst>
                <a:gd name="T0" fmla="*/ 0 w 1646"/>
                <a:gd name="T1" fmla="*/ 0 h 372"/>
                <a:gd name="T2" fmla="*/ 0 w 1646"/>
                <a:gd name="T3" fmla="*/ 279 h 372"/>
                <a:gd name="T4" fmla="*/ 93 w 1646"/>
                <a:gd name="T5" fmla="*/ 372 h 372"/>
                <a:gd name="T6" fmla="*/ 1553 w 1646"/>
                <a:gd name="T7" fmla="*/ 372 h 372"/>
                <a:gd name="T8" fmla="*/ 1646 w 1646"/>
                <a:gd name="T9" fmla="*/ 279 h 372"/>
                <a:gd name="T10" fmla="*/ 1646 w 1646"/>
                <a:gd name="T11" fmla="*/ 0 h 372"/>
                <a:gd name="T12" fmla="*/ 0 w 1646"/>
                <a:gd name="T13" fmla="*/ 0 h 372"/>
              </a:gdLst>
              <a:ahLst/>
              <a:cxnLst>
                <a:cxn ang="0">
                  <a:pos x="T0" y="T1"/>
                </a:cxn>
                <a:cxn ang="0">
                  <a:pos x="T2" y="T3"/>
                </a:cxn>
                <a:cxn ang="0">
                  <a:pos x="T4" y="T5"/>
                </a:cxn>
                <a:cxn ang="0">
                  <a:pos x="T6" y="T7"/>
                </a:cxn>
                <a:cxn ang="0">
                  <a:pos x="T8" y="T9"/>
                </a:cxn>
                <a:cxn ang="0">
                  <a:pos x="T10" y="T11"/>
                </a:cxn>
                <a:cxn ang="0">
                  <a:pos x="T12" y="T13"/>
                </a:cxn>
              </a:cxnLst>
              <a:rect l="0" t="0" r="r" b="b"/>
              <a:pathLst>
                <a:path w="1646" h="372">
                  <a:moveTo>
                    <a:pt x="0" y="0"/>
                  </a:moveTo>
                  <a:cubicBezTo>
                    <a:pt x="0" y="279"/>
                    <a:pt x="0" y="279"/>
                    <a:pt x="0" y="279"/>
                  </a:cubicBezTo>
                  <a:cubicBezTo>
                    <a:pt x="0" y="330"/>
                    <a:pt x="42" y="372"/>
                    <a:pt x="93" y="372"/>
                  </a:cubicBezTo>
                  <a:cubicBezTo>
                    <a:pt x="1553" y="372"/>
                    <a:pt x="1553" y="372"/>
                    <a:pt x="1553" y="372"/>
                  </a:cubicBezTo>
                  <a:cubicBezTo>
                    <a:pt x="1604" y="372"/>
                    <a:pt x="1646" y="330"/>
                    <a:pt x="1646" y="279"/>
                  </a:cubicBezTo>
                  <a:cubicBezTo>
                    <a:pt x="1646" y="0"/>
                    <a:pt x="1646" y="0"/>
                    <a:pt x="1646" y="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33333"/>
                </a:solidFill>
                <a:effectLst/>
                <a:uLnTx/>
                <a:uFillTx/>
                <a:latin typeface="Open Sans"/>
                <a:ea typeface="+mn-ea"/>
                <a:cs typeface="+mn-cs"/>
              </a:endParaRPr>
            </a:p>
          </p:txBody>
        </p:sp>
      </p:grpSp>
      <p:sp>
        <p:nvSpPr>
          <p:cNvPr id="23" name="Freeform 14">
            <a:extLst>
              <a:ext uri="{FF2B5EF4-FFF2-40B4-BE49-F238E27FC236}">
                <a16:creationId xmlns:a16="http://schemas.microsoft.com/office/drawing/2014/main" id="{C855F154-6896-4DBF-B9DB-8A3E3843FF62}"/>
              </a:ext>
            </a:extLst>
          </p:cNvPr>
          <p:cNvSpPr>
            <a:spLocks noEditPoints="1"/>
          </p:cNvSpPr>
          <p:nvPr/>
        </p:nvSpPr>
        <p:spPr bwMode="auto">
          <a:xfrm>
            <a:off x="6705477" y="5146849"/>
            <a:ext cx="420392" cy="408604"/>
          </a:xfrm>
          <a:custGeom>
            <a:avLst/>
            <a:gdLst>
              <a:gd name="T0" fmla="*/ 2119 w 2125"/>
              <a:gd name="T1" fmla="*/ 400 h 2053"/>
              <a:gd name="T2" fmla="*/ 2061 w 2125"/>
              <a:gd name="T3" fmla="*/ 337 h 2053"/>
              <a:gd name="T4" fmla="*/ 1857 w 2125"/>
              <a:gd name="T5" fmla="*/ 269 h 2053"/>
              <a:gd name="T6" fmla="*/ 1789 w 2125"/>
              <a:gd name="T7" fmla="*/ 64 h 2053"/>
              <a:gd name="T8" fmla="*/ 1726 w 2125"/>
              <a:gd name="T9" fmla="*/ 7 h 2053"/>
              <a:gd name="T10" fmla="*/ 1645 w 2125"/>
              <a:gd name="T11" fmla="*/ 30 h 2053"/>
              <a:gd name="T12" fmla="*/ 1399 w 2125"/>
              <a:gd name="T13" fmla="*/ 276 h 2053"/>
              <a:gd name="T14" fmla="*/ 1378 w 2125"/>
              <a:gd name="T15" fmla="*/ 365 h 2053"/>
              <a:gd name="T16" fmla="*/ 1443 w 2125"/>
              <a:gd name="T17" fmla="*/ 560 h 2053"/>
              <a:gd name="T18" fmla="*/ 1293 w 2125"/>
              <a:gd name="T19" fmla="*/ 710 h 2053"/>
              <a:gd name="T20" fmla="*/ 826 w 2125"/>
              <a:gd name="T21" fmla="*/ 547 h 2053"/>
              <a:gd name="T22" fmla="*/ 293 w 2125"/>
              <a:gd name="T23" fmla="*/ 768 h 2053"/>
              <a:gd name="T24" fmla="*/ 293 w 2125"/>
              <a:gd name="T25" fmla="*/ 1832 h 2053"/>
              <a:gd name="T26" fmla="*/ 826 w 2125"/>
              <a:gd name="T27" fmla="*/ 2053 h 2053"/>
              <a:gd name="T28" fmla="*/ 1358 w 2125"/>
              <a:gd name="T29" fmla="*/ 1832 h 2053"/>
              <a:gd name="T30" fmla="*/ 1416 w 2125"/>
              <a:gd name="T31" fmla="*/ 833 h 2053"/>
              <a:gd name="T32" fmla="*/ 1566 w 2125"/>
              <a:gd name="T33" fmla="*/ 683 h 2053"/>
              <a:gd name="T34" fmla="*/ 1761 w 2125"/>
              <a:gd name="T35" fmla="*/ 748 h 2053"/>
              <a:gd name="T36" fmla="*/ 1788 w 2125"/>
              <a:gd name="T37" fmla="*/ 752 h 2053"/>
              <a:gd name="T38" fmla="*/ 1850 w 2125"/>
              <a:gd name="T39" fmla="*/ 727 h 2053"/>
              <a:gd name="T40" fmla="*/ 2095 w 2125"/>
              <a:gd name="T41" fmla="*/ 481 h 2053"/>
              <a:gd name="T42" fmla="*/ 2119 w 2125"/>
              <a:gd name="T43" fmla="*/ 400 h 2053"/>
              <a:gd name="T44" fmla="*/ 1235 w 2125"/>
              <a:gd name="T45" fmla="*/ 1710 h 2053"/>
              <a:gd name="T46" fmla="*/ 826 w 2125"/>
              <a:gd name="T47" fmla="*/ 1879 h 2053"/>
              <a:gd name="T48" fmla="*/ 416 w 2125"/>
              <a:gd name="T49" fmla="*/ 1710 h 2053"/>
              <a:gd name="T50" fmla="*/ 416 w 2125"/>
              <a:gd name="T51" fmla="*/ 890 h 2053"/>
              <a:gd name="T52" fmla="*/ 826 w 2125"/>
              <a:gd name="T53" fmla="*/ 721 h 2053"/>
              <a:gd name="T54" fmla="*/ 1169 w 2125"/>
              <a:gd name="T55" fmla="*/ 834 h 2053"/>
              <a:gd name="T56" fmla="*/ 1044 w 2125"/>
              <a:gd name="T57" fmla="*/ 959 h 2053"/>
              <a:gd name="T58" fmla="*/ 826 w 2125"/>
              <a:gd name="T59" fmla="*/ 895 h 2053"/>
              <a:gd name="T60" fmla="*/ 539 w 2125"/>
              <a:gd name="T61" fmla="*/ 1013 h 2053"/>
              <a:gd name="T62" fmla="*/ 420 w 2125"/>
              <a:gd name="T63" fmla="*/ 1300 h 2053"/>
              <a:gd name="T64" fmla="*/ 539 w 2125"/>
              <a:gd name="T65" fmla="*/ 1587 h 2053"/>
              <a:gd name="T66" fmla="*/ 826 w 2125"/>
              <a:gd name="T67" fmla="*/ 1705 h 2053"/>
              <a:gd name="T68" fmla="*/ 1112 w 2125"/>
              <a:gd name="T69" fmla="*/ 1587 h 2053"/>
              <a:gd name="T70" fmla="*/ 1167 w 2125"/>
              <a:gd name="T71" fmla="*/ 1081 h 2053"/>
              <a:gd name="T72" fmla="*/ 1292 w 2125"/>
              <a:gd name="T73" fmla="*/ 957 h 2053"/>
              <a:gd name="T74" fmla="*/ 1235 w 2125"/>
              <a:gd name="T75" fmla="*/ 1710 h 2053"/>
              <a:gd name="T76" fmla="*/ 764 w 2125"/>
              <a:gd name="T77" fmla="*/ 1361 h 2053"/>
              <a:gd name="T78" fmla="*/ 826 w 2125"/>
              <a:gd name="T79" fmla="*/ 1387 h 2053"/>
              <a:gd name="T80" fmla="*/ 887 w 2125"/>
              <a:gd name="T81" fmla="*/ 1361 h 2053"/>
              <a:gd name="T82" fmla="*/ 1039 w 2125"/>
              <a:gd name="T83" fmla="*/ 1210 h 2053"/>
              <a:gd name="T84" fmla="*/ 990 w 2125"/>
              <a:gd name="T85" fmla="*/ 1464 h 2053"/>
              <a:gd name="T86" fmla="*/ 826 w 2125"/>
              <a:gd name="T87" fmla="*/ 1532 h 2053"/>
              <a:gd name="T88" fmla="*/ 662 w 2125"/>
              <a:gd name="T89" fmla="*/ 1464 h 2053"/>
              <a:gd name="T90" fmla="*/ 594 w 2125"/>
              <a:gd name="T91" fmla="*/ 1300 h 2053"/>
              <a:gd name="T92" fmla="*/ 662 w 2125"/>
              <a:gd name="T93" fmla="*/ 1136 h 2053"/>
              <a:gd name="T94" fmla="*/ 826 w 2125"/>
              <a:gd name="T95" fmla="*/ 1068 h 2053"/>
              <a:gd name="T96" fmla="*/ 916 w 2125"/>
              <a:gd name="T97" fmla="*/ 1087 h 2053"/>
              <a:gd name="T98" fmla="*/ 764 w 2125"/>
              <a:gd name="T99" fmla="*/ 1239 h 2053"/>
              <a:gd name="T100" fmla="*/ 764 w 2125"/>
              <a:gd name="T101" fmla="*/ 1361 h 20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125" h="2053">
                <a:moveTo>
                  <a:pt x="2119" y="400"/>
                </a:moveTo>
                <a:cubicBezTo>
                  <a:pt x="2112" y="370"/>
                  <a:pt x="2090" y="347"/>
                  <a:pt x="2061" y="337"/>
                </a:cubicBezTo>
                <a:cubicBezTo>
                  <a:pt x="1857" y="269"/>
                  <a:pt x="1857" y="269"/>
                  <a:pt x="1857" y="269"/>
                </a:cubicBezTo>
                <a:cubicBezTo>
                  <a:pt x="1789" y="64"/>
                  <a:pt x="1789" y="64"/>
                  <a:pt x="1789" y="64"/>
                </a:cubicBezTo>
                <a:cubicBezTo>
                  <a:pt x="1779" y="36"/>
                  <a:pt x="1756" y="14"/>
                  <a:pt x="1726" y="7"/>
                </a:cubicBezTo>
                <a:cubicBezTo>
                  <a:pt x="1697" y="0"/>
                  <a:pt x="1666" y="9"/>
                  <a:pt x="1645" y="30"/>
                </a:cubicBezTo>
                <a:cubicBezTo>
                  <a:pt x="1399" y="276"/>
                  <a:pt x="1399" y="276"/>
                  <a:pt x="1399" y="276"/>
                </a:cubicBezTo>
                <a:cubicBezTo>
                  <a:pt x="1376" y="299"/>
                  <a:pt x="1368" y="334"/>
                  <a:pt x="1378" y="365"/>
                </a:cubicBezTo>
                <a:cubicBezTo>
                  <a:pt x="1443" y="560"/>
                  <a:pt x="1443" y="560"/>
                  <a:pt x="1443" y="560"/>
                </a:cubicBezTo>
                <a:cubicBezTo>
                  <a:pt x="1293" y="710"/>
                  <a:pt x="1293" y="710"/>
                  <a:pt x="1293" y="710"/>
                </a:cubicBezTo>
                <a:cubicBezTo>
                  <a:pt x="1161" y="604"/>
                  <a:pt x="998" y="547"/>
                  <a:pt x="826" y="547"/>
                </a:cubicBezTo>
                <a:cubicBezTo>
                  <a:pt x="625" y="547"/>
                  <a:pt x="436" y="625"/>
                  <a:pt x="293" y="768"/>
                </a:cubicBezTo>
                <a:cubicBezTo>
                  <a:pt x="0" y="1061"/>
                  <a:pt x="0" y="1539"/>
                  <a:pt x="293" y="1832"/>
                </a:cubicBezTo>
                <a:cubicBezTo>
                  <a:pt x="436" y="1975"/>
                  <a:pt x="625" y="2053"/>
                  <a:pt x="826" y="2053"/>
                </a:cubicBezTo>
                <a:cubicBezTo>
                  <a:pt x="1027" y="2053"/>
                  <a:pt x="1216" y="1975"/>
                  <a:pt x="1358" y="1832"/>
                </a:cubicBezTo>
                <a:cubicBezTo>
                  <a:pt x="1631" y="1560"/>
                  <a:pt x="1650" y="1128"/>
                  <a:pt x="1416" y="833"/>
                </a:cubicBezTo>
                <a:cubicBezTo>
                  <a:pt x="1566" y="683"/>
                  <a:pt x="1566" y="683"/>
                  <a:pt x="1566" y="683"/>
                </a:cubicBezTo>
                <a:cubicBezTo>
                  <a:pt x="1761" y="748"/>
                  <a:pt x="1761" y="748"/>
                  <a:pt x="1761" y="748"/>
                </a:cubicBezTo>
                <a:cubicBezTo>
                  <a:pt x="1770" y="751"/>
                  <a:pt x="1779" y="752"/>
                  <a:pt x="1788" y="752"/>
                </a:cubicBezTo>
                <a:cubicBezTo>
                  <a:pt x="1811" y="752"/>
                  <a:pt x="1833" y="743"/>
                  <a:pt x="1850" y="727"/>
                </a:cubicBezTo>
                <a:cubicBezTo>
                  <a:pt x="2095" y="481"/>
                  <a:pt x="2095" y="481"/>
                  <a:pt x="2095" y="481"/>
                </a:cubicBezTo>
                <a:cubicBezTo>
                  <a:pt x="2117" y="460"/>
                  <a:pt x="2125" y="429"/>
                  <a:pt x="2119" y="400"/>
                </a:cubicBezTo>
                <a:close/>
                <a:moveTo>
                  <a:pt x="1235" y="1710"/>
                </a:moveTo>
                <a:cubicBezTo>
                  <a:pt x="1126" y="1819"/>
                  <a:pt x="980" y="1879"/>
                  <a:pt x="826" y="1879"/>
                </a:cubicBezTo>
                <a:cubicBezTo>
                  <a:pt x="671" y="1879"/>
                  <a:pt x="526" y="1819"/>
                  <a:pt x="416" y="1710"/>
                </a:cubicBezTo>
                <a:cubicBezTo>
                  <a:pt x="190" y="1484"/>
                  <a:pt x="190" y="1116"/>
                  <a:pt x="416" y="890"/>
                </a:cubicBezTo>
                <a:cubicBezTo>
                  <a:pt x="526" y="781"/>
                  <a:pt x="671" y="721"/>
                  <a:pt x="826" y="721"/>
                </a:cubicBezTo>
                <a:cubicBezTo>
                  <a:pt x="951" y="721"/>
                  <a:pt x="1070" y="760"/>
                  <a:pt x="1169" y="834"/>
                </a:cubicBezTo>
                <a:cubicBezTo>
                  <a:pt x="1044" y="959"/>
                  <a:pt x="1044" y="959"/>
                  <a:pt x="1044" y="959"/>
                </a:cubicBezTo>
                <a:cubicBezTo>
                  <a:pt x="980" y="917"/>
                  <a:pt x="904" y="895"/>
                  <a:pt x="826" y="895"/>
                </a:cubicBezTo>
                <a:cubicBezTo>
                  <a:pt x="717" y="895"/>
                  <a:pt x="616" y="937"/>
                  <a:pt x="539" y="1013"/>
                </a:cubicBezTo>
                <a:cubicBezTo>
                  <a:pt x="463" y="1090"/>
                  <a:pt x="420" y="1192"/>
                  <a:pt x="420" y="1300"/>
                </a:cubicBezTo>
                <a:cubicBezTo>
                  <a:pt x="420" y="1408"/>
                  <a:pt x="463" y="1510"/>
                  <a:pt x="539" y="1587"/>
                </a:cubicBezTo>
                <a:cubicBezTo>
                  <a:pt x="616" y="1663"/>
                  <a:pt x="717" y="1705"/>
                  <a:pt x="826" y="1705"/>
                </a:cubicBezTo>
                <a:cubicBezTo>
                  <a:pt x="934" y="1705"/>
                  <a:pt x="1036" y="1663"/>
                  <a:pt x="1112" y="1587"/>
                </a:cubicBezTo>
                <a:cubicBezTo>
                  <a:pt x="1249" y="1450"/>
                  <a:pt x="1268" y="1238"/>
                  <a:pt x="1167" y="1081"/>
                </a:cubicBezTo>
                <a:cubicBezTo>
                  <a:pt x="1292" y="957"/>
                  <a:pt x="1292" y="957"/>
                  <a:pt x="1292" y="957"/>
                </a:cubicBezTo>
                <a:cubicBezTo>
                  <a:pt x="1459" y="1183"/>
                  <a:pt x="1440" y="1505"/>
                  <a:pt x="1235" y="1710"/>
                </a:cubicBezTo>
                <a:close/>
                <a:moveTo>
                  <a:pt x="764" y="1361"/>
                </a:moveTo>
                <a:cubicBezTo>
                  <a:pt x="781" y="1378"/>
                  <a:pt x="804" y="1387"/>
                  <a:pt x="826" y="1387"/>
                </a:cubicBezTo>
                <a:cubicBezTo>
                  <a:pt x="848" y="1387"/>
                  <a:pt x="870" y="1378"/>
                  <a:pt x="887" y="1361"/>
                </a:cubicBezTo>
                <a:cubicBezTo>
                  <a:pt x="1039" y="1210"/>
                  <a:pt x="1039" y="1210"/>
                  <a:pt x="1039" y="1210"/>
                </a:cubicBezTo>
                <a:cubicBezTo>
                  <a:pt x="1075" y="1294"/>
                  <a:pt x="1058" y="1395"/>
                  <a:pt x="990" y="1464"/>
                </a:cubicBezTo>
                <a:cubicBezTo>
                  <a:pt x="946" y="1508"/>
                  <a:pt x="888" y="1532"/>
                  <a:pt x="826" y="1532"/>
                </a:cubicBezTo>
                <a:cubicBezTo>
                  <a:pt x="764" y="1532"/>
                  <a:pt x="706" y="1508"/>
                  <a:pt x="662" y="1464"/>
                </a:cubicBezTo>
                <a:cubicBezTo>
                  <a:pt x="618" y="1420"/>
                  <a:pt x="594" y="1362"/>
                  <a:pt x="594" y="1300"/>
                </a:cubicBezTo>
                <a:cubicBezTo>
                  <a:pt x="594" y="1238"/>
                  <a:pt x="618" y="1180"/>
                  <a:pt x="662" y="1136"/>
                </a:cubicBezTo>
                <a:cubicBezTo>
                  <a:pt x="706" y="1092"/>
                  <a:pt x="764" y="1068"/>
                  <a:pt x="826" y="1068"/>
                </a:cubicBezTo>
                <a:cubicBezTo>
                  <a:pt x="857" y="1068"/>
                  <a:pt x="888" y="1075"/>
                  <a:pt x="916" y="1087"/>
                </a:cubicBezTo>
                <a:cubicBezTo>
                  <a:pt x="764" y="1239"/>
                  <a:pt x="764" y="1239"/>
                  <a:pt x="764" y="1239"/>
                </a:cubicBezTo>
                <a:cubicBezTo>
                  <a:pt x="730" y="1273"/>
                  <a:pt x="730" y="1328"/>
                  <a:pt x="764" y="1361"/>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33333"/>
              </a:solidFill>
              <a:effectLst/>
              <a:uLnTx/>
              <a:uFillTx/>
              <a:latin typeface="Open Sans"/>
              <a:ea typeface="+mn-ea"/>
              <a:cs typeface="+mn-cs"/>
            </a:endParaRPr>
          </a:p>
        </p:txBody>
      </p:sp>
      <p:grpSp>
        <p:nvGrpSpPr>
          <p:cNvPr id="24" name="Group 36">
            <a:extLst>
              <a:ext uri="{FF2B5EF4-FFF2-40B4-BE49-F238E27FC236}">
                <a16:creationId xmlns:a16="http://schemas.microsoft.com/office/drawing/2014/main" id="{3E38F6E4-7C9A-4787-A942-8B415E5F5345}"/>
              </a:ext>
            </a:extLst>
          </p:cNvPr>
          <p:cNvGrpSpPr/>
          <p:nvPr/>
        </p:nvGrpSpPr>
        <p:grpSpPr>
          <a:xfrm>
            <a:off x="7221292" y="3688563"/>
            <a:ext cx="335208" cy="333632"/>
            <a:chOff x="9682163" y="3494088"/>
            <a:chExt cx="338137" cy="336551"/>
          </a:xfrm>
          <a:solidFill>
            <a:srgbClr val="FFFFFF"/>
          </a:solidFill>
        </p:grpSpPr>
        <p:sp>
          <p:nvSpPr>
            <p:cNvPr id="25" name="Rectangle 18">
              <a:extLst>
                <a:ext uri="{FF2B5EF4-FFF2-40B4-BE49-F238E27FC236}">
                  <a16:creationId xmlns:a16="http://schemas.microsoft.com/office/drawing/2014/main" id="{E5193255-971E-4DEC-90C8-0E48D42A2BCF}"/>
                </a:ext>
              </a:extLst>
            </p:cNvPr>
            <p:cNvSpPr>
              <a:spLocks noChangeArrowheads="1"/>
            </p:cNvSpPr>
            <p:nvPr/>
          </p:nvSpPr>
          <p:spPr bwMode="auto">
            <a:xfrm>
              <a:off x="9836150" y="3687763"/>
              <a:ext cx="30162" cy="301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33333"/>
                </a:solidFill>
                <a:effectLst/>
                <a:uLnTx/>
                <a:uFillTx/>
                <a:latin typeface="Open Sans"/>
                <a:ea typeface="+mn-ea"/>
                <a:cs typeface="+mn-cs"/>
              </a:endParaRPr>
            </a:p>
          </p:txBody>
        </p:sp>
        <p:sp>
          <p:nvSpPr>
            <p:cNvPr id="26" name="Freeform 19">
              <a:extLst>
                <a:ext uri="{FF2B5EF4-FFF2-40B4-BE49-F238E27FC236}">
                  <a16:creationId xmlns:a16="http://schemas.microsoft.com/office/drawing/2014/main" id="{DC5D2F60-8694-4FFA-997A-AB394538BB0E}"/>
                </a:ext>
              </a:extLst>
            </p:cNvPr>
            <p:cNvSpPr>
              <a:spLocks noEditPoints="1"/>
            </p:cNvSpPr>
            <p:nvPr/>
          </p:nvSpPr>
          <p:spPr bwMode="auto">
            <a:xfrm>
              <a:off x="9682163" y="3494088"/>
              <a:ext cx="338137" cy="163513"/>
            </a:xfrm>
            <a:custGeom>
              <a:avLst/>
              <a:gdLst>
                <a:gd name="T0" fmla="*/ 1955 w 2048"/>
                <a:gd name="T1" fmla="*/ 372 h 993"/>
                <a:gd name="T2" fmla="*/ 1427 w 2048"/>
                <a:gd name="T3" fmla="*/ 372 h 993"/>
                <a:gd name="T4" fmla="*/ 1427 w 2048"/>
                <a:gd name="T5" fmla="*/ 93 h 993"/>
                <a:gd name="T6" fmla="*/ 1334 w 2048"/>
                <a:gd name="T7" fmla="*/ 0 h 993"/>
                <a:gd name="T8" fmla="*/ 714 w 2048"/>
                <a:gd name="T9" fmla="*/ 0 h 993"/>
                <a:gd name="T10" fmla="*/ 621 w 2048"/>
                <a:gd name="T11" fmla="*/ 93 h 993"/>
                <a:gd name="T12" fmla="*/ 621 w 2048"/>
                <a:gd name="T13" fmla="*/ 372 h 993"/>
                <a:gd name="T14" fmla="*/ 93 w 2048"/>
                <a:gd name="T15" fmla="*/ 372 h 993"/>
                <a:gd name="T16" fmla="*/ 0 w 2048"/>
                <a:gd name="T17" fmla="*/ 465 h 993"/>
                <a:gd name="T18" fmla="*/ 0 w 2048"/>
                <a:gd name="T19" fmla="*/ 781 h 993"/>
                <a:gd name="T20" fmla="*/ 93 w 2048"/>
                <a:gd name="T21" fmla="*/ 804 h 993"/>
                <a:gd name="T22" fmla="*/ 186 w 2048"/>
                <a:gd name="T23" fmla="*/ 827 h 993"/>
                <a:gd name="T24" fmla="*/ 849 w 2048"/>
                <a:gd name="T25" fmla="*/ 993 h 993"/>
                <a:gd name="T26" fmla="*/ 1199 w 2048"/>
                <a:gd name="T27" fmla="*/ 993 h 993"/>
                <a:gd name="T28" fmla="*/ 1862 w 2048"/>
                <a:gd name="T29" fmla="*/ 827 h 993"/>
                <a:gd name="T30" fmla="*/ 1955 w 2048"/>
                <a:gd name="T31" fmla="*/ 804 h 993"/>
                <a:gd name="T32" fmla="*/ 2048 w 2048"/>
                <a:gd name="T33" fmla="*/ 781 h 993"/>
                <a:gd name="T34" fmla="*/ 2048 w 2048"/>
                <a:gd name="T35" fmla="*/ 465 h 993"/>
                <a:gd name="T36" fmla="*/ 1955 w 2048"/>
                <a:gd name="T37" fmla="*/ 372 h 993"/>
                <a:gd name="T38" fmla="*/ 1241 w 2048"/>
                <a:gd name="T39" fmla="*/ 372 h 993"/>
                <a:gd name="T40" fmla="*/ 807 w 2048"/>
                <a:gd name="T41" fmla="*/ 372 h 993"/>
                <a:gd name="T42" fmla="*/ 807 w 2048"/>
                <a:gd name="T43" fmla="*/ 186 h 993"/>
                <a:gd name="T44" fmla="*/ 1241 w 2048"/>
                <a:gd name="T45" fmla="*/ 186 h 993"/>
                <a:gd name="T46" fmla="*/ 1241 w 2048"/>
                <a:gd name="T47" fmla="*/ 372 h 9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048" h="993">
                  <a:moveTo>
                    <a:pt x="1955" y="372"/>
                  </a:moveTo>
                  <a:cubicBezTo>
                    <a:pt x="1427" y="372"/>
                    <a:pt x="1427" y="372"/>
                    <a:pt x="1427" y="372"/>
                  </a:cubicBezTo>
                  <a:cubicBezTo>
                    <a:pt x="1427" y="93"/>
                    <a:pt x="1427" y="93"/>
                    <a:pt x="1427" y="93"/>
                  </a:cubicBezTo>
                  <a:cubicBezTo>
                    <a:pt x="1427" y="42"/>
                    <a:pt x="1386" y="0"/>
                    <a:pt x="1334" y="0"/>
                  </a:cubicBezTo>
                  <a:cubicBezTo>
                    <a:pt x="714" y="0"/>
                    <a:pt x="714" y="0"/>
                    <a:pt x="714" y="0"/>
                  </a:cubicBezTo>
                  <a:cubicBezTo>
                    <a:pt x="662" y="0"/>
                    <a:pt x="621" y="42"/>
                    <a:pt x="621" y="93"/>
                  </a:cubicBezTo>
                  <a:cubicBezTo>
                    <a:pt x="621" y="372"/>
                    <a:pt x="621" y="372"/>
                    <a:pt x="621" y="372"/>
                  </a:cubicBezTo>
                  <a:cubicBezTo>
                    <a:pt x="93" y="372"/>
                    <a:pt x="93" y="372"/>
                    <a:pt x="93" y="372"/>
                  </a:cubicBezTo>
                  <a:cubicBezTo>
                    <a:pt x="42" y="372"/>
                    <a:pt x="0" y="414"/>
                    <a:pt x="0" y="465"/>
                  </a:cubicBezTo>
                  <a:cubicBezTo>
                    <a:pt x="0" y="781"/>
                    <a:pt x="0" y="781"/>
                    <a:pt x="0" y="781"/>
                  </a:cubicBezTo>
                  <a:cubicBezTo>
                    <a:pt x="93" y="804"/>
                    <a:pt x="93" y="804"/>
                    <a:pt x="93" y="804"/>
                  </a:cubicBezTo>
                  <a:cubicBezTo>
                    <a:pt x="186" y="827"/>
                    <a:pt x="186" y="827"/>
                    <a:pt x="186" y="827"/>
                  </a:cubicBezTo>
                  <a:cubicBezTo>
                    <a:pt x="849" y="993"/>
                    <a:pt x="849" y="993"/>
                    <a:pt x="849" y="993"/>
                  </a:cubicBezTo>
                  <a:cubicBezTo>
                    <a:pt x="1199" y="993"/>
                    <a:pt x="1199" y="993"/>
                    <a:pt x="1199" y="993"/>
                  </a:cubicBezTo>
                  <a:cubicBezTo>
                    <a:pt x="1862" y="827"/>
                    <a:pt x="1862" y="827"/>
                    <a:pt x="1862" y="827"/>
                  </a:cubicBezTo>
                  <a:cubicBezTo>
                    <a:pt x="1955" y="804"/>
                    <a:pt x="1955" y="804"/>
                    <a:pt x="1955" y="804"/>
                  </a:cubicBezTo>
                  <a:cubicBezTo>
                    <a:pt x="2048" y="781"/>
                    <a:pt x="2048" y="781"/>
                    <a:pt x="2048" y="781"/>
                  </a:cubicBezTo>
                  <a:cubicBezTo>
                    <a:pt x="2048" y="465"/>
                    <a:pt x="2048" y="465"/>
                    <a:pt x="2048" y="465"/>
                  </a:cubicBezTo>
                  <a:cubicBezTo>
                    <a:pt x="2048" y="414"/>
                    <a:pt x="2006" y="372"/>
                    <a:pt x="1955" y="372"/>
                  </a:cubicBezTo>
                  <a:close/>
                  <a:moveTo>
                    <a:pt x="1241" y="372"/>
                  </a:moveTo>
                  <a:cubicBezTo>
                    <a:pt x="807" y="372"/>
                    <a:pt x="807" y="372"/>
                    <a:pt x="807" y="372"/>
                  </a:cubicBezTo>
                  <a:cubicBezTo>
                    <a:pt x="807" y="186"/>
                    <a:pt x="807" y="186"/>
                    <a:pt x="807" y="186"/>
                  </a:cubicBezTo>
                  <a:cubicBezTo>
                    <a:pt x="1241" y="186"/>
                    <a:pt x="1241" y="186"/>
                    <a:pt x="1241" y="186"/>
                  </a:cubicBezTo>
                  <a:lnTo>
                    <a:pt x="1241" y="3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33333"/>
                </a:solidFill>
                <a:effectLst/>
                <a:uLnTx/>
                <a:uFillTx/>
                <a:latin typeface="Open Sans"/>
                <a:ea typeface="+mn-ea"/>
                <a:cs typeface="+mn-cs"/>
              </a:endParaRPr>
            </a:p>
          </p:txBody>
        </p:sp>
        <p:sp>
          <p:nvSpPr>
            <p:cNvPr id="27" name="Freeform 20">
              <a:extLst>
                <a:ext uri="{FF2B5EF4-FFF2-40B4-BE49-F238E27FC236}">
                  <a16:creationId xmlns:a16="http://schemas.microsoft.com/office/drawing/2014/main" id="{41BBE96C-43E6-4ACC-85ED-63B2097136A7}"/>
                </a:ext>
              </a:extLst>
            </p:cNvPr>
            <p:cNvSpPr>
              <a:spLocks/>
            </p:cNvSpPr>
            <p:nvPr/>
          </p:nvSpPr>
          <p:spPr bwMode="auto">
            <a:xfrm>
              <a:off x="9682163" y="3654426"/>
              <a:ext cx="338137" cy="176213"/>
            </a:xfrm>
            <a:custGeom>
              <a:avLst/>
              <a:gdLst>
                <a:gd name="T0" fmla="*/ 1955 w 2048"/>
                <a:gd name="T1" fmla="*/ 23 h 1075"/>
                <a:gd name="T2" fmla="*/ 1862 w 2048"/>
                <a:gd name="T3" fmla="*/ 46 h 1075"/>
                <a:gd name="T4" fmla="*/ 1303 w 2048"/>
                <a:gd name="T5" fmla="*/ 186 h 1075"/>
                <a:gd name="T6" fmla="*/ 1303 w 2048"/>
                <a:gd name="T7" fmla="*/ 485 h 1075"/>
                <a:gd name="T8" fmla="*/ 1210 w 2048"/>
                <a:gd name="T9" fmla="*/ 579 h 1075"/>
                <a:gd name="T10" fmla="*/ 838 w 2048"/>
                <a:gd name="T11" fmla="*/ 579 h 1075"/>
                <a:gd name="T12" fmla="*/ 745 w 2048"/>
                <a:gd name="T13" fmla="*/ 485 h 1075"/>
                <a:gd name="T14" fmla="*/ 745 w 2048"/>
                <a:gd name="T15" fmla="*/ 186 h 1075"/>
                <a:gd name="T16" fmla="*/ 186 w 2048"/>
                <a:gd name="T17" fmla="*/ 46 h 1075"/>
                <a:gd name="T18" fmla="*/ 93 w 2048"/>
                <a:gd name="T19" fmla="*/ 23 h 1075"/>
                <a:gd name="T20" fmla="*/ 0 w 2048"/>
                <a:gd name="T21" fmla="*/ 0 h 1075"/>
                <a:gd name="T22" fmla="*/ 0 w 2048"/>
                <a:gd name="T23" fmla="*/ 982 h 1075"/>
                <a:gd name="T24" fmla="*/ 93 w 2048"/>
                <a:gd name="T25" fmla="*/ 1075 h 1075"/>
                <a:gd name="T26" fmla="*/ 1955 w 2048"/>
                <a:gd name="T27" fmla="*/ 1075 h 1075"/>
                <a:gd name="T28" fmla="*/ 2048 w 2048"/>
                <a:gd name="T29" fmla="*/ 982 h 1075"/>
                <a:gd name="T30" fmla="*/ 2048 w 2048"/>
                <a:gd name="T31" fmla="*/ 0 h 1075"/>
                <a:gd name="T32" fmla="*/ 1955 w 2048"/>
                <a:gd name="T33" fmla="*/ 23 h 10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48" h="1075">
                  <a:moveTo>
                    <a:pt x="1955" y="23"/>
                  </a:moveTo>
                  <a:cubicBezTo>
                    <a:pt x="1862" y="46"/>
                    <a:pt x="1862" y="46"/>
                    <a:pt x="1862" y="46"/>
                  </a:cubicBezTo>
                  <a:cubicBezTo>
                    <a:pt x="1303" y="186"/>
                    <a:pt x="1303" y="186"/>
                    <a:pt x="1303" y="186"/>
                  </a:cubicBezTo>
                  <a:cubicBezTo>
                    <a:pt x="1303" y="485"/>
                    <a:pt x="1303" y="485"/>
                    <a:pt x="1303" y="485"/>
                  </a:cubicBezTo>
                  <a:cubicBezTo>
                    <a:pt x="1303" y="537"/>
                    <a:pt x="1262" y="579"/>
                    <a:pt x="1210" y="579"/>
                  </a:cubicBezTo>
                  <a:cubicBezTo>
                    <a:pt x="838" y="579"/>
                    <a:pt x="838" y="579"/>
                    <a:pt x="838" y="579"/>
                  </a:cubicBezTo>
                  <a:cubicBezTo>
                    <a:pt x="786" y="579"/>
                    <a:pt x="745" y="537"/>
                    <a:pt x="745" y="485"/>
                  </a:cubicBezTo>
                  <a:cubicBezTo>
                    <a:pt x="745" y="186"/>
                    <a:pt x="745" y="186"/>
                    <a:pt x="745" y="186"/>
                  </a:cubicBezTo>
                  <a:cubicBezTo>
                    <a:pt x="186" y="46"/>
                    <a:pt x="186" y="46"/>
                    <a:pt x="186" y="46"/>
                  </a:cubicBezTo>
                  <a:cubicBezTo>
                    <a:pt x="93" y="23"/>
                    <a:pt x="93" y="23"/>
                    <a:pt x="93" y="23"/>
                  </a:cubicBezTo>
                  <a:cubicBezTo>
                    <a:pt x="0" y="0"/>
                    <a:pt x="0" y="0"/>
                    <a:pt x="0" y="0"/>
                  </a:cubicBezTo>
                  <a:cubicBezTo>
                    <a:pt x="0" y="982"/>
                    <a:pt x="0" y="982"/>
                    <a:pt x="0" y="982"/>
                  </a:cubicBezTo>
                  <a:cubicBezTo>
                    <a:pt x="0" y="1033"/>
                    <a:pt x="42" y="1075"/>
                    <a:pt x="93" y="1075"/>
                  </a:cubicBezTo>
                  <a:cubicBezTo>
                    <a:pt x="1955" y="1075"/>
                    <a:pt x="1955" y="1075"/>
                    <a:pt x="1955" y="1075"/>
                  </a:cubicBezTo>
                  <a:cubicBezTo>
                    <a:pt x="2006" y="1075"/>
                    <a:pt x="2048" y="1033"/>
                    <a:pt x="2048" y="982"/>
                  </a:cubicBezTo>
                  <a:cubicBezTo>
                    <a:pt x="2048" y="0"/>
                    <a:pt x="2048" y="0"/>
                    <a:pt x="2048" y="0"/>
                  </a:cubicBezTo>
                  <a:lnTo>
                    <a:pt x="1955" y="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33333"/>
                </a:solidFill>
                <a:effectLst/>
                <a:uLnTx/>
                <a:uFillTx/>
                <a:latin typeface="Open Sans"/>
                <a:ea typeface="+mn-ea"/>
                <a:cs typeface="+mn-cs"/>
              </a:endParaRPr>
            </a:p>
          </p:txBody>
        </p:sp>
      </p:grpSp>
      <p:grpSp>
        <p:nvGrpSpPr>
          <p:cNvPr id="28" name="Group 40">
            <a:extLst>
              <a:ext uri="{FF2B5EF4-FFF2-40B4-BE49-F238E27FC236}">
                <a16:creationId xmlns:a16="http://schemas.microsoft.com/office/drawing/2014/main" id="{64C1FEA4-0416-45EA-9CC1-3E7FACFBEF82}"/>
              </a:ext>
            </a:extLst>
          </p:cNvPr>
          <p:cNvGrpSpPr/>
          <p:nvPr/>
        </p:nvGrpSpPr>
        <p:grpSpPr>
          <a:xfrm>
            <a:off x="5180578" y="5160865"/>
            <a:ext cx="342266" cy="378020"/>
            <a:chOff x="5153025" y="2384426"/>
            <a:chExt cx="1884363" cy="2081213"/>
          </a:xfrm>
          <a:solidFill>
            <a:srgbClr val="FFFFFF"/>
          </a:solidFill>
        </p:grpSpPr>
        <p:sp>
          <p:nvSpPr>
            <p:cNvPr id="29" name="Freeform 5">
              <a:extLst>
                <a:ext uri="{FF2B5EF4-FFF2-40B4-BE49-F238E27FC236}">
                  <a16:creationId xmlns:a16="http://schemas.microsoft.com/office/drawing/2014/main" id="{5EE4C010-2378-443A-8107-09FF2E985DF3}"/>
                </a:ext>
              </a:extLst>
            </p:cNvPr>
            <p:cNvSpPr>
              <a:spLocks/>
            </p:cNvSpPr>
            <p:nvPr/>
          </p:nvSpPr>
          <p:spPr bwMode="auto">
            <a:xfrm>
              <a:off x="5529263" y="2384426"/>
              <a:ext cx="377825" cy="763588"/>
            </a:xfrm>
            <a:custGeom>
              <a:avLst/>
              <a:gdLst>
                <a:gd name="T0" fmla="*/ 252 w 373"/>
                <a:gd name="T1" fmla="*/ 409 h 754"/>
                <a:gd name="T2" fmla="*/ 187 w 373"/>
                <a:gd name="T3" fmla="*/ 288 h 754"/>
                <a:gd name="T4" fmla="*/ 252 w 373"/>
                <a:gd name="T5" fmla="*/ 168 h 754"/>
                <a:gd name="T6" fmla="*/ 252 w 373"/>
                <a:gd name="T7" fmla="*/ 36 h 754"/>
                <a:gd name="T8" fmla="*/ 121 w 373"/>
                <a:gd name="T9" fmla="*/ 36 h 754"/>
                <a:gd name="T10" fmla="*/ 0 w 373"/>
                <a:gd name="T11" fmla="*/ 288 h 754"/>
                <a:gd name="T12" fmla="*/ 121 w 373"/>
                <a:gd name="T13" fmla="*/ 540 h 754"/>
                <a:gd name="T14" fmla="*/ 187 w 373"/>
                <a:gd name="T15" fmla="*/ 661 h 754"/>
                <a:gd name="T16" fmla="*/ 280 w 373"/>
                <a:gd name="T17" fmla="*/ 754 h 754"/>
                <a:gd name="T18" fmla="*/ 373 w 373"/>
                <a:gd name="T19" fmla="*/ 661 h 754"/>
                <a:gd name="T20" fmla="*/ 252 w 373"/>
                <a:gd name="T21" fmla="*/ 409 h 7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3" h="754">
                  <a:moveTo>
                    <a:pt x="252" y="409"/>
                  </a:moveTo>
                  <a:cubicBezTo>
                    <a:pt x="207" y="363"/>
                    <a:pt x="187" y="341"/>
                    <a:pt x="187" y="288"/>
                  </a:cubicBezTo>
                  <a:cubicBezTo>
                    <a:pt x="187" y="236"/>
                    <a:pt x="207" y="214"/>
                    <a:pt x="252" y="168"/>
                  </a:cubicBezTo>
                  <a:cubicBezTo>
                    <a:pt x="289" y="132"/>
                    <a:pt x="289" y="73"/>
                    <a:pt x="252" y="36"/>
                  </a:cubicBezTo>
                  <a:cubicBezTo>
                    <a:pt x="216" y="0"/>
                    <a:pt x="157" y="0"/>
                    <a:pt x="121" y="36"/>
                  </a:cubicBezTo>
                  <a:cubicBezTo>
                    <a:pt x="70" y="87"/>
                    <a:pt x="0" y="157"/>
                    <a:pt x="0" y="288"/>
                  </a:cubicBezTo>
                  <a:cubicBezTo>
                    <a:pt x="0" y="420"/>
                    <a:pt x="70" y="489"/>
                    <a:pt x="121" y="540"/>
                  </a:cubicBezTo>
                  <a:cubicBezTo>
                    <a:pt x="166" y="586"/>
                    <a:pt x="187" y="608"/>
                    <a:pt x="187" y="661"/>
                  </a:cubicBezTo>
                  <a:cubicBezTo>
                    <a:pt x="187" y="712"/>
                    <a:pt x="228" y="754"/>
                    <a:pt x="280" y="754"/>
                  </a:cubicBezTo>
                  <a:cubicBezTo>
                    <a:pt x="331" y="754"/>
                    <a:pt x="373" y="712"/>
                    <a:pt x="373" y="661"/>
                  </a:cubicBezTo>
                  <a:cubicBezTo>
                    <a:pt x="373" y="529"/>
                    <a:pt x="303" y="459"/>
                    <a:pt x="252" y="40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33333"/>
                </a:solidFill>
                <a:effectLst/>
                <a:uLnTx/>
                <a:uFillTx/>
                <a:latin typeface="Open Sans"/>
                <a:ea typeface="+mn-ea"/>
                <a:cs typeface="+mn-cs"/>
              </a:endParaRPr>
            </a:p>
          </p:txBody>
        </p:sp>
        <p:sp>
          <p:nvSpPr>
            <p:cNvPr id="30" name="Freeform 6">
              <a:extLst>
                <a:ext uri="{FF2B5EF4-FFF2-40B4-BE49-F238E27FC236}">
                  <a16:creationId xmlns:a16="http://schemas.microsoft.com/office/drawing/2014/main" id="{DF38730E-875A-457C-B1E2-0679A8CD84AF}"/>
                </a:ext>
              </a:extLst>
            </p:cNvPr>
            <p:cNvSpPr>
              <a:spLocks/>
            </p:cNvSpPr>
            <p:nvPr/>
          </p:nvSpPr>
          <p:spPr bwMode="auto">
            <a:xfrm>
              <a:off x="5970588" y="2384426"/>
              <a:ext cx="376238" cy="763588"/>
            </a:xfrm>
            <a:custGeom>
              <a:avLst/>
              <a:gdLst>
                <a:gd name="T0" fmla="*/ 252 w 372"/>
                <a:gd name="T1" fmla="*/ 409 h 754"/>
                <a:gd name="T2" fmla="*/ 186 w 372"/>
                <a:gd name="T3" fmla="*/ 288 h 754"/>
                <a:gd name="T4" fmla="*/ 252 w 372"/>
                <a:gd name="T5" fmla="*/ 168 h 754"/>
                <a:gd name="T6" fmla="*/ 252 w 372"/>
                <a:gd name="T7" fmla="*/ 36 h 754"/>
                <a:gd name="T8" fmla="*/ 120 w 372"/>
                <a:gd name="T9" fmla="*/ 36 h 754"/>
                <a:gd name="T10" fmla="*/ 0 w 372"/>
                <a:gd name="T11" fmla="*/ 288 h 754"/>
                <a:gd name="T12" fmla="*/ 120 w 372"/>
                <a:gd name="T13" fmla="*/ 540 h 754"/>
                <a:gd name="T14" fmla="*/ 186 w 372"/>
                <a:gd name="T15" fmla="*/ 661 h 754"/>
                <a:gd name="T16" fmla="*/ 279 w 372"/>
                <a:gd name="T17" fmla="*/ 754 h 754"/>
                <a:gd name="T18" fmla="*/ 372 w 372"/>
                <a:gd name="T19" fmla="*/ 661 h 754"/>
                <a:gd name="T20" fmla="*/ 252 w 372"/>
                <a:gd name="T21" fmla="*/ 409 h 7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2" h="754">
                  <a:moveTo>
                    <a:pt x="252" y="409"/>
                  </a:moveTo>
                  <a:cubicBezTo>
                    <a:pt x="206" y="363"/>
                    <a:pt x="186" y="341"/>
                    <a:pt x="186" y="288"/>
                  </a:cubicBezTo>
                  <a:cubicBezTo>
                    <a:pt x="186" y="236"/>
                    <a:pt x="206" y="214"/>
                    <a:pt x="252" y="168"/>
                  </a:cubicBezTo>
                  <a:cubicBezTo>
                    <a:pt x="288" y="132"/>
                    <a:pt x="288" y="73"/>
                    <a:pt x="252" y="36"/>
                  </a:cubicBezTo>
                  <a:cubicBezTo>
                    <a:pt x="216" y="0"/>
                    <a:pt x="157" y="0"/>
                    <a:pt x="120" y="36"/>
                  </a:cubicBezTo>
                  <a:cubicBezTo>
                    <a:pt x="69" y="87"/>
                    <a:pt x="0" y="157"/>
                    <a:pt x="0" y="288"/>
                  </a:cubicBezTo>
                  <a:cubicBezTo>
                    <a:pt x="0" y="420"/>
                    <a:pt x="69" y="489"/>
                    <a:pt x="120" y="540"/>
                  </a:cubicBezTo>
                  <a:cubicBezTo>
                    <a:pt x="166" y="586"/>
                    <a:pt x="186" y="608"/>
                    <a:pt x="186" y="661"/>
                  </a:cubicBezTo>
                  <a:cubicBezTo>
                    <a:pt x="186" y="712"/>
                    <a:pt x="228" y="754"/>
                    <a:pt x="279" y="754"/>
                  </a:cubicBezTo>
                  <a:cubicBezTo>
                    <a:pt x="331" y="754"/>
                    <a:pt x="372" y="712"/>
                    <a:pt x="372" y="661"/>
                  </a:cubicBezTo>
                  <a:cubicBezTo>
                    <a:pt x="372" y="529"/>
                    <a:pt x="303" y="459"/>
                    <a:pt x="252" y="40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33333"/>
                </a:solidFill>
                <a:effectLst/>
                <a:uLnTx/>
                <a:uFillTx/>
                <a:latin typeface="Open Sans"/>
                <a:ea typeface="+mn-ea"/>
                <a:cs typeface="+mn-cs"/>
              </a:endParaRPr>
            </a:p>
          </p:txBody>
        </p:sp>
        <p:sp>
          <p:nvSpPr>
            <p:cNvPr id="31" name="Freeform 7">
              <a:extLst>
                <a:ext uri="{FF2B5EF4-FFF2-40B4-BE49-F238E27FC236}">
                  <a16:creationId xmlns:a16="http://schemas.microsoft.com/office/drawing/2014/main" id="{D03B0AB0-F5BE-4537-AF77-78D1CC9DF5A4}"/>
                </a:ext>
              </a:extLst>
            </p:cNvPr>
            <p:cNvSpPr>
              <a:spLocks noEditPoints="1"/>
            </p:cNvSpPr>
            <p:nvPr/>
          </p:nvSpPr>
          <p:spPr bwMode="auto">
            <a:xfrm>
              <a:off x="5153025" y="3335340"/>
              <a:ext cx="1884363" cy="1130299"/>
            </a:xfrm>
            <a:custGeom>
              <a:avLst/>
              <a:gdLst>
                <a:gd name="T0" fmla="*/ 1433 w 1862"/>
                <a:gd name="T1" fmla="*/ 683 h 1117"/>
                <a:gd name="T2" fmla="*/ 1521 w 1862"/>
                <a:gd name="T3" fmla="*/ 683 h 1117"/>
                <a:gd name="T4" fmla="*/ 1521 w 1862"/>
                <a:gd name="T5" fmla="*/ 683 h 1117"/>
                <a:gd name="T6" fmla="*/ 1862 w 1862"/>
                <a:gd name="T7" fmla="*/ 341 h 1117"/>
                <a:gd name="T8" fmla="*/ 1521 w 1862"/>
                <a:gd name="T9" fmla="*/ 0 h 1117"/>
                <a:gd name="T10" fmla="*/ 1396 w 1862"/>
                <a:gd name="T11" fmla="*/ 0 h 1117"/>
                <a:gd name="T12" fmla="*/ 155 w 1862"/>
                <a:gd name="T13" fmla="*/ 0 h 1117"/>
                <a:gd name="T14" fmla="*/ 62 w 1862"/>
                <a:gd name="T15" fmla="*/ 93 h 1117"/>
                <a:gd name="T16" fmla="*/ 62 w 1862"/>
                <a:gd name="T17" fmla="*/ 403 h 1117"/>
                <a:gd name="T18" fmla="*/ 296 w 1862"/>
                <a:gd name="T19" fmla="*/ 931 h 1117"/>
                <a:gd name="T20" fmla="*/ 93 w 1862"/>
                <a:gd name="T21" fmla="*/ 931 h 1117"/>
                <a:gd name="T22" fmla="*/ 0 w 1862"/>
                <a:gd name="T23" fmla="*/ 1024 h 1117"/>
                <a:gd name="T24" fmla="*/ 93 w 1862"/>
                <a:gd name="T25" fmla="*/ 1117 h 1117"/>
                <a:gd name="T26" fmla="*/ 776 w 1862"/>
                <a:gd name="T27" fmla="*/ 1117 h 1117"/>
                <a:gd name="T28" fmla="*/ 1459 w 1862"/>
                <a:gd name="T29" fmla="*/ 1117 h 1117"/>
                <a:gd name="T30" fmla="*/ 1552 w 1862"/>
                <a:gd name="T31" fmla="*/ 1024 h 1117"/>
                <a:gd name="T32" fmla="*/ 1459 w 1862"/>
                <a:gd name="T33" fmla="*/ 931 h 1117"/>
                <a:gd name="T34" fmla="*/ 1256 w 1862"/>
                <a:gd name="T35" fmla="*/ 931 h 1117"/>
                <a:gd name="T36" fmla="*/ 1433 w 1862"/>
                <a:gd name="T37" fmla="*/ 683 h 1117"/>
                <a:gd name="T38" fmla="*/ 1490 w 1862"/>
                <a:gd name="T39" fmla="*/ 403 h 1117"/>
                <a:gd name="T40" fmla="*/ 1490 w 1862"/>
                <a:gd name="T41" fmla="*/ 186 h 1117"/>
                <a:gd name="T42" fmla="*/ 1521 w 1862"/>
                <a:gd name="T43" fmla="*/ 186 h 1117"/>
                <a:gd name="T44" fmla="*/ 1676 w 1862"/>
                <a:gd name="T45" fmla="*/ 341 h 1117"/>
                <a:gd name="T46" fmla="*/ 1521 w 1862"/>
                <a:gd name="T47" fmla="*/ 496 h 1117"/>
                <a:gd name="T48" fmla="*/ 1520 w 1862"/>
                <a:gd name="T49" fmla="*/ 496 h 1117"/>
                <a:gd name="T50" fmla="*/ 1483 w 1862"/>
                <a:gd name="T51" fmla="*/ 496 h 1117"/>
                <a:gd name="T52" fmla="*/ 1490 w 1862"/>
                <a:gd name="T53" fmla="*/ 403 h 1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62" h="1117">
                  <a:moveTo>
                    <a:pt x="1433" y="683"/>
                  </a:moveTo>
                  <a:cubicBezTo>
                    <a:pt x="1521" y="683"/>
                    <a:pt x="1521" y="683"/>
                    <a:pt x="1521" y="683"/>
                  </a:cubicBezTo>
                  <a:cubicBezTo>
                    <a:pt x="1521" y="683"/>
                    <a:pt x="1521" y="683"/>
                    <a:pt x="1521" y="683"/>
                  </a:cubicBezTo>
                  <a:cubicBezTo>
                    <a:pt x="1709" y="682"/>
                    <a:pt x="1862" y="529"/>
                    <a:pt x="1862" y="341"/>
                  </a:cubicBezTo>
                  <a:cubicBezTo>
                    <a:pt x="1862" y="153"/>
                    <a:pt x="1709" y="0"/>
                    <a:pt x="1521" y="0"/>
                  </a:cubicBezTo>
                  <a:cubicBezTo>
                    <a:pt x="1396" y="0"/>
                    <a:pt x="1396" y="0"/>
                    <a:pt x="1396" y="0"/>
                  </a:cubicBezTo>
                  <a:cubicBezTo>
                    <a:pt x="155" y="0"/>
                    <a:pt x="155" y="0"/>
                    <a:pt x="155" y="0"/>
                  </a:cubicBezTo>
                  <a:cubicBezTo>
                    <a:pt x="104" y="0"/>
                    <a:pt x="62" y="42"/>
                    <a:pt x="62" y="93"/>
                  </a:cubicBezTo>
                  <a:cubicBezTo>
                    <a:pt x="62" y="403"/>
                    <a:pt x="62" y="403"/>
                    <a:pt x="62" y="403"/>
                  </a:cubicBezTo>
                  <a:cubicBezTo>
                    <a:pt x="62" y="612"/>
                    <a:pt x="152" y="800"/>
                    <a:pt x="296" y="931"/>
                  </a:cubicBezTo>
                  <a:cubicBezTo>
                    <a:pt x="93" y="931"/>
                    <a:pt x="93" y="931"/>
                    <a:pt x="93" y="931"/>
                  </a:cubicBezTo>
                  <a:cubicBezTo>
                    <a:pt x="42" y="931"/>
                    <a:pt x="0" y="972"/>
                    <a:pt x="0" y="1024"/>
                  </a:cubicBezTo>
                  <a:cubicBezTo>
                    <a:pt x="0" y="1075"/>
                    <a:pt x="42" y="1117"/>
                    <a:pt x="93" y="1117"/>
                  </a:cubicBezTo>
                  <a:cubicBezTo>
                    <a:pt x="776" y="1117"/>
                    <a:pt x="776" y="1117"/>
                    <a:pt x="776" y="1117"/>
                  </a:cubicBezTo>
                  <a:cubicBezTo>
                    <a:pt x="1459" y="1117"/>
                    <a:pt x="1459" y="1117"/>
                    <a:pt x="1459" y="1117"/>
                  </a:cubicBezTo>
                  <a:cubicBezTo>
                    <a:pt x="1510" y="1117"/>
                    <a:pt x="1552" y="1075"/>
                    <a:pt x="1552" y="1024"/>
                  </a:cubicBezTo>
                  <a:cubicBezTo>
                    <a:pt x="1552" y="972"/>
                    <a:pt x="1510" y="931"/>
                    <a:pt x="1459" y="931"/>
                  </a:cubicBezTo>
                  <a:cubicBezTo>
                    <a:pt x="1256" y="931"/>
                    <a:pt x="1256" y="931"/>
                    <a:pt x="1256" y="931"/>
                  </a:cubicBezTo>
                  <a:cubicBezTo>
                    <a:pt x="1331" y="862"/>
                    <a:pt x="1392" y="778"/>
                    <a:pt x="1433" y="683"/>
                  </a:cubicBezTo>
                  <a:close/>
                  <a:moveTo>
                    <a:pt x="1490" y="403"/>
                  </a:moveTo>
                  <a:cubicBezTo>
                    <a:pt x="1490" y="186"/>
                    <a:pt x="1490" y="186"/>
                    <a:pt x="1490" y="186"/>
                  </a:cubicBezTo>
                  <a:cubicBezTo>
                    <a:pt x="1521" y="186"/>
                    <a:pt x="1521" y="186"/>
                    <a:pt x="1521" y="186"/>
                  </a:cubicBezTo>
                  <a:cubicBezTo>
                    <a:pt x="1606" y="186"/>
                    <a:pt x="1676" y="256"/>
                    <a:pt x="1676" y="341"/>
                  </a:cubicBezTo>
                  <a:cubicBezTo>
                    <a:pt x="1676" y="427"/>
                    <a:pt x="1606" y="496"/>
                    <a:pt x="1521" y="496"/>
                  </a:cubicBezTo>
                  <a:cubicBezTo>
                    <a:pt x="1521" y="496"/>
                    <a:pt x="1521" y="496"/>
                    <a:pt x="1520" y="496"/>
                  </a:cubicBezTo>
                  <a:cubicBezTo>
                    <a:pt x="1483" y="496"/>
                    <a:pt x="1483" y="496"/>
                    <a:pt x="1483" y="496"/>
                  </a:cubicBezTo>
                  <a:cubicBezTo>
                    <a:pt x="1487" y="466"/>
                    <a:pt x="1490" y="435"/>
                    <a:pt x="1490" y="4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33333"/>
                </a:solidFill>
                <a:effectLst/>
                <a:uLnTx/>
                <a:uFillTx/>
                <a:latin typeface="Open Sans"/>
                <a:ea typeface="+mn-ea"/>
                <a:cs typeface="+mn-cs"/>
              </a:endParaRPr>
            </a:p>
          </p:txBody>
        </p:sp>
      </p:grpSp>
      <p:sp>
        <p:nvSpPr>
          <p:cNvPr id="37" name="文本框 36">
            <a:extLst>
              <a:ext uri="{FF2B5EF4-FFF2-40B4-BE49-F238E27FC236}">
                <a16:creationId xmlns:a16="http://schemas.microsoft.com/office/drawing/2014/main" id="{1B8648E4-2E56-4C0B-AB0C-CE35AA3806F8}"/>
              </a:ext>
            </a:extLst>
          </p:cNvPr>
          <p:cNvSpPr txBox="1"/>
          <p:nvPr/>
        </p:nvSpPr>
        <p:spPr>
          <a:xfrm>
            <a:off x="4443144" y="918105"/>
            <a:ext cx="3305713" cy="52322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2800" b="0" i="0" u="none" strike="noStrike" kern="1200" cap="none" spc="0" normalizeH="0" baseline="0" noProof="0" dirty="0">
                <a:ln>
                  <a:noFill/>
                </a:ln>
                <a:solidFill>
                  <a:prstClr val="black"/>
                </a:solidFill>
                <a:effectLst/>
                <a:uLnTx/>
                <a:uFillTx/>
                <a:latin typeface="HarmonyOS Sans Black"/>
                <a:ea typeface="+mj-ea"/>
                <a:cs typeface="+mn-cs"/>
              </a:rPr>
              <a:t>Circle </a:t>
            </a:r>
            <a:r>
              <a:rPr kumimoji="0" lang="en-US" altLang="zh-CN" sz="2800" b="0" i="0" u="none" strike="noStrike" kern="1200" cap="none" spc="0" normalizeH="0" baseline="0" noProof="0" dirty="0">
                <a:ln>
                  <a:noFill/>
                </a:ln>
                <a:solidFill>
                  <a:schemeClr val="accent1"/>
                </a:solidFill>
                <a:effectLst/>
                <a:uLnTx/>
                <a:uFillTx/>
                <a:latin typeface="HarmonyOS Sans Black"/>
                <a:ea typeface="+mj-ea"/>
                <a:cs typeface="+mn-cs"/>
              </a:rPr>
              <a:t>Infographic</a:t>
            </a:r>
          </a:p>
        </p:txBody>
      </p:sp>
      <p:sp>
        <p:nvSpPr>
          <p:cNvPr id="38" name="TextBox 48">
            <a:extLst>
              <a:ext uri="{FF2B5EF4-FFF2-40B4-BE49-F238E27FC236}">
                <a16:creationId xmlns:a16="http://schemas.microsoft.com/office/drawing/2014/main" id="{E91D3F44-E3A8-4207-833A-F4D1A3ACE1C9}"/>
              </a:ext>
            </a:extLst>
          </p:cNvPr>
          <p:cNvSpPr txBox="1"/>
          <p:nvPr/>
        </p:nvSpPr>
        <p:spPr>
          <a:xfrm>
            <a:off x="1637506" y="3553316"/>
            <a:ext cx="2152650" cy="335669"/>
          </a:xfrm>
          <a:prstGeom prst="rect">
            <a:avLst/>
          </a:prstGeom>
          <a:noFill/>
        </p:spPr>
        <p:txBody>
          <a:bodyPr wrap="square" lIns="0" tIns="0" rIns="0" bIns="0" rtlCol="0">
            <a:spAutoFit/>
          </a:bodyPr>
          <a:lstStyle/>
          <a:p>
            <a:pPr marL="0" marR="0" lvl="0" indent="0" algn="r" defTabSz="457200" rtl="0" eaLnBrk="1" fontAlgn="base" latinLnBrk="0" hangingPunct="1">
              <a:lnSpc>
                <a:spcPct val="130000"/>
              </a:lnSpc>
              <a:spcBef>
                <a:spcPts val="1000"/>
              </a:spcBef>
              <a:spcAft>
                <a:spcPts val="0"/>
              </a:spcAft>
              <a:buClrTx/>
              <a:buSzTx/>
              <a:buFontTx/>
              <a:buNone/>
              <a:tabLst/>
              <a:defRPr/>
            </a:pPr>
            <a:r>
              <a:rPr kumimoji="0" lang="zh-CN" altLang="en-US" sz="1800" b="1" i="0" u="none" strike="noStrike" kern="1200" cap="none" spc="0" normalizeH="0" baseline="0" noProof="0" dirty="0">
                <a:ln>
                  <a:noFill/>
                </a:ln>
                <a:solidFill>
                  <a:prstClr val="black">
                    <a:lumMod val="75000"/>
                    <a:lumOff val="25000"/>
                  </a:prstClr>
                </a:solidFill>
                <a:effectLst/>
                <a:uLnTx/>
                <a:uFillTx/>
                <a:latin typeface="HarmonyOS Sans SC"/>
                <a:cs typeface="+mn-cs"/>
              </a:rPr>
              <a:t>关键词标题</a:t>
            </a:r>
            <a:endParaRPr kumimoji="0" lang="en-US" sz="1050" b="0" i="0" u="none" strike="noStrike" kern="1200" cap="none" spc="0" normalizeH="0" baseline="0" noProof="0" dirty="0">
              <a:ln>
                <a:noFill/>
              </a:ln>
              <a:solidFill>
                <a:prstClr val="black">
                  <a:lumMod val="75000"/>
                  <a:lumOff val="25000"/>
                </a:prstClr>
              </a:solidFill>
              <a:effectLst/>
              <a:uLnTx/>
              <a:uFillTx/>
              <a:latin typeface="HarmonyOS Sans SC"/>
              <a:cs typeface="+mn-cs"/>
            </a:endParaRPr>
          </a:p>
        </p:txBody>
      </p:sp>
      <p:sp>
        <p:nvSpPr>
          <p:cNvPr id="39" name="TextBox 48">
            <a:extLst>
              <a:ext uri="{FF2B5EF4-FFF2-40B4-BE49-F238E27FC236}">
                <a16:creationId xmlns:a16="http://schemas.microsoft.com/office/drawing/2014/main" id="{B889B3CA-880A-4C4E-AC3C-6B893AEEF5BB}"/>
              </a:ext>
            </a:extLst>
          </p:cNvPr>
          <p:cNvSpPr txBox="1"/>
          <p:nvPr/>
        </p:nvSpPr>
        <p:spPr>
          <a:xfrm>
            <a:off x="658018" y="3913899"/>
            <a:ext cx="3132138" cy="386516"/>
          </a:xfrm>
          <a:prstGeom prst="rect">
            <a:avLst/>
          </a:prstGeom>
          <a:noFill/>
        </p:spPr>
        <p:txBody>
          <a:bodyPr wrap="square" lIns="0" tIns="0" rIns="0" bIns="0" rtlCol="0">
            <a:spAutoFit/>
          </a:bodyPr>
          <a:lstStyle/>
          <a:p>
            <a:pPr marL="0" marR="0" lvl="0" indent="0" algn="r" defTabSz="457200" rtl="0" eaLnBrk="1" fontAlgn="base" latinLnBrk="0" hangingPunct="1">
              <a:lnSpc>
                <a:spcPct val="130000"/>
              </a:lnSpc>
              <a:spcBef>
                <a:spcPts val="1000"/>
              </a:spcBef>
              <a:spcAft>
                <a:spcPts val="0"/>
              </a:spcAft>
              <a:buClrTx/>
              <a:buSzTx/>
              <a:buFontTx/>
              <a:buNone/>
              <a:tabLst/>
              <a:defRPr/>
            </a:pPr>
            <a:r>
              <a:rPr kumimoji="0" lang="zh-CN" altLang="en-US" sz="1000" b="0" i="0" u="none" strike="noStrike" kern="1200" cap="none" spc="0" normalizeH="0" baseline="0" noProof="0" dirty="0">
                <a:ln>
                  <a:noFill/>
                </a:ln>
                <a:solidFill>
                  <a:prstClr val="black">
                    <a:lumMod val="50000"/>
                    <a:lumOff val="50000"/>
                  </a:prstClr>
                </a:solidFill>
                <a:effectLst/>
                <a:uLnTx/>
                <a:uFillTx/>
                <a:latin typeface="HarmonyOS Sans SC"/>
                <a:cs typeface="+mn-cs"/>
              </a:rPr>
              <a:t>在这里输入你的正文，阐述与关键词标题相关的具体内容</a:t>
            </a:r>
            <a:endParaRPr kumimoji="0" lang="en-US" sz="1000" b="0" i="0" u="none" strike="noStrike" kern="1200" cap="none" spc="0" normalizeH="0" baseline="0" noProof="0" dirty="0">
              <a:ln>
                <a:noFill/>
              </a:ln>
              <a:solidFill>
                <a:prstClr val="black">
                  <a:lumMod val="50000"/>
                  <a:lumOff val="50000"/>
                </a:prstClr>
              </a:solidFill>
              <a:effectLst/>
              <a:uLnTx/>
              <a:uFillTx/>
              <a:latin typeface="HarmonyOS Sans SC"/>
              <a:cs typeface="+mn-cs"/>
            </a:endParaRPr>
          </a:p>
        </p:txBody>
      </p:sp>
      <p:sp>
        <p:nvSpPr>
          <p:cNvPr id="40" name="TextBox 45">
            <a:extLst>
              <a:ext uri="{FF2B5EF4-FFF2-40B4-BE49-F238E27FC236}">
                <a16:creationId xmlns:a16="http://schemas.microsoft.com/office/drawing/2014/main" id="{18A36D4C-F4BE-4798-B79A-B3E1D0582D1F}"/>
              </a:ext>
            </a:extLst>
          </p:cNvPr>
          <p:cNvSpPr txBox="1"/>
          <p:nvPr/>
        </p:nvSpPr>
        <p:spPr>
          <a:xfrm>
            <a:off x="1836738" y="5144843"/>
            <a:ext cx="2152650" cy="335669"/>
          </a:xfrm>
          <a:prstGeom prst="rect">
            <a:avLst/>
          </a:prstGeom>
          <a:noFill/>
        </p:spPr>
        <p:txBody>
          <a:bodyPr wrap="square" lIns="0" tIns="0" rIns="0" bIns="0" rtlCol="0">
            <a:spAutoFit/>
          </a:bodyPr>
          <a:lstStyle/>
          <a:p>
            <a:pPr marL="0" marR="0" lvl="0" indent="0" algn="r" defTabSz="457200" rtl="0" eaLnBrk="1" fontAlgn="base" latinLnBrk="0" hangingPunct="1">
              <a:lnSpc>
                <a:spcPct val="130000"/>
              </a:lnSpc>
              <a:spcBef>
                <a:spcPts val="1000"/>
              </a:spcBef>
              <a:spcAft>
                <a:spcPts val="0"/>
              </a:spcAft>
              <a:buClrTx/>
              <a:buSzTx/>
              <a:buFontTx/>
              <a:buNone/>
              <a:tabLst/>
              <a:defRPr/>
            </a:pPr>
            <a:r>
              <a:rPr kumimoji="0" lang="zh-CN" altLang="en-US" sz="1800" b="1" i="0" u="none" strike="noStrike" kern="1200" cap="none" spc="0" normalizeH="0" baseline="0" noProof="0" dirty="0">
                <a:ln>
                  <a:noFill/>
                </a:ln>
                <a:solidFill>
                  <a:prstClr val="black">
                    <a:lumMod val="75000"/>
                    <a:lumOff val="25000"/>
                  </a:prstClr>
                </a:solidFill>
                <a:effectLst/>
                <a:uLnTx/>
                <a:uFillTx/>
                <a:latin typeface="HarmonyOS Sans SC"/>
                <a:cs typeface="+mn-cs"/>
              </a:rPr>
              <a:t>关键词标题</a:t>
            </a:r>
            <a:endParaRPr kumimoji="0" lang="en-US" sz="1050" b="0" i="0" u="none" strike="noStrike" kern="1200" cap="none" spc="0" normalizeH="0" baseline="0" noProof="0" dirty="0">
              <a:ln>
                <a:noFill/>
              </a:ln>
              <a:solidFill>
                <a:prstClr val="black">
                  <a:lumMod val="75000"/>
                  <a:lumOff val="25000"/>
                </a:prstClr>
              </a:solidFill>
              <a:effectLst/>
              <a:uLnTx/>
              <a:uFillTx/>
              <a:latin typeface="HarmonyOS Sans SC"/>
              <a:cs typeface="+mn-cs"/>
            </a:endParaRPr>
          </a:p>
        </p:txBody>
      </p:sp>
      <p:sp>
        <p:nvSpPr>
          <p:cNvPr id="41" name="TextBox 45">
            <a:extLst>
              <a:ext uri="{FF2B5EF4-FFF2-40B4-BE49-F238E27FC236}">
                <a16:creationId xmlns:a16="http://schemas.microsoft.com/office/drawing/2014/main" id="{CF9F4180-4CE6-41CE-AD39-B84B0CC46DC1}"/>
              </a:ext>
            </a:extLst>
          </p:cNvPr>
          <p:cNvSpPr txBox="1"/>
          <p:nvPr/>
        </p:nvSpPr>
        <p:spPr>
          <a:xfrm>
            <a:off x="857250" y="5505426"/>
            <a:ext cx="3132138" cy="386516"/>
          </a:xfrm>
          <a:prstGeom prst="rect">
            <a:avLst/>
          </a:prstGeom>
          <a:noFill/>
        </p:spPr>
        <p:txBody>
          <a:bodyPr wrap="square" lIns="0" tIns="0" rIns="0" bIns="0" rtlCol="0">
            <a:spAutoFit/>
          </a:bodyPr>
          <a:lstStyle/>
          <a:p>
            <a:pPr marL="0" marR="0" lvl="0" indent="0" algn="r" defTabSz="457200" rtl="0" eaLnBrk="1" fontAlgn="base" latinLnBrk="0" hangingPunct="1">
              <a:lnSpc>
                <a:spcPct val="130000"/>
              </a:lnSpc>
              <a:spcBef>
                <a:spcPts val="1000"/>
              </a:spcBef>
              <a:spcAft>
                <a:spcPts val="0"/>
              </a:spcAft>
              <a:buClrTx/>
              <a:buSzTx/>
              <a:buFontTx/>
              <a:buNone/>
              <a:tabLst/>
              <a:defRPr/>
            </a:pPr>
            <a:r>
              <a:rPr kumimoji="0" lang="zh-CN" altLang="en-US" sz="1000" b="0" i="0" u="none" strike="noStrike" kern="1200" cap="none" spc="0" normalizeH="0" baseline="0" noProof="0" dirty="0">
                <a:ln>
                  <a:noFill/>
                </a:ln>
                <a:solidFill>
                  <a:prstClr val="black">
                    <a:lumMod val="50000"/>
                    <a:lumOff val="50000"/>
                  </a:prstClr>
                </a:solidFill>
                <a:effectLst/>
                <a:uLnTx/>
                <a:uFillTx/>
                <a:latin typeface="HarmonyOS Sans SC"/>
                <a:cs typeface="+mn-cs"/>
              </a:rPr>
              <a:t>在这里输入你的正文，阐述与关键词标题相关的具体内容</a:t>
            </a:r>
            <a:endParaRPr kumimoji="0" lang="en-US" sz="1000" b="0" i="0" u="none" strike="noStrike" kern="1200" cap="none" spc="0" normalizeH="0" baseline="0" noProof="0" dirty="0">
              <a:ln>
                <a:noFill/>
              </a:ln>
              <a:solidFill>
                <a:prstClr val="black">
                  <a:lumMod val="50000"/>
                  <a:lumOff val="50000"/>
                </a:prstClr>
              </a:solidFill>
              <a:effectLst/>
              <a:uLnTx/>
              <a:uFillTx/>
              <a:latin typeface="HarmonyOS Sans SC"/>
              <a:cs typeface="+mn-cs"/>
            </a:endParaRPr>
          </a:p>
        </p:txBody>
      </p:sp>
      <p:sp>
        <p:nvSpPr>
          <p:cNvPr id="42" name="TextBox 44">
            <a:extLst>
              <a:ext uri="{FF2B5EF4-FFF2-40B4-BE49-F238E27FC236}">
                <a16:creationId xmlns:a16="http://schemas.microsoft.com/office/drawing/2014/main" id="{4F09B9A3-E071-43E5-A897-334B40BB325A}"/>
              </a:ext>
            </a:extLst>
          </p:cNvPr>
          <p:cNvSpPr txBox="1"/>
          <p:nvPr/>
        </p:nvSpPr>
        <p:spPr>
          <a:xfrm>
            <a:off x="8102728" y="5144843"/>
            <a:ext cx="2295525" cy="335669"/>
          </a:xfrm>
          <a:prstGeom prst="rect">
            <a:avLst/>
          </a:prstGeom>
          <a:noFill/>
        </p:spPr>
        <p:txBody>
          <a:bodyPr wrap="square" lIns="0" tIns="0" rIns="0" bIns="0" rtlCol="0">
            <a:spAutoFit/>
          </a:bodyPr>
          <a:lstStyle/>
          <a:p>
            <a:pPr marL="0" marR="0" lvl="0" indent="0" algn="l" defTabSz="457200" rtl="0" eaLnBrk="1" fontAlgn="base" latinLnBrk="0" hangingPunct="1">
              <a:lnSpc>
                <a:spcPct val="130000"/>
              </a:lnSpc>
              <a:spcBef>
                <a:spcPts val="1000"/>
              </a:spcBef>
              <a:spcAft>
                <a:spcPts val="0"/>
              </a:spcAft>
              <a:buClrTx/>
              <a:buSzTx/>
              <a:buFontTx/>
              <a:buNone/>
              <a:tabLst/>
              <a:defRPr/>
            </a:pPr>
            <a:r>
              <a:rPr kumimoji="0" lang="zh-CN" altLang="en-US" sz="1800" b="1" i="0" u="none" strike="noStrike" kern="1200" cap="none" spc="0" normalizeH="0" baseline="0" noProof="0" dirty="0">
                <a:ln>
                  <a:noFill/>
                </a:ln>
                <a:solidFill>
                  <a:prstClr val="black">
                    <a:lumMod val="75000"/>
                    <a:lumOff val="25000"/>
                  </a:prstClr>
                </a:solidFill>
                <a:effectLst/>
                <a:uLnTx/>
                <a:uFillTx/>
                <a:latin typeface="HarmonyOS Sans SC"/>
                <a:cs typeface="+mn-cs"/>
              </a:rPr>
              <a:t>关键词标题</a:t>
            </a:r>
            <a:endParaRPr kumimoji="0" lang="en-US" sz="1050" b="0" i="0" u="none" strike="noStrike" kern="1200" cap="none" spc="0" normalizeH="0" baseline="0" noProof="0" dirty="0">
              <a:ln>
                <a:noFill/>
              </a:ln>
              <a:solidFill>
                <a:prstClr val="black">
                  <a:lumMod val="75000"/>
                  <a:lumOff val="25000"/>
                </a:prstClr>
              </a:solidFill>
              <a:effectLst/>
              <a:uLnTx/>
              <a:uFillTx/>
              <a:latin typeface="HarmonyOS Sans SC"/>
              <a:cs typeface="+mn-cs"/>
            </a:endParaRPr>
          </a:p>
        </p:txBody>
      </p:sp>
      <p:sp>
        <p:nvSpPr>
          <p:cNvPr id="43" name="TextBox 44">
            <a:extLst>
              <a:ext uri="{FF2B5EF4-FFF2-40B4-BE49-F238E27FC236}">
                <a16:creationId xmlns:a16="http://schemas.microsoft.com/office/drawing/2014/main" id="{56617652-64D6-4390-8F57-73BBB6AB83C0}"/>
              </a:ext>
            </a:extLst>
          </p:cNvPr>
          <p:cNvSpPr txBox="1"/>
          <p:nvPr/>
        </p:nvSpPr>
        <p:spPr>
          <a:xfrm>
            <a:off x="8102728" y="5505426"/>
            <a:ext cx="2898647" cy="181460"/>
          </a:xfrm>
          <a:prstGeom prst="rect">
            <a:avLst/>
          </a:prstGeom>
          <a:noFill/>
        </p:spPr>
        <p:txBody>
          <a:bodyPr wrap="square" lIns="0" tIns="0" rIns="0" bIns="0" rtlCol="0">
            <a:spAutoFit/>
          </a:bodyPr>
          <a:lstStyle/>
          <a:p>
            <a:pPr marL="0" marR="0" lvl="0" indent="0" algn="l" defTabSz="457200" rtl="0" eaLnBrk="1" fontAlgn="base" latinLnBrk="0" hangingPunct="1">
              <a:lnSpc>
                <a:spcPct val="130000"/>
              </a:lnSpc>
              <a:spcBef>
                <a:spcPts val="1000"/>
              </a:spcBef>
              <a:spcAft>
                <a:spcPts val="0"/>
              </a:spcAft>
              <a:buClrTx/>
              <a:buSzTx/>
              <a:buFontTx/>
              <a:buNone/>
              <a:tabLst/>
              <a:defRPr/>
            </a:pPr>
            <a:r>
              <a:rPr kumimoji="0" lang="en-US" sz="1000" b="0" i="0" u="none" strike="noStrike" kern="1200" cap="none" spc="0" normalizeH="0" baseline="0" noProof="0">
                <a:ln>
                  <a:noFill/>
                </a:ln>
                <a:solidFill>
                  <a:prstClr val="black">
                    <a:lumMod val="50000"/>
                    <a:lumOff val="50000"/>
                  </a:prstClr>
                </a:solidFill>
                <a:effectLst/>
                <a:uLnTx/>
                <a:uFillTx/>
                <a:latin typeface="HarmonyOS Sans SC"/>
                <a:cs typeface="+mn-cs"/>
              </a:rPr>
              <a:t>Apparently </a:t>
            </a:r>
            <a:r>
              <a:rPr kumimoji="0" lang="en-US" sz="1000" b="0" i="0" u="none" strike="noStrike" kern="1200" cap="none" spc="0" normalizeH="0" baseline="0" noProof="0" dirty="0">
                <a:ln>
                  <a:noFill/>
                </a:ln>
                <a:solidFill>
                  <a:prstClr val="black">
                    <a:lumMod val="50000"/>
                    <a:lumOff val="50000"/>
                  </a:prstClr>
                </a:solidFill>
                <a:effectLst/>
                <a:uLnTx/>
                <a:uFillTx/>
                <a:latin typeface="HarmonyOS Sans SC"/>
                <a:cs typeface="+mn-cs"/>
              </a:rPr>
              <a:t>we had reached a great height in the.</a:t>
            </a:r>
          </a:p>
        </p:txBody>
      </p:sp>
      <p:sp>
        <p:nvSpPr>
          <p:cNvPr id="44" name="TextBox 46">
            <a:extLst>
              <a:ext uri="{FF2B5EF4-FFF2-40B4-BE49-F238E27FC236}">
                <a16:creationId xmlns:a16="http://schemas.microsoft.com/office/drawing/2014/main" id="{A5DD8464-7E8E-4CDD-B6F6-93277A862266}"/>
              </a:ext>
            </a:extLst>
          </p:cNvPr>
          <p:cNvSpPr txBox="1"/>
          <p:nvPr/>
        </p:nvSpPr>
        <p:spPr>
          <a:xfrm>
            <a:off x="8553449" y="3553930"/>
            <a:ext cx="2295525" cy="335669"/>
          </a:xfrm>
          <a:prstGeom prst="rect">
            <a:avLst/>
          </a:prstGeom>
          <a:noFill/>
        </p:spPr>
        <p:txBody>
          <a:bodyPr wrap="square" lIns="0" tIns="0" rIns="0" bIns="0" rtlCol="0">
            <a:spAutoFit/>
          </a:bodyPr>
          <a:lstStyle/>
          <a:p>
            <a:pPr marL="0" marR="0" lvl="0" indent="0" algn="l" defTabSz="457200" rtl="0" eaLnBrk="1" fontAlgn="base" latinLnBrk="0" hangingPunct="1">
              <a:lnSpc>
                <a:spcPct val="130000"/>
              </a:lnSpc>
              <a:spcBef>
                <a:spcPts val="1000"/>
              </a:spcBef>
              <a:spcAft>
                <a:spcPts val="0"/>
              </a:spcAft>
              <a:buClrTx/>
              <a:buSzTx/>
              <a:buFontTx/>
              <a:buNone/>
              <a:tabLst/>
              <a:defRPr/>
            </a:pPr>
            <a:r>
              <a:rPr kumimoji="0" lang="zh-CN" altLang="en-US" sz="1800" b="1" i="0" u="none" strike="noStrike" kern="1200" cap="none" spc="0" normalizeH="0" baseline="0" noProof="0" dirty="0">
                <a:ln>
                  <a:noFill/>
                </a:ln>
                <a:solidFill>
                  <a:prstClr val="black">
                    <a:lumMod val="75000"/>
                    <a:lumOff val="25000"/>
                  </a:prstClr>
                </a:solidFill>
                <a:effectLst/>
                <a:uLnTx/>
                <a:uFillTx/>
                <a:latin typeface="HarmonyOS Sans SC"/>
                <a:cs typeface="+mn-cs"/>
              </a:rPr>
              <a:t>关键词标题</a:t>
            </a:r>
            <a:endParaRPr kumimoji="0" lang="en-US" sz="1050" b="0" i="0" u="none" strike="noStrike" kern="1200" cap="none" spc="0" normalizeH="0" baseline="0" noProof="0" dirty="0">
              <a:ln>
                <a:noFill/>
              </a:ln>
              <a:solidFill>
                <a:prstClr val="black">
                  <a:lumMod val="75000"/>
                  <a:lumOff val="25000"/>
                </a:prstClr>
              </a:solidFill>
              <a:effectLst/>
              <a:uLnTx/>
              <a:uFillTx/>
              <a:latin typeface="HarmonyOS Sans SC"/>
              <a:cs typeface="+mn-cs"/>
            </a:endParaRPr>
          </a:p>
        </p:txBody>
      </p:sp>
      <p:sp>
        <p:nvSpPr>
          <p:cNvPr id="45" name="TextBox 46">
            <a:extLst>
              <a:ext uri="{FF2B5EF4-FFF2-40B4-BE49-F238E27FC236}">
                <a16:creationId xmlns:a16="http://schemas.microsoft.com/office/drawing/2014/main" id="{28BD8299-70A8-4D1A-88F9-973F53C28202}"/>
              </a:ext>
            </a:extLst>
          </p:cNvPr>
          <p:cNvSpPr txBox="1"/>
          <p:nvPr/>
        </p:nvSpPr>
        <p:spPr>
          <a:xfrm>
            <a:off x="8553449" y="3914513"/>
            <a:ext cx="2898647" cy="181460"/>
          </a:xfrm>
          <a:prstGeom prst="rect">
            <a:avLst/>
          </a:prstGeom>
          <a:noFill/>
        </p:spPr>
        <p:txBody>
          <a:bodyPr wrap="square" lIns="0" tIns="0" rIns="0" bIns="0" rtlCol="0">
            <a:spAutoFit/>
          </a:bodyPr>
          <a:lstStyle/>
          <a:p>
            <a:pPr marL="0" marR="0" lvl="0" indent="0" algn="l" defTabSz="457200" rtl="0" eaLnBrk="1" fontAlgn="base" latinLnBrk="0" hangingPunct="1">
              <a:lnSpc>
                <a:spcPct val="130000"/>
              </a:lnSpc>
              <a:spcBef>
                <a:spcPts val="100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HarmonyOS Sans SC"/>
                <a:cs typeface="+mn-cs"/>
              </a:rPr>
              <a:t>Apparently we had reached a great height in the.</a:t>
            </a:r>
          </a:p>
        </p:txBody>
      </p:sp>
      <p:sp>
        <p:nvSpPr>
          <p:cNvPr id="46" name="TextBox 47">
            <a:extLst>
              <a:ext uri="{FF2B5EF4-FFF2-40B4-BE49-F238E27FC236}">
                <a16:creationId xmlns:a16="http://schemas.microsoft.com/office/drawing/2014/main" id="{E7518CE0-6729-469A-9D94-B74280E62F00}"/>
              </a:ext>
            </a:extLst>
          </p:cNvPr>
          <p:cNvSpPr txBox="1"/>
          <p:nvPr/>
        </p:nvSpPr>
        <p:spPr>
          <a:xfrm>
            <a:off x="4948238" y="1767018"/>
            <a:ext cx="2295525" cy="335669"/>
          </a:xfrm>
          <a:prstGeom prst="rect">
            <a:avLst/>
          </a:prstGeom>
          <a:noFill/>
        </p:spPr>
        <p:txBody>
          <a:bodyPr wrap="square" lIns="0" tIns="0" rIns="0" bIns="0" rtlCol="0">
            <a:spAutoFit/>
          </a:bodyPr>
          <a:lstStyle/>
          <a:p>
            <a:pPr marL="0" marR="0" lvl="0" indent="0" algn="ctr" defTabSz="457200" rtl="0" eaLnBrk="1" fontAlgn="base" latinLnBrk="0" hangingPunct="1">
              <a:lnSpc>
                <a:spcPct val="130000"/>
              </a:lnSpc>
              <a:spcBef>
                <a:spcPts val="1000"/>
              </a:spcBef>
              <a:spcAft>
                <a:spcPts val="0"/>
              </a:spcAft>
              <a:buClrTx/>
              <a:buSzTx/>
              <a:buFontTx/>
              <a:buNone/>
              <a:tabLst/>
              <a:defRPr/>
            </a:pPr>
            <a:r>
              <a:rPr kumimoji="0" lang="zh-CN" altLang="en-US" sz="1800" b="1" i="0" u="none" strike="noStrike" kern="1200" cap="none" spc="0" normalizeH="0" baseline="0" noProof="0" dirty="0">
                <a:ln>
                  <a:noFill/>
                </a:ln>
                <a:solidFill>
                  <a:prstClr val="black">
                    <a:lumMod val="75000"/>
                    <a:lumOff val="25000"/>
                  </a:prstClr>
                </a:solidFill>
                <a:effectLst/>
                <a:uLnTx/>
                <a:uFillTx/>
                <a:latin typeface="HarmonyOS Sans SC"/>
                <a:cs typeface="+mn-cs"/>
              </a:rPr>
              <a:t>关键词标题</a:t>
            </a:r>
            <a:endParaRPr kumimoji="0" lang="en-US" sz="1050" b="0" i="0" u="none" strike="noStrike" kern="1200" cap="none" spc="0" normalizeH="0" baseline="0" noProof="0" dirty="0">
              <a:ln>
                <a:noFill/>
              </a:ln>
              <a:solidFill>
                <a:prstClr val="black">
                  <a:lumMod val="75000"/>
                  <a:lumOff val="25000"/>
                </a:prstClr>
              </a:solidFill>
              <a:effectLst/>
              <a:uLnTx/>
              <a:uFillTx/>
              <a:latin typeface="HarmonyOS Sans SC"/>
              <a:cs typeface="+mn-cs"/>
            </a:endParaRPr>
          </a:p>
        </p:txBody>
      </p:sp>
      <p:sp>
        <p:nvSpPr>
          <p:cNvPr id="47" name="TextBox 47">
            <a:extLst>
              <a:ext uri="{FF2B5EF4-FFF2-40B4-BE49-F238E27FC236}">
                <a16:creationId xmlns:a16="http://schemas.microsoft.com/office/drawing/2014/main" id="{21298DB6-F5DB-48CC-BE26-51EEFB3F1D83}"/>
              </a:ext>
            </a:extLst>
          </p:cNvPr>
          <p:cNvSpPr txBox="1"/>
          <p:nvPr/>
        </p:nvSpPr>
        <p:spPr>
          <a:xfrm>
            <a:off x="4646677" y="2127601"/>
            <a:ext cx="2898647" cy="181460"/>
          </a:xfrm>
          <a:prstGeom prst="rect">
            <a:avLst/>
          </a:prstGeom>
          <a:noFill/>
        </p:spPr>
        <p:txBody>
          <a:bodyPr wrap="square" lIns="0" tIns="0" rIns="0" bIns="0" rtlCol="0">
            <a:spAutoFit/>
          </a:bodyPr>
          <a:lstStyle/>
          <a:p>
            <a:pPr marL="0" marR="0" lvl="0" indent="0" algn="ctr" defTabSz="457200" rtl="0" eaLnBrk="1" fontAlgn="base" latinLnBrk="0" hangingPunct="1">
              <a:lnSpc>
                <a:spcPct val="130000"/>
              </a:lnSpc>
              <a:spcBef>
                <a:spcPts val="1000"/>
              </a:spcBef>
              <a:spcAft>
                <a:spcPts val="0"/>
              </a:spcAft>
              <a:buClrTx/>
              <a:buSzTx/>
              <a:buFontTx/>
              <a:buNone/>
              <a:tabLst/>
              <a:defRPr/>
            </a:pPr>
            <a:r>
              <a:rPr kumimoji="0" lang="en-US" sz="1000" b="0" i="0" u="none" strike="noStrike" kern="1200" cap="none" spc="0" normalizeH="0" baseline="0" noProof="0">
                <a:ln>
                  <a:noFill/>
                </a:ln>
                <a:solidFill>
                  <a:prstClr val="black">
                    <a:lumMod val="50000"/>
                    <a:lumOff val="50000"/>
                  </a:prstClr>
                </a:solidFill>
                <a:effectLst/>
                <a:uLnTx/>
                <a:uFillTx/>
                <a:latin typeface="HarmonyOS Sans SC"/>
                <a:cs typeface="+mn-cs"/>
              </a:rPr>
              <a:t>Apparently </a:t>
            </a:r>
            <a:r>
              <a:rPr kumimoji="0" lang="en-US" sz="1000" b="0" i="0" u="none" strike="noStrike" kern="1200" cap="none" spc="0" normalizeH="0" baseline="0" noProof="0" dirty="0">
                <a:ln>
                  <a:noFill/>
                </a:ln>
                <a:solidFill>
                  <a:prstClr val="black">
                    <a:lumMod val="50000"/>
                    <a:lumOff val="50000"/>
                  </a:prstClr>
                </a:solidFill>
                <a:effectLst/>
                <a:uLnTx/>
                <a:uFillTx/>
                <a:latin typeface="HarmonyOS Sans SC"/>
                <a:cs typeface="+mn-cs"/>
              </a:rPr>
              <a:t>we had reached a great height in the.</a:t>
            </a:r>
          </a:p>
        </p:txBody>
      </p:sp>
    </p:spTree>
    <p:extLst>
      <p:ext uri="{BB962C8B-B14F-4D97-AF65-F5344CB8AC3E}">
        <p14:creationId xmlns:p14="http://schemas.microsoft.com/office/powerpoint/2010/main" val="1978510251"/>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5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Shape 6">
            <a:extLst>
              <a:ext uri="{FF2B5EF4-FFF2-40B4-BE49-F238E27FC236}">
                <a16:creationId xmlns:a16="http://schemas.microsoft.com/office/drawing/2014/main" id="{AF64A593-8F87-40B0-9C1E-107FA2B7B858}"/>
              </a:ext>
            </a:extLst>
          </p:cNvPr>
          <p:cNvSpPr/>
          <p:nvPr/>
        </p:nvSpPr>
        <p:spPr>
          <a:xfrm>
            <a:off x="5433181" y="2002354"/>
            <a:ext cx="2776872" cy="2343611"/>
          </a:xfrm>
          <a:custGeom>
            <a:avLst/>
            <a:gdLst>
              <a:gd name="connsiteX0" fmla="*/ 1784237 w 2894839"/>
              <a:gd name="connsiteY0" fmla="*/ 0 h 2443174"/>
              <a:gd name="connsiteX1" fmla="*/ 1979160 w 2894839"/>
              <a:gd name="connsiteY1" fmla="*/ 52140 h 2443174"/>
              <a:gd name="connsiteX2" fmla="*/ 2699357 w 2894839"/>
              <a:gd name="connsiteY2" fmla="*/ 467883 h 2443174"/>
              <a:gd name="connsiteX3" fmla="*/ 2894839 w 2894839"/>
              <a:gd name="connsiteY3" fmla="*/ 806075 h 2443174"/>
              <a:gd name="connsiteX4" fmla="*/ 2894839 w 2894839"/>
              <a:gd name="connsiteY4" fmla="*/ 1637674 h 2443174"/>
              <a:gd name="connsiteX5" fmla="*/ 2700034 w 2894839"/>
              <a:gd name="connsiteY5" fmla="*/ 1975292 h 2443174"/>
              <a:gd name="connsiteX6" fmla="*/ 2544161 w 2894839"/>
              <a:gd name="connsiteY6" fmla="*/ 2065272 h 2443174"/>
              <a:gd name="connsiteX7" fmla="*/ 2465321 w 2894839"/>
              <a:gd name="connsiteY7" fmla="*/ 2062671 h 2443174"/>
              <a:gd name="connsiteX8" fmla="*/ 2336682 w 2894839"/>
              <a:gd name="connsiteY8" fmla="*/ 1970256 h 2443174"/>
              <a:gd name="connsiteX9" fmla="*/ 2312223 w 2894839"/>
              <a:gd name="connsiteY9" fmla="*/ 1843078 h 2443174"/>
              <a:gd name="connsiteX10" fmla="*/ 2319006 w 2894839"/>
              <a:gd name="connsiteY10" fmla="*/ 1811416 h 2443174"/>
              <a:gd name="connsiteX11" fmla="*/ 2317773 w 2894839"/>
              <a:gd name="connsiteY11" fmla="*/ 1748750 h 2443174"/>
              <a:gd name="connsiteX12" fmla="*/ 2294239 w 2894839"/>
              <a:gd name="connsiteY12" fmla="*/ 1683578 h 2443174"/>
              <a:gd name="connsiteX13" fmla="*/ 1972783 w 2894839"/>
              <a:gd name="connsiteY13" fmla="*/ 1644396 h 2443174"/>
              <a:gd name="connsiteX14" fmla="*/ 1918419 w 2894839"/>
              <a:gd name="connsiteY14" fmla="*/ 1810492 h 2443174"/>
              <a:gd name="connsiteX15" fmla="*/ 1988609 w 2894839"/>
              <a:gd name="connsiteY15" fmla="*/ 1938593 h 2443174"/>
              <a:gd name="connsiteX16" fmla="*/ 2043179 w 2894839"/>
              <a:gd name="connsiteY16" fmla="*/ 1971443 h 2443174"/>
              <a:gd name="connsiteX17" fmla="*/ 2071748 w 2894839"/>
              <a:gd name="connsiteY17" fmla="*/ 1980810 h 2443174"/>
              <a:gd name="connsiteX18" fmla="*/ 2170096 w 2894839"/>
              <a:gd name="connsiteY18" fmla="*/ 2065507 h 2443174"/>
              <a:gd name="connsiteX19" fmla="*/ 2185023 w 2894839"/>
              <a:gd name="connsiteY19" fmla="*/ 2223127 h 2443174"/>
              <a:gd name="connsiteX20" fmla="*/ 2147581 w 2894839"/>
              <a:gd name="connsiteY20" fmla="*/ 2294203 h 2443174"/>
              <a:gd name="connsiteX21" fmla="*/ 1979837 w 2894839"/>
              <a:gd name="connsiteY21" fmla="*/ 2391035 h 2443174"/>
              <a:gd name="connsiteX22" fmla="*/ 1590091 w 2894839"/>
              <a:gd name="connsiteY22" fmla="*/ 2391035 h 2443174"/>
              <a:gd name="connsiteX23" fmla="*/ 869894 w 2894839"/>
              <a:gd name="connsiteY23" fmla="*/ 1975292 h 2443174"/>
              <a:gd name="connsiteX24" fmla="*/ 675089 w 2894839"/>
              <a:gd name="connsiteY24" fmla="*/ 1637674 h 2443174"/>
              <a:gd name="connsiteX25" fmla="*/ 675089 w 2894839"/>
              <a:gd name="connsiteY25" fmla="*/ 1534312 h 2443174"/>
              <a:gd name="connsiteX26" fmla="*/ 471214 w 2894839"/>
              <a:gd name="connsiteY26" fmla="*/ 1317722 h 2443174"/>
              <a:gd name="connsiteX27" fmla="*/ 348699 w 2894839"/>
              <a:gd name="connsiteY27" fmla="*/ 1360627 h 2443174"/>
              <a:gd name="connsiteX28" fmla="*/ 326362 w 2894839"/>
              <a:gd name="connsiteY28" fmla="*/ 1380818 h 2443174"/>
              <a:gd name="connsiteX29" fmla="*/ 270452 w 2894839"/>
              <a:gd name="connsiteY29" fmla="*/ 1411448 h 2443174"/>
              <a:gd name="connsiteX30" fmla="*/ 124382 w 2894839"/>
              <a:gd name="connsiteY30" fmla="*/ 1408121 h 2443174"/>
              <a:gd name="connsiteX31" fmla="*/ 7689 w 2894839"/>
              <a:gd name="connsiteY31" fmla="*/ 1278029 h 2443174"/>
              <a:gd name="connsiteX32" fmla="*/ 202223 w 2894839"/>
              <a:gd name="connsiteY32" fmla="*/ 1019338 h 2443174"/>
              <a:gd name="connsiteX33" fmla="*/ 270452 w 2894839"/>
              <a:gd name="connsiteY33" fmla="*/ 1031383 h 2443174"/>
              <a:gd name="connsiteX34" fmla="*/ 325415 w 2894839"/>
              <a:gd name="connsiteY34" fmla="*/ 1061440 h 2443174"/>
              <a:gd name="connsiteX35" fmla="*/ 349241 w 2894839"/>
              <a:gd name="connsiteY35" fmla="*/ 1083236 h 2443174"/>
              <a:gd name="connsiteX36" fmla="*/ 471485 w 2894839"/>
              <a:gd name="connsiteY36" fmla="*/ 1125453 h 2443174"/>
              <a:gd name="connsiteX37" fmla="*/ 674412 w 2894839"/>
              <a:gd name="connsiteY37" fmla="*/ 908863 h 2443174"/>
              <a:gd name="connsiteX38" fmla="*/ 674412 w 2894839"/>
              <a:gd name="connsiteY38" fmla="*/ 805501 h 2443174"/>
              <a:gd name="connsiteX39" fmla="*/ 869353 w 2894839"/>
              <a:gd name="connsiteY39" fmla="*/ 467883 h 2443174"/>
              <a:gd name="connsiteX40" fmla="*/ 1589414 w 2894839"/>
              <a:gd name="connsiteY40" fmla="*/ 52140 h 2443174"/>
              <a:gd name="connsiteX41" fmla="*/ 1784237 w 2894839"/>
              <a:gd name="connsiteY41" fmla="*/ 0 h 24431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894839" h="2443174">
                <a:moveTo>
                  <a:pt x="1784237" y="0"/>
                </a:moveTo>
                <a:cubicBezTo>
                  <a:pt x="1851535" y="0"/>
                  <a:pt x="1918851" y="17380"/>
                  <a:pt x="1979160" y="52140"/>
                </a:cubicBezTo>
                <a:lnTo>
                  <a:pt x="2699357" y="467883"/>
                </a:lnTo>
                <a:cubicBezTo>
                  <a:pt x="2819706" y="537402"/>
                  <a:pt x="2894162" y="666232"/>
                  <a:pt x="2894839" y="806075"/>
                </a:cubicBezTo>
                <a:lnTo>
                  <a:pt x="2894839" y="1637674"/>
                </a:lnTo>
                <a:cubicBezTo>
                  <a:pt x="2894839" y="1776943"/>
                  <a:pt x="2820653" y="1905773"/>
                  <a:pt x="2700034" y="1975292"/>
                </a:cubicBezTo>
                <a:lnTo>
                  <a:pt x="2544161" y="2065272"/>
                </a:lnTo>
                <a:lnTo>
                  <a:pt x="2465321" y="2062671"/>
                </a:lnTo>
                <a:cubicBezTo>
                  <a:pt x="2412575" y="2051028"/>
                  <a:pt x="2365097" y="2019861"/>
                  <a:pt x="2336682" y="1970256"/>
                </a:cubicBezTo>
                <a:cubicBezTo>
                  <a:pt x="2313765" y="1930150"/>
                  <a:pt x="2306263" y="1885559"/>
                  <a:pt x="2312223" y="1843078"/>
                </a:cubicBezTo>
                <a:cubicBezTo>
                  <a:pt x="2315306" y="1832788"/>
                  <a:pt x="2317464" y="1822234"/>
                  <a:pt x="2319006" y="1811416"/>
                </a:cubicBezTo>
                <a:cubicBezTo>
                  <a:pt x="2321780" y="1790835"/>
                  <a:pt x="2321472" y="1769727"/>
                  <a:pt x="2317773" y="1748750"/>
                </a:cubicBezTo>
                <a:cubicBezTo>
                  <a:pt x="2313765" y="1726323"/>
                  <a:pt x="2305954" y="1704291"/>
                  <a:pt x="2294239" y="1683578"/>
                </a:cubicBezTo>
                <a:cubicBezTo>
                  <a:pt x="2229393" y="1570912"/>
                  <a:pt x="2072056" y="1544527"/>
                  <a:pt x="1972783" y="1644396"/>
                </a:cubicBezTo>
                <a:cubicBezTo>
                  <a:pt x="1929929" y="1687536"/>
                  <a:pt x="1910095" y="1750597"/>
                  <a:pt x="1918419" y="1810492"/>
                </a:cubicBezTo>
                <a:cubicBezTo>
                  <a:pt x="1926538" y="1866561"/>
                  <a:pt x="1953257" y="1908778"/>
                  <a:pt x="1988609" y="1938593"/>
                </a:cubicBezTo>
                <a:cubicBezTo>
                  <a:pt x="2005052" y="1952578"/>
                  <a:pt x="2023344" y="1963660"/>
                  <a:pt x="2043179" y="1971443"/>
                </a:cubicBezTo>
                <a:cubicBezTo>
                  <a:pt x="2052530" y="1975137"/>
                  <a:pt x="2062088" y="1978304"/>
                  <a:pt x="2071748" y="1980810"/>
                </a:cubicBezTo>
                <a:cubicBezTo>
                  <a:pt x="2111416" y="1996905"/>
                  <a:pt x="2146871" y="2025797"/>
                  <a:pt x="2170096" y="2065507"/>
                </a:cubicBezTo>
                <a:cubicBezTo>
                  <a:pt x="2198511" y="2113925"/>
                  <a:pt x="2201389" y="2171082"/>
                  <a:pt x="2185023" y="2223127"/>
                </a:cubicBezTo>
                <a:lnTo>
                  <a:pt x="2147581" y="2294203"/>
                </a:lnTo>
                <a:lnTo>
                  <a:pt x="1979837" y="2391035"/>
                </a:lnTo>
                <a:cubicBezTo>
                  <a:pt x="1859488" y="2460554"/>
                  <a:pt x="1710846" y="2460554"/>
                  <a:pt x="1590091" y="2391035"/>
                </a:cubicBezTo>
                <a:lnTo>
                  <a:pt x="869894" y="1975292"/>
                </a:lnTo>
                <a:cubicBezTo>
                  <a:pt x="749275" y="1905428"/>
                  <a:pt x="675089" y="1776943"/>
                  <a:pt x="675089" y="1637674"/>
                </a:cubicBezTo>
                <a:lnTo>
                  <a:pt x="675089" y="1534312"/>
                </a:lnTo>
                <a:cubicBezTo>
                  <a:pt x="675089" y="1422002"/>
                  <a:pt x="583575" y="1316804"/>
                  <a:pt x="471214" y="1317722"/>
                </a:cubicBezTo>
                <a:cubicBezTo>
                  <a:pt x="425051" y="1318066"/>
                  <a:pt x="382543" y="1334242"/>
                  <a:pt x="348699" y="1360627"/>
                </a:cubicBezTo>
                <a:cubicBezTo>
                  <a:pt x="341524" y="1367740"/>
                  <a:pt x="334079" y="1374508"/>
                  <a:pt x="326362" y="1380818"/>
                </a:cubicBezTo>
                <a:cubicBezTo>
                  <a:pt x="309576" y="1393781"/>
                  <a:pt x="290623" y="1403991"/>
                  <a:pt x="270452" y="1411448"/>
                </a:cubicBezTo>
                <a:cubicBezTo>
                  <a:pt x="226997" y="1427050"/>
                  <a:pt x="176772" y="1429115"/>
                  <a:pt x="124382" y="1408121"/>
                </a:cubicBezTo>
                <a:cubicBezTo>
                  <a:pt x="68201" y="1385407"/>
                  <a:pt x="23528" y="1336651"/>
                  <a:pt x="7689" y="1278029"/>
                </a:cubicBezTo>
                <a:cubicBezTo>
                  <a:pt x="-29269" y="1142202"/>
                  <a:pt x="72127" y="1019338"/>
                  <a:pt x="202223" y="1019338"/>
                </a:cubicBezTo>
                <a:cubicBezTo>
                  <a:pt x="226049" y="1019338"/>
                  <a:pt x="249063" y="1023582"/>
                  <a:pt x="270452" y="1031383"/>
                </a:cubicBezTo>
                <a:cubicBezTo>
                  <a:pt x="290352" y="1038496"/>
                  <a:pt x="308899" y="1048706"/>
                  <a:pt x="325415" y="1061440"/>
                </a:cubicBezTo>
                <a:cubicBezTo>
                  <a:pt x="333808" y="1067979"/>
                  <a:pt x="341795" y="1075435"/>
                  <a:pt x="349241" y="1083236"/>
                </a:cubicBezTo>
                <a:cubicBezTo>
                  <a:pt x="383085" y="1109277"/>
                  <a:pt x="425322" y="1125109"/>
                  <a:pt x="471485" y="1125453"/>
                </a:cubicBezTo>
                <a:cubicBezTo>
                  <a:pt x="585741" y="1125682"/>
                  <a:pt x="674412" y="1023353"/>
                  <a:pt x="674412" y="908863"/>
                </a:cubicBezTo>
                <a:lnTo>
                  <a:pt x="674412" y="805501"/>
                </a:lnTo>
                <a:cubicBezTo>
                  <a:pt x="674412" y="666232"/>
                  <a:pt x="748598" y="537402"/>
                  <a:pt x="869353" y="467883"/>
                </a:cubicBezTo>
                <a:lnTo>
                  <a:pt x="1589414" y="52140"/>
                </a:lnTo>
                <a:cubicBezTo>
                  <a:pt x="1649657" y="17380"/>
                  <a:pt x="1716938" y="0"/>
                  <a:pt x="1784237" y="0"/>
                </a:cubicBezTo>
                <a:close/>
              </a:path>
            </a:pathLst>
          </a:custGeom>
          <a:gradFill flip="none" rotWithShape="1">
            <a:gsLst>
              <a:gs pos="73000">
                <a:schemeClr val="accent1"/>
              </a:gs>
              <a:gs pos="31000">
                <a:schemeClr val="accent1">
                  <a:lumMod val="60000"/>
                  <a:lumOff val="40000"/>
                </a:schemeClr>
              </a:gs>
              <a:gs pos="0">
                <a:schemeClr val="accent1">
                  <a:lumMod val="40000"/>
                  <a:lumOff val="60000"/>
                </a:schemeClr>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white"/>
              </a:solidFill>
              <a:effectLst/>
              <a:uLnTx/>
              <a:uFillTx/>
              <a:latin typeface="HarmonyOS Sans SC"/>
              <a:cs typeface="+mn-cs"/>
            </a:endParaRPr>
          </a:p>
        </p:txBody>
      </p:sp>
      <p:sp>
        <p:nvSpPr>
          <p:cNvPr id="3" name="Shape">
            <a:extLst>
              <a:ext uri="{FF2B5EF4-FFF2-40B4-BE49-F238E27FC236}">
                <a16:creationId xmlns:a16="http://schemas.microsoft.com/office/drawing/2014/main" id="{3E440DE1-A737-465F-B3FC-5C4AC2D46074}"/>
              </a:ext>
            </a:extLst>
          </p:cNvPr>
          <p:cNvSpPr/>
          <p:nvPr/>
        </p:nvSpPr>
        <p:spPr>
          <a:xfrm>
            <a:off x="7159466" y="3520259"/>
            <a:ext cx="2129314" cy="2680476"/>
          </a:xfrm>
          <a:custGeom>
            <a:avLst/>
            <a:gdLst/>
            <a:ahLst/>
            <a:cxnLst>
              <a:cxn ang="0">
                <a:pos x="wd2" y="hd2"/>
              </a:cxn>
              <a:cxn ang="5400000">
                <a:pos x="wd2" y="hd2"/>
              </a:cxn>
              <a:cxn ang="10800000">
                <a:pos x="wd2" y="hd2"/>
              </a:cxn>
              <a:cxn ang="16200000">
                <a:pos x="wd2" y="hd2"/>
              </a:cxn>
            </a:cxnLst>
            <a:rect l="0" t="0" r="r" b="b"/>
            <a:pathLst>
              <a:path w="21600" h="21181" extrusionOk="0">
                <a:moveTo>
                  <a:pt x="21597" y="15080"/>
                </a:moveTo>
                <a:lnTo>
                  <a:pt x="21600" y="8777"/>
                </a:lnTo>
                <a:cubicBezTo>
                  <a:pt x="21600" y="7721"/>
                  <a:pt x="20878" y="6745"/>
                  <a:pt x="19704" y="6218"/>
                </a:cubicBezTo>
                <a:lnTo>
                  <a:pt x="12699" y="3064"/>
                </a:lnTo>
                <a:cubicBezTo>
                  <a:pt x="11525" y="2535"/>
                  <a:pt x="10081" y="2535"/>
                  <a:pt x="8907" y="3062"/>
                </a:cubicBezTo>
                <a:lnTo>
                  <a:pt x="8037" y="3453"/>
                </a:lnTo>
                <a:cubicBezTo>
                  <a:pt x="7074" y="3885"/>
                  <a:pt x="5779" y="3692"/>
                  <a:pt x="5226" y="2940"/>
                </a:cubicBezTo>
                <a:cubicBezTo>
                  <a:pt x="5003" y="2636"/>
                  <a:pt x="4930" y="2298"/>
                  <a:pt x="4988" y="1976"/>
                </a:cubicBezTo>
                <a:cubicBezTo>
                  <a:pt x="5018" y="1898"/>
                  <a:pt x="5039" y="1818"/>
                  <a:pt x="5054" y="1736"/>
                </a:cubicBezTo>
                <a:cubicBezTo>
                  <a:pt x="5081" y="1580"/>
                  <a:pt x="5078" y="1420"/>
                  <a:pt x="5042" y="1261"/>
                </a:cubicBezTo>
                <a:cubicBezTo>
                  <a:pt x="5003" y="1091"/>
                  <a:pt x="4927" y="924"/>
                  <a:pt x="4813" y="767"/>
                </a:cubicBezTo>
                <a:cubicBezTo>
                  <a:pt x="4182" y="-87"/>
                  <a:pt x="2651" y="-287"/>
                  <a:pt x="1685" y="470"/>
                </a:cubicBezTo>
                <a:cubicBezTo>
                  <a:pt x="1268" y="797"/>
                  <a:pt x="1075" y="1275"/>
                  <a:pt x="1156" y="1729"/>
                </a:cubicBezTo>
                <a:cubicBezTo>
                  <a:pt x="1235" y="2154"/>
                  <a:pt x="1495" y="2474"/>
                  <a:pt x="1839" y="2700"/>
                </a:cubicBezTo>
                <a:cubicBezTo>
                  <a:pt x="1999" y="2806"/>
                  <a:pt x="2177" y="2890"/>
                  <a:pt x="2370" y="2949"/>
                </a:cubicBezTo>
                <a:cubicBezTo>
                  <a:pt x="2461" y="2977"/>
                  <a:pt x="2554" y="3001"/>
                  <a:pt x="2648" y="3020"/>
                </a:cubicBezTo>
                <a:cubicBezTo>
                  <a:pt x="3034" y="3142"/>
                  <a:pt x="3379" y="3361"/>
                  <a:pt x="3605" y="3662"/>
                </a:cubicBezTo>
                <a:cubicBezTo>
                  <a:pt x="4158" y="4396"/>
                  <a:pt x="3717" y="5395"/>
                  <a:pt x="2772" y="5819"/>
                </a:cubicBezTo>
                <a:lnTo>
                  <a:pt x="1902" y="6209"/>
                </a:lnTo>
                <a:cubicBezTo>
                  <a:pt x="728" y="6736"/>
                  <a:pt x="6" y="7712"/>
                  <a:pt x="3" y="8768"/>
                </a:cubicBezTo>
                <a:lnTo>
                  <a:pt x="0" y="15071"/>
                </a:lnTo>
                <a:cubicBezTo>
                  <a:pt x="0" y="16127"/>
                  <a:pt x="722" y="17103"/>
                  <a:pt x="1896" y="17630"/>
                </a:cubicBezTo>
                <a:lnTo>
                  <a:pt x="8901" y="20784"/>
                </a:lnTo>
                <a:cubicBezTo>
                  <a:pt x="10075" y="21313"/>
                  <a:pt x="11519" y="21313"/>
                  <a:pt x="12693" y="20786"/>
                </a:cubicBezTo>
                <a:lnTo>
                  <a:pt x="19704" y="17637"/>
                </a:lnTo>
                <a:cubicBezTo>
                  <a:pt x="20875" y="17110"/>
                  <a:pt x="21597" y="16134"/>
                  <a:pt x="21597" y="15080"/>
                </a:cubicBezTo>
                <a:close/>
              </a:path>
            </a:pathLst>
          </a:custGeom>
          <a:gradFill flip="none" rotWithShape="1">
            <a:gsLst>
              <a:gs pos="73000">
                <a:schemeClr val="accent1"/>
              </a:gs>
              <a:gs pos="31000">
                <a:schemeClr val="accent1">
                  <a:lumMod val="60000"/>
                  <a:lumOff val="40000"/>
                </a:schemeClr>
              </a:gs>
              <a:gs pos="0">
                <a:schemeClr val="accent1">
                  <a:lumMod val="40000"/>
                  <a:lumOff val="60000"/>
                </a:schemeClr>
              </a:gs>
            </a:gsLst>
            <a:lin ang="27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white"/>
              </a:solidFill>
              <a:effectLst/>
              <a:uLnTx/>
              <a:uFillTx/>
              <a:latin typeface="HarmonyOS Sans SC"/>
              <a:cs typeface="+mn-cs"/>
            </a:endParaRPr>
          </a:p>
        </p:txBody>
      </p:sp>
      <p:sp>
        <p:nvSpPr>
          <p:cNvPr id="4" name="Shape">
            <a:extLst>
              <a:ext uri="{FF2B5EF4-FFF2-40B4-BE49-F238E27FC236}">
                <a16:creationId xmlns:a16="http://schemas.microsoft.com/office/drawing/2014/main" id="{28E05E2A-9F43-49E8-BD28-08D0549683B6}"/>
              </a:ext>
            </a:extLst>
          </p:cNvPr>
          <p:cNvSpPr/>
          <p:nvPr/>
        </p:nvSpPr>
        <p:spPr>
          <a:xfrm>
            <a:off x="5016462" y="3847662"/>
            <a:ext cx="2776896" cy="2343611"/>
          </a:xfrm>
          <a:custGeom>
            <a:avLst/>
            <a:gdLst/>
            <a:ahLst/>
            <a:cxnLst>
              <a:cxn ang="0">
                <a:pos x="wd2" y="hd2"/>
              </a:cxn>
              <a:cxn ang="5400000">
                <a:pos x="wd2" y="hd2"/>
              </a:cxn>
              <a:cxn ang="10800000">
                <a:pos x="wd2" y="hd2"/>
              </a:cxn>
              <a:cxn ang="16200000">
                <a:pos x="wd2" y="hd2"/>
              </a:cxn>
            </a:cxnLst>
            <a:rect l="0" t="0" r="r" b="b"/>
            <a:pathLst>
              <a:path w="21384" h="21297" extrusionOk="0">
                <a:moveTo>
                  <a:pt x="1444" y="4079"/>
                </a:moveTo>
                <a:lnTo>
                  <a:pt x="6764" y="455"/>
                </a:lnTo>
                <a:cubicBezTo>
                  <a:pt x="7655" y="-151"/>
                  <a:pt x="8753" y="-151"/>
                  <a:pt x="9643" y="455"/>
                </a:cubicBezTo>
                <a:lnTo>
                  <a:pt x="14962" y="4079"/>
                </a:lnTo>
                <a:cubicBezTo>
                  <a:pt x="15854" y="4685"/>
                  <a:pt x="16402" y="5808"/>
                  <a:pt x="16402" y="7022"/>
                </a:cubicBezTo>
                <a:lnTo>
                  <a:pt x="16402" y="7923"/>
                </a:lnTo>
                <a:cubicBezTo>
                  <a:pt x="16402" y="8921"/>
                  <a:pt x="17057" y="9813"/>
                  <a:pt x="17901" y="9811"/>
                </a:cubicBezTo>
                <a:cubicBezTo>
                  <a:pt x="18242" y="9808"/>
                  <a:pt x="18554" y="9670"/>
                  <a:pt x="18804" y="9443"/>
                </a:cubicBezTo>
                <a:cubicBezTo>
                  <a:pt x="18859" y="9375"/>
                  <a:pt x="18918" y="9310"/>
                  <a:pt x="18980" y="9253"/>
                </a:cubicBezTo>
                <a:cubicBezTo>
                  <a:pt x="19102" y="9142"/>
                  <a:pt x="19239" y="9053"/>
                  <a:pt x="19386" y="8991"/>
                </a:cubicBezTo>
                <a:cubicBezTo>
                  <a:pt x="19544" y="8923"/>
                  <a:pt x="19714" y="8886"/>
                  <a:pt x="19890" y="8886"/>
                </a:cubicBezTo>
                <a:cubicBezTo>
                  <a:pt x="20851" y="8886"/>
                  <a:pt x="21600" y="9957"/>
                  <a:pt x="21327" y="11141"/>
                </a:cubicBezTo>
                <a:cubicBezTo>
                  <a:pt x="21210" y="11652"/>
                  <a:pt x="20880" y="12077"/>
                  <a:pt x="20465" y="12275"/>
                </a:cubicBezTo>
                <a:cubicBezTo>
                  <a:pt x="20078" y="12458"/>
                  <a:pt x="19707" y="12440"/>
                  <a:pt x="19386" y="12304"/>
                </a:cubicBezTo>
                <a:cubicBezTo>
                  <a:pt x="19237" y="12239"/>
                  <a:pt x="19097" y="12150"/>
                  <a:pt x="18973" y="12037"/>
                </a:cubicBezTo>
                <a:cubicBezTo>
                  <a:pt x="18916" y="11982"/>
                  <a:pt x="18861" y="11923"/>
                  <a:pt x="18808" y="11861"/>
                </a:cubicBezTo>
                <a:cubicBezTo>
                  <a:pt x="18558" y="11631"/>
                  <a:pt x="18244" y="11490"/>
                  <a:pt x="17903" y="11487"/>
                </a:cubicBezTo>
                <a:cubicBezTo>
                  <a:pt x="17073" y="11479"/>
                  <a:pt x="16397" y="12396"/>
                  <a:pt x="16397" y="13375"/>
                </a:cubicBezTo>
                <a:lnTo>
                  <a:pt x="16397" y="14276"/>
                </a:lnTo>
                <a:cubicBezTo>
                  <a:pt x="16397" y="15490"/>
                  <a:pt x="15849" y="16610"/>
                  <a:pt x="14958" y="17219"/>
                </a:cubicBezTo>
                <a:lnTo>
                  <a:pt x="9638" y="20843"/>
                </a:lnTo>
                <a:cubicBezTo>
                  <a:pt x="8746" y="21449"/>
                  <a:pt x="7648" y="21449"/>
                  <a:pt x="6759" y="20843"/>
                </a:cubicBezTo>
                <a:lnTo>
                  <a:pt x="1439" y="17219"/>
                </a:lnTo>
                <a:cubicBezTo>
                  <a:pt x="548" y="16613"/>
                  <a:pt x="0" y="15490"/>
                  <a:pt x="0" y="14276"/>
                </a:cubicBezTo>
                <a:lnTo>
                  <a:pt x="0" y="7027"/>
                </a:lnTo>
                <a:cubicBezTo>
                  <a:pt x="5" y="5808"/>
                  <a:pt x="555" y="4688"/>
                  <a:pt x="1444" y="4079"/>
                </a:cubicBezTo>
                <a:close/>
              </a:path>
            </a:pathLst>
          </a:custGeom>
          <a:gradFill flip="none" rotWithShape="1">
            <a:gsLst>
              <a:gs pos="73000">
                <a:schemeClr val="accent1"/>
              </a:gs>
              <a:gs pos="31000">
                <a:schemeClr val="accent1">
                  <a:lumMod val="60000"/>
                  <a:lumOff val="40000"/>
                </a:schemeClr>
              </a:gs>
              <a:gs pos="0">
                <a:schemeClr val="accent1">
                  <a:lumMod val="40000"/>
                  <a:lumOff val="60000"/>
                </a:schemeClr>
              </a:gs>
            </a:gsLst>
            <a:lin ang="108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white"/>
              </a:solidFill>
              <a:effectLst/>
              <a:uLnTx/>
              <a:uFillTx/>
              <a:latin typeface="HarmonyOS Sans SC"/>
              <a:cs typeface="+mn-cs"/>
            </a:endParaRPr>
          </a:p>
        </p:txBody>
      </p:sp>
      <p:sp>
        <p:nvSpPr>
          <p:cNvPr id="5" name="Shape">
            <a:extLst>
              <a:ext uri="{FF2B5EF4-FFF2-40B4-BE49-F238E27FC236}">
                <a16:creationId xmlns:a16="http://schemas.microsoft.com/office/drawing/2014/main" id="{C49CC20E-75A4-4175-AB68-D1514C5CF1CF}"/>
              </a:ext>
            </a:extLst>
          </p:cNvPr>
          <p:cNvSpPr/>
          <p:nvPr/>
        </p:nvSpPr>
        <p:spPr>
          <a:xfrm>
            <a:off x="2903220" y="3847662"/>
            <a:ext cx="2776898" cy="2343611"/>
          </a:xfrm>
          <a:custGeom>
            <a:avLst/>
            <a:gdLst/>
            <a:ahLst/>
            <a:cxnLst>
              <a:cxn ang="0">
                <a:pos x="wd2" y="hd2"/>
              </a:cxn>
              <a:cxn ang="5400000">
                <a:pos x="wd2" y="hd2"/>
              </a:cxn>
              <a:cxn ang="10800000">
                <a:pos x="wd2" y="hd2"/>
              </a:cxn>
              <a:cxn ang="16200000">
                <a:pos x="wd2" y="hd2"/>
              </a:cxn>
            </a:cxnLst>
            <a:rect l="0" t="0" r="r" b="b"/>
            <a:pathLst>
              <a:path w="21384" h="21297" extrusionOk="0">
                <a:moveTo>
                  <a:pt x="1444" y="4079"/>
                </a:moveTo>
                <a:lnTo>
                  <a:pt x="6764" y="455"/>
                </a:lnTo>
                <a:cubicBezTo>
                  <a:pt x="7655" y="-151"/>
                  <a:pt x="8753" y="-151"/>
                  <a:pt x="9643" y="455"/>
                </a:cubicBezTo>
                <a:lnTo>
                  <a:pt x="14962" y="4079"/>
                </a:lnTo>
                <a:cubicBezTo>
                  <a:pt x="15854" y="4685"/>
                  <a:pt x="16402" y="5808"/>
                  <a:pt x="16402" y="7022"/>
                </a:cubicBezTo>
                <a:lnTo>
                  <a:pt x="16402" y="7923"/>
                </a:lnTo>
                <a:cubicBezTo>
                  <a:pt x="16402" y="8921"/>
                  <a:pt x="17057" y="9813"/>
                  <a:pt x="17901" y="9811"/>
                </a:cubicBezTo>
                <a:cubicBezTo>
                  <a:pt x="18242" y="9808"/>
                  <a:pt x="18554" y="9670"/>
                  <a:pt x="18804" y="9443"/>
                </a:cubicBezTo>
                <a:cubicBezTo>
                  <a:pt x="18859" y="9375"/>
                  <a:pt x="18918" y="9310"/>
                  <a:pt x="18980" y="9253"/>
                </a:cubicBezTo>
                <a:cubicBezTo>
                  <a:pt x="19102" y="9142"/>
                  <a:pt x="19239" y="9053"/>
                  <a:pt x="19386" y="8991"/>
                </a:cubicBezTo>
                <a:cubicBezTo>
                  <a:pt x="19544" y="8923"/>
                  <a:pt x="19714" y="8886"/>
                  <a:pt x="19890" y="8886"/>
                </a:cubicBezTo>
                <a:cubicBezTo>
                  <a:pt x="20851" y="8886"/>
                  <a:pt x="21600" y="9957"/>
                  <a:pt x="21327" y="11141"/>
                </a:cubicBezTo>
                <a:cubicBezTo>
                  <a:pt x="21210" y="11652"/>
                  <a:pt x="20880" y="12077"/>
                  <a:pt x="20465" y="12275"/>
                </a:cubicBezTo>
                <a:cubicBezTo>
                  <a:pt x="20078" y="12458"/>
                  <a:pt x="19707" y="12440"/>
                  <a:pt x="19386" y="12304"/>
                </a:cubicBezTo>
                <a:cubicBezTo>
                  <a:pt x="19237" y="12239"/>
                  <a:pt x="19097" y="12150"/>
                  <a:pt x="18973" y="12037"/>
                </a:cubicBezTo>
                <a:cubicBezTo>
                  <a:pt x="18916" y="11982"/>
                  <a:pt x="18861" y="11923"/>
                  <a:pt x="18808" y="11861"/>
                </a:cubicBezTo>
                <a:cubicBezTo>
                  <a:pt x="18558" y="11631"/>
                  <a:pt x="18244" y="11490"/>
                  <a:pt x="17903" y="11487"/>
                </a:cubicBezTo>
                <a:cubicBezTo>
                  <a:pt x="17073" y="11479"/>
                  <a:pt x="16397" y="12396"/>
                  <a:pt x="16397" y="13375"/>
                </a:cubicBezTo>
                <a:lnTo>
                  <a:pt x="16397" y="14276"/>
                </a:lnTo>
                <a:cubicBezTo>
                  <a:pt x="16397" y="15490"/>
                  <a:pt x="15849" y="16610"/>
                  <a:pt x="14958" y="17219"/>
                </a:cubicBezTo>
                <a:lnTo>
                  <a:pt x="9638" y="20843"/>
                </a:lnTo>
                <a:cubicBezTo>
                  <a:pt x="8746" y="21449"/>
                  <a:pt x="7648" y="21449"/>
                  <a:pt x="6759" y="20843"/>
                </a:cubicBezTo>
                <a:lnTo>
                  <a:pt x="1439" y="17219"/>
                </a:lnTo>
                <a:cubicBezTo>
                  <a:pt x="548" y="16613"/>
                  <a:pt x="0" y="15490"/>
                  <a:pt x="0" y="14276"/>
                </a:cubicBezTo>
                <a:lnTo>
                  <a:pt x="0" y="7027"/>
                </a:lnTo>
                <a:cubicBezTo>
                  <a:pt x="5" y="5808"/>
                  <a:pt x="555" y="4688"/>
                  <a:pt x="1444" y="4079"/>
                </a:cubicBezTo>
                <a:close/>
              </a:path>
            </a:pathLst>
          </a:custGeom>
          <a:gradFill flip="none" rotWithShape="1">
            <a:gsLst>
              <a:gs pos="73000">
                <a:schemeClr val="accent1"/>
              </a:gs>
              <a:gs pos="31000">
                <a:schemeClr val="accent1">
                  <a:lumMod val="60000"/>
                  <a:lumOff val="40000"/>
                </a:schemeClr>
              </a:gs>
              <a:gs pos="0">
                <a:schemeClr val="accent1">
                  <a:lumMod val="40000"/>
                  <a:lumOff val="60000"/>
                </a:schemeClr>
              </a:gs>
            </a:gsLst>
            <a:lin ang="108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white"/>
              </a:solidFill>
              <a:effectLst/>
              <a:uLnTx/>
              <a:uFillTx/>
              <a:latin typeface="HarmonyOS Sans SC"/>
              <a:cs typeface="+mn-cs"/>
            </a:endParaRPr>
          </a:p>
        </p:txBody>
      </p:sp>
      <p:sp>
        <p:nvSpPr>
          <p:cNvPr id="6" name="Freeform: Shape 10">
            <a:extLst>
              <a:ext uri="{FF2B5EF4-FFF2-40B4-BE49-F238E27FC236}">
                <a16:creationId xmlns:a16="http://schemas.microsoft.com/office/drawing/2014/main" id="{05D709A1-7E05-4960-BE9A-106DA4EE03C7}"/>
              </a:ext>
            </a:extLst>
          </p:cNvPr>
          <p:cNvSpPr/>
          <p:nvPr/>
        </p:nvSpPr>
        <p:spPr>
          <a:xfrm>
            <a:off x="3944959" y="2002343"/>
            <a:ext cx="2129907" cy="2680471"/>
          </a:xfrm>
          <a:custGeom>
            <a:avLst/>
            <a:gdLst>
              <a:gd name="connsiteX0" fmla="*/ 1111236 w 2220390"/>
              <a:gd name="connsiteY0" fmla="*/ 1 h 2794344"/>
              <a:gd name="connsiteX1" fmla="*/ 1306021 w 2220390"/>
              <a:gd name="connsiteY1" fmla="*/ 52455 h 2794344"/>
              <a:gd name="connsiteX2" fmla="*/ 2025798 w 2220390"/>
              <a:gd name="connsiteY2" fmla="*/ 468430 h 2794344"/>
              <a:gd name="connsiteX3" fmla="*/ 2220390 w 2220390"/>
              <a:gd name="connsiteY3" fmla="*/ 806042 h 2794344"/>
              <a:gd name="connsiteX4" fmla="*/ 2220292 w 2220390"/>
              <a:gd name="connsiteY4" fmla="*/ 938113 h 2794344"/>
              <a:gd name="connsiteX5" fmla="*/ 2210217 w 2220390"/>
              <a:gd name="connsiteY5" fmla="*/ 991049 h 2794344"/>
              <a:gd name="connsiteX6" fmla="*/ 2022930 w 2220390"/>
              <a:gd name="connsiteY6" fmla="*/ 1125464 h 2794344"/>
              <a:gd name="connsiteX7" fmla="*/ 1900686 w 2220390"/>
              <a:gd name="connsiteY7" fmla="*/ 1083247 h 2794344"/>
              <a:gd name="connsiteX8" fmla="*/ 1876860 w 2220390"/>
              <a:gd name="connsiteY8" fmla="*/ 1061451 h 2794344"/>
              <a:gd name="connsiteX9" fmla="*/ 1821897 w 2220390"/>
              <a:gd name="connsiteY9" fmla="*/ 1031394 h 2794344"/>
              <a:gd name="connsiteX10" fmla="*/ 1753668 w 2220390"/>
              <a:gd name="connsiteY10" fmla="*/ 1019349 h 2794344"/>
              <a:gd name="connsiteX11" fmla="*/ 1559134 w 2220390"/>
              <a:gd name="connsiteY11" fmla="*/ 1278040 h 2794344"/>
              <a:gd name="connsiteX12" fmla="*/ 1675827 w 2220390"/>
              <a:gd name="connsiteY12" fmla="*/ 1408132 h 2794344"/>
              <a:gd name="connsiteX13" fmla="*/ 1821897 w 2220390"/>
              <a:gd name="connsiteY13" fmla="*/ 1411459 h 2794344"/>
              <a:gd name="connsiteX14" fmla="*/ 1877807 w 2220390"/>
              <a:gd name="connsiteY14" fmla="*/ 1380829 h 2794344"/>
              <a:gd name="connsiteX15" fmla="*/ 1900144 w 2220390"/>
              <a:gd name="connsiteY15" fmla="*/ 1360638 h 2794344"/>
              <a:gd name="connsiteX16" fmla="*/ 2022659 w 2220390"/>
              <a:gd name="connsiteY16" fmla="*/ 1317733 h 2794344"/>
              <a:gd name="connsiteX17" fmla="*/ 2210480 w 2220390"/>
              <a:gd name="connsiteY17" fmla="*/ 1452971 h 2794344"/>
              <a:gd name="connsiteX18" fmla="*/ 2219875 w 2220390"/>
              <a:gd name="connsiteY18" fmla="*/ 1500579 h 2794344"/>
              <a:gd name="connsiteX19" fmla="*/ 2219773 w 2220390"/>
              <a:gd name="connsiteY19" fmla="*/ 1637600 h 2794344"/>
              <a:gd name="connsiteX20" fmla="*/ 2024564 w 2220390"/>
              <a:gd name="connsiteY20" fmla="*/ 1975212 h 2794344"/>
              <a:gd name="connsiteX21" fmla="*/ 1304171 w 2220390"/>
              <a:gd name="connsiteY21" fmla="*/ 2390664 h 2794344"/>
              <a:gd name="connsiteX22" fmla="*/ 914369 w 2220390"/>
              <a:gd name="connsiteY22" fmla="*/ 2390403 h 2794344"/>
              <a:gd name="connsiteX23" fmla="*/ 825040 w 2220390"/>
              <a:gd name="connsiteY23" fmla="*/ 2338814 h 2794344"/>
              <a:gd name="connsiteX24" fmla="*/ 590511 w 2220390"/>
              <a:gd name="connsiteY24" fmla="*/ 2347006 h 2794344"/>
              <a:gd name="connsiteX25" fmla="*/ 565573 w 2220390"/>
              <a:gd name="connsiteY25" fmla="*/ 2368589 h 2794344"/>
              <a:gd name="connsiteX26" fmla="*/ 544151 w 2220390"/>
              <a:gd name="connsiteY26" fmla="*/ 2397822 h 2794344"/>
              <a:gd name="connsiteX27" fmla="*/ 519962 w 2220390"/>
              <a:gd name="connsiteY27" fmla="*/ 2525347 h 2794344"/>
              <a:gd name="connsiteX28" fmla="*/ 526156 w 2220390"/>
              <a:gd name="connsiteY28" fmla="*/ 2554843 h 2794344"/>
              <a:gd name="connsiteX29" fmla="*/ 524910 w 2220390"/>
              <a:gd name="connsiteY29" fmla="*/ 2618443 h 2794344"/>
              <a:gd name="connsiteX30" fmla="*/ 478505 w 2220390"/>
              <a:gd name="connsiteY30" fmla="*/ 2715458 h 2794344"/>
              <a:gd name="connsiteX31" fmla="*/ 471922 w 2220390"/>
              <a:gd name="connsiteY31" fmla="*/ 2721628 h 2794344"/>
              <a:gd name="connsiteX32" fmla="*/ 469883 w 2220390"/>
              <a:gd name="connsiteY32" fmla="*/ 2724442 h 2794344"/>
              <a:gd name="connsiteX33" fmla="*/ 440275 w 2220390"/>
              <a:gd name="connsiteY33" fmla="*/ 2752177 h 2794344"/>
              <a:gd name="connsiteX34" fmla="*/ 269325 w 2220390"/>
              <a:gd name="connsiteY34" fmla="*/ 2788093 h 2794344"/>
              <a:gd name="connsiteX35" fmla="*/ 142681 w 2220390"/>
              <a:gd name="connsiteY35" fmla="*/ 2490315 h 2794344"/>
              <a:gd name="connsiteX36" fmla="*/ 187397 w 2220390"/>
              <a:gd name="connsiteY36" fmla="*/ 2437159 h 2794344"/>
              <a:gd name="connsiteX37" fmla="*/ 189709 w 2220390"/>
              <a:gd name="connsiteY37" fmla="*/ 2435750 h 2794344"/>
              <a:gd name="connsiteX38" fmla="*/ 196022 w 2220390"/>
              <a:gd name="connsiteY38" fmla="*/ 2428254 h 2794344"/>
              <a:gd name="connsiteX39" fmla="*/ 249383 w 2220390"/>
              <a:gd name="connsiteY39" fmla="*/ 2395662 h 2794344"/>
              <a:gd name="connsiteX40" fmla="*/ 280113 w 2220390"/>
              <a:gd name="connsiteY40" fmla="*/ 2385722 h 2794344"/>
              <a:gd name="connsiteX41" fmla="*/ 333469 w 2220390"/>
              <a:gd name="connsiteY41" fmla="*/ 2353240 h 2794344"/>
              <a:gd name="connsiteX42" fmla="*/ 369551 w 2220390"/>
              <a:gd name="connsiteY42" fmla="*/ 2309951 h 2794344"/>
              <a:gd name="connsiteX43" fmla="*/ 283922 w 2220390"/>
              <a:gd name="connsiteY43" fmla="*/ 2025756 h 2794344"/>
              <a:gd name="connsiteX44" fmla="*/ 194593 w 2220390"/>
              <a:gd name="connsiteY44" fmla="*/ 1974298 h 2794344"/>
              <a:gd name="connsiteX45" fmla="*/ 0 w 2220390"/>
              <a:gd name="connsiteY45" fmla="*/ 1636686 h 2794344"/>
              <a:gd name="connsiteX46" fmla="*/ 617 w 2220390"/>
              <a:gd name="connsiteY46" fmla="*/ 805128 h 2794344"/>
              <a:gd name="connsiteX47" fmla="*/ 195826 w 2220390"/>
              <a:gd name="connsiteY47" fmla="*/ 467516 h 2794344"/>
              <a:gd name="connsiteX48" fmla="*/ 916219 w 2220390"/>
              <a:gd name="connsiteY48" fmla="*/ 52063 h 2794344"/>
              <a:gd name="connsiteX49" fmla="*/ 1111236 w 2220390"/>
              <a:gd name="connsiteY49" fmla="*/ 1 h 2794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2220390" h="2794344">
                <a:moveTo>
                  <a:pt x="1111236" y="1"/>
                </a:moveTo>
                <a:cubicBezTo>
                  <a:pt x="1178529" y="50"/>
                  <a:pt x="1245783" y="17518"/>
                  <a:pt x="1306021" y="52455"/>
                </a:cubicBezTo>
                <a:lnTo>
                  <a:pt x="2025798" y="468430"/>
                </a:lnTo>
                <a:cubicBezTo>
                  <a:pt x="2146274" y="538042"/>
                  <a:pt x="2220390" y="666687"/>
                  <a:pt x="2220390" y="806042"/>
                </a:cubicBezTo>
                <a:lnTo>
                  <a:pt x="2220292" y="938113"/>
                </a:lnTo>
                <a:lnTo>
                  <a:pt x="2210217" y="991049"/>
                </a:lnTo>
                <a:cubicBezTo>
                  <a:pt x="2179923" y="1068118"/>
                  <a:pt x="2108622" y="1125636"/>
                  <a:pt x="2022930" y="1125464"/>
                </a:cubicBezTo>
                <a:cubicBezTo>
                  <a:pt x="1976767" y="1125120"/>
                  <a:pt x="1934530" y="1109288"/>
                  <a:pt x="1900686" y="1083247"/>
                </a:cubicBezTo>
                <a:cubicBezTo>
                  <a:pt x="1893240" y="1075446"/>
                  <a:pt x="1885253" y="1067990"/>
                  <a:pt x="1876860" y="1061451"/>
                </a:cubicBezTo>
                <a:cubicBezTo>
                  <a:pt x="1860344" y="1048717"/>
                  <a:pt x="1841797" y="1038507"/>
                  <a:pt x="1821897" y="1031394"/>
                </a:cubicBezTo>
                <a:cubicBezTo>
                  <a:pt x="1800508" y="1023593"/>
                  <a:pt x="1777494" y="1019349"/>
                  <a:pt x="1753668" y="1019349"/>
                </a:cubicBezTo>
                <a:cubicBezTo>
                  <a:pt x="1623572" y="1019349"/>
                  <a:pt x="1522176" y="1142213"/>
                  <a:pt x="1559134" y="1278040"/>
                </a:cubicBezTo>
                <a:cubicBezTo>
                  <a:pt x="1574973" y="1336662"/>
                  <a:pt x="1619646" y="1385418"/>
                  <a:pt x="1675827" y="1408132"/>
                </a:cubicBezTo>
                <a:cubicBezTo>
                  <a:pt x="1728217" y="1429126"/>
                  <a:pt x="1778442" y="1427061"/>
                  <a:pt x="1821897" y="1411459"/>
                </a:cubicBezTo>
                <a:cubicBezTo>
                  <a:pt x="1842068" y="1404002"/>
                  <a:pt x="1861021" y="1393792"/>
                  <a:pt x="1877807" y="1380829"/>
                </a:cubicBezTo>
                <a:cubicBezTo>
                  <a:pt x="1885524" y="1374519"/>
                  <a:pt x="1892969" y="1367751"/>
                  <a:pt x="1900144" y="1360638"/>
                </a:cubicBezTo>
                <a:cubicBezTo>
                  <a:pt x="1933988" y="1334253"/>
                  <a:pt x="1976496" y="1318077"/>
                  <a:pt x="2022659" y="1317733"/>
                </a:cubicBezTo>
                <a:cubicBezTo>
                  <a:pt x="2106930" y="1317045"/>
                  <a:pt x="2179474" y="1376046"/>
                  <a:pt x="2210480" y="1452971"/>
                </a:cubicBezTo>
                <a:lnTo>
                  <a:pt x="2219875" y="1500579"/>
                </a:lnTo>
                <a:lnTo>
                  <a:pt x="2219773" y="1637600"/>
                </a:lnTo>
                <a:cubicBezTo>
                  <a:pt x="2219465" y="1776955"/>
                  <a:pt x="2145349" y="1905730"/>
                  <a:pt x="2024564" y="1975212"/>
                </a:cubicBezTo>
                <a:lnTo>
                  <a:pt x="1304171" y="2390664"/>
                </a:lnTo>
                <a:cubicBezTo>
                  <a:pt x="1183386" y="2460146"/>
                  <a:pt x="1035154" y="2460146"/>
                  <a:pt x="914369" y="2390403"/>
                </a:cubicBezTo>
                <a:lnTo>
                  <a:pt x="825040" y="2338814"/>
                </a:lnTo>
                <a:cubicBezTo>
                  <a:pt x="751952" y="2296694"/>
                  <a:pt x="656891" y="2301004"/>
                  <a:pt x="590511" y="2347006"/>
                </a:cubicBezTo>
                <a:lnTo>
                  <a:pt x="565573" y="2368589"/>
                </a:lnTo>
                <a:lnTo>
                  <a:pt x="544151" y="2397822"/>
                </a:lnTo>
                <a:cubicBezTo>
                  <a:pt x="521519" y="2437870"/>
                  <a:pt x="514079" y="2482851"/>
                  <a:pt x="519962" y="2525347"/>
                </a:cubicBezTo>
                <a:cubicBezTo>
                  <a:pt x="522765" y="2534999"/>
                  <a:pt x="524910" y="2544903"/>
                  <a:pt x="526156" y="2554843"/>
                </a:cubicBezTo>
                <a:cubicBezTo>
                  <a:pt x="529270" y="2575623"/>
                  <a:pt x="528648" y="2597339"/>
                  <a:pt x="524910" y="2618443"/>
                </a:cubicBezTo>
                <a:cubicBezTo>
                  <a:pt x="518863" y="2652665"/>
                  <a:pt x="504270" y="2686178"/>
                  <a:pt x="478505" y="2715458"/>
                </a:cubicBezTo>
                <a:lnTo>
                  <a:pt x="471922" y="2721628"/>
                </a:lnTo>
                <a:lnTo>
                  <a:pt x="469883" y="2724442"/>
                </a:lnTo>
                <a:cubicBezTo>
                  <a:pt x="461290" y="2734202"/>
                  <a:pt x="451454" y="2743492"/>
                  <a:pt x="440275" y="2752177"/>
                </a:cubicBezTo>
                <a:cubicBezTo>
                  <a:pt x="392475" y="2789660"/>
                  <a:pt x="328022" y="2803635"/>
                  <a:pt x="269325" y="2788093"/>
                </a:cubicBezTo>
                <a:cubicBezTo>
                  <a:pt x="133121" y="2752177"/>
                  <a:pt x="77611" y="2602896"/>
                  <a:pt x="142681" y="2490315"/>
                </a:cubicBezTo>
                <a:cubicBezTo>
                  <a:pt x="154811" y="2469419"/>
                  <a:pt x="170024" y="2451787"/>
                  <a:pt x="187397" y="2437159"/>
                </a:cubicBezTo>
                <a:lnTo>
                  <a:pt x="189709" y="2435750"/>
                </a:lnTo>
                <a:lnTo>
                  <a:pt x="196022" y="2428254"/>
                </a:lnTo>
                <a:cubicBezTo>
                  <a:pt x="212148" y="2414605"/>
                  <a:pt x="230143" y="2403405"/>
                  <a:pt x="249383" y="2395662"/>
                </a:cubicBezTo>
                <a:cubicBezTo>
                  <a:pt x="259315" y="2391628"/>
                  <a:pt x="269558" y="2388207"/>
                  <a:pt x="280113" y="2385722"/>
                </a:cubicBezTo>
                <a:lnTo>
                  <a:pt x="333469" y="2353240"/>
                </a:lnTo>
                <a:lnTo>
                  <a:pt x="369551" y="2309951"/>
                </a:lnTo>
                <a:cubicBezTo>
                  <a:pt x="427220" y="2210953"/>
                  <a:pt x="382915" y="2083222"/>
                  <a:pt x="283922" y="2025756"/>
                </a:cubicBezTo>
                <a:lnTo>
                  <a:pt x="194593" y="1974298"/>
                </a:lnTo>
                <a:cubicBezTo>
                  <a:pt x="74116" y="1904816"/>
                  <a:pt x="0" y="1776040"/>
                  <a:pt x="0" y="1636686"/>
                </a:cubicBezTo>
                <a:lnTo>
                  <a:pt x="617" y="805128"/>
                </a:lnTo>
                <a:cubicBezTo>
                  <a:pt x="925" y="665773"/>
                  <a:pt x="75041" y="536997"/>
                  <a:pt x="195826" y="467516"/>
                </a:cubicBezTo>
                <a:lnTo>
                  <a:pt x="916219" y="52063"/>
                </a:lnTo>
                <a:cubicBezTo>
                  <a:pt x="976612" y="17322"/>
                  <a:pt x="1043943" y="-48"/>
                  <a:pt x="1111236" y="1"/>
                </a:cubicBezTo>
                <a:close/>
              </a:path>
            </a:pathLst>
          </a:custGeom>
          <a:gradFill flip="none" rotWithShape="1">
            <a:gsLst>
              <a:gs pos="73000">
                <a:schemeClr val="accent1"/>
              </a:gs>
              <a:gs pos="31000">
                <a:schemeClr val="accent1">
                  <a:lumMod val="60000"/>
                  <a:lumOff val="40000"/>
                </a:schemeClr>
              </a:gs>
              <a:gs pos="0">
                <a:schemeClr val="accent1">
                  <a:lumMod val="40000"/>
                  <a:lumOff val="60000"/>
                </a:schemeClr>
              </a:gs>
            </a:gsLst>
            <a:lin ang="189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white"/>
              </a:solidFill>
              <a:effectLst/>
              <a:uLnTx/>
              <a:uFillTx/>
              <a:latin typeface="HarmonyOS Sans SC"/>
              <a:cs typeface="+mn-cs"/>
            </a:endParaRPr>
          </a:p>
        </p:txBody>
      </p:sp>
      <p:sp>
        <p:nvSpPr>
          <p:cNvPr id="7" name="Rectangle 12">
            <a:extLst>
              <a:ext uri="{FF2B5EF4-FFF2-40B4-BE49-F238E27FC236}">
                <a16:creationId xmlns:a16="http://schemas.microsoft.com/office/drawing/2014/main" id="{37A764F9-1270-4D71-B2CC-6EA2D955A2BE}"/>
              </a:ext>
            </a:extLst>
          </p:cNvPr>
          <p:cNvSpPr/>
          <p:nvPr/>
        </p:nvSpPr>
        <p:spPr>
          <a:xfrm>
            <a:off x="5606281" y="4508291"/>
            <a:ext cx="1310904" cy="423145"/>
          </a:xfrm>
          <a:prstGeom prst="rect">
            <a:avLst/>
          </a:prstGeom>
          <a:effectLst/>
        </p:spPr>
        <p:txBody>
          <a:bodyPr wrap="square"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white"/>
                </a:solidFill>
                <a:effectLst/>
                <a:uLnTx/>
                <a:uFillTx/>
                <a:latin typeface="HarmonyOS Sans SC Black"/>
                <a:ea typeface="+mj-ea"/>
                <a:cs typeface="+mn-cs"/>
              </a:rPr>
              <a:t>Step 4</a:t>
            </a:r>
          </a:p>
        </p:txBody>
      </p:sp>
      <p:sp>
        <p:nvSpPr>
          <p:cNvPr id="8" name="Rectangle 14">
            <a:extLst>
              <a:ext uri="{FF2B5EF4-FFF2-40B4-BE49-F238E27FC236}">
                <a16:creationId xmlns:a16="http://schemas.microsoft.com/office/drawing/2014/main" id="{F8B7D997-4190-40E4-A360-349EB742FF35}"/>
              </a:ext>
            </a:extLst>
          </p:cNvPr>
          <p:cNvSpPr/>
          <p:nvPr/>
        </p:nvSpPr>
        <p:spPr>
          <a:xfrm>
            <a:off x="7665668" y="4508291"/>
            <a:ext cx="1393214" cy="423145"/>
          </a:xfrm>
          <a:prstGeom prst="rect">
            <a:avLst/>
          </a:prstGeom>
          <a:effectLst/>
        </p:spPr>
        <p:txBody>
          <a:bodyPr wrap="square"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white"/>
                </a:solidFill>
                <a:effectLst/>
                <a:uLnTx/>
                <a:uFillTx/>
                <a:latin typeface="HarmonyOS Sans SC Black"/>
                <a:ea typeface="+mj-ea"/>
                <a:cs typeface="+mn-cs"/>
              </a:rPr>
              <a:t>Step 5</a:t>
            </a:r>
          </a:p>
        </p:txBody>
      </p:sp>
      <p:sp>
        <p:nvSpPr>
          <p:cNvPr id="9" name="Rectangle 15">
            <a:extLst>
              <a:ext uri="{FF2B5EF4-FFF2-40B4-BE49-F238E27FC236}">
                <a16:creationId xmlns:a16="http://schemas.microsoft.com/office/drawing/2014/main" id="{2865E15B-F552-4B59-8201-8251D7676D5A}"/>
              </a:ext>
            </a:extLst>
          </p:cNvPr>
          <p:cNvSpPr/>
          <p:nvPr/>
        </p:nvSpPr>
        <p:spPr>
          <a:xfrm>
            <a:off x="4154173" y="2640655"/>
            <a:ext cx="1393214" cy="423145"/>
          </a:xfrm>
          <a:prstGeom prst="rect">
            <a:avLst/>
          </a:prstGeom>
          <a:effectLst/>
        </p:spPr>
        <p:txBody>
          <a:bodyPr wrap="square"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white"/>
                </a:solidFill>
                <a:effectLst/>
                <a:uLnTx/>
                <a:uFillTx/>
                <a:latin typeface="HarmonyOS Sans SC Black"/>
                <a:ea typeface="+mj-ea"/>
                <a:cs typeface="+mn-cs"/>
              </a:rPr>
              <a:t>Step 1</a:t>
            </a:r>
          </a:p>
        </p:txBody>
      </p:sp>
      <p:sp>
        <p:nvSpPr>
          <p:cNvPr id="10" name="Rectangle 16">
            <a:extLst>
              <a:ext uri="{FF2B5EF4-FFF2-40B4-BE49-F238E27FC236}">
                <a16:creationId xmlns:a16="http://schemas.microsoft.com/office/drawing/2014/main" id="{CF7E1B20-C751-424A-86CF-FC15E45DB9FC}"/>
              </a:ext>
            </a:extLst>
          </p:cNvPr>
          <p:cNvSpPr/>
          <p:nvPr/>
        </p:nvSpPr>
        <p:spPr>
          <a:xfrm>
            <a:off x="3123180" y="4508291"/>
            <a:ext cx="1310904" cy="423145"/>
          </a:xfrm>
          <a:prstGeom prst="rect">
            <a:avLst/>
          </a:prstGeom>
          <a:effectLst/>
        </p:spPr>
        <p:txBody>
          <a:bodyPr wrap="square"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white"/>
                </a:solidFill>
                <a:effectLst/>
                <a:uLnTx/>
                <a:uFillTx/>
                <a:latin typeface="HarmonyOS Sans SC Black"/>
                <a:ea typeface="+mj-ea"/>
                <a:cs typeface="+mn-cs"/>
              </a:rPr>
              <a:t>Step 3</a:t>
            </a:r>
          </a:p>
        </p:txBody>
      </p:sp>
      <p:sp>
        <p:nvSpPr>
          <p:cNvPr id="11" name="Rectangle 17">
            <a:extLst>
              <a:ext uri="{FF2B5EF4-FFF2-40B4-BE49-F238E27FC236}">
                <a16:creationId xmlns:a16="http://schemas.microsoft.com/office/drawing/2014/main" id="{FEE3BCB1-CD36-42DE-84EA-A7BAC8AC61C6}"/>
              </a:ext>
            </a:extLst>
          </p:cNvPr>
          <p:cNvSpPr/>
          <p:nvPr/>
        </p:nvSpPr>
        <p:spPr>
          <a:xfrm>
            <a:off x="6297177" y="2640655"/>
            <a:ext cx="1393214" cy="423145"/>
          </a:xfrm>
          <a:prstGeom prst="rect">
            <a:avLst/>
          </a:prstGeom>
          <a:effectLst/>
        </p:spPr>
        <p:txBody>
          <a:bodyPr wrap="square"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white"/>
                </a:solidFill>
                <a:effectLst/>
                <a:uLnTx/>
                <a:uFillTx/>
                <a:latin typeface="HarmonyOS Sans SC Black"/>
                <a:ea typeface="+mj-ea"/>
                <a:cs typeface="+mn-cs"/>
              </a:rPr>
              <a:t>Step 2</a:t>
            </a:r>
          </a:p>
        </p:txBody>
      </p:sp>
      <p:sp>
        <p:nvSpPr>
          <p:cNvPr id="12" name="TextBox 18">
            <a:extLst>
              <a:ext uri="{FF2B5EF4-FFF2-40B4-BE49-F238E27FC236}">
                <a16:creationId xmlns:a16="http://schemas.microsoft.com/office/drawing/2014/main" id="{998BFB39-0FD2-40BE-92B5-C8B90C25531E}"/>
              </a:ext>
            </a:extLst>
          </p:cNvPr>
          <p:cNvSpPr txBox="1"/>
          <p:nvPr/>
        </p:nvSpPr>
        <p:spPr>
          <a:xfrm>
            <a:off x="4154173" y="2999645"/>
            <a:ext cx="1351414" cy="466001"/>
          </a:xfrm>
          <a:prstGeom prst="rect">
            <a:avLst/>
          </a:prstGeom>
          <a:noFill/>
        </p:spPr>
        <p:txBody>
          <a:bodyPr wrap="square" rtlCol="0">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white"/>
                </a:solidFill>
                <a:effectLst/>
                <a:uLnTx/>
                <a:uFillTx/>
                <a:latin typeface="HarmonyOS Sans SC"/>
                <a:cs typeface="+mn-cs"/>
              </a:rPr>
              <a:t>Nam tempus </a:t>
            </a:r>
            <a:r>
              <a:rPr kumimoji="0" lang="en-US" sz="800" b="0" i="0" u="none" strike="noStrike" kern="1200" cap="none" spc="0" normalizeH="0" baseline="0" noProof="0" dirty="0" err="1">
                <a:ln>
                  <a:noFill/>
                </a:ln>
                <a:solidFill>
                  <a:prstClr val="white"/>
                </a:solidFill>
                <a:effectLst/>
                <a:uLnTx/>
                <a:uFillTx/>
                <a:latin typeface="HarmonyOS Sans SC"/>
                <a:cs typeface="+mn-cs"/>
              </a:rPr>
              <a:t>leo</a:t>
            </a:r>
            <a:r>
              <a:rPr kumimoji="0" lang="en-US" sz="800" b="0" i="0" u="none" strike="noStrike" kern="1200" cap="none" spc="0" normalizeH="0" baseline="0" noProof="0" dirty="0">
                <a:ln>
                  <a:noFill/>
                </a:ln>
                <a:solidFill>
                  <a:prstClr val="white"/>
                </a:solidFill>
                <a:effectLst/>
                <a:uLnTx/>
                <a:uFillTx/>
                <a:latin typeface="HarmonyOS Sans SC"/>
                <a:cs typeface="+mn-cs"/>
              </a:rPr>
              <a:t> </a:t>
            </a:r>
            <a:r>
              <a:rPr kumimoji="0" lang="en-US" sz="800" b="0" i="0" u="none" strike="noStrike" kern="1200" cap="none" spc="0" normalizeH="0" baseline="0" noProof="0" dirty="0" err="1">
                <a:ln>
                  <a:noFill/>
                </a:ln>
                <a:solidFill>
                  <a:prstClr val="white"/>
                </a:solidFill>
                <a:effectLst/>
                <a:uLnTx/>
                <a:uFillTx/>
                <a:latin typeface="HarmonyOS Sans SC"/>
                <a:cs typeface="+mn-cs"/>
              </a:rPr>
              <a:t>enim</a:t>
            </a:r>
            <a:r>
              <a:rPr kumimoji="0" lang="en-US" sz="800" b="0" i="0" u="none" strike="noStrike" kern="1200" cap="none" spc="0" normalizeH="0" baseline="0" noProof="0" dirty="0">
                <a:ln>
                  <a:noFill/>
                </a:ln>
                <a:solidFill>
                  <a:prstClr val="white"/>
                </a:solidFill>
                <a:effectLst/>
                <a:uLnTx/>
                <a:uFillTx/>
                <a:latin typeface="HarmonyOS Sans SC"/>
                <a:cs typeface="+mn-cs"/>
              </a:rPr>
              <a:t>. Cras vel </a:t>
            </a:r>
            <a:r>
              <a:rPr kumimoji="0" lang="en-US" sz="800" b="0" i="0" u="none" strike="noStrike" kern="1200" cap="none" spc="0" normalizeH="0" baseline="0" noProof="0" dirty="0" err="1">
                <a:ln>
                  <a:noFill/>
                </a:ln>
                <a:solidFill>
                  <a:prstClr val="white"/>
                </a:solidFill>
                <a:effectLst/>
                <a:uLnTx/>
                <a:uFillTx/>
                <a:latin typeface="HarmonyOS Sans SC"/>
                <a:cs typeface="+mn-cs"/>
              </a:rPr>
              <a:t>quam</a:t>
            </a:r>
            <a:r>
              <a:rPr kumimoji="0" lang="en-US" sz="800" b="0" i="0" u="none" strike="noStrike" kern="1200" cap="none" spc="0" normalizeH="0" baseline="0" noProof="0" dirty="0">
                <a:ln>
                  <a:noFill/>
                </a:ln>
                <a:solidFill>
                  <a:prstClr val="white"/>
                </a:solidFill>
                <a:effectLst/>
                <a:uLnTx/>
                <a:uFillTx/>
                <a:latin typeface="HarmonyOS Sans SC"/>
                <a:cs typeface="+mn-cs"/>
              </a:rPr>
              <a:t>.</a:t>
            </a:r>
          </a:p>
        </p:txBody>
      </p:sp>
      <p:sp>
        <p:nvSpPr>
          <p:cNvPr id="13" name="TextBox 19">
            <a:extLst>
              <a:ext uri="{FF2B5EF4-FFF2-40B4-BE49-F238E27FC236}">
                <a16:creationId xmlns:a16="http://schemas.microsoft.com/office/drawing/2014/main" id="{690304C2-CBF7-4967-ABAE-0866E0733630}"/>
              </a:ext>
            </a:extLst>
          </p:cNvPr>
          <p:cNvSpPr txBox="1"/>
          <p:nvPr/>
        </p:nvSpPr>
        <p:spPr>
          <a:xfrm>
            <a:off x="5606281" y="4863373"/>
            <a:ext cx="1351414" cy="466001"/>
          </a:xfrm>
          <a:prstGeom prst="rect">
            <a:avLst/>
          </a:prstGeom>
          <a:noFill/>
        </p:spPr>
        <p:txBody>
          <a:bodyPr wrap="square" rtlCol="0">
            <a:spAutoFit/>
          </a:bodyPr>
          <a:lstStyle/>
          <a:p>
            <a:pPr marL="0" marR="0" lvl="0" indent="0" algn="r" defTabSz="914400" rtl="0" eaLnBrk="1" fontAlgn="auto" latinLnBrk="0" hangingPunct="1">
              <a:lnSpc>
                <a:spcPct val="15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white"/>
                </a:solidFill>
                <a:effectLst/>
                <a:uLnTx/>
                <a:uFillTx/>
                <a:latin typeface="HarmonyOS Sans SC"/>
                <a:cs typeface="+mn-cs"/>
              </a:rPr>
              <a:t>Nam tempus </a:t>
            </a:r>
            <a:r>
              <a:rPr kumimoji="0" lang="en-US" sz="800" b="0" i="0" u="none" strike="noStrike" kern="1200" cap="none" spc="0" normalizeH="0" baseline="0" noProof="0" dirty="0" err="1">
                <a:ln>
                  <a:noFill/>
                </a:ln>
                <a:solidFill>
                  <a:prstClr val="white"/>
                </a:solidFill>
                <a:effectLst/>
                <a:uLnTx/>
                <a:uFillTx/>
                <a:latin typeface="HarmonyOS Sans SC"/>
                <a:cs typeface="+mn-cs"/>
              </a:rPr>
              <a:t>leo</a:t>
            </a:r>
            <a:r>
              <a:rPr kumimoji="0" lang="en-US" sz="800" b="0" i="0" u="none" strike="noStrike" kern="1200" cap="none" spc="0" normalizeH="0" baseline="0" noProof="0" dirty="0">
                <a:ln>
                  <a:noFill/>
                </a:ln>
                <a:solidFill>
                  <a:prstClr val="white"/>
                </a:solidFill>
                <a:effectLst/>
                <a:uLnTx/>
                <a:uFillTx/>
                <a:latin typeface="HarmonyOS Sans SC"/>
                <a:cs typeface="+mn-cs"/>
              </a:rPr>
              <a:t> </a:t>
            </a:r>
            <a:r>
              <a:rPr kumimoji="0" lang="en-US" sz="800" b="0" i="0" u="none" strike="noStrike" kern="1200" cap="none" spc="0" normalizeH="0" baseline="0" noProof="0" dirty="0" err="1">
                <a:ln>
                  <a:noFill/>
                </a:ln>
                <a:solidFill>
                  <a:prstClr val="white"/>
                </a:solidFill>
                <a:effectLst/>
                <a:uLnTx/>
                <a:uFillTx/>
                <a:latin typeface="HarmonyOS Sans SC"/>
                <a:cs typeface="+mn-cs"/>
              </a:rPr>
              <a:t>enim</a:t>
            </a:r>
            <a:r>
              <a:rPr kumimoji="0" lang="en-US" sz="800" b="0" i="0" u="none" strike="noStrike" kern="1200" cap="none" spc="0" normalizeH="0" baseline="0" noProof="0" dirty="0">
                <a:ln>
                  <a:noFill/>
                </a:ln>
                <a:solidFill>
                  <a:prstClr val="white"/>
                </a:solidFill>
                <a:effectLst/>
                <a:uLnTx/>
                <a:uFillTx/>
                <a:latin typeface="HarmonyOS Sans SC"/>
                <a:cs typeface="+mn-cs"/>
              </a:rPr>
              <a:t>. Cras vel </a:t>
            </a:r>
            <a:r>
              <a:rPr kumimoji="0" lang="en-US" sz="800" b="0" i="0" u="none" strike="noStrike" kern="1200" cap="none" spc="0" normalizeH="0" baseline="0" noProof="0" dirty="0" err="1">
                <a:ln>
                  <a:noFill/>
                </a:ln>
                <a:solidFill>
                  <a:prstClr val="white"/>
                </a:solidFill>
                <a:effectLst/>
                <a:uLnTx/>
                <a:uFillTx/>
                <a:latin typeface="HarmonyOS Sans SC"/>
                <a:cs typeface="+mn-cs"/>
              </a:rPr>
              <a:t>quam</a:t>
            </a:r>
            <a:r>
              <a:rPr kumimoji="0" lang="en-US" sz="800" b="0" i="0" u="none" strike="noStrike" kern="1200" cap="none" spc="0" normalizeH="0" baseline="0" noProof="0" dirty="0">
                <a:ln>
                  <a:noFill/>
                </a:ln>
                <a:solidFill>
                  <a:prstClr val="white"/>
                </a:solidFill>
                <a:effectLst/>
                <a:uLnTx/>
                <a:uFillTx/>
                <a:latin typeface="HarmonyOS Sans SC"/>
                <a:cs typeface="+mn-cs"/>
              </a:rPr>
              <a:t>.</a:t>
            </a:r>
          </a:p>
        </p:txBody>
      </p:sp>
      <p:sp>
        <p:nvSpPr>
          <p:cNvPr id="14" name="TextBox 20">
            <a:extLst>
              <a:ext uri="{FF2B5EF4-FFF2-40B4-BE49-F238E27FC236}">
                <a16:creationId xmlns:a16="http://schemas.microsoft.com/office/drawing/2014/main" id="{2F151DD7-CF32-4889-9C98-9D6A33D82648}"/>
              </a:ext>
            </a:extLst>
          </p:cNvPr>
          <p:cNvSpPr txBox="1"/>
          <p:nvPr/>
        </p:nvSpPr>
        <p:spPr>
          <a:xfrm>
            <a:off x="3119691" y="4863373"/>
            <a:ext cx="1351414" cy="466001"/>
          </a:xfrm>
          <a:prstGeom prst="rect">
            <a:avLst/>
          </a:prstGeom>
          <a:noFill/>
        </p:spPr>
        <p:txBody>
          <a:bodyPr wrap="square" rtlCol="0">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white"/>
                </a:solidFill>
                <a:effectLst/>
                <a:uLnTx/>
                <a:uFillTx/>
                <a:latin typeface="HarmonyOS Sans SC"/>
                <a:cs typeface="+mn-cs"/>
              </a:rPr>
              <a:t>Nam tempus </a:t>
            </a:r>
            <a:r>
              <a:rPr kumimoji="0" lang="en-US" sz="800" b="0" i="0" u="none" strike="noStrike" kern="1200" cap="none" spc="0" normalizeH="0" baseline="0" noProof="0" dirty="0" err="1">
                <a:ln>
                  <a:noFill/>
                </a:ln>
                <a:solidFill>
                  <a:prstClr val="white"/>
                </a:solidFill>
                <a:effectLst/>
                <a:uLnTx/>
                <a:uFillTx/>
                <a:latin typeface="HarmonyOS Sans SC"/>
                <a:cs typeface="+mn-cs"/>
              </a:rPr>
              <a:t>leo</a:t>
            </a:r>
            <a:r>
              <a:rPr kumimoji="0" lang="en-US" sz="800" b="0" i="0" u="none" strike="noStrike" kern="1200" cap="none" spc="0" normalizeH="0" baseline="0" noProof="0" dirty="0">
                <a:ln>
                  <a:noFill/>
                </a:ln>
                <a:solidFill>
                  <a:prstClr val="white"/>
                </a:solidFill>
                <a:effectLst/>
                <a:uLnTx/>
                <a:uFillTx/>
                <a:latin typeface="HarmonyOS Sans SC"/>
                <a:cs typeface="+mn-cs"/>
              </a:rPr>
              <a:t> </a:t>
            </a:r>
            <a:r>
              <a:rPr kumimoji="0" lang="en-US" sz="800" b="0" i="0" u="none" strike="noStrike" kern="1200" cap="none" spc="0" normalizeH="0" baseline="0" noProof="0" dirty="0" err="1">
                <a:ln>
                  <a:noFill/>
                </a:ln>
                <a:solidFill>
                  <a:prstClr val="white"/>
                </a:solidFill>
                <a:effectLst/>
                <a:uLnTx/>
                <a:uFillTx/>
                <a:latin typeface="HarmonyOS Sans SC"/>
                <a:cs typeface="+mn-cs"/>
              </a:rPr>
              <a:t>enim</a:t>
            </a:r>
            <a:r>
              <a:rPr kumimoji="0" lang="en-US" sz="800" b="0" i="0" u="none" strike="noStrike" kern="1200" cap="none" spc="0" normalizeH="0" baseline="0" noProof="0" dirty="0">
                <a:ln>
                  <a:noFill/>
                </a:ln>
                <a:solidFill>
                  <a:prstClr val="white"/>
                </a:solidFill>
                <a:effectLst/>
                <a:uLnTx/>
                <a:uFillTx/>
                <a:latin typeface="HarmonyOS Sans SC"/>
                <a:cs typeface="+mn-cs"/>
              </a:rPr>
              <a:t>. Cras vel </a:t>
            </a:r>
            <a:r>
              <a:rPr kumimoji="0" lang="en-US" sz="800" b="0" i="0" u="none" strike="noStrike" kern="1200" cap="none" spc="0" normalizeH="0" baseline="0" noProof="0" dirty="0" err="1">
                <a:ln>
                  <a:noFill/>
                </a:ln>
                <a:solidFill>
                  <a:prstClr val="white"/>
                </a:solidFill>
                <a:effectLst/>
                <a:uLnTx/>
                <a:uFillTx/>
                <a:latin typeface="HarmonyOS Sans SC"/>
                <a:cs typeface="+mn-cs"/>
              </a:rPr>
              <a:t>quam</a:t>
            </a:r>
            <a:r>
              <a:rPr kumimoji="0" lang="en-US" sz="800" b="0" i="0" u="none" strike="noStrike" kern="1200" cap="none" spc="0" normalizeH="0" baseline="0" noProof="0" dirty="0">
                <a:ln>
                  <a:noFill/>
                </a:ln>
                <a:solidFill>
                  <a:prstClr val="white"/>
                </a:solidFill>
                <a:effectLst/>
                <a:uLnTx/>
                <a:uFillTx/>
                <a:latin typeface="HarmonyOS Sans SC"/>
                <a:cs typeface="+mn-cs"/>
              </a:rPr>
              <a:t>.</a:t>
            </a:r>
          </a:p>
        </p:txBody>
      </p:sp>
      <p:sp>
        <p:nvSpPr>
          <p:cNvPr id="15" name="TextBox 21">
            <a:extLst>
              <a:ext uri="{FF2B5EF4-FFF2-40B4-BE49-F238E27FC236}">
                <a16:creationId xmlns:a16="http://schemas.microsoft.com/office/drawing/2014/main" id="{755B193C-6D63-4009-9AC9-E30342F3C4BB}"/>
              </a:ext>
            </a:extLst>
          </p:cNvPr>
          <p:cNvSpPr txBox="1"/>
          <p:nvPr/>
        </p:nvSpPr>
        <p:spPr>
          <a:xfrm>
            <a:off x="7707468" y="4863373"/>
            <a:ext cx="1351414" cy="466001"/>
          </a:xfrm>
          <a:prstGeom prst="rect">
            <a:avLst/>
          </a:prstGeom>
          <a:noFill/>
        </p:spPr>
        <p:txBody>
          <a:bodyPr wrap="square" rtlCol="0">
            <a:spAutoFit/>
          </a:bodyPr>
          <a:lstStyle/>
          <a:p>
            <a:pPr marL="0" marR="0" lvl="0" indent="0" algn="r" defTabSz="914400" rtl="0" eaLnBrk="1" fontAlgn="auto" latinLnBrk="0" hangingPunct="1">
              <a:lnSpc>
                <a:spcPct val="15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white"/>
                </a:solidFill>
                <a:effectLst/>
                <a:uLnTx/>
                <a:uFillTx/>
                <a:latin typeface="HarmonyOS Sans SC"/>
                <a:cs typeface="+mn-cs"/>
              </a:rPr>
              <a:t>Nam tempus </a:t>
            </a:r>
            <a:r>
              <a:rPr kumimoji="0" lang="en-US" sz="800" b="0" i="0" u="none" strike="noStrike" kern="1200" cap="none" spc="0" normalizeH="0" baseline="0" noProof="0" dirty="0" err="1">
                <a:ln>
                  <a:noFill/>
                </a:ln>
                <a:solidFill>
                  <a:prstClr val="white"/>
                </a:solidFill>
                <a:effectLst/>
                <a:uLnTx/>
                <a:uFillTx/>
                <a:latin typeface="HarmonyOS Sans SC"/>
                <a:cs typeface="+mn-cs"/>
              </a:rPr>
              <a:t>leo</a:t>
            </a:r>
            <a:r>
              <a:rPr kumimoji="0" lang="en-US" sz="800" b="0" i="0" u="none" strike="noStrike" kern="1200" cap="none" spc="0" normalizeH="0" baseline="0" noProof="0" dirty="0">
                <a:ln>
                  <a:noFill/>
                </a:ln>
                <a:solidFill>
                  <a:prstClr val="white"/>
                </a:solidFill>
                <a:effectLst/>
                <a:uLnTx/>
                <a:uFillTx/>
                <a:latin typeface="HarmonyOS Sans SC"/>
                <a:cs typeface="+mn-cs"/>
              </a:rPr>
              <a:t> </a:t>
            </a:r>
            <a:r>
              <a:rPr kumimoji="0" lang="en-US" sz="800" b="0" i="0" u="none" strike="noStrike" kern="1200" cap="none" spc="0" normalizeH="0" baseline="0" noProof="0" dirty="0" err="1">
                <a:ln>
                  <a:noFill/>
                </a:ln>
                <a:solidFill>
                  <a:prstClr val="white"/>
                </a:solidFill>
                <a:effectLst/>
                <a:uLnTx/>
                <a:uFillTx/>
                <a:latin typeface="HarmonyOS Sans SC"/>
                <a:cs typeface="+mn-cs"/>
              </a:rPr>
              <a:t>enim</a:t>
            </a:r>
            <a:r>
              <a:rPr kumimoji="0" lang="en-US" sz="800" b="0" i="0" u="none" strike="noStrike" kern="1200" cap="none" spc="0" normalizeH="0" baseline="0" noProof="0" dirty="0">
                <a:ln>
                  <a:noFill/>
                </a:ln>
                <a:solidFill>
                  <a:prstClr val="white"/>
                </a:solidFill>
                <a:effectLst/>
                <a:uLnTx/>
                <a:uFillTx/>
                <a:latin typeface="HarmonyOS Sans SC"/>
                <a:cs typeface="+mn-cs"/>
              </a:rPr>
              <a:t>. Cras vel </a:t>
            </a:r>
            <a:r>
              <a:rPr kumimoji="0" lang="en-US" sz="800" b="0" i="0" u="none" strike="noStrike" kern="1200" cap="none" spc="0" normalizeH="0" baseline="0" noProof="0" dirty="0" err="1">
                <a:ln>
                  <a:noFill/>
                </a:ln>
                <a:solidFill>
                  <a:prstClr val="white"/>
                </a:solidFill>
                <a:effectLst/>
                <a:uLnTx/>
                <a:uFillTx/>
                <a:latin typeface="HarmonyOS Sans SC"/>
                <a:cs typeface="+mn-cs"/>
              </a:rPr>
              <a:t>quam</a:t>
            </a:r>
            <a:r>
              <a:rPr kumimoji="0" lang="en-US" sz="800" b="0" i="0" u="none" strike="noStrike" kern="1200" cap="none" spc="0" normalizeH="0" baseline="0" noProof="0" dirty="0">
                <a:ln>
                  <a:noFill/>
                </a:ln>
                <a:solidFill>
                  <a:prstClr val="white"/>
                </a:solidFill>
                <a:effectLst/>
                <a:uLnTx/>
                <a:uFillTx/>
                <a:latin typeface="HarmonyOS Sans SC"/>
                <a:cs typeface="+mn-cs"/>
              </a:rPr>
              <a:t>.</a:t>
            </a:r>
          </a:p>
        </p:txBody>
      </p:sp>
      <p:sp>
        <p:nvSpPr>
          <p:cNvPr id="16" name="TextBox 22">
            <a:extLst>
              <a:ext uri="{FF2B5EF4-FFF2-40B4-BE49-F238E27FC236}">
                <a16:creationId xmlns:a16="http://schemas.microsoft.com/office/drawing/2014/main" id="{CCA3A3F3-757E-4C57-AAEC-9D68C17AB77D}"/>
              </a:ext>
            </a:extLst>
          </p:cNvPr>
          <p:cNvSpPr txBox="1"/>
          <p:nvPr/>
        </p:nvSpPr>
        <p:spPr>
          <a:xfrm>
            <a:off x="6297177" y="2999645"/>
            <a:ext cx="1351414" cy="466001"/>
          </a:xfrm>
          <a:prstGeom prst="rect">
            <a:avLst/>
          </a:prstGeom>
          <a:noFill/>
        </p:spPr>
        <p:txBody>
          <a:bodyPr wrap="square" rtlCol="0">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white"/>
                </a:solidFill>
                <a:effectLst/>
                <a:uLnTx/>
                <a:uFillTx/>
                <a:latin typeface="HarmonyOS Sans SC"/>
                <a:cs typeface="+mn-cs"/>
              </a:rPr>
              <a:t>Nam tempus </a:t>
            </a:r>
            <a:r>
              <a:rPr kumimoji="0" lang="en-US" sz="800" b="0" i="0" u="none" strike="noStrike" kern="1200" cap="none" spc="0" normalizeH="0" baseline="0" noProof="0" dirty="0" err="1">
                <a:ln>
                  <a:noFill/>
                </a:ln>
                <a:solidFill>
                  <a:prstClr val="white"/>
                </a:solidFill>
                <a:effectLst/>
                <a:uLnTx/>
                <a:uFillTx/>
                <a:latin typeface="HarmonyOS Sans SC"/>
                <a:cs typeface="+mn-cs"/>
              </a:rPr>
              <a:t>leo</a:t>
            </a:r>
            <a:r>
              <a:rPr kumimoji="0" lang="en-US" sz="800" b="0" i="0" u="none" strike="noStrike" kern="1200" cap="none" spc="0" normalizeH="0" baseline="0" noProof="0" dirty="0">
                <a:ln>
                  <a:noFill/>
                </a:ln>
                <a:solidFill>
                  <a:prstClr val="white"/>
                </a:solidFill>
                <a:effectLst/>
                <a:uLnTx/>
                <a:uFillTx/>
                <a:latin typeface="HarmonyOS Sans SC"/>
                <a:cs typeface="+mn-cs"/>
              </a:rPr>
              <a:t> </a:t>
            </a:r>
            <a:r>
              <a:rPr kumimoji="0" lang="en-US" sz="800" b="0" i="0" u="none" strike="noStrike" kern="1200" cap="none" spc="0" normalizeH="0" baseline="0" noProof="0" dirty="0" err="1">
                <a:ln>
                  <a:noFill/>
                </a:ln>
                <a:solidFill>
                  <a:prstClr val="white"/>
                </a:solidFill>
                <a:effectLst/>
                <a:uLnTx/>
                <a:uFillTx/>
                <a:latin typeface="HarmonyOS Sans SC"/>
                <a:cs typeface="+mn-cs"/>
              </a:rPr>
              <a:t>enim</a:t>
            </a:r>
            <a:r>
              <a:rPr kumimoji="0" lang="en-US" sz="800" b="0" i="0" u="none" strike="noStrike" kern="1200" cap="none" spc="0" normalizeH="0" baseline="0" noProof="0" dirty="0">
                <a:ln>
                  <a:noFill/>
                </a:ln>
                <a:solidFill>
                  <a:prstClr val="white"/>
                </a:solidFill>
                <a:effectLst/>
                <a:uLnTx/>
                <a:uFillTx/>
                <a:latin typeface="HarmonyOS Sans SC"/>
                <a:cs typeface="+mn-cs"/>
              </a:rPr>
              <a:t>. Cras vel </a:t>
            </a:r>
            <a:r>
              <a:rPr kumimoji="0" lang="en-US" sz="800" b="0" i="0" u="none" strike="noStrike" kern="1200" cap="none" spc="0" normalizeH="0" baseline="0" noProof="0" dirty="0" err="1">
                <a:ln>
                  <a:noFill/>
                </a:ln>
                <a:solidFill>
                  <a:prstClr val="white"/>
                </a:solidFill>
                <a:effectLst/>
                <a:uLnTx/>
                <a:uFillTx/>
                <a:latin typeface="HarmonyOS Sans SC"/>
                <a:cs typeface="+mn-cs"/>
              </a:rPr>
              <a:t>quam</a:t>
            </a:r>
            <a:r>
              <a:rPr kumimoji="0" lang="en-US" sz="800" b="0" i="0" u="none" strike="noStrike" kern="1200" cap="none" spc="0" normalizeH="0" baseline="0" noProof="0" dirty="0">
                <a:ln>
                  <a:noFill/>
                </a:ln>
                <a:solidFill>
                  <a:prstClr val="white"/>
                </a:solidFill>
                <a:effectLst/>
                <a:uLnTx/>
                <a:uFillTx/>
                <a:latin typeface="HarmonyOS Sans SC"/>
                <a:cs typeface="+mn-cs"/>
              </a:rPr>
              <a:t>.</a:t>
            </a:r>
          </a:p>
        </p:txBody>
      </p:sp>
      <p:sp>
        <p:nvSpPr>
          <p:cNvPr id="17" name="TextBox 26">
            <a:extLst>
              <a:ext uri="{FF2B5EF4-FFF2-40B4-BE49-F238E27FC236}">
                <a16:creationId xmlns:a16="http://schemas.microsoft.com/office/drawing/2014/main" id="{BD9E6B1D-D11C-4BE5-8DB2-C375F0E0E118}"/>
              </a:ext>
            </a:extLst>
          </p:cNvPr>
          <p:cNvSpPr txBox="1"/>
          <p:nvPr/>
        </p:nvSpPr>
        <p:spPr>
          <a:xfrm>
            <a:off x="825320" y="-786497"/>
            <a:ext cx="3035480" cy="786497"/>
          </a:xfrm>
          <a:prstGeom prst="rect">
            <a:avLst/>
          </a:prstGeom>
          <a:noFill/>
        </p:spPr>
        <p:txBody>
          <a:bodyPr wrap="square" rtlCol="0">
            <a:spAutoFit/>
          </a:bodyPr>
          <a:lstStyle/>
          <a:p>
            <a:pPr marL="0" marR="0" lvl="0" indent="0" algn="l" defTabSz="914400" rtl="0" eaLnBrk="1" fontAlgn="auto" latinLnBrk="0" hangingPunct="1">
              <a:lnSpc>
                <a:spcPts val="19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lumMod val="50000"/>
                    <a:lumOff val="50000"/>
                  </a:prstClr>
                </a:solidFill>
                <a:effectLst/>
                <a:uLnTx/>
                <a:uFillTx/>
                <a:latin typeface="Montserrat Medium" panose="00000600000000000000" pitchFamily="50" charset="0"/>
                <a:ea typeface="+mn-ea"/>
                <a:cs typeface="+mn-cs"/>
              </a:rPr>
              <a:t>Nam tempus </a:t>
            </a:r>
            <a:r>
              <a:rPr kumimoji="0" lang="en-US" sz="800" b="0" i="0" u="none" strike="noStrike" kern="1200" cap="none" spc="0" normalizeH="0" baseline="0" noProof="0" dirty="0" err="1">
                <a:ln>
                  <a:noFill/>
                </a:ln>
                <a:solidFill>
                  <a:prstClr val="black">
                    <a:lumMod val="50000"/>
                    <a:lumOff val="50000"/>
                  </a:prstClr>
                </a:solidFill>
                <a:effectLst/>
                <a:uLnTx/>
                <a:uFillTx/>
                <a:latin typeface="Montserrat Medium" panose="00000600000000000000" pitchFamily="50" charset="0"/>
                <a:ea typeface="+mn-ea"/>
                <a:cs typeface="+mn-cs"/>
              </a:rPr>
              <a:t>leo</a:t>
            </a:r>
            <a:r>
              <a:rPr kumimoji="0" lang="en-US" sz="800" b="0" i="0" u="none" strike="noStrike" kern="1200" cap="none" spc="0" normalizeH="0" baseline="0" noProof="0" dirty="0">
                <a:ln>
                  <a:noFill/>
                </a:ln>
                <a:solidFill>
                  <a:prstClr val="black">
                    <a:lumMod val="50000"/>
                    <a:lumOff val="50000"/>
                  </a:prstClr>
                </a:solidFill>
                <a:effectLst/>
                <a:uLnTx/>
                <a:uFillTx/>
                <a:latin typeface="Montserrat Medium" panose="00000600000000000000" pitchFamily="50" charset="0"/>
                <a:ea typeface="+mn-ea"/>
                <a:cs typeface="+mn-cs"/>
              </a:rPr>
              <a:t> </a:t>
            </a:r>
            <a:r>
              <a:rPr kumimoji="0" lang="en-US" sz="800" b="0" i="0" u="none" strike="noStrike" kern="1200" cap="none" spc="0" normalizeH="0" baseline="0" noProof="0" dirty="0" err="1">
                <a:ln>
                  <a:noFill/>
                </a:ln>
                <a:solidFill>
                  <a:prstClr val="black">
                    <a:lumMod val="50000"/>
                    <a:lumOff val="50000"/>
                  </a:prstClr>
                </a:solidFill>
                <a:effectLst/>
                <a:uLnTx/>
                <a:uFillTx/>
                <a:latin typeface="Montserrat Medium" panose="00000600000000000000" pitchFamily="50" charset="0"/>
                <a:ea typeface="+mn-ea"/>
                <a:cs typeface="+mn-cs"/>
              </a:rPr>
              <a:t>enim</a:t>
            </a:r>
            <a:r>
              <a:rPr kumimoji="0" lang="en-US" sz="800" b="0" i="0" u="none" strike="noStrike" kern="1200" cap="none" spc="0" normalizeH="0" baseline="0" noProof="0" dirty="0">
                <a:ln>
                  <a:noFill/>
                </a:ln>
                <a:solidFill>
                  <a:prstClr val="black">
                    <a:lumMod val="50000"/>
                    <a:lumOff val="50000"/>
                  </a:prstClr>
                </a:solidFill>
                <a:effectLst/>
                <a:uLnTx/>
                <a:uFillTx/>
                <a:latin typeface="Montserrat Medium" panose="00000600000000000000" pitchFamily="50" charset="0"/>
                <a:ea typeface="+mn-ea"/>
                <a:cs typeface="+mn-cs"/>
              </a:rPr>
              <a:t>. Cras vel </a:t>
            </a:r>
            <a:r>
              <a:rPr kumimoji="0" lang="en-US" sz="800" b="0" i="0" u="none" strike="noStrike" kern="1200" cap="none" spc="0" normalizeH="0" baseline="0" noProof="0" dirty="0" err="1">
                <a:ln>
                  <a:noFill/>
                </a:ln>
                <a:solidFill>
                  <a:prstClr val="black">
                    <a:lumMod val="50000"/>
                    <a:lumOff val="50000"/>
                  </a:prstClr>
                </a:solidFill>
                <a:effectLst/>
                <a:uLnTx/>
                <a:uFillTx/>
                <a:latin typeface="Montserrat Medium" panose="00000600000000000000" pitchFamily="50" charset="0"/>
                <a:ea typeface="+mn-ea"/>
                <a:cs typeface="+mn-cs"/>
              </a:rPr>
              <a:t>quam</a:t>
            </a:r>
            <a:r>
              <a:rPr kumimoji="0" lang="en-US" sz="800" b="0" i="0" u="none" strike="noStrike" kern="1200" cap="none" spc="0" normalizeH="0" baseline="0" noProof="0" dirty="0">
                <a:ln>
                  <a:noFill/>
                </a:ln>
                <a:solidFill>
                  <a:prstClr val="black">
                    <a:lumMod val="50000"/>
                    <a:lumOff val="50000"/>
                  </a:prstClr>
                </a:solidFill>
                <a:effectLst/>
                <a:uLnTx/>
                <a:uFillTx/>
                <a:latin typeface="Montserrat Medium" panose="00000600000000000000" pitchFamily="50" charset="0"/>
                <a:ea typeface="+mn-ea"/>
                <a:cs typeface="+mn-cs"/>
              </a:rPr>
              <a:t> </a:t>
            </a:r>
            <a:r>
              <a:rPr kumimoji="0" lang="en-US" sz="800" b="0" i="0" u="none" strike="noStrike" kern="1200" cap="none" spc="0" normalizeH="0" baseline="0" noProof="0" dirty="0" err="1">
                <a:ln>
                  <a:noFill/>
                </a:ln>
                <a:solidFill>
                  <a:prstClr val="black">
                    <a:lumMod val="50000"/>
                    <a:lumOff val="50000"/>
                  </a:prstClr>
                </a:solidFill>
                <a:effectLst/>
                <a:uLnTx/>
                <a:uFillTx/>
                <a:latin typeface="Montserrat Medium" panose="00000600000000000000" pitchFamily="50" charset="0"/>
                <a:ea typeface="+mn-ea"/>
                <a:cs typeface="+mn-cs"/>
              </a:rPr>
              <a:t>tincidunt</a:t>
            </a:r>
            <a:r>
              <a:rPr kumimoji="0" lang="en-US" sz="800" b="0" i="0" u="none" strike="noStrike" kern="1200" cap="none" spc="0" normalizeH="0" baseline="0" noProof="0" dirty="0">
                <a:ln>
                  <a:noFill/>
                </a:ln>
                <a:solidFill>
                  <a:prstClr val="black">
                    <a:lumMod val="50000"/>
                    <a:lumOff val="50000"/>
                  </a:prstClr>
                </a:solidFill>
                <a:effectLst/>
                <a:uLnTx/>
                <a:uFillTx/>
                <a:latin typeface="Montserrat Medium" panose="00000600000000000000" pitchFamily="50" charset="0"/>
                <a:ea typeface="+mn-ea"/>
                <a:cs typeface="+mn-cs"/>
              </a:rPr>
              <a:t>, pulvinar </a:t>
            </a:r>
            <a:r>
              <a:rPr kumimoji="0" lang="en-US" sz="800" b="0" i="0" u="none" strike="noStrike" kern="1200" cap="none" spc="0" normalizeH="0" baseline="0" noProof="0" dirty="0" err="1">
                <a:ln>
                  <a:noFill/>
                </a:ln>
                <a:solidFill>
                  <a:prstClr val="black">
                    <a:lumMod val="50000"/>
                    <a:lumOff val="50000"/>
                  </a:prstClr>
                </a:solidFill>
                <a:effectLst/>
                <a:uLnTx/>
                <a:uFillTx/>
                <a:latin typeface="Montserrat Medium" panose="00000600000000000000" pitchFamily="50" charset="0"/>
                <a:ea typeface="+mn-ea"/>
                <a:cs typeface="+mn-cs"/>
              </a:rPr>
              <a:t>nibh</a:t>
            </a:r>
            <a:r>
              <a:rPr kumimoji="0" lang="en-US" sz="800" b="0" i="0" u="none" strike="noStrike" kern="1200" cap="none" spc="0" normalizeH="0" baseline="0" noProof="0" dirty="0">
                <a:ln>
                  <a:noFill/>
                </a:ln>
                <a:solidFill>
                  <a:prstClr val="black">
                    <a:lumMod val="50000"/>
                    <a:lumOff val="50000"/>
                  </a:prstClr>
                </a:solidFill>
                <a:effectLst/>
                <a:uLnTx/>
                <a:uFillTx/>
                <a:latin typeface="Montserrat Medium" panose="00000600000000000000" pitchFamily="50" charset="0"/>
                <a:ea typeface="+mn-ea"/>
                <a:cs typeface="+mn-cs"/>
              </a:rPr>
              <a:t> in, </a:t>
            </a:r>
            <a:r>
              <a:rPr kumimoji="0" lang="en-US" sz="800" b="0" i="0" u="none" strike="noStrike" kern="1200" cap="none" spc="0" normalizeH="0" baseline="0" noProof="0" dirty="0" err="1">
                <a:ln>
                  <a:noFill/>
                </a:ln>
                <a:solidFill>
                  <a:prstClr val="black">
                    <a:lumMod val="50000"/>
                    <a:lumOff val="50000"/>
                  </a:prstClr>
                </a:solidFill>
                <a:effectLst/>
                <a:uLnTx/>
                <a:uFillTx/>
                <a:latin typeface="Montserrat Medium" panose="00000600000000000000" pitchFamily="50" charset="0"/>
                <a:ea typeface="+mn-ea"/>
                <a:cs typeface="+mn-cs"/>
              </a:rPr>
              <a:t>aliquam</a:t>
            </a:r>
            <a:r>
              <a:rPr kumimoji="0" lang="en-US" sz="800" b="0" i="0" u="none" strike="noStrike" kern="1200" cap="none" spc="0" normalizeH="0" baseline="0" noProof="0" dirty="0">
                <a:ln>
                  <a:noFill/>
                </a:ln>
                <a:solidFill>
                  <a:prstClr val="black">
                    <a:lumMod val="50000"/>
                    <a:lumOff val="50000"/>
                  </a:prstClr>
                </a:solidFill>
                <a:effectLst/>
                <a:uLnTx/>
                <a:uFillTx/>
                <a:latin typeface="Montserrat Medium" panose="00000600000000000000" pitchFamily="50" charset="0"/>
                <a:ea typeface="+mn-ea"/>
                <a:cs typeface="+mn-cs"/>
              </a:rPr>
              <a:t> est. </a:t>
            </a:r>
            <a:r>
              <a:rPr kumimoji="0" lang="en-US" sz="800" b="0" i="0" u="none" strike="noStrike" kern="1200" cap="none" spc="0" normalizeH="0" baseline="0" noProof="0" dirty="0" err="1">
                <a:ln>
                  <a:noFill/>
                </a:ln>
                <a:solidFill>
                  <a:prstClr val="black">
                    <a:lumMod val="50000"/>
                    <a:lumOff val="50000"/>
                  </a:prstClr>
                </a:solidFill>
                <a:effectLst/>
                <a:uLnTx/>
                <a:uFillTx/>
                <a:latin typeface="Montserrat Medium" panose="00000600000000000000" pitchFamily="50" charset="0"/>
                <a:ea typeface="+mn-ea"/>
                <a:cs typeface="+mn-cs"/>
              </a:rPr>
              <a:t>Proin</a:t>
            </a:r>
            <a:r>
              <a:rPr kumimoji="0" lang="en-US" sz="800" b="0" i="0" u="none" strike="noStrike" kern="1200" cap="none" spc="0" normalizeH="0" baseline="0" noProof="0" dirty="0">
                <a:ln>
                  <a:noFill/>
                </a:ln>
                <a:solidFill>
                  <a:prstClr val="black">
                    <a:lumMod val="50000"/>
                    <a:lumOff val="50000"/>
                  </a:prstClr>
                </a:solidFill>
                <a:effectLst/>
                <a:uLnTx/>
                <a:uFillTx/>
                <a:latin typeface="Montserrat Medium" panose="00000600000000000000" pitchFamily="50" charset="0"/>
                <a:ea typeface="+mn-ea"/>
                <a:cs typeface="+mn-cs"/>
              </a:rPr>
              <a:t> at </a:t>
            </a:r>
            <a:r>
              <a:rPr kumimoji="0" lang="en-US" sz="800" b="0" i="0" u="none" strike="noStrike" kern="1200" cap="none" spc="0" normalizeH="0" baseline="0" noProof="0" dirty="0" err="1">
                <a:ln>
                  <a:noFill/>
                </a:ln>
                <a:solidFill>
                  <a:prstClr val="black">
                    <a:lumMod val="50000"/>
                    <a:lumOff val="50000"/>
                  </a:prstClr>
                </a:solidFill>
                <a:effectLst/>
                <a:uLnTx/>
                <a:uFillTx/>
                <a:latin typeface="Montserrat Medium" panose="00000600000000000000" pitchFamily="50" charset="0"/>
                <a:ea typeface="+mn-ea"/>
                <a:cs typeface="+mn-cs"/>
              </a:rPr>
              <a:t>blandit</a:t>
            </a:r>
            <a:r>
              <a:rPr kumimoji="0" lang="en-US" sz="800" b="0" i="0" u="none" strike="noStrike" kern="1200" cap="none" spc="0" normalizeH="0" baseline="0" noProof="0" dirty="0">
                <a:ln>
                  <a:noFill/>
                </a:ln>
                <a:solidFill>
                  <a:prstClr val="black">
                    <a:lumMod val="50000"/>
                    <a:lumOff val="50000"/>
                  </a:prstClr>
                </a:solidFill>
                <a:effectLst/>
                <a:uLnTx/>
                <a:uFillTx/>
                <a:latin typeface="Montserrat Medium" panose="00000600000000000000" pitchFamily="50" charset="0"/>
                <a:ea typeface="+mn-ea"/>
                <a:cs typeface="+mn-cs"/>
              </a:rPr>
              <a:t> </a:t>
            </a:r>
            <a:r>
              <a:rPr kumimoji="0" lang="en-US" sz="800" b="0" i="0" u="none" strike="noStrike" kern="1200" cap="none" spc="0" normalizeH="0" baseline="0" noProof="0" dirty="0" err="1">
                <a:ln>
                  <a:noFill/>
                </a:ln>
                <a:solidFill>
                  <a:prstClr val="black">
                    <a:lumMod val="50000"/>
                    <a:lumOff val="50000"/>
                  </a:prstClr>
                </a:solidFill>
                <a:effectLst/>
                <a:uLnTx/>
                <a:uFillTx/>
                <a:latin typeface="Montserrat Medium" panose="00000600000000000000" pitchFamily="50" charset="0"/>
                <a:ea typeface="+mn-ea"/>
                <a:cs typeface="+mn-cs"/>
              </a:rPr>
              <a:t>erat</a:t>
            </a:r>
            <a:r>
              <a:rPr kumimoji="0" lang="en-US" sz="800" b="0" i="0" u="none" strike="noStrike" kern="1200" cap="none" spc="0" normalizeH="0" baseline="0" noProof="0" dirty="0">
                <a:ln>
                  <a:noFill/>
                </a:ln>
                <a:solidFill>
                  <a:prstClr val="black">
                    <a:lumMod val="50000"/>
                    <a:lumOff val="50000"/>
                  </a:prstClr>
                </a:solidFill>
                <a:effectLst/>
                <a:uLnTx/>
                <a:uFillTx/>
                <a:latin typeface="Montserrat Medium" panose="00000600000000000000" pitchFamily="50" charset="0"/>
                <a:ea typeface="+mn-ea"/>
                <a:cs typeface="+mn-cs"/>
              </a:rPr>
              <a:t>. </a:t>
            </a:r>
            <a:r>
              <a:rPr kumimoji="0" lang="en-US" sz="800" b="0" i="0" u="none" strike="noStrike" kern="1200" cap="none" spc="0" normalizeH="0" baseline="0" noProof="0" dirty="0" err="1">
                <a:ln>
                  <a:noFill/>
                </a:ln>
                <a:solidFill>
                  <a:prstClr val="black">
                    <a:lumMod val="50000"/>
                    <a:lumOff val="50000"/>
                  </a:prstClr>
                </a:solidFill>
                <a:effectLst/>
                <a:uLnTx/>
                <a:uFillTx/>
                <a:latin typeface="Montserrat Medium" panose="00000600000000000000" pitchFamily="50" charset="0"/>
                <a:ea typeface="+mn-ea"/>
                <a:cs typeface="+mn-cs"/>
              </a:rPr>
              <a:t>Etiam</a:t>
            </a:r>
            <a:r>
              <a:rPr kumimoji="0" lang="en-US" sz="800" b="0" i="0" u="none" strike="noStrike" kern="1200" cap="none" spc="0" normalizeH="0" baseline="0" noProof="0" dirty="0">
                <a:ln>
                  <a:noFill/>
                </a:ln>
                <a:solidFill>
                  <a:prstClr val="black">
                    <a:lumMod val="50000"/>
                    <a:lumOff val="50000"/>
                  </a:prstClr>
                </a:solidFill>
                <a:effectLst/>
                <a:uLnTx/>
                <a:uFillTx/>
                <a:latin typeface="Montserrat Medium" panose="00000600000000000000" pitchFamily="50" charset="0"/>
                <a:ea typeface="+mn-ea"/>
                <a:cs typeface="+mn-cs"/>
              </a:rPr>
              <a:t> sed </a:t>
            </a:r>
            <a:r>
              <a:rPr kumimoji="0" lang="en-US" sz="800" b="0" i="0" u="none" strike="noStrike" kern="1200" cap="none" spc="0" normalizeH="0" baseline="0" noProof="0" dirty="0" err="1">
                <a:ln>
                  <a:noFill/>
                </a:ln>
                <a:solidFill>
                  <a:prstClr val="black">
                    <a:lumMod val="50000"/>
                    <a:lumOff val="50000"/>
                  </a:prstClr>
                </a:solidFill>
                <a:effectLst/>
                <a:uLnTx/>
                <a:uFillTx/>
                <a:latin typeface="Montserrat Medium" panose="00000600000000000000" pitchFamily="50" charset="0"/>
                <a:ea typeface="+mn-ea"/>
                <a:cs typeface="+mn-cs"/>
              </a:rPr>
              <a:t>rhoncus</a:t>
            </a:r>
            <a:r>
              <a:rPr kumimoji="0" lang="en-US" sz="800" b="0" i="0" u="none" strike="noStrike" kern="1200" cap="none" spc="0" normalizeH="0" baseline="0" noProof="0" dirty="0">
                <a:ln>
                  <a:noFill/>
                </a:ln>
                <a:solidFill>
                  <a:prstClr val="black">
                    <a:lumMod val="50000"/>
                    <a:lumOff val="50000"/>
                  </a:prstClr>
                </a:solidFill>
                <a:effectLst/>
                <a:uLnTx/>
                <a:uFillTx/>
                <a:latin typeface="Montserrat Medium" panose="00000600000000000000" pitchFamily="50" charset="0"/>
                <a:ea typeface="+mn-ea"/>
                <a:cs typeface="+mn-cs"/>
              </a:rPr>
              <a:t> </a:t>
            </a:r>
            <a:r>
              <a:rPr kumimoji="0" lang="en-US" sz="800" b="0" i="0" u="none" strike="noStrike" kern="1200" cap="none" spc="0" normalizeH="0" baseline="0" noProof="0" dirty="0" err="1">
                <a:ln>
                  <a:noFill/>
                </a:ln>
                <a:solidFill>
                  <a:prstClr val="black">
                    <a:lumMod val="50000"/>
                    <a:lumOff val="50000"/>
                  </a:prstClr>
                </a:solidFill>
                <a:effectLst/>
                <a:uLnTx/>
                <a:uFillTx/>
                <a:latin typeface="Montserrat Medium" panose="00000600000000000000" pitchFamily="50" charset="0"/>
                <a:ea typeface="+mn-ea"/>
                <a:cs typeface="+mn-cs"/>
              </a:rPr>
              <a:t>enim</a:t>
            </a:r>
            <a:r>
              <a:rPr kumimoji="0" lang="en-US" sz="800" b="0" i="0" u="none" strike="noStrike" kern="1200" cap="none" spc="0" normalizeH="0" baseline="0" noProof="0" dirty="0">
                <a:ln>
                  <a:noFill/>
                </a:ln>
                <a:solidFill>
                  <a:prstClr val="black">
                    <a:lumMod val="50000"/>
                    <a:lumOff val="50000"/>
                  </a:prstClr>
                </a:solidFill>
                <a:effectLst/>
                <a:uLnTx/>
                <a:uFillTx/>
                <a:latin typeface="Montserrat Medium" panose="00000600000000000000" pitchFamily="50" charset="0"/>
                <a:ea typeface="+mn-ea"/>
                <a:cs typeface="+mn-cs"/>
              </a:rPr>
              <a:t>.</a:t>
            </a:r>
          </a:p>
        </p:txBody>
      </p:sp>
      <p:sp>
        <p:nvSpPr>
          <p:cNvPr id="19" name="文本框 18">
            <a:extLst>
              <a:ext uri="{FF2B5EF4-FFF2-40B4-BE49-F238E27FC236}">
                <a16:creationId xmlns:a16="http://schemas.microsoft.com/office/drawing/2014/main" id="{2BA4AF0A-CE8F-467C-8700-D968A4302956}"/>
              </a:ext>
            </a:extLst>
          </p:cNvPr>
          <p:cNvSpPr txBox="1"/>
          <p:nvPr/>
        </p:nvSpPr>
        <p:spPr>
          <a:xfrm>
            <a:off x="941388" y="918105"/>
            <a:ext cx="3286477"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2800" b="0" i="0" u="none" strike="noStrike" kern="1200" cap="none" spc="0" normalizeH="0" baseline="0" noProof="0" dirty="0">
                <a:ln>
                  <a:noFill/>
                </a:ln>
                <a:solidFill>
                  <a:prstClr val="black"/>
                </a:solidFill>
                <a:effectLst/>
                <a:uLnTx/>
                <a:uFillTx/>
                <a:latin typeface="HarmonyOS Sans Black"/>
                <a:ea typeface="+mj-ea"/>
                <a:cs typeface="+mn-cs"/>
              </a:rPr>
              <a:t>6 Step To Success</a:t>
            </a:r>
          </a:p>
        </p:txBody>
      </p:sp>
      <p:sp>
        <p:nvSpPr>
          <p:cNvPr id="20" name="文本框 19">
            <a:extLst>
              <a:ext uri="{FF2B5EF4-FFF2-40B4-BE49-F238E27FC236}">
                <a16:creationId xmlns:a16="http://schemas.microsoft.com/office/drawing/2014/main" id="{3FCC9B79-5BAE-46FE-817F-4AB659D1B5E7}"/>
              </a:ext>
            </a:extLst>
          </p:cNvPr>
          <p:cNvSpPr txBox="1"/>
          <p:nvPr/>
        </p:nvSpPr>
        <p:spPr>
          <a:xfrm flipH="1">
            <a:off x="1002178" y="1527085"/>
            <a:ext cx="3169771" cy="825162"/>
          </a:xfrm>
          <a:prstGeom prst="rect">
            <a:avLst/>
          </a:prstGeom>
          <a:noFill/>
        </p:spPr>
        <p:txBody>
          <a:bodyPr wrap="square" rtlCol="0">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altLang="zh-CN" sz="1100" b="0" i="0" u="none" strike="noStrike" kern="1200" cap="none" spc="0" normalizeH="0" baseline="0" noProof="0" dirty="0">
                <a:ln>
                  <a:noFill/>
                </a:ln>
                <a:solidFill>
                  <a:prstClr val="black">
                    <a:lumMod val="50000"/>
                    <a:lumOff val="50000"/>
                  </a:prstClr>
                </a:solidFill>
                <a:effectLst/>
                <a:uLnTx/>
                <a:uFillTx/>
                <a:latin typeface="HarmonyOS Sans SC"/>
                <a:cs typeface="+mn-cs"/>
              </a:rPr>
              <a:t>Nam tempus </a:t>
            </a:r>
            <a:r>
              <a:rPr kumimoji="0" lang="en-US" altLang="zh-CN" sz="1100" b="0" i="0" u="none" strike="noStrike" kern="1200" cap="none" spc="0" normalizeH="0" baseline="0" noProof="0" dirty="0" err="1">
                <a:ln>
                  <a:noFill/>
                </a:ln>
                <a:solidFill>
                  <a:prstClr val="black">
                    <a:lumMod val="50000"/>
                    <a:lumOff val="50000"/>
                  </a:prstClr>
                </a:solidFill>
                <a:effectLst/>
                <a:uLnTx/>
                <a:uFillTx/>
                <a:latin typeface="HarmonyOS Sans SC"/>
                <a:cs typeface="+mn-cs"/>
              </a:rPr>
              <a:t>leo</a:t>
            </a:r>
            <a:r>
              <a:rPr kumimoji="0" lang="en-US" altLang="zh-CN" sz="1100" b="0" i="0" u="none" strike="noStrike" kern="1200" cap="none" spc="0" normalizeH="0" baseline="0" noProof="0" dirty="0">
                <a:ln>
                  <a:noFill/>
                </a:ln>
                <a:solidFill>
                  <a:prstClr val="black">
                    <a:lumMod val="50000"/>
                    <a:lumOff val="50000"/>
                  </a:prstClr>
                </a:solidFill>
                <a:effectLst/>
                <a:uLnTx/>
                <a:uFillTx/>
                <a:latin typeface="HarmonyOS Sans SC"/>
                <a:cs typeface="+mn-cs"/>
              </a:rPr>
              <a:t> </a:t>
            </a:r>
            <a:r>
              <a:rPr kumimoji="0" lang="en-US" altLang="zh-CN" sz="1100" b="0" i="0" u="none" strike="noStrike" kern="1200" cap="none" spc="0" normalizeH="0" baseline="0" noProof="0" dirty="0" err="1">
                <a:ln>
                  <a:noFill/>
                </a:ln>
                <a:solidFill>
                  <a:prstClr val="black">
                    <a:lumMod val="50000"/>
                    <a:lumOff val="50000"/>
                  </a:prstClr>
                </a:solidFill>
                <a:effectLst/>
                <a:uLnTx/>
                <a:uFillTx/>
                <a:latin typeface="HarmonyOS Sans SC"/>
                <a:cs typeface="+mn-cs"/>
              </a:rPr>
              <a:t>enim</a:t>
            </a:r>
            <a:r>
              <a:rPr kumimoji="0" lang="en-US" altLang="zh-CN" sz="1100" b="0" i="0" u="none" strike="noStrike" kern="1200" cap="none" spc="0" normalizeH="0" baseline="0" noProof="0" dirty="0">
                <a:ln>
                  <a:noFill/>
                </a:ln>
                <a:solidFill>
                  <a:prstClr val="black">
                    <a:lumMod val="50000"/>
                    <a:lumOff val="50000"/>
                  </a:prstClr>
                </a:solidFill>
                <a:effectLst/>
                <a:uLnTx/>
                <a:uFillTx/>
                <a:latin typeface="HarmonyOS Sans SC"/>
                <a:cs typeface="+mn-cs"/>
              </a:rPr>
              <a:t>. Cras vel </a:t>
            </a:r>
            <a:r>
              <a:rPr kumimoji="0" lang="en-US" altLang="zh-CN" sz="1100" b="0" i="0" u="none" strike="noStrike" kern="1200" cap="none" spc="0" normalizeH="0" baseline="0" noProof="0" dirty="0" err="1">
                <a:ln>
                  <a:noFill/>
                </a:ln>
                <a:solidFill>
                  <a:prstClr val="black">
                    <a:lumMod val="50000"/>
                    <a:lumOff val="50000"/>
                  </a:prstClr>
                </a:solidFill>
                <a:effectLst/>
                <a:uLnTx/>
                <a:uFillTx/>
                <a:latin typeface="HarmonyOS Sans SC"/>
                <a:cs typeface="+mn-cs"/>
              </a:rPr>
              <a:t>quam</a:t>
            </a:r>
            <a:r>
              <a:rPr kumimoji="0" lang="en-US" altLang="zh-CN" sz="1100" b="0" i="0" u="none" strike="noStrike" kern="1200" cap="none" spc="0" normalizeH="0" baseline="0" noProof="0" dirty="0">
                <a:ln>
                  <a:noFill/>
                </a:ln>
                <a:solidFill>
                  <a:prstClr val="black">
                    <a:lumMod val="50000"/>
                    <a:lumOff val="50000"/>
                  </a:prstClr>
                </a:solidFill>
                <a:effectLst/>
                <a:uLnTx/>
                <a:uFillTx/>
                <a:latin typeface="HarmonyOS Sans SC"/>
                <a:cs typeface="+mn-cs"/>
              </a:rPr>
              <a:t> </a:t>
            </a:r>
            <a:r>
              <a:rPr kumimoji="0" lang="en-US" altLang="zh-CN" sz="1100" b="0" i="0" u="none" strike="noStrike" kern="1200" cap="none" spc="0" normalizeH="0" baseline="0" noProof="0" dirty="0" err="1">
                <a:ln>
                  <a:noFill/>
                </a:ln>
                <a:solidFill>
                  <a:prstClr val="black">
                    <a:lumMod val="50000"/>
                    <a:lumOff val="50000"/>
                  </a:prstClr>
                </a:solidFill>
                <a:effectLst/>
                <a:uLnTx/>
                <a:uFillTx/>
                <a:latin typeface="HarmonyOS Sans SC"/>
                <a:cs typeface="+mn-cs"/>
              </a:rPr>
              <a:t>tincidunt</a:t>
            </a:r>
            <a:r>
              <a:rPr kumimoji="0" lang="en-US" altLang="zh-CN" sz="1100" b="0" i="0" u="none" strike="noStrike" kern="1200" cap="none" spc="0" normalizeH="0" baseline="0" noProof="0" dirty="0">
                <a:ln>
                  <a:noFill/>
                </a:ln>
                <a:solidFill>
                  <a:prstClr val="black">
                    <a:lumMod val="50000"/>
                    <a:lumOff val="50000"/>
                  </a:prstClr>
                </a:solidFill>
                <a:effectLst/>
                <a:uLnTx/>
                <a:uFillTx/>
                <a:latin typeface="HarmonyOS Sans SC"/>
                <a:cs typeface="+mn-cs"/>
              </a:rPr>
              <a:t>, pulvinar </a:t>
            </a:r>
            <a:r>
              <a:rPr kumimoji="0" lang="en-US" altLang="zh-CN" sz="1100" b="0" i="0" u="none" strike="noStrike" kern="1200" cap="none" spc="0" normalizeH="0" baseline="0" noProof="0" dirty="0" err="1">
                <a:ln>
                  <a:noFill/>
                </a:ln>
                <a:solidFill>
                  <a:prstClr val="black">
                    <a:lumMod val="50000"/>
                    <a:lumOff val="50000"/>
                  </a:prstClr>
                </a:solidFill>
                <a:effectLst/>
                <a:uLnTx/>
                <a:uFillTx/>
                <a:latin typeface="HarmonyOS Sans SC"/>
                <a:cs typeface="+mn-cs"/>
              </a:rPr>
              <a:t>nibh</a:t>
            </a:r>
            <a:r>
              <a:rPr kumimoji="0" lang="en-US" altLang="zh-CN" sz="1100" b="0" i="0" u="none" strike="noStrike" kern="1200" cap="none" spc="0" normalizeH="0" baseline="0" noProof="0" dirty="0">
                <a:ln>
                  <a:noFill/>
                </a:ln>
                <a:solidFill>
                  <a:prstClr val="black">
                    <a:lumMod val="50000"/>
                    <a:lumOff val="50000"/>
                  </a:prstClr>
                </a:solidFill>
                <a:effectLst/>
                <a:uLnTx/>
                <a:uFillTx/>
                <a:latin typeface="HarmonyOS Sans SC"/>
                <a:cs typeface="+mn-cs"/>
              </a:rPr>
              <a:t> in, </a:t>
            </a:r>
            <a:r>
              <a:rPr kumimoji="0" lang="en-US" altLang="zh-CN" sz="1100" b="0" i="0" u="none" strike="noStrike" kern="1200" cap="none" spc="0" normalizeH="0" baseline="0" noProof="0" dirty="0" err="1">
                <a:ln>
                  <a:noFill/>
                </a:ln>
                <a:solidFill>
                  <a:prstClr val="black">
                    <a:lumMod val="50000"/>
                    <a:lumOff val="50000"/>
                  </a:prstClr>
                </a:solidFill>
                <a:effectLst/>
                <a:uLnTx/>
                <a:uFillTx/>
                <a:latin typeface="HarmonyOS Sans SC"/>
                <a:cs typeface="+mn-cs"/>
              </a:rPr>
              <a:t>aliquam</a:t>
            </a:r>
            <a:r>
              <a:rPr kumimoji="0" lang="en-US" altLang="zh-CN" sz="1100" b="0" i="0" u="none" strike="noStrike" kern="1200" cap="none" spc="0" normalizeH="0" baseline="0" noProof="0" dirty="0">
                <a:ln>
                  <a:noFill/>
                </a:ln>
                <a:solidFill>
                  <a:prstClr val="black">
                    <a:lumMod val="50000"/>
                    <a:lumOff val="50000"/>
                  </a:prstClr>
                </a:solidFill>
                <a:effectLst/>
                <a:uLnTx/>
                <a:uFillTx/>
                <a:latin typeface="HarmonyOS Sans SC"/>
                <a:cs typeface="+mn-cs"/>
              </a:rPr>
              <a:t> est. Proin at </a:t>
            </a:r>
            <a:r>
              <a:rPr kumimoji="0" lang="en-US" altLang="zh-CN" sz="1100" b="0" i="0" u="none" strike="noStrike" kern="1200" cap="none" spc="0" normalizeH="0" baseline="0" noProof="0" dirty="0" err="1">
                <a:ln>
                  <a:noFill/>
                </a:ln>
                <a:solidFill>
                  <a:prstClr val="black">
                    <a:lumMod val="50000"/>
                    <a:lumOff val="50000"/>
                  </a:prstClr>
                </a:solidFill>
                <a:effectLst/>
                <a:uLnTx/>
                <a:uFillTx/>
                <a:latin typeface="HarmonyOS Sans SC"/>
                <a:cs typeface="+mn-cs"/>
              </a:rPr>
              <a:t>blandit</a:t>
            </a:r>
            <a:r>
              <a:rPr kumimoji="0" lang="en-US" altLang="zh-CN" sz="1100" b="0" i="0" u="none" strike="noStrike" kern="1200" cap="none" spc="0" normalizeH="0" baseline="0" noProof="0" dirty="0">
                <a:ln>
                  <a:noFill/>
                </a:ln>
                <a:solidFill>
                  <a:prstClr val="black">
                    <a:lumMod val="50000"/>
                    <a:lumOff val="50000"/>
                  </a:prstClr>
                </a:solidFill>
                <a:effectLst/>
                <a:uLnTx/>
                <a:uFillTx/>
                <a:latin typeface="HarmonyOS Sans SC"/>
                <a:cs typeface="+mn-cs"/>
              </a:rPr>
              <a:t> </a:t>
            </a:r>
            <a:r>
              <a:rPr kumimoji="0" lang="en-US" altLang="zh-CN" sz="1100" b="0" i="0" u="none" strike="noStrike" kern="1200" cap="none" spc="0" normalizeH="0" baseline="0" noProof="0" dirty="0" err="1">
                <a:ln>
                  <a:noFill/>
                </a:ln>
                <a:solidFill>
                  <a:prstClr val="black">
                    <a:lumMod val="50000"/>
                    <a:lumOff val="50000"/>
                  </a:prstClr>
                </a:solidFill>
                <a:effectLst/>
                <a:uLnTx/>
                <a:uFillTx/>
                <a:latin typeface="HarmonyOS Sans SC"/>
                <a:cs typeface="+mn-cs"/>
              </a:rPr>
              <a:t>erat</a:t>
            </a:r>
            <a:r>
              <a:rPr kumimoji="0" lang="en-US" altLang="zh-CN" sz="1100" b="0" i="0" u="none" strike="noStrike" kern="1200" cap="none" spc="0" normalizeH="0" baseline="0" noProof="0" dirty="0">
                <a:ln>
                  <a:noFill/>
                </a:ln>
                <a:solidFill>
                  <a:prstClr val="black">
                    <a:lumMod val="50000"/>
                    <a:lumOff val="50000"/>
                  </a:prstClr>
                </a:solidFill>
                <a:effectLst/>
                <a:uLnTx/>
                <a:uFillTx/>
                <a:latin typeface="HarmonyOS Sans SC"/>
                <a:cs typeface="+mn-cs"/>
              </a:rPr>
              <a:t>. </a:t>
            </a:r>
            <a:r>
              <a:rPr kumimoji="0" lang="en-US" altLang="zh-CN" sz="1100" b="0" i="0" u="none" strike="noStrike" kern="1200" cap="none" spc="0" normalizeH="0" baseline="0" noProof="0" dirty="0" err="1">
                <a:ln>
                  <a:noFill/>
                </a:ln>
                <a:solidFill>
                  <a:prstClr val="black">
                    <a:lumMod val="50000"/>
                    <a:lumOff val="50000"/>
                  </a:prstClr>
                </a:solidFill>
                <a:effectLst/>
                <a:uLnTx/>
                <a:uFillTx/>
                <a:latin typeface="HarmonyOS Sans SC"/>
                <a:cs typeface="+mn-cs"/>
              </a:rPr>
              <a:t>Etiam</a:t>
            </a:r>
            <a:r>
              <a:rPr kumimoji="0" lang="en-US" altLang="zh-CN" sz="1100" b="0" i="0" u="none" strike="noStrike" kern="1200" cap="none" spc="0" normalizeH="0" baseline="0" noProof="0" dirty="0">
                <a:ln>
                  <a:noFill/>
                </a:ln>
                <a:solidFill>
                  <a:prstClr val="black">
                    <a:lumMod val="50000"/>
                    <a:lumOff val="50000"/>
                  </a:prstClr>
                </a:solidFill>
                <a:effectLst/>
                <a:uLnTx/>
                <a:uFillTx/>
                <a:latin typeface="HarmonyOS Sans SC"/>
                <a:cs typeface="+mn-cs"/>
              </a:rPr>
              <a:t> sed </a:t>
            </a:r>
            <a:r>
              <a:rPr kumimoji="0" lang="en-US" altLang="zh-CN" sz="1100" b="0" i="0" u="none" strike="noStrike" kern="1200" cap="none" spc="0" normalizeH="0" baseline="0" noProof="0" dirty="0" err="1">
                <a:ln>
                  <a:noFill/>
                </a:ln>
                <a:solidFill>
                  <a:prstClr val="black">
                    <a:lumMod val="50000"/>
                    <a:lumOff val="50000"/>
                  </a:prstClr>
                </a:solidFill>
                <a:effectLst/>
                <a:uLnTx/>
                <a:uFillTx/>
                <a:latin typeface="HarmonyOS Sans SC"/>
                <a:cs typeface="+mn-cs"/>
              </a:rPr>
              <a:t>rhoncus</a:t>
            </a:r>
            <a:r>
              <a:rPr kumimoji="0" lang="en-US" altLang="zh-CN" sz="1100" b="0" i="0" u="none" strike="noStrike" kern="1200" cap="none" spc="0" normalizeH="0" baseline="0" noProof="0" dirty="0">
                <a:ln>
                  <a:noFill/>
                </a:ln>
                <a:solidFill>
                  <a:prstClr val="black">
                    <a:lumMod val="50000"/>
                    <a:lumOff val="50000"/>
                  </a:prstClr>
                </a:solidFill>
                <a:effectLst/>
                <a:uLnTx/>
                <a:uFillTx/>
                <a:latin typeface="HarmonyOS Sans SC"/>
                <a:cs typeface="+mn-cs"/>
              </a:rPr>
              <a:t> </a:t>
            </a:r>
            <a:r>
              <a:rPr kumimoji="0" lang="en-US" altLang="zh-CN" sz="1100" b="0" i="0" u="none" strike="noStrike" kern="1200" cap="none" spc="0" normalizeH="0" baseline="0" noProof="0" dirty="0" err="1">
                <a:ln>
                  <a:noFill/>
                </a:ln>
                <a:solidFill>
                  <a:prstClr val="black">
                    <a:lumMod val="50000"/>
                    <a:lumOff val="50000"/>
                  </a:prstClr>
                </a:solidFill>
                <a:effectLst/>
                <a:uLnTx/>
                <a:uFillTx/>
                <a:latin typeface="HarmonyOS Sans SC"/>
                <a:cs typeface="+mn-cs"/>
              </a:rPr>
              <a:t>enim</a:t>
            </a:r>
            <a:r>
              <a:rPr kumimoji="0" lang="en-US" altLang="zh-CN" sz="1100" b="0" i="0" u="none" strike="noStrike" kern="1200" cap="none" spc="0" normalizeH="0" baseline="0" noProof="0" dirty="0">
                <a:ln>
                  <a:noFill/>
                </a:ln>
                <a:solidFill>
                  <a:prstClr val="black">
                    <a:lumMod val="50000"/>
                    <a:lumOff val="50000"/>
                  </a:prstClr>
                </a:solidFill>
                <a:effectLst/>
                <a:uLnTx/>
                <a:uFillTx/>
                <a:latin typeface="HarmonyOS Sans SC"/>
                <a:cs typeface="+mn-cs"/>
              </a:rPr>
              <a:t>.</a:t>
            </a:r>
          </a:p>
        </p:txBody>
      </p:sp>
    </p:spTree>
    <p:extLst>
      <p:ext uri="{BB962C8B-B14F-4D97-AF65-F5344CB8AC3E}">
        <p14:creationId xmlns:p14="http://schemas.microsoft.com/office/powerpoint/2010/main" val="1646325685"/>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5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reeform 6">
            <a:extLst>
              <a:ext uri="{FF2B5EF4-FFF2-40B4-BE49-F238E27FC236}">
                <a16:creationId xmlns:a16="http://schemas.microsoft.com/office/drawing/2014/main" id="{16496934-A3AF-4A7C-84CD-715258826D0B}"/>
              </a:ext>
            </a:extLst>
          </p:cNvPr>
          <p:cNvSpPr>
            <a:spLocks/>
          </p:cNvSpPr>
          <p:nvPr/>
        </p:nvSpPr>
        <p:spPr bwMode="auto">
          <a:xfrm>
            <a:off x="4697639" y="4731874"/>
            <a:ext cx="1734418" cy="1160396"/>
          </a:xfrm>
          <a:custGeom>
            <a:avLst/>
            <a:gdLst>
              <a:gd name="T0" fmla="*/ 1929 w 2387"/>
              <a:gd name="T1" fmla="*/ 1597 h 1597"/>
              <a:gd name="T2" fmla="*/ 459 w 2387"/>
              <a:gd name="T3" fmla="*/ 1597 h 1597"/>
              <a:gd name="T4" fmla="*/ 0 w 2387"/>
              <a:gd name="T5" fmla="*/ 204 h 1597"/>
              <a:gd name="T6" fmla="*/ 314 w 2387"/>
              <a:gd name="T7" fmla="*/ 204 h 1597"/>
              <a:gd name="T8" fmla="*/ 586 w 2387"/>
              <a:gd name="T9" fmla="*/ 0 h 1597"/>
              <a:gd name="T10" fmla="*/ 781 w 2387"/>
              <a:gd name="T11" fmla="*/ 204 h 1597"/>
              <a:gd name="T12" fmla="*/ 2387 w 2387"/>
              <a:gd name="T13" fmla="*/ 204 h 1597"/>
              <a:gd name="T14" fmla="*/ 2175 w 2387"/>
              <a:gd name="T15" fmla="*/ 841 h 1597"/>
              <a:gd name="T16" fmla="*/ 1929 w 2387"/>
              <a:gd name="T17" fmla="*/ 977 h 1597"/>
              <a:gd name="T18" fmla="*/ 2031 w 2387"/>
              <a:gd name="T19" fmla="*/ 1283 h 1597"/>
              <a:gd name="T20" fmla="*/ 1929 w 2387"/>
              <a:gd name="T21" fmla="*/ 1597 h 1597"/>
              <a:gd name="T22" fmla="*/ 1929 w 2387"/>
              <a:gd name="T23" fmla="*/ 1597 h 1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87" h="1597">
                <a:moveTo>
                  <a:pt x="1929" y="1597"/>
                </a:moveTo>
                <a:lnTo>
                  <a:pt x="459" y="1597"/>
                </a:lnTo>
                <a:lnTo>
                  <a:pt x="0" y="204"/>
                </a:lnTo>
                <a:lnTo>
                  <a:pt x="314" y="204"/>
                </a:lnTo>
                <a:lnTo>
                  <a:pt x="586" y="0"/>
                </a:lnTo>
                <a:lnTo>
                  <a:pt x="781" y="204"/>
                </a:lnTo>
                <a:lnTo>
                  <a:pt x="2387" y="204"/>
                </a:lnTo>
                <a:lnTo>
                  <a:pt x="2175" y="841"/>
                </a:lnTo>
                <a:lnTo>
                  <a:pt x="1929" y="977"/>
                </a:lnTo>
                <a:lnTo>
                  <a:pt x="2031" y="1283"/>
                </a:lnTo>
                <a:lnTo>
                  <a:pt x="1929" y="1597"/>
                </a:lnTo>
                <a:lnTo>
                  <a:pt x="1929" y="1597"/>
                </a:lnTo>
                <a:close/>
              </a:path>
            </a:pathLst>
          </a:custGeom>
          <a:gradFill flip="none" rotWithShape="1">
            <a:gsLst>
              <a:gs pos="73000">
                <a:schemeClr val="accent1"/>
              </a:gs>
              <a:gs pos="31000">
                <a:schemeClr val="accent1">
                  <a:lumMod val="60000"/>
                  <a:lumOff val="40000"/>
                </a:schemeClr>
              </a:gs>
              <a:gs pos="0">
                <a:schemeClr val="accent1">
                  <a:lumMod val="40000"/>
                  <a:lumOff val="60000"/>
                </a:schemeClr>
              </a:gs>
            </a:gsLst>
            <a:lin ang="54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11" name="Freeform 7">
            <a:extLst>
              <a:ext uri="{FF2B5EF4-FFF2-40B4-BE49-F238E27FC236}">
                <a16:creationId xmlns:a16="http://schemas.microsoft.com/office/drawing/2014/main" id="{8B8DDB00-396D-4B24-89AD-FCA49595E7F2}"/>
              </a:ext>
            </a:extLst>
          </p:cNvPr>
          <p:cNvSpPr>
            <a:spLocks/>
          </p:cNvSpPr>
          <p:nvPr/>
        </p:nvSpPr>
        <p:spPr bwMode="auto">
          <a:xfrm>
            <a:off x="6099270" y="4244318"/>
            <a:ext cx="1401631" cy="1647951"/>
          </a:xfrm>
          <a:custGeom>
            <a:avLst/>
            <a:gdLst>
              <a:gd name="T0" fmla="*/ 1470 w 1929"/>
              <a:gd name="T1" fmla="*/ 2268 h 2268"/>
              <a:gd name="T2" fmla="*/ 0 w 1929"/>
              <a:gd name="T3" fmla="*/ 2268 h 2268"/>
              <a:gd name="T4" fmla="*/ 102 w 1929"/>
              <a:gd name="T5" fmla="*/ 1954 h 2268"/>
              <a:gd name="T6" fmla="*/ 0 w 1929"/>
              <a:gd name="T7" fmla="*/ 1648 h 2268"/>
              <a:gd name="T8" fmla="*/ 246 w 1929"/>
              <a:gd name="T9" fmla="*/ 1512 h 2268"/>
              <a:gd name="T10" fmla="*/ 739 w 1929"/>
              <a:gd name="T11" fmla="*/ 0 h 2268"/>
              <a:gd name="T12" fmla="*/ 1240 w 1929"/>
              <a:gd name="T13" fmla="*/ 365 h 2268"/>
              <a:gd name="T14" fmla="*/ 1300 w 1929"/>
              <a:gd name="T15" fmla="*/ 645 h 2268"/>
              <a:gd name="T16" fmla="*/ 1623 w 1929"/>
              <a:gd name="T17" fmla="*/ 645 h 2268"/>
              <a:gd name="T18" fmla="*/ 1929 w 1929"/>
              <a:gd name="T19" fmla="*/ 858 h 2268"/>
              <a:gd name="T20" fmla="*/ 1470 w 1929"/>
              <a:gd name="T21" fmla="*/ 2268 h 2268"/>
              <a:gd name="T22" fmla="*/ 1470 w 1929"/>
              <a:gd name="T23" fmla="*/ 2268 h 2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29" h="2268">
                <a:moveTo>
                  <a:pt x="1470" y="2268"/>
                </a:moveTo>
                <a:lnTo>
                  <a:pt x="0" y="2268"/>
                </a:lnTo>
                <a:lnTo>
                  <a:pt x="102" y="1954"/>
                </a:lnTo>
                <a:lnTo>
                  <a:pt x="0" y="1648"/>
                </a:lnTo>
                <a:lnTo>
                  <a:pt x="246" y="1512"/>
                </a:lnTo>
                <a:lnTo>
                  <a:pt x="739" y="0"/>
                </a:lnTo>
                <a:lnTo>
                  <a:pt x="1240" y="365"/>
                </a:lnTo>
                <a:lnTo>
                  <a:pt x="1300" y="645"/>
                </a:lnTo>
                <a:lnTo>
                  <a:pt x="1623" y="645"/>
                </a:lnTo>
                <a:lnTo>
                  <a:pt x="1929" y="858"/>
                </a:lnTo>
                <a:lnTo>
                  <a:pt x="1470" y="2268"/>
                </a:lnTo>
                <a:lnTo>
                  <a:pt x="1470" y="2268"/>
                </a:lnTo>
                <a:close/>
              </a:path>
            </a:pathLst>
          </a:custGeom>
          <a:gradFill flip="none" rotWithShape="1">
            <a:gsLst>
              <a:gs pos="73000">
                <a:schemeClr val="accent1"/>
              </a:gs>
              <a:gs pos="31000">
                <a:schemeClr val="accent1">
                  <a:lumMod val="60000"/>
                  <a:lumOff val="40000"/>
                </a:schemeClr>
              </a:gs>
              <a:gs pos="0">
                <a:schemeClr val="accent1">
                  <a:lumMod val="40000"/>
                  <a:lumOff val="60000"/>
                </a:schemeClr>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12" name="Freeform 8">
            <a:extLst>
              <a:ext uri="{FF2B5EF4-FFF2-40B4-BE49-F238E27FC236}">
                <a16:creationId xmlns:a16="http://schemas.microsoft.com/office/drawing/2014/main" id="{E99765D1-E050-4A3C-8E3E-A76B08415171}"/>
              </a:ext>
            </a:extLst>
          </p:cNvPr>
          <p:cNvSpPr>
            <a:spLocks/>
          </p:cNvSpPr>
          <p:nvPr/>
        </p:nvSpPr>
        <p:spPr bwMode="auto">
          <a:xfrm>
            <a:off x="6099270" y="3225611"/>
            <a:ext cx="1728605" cy="1642138"/>
          </a:xfrm>
          <a:custGeom>
            <a:avLst/>
            <a:gdLst>
              <a:gd name="T0" fmla="*/ 2379 w 2379"/>
              <a:gd name="T1" fmla="*/ 875 h 2260"/>
              <a:gd name="T2" fmla="*/ 1929 w 2379"/>
              <a:gd name="T3" fmla="*/ 2260 h 2260"/>
              <a:gd name="T4" fmla="*/ 1623 w 2379"/>
              <a:gd name="T5" fmla="*/ 2047 h 2260"/>
              <a:gd name="T6" fmla="*/ 1300 w 2379"/>
              <a:gd name="T7" fmla="*/ 2047 h 2260"/>
              <a:gd name="T8" fmla="*/ 1240 w 2379"/>
              <a:gd name="T9" fmla="*/ 1767 h 2260"/>
              <a:gd name="T10" fmla="*/ 0 w 2379"/>
              <a:gd name="T11" fmla="*/ 867 h 2260"/>
              <a:gd name="T12" fmla="*/ 492 w 2379"/>
              <a:gd name="T13" fmla="*/ 501 h 2260"/>
              <a:gd name="T14" fmla="*/ 807 w 2379"/>
              <a:gd name="T15" fmla="*/ 501 h 2260"/>
              <a:gd name="T16" fmla="*/ 875 w 2379"/>
              <a:gd name="T17" fmla="*/ 229 h 2260"/>
              <a:gd name="T18" fmla="*/ 1181 w 2379"/>
              <a:gd name="T19" fmla="*/ 0 h 2260"/>
              <a:gd name="T20" fmla="*/ 2379 w 2379"/>
              <a:gd name="T21" fmla="*/ 875 h 2260"/>
              <a:gd name="T22" fmla="*/ 2379 w 2379"/>
              <a:gd name="T23" fmla="*/ 875 h 2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79" h="2260">
                <a:moveTo>
                  <a:pt x="2379" y="875"/>
                </a:moveTo>
                <a:lnTo>
                  <a:pt x="1929" y="2260"/>
                </a:lnTo>
                <a:lnTo>
                  <a:pt x="1623" y="2047"/>
                </a:lnTo>
                <a:lnTo>
                  <a:pt x="1300" y="2047"/>
                </a:lnTo>
                <a:lnTo>
                  <a:pt x="1240" y="1767"/>
                </a:lnTo>
                <a:lnTo>
                  <a:pt x="0" y="867"/>
                </a:lnTo>
                <a:lnTo>
                  <a:pt x="492" y="501"/>
                </a:lnTo>
                <a:lnTo>
                  <a:pt x="807" y="501"/>
                </a:lnTo>
                <a:lnTo>
                  <a:pt x="875" y="229"/>
                </a:lnTo>
                <a:lnTo>
                  <a:pt x="1181" y="0"/>
                </a:lnTo>
                <a:lnTo>
                  <a:pt x="2379" y="875"/>
                </a:lnTo>
                <a:lnTo>
                  <a:pt x="2379" y="875"/>
                </a:lnTo>
                <a:close/>
              </a:path>
            </a:pathLst>
          </a:custGeom>
          <a:gradFill flip="none" rotWithShape="1">
            <a:gsLst>
              <a:gs pos="73000">
                <a:schemeClr val="accent1"/>
              </a:gs>
              <a:gs pos="31000">
                <a:schemeClr val="accent1">
                  <a:lumMod val="60000"/>
                  <a:lumOff val="40000"/>
                </a:schemeClr>
              </a:gs>
              <a:gs pos="0">
                <a:schemeClr val="accent1">
                  <a:lumMod val="40000"/>
                  <a:lumOff val="60000"/>
                </a:schemeClr>
              </a:gs>
            </a:gsLst>
            <a:lin ang="189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13" name="Freeform 9">
            <a:extLst>
              <a:ext uri="{FF2B5EF4-FFF2-40B4-BE49-F238E27FC236}">
                <a16:creationId xmlns:a16="http://schemas.microsoft.com/office/drawing/2014/main" id="{F6D709A2-DD4F-4B23-A386-86DD5E819FC8}"/>
              </a:ext>
            </a:extLst>
          </p:cNvPr>
          <p:cNvSpPr>
            <a:spLocks/>
          </p:cNvSpPr>
          <p:nvPr/>
        </p:nvSpPr>
        <p:spPr bwMode="auto">
          <a:xfrm>
            <a:off x="5228064" y="2602180"/>
            <a:ext cx="1729332" cy="1647951"/>
          </a:xfrm>
          <a:custGeom>
            <a:avLst/>
            <a:gdLst>
              <a:gd name="T0" fmla="*/ 1199 w 2380"/>
              <a:gd name="T1" fmla="*/ 0 h 2268"/>
              <a:gd name="T2" fmla="*/ 2380 w 2380"/>
              <a:gd name="T3" fmla="*/ 858 h 2268"/>
              <a:gd name="T4" fmla="*/ 2074 w 2380"/>
              <a:gd name="T5" fmla="*/ 1087 h 2268"/>
              <a:gd name="T6" fmla="*/ 2006 w 2380"/>
              <a:gd name="T7" fmla="*/ 1359 h 2268"/>
              <a:gd name="T8" fmla="*/ 1691 w 2380"/>
              <a:gd name="T9" fmla="*/ 1359 h 2268"/>
              <a:gd name="T10" fmla="*/ 451 w 2380"/>
              <a:gd name="T11" fmla="*/ 2268 h 2268"/>
              <a:gd name="T12" fmla="*/ 264 w 2380"/>
              <a:gd name="T13" fmla="*/ 1682 h 2268"/>
              <a:gd name="T14" fmla="*/ 400 w 2380"/>
              <a:gd name="T15" fmla="*/ 1419 h 2268"/>
              <a:gd name="T16" fmla="*/ 119 w 2380"/>
              <a:gd name="T17" fmla="*/ 1240 h 2268"/>
              <a:gd name="T18" fmla="*/ 0 w 2380"/>
              <a:gd name="T19" fmla="*/ 867 h 2268"/>
              <a:gd name="T20" fmla="*/ 1199 w 2380"/>
              <a:gd name="T21" fmla="*/ 0 h 2268"/>
              <a:gd name="T22" fmla="*/ 1199 w 2380"/>
              <a:gd name="T23" fmla="*/ 0 h 2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80" h="2268">
                <a:moveTo>
                  <a:pt x="1199" y="0"/>
                </a:moveTo>
                <a:lnTo>
                  <a:pt x="2380" y="858"/>
                </a:lnTo>
                <a:lnTo>
                  <a:pt x="2074" y="1087"/>
                </a:lnTo>
                <a:lnTo>
                  <a:pt x="2006" y="1359"/>
                </a:lnTo>
                <a:lnTo>
                  <a:pt x="1691" y="1359"/>
                </a:lnTo>
                <a:lnTo>
                  <a:pt x="451" y="2268"/>
                </a:lnTo>
                <a:lnTo>
                  <a:pt x="264" y="1682"/>
                </a:lnTo>
                <a:lnTo>
                  <a:pt x="400" y="1419"/>
                </a:lnTo>
                <a:lnTo>
                  <a:pt x="119" y="1240"/>
                </a:lnTo>
                <a:lnTo>
                  <a:pt x="0" y="867"/>
                </a:lnTo>
                <a:lnTo>
                  <a:pt x="1199" y="0"/>
                </a:lnTo>
                <a:lnTo>
                  <a:pt x="1199" y="0"/>
                </a:lnTo>
                <a:close/>
              </a:path>
            </a:pathLst>
          </a:custGeom>
          <a:gradFill flip="none" rotWithShape="1">
            <a:gsLst>
              <a:gs pos="73000">
                <a:schemeClr val="accent1"/>
              </a:gs>
              <a:gs pos="31000">
                <a:schemeClr val="accent1">
                  <a:lumMod val="60000"/>
                  <a:lumOff val="40000"/>
                </a:schemeClr>
              </a:gs>
              <a:gs pos="0">
                <a:schemeClr val="accent1">
                  <a:lumMod val="40000"/>
                  <a:lumOff val="60000"/>
                </a:schemeClr>
              </a:gs>
            </a:gsLst>
            <a:lin ang="135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14" name="Freeform 10">
            <a:extLst>
              <a:ext uri="{FF2B5EF4-FFF2-40B4-BE49-F238E27FC236}">
                <a16:creationId xmlns:a16="http://schemas.microsoft.com/office/drawing/2014/main" id="{4EC27EF9-D1DD-491B-A3C5-05BE29693449}"/>
              </a:ext>
            </a:extLst>
          </p:cNvPr>
          <p:cNvSpPr>
            <a:spLocks/>
          </p:cNvSpPr>
          <p:nvPr/>
        </p:nvSpPr>
        <p:spPr bwMode="auto">
          <a:xfrm>
            <a:off x="4364125" y="3232151"/>
            <a:ext cx="1395091" cy="1647951"/>
          </a:xfrm>
          <a:custGeom>
            <a:avLst/>
            <a:gdLst>
              <a:gd name="T0" fmla="*/ 459 w 1920"/>
              <a:gd name="T1" fmla="*/ 2268 h 2268"/>
              <a:gd name="T2" fmla="*/ 0 w 1920"/>
              <a:gd name="T3" fmla="*/ 866 h 2268"/>
              <a:gd name="T4" fmla="*/ 1189 w 1920"/>
              <a:gd name="T5" fmla="*/ 0 h 2268"/>
              <a:gd name="T6" fmla="*/ 1308 w 1920"/>
              <a:gd name="T7" fmla="*/ 373 h 2268"/>
              <a:gd name="T8" fmla="*/ 1589 w 1920"/>
              <a:gd name="T9" fmla="*/ 552 h 2268"/>
              <a:gd name="T10" fmla="*/ 1453 w 1920"/>
              <a:gd name="T11" fmla="*/ 815 h 2268"/>
              <a:gd name="T12" fmla="*/ 1920 w 1920"/>
              <a:gd name="T13" fmla="*/ 2268 h 2268"/>
              <a:gd name="T14" fmla="*/ 1240 w 1920"/>
              <a:gd name="T15" fmla="*/ 2268 h 2268"/>
              <a:gd name="T16" fmla="*/ 1045 w 1920"/>
              <a:gd name="T17" fmla="*/ 2064 h 2268"/>
              <a:gd name="T18" fmla="*/ 773 w 1920"/>
              <a:gd name="T19" fmla="*/ 2268 h 2268"/>
              <a:gd name="T20" fmla="*/ 459 w 1920"/>
              <a:gd name="T21" fmla="*/ 2268 h 2268"/>
              <a:gd name="T22" fmla="*/ 459 w 1920"/>
              <a:gd name="T23" fmla="*/ 2268 h 2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20" h="2268">
                <a:moveTo>
                  <a:pt x="459" y="2268"/>
                </a:moveTo>
                <a:lnTo>
                  <a:pt x="0" y="866"/>
                </a:lnTo>
                <a:lnTo>
                  <a:pt x="1189" y="0"/>
                </a:lnTo>
                <a:lnTo>
                  <a:pt x="1308" y="373"/>
                </a:lnTo>
                <a:lnTo>
                  <a:pt x="1589" y="552"/>
                </a:lnTo>
                <a:lnTo>
                  <a:pt x="1453" y="815"/>
                </a:lnTo>
                <a:lnTo>
                  <a:pt x="1920" y="2268"/>
                </a:lnTo>
                <a:lnTo>
                  <a:pt x="1240" y="2268"/>
                </a:lnTo>
                <a:lnTo>
                  <a:pt x="1045" y="2064"/>
                </a:lnTo>
                <a:lnTo>
                  <a:pt x="773" y="2268"/>
                </a:lnTo>
                <a:lnTo>
                  <a:pt x="459" y="2268"/>
                </a:lnTo>
                <a:lnTo>
                  <a:pt x="459" y="2268"/>
                </a:lnTo>
                <a:close/>
              </a:path>
            </a:pathLst>
          </a:custGeom>
          <a:gradFill flip="none" rotWithShape="1">
            <a:gsLst>
              <a:gs pos="73000">
                <a:schemeClr val="accent1"/>
              </a:gs>
              <a:gs pos="31000">
                <a:schemeClr val="accent1">
                  <a:lumMod val="60000"/>
                  <a:lumOff val="40000"/>
                </a:schemeClr>
              </a:gs>
              <a:gs pos="0">
                <a:schemeClr val="accent1">
                  <a:lumMod val="40000"/>
                  <a:lumOff val="60000"/>
                </a:schemeClr>
              </a:gs>
            </a:gsLst>
            <a:lin ang="81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5" name="Freeform 29">
            <a:extLst>
              <a:ext uri="{FF2B5EF4-FFF2-40B4-BE49-F238E27FC236}">
                <a16:creationId xmlns:a16="http://schemas.microsoft.com/office/drawing/2014/main" id="{921F89F2-AB72-4C49-9EA5-CE06320C03BB}"/>
              </a:ext>
            </a:extLst>
          </p:cNvPr>
          <p:cNvSpPr>
            <a:spLocks noChangeArrowheads="1"/>
          </p:cNvSpPr>
          <p:nvPr/>
        </p:nvSpPr>
        <p:spPr bwMode="auto">
          <a:xfrm>
            <a:off x="6585672" y="5268838"/>
            <a:ext cx="392465" cy="404924"/>
          </a:xfrm>
          <a:custGeom>
            <a:avLst/>
            <a:gdLst>
              <a:gd name="T0" fmla="*/ 248 w 444"/>
              <a:gd name="T1" fmla="*/ 337 h 462"/>
              <a:gd name="T2" fmla="*/ 248 w 444"/>
              <a:gd name="T3" fmla="*/ 337 h 462"/>
              <a:gd name="T4" fmla="*/ 320 w 444"/>
              <a:gd name="T5" fmla="*/ 257 h 462"/>
              <a:gd name="T6" fmla="*/ 443 w 444"/>
              <a:gd name="T7" fmla="*/ 71 h 462"/>
              <a:gd name="T8" fmla="*/ 426 w 444"/>
              <a:gd name="T9" fmla="*/ 53 h 462"/>
              <a:gd name="T10" fmla="*/ 346 w 444"/>
              <a:gd name="T11" fmla="*/ 53 h 462"/>
              <a:gd name="T12" fmla="*/ 222 w 444"/>
              <a:gd name="T13" fmla="*/ 0 h 462"/>
              <a:gd name="T14" fmla="*/ 98 w 444"/>
              <a:gd name="T15" fmla="*/ 53 h 462"/>
              <a:gd name="T16" fmla="*/ 18 w 444"/>
              <a:gd name="T17" fmla="*/ 53 h 462"/>
              <a:gd name="T18" fmla="*/ 0 w 444"/>
              <a:gd name="T19" fmla="*/ 71 h 462"/>
              <a:gd name="T20" fmla="*/ 124 w 444"/>
              <a:gd name="T21" fmla="*/ 257 h 462"/>
              <a:gd name="T22" fmla="*/ 195 w 444"/>
              <a:gd name="T23" fmla="*/ 337 h 462"/>
              <a:gd name="T24" fmla="*/ 195 w 444"/>
              <a:gd name="T25" fmla="*/ 372 h 462"/>
              <a:gd name="T26" fmla="*/ 107 w 444"/>
              <a:gd name="T27" fmla="*/ 416 h 462"/>
              <a:gd name="T28" fmla="*/ 222 w 444"/>
              <a:gd name="T29" fmla="*/ 461 h 462"/>
              <a:gd name="T30" fmla="*/ 328 w 444"/>
              <a:gd name="T31" fmla="*/ 416 h 462"/>
              <a:gd name="T32" fmla="*/ 248 w 444"/>
              <a:gd name="T33" fmla="*/ 372 h 462"/>
              <a:gd name="T34" fmla="*/ 248 w 444"/>
              <a:gd name="T35" fmla="*/ 337 h 462"/>
              <a:gd name="T36" fmla="*/ 320 w 444"/>
              <a:gd name="T37" fmla="*/ 212 h 462"/>
              <a:gd name="T38" fmla="*/ 320 w 444"/>
              <a:gd name="T39" fmla="*/ 212 h 462"/>
              <a:gd name="T40" fmla="*/ 346 w 444"/>
              <a:gd name="T41" fmla="*/ 89 h 462"/>
              <a:gd name="T42" fmla="*/ 408 w 444"/>
              <a:gd name="T43" fmla="*/ 89 h 462"/>
              <a:gd name="T44" fmla="*/ 320 w 444"/>
              <a:gd name="T45" fmla="*/ 212 h 462"/>
              <a:gd name="T46" fmla="*/ 222 w 444"/>
              <a:gd name="T47" fmla="*/ 36 h 462"/>
              <a:gd name="T48" fmla="*/ 222 w 444"/>
              <a:gd name="T49" fmla="*/ 36 h 462"/>
              <a:gd name="T50" fmla="*/ 320 w 444"/>
              <a:gd name="T51" fmla="*/ 71 h 462"/>
              <a:gd name="T52" fmla="*/ 222 w 444"/>
              <a:gd name="T53" fmla="*/ 115 h 462"/>
              <a:gd name="T54" fmla="*/ 124 w 444"/>
              <a:gd name="T55" fmla="*/ 71 h 462"/>
              <a:gd name="T56" fmla="*/ 222 w 444"/>
              <a:gd name="T57" fmla="*/ 36 h 462"/>
              <a:gd name="T58" fmla="*/ 36 w 444"/>
              <a:gd name="T59" fmla="*/ 89 h 462"/>
              <a:gd name="T60" fmla="*/ 36 w 444"/>
              <a:gd name="T61" fmla="*/ 89 h 462"/>
              <a:gd name="T62" fmla="*/ 98 w 444"/>
              <a:gd name="T63" fmla="*/ 89 h 462"/>
              <a:gd name="T64" fmla="*/ 124 w 444"/>
              <a:gd name="T65" fmla="*/ 212 h 462"/>
              <a:gd name="T66" fmla="*/ 36 w 444"/>
              <a:gd name="T67" fmla="*/ 89 h 4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44" h="462">
                <a:moveTo>
                  <a:pt x="248" y="337"/>
                </a:moveTo>
                <a:lnTo>
                  <a:pt x="248" y="337"/>
                </a:lnTo>
                <a:cubicBezTo>
                  <a:pt x="248" y="302"/>
                  <a:pt x="275" y="283"/>
                  <a:pt x="320" y="257"/>
                </a:cubicBezTo>
                <a:cubicBezTo>
                  <a:pt x="373" y="221"/>
                  <a:pt x="443" y="177"/>
                  <a:pt x="443" y="71"/>
                </a:cubicBezTo>
                <a:cubicBezTo>
                  <a:pt x="443" y="62"/>
                  <a:pt x="434" y="53"/>
                  <a:pt x="426" y="53"/>
                </a:cubicBezTo>
                <a:cubicBezTo>
                  <a:pt x="346" y="53"/>
                  <a:pt x="346" y="53"/>
                  <a:pt x="346" y="53"/>
                </a:cubicBezTo>
                <a:cubicBezTo>
                  <a:pt x="328" y="27"/>
                  <a:pt x="293" y="0"/>
                  <a:pt x="222" y="0"/>
                </a:cubicBezTo>
                <a:cubicBezTo>
                  <a:pt x="151" y="0"/>
                  <a:pt x="116" y="27"/>
                  <a:pt x="98" y="53"/>
                </a:cubicBezTo>
                <a:cubicBezTo>
                  <a:pt x="18" y="53"/>
                  <a:pt x="18" y="53"/>
                  <a:pt x="18" y="53"/>
                </a:cubicBezTo>
                <a:cubicBezTo>
                  <a:pt x="9" y="53"/>
                  <a:pt x="0" y="62"/>
                  <a:pt x="0" y="71"/>
                </a:cubicBezTo>
                <a:cubicBezTo>
                  <a:pt x="0" y="177"/>
                  <a:pt x="62" y="221"/>
                  <a:pt x="124" y="257"/>
                </a:cubicBezTo>
                <a:cubicBezTo>
                  <a:pt x="169" y="283"/>
                  <a:pt x="195" y="302"/>
                  <a:pt x="195" y="337"/>
                </a:cubicBezTo>
                <a:cubicBezTo>
                  <a:pt x="195" y="372"/>
                  <a:pt x="195" y="372"/>
                  <a:pt x="195" y="372"/>
                </a:cubicBezTo>
                <a:cubicBezTo>
                  <a:pt x="142" y="381"/>
                  <a:pt x="107" y="399"/>
                  <a:pt x="107" y="416"/>
                </a:cubicBezTo>
                <a:cubicBezTo>
                  <a:pt x="107" y="443"/>
                  <a:pt x="160" y="461"/>
                  <a:pt x="222" y="461"/>
                </a:cubicBezTo>
                <a:cubicBezTo>
                  <a:pt x="283" y="461"/>
                  <a:pt x="328" y="443"/>
                  <a:pt x="328" y="416"/>
                </a:cubicBezTo>
                <a:cubicBezTo>
                  <a:pt x="328" y="399"/>
                  <a:pt x="302" y="381"/>
                  <a:pt x="248" y="372"/>
                </a:cubicBezTo>
                <a:lnTo>
                  <a:pt x="248" y="337"/>
                </a:lnTo>
                <a:close/>
                <a:moveTo>
                  <a:pt x="320" y="212"/>
                </a:moveTo>
                <a:lnTo>
                  <a:pt x="320" y="212"/>
                </a:lnTo>
                <a:cubicBezTo>
                  <a:pt x="337" y="186"/>
                  <a:pt x="346" y="142"/>
                  <a:pt x="346" y="89"/>
                </a:cubicBezTo>
                <a:cubicBezTo>
                  <a:pt x="408" y="89"/>
                  <a:pt x="408" y="89"/>
                  <a:pt x="408" y="89"/>
                </a:cubicBezTo>
                <a:cubicBezTo>
                  <a:pt x="399" y="151"/>
                  <a:pt x="364" y="186"/>
                  <a:pt x="320" y="212"/>
                </a:cubicBezTo>
                <a:close/>
                <a:moveTo>
                  <a:pt x="222" y="36"/>
                </a:moveTo>
                <a:lnTo>
                  <a:pt x="222" y="36"/>
                </a:lnTo>
                <a:cubicBezTo>
                  <a:pt x="293" y="36"/>
                  <a:pt x="320" y="62"/>
                  <a:pt x="320" y="71"/>
                </a:cubicBezTo>
                <a:cubicBezTo>
                  <a:pt x="320" y="80"/>
                  <a:pt x="293" y="106"/>
                  <a:pt x="222" y="115"/>
                </a:cubicBezTo>
                <a:cubicBezTo>
                  <a:pt x="151" y="106"/>
                  <a:pt x="124" y="80"/>
                  <a:pt x="124" y="71"/>
                </a:cubicBezTo>
                <a:cubicBezTo>
                  <a:pt x="124" y="62"/>
                  <a:pt x="151" y="36"/>
                  <a:pt x="222" y="36"/>
                </a:cubicBezTo>
                <a:close/>
                <a:moveTo>
                  <a:pt x="36" y="89"/>
                </a:moveTo>
                <a:lnTo>
                  <a:pt x="36" y="89"/>
                </a:lnTo>
                <a:cubicBezTo>
                  <a:pt x="98" y="89"/>
                  <a:pt x="98" y="89"/>
                  <a:pt x="98" y="89"/>
                </a:cubicBezTo>
                <a:cubicBezTo>
                  <a:pt x="98" y="142"/>
                  <a:pt x="107" y="186"/>
                  <a:pt x="124" y="212"/>
                </a:cubicBezTo>
                <a:cubicBezTo>
                  <a:pt x="80" y="186"/>
                  <a:pt x="36" y="151"/>
                  <a:pt x="36" y="89"/>
                </a:cubicBezTo>
                <a:close/>
              </a:path>
            </a:pathLst>
          </a:custGeom>
          <a:solidFill>
            <a:schemeClr val="bg1"/>
          </a:solidFill>
          <a:ln>
            <a:noFill/>
          </a:ln>
          <a:effectLst/>
        </p:spPr>
        <p:txBody>
          <a:bodyPr wrap="none" lIns="17145" tIns="8573" rIns="17145" bIns="8573"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 name="Freeform 67">
            <a:extLst>
              <a:ext uri="{FF2B5EF4-FFF2-40B4-BE49-F238E27FC236}">
                <a16:creationId xmlns:a16="http://schemas.microsoft.com/office/drawing/2014/main" id="{CBAF4109-8C5B-4865-B618-6EEA69704931}"/>
              </a:ext>
            </a:extLst>
          </p:cNvPr>
          <p:cNvSpPr>
            <a:spLocks noChangeArrowheads="1"/>
          </p:cNvSpPr>
          <p:nvPr/>
        </p:nvSpPr>
        <p:spPr bwMode="auto">
          <a:xfrm>
            <a:off x="6977540" y="3756362"/>
            <a:ext cx="401808" cy="467220"/>
          </a:xfrm>
          <a:custGeom>
            <a:avLst/>
            <a:gdLst>
              <a:gd name="T0" fmla="*/ 434 w 453"/>
              <a:gd name="T1" fmla="*/ 186 h 533"/>
              <a:gd name="T2" fmla="*/ 434 w 453"/>
              <a:gd name="T3" fmla="*/ 186 h 533"/>
              <a:gd name="T4" fmla="*/ 44 w 453"/>
              <a:gd name="T5" fmla="*/ 160 h 533"/>
              <a:gd name="T6" fmla="*/ 0 w 453"/>
              <a:gd name="T7" fmla="*/ 178 h 533"/>
              <a:gd name="T8" fmla="*/ 88 w 453"/>
              <a:gd name="T9" fmla="*/ 532 h 533"/>
              <a:gd name="T10" fmla="*/ 141 w 453"/>
              <a:gd name="T11" fmla="*/ 532 h 533"/>
              <a:gd name="T12" fmla="*/ 97 w 453"/>
              <a:gd name="T13" fmla="*/ 355 h 533"/>
              <a:gd name="T14" fmla="*/ 443 w 453"/>
              <a:gd name="T15" fmla="*/ 195 h 533"/>
              <a:gd name="T16" fmla="*/ 434 w 453"/>
              <a:gd name="T17" fmla="*/ 186 h 5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3" h="533">
                <a:moveTo>
                  <a:pt x="434" y="186"/>
                </a:moveTo>
                <a:lnTo>
                  <a:pt x="434" y="186"/>
                </a:lnTo>
                <a:cubicBezTo>
                  <a:pt x="151" y="301"/>
                  <a:pt x="266" y="0"/>
                  <a:pt x="44" y="160"/>
                </a:cubicBezTo>
                <a:cubicBezTo>
                  <a:pt x="0" y="178"/>
                  <a:pt x="0" y="178"/>
                  <a:pt x="0" y="178"/>
                </a:cubicBezTo>
                <a:cubicBezTo>
                  <a:pt x="88" y="532"/>
                  <a:pt x="88" y="532"/>
                  <a:pt x="88" y="532"/>
                </a:cubicBezTo>
                <a:cubicBezTo>
                  <a:pt x="141" y="532"/>
                  <a:pt x="141" y="532"/>
                  <a:pt x="141" y="532"/>
                </a:cubicBezTo>
                <a:cubicBezTo>
                  <a:pt x="97" y="355"/>
                  <a:pt x="97" y="355"/>
                  <a:pt x="97" y="355"/>
                </a:cubicBezTo>
                <a:cubicBezTo>
                  <a:pt x="293" y="195"/>
                  <a:pt x="213" y="532"/>
                  <a:pt x="443" y="195"/>
                </a:cubicBezTo>
                <a:cubicBezTo>
                  <a:pt x="452" y="195"/>
                  <a:pt x="443" y="186"/>
                  <a:pt x="434" y="186"/>
                </a:cubicBezTo>
              </a:path>
            </a:pathLst>
          </a:custGeom>
          <a:solidFill>
            <a:schemeClr val="bg1"/>
          </a:solidFill>
          <a:ln>
            <a:noFill/>
          </a:ln>
          <a:effectLst/>
        </p:spPr>
        <p:txBody>
          <a:bodyPr wrap="none" lIns="17145" tIns="8573" rIns="17145" bIns="8573"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Freeform 102">
            <a:extLst>
              <a:ext uri="{FF2B5EF4-FFF2-40B4-BE49-F238E27FC236}">
                <a16:creationId xmlns:a16="http://schemas.microsoft.com/office/drawing/2014/main" id="{C3395FE0-8A3B-4E5B-8CB6-A678F6499705}"/>
              </a:ext>
            </a:extLst>
          </p:cNvPr>
          <p:cNvSpPr>
            <a:spLocks noChangeArrowheads="1"/>
          </p:cNvSpPr>
          <p:nvPr/>
        </p:nvSpPr>
        <p:spPr bwMode="auto">
          <a:xfrm>
            <a:off x="5297667" y="5276443"/>
            <a:ext cx="436072" cy="392465"/>
          </a:xfrm>
          <a:custGeom>
            <a:avLst/>
            <a:gdLst>
              <a:gd name="T0" fmla="*/ 80 w 498"/>
              <a:gd name="T1" fmla="*/ 151 h 445"/>
              <a:gd name="T2" fmla="*/ 80 w 498"/>
              <a:gd name="T3" fmla="*/ 151 h 445"/>
              <a:gd name="T4" fmla="*/ 142 w 498"/>
              <a:gd name="T5" fmla="*/ 169 h 445"/>
              <a:gd name="T6" fmla="*/ 151 w 498"/>
              <a:gd name="T7" fmla="*/ 169 h 445"/>
              <a:gd name="T8" fmla="*/ 195 w 498"/>
              <a:gd name="T9" fmla="*/ 134 h 445"/>
              <a:gd name="T10" fmla="*/ 195 w 498"/>
              <a:gd name="T11" fmla="*/ 125 h 445"/>
              <a:gd name="T12" fmla="*/ 178 w 498"/>
              <a:gd name="T13" fmla="*/ 107 h 445"/>
              <a:gd name="T14" fmla="*/ 275 w 498"/>
              <a:gd name="T15" fmla="*/ 10 h 445"/>
              <a:gd name="T16" fmla="*/ 195 w 498"/>
              <a:gd name="T17" fmla="*/ 0 h 445"/>
              <a:gd name="T18" fmla="*/ 107 w 498"/>
              <a:gd name="T19" fmla="*/ 54 h 445"/>
              <a:gd name="T20" fmla="*/ 72 w 498"/>
              <a:gd name="T21" fmla="*/ 81 h 445"/>
              <a:gd name="T22" fmla="*/ 53 w 498"/>
              <a:gd name="T23" fmla="*/ 116 h 445"/>
              <a:gd name="T24" fmla="*/ 18 w 498"/>
              <a:gd name="T25" fmla="*/ 125 h 445"/>
              <a:gd name="T26" fmla="*/ 0 w 498"/>
              <a:gd name="T27" fmla="*/ 143 h 445"/>
              <a:gd name="T28" fmla="*/ 0 w 498"/>
              <a:gd name="T29" fmla="*/ 151 h 445"/>
              <a:gd name="T30" fmla="*/ 36 w 498"/>
              <a:gd name="T31" fmla="*/ 187 h 445"/>
              <a:gd name="T32" fmla="*/ 53 w 498"/>
              <a:gd name="T33" fmla="*/ 196 h 445"/>
              <a:gd name="T34" fmla="*/ 72 w 498"/>
              <a:gd name="T35" fmla="*/ 178 h 445"/>
              <a:gd name="T36" fmla="*/ 80 w 498"/>
              <a:gd name="T37" fmla="*/ 151 h 445"/>
              <a:gd name="T38" fmla="*/ 222 w 498"/>
              <a:gd name="T39" fmla="*/ 160 h 445"/>
              <a:gd name="T40" fmla="*/ 222 w 498"/>
              <a:gd name="T41" fmla="*/ 160 h 445"/>
              <a:gd name="T42" fmla="*/ 213 w 498"/>
              <a:gd name="T43" fmla="*/ 160 h 445"/>
              <a:gd name="T44" fmla="*/ 178 w 498"/>
              <a:gd name="T45" fmla="*/ 187 h 445"/>
              <a:gd name="T46" fmla="*/ 169 w 498"/>
              <a:gd name="T47" fmla="*/ 204 h 445"/>
              <a:gd name="T48" fmla="*/ 381 w 498"/>
              <a:gd name="T49" fmla="*/ 435 h 445"/>
              <a:gd name="T50" fmla="*/ 399 w 498"/>
              <a:gd name="T51" fmla="*/ 435 h 445"/>
              <a:gd name="T52" fmla="*/ 426 w 498"/>
              <a:gd name="T53" fmla="*/ 417 h 445"/>
              <a:gd name="T54" fmla="*/ 426 w 498"/>
              <a:gd name="T55" fmla="*/ 400 h 445"/>
              <a:gd name="T56" fmla="*/ 222 w 498"/>
              <a:gd name="T57" fmla="*/ 160 h 445"/>
              <a:gd name="T58" fmla="*/ 497 w 498"/>
              <a:gd name="T59" fmla="*/ 63 h 445"/>
              <a:gd name="T60" fmla="*/ 497 w 498"/>
              <a:gd name="T61" fmla="*/ 63 h 445"/>
              <a:gd name="T62" fmla="*/ 479 w 498"/>
              <a:gd name="T63" fmla="*/ 54 h 445"/>
              <a:gd name="T64" fmla="*/ 461 w 498"/>
              <a:gd name="T65" fmla="*/ 89 h 445"/>
              <a:gd name="T66" fmla="*/ 408 w 498"/>
              <a:gd name="T67" fmla="*/ 107 h 445"/>
              <a:gd name="T68" fmla="*/ 399 w 498"/>
              <a:gd name="T69" fmla="*/ 63 h 445"/>
              <a:gd name="T70" fmla="*/ 417 w 498"/>
              <a:gd name="T71" fmla="*/ 19 h 445"/>
              <a:gd name="T72" fmla="*/ 408 w 498"/>
              <a:gd name="T73" fmla="*/ 10 h 445"/>
              <a:gd name="T74" fmla="*/ 337 w 498"/>
              <a:gd name="T75" fmla="*/ 72 h 445"/>
              <a:gd name="T76" fmla="*/ 319 w 498"/>
              <a:gd name="T77" fmla="*/ 151 h 445"/>
              <a:gd name="T78" fmla="*/ 284 w 498"/>
              <a:gd name="T79" fmla="*/ 187 h 445"/>
              <a:gd name="T80" fmla="*/ 319 w 498"/>
              <a:gd name="T81" fmla="*/ 231 h 445"/>
              <a:gd name="T82" fmla="*/ 364 w 498"/>
              <a:gd name="T83" fmla="*/ 187 h 445"/>
              <a:gd name="T84" fmla="*/ 408 w 498"/>
              <a:gd name="T85" fmla="*/ 178 h 445"/>
              <a:gd name="T86" fmla="*/ 488 w 498"/>
              <a:gd name="T87" fmla="*/ 143 h 445"/>
              <a:gd name="T88" fmla="*/ 497 w 498"/>
              <a:gd name="T89" fmla="*/ 63 h 445"/>
              <a:gd name="T90" fmla="*/ 72 w 498"/>
              <a:gd name="T91" fmla="*/ 400 h 445"/>
              <a:gd name="T92" fmla="*/ 72 w 498"/>
              <a:gd name="T93" fmla="*/ 400 h 445"/>
              <a:gd name="T94" fmla="*/ 72 w 498"/>
              <a:gd name="T95" fmla="*/ 417 h 445"/>
              <a:gd name="T96" fmla="*/ 89 w 498"/>
              <a:gd name="T97" fmla="*/ 444 h 445"/>
              <a:gd name="T98" fmla="*/ 107 w 498"/>
              <a:gd name="T99" fmla="*/ 435 h 445"/>
              <a:gd name="T100" fmla="*/ 231 w 498"/>
              <a:gd name="T101" fmla="*/ 320 h 445"/>
              <a:gd name="T102" fmla="*/ 195 w 498"/>
              <a:gd name="T103" fmla="*/ 275 h 445"/>
              <a:gd name="T104" fmla="*/ 72 w 498"/>
              <a:gd name="T105" fmla="*/ 400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98" h="445">
                <a:moveTo>
                  <a:pt x="80" y="151"/>
                </a:moveTo>
                <a:lnTo>
                  <a:pt x="80" y="151"/>
                </a:lnTo>
                <a:cubicBezTo>
                  <a:pt x="97" y="134"/>
                  <a:pt x="116" y="143"/>
                  <a:pt x="142" y="169"/>
                </a:cubicBezTo>
                <a:cubicBezTo>
                  <a:pt x="151" y="178"/>
                  <a:pt x="151" y="169"/>
                  <a:pt x="151" y="169"/>
                </a:cubicBezTo>
                <a:cubicBezTo>
                  <a:pt x="160" y="169"/>
                  <a:pt x="186" y="134"/>
                  <a:pt x="195" y="134"/>
                </a:cubicBezTo>
                <a:cubicBezTo>
                  <a:pt x="195" y="134"/>
                  <a:pt x="195" y="134"/>
                  <a:pt x="195" y="125"/>
                </a:cubicBezTo>
                <a:cubicBezTo>
                  <a:pt x="186" y="125"/>
                  <a:pt x="178" y="116"/>
                  <a:pt x="178" y="107"/>
                </a:cubicBezTo>
                <a:cubicBezTo>
                  <a:pt x="133" y="45"/>
                  <a:pt x="301" y="10"/>
                  <a:pt x="275" y="10"/>
                </a:cubicBezTo>
                <a:cubicBezTo>
                  <a:pt x="257" y="0"/>
                  <a:pt x="204" y="0"/>
                  <a:pt x="195" y="0"/>
                </a:cubicBezTo>
                <a:cubicBezTo>
                  <a:pt x="169" y="10"/>
                  <a:pt x="125" y="36"/>
                  <a:pt x="107" y="54"/>
                </a:cubicBezTo>
                <a:cubicBezTo>
                  <a:pt x="80" y="72"/>
                  <a:pt x="72" y="81"/>
                  <a:pt x="72" y="81"/>
                </a:cubicBezTo>
                <a:cubicBezTo>
                  <a:pt x="62" y="89"/>
                  <a:pt x="72" y="107"/>
                  <a:pt x="53" y="116"/>
                </a:cubicBezTo>
                <a:cubicBezTo>
                  <a:pt x="36" y="125"/>
                  <a:pt x="27" y="116"/>
                  <a:pt x="18" y="125"/>
                </a:cubicBezTo>
                <a:cubicBezTo>
                  <a:pt x="18" y="134"/>
                  <a:pt x="9" y="134"/>
                  <a:pt x="0" y="143"/>
                </a:cubicBezTo>
                <a:lnTo>
                  <a:pt x="0" y="151"/>
                </a:lnTo>
                <a:lnTo>
                  <a:pt x="36" y="187"/>
                </a:lnTo>
                <a:cubicBezTo>
                  <a:pt x="36" y="196"/>
                  <a:pt x="44" y="196"/>
                  <a:pt x="53" y="196"/>
                </a:cubicBezTo>
                <a:cubicBezTo>
                  <a:pt x="53" y="187"/>
                  <a:pt x="62" y="178"/>
                  <a:pt x="72" y="178"/>
                </a:cubicBezTo>
                <a:cubicBezTo>
                  <a:pt x="72" y="178"/>
                  <a:pt x="72" y="151"/>
                  <a:pt x="80" y="151"/>
                </a:cubicBezTo>
                <a:close/>
                <a:moveTo>
                  <a:pt x="222" y="160"/>
                </a:moveTo>
                <a:lnTo>
                  <a:pt x="222" y="160"/>
                </a:lnTo>
                <a:cubicBezTo>
                  <a:pt x="213" y="160"/>
                  <a:pt x="213" y="160"/>
                  <a:pt x="213" y="160"/>
                </a:cubicBezTo>
                <a:cubicBezTo>
                  <a:pt x="178" y="187"/>
                  <a:pt x="178" y="187"/>
                  <a:pt x="178" y="187"/>
                </a:cubicBezTo>
                <a:cubicBezTo>
                  <a:pt x="169" y="196"/>
                  <a:pt x="169" y="196"/>
                  <a:pt x="169" y="204"/>
                </a:cubicBezTo>
                <a:cubicBezTo>
                  <a:pt x="381" y="435"/>
                  <a:pt x="381" y="435"/>
                  <a:pt x="381" y="435"/>
                </a:cubicBezTo>
                <a:cubicBezTo>
                  <a:pt x="381" y="444"/>
                  <a:pt x="391" y="444"/>
                  <a:pt x="399" y="435"/>
                </a:cubicBezTo>
                <a:cubicBezTo>
                  <a:pt x="426" y="417"/>
                  <a:pt x="426" y="417"/>
                  <a:pt x="426" y="417"/>
                </a:cubicBezTo>
                <a:cubicBezTo>
                  <a:pt x="426" y="408"/>
                  <a:pt x="426" y="400"/>
                  <a:pt x="426" y="400"/>
                </a:cubicBezTo>
                <a:lnTo>
                  <a:pt x="222" y="160"/>
                </a:lnTo>
                <a:close/>
                <a:moveTo>
                  <a:pt x="497" y="63"/>
                </a:moveTo>
                <a:lnTo>
                  <a:pt x="497" y="63"/>
                </a:lnTo>
                <a:cubicBezTo>
                  <a:pt x="488" y="45"/>
                  <a:pt x="488" y="54"/>
                  <a:pt x="479" y="54"/>
                </a:cubicBezTo>
                <a:cubicBezTo>
                  <a:pt x="479" y="63"/>
                  <a:pt x="461" y="81"/>
                  <a:pt x="461" y="89"/>
                </a:cubicBezTo>
                <a:cubicBezTo>
                  <a:pt x="452" y="107"/>
                  <a:pt x="435" y="125"/>
                  <a:pt x="408" y="107"/>
                </a:cubicBezTo>
                <a:cubicBezTo>
                  <a:pt x="381" y="81"/>
                  <a:pt x="391" y="72"/>
                  <a:pt x="399" y="63"/>
                </a:cubicBezTo>
                <a:cubicBezTo>
                  <a:pt x="399" y="54"/>
                  <a:pt x="417" y="28"/>
                  <a:pt x="417" y="19"/>
                </a:cubicBezTo>
                <a:cubicBezTo>
                  <a:pt x="426" y="19"/>
                  <a:pt x="417" y="10"/>
                  <a:pt x="408" y="10"/>
                </a:cubicBezTo>
                <a:cubicBezTo>
                  <a:pt x="399" y="19"/>
                  <a:pt x="346" y="36"/>
                  <a:pt x="337" y="72"/>
                </a:cubicBezTo>
                <a:cubicBezTo>
                  <a:pt x="328" y="98"/>
                  <a:pt x="346" y="125"/>
                  <a:pt x="319" y="151"/>
                </a:cubicBezTo>
                <a:cubicBezTo>
                  <a:pt x="284" y="187"/>
                  <a:pt x="284" y="187"/>
                  <a:pt x="284" y="187"/>
                </a:cubicBezTo>
                <a:cubicBezTo>
                  <a:pt x="319" y="231"/>
                  <a:pt x="319" y="231"/>
                  <a:pt x="319" y="231"/>
                </a:cubicBezTo>
                <a:cubicBezTo>
                  <a:pt x="364" y="187"/>
                  <a:pt x="364" y="187"/>
                  <a:pt x="364" y="187"/>
                </a:cubicBezTo>
                <a:cubicBezTo>
                  <a:pt x="372" y="178"/>
                  <a:pt x="391" y="169"/>
                  <a:pt x="408" y="178"/>
                </a:cubicBezTo>
                <a:cubicBezTo>
                  <a:pt x="452" y="187"/>
                  <a:pt x="470" y="169"/>
                  <a:pt x="488" y="143"/>
                </a:cubicBezTo>
                <a:cubicBezTo>
                  <a:pt x="497" y="116"/>
                  <a:pt x="497" y="72"/>
                  <a:pt x="497" y="63"/>
                </a:cubicBezTo>
                <a:close/>
                <a:moveTo>
                  <a:pt x="72" y="400"/>
                </a:moveTo>
                <a:lnTo>
                  <a:pt x="72" y="400"/>
                </a:lnTo>
                <a:cubicBezTo>
                  <a:pt x="62" y="408"/>
                  <a:pt x="62" y="417"/>
                  <a:pt x="72" y="417"/>
                </a:cubicBezTo>
                <a:cubicBezTo>
                  <a:pt x="89" y="444"/>
                  <a:pt x="89" y="444"/>
                  <a:pt x="89" y="444"/>
                </a:cubicBezTo>
                <a:cubicBezTo>
                  <a:pt x="97" y="444"/>
                  <a:pt x="107" y="444"/>
                  <a:pt x="107" y="435"/>
                </a:cubicBezTo>
                <a:cubicBezTo>
                  <a:pt x="231" y="320"/>
                  <a:pt x="231" y="320"/>
                  <a:pt x="231" y="320"/>
                </a:cubicBezTo>
                <a:cubicBezTo>
                  <a:pt x="195" y="275"/>
                  <a:pt x="195" y="275"/>
                  <a:pt x="195" y="275"/>
                </a:cubicBezTo>
                <a:lnTo>
                  <a:pt x="72" y="400"/>
                </a:lnTo>
                <a:close/>
              </a:path>
            </a:pathLst>
          </a:custGeom>
          <a:solidFill>
            <a:schemeClr val="bg1"/>
          </a:solidFill>
          <a:ln>
            <a:noFill/>
          </a:ln>
          <a:effectLst/>
        </p:spPr>
        <p:txBody>
          <a:bodyPr wrap="none" lIns="17145" tIns="8573" rIns="17145" bIns="8573"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 name="Freeform 116">
            <a:extLst>
              <a:ext uri="{FF2B5EF4-FFF2-40B4-BE49-F238E27FC236}">
                <a16:creationId xmlns:a16="http://schemas.microsoft.com/office/drawing/2014/main" id="{DB0925B5-CE28-4BBD-9EF1-57546AC40454}"/>
              </a:ext>
            </a:extLst>
          </p:cNvPr>
          <p:cNvSpPr>
            <a:spLocks noChangeArrowheads="1"/>
          </p:cNvSpPr>
          <p:nvPr/>
        </p:nvSpPr>
        <p:spPr bwMode="auto">
          <a:xfrm>
            <a:off x="4789688" y="3975121"/>
            <a:ext cx="392465" cy="404924"/>
          </a:xfrm>
          <a:custGeom>
            <a:avLst/>
            <a:gdLst>
              <a:gd name="T0" fmla="*/ 400 w 445"/>
              <a:gd name="T1" fmla="*/ 159 h 462"/>
              <a:gd name="T2" fmla="*/ 400 w 445"/>
              <a:gd name="T3" fmla="*/ 159 h 462"/>
              <a:gd name="T4" fmla="*/ 266 w 445"/>
              <a:gd name="T5" fmla="*/ 8 h 462"/>
              <a:gd name="T6" fmla="*/ 36 w 445"/>
              <a:gd name="T7" fmla="*/ 248 h 462"/>
              <a:gd name="T8" fmla="*/ 9 w 445"/>
              <a:gd name="T9" fmla="*/ 319 h 462"/>
              <a:gd name="T10" fmla="*/ 81 w 445"/>
              <a:gd name="T11" fmla="*/ 355 h 462"/>
              <a:gd name="T12" fmla="*/ 98 w 445"/>
              <a:gd name="T13" fmla="*/ 346 h 462"/>
              <a:gd name="T14" fmla="*/ 134 w 445"/>
              <a:gd name="T15" fmla="*/ 372 h 462"/>
              <a:gd name="T16" fmla="*/ 160 w 445"/>
              <a:gd name="T17" fmla="*/ 434 h 462"/>
              <a:gd name="T18" fmla="*/ 187 w 445"/>
              <a:gd name="T19" fmla="*/ 452 h 462"/>
              <a:gd name="T20" fmla="*/ 240 w 445"/>
              <a:gd name="T21" fmla="*/ 434 h 462"/>
              <a:gd name="T22" fmla="*/ 249 w 445"/>
              <a:gd name="T23" fmla="*/ 416 h 462"/>
              <a:gd name="T24" fmla="*/ 231 w 445"/>
              <a:gd name="T25" fmla="*/ 390 h 462"/>
              <a:gd name="T26" fmla="*/ 204 w 445"/>
              <a:gd name="T27" fmla="*/ 337 h 462"/>
              <a:gd name="T28" fmla="*/ 231 w 445"/>
              <a:gd name="T29" fmla="*/ 310 h 462"/>
              <a:gd name="T30" fmla="*/ 417 w 445"/>
              <a:gd name="T31" fmla="*/ 355 h 462"/>
              <a:gd name="T32" fmla="*/ 400 w 445"/>
              <a:gd name="T33" fmla="*/ 159 h 462"/>
              <a:gd name="T34" fmla="*/ 390 w 445"/>
              <a:gd name="T35" fmla="*/ 310 h 462"/>
              <a:gd name="T36" fmla="*/ 390 w 445"/>
              <a:gd name="T37" fmla="*/ 310 h 462"/>
              <a:gd name="T38" fmla="*/ 302 w 445"/>
              <a:gd name="T39" fmla="*/ 204 h 462"/>
              <a:gd name="T40" fmla="*/ 284 w 445"/>
              <a:gd name="T41" fmla="*/ 62 h 462"/>
              <a:gd name="T42" fmla="*/ 364 w 445"/>
              <a:gd name="T43" fmla="*/ 177 h 462"/>
              <a:gd name="T44" fmla="*/ 390 w 445"/>
              <a:gd name="T45" fmla="*/ 310 h 4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45" h="462">
                <a:moveTo>
                  <a:pt x="400" y="159"/>
                </a:moveTo>
                <a:lnTo>
                  <a:pt x="400" y="159"/>
                </a:lnTo>
                <a:cubicBezTo>
                  <a:pt x="364" y="71"/>
                  <a:pt x="302" y="0"/>
                  <a:pt x="266" y="8"/>
                </a:cubicBezTo>
                <a:cubicBezTo>
                  <a:pt x="213" y="36"/>
                  <a:pt x="302" y="142"/>
                  <a:pt x="36" y="248"/>
                </a:cubicBezTo>
                <a:cubicBezTo>
                  <a:pt x="9" y="257"/>
                  <a:pt x="0" y="292"/>
                  <a:pt x="9" y="319"/>
                </a:cubicBezTo>
                <a:cubicBezTo>
                  <a:pt x="18" y="337"/>
                  <a:pt x="53" y="363"/>
                  <a:pt x="81" y="355"/>
                </a:cubicBezTo>
                <a:lnTo>
                  <a:pt x="98" y="346"/>
                </a:lnTo>
                <a:cubicBezTo>
                  <a:pt x="116" y="372"/>
                  <a:pt x="134" y="355"/>
                  <a:pt x="134" y="372"/>
                </a:cubicBezTo>
                <a:cubicBezTo>
                  <a:pt x="143" y="390"/>
                  <a:pt x="160" y="425"/>
                  <a:pt x="160" y="434"/>
                </a:cubicBezTo>
                <a:cubicBezTo>
                  <a:pt x="169" y="443"/>
                  <a:pt x="178" y="461"/>
                  <a:pt x="187" y="452"/>
                </a:cubicBezTo>
                <a:cubicBezTo>
                  <a:pt x="196" y="452"/>
                  <a:pt x="231" y="443"/>
                  <a:pt x="240" y="434"/>
                </a:cubicBezTo>
                <a:cubicBezTo>
                  <a:pt x="257" y="434"/>
                  <a:pt x="257" y="425"/>
                  <a:pt x="249" y="416"/>
                </a:cubicBezTo>
                <a:cubicBezTo>
                  <a:pt x="249" y="408"/>
                  <a:pt x="231" y="399"/>
                  <a:pt x="231" y="390"/>
                </a:cubicBezTo>
                <a:cubicBezTo>
                  <a:pt x="222" y="381"/>
                  <a:pt x="213" y="346"/>
                  <a:pt x="204" y="337"/>
                </a:cubicBezTo>
                <a:cubicBezTo>
                  <a:pt x="196" y="328"/>
                  <a:pt x="213" y="310"/>
                  <a:pt x="231" y="310"/>
                </a:cubicBezTo>
                <a:cubicBezTo>
                  <a:pt x="355" y="302"/>
                  <a:pt x="373" y="372"/>
                  <a:pt x="417" y="355"/>
                </a:cubicBezTo>
                <a:cubicBezTo>
                  <a:pt x="444" y="346"/>
                  <a:pt x="444" y="248"/>
                  <a:pt x="400" y="159"/>
                </a:cubicBezTo>
                <a:close/>
                <a:moveTo>
                  <a:pt x="390" y="310"/>
                </a:moveTo>
                <a:lnTo>
                  <a:pt x="390" y="310"/>
                </a:lnTo>
                <a:cubicBezTo>
                  <a:pt x="381" y="310"/>
                  <a:pt x="328" y="275"/>
                  <a:pt x="302" y="204"/>
                </a:cubicBezTo>
                <a:cubicBezTo>
                  <a:pt x="275" y="133"/>
                  <a:pt x="275" y="62"/>
                  <a:pt x="284" y="62"/>
                </a:cubicBezTo>
                <a:cubicBezTo>
                  <a:pt x="293" y="62"/>
                  <a:pt x="337" y="106"/>
                  <a:pt x="364" y="177"/>
                </a:cubicBezTo>
                <a:cubicBezTo>
                  <a:pt x="400" y="248"/>
                  <a:pt x="390" y="302"/>
                  <a:pt x="390" y="310"/>
                </a:cubicBezTo>
                <a:close/>
              </a:path>
            </a:pathLst>
          </a:custGeom>
          <a:solidFill>
            <a:schemeClr val="bg1"/>
          </a:solidFill>
          <a:ln>
            <a:noFill/>
          </a:ln>
          <a:effectLst/>
        </p:spPr>
        <p:txBody>
          <a:bodyPr wrap="none" lIns="17145" tIns="8573" rIns="17145" bIns="8573"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 name="Freeform 123">
            <a:extLst>
              <a:ext uri="{FF2B5EF4-FFF2-40B4-BE49-F238E27FC236}">
                <a16:creationId xmlns:a16="http://schemas.microsoft.com/office/drawing/2014/main" id="{48E7033E-6C16-47E6-8C3B-A6055A2A354E}"/>
              </a:ext>
            </a:extLst>
          </p:cNvPr>
          <p:cNvSpPr>
            <a:spLocks noChangeArrowheads="1"/>
          </p:cNvSpPr>
          <p:nvPr/>
        </p:nvSpPr>
        <p:spPr bwMode="auto">
          <a:xfrm>
            <a:off x="5810972" y="3074027"/>
            <a:ext cx="398695" cy="408038"/>
          </a:xfrm>
          <a:custGeom>
            <a:avLst/>
            <a:gdLst>
              <a:gd name="T0" fmla="*/ 275 w 452"/>
              <a:gd name="T1" fmla="*/ 301 h 462"/>
              <a:gd name="T2" fmla="*/ 275 w 452"/>
              <a:gd name="T3" fmla="*/ 301 h 462"/>
              <a:gd name="T4" fmla="*/ 434 w 452"/>
              <a:gd name="T5" fmla="*/ 26 h 462"/>
              <a:gd name="T6" fmla="*/ 434 w 452"/>
              <a:gd name="T7" fmla="*/ 18 h 462"/>
              <a:gd name="T8" fmla="*/ 425 w 452"/>
              <a:gd name="T9" fmla="*/ 18 h 462"/>
              <a:gd name="T10" fmla="*/ 159 w 452"/>
              <a:gd name="T11" fmla="*/ 178 h 462"/>
              <a:gd name="T12" fmla="*/ 9 w 452"/>
              <a:gd name="T13" fmla="*/ 301 h 462"/>
              <a:gd name="T14" fmla="*/ 35 w 452"/>
              <a:gd name="T15" fmla="*/ 328 h 462"/>
              <a:gd name="T16" fmla="*/ 88 w 452"/>
              <a:gd name="T17" fmla="*/ 310 h 462"/>
              <a:gd name="T18" fmla="*/ 151 w 452"/>
              <a:gd name="T19" fmla="*/ 372 h 462"/>
              <a:gd name="T20" fmla="*/ 133 w 452"/>
              <a:gd name="T21" fmla="*/ 425 h 462"/>
              <a:gd name="T22" fmla="*/ 151 w 452"/>
              <a:gd name="T23" fmla="*/ 452 h 462"/>
              <a:gd name="T24" fmla="*/ 275 w 452"/>
              <a:gd name="T25" fmla="*/ 301 h 462"/>
              <a:gd name="T26" fmla="*/ 301 w 452"/>
              <a:gd name="T27" fmla="*/ 150 h 462"/>
              <a:gd name="T28" fmla="*/ 301 w 452"/>
              <a:gd name="T29" fmla="*/ 150 h 462"/>
              <a:gd name="T30" fmla="*/ 301 w 452"/>
              <a:gd name="T31" fmla="*/ 97 h 462"/>
              <a:gd name="T32" fmla="*/ 354 w 452"/>
              <a:gd name="T33" fmla="*/ 97 h 462"/>
              <a:gd name="T34" fmla="*/ 354 w 452"/>
              <a:gd name="T35" fmla="*/ 150 h 462"/>
              <a:gd name="T36" fmla="*/ 301 w 452"/>
              <a:gd name="T37" fmla="*/ 150 h 4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52" h="462">
                <a:moveTo>
                  <a:pt x="275" y="301"/>
                </a:moveTo>
                <a:lnTo>
                  <a:pt x="275" y="301"/>
                </a:lnTo>
                <a:cubicBezTo>
                  <a:pt x="275" y="301"/>
                  <a:pt x="451" y="169"/>
                  <a:pt x="434" y="26"/>
                </a:cubicBezTo>
                <a:lnTo>
                  <a:pt x="434" y="18"/>
                </a:lnTo>
                <a:cubicBezTo>
                  <a:pt x="425" y="18"/>
                  <a:pt x="425" y="18"/>
                  <a:pt x="425" y="18"/>
                </a:cubicBezTo>
                <a:cubicBezTo>
                  <a:pt x="284" y="0"/>
                  <a:pt x="159" y="178"/>
                  <a:pt x="159" y="178"/>
                </a:cubicBezTo>
                <a:cubicBezTo>
                  <a:pt x="53" y="159"/>
                  <a:pt x="62" y="186"/>
                  <a:pt x="9" y="301"/>
                </a:cubicBezTo>
                <a:cubicBezTo>
                  <a:pt x="0" y="328"/>
                  <a:pt x="18" y="328"/>
                  <a:pt x="35" y="328"/>
                </a:cubicBezTo>
                <a:cubicBezTo>
                  <a:pt x="53" y="319"/>
                  <a:pt x="88" y="310"/>
                  <a:pt x="88" y="310"/>
                </a:cubicBezTo>
                <a:cubicBezTo>
                  <a:pt x="151" y="372"/>
                  <a:pt x="151" y="372"/>
                  <a:pt x="151" y="372"/>
                </a:cubicBezTo>
                <a:cubicBezTo>
                  <a:pt x="151" y="372"/>
                  <a:pt x="141" y="407"/>
                  <a:pt x="133" y="425"/>
                </a:cubicBezTo>
                <a:cubicBezTo>
                  <a:pt x="124" y="443"/>
                  <a:pt x="133" y="461"/>
                  <a:pt x="151" y="452"/>
                </a:cubicBezTo>
                <a:cubicBezTo>
                  <a:pt x="266" y="398"/>
                  <a:pt x="292" y="407"/>
                  <a:pt x="275" y="301"/>
                </a:cubicBezTo>
                <a:close/>
                <a:moveTo>
                  <a:pt x="301" y="150"/>
                </a:moveTo>
                <a:lnTo>
                  <a:pt x="301" y="150"/>
                </a:lnTo>
                <a:cubicBezTo>
                  <a:pt x="284" y="133"/>
                  <a:pt x="284" y="115"/>
                  <a:pt x="301" y="97"/>
                </a:cubicBezTo>
                <a:cubicBezTo>
                  <a:pt x="319" y="80"/>
                  <a:pt x="345" y="80"/>
                  <a:pt x="354" y="97"/>
                </a:cubicBezTo>
                <a:cubicBezTo>
                  <a:pt x="372" y="115"/>
                  <a:pt x="372" y="133"/>
                  <a:pt x="354" y="150"/>
                </a:cubicBezTo>
                <a:cubicBezTo>
                  <a:pt x="345" y="169"/>
                  <a:pt x="319" y="169"/>
                  <a:pt x="301" y="150"/>
                </a:cubicBezTo>
                <a:close/>
              </a:path>
            </a:pathLst>
          </a:custGeom>
          <a:solidFill>
            <a:schemeClr val="bg1"/>
          </a:solidFill>
          <a:ln>
            <a:noFill/>
          </a:ln>
          <a:effectLst/>
        </p:spPr>
        <p:txBody>
          <a:bodyPr wrap="none" lIns="17145" tIns="8573" rIns="17145" bIns="8573"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 name="文本框 24">
            <a:extLst>
              <a:ext uri="{FF2B5EF4-FFF2-40B4-BE49-F238E27FC236}">
                <a16:creationId xmlns:a16="http://schemas.microsoft.com/office/drawing/2014/main" id="{C4FD778B-593D-420B-8550-2D633FD7A190}"/>
              </a:ext>
            </a:extLst>
          </p:cNvPr>
          <p:cNvSpPr txBox="1"/>
          <p:nvPr/>
        </p:nvSpPr>
        <p:spPr>
          <a:xfrm>
            <a:off x="4608252" y="918105"/>
            <a:ext cx="2975495" cy="52322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2800" b="0" i="0" u="none" strike="noStrike" kern="1200" cap="none" spc="0" normalizeH="0" baseline="0" noProof="0" dirty="0">
                <a:ln>
                  <a:noFill/>
                </a:ln>
                <a:solidFill>
                  <a:prstClr val="black"/>
                </a:solidFill>
                <a:effectLst/>
                <a:uLnTx/>
                <a:uFillTx/>
                <a:latin typeface="HarmonyOS Sans Black"/>
                <a:ea typeface="+mj-ea"/>
                <a:cs typeface="+mn-cs"/>
              </a:rPr>
              <a:t>Our </a:t>
            </a:r>
            <a:r>
              <a:rPr kumimoji="0" lang="en-US" altLang="zh-CN" sz="2800" b="0" i="0" u="none" strike="noStrike" kern="1200" cap="none" spc="0" normalizeH="0" baseline="0" noProof="0" dirty="0">
                <a:ln>
                  <a:noFill/>
                </a:ln>
                <a:solidFill>
                  <a:schemeClr val="accent1"/>
                </a:solidFill>
                <a:effectLst/>
                <a:uLnTx/>
                <a:uFillTx/>
                <a:latin typeface="HarmonyOS Sans Black"/>
                <a:ea typeface="+mj-ea"/>
                <a:cs typeface="+mn-cs"/>
              </a:rPr>
              <a:t>Infographic</a:t>
            </a:r>
          </a:p>
        </p:txBody>
      </p:sp>
      <p:sp>
        <p:nvSpPr>
          <p:cNvPr id="26" name="TextBox 48">
            <a:extLst>
              <a:ext uri="{FF2B5EF4-FFF2-40B4-BE49-F238E27FC236}">
                <a16:creationId xmlns:a16="http://schemas.microsoft.com/office/drawing/2014/main" id="{BDD07B0A-6719-4890-809F-1E5717DBBEA5}"/>
              </a:ext>
            </a:extLst>
          </p:cNvPr>
          <p:cNvSpPr txBox="1"/>
          <p:nvPr/>
        </p:nvSpPr>
        <p:spPr>
          <a:xfrm>
            <a:off x="1599406" y="3358591"/>
            <a:ext cx="2152650" cy="326628"/>
          </a:xfrm>
          <a:prstGeom prst="rect">
            <a:avLst/>
          </a:prstGeom>
          <a:noFill/>
        </p:spPr>
        <p:txBody>
          <a:bodyPr wrap="square" lIns="0" tIns="0" rIns="0" bIns="0" rtlCol="0">
            <a:spAutoFit/>
          </a:bodyPr>
          <a:lstStyle/>
          <a:p>
            <a:pPr marL="0" marR="0" lvl="0" indent="0" algn="r" defTabSz="457200" rtl="0" eaLnBrk="1" fontAlgn="base" latinLnBrk="0" hangingPunct="1">
              <a:lnSpc>
                <a:spcPct val="130000"/>
              </a:lnSpc>
              <a:spcBef>
                <a:spcPts val="1000"/>
              </a:spcBef>
              <a:spcAft>
                <a:spcPts val="0"/>
              </a:spcAft>
              <a:buClrTx/>
              <a:buSzTx/>
              <a:buFontTx/>
              <a:buNone/>
              <a:tabLst/>
              <a:defRPr/>
            </a:pPr>
            <a:r>
              <a:rPr kumimoji="0" lang="en-US" sz="1800" b="1" i="0" u="none" strike="noStrike" kern="1200" cap="none" spc="0" normalizeH="0" baseline="0" noProof="0" dirty="0">
                <a:ln>
                  <a:noFill/>
                </a:ln>
                <a:solidFill>
                  <a:prstClr val="black">
                    <a:lumMod val="75000"/>
                    <a:lumOff val="25000"/>
                  </a:prstClr>
                </a:solidFill>
                <a:effectLst/>
                <a:uLnTx/>
                <a:uFillTx/>
                <a:latin typeface="HarmonyOS Sans SC"/>
                <a:cs typeface="+mn-cs"/>
              </a:rPr>
              <a:t>Description here</a:t>
            </a:r>
            <a:endParaRPr kumimoji="0" lang="en-US" sz="1050" b="0" i="0" u="none" strike="noStrike" kern="1200" cap="none" spc="0" normalizeH="0" baseline="0" noProof="0" dirty="0">
              <a:ln>
                <a:noFill/>
              </a:ln>
              <a:solidFill>
                <a:prstClr val="black">
                  <a:lumMod val="75000"/>
                  <a:lumOff val="25000"/>
                </a:prstClr>
              </a:solidFill>
              <a:effectLst/>
              <a:uLnTx/>
              <a:uFillTx/>
              <a:latin typeface="HarmonyOS Sans SC"/>
              <a:cs typeface="+mn-cs"/>
            </a:endParaRPr>
          </a:p>
        </p:txBody>
      </p:sp>
      <p:sp>
        <p:nvSpPr>
          <p:cNvPr id="27" name="TextBox 48">
            <a:extLst>
              <a:ext uri="{FF2B5EF4-FFF2-40B4-BE49-F238E27FC236}">
                <a16:creationId xmlns:a16="http://schemas.microsoft.com/office/drawing/2014/main" id="{009DF465-00FD-4E6B-99CE-EA13A26567E6}"/>
              </a:ext>
            </a:extLst>
          </p:cNvPr>
          <p:cNvSpPr txBox="1"/>
          <p:nvPr/>
        </p:nvSpPr>
        <p:spPr>
          <a:xfrm>
            <a:off x="619918" y="3719174"/>
            <a:ext cx="3132138" cy="581569"/>
          </a:xfrm>
          <a:prstGeom prst="rect">
            <a:avLst/>
          </a:prstGeom>
          <a:noFill/>
        </p:spPr>
        <p:txBody>
          <a:bodyPr wrap="square" lIns="0" tIns="0" rIns="0" bIns="0" rtlCol="0">
            <a:spAutoFit/>
          </a:bodyPr>
          <a:lstStyle/>
          <a:p>
            <a:pPr marL="0" marR="0" lvl="0" indent="0" algn="r" defTabSz="457200" rtl="0" eaLnBrk="1" fontAlgn="base" latinLnBrk="0" hangingPunct="1">
              <a:lnSpc>
                <a:spcPct val="130000"/>
              </a:lnSpc>
              <a:spcBef>
                <a:spcPts val="100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HarmonyOS Sans SC"/>
                <a:cs typeface="+mn-cs"/>
              </a:rPr>
              <a:t>Lorem Ipsum has two main data statistical this methodologies important Data analysis which summarizes.</a:t>
            </a:r>
          </a:p>
        </p:txBody>
      </p:sp>
      <p:sp>
        <p:nvSpPr>
          <p:cNvPr id="28" name="TextBox 45">
            <a:extLst>
              <a:ext uri="{FF2B5EF4-FFF2-40B4-BE49-F238E27FC236}">
                <a16:creationId xmlns:a16="http://schemas.microsoft.com/office/drawing/2014/main" id="{3C12062E-EC31-4F8F-9266-4B104F8AC815}"/>
              </a:ext>
            </a:extLst>
          </p:cNvPr>
          <p:cNvSpPr txBox="1"/>
          <p:nvPr/>
        </p:nvSpPr>
        <p:spPr>
          <a:xfrm>
            <a:off x="1798638" y="4950118"/>
            <a:ext cx="2152650" cy="326628"/>
          </a:xfrm>
          <a:prstGeom prst="rect">
            <a:avLst/>
          </a:prstGeom>
          <a:noFill/>
        </p:spPr>
        <p:txBody>
          <a:bodyPr wrap="square" lIns="0" tIns="0" rIns="0" bIns="0" rtlCol="0">
            <a:spAutoFit/>
          </a:bodyPr>
          <a:lstStyle/>
          <a:p>
            <a:pPr marL="0" marR="0" lvl="0" indent="0" algn="r" defTabSz="457200" rtl="0" eaLnBrk="1" fontAlgn="base" latinLnBrk="0" hangingPunct="1">
              <a:lnSpc>
                <a:spcPct val="130000"/>
              </a:lnSpc>
              <a:spcBef>
                <a:spcPts val="1000"/>
              </a:spcBef>
              <a:spcAft>
                <a:spcPts val="0"/>
              </a:spcAft>
              <a:buClrTx/>
              <a:buSzTx/>
              <a:buFontTx/>
              <a:buNone/>
              <a:tabLst/>
              <a:defRPr/>
            </a:pPr>
            <a:r>
              <a:rPr kumimoji="0" lang="en-US" sz="1800" b="1" i="0" u="none" strike="noStrike" kern="1200" cap="none" spc="0" normalizeH="0" baseline="0" noProof="0">
                <a:ln>
                  <a:noFill/>
                </a:ln>
                <a:solidFill>
                  <a:prstClr val="black">
                    <a:lumMod val="75000"/>
                    <a:lumOff val="25000"/>
                  </a:prstClr>
                </a:solidFill>
                <a:effectLst/>
                <a:uLnTx/>
                <a:uFillTx/>
                <a:latin typeface="HarmonyOS Sans SC"/>
                <a:cs typeface="+mn-cs"/>
              </a:rPr>
              <a:t>Description here</a:t>
            </a:r>
            <a:endParaRPr kumimoji="0" lang="en-US" sz="1050" b="0" i="0" u="none" strike="noStrike" kern="1200" cap="none" spc="0" normalizeH="0" baseline="0" noProof="0" dirty="0">
              <a:ln>
                <a:noFill/>
              </a:ln>
              <a:solidFill>
                <a:prstClr val="black">
                  <a:lumMod val="75000"/>
                  <a:lumOff val="25000"/>
                </a:prstClr>
              </a:solidFill>
              <a:effectLst/>
              <a:uLnTx/>
              <a:uFillTx/>
              <a:latin typeface="HarmonyOS Sans SC"/>
              <a:cs typeface="+mn-cs"/>
            </a:endParaRPr>
          </a:p>
        </p:txBody>
      </p:sp>
      <p:sp>
        <p:nvSpPr>
          <p:cNvPr id="29" name="TextBox 45">
            <a:extLst>
              <a:ext uri="{FF2B5EF4-FFF2-40B4-BE49-F238E27FC236}">
                <a16:creationId xmlns:a16="http://schemas.microsoft.com/office/drawing/2014/main" id="{74E03D4F-8E6C-49AB-ADE8-E4069194CFE5}"/>
              </a:ext>
            </a:extLst>
          </p:cNvPr>
          <p:cNvSpPr txBox="1"/>
          <p:nvPr/>
        </p:nvSpPr>
        <p:spPr>
          <a:xfrm>
            <a:off x="819150" y="5310701"/>
            <a:ext cx="3132138" cy="581569"/>
          </a:xfrm>
          <a:prstGeom prst="rect">
            <a:avLst/>
          </a:prstGeom>
          <a:noFill/>
        </p:spPr>
        <p:txBody>
          <a:bodyPr wrap="square" lIns="0" tIns="0" rIns="0" bIns="0" rtlCol="0">
            <a:spAutoFit/>
          </a:bodyPr>
          <a:lstStyle/>
          <a:p>
            <a:pPr marL="0" marR="0" lvl="0" indent="0" algn="r" defTabSz="457200" rtl="0" eaLnBrk="1" fontAlgn="base" latinLnBrk="0" hangingPunct="1">
              <a:lnSpc>
                <a:spcPct val="130000"/>
              </a:lnSpc>
              <a:spcBef>
                <a:spcPts val="1000"/>
              </a:spcBef>
              <a:spcAft>
                <a:spcPts val="0"/>
              </a:spcAft>
              <a:buClrTx/>
              <a:buSzTx/>
              <a:buFontTx/>
              <a:buNone/>
              <a:tabLst/>
              <a:defRPr/>
            </a:pPr>
            <a:r>
              <a:rPr kumimoji="0" lang="en-US" sz="1000" b="0" i="0" u="none" strike="noStrike" kern="1200" cap="none" spc="0" normalizeH="0" baseline="0" noProof="0">
                <a:ln>
                  <a:noFill/>
                </a:ln>
                <a:solidFill>
                  <a:prstClr val="black">
                    <a:lumMod val="50000"/>
                    <a:lumOff val="50000"/>
                  </a:prstClr>
                </a:solidFill>
                <a:effectLst/>
                <a:uLnTx/>
                <a:uFillTx/>
                <a:latin typeface="HarmonyOS Sans SC"/>
                <a:cs typeface="+mn-cs"/>
              </a:rPr>
              <a:t>Lorem Ipsum has two main data statistical this methodologies important Data analysis which summarizes.</a:t>
            </a:r>
            <a:endParaRPr kumimoji="0" lang="en-US" sz="1000" b="0" i="0" u="none" strike="noStrike" kern="1200" cap="none" spc="0" normalizeH="0" baseline="0" noProof="0" dirty="0">
              <a:ln>
                <a:noFill/>
              </a:ln>
              <a:solidFill>
                <a:prstClr val="black">
                  <a:lumMod val="50000"/>
                  <a:lumOff val="50000"/>
                </a:prstClr>
              </a:solidFill>
              <a:effectLst/>
              <a:uLnTx/>
              <a:uFillTx/>
              <a:latin typeface="HarmonyOS Sans SC"/>
              <a:cs typeface="+mn-cs"/>
            </a:endParaRPr>
          </a:p>
        </p:txBody>
      </p:sp>
      <p:sp>
        <p:nvSpPr>
          <p:cNvPr id="30" name="TextBox 44">
            <a:extLst>
              <a:ext uri="{FF2B5EF4-FFF2-40B4-BE49-F238E27FC236}">
                <a16:creationId xmlns:a16="http://schemas.microsoft.com/office/drawing/2014/main" id="{0E174789-DE58-42BC-BEE0-497685689B2F}"/>
              </a:ext>
            </a:extLst>
          </p:cNvPr>
          <p:cNvSpPr txBox="1"/>
          <p:nvPr/>
        </p:nvSpPr>
        <p:spPr>
          <a:xfrm>
            <a:off x="7978903" y="4950118"/>
            <a:ext cx="2295525" cy="326628"/>
          </a:xfrm>
          <a:prstGeom prst="rect">
            <a:avLst/>
          </a:prstGeom>
          <a:noFill/>
        </p:spPr>
        <p:txBody>
          <a:bodyPr wrap="square" lIns="0" tIns="0" rIns="0" bIns="0" rtlCol="0">
            <a:spAutoFit/>
          </a:bodyPr>
          <a:lstStyle/>
          <a:p>
            <a:pPr marL="0" marR="0" lvl="0" indent="0" algn="l" defTabSz="457200" rtl="0" eaLnBrk="1" fontAlgn="base" latinLnBrk="0" hangingPunct="1">
              <a:lnSpc>
                <a:spcPct val="130000"/>
              </a:lnSpc>
              <a:spcBef>
                <a:spcPts val="1000"/>
              </a:spcBef>
              <a:spcAft>
                <a:spcPts val="0"/>
              </a:spcAft>
              <a:buClrTx/>
              <a:buSzTx/>
              <a:buFontTx/>
              <a:buNone/>
              <a:tabLst/>
              <a:defRPr/>
            </a:pPr>
            <a:r>
              <a:rPr kumimoji="0" lang="en-US" sz="1800" b="1" i="0" u="none" strike="noStrike" kern="1200" cap="none" spc="0" normalizeH="0" baseline="0" noProof="0">
                <a:ln>
                  <a:noFill/>
                </a:ln>
                <a:solidFill>
                  <a:prstClr val="black">
                    <a:lumMod val="75000"/>
                    <a:lumOff val="25000"/>
                  </a:prstClr>
                </a:solidFill>
                <a:effectLst/>
                <a:uLnTx/>
                <a:uFillTx/>
                <a:latin typeface="HarmonyOS Sans SC"/>
                <a:cs typeface="+mn-cs"/>
              </a:rPr>
              <a:t>Description here</a:t>
            </a:r>
            <a:endParaRPr kumimoji="0" lang="en-US" sz="1050" b="0" i="0" u="none" strike="noStrike" kern="1200" cap="none" spc="0" normalizeH="0" baseline="0" noProof="0" dirty="0">
              <a:ln>
                <a:noFill/>
              </a:ln>
              <a:solidFill>
                <a:prstClr val="black">
                  <a:lumMod val="75000"/>
                  <a:lumOff val="25000"/>
                </a:prstClr>
              </a:solidFill>
              <a:effectLst/>
              <a:uLnTx/>
              <a:uFillTx/>
              <a:latin typeface="HarmonyOS Sans SC"/>
              <a:cs typeface="+mn-cs"/>
            </a:endParaRPr>
          </a:p>
        </p:txBody>
      </p:sp>
      <p:sp>
        <p:nvSpPr>
          <p:cNvPr id="31" name="TextBox 44">
            <a:extLst>
              <a:ext uri="{FF2B5EF4-FFF2-40B4-BE49-F238E27FC236}">
                <a16:creationId xmlns:a16="http://schemas.microsoft.com/office/drawing/2014/main" id="{5684798F-B475-4E0B-99D1-3BC8685A6013}"/>
              </a:ext>
            </a:extLst>
          </p:cNvPr>
          <p:cNvSpPr txBox="1"/>
          <p:nvPr/>
        </p:nvSpPr>
        <p:spPr>
          <a:xfrm>
            <a:off x="7978903" y="5310701"/>
            <a:ext cx="2898647" cy="581569"/>
          </a:xfrm>
          <a:prstGeom prst="rect">
            <a:avLst/>
          </a:prstGeom>
          <a:noFill/>
        </p:spPr>
        <p:txBody>
          <a:bodyPr wrap="square" lIns="0" tIns="0" rIns="0" bIns="0" rtlCol="0">
            <a:spAutoFit/>
          </a:bodyPr>
          <a:lstStyle/>
          <a:p>
            <a:pPr marL="0" marR="0" lvl="0" indent="0" algn="l" defTabSz="457200" rtl="0" eaLnBrk="1" fontAlgn="base" latinLnBrk="0" hangingPunct="1">
              <a:lnSpc>
                <a:spcPct val="130000"/>
              </a:lnSpc>
              <a:spcBef>
                <a:spcPts val="1000"/>
              </a:spcBef>
              <a:spcAft>
                <a:spcPts val="0"/>
              </a:spcAft>
              <a:buClrTx/>
              <a:buSzTx/>
              <a:buFontTx/>
              <a:buNone/>
              <a:tabLst/>
              <a:defRPr/>
            </a:pPr>
            <a:r>
              <a:rPr kumimoji="0" lang="en-US" sz="1000" b="0" i="0" u="none" strike="noStrike" kern="1200" cap="none" spc="0" normalizeH="0" baseline="0" noProof="0">
                <a:ln>
                  <a:noFill/>
                </a:ln>
                <a:solidFill>
                  <a:prstClr val="black">
                    <a:lumMod val="50000"/>
                    <a:lumOff val="50000"/>
                  </a:prstClr>
                </a:solidFill>
                <a:effectLst/>
                <a:uLnTx/>
                <a:uFillTx/>
                <a:latin typeface="HarmonyOS Sans SC"/>
                <a:cs typeface="+mn-cs"/>
              </a:rPr>
              <a:t>Lorem Ipsum has two main data statistical this methodologies important Data analysis which summarizes.</a:t>
            </a:r>
            <a:endParaRPr kumimoji="0" lang="en-US" sz="1000" b="0" i="0" u="none" strike="noStrike" kern="1200" cap="none" spc="0" normalizeH="0" baseline="0" noProof="0" dirty="0">
              <a:ln>
                <a:noFill/>
              </a:ln>
              <a:solidFill>
                <a:prstClr val="black">
                  <a:lumMod val="50000"/>
                  <a:lumOff val="50000"/>
                </a:prstClr>
              </a:solidFill>
              <a:effectLst/>
              <a:uLnTx/>
              <a:uFillTx/>
              <a:latin typeface="HarmonyOS Sans SC"/>
              <a:cs typeface="+mn-cs"/>
            </a:endParaRPr>
          </a:p>
        </p:txBody>
      </p:sp>
      <p:sp>
        <p:nvSpPr>
          <p:cNvPr id="32" name="TextBox 46">
            <a:extLst>
              <a:ext uri="{FF2B5EF4-FFF2-40B4-BE49-F238E27FC236}">
                <a16:creationId xmlns:a16="http://schemas.microsoft.com/office/drawing/2014/main" id="{31ABC7D1-198B-4DCA-8F1B-0D618A5A18EB}"/>
              </a:ext>
            </a:extLst>
          </p:cNvPr>
          <p:cNvSpPr txBox="1"/>
          <p:nvPr/>
        </p:nvSpPr>
        <p:spPr>
          <a:xfrm>
            <a:off x="8429624" y="3359205"/>
            <a:ext cx="2295525" cy="326628"/>
          </a:xfrm>
          <a:prstGeom prst="rect">
            <a:avLst/>
          </a:prstGeom>
          <a:noFill/>
        </p:spPr>
        <p:txBody>
          <a:bodyPr wrap="square" lIns="0" tIns="0" rIns="0" bIns="0" rtlCol="0">
            <a:spAutoFit/>
          </a:bodyPr>
          <a:lstStyle/>
          <a:p>
            <a:pPr marL="0" marR="0" lvl="0" indent="0" algn="l" defTabSz="457200" rtl="0" eaLnBrk="1" fontAlgn="base" latinLnBrk="0" hangingPunct="1">
              <a:lnSpc>
                <a:spcPct val="130000"/>
              </a:lnSpc>
              <a:spcBef>
                <a:spcPts val="1000"/>
              </a:spcBef>
              <a:spcAft>
                <a:spcPts val="0"/>
              </a:spcAft>
              <a:buClrTx/>
              <a:buSzTx/>
              <a:buFontTx/>
              <a:buNone/>
              <a:tabLst/>
              <a:defRPr/>
            </a:pPr>
            <a:r>
              <a:rPr kumimoji="0" lang="en-US" sz="1800" b="1" i="0" u="none" strike="noStrike" kern="1200" cap="none" spc="0" normalizeH="0" baseline="0" noProof="0" dirty="0">
                <a:ln>
                  <a:noFill/>
                </a:ln>
                <a:solidFill>
                  <a:prstClr val="black">
                    <a:lumMod val="75000"/>
                    <a:lumOff val="25000"/>
                  </a:prstClr>
                </a:solidFill>
                <a:effectLst/>
                <a:uLnTx/>
                <a:uFillTx/>
                <a:latin typeface="HarmonyOS Sans SC"/>
                <a:cs typeface="+mn-cs"/>
              </a:rPr>
              <a:t>Description here</a:t>
            </a:r>
            <a:endParaRPr kumimoji="0" lang="en-US" sz="1050" b="0" i="0" u="none" strike="noStrike" kern="1200" cap="none" spc="0" normalizeH="0" baseline="0" noProof="0" dirty="0">
              <a:ln>
                <a:noFill/>
              </a:ln>
              <a:solidFill>
                <a:prstClr val="black">
                  <a:lumMod val="75000"/>
                  <a:lumOff val="25000"/>
                </a:prstClr>
              </a:solidFill>
              <a:effectLst/>
              <a:uLnTx/>
              <a:uFillTx/>
              <a:latin typeface="HarmonyOS Sans SC"/>
              <a:cs typeface="+mn-cs"/>
            </a:endParaRPr>
          </a:p>
        </p:txBody>
      </p:sp>
      <p:sp>
        <p:nvSpPr>
          <p:cNvPr id="33" name="TextBox 46">
            <a:extLst>
              <a:ext uri="{FF2B5EF4-FFF2-40B4-BE49-F238E27FC236}">
                <a16:creationId xmlns:a16="http://schemas.microsoft.com/office/drawing/2014/main" id="{0B063EB2-C9EF-4337-8D12-F0F279B3F6A5}"/>
              </a:ext>
            </a:extLst>
          </p:cNvPr>
          <p:cNvSpPr txBox="1"/>
          <p:nvPr/>
        </p:nvSpPr>
        <p:spPr>
          <a:xfrm>
            <a:off x="8429624" y="3719788"/>
            <a:ext cx="2898647" cy="581569"/>
          </a:xfrm>
          <a:prstGeom prst="rect">
            <a:avLst/>
          </a:prstGeom>
          <a:noFill/>
        </p:spPr>
        <p:txBody>
          <a:bodyPr wrap="square" lIns="0" tIns="0" rIns="0" bIns="0" rtlCol="0">
            <a:spAutoFit/>
          </a:bodyPr>
          <a:lstStyle/>
          <a:p>
            <a:pPr marL="0" marR="0" lvl="0" indent="0" algn="l" defTabSz="457200" rtl="0" eaLnBrk="1" fontAlgn="base" latinLnBrk="0" hangingPunct="1">
              <a:lnSpc>
                <a:spcPct val="130000"/>
              </a:lnSpc>
              <a:spcBef>
                <a:spcPts val="1000"/>
              </a:spcBef>
              <a:spcAft>
                <a:spcPts val="0"/>
              </a:spcAft>
              <a:buClrTx/>
              <a:buSzTx/>
              <a:buFontTx/>
              <a:buNone/>
              <a:tabLst/>
              <a:defRPr/>
            </a:pPr>
            <a:r>
              <a:rPr kumimoji="0" lang="en-US" sz="1000" b="0" i="0" u="none" strike="noStrike" kern="1200" cap="none" spc="0" normalizeH="0" baseline="0" noProof="0">
                <a:ln>
                  <a:noFill/>
                </a:ln>
                <a:solidFill>
                  <a:prstClr val="black">
                    <a:lumMod val="50000"/>
                    <a:lumOff val="50000"/>
                  </a:prstClr>
                </a:solidFill>
                <a:effectLst/>
                <a:uLnTx/>
                <a:uFillTx/>
                <a:latin typeface="HarmonyOS Sans SC"/>
                <a:cs typeface="+mn-cs"/>
              </a:rPr>
              <a:t>Lorem Ipsum has two main data statistical this methodologies important Data analysis which summarizes.</a:t>
            </a:r>
            <a:endParaRPr kumimoji="0" lang="en-US" sz="1000" b="0" i="0" u="none" strike="noStrike" kern="1200" cap="none" spc="0" normalizeH="0" baseline="0" noProof="0" dirty="0">
              <a:ln>
                <a:noFill/>
              </a:ln>
              <a:solidFill>
                <a:prstClr val="black">
                  <a:lumMod val="50000"/>
                  <a:lumOff val="50000"/>
                </a:prstClr>
              </a:solidFill>
              <a:effectLst/>
              <a:uLnTx/>
              <a:uFillTx/>
              <a:latin typeface="HarmonyOS Sans SC"/>
              <a:cs typeface="+mn-cs"/>
            </a:endParaRPr>
          </a:p>
        </p:txBody>
      </p:sp>
      <p:sp>
        <p:nvSpPr>
          <p:cNvPr id="34" name="TextBox 47">
            <a:extLst>
              <a:ext uri="{FF2B5EF4-FFF2-40B4-BE49-F238E27FC236}">
                <a16:creationId xmlns:a16="http://schemas.microsoft.com/office/drawing/2014/main" id="{8222467A-B5DE-4235-BC34-84EFE471DD2B}"/>
              </a:ext>
            </a:extLst>
          </p:cNvPr>
          <p:cNvSpPr txBox="1"/>
          <p:nvPr/>
        </p:nvSpPr>
        <p:spPr>
          <a:xfrm>
            <a:off x="4948238" y="1701012"/>
            <a:ext cx="2295525" cy="326628"/>
          </a:xfrm>
          <a:prstGeom prst="rect">
            <a:avLst/>
          </a:prstGeom>
          <a:noFill/>
        </p:spPr>
        <p:txBody>
          <a:bodyPr wrap="square" lIns="0" tIns="0" rIns="0" bIns="0" rtlCol="0">
            <a:spAutoFit/>
          </a:bodyPr>
          <a:lstStyle/>
          <a:p>
            <a:pPr marL="0" marR="0" lvl="0" indent="0" algn="ctr" defTabSz="457200" rtl="0" eaLnBrk="1" fontAlgn="base" latinLnBrk="0" hangingPunct="1">
              <a:lnSpc>
                <a:spcPct val="130000"/>
              </a:lnSpc>
              <a:spcBef>
                <a:spcPts val="1000"/>
              </a:spcBef>
              <a:spcAft>
                <a:spcPts val="0"/>
              </a:spcAft>
              <a:buClrTx/>
              <a:buSzTx/>
              <a:buFontTx/>
              <a:buNone/>
              <a:tabLst/>
              <a:defRPr/>
            </a:pPr>
            <a:r>
              <a:rPr kumimoji="0" lang="en-US" sz="1800" b="1" i="0" u="none" strike="noStrike" kern="1200" cap="none" spc="0" normalizeH="0" baseline="0" noProof="0" dirty="0">
                <a:ln>
                  <a:noFill/>
                </a:ln>
                <a:solidFill>
                  <a:prstClr val="black">
                    <a:lumMod val="75000"/>
                    <a:lumOff val="25000"/>
                  </a:prstClr>
                </a:solidFill>
                <a:effectLst/>
                <a:uLnTx/>
                <a:uFillTx/>
                <a:latin typeface="HarmonyOS Sans SC"/>
                <a:cs typeface="+mn-cs"/>
              </a:rPr>
              <a:t>Description here</a:t>
            </a:r>
          </a:p>
        </p:txBody>
      </p:sp>
      <p:sp>
        <p:nvSpPr>
          <p:cNvPr id="35" name="TextBox 47">
            <a:extLst>
              <a:ext uri="{FF2B5EF4-FFF2-40B4-BE49-F238E27FC236}">
                <a16:creationId xmlns:a16="http://schemas.microsoft.com/office/drawing/2014/main" id="{8C58EE94-8FB8-4EF4-9577-B2366646D9F3}"/>
              </a:ext>
            </a:extLst>
          </p:cNvPr>
          <p:cNvSpPr txBox="1"/>
          <p:nvPr/>
        </p:nvSpPr>
        <p:spPr>
          <a:xfrm>
            <a:off x="4646677" y="2061595"/>
            <a:ext cx="2898647" cy="381515"/>
          </a:xfrm>
          <a:prstGeom prst="rect">
            <a:avLst/>
          </a:prstGeom>
          <a:noFill/>
        </p:spPr>
        <p:txBody>
          <a:bodyPr wrap="square" lIns="0" tIns="0" rIns="0" bIns="0" rtlCol="0">
            <a:spAutoFit/>
          </a:bodyPr>
          <a:lstStyle/>
          <a:p>
            <a:pPr marL="0" marR="0" lvl="0" indent="0" algn="ctr" defTabSz="457200" rtl="0" eaLnBrk="1" fontAlgn="base" latinLnBrk="0" hangingPunct="1">
              <a:lnSpc>
                <a:spcPct val="130000"/>
              </a:lnSpc>
              <a:spcBef>
                <a:spcPts val="100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HarmonyOS Sans SC"/>
                <a:cs typeface="+mn-cs"/>
              </a:rPr>
              <a:t>Lorem Ipsum has two main data statistical this methodologies important</a:t>
            </a:r>
          </a:p>
        </p:txBody>
      </p:sp>
    </p:spTree>
    <p:extLst>
      <p:ext uri="{BB962C8B-B14F-4D97-AF65-F5344CB8AC3E}">
        <p14:creationId xmlns:p14="http://schemas.microsoft.com/office/powerpoint/2010/main" val="275830662"/>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5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reeform 5">
            <a:extLst>
              <a:ext uri="{FF2B5EF4-FFF2-40B4-BE49-F238E27FC236}">
                <a16:creationId xmlns:a16="http://schemas.microsoft.com/office/drawing/2014/main" id="{9BE5CAA3-05DE-4FE2-83BF-612B6A269E0C}"/>
              </a:ext>
            </a:extLst>
          </p:cNvPr>
          <p:cNvSpPr>
            <a:spLocks/>
          </p:cNvSpPr>
          <p:nvPr/>
        </p:nvSpPr>
        <p:spPr bwMode="auto">
          <a:xfrm>
            <a:off x="6132179" y="1985623"/>
            <a:ext cx="1519536" cy="1559736"/>
          </a:xfrm>
          <a:custGeom>
            <a:avLst/>
            <a:gdLst>
              <a:gd name="T0" fmla="*/ 0 w 650"/>
              <a:gd name="T1" fmla="*/ 104 h 668"/>
              <a:gd name="T2" fmla="*/ 7 w 650"/>
              <a:gd name="T3" fmla="*/ 118 h 668"/>
              <a:gd name="T4" fmla="*/ 24 w 650"/>
              <a:gd name="T5" fmla="*/ 112 h 668"/>
              <a:gd name="T6" fmla="*/ 67 w 650"/>
              <a:gd name="T7" fmla="*/ 96 h 668"/>
              <a:gd name="T8" fmla="*/ 134 w 650"/>
              <a:gd name="T9" fmla="*/ 164 h 668"/>
              <a:gd name="T10" fmla="*/ 67 w 650"/>
              <a:gd name="T11" fmla="*/ 232 h 668"/>
              <a:gd name="T12" fmla="*/ 22 w 650"/>
              <a:gd name="T13" fmla="*/ 215 h 668"/>
              <a:gd name="T14" fmla="*/ 7 w 650"/>
              <a:gd name="T15" fmla="*/ 210 h 668"/>
              <a:gd name="T16" fmla="*/ 0 w 650"/>
              <a:gd name="T17" fmla="*/ 224 h 668"/>
              <a:gd name="T18" fmla="*/ 0 w 650"/>
              <a:gd name="T19" fmla="*/ 333 h 668"/>
              <a:gd name="T20" fmla="*/ 334 w 650"/>
              <a:gd name="T21" fmla="*/ 584 h 668"/>
              <a:gd name="T22" fmla="*/ 336 w 650"/>
              <a:gd name="T23" fmla="*/ 588 h 668"/>
              <a:gd name="T24" fmla="*/ 438 w 650"/>
              <a:gd name="T25" fmla="*/ 555 h 668"/>
              <a:gd name="T26" fmla="*/ 439 w 650"/>
              <a:gd name="T27" fmla="*/ 555 h 668"/>
              <a:gd name="T28" fmla="*/ 470 w 650"/>
              <a:gd name="T29" fmla="*/ 562 h 668"/>
              <a:gd name="T30" fmla="*/ 474 w 650"/>
              <a:gd name="T31" fmla="*/ 594 h 668"/>
              <a:gd name="T32" fmla="*/ 473 w 650"/>
              <a:gd name="T33" fmla="*/ 596 h 668"/>
              <a:gd name="T34" fmla="*/ 471 w 650"/>
              <a:gd name="T35" fmla="*/ 632 h 668"/>
              <a:gd name="T36" fmla="*/ 496 w 650"/>
              <a:gd name="T37" fmla="*/ 661 h 668"/>
              <a:gd name="T38" fmla="*/ 536 w 650"/>
              <a:gd name="T39" fmla="*/ 664 h 668"/>
              <a:gd name="T40" fmla="*/ 569 w 650"/>
              <a:gd name="T41" fmla="*/ 600 h 668"/>
              <a:gd name="T42" fmla="*/ 547 w 650"/>
              <a:gd name="T43" fmla="*/ 573 h 668"/>
              <a:gd name="T44" fmla="*/ 545 w 650"/>
              <a:gd name="T45" fmla="*/ 572 h 668"/>
              <a:gd name="T46" fmla="*/ 529 w 650"/>
              <a:gd name="T47" fmla="*/ 543 h 668"/>
              <a:gd name="T48" fmla="*/ 550 w 650"/>
              <a:gd name="T49" fmla="*/ 518 h 668"/>
              <a:gd name="T50" fmla="*/ 551 w 650"/>
              <a:gd name="T51" fmla="*/ 518 h 668"/>
              <a:gd name="T52" fmla="*/ 650 w 650"/>
              <a:gd name="T53" fmla="*/ 486 h 668"/>
              <a:gd name="T54" fmla="*/ 648 w 650"/>
              <a:gd name="T55" fmla="*/ 475 h 668"/>
              <a:gd name="T56" fmla="*/ 648 w 650"/>
              <a:gd name="T57" fmla="*/ 473 h 668"/>
              <a:gd name="T58" fmla="*/ 0 w 650"/>
              <a:gd name="T59" fmla="*/ 0 h 668"/>
              <a:gd name="T60" fmla="*/ 0 w 650"/>
              <a:gd name="T61" fmla="*/ 104 h 6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650" h="668">
                <a:moveTo>
                  <a:pt x="0" y="104"/>
                </a:moveTo>
                <a:cubicBezTo>
                  <a:pt x="0" y="108"/>
                  <a:pt x="3" y="116"/>
                  <a:pt x="7" y="118"/>
                </a:cubicBezTo>
                <a:cubicBezTo>
                  <a:pt x="11" y="119"/>
                  <a:pt x="16" y="117"/>
                  <a:pt x="24" y="112"/>
                </a:cubicBezTo>
                <a:cubicBezTo>
                  <a:pt x="36" y="102"/>
                  <a:pt x="51" y="96"/>
                  <a:pt x="67" y="96"/>
                </a:cubicBezTo>
                <a:cubicBezTo>
                  <a:pt x="104" y="96"/>
                  <a:pt x="134" y="127"/>
                  <a:pt x="134" y="164"/>
                </a:cubicBezTo>
                <a:cubicBezTo>
                  <a:pt x="134" y="202"/>
                  <a:pt x="104" y="232"/>
                  <a:pt x="67" y="232"/>
                </a:cubicBezTo>
                <a:cubicBezTo>
                  <a:pt x="50" y="232"/>
                  <a:pt x="35" y="226"/>
                  <a:pt x="22" y="215"/>
                </a:cubicBezTo>
                <a:cubicBezTo>
                  <a:pt x="16" y="210"/>
                  <a:pt x="10" y="209"/>
                  <a:pt x="7" y="210"/>
                </a:cubicBezTo>
                <a:cubicBezTo>
                  <a:pt x="3" y="212"/>
                  <a:pt x="0" y="220"/>
                  <a:pt x="0" y="224"/>
                </a:cubicBezTo>
                <a:cubicBezTo>
                  <a:pt x="0" y="333"/>
                  <a:pt x="0" y="333"/>
                  <a:pt x="0" y="333"/>
                </a:cubicBezTo>
                <a:cubicBezTo>
                  <a:pt x="155" y="340"/>
                  <a:pt x="286" y="442"/>
                  <a:pt x="334" y="584"/>
                </a:cubicBezTo>
                <a:cubicBezTo>
                  <a:pt x="336" y="588"/>
                  <a:pt x="336" y="588"/>
                  <a:pt x="336" y="588"/>
                </a:cubicBezTo>
                <a:cubicBezTo>
                  <a:pt x="438" y="555"/>
                  <a:pt x="438" y="555"/>
                  <a:pt x="438" y="555"/>
                </a:cubicBezTo>
                <a:cubicBezTo>
                  <a:pt x="438" y="555"/>
                  <a:pt x="438" y="555"/>
                  <a:pt x="439" y="555"/>
                </a:cubicBezTo>
                <a:cubicBezTo>
                  <a:pt x="441" y="554"/>
                  <a:pt x="459" y="551"/>
                  <a:pt x="470" y="562"/>
                </a:cubicBezTo>
                <a:cubicBezTo>
                  <a:pt x="476" y="569"/>
                  <a:pt x="478" y="580"/>
                  <a:pt x="474" y="594"/>
                </a:cubicBezTo>
                <a:cubicBezTo>
                  <a:pt x="474" y="595"/>
                  <a:pt x="474" y="595"/>
                  <a:pt x="473" y="596"/>
                </a:cubicBezTo>
                <a:cubicBezTo>
                  <a:pt x="468" y="607"/>
                  <a:pt x="467" y="620"/>
                  <a:pt x="471" y="632"/>
                </a:cubicBezTo>
                <a:cubicBezTo>
                  <a:pt x="475" y="645"/>
                  <a:pt x="484" y="655"/>
                  <a:pt x="496" y="661"/>
                </a:cubicBezTo>
                <a:cubicBezTo>
                  <a:pt x="508" y="667"/>
                  <a:pt x="522" y="668"/>
                  <a:pt x="536" y="664"/>
                </a:cubicBezTo>
                <a:cubicBezTo>
                  <a:pt x="563" y="655"/>
                  <a:pt x="578" y="626"/>
                  <a:pt x="569" y="600"/>
                </a:cubicBezTo>
                <a:cubicBezTo>
                  <a:pt x="565" y="589"/>
                  <a:pt x="557" y="579"/>
                  <a:pt x="547" y="573"/>
                </a:cubicBezTo>
                <a:cubicBezTo>
                  <a:pt x="546" y="572"/>
                  <a:pt x="546" y="572"/>
                  <a:pt x="545" y="572"/>
                </a:cubicBezTo>
                <a:cubicBezTo>
                  <a:pt x="534" y="562"/>
                  <a:pt x="528" y="553"/>
                  <a:pt x="529" y="543"/>
                </a:cubicBezTo>
                <a:cubicBezTo>
                  <a:pt x="531" y="527"/>
                  <a:pt x="548" y="519"/>
                  <a:pt x="550" y="518"/>
                </a:cubicBezTo>
                <a:cubicBezTo>
                  <a:pt x="550" y="518"/>
                  <a:pt x="551" y="518"/>
                  <a:pt x="551" y="518"/>
                </a:cubicBezTo>
                <a:cubicBezTo>
                  <a:pt x="650" y="486"/>
                  <a:pt x="650" y="486"/>
                  <a:pt x="650" y="486"/>
                </a:cubicBezTo>
                <a:cubicBezTo>
                  <a:pt x="648" y="475"/>
                  <a:pt x="648" y="475"/>
                  <a:pt x="648" y="475"/>
                </a:cubicBezTo>
                <a:cubicBezTo>
                  <a:pt x="648" y="475"/>
                  <a:pt x="648" y="474"/>
                  <a:pt x="648" y="473"/>
                </a:cubicBezTo>
                <a:cubicBezTo>
                  <a:pt x="555" y="202"/>
                  <a:pt x="301" y="6"/>
                  <a:pt x="0" y="0"/>
                </a:cubicBezTo>
                <a:lnTo>
                  <a:pt x="0" y="104"/>
                </a:lnTo>
                <a:close/>
              </a:path>
            </a:pathLst>
          </a:custGeom>
          <a:gradFill flip="none" rotWithShape="1">
            <a:gsLst>
              <a:gs pos="73000">
                <a:schemeClr val="accent1"/>
              </a:gs>
              <a:gs pos="31000">
                <a:schemeClr val="accent1">
                  <a:lumMod val="60000"/>
                  <a:lumOff val="40000"/>
                </a:schemeClr>
              </a:gs>
              <a:gs pos="0">
                <a:schemeClr val="accent1">
                  <a:lumMod val="40000"/>
                  <a:lumOff val="60000"/>
                </a:schemeClr>
              </a:gs>
            </a:gsLst>
            <a:lin ang="162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5" name="Freeform 6">
            <a:extLst>
              <a:ext uri="{FF2B5EF4-FFF2-40B4-BE49-F238E27FC236}">
                <a16:creationId xmlns:a16="http://schemas.microsoft.com/office/drawing/2014/main" id="{F0BAF947-BBA3-42CE-B275-8BC6C65AFC6C}"/>
              </a:ext>
            </a:extLst>
          </p:cNvPr>
          <p:cNvSpPr>
            <a:spLocks/>
          </p:cNvSpPr>
          <p:nvPr/>
        </p:nvSpPr>
        <p:spPr bwMode="auto">
          <a:xfrm>
            <a:off x="4454525" y="2916909"/>
            <a:ext cx="1098783" cy="2009969"/>
          </a:xfrm>
          <a:custGeom>
            <a:avLst/>
            <a:gdLst>
              <a:gd name="T0" fmla="*/ 335 w 470"/>
              <a:gd name="T1" fmla="*/ 777 h 860"/>
              <a:gd name="T2" fmla="*/ 337 w 470"/>
              <a:gd name="T3" fmla="*/ 761 h 860"/>
              <a:gd name="T4" fmla="*/ 321 w 470"/>
              <a:gd name="T5" fmla="*/ 756 h 860"/>
              <a:gd name="T6" fmla="*/ 276 w 470"/>
              <a:gd name="T7" fmla="*/ 743 h 860"/>
              <a:gd name="T8" fmla="*/ 262 w 470"/>
              <a:gd name="T9" fmla="*/ 649 h 860"/>
              <a:gd name="T10" fmla="*/ 306 w 470"/>
              <a:gd name="T11" fmla="*/ 622 h 860"/>
              <a:gd name="T12" fmla="*/ 356 w 470"/>
              <a:gd name="T13" fmla="*/ 633 h 860"/>
              <a:gd name="T14" fmla="*/ 382 w 470"/>
              <a:gd name="T15" fmla="*/ 674 h 860"/>
              <a:gd name="T16" fmla="*/ 392 w 470"/>
              <a:gd name="T17" fmla="*/ 686 h 860"/>
              <a:gd name="T18" fmla="*/ 405 w 470"/>
              <a:gd name="T19" fmla="*/ 679 h 860"/>
              <a:gd name="T20" fmla="*/ 470 w 470"/>
              <a:gd name="T21" fmla="*/ 590 h 860"/>
              <a:gd name="T22" fmla="*/ 333 w 470"/>
              <a:gd name="T23" fmla="*/ 303 h 860"/>
              <a:gd name="T24" fmla="*/ 347 w 470"/>
              <a:gd name="T25" fmla="*/ 203 h 860"/>
              <a:gd name="T26" fmla="*/ 346 w 470"/>
              <a:gd name="T27" fmla="*/ 198 h 860"/>
              <a:gd name="T28" fmla="*/ 347 w 470"/>
              <a:gd name="T29" fmla="*/ 187 h 860"/>
              <a:gd name="T30" fmla="*/ 246 w 470"/>
              <a:gd name="T31" fmla="*/ 154 h 860"/>
              <a:gd name="T32" fmla="*/ 245 w 470"/>
              <a:gd name="T33" fmla="*/ 154 h 860"/>
              <a:gd name="T34" fmla="*/ 224 w 470"/>
              <a:gd name="T35" fmla="*/ 130 h 860"/>
              <a:gd name="T36" fmla="*/ 240 w 470"/>
              <a:gd name="T37" fmla="*/ 101 h 860"/>
              <a:gd name="T38" fmla="*/ 241 w 470"/>
              <a:gd name="T39" fmla="*/ 100 h 860"/>
              <a:gd name="T40" fmla="*/ 264 w 470"/>
              <a:gd name="T41" fmla="*/ 72 h 860"/>
              <a:gd name="T42" fmla="*/ 261 w 470"/>
              <a:gd name="T43" fmla="*/ 34 h 860"/>
              <a:gd name="T44" fmla="*/ 230 w 470"/>
              <a:gd name="T45" fmla="*/ 9 h 860"/>
              <a:gd name="T46" fmla="*/ 166 w 470"/>
              <a:gd name="T47" fmla="*/ 40 h 860"/>
              <a:gd name="T48" fmla="*/ 168 w 470"/>
              <a:gd name="T49" fmla="*/ 76 h 860"/>
              <a:gd name="T50" fmla="*/ 169 w 470"/>
              <a:gd name="T51" fmla="*/ 78 h 860"/>
              <a:gd name="T52" fmla="*/ 164 w 470"/>
              <a:gd name="T53" fmla="*/ 110 h 860"/>
              <a:gd name="T54" fmla="*/ 133 w 470"/>
              <a:gd name="T55" fmla="*/ 118 h 860"/>
              <a:gd name="T56" fmla="*/ 132 w 470"/>
              <a:gd name="T57" fmla="*/ 117 h 860"/>
              <a:gd name="T58" fmla="*/ 34 w 470"/>
              <a:gd name="T59" fmla="*/ 86 h 860"/>
              <a:gd name="T60" fmla="*/ 0 w 470"/>
              <a:gd name="T61" fmla="*/ 303 h 860"/>
              <a:gd name="T62" fmla="*/ 274 w 470"/>
              <a:gd name="T63" fmla="*/ 860 h 860"/>
              <a:gd name="T64" fmla="*/ 335 w 470"/>
              <a:gd name="T65" fmla="*/ 777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70" h="860">
                <a:moveTo>
                  <a:pt x="335" y="777"/>
                </a:moveTo>
                <a:cubicBezTo>
                  <a:pt x="337" y="773"/>
                  <a:pt x="339" y="765"/>
                  <a:pt x="337" y="761"/>
                </a:cubicBezTo>
                <a:cubicBezTo>
                  <a:pt x="335" y="758"/>
                  <a:pt x="329" y="756"/>
                  <a:pt x="321" y="756"/>
                </a:cubicBezTo>
                <a:cubicBezTo>
                  <a:pt x="305" y="757"/>
                  <a:pt x="289" y="753"/>
                  <a:pt x="276" y="743"/>
                </a:cubicBezTo>
                <a:cubicBezTo>
                  <a:pt x="246" y="722"/>
                  <a:pt x="240" y="680"/>
                  <a:pt x="262" y="649"/>
                </a:cubicBezTo>
                <a:cubicBezTo>
                  <a:pt x="273" y="635"/>
                  <a:pt x="288" y="625"/>
                  <a:pt x="306" y="622"/>
                </a:cubicBezTo>
                <a:cubicBezTo>
                  <a:pt x="324" y="619"/>
                  <a:pt x="341" y="623"/>
                  <a:pt x="356" y="633"/>
                </a:cubicBezTo>
                <a:cubicBezTo>
                  <a:pt x="369" y="643"/>
                  <a:pt x="378" y="657"/>
                  <a:pt x="382" y="674"/>
                </a:cubicBezTo>
                <a:cubicBezTo>
                  <a:pt x="384" y="681"/>
                  <a:pt x="388" y="685"/>
                  <a:pt x="392" y="686"/>
                </a:cubicBezTo>
                <a:cubicBezTo>
                  <a:pt x="396" y="687"/>
                  <a:pt x="403" y="682"/>
                  <a:pt x="405" y="679"/>
                </a:cubicBezTo>
                <a:cubicBezTo>
                  <a:pt x="470" y="590"/>
                  <a:pt x="470" y="590"/>
                  <a:pt x="470" y="590"/>
                </a:cubicBezTo>
                <a:cubicBezTo>
                  <a:pt x="387" y="522"/>
                  <a:pt x="333" y="419"/>
                  <a:pt x="333" y="303"/>
                </a:cubicBezTo>
                <a:cubicBezTo>
                  <a:pt x="333" y="268"/>
                  <a:pt x="338" y="235"/>
                  <a:pt x="347" y="203"/>
                </a:cubicBezTo>
                <a:cubicBezTo>
                  <a:pt x="346" y="202"/>
                  <a:pt x="345" y="200"/>
                  <a:pt x="346" y="198"/>
                </a:cubicBezTo>
                <a:cubicBezTo>
                  <a:pt x="347" y="187"/>
                  <a:pt x="347" y="187"/>
                  <a:pt x="347" y="187"/>
                </a:cubicBezTo>
                <a:cubicBezTo>
                  <a:pt x="246" y="154"/>
                  <a:pt x="246" y="154"/>
                  <a:pt x="246" y="154"/>
                </a:cubicBezTo>
                <a:cubicBezTo>
                  <a:pt x="245" y="154"/>
                  <a:pt x="245" y="154"/>
                  <a:pt x="245" y="154"/>
                </a:cubicBezTo>
                <a:cubicBezTo>
                  <a:pt x="243" y="153"/>
                  <a:pt x="226" y="145"/>
                  <a:pt x="224" y="130"/>
                </a:cubicBezTo>
                <a:cubicBezTo>
                  <a:pt x="223" y="120"/>
                  <a:pt x="228" y="110"/>
                  <a:pt x="240" y="101"/>
                </a:cubicBezTo>
                <a:cubicBezTo>
                  <a:pt x="240" y="101"/>
                  <a:pt x="240" y="100"/>
                  <a:pt x="241" y="100"/>
                </a:cubicBezTo>
                <a:cubicBezTo>
                  <a:pt x="252" y="94"/>
                  <a:pt x="260" y="84"/>
                  <a:pt x="264" y="72"/>
                </a:cubicBezTo>
                <a:cubicBezTo>
                  <a:pt x="268" y="60"/>
                  <a:pt x="267" y="46"/>
                  <a:pt x="261" y="34"/>
                </a:cubicBezTo>
                <a:cubicBezTo>
                  <a:pt x="254" y="22"/>
                  <a:pt x="244" y="13"/>
                  <a:pt x="230" y="9"/>
                </a:cubicBezTo>
                <a:cubicBezTo>
                  <a:pt x="203" y="0"/>
                  <a:pt x="175" y="14"/>
                  <a:pt x="166" y="40"/>
                </a:cubicBezTo>
                <a:cubicBezTo>
                  <a:pt x="162" y="52"/>
                  <a:pt x="163" y="65"/>
                  <a:pt x="168" y="76"/>
                </a:cubicBezTo>
                <a:cubicBezTo>
                  <a:pt x="168" y="76"/>
                  <a:pt x="168" y="77"/>
                  <a:pt x="169" y="78"/>
                </a:cubicBezTo>
                <a:cubicBezTo>
                  <a:pt x="173" y="92"/>
                  <a:pt x="171" y="103"/>
                  <a:pt x="164" y="110"/>
                </a:cubicBezTo>
                <a:cubicBezTo>
                  <a:pt x="154" y="122"/>
                  <a:pt x="135" y="118"/>
                  <a:pt x="133" y="118"/>
                </a:cubicBezTo>
                <a:cubicBezTo>
                  <a:pt x="133" y="118"/>
                  <a:pt x="133" y="118"/>
                  <a:pt x="132" y="117"/>
                </a:cubicBezTo>
                <a:cubicBezTo>
                  <a:pt x="34" y="86"/>
                  <a:pt x="34" y="86"/>
                  <a:pt x="34" y="86"/>
                </a:cubicBezTo>
                <a:cubicBezTo>
                  <a:pt x="12" y="154"/>
                  <a:pt x="0" y="227"/>
                  <a:pt x="0" y="303"/>
                </a:cubicBezTo>
                <a:cubicBezTo>
                  <a:pt x="0" y="530"/>
                  <a:pt x="107" y="732"/>
                  <a:pt x="274" y="860"/>
                </a:cubicBezTo>
                <a:lnTo>
                  <a:pt x="335" y="777"/>
                </a:lnTo>
                <a:close/>
              </a:path>
            </a:pathLst>
          </a:custGeom>
          <a:gradFill flip="none" rotWithShape="1">
            <a:gsLst>
              <a:gs pos="73000">
                <a:schemeClr val="accent1"/>
              </a:gs>
              <a:gs pos="31000">
                <a:schemeClr val="accent1">
                  <a:lumMod val="60000"/>
                  <a:lumOff val="40000"/>
                </a:schemeClr>
              </a:gs>
              <a:gs pos="0">
                <a:schemeClr val="accent1">
                  <a:lumMod val="40000"/>
                  <a:lumOff val="60000"/>
                </a:schemeClr>
              </a:gs>
            </a:gsLst>
            <a:lin ang="42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6" name="Freeform 7">
            <a:extLst>
              <a:ext uri="{FF2B5EF4-FFF2-40B4-BE49-F238E27FC236}">
                <a16:creationId xmlns:a16="http://schemas.microsoft.com/office/drawing/2014/main" id="{5601AA24-62E0-4383-AD87-7DB81D1CCE81}"/>
              </a:ext>
            </a:extLst>
          </p:cNvPr>
          <p:cNvSpPr>
            <a:spLocks/>
          </p:cNvSpPr>
          <p:nvPr/>
        </p:nvSpPr>
        <p:spPr bwMode="auto">
          <a:xfrm>
            <a:off x="4545644" y="1982943"/>
            <a:ext cx="1859891" cy="1338640"/>
          </a:xfrm>
          <a:custGeom>
            <a:avLst/>
            <a:gdLst>
              <a:gd name="T0" fmla="*/ 98 w 796"/>
              <a:gd name="T1" fmla="*/ 502 h 573"/>
              <a:gd name="T2" fmla="*/ 113 w 796"/>
              <a:gd name="T3" fmla="*/ 499 h 573"/>
              <a:gd name="T4" fmla="*/ 114 w 796"/>
              <a:gd name="T5" fmla="*/ 482 h 573"/>
              <a:gd name="T6" fmla="*/ 111 w 796"/>
              <a:gd name="T7" fmla="*/ 435 h 573"/>
              <a:gd name="T8" fmla="*/ 197 w 796"/>
              <a:gd name="T9" fmla="*/ 393 h 573"/>
              <a:gd name="T10" fmla="*/ 236 w 796"/>
              <a:gd name="T11" fmla="*/ 426 h 573"/>
              <a:gd name="T12" fmla="*/ 241 w 796"/>
              <a:gd name="T13" fmla="*/ 477 h 573"/>
              <a:gd name="T14" fmla="*/ 210 w 796"/>
              <a:gd name="T15" fmla="*/ 514 h 573"/>
              <a:gd name="T16" fmla="*/ 201 w 796"/>
              <a:gd name="T17" fmla="*/ 528 h 573"/>
              <a:gd name="T18" fmla="*/ 212 w 796"/>
              <a:gd name="T19" fmla="*/ 539 h 573"/>
              <a:gd name="T20" fmla="*/ 318 w 796"/>
              <a:gd name="T21" fmla="*/ 573 h 573"/>
              <a:gd name="T22" fmla="*/ 649 w 796"/>
              <a:gd name="T23" fmla="*/ 334 h 573"/>
              <a:gd name="T24" fmla="*/ 652 w 796"/>
              <a:gd name="T25" fmla="*/ 333 h 573"/>
              <a:gd name="T26" fmla="*/ 662 w 796"/>
              <a:gd name="T27" fmla="*/ 331 h 573"/>
              <a:gd name="T28" fmla="*/ 662 w 796"/>
              <a:gd name="T29" fmla="*/ 225 h 573"/>
              <a:gd name="T30" fmla="*/ 662 w 796"/>
              <a:gd name="T31" fmla="*/ 224 h 573"/>
              <a:gd name="T32" fmla="*/ 679 w 796"/>
              <a:gd name="T33" fmla="*/ 196 h 573"/>
              <a:gd name="T34" fmla="*/ 711 w 796"/>
              <a:gd name="T35" fmla="*/ 202 h 573"/>
              <a:gd name="T36" fmla="*/ 712 w 796"/>
              <a:gd name="T37" fmla="*/ 203 h 573"/>
              <a:gd name="T38" fmla="*/ 746 w 796"/>
              <a:gd name="T39" fmla="*/ 217 h 573"/>
              <a:gd name="T40" fmla="*/ 796 w 796"/>
              <a:gd name="T41" fmla="*/ 165 h 573"/>
              <a:gd name="T42" fmla="*/ 746 w 796"/>
              <a:gd name="T43" fmla="*/ 114 h 573"/>
              <a:gd name="T44" fmla="*/ 713 w 796"/>
              <a:gd name="T45" fmla="*/ 126 h 573"/>
              <a:gd name="T46" fmla="*/ 711 w 796"/>
              <a:gd name="T47" fmla="*/ 128 h 573"/>
              <a:gd name="T48" fmla="*/ 679 w 796"/>
              <a:gd name="T49" fmla="*/ 134 h 573"/>
              <a:gd name="T50" fmla="*/ 662 w 796"/>
              <a:gd name="T51" fmla="*/ 106 h 573"/>
              <a:gd name="T52" fmla="*/ 662 w 796"/>
              <a:gd name="T53" fmla="*/ 105 h 573"/>
              <a:gd name="T54" fmla="*/ 662 w 796"/>
              <a:gd name="T55" fmla="*/ 1 h 573"/>
              <a:gd name="T56" fmla="*/ 658 w 796"/>
              <a:gd name="T57" fmla="*/ 0 h 573"/>
              <a:gd name="T58" fmla="*/ 0 w 796"/>
              <a:gd name="T59" fmla="*/ 470 h 573"/>
              <a:gd name="T60" fmla="*/ 98 w 796"/>
              <a:gd name="T61" fmla="*/ 502 h 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96" h="573">
                <a:moveTo>
                  <a:pt x="98" y="502"/>
                </a:moveTo>
                <a:cubicBezTo>
                  <a:pt x="102" y="502"/>
                  <a:pt x="110" y="502"/>
                  <a:pt x="113" y="499"/>
                </a:cubicBezTo>
                <a:cubicBezTo>
                  <a:pt x="116" y="496"/>
                  <a:pt x="116" y="490"/>
                  <a:pt x="114" y="482"/>
                </a:cubicBezTo>
                <a:cubicBezTo>
                  <a:pt x="107" y="467"/>
                  <a:pt x="106" y="450"/>
                  <a:pt x="111" y="435"/>
                </a:cubicBezTo>
                <a:cubicBezTo>
                  <a:pt x="123" y="400"/>
                  <a:pt x="161" y="381"/>
                  <a:pt x="197" y="393"/>
                </a:cubicBezTo>
                <a:cubicBezTo>
                  <a:pt x="214" y="399"/>
                  <a:pt x="228" y="410"/>
                  <a:pt x="236" y="426"/>
                </a:cubicBezTo>
                <a:cubicBezTo>
                  <a:pt x="245" y="442"/>
                  <a:pt x="246" y="460"/>
                  <a:pt x="241" y="477"/>
                </a:cubicBezTo>
                <a:cubicBezTo>
                  <a:pt x="236" y="493"/>
                  <a:pt x="225" y="506"/>
                  <a:pt x="210" y="514"/>
                </a:cubicBezTo>
                <a:cubicBezTo>
                  <a:pt x="204" y="519"/>
                  <a:pt x="201" y="524"/>
                  <a:pt x="201" y="528"/>
                </a:cubicBezTo>
                <a:cubicBezTo>
                  <a:pt x="202" y="532"/>
                  <a:pt x="209" y="537"/>
                  <a:pt x="212" y="539"/>
                </a:cubicBezTo>
                <a:cubicBezTo>
                  <a:pt x="318" y="573"/>
                  <a:pt x="318" y="573"/>
                  <a:pt x="318" y="573"/>
                </a:cubicBezTo>
                <a:cubicBezTo>
                  <a:pt x="368" y="437"/>
                  <a:pt x="497" y="340"/>
                  <a:pt x="649" y="334"/>
                </a:cubicBezTo>
                <a:cubicBezTo>
                  <a:pt x="650" y="334"/>
                  <a:pt x="651" y="333"/>
                  <a:pt x="652" y="333"/>
                </a:cubicBezTo>
                <a:cubicBezTo>
                  <a:pt x="662" y="331"/>
                  <a:pt x="662" y="331"/>
                  <a:pt x="662" y="331"/>
                </a:cubicBezTo>
                <a:cubicBezTo>
                  <a:pt x="662" y="225"/>
                  <a:pt x="662" y="225"/>
                  <a:pt x="662" y="225"/>
                </a:cubicBezTo>
                <a:cubicBezTo>
                  <a:pt x="662" y="224"/>
                  <a:pt x="662" y="224"/>
                  <a:pt x="662" y="224"/>
                </a:cubicBezTo>
                <a:cubicBezTo>
                  <a:pt x="663" y="222"/>
                  <a:pt x="665" y="203"/>
                  <a:pt x="679" y="196"/>
                </a:cubicBezTo>
                <a:cubicBezTo>
                  <a:pt x="688" y="192"/>
                  <a:pt x="699" y="194"/>
                  <a:pt x="711" y="202"/>
                </a:cubicBezTo>
                <a:cubicBezTo>
                  <a:pt x="711" y="203"/>
                  <a:pt x="712" y="203"/>
                  <a:pt x="712" y="203"/>
                </a:cubicBezTo>
                <a:cubicBezTo>
                  <a:pt x="721" y="212"/>
                  <a:pt x="733" y="217"/>
                  <a:pt x="746" y="217"/>
                </a:cubicBezTo>
                <a:cubicBezTo>
                  <a:pt x="774" y="217"/>
                  <a:pt x="796" y="194"/>
                  <a:pt x="796" y="165"/>
                </a:cubicBezTo>
                <a:cubicBezTo>
                  <a:pt x="796" y="137"/>
                  <a:pt x="774" y="114"/>
                  <a:pt x="746" y="114"/>
                </a:cubicBezTo>
                <a:cubicBezTo>
                  <a:pt x="734" y="114"/>
                  <a:pt x="722" y="118"/>
                  <a:pt x="713" y="126"/>
                </a:cubicBezTo>
                <a:cubicBezTo>
                  <a:pt x="712" y="127"/>
                  <a:pt x="712" y="127"/>
                  <a:pt x="711" y="128"/>
                </a:cubicBezTo>
                <a:cubicBezTo>
                  <a:pt x="699" y="136"/>
                  <a:pt x="688" y="138"/>
                  <a:pt x="679" y="134"/>
                </a:cubicBezTo>
                <a:cubicBezTo>
                  <a:pt x="665" y="127"/>
                  <a:pt x="663" y="108"/>
                  <a:pt x="662" y="106"/>
                </a:cubicBezTo>
                <a:cubicBezTo>
                  <a:pt x="662" y="106"/>
                  <a:pt x="662" y="106"/>
                  <a:pt x="662" y="105"/>
                </a:cubicBezTo>
                <a:cubicBezTo>
                  <a:pt x="662" y="1"/>
                  <a:pt x="662" y="1"/>
                  <a:pt x="662" y="1"/>
                </a:cubicBezTo>
                <a:cubicBezTo>
                  <a:pt x="658" y="0"/>
                  <a:pt x="658" y="0"/>
                  <a:pt x="658" y="0"/>
                </a:cubicBezTo>
                <a:cubicBezTo>
                  <a:pt x="354" y="3"/>
                  <a:pt x="96" y="198"/>
                  <a:pt x="0" y="470"/>
                </a:cubicBezTo>
                <a:lnTo>
                  <a:pt x="98" y="502"/>
                </a:lnTo>
                <a:close/>
              </a:path>
            </a:pathLst>
          </a:custGeom>
          <a:gradFill flip="none" rotWithShape="1">
            <a:gsLst>
              <a:gs pos="73000">
                <a:schemeClr val="accent1"/>
              </a:gs>
              <a:gs pos="31000">
                <a:schemeClr val="accent1">
                  <a:lumMod val="60000"/>
                  <a:lumOff val="40000"/>
                </a:schemeClr>
              </a:gs>
              <a:gs pos="0">
                <a:schemeClr val="accent1">
                  <a:lumMod val="40000"/>
                  <a:lumOff val="60000"/>
                </a:schemeClr>
              </a:gs>
            </a:gsLst>
            <a:lin ang="108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7" name="Freeform 8">
            <a:extLst>
              <a:ext uri="{FF2B5EF4-FFF2-40B4-BE49-F238E27FC236}">
                <a16:creationId xmlns:a16="http://schemas.microsoft.com/office/drawing/2014/main" id="{2AA2CD09-68F5-4733-B3CA-D0FDB672E4EE}"/>
              </a:ext>
            </a:extLst>
          </p:cNvPr>
          <p:cNvSpPr>
            <a:spLocks/>
          </p:cNvSpPr>
          <p:nvPr/>
        </p:nvSpPr>
        <p:spPr bwMode="auto">
          <a:xfrm>
            <a:off x="6548913" y="3155425"/>
            <a:ext cx="1188562" cy="1796913"/>
          </a:xfrm>
          <a:custGeom>
            <a:avLst/>
            <a:gdLst>
              <a:gd name="T0" fmla="*/ 479 w 509"/>
              <a:gd name="T1" fmla="*/ 0 h 769"/>
              <a:gd name="T2" fmla="*/ 379 w 509"/>
              <a:gd name="T3" fmla="*/ 33 h 769"/>
              <a:gd name="T4" fmla="*/ 368 w 509"/>
              <a:gd name="T5" fmla="*/ 44 h 769"/>
              <a:gd name="T6" fmla="*/ 378 w 509"/>
              <a:gd name="T7" fmla="*/ 58 h 769"/>
              <a:gd name="T8" fmla="*/ 407 w 509"/>
              <a:gd name="T9" fmla="*/ 94 h 769"/>
              <a:gd name="T10" fmla="*/ 363 w 509"/>
              <a:gd name="T11" fmla="*/ 178 h 769"/>
              <a:gd name="T12" fmla="*/ 341 w 509"/>
              <a:gd name="T13" fmla="*/ 182 h 769"/>
              <a:gd name="T14" fmla="*/ 311 w 509"/>
              <a:gd name="T15" fmla="*/ 175 h 769"/>
              <a:gd name="T16" fmla="*/ 277 w 509"/>
              <a:gd name="T17" fmla="*/ 136 h 769"/>
              <a:gd name="T18" fmla="*/ 280 w 509"/>
              <a:gd name="T19" fmla="*/ 88 h 769"/>
              <a:gd name="T20" fmla="*/ 280 w 509"/>
              <a:gd name="T21" fmla="*/ 72 h 769"/>
              <a:gd name="T22" fmla="*/ 264 w 509"/>
              <a:gd name="T23" fmla="*/ 70 h 769"/>
              <a:gd name="T24" fmla="*/ 162 w 509"/>
              <a:gd name="T25" fmla="*/ 103 h 769"/>
              <a:gd name="T26" fmla="*/ 175 w 509"/>
              <a:gd name="T27" fmla="*/ 201 h 769"/>
              <a:gd name="T28" fmla="*/ 30 w 509"/>
              <a:gd name="T29" fmla="*/ 494 h 769"/>
              <a:gd name="T30" fmla="*/ 30 w 509"/>
              <a:gd name="T31" fmla="*/ 495 h 769"/>
              <a:gd name="T32" fmla="*/ 22 w 509"/>
              <a:gd name="T33" fmla="*/ 502 h 769"/>
              <a:gd name="T34" fmla="*/ 85 w 509"/>
              <a:gd name="T35" fmla="*/ 588 h 769"/>
              <a:gd name="T36" fmla="*/ 85 w 509"/>
              <a:gd name="T37" fmla="*/ 589 h 769"/>
              <a:gd name="T38" fmla="*/ 88 w 509"/>
              <a:gd name="T39" fmla="*/ 621 h 769"/>
              <a:gd name="T40" fmla="*/ 59 w 509"/>
              <a:gd name="T41" fmla="*/ 635 h 769"/>
              <a:gd name="T42" fmla="*/ 57 w 509"/>
              <a:gd name="T43" fmla="*/ 635 h 769"/>
              <a:gd name="T44" fmla="*/ 22 w 509"/>
              <a:gd name="T45" fmla="*/ 644 h 769"/>
              <a:gd name="T46" fmla="*/ 2 w 509"/>
              <a:gd name="T47" fmla="*/ 677 h 769"/>
              <a:gd name="T48" fmla="*/ 12 w 509"/>
              <a:gd name="T49" fmla="*/ 715 h 769"/>
              <a:gd name="T50" fmla="*/ 82 w 509"/>
              <a:gd name="T51" fmla="*/ 727 h 769"/>
              <a:gd name="T52" fmla="*/ 102 w 509"/>
              <a:gd name="T53" fmla="*/ 698 h 769"/>
              <a:gd name="T54" fmla="*/ 102 w 509"/>
              <a:gd name="T55" fmla="*/ 696 h 769"/>
              <a:gd name="T56" fmla="*/ 125 w 509"/>
              <a:gd name="T57" fmla="*/ 672 h 769"/>
              <a:gd name="T58" fmla="*/ 154 w 509"/>
              <a:gd name="T59" fmla="*/ 684 h 769"/>
              <a:gd name="T60" fmla="*/ 155 w 509"/>
              <a:gd name="T61" fmla="*/ 685 h 769"/>
              <a:gd name="T62" fmla="*/ 216 w 509"/>
              <a:gd name="T63" fmla="*/ 769 h 769"/>
              <a:gd name="T64" fmla="*/ 225 w 509"/>
              <a:gd name="T65" fmla="*/ 765 h 769"/>
              <a:gd name="T66" fmla="*/ 509 w 509"/>
              <a:gd name="T67" fmla="*/ 201 h 769"/>
              <a:gd name="T68" fmla="*/ 479 w 509"/>
              <a:gd name="T69" fmla="*/ 0 h 7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09" h="769">
                <a:moveTo>
                  <a:pt x="479" y="0"/>
                </a:moveTo>
                <a:cubicBezTo>
                  <a:pt x="379" y="33"/>
                  <a:pt x="379" y="33"/>
                  <a:pt x="379" y="33"/>
                </a:cubicBezTo>
                <a:cubicBezTo>
                  <a:pt x="375" y="34"/>
                  <a:pt x="368" y="39"/>
                  <a:pt x="368" y="44"/>
                </a:cubicBezTo>
                <a:cubicBezTo>
                  <a:pt x="367" y="48"/>
                  <a:pt x="371" y="53"/>
                  <a:pt x="378" y="58"/>
                </a:cubicBezTo>
                <a:cubicBezTo>
                  <a:pt x="391" y="66"/>
                  <a:pt x="402" y="79"/>
                  <a:pt x="407" y="94"/>
                </a:cubicBezTo>
                <a:cubicBezTo>
                  <a:pt x="418" y="129"/>
                  <a:pt x="398" y="167"/>
                  <a:pt x="363" y="178"/>
                </a:cubicBezTo>
                <a:cubicBezTo>
                  <a:pt x="356" y="181"/>
                  <a:pt x="348" y="182"/>
                  <a:pt x="341" y="182"/>
                </a:cubicBezTo>
                <a:cubicBezTo>
                  <a:pt x="331" y="182"/>
                  <a:pt x="320" y="180"/>
                  <a:pt x="311" y="175"/>
                </a:cubicBezTo>
                <a:cubicBezTo>
                  <a:pt x="295" y="167"/>
                  <a:pt x="283" y="153"/>
                  <a:pt x="277" y="136"/>
                </a:cubicBezTo>
                <a:cubicBezTo>
                  <a:pt x="272" y="120"/>
                  <a:pt x="273" y="104"/>
                  <a:pt x="280" y="88"/>
                </a:cubicBezTo>
                <a:cubicBezTo>
                  <a:pt x="282" y="81"/>
                  <a:pt x="282" y="75"/>
                  <a:pt x="280" y="72"/>
                </a:cubicBezTo>
                <a:cubicBezTo>
                  <a:pt x="276" y="69"/>
                  <a:pt x="268" y="69"/>
                  <a:pt x="264" y="70"/>
                </a:cubicBezTo>
                <a:cubicBezTo>
                  <a:pt x="162" y="103"/>
                  <a:pt x="162" y="103"/>
                  <a:pt x="162" y="103"/>
                </a:cubicBezTo>
                <a:cubicBezTo>
                  <a:pt x="171" y="134"/>
                  <a:pt x="175" y="167"/>
                  <a:pt x="175" y="201"/>
                </a:cubicBezTo>
                <a:cubicBezTo>
                  <a:pt x="175" y="320"/>
                  <a:pt x="118" y="427"/>
                  <a:pt x="30" y="494"/>
                </a:cubicBezTo>
                <a:cubicBezTo>
                  <a:pt x="30" y="494"/>
                  <a:pt x="30" y="494"/>
                  <a:pt x="30" y="495"/>
                </a:cubicBezTo>
                <a:cubicBezTo>
                  <a:pt x="22" y="502"/>
                  <a:pt x="22" y="502"/>
                  <a:pt x="22" y="502"/>
                </a:cubicBezTo>
                <a:cubicBezTo>
                  <a:pt x="85" y="588"/>
                  <a:pt x="85" y="588"/>
                  <a:pt x="85" y="588"/>
                </a:cubicBezTo>
                <a:cubicBezTo>
                  <a:pt x="85" y="589"/>
                  <a:pt x="85" y="589"/>
                  <a:pt x="85" y="589"/>
                </a:cubicBezTo>
                <a:cubicBezTo>
                  <a:pt x="86" y="591"/>
                  <a:pt x="95" y="607"/>
                  <a:pt x="88" y="621"/>
                </a:cubicBezTo>
                <a:cubicBezTo>
                  <a:pt x="83" y="630"/>
                  <a:pt x="73" y="635"/>
                  <a:pt x="59" y="635"/>
                </a:cubicBezTo>
                <a:cubicBezTo>
                  <a:pt x="58" y="635"/>
                  <a:pt x="58" y="635"/>
                  <a:pt x="57" y="635"/>
                </a:cubicBezTo>
                <a:cubicBezTo>
                  <a:pt x="45" y="634"/>
                  <a:pt x="32" y="637"/>
                  <a:pt x="22" y="644"/>
                </a:cubicBezTo>
                <a:cubicBezTo>
                  <a:pt x="11" y="652"/>
                  <a:pt x="4" y="664"/>
                  <a:pt x="2" y="677"/>
                </a:cubicBezTo>
                <a:cubicBezTo>
                  <a:pt x="0" y="690"/>
                  <a:pt x="3" y="704"/>
                  <a:pt x="12" y="715"/>
                </a:cubicBezTo>
                <a:cubicBezTo>
                  <a:pt x="28" y="738"/>
                  <a:pt x="60" y="744"/>
                  <a:pt x="82" y="727"/>
                </a:cubicBezTo>
                <a:cubicBezTo>
                  <a:pt x="92" y="720"/>
                  <a:pt x="99" y="710"/>
                  <a:pt x="102" y="698"/>
                </a:cubicBezTo>
                <a:cubicBezTo>
                  <a:pt x="102" y="697"/>
                  <a:pt x="102" y="696"/>
                  <a:pt x="102" y="696"/>
                </a:cubicBezTo>
                <a:cubicBezTo>
                  <a:pt x="107" y="682"/>
                  <a:pt x="115" y="674"/>
                  <a:pt x="125" y="672"/>
                </a:cubicBezTo>
                <a:cubicBezTo>
                  <a:pt x="140" y="669"/>
                  <a:pt x="153" y="683"/>
                  <a:pt x="154" y="684"/>
                </a:cubicBezTo>
                <a:cubicBezTo>
                  <a:pt x="155" y="684"/>
                  <a:pt x="155" y="685"/>
                  <a:pt x="155" y="685"/>
                </a:cubicBezTo>
                <a:cubicBezTo>
                  <a:pt x="216" y="769"/>
                  <a:pt x="216" y="769"/>
                  <a:pt x="216" y="769"/>
                </a:cubicBezTo>
                <a:cubicBezTo>
                  <a:pt x="225" y="765"/>
                  <a:pt x="225" y="765"/>
                  <a:pt x="225" y="765"/>
                </a:cubicBezTo>
                <a:cubicBezTo>
                  <a:pt x="397" y="637"/>
                  <a:pt x="509" y="432"/>
                  <a:pt x="509" y="201"/>
                </a:cubicBezTo>
                <a:cubicBezTo>
                  <a:pt x="509" y="131"/>
                  <a:pt x="498" y="64"/>
                  <a:pt x="479" y="0"/>
                </a:cubicBezTo>
                <a:close/>
              </a:path>
            </a:pathLst>
          </a:custGeom>
          <a:gradFill flip="none" rotWithShape="1">
            <a:gsLst>
              <a:gs pos="73000">
                <a:schemeClr val="accent1"/>
              </a:gs>
              <a:gs pos="31000">
                <a:schemeClr val="accent1">
                  <a:lumMod val="60000"/>
                  <a:lumOff val="40000"/>
                </a:schemeClr>
              </a:gs>
              <a:gs pos="0">
                <a:schemeClr val="accent1">
                  <a:lumMod val="40000"/>
                  <a:lumOff val="60000"/>
                </a:schemeClr>
              </a:gs>
            </a:gsLst>
            <a:lin ang="162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8" name="Freeform 9">
            <a:extLst>
              <a:ext uri="{FF2B5EF4-FFF2-40B4-BE49-F238E27FC236}">
                <a16:creationId xmlns:a16="http://schemas.microsoft.com/office/drawing/2014/main" id="{9315F819-7AD0-4710-8035-11B9666AF1DF}"/>
              </a:ext>
            </a:extLst>
          </p:cNvPr>
          <p:cNvSpPr>
            <a:spLocks/>
          </p:cNvSpPr>
          <p:nvPr/>
        </p:nvSpPr>
        <p:spPr bwMode="auto">
          <a:xfrm>
            <a:off x="5060196" y="4326567"/>
            <a:ext cx="1964410" cy="939326"/>
          </a:xfrm>
          <a:custGeom>
            <a:avLst/>
            <a:gdLst>
              <a:gd name="T0" fmla="*/ 779 w 841"/>
              <a:gd name="T1" fmla="*/ 194 h 402"/>
              <a:gd name="T2" fmla="*/ 765 w 841"/>
              <a:gd name="T3" fmla="*/ 187 h 402"/>
              <a:gd name="T4" fmla="*/ 755 w 841"/>
              <a:gd name="T5" fmla="*/ 201 h 402"/>
              <a:gd name="T6" fmla="*/ 729 w 841"/>
              <a:gd name="T7" fmla="*/ 240 h 402"/>
              <a:gd name="T8" fmla="*/ 635 w 841"/>
              <a:gd name="T9" fmla="*/ 224 h 402"/>
              <a:gd name="T10" fmla="*/ 623 w 841"/>
              <a:gd name="T11" fmla="*/ 174 h 402"/>
              <a:gd name="T12" fmla="*/ 649 w 841"/>
              <a:gd name="T13" fmla="*/ 130 h 402"/>
              <a:gd name="T14" fmla="*/ 695 w 841"/>
              <a:gd name="T15" fmla="*/ 118 h 402"/>
              <a:gd name="T16" fmla="*/ 710 w 841"/>
              <a:gd name="T17" fmla="*/ 112 h 402"/>
              <a:gd name="T18" fmla="*/ 708 w 841"/>
              <a:gd name="T19" fmla="*/ 97 h 402"/>
              <a:gd name="T20" fmla="*/ 645 w 841"/>
              <a:gd name="T21" fmla="*/ 9 h 402"/>
              <a:gd name="T22" fmla="*/ 443 w 841"/>
              <a:gd name="T23" fmla="*/ 69 h 402"/>
              <a:gd name="T24" fmla="*/ 237 w 841"/>
              <a:gd name="T25" fmla="*/ 6 h 402"/>
              <a:gd name="T26" fmla="*/ 232 w 841"/>
              <a:gd name="T27" fmla="*/ 5 h 402"/>
              <a:gd name="T28" fmla="*/ 222 w 841"/>
              <a:gd name="T29" fmla="*/ 0 h 402"/>
              <a:gd name="T30" fmla="*/ 159 w 841"/>
              <a:gd name="T31" fmla="*/ 86 h 402"/>
              <a:gd name="T32" fmla="*/ 159 w 841"/>
              <a:gd name="T33" fmla="*/ 87 h 402"/>
              <a:gd name="T34" fmla="*/ 129 w 841"/>
              <a:gd name="T35" fmla="*/ 99 h 402"/>
              <a:gd name="T36" fmla="*/ 107 w 841"/>
              <a:gd name="T37" fmla="*/ 76 h 402"/>
              <a:gd name="T38" fmla="*/ 107 w 841"/>
              <a:gd name="T39" fmla="*/ 74 h 402"/>
              <a:gd name="T40" fmla="*/ 87 w 841"/>
              <a:gd name="T41" fmla="*/ 44 h 402"/>
              <a:gd name="T42" fmla="*/ 50 w 841"/>
              <a:gd name="T43" fmla="*/ 35 h 402"/>
              <a:gd name="T44" fmla="*/ 16 w 841"/>
              <a:gd name="T45" fmla="*/ 56 h 402"/>
              <a:gd name="T46" fmla="*/ 27 w 841"/>
              <a:gd name="T47" fmla="*/ 127 h 402"/>
              <a:gd name="T48" fmla="*/ 61 w 841"/>
              <a:gd name="T49" fmla="*/ 136 h 402"/>
              <a:gd name="T50" fmla="*/ 63 w 841"/>
              <a:gd name="T51" fmla="*/ 136 h 402"/>
              <a:gd name="T52" fmla="*/ 92 w 841"/>
              <a:gd name="T53" fmla="*/ 150 h 402"/>
              <a:gd name="T54" fmla="*/ 90 w 841"/>
              <a:gd name="T55" fmla="*/ 182 h 402"/>
              <a:gd name="T56" fmla="*/ 89 w 841"/>
              <a:gd name="T57" fmla="*/ 183 h 402"/>
              <a:gd name="T58" fmla="*/ 28 w 841"/>
              <a:gd name="T59" fmla="*/ 267 h 402"/>
              <a:gd name="T60" fmla="*/ 443 w 841"/>
              <a:gd name="T61" fmla="*/ 402 h 402"/>
              <a:gd name="T62" fmla="*/ 841 w 841"/>
              <a:gd name="T63" fmla="*/ 279 h 402"/>
              <a:gd name="T64" fmla="*/ 779 w 841"/>
              <a:gd name="T65" fmla="*/ 194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41" h="402">
                <a:moveTo>
                  <a:pt x="779" y="194"/>
                </a:moveTo>
                <a:cubicBezTo>
                  <a:pt x="776" y="191"/>
                  <a:pt x="770" y="186"/>
                  <a:pt x="765" y="187"/>
                </a:cubicBezTo>
                <a:cubicBezTo>
                  <a:pt x="761" y="188"/>
                  <a:pt x="757" y="193"/>
                  <a:pt x="755" y="201"/>
                </a:cubicBezTo>
                <a:cubicBezTo>
                  <a:pt x="751" y="217"/>
                  <a:pt x="742" y="230"/>
                  <a:pt x="729" y="240"/>
                </a:cubicBezTo>
                <a:cubicBezTo>
                  <a:pt x="699" y="261"/>
                  <a:pt x="657" y="254"/>
                  <a:pt x="635" y="224"/>
                </a:cubicBezTo>
                <a:cubicBezTo>
                  <a:pt x="625" y="209"/>
                  <a:pt x="620" y="191"/>
                  <a:pt x="623" y="174"/>
                </a:cubicBezTo>
                <a:cubicBezTo>
                  <a:pt x="625" y="156"/>
                  <a:pt x="635" y="140"/>
                  <a:pt x="649" y="130"/>
                </a:cubicBezTo>
                <a:cubicBezTo>
                  <a:pt x="663" y="120"/>
                  <a:pt x="679" y="116"/>
                  <a:pt x="695" y="118"/>
                </a:cubicBezTo>
                <a:cubicBezTo>
                  <a:pt x="703" y="117"/>
                  <a:pt x="709" y="115"/>
                  <a:pt x="710" y="112"/>
                </a:cubicBezTo>
                <a:cubicBezTo>
                  <a:pt x="713" y="108"/>
                  <a:pt x="710" y="100"/>
                  <a:pt x="708" y="97"/>
                </a:cubicBezTo>
                <a:cubicBezTo>
                  <a:pt x="645" y="9"/>
                  <a:pt x="645" y="9"/>
                  <a:pt x="645" y="9"/>
                </a:cubicBezTo>
                <a:cubicBezTo>
                  <a:pt x="587" y="47"/>
                  <a:pt x="517" y="69"/>
                  <a:pt x="443" y="69"/>
                </a:cubicBezTo>
                <a:cubicBezTo>
                  <a:pt x="367" y="69"/>
                  <a:pt x="296" y="46"/>
                  <a:pt x="237" y="6"/>
                </a:cubicBezTo>
                <a:cubicBezTo>
                  <a:pt x="235" y="6"/>
                  <a:pt x="233" y="6"/>
                  <a:pt x="232" y="5"/>
                </a:cubicBezTo>
                <a:cubicBezTo>
                  <a:pt x="222" y="0"/>
                  <a:pt x="222" y="0"/>
                  <a:pt x="222" y="0"/>
                </a:cubicBezTo>
                <a:cubicBezTo>
                  <a:pt x="159" y="86"/>
                  <a:pt x="159" y="86"/>
                  <a:pt x="159" y="86"/>
                </a:cubicBezTo>
                <a:cubicBezTo>
                  <a:pt x="159" y="87"/>
                  <a:pt x="159" y="87"/>
                  <a:pt x="159" y="87"/>
                </a:cubicBezTo>
                <a:cubicBezTo>
                  <a:pt x="158" y="89"/>
                  <a:pt x="145" y="102"/>
                  <a:pt x="129" y="99"/>
                </a:cubicBezTo>
                <a:cubicBezTo>
                  <a:pt x="120" y="97"/>
                  <a:pt x="112" y="90"/>
                  <a:pt x="107" y="76"/>
                </a:cubicBezTo>
                <a:cubicBezTo>
                  <a:pt x="107" y="75"/>
                  <a:pt x="107" y="75"/>
                  <a:pt x="107" y="74"/>
                </a:cubicBezTo>
                <a:cubicBezTo>
                  <a:pt x="104" y="62"/>
                  <a:pt x="97" y="51"/>
                  <a:pt x="87" y="44"/>
                </a:cubicBezTo>
                <a:cubicBezTo>
                  <a:pt x="76" y="36"/>
                  <a:pt x="63" y="33"/>
                  <a:pt x="50" y="35"/>
                </a:cubicBezTo>
                <a:cubicBezTo>
                  <a:pt x="36" y="37"/>
                  <a:pt x="24" y="45"/>
                  <a:pt x="16" y="56"/>
                </a:cubicBezTo>
                <a:cubicBezTo>
                  <a:pt x="0" y="79"/>
                  <a:pt x="4" y="111"/>
                  <a:pt x="27" y="127"/>
                </a:cubicBezTo>
                <a:cubicBezTo>
                  <a:pt x="36" y="134"/>
                  <a:pt x="49" y="137"/>
                  <a:pt x="61" y="136"/>
                </a:cubicBezTo>
                <a:cubicBezTo>
                  <a:pt x="61" y="136"/>
                  <a:pt x="62" y="136"/>
                  <a:pt x="63" y="136"/>
                </a:cubicBezTo>
                <a:cubicBezTo>
                  <a:pt x="78" y="137"/>
                  <a:pt x="87" y="141"/>
                  <a:pt x="92" y="150"/>
                </a:cubicBezTo>
                <a:cubicBezTo>
                  <a:pt x="100" y="164"/>
                  <a:pt x="91" y="180"/>
                  <a:pt x="90" y="182"/>
                </a:cubicBezTo>
                <a:cubicBezTo>
                  <a:pt x="90" y="182"/>
                  <a:pt x="90" y="183"/>
                  <a:pt x="89" y="183"/>
                </a:cubicBezTo>
                <a:cubicBezTo>
                  <a:pt x="28" y="267"/>
                  <a:pt x="28" y="267"/>
                  <a:pt x="28" y="267"/>
                </a:cubicBezTo>
                <a:cubicBezTo>
                  <a:pt x="145" y="352"/>
                  <a:pt x="288" y="402"/>
                  <a:pt x="443" y="402"/>
                </a:cubicBezTo>
                <a:cubicBezTo>
                  <a:pt x="591" y="402"/>
                  <a:pt x="728" y="357"/>
                  <a:pt x="841" y="279"/>
                </a:cubicBezTo>
                <a:lnTo>
                  <a:pt x="779" y="194"/>
                </a:lnTo>
                <a:close/>
              </a:path>
            </a:pathLst>
          </a:custGeom>
          <a:gradFill flip="none" rotWithShape="1">
            <a:gsLst>
              <a:gs pos="73000">
                <a:schemeClr val="accent1"/>
              </a:gs>
              <a:gs pos="31000">
                <a:schemeClr val="accent1">
                  <a:lumMod val="60000"/>
                  <a:lumOff val="40000"/>
                </a:schemeClr>
              </a:gs>
              <a:gs pos="0">
                <a:schemeClr val="accent1">
                  <a:lumMod val="40000"/>
                  <a:lumOff val="60000"/>
                </a:schemeClr>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14" name="Freeform 5">
            <a:extLst>
              <a:ext uri="{FF2B5EF4-FFF2-40B4-BE49-F238E27FC236}">
                <a16:creationId xmlns:a16="http://schemas.microsoft.com/office/drawing/2014/main" id="{4D3287EF-F36C-40DA-8999-578D1BFF3D71}"/>
              </a:ext>
            </a:extLst>
          </p:cNvPr>
          <p:cNvSpPr>
            <a:spLocks noEditPoints="1"/>
          </p:cNvSpPr>
          <p:nvPr/>
        </p:nvSpPr>
        <p:spPr bwMode="auto">
          <a:xfrm>
            <a:off x="5250276" y="2405710"/>
            <a:ext cx="340804" cy="340802"/>
          </a:xfrm>
          <a:custGeom>
            <a:avLst/>
            <a:gdLst>
              <a:gd name="T0" fmla="*/ 1024 w 2048"/>
              <a:gd name="T1" fmla="*/ 0 h 2048"/>
              <a:gd name="T2" fmla="*/ 0 w 2048"/>
              <a:gd name="T3" fmla="*/ 1024 h 2048"/>
              <a:gd name="T4" fmla="*/ 1024 w 2048"/>
              <a:gd name="T5" fmla="*/ 2048 h 2048"/>
              <a:gd name="T6" fmla="*/ 2048 w 2048"/>
              <a:gd name="T7" fmla="*/ 1024 h 2048"/>
              <a:gd name="T8" fmla="*/ 1024 w 2048"/>
              <a:gd name="T9" fmla="*/ 0 h 2048"/>
              <a:gd name="T10" fmla="*/ 1499 w 2048"/>
              <a:gd name="T11" fmla="*/ 1134 h 2048"/>
              <a:gd name="T12" fmla="*/ 1024 w 2048"/>
              <a:gd name="T13" fmla="*/ 1134 h 2048"/>
              <a:gd name="T14" fmla="*/ 914 w 2048"/>
              <a:gd name="T15" fmla="*/ 1024 h 2048"/>
              <a:gd name="T16" fmla="*/ 914 w 2048"/>
              <a:gd name="T17" fmla="*/ 549 h 2048"/>
              <a:gd name="T18" fmla="*/ 1024 w 2048"/>
              <a:gd name="T19" fmla="*/ 439 h 2048"/>
              <a:gd name="T20" fmla="*/ 1134 w 2048"/>
              <a:gd name="T21" fmla="*/ 549 h 2048"/>
              <a:gd name="T22" fmla="*/ 1134 w 2048"/>
              <a:gd name="T23" fmla="*/ 915 h 2048"/>
              <a:gd name="T24" fmla="*/ 1499 w 2048"/>
              <a:gd name="T25" fmla="*/ 915 h 2048"/>
              <a:gd name="T26" fmla="*/ 1609 w 2048"/>
              <a:gd name="T27" fmla="*/ 1024 h 2048"/>
              <a:gd name="T28" fmla="*/ 1499 w 2048"/>
              <a:gd name="T29" fmla="*/ 1134 h 20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48" h="2048">
                <a:moveTo>
                  <a:pt x="1024" y="0"/>
                </a:moveTo>
                <a:cubicBezTo>
                  <a:pt x="459" y="0"/>
                  <a:pt x="0" y="459"/>
                  <a:pt x="0" y="1024"/>
                </a:cubicBezTo>
                <a:cubicBezTo>
                  <a:pt x="0" y="1589"/>
                  <a:pt x="459" y="2048"/>
                  <a:pt x="1024" y="2048"/>
                </a:cubicBezTo>
                <a:cubicBezTo>
                  <a:pt x="1589" y="2048"/>
                  <a:pt x="2048" y="1589"/>
                  <a:pt x="2048" y="1024"/>
                </a:cubicBezTo>
                <a:cubicBezTo>
                  <a:pt x="2048" y="459"/>
                  <a:pt x="1589" y="0"/>
                  <a:pt x="1024" y="0"/>
                </a:cubicBezTo>
                <a:close/>
                <a:moveTo>
                  <a:pt x="1499" y="1134"/>
                </a:moveTo>
                <a:cubicBezTo>
                  <a:pt x="1024" y="1134"/>
                  <a:pt x="1024" y="1134"/>
                  <a:pt x="1024" y="1134"/>
                </a:cubicBezTo>
                <a:cubicBezTo>
                  <a:pt x="963" y="1134"/>
                  <a:pt x="914" y="1085"/>
                  <a:pt x="914" y="1024"/>
                </a:cubicBezTo>
                <a:cubicBezTo>
                  <a:pt x="914" y="549"/>
                  <a:pt x="914" y="549"/>
                  <a:pt x="914" y="549"/>
                </a:cubicBezTo>
                <a:cubicBezTo>
                  <a:pt x="914" y="489"/>
                  <a:pt x="963" y="439"/>
                  <a:pt x="1024" y="439"/>
                </a:cubicBezTo>
                <a:cubicBezTo>
                  <a:pt x="1085" y="439"/>
                  <a:pt x="1134" y="489"/>
                  <a:pt x="1134" y="549"/>
                </a:cubicBezTo>
                <a:cubicBezTo>
                  <a:pt x="1134" y="915"/>
                  <a:pt x="1134" y="915"/>
                  <a:pt x="1134" y="915"/>
                </a:cubicBezTo>
                <a:cubicBezTo>
                  <a:pt x="1499" y="915"/>
                  <a:pt x="1499" y="915"/>
                  <a:pt x="1499" y="915"/>
                </a:cubicBezTo>
                <a:cubicBezTo>
                  <a:pt x="1560" y="915"/>
                  <a:pt x="1609" y="964"/>
                  <a:pt x="1609" y="1024"/>
                </a:cubicBezTo>
                <a:cubicBezTo>
                  <a:pt x="1609" y="1085"/>
                  <a:pt x="1560" y="1134"/>
                  <a:pt x="1499" y="1134"/>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33333"/>
              </a:solidFill>
              <a:effectLst/>
              <a:uLnTx/>
              <a:uFillTx/>
              <a:latin typeface="Open Sans"/>
              <a:ea typeface="+mn-ea"/>
              <a:cs typeface="+mn-cs"/>
            </a:endParaRPr>
          </a:p>
        </p:txBody>
      </p:sp>
      <p:grpSp>
        <p:nvGrpSpPr>
          <p:cNvPr id="15" name="Group 54">
            <a:extLst>
              <a:ext uri="{FF2B5EF4-FFF2-40B4-BE49-F238E27FC236}">
                <a16:creationId xmlns:a16="http://schemas.microsoft.com/office/drawing/2014/main" id="{7F3C2284-1335-49BB-A1C2-EDC248FCE5F0}"/>
              </a:ext>
            </a:extLst>
          </p:cNvPr>
          <p:cNvGrpSpPr/>
          <p:nvPr/>
        </p:nvGrpSpPr>
        <p:grpSpPr>
          <a:xfrm>
            <a:off x="6779132" y="2489971"/>
            <a:ext cx="277646" cy="345366"/>
            <a:chOff x="4862513" y="3505200"/>
            <a:chExt cx="260350" cy="323851"/>
          </a:xfrm>
          <a:solidFill>
            <a:srgbClr val="FFFFFF"/>
          </a:solidFill>
        </p:grpSpPr>
        <p:sp>
          <p:nvSpPr>
            <p:cNvPr id="16" name="Freeform 9">
              <a:extLst>
                <a:ext uri="{FF2B5EF4-FFF2-40B4-BE49-F238E27FC236}">
                  <a16:creationId xmlns:a16="http://schemas.microsoft.com/office/drawing/2014/main" id="{BCDECB39-6404-4571-8912-10B6D8CF4BCF}"/>
                </a:ext>
              </a:extLst>
            </p:cNvPr>
            <p:cNvSpPr>
              <a:spLocks/>
            </p:cNvSpPr>
            <p:nvPr/>
          </p:nvSpPr>
          <p:spPr bwMode="auto">
            <a:xfrm>
              <a:off x="4870451" y="3505200"/>
              <a:ext cx="220663" cy="234950"/>
            </a:xfrm>
            <a:custGeom>
              <a:avLst/>
              <a:gdLst>
                <a:gd name="T0" fmla="*/ 761 w 1393"/>
                <a:gd name="T1" fmla="*/ 0 h 1489"/>
                <a:gd name="T2" fmla="*/ 240 w 1393"/>
                <a:gd name="T3" fmla="*/ 0 h 1489"/>
                <a:gd name="T4" fmla="*/ 93 w 1393"/>
                <a:gd name="T5" fmla="*/ 0 h 1489"/>
                <a:gd name="T6" fmla="*/ 0 w 1393"/>
                <a:gd name="T7" fmla="*/ 93 h 1489"/>
                <a:gd name="T8" fmla="*/ 93 w 1393"/>
                <a:gd name="T9" fmla="*/ 186 h 1489"/>
                <a:gd name="T10" fmla="*/ 147 w 1393"/>
                <a:gd name="T11" fmla="*/ 186 h 1489"/>
                <a:gd name="T12" fmla="*/ 147 w 1393"/>
                <a:gd name="T13" fmla="*/ 938 h 1489"/>
                <a:gd name="T14" fmla="*/ 240 w 1393"/>
                <a:gd name="T15" fmla="*/ 1031 h 1489"/>
                <a:gd name="T16" fmla="*/ 397 w 1393"/>
                <a:gd name="T17" fmla="*/ 1031 h 1489"/>
                <a:gd name="T18" fmla="*/ 462 w 1393"/>
                <a:gd name="T19" fmla="*/ 1004 h 1489"/>
                <a:gd name="T20" fmla="*/ 591 w 1393"/>
                <a:gd name="T21" fmla="*/ 876 h 1489"/>
                <a:gd name="T22" fmla="*/ 591 w 1393"/>
                <a:gd name="T23" fmla="*/ 1100 h 1489"/>
                <a:gd name="T24" fmla="*/ 201 w 1393"/>
                <a:gd name="T25" fmla="*/ 1489 h 1489"/>
                <a:gd name="T26" fmla="*/ 1393 w 1393"/>
                <a:gd name="T27" fmla="*/ 1489 h 1489"/>
                <a:gd name="T28" fmla="*/ 1393 w 1393"/>
                <a:gd name="T29" fmla="*/ 633 h 1489"/>
                <a:gd name="T30" fmla="*/ 761 w 1393"/>
                <a:gd name="T31" fmla="*/ 0 h 14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93" h="1489">
                  <a:moveTo>
                    <a:pt x="761" y="0"/>
                  </a:moveTo>
                  <a:cubicBezTo>
                    <a:pt x="240" y="0"/>
                    <a:pt x="240" y="0"/>
                    <a:pt x="240" y="0"/>
                  </a:cubicBezTo>
                  <a:cubicBezTo>
                    <a:pt x="93" y="0"/>
                    <a:pt x="93" y="0"/>
                    <a:pt x="93" y="0"/>
                  </a:cubicBezTo>
                  <a:cubicBezTo>
                    <a:pt x="41" y="0"/>
                    <a:pt x="0" y="42"/>
                    <a:pt x="0" y="93"/>
                  </a:cubicBezTo>
                  <a:cubicBezTo>
                    <a:pt x="0" y="145"/>
                    <a:pt x="41" y="186"/>
                    <a:pt x="93" y="186"/>
                  </a:cubicBezTo>
                  <a:cubicBezTo>
                    <a:pt x="147" y="186"/>
                    <a:pt x="147" y="186"/>
                    <a:pt x="147" y="186"/>
                  </a:cubicBezTo>
                  <a:cubicBezTo>
                    <a:pt x="147" y="938"/>
                    <a:pt x="147" y="938"/>
                    <a:pt x="147" y="938"/>
                  </a:cubicBezTo>
                  <a:cubicBezTo>
                    <a:pt x="147" y="990"/>
                    <a:pt x="188" y="1031"/>
                    <a:pt x="240" y="1031"/>
                  </a:cubicBezTo>
                  <a:cubicBezTo>
                    <a:pt x="397" y="1031"/>
                    <a:pt x="397" y="1031"/>
                    <a:pt x="397" y="1031"/>
                  </a:cubicBezTo>
                  <a:cubicBezTo>
                    <a:pt x="421" y="1031"/>
                    <a:pt x="445" y="1021"/>
                    <a:pt x="462" y="1004"/>
                  </a:cubicBezTo>
                  <a:cubicBezTo>
                    <a:pt x="591" y="876"/>
                    <a:pt x="591" y="876"/>
                    <a:pt x="591" y="876"/>
                  </a:cubicBezTo>
                  <a:cubicBezTo>
                    <a:pt x="591" y="1100"/>
                    <a:pt x="591" y="1100"/>
                    <a:pt x="591" y="1100"/>
                  </a:cubicBezTo>
                  <a:cubicBezTo>
                    <a:pt x="201" y="1489"/>
                    <a:pt x="201" y="1489"/>
                    <a:pt x="201" y="1489"/>
                  </a:cubicBezTo>
                  <a:cubicBezTo>
                    <a:pt x="1393" y="1489"/>
                    <a:pt x="1393" y="1489"/>
                    <a:pt x="1393" y="1489"/>
                  </a:cubicBezTo>
                  <a:cubicBezTo>
                    <a:pt x="1393" y="633"/>
                    <a:pt x="1393" y="633"/>
                    <a:pt x="1393" y="633"/>
                  </a:cubicBezTo>
                  <a:cubicBezTo>
                    <a:pt x="1393" y="284"/>
                    <a:pt x="1109" y="0"/>
                    <a:pt x="76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33333"/>
                </a:solidFill>
                <a:effectLst/>
                <a:uLnTx/>
                <a:uFillTx/>
                <a:latin typeface="Open Sans"/>
                <a:ea typeface="+mn-ea"/>
                <a:cs typeface="+mn-cs"/>
              </a:endParaRPr>
            </a:p>
          </p:txBody>
        </p:sp>
        <p:sp>
          <p:nvSpPr>
            <p:cNvPr id="17" name="Freeform 10">
              <a:extLst>
                <a:ext uri="{FF2B5EF4-FFF2-40B4-BE49-F238E27FC236}">
                  <a16:creationId xmlns:a16="http://schemas.microsoft.com/office/drawing/2014/main" id="{7AC5FAAE-7A4B-4A70-BD4D-8EDFA60CF2C0}"/>
                </a:ext>
              </a:extLst>
            </p:cNvPr>
            <p:cNvSpPr>
              <a:spLocks/>
            </p:cNvSpPr>
            <p:nvPr/>
          </p:nvSpPr>
          <p:spPr bwMode="auto">
            <a:xfrm>
              <a:off x="4862513" y="3770313"/>
              <a:ext cx="260350" cy="58738"/>
            </a:xfrm>
            <a:custGeom>
              <a:avLst/>
              <a:gdLst>
                <a:gd name="T0" fmla="*/ 0 w 1646"/>
                <a:gd name="T1" fmla="*/ 0 h 372"/>
                <a:gd name="T2" fmla="*/ 0 w 1646"/>
                <a:gd name="T3" fmla="*/ 279 h 372"/>
                <a:gd name="T4" fmla="*/ 93 w 1646"/>
                <a:gd name="T5" fmla="*/ 372 h 372"/>
                <a:gd name="T6" fmla="*/ 1553 w 1646"/>
                <a:gd name="T7" fmla="*/ 372 h 372"/>
                <a:gd name="T8" fmla="*/ 1646 w 1646"/>
                <a:gd name="T9" fmla="*/ 279 h 372"/>
                <a:gd name="T10" fmla="*/ 1646 w 1646"/>
                <a:gd name="T11" fmla="*/ 0 h 372"/>
                <a:gd name="T12" fmla="*/ 0 w 1646"/>
                <a:gd name="T13" fmla="*/ 0 h 372"/>
              </a:gdLst>
              <a:ahLst/>
              <a:cxnLst>
                <a:cxn ang="0">
                  <a:pos x="T0" y="T1"/>
                </a:cxn>
                <a:cxn ang="0">
                  <a:pos x="T2" y="T3"/>
                </a:cxn>
                <a:cxn ang="0">
                  <a:pos x="T4" y="T5"/>
                </a:cxn>
                <a:cxn ang="0">
                  <a:pos x="T6" y="T7"/>
                </a:cxn>
                <a:cxn ang="0">
                  <a:pos x="T8" y="T9"/>
                </a:cxn>
                <a:cxn ang="0">
                  <a:pos x="T10" y="T11"/>
                </a:cxn>
                <a:cxn ang="0">
                  <a:pos x="T12" y="T13"/>
                </a:cxn>
              </a:cxnLst>
              <a:rect l="0" t="0" r="r" b="b"/>
              <a:pathLst>
                <a:path w="1646" h="372">
                  <a:moveTo>
                    <a:pt x="0" y="0"/>
                  </a:moveTo>
                  <a:cubicBezTo>
                    <a:pt x="0" y="279"/>
                    <a:pt x="0" y="279"/>
                    <a:pt x="0" y="279"/>
                  </a:cubicBezTo>
                  <a:cubicBezTo>
                    <a:pt x="0" y="330"/>
                    <a:pt x="42" y="372"/>
                    <a:pt x="93" y="372"/>
                  </a:cubicBezTo>
                  <a:cubicBezTo>
                    <a:pt x="1553" y="372"/>
                    <a:pt x="1553" y="372"/>
                    <a:pt x="1553" y="372"/>
                  </a:cubicBezTo>
                  <a:cubicBezTo>
                    <a:pt x="1604" y="372"/>
                    <a:pt x="1646" y="330"/>
                    <a:pt x="1646" y="279"/>
                  </a:cubicBezTo>
                  <a:cubicBezTo>
                    <a:pt x="1646" y="0"/>
                    <a:pt x="1646" y="0"/>
                    <a:pt x="1646" y="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33333"/>
                </a:solidFill>
                <a:effectLst/>
                <a:uLnTx/>
                <a:uFillTx/>
                <a:latin typeface="Open Sans"/>
                <a:ea typeface="+mn-ea"/>
                <a:cs typeface="+mn-cs"/>
              </a:endParaRPr>
            </a:p>
          </p:txBody>
        </p:sp>
      </p:grpSp>
      <p:sp>
        <p:nvSpPr>
          <p:cNvPr id="18" name="Freeform 14">
            <a:extLst>
              <a:ext uri="{FF2B5EF4-FFF2-40B4-BE49-F238E27FC236}">
                <a16:creationId xmlns:a16="http://schemas.microsoft.com/office/drawing/2014/main" id="{7D503494-AD88-4AE1-A7E9-7519B0678B2E}"/>
              </a:ext>
            </a:extLst>
          </p:cNvPr>
          <p:cNvSpPr>
            <a:spLocks noEditPoints="1"/>
          </p:cNvSpPr>
          <p:nvPr/>
        </p:nvSpPr>
        <p:spPr bwMode="auto">
          <a:xfrm>
            <a:off x="6999628" y="3977176"/>
            <a:ext cx="420392" cy="408604"/>
          </a:xfrm>
          <a:custGeom>
            <a:avLst/>
            <a:gdLst>
              <a:gd name="T0" fmla="*/ 2119 w 2125"/>
              <a:gd name="T1" fmla="*/ 400 h 2053"/>
              <a:gd name="T2" fmla="*/ 2061 w 2125"/>
              <a:gd name="T3" fmla="*/ 337 h 2053"/>
              <a:gd name="T4" fmla="*/ 1857 w 2125"/>
              <a:gd name="T5" fmla="*/ 269 h 2053"/>
              <a:gd name="T6" fmla="*/ 1789 w 2125"/>
              <a:gd name="T7" fmla="*/ 64 h 2053"/>
              <a:gd name="T8" fmla="*/ 1726 w 2125"/>
              <a:gd name="T9" fmla="*/ 7 h 2053"/>
              <a:gd name="T10" fmla="*/ 1645 w 2125"/>
              <a:gd name="T11" fmla="*/ 30 h 2053"/>
              <a:gd name="T12" fmla="*/ 1399 w 2125"/>
              <a:gd name="T13" fmla="*/ 276 h 2053"/>
              <a:gd name="T14" fmla="*/ 1378 w 2125"/>
              <a:gd name="T15" fmla="*/ 365 h 2053"/>
              <a:gd name="T16" fmla="*/ 1443 w 2125"/>
              <a:gd name="T17" fmla="*/ 560 h 2053"/>
              <a:gd name="T18" fmla="*/ 1293 w 2125"/>
              <a:gd name="T19" fmla="*/ 710 h 2053"/>
              <a:gd name="T20" fmla="*/ 826 w 2125"/>
              <a:gd name="T21" fmla="*/ 547 h 2053"/>
              <a:gd name="T22" fmla="*/ 293 w 2125"/>
              <a:gd name="T23" fmla="*/ 768 h 2053"/>
              <a:gd name="T24" fmla="*/ 293 w 2125"/>
              <a:gd name="T25" fmla="*/ 1832 h 2053"/>
              <a:gd name="T26" fmla="*/ 826 w 2125"/>
              <a:gd name="T27" fmla="*/ 2053 h 2053"/>
              <a:gd name="T28" fmla="*/ 1358 w 2125"/>
              <a:gd name="T29" fmla="*/ 1832 h 2053"/>
              <a:gd name="T30" fmla="*/ 1416 w 2125"/>
              <a:gd name="T31" fmla="*/ 833 h 2053"/>
              <a:gd name="T32" fmla="*/ 1566 w 2125"/>
              <a:gd name="T33" fmla="*/ 683 h 2053"/>
              <a:gd name="T34" fmla="*/ 1761 w 2125"/>
              <a:gd name="T35" fmla="*/ 748 h 2053"/>
              <a:gd name="T36" fmla="*/ 1788 w 2125"/>
              <a:gd name="T37" fmla="*/ 752 h 2053"/>
              <a:gd name="T38" fmla="*/ 1850 w 2125"/>
              <a:gd name="T39" fmla="*/ 727 h 2053"/>
              <a:gd name="T40" fmla="*/ 2095 w 2125"/>
              <a:gd name="T41" fmla="*/ 481 h 2053"/>
              <a:gd name="T42" fmla="*/ 2119 w 2125"/>
              <a:gd name="T43" fmla="*/ 400 h 2053"/>
              <a:gd name="T44" fmla="*/ 1235 w 2125"/>
              <a:gd name="T45" fmla="*/ 1710 h 2053"/>
              <a:gd name="T46" fmla="*/ 826 w 2125"/>
              <a:gd name="T47" fmla="*/ 1879 h 2053"/>
              <a:gd name="T48" fmla="*/ 416 w 2125"/>
              <a:gd name="T49" fmla="*/ 1710 h 2053"/>
              <a:gd name="T50" fmla="*/ 416 w 2125"/>
              <a:gd name="T51" fmla="*/ 890 h 2053"/>
              <a:gd name="T52" fmla="*/ 826 w 2125"/>
              <a:gd name="T53" fmla="*/ 721 h 2053"/>
              <a:gd name="T54" fmla="*/ 1169 w 2125"/>
              <a:gd name="T55" fmla="*/ 834 h 2053"/>
              <a:gd name="T56" fmla="*/ 1044 w 2125"/>
              <a:gd name="T57" fmla="*/ 959 h 2053"/>
              <a:gd name="T58" fmla="*/ 826 w 2125"/>
              <a:gd name="T59" fmla="*/ 895 h 2053"/>
              <a:gd name="T60" fmla="*/ 539 w 2125"/>
              <a:gd name="T61" fmla="*/ 1013 h 2053"/>
              <a:gd name="T62" fmla="*/ 420 w 2125"/>
              <a:gd name="T63" fmla="*/ 1300 h 2053"/>
              <a:gd name="T64" fmla="*/ 539 w 2125"/>
              <a:gd name="T65" fmla="*/ 1587 h 2053"/>
              <a:gd name="T66" fmla="*/ 826 w 2125"/>
              <a:gd name="T67" fmla="*/ 1705 h 2053"/>
              <a:gd name="T68" fmla="*/ 1112 w 2125"/>
              <a:gd name="T69" fmla="*/ 1587 h 2053"/>
              <a:gd name="T70" fmla="*/ 1167 w 2125"/>
              <a:gd name="T71" fmla="*/ 1081 h 2053"/>
              <a:gd name="T72" fmla="*/ 1292 w 2125"/>
              <a:gd name="T73" fmla="*/ 957 h 2053"/>
              <a:gd name="T74" fmla="*/ 1235 w 2125"/>
              <a:gd name="T75" fmla="*/ 1710 h 2053"/>
              <a:gd name="T76" fmla="*/ 764 w 2125"/>
              <a:gd name="T77" fmla="*/ 1361 h 2053"/>
              <a:gd name="T78" fmla="*/ 826 w 2125"/>
              <a:gd name="T79" fmla="*/ 1387 h 2053"/>
              <a:gd name="T80" fmla="*/ 887 w 2125"/>
              <a:gd name="T81" fmla="*/ 1361 h 2053"/>
              <a:gd name="T82" fmla="*/ 1039 w 2125"/>
              <a:gd name="T83" fmla="*/ 1210 h 2053"/>
              <a:gd name="T84" fmla="*/ 990 w 2125"/>
              <a:gd name="T85" fmla="*/ 1464 h 2053"/>
              <a:gd name="T86" fmla="*/ 826 w 2125"/>
              <a:gd name="T87" fmla="*/ 1532 h 2053"/>
              <a:gd name="T88" fmla="*/ 662 w 2125"/>
              <a:gd name="T89" fmla="*/ 1464 h 2053"/>
              <a:gd name="T90" fmla="*/ 594 w 2125"/>
              <a:gd name="T91" fmla="*/ 1300 h 2053"/>
              <a:gd name="T92" fmla="*/ 662 w 2125"/>
              <a:gd name="T93" fmla="*/ 1136 h 2053"/>
              <a:gd name="T94" fmla="*/ 826 w 2125"/>
              <a:gd name="T95" fmla="*/ 1068 h 2053"/>
              <a:gd name="T96" fmla="*/ 916 w 2125"/>
              <a:gd name="T97" fmla="*/ 1087 h 2053"/>
              <a:gd name="T98" fmla="*/ 764 w 2125"/>
              <a:gd name="T99" fmla="*/ 1239 h 2053"/>
              <a:gd name="T100" fmla="*/ 764 w 2125"/>
              <a:gd name="T101" fmla="*/ 1361 h 20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125" h="2053">
                <a:moveTo>
                  <a:pt x="2119" y="400"/>
                </a:moveTo>
                <a:cubicBezTo>
                  <a:pt x="2112" y="370"/>
                  <a:pt x="2090" y="347"/>
                  <a:pt x="2061" y="337"/>
                </a:cubicBezTo>
                <a:cubicBezTo>
                  <a:pt x="1857" y="269"/>
                  <a:pt x="1857" y="269"/>
                  <a:pt x="1857" y="269"/>
                </a:cubicBezTo>
                <a:cubicBezTo>
                  <a:pt x="1789" y="64"/>
                  <a:pt x="1789" y="64"/>
                  <a:pt x="1789" y="64"/>
                </a:cubicBezTo>
                <a:cubicBezTo>
                  <a:pt x="1779" y="36"/>
                  <a:pt x="1756" y="14"/>
                  <a:pt x="1726" y="7"/>
                </a:cubicBezTo>
                <a:cubicBezTo>
                  <a:pt x="1697" y="0"/>
                  <a:pt x="1666" y="9"/>
                  <a:pt x="1645" y="30"/>
                </a:cubicBezTo>
                <a:cubicBezTo>
                  <a:pt x="1399" y="276"/>
                  <a:pt x="1399" y="276"/>
                  <a:pt x="1399" y="276"/>
                </a:cubicBezTo>
                <a:cubicBezTo>
                  <a:pt x="1376" y="299"/>
                  <a:pt x="1368" y="334"/>
                  <a:pt x="1378" y="365"/>
                </a:cubicBezTo>
                <a:cubicBezTo>
                  <a:pt x="1443" y="560"/>
                  <a:pt x="1443" y="560"/>
                  <a:pt x="1443" y="560"/>
                </a:cubicBezTo>
                <a:cubicBezTo>
                  <a:pt x="1293" y="710"/>
                  <a:pt x="1293" y="710"/>
                  <a:pt x="1293" y="710"/>
                </a:cubicBezTo>
                <a:cubicBezTo>
                  <a:pt x="1161" y="604"/>
                  <a:pt x="998" y="547"/>
                  <a:pt x="826" y="547"/>
                </a:cubicBezTo>
                <a:cubicBezTo>
                  <a:pt x="625" y="547"/>
                  <a:pt x="436" y="625"/>
                  <a:pt x="293" y="768"/>
                </a:cubicBezTo>
                <a:cubicBezTo>
                  <a:pt x="0" y="1061"/>
                  <a:pt x="0" y="1539"/>
                  <a:pt x="293" y="1832"/>
                </a:cubicBezTo>
                <a:cubicBezTo>
                  <a:pt x="436" y="1975"/>
                  <a:pt x="625" y="2053"/>
                  <a:pt x="826" y="2053"/>
                </a:cubicBezTo>
                <a:cubicBezTo>
                  <a:pt x="1027" y="2053"/>
                  <a:pt x="1216" y="1975"/>
                  <a:pt x="1358" y="1832"/>
                </a:cubicBezTo>
                <a:cubicBezTo>
                  <a:pt x="1631" y="1560"/>
                  <a:pt x="1650" y="1128"/>
                  <a:pt x="1416" y="833"/>
                </a:cubicBezTo>
                <a:cubicBezTo>
                  <a:pt x="1566" y="683"/>
                  <a:pt x="1566" y="683"/>
                  <a:pt x="1566" y="683"/>
                </a:cubicBezTo>
                <a:cubicBezTo>
                  <a:pt x="1761" y="748"/>
                  <a:pt x="1761" y="748"/>
                  <a:pt x="1761" y="748"/>
                </a:cubicBezTo>
                <a:cubicBezTo>
                  <a:pt x="1770" y="751"/>
                  <a:pt x="1779" y="752"/>
                  <a:pt x="1788" y="752"/>
                </a:cubicBezTo>
                <a:cubicBezTo>
                  <a:pt x="1811" y="752"/>
                  <a:pt x="1833" y="743"/>
                  <a:pt x="1850" y="727"/>
                </a:cubicBezTo>
                <a:cubicBezTo>
                  <a:pt x="2095" y="481"/>
                  <a:pt x="2095" y="481"/>
                  <a:pt x="2095" y="481"/>
                </a:cubicBezTo>
                <a:cubicBezTo>
                  <a:pt x="2117" y="460"/>
                  <a:pt x="2125" y="429"/>
                  <a:pt x="2119" y="400"/>
                </a:cubicBezTo>
                <a:close/>
                <a:moveTo>
                  <a:pt x="1235" y="1710"/>
                </a:moveTo>
                <a:cubicBezTo>
                  <a:pt x="1126" y="1819"/>
                  <a:pt x="980" y="1879"/>
                  <a:pt x="826" y="1879"/>
                </a:cubicBezTo>
                <a:cubicBezTo>
                  <a:pt x="671" y="1879"/>
                  <a:pt x="526" y="1819"/>
                  <a:pt x="416" y="1710"/>
                </a:cubicBezTo>
                <a:cubicBezTo>
                  <a:pt x="190" y="1484"/>
                  <a:pt x="190" y="1116"/>
                  <a:pt x="416" y="890"/>
                </a:cubicBezTo>
                <a:cubicBezTo>
                  <a:pt x="526" y="781"/>
                  <a:pt x="671" y="721"/>
                  <a:pt x="826" y="721"/>
                </a:cubicBezTo>
                <a:cubicBezTo>
                  <a:pt x="951" y="721"/>
                  <a:pt x="1070" y="760"/>
                  <a:pt x="1169" y="834"/>
                </a:cubicBezTo>
                <a:cubicBezTo>
                  <a:pt x="1044" y="959"/>
                  <a:pt x="1044" y="959"/>
                  <a:pt x="1044" y="959"/>
                </a:cubicBezTo>
                <a:cubicBezTo>
                  <a:pt x="980" y="917"/>
                  <a:pt x="904" y="895"/>
                  <a:pt x="826" y="895"/>
                </a:cubicBezTo>
                <a:cubicBezTo>
                  <a:pt x="717" y="895"/>
                  <a:pt x="616" y="937"/>
                  <a:pt x="539" y="1013"/>
                </a:cubicBezTo>
                <a:cubicBezTo>
                  <a:pt x="463" y="1090"/>
                  <a:pt x="420" y="1192"/>
                  <a:pt x="420" y="1300"/>
                </a:cubicBezTo>
                <a:cubicBezTo>
                  <a:pt x="420" y="1408"/>
                  <a:pt x="463" y="1510"/>
                  <a:pt x="539" y="1587"/>
                </a:cubicBezTo>
                <a:cubicBezTo>
                  <a:pt x="616" y="1663"/>
                  <a:pt x="717" y="1705"/>
                  <a:pt x="826" y="1705"/>
                </a:cubicBezTo>
                <a:cubicBezTo>
                  <a:pt x="934" y="1705"/>
                  <a:pt x="1036" y="1663"/>
                  <a:pt x="1112" y="1587"/>
                </a:cubicBezTo>
                <a:cubicBezTo>
                  <a:pt x="1249" y="1450"/>
                  <a:pt x="1268" y="1238"/>
                  <a:pt x="1167" y="1081"/>
                </a:cubicBezTo>
                <a:cubicBezTo>
                  <a:pt x="1292" y="957"/>
                  <a:pt x="1292" y="957"/>
                  <a:pt x="1292" y="957"/>
                </a:cubicBezTo>
                <a:cubicBezTo>
                  <a:pt x="1459" y="1183"/>
                  <a:pt x="1440" y="1505"/>
                  <a:pt x="1235" y="1710"/>
                </a:cubicBezTo>
                <a:close/>
                <a:moveTo>
                  <a:pt x="764" y="1361"/>
                </a:moveTo>
                <a:cubicBezTo>
                  <a:pt x="781" y="1378"/>
                  <a:pt x="804" y="1387"/>
                  <a:pt x="826" y="1387"/>
                </a:cubicBezTo>
                <a:cubicBezTo>
                  <a:pt x="848" y="1387"/>
                  <a:pt x="870" y="1378"/>
                  <a:pt x="887" y="1361"/>
                </a:cubicBezTo>
                <a:cubicBezTo>
                  <a:pt x="1039" y="1210"/>
                  <a:pt x="1039" y="1210"/>
                  <a:pt x="1039" y="1210"/>
                </a:cubicBezTo>
                <a:cubicBezTo>
                  <a:pt x="1075" y="1294"/>
                  <a:pt x="1058" y="1395"/>
                  <a:pt x="990" y="1464"/>
                </a:cubicBezTo>
                <a:cubicBezTo>
                  <a:pt x="946" y="1508"/>
                  <a:pt x="888" y="1532"/>
                  <a:pt x="826" y="1532"/>
                </a:cubicBezTo>
                <a:cubicBezTo>
                  <a:pt x="764" y="1532"/>
                  <a:pt x="706" y="1508"/>
                  <a:pt x="662" y="1464"/>
                </a:cubicBezTo>
                <a:cubicBezTo>
                  <a:pt x="618" y="1420"/>
                  <a:pt x="594" y="1362"/>
                  <a:pt x="594" y="1300"/>
                </a:cubicBezTo>
                <a:cubicBezTo>
                  <a:pt x="594" y="1238"/>
                  <a:pt x="618" y="1180"/>
                  <a:pt x="662" y="1136"/>
                </a:cubicBezTo>
                <a:cubicBezTo>
                  <a:pt x="706" y="1092"/>
                  <a:pt x="764" y="1068"/>
                  <a:pt x="826" y="1068"/>
                </a:cubicBezTo>
                <a:cubicBezTo>
                  <a:pt x="857" y="1068"/>
                  <a:pt x="888" y="1075"/>
                  <a:pt x="916" y="1087"/>
                </a:cubicBezTo>
                <a:cubicBezTo>
                  <a:pt x="764" y="1239"/>
                  <a:pt x="764" y="1239"/>
                  <a:pt x="764" y="1239"/>
                </a:cubicBezTo>
                <a:cubicBezTo>
                  <a:pt x="730" y="1273"/>
                  <a:pt x="730" y="1328"/>
                  <a:pt x="764" y="1361"/>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33333"/>
              </a:solidFill>
              <a:effectLst/>
              <a:uLnTx/>
              <a:uFillTx/>
              <a:latin typeface="Open Sans"/>
              <a:ea typeface="+mn-ea"/>
              <a:cs typeface="+mn-cs"/>
            </a:endParaRPr>
          </a:p>
        </p:txBody>
      </p:sp>
      <p:grpSp>
        <p:nvGrpSpPr>
          <p:cNvPr id="19" name="Group 58">
            <a:extLst>
              <a:ext uri="{FF2B5EF4-FFF2-40B4-BE49-F238E27FC236}">
                <a16:creationId xmlns:a16="http://schemas.microsoft.com/office/drawing/2014/main" id="{CC2D2DA0-83EA-4F96-A29B-40E7210720E0}"/>
              </a:ext>
            </a:extLst>
          </p:cNvPr>
          <p:cNvGrpSpPr/>
          <p:nvPr/>
        </p:nvGrpSpPr>
        <p:grpSpPr>
          <a:xfrm>
            <a:off x="5836044" y="4699027"/>
            <a:ext cx="335208" cy="333632"/>
            <a:chOff x="9682163" y="3494088"/>
            <a:chExt cx="338137" cy="336551"/>
          </a:xfrm>
          <a:solidFill>
            <a:srgbClr val="FFFFFF"/>
          </a:solidFill>
        </p:grpSpPr>
        <p:sp>
          <p:nvSpPr>
            <p:cNvPr id="20" name="Rectangle 18">
              <a:extLst>
                <a:ext uri="{FF2B5EF4-FFF2-40B4-BE49-F238E27FC236}">
                  <a16:creationId xmlns:a16="http://schemas.microsoft.com/office/drawing/2014/main" id="{84EA3B09-79B8-40BF-AC8C-3605B357774C}"/>
                </a:ext>
              </a:extLst>
            </p:cNvPr>
            <p:cNvSpPr>
              <a:spLocks noChangeArrowheads="1"/>
            </p:cNvSpPr>
            <p:nvPr/>
          </p:nvSpPr>
          <p:spPr bwMode="auto">
            <a:xfrm>
              <a:off x="9836150" y="3687763"/>
              <a:ext cx="30162" cy="301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33333"/>
                </a:solidFill>
                <a:effectLst/>
                <a:uLnTx/>
                <a:uFillTx/>
                <a:latin typeface="Open Sans"/>
                <a:ea typeface="+mn-ea"/>
                <a:cs typeface="+mn-cs"/>
              </a:endParaRPr>
            </a:p>
          </p:txBody>
        </p:sp>
        <p:sp>
          <p:nvSpPr>
            <p:cNvPr id="21" name="Freeform 19">
              <a:extLst>
                <a:ext uri="{FF2B5EF4-FFF2-40B4-BE49-F238E27FC236}">
                  <a16:creationId xmlns:a16="http://schemas.microsoft.com/office/drawing/2014/main" id="{7E0695DC-30DB-4431-8818-251A782DD623}"/>
                </a:ext>
              </a:extLst>
            </p:cNvPr>
            <p:cNvSpPr>
              <a:spLocks noEditPoints="1"/>
            </p:cNvSpPr>
            <p:nvPr/>
          </p:nvSpPr>
          <p:spPr bwMode="auto">
            <a:xfrm>
              <a:off x="9682163" y="3494088"/>
              <a:ext cx="338137" cy="163513"/>
            </a:xfrm>
            <a:custGeom>
              <a:avLst/>
              <a:gdLst>
                <a:gd name="T0" fmla="*/ 1955 w 2048"/>
                <a:gd name="T1" fmla="*/ 372 h 993"/>
                <a:gd name="T2" fmla="*/ 1427 w 2048"/>
                <a:gd name="T3" fmla="*/ 372 h 993"/>
                <a:gd name="T4" fmla="*/ 1427 w 2048"/>
                <a:gd name="T5" fmla="*/ 93 h 993"/>
                <a:gd name="T6" fmla="*/ 1334 w 2048"/>
                <a:gd name="T7" fmla="*/ 0 h 993"/>
                <a:gd name="T8" fmla="*/ 714 w 2048"/>
                <a:gd name="T9" fmla="*/ 0 h 993"/>
                <a:gd name="T10" fmla="*/ 621 w 2048"/>
                <a:gd name="T11" fmla="*/ 93 h 993"/>
                <a:gd name="T12" fmla="*/ 621 w 2048"/>
                <a:gd name="T13" fmla="*/ 372 h 993"/>
                <a:gd name="T14" fmla="*/ 93 w 2048"/>
                <a:gd name="T15" fmla="*/ 372 h 993"/>
                <a:gd name="T16" fmla="*/ 0 w 2048"/>
                <a:gd name="T17" fmla="*/ 465 h 993"/>
                <a:gd name="T18" fmla="*/ 0 w 2048"/>
                <a:gd name="T19" fmla="*/ 781 h 993"/>
                <a:gd name="T20" fmla="*/ 93 w 2048"/>
                <a:gd name="T21" fmla="*/ 804 h 993"/>
                <a:gd name="T22" fmla="*/ 186 w 2048"/>
                <a:gd name="T23" fmla="*/ 827 h 993"/>
                <a:gd name="T24" fmla="*/ 849 w 2048"/>
                <a:gd name="T25" fmla="*/ 993 h 993"/>
                <a:gd name="T26" fmla="*/ 1199 w 2048"/>
                <a:gd name="T27" fmla="*/ 993 h 993"/>
                <a:gd name="T28" fmla="*/ 1862 w 2048"/>
                <a:gd name="T29" fmla="*/ 827 h 993"/>
                <a:gd name="T30" fmla="*/ 1955 w 2048"/>
                <a:gd name="T31" fmla="*/ 804 h 993"/>
                <a:gd name="T32" fmla="*/ 2048 w 2048"/>
                <a:gd name="T33" fmla="*/ 781 h 993"/>
                <a:gd name="T34" fmla="*/ 2048 w 2048"/>
                <a:gd name="T35" fmla="*/ 465 h 993"/>
                <a:gd name="T36" fmla="*/ 1955 w 2048"/>
                <a:gd name="T37" fmla="*/ 372 h 993"/>
                <a:gd name="T38" fmla="*/ 1241 w 2048"/>
                <a:gd name="T39" fmla="*/ 372 h 993"/>
                <a:gd name="T40" fmla="*/ 807 w 2048"/>
                <a:gd name="T41" fmla="*/ 372 h 993"/>
                <a:gd name="T42" fmla="*/ 807 w 2048"/>
                <a:gd name="T43" fmla="*/ 186 h 993"/>
                <a:gd name="T44" fmla="*/ 1241 w 2048"/>
                <a:gd name="T45" fmla="*/ 186 h 993"/>
                <a:gd name="T46" fmla="*/ 1241 w 2048"/>
                <a:gd name="T47" fmla="*/ 372 h 9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048" h="993">
                  <a:moveTo>
                    <a:pt x="1955" y="372"/>
                  </a:moveTo>
                  <a:cubicBezTo>
                    <a:pt x="1427" y="372"/>
                    <a:pt x="1427" y="372"/>
                    <a:pt x="1427" y="372"/>
                  </a:cubicBezTo>
                  <a:cubicBezTo>
                    <a:pt x="1427" y="93"/>
                    <a:pt x="1427" y="93"/>
                    <a:pt x="1427" y="93"/>
                  </a:cubicBezTo>
                  <a:cubicBezTo>
                    <a:pt x="1427" y="42"/>
                    <a:pt x="1386" y="0"/>
                    <a:pt x="1334" y="0"/>
                  </a:cubicBezTo>
                  <a:cubicBezTo>
                    <a:pt x="714" y="0"/>
                    <a:pt x="714" y="0"/>
                    <a:pt x="714" y="0"/>
                  </a:cubicBezTo>
                  <a:cubicBezTo>
                    <a:pt x="662" y="0"/>
                    <a:pt x="621" y="42"/>
                    <a:pt x="621" y="93"/>
                  </a:cubicBezTo>
                  <a:cubicBezTo>
                    <a:pt x="621" y="372"/>
                    <a:pt x="621" y="372"/>
                    <a:pt x="621" y="372"/>
                  </a:cubicBezTo>
                  <a:cubicBezTo>
                    <a:pt x="93" y="372"/>
                    <a:pt x="93" y="372"/>
                    <a:pt x="93" y="372"/>
                  </a:cubicBezTo>
                  <a:cubicBezTo>
                    <a:pt x="42" y="372"/>
                    <a:pt x="0" y="414"/>
                    <a:pt x="0" y="465"/>
                  </a:cubicBezTo>
                  <a:cubicBezTo>
                    <a:pt x="0" y="781"/>
                    <a:pt x="0" y="781"/>
                    <a:pt x="0" y="781"/>
                  </a:cubicBezTo>
                  <a:cubicBezTo>
                    <a:pt x="93" y="804"/>
                    <a:pt x="93" y="804"/>
                    <a:pt x="93" y="804"/>
                  </a:cubicBezTo>
                  <a:cubicBezTo>
                    <a:pt x="186" y="827"/>
                    <a:pt x="186" y="827"/>
                    <a:pt x="186" y="827"/>
                  </a:cubicBezTo>
                  <a:cubicBezTo>
                    <a:pt x="849" y="993"/>
                    <a:pt x="849" y="993"/>
                    <a:pt x="849" y="993"/>
                  </a:cubicBezTo>
                  <a:cubicBezTo>
                    <a:pt x="1199" y="993"/>
                    <a:pt x="1199" y="993"/>
                    <a:pt x="1199" y="993"/>
                  </a:cubicBezTo>
                  <a:cubicBezTo>
                    <a:pt x="1862" y="827"/>
                    <a:pt x="1862" y="827"/>
                    <a:pt x="1862" y="827"/>
                  </a:cubicBezTo>
                  <a:cubicBezTo>
                    <a:pt x="1955" y="804"/>
                    <a:pt x="1955" y="804"/>
                    <a:pt x="1955" y="804"/>
                  </a:cubicBezTo>
                  <a:cubicBezTo>
                    <a:pt x="2048" y="781"/>
                    <a:pt x="2048" y="781"/>
                    <a:pt x="2048" y="781"/>
                  </a:cubicBezTo>
                  <a:cubicBezTo>
                    <a:pt x="2048" y="465"/>
                    <a:pt x="2048" y="465"/>
                    <a:pt x="2048" y="465"/>
                  </a:cubicBezTo>
                  <a:cubicBezTo>
                    <a:pt x="2048" y="414"/>
                    <a:pt x="2006" y="372"/>
                    <a:pt x="1955" y="372"/>
                  </a:cubicBezTo>
                  <a:close/>
                  <a:moveTo>
                    <a:pt x="1241" y="372"/>
                  </a:moveTo>
                  <a:cubicBezTo>
                    <a:pt x="807" y="372"/>
                    <a:pt x="807" y="372"/>
                    <a:pt x="807" y="372"/>
                  </a:cubicBezTo>
                  <a:cubicBezTo>
                    <a:pt x="807" y="186"/>
                    <a:pt x="807" y="186"/>
                    <a:pt x="807" y="186"/>
                  </a:cubicBezTo>
                  <a:cubicBezTo>
                    <a:pt x="1241" y="186"/>
                    <a:pt x="1241" y="186"/>
                    <a:pt x="1241" y="186"/>
                  </a:cubicBezTo>
                  <a:lnTo>
                    <a:pt x="1241" y="3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33333"/>
                </a:solidFill>
                <a:effectLst/>
                <a:uLnTx/>
                <a:uFillTx/>
                <a:latin typeface="Open Sans"/>
                <a:ea typeface="+mn-ea"/>
                <a:cs typeface="+mn-cs"/>
              </a:endParaRPr>
            </a:p>
          </p:txBody>
        </p:sp>
        <p:sp>
          <p:nvSpPr>
            <p:cNvPr id="22" name="Freeform 20">
              <a:extLst>
                <a:ext uri="{FF2B5EF4-FFF2-40B4-BE49-F238E27FC236}">
                  <a16:creationId xmlns:a16="http://schemas.microsoft.com/office/drawing/2014/main" id="{BCE87CBE-0148-474B-85AB-CE6CADDA10CF}"/>
                </a:ext>
              </a:extLst>
            </p:cNvPr>
            <p:cNvSpPr>
              <a:spLocks/>
            </p:cNvSpPr>
            <p:nvPr/>
          </p:nvSpPr>
          <p:spPr bwMode="auto">
            <a:xfrm>
              <a:off x="9682163" y="3654426"/>
              <a:ext cx="338137" cy="176213"/>
            </a:xfrm>
            <a:custGeom>
              <a:avLst/>
              <a:gdLst>
                <a:gd name="T0" fmla="*/ 1955 w 2048"/>
                <a:gd name="T1" fmla="*/ 23 h 1075"/>
                <a:gd name="T2" fmla="*/ 1862 w 2048"/>
                <a:gd name="T3" fmla="*/ 46 h 1075"/>
                <a:gd name="T4" fmla="*/ 1303 w 2048"/>
                <a:gd name="T5" fmla="*/ 186 h 1075"/>
                <a:gd name="T6" fmla="*/ 1303 w 2048"/>
                <a:gd name="T7" fmla="*/ 485 h 1075"/>
                <a:gd name="T8" fmla="*/ 1210 w 2048"/>
                <a:gd name="T9" fmla="*/ 579 h 1075"/>
                <a:gd name="T10" fmla="*/ 838 w 2048"/>
                <a:gd name="T11" fmla="*/ 579 h 1075"/>
                <a:gd name="T12" fmla="*/ 745 w 2048"/>
                <a:gd name="T13" fmla="*/ 485 h 1075"/>
                <a:gd name="T14" fmla="*/ 745 w 2048"/>
                <a:gd name="T15" fmla="*/ 186 h 1075"/>
                <a:gd name="T16" fmla="*/ 186 w 2048"/>
                <a:gd name="T17" fmla="*/ 46 h 1075"/>
                <a:gd name="T18" fmla="*/ 93 w 2048"/>
                <a:gd name="T19" fmla="*/ 23 h 1075"/>
                <a:gd name="T20" fmla="*/ 0 w 2048"/>
                <a:gd name="T21" fmla="*/ 0 h 1075"/>
                <a:gd name="T22" fmla="*/ 0 w 2048"/>
                <a:gd name="T23" fmla="*/ 982 h 1075"/>
                <a:gd name="T24" fmla="*/ 93 w 2048"/>
                <a:gd name="T25" fmla="*/ 1075 h 1075"/>
                <a:gd name="T26" fmla="*/ 1955 w 2048"/>
                <a:gd name="T27" fmla="*/ 1075 h 1075"/>
                <a:gd name="T28" fmla="*/ 2048 w 2048"/>
                <a:gd name="T29" fmla="*/ 982 h 1075"/>
                <a:gd name="T30" fmla="*/ 2048 w 2048"/>
                <a:gd name="T31" fmla="*/ 0 h 1075"/>
                <a:gd name="T32" fmla="*/ 1955 w 2048"/>
                <a:gd name="T33" fmla="*/ 23 h 10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48" h="1075">
                  <a:moveTo>
                    <a:pt x="1955" y="23"/>
                  </a:moveTo>
                  <a:cubicBezTo>
                    <a:pt x="1862" y="46"/>
                    <a:pt x="1862" y="46"/>
                    <a:pt x="1862" y="46"/>
                  </a:cubicBezTo>
                  <a:cubicBezTo>
                    <a:pt x="1303" y="186"/>
                    <a:pt x="1303" y="186"/>
                    <a:pt x="1303" y="186"/>
                  </a:cubicBezTo>
                  <a:cubicBezTo>
                    <a:pt x="1303" y="485"/>
                    <a:pt x="1303" y="485"/>
                    <a:pt x="1303" y="485"/>
                  </a:cubicBezTo>
                  <a:cubicBezTo>
                    <a:pt x="1303" y="537"/>
                    <a:pt x="1262" y="579"/>
                    <a:pt x="1210" y="579"/>
                  </a:cubicBezTo>
                  <a:cubicBezTo>
                    <a:pt x="838" y="579"/>
                    <a:pt x="838" y="579"/>
                    <a:pt x="838" y="579"/>
                  </a:cubicBezTo>
                  <a:cubicBezTo>
                    <a:pt x="786" y="579"/>
                    <a:pt x="745" y="537"/>
                    <a:pt x="745" y="485"/>
                  </a:cubicBezTo>
                  <a:cubicBezTo>
                    <a:pt x="745" y="186"/>
                    <a:pt x="745" y="186"/>
                    <a:pt x="745" y="186"/>
                  </a:cubicBezTo>
                  <a:cubicBezTo>
                    <a:pt x="186" y="46"/>
                    <a:pt x="186" y="46"/>
                    <a:pt x="186" y="46"/>
                  </a:cubicBezTo>
                  <a:cubicBezTo>
                    <a:pt x="93" y="23"/>
                    <a:pt x="93" y="23"/>
                    <a:pt x="93" y="23"/>
                  </a:cubicBezTo>
                  <a:cubicBezTo>
                    <a:pt x="0" y="0"/>
                    <a:pt x="0" y="0"/>
                    <a:pt x="0" y="0"/>
                  </a:cubicBezTo>
                  <a:cubicBezTo>
                    <a:pt x="0" y="982"/>
                    <a:pt x="0" y="982"/>
                    <a:pt x="0" y="982"/>
                  </a:cubicBezTo>
                  <a:cubicBezTo>
                    <a:pt x="0" y="1033"/>
                    <a:pt x="42" y="1075"/>
                    <a:pt x="93" y="1075"/>
                  </a:cubicBezTo>
                  <a:cubicBezTo>
                    <a:pt x="1955" y="1075"/>
                    <a:pt x="1955" y="1075"/>
                    <a:pt x="1955" y="1075"/>
                  </a:cubicBezTo>
                  <a:cubicBezTo>
                    <a:pt x="2006" y="1075"/>
                    <a:pt x="2048" y="1033"/>
                    <a:pt x="2048" y="982"/>
                  </a:cubicBezTo>
                  <a:cubicBezTo>
                    <a:pt x="2048" y="0"/>
                    <a:pt x="2048" y="0"/>
                    <a:pt x="2048" y="0"/>
                  </a:cubicBezTo>
                  <a:lnTo>
                    <a:pt x="1955" y="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33333"/>
                </a:solidFill>
                <a:effectLst/>
                <a:uLnTx/>
                <a:uFillTx/>
                <a:latin typeface="Open Sans"/>
                <a:ea typeface="+mn-ea"/>
                <a:cs typeface="+mn-cs"/>
              </a:endParaRPr>
            </a:p>
          </p:txBody>
        </p:sp>
      </p:grpSp>
      <p:grpSp>
        <p:nvGrpSpPr>
          <p:cNvPr id="23" name="Group 62">
            <a:extLst>
              <a:ext uri="{FF2B5EF4-FFF2-40B4-BE49-F238E27FC236}">
                <a16:creationId xmlns:a16="http://schemas.microsoft.com/office/drawing/2014/main" id="{805D9211-CFC5-42FA-AC24-2EF9B454884D}"/>
              </a:ext>
            </a:extLst>
          </p:cNvPr>
          <p:cNvGrpSpPr/>
          <p:nvPr/>
        </p:nvGrpSpPr>
        <p:grpSpPr>
          <a:xfrm>
            <a:off x="4717930" y="3679113"/>
            <a:ext cx="342266" cy="378020"/>
            <a:chOff x="5153025" y="2384426"/>
            <a:chExt cx="1884363" cy="2081213"/>
          </a:xfrm>
          <a:solidFill>
            <a:srgbClr val="FFFFFF"/>
          </a:solidFill>
        </p:grpSpPr>
        <p:sp>
          <p:nvSpPr>
            <p:cNvPr id="24" name="Freeform 5">
              <a:extLst>
                <a:ext uri="{FF2B5EF4-FFF2-40B4-BE49-F238E27FC236}">
                  <a16:creationId xmlns:a16="http://schemas.microsoft.com/office/drawing/2014/main" id="{3C23CE02-A54D-48FD-9DA0-D5A95850CF84}"/>
                </a:ext>
              </a:extLst>
            </p:cNvPr>
            <p:cNvSpPr>
              <a:spLocks/>
            </p:cNvSpPr>
            <p:nvPr/>
          </p:nvSpPr>
          <p:spPr bwMode="auto">
            <a:xfrm>
              <a:off x="5529263" y="2384426"/>
              <a:ext cx="377825" cy="763588"/>
            </a:xfrm>
            <a:custGeom>
              <a:avLst/>
              <a:gdLst>
                <a:gd name="T0" fmla="*/ 252 w 373"/>
                <a:gd name="T1" fmla="*/ 409 h 754"/>
                <a:gd name="T2" fmla="*/ 187 w 373"/>
                <a:gd name="T3" fmla="*/ 288 h 754"/>
                <a:gd name="T4" fmla="*/ 252 w 373"/>
                <a:gd name="T5" fmla="*/ 168 h 754"/>
                <a:gd name="T6" fmla="*/ 252 w 373"/>
                <a:gd name="T7" fmla="*/ 36 h 754"/>
                <a:gd name="T8" fmla="*/ 121 w 373"/>
                <a:gd name="T9" fmla="*/ 36 h 754"/>
                <a:gd name="T10" fmla="*/ 0 w 373"/>
                <a:gd name="T11" fmla="*/ 288 h 754"/>
                <a:gd name="T12" fmla="*/ 121 w 373"/>
                <a:gd name="T13" fmla="*/ 540 h 754"/>
                <a:gd name="T14" fmla="*/ 187 w 373"/>
                <a:gd name="T15" fmla="*/ 661 h 754"/>
                <a:gd name="T16" fmla="*/ 280 w 373"/>
                <a:gd name="T17" fmla="*/ 754 h 754"/>
                <a:gd name="T18" fmla="*/ 373 w 373"/>
                <a:gd name="T19" fmla="*/ 661 h 754"/>
                <a:gd name="T20" fmla="*/ 252 w 373"/>
                <a:gd name="T21" fmla="*/ 409 h 7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3" h="754">
                  <a:moveTo>
                    <a:pt x="252" y="409"/>
                  </a:moveTo>
                  <a:cubicBezTo>
                    <a:pt x="207" y="363"/>
                    <a:pt x="187" y="341"/>
                    <a:pt x="187" y="288"/>
                  </a:cubicBezTo>
                  <a:cubicBezTo>
                    <a:pt x="187" y="236"/>
                    <a:pt x="207" y="214"/>
                    <a:pt x="252" y="168"/>
                  </a:cubicBezTo>
                  <a:cubicBezTo>
                    <a:pt x="289" y="132"/>
                    <a:pt x="289" y="73"/>
                    <a:pt x="252" y="36"/>
                  </a:cubicBezTo>
                  <a:cubicBezTo>
                    <a:pt x="216" y="0"/>
                    <a:pt x="157" y="0"/>
                    <a:pt x="121" y="36"/>
                  </a:cubicBezTo>
                  <a:cubicBezTo>
                    <a:pt x="70" y="87"/>
                    <a:pt x="0" y="157"/>
                    <a:pt x="0" y="288"/>
                  </a:cubicBezTo>
                  <a:cubicBezTo>
                    <a:pt x="0" y="420"/>
                    <a:pt x="70" y="489"/>
                    <a:pt x="121" y="540"/>
                  </a:cubicBezTo>
                  <a:cubicBezTo>
                    <a:pt x="166" y="586"/>
                    <a:pt x="187" y="608"/>
                    <a:pt x="187" y="661"/>
                  </a:cubicBezTo>
                  <a:cubicBezTo>
                    <a:pt x="187" y="712"/>
                    <a:pt x="228" y="754"/>
                    <a:pt x="280" y="754"/>
                  </a:cubicBezTo>
                  <a:cubicBezTo>
                    <a:pt x="331" y="754"/>
                    <a:pt x="373" y="712"/>
                    <a:pt x="373" y="661"/>
                  </a:cubicBezTo>
                  <a:cubicBezTo>
                    <a:pt x="373" y="529"/>
                    <a:pt x="303" y="459"/>
                    <a:pt x="252" y="40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33333"/>
                </a:solidFill>
                <a:effectLst/>
                <a:uLnTx/>
                <a:uFillTx/>
                <a:latin typeface="Open Sans"/>
                <a:ea typeface="+mn-ea"/>
                <a:cs typeface="+mn-cs"/>
              </a:endParaRPr>
            </a:p>
          </p:txBody>
        </p:sp>
        <p:sp>
          <p:nvSpPr>
            <p:cNvPr id="25" name="Freeform 6">
              <a:extLst>
                <a:ext uri="{FF2B5EF4-FFF2-40B4-BE49-F238E27FC236}">
                  <a16:creationId xmlns:a16="http://schemas.microsoft.com/office/drawing/2014/main" id="{47CCA747-CB64-488F-8B02-D92C67F62B0B}"/>
                </a:ext>
              </a:extLst>
            </p:cNvPr>
            <p:cNvSpPr>
              <a:spLocks/>
            </p:cNvSpPr>
            <p:nvPr/>
          </p:nvSpPr>
          <p:spPr bwMode="auto">
            <a:xfrm>
              <a:off x="5970588" y="2384426"/>
              <a:ext cx="376238" cy="763588"/>
            </a:xfrm>
            <a:custGeom>
              <a:avLst/>
              <a:gdLst>
                <a:gd name="T0" fmla="*/ 252 w 372"/>
                <a:gd name="T1" fmla="*/ 409 h 754"/>
                <a:gd name="T2" fmla="*/ 186 w 372"/>
                <a:gd name="T3" fmla="*/ 288 h 754"/>
                <a:gd name="T4" fmla="*/ 252 w 372"/>
                <a:gd name="T5" fmla="*/ 168 h 754"/>
                <a:gd name="T6" fmla="*/ 252 w 372"/>
                <a:gd name="T7" fmla="*/ 36 h 754"/>
                <a:gd name="T8" fmla="*/ 120 w 372"/>
                <a:gd name="T9" fmla="*/ 36 h 754"/>
                <a:gd name="T10" fmla="*/ 0 w 372"/>
                <a:gd name="T11" fmla="*/ 288 h 754"/>
                <a:gd name="T12" fmla="*/ 120 w 372"/>
                <a:gd name="T13" fmla="*/ 540 h 754"/>
                <a:gd name="T14" fmla="*/ 186 w 372"/>
                <a:gd name="T15" fmla="*/ 661 h 754"/>
                <a:gd name="T16" fmla="*/ 279 w 372"/>
                <a:gd name="T17" fmla="*/ 754 h 754"/>
                <a:gd name="T18" fmla="*/ 372 w 372"/>
                <a:gd name="T19" fmla="*/ 661 h 754"/>
                <a:gd name="T20" fmla="*/ 252 w 372"/>
                <a:gd name="T21" fmla="*/ 409 h 7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2" h="754">
                  <a:moveTo>
                    <a:pt x="252" y="409"/>
                  </a:moveTo>
                  <a:cubicBezTo>
                    <a:pt x="206" y="363"/>
                    <a:pt x="186" y="341"/>
                    <a:pt x="186" y="288"/>
                  </a:cubicBezTo>
                  <a:cubicBezTo>
                    <a:pt x="186" y="236"/>
                    <a:pt x="206" y="214"/>
                    <a:pt x="252" y="168"/>
                  </a:cubicBezTo>
                  <a:cubicBezTo>
                    <a:pt x="288" y="132"/>
                    <a:pt x="288" y="73"/>
                    <a:pt x="252" y="36"/>
                  </a:cubicBezTo>
                  <a:cubicBezTo>
                    <a:pt x="216" y="0"/>
                    <a:pt x="157" y="0"/>
                    <a:pt x="120" y="36"/>
                  </a:cubicBezTo>
                  <a:cubicBezTo>
                    <a:pt x="69" y="87"/>
                    <a:pt x="0" y="157"/>
                    <a:pt x="0" y="288"/>
                  </a:cubicBezTo>
                  <a:cubicBezTo>
                    <a:pt x="0" y="420"/>
                    <a:pt x="69" y="489"/>
                    <a:pt x="120" y="540"/>
                  </a:cubicBezTo>
                  <a:cubicBezTo>
                    <a:pt x="166" y="586"/>
                    <a:pt x="186" y="608"/>
                    <a:pt x="186" y="661"/>
                  </a:cubicBezTo>
                  <a:cubicBezTo>
                    <a:pt x="186" y="712"/>
                    <a:pt x="228" y="754"/>
                    <a:pt x="279" y="754"/>
                  </a:cubicBezTo>
                  <a:cubicBezTo>
                    <a:pt x="331" y="754"/>
                    <a:pt x="372" y="712"/>
                    <a:pt x="372" y="661"/>
                  </a:cubicBezTo>
                  <a:cubicBezTo>
                    <a:pt x="372" y="529"/>
                    <a:pt x="303" y="459"/>
                    <a:pt x="252" y="40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33333"/>
                </a:solidFill>
                <a:effectLst/>
                <a:uLnTx/>
                <a:uFillTx/>
                <a:latin typeface="Open Sans"/>
                <a:ea typeface="+mn-ea"/>
                <a:cs typeface="+mn-cs"/>
              </a:endParaRPr>
            </a:p>
          </p:txBody>
        </p:sp>
        <p:sp>
          <p:nvSpPr>
            <p:cNvPr id="26" name="Freeform 7">
              <a:extLst>
                <a:ext uri="{FF2B5EF4-FFF2-40B4-BE49-F238E27FC236}">
                  <a16:creationId xmlns:a16="http://schemas.microsoft.com/office/drawing/2014/main" id="{647627B1-085B-4C92-985E-92859A3611EF}"/>
                </a:ext>
              </a:extLst>
            </p:cNvPr>
            <p:cNvSpPr>
              <a:spLocks noEditPoints="1"/>
            </p:cNvSpPr>
            <p:nvPr/>
          </p:nvSpPr>
          <p:spPr bwMode="auto">
            <a:xfrm>
              <a:off x="5153025" y="3335340"/>
              <a:ext cx="1884363" cy="1130299"/>
            </a:xfrm>
            <a:custGeom>
              <a:avLst/>
              <a:gdLst>
                <a:gd name="T0" fmla="*/ 1433 w 1862"/>
                <a:gd name="T1" fmla="*/ 683 h 1117"/>
                <a:gd name="T2" fmla="*/ 1521 w 1862"/>
                <a:gd name="T3" fmla="*/ 683 h 1117"/>
                <a:gd name="T4" fmla="*/ 1521 w 1862"/>
                <a:gd name="T5" fmla="*/ 683 h 1117"/>
                <a:gd name="T6" fmla="*/ 1862 w 1862"/>
                <a:gd name="T7" fmla="*/ 341 h 1117"/>
                <a:gd name="T8" fmla="*/ 1521 w 1862"/>
                <a:gd name="T9" fmla="*/ 0 h 1117"/>
                <a:gd name="T10" fmla="*/ 1396 w 1862"/>
                <a:gd name="T11" fmla="*/ 0 h 1117"/>
                <a:gd name="T12" fmla="*/ 155 w 1862"/>
                <a:gd name="T13" fmla="*/ 0 h 1117"/>
                <a:gd name="T14" fmla="*/ 62 w 1862"/>
                <a:gd name="T15" fmla="*/ 93 h 1117"/>
                <a:gd name="T16" fmla="*/ 62 w 1862"/>
                <a:gd name="T17" fmla="*/ 403 h 1117"/>
                <a:gd name="T18" fmla="*/ 296 w 1862"/>
                <a:gd name="T19" fmla="*/ 931 h 1117"/>
                <a:gd name="T20" fmla="*/ 93 w 1862"/>
                <a:gd name="T21" fmla="*/ 931 h 1117"/>
                <a:gd name="T22" fmla="*/ 0 w 1862"/>
                <a:gd name="T23" fmla="*/ 1024 h 1117"/>
                <a:gd name="T24" fmla="*/ 93 w 1862"/>
                <a:gd name="T25" fmla="*/ 1117 h 1117"/>
                <a:gd name="T26" fmla="*/ 776 w 1862"/>
                <a:gd name="T27" fmla="*/ 1117 h 1117"/>
                <a:gd name="T28" fmla="*/ 1459 w 1862"/>
                <a:gd name="T29" fmla="*/ 1117 h 1117"/>
                <a:gd name="T30" fmla="*/ 1552 w 1862"/>
                <a:gd name="T31" fmla="*/ 1024 h 1117"/>
                <a:gd name="T32" fmla="*/ 1459 w 1862"/>
                <a:gd name="T33" fmla="*/ 931 h 1117"/>
                <a:gd name="T34" fmla="*/ 1256 w 1862"/>
                <a:gd name="T35" fmla="*/ 931 h 1117"/>
                <a:gd name="T36" fmla="*/ 1433 w 1862"/>
                <a:gd name="T37" fmla="*/ 683 h 1117"/>
                <a:gd name="T38" fmla="*/ 1490 w 1862"/>
                <a:gd name="T39" fmla="*/ 403 h 1117"/>
                <a:gd name="T40" fmla="*/ 1490 w 1862"/>
                <a:gd name="T41" fmla="*/ 186 h 1117"/>
                <a:gd name="T42" fmla="*/ 1521 w 1862"/>
                <a:gd name="T43" fmla="*/ 186 h 1117"/>
                <a:gd name="T44" fmla="*/ 1676 w 1862"/>
                <a:gd name="T45" fmla="*/ 341 h 1117"/>
                <a:gd name="T46" fmla="*/ 1521 w 1862"/>
                <a:gd name="T47" fmla="*/ 496 h 1117"/>
                <a:gd name="T48" fmla="*/ 1520 w 1862"/>
                <a:gd name="T49" fmla="*/ 496 h 1117"/>
                <a:gd name="T50" fmla="*/ 1483 w 1862"/>
                <a:gd name="T51" fmla="*/ 496 h 1117"/>
                <a:gd name="T52" fmla="*/ 1490 w 1862"/>
                <a:gd name="T53" fmla="*/ 403 h 1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62" h="1117">
                  <a:moveTo>
                    <a:pt x="1433" y="683"/>
                  </a:moveTo>
                  <a:cubicBezTo>
                    <a:pt x="1521" y="683"/>
                    <a:pt x="1521" y="683"/>
                    <a:pt x="1521" y="683"/>
                  </a:cubicBezTo>
                  <a:cubicBezTo>
                    <a:pt x="1521" y="683"/>
                    <a:pt x="1521" y="683"/>
                    <a:pt x="1521" y="683"/>
                  </a:cubicBezTo>
                  <a:cubicBezTo>
                    <a:pt x="1709" y="682"/>
                    <a:pt x="1862" y="529"/>
                    <a:pt x="1862" y="341"/>
                  </a:cubicBezTo>
                  <a:cubicBezTo>
                    <a:pt x="1862" y="153"/>
                    <a:pt x="1709" y="0"/>
                    <a:pt x="1521" y="0"/>
                  </a:cubicBezTo>
                  <a:cubicBezTo>
                    <a:pt x="1396" y="0"/>
                    <a:pt x="1396" y="0"/>
                    <a:pt x="1396" y="0"/>
                  </a:cubicBezTo>
                  <a:cubicBezTo>
                    <a:pt x="155" y="0"/>
                    <a:pt x="155" y="0"/>
                    <a:pt x="155" y="0"/>
                  </a:cubicBezTo>
                  <a:cubicBezTo>
                    <a:pt x="104" y="0"/>
                    <a:pt x="62" y="42"/>
                    <a:pt x="62" y="93"/>
                  </a:cubicBezTo>
                  <a:cubicBezTo>
                    <a:pt x="62" y="403"/>
                    <a:pt x="62" y="403"/>
                    <a:pt x="62" y="403"/>
                  </a:cubicBezTo>
                  <a:cubicBezTo>
                    <a:pt x="62" y="612"/>
                    <a:pt x="152" y="800"/>
                    <a:pt x="296" y="931"/>
                  </a:cubicBezTo>
                  <a:cubicBezTo>
                    <a:pt x="93" y="931"/>
                    <a:pt x="93" y="931"/>
                    <a:pt x="93" y="931"/>
                  </a:cubicBezTo>
                  <a:cubicBezTo>
                    <a:pt x="42" y="931"/>
                    <a:pt x="0" y="972"/>
                    <a:pt x="0" y="1024"/>
                  </a:cubicBezTo>
                  <a:cubicBezTo>
                    <a:pt x="0" y="1075"/>
                    <a:pt x="42" y="1117"/>
                    <a:pt x="93" y="1117"/>
                  </a:cubicBezTo>
                  <a:cubicBezTo>
                    <a:pt x="776" y="1117"/>
                    <a:pt x="776" y="1117"/>
                    <a:pt x="776" y="1117"/>
                  </a:cubicBezTo>
                  <a:cubicBezTo>
                    <a:pt x="1459" y="1117"/>
                    <a:pt x="1459" y="1117"/>
                    <a:pt x="1459" y="1117"/>
                  </a:cubicBezTo>
                  <a:cubicBezTo>
                    <a:pt x="1510" y="1117"/>
                    <a:pt x="1552" y="1075"/>
                    <a:pt x="1552" y="1024"/>
                  </a:cubicBezTo>
                  <a:cubicBezTo>
                    <a:pt x="1552" y="972"/>
                    <a:pt x="1510" y="931"/>
                    <a:pt x="1459" y="931"/>
                  </a:cubicBezTo>
                  <a:cubicBezTo>
                    <a:pt x="1256" y="931"/>
                    <a:pt x="1256" y="931"/>
                    <a:pt x="1256" y="931"/>
                  </a:cubicBezTo>
                  <a:cubicBezTo>
                    <a:pt x="1331" y="862"/>
                    <a:pt x="1392" y="778"/>
                    <a:pt x="1433" y="683"/>
                  </a:cubicBezTo>
                  <a:close/>
                  <a:moveTo>
                    <a:pt x="1490" y="403"/>
                  </a:moveTo>
                  <a:cubicBezTo>
                    <a:pt x="1490" y="186"/>
                    <a:pt x="1490" y="186"/>
                    <a:pt x="1490" y="186"/>
                  </a:cubicBezTo>
                  <a:cubicBezTo>
                    <a:pt x="1521" y="186"/>
                    <a:pt x="1521" y="186"/>
                    <a:pt x="1521" y="186"/>
                  </a:cubicBezTo>
                  <a:cubicBezTo>
                    <a:pt x="1606" y="186"/>
                    <a:pt x="1676" y="256"/>
                    <a:pt x="1676" y="341"/>
                  </a:cubicBezTo>
                  <a:cubicBezTo>
                    <a:pt x="1676" y="427"/>
                    <a:pt x="1606" y="496"/>
                    <a:pt x="1521" y="496"/>
                  </a:cubicBezTo>
                  <a:cubicBezTo>
                    <a:pt x="1521" y="496"/>
                    <a:pt x="1521" y="496"/>
                    <a:pt x="1520" y="496"/>
                  </a:cubicBezTo>
                  <a:cubicBezTo>
                    <a:pt x="1483" y="496"/>
                    <a:pt x="1483" y="496"/>
                    <a:pt x="1483" y="496"/>
                  </a:cubicBezTo>
                  <a:cubicBezTo>
                    <a:pt x="1487" y="466"/>
                    <a:pt x="1490" y="435"/>
                    <a:pt x="1490" y="4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33333"/>
                </a:solidFill>
                <a:effectLst/>
                <a:uLnTx/>
                <a:uFillTx/>
                <a:latin typeface="Open Sans"/>
                <a:ea typeface="+mn-ea"/>
                <a:cs typeface="+mn-cs"/>
              </a:endParaRPr>
            </a:p>
          </p:txBody>
        </p:sp>
      </p:grpSp>
      <p:sp>
        <p:nvSpPr>
          <p:cNvPr id="27" name="TextBox 66">
            <a:extLst>
              <a:ext uri="{FF2B5EF4-FFF2-40B4-BE49-F238E27FC236}">
                <a16:creationId xmlns:a16="http://schemas.microsoft.com/office/drawing/2014/main" id="{FE599686-48CE-4C64-92E5-8B3DB1ACEC6C}"/>
              </a:ext>
            </a:extLst>
          </p:cNvPr>
          <p:cNvSpPr txBox="1"/>
          <p:nvPr/>
        </p:nvSpPr>
        <p:spPr>
          <a:xfrm>
            <a:off x="5556589" y="3491950"/>
            <a:ext cx="1107676" cy="307777"/>
          </a:xfrm>
          <a:prstGeom prst="rect">
            <a:avLst/>
          </a:prstGeom>
          <a:noFill/>
        </p:spPr>
        <p:txBody>
          <a:bodyPr wrap="none" lIns="0" tIns="0" rIns="0" bIns="0" rtlCol="0">
            <a:spAutoFit/>
          </a:bodyPr>
          <a:lstStyle/>
          <a:p>
            <a:pPr marL="0" marR="0" lvl="0" indent="0" algn="ctr" defTabSz="457200" rtl="0" eaLnBrk="1" fontAlgn="base" latinLnBrk="0" hangingPunct="1">
              <a:lnSpc>
                <a:spcPct val="100000"/>
              </a:lnSpc>
              <a:spcBef>
                <a:spcPts val="600"/>
              </a:spcBef>
              <a:spcAft>
                <a:spcPts val="0"/>
              </a:spcAft>
              <a:buClrTx/>
              <a:buSzTx/>
              <a:buFontTx/>
              <a:buNone/>
              <a:tabLst/>
              <a:defRPr/>
            </a:pPr>
            <a:r>
              <a:rPr kumimoji="0" lang="en-US" sz="2000" b="1" i="0" u="none" strike="noStrike" kern="1200" cap="none" spc="0" normalizeH="0" baseline="0" noProof="0" dirty="0">
                <a:ln>
                  <a:noFill/>
                </a:ln>
                <a:solidFill>
                  <a:srgbClr val="333333"/>
                </a:solidFill>
                <a:effectLst/>
                <a:uLnTx/>
                <a:uFillTx/>
                <a:latin typeface="HarmonyOS Sans SC Black"/>
                <a:ea typeface="+mj-ea"/>
                <a:cs typeface="+mn-cs"/>
              </a:rPr>
              <a:t>Strategy</a:t>
            </a:r>
          </a:p>
        </p:txBody>
      </p:sp>
      <p:sp>
        <p:nvSpPr>
          <p:cNvPr id="28" name="文本框 27">
            <a:extLst>
              <a:ext uri="{FF2B5EF4-FFF2-40B4-BE49-F238E27FC236}">
                <a16:creationId xmlns:a16="http://schemas.microsoft.com/office/drawing/2014/main" id="{EEA11AFE-981C-4AB5-BCBD-DB376B5C6BFC}"/>
              </a:ext>
            </a:extLst>
          </p:cNvPr>
          <p:cNvSpPr txBox="1"/>
          <p:nvPr/>
        </p:nvSpPr>
        <p:spPr>
          <a:xfrm>
            <a:off x="4443144" y="918105"/>
            <a:ext cx="3305713" cy="52322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2800" b="0" i="0" u="none" strike="noStrike" kern="1200" cap="none" spc="0" normalizeH="0" baseline="0" noProof="0" dirty="0">
                <a:ln>
                  <a:noFill/>
                </a:ln>
                <a:solidFill>
                  <a:prstClr val="black"/>
                </a:solidFill>
                <a:effectLst/>
                <a:uLnTx/>
                <a:uFillTx/>
                <a:latin typeface="HarmonyOS Sans Black"/>
                <a:ea typeface="+mj-ea"/>
                <a:cs typeface="+mn-cs"/>
              </a:rPr>
              <a:t>Circle </a:t>
            </a:r>
            <a:r>
              <a:rPr kumimoji="0" lang="en-US" altLang="zh-CN" sz="2800" b="0" i="0" u="none" strike="noStrike" kern="1200" cap="none" spc="0" normalizeH="0" baseline="0" noProof="0" dirty="0">
                <a:ln>
                  <a:noFill/>
                </a:ln>
                <a:solidFill>
                  <a:schemeClr val="accent1"/>
                </a:solidFill>
                <a:effectLst/>
                <a:uLnTx/>
                <a:uFillTx/>
                <a:latin typeface="HarmonyOS Sans Black"/>
                <a:ea typeface="+mj-ea"/>
                <a:cs typeface="+mn-cs"/>
              </a:rPr>
              <a:t>Infographic</a:t>
            </a:r>
          </a:p>
        </p:txBody>
      </p:sp>
      <p:sp>
        <p:nvSpPr>
          <p:cNvPr id="30" name="TextBox 48">
            <a:extLst>
              <a:ext uri="{FF2B5EF4-FFF2-40B4-BE49-F238E27FC236}">
                <a16:creationId xmlns:a16="http://schemas.microsoft.com/office/drawing/2014/main" id="{BD1F87E3-E5CE-41B7-B07B-09F39BEB4191}"/>
              </a:ext>
            </a:extLst>
          </p:cNvPr>
          <p:cNvSpPr txBox="1"/>
          <p:nvPr/>
        </p:nvSpPr>
        <p:spPr>
          <a:xfrm>
            <a:off x="1951038" y="2176641"/>
            <a:ext cx="2152650" cy="335669"/>
          </a:xfrm>
          <a:prstGeom prst="rect">
            <a:avLst/>
          </a:prstGeom>
          <a:noFill/>
        </p:spPr>
        <p:txBody>
          <a:bodyPr wrap="square" lIns="0" tIns="0" rIns="0" bIns="0" rtlCol="0">
            <a:spAutoFit/>
          </a:bodyPr>
          <a:lstStyle/>
          <a:p>
            <a:pPr marL="0" marR="0" lvl="0" indent="0" algn="r" defTabSz="457200" rtl="0" eaLnBrk="1" fontAlgn="base" latinLnBrk="0" hangingPunct="1">
              <a:lnSpc>
                <a:spcPct val="130000"/>
              </a:lnSpc>
              <a:spcBef>
                <a:spcPts val="1000"/>
              </a:spcBef>
              <a:spcAft>
                <a:spcPts val="0"/>
              </a:spcAft>
              <a:buClrTx/>
              <a:buSzTx/>
              <a:buFontTx/>
              <a:buNone/>
              <a:tabLst/>
              <a:defRPr/>
            </a:pPr>
            <a:r>
              <a:rPr kumimoji="0" lang="zh-CN" altLang="en-US" sz="1800" b="1" i="0" u="none" strike="noStrike" kern="1200" cap="none" spc="0" normalizeH="0" baseline="0" noProof="0" dirty="0">
                <a:ln>
                  <a:noFill/>
                </a:ln>
                <a:solidFill>
                  <a:schemeClr val="accent1"/>
                </a:solidFill>
                <a:effectLst/>
                <a:uLnTx/>
                <a:uFillTx/>
                <a:latin typeface="HarmonyOS Sans SC"/>
                <a:cs typeface="+mn-cs"/>
              </a:rPr>
              <a:t>关键词标题</a:t>
            </a:r>
            <a:endParaRPr kumimoji="0" lang="en-US" sz="1050" b="0" i="0" u="none" strike="noStrike" kern="1200" cap="none" spc="0" normalizeH="0" baseline="0" noProof="0" dirty="0">
              <a:ln>
                <a:noFill/>
              </a:ln>
              <a:solidFill>
                <a:schemeClr val="accent1"/>
              </a:solidFill>
              <a:effectLst/>
              <a:uLnTx/>
              <a:uFillTx/>
              <a:latin typeface="HarmonyOS Sans SC"/>
              <a:cs typeface="+mn-cs"/>
            </a:endParaRPr>
          </a:p>
        </p:txBody>
      </p:sp>
      <p:sp>
        <p:nvSpPr>
          <p:cNvPr id="31" name="TextBox 48">
            <a:extLst>
              <a:ext uri="{FF2B5EF4-FFF2-40B4-BE49-F238E27FC236}">
                <a16:creationId xmlns:a16="http://schemas.microsoft.com/office/drawing/2014/main" id="{603AC1D6-7CF8-44EE-87C2-F7D505488247}"/>
              </a:ext>
            </a:extLst>
          </p:cNvPr>
          <p:cNvSpPr txBox="1"/>
          <p:nvPr/>
        </p:nvSpPr>
        <p:spPr>
          <a:xfrm>
            <a:off x="971550" y="2537224"/>
            <a:ext cx="3132138" cy="386516"/>
          </a:xfrm>
          <a:prstGeom prst="rect">
            <a:avLst/>
          </a:prstGeom>
          <a:noFill/>
        </p:spPr>
        <p:txBody>
          <a:bodyPr wrap="square" lIns="0" tIns="0" rIns="0" bIns="0" rtlCol="0">
            <a:spAutoFit/>
          </a:bodyPr>
          <a:lstStyle/>
          <a:p>
            <a:pPr marL="0" marR="0" lvl="0" indent="0" algn="r" defTabSz="457200" rtl="0" eaLnBrk="1" fontAlgn="base" latinLnBrk="0" hangingPunct="1">
              <a:lnSpc>
                <a:spcPct val="130000"/>
              </a:lnSpc>
              <a:spcBef>
                <a:spcPts val="1000"/>
              </a:spcBef>
              <a:spcAft>
                <a:spcPts val="0"/>
              </a:spcAft>
              <a:buClrTx/>
              <a:buSzTx/>
              <a:buFontTx/>
              <a:buNone/>
              <a:tabLst/>
              <a:defRPr/>
            </a:pPr>
            <a:r>
              <a:rPr kumimoji="0" lang="zh-CN" altLang="en-US" sz="1000" b="0" i="0" u="none" strike="noStrike" kern="1200" cap="none" spc="0" normalizeH="0" baseline="0" noProof="0" dirty="0">
                <a:ln>
                  <a:noFill/>
                </a:ln>
                <a:solidFill>
                  <a:prstClr val="black">
                    <a:lumMod val="50000"/>
                    <a:lumOff val="50000"/>
                  </a:prstClr>
                </a:solidFill>
                <a:effectLst/>
                <a:uLnTx/>
                <a:uFillTx/>
                <a:latin typeface="HarmonyOS Sans SC"/>
                <a:cs typeface="+mn-cs"/>
              </a:rPr>
              <a:t>在这里输入你的正文，阐述与关键词标题相关的具体内容</a:t>
            </a:r>
            <a:endParaRPr kumimoji="0" lang="en-US" sz="1000" b="0" i="0" u="none" strike="noStrike" kern="1200" cap="none" spc="0" normalizeH="0" baseline="0" noProof="0" dirty="0">
              <a:ln>
                <a:noFill/>
              </a:ln>
              <a:solidFill>
                <a:prstClr val="black">
                  <a:lumMod val="50000"/>
                  <a:lumOff val="50000"/>
                </a:prstClr>
              </a:solidFill>
              <a:effectLst/>
              <a:uLnTx/>
              <a:uFillTx/>
              <a:latin typeface="HarmonyOS Sans SC"/>
              <a:cs typeface="+mn-cs"/>
            </a:endParaRPr>
          </a:p>
        </p:txBody>
      </p:sp>
      <p:sp>
        <p:nvSpPr>
          <p:cNvPr id="32" name="TextBox 45">
            <a:extLst>
              <a:ext uri="{FF2B5EF4-FFF2-40B4-BE49-F238E27FC236}">
                <a16:creationId xmlns:a16="http://schemas.microsoft.com/office/drawing/2014/main" id="{411DA630-2859-4EB0-BA54-C235CB229C1C}"/>
              </a:ext>
            </a:extLst>
          </p:cNvPr>
          <p:cNvSpPr txBox="1"/>
          <p:nvPr/>
        </p:nvSpPr>
        <p:spPr>
          <a:xfrm>
            <a:off x="1951038" y="3933196"/>
            <a:ext cx="2152650" cy="335669"/>
          </a:xfrm>
          <a:prstGeom prst="rect">
            <a:avLst/>
          </a:prstGeom>
          <a:noFill/>
        </p:spPr>
        <p:txBody>
          <a:bodyPr wrap="square" lIns="0" tIns="0" rIns="0" bIns="0" rtlCol="0">
            <a:spAutoFit/>
          </a:bodyPr>
          <a:lstStyle/>
          <a:p>
            <a:pPr marL="0" marR="0" lvl="0" indent="0" algn="r" defTabSz="457200" rtl="0" eaLnBrk="1" fontAlgn="base" latinLnBrk="0" hangingPunct="1">
              <a:lnSpc>
                <a:spcPct val="130000"/>
              </a:lnSpc>
              <a:spcBef>
                <a:spcPts val="1000"/>
              </a:spcBef>
              <a:spcAft>
                <a:spcPts val="0"/>
              </a:spcAft>
              <a:buClrTx/>
              <a:buSzTx/>
              <a:buFontTx/>
              <a:buNone/>
              <a:tabLst/>
              <a:defRPr/>
            </a:pPr>
            <a:r>
              <a:rPr kumimoji="0" lang="zh-CN" altLang="en-US" sz="1800" b="1" i="0" u="none" strike="noStrike" kern="1200" cap="none" spc="0" normalizeH="0" baseline="0" noProof="0" dirty="0">
                <a:ln>
                  <a:noFill/>
                </a:ln>
                <a:solidFill>
                  <a:schemeClr val="accent1"/>
                </a:solidFill>
                <a:effectLst/>
                <a:uLnTx/>
                <a:uFillTx/>
                <a:latin typeface="HarmonyOS Sans SC"/>
                <a:cs typeface="+mn-cs"/>
              </a:rPr>
              <a:t>关键词标题</a:t>
            </a:r>
            <a:endParaRPr kumimoji="0" lang="en-US" sz="1050" b="0" i="0" u="none" strike="noStrike" kern="1200" cap="none" spc="0" normalizeH="0" baseline="0" noProof="0" dirty="0">
              <a:ln>
                <a:noFill/>
              </a:ln>
              <a:solidFill>
                <a:schemeClr val="accent1"/>
              </a:solidFill>
              <a:effectLst/>
              <a:uLnTx/>
              <a:uFillTx/>
              <a:latin typeface="HarmonyOS Sans SC"/>
              <a:cs typeface="+mn-cs"/>
            </a:endParaRPr>
          </a:p>
        </p:txBody>
      </p:sp>
      <p:sp>
        <p:nvSpPr>
          <p:cNvPr id="33" name="TextBox 45">
            <a:extLst>
              <a:ext uri="{FF2B5EF4-FFF2-40B4-BE49-F238E27FC236}">
                <a16:creationId xmlns:a16="http://schemas.microsoft.com/office/drawing/2014/main" id="{6A3AB271-7B62-4F2E-B6E9-6B1808BAD74B}"/>
              </a:ext>
            </a:extLst>
          </p:cNvPr>
          <p:cNvSpPr txBox="1"/>
          <p:nvPr/>
        </p:nvSpPr>
        <p:spPr>
          <a:xfrm>
            <a:off x="971550" y="4293779"/>
            <a:ext cx="3132138" cy="386516"/>
          </a:xfrm>
          <a:prstGeom prst="rect">
            <a:avLst/>
          </a:prstGeom>
          <a:noFill/>
        </p:spPr>
        <p:txBody>
          <a:bodyPr wrap="square" lIns="0" tIns="0" rIns="0" bIns="0" rtlCol="0">
            <a:spAutoFit/>
          </a:bodyPr>
          <a:lstStyle/>
          <a:p>
            <a:pPr marL="0" marR="0" lvl="0" indent="0" algn="r" defTabSz="457200" rtl="0" eaLnBrk="1" fontAlgn="base" latinLnBrk="0" hangingPunct="1">
              <a:lnSpc>
                <a:spcPct val="130000"/>
              </a:lnSpc>
              <a:spcBef>
                <a:spcPts val="1000"/>
              </a:spcBef>
              <a:spcAft>
                <a:spcPts val="0"/>
              </a:spcAft>
              <a:buClrTx/>
              <a:buSzTx/>
              <a:buFontTx/>
              <a:buNone/>
              <a:tabLst/>
              <a:defRPr/>
            </a:pPr>
            <a:r>
              <a:rPr kumimoji="0" lang="zh-CN" altLang="en-US" sz="1000" b="0" i="0" u="none" strike="noStrike" kern="1200" cap="none" spc="0" normalizeH="0" baseline="0" noProof="0" dirty="0">
                <a:ln>
                  <a:noFill/>
                </a:ln>
                <a:solidFill>
                  <a:prstClr val="black">
                    <a:lumMod val="50000"/>
                    <a:lumOff val="50000"/>
                  </a:prstClr>
                </a:solidFill>
                <a:effectLst/>
                <a:uLnTx/>
                <a:uFillTx/>
                <a:latin typeface="HarmonyOS Sans SC"/>
                <a:cs typeface="+mn-cs"/>
              </a:rPr>
              <a:t>在这里输入你的正文，阐述与关键词标题相关的具体内容</a:t>
            </a:r>
            <a:endParaRPr kumimoji="0" lang="en-US" sz="1000" b="0" i="0" u="none" strike="noStrike" kern="1200" cap="none" spc="0" normalizeH="0" baseline="0" noProof="0" dirty="0">
              <a:ln>
                <a:noFill/>
              </a:ln>
              <a:solidFill>
                <a:prstClr val="black">
                  <a:lumMod val="50000"/>
                  <a:lumOff val="50000"/>
                </a:prstClr>
              </a:solidFill>
              <a:effectLst/>
              <a:uLnTx/>
              <a:uFillTx/>
              <a:latin typeface="HarmonyOS Sans SC"/>
              <a:cs typeface="+mn-cs"/>
            </a:endParaRPr>
          </a:p>
        </p:txBody>
      </p:sp>
      <p:sp>
        <p:nvSpPr>
          <p:cNvPr id="34" name="TextBox 44">
            <a:extLst>
              <a:ext uri="{FF2B5EF4-FFF2-40B4-BE49-F238E27FC236}">
                <a16:creationId xmlns:a16="http://schemas.microsoft.com/office/drawing/2014/main" id="{8B990064-2153-4883-93D8-72ACAEC46592}"/>
              </a:ext>
            </a:extLst>
          </p:cNvPr>
          <p:cNvSpPr txBox="1"/>
          <p:nvPr/>
        </p:nvSpPr>
        <p:spPr>
          <a:xfrm>
            <a:off x="7988428" y="3933196"/>
            <a:ext cx="2295525" cy="335669"/>
          </a:xfrm>
          <a:prstGeom prst="rect">
            <a:avLst/>
          </a:prstGeom>
          <a:noFill/>
        </p:spPr>
        <p:txBody>
          <a:bodyPr wrap="square" lIns="0" tIns="0" rIns="0" bIns="0" rtlCol="0">
            <a:spAutoFit/>
          </a:bodyPr>
          <a:lstStyle/>
          <a:p>
            <a:pPr marL="0" marR="0" lvl="0" indent="0" algn="l" defTabSz="457200" rtl="0" eaLnBrk="1" fontAlgn="base" latinLnBrk="0" hangingPunct="1">
              <a:lnSpc>
                <a:spcPct val="130000"/>
              </a:lnSpc>
              <a:spcBef>
                <a:spcPts val="1000"/>
              </a:spcBef>
              <a:spcAft>
                <a:spcPts val="0"/>
              </a:spcAft>
              <a:buClrTx/>
              <a:buSzTx/>
              <a:buFontTx/>
              <a:buNone/>
              <a:tabLst/>
              <a:defRPr/>
            </a:pPr>
            <a:r>
              <a:rPr kumimoji="0" lang="zh-CN" altLang="en-US" sz="1800" b="1" i="0" u="none" strike="noStrike" kern="1200" cap="none" spc="0" normalizeH="0" baseline="0" noProof="0" dirty="0">
                <a:ln>
                  <a:noFill/>
                </a:ln>
                <a:solidFill>
                  <a:schemeClr val="accent1"/>
                </a:solidFill>
                <a:effectLst/>
                <a:uLnTx/>
                <a:uFillTx/>
                <a:latin typeface="HarmonyOS Sans SC"/>
                <a:cs typeface="+mn-cs"/>
              </a:rPr>
              <a:t>关键词标题</a:t>
            </a:r>
            <a:endParaRPr kumimoji="0" lang="en-US" sz="1050" b="0" i="0" u="none" strike="noStrike" kern="1200" cap="none" spc="0" normalizeH="0" baseline="0" noProof="0" dirty="0">
              <a:ln>
                <a:noFill/>
              </a:ln>
              <a:solidFill>
                <a:schemeClr val="accent1"/>
              </a:solidFill>
              <a:effectLst/>
              <a:uLnTx/>
              <a:uFillTx/>
              <a:latin typeface="HarmonyOS Sans SC"/>
              <a:cs typeface="+mn-cs"/>
            </a:endParaRPr>
          </a:p>
        </p:txBody>
      </p:sp>
      <p:sp>
        <p:nvSpPr>
          <p:cNvPr id="35" name="TextBox 44">
            <a:extLst>
              <a:ext uri="{FF2B5EF4-FFF2-40B4-BE49-F238E27FC236}">
                <a16:creationId xmlns:a16="http://schemas.microsoft.com/office/drawing/2014/main" id="{534CE40C-326C-487B-A4C3-CFCFADDA610C}"/>
              </a:ext>
            </a:extLst>
          </p:cNvPr>
          <p:cNvSpPr txBox="1"/>
          <p:nvPr/>
        </p:nvSpPr>
        <p:spPr>
          <a:xfrm>
            <a:off x="7988428" y="4293779"/>
            <a:ext cx="2898647" cy="181460"/>
          </a:xfrm>
          <a:prstGeom prst="rect">
            <a:avLst/>
          </a:prstGeom>
          <a:noFill/>
        </p:spPr>
        <p:txBody>
          <a:bodyPr wrap="square" lIns="0" tIns="0" rIns="0" bIns="0" rtlCol="0">
            <a:spAutoFit/>
          </a:bodyPr>
          <a:lstStyle/>
          <a:p>
            <a:pPr marL="0" marR="0" lvl="0" indent="0" algn="l" defTabSz="457200" rtl="0" eaLnBrk="1" fontAlgn="base" latinLnBrk="0" hangingPunct="1">
              <a:lnSpc>
                <a:spcPct val="130000"/>
              </a:lnSpc>
              <a:spcBef>
                <a:spcPts val="1000"/>
              </a:spcBef>
              <a:spcAft>
                <a:spcPts val="0"/>
              </a:spcAft>
              <a:buClrTx/>
              <a:buSzTx/>
              <a:buFontTx/>
              <a:buNone/>
              <a:tabLst/>
              <a:defRPr/>
            </a:pPr>
            <a:r>
              <a:rPr kumimoji="0" lang="en-US" sz="1000" b="0" i="0" u="none" strike="noStrike" kern="1200" cap="none" spc="0" normalizeH="0" baseline="0" noProof="0">
                <a:ln>
                  <a:noFill/>
                </a:ln>
                <a:solidFill>
                  <a:prstClr val="black">
                    <a:lumMod val="50000"/>
                    <a:lumOff val="50000"/>
                  </a:prstClr>
                </a:solidFill>
                <a:effectLst/>
                <a:uLnTx/>
                <a:uFillTx/>
                <a:latin typeface="HarmonyOS Sans SC"/>
                <a:cs typeface="+mn-cs"/>
              </a:rPr>
              <a:t>Apparently </a:t>
            </a:r>
            <a:r>
              <a:rPr kumimoji="0" lang="en-US" sz="1000" b="0" i="0" u="none" strike="noStrike" kern="1200" cap="none" spc="0" normalizeH="0" baseline="0" noProof="0" dirty="0">
                <a:ln>
                  <a:noFill/>
                </a:ln>
                <a:solidFill>
                  <a:prstClr val="black">
                    <a:lumMod val="50000"/>
                    <a:lumOff val="50000"/>
                  </a:prstClr>
                </a:solidFill>
                <a:effectLst/>
                <a:uLnTx/>
                <a:uFillTx/>
                <a:latin typeface="HarmonyOS Sans SC"/>
                <a:cs typeface="+mn-cs"/>
              </a:rPr>
              <a:t>we had reached a great height in the.</a:t>
            </a:r>
          </a:p>
        </p:txBody>
      </p:sp>
      <p:sp>
        <p:nvSpPr>
          <p:cNvPr id="36" name="TextBox 46">
            <a:extLst>
              <a:ext uri="{FF2B5EF4-FFF2-40B4-BE49-F238E27FC236}">
                <a16:creationId xmlns:a16="http://schemas.microsoft.com/office/drawing/2014/main" id="{5BC06E4F-195F-49F9-91BD-F647B0525516}"/>
              </a:ext>
            </a:extLst>
          </p:cNvPr>
          <p:cNvSpPr txBox="1"/>
          <p:nvPr/>
        </p:nvSpPr>
        <p:spPr>
          <a:xfrm>
            <a:off x="7988428" y="2177255"/>
            <a:ext cx="2295525" cy="335669"/>
          </a:xfrm>
          <a:prstGeom prst="rect">
            <a:avLst/>
          </a:prstGeom>
          <a:noFill/>
        </p:spPr>
        <p:txBody>
          <a:bodyPr wrap="square" lIns="0" tIns="0" rIns="0" bIns="0" rtlCol="0">
            <a:spAutoFit/>
          </a:bodyPr>
          <a:lstStyle/>
          <a:p>
            <a:pPr marL="0" marR="0" lvl="0" indent="0" algn="l" defTabSz="457200" rtl="0" eaLnBrk="1" fontAlgn="base" latinLnBrk="0" hangingPunct="1">
              <a:lnSpc>
                <a:spcPct val="130000"/>
              </a:lnSpc>
              <a:spcBef>
                <a:spcPts val="1000"/>
              </a:spcBef>
              <a:spcAft>
                <a:spcPts val="0"/>
              </a:spcAft>
              <a:buClrTx/>
              <a:buSzTx/>
              <a:buFontTx/>
              <a:buNone/>
              <a:tabLst/>
              <a:defRPr/>
            </a:pPr>
            <a:r>
              <a:rPr kumimoji="0" lang="zh-CN" altLang="en-US" sz="1800" b="1" i="0" u="none" strike="noStrike" kern="1200" cap="none" spc="0" normalizeH="0" baseline="0" noProof="0" dirty="0">
                <a:ln>
                  <a:noFill/>
                </a:ln>
                <a:solidFill>
                  <a:schemeClr val="accent1"/>
                </a:solidFill>
                <a:effectLst/>
                <a:uLnTx/>
                <a:uFillTx/>
                <a:latin typeface="HarmonyOS Sans SC"/>
                <a:cs typeface="+mn-cs"/>
              </a:rPr>
              <a:t>关键词标题</a:t>
            </a:r>
            <a:endParaRPr kumimoji="0" lang="en-US" sz="1050" b="0" i="0" u="none" strike="noStrike" kern="1200" cap="none" spc="0" normalizeH="0" baseline="0" noProof="0" dirty="0">
              <a:ln>
                <a:noFill/>
              </a:ln>
              <a:solidFill>
                <a:schemeClr val="accent1"/>
              </a:solidFill>
              <a:effectLst/>
              <a:uLnTx/>
              <a:uFillTx/>
              <a:latin typeface="HarmonyOS Sans SC"/>
              <a:cs typeface="+mn-cs"/>
            </a:endParaRPr>
          </a:p>
        </p:txBody>
      </p:sp>
      <p:sp>
        <p:nvSpPr>
          <p:cNvPr id="37" name="TextBox 46">
            <a:extLst>
              <a:ext uri="{FF2B5EF4-FFF2-40B4-BE49-F238E27FC236}">
                <a16:creationId xmlns:a16="http://schemas.microsoft.com/office/drawing/2014/main" id="{0583D91D-A8AF-4D4F-AF29-5701FA144D1B}"/>
              </a:ext>
            </a:extLst>
          </p:cNvPr>
          <p:cNvSpPr txBox="1"/>
          <p:nvPr/>
        </p:nvSpPr>
        <p:spPr>
          <a:xfrm>
            <a:off x="7988428" y="2537838"/>
            <a:ext cx="2898647" cy="181460"/>
          </a:xfrm>
          <a:prstGeom prst="rect">
            <a:avLst/>
          </a:prstGeom>
          <a:noFill/>
        </p:spPr>
        <p:txBody>
          <a:bodyPr wrap="square" lIns="0" tIns="0" rIns="0" bIns="0" rtlCol="0">
            <a:spAutoFit/>
          </a:bodyPr>
          <a:lstStyle/>
          <a:p>
            <a:pPr marL="0" marR="0" lvl="0" indent="0" algn="l" defTabSz="457200" rtl="0" eaLnBrk="1" fontAlgn="base" latinLnBrk="0" hangingPunct="1">
              <a:lnSpc>
                <a:spcPct val="130000"/>
              </a:lnSpc>
              <a:spcBef>
                <a:spcPts val="100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HarmonyOS Sans SC"/>
                <a:cs typeface="+mn-cs"/>
              </a:rPr>
              <a:t>Apparently we had reached a great height in the.</a:t>
            </a:r>
          </a:p>
        </p:txBody>
      </p:sp>
      <p:sp>
        <p:nvSpPr>
          <p:cNvPr id="38" name="TextBox 47">
            <a:extLst>
              <a:ext uri="{FF2B5EF4-FFF2-40B4-BE49-F238E27FC236}">
                <a16:creationId xmlns:a16="http://schemas.microsoft.com/office/drawing/2014/main" id="{C728B7A9-5DAD-4BDA-B444-74FF8F4595EB}"/>
              </a:ext>
            </a:extLst>
          </p:cNvPr>
          <p:cNvSpPr txBox="1"/>
          <p:nvPr/>
        </p:nvSpPr>
        <p:spPr>
          <a:xfrm>
            <a:off x="4948238" y="5424840"/>
            <a:ext cx="2295525" cy="335669"/>
          </a:xfrm>
          <a:prstGeom prst="rect">
            <a:avLst/>
          </a:prstGeom>
          <a:noFill/>
        </p:spPr>
        <p:txBody>
          <a:bodyPr wrap="square" lIns="0" tIns="0" rIns="0" bIns="0" rtlCol="0">
            <a:spAutoFit/>
          </a:bodyPr>
          <a:lstStyle/>
          <a:p>
            <a:pPr marL="0" marR="0" lvl="0" indent="0" algn="ctr" defTabSz="457200" rtl="0" eaLnBrk="1" fontAlgn="base" latinLnBrk="0" hangingPunct="1">
              <a:lnSpc>
                <a:spcPct val="130000"/>
              </a:lnSpc>
              <a:spcBef>
                <a:spcPts val="1000"/>
              </a:spcBef>
              <a:spcAft>
                <a:spcPts val="0"/>
              </a:spcAft>
              <a:buClrTx/>
              <a:buSzTx/>
              <a:buFontTx/>
              <a:buNone/>
              <a:tabLst/>
              <a:defRPr/>
            </a:pPr>
            <a:r>
              <a:rPr kumimoji="0" lang="zh-CN" altLang="en-US" sz="1800" b="1" i="0" u="none" strike="noStrike" kern="1200" cap="none" spc="0" normalizeH="0" baseline="0" noProof="0" dirty="0">
                <a:ln>
                  <a:noFill/>
                </a:ln>
                <a:solidFill>
                  <a:schemeClr val="accent1"/>
                </a:solidFill>
                <a:effectLst/>
                <a:uLnTx/>
                <a:uFillTx/>
                <a:latin typeface="HarmonyOS Sans SC"/>
                <a:cs typeface="+mn-cs"/>
              </a:rPr>
              <a:t>关键词标题</a:t>
            </a:r>
            <a:endParaRPr kumimoji="0" lang="en-US" sz="1050" b="0" i="0" u="none" strike="noStrike" kern="1200" cap="none" spc="0" normalizeH="0" baseline="0" noProof="0" dirty="0">
              <a:ln>
                <a:noFill/>
              </a:ln>
              <a:solidFill>
                <a:schemeClr val="accent1"/>
              </a:solidFill>
              <a:effectLst/>
              <a:uLnTx/>
              <a:uFillTx/>
              <a:latin typeface="HarmonyOS Sans SC"/>
              <a:cs typeface="+mn-cs"/>
            </a:endParaRPr>
          </a:p>
        </p:txBody>
      </p:sp>
      <p:sp>
        <p:nvSpPr>
          <p:cNvPr id="39" name="TextBox 47">
            <a:extLst>
              <a:ext uri="{FF2B5EF4-FFF2-40B4-BE49-F238E27FC236}">
                <a16:creationId xmlns:a16="http://schemas.microsoft.com/office/drawing/2014/main" id="{1213B628-736B-4A5E-9FDF-50173DCBCD55}"/>
              </a:ext>
            </a:extLst>
          </p:cNvPr>
          <p:cNvSpPr txBox="1"/>
          <p:nvPr/>
        </p:nvSpPr>
        <p:spPr>
          <a:xfrm>
            <a:off x="4646677" y="5785423"/>
            <a:ext cx="2898647" cy="181460"/>
          </a:xfrm>
          <a:prstGeom prst="rect">
            <a:avLst/>
          </a:prstGeom>
          <a:noFill/>
        </p:spPr>
        <p:txBody>
          <a:bodyPr wrap="square" lIns="0" tIns="0" rIns="0" bIns="0" rtlCol="0">
            <a:spAutoFit/>
          </a:bodyPr>
          <a:lstStyle/>
          <a:p>
            <a:pPr marL="0" marR="0" lvl="0" indent="0" algn="ctr" defTabSz="457200" rtl="0" eaLnBrk="1" fontAlgn="base" latinLnBrk="0" hangingPunct="1">
              <a:lnSpc>
                <a:spcPct val="130000"/>
              </a:lnSpc>
              <a:spcBef>
                <a:spcPts val="100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HarmonyOS Sans SC"/>
                <a:cs typeface="+mn-cs"/>
              </a:rPr>
              <a:t>Apparently we had reached a great height in the.</a:t>
            </a:r>
          </a:p>
        </p:txBody>
      </p:sp>
    </p:spTree>
    <p:extLst>
      <p:ext uri="{BB962C8B-B14F-4D97-AF65-F5344CB8AC3E}">
        <p14:creationId xmlns:p14="http://schemas.microsoft.com/office/powerpoint/2010/main" val="3665915679"/>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5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reeform 5">
            <a:extLst>
              <a:ext uri="{FF2B5EF4-FFF2-40B4-BE49-F238E27FC236}">
                <a16:creationId xmlns:a16="http://schemas.microsoft.com/office/drawing/2014/main" id="{87B1FC36-CD72-4E2C-9CAD-786C8C3A6A03}"/>
              </a:ext>
            </a:extLst>
          </p:cNvPr>
          <p:cNvSpPr>
            <a:spLocks/>
          </p:cNvSpPr>
          <p:nvPr/>
        </p:nvSpPr>
        <p:spPr bwMode="auto">
          <a:xfrm>
            <a:off x="6364288" y="2768703"/>
            <a:ext cx="1527175" cy="1682750"/>
          </a:xfrm>
          <a:custGeom>
            <a:avLst/>
            <a:gdLst>
              <a:gd name="T0" fmla="*/ 124 w 335"/>
              <a:gd name="T1" fmla="*/ 247 h 369"/>
              <a:gd name="T2" fmla="*/ 131 w 335"/>
              <a:gd name="T3" fmla="*/ 258 h 369"/>
              <a:gd name="T4" fmla="*/ 79 w 335"/>
              <a:gd name="T5" fmla="*/ 275 h 369"/>
              <a:gd name="T6" fmla="*/ 251 w 335"/>
              <a:gd name="T7" fmla="*/ 369 h 369"/>
              <a:gd name="T8" fmla="*/ 315 w 335"/>
              <a:gd name="T9" fmla="*/ 233 h 369"/>
              <a:gd name="T10" fmla="*/ 315 w 335"/>
              <a:gd name="T11" fmla="*/ 233 h 369"/>
              <a:gd name="T12" fmla="*/ 335 w 335"/>
              <a:gd name="T13" fmla="*/ 192 h 369"/>
              <a:gd name="T14" fmla="*/ 282 w 335"/>
              <a:gd name="T15" fmla="*/ 209 h 369"/>
              <a:gd name="T16" fmla="*/ 278 w 335"/>
              <a:gd name="T17" fmla="*/ 201 h 369"/>
              <a:gd name="T18" fmla="*/ 8 w 335"/>
              <a:gd name="T19" fmla="*/ 0 h 369"/>
              <a:gd name="T20" fmla="*/ 88 w 335"/>
              <a:gd name="T21" fmla="*/ 76 h 369"/>
              <a:gd name="T22" fmla="*/ 0 w 335"/>
              <a:gd name="T23" fmla="*/ 159 h 369"/>
              <a:gd name="T24" fmla="*/ 124 w 335"/>
              <a:gd name="T25" fmla="*/ 247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35" h="369">
                <a:moveTo>
                  <a:pt x="124" y="247"/>
                </a:moveTo>
                <a:cubicBezTo>
                  <a:pt x="131" y="258"/>
                  <a:pt x="131" y="258"/>
                  <a:pt x="131" y="258"/>
                </a:cubicBezTo>
                <a:cubicBezTo>
                  <a:pt x="79" y="275"/>
                  <a:pt x="79" y="275"/>
                  <a:pt x="79" y="275"/>
                </a:cubicBezTo>
                <a:cubicBezTo>
                  <a:pt x="251" y="369"/>
                  <a:pt x="251" y="369"/>
                  <a:pt x="251" y="369"/>
                </a:cubicBezTo>
                <a:cubicBezTo>
                  <a:pt x="315" y="233"/>
                  <a:pt x="315" y="233"/>
                  <a:pt x="315" y="233"/>
                </a:cubicBezTo>
                <a:cubicBezTo>
                  <a:pt x="315" y="233"/>
                  <a:pt x="315" y="233"/>
                  <a:pt x="315" y="233"/>
                </a:cubicBezTo>
                <a:cubicBezTo>
                  <a:pt x="335" y="192"/>
                  <a:pt x="335" y="192"/>
                  <a:pt x="335" y="192"/>
                </a:cubicBezTo>
                <a:cubicBezTo>
                  <a:pt x="282" y="209"/>
                  <a:pt x="282" y="209"/>
                  <a:pt x="282" y="209"/>
                </a:cubicBezTo>
                <a:cubicBezTo>
                  <a:pt x="278" y="201"/>
                  <a:pt x="278" y="201"/>
                  <a:pt x="278" y="201"/>
                </a:cubicBezTo>
                <a:cubicBezTo>
                  <a:pt x="227" y="93"/>
                  <a:pt x="125" y="18"/>
                  <a:pt x="8" y="0"/>
                </a:cubicBezTo>
                <a:cubicBezTo>
                  <a:pt x="88" y="76"/>
                  <a:pt x="88" y="76"/>
                  <a:pt x="88" y="76"/>
                </a:cubicBezTo>
                <a:cubicBezTo>
                  <a:pt x="0" y="159"/>
                  <a:pt x="0" y="159"/>
                  <a:pt x="0" y="159"/>
                </a:cubicBezTo>
                <a:cubicBezTo>
                  <a:pt x="51" y="171"/>
                  <a:pt x="95" y="202"/>
                  <a:pt x="124" y="247"/>
                </a:cubicBezTo>
                <a:close/>
              </a:path>
            </a:pathLst>
          </a:custGeom>
          <a:gradFill flip="none" rotWithShape="1">
            <a:gsLst>
              <a:gs pos="64000">
                <a:schemeClr val="accent1"/>
              </a:gs>
              <a:gs pos="31000">
                <a:schemeClr val="accent1">
                  <a:lumMod val="60000"/>
                  <a:lumOff val="40000"/>
                </a:schemeClr>
              </a:gs>
              <a:gs pos="0">
                <a:schemeClr val="accent1">
                  <a:lumMod val="40000"/>
                  <a:lumOff val="60000"/>
                </a:schemeClr>
              </a:gs>
            </a:gsLst>
            <a:lin ang="2700000" scaled="1"/>
            <a:tileRect/>
          </a:gradFill>
          <a:ln>
            <a:noFill/>
          </a:ln>
          <a:effectLst>
            <a:outerShdw blurRad="444500" dist="317500" dir="5400000" sx="92000" sy="92000" algn="t" rotWithShape="0">
              <a:schemeClr val="accent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HarmonyOS Sans SC"/>
              <a:cs typeface="+mn-cs"/>
            </a:endParaRPr>
          </a:p>
        </p:txBody>
      </p:sp>
      <p:sp>
        <p:nvSpPr>
          <p:cNvPr id="4" name="Freeform 6">
            <a:extLst>
              <a:ext uri="{FF2B5EF4-FFF2-40B4-BE49-F238E27FC236}">
                <a16:creationId xmlns:a16="http://schemas.microsoft.com/office/drawing/2014/main" id="{7905BF90-DE92-4A62-8CD6-9440D17C9035}"/>
              </a:ext>
            </a:extLst>
          </p:cNvPr>
          <p:cNvSpPr>
            <a:spLocks/>
          </p:cNvSpPr>
          <p:nvPr/>
        </p:nvSpPr>
        <p:spPr bwMode="auto">
          <a:xfrm>
            <a:off x="6510338" y="4118078"/>
            <a:ext cx="1281113" cy="1695450"/>
          </a:xfrm>
          <a:custGeom>
            <a:avLst/>
            <a:gdLst>
              <a:gd name="T0" fmla="*/ 77 w 281"/>
              <a:gd name="T1" fmla="*/ 190 h 372"/>
              <a:gd name="T2" fmla="*/ 69 w 281"/>
              <a:gd name="T3" fmla="*/ 200 h 372"/>
              <a:gd name="T4" fmla="*/ 36 w 281"/>
              <a:gd name="T5" fmla="*/ 155 h 372"/>
              <a:gd name="T6" fmla="*/ 25 w 281"/>
              <a:gd name="T7" fmla="*/ 211 h 372"/>
              <a:gd name="T8" fmla="*/ 25 w 281"/>
              <a:gd name="T9" fmla="*/ 211 h 372"/>
              <a:gd name="T10" fmla="*/ 0 w 281"/>
              <a:gd name="T11" fmla="*/ 347 h 372"/>
              <a:gd name="T12" fmla="*/ 194 w 281"/>
              <a:gd name="T13" fmla="*/ 372 h 372"/>
              <a:gd name="T14" fmla="*/ 162 w 281"/>
              <a:gd name="T15" fmla="*/ 328 h 372"/>
              <a:gd name="T16" fmla="*/ 168 w 281"/>
              <a:gd name="T17" fmla="*/ 322 h 372"/>
              <a:gd name="T18" fmla="*/ 281 w 281"/>
              <a:gd name="T19" fmla="*/ 60 h 372"/>
              <a:gd name="T20" fmla="*/ 276 w 281"/>
              <a:gd name="T21" fmla="*/ 0 h 372"/>
              <a:gd name="T22" fmla="*/ 249 w 281"/>
              <a:gd name="T23" fmla="*/ 58 h 372"/>
              <a:gd name="T24" fmla="*/ 228 w 281"/>
              <a:gd name="T25" fmla="*/ 102 h 372"/>
              <a:gd name="T26" fmla="*/ 123 w 281"/>
              <a:gd name="T27" fmla="*/ 44 h 372"/>
              <a:gd name="T28" fmla="*/ 124 w 281"/>
              <a:gd name="T29" fmla="*/ 60 h 372"/>
              <a:gd name="T30" fmla="*/ 77 w 281"/>
              <a:gd name="T31" fmla="*/ 190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1" h="372">
                <a:moveTo>
                  <a:pt x="77" y="190"/>
                </a:moveTo>
                <a:cubicBezTo>
                  <a:pt x="69" y="200"/>
                  <a:pt x="69" y="200"/>
                  <a:pt x="69" y="200"/>
                </a:cubicBezTo>
                <a:cubicBezTo>
                  <a:pt x="36" y="155"/>
                  <a:pt x="36" y="155"/>
                  <a:pt x="36" y="155"/>
                </a:cubicBezTo>
                <a:cubicBezTo>
                  <a:pt x="25" y="211"/>
                  <a:pt x="25" y="211"/>
                  <a:pt x="25" y="211"/>
                </a:cubicBezTo>
                <a:cubicBezTo>
                  <a:pt x="25" y="211"/>
                  <a:pt x="25" y="211"/>
                  <a:pt x="25" y="211"/>
                </a:cubicBezTo>
                <a:cubicBezTo>
                  <a:pt x="0" y="347"/>
                  <a:pt x="0" y="347"/>
                  <a:pt x="0" y="347"/>
                </a:cubicBezTo>
                <a:cubicBezTo>
                  <a:pt x="194" y="372"/>
                  <a:pt x="194" y="372"/>
                  <a:pt x="194" y="372"/>
                </a:cubicBezTo>
                <a:cubicBezTo>
                  <a:pt x="162" y="328"/>
                  <a:pt x="162" y="328"/>
                  <a:pt x="162" y="328"/>
                </a:cubicBezTo>
                <a:cubicBezTo>
                  <a:pt x="168" y="322"/>
                  <a:pt x="168" y="322"/>
                  <a:pt x="168" y="322"/>
                </a:cubicBezTo>
                <a:cubicBezTo>
                  <a:pt x="241" y="253"/>
                  <a:pt x="281" y="160"/>
                  <a:pt x="281" y="60"/>
                </a:cubicBezTo>
                <a:cubicBezTo>
                  <a:pt x="281" y="40"/>
                  <a:pt x="280" y="20"/>
                  <a:pt x="276" y="0"/>
                </a:cubicBezTo>
                <a:cubicBezTo>
                  <a:pt x="249" y="58"/>
                  <a:pt x="249" y="58"/>
                  <a:pt x="249" y="58"/>
                </a:cubicBezTo>
                <a:cubicBezTo>
                  <a:pt x="228" y="102"/>
                  <a:pt x="228" y="102"/>
                  <a:pt x="228" y="102"/>
                </a:cubicBezTo>
                <a:cubicBezTo>
                  <a:pt x="123" y="44"/>
                  <a:pt x="123" y="44"/>
                  <a:pt x="123" y="44"/>
                </a:cubicBezTo>
                <a:cubicBezTo>
                  <a:pt x="124" y="50"/>
                  <a:pt x="124" y="55"/>
                  <a:pt x="124" y="60"/>
                </a:cubicBezTo>
                <a:cubicBezTo>
                  <a:pt x="124" y="107"/>
                  <a:pt x="107" y="153"/>
                  <a:pt x="77" y="190"/>
                </a:cubicBezTo>
                <a:close/>
              </a:path>
            </a:pathLst>
          </a:custGeom>
          <a:gradFill flip="none" rotWithShape="1">
            <a:gsLst>
              <a:gs pos="64000">
                <a:schemeClr val="accent1"/>
              </a:gs>
              <a:gs pos="31000">
                <a:schemeClr val="accent1">
                  <a:lumMod val="60000"/>
                  <a:lumOff val="40000"/>
                </a:schemeClr>
              </a:gs>
              <a:gs pos="0">
                <a:schemeClr val="accent1">
                  <a:lumMod val="40000"/>
                  <a:lumOff val="60000"/>
                </a:schemeClr>
              </a:gs>
            </a:gsLst>
            <a:lin ang="8100000" scaled="1"/>
            <a:tileRect/>
          </a:gradFill>
          <a:ln>
            <a:noFill/>
          </a:ln>
          <a:effectLst>
            <a:outerShdw blurRad="444500" dist="317500" dir="5400000" sx="92000" sy="92000" algn="t" rotWithShape="0">
              <a:schemeClr val="accent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5" name="Freeform 7">
            <a:extLst>
              <a:ext uri="{FF2B5EF4-FFF2-40B4-BE49-F238E27FC236}">
                <a16:creationId xmlns:a16="http://schemas.microsoft.com/office/drawing/2014/main" id="{84AE0005-C531-4F93-A026-7B3A84AA5416}"/>
              </a:ext>
            </a:extLst>
          </p:cNvPr>
          <p:cNvSpPr>
            <a:spLocks/>
          </p:cNvSpPr>
          <p:nvPr/>
        </p:nvSpPr>
        <p:spPr bwMode="auto">
          <a:xfrm>
            <a:off x="5016500" y="5021365"/>
            <a:ext cx="1895475" cy="1011238"/>
          </a:xfrm>
          <a:custGeom>
            <a:avLst/>
            <a:gdLst>
              <a:gd name="T0" fmla="*/ 173 w 416"/>
              <a:gd name="T1" fmla="*/ 49 h 222"/>
              <a:gd name="T2" fmla="*/ 161 w 416"/>
              <a:gd name="T3" fmla="*/ 44 h 222"/>
              <a:gd name="T4" fmla="*/ 193 w 416"/>
              <a:gd name="T5" fmla="*/ 0 h 222"/>
              <a:gd name="T6" fmla="*/ 138 w 416"/>
              <a:gd name="T7" fmla="*/ 7 h 222"/>
              <a:gd name="T8" fmla="*/ 138 w 416"/>
              <a:gd name="T9" fmla="*/ 7 h 222"/>
              <a:gd name="T10" fmla="*/ 0 w 416"/>
              <a:gd name="T11" fmla="*/ 25 h 222"/>
              <a:gd name="T12" fmla="*/ 27 w 416"/>
              <a:gd name="T13" fmla="*/ 172 h 222"/>
              <a:gd name="T14" fmla="*/ 27 w 416"/>
              <a:gd name="T15" fmla="*/ 172 h 222"/>
              <a:gd name="T16" fmla="*/ 35 w 416"/>
              <a:gd name="T17" fmla="*/ 217 h 222"/>
              <a:gd name="T18" fmla="*/ 68 w 416"/>
              <a:gd name="T19" fmla="*/ 173 h 222"/>
              <a:gd name="T20" fmla="*/ 76 w 416"/>
              <a:gd name="T21" fmla="*/ 177 h 222"/>
              <a:gd name="T22" fmla="*/ 250 w 416"/>
              <a:gd name="T23" fmla="*/ 222 h 222"/>
              <a:gd name="T24" fmla="*/ 416 w 416"/>
              <a:gd name="T25" fmla="*/ 181 h 222"/>
              <a:gd name="T26" fmla="*/ 303 w 416"/>
              <a:gd name="T27" fmla="*/ 167 h 222"/>
              <a:gd name="T28" fmla="*/ 325 w 416"/>
              <a:gd name="T29" fmla="*/ 50 h 222"/>
              <a:gd name="T30" fmla="*/ 250 w 416"/>
              <a:gd name="T31" fmla="*/ 64 h 222"/>
              <a:gd name="T32" fmla="*/ 173 w 416"/>
              <a:gd name="T33" fmla="*/ 49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16" h="222">
                <a:moveTo>
                  <a:pt x="173" y="49"/>
                </a:moveTo>
                <a:cubicBezTo>
                  <a:pt x="161" y="44"/>
                  <a:pt x="161" y="44"/>
                  <a:pt x="161" y="44"/>
                </a:cubicBezTo>
                <a:cubicBezTo>
                  <a:pt x="193" y="0"/>
                  <a:pt x="193" y="0"/>
                  <a:pt x="193" y="0"/>
                </a:cubicBezTo>
                <a:cubicBezTo>
                  <a:pt x="138" y="7"/>
                  <a:pt x="138" y="7"/>
                  <a:pt x="138" y="7"/>
                </a:cubicBezTo>
                <a:cubicBezTo>
                  <a:pt x="138" y="7"/>
                  <a:pt x="138" y="7"/>
                  <a:pt x="138" y="7"/>
                </a:cubicBezTo>
                <a:cubicBezTo>
                  <a:pt x="0" y="25"/>
                  <a:pt x="0" y="25"/>
                  <a:pt x="0" y="25"/>
                </a:cubicBezTo>
                <a:cubicBezTo>
                  <a:pt x="27" y="172"/>
                  <a:pt x="27" y="172"/>
                  <a:pt x="27" y="172"/>
                </a:cubicBezTo>
                <a:cubicBezTo>
                  <a:pt x="27" y="172"/>
                  <a:pt x="27" y="172"/>
                  <a:pt x="27" y="172"/>
                </a:cubicBezTo>
                <a:cubicBezTo>
                  <a:pt x="35" y="217"/>
                  <a:pt x="35" y="217"/>
                  <a:pt x="35" y="217"/>
                </a:cubicBezTo>
                <a:cubicBezTo>
                  <a:pt x="68" y="173"/>
                  <a:pt x="68" y="173"/>
                  <a:pt x="68" y="173"/>
                </a:cubicBezTo>
                <a:cubicBezTo>
                  <a:pt x="76" y="177"/>
                  <a:pt x="76" y="177"/>
                  <a:pt x="76" y="177"/>
                </a:cubicBezTo>
                <a:cubicBezTo>
                  <a:pt x="129" y="206"/>
                  <a:pt x="189" y="222"/>
                  <a:pt x="250" y="222"/>
                </a:cubicBezTo>
                <a:cubicBezTo>
                  <a:pt x="308" y="222"/>
                  <a:pt x="365" y="208"/>
                  <a:pt x="416" y="181"/>
                </a:cubicBezTo>
                <a:cubicBezTo>
                  <a:pt x="303" y="167"/>
                  <a:pt x="303" y="167"/>
                  <a:pt x="303" y="167"/>
                </a:cubicBezTo>
                <a:cubicBezTo>
                  <a:pt x="325" y="50"/>
                  <a:pt x="325" y="50"/>
                  <a:pt x="325" y="50"/>
                </a:cubicBezTo>
                <a:cubicBezTo>
                  <a:pt x="301" y="59"/>
                  <a:pt x="276" y="64"/>
                  <a:pt x="250" y="64"/>
                </a:cubicBezTo>
                <a:cubicBezTo>
                  <a:pt x="223" y="64"/>
                  <a:pt x="198" y="59"/>
                  <a:pt x="173" y="49"/>
                </a:cubicBezTo>
                <a:close/>
              </a:path>
            </a:pathLst>
          </a:custGeom>
          <a:gradFill flip="none" rotWithShape="1">
            <a:gsLst>
              <a:gs pos="64000">
                <a:schemeClr val="accent1"/>
              </a:gs>
              <a:gs pos="31000">
                <a:schemeClr val="accent1">
                  <a:lumMod val="60000"/>
                  <a:lumOff val="40000"/>
                </a:schemeClr>
              </a:gs>
              <a:gs pos="0">
                <a:schemeClr val="accent1">
                  <a:lumMod val="40000"/>
                  <a:lumOff val="60000"/>
                </a:schemeClr>
              </a:gs>
            </a:gsLst>
            <a:lin ang="10800000" scaled="1"/>
            <a:tileRect/>
          </a:gradFill>
          <a:ln>
            <a:noFill/>
          </a:ln>
          <a:effectLst>
            <a:outerShdw blurRad="444500" dist="317500" dir="5400000" sx="92000" sy="92000" algn="t" rotWithShape="0">
              <a:schemeClr val="accent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6" name="Freeform 8">
            <a:extLst>
              <a:ext uri="{FF2B5EF4-FFF2-40B4-BE49-F238E27FC236}">
                <a16:creationId xmlns:a16="http://schemas.microsoft.com/office/drawing/2014/main" id="{37204EC9-43D3-4770-88F1-44313D99062B}"/>
              </a:ext>
            </a:extLst>
          </p:cNvPr>
          <p:cNvSpPr>
            <a:spLocks/>
          </p:cNvSpPr>
          <p:nvPr/>
        </p:nvSpPr>
        <p:spPr bwMode="auto">
          <a:xfrm>
            <a:off x="4305300" y="3538640"/>
            <a:ext cx="1166813" cy="2014538"/>
          </a:xfrm>
          <a:custGeom>
            <a:avLst/>
            <a:gdLst>
              <a:gd name="T0" fmla="*/ 204 w 256"/>
              <a:gd name="T1" fmla="*/ 173 h 442"/>
              <a:gd name="T2" fmla="*/ 205 w 256"/>
              <a:gd name="T3" fmla="*/ 160 h 442"/>
              <a:gd name="T4" fmla="*/ 256 w 256"/>
              <a:gd name="T5" fmla="*/ 176 h 442"/>
              <a:gd name="T6" fmla="*/ 233 w 256"/>
              <a:gd name="T7" fmla="*/ 128 h 442"/>
              <a:gd name="T8" fmla="*/ 233 w 256"/>
              <a:gd name="T9" fmla="*/ 128 h 442"/>
              <a:gd name="T10" fmla="*/ 172 w 256"/>
              <a:gd name="T11" fmla="*/ 0 h 442"/>
              <a:gd name="T12" fmla="*/ 42 w 256"/>
              <a:gd name="T13" fmla="*/ 70 h 442"/>
              <a:gd name="T14" fmla="*/ 42 w 256"/>
              <a:gd name="T15" fmla="*/ 70 h 442"/>
              <a:gd name="T16" fmla="*/ 0 w 256"/>
              <a:gd name="T17" fmla="*/ 93 h 442"/>
              <a:gd name="T18" fmla="*/ 54 w 256"/>
              <a:gd name="T19" fmla="*/ 111 h 442"/>
              <a:gd name="T20" fmla="*/ 52 w 256"/>
              <a:gd name="T21" fmla="*/ 120 h 442"/>
              <a:gd name="T22" fmla="*/ 46 w 256"/>
              <a:gd name="T23" fmla="*/ 187 h 442"/>
              <a:gd name="T24" fmla="*/ 152 w 256"/>
              <a:gd name="T25" fmla="*/ 442 h 442"/>
              <a:gd name="T26" fmla="*/ 131 w 256"/>
              <a:gd name="T27" fmla="*/ 332 h 442"/>
              <a:gd name="T28" fmla="*/ 250 w 256"/>
              <a:gd name="T29" fmla="*/ 317 h 442"/>
              <a:gd name="T30" fmla="*/ 203 w 256"/>
              <a:gd name="T31" fmla="*/ 187 h 442"/>
              <a:gd name="T32" fmla="*/ 204 w 256"/>
              <a:gd name="T33" fmla="*/ 173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56" h="442">
                <a:moveTo>
                  <a:pt x="204" y="173"/>
                </a:moveTo>
                <a:cubicBezTo>
                  <a:pt x="205" y="160"/>
                  <a:pt x="205" y="160"/>
                  <a:pt x="205" y="160"/>
                </a:cubicBezTo>
                <a:cubicBezTo>
                  <a:pt x="256" y="176"/>
                  <a:pt x="256" y="176"/>
                  <a:pt x="256" y="176"/>
                </a:cubicBezTo>
                <a:cubicBezTo>
                  <a:pt x="233" y="128"/>
                  <a:pt x="233" y="128"/>
                  <a:pt x="233" y="128"/>
                </a:cubicBezTo>
                <a:cubicBezTo>
                  <a:pt x="233" y="128"/>
                  <a:pt x="233" y="128"/>
                  <a:pt x="233" y="128"/>
                </a:cubicBezTo>
                <a:cubicBezTo>
                  <a:pt x="172" y="0"/>
                  <a:pt x="172" y="0"/>
                  <a:pt x="172" y="0"/>
                </a:cubicBezTo>
                <a:cubicBezTo>
                  <a:pt x="42" y="70"/>
                  <a:pt x="42" y="70"/>
                  <a:pt x="42" y="70"/>
                </a:cubicBezTo>
                <a:cubicBezTo>
                  <a:pt x="42" y="70"/>
                  <a:pt x="42" y="70"/>
                  <a:pt x="42" y="70"/>
                </a:cubicBezTo>
                <a:cubicBezTo>
                  <a:pt x="0" y="93"/>
                  <a:pt x="0" y="93"/>
                  <a:pt x="0" y="93"/>
                </a:cubicBezTo>
                <a:cubicBezTo>
                  <a:pt x="54" y="111"/>
                  <a:pt x="54" y="111"/>
                  <a:pt x="54" y="111"/>
                </a:cubicBezTo>
                <a:cubicBezTo>
                  <a:pt x="52" y="120"/>
                  <a:pt x="52" y="120"/>
                  <a:pt x="52" y="120"/>
                </a:cubicBezTo>
                <a:cubicBezTo>
                  <a:pt x="48" y="142"/>
                  <a:pt x="46" y="165"/>
                  <a:pt x="46" y="187"/>
                </a:cubicBezTo>
                <a:cubicBezTo>
                  <a:pt x="46" y="283"/>
                  <a:pt x="84" y="374"/>
                  <a:pt x="152" y="442"/>
                </a:cubicBezTo>
                <a:cubicBezTo>
                  <a:pt x="131" y="332"/>
                  <a:pt x="131" y="332"/>
                  <a:pt x="131" y="332"/>
                </a:cubicBezTo>
                <a:cubicBezTo>
                  <a:pt x="250" y="317"/>
                  <a:pt x="250" y="317"/>
                  <a:pt x="250" y="317"/>
                </a:cubicBezTo>
                <a:cubicBezTo>
                  <a:pt x="220" y="281"/>
                  <a:pt x="203" y="235"/>
                  <a:pt x="203" y="187"/>
                </a:cubicBezTo>
                <a:cubicBezTo>
                  <a:pt x="203" y="183"/>
                  <a:pt x="204" y="178"/>
                  <a:pt x="204" y="173"/>
                </a:cubicBezTo>
                <a:close/>
              </a:path>
            </a:pathLst>
          </a:custGeom>
          <a:gradFill flip="none" rotWithShape="1">
            <a:gsLst>
              <a:gs pos="64000">
                <a:schemeClr val="accent1"/>
              </a:gs>
              <a:gs pos="31000">
                <a:schemeClr val="accent1">
                  <a:lumMod val="60000"/>
                  <a:lumOff val="40000"/>
                </a:schemeClr>
              </a:gs>
              <a:gs pos="0">
                <a:schemeClr val="accent1">
                  <a:lumMod val="40000"/>
                  <a:lumOff val="60000"/>
                </a:schemeClr>
              </a:gs>
            </a:gsLst>
            <a:lin ang="13500000" scaled="1"/>
            <a:tileRect/>
          </a:gradFill>
          <a:ln>
            <a:noFill/>
          </a:ln>
          <a:effectLst>
            <a:outerShdw blurRad="444500" dist="317500" dir="5400000" sx="92000" sy="92000" algn="t" rotWithShape="0">
              <a:schemeClr val="accent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7" name="Freeform 9">
            <a:extLst>
              <a:ext uri="{FF2B5EF4-FFF2-40B4-BE49-F238E27FC236}">
                <a16:creationId xmlns:a16="http://schemas.microsoft.com/office/drawing/2014/main" id="{B5E0C68D-53AF-4B34-ADC9-3A490015A58C}"/>
              </a:ext>
            </a:extLst>
          </p:cNvPr>
          <p:cNvSpPr>
            <a:spLocks/>
          </p:cNvSpPr>
          <p:nvPr/>
        </p:nvSpPr>
        <p:spPr bwMode="auto">
          <a:xfrm>
            <a:off x="4692650" y="2500415"/>
            <a:ext cx="1936750" cy="1408113"/>
          </a:xfrm>
          <a:custGeom>
            <a:avLst/>
            <a:gdLst>
              <a:gd name="T0" fmla="*/ 270 w 425"/>
              <a:gd name="T1" fmla="*/ 219 h 309"/>
              <a:gd name="T2" fmla="*/ 283 w 425"/>
              <a:gd name="T3" fmla="*/ 216 h 309"/>
              <a:gd name="T4" fmla="*/ 283 w 425"/>
              <a:gd name="T5" fmla="*/ 269 h 309"/>
              <a:gd name="T6" fmla="*/ 322 w 425"/>
              <a:gd name="T7" fmla="*/ 232 h 309"/>
              <a:gd name="T8" fmla="*/ 322 w 425"/>
              <a:gd name="T9" fmla="*/ 232 h 309"/>
              <a:gd name="T10" fmla="*/ 425 w 425"/>
              <a:gd name="T11" fmla="*/ 135 h 309"/>
              <a:gd name="T12" fmla="*/ 318 w 425"/>
              <a:gd name="T13" fmla="*/ 34 h 309"/>
              <a:gd name="T14" fmla="*/ 318 w 425"/>
              <a:gd name="T15" fmla="*/ 34 h 309"/>
              <a:gd name="T16" fmla="*/ 283 w 425"/>
              <a:gd name="T17" fmla="*/ 0 h 309"/>
              <a:gd name="T18" fmla="*/ 283 w 425"/>
              <a:gd name="T19" fmla="*/ 57 h 309"/>
              <a:gd name="T20" fmla="*/ 274 w 425"/>
              <a:gd name="T21" fmla="*/ 58 h 309"/>
              <a:gd name="T22" fmla="*/ 0 w 425"/>
              <a:gd name="T23" fmla="*/ 251 h 309"/>
              <a:gd name="T24" fmla="*/ 96 w 425"/>
              <a:gd name="T25" fmla="*/ 199 h 309"/>
              <a:gd name="T26" fmla="*/ 148 w 425"/>
              <a:gd name="T27" fmla="*/ 309 h 309"/>
              <a:gd name="T28" fmla="*/ 270 w 425"/>
              <a:gd name="T29" fmla="*/ 219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5" h="309">
                <a:moveTo>
                  <a:pt x="270" y="219"/>
                </a:moveTo>
                <a:cubicBezTo>
                  <a:pt x="283" y="216"/>
                  <a:pt x="283" y="216"/>
                  <a:pt x="283" y="216"/>
                </a:cubicBezTo>
                <a:cubicBezTo>
                  <a:pt x="283" y="269"/>
                  <a:pt x="283" y="269"/>
                  <a:pt x="283" y="269"/>
                </a:cubicBezTo>
                <a:cubicBezTo>
                  <a:pt x="322" y="232"/>
                  <a:pt x="322" y="232"/>
                  <a:pt x="322" y="232"/>
                </a:cubicBezTo>
                <a:cubicBezTo>
                  <a:pt x="322" y="232"/>
                  <a:pt x="322" y="232"/>
                  <a:pt x="322" y="232"/>
                </a:cubicBezTo>
                <a:cubicBezTo>
                  <a:pt x="425" y="135"/>
                  <a:pt x="425" y="135"/>
                  <a:pt x="425" y="135"/>
                </a:cubicBezTo>
                <a:cubicBezTo>
                  <a:pt x="318" y="34"/>
                  <a:pt x="318" y="34"/>
                  <a:pt x="318" y="34"/>
                </a:cubicBezTo>
                <a:cubicBezTo>
                  <a:pt x="318" y="34"/>
                  <a:pt x="318" y="34"/>
                  <a:pt x="318" y="34"/>
                </a:cubicBezTo>
                <a:cubicBezTo>
                  <a:pt x="283" y="0"/>
                  <a:pt x="283" y="0"/>
                  <a:pt x="283" y="0"/>
                </a:cubicBezTo>
                <a:cubicBezTo>
                  <a:pt x="283" y="57"/>
                  <a:pt x="283" y="57"/>
                  <a:pt x="283" y="57"/>
                </a:cubicBezTo>
                <a:cubicBezTo>
                  <a:pt x="274" y="58"/>
                  <a:pt x="274" y="58"/>
                  <a:pt x="274" y="58"/>
                </a:cubicBezTo>
                <a:cubicBezTo>
                  <a:pt x="156" y="74"/>
                  <a:pt x="54" y="146"/>
                  <a:pt x="0" y="251"/>
                </a:cubicBezTo>
                <a:cubicBezTo>
                  <a:pt x="96" y="199"/>
                  <a:pt x="96" y="199"/>
                  <a:pt x="96" y="199"/>
                </a:cubicBezTo>
                <a:cubicBezTo>
                  <a:pt x="148" y="309"/>
                  <a:pt x="148" y="309"/>
                  <a:pt x="148" y="309"/>
                </a:cubicBezTo>
                <a:cubicBezTo>
                  <a:pt x="176" y="265"/>
                  <a:pt x="219" y="232"/>
                  <a:pt x="270" y="219"/>
                </a:cubicBezTo>
                <a:close/>
              </a:path>
            </a:pathLst>
          </a:custGeom>
          <a:gradFill flip="none" rotWithShape="1">
            <a:gsLst>
              <a:gs pos="64000">
                <a:schemeClr val="accent1"/>
              </a:gs>
              <a:gs pos="31000">
                <a:schemeClr val="accent1">
                  <a:lumMod val="60000"/>
                  <a:lumOff val="40000"/>
                </a:schemeClr>
              </a:gs>
              <a:gs pos="0">
                <a:schemeClr val="accent1">
                  <a:lumMod val="40000"/>
                  <a:lumOff val="60000"/>
                </a:schemeClr>
              </a:gs>
            </a:gsLst>
            <a:lin ang="18900000" scaled="1"/>
            <a:tileRect/>
          </a:gradFill>
          <a:ln>
            <a:noFill/>
          </a:ln>
          <a:effectLst>
            <a:outerShdw blurRad="444500" dist="317500" dir="5400000" sx="92000" sy="92000" algn="t" rotWithShape="0">
              <a:schemeClr val="accent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8" name="Freeform 65">
            <a:extLst>
              <a:ext uri="{FF2B5EF4-FFF2-40B4-BE49-F238E27FC236}">
                <a16:creationId xmlns:a16="http://schemas.microsoft.com/office/drawing/2014/main" id="{F68F0AA3-F851-4A9E-B85E-827DD43C346F}"/>
              </a:ext>
            </a:extLst>
          </p:cNvPr>
          <p:cNvSpPr>
            <a:spLocks noEditPoints="1"/>
          </p:cNvSpPr>
          <p:nvPr/>
        </p:nvSpPr>
        <p:spPr bwMode="auto">
          <a:xfrm>
            <a:off x="4663730" y="4165785"/>
            <a:ext cx="371820" cy="376155"/>
          </a:xfrm>
          <a:custGeom>
            <a:avLst/>
            <a:gdLst>
              <a:gd name="T0" fmla="*/ 537707 w 160"/>
              <a:gd name="T1" fmla="*/ 6886 h 160"/>
              <a:gd name="T2" fmla="*/ 517287 w 160"/>
              <a:gd name="T3" fmla="*/ 0 h 160"/>
              <a:gd name="T4" fmla="*/ 183773 w 160"/>
              <a:gd name="T5" fmla="*/ 55086 h 160"/>
              <a:gd name="T6" fmla="*/ 166757 w 160"/>
              <a:gd name="T7" fmla="*/ 79187 h 160"/>
              <a:gd name="T8" fmla="*/ 166757 w 160"/>
              <a:gd name="T9" fmla="*/ 392490 h 160"/>
              <a:gd name="T10" fmla="*/ 78274 w 160"/>
              <a:gd name="T11" fmla="*/ 392490 h 160"/>
              <a:gd name="T12" fmla="*/ 0 w 160"/>
              <a:gd name="T13" fmla="*/ 471676 h 160"/>
              <a:gd name="T14" fmla="*/ 78274 w 160"/>
              <a:gd name="T15" fmla="*/ 550863 h 160"/>
              <a:gd name="T16" fmla="*/ 132725 w 160"/>
              <a:gd name="T17" fmla="*/ 550863 h 160"/>
              <a:gd name="T18" fmla="*/ 210999 w 160"/>
              <a:gd name="T19" fmla="*/ 471676 h 160"/>
              <a:gd name="T20" fmla="*/ 210999 w 160"/>
              <a:gd name="T21" fmla="*/ 416590 h 160"/>
              <a:gd name="T22" fmla="*/ 210999 w 160"/>
              <a:gd name="T23" fmla="*/ 96401 h 160"/>
              <a:gd name="T24" fmla="*/ 500271 w 160"/>
              <a:gd name="T25" fmla="*/ 48201 h 160"/>
              <a:gd name="T26" fmla="*/ 500271 w 160"/>
              <a:gd name="T27" fmla="*/ 337404 h 160"/>
              <a:gd name="T28" fmla="*/ 411788 w 160"/>
              <a:gd name="T29" fmla="*/ 337404 h 160"/>
              <a:gd name="T30" fmla="*/ 333514 w 160"/>
              <a:gd name="T31" fmla="*/ 416590 h 160"/>
              <a:gd name="T32" fmla="*/ 411788 w 160"/>
              <a:gd name="T33" fmla="*/ 495777 h 160"/>
              <a:gd name="T34" fmla="*/ 466239 w 160"/>
              <a:gd name="T35" fmla="*/ 495777 h 160"/>
              <a:gd name="T36" fmla="*/ 544513 w 160"/>
              <a:gd name="T37" fmla="*/ 416590 h 160"/>
              <a:gd name="T38" fmla="*/ 544513 w 160"/>
              <a:gd name="T39" fmla="*/ 361504 h 160"/>
              <a:gd name="T40" fmla="*/ 544513 w 160"/>
              <a:gd name="T41" fmla="*/ 20657 h 160"/>
              <a:gd name="T42" fmla="*/ 537707 w 160"/>
              <a:gd name="T43" fmla="*/ 6886 h 160"/>
              <a:gd name="T44" fmla="*/ 166757 w 160"/>
              <a:gd name="T45" fmla="*/ 471676 h 160"/>
              <a:gd name="T46" fmla="*/ 132725 w 160"/>
              <a:gd name="T47" fmla="*/ 506105 h 160"/>
              <a:gd name="T48" fmla="*/ 78274 w 160"/>
              <a:gd name="T49" fmla="*/ 506105 h 160"/>
              <a:gd name="T50" fmla="*/ 44242 w 160"/>
              <a:gd name="T51" fmla="*/ 471676 h 160"/>
              <a:gd name="T52" fmla="*/ 78274 w 160"/>
              <a:gd name="T53" fmla="*/ 437248 h 160"/>
              <a:gd name="T54" fmla="*/ 166757 w 160"/>
              <a:gd name="T55" fmla="*/ 437248 h 160"/>
              <a:gd name="T56" fmla="*/ 166757 w 160"/>
              <a:gd name="T57" fmla="*/ 471676 h 160"/>
              <a:gd name="T58" fmla="*/ 500271 w 160"/>
              <a:gd name="T59" fmla="*/ 416590 h 160"/>
              <a:gd name="T60" fmla="*/ 466239 w 160"/>
              <a:gd name="T61" fmla="*/ 451019 h 160"/>
              <a:gd name="T62" fmla="*/ 411788 w 160"/>
              <a:gd name="T63" fmla="*/ 451019 h 160"/>
              <a:gd name="T64" fmla="*/ 377756 w 160"/>
              <a:gd name="T65" fmla="*/ 416590 h 160"/>
              <a:gd name="T66" fmla="*/ 411788 w 160"/>
              <a:gd name="T67" fmla="*/ 382161 h 160"/>
              <a:gd name="T68" fmla="*/ 500271 w 160"/>
              <a:gd name="T69" fmla="*/ 382161 h 160"/>
              <a:gd name="T70" fmla="*/ 500271 w 160"/>
              <a:gd name="T71" fmla="*/ 416590 h 160"/>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160" h="160">
                <a:moveTo>
                  <a:pt x="158" y="2"/>
                </a:moveTo>
                <a:cubicBezTo>
                  <a:pt x="156" y="0"/>
                  <a:pt x="154" y="0"/>
                  <a:pt x="152" y="0"/>
                </a:cubicBezTo>
                <a:cubicBezTo>
                  <a:pt x="54" y="16"/>
                  <a:pt x="54" y="16"/>
                  <a:pt x="54" y="16"/>
                </a:cubicBezTo>
                <a:cubicBezTo>
                  <a:pt x="51" y="17"/>
                  <a:pt x="49" y="20"/>
                  <a:pt x="49" y="23"/>
                </a:cubicBezTo>
                <a:cubicBezTo>
                  <a:pt x="49" y="114"/>
                  <a:pt x="49" y="114"/>
                  <a:pt x="49" y="114"/>
                </a:cubicBezTo>
                <a:cubicBezTo>
                  <a:pt x="23" y="114"/>
                  <a:pt x="23" y="114"/>
                  <a:pt x="23" y="114"/>
                </a:cubicBezTo>
                <a:cubicBezTo>
                  <a:pt x="10" y="114"/>
                  <a:pt x="0" y="125"/>
                  <a:pt x="0" y="137"/>
                </a:cubicBezTo>
                <a:cubicBezTo>
                  <a:pt x="0" y="150"/>
                  <a:pt x="10" y="160"/>
                  <a:pt x="23" y="160"/>
                </a:cubicBezTo>
                <a:cubicBezTo>
                  <a:pt x="39" y="160"/>
                  <a:pt x="39" y="160"/>
                  <a:pt x="39" y="160"/>
                </a:cubicBezTo>
                <a:cubicBezTo>
                  <a:pt x="52" y="160"/>
                  <a:pt x="62" y="150"/>
                  <a:pt x="62" y="137"/>
                </a:cubicBezTo>
                <a:cubicBezTo>
                  <a:pt x="62" y="121"/>
                  <a:pt x="62" y="121"/>
                  <a:pt x="62" y="121"/>
                </a:cubicBezTo>
                <a:cubicBezTo>
                  <a:pt x="62" y="28"/>
                  <a:pt x="62" y="28"/>
                  <a:pt x="62" y="28"/>
                </a:cubicBezTo>
                <a:cubicBezTo>
                  <a:pt x="147" y="14"/>
                  <a:pt x="147" y="14"/>
                  <a:pt x="147" y="14"/>
                </a:cubicBezTo>
                <a:cubicBezTo>
                  <a:pt x="147" y="98"/>
                  <a:pt x="147" y="98"/>
                  <a:pt x="147" y="98"/>
                </a:cubicBezTo>
                <a:cubicBezTo>
                  <a:pt x="121" y="98"/>
                  <a:pt x="121" y="98"/>
                  <a:pt x="121" y="98"/>
                </a:cubicBezTo>
                <a:cubicBezTo>
                  <a:pt x="108" y="98"/>
                  <a:pt x="98" y="108"/>
                  <a:pt x="98" y="121"/>
                </a:cubicBezTo>
                <a:cubicBezTo>
                  <a:pt x="98" y="133"/>
                  <a:pt x="108" y="144"/>
                  <a:pt x="121" y="144"/>
                </a:cubicBezTo>
                <a:cubicBezTo>
                  <a:pt x="137" y="144"/>
                  <a:pt x="137" y="144"/>
                  <a:pt x="137" y="144"/>
                </a:cubicBezTo>
                <a:cubicBezTo>
                  <a:pt x="150" y="144"/>
                  <a:pt x="160" y="133"/>
                  <a:pt x="160" y="121"/>
                </a:cubicBezTo>
                <a:cubicBezTo>
                  <a:pt x="160" y="105"/>
                  <a:pt x="160" y="105"/>
                  <a:pt x="160" y="105"/>
                </a:cubicBezTo>
                <a:cubicBezTo>
                  <a:pt x="160" y="6"/>
                  <a:pt x="160" y="6"/>
                  <a:pt x="160" y="6"/>
                </a:cubicBezTo>
                <a:cubicBezTo>
                  <a:pt x="160" y="5"/>
                  <a:pt x="159" y="3"/>
                  <a:pt x="158" y="2"/>
                </a:cubicBezTo>
                <a:close/>
                <a:moveTo>
                  <a:pt x="49" y="137"/>
                </a:moveTo>
                <a:cubicBezTo>
                  <a:pt x="49" y="143"/>
                  <a:pt x="45" y="147"/>
                  <a:pt x="39" y="147"/>
                </a:cubicBezTo>
                <a:cubicBezTo>
                  <a:pt x="23" y="147"/>
                  <a:pt x="23" y="147"/>
                  <a:pt x="23" y="147"/>
                </a:cubicBezTo>
                <a:cubicBezTo>
                  <a:pt x="17" y="147"/>
                  <a:pt x="13" y="143"/>
                  <a:pt x="13" y="137"/>
                </a:cubicBezTo>
                <a:cubicBezTo>
                  <a:pt x="13" y="132"/>
                  <a:pt x="17" y="127"/>
                  <a:pt x="23" y="127"/>
                </a:cubicBezTo>
                <a:cubicBezTo>
                  <a:pt x="49" y="127"/>
                  <a:pt x="49" y="127"/>
                  <a:pt x="49" y="127"/>
                </a:cubicBezTo>
                <a:lnTo>
                  <a:pt x="49" y="137"/>
                </a:lnTo>
                <a:close/>
                <a:moveTo>
                  <a:pt x="147" y="121"/>
                </a:moveTo>
                <a:cubicBezTo>
                  <a:pt x="147" y="126"/>
                  <a:pt x="143" y="131"/>
                  <a:pt x="137" y="131"/>
                </a:cubicBezTo>
                <a:cubicBezTo>
                  <a:pt x="121" y="131"/>
                  <a:pt x="121" y="131"/>
                  <a:pt x="121" y="131"/>
                </a:cubicBezTo>
                <a:cubicBezTo>
                  <a:pt x="115" y="131"/>
                  <a:pt x="111" y="126"/>
                  <a:pt x="111" y="121"/>
                </a:cubicBezTo>
                <a:cubicBezTo>
                  <a:pt x="111" y="115"/>
                  <a:pt x="115" y="111"/>
                  <a:pt x="121" y="111"/>
                </a:cubicBezTo>
                <a:cubicBezTo>
                  <a:pt x="147" y="111"/>
                  <a:pt x="147" y="111"/>
                  <a:pt x="147" y="111"/>
                </a:cubicBezTo>
                <a:lnTo>
                  <a:pt x="147" y="121"/>
                </a:lnTo>
                <a:close/>
              </a:path>
            </a:pathLst>
          </a:custGeom>
          <a:solidFill>
            <a:srgbClr val="FFFFFF"/>
          </a:solidFill>
          <a:ln>
            <a:noFill/>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sp>
        <p:nvSpPr>
          <p:cNvPr id="9" name="Freeform 75">
            <a:extLst>
              <a:ext uri="{FF2B5EF4-FFF2-40B4-BE49-F238E27FC236}">
                <a16:creationId xmlns:a16="http://schemas.microsoft.com/office/drawing/2014/main" id="{D790A47F-E377-4FB9-B3E7-DAB73C12A416}"/>
              </a:ext>
            </a:extLst>
          </p:cNvPr>
          <p:cNvSpPr>
            <a:spLocks noEditPoints="1"/>
          </p:cNvSpPr>
          <p:nvPr/>
        </p:nvSpPr>
        <p:spPr bwMode="auto">
          <a:xfrm>
            <a:off x="6981323" y="3427599"/>
            <a:ext cx="377241" cy="377240"/>
          </a:xfrm>
          <a:custGeom>
            <a:avLst/>
            <a:gdLst>
              <a:gd name="T0" fmla="*/ 409222 w 162"/>
              <a:gd name="T1" fmla="*/ 380882 h 161"/>
              <a:gd name="T2" fmla="*/ 402402 w 162"/>
              <a:gd name="T3" fmla="*/ 374019 h 161"/>
              <a:gd name="T4" fmla="*/ 341019 w 162"/>
              <a:gd name="T5" fmla="*/ 312254 h 161"/>
              <a:gd name="T6" fmla="*/ 225072 w 162"/>
              <a:gd name="T7" fmla="*/ 192157 h 161"/>
              <a:gd name="T8" fmla="*/ 40922 w 162"/>
              <a:gd name="T9" fmla="*/ 10294 h 161"/>
              <a:gd name="T10" fmla="*/ 10231 w 162"/>
              <a:gd name="T11" fmla="*/ 41176 h 161"/>
              <a:gd name="T12" fmla="*/ 184150 w 162"/>
              <a:gd name="T13" fmla="*/ 277941 h 161"/>
              <a:gd name="T14" fmla="*/ 276225 w 162"/>
              <a:gd name="T15" fmla="*/ 370588 h 161"/>
              <a:gd name="T16" fmla="*/ 323968 w 162"/>
              <a:gd name="T17" fmla="*/ 356862 h 161"/>
              <a:gd name="T18" fmla="*/ 283045 w 162"/>
              <a:gd name="T19" fmla="*/ 418627 h 161"/>
              <a:gd name="T20" fmla="*/ 269405 w 162"/>
              <a:gd name="T21" fmla="*/ 418627 h 161"/>
              <a:gd name="T22" fmla="*/ 139818 w 162"/>
              <a:gd name="T23" fmla="*/ 277941 h 161"/>
              <a:gd name="T24" fmla="*/ 139818 w 162"/>
              <a:gd name="T25" fmla="*/ 233333 h 161"/>
              <a:gd name="T26" fmla="*/ 95485 w 162"/>
              <a:gd name="T27" fmla="*/ 233333 h 161"/>
              <a:gd name="T28" fmla="*/ 150048 w 162"/>
              <a:gd name="T29" fmla="*/ 408333 h 161"/>
              <a:gd name="T30" fmla="*/ 255764 w 162"/>
              <a:gd name="T31" fmla="*/ 507842 h 161"/>
              <a:gd name="T32" fmla="*/ 163689 w 162"/>
              <a:gd name="T33" fmla="*/ 531862 h 161"/>
              <a:gd name="T34" fmla="*/ 368300 w 162"/>
              <a:gd name="T35" fmla="*/ 552450 h 161"/>
              <a:gd name="T36" fmla="*/ 368300 w 162"/>
              <a:gd name="T37" fmla="*/ 507842 h 161"/>
              <a:gd name="T38" fmla="*/ 296686 w 162"/>
              <a:gd name="T39" fmla="*/ 459803 h 161"/>
              <a:gd name="T40" fmla="*/ 511528 w 162"/>
              <a:gd name="T41" fmla="*/ 545587 h 161"/>
              <a:gd name="T42" fmla="*/ 542219 w 162"/>
              <a:gd name="T43" fmla="*/ 545587 h 161"/>
              <a:gd name="T44" fmla="*/ 276225 w 162"/>
              <a:gd name="T45" fmla="*/ 325980 h 161"/>
              <a:gd name="T46" fmla="*/ 242123 w 162"/>
              <a:gd name="T47" fmla="*/ 312254 h 161"/>
              <a:gd name="T48" fmla="*/ 228482 w 162"/>
              <a:gd name="T49" fmla="*/ 264215 h 161"/>
              <a:gd name="T50" fmla="*/ 276225 w 162"/>
              <a:gd name="T51" fmla="*/ 325980 h 161"/>
              <a:gd name="T52" fmla="*/ 276225 w 162"/>
              <a:gd name="T53" fmla="*/ 3431 h 161"/>
              <a:gd name="T54" fmla="*/ 341019 w 162"/>
              <a:gd name="T55" fmla="*/ 30882 h 161"/>
              <a:gd name="T56" fmla="*/ 368300 w 162"/>
              <a:gd name="T57" fmla="*/ 216176 h 161"/>
              <a:gd name="T58" fmla="*/ 323968 w 162"/>
              <a:gd name="T59" fmla="*/ 216176 h 161"/>
              <a:gd name="T60" fmla="*/ 310327 w 162"/>
              <a:gd name="T61" fmla="*/ 61765 h 161"/>
              <a:gd name="T62" fmla="*/ 276225 w 162"/>
              <a:gd name="T63" fmla="*/ 48039 h 161"/>
              <a:gd name="T64" fmla="*/ 204611 w 162"/>
              <a:gd name="T65" fmla="*/ 102941 h 161"/>
              <a:gd name="T66" fmla="*/ 412632 w 162"/>
              <a:gd name="T67" fmla="*/ 301960 h 161"/>
              <a:gd name="T68" fmla="*/ 412632 w 162"/>
              <a:gd name="T69" fmla="*/ 233333 h 161"/>
              <a:gd name="T70" fmla="*/ 456965 w 162"/>
              <a:gd name="T71" fmla="*/ 233333 h 161"/>
              <a:gd name="T72" fmla="*/ 453555 w 162"/>
              <a:gd name="T73" fmla="*/ 308823 h 161"/>
              <a:gd name="T74" fmla="*/ 429683 w 162"/>
              <a:gd name="T75" fmla="*/ 329411 h 161"/>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162" h="161">
                <a:moveTo>
                  <a:pt x="159" y="150"/>
                </a:moveTo>
                <a:cubicBezTo>
                  <a:pt x="120" y="111"/>
                  <a:pt x="120" y="111"/>
                  <a:pt x="120" y="111"/>
                </a:cubicBezTo>
                <a:cubicBezTo>
                  <a:pt x="120" y="110"/>
                  <a:pt x="119" y="110"/>
                  <a:pt x="119" y="109"/>
                </a:cubicBezTo>
                <a:cubicBezTo>
                  <a:pt x="119" y="109"/>
                  <a:pt x="118" y="109"/>
                  <a:pt x="118" y="109"/>
                </a:cubicBezTo>
                <a:cubicBezTo>
                  <a:pt x="100" y="91"/>
                  <a:pt x="100" y="91"/>
                  <a:pt x="100" y="91"/>
                </a:cubicBezTo>
                <a:cubicBezTo>
                  <a:pt x="100" y="91"/>
                  <a:pt x="100" y="91"/>
                  <a:pt x="100" y="91"/>
                </a:cubicBezTo>
                <a:cubicBezTo>
                  <a:pt x="100" y="91"/>
                  <a:pt x="100" y="91"/>
                  <a:pt x="100" y="91"/>
                </a:cubicBezTo>
                <a:cubicBezTo>
                  <a:pt x="66" y="56"/>
                  <a:pt x="66" y="56"/>
                  <a:pt x="66" y="56"/>
                </a:cubicBezTo>
                <a:cubicBezTo>
                  <a:pt x="66" y="56"/>
                  <a:pt x="66" y="56"/>
                  <a:pt x="65" y="56"/>
                </a:cubicBezTo>
                <a:cubicBezTo>
                  <a:pt x="12" y="3"/>
                  <a:pt x="12" y="3"/>
                  <a:pt x="12" y="3"/>
                </a:cubicBezTo>
                <a:cubicBezTo>
                  <a:pt x="10" y="0"/>
                  <a:pt x="5" y="0"/>
                  <a:pt x="3" y="3"/>
                </a:cubicBezTo>
                <a:cubicBezTo>
                  <a:pt x="0" y="5"/>
                  <a:pt x="0" y="10"/>
                  <a:pt x="3" y="12"/>
                </a:cubicBezTo>
                <a:cubicBezTo>
                  <a:pt x="54" y="64"/>
                  <a:pt x="54" y="64"/>
                  <a:pt x="54" y="64"/>
                </a:cubicBezTo>
                <a:cubicBezTo>
                  <a:pt x="54" y="81"/>
                  <a:pt x="54" y="81"/>
                  <a:pt x="54" y="81"/>
                </a:cubicBezTo>
                <a:cubicBezTo>
                  <a:pt x="54" y="88"/>
                  <a:pt x="57" y="95"/>
                  <a:pt x="62" y="100"/>
                </a:cubicBezTo>
                <a:cubicBezTo>
                  <a:pt x="67" y="105"/>
                  <a:pt x="74" y="108"/>
                  <a:pt x="81" y="108"/>
                </a:cubicBezTo>
                <a:cubicBezTo>
                  <a:pt x="81" y="108"/>
                  <a:pt x="81" y="108"/>
                  <a:pt x="81" y="108"/>
                </a:cubicBezTo>
                <a:cubicBezTo>
                  <a:pt x="86" y="108"/>
                  <a:pt x="91" y="106"/>
                  <a:pt x="95" y="104"/>
                </a:cubicBezTo>
                <a:cubicBezTo>
                  <a:pt x="105" y="114"/>
                  <a:pt x="105" y="114"/>
                  <a:pt x="105" y="114"/>
                </a:cubicBezTo>
                <a:cubicBezTo>
                  <a:pt x="98" y="119"/>
                  <a:pt x="90" y="121"/>
                  <a:pt x="83" y="122"/>
                </a:cubicBezTo>
                <a:cubicBezTo>
                  <a:pt x="82" y="121"/>
                  <a:pt x="82" y="121"/>
                  <a:pt x="81" y="121"/>
                </a:cubicBezTo>
                <a:cubicBezTo>
                  <a:pt x="80" y="121"/>
                  <a:pt x="80" y="121"/>
                  <a:pt x="79" y="122"/>
                </a:cubicBezTo>
                <a:cubicBezTo>
                  <a:pt x="70" y="121"/>
                  <a:pt x="60" y="117"/>
                  <a:pt x="53" y="110"/>
                </a:cubicBezTo>
                <a:cubicBezTo>
                  <a:pt x="45" y="103"/>
                  <a:pt x="41" y="92"/>
                  <a:pt x="41" y="81"/>
                </a:cubicBezTo>
                <a:cubicBezTo>
                  <a:pt x="41" y="81"/>
                  <a:pt x="41" y="81"/>
                  <a:pt x="41" y="81"/>
                </a:cubicBezTo>
                <a:cubicBezTo>
                  <a:pt x="41" y="68"/>
                  <a:pt x="41" y="68"/>
                  <a:pt x="41" y="68"/>
                </a:cubicBezTo>
                <a:cubicBezTo>
                  <a:pt x="41" y="64"/>
                  <a:pt x="38" y="61"/>
                  <a:pt x="34" y="61"/>
                </a:cubicBezTo>
                <a:cubicBezTo>
                  <a:pt x="31" y="61"/>
                  <a:pt x="28" y="64"/>
                  <a:pt x="28" y="68"/>
                </a:cubicBezTo>
                <a:cubicBezTo>
                  <a:pt x="28" y="81"/>
                  <a:pt x="28" y="81"/>
                  <a:pt x="28" y="81"/>
                </a:cubicBezTo>
                <a:cubicBezTo>
                  <a:pt x="28" y="95"/>
                  <a:pt x="33" y="109"/>
                  <a:pt x="44" y="119"/>
                </a:cubicBezTo>
                <a:cubicBezTo>
                  <a:pt x="52" y="128"/>
                  <a:pt x="63" y="133"/>
                  <a:pt x="75" y="134"/>
                </a:cubicBezTo>
                <a:cubicBezTo>
                  <a:pt x="75" y="148"/>
                  <a:pt x="75" y="148"/>
                  <a:pt x="75" y="148"/>
                </a:cubicBezTo>
                <a:cubicBezTo>
                  <a:pt x="54" y="148"/>
                  <a:pt x="54" y="148"/>
                  <a:pt x="54" y="148"/>
                </a:cubicBezTo>
                <a:cubicBezTo>
                  <a:pt x="51" y="148"/>
                  <a:pt x="48" y="151"/>
                  <a:pt x="48" y="155"/>
                </a:cubicBezTo>
                <a:cubicBezTo>
                  <a:pt x="48" y="158"/>
                  <a:pt x="51" y="161"/>
                  <a:pt x="54" y="161"/>
                </a:cubicBezTo>
                <a:cubicBezTo>
                  <a:pt x="108" y="161"/>
                  <a:pt x="108" y="161"/>
                  <a:pt x="108" y="161"/>
                </a:cubicBezTo>
                <a:cubicBezTo>
                  <a:pt x="111" y="161"/>
                  <a:pt x="114" y="158"/>
                  <a:pt x="114" y="155"/>
                </a:cubicBezTo>
                <a:cubicBezTo>
                  <a:pt x="114" y="151"/>
                  <a:pt x="111" y="148"/>
                  <a:pt x="108" y="148"/>
                </a:cubicBezTo>
                <a:cubicBezTo>
                  <a:pt x="87" y="148"/>
                  <a:pt x="87" y="148"/>
                  <a:pt x="87" y="148"/>
                </a:cubicBezTo>
                <a:cubicBezTo>
                  <a:pt x="87" y="134"/>
                  <a:pt x="87" y="134"/>
                  <a:pt x="87" y="134"/>
                </a:cubicBezTo>
                <a:cubicBezTo>
                  <a:pt x="97" y="133"/>
                  <a:pt x="106" y="129"/>
                  <a:pt x="114" y="123"/>
                </a:cubicBezTo>
                <a:cubicBezTo>
                  <a:pt x="150" y="159"/>
                  <a:pt x="150" y="159"/>
                  <a:pt x="150" y="159"/>
                </a:cubicBezTo>
                <a:cubicBezTo>
                  <a:pt x="151" y="160"/>
                  <a:pt x="153" y="161"/>
                  <a:pt x="155" y="161"/>
                </a:cubicBezTo>
                <a:cubicBezTo>
                  <a:pt x="156" y="161"/>
                  <a:pt x="158" y="160"/>
                  <a:pt x="159" y="159"/>
                </a:cubicBezTo>
                <a:cubicBezTo>
                  <a:pt x="162" y="157"/>
                  <a:pt x="162" y="152"/>
                  <a:pt x="159" y="150"/>
                </a:cubicBezTo>
                <a:close/>
                <a:moveTo>
                  <a:pt x="81" y="95"/>
                </a:moveTo>
                <a:cubicBezTo>
                  <a:pt x="81" y="95"/>
                  <a:pt x="81" y="95"/>
                  <a:pt x="81" y="95"/>
                </a:cubicBezTo>
                <a:cubicBezTo>
                  <a:pt x="77" y="95"/>
                  <a:pt x="74" y="93"/>
                  <a:pt x="71" y="91"/>
                </a:cubicBezTo>
                <a:cubicBezTo>
                  <a:pt x="69" y="88"/>
                  <a:pt x="67" y="85"/>
                  <a:pt x="67" y="81"/>
                </a:cubicBezTo>
                <a:cubicBezTo>
                  <a:pt x="67" y="77"/>
                  <a:pt x="67" y="77"/>
                  <a:pt x="67" y="77"/>
                </a:cubicBezTo>
                <a:cubicBezTo>
                  <a:pt x="85" y="94"/>
                  <a:pt x="85" y="94"/>
                  <a:pt x="85" y="94"/>
                </a:cubicBezTo>
                <a:cubicBezTo>
                  <a:pt x="84" y="94"/>
                  <a:pt x="82" y="95"/>
                  <a:pt x="81" y="95"/>
                </a:cubicBezTo>
                <a:close/>
                <a:moveTo>
                  <a:pt x="55" y="22"/>
                </a:moveTo>
                <a:cubicBezTo>
                  <a:pt x="58" y="10"/>
                  <a:pt x="68" y="1"/>
                  <a:pt x="81" y="1"/>
                </a:cubicBezTo>
                <a:cubicBezTo>
                  <a:pt x="81" y="1"/>
                  <a:pt x="81" y="1"/>
                  <a:pt x="81" y="1"/>
                </a:cubicBezTo>
                <a:cubicBezTo>
                  <a:pt x="88" y="1"/>
                  <a:pt x="95" y="4"/>
                  <a:pt x="100" y="9"/>
                </a:cubicBezTo>
                <a:cubicBezTo>
                  <a:pt x="105" y="14"/>
                  <a:pt x="108" y="20"/>
                  <a:pt x="108" y="28"/>
                </a:cubicBezTo>
                <a:cubicBezTo>
                  <a:pt x="108" y="63"/>
                  <a:pt x="108" y="63"/>
                  <a:pt x="108" y="63"/>
                </a:cubicBezTo>
                <a:cubicBezTo>
                  <a:pt x="108" y="67"/>
                  <a:pt x="105" y="70"/>
                  <a:pt x="101" y="70"/>
                </a:cubicBezTo>
                <a:cubicBezTo>
                  <a:pt x="97" y="70"/>
                  <a:pt x="95" y="67"/>
                  <a:pt x="95" y="63"/>
                </a:cubicBezTo>
                <a:cubicBezTo>
                  <a:pt x="95" y="28"/>
                  <a:pt x="95" y="28"/>
                  <a:pt x="95" y="28"/>
                </a:cubicBezTo>
                <a:cubicBezTo>
                  <a:pt x="95" y="24"/>
                  <a:pt x="93" y="20"/>
                  <a:pt x="91" y="18"/>
                </a:cubicBezTo>
                <a:cubicBezTo>
                  <a:pt x="88" y="15"/>
                  <a:pt x="85" y="14"/>
                  <a:pt x="81" y="14"/>
                </a:cubicBezTo>
                <a:cubicBezTo>
                  <a:pt x="81" y="14"/>
                  <a:pt x="81" y="14"/>
                  <a:pt x="81" y="14"/>
                </a:cubicBezTo>
                <a:cubicBezTo>
                  <a:pt x="75" y="14"/>
                  <a:pt x="69" y="19"/>
                  <a:pt x="68" y="25"/>
                </a:cubicBezTo>
                <a:cubicBezTo>
                  <a:pt x="67" y="28"/>
                  <a:pt x="64" y="31"/>
                  <a:pt x="60" y="30"/>
                </a:cubicBezTo>
                <a:cubicBezTo>
                  <a:pt x="57" y="29"/>
                  <a:pt x="54" y="26"/>
                  <a:pt x="55" y="22"/>
                </a:cubicBezTo>
                <a:close/>
                <a:moveTo>
                  <a:pt x="121" y="88"/>
                </a:moveTo>
                <a:cubicBezTo>
                  <a:pt x="121" y="86"/>
                  <a:pt x="121" y="83"/>
                  <a:pt x="121" y="81"/>
                </a:cubicBezTo>
                <a:cubicBezTo>
                  <a:pt x="121" y="68"/>
                  <a:pt x="121" y="68"/>
                  <a:pt x="121" y="68"/>
                </a:cubicBezTo>
                <a:cubicBezTo>
                  <a:pt x="121" y="64"/>
                  <a:pt x="124" y="61"/>
                  <a:pt x="128" y="61"/>
                </a:cubicBezTo>
                <a:cubicBezTo>
                  <a:pt x="131" y="61"/>
                  <a:pt x="134" y="64"/>
                  <a:pt x="134" y="68"/>
                </a:cubicBezTo>
                <a:cubicBezTo>
                  <a:pt x="134" y="81"/>
                  <a:pt x="134" y="81"/>
                  <a:pt x="134" y="81"/>
                </a:cubicBezTo>
                <a:cubicBezTo>
                  <a:pt x="134" y="84"/>
                  <a:pt x="134" y="87"/>
                  <a:pt x="133" y="90"/>
                </a:cubicBezTo>
                <a:cubicBezTo>
                  <a:pt x="133" y="94"/>
                  <a:pt x="130" y="96"/>
                  <a:pt x="127" y="96"/>
                </a:cubicBezTo>
                <a:cubicBezTo>
                  <a:pt x="127" y="96"/>
                  <a:pt x="126" y="96"/>
                  <a:pt x="126" y="96"/>
                </a:cubicBezTo>
                <a:cubicBezTo>
                  <a:pt x="122" y="95"/>
                  <a:pt x="120" y="92"/>
                  <a:pt x="121" y="88"/>
                </a:cubicBezTo>
                <a:close/>
              </a:path>
            </a:pathLst>
          </a:custGeom>
          <a:solidFill>
            <a:srgbClr val="FFFFFF"/>
          </a:solidFill>
          <a:ln>
            <a:noFill/>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sp>
        <p:nvSpPr>
          <p:cNvPr id="10" name="Freeform 61">
            <a:extLst>
              <a:ext uri="{FF2B5EF4-FFF2-40B4-BE49-F238E27FC236}">
                <a16:creationId xmlns:a16="http://schemas.microsoft.com/office/drawing/2014/main" id="{4DA96F0F-02FF-4749-A7EC-2D456493F173}"/>
              </a:ext>
            </a:extLst>
          </p:cNvPr>
          <p:cNvSpPr>
            <a:spLocks noEditPoints="1"/>
          </p:cNvSpPr>
          <p:nvPr/>
        </p:nvSpPr>
        <p:spPr bwMode="auto">
          <a:xfrm>
            <a:off x="5570538" y="5421208"/>
            <a:ext cx="351167" cy="354220"/>
          </a:xfrm>
          <a:custGeom>
            <a:avLst/>
            <a:gdLst>
              <a:gd name="T0" fmla="*/ 540884 w 161"/>
              <a:gd name="T1" fmla="*/ 137255 h 161"/>
              <a:gd name="T2" fmla="*/ 445634 w 161"/>
              <a:gd name="T3" fmla="*/ 233333 h 161"/>
              <a:gd name="T4" fmla="*/ 415018 w 161"/>
              <a:gd name="T5" fmla="*/ 233333 h 161"/>
              <a:gd name="T6" fmla="*/ 472849 w 161"/>
              <a:gd name="T7" fmla="*/ 144117 h 161"/>
              <a:gd name="T8" fmla="*/ 312965 w 161"/>
              <a:gd name="T9" fmla="*/ 123529 h 161"/>
              <a:gd name="T10" fmla="*/ 472849 w 161"/>
              <a:gd name="T11" fmla="*/ 99510 h 161"/>
              <a:gd name="T12" fmla="*/ 415018 w 161"/>
              <a:gd name="T13" fmla="*/ 10294 h 161"/>
              <a:gd name="T14" fmla="*/ 540884 w 161"/>
              <a:gd name="T15" fmla="*/ 106372 h 161"/>
              <a:gd name="T16" fmla="*/ 544286 w 161"/>
              <a:gd name="T17" fmla="*/ 109804 h 161"/>
              <a:gd name="T18" fmla="*/ 544286 w 161"/>
              <a:gd name="T19" fmla="*/ 116666 h 161"/>
              <a:gd name="T20" fmla="*/ 547688 w 161"/>
              <a:gd name="T21" fmla="*/ 123529 h 161"/>
              <a:gd name="T22" fmla="*/ 547688 w 161"/>
              <a:gd name="T23" fmla="*/ 123529 h 161"/>
              <a:gd name="T24" fmla="*/ 547688 w 161"/>
              <a:gd name="T25" fmla="*/ 126961 h 161"/>
              <a:gd name="T26" fmla="*/ 544286 w 161"/>
              <a:gd name="T27" fmla="*/ 130392 h 161"/>
              <a:gd name="T28" fmla="*/ 544286 w 161"/>
              <a:gd name="T29" fmla="*/ 133823 h 161"/>
              <a:gd name="T30" fmla="*/ 523875 w 161"/>
              <a:gd name="T31" fmla="*/ 480391 h 161"/>
              <a:gd name="T32" fmla="*/ 452438 w 161"/>
              <a:gd name="T33" fmla="*/ 552450 h 161"/>
              <a:gd name="T34" fmla="*/ 445634 w 161"/>
              <a:gd name="T35" fmla="*/ 552450 h 161"/>
              <a:gd name="T36" fmla="*/ 81643 w 161"/>
              <a:gd name="T37" fmla="*/ 322548 h 161"/>
              <a:gd name="T38" fmla="*/ 3402 w 161"/>
              <a:gd name="T39" fmla="*/ 102941 h 161"/>
              <a:gd name="T40" fmla="*/ 74839 w 161"/>
              <a:gd name="T41" fmla="*/ 27451 h 161"/>
              <a:gd name="T42" fmla="*/ 214313 w 161"/>
              <a:gd name="T43" fmla="*/ 89216 h 161"/>
              <a:gd name="T44" fmla="*/ 231322 w 161"/>
              <a:gd name="T45" fmla="*/ 150980 h 161"/>
              <a:gd name="T46" fmla="*/ 214313 w 161"/>
              <a:gd name="T47" fmla="*/ 226470 h 161"/>
              <a:gd name="T48" fmla="*/ 309563 w 161"/>
              <a:gd name="T49" fmla="*/ 356862 h 161"/>
              <a:gd name="T50" fmla="*/ 326572 w 161"/>
              <a:gd name="T51" fmla="*/ 339705 h 161"/>
              <a:gd name="T52" fmla="*/ 462643 w 161"/>
              <a:gd name="T53" fmla="*/ 339705 h 161"/>
              <a:gd name="T54" fmla="*/ 523875 w 161"/>
              <a:gd name="T55" fmla="*/ 408333 h 161"/>
              <a:gd name="T56" fmla="*/ 455840 w 161"/>
              <a:gd name="T57" fmla="*/ 380882 h 161"/>
              <a:gd name="T58" fmla="*/ 357188 w 161"/>
              <a:gd name="T59" fmla="*/ 370588 h 161"/>
              <a:gd name="T60" fmla="*/ 299357 w 161"/>
              <a:gd name="T61" fmla="*/ 404901 h 161"/>
              <a:gd name="T62" fmla="*/ 153080 w 161"/>
              <a:gd name="T63" fmla="*/ 226470 h 161"/>
              <a:gd name="T64" fmla="*/ 190500 w 161"/>
              <a:gd name="T65" fmla="*/ 168137 h 161"/>
              <a:gd name="T66" fmla="*/ 146277 w 161"/>
              <a:gd name="T67" fmla="*/ 72059 h 161"/>
              <a:gd name="T68" fmla="*/ 74839 w 161"/>
              <a:gd name="T69" fmla="*/ 72059 h 161"/>
              <a:gd name="T70" fmla="*/ 47625 w 161"/>
              <a:gd name="T71" fmla="*/ 99510 h 161"/>
              <a:gd name="T72" fmla="*/ 119063 w 161"/>
              <a:gd name="T73" fmla="*/ 298529 h 161"/>
              <a:gd name="T74" fmla="*/ 255134 w 161"/>
              <a:gd name="T75" fmla="*/ 435784 h 161"/>
              <a:gd name="T76" fmla="*/ 452438 w 161"/>
              <a:gd name="T77" fmla="*/ 507842 h 161"/>
              <a:gd name="T78" fmla="*/ 479652 w 161"/>
              <a:gd name="T79" fmla="*/ 408333 h 161"/>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161" h="161">
                <a:moveTo>
                  <a:pt x="160" y="39"/>
                </a:moveTo>
                <a:cubicBezTo>
                  <a:pt x="159" y="39"/>
                  <a:pt x="159" y="40"/>
                  <a:pt x="159" y="40"/>
                </a:cubicBezTo>
                <a:cubicBezTo>
                  <a:pt x="159" y="40"/>
                  <a:pt x="159" y="40"/>
                  <a:pt x="159" y="40"/>
                </a:cubicBezTo>
                <a:cubicBezTo>
                  <a:pt x="131" y="68"/>
                  <a:pt x="131" y="68"/>
                  <a:pt x="131" y="68"/>
                </a:cubicBezTo>
                <a:cubicBezTo>
                  <a:pt x="129" y="70"/>
                  <a:pt x="128" y="70"/>
                  <a:pt x="126" y="70"/>
                </a:cubicBezTo>
                <a:cubicBezTo>
                  <a:pt x="124" y="70"/>
                  <a:pt x="123" y="70"/>
                  <a:pt x="122" y="68"/>
                </a:cubicBezTo>
                <a:cubicBezTo>
                  <a:pt x="119" y="66"/>
                  <a:pt x="119" y="62"/>
                  <a:pt x="122" y="59"/>
                </a:cubicBezTo>
                <a:cubicBezTo>
                  <a:pt x="139" y="42"/>
                  <a:pt x="139" y="42"/>
                  <a:pt x="139" y="42"/>
                </a:cubicBezTo>
                <a:cubicBezTo>
                  <a:pt x="98" y="42"/>
                  <a:pt x="98" y="42"/>
                  <a:pt x="98" y="42"/>
                </a:cubicBezTo>
                <a:cubicBezTo>
                  <a:pt x="94" y="42"/>
                  <a:pt x="92" y="39"/>
                  <a:pt x="92" y="36"/>
                </a:cubicBezTo>
                <a:cubicBezTo>
                  <a:pt x="92" y="32"/>
                  <a:pt x="94" y="29"/>
                  <a:pt x="98" y="29"/>
                </a:cubicBezTo>
                <a:cubicBezTo>
                  <a:pt x="139" y="29"/>
                  <a:pt x="139" y="29"/>
                  <a:pt x="139" y="29"/>
                </a:cubicBezTo>
                <a:cubicBezTo>
                  <a:pt x="122" y="12"/>
                  <a:pt x="122" y="12"/>
                  <a:pt x="122" y="12"/>
                </a:cubicBezTo>
                <a:cubicBezTo>
                  <a:pt x="119" y="10"/>
                  <a:pt x="119" y="5"/>
                  <a:pt x="122" y="3"/>
                </a:cubicBezTo>
                <a:cubicBezTo>
                  <a:pt x="124" y="0"/>
                  <a:pt x="128" y="0"/>
                  <a:pt x="131" y="3"/>
                </a:cubicBezTo>
                <a:cubicBezTo>
                  <a:pt x="159" y="31"/>
                  <a:pt x="159" y="31"/>
                  <a:pt x="159" y="31"/>
                </a:cubicBezTo>
                <a:cubicBezTo>
                  <a:pt x="159" y="31"/>
                  <a:pt x="159" y="32"/>
                  <a:pt x="160" y="32"/>
                </a:cubicBezTo>
                <a:cubicBezTo>
                  <a:pt x="160" y="32"/>
                  <a:pt x="160" y="32"/>
                  <a:pt x="160" y="32"/>
                </a:cubicBezTo>
                <a:cubicBezTo>
                  <a:pt x="160" y="33"/>
                  <a:pt x="160" y="33"/>
                  <a:pt x="160" y="33"/>
                </a:cubicBezTo>
                <a:cubicBezTo>
                  <a:pt x="160" y="33"/>
                  <a:pt x="160" y="33"/>
                  <a:pt x="160" y="34"/>
                </a:cubicBezTo>
                <a:cubicBezTo>
                  <a:pt x="160" y="34"/>
                  <a:pt x="161" y="34"/>
                  <a:pt x="161" y="34"/>
                </a:cubicBezTo>
                <a:cubicBezTo>
                  <a:pt x="161" y="35"/>
                  <a:pt x="161" y="35"/>
                  <a:pt x="161" y="36"/>
                </a:cubicBezTo>
                <a:cubicBezTo>
                  <a:pt x="161" y="36"/>
                  <a:pt x="161" y="36"/>
                  <a:pt x="161" y="36"/>
                </a:cubicBezTo>
                <a:cubicBezTo>
                  <a:pt x="161" y="36"/>
                  <a:pt x="161" y="36"/>
                  <a:pt x="161" y="36"/>
                </a:cubicBezTo>
                <a:cubicBezTo>
                  <a:pt x="161" y="36"/>
                  <a:pt x="161" y="36"/>
                  <a:pt x="161" y="36"/>
                </a:cubicBezTo>
                <a:cubicBezTo>
                  <a:pt x="161" y="36"/>
                  <a:pt x="161" y="36"/>
                  <a:pt x="161" y="37"/>
                </a:cubicBezTo>
                <a:cubicBezTo>
                  <a:pt x="161" y="37"/>
                  <a:pt x="160" y="37"/>
                  <a:pt x="160" y="38"/>
                </a:cubicBezTo>
                <a:cubicBezTo>
                  <a:pt x="160" y="38"/>
                  <a:pt x="160" y="38"/>
                  <a:pt x="160" y="38"/>
                </a:cubicBezTo>
                <a:cubicBezTo>
                  <a:pt x="160" y="38"/>
                  <a:pt x="160" y="39"/>
                  <a:pt x="160" y="39"/>
                </a:cubicBezTo>
                <a:cubicBezTo>
                  <a:pt x="160" y="39"/>
                  <a:pt x="160" y="39"/>
                  <a:pt x="160" y="39"/>
                </a:cubicBezTo>
                <a:close/>
                <a:moveTo>
                  <a:pt x="154" y="119"/>
                </a:moveTo>
                <a:cubicBezTo>
                  <a:pt x="154" y="140"/>
                  <a:pt x="154" y="140"/>
                  <a:pt x="154" y="140"/>
                </a:cubicBezTo>
                <a:cubicBezTo>
                  <a:pt x="154" y="152"/>
                  <a:pt x="145" y="161"/>
                  <a:pt x="133" y="161"/>
                </a:cubicBezTo>
                <a:cubicBezTo>
                  <a:pt x="133" y="161"/>
                  <a:pt x="133" y="161"/>
                  <a:pt x="133" y="161"/>
                </a:cubicBezTo>
                <a:cubicBezTo>
                  <a:pt x="133" y="161"/>
                  <a:pt x="132" y="161"/>
                  <a:pt x="131" y="161"/>
                </a:cubicBezTo>
                <a:cubicBezTo>
                  <a:pt x="131" y="161"/>
                  <a:pt x="131" y="161"/>
                  <a:pt x="131" y="161"/>
                </a:cubicBezTo>
                <a:cubicBezTo>
                  <a:pt x="109" y="158"/>
                  <a:pt x="87" y="151"/>
                  <a:pt x="68" y="138"/>
                </a:cubicBezTo>
                <a:cubicBezTo>
                  <a:pt x="50" y="127"/>
                  <a:pt x="35" y="112"/>
                  <a:pt x="24" y="94"/>
                </a:cubicBezTo>
                <a:cubicBezTo>
                  <a:pt x="11" y="75"/>
                  <a:pt x="3" y="53"/>
                  <a:pt x="1" y="30"/>
                </a:cubicBezTo>
                <a:cubicBezTo>
                  <a:pt x="1" y="30"/>
                  <a:pt x="1" y="30"/>
                  <a:pt x="1" y="30"/>
                </a:cubicBezTo>
                <a:cubicBezTo>
                  <a:pt x="0" y="19"/>
                  <a:pt x="8" y="9"/>
                  <a:pt x="20" y="8"/>
                </a:cubicBezTo>
                <a:cubicBezTo>
                  <a:pt x="20" y="8"/>
                  <a:pt x="21" y="8"/>
                  <a:pt x="22" y="8"/>
                </a:cubicBezTo>
                <a:cubicBezTo>
                  <a:pt x="43" y="8"/>
                  <a:pt x="43" y="8"/>
                  <a:pt x="43" y="8"/>
                </a:cubicBezTo>
                <a:cubicBezTo>
                  <a:pt x="53" y="8"/>
                  <a:pt x="62" y="16"/>
                  <a:pt x="63" y="26"/>
                </a:cubicBezTo>
                <a:cubicBezTo>
                  <a:pt x="63" y="26"/>
                  <a:pt x="63" y="26"/>
                  <a:pt x="63" y="26"/>
                </a:cubicBezTo>
                <a:cubicBezTo>
                  <a:pt x="64" y="32"/>
                  <a:pt x="65" y="38"/>
                  <a:pt x="68" y="44"/>
                </a:cubicBezTo>
                <a:cubicBezTo>
                  <a:pt x="70" y="52"/>
                  <a:pt x="69" y="60"/>
                  <a:pt x="63" y="66"/>
                </a:cubicBezTo>
                <a:cubicBezTo>
                  <a:pt x="63" y="66"/>
                  <a:pt x="63" y="66"/>
                  <a:pt x="63" y="66"/>
                </a:cubicBezTo>
                <a:cubicBezTo>
                  <a:pt x="58" y="71"/>
                  <a:pt x="58" y="71"/>
                  <a:pt x="58" y="71"/>
                </a:cubicBezTo>
                <a:cubicBezTo>
                  <a:pt x="66" y="84"/>
                  <a:pt x="77" y="96"/>
                  <a:pt x="91" y="104"/>
                </a:cubicBezTo>
                <a:cubicBezTo>
                  <a:pt x="96" y="99"/>
                  <a:pt x="96" y="99"/>
                  <a:pt x="96" y="99"/>
                </a:cubicBezTo>
                <a:cubicBezTo>
                  <a:pt x="96" y="99"/>
                  <a:pt x="96" y="99"/>
                  <a:pt x="96" y="99"/>
                </a:cubicBezTo>
                <a:cubicBezTo>
                  <a:pt x="102" y="93"/>
                  <a:pt x="110" y="91"/>
                  <a:pt x="118" y="94"/>
                </a:cubicBezTo>
                <a:cubicBezTo>
                  <a:pt x="124" y="96"/>
                  <a:pt x="130" y="98"/>
                  <a:pt x="136" y="99"/>
                </a:cubicBezTo>
                <a:cubicBezTo>
                  <a:pt x="136" y="99"/>
                  <a:pt x="136" y="99"/>
                  <a:pt x="136" y="99"/>
                </a:cubicBezTo>
                <a:cubicBezTo>
                  <a:pt x="146" y="100"/>
                  <a:pt x="154" y="109"/>
                  <a:pt x="154" y="119"/>
                </a:cubicBezTo>
                <a:close/>
                <a:moveTo>
                  <a:pt x="141" y="119"/>
                </a:moveTo>
                <a:cubicBezTo>
                  <a:pt x="141" y="115"/>
                  <a:pt x="138" y="112"/>
                  <a:pt x="134" y="111"/>
                </a:cubicBezTo>
                <a:cubicBezTo>
                  <a:pt x="127" y="111"/>
                  <a:pt x="120" y="109"/>
                  <a:pt x="113" y="106"/>
                </a:cubicBezTo>
                <a:cubicBezTo>
                  <a:pt x="110" y="105"/>
                  <a:pt x="107" y="106"/>
                  <a:pt x="105" y="108"/>
                </a:cubicBezTo>
                <a:cubicBezTo>
                  <a:pt x="96" y="117"/>
                  <a:pt x="96" y="117"/>
                  <a:pt x="96" y="117"/>
                </a:cubicBezTo>
                <a:cubicBezTo>
                  <a:pt x="94" y="119"/>
                  <a:pt x="91" y="119"/>
                  <a:pt x="88" y="118"/>
                </a:cubicBezTo>
                <a:cubicBezTo>
                  <a:pt x="70" y="107"/>
                  <a:pt x="54" y="92"/>
                  <a:pt x="44" y="73"/>
                </a:cubicBezTo>
                <a:cubicBezTo>
                  <a:pt x="42" y="71"/>
                  <a:pt x="43" y="68"/>
                  <a:pt x="45" y="66"/>
                </a:cubicBezTo>
                <a:cubicBezTo>
                  <a:pt x="54" y="57"/>
                  <a:pt x="54" y="57"/>
                  <a:pt x="54" y="57"/>
                </a:cubicBezTo>
                <a:cubicBezTo>
                  <a:pt x="56" y="54"/>
                  <a:pt x="57" y="51"/>
                  <a:pt x="56" y="49"/>
                </a:cubicBezTo>
                <a:cubicBezTo>
                  <a:pt x="53" y="42"/>
                  <a:pt x="51" y="35"/>
                  <a:pt x="50" y="27"/>
                </a:cubicBezTo>
                <a:cubicBezTo>
                  <a:pt x="50" y="24"/>
                  <a:pt x="46" y="21"/>
                  <a:pt x="43" y="21"/>
                </a:cubicBezTo>
                <a:cubicBezTo>
                  <a:pt x="43" y="21"/>
                  <a:pt x="43" y="21"/>
                  <a:pt x="43" y="21"/>
                </a:cubicBezTo>
                <a:cubicBezTo>
                  <a:pt x="22" y="21"/>
                  <a:pt x="22" y="21"/>
                  <a:pt x="22" y="21"/>
                </a:cubicBezTo>
                <a:cubicBezTo>
                  <a:pt x="21" y="21"/>
                  <a:pt x="21" y="21"/>
                  <a:pt x="21" y="21"/>
                </a:cubicBezTo>
                <a:cubicBezTo>
                  <a:pt x="17" y="21"/>
                  <a:pt x="14" y="25"/>
                  <a:pt x="14" y="29"/>
                </a:cubicBezTo>
                <a:cubicBezTo>
                  <a:pt x="16" y="50"/>
                  <a:pt x="23" y="70"/>
                  <a:pt x="35" y="87"/>
                </a:cubicBezTo>
                <a:cubicBezTo>
                  <a:pt x="35" y="87"/>
                  <a:pt x="35" y="87"/>
                  <a:pt x="35" y="87"/>
                </a:cubicBezTo>
                <a:cubicBezTo>
                  <a:pt x="45" y="103"/>
                  <a:pt x="59" y="117"/>
                  <a:pt x="75" y="127"/>
                </a:cubicBezTo>
                <a:cubicBezTo>
                  <a:pt x="75" y="127"/>
                  <a:pt x="75" y="127"/>
                  <a:pt x="75" y="127"/>
                </a:cubicBezTo>
                <a:cubicBezTo>
                  <a:pt x="92" y="139"/>
                  <a:pt x="112" y="146"/>
                  <a:pt x="133" y="148"/>
                </a:cubicBezTo>
                <a:cubicBezTo>
                  <a:pt x="133" y="148"/>
                  <a:pt x="133" y="148"/>
                  <a:pt x="133" y="148"/>
                </a:cubicBezTo>
                <a:cubicBezTo>
                  <a:pt x="137" y="148"/>
                  <a:pt x="141" y="145"/>
                  <a:pt x="141" y="140"/>
                </a:cubicBezTo>
                <a:cubicBezTo>
                  <a:pt x="141" y="119"/>
                  <a:pt x="141" y="119"/>
                  <a:pt x="141" y="119"/>
                </a:cubicBezTo>
                <a:cubicBezTo>
                  <a:pt x="141" y="119"/>
                  <a:pt x="141" y="119"/>
                  <a:pt x="141" y="119"/>
                </a:cubicBezTo>
                <a:close/>
              </a:path>
            </a:pathLst>
          </a:custGeom>
          <a:solidFill>
            <a:srgbClr val="FFFFFF"/>
          </a:solidFill>
          <a:ln>
            <a:noFill/>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Open Sans"/>
              <a:ea typeface="+mn-ea"/>
              <a:cs typeface="+mn-cs"/>
            </a:endParaRPr>
          </a:p>
        </p:txBody>
      </p:sp>
      <p:sp>
        <p:nvSpPr>
          <p:cNvPr id="11" name="Freeform 101">
            <a:extLst>
              <a:ext uri="{FF2B5EF4-FFF2-40B4-BE49-F238E27FC236}">
                <a16:creationId xmlns:a16="http://schemas.microsoft.com/office/drawing/2014/main" id="{DB839207-9707-421D-A9CD-5336677D7909}"/>
              </a:ext>
            </a:extLst>
          </p:cNvPr>
          <p:cNvSpPr>
            <a:spLocks noEditPoints="1"/>
          </p:cNvSpPr>
          <p:nvPr/>
        </p:nvSpPr>
        <p:spPr bwMode="auto">
          <a:xfrm>
            <a:off x="6999527" y="4977120"/>
            <a:ext cx="352185" cy="352185"/>
          </a:xfrm>
          <a:custGeom>
            <a:avLst/>
            <a:gdLst>
              <a:gd name="T0" fmla="*/ 498100 w 161"/>
              <a:gd name="T1" fmla="*/ 51495 h 160"/>
              <a:gd name="T2" fmla="*/ 375281 w 161"/>
              <a:gd name="T3" fmla="*/ 0 h 160"/>
              <a:gd name="T4" fmla="*/ 255873 w 161"/>
              <a:gd name="T5" fmla="*/ 51495 h 160"/>
              <a:gd name="T6" fmla="*/ 85291 w 161"/>
              <a:gd name="T7" fmla="*/ 219710 h 160"/>
              <a:gd name="T8" fmla="*/ 78468 w 161"/>
              <a:gd name="T9" fmla="*/ 236875 h 160"/>
              <a:gd name="T10" fmla="*/ 78468 w 161"/>
              <a:gd name="T11" fmla="*/ 442853 h 160"/>
              <a:gd name="T12" fmla="*/ 10235 w 161"/>
              <a:gd name="T13" fmla="*/ 511512 h 160"/>
              <a:gd name="T14" fmla="*/ 10235 w 161"/>
              <a:gd name="T15" fmla="*/ 542409 h 160"/>
              <a:gd name="T16" fmla="*/ 23882 w 161"/>
              <a:gd name="T17" fmla="*/ 549275 h 160"/>
              <a:gd name="T18" fmla="*/ 40940 w 161"/>
              <a:gd name="T19" fmla="*/ 542409 h 160"/>
              <a:gd name="T20" fmla="*/ 109173 w 161"/>
              <a:gd name="T21" fmla="*/ 473750 h 160"/>
              <a:gd name="T22" fmla="*/ 313871 w 161"/>
              <a:gd name="T23" fmla="*/ 473750 h 160"/>
              <a:gd name="T24" fmla="*/ 330930 w 161"/>
              <a:gd name="T25" fmla="*/ 466884 h 160"/>
              <a:gd name="T26" fmla="*/ 498100 w 161"/>
              <a:gd name="T27" fmla="*/ 295235 h 160"/>
              <a:gd name="T28" fmla="*/ 549275 w 161"/>
              <a:gd name="T29" fmla="*/ 175081 h 160"/>
              <a:gd name="T30" fmla="*/ 498100 w 161"/>
              <a:gd name="T31" fmla="*/ 51495 h 160"/>
              <a:gd name="T32" fmla="*/ 303636 w 161"/>
              <a:gd name="T33" fmla="*/ 429121 h 160"/>
              <a:gd name="T34" fmla="*/ 153524 w 161"/>
              <a:gd name="T35" fmla="*/ 429121 h 160"/>
              <a:gd name="T36" fmla="*/ 211522 w 161"/>
              <a:gd name="T37" fmla="*/ 374194 h 160"/>
              <a:gd name="T38" fmla="*/ 361634 w 161"/>
              <a:gd name="T39" fmla="*/ 374194 h 160"/>
              <a:gd name="T40" fmla="*/ 303636 w 161"/>
              <a:gd name="T41" fmla="*/ 429121 h 160"/>
              <a:gd name="T42" fmla="*/ 467395 w 161"/>
              <a:gd name="T43" fmla="*/ 264339 h 160"/>
              <a:gd name="T44" fmla="*/ 467395 w 161"/>
              <a:gd name="T45" fmla="*/ 264339 h 160"/>
              <a:gd name="T46" fmla="*/ 405986 w 161"/>
              <a:gd name="T47" fmla="*/ 329565 h 160"/>
              <a:gd name="T48" fmla="*/ 402574 w 161"/>
              <a:gd name="T49" fmla="*/ 329565 h 160"/>
              <a:gd name="T50" fmla="*/ 255873 w 161"/>
              <a:gd name="T51" fmla="*/ 329565 h 160"/>
              <a:gd name="T52" fmla="*/ 392339 w 161"/>
              <a:gd name="T53" fmla="*/ 188813 h 160"/>
              <a:gd name="T54" fmla="*/ 392339 w 161"/>
              <a:gd name="T55" fmla="*/ 157917 h 160"/>
              <a:gd name="T56" fmla="*/ 361634 w 161"/>
              <a:gd name="T57" fmla="*/ 157917 h 160"/>
              <a:gd name="T58" fmla="*/ 184229 w 161"/>
              <a:gd name="T59" fmla="*/ 332998 h 160"/>
              <a:gd name="T60" fmla="*/ 184229 w 161"/>
              <a:gd name="T61" fmla="*/ 336431 h 160"/>
              <a:gd name="T62" fmla="*/ 122819 w 161"/>
              <a:gd name="T63" fmla="*/ 398224 h 160"/>
              <a:gd name="T64" fmla="*/ 122819 w 161"/>
              <a:gd name="T65" fmla="*/ 247174 h 160"/>
              <a:gd name="T66" fmla="*/ 286578 w 161"/>
              <a:gd name="T67" fmla="*/ 82391 h 160"/>
              <a:gd name="T68" fmla="*/ 375281 w 161"/>
              <a:gd name="T69" fmla="*/ 44629 h 160"/>
              <a:gd name="T70" fmla="*/ 467395 w 161"/>
              <a:gd name="T71" fmla="*/ 82391 h 160"/>
              <a:gd name="T72" fmla="*/ 504924 w 161"/>
              <a:gd name="T73" fmla="*/ 175081 h 160"/>
              <a:gd name="T74" fmla="*/ 467395 w 161"/>
              <a:gd name="T75" fmla="*/ 264339 h 160"/>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161" h="160">
                <a:moveTo>
                  <a:pt x="146" y="15"/>
                </a:moveTo>
                <a:cubicBezTo>
                  <a:pt x="137" y="5"/>
                  <a:pt x="124" y="0"/>
                  <a:pt x="110" y="0"/>
                </a:cubicBezTo>
                <a:cubicBezTo>
                  <a:pt x="97" y="0"/>
                  <a:pt x="84" y="5"/>
                  <a:pt x="75" y="15"/>
                </a:cubicBezTo>
                <a:cubicBezTo>
                  <a:pt x="25" y="64"/>
                  <a:pt x="25" y="64"/>
                  <a:pt x="25" y="64"/>
                </a:cubicBezTo>
                <a:cubicBezTo>
                  <a:pt x="24" y="66"/>
                  <a:pt x="23" y="67"/>
                  <a:pt x="23" y="69"/>
                </a:cubicBezTo>
                <a:cubicBezTo>
                  <a:pt x="23" y="129"/>
                  <a:pt x="23" y="129"/>
                  <a:pt x="23" y="129"/>
                </a:cubicBezTo>
                <a:cubicBezTo>
                  <a:pt x="3" y="149"/>
                  <a:pt x="3" y="149"/>
                  <a:pt x="3" y="149"/>
                </a:cubicBezTo>
                <a:cubicBezTo>
                  <a:pt x="0" y="151"/>
                  <a:pt x="0" y="156"/>
                  <a:pt x="3" y="158"/>
                </a:cubicBezTo>
                <a:cubicBezTo>
                  <a:pt x="4" y="159"/>
                  <a:pt x="6" y="160"/>
                  <a:pt x="7" y="160"/>
                </a:cubicBezTo>
                <a:cubicBezTo>
                  <a:pt x="9" y="160"/>
                  <a:pt x="11" y="159"/>
                  <a:pt x="12" y="158"/>
                </a:cubicBezTo>
                <a:cubicBezTo>
                  <a:pt x="32" y="138"/>
                  <a:pt x="32" y="138"/>
                  <a:pt x="32" y="138"/>
                </a:cubicBezTo>
                <a:cubicBezTo>
                  <a:pt x="92" y="138"/>
                  <a:pt x="92" y="138"/>
                  <a:pt x="92" y="138"/>
                </a:cubicBezTo>
                <a:cubicBezTo>
                  <a:pt x="94" y="138"/>
                  <a:pt x="95" y="137"/>
                  <a:pt x="97" y="136"/>
                </a:cubicBezTo>
                <a:cubicBezTo>
                  <a:pt x="146" y="86"/>
                  <a:pt x="146" y="86"/>
                  <a:pt x="146" y="86"/>
                </a:cubicBezTo>
                <a:cubicBezTo>
                  <a:pt x="156" y="77"/>
                  <a:pt x="161" y="64"/>
                  <a:pt x="161" y="51"/>
                </a:cubicBezTo>
                <a:cubicBezTo>
                  <a:pt x="161" y="37"/>
                  <a:pt x="156" y="24"/>
                  <a:pt x="146" y="15"/>
                </a:cubicBezTo>
                <a:close/>
                <a:moveTo>
                  <a:pt x="89" y="125"/>
                </a:moveTo>
                <a:cubicBezTo>
                  <a:pt x="45" y="125"/>
                  <a:pt x="45" y="125"/>
                  <a:pt x="45" y="125"/>
                </a:cubicBezTo>
                <a:cubicBezTo>
                  <a:pt x="62" y="109"/>
                  <a:pt x="62" y="109"/>
                  <a:pt x="62" y="109"/>
                </a:cubicBezTo>
                <a:cubicBezTo>
                  <a:pt x="106" y="109"/>
                  <a:pt x="106" y="109"/>
                  <a:pt x="106" y="109"/>
                </a:cubicBezTo>
                <a:lnTo>
                  <a:pt x="89" y="125"/>
                </a:lnTo>
                <a:close/>
                <a:moveTo>
                  <a:pt x="137" y="77"/>
                </a:moveTo>
                <a:cubicBezTo>
                  <a:pt x="137" y="77"/>
                  <a:pt x="137" y="77"/>
                  <a:pt x="137" y="77"/>
                </a:cubicBezTo>
                <a:cubicBezTo>
                  <a:pt x="119" y="96"/>
                  <a:pt x="119" y="96"/>
                  <a:pt x="119" y="96"/>
                </a:cubicBezTo>
                <a:cubicBezTo>
                  <a:pt x="118" y="96"/>
                  <a:pt x="118" y="96"/>
                  <a:pt x="118" y="96"/>
                </a:cubicBezTo>
                <a:cubicBezTo>
                  <a:pt x="75" y="96"/>
                  <a:pt x="75" y="96"/>
                  <a:pt x="75" y="96"/>
                </a:cubicBezTo>
                <a:cubicBezTo>
                  <a:pt x="115" y="55"/>
                  <a:pt x="115" y="55"/>
                  <a:pt x="115" y="55"/>
                </a:cubicBezTo>
                <a:cubicBezTo>
                  <a:pt x="117" y="53"/>
                  <a:pt x="117" y="49"/>
                  <a:pt x="115" y="46"/>
                </a:cubicBezTo>
                <a:cubicBezTo>
                  <a:pt x="112" y="44"/>
                  <a:pt x="108" y="44"/>
                  <a:pt x="106" y="46"/>
                </a:cubicBezTo>
                <a:cubicBezTo>
                  <a:pt x="54" y="97"/>
                  <a:pt x="54" y="97"/>
                  <a:pt x="54" y="97"/>
                </a:cubicBezTo>
                <a:cubicBezTo>
                  <a:pt x="54" y="98"/>
                  <a:pt x="54" y="98"/>
                  <a:pt x="54" y="98"/>
                </a:cubicBezTo>
                <a:cubicBezTo>
                  <a:pt x="36" y="116"/>
                  <a:pt x="36" y="116"/>
                  <a:pt x="36" y="116"/>
                </a:cubicBezTo>
                <a:cubicBezTo>
                  <a:pt x="36" y="72"/>
                  <a:pt x="36" y="72"/>
                  <a:pt x="36" y="72"/>
                </a:cubicBezTo>
                <a:cubicBezTo>
                  <a:pt x="84" y="24"/>
                  <a:pt x="84" y="24"/>
                  <a:pt x="84" y="24"/>
                </a:cubicBezTo>
                <a:cubicBezTo>
                  <a:pt x="91" y="17"/>
                  <a:pt x="100" y="13"/>
                  <a:pt x="110" y="13"/>
                </a:cubicBezTo>
                <a:cubicBezTo>
                  <a:pt x="120" y="13"/>
                  <a:pt x="130" y="17"/>
                  <a:pt x="137" y="24"/>
                </a:cubicBezTo>
                <a:cubicBezTo>
                  <a:pt x="144" y="31"/>
                  <a:pt x="148" y="41"/>
                  <a:pt x="148" y="51"/>
                </a:cubicBezTo>
                <a:cubicBezTo>
                  <a:pt x="148" y="61"/>
                  <a:pt x="144" y="70"/>
                  <a:pt x="137" y="77"/>
                </a:cubicBezTo>
                <a:close/>
              </a:path>
            </a:pathLst>
          </a:custGeom>
          <a:solidFill>
            <a:srgbClr val="FFFFFF"/>
          </a:solidFill>
          <a:ln>
            <a:noFill/>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sp>
        <p:nvSpPr>
          <p:cNvPr id="12" name="Freeform 74">
            <a:extLst>
              <a:ext uri="{FF2B5EF4-FFF2-40B4-BE49-F238E27FC236}">
                <a16:creationId xmlns:a16="http://schemas.microsoft.com/office/drawing/2014/main" id="{B403FB31-C4D0-4F9A-906A-65E08202A14D}"/>
              </a:ext>
            </a:extLst>
          </p:cNvPr>
          <p:cNvSpPr>
            <a:spLocks noEditPoints="1"/>
          </p:cNvSpPr>
          <p:nvPr/>
        </p:nvSpPr>
        <p:spPr bwMode="auto">
          <a:xfrm>
            <a:off x="5651197" y="2999659"/>
            <a:ext cx="248577" cy="373944"/>
          </a:xfrm>
          <a:custGeom>
            <a:avLst/>
            <a:gdLst>
              <a:gd name="T0" fmla="*/ 180856 w 107"/>
              <a:gd name="T1" fmla="*/ 367328 h 160"/>
              <a:gd name="T2" fmla="*/ 272991 w 107"/>
              <a:gd name="T3" fmla="*/ 274638 h 160"/>
              <a:gd name="T4" fmla="*/ 272991 w 107"/>
              <a:gd name="T5" fmla="*/ 92690 h 160"/>
              <a:gd name="T6" fmla="*/ 180856 w 107"/>
              <a:gd name="T7" fmla="*/ 0 h 160"/>
              <a:gd name="T8" fmla="*/ 92134 w 107"/>
              <a:gd name="T9" fmla="*/ 92690 h 160"/>
              <a:gd name="T10" fmla="*/ 92134 w 107"/>
              <a:gd name="T11" fmla="*/ 274638 h 160"/>
              <a:gd name="T12" fmla="*/ 180856 w 107"/>
              <a:gd name="T13" fmla="*/ 367328 h 160"/>
              <a:gd name="T14" fmla="*/ 136495 w 107"/>
              <a:gd name="T15" fmla="*/ 92690 h 160"/>
              <a:gd name="T16" fmla="*/ 180856 w 107"/>
              <a:gd name="T17" fmla="*/ 44629 h 160"/>
              <a:gd name="T18" fmla="*/ 228630 w 107"/>
              <a:gd name="T19" fmla="*/ 92690 h 160"/>
              <a:gd name="T20" fmla="*/ 228630 w 107"/>
              <a:gd name="T21" fmla="*/ 274638 h 160"/>
              <a:gd name="T22" fmla="*/ 180856 w 107"/>
              <a:gd name="T23" fmla="*/ 322699 h 160"/>
              <a:gd name="T24" fmla="*/ 136495 w 107"/>
              <a:gd name="T25" fmla="*/ 274638 h 160"/>
              <a:gd name="T26" fmla="*/ 136495 w 107"/>
              <a:gd name="T27" fmla="*/ 92690 h 160"/>
              <a:gd name="T28" fmla="*/ 365125 w 107"/>
              <a:gd name="T29" fmla="*/ 230009 h 160"/>
              <a:gd name="T30" fmla="*/ 365125 w 107"/>
              <a:gd name="T31" fmla="*/ 274638 h 160"/>
              <a:gd name="T32" fmla="*/ 204743 w 107"/>
              <a:gd name="T33" fmla="*/ 456585 h 160"/>
              <a:gd name="T34" fmla="*/ 204743 w 107"/>
              <a:gd name="T35" fmla="*/ 504646 h 160"/>
              <a:gd name="T36" fmla="*/ 272991 w 107"/>
              <a:gd name="T37" fmla="*/ 504646 h 160"/>
              <a:gd name="T38" fmla="*/ 293465 w 107"/>
              <a:gd name="T39" fmla="*/ 528677 h 160"/>
              <a:gd name="T40" fmla="*/ 272991 w 107"/>
              <a:gd name="T41" fmla="*/ 549275 h 160"/>
              <a:gd name="T42" fmla="*/ 92134 w 107"/>
              <a:gd name="T43" fmla="*/ 549275 h 160"/>
              <a:gd name="T44" fmla="*/ 68248 w 107"/>
              <a:gd name="T45" fmla="*/ 528677 h 160"/>
              <a:gd name="T46" fmla="*/ 92134 w 107"/>
              <a:gd name="T47" fmla="*/ 504646 h 160"/>
              <a:gd name="T48" fmla="*/ 160382 w 107"/>
              <a:gd name="T49" fmla="*/ 504646 h 160"/>
              <a:gd name="T50" fmla="*/ 160382 w 107"/>
              <a:gd name="T51" fmla="*/ 456585 h 160"/>
              <a:gd name="T52" fmla="*/ 0 w 107"/>
              <a:gd name="T53" fmla="*/ 274638 h 160"/>
              <a:gd name="T54" fmla="*/ 0 w 107"/>
              <a:gd name="T55" fmla="*/ 230009 h 160"/>
              <a:gd name="T56" fmla="*/ 20474 w 107"/>
              <a:gd name="T57" fmla="*/ 205978 h 160"/>
              <a:gd name="T58" fmla="*/ 44361 w 107"/>
              <a:gd name="T59" fmla="*/ 230009 h 160"/>
              <a:gd name="T60" fmla="*/ 44361 w 107"/>
              <a:gd name="T61" fmla="*/ 274638 h 160"/>
              <a:gd name="T62" fmla="*/ 180856 w 107"/>
              <a:gd name="T63" fmla="*/ 411956 h 160"/>
              <a:gd name="T64" fmla="*/ 320764 w 107"/>
              <a:gd name="T65" fmla="*/ 274638 h 160"/>
              <a:gd name="T66" fmla="*/ 320764 w 107"/>
              <a:gd name="T67" fmla="*/ 230009 h 160"/>
              <a:gd name="T68" fmla="*/ 341238 w 107"/>
              <a:gd name="T69" fmla="*/ 205978 h 160"/>
              <a:gd name="T70" fmla="*/ 365125 w 107"/>
              <a:gd name="T71" fmla="*/ 230009 h 160"/>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107" h="160">
                <a:moveTo>
                  <a:pt x="53" y="107"/>
                </a:moveTo>
                <a:cubicBezTo>
                  <a:pt x="68" y="107"/>
                  <a:pt x="80" y="95"/>
                  <a:pt x="80" y="80"/>
                </a:cubicBezTo>
                <a:cubicBezTo>
                  <a:pt x="80" y="27"/>
                  <a:pt x="80" y="27"/>
                  <a:pt x="80" y="27"/>
                </a:cubicBezTo>
                <a:cubicBezTo>
                  <a:pt x="80" y="12"/>
                  <a:pt x="68" y="0"/>
                  <a:pt x="53" y="0"/>
                </a:cubicBezTo>
                <a:cubicBezTo>
                  <a:pt x="39" y="0"/>
                  <a:pt x="27" y="12"/>
                  <a:pt x="27" y="27"/>
                </a:cubicBezTo>
                <a:cubicBezTo>
                  <a:pt x="27" y="80"/>
                  <a:pt x="27" y="80"/>
                  <a:pt x="27" y="80"/>
                </a:cubicBezTo>
                <a:cubicBezTo>
                  <a:pt x="27" y="95"/>
                  <a:pt x="39" y="107"/>
                  <a:pt x="53" y="107"/>
                </a:cubicBezTo>
                <a:close/>
                <a:moveTo>
                  <a:pt x="40" y="27"/>
                </a:moveTo>
                <a:cubicBezTo>
                  <a:pt x="40" y="19"/>
                  <a:pt x="46" y="13"/>
                  <a:pt x="53" y="13"/>
                </a:cubicBezTo>
                <a:cubicBezTo>
                  <a:pt x="61" y="13"/>
                  <a:pt x="67" y="19"/>
                  <a:pt x="67" y="27"/>
                </a:cubicBezTo>
                <a:cubicBezTo>
                  <a:pt x="67" y="80"/>
                  <a:pt x="67" y="80"/>
                  <a:pt x="67" y="80"/>
                </a:cubicBezTo>
                <a:cubicBezTo>
                  <a:pt x="67" y="87"/>
                  <a:pt x="61" y="94"/>
                  <a:pt x="53" y="94"/>
                </a:cubicBezTo>
                <a:cubicBezTo>
                  <a:pt x="46" y="94"/>
                  <a:pt x="40" y="87"/>
                  <a:pt x="40" y="80"/>
                </a:cubicBezTo>
                <a:lnTo>
                  <a:pt x="40" y="27"/>
                </a:lnTo>
                <a:close/>
                <a:moveTo>
                  <a:pt x="107" y="67"/>
                </a:moveTo>
                <a:cubicBezTo>
                  <a:pt x="107" y="80"/>
                  <a:pt x="107" y="80"/>
                  <a:pt x="107" y="80"/>
                </a:cubicBezTo>
                <a:cubicBezTo>
                  <a:pt x="107" y="107"/>
                  <a:pt x="86" y="130"/>
                  <a:pt x="60" y="133"/>
                </a:cubicBezTo>
                <a:cubicBezTo>
                  <a:pt x="60" y="147"/>
                  <a:pt x="60" y="147"/>
                  <a:pt x="60" y="147"/>
                </a:cubicBezTo>
                <a:cubicBezTo>
                  <a:pt x="80" y="147"/>
                  <a:pt x="80" y="147"/>
                  <a:pt x="80" y="147"/>
                </a:cubicBezTo>
                <a:cubicBezTo>
                  <a:pt x="84" y="147"/>
                  <a:pt x="86" y="150"/>
                  <a:pt x="86" y="154"/>
                </a:cubicBezTo>
                <a:cubicBezTo>
                  <a:pt x="86" y="157"/>
                  <a:pt x="84" y="160"/>
                  <a:pt x="80" y="160"/>
                </a:cubicBezTo>
                <a:cubicBezTo>
                  <a:pt x="27" y="160"/>
                  <a:pt x="27" y="160"/>
                  <a:pt x="27" y="160"/>
                </a:cubicBezTo>
                <a:cubicBezTo>
                  <a:pt x="23" y="160"/>
                  <a:pt x="20" y="157"/>
                  <a:pt x="20" y="154"/>
                </a:cubicBezTo>
                <a:cubicBezTo>
                  <a:pt x="20" y="150"/>
                  <a:pt x="23" y="147"/>
                  <a:pt x="27" y="147"/>
                </a:cubicBezTo>
                <a:cubicBezTo>
                  <a:pt x="47" y="147"/>
                  <a:pt x="47" y="147"/>
                  <a:pt x="47" y="147"/>
                </a:cubicBezTo>
                <a:cubicBezTo>
                  <a:pt x="47" y="133"/>
                  <a:pt x="47" y="133"/>
                  <a:pt x="47" y="133"/>
                </a:cubicBezTo>
                <a:cubicBezTo>
                  <a:pt x="20" y="130"/>
                  <a:pt x="0" y="107"/>
                  <a:pt x="0" y="80"/>
                </a:cubicBezTo>
                <a:cubicBezTo>
                  <a:pt x="0" y="67"/>
                  <a:pt x="0" y="67"/>
                  <a:pt x="0" y="67"/>
                </a:cubicBezTo>
                <a:cubicBezTo>
                  <a:pt x="0" y="63"/>
                  <a:pt x="3" y="60"/>
                  <a:pt x="6" y="60"/>
                </a:cubicBezTo>
                <a:cubicBezTo>
                  <a:pt x="10" y="60"/>
                  <a:pt x="13" y="63"/>
                  <a:pt x="13" y="67"/>
                </a:cubicBezTo>
                <a:cubicBezTo>
                  <a:pt x="13" y="80"/>
                  <a:pt x="13" y="80"/>
                  <a:pt x="13" y="80"/>
                </a:cubicBezTo>
                <a:cubicBezTo>
                  <a:pt x="13" y="102"/>
                  <a:pt x="31" y="120"/>
                  <a:pt x="53" y="120"/>
                </a:cubicBezTo>
                <a:cubicBezTo>
                  <a:pt x="75" y="120"/>
                  <a:pt x="94" y="102"/>
                  <a:pt x="94" y="80"/>
                </a:cubicBezTo>
                <a:cubicBezTo>
                  <a:pt x="94" y="67"/>
                  <a:pt x="94" y="67"/>
                  <a:pt x="94" y="67"/>
                </a:cubicBezTo>
                <a:cubicBezTo>
                  <a:pt x="94" y="63"/>
                  <a:pt x="96" y="60"/>
                  <a:pt x="100" y="60"/>
                </a:cubicBezTo>
                <a:cubicBezTo>
                  <a:pt x="104" y="60"/>
                  <a:pt x="107" y="63"/>
                  <a:pt x="107" y="67"/>
                </a:cubicBezTo>
                <a:close/>
              </a:path>
            </a:pathLst>
          </a:custGeom>
          <a:solidFill>
            <a:srgbClr val="FFFFFF"/>
          </a:solidFill>
          <a:ln>
            <a:noFill/>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sp>
        <p:nvSpPr>
          <p:cNvPr id="18" name="TextBox 35">
            <a:extLst>
              <a:ext uri="{FF2B5EF4-FFF2-40B4-BE49-F238E27FC236}">
                <a16:creationId xmlns:a16="http://schemas.microsoft.com/office/drawing/2014/main" id="{201BFB7B-9043-45A4-9BF8-37FCC5E484F9}"/>
              </a:ext>
            </a:extLst>
          </p:cNvPr>
          <p:cNvSpPr txBox="1"/>
          <p:nvPr/>
        </p:nvSpPr>
        <p:spPr>
          <a:xfrm>
            <a:off x="5570538" y="4192814"/>
            <a:ext cx="1167638" cy="492443"/>
          </a:xfrm>
          <a:prstGeom prst="rect">
            <a:avLst/>
          </a:prstGeom>
          <a:noFill/>
        </p:spPr>
        <p:txBody>
          <a:bodyPr wrap="square" lIns="0" tIns="0" rIns="0" bIns="0" rtlCol="0">
            <a:spAutoFit/>
          </a:bodyPr>
          <a:lstStyle/>
          <a:p>
            <a:pPr marL="0" marR="0" lvl="0" indent="0" algn="ctr" defTabSz="457200" rtl="0" eaLnBrk="1" fontAlgn="base" latinLnBrk="0" hangingPunct="1">
              <a:lnSpc>
                <a:spcPct val="100000"/>
              </a:lnSpc>
              <a:spcBef>
                <a:spcPts val="100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Open Sans"/>
                <a:ea typeface="+mn-ea"/>
                <a:cs typeface="+mn-cs"/>
              </a:rPr>
              <a:t>Your title</a:t>
            </a:r>
            <a:br>
              <a:rPr kumimoji="0" lang="en-US" sz="1600" b="1" i="0" u="none" strike="noStrike" kern="1200" cap="none" spc="0" normalizeH="0" baseline="0" noProof="0" dirty="0">
                <a:ln>
                  <a:noFill/>
                </a:ln>
                <a:solidFill>
                  <a:prstClr val="white"/>
                </a:solidFill>
                <a:effectLst/>
                <a:uLnTx/>
                <a:uFillTx/>
                <a:latin typeface="Open Sans"/>
                <a:ea typeface="+mn-ea"/>
                <a:cs typeface="+mn-cs"/>
              </a:rPr>
            </a:br>
            <a:r>
              <a:rPr kumimoji="0" lang="en-US" sz="1600" b="1" i="0" u="none" strike="noStrike" kern="1200" cap="none" spc="0" normalizeH="0" baseline="0" noProof="0" dirty="0">
                <a:ln>
                  <a:noFill/>
                </a:ln>
                <a:solidFill>
                  <a:prstClr val="white"/>
                </a:solidFill>
                <a:effectLst/>
                <a:uLnTx/>
                <a:uFillTx/>
                <a:latin typeface="Open Sans"/>
                <a:ea typeface="+mn-ea"/>
                <a:cs typeface="+mn-cs"/>
              </a:rPr>
              <a:t>is here</a:t>
            </a:r>
          </a:p>
        </p:txBody>
      </p:sp>
      <p:sp>
        <p:nvSpPr>
          <p:cNvPr id="19" name="文本框 18">
            <a:extLst>
              <a:ext uri="{FF2B5EF4-FFF2-40B4-BE49-F238E27FC236}">
                <a16:creationId xmlns:a16="http://schemas.microsoft.com/office/drawing/2014/main" id="{2B76F60A-41E9-4D93-99E2-FD1E269F079A}"/>
              </a:ext>
            </a:extLst>
          </p:cNvPr>
          <p:cNvSpPr txBox="1"/>
          <p:nvPr/>
        </p:nvSpPr>
        <p:spPr>
          <a:xfrm>
            <a:off x="4449556" y="918105"/>
            <a:ext cx="3292889" cy="52322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2800" b="0" i="0" u="none" strike="noStrike" kern="1200" cap="none" spc="0" normalizeH="0" baseline="0" noProof="0" dirty="0">
                <a:ln>
                  <a:noFill/>
                </a:ln>
                <a:solidFill>
                  <a:prstClr val="black"/>
                </a:solidFill>
                <a:effectLst/>
                <a:uLnTx/>
                <a:uFillTx/>
                <a:latin typeface="HarmonyOS Sans Black"/>
                <a:ea typeface="+mj-ea"/>
                <a:cs typeface="+mn-cs"/>
              </a:rPr>
              <a:t>Circle </a:t>
            </a:r>
            <a:r>
              <a:rPr kumimoji="0" lang="en-US" altLang="zh-CN" sz="2800" b="0" i="0" u="none" strike="noStrike" kern="1200" cap="none" spc="0" normalizeH="0" baseline="0" noProof="0" dirty="0">
                <a:ln>
                  <a:noFill/>
                </a:ln>
                <a:solidFill>
                  <a:schemeClr val="accent1"/>
                </a:solidFill>
                <a:effectLst/>
                <a:uLnTx/>
                <a:uFillTx/>
                <a:latin typeface="HarmonyOS Sans Black"/>
                <a:ea typeface="+mj-ea"/>
                <a:cs typeface="+mn-cs"/>
              </a:rPr>
              <a:t>infographic</a:t>
            </a:r>
          </a:p>
        </p:txBody>
      </p:sp>
      <p:grpSp>
        <p:nvGrpSpPr>
          <p:cNvPr id="43" name="组合 42">
            <a:extLst>
              <a:ext uri="{FF2B5EF4-FFF2-40B4-BE49-F238E27FC236}">
                <a16:creationId xmlns:a16="http://schemas.microsoft.com/office/drawing/2014/main" id="{373E03E4-6556-42EB-AF08-4852E4E07890}"/>
              </a:ext>
            </a:extLst>
          </p:cNvPr>
          <p:cNvGrpSpPr/>
          <p:nvPr/>
        </p:nvGrpSpPr>
        <p:grpSpPr>
          <a:xfrm>
            <a:off x="1705134" y="3706032"/>
            <a:ext cx="2262702" cy="846145"/>
            <a:chOff x="1508465" y="2482630"/>
            <a:chExt cx="2262702" cy="846145"/>
          </a:xfrm>
        </p:grpSpPr>
        <p:sp>
          <p:nvSpPr>
            <p:cNvPr id="47" name="TextBox 65">
              <a:extLst>
                <a:ext uri="{FF2B5EF4-FFF2-40B4-BE49-F238E27FC236}">
                  <a16:creationId xmlns:a16="http://schemas.microsoft.com/office/drawing/2014/main" id="{F183AD38-1798-4BCE-B45A-111B197A9E21}"/>
                </a:ext>
              </a:extLst>
            </p:cNvPr>
            <p:cNvSpPr txBox="1"/>
            <p:nvPr/>
          </p:nvSpPr>
          <p:spPr>
            <a:xfrm>
              <a:off x="1714906" y="2482630"/>
              <a:ext cx="2056261" cy="352588"/>
            </a:xfrm>
            <a:prstGeom prst="rect">
              <a:avLst/>
            </a:prstGeom>
            <a:noFill/>
          </p:spPr>
          <p:txBody>
            <a:bodyPr wrap="square" lIns="0" tIns="36000" rIns="0" bIns="36000" rtlCol="0">
              <a:spAutoFit/>
            </a:bodyPr>
            <a:lstStyle/>
            <a:p>
              <a:pPr marL="0" marR="0" lvl="0" indent="0" algn="r" defTabSz="914400" rtl="0" eaLnBrk="1" fontAlgn="auto" latinLnBrk="0" hangingPunct="1">
                <a:lnSpc>
                  <a:spcPct val="120000"/>
                </a:lnSpc>
                <a:spcBef>
                  <a:spcPts val="600"/>
                </a:spcBef>
                <a:spcAft>
                  <a:spcPts val="0"/>
                </a:spcAft>
                <a:buClrTx/>
                <a:buSzTx/>
                <a:buFontTx/>
                <a:buNone/>
                <a:tabLst/>
                <a:defRPr/>
              </a:pPr>
              <a:r>
                <a:rPr kumimoji="0" lang="zh-CN" altLang="en-US" sz="1600" b="0" i="0" u="none" strike="noStrike" kern="1200" cap="none" spc="0" normalizeH="0" baseline="0" noProof="0" dirty="0">
                  <a:ln>
                    <a:noFill/>
                  </a:ln>
                  <a:solidFill>
                    <a:schemeClr val="accent1"/>
                  </a:solidFill>
                  <a:effectLst/>
                  <a:uLnTx/>
                  <a:uFillTx/>
                  <a:latin typeface="HarmonyOS Sans SC Black"/>
                  <a:ea typeface="+mj-ea"/>
                  <a:cs typeface="+mn-cs"/>
                </a:rPr>
                <a:t>关键词标题</a:t>
              </a:r>
              <a:endParaRPr kumimoji="0" lang="en-US" sz="1600" b="0" i="0" u="none" strike="noStrike" kern="1200" cap="none" spc="0" normalizeH="0" baseline="0" noProof="0" dirty="0">
                <a:ln>
                  <a:noFill/>
                </a:ln>
                <a:solidFill>
                  <a:schemeClr val="accent1"/>
                </a:solidFill>
                <a:effectLst/>
                <a:uLnTx/>
                <a:uFillTx/>
                <a:latin typeface="HarmonyOS Sans SC Black"/>
                <a:ea typeface="+mj-ea"/>
                <a:cs typeface="+mn-cs"/>
              </a:endParaRPr>
            </a:p>
          </p:txBody>
        </p:sp>
        <p:sp>
          <p:nvSpPr>
            <p:cNvPr id="48" name="TextBox 65">
              <a:extLst>
                <a:ext uri="{FF2B5EF4-FFF2-40B4-BE49-F238E27FC236}">
                  <a16:creationId xmlns:a16="http://schemas.microsoft.com/office/drawing/2014/main" id="{4C80573D-C2C0-4E8B-9AD3-AF8FB2E76EEC}"/>
                </a:ext>
              </a:extLst>
            </p:cNvPr>
            <p:cNvSpPr txBox="1"/>
            <p:nvPr/>
          </p:nvSpPr>
          <p:spPr>
            <a:xfrm>
              <a:off x="1508465" y="2866029"/>
              <a:ext cx="2262702" cy="462746"/>
            </a:xfrm>
            <a:prstGeom prst="rect">
              <a:avLst/>
            </a:prstGeom>
            <a:noFill/>
          </p:spPr>
          <p:txBody>
            <a:bodyPr wrap="square" lIns="0" tIns="36000" rIns="0" bIns="36000" rtlCol="0">
              <a:spAutoFit/>
            </a:bodyPr>
            <a:lstStyle/>
            <a:p>
              <a:pPr marL="0" marR="0" lvl="0" indent="0" algn="r" defTabSz="914400" rtl="0" eaLnBrk="1" fontAlgn="auto" latinLnBrk="0" hangingPunct="1">
                <a:lnSpc>
                  <a:spcPct val="120000"/>
                </a:lnSpc>
                <a:spcBef>
                  <a:spcPts val="600"/>
                </a:spcBef>
                <a:spcAft>
                  <a:spcPts val="0"/>
                </a:spcAft>
                <a:buClrTx/>
                <a:buSzTx/>
                <a:buFontTx/>
                <a:buNone/>
                <a:tabLst/>
                <a:defRPr/>
              </a:pPr>
              <a:r>
                <a:rPr kumimoji="0" lang="en-US" sz="1100" b="0" i="0" u="none" strike="noStrike" kern="1200" cap="none" spc="0" normalizeH="0" baseline="0" noProof="0" dirty="0">
                  <a:ln>
                    <a:noFill/>
                  </a:ln>
                  <a:solidFill>
                    <a:prstClr val="black">
                      <a:lumMod val="50000"/>
                      <a:lumOff val="50000"/>
                    </a:prstClr>
                  </a:solidFill>
                  <a:effectLst/>
                  <a:uLnTx/>
                  <a:uFillTx/>
                  <a:latin typeface="HarmonyOS Sans SC"/>
                  <a:cs typeface="+mn-cs"/>
                </a:rPr>
                <a:t>Apparently we had reached a great height in the.</a:t>
              </a:r>
            </a:p>
          </p:txBody>
        </p:sp>
      </p:grpSp>
      <p:grpSp>
        <p:nvGrpSpPr>
          <p:cNvPr id="44" name="组合 43">
            <a:extLst>
              <a:ext uri="{FF2B5EF4-FFF2-40B4-BE49-F238E27FC236}">
                <a16:creationId xmlns:a16="http://schemas.microsoft.com/office/drawing/2014/main" id="{9A4F4542-9FAD-4B78-8D25-EE596F0319F3}"/>
              </a:ext>
            </a:extLst>
          </p:cNvPr>
          <p:cNvGrpSpPr/>
          <p:nvPr/>
        </p:nvGrpSpPr>
        <p:grpSpPr>
          <a:xfrm>
            <a:off x="2093770" y="4991967"/>
            <a:ext cx="2262702" cy="846145"/>
            <a:chOff x="1508465" y="2482630"/>
            <a:chExt cx="2262702" cy="846145"/>
          </a:xfrm>
        </p:grpSpPr>
        <p:sp>
          <p:nvSpPr>
            <p:cNvPr id="45" name="TextBox 65">
              <a:extLst>
                <a:ext uri="{FF2B5EF4-FFF2-40B4-BE49-F238E27FC236}">
                  <a16:creationId xmlns:a16="http://schemas.microsoft.com/office/drawing/2014/main" id="{7F5FBE1C-16A0-4E10-ABFC-38494FE51ED7}"/>
                </a:ext>
              </a:extLst>
            </p:cNvPr>
            <p:cNvSpPr txBox="1"/>
            <p:nvPr/>
          </p:nvSpPr>
          <p:spPr>
            <a:xfrm>
              <a:off x="1714906" y="2482630"/>
              <a:ext cx="2056261" cy="352588"/>
            </a:xfrm>
            <a:prstGeom prst="rect">
              <a:avLst/>
            </a:prstGeom>
            <a:noFill/>
          </p:spPr>
          <p:txBody>
            <a:bodyPr wrap="square" lIns="0" tIns="36000" rIns="0" bIns="36000" rtlCol="0">
              <a:spAutoFit/>
            </a:bodyPr>
            <a:lstStyle/>
            <a:p>
              <a:pPr marL="0" marR="0" lvl="0" indent="0" algn="r" defTabSz="914400" rtl="0" eaLnBrk="1" fontAlgn="auto" latinLnBrk="0" hangingPunct="1">
                <a:lnSpc>
                  <a:spcPct val="120000"/>
                </a:lnSpc>
                <a:spcBef>
                  <a:spcPts val="600"/>
                </a:spcBef>
                <a:spcAft>
                  <a:spcPts val="0"/>
                </a:spcAft>
                <a:buClrTx/>
                <a:buSzTx/>
                <a:buFontTx/>
                <a:buNone/>
                <a:tabLst/>
                <a:defRPr/>
              </a:pPr>
              <a:r>
                <a:rPr kumimoji="0" lang="zh-CN" altLang="en-US" sz="1600" b="0" i="0" u="none" strike="noStrike" kern="1200" cap="none" spc="0" normalizeH="0" baseline="0" noProof="0" dirty="0">
                  <a:ln>
                    <a:noFill/>
                  </a:ln>
                  <a:solidFill>
                    <a:schemeClr val="accent1"/>
                  </a:solidFill>
                  <a:effectLst/>
                  <a:uLnTx/>
                  <a:uFillTx/>
                  <a:latin typeface="HarmonyOS Sans SC Black"/>
                  <a:ea typeface="+mj-ea"/>
                  <a:cs typeface="+mn-cs"/>
                </a:rPr>
                <a:t>关键词标题</a:t>
              </a:r>
              <a:endParaRPr kumimoji="0" lang="en-US" sz="1600" b="0" i="0" u="none" strike="noStrike" kern="1200" cap="none" spc="0" normalizeH="0" baseline="0" noProof="0" dirty="0">
                <a:ln>
                  <a:noFill/>
                </a:ln>
                <a:solidFill>
                  <a:schemeClr val="accent1"/>
                </a:solidFill>
                <a:effectLst/>
                <a:uLnTx/>
                <a:uFillTx/>
                <a:latin typeface="HarmonyOS Sans SC Black"/>
                <a:ea typeface="+mj-ea"/>
                <a:cs typeface="+mn-cs"/>
              </a:endParaRPr>
            </a:p>
          </p:txBody>
        </p:sp>
        <p:sp>
          <p:nvSpPr>
            <p:cNvPr id="46" name="TextBox 65">
              <a:extLst>
                <a:ext uri="{FF2B5EF4-FFF2-40B4-BE49-F238E27FC236}">
                  <a16:creationId xmlns:a16="http://schemas.microsoft.com/office/drawing/2014/main" id="{DD19B472-0C26-41BF-9A83-E87E69F35714}"/>
                </a:ext>
              </a:extLst>
            </p:cNvPr>
            <p:cNvSpPr txBox="1"/>
            <p:nvPr/>
          </p:nvSpPr>
          <p:spPr>
            <a:xfrm>
              <a:off x="1508465" y="2866029"/>
              <a:ext cx="2262702" cy="462746"/>
            </a:xfrm>
            <a:prstGeom prst="rect">
              <a:avLst/>
            </a:prstGeom>
            <a:noFill/>
          </p:spPr>
          <p:txBody>
            <a:bodyPr wrap="square" lIns="0" tIns="36000" rIns="0" bIns="36000" rtlCol="0">
              <a:spAutoFit/>
            </a:bodyPr>
            <a:lstStyle/>
            <a:p>
              <a:pPr marL="0" marR="0" lvl="0" indent="0" algn="r" defTabSz="914400" rtl="0" eaLnBrk="1" fontAlgn="auto" latinLnBrk="0" hangingPunct="1">
                <a:lnSpc>
                  <a:spcPct val="120000"/>
                </a:lnSpc>
                <a:spcBef>
                  <a:spcPts val="600"/>
                </a:spcBef>
                <a:spcAft>
                  <a:spcPts val="0"/>
                </a:spcAft>
                <a:buClrTx/>
                <a:buSzTx/>
                <a:buFontTx/>
                <a:buNone/>
                <a:tabLst/>
                <a:defRPr/>
              </a:pPr>
              <a:r>
                <a:rPr kumimoji="0" lang="en-US" sz="1100" b="0" i="0" u="none" strike="noStrike" kern="1200" cap="none" spc="0" normalizeH="0" baseline="0" noProof="0" dirty="0">
                  <a:ln>
                    <a:noFill/>
                  </a:ln>
                  <a:solidFill>
                    <a:prstClr val="black">
                      <a:lumMod val="50000"/>
                      <a:lumOff val="50000"/>
                    </a:prstClr>
                  </a:solidFill>
                  <a:effectLst/>
                  <a:uLnTx/>
                  <a:uFillTx/>
                  <a:latin typeface="HarmonyOS Sans SC"/>
                  <a:cs typeface="+mn-cs"/>
                </a:rPr>
                <a:t>Apparently we had reached a great height in the.</a:t>
              </a:r>
            </a:p>
          </p:txBody>
        </p:sp>
      </p:grpSp>
      <p:grpSp>
        <p:nvGrpSpPr>
          <p:cNvPr id="50" name="组合 49">
            <a:extLst>
              <a:ext uri="{FF2B5EF4-FFF2-40B4-BE49-F238E27FC236}">
                <a16:creationId xmlns:a16="http://schemas.microsoft.com/office/drawing/2014/main" id="{A8BDAF18-AE0A-40D2-A0C6-600A9CF598E9}"/>
              </a:ext>
            </a:extLst>
          </p:cNvPr>
          <p:cNvGrpSpPr/>
          <p:nvPr/>
        </p:nvGrpSpPr>
        <p:grpSpPr>
          <a:xfrm flipH="1">
            <a:off x="8224165" y="3706032"/>
            <a:ext cx="2262702" cy="846145"/>
            <a:chOff x="1508465" y="2482630"/>
            <a:chExt cx="2262702" cy="846145"/>
          </a:xfrm>
        </p:grpSpPr>
        <p:sp>
          <p:nvSpPr>
            <p:cNvPr id="54" name="TextBox 65">
              <a:extLst>
                <a:ext uri="{FF2B5EF4-FFF2-40B4-BE49-F238E27FC236}">
                  <a16:creationId xmlns:a16="http://schemas.microsoft.com/office/drawing/2014/main" id="{A4CB9853-322F-4FBA-B310-5ADF8E42E79B}"/>
                </a:ext>
              </a:extLst>
            </p:cNvPr>
            <p:cNvSpPr txBox="1"/>
            <p:nvPr/>
          </p:nvSpPr>
          <p:spPr>
            <a:xfrm>
              <a:off x="1714906" y="2482630"/>
              <a:ext cx="2056261" cy="352588"/>
            </a:xfrm>
            <a:prstGeom prst="rect">
              <a:avLst/>
            </a:prstGeom>
            <a:noFill/>
          </p:spPr>
          <p:txBody>
            <a:bodyPr wrap="square" lIns="0" tIns="36000" rIns="0" bIns="36000" rtlCol="0">
              <a:spAutoFit/>
            </a:bodyPr>
            <a:lstStyle/>
            <a:p>
              <a:pPr marL="0" marR="0" lvl="0" indent="0" algn="l" defTabSz="914400" rtl="0" eaLnBrk="1" fontAlgn="auto" latinLnBrk="0" hangingPunct="1">
                <a:lnSpc>
                  <a:spcPct val="120000"/>
                </a:lnSpc>
                <a:spcBef>
                  <a:spcPts val="600"/>
                </a:spcBef>
                <a:spcAft>
                  <a:spcPts val="0"/>
                </a:spcAft>
                <a:buClrTx/>
                <a:buSzTx/>
                <a:buFontTx/>
                <a:buNone/>
                <a:tabLst/>
                <a:defRPr/>
              </a:pPr>
              <a:r>
                <a:rPr kumimoji="0" lang="zh-CN" altLang="en-US" sz="1600" b="0" i="0" u="none" strike="noStrike" kern="1200" cap="none" spc="0" normalizeH="0" baseline="0" noProof="0" dirty="0">
                  <a:ln>
                    <a:noFill/>
                  </a:ln>
                  <a:solidFill>
                    <a:schemeClr val="accent1"/>
                  </a:solidFill>
                  <a:effectLst/>
                  <a:uLnTx/>
                  <a:uFillTx/>
                  <a:latin typeface="HarmonyOS Sans SC Black"/>
                  <a:ea typeface="+mj-ea"/>
                  <a:cs typeface="+mn-cs"/>
                </a:rPr>
                <a:t>关键词标题</a:t>
              </a:r>
              <a:endParaRPr kumimoji="0" lang="en-US" sz="1600" b="0" i="0" u="none" strike="noStrike" kern="1200" cap="none" spc="0" normalizeH="0" baseline="0" noProof="0" dirty="0">
                <a:ln>
                  <a:noFill/>
                </a:ln>
                <a:solidFill>
                  <a:schemeClr val="accent1"/>
                </a:solidFill>
                <a:effectLst/>
                <a:uLnTx/>
                <a:uFillTx/>
                <a:latin typeface="HarmonyOS Sans SC Black"/>
                <a:ea typeface="+mj-ea"/>
                <a:cs typeface="+mn-cs"/>
              </a:endParaRPr>
            </a:p>
          </p:txBody>
        </p:sp>
        <p:sp>
          <p:nvSpPr>
            <p:cNvPr id="55" name="TextBox 65">
              <a:extLst>
                <a:ext uri="{FF2B5EF4-FFF2-40B4-BE49-F238E27FC236}">
                  <a16:creationId xmlns:a16="http://schemas.microsoft.com/office/drawing/2014/main" id="{7D71085B-4046-4A0B-A313-95A6B726A061}"/>
                </a:ext>
              </a:extLst>
            </p:cNvPr>
            <p:cNvSpPr txBox="1"/>
            <p:nvPr/>
          </p:nvSpPr>
          <p:spPr>
            <a:xfrm>
              <a:off x="1508465" y="2866029"/>
              <a:ext cx="2262702" cy="462746"/>
            </a:xfrm>
            <a:prstGeom prst="rect">
              <a:avLst/>
            </a:prstGeom>
            <a:noFill/>
          </p:spPr>
          <p:txBody>
            <a:bodyPr wrap="square" lIns="0" tIns="36000" rIns="0" bIns="36000" rtlCol="0">
              <a:spAutoFit/>
            </a:bodyPr>
            <a:lstStyle/>
            <a:p>
              <a:pPr marL="0" marR="0" lvl="0" indent="0" algn="l" defTabSz="914400" rtl="0" eaLnBrk="1" fontAlgn="auto" latinLnBrk="0" hangingPunct="1">
                <a:lnSpc>
                  <a:spcPct val="120000"/>
                </a:lnSpc>
                <a:spcBef>
                  <a:spcPts val="600"/>
                </a:spcBef>
                <a:spcAft>
                  <a:spcPts val="0"/>
                </a:spcAft>
                <a:buClrTx/>
                <a:buSzTx/>
                <a:buFontTx/>
                <a:buNone/>
                <a:tabLst/>
                <a:defRPr/>
              </a:pPr>
              <a:r>
                <a:rPr kumimoji="0" lang="en-US" sz="1100" b="0" i="0" u="none" strike="noStrike" kern="1200" cap="none" spc="0" normalizeH="0" baseline="0" noProof="0" dirty="0">
                  <a:ln>
                    <a:noFill/>
                  </a:ln>
                  <a:solidFill>
                    <a:prstClr val="black">
                      <a:lumMod val="50000"/>
                      <a:lumOff val="50000"/>
                    </a:prstClr>
                  </a:solidFill>
                  <a:effectLst/>
                  <a:uLnTx/>
                  <a:uFillTx/>
                  <a:latin typeface="HarmonyOS Sans SC"/>
                  <a:cs typeface="+mn-cs"/>
                </a:rPr>
                <a:t>Apparently we had reached a great height in the.</a:t>
              </a:r>
            </a:p>
          </p:txBody>
        </p:sp>
      </p:grpSp>
      <p:grpSp>
        <p:nvGrpSpPr>
          <p:cNvPr id="51" name="组合 50">
            <a:extLst>
              <a:ext uri="{FF2B5EF4-FFF2-40B4-BE49-F238E27FC236}">
                <a16:creationId xmlns:a16="http://schemas.microsoft.com/office/drawing/2014/main" id="{7D2B7BD0-56EA-4C28-9F78-401A10F2E26E}"/>
              </a:ext>
            </a:extLst>
          </p:cNvPr>
          <p:cNvGrpSpPr/>
          <p:nvPr/>
        </p:nvGrpSpPr>
        <p:grpSpPr>
          <a:xfrm flipH="1">
            <a:off x="7835529" y="4991967"/>
            <a:ext cx="2262702" cy="846145"/>
            <a:chOff x="1508465" y="2482630"/>
            <a:chExt cx="2262702" cy="846145"/>
          </a:xfrm>
        </p:grpSpPr>
        <p:sp>
          <p:nvSpPr>
            <p:cNvPr id="52" name="TextBox 65">
              <a:extLst>
                <a:ext uri="{FF2B5EF4-FFF2-40B4-BE49-F238E27FC236}">
                  <a16:creationId xmlns:a16="http://schemas.microsoft.com/office/drawing/2014/main" id="{B824DCF2-3C18-4CBF-BE0B-50DC3BED111F}"/>
                </a:ext>
              </a:extLst>
            </p:cNvPr>
            <p:cNvSpPr txBox="1"/>
            <p:nvPr/>
          </p:nvSpPr>
          <p:spPr>
            <a:xfrm>
              <a:off x="1714906" y="2482630"/>
              <a:ext cx="2056261" cy="352588"/>
            </a:xfrm>
            <a:prstGeom prst="rect">
              <a:avLst/>
            </a:prstGeom>
            <a:noFill/>
          </p:spPr>
          <p:txBody>
            <a:bodyPr wrap="square" lIns="0" tIns="36000" rIns="0" bIns="36000" rtlCol="0">
              <a:spAutoFit/>
            </a:bodyPr>
            <a:lstStyle/>
            <a:p>
              <a:pPr marL="0" marR="0" lvl="0" indent="0" algn="l" defTabSz="914400" rtl="0" eaLnBrk="1" fontAlgn="auto" latinLnBrk="0" hangingPunct="1">
                <a:lnSpc>
                  <a:spcPct val="120000"/>
                </a:lnSpc>
                <a:spcBef>
                  <a:spcPts val="600"/>
                </a:spcBef>
                <a:spcAft>
                  <a:spcPts val="0"/>
                </a:spcAft>
                <a:buClrTx/>
                <a:buSzTx/>
                <a:buFontTx/>
                <a:buNone/>
                <a:tabLst/>
                <a:defRPr/>
              </a:pPr>
              <a:r>
                <a:rPr kumimoji="0" lang="zh-CN" altLang="en-US" sz="1600" b="0" i="0" u="none" strike="noStrike" kern="1200" cap="none" spc="0" normalizeH="0" baseline="0" noProof="0" dirty="0">
                  <a:ln>
                    <a:noFill/>
                  </a:ln>
                  <a:solidFill>
                    <a:schemeClr val="accent1"/>
                  </a:solidFill>
                  <a:effectLst/>
                  <a:uLnTx/>
                  <a:uFillTx/>
                  <a:latin typeface="HarmonyOS Sans SC Black"/>
                  <a:ea typeface="+mj-ea"/>
                  <a:cs typeface="+mn-cs"/>
                </a:rPr>
                <a:t>关键词标题</a:t>
              </a:r>
              <a:endParaRPr kumimoji="0" lang="en-US" sz="1600" b="0" i="0" u="none" strike="noStrike" kern="1200" cap="none" spc="0" normalizeH="0" baseline="0" noProof="0" dirty="0">
                <a:ln>
                  <a:noFill/>
                </a:ln>
                <a:solidFill>
                  <a:schemeClr val="accent1"/>
                </a:solidFill>
                <a:effectLst/>
                <a:uLnTx/>
                <a:uFillTx/>
                <a:latin typeface="HarmonyOS Sans SC Black"/>
                <a:ea typeface="+mj-ea"/>
                <a:cs typeface="+mn-cs"/>
              </a:endParaRPr>
            </a:p>
          </p:txBody>
        </p:sp>
        <p:sp>
          <p:nvSpPr>
            <p:cNvPr id="53" name="TextBox 65">
              <a:extLst>
                <a:ext uri="{FF2B5EF4-FFF2-40B4-BE49-F238E27FC236}">
                  <a16:creationId xmlns:a16="http://schemas.microsoft.com/office/drawing/2014/main" id="{3F43DE12-1177-4277-B820-EE651B79E2A1}"/>
                </a:ext>
              </a:extLst>
            </p:cNvPr>
            <p:cNvSpPr txBox="1"/>
            <p:nvPr/>
          </p:nvSpPr>
          <p:spPr>
            <a:xfrm>
              <a:off x="1508465" y="2866029"/>
              <a:ext cx="2262702" cy="462746"/>
            </a:xfrm>
            <a:prstGeom prst="rect">
              <a:avLst/>
            </a:prstGeom>
            <a:noFill/>
          </p:spPr>
          <p:txBody>
            <a:bodyPr wrap="square" lIns="0" tIns="36000" rIns="0" bIns="36000" rtlCol="0">
              <a:spAutoFit/>
            </a:bodyPr>
            <a:lstStyle/>
            <a:p>
              <a:pPr marL="0" marR="0" lvl="0" indent="0" algn="l" defTabSz="914400" rtl="0" eaLnBrk="1" fontAlgn="auto" latinLnBrk="0" hangingPunct="1">
                <a:lnSpc>
                  <a:spcPct val="120000"/>
                </a:lnSpc>
                <a:spcBef>
                  <a:spcPts val="600"/>
                </a:spcBef>
                <a:spcAft>
                  <a:spcPts val="0"/>
                </a:spcAft>
                <a:buClrTx/>
                <a:buSzTx/>
                <a:buFontTx/>
                <a:buNone/>
                <a:tabLst/>
                <a:defRPr/>
              </a:pPr>
              <a:r>
                <a:rPr kumimoji="0" lang="en-US" sz="1100" b="0" i="0" u="none" strike="noStrike" kern="1200" cap="none" spc="0" normalizeH="0" baseline="0" noProof="0" dirty="0">
                  <a:ln>
                    <a:noFill/>
                  </a:ln>
                  <a:solidFill>
                    <a:prstClr val="black">
                      <a:lumMod val="50000"/>
                      <a:lumOff val="50000"/>
                    </a:prstClr>
                  </a:solidFill>
                  <a:effectLst/>
                  <a:uLnTx/>
                  <a:uFillTx/>
                  <a:latin typeface="HarmonyOS Sans SC"/>
                  <a:cs typeface="+mn-cs"/>
                </a:rPr>
                <a:t>Apparently we had reached a great height in the.</a:t>
              </a:r>
            </a:p>
          </p:txBody>
        </p:sp>
      </p:grpSp>
      <p:grpSp>
        <p:nvGrpSpPr>
          <p:cNvPr id="56" name="组合 55">
            <a:extLst>
              <a:ext uri="{FF2B5EF4-FFF2-40B4-BE49-F238E27FC236}">
                <a16:creationId xmlns:a16="http://schemas.microsoft.com/office/drawing/2014/main" id="{C1809DC7-81E0-49FF-9936-689C837CA2BB}"/>
              </a:ext>
            </a:extLst>
          </p:cNvPr>
          <p:cNvGrpSpPr/>
          <p:nvPr/>
        </p:nvGrpSpPr>
        <p:grpSpPr>
          <a:xfrm>
            <a:off x="4157664" y="1766234"/>
            <a:ext cx="3876674" cy="657824"/>
            <a:chOff x="4178864" y="4094711"/>
            <a:chExt cx="3654226" cy="620077"/>
          </a:xfrm>
        </p:grpSpPr>
        <p:sp>
          <p:nvSpPr>
            <p:cNvPr id="57" name="TextBox 65">
              <a:extLst>
                <a:ext uri="{FF2B5EF4-FFF2-40B4-BE49-F238E27FC236}">
                  <a16:creationId xmlns:a16="http://schemas.microsoft.com/office/drawing/2014/main" id="{31072A93-2A95-4810-8AB7-29BE505DBE18}"/>
                </a:ext>
              </a:extLst>
            </p:cNvPr>
            <p:cNvSpPr txBox="1"/>
            <p:nvPr/>
          </p:nvSpPr>
          <p:spPr>
            <a:xfrm>
              <a:off x="4977847" y="4094711"/>
              <a:ext cx="2056261" cy="299355"/>
            </a:xfrm>
            <a:prstGeom prst="rect">
              <a:avLst/>
            </a:prstGeom>
            <a:noFill/>
          </p:spPr>
          <p:txBody>
            <a:bodyPr wrap="square" lIns="0" tIns="36000" rIns="0" bIns="36000" rtlCol="0">
              <a:spAutoFit/>
            </a:bodyPr>
            <a:lstStyle/>
            <a:p>
              <a:pPr marL="0" marR="0" lvl="0" indent="0" algn="ctr" defTabSz="914400" rtl="0" eaLnBrk="1" fontAlgn="auto" latinLnBrk="0" hangingPunct="1">
                <a:lnSpc>
                  <a:spcPct val="120000"/>
                </a:lnSpc>
                <a:spcBef>
                  <a:spcPts val="600"/>
                </a:spcBef>
                <a:spcAft>
                  <a:spcPts val="0"/>
                </a:spcAft>
                <a:buClrTx/>
                <a:buSzTx/>
                <a:buFontTx/>
                <a:buNone/>
                <a:tabLst/>
                <a:defRPr/>
              </a:pPr>
              <a:r>
                <a:rPr kumimoji="0" lang="zh-CN" altLang="en-US" sz="1400" b="0" i="0" u="none" strike="noStrike" kern="1200" cap="none" spc="0" normalizeH="0" baseline="0" noProof="0" dirty="0">
                  <a:ln>
                    <a:noFill/>
                  </a:ln>
                  <a:solidFill>
                    <a:schemeClr val="accent1"/>
                  </a:solidFill>
                  <a:effectLst/>
                  <a:uLnTx/>
                  <a:uFillTx/>
                  <a:latin typeface="HarmonyOS Sans SC Black"/>
                  <a:ea typeface="+mj-ea"/>
                  <a:cs typeface="+mn-cs"/>
                </a:rPr>
                <a:t>关键词标题</a:t>
              </a:r>
              <a:endParaRPr kumimoji="0" lang="en-US" sz="1400" b="0" i="0" u="none" strike="noStrike" kern="1200" cap="none" spc="0" normalizeH="0" baseline="0" noProof="0" dirty="0">
                <a:ln>
                  <a:noFill/>
                </a:ln>
                <a:solidFill>
                  <a:schemeClr val="accent1"/>
                </a:solidFill>
                <a:effectLst/>
                <a:uLnTx/>
                <a:uFillTx/>
                <a:latin typeface="HarmonyOS Sans SC Black"/>
                <a:ea typeface="+mj-ea"/>
                <a:cs typeface="+mn-cs"/>
              </a:endParaRPr>
            </a:p>
          </p:txBody>
        </p:sp>
        <p:sp>
          <p:nvSpPr>
            <p:cNvPr id="58" name="TextBox 65">
              <a:extLst>
                <a:ext uri="{FF2B5EF4-FFF2-40B4-BE49-F238E27FC236}">
                  <a16:creationId xmlns:a16="http://schemas.microsoft.com/office/drawing/2014/main" id="{BDCCA708-D314-4ADB-9597-99E28A462112}"/>
                </a:ext>
              </a:extLst>
            </p:cNvPr>
            <p:cNvSpPr txBox="1"/>
            <p:nvPr/>
          </p:nvSpPr>
          <p:spPr>
            <a:xfrm>
              <a:off x="4178864" y="4478110"/>
              <a:ext cx="3654226" cy="236678"/>
            </a:xfrm>
            <a:prstGeom prst="rect">
              <a:avLst/>
            </a:prstGeom>
            <a:noFill/>
          </p:spPr>
          <p:txBody>
            <a:bodyPr wrap="square" lIns="0" tIns="36000" rIns="0" bIns="36000" rtlCol="0">
              <a:spAutoFit/>
            </a:bodyPr>
            <a:lstStyle/>
            <a:p>
              <a:pPr marL="0" marR="0" lvl="0" indent="0" algn="ctr" defTabSz="914400" rtl="0" eaLnBrk="1" fontAlgn="auto" latinLnBrk="0" hangingPunct="1">
                <a:lnSpc>
                  <a:spcPct val="120000"/>
                </a:lnSpc>
                <a:spcBef>
                  <a:spcPts val="600"/>
                </a:spcBef>
                <a:spcAft>
                  <a:spcPts val="0"/>
                </a:spcAft>
                <a:buClrTx/>
                <a:buSzTx/>
                <a:buFontTx/>
                <a:buNone/>
                <a:tabLst/>
                <a:defRPr/>
              </a:pPr>
              <a:r>
                <a:rPr kumimoji="0" lang="en-US" sz="1050" b="0" i="0" u="none" strike="noStrike" kern="1200" cap="none" spc="0" normalizeH="0" baseline="0" noProof="0" dirty="0">
                  <a:ln>
                    <a:noFill/>
                  </a:ln>
                  <a:solidFill>
                    <a:prstClr val="black">
                      <a:lumMod val="50000"/>
                      <a:lumOff val="50000"/>
                    </a:prstClr>
                  </a:solidFill>
                  <a:effectLst/>
                  <a:uLnTx/>
                  <a:uFillTx/>
                  <a:latin typeface="HarmonyOS Sans SC"/>
                  <a:cs typeface="+mn-cs"/>
                </a:rPr>
                <a:t>Apparently we had reached a great height in the.</a:t>
              </a:r>
            </a:p>
          </p:txBody>
        </p:sp>
      </p:grpSp>
    </p:spTree>
    <p:extLst>
      <p:ext uri="{BB962C8B-B14F-4D97-AF65-F5344CB8AC3E}">
        <p14:creationId xmlns:p14="http://schemas.microsoft.com/office/powerpoint/2010/main" val="3866935396"/>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5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9" name="组合 28">
            <a:extLst>
              <a:ext uri="{FF2B5EF4-FFF2-40B4-BE49-F238E27FC236}">
                <a16:creationId xmlns:a16="http://schemas.microsoft.com/office/drawing/2014/main" id="{66A7F814-0F6A-496A-BC5A-1E397651BA90}"/>
              </a:ext>
            </a:extLst>
          </p:cNvPr>
          <p:cNvGrpSpPr/>
          <p:nvPr/>
        </p:nvGrpSpPr>
        <p:grpSpPr>
          <a:xfrm>
            <a:off x="6629441" y="1763988"/>
            <a:ext cx="4190452" cy="4220154"/>
            <a:chOff x="6051550" y="1370728"/>
            <a:chExt cx="4590276" cy="4622813"/>
          </a:xfrm>
        </p:grpSpPr>
        <p:sp>
          <p:nvSpPr>
            <p:cNvPr id="2" name="Rectangle 6">
              <a:extLst>
                <a:ext uri="{FF2B5EF4-FFF2-40B4-BE49-F238E27FC236}">
                  <a16:creationId xmlns:a16="http://schemas.microsoft.com/office/drawing/2014/main" id="{CFABE57A-1EF0-4068-8A9E-A52BC7629A40}"/>
                </a:ext>
              </a:extLst>
            </p:cNvPr>
            <p:cNvSpPr/>
            <p:nvPr/>
          </p:nvSpPr>
          <p:spPr>
            <a:xfrm>
              <a:off x="7507146" y="3252549"/>
              <a:ext cx="1624164" cy="707886"/>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HarmonyOS Sans SC"/>
                  <a:cs typeface="+mn-cs"/>
                </a:rPr>
                <a:t>Proces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HarmonyOS Sans SC Black"/>
                  <a:ea typeface="+mj-ea"/>
                  <a:cs typeface="+mn-cs"/>
                </a:rPr>
                <a:t>infographic</a:t>
              </a:r>
            </a:p>
          </p:txBody>
        </p:sp>
        <p:sp>
          <p:nvSpPr>
            <p:cNvPr id="3" name="Freeform 5">
              <a:extLst>
                <a:ext uri="{FF2B5EF4-FFF2-40B4-BE49-F238E27FC236}">
                  <a16:creationId xmlns:a16="http://schemas.microsoft.com/office/drawing/2014/main" id="{2ECD8E80-88DF-4F2E-8E08-E5D04287FDDC}"/>
                </a:ext>
              </a:extLst>
            </p:cNvPr>
            <p:cNvSpPr>
              <a:spLocks/>
            </p:cNvSpPr>
            <p:nvPr/>
          </p:nvSpPr>
          <p:spPr bwMode="auto">
            <a:xfrm>
              <a:off x="6051550" y="1370728"/>
              <a:ext cx="3324163" cy="1876524"/>
            </a:xfrm>
            <a:custGeom>
              <a:avLst/>
              <a:gdLst>
                <a:gd name="T0" fmla="*/ 1248 w 1248"/>
                <a:gd name="T1" fmla="*/ 705 h 705"/>
                <a:gd name="T2" fmla="*/ 1233 w 1248"/>
                <a:gd name="T3" fmla="*/ 519 h 705"/>
                <a:gd name="T4" fmla="*/ 1192 w 1248"/>
                <a:gd name="T5" fmla="*/ 567 h 705"/>
                <a:gd name="T6" fmla="*/ 1182 w 1248"/>
                <a:gd name="T7" fmla="*/ 542 h 705"/>
                <a:gd name="T8" fmla="*/ 623 w 1248"/>
                <a:gd name="T9" fmla="*/ 281 h 705"/>
                <a:gd name="T10" fmla="*/ 312 w 1248"/>
                <a:gd name="T11" fmla="*/ 0 h 705"/>
                <a:gd name="T12" fmla="*/ 0 w 1248"/>
                <a:gd name="T13" fmla="*/ 312 h 705"/>
                <a:gd name="T14" fmla="*/ 226 w 1248"/>
                <a:gd name="T15" fmla="*/ 612 h 705"/>
                <a:gd name="T16" fmla="*/ 226 w 1248"/>
                <a:gd name="T17" fmla="*/ 612 h 705"/>
                <a:gd name="T18" fmla="*/ 250 w 1248"/>
                <a:gd name="T19" fmla="*/ 618 h 705"/>
                <a:gd name="T20" fmla="*/ 251 w 1248"/>
                <a:gd name="T21" fmla="*/ 618 h 705"/>
                <a:gd name="T22" fmla="*/ 251 w 1248"/>
                <a:gd name="T23" fmla="*/ 618 h 705"/>
                <a:gd name="T24" fmla="*/ 511 w 1248"/>
                <a:gd name="T25" fmla="*/ 368 h 705"/>
                <a:gd name="T26" fmla="*/ 627 w 1248"/>
                <a:gd name="T27" fmla="*/ 328 h 705"/>
                <a:gd name="T28" fmla="*/ 1181 w 1248"/>
                <a:gd name="T29" fmla="*/ 571 h 705"/>
                <a:gd name="T30" fmla="*/ 1117 w 1248"/>
                <a:gd name="T31" fmla="*/ 572 h 705"/>
                <a:gd name="T32" fmla="*/ 1248 w 1248"/>
                <a:gd name="T33" fmla="*/ 705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48" h="705">
                  <a:moveTo>
                    <a:pt x="1248" y="705"/>
                  </a:moveTo>
                  <a:cubicBezTo>
                    <a:pt x="1233" y="519"/>
                    <a:pt x="1233" y="519"/>
                    <a:pt x="1233" y="519"/>
                  </a:cubicBezTo>
                  <a:cubicBezTo>
                    <a:pt x="1192" y="567"/>
                    <a:pt x="1192" y="567"/>
                    <a:pt x="1192" y="567"/>
                  </a:cubicBezTo>
                  <a:cubicBezTo>
                    <a:pt x="1188" y="556"/>
                    <a:pt x="1187" y="553"/>
                    <a:pt x="1182" y="542"/>
                  </a:cubicBezTo>
                  <a:cubicBezTo>
                    <a:pt x="1087" y="335"/>
                    <a:pt x="851" y="233"/>
                    <a:pt x="623" y="281"/>
                  </a:cubicBezTo>
                  <a:cubicBezTo>
                    <a:pt x="607" y="123"/>
                    <a:pt x="474" y="0"/>
                    <a:pt x="312" y="0"/>
                  </a:cubicBezTo>
                  <a:cubicBezTo>
                    <a:pt x="140" y="0"/>
                    <a:pt x="0" y="139"/>
                    <a:pt x="0" y="312"/>
                  </a:cubicBezTo>
                  <a:cubicBezTo>
                    <a:pt x="0" y="454"/>
                    <a:pt x="96" y="574"/>
                    <a:pt x="226" y="612"/>
                  </a:cubicBezTo>
                  <a:cubicBezTo>
                    <a:pt x="226" y="612"/>
                    <a:pt x="226" y="612"/>
                    <a:pt x="226" y="612"/>
                  </a:cubicBezTo>
                  <a:cubicBezTo>
                    <a:pt x="234" y="614"/>
                    <a:pt x="242" y="616"/>
                    <a:pt x="250" y="618"/>
                  </a:cubicBezTo>
                  <a:cubicBezTo>
                    <a:pt x="251" y="618"/>
                    <a:pt x="251" y="618"/>
                    <a:pt x="251" y="618"/>
                  </a:cubicBezTo>
                  <a:cubicBezTo>
                    <a:pt x="251" y="618"/>
                    <a:pt x="251" y="618"/>
                    <a:pt x="251" y="618"/>
                  </a:cubicBezTo>
                  <a:cubicBezTo>
                    <a:pt x="303" y="513"/>
                    <a:pt x="393" y="423"/>
                    <a:pt x="511" y="368"/>
                  </a:cubicBezTo>
                  <a:cubicBezTo>
                    <a:pt x="580" y="336"/>
                    <a:pt x="626" y="328"/>
                    <a:pt x="627" y="328"/>
                  </a:cubicBezTo>
                  <a:cubicBezTo>
                    <a:pt x="853" y="278"/>
                    <a:pt x="1082" y="370"/>
                    <a:pt x="1181" y="571"/>
                  </a:cubicBezTo>
                  <a:cubicBezTo>
                    <a:pt x="1117" y="572"/>
                    <a:pt x="1117" y="572"/>
                    <a:pt x="1117" y="572"/>
                  </a:cubicBezTo>
                  <a:lnTo>
                    <a:pt x="1248" y="705"/>
                  </a:lnTo>
                  <a:close/>
                </a:path>
              </a:pathLst>
            </a:custGeom>
            <a:gradFill flip="none" rotWithShape="1">
              <a:gsLst>
                <a:gs pos="0">
                  <a:schemeClr val="accent1">
                    <a:lumMod val="20000"/>
                    <a:lumOff val="80000"/>
                  </a:schemeClr>
                </a:gs>
                <a:gs pos="68000">
                  <a:schemeClr val="accent1"/>
                </a:gs>
                <a:gs pos="22000">
                  <a:schemeClr val="accent1">
                    <a:lumMod val="60000"/>
                    <a:lumOff val="40000"/>
                  </a:schemeClr>
                </a:gs>
              </a:gsLst>
              <a:lin ang="0" scaled="1"/>
              <a:tileRect/>
            </a:gradFill>
            <a:ln w="9525">
              <a:noFill/>
              <a:miter lim="800000"/>
            </a:ln>
            <a:effectLst>
              <a:outerShdw blurRad="571500" sx="102000" sy="102000" algn="ctr" rotWithShape="0">
                <a:schemeClr val="accent1">
                  <a:lumMod val="75000"/>
                  <a:alpha val="19000"/>
                </a:schemeClr>
              </a:outerShdw>
            </a:effectLst>
            <a:scene3d>
              <a:camera prst="orthographicFront"/>
              <a:lightRig rig="contrasting" dir="t"/>
            </a:scene3d>
          </p:spPr>
          <p:txBody>
            <a:bodyPr vert="horz" wrap="square" lIns="365760" tIns="45720" rIns="91440" bIns="36576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FFFFFF"/>
                </a:solidFill>
                <a:effectLst/>
                <a:uLnTx/>
                <a:uFillTx/>
                <a:latin typeface="HarmonyOS Sans SC"/>
                <a:cs typeface="+mn-cs"/>
              </a:endParaRPr>
            </a:p>
          </p:txBody>
        </p:sp>
        <p:sp>
          <p:nvSpPr>
            <p:cNvPr id="4" name="Freeform 8">
              <a:extLst>
                <a:ext uri="{FF2B5EF4-FFF2-40B4-BE49-F238E27FC236}">
                  <a16:creationId xmlns:a16="http://schemas.microsoft.com/office/drawing/2014/main" id="{F8ECF27B-FCDA-4B94-8E0F-BEC3AFD379D0}"/>
                </a:ext>
              </a:extLst>
            </p:cNvPr>
            <p:cNvSpPr>
              <a:spLocks/>
            </p:cNvSpPr>
            <p:nvPr/>
          </p:nvSpPr>
          <p:spPr bwMode="auto">
            <a:xfrm>
              <a:off x="7259127" y="4201444"/>
              <a:ext cx="3382699" cy="1792097"/>
            </a:xfrm>
            <a:custGeom>
              <a:avLst/>
              <a:gdLst>
                <a:gd name="T0" fmla="*/ 0 w 1270"/>
                <a:gd name="T1" fmla="*/ 0 h 673"/>
                <a:gd name="T2" fmla="*/ 22 w 1270"/>
                <a:gd name="T3" fmla="*/ 185 h 673"/>
                <a:gd name="T4" fmla="*/ 62 w 1270"/>
                <a:gd name="T5" fmla="*/ 136 h 673"/>
                <a:gd name="T6" fmla="*/ 73 w 1270"/>
                <a:gd name="T7" fmla="*/ 161 h 673"/>
                <a:gd name="T8" fmla="*/ 642 w 1270"/>
                <a:gd name="T9" fmla="*/ 398 h 673"/>
                <a:gd name="T10" fmla="*/ 964 w 1270"/>
                <a:gd name="T11" fmla="*/ 666 h 673"/>
                <a:gd name="T12" fmla="*/ 1263 w 1270"/>
                <a:gd name="T13" fmla="*/ 342 h 673"/>
                <a:gd name="T14" fmla="*/ 1025 w 1270"/>
                <a:gd name="T15" fmla="*/ 51 h 673"/>
                <a:gd name="T16" fmla="*/ 1025 w 1270"/>
                <a:gd name="T17" fmla="*/ 51 h 673"/>
                <a:gd name="T18" fmla="*/ 1000 w 1270"/>
                <a:gd name="T19" fmla="*/ 46 h 673"/>
                <a:gd name="T20" fmla="*/ 1000 w 1270"/>
                <a:gd name="T21" fmla="*/ 46 h 673"/>
                <a:gd name="T22" fmla="*/ 999 w 1270"/>
                <a:gd name="T23" fmla="*/ 46 h 673"/>
                <a:gd name="T24" fmla="*/ 750 w 1270"/>
                <a:gd name="T25" fmla="*/ 306 h 673"/>
                <a:gd name="T26" fmla="*/ 636 w 1270"/>
                <a:gd name="T27" fmla="*/ 351 h 673"/>
                <a:gd name="T28" fmla="*/ 72 w 1270"/>
                <a:gd name="T29" fmla="*/ 131 h 673"/>
                <a:gd name="T30" fmla="*/ 136 w 1270"/>
                <a:gd name="T31" fmla="*/ 127 h 673"/>
                <a:gd name="T32" fmla="*/ 0 w 1270"/>
                <a:gd name="T33" fmla="*/ 0 h 6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70" h="673">
                  <a:moveTo>
                    <a:pt x="0" y="0"/>
                  </a:moveTo>
                  <a:cubicBezTo>
                    <a:pt x="22" y="185"/>
                    <a:pt x="22" y="185"/>
                    <a:pt x="22" y="185"/>
                  </a:cubicBezTo>
                  <a:cubicBezTo>
                    <a:pt x="62" y="136"/>
                    <a:pt x="62" y="136"/>
                    <a:pt x="62" y="136"/>
                  </a:cubicBezTo>
                  <a:cubicBezTo>
                    <a:pt x="66" y="147"/>
                    <a:pt x="67" y="150"/>
                    <a:pt x="73" y="161"/>
                  </a:cubicBezTo>
                  <a:cubicBezTo>
                    <a:pt x="176" y="363"/>
                    <a:pt x="416" y="456"/>
                    <a:pt x="642" y="398"/>
                  </a:cubicBezTo>
                  <a:cubicBezTo>
                    <a:pt x="664" y="555"/>
                    <a:pt x="802" y="673"/>
                    <a:pt x="964" y="666"/>
                  </a:cubicBezTo>
                  <a:cubicBezTo>
                    <a:pt x="1136" y="659"/>
                    <a:pt x="1270" y="514"/>
                    <a:pt x="1263" y="342"/>
                  </a:cubicBezTo>
                  <a:cubicBezTo>
                    <a:pt x="1257" y="199"/>
                    <a:pt x="1156" y="83"/>
                    <a:pt x="1025" y="51"/>
                  </a:cubicBezTo>
                  <a:cubicBezTo>
                    <a:pt x="1025" y="51"/>
                    <a:pt x="1025" y="51"/>
                    <a:pt x="1025" y="51"/>
                  </a:cubicBezTo>
                  <a:cubicBezTo>
                    <a:pt x="1017" y="49"/>
                    <a:pt x="1008" y="47"/>
                    <a:pt x="1000" y="46"/>
                  </a:cubicBezTo>
                  <a:cubicBezTo>
                    <a:pt x="1000" y="46"/>
                    <a:pt x="1000" y="46"/>
                    <a:pt x="1000" y="46"/>
                  </a:cubicBezTo>
                  <a:cubicBezTo>
                    <a:pt x="1000" y="46"/>
                    <a:pt x="999" y="46"/>
                    <a:pt x="999" y="46"/>
                  </a:cubicBezTo>
                  <a:cubicBezTo>
                    <a:pt x="951" y="153"/>
                    <a:pt x="865" y="247"/>
                    <a:pt x="750" y="306"/>
                  </a:cubicBezTo>
                  <a:cubicBezTo>
                    <a:pt x="682" y="341"/>
                    <a:pt x="637" y="351"/>
                    <a:pt x="636" y="351"/>
                  </a:cubicBezTo>
                  <a:cubicBezTo>
                    <a:pt x="412" y="411"/>
                    <a:pt x="179" y="328"/>
                    <a:pt x="72" y="131"/>
                  </a:cubicBezTo>
                  <a:cubicBezTo>
                    <a:pt x="136" y="127"/>
                    <a:pt x="136" y="127"/>
                    <a:pt x="136" y="127"/>
                  </a:cubicBezTo>
                  <a:lnTo>
                    <a:pt x="0" y="0"/>
                  </a:lnTo>
                  <a:close/>
                </a:path>
              </a:pathLst>
            </a:custGeom>
            <a:gradFill flip="none" rotWithShape="1">
              <a:gsLst>
                <a:gs pos="0">
                  <a:schemeClr val="accent1">
                    <a:lumMod val="20000"/>
                    <a:lumOff val="80000"/>
                  </a:schemeClr>
                </a:gs>
                <a:gs pos="68000">
                  <a:schemeClr val="accent1"/>
                </a:gs>
                <a:gs pos="38000">
                  <a:schemeClr val="accent1">
                    <a:lumMod val="60000"/>
                    <a:lumOff val="40000"/>
                  </a:schemeClr>
                </a:gs>
              </a:gsLst>
              <a:lin ang="8100000" scaled="1"/>
              <a:tileRect/>
            </a:gradFill>
            <a:ln w="9525">
              <a:noFill/>
              <a:miter lim="800000"/>
            </a:ln>
            <a:effectLst>
              <a:outerShdw blurRad="571500" sx="102000" sy="102000" algn="ctr" rotWithShape="0">
                <a:schemeClr val="accent1">
                  <a:lumMod val="75000"/>
                  <a:alpha val="19000"/>
                </a:schemeClr>
              </a:outerShdw>
            </a:effectLst>
            <a:scene3d>
              <a:camera prst="orthographicFront"/>
              <a:lightRig rig="contrasting" dir="t"/>
            </a:scene3d>
          </p:spPr>
          <p:txBody>
            <a:bodyPr vert="horz" wrap="square" lIns="365760" tIns="45720" rIns="91440" bIns="36576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FFFFFF"/>
                </a:solidFill>
                <a:effectLst/>
                <a:uLnTx/>
                <a:uFillTx/>
                <a:latin typeface="HarmonyOS Sans SC"/>
                <a:cs typeface="+mn-cs"/>
              </a:endParaRPr>
            </a:p>
          </p:txBody>
        </p:sp>
        <p:sp>
          <p:nvSpPr>
            <p:cNvPr id="5" name="Freeform 9">
              <a:extLst>
                <a:ext uri="{FF2B5EF4-FFF2-40B4-BE49-F238E27FC236}">
                  <a16:creationId xmlns:a16="http://schemas.microsoft.com/office/drawing/2014/main" id="{26993C38-F466-4A09-8D06-3D6138AA3A5C}"/>
                </a:ext>
              </a:extLst>
            </p:cNvPr>
            <p:cNvSpPr>
              <a:spLocks/>
            </p:cNvSpPr>
            <p:nvPr/>
          </p:nvSpPr>
          <p:spPr bwMode="auto">
            <a:xfrm>
              <a:off x="6051550" y="2608593"/>
              <a:ext cx="1789849" cy="3384948"/>
            </a:xfrm>
            <a:custGeom>
              <a:avLst/>
              <a:gdLst>
                <a:gd name="T0" fmla="*/ 672 w 672"/>
                <a:gd name="T1" fmla="*/ 0 h 1271"/>
                <a:gd name="T2" fmla="*/ 487 w 672"/>
                <a:gd name="T3" fmla="*/ 23 h 1271"/>
                <a:gd name="T4" fmla="*/ 536 w 672"/>
                <a:gd name="T5" fmla="*/ 62 h 1271"/>
                <a:gd name="T6" fmla="*/ 511 w 672"/>
                <a:gd name="T7" fmla="*/ 73 h 1271"/>
                <a:gd name="T8" fmla="*/ 274 w 672"/>
                <a:gd name="T9" fmla="*/ 643 h 1271"/>
                <a:gd name="T10" fmla="*/ 6 w 672"/>
                <a:gd name="T11" fmla="*/ 965 h 1271"/>
                <a:gd name="T12" fmla="*/ 331 w 672"/>
                <a:gd name="T13" fmla="*/ 1264 h 1271"/>
                <a:gd name="T14" fmla="*/ 622 w 672"/>
                <a:gd name="T15" fmla="*/ 1025 h 1271"/>
                <a:gd name="T16" fmla="*/ 622 w 672"/>
                <a:gd name="T17" fmla="*/ 1025 h 1271"/>
                <a:gd name="T18" fmla="*/ 627 w 672"/>
                <a:gd name="T19" fmla="*/ 1000 h 1271"/>
                <a:gd name="T20" fmla="*/ 627 w 672"/>
                <a:gd name="T21" fmla="*/ 1000 h 1271"/>
                <a:gd name="T22" fmla="*/ 627 w 672"/>
                <a:gd name="T23" fmla="*/ 1000 h 1271"/>
                <a:gd name="T24" fmla="*/ 366 w 672"/>
                <a:gd name="T25" fmla="*/ 750 h 1271"/>
                <a:gd name="T26" fmla="*/ 321 w 672"/>
                <a:gd name="T27" fmla="*/ 637 h 1271"/>
                <a:gd name="T28" fmla="*/ 540 w 672"/>
                <a:gd name="T29" fmla="*/ 73 h 1271"/>
                <a:gd name="T30" fmla="*/ 545 w 672"/>
                <a:gd name="T31" fmla="*/ 137 h 1271"/>
                <a:gd name="T32" fmla="*/ 672 w 672"/>
                <a:gd name="T33" fmla="*/ 0 h 1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72" h="1271">
                  <a:moveTo>
                    <a:pt x="672" y="0"/>
                  </a:moveTo>
                  <a:cubicBezTo>
                    <a:pt x="487" y="23"/>
                    <a:pt x="487" y="23"/>
                    <a:pt x="487" y="23"/>
                  </a:cubicBezTo>
                  <a:cubicBezTo>
                    <a:pt x="536" y="62"/>
                    <a:pt x="536" y="62"/>
                    <a:pt x="536" y="62"/>
                  </a:cubicBezTo>
                  <a:cubicBezTo>
                    <a:pt x="525" y="67"/>
                    <a:pt x="522" y="68"/>
                    <a:pt x="511" y="73"/>
                  </a:cubicBezTo>
                  <a:cubicBezTo>
                    <a:pt x="309" y="177"/>
                    <a:pt x="216" y="417"/>
                    <a:pt x="274" y="643"/>
                  </a:cubicBezTo>
                  <a:cubicBezTo>
                    <a:pt x="117" y="665"/>
                    <a:pt x="0" y="803"/>
                    <a:pt x="6" y="965"/>
                  </a:cubicBezTo>
                  <a:cubicBezTo>
                    <a:pt x="14" y="1137"/>
                    <a:pt x="159" y="1271"/>
                    <a:pt x="331" y="1264"/>
                  </a:cubicBezTo>
                  <a:cubicBezTo>
                    <a:pt x="474" y="1258"/>
                    <a:pt x="590" y="1157"/>
                    <a:pt x="622" y="1025"/>
                  </a:cubicBezTo>
                  <a:cubicBezTo>
                    <a:pt x="622" y="1025"/>
                    <a:pt x="622" y="1025"/>
                    <a:pt x="622" y="1025"/>
                  </a:cubicBezTo>
                  <a:cubicBezTo>
                    <a:pt x="624" y="1017"/>
                    <a:pt x="625" y="1009"/>
                    <a:pt x="627" y="1000"/>
                  </a:cubicBezTo>
                  <a:cubicBezTo>
                    <a:pt x="627" y="1000"/>
                    <a:pt x="627" y="1000"/>
                    <a:pt x="627" y="1000"/>
                  </a:cubicBezTo>
                  <a:cubicBezTo>
                    <a:pt x="627" y="1000"/>
                    <a:pt x="627" y="1000"/>
                    <a:pt x="627" y="1000"/>
                  </a:cubicBezTo>
                  <a:cubicBezTo>
                    <a:pt x="520" y="952"/>
                    <a:pt x="426" y="866"/>
                    <a:pt x="366" y="750"/>
                  </a:cubicBezTo>
                  <a:cubicBezTo>
                    <a:pt x="331" y="683"/>
                    <a:pt x="322" y="638"/>
                    <a:pt x="321" y="637"/>
                  </a:cubicBezTo>
                  <a:cubicBezTo>
                    <a:pt x="261" y="413"/>
                    <a:pt x="344" y="180"/>
                    <a:pt x="540" y="73"/>
                  </a:cubicBezTo>
                  <a:cubicBezTo>
                    <a:pt x="545" y="137"/>
                    <a:pt x="545" y="137"/>
                    <a:pt x="545" y="137"/>
                  </a:cubicBezTo>
                  <a:lnTo>
                    <a:pt x="672" y="0"/>
                  </a:lnTo>
                  <a:close/>
                </a:path>
              </a:pathLst>
            </a:custGeom>
            <a:gradFill flip="none" rotWithShape="1">
              <a:gsLst>
                <a:gs pos="100000">
                  <a:schemeClr val="accent1">
                    <a:lumMod val="20000"/>
                    <a:lumOff val="80000"/>
                  </a:schemeClr>
                </a:gs>
                <a:gs pos="32000">
                  <a:schemeClr val="accent1"/>
                </a:gs>
                <a:gs pos="72000">
                  <a:schemeClr val="accent1">
                    <a:lumMod val="60000"/>
                    <a:lumOff val="40000"/>
                  </a:schemeClr>
                </a:gs>
              </a:gsLst>
              <a:lin ang="2700000" scaled="1"/>
              <a:tileRect/>
            </a:gradFill>
            <a:ln w="9525">
              <a:noFill/>
              <a:miter lim="800000"/>
            </a:ln>
            <a:effectLst>
              <a:outerShdw blurRad="571500" sx="102000" sy="102000" algn="ctr" rotWithShape="0">
                <a:schemeClr val="accent1">
                  <a:lumMod val="75000"/>
                  <a:alpha val="19000"/>
                </a:schemeClr>
              </a:outerShdw>
            </a:effectLst>
            <a:scene3d>
              <a:camera prst="orthographicFront"/>
              <a:lightRig rig="contrasting" dir="t"/>
            </a:scene3d>
          </p:spPr>
          <p:txBody>
            <a:bodyPr vert="horz" wrap="square" lIns="91440" tIns="45720" rIns="274320" bIns="365760" numCol="1" anchor="b"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FFFFFF"/>
                </a:solidFill>
                <a:effectLst/>
                <a:uLnTx/>
                <a:uFillTx/>
                <a:latin typeface="HarmonyOS Sans SC"/>
                <a:cs typeface="+mn-cs"/>
              </a:endParaRPr>
            </a:p>
          </p:txBody>
        </p:sp>
        <p:sp>
          <p:nvSpPr>
            <p:cNvPr id="6" name="Oval 7">
              <a:extLst>
                <a:ext uri="{FF2B5EF4-FFF2-40B4-BE49-F238E27FC236}">
                  <a16:creationId xmlns:a16="http://schemas.microsoft.com/office/drawing/2014/main" id="{CABDFCBA-5CA1-48F7-A483-7382B5943328}"/>
                </a:ext>
              </a:extLst>
            </p:cNvPr>
            <p:cNvSpPr/>
            <p:nvPr/>
          </p:nvSpPr>
          <p:spPr>
            <a:xfrm>
              <a:off x="6550082" y="4969511"/>
              <a:ext cx="500794" cy="500790"/>
            </a:xfrm>
            <a:prstGeom prst="ellipse">
              <a:avLst/>
            </a:prstGeom>
            <a:noFill/>
            <a:ln>
              <a:noFill/>
            </a:ln>
            <a:effectLst>
              <a:outerShdw blurRad="444500" dist="317500" dir="5400000" sx="92000" sy="92000" algn="t" rotWithShape="0">
                <a:schemeClr val="accent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HarmonyOS Sans SC Black"/>
                  <a:ea typeface="+mj-ea"/>
                  <a:cs typeface="+mn-cs"/>
                </a:rPr>
                <a:t>03</a:t>
              </a:r>
            </a:p>
          </p:txBody>
        </p:sp>
        <p:sp>
          <p:nvSpPr>
            <p:cNvPr id="7" name="Oval 8">
              <a:extLst>
                <a:ext uri="{FF2B5EF4-FFF2-40B4-BE49-F238E27FC236}">
                  <a16:creationId xmlns:a16="http://schemas.microsoft.com/office/drawing/2014/main" id="{234B4DCE-6F97-47CD-A595-D6AEB5E09D26}"/>
                </a:ext>
              </a:extLst>
            </p:cNvPr>
            <p:cNvSpPr/>
            <p:nvPr/>
          </p:nvSpPr>
          <p:spPr>
            <a:xfrm>
              <a:off x="9645758" y="4969511"/>
              <a:ext cx="500794" cy="500790"/>
            </a:xfrm>
            <a:prstGeom prst="ellipse">
              <a:avLst/>
            </a:prstGeom>
            <a:noFill/>
            <a:ln>
              <a:noFill/>
            </a:ln>
            <a:effectLst>
              <a:outerShdw blurRad="444500" dist="317500" dir="5400000" sx="92000" sy="92000" algn="t" rotWithShape="0">
                <a:schemeClr val="accent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HarmonyOS Sans SC Black"/>
                  <a:ea typeface="+mj-ea"/>
                  <a:cs typeface="+mn-cs"/>
                </a:rPr>
                <a:t>02</a:t>
              </a:r>
            </a:p>
          </p:txBody>
        </p:sp>
        <p:sp>
          <p:nvSpPr>
            <p:cNvPr id="8" name="Oval 9">
              <a:extLst>
                <a:ext uri="{FF2B5EF4-FFF2-40B4-BE49-F238E27FC236}">
                  <a16:creationId xmlns:a16="http://schemas.microsoft.com/office/drawing/2014/main" id="{51F9CAEC-6487-4446-9D25-87B364E4C913}"/>
                </a:ext>
              </a:extLst>
            </p:cNvPr>
            <p:cNvSpPr/>
            <p:nvPr/>
          </p:nvSpPr>
          <p:spPr>
            <a:xfrm>
              <a:off x="6550082" y="1842382"/>
              <a:ext cx="500794" cy="500790"/>
            </a:xfrm>
            <a:prstGeom prst="ellipse">
              <a:avLst/>
            </a:prstGeom>
            <a:noFill/>
            <a:ln>
              <a:noFill/>
            </a:ln>
            <a:effectLst>
              <a:outerShdw blurRad="444500" dist="317500" dir="5400000" sx="92000" sy="92000" algn="t" rotWithShape="0">
                <a:schemeClr val="accent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HarmonyOS Sans SC Black"/>
                  <a:ea typeface="+mj-ea"/>
                  <a:cs typeface="+mn-cs"/>
                </a:rPr>
                <a:t>04</a:t>
              </a:r>
            </a:p>
          </p:txBody>
        </p:sp>
        <p:sp>
          <p:nvSpPr>
            <p:cNvPr id="9" name="Freeform 7">
              <a:extLst>
                <a:ext uri="{FF2B5EF4-FFF2-40B4-BE49-F238E27FC236}">
                  <a16:creationId xmlns:a16="http://schemas.microsoft.com/office/drawing/2014/main" id="{15EA4C12-F26A-4048-9C0D-41A16E2974D7}"/>
                </a:ext>
              </a:extLst>
            </p:cNvPr>
            <p:cNvSpPr>
              <a:spLocks/>
            </p:cNvSpPr>
            <p:nvPr/>
          </p:nvSpPr>
          <p:spPr bwMode="auto">
            <a:xfrm>
              <a:off x="8764175" y="1370728"/>
              <a:ext cx="1877651" cy="3326411"/>
            </a:xfrm>
            <a:custGeom>
              <a:avLst/>
              <a:gdLst>
                <a:gd name="T0" fmla="*/ 0 w 705"/>
                <a:gd name="T1" fmla="*/ 1249 h 1249"/>
                <a:gd name="T2" fmla="*/ 186 w 705"/>
                <a:gd name="T3" fmla="*/ 1234 h 1249"/>
                <a:gd name="T4" fmla="*/ 139 w 705"/>
                <a:gd name="T5" fmla="*/ 1192 h 1249"/>
                <a:gd name="T6" fmla="*/ 164 w 705"/>
                <a:gd name="T7" fmla="*/ 1182 h 1249"/>
                <a:gd name="T8" fmla="*/ 424 w 705"/>
                <a:gd name="T9" fmla="*/ 623 h 1249"/>
                <a:gd name="T10" fmla="*/ 705 w 705"/>
                <a:gd name="T11" fmla="*/ 312 h 1249"/>
                <a:gd name="T12" fmla="*/ 393 w 705"/>
                <a:gd name="T13" fmla="*/ 0 h 1249"/>
                <a:gd name="T14" fmla="*/ 93 w 705"/>
                <a:gd name="T15" fmla="*/ 227 h 1249"/>
                <a:gd name="T16" fmla="*/ 93 w 705"/>
                <a:gd name="T17" fmla="*/ 227 h 1249"/>
                <a:gd name="T18" fmla="*/ 87 w 705"/>
                <a:gd name="T19" fmla="*/ 251 h 1249"/>
                <a:gd name="T20" fmla="*/ 87 w 705"/>
                <a:gd name="T21" fmla="*/ 251 h 1249"/>
                <a:gd name="T22" fmla="*/ 87 w 705"/>
                <a:gd name="T23" fmla="*/ 252 h 1249"/>
                <a:gd name="T24" fmla="*/ 337 w 705"/>
                <a:gd name="T25" fmla="*/ 512 h 1249"/>
                <a:gd name="T26" fmla="*/ 377 w 705"/>
                <a:gd name="T27" fmla="*/ 627 h 1249"/>
                <a:gd name="T28" fmla="*/ 135 w 705"/>
                <a:gd name="T29" fmla="*/ 1182 h 1249"/>
                <a:gd name="T30" fmla="*/ 133 w 705"/>
                <a:gd name="T31" fmla="*/ 1118 h 1249"/>
                <a:gd name="T32" fmla="*/ 0 w 705"/>
                <a:gd name="T33" fmla="*/ 1249 h 1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05" h="1249">
                  <a:moveTo>
                    <a:pt x="0" y="1249"/>
                  </a:moveTo>
                  <a:cubicBezTo>
                    <a:pt x="186" y="1234"/>
                    <a:pt x="186" y="1234"/>
                    <a:pt x="186" y="1234"/>
                  </a:cubicBezTo>
                  <a:cubicBezTo>
                    <a:pt x="139" y="1192"/>
                    <a:pt x="139" y="1192"/>
                    <a:pt x="139" y="1192"/>
                  </a:cubicBezTo>
                  <a:cubicBezTo>
                    <a:pt x="150" y="1188"/>
                    <a:pt x="153" y="1187"/>
                    <a:pt x="164" y="1182"/>
                  </a:cubicBezTo>
                  <a:cubicBezTo>
                    <a:pt x="370" y="1087"/>
                    <a:pt x="473" y="851"/>
                    <a:pt x="424" y="623"/>
                  </a:cubicBezTo>
                  <a:cubicBezTo>
                    <a:pt x="582" y="608"/>
                    <a:pt x="705" y="474"/>
                    <a:pt x="705" y="312"/>
                  </a:cubicBezTo>
                  <a:cubicBezTo>
                    <a:pt x="705" y="140"/>
                    <a:pt x="565" y="0"/>
                    <a:pt x="393" y="0"/>
                  </a:cubicBezTo>
                  <a:cubicBezTo>
                    <a:pt x="250" y="1"/>
                    <a:pt x="130" y="96"/>
                    <a:pt x="93" y="227"/>
                  </a:cubicBezTo>
                  <a:cubicBezTo>
                    <a:pt x="93" y="227"/>
                    <a:pt x="93" y="227"/>
                    <a:pt x="93" y="227"/>
                  </a:cubicBezTo>
                  <a:cubicBezTo>
                    <a:pt x="90" y="235"/>
                    <a:pt x="88" y="243"/>
                    <a:pt x="87" y="251"/>
                  </a:cubicBezTo>
                  <a:cubicBezTo>
                    <a:pt x="87" y="251"/>
                    <a:pt x="87" y="251"/>
                    <a:pt x="87" y="251"/>
                  </a:cubicBezTo>
                  <a:cubicBezTo>
                    <a:pt x="87" y="252"/>
                    <a:pt x="87" y="252"/>
                    <a:pt x="87" y="252"/>
                  </a:cubicBezTo>
                  <a:cubicBezTo>
                    <a:pt x="192" y="304"/>
                    <a:pt x="282" y="394"/>
                    <a:pt x="337" y="512"/>
                  </a:cubicBezTo>
                  <a:cubicBezTo>
                    <a:pt x="369" y="580"/>
                    <a:pt x="377" y="626"/>
                    <a:pt x="377" y="627"/>
                  </a:cubicBezTo>
                  <a:cubicBezTo>
                    <a:pt x="428" y="854"/>
                    <a:pt x="336" y="1083"/>
                    <a:pt x="135" y="1182"/>
                  </a:cubicBezTo>
                  <a:cubicBezTo>
                    <a:pt x="133" y="1118"/>
                    <a:pt x="133" y="1118"/>
                    <a:pt x="133" y="1118"/>
                  </a:cubicBezTo>
                  <a:lnTo>
                    <a:pt x="0" y="1249"/>
                  </a:lnTo>
                  <a:close/>
                </a:path>
              </a:pathLst>
            </a:custGeom>
            <a:gradFill flip="none" rotWithShape="1">
              <a:gsLst>
                <a:gs pos="0">
                  <a:schemeClr val="accent1">
                    <a:lumMod val="20000"/>
                    <a:lumOff val="80000"/>
                  </a:schemeClr>
                </a:gs>
                <a:gs pos="68000">
                  <a:schemeClr val="accent1"/>
                </a:gs>
                <a:gs pos="33000">
                  <a:schemeClr val="accent1">
                    <a:lumMod val="60000"/>
                    <a:lumOff val="40000"/>
                  </a:schemeClr>
                </a:gs>
              </a:gsLst>
              <a:lin ang="2700000" scaled="1"/>
              <a:tileRect/>
            </a:gradFill>
            <a:ln w="9525">
              <a:noFill/>
              <a:miter lim="800000"/>
            </a:ln>
            <a:effectLst>
              <a:outerShdw blurRad="571500" sx="102000" sy="102000" algn="ctr" rotWithShape="0">
                <a:schemeClr val="accent1">
                  <a:lumMod val="75000"/>
                  <a:alpha val="19000"/>
                </a:schemeClr>
              </a:outerShdw>
            </a:effectLst>
            <a:scene3d>
              <a:camera prst="orthographicFront"/>
              <a:lightRig rig="contrasting" dir="t"/>
            </a:scene3d>
          </p:spPr>
          <p:txBody>
            <a:bodyPr vert="horz" wrap="square" lIns="365760" tIns="45720" rIns="91440" bIns="36576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FFFFFF"/>
                </a:solidFill>
                <a:effectLst/>
                <a:uLnTx/>
                <a:uFillTx/>
                <a:latin typeface="HarmonyOS Sans SC"/>
                <a:cs typeface="+mn-cs"/>
              </a:endParaRPr>
            </a:p>
          </p:txBody>
        </p:sp>
        <p:sp>
          <p:nvSpPr>
            <p:cNvPr id="10" name="Oval 10">
              <a:extLst>
                <a:ext uri="{FF2B5EF4-FFF2-40B4-BE49-F238E27FC236}">
                  <a16:creationId xmlns:a16="http://schemas.microsoft.com/office/drawing/2014/main" id="{ADBE23C5-1351-4CCF-9D6F-FE2A5660C871}"/>
                </a:ext>
              </a:extLst>
            </p:cNvPr>
            <p:cNvSpPr/>
            <p:nvPr/>
          </p:nvSpPr>
          <p:spPr>
            <a:xfrm>
              <a:off x="9645758" y="1842382"/>
              <a:ext cx="500794" cy="500790"/>
            </a:xfrm>
            <a:prstGeom prst="ellipse">
              <a:avLst/>
            </a:prstGeom>
            <a:noFill/>
            <a:ln>
              <a:noFill/>
            </a:ln>
            <a:effectLst>
              <a:outerShdw blurRad="444500" dist="317500" dir="5400000" sx="92000" sy="92000" algn="t" rotWithShape="0">
                <a:schemeClr val="accent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HarmonyOS Sans SC Black"/>
                  <a:ea typeface="+mj-ea"/>
                  <a:cs typeface="+mn-cs"/>
                </a:rPr>
                <a:t>01</a:t>
              </a:r>
            </a:p>
          </p:txBody>
        </p:sp>
      </p:grpSp>
      <p:cxnSp>
        <p:nvCxnSpPr>
          <p:cNvPr id="14" name="Straight Connector 31">
            <a:extLst>
              <a:ext uri="{FF2B5EF4-FFF2-40B4-BE49-F238E27FC236}">
                <a16:creationId xmlns:a16="http://schemas.microsoft.com/office/drawing/2014/main" id="{5D9535C4-BC0E-44FC-AD9F-53EC47011714}"/>
              </a:ext>
            </a:extLst>
          </p:cNvPr>
          <p:cNvCxnSpPr>
            <a:cxnSpLocks/>
          </p:cNvCxnSpPr>
          <p:nvPr/>
        </p:nvCxnSpPr>
        <p:spPr>
          <a:xfrm>
            <a:off x="1092179" y="2065750"/>
            <a:ext cx="0" cy="203479"/>
          </a:xfrm>
          <a:prstGeom prst="line">
            <a:avLst/>
          </a:prstGeom>
          <a:ln w="50800">
            <a:solidFill>
              <a:schemeClr val="accent1"/>
            </a:solidFill>
          </a:ln>
        </p:spPr>
        <p:style>
          <a:lnRef idx="1">
            <a:schemeClr val="accent1"/>
          </a:lnRef>
          <a:fillRef idx="0">
            <a:schemeClr val="accent1"/>
          </a:fillRef>
          <a:effectRef idx="0">
            <a:schemeClr val="accent1"/>
          </a:effectRef>
          <a:fontRef idx="minor">
            <a:schemeClr val="tx1"/>
          </a:fontRef>
        </p:style>
      </p:cxnSp>
      <p:sp>
        <p:nvSpPr>
          <p:cNvPr id="30" name="TextBox 28">
            <a:extLst>
              <a:ext uri="{FF2B5EF4-FFF2-40B4-BE49-F238E27FC236}">
                <a16:creationId xmlns:a16="http://schemas.microsoft.com/office/drawing/2014/main" id="{FF3538A4-D02C-42D0-A2AA-00E092E19F7C}"/>
              </a:ext>
            </a:extLst>
          </p:cNvPr>
          <p:cNvSpPr txBox="1"/>
          <p:nvPr/>
        </p:nvSpPr>
        <p:spPr>
          <a:xfrm>
            <a:off x="1333657" y="1972734"/>
            <a:ext cx="2738615" cy="272895"/>
          </a:xfrm>
          <a:prstGeom prst="rect">
            <a:avLst/>
          </a:prstGeom>
          <a:noFill/>
        </p:spPr>
        <p:txBody>
          <a:bodyPr wrap="square" lIns="0" tIns="0" rIns="0" bIns="0" rtlCol="0">
            <a:spAutoFit/>
          </a:bodyPr>
          <a:lstStyle/>
          <a:p>
            <a:pPr marL="0" marR="0" lvl="0" indent="0" algn="l" defTabSz="914400" rtl="0" eaLnBrk="1" fontAlgn="auto" latinLnBrk="0" hangingPunct="1">
              <a:lnSpc>
                <a:spcPct val="120000"/>
              </a:lnSpc>
              <a:spcBef>
                <a:spcPts val="120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HarmonyOS Sans SC Black"/>
                <a:ea typeface="+mj-ea"/>
                <a:cs typeface="+mn-cs"/>
              </a:rPr>
              <a:t>01</a:t>
            </a:r>
            <a:r>
              <a:rPr kumimoji="0" lang="en-US" sz="1600" b="0" i="0" u="none" strike="noStrike" kern="1200" cap="none" spc="0" normalizeH="0" baseline="0" noProof="0">
                <a:ln>
                  <a:noFill/>
                </a:ln>
                <a:solidFill>
                  <a:prstClr val="black"/>
                </a:solidFill>
                <a:effectLst/>
                <a:uLnTx/>
                <a:uFillTx/>
                <a:latin typeface="HarmonyOS Sans SC Black"/>
                <a:ea typeface="+mj-ea"/>
                <a:cs typeface="+mn-cs"/>
              </a:rPr>
              <a:t>. Think</a:t>
            </a:r>
            <a:endParaRPr kumimoji="0" lang="en-US" sz="1100" b="0" i="0" u="none" strike="noStrike" kern="1200" cap="none" spc="0" normalizeH="0" baseline="0" noProof="0" dirty="0">
              <a:ln>
                <a:noFill/>
              </a:ln>
              <a:solidFill>
                <a:prstClr val="black"/>
              </a:solidFill>
              <a:effectLst/>
              <a:uLnTx/>
              <a:uFillTx/>
              <a:latin typeface="HarmonyOS Sans SC Black"/>
              <a:ea typeface="+mj-ea"/>
              <a:cs typeface="+mn-cs"/>
            </a:endParaRPr>
          </a:p>
        </p:txBody>
      </p:sp>
      <p:sp>
        <p:nvSpPr>
          <p:cNvPr id="31" name="TextBox 28">
            <a:extLst>
              <a:ext uri="{FF2B5EF4-FFF2-40B4-BE49-F238E27FC236}">
                <a16:creationId xmlns:a16="http://schemas.microsoft.com/office/drawing/2014/main" id="{8A23ECAC-892E-433A-855F-A1322EF0B6A5}"/>
              </a:ext>
            </a:extLst>
          </p:cNvPr>
          <p:cNvSpPr txBox="1"/>
          <p:nvPr/>
        </p:nvSpPr>
        <p:spPr>
          <a:xfrm>
            <a:off x="1333657" y="2253227"/>
            <a:ext cx="4435376" cy="169918"/>
          </a:xfrm>
          <a:prstGeom prst="rect">
            <a:avLst/>
          </a:prstGeom>
          <a:noFill/>
        </p:spPr>
        <p:txBody>
          <a:bodyPr wrap="square" lIns="0" tIns="0" rIns="0" bIns="0" rtlCol="0">
            <a:spAutoFit/>
          </a:bodyPr>
          <a:lstStyle/>
          <a:p>
            <a:pPr marL="0" marR="0" lvl="0" indent="0" algn="l" defTabSz="914400" rtl="0" eaLnBrk="1" fontAlgn="auto" latinLnBrk="0" hangingPunct="1">
              <a:lnSpc>
                <a:spcPct val="120000"/>
              </a:lnSpc>
              <a:spcBef>
                <a:spcPts val="120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HarmonyOS Sans SC"/>
                <a:cs typeface="+mn-cs"/>
              </a:rPr>
              <a:t>The first people you’ll meet are our experts in business, UX and technology. </a:t>
            </a:r>
          </a:p>
        </p:txBody>
      </p:sp>
      <p:cxnSp>
        <p:nvCxnSpPr>
          <p:cNvPr id="15" name="Straight Connector 32">
            <a:extLst>
              <a:ext uri="{FF2B5EF4-FFF2-40B4-BE49-F238E27FC236}">
                <a16:creationId xmlns:a16="http://schemas.microsoft.com/office/drawing/2014/main" id="{BB4A810E-98CA-460F-AC5F-6BD41F598BEB}"/>
              </a:ext>
            </a:extLst>
          </p:cNvPr>
          <p:cNvCxnSpPr>
            <a:cxnSpLocks/>
          </p:cNvCxnSpPr>
          <p:nvPr/>
        </p:nvCxnSpPr>
        <p:spPr>
          <a:xfrm>
            <a:off x="1092179" y="3132388"/>
            <a:ext cx="0" cy="203479"/>
          </a:xfrm>
          <a:prstGeom prst="line">
            <a:avLst/>
          </a:prstGeom>
          <a:ln w="50800">
            <a:solidFill>
              <a:schemeClr val="accent1"/>
            </a:solidFill>
          </a:ln>
        </p:spPr>
        <p:style>
          <a:lnRef idx="1">
            <a:schemeClr val="accent1"/>
          </a:lnRef>
          <a:fillRef idx="0">
            <a:schemeClr val="accent1"/>
          </a:fillRef>
          <a:effectRef idx="0">
            <a:schemeClr val="accent1"/>
          </a:effectRef>
          <a:fontRef idx="minor">
            <a:schemeClr val="tx1"/>
          </a:fontRef>
        </p:style>
      </p:cxnSp>
      <p:sp>
        <p:nvSpPr>
          <p:cNvPr id="32" name="TextBox 29">
            <a:extLst>
              <a:ext uri="{FF2B5EF4-FFF2-40B4-BE49-F238E27FC236}">
                <a16:creationId xmlns:a16="http://schemas.microsoft.com/office/drawing/2014/main" id="{AC1F504F-3B1B-4AAB-9A47-689742FA0B6F}"/>
              </a:ext>
            </a:extLst>
          </p:cNvPr>
          <p:cNvSpPr txBox="1"/>
          <p:nvPr/>
        </p:nvSpPr>
        <p:spPr>
          <a:xfrm>
            <a:off x="1333657" y="3055797"/>
            <a:ext cx="2738615" cy="272895"/>
          </a:xfrm>
          <a:prstGeom prst="rect">
            <a:avLst/>
          </a:prstGeom>
          <a:noFill/>
        </p:spPr>
        <p:txBody>
          <a:bodyPr wrap="square" lIns="0" tIns="0" rIns="0" bIns="0" rtlCol="0">
            <a:spAutoFit/>
          </a:bodyPr>
          <a:lstStyle/>
          <a:p>
            <a:pPr marL="0" marR="0" lvl="0" indent="0" algn="l" defTabSz="914400" rtl="0" eaLnBrk="1" fontAlgn="auto" latinLnBrk="0" hangingPunct="1">
              <a:lnSpc>
                <a:spcPct val="120000"/>
              </a:lnSpc>
              <a:spcBef>
                <a:spcPts val="120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HarmonyOS Sans SC Black"/>
                <a:ea typeface="+mj-ea"/>
                <a:cs typeface="+mn-cs"/>
              </a:rPr>
              <a:t>02</a:t>
            </a:r>
            <a:r>
              <a:rPr kumimoji="0" lang="en-US" sz="1600" b="0" i="0" u="none" strike="noStrike" kern="1200" cap="none" spc="0" normalizeH="0" baseline="0" noProof="0">
                <a:ln>
                  <a:noFill/>
                </a:ln>
                <a:solidFill>
                  <a:prstClr val="black"/>
                </a:solidFill>
                <a:effectLst/>
                <a:uLnTx/>
                <a:uFillTx/>
                <a:latin typeface="HarmonyOS Sans SC Black"/>
                <a:ea typeface="+mj-ea"/>
                <a:cs typeface="+mn-cs"/>
              </a:rPr>
              <a:t>. Make</a:t>
            </a:r>
            <a:endParaRPr kumimoji="0" lang="en-US" sz="1100" b="0" i="0" u="none" strike="noStrike" kern="1200" cap="none" spc="0" normalizeH="0" baseline="0" noProof="0" dirty="0">
              <a:ln>
                <a:noFill/>
              </a:ln>
              <a:solidFill>
                <a:prstClr val="black"/>
              </a:solidFill>
              <a:effectLst/>
              <a:uLnTx/>
              <a:uFillTx/>
              <a:latin typeface="HarmonyOS Sans SC Black"/>
              <a:ea typeface="+mj-ea"/>
              <a:cs typeface="+mn-cs"/>
            </a:endParaRPr>
          </a:p>
        </p:txBody>
      </p:sp>
      <p:sp>
        <p:nvSpPr>
          <p:cNvPr id="33" name="TextBox 29">
            <a:extLst>
              <a:ext uri="{FF2B5EF4-FFF2-40B4-BE49-F238E27FC236}">
                <a16:creationId xmlns:a16="http://schemas.microsoft.com/office/drawing/2014/main" id="{B17FDA9E-8333-4160-BF45-043006956064}"/>
              </a:ext>
            </a:extLst>
          </p:cNvPr>
          <p:cNvSpPr txBox="1"/>
          <p:nvPr/>
        </p:nvSpPr>
        <p:spPr>
          <a:xfrm>
            <a:off x="1333657" y="3336290"/>
            <a:ext cx="4435376" cy="169918"/>
          </a:xfrm>
          <a:prstGeom prst="rect">
            <a:avLst/>
          </a:prstGeom>
          <a:noFill/>
        </p:spPr>
        <p:txBody>
          <a:bodyPr wrap="square" lIns="0" tIns="0" rIns="0" bIns="0" rtlCol="0">
            <a:spAutoFit/>
          </a:bodyPr>
          <a:lstStyle/>
          <a:p>
            <a:pPr marL="0" marR="0" lvl="0" indent="0" algn="l" defTabSz="914400" rtl="0" eaLnBrk="1" fontAlgn="auto" latinLnBrk="0" hangingPunct="1">
              <a:lnSpc>
                <a:spcPct val="120000"/>
              </a:lnSpc>
              <a:spcBef>
                <a:spcPts val="120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HarmonyOS Sans SC"/>
                <a:cs typeface="+mn-cs"/>
              </a:rPr>
              <a:t>The first people you’ll meet are our experts in business, UX and technology. </a:t>
            </a:r>
          </a:p>
        </p:txBody>
      </p:sp>
      <p:cxnSp>
        <p:nvCxnSpPr>
          <p:cNvPr id="16" name="Straight Connector 33">
            <a:extLst>
              <a:ext uri="{FF2B5EF4-FFF2-40B4-BE49-F238E27FC236}">
                <a16:creationId xmlns:a16="http://schemas.microsoft.com/office/drawing/2014/main" id="{5CAD2BE4-948D-4EBD-B9AB-404BAF792BDA}"/>
              </a:ext>
            </a:extLst>
          </p:cNvPr>
          <p:cNvCxnSpPr>
            <a:cxnSpLocks/>
          </p:cNvCxnSpPr>
          <p:nvPr/>
        </p:nvCxnSpPr>
        <p:spPr>
          <a:xfrm>
            <a:off x="1092179" y="4215451"/>
            <a:ext cx="0" cy="203479"/>
          </a:xfrm>
          <a:prstGeom prst="line">
            <a:avLst/>
          </a:prstGeom>
          <a:ln w="50800">
            <a:solidFill>
              <a:schemeClr val="accent1"/>
            </a:solidFill>
          </a:ln>
        </p:spPr>
        <p:style>
          <a:lnRef idx="1">
            <a:schemeClr val="accent1"/>
          </a:lnRef>
          <a:fillRef idx="0">
            <a:schemeClr val="accent1"/>
          </a:fillRef>
          <a:effectRef idx="0">
            <a:schemeClr val="accent1"/>
          </a:effectRef>
          <a:fontRef idx="minor">
            <a:schemeClr val="tx1"/>
          </a:fontRef>
        </p:style>
      </p:cxnSp>
      <p:sp>
        <p:nvSpPr>
          <p:cNvPr id="34" name="TextBox 30">
            <a:extLst>
              <a:ext uri="{FF2B5EF4-FFF2-40B4-BE49-F238E27FC236}">
                <a16:creationId xmlns:a16="http://schemas.microsoft.com/office/drawing/2014/main" id="{19D2E290-F8EE-4ECE-84C3-251F9B376967}"/>
              </a:ext>
            </a:extLst>
          </p:cNvPr>
          <p:cNvSpPr txBox="1"/>
          <p:nvPr/>
        </p:nvSpPr>
        <p:spPr>
          <a:xfrm>
            <a:off x="1333657" y="4138860"/>
            <a:ext cx="2336562" cy="272895"/>
          </a:xfrm>
          <a:prstGeom prst="rect">
            <a:avLst/>
          </a:prstGeom>
          <a:noFill/>
        </p:spPr>
        <p:txBody>
          <a:bodyPr wrap="square" lIns="0" tIns="0" rIns="0" bIns="0" rtlCol="0">
            <a:spAutoFit/>
          </a:bodyPr>
          <a:lstStyle/>
          <a:p>
            <a:pPr marL="0" marR="0" lvl="0" indent="0" algn="l" defTabSz="914400" rtl="0" eaLnBrk="1" fontAlgn="auto" latinLnBrk="0" hangingPunct="1">
              <a:lnSpc>
                <a:spcPct val="120000"/>
              </a:lnSpc>
              <a:spcBef>
                <a:spcPts val="120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HarmonyOS Sans SC Black"/>
                <a:ea typeface="+mj-ea"/>
                <a:cs typeface="+mn-cs"/>
              </a:rPr>
              <a:t>03</a:t>
            </a:r>
            <a:r>
              <a:rPr kumimoji="0" lang="en-US" sz="1600" b="0" i="0" u="none" strike="noStrike" kern="1200" cap="none" spc="0" normalizeH="0" baseline="0" noProof="0">
                <a:ln>
                  <a:noFill/>
                </a:ln>
                <a:solidFill>
                  <a:prstClr val="black"/>
                </a:solidFill>
                <a:effectLst/>
                <a:uLnTx/>
                <a:uFillTx/>
                <a:latin typeface="HarmonyOS Sans SC Black"/>
                <a:ea typeface="+mj-ea"/>
                <a:cs typeface="+mn-cs"/>
              </a:rPr>
              <a:t>. Check</a:t>
            </a:r>
            <a:endParaRPr kumimoji="0" lang="en-US" sz="1100" b="0" i="0" u="none" strike="noStrike" kern="1200" cap="none" spc="0" normalizeH="0" baseline="0" noProof="0" dirty="0">
              <a:ln>
                <a:noFill/>
              </a:ln>
              <a:solidFill>
                <a:prstClr val="black"/>
              </a:solidFill>
              <a:effectLst/>
              <a:uLnTx/>
              <a:uFillTx/>
              <a:latin typeface="HarmonyOS Sans SC Black"/>
              <a:ea typeface="+mj-ea"/>
              <a:cs typeface="+mn-cs"/>
            </a:endParaRPr>
          </a:p>
        </p:txBody>
      </p:sp>
      <p:sp>
        <p:nvSpPr>
          <p:cNvPr id="35" name="TextBox 30">
            <a:extLst>
              <a:ext uri="{FF2B5EF4-FFF2-40B4-BE49-F238E27FC236}">
                <a16:creationId xmlns:a16="http://schemas.microsoft.com/office/drawing/2014/main" id="{A33AA4BD-0E6F-4EC1-8A2F-797989F5AD4A}"/>
              </a:ext>
            </a:extLst>
          </p:cNvPr>
          <p:cNvSpPr txBox="1"/>
          <p:nvPr/>
        </p:nvSpPr>
        <p:spPr>
          <a:xfrm>
            <a:off x="1333656" y="4419353"/>
            <a:ext cx="4651508" cy="169918"/>
          </a:xfrm>
          <a:prstGeom prst="rect">
            <a:avLst/>
          </a:prstGeom>
          <a:noFill/>
        </p:spPr>
        <p:txBody>
          <a:bodyPr wrap="square" lIns="0" tIns="0" rIns="0" bIns="0" rtlCol="0">
            <a:spAutoFit/>
          </a:bodyPr>
          <a:lstStyle/>
          <a:p>
            <a:pPr marL="0" marR="0" lvl="0" indent="0" algn="l" defTabSz="914400" rtl="0" eaLnBrk="1" fontAlgn="auto" latinLnBrk="0" hangingPunct="1">
              <a:lnSpc>
                <a:spcPct val="120000"/>
              </a:lnSpc>
              <a:spcBef>
                <a:spcPts val="120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HarmonyOS Sans SC"/>
                <a:cs typeface="+mn-cs"/>
              </a:rPr>
              <a:t>The first people you’ll meet are our experts in business, UX and technology. </a:t>
            </a:r>
          </a:p>
        </p:txBody>
      </p:sp>
      <p:cxnSp>
        <p:nvCxnSpPr>
          <p:cNvPr id="18" name="Straight Connector 35">
            <a:extLst>
              <a:ext uri="{FF2B5EF4-FFF2-40B4-BE49-F238E27FC236}">
                <a16:creationId xmlns:a16="http://schemas.microsoft.com/office/drawing/2014/main" id="{0ABFCEEF-AD7E-44D6-8808-4FF08596EF01}"/>
              </a:ext>
            </a:extLst>
          </p:cNvPr>
          <p:cNvCxnSpPr>
            <a:cxnSpLocks/>
          </p:cNvCxnSpPr>
          <p:nvPr/>
        </p:nvCxnSpPr>
        <p:spPr>
          <a:xfrm>
            <a:off x="1092179" y="5298513"/>
            <a:ext cx="0" cy="203479"/>
          </a:xfrm>
          <a:prstGeom prst="line">
            <a:avLst/>
          </a:prstGeom>
          <a:ln w="50800">
            <a:solidFill>
              <a:schemeClr val="accent1"/>
            </a:solidFill>
          </a:ln>
        </p:spPr>
        <p:style>
          <a:lnRef idx="1">
            <a:schemeClr val="accent1"/>
          </a:lnRef>
          <a:fillRef idx="0">
            <a:schemeClr val="accent1"/>
          </a:fillRef>
          <a:effectRef idx="0">
            <a:schemeClr val="accent1"/>
          </a:effectRef>
          <a:fontRef idx="minor">
            <a:schemeClr val="tx1"/>
          </a:fontRef>
        </p:style>
      </p:cxnSp>
      <p:sp>
        <p:nvSpPr>
          <p:cNvPr id="36" name="TextBox 34">
            <a:extLst>
              <a:ext uri="{FF2B5EF4-FFF2-40B4-BE49-F238E27FC236}">
                <a16:creationId xmlns:a16="http://schemas.microsoft.com/office/drawing/2014/main" id="{53193CD7-46AA-4F2C-B4E0-5AA10F4250C7}"/>
              </a:ext>
            </a:extLst>
          </p:cNvPr>
          <p:cNvSpPr txBox="1"/>
          <p:nvPr/>
        </p:nvSpPr>
        <p:spPr>
          <a:xfrm>
            <a:off x="1333657" y="5221922"/>
            <a:ext cx="2270658" cy="272895"/>
          </a:xfrm>
          <a:prstGeom prst="rect">
            <a:avLst/>
          </a:prstGeom>
          <a:noFill/>
        </p:spPr>
        <p:txBody>
          <a:bodyPr wrap="square" lIns="0" tIns="0" rIns="0" bIns="0" rtlCol="0">
            <a:spAutoFit/>
          </a:bodyPr>
          <a:lstStyle/>
          <a:p>
            <a:pPr marL="0" marR="0" lvl="0" indent="0" algn="l" defTabSz="914400" rtl="0" eaLnBrk="1" fontAlgn="auto" latinLnBrk="0" hangingPunct="1">
              <a:lnSpc>
                <a:spcPct val="120000"/>
              </a:lnSpc>
              <a:spcBef>
                <a:spcPts val="120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HarmonyOS Sans SC Black"/>
                <a:ea typeface="+mj-ea"/>
                <a:cs typeface="+mn-cs"/>
              </a:rPr>
              <a:t>04</a:t>
            </a:r>
            <a:r>
              <a:rPr kumimoji="0" lang="en-US" sz="1600" b="0" i="0" u="none" strike="noStrike" kern="1200" cap="none" spc="0" normalizeH="0" baseline="0" noProof="0">
                <a:ln>
                  <a:noFill/>
                </a:ln>
                <a:solidFill>
                  <a:prstClr val="black"/>
                </a:solidFill>
                <a:effectLst/>
                <a:uLnTx/>
                <a:uFillTx/>
                <a:latin typeface="HarmonyOS Sans SC Black"/>
                <a:ea typeface="+mj-ea"/>
                <a:cs typeface="+mn-cs"/>
              </a:rPr>
              <a:t>. Check</a:t>
            </a:r>
            <a:endParaRPr kumimoji="0" lang="en-US" sz="1100" b="0" i="0" u="none" strike="noStrike" kern="1200" cap="none" spc="0" normalizeH="0" baseline="0" noProof="0" dirty="0">
              <a:ln>
                <a:noFill/>
              </a:ln>
              <a:solidFill>
                <a:prstClr val="black"/>
              </a:solidFill>
              <a:effectLst/>
              <a:uLnTx/>
              <a:uFillTx/>
              <a:latin typeface="HarmonyOS Sans SC Black"/>
              <a:ea typeface="+mj-ea"/>
              <a:cs typeface="+mn-cs"/>
            </a:endParaRPr>
          </a:p>
        </p:txBody>
      </p:sp>
      <p:sp>
        <p:nvSpPr>
          <p:cNvPr id="37" name="TextBox 34">
            <a:extLst>
              <a:ext uri="{FF2B5EF4-FFF2-40B4-BE49-F238E27FC236}">
                <a16:creationId xmlns:a16="http://schemas.microsoft.com/office/drawing/2014/main" id="{581336E8-3BA4-4B48-88FF-79466B4B8B98}"/>
              </a:ext>
            </a:extLst>
          </p:cNvPr>
          <p:cNvSpPr txBox="1"/>
          <p:nvPr/>
        </p:nvSpPr>
        <p:spPr>
          <a:xfrm>
            <a:off x="1333657" y="5502415"/>
            <a:ext cx="4435374" cy="169918"/>
          </a:xfrm>
          <a:prstGeom prst="rect">
            <a:avLst/>
          </a:prstGeom>
          <a:noFill/>
        </p:spPr>
        <p:txBody>
          <a:bodyPr wrap="square" lIns="0" tIns="0" rIns="0" bIns="0" rtlCol="0">
            <a:spAutoFit/>
          </a:bodyPr>
          <a:lstStyle/>
          <a:p>
            <a:pPr marL="0" marR="0" lvl="0" indent="0" algn="l" defTabSz="914400" rtl="0" eaLnBrk="1" fontAlgn="auto" latinLnBrk="0" hangingPunct="1">
              <a:lnSpc>
                <a:spcPct val="120000"/>
              </a:lnSpc>
              <a:spcBef>
                <a:spcPts val="120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HarmonyOS Sans SC"/>
                <a:cs typeface="+mn-cs"/>
              </a:rPr>
              <a:t>The first people you’ll meet are our experts in business, UX and technology. </a:t>
            </a:r>
          </a:p>
        </p:txBody>
      </p:sp>
    </p:spTree>
    <p:extLst>
      <p:ext uri="{BB962C8B-B14F-4D97-AF65-F5344CB8AC3E}">
        <p14:creationId xmlns:p14="http://schemas.microsoft.com/office/powerpoint/2010/main" val="202152395"/>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5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Oval 20">
            <a:extLst>
              <a:ext uri="{FF2B5EF4-FFF2-40B4-BE49-F238E27FC236}">
                <a16:creationId xmlns:a16="http://schemas.microsoft.com/office/drawing/2014/main" id="{C1BCFDD1-F10A-43AC-9872-8C96E7D5CD54}"/>
              </a:ext>
            </a:extLst>
          </p:cNvPr>
          <p:cNvSpPr/>
          <p:nvPr/>
        </p:nvSpPr>
        <p:spPr>
          <a:xfrm>
            <a:off x="4989733" y="2753329"/>
            <a:ext cx="2091236" cy="2091236"/>
          </a:xfrm>
          <a:prstGeom prst="ellipse">
            <a:avLst/>
          </a:prstGeom>
          <a:solidFill>
            <a:schemeClr val="bg1"/>
          </a:solidFill>
          <a:ln w="3175" cap="rnd" cmpd="sng">
            <a:noFill/>
            <a:prstDash val="dash"/>
            <a:miter lim="800000"/>
          </a:ln>
          <a:effectLst>
            <a:outerShdw blurRad="38100" dist="127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noAutofit/>
          </a:bodyPr>
          <a:lstStyle/>
          <a:p>
            <a:pPr marL="0" marR="0" lvl="0" indent="0" algn="ctr" defTabSz="914400" rtl="0" eaLnBrk="1" fontAlgn="auto" latinLnBrk="0" hangingPunct="1">
              <a:lnSpc>
                <a:spcPct val="100000"/>
              </a:lnSpc>
              <a:spcBef>
                <a:spcPts val="1000"/>
              </a:spcBef>
              <a:spcAft>
                <a:spcPts val="0"/>
              </a:spcAft>
              <a:buClrTx/>
              <a:buSzTx/>
              <a:buFontTx/>
              <a:buNone/>
              <a:tabLst/>
              <a:defRPr/>
            </a:pPr>
            <a:r>
              <a:rPr kumimoji="0" lang="en-US" sz="2000" b="0" i="0" u="none" strike="noStrike" kern="1200" cap="none" spc="0" normalizeH="0" baseline="0" noProof="0" dirty="0">
                <a:ln>
                  <a:noFill/>
                </a:ln>
                <a:solidFill>
                  <a:prstClr val="black">
                    <a:lumMod val="75000"/>
                    <a:lumOff val="25000"/>
                  </a:prstClr>
                </a:solidFill>
                <a:effectLst/>
                <a:uLnTx/>
                <a:uFillTx/>
                <a:latin typeface="HarmonyOS Sans SC"/>
                <a:cs typeface="+mn-cs"/>
              </a:rPr>
              <a:t>Process </a:t>
            </a:r>
            <a:br>
              <a:rPr kumimoji="0" lang="en-US" sz="2000" b="0" i="0" u="none" strike="noStrike" kern="1200" cap="none" spc="0" normalizeH="0" baseline="0" noProof="0" dirty="0">
                <a:ln>
                  <a:noFill/>
                </a:ln>
                <a:solidFill>
                  <a:prstClr val="black">
                    <a:lumMod val="75000"/>
                    <a:lumOff val="25000"/>
                  </a:prstClr>
                </a:solidFill>
                <a:effectLst/>
                <a:uLnTx/>
                <a:uFillTx/>
                <a:latin typeface="HarmonyOS Sans SC"/>
                <a:cs typeface="+mn-cs"/>
              </a:rPr>
            </a:br>
            <a:r>
              <a:rPr kumimoji="0" lang="en-US" sz="2000" b="0" i="0" u="none" strike="noStrike" kern="1200" cap="none" spc="0" normalizeH="0" baseline="0" noProof="0" dirty="0">
                <a:ln>
                  <a:noFill/>
                </a:ln>
                <a:solidFill>
                  <a:prstClr val="black">
                    <a:lumMod val="75000"/>
                    <a:lumOff val="25000"/>
                  </a:prstClr>
                </a:solidFill>
                <a:effectLst/>
                <a:uLnTx/>
                <a:uFillTx/>
                <a:latin typeface="HarmonyOS Sans SC Black"/>
                <a:ea typeface="+mj-ea"/>
                <a:cs typeface="+mn-cs"/>
              </a:rPr>
              <a:t>Services</a:t>
            </a:r>
          </a:p>
        </p:txBody>
      </p:sp>
      <p:sp>
        <p:nvSpPr>
          <p:cNvPr id="8" name="Freeform 33">
            <a:extLst>
              <a:ext uri="{FF2B5EF4-FFF2-40B4-BE49-F238E27FC236}">
                <a16:creationId xmlns:a16="http://schemas.microsoft.com/office/drawing/2014/main" id="{0E718403-6CC3-416C-B064-CEDD16B2687C}"/>
              </a:ext>
            </a:extLst>
          </p:cNvPr>
          <p:cNvSpPr/>
          <p:nvPr/>
        </p:nvSpPr>
        <p:spPr>
          <a:xfrm rot="3681780">
            <a:off x="5376768" y="2768128"/>
            <a:ext cx="2836463" cy="1203189"/>
          </a:xfrm>
          <a:custGeom>
            <a:avLst/>
            <a:gdLst>
              <a:gd name="connsiteX0" fmla="*/ 3963150 w 4123726"/>
              <a:gd name="connsiteY0" fmla="*/ 1749231 h 1749231"/>
              <a:gd name="connsiteX1" fmla="*/ 3118684 w 4123726"/>
              <a:gd name="connsiteY1" fmla="*/ 1518026 h 1749231"/>
              <a:gd name="connsiteX2" fmla="*/ 3325737 w 4123726"/>
              <a:gd name="connsiteY2" fmla="*/ 1387703 h 1749231"/>
              <a:gd name="connsiteX3" fmla="*/ 3207937 w 4123726"/>
              <a:gd name="connsiteY3" fmla="*/ 1224386 h 1749231"/>
              <a:gd name="connsiteX4" fmla="*/ 1898421 w 4123726"/>
              <a:gd name="connsiteY4" fmla="*/ 698623 h 1749231"/>
              <a:gd name="connsiteX5" fmla="*/ 651711 w 4123726"/>
              <a:gd name="connsiteY5" fmla="*/ 1695091 h 1749231"/>
              <a:gd name="connsiteX6" fmla="*/ 0 w 4123726"/>
              <a:gd name="connsiteY6" fmla="*/ 1469982 h 1749231"/>
              <a:gd name="connsiteX7" fmla="*/ 1822463 w 4123726"/>
              <a:gd name="connsiteY7" fmla="*/ 13327 h 1749231"/>
              <a:gd name="connsiteX8" fmla="*/ 3832326 w 4123726"/>
              <a:gd name="connsiteY8" fmla="*/ 904846 h 1749231"/>
              <a:gd name="connsiteX9" fmla="*/ 3909489 w 4123726"/>
              <a:gd name="connsiteY9" fmla="*/ 1020282 h 1749231"/>
              <a:gd name="connsiteX10" fmla="*/ 4123726 w 4123726"/>
              <a:gd name="connsiteY10" fmla="*/ 885439 h 17492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123726" h="1749231">
                <a:moveTo>
                  <a:pt x="3963150" y="1749231"/>
                </a:moveTo>
                <a:lnTo>
                  <a:pt x="3118684" y="1518026"/>
                </a:lnTo>
                <a:lnTo>
                  <a:pt x="3325737" y="1387703"/>
                </a:lnTo>
                <a:lnTo>
                  <a:pt x="3207937" y="1224386"/>
                </a:lnTo>
                <a:cubicBezTo>
                  <a:pt x="2890183" y="844499"/>
                  <a:pt x="2399913" y="643039"/>
                  <a:pt x="1898421" y="698623"/>
                </a:cubicBezTo>
                <a:cubicBezTo>
                  <a:pt x="1325288" y="762149"/>
                  <a:pt x="839976" y="1150047"/>
                  <a:pt x="651711" y="1695091"/>
                </a:cubicBezTo>
                <a:lnTo>
                  <a:pt x="0" y="1469982"/>
                </a:lnTo>
                <a:cubicBezTo>
                  <a:pt x="275210" y="673227"/>
                  <a:pt x="984647" y="106190"/>
                  <a:pt x="1822463" y="13327"/>
                </a:cubicBezTo>
                <a:cubicBezTo>
                  <a:pt x="2607916" y="-73732"/>
                  <a:pt x="3374538" y="270558"/>
                  <a:pt x="3832326" y="904846"/>
                </a:cubicBezTo>
                <a:lnTo>
                  <a:pt x="3909489" y="1020282"/>
                </a:lnTo>
                <a:lnTo>
                  <a:pt x="4123726" y="885439"/>
                </a:lnTo>
                <a:close/>
              </a:path>
            </a:pathLst>
          </a:custGeom>
          <a:gradFill flip="none" rotWithShape="1">
            <a:gsLst>
              <a:gs pos="0">
                <a:schemeClr val="accent1">
                  <a:lumMod val="40000"/>
                  <a:lumOff val="60000"/>
                </a:schemeClr>
              </a:gs>
              <a:gs pos="25000">
                <a:schemeClr val="accent1">
                  <a:lumMod val="60000"/>
                  <a:lumOff val="40000"/>
                </a:schemeClr>
              </a:gs>
              <a:gs pos="73000">
                <a:schemeClr val="accent1"/>
              </a:gs>
            </a:gsLst>
            <a:lin ang="108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armonyOS Sans SC"/>
              <a:cs typeface="+mn-cs"/>
            </a:endParaRPr>
          </a:p>
        </p:txBody>
      </p:sp>
      <p:sp>
        <p:nvSpPr>
          <p:cNvPr id="9" name="Freeform 31">
            <a:extLst>
              <a:ext uri="{FF2B5EF4-FFF2-40B4-BE49-F238E27FC236}">
                <a16:creationId xmlns:a16="http://schemas.microsoft.com/office/drawing/2014/main" id="{4D9AD64F-87F9-472A-8171-6CD1C33A84FE}"/>
              </a:ext>
            </a:extLst>
          </p:cNvPr>
          <p:cNvSpPr/>
          <p:nvPr/>
        </p:nvSpPr>
        <p:spPr>
          <a:xfrm rot="18081780">
            <a:off x="3872338" y="2722629"/>
            <a:ext cx="2836459" cy="1203191"/>
          </a:xfrm>
          <a:custGeom>
            <a:avLst/>
            <a:gdLst>
              <a:gd name="connsiteX0" fmla="*/ 198587 w 4123725"/>
              <a:gd name="connsiteY0" fmla="*/ 1047647 h 1749231"/>
              <a:gd name="connsiteX1" fmla="*/ 1822463 w 4123725"/>
              <a:gd name="connsiteY1" fmla="*/ 13327 h 1749231"/>
              <a:gd name="connsiteX2" fmla="*/ 3832326 w 4123725"/>
              <a:gd name="connsiteY2" fmla="*/ 904846 h 1749231"/>
              <a:gd name="connsiteX3" fmla="*/ 3909489 w 4123725"/>
              <a:gd name="connsiteY3" fmla="*/ 1020282 h 1749231"/>
              <a:gd name="connsiteX4" fmla="*/ 4123725 w 4123725"/>
              <a:gd name="connsiteY4" fmla="*/ 885438 h 1749231"/>
              <a:gd name="connsiteX5" fmla="*/ 3963150 w 4123725"/>
              <a:gd name="connsiteY5" fmla="*/ 1749231 h 1749231"/>
              <a:gd name="connsiteX6" fmla="*/ 3118683 w 4123725"/>
              <a:gd name="connsiteY6" fmla="*/ 1518025 h 1749231"/>
              <a:gd name="connsiteX7" fmla="*/ 3325737 w 4123725"/>
              <a:gd name="connsiteY7" fmla="*/ 1387703 h 1749231"/>
              <a:gd name="connsiteX8" fmla="*/ 3207937 w 4123725"/>
              <a:gd name="connsiteY8" fmla="*/ 1224386 h 1749231"/>
              <a:gd name="connsiteX9" fmla="*/ 1898421 w 4123725"/>
              <a:gd name="connsiteY9" fmla="*/ 698623 h 1749231"/>
              <a:gd name="connsiteX10" fmla="*/ 651711 w 4123725"/>
              <a:gd name="connsiteY10" fmla="*/ 1695091 h 1749231"/>
              <a:gd name="connsiteX11" fmla="*/ 0 w 4123725"/>
              <a:gd name="connsiteY11" fmla="*/ 1469982 h 1749231"/>
              <a:gd name="connsiteX12" fmla="*/ 198587 w 4123725"/>
              <a:gd name="connsiteY12" fmla="*/ 1047647 h 17492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123725" h="1749231">
                <a:moveTo>
                  <a:pt x="198587" y="1047647"/>
                </a:moveTo>
                <a:cubicBezTo>
                  <a:pt x="545762" y="477258"/>
                  <a:pt x="1141738" y="88778"/>
                  <a:pt x="1822463" y="13327"/>
                </a:cubicBezTo>
                <a:cubicBezTo>
                  <a:pt x="2607916" y="-73732"/>
                  <a:pt x="3374538" y="270558"/>
                  <a:pt x="3832326" y="904846"/>
                </a:cubicBezTo>
                <a:lnTo>
                  <a:pt x="3909489" y="1020282"/>
                </a:lnTo>
                <a:lnTo>
                  <a:pt x="4123725" y="885438"/>
                </a:lnTo>
                <a:lnTo>
                  <a:pt x="3963150" y="1749231"/>
                </a:lnTo>
                <a:lnTo>
                  <a:pt x="3118683" y="1518025"/>
                </a:lnTo>
                <a:lnTo>
                  <a:pt x="3325737" y="1387703"/>
                </a:lnTo>
                <a:lnTo>
                  <a:pt x="3207937" y="1224386"/>
                </a:lnTo>
                <a:cubicBezTo>
                  <a:pt x="2890183" y="844498"/>
                  <a:pt x="2399913" y="643039"/>
                  <a:pt x="1898421" y="698623"/>
                </a:cubicBezTo>
                <a:cubicBezTo>
                  <a:pt x="1325288" y="762149"/>
                  <a:pt x="839976" y="1150047"/>
                  <a:pt x="651711" y="1695091"/>
                </a:cubicBezTo>
                <a:lnTo>
                  <a:pt x="0" y="1469982"/>
                </a:lnTo>
                <a:cubicBezTo>
                  <a:pt x="51602" y="1320590"/>
                  <a:pt x="118469" y="1179275"/>
                  <a:pt x="198587" y="1047647"/>
                </a:cubicBezTo>
                <a:close/>
              </a:path>
            </a:pathLst>
          </a:custGeom>
          <a:gradFill flip="none" rotWithShape="1">
            <a:gsLst>
              <a:gs pos="0">
                <a:schemeClr val="accent1">
                  <a:lumMod val="40000"/>
                  <a:lumOff val="60000"/>
                </a:schemeClr>
              </a:gs>
              <a:gs pos="25000">
                <a:schemeClr val="accent1">
                  <a:lumMod val="60000"/>
                  <a:lumOff val="40000"/>
                </a:schemeClr>
              </a:gs>
              <a:gs pos="73000">
                <a:schemeClr val="accent1"/>
              </a:gs>
            </a:gsLst>
            <a:lin ang="108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armonyOS Sans SC"/>
              <a:cs typeface="+mn-cs"/>
            </a:endParaRPr>
          </a:p>
        </p:txBody>
      </p:sp>
      <p:sp>
        <p:nvSpPr>
          <p:cNvPr id="10" name="Freeform 34">
            <a:extLst>
              <a:ext uri="{FF2B5EF4-FFF2-40B4-BE49-F238E27FC236}">
                <a16:creationId xmlns:a16="http://schemas.microsoft.com/office/drawing/2014/main" id="{691788EF-EA9D-44FE-88F9-611935B39068}"/>
              </a:ext>
            </a:extLst>
          </p:cNvPr>
          <p:cNvSpPr>
            <a:spLocks/>
          </p:cNvSpPr>
          <p:nvPr/>
        </p:nvSpPr>
        <p:spPr bwMode="auto">
          <a:xfrm rot="8950569">
            <a:off x="4714249" y="3539951"/>
            <a:ext cx="2206402" cy="1945232"/>
          </a:xfrm>
          <a:custGeom>
            <a:avLst/>
            <a:gdLst>
              <a:gd name="connsiteX0" fmla="*/ 317017 w 3801349"/>
              <a:gd name="connsiteY0" fmla="*/ 270938 h 2828031"/>
              <a:gd name="connsiteX1" fmla="*/ 198720 w 3801349"/>
              <a:gd name="connsiteY1" fmla="*/ 343640 h 2828031"/>
              <a:gd name="connsiteX2" fmla="*/ 7595 w 3801349"/>
              <a:gd name="connsiteY2" fmla="*/ 490061 h 2828031"/>
              <a:gd name="connsiteX3" fmla="*/ 0 w 3801349"/>
              <a:gd name="connsiteY3" fmla="*/ 480600 h 2828031"/>
              <a:gd name="connsiteX4" fmla="*/ 257230 w 3801349"/>
              <a:gd name="connsiteY4" fmla="*/ 302751 h 2828031"/>
              <a:gd name="connsiteX5" fmla="*/ 316721 w 3801349"/>
              <a:gd name="connsiteY5" fmla="*/ 270425 h 2828031"/>
              <a:gd name="connsiteX6" fmla="*/ 662458 w 3801349"/>
              <a:gd name="connsiteY6" fmla="*/ 869260 h 2828031"/>
              <a:gd name="connsiteX7" fmla="*/ 654337 w 3801349"/>
              <a:gd name="connsiteY7" fmla="*/ 873309 h 2828031"/>
              <a:gd name="connsiteX8" fmla="*/ 661895 w 3801349"/>
              <a:gd name="connsiteY8" fmla="*/ 868285 h 2828031"/>
              <a:gd name="connsiteX9" fmla="*/ 3801349 w 3801349"/>
              <a:gd name="connsiteY9" fmla="*/ 2182526 h 2828031"/>
              <a:gd name="connsiteX10" fmla="*/ 3205325 w 3801349"/>
              <a:gd name="connsiteY10" fmla="*/ 2828031 h 2828031"/>
              <a:gd name="connsiteX11" fmla="*/ 2613799 w 3801349"/>
              <a:gd name="connsiteY11" fmla="*/ 2182526 h 2828031"/>
              <a:gd name="connsiteX12" fmla="*/ 2858452 w 3801349"/>
              <a:gd name="connsiteY12" fmla="*/ 2182526 h 2828031"/>
              <a:gd name="connsiteX13" fmla="*/ 2845752 w 3801349"/>
              <a:gd name="connsiteY13" fmla="*/ 1981558 h 2828031"/>
              <a:gd name="connsiteX14" fmla="*/ 2017553 w 3801349"/>
              <a:gd name="connsiteY14" fmla="*/ 839042 h 2828031"/>
              <a:gd name="connsiteX15" fmla="*/ 994225 w 3801349"/>
              <a:gd name="connsiteY15" fmla="*/ 736597 h 2828031"/>
              <a:gd name="connsiteX16" fmla="*/ 880599 w 3801349"/>
              <a:gd name="connsiteY16" fmla="*/ 774463 h 2828031"/>
              <a:gd name="connsiteX17" fmla="*/ 1047482 w 3801349"/>
              <a:gd name="connsiteY17" fmla="*/ 245131 h 2828031"/>
              <a:gd name="connsiteX18" fmla="*/ 593619 w 3801349"/>
              <a:gd name="connsiteY18" fmla="*/ 142701 h 2828031"/>
              <a:gd name="connsiteX19" fmla="*/ 676190 w 3801349"/>
              <a:gd name="connsiteY19" fmla="*/ 111939 h 2828031"/>
              <a:gd name="connsiteX20" fmla="*/ 2318313 w 3801349"/>
              <a:gd name="connsiteY20" fmla="*/ 218603 h 2828031"/>
              <a:gd name="connsiteX21" fmla="*/ 3544395 w 3801349"/>
              <a:gd name="connsiteY21" fmla="*/ 2043727 h 2828031"/>
              <a:gd name="connsiteX22" fmla="*/ 3548209 w 3801349"/>
              <a:gd name="connsiteY22" fmla="*/ 2182526 h 2828031"/>
              <a:gd name="connsiteX0" fmla="*/ 309422 w 3793754"/>
              <a:gd name="connsiteY0" fmla="*/ 270938 h 2828031"/>
              <a:gd name="connsiteX1" fmla="*/ 191125 w 3793754"/>
              <a:gd name="connsiteY1" fmla="*/ 343640 h 2828031"/>
              <a:gd name="connsiteX2" fmla="*/ 0 w 3793754"/>
              <a:gd name="connsiteY2" fmla="*/ 490061 h 2828031"/>
              <a:gd name="connsiteX3" fmla="*/ 249635 w 3793754"/>
              <a:gd name="connsiteY3" fmla="*/ 302751 h 2828031"/>
              <a:gd name="connsiteX4" fmla="*/ 309126 w 3793754"/>
              <a:gd name="connsiteY4" fmla="*/ 270425 h 2828031"/>
              <a:gd name="connsiteX5" fmla="*/ 309422 w 3793754"/>
              <a:gd name="connsiteY5" fmla="*/ 270938 h 2828031"/>
              <a:gd name="connsiteX6" fmla="*/ 654863 w 3793754"/>
              <a:gd name="connsiteY6" fmla="*/ 869260 h 2828031"/>
              <a:gd name="connsiteX7" fmla="*/ 646742 w 3793754"/>
              <a:gd name="connsiteY7" fmla="*/ 873309 h 2828031"/>
              <a:gd name="connsiteX8" fmla="*/ 654300 w 3793754"/>
              <a:gd name="connsiteY8" fmla="*/ 868285 h 2828031"/>
              <a:gd name="connsiteX9" fmla="*/ 654863 w 3793754"/>
              <a:gd name="connsiteY9" fmla="*/ 869260 h 2828031"/>
              <a:gd name="connsiteX10" fmla="*/ 3793754 w 3793754"/>
              <a:gd name="connsiteY10" fmla="*/ 2182526 h 2828031"/>
              <a:gd name="connsiteX11" fmla="*/ 3197730 w 3793754"/>
              <a:gd name="connsiteY11" fmla="*/ 2828031 h 2828031"/>
              <a:gd name="connsiteX12" fmla="*/ 2606204 w 3793754"/>
              <a:gd name="connsiteY12" fmla="*/ 2182526 h 2828031"/>
              <a:gd name="connsiteX13" fmla="*/ 2850857 w 3793754"/>
              <a:gd name="connsiteY13" fmla="*/ 2182526 h 2828031"/>
              <a:gd name="connsiteX14" fmla="*/ 2838157 w 3793754"/>
              <a:gd name="connsiteY14" fmla="*/ 1981558 h 2828031"/>
              <a:gd name="connsiteX15" fmla="*/ 2009958 w 3793754"/>
              <a:gd name="connsiteY15" fmla="*/ 839042 h 2828031"/>
              <a:gd name="connsiteX16" fmla="*/ 986630 w 3793754"/>
              <a:gd name="connsiteY16" fmla="*/ 736597 h 2828031"/>
              <a:gd name="connsiteX17" fmla="*/ 873004 w 3793754"/>
              <a:gd name="connsiteY17" fmla="*/ 774463 h 2828031"/>
              <a:gd name="connsiteX18" fmla="*/ 1039887 w 3793754"/>
              <a:gd name="connsiteY18" fmla="*/ 245131 h 2828031"/>
              <a:gd name="connsiteX19" fmla="*/ 586024 w 3793754"/>
              <a:gd name="connsiteY19" fmla="*/ 142701 h 2828031"/>
              <a:gd name="connsiteX20" fmla="*/ 668595 w 3793754"/>
              <a:gd name="connsiteY20" fmla="*/ 111939 h 2828031"/>
              <a:gd name="connsiteX21" fmla="*/ 2310718 w 3793754"/>
              <a:gd name="connsiteY21" fmla="*/ 218603 h 2828031"/>
              <a:gd name="connsiteX22" fmla="*/ 3536800 w 3793754"/>
              <a:gd name="connsiteY22" fmla="*/ 2043727 h 2828031"/>
              <a:gd name="connsiteX23" fmla="*/ 3540614 w 3793754"/>
              <a:gd name="connsiteY23" fmla="*/ 2182526 h 2828031"/>
              <a:gd name="connsiteX24" fmla="*/ 3793754 w 3793754"/>
              <a:gd name="connsiteY24" fmla="*/ 2182526 h 2828031"/>
              <a:gd name="connsiteX0" fmla="*/ 309422 w 3793754"/>
              <a:gd name="connsiteY0" fmla="*/ 270938 h 2828031"/>
              <a:gd name="connsiteX1" fmla="*/ 0 w 3793754"/>
              <a:gd name="connsiteY1" fmla="*/ 490061 h 2828031"/>
              <a:gd name="connsiteX2" fmla="*/ 249635 w 3793754"/>
              <a:gd name="connsiteY2" fmla="*/ 302751 h 2828031"/>
              <a:gd name="connsiteX3" fmla="*/ 309126 w 3793754"/>
              <a:gd name="connsiteY3" fmla="*/ 270425 h 2828031"/>
              <a:gd name="connsiteX4" fmla="*/ 309422 w 3793754"/>
              <a:gd name="connsiteY4" fmla="*/ 270938 h 2828031"/>
              <a:gd name="connsiteX5" fmla="*/ 654863 w 3793754"/>
              <a:gd name="connsiteY5" fmla="*/ 869260 h 2828031"/>
              <a:gd name="connsiteX6" fmla="*/ 646742 w 3793754"/>
              <a:gd name="connsiteY6" fmla="*/ 873309 h 2828031"/>
              <a:gd name="connsiteX7" fmla="*/ 654300 w 3793754"/>
              <a:gd name="connsiteY7" fmla="*/ 868285 h 2828031"/>
              <a:gd name="connsiteX8" fmla="*/ 654863 w 3793754"/>
              <a:gd name="connsiteY8" fmla="*/ 869260 h 2828031"/>
              <a:gd name="connsiteX9" fmla="*/ 3793754 w 3793754"/>
              <a:gd name="connsiteY9" fmla="*/ 2182526 h 2828031"/>
              <a:gd name="connsiteX10" fmla="*/ 3197730 w 3793754"/>
              <a:gd name="connsiteY10" fmla="*/ 2828031 h 2828031"/>
              <a:gd name="connsiteX11" fmla="*/ 2606204 w 3793754"/>
              <a:gd name="connsiteY11" fmla="*/ 2182526 h 2828031"/>
              <a:gd name="connsiteX12" fmla="*/ 2850857 w 3793754"/>
              <a:gd name="connsiteY12" fmla="*/ 2182526 h 2828031"/>
              <a:gd name="connsiteX13" fmla="*/ 2838157 w 3793754"/>
              <a:gd name="connsiteY13" fmla="*/ 1981558 h 2828031"/>
              <a:gd name="connsiteX14" fmla="*/ 2009958 w 3793754"/>
              <a:gd name="connsiteY14" fmla="*/ 839042 h 2828031"/>
              <a:gd name="connsiteX15" fmla="*/ 986630 w 3793754"/>
              <a:gd name="connsiteY15" fmla="*/ 736597 h 2828031"/>
              <a:gd name="connsiteX16" fmla="*/ 873004 w 3793754"/>
              <a:gd name="connsiteY16" fmla="*/ 774463 h 2828031"/>
              <a:gd name="connsiteX17" fmla="*/ 1039887 w 3793754"/>
              <a:gd name="connsiteY17" fmla="*/ 245131 h 2828031"/>
              <a:gd name="connsiteX18" fmla="*/ 586024 w 3793754"/>
              <a:gd name="connsiteY18" fmla="*/ 142701 h 2828031"/>
              <a:gd name="connsiteX19" fmla="*/ 668595 w 3793754"/>
              <a:gd name="connsiteY19" fmla="*/ 111939 h 2828031"/>
              <a:gd name="connsiteX20" fmla="*/ 2310718 w 3793754"/>
              <a:gd name="connsiteY20" fmla="*/ 218603 h 2828031"/>
              <a:gd name="connsiteX21" fmla="*/ 3536800 w 3793754"/>
              <a:gd name="connsiteY21" fmla="*/ 2043727 h 2828031"/>
              <a:gd name="connsiteX22" fmla="*/ 3540614 w 3793754"/>
              <a:gd name="connsiteY22" fmla="*/ 2182526 h 2828031"/>
              <a:gd name="connsiteX23" fmla="*/ 3793754 w 3793754"/>
              <a:gd name="connsiteY23" fmla="*/ 2182526 h 2828031"/>
              <a:gd name="connsiteX0" fmla="*/ 309126 w 3793754"/>
              <a:gd name="connsiteY0" fmla="*/ 270425 h 2828031"/>
              <a:gd name="connsiteX1" fmla="*/ 0 w 3793754"/>
              <a:gd name="connsiteY1" fmla="*/ 490061 h 2828031"/>
              <a:gd name="connsiteX2" fmla="*/ 249635 w 3793754"/>
              <a:gd name="connsiteY2" fmla="*/ 302751 h 2828031"/>
              <a:gd name="connsiteX3" fmla="*/ 309126 w 3793754"/>
              <a:gd name="connsiteY3" fmla="*/ 270425 h 2828031"/>
              <a:gd name="connsiteX4" fmla="*/ 654863 w 3793754"/>
              <a:gd name="connsiteY4" fmla="*/ 869260 h 2828031"/>
              <a:gd name="connsiteX5" fmla="*/ 646742 w 3793754"/>
              <a:gd name="connsiteY5" fmla="*/ 873309 h 2828031"/>
              <a:gd name="connsiteX6" fmla="*/ 654300 w 3793754"/>
              <a:gd name="connsiteY6" fmla="*/ 868285 h 2828031"/>
              <a:gd name="connsiteX7" fmla="*/ 654863 w 3793754"/>
              <a:gd name="connsiteY7" fmla="*/ 869260 h 2828031"/>
              <a:gd name="connsiteX8" fmla="*/ 3793754 w 3793754"/>
              <a:gd name="connsiteY8" fmla="*/ 2182526 h 2828031"/>
              <a:gd name="connsiteX9" fmla="*/ 3197730 w 3793754"/>
              <a:gd name="connsiteY9" fmla="*/ 2828031 h 2828031"/>
              <a:gd name="connsiteX10" fmla="*/ 2606204 w 3793754"/>
              <a:gd name="connsiteY10" fmla="*/ 2182526 h 2828031"/>
              <a:gd name="connsiteX11" fmla="*/ 2850857 w 3793754"/>
              <a:gd name="connsiteY11" fmla="*/ 2182526 h 2828031"/>
              <a:gd name="connsiteX12" fmla="*/ 2838157 w 3793754"/>
              <a:gd name="connsiteY12" fmla="*/ 1981558 h 2828031"/>
              <a:gd name="connsiteX13" fmla="*/ 2009958 w 3793754"/>
              <a:gd name="connsiteY13" fmla="*/ 839042 h 2828031"/>
              <a:gd name="connsiteX14" fmla="*/ 986630 w 3793754"/>
              <a:gd name="connsiteY14" fmla="*/ 736597 h 2828031"/>
              <a:gd name="connsiteX15" fmla="*/ 873004 w 3793754"/>
              <a:gd name="connsiteY15" fmla="*/ 774463 h 2828031"/>
              <a:gd name="connsiteX16" fmla="*/ 1039887 w 3793754"/>
              <a:gd name="connsiteY16" fmla="*/ 245131 h 2828031"/>
              <a:gd name="connsiteX17" fmla="*/ 586024 w 3793754"/>
              <a:gd name="connsiteY17" fmla="*/ 142701 h 2828031"/>
              <a:gd name="connsiteX18" fmla="*/ 668595 w 3793754"/>
              <a:gd name="connsiteY18" fmla="*/ 111939 h 2828031"/>
              <a:gd name="connsiteX19" fmla="*/ 2310718 w 3793754"/>
              <a:gd name="connsiteY19" fmla="*/ 218603 h 2828031"/>
              <a:gd name="connsiteX20" fmla="*/ 3536800 w 3793754"/>
              <a:gd name="connsiteY20" fmla="*/ 2043727 h 2828031"/>
              <a:gd name="connsiteX21" fmla="*/ 3540614 w 3793754"/>
              <a:gd name="connsiteY21" fmla="*/ 2182526 h 2828031"/>
              <a:gd name="connsiteX22" fmla="*/ 3793754 w 3793754"/>
              <a:gd name="connsiteY22" fmla="*/ 2182526 h 2828031"/>
              <a:gd name="connsiteX0" fmla="*/ 59491 w 3544119"/>
              <a:gd name="connsiteY0" fmla="*/ 270425 h 2828031"/>
              <a:gd name="connsiteX1" fmla="*/ 0 w 3544119"/>
              <a:gd name="connsiteY1" fmla="*/ 302751 h 2828031"/>
              <a:gd name="connsiteX2" fmla="*/ 59491 w 3544119"/>
              <a:gd name="connsiteY2" fmla="*/ 270425 h 2828031"/>
              <a:gd name="connsiteX3" fmla="*/ 405228 w 3544119"/>
              <a:gd name="connsiteY3" fmla="*/ 869260 h 2828031"/>
              <a:gd name="connsiteX4" fmla="*/ 397107 w 3544119"/>
              <a:gd name="connsiteY4" fmla="*/ 873309 h 2828031"/>
              <a:gd name="connsiteX5" fmla="*/ 404665 w 3544119"/>
              <a:gd name="connsiteY5" fmla="*/ 868285 h 2828031"/>
              <a:gd name="connsiteX6" fmla="*/ 405228 w 3544119"/>
              <a:gd name="connsiteY6" fmla="*/ 869260 h 2828031"/>
              <a:gd name="connsiteX7" fmla="*/ 3544119 w 3544119"/>
              <a:gd name="connsiteY7" fmla="*/ 2182526 h 2828031"/>
              <a:gd name="connsiteX8" fmla="*/ 2948095 w 3544119"/>
              <a:gd name="connsiteY8" fmla="*/ 2828031 h 2828031"/>
              <a:gd name="connsiteX9" fmla="*/ 2356569 w 3544119"/>
              <a:gd name="connsiteY9" fmla="*/ 2182526 h 2828031"/>
              <a:gd name="connsiteX10" fmla="*/ 2601222 w 3544119"/>
              <a:gd name="connsiteY10" fmla="*/ 2182526 h 2828031"/>
              <a:gd name="connsiteX11" fmla="*/ 2588522 w 3544119"/>
              <a:gd name="connsiteY11" fmla="*/ 1981558 h 2828031"/>
              <a:gd name="connsiteX12" fmla="*/ 1760323 w 3544119"/>
              <a:gd name="connsiteY12" fmla="*/ 839042 h 2828031"/>
              <a:gd name="connsiteX13" fmla="*/ 736995 w 3544119"/>
              <a:gd name="connsiteY13" fmla="*/ 736597 h 2828031"/>
              <a:gd name="connsiteX14" fmla="*/ 623369 w 3544119"/>
              <a:gd name="connsiteY14" fmla="*/ 774463 h 2828031"/>
              <a:gd name="connsiteX15" fmla="*/ 790252 w 3544119"/>
              <a:gd name="connsiteY15" fmla="*/ 245131 h 2828031"/>
              <a:gd name="connsiteX16" fmla="*/ 336389 w 3544119"/>
              <a:gd name="connsiteY16" fmla="*/ 142701 h 2828031"/>
              <a:gd name="connsiteX17" fmla="*/ 418960 w 3544119"/>
              <a:gd name="connsiteY17" fmla="*/ 111939 h 2828031"/>
              <a:gd name="connsiteX18" fmla="*/ 2061083 w 3544119"/>
              <a:gd name="connsiteY18" fmla="*/ 218603 h 2828031"/>
              <a:gd name="connsiteX19" fmla="*/ 3287165 w 3544119"/>
              <a:gd name="connsiteY19" fmla="*/ 2043727 h 2828031"/>
              <a:gd name="connsiteX20" fmla="*/ 3290979 w 3544119"/>
              <a:gd name="connsiteY20" fmla="*/ 2182526 h 2828031"/>
              <a:gd name="connsiteX21" fmla="*/ 3544119 w 3544119"/>
              <a:gd name="connsiteY21" fmla="*/ 2182526 h 2828031"/>
              <a:gd name="connsiteX0" fmla="*/ 68839 w 3207730"/>
              <a:gd name="connsiteY0" fmla="*/ 869260 h 2828031"/>
              <a:gd name="connsiteX1" fmla="*/ 60718 w 3207730"/>
              <a:gd name="connsiteY1" fmla="*/ 873309 h 2828031"/>
              <a:gd name="connsiteX2" fmla="*/ 68276 w 3207730"/>
              <a:gd name="connsiteY2" fmla="*/ 868285 h 2828031"/>
              <a:gd name="connsiteX3" fmla="*/ 68839 w 3207730"/>
              <a:gd name="connsiteY3" fmla="*/ 869260 h 2828031"/>
              <a:gd name="connsiteX4" fmla="*/ 3207730 w 3207730"/>
              <a:gd name="connsiteY4" fmla="*/ 2182526 h 2828031"/>
              <a:gd name="connsiteX5" fmla="*/ 2611706 w 3207730"/>
              <a:gd name="connsiteY5" fmla="*/ 2828031 h 2828031"/>
              <a:gd name="connsiteX6" fmla="*/ 2020180 w 3207730"/>
              <a:gd name="connsiteY6" fmla="*/ 2182526 h 2828031"/>
              <a:gd name="connsiteX7" fmla="*/ 2264833 w 3207730"/>
              <a:gd name="connsiteY7" fmla="*/ 2182526 h 2828031"/>
              <a:gd name="connsiteX8" fmla="*/ 2252133 w 3207730"/>
              <a:gd name="connsiteY8" fmla="*/ 1981558 h 2828031"/>
              <a:gd name="connsiteX9" fmla="*/ 1423934 w 3207730"/>
              <a:gd name="connsiteY9" fmla="*/ 839042 h 2828031"/>
              <a:gd name="connsiteX10" fmla="*/ 400606 w 3207730"/>
              <a:gd name="connsiteY10" fmla="*/ 736597 h 2828031"/>
              <a:gd name="connsiteX11" fmla="*/ 286980 w 3207730"/>
              <a:gd name="connsiteY11" fmla="*/ 774463 h 2828031"/>
              <a:gd name="connsiteX12" fmla="*/ 453863 w 3207730"/>
              <a:gd name="connsiteY12" fmla="*/ 245131 h 2828031"/>
              <a:gd name="connsiteX13" fmla="*/ 0 w 3207730"/>
              <a:gd name="connsiteY13" fmla="*/ 142701 h 2828031"/>
              <a:gd name="connsiteX14" fmla="*/ 82571 w 3207730"/>
              <a:gd name="connsiteY14" fmla="*/ 111939 h 2828031"/>
              <a:gd name="connsiteX15" fmla="*/ 1724694 w 3207730"/>
              <a:gd name="connsiteY15" fmla="*/ 218603 h 2828031"/>
              <a:gd name="connsiteX16" fmla="*/ 2950776 w 3207730"/>
              <a:gd name="connsiteY16" fmla="*/ 2043727 h 2828031"/>
              <a:gd name="connsiteX17" fmla="*/ 2954590 w 3207730"/>
              <a:gd name="connsiteY17" fmla="*/ 2182526 h 2828031"/>
              <a:gd name="connsiteX18" fmla="*/ 3207730 w 3207730"/>
              <a:gd name="connsiteY18" fmla="*/ 2182526 h 2828031"/>
              <a:gd name="connsiteX0" fmla="*/ 68276 w 3207730"/>
              <a:gd name="connsiteY0" fmla="*/ 868285 h 2828031"/>
              <a:gd name="connsiteX1" fmla="*/ 60718 w 3207730"/>
              <a:gd name="connsiteY1" fmla="*/ 873309 h 2828031"/>
              <a:gd name="connsiteX2" fmla="*/ 68276 w 3207730"/>
              <a:gd name="connsiteY2" fmla="*/ 868285 h 2828031"/>
              <a:gd name="connsiteX3" fmla="*/ 3207730 w 3207730"/>
              <a:gd name="connsiteY3" fmla="*/ 2182526 h 2828031"/>
              <a:gd name="connsiteX4" fmla="*/ 2611706 w 3207730"/>
              <a:gd name="connsiteY4" fmla="*/ 2828031 h 2828031"/>
              <a:gd name="connsiteX5" fmla="*/ 2020180 w 3207730"/>
              <a:gd name="connsiteY5" fmla="*/ 2182526 h 2828031"/>
              <a:gd name="connsiteX6" fmla="*/ 2264833 w 3207730"/>
              <a:gd name="connsiteY6" fmla="*/ 2182526 h 2828031"/>
              <a:gd name="connsiteX7" fmla="*/ 2252133 w 3207730"/>
              <a:gd name="connsiteY7" fmla="*/ 1981558 h 2828031"/>
              <a:gd name="connsiteX8" fmla="*/ 1423934 w 3207730"/>
              <a:gd name="connsiteY8" fmla="*/ 839042 h 2828031"/>
              <a:gd name="connsiteX9" fmla="*/ 400606 w 3207730"/>
              <a:gd name="connsiteY9" fmla="*/ 736597 h 2828031"/>
              <a:gd name="connsiteX10" fmla="*/ 286980 w 3207730"/>
              <a:gd name="connsiteY10" fmla="*/ 774463 h 2828031"/>
              <a:gd name="connsiteX11" fmla="*/ 453863 w 3207730"/>
              <a:gd name="connsiteY11" fmla="*/ 245131 h 2828031"/>
              <a:gd name="connsiteX12" fmla="*/ 0 w 3207730"/>
              <a:gd name="connsiteY12" fmla="*/ 142701 h 2828031"/>
              <a:gd name="connsiteX13" fmla="*/ 82571 w 3207730"/>
              <a:gd name="connsiteY13" fmla="*/ 111939 h 2828031"/>
              <a:gd name="connsiteX14" fmla="*/ 1724694 w 3207730"/>
              <a:gd name="connsiteY14" fmla="*/ 218603 h 2828031"/>
              <a:gd name="connsiteX15" fmla="*/ 2950776 w 3207730"/>
              <a:gd name="connsiteY15" fmla="*/ 2043727 h 2828031"/>
              <a:gd name="connsiteX16" fmla="*/ 2954590 w 3207730"/>
              <a:gd name="connsiteY16" fmla="*/ 2182526 h 2828031"/>
              <a:gd name="connsiteX17" fmla="*/ 3207730 w 3207730"/>
              <a:gd name="connsiteY17" fmla="*/ 2182526 h 2828031"/>
              <a:gd name="connsiteX0" fmla="*/ 3207730 w 3207730"/>
              <a:gd name="connsiteY0" fmla="*/ 2182526 h 2828031"/>
              <a:gd name="connsiteX1" fmla="*/ 2611706 w 3207730"/>
              <a:gd name="connsiteY1" fmla="*/ 2828031 h 2828031"/>
              <a:gd name="connsiteX2" fmla="*/ 2020180 w 3207730"/>
              <a:gd name="connsiteY2" fmla="*/ 2182526 h 2828031"/>
              <a:gd name="connsiteX3" fmla="*/ 2264833 w 3207730"/>
              <a:gd name="connsiteY3" fmla="*/ 2182526 h 2828031"/>
              <a:gd name="connsiteX4" fmla="*/ 2252133 w 3207730"/>
              <a:gd name="connsiteY4" fmla="*/ 1981558 h 2828031"/>
              <a:gd name="connsiteX5" fmla="*/ 1423934 w 3207730"/>
              <a:gd name="connsiteY5" fmla="*/ 839042 h 2828031"/>
              <a:gd name="connsiteX6" fmla="*/ 400606 w 3207730"/>
              <a:gd name="connsiteY6" fmla="*/ 736597 h 2828031"/>
              <a:gd name="connsiteX7" fmla="*/ 286980 w 3207730"/>
              <a:gd name="connsiteY7" fmla="*/ 774463 h 2828031"/>
              <a:gd name="connsiteX8" fmla="*/ 453863 w 3207730"/>
              <a:gd name="connsiteY8" fmla="*/ 245131 h 2828031"/>
              <a:gd name="connsiteX9" fmla="*/ 0 w 3207730"/>
              <a:gd name="connsiteY9" fmla="*/ 142701 h 2828031"/>
              <a:gd name="connsiteX10" fmla="*/ 82571 w 3207730"/>
              <a:gd name="connsiteY10" fmla="*/ 111939 h 2828031"/>
              <a:gd name="connsiteX11" fmla="*/ 1724694 w 3207730"/>
              <a:gd name="connsiteY11" fmla="*/ 218603 h 2828031"/>
              <a:gd name="connsiteX12" fmla="*/ 2950776 w 3207730"/>
              <a:gd name="connsiteY12" fmla="*/ 2043727 h 2828031"/>
              <a:gd name="connsiteX13" fmla="*/ 2954590 w 3207730"/>
              <a:gd name="connsiteY13" fmla="*/ 2182526 h 2828031"/>
              <a:gd name="connsiteX14" fmla="*/ 3207730 w 3207730"/>
              <a:gd name="connsiteY14" fmla="*/ 2182526 h 2828031"/>
              <a:gd name="connsiteX0" fmla="*/ 3207730 w 3207730"/>
              <a:gd name="connsiteY0" fmla="*/ 2182526 h 2828031"/>
              <a:gd name="connsiteX1" fmla="*/ 2611706 w 3207730"/>
              <a:gd name="connsiteY1" fmla="*/ 2828031 h 2828031"/>
              <a:gd name="connsiteX2" fmla="*/ 2020180 w 3207730"/>
              <a:gd name="connsiteY2" fmla="*/ 2182526 h 2828031"/>
              <a:gd name="connsiteX3" fmla="*/ 2264833 w 3207730"/>
              <a:gd name="connsiteY3" fmla="*/ 2182526 h 2828031"/>
              <a:gd name="connsiteX4" fmla="*/ 2252133 w 3207730"/>
              <a:gd name="connsiteY4" fmla="*/ 1981558 h 2828031"/>
              <a:gd name="connsiteX5" fmla="*/ 1423934 w 3207730"/>
              <a:gd name="connsiteY5" fmla="*/ 839042 h 2828031"/>
              <a:gd name="connsiteX6" fmla="*/ 400606 w 3207730"/>
              <a:gd name="connsiteY6" fmla="*/ 736597 h 2828031"/>
              <a:gd name="connsiteX7" fmla="*/ 311915 w 3207730"/>
              <a:gd name="connsiteY7" fmla="*/ 773216 h 2828031"/>
              <a:gd name="connsiteX8" fmla="*/ 453863 w 3207730"/>
              <a:gd name="connsiteY8" fmla="*/ 245131 h 2828031"/>
              <a:gd name="connsiteX9" fmla="*/ 0 w 3207730"/>
              <a:gd name="connsiteY9" fmla="*/ 142701 h 2828031"/>
              <a:gd name="connsiteX10" fmla="*/ 82571 w 3207730"/>
              <a:gd name="connsiteY10" fmla="*/ 111939 h 2828031"/>
              <a:gd name="connsiteX11" fmla="*/ 1724694 w 3207730"/>
              <a:gd name="connsiteY11" fmla="*/ 218603 h 2828031"/>
              <a:gd name="connsiteX12" fmla="*/ 2950776 w 3207730"/>
              <a:gd name="connsiteY12" fmla="*/ 2043727 h 2828031"/>
              <a:gd name="connsiteX13" fmla="*/ 2954590 w 3207730"/>
              <a:gd name="connsiteY13" fmla="*/ 2182526 h 2828031"/>
              <a:gd name="connsiteX14" fmla="*/ 3207730 w 3207730"/>
              <a:gd name="connsiteY14" fmla="*/ 2182526 h 2828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207730" h="2828031">
                <a:moveTo>
                  <a:pt x="3207730" y="2182526"/>
                </a:moveTo>
                <a:lnTo>
                  <a:pt x="2611706" y="2828031"/>
                </a:lnTo>
                <a:lnTo>
                  <a:pt x="2020180" y="2182526"/>
                </a:lnTo>
                <a:lnTo>
                  <a:pt x="2264833" y="2182526"/>
                </a:lnTo>
                <a:lnTo>
                  <a:pt x="2252133" y="1981558"/>
                </a:lnTo>
                <a:cubicBezTo>
                  <a:pt x="2185572" y="1490792"/>
                  <a:pt x="1877963" y="1059135"/>
                  <a:pt x="1423934" y="839042"/>
                </a:cubicBezTo>
                <a:cubicBezTo>
                  <a:pt x="1099627" y="681833"/>
                  <a:pt x="736859" y="650132"/>
                  <a:pt x="400606" y="736597"/>
                </a:cubicBezTo>
                <a:lnTo>
                  <a:pt x="311915" y="773216"/>
                </a:lnTo>
                <a:lnTo>
                  <a:pt x="453863" y="245131"/>
                </a:lnTo>
                <a:lnTo>
                  <a:pt x="0" y="142701"/>
                </a:lnTo>
                <a:lnTo>
                  <a:pt x="82571" y="111939"/>
                </a:lnTo>
                <a:cubicBezTo>
                  <a:pt x="613693" y="-64982"/>
                  <a:pt x="1203209" y="-34189"/>
                  <a:pt x="1724694" y="218603"/>
                </a:cubicBezTo>
                <a:cubicBezTo>
                  <a:pt x="2435810" y="563320"/>
                  <a:pt x="2901217" y="1263064"/>
                  <a:pt x="2950776" y="2043727"/>
                </a:cubicBezTo>
                <a:lnTo>
                  <a:pt x="2954590" y="2182526"/>
                </a:lnTo>
                <a:lnTo>
                  <a:pt x="3207730" y="2182526"/>
                </a:lnTo>
                <a:close/>
              </a:path>
            </a:pathLst>
          </a:custGeom>
          <a:gradFill flip="none" rotWithShape="1">
            <a:gsLst>
              <a:gs pos="0">
                <a:schemeClr val="accent1">
                  <a:lumMod val="40000"/>
                  <a:lumOff val="60000"/>
                </a:schemeClr>
              </a:gs>
              <a:gs pos="25000">
                <a:schemeClr val="accent1">
                  <a:lumMod val="60000"/>
                  <a:lumOff val="40000"/>
                </a:schemeClr>
              </a:gs>
              <a:gs pos="73000">
                <a:schemeClr val="accent1"/>
              </a:gs>
            </a:gsLst>
            <a:lin ang="108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HarmonyOS Sans SC"/>
              <a:cs typeface="+mn-cs"/>
            </a:endParaRPr>
          </a:p>
        </p:txBody>
      </p:sp>
      <p:sp>
        <p:nvSpPr>
          <p:cNvPr id="11" name="Oval 30">
            <a:extLst>
              <a:ext uri="{FF2B5EF4-FFF2-40B4-BE49-F238E27FC236}">
                <a16:creationId xmlns:a16="http://schemas.microsoft.com/office/drawing/2014/main" id="{E4372B64-D5C7-4704-BE74-83EC73429139}"/>
              </a:ext>
            </a:extLst>
          </p:cNvPr>
          <p:cNvSpPr/>
          <p:nvPr/>
        </p:nvSpPr>
        <p:spPr>
          <a:xfrm>
            <a:off x="4781468" y="4221447"/>
            <a:ext cx="342982" cy="342980"/>
          </a:xfrm>
          <a:prstGeom prst="ellipse">
            <a:avLst/>
          </a:prstGeom>
          <a:noFill/>
          <a:ln w="3175" cap="rnd" cmpd="sng">
            <a:noFill/>
            <a:prstDash val="dash"/>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p>
            <a:pPr marL="0" marR="0" lvl="0" indent="0" algn="ctr" defTabSz="914400" rtl="0" eaLnBrk="1" fontAlgn="auto" latinLnBrk="0" hangingPunct="1">
              <a:lnSpc>
                <a:spcPct val="100000"/>
              </a:lnSpc>
              <a:spcBef>
                <a:spcPts val="100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HarmonyOS Sans SC Black"/>
                <a:ea typeface="+mj-ea"/>
                <a:cs typeface="+mn-cs"/>
              </a:rPr>
              <a:t>03</a:t>
            </a:r>
          </a:p>
        </p:txBody>
      </p:sp>
      <p:sp>
        <p:nvSpPr>
          <p:cNvPr id="12" name="Oval 31">
            <a:extLst>
              <a:ext uri="{FF2B5EF4-FFF2-40B4-BE49-F238E27FC236}">
                <a16:creationId xmlns:a16="http://schemas.microsoft.com/office/drawing/2014/main" id="{E4F9536D-B295-4035-8894-38E8DA5747FF}"/>
              </a:ext>
            </a:extLst>
          </p:cNvPr>
          <p:cNvSpPr/>
          <p:nvPr/>
        </p:nvSpPr>
        <p:spPr>
          <a:xfrm>
            <a:off x="6946252" y="4221447"/>
            <a:ext cx="342982" cy="342980"/>
          </a:xfrm>
          <a:prstGeom prst="ellipse">
            <a:avLst/>
          </a:prstGeom>
          <a:noFill/>
          <a:ln w="3175" cap="rnd" cmpd="sng">
            <a:noFill/>
            <a:prstDash val="dash"/>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p>
            <a:pPr marL="0" marR="0" lvl="0" indent="0" algn="ctr" defTabSz="914400" rtl="0" eaLnBrk="1" fontAlgn="auto" latinLnBrk="0" hangingPunct="1">
              <a:lnSpc>
                <a:spcPct val="100000"/>
              </a:lnSpc>
              <a:spcBef>
                <a:spcPts val="100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HarmonyOS Sans SC Black"/>
                <a:ea typeface="+mj-ea"/>
                <a:cs typeface="+mn-cs"/>
              </a:rPr>
              <a:t>02</a:t>
            </a:r>
          </a:p>
        </p:txBody>
      </p:sp>
      <p:sp>
        <p:nvSpPr>
          <p:cNvPr id="13" name="Oval 32">
            <a:extLst>
              <a:ext uri="{FF2B5EF4-FFF2-40B4-BE49-F238E27FC236}">
                <a16:creationId xmlns:a16="http://schemas.microsoft.com/office/drawing/2014/main" id="{6BA5C859-1EC6-4BF2-A297-D2C30ADB4C30}"/>
              </a:ext>
            </a:extLst>
          </p:cNvPr>
          <p:cNvSpPr/>
          <p:nvPr/>
        </p:nvSpPr>
        <p:spPr>
          <a:xfrm>
            <a:off x="5863860" y="2362977"/>
            <a:ext cx="342982" cy="342980"/>
          </a:xfrm>
          <a:prstGeom prst="ellipse">
            <a:avLst/>
          </a:prstGeom>
          <a:noFill/>
          <a:ln w="3175" cap="rnd" cmpd="sng">
            <a:noFill/>
            <a:prstDash val="dash"/>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p>
            <a:pPr marL="0" marR="0" lvl="0" indent="0" algn="ctr" defTabSz="914400" rtl="0" eaLnBrk="1" fontAlgn="auto" latinLnBrk="0" hangingPunct="1">
              <a:lnSpc>
                <a:spcPct val="100000"/>
              </a:lnSpc>
              <a:spcBef>
                <a:spcPts val="100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HarmonyOS Sans SC Black"/>
                <a:ea typeface="+mj-ea"/>
                <a:cs typeface="+mn-cs"/>
              </a:rPr>
              <a:t>01</a:t>
            </a:r>
          </a:p>
        </p:txBody>
      </p:sp>
      <p:sp>
        <p:nvSpPr>
          <p:cNvPr id="22" name="Right Triangle 61">
            <a:extLst>
              <a:ext uri="{FF2B5EF4-FFF2-40B4-BE49-F238E27FC236}">
                <a16:creationId xmlns:a16="http://schemas.microsoft.com/office/drawing/2014/main" id="{A9C03DD3-FA3A-4A51-B6CA-D5ADC82C9522}"/>
              </a:ext>
            </a:extLst>
          </p:cNvPr>
          <p:cNvSpPr/>
          <p:nvPr/>
        </p:nvSpPr>
        <p:spPr>
          <a:xfrm flipV="1">
            <a:off x="1055689" y="803583"/>
            <a:ext cx="72580" cy="72177"/>
          </a:xfrm>
          <a:prstGeom prst="r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HarmonyOS Sans SC"/>
              <a:cs typeface="+mn-cs"/>
            </a:endParaRPr>
          </a:p>
        </p:txBody>
      </p:sp>
      <p:sp>
        <p:nvSpPr>
          <p:cNvPr id="23" name="文本框 22">
            <a:extLst>
              <a:ext uri="{FF2B5EF4-FFF2-40B4-BE49-F238E27FC236}">
                <a16:creationId xmlns:a16="http://schemas.microsoft.com/office/drawing/2014/main" id="{4F88BBAD-24EF-4A35-BDE0-3B9FB4A50A23}"/>
              </a:ext>
            </a:extLst>
          </p:cNvPr>
          <p:cNvSpPr txBox="1"/>
          <p:nvPr/>
        </p:nvSpPr>
        <p:spPr>
          <a:xfrm>
            <a:off x="941388" y="918105"/>
            <a:ext cx="3621504"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2800" b="0" i="0" u="none" strike="noStrike" kern="1200" cap="none" spc="0" normalizeH="0" baseline="0" noProof="0" dirty="0">
                <a:ln>
                  <a:noFill/>
                </a:ln>
                <a:solidFill>
                  <a:prstClr val="black"/>
                </a:solidFill>
                <a:effectLst/>
                <a:uLnTx/>
                <a:uFillTx/>
                <a:latin typeface="HarmonyOS Sans Black"/>
                <a:ea typeface="+mj-ea"/>
                <a:cs typeface="+mn-cs"/>
              </a:rPr>
              <a:t>Process </a:t>
            </a:r>
            <a:r>
              <a:rPr kumimoji="0" lang="en-US" altLang="zh-CN" sz="2800" b="0" i="0" u="none" strike="noStrike" kern="1200" cap="none" spc="0" normalizeH="0" baseline="0" noProof="0" dirty="0">
                <a:ln>
                  <a:noFill/>
                </a:ln>
                <a:solidFill>
                  <a:schemeClr val="accent1"/>
                </a:solidFill>
                <a:effectLst/>
                <a:uLnTx/>
                <a:uFillTx/>
                <a:latin typeface="HarmonyOS Sans Black"/>
                <a:ea typeface="+mj-ea"/>
                <a:cs typeface="+mn-cs"/>
              </a:rPr>
              <a:t>infographic</a:t>
            </a:r>
          </a:p>
        </p:txBody>
      </p:sp>
      <p:sp>
        <p:nvSpPr>
          <p:cNvPr id="24" name="TextBox 37">
            <a:extLst>
              <a:ext uri="{FF2B5EF4-FFF2-40B4-BE49-F238E27FC236}">
                <a16:creationId xmlns:a16="http://schemas.microsoft.com/office/drawing/2014/main" id="{6D9AACE0-2AEC-4146-88A9-84B79E49D5FA}"/>
              </a:ext>
            </a:extLst>
          </p:cNvPr>
          <p:cNvSpPr txBox="1"/>
          <p:nvPr/>
        </p:nvSpPr>
        <p:spPr>
          <a:xfrm>
            <a:off x="5148730" y="5481841"/>
            <a:ext cx="1894540" cy="306944"/>
          </a:xfrm>
          <a:prstGeom prst="rect">
            <a:avLst/>
          </a:prstGeom>
          <a:noFill/>
        </p:spPr>
        <p:txBody>
          <a:bodyPr wrap="square" lIns="0" tIns="0" rIns="0" bIns="0" rtlCol="0">
            <a:spAutoFit/>
          </a:bodyPr>
          <a:lstStyle/>
          <a:p>
            <a:pPr marL="0" marR="0" lvl="0" indent="0" algn="ctr" defTabSz="914400" rtl="0" eaLnBrk="1" fontAlgn="auto" latinLnBrk="0" hangingPunct="1">
              <a:lnSpc>
                <a:spcPct val="120000"/>
              </a:lnSpc>
              <a:spcBef>
                <a:spcPts val="1200"/>
              </a:spcBef>
              <a:spcAft>
                <a:spcPts val="0"/>
              </a:spcAft>
              <a:buClrTx/>
              <a:buSzTx/>
              <a:buFontTx/>
              <a:buNone/>
              <a:tabLst/>
              <a:defRPr/>
            </a:pPr>
            <a:r>
              <a:rPr kumimoji="0" lang="en-US" sz="1800" b="0" i="0" u="none" strike="noStrike" kern="1200" cap="none" spc="0" normalizeH="0" baseline="0" noProof="0" dirty="0">
                <a:ln>
                  <a:noFill/>
                </a:ln>
                <a:solidFill>
                  <a:prstClr val="black">
                    <a:lumMod val="75000"/>
                    <a:lumOff val="25000"/>
                  </a:prstClr>
                </a:solidFill>
                <a:effectLst/>
                <a:uLnTx/>
                <a:uFillTx/>
                <a:latin typeface="HarmonyOS Sans SC Black"/>
                <a:ea typeface="+mj-ea"/>
                <a:cs typeface="+mn-cs"/>
              </a:rPr>
              <a:t>03. Think</a:t>
            </a:r>
            <a:endParaRPr kumimoji="0" lang="en-US" sz="1200" b="0" i="0" u="none" strike="noStrike" kern="1200" cap="none" spc="0" normalizeH="0" baseline="0" noProof="0" dirty="0">
              <a:ln>
                <a:noFill/>
              </a:ln>
              <a:solidFill>
                <a:prstClr val="black">
                  <a:lumMod val="75000"/>
                  <a:lumOff val="25000"/>
                </a:prstClr>
              </a:solidFill>
              <a:effectLst/>
              <a:uLnTx/>
              <a:uFillTx/>
              <a:latin typeface="HarmonyOS Sans SC Black"/>
              <a:ea typeface="+mj-ea"/>
              <a:cs typeface="+mn-cs"/>
            </a:endParaRPr>
          </a:p>
        </p:txBody>
      </p:sp>
      <p:sp>
        <p:nvSpPr>
          <p:cNvPr id="25" name="TextBox 37">
            <a:extLst>
              <a:ext uri="{FF2B5EF4-FFF2-40B4-BE49-F238E27FC236}">
                <a16:creationId xmlns:a16="http://schemas.microsoft.com/office/drawing/2014/main" id="{E890F7A5-BB4B-4D50-9B84-64C88BA72D17}"/>
              </a:ext>
            </a:extLst>
          </p:cNvPr>
          <p:cNvSpPr txBox="1"/>
          <p:nvPr/>
        </p:nvSpPr>
        <p:spPr>
          <a:xfrm>
            <a:off x="3429000" y="5806666"/>
            <a:ext cx="5334000" cy="203902"/>
          </a:xfrm>
          <a:prstGeom prst="rect">
            <a:avLst/>
          </a:prstGeom>
          <a:noFill/>
        </p:spPr>
        <p:txBody>
          <a:bodyPr wrap="square" lIns="0" tIns="0" rIns="0" bIns="0" rtlCol="0">
            <a:spAutoFit/>
          </a:bodyPr>
          <a:lstStyle/>
          <a:p>
            <a:pPr marL="0" marR="0" lvl="0" indent="0" algn="ctr" defTabSz="914400" rtl="0" eaLnBrk="1" fontAlgn="auto" latinLnBrk="0" hangingPunct="1">
              <a:lnSpc>
                <a:spcPct val="120000"/>
              </a:lnSpc>
              <a:spcBef>
                <a:spcPts val="1200"/>
              </a:spcBef>
              <a:spcAft>
                <a:spcPts val="0"/>
              </a:spcAft>
              <a:buClrTx/>
              <a:buSzTx/>
              <a:buFontTx/>
              <a:buNone/>
              <a:tabLst/>
              <a:defRPr/>
            </a:pPr>
            <a:r>
              <a:rPr kumimoji="0" lang="en-US" sz="1200" b="0" i="0" u="none" strike="noStrike" kern="1200" cap="none" spc="0" normalizeH="0" baseline="0" noProof="0" dirty="0">
                <a:ln>
                  <a:noFill/>
                </a:ln>
                <a:solidFill>
                  <a:prstClr val="black">
                    <a:lumMod val="50000"/>
                    <a:lumOff val="50000"/>
                  </a:prstClr>
                </a:solidFill>
                <a:effectLst/>
                <a:uLnTx/>
                <a:uFillTx/>
                <a:latin typeface="HarmonyOS Sans SC"/>
                <a:cs typeface="+mn-cs"/>
              </a:rPr>
              <a:t>The first people you’ll meet are our experts in business, UX and technology. </a:t>
            </a:r>
          </a:p>
        </p:txBody>
      </p:sp>
      <p:sp>
        <p:nvSpPr>
          <p:cNvPr id="26" name="TextBox 36">
            <a:extLst>
              <a:ext uri="{FF2B5EF4-FFF2-40B4-BE49-F238E27FC236}">
                <a16:creationId xmlns:a16="http://schemas.microsoft.com/office/drawing/2014/main" id="{41E9543E-0987-4D22-90B9-4C7C47B09E5A}"/>
              </a:ext>
            </a:extLst>
          </p:cNvPr>
          <p:cNvSpPr txBox="1"/>
          <p:nvPr/>
        </p:nvSpPr>
        <p:spPr>
          <a:xfrm flipH="1">
            <a:off x="2454324" y="2673645"/>
            <a:ext cx="1835339" cy="306944"/>
          </a:xfrm>
          <a:prstGeom prst="rect">
            <a:avLst/>
          </a:prstGeom>
          <a:noFill/>
        </p:spPr>
        <p:txBody>
          <a:bodyPr wrap="square" lIns="0" tIns="0" rIns="0" bIns="0" rtlCol="0">
            <a:spAutoFit/>
          </a:bodyPr>
          <a:lstStyle/>
          <a:p>
            <a:pPr marL="0" marR="0" lvl="0" indent="0" algn="r" defTabSz="914400" rtl="0" eaLnBrk="1" fontAlgn="auto" latinLnBrk="0" hangingPunct="1">
              <a:lnSpc>
                <a:spcPct val="120000"/>
              </a:lnSpc>
              <a:spcBef>
                <a:spcPts val="1200"/>
              </a:spcBef>
              <a:spcAft>
                <a:spcPts val="0"/>
              </a:spcAft>
              <a:buClrTx/>
              <a:buSzTx/>
              <a:buFontTx/>
              <a:buNone/>
              <a:tabLst/>
              <a:defRPr/>
            </a:pPr>
            <a:r>
              <a:rPr kumimoji="0" lang="en-US" sz="1800" b="0" i="0" u="none" strike="noStrike" kern="1200" cap="none" spc="0" normalizeH="0" baseline="0" noProof="0" dirty="0">
                <a:ln>
                  <a:noFill/>
                </a:ln>
                <a:solidFill>
                  <a:prstClr val="black">
                    <a:lumMod val="75000"/>
                    <a:lumOff val="25000"/>
                  </a:prstClr>
                </a:solidFill>
                <a:effectLst/>
                <a:uLnTx/>
                <a:uFillTx/>
                <a:latin typeface="HarmonyOS Sans SC Black"/>
                <a:ea typeface="+mj-ea"/>
                <a:cs typeface="+mn-cs"/>
              </a:rPr>
              <a:t>01. Think</a:t>
            </a:r>
            <a:endParaRPr kumimoji="0" lang="en-US" sz="1200" b="0" i="0" u="none" strike="noStrike" kern="1200" cap="none" spc="0" normalizeH="0" baseline="0" noProof="0" dirty="0">
              <a:ln>
                <a:noFill/>
              </a:ln>
              <a:solidFill>
                <a:prstClr val="black">
                  <a:lumMod val="75000"/>
                  <a:lumOff val="25000"/>
                </a:prstClr>
              </a:solidFill>
              <a:effectLst/>
              <a:uLnTx/>
              <a:uFillTx/>
              <a:latin typeface="HarmonyOS Sans SC Black"/>
              <a:ea typeface="+mj-ea"/>
              <a:cs typeface="+mn-cs"/>
            </a:endParaRPr>
          </a:p>
        </p:txBody>
      </p:sp>
      <p:sp>
        <p:nvSpPr>
          <p:cNvPr id="27" name="TextBox 36">
            <a:extLst>
              <a:ext uri="{FF2B5EF4-FFF2-40B4-BE49-F238E27FC236}">
                <a16:creationId xmlns:a16="http://schemas.microsoft.com/office/drawing/2014/main" id="{2FD5D87D-FCC5-4443-AFBB-36A426156E98}"/>
              </a:ext>
            </a:extLst>
          </p:cNvPr>
          <p:cNvSpPr txBox="1"/>
          <p:nvPr/>
        </p:nvSpPr>
        <p:spPr>
          <a:xfrm flipH="1">
            <a:off x="1219200" y="2998470"/>
            <a:ext cx="3070462" cy="425501"/>
          </a:xfrm>
          <a:prstGeom prst="rect">
            <a:avLst/>
          </a:prstGeom>
          <a:noFill/>
        </p:spPr>
        <p:txBody>
          <a:bodyPr wrap="square" lIns="0" tIns="0" rIns="0" bIns="0" rtlCol="0">
            <a:spAutoFit/>
          </a:bodyPr>
          <a:lstStyle/>
          <a:p>
            <a:pPr marL="0" marR="0" lvl="0" indent="0" algn="r" defTabSz="914400" rtl="0" eaLnBrk="1" fontAlgn="auto" latinLnBrk="0" hangingPunct="1">
              <a:lnSpc>
                <a:spcPct val="120000"/>
              </a:lnSpc>
              <a:spcBef>
                <a:spcPts val="1200"/>
              </a:spcBef>
              <a:spcAft>
                <a:spcPts val="0"/>
              </a:spcAft>
              <a:buClrTx/>
              <a:buSzTx/>
              <a:buFontTx/>
              <a:buNone/>
              <a:tabLst/>
              <a:defRPr/>
            </a:pPr>
            <a:r>
              <a:rPr kumimoji="0" lang="en-US" sz="1200" b="0" i="0" u="none" strike="noStrike" kern="1200" cap="none" spc="0" normalizeH="0" baseline="0" noProof="0" dirty="0">
                <a:ln>
                  <a:noFill/>
                </a:ln>
                <a:solidFill>
                  <a:prstClr val="black">
                    <a:lumMod val="50000"/>
                    <a:lumOff val="50000"/>
                  </a:prstClr>
                </a:solidFill>
                <a:effectLst/>
                <a:uLnTx/>
                <a:uFillTx/>
                <a:latin typeface="HarmonyOS Sans SC"/>
                <a:cs typeface="+mn-cs"/>
              </a:rPr>
              <a:t>The first people you’ll meet are our experts in business, UX and technology. </a:t>
            </a:r>
          </a:p>
        </p:txBody>
      </p:sp>
      <p:sp>
        <p:nvSpPr>
          <p:cNvPr id="28" name="TextBox 33">
            <a:extLst>
              <a:ext uri="{FF2B5EF4-FFF2-40B4-BE49-F238E27FC236}">
                <a16:creationId xmlns:a16="http://schemas.microsoft.com/office/drawing/2014/main" id="{F09DA861-ACA8-4693-97EF-EC536E415D7A}"/>
              </a:ext>
            </a:extLst>
          </p:cNvPr>
          <p:cNvSpPr txBox="1"/>
          <p:nvPr/>
        </p:nvSpPr>
        <p:spPr>
          <a:xfrm>
            <a:off x="7808655" y="2673645"/>
            <a:ext cx="1894540" cy="306944"/>
          </a:xfrm>
          <a:prstGeom prst="rect">
            <a:avLst/>
          </a:prstGeom>
          <a:noFill/>
        </p:spPr>
        <p:txBody>
          <a:bodyPr wrap="square" lIns="0" tIns="0" rIns="0" bIns="0" rtlCol="0">
            <a:spAutoFit/>
          </a:bodyPr>
          <a:lstStyle/>
          <a:p>
            <a:pPr marL="0" marR="0" lvl="0" indent="0" algn="l" defTabSz="914400" rtl="0" eaLnBrk="1" fontAlgn="auto" latinLnBrk="0" hangingPunct="1">
              <a:lnSpc>
                <a:spcPct val="120000"/>
              </a:lnSpc>
              <a:spcBef>
                <a:spcPts val="1200"/>
              </a:spcBef>
              <a:spcAft>
                <a:spcPts val="0"/>
              </a:spcAft>
              <a:buClrTx/>
              <a:buSzTx/>
              <a:buFontTx/>
              <a:buNone/>
              <a:tabLst/>
              <a:defRPr/>
            </a:pPr>
            <a:r>
              <a:rPr kumimoji="0" lang="en-US" sz="1800" b="0" i="0" u="none" strike="noStrike" kern="1200" cap="none" spc="0" normalizeH="0" baseline="0" noProof="0" dirty="0">
                <a:ln>
                  <a:noFill/>
                </a:ln>
                <a:solidFill>
                  <a:prstClr val="black">
                    <a:lumMod val="75000"/>
                    <a:lumOff val="25000"/>
                  </a:prstClr>
                </a:solidFill>
                <a:effectLst/>
                <a:uLnTx/>
                <a:uFillTx/>
                <a:latin typeface="HarmonyOS Sans SC Black"/>
                <a:ea typeface="+mj-ea"/>
                <a:cs typeface="+mn-cs"/>
              </a:rPr>
              <a:t>02. Think</a:t>
            </a:r>
            <a:endParaRPr kumimoji="0" lang="en-US" sz="1200" b="0" i="0" u="none" strike="noStrike" kern="1200" cap="none" spc="0" normalizeH="0" baseline="0" noProof="0" dirty="0">
              <a:ln>
                <a:noFill/>
              </a:ln>
              <a:solidFill>
                <a:prstClr val="black">
                  <a:lumMod val="75000"/>
                  <a:lumOff val="25000"/>
                </a:prstClr>
              </a:solidFill>
              <a:effectLst/>
              <a:uLnTx/>
              <a:uFillTx/>
              <a:latin typeface="HarmonyOS Sans SC Black"/>
              <a:ea typeface="+mj-ea"/>
              <a:cs typeface="+mn-cs"/>
            </a:endParaRPr>
          </a:p>
        </p:txBody>
      </p:sp>
      <p:sp>
        <p:nvSpPr>
          <p:cNvPr id="29" name="TextBox 33">
            <a:extLst>
              <a:ext uri="{FF2B5EF4-FFF2-40B4-BE49-F238E27FC236}">
                <a16:creationId xmlns:a16="http://schemas.microsoft.com/office/drawing/2014/main" id="{57E0ABC6-2454-42CF-9D84-7CDC7A2EA538}"/>
              </a:ext>
            </a:extLst>
          </p:cNvPr>
          <p:cNvSpPr txBox="1"/>
          <p:nvPr/>
        </p:nvSpPr>
        <p:spPr>
          <a:xfrm>
            <a:off x="7808654" y="2998470"/>
            <a:ext cx="3461326" cy="425501"/>
          </a:xfrm>
          <a:prstGeom prst="rect">
            <a:avLst/>
          </a:prstGeom>
          <a:noFill/>
        </p:spPr>
        <p:txBody>
          <a:bodyPr wrap="square" lIns="0" tIns="0" rIns="0" bIns="0" rtlCol="0">
            <a:spAutoFit/>
          </a:bodyPr>
          <a:lstStyle/>
          <a:p>
            <a:pPr marL="0" marR="0" lvl="0" indent="0" algn="l" defTabSz="914400" rtl="0" eaLnBrk="1" fontAlgn="auto" latinLnBrk="0" hangingPunct="1">
              <a:lnSpc>
                <a:spcPct val="120000"/>
              </a:lnSpc>
              <a:spcBef>
                <a:spcPts val="1200"/>
              </a:spcBef>
              <a:spcAft>
                <a:spcPts val="0"/>
              </a:spcAft>
              <a:buClrTx/>
              <a:buSzTx/>
              <a:buFontTx/>
              <a:buNone/>
              <a:tabLst/>
              <a:defRPr/>
            </a:pPr>
            <a:r>
              <a:rPr kumimoji="0" lang="en-US" sz="1200" b="0" i="0" u="none" strike="noStrike" kern="1200" cap="none" spc="0" normalizeH="0" baseline="0" noProof="0" dirty="0">
                <a:ln>
                  <a:noFill/>
                </a:ln>
                <a:solidFill>
                  <a:prstClr val="black">
                    <a:lumMod val="50000"/>
                    <a:lumOff val="50000"/>
                  </a:prstClr>
                </a:solidFill>
                <a:effectLst/>
                <a:uLnTx/>
                <a:uFillTx/>
                <a:latin typeface="HarmonyOS Sans SC"/>
                <a:cs typeface="+mn-cs"/>
              </a:rPr>
              <a:t>The first people you’ll meet are our experts in business, UX and technology. </a:t>
            </a:r>
          </a:p>
        </p:txBody>
      </p:sp>
    </p:spTree>
    <p:extLst>
      <p:ext uri="{BB962C8B-B14F-4D97-AF65-F5344CB8AC3E}">
        <p14:creationId xmlns:p14="http://schemas.microsoft.com/office/powerpoint/2010/main" val="2607285821"/>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5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reeform 5">
            <a:extLst>
              <a:ext uri="{FF2B5EF4-FFF2-40B4-BE49-F238E27FC236}">
                <a16:creationId xmlns:a16="http://schemas.microsoft.com/office/drawing/2014/main" id="{AAB54376-375E-40FC-9A08-C263D2D85C8E}"/>
              </a:ext>
            </a:extLst>
          </p:cNvPr>
          <p:cNvSpPr>
            <a:spLocks/>
          </p:cNvSpPr>
          <p:nvPr/>
        </p:nvSpPr>
        <p:spPr bwMode="auto">
          <a:xfrm>
            <a:off x="6115708" y="2400299"/>
            <a:ext cx="1537243" cy="2266379"/>
          </a:xfrm>
          <a:custGeom>
            <a:avLst/>
            <a:gdLst>
              <a:gd name="T0" fmla="*/ 952 w 965"/>
              <a:gd name="T1" fmla="*/ 908 h 1425"/>
              <a:gd name="T2" fmla="*/ 0 w 965"/>
              <a:gd name="T3" fmla="*/ 0 h 1425"/>
              <a:gd name="T4" fmla="*/ 133 w 965"/>
              <a:gd name="T5" fmla="*/ 255 h 1425"/>
              <a:gd name="T6" fmla="*/ 130 w 965"/>
              <a:gd name="T7" fmla="*/ 305 h 1425"/>
              <a:gd name="T8" fmla="*/ 10 w 965"/>
              <a:gd name="T9" fmla="*/ 490 h 1425"/>
              <a:gd name="T10" fmla="*/ 466 w 965"/>
              <a:gd name="T11" fmla="*/ 977 h 1425"/>
              <a:gd name="T12" fmla="*/ 407 w 965"/>
              <a:gd name="T13" fmla="*/ 1210 h 1425"/>
              <a:gd name="T14" fmla="*/ 525 w 965"/>
              <a:gd name="T15" fmla="*/ 1418 h 1425"/>
              <a:gd name="T16" fmla="*/ 531 w 965"/>
              <a:gd name="T17" fmla="*/ 1422 h 1425"/>
              <a:gd name="T18" fmla="*/ 846 w 965"/>
              <a:gd name="T19" fmla="*/ 1422 h 1425"/>
              <a:gd name="T20" fmla="*/ 846 w 965"/>
              <a:gd name="T21" fmla="*/ 1425 h 1425"/>
              <a:gd name="T22" fmla="*/ 952 w 965"/>
              <a:gd name="T23" fmla="*/ 908 h 1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5" h="1425">
                <a:moveTo>
                  <a:pt x="952" y="908"/>
                </a:moveTo>
                <a:cubicBezTo>
                  <a:pt x="916" y="400"/>
                  <a:pt x="499" y="11"/>
                  <a:pt x="0" y="0"/>
                </a:cubicBezTo>
                <a:cubicBezTo>
                  <a:pt x="133" y="255"/>
                  <a:pt x="133" y="255"/>
                  <a:pt x="133" y="255"/>
                </a:cubicBezTo>
                <a:cubicBezTo>
                  <a:pt x="141" y="271"/>
                  <a:pt x="140" y="290"/>
                  <a:pt x="130" y="305"/>
                </a:cubicBezTo>
                <a:cubicBezTo>
                  <a:pt x="10" y="490"/>
                  <a:pt x="10" y="490"/>
                  <a:pt x="10" y="490"/>
                </a:cubicBezTo>
                <a:cubicBezTo>
                  <a:pt x="265" y="507"/>
                  <a:pt x="466" y="719"/>
                  <a:pt x="466" y="977"/>
                </a:cubicBezTo>
                <a:cubicBezTo>
                  <a:pt x="466" y="1061"/>
                  <a:pt x="444" y="1140"/>
                  <a:pt x="407" y="1210"/>
                </a:cubicBezTo>
                <a:cubicBezTo>
                  <a:pt x="525" y="1418"/>
                  <a:pt x="525" y="1418"/>
                  <a:pt x="525" y="1418"/>
                </a:cubicBezTo>
                <a:cubicBezTo>
                  <a:pt x="526" y="1420"/>
                  <a:pt x="529" y="1422"/>
                  <a:pt x="531" y="1422"/>
                </a:cubicBezTo>
                <a:cubicBezTo>
                  <a:pt x="846" y="1422"/>
                  <a:pt x="846" y="1422"/>
                  <a:pt x="846" y="1422"/>
                </a:cubicBezTo>
                <a:cubicBezTo>
                  <a:pt x="846" y="1425"/>
                  <a:pt x="846" y="1425"/>
                  <a:pt x="846" y="1425"/>
                </a:cubicBezTo>
                <a:cubicBezTo>
                  <a:pt x="921" y="1265"/>
                  <a:pt x="965" y="1084"/>
                  <a:pt x="952" y="908"/>
                </a:cubicBezTo>
                <a:close/>
              </a:path>
            </a:pathLst>
          </a:custGeom>
          <a:gradFill flip="none" rotWithShape="1">
            <a:gsLst>
              <a:gs pos="0">
                <a:schemeClr val="accent1">
                  <a:lumMod val="40000"/>
                  <a:lumOff val="60000"/>
                </a:schemeClr>
              </a:gs>
              <a:gs pos="55000">
                <a:schemeClr val="accent1">
                  <a:lumMod val="60000"/>
                  <a:lumOff val="40000"/>
                </a:schemeClr>
              </a:gs>
              <a:gs pos="100000">
                <a:schemeClr val="accent1"/>
              </a:gs>
            </a:gsLst>
            <a:lin ang="54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4" name="Freeform 6">
            <a:extLst>
              <a:ext uri="{FF2B5EF4-FFF2-40B4-BE49-F238E27FC236}">
                <a16:creationId xmlns:a16="http://schemas.microsoft.com/office/drawing/2014/main" id="{25F19F7D-671D-473A-8B09-581D3264DF36}"/>
              </a:ext>
            </a:extLst>
          </p:cNvPr>
          <p:cNvSpPr>
            <a:spLocks/>
          </p:cNvSpPr>
          <p:nvPr/>
        </p:nvSpPr>
        <p:spPr bwMode="auto">
          <a:xfrm>
            <a:off x="4790075" y="4382231"/>
            <a:ext cx="2639764" cy="1329466"/>
          </a:xfrm>
          <a:custGeom>
            <a:avLst/>
            <a:gdLst>
              <a:gd name="T0" fmla="*/ 1363 w 1657"/>
              <a:gd name="T1" fmla="*/ 217 h 836"/>
              <a:gd name="T2" fmla="*/ 1320 w 1657"/>
              <a:gd name="T3" fmla="*/ 192 h 836"/>
              <a:gd name="T4" fmla="*/ 1214 w 1657"/>
              <a:gd name="T5" fmla="*/ 4 h 836"/>
              <a:gd name="T6" fmla="*/ 809 w 1657"/>
              <a:gd name="T7" fmla="*/ 220 h 836"/>
              <a:gd name="T8" fmla="*/ 401 w 1657"/>
              <a:gd name="T9" fmla="*/ 0 h 836"/>
              <a:gd name="T10" fmla="*/ 366 w 1657"/>
              <a:gd name="T11" fmla="*/ 0 h 836"/>
              <a:gd name="T12" fmla="*/ 164 w 1657"/>
              <a:gd name="T13" fmla="*/ 2 h 836"/>
              <a:gd name="T14" fmla="*/ 157 w 1657"/>
              <a:gd name="T15" fmla="*/ 6 h 836"/>
              <a:gd name="T16" fmla="*/ 7 w 1657"/>
              <a:gd name="T17" fmla="*/ 274 h 836"/>
              <a:gd name="T18" fmla="*/ 4 w 1657"/>
              <a:gd name="T19" fmla="*/ 280 h 836"/>
              <a:gd name="T20" fmla="*/ 1 w 1657"/>
              <a:gd name="T21" fmla="*/ 278 h 836"/>
              <a:gd name="T22" fmla="*/ 0 w 1657"/>
              <a:gd name="T23" fmla="*/ 278 h 836"/>
              <a:gd name="T24" fmla="*/ 0 w 1657"/>
              <a:gd name="T25" fmla="*/ 279 h 836"/>
              <a:gd name="T26" fmla="*/ 382 w 1657"/>
              <a:gd name="T27" fmla="*/ 610 h 836"/>
              <a:gd name="T28" fmla="*/ 1657 w 1657"/>
              <a:gd name="T29" fmla="*/ 218 h 836"/>
              <a:gd name="T30" fmla="*/ 1363 w 1657"/>
              <a:gd name="T31" fmla="*/ 217 h 8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57" h="836">
                <a:moveTo>
                  <a:pt x="1363" y="217"/>
                </a:moveTo>
                <a:cubicBezTo>
                  <a:pt x="1346" y="217"/>
                  <a:pt x="1329" y="208"/>
                  <a:pt x="1320" y="192"/>
                </a:cubicBezTo>
                <a:cubicBezTo>
                  <a:pt x="1214" y="4"/>
                  <a:pt x="1214" y="4"/>
                  <a:pt x="1214" y="4"/>
                </a:cubicBezTo>
                <a:cubicBezTo>
                  <a:pt x="1127" y="134"/>
                  <a:pt x="978" y="220"/>
                  <a:pt x="809" y="220"/>
                </a:cubicBezTo>
                <a:cubicBezTo>
                  <a:pt x="639" y="220"/>
                  <a:pt x="488" y="132"/>
                  <a:pt x="401" y="0"/>
                </a:cubicBezTo>
                <a:cubicBezTo>
                  <a:pt x="366" y="0"/>
                  <a:pt x="366" y="0"/>
                  <a:pt x="366" y="0"/>
                </a:cubicBezTo>
                <a:cubicBezTo>
                  <a:pt x="164" y="2"/>
                  <a:pt x="164" y="2"/>
                  <a:pt x="164" y="2"/>
                </a:cubicBezTo>
                <a:cubicBezTo>
                  <a:pt x="161" y="2"/>
                  <a:pt x="158" y="3"/>
                  <a:pt x="157" y="6"/>
                </a:cubicBezTo>
                <a:cubicBezTo>
                  <a:pt x="7" y="274"/>
                  <a:pt x="7" y="274"/>
                  <a:pt x="7" y="274"/>
                </a:cubicBezTo>
                <a:cubicBezTo>
                  <a:pt x="4" y="280"/>
                  <a:pt x="4" y="280"/>
                  <a:pt x="4" y="280"/>
                </a:cubicBezTo>
                <a:cubicBezTo>
                  <a:pt x="1" y="278"/>
                  <a:pt x="1" y="278"/>
                  <a:pt x="1" y="278"/>
                </a:cubicBezTo>
                <a:cubicBezTo>
                  <a:pt x="0" y="278"/>
                  <a:pt x="0" y="278"/>
                  <a:pt x="0" y="278"/>
                </a:cubicBezTo>
                <a:cubicBezTo>
                  <a:pt x="0" y="279"/>
                  <a:pt x="0" y="279"/>
                  <a:pt x="0" y="279"/>
                </a:cubicBezTo>
                <a:cubicBezTo>
                  <a:pt x="100" y="428"/>
                  <a:pt x="220" y="532"/>
                  <a:pt x="382" y="610"/>
                </a:cubicBezTo>
                <a:cubicBezTo>
                  <a:pt x="847" y="836"/>
                  <a:pt x="1403" y="660"/>
                  <a:pt x="1657" y="218"/>
                </a:cubicBezTo>
                <a:lnTo>
                  <a:pt x="1363" y="217"/>
                </a:lnTo>
                <a:close/>
              </a:path>
            </a:pathLst>
          </a:custGeom>
          <a:gradFill flip="none" rotWithShape="1">
            <a:gsLst>
              <a:gs pos="0">
                <a:schemeClr val="accent1">
                  <a:lumMod val="40000"/>
                  <a:lumOff val="60000"/>
                </a:schemeClr>
              </a:gs>
              <a:gs pos="55000">
                <a:schemeClr val="accent1">
                  <a:lumMod val="60000"/>
                  <a:lumOff val="40000"/>
                </a:schemeClr>
              </a:gs>
              <a:gs pos="100000">
                <a:schemeClr val="accent1"/>
              </a:gs>
            </a:gsLst>
            <a:lin ang="108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5" name="Freeform 7">
            <a:extLst>
              <a:ext uri="{FF2B5EF4-FFF2-40B4-BE49-F238E27FC236}">
                <a16:creationId xmlns:a16="http://schemas.microsoft.com/office/drawing/2014/main" id="{9C9B7799-3E0E-4576-B136-BA732EDD81B8}"/>
              </a:ext>
            </a:extLst>
          </p:cNvPr>
          <p:cNvSpPr>
            <a:spLocks/>
          </p:cNvSpPr>
          <p:nvPr/>
        </p:nvSpPr>
        <p:spPr bwMode="auto">
          <a:xfrm>
            <a:off x="4318552" y="2401832"/>
            <a:ext cx="1951264" cy="2366818"/>
          </a:xfrm>
          <a:custGeom>
            <a:avLst/>
            <a:gdLst>
              <a:gd name="T0" fmla="*/ 616 w 1225"/>
              <a:gd name="T1" fmla="*/ 976 h 1488"/>
              <a:gd name="T2" fmla="*/ 1089 w 1225"/>
              <a:gd name="T3" fmla="*/ 488 h 1488"/>
              <a:gd name="T4" fmla="*/ 1223 w 1225"/>
              <a:gd name="T5" fmla="*/ 281 h 1488"/>
              <a:gd name="T6" fmla="*/ 1224 w 1225"/>
              <a:gd name="T7" fmla="*/ 273 h 1488"/>
              <a:gd name="T8" fmla="*/ 1082 w 1225"/>
              <a:gd name="T9" fmla="*/ 0 h 1488"/>
              <a:gd name="T10" fmla="*/ 1036 w 1225"/>
              <a:gd name="T11" fmla="*/ 1 h 1488"/>
              <a:gd name="T12" fmla="*/ 557 w 1225"/>
              <a:gd name="T13" fmla="*/ 167 h 1488"/>
              <a:gd name="T14" fmla="*/ 272 w 1225"/>
              <a:gd name="T15" fmla="*/ 1488 h 1488"/>
              <a:gd name="T16" fmla="*/ 417 w 1225"/>
              <a:gd name="T17" fmla="*/ 1230 h 1488"/>
              <a:gd name="T18" fmla="*/ 460 w 1225"/>
              <a:gd name="T19" fmla="*/ 1205 h 1488"/>
              <a:gd name="T20" fmla="*/ 673 w 1225"/>
              <a:gd name="T21" fmla="*/ 1204 h 1488"/>
              <a:gd name="T22" fmla="*/ 616 w 1225"/>
              <a:gd name="T23" fmla="*/ 976 h 14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25" h="1488">
                <a:moveTo>
                  <a:pt x="616" y="976"/>
                </a:moveTo>
                <a:cubicBezTo>
                  <a:pt x="616" y="712"/>
                  <a:pt x="827" y="496"/>
                  <a:pt x="1089" y="488"/>
                </a:cubicBezTo>
                <a:cubicBezTo>
                  <a:pt x="1223" y="281"/>
                  <a:pt x="1223" y="281"/>
                  <a:pt x="1223" y="281"/>
                </a:cubicBezTo>
                <a:cubicBezTo>
                  <a:pt x="1225" y="279"/>
                  <a:pt x="1225" y="276"/>
                  <a:pt x="1224" y="273"/>
                </a:cubicBezTo>
                <a:cubicBezTo>
                  <a:pt x="1082" y="0"/>
                  <a:pt x="1082" y="0"/>
                  <a:pt x="1082" y="0"/>
                </a:cubicBezTo>
                <a:cubicBezTo>
                  <a:pt x="1036" y="1"/>
                  <a:pt x="1036" y="1"/>
                  <a:pt x="1036" y="1"/>
                </a:cubicBezTo>
                <a:cubicBezTo>
                  <a:pt x="856" y="14"/>
                  <a:pt x="706" y="66"/>
                  <a:pt x="557" y="167"/>
                </a:cubicBezTo>
                <a:cubicBezTo>
                  <a:pt x="122" y="461"/>
                  <a:pt x="0" y="1045"/>
                  <a:pt x="272" y="1488"/>
                </a:cubicBezTo>
                <a:cubicBezTo>
                  <a:pt x="417" y="1230"/>
                  <a:pt x="417" y="1230"/>
                  <a:pt x="417" y="1230"/>
                </a:cubicBezTo>
                <a:cubicBezTo>
                  <a:pt x="425" y="1215"/>
                  <a:pt x="442" y="1205"/>
                  <a:pt x="460" y="1205"/>
                </a:cubicBezTo>
                <a:cubicBezTo>
                  <a:pt x="673" y="1204"/>
                  <a:pt x="673" y="1204"/>
                  <a:pt x="673" y="1204"/>
                </a:cubicBezTo>
                <a:cubicBezTo>
                  <a:pt x="637" y="1136"/>
                  <a:pt x="616" y="1058"/>
                  <a:pt x="616" y="976"/>
                </a:cubicBezTo>
                <a:close/>
              </a:path>
            </a:pathLst>
          </a:custGeom>
          <a:gradFill flip="none" rotWithShape="1">
            <a:gsLst>
              <a:gs pos="0">
                <a:schemeClr val="accent1">
                  <a:lumMod val="40000"/>
                  <a:lumOff val="60000"/>
                </a:schemeClr>
              </a:gs>
              <a:gs pos="55000">
                <a:schemeClr val="accent1">
                  <a:lumMod val="60000"/>
                  <a:lumOff val="40000"/>
                </a:schemeClr>
              </a:gs>
              <a:gs pos="100000">
                <a:schemeClr val="accent1"/>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6" name="Freeform 8">
            <a:extLst>
              <a:ext uri="{FF2B5EF4-FFF2-40B4-BE49-F238E27FC236}">
                <a16:creationId xmlns:a16="http://schemas.microsoft.com/office/drawing/2014/main" id="{2FE12855-89AD-4122-AA3A-E0610B55792B}"/>
              </a:ext>
            </a:extLst>
          </p:cNvPr>
          <p:cNvSpPr>
            <a:spLocks/>
          </p:cNvSpPr>
          <p:nvPr/>
        </p:nvSpPr>
        <p:spPr bwMode="auto">
          <a:xfrm>
            <a:off x="4787009" y="4823086"/>
            <a:ext cx="4600" cy="3067"/>
          </a:xfrm>
          <a:custGeom>
            <a:avLst/>
            <a:gdLst>
              <a:gd name="T0" fmla="*/ 2 w 3"/>
              <a:gd name="T1" fmla="*/ 2 h 2"/>
              <a:gd name="T2" fmla="*/ 3 w 3"/>
              <a:gd name="T3" fmla="*/ 1 h 2"/>
              <a:gd name="T4" fmla="*/ 0 w 3"/>
              <a:gd name="T5" fmla="*/ 0 h 2"/>
              <a:gd name="T6" fmla="*/ 2 w 3"/>
              <a:gd name="T7" fmla="*/ 2 h 2"/>
            </a:gdLst>
            <a:ahLst/>
            <a:cxnLst>
              <a:cxn ang="0">
                <a:pos x="T0" y="T1"/>
              </a:cxn>
              <a:cxn ang="0">
                <a:pos x="T2" y="T3"/>
              </a:cxn>
              <a:cxn ang="0">
                <a:pos x="T4" y="T5"/>
              </a:cxn>
              <a:cxn ang="0">
                <a:pos x="T6" y="T7"/>
              </a:cxn>
            </a:cxnLst>
            <a:rect l="0" t="0" r="r" b="b"/>
            <a:pathLst>
              <a:path w="3" h="2">
                <a:moveTo>
                  <a:pt x="2" y="2"/>
                </a:moveTo>
                <a:cubicBezTo>
                  <a:pt x="3" y="1"/>
                  <a:pt x="3" y="1"/>
                  <a:pt x="3" y="1"/>
                </a:cubicBezTo>
                <a:cubicBezTo>
                  <a:pt x="0" y="0"/>
                  <a:pt x="0" y="0"/>
                  <a:pt x="0" y="0"/>
                </a:cubicBezTo>
                <a:cubicBezTo>
                  <a:pt x="1" y="0"/>
                  <a:pt x="1" y="1"/>
                  <a:pt x="2" y="2"/>
                </a:cubicBezTo>
                <a:close/>
              </a:path>
            </a:pathLst>
          </a:custGeom>
          <a:solidFill>
            <a:srgbClr val="FF47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Inter"/>
              <a:ea typeface="+mn-ea"/>
              <a:cs typeface="+mn-cs"/>
            </a:endParaRPr>
          </a:p>
        </p:txBody>
      </p:sp>
      <p:sp>
        <p:nvSpPr>
          <p:cNvPr id="8" name="Freeform 5">
            <a:extLst>
              <a:ext uri="{FF2B5EF4-FFF2-40B4-BE49-F238E27FC236}">
                <a16:creationId xmlns:a16="http://schemas.microsoft.com/office/drawing/2014/main" id="{0E1D398D-32E8-4881-BC95-30D48C5434F4}"/>
              </a:ext>
            </a:extLst>
          </p:cNvPr>
          <p:cNvSpPr>
            <a:spLocks noEditPoints="1"/>
          </p:cNvSpPr>
          <p:nvPr/>
        </p:nvSpPr>
        <p:spPr bwMode="auto">
          <a:xfrm>
            <a:off x="4991658" y="3183332"/>
            <a:ext cx="289959" cy="289959"/>
          </a:xfrm>
          <a:custGeom>
            <a:avLst/>
            <a:gdLst>
              <a:gd name="T0" fmla="*/ 182 w 182"/>
              <a:gd name="T1" fmla="*/ 107 h 182"/>
              <a:gd name="T2" fmla="*/ 182 w 182"/>
              <a:gd name="T3" fmla="*/ 74 h 182"/>
              <a:gd name="T4" fmla="*/ 161 w 182"/>
              <a:gd name="T5" fmla="*/ 74 h 182"/>
              <a:gd name="T6" fmla="*/ 152 w 182"/>
              <a:gd name="T7" fmla="*/ 53 h 182"/>
              <a:gd name="T8" fmla="*/ 167 w 182"/>
              <a:gd name="T9" fmla="*/ 38 h 182"/>
              <a:gd name="T10" fmla="*/ 144 w 182"/>
              <a:gd name="T11" fmla="*/ 15 h 182"/>
              <a:gd name="T12" fmla="*/ 129 w 182"/>
              <a:gd name="T13" fmla="*/ 30 h 182"/>
              <a:gd name="T14" fmla="*/ 107 w 182"/>
              <a:gd name="T15" fmla="*/ 21 h 182"/>
              <a:gd name="T16" fmla="*/ 107 w 182"/>
              <a:gd name="T17" fmla="*/ 0 h 182"/>
              <a:gd name="T18" fmla="*/ 74 w 182"/>
              <a:gd name="T19" fmla="*/ 0 h 182"/>
              <a:gd name="T20" fmla="*/ 74 w 182"/>
              <a:gd name="T21" fmla="*/ 21 h 182"/>
              <a:gd name="T22" fmla="*/ 53 w 182"/>
              <a:gd name="T23" fmla="*/ 30 h 182"/>
              <a:gd name="T24" fmla="*/ 38 w 182"/>
              <a:gd name="T25" fmla="*/ 15 h 182"/>
              <a:gd name="T26" fmla="*/ 15 w 182"/>
              <a:gd name="T27" fmla="*/ 38 h 182"/>
              <a:gd name="T28" fmla="*/ 30 w 182"/>
              <a:gd name="T29" fmla="*/ 53 h 182"/>
              <a:gd name="T30" fmla="*/ 21 w 182"/>
              <a:gd name="T31" fmla="*/ 74 h 182"/>
              <a:gd name="T32" fmla="*/ 0 w 182"/>
              <a:gd name="T33" fmla="*/ 74 h 182"/>
              <a:gd name="T34" fmla="*/ 0 w 182"/>
              <a:gd name="T35" fmla="*/ 107 h 182"/>
              <a:gd name="T36" fmla="*/ 21 w 182"/>
              <a:gd name="T37" fmla="*/ 107 h 182"/>
              <a:gd name="T38" fmla="*/ 30 w 182"/>
              <a:gd name="T39" fmla="*/ 129 h 182"/>
              <a:gd name="T40" fmla="*/ 15 w 182"/>
              <a:gd name="T41" fmla="*/ 144 h 182"/>
              <a:gd name="T42" fmla="*/ 38 w 182"/>
              <a:gd name="T43" fmla="*/ 167 h 182"/>
              <a:gd name="T44" fmla="*/ 53 w 182"/>
              <a:gd name="T45" fmla="*/ 152 h 182"/>
              <a:gd name="T46" fmla="*/ 74 w 182"/>
              <a:gd name="T47" fmla="*/ 161 h 182"/>
              <a:gd name="T48" fmla="*/ 74 w 182"/>
              <a:gd name="T49" fmla="*/ 182 h 182"/>
              <a:gd name="T50" fmla="*/ 107 w 182"/>
              <a:gd name="T51" fmla="*/ 182 h 182"/>
              <a:gd name="T52" fmla="*/ 107 w 182"/>
              <a:gd name="T53" fmla="*/ 161 h 182"/>
              <a:gd name="T54" fmla="*/ 129 w 182"/>
              <a:gd name="T55" fmla="*/ 152 h 182"/>
              <a:gd name="T56" fmla="*/ 144 w 182"/>
              <a:gd name="T57" fmla="*/ 167 h 182"/>
              <a:gd name="T58" fmla="*/ 167 w 182"/>
              <a:gd name="T59" fmla="*/ 144 h 182"/>
              <a:gd name="T60" fmla="*/ 152 w 182"/>
              <a:gd name="T61" fmla="*/ 129 h 182"/>
              <a:gd name="T62" fmla="*/ 161 w 182"/>
              <a:gd name="T63" fmla="*/ 107 h 182"/>
              <a:gd name="T64" fmla="*/ 182 w 182"/>
              <a:gd name="T65" fmla="*/ 107 h 182"/>
              <a:gd name="T66" fmla="*/ 91 w 182"/>
              <a:gd name="T67" fmla="*/ 112 h 182"/>
              <a:gd name="T68" fmla="*/ 70 w 182"/>
              <a:gd name="T69" fmla="*/ 91 h 182"/>
              <a:gd name="T70" fmla="*/ 91 w 182"/>
              <a:gd name="T71" fmla="*/ 69 h 182"/>
              <a:gd name="T72" fmla="*/ 112 w 182"/>
              <a:gd name="T73" fmla="*/ 91 h 182"/>
              <a:gd name="T74" fmla="*/ 91 w 182"/>
              <a:gd name="T75" fmla="*/ 112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82" h="182">
                <a:moveTo>
                  <a:pt x="182" y="107"/>
                </a:moveTo>
                <a:cubicBezTo>
                  <a:pt x="182" y="74"/>
                  <a:pt x="182" y="74"/>
                  <a:pt x="182" y="74"/>
                </a:cubicBezTo>
                <a:cubicBezTo>
                  <a:pt x="161" y="74"/>
                  <a:pt x="161" y="74"/>
                  <a:pt x="161" y="74"/>
                </a:cubicBezTo>
                <a:cubicBezTo>
                  <a:pt x="159" y="67"/>
                  <a:pt x="156" y="59"/>
                  <a:pt x="152" y="53"/>
                </a:cubicBezTo>
                <a:cubicBezTo>
                  <a:pt x="167" y="38"/>
                  <a:pt x="167" y="38"/>
                  <a:pt x="167" y="38"/>
                </a:cubicBezTo>
                <a:cubicBezTo>
                  <a:pt x="144" y="15"/>
                  <a:pt x="144" y="15"/>
                  <a:pt x="144" y="15"/>
                </a:cubicBezTo>
                <a:cubicBezTo>
                  <a:pt x="129" y="30"/>
                  <a:pt x="129" y="30"/>
                  <a:pt x="129" y="30"/>
                </a:cubicBezTo>
                <a:cubicBezTo>
                  <a:pt x="122" y="25"/>
                  <a:pt x="115" y="22"/>
                  <a:pt x="107" y="21"/>
                </a:cubicBezTo>
                <a:cubicBezTo>
                  <a:pt x="107" y="0"/>
                  <a:pt x="107" y="0"/>
                  <a:pt x="107" y="0"/>
                </a:cubicBezTo>
                <a:cubicBezTo>
                  <a:pt x="74" y="0"/>
                  <a:pt x="74" y="0"/>
                  <a:pt x="74" y="0"/>
                </a:cubicBezTo>
                <a:cubicBezTo>
                  <a:pt x="74" y="21"/>
                  <a:pt x="74" y="21"/>
                  <a:pt x="74" y="21"/>
                </a:cubicBezTo>
                <a:cubicBezTo>
                  <a:pt x="67" y="22"/>
                  <a:pt x="59" y="25"/>
                  <a:pt x="53" y="30"/>
                </a:cubicBezTo>
                <a:cubicBezTo>
                  <a:pt x="38" y="15"/>
                  <a:pt x="38" y="15"/>
                  <a:pt x="38" y="15"/>
                </a:cubicBezTo>
                <a:cubicBezTo>
                  <a:pt x="15" y="38"/>
                  <a:pt x="15" y="38"/>
                  <a:pt x="15" y="38"/>
                </a:cubicBezTo>
                <a:cubicBezTo>
                  <a:pt x="30" y="53"/>
                  <a:pt x="30" y="53"/>
                  <a:pt x="30" y="53"/>
                </a:cubicBezTo>
                <a:cubicBezTo>
                  <a:pt x="26" y="59"/>
                  <a:pt x="23" y="67"/>
                  <a:pt x="21" y="74"/>
                </a:cubicBezTo>
                <a:cubicBezTo>
                  <a:pt x="0" y="74"/>
                  <a:pt x="0" y="74"/>
                  <a:pt x="0" y="74"/>
                </a:cubicBezTo>
                <a:cubicBezTo>
                  <a:pt x="0" y="107"/>
                  <a:pt x="0" y="107"/>
                  <a:pt x="0" y="107"/>
                </a:cubicBezTo>
                <a:cubicBezTo>
                  <a:pt x="21" y="107"/>
                  <a:pt x="21" y="107"/>
                  <a:pt x="21" y="107"/>
                </a:cubicBezTo>
                <a:cubicBezTo>
                  <a:pt x="23" y="115"/>
                  <a:pt x="26" y="122"/>
                  <a:pt x="30" y="129"/>
                </a:cubicBezTo>
                <a:cubicBezTo>
                  <a:pt x="15" y="144"/>
                  <a:pt x="15" y="144"/>
                  <a:pt x="15" y="144"/>
                </a:cubicBezTo>
                <a:cubicBezTo>
                  <a:pt x="38" y="167"/>
                  <a:pt x="38" y="167"/>
                  <a:pt x="38" y="167"/>
                </a:cubicBezTo>
                <a:cubicBezTo>
                  <a:pt x="53" y="152"/>
                  <a:pt x="53" y="152"/>
                  <a:pt x="53" y="152"/>
                </a:cubicBezTo>
                <a:cubicBezTo>
                  <a:pt x="59" y="156"/>
                  <a:pt x="67" y="159"/>
                  <a:pt x="74" y="161"/>
                </a:cubicBezTo>
                <a:cubicBezTo>
                  <a:pt x="74" y="182"/>
                  <a:pt x="74" y="182"/>
                  <a:pt x="74" y="182"/>
                </a:cubicBezTo>
                <a:cubicBezTo>
                  <a:pt x="107" y="182"/>
                  <a:pt x="107" y="182"/>
                  <a:pt x="107" y="182"/>
                </a:cubicBezTo>
                <a:cubicBezTo>
                  <a:pt x="107" y="161"/>
                  <a:pt x="107" y="161"/>
                  <a:pt x="107" y="161"/>
                </a:cubicBezTo>
                <a:cubicBezTo>
                  <a:pt x="115" y="159"/>
                  <a:pt x="122" y="156"/>
                  <a:pt x="129" y="152"/>
                </a:cubicBezTo>
                <a:cubicBezTo>
                  <a:pt x="144" y="167"/>
                  <a:pt x="144" y="167"/>
                  <a:pt x="144" y="167"/>
                </a:cubicBezTo>
                <a:cubicBezTo>
                  <a:pt x="167" y="144"/>
                  <a:pt x="167" y="144"/>
                  <a:pt x="167" y="144"/>
                </a:cubicBezTo>
                <a:cubicBezTo>
                  <a:pt x="152" y="129"/>
                  <a:pt x="152" y="129"/>
                  <a:pt x="152" y="129"/>
                </a:cubicBezTo>
                <a:cubicBezTo>
                  <a:pt x="156" y="122"/>
                  <a:pt x="159" y="115"/>
                  <a:pt x="161" y="107"/>
                </a:cubicBezTo>
                <a:lnTo>
                  <a:pt x="182" y="107"/>
                </a:lnTo>
                <a:close/>
                <a:moveTo>
                  <a:pt x="91" y="112"/>
                </a:moveTo>
                <a:cubicBezTo>
                  <a:pt x="79" y="112"/>
                  <a:pt x="70" y="103"/>
                  <a:pt x="70" y="91"/>
                </a:cubicBezTo>
                <a:cubicBezTo>
                  <a:pt x="70" y="79"/>
                  <a:pt x="79" y="69"/>
                  <a:pt x="91" y="69"/>
                </a:cubicBezTo>
                <a:cubicBezTo>
                  <a:pt x="103" y="69"/>
                  <a:pt x="112" y="79"/>
                  <a:pt x="112" y="91"/>
                </a:cubicBezTo>
                <a:cubicBezTo>
                  <a:pt x="112" y="103"/>
                  <a:pt x="103" y="112"/>
                  <a:pt x="91" y="1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Inter"/>
              <a:ea typeface="+mn-ea"/>
              <a:cs typeface="+mn-cs"/>
            </a:endParaRPr>
          </a:p>
        </p:txBody>
      </p:sp>
      <p:grpSp>
        <p:nvGrpSpPr>
          <p:cNvPr id="9" name="Group 8">
            <a:extLst>
              <a:ext uri="{FF2B5EF4-FFF2-40B4-BE49-F238E27FC236}">
                <a16:creationId xmlns:a16="http://schemas.microsoft.com/office/drawing/2014/main" id="{EB6714CB-0DDD-43BC-ABEA-873D296C14AA}"/>
              </a:ext>
            </a:extLst>
          </p:cNvPr>
          <p:cNvGrpSpPr>
            <a:grpSpLocks noChangeAspect="1"/>
          </p:cNvGrpSpPr>
          <p:nvPr/>
        </p:nvGrpSpPr>
        <p:grpSpPr bwMode="auto">
          <a:xfrm>
            <a:off x="7045854" y="3463765"/>
            <a:ext cx="291286" cy="290514"/>
            <a:chOff x="4055" y="1440"/>
            <a:chExt cx="377" cy="376"/>
          </a:xfrm>
        </p:grpSpPr>
        <p:sp>
          <p:nvSpPr>
            <p:cNvPr id="10" name="Freeform 9">
              <a:extLst>
                <a:ext uri="{FF2B5EF4-FFF2-40B4-BE49-F238E27FC236}">
                  <a16:creationId xmlns:a16="http://schemas.microsoft.com/office/drawing/2014/main" id="{F192E4F5-E068-49F9-A4F0-71A329C9BCE9}"/>
                </a:ext>
              </a:extLst>
            </p:cNvPr>
            <p:cNvSpPr>
              <a:spLocks/>
            </p:cNvSpPr>
            <p:nvPr/>
          </p:nvSpPr>
          <p:spPr bwMode="auto">
            <a:xfrm>
              <a:off x="4259" y="1440"/>
              <a:ext cx="173" cy="172"/>
            </a:xfrm>
            <a:custGeom>
              <a:avLst/>
              <a:gdLst>
                <a:gd name="T0" fmla="*/ 0 w 82"/>
                <a:gd name="T1" fmla="*/ 0 h 82"/>
                <a:gd name="T2" fmla="*/ 0 w 82"/>
                <a:gd name="T3" fmla="*/ 82 h 82"/>
                <a:gd name="T4" fmla="*/ 82 w 82"/>
                <a:gd name="T5" fmla="*/ 82 h 82"/>
                <a:gd name="T6" fmla="*/ 0 w 82"/>
                <a:gd name="T7" fmla="*/ 0 h 82"/>
              </a:gdLst>
              <a:ahLst/>
              <a:cxnLst>
                <a:cxn ang="0">
                  <a:pos x="T0" y="T1"/>
                </a:cxn>
                <a:cxn ang="0">
                  <a:pos x="T2" y="T3"/>
                </a:cxn>
                <a:cxn ang="0">
                  <a:pos x="T4" y="T5"/>
                </a:cxn>
                <a:cxn ang="0">
                  <a:pos x="T6" y="T7"/>
                </a:cxn>
              </a:cxnLst>
              <a:rect l="0" t="0" r="r" b="b"/>
              <a:pathLst>
                <a:path w="82" h="82">
                  <a:moveTo>
                    <a:pt x="0" y="0"/>
                  </a:moveTo>
                  <a:cubicBezTo>
                    <a:pt x="0" y="82"/>
                    <a:pt x="0" y="82"/>
                    <a:pt x="0" y="82"/>
                  </a:cubicBezTo>
                  <a:cubicBezTo>
                    <a:pt x="82" y="82"/>
                    <a:pt x="82" y="82"/>
                    <a:pt x="82" y="82"/>
                  </a:cubicBezTo>
                  <a:cubicBezTo>
                    <a:pt x="82" y="37"/>
                    <a:pt x="45" y="0"/>
                    <a:pt x="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Inter"/>
                <a:ea typeface="+mn-ea"/>
                <a:cs typeface="+mn-cs"/>
              </a:endParaRPr>
            </a:p>
          </p:txBody>
        </p:sp>
        <p:sp>
          <p:nvSpPr>
            <p:cNvPr id="11" name="Freeform 10">
              <a:extLst>
                <a:ext uri="{FF2B5EF4-FFF2-40B4-BE49-F238E27FC236}">
                  <a16:creationId xmlns:a16="http://schemas.microsoft.com/office/drawing/2014/main" id="{7A0A3481-5697-4BA2-9E0B-868D56F50665}"/>
                </a:ext>
              </a:extLst>
            </p:cNvPr>
            <p:cNvSpPr>
              <a:spLocks/>
            </p:cNvSpPr>
            <p:nvPr/>
          </p:nvSpPr>
          <p:spPr bwMode="auto">
            <a:xfrm>
              <a:off x="4055" y="1471"/>
              <a:ext cx="345" cy="345"/>
            </a:xfrm>
            <a:custGeom>
              <a:avLst/>
              <a:gdLst>
                <a:gd name="T0" fmla="*/ 82 w 164"/>
                <a:gd name="T1" fmla="*/ 82 h 164"/>
                <a:gd name="T2" fmla="*/ 82 w 164"/>
                <a:gd name="T3" fmla="*/ 0 h 164"/>
                <a:gd name="T4" fmla="*/ 0 w 164"/>
                <a:gd name="T5" fmla="*/ 82 h 164"/>
                <a:gd name="T6" fmla="*/ 82 w 164"/>
                <a:gd name="T7" fmla="*/ 164 h 164"/>
                <a:gd name="T8" fmla="*/ 164 w 164"/>
                <a:gd name="T9" fmla="*/ 82 h 164"/>
                <a:gd name="T10" fmla="*/ 82 w 164"/>
                <a:gd name="T11" fmla="*/ 82 h 164"/>
              </a:gdLst>
              <a:ahLst/>
              <a:cxnLst>
                <a:cxn ang="0">
                  <a:pos x="T0" y="T1"/>
                </a:cxn>
                <a:cxn ang="0">
                  <a:pos x="T2" y="T3"/>
                </a:cxn>
                <a:cxn ang="0">
                  <a:pos x="T4" y="T5"/>
                </a:cxn>
                <a:cxn ang="0">
                  <a:pos x="T6" y="T7"/>
                </a:cxn>
                <a:cxn ang="0">
                  <a:pos x="T8" y="T9"/>
                </a:cxn>
                <a:cxn ang="0">
                  <a:pos x="T10" y="T11"/>
                </a:cxn>
              </a:cxnLst>
              <a:rect l="0" t="0" r="r" b="b"/>
              <a:pathLst>
                <a:path w="164" h="164">
                  <a:moveTo>
                    <a:pt x="82" y="82"/>
                  </a:moveTo>
                  <a:cubicBezTo>
                    <a:pt x="82" y="0"/>
                    <a:pt x="82" y="0"/>
                    <a:pt x="82" y="0"/>
                  </a:cubicBezTo>
                  <a:cubicBezTo>
                    <a:pt x="37" y="0"/>
                    <a:pt x="0" y="37"/>
                    <a:pt x="0" y="82"/>
                  </a:cubicBezTo>
                  <a:cubicBezTo>
                    <a:pt x="0" y="127"/>
                    <a:pt x="37" y="164"/>
                    <a:pt x="82" y="164"/>
                  </a:cubicBezTo>
                  <a:cubicBezTo>
                    <a:pt x="128" y="164"/>
                    <a:pt x="164" y="127"/>
                    <a:pt x="164" y="82"/>
                  </a:cubicBezTo>
                  <a:lnTo>
                    <a:pt x="82" y="8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Inter"/>
                <a:ea typeface="+mn-ea"/>
                <a:cs typeface="+mn-cs"/>
              </a:endParaRPr>
            </a:p>
          </p:txBody>
        </p:sp>
      </p:grpSp>
      <p:grpSp>
        <p:nvGrpSpPr>
          <p:cNvPr id="12" name="Group 19">
            <a:extLst>
              <a:ext uri="{FF2B5EF4-FFF2-40B4-BE49-F238E27FC236}">
                <a16:creationId xmlns:a16="http://schemas.microsoft.com/office/drawing/2014/main" id="{A61E03A5-D323-43AA-8352-1B797129F0AC}"/>
              </a:ext>
            </a:extLst>
          </p:cNvPr>
          <p:cNvGrpSpPr>
            <a:grpSpLocks noChangeAspect="1"/>
          </p:cNvGrpSpPr>
          <p:nvPr/>
        </p:nvGrpSpPr>
        <p:grpSpPr bwMode="auto">
          <a:xfrm>
            <a:off x="5895781" y="4897279"/>
            <a:ext cx="276420" cy="372793"/>
            <a:chOff x="4313" y="2667"/>
            <a:chExt cx="370" cy="499"/>
          </a:xfrm>
        </p:grpSpPr>
        <p:sp>
          <p:nvSpPr>
            <p:cNvPr id="13" name="Freeform 20">
              <a:extLst>
                <a:ext uri="{FF2B5EF4-FFF2-40B4-BE49-F238E27FC236}">
                  <a16:creationId xmlns:a16="http://schemas.microsoft.com/office/drawing/2014/main" id="{6E48D754-3962-4F36-8EDA-E0D1BB118515}"/>
                </a:ext>
              </a:extLst>
            </p:cNvPr>
            <p:cNvSpPr>
              <a:spLocks/>
            </p:cNvSpPr>
            <p:nvPr/>
          </p:nvSpPr>
          <p:spPr bwMode="auto">
            <a:xfrm>
              <a:off x="4404" y="3095"/>
              <a:ext cx="188" cy="29"/>
            </a:xfrm>
            <a:custGeom>
              <a:avLst/>
              <a:gdLst>
                <a:gd name="T0" fmla="*/ 82 w 89"/>
                <a:gd name="T1" fmla="*/ 0 h 14"/>
                <a:gd name="T2" fmla="*/ 7 w 89"/>
                <a:gd name="T3" fmla="*/ 0 h 14"/>
                <a:gd name="T4" fmla="*/ 0 w 89"/>
                <a:gd name="T5" fmla="*/ 7 h 14"/>
                <a:gd name="T6" fmla="*/ 7 w 89"/>
                <a:gd name="T7" fmla="*/ 14 h 14"/>
                <a:gd name="T8" fmla="*/ 82 w 89"/>
                <a:gd name="T9" fmla="*/ 14 h 14"/>
                <a:gd name="T10" fmla="*/ 89 w 89"/>
                <a:gd name="T11" fmla="*/ 7 h 14"/>
                <a:gd name="T12" fmla="*/ 82 w 89"/>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89" h="14">
                  <a:moveTo>
                    <a:pt x="82" y="0"/>
                  </a:moveTo>
                  <a:cubicBezTo>
                    <a:pt x="7" y="0"/>
                    <a:pt x="7" y="0"/>
                    <a:pt x="7" y="0"/>
                  </a:cubicBezTo>
                  <a:cubicBezTo>
                    <a:pt x="3" y="0"/>
                    <a:pt x="0" y="3"/>
                    <a:pt x="0" y="7"/>
                  </a:cubicBezTo>
                  <a:cubicBezTo>
                    <a:pt x="0" y="11"/>
                    <a:pt x="3" y="14"/>
                    <a:pt x="7" y="14"/>
                  </a:cubicBezTo>
                  <a:cubicBezTo>
                    <a:pt x="82" y="14"/>
                    <a:pt x="82" y="14"/>
                    <a:pt x="82" y="14"/>
                  </a:cubicBezTo>
                  <a:cubicBezTo>
                    <a:pt x="86" y="14"/>
                    <a:pt x="89" y="11"/>
                    <a:pt x="89" y="7"/>
                  </a:cubicBezTo>
                  <a:cubicBezTo>
                    <a:pt x="89" y="3"/>
                    <a:pt x="86" y="0"/>
                    <a:pt x="82"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Inter"/>
                <a:ea typeface="+mn-ea"/>
                <a:cs typeface="+mn-cs"/>
              </a:endParaRPr>
            </a:p>
          </p:txBody>
        </p:sp>
        <p:sp>
          <p:nvSpPr>
            <p:cNvPr id="14" name="Freeform 21">
              <a:extLst>
                <a:ext uri="{FF2B5EF4-FFF2-40B4-BE49-F238E27FC236}">
                  <a16:creationId xmlns:a16="http://schemas.microsoft.com/office/drawing/2014/main" id="{C5FEF3A9-F1BD-4854-9435-90E56B9439B4}"/>
                </a:ext>
              </a:extLst>
            </p:cNvPr>
            <p:cNvSpPr>
              <a:spLocks/>
            </p:cNvSpPr>
            <p:nvPr/>
          </p:nvSpPr>
          <p:spPr bwMode="auto">
            <a:xfrm>
              <a:off x="4423" y="3137"/>
              <a:ext cx="146" cy="29"/>
            </a:xfrm>
            <a:custGeom>
              <a:avLst/>
              <a:gdLst>
                <a:gd name="T0" fmla="*/ 62 w 69"/>
                <a:gd name="T1" fmla="*/ 0 h 14"/>
                <a:gd name="T2" fmla="*/ 7 w 69"/>
                <a:gd name="T3" fmla="*/ 0 h 14"/>
                <a:gd name="T4" fmla="*/ 0 w 69"/>
                <a:gd name="T5" fmla="*/ 7 h 14"/>
                <a:gd name="T6" fmla="*/ 7 w 69"/>
                <a:gd name="T7" fmla="*/ 14 h 14"/>
                <a:gd name="T8" fmla="*/ 62 w 69"/>
                <a:gd name="T9" fmla="*/ 14 h 14"/>
                <a:gd name="T10" fmla="*/ 69 w 69"/>
                <a:gd name="T11" fmla="*/ 7 h 14"/>
                <a:gd name="T12" fmla="*/ 62 w 69"/>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69" h="14">
                  <a:moveTo>
                    <a:pt x="62" y="0"/>
                  </a:moveTo>
                  <a:cubicBezTo>
                    <a:pt x="7" y="0"/>
                    <a:pt x="7" y="0"/>
                    <a:pt x="7" y="0"/>
                  </a:cubicBezTo>
                  <a:cubicBezTo>
                    <a:pt x="3" y="0"/>
                    <a:pt x="0" y="3"/>
                    <a:pt x="0" y="7"/>
                  </a:cubicBezTo>
                  <a:cubicBezTo>
                    <a:pt x="0" y="10"/>
                    <a:pt x="3" y="14"/>
                    <a:pt x="7" y="14"/>
                  </a:cubicBezTo>
                  <a:cubicBezTo>
                    <a:pt x="62" y="14"/>
                    <a:pt x="62" y="14"/>
                    <a:pt x="62" y="14"/>
                  </a:cubicBezTo>
                  <a:cubicBezTo>
                    <a:pt x="66" y="14"/>
                    <a:pt x="69" y="10"/>
                    <a:pt x="69" y="7"/>
                  </a:cubicBezTo>
                  <a:cubicBezTo>
                    <a:pt x="69" y="3"/>
                    <a:pt x="66" y="0"/>
                    <a:pt x="62"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Inter"/>
                <a:ea typeface="+mn-ea"/>
                <a:cs typeface="+mn-cs"/>
              </a:endParaRPr>
            </a:p>
          </p:txBody>
        </p:sp>
        <p:sp>
          <p:nvSpPr>
            <p:cNvPr id="15" name="Freeform 22">
              <a:extLst>
                <a:ext uri="{FF2B5EF4-FFF2-40B4-BE49-F238E27FC236}">
                  <a16:creationId xmlns:a16="http://schemas.microsoft.com/office/drawing/2014/main" id="{F1743938-BDA8-4989-AE7C-01D6FF612A1C}"/>
                </a:ext>
              </a:extLst>
            </p:cNvPr>
            <p:cNvSpPr>
              <a:spLocks noEditPoints="1"/>
            </p:cNvSpPr>
            <p:nvPr/>
          </p:nvSpPr>
          <p:spPr bwMode="auto">
            <a:xfrm>
              <a:off x="4313" y="2667"/>
              <a:ext cx="370" cy="400"/>
            </a:xfrm>
            <a:custGeom>
              <a:avLst/>
              <a:gdLst>
                <a:gd name="T0" fmla="*/ 146 w 175"/>
                <a:gd name="T1" fmla="*/ 24 h 191"/>
                <a:gd name="T2" fmla="*/ 79 w 175"/>
                <a:gd name="T3" fmla="*/ 3 h 191"/>
                <a:gd name="T4" fmla="*/ 3 w 175"/>
                <a:gd name="T5" fmla="*/ 76 h 191"/>
                <a:gd name="T6" fmla="*/ 30 w 175"/>
                <a:gd name="T7" fmla="*/ 151 h 191"/>
                <a:gd name="T8" fmla="*/ 46 w 175"/>
                <a:gd name="T9" fmla="*/ 181 h 191"/>
                <a:gd name="T10" fmla="*/ 46 w 175"/>
                <a:gd name="T11" fmla="*/ 184 h 191"/>
                <a:gd name="T12" fmla="*/ 52 w 175"/>
                <a:gd name="T13" fmla="*/ 191 h 191"/>
                <a:gd name="T14" fmla="*/ 125 w 175"/>
                <a:gd name="T15" fmla="*/ 191 h 191"/>
                <a:gd name="T16" fmla="*/ 132 w 175"/>
                <a:gd name="T17" fmla="*/ 184 h 191"/>
                <a:gd name="T18" fmla="*/ 132 w 175"/>
                <a:gd name="T19" fmla="*/ 181 h 191"/>
                <a:gd name="T20" fmla="*/ 147 w 175"/>
                <a:gd name="T21" fmla="*/ 151 h 191"/>
                <a:gd name="T22" fmla="*/ 175 w 175"/>
                <a:gd name="T23" fmla="*/ 88 h 191"/>
                <a:gd name="T24" fmla="*/ 146 w 175"/>
                <a:gd name="T25" fmla="*/ 24 h 191"/>
                <a:gd name="T26" fmla="*/ 125 w 175"/>
                <a:gd name="T27" fmla="*/ 79 h 191"/>
                <a:gd name="T28" fmla="*/ 84 w 175"/>
                <a:gd name="T29" fmla="*/ 119 h 191"/>
                <a:gd name="T30" fmla="*/ 68 w 175"/>
                <a:gd name="T31" fmla="*/ 119 h 191"/>
                <a:gd name="T32" fmla="*/ 53 w 175"/>
                <a:gd name="T33" fmla="*/ 104 h 191"/>
                <a:gd name="T34" fmla="*/ 60 w 175"/>
                <a:gd name="T35" fmla="*/ 87 h 191"/>
                <a:gd name="T36" fmla="*/ 67 w 175"/>
                <a:gd name="T37" fmla="*/ 90 h 191"/>
                <a:gd name="T38" fmla="*/ 75 w 175"/>
                <a:gd name="T39" fmla="*/ 97 h 191"/>
                <a:gd name="T40" fmla="*/ 80 w 175"/>
                <a:gd name="T41" fmla="*/ 98 h 191"/>
                <a:gd name="T42" fmla="*/ 114 w 175"/>
                <a:gd name="T43" fmla="*/ 67 h 191"/>
                <a:gd name="T44" fmla="*/ 119 w 175"/>
                <a:gd name="T45" fmla="*/ 64 h 191"/>
                <a:gd name="T46" fmla="*/ 125 w 175"/>
                <a:gd name="T47" fmla="*/ 79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5" h="191">
                  <a:moveTo>
                    <a:pt x="146" y="24"/>
                  </a:moveTo>
                  <a:cubicBezTo>
                    <a:pt x="128" y="8"/>
                    <a:pt x="103" y="0"/>
                    <a:pt x="79" y="3"/>
                  </a:cubicBezTo>
                  <a:cubicBezTo>
                    <a:pt x="40" y="7"/>
                    <a:pt x="8" y="38"/>
                    <a:pt x="3" y="76"/>
                  </a:cubicBezTo>
                  <a:cubicBezTo>
                    <a:pt x="0" y="105"/>
                    <a:pt x="10" y="132"/>
                    <a:pt x="30" y="151"/>
                  </a:cubicBezTo>
                  <a:cubicBezTo>
                    <a:pt x="41" y="161"/>
                    <a:pt x="46" y="170"/>
                    <a:pt x="46" y="181"/>
                  </a:cubicBezTo>
                  <a:cubicBezTo>
                    <a:pt x="46" y="184"/>
                    <a:pt x="46" y="184"/>
                    <a:pt x="46" y="184"/>
                  </a:cubicBezTo>
                  <a:cubicBezTo>
                    <a:pt x="46" y="188"/>
                    <a:pt x="49" y="191"/>
                    <a:pt x="52" y="191"/>
                  </a:cubicBezTo>
                  <a:cubicBezTo>
                    <a:pt x="125" y="191"/>
                    <a:pt x="125" y="191"/>
                    <a:pt x="125" y="191"/>
                  </a:cubicBezTo>
                  <a:cubicBezTo>
                    <a:pt x="129" y="191"/>
                    <a:pt x="132" y="188"/>
                    <a:pt x="132" y="184"/>
                  </a:cubicBezTo>
                  <a:cubicBezTo>
                    <a:pt x="132" y="181"/>
                    <a:pt x="132" y="181"/>
                    <a:pt x="132" y="181"/>
                  </a:cubicBezTo>
                  <a:cubicBezTo>
                    <a:pt x="132" y="170"/>
                    <a:pt x="136" y="161"/>
                    <a:pt x="147" y="151"/>
                  </a:cubicBezTo>
                  <a:cubicBezTo>
                    <a:pt x="164" y="135"/>
                    <a:pt x="175" y="112"/>
                    <a:pt x="175" y="88"/>
                  </a:cubicBezTo>
                  <a:cubicBezTo>
                    <a:pt x="175" y="64"/>
                    <a:pt x="164" y="40"/>
                    <a:pt x="146" y="24"/>
                  </a:cubicBezTo>
                  <a:close/>
                  <a:moveTo>
                    <a:pt x="125" y="79"/>
                  </a:moveTo>
                  <a:cubicBezTo>
                    <a:pt x="84" y="119"/>
                    <a:pt x="84" y="119"/>
                    <a:pt x="84" y="119"/>
                  </a:cubicBezTo>
                  <a:cubicBezTo>
                    <a:pt x="80" y="124"/>
                    <a:pt x="73" y="124"/>
                    <a:pt x="68" y="119"/>
                  </a:cubicBezTo>
                  <a:cubicBezTo>
                    <a:pt x="53" y="104"/>
                    <a:pt x="53" y="104"/>
                    <a:pt x="53" y="104"/>
                  </a:cubicBezTo>
                  <a:cubicBezTo>
                    <a:pt x="46" y="98"/>
                    <a:pt x="51" y="87"/>
                    <a:pt x="60" y="87"/>
                  </a:cubicBezTo>
                  <a:cubicBezTo>
                    <a:pt x="63" y="87"/>
                    <a:pt x="66" y="88"/>
                    <a:pt x="67" y="90"/>
                  </a:cubicBezTo>
                  <a:cubicBezTo>
                    <a:pt x="75" y="97"/>
                    <a:pt x="75" y="97"/>
                    <a:pt x="75" y="97"/>
                  </a:cubicBezTo>
                  <a:cubicBezTo>
                    <a:pt x="76" y="99"/>
                    <a:pt x="78" y="99"/>
                    <a:pt x="80" y="98"/>
                  </a:cubicBezTo>
                  <a:cubicBezTo>
                    <a:pt x="114" y="67"/>
                    <a:pt x="114" y="67"/>
                    <a:pt x="114" y="67"/>
                  </a:cubicBezTo>
                  <a:cubicBezTo>
                    <a:pt x="115" y="65"/>
                    <a:pt x="117" y="64"/>
                    <a:pt x="119" y="64"/>
                  </a:cubicBezTo>
                  <a:cubicBezTo>
                    <a:pt x="127" y="64"/>
                    <a:pt x="130" y="73"/>
                    <a:pt x="125" y="7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Inter"/>
                <a:ea typeface="+mn-ea"/>
                <a:cs typeface="+mn-cs"/>
              </a:endParaRPr>
            </a:p>
          </p:txBody>
        </p:sp>
      </p:grpSp>
      <p:cxnSp>
        <p:nvCxnSpPr>
          <p:cNvPr id="23" name="Straight Connector 27">
            <a:extLst>
              <a:ext uri="{FF2B5EF4-FFF2-40B4-BE49-F238E27FC236}">
                <a16:creationId xmlns:a16="http://schemas.microsoft.com/office/drawing/2014/main" id="{E8116159-5065-443E-9DCF-BB730EAC7C1D}"/>
              </a:ext>
            </a:extLst>
          </p:cNvPr>
          <p:cNvCxnSpPr>
            <a:cxnSpLocks/>
          </p:cNvCxnSpPr>
          <p:nvPr/>
        </p:nvCxnSpPr>
        <p:spPr>
          <a:xfrm>
            <a:off x="3394075" y="2751009"/>
            <a:ext cx="1258422" cy="0"/>
          </a:xfrm>
          <a:prstGeom prst="line">
            <a:avLst/>
          </a:prstGeom>
          <a:ln w="12700">
            <a:solidFill>
              <a:schemeClr val="accent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4" name="Straight Connector 28">
            <a:extLst>
              <a:ext uri="{FF2B5EF4-FFF2-40B4-BE49-F238E27FC236}">
                <a16:creationId xmlns:a16="http://schemas.microsoft.com/office/drawing/2014/main" id="{21844FA9-66F4-4D7E-A68E-E6BEDEDA747D}"/>
              </a:ext>
            </a:extLst>
          </p:cNvPr>
          <p:cNvCxnSpPr/>
          <p:nvPr/>
        </p:nvCxnSpPr>
        <p:spPr>
          <a:xfrm>
            <a:off x="4652497" y="2751009"/>
            <a:ext cx="244434" cy="138113"/>
          </a:xfrm>
          <a:prstGeom prst="line">
            <a:avLst/>
          </a:prstGeom>
          <a:ln>
            <a:solidFill>
              <a:schemeClr val="accent3">
                <a:alpha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22" name="Oval 26">
            <a:extLst>
              <a:ext uri="{FF2B5EF4-FFF2-40B4-BE49-F238E27FC236}">
                <a16:creationId xmlns:a16="http://schemas.microsoft.com/office/drawing/2014/main" id="{7891C481-B591-4707-9E5D-8FC2E0074B2E}"/>
              </a:ext>
            </a:extLst>
          </p:cNvPr>
          <p:cNvSpPr/>
          <p:nvPr/>
        </p:nvSpPr>
        <p:spPr>
          <a:xfrm flipV="1">
            <a:off x="3231135" y="2723903"/>
            <a:ext cx="70684" cy="70684"/>
          </a:xfrm>
          <a:prstGeom prst="ellipse">
            <a:avLst/>
          </a:prstGeom>
          <a:solidFill>
            <a:schemeClr val="accent3"/>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Inter"/>
              <a:ea typeface="+mn-ea"/>
              <a:cs typeface="+mn-cs"/>
            </a:endParaRPr>
          </a:p>
        </p:txBody>
      </p:sp>
      <p:grpSp>
        <p:nvGrpSpPr>
          <p:cNvPr id="28" name="Group 32">
            <a:extLst>
              <a:ext uri="{FF2B5EF4-FFF2-40B4-BE49-F238E27FC236}">
                <a16:creationId xmlns:a16="http://schemas.microsoft.com/office/drawing/2014/main" id="{ED9DC188-144B-4AA5-9016-C9F4DED09DB1}"/>
              </a:ext>
            </a:extLst>
          </p:cNvPr>
          <p:cNvGrpSpPr/>
          <p:nvPr/>
        </p:nvGrpSpPr>
        <p:grpSpPr>
          <a:xfrm>
            <a:off x="7295864" y="2754432"/>
            <a:ext cx="1490949" cy="138113"/>
            <a:chOff x="7315200" y="2343150"/>
            <a:chExt cx="1490949" cy="138113"/>
          </a:xfrm>
        </p:grpSpPr>
        <p:cxnSp>
          <p:nvCxnSpPr>
            <p:cNvPr id="32" name="Straight Connector 36">
              <a:extLst>
                <a:ext uri="{FF2B5EF4-FFF2-40B4-BE49-F238E27FC236}">
                  <a16:creationId xmlns:a16="http://schemas.microsoft.com/office/drawing/2014/main" id="{6A08715D-E069-43A7-B120-55CDDA63E87A}"/>
                </a:ext>
              </a:extLst>
            </p:cNvPr>
            <p:cNvCxnSpPr>
              <a:cxnSpLocks/>
            </p:cNvCxnSpPr>
            <p:nvPr/>
          </p:nvCxnSpPr>
          <p:spPr>
            <a:xfrm flipH="1">
              <a:off x="7559634" y="2343150"/>
              <a:ext cx="1246515" cy="0"/>
            </a:xfrm>
            <a:prstGeom prst="line">
              <a:avLst/>
            </a:prstGeom>
            <a:ln w="12700">
              <a:solidFill>
                <a:schemeClr val="accent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3" name="Straight Connector 37">
              <a:extLst>
                <a:ext uri="{FF2B5EF4-FFF2-40B4-BE49-F238E27FC236}">
                  <a16:creationId xmlns:a16="http://schemas.microsoft.com/office/drawing/2014/main" id="{843347F9-5A91-460F-8B6E-63B24534D9C5}"/>
                </a:ext>
              </a:extLst>
            </p:cNvPr>
            <p:cNvCxnSpPr/>
            <p:nvPr/>
          </p:nvCxnSpPr>
          <p:spPr>
            <a:xfrm flipH="1">
              <a:off x="7315200" y="2343150"/>
              <a:ext cx="244434" cy="138113"/>
            </a:xfrm>
            <a:prstGeom prst="line">
              <a:avLst/>
            </a:prstGeom>
            <a:ln w="12700">
              <a:solidFill>
                <a:schemeClr val="accent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grpSp>
      <p:sp>
        <p:nvSpPr>
          <p:cNvPr id="39" name="Right Triangle 61">
            <a:extLst>
              <a:ext uri="{FF2B5EF4-FFF2-40B4-BE49-F238E27FC236}">
                <a16:creationId xmlns:a16="http://schemas.microsoft.com/office/drawing/2014/main" id="{F824FCF2-139A-47BF-A4C1-E63960CE7809}"/>
              </a:ext>
            </a:extLst>
          </p:cNvPr>
          <p:cNvSpPr/>
          <p:nvPr/>
        </p:nvSpPr>
        <p:spPr>
          <a:xfrm flipV="1">
            <a:off x="1055689" y="803583"/>
            <a:ext cx="72580" cy="72177"/>
          </a:xfrm>
          <a:prstGeom prst="r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HarmonyOS Sans SC"/>
              <a:cs typeface="+mn-cs"/>
            </a:endParaRPr>
          </a:p>
        </p:txBody>
      </p:sp>
      <p:sp>
        <p:nvSpPr>
          <p:cNvPr id="40" name="文本框 39">
            <a:extLst>
              <a:ext uri="{FF2B5EF4-FFF2-40B4-BE49-F238E27FC236}">
                <a16:creationId xmlns:a16="http://schemas.microsoft.com/office/drawing/2014/main" id="{DD5D02D2-E775-4E90-8AC6-05FAD70155D2}"/>
              </a:ext>
            </a:extLst>
          </p:cNvPr>
          <p:cNvSpPr txBox="1"/>
          <p:nvPr/>
        </p:nvSpPr>
        <p:spPr>
          <a:xfrm>
            <a:off x="941388" y="918105"/>
            <a:ext cx="3411511"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2800" b="0" i="0" u="none" strike="noStrike" kern="1200" cap="none" spc="0" normalizeH="0" baseline="0" noProof="0" dirty="0">
                <a:ln>
                  <a:noFill/>
                </a:ln>
                <a:solidFill>
                  <a:prstClr val="black"/>
                </a:solidFill>
                <a:effectLst/>
                <a:uLnTx/>
                <a:uFillTx/>
                <a:latin typeface="HarmonyOS Sans Black"/>
                <a:ea typeface="+mj-ea"/>
                <a:cs typeface="+mn-cs"/>
              </a:rPr>
              <a:t>Arrow </a:t>
            </a:r>
            <a:r>
              <a:rPr kumimoji="0" lang="en-US" altLang="zh-CN" sz="2800" b="0" i="0" u="none" strike="noStrike" kern="1200" cap="none" spc="0" normalizeH="0" baseline="0" noProof="0" dirty="0">
                <a:ln>
                  <a:noFill/>
                </a:ln>
                <a:solidFill>
                  <a:schemeClr val="accent1"/>
                </a:solidFill>
                <a:effectLst/>
                <a:uLnTx/>
                <a:uFillTx/>
                <a:latin typeface="HarmonyOS Sans Black"/>
                <a:ea typeface="+mj-ea"/>
                <a:cs typeface="+mn-cs"/>
              </a:rPr>
              <a:t>infographic</a:t>
            </a:r>
          </a:p>
        </p:txBody>
      </p:sp>
      <p:grpSp>
        <p:nvGrpSpPr>
          <p:cNvPr id="55" name="组合 54">
            <a:extLst>
              <a:ext uri="{FF2B5EF4-FFF2-40B4-BE49-F238E27FC236}">
                <a16:creationId xmlns:a16="http://schemas.microsoft.com/office/drawing/2014/main" id="{BAD16D74-B23B-4E56-820F-7E8B6196E584}"/>
              </a:ext>
            </a:extLst>
          </p:cNvPr>
          <p:cNvGrpSpPr/>
          <p:nvPr/>
        </p:nvGrpSpPr>
        <p:grpSpPr>
          <a:xfrm>
            <a:off x="1248690" y="2567418"/>
            <a:ext cx="1812046" cy="846145"/>
            <a:chOff x="5154634" y="1949395"/>
            <a:chExt cx="1812046" cy="846145"/>
          </a:xfrm>
        </p:grpSpPr>
        <p:sp>
          <p:nvSpPr>
            <p:cNvPr id="56" name="TextBox 65">
              <a:extLst>
                <a:ext uri="{FF2B5EF4-FFF2-40B4-BE49-F238E27FC236}">
                  <a16:creationId xmlns:a16="http://schemas.microsoft.com/office/drawing/2014/main" id="{959344EC-CA0D-48D5-A1F9-1FF016EE14E0}"/>
                </a:ext>
              </a:extLst>
            </p:cNvPr>
            <p:cNvSpPr txBox="1"/>
            <p:nvPr/>
          </p:nvSpPr>
          <p:spPr>
            <a:xfrm>
              <a:off x="5427752" y="1949395"/>
              <a:ext cx="1538928" cy="345598"/>
            </a:xfrm>
            <a:prstGeom prst="rect">
              <a:avLst/>
            </a:prstGeom>
            <a:noFill/>
          </p:spPr>
          <p:txBody>
            <a:bodyPr wrap="square" lIns="0" tIns="36000" rIns="0" bIns="36000" rtlCol="0">
              <a:spAutoFit/>
            </a:bodyPr>
            <a:lstStyle/>
            <a:p>
              <a:pPr marL="0" marR="0" lvl="0" indent="0" algn="r" defTabSz="914400" rtl="0" eaLnBrk="1" fontAlgn="auto" latinLnBrk="0" hangingPunct="1">
                <a:lnSpc>
                  <a:spcPct val="120000"/>
                </a:lnSpc>
                <a:spcBef>
                  <a:spcPts val="600"/>
                </a:spcBef>
                <a:spcAft>
                  <a:spcPts val="0"/>
                </a:spcAft>
                <a:buClrTx/>
                <a:buSzTx/>
                <a:buFontTx/>
                <a:buNone/>
                <a:tabLst/>
                <a:defRPr/>
              </a:pPr>
              <a:r>
                <a:rPr kumimoji="0" lang="en-US" sz="1600" b="0" i="0" u="none" strike="noStrike" kern="1200" cap="none" spc="0" normalizeH="0" baseline="0" noProof="0" dirty="0">
                  <a:ln>
                    <a:noFill/>
                  </a:ln>
                  <a:solidFill>
                    <a:schemeClr val="accent1"/>
                  </a:solidFill>
                  <a:effectLst/>
                  <a:uLnTx/>
                  <a:uFillTx/>
                  <a:latin typeface="HarmonyOS Sans SC Black"/>
                  <a:ea typeface="+mj-ea"/>
                  <a:cs typeface="+mn-cs"/>
                </a:rPr>
                <a:t>Subtitle Here</a:t>
              </a:r>
              <a:endParaRPr kumimoji="0" lang="en-US" sz="1100" b="0" i="0" u="none" strike="noStrike" kern="1200" cap="none" spc="0" normalizeH="0" baseline="0" noProof="0" dirty="0">
                <a:ln>
                  <a:noFill/>
                </a:ln>
                <a:solidFill>
                  <a:schemeClr val="accent1"/>
                </a:solidFill>
                <a:effectLst/>
                <a:uLnTx/>
                <a:uFillTx/>
                <a:latin typeface="HarmonyOS Sans SC Black"/>
                <a:ea typeface="+mj-ea"/>
                <a:cs typeface="+mn-cs"/>
              </a:endParaRPr>
            </a:p>
          </p:txBody>
        </p:sp>
        <p:sp>
          <p:nvSpPr>
            <p:cNvPr id="57" name="TextBox 65">
              <a:extLst>
                <a:ext uri="{FF2B5EF4-FFF2-40B4-BE49-F238E27FC236}">
                  <a16:creationId xmlns:a16="http://schemas.microsoft.com/office/drawing/2014/main" id="{34CEFF65-4189-4EA3-81A9-28120BC3D2A7}"/>
                </a:ext>
              </a:extLst>
            </p:cNvPr>
            <p:cNvSpPr txBox="1"/>
            <p:nvPr/>
          </p:nvSpPr>
          <p:spPr>
            <a:xfrm>
              <a:off x="5154634" y="2332794"/>
              <a:ext cx="1812046" cy="462746"/>
            </a:xfrm>
            <a:prstGeom prst="rect">
              <a:avLst/>
            </a:prstGeom>
            <a:noFill/>
          </p:spPr>
          <p:txBody>
            <a:bodyPr wrap="square" lIns="0" tIns="36000" rIns="0" bIns="36000" rtlCol="0">
              <a:spAutoFit/>
            </a:bodyPr>
            <a:lstStyle/>
            <a:p>
              <a:pPr marL="0" marR="0" lvl="0" indent="0" algn="r" defTabSz="914400" rtl="0" eaLnBrk="1" fontAlgn="auto" latinLnBrk="0" hangingPunct="1">
                <a:lnSpc>
                  <a:spcPct val="120000"/>
                </a:lnSpc>
                <a:spcBef>
                  <a:spcPts val="600"/>
                </a:spcBef>
                <a:spcAft>
                  <a:spcPts val="0"/>
                </a:spcAft>
                <a:buClrTx/>
                <a:buSzTx/>
                <a:buFontTx/>
                <a:buNone/>
                <a:tabLst/>
                <a:defRPr/>
              </a:pPr>
              <a:r>
                <a:rPr kumimoji="0" lang="en-US" sz="1100" b="0" i="0" u="none" strike="noStrike" kern="1200" cap="none" spc="0" normalizeH="0" baseline="0" noProof="0" dirty="0">
                  <a:ln>
                    <a:noFill/>
                  </a:ln>
                  <a:solidFill>
                    <a:prstClr val="black">
                      <a:lumMod val="50000"/>
                      <a:lumOff val="50000"/>
                    </a:prstClr>
                  </a:solidFill>
                  <a:effectLst/>
                  <a:uLnTx/>
                  <a:uFillTx/>
                  <a:latin typeface="HarmonyOS Sans SC"/>
                  <a:cs typeface="+mn-cs"/>
                </a:rPr>
                <a:t>As the minuteness of the parts formed a great.</a:t>
              </a:r>
            </a:p>
          </p:txBody>
        </p:sp>
      </p:grpSp>
      <p:grpSp>
        <p:nvGrpSpPr>
          <p:cNvPr id="58" name="组合 57">
            <a:extLst>
              <a:ext uri="{FF2B5EF4-FFF2-40B4-BE49-F238E27FC236}">
                <a16:creationId xmlns:a16="http://schemas.microsoft.com/office/drawing/2014/main" id="{C284A84C-AD2F-4D22-95D8-7B7E68A2DC2F}"/>
              </a:ext>
            </a:extLst>
          </p:cNvPr>
          <p:cNvGrpSpPr/>
          <p:nvPr/>
        </p:nvGrpSpPr>
        <p:grpSpPr>
          <a:xfrm>
            <a:off x="9153348" y="2601315"/>
            <a:ext cx="1812046" cy="846145"/>
            <a:chOff x="5154634" y="1949395"/>
            <a:chExt cx="1812046" cy="846145"/>
          </a:xfrm>
        </p:grpSpPr>
        <p:sp>
          <p:nvSpPr>
            <p:cNvPr id="59" name="TextBox 65">
              <a:extLst>
                <a:ext uri="{FF2B5EF4-FFF2-40B4-BE49-F238E27FC236}">
                  <a16:creationId xmlns:a16="http://schemas.microsoft.com/office/drawing/2014/main" id="{58FE4399-A4E2-4989-9332-9F5D5763D185}"/>
                </a:ext>
              </a:extLst>
            </p:cNvPr>
            <p:cNvSpPr txBox="1"/>
            <p:nvPr/>
          </p:nvSpPr>
          <p:spPr>
            <a:xfrm>
              <a:off x="5154634" y="1949395"/>
              <a:ext cx="1538928" cy="345598"/>
            </a:xfrm>
            <a:prstGeom prst="rect">
              <a:avLst/>
            </a:prstGeom>
            <a:noFill/>
          </p:spPr>
          <p:txBody>
            <a:bodyPr wrap="square" lIns="0" tIns="36000" rIns="0" bIns="36000" rtlCol="0">
              <a:spAutoFit/>
            </a:bodyPr>
            <a:lstStyle/>
            <a:p>
              <a:pPr marL="0" marR="0" lvl="0" indent="0" algn="l" defTabSz="914400" rtl="0" eaLnBrk="1" fontAlgn="auto" latinLnBrk="0" hangingPunct="1">
                <a:lnSpc>
                  <a:spcPct val="120000"/>
                </a:lnSpc>
                <a:spcBef>
                  <a:spcPts val="600"/>
                </a:spcBef>
                <a:spcAft>
                  <a:spcPts val="0"/>
                </a:spcAft>
                <a:buClrTx/>
                <a:buSzTx/>
                <a:buFontTx/>
                <a:buNone/>
                <a:tabLst/>
                <a:defRPr/>
              </a:pPr>
              <a:r>
                <a:rPr kumimoji="0" lang="en-US" sz="1600" b="0" i="0" u="none" strike="noStrike" kern="1200" cap="none" spc="0" normalizeH="0" baseline="0" noProof="0" dirty="0">
                  <a:ln>
                    <a:noFill/>
                  </a:ln>
                  <a:solidFill>
                    <a:schemeClr val="accent1"/>
                  </a:solidFill>
                  <a:effectLst/>
                  <a:uLnTx/>
                  <a:uFillTx/>
                  <a:latin typeface="HarmonyOS Sans SC Black"/>
                  <a:ea typeface="+mj-ea"/>
                  <a:cs typeface="+mn-cs"/>
                </a:rPr>
                <a:t>Subtitle Here</a:t>
              </a:r>
              <a:endParaRPr kumimoji="0" lang="en-US" sz="1100" b="0" i="0" u="none" strike="noStrike" kern="1200" cap="none" spc="0" normalizeH="0" baseline="0" noProof="0" dirty="0">
                <a:ln>
                  <a:noFill/>
                </a:ln>
                <a:solidFill>
                  <a:schemeClr val="accent1"/>
                </a:solidFill>
                <a:effectLst/>
                <a:uLnTx/>
                <a:uFillTx/>
                <a:latin typeface="HarmonyOS Sans SC Black"/>
                <a:ea typeface="+mj-ea"/>
                <a:cs typeface="+mn-cs"/>
              </a:endParaRPr>
            </a:p>
          </p:txBody>
        </p:sp>
        <p:sp>
          <p:nvSpPr>
            <p:cNvPr id="60" name="TextBox 65">
              <a:extLst>
                <a:ext uri="{FF2B5EF4-FFF2-40B4-BE49-F238E27FC236}">
                  <a16:creationId xmlns:a16="http://schemas.microsoft.com/office/drawing/2014/main" id="{6AB53939-7F8C-48A1-8C40-098EE281C6A7}"/>
                </a:ext>
              </a:extLst>
            </p:cNvPr>
            <p:cNvSpPr txBox="1"/>
            <p:nvPr/>
          </p:nvSpPr>
          <p:spPr>
            <a:xfrm>
              <a:off x="5154634" y="2332794"/>
              <a:ext cx="1812046" cy="462746"/>
            </a:xfrm>
            <a:prstGeom prst="rect">
              <a:avLst/>
            </a:prstGeom>
            <a:noFill/>
          </p:spPr>
          <p:txBody>
            <a:bodyPr wrap="square" lIns="0" tIns="36000" rIns="0" bIns="36000" rtlCol="0">
              <a:spAutoFit/>
            </a:bodyPr>
            <a:lstStyle/>
            <a:p>
              <a:pPr marL="0" marR="0" lvl="0" indent="0" algn="l" defTabSz="914400" rtl="0" eaLnBrk="1" fontAlgn="auto" latinLnBrk="0" hangingPunct="1">
                <a:lnSpc>
                  <a:spcPct val="120000"/>
                </a:lnSpc>
                <a:spcBef>
                  <a:spcPts val="600"/>
                </a:spcBef>
                <a:spcAft>
                  <a:spcPts val="0"/>
                </a:spcAft>
                <a:buClrTx/>
                <a:buSzTx/>
                <a:buFontTx/>
                <a:buNone/>
                <a:tabLst/>
                <a:defRPr/>
              </a:pPr>
              <a:r>
                <a:rPr kumimoji="0" lang="en-US" sz="1100" b="0" i="0" u="none" strike="noStrike" kern="1200" cap="none" spc="0" normalizeH="0" baseline="0" noProof="0" dirty="0">
                  <a:ln>
                    <a:noFill/>
                  </a:ln>
                  <a:solidFill>
                    <a:prstClr val="black">
                      <a:lumMod val="50000"/>
                      <a:lumOff val="50000"/>
                    </a:prstClr>
                  </a:solidFill>
                  <a:effectLst/>
                  <a:uLnTx/>
                  <a:uFillTx/>
                  <a:latin typeface="HarmonyOS Sans SC"/>
                  <a:cs typeface="+mn-cs"/>
                </a:rPr>
                <a:t>As the minuteness of the parts formed a great.</a:t>
              </a:r>
            </a:p>
          </p:txBody>
        </p:sp>
      </p:grpSp>
      <p:grpSp>
        <p:nvGrpSpPr>
          <p:cNvPr id="61" name="组合 60">
            <a:extLst>
              <a:ext uri="{FF2B5EF4-FFF2-40B4-BE49-F238E27FC236}">
                <a16:creationId xmlns:a16="http://schemas.microsoft.com/office/drawing/2014/main" id="{CD5F23B7-08BB-4487-BC60-24B95435D307}"/>
              </a:ext>
            </a:extLst>
          </p:cNvPr>
          <p:cNvGrpSpPr/>
          <p:nvPr/>
        </p:nvGrpSpPr>
        <p:grpSpPr>
          <a:xfrm>
            <a:off x="4395609" y="5531206"/>
            <a:ext cx="3400782" cy="643013"/>
            <a:chOff x="4561840" y="5531206"/>
            <a:chExt cx="3400782" cy="643013"/>
          </a:xfrm>
        </p:grpSpPr>
        <p:sp>
          <p:nvSpPr>
            <p:cNvPr id="62" name="TextBox 65">
              <a:extLst>
                <a:ext uri="{FF2B5EF4-FFF2-40B4-BE49-F238E27FC236}">
                  <a16:creationId xmlns:a16="http://schemas.microsoft.com/office/drawing/2014/main" id="{77411FFB-645F-4DA3-8E5E-4A3A9F1FD5F2}"/>
                </a:ext>
              </a:extLst>
            </p:cNvPr>
            <p:cNvSpPr txBox="1"/>
            <p:nvPr/>
          </p:nvSpPr>
          <p:spPr>
            <a:xfrm>
              <a:off x="5492767" y="5531206"/>
              <a:ext cx="1538928" cy="345598"/>
            </a:xfrm>
            <a:prstGeom prst="rect">
              <a:avLst/>
            </a:prstGeom>
            <a:noFill/>
          </p:spPr>
          <p:txBody>
            <a:bodyPr wrap="square" lIns="0" tIns="36000" rIns="0" bIns="36000" rtlCol="0">
              <a:spAutoFit/>
            </a:bodyPr>
            <a:lstStyle/>
            <a:p>
              <a:pPr marL="0" marR="0" lvl="0" indent="0" algn="ctr" defTabSz="914400" rtl="0" eaLnBrk="1" fontAlgn="auto" latinLnBrk="0" hangingPunct="1">
                <a:lnSpc>
                  <a:spcPct val="120000"/>
                </a:lnSpc>
                <a:spcBef>
                  <a:spcPts val="600"/>
                </a:spcBef>
                <a:spcAft>
                  <a:spcPts val="0"/>
                </a:spcAft>
                <a:buClrTx/>
                <a:buSzTx/>
                <a:buFontTx/>
                <a:buNone/>
                <a:tabLst/>
                <a:defRPr/>
              </a:pPr>
              <a:r>
                <a:rPr kumimoji="0" lang="en-US" sz="1600" b="0" i="0" u="none" strike="noStrike" kern="1200" cap="none" spc="0" normalizeH="0" baseline="0" noProof="0" dirty="0">
                  <a:ln>
                    <a:noFill/>
                  </a:ln>
                  <a:solidFill>
                    <a:schemeClr val="accent1"/>
                  </a:solidFill>
                  <a:effectLst/>
                  <a:uLnTx/>
                  <a:uFillTx/>
                  <a:latin typeface="HarmonyOS Sans SC Black"/>
                  <a:ea typeface="+mj-ea"/>
                  <a:cs typeface="+mn-cs"/>
                </a:rPr>
                <a:t>Subtitle Here</a:t>
              </a:r>
              <a:endParaRPr kumimoji="0" lang="en-US" sz="1100" b="0" i="0" u="none" strike="noStrike" kern="1200" cap="none" spc="0" normalizeH="0" baseline="0" noProof="0" dirty="0">
                <a:ln>
                  <a:noFill/>
                </a:ln>
                <a:solidFill>
                  <a:schemeClr val="accent1"/>
                </a:solidFill>
                <a:effectLst/>
                <a:uLnTx/>
                <a:uFillTx/>
                <a:latin typeface="HarmonyOS Sans SC Black"/>
                <a:ea typeface="+mj-ea"/>
                <a:cs typeface="+mn-cs"/>
              </a:endParaRPr>
            </a:p>
          </p:txBody>
        </p:sp>
        <p:sp>
          <p:nvSpPr>
            <p:cNvPr id="63" name="TextBox 65">
              <a:extLst>
                <a:ext uri="{FF2B5EF4-FFF2-40B4-BE49-F238E27FC236}">
                  <a16:creationId xmlns:a16="http://schemas.microsoft.com/office/drawing/2014/main" id="{72D72E0D-7C54-4421-B707-D9ADDE5E3A2A}"/>
                </a:ext>
              </a:extLst>
            </p:cNvPr>
            <p:cNvSpPr txBox="1"/>
            <p:nvPr/>
          </p:nvSpPr>
          <p:spPr>
            <a:xfrm>
              <a:off x="4561840" y="5914605"/>
              <a:ext cx="3400782" cy="259614"/>
            </a:xfrm>
            <a:prstGeom prst="rect">
              <a:avLst/>
            </a:prstGeom>
            <a:noFill/>
          </p:spPr>
          <p:txBody>
            <a:bodyPr wrap="square" lIns="0" tIns="36000" rIns="0" bIns="36000" rtlCol="0">
              <a:spAutoFit/>
            </a:bodyPr>
            <a:lstStyle/>
            <a:p>
              <a:pPr marL="0" marR="0" lvl="0" indent="0" algn="ctr" defTabSz="914400" rtl="0" eaLnBrk="1" fontAlgn="auto" latinLnBrk="0" hangingPunct="1">
                <a:lnSpc>
                  <a:spcPct val="120000"/>
                </a:lnSpc>
                <a:spcBef>
                  <a:spcPts val="600"/>
                </a:spcBef>
                <a:spcAft>
                  <a:spcPts val="0"/>
                </a:spcAft>
                <a:buClrTx/>
                <a:buSzTx/>
                <a:buFontTx/>
                <a:buNone/>
                <a:tabLst/>
                <a:defRPr/>
              </a:pPr>
              <a:r>
                <a:rPr kumimoji="0" lang="en-US" sz="1100" b="0" i="0" u="none" strike="noStrike" kern="1200" cap="none" spc="0" normalizeH="0" baseline="0" noProof="0" dirty="0">
                  <a:ln>
                    <a:noFill/>
                  </a:ln>
                  <a:solidFill>
                    <a:prstClr val="black">
                      <a:lumMod val="50000"/>
                      <a:lumOff val="50000"/>
                    </a:prstClr>
                  </a:solidFill>
                  <a:effectLst/>
                  <a:uLnTx/>
                  <a:uFillTx/>
                  <a:latin typeface="HarmonyOS Sans SC"/>
                  <a:cs typeface="+mn-cs"/>
                </a:rPr>
                <a:t>As the minuteness of the parts formed a great.</a:t>
              </a:r>
            </a:p>
          </p:txBody>
        </p:sp>
      </p:grpSp>
      <p:grpSp>
        <p:nvGrpSpPr>
          <p:cNvPr id="70" name="组合 69">
            <a:extLst>
              <a:ext uri="{FF2B5EF4-FFF2-40B4-BE49-F238E27FC236}">
                <a16:creationId xmlns:a16="http://schemas.microsoft.com/office/drawing/2014/main" id="{177698E7-1521-478A-A355-8D10A0EAEFC6}"/>
              </a:ext>
            </a:extLst>
          </p:cNvPr>
          <p:cNvGrpSpPr/>
          <p:nvPr/>
        </p:nvGrpSpPr>
        <p:grpSpPr>
          <a:xfrm>
            <a:off x="8816421" y="2646234"/>
            <a:ext cx="209550" cy="209550"/>
            <a:chOff x="5585550" y="2229291"/>
            <a:chExt cx="209550" cy="209550"/>
          </a:xfrm>
        </p:grpSpPr>
        <p:sp>
          <p:nvSpPr>
            <p:cNvPr id="71" name="Oval 69">
              <a:extLst>
                <a:ext uri="{FF2B5EF4-FFF2-40B4-BE49-F238E27FC236}">
                  <a16:creationId xmlns:a16="http://schemas.microsoft.com/office/drawing/2014/main" id="{BC427662-AE8F-462C-9742-E7263C9DB21F}"/>
                </a:ext>
              </a:extLst>
            </p:cNvPr>
            <p:cNvSpPr/>
            <p:nvPr/>
          </p:nvSpPr>
          <p:spPr>
            <a:xfrm flipH="1">
              <a:off x="5585550" y="2229291"/>
              <a:ext cx="209550" cy="209550"/>
            </a:xfrm>
            <a:prstGeom prst="ellipse">
              <a:avLst/>
            </a:prstGeom>
            <a:solidFill>
              <a:schemeClr val="accent1">
                <a:lumMod val="20000"/>
                <a:lumOff val="80000"/>
                <a:alpha val="5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800" b="0" i="0" u="none" strike="noStrike" kern="1200" cap="none" spc="0" normalizeH="0" baseline="0" noProof="0">
                <a:ln>
                  <a:noFill/>
                </a:ln>
                <a:solidFill>
                  <a:prstClr val="black">
                    <a:lumMod val="50000"/>
                    <a:lumOff val="50000"/>
                  </a:prstClr>
                </a:solidFill>
                <a:effectLst/>
                <a:uLnTx/>
                <a:uFillTx/>
                <a:latin typeface="HarmonyOS Sans SC"/>
                <a:cs typeface="+mn-cs"/>
              </a:endParaRPr>
            </a:p>
          </p:txBody>
        </p:sp>
        <p:sp>
          <p:nvSpPr>
            <p:cNvPr id="72" name="Oval 70">
              <a:extLst>
                <a:ext uri="{FF2B5EF4-FFF2-40B4-BE49-F238E27FC236}">
                  <a16:creationId xmlns:a16="http://schemas.microsoft.com/office/drawing/2014/main" id="{533B8D5C-56AD-42DA-8871-80C7D099720C}"/>
                </a:ext>
              </a:extLst>
            </p:cNvPr>
            <p:cNvSpPr/>
            <p:nvPr/>
          </p:nvSpPr>
          <p:spPr>
            <a:xfrm flipH="1" flipV="1">
              <a:off x="5654983" y="2298724"/>
              <a:ext cx="70684" cy="70684"/>
            </a:xfrm>
            <a:prstGeom prst="ellipse">
              <a:avLst/>
            </a:prstGeom>
            <a:gradFill>
              <a:gsLst>
                <a:gs pos="73000">
                  <a:schemeClr val="accent1"/>
                </a:gs>
                <a:gs pos="31000">
                  <a:schemeClr val="accent1">
                    <a:lumMod val="60000"/>
                    <a:lumOff val="40000"/>
                  </a:schemeClr>
                </a:gs>
                <a:gs pos="0">
                  <a:schemeClr val="accent1">
                    <a:lumMod val="40000"/>
                    <a:lumOff val="60000"/>
                  </a:schemeClr>
                </a:gs>
              </a:gsLst>
              <a:lin ang="2700000" scaled="1"/>
            </a:gra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800" b="0" i="0" u="none" strike="noStrike" kern="1200" cap="none" spc="0" normalizeH="0" baseline="0" noProof="0">
                <a:ln>
                  <a:noFill/>
                </a:ln>
                <a:solidFill>
                  <a:prstClr val="black">
                    <a:lumMod val="50000"/>
                    <a:lumOff val="50000"/>
                  </a:prstClr>
                </a:solidFill>
                <a:effectLst/>
                <a:uLnTx/>
                <a:uFillTx/>
                <a:latin typeface="HarmonyOS Sans SC"/>
                <a:cs typeface="+mn-cs"/>
              </a:endParaRPr>
            </a:p>
          </p:txBody>
        </p:sp>
      </p:grpSp>
      <p:grpSp>
        <p:nvGrpSpPr>
          <p:cNvPr id="76" name="组合 75">
            <a:extLst>
              <a:ext uri="{FF2B5EF4-FFF2-40B4-BE49-F238E27FC236}">
                <a16:creationId xmlns:a16="http://schemas.microsoft.com/office/drawing/2014/main" id="{F676A781-C9F5-4A30-936A-627BA9D02058}"/>
              </a:ext>
            </a:extLst>
          </p:cNvPr>
          <p:cNvGrpSpPr/>
          <p:nvPr/>
        </p:nvGrpSpPr>
        <p:grpSpPr>
          <a:xfrm>
            <a:off x="3161702" y="2646234"/>
            <a:ext cx="209550" cy="209550"/>
            <a:chOff x="5585550" y="2229291"/>
            <a:chExt cx="209550" cy="209550"/>
          </a:xfrm>
        </p:grpSpPr>
        <p:sp>
          <p:nvSpPr>
            <p:cNvPr id="77" name="Oval 69">
              <a:extLst>
                <a:ext uri="{FF2B5EF4-FFF2-40B4-BE49-F238E27FC236}">
                  <a16:creationId xmlns:a16="http://schemas.microsoft.com/office/drawing/2014/main" id="{CCCD3CA7-3ED6-46EE-AC3C-6CBF32F2A519}"/>
                </a:ext>
              </a:extLst>
            </p:cNvPr>
            <p:cNvSpPr/>
            <p:nvPr/>
          </p:nvSpPr>
          <p:spPr>
            <a:xfrm flipH="1">
              <a:off x="5585550" y="2229291"/>
              <a:ext cx="209550" cy="209550"/>
            </a:xfrm>
            <a:prstGeom prst="ellipse">
              <a:avLst/>
            </a:prstGeom>
            <a:solidFill>
              <a:schemeClr val="accent1">
                <a:lumMod val="20000"/>
                <a:lumOff val="80000"/>
                <a:alpha val="5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800" b="0" i="0" u="none" strike="noStrike" kern="1200" cap="none" spc="0" normalizeH="0" baseline="0" noProof="0">
                <a:ln>
                  <a:noFill/>
                </a:ln>
                <a:solidFill>
                  <a:prstClr val="black">
                    <a:lumMod val="50000"/>
                    <a:lumOff val="50000"/>
                  </a:prstClr>
                </a:solidFill>
                <a:effectLst/>
                <a:uLnTx/>
                <a:uFillTx/>
                <a:latin typeface="HarmonyOS Sans SC"/>
                <a:cs typeface="+mn-cs"/>
              </a:endParaRPr>
            </a:p>
          </p:txBody>
        </p:sp>
        <p:sp>
          <p:nvSpPr>
            <p:cNvPr id="78" name="Oval 70">
              <a:extLst>
                <a:ext uri="{FF2B5EF4-FFF2-40B4-BE49-F238E27FC236}">
                  <a16:creationId xmlns:a16="http://schemas.microsoft.com/office/drawing/2014/main" id="{9D5CDDB3-48B4-4C8C-ABE7-1FFF9B53A48B}"/>
                </a:ext>
              </a:extLst>
            </p:cNvPr>
            <p:cNvSpPr/>
            <p:nvPr/>
          </p:nvSpPr>
          <p:spPr>
            <a:xfrm flipH="1" flipV="1">
              <a:off x="5654983" y="2298724"/>
              <a:ext cx="70684" cy="70684"/>
            </a:xfrm>
            <a:prstGeom prst="ellipse">
              <a:avLst/>
            </a:prstGeom>
            <a:gradFill>
              <a:gsLst>
                <a:gs pos="73000">
                  <a:schemeClr val="accent1"/>
                </a:gs>
                <a:gs pos="31000">
                  <a:schemeClr val="accent1">
                    <a:lumMod val="60000"/>
                    <a:lumOff val="40000"/>
                  </a:schemeClr>
                </a:gs>
                <a:gs pos="0">
                  <a:schemeClr val="accent1">
                    <a:lumMod val="40000"/>
                    <a:lumOff val="60000"/>
                  </a:schemeClr>
                </a:gs>
              </a:gsLst>
              <a:lin ang="2700000" scaled="1"/>
            </a:gra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800" b="0" i="0" u="none" strike="noStrike" kern="1200" cap="none" spc="0" normalizeH="0" baseline="0" noProof="0">
                <a:ln>
                  <a:noFill/>
                </a:ln>
                <a:solidFill>
                  <a:prstClr val="black">
                    <a:lumMod val="50000"/>
                    <a:lumOff val="50000"/>
                  </a:prstClr>
                </a:solidFill>
                <a:effectLst/>
                <a:uLnTx/>
                <a:uFillTx/>
                <a:latin typeface="HarmonyOS Sans SC"/>
                <a:cs typeface="+mn-cs"/>
              </a:endParaRPr>
            </a:p>
          </p:txBody>
        </p:sp>
      </p:grpSp>
    </p:spTree>
    <p:extLst>
      <p:ext uri="{BB962C8B-B14F-4D97-AF65-F5344CB8AC3E}">
        <p14:creationId xmlns:p14="http://schemas.microsoft.com/office/powerpoint/2010/main" val="708466095"/>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bg>
      <p:bgPr>
        <a:solidFill>
          <a:schemeClr val="accent1">
            <a:lumMod val="40000"/>
            <a:lumOff val="60000"/>
          </a:schemeClr>
        </a:solidFill>
        <a:effectLst/>
      </p:bgPr>
    </p:bg>
    <p:spTree>
      <p:nvGrpSpPr>
        <p:cNvPr id="1" name=""/>
        <p:cNvGrpSpPr/>
        <p:nvPr/>
      </p:nvGrpSpPr>
      <p:grpSpPr>
        <a:xfrm>
          <a:off x="0" y="0"/>
          <a:ext cx="0" cy="0"/>
          <a:chOff x="0" y="0"/>
          <a:chExt cx="0" cy="0"/>
        </a:xfrm>
      </p:grpSpPr>
      <p:sp>
        <p:nvSpPr>
          <p:cNvPr id="2" name="矩形 1">
            <a:extLst>
              <a:ext uri="{FF2B5EF4-FFF2-40B4-BE49-F238E27FC236}">
                <a16:creationId xmlns:a16="http://schemas.microsoft.com/office/drawing/2014/main" id="{D1E29192-7DD4-454A-A267-2B522F0B33DD}"/>
              </a:ext>
            </a:extLst>
          </p:cNvPr>
          <p:cNvSpPr/>
          <p:nvPr/>
        </p:nvSpPr>
        <p:spPr>
          <a:xfrm>
            <a:off x="0" y="0"/>
            <a:ext cx="86868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p>
        </p:txBody>
      </p:sp>
      <p:sp>
        <p:nvSpPr>
          <p:cNvPr id="22" name="文本框 21">
            <a:extLst>
              <a:ext uri="{FF2B5EF4-FFF2-40B4-BE49-F238E27FC236}">
                <a16:creationId xmlns:a16="http://schemas.microsoft.com/office/drawing/2014/main" id="{48658C3D-4517-4E29-BFD9-73130A61E547}"/>
              </a:ext>
            </a:extLst>
          </p:cNvPr>
          <p:cNvSpPr txBox="1"/>
          <p:nvPr/>
        </p:nvSpPr>
        <p:spPr>
          <a:xfrm>
            <a:off x="1127802" y="2967335"/>
            <a:ext cx="6924973" cy="923330"/>
          </a:xfrm>
          <a:prstGeom prst="rect">
            <a:avLst/>
          </a:prstGeom>
          <a:noFill/>
        </p:spPr>
        <p:txBody>
          <a:bodyPr wrap="none" lIns="0" tIns="0" rIns="0" bIns="0" rtlCol="0" anchor="t">
            <a:spAutoFit/>
          </a:bodyPr>
          <a:lstStyle/>
          <a:p>
            <a:pPr algn="ctr"/>
            <a:r>
              <a:rPr lang="zh-CN" altLang="en-US" sz="6000" dirty="0">
                <a:solidFill>
                  <a:schemeClr val="bg1"/>
                </a:solidFill>
                <a:latin typeface="+mj-ea"/>
                <a:ea typeface="+mj-ea"/>
              </a:rPr>
              <a:t>输入你的封面大标题</a:t>
            </a:r>
          </a:p>
        </p:txBody>
      </p:sp>
      <p:sp>
        <p:nvSpPr>
          <p:cNvPr id="26" name="文本框 25">
            <a:extLst>
              <a:ext uri="{FF2B5EF4-FFF2-40B4-BE49-F238E27FC236}">
                <a16:creationId xmlns:a16="http://schemas.microsoft.com/office/drawing/2014/main" id="{B6E90A8A-3405-4300-A3BB-B1E43CB8BFF0}"/>
              </a:ext>
            </a:extLst>
          </p:cNvPr>
          <p:cNvSpPr txBox="1"/>
          <p:nvPr/>
        </p:nvSpPr>
        <p:spPr>
          <a:xfrm>
            <a:off x="1197041" y="2626625"/>
            <a:ext cx="1615827" cy="276999"/>
          </a:xfrm>
          <a:prstGeom prst="rect">
            <a:avLst/>
          </a:prstGeom>
          <a:noFill/>
        </p:spPr>
        <p:txBody>
          <a:bodyPr wrap="none" lIns="0" tIns="0" rIns="0" bIns="0" rtlCol="0" anchor="t">
            <a:spAutoFit/>
          </a:bodyPr>
          <a:lstStyle/>
          <a:p>
            <a:r>
              <a:rPr lang="zh-CN" altLang="en-US" dirty="0">
                <a:solidFill>
                  <a:schemeClr val="bg1"/>
                </a:solidFill>
                <a:latin typeface="+mn-ea"/>
              </a:rPr>
              <a:t>输入你的副标题</a:t>
            </a:r>
          </a:p>
        </p:txBody>
      </p:sp>
      <p:grpSp>
        <p:nvGrpSpPr>
          <p:cNvPr id="27" name="组合 26">
            <a:extLst>
              <a:ext uri="{FF2B5EF4-FFF2-40B4-BE49-F238E27FC236}">
                <a16:creationId xmlns:a16="http://schemas.microsoft.com/office/drawing/2014/main" id="{25156534-1677-4D33-AF38-FDDA34AD07AB}"/>
              </a:ext>
            </a:extLst>
          </p:cNvPr>
          <p:cNvGrpSpPr/>
          <p:nvPr/>
        </p:nvGrpSpPr>
        <p:grpSpPr>
          <a:xfrm>
            <a:off x="1190763" y="4035596"/>
            <a:ext cx="1132625" cy="184666"/>
            <a:chOff x="4095451" y="4640913"/>
            <a:chExt cx="1352255" cy="220475"/>
          </a:xfrm>
        </p:grpSpPr>
        <p:sp>
          <p:nvSpPr>
            <p:cNvPr id="28" name="矩形 27">
              <a:extLst>
                <a:ext uri="{FF2B5EF4-FFF2-40B4-BE49-F238E27FC236}">
                  <a16:creationId xmlns:a16="http://schemas.microsoft.com/office/drawing/2014/main" id="{914E2EDE-04A1-4C79-8A42-8EE633F1791A}"/>
                </a:ext>
              </a:extLst>
            </p:cNvPr>
            <p:cNvSpPr/>
            <p:nvPr/>
          </p:nvSpPr>
          <p:spPr>
            <a:xfrm>
              <a:off x="4095451" y="4672584"/>
              <a:ext cx="164592" cy="1645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4800" dirty="0">
                <a:solidFill>
                  <a:schemeClr val="bg1"/>
                </a:solidFill>
              </a:endParaRPr>
            </a:p>
          </p:txBody>
        </p:sp>
        <p:sp>
          <p:nvSpPr>
            <p:cNvPr id="29" name="文本框 28">
              <a:extLst>
                <a:ext uri="{FF2B5EF4-FFF2-40B4-BE49-F238E27FC236}">
                  <a16:creationId xmlns:a16="http://schemas.microsoft.com/office/drawing/2014/main" id="{DC363E85-BA0E-4D5B-8260-CFBC45C8F734}"/>
                </a:ext>
              </a:extLst>
            </p:cNvPr>
            <p:cNvSpPr txBox="1"/>
            <p:nvPr/>
          </p:nvSpPr>
          <p:spPr>
            <a:xfrm>
              <a:off x="4408488" y="4640913"/>
              <a:ext cx="1039218" cy="220475"/>
            </a:xfrm>
            <a:prstGeom prst="rect">
              <a:avLst/>
            </a:prstGeom>
            <a:noFill/>
          </p:spPr>
          <p:txBody>
            <a:bodyPr wrap="none" lIns="0" tIns="0" rIns="0" bIns="0" rtlCol="0" anchor="t">
              <a:spAutoFit/>
            </a:bodyPr>
            <a:lstStyle/>
            <a:p>
              <a:r>
                <a:rPr lang="zh-CN" altLang="en-US" sz="1200" dirty="0">
                  <a:solidFill>
                    <a:schemeClr val="bg1"/>
                  </a:solidFill>
                  <a:latin typeface="+mn-ea"/>
                </a:rPr>
                <a:t>汇报人：</a:t>
              </a:r>
              <a:r>
                <a:rPr lang="en-US" altLang="zh-CN" sz="1200" dirty="0">
                  <a:solidFill>
                    <a:schemeClr val="bg1"/>
                  </a:solidFill>
                  <a:latin typeface="+mn-ea"/>
                </a:rPr>
                <a:t>xxx</a:t>
              </a:r>
              <a:endParaRPr lang="zh-CN" altLang="en-US" sz="1200" dirty="0">
                <a:solidFill>
                  <a:schemeClr val="bg1"/>
                </a:solidFill>
                <a:latin typeface="+mn-ea"/>
              </a:endParaRPr>
            </a:p>
          </p:txBody>
        </p:sp>
      </p:grpSp>
      <p:grpSp>
        <p:nvGrpSpPr>
          <p:cNvPr id="30" name="组合 29">
            <a:extLst>
              <a:ext uri="{FF2B5EF4-FFF2-40B4-BE49-F238E27FC236}">
                <a16:creationId xmlns:a16="http://schemas.microsoft.com/office/drawing/2014/main" id="{F62C6FD7-ACFA-422B-88DC-DB2B42CDD668}"/>
              </a:ext>
            </a:extLst>
          </p:cNvPr>
          <p:cNvGrpSpPr/>
          <p:nvPr/>
        </p:nvGrpSpPr>
        <p:grpSpPr>
          <a:xfrm>
            <a:off x="1190763" y="4426235"/>
            <a:ext cx="978735" cy="184666"/>
            <a:chOff x="4095451" y="4640913"/>
            <a:chExt cx="1168524" cy="220475"/>
          </a:xfrm>
        </p:grpSpPr>
        <p:sp>
          <p:nvSpPr>
            <p:cNvPr id="31" name="矩形 30">
              <a:extLst>
                <a:ext uri="{FF2B5EF4-FFF2-40B4-BE49-F238E27FC236}">
                  <a16:creationId xmlns:a16="http://schemas.microsoft.com/office/drawing/2014/main" id="{4363F212-EF16-457E-9BA2-5D9629C31D55}"/>
                </a:ext>
              </a:extLst>
            </p:cNvPr>
            <p:cNvSpPr/>
            <p:nvPr/>
          </p:nvSpPr>
          <p:spPr>
            <a:xfrm>
              <a:off x="4095451" y="4672584"/>
              <a:ext cx="164592" cy="1645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4800" dirty="0">
                <a:solidFill>
                  <a:schemeClr val="bg1"/>
                </a:solidFill>
              </a:endParaRPr>
            </a:p>
          </p:txBody>
        </p:sp>
        <p:sp>
          <p:nvSpPr>
            <p:cNvPr id="32" name="文本框 31">
              <a:extLst>
                <a:ext uri="{FF2B5EF4-FFF2-40B4-BE49-F238E27FC236}">
                  <a16:creationId xmlns:a16="http://schemas.microsoft.com/office/drawing/2014/main" id="{BEB4B3B9-2B90-4E90-8178-0CD5FFAF101D}"/>
                </a:ext>
              </a:extLst>
            </p:cNvPr>
            <p:cNvSpPr txBox="1"/>
            <p:nvPr/>
          </p:nvSpPr>
          <p:spPr>
            <a:xfrm>
              <a:off x="4408486" y="4640913"/>
              <a:ext cx="855489" cy="220475"/>
            </a:xfrm>
            <a:prstGeom prst="rect">
              <a:avLst/>
            </a:prstGeom>
            <a:noFill/>
          </p:spPr>
          <p:txBody>
            <a:bodyPr wrap="none" lIns="0" tIns="0" rIns="0" bIns="0" rtlCol="0" anchor="t">
              <a:spAutoFit/>
            </a:bodyPr>
            <a:lstStyle/>
            <a:p>
              <a:r>
                <a:rPr lang="zh-CN" altLang="en-US" sz="1200" dirty="0">
                  <a:solidFill>
                    <a:schemeClr val="bg1"/>
                  </a:solidFill>
                  <a:latin typeface="+mn-ea"/>
                </a:rPr>
                <a:t>单位：</a:t>
              </a:r>
              <a:r>
                <a:rPr lang="en-US" altLang="zh-CN" sz="1200" dirty="0">
                  <a:solidFill>
                    <a:schemeClr val="bg1"/>
                  </a:solidFill>
                  <a:latin typeface="+mn-ea"/>
                </a:rPr>
                <a:t>xxx</a:t>
              </a:r>
              <a:endParaRPr lang="zh-CN" altLang="en-US" sz="1200" dirty="0">
                <a:solidFill>
                  <a:schemeClr val="bg1"/>
                </a:solidFill>
                <a:latin typeface="+mn-ea"/>
              </a:endParaRPr>
            </a:p>
          </p:txBody>
        </p:sp>
      </p:grpSp>
      <p:grpSp>
        <p:nvGrpSpPr>
          <p:cNvPr id="33" name="组合 32">
            <a:extLst>
              <a:ext uri="{FF2B5EF4-FFF2-40B4-BE49-F238E27FC236}">
                <a16:creationId xmlns:a16="http://schemas.microsoft.com/office/drawing/2014/main" id="{8380C770-A2C3-4DD0-B0CC-C0EF577B5652}"/>
              </a:ext>
            </a:extLst>
          </p:cNvPr>
          <p:cNvGrpSpPr/>
          <p:nvPr/>
        </p:nvGrpSpPr>
        <p:grpSpPr>
          <a:xfrm>
            <a:off x="861014" y="1951300"/>
            <a:ext cx="2532712" cy="2864093"/>
            <a:chOff x="942623" y="902047"/>
            <a:chExt cx="3090862" cy="4541207"/>
          </a:xfrm>
        </p:grpSpPr>
        <p:cxnSp>
          <p:nvCxnSpPr>
            <p:cNvPr id="34" name="直接连接符 49">
              <a:extLst>
                <a:ext uri="{FF2B5EF4-FFF2-40B4-BE49-F238E27FC236}">
                  <a16:creationId xmlns:a16="http://schemas.microsoft.com/office/drawing/2014/main" id="{41ABF298-AF72-44B7-86DE-70BD473969D9}"/>
                </a:ext>
              </a:extLst>
            </p:cNvPr>
            <p:cNvCxnSpPr/>
            <p:nvPr/>
          </p:nvCxnSpPr>
          <p:spPr>
            <a:xfrm>
              <a:off x="942623" y="902047"/>
              <a:ext cx="3090862" cy="0"/>
            </a:xfrm>
            <a:prstGeom prst="line">
              <a:avLst/>
            </a:prstGeom>
            <a:ln w="34925" cap="sq">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5" name="直接连接符 50">
              <a:extLst>
                <a:ext uri="{FF2B5EF4-FFF2-40B4-BE49-F238E27FC236}">
                  <a16:creationId xmlns:a16="http://schemas.microsoft.com/office/drawing/2014/main" id="{F42E2120-450C-4F0C-B442-5677F41D2D45}"/>
                </a:ext>
              </a:extLst>
            </p:cNvPr>
            <p:cNvCxnSpPr>
              <a:cxnSpLocks/>
            </p:cNvCxnSpPr>
            <p:nvPr/>
          </p:nvCxnSpPr>
          <p:spPr>
            <a:xfrm>
              <a:off x="942623" y="5443254"/>
              <a:ext cx="3089627" cy="0"/>
            </a:xfrm>
            <a:prstGeom prst="line">
              <a:avLst/>
            </a:prstGeom>
            <a:ln w="34925" cap="sq">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6" name="直接连接符 51">
              <a:extLst>
                <a:ext uri="{FF2B5EF4-FFF2-40B4-BE49-F238E27FC236}">
                  <a16:creationId xmlns:a16="http://schemas.microsoft.com/office/drawing/2014/main" id="{E3623781-E210-457C-A7F0-35A24DA0B655}"/>
                </a:ext>
              </a:extLst>
            </p:cNvPr>
            <p:cNvCxnSpPr>
              <a:cxnSpLocks/>
            </p:cNvCxnSpPr>
            <p:nvPr/>
          </p:nvCxnSpPr>
          <p:spPr>
            <a:xfrm>
              <a:off x="942623" y="902047"/>
              <a:ext cx="0" cy="4541207"/>
            </a:xfrm>
            <a:prstGeom prst="line">
              <a:avLst/>
            </a:prstGeom>
            <a:ln w="34925" cap="sq">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7" name="直接连接符 52">
              <a:extLst>
                <a:ext uri="{FF2B5EF4-FFF2-40B4-BE49-F238E27FC236}">
                  <a16:creationId xmlns:a16="http://schemas.microsoft.com/office/drawing/2014/main" id="{A45D3BA6-9C15-4F95-98F6-443D68FBE5D5}"/>
                </a:ext>
              </a:extLst>
            </p:cNvPr>
            <p:cNvCxnSpPr>
              <a:cxnSpLocks/>
            </p:cNvCxnSpPr>
            <p:nvPr/>
          </p:nvCxnSpPr>
          <p:spPr>
            <a:xfrm>
              <a:off x="4033485" y="902047"/>
              <a:ext cx="0" cy="1388657"/>
            </a:xfrm>
            <a:prstGeom prst="line">
              <a:avLst/>
            </a:prstGeom>
            <a:ln w="34925" cap="sq">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8" name="直接连接符 53">
              <a:extLst>
                <a:ext uri="{FF2B5EF4-FFF2-40B4-BE49-F238E27FC236}">
                  <a16:creationId xmlns:a16="http://schemas.microsoft.com/office/drawing/2014/main" id="{2A9EE539-F973-426E-B81D-82589CE722A7}"/>
                </a:ext>
              </a:extLst>
            </p:cNvPr>
            <p:cNvCxnSpPr>
              <a:cxnSpLocks/>
            </p:cNvCxnSpPr>
            <p:nvPr/>
          </p:nvCxnSpPr>
          <p:spPr>
            <a:xfrm>
              <a:off x="4033485" y="4275581"/>
              <a:ext cx="0" cy="1163194"/>
            </a:xfrm>
            <a:prstGeom prst="line">
              <a:avLst/>
            </a:prstGeom>
            <a:ln w="34925" cap="sq">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20" name="矩形 19">
            <a:extLst>
              <a:ext uri="{FF2B5EF4-FFF2-40B4-BE49-F238E27FC236}">
                <a16:creationId xmlns:a16="http://schemas.microsoft.com/office/drawing/2014/main" id="{F67C9B63-05E9-420D-B6C6-D0E65EC95C70}"/>
              </a:ext>
            </a:extLst>
          </p:cNvPr>
          <p:cNvSpPr/>
          <p:nvPr/>
        </p:nvSpPr>
        <p:spPr>
          <a:xfrm>
            <a:off x="8686800" y="0"/>
            <a:ext cx="3505199" cy="6857999"/>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p>
        </p:txBody>
      </p:sp>
      <p:sp>
        <p:nvSpPr>
          <p:cNvPr id="21" name="任意多边形: 形状 20">
            <a:extLst>
              <a:ext uri="{FF2B5EF4-FFF2-40B4-BE49-F238E27FC236}">
                <a16:creationId xmlns:a16="http://schemas.microsoft.com/office/drawing/2014/main" id="{1E8CD8DC-68DB-426B-94CC-8DF68D3AC443}"/>
              </a:ext>
            </a:extLst>
          </p:cNvPr>
          <p:cNvSpPr/>
          <p:nvPr/>
        </p:nvSpPr>
        <p:spPr>
          <a:xfrm>
            <a:off x="9773486" y="2828244"/>
            <a:ext cx="1331826" cy="1221507"/>
          </a:xfrm>
          <a:custGeom>
            <a:avLst/>
            <a:gdLst>
              <a:gd name="connsiteX0" fmla="*/ 1006264 w 1331826"/>
              <a:gd name="connsiteY0" fmla="*/ 238125 h 1221507"/>
              <a:gd name="connsiteX1" fmla="*/ 1123466 w 1331826"/>
              <a:gd name="connsiteY1" fmla="*/ 355327 h 1221507"/>
              <a:gd name="connsiteX2" fmla="*/ 1006264 w 1331826"/>
              <a:gd name="connsiteY2" fmla="*/ 472529 h 1221507"/>
              <a:gd name="connsiteX3" fmla="*/ 889062 w 1331826"/>
              <a:gd name="connsiteY3" fmla="*/ 355327 h 1221507"/>
              <a:gd name="connsiteX4" fmla="*/ 1006264 w 1331826"/>
              <a:gd name="connsiteY4" fmla="*/ 238125 h 1221507"/>
              <a:gd name="connsiteX5" fmla="*/ 172827 w 1331826"/>
              <a:gd name="connsiteY5" fmla="*/ 104180 h 1221507"/>
              <a:gd name="connsiteX6" fmla="*/ 105482 w 1331826"/>
              <a:gd name="connsiteY6" fmla="*/ 171152 h 1221507"/>
              <a:gd name="connsiteX7" fmla="*/ 105482 w 1331826"/>
              <a:gd name="connsiteY7" fmla="*/ 726281 h 1221507"/>
              <a:gd name="connsiteX8" fmla="*/ 179152 w 1331826"/>
              <a:gd name="connsiteY8" fmla="*/ 599777 h 1221507"/>
              <a:gd name="connsiteX9" fmla="*/ 303795 w 1331826"/>
              <a:gd name="connsiteY9" fmla="*/ 490761 h 1221507"/>
              <a:gd name="connsiteX10" fmla="*/ 414300 w 1331826"/>
              <a:gd name="connsiteY10" fmla="*/ 507504 h 1221507"/>
              <a:gd name="connsiteX11" fmla="*/ 731676 w 1331826"/>
              <a:gd name="connsiteY11" fmla="*/ 856878 h 1221507"/>
              <a:gd name="connsiteX12" fmla="*/ 780790 w 1331826"/>
              <a:gd name="connsiteY12" fmla="*/ 791022 h 1221507"/>
              <a:gd name="connsiteX13" fmla="*/ 988777 w 1331826"/>
              <a:gd name="connsiteY13" fmla="*/ 633264 h 1221507"/>
              <a:gd name="connsiteX14" fmla="*/ 1093329 w 1331826"/>
              <a:gd name="connsiteY14" fmla="*/ 666006 h 1221507"/>
              <a:gd name="connsiteX15" fmla="*/ 1227646 w 1331826"/>
              <a:gd name="connsiteY15" fmla="*/ 821159 h 1221507"/>
              <a:gd name="connsiteX16" fmla="*/ 1227646 w 1331826"/>
              <a:gd name="connsiteY16" fmla="*/ 171152 h 1221507"/>
              <a:gd name="connsiteX17" fmla="*/ 1160673 w 1331826"/>
              <a:gd name="connsiteY17" fmla="*/ 104180 h 1221507"/>
              <a:gd name="connsiteX18" fmla="*/ 172827 w 1331826"/>
              <a:gd name="connsiteY18" fmla="*/ 0 h 1221507"/>
              <a:gd name="connsiteX19" fmla="*/ 1160673 w 1331826"/>
              <a:gd name="connsiteY19" fmla="*/ 0 h 1221507"/>
              <a:gd name="connsiteX20" fmla="*/ 1331826 w 1331826"/>
              <a:gd name="connsiteY20" fmla="*/ 171152 h 1221507"/>
              <a:gd name="connsiteX21" fmla="*/ 1331826 w 1331826"/>
              <a:gd name="connsiteY21" fmla="*/ 1050355 h 1221507"/>
              <a:gd name="connsiteX22" fmla="*/ 1160673 w 1331826"/>
              <a:gd name="connsiteY22" fmla="*/ 1221507 h 1221507"/>
              <a:gd name="connsiteX23" fmla="*/ 172827 w 1331826"/>
              <a:gd name="connsiteY23" fmla="*/ 1221507 h 1221507"/>
              <a:gd name="connsiteX24" fmla="*/ 1674 w 1331826"/>
              <a:gd name="connsiteY24" fmla="*/ 1050355 h 1221507"/>
              <a:gd name="connsiteX25" fmla="*/ 1674 w 1331826"/>
              <a:gd name="connsiteY25" fmla="*/ 1006450 h 1221507"/>
              <a:gd name="connsiteX26" fmla="*/ 1674 w 1331826"/>
              <a:gd name="connsiteY26" fmla="*/ 980405 h 1221507"/>
              <a:gd name="connsiteX27" fmla="*/ 1674 w 1331826"/>
              <a:gd name="connsiteY27" fmla="*/ 171152 h 1221507"/>
              <a:gd name="connsiteX28" fmla="*/ 172827 w 1331826"/>
              <a:gd name="connsiteY28" fmla="*/ 0 h 1221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31826" h="1221507">
                <a:moveTo>
                  <a:pt x="1006264" y="238125"/>
                </a:moveTo>
                <a:cubicBezTo>
                  <a:pt x="1070993" y="238125"/>
                  <a:pt x="1123466" y="290598"/>
                  <a:pt x="1123466" y="355327"/>
                </a:cubicBezTo>
                <a:cubicBezTo>
                  <a:pt x="1123466" y="420056"/>
                  <a:pt x="1070993" y="472529"/>
                  <a:pt x="1006264" y="472529"/>
                </a:cubicBezTo>
                <a:cubicBezTo>
                  <a:pt x="941535" y="472529"/>
                  <a:pt x="889062" y="420056"/>
                  <a:pt x="889062" y="355327"/>
                </a:cubicBezTo>
                <a:cubicBezTo>
                  <a:pt x="889062" y="290598"/>
                  <a:pt x="941535" y="238125"/>
                  <a:pt x="1006264" y="238125"/>
                </a:cubicBezTo>
                <a:close/>
                <a:moveTo>
                  <a:pt x="172827" y="104180"/>
                </a:moveTo>
                <a:cubicBezTo>
                  <a:pt x="135620" y="104180"/>
                  <a:pt x="105854" y="133945"/>
                  <a:pt x="105482" y="171152"/>
                </a:cubicBezTo>
                <a:lnTo>
                  <a:pt x="105482" y="726281"/>
                </a:lnTo>
                <a:cubicBezTo>
                  <a:pt x="130411" y="676424"/>
                  <a:pt x="154967" y="634008"/>
                  <a:pt x="179152" y="599777"/>
                </a:cubicBezTo>
                <a:cubicBezTo>
                  <a:pt x="220824" y="540246"/>
                  <a:pt x="261751" y="504527"/>
                  <a:pt x="303795" y="490761"/>
                </a:cubicBezTo>
                <a:cubicBezTo>
                  <a:pt x="342491" y="478110"/>
                  <a:pt x="380442" y="483691"/>
                  <a:pt x="414300" y="507504"/>
                </a:cubicBezTo>
                <a:cubicBezTo>
                  <a:pt x="528526" y="587871"/>
                  <a:pt x="663215" y="762372"/>
                  <a:pt x="731676" y="856878"/>
                </a:cubicBezTo>
                <a:cubicBezTo>
                  <a:pt x="745443" y="837158"/>
                  <a:pt x="762186" y="814090"/>
                  <a:pt x="780790" y="791022"/>
                </a:cubicBezTo>
                <a:cubicBezTo>
                  <a:pt x="858552" y="693911"/>
                  <a:pt x="926641" y="642193"/>
                  <a:pt x="988777" y="633264"/>
                </a:cubicBezTo>
                <a:cubicBezTo>
                  <a:pt x="1028216" y="627683"/>
                  <a:pt x="1064307" y="638845"/>
                  <a:pt x="1093329" y="666006"/>
                </a:cubicBezTo>
                <a:cubicBezTo>
                  <a:pt x="1142070" y="711398"/>
                  <a:pt x="1188951" y="768697"/>
                  <a:pt x="1227646" y="821159"/>
                </a:cubicBezTo>
                <a:lnTo>
                  <a:pt x="1227646" y="171152"/>
                </a:lnTo>
                <a:cubicBezTo>
                  <a:pt x="1227646" y="134317"/>
                  <a:pt x="1197508" y="104180"/>
                  <a:pt x="1160673" y="104180"/>
                </a:cubicBezTo>
                <a:close/>
                <a:moveTo>
                  <a:pt x="172827" y="0"/>
                </a:moveTo>
                <a:lnTo>
                  <a:pt x="1160673" y="0"/>
                </a:lnTo>
                <a:cubicBezTo>
                  <a:pt x="1255179" y="0"/>
                  <a:pt x="1331826" y="76646"/>
                  <a:pt x="1331826" y="171152"/>
                </a:cubicBezTo>
                <a:lnTo>
                  <a:pt x="1331826" y="1050355"/>
                </a:lnTo>
                <a:cubicBezTo>
                  <a:pt x="1331826" y="1144860"/>
                  <a:pt x="1255179" y="1221507"/>
                  <a:pt x="1160673" y="1221507"/>
                </a:cubicBezTo>
                <a:lnTo>
                  <a:pt x="172827" y="1221507"/>
                </a:lnTo>
                <a:cubicBezTo>
                  <a:pt x="78321" y="1221507"/>
                  <a:pt x="1674" y="1144860"/>
                  <a:pt x="1674" y="1050355"/>
                </a:cubicBezTo>
                <a:lnTo>
                  <a:pt x="1674" y="1006450"/>
                </a:lnTo>
                <a:cubicBezTo>
                  <a:pt x="-558" y="997893"/>
                  <a:pt x="-558" y="989335"/>
                  <a:pt x="1674" y="980405"/>
                </a:cubicBezTo>
                <a:lnTo>
                  <a:pt x="1674" y="171152"/>
                </a:lnTo>
                <a:cubicBezTo>
                  <a:pt x="1674" y="76646"/>
                  <a:pt x="78321" y="0"/>
                  <a:pt x="172827" y="0"/>
                </a:cubicBezTo>
                <a:close/>
              </a:path>
            </a:pathLst>
          </a:custGeom>
          <a:solidFill>
            <a:schemeClr val="bg1"/>
          </a:solidFill>
          <a:ln w="1860" cap="flat">
            <a:noFill/>
            <a:prstDash val="solid"/>
            <a:miter/>
          </a:ln>
        </p:spPr>
        <p:txBody>
          <a:bodyPr rtlCol="0" anchor="ctr"/>
          <a:lstStyle/>
          <a:p>
            <a:endParaRPr lang="zh-CN" altLang="en-US"/>
          </a:p>
        </p:txBody>
      </p:sp>
    </p:spTree>
    <p:extLst>
      <p:ext uri="{BB962C8B-B14F-4D97-AF65-F5344CB8AC3E}">
        <p14:creationId xmlns:p14="http://schemas.microsoft.com/office/powerpoint/2010/main" val="3544621086"/>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5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19">
            <a:extLst>
              <a:ext uri="{FF2B5EF4-FFF2-40B4-BE49-F238E27FC236}">
                <a16:creationId xmlns:a16="http://schemas.microsoft.com/office/drawing/2014/main" id="{CC361E0C-B95B-4F05-AB6E-C8E6B62866BC}"/>
              </a:ext>
            </a:extLst>
          </p:cNvPr>
          <p:cNvSpPr/>
          <p:nvPr/>
        </p:nvSpPr>
        <p:spPr>
          <a:xfrm>
            <a:off x="5432578" y="4037722"/>
            <a:ext cx="1326844" cy="661720"/>
          </a:xfrm>
          <a:prstGeom prst="rect">
            <a:avLst/>
          </a:prstGeom>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500" b="1" i="0" u="none" strike="noStrike" kern="1200" cap="none" spc="0" normalizeH="0" baseline="0" noProof="0" dirty="0">
                <a:ln>
                  <a:noFill/>
                </a:ln>
                <a:solidFill>
                  <a:prstClr val="black">
                    <a:lumMod val="75000"/>
                    <a:lumOff val="25000"/>
                  </a:prstClr>
                </a:solidFill>
                <a:effectLst/>
                <a:uLnTx/>
                <a:uFillTx/>
                <a:latin typeface="Open Sans"/>
                <a:ea typeface="+mn-ea"/>
                <a:cs typeface="+mn-cs"/>
              </a:rPr>
              <a:t>5 STEP</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75000"/>
                    <a:lumOff val="25000"/>
                  </a:prstClr>
                </a:solidFill>
                <a:effectLst/>
                <a:uLnTx/>
                <a:uFillTx/>
                <a:latin typeface="Open Sans"/>
                <a:ea typeface="+mn-ea"/>
                <a:cs typeface="+mn-cs"/>
              </a:rPr>
              <a:t>INFOGRAPHIC</a:t>
            </a:r>
          </a:p>
        </p:txBody>
      </p:sp>
      <p:sp>
        <p:nvSpPr>
          <p:cNvPr id="9" name="Freeform 6">
            <a:extLst>
              <a:ext uri="{FF2B5EF4-FFF2-40B4-BE49-F238E27FC236}">
                <a16:creationId xmlns:a16="http://schemas.microsoft.com/office/drawing/2014/main" id="{2CD0F8A9-4B05-4BD4-BBD2-F70765FD32EA}"/>
              </a:ext>
            </a:extLst>
          </p:cNvPr>
          <p:cNvSpPr>
            <a:spLocks/>
          </p:cNvSpPr>
          <p:nvPr/>
        </p:nvSpPr>
        <p:spPr bwMode="auto">
          <a:xfrm>
            <a:off x="4813826" y="4792357"/>
            <a:ext cx="1322312" cy="1074797"/>
          </a:xfrm>
          <a:custGeom>
            <a:avLst/>
            <a:gdLst>
              <a:gd name="T0" fmla="*/ 7832 w 7832"/>
              <a:gd name="T1" fmla="*/ 6366 h 6367"/>
              <a:gd name="T2" fmla="*/ 7744 w 7832"/>
              <a:gd name="T3" fmla="*/ 6367 h 6367"/>
              <a:gd name="T4" fmla="*/ 0 w 7832"/>
              <a:gd name="T5" fmla="*/ 1669 h 6367"/>
              <a:gd name="T6" fmla="*/ 888 w 7832"/>
              <a:gd name="T7" fmla="*/ 0 h 6367"/>
              <a:gd name="T8" fmla="*/ 2668 w 7832"/>
              <a:gd name="T9" fmla="*/ 61 h 6367"/>
              <a:gd name="T10" fmla="*/ 7324 w 7832"/>
              <a:gd name="T11" fmla="*/ 3246 h 6367"/>
              <a:gd name="T12" fmla="*/ 6602 w 7832"/>
              <a:gd name="T13" fmla="*/ 5149 h 6367"/>
              <a:gd name="T14" fmla="*/ 7832 w 7832"/>
              <a:gd name="T15" fmla="*/ 6366 h 636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832" h="6367">
                <a:moveTo>
                  <a:pt x="7832" y="6366"/>
                </a:moveTo>
                <a:cubicBezTo>
                  <a:pt x="7803" y="6366"/>
                  <a:pt x="7774" y="6367"/>
                  <a:pt x="7744" y="6367"/>
                </a:cubicBezTo>
                <a:cubicBezTo>
                  <a:pt x="4377" y="6367"/>
                  <a:pt x="1456" y="4461"/>
                  <a:pt x="0" y="1669"/>
                </a:cubicBezTo>
                <a:lnTo>
                  <a:pt x="888" y="0"/>
                </a:lnTo>
                <a:lnTo>
                  <a:pt x="2668" y="61"/>
                </a:lnTo>
                <a:cubicBezTo>
                  <a:pt x="3516" y="1834"/>
                  <a:pt x="5266" y="3094"/>
                  <a:pt x="7324" y="3246"/>
                </a:cubicBezTo>
                <a:lnTo>
                  <a:pt x="6602" y="5149"/>
                </a:lnTo>
                <a:lnTo>
                  <a:pt x="7832" y="6366"/>
                </a:lnTo>
                <a:close/>
              </a:path>
            </a:pathLst>
          </a:custGeom>
          <a:gradFill flip="none" rotWithShape="1">
            <a:gsLst>
              <a:gs pos="73000">
                <a:schemeClr val="accent1"/>
              </a:gs>
              <a:gs pos="31000">
                <a:schemeClr val="accent1">
                  <a:lumMod val="60000"/>
                  <a:lumOff val="40000"/>
                </a:schemeClr>
              </a:gs>
              <a:gs pos="0">
                <a:schemeClr val="accent1">
                  <a:lumMod val="40000"/>
                  <a:lumOff val="60000"/>
                </a:schemeClr>
              </a:gs>
            </a:gsLst>
            <a:lin ang="540000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Black"/>
              <a:ea typeface="+mj-ea"/>
              <a:cs typeface="+mn-cs"/>
            </a:endParaRPr>
          </a:p>
        </p:txBody>
      </p:sp>
      <p:sp>
        <p:nvSpPr>
          <p:cNvPr id="10" name="Rectangle 20">
            <a:extLst>
              <a:ext uri="{FF2B5EF4-FFF2-40B4-BE49-F238E27FC236}">
                <a16:creationId xmlns:a16="http://schemas.microsoft.com/office/drawing/2014/main" id="{7E57CAC7-94B9-4BB8-8D36-102D04D7EDDC}"/>
              </a:ext>
            </a:extLst>
          </p:cNvPr>
          <p:cNvSpPr/>
          <p:nvPr/>
        </p:nvSpPr>
        <p:spPr>
          <a:xfrm>
            <a:off x="5131768" y="5118735"/>
            <a:ext cx="562975" cy="529312"/>
          </a:xfrm>
          <a:prstGeom prst="rect">
            <a:avLst/>
          </a:prstGeom>
          <a:noFill/>
        </p:spPr>
        <p:txBody>
          <a:bodyPr wrap="none">
            <a:spAutoFit/>
          </a:bodyPr>
          <a:lstStyle/>
          <a:p>
            <a:pPr marL="0" marR="0" lvl="0" indent="0" algn="ctr" defTabSz="457200" rtl="0" eaLnBrk="1" fontAlgn="base" latinLnBrk="0" hangingPunct="1">
              <a:lnSpc>
                <a:spcPct val="130000"/>
              </a:lnSpc>
              <a:spcBef>
                <a:spcPts val="1000"/>
              </a:spcBef>
              <a:spcAft>
                <a:spcPts val="0"/>
              </a:spcAft>
              <a:buClrTx/>
              <a:buSzTx/>
              <a:buFontTx/>
              <a:buNone/>
              <a:tabLst/>
              <a:defRPr/>
            </a:pPr>
            <a:r>
              <a:rPr kumimoji="0" lang="en-US" sz="2400" b="1" i="0" u="none" strike="noStrike" kern="1200" cap="none" spc="0" normalizeH="0" baseline="0" noProof="0" dirty="0">
                <a:ln>
                  <a:noFill/>
                </a:ln>
                <a:solidFill>
                  <a:srgbClr val="FFFFFF"/>
                </a:solidFill>
                <a:effectLst/>
                <a:uLnTx/>
                <a:uFillTx/>
                <a:latin typeface="HarmonyOS Sans SC Black"/>
                <a:ea typeface="+mj-ea"/>
                <a:cs typeface="+mn-cs"/>
              </a:rPr>
              <a:t>01</a:t>
            </a:r>
          </a:p>
        </p:txBody>
      </p:sp>
      <p:sp>
        <p:nvSpPr>
          <p:cNvPr id="12" name="Freeform 5">
            <a:extLst>
              <a:ext uri="{FF2B5EF4-FFF2-40B4-BE49-F238E27FC236}">
                <a16:creationId xmlns:a16="http://schemas.microsoft.com/office/drawing/2014/main" id="{AA2A97E8-3A5A-4B40-90DB-696DFC3FB60E}"/>
              </a:ext>
            </a:extLst>
          </p:cNvPr>
          <p:cNvSpPr>
            <a:spLocks/>
          </p:cNvSpPr>
          <p:nvPr/>
        </p:nvSpPr>
        <p:spPr bwMode="auto">
          <a:xfrm>
            <a:off x="4622801" y="3350821"/>
            <a:ext cx="828024" cy="1494755"/>
          </a:xfrm>
          <a:custGeom>
            <a:avLst/>
            <a:gdLst>
              <a:gd name="T0" fmla="*/ 399 w 4907"/>
              <a:gd name="T1" fmla="*/ 8849 h 8849"/>
              <a:gd name="T2" fmla="*/ 0 w 4907"/>
              <a:gd name="T3" fmla="*/ 6232 h 8849"/>
              <a:gd name="T4" fmla="*/ 2618 w 4907"/>
              <a:gd name="T5" fmla="*/ 0 h 8849"/>
              <a:gd name="T6" fmla="*/ 4447 w 4907"/>
              <a:gd name="T7" fmla="*/ 366 h 8849"/>
              <a:gd name="T8" fmla="*/ 4907 w 4907"/>
              <a:gd name="T9" fmla="*/ 2108 h 8849"/>
              <a:gd name="T10" fmla="*/ 3106 w 4907"/>
              <a:gd name="T11" fmla="*/ 6232 h 8849"/>
              <a:gd name="T12" fmla="*/ 3250 w 4907"/>
              <a:gd name="T13" fmla="*/ 7502 h 8849"/>
              <a:gd name="T14" fmla="*/ 1178 w 4907"/>
              <a:gd name="T15" fmla="*/ 7365 h 8849"/>
              <a:gd name="T16" fmla="*/ 399 w 4907"/>
              <a:gd name="T17" fmla="*/ 8849 h 88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07" h="8849">
                <a:moveTo>
                  <a:pt x="399" y="8849"/>
                </a:moveTo>
                <a:cubicBezTo>
                  <a:pt x="140" y="8023"/>
                  <a:pt x="0" y="7144"/>
                  <a:pt x="0" y="6232"/>
                </a:cubicBezTo>
                <a:cubicBezTo>
                  <a:pt x="0" y="3791"/>
                  <a:pt x="1002" y="1584"/>
                  <a:pt x="2618" y="0"/>
                </a:cubicBezTo>
                <a:lnTo>
                  <a:pt x="4447" y="366"/>
                </a:lnTo>
                <a:lnTo>
                  <a:pt x="4907" y="2108"/>
                </a:lnTo>
                <a:cubicBezTo>
                  <a:pt x="3799" y="3135"/>
                  <a:pt x="3106" y="4603"/>
                  <a:pt x="3106" y="6232"/>
                </a:cubicBezTo>
                <a:cubicBezTo>
                  <a:pt x="3106" y="6669"/>
                  <a:pt x="3156" y="7094"/>
                  <a:pt x="3250" y="7502"/>
                </a:cubicBezTo>
                <a:lnTo>
                  <a:pt x="1178" y="7365"/>
                </a:lnTo>
                <a:lnTo>
                  <a:pt x="399" y="8849"/>
                </a:lnTo>
                <a:close/>
              </a:path>
            </a:pathLst>
          </a:custGeom>
          <a:gradFill flip="none" rotWithShape="1">
            <a:gsLst>
              <a:gs pos="73000">
                <a:schemeClr val="accent1"/>
              </a:gs>
              <a:gs pos="31000">
                <a:schemeClr val="accent1">
                  <a:lumMod val="60000"/>
                  <a:lumOff val="40000"/>
                </a:schemeClr>
              </a:gs>
              <a:gs pos="0">
                <a:schemeClr val="accent1">
                  <a:lumMod val="40000"/>
                  <a:lumOff val="60000"/>
                </a:schemeClr>
              </a:gs>
            </a:gsLst>
            <a:lin ang="810000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Black"/>
              <a:ea typeface="+mj-ea"/>
              <a:cs typeface="+mn-cs"/>
            </a:endParaRPr>
          </a:p>
        </p:txBody>
      </p:sp>
      <p:sp>
        <p:nvSpPr>
          <p:cNvPr id="13" name="Rectangle 21">
            <a:extLst>
              <a:ext uri="{FF2B5EF4-FFF2-40B4-BE49-F238E27FC236}">
                <a16:creationId xmlns:a16="http://schemas.microsoft.com/office/drawing/2014/main" id="{CAFE0248-D339-4DC4-A9EC-0082B24479F1}"/>
              </a:ext>
            </a:extLst>
          </p:cNvPr>
          <p:cNvSpPr/>
          <p:nvPr/>
        </p:nvSpPr>
        <p:spPr>
          <a:xfrm>
            <a:off x="4670234" y="3781981"/>
            <a:ext cx="562975" cy="529312"/>
          </a:xfrm>
          <a:prstGeom prst="rect">
            <a:avLst/>
          </a:prstGeom>
          <a:noFill/>
        </p:spPr>
        <p:txBody>
          <a:bodyPr wrap="none">
            <a:spAutoFit/>
          </a:bodyPr>
          <a:lstStyle/>
          <a:p>
            <a:pPr marL="0" marR="0" lvl="0" indent="0" algn="ctr" defTabSz="457200" rtl="0" eaLnBrk="1" fontAlgn="base" latinLnBrk="0" hangingPunct="1">
              <a:lnSpc>
                <a:spcPct val="130000"/>
              </a:lnSpc>
              <a:spcBef>
                <a:spcPts val="1000"/>
              </a:spcBef>
              <a:spcAft>
                <a:spcPts val="0"/>
              </a:spcAft>
              <a:buClrTx/>
              <a:buSzTx/>
              <a:buFontTx/>
              <a:buNone/>
              <a:tabLst/>
              <a:defRPr/>
            </a:pPr>
            <a:r>
              <a:rPr kumimoji="0" lang="en-US" sz="2400" b="1" i="0" u="none" strike="noStrike" kern="1200" cap="none" spc="0" normalizeH="0" baseline="0" noProof="0" dirty="0">
                <a:ln>
                  <a:noFill/>
                </a:ln>
                <a:solidFill>
                  <a:srgbClr val="FFFFFF"/>
                </a:solidFill>
                <a:effectLst/>
                <a:uLnTx/>
                <a:uFillTx/>
                <a:latin typeface="HarmonyOS Sans SC Black"/>
                <a:ea typeface="+mj-ea"/>
                <a:cs typeface="+mn-cs"/>
              </a:rPr>
              <a:t>02</a:t>
            </a:r>
          </a:p>
        </p:txBody>
      </p:sp>
      <p:sp>
        <p:nvSpPr>
          <p:cNvPr id="15" name="Freeform 9">
            <a:extLst>
              <a:ext uri="{FF2B5EF4-FFF2-40B4-BE49-F238E27FC236}">
                <a16:creationId xmlns:a16="http://schemas.microsoft.com/office/drawing/2014/main" id="{A65B5984-E3FD-4EB2-8239-2BA0F51CFA68}"/>
              </a:ext>
            </a:extLst>
          </p:cNvPr>
          <p:cNvSpPr>
            <a:spLocks/>
          </p:cNvSpPr>
          <p:nvPr/>
        </p:nvSpPr>
        <p:spPr bwMode="auto">
          <a:xfrm>
            <a:off x="5262773" y="2929376"/>
            <a:ext cx="1551988" cy="654095"/>
          </a:xfrm>
          <a:custGeom>
            <a:avLst/>
            <a:gdLst>
              <a:gd name="T0" fmla="*/ 4934 w 9190"/>
              <a:gd name="T1" fmla="*/ 0 h 3874"/>
              <a:gd name="T2" fmla="*/ 8975 w 9190"/>
              <a:gd name="T3" fmla="*/ 990 h 3874"/>
              <a:gd name="T4" fmla="*/ 9190 w 9190"/>
              <a:gd name="T5" fmla="*/ 2808 h 3874"/>
              <a:gd name="T6" fmla="*/ 7647 w 9190"/>
              <a:gd name="T7" fmla="*/ 3803 h 3874"/>
              <a:gd name="T8" fmla="*/ 4934 w 9190"/>
              <a:gd name="T9" fmla="*/ 3106 h 3874"/>
              <a:gd name="T10" fmla="*/ 2097 w 9190"/>
              <a:gd name="T11" fmla="*/ 3874 h 3874"/>
              <a:gd name="T12" fmla="*/ 1630 w 9190"/>
              <a:gd name="T13" fmla="*/ 1843 h 3874"/>
              <a:gd name="T14" fmla="*/ 0 w 9190"/>
              <a:gd name="T15" fmla="*/ 1528 h 3874"/>
              <a:gd name="T16" fmla="*/ 4934 w 9190"/>
              <a:gd name="T17" fmla="*/ 0 h 38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190" h="3874">
                <a:moveTo>
                  <a:pt x="4934" y="0"/>
                </a:moveTo>
                <a:cubicBezTo>
                  <a:pt x="6392" y="0"/>
                  <a:pt x="7767" y="358"/>
                  <a:pt x="8975" y="990"/>
                </a:cubicBezTo>
                <a:lnTo>
                  <a:pt x="9190" y="2808"/>
                </a:lnTo>
                <a:lnTo>
                  <a:pt x="7647" y="3803"/>
                </a:lnTo>
                <a:cubicBezTo>
                  <a:pt x="6843" y="3359"/>
                  <a:pt x="5918" y="3106"/>
                  <a:pt x="4934" y="3106"/>
                </a:cubicBezTo>
                <a:cubicBezTo>
                  <a:pt x="3899" y="3106"/>
                  <a:pt x="2930" y="3386"/>
                  <a:pt x="2097" y="3874"/>
                </a:cubicBezTo>
                <a:lnTo>
                  <a:pt x="1630" y="1843"/>
                </a:lnTo>
                <a:lnTo>
                  <a:pt x="0" y="1528"/>
                </a:lnTo>
                <a:cubicBezTo>
                  <a:pt x="1404" y="564"/>
                  <a:pt x="3103" y="0"/>
                  <a:pt x="4934" y="0"/>
                </a:cubicBezTo>
                <a:close/>
              </a:path>
            </a:pathLst>
          </a:custGeom>
          <a:gradFill flip="none" rotWithShape="1">
            <a:gsLst>
              <a:gs pos="73000">
                <a:schemeClr val="accent1"/>
              </a:gs>
              <a:gs pos="31000">
                <a:schemeClr val="accent1">
                  <a:lumMod val="60000"/>
                  <a:lumOff val="40000"/>
                </a:schemeClr>
              </a:gs>
              <a:gs pos="0">
                <a:schemeClr val="accent1">
                  <a:lumMod val="40000"/>
                  <a:lumOff val="60000"/>
                </a:schemeClr>
              </a:gs>
            </a:gsLst>
            <a:lin ang="1080000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Black"/>
              <a:ea typeface="+mj-ea"/>
              <a:cs typeface="+mn-cs"/>
            </a:endParaRPr>
          </a:p>
        </p:txBody>
      </p:sp>
      <p:sp>
        <p:nvSpPr>
          <p:cNvPr id="16" name="Rectangle 22">
            <a:extLst>
              <a:ext uri="{FF2B5EF4-FFF2-40B4-BE49-F238E27FC236}">
                <a16:creationId xmlns:a16="http://schemas.microsoft.com/office/drawing/2014/main" id="{8F3AE9E3-9131-47A9-B626-6C0097E2AE5E}"/>
              </a:ext>
            </a:extLst>
          </p:cNvPr>
          <p:cNvSpPr/>
          <p:nvPr/>
        </p:nvSpPr>
        <p:spPr>
          <a:xfrm>
            <a:off x="5922345" y="2964927"/>
            <a:ext cx="447558" cy="422039"/>
          </a:xfrm>
          <a:prstGeom prst="rect">
            <a:avLst/>
          </a:prstGeom>
          <a:noFill/>
          <a:ln>
            <a:noFill/>
          </a:ln>
        </p:spPr>
        <p:txBody>
          <a:bodyPr vert="horz" wrap="non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HarmonyOS Sans SC Black"/>
                <a:ea typeface="+mj-ea"/>
                <a:cs typeface="+mn-cs"/>
              </a:rPr>
              <a:t>03</a:t>
            </a:r>
          </a:p>
        </p:txBody>
      </p:sp>
      <p:sp>
        <p:nvSpPr>
          <p:cNvPr id="18" name="Freeform 7">
            <a:extLst>
              <a:ext uri="{FF2B5EF4-FFF2-40B4-BE49-F238E27FC236}">
                <a16:creationId xmlns:a16="http://schemas.microsoft.com/office/drawing/2014/main" id="{EB685A1C-1AB9-4817-AF0D-CF2024256536}"/>
              </a:ext>
            </a:extLst>
          </p:cNvPr>
          <p:cNvSpPr>
            <a:spLocks/>
          </p:cNvSpPr>
          <p:nvPr/>
        </p:nvSpPr>
        <p:spPr bwMode="auto">
          <a:xfrm>
            <a:off x="6136138" y="4757125"/>
            <a:ext cx="1362450" cy="1095609"/>
          </a:xfrm>
          <a:custGeom>
            <a:avLst/>
            <a:gdLst>
              <a:gd name="T0" fmla="*/ 8073 w 8073"/>
              <a:gd name="T1" fmla="*/ 584 h 6486"/>
              <a:gd name="T2" fmla="*/ 1373 w 8073"/>
              <a:gd name="T3" fmla="*/ 6486 h 6486"/>
              <a:gd name="T4" fmla="*/ 0 w 8073"/>
              <a:gd name="T5" fmla="*/ 5112 h 6486"/>
              <a:gd name="T6" fmla="*/ 563 w 8073"/>
              <a:gd name="T7" fmla="*/ 3473 h 6486"/>
              <a:gd name="T8" fmla="*/ 4983 w 8073"/>
              <a:gd name="T9" fmla="*/ 0 h 6486"/>
              <a:gd name="T10" fmla="*/ 6600 w 8073"/>
              <a:gd name="T11" fmla="*/ 1326 h 6486"/>
              <a:gd name="T12" fmla="*/ 8073 w 8073"/>
              <a:gd name="T13" fmla="*/ 584 h 6486"/>
            </a:gdLst>
            <a:ahLst/>
            <a:cxnLst>
              <a:cxn ang="0">
                <a:pos x="T0" y="T1"/>
              </a:cxn>
              <a:cxn ang="0">
                <a:pos x="T2" y="T3"/>
              </a:cxn>
              <a:cxn ang="0">
                <a:pos x="T4" y="T5"/>
              </a:cxn>
              <a:cxn ang="0">
                <a:pos x="T6" y="T7"/>
              </a:cxn>
              <a:cxn ang="0">
                <a:pos x="T8" y="T9"/>
              </a:cxn>
              <a:cxn ang="0">
                <a:pos x="T10" y="T11"/>
              </a:cxn>
              <a:cxn ang="0">
                <a:pos x="T12" y="T13"/>
              </a:cxn>
            </a:cxnLst>
            <a:rect l="0" t="0" r="r" b="b"/>
            <a:pathLst>
              <a:path w="8073" h="6486">
                <a:moveTo>
                  <a:pt x="8073" y="584"/>
                </a:moveTo>
                <a:cubicBezTo>
                  <a:pt x="7102" y="3598"/>
                  <a:pt x="4538" y="5896"/>
                  <a:pt x="1373" y="6486"/>
                </a:cubicBezTo>
                <a:lnTo>
                  <a:pt x="0" y="5112"/>
                </a:lnTo>
                <a:lnTo>
                  <a:pt x="563" y="3473"/>
                </a:lnTo>
                <a:cubicBezTo>
                  <a:pt x="2578" y="3186"/>
                  <a:pt x="4248" y="1831"/>
                  <a:pt x="4983" y="0"/>
                </a:cubicBezTo>
                <a:lnTo>
                  <a:pt x="6600" y="1326"/>
                </a:lnTo>
                <a:lnTo>
                  <a:pt x="8073" y="584"/>
                </a:lnTo>
                <a:close/>
              </a:path>
            </a:pathLst>
          </a:custGeom>
          <a:gradFill flip="none" rotWithShape="1">
            <a:gsLst>
              <a:gs pos="73000">
                <a:schemeClr val="accent1"/>
              </a:gs>
              <a:gs pos="31000">
                <a:schemeClr val="accent1">
                  <a:lumMod val="60000"/>
                  <a:lumOff val="40000"/>
                </a:schemeClr>
              </a:gs>
              <a:gs pos="0">
                <a:schemeClr val="accent1">
                  <a:lumMod val="40000"/>
                  <a:lumOff val="60000"/>
                </a:schemeClr>
              </a:gs>
            </a:gsLst>
            <a:lin ang="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Black"/>
              <a:ea typeface="+mj-ea"/>
              <a:cs typeface="+mn-cs"/>
            </a:endParaRPr>
          </a:p>
        </p:txBody>
      </p:sp>
      <p:sp>
        <p:nvSpPr>
          <p:cNvPr id="19" name="Rectangle 23">
            <a:extLst>
              <a:ext uri="{FF2B5EF4-FFF2-40B4-BE49-F238E27FC236}">
                <a16:creationId xmlns:a16="http://schemas.microsoft.com/office/drawing/2014/main" id="{9CA5A706-E19A-4DDB-9098-1C4EBBBD65A0}"/>
              </a:ext>
            </a:extLst>
          </p:cNvPr>
          <p:cNvSpPr/>
          <p:nvPr/>
        </p:nvSpPr>
        <p:spPr>
          <a:xfrm>
            <a:off x="6533275" y="5118735"/>
            <a:ext cx="562975" cy="529312"/>
          </a:xfrm>
          <a:prstGeom prst="rect">
            <a:avLst/>
          </a:prstGeom>
          <a:noFill/>
        </p:spPr>
        <p:txBody>
          <a:bodyPr wrap="none">
            <a:spAutoFit/>
          </a:bodyPr>
          <a:lstStyle/>
          <a:p>
            <a:pPr marL="0" marR="0" lvl="0" indent="0" algn="ctr" defTabSz="457200" rtl="0" eaLnBrk="1" fontAlgn="base" latinLnBrk="0" hangingPunct="1">
              <a:lnSpc>
                <a:spcPct val="130000"/>
              </a:lnSpc>
              <a:spcBef>
                <a:spcPts val="1000"/>
              </a:spcBef>
              <a:spcAft>
                <a:spcPts val="0"/>
              </a:spcAft>
              <a:buClrTx/>
              <a:buSzTx/>
              <a:buFontTx/>
              <a:buNone/>
              <a:tabLst/>
              <a:defRPr/>
            </a:pPr>
            <a:r>
              <a:rPr kumimoji="0" lang="en-US" sz="2400" b="1" i="0" u="none" strike="noStrike" kern="1200" cap="none" spc="0" normalizeH="0" baseline="0" noProof="0" dirty="0">
                <a:ln>
                  <a:noFill/>
                </a:ln>
                <a:solidFill>
                  <a:srgbClr val="FFFFFF"/>
                </a:solidFill>
                <a:effectLst/>
                <a:uLnTx/>
                <a:uFillTx/>
                <a:latin typeface="HarmonyOS Sans SC Black"/>
                <a:ea typeface="+mj-ea"/>
                <a:cs typeface="+mn-cs"/>
              </a:rPr>
              <a:t>05</a:t>
            </a:r>
          </a:p>
        </p:txBody>
      </p:sp>
      <p:sp>
        <p:nvSpPr>
          <p:cNvPr id="21" name="Freeform 8">
            <a:extLst>
              <a:ext uri="{FF2B5EF4-FFF2-40B4-BE49-F238E27FC236}">
                <a16:creationId xmlns:a16="http://schemas.microsoft.com/office/drawing/2014/main" id="{66C11D92-67CF-45E1-A513-4BC82B56AA39}"/>
              </a:ext>
            </a:extLst>
          </p:cNvPr>
          <p:cNvSpPr>
            <a:spLocks/>
          </p:cNvSpPr>
          <p:nvPr/>
        </p:nvSpPr>
        <p:spPr bwMode="auto">
          <a:xfrm>
            <a:off x="6723337" y="3235611"/>
            <a:ext cx="845863" cy="1508135"/>
          </a:xfrm>
          <a:custGeom>
            <a:avLst/>
            <a:gdLst>
              <a:gd name="T0" fmla="*/ 1611 w 5012"/>
              <a:gd name="T1" fmla="*/ 0 h 8930"/>
              <a:gd name="T2" fmla="*/ 5012 w 5012"/>
              <a:gd name="T3" fmla="*/ 6914 h 8930"/>
              <a:gd name="T4" fmla="*/ 4931 w 5012"/>
              <a:gd name="T5" fmla="*/ 8106 h 8930"/>
              <a:gd name="T6" fmla="*/ 3270 w 5012"/>
              <a:gd name="T7" fmla="*/ 8930 h 8930"/>
              <a:gd name="T8" fmla="*/ 1833 w 5012"/>
              <a:gd name="T9" fmla="*/ 7825 h 8930"/>
              <a:gd name="T10" fmla="*/ 1906 w 5012"/>
              <a:gd name="T11" fmla="*/ 6914 h 8930"/>
              <a:gd name="T12" fmla="*/ 0 w 5012"/>
              <a:gd name="T13" fmla="*/ 2694 h 8930"/>
              <a:gd name="T14" fmla="*/ 1811 w 5012"/>
              <a:gd name="T15" fmla="*/ 1607 h 8930"/>
              <a:gd name="T16" fmla="*/ 1611 w 5012"/>
              <a:gd name="T17" fmla="*/ 0 h 89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12" h="8930">
                <a:moveTo>
                  <a:pt x="1611" y="0"/>
                </a:moveTo>
                <a:cubicBezTo>
                  <a:pt x="3679" y="1596"/>
                  <a:pt x="5012" y="4099"/>
                  <a:pt x="5012" y="6914"/>
                </a:cubicBezTo>
                <a:cubicBezTo>
                  <a:pt x="5012" y="7319"/>
                  <a:pt x="4984" y="7716"/>
                  <a:pt x="4931" y="8106"/>
                </a:cubicBezTo>
                <a:lnTo>
                  <a:pt x="3270" y="8930"/>
                </a:lnTo>
                <a:lnTo>
                  <a:pt x="1833" y="7825"/>
                </a:lnTo>
                <a:cubicBezTo>
                  <a:pt x="1881" y="7528"/>
                  <a:pt x="1906" y="7224"/>
                  <a:pt x="1906" y="6914"/>
                </a:cubicBezTo>
                <a:cubicBezTo>
                  <a:pt x="1906" y="5233"/>
                  <a:pt x="1169" y="3725"/>
                  <a:pt x="0" y="2694"/>
                </a:cubicBezTo>
                <a:lnTo>
                  <a:pt x="1811" y="1607"/>
                </a:lnTo>
                <a:lnTo>
                  <a:pt x="1611" y="0"/>
                </a:lnTo>
                <a:close/>
              </a:path>
            </a:pathLst>
          </a:custGeom>
          <a:gradFill flip="none" rotWithShape="1">
            <a:gsLst>
              <a:gs pos="73000">
                <a:schemeClr val="accent1"/>
              </a:gs>
              <a:gs pos="31000">
                <a:schemeClr val="accent1">
                  <a:lumMod val="60000"/>
                  <a:lumOff val="40000"/>
                </a:schemeClr>
              </a:gs>
              <a:gs pos="0">
                <a:schemeClr val="accent1">
                  <a:lumMod val="40000"/>
                  <a:lumOff val="60000"/>
                </a:schemeClr>
              </a:gs>
            </a:gsLst>
            <a:lin ang="1620000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Black"/>
              <a:ea typeface="+mj-ea"/>
              <a:cs typeface="+mn-cs"/>
            </a:endParaRPr>
          </a:p>
        </p:txBody>
      </p:sp>
      <p:sp>
        <p:nvSpPr>
          <p:cNvPr id="22" name="Rectangle 24">
            <a:extLst>
              <a:ext uri="{FF2B5EF4-FFF2-40B4-BE49-F238E27FC236}">
                <a16:creationId xmlns:a16="http://schemas.microsoft.com/office/drawing/2014/main" id="{8081F19B-8EAE-4AE2-B52F-832145A14EDE}"/>
              </a:ext>
            </a:extLst>
          </p:cNvPr>
          <p:cNvSpPr/>
          <p:nvPr/>
        </p:nvSpPr>
        <p:spPr>
          <a:xfrm>
            <a:off x="6980833" y="3826702"/>
            <a:ext cx="562975" cy="529312"/>
          </a:xfrm>
          <a:prstGeom prst="rect">
            <a:avLst/>
          </a:prstGeom>
          <a:noFill/>
        </p:spPr>
        <p:txBody>
          <a:bodyPr wrap="none">
            <a:spAutoFit/>
          </a:bodyPr>
          <a:lstStyle/>
          <a:p>
            <a:pPr marL="0" marR="0" lvl="0" indent="0" algn="ctr" defTabSz="457200" rtl="0" eaLnBrk="1" fontAlgn="base" latinLnBrk="0" hangingPunct="1">
              <a:lnSpc>
                <a:spcPct val="130000"/>
              </a:lnSpc>
              <a:spcBef>
                <a:spcPts val="1000"/>
              </a:spcBef>
              <a:spcAft>
                <a:spcPts val="0"/>
              </a:spcAft>
              <a:buClrTx/>
              <a:buSzTx/>
              <a:buFontTx/>
              <a:buNone/>
              <a:tabLst/>
              <a:defRPr/>
            </a:pPr>
            <a:r>
              <a:rPr kumimoji="0" lang="en-US" sz="2400" b="1" i="0" u="none" strike="noStrike" kern="1200" cap="none" spc="0" normalizeH="0" baseline="0" noProof="0" dirty="0">
                <a:ln>
                  <a:noFill/>
                </a:ln>
                <a:solidFill>
                  <a:srgbClr val="FFFFFF"/>
                </a:solidFill>
                <a:effectLst/>
                <a:uLnTx/>
                <a:uFillTx/>
                <a:latin typeface="HarmonyOS Sans SC Black"/>
                <a:ea typeface="+mj-ea"/>
                <a:cs typeface="+mn-cs"/>
              </a:rPr>
              <a:t>04</a:t>
            </a:r>
          </a:p>
        </p:txBody>
      </p:sp>
      <p:grpSp>
        <p:nvGrpSpPr>
          <p:cNvPr id="23" name="Group 29">
            <a:extLst>
              <a:ext uri="{FF2B5EF4-FFF2-40B4-BE49-F238E27FC236}">
                <a16:creationId xmlns:a16="http://schemas.microsoft.com/office/drawing/2014/main" id="{8A27C94A-670A-4624-93C2-4DB32DBEB095}"/>
              </a:ext>
            </a:extLst>
          </p:cNvPr>
          <p:cNvGrpSpPr/>
          <p:nvPr/>
        </p:nvGrpSpPr>
        <p:grpSpPr>
          <a:xfrm>
            <a:off x="7865804" y="3294493"/>
            <a:ext cx="478764" cy="415160"/>
            <a:chOff x="9682161" y="3494088"/>
            <a:chExt cx="338139" cy="336550"/>
          </a:xfrm>
          <a:gradFill>
            <a:gsLst>
              <a:gs pos="73000">
                <a:schemeClr val="accent1"/>
              </a:gs>
              <a:gs pos="31000">
                <a:schemeClr val="accent1">
                  <a:lumMod val="60000"/>
                  <a:lumOff val="40000"/>
                </a:schemeClr>
              </a:gs>
              <a:gs pos="0">
                <a:schemeClr val="accent1">
                  <a:lumMod val="40000"/>
                  <a:lumOff val="60000"/>
                </a:schemeClr>
              </a:gs>
            </a:gsLst>
            <a:lin ang="10800000" scaled="1"/>
          </a:gradFill>
        </p:grpSpPr>
        <p:sp>
          <p:nvSpPr>
            <p:cNvPr id="24" name="Rectangle 18">
              <a:extLst>
                <a:ext uri="{FF2B5EF4-FFF2-40B4-BE49-F238E27FC236}">
                  <a16:creationId xmlns:a16="http://schemas.microsoft.com/office/drawing/2014/main" id="{194FB75F-9C45-495B-9CF9-65C74CDF9C7B}"/>
                </a:ext>
              </a:extLst>
            </p:cNvPr>
            <p:cNvSpPr>
              <a:spLocks noChangeArrowheads="1"/>
            </p:cNvSpPr>
            <p:nvPr/>
          </p:nvSpPr>
          <p:spPr bwMode="auto">
            <a:xfrm>
              <a:off x="9836150" y="3687763"/>
              <a:ext cx="30162" cy="301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sp>
          <p:nvSpPr>
            <p:cNvPr id="25" name="Freeform 19">
              <a:extLst>
                <a:ext uri="{FF2B5EF4-FFF2-40B4-BE49-F238E27FC236}">
                  <a16:creationId xmlns:a16="http://schemas.microsoft.com/office/drawing/2014/main" id="{DF939731-35E3-4FEA-A682-877AFA7B1061}"/>
                </a:ext>
              </a:extLst>
            </p:cNvPr>
            <p:cNvSpPr>
              <a:spLocks noEditPoints="1"/>
            </p:cNvSpPr>
            <p:nvPr/>
          </p:nvSpPr>
          <p:spPr bwMode="auto">
            <a:xfrm>
              <a:off x="9682163" y="3494088"/>
              <a:ext cx="338137" cy="163513"/>
            </a:xfrm>
            <a:custGeom>
              <a:avLst/>
              <a:gdLst>
                <a:gd name="T0" fmla="*/ 1955 w 2048"/>
                <a:gd name="T1" fmla="*/ 372 h 993"/>
                <a:gd name="T2" fmla="*/ 1427 w 2048"/>
                <a:gd name="T3" fmla="*/ 372 h 993"/>
                <a:gd name="T4" fmla="*/ 1427 w 2048"/>
                <a:gd name="T5" fmla="*/ 93 h 993"/>
                <a:gd name="T6" fmla="*/ 1334 w 2048"/>
                <a:gd name="T7" fmla="*/ 0 h 993"/>
                <a:gd name="T8" fmla="*/ 714 w 2048"/>
                <a:gd name="T9" fmla="*/ 0 h 993"/>
                <a:gd name="T10" fmla="*/ 621 w 2048"/>
                <a:gd name="T11" fmla="*/ 93 h 993"/>
                <a:gd name="T12" fmla="*/ 621 w 2048"/>
                <a:gd name="T13" fmla="*/ 372 h 993"/>
                <a:gd name="T14" fmla="*/ 93 w 2048"/>
                <a:gd name="T15" fmla="*/ 372 h 993"/>
                <a:gd name="T16" fmla="*/ 0 w 2048"/>
                <a:gd name="T17" fmla="*/ 465 h 993"/>
                <a:gd name="T18" fmla="*/ 0 w 2048"/>
                <a:gd name="T19" fmla="*/ 781 h 993"/>
                <a:gd name="T20" fmla="*/ 93 w 2048"/>
                <a:gd name="T21" fmla="*/ 804 h 993"/>
                <a:gd name="T22" fmla="*/ 186 w 2048"/>
                <a:gd name="T23" fmla="*/ 827 h 993"/>
                <a:gd name="T24" fmla="*/ 849 w 2048"/>
                <a:gd name="T25" fmla="*/ 993 h 993"/>
                <a:gd name="T26" fmla="*/ 1199 w 2048"/>
                <a:gd name="T27" fmla="*/ 993 h 993"/>
                <a:gd name="T28" fmla="*/ 1862 w 2048"/>
                <a:gd name="T29" fmla="*/ 827 h 993"/>
                <a:gd name="T30" fmla="*/ 1955 w 2048"/>
                <a:gd name="T31" fmla="*/ 804 h 993"/>
                <a:gd name="T32" fmla="*/ 2048 w 2048"/>
                <a:gd name="T33" fmla="*/ 781 h 993"/>
                <a:gd name="T34" fmla="*/ 2048 w 2048"/>
                <a:gd name="T35" fmla="*/ 465 h 993"/>
                <a:gd name="T36" fmla="*/ 1955 w 2048"/>
                <a:gd name="T37" fmla="*/ 372 h 993"/>
                <a:gd name="T38" fmla="*/ 1241 w 2048"/>
                <a:gd name="T39" fmla="*/ 372 h 993"/>
                <a:gd name="T40" fmla="*/ 807 w 2048"/>
                <a:gd name="T41" fmla="*/ 372 h 993"/>
                <a:gd name="T42" fmla="*/ 807 w 2048"/>
                <a:gd name="T43" fmla="*/ 186 h 993"/>
                <a:gd name="T44" fmla="*/ 1241 w 2048"/>
                <a:gd name="T45" fmla="*/ 186 h 993"/>
                <a:gd name="T46" fmla="*/ 1241 w 2048"/>
                <a:gd name="T47" fmla="*/ 372 h 9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048" h="993">
                  <a:moveTo>
                    <a:pt x="1955" y="372"/>
                  </a:moveTo>
                  <a:cubicBezTo>
                    <a:pt x="1427" y="372"/>
                    <a:pt x="1427" y="372"/>
                    <a:pt x="1427" y="372"/>
                  </a:cubicBezTo>
                  <a:cubicBezTo>
                    <a:pt x="1427" y="93"/>
                    <a:pt x="1427" y="93"/>
                    <a:pt x="1427" y="93"/>
                  </a:cubicBezTo>
                  <a:cubicBezTo>
                    <a:pt x="1427" y="42"/>
                    <a:pt x="1386" y="0"/>
                    <a:pt x="1334" y="0"/>
                  </a:cubicBezTo>
                  <a:cubicBezTo>
                    <a:pt x="714" y="0"/>
                    <a:pt x="714" y="0"/>
                    <a:pt x="714" y="0"/>
                  </a:cubicBezTo>
                  <a:cubicBezTo>
                    <a:pt x="662" y="0"/>
                    <a:pt x="621" y="42"/>
                    <a:pt x="621" y="93"/>
                  </a:cubicBezTo>
                  <a:cubicBezTo>
                    <a:pt x="621" y="372"/>
                    <a:pt x="621" y="372"/>
                    <a:pt x="621" y="372"/>
                  </a:cubicBezTo>
                  <a:cubicBezTo>
                    <a:pt x="93" y="372"/>
                    <a:pt x="93" y="372"/>
                    <a:pt x="93" y="372"/>
                  </a:cubicBezTo>
                  <a:cubicBezTo>
                    <a:pt x="42" y="372"/>
                    <a:pt x="0" y="414"/>
                    <a:pt x="0" y="465"/>
                  </a:cubicBezTo>
                  <a:cubicBezTo>
                    <a:pt x="0" y="781"/>
                    <a:pt x="0" y="781"/>
                    <a:pt x="0" y="781"/>
                  </a:cubicBezTo>
                  <a:cubicBezTo>
                    <a:pt x="93" y="804"/>
                    <a:pt x="93" y="804"/>
                    <a:pt x="93" y="804"/>
                  </a:cubicBezTo>
                  <a:cubicBezTo>
                    <a:pt x="186" y="827"/>
                    <a:pt x="186" y="827"/>
                    <a:pt x="186" y="827"/>
                  </a:cubicBezTo>
                  <a:cubicBezTo>
                    <a:pt x="849" y="993"/>
                    <a:pt x="849" y="993"/>
                    <a:pt x="849" y="993"/>
                  </a:cubicBezTo>
                  <a:cubicBezTo>
                    <a:pt x="1199" y="993"/>
                    <a:pt x="1199" y="993"/>
                    <a:pt x="1199" y="993"/>
                  </a:cubicBezTo>
                  <a:cubicBezTo>
                    <a:pt x="1862" y="827"/>
                    <a:pt x="1862" y="827"/>
                    <a:pt x="1862" y="827"/>
                  </a:cubicBezTo>
                  <a:cubicBezTo>
                    <a:pt x="1955" y="804"/>
                    <a:pt x="1955" y="804"/>
                    <a:pt x="1955" y="804"/>
                  </a:cubicBezTo>
                  <a:cubicBezTo>
                    <a:pt x="2048" y="781"/>
                    <a:pt x="2048" y="781"/>
                    <a:pt x="2048" y="781"/>
                  </a:cubicBezTo>
                  <a:cubicBezTo>
                    <a:pt x="2048" y="465"/>
                    <a:pt x="2048" y="465"/>
                    <a:pt x="2048" y="465"/>
                  </a:cubicBezTo>
                  <a:cubicBezTo>
                    <a:pt x="2048" y="414"/>
                    <a:pt x="2006" y="372"/>
                    <a:pt x="1955" y="372"/>
                  </a:cubicBezTo>
                  <a:close/>
                  <a:moveTo>
                    <a:pt x="1241" y="372"/>
                  </a:moveTo>
                  <a:cubicBezTo>
                    <a:pt x="807" y="372"/>
                    <a:pt x="807" y="372"/>
                    <a:pt x="807" y="372"/>
                  </a:cubicBezTo>
                  <a:cubicBezTo>
                    <a:pt x="807" y="186"/>
                    <a:pt x="807" y="186"/>
                    <a:pt x="807" y="186"/>
                  </a:cubicBezTo>
                  <a:cubicBezTo>
                    <a:pt x="1241" y="186"/>
                    <a:pt x="1241" y="186"/>
                    <a:pt x="1241" y="186"/>
                  </a:cubicBezTo>
                  <a:lnTo>
                    <a:pt x="1241" y="3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sp>
          <p:nvSpPr>
            <p:cNvPr id="26" name="Freeform 20">
              <a:extLst>
                <a:ext uri="{FF2B5EF4-FFF2-40B4-BE49-F238E27FC236}">
                  <a16:creationId xmlns:a16="http://schemas.microsoft.com/office/drawing/2014/main" id="{21C00721-AA07-450A-BA5B-008ECBF18058}"/>
                </a:ext>
              </a:extLst>
            </p:cNvPr>
            <p:cNvSpPr>
              <a:spLocks/>
            </p:cNvSpPr>
            <p:nvPr/>
          </p:nvSpPr>
          <p:spPr bwMode="auto">
            <a:xfrm>
              <a:off x="9682161" y="3654425"/>
              <a:ext cx="338137" cy="176213"/>
            </a:xfrm>
            <a:custGeom>
              <a:avLst/>
              <a:gdLst>
                <a:gd name="T0" fmla="*/ 1955 w 2048"/>
                <a:gd name="T1" fmla="*/ 23 h 1075"/>
                <a:gd name="T2" fmla="*/ 1862 w 2048"/>
                <a:gd name="T3" fmla="*/ 46 h 1075"/>
                <a:gd name="T4" fmla="*/ 1303 w 2048"/>
                <a:gd name="T5" fmla="*/ 186 h 1075"/>
                <a:gd name="T6" fmla="*/ 1303 w 2048"/>
                <a:gd name="T7" fmla="*/ 485 h 1075"/>
                <a:gd name="T8" fmla="*/ 1210 w 2048"/>
                <a:gd name="T9" fmla="*/ 579 h 1075"/>
                <a:gd name="T10" fmla="*/ 838 w 2048"/>
                <a:gd name="T11" fmla="*/ 579 h 1075"/>
                <a:gd name="T12" fmla="*/ 745 w 2048"/>
                <a:gd name="T13" fmla="*/ 485 h 1075"/>
                <a:gd name="T14" fmla="*/ 745 w 2048"/>
                <a:gd name="T15" fmla="*/ 186 h 1075"/>
                <a:gd name="T16" fmla="*/ 186 w 2048"/>
                <a:gd name="T17" fmla="*/ 46 h 1075"/>
                <a:gd name="T18" fmla="*/ 93 w 2048"/>
                <a:gd name="T19" fmla="*/ 23 h 1075"/>
                <a:gd name="T20" fmla="*/ 0 w 2048"/>
                <a:gd name="T21" fmla="*/ 0 h 1075"/>
                <a:gd name="T22" fmla="*/ 0 w 2048"/>
                <a:gd name="T23" fmla="*/ 982 h 1075"/>
                <a:gd name="T24" fmla="*/ 93 w 2048"/>
                <a:gd name="T25" fmla="*/ 1075 h 1075"/>
                <a:gd name="T26" fmla="*/ 1955 w 2048"/>
                <a:gd name="T27" fmla="*/ 1075 h 1075"/>
                <a:gd name="T28" fmla="*/ 2048 w 2048"/>
                <a:gd name="T29" fmla="*/ 982 h 1075"/>
                <a:gd name="T30" fmla="*/ 2048 w 2048"/>
                <a:gd name="T31" fmla="*/ 0 h 1075"/>
                <a:gd name="T32" fmla="*/ 1955 w 2048"/>
                <a:gd name="T33" fmla="*/ 23 h 10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48" h="1075">
                  <a:moveTo>
                    <a:pt x="1955" y="23"/>
                  </a:moveTo>
                  <a:cubicBezTo>
                    <a:pt x="1862" y="46"/>
                    <a:pt x="1862" y="46"/>
                    <a:pt x="1862" y="46"/>
                  </a:cubicBezTo>
                  <a:cubicBezTo>
                    <a:pt x="1303" y="186"/>
                    <a:pt x="1303" y="186"/>
                    <a:pt x="1303" y="186"/>
                  </a:cubicBezTo>
                  <a:cubicBezTo>
                    <a:pt x="1303" y="485"/>
                    <a:pt x="1303" y="485"/>
                    <a:pt x="1303" y="485"/>
                  </a:cubicBezTo>
                  <a:cubicBezTo>
                    <a:pt x="1303" y="537"/>
                    <a:pt x="1262" y="579"/>
                    <a:pt x="1210" y="579"/>
                  </a:cubicBezTo>
                  <a:cubicBezTo>
                    <a:pt x="838" y="579"/>
                    <a:pt x="838" y="579"/>
                    <a:pt x="838" y="579"/>
                  </a:cubicBezTo>
                  <a:cubicBezTo>
                    <a:pt x="786" y="579"/>
                    <a:pt x="745" y="537"/>
                    <a:pt x="745" y="485"/>
                  </a:cubicBezTo>
                  <a:cubicBezTo>
                    <a:pt x="745" y="186"/>
                    <a:pt x="745" y="186"/>
                    <a:pt x="745" y="186"/>
                  </a:cubicBezTo>
                  <a:cubicBezTo>
                    <a:pt x="186" y="46"/>
                    <a:pt x="186" y="46"/>
                    <a:pt x="186" y="46"/>
                  </a:cubicBezTo>
                  <a:cubicBezTo>
                    <a:pt x="93" y="23"/>
                    <a:pt x="93" y="23"/>
                    <a:pt x="93" y="23"/>
                  </a:cubicBezTo>
                  <a:cubicBezTo>
                    <a:pt x="0" y="0"/>
                    <a:pt x="0" y="0"/>
                    <a:pt x="0" y="0"/>
                  </a:cubicBezTo>
                  <a:cubicBezTo>
                    <a:pt x="0" y="982"/>
                    <a:pt x="0" y="982"/>
                    <a:pt x="0" y="982"/>
                  </a:cubicBezTo>
                  <a:cubicBezTo>
                    <a:pt x="0" y="1033"/>
                    <a:pt x="42" y="1075"/>
                    <a:pt x="93" y="1075"/>
                  </a:cubicBezTo>
                  <a:cubicBezTo>
                    <a:pt x="1955" y="1075"/>
                    <a:pt x="1955" y="1075"/>
                    <a:pt x="1955" y="1075"/>
                  </a:cubicBezTo>
                  <a:cubicBezTo>
                    <a:pt x="2006" y="1075"/>
                    <a:pt x="2048" y="1033"/>
                    <a:pt x="2048" y="982"/>
                  </a:cubicBezTo>
                  <a:cubicBezTo>
                    <a:pt x="2048" y="0"/>
                    <a:pt x="2048" y="0"/>
                    <a:pt x="2048" y="0"/>
                  </a:cubicBezTo>
                  <a:lnTo>
                    <a:pt x="1955" y="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Open Sans"/>
                <a:ea typeface="+mn-ea"/>
                <a:cs typeface="+mn-cs"/>
              </a:endParaRPr>
            </a:p>
          </p:txBody>
        </p:sp>
      </p:grpSp>
      <p:grpSp>
        <p:nvGrpSpPr>
          <p:cNvPr id="27" name="Group 33">
            <a:extLst>
              <a:ext uri="{FF2B5EF4-FFF2-40B4-BE49-F238E27FC236}">
                <a16:creationId xmlns:a16="http://schemas.microsoft.com/office/drawing/2014/main" id="{193C83AF-37A7-4D4F-8A52-AF8D69AE7403}"/>
              </a:ext>
            </a:extLst>
          </p:cNvPr>
          <p:cNvGrpSpPr/>
          <p:nvPr/>
        </p:nvGrpSpPr>
        <p:grpSpPr>
          <a:xfrm>
            <a:off x="5794664" y="1376363"/>
            <a:ext cx="602672" cy="432924"/>
            <a:chOff x="5168900" y="2687638"/>
            <a:chExt cx="1855788" cy="1477963"/>
          </a:xfrm>
          <a:gradFill>
            <a:gsLst>
              <a:gs pos="73000">
                <a:schemeClr val="accent1"/>
              </a:gs>
              <a:gs pos="31000">
                <a:schemeClr val="accent1">
                  <a:lumMod val="60000"/>
                  <a:lumOff val="40000"/>
                </a:schemeClr>
              </a:gs>
              <a:gs pos="0">
                <a:schemeClr val="accent1">
                  <a:lumMod val="40000"/>
                  <a:lumOff val="60000"/>
                </a:schemeClr>
              </a:gs>
            </a:gsLst>
            <a:lin ang="10800000" scaled="1"/>
          </a:gradFill>
        </p:grpSpPr>
        <p:sp>
          <p:nvSpPr>
            <p:cNvPr id="28" name="Freeform 15">
              <a:extLst>
                <a:ext uri="{FF2B5EF4-FFF2-40B4-BE49-F238E27FC236}">
                  <a16:creationId xmlns:a16="http://schemas.microsoft.com/office/drawing/2014/main" id="{30C7720A-A83A-4DCD-9868-C516DE5C8AE3}"/>
                </a:ext>
              </a:extLst>
            </p:cNvPr>
            <p:cNvSpPr>
              <a:spLocks/>
            </p:cNvSpPr>
            <p:nvPr/>
          </p:nvSpPr>
          <p:spPr bwMode="auto">
            <a:xfrm>
              <a:off x="5430838" y="2687638"/>
              <a:ext cx="642938" cy="714375"/>
            </a:xfrm>
            <a:custGeom>
              <a:avLst/>
              <a:gdLst>
                <a:gd name="T0" fmla="*/ 337 w 678"/>
                <a:gd name="T1" fmla="*/ 754 h 754"/>
                <a:gd name="T2" fmla="*/ 337 w 678"/>
                <a:gd name="T3" fmla="*/ 754 h 754"/>
                <a:gd name="T4" fmla="*/ 339 w 678"/>
                <a:gd name="T5" fmla="*/ 754 h 754"/>
                <a:gd name="T6" fmla="*/ 341 w 678"/>
                <a:gd name="T7" fmla="*/ 754 h 754"/>
                <a:gd name="T8" fmla="*/ 341 w 678"/>
                <a:gd name="T9" fmla="*/ 754 h 754"/>
                <a:gd name="T10" fmla="*/ 629 w 678"/>
                <a:gd name="T11" fmla="*/ 301 h 754"/>
                <a:gd name="T12" fmla="*/ 339 w 678"/>
                <a:gd name="T13" fmla="*/ 4 h 754"/>
                <a:gd name="T14" fmla="*/ 49 w 678"/>
                <a:gd name="T15" fmla="*/ 301 h 754"/>
                <a:gd name="T16" fmla="*/ 337 w 678"/>
                <a:gd name="T17" fmla="*/ 754 h 7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78" h="754">
                  <a:moveTo>
                    <a:pt x="337" y="754"/>
                  </a:moveTo>
                  <a:cubicBezTo>
                    <a:pt x="337" y="754"/>
                    <a:pt x="337" y="754"/>
                    <a:pt x="337" y="754"/>
                  </a:cubicBezTo>
                  <a:cubicBezTo>
                    <a:pt x="338" y="754"/>
                    <a:pt x="338" y="754"/>
                    <a:pt x="339" y="754"/>
                  </a:cubicBezTo>
                  <a:cubicBezTo>
                    <a:pt x="340" y="754"/>
                    <a:pt x="340" y="754"/>
                    <a:pt x="341" y="754"/>
                  </a:cubicBezTo>
                  <a:cubicBezTo>
                    <a:pt x="341" y="754"/>
                    <a:pt x="341" y="754"/>
                    <a:pt x="341" y="754"/>
                  </a:cubicBezTo>
                  <a:cubicBezTo>
                    <a:pt x="678" y="751"/>
                    <a:pt x="629" y="301"/>
                    <a:pt x="629" y="301"/>
                  </a:cubicBezTo>
                  <a:cubicBezTo>
                    <a:pt x="615" y="1"/>
                    <a:pt x="364" y="3"/>
                    <a:pt x="339" y="4"/>
                  </a:cubicBezTo>
                  <a:cubicBezTo>
                    <a:pt x="314" y="3"/>
                    <a:pt x="63" y="0"/>
                    <a:pt x="49" y="301"/>
                  </a:cubicBezTo>
                  <a:cubicBezTo>
                    <a:pt x="49" y="301"/>
                    <a:pt x="0" y="751"/>
                    <a:pt x="337" y="7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Open Sans"/>
                <a:ea typeface="+mn-ea"/>
                <a:cs typeface="+mn-cs"/>
              </a:endParaRPr>
            </a:p>
          </p:txBody>
        </p:sp>
        <p:sp>
          <p:nvSpPr>
            <p:cNvPr id="29" name="Freeform 16">
              <a:extLst>
                <a:ext uri="{FF2B5EF4-FFF2-40B4-BE49-F238E27FC236}">
                  <a16:creationId xmlns:a16="http://schemas.microsoft.com/office/drawing/2014/main" id="{650E0D41-008A-4221-B636-889858F31F97}"/>
                </a:ext>
              </a:extLst>
            </p:cNvPr>
            <p:cNvSpPr>
              <a:spLocks/>
            </p:cNvSpPr>
            <p:nvPr/>
          </p:nvSpPr>
          <p:spPr bwMode="auto">
            <a:xfrm>
              <a:off x="5168900" y="3481388"/>
              <a:ext cx="1052513" cy="671513"/>
            </a:xfrm>
            <a:custGeom>
              <a:avLst/>
              <a:gdLst>
                <a:gd name="T0" fmla="*/ 834 w 1111"/>
                <a:gd name="T1" fmla="*/ 0 h 708"/>
                <a:gd name="T2" fmla="*/ 717 w 1111"/>
                <a:gd name="T3" fmla="*/ 370 h 708"/>
                <a:gd name="T4" fmla="*/ 648 w 1111"/>
                <a:gd name="T5" fmla="*/ 176 h 708"/>
                <a:gd name="T6" fmla="*/ 617 w 1111"/>
                <a:gd name="T7" fmla="*/ 0 h 708"/>
                <a:gd name="T8" fmla="*/ 617 w 1111"/>
                <a:gd name="T9" fmla="*/ 0 h 708"/>
                <a:gd name="T10" fmla="*/ 616 w 1111"/>
                <a:gd name="T11" fmla="*/ 0 h 708"/>
                <a:gd name="T12" fmla="*/ 616 w 1111"/>
                <a:gd name="T13" fmla="*/ 0 h 708"/>
                <a:gd name="T14" fmla="*/ 616 w 1111"/>
                <a:gd name="T15" fmla="*/ 0 h 708"/>
                <a:gd name="T16" fmla="*/ 584 w 1111"/>
                <a:gd name="T17" fmla="*/ 176 h 708"/>
                <a:gd name="T18" fmla="*/ 516 w 1111"/>
                <a:gd name="T19" fmla="*/ 370 h 708"/>
                <a:gd name="T20" fmla="*/ 399 w 1111"/>
                <a:gd name="T21" fmla="*/ 0 h 708"/>
                <a:gd name="T22" fmla="*/ 121 w 1111"/>
                <a:gd name="T23" fmla="*/ 154 h 708"/>
                <a:gd name="T24" fmla="*/ 0 w 1111"/>
                <a:gd name="T25" fmla="*/ 381 h 708"/>
                <a:gd name="T26" fmla="*/ 0 w 1111"/>
                <a:gd name="T27" fmla="*/ 708 h 708"/>
                <a:gd name="T28" fmla="*/ 617 w 1111"/>
                <a:gd name="T29" fmla="*/ 708 h 708"/>
                <a:gd name="T30" fmla="*/ 811 w 1111"/>
                <a:gd name="T31" fmla="*/ 708 h 708"/>
                <a:gd name="T32" fmla="*/ 808 w 1111"/>
                <a:gd name="T33" fmla="*/ 683 h 708"/>
                <a:gd name="T34" fmla="*/ 808 w 1111"/>
                <a:gd name="T35" fmla="*/ 380 h 708"/>
                <a:gd name="T36" fmla="*/ 900 w 1111"/>
                <a:gd name="T37" fmla="*/ 288 h 708"/>
                <a:gd name="T38" fmla="*/ 1014 w 1111"/>
                <a:gd name="T39" fmla="*/ 288 h 708"/>
                <a:gd name="T40" fmla="*/ 1038 w 1111"/>
                <a:gd name="T41" fmla="*/ 291 h 708"/>
                <a:gd name="T42" fmla="*/ 1038 w 1111"/>
                <a:gd name="T43" fmla="*/ 243 h 708"/>
                <a:gd name="T44" fmla="*/ 1111 w 1111"/>
                <a:gd name="T45" fmla="*/ 153 h 708"/>
                <a:gd name="T46" fmla="*/ 834 w 1111"/>
                <a:gd name="T47" fmla="*/ 0 h 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11" h="708">
                  <a:moveTo>
                    <a:pt x="834" y="0"/>
                  </a:moveTo>
                  <a:cubicBezTo>
                    <a:pt x="717" y="370"/>
                    <a:pt x="717" y="370"/>
                    <a:pt x="717" y="370"/>
                  </a:cubicBezTo>
                  <a:cubicBezTo>
                    <a:pt x="648" y="176"/>
                    <a:pt x="648" y="176"/>
                    <a:pt x="648" y="176"/>
                  </a:cubicBezTo>
                  <a:cubicBezTo>
                    <a:pt x="768" y="9"/>
                    <a:pt x="640" y="1"/>
                    <a:pt x="617" y="0"/>
                  </a:cubicBezTo>
                  <a:cubicBezTo>
                    <a:pt x="617" y="0"/>
                    <a:pt x="617" y="0"/>
                    <a:pt x="617" y="0"/>
                  </a:cubicBezTo>
                  <a:cubicBezTo>
                    <a:pt x="617" y="0"/>
                    <a:pt x="617" y="0"/>
                    <a:pt x="616" y="0"/>
                  </a:cubicBezTo>
                  <a:cubicBezTo>
                    <a:pt x="616" y="0"/>
                    <a:pt x="616" y="0"/>
                    <a:pt x="616" y="0"/>
                  </a:cubicBezTo>
                  <a:cubicBezTo>
                    <a:pt x="616" y="0"/>
                    <a:pt x="616" y="0"/>
                    <a:pt x="616" y="0"/>
                  </a:cubicBezTo>
                  <a:cubicBezTo>
                    <a:pt x="593" y="1"/>
                    <a:pt x="464" y="9"/>
                    <a:pt x="584" y="176"/>
                  </a:cubicBezTo>
                  <a:cubicBezTo>
                    <a:pt x="516" y="370"/>
                    <a:pt x="516" y="370"/>
                    <a:pt x="516" y="370"/>
                  </a:cubicBezTo>
                  <a:cubicBezTo>
                    <a:pt x="399" y="0"/>
                    <a:pt x="399" y="0"/>
                    <a:pt x="399" y="0"/>
                  </a:cubicBezTo>
                  <a:cubicBezTo>
                    <a:pt x="399" y="0"/>
                    <a:pt x="252" y="71"/>
                    <a:pt x="121" y="154"/>
                  </a:cubicBezTo>
                  <a:cubicBezTo>
                    <a:pt x="22" y="217"/>
                    <a:pt x="3" y="283"/>
                    <a:pt x="0" y="381"/>
                  </a:cubicBezTo>
                  <a:cubicBezTo>
                    <a:pt x="0" y="708"/>
                    <a:pt x="0" y="708"/>
                    <a:pt x="0" y="708"/>
                  </a:cubicBezTo>
                  <a:cubicBezTo>
                    <a:pt x="617" y="708"/>
                    <a:pt x="617" y="708"/>
                    <a:pt x="617" y="708"/>
                  </a:cubicBezTo>
                  <a:cubicBezTo>
                    <a:pt x="811" y="708"/>
                    <a:pt x="811" y="708"/>
                    <a:pt x="811" y="708"/>
                  </a:cubicBezTo>
                  <a:cubicBezTo>
                    <a:pt x="809" y="700"/>
                    <a:pt x="808" y="692"/>
                    <a:pt x="808" y="683"/>
                  </a:cubicBezTo>
                  <a:cubicBezTo>
                    <a:pt x="808" y="380"/>
                    <a:pt x="808" y="380"/>
                    <a:pt x="808" y="380"/>
                  </a:cubicBezTo>
                  <a:cubicBezTo>
                    <a:pt x="808" y="329"/>
                    <a:pt x="849" y="288"/>
                    <a:pt x="900" y="288"/>
                  </a:cubicBezTo>
                  <a:cubicBezTo>
                    <a:pt x="1014" y="288"/>
                    <a:pt x="1014" y="288"/>
                    <a:pt x="1014" y="288"/>
                  </a:cubicBezTo>
                  <a:cubicBezTo>
                    <a:pt x="1022" y="288"/>
                    <a:pt x="1030" y="289"/>
                    <a:pt x="1038" y="291"/>
                  </a:cubicBezTo>
                  <a:cubicBezTo>
                    <a:pt x="1038" y="243"/>
                    <a:pt x="1038" y="243"/>
                    <a:pt x="1038" y="243"/>
                  </a:cubicBezTo>
                  <a:cubicBezTo>
                    <a:pt x="1038" y="199"/>
                    <a:pt x="1069" y="162"/>
                    <a:pt x="1111" y="153"/>
                  </a:cubicBezTo>
                  <a:cubicBezTo>
                    <a:pt x="980" y="71"/>
                    <a:pt x="834" y="0"/>
                    <a:pt x="83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sp>
          <p:nvSpPr>
            <p:cNvPr id="30" name="Freeform 17">
              <a:extLst>
                <a:ext uri="{FF2B5EF4-FFF2-40B4-BE49-F238E27FC236}">
                  <a16:creationId xmlns:a16="http://schemas.microsoft.com/office/drawing/2014/main" id="{A9945572-71C0-40BD-AD22-A22A878D510B}"/>
                </a:ext>
              </a:extLst>
            </p:cNvPr>
            <p:cNvSpPr>
              <a:spLocks/>
            </p:cNvSpPr>
            <p:nvPr/>
          </p:nvSpPr>
          <p:spPr bwMode="auto">
            <a:xfrm>
              <a:off x="5999163" y="3817938"/>
              <a:ext cx="153988" cy="334963"/>
            </a:xfrm>
            <a:custGeom>
              <a:avLst/>
              <a:gdLst>
                <a:gd name="T0" fmla="*/ 138 w 163"/>
                <a:gd name="T1" fmla="*/ 0 h 352"/>
                <a:gd name="T2" fmla="*/ 24 w 163"/>
                <a:gd name="T3" fmla="*/ 0 h 352"/>
                <a:gd name="T4" fmla="*/ 0 w 163"/>
                <a:gd name="T5" fmla="*/ 25 h 352"/>
                <a:gd name="T6" fmla="*/ 0 w 163"/>
                <a:gd name="T7" fmla="*/ 72 h 352"/>
                <a:gd name="T8" fmla="*/ 0 w 163"/>
                <a:gd name="T9" fmla="*/ 281 h 352"/>
                <a:gd name="T10" fmla="*/ 0 w 163"/>
                <a:gd name="T11" fmla="*/ 328 h 352"/>
                <a:gd name="T12" fmla="*/ 24 w 163"/>
                <a:gd name="T13" fmla="*/ 352 h 352"/>
                <a:gd name="T14" fmla="*/ 138 w 163"/>
                <a:gd name="T15" fmla="*/ 352 h 352"/>
                <a:gd name="T16" fmla="*/ 162 w 163"/>
                <a:gd name="T17" fmla="*/ 328 h 352"/>
                <a:gd name="T18" fmla="*/ 162 w 163"/>
                <a:gd name="T19" fmla="*/ 281 h 352"/>
                <a:gd name="T20" fmla="*/ 162 w 163"/>
                <a:gd name="T21" fmla="*/ 72 h 352"/>
                <a:gd name="T22" fmla="*/ 162 w 163"/>
                <a:gd name="T23" fmla="*/ 25 h 352"/>
                <a:gd name="T24" fmla="*/ 138 w 163"/>
                <a:gd name="T25" fmla="*/ 0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3" h="352">
                  <a:moveTo>
                    <a:pt x="138" y="0"/>
                  </a:moveTo>
                  <a:cubicBezTo>
                    <a:pt x="24" y="0"/>
                    <a:pt x="24" y="0"/>
                    <a:pt x="24" y="0"/>
                  </a:cubicBezTo>
                  <a:cubicBezTo>
                    <a:pt x="10" y="0"/>
                    <a:pt x="0" y="12"/>
                    <a:pt x="0" y="25"/>
                  </a:cubicBezTo>
                  <a:cubicBezTo>
                    <a:pt x="0" y="72"/>
                    <a:pt x="0" y="72"/>
                    <a:pt x="0" y="72"/>
                  </a:cubicBezTo>
                  <a:cubicBezTo>
                    <a:pt x="0" y="281"/>
                    <a:pt x="0" y="281"/>
                    <a:pt x="0" y="281"/>
                  </a:cubicBezTo>
                  <a:cubicBezTo>
                    <a:pt x="0" y="328"/>
                    <a:pt x="0" y="328"/>
                    <a:pt x="0" y="328"/>
                  </a:cubicBezTo>
                  <a:cubicBezTo>
                    <a:pt x="0" y="342"/>
                    <a:pt x="11" y="352"/>
                    <a:pt x="24" y="352"/>
                  </a:cubicBezTo>
                  <a:cubicBezTo>
                    <a:pt x="138" y="352"/>
                    <a:pt x="138" y="352"/>
                    <a:pt x="138" y="352"/>
                  </a:cubicBezTo>
                  <a:cubicBezTo>
                    <a:pt x="152" y="352"/>
                    <a:pt x="162" y="341"/>
                    <a:pt x="162" y="328"/>
                  </a:cubicBezTo>
                  <a:cubicBezTo>
                    <a:pt x="162" y="281"/>
                    <a:pt x="162" y="281"/>
                    <a:pt x="162" y="281"/>
                  </a:cubicBezTo>
                  <a:cubicBezTo>
                    <a:pt x="162" y="72"/>
                    <a:pt x="162" y="72"/>
                    <a:pt x="162" y="72"/>
                  </a:cubicBezTo>
                  <a:cubicBezTo>
                    <a:pt x="162" y="25"/>
                    <a:pt x="162" y="25"/>
                    <a:pt x="162" y="25"/>
                  </a:cubicBezTo>
                  <a:cubicBezTo>
                    <a:pt x="163" y="12"/>
                    <a:pt x="152" y="0"/>
                    <a:pt x="13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sp>
          <p:nvSpPr>
            <p:cNvPr id="31" name="Freeform 18">
              <a:extLst>
                <a:ext uri="{FF2B5EF4-FFF2-40B4-BE49-F238E27FC236}">
                  <a16:creationId xmlns:a16="http://schemas.microsoft.com/office/drawing/2014/main" id="{E1557740-54F5-499F-A628-818065A1D28F}"/>
                </a:ext>
              </a:extLst>
            </p:cNvPr>
            <p:cNvSpPr>
              <a:spLocks/>
            </p:cNvSpPr>
            <p:nvPr/>
          </p:nvSpPr>
          <p:spPr bwMode="auto">
            <a:xfrm>
              <a:off x="6216650" y="3689350"/>
              <a:ext cx="155575" cy="463550"/>
            </a:xfrm>
            <a:custGeom>
              <a:avLst/>
              <a:gdLst>
                <a:gd name="T0" fmla="*/ 138 w 163"/>
                <a:gd name="T1" fmla="*/ 0 h 488"/>
                <a:gd name="T2" fmla="*/ 24 w 163"/>
                <a:gd name="T3" fmla="*/ 0 h 488"/>
                <a:gd name="T4" fmla="*/ 0 w 163"/>
                <a:gd name="T5" fmla="*/ 24 h 488"/>
                <a:gd name="T6" fmla="*/ 0 w 163"/>
                <a:gd name="T7" fmla="*/ 208 h 488"/>
                <a:gd name="T8" fmla="*/ 0 w 163"/>
                <a:gd name="T9" fmla="*/ 280 h 488"/>
                <a:gd name="T10" fmla="*/ 0 w 163"/>
                <a:gd name="T11" fmla="*/ 464 h 488"/>
                <a:gd name="T12" fmla="*/ 24 w 163"/>
                <a:gd name="T13" fmla="*/ 488 h 488"/>
                <a:gd name="T14" fmla="*/ 138 w 163"/>
                <a:gd name="T15" fmla="*/ 488 h 488"/>
                <a:gd name="T16" fmla="*/ 163 w 163"/>
                <a:gd name="T17" fmla="*/ 464 h 488"/>
                <a:gd name="T18" fmla="*/ 163 w 163"/>
                <a:gd name="T19" fmla="*/ 280 h 488"/>
                <a:gd name="T20" fmla="*/ 163 w 163"/>
                <a:gd name="T21" fmla="*/ 208 h 488"/>
                <a:gd name="T22" fmla="*/ 163 w 163"/>
                <a:gd name="T23" fmla="*/ 25 h 488"/>
                <a:gd name="T24" fmla="*/ 138 w 163"/>
                <a:gd name="T25" fmla="*/ 0 h 4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3" h="488">
                  <a:moveTo>
                    <a:pt x="138" y="0"/>
                  </a:moveTo>
                  <a:cubicBezTo>
                    <a:pt x="24" y="0"/>
                    <a:pt x="24" y="0"/>
                    <a:pt x="24" y="0"/>
                  </a:cubicBezTo>
                  <a:cubicBezTo>
                    <a:pt x="11" y="0"/>
                    <a:pt x="0" y="11"/>
                    <a:pt x="0" y="24"/>
                  </a:cubicBezTo>
                  <a:cubicBezTo>
                    <a:pt x="0" y="208"/>
                    <a:pt x="0" y="208"/>
                    <a:pt x="0" y="208"/>
                  </a:cubicBezTo>
                  <a:cubicBezTo>
                    <a:pt x="0" y="280"/>
                    <a:pt x="0" y="280"/>
                    <a:pt x="0" y="280"/>
                  </a:cubicBezTo>
                  <a:cubicBezTo>
                    <a:pt x="0" y="464"/>
                    <a:pt x="0" y="464"/>
                    <a:pt x="0" y="464"/>
                  </a:cubicBezTo>
                  <a:cubicBezTo>
                    <a:pt x="0" y="478"/>
                    <a:pt x="11" y="488"/>
                    <a:pt x="24" y="488"/>
                  </a:cubicBezTo>
                  <a:cubicBezTo>
                    <a:pt x="138" y="488"/>
                    <a:pt x="138" y="488"/>
                    <a:pt x="138" y="488"/>
                  </a:cubicBezTo>
                  <a:cubicBezTo>
                    <a:pt x="152" y="488"/>
                    <a:pt x="163" y="477"/>
                    <a:pt x="163" y="464"/>
                  </a:cubicBezTo>
                  <a:cubicBezTo>
                    <a:pt x="163" y="280"/>
                    <a:pt x="163" y="280"/>
                    <a:pt x="163" y="280"/>
                  </a:cubicBezTo>
                  <a:cubicBezTo>
                    <a:pt x="163" y="208"/>
                    <a:pt x="163" y="208"/>
                    <a:pt x="163" y="208"/>
                  </a:cubicBezTo>
                  <a:cubicBezTo>
                    <a:pt x="163" y="25"/>
                    <a:pt x="163" y="25"/>
                    <a:pt x="163" y="25"/>
                  </a:cubicBezTo>
                  <a:cubicBezTo>
                    <a:pt x="163" y="11"/>
                    <a:pt x="152" y="0"/>
                    <a:pt x="13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sp>
          <p:nvSpPr>
            <p:cNvPr id="32" name="Freeform 19">
              <a:extLst>
                <a:ext uri="{FF2B5EF4-FFF2-40B4-BE49-F238E27FC236}">
                  <a16:creationId xmlns:a16="http://schemas.microsoft.com/office/drawing/2014/main" id="{FF496EF0-BF53-4E0F-8B86-C5859FCC2693}"/>
                </a:ext>
              </a:extLst>
            </p:cNvPr>
            <p:cNvSpPr>
              <a:spLocks/>
            </p:cNvSpPr>
            <p:nvPr/>
          </p:nvSpPr>
          <p:spPr bwMode="auto">
            <a:xfrm>
              <a:off x="6338888" y="3284538"/>
              <a:ext cx="349250" cy="868363"/>
            </a:xfrm>
            <a:custGeom>
              <a:avLst/>
              <a:gdLst>
                <a:gd name="T0" fmla="*/ 266 w 368"/>
                <a:gd name="T1" fmla="*/ 501 h 916"/>
                <a:gd name="T2" fmla="*/ 266 w 368"/>
                <a:gd name="T3" fmla="*/ 298 h 916"/>
                <a:gd name="T4" fmla="*/ 344 w 368"/>
                <a:gd name="T5" fmla="*/ 298 h 916"/>
                <a:gd name="T6" fmla="*/ 360 w 368"/>
                <a:gd name="T7" fmla="*/ 270 h 916"/>
                <a:gd name="T8" fmla="*/ 200 w 368"/>
                <a:gd name="T9" fmla="*/ 12 h 916"/>
                <a:gd name="T10" fmla="*/ 168 w 368"/>
                <a:gd name="T11" fmla="*/ 12 h 916"/>
                <a:gd name="T12" fmla="*/ 8 w 368"/>
                <a:gd name="T13" fmla="*/ 270 h 916"/>
                <a:gd name="T14" fmla="*/ 23 w 368"/>
                <a:gd name="T15" fmla="*/ 298 h 916"/>
                <a:gd name="T16" fmla="*/ 102 w 368"/>
                <a:gd name="T17" fmla="*/ 298 h 916"/>
                <a:gd name="T18" fmla="*/ 102 w 368"/>
                <a:gd name="T19" fmla="*/ 892 h 916"/>
                <a:gd name="T20" fmla="*/ 126 w 368"/>
                <a:gd name="T21" fmla="*/ 916 h 916"/>
                <a:gd name="T22" fmla="*/ 241 w 368"/>
                <a:gd name="T23" fmla="*/ 916 h 916"/>
                <a:gd name="T24" fmla="*/ 265 w 368"/>
                <a:gd name="T25" fmla="*/ 892 h 916"/>
                <a:gd name="T26" fmla="*/ 192 w 368"/>
                <a:gd name="T27" fmla="*/ 696 h 916"/>
                <a:gd name="T28" fmla="*/ 266 w 368"/>
                <a:gd name="T29" fmla="*/ 501 h 9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8" h="916">
                  <a:moveTo>
                    <a:pt x="266" y="501"/>
                  </a:moveTo>
                  <a:cubicBezTo>
                    <a:pt x="266" y="298"/>
                    <a:pt x="266" y="298"/>
                    <a:pt x="266" y="298"/>
                  </a:cubicBezTo>
                  <a:cubicBezTo>
                    <a:pt x="344" y="298"/>
                    <a:pt x="344" y="298"/>
                    <a:pt x="344" y="298"/>
                  </a:cubicBezTo>
                  <a:cubicBezTo>
                    <a:pt x="359" y="298"/>
                    <a:pt x="368" y="282"/>
                    <a:pt x="360" y="270"/>
                  </a:cubicBezTo>
                  <a:cubicBezTo>
                    <a:pt x="200" y="12"/>
                    <a:pt x="200" y="12"/>
                    <a:pt x="200" y="12"/>
                  </a:cubicBezTo>
                  <a:cubicBezTo>
                    <a:pt x="192" y="0"/>
                    <a:pt x="175" y="0"/>
                    <a:pt x="168" y="12"/>
                  </a:cubicBezTo>
                  <a:cubicBezTo>
                    <a:pt x="8" y="270"/>
                    <a:pt x="8" y="270"/>
                    <a:pt x="8" y="270"/>
                  </a:cubicBezTo>
                  <a:cubicBezTo>
                    <a:pt x="0" y="282"/>
                    <a:pt x="9" y="298"/>
                    <a:pt x="23" y="298"/>
                  </a:cubicBezTo>
                  <a:cubicBezTo>
                    <a:pt x="102" y="298"/>
                    <a:pt x="102" y="298"/>
                    <a:pt x="102" y="298"/>
                  </a:cubicBezTo>
                  <a:cubicBezTo>
                    <a:pt x="102" y="892"/>
                    <a:pt x="102" y="892"/>
                    <a:pt x="102" y="892"/>
                  </a:cubicBezTo>
                  <a:cubicBezTo>
                    <a:pt x="102" y="906"/>
                    <a:pt x="113" y="916"/>
                    <a:pt x="126" y="916"/>
                  </a:cubicBezTo>
                  <a:cubicBezTo>
                    <a:pt x="241" y="916"/>
                    <a:pt x="241" y="916"/>
                    <a:pt x="241" y="916"/>
                  </a:cubicBezTo>
                  <a:cubicBezTo>
                    <a:pt x="254" y="916"/>
                    <a:pt x="265" y="906"/>
                    <a:pt x="265" y="892"/>
                  </a:cubicBezTo>
                  <a:cubicBezTo>
                    <a:pt x="219" y="840"/>
                    <a:pt x="192" y="771"/>
                    <a:pt x="192" y="696"/>
                  </a:cubicBezTo>
                  <a:cubicBezTo>
                    <a:pt x="192" y="622"/>
                    <a:pt x="220" y="553"/>
                    <a:pt x="266" y="5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sp>
          <p:nvSpPr>
            <p:cNvPr id="33" name="Freeform 20">
              <a:extLst>
                <a:ext uri="{FF2B5EF4-FFF2-40B4-BE49-F238E27FC236}">
                  <a16:creationId xmlns:a16="http://schemas.microsoft.com/office/drawing/2014/main" id="{83413295-078F-40E4-A916-682ADA25BCA1}"/>
                </a:ext>
              </a:extLst>
            </p:cNvPr>
            <p:cNvSpPr>
              <a:spLocks noEditPoints="1"/>
            </p:cNvSpPr>
            <p:nvPr/>
          </p:nvSpPr>
          <p:spPr bwMode="auto">
            <a:xfrm>
              <a:off x="6581775" y="3722688"/>
              <a:ext cx="442913" cy="442913"/>
            </a:xfrm>
            <a:custGeom>
              <a:avLst/>
              <a:gdLst>
                <a:gd name="T0" fmla="*/ 234 w 467"/>
                <a:gd name="T1" fmla="*/ 0 h 467"/>
                <a:gd name="T2" fmla="*/ 0 w 467"/>
                <a:gd name="T3" fmla="*/ 233 h 467"/>
                <a:gd name="T4" fmla="*/ 234 w 467"/>
                <a:gd name="T5" fmla="*/ 467 h 467"/>
                <a:gd name="T6" fmla="*/ 467 w 467"/>
                <a:gd name="T7" fmla="*/ 233 h 467"/>
                <a:gd name="T8" fmla="*/ 234 w 467"/>
                <a:gd name="T9" fmla="*/ 0 h 467"/>
                <a:gd name="T10" fmla="*/ 301 w 467"/>
                <a:gd name="T11" fmla="*/ 326 h 467"/>
                <a:gd name="T12" fmla="*/ 262 w 467"/>
                <a:gd name="T13" fmla="*/ 351 h 467"/>
                <a:gd name="T14" fmla="*/ 252 w 467"/>
                <a:gd name="T15" fmla="*/ 363 h 467"/>
                <a:gd name="T16" fmla="*/ 252 w 467"/>
                <a:gd name="T17" fmla="*/ 384 h 467"/>
                <a:gd name="T18" fmla="*/ 243 w 467"/>
                <a:gd name="T19" fmla="*/ 393 h 467"/>
                <a:gd name="T20" fmla="*/ 221 w 467"/>
                <a:gd name="T21" fmla="*/ 393 h 467"/>
                <a:gd name="T22" fmla="*/ 211 w 467"/>
                <a:gd name="T23" fmla="*/ 383 h 467"/>
                <a:gd name="T24" fmla="*/ 211 w 467"/>
                <a:gd name="T25" fmla="*/ 368 h 467"/>
                <a:gd name="T26" fmla="*/ 200 w 467"/>
                <a:gd name="T27" fmla="*/ 355 h 467"/>
                <a:gd name="T28" fmla="*/ 160 w 467"/>
                <a:gd name="T29" fmla="*/ 344 h 467"/>
                <a:gd name="T30" fmla="*/ 152 w 467"/>
                <a:gd name="T31" fmla="*/ 326 h 467"/>
                <a:gd name="T32" fmla="*/ 159 w 467"/>
                <a:gd name="T33" fmla="*/ 303 h 467"/>
                <a:gd name="T34" fmla="*/ 172 w 467"/>
                <a:gd name="T35" fmla="*/ 298 h 467"/>
                <a:gd name="T36" fmla="*/ 216 w 467"/>
                <a:gd name="T37" fmla="*/ 311 h 467"/>
                <a:gd name="T38" fmla="*/ 245 w 467"/>
                <a:gd name="T39" fmla="*/ 307 h 467"/>
                <a:gd name="T40" fmla="*/ 250 w 467"/>
                <a:gd name="T41" fmla="*/ 268 h 467"/>
                <a:gd name="T42" fmla="*/ 234 w 467"/>
                <a:gd name="T43" fmla="*/ 259 h 467"/>
                <a:gd name="T44" fmla="*/ 189 w 467"/>
                <a:gd name="T45" fmla="*/ 239 h 467"/>
                <a:gd name="T46" fmla="*/ 153 w 467"/>
                <a:gd name="T47" fmla="*/ 178 h 467"/>
                <a:gd name="T48" fmla="*/ 202 w 467"/>
                <a:gd name="T49" fmla="*/ 116 h 467"/>
                <a:gd name="T50" fmla="*/ 214 w 467"/>
                <a:gd name="T51" fmla="*/ 99 h 467"/>
                <a:gd name="T52" fmla="*/ 214 w 467"/>
                <a:gd name="T53" fmla="*/ 86 h 467"/>
                <a:gd name="T54" fmla="*/ 225 w 467"/>
                <a:gd name="T55" fmla="*/ 75 h 467"/>
                <a:gd name="T56" fmla="*/ 234 w 467"/>
                <a:gd name="T57" fmla="*/ 75 h 467"/>
                <a:gd name="T58" fmla="*/ 254 w 467"/>
                <a:gd name="T59" fmla="*/ 95 h 467"/>
                <a:gd name="T60" fmla="*/ 268 w 467"/>
                <a:gd name="T61" fmla="*/ 111 h 467"/>
                <a:gd name="T62" fmla="*/ 299 w 467"/>
                <a:gd name="T63" fmla="*/ 121 h 467"/>
                <a:gd name="T64" fmla="*/ 305 w 467"/>
                <a:gd name="T65" fmla="*/ 133 h 467"/>
                <a:gd name="T66" fmla="*/ 297 w 467"/>
                <a:gd name="T67" fmla="*/ 159 h 467"/>
                <a:gd name="T68" fmla="*/ 284 w 467"/>
                <a:gd name="T69" fmla="*/ 164 h 467"/>
                <a:gd name="T70" fmla="*/ 234 w 467"/>
                <a:gd name="T71" fmla="*/ 155 h 467"/>
                <a:gd name="T72" fmla="*/ 221 w 467"/>
                <a:gd name="T73" fmla="*/ 157 h 467"/>
                <a:gd name="T74" fmla="*/ 216 w 467"/>
                <a:gd name="T75" fmla="*/ 191 h 467"/>
                <a:gd name="T76" fmla="*/ 238 w 467"/>
                <a:gd name="T77" fmla="*/ 203 h 467"/>
                <a:gd name="T78" fmla="*/ 277 w 467"/>
                <a:gd name="T79" fmla="*/ 220 h 467"/>
                <a:gd name="T80" fmla="*/ 301 w 467"/>
                <a:gd name="T81" fmla="*/ 326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67" h="467">
                  <a:moveTo>
                    <a:pt x="234" y="0"/>
                  </a:moveTo>
                  <a:cubicBezTo>
                    <a:pt x="104" y="0"/>
                    <a:pt x="0" y="104"/>
                    <a:pt x="0" y="233"/>
                  </a:cubicBezTo>
                  <a:cubicBezTo>
                    <a:pt x="0" y="363"/>
                    <a:pt x="104" y="467"/>
                    <a:pt x="234" y="467"/>
                  </a:cubicBezTo>
                  <a:cubicBezTo>
                    <a:pt x="363" y="467"/>
                    <a:pt x="467" y="363"/>
                    <a:pt x="467" y="233"/>
                  </a:cubicBezTo>
                  <a:cubicBezTo>
                    <a:pt x="467" y="104"/>
                    <a:pt x="363" y="0"/>
                    <a:pt x="234" y="0"/>
                  </a:cubicBezTo>
                  <a:close/>
                  <a:moveTo>
                    <a:pt x="301" y="326"/>
                  </a:moveTo>
                  <a:cubicBezTo>
                    <a:pt x="291" y="338"/>
                    <a:pt x="277" y="347"/>
                    <a:pt x="262" y="351"/>
                  </a:cubicBezTo>
                  <a:cubicBezTo>
                    <a:pt x="255" y="353"/>
                    <a:pt x="252" y="356"/>
                    <a:pt x="252" y="363"/>
                  </a:cubicBezTo>
                  <a:cubicBezTo>
                    <a:pt x="253" y="370"/>
                    <a:pt x="252" y="377"/>
                    <a:pt x="252" y="384"/>
                  </a:cubicBezTo>
                  <a:cubicBezTo>
                    <a:pt x="252" y="390"/>
                    <a:pt x="249" y="393"/>
                    <a:pt x="243" y="393"/>
                  </a:cubicBezTo>
                  <a:cubicBezTo>
                    <a:pt x="236" y="393"/>
                    <a:pt x="228" y="393"/>
                    <a:pt x="221" y="393"/>
                  </a:cubicBezTo>
                  <a:cubicBezTo>
                    <a:pt x="214" y="393"/>
                    <a:pt x="211" y="389"/>
                    <a:pt x="211" y="383"/>
                  </a:cubicBezTo>
                  <a:cubicBezTo>
                    <a:pt x="211" y="378"/>
                    <a:pt x="211" y="373"/>
                    <a:pt x="211" y="368"/>
                  </a:cubicBezTo>
                  <a:cubicBezTo>
                    <a:pt x="211" y="357"/>
                    <a:pt x="211" y="357"/>
                    <a:pt x="200" y="355"/>
                  </a:cubicBezTo>
                  <a:cubicBezTo>
                    <a:pt x="186" y="353"/>
                    <a:pt x="173" y="350"/>
                    <a:pt x="160" y="344"/>
                  </a:cubicBezTo>
                  <a:cubicBezTo>
                    <a:pt x="150" y="339"/>
                    <a:pt x="150" y="337"/>
                    <a:pt x="152" y="326"/>
                  </a:cubicBezTo>
                  <a:cubicBezTo>
                    <a:pt x="154" y="319"/>
                    <a:pt x="157" y="311"/>
                    <a:pt x="159" y="303"/>
                  </a:cubicBezTo>
                  <a:cubicBezTo>
                    <a:pt x="162" y="295"/>
                    <a:pt x="164" y="293"/>
                    <a:pt x="172" y="298"/>
                  </a:cubicBezTo>
                  <a:cubicBezTo>
                    <a:pt x="186" y="305"/>
                    <a:pt x="200" y="309"/>
                    <a:pt x="216" y="311"/>
                  </a:cubicBezTo>
                  <a:cubicBezTo>
                    <a:pt x="226" y="312"/>
                    <a:pt x="236" y="311"/>
                    <a:pt x="245" y="307"/>
                  </a:cubicBezTo>
                  <a:cubicBezTo>
                    <a:pt x="262" y="300"/>
                    <a:pt x="265" y="280"/>
                    <a:pt x="250" y="268"/>
                  </a:cubicBezTo>
                  <a:cubicBezTo>
                    <a:pt x="245" y="264"/>
                    <a:pt x="240" y="261"/>
                    <a:pt x="234" y="259"/>
                  </a:cubicBezTo>
                  <a:cubicBezTo>
                    <a:pt x="218" y="252"/>
                    <a:pt x="203" y="247"/>
                    <a:pt x="189" y="239"/>
                  </a:cubicBezTo>
                  <a:cubicBezTo>
                    <a:pt x="166" y="225"/>
                    <a:pt x="151" y="206"/>
                    <a:pt x="153" y="178"/>
                  </a:cubicBezTo>
                  <a:cubicBezTo>
                    <a:pt x="155" y="146"/>
                    <a:pt x="173" y="126"/>
                    <a:pt x="202" y="116"/>
                  </a:cubicBezTo>
                  <a:cubicBezTo>
                    <a:pt x="214" y="111"/>
                    <a:pt x="214" y="112"/>
                    <a:pt x="214" y="99"/>
                  </a:cubicBezTo>
                  <a:cubicBezTo>
                    <a:pt x="214" y="95"/>
                    <a:pt x="214" y="91"/>
                    <a:pt x="214" y="86"/>
                  </a:cubicBezTo>
                  <a:cubicBezTo>
                    <a:pt x="214" y="77"/>
                    <a:pt x="216" y="75"/>
                    <a:pt x="225" y="75"/>
                  </a:cubicBezTo>
                  <a:cubicBezTo>
                    <a:pt x="228" y="75"/>
                    <a:pt x="231" y="75"/>
                    <a:pt x="234" y="75"/>
                  </a:cubicBezTo>
                  <a:cubicBezTo>
                    <a:pt x="254" y="75"/>
                    <a:pt x="254" y="75"/>
                    <a:pt x="254" y="95"/>
                  </a:cubicBezTo>
                  <a:cubicBezTo>
                    <a:pt x="254" y="109"/>
                    <a:pt x="254" y="109"/>
                    <a:pt x="268" y="111"/>
                  </a:cubicBezTo>
                  <a:cubicBezTo>
                    <a:pt x="278" y="113"/>
                    <a:pt x="289" y="116"/>
                    <a:pt x="299" y="121"/>
                  </a:cubicBezTo>
                  <a:cubicBezTo>
                    <a:pt x="304" y="123"/>
                    <a:pt x="306" y="127"/>
                    <a:pt x="305" y="133"/>
                  </a:cubicBezTo>
                  <a:cubicBezTo>
                    <a:pt x="302" y="141"/>
                    <a:pt x="300" y="150"/>
                    <a:pt x="297" y="159"/>
                  </a:cubicBezTo>
                  <a:cubicBezTo>
                    <a:pt x="294" y="167"/>
                    <a:pt x="292" y="168"/>
                    <a:pt x="284" y="164"/>
                  </a:cubicBezTo>
                  <a:cubicBezTo>
                    <a:pt x="268" y="157"/>
                    <a:pt x="252" y="153"/>
                    <a:pt x="234" y="155"/>
                  </a:cubicBezTo>
                  <a:cubicBezTo>
                    <a:pt x="230" y="155"/>
                    <a:pt x="226" y="155"/>
                    <a:pt x="221" y="157"/>
                  </a:cubicBezTo>
                  <a:cubicBezTo>
                    <a:pt x="206" y="164"/>
                    <a:pt x="204" y="181"/>
                    <a:pt x="216" y="191"/>
                  </a:cubicBezTo>
                  <a:cubicBezTo>
                    <a:pt x="223" y="196"/>
                    <a:pt x="230" y="199"/>
                    <a:pt x="238" y="203"/>
                  </a:cubicBezTo>
                  <a:cubicBezTo>
                    <a:pt x="251" y="208"/>
                    <a:pt x="264" y="213"/>
                    <a:pt x="277" y="220"/>
                  </a:cubicBezTo>
                  <a:cubicBezTo>
                    <a:pt x="318" y="241"/>
                    <a:pt x="329" y="291"/>
                    <a:pt x="301" y="3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grpSp>
      <p:sp>
        <p:nvSpPr>
          <p:cNvPr id="34" name="Freeform 5">
            <a:extLst>
              <a:ext uri="{FF2B5EF4-FFF2-40B4-BE49-F238E27FC236}">
                <a16:creationId xmlns:a16="http://schemas.microsoft.com/office/drawing/2014/main" id="{4B5B37B8-D5E3-4F63-A47E-E3B03329BF04}"/>
              </a:ext>
            </a:extLst>
          </p:cNvPr>
          <p:cNvSpPr>
            <a:spLocks noEditPoints="1"/>
          </p:cNvSpPr>
          <p:nvPr/>
        </p:nvSpPr>
        <p:spPr bwMode="auto">
          <a:xfrm>
            <a:off x="3949080" y="5091979"/>
            <a:ext cx="483614" cy="483614"/>
          </a:xfrm>
          <a:custGeom>
            <a:avLst/>
            <a:gdLst>
              <a:gd name="T0" fmla="*/ 1024 w 2048"/>
              <a:gd name="T1" fmla="*/ 0 h 2048"/>
              <a:gd name="T2" fmla="*/ 0 w 2048"/>
              <a:gd name="T3" fmla="*/ 1024 h 2048"/>
              <a:gd name="T4" fmla="*/ 1024 w 2048"/>
              <a:gd name="T5" fmla="*/ 2048 h 2048"/>
              <a:gd name="T6" fmla="*/ 2048 w 2048"/>
              <a:gd name="T7" fmla="*/ 1024 h 2048"/>
              <a:gd name="T8" fmla="*/ 1024 w 2048"/>
              <a:gd name="T9" fmla="*/ 0 h 2048"/>
              <a:gd name="T10" fmla="*/ 1499 w 2048"/>
              <a:gd name="T11" fmla="*/ 1134 h 2048"/>
              <a:gd name="T12" fmla="*/ 1024 w 2048"/>
              <a:gd name="T13" fmla="*/ 1134 h 2048"/>
              <a:gd name="T14" fmla="*/ 914 w 2048"/>
              <a:gd name="T15" fmla="*/ 1024 h 2048"/>
              <a:gd name="T16" fmla="*/ 914 w 2048"/>
              <a:gd name="T17" fmla="*/ 549 h 2048"/>
              <a:gd name="T18" fmla="*/ 1024 w 2048"/>
              <a:gd name="T19" fmla="*/ 439 h 2048"/>
              <a:gd name="T20" fmla="*/ 1134 w 2048"/>
              <a:gd name="T21" fmla="*/ 549 h 2048"/>
              <a:gd name="T22" fmla="*/ 1134 w 2048"/>
              <a:gd name="T23" fmla="*/ 915 h 2048"/>
              <a:gd name="T24" fmla="*/ 1499 w 2048"/>
              <a:gd name="T25" fmla="*/ 915 h 2048"/>
              <a:gd name="T26" fmla="*/ 1609 w 2048"/>
              <a:gd name="T27" fmla="*/ 1024 h 2048"/>
              <a:gd name="T28" fmla="*/ 1499 w 2048"/>
              <a:gd name="T29" fmla="*/ 1134 h 20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48" h="2048">
                <a:moveTo>
                  <a:pt x="1024" y="0"/>
                </a:moveTo>
                <a:cubicBezTo>
                  <a:pt x="459" y="0"/>
                  <a:pt x="0" y="459"/>
                  <a:pt x="0" y="1024"/>
                </a:cubicBezTo>
                <a:cubicBezTo>
                  <a:pt x="0" y="1589"/>
                  <a:pt x="459" y="2048"/>
                  <a:pt x="1024" y="2048"/>
                </a:cubicBezTo>
                <a:cubicBezTo>
                  <a:pt x="1589" y="2048"/>
                  <a:pt x="2048" y="1589"/>
                  <a:pt x="2048" y="1024"/>
                </a:cubicBezTo>
                <a:cubicBezTo>
                  <a:pt x="2048" y="459"/>
                  <a:pt x="1589" y="0"/>
                  <a:pt x="1024" y="0"/>
                </a:cubicBezTo>
                <a:close/>
                <a:moveTo>
                  <a:pt x="1499" y="1134"/>
                </a:moveTo>
                <a:cubicBezTo>
                  <a:pt x="1024" y="1134"/>
                  <a:pt x="1024" y="1134"/>
                  <a:pt x="1024" y="1134"/>
                </a:cubicBezTo>
                <a:cubicBezTo>
                  <a:pt x="963" y="1134"/>
                  <a:pt x="914" y="1085"/>
                  <a:pt x="914" y="1024"/>
                </a:cubicBezTo>
                <a:cubicBezTo>
                  <a:pt x="914" y="549"/>
                  <a:pt x="914" y="549"/>
                  <a:pt x="914" y="549"/>
                </a:cubicBezTo>
                <a:cubicBezTo>
                  <a:pt x="914" y="489"/>
                  <a:pt x="963" y="439"/>
                  <a:pt x="1024" y="439"/>
                </a:cubicBezTo>
                <a:cubicBezTo>
                  <a:pt x="1085" y="439"/>
                  <a:pt x="1134" y="489"/>
                  <a:pt x="1134" y="549"/>
                </a:cubicBezTo>
                <a:cubicBezTo>
                  <a:pt x="1134" y="915"/>
                  <a:pt x="1134" y="915"/>
                  <a:pt x="1134" y="915"/>
                </a:cubicBezTo>
                <a:cubicBezTo>
                  <a:pt x="1499" y="915"/>
                  <a:pt x="1499" y="915"/>
                  <a:pt x="1499" y="915"/>
                </a:cubicBezTo>
                <a:cubicBezTo>
                  <a:pt x="1560" y="915"/>
                  <a:pt x="1609" y="964"/>
                  <a:pt x="1609" y="1024"/>
                </a:cubicBezTo>
                <a:cubicBezTo>
                  <a:pt x="1609" y="1085"/>
                  <a:pt x="1560" y="1134"/>
                  <a:pt x="1499" y="1134"/>
                </a:cubicBezTo>
                <a:close/>
              </a:path>
            </a:pathLst>
          </a:custGeom>
          <a:gradFill>
            <a:gsLst>
              <a:gs pos="73000">
                <a:schemeClr val="accent1"/>
              </a:gs>
              <a:gs pos="31000">
                <a:schemeClr val="accent1">
                  <a:lumMod val="60000"/>
                  <a:lumOff val="40000"/>
                </a:schemeClr>
              </a:gs>
              <a:gs pos="0">
                <a:schemeClr val="accent1">
                  <a:lumMod val="40000"/>
                  <a:lumOff val="60000"/>
                </a:schemeClr>
              </a:gs>
            </a:gsLst>
            <a:lin ang="10800000" scaled="1"/>
          </a:gra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Open Sans"/>
              <a:ea typeface="+mn-ea"/>
              <a:cs typeface="+mn-cs"/>
            </a:endParaRPr>
          </a:p>
        </p:txBody>
      </p:sp>
      <p:grpSp>
        <p:nvGrpSpPr>
          <p:cNvPr id="35" name="Group 41">
            <a:extLst>
              <a:ext uri="{FF2B5EF4-FFF2-40B4-BE49-F238E27FC236}">
                <a16:creationId xmlns:a16="http://schemas.microsoft.com/office/drawing/2014/main" id="{C12EA116-A3B7-4EDC-B49F-60A445536183}"/>
              </a:ext>
            </a:extLst>
          </p:cNvPr>
          <p:cNvGrpSpPr/>
          <p:nvPr/>
        </p:nvGrpSpPr>
        <p:grpSpPr>
          <a:xfrm>
            <a:off x="3859129" y="3372009"/>
            <a:ext cx="367408" cy="421328"/>
            <a:chOff x="4862513" y="3505200"/>
            <a:chExt cx="260350" cy="323851"/>
          </a:xfrm>
          <a:gradFill>
            <a:gsLst>
              <a:gs pos="73000">
                <a:schemeClr val="accent1"/>
              </a:gs>
              <a:gs pos="31000">
                <a:schemeClr val="accent1">
                  <a:lumMod val="60000"/>
                  <a:lumOff val="40000"/>
                </a:schemeClr>
              </a:gs>
              <a:gs pos="0">
                <a:schemeClr val="accent1">
                  <a:lumMod val="40000"/>
                  <a:lumOff val="60000"/>
                </a:schemeClr>
              </a:gs>
            </a:gsLst>
            <a:lin ang="10800000" scaled="1"/>
          </a:gradFill>
        </p:grpSpPr>
        <p:sp>
          <p:nvSpPr>
            <p:cNvPr id="36" name="Freeform 9">
              <a:extLst>
                <a:ext uri="{FF2B5EF4-FFF2-40B4-BE49-F238E27FC236}">
                  <a16:creationId xmlns:a16="http://schemas.microsoft.com/office/drawing/2014/main" id="{072FEB51-F609-41AB-A54B-CCF63E6ED04F}"/>
                </a:ext>
              </a:extLst>
            </p:cNvPr>
            <p:cNvSpPr>
              <a:spLocks/>
            </p:cNvSpPr>
            <p:nvPr/>
          </p:nvSpPr>
          <p:spPr bwMode="auto">
            <a:xfrm>
              <a:off x="4870451" y="3505200"/>
              <a:ext cx="220663" cy="234950"/>
            </a:xfrm>
            <a:custGeom>
              <a:avLst/>
              <a:gdLst>
                <a:gd name="T0" fmla="*/ 761 w 1393"/>
                <a:gd name="T1" fmla="*/ 0 h 1489"/>
                <a:gd name="T2" fmla="*/ 240 w 1393"/>
                <a:gd name="T3" fmla="*/ 0 h 1489"/>
                <a:gd name="T4" fmla="*/ 93 w 1393"/>
                <a:gd name="T5" fmla="*/ 0 h 1489"/>
                <a:gd name="T6" fmla="*/ 0 w 1393"/>
                <a:gd name="T7" fmla="*/ 93 h 1489"/>
                <a:gd name="T8" fmla="*/ 93 w 1393"/>
                <a:gd name="T9" fmla="*/ 186 h 1489"/>
                <a:gd name="T10" fmla="*/ 147 w 1393"/>
                <a:gd name="T11" fmla="*/ 186 h 1489"/>
                <a:gd name="T12" fmla="*/ 147 w 1393"/>
                <a:gd name="T13" fmla="*/ 938 h 1489"/>
                <a:gd name="T14" fmla="*/ 240 w 1393"/>
                <a:gd name="T15" fmla="*/ 1031 h 1489"/>
                <a:gd name="T16" fmla="*/ 397 w 1393"/>
                <a:gd name="T17" fmla="*/ 1031 h 1489"/>
                <a:gd name="T18" fmla="*/ 462 w 1393"/>
                <a:gd name="T19" fmla="*/ 1004 h 1489"/>
                <a:gd name="T20" fmla="*/ 591 w 1393"/>
                <a:gd name="T21" fmla="*/ 876 h 1489"/>
                <a:gd name="T22" fmla="*/ 591 w 1393"/>
                <a:gd name="T23" fmla="*/ 1100 h 1489"/>
                <a:gd name="T24" fmla="*/ 201 w 1393"/>
                <a:gd name="T25" fmla="*/ 1489 h 1489"/>
                <a:gd name="T26" fmla="*/ 1393 w 1393"/>
                <a:gd name="T27" fmla="*/ 1489 h 1489"/>
                <a:gd name="T28" fmla="*/ 1393 w 1393"/>
                <a:gd name="T29" fmla="*/ 633 h 1489"/>
                <a:gd name="T30" fmla="*/ 761 w 1393"/>
                <a:gd name="T31" fmla="*/ 0 h 14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93" h="1489">
                  <a:moveTo>
                    <a:pt x="761" y="0"/>
                  </a:moveTo>
                  <a:cubicBezTo>
                    <a:pt x="240" y="0"/>
                    <a:pt x="240" y="0"/>
                    <a:pt x="240" y="0"/>
                  </a:cubicBezTo>
                  <a:cubicBezTo>
                    <a:pt x="93" y="0"/>
                    <a:pt x="93" y="0"/>
                    <a:pt x="93" y="0"/>
                  </a:cubicBezTo>
                  <a:cubicBezTo>
                    <a:pt x="41" y="0"/>
                    <a:pt x="0" y="42"/>
                    <a:pt x="0" y="93"/>
                  </a:cubicBezTo>
                  <a:cubicBezTo>
                    <a:pt x="0" y="145"/>
                    <a:pt x="41" y="186"/>
                    <a:pt x="93" y="186"/>
                  </a:cubicBezTo>
                  <a:cubicBezTo>
                    <a:pt x="147" y="186"/>
                    <a:pt x="147" y="186"/>
                    <a:pt x="147" y="186"/>
                  </a:cubicBezTo>
                  <a:cubicBezTo>
                    <a:pt x="147" y="938"/>
                    <a:pt x="147" y="938"/>
                    <a:pt x="147" y="938"/>
                  </a:cubicBezTo>
                  <a:cubicBezTo>
                    <a:pt x="147" y="990"/>
                    <a:pt x="188" y="1031"/>
                    <a:pt x="240" y="1031"/>
                  </a:cubicBezTo>
                  <a:cubicBezTo>
                    <a:pt x="397" y="1031"/>
                    <a:pt x="397" y="1031"/>
                    <a:pt x="397" y="1031"/>
                  </a:cubicBezTo>
                  <a:cubicBezTo>
                    <a:pt x="421" y="1031"/>
                    <a:pt x="445" y="1021"/>
                    <a:pt x="462" y="1004"/>
                  </a:cubicBezTo>
                  <a:cubicBezTo>
                    <a:pt x="591" y="876"/>
                    <a:pt x="591" y="876"/>
                    <a:pt x="591" y="876"/>
                  </a:cubicBezTo>
                  <a:cubicBezTo>
                    <a:pt x="591" y="1100"/>
                    <a:pt x="591" y="1100"/>
                    <a:pt x="591" y="1100"/>
                  </a:cubicBezTo>
                  <a:cubicBezTo>
                    <a:pt x="201" y="1489"/>
                    <a:pt x="201" y="1489"/>
                    <a:pt x="201" y="1489"/>
                  </a:cubicBezTo>
                  <a:cubicBezTo>
                    <a:pt x="1393" y="1489"/>
                    <a:pt x="1393" y="1489"/>
                    <a:pt x="1393" y="1489"/>
                  </a:cubicBezTo>
                  <a:cubicBezTo>
                    <a:pt x="1393" y="633"/>
                    <a:pt x="1393" y="633"/>
                    <a:pt x="1393" y="633"/>
                  </a:cubicBezTo>
                  <a:cubicBezTo>
                    <a:pt x="1393" y="284"/>
                    <a:pt x="1109" y="0"/>
                    <a:pt x="76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Open Sans"/>
                <a:ea typeface="+mn-ea"/>
                <a:cs typeface="+mn-cs"/>
              </a:endParaRPr>
            </a:p>
          </p:txBody>
        </p:sp>
        <p:sp>
          <p:nvSpPr>
            <p:cNvPr id="37" name="Freeform 10">
              <a:extLst>
                <a:ext uri="{FF2B5EF4-FFF2-40B4-BE49-F238E27FC236}">
                  <a16:creationId xmlns:a16="http://schemas.microsoft.com/office/drawing/2014/main" id="{2B492D9B-5EB8-4D17-AB1E-8AB7C862AE68}"/>
                </a:ext>
              </a:extLst>
            </p:cNvPr>
            <p:cNvSpPr>
              <a:spLocks/>
            </p:cNvSpPr>
            <p:nvPr/>
          </p:nvSpPr>
          <p:spPr bwMode="auto">
            <a:xfrm>
              <a:off x="4862513" y="3770313"/>
              <a:ext cx="260350" cy="58738"/>
            </a:xfrm>
            <a:custGeom>
              <a:avLst/>
              <a:gdLst>
                <a:gd name="T0" fmla="*/ 0 w 1646"/>
                <a:gd name="T1" fmla="*/ 0 h 372"/>
                <a:gd name="T2" fmla="*/ 0 w 1646"/>
                <a:gd name="T3" fmla="*/ 279 h 372"/>
                <a:gd name="T4" fmla="*/ 93 w 1646"/>
                <a:gd name="T5" fmla="*/ 372 h 372"/>
                <a:gd name="T6" fmla="*/ 1553 w 1646"/>
                <a:gd name="T7" fmla="*/ 372 h 372"/>
                <a:gd name="T8" fmla="*/ 1646 w 1646"/>
                <a:gd name="T9" fmla="*/ 279 h 372"/>
                <a:gd name="T10" fmla="*/ 1646 w 1646"/>
                <a:gd name="T11" fmla="*/ 0 h 372"/>
                <a:gd name="T12" fmla="*/ 0 w 1646"/>
                <a:gd name="T13" fmla="*/ 0 h 372"/>
              </a:gdLst>
              <a:ahLst/>
              <a:cxnLst>
                <a:cxn ang="0">
                  <a:pos x="T0" y="T1"/>
                </a:cxn>
                <a:cxn ang="0">
                  <a:pos x="T2" y="T3"/>
                </a:cxn>
                <a:cxn ang="0">
                  <a:pos x="T4" y="T5"/>
                </a:cxn>
                <a:cxn ang="0">
                  <a:pos x="T6" y="T7"/>
                </a:cxn>
                <a:cxn ang="0">
                  <a:pos x="T8" y="T9"/>
                </a:cxn>
                <a:cxn ang="0">
                  <a:pos x="T10" y="T11"/>
                </a:cxn>
                <a:cxn ang="0">
                  <a:pos x="T12" y="T13"/>
                </a:cxn>
              </a:cxnLst>
              <a:rect l="0" t="0" r="r" b="b"/>
              <a:pathLst>
                <a:path w="1646" h="372">
                  <a:moveTo>
                    <a:pt x="0" y="0"/>
                  </a:moveTo>
                  <a:cubicBezTo>
                    <a:pt x="0" y="279"/>
                    <a:pt x="0" y="279"/>
                    <a:pt x="0" y="279"/>
                  </a:cubicBezTo>
                  <a:cubicBezTo>
                    <a:pt x="0" y="330"/>
                    <a:pt x="42" y="372"/>
                    <a:pt x="93" y="372"/>
                  </a:cubicBezTo>
                  <a:cubicBezTo>
                    <a:pt x="1553" y="372"/>
                    <a:pt x="1553" y="372"/>
                    <a:pt x="1553" y="372"/>
                  </a:cubicBezTo>
                  <a:cubicBezTo>
                    <a:pt x="1604" y="372"/>
                    <a:pt x="1646" y="330"/>
                    <a:pt x="1646" y="279"/>
                  </a:cubicBezTo>
                  <a:cubicBezTo>
                    <a:pt x="1646" y="0"/>
                    <a:pt x="1646" y="0"/>
                    <a:pt x="1646" y="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grpSp>
      <p:grpSp>
        <p:nvGrpSpPr>
          <p:cNvPr id="38" name="Group 44">
            <a:extLst>
              <a:ext uri="{FF2B5EF4-FFF2-40B4-BE49-F238E27FC236}">
                <a16:creationId xmlns:a16="http://schemas.microsoft.com/office/drawing/2014/main" id="{FA6FF2AA-6D6F-43DA-8044-9D8D0EBBC3F9}"/>
              </a:ext>
            </a:extLst>
          </p:cNvPr>
          <p:cNvGrpSpPr/>
          <p:nvPr/>
        </p:nvGrpSpPr>
        <p:grpSpPr>
          <a:xfrm>
            <a:off x="7660297" y="5070015"/>
            <a:ext cx="478760" cy="528772"/>
            <a:chOff x="5153025" y="2384425"/>
            <a:chExt cx="1884363" cy="2081214"/>
          </a:xfrm>
          <a:gradFill>
            <a:gsLst>
              <a:gs pos="73000">
                <a:schemeClr val="accent1"/>
              </a:gs>
              <a:gs pos="31000">
                <a:schemeClr val="accent1">
                  <a:lumMod val="60000"/>
                  <a:lumOff val="40000"/>
                </a:schemeClr>
              </a:gs>
              <a:gs pos="0">
                <a:schemeClr val="accent1">
                  <a:lumMod val="40000"/>
                  <a:lumOff val="60000"/>
                </a:schemeClr>
              </a:gs>
            </a:gsLst>
            <a:lin ang="10800000" scaled="1"/>
          </a:gradFill>
        </p:grpSpPr>
        <p:sp>
          <p:nvSpPr>
            <p:cNvPr id="39" name="Freeform 5">
              <a:extLst>
                <a:ext uri="{FF2B5EF4-FFF2-40B4-BE49-F238E27FC236}">
                  <a16:creationId xmlns:a16="http://schemas.microsoft.com/office/drawing/2014/main" id="{57C27242-690E-4153-AAF2-C6B44DD54761}"/>
                </a:ext>
              </a:extLst>
            </p:cNvPr>
            <p:cNvSpPr>
              <a:spLocks/>
            </p:cNvSpPr>
            <p:nvPr/>
          </p:nvSpPr>
          <p:spPr bwMode="auto">
            <a:xfrm>
              <a:off x="5529262" y="2384425"/>
              <a:ext cx="377826" cy="763588"/>
            </a:xfrm>
            <a:custGeom>
              <a:avLst/>
              <a:gdLst>
                <a:gd name="T0" fmla="*/ 252 w 373"/>
                <a:gd name="T1" fmla="*/ 409 h 754"/>
                <a:gd name="T2" fmla="*/ 187 w 373"/>
                <a:gd name="T3" fmla="*/ 288 h 754"/>
                <a:gd name="T4" fmla="*/ 252 w 373"/>
                <a:gd name="T5" fmla="*/ 168 h 754"/>
                <a:gd name="T6" fmla="*/ 252 w 373"/>
                <a:gd name="T7" fmla="*/ 36 h 754"/>
                <a:gd name="T8" fmla="*/ 121 w 373"/>
                <a:gd name="T9" fmla="*/ 36 h 754"/>
                <a:gd name="T10" fmla="*/ 0 w 373"/>
                <a:gd name="T11" fmla="*/ 288 h 754"/>
                <a:gd name="T12" fmla="*/ 121 w 373"/>
                <a:gd name="T13" fmla="*/ 540 h 754"/>
                <a:gd name="T14" fmla="*/ 187 w 373"/>
                <a:gd name="T15" fmla="*/ 661 h 754"/>
                <a:gd name="T16" fmla="*/ 280 w 373"/>
                <a:gd name="T17" fmla="*/ 754 h 754"/>
                <a:gd name="T18" fmla="*/ 373 w 373"/>
                <a:gd name="T19" fmla="*/ 661 h 754"/>
                <a:gd name="T20" fmla="*/ 252 w 373"/>
                <a:gd name="T21" fmla="*/ 409 h 7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3" h="754">
                  <a:moveTo>
                    <a:pt x="252" y="409"/>
                  </a:moveTo>
                  <a:cubicBezTo>
                    <a:pt x="207" y="363"/>
                    <a:pt x="187" y="341"/>
                    <a:pt x="187" y="288"/>
                  </a:cubicBezTo>
                  <a:cubicBezTo>
                    <a:pt x="187" y="236"/>
                    <a:pt x="207" y="214"/>
                    <a:pt x="252" y="168"/>
                  </a:cubicBezTo>
                  <a:cubicBezTo>
                    <a:pt x="289" y="132"/>
                    <a:pt x="289" y="73"/>
                    <a:pt x="252" y="36"/>
                  </a:cubicBezTo>
                  <a:cubicBezTo>
                    <a:pt x="216" y="0"/>
                    <a:pt x="157" y="0"/>
                    <a:pt x="121" y="36"/>
                  </a:cubicBezTo>
                  <a:cubicBezTo>
                    <a:pt x="70" y="87"/>
                    <a:pt x="0" y="157"/>
                    <a:pt x="0" y="288"/>
                  </a:cubicBezTo>
                  <a:cubicBezTo>
                    <a:pt x="0" y="420"/>
                    <a:pt x="70" y="489"/>
                    <a:pt x="121" y="540"/>
                  </a:cubicBezTo>
                  <a:cubicBezTo>
                    <a:pt x="166" y="586"/>
                    <a:pt x="187" y="608"/>
                    <a:pt x="187" y="661"/>
                  </a:cubicBezTo>
                  <a:cubicBezTo>
                    <a:pt x="187" y="712"/>
                    <a:pt x="228" y="754"/>
                    <a:pt x="280" y="754"/>
                  </a:cubicBezTo>
                  <a:cubicBezTo>
                    <a:pt x="331" y="754"/>
                    <a:pt x="373" y="712"/>
                    <a:pt x="373" y="661"/>
                  </a:cubicBezTo>
                  <a:cubicBezTo>
                    <a:pt x="373" y="529"/>
                    <a:pt x="303" y="459"/>
                    <a:pt x="252" y="40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sp>
          <p:nvSpPr>
            <p:cNvPr id="40" name="Freeform 6">
              <a:extLst>
                <a:ext uri="{FF2B5EF4-FFF2-40B4-BE49-F238E27FC236}">
                  <a16:creationId xmlns:a16="http://schemas.microsoft.com/office/drawing/2014/main" id="{ED806050-72B0-4C55-ADFF-0A7B34DD38A9}"/>
                </a:ext>
              </a:extLst>
            </p:cNvPr>
            <p:cNvSpPr>
              <a:spLocks/>
            </p:cNvSpPr>
            <p:nvPr/>
          </p:nvSpPr>
          <p:spPr bwMode="auto">
            <a:xfrm>
              <a:off x="5970587" y="2384425"/>
              <a:ext cx="376237" cy="763588"/>
            </a:xfrm>
            <a:custGeom>
              <a:avLst/>
              <a:gdLst>
                <a:gd name="T0" fmla="*/ 252 w 372"/>
                <a:gd name="T1" fmla="*/ 409 h 754"/>
                <a:gd name="T2" fmla="*/ 186 w 372"/>
                <a:gd name="T3" fmla="*/ 288 h 754"/>
                <a:gd name="T4" fmla="*/ 252 w 372"/>
                <a:gd name="T5" fmla="*/ 168 h 754"/>
                <a:gd name="T6" fmla="*/ 252 w 372"/>
                <a:gd name="T7" fmla="*/ 36 h 754"/>
                <a:gd name="T8" fmla="*/ 120 w 372"/>
                <a:gd name="T9" fmla="*/ 36 h 754"/>
                <a:gd name="T10" fmla="*/ 0 w 372"/>
                <a:gd name="T11" fmla="*/ 288 h 754"/>
                <a:gd name="T12" fmla="*/ 120 w 372"/>
                <a:gd name="T13" fmla="*/ 540 h 754"/>
                <a:gd name="T14" fmla="*/ 186 w 372"/>
                <a:gd name="T15" fmla="*/ 661 h 754"/>
                <a:gd name="T16" fmla="*/ 279 w 372"/>
                <a:gd name="T17" fmla="*/ 754 h 754"/>
                <a:gd name="T18" fmla="*/ 372 w 372"/>
                <a:gd name="T19" fmla="*/ 661 h 754"/>
                <a:gd name="T20" fmla="*/ 252 w 372"/>
                <a:gd name="T21" fmla="*/ 409 h 7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2" h="754">
                  <a:moveTo>
                    <a:pt x="252" y="409"/>
                  </a:moveTo>
                  <a:cubicBezTo>
                    <a:pt x="206" y="363"/>
                    <a:pt x="186" y="341"/>
                    <a:pt x="186" y="288"/>
                  </a:cubicBezTo>
                  <a:cubicBezTo>
                    <a:pt x="186" y="236"/>
                    <a:pt x="206" y="214"/>
                    <a:pt x="252" y="168"/>
                  </a:cubicBezTo>
                  <a:cubicBezTo>
                    <a:pt x="288" y="132"/>
                    <a:pt x="288" y="73"/>
                    <a:pt x="252" y="36"/>
                  </a:cubicBezTo>
                  <a:cubicBezTo>
                    <a:pt x="216" y="0"/>
                    <a:pt x="157" y="0"/>
                    <a:pt x="120" y="36"/>
                  </a:cubicBezTo>
                  <a:cubicBezTo>
                    <a:pt x="69" y="87"/>
                    <a:pt x="0" y="157"/>
                    <a:pt x="0" y="288"/>
                  </a:cubicBezTo>
                  <a:cubicBezTo>
                    <a:pt x="0" y="420"/>
                    <a:pt x="69" y="489"/>
                    <a:pt x="120" y="540"/>
                  </a:cubicBezTo>
                  <a:cubicBezTo>
                    <a:pt x="166" y="586"/>
                    <a:pt x="186" y="608"/>
                    <a:pt x="186" y="661"/>
                  </a:cubicBezTo>
                  <a:cubicBezTo>
                    <a:pt x="186" y="712"/>
                    <a:pt x="228" y="754"/>
                    <a:pt x="279" y="754"/>
                  </a:cubicBezTo>
                  <a:cubicBezTo>
                    <a:pt x="331" y="754"/>
                    <a:pt x="372" y="712"/>
                    <a:pt x="372" y="661"/>
                  </a:cubicBezTo>
                  <a:cubicBezTo>
                    <a:pt x="372" y="529"/>
                    <a:pt x="303" y="459"/>
                    <a:pt x="252" y="40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sp>
          <p:nvSpPr>
            <p:cNvPr id="41" name="Freeform 7">
              <a:extLst>
                <a:ext uri="{FF2B5EF4-FFF2-40B4-BE49-F238E27FC236}">
                  <a16:creationId xmlns:a16="http://schemas.microsoft.com/office/drawing/2014/main" id="{1F99F9A6-88F6-42AD-9B81-1D5F67ACF53F}"/>
                </a:ext>
              </a:extLst>
            </p:cNvPr>
            <p:cNvSpPr>
              <a:spLocks noEditPoints="1"/>
            </p:cNvSpPr>
            <p:nvPr/>
          </p:nvSpPr>
          <p:spPr bwMode="auto">
            <a:xfrm>
              <a:off x="5153025" y="3335339"/>
              <a:ext cx="1884363" cy="1130300"/>
            </a:xfrm>
            <a:custGeom>
              <a:avLst/>
              <a:gdLst>
                <a:gd name="T0" fmla="*/ 1433 w 1862"/>
                <a:gd name="T1" fmla="*/ 683 h 1117"/>
                <a:gd name="T2" fmla="*/ 1521 w 1862"/>
                <a:gd name="T3" fmla="*/ 683 h 1117"/>
                <a:gd name="T4" fmla="*/ 1521 w 1862"/>
                <a:gd name="T5" fmla="*/ 683 h 1117"/>
                <a:gd name="T6" fmla="*/ 1862 w 1862"/>
                <a:gd name="T7" fmla="*/ 341 h 1117"/>
                <a:gd name="T8" fmla="*/ 1521 w 1862"/>
                <a:gd name="T9" fmla="*/ 0 h 1117"/>
                <a:gd name="T10" fmla="*/ 1396 w 1862"/>
                <a:gd name="T11" fmla="*/ 0 h 1117"/>
                <a:gd name="T12" fmla="*/ 155 w 1862"/>
                <a:gd name="T13" fmla="*/ 0 h 1117"/>
                <a:gd name="T14" fmla="*/ 62 w 1862"/>
                <a:gd name="T15" fmla="*/ 93 h 1117"/>
                <a:gd name="T16" fmla="*/ 62 w 1862"/>
                <a:gd name="T17" fmla="*/ 403 h 1117"/>
                <a:gd name="T18" fmla="*/ 296 w 1862"/>
                <a:gd name="T19" fmla="*/ 931 h 1117"/>
                <a:gd name="T20" fmla="*/ 93 w 1862"/>
                <a:gd name="T21" fmla="*/ 931 h 1117"/>
                <a:gd name="T22" fmla="*/ 0 w 1862"/>
                <a:gd name="T23" fmla="*/ 1024 h 1117"/>
                <a:gd name="T24" fmla="*/ 93 w 1862"/>
                <a:gd name="T25" fmla="*/ 1117 h 1117"/>
                <a:gd name="T26" fmla="*/ 776 w 1862"/>
                <a:gd name="T27" fmla="*/ 1117 h 1117"/>
                <a:gd name="T28" fmla="*/ 1459 w 1862"/>
                <a:gd name="T29" fmla="*/ 1117 h 1117"/>
                <a:gd name="T30" fmla="*/ 1552 w 1862"/>
                <a:gd name="T31" fmla="*/ 1024 h 1117"/>
                <a:gd name="T32" fmla="*/ 1459 w 1862"/>
                <a:gd name="T33" fmla="*/ 931 h 1117"/>
                <a:gd name="T34" fmla="*/ 1256 w 1862"/>
                <a:gd name="T35" fmla="*/ 931 h 1117"/>
                <a:gd name="T36" fmla="*/ 1433 w 1862"/>
                <a:gd name="T37" fmla="*/ 683 h 1117"/>
                <a:gd name="T38" fmla="*/ 1490 w 1862"/>
                <a:gd name="T39" fmla="*/ 403 h 1117"/>
                <a:gd name="T40" fmla="*/ 1490 w 1862"/>
                <a:gd name="T41" fmla="*/ 186 h 1117"/>
                <a:gd name="T42" fmla="*/ 1521 w 1862"/>
                <a:gd name="T43" fmla="*/ 186 h 1117"/>
                <a:gd name="T44" fmla="*/ 1676 w 1862"/>
                <a:gd name="T45" fmla="*/ 341 h 1117"/>
                <a:gd name="T46" fmla="*/ 1521 w 1862"/>
                <a:gd name="T47" fmla="*/ 496 h 1117"/>
                <a:gd name="T48" fmla="*/ 1520 w 1862"/>
                <a:gd name="T49" fmla="*/ 496 h 1117"/>
                <a:gd name="T50" fmla="*/ 1483 w 1862"/>
                <a:gd name="T51" fmla="*/ 496 h 1117"/>
                <a:gd name="T52" fmla="*/ 1490 w 1862"/>
                <a:gd name="T53" fmla="*/ 403 h 1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62" h="1117">
                  <a:moveTo>
                    <a:pt x="1433" y="683"/>
                  </a:moveTo>
                  <a:cubicBezTo>
                    <a:pt x="1521" y="683"/>
                    <a:pt x="1521" y="683"/>
                    <a:pt x="1521" y="683"/>
                  </a:cubicBezTo>
                  <a:cubicBezTo>
                    <a:pt x="1521" y="683"/>
                    <a:pt x="1521" y="683"/>
                    <a:pt x="1521" y="683"/>
                  </a:cubicBezTo>
                  <a:cubicBezTo>
                    <a:pt x="1709" y="682"/>
                    <a:pt x="1862" y="529"/>
                    <a:pt x="1862" y="341"/>
                  </a:cubicBezTo>
                  <a:cubicBezTo>
                    <a:pt x="1862" y="153"/>
                    <a:pt x="1709" y="0"/>
                    <a:pt x="1521" y="0"/>
                  </a:cubicBezTo>
                  <a:cubicBezTo>
                    <a:pt x="1396" y="0"/>
                    <a:pt x="1396" y="0"/>
                    <a:pt x="1396" y="0"/>
                  </a:cubicBezTo>
                  <a:cubicBezTo>
                    <a:pt x="155" y="0"/>
                    <a:pt x="155" y="0"/>
                    <a:pt x="155" y="0"/>
                  </a:cubicBezTo>
                  <a:cubicBezTo>
                    <a:pt x="104" y="0"/>
                    <a:pt x="62" y="42"/>
                    <a:pt x="62" y="93"/>
                  </a:cubicBezTo>
                  <a:cubicBezTo>
                    <a:pt x="62" y="403"/>
                    <a:pt x="62" y="403"/>
                    <a:pt x="62" y="403"/>
                  </a:cubicBezTo>
                  <a:cubicBezTo>
                    <a:pt x="62" y="612"/>
                    <a:pt x="152" y="800"/>
                    <a:pt x="296" y="931"/>
                  </a:cubicBezTo>
                  <a:cubicBezTo>
                    <a:pt x="93" y="931"/>
                    <a:pt x="93" y="931"/>
                    <a:pt x="93" y="931"/>
                  </a:cubicBezTo>
                  <a:cubicBezTo>
                    <a:pt x="42" y="931"/>
                    <a:pt x="0" y="972"/>
                    <a:pt x="0" y="1024"/>
                  </a:cubicBezTo>
                  <a:cubicBezTo>
                    <a:pt x="0" y="1075"/>
                    <a:pt x="42" y="1117"/>
                    <a:pt x="93" y="1117"/>
                  </a:cubicBezTo>
                  <a:cubicBezTo>
                    <a:pt x="776" y="1117"/>
                    <a:pt x="776" y="1117"/>
                    <a:pt x="776" y="1117"/>
                  </a:cubicBezTo>
                  <a:cubicBezTo>
                    <a:pt x="1459" y="1117"/>
                    <a:pt x="1459" y="1117"/>
                    <a:pt x="1459" y="1117"/>
                  </a:cubicBezTo>
                  <a:cubicBezTo>
                    <a:pt x="1510" y="1117"/>
                    <a:pt x="1552" y="1075"/>
                    <a:pt x="1552" y="1024"/>
                  </a:cubicBezTo>
                  <a:cubicBezTo>
                    <a:pt x="1552" y="972"/>
                    <a:pt x="1510" y="931"/>
                    <a:pt x="1459" y="931"/>
                  </a:cubicBezTo>
                  <a:cubicBezTo>
                    <a:pt x="1256" y="931"/>
                    <a:pt x="1256" y="931"/>
                    <a:pt x="1256" y="931"/>
                  </a:cubicBezTo>
                  <a:cubicBezTo>
                    <a:pt x="1331" y="862"/>
                    <a:pt x="1392" y="778"/>
                    <a:pt x="1433" y="683"/>
                  </a:cubicBezTo>
                  <a:close/>
                  <a:moveTo>
                    <a:pt x="1490" y="403"/>
                  </a:moveTo>
                  <a:cubicBezTo>
                    <a:pt x="1490" y="186"/>
                    <a:pt x="1490" y="186"/>
                    <a:pt x="1490" y="186"/>
                  </a:cubicBezTo>
                  <a:cubicBezTo>
                    <a:pt x="1521" y="186"/>
                    <a:pt x="1521" y="186"/>
                    <a:pt x="1521" y="186"/>
                  </a:cubicBezTo>
                  <a:cubicBezTo>
                    <a:pt x="1606" y="186"/>
                    <a:pt x="1676" y="256"/>
                    <a:pt x="1676" y="341"/>
                  </a:cubicBezTo>
                  <a:cubicBezTo>
                    <a:pt x="1676" y="427"/>
                    <a:pt x="1606" y="496"/>
                    <a:pt x="1521" y="496"/>
                  </a:cubicBezTo>
                  <a:cubicBezTo>
                    <a:pt x="1521" y="496"/>
                    <a:pt x="1521" y="496"/>
                    <a:pt x="1520" y="496"/>
                  </a:cubicBezTo>
                  <a:cubicBezTo>
                    <a:pt x="1483" y="496"/>
                    <a:pt x="1483" y="496"/>
                    <a:pt x="1483" y="496"/>
                  </a:cubicBezTo>
                  <a:cubicBezTo>
                    <a:pt x="1487" y="466"/>
                    <a:pt x="1490" y="435"/>
                    <a:pt x="1490" y="4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Open Sans"/>
                <a:ea typeface="+mn-ea"/>
                <a:cs typeface="+mn-cs"/>
              </a:endParaRPr>
            </a:p>
          </p:txBody>
        </p:sp>
      </p:grpSp>
      <p:grpSp>
        <p:nvGrpSpPr>
          <p:cNvPr id="42" name="组合 41">
            <a:extLst>
              <a:ext uri="{FF2B5EF4-FFF2-40B4-BE49-F238E27FC236}">
                <a16:creationId xmlns:a16="http://schemas.microsoft.com/office/drawing/2014/main" id="{A8263D59-4EAE-4CE5-9ECA-AB8F526DE38E}"/>
              </a:ext>
            </a:extLst>
          </p:cNvPr>
          <p:cNvGrpSpPr/>
          <p:nvPr/>
        </p:nvGrpSpPr>
        <p:grpSpPr>
          <a:xfrm>
            <a:off x="976987" y="3213582"/>
            <a:ext cx="2668622" cy="881603"/>
            <a:chOff x="976987" y="2692095"/>
            <a:chExt cx="2668622" cy="881603"/>
          </a:xfrm>
        </p:grpSpPr>
        <p:sp>
          <p:nvSpPr>
            <p:cNvPr id="43" name="TextBox 65">
              <a:extLst>
                <a:ext uri="{FF2B5EF4-FFF2-40B4-BE49-F238E27FC236}">
                  <a16:creationId xmlns:a16="http://schemas.microsoft.com/office/drawing/2014/main" id="{601F6715-56E9-4798-A539-4D6C4A5B6F1F}"/>
                </a:ext>
              </a:extLst>
            </p:cNvPr>
            <p:cNvSpPr txBox="1"/>
            <p:nvPr/>
          </p:nvSpPr>
          <p:spPr>
            <a:xfrm>
              <a:off x="1589348" y="2692095"/>
              <a:ext cx="2056261" cy="387598"/>
            </a:xfrm>
            <a:prstGeom prst="rect">
              <a:avLst/>
            </a:prstGeom>
            <a:noFill/>
          </p:spPr>
          <p:txBody>
            <a:bodyPr wrap="square" lIns="0" tIns="36000" rIns="0" bIns="36000" rtlCol="0">
              <a:spAutoFit/>
            </a:bodyPr>
            <a:lstStyle/>
            <a:p>
              <a:pPr marL="0" marR="0" lvl="0" indent="0" algn="r" defTabSz="914400" rtl="0" eaLnBrk="1" fontAlgn="auto" latinLnBrk="0" hangingPunct="1">
                <a:lnSpc>
                  <a:spcPct val="120000"/>
                </a:lnSpc>
                <a:spcBef>
                  <a:spcPts val="600"/>
                </a:spcBef>
                <a:spcAft>
                  <a:spcPts val="0"/>
                </a:spcAft>
                <a:buClrTx/>
                <a:buSzTx/>
                <a:buFontTx/>
                <a:buNone/>
                <a:tabLst/>
                <a:defRPr/>
              </a:pPr>
              <a:r>
                <a:rPr kumimoji="0" lang="zh-CN" altLang="en-US" sz="1800" b="0" i="0" u="none" strike="noStrike" kern="1200" cap="none" spc="0" normalizeH="0" baseline="0" noProof="0" dirty="0">
                  <a:ln>
                    <a:noFill/>
                  </a:ln>
                  <a:solidFill>
                    <a:schemeClr val="accent1"/>
                  </a:solidFill>
                  <a:effectLst/>
                  <a:uLnTx/>
                  <a:uFillTx/>
                  <a:latin typeface="HarmonyOS Sans SC Black"/>
                  <a:ea typeface="+mj-ea"/>
                  <a:cs typeface="+mn-cs"/>
                </a:rPr>
                <a:t>关键词标题</a:t>
              </a:r>
              <a:endParaRPr kumimoji="0" lang="en-US" sz="1800" b="0" i="0" u="none" strike="noStrike" kern="1200" cap="none" spc="0" normalizeH="0" baseline="0" noProof="0" dirty="0">
                <a:ln>
                  <a:noFill/>
                </a:ln>
                <a:solidFill>
                  <a:schemeClr val="accent1"/>
                </a:solidFill>
                <a:effectLst/>
                <a:uLnTx/>
                <a:uFillTx/>
                <a:latin typeface="HarmonyOS Sans SC Black"/>
                <a:ea typeface="+mj-ea"/>
                <a:cs typeface="+mn-cs"/>
              </a:endParaRPr>
            </a:p>
          </p:txBody>
        </p:sp>
        <p:sp>
          <p:nvSpPr>
            <p:cNvPr id="44" name="TextBox 65">
              <a:extLst>
                <a:ext uri="{FF2B5EF4-FFF2-40B4-BE49-F238E27FC236}">
                  <a16:creationId xmlns:a16="http://schemas.microsoft.com/office/drawing/2014/main" id="{C5046EF2-0DCD-4E8F-B007-A6C09C88BA65}"/>
                </a:ext>
              </a:extLst>
            </p:cNvPr>
            <p:cNvSpPr txBox="1"/>
            <p:nvPr/>
          </p:nvSpPr>
          <p:spPr>
            <a:xfrm>
              <a:off x="976987" y="3075494"/>
              <a:ext cx="2668622" cy="498204"/>
            </a:xfrm>
            <a:prstGeom prst="rect">
              <a:avLst/>
            </a:prstGeom>
            <a:noFill/>
          </p:spPr>
          <p:txBody>
            <a:bodyPr wrap="square" lIns="0" tIns="36000" rIns="0" bIns="36000" rtlCol="0">
              <a:spAutoFit/>
            </a:bodyPr>
            <a:lstStyle/>
            <a:p>
              <a:pPr marL="0" marR="0" lvl="0" indent="0" algn="r" defTabSz="914400" rtl="0" eaLnBrk="1" fontAlgn="auto" latinLnBrk="0" hangingPunct="1">
                <a:lnSpc>
                  <a:spcPct val="120000"/>
                </a:lnSpc>
                <a:spcBef>
                  <a:spcPts val="600"/>
                </a:spcBef>
                <a:spcAft>
                  <a:spcPts val="0"/>
                </a:spcAft>
                <a:buClrTx/>
                <a:buSzTx/>
                <a:buFontTx/>
                <a:buNone/>
                <a:tabLst/>
                <a:defRPr/>
              </a:pPr>
              <a:r>
                <a:rPr kumimoji="0" lang="en-US" sz="1200" b="0" i="0" u="none" strike="noStrike" kern="1200" cap="none" spc="0" normalizeH="0" baseline="0" noProof="0" dirty="0">
                  <a:ln>
                    <a:noFill/>
                  </a:ln>
                  <a:solidFill>
                    <a:prstClr val="black">
                      <a:lumMod val="50000"/>
                      <a:lumOff val="50000"/>
                    </a:prstClr>
                  </a:solidFill>
                  <a:effectLst/>
                  <a:uLnTx/>
                  <a:uFillTx/>
                  <a:latin typeface="HarmonyOS Sans SC"/>
                  <a:cs typeface="+mn-cs"/>
                </a:rPr>
                <a:t>Apparently we had reached a great height in the.</a:t>
              </a:r>
            </a:p>
          </p:txBody>
        </p:sp>
      </p:grpSp>
      <p:sp>
        <p:nvSpPr>
          <p:cNvPr id="45" name="TextBox 65">
            <a:extLst>
              <a:ext uri="{FF2B5EF4-FFF2-40B4-BE49-F238E27FC236}">
                <a16:creationId xmlns:a16="http://schemas.microsoft.com/office/drawing/2014/main" id="{9B905140-830F-4C86-9674-49BF50D5E8CF}"/>
              </a:ext>
            </a:extLst>
          </p:cNvPr>
          <p:cNvSpPr txBox="1"/>
          <p:nvPr/>
        </p:nvSpPr>
        <p:spPr>
          <a:xfrm>
            <a:off x="1589348" y="5119936"/>
            <a:ext cx="2056261" cy="387598"/>
          </a:xfrm>
          <a:prstGeom prst="rect">
            <a:avLst/>
          </a:prstGeom>
          <a:noFill/>
        </p:spPr>
        <p:txBody>
          <a:bodyPr wrap="square" lIns="0" tIns="36000" rIns="0" bIns="36000" rtlCol="0">
            <a:spAutoFit/>
          </a:bodyPr>
          <a:lstStyle/>
          <a:p>
            <a:pPr marL="0" marR="0" lvl="0" indent="0" algn="r" defTabSz="914400" rtl="0" eaLnBrk="1" fontAlgn="auto" latinLnBrk="0" hangingPunct="1">
              <a:lnSpc>
                <a:spcPct val="120000"/>
              </a:lnSpc>
              <a:spcBef>
                <a:spcPts val="600"/>
              </a:spcBef>
              <a:spcAft>
                <a:spcPts val="0"/>
              </a:spcAft>
              <a:buClrTx/>
              <a:buSzTx/>
              <a:buFontTx/>
              <a:buNone/>
              <a:tabLst/>
              <a:defRPr/>
            </a:pPr>
            <a:r>
              <a:rPr kumimoji="0" lang="zh-CN" altLang="en-US" sz="1800" b="0" i="0" u="none" strike="noStrike" kern="1200" cap="none" spc="0" normalizeH="0" baseline="0" noProof="0" dirty="0">
                <a:ln>
                  <a:noFill/>
                </a:ln>
                <a:solidFill>
                  <a:schemeClr val="accent1"/>
                </a:solidFill>
                <a:effectLst/>
                <a:uLnTx/>
                <a:uFillTx/>
                <a:latin typeface="HarmonyOS Sans SC Black"/>
                <a:ea typeface="+mj-ea"/>
                <a:cs typeface="+mn-cs"/>
              </a:rPr>
              <a:t>关键词标题</a:t>
            </a:r>
            <a:endParaRPr kumimoji="0" lang="en-US" sz="1800" b="0" i="0" u="none" strike="noStrike" kern="1200" cap="none" spc="0" normalizeH="0" baseline="0" noProof="0" dirty="0">
              <a:ln>
                <a:noFill/>
              </a:ln>
              <a:solidFill>
                <a:schemeClr val="accent1"/>
              </a:solidFill>
              <a:effectLst/>
              <a:uLnTx/>
              <a:uFillTx/>
              <a:latin typeface="HarmonyOS Sans SC Black"/>
              <a:ea typeface="+mj-ea"/>
              <a:cs typeface="+mn-cs"/>
            </a:endParaRPr>
          </a:p>
        </p:txBody>
      </p:sp>
      <p:sp>
        <p:nvSpPr>
          <p:cNvPr id="46" name="TextBox 65">
            <a:extLst>
              <a:ext uri="{FF2B5EF4-FFF2-40B4-BE49-F238E27FC236}">
                <a16:creationId xmlns:a16="http://schemas.microsoft.com/office/drawing/2014/main" id="{B26978FB-3A13-403F-BB4A-9B20A0E59174}"/>
              </a:ext>
            </a:extLst>
          </p:cNvPr>
          <p:cNvSpPr txBox="1"/>
          <p:nvPr/>
        </p:nvSpPr>
        <p:spPr>
          <a:xfrm>
            <a:off x="976987" y="5503335"/>
            <a:ext cx="2668622" cy="498204"/>
          </a:xfrm>
          <a:prstGeom prst="rect">
            <a:avLst/>
          </a:prstGeom>
          <a:noFill/>
        </p:spPr>
        <p:txBody>
          <a:bodyPr wrap="square" lIns="0" tIns="36000" rIns="0" bIns="36000" rtlCol="0">
            <a:spAutoFit/>
          </a:bodyPr>
          <a:lstStyle/>
          <a:p>
            <a:pPr marL="0" marR="0" lvl="0" indent="0" algn="r" defTabSz="914400" rtl="0" eaLnBrk="1" fontAlgn="auto" latinLnBrk="0" hangingPunct="1">
              <a:lnSpc>
                <a:spcPct val="120000"/>
              </a:lnSpc>
              <a:spcBef>
                <a:spcPts val="600"/>
              </a:spcBef>
              <a:spcAft>
                <a:spcPts val="0"/>
              </a:spcAft>
              <a:buClrTx/>
              <a:buSzTx/>
              <a:buFontTx/>
              <a:buNone/>
              <a:tabLst/>
              <a:defRPr/>
            </a:pPr>
            <a:r>
              <a:rPr kumimoji="0" lang="en-US" sz="1200" b="0" i="0" u="none" strike="noStrike" kern="1200" cap="none" spc="0" normalizeH="0" baseline="0" noProof="0" dirty="0">
                <a:ln>
                  <a:noFill/>
                </a:ln>
                <a:solidFill>
                  <a:prstClr val="black">
                    <a:lumMod val="50000"/>
                    <a:lumOff val="50000"/>
                  </a:prstClr>
                </a:solidFill>
                <a:effectLst/>
                <a:uLnTx/>
                <a:uFillTx/>
                <a:latin typeface="HarmonyOS Sans SC"/>
                <a:cs typeface="+mn-cs"/>
              </a:rPr>
              <a:t>Apparently we had reached a great height in the.</a:t>
            </a:r>
          </a:p>
        </p:txBody>
      </p:sp>
      <p:grpSp>
        <p:nvGrpSpPr>
          <p:cNvPr id="47" name="组合 46">
            <a:extLst>
              <a:ext uri="{FF2B5EF4-FFF2-40B4-BE49-F238E27FC236}">
                <a16:creationId xmlns:a16="http://schemas.microsoft.com/office/drawing/2014/main" id="{EDCAF7B4-3618-48D6-88AF-3DC56FEC5D90}"/>
              </a:ext>
            </a:extLst>
          </p:cNvPr>
          <p:cNvGrpSpPr/>
          <p:nvPr/>
        </p:nvGrpSpPr>
        <p:grpSpPr>
          <a:xfrm>
            <a:off x="8546391" y="3213582"/>
            <a:ext cx="2668622" cy="881603"/>
            <a:chOff x="8546391" y="2692095"/>
            <a:chExt cx="2668622" cy="881603"/>
          </a:xfrm>
        </p:grpSpPr>
        <p:sp>
          <p:nvSpPr>
            <p:cNvPr id="48" name="TextBox 65">
              <a:extLst>
                <a:ext uri="{FF2B5EF4-FFF2-40B4-BE49-F238E27FC236}">
                  <a16:creationId xmlns:a16="http://schemas.microsoft.com/office/drawing/2014/main" id="{B8AC15BA-7850-4D8B-8856-9184F54CD48B}"/>
                </a:ext>
              </a:extLst>
            </p:cNvPr>
            <p:cNvSpPr txBox="1"/>
            <p:nvPr/>
          </p:nvSpPr>
          <p:spPr>
            <a:xfrm flipH="1">
              <a:off x="8546391" y="2692095"/>
              <a:ext cx="2056261" cy="387598"/>
            </a:xfrm>
            <a:prstGeom prst="rect">
              <a:avLst/>
            </a:prstGeom>
            <a:noFill/>
          </p:spPr>
          <p:txBody>
            <a:bodyPr wrap="square" lIns="0" tIns="36000" rIns="0" bIns="36000" rtlCol="0">
              <a:spAutoFit/>
            </a:bodyPr>
            <a:lstStyle/>
            <a:p>
              <a:pPr marL="0" marR="0" lvl="0" indent="0" algn="l" defTabSz="914400" rtl="0" eaLnBrk="1" fontAlgn="auto" latinLnBrk="0" hangingPunct="1">
                <a:lnSpc>
                  <a:spcPct val="120000"/>
                </a:lnSpc>
                <a:spcBef>
                  <a:spcPts val="600"/>
                </a:spcBef>
                <a:spcAft>
                  <a:spcPts val="0"/>
                </a:spcAft>
                <a:buClrTx/>
                <a:buSzTx/>
                <a:buFontTx/>
                <a:buNone/>
                <a:tabLst/>
                <a:defRPr/>
              </a:pPr>
              <a:r>
                <a:rPr kumimoji="0" lang="zh-CN" altLang="en-US" sz="1800" b="0" i="0" u="none" strike="noStrike" kern="1200" cap="none" spc="0" normalizeH="0" baseline="0" noProof="0" dirty="0">
                  <a:ln>
                    <a:noFill/>
                  </a:ln>
                  <a:solidFill>
                    <a:schemeClr val="accent1"/>
                  </a:solidFill>
                  <a:effectLst/>
                  <a:uLnTx/>
                  <a:uFillTx/>
                  <a:latin typeface="HarmonyOS Sans SC Black"/>
                  <a:ea typeface="+mj-ea"/>
                  <a:cs typeface="+mn-cs"/>
                </a:rPr>
                <a:t>关键词标题</a:t>
              </a:r>
              <a:endParaRPr kumimoji="0" lang="en-US" sz="1800" b="0" i="0" u="none" strike="noStrike" kern="1200" cap="none" spc="0" normalizeH="0" baseline="0" noProof="0" dirty="0">
                <a:ln>
                  <a:noFill/>
                </a:ln>
                <a:solidFill>
                  <a:schemeClr val="accent1"/>
                </a:solidFill>
                <a:effectLst/>
                <a:uLnTx/>
                <a:uFillTx/>
                <a:latin typeface="HarmonyOS Sans SC Black"/>
                <a:ea typeface="+mj-ea"/>
                <a:cs typeface="+mn-cs"/>
              </a:endParaRPr>
            </a:p>
          </p:txBody>
        </p:sp>
        <p:sp>
          <p:nvSpPr>
            <p:cNvPr id="49" name="TextBox 65">
              <a:extLst>
                <a:ext uri="{FF2B5EF4-FFF2-40B4-BE49-F238E27FC236}">
                  <a16:creationId xmlns:a16="http://schemas.microsoft.com/office/drawing/2014/main" id="{CF979AE1-72A6-4668-9C34-AB481C2F6010}"/>
                </a:ext>
              </a:extLst>
            </p:cNvPr>
            <p:cNvSpPr txBox="1"/>
            <p:nvPr/>
          </p:nvSpPr>
          <p:spPr>
            <a:xfrm flipH="1">
              <a:off x="8546391" y="3075494"/>
              <a:ext cx="2668622" cy="498204"/>
            </a:xfrm>
            <a:prstGeom prst="rect">
              <a:avLst/>
            </a:prstGeom>
            <a:noFill/>
          </p:spPr>
          <p:txBody>
            <a:bodyPr wrap="square" lIns="0" tIns="36000" rIns="0" bIns="36000" rtlCol="0">
              <a:spAutoFit/>
            </a:bodyPr>
            <a:lstStyle/>
            <a:p>
              <a:pPr marL="0" marR="0" lvl="0" indent="0" algn="l" defTabSz="914400" rtl="0" eaLnBrk="1" fontAlgn="auto" latinLnBrk="0" hangingPunct="1">
                <a:lnSpc>
                  <a:spcPct val="120000"/>
                </a:lnSpc>
                <a:spcBef>
                  <a:spcPts val="600"/>
                </a:spcBef>
                <a:spcAft>
                  <a:spcPts val="0"/>
                </a:spcAft>
                <a:buClrTx/>
                <a:buSzTx/>
                <a:buFontTx/>
                <a:buNone/>
                <a:tabLst/>
                <a:defRPr/>
              </a:pPr>
              <a:r>
                <a:rPr kumimoji="0" lang="en-US" sz="1200" b="0" i="0" u="none" strike="noStrike" kern="1200" cap="none" spc="0" normalizeH="0" baseline="0" noProof="0" dirty="0">
                  <a:ln>
                    <a:noFill/>
                  </a:ln>
                  <a:solidFill>
                    <a:prstClr val="black">
                      <a:lumMod val="50000"/>
                      <a:lumOff val="50000"/>
                    </a:prstClr>
                  </a:solidFill>
                  <a:effectLst/>
                  <a:uLnTx/>
                  <a:uFillTx/>
                  <a:latin typeface="HarmonyOS Sans SC"/>
                  <a:cs typeface="+mn-cs"/>
                </a:rPr>
                <a:t>Apparently we had reached a great height in the.</a:t>
              </a:r>
            </a:p>
          </p:txBody>
        </p:sp>
      </p:grpSp>
      <p:sp>
        <p:nvSpPr>
          <p:cNvPr id="50" name="TextBox 65">
            <a:extLst>
              <a:ext uri="{FF2B5EF4-FFF2-40B4-BE49-F238E27FC236}">
                <a16:creationId xmlns:a16="http://schemas.microsoft.com/office/drawing/2014/main" id="{165B2899-23AB-4F37-BA37-04D79F6BF899}"/>
              </a:ext>
            </a:extLst>
          </p:cNvPr>
          <p:cNvSpPr txBox="1"/>
          <p:nvPr/>
        </p:nvSpPr>
        <p:spPr>
          <a:xfrm flipH="1">
            <a:off x="8546391" y="5119936"/>
            <a:ext cx="2056261" cy="387598"/>
          </a:xfrm>
          <a:prstGeom prst="rect">
            <a:avLst/>
          </a:prstGeom>
          <a:noFill/>
        </p:spPr>
        <p:txBody>
          <a:bodyPr wrap="square" lIns="0" tIns="36000" rIns="0" bIns="36000" rtlCol="0">
            <a:spAutoFit/>
          </a:bodyPr>
          <a:lstStyle/>
          <a:p>
            <a:pPr marL="0" marR="0" lvl="0" indent="0" algn="l" defTabSz="914400" rtl="0" eaLnBrk="1" fontAlgn="auto" latinLnBrk="0" hangingPunct="1">
              <a:lnSpc>
                <a:spcPct val="120000"/>
              </a:lnSpc>
              <a:spcBef>
                <a:spcPts val="600"/>
              </a:spcBef>
              <a:spcAft>
                <a:spcPts val="0"/>
              </a:spcAft>
              <a:buClrTx/>
              <a:buSzTx/>
              <a:buFontTx/>
              <a:buNone/>
              <a:tabLst/>
              <a:defRPr/>
            </a:pPr>
            <a:r>
              <a:rPr kumimoji="0" lang="zh-CN" altLang="en-US" sz="1800" b="0" i="0" u="none" strike="noStrike" kern="1200" cap="none" spc="0" normalizeH="0" baseline="0" noProof="0" dirty="0">
                <a:ln>
                  <a:noFill/>
                </a:ln>
                <a:solidFill>
                  <a:schemeClr val="accent1"/>
                </a:solidFill>
                <a:effectLst/>
                <a:uLnTx/>
                <a:uFillTx/>
                <a:latin typeface="HarmonyOS Sans SC Black"/>
                <a:ea typeface="+mj-ea"/>
                <a:cs typeface="+mn-cs"/>
              </a:rPr>
              <a:t>关键词标题</a:t>
            </a:r>
            <a:endParaRPr kumimoji="0" lang="en-US" sz="1800" b="0" i="0" u="none" strike="noStrike" kern="1200" cap="none" spc="0" normalizeH="0" baseline="0" noProof="0" dirty="0">
              <a:ln>
                <a:noFill/>
              </a:ln>
              <a:solidFill>
                <a:schemeClr val="accent1"/>
              </a:solidFill>
              <a:effectLst/>
              <a:uLnTx/>
              <a:uFillTx/>
              <a:latin typeface="HarmonyOS Sans SC Black"/>
              <a:ea typeface="+mj-ea"/>
              <a:cs typeface="+mn-cs"/>
            </a:endParaRPr>
          </a:p>
        </p:txBody>
      </p:sp>
      <p:sp>
        <p:nvSpPr>
          <p:cNvPr id="51" name="TextBox 65">
            <a:extLst>
              <a:ext uri="{FF2B5EF4-FFF2-40B4-BE49-F238E27FC236}">
                <a16:creationId xmlns:a16="http://schemas.microsoft.com/office/drawing/2014/main" id="{7E805939-5394-4124-BEBC-130B7DE64413}"/>
              </a:ext>
            </a:extLst>
          </p:cNvPr>
          <p:cNvSpPr txBox="1"/>
          <p:nvPr/>
        </p:nvSpPr>
        <p:spPr>
          <a:xfrm flipH="1">
            <a:off x="8546391" y="5503335"/>
            <a:ext cx="2668622" cy="498204"/>
          </a:xfrm>
          <a:prstGeom prst="rect">
            <a:avLst/>
          </a:prstGeom>
          <a:noFill/>
        </p:spPr>
        <p:txBody>
          <a:bodyPr wrap="square" lIns="0" tIns="36000" rIns="0" bIns="36000" rtlCol="0">
            <a:spAutoFit/>
          </a:bodyPr>
          <a:lstStyle/>
          <a:p>
            <a:pPr marL="0" marR="0" lvl="0" indent="0" algn="l" defTabSz="914400" rtl="0" eaLnBrk="1" fontAlgn="auto" latinLnBrk="0" hangingPunct="1">
              <a:lnSpc>
                <a:spcPct val="120000"/>
              </a:lnSpc>
              <a:spcBef>
                <a:spcPts val="600"/>
              </a:spcBef>
              <a:spcAft>
                <a:spcPts val="0"/>
              </a:spcAft>
              <a:buClrTx/>
              <a:buSzTx/>
              <a:buFontTx/>
              <a:buNone/>
              <a:tabLst/>
              <a:defRPr/>
            </a:pPr>
            <a:r>
              <a:rPr kumimoji="0" lang="en-US" sz="1200" b="0" i="0" u="none" strike="noStrike" kern="1200" cap="none" spc="0" normalizeH="0" baseline="0" noProof="0" dirty="0">
                <a:ln>
                  <a:noFill/>
                </a:ln>
                <a:solidFill>
                  <a:prstClr val="black">
                    <a:lumMod val="50000"/>
                    <a:lumOff val="50000"/>
                  </a:prstClr>
                </a:solidFill>
                <a:effectLst/>
                <a:uLnTx/>
                <a:uFillTx/>
                <a:latin typeface="HarmonyOS Sans SC"/>
                <a:cs typeface="+mn-cs"/>
              </a:rPr>
              <a:t>Apparently we had reached a great height in the.</a:t>
            </a:r>
          </a:p>
        </p:txBody>
      </p:sp>
      <p:grpSp>
        <p:nvGrpSpPr>
          <p:cNvPr id="53" name="组合 52">
            <a:extLst>
              <a:ext uri="{FF2B5EF4-FFF2-40B4-BE49-F238E27FC236}">
                <a16:creationId xmlns:a16="http://schemas.microsoft.com/office/drawing/2014/main" id="{D3CFD5C9-D491-445E-BB28-B89809E4F8DA}"/>
              </a:ext>
            </a:extLst>
          </p:cNvPr>
          <p:cNvGrpSpPr/>
          <p:nvPr/>
        </p:nvGrpSpPr>
        <p:grpSpPr>
          <a:xfrm>
            <a:off x="4711194" y="1886819"/>
            <a:ext cx="2769612" cy="881603"/>
            <a:chOff x="8546391" y="2692095"/>
            <a:chExt cx="2769612" cy="881603"/>
          </a:xfrm>
        </p:grpSpPr>
        <p:sp>
          <p:nvSpPr>
            <p:cNvPr id="54" name="TextBox 65">
              <a:extLst>
                <a:ext uri="{FF2B5EF4-FFF2-40B4-BE49-F238E27FC236}">
                  <a16:creationId xmlns:a16="http://schemas.microsoft.com/office/drawing/2014/main" id="{05F73765-E8D3-440F-B491-E7B6ABB914BD}"/>
                </a:ext>
              </a:extLst>
            </p:cNvPr>
            <p:cNvSpPr txBox="1"/>
            <p:nvPr/>
          </p:nvSpPr>
          <p:spPr>
            <a:xfrm flipH="1">
              <a:off x="8903067" y="2692095"/>
              <a:ext cx="2056261" cy="387598"/>
            </a:xfrm>
            <a:prstGeom prst="rect">
              <a:avLst/>
            </a:prstGeom>
            <a:noFill/>
          </p:spPr>
          <p:txBody>
            <a:bodyPr wrap="square" lIns="0" tIns="36000" rIns="0" bIns="36000" rtlCol="0">
              <a:spAutoFit/>
            </a:bodyPr>
            <a:lstStyle/>
            <a:p>
              <a:pPr marL="0" marR="0" lvl="0" indent="0" algn="ctr" defTabSz="914400" rtl="0" eaLnBrk="1" fontAlgn="auto" latinLnBrk="0" hangingPunct="1">
                <a:lnSpc>
                  <a:spcPct val="120000"/>
                </a:lnSpc>
                <a:spcBef>
                  <a:spcPts val="600"/>
                </a:spcBef>
                <a:spcAft>
                  <a:spcPts val="0"/>
                </a:spcAft>
                <a:buClrTx/>
                <a:buSzTx/>
                <a:buFontTx/>
                <a:buNone/>
                <a:tabLst/>
                <a:defRPr/>
              </a:pPr>
              <a:r>
                <a:rPr kumimoji="0" lang="zh-CN" altLang="en-US" sz="1800" b="0" i="0" u="none" strike="noStrike" kern="1200" cap="none" spc="0" normalizeH="0" baseline="0" noProof="0" dirty="0">
                  <a:ln>
                    <a:noFill/>
                  </a:ln>
                  <a:solidFill>
                    <a:schemeClr val="accent1"/>
                  </a:solidFill>
                  <a:effectLst/>
                  <a:uLnTx/>
                  <a:uFillTx/>
                  <a:latin typeface="HarmonyOS Sans SC Black"/>
                  <a:ea typeface="+mj-ea"/>
                  <a:cs typeface="+mn-cs"/>
                </a:rPr>
                <a:t>关键词标题</a:t>
              </a:r>
              <a:endParaRPr kumimoji="0" lang="en-US" sz="1800" b="0" i="0" u="none" strike="noStrike" kern="1200" cap="none" spc="0" normalizeH="0" baseline="0" noProof="0" dirty="0">
                <a:ln>
                  <a:noFill/>
                </a:ln>
                <a:solidFill>
                  <a:schemeClr val="accent1"/>
                </a:solidFill>
                <a:effectLst/>
                <a:uLnTx/>
                <a:uFillTx/>
                <a:latin typeface="HarmonyOS Sans SC Black"/>
                <a:ea typeface="+mj-ea"/>
                <a:cs typeface="+mn-cs"/>
              </a:endParaRPr>
            </a:p>
          </p:txBody>
        </p:sp>
        <p:sp>
          <p:nvSpPr>
            <p:cNvPr id="55" name="TextBox 65">
              <a:extLst>
                <a:ext uri="{FF2B5EF4-FFF2-40B4-BE49-F238E27FC236}">
                  <a16:creationId xmlns:a16="http://schemas.microsoft.com/office/drawing/2014/main" id="{89900B8D-E8E2-443B-B151-77E0EBB06B7F}"/>
                </a:ext>
              </a:extLst>
            </p:cNvPr>
            <p:cNvSpPr txBox="1"/>
            <p:nvPr/>
          </p:nvSpPr>
          <p:spPr>
            <a:xfrm flipH="1">
              <a:off x="8546391" y="3075494"/>
              <a:ext cx="2769612" cy="498204"/>
            </a:xfrm>
            <a:prstGeom prst="rect">
              <a:avLst/>
            </a:prstGeom>
            <a:noFill/>
          </p:spPr>
          <p:txBody>
            <a:bodyPr wrap="square" lIns="0" tIns="36000" rIns="0" bIns="36000" rtlCol="0">
              <a:spAutoFit/>
            </a:bodyPr>
            <a:lstStyle/>
            <a:p>
              <a:pPr marL="0" marR="0" lvl="0" indent="0" algn="ctr" defTabSz="914400" rtl="0" eaLnBrk="1" fontAlgn="auto" latinLnBrk="0" hangingPunct="1">
                <a:lnSpc>
                  <a:spcPct val="120000"/>
                </a:lnSpc>
                <a:spcBef>
                  <a:spcPts val="600"/>
                </a:spcBef>
                <a:spcAft>
                  <a:spcPts val="0"/>
                </a:spcAft>
                <a:buClrTx/>
                <a:buSzTx/>
                <a:buFontTx/>
                <a:buNone/>
                <a:tabLst/>
                <a:defRPr/>
              </a:pPr>
              <a:r>
                <a:rPr kumimoji="0" lang="en-US" sz="1200" b="0" i="0" u="none" strike="noStrike" kern="1200" cap="none" spc="0" normalizeH="0" baseline="0" noProof="0" dirty="0">
                  <a:ln>
                    <a:noFill/>
                  </a:ln>
                  <a:solidFill>
                    <a:prstClr val="black">
                      <a:lumMod val="50000"/>
                      <a:lumOff val="50000"/>
                    </a:prstClr>
                  </a:solidFill>
                  <a:effectLst/>
                  <a:uLnTx/>
                  <a:uFillTx/>
                  <a:latin typeface="HarmonyOS Sans SC"/>
                  <a:cs typeface="+mn-cs"/>
                </a:rPr>
                <a:t>Apparently we had reached a great height in the.</a:t>
              </a:r>
            </a:p>
          </p:txBody>
        </p:sp>
      </p:grpSp>
    </p:spTree>
    <p:extLst>
      <p:ext uri="{BB962C8B-B14F-4D97-AF65-F5344CB8AC3E}">
        <p14:creationId xmlns:p14="http://schemas.microsoft.com/office/powerpoint/2010/main" val="1003133188"/>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5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 name="文本框 60">
            <a:extLst>
              <a:ext uri="{FF2B5EF4-FFF2-40B4-BE49-F238E27FC236}">
                <a16:creationId xmlns:a16="http://schemas.microsoft.com/office/drawing/2014/main" id="{75A9F02E-A702-4D4B-A076-6B081C899EF1}"/>
              </a:ext>
            </a:extLst>
          </p:cNvPr>
          <p:cNvSpPr txBox="1"/>
          <p:nvPr/>
        </p:nvSpPr>
        <p:spPr>
          <a:xfrm>
            <a:off x="4608253" y="918105"/>
            <a:ext cx="2975494" cy="52322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2800" b="0" i="0" u="none" strike="noStrike" kern="1200" cap="none" spc="0" normalizeH="0" baseline="0" noProof="0" dirty="0">
                <a:ln>
                  <a:noFill/>
                </a:ln>
                <a:solidFill>
                  <a:prstClr val="black"/>
                </a:solidFill>
                <a:effectLst/>
                <a:uLnTx/>
                <a:uFillTx/>
                <a:latin typeface="HarmonyOS Sans Black"/>
                <a:ea typeface="+mj-ea"/>
                <a:cs typeface="+mn-cs"/>
              </a:rPr>
              <a:t>Our </a:t>
            </a:r>
            <a:r>
              <a:rPr kumimoji="0" lang="en-US" altLang="zh-CN" sz="2800" b="0" i="0" u="none" strike="noStrike" kern="1200" cap="none" spc="0" normalizeH="0" baseline="0" noProof="0" dirty="0">
                <a:ln>
                  <a:noFill/>
                </a:ln>
                <a:solidFill>
                  <a:schemeClr val="accent1"/>
                </a:solidFill>
                <a:effectLst/>
                <a:uLnTx/>
                <a:uFillTx/>
                <a:latin typeface="HarmonyOS Sans Black"/>
                <a:ea typeface="+mj-ea"/>
                <a:cs typeface="+mn-cs"/>
              </a:rPr>
              <a:t>Infographic</a:t>
            </a:r>
          </a:p>
        </p:txBody>
      </p:sp>
      <p:sp>
        <p:nvSpPr>
          <p:cNvPr id="62" name="TextBox 26">
            <a:extLst>
              <a:ext uri="{FF2B5EF4-FFF2-40B4-BE49-F238E27FC236}">
                <a16:creationId xmlns:a16="http://schemas.microsoft.com/office/drawing/2014/main" id="{8AD94D53-F505-40FE-A113-F66B38C6B745}"/>
              </a:ext>
            </a:extLst>
          </p:cNvPr>
          <p:cNvSpPr txBox="1"/>
          <p:nvPr/>
        </p:nvSpPr>
        <p:spPr>
          <a:xfrm>
            <a:off x="3486150" y="1427611"/>
            <a:ext cx="5219700" cy="254163"/>
          </a:xfrm>
          <a:prstGeom prst="rect">
            <a:avLst/>
          </a:prstGeom>
          <a:noFill/>
        </p:spPr>
        <p:txBody>
          <a:bodyPr wrap="square" lIns="0" tIns="36000" rIns="0" bIns="36000" rtlCol="0">
            <a:spAutoFit/>
          </a:bodyPr>
          <a:lstStyle/>
          <a:p>
            <a:pPr marL="0" marR="0" lvl="0" indent="0" algn="ctr" defTabSz="914400" rtl="0" eaLnBrk="1" fontAlgn="auto" latinLnBrk="0" hangingPunct="1">
              <a:lnSpc>
                <a:spcPct val="130000"/>
              </a:lnSpc>
              <a:spcBef>
                <a:spcPts val="100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alpha val="70000"/>
                  </a:prstClr>
                </a:solidFill>
                <a:effectLst/>
                <a:uLnTx/>
                <a:uFillTx/>
                <a:latin typeface="HarmonyOS Sans SC"/>
                <a:cs typeface="+mn-cs"/>
              </a:rPr>
              <a:t>There Are Many Variations Of Passages Of </a:t>
            </a:r>
          </a:p>
        </p:txBody>
      </p:sp>
      <p:sp>
        <p:nvSpPr>
          <p:cNvPr id="74" name="Freeform 15">
            <a:extLst>
              <a:ext uri="{FF2B5EF4-FFF2-40B4-BE49-F238E27FC236}">
                <a16:creationId xmlns:a16="http://schemas.microsoft.com/office/drawing/2014/main" id="{AB6BC3C8-FEE8-44AA-8200-78E16221756E}"/>
              </a:ext>
            </a:extLst>
          </p:cNvPr>
          <p:cNvSpPr>
            <a:spLocks/>
          </p:cNvSpPr>
          <p:nvPr/>
        </p:nvSpPr>
        <p:spPr bwMode="auto">
          <a:xfrm>
            <a:off x="2818147" y="4104526"/>
            <a:ext cx="2468496" cy="1906660"/>
          </a:xfrm>
          <a:custGeom>
            <a:avLst/>
            <a:gdLst>
              <a:gd name="T0" fmla="*/ 552 w 606"/>
              <a:gd name="T1" fmla="*/ 0 h 468"/>
              <a:gd name="T2" fmla="*/ 538 w 606"/>
              <a:gd name="T3" fmla="*/ 8 h 468"/>
              <a:gd name="T4" fmla="*/ 539 w 606"/>
              <a:gd name="T5" fmla="*/ 24 h 468"/>
              <a:gd name="T6" fmla="*/ 555 w 606"/>
              <a:gd name="T7" fmla="*/ 72 h 468"/>
              <a:gd name="T8" fmla="*/ 487 w 606"/>
              <a:gd name="T9" fmla="*/ 131 h 468"/>
              <a:gd name="T10" fmla="*/ 420 w 606"/>
              <a:gd name="T11" fmla="*/ 72 h 468"/>
              <a:gd name="T12" fmla="*/ 436 w 606"/>
              <a:gd name="T13" fmla="*/ 24 h 468"/>
              <a:gd name="T14" fmla="*/ 437 w 606"/>
              <a:gd name="T15" fmla="*/ 8 h 468"/>
              <a:gd name="T16" fmla="*/ 422 w 606"/>
              <a:gd name="T17" fmla="*/ 0 h 468"/>
              <a:gd name="T18" fmla="*/ 374 w 606"/>
              <a:gd name="T19" fmla="*/ 0 h 468"/>
              <a:gd name="T20" fmla="*/ 138 w 606"/>
              <a:gd name="T21" fmla="*/ 236 h 468"/>
              <a:gd name="T22" fmla="*/ 138 w 606"/>
              <a:gd name="T23" fmla="*/ 287 h 468"/>
              <a:gd name="T24" fmla="*/ 124 w 606"/>
              <a:gd name="T25" fmla="*/ 317 h 468"/>
              <a:gd name="T26" fmla="*/ 116 w 606"/>
              <a:gd name="T27" fmla="*/ 324 h 468"/>
              <a:gd name="T28" fmla="*/ 110 w 606"/>
              <a:gd name="T29" fmla="*/ 327 h 468"/>
              <a:gd name="T30" fmla="*/ 72 w 606"/>
              <a:gd name="T31" fmla="*/ 324 h 468"/>
              <a:gd name="T32" fmla="*/ 34 w 606"/>
              <a:gd name="T33" fmla="*/ 310 h 468"/>
              <a:gd name="T34" fmla="*/ 0 w 606"/>
              <a:gd name="T35" fmla="*/ 352 h 468"/>
              <a:gd name="T36" fmla="*/ 34 w 606"/>
              <a:gd name="T37" fmla="*/ 395 h 468"/>
              <a:gd name="T38" fmla="*/ 72 w 606"/>
              <a:gd name="T39" fmla="*/ 381 h 468"/>
              <a:gd name="T40" fmla="*/ 110 w 606"/>
              <a:gd name="T41" fmla="*/ 378 h 468"/>
              <a:gd name="T42" fmla="*/ 116 w 606"/>
              <a:gd name="T43" fmla="*/ 381 h 468"/>
              <a:gd name="T44" fmla="*/ 124 w 606"/>
              <a:gd name="T45" fmla="*/ 388 h 468"/>
              <a:gd name="T46" fmla="*/ 138 w 606"/>
              <a:gd name="T47" fmla="*/ 417 h 468"/>
              <a:gd name="T48" fmla="*/ 138 w 606"/>
              <a:gd name="T49" fmla="*/ 418 h 468"/>
              <a:gd name="T50" fmla="*/ 138 w 606"/>
              <a:gd name="T51" fmla="*/ 424 h 468"/>
              <a:gd name="T52" fmla="*/ 138 w 606"/>
              <a:gd name="T53" fmla="*/ 425 h 468"/>
              <a:gd name="T54" fmla="*/ 138 w 606"/>
              <a:gd name="T55" fmla="*/ 428 h 468"/>
              <a:gd name="T56" fmla="*/ 138 w 606"/>
              <a:gd name="T57" fmla="*/ 468 h 468"/>
              <a:gd name="T58" fmla="*/ 606 w 606"/>
              <a:gd name="T59" fmla="*/ 0 h 468"/>
              <a:gd name="T60" fmla="*/ 552 w 606"/>
              <a:gd name="T61" fmla="*/ 0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606" h="468">
                <a:moveTo>
                  <a:pt x="552" y="0"/>
                </a:moveTo>
                <a:cubicBezTo>
                  <a:pt x="547" y="1"/>
                  <a:pt x="541" y="3"/>
                  <a:pt x="538" y="8"/>
                </a:cubicBezTo>
                <a:cubicBezTo>
                  <a:pt x="535" y="13"/>
                  <a:pt x="536" y="20"/>
                  <a:pt x="539" y="24"/>
                </a:cubicBezTo>
                <a:cubicBezTo>
                  <a:pt x="540" y="27"/>
                  <a:pt x="555" y="56"/>
                  <a:pt x="555" y="72"/>
                </a:cubicBezTo>
                <a:cubicBezTo>
                  <a:pt x="555" y="105"/>
                  <a:pt x="524" y="131"/>
                  <a:pt x="487" y="131"/>
                </a:cubicBezTo>
                <a:cubicBezTo>
                  <a:pt x="450" y="131"/>
                  <a:pt x="420" y="105"/>
                  <a:pt x="420" y="72"/>
                </a:cubicBezTo>
                <a:cubicBezTo>
                  <a:pt x="420" y="56"/>
                  <a:pt x="435" y="27"/>
                  <a:pt x="436" y="24"/>
                </a:cubicBezTo>
                <a:cubicBezTo>
                  <a:pt x="438" y="20"/>
                  <a:pt x="440" y="13"/>
                  <a:pt x="437" y="8"/>
                </a:cubicBezTo>
                <a:cubicBezTo>
                  <a:pt x="434" y="3"/>
                  <a:pt x="427" y="1"/>
                  <a:pt x="422" y="0"/>
                </a:cubicBezTo>
                <a:cubicBezTo>
                  <a:pt x="374" y="0"/>
                  <a:pt x="374" y="0"/>
                  <a:pt x="374" y="0"/>
                </a:cubicBezTo>
                <a:cubicBezTo>
                  <a:pt x="367" y="127"/>
                  <a:pt x="265" y="229"/>
                  <a:pt x="138" y="236"/>
                </a:cubicBezTo>
                <a:cubicBezTo>
                  <a:pt x="138" y="287"/>
                  <a:pt x="138" y="287"/>
                  <a:pt x="138" y="287"/>
                </a:cubicBezTo>
                <a:cubicBezTo>
                  <a:pt x="136" y="299"/>
                  <a:pt x="132" y="310"/>
                  <a:pt x="124" y="317"/>
                </a:cubicBezTo>
                <a:cubicBezTo>
                  <a:pt x="122" y="320"/>
                  <a:pt x="119" y="322"/>
                  <a:pt x="116" y="324"/>
                </a:cubicBezTo>
                <a:cubicBezTo>
                  <a:pt x="114" y="325"/>
                  <a:pt x="112" y="326"/>
                  <a:pt x="110" y="327"/>
                </a:cubicBezTo>
                <a:cubicBezTo>
                  <a:pt x="99" y="331"/>
                  <a:pt x="85" y="331"/>
                  <a:pt x="72" y="324"/>
                </a:cubicBezTo>
                <a:cubicBezTo>
                  <a:pt x="59" y="317"/>
                  <a:pt x="40" y="310"/>
                  <a:pt x="34" y="310"/>
                </a:cubicBezTo>
                <a:cubicBezTo>
                  <a:pt x="15" y="310"/>
                  <a:pt x="0" y="329"/>
                  <a:pt x="0" y="352"/>
                </a:cubicBezTo>
                <a:cubicBezTo>
                  <a:pt x="0" y="376"/>
                  <a:pt x="15" y="395"/>
                  <a:pt x="34" y="395"/>
                </a:cubicBezTo>
                <a:cubicBezTo>
                  <a:pt x="40" y="395"/>
                  <a:pt x="59" y="388"/>
                  <a:pt x="72" y="381"/>
                </a:cubicBezTo>
                <a:cubicBezTo>
                  <a:pt x="85" y="374"/>
                  <a:pt x="99" y="374"/>
                  <a:pt x="110" y="378"/>
                </a:cubicBezTo>
                <a:cubicBezTo>
                  <a:pt x="112" y="379"/>
                  <a:pt x="114" y="380"/>
                  <a:pt x="116" y="381"/>
                </a:cubicBezTo>
                <a:cubicBezTo>
                  <a:pt x="119" y="383"/>
                  <a:pt x="122" y="385"/>
                  <a:pt x="124" y="388"/>
                </a:cubicBezTo>
                <a:cubicBezTo>
                  <a:pt x="131" y="395"/>
                  <a:pt x="136" y="405"/>
                  <a:pt x="138" y="417"/>
                </a:cubicBezTo>
                <a:cubicBezTo>
                  <a:pt x="138" y="418"/>
                  <a:pt x="138" y="418"/>
                  <a:pt x="138" y="418"/>
                </a:cubicBezTo>
                <a:cubicBezTo>
                  <a:pt x="138" y="424"/>
                  <a:pt x="138" y="424"/>
                  <a:pt x="138" y="424"/>
                </a:cubicBezTo>
                <a:cubicBezTo>
                  <a:pt x="138" y="425"/>
                  <a:pt x="138" y="425"/>
                  <a:pt x="138" y="425"/>
                </a:cubicBezTo>
                <a:cubicBezTo>
                  <a:pt x="138" y="428"/>
                  <a:pt x="138" y="428"/>
                  <a:pt x="138" y="428"/>
                </a:cubicBezTo>
                <a:cubicBezTo>
                  <a:pt x="138" y="468"/>
                  <a:pt x="138" y="468"/>
                  <a:pt x="138" y="468"/>
                </a:cubicBezTo>
                <a:cubicBezTo>
                  <a:pt x="393" y="461"/>
                  <a:pt x="599" y="255"/>
                  <a:pt x="606" y="0"/>
                </a:cubicBezTo>
                <a:lnTo>
                  <a:pt x="552" y="0"/>
                </a:lnTo>
                <a:close/>
              </a:path>
            </a:pathLst>
          </a:custGeom>
          <a:gradFill flip="none" rotWithShape="1">
            <a:gsLst>
              <a:gs pos="73000">
                <a:schemeClr val="accent1"/>
              </a:gs>
              <a:gs pos="31000">
                <a:schemeClr val="accent1">
                  <a:lumMod val="60000"/>
                  <a:lumOff val="40000"/>
                </a:schemeClr>
              </a:gs>
              <a:gs pos="0">
                <a:schemeClr val="accent1">
                  <a:lumMod val="40000"/>
                  <a:lumOff val="60000"/>
                </a:schemeClr>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HarmonyOS Sans SC"/>
              <a:cs typeface="+mn-cs"/>
            </a:endParaRPr>
          </a:p>
        </p:txBody>
      </p:sp>
      <p:sp>
        <p:nvSpPr>
          <p:cNvPr id="81" name="Freeform 22">
            <a:extLst>
              <a:ext uri="{FF2B5EF4-FFF2-40B4-BE49-F238E27FC236}">
                <a16:creationId xmlns:a16="http://schemas.microsoft.com/office/drawing/2014/main" id="{353B2BCB-70FB-4558-A705-6E0D7F79E3D6}"/>
              </a:ext>
            </a:extLst>
          </p:cNvPr>
          <p:cNvSpPr>
            <a:spLocks/>
          </p:cNvSpPr>
          <p:nvPr/>
        </p:nvSpPr>
        <p:spPr bwMode="auto">
          <a:xfrm>
            <a:off x="3379984" y="2082811"/>
            <a:ext cx="1906659" cy="2444588"/>
          </a:xfrm>
          <a:custGeom>
            <a:avLst/>
            <a:gdLst>
              <a:gd name="T0" fmla="*/ 0 w 468"/>
              <a:gd name="T1" fmla="*/ 0 h 600"/>
              <a:gd name="T2" fmla="*/ 0 w 468"/>
              <a:gd name="T3" fmla="*/ 55 h 600"/>
              <a:gd name="T4" fmla="*/ 9 w 468"/>
              <a:gd name="T5" fmla="*/ 70 h 600"/>
              <a:gd name="T6" fmla="*/ 26 w 468"/>
              <a:gd name="T7" fmla="*/ 69 h 600"/>
              <a:gd name="T8" fmla="*/ 77 w 468"/>
              <a:gd name="T9" fmla="*/ 52 h 600"/>
              <a:gd name="T10" fmla="*/ 138 w 468"/>
              <a:gd name="T11" fmla="*/ 122 h 600"/>
              <a:gd name="T12" fmla="*/ 77 w 468"/>
              <a:gd name="T13" fmla="*/ 192 h 600"/>
              <a:gd name="T14" fmla="*/ 26 w 468"/>
              <a:gd name="T15" fmla="*/ 176 h 600"/>
              <a:gd name="T16" fmla="*/ 9 w 468"/>
              <a:gd name="T17" fmla="*/ 175 h 600"/>
              <a:gd name="T18" fmla="*/ 0 w 468"/>
              <a:gd name="T19" fmla="*/ 191 h 600"/>
              <a:gd name="T20" fmla="*/ 0 w 468"/>
              <a:gd name="T21" fmla="*/ 233 h 600"/>
              <a:gd name="T22" fmla="*/ 236 w 468"/>
              <a:gd name="T23" fmla="*/ 469 h 600"/>
              <a:gd name="T24" fmla="*/ 287 w 468"/>
              <a:gd name="T25" fmla="*/ 469 h 600"/>
              <a:gd name="T26" fmla="*/ 317 w 468"/>
              <a:gd name="T27" fmla="*/ 482 h 600"/>
              <a:gd name="T28" fmla="*/ 323 w 468"/>
              <a:gd name="T29" fmla="*/ 490 h 600"/>
              <a:gd name="T30" fmla="*/ 324 w 468"/>
              <a:gd name="T31" fmla="*/ 493 h 600"/>
              <a:gd name="T32" fmla="*/ 325 w 468"/>
              <a:gd name="T33" fmla="*/ 493 h 600"/>
              <a:gd name="T34" fmla="*/ 326 w 468"/>
              <a:gd name="T35" fmla="*/ 496 h 600"/>
              <a:gd name="T36" fmla="*/ 326 w 468"/>
              <a:gd name="T37" fmla="*/ 496 h 600"/>
              <a:gd name="T38" fmla="*/ 326 w 468"/>
              <a:gd name="T39" fmla="*/ 496 h 600"/>
              <a:gd name="T40" fmla="*/ 328 w 468"/>
              <a:gd name="T41" fmla="*/ 509 h 600"/>
              <a:gd name="T42" fmla="*/ 328 w 468"/>
              <a:gd name="T43" fmla="*/ 509 h 600"/>
              <a:gd name="T44" fmla="*/ 328 w 468"/>
              <a:gd name="T45" fmla="*/ 514 h 600"/>
              <a:gd name="T46" fmla="*/ 328 w 468"/>
              <a:gd name="T47" fmla="*/ 514 h 600"/>
              <a:gd name="T48" fmla="*/ 327 w 468"/>
              <a:gd name="T49" fmla="*/ 523 h 600"/>
              <a:gd name="T50" fmla="*/ 326 w 468"/>
              <a:gd name="T51" fmla="*/ 523 h 600"/>
              <a:gd name="T52" fmla="*/ 325 w 468"/>
              <a:gd name="T53" fmla="*/ 527 h 600"/>
              <a:gd name="T54" fmla="*/ 325 w 468"/>
              <a:gd name="T55" fmla="*/ 528 h 600"/>
              <a:gd name="T56" fmla="*/ 323 w 468"/>
              <a:gd name="T57" fmla="*/ 532 h 600"/>
              <a:gd name="T58" fmla="*/ 310 w 468"/>
              <a:gd name="T59" fmla="*/ 568 h 600"/>
              <a:gd name="T60" fmla="*/ 349 w 468"/>
              <a:gd name="T61" fmla="*/ 600 h 600"/>
              <a:gd name="T62" fmla="*/ 389 w 468"/>
              <a:gd name="T63" fmla="*/ 568 h 600"/>
              <a:gd name="T64" fmla="*/ 376 w 468"/>
              <a:gd name="T65" fmla="*/ 532 h 600"/>
              <a:gd name="T66" fmla="*/ 374 w 468"/>
              <a:gd name="T67" fmla="*/ 528 h 600"/>
              <a:gd name="T68" fmla="*/ 374 w 468"/>
              <a:gd name="T69" fmla="*/ 528 h 600"/>
              <a:gd name="T70" fmla="*/ 372 w 468"/>
              <a:gd name="T71" fmla="*/ 523 h 600"/>
              <a:gd name="T72" fmla="*/ 372 w 468"/>
              <a:gd name="T73" fmla="*/ 523 h 600"/>
              <a:gd name="T74" fmla="*/ 371 w 468"/>
              <a:gd name="T75" fmla="*/ 514 h 600"/>
              <a:gd name="T76" fmla="*/ 371 w 468"/>
              <a:gd name="T77" fmla="*/ 514 h 600"/>
              <a:gd name="T78" fmla="*/ 370 w 468"/>
              <a:gd name="T79" fmla="*/ 509 h 600"/>
              <a:gd name="T80" fmla="*/ 370 w 468"/>
              <a:gd name="T81" fmla="*/ 509 h 600"/>
              <a:gd name="T82" fmla="*/ 373 w 468"/>
              <a:gd name="T83" fmla="*/ 496 h 600"/>
              <a:gd name="T84" fmla="*/ 374 w 468"/>
              <a:gd name="T85" fmla="*/ 493 h 600"/>
              <a:gd name="T86" fmla="*/ 374 w 468"/>
              <a:gd name="T87" fmla="*/ 493 h 600"/>
              <a:gd name="T88" fmla="*/ 376 w 468"/>
              <a:gd name="T89" fmla="*/ 490 h 600"/>
              <a:gd name="T90" fmla="*/ 382 w 468"/>
              <a:gd name="T91" fmla="*/ 482 h 600"/>
              <a:gd name="T92" fmla="*/ 410 w 468"/>
              <a:gd name="T93" fmla="*/ 469 h 600"/>
              <a:gd name="T94" fmla="*/ 411 w 468"/>
              <a:gd name="T95" fmla="*/ 469 h 600"/>
              <a:gd name="T96" fmla="*/ 417 w 468"/>
              <a:gd name="T97" fmla="*/ 469 h 600"/>
              <a:gd name="T98" fmla="*/ 418 w 468"/>
              <a:gd name="T99" fmla="*/ 469 h 600"/>
              <a:gd name="T100" fmla="*/ 421 w 468"/>
              <a:gd name="T101" fmla="*/ 469 h 600"/>
              <a:gd name="T102" fmla="*/ 468 w 468"/>
              <a:gd name="T103" fmla="*/ 469 h 600"/>
              <a:gd name="T104" fmla="*/ 0 w 468"/>
              <a:gd name="T105" fmla="*/ 0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68" h="600">
                <a:moveTo>
                  <a:pt x="0" y="0"/>
                </a:moveTo>
                <a:cubicBezTo>
                  <a:pt x="0" y="55"/>
                  <a:pt x="0" y="55"/>
                  <a:pt x="0" y="55"/>
                </a:cubicBezTo>
                <a:cubicBezTo>
                  <a:pt x="1" y="60"/>
                  <a:pt x="3" y="67"/>
                  <a:pt x="9" y="70"/>
                </a:cubicBezTo>
                <a:cubicBezTo>
                  <a:pt x="13" y="73"/>
                  <a:pt x="19" y="72"/>
                  <a:pt x="26" y="69"/>
                </a:cubicBezTo>
                <a:cubicBezTo>
                  <a:pt x="29" y="67"/>
                  <a:pt x="60" y="52"/>
                  <a:pt x="77" y="52"/>
                </a:cubicBezTo>
                <a:cubicBezTo>
                  <a:pt x="111" y="52"/>
                  <a:pt x="138" y="84"/>
                  <a:pt x="138" y="122"/>
                </a:cubicBezTo>
                <a:cubicBezTo>
                  <a:pt x="138" y="161"/>
                  <a:pt x="111" y="192"/>
                  <a:pt x="77" y="192"/>
                </a:cubicBezTo>
                <a:cubicBezTo>
                  <a:pt x="60" y="192"/>
                  <a:pt x="29" y="177"/>
                  <a:pt x="26" y="176"/>
                </a:cubicBezTo>
                <a:cubicBezTo>
                  <a:pt x="19" y="172"/>
                  <a:pt x="13" y="172"/>
                  <a:pt x="9" y="175"/>
                </a:cubicBezTo>
                <a:cubicBezTo>
                  <a:pt x="3" y="178"/>
                  <a:pt x="1" y="186"/>
                  <a:pt x="0" y="191"/>
                </a:cubicBezTo>
                <a:cubicBezTo>
                  <a:pt x="0" y="233"/>
                  <a:pt x="0" y="233"/>
                  <a:pt x="0" y="233"/>
                </a:cubicBezTo>
                <a:cubicBezTo>
                  <a:pt x="127" y="240"/>
                  <a:pt x="229" y="342"/>
                  <a:pt x="236" y="469"/>
                </a:cubicBezTo>
                <a:cubicBezTo>
                  <a:pt x="287" y="469"/>
                  <a:pt x="287" y="469"/>
                  <a:pt x="287" y="469"/>
                </a:cubicBezTo>
                <a:cubicBezTo>
                  <a:pt x="299" y="470"/>
                  <a:pt x="310" y="475"/>
                  <a:pt x="317" y="482"/>
                </a:cubicBezTo>
                <a:cubicBezTo>
                  <a:pt x="319" y="485"/>
                  <a:pt x="321" y="487"/>
                  <a:pt x="323" y="490"/>
                </a:cubicBezTo>
                <a:cubicBezTo>
                  <a:pt x="323" y="491"/>
                  <a:pt x="324" y="492"/>
                  <a:pt x="324" y="493"/>
                </a:cubicBezTo>
                <a:cubicBezTo>
                  <a:pt x="324" y="493"/>
                  <a:pt x="325" y="493"/>
                  <a:pt x="325" y="493"/>
                </a:cubicBezTo>
                <a:cubicBezTo>
                  <a:pt x="325" y="494"/>
                  <a:pt x="325" y="495"/>
                  <a:pt x="326" y="496"/>
                </a:cubicBezTo>
                <a:cubicBezTo>
                  <a:pt x="326" y="496"/>
                  <a:pt x="326" y="496"/>
                  <a:pt x="326" y="496"/>
                </a:cubicBezTo>
                <a:cubicBezTo>
                  <a:pt x="326" y="496"/>
                  <a:pt x="326" y="496"/>
                  <a:pt x="326" y="496"/>
                </a:cubicBezTo>
                <a:cubicBezTo>
                  <a:pt x="327" y="500"/>
                  <a:pt x="328" y="505"/>
                  <a:pt x="328" y="509"/>
                </a:cubicBezTo>
                <a:cubicBezTo>
                  <a:pt x="328" y="509"/>
                  <a:pt x="328" y="509"/>
                  <a:pt x="328" y="509"/>
                </a:cubicBezTo>
                <a:cubicBezTo>
                  <a:pt x="328" y="511"/>
                  <a:pt x="328" y="512"/>
                  <a:pt x="328" y="514"/>
                </a:cubicBezTo>
                <a:cubicBezTo>
                  <a:pt x="328" y="514"/>
                  <a:pt x="328" y="514"/>
                  <a:pt x="328" y="514"/>
                </a:cubicBezTo>
                <a:cubicBezTo>
                  <a:pt x="328" y="517"/>
                  <a:pt x="327" y="520"/>
                  <a:pt x="327" y="523"/>
                </a:cubicBezTo>
                <a:cubicBezTo>
                  <a:pt x="327" y="523"/>
                  <a:pt x="327" y="523"/>
                  <a:pt x="326" y="523"/>
                </a:cubicBezTo>
                <a:cubicBezTo>
                  <a:pt x="326" y="525"/>
                  <a:pt x="326" y="526"/>
                  <a:pt x="325" y="527"/>
                </a:cubicBezTo>
                <a:cubicBezTo>
                  <a:pt x="325" y="528"/>
                  <a:pt x="325" y="528"/>
                  <a:pt x="325" y="528"/>
                </a:cubicBezTo>
                <a:cubicBezTo>
                  <a:pt x="324" y="530"/>
                  <a:pt x="324" y="531"/>
                  <a:pt x="323" y="532"/>
                </a:cubicBezTo>
                <a:cubicBezTo>
                  <a:pt x="317" y="545"/>
                  <a:pt x="310" y="562"/>
                  <a:pt x="310" y="568"/>
                </a:cubicBezTo>
                <a:cubicBezTo>
                  <a:pt x="310" y="586"/>
                  <a:pt x="328" y="600"/>
                  <a:pt x="349" y="600"/>
                </a:cubicBezTo>
                <a:cubicBezTo>
                  <a:pt x="371" y="600"/>
                  <a:pt x="389" y="586"/>
                  <a:pt x="389" y="568"/>
                </a:cubicBezTo>
                <a:cubicBezTo>
                  <a:pt x="389" y="562"/>
                  <a:pt x="382" y="545"/>
                  <a:pt x="376" y="532"/>
                </a:cubicBezTo>
                <a:cubicBezTo>
                  <a:pt x="375" y="531"/>
                  <a:pt x="375" y="530"/>
                  <a:pt x="374" y="528"/>
                </a:cubicBezTo>
                <a:cubicBezTo>
                  <a:pt x="374" y="528"/>
                  <a:pt x="374" y="528"/>
                  <a:pt x="374" y="528"/>
                </a:cubicBezTo>
                <a:cubicBezTo>
                  <a:pt x="373" y="526"/>
                  <a:pt x="373" y="525"/>
                  <a:pt x="372" y="523"/>
                </a:cubicBezTo>
                <a:cubicBezTo>
                  <a:pt x="372" y="523"/>
                  <a:pt x="372" y="523"/>
                  <a:pt x="372" y="523"/>
                </a:cubicBezTo>
                <a:cubicBezTo>
                  <a:pt x="371" y="520"/>
                  <a:pt x="371" y="517"/>
                  <a:pt x="371" y="514"/>
                </a:cubicBezTo>
                <a:cubicBezTo>
                  <a:pt x="371" y="514"/>
                  <a:pt x="371" y="514"/>
                  <a:pt x="371" y="514"/>
                </a:cubicBezTo>
                <a:cubicBezTo>
                  <a:pt x="370" y="512"/>
                  <a:pt x="370" y="511"/>
                  <a:pt x="370" y="509"/>
                </a:cubicBezTo>
                <a:cubicBezTo>
                  <a:pt x="370" y="509"/>
                  <a:pt x="370" y="509"/>
                  <a:pt x="370" y="509"/>
                </a:cubicBezTo>
                <a:cubicBezTo>
                  <a:pt x="371" y="505"/>
                  <a:pt x="371" y="500"/>
                  <a:pt x="373" y="496"/>
                </a:cubicBezTo>
                <a:cubicBezTo>
                  <a:pt x="373" y="495"/>
                  <a:pt x="374" y="494"/>
                  <a:pt x="374" y="493"/>
                </a:cubicBezTo>
                <a:cubicBezTo>
                  <a:pt x="374" y="493"/>
                  <a:pt x="374" y="493"/>
                  <a:pt x="374" y="493"/>
                </a:cubicBezTo>
                <a:cubicBezTo>
                  <a:pt x="375" y="492"/>
                  <a:pt x="375" y="491"/>
                  <a:pt x="376" y="490"/>
                </a:cubicBezTo>
                <a:cubicBezTo>
                  <a:pt x="378" y="487"/>
                  <a:pt x="380" y="485"/>
                  <a:pt x="382" y="482"/>
                </a:cubicBezTo>
                <a:cubicBezTo>
                  <a:pt x="389" y="475"/>
                  <a:pt x="399" y="470"/>
                  <a:pt x="410" y="469"/>
                </a:cubicBezTo>
                <a:cubicBezTo>
                  <a:pt x="411" y="469"/>
                  <a:pt x="411" y="469"/>
                  <a:pt x="411" y="469"/>
                </a:cubicBezTo>
                <a:cubicBezTo>
                  <a:pt x="417" y="469"/>
                  <a:pt x="417" y="469"/>
                  <a:pt x="417" y="469"/>
                </a:cubicBezTo>
                <a:cubicBezTo>
                  <a:pt x="418" y="469"/>
                  <a:pt x="418" y="469"/>
                  <a:pt x="418" y="469"/>
                </a:cubicBezTo>
                <a:cubicBezTo>
                  <a:pt x="421" y="469"/>
                  <a:pt x="421" y="469"/>
                  <a:pt x="421" y="469"/>
                </a:cubicBezTo>
                <a:cubicBezTo>
                  <a:pt x="468" y="469"/>
                  <a:pt x="468" y="469"/>
                  <a:pt x="468" y="469"/>
                </a:cubicBezTo>
                <a:cubicBezTo>
                  <a:pt x="461" y="214"/>
                  <a:pt x="255" y="8"/>
                  <a:pt x="0" y="0"/>
                </a:cubicBezTo>
                <a:close/>
              </a:path>
            </a:pathLst>
          </a:custGeom>
          <a:gradFill flip="none" rotWithShape="1">
            <a:gsLst>
              <a:gs pos="73000">
                <a:schemeClr val="accent1"/>
              </a:gs>
              <a:gs pos="31000">
                <a:schemeClr val="accent1">
                  <a:lumMod val="60000"/>
                  <a:lumOff val="40000"/>
                </a:schemeClr>
              </a:gs>
              <a:gs pos="0">
                <a:schemeClr val="accent1">
                  <a:lumMod val="40000"/>
                  <a:lumOff val="60000"/>
                </a:schemeClr>
              </a:gs>
            </a:gsLst>
            <a:lin ang="108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87" name="Freeform 28">
            <a:extLst>
              <a:ext uri="{FF2B5EF4-FFF2-40B4-BE49-F238E27FC236}">
                <a16:creationId xmlns:a16="http://schemas.microsoft.com/office/drawing/2014/main" id="{FF1BFD5E-921F-445B-B0C3-B11D7EF05633}"/>
              </a:ext>
            </a:extLst>
          </p:cNvPr>
          <p:cNvSpPr>
            <a:spLocks/>
          </p:cNvSpPr>
          <p:nvPr/>
        </p:nvSpPr>
        <p:spPr bwMode="auto">
          <a:xfrm>
            <a:off x="1359763" y="2082811"/>
            <a:ext cx="2468496" cy="1911143"/>
          </a:xfrm>
          <a:custGeom>
            <a:avLst/>
            <a:gdLst>
              <a:gd name="T0" fmla="*/ 573 w 606"/>
              <a:gd name="T1" fmla="*/ 80 h 469"/>
              <a:gd name="T2" fmla="*/ 535 w 606"/>
              <a:gd name="T3" fmla="*/ 94 h 469"/>
              <a:gd name="T4" fmla="*/ 496 w 606"/>
              <a:gd name="T5" fmla="*/ 96 h 469"/>
              <a:gd name="T6" fmla="*/ 491 w 606"/>
              <a:gd name="T7" fmla="*/ 94 h 469"/>
              <a:gd name="T8" fmla="*/ 482 w 606"/>
              <a:gd name="T9" fmla="*/ 87 h 469"/>
              <a:gd name="T10" fmla="*/ 469 w 606"/>
              <a:gd name="T11" fmla="*/ 58 h 469"/>
              <a:gd name="T12" fmla="*/ 468 w 606"/>
              <a:gd name="T13" fmla="*/ 57 h 469"/>
              <a:gd name="T14" fmla="*/ 468 w 606"/>
              <a:gd name="T15" fmla="*/ 51 h 469"/>
              <a:gd name="T16" fmla="*/ 468 w 606"/>
              <a:gd name="T17" fmla="*/ 50 h 469"/>
              <a:gd name="T18" fmla="*/ 468 w 606"/>
              <a:gd name="T19" fmla="*/ 47 h 469"/>
              <a:gd name="T20" fmla="*/ 468 w 606"/>
              <a:gd name="T21" fmla="*/ 0 h 469"/>
              <a:gd name="T22" fmla="*/ 0 w 606"/>
              <a:gd name="T23" fmla="*/ 469 h 469"/>
              <a:gd name="T24" fmla="*/ 47 w 606"/>
              <a:gd name="T25" fmla="*/ 468 h 469"/>
              <a:gd name="T26" fmla="*/ 62 w 606"/>
              <a:gd name="T27" fmla="*/ 460 h 469"/>
              <a:gd name="T28" fmla="*/ 61 w 606"/>
              <a:gd name="T29" fmla="*/ 443 h 469"/>
              <a:gd name="T30" fmla="*/ 44 w 606"/>
              <a:gd name="T31" fmla="*/ 392 h 469"/>
              <a:gd name="T32" fmla="*/ 114 w 606"/>
              <a:gd name="T33" fmla="*/ 330 h 469"/>
              <a:gd name="T34" fmla="*/ 185 w 606"/>
              <a:gd name="T35" fmla="*/ 392 h 469"/>
              <a:gd name="T36" fmla="*/ 168 w 606"/>
              <a:gd name="T37" fmla="*/ 442 h 469"/>
              <a:gd name="T38" fmla="*/ 167 w 606"/>
              <a:gd name="T39" fmla="*/ 460 h 469"/>
              <a:gd name="T40" fmla="*/ 183 w 606"/>
              <a:gd name="T41" fmla="*/ 469 h 469"/>
              <a:gd name="T42" fmla="*/ 232 w 606"/>
              <a:gd name="T43" fmla="*/ 469 h 469"/>
              <a:gd name="T44" fmla="*/ 468 w 606"/>
              <a:gd name="T45" fmla="*/ 233 h 469"/>
              <a:gd name="T46" fmla="*/ 468 w 606"/>
              <a:gd name="T47" fmla="*/ 188 h 469"/>
              <a:gd name="T48" fmla="*/ 482 w 606"/>
              <a:gd name="T49" fmla="*/ 158 h 469"/>
              <a:gd name="T50" fmla="*/ 491 w 606"/>
              <a:gd name="T51" fmla="*/ 151 h 469"/>
              <a:gd name="T52" fmla="*/ 496 w 606"/>
              <a:gd name="T53" fmla="*/ 148 h 469"/>
              <a:gd name="T54" fmla="*/ 535 w 606"/>
              <a:gd name="T55" fmla="*/ 151 h 469"/>
              <a:gd name="T56" fmla="*/ 573 w 606"/>
              <a:gd name="T57" fmla="*/ 165 h 469"/>
              <a:gd name="T58" fmla="*/ 606 w 606"/>
              <a:gd name="T59" fmla="*/ 122 h 469"/>
              <a:gd name="T60" fmla="*/ 573 w 606"/>
              <a:gd name="T61" fmla="*/ 80 h 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606" h="469">
                <a:moveTo>
                  <a:pt x="573" y="80"/>
                </a:moveTo>
                <a:cubicBezTo>
                  <a:pt x="566" y="80"/>
                  <a:pt x="547" y="87"/>
                  <a:pt x="535" y="94"/>
                </a:cubicBezTo>
                <a:cubicBezTo>
                  <a:pt x="521" y="100"/>
                  <a:pt x="508" y="101"/>
                  <a:pt x="496" y="96"/>
                </a:cubicBezTo>
                <a:cubicBezTo>
                  <a:pt x="494" y="96"/>
                  <a:pt x="492" y="95"/>
                  <a:pt x="491" y="94"/>
                </a:cubicBezTo>
                <a:cubicBezTo>
                  <a:pt x="487" y="92"/>
                  <a:pt x="485" y="90"/>
                  <a:pt x="482" y="87"/>
                </a:cubicBezTo>
                <a:cubicBezTo>
                  <a:pt x="475" y="80"/>
                  <a:pt x="470" y="70"/>
                  <a:pt x="469" y="58"/>
                </a:cubicBezTo>
                <a:cubicBezTo>
                  <a:pt x="468" y="57"/>
                  <a:pt x="468" y="57"/>
                  <a:pt x="468" y="57"/>
                </a:cubicBezTo>
                <a:cubicBezTo>
                  <a:pt x="468" y="51"/>
                  <a:pt x="468" y="51"/>
                  <a:pt x="468" y="51"/>
                </a:cubicBezTo>
                <a:cubicBezTo>
                  <a:pt x="468" y="50"/>
                  <a:pt x="468" y="50"/>
                  <a:pt x="468" y="50"/>
                </a:cubicBezTo>
                <a:cubicBezTo>
                  <a:pt x="468" y="47"/>
                  <a:pt x="468" y="47"/>
                  <a:pt x="468" y="47"/>
                </a:cubicBezTo>
                <a:cubicBezTo>
                  <a:pt x="468" y="0"/>
                  <a:pt x="468" y="0"/>
                  <a:pt x="468" y="0"/>
                </a:cubicBezTo>
                <a:cubicBezTo>
                  <a:pt x="213" y="8"/>
                  <a:pt x="7" y="214"/>
                  <a:pt x="0" y="469"/>
                </a:cubicBezTo>
                <a:cubicBezTo>
                  <a:pt x="47" y="468"/>
                  <a:pt x="47" y="468"/>
                  <a:pt x="47" y="468"/>
                </a:cubicBezTo>
                <a:cubicBezTo>
                  <a:pt x="52" y="468"/>
                  <a:pt x="59" y="465"/>
                  <a:pt x="62" y="460"/>
                </a:cubicBezTo>
                <a:cubicBezTo>
                  <a:pt x="66" y="454"/>
                  <a:pt x="64" y="447"/>
                  <a:pt x="61" y="443"/>
                </a:cubicBezTo>
                <a:cubicBezTo>
                  <a:pt x="59" y="439"/>
                  <a:pt x="44" y="409"/>
                  <a:pt x="44" y="392"/>
                </a:cubicBezTo>
                <a:cubicBezTo>
                  <a:pt x="44" y="358"/>
                  <a:pt x="76" y="330"/>
                  <a:pt x="114" y="330"/>
                </a:cubicBezTo>
                <a:cubicBezTo>
                  <a:pt x="153" y="330"/>
                  <a:pt x="185" y="358"/>
                  <a:pt x="185" y="392"/>
                </a:cubicBezTo>
                <a:cubicBezTo>
                  <a:pt x="185" y="409"/>
                  <a:pt x="169" y="439"/>
                  <a:pt x="168" y="442"/>
                </a:cubicBezTo>
                <a:cubicBezTo>
                  <a:pt x="165" y="447"/>
                  <a:pt x="163" y="454"/>
                  <a:pt x="167" y="460"/>
                </a:cubicBezTo>
                <a:cubicBezTo>
                  <a:pt x="170" y="466"/>
                  <a:pt x="178" y="468"/>
                  <a:pt x="183" y="469"/>
                </a:cubicBezTo>
                <a:cubicBezTo>
                  <a:pt x="232" y="469"/>
                  <a:pt x="232" y="469"/>
                  <a:pt x="232" y="469"/>
                </a:cubicBezTo>
                <a:cubicBezTo>
                  <a:pt x="239" y="342"/>
                  <a:pt x="341" y="240"/>
                  <a:pt x="468" y="233"/>
                </a:cubicBezTo>
                <a:cubicBezTo>
                  <a:pt x="468" y="188"/>
                  <a:pt x="468" y="188"/>
                  <a:pt x="468" y="188"/>
                </a:cubicBezTo>
                <a:cubicBezTo>
                  <a:pt x="470" y="176"/>
                  <a:pt x="475" y="165"/>
                  <a:pt x="482" y="158"/>
                </a:cubicBezTo>
                <a:cubicBezTo>
                  <a:pt x="485" y="155"/>
                  <a:pt x="487" y="153"/>
                  <a:pt x="491" y="151"/>
                </a:cubicBezTo>
                <a:cubicBezTo>
                  <a:pt x="492" y="150"/>
                  <a:pt x="494" y="149"/>
                  <a:pt x="496" y="148"/>
                </a:cubicBezTo>
                <a:cubicBezTo>
                  <a:pt x="508" y="143"/>
                  <a:pt x="521" y="144"/>
                  <a:pt x="535" y="151"/>
                </a:cubicBezTo>
                <a:cubicBezTo>
                  <a:pt x="547" y="158"/>
                  <a:pt x="566" y="165"/>
                  <a:pt x="573" y="165"/>
                </a:cubicBezTo>
                <a:cubicBezTo>
                  <a:pt x="591" y="165"/>
                  <a:pt x="606" y="146"/>
                  <a:pt x="606" y="122"/>
                </a:cubicBezTo>
                <a:cubicBezTo>
                  <a:pt x="606" y="99"/>
                  <a:pt x="591" y="80"/>
                  <a:pt x="573" y="80"/>
                </a:cubicBezTo>
                <a:close/>
              </a:path>
            </a:pathLst>
          </a:custGeom>
          <a:gradFill flip="none" rotWithShape="1">
            <a:gsLst>
              <a:gs pos="73000">
                <a:schemeClr val="accent1"/>
              </a:gs>
              <a:gs pos="31000">
                <a:schemeClr val="accent1">
                  <a:lumMod val="60000"/>
                  <a:lumOff val="40000"/>
                </a:schemeClr>
              </a:gs>
              <a:gs pos="0">
                <a:schemeClr val="accent1">
                  <a:lumMod val="40000"/>
                  <a:lumOff val="60000"/>
                </a:schemeClr>
              </a:gs>
            </a:gsLst>
            <a:lin ang="108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88" name="Freeform 29">
            <a:extLst>
              <a:ext uri="{FF2B5EF4-FFF2-40B4-BE49-F238E27FC236}">
                <a16:creationId xmlns:a16="http://schemas.microsoft.com/office/drawing/2014/main" id="{71CEA265-9AA2-4F4E-AB50-03FA7233911C}"/>
              </a:ext>
            </a:extLst>
          </p:cNvPr>
          <p:cNvSpPr>
            <a:spLocks/>
          </p:cNvSpPr>
          <p:nvPr/>
        </p:nvSpPr>
        <p:spPr bwMode="auto">
          <a:xfrm>
            <a:off x="1359762" y="3541196"/>
            <a:ext cx="1906659" cy="2469991"/>
          </a:xfrm>
          <a:custGeom>
            <a:avLst/>
            <a:gdLst>
              <a:gd name="T0" fmla="*/ 392 w 468"/>
              <a:gd name="T1" fmla="*/ 420 h 606"/>
              <a:gd name="T2" fmla="*/ 442 w 468"/>
              <a:gd name="T3" fmla="*/ 437 h 606"/>
              <a:gd name="T4" fmla="*/ 460 w 468"/>
              <a:gd name="T5" fmla="*/ 438 h 606"/>
              <a:gd name="T6" fmla="*/ 468 w 468"/>
              <a:gd name="T7" fmla="*/ 422 h 606"/>
              <a:gd name="T8" fmla="*/ 468 w 468"/>
              <a:gd name="T9" fmla="*/ 374 h 606"/>
              <a:gd name="T10" fmla="*/ 232 w 468"/>
              <a:gd name="T11" fmla="*/ 138 h 606"/>
              <a:gd name="T12" fmla="*/ 180 w 468"/>
              <a:gd name="T13" fmla="*/ 138 h 606"/>
              <a:gd name="T14" fmla="*/ 143 w 468"/>
              <a:gd name="T15" fmla="*/ 116 h 606"/>
              <a:gd name="T16" fmla="*/ 140 w 468"/>
              <a:gd name="T17" fmla="*/ 111 h 606"/>
              <a:gd name="T18" fmla="*/ 143 w 468"/>
              <a:gd name="T19" fmla="*/ 72 h 606"/>
              <a:gd name="T20" fmla="*/ 157 w 468"/>
              <a:gd name="T21" fmla="*/ 34 h 606"/>
              <a:gd name="T22" fmla="*/ 114 w 468"/>
              <a:gd name="T23" fmla="*/ 0 h 606"/>
              <a:gd name="T24" fmla="*/ 72 w 468"/>
              <a:gd name="T25" fmla="*/ 34 h 606"/>
              <a:gd name="T26" fmla="*/ 86 w 468"/>
              <a:gd name="T27" fmla="*/ 72 h 606"/>
              <a:gd name="T28" fmla="*/ 89 w 468"/>
              <a:gd name="T29" fmla="*/ 111 h 606"/>
              <a:gd name="T30" fmla="*/ 86 w 468"/>
              <a:gd name="T31" fmla="*/ 116 h 606"/>
              <a:gd name="T32" fmla="*/ 50 w 468"/>
              <a:gd name="T33" fmla="*/ 138 h 606"/>
              <a:gd name="T34" fmla="*/ 49 w 468"/>
              <a:gd name="T35" fmla="*/ 138 h 606"/>
              <a:gd name="T36" fmla="*/ 43 w 468"/>
              <a:gd name="T37" fmla="*/ 138 h 606"/>
              <a:gd name="T38" fmla="*/ 42 w 468"/>
              <a:gd name="T39" fmla="*/ 138 h 606"/>
              <a:gd name="T40" fmla="*/ 39 w 468"/>
              <a:gd name="T41" fmla="*/ 138 h 606"/>
              <a:gd name="T42" fmla="*/ 0 w 468"/>
              <a:gd name="T43" fmla="*/ 138 h 606"/>
              <a:gd name="T44" fmla="*/ 468 w 468"/>
              <a:gd name="T45" fmla="*/ 606 h 606"/>
              <a:gd name="T46" fmla="*/ 468 w 468"/>
              <a:gd name="T47" fmla="*/ 558 h 606"/>
              <a:gd name="T48" fmla="*/ 460 w 468"/>
              <a:gd name="T49" fmla="*/ 543 h 606"/>
              <a:gd name="T50" fmla="*/ 442 w 468"/>
              <a:gd name="T51" fmla="*/ 544 h 606"/>
              <a:gd name="T52" fmla="*/ 392 w 468"/>
              <a:gd name="T53" fmla="*/ 561 h 606"/>
              <a:gd name="T54" fmla="*/ 330 w 468"/>
              <a:gd name="T55" fmla="*/ 490 h 606"/>
              <a:gd name="T56" fmla="*/ 392 w 468"/>
              <a:gd name="T57" fmla="*/ 420 h 6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68" h="606">
                <a:moveTo>
                  <a:pt x="392" y="420"/>
                </a:moveTo>
                <a:cubicBezTo>
                  <a:pt x="409" y="420"/>
                  <a:pt x="439" y="435"/>
                  <a:pt x="442" y="437"/>
                </a:cubicBezTo>
                <a:cubicBezTo>
                  <a:pt x="449" y="441"/>
                  <a:pt x="455" y="441"/>
                  <a:pt x="460" y="438"/>
                </a:cubicBezTo>
                <a:cubicBezTo>
                  <a:pt x="466" y="435"/>
                  <a:pt x="468" y="427"/>
                  <a:pt x="468" y="422"/>
                </a:cubicBezTo>
                <a:cubicBezTo>
                  <a:pt x="468" y="374"/>
                  <a:pt x="468" y="374"/>
                  <a:pt x="468" y="374"/>
                </a:cubicBezTo>
                <a:cubicBezTo>
                  <a:pt x="341" y="367"/>
                  <a:pt x="239" y="265"/>
                  <a:pt x="232" y="138"/>
                </a:cubicBezTo>
                <a:cubicBezTo>
                  <a:pt x="180" y="138"/>
                  <a:pt x="180" y="138"/>
                  <a:pt x="180" y="138"/>
                </a:cubicBezTo>
                <a:cubicBezTo>
                  <a:pt x="164" y="136"/>
                  <a:pt x="150" y="128"/>
                  <a:pt x="143" y="116"/>
                </a:cubicBezTo>
                <a:cubicBezTo>
                  <a:pt x="142" y="114"/>
                  <a:pt x="141" y="112"/>
                  <a:pt x="140" y="111"/>
                </a:cubicBezTo>
                <a:cubicBezTo>
                  <a:pt x="136" y="99"/>
                  <a:pt x="136" y="85"/>
                  <a:pt x="143" y="72"/>
                </a:cubicBezTo>
                <a:cubicBezTo>
                  <a:pt x="150" y="59"/>
                  <a:pt x="157" y="40"/>
                  <a:pt x="157" y="34"/>
                </a:cubicBezTo>
                <a:cubicBezTo>
                  <a:pt x="157" y="15"/>
                  <a:pt x="138" y="0"/>
                  <a:pt x="114" y="0"/>
                </a:cubicBezTo>
                <a:cubicBezTo>
                  <a:pt x="91" y="0"/>
                  <a:pt x="72" y="15"/>
                  <a:pt x="72" y="34"/>
                </a:cubicBezTo>
                <a:cubicBezTo>
                  <a:pt x="72" y="40"/>
                  <a:pt x="79" y="59"/>
                  <a:pt x="86" y="72"/>
                </a:cubicBezTo>
                <a:cubicBezTo>
                  <a:pt x="92" y="85"/>
                  <a:pt x="93" y="99"/>
                  <a:pt x="89" y="111"/>
                </a:cubicBezTo>
                <a:cubicBezTo>
                  <a:pt x="88" y="112"/>
                  <a:pt x="87" y="114"/>
                  <a:pt x="86" y="116"/>
                </a:cubicBezTo>
                <a:cubicBezTo>
                  <a:pt x="79" y="128"/>
                  <a:pt x="66" y="136"/>
                  <a:pt x="50" y="138"/>
                </a:cubicBezTo>
                <a:cubicBezTo>
                  <a:pt x="49" y="138"/>
                  <a:pt x="49" y="138"/>
                  <a:pt x="49" y="138"/>
                </a:cubicBezTo>
                <a:cubicBezTo>
                  <a:pt x="43" y="138"/>
                  <a:pt x="43" y="138"/>
                  <a:pt x="43" y="138"/>
                </a:cubicBezTo>
                <a:cubicBezTo>
                  <a:pt x="42" y="138"/>
                  <a:pt x="42" y="138"/>
                  <a:pt x="42" y="138"/>
                </a:cubicBezTo>
                <a:cubicBezTo>
                  <a:pt x="39" y="138"/>
                  <a:pt x="39" y="138"/>
                  <a:pt x="39" y="138"/>
                </a:cubicBezTo>
                <a:cubicBezTo>
                  <a:pt x="0" y="138"/>
                  <a:pt x="0" y="138"/>
                  <a:pt x="0" y="138"/>
                </a:cubicBezTo>
                <a:cubicBezTo>
                  <a:pt x="7" y="393"/>
                  <a:pt x="213" y="599"/>
                  <a:pt x="468" y="606"/>
                </a:cubicBezTo>
                <a:cubicBezTo>
                  <a:pt x="468" y="558"/>
                  <a:pt x="468" y="558"/>
                  <a:pt x="468" y="558"/>
                </a:cubicBezTo>
                <a:cubicBezTo>
                  <a:pt x="467" y="553"/>
                  <a:pt x="465" y="546"/>
                  <a:pt x="460" y="543"/>
                </a:cubicBezTo>
                <a:cubicBezTo>
                  <a:pt x="455" y="540"/>
                  <a:pt x="449" y="540"/>
                  <a:pt x="442" y="544"/>
                </a:cubicBezTo>
                <a:cubicBezTo>
                  <a:pt x="439" y="545"/>
                  <a:pt x="409" y="561"/>
                  <a:pt x="392" y="561"/>
                </a:cubicBezTo>
                <a:cubicBezTo>
                  <a:pt x="358" y="561"/>
                  <a:pt x="330" y="529"/>
                  <a:pt x="330" y="490"/>
                </a:cubicBezTo>
                <a:cubicBezTo>
                  <a:pt x="330" y="452"/>
                  <a:pt x="358" y="420"/>
                  <a:pt x="392" y="420"/>
                </a:cubicBezTo>
                <a:close/>
              </a:path>
            </a:pathLst>
          </a:custGeom>
          <a:gradFill flip="none" rotWithShape="1">
            <a:gsLst>
              <a:gs pos="73000">
                <a:schemeClr val="accent1"/>
              </a:gs>
              <a:gs pos="31000">
                <a:schemeClr val="accent1">
                  <a:lumMod val="60000"/>
                  <a:lumOff val="40000"/>
                </a:schemeClr>
              </a:gs>
              <a:gs pos="0">
                <a:schemeClr val="accent1">
                  <a:lumMod val="40000"/>
                  <a:lumOff val="60000"/>
                </a:schemeClr>
              </a:gs>
            </a:gsLst>
            <a:lin ang="54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89" name="Freeform 106">
            <a:extLst>
              <a:ext uri="{FF2B5EF4-FFF2-40B4-BE49-F238E27FC236}">
                <a16:creationId xmlns:a16="http://schemas.microsoft.com/office/drawing/2014/main" id="{9A0C606D-F3E0-4B3B-A031-F2BA43158B78}"/>
              </a:ext>
            </a:extLst>
          </p:cNvPr>
          <p:cNvSpPr>
            <a:spLocks noEditPoints="1"/>
          </p:cNvSpPr>
          <p:nvPr/>
        </p:nvSpPr>
        <p:spPr bwMode="auto">
          <a:xfrm>
            <a:off x="4241926" y="2932608"/>
            <a:ext cx="441178" cy="426472"/>
          </a:xfrm>
          <a:custGeom>
            <a:avLst/>
            <a:gdLst>
              <a:gd name="T0" fmla="*/ 597 w 631"/>
              <a:gd name="T1" fmla="*/ 0 h 605"/>
              <a:gd name="T2" fmla="*/ 34 w 631"/>
              <a:gd name="T3" fmla="*/ 0 h 605"/>
              <a:gd name="T4" fmla="*/ 0 w 631"/>
              <a:gd name="T5" fmla="*/ 37 h 605"/>
              <a:gd name="T6" fmla="*/ 0 w 631"/>
              <a:gd name="T7" fmla="*/ 417 h 605"/>
              <a:gd name="T8" fmla="*/ 34 w 631"/>
              <a:gd name="T9" fmla="*/ 454 h 605"/>
              <a:gd name="T10" fmla="*/ 597 w 631"/>
              <a:gd name="T11" fmla="*/ 454 h 605"/>
              <a:gd name="T12" fmla="*/ 631 w 631"/>
              <a:gd name="T13" fmla="*/ 417 h 605"/>
              <a:gd name="T14" fmla="*/ 631 w 631"/>
              <a:gd name="T15" fmla="*/ 37 h 605"/>
              <a:gd name="T16" fmla="*/ 597 w 631"/>
              <a:gd name="T17" fmla="*/ 0 h 605"/>
              <a:gd name="T18" fmla="*/ 454 w 631"/>
              <a:gd name="T19" fmla="*/ 565 h 605"/>
              <a:gd name="T20" fmla="*/ 414 w 631"/>
              <a:gd name="T21" fmla="*/ 565 h 605"/>
              <a:gd name="T22" fmla="*/ 375 w 631"/>
              <a:gd name="T23" fmla="*/ 526 h 605"/>
              <a:gd name="T24" fmla="*/ 375 w 631"/>
              <a:gd name="T25" fmla="*/ 466 h 605"/>
              <a:gd name="T26" fmla="*/ 256 w 631"/>
              <a:gd name="T27" fmla="*/ 466 h 605"/>
              <a:gd name="T28" fmla="*/ 256 w 631"/>
              <a:gd name="T29" fmla="*/ 526 h 605"/>
              <a:gd name="T30" fmla="*/ 217 w 631"/>
              <a:gd name="T31" fmla="*/ 565 h 605"/>
              <a:gd name="T32" fmla="*/ 177 w 631"/>
              <a:gd name="T33" fmla="*/ 565 h 605"/>
              <a:gd name="T34" fmla="*/ 158 w 631"/>
              <a:gd name="T35" fmla="*/ 585 h 605"/>
              <a:gd name="T36" fmla="*/ 177 w 631"/>
              <a:gd name="T37" fmla="*/ 605 h 605"/>
              <a:gd name="T38" fmla="*/ 454 w 631"/>
              <a:gd name="T39" fmla="*/ 605 h 605"/>
              <a:gd name="T40" fmla="*/ 473 w 631"/>
              <a:gd name="T41" fmla="*/ 585 h 605"/>
              <a:gd name="T42" fmla="*/ 454 w 631"/>
              <a:gd name="T43" fmla="*/ 565 h 605"/>
              <a:gd name="T44" fmla="*/ 592 w 631"/>
              <a:gd name="T45" fmla="*/ 414 h 605"/>
              <a:gd name="T46" fmla="*/ 39 w 631"/>
              <a:gd name="T47" fmla="*/ 414 h 605"/>
              <a:gd name="T48" fmla="*/ 39 w 631"/>
              <a:gd name="T49" fmla="*/ 39 h 605"/>
              <a:gd name="T50" fmla="*/ 592 w 631"/>
              <a:gd name="T51" fmla="*/ 39 h 605"/>
              <a:gd name="T52" fmla="*/ 592 w 631"/>
              <a:gd name="T53" fmla="*/ 414 h 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31" h="605">
                <a:moveTo>
                  <a:pt x="597" y="0"/>
                </a:moveTo>
                <a:lnTo>
                  <a:pt x="34" y="0"/>
                </a:lnTo>
                <a:cubicBezTo>
                  <a:pt x="15" y="0"/>
                  <a:pt x="0" y="16"/>
                  <a:pt x="0" y="37"/>
                </a:cubicBezTo>
                <a:lnTo>
                  <a:pt x="0" y="417"/>
                </a:lnTo>
                <a:cubicBezTo>
                  <a:pt x="0" y="437"/>
                  <a:pt x="15" y="454"/>
                  <a:pt x="34" y="454"/>
                </a:cubicBezTo>
                <a:lnTo>
                  <a:pt x="597" y="454"/>
                </a:lnTo>
                <a:cubicBezTo>
                  <a:pt x="616" y="454"/>
                  <a:pt x="631" y="437"/>
                  <a:pt x="631" y="417"/>
                </a:cubicBezTo>
                <a:lnTo>
                  <a:pt x="631" y="37"/>
                </a:lnTo>
                <a:cubicBezTo>
                  <a:pt x="631" y="16"/>
                  <a:pt x="616" y="0"/>
                  <a:pt x="597" y="0"/>
                </a:cubicBezTo>
                <a:close/>
                <a:moveTo>
                  <a:pt x="454" y="565"/>
                </a:moveTo>
                <a:lnTo>
                  <a:pt x="414" y="565"/>
                </a:lnTo>
                <a:cubicBezTo>
                  <a:pt x="392" y="565"/>
                  <a:pt x="375" y="548"/>
                  <a:pt x="375" y="526"/>
                </a:cubicBezTo>
                <a:lnTo>
                  <a:pt x="375" y="466"/>
                </a:lnTo>
                <a:lnTo>
                  <a:pt x="256" y="466"/>
                </a:lnTo>
                <a:lnTo>
                  <a:pt x="256" y="526"/>
                </a:lnTo>
                <a:cubicBezTo>
                  <a:pt x="256" y="548"/>
                  <a:pt x="239" y="565"/>
                  <a:pt x="217" y="565"/>
                </a:cubicBezTo>
                <a:lnTo>
                  <a:pt x="177" y="565"/>
                </a:lnTo>
                <a:cubicBezTo>
                  <a:pt x="166" y="565"/>
                  <a:pt x="158" y="574"/>
                  <a:pt x="158" y="585"/>
                </a:cubicBezTo>
                <a:cubicBezTo>
                  <a:pt x="158" y="596"/>
                  <a:pt x="166" y="605"/>
                  <a:pt x="177" y="605"/>
                </a:cubicBezTo>
                <a:lnTo>
                  <a:pt x="454" y="605"/>
                </a:lnTo>
                <a:cubicBezTo>
                  <a:pt x="465" y="605"/>
                  <a:pt x="473" y="596"/>
                  <a:pt x="473" y="585"/>
                </a:cubicBezTo>
                <a:cubicBezTo>
                  <a:pt x="473" y="574"/>
                  <a:pt x="465" y="565"/>
                  <a:pt x="454" y="565"/>
                </a:cubicBezTo>
                <a:close/>
                <a:moveTo>
                  <a:pt x="592" y="414"/>
                </a:moveTo>
                <a:lnTo>
                  <a:pt x="39" y="414"/>
                </a:lnTo>
                <a:lnTo>
                  <a:pt x="39" y="39"/>
                </a:lnTo>
                <a:lnTo>
                  <a:pt x="592" y="39"/>
                </a:lnTo>
                <a:lnTo>
                  <a:pt x="592" y="414"/>
                </a:lnTo>
                <a:close/>
              </a:path>
            </a:pathLst>
          </a:custGeom>
          <a:solidFill>
            <a:schemeClr val="bg1"/>
          </a:solidFill>
          <a:ln>
            <a:noFill/>
          </a:ln>
          <a:effectLst/>
        </p:spPr>
        <p:txBody>
          <a:bodyPr vert="horz" wrap="square" lIns="91299" tIns="45649" rIns="91299" bIns="4564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98" b="0" i="0" u="none" strike="noStrike" kern="1200" cap="none" spc="0" normalizeH="0" baseline="0" noProof="0">
              <a:ln>
                <a:noFill/>
              </a:ln>
              <a:solidFill>
                <a:srgbClr val="3F3F3F"/>
              </a:solidFill>
              <a:effectLst/>
              <a:uLnTx/>
              <a:uFillTx/>
              <a:latin typeface="HarmonyOS Sans SC"/>
              <a:cs typeface="+mn-cs"/>
            </a:endParaRPr>
          </a:p>
        </p:txBody>
      </p:sp>
      <p:sp>
        <p:nvSpPr>
          <p:cNvPr id="90" name="Freeform 107">
            <a:extLst>
              <a:ext uri="{FF2B5EF4-FFF2-40B4-BE49-F238E27FC236}">
                <a16:creationId xmlns:a16="http://schemas.microsoft.com/office/drawing/2014/main" id="{22B5CFEF-B9AD-49C8-9724-CF89184A6325}"/>
              </a:ext>
            </a:extLst>
          </p:cNvPr>
          <p:cNvSpPr>
            <a:spLocks noEditPoints="1"/>
          </p:cNvSpPr>
          <p:nvPr/>
        </p:nvSpPr>
        <p:spPr bwMode="auto">
          <a:xfrm>
            <a:off x="1864445" y="4532834"/>
            <a:ext cx="541352" cy="657352"/>
          </a:xfrm>
          <a:custGeom>
            <a:avLst/>
            <a:gdLst>
              <a:gd name="T0" fmla="*/ 387 w 739"/>
              <a:gd name="T1" fmla="*/ 543 h 891"/>
              <a:gd name="T2" fmla="*/ 420 w 739"/>
              <a:gd name="T3" fmla="*/ 525 h 891"/>
              <a:gd name="T4" fmla="*/ 353 w 739"/>
              <a:gd name="T5" fmla="*/ 464 h 891"/>
              <a:gd name="T6" fmla="*/ 352 w 739"/>
              <a:gd name="T7" fmla="*/ 445 h 891"/>
              <a:gd name="T8" fmla="*/ 339 w 739"/>
              <a:gd name="T9" fmla="*/ 443 h 891"/>
              <a:gd name="T10" fmla="*/ 342 w 739"/>
              <a:gd name="T11" fmla="*/ 457 h 891"/>
              <a:gd name="T12" fmla="*/ 357 w 739"/>
              <a:gd name="T13" fmla="*/ 500 h 891"/>
              <a:gd name="T14" fmla="*/ 334 w 739"/>
              <a:gd name="T15" fmla="*/ 521 h 891"/>
              <a:gd name="T16" fmla="*/ 295 w 739"/>
              <a:gd name="T17" fmla="*/ 506 h 891"/>
              <a:gd name="T18" fmla="*/ 287 w 739"/>
              <a:gd name="T19" fmla="*/ 450 h 891"/>
              <a:gd name="T20" fmla="*/ 304 w 739"/>
              <a:gd name="T21" fmla="*/ 479 h 891"/>
              <a:gd name="T22" fmla="*/ 318 w 739"/>
              <a:gd name="T23" fmla="*/ 498 h 891"/>
              <a:gd name="T24" fmla="*/ 328 w 739"/>
              <a:gd name="T25" fmla="*/ 488 h 891"/>
              <a:gd name="T26" fmla="*/ 310 w 739"/>
              <a:gd name="T27" fmla="*/ 444 h 891"/>
              <a:gd name="T28" fmla="*/ 330 w 739"/>
              <a:gd name="T29" fmla="*/ 418 h 891"/>
              <a:gd name="T30" fmla="*/ 367 w 739"/>
              <a:gd name="T31" fmla="*/ 434 h 891"/>
              <a:gd name="T32" fmla="*/ 375 w 739"/>
              <a:gd name="T33" fmla="*/ 483 h 891"/>
              <a:gd name="T34" fmla="*/ 406 w 739"/>
              <a:gd name="T35" fmla="*/ 615 h 891"/>
              <a:gd name="T36" fmla="*/ 392 w 739"/>
              <a:gd name="T37" fmla="*/ 577 h 891"/>
              <a:gd name="T38" fmla="*/ 353 w 739"/>
              <a:gd name="T39" fmla="*/ 561 h 891"/>
              <a:gd name="T40" fmla="*/ 426 w 739"/>
              <a:gd name="T41" fmla="*/ 496 h 891"/>
              <a:gd name="T42" fmla="*/ 504 w 739"/>
              <a:gd name="T43" fmla="*/ 574 h 891"/>
              <a:gd name="T44" fmla="*/ 485 w 739"/>
              <a:gd name="T45" fmla="*/ 660 h 891"/>
              <a:gd name="T46" fmla="*/ 413 w 739"/>
              <a:gd name="T47" fmla="*/ 622 h 891"/>
              <a:gd name="T48" fmla="*/ 504 w 739"/>
              <a:gd name="T49" fmla="*/ 574 h 891"/>
              <a:gd name="T50" fmla="*/ 590 w 739"/>
              <a:gd name="T51" fmla="*/ 689 h 891"/>
              <a:gd name="T52" fmla="*/ 543 w 739"/>
              <a:gd name="T53" fmla="*/ 664 h 891"/>
              <a:gd name="T54" fmla="*/ 562 w 739"/>
              <a:gd name="T55" fmla="*/ 712 h 891"/>
              <a:gd name="T56" fmla="*/ 515 w 739"/>
              <a:gd name="T57" fmla="*/ 692 h 891"/>
              <a:gd name="T58" fmla="*/ 536 w 739"/>
              <a:gd name="T59" fmla="*/ 745 h 891"/>
              <a:gd name="T60" fmla="*/ 547 w 739"/>
              <a:gd name="T61" fmla="*/ 617 h 891"/>
              <a:gd name="T62" fmla="*/ 206 w 739"/>
              <a:gd name="T63" fmla="*/ 333 h 891"/>
              <a:gd name="T64" fmla="*/ 204 w 739"/>
              <a:gd name="T65" fmla="*/ 396 h 891"/>
              <a:gd name="T66" fmla="*/ 247 w 739"/>
              <a:gd name="T67" fmla="*/ 387 h 891"/>
              <a:gd name="T68" fmla="*/ 262 w 739"/>
              <a:gd name="T69" fmla="*/ 343 h 891"/>
              <a:gd name="T70" fmla="*/ 262 w 739"/>
              <a:gd name="T71" fmla="*/ 414 h 891"/>
              <a:gd name="T72" fmla="*/ 191 w 739"/>
              <a:gd name="T73" fmla="*/ 414 h 891"/>
              <a:gd name="T74" fmla="*/ 206 w 739"/>
              <a:gd name="T75" fmla="*/ 333 h 891"/>
              <a:gd name="T76" fmla="*/ 243 w 739"/>
              <a:gd name="T77" fmla="*/ 175 h 891"/>
              <a:gd name="T78" fmla="*/ 99 w 739"/>
              <a:gd name="T79" fmla="*/ 0 h 891"/>
              <a:gd name="T80" fmla="*/ 65 w 739"/>
              <a:gd name="T81" fmla="*/ 348 h 891"/>
              <a:gd name="T82" fmla="*/ 110 w 739"/>
              <a:gd name="T83" fmla="*/ 346 h 891"/>
              <a:gd name="T84" fmla="*/ 54 w 739"/>
              <a:gd name="T85" fmla="*/ 169 h 891"/>
              <a:gd name="T86" fmla="*/ 100 w 739"/>
              <a:gd name="T87" fmla="*/ 50 h 891"/>
              <a:gd name="T88" fmla="*/ 173 w 739"/>
              <a:gd name="T89" fmla="*/ 122 h 891"/>
              <a:gd name="T90" fmla="*/ 208 w 739"/>
              <a:gd name="T91" fmla="*/ 268 h 891"/>
              <a:gd name="T92" fmla="*/ 96 w 739"/>
              <a:gd name="T93" fmla="*/ 521 h 891"/>
              <a:gd name="T94" fmla="*/ 739 w 739"/>
              <a:gd name="T95" fmla="*/ 619 h 891"/>
              <a:gd name="T96" fmla="*/ 256 w 739"/>
              <a:gd name="T97" fmla="*/ 262 h 8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39" h="891">
                <a:moveTo>
                  <a:pt x="420" y="525"/>
                </a:moveTo>
                <a:lnTo>
                  <a:pt x="387" y="543"/>
                </a:lnTo>
                <a:lnTo>
                  <a:pt x="402" y="558"/>
                </a:lnTo>
                <a:lnTo>
                  <a:pt x="420" y="525"/>
                </a:lnTo>
                <a:close/>
                <a:moveTo>
                  <a:pt x="375" y="483"/>
                </a:moveTo>
                <a:lnTo>
                  <a:pt x="353" y="464"/>
                </a:lnTo>
                <a:cubicBezTo>
                  <a:pt x="356" y="461"/>
                  <a:pt x="357" y="457"/>
                  <a:pt x="357" y="454"/>
                </a:cubicBezTo>
                <a:cubicBezTo>
                  <a:pt x="356" y="451"/>
                  <a:pt x="355" y="448"/>
                  <a:pt x="352" y="445"/>
                </a:cubicBezTo>
                <a:cubicBezTo>
                  <a:pt x="349" y="442"/>
                  <a:pt x="347" y="441"/>
                  <a:pt x="344" y="441"/>
                </a:cubicBezTo>
                <a:cubicBezTo>
                  <a:pt x="342" y="441"/>
                  <a:pt x="340" y="441"/>
                  <a:pt x="339" y="443"/>
                </a:cubicBezTo>
                <a:cubicBezTo>
                  <a:pt x="338" y="444"/>
                  <a:pt x="337" y="445"/>
                  <a:pt x="337" y="447"/>
                </a:cubicBezTo>
                <a:cubicBezTo>
                  <a:pt x="337" y="449"/>
                  <a:pt x="339" y="452"/>
                  <a:pt x="342" y="457"/>
                </a:cubicBezTo>
                <a:cubicBezTo>
                  <a:pt x="349" y="468"/>
                  <a:pt x="354" y="477"/>
                  <a:pt x="356" y="483"/>
                </a:cubicBezTo>
                <a:cubicBezTo>
                  <a:pt x="358" y="489"/>
                  <a:pt x="358" y="495"/>
                  <a:pt x="357" y="500"/>
                </a:cubicBezTo>
                <a:cubicBezTo>
                  <a:pt x="356" y="505"/>
                  <a:pt x="353" y="509"/>
                  <a:pt x="350" y="513"/>
                </a:cubicBezTo>
                <a:cubicBezTo>
                  <a:pt x="345" y="517"/>
                  <a:pt x="340" y="520"/>
                  <a:pt x="334" y="521"/>
                </a:cubicBezTo>
                <a:cubicBezTo>
                  <a:pt x="327" y="523"/>
                  <a:pt x="321" y="522"/>
                  <a:pt x="315" y="520"/>
                </a:cubicBezTo>
                <a:cubicBezTo>
                  <a:pt x="308" y="517"/>
                  <a:pt x="302" y="513"/>
                  <a:pt x="295" y="506"/>
                </a:cubicBezTo>
                <a:cubicBezTo>
                  <a:pt x="283" y="494"/>
                  <a:pt x="277" y="484"/>
                  <a:pt x="277" y="475"/>
                </a:cubicBezTo>
                <a:cubicBezTo>
                  <a:pt x="277" y="465"/>
                  <a:pt x="281" y="457"/>
                  <a:pt x="287" y="450"/>
                </a:cubicBezTo>
                <a:lnTo>
                  <a:pt x="309" y="469"/>
                </a:lnTo>
                <a:cubicBezTo>
                  <a:pt x="306" y="472"/>
                  <a:pt x="304" y="476"/>
                  <a:pt x="304" y="479"/>
                </a:cubicBezTo>
                <a:cubicBezTo>
                  <a:pt x="303" y="484"/>
                  <a:pt x="305" y="489"/>
                  <a:pt x="309" y="493"/>
                </a:cubicBezTo>
                <a:cubicBezTo>
                  <a:pt x="312" y="496"/>
                  <a:pt x="315" y="497"/>
                  <a:pt x="318" y="498"/>
                </a:cubicBezTo>
                <a:cubicBezTo>
                  <a:pt x="321" y="498"/>
                  <a:pt x="324" y="497"/>
                  <a:pt x="326" y="495"/>
                </a:cubicBezTo>
                <a:cubicBezTo>
                  <a:pt x="328" y="493"/>
                  <a:pt x="328" y="491"/>
                  <a:pt x="328" y="488"/>
                </a:cubicBezTo>
                <a:cubicBezTo>
                  <a:pt x="328" y="485"/>
                  <a:pt x="326" y="480"/>
                  <a:pt x="321" y="473"/>
                </a:cubicBezTo>
                <a:cubicBezTo>
                  <a:pt x="314" y="461"/>
                  <a:pt x="310" y="452"/>
                  <a:pt x="310" y="444"/>
                </a:cubicBezTo>
                <a:cubicBezTo>
                  <a:pt x="309" y="437"/>
                  <a:pt x="311" y="430"/>
                  <a:pt x="317" y="425"/>
                </a:cubicBezTo>
                <a:cubicBezTo>
                  <a:pt x="320" y="421"/>
                  <a:pt x="325" y="419"/>
                  <a:pt x="330" y="418"/>
                </a:cubicBezTo>
                <a:cubicBezTo>
                  <a:pt x="335" y="417"/>
                  <a:pt x="341" y="417"/>
                  <a:pt x="347" y="420"/>
                </a:cubicBezTo>
                <a:cubicBezTo>
                  <a:pt x="353" y="422"/>
                  <a:pt x="359" y="427"/>
                  <a:pt x="367" y="434"/>
                </a:cubicBezTo>
                <a:cubicBezTo>
                  <a:pt x="376" y="443"/>
                  <a:pt x="381" y="451"/>
                  <a:pt x="382" y="459"/>
                </a:cubicBezTo>
                <a:cubicBezTo>
                  <a:pt x="383" y="467"/>
                  <a:pt x="381" y="475"/>
                  <a:pt x="375" y="483"/>
                </a:cubicBezTo>
                <a:close/>
                <a:moveTo>
                  <a:pt x="450" y="519"/>
                </a:moveTo>
                <a:lnTo>
                  <a:pt x="406" y="615"/>
                </a:lnTo>
                <a:lnTo>
                  <a:pt x="384" y="592"/>
                </a:lnTo>
                <a:lnTo>
                  <a:pt x="392" y="577"/>
                </a:lnTo>
                <a:lnTo>
                  <a:pt x="368" y="553"/>
                </a:lnTo>
                <a:lnTo>
                  <a:pt x="353" y="561"/>
                </a:lnTo>
                <a:lnTo>
                  <a:pt x="331" y="539"/>
                </a:lnTo>
                <a:lnTo>
                  <a:pt x="426" y="496"/>
                </a:lnTo>
                <a:lnTo>
                  <a:pt x="450" y="519"/>
                </a:lnTo>
                <a:close/>
                <a:moveTo>
                  <a:pt x="504" y="574"/>
                </a:moveTo>
                <a:lnTo>
                  <a:pt x="452" y="626"/>
                </a:lnTo>
                <a:lnTo>
                  <a:pt x="485" y="660"/>
                </a:lnTo>
                <a:lnTo>
                  <a:pt x="468" y="677"/>
                </a:lnTo>
                <a:lnTo>
                  <a:pt x="413" y="622"/>
                </a:lnTo>
                <a:lnTo>
                  <a:pt x="483" y="552"/>
                </a:lnTo>
                <a:lnTo>
                  <a:pt x="504" y="574"/>
                </a:lnTo>
                <a:close/>
                <a:moveTo>
                  <a:pt x="605" y="674"/>
                </a:moveTo>
                <a:lnTo>
                  <a:pt x="590" y="689"/>
                </a:lnTo>
                <a:lnTo>
                  <a:pt x="554" y="653"/>
                </a:lnTo>
                <a:lnTo>
                  <a:pt x="543" y="664"/>
                </a:lnTo>
                <a:lnTo>
                  <a:pt x="576" y="698"/>
                </a:lnTo>
                <a:lnTo>
                  <a:pt x="562" y="712"/>
                </a:lnTo>
                <a:lnTo>
                  <a:pt x="529" y="678"/>
                </a:lnTo>
                <a:lnTo>
                  <a:pt x="515" y="692"/>
                </a:lnTo>
                <a:lnTo>
                  <a:pt x="552" y="729"/>
                </a:lnTo>
                <a:lnTo>
                  <a:pt x="536" y="745"/>
                </a:lnTo>
                <a:lnTo>
                  <a:pt x="478" y="686"/>
                </a:lnTo>
                <a:lnTo>
                  <a:pt x="547" y="617"/>
                </a:lnTo>
                <a:lnTo>
                  <a:pt x="605" y="674"/>
                </a:lnTo>
                <a:close/>
                <a:moveTo>
                  <a:pt x="206" y="333"/>
                </a:moveTo>
                <a:cubicBezTo>
                  <a:pt x="204" y="347"/>
                  <a:pt x="202" y="361"/>
                  <a:pt x="199" y="375"/>
                </a:cubicBezTo>
                <a:cubicBezTo>
                  <a:pt x="198" y="383"/>
                  <a:pt x="199" y="390"/>
                  <a:pt x="204" y="396"/>
                </a:cubicBezTo>
                <a:cubicBezTo>
                  <a:pt x="209" y="402"/>
                  <a:pt x="217" y="406"/>
                  <a:pt x="225" y="406"/>
                </a:cubicBezTo>
                <a:cubicBezTo>
                  <a:pt x="236" y="406"/>
                  <a:pt x="245" y="399"/>
                  <a:pt x="247" y="387"/>
                </a:cubicBezTo>
                <a:cubicBezTo>
                  <a:pt x="251" y="371"/>
                  <a:pt x="253" y="354"/>
                  <a:pt x="255" y="337"/>
                </a:cubicBezTo>
                <a:cubicBezTo>
                  <a:pt x="257" y="339"/>
                  <a:pt x="260" y="341"/>
                  <a:pt x="262" y="343"/>
                </a:cubicBezTo>
                <a:cubicBezTo>
                  <a:pt x="271" y="353"/>
                  <a:pt x="277" y="365"/>
                  <a:pt x="277" y="379"/>
                </a:cubicBezTo>
                <a:cubicBezTo>
                  <a:pt x="277" y="392"/>
                  <a:pt x="271" y="405"/>
                  <a:pt x="262" y="414"/>
                </a:cubicBezTo>
                <a:cubicBezTo>
                  <a:pt x="252" y="424"/>
                  <a:pt x="240" y="429"/>
                  <a:pt x="226" y="429"/>
                </a:cubicBezTo>
                <a:cubicBezTo>
                  <a:pt x="213" y="429"/>
                  <a:pt x="200" y="424"/>
                  <a:pt x="191" y="414"/>
                </a:cubicBezTo>
                <a:cubicBezTo>
                  <a:pt x="171" y="395"/>
                  <a:pt x="171" y="363"/>
                  <a:pt x="191" y="343"/>
                </a:cubicBezTo>
                <a:cubicBezTo>
                  <a:pt x="195" y="339"/>
                  <a:pt x="200" y="335"/>
                  <a:pt x="206" y="333"/>
                </a:cubicBezTo>
                <a:close/>
                <a:moveTo>
                  <a:pt x="256" y="262"/>
                </a:moveTo>
                <a:cubicBezTo>
                  <a:pt x="255" y="233"/>
                  <a:pt x="250" y="204"/>
                  <a:pt x="243" y="175"/>
                </a:cubicBezTo>
                <a:cubicBezTo>
                  <a:pt x="219" y="74"/>
                  <a:pt x="179" y="18"/>
                  <a:pt x="122" y="3"/>
                </a:cubicBezTo>
                <a:cubicBezTo>
                  <a:pt x="114" y="1"/>
                  <a:pt x="106" y="0"/>
                  <a:pt x="99" y="0"/>
                </a:cubicBezTo>
                <a:cubicBezTo>
                  <a:pt x="38" y="0"/>
                  <a:pt x="7" y="71"/>
                  <a:pt x="4" y="137"/>
                </a:cubicBezTo>
                <a:cubicBezTo>
                  <a:pt x="0" y="210"/>
                  <a:pt x="22" y="285"/>
                  <a:pt x="65" y="348"/>
                </a:cubicBezTo>
                <a:cubicBezTo>
                  <a:pt x="70" y="355"/>
                  <a:pt x="77" y="359"/>
                  <a:pt x="86" y="359"/>
                </a:cubicBezTo>
                <a:cubicBezTo>
                  <a:pt x="96" y="359"/>
                  <a:pt x="105" y="354"/>
                  <a:pt x="110" y="346"/>
                </a:cubicBezTo>
                <a:cubicBezTo>
                  <a:pt x="114" y="338"/>
                  <a:pt x="113" y="330"/>
                  <a:pt x="108" y="323"/>
                </a:cubicBezTo>
                <a:cubicBezTo>
                  <a:pt x="76" y="276"/>
                  <a:pt x="58" y="224"/>
                  <a:pt x="54" y="169"/>
                </a:cubicBezTo>
                <a:cubicBezTo>
                  <a:pt x="52" y="142"/>
                  <a:pt x="54" y="85"/>
                  <a:pt x="76" y="61"/>
                </a:cubicBezTo>
                <a:cubicBezTo>
                  <a:pt x="83" y="53"/>
                  <a:pt x="91" y="50"/>
                  <a:pt x="100" y="50"/>
                </a:cubicBezTo>
                <a:cubicBezTo>
                  <a:pt x="106" y="50"/>
                  <a:pt x="113" y="51"/>
                  <a:pt x="120" y="54"/>
                </a:cubicBezTo>
                <a:cubicBezTo>
                  <a:pt x="146" y="65"/>
                  <a:pt x="160" y="92"/>
                  <a:pt x="173" y="122"/>
                </a:cubicBezTo>
                <a:cubicBezTo>
                  <a:pt x="184" y="146"/>
                  <a:pt x="193" y="173"/>
                  <a:pt x="200" y="206"/>
                </a:cubicBezTo>
                <a:cubicBezTo>
                  <a:pt x="204" y="226"/>
                  <a:pt x="207" y="247"/>
                  <a:pt x="208" y="268"/>
                </a:cubicBezTo>
                <a:lnTo>
                  <a:pt x="125" y="278"/>
                </a:lnTo>
                <a:lnTo>
                  <a:pt x="96" y="521"/>
                </a:lnTo>
                <a:lnTo>
                  <a:pt x="467" y="891"/>
                </a:lnTo>
                <a:lnTo>
                  <a:pt x="739" y="619"/>
                </a:lnTo>
                <a:lnTo>
                  <a:pt x="369" y="249"/>
                </a:lnTo>
                <a:lnTo>
                  <a:pt x="256" y="262"/>
                </a:lnTo>
                <a:close/>
              </a:path>
            </a:pathLst>
          </a:custGeom>
          <a:solidFill>
            <a:schemeClr val="bg1"/>
          </a:solidFill>
          <a:ln>
            <a:noFill/>
          </a:ln>
          <a:effectLst/>
        </p:spPr>
        <p:txBody>
          <a:bodyPr vert="horz" wrap="square" lIns="91299" tIns="45649" rIns="91299" bIns="4564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98" b="0" i="0" u="none" strike="noStrike" kern="1200" cap="none" spc="0" normalizeH="0" baseline="0" noProof="0">
              <a:ln>
                <a:noFill/>
              </a:ln>
              <a:solidFill>
                <a:srgbClr val="3F3F3F"/>
              </a:solidFill>
              <a:effectLst/>
              <a:uLnTx/>
              <a:uFillTx/>
              <a:latin typeface="HarmonyOS Sans SC"/>
              <a:cs typeface="+mn-cs"/>
            </a:endParaRPr>
          </a:p>
        </p:txBody>
      </p:sp>
      <p:sp>
        <p:nvSpPr>
          <p:cNvPr id="91" name="Freeform 108">
            <a:extLst>
              <a:ext uri="{FF2B5EF4-FFF2-40B4-BE49-F238E27FC236}">
                <a16:creationId xmlns:a16="http://schemas.microsoft.com/office/drawing/2014/main" id="{EA6AE6BE-696C-4038-9CC5-284A34A9D3D2}"/>
              </a:ext>
            </a:extLst>
          </p:cNvPr>
          <p:cNvSpPr>
            <a:spLocks noEditPoints="1"/>
          </p:cNvSpPr>
          <p:nvPr/>
        </p:nvSpPr>
        <p:spPr bwMode="auto">
          <a:xfrm>
            <a:off x="2171477" y="2697509"/>
            <a:ext cx="506240" cy="368174"/>
          </a:xfrm>
          <a:custGeom>
            <a:avLst/>
            <a:gdLst>
              <a:gd name="T0" fmla="*/ 241 w 805"/>
              <a:gd name="T1" fmla="*/ 415 h 588"/>
              <a:gd name="T2" fmla="*/ 277 w 805"/>
              <a:gd name="T3" fmla="*/ 415 h 588"/>
              <a:gd name="T4" fmla="*/ 476 w 805"/>
              <a:gd name="T5" fmla="*/ 109 h 588"/>
              <a:gd name="T6" fmla="*/ 37 w 805"/>
              <a:gd name="T7" fmla="*/ 376 h 588"/>
              <a:gd name="T8" fmla="*/ 476 w 805"/>
              <a:gd name="T9" fmla="*/ 376 h 588"/>
              <a:gd name="T10" fmla="*/ 288 w 805"/>
              <a:gd name="T11" fmla="*/ 415 h 588"/>
              <a:gd name="T12" fmla="*/ 229 w 805"/>
              <a:gd name="T13" fmla="*/ 415 h 588"/>
              <a:gd name="T14" fmla="*/ 288 w 805"/>
              <a:gd name="T15" fmla="*/ 415 h 588"/>
              <a:gd name="T16" fmla="*/ 513 w 805"/>
              <a:gd name="T17" fmla="*/ 423 h 588"/>
              <a:gd name="T18" fmla="*/ 308 w 805"/>
              <a:gd name="T19" fmla="*/ 458 h 588"/>
              <a:gd name="T20" fmla="*/ 360 w 805"/>
              <a:gd name="T21" fmla="*/ 561 h 588"/>
              <a:gd name="T22" fmla="*/ 205 w 805"/>
              <a:gd name="T23" fmla="*/ 561 h 588"/>
              <a:gd name="T24" fmla="*/ 153 w 805"/>
              <a:gd name="T25" fmla="*/ 527 h 588"/>
              <a:gd name="T26" fmla="*/ 34 w 805"/>
              <a:gd name="T27" fmla="*/ 458 h 588"/>
              <a:gd name="T28" fmla="*/ 0 w 805"/>
              <a:gd name="T29" fmla="*/ 107 h 588"/>
              <a:gd name="T30" fmla="*/ 479 w 805"/>
              <a:gd name="T31" fmla="*/ 73 h 588"/>
              <a:gd name="T32" fmla="*/ 714 w 805"/>
              <a:gd name="T33" fmla="*/ 393 h 588"/>
              <a:gd name="T34" fmla="*/ 651 w 805"/>
              <a:gd name="T35" fmla="*/ 393 h 588"/>
              <a:gd name="T36" fmla="*/ 714 w 805"/>
              <a:gd name="T37" fmla="*/ 393 h 588"/>
              <a:gd name="T38" fmla="*/ 682 w 805"/>
              <a:gd name="T39" fmla="*/ 442 h 588"/>
              <a:gd name="T40" fmla="*/ 682 w 805"/>
              <a:gd name="T41" fmla="*/ 344 h 588"/>
              <a:gd name="T42" fmla="*/ 756 w 805"/>
              <a:gd name="T43" fmla="*/ 218 h 588"/>
              <a:gd name="T44" fmla="*/ 603 w 805"/>
              <a:gd name="T45" fmla="*/ 241 h 588"/>
              <a:gd name="T46" fmla="*/ 756 w 805"/>
              <a:gd name="T47" fmla="*/ 218 h 588"/>
              <a:gd name="T48" fmla="*/ 585 w 805"/>
              <a:gd name="T49" fmla="*/ 31 h 588"/>
              <a:gd name="T50" fmla="*/ 774 w 805"/>
              <a:gd name="T51" fmla="*/ 558 h 588"/>
              <a:gd name="T52" fmla="*/ 805 w 805"/>
              <a:gd name="T53" fmla="*/ 16 h 588"/>
              <a:gd name="T54" fmla="*/ 790 w 805"/>
              <a:gd name="T55" fmla="*/ 588 h 588"/>
              <a:gd name="T56" fmla="*/ 555 w 805"/>
              <a:gd name="T57" fmla="*/ 573 h 588"/>
              <a:gd name="T58" fmla="*/ 570 w 805"/>
              <a:gd name="T59" fmla="*/ 0 h 588"/>
              <a:gd name="T60" fmla="*/ 805 w 805"/>
              <a:gd name="T61" fmla="*/ 16 h 588"/>
              <a:gd name="T62" fmla="*/ 603 w 805"/>
              <a:gd name="T63" fmla="*/ 71 h 588"/>
              <a:gd name="T64" fmla="*/ 756 w 805"/>
              <a:gd name="T65" fmla="*/ 123 h 588"/>
              <a:gd name="T66" fmla="*/ 756 w 805"/>
              <a:gd name="T67" fmla="*/ 179 h 588"/>
              <a:gd name="T68" fmla="*/ 603 w 805"/>
              <a:gd name="T69" fmla="*/ 202 h 588"/>
              <a:gd name="T70" fmla="*/ 756 w 805"/>
              <a:gd name="T71" fmla="*/ 179 h 588"/>
              <a:gd name="T72" fmla="*/ 603 w 805"/>
              <a:gd name="T73" fmla="*/ 163 h 588"/>
              <a:gd name="T74" fmla="*/ 756 w 805"/>
              <a:gd name="T75" fmla="*/ 140 h 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05" h="588">
                <a:moveTo>
                  <a:pt x="259" y="397"/>
                </a:moveTo>
                <a:cubicBezTo>
                  <a:pt x="249" y="397"/>
                  <a:pt x="241" y="405"/>
                  <a:pt x="241" y="415"/>
                </a:cubicBezTo>
                <a:cubicBezTo>
                  <a:pt x="241" y="425"/>
                  <a:pt x="249" y="434"/>
                  <a:pt x="259" y="434"/>
                </a:cubicBezTo>
                <a:cubicBezTo>
                  <a:pt x="269" y="434"/>
                  <a:pt x="277" y="425"/>
                  <a:pt x="277" y="415"/>
                </a:cubicBezTo>
                <a:cubicBezTo>
                  <a:pt x="277" y="405"/>
                  <a:pt x="269" y="397"/>
                  <a:pt x="259" y="397"/>
                </a:cubicBezTo>
                <a:close/>
                <a:moveTo>
                  <a:pt x="476" y="109"/>
                </a:moveTo>
                <a:lnTo>
                  <a:pt x="37" y="109"/>
                </a:lnTo>
                <a:lnTo>
                  <a:pt x="37" y="376"/>
                </a:lnTo>
                <a:lnTo>
                  <a:pt x="476" y="376"/>
                </a:lnTo>
                <a:lnTo>
                  <a:pt x="476" y="376"/>
                </a:lnTo>
                <a:lnTo>
                  <a:pt x="476" y="109"/>
                </a:lnTo>
                <a:close/>
                <a:moveTo>
                  <a:pt x="288" y="415"/>
                </a:moveTo>
                <a:cubicBezTo>
                  <a:pt x="288" y="399"/>
                  <a:pt x="275" y="386"/>
                  <a:pt x="259" y="386"/>
                </a:cubicBezTo>
                <a:cubicBezTo>
                  <a:pt x="242" y="386"/>
                  <a:pt x="229" y="399"/>
                  <a:pt x="229" y="415"/>
                </a:cubicBezTo>
                <a:cubicBezTo>
                  <a:pt x="229" y="432"/>
                  <a:pt x="242" y="445"/>
                  <a:pt x="259" y="445"/>
                </a:cubicBezTo>
                <a:cubicBezTo>
                  <a:pt x="275" y="445"/>
                  <a:pt x="288" y="432"/>
                  <a:pt x="288" y="415"/>
                </a:cubicBezTo>
                <a:close/>
                <a:moveTo>
                  <a:pt x="513" y="107"/>
                </a:moveTo>
                <a:lnTo>
                  <a:pt x="513" y="423"/>
                </a:lnTo>
                <a:cubicBezTo>
                  <a:pt x="513" y="442"/>
                  <a:pt x="498" y="458"/>
                  <a:pt x="479" y="458"/>
                </a:cubicBezTo>
                <a:lnTo>
                  <a:pt x="308" y="458"/>
                </a:lnTo>
                <a:cubicBezTo>
                  <a:pt x="308" y="458"/>
                  <a:pt x="298" y="527"/>
                  <a:pt x="360" y="527"/>
                </a:cubicBezTo>
                <a:lnTo>
                  <a:pt x="360" y="561"/>
                </a:lnTo>
                <a:lnTo>
                  <a:pt x="308" y="561"/>
                </a:lnTo>
                <a:lnTo>
                  <a:pt x="205" y="561"/>
                </a:lnTo>
                <a:lnTo>
                  <a:pt x="153" y="561"/>
                </a:lnTo>
                <a:lnTo>
                  <a:pt x="153" y="527"/>
                </a:lnTo>
                <a:cubicBezTo>
                  <a:pt x="212" y="527"/>
                  <a:pt x="205" y="458"/>
                  <a:pt x="205" y="458"/>
                </a:cubicBezTo>
                <a:lnTo>
                  <a:pt x="34" y="458"/>
                </a:lnTo>
                <a:cubicBezTo>
                  <a:pt x="15" y="458"/>
                  <a:pt x="0" y="442"/>
                  <a:pt x="0" y="423"/>
                </a:cubicBezTo>
                <a:lnTo>
                  <a:pt x="0" y="107"/>
                </a:lnTo>
                <a:cubicBezTo>
                  <a:pt x="0" y="88"/>
                  <a:pt x="15" y="73"/>
                  <a:pt x="34" y="73"/>
                </a:cubicBezTo>
                <a:lnTo>
                  <a:pt x="479" y="73"/>
                </a:lnTo>
                <a:cubicBezTo>
                  <a:pt x="498" y="73"/>
                  <a:pt x="513" y="88"/>
                  <a:pt x="513" y="107"/>
                </a:cubicBezTo>
                <a:close/>
                <a:moveTo>
                  <a:pt x="714" y="393"/>
                </a:moveTo>
                <a:cubicBezTo>
                  <a:pt x="714" y="376"/>
                  <a:pt x="699" y="362"/>
                  <a:pt x="682" y="362"/>
                </a:cubicBezTo>
                <a:cubicBezTo>
                  <a:pt x="665" y="362"/>
                  <a:pt x="651" y="376"/>
                  <a:pt x="651" y="393"/>
                </a:cubicBezTo>
                <a:cubicBezTo>
                  <a:pt x="651" y="411"/>
                  <a:pt x="665" y="425"/>
                  <a:pt x="682" y="425"/>
                </a:cubicBezTo>
                <a:cubicBezTo>
                  <a:pt x="699" y="425"/>
                  <a:pt x="714" y="411"/>
                  <a:pt x="714" y="393"/>
                </a:cubicBezTo>
                <a:close/>
                <a:moveTo>
                  <a:pt x="731" y="393"/>
                </a:moveTo>
                <a:cubicBezTo>
                  <a:pt x="731" y="421"/>
                  <a:pt x="709" y="442"/>
                  <a:pt x="682" y="442"/>
                </a:cubicBezTo>
                <a:cubicBezTo>
                  <a:pt x="655" y="442"/>
                  <a:pt x="633" y="421"/>
                  <a:pt x="633" y="393"/>
                </a:cubicBezTo>
                <a:cubicBezTo>
                  <a:pt x="633" y="366"/>
                  <a:pt x="655" y="344"/>
                  <a:pt x="682" y="344"/>
                </a:cubicBezTo>
                <a:cubicBezTo>
                  <a:pt x="709" y="344"/>
                  <a:pt x="731" y="366"/>
                  <a:pt x="731" y="393"/>
                </a:cubicBezTo>
                <a:close/>
                <a:moveTo>
                  <a:pt x="756" y="218"/>
                </a:moveTo>
                <a:lnTo>
                  <a:pt x="603" y="218"/>
                </a:lnTo>
                <a:lnTo>
                  <a:pt x="603" y="241"/>
                </a:lnTo>
                <a:lnTo>
                  <a:pt x="756" y="241"/>
                </a:lnTo>
                <a:lnTo>
                  <a:pt x="756" y="218"/>
                </a:lnTo>
                <a:close/>
                <a:moveTo>
                  <a:pt x="774" y="31"/>
                </a:moveTo>
                <a:lnTo>
                  <a:pt x="585" y="31"/>
                </a:lnTo>
                <a:lnTo>
                  <a:pt x="585" y="558"/>
                </a:lnTo>
                <a:lnTo>
                  <a:pt x="774" y="558"/>
                </a:lnTo>
                <a:lnTo>
                  <a:pt x="774" y="31"/>
                </a:lnTo>
                <a:close/>
                <a:moveTo>
                  <a:pt x="805" y="16"/>
                </a:moveTo>
                <a:lnTo>
                  <a:pt x="805" y="573"/>
                </a:lnTo>
                <a:cubicBezTo>
                  <a:pt x="805" y="581"/>
                  <a:pt x="798" y="588"/>
                  <a:pt x="790" y="588"/>
                </a:cubicBezTo>
                <a:lnTo>
                  <a:pt x="570" y="588"/>
                </a:lnTo>
                <a:cubicBezTo>
                  <a:pt x="561" y="588"/>
                  <a:pt x="555" y="581"/>
                  <a:pt x="555" y="573"/>
                </a:cubicBezTo>
                <a:lnTo>
                  <a:pt x="555" y="16"/>
                </a:lnTo>
                <a:cubicBezTo>
                  <a:pt x="555" y="7"/>
                  <a:pt x="561" y="0"/>
                  <a:pt x="570" y="0"/>
                </a:cubicBezTo>
                <a:lnTo>
                  <a:pt x="790" y="0"/>
                </a:lnTo>
                <a:cubicBezTo>
                  <a:pt x="798" y="0"/>
                  <a:pt x="805" y="7"/>
                  <a:pt x="805" y="16"/>
                </a:cubicBezTo>
                <a:close/>
                <a:moveTo>
                  <a:pt x="756" y="71"/>
                </a:moveTo>
                <a:lnTo>
                  <a:pt x="603" y="71"/>
                </a:lnTo>
                <a:lnTo>
                  <a:pt x="603" y="123"/>
                </a:lnTo>
                <a:lnTo>
                  <a:pt x="756" y="123"/>
                </a:lnTo>
                <a:lnTo>
                  <a:pt x="756" y="71"/>
                </a:lnTo>
                <a:close/>
                <a:moveTo>
                  <a:pt x="756" y="179"/>
                </a:moveTo>
                <a:lnTo>
                  <a:pt x="603" y="179"/>
                </a:lnTo>
                <a:lnTo>
                  <a:pt x="603" y="202"/>
                </a:lnTo>
                <a:lnTo>
                  <a:pt x="756" y="202"/>
                </a:lnTo>
                <a:lnTo>
                  <a:pt x="756" y="179"/>
                </a:lnTo>
                <a:close/>
                <a:moveTo>
                  <a:pt x="756" y="163"/>
                </a:moveTo>
                <a:lnTo>
                  <a:pt x="603" y="163"/>
                </a:lnTo>
                <a:lnTo>
                  <a:pt x="603" y="140"/>
                </a:lnTo>
                <a:lnTo>
                  <a:pt x="756" y="140"/>
                </a:lnTo>
                <a:lnTo>
                  <a:pt x="756" y="163"/>
                </a:lnTo>
                <a:close/>
              </a:path>
            </a:pathLst>
          </a:custGeom>
          <a:solidFill>
            <a:schemeClr val="bg1"/>
          </a:solidFill>
          <a:ln>
            <a:noFill/>
          </a:ln>
          <a:effectLst/>
        </p:spPr>
        <p:txBody>
          <a:bodyPr vert="horz" wrap="square" lIns="91299" tIns="45649" rIns="91299" bIns="4564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98" b="0" i="0" u="none" strike="noStrike" kern="1200" cap="none" spc="0" normalizeH="0" baseline="0" noProof="0">
              <a:ln>
                <a:noFill/>
              </a:ln>
              <a:solidFill>
                <a:srgbClr val="3F3F3F"/>
              </a:solidFill>
              <a:effectLst/>
              <a:uLnTx/>
              <a:uFillTx/>
              <a:latin typeface="HarmonyOS Sans SC"/>
              <a:cs typeface="+mn-cs"/>
            </a:endParaRPr>
          </a:p>
        </p:txBody>
      </p:sp>
      <p:sp>
        <p:nvSpPr>
          <p:cNvPr id="92" name="Freeform 109">
            <a:extLst>
              <a:ext uri="{FF2B5EF4-FFF2-40B4-BE49-F238E27FC236}">
                <a16:creationId xmlns:a16="http://schemas.microsoft.com/office/drawing/2014/main" id="{84749D7C-B693-4EDA-BD36-F7A664B733F9}"/>
              </a:ext>
            </a:extLst>
          </p:cNvPr>
          <p:cNvSpPr>
            <a:spLocks/>
          </p:cNvSpPr>
          <p:nvPr/>
        </p:nvSpPr>
        <p:spPr bwMode="auto">
          <a:xfrm>
            <a:off x="3984720" y="4926231"/>
            <a:ext cx="534166" cy="548870"/>
          </a:xfrm>
          <a:custGeom>
            <a:avLst/>
            <a:gdLst>
              <a:gd name="T0" fmla="*/ 453 w 571"/>
              <a:gd name="T1" fmla="*/ 150 h 587"/>
              <a:gd name="T2" fmla="*/ 485 w 571"/>
              <a:gd name="T3" fmla="*/ 144 h 587"/>
              <a:gd name="T4" fmla="*/ 487 w 571"/>
              <a:gd name="T5" fmla="*/ 142 h 587"/>
              <a:gd name="T6" fmla="*/ 518 w 571"/>
              <a:gd name="T7" fmla="*/ 98 h 587"/>
              <a:gd name="T8" fmla="*/ 562 w 571"/>
              <a:gd name="T9" fmla="*/ 67 h 587"/>
              <a:gd name="T10" fmla="*/ 568 w 571"/>
              <a:gd name="T11" fmla="*/ 61 h 587"/>
              <a:gd name="T12" fmla="*/ 563 w 571"/>
              <a:gd name="T13" fmla="*/ 44 h 587"/>
              <a:gd name="T14" fmla="*/ 528 w 571"/>
              <a:gd name="T15" fmla="*/ 9 h 587"/>
              <a:gd name="T16" fmla="*/ 511 w 571"/>
              <a:gd name="T17" fmla="*/ 4 h 587"/>
              <a:gd name="T18" fmla="*/ 505 w 571"/>
              <a:gd name="T19" fmla="*/ 10 h 587"/>
              <a:gd name="T20" fmla="*/ 474 w 571"/>
              <a:gd name="T21" fmla="*/ 54 h 587"/>
              <a:gd name="T22" fmla="*/ 430 w 571"/>
              <a:gd name="T23" fmla="*/ 85 h 587"/>
              <a:gd name="T24" fmla="*/ 428 w 571"/>
              <a:gd name="T25" fmla="*/ 86 h 587"/>
              <a:gd name="T26" fmla="*/ 423 w 571"/>
              <a:gd name="T27" fmla="*/ 120 h 587"/>
              <a:gd name="T28" fmla="*/ 328 w 571"/>
              <a:gd name="T29" fmla="*/ 214 h 587"/>
              <a:gd name="T30" fmla="*/ 309 w 571"/>
              <a:gd name="T31" fmla="*/ 197 h 587"/>
              <a:gd name="T32" fmla="*/ 226 w 571"/>
              <a:gd name="T33" fmla="*/ 211 h 587"/>
              <a:gd name="T34" fmla="*/ 134 w 571"/>
              <a:gd name="T35" fmla="*/ 283 h 587"/>
              <a:gd name="T36" fmla="*/ 134 w 571"/>
              <a:gd name="T37" fmla="*/ 283 h 587"/>
              <a:gd name="T38" fmla="*/ 53 w 571"/>
              <a:gd name="T39" fmla="*/ 318 h 587"/>
              <a:gd name="T40" fmla="*/ 66 w 571"/>
              <a:gd name="T41" fmla="*/ 521 h 587"/>
              <a:gd name="T42" fmla="*/ 269 w 571"/>
              <a:gd name="T43" fmla="*/ 535 h 587"/>
              <a:gd name="T44" fmla="*/ 272 w 571"/>
              <a:gd name="T45" fmla="*/ 532 h 587"/>
              <a:gd name="T46" fmla="*/ 272 w 571"/>
              <a:gd name="T47" fmla="*/ 532 h 587"/>
              <a:gd name="T48" fmla="*/ 273 w 571"/>
              <a:gd name="T49" fmla="*/ 531 h 587"/>
              <a:gd name="T50" fmla="*/ 284 w 571"/>
              <a:gd name="T51" fmla="*/ 516 h 587"/>
              <a:gd name="T52" fmla="*/ 312 w 571"/>
              <a:gd name="T53" fmla="*/ 427 h 587"/>
              <a:gd name="T54" fmla="*/ 378 w 571"/>
              <a:gd name="T55" fmla="*/ 361 h 587"/>
              <a:gd name="T56" fmla="*/ 407 w 571"/>
              <a:gd name="T57" fmla="*/ 322 h 587"/>
              <a:gd name="T58" fmla="*/ 359 w 571"/>
              <a:gd name="T59" fmla="*/ 317 h 587"/>
              <a:gd name="T60" fmla="*/ 357 w 571"/>
              <a:gd name="T61" fmla="*/ 251 h 587"/>
              <a:gd name="T62" fmla="*/ 453 w 571"/>
              <a:gd name="T63" fmla="*/ 150 h 5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71" h="587">
                <a:moveTo>
                  <a:pt x="453" y="150"/>
                </a:moveTo>
                <a:cubicBezTo>
                  <a:pt x="463" y="141"/>
                  <a:pt x="476" y="139"/>
                  <a:pt x="485" y="144"/>
                </a:cubicBezTo>
                <a:lnTo>
                  <a:pt x="487" y="142"/>
                </a:lnTo>
                <a:cubicBezTo>
                  <a:pt x="493" y="128"/>
                  <a:pt x="503" y="112"/>
                  <a:pt x="518" y="98"/>
                </a:cubicBezTo>
                <a:cubicBezTo>
                  <a:pt x="532" y="83"/>
                  <a:pt x="548" y="73"/>
                  <a:pt x="562" y="67"/>
                </a:cubicBezTo>
                <a:cubicBezTo>
                  <a:pt x="562" y="67"/>
                  <a:pt x="565" y="64"/>
                  <a:pt x="568" y="61"/>
                </a:cubicBezTo>
                <a:cubicBezTo>
                  <a:pt x="571" y="58"/>
                  <a:pt x="569" y="50"/>
                  <a:pt x="563" y="44"/>
                </a:cubicBezTo>
                <a:lnTo>
                  <a:pt x="528" y="9"/>
                </a:lnTo>
                <a:cubicBezTo>
                  <a:pt x="522" y="3"/>
                  <a:pt x="514" y="0"/>
                  <a:pt x="511" y="4"/>
                </a:cubicBezTo>
                <a:lnTo>
                  <a:pt x="505" y="10"/>
                </a:lnTo>
                <a:cubicBezTo>
                  <a:pt x="499" y="24"/>
                  <a:pt x="489" y="40"/>
                  <a:pt x="474" y="54"/>
                </a:cubicBezTo>
                <a:cubicBezTo>
                  <a:pt x="460" y="69"/>
                  <a:pt x="444" y="79"/>
                  <a:pt x="430" y="85"/>
                </a:cubicBezTo>
                <a:lnTo>
                  <a:pt x="428" y="86"/>
                </a:lnTo>
                <a:cubicBezTo>
                  <a:pt x="434" y="96"/>
                  <a:pt x="433" y="110"/>
                  <a:pt x="423" y="120"/>
                </a:cubicBezTo>
                <a:lnTo>
                  <a:pt x="328" y="214"/>
                </a:lnTo>
                <a:cubicBezTo>
                  <a:pt x="324" y="214"/>
                  <a:pt x="318" y="211"/>
                  <a:pt x="309" y="197"/>
                </a:cubicBezTo>
                <a:cubicBezTo>
                  <a:pt x="293" y="173"/>
                  <a:pt x="256" y="159"/>
                  <a:pt x="226" y="211"/>
                </a:cubicBezTo>
                <a:cubicBezTo>
                  <a:pt x="195" y="264"/>
                  <a:pt x="221" y="273"/>
                  <a:pt x="134" y="283"/>
                </a:cubicBezTo>
                <a:lnTo>
                  <a:pt x="134" y="283"/>
                </a:lnTo>
                <a:cubicBezTo>
                  <a:pt x="104" y="284"/>
                  <a:pt x="75" y="296"/>
                  <a:pt x="53" y="318"/>
                </a:cubicBezTo>
                <a:cubicBezTo>
                  <a:pt x="0" y="371"/>
                  <a:pt x="6" y="461"/>
                  <a:pt x="66" y="521"/>
                </a:cubicBezTo>
                <a:cubicBezTo>
                  <a:pt x="126" y="581"/>
                  <a:pt x="217" y="587"/>
                  <a:pt x="269" y="535"/>
                </a:cubicBezTo>
                <a:cubicBezTo>
                  <a:pt x="270" y="534"/>
                  <a:pt x="271" y="533"/>
                  <a:pt x="272" y="532"/>
                </a:cubicBezTo>
                <a:lnTo>
                  <a:pt x="272" y="532"/>
                </a:lnTo>
                <a:cubicBezTo>
                  <a:pt x="272" y="532"/>
                  <a:pt x="272" y="531"/>
                  <a:pt x="273" y="531"/>
                </a:cubicBezTo>
                <a:cubicBezTo>
                  <a:pt x="277" y="526"/>
                  <a:pt x="281" y="521"/>
                  <a:pt x="284" y="516"/>
                </a:cubicBezTo>
                <a:cubicBezTo>
                  <a:pt x="297" y="497"/>
                  <a:pt x="317" y="463"/>
                  <a:pt x="312" y="427"/>
                </a:cubicBezTo>
                <a:cubicBezTo>
                  <a:pt x="306" y="372"/>
                  <a:pt x="357" y="375"/>
                  <a:pt x="378" y="361"/>
                </a:cubicBezTo>
                <a:cubicBezTo>
                  <a:pt x="399" y="348"/>
                  <a:pt x="406" y="336"/>
                  <a:pt x="407" y="322"/>
                </a:cubicBezTo>
                <a:cubicBezTo>
                  <a:pt x="407" y="322"/>
                  <a:pt x="382" y="340"/>
                  <a:pt x="359" y="317"/>
                </a:cubicBezTo>
                <a:cubicBezTo>
                  <a:pt x="340" y="299"/>
                  <a:pt x="349" y="267"/>
                  <a:pt x="357" y="251"/>
                </a:cubicBezTo>
                <a:lnTo>
                  <a:pt x="453" y="150"/>
                </a:lnTo>
                <a:close/>
              </a:path>
            </a:pathLst>
          </a:custGeom>
          <a:solidFill>
            <a:schemeClr val="bg1"/>
          </a:solidFill>
          <a:ln>
            <a:noFill/>
          </a:ln>
          <a:effectLst/>
        </p:spPr>
        <p:txBody>
          <a:bodyPr vert="horz" wrap="square" lIns="91299" tIns="45649" rIns="91299" bIns="4564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98" b="0" i="0" u="none" strike="noStrike" kern="1200" cap="none" spc="0" normalizeH="0" baseline="0" noProof="0">
              <a:ln>
                <a:noFill/>
              </a:ln>
              <a:solidFill>
                <a:srgbClr val="3F3F3F"/>
              </a:solidFill>
              <a:effectLst/>
              <a:uLnTx/>
              <a:uFillTx/>
              <a:latin typeface="HarmonyOS Sans SC"/>
              <a:cs typeface="+mn-cs"/>
            </a:endParaRPr>
          </a:p>
        </p:txBody>
      </p:sp>
      <p:sp>
        <p:nvSpPr>
          <p:cNvPr id="93" name="Oval 64">
            <a:extLst>
              <a:ext uri="{FF2B5EF4-FFF2-40B4-BE49-F238E27FC236}">
                <a16:creationId xmlns:a16="http://schemas.microsoft.com/office/drawing/2014/main" id="{0AF13615-AC5E-43E3-9632-6742A3DD5C6A}"/>
              </a:ext>
            </a:extLst>
          </p:cNvPr>
          <p:cNvSpPr/>
          <p:nvPr/>
        </p:nvSpPr>
        <p:spPr>
          <a:xfrm>
            <a:off x="6475822" y="1989239"/>
            <a:ext cx="790410" cy="790410"/>
          </a:xfrm>
          <a:prstGeom prst="ellipse">
            <a:avLst/>
          </a:prstGeom>
          <a:gradFill>
            <a:gsLst>
              <a:gs pos="73000">
                <a:schemeClr val="accent1"/>
              </a:gs>
              <a:gs pos="31000">
                <a:schemeClr val="accent1">
                  <a:lumMod val="60000"/>
                  <a:lumOff val="40000"/>
                </a:schemeClr>
              </a:gs>
              <a:gs pos="0">
                <a:schemeClr val="accent1">
                  <a:lumMod val="40000"/>
                  <a:lumOff val="60000"/>
                </a:schemeClr>
              </a:gs>
            </a:gsLst>
            <a:path path="circle">
              <a:fillToRect r="100000" b="100000"/>
            </a:path>
          </a:gradFill>
          <a:ln>
            <a:noFill/>
          </a:ln>
          <a:effectLst>
            <a:outerShdw blurRad="444500" dist="317500" dir="5400000" sx="92000" sy="92000" algn="t" rotWithShape="0">
              <a:schemeClr val="accent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94" name="TextBox 65">
            <a:extLst>
              <a:ext uri="{FF2B5EF4-FFF2-40B4-BE49-F238E27FC236}">
                <a16:creationId xmlns:a16="http://schemas.microsoft.com/office/drawing/2014/main" id="{D6A7DA42-C2D2-4192-B943-069000271A2E}"/>
              </a:ext>
            </a:extLst>
          </p:cNvPr>
          <p:cNvSpPr txBox="1"/>
          <p:nvPr/>
        </p:nvSpPr>
        <p:spPr>
          <a:xfrm>
            <a:off x="7476400" y="1972888"/>
            <a:ext cx="1749197"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HarmonyOS Sans SC Black"/>
                <a:ea typeface="+mj-ea"/>
                <a:cs typeface="+mn-cs"/>
              </a:rPr>
              <a:t>Insert title here</a:t>
            </a:r>
          </a:p>
        </p:txBody>
      </p:sp>
      <p:sp>
        <p:nvSpPr>
          <p:cNvPr id="95" name="TextBox 66">
            <a:extLst>
              <a:ext uri="{FF2B5EF4-FFF2-40B4-BE49-F238E27FC236}">
                <a16:creationId xmlns:a16="http://schemas.microsoft.com/office/drawing/2014/main" id="{2BC52D9C-635F-4786-B8C1-69FAF549FEAD}"/>
              </a:ext>
            </a:extLst>
          </p:cNvPr>
          <p:cNvSpPr txBox="1"/>
          <p:nvPr/>
        </p:nvSpPr>
        <p:spPr>
          <a:xfrm>
            <a:off x="7476401" y="2321273"/>
            <a:ext cx="3321540" cy="498598"/>
          </a:xfrm>
          <a:prstGeom prst="rect">
            <a:avLst/>
          </a:prstGeom>
          <a:noFill/>
        </p:spPr>
        <p:txBody>
          <a:bodyPr wrap="square" rtlCol="0">
            <a:sp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50000"/>
                    <a:lumOff val="50000"/>
                  </a:prstClr>
                </a:solidFill>
                <a:effectLst/>
                <a:uLnTx/>
                <a:uFillTx/>
                <a:latin typeface="HarmonyOS Sans SC"/>
                <a:cs typeface="+mn-cs"/>
              </a:rPr>
              <a:t>Sed ut perspiciatis unde omnis iste natus error voluptatem rem aperiam doloremque.</a:t>
            </a:r>
          </a:p>
        </p:txBody>
      </p:sp>
      <p:sp>
        <p:nvSpPr>
          <p:cNvPr id="96" name="Oval 67">
            <a:extLst>
              <a:ext uri="{FF2B5EF4-FFF2-40B4-BE49-F238E27FC236}">
                <a16:creationId xmlns:a16="http://schemas.microsoft.com/office/drawing/2014/main" id="{BAC63653-91A5-4D33-9808-2454CC0B7803}"/>
              </a:ext>
            </a:extLst>
          </p:cNvPr>
          <p:cNvSpPr/>
          <p:nvPr/>
        </p:nvSpPr>
        <p:spPr>
          <a:xfrm>
            <a:off x="6475822" y="3081785"/>
            <a:ext cx="790410" cy="790410"/>
          </a:xfrm>
          <a:prstGeom prst="ellipse">
            <a:avLst/>
          </a:prstGeom>
          <a:gradFill>
            <a:gsLst>
              <a:gs pos="73000">
                <a:schemeClr val="accent1"/>
              </a:gs>
              <a:gs pos="31000">
                <a:schemeClr val="accent1">
                  <a:lumMod val="60000"/>
                  <a:lumOff val="40000"/>
                </a:schemeClr>
              </a:gs>
              <a:gs pos="0">
                <a:schemeClr val="accent1">
                  <a:lumMod val="40000"/>
                  <a:lumOff val="60000"/>
                </a:schemeClr>
              </a:gs>
            </a:gsLst>
            <a:path path="circle">
              <a:fillToRect r="100000" b="100000"/>
            </a:path>
          </a:gradFill>
          <a:ln>
            <a:noFill/>
          </a:ln>
          <a:effectLst>
            <a:outerShdw blurRad="444500" dist="317500" dir="5400000" sx="92000" sy="92000" algn="t" rotWithShape="0">
              <a:schemeClr val="accent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97" name="TextBox 68">
            <a:extLst>
              <a:ext uri="{FF2B5EF4-FFF2-40B4-BE49-F238E27FC236}">
                <a16:creationId xmlns:a16="http://schemas.microsoft.com/office/drawing/2014/main" id="{208CA1B0-7B59-4220-9774-ED4A345B4BCC}"/>
              </a:ext>
            </a:extLst>
          </p:cNvPr>
          <p:cNvSpPr txBox="1"/>
          <p:nvPr/>
        </p:nvSpPr>
        <p:spPr>
          <a:xfrm>
            <a:off x="7476400" y="3065434"/>
            <a:ext cx="1749197"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HarmonyOS Sans SC Black"/>
                <a:ea typeface="+mj-ea"/>
                <a:cs typeface="+mn-cs"/>
              </a:rPr>
              <a:t>Insert title here</a:t>
            </a:r>
          </a:p>
        </p:txBody>
      </p:sp>
      <p:sp>
        <p:nvSpPr>
          <p:cNvPr id="98" name="TextBox 69">
            <a:extLst>
              <a:ext uri="{FF2B5EF4-FFF2-40B4-BE49-F238E27FC236}">
                <a16:creationId xmlns:a16="http://schemas.microsoft.com/office/drawing/2014/main" id="{1B4C893D-C552-4F58-B6FA-A15AB31D5C85}"/>
              </a:ext>
            </a:extLst>
          </p:cNvPr>
          <p:cNvSpPr txBox="1"/>
          <p:nvPr/>
        </p:nvSpPr>
        <p:spPr>
          <a:xfrm>
            <a:off x="7476401" y="3413819"/>
            <a:ext cx="3321540" cy="498598"/>
          </a:xfrm>
          <a:prstGeom prst="rect">
            <a:avLst/>
          </a:prstGeom>
          <a:noFill/>
        </p:spPr>
        <p:txBody>
          <a:bodyPr wrap="square" rtlCol="0">
            <a:sp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50000"/>
                    <a:lumOff val="50000"/>
                  </a:prstClr>
                </a:solidFill>
                <a:effectLst/>
                <a:uLnTx/>
                <a:uFillTx/>
                <a:latin typeface="HarmonyOS Sans SC"/>
                <a:cs typeface="+mn-cs"/>
              </a:rPr>
              <a:t>Sed ut perspiciatis unde omnis iste natus error voluptatem rem aperiam doloremque.</a:t>
            </a:r>
          </a:p>
        </p:txBody>
      </p:sp>
      <p:sp>
        <p:nvSpPr>
          <p:cNvPr id="99" name="Oval 70">
            <a:extLst>
              <a:ext uri="{FF2B5EF4-FFF2-40B4-BE49-F238E27FC236}">
                <a16:creationId xmlns:a16="http://schemas.microsoft.com/office/drawing/2014/main" id="{09A774A8-7F3D-4C25-AFA7-AD9050F8D09B}"/>
              </a:ext>
            </a:extLst>
          </p:cNvPr>
          <p:cNvSpPr/>
          <p:nvPr/>
        </p:nvSpPr>
        <p:spPr>
          <a:xfrm>
            <a:off x="6475822" y="4174331"/>
            <a:ext cx="790410" cy="790410"/>
          </a:xfrm>
          <a:prstGeom prst="ellipse">
            <a:avLst/>
          </a:prstGeom>
          <a:gradFill>
            <a:gsLst>
              <a:gs pos="73000">
                <a:schemeClr val="accent1"/>
              </a:gs>
              <a:gs pos="31000">
                <a:schemeClr val="accent1">
                  <a:lumMod val="60000"/>
                  <a:lumOff val="40000"/>
                </a:schemeClr>
              </a:gs>
              <a:gs pos="0">
                <a:schemeClr val="accent1">
                  <a:lumMod val="40000"/>
                  <a:lumOff val="60000"/>
                </a:schemeClr>
              </a:gs>
            </a:gsLst>
            <a:path path="circle">
              <a:fillToRect r="100000" b="100000"/>
            </a:path>
          </a:gradFill>
          <a:ln>
            <a:noFill/>
          </a:ln>
          <a:effectLst>
            <a:outerShdw blurRad="444500" dist="317500" dir="5400000" sx="92000" sy="92000" algn="t" rotWithShape="0">
              <a:schemeClr val="accent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100" name="TextBox 71">
            <a:extLst>
              <a:ext uri="{FF2B5EF4-FFF2-40B4-BE49-F238E27FC236}">
                <a16:creationId xmlns:a16="http://schemas.microsoft.com/office/drawing/2014/main" id="{6952C692-5EBB-4B81-A3DD-3F6552A632AC}"/>
              </a:ext>
            </a:extLst>
          </p:cNvPr>
          <p:cNvSpPr txBox="1"/>
          <p:nvPr/>
        </p:nvSpPr>
        <p:spPr>
          <a:xfrm>
            <a:off x="7476400" y="4157980"/>
            <a:ext cx="1749197"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HarmonyOS Sans SC Black"/>
                <a:ea typeface="+mj-ea"/>
                <a:cs typeface="+mn-cs"/>
              </a:rPr>
              <a:t>Insert title here</a:t>
            </a:r>
          </a:p>
        </p:txBody>
      </p:sp>
      <p:sp>
        <p:nvSpPr>
          <p:cNvPr id="101" name="TextBox 79">
            <a:extLst>
              <a:ext uri="{FF2B5EF4-FFF2-40B4-BE49-F238E27FC236}">
                <a16:creationId xmlns:a16="http://schemas.microsoft.com/office/drawing/2014/main" id="{DC8DD631-AF93-4420-BE56-F75D477B8113}"/>
              </a:ext>
            </a:extLst>
          </p:cNvPr>
          <p:cNvSpPr txBox="1"/>
          <p:nvPr/>
        </p:nvSpPr>
        <p:spPr>
          <a:xfrm>
            <a:off x="7476401" y="4506365"/>
            <a:ext cx="3321540" cy="498598"/>
          </a:xfrm>
          <a:prstGeom prst="rect">
            <a:avLst/>
          </a:prstGeom>
          <a:noFill/>
        </p:spPr>
        <p:txBody>
          <a:bodyPr wrap="square" rtlCol="0">
            <a:sp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50000"/>
                    <a:lumOff val="50000"/>
                  </a:prstClr>
                </a:solidFill>
                <a:effectLst/>
                <a:uLnTx/>
                <a:uFillTx/>
                <a:latin typeface="HarmonyOS Sans SC"/>
                <a:cs typeface="+mn-cs"/>
              </a:rPr>
              <a:t>Sed ut perspiciatis unde omnis iste natus error voluptatem rem aperiam doloremque.</a:t>
            </a:r>
          </a:p>
        </p:txBody>
      </p:sp>
      <p:sp>
        <p:nvSpPr>
          <p:cNvPr id="102" name="Oval 80">
            <a:extLst>
              <a:ext uri="{FF2B5EF4-FFF2-40B4-BE49-F238E27FC236}">
                <a16:creationId xmlns:a16="http://schemas.microsoft.com/office/drawing/2014/main" id="{AF3B1762-AA1A-4282-A606-723618DDAB8B}"/>
              </a:ext>
            </a:extLst>
          </p:cNvPr>
          <p:cNvSpPr/>
          <p:nvPr/>
        </p:nvSpPr>
        <p:spPr>
          <a:xfrm>
            <a:off x="6475822" y="5266876"/>
            <a:ext cx="790410" cy="790410"/>
          </a:xfrm>
          <a:prstGeom prst="ellipse">
            <a:avLst/>
          </a:prstGeom>
          <a:gradFill>
            <a:gsLst>
              <a:gs pos="73000">
                <a:schemeClr val="accent1"/>
              </a:gs>
              <a:gs pos="31000">
                <a:schemeClr val="accent1">
                  <a:lumMod val="60000"/>
                  <a:lumOff val="40000"/>
                </a:schemeClr>
              </a:gs>
              <a:gs pos="0">
                <a:schemeClr val="accent1">
                  <a:lumMod val="40000"/>
                  <a:lumOff val="60000"/>
                </a:schemeClr>
              </a:gs>
            </a:gsLst>
            <a:path path="circle">
              <a:fillToRect r="100000" b="100000"/>
            </a:path>
          </a:gradFill>
          <a:ln>
            <a:noFill/>
          </a:ln>
          <a:effectLst>
            <a:outerShdw blurRad="444500" dist="317500" dir="5400000" sx="92000" sy="92000" algn="t" rotWithShape="0">
              <a:schemeClr val="accent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103" name="TextBox 81">
            <a:extLst>
              <a:ext uri="{FF2B5EF4-FFF2-40B4-BE49-F238E27FC236}">
                <a16:creationId xmlns:a16="http://schemas.microsoft.com/office/drawing/2014/main" id="{38778160-8459-4DE0-81B7-038FEB4E45F6}"/>
              </a:ext>
            </a:extLst>
          </p:cNvPr>
          <p:cNvSpPr txBox="1"/>
          <p:nvPr/>
        </p:nvSpPr>
        <p:spPr>
          <a:xfrm>
            <a:off x="7476400" y="5250525"/>
            <a:ext cx="1749197"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HarmonyOS Sans SC Black"/>
                <a:ea typeface="+mj-ea"/>
                <a:cs typeface="+mn-cs"/>
              </a:rPr>
              <a:t>Insert title here</a:t>
            </a:r>
          </a:p>
        </p:txBody>
      </p:sp>
      <p:sp>
        <p:nvSpPr>
          <p:cNvPr id="104" name="TextBox 82">
            <a:extLst>
              <a:ext uri="{FF2B5EF4-FFF2-40B4-BE49-F238E27FC236}">
                <a16:creationId xmlns:a16="http://schemas.microsoft.com/office/drawing/2014/main" id="{6917418E-C3C9-4640-B241-1E5E552D7A60}"/>
              </a:ext>
            </a:extLst>
          </p:cNvPr>
          <p:cNvSpPr txBox="1"/>
          <p:nvPr/>
        </p:nvSpPr>
        <p:spPr>
          <a:xfrm>
            <a:off x="7476401" y="5598910"/>
            <a:ext cx="3321540" cy="498598"/>
          </a:xfrm>
          <a:prstGeom prst="rect">
            <a:avLst/>
          </a:prstGeom>
          <a:noFill/>
        </p:spPr>
        <p:txBody>
          <a:bodyPr wrap="square" rtlCol="0">
            <a:sp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50000"/>
                    <a:lumOff val="50000"/>
                  </a:prstClr>
                </a:solidFill>
                <a:effectLst/>
                <a:uLnTx/>
                <a:uFillTx/>
                <a:latin typeface="HarmonyOS Sans SC"/>
                <a:cs typeface="+mn-cs"/>
              </a:rPr>
              <a:t>Sed ut perspiciatis unde omnis iste natus error voluptatem rem aperiam doloremque.</a:t>
            </a:r>
          </a:p>
        </p:txBody>
      </p:sp>
      <p:sp>
        <p:nvSpPr>
          <p:cNvPr id="105" name="Freeform 1120">
            <a:extLst>
              <a:ext uri="{FF2B5EF4-FFF2-40B4-BE49-F238E27FC236}">
                <a16:creationId xmlns:a16="http://schemas.microsoft.com/office/drawing/2014/main" id="{D170D40D-F2BE-4362-92B4-C8ED4D7A3D54}"/>
              </a:ext>
            </a:extLst>
          </p:cNvPr>
          <p:cNvSpPr>
            <a:spLocks noEditPoints="1"/>
          </p:cNvSpPr>
          <p:nvPr/>
        </p:nvSpPr>
        <p:spPr bwMode="auto">
          <a:xfrm>
            <a:off x="6736045" y="5546891"/>
            <a:ext cx="303581" cy="240314"/>
          </a:xfrm>
          <a:custGeom>
            <a:avLst/>
            <a:gdLst>
              <a:gd name="T0" fmla="*/ 2455 w 3573"/>
              <a:gd name="T1" fmla="*/ 579 h 2827"/>
              <a:gd name="T2" fmla="*/ 2600 w 3573"/>
              <a:gd name="T3" fmla="*/ 760 h 2827"/>
              <a:gd name="T4" fmla="*/ 2739 w 3573"/>
              <a:gd name="T5" fmla="*/ 1081 h 2827"/>
              <a:gd name="T6" fmla="*/ 2787 w 3573"/>
              <a:gd name="T7" fmla="*/ 1432 h 2827"/>
              <a:gd name="T8" fmla="*/ 2745 w 3573"/>
              <a:gd name="T9" fmla="*/ 1761 h 2827"/>
              <a:gd name="T10" fmla="*/ 2621 w 3573"/>
              <a:gd name="T11" fmla="*/ 2067 h 2827"/>
              <a:gd name="T12" fmla="*/ 2489 w 3573"/>
              <a:gd name="T13" fmla="*/ 2244 h 2827"/>
              <a:gd name="T14" fmla="*/ 2399 w 3573"/>
              <a:gd name="T15" fmla="*/ 2271 h 2827"/>
              <a:gd name="T16" fmla="*/ 2304 w 3573"/>
              <a:gd name="T17" fmla="*/ 2241 h 2827"/>
              <a:gd name="T18" fmla="*/ 2230 w 3573"/>
              <a:gd name="T19" fmla="*/ 2155 h 2827"/>
              <a:gd name="T20" fmla="*/ 2221 w 3573"/>
              <a:gd name="T21" fmla="*/ 2044 h 2827"/>
              <a:gd name="T22" fmla="*/ 2327 w 3573"/>
              <a:gd name="T23" fmla="*/ 1864 h 2827"/>
              <a:gd name="T24" fmla="*/ 2421 w 3573"/>
              <a:gd name="T25" fmla="*/ 1582 h 2827"/>
              <a:gd name="T26" fmla="*/ 2422 w 3573"/>
              <a:gd name="T27" fmla="*/ 1289 h 2827"/>
              <a:gd name="T28" fmla="*/ 2338 w 3573"/>
              <a:gd name="T29" fmla="*/ 1020 h 2827"/>
              <a:gd name="T30" fmla="*/ 2205 w 3573"/>
              <a:gd name="T31" fmla="*/ 815 h 2827"/>
              <a:gd name="T32" fmla="*/ 2191 w 3573"/>
              <a:gd name="T33" fmla="*/ 701 h 2827"/>
              <a:gd name="T34" fmla="*/ 2255 w 3573"/>
              <a:gd name="T35" fmla="*/ 602 h 2827"/>
              <a:gd name="T36" fmla="*/ 2350 w 3573"/>
              <a:gd name="T37" fmla="*/ 557 h 2827"/>
              <a:gd name="T38" fmla="*/ 1694 w 3573"/>
              <a:gd name="T39" fmla="*/ 195 h 2827"/>
              <a:gd name="T40" fmla="*/ 1776 w 3573"/>
              <a:gd name="T41" fmla="*/ 282 h 2827"/>
              <a:gd name="T42" fmla="*/ 1785 w 3573"/>
              <a:gd name="T43" fmla="*/ 2553 h 2827"/>
              <a:gd name="T44" fmla="*/ 1720 w 3573"/>
              <a:gd name="T45" fmla="*/ 2653 h 2827"/>
              <a:gd name="T46" fmla="*/ 1625 w 3573"/>
              <a:gd name="T47" fmla="*/ 2685 h 2827"/>
              <a:gd name="T48" fmla="*/ 1522 w 3573"/>
              <a:gd name="T49" fmla="*/ 2647 h 2827"/>
              <a:gd name="T50" fmla="*/ 99 w 3573"/>
              <a:gd name="T51" fmla="*/ 1903 h 2827"/>
              <a:gd name="T52" fmla="*/ 13 w 3573"/>
              <a:gd name="T53" fmla="*/ 1817 h 2827"/>
              <a:gd name="T54" fmla="*/ 3 w 3573"/>
              <a:gd name="T55" fmla="*/ 1078 h 2827"/>
              <a:gd name="T56" fmla="*/ 72 w 3573"/>
              <a:gd name="T57" fmla="*/ 976 h 2827"/>
              <a:gd name="T58" fmla="*/ 635 w 3573"/>
              <a:gd name="T59" fmla="*/ 949 h 2827"/>
              <a:gd name="T60" fmla="*/ 1605 w 3573"/>
              <a:gd name="T61" fmla="*/ 181 h 2827"/>
              <a:gd name="T62" fmla="*/ 2983 w 3573"/>
              <a:gd name="T63" fmla="*/ 11 h 2827"/>
              <a:gd name="T64" fmla="*/ 3118 w 3573"/>
              <a:gd name="T65" fmla="*/ 138 h 2827"/>
              <a:gd name="T66" fmla="*/ 3350 w 3573"/>
              <a:gd name="T67" fmla="*/ 499 h 2827"/>
              <a:gd name="T68" fmla="*/ 3503 w 3573"/>
              <a:gd name="T69" fmla="*/ 899 h 2827"/>
              <a:gd name="T70" fmla="*/ 3569 w 3573"/>
              <a:gd name="T71" fmla="*/ 1324 h 2827"/>
              <a:gd name="T72" fmla="*/ 3545 w 3573"/>
              <a:gd name="T73" fmla="*/ 1768 h 2827"/>
              <a:gd name="T74" fmla="*/ 3427 w 3573"/>
              <a:gd name="T75" fmla="*/ 2196 h 2827"/>
              <a:gd name="T76" fmla="*/ 3218 w 3573"/>
              <a:gd name="T77" fmla="*/ 2590 h 2827"/>
              <a:gd name="T78" fmla="*/ 3040 w 3573"/>
              <a:gd name="T79" fmla="*/ 2804 h 2827"/>
              <a:gd name="T80" fmla="*/ 2957 w 3573"/>
              <a:gd name="T81" fmla="*/ 2827 h 2827"/>
              <a:gd name="T82" fmla="*/ 2863 w 3573"/>
              <a:gd name="T83" fmla="*/ 2797 h 2827"/>
              <a:gd name="T84" fmla="*/ 2787 w 3573"/>
              <a:gd name="T85" fmla="*/ 2709 h 2827"/>
              <a:gd name="T86" fmla="*/ 2783 w 3573"/>
              <a:gd name="T87" fmla="*/ 2594 h 2827"/>
              <a:gd name="T88" fmla="*/ 2933 w 3573"/>
              <a:gd name="T89" fmla="*/ 2378 h 2827"/>
              <a:gd name="T90" fmla="*/ 3113 w 3573"/>
              <a:gd name="T91" fmla="*/ 2022 h 2827"/>
              <a:gd name="T92" fmla="*/ 3206 w 3573"/>
              <a:gd name="T93" fmla="*/ 1633 h 2827"/>
              <a:gd name="T94" fmla="*/ 3207 w 3573"/>
              <a:gd name="T95" fmla="*/ 1239 h 2827"/>
              <a:gd name="T96" fmla="*/ 3122 w 3573"/>
              <a:gd name="T97" fmla="*/ 866 h 2827"/>
              <a:gd name="T98" fmla="*/ 2957 w 3573"/>
              <a:gd name="T99" fmla="*/ 522 h 2827"/>
              <a:gd name="T100" fmla="*/ 2767 w 3573"/>
              <a:gd name="T101" fmla="*/ 269 h 2827"/>
              <a:gd name="T102" fmla="*/ 2744 w 3573"/>
              <a:gd name="T103" fmla="*/ 165 h 2827"/>
              <a:gd name="T104" fmla="*/ 2791 w 3573"/>
              <a:gd name="T105" fmla="*/ 70 h 2827"/>
              <a:gd name="T106" fmla="*/ 2878 w 3573"/>
              <a:gd name="T107" fmla="*/ 8 h 28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573" h="2827">
                <a:moveTo>
                  <a:pt x="2378" y="555"/>
                </a:moveTo>
                <a:lnTo>
                  <a:pt x="2404" y="559"/>
                </a:lnTo>
                <a:lnTo>
                  <a:pt x="2431" y="567"/>
                </a:lnTo>
                <a:lnTo>
                  <a:pt x="2455" y="579"/>
                </a:lnTo>
                <a:lnTo>
                  <a:pt x="2476" y="595"/>
                </a:lnTo>
                <a:lnTo>
                  <a:pt x="2495" y="614"/>
                </a:lnTo>
                <a:lnTo>
                  <a:pt x="2551" y="686"/>
                </a:lnTo>
                <a:lnTo>
                  <a:pt x="2600" y="760"/>
                </a:lnTo>
                <a:lnTo>
                  <a:pt x="2643" y="837"/>
                </a:lnTo>
                <a:lnTo>
                  <a:pt x="2680" y="916"/>
                </a:lnTo>
                <a:lnTo>
                  <a:pt x="2713" y="998"/>
                </a:lnTo>
                <a:lnTo>
                  <a:pt x="2739" y="1081"/>
                </a:lnTo>
                <a:lnTo>
                  <a:pt x="2761" y="1166"/>
                </a:lnTo>
                <a:lnTo>
                  <a:pt x="2775" y="1253"/>
                </a:lnTo>
                <a:lnTo>
                  <a:pt x="2784" y="1342"/>
                </a:lnTo>
                <a:lnTo>
                  <a:pt x="2787" y="1432"/>
                </a:lnTo>
                <a:lnTo>
                  <a:pt x="2785" y="1516"/>
                </a:lnTo>
                <a:lnTo>
                  <a:pt x="2776" y="1598"/>
                </a:lnTo>
                <a:lnTo>
                  <a:pt x="2763" y="1681"/>
                </a:lnTo>
                <a:lnTo>
                  <a:pt x="2745" y="1761"/>
                </a:lnTo>
                <a:lnTo>
                  <a:pt x="2722" y="1840"/>
                </a:lnTo>
                <a:lnTo>
                  <a:pt x="2693" y="1918"/>
                </a:lnTo>
                <a:lnTo>
                  <a:pt x="2660" y="1993"/>
                </a:lnTo>
                <a:lnTo>
                  <a:pt x="2621" y="2067"/>
                </a:lnTo>
                <a:lnTo>
                  <a:pt x="2578" y="2137"/>
                </a:lnTo>
                <a:lnTo>
                  <a:pt x="2529" y="2206"/>
                </a:lnTo>
                <a:lnTo>
                  <a:pt x="2510" y="2226"/>
                </a:lnTo>
                <a:lnTo>
                  <a:pt x="2489" y="2244"/>
                </a:lnTo>
                <a:lnTo>
                  <a:pt x="2464" y="2257"/>
                </a:lnTo>
                <a:lnTo>
                  <a:pt x="2438" y="2267"/>
                </a:lnTo>
                <a:lnTo>
                  <a:pt x="2411" y="2271"/>
                </a:lnTo>
                <a:lnTo>
                  <a:pt x="2399" y="2271"/>
                </a:lnTo>
                <a:lnTo>
                  <a:pt x="2374" y="2269"/>
                </a:lnTo>
                <a:lnTo>
                  <a:pt x="2349" y="2263"/>
                </a:lnTo>
                <a:lnTo>
                  <a:pt x="2326" y="2254"/>
                </a:lnTo>
                <a:lnTo>
                  <a:pt x="2304" y="2241"/>
                </a:lnTo>
                <a:lnTo>
                  <a:pt x="2284" y="2224"/>
                </a:lnTo>
                <a:lnTo>
                  <a:pt x="2263" y="2202"/>
                </a:lnTo>
                <a:lnTo>
                  <a:pt x="2244" y="2180"/>
                </a:lnTo>
                <a:lnTo>
                  <a:pt x="2230" y="2155"/>
                </a:lnTo>
                <a:lnTo>
                  <a:pt x="2220" y="2128"/>
                </a:lnTo>
                <a:lnTo>
                  <a:pt x="2216" y="2099"/>
                </a:lnTo>
                <a:lnTo>
                  <a:pt x="2216" y="2071"/>
                </a:lnTo>
                <a:lnTo>
                  <a:pt x="2221" y="2044"/>
                </a:lnTo>
                <a:lnTo>
                  <a:pt x="2232" y="2017"/>
                </a:lnTo>
                <a:lnTo>
                  <a:pt x="2247" y="1992"/>
                </a:lnTo>
                <a:lnTo>
                  <a:pt x="2290" y="1929"/>
                </a:lnTo>
                <a:lnTo>
                  <a:pt x="2327" y="1864"/>
                </a:lnTo>
                <a:lnTo>
                  <a:pt x="2360" y="1796"/>
                </a:lnTo>
                <a:lnTo>
                  <a:pt x="2386" y="1727"/>
                </a:lnTo>
                <a:lnTo>
                  <a:pt x="2407" y="1655"/>
                </a:lnTo>
                <a:lnTo>
                  <a:pt x="2421" y="1582"/>
                </a:lnTo>
                <a:lnTo>
                  <a:pt x="2429" y="1507"/>
                </a:lnTo>
                <a:lnTo>
                  <a:pt x="2433" y="1432"/>
                </a:lnTo>
                <a:lnTo>
                  <a:pt x="2431" y="1359"/>
                </a:lnTo>
                <a:lnTo>
                  <a:pt x="2422" y="1289"/>
                </a:lnTo>
                <a:lnTo>
                  <a:pt x="2409" y="1219"/>
                </a:lnTo>
                <a:lnTo>
                  <a:pt x="2390" y="1151"/>
                </a:lnTo>
                <a:lnTo>
                  <a:pt x="2366" y="1085"/>
                </a:lnTo>
                <a:lnTo>
                  <a:pt x="2338" y="1020"/>
                </a:lnTo>
                <a:lnTo>
                  <a:pt x="2304" y="957"/>
                </a:lnTo>
                <a:lnTo>
                  <a:pt x="2266" y="898"/>
                </a:lnTo>
                <a:lnTo>
                  <a:pt x="2222" y="840"/>
                </a:lnTo>
                <a:lnTo>
                  <a:pt x="2205" y="815"/>
                </a:lnTo>
                <a:lnTo>
                  <a:pt x="2194" y="788"/>
                </a:lnTo>
                <a:lnTo>
                  <a:pt x="2187" y="759"/>
                </a:lnTo>
                <a:lnTo>
                  <a:pt x="2186" y="730"/>
                </a:lnTo>
                <a:lnTo>
                  <a:pt x="2191" y="701"/>
                </a:lnTo>
                <a:lnTo>
                  <a:pt x="2199" y="674"/>
                </a:lnTo>
                <a:lnTo>
                  <a:pt x="2213" y="648"/>
                </a:lnTo>
                <a:lnTo>
                  <a:pt x="2233" y="624"/>
                </a:lnTo>
                <a:lnTo>
                  <a:pt x="2255" y="602"/>
                </a:lnTo>
                <a:lnTo>
                  <a:pt x="2276" y="585"/>
                </a:lnTo>
                <a:lnTo>
                  <a:pt x="2299" y="571"/>
                </a:lnTo>
                <a:lnTo>
                  <a:pt x="2324" y="562"/>
                </a:lnTo>
                <a:lnTo>
                  <a:pt x="2350" y="557"/>
                </a:lnTo>
                <a:lnTo>
                  <a:pt x="2378" y="555"/>
                </a:lnTo>
                <a:close/>
                <a:moveTo>
                  <a:pt x="1635" y="180"/>
                </a:moveTo>
                <a:lnTo>
                  <a:pt x="1665" y="184"/>
                </a:lnTo>
                <a:lnTo>
                  <a:pt x="1694" y="195"/>
                </a:lnTo>
                <a:lnTo>
                  <a:pt x="1720" y="210"/>
                </a:lnTo>
                <a:lnTo>
                  <a:pt x="1743" y="231"/>
                </a:lnTo>
                <a:lnTo>
                  <a:pt x="1762" y="255"/>
                </a:lnTo>
                <a:lnTo>
                  <a:pt x="1776" y="282"/>
                </a:lnTo>
                <a:lnTo>
                  <a:pt x="1785" y="310"/>
                </a:lnTo>
                <a:lnTo>
                  <a:pt x="1787" y="341"/>
                </a:lnTo>
                <a:lnTo>
                  <a:pt x="1787" y="2523"/>
                </a:lnTo>
                <a:lnTo>
                  <a:pt x="1785" y="2553"/>
                </a:lnTo>
                <a:lnTo>
                  <a:pt x="1776" y="2583"/>
                </a:lnTo>
                <a:lnTo>
                  <a:pt x="1762" y="2610"/>
                </a:lnTo>
                <a:lnTo>
                  <a:pt x="1743" y="2634"/>
                </a:lnTo>
                <a:lnTo>
                  <a:pt x="1720" y="2653"/>
                </a:lnTo>
                <a:lnTo>
                  <a:pt x="1694" y="2670"/>
                </a:lnTo>
                <a:lnTo>
                  <a:pt x="1671" y="2678"/>
                </a:lnTo>
                <a:lnTo>
                  <a:pt x="1648" y="2683"/>
                </a:lnTo>
                <a:lnTo>
                  <a:pt x="1625" y="2685"/>
                </a:lnTo>
                <a:lnTo>
                  <a:pt x="1597" y="2683"/>
                </a:lnTo>
                <a:lnTo>
                  <a:pt x="1571" y="2675"/>
                </a:lnTo>
                <a:lnTo>
                  <a:pt x="1545" y="2663"/>
                </a:lnTo>
                <a:lnTo>
                  <a:pt x="1522" y="2647"/>
                </a:lnTo>
                <a:lnTo>
                  <a:pt x="635" y="1916"/>
                </a:lnTo>
                <a:lnTo>
                  <a:pt x="163" y="1916"/>
                </a:lnTo>
                <a:lnTo>
                  <a:pt x="130" y="1912"/>
                </a:lnTo>
                <a:lnTo>
                  <a:pt x="99" y="1903"/>
                </a:lnTo>
                <a:lnTo>
                  <a:pt x="72" y="1887"/>
                </a:lnTo>
                <a:lnTo>
                  <a:pt x="48" y="1868"/>
                </a:lnTo>
                <a:lnTo>
                  <a:pt x="27" y="1844"/>
                </a:lnTo>
                <a:lnTo>
                  <a:pt x="13" y="1817"/>
                </a:lnTo>
                <a:lnTo>
                  <a:pt x="3" y="1786"/>
                </a:lnTo>
                <a:lnTo>
                  <a:pt x="0" y="1754"/>
                </a:lnTo>
                <a:lnTo>
                  <a:pt x="0" y="1111"/>
                </a:lnTo>
                <a:lnTo>
                  <a:pt x="3" y="1078"/>
                </a:lnTo>
                <a:lnTo>
                  <a:pt x="13" y="1048"/>
                </a:lnTo>
                <a:lnTo>
                  <a:pt x="27" y="1019"/>
                </a:lnTo>
                <a:lnTo>
                  <a:pt x="48" y="995"/>
                </a:lnTo>
                <a:lnTo>
                  <a:pt x="72" y="976"/>
                </a:lnTo>
                <a:lnTo>
                  <a:pt x="99" y="961"/>
                </a:lnTo>
                <a:lnTo>
                  <a:pt x="130" y="952"/>
                </a:lnTo>
                <a:lnTo>
                  <a:pt x="163" y="949"/>
                </a:lnTo>
                <a:lnTo>
                  <a:pt x="635" y="949"/>
                </a:lnTo>
                <a:lnTo>
                  <a:pt x="1522" y="216"/>
                </a:lnTo>
                <a:lnTo>
                  <a:pt x="1547" y="199"/>
                </a:lnTo>
                <a:lnTo>
                  <a:pt x="1575" y="187"/>
                </a:lnTo>
                <a:lnTo>
                  <a:pt x="1605" y="181"/>
                </a:lnTo>
                <a:lnTo>
                  <a:pt x="1635" y="180"/>
                </a:lnTo>
                <a:close/>
                <a:moveTo>
                  <a:pt x="2931" y="0"/>
                </a:moveTo>
                <a:lnTo>
                  <a:pt x="2957" y="4"/>
                </a:lnTo>
                <a:lnTo>
                  <a:pt x="2983" y="11"/>
                </a:lnTo>
                <a:lnTo>
                  <a:pt x="3007" y="22"/>
                </a:lnTo>
                <a:lnTo>
                  <a:pt x="3028" y="37"/>
                </a:lnTo>
                <a:lnTo>
                  <a:pt x="3048" y="55"/>
                </a:lnTo>
                <a:lnTo>
                  <a:pt x="3118" y="138"/>
                </a:lnTo>
                <a:lnTo>
                  <a:pt x="3183" y="224"/>
                </a:lnTo>
                <a:lnTo>
                  <a:pt x="3244" y="313"/>
                </a:lnTo>
                <a:lnTo>
                  <a:pt x="3300" y="406"/>
                </a:lnTo>
                <a:lnTo>
                  <a:pt x="3350" y="499"/>
                </a:lnTo>
                <a:lnTo>
                  <a:pt x="3396" y="597"/>
                </a:lnTo>
                <a:lnTo>
                  <a:pt x="3437" y="696"/>
                </a:lnTo>
                <a:lnTo>
                  <a:pt x="3472" y="797"/>
                </a:lnTo>
                <a:lnTo>
                  <a:pt x="3503" y="899"/>
                </a:lnTo>
                <a:lnTo>
                  <a:pt x="3528" y="1003"/>
                </a:lnTo>
                <a:lnTo>
                  <a:pt x="3548" y="1108"/>
                </a:lnTo>
                <a:lnTo>
                  <a:pt x="3562" y="1216"/>
                </a:lnTo>
                <a:lnTo>
                  <a:pt x="3569" y="1324"/>
                </a:lnTo>
                <a:lnTo>
                  <a:pt x="3573" y="1432"/>
                </a:lnTo>
                <a:lnTo>
                  <a:pt x="3569" y="1545"/>
                </a:lnTo>
                <a:lnTo>
                  <a:pt x="3561" y="1656"/>
                </a:lnTo>
                <a:lnTo>
                  <a:pt x="3545" y="1768"/>
                </a:lnTo>
                <a:lnTo>
                  <a:pt x="3524" y="1877"/>
                </a:lnTo>
                <a:lnTo>
                  <a:pt x="3497" y="1985"/>
                </a:lnTo>
                <a:lnTo>
                  <a:pt x="3465" y="2092"/>
                </a:lnTo>
                <a:lnTo>
                  <a:pt x="3427" y="2196"/>
                </a:lnTo>
                <a:lnTo>
                  <a:pt x="3382" y="2299"/>
                </a:lnTo>
                <a:lnTo>
                  <a:pt x="3333" y="2399"/>
                </a:lnTo>
                <a:lnTo>
                  <a:pt x="3278" y="2496"/>
                </a:lnTo>
                <a:lnTo>
                  <a:pt x="3218" y="2590"/>
                </a:lnTo>
                <a:lnTo>
                  <a:pt x="3153" y="2682"/>
                </a:lnTo>
                <a:lnTo>
                  <a:pt x="3082" y="2770"/>
                </a:lnTo>
                <a:lnTo>
                  <a:pt x="3062" y="2789"/>
                </a:lnTo>
                <a:lnTo>
                  <a:pt x="3040" y="2804"/>
                </a:lnTo>
                <a:lnTo>
                  <a:pt x="3017" y="2816"/>
                </a:lnTo>
                <a:lnTo>
                  <a:pt x="2991" y="2824"/>
                </a:lnTo>
                <a:lnTo>
                  <a:pt x="2965" y="2827"/>
                </a:lnTo>
                <a:lnTo>
                  <a:pt x="2957" y="2827"/>
                </a:lnTo>
                <a:lnTo>
                  <a:pt x="2932" y="2825"/>
                </a:lnTo>
                <a:lnTo>
                  <a:pt x="2907" y="2820"/>
                </a:lnTo>
                <a:lnTo>
                  <a:pt x="2884" y="2810"/>
                </a:lnTo>
                <a:lnTo>
                  <a:pt x="2863" y="2797"/>
                </a:lnTo>
                <a:lnTo>
                  <a:pt x="2843" y="2780"/>
                </a:lnTo>
                <a:lnTo>
                  <a:pt x="2822" y="2759"/>
                </a:lnTo>
                <a:lnTo>
                  <a:pt x="2801" y="2735"/>
                </a:lnTo>
                <a:lnTo>
                  <a:pt x="2787" y="2709"/>
                </a:lnTo>
                <a:lnTo>
                  <a:pt x="2779" y="2681"/>
                </a:lnTo>
                <a:lnTo>
                  <a:pt x="2774" y="2651"/>
                </a:lnTo>
                <a:lnTo>
                  <a:pt x="2775" y="2622"/>
                </a:lnTo>
                <a:lnTo>
                  <a:pt x="2783" y="2594"/>
                </a:lnTo>
                <a:lnTo>
                  <a:pt x="2795" y="2565"/>
                </a:lnTo>
                <a:lnTo>
                  <a:pt x="2812" y="2540"/>
                </a:lnTo>
                <a:lnTo>
                  <a:pt x="2876" y="2461"/>
                </a:lnTo>
                <a:lnTo>
                  <a:pt x="2933" y="2378"/>
                </a:lnTo>
                <a:lnTo>
                  <a:pt x="2986" y="2294"/>
                </a:lnTo>
                <a:lnTo>
                  <a:pt x="3034" y="2206"/>
                </a:lnTo>
                <a:lnTo>
                  <a:pt x="3076" y="2114"/>
                </a:lnTo>
                <a:lnTo>
                  <a:pt x="3113" y="2022"/>
                </a:lnTo>
                <a:lnTo>
                  <a:pt x="3145" y="1927"/>
                </a:lnTo>
                <a:lnTo>
                  <a:pt x="3171" y="1831"/>
                </a:lnTo>
                <a:lnTo>
                  <a:pt x="3191" y="1732"/>
                </a:lnTo>
                <a:lnTo>
                  <a:pt x="3206" y="1633"/>
                </a:lnTo>
                <a:lnTo>
                  <a:pt x="3215" y="1533"/>
                </a:lnTo>
                <a:lnTo>
                  <a:pt x="3218" y="1432"/>
                </a:lnTo>
                <a:lnTo>
                  <a:pt x="3215" y="1336"/>
                </a:lnTo>
                <a:lnTo>
                  <a:pt x="3207" y="1239"/>
                </a:lnTo>
                <a:lnTo>
                  <a:pt x="3194" y="1144"/>
                </a:lnTo>
                <a:lnTo>
                  <a:pt x="3175" y="1050"/>
                </a:lnTo>
                <a:lnTo>
                  <a:pt x="3152" y="957"/>
                </a:lnTo>
                <a:lnTo>
                  <a:pt x="3122" y="866"/>
                </a:lnTo>
                <a:lnTo>
                  <a:pt x="3088" y="777"/>
                </a:lnTo>
                <a:lnTo>
                  <a:pt x="3049" y="690"/>
                </a:lnTo>
                <a:lnTo>
                  <a:pt x="3005" y="604"/>
                </a:lnTo>
                <a:lnTo>
                  <a:pt x="2957" y="522"/>
                </a:lnTo>
                <a:lnTo>
                  <a:pt x="2904" y="442"/>
                </a:lnTo>
                <a:lnTo>
                  <a:pt x="2846" y="365"/>
                </a:lnTo>
                <a:lnTo>
                  <a:pt x="2784" y="290"/>
                </a:lnTo>
                <a:lnTo>
                  <a:pt x="2767" y="269"/>
                </a:lnTo>
                <a:lnTo>
                  <a:pt x="2755" y="244"/>
                </a:lnTo>
                <a:lnTo>
                  <a:pt x="2747" y="219"/>
                </a:lnTo>
                <a:lnTo>
                  <a:pt x="2743" y="191"/>
                </a:lnTo>
                <a:lnTo>
                  <a:pt x="2744" y="165"/>
                </a:lnTo>
                <a:lnTo>
                  <a:pt x="2749" y="139"/>
                </a:lnTo>
                <a:lnTo>
                  <a:pt x="2758" y="114"/>
                </a:lnTo>
                <a:lnTo>
                  <a:pt x="2772" y="90"/>
                </a:lnTo>
                <a:lnTo>
                  <a:pt x="2791" y="70"/>
                </a:lnTo>
                <a:lnTo>
                  <a:pt x="2811" y="48"/>
                </a:lnTo>
                <a:lnTo>
                  <a:pt x="2831" y="31"/>
                </a:lnTo>
                <a:lnTo>
                  <a:pt x="2854" y="18"/>
                </a:lnTo>
                <a:lnTo>
                  <a:pt x="2878" y="8"/>
                </a:lnTo>
                <a:lnTo>
                  <a:pt x="2904" y="2"/>
                </a:lnTo>
                <a:lnTo>
                  <a:pt x="2931"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HarmonyOS Sans SC"/>
              <a:cs typeface="+mn-cs"/>
            </a:endParaRPr>
          </a:p>
        </p:txBody>
      </p:sp>
      <p:grpSp>
        <p:nvGrpSpPr>
          <p:cNvPr id="106" name="Group 1271">
            <a:extLst>
              <a:ext uri="{FF2B5EF4-FFF2-40B4-BE49-F238E27FC236}">
                <a16:creationId xmlns:a16="http://schemas.microsoft.com/office/drawing/2014/main" id="{1899642F-FB6E-4B40-89AA-8C272337ECCB}"/>
              </a:ext>
            </a:extLst>
          </p:cNvPr>
          <p:cNvGrpSpPr>
            <a:grpSpLocks noChangeAspect="1"/>
          </p:cNvGrpSpPr>
          <p:nvPr/>
        </p:nvGrpSpPr>
        <p:grpSpPr bwMode="auto">
          <a:xfrm>
            <a:off x="6774643" y="4448185"/>
            <a:ext cx="239192" cy="238952"/>
            <a:chOff x="5516" y="3626"/>
            <a:chExt cx="1981" cy="1979"/>
          </a:xfrm>
          <a:solidFill>
            <a:schemeClr val="bg1"/>
          </a:solidFill>
        </p:grpSpPr>
        <p:sp>
          <p:nvSpPr>
            <p:cNvPr id="107" name="Freeform 1273">
              <a:extLst>
                <a:ext uri="{FF2B5EF4-FFF2-40B4-BE49-F238E27FC236}">
                  <a16:creationId xmlns:a16="http://schemas.microsoft.com/office/drawing/2014/main" id="{3672C763-D97A-4477-9C2F-6E5E4DBB0DB0}"/>
                </a:ext>
              </a:extLst>
            </p:cNvPr>
            <p:cNvSpPr>
              <a:spLocks/>
            </p:cNvSpPr>
            <p:nvPr/>
          </p:nvSpPr>
          <p:spPr bwMode="auto">
            <a:xfrm>
              <a:off x="5524" y="4270"/>
              <a:ext cx="491" cy="498"/>
            </a:xfrm>
            <a:custGeom>
              <a:avLst/>
              <a:gdLst>
                <a:gd name="T0" fmla="*/ 980 w 980"/>
                <a:gd name="T1" fmla="*/ 0 h 996"/>
                <a:gd name="T2" fmla="*/ 952 w 980"/>
                <a:gd name="T3" fmla="*/ 46 h 996"/>
                <a:gd name="T4" fmla="*/ 921 w 980"/>
                <a:gd name="T5" fmla="*/ 94 h 996"/>
                <a:gd name="T6" fmla="*/ 890 w 980"/>
                <a:gd name="T7" fmla="*/ 145 h 996"/>
                <a:gd name="T8" fmla="*/ 856 w 980"/>
                <a:gd name="T9" fmla="*/ 198 h 996"/>
                <a:gd name="T10" fmla="*/ 819 w 980"/>
                <a:gd name="T11" fmla="*/ 255 h 996"/>
                <a:gd name="T12" fmla="*/ 781 w 980"/>
                <a:gd name="T13" fmla="*/ 314 h 996"/>
                <a:gd name="T14" fmla="*/ 740 w 980"/>
                <a:gd name="T15" fmla="*/ 376 h 996"/>
                <a:gd name="T16" fmla="*/ 696 w 980"/>
                <a:gd name="T17" fmla="*/ 444 h 996"/>
                <a:gd name="T18" fmla="*/ 649 w 980"/>
                <a:gd name="T19" fmla="*/ 514 h 996"/>
                <a:gd name="T20" fmla="*/ 599 w 980"/>
                <a:gd name="T21" fmla="*/ 588 h 996"/>
                <a:gd name="T22" fmla="*/ 546 w 980"/>
                <a:gd name="T23" fmla="*/ 665 h 996"/>
                <a:gd name="T24" fmla="*/ 491 w 980"/>
                <a:gd name="T25" fmla="*/ 748 h 996"/>
                <a:gd name="T26" fmla="*/ 431 w 980"/>
                <a:gd name="T27" fmla="*/ 834 h 996"/>
                <a:gd name="T28" fmla="*/ 369 w 980"/>
                <a:gd name="T29" fmla="*/ 926 h 996"/>
                <a:gd name="T30" fmla="*/ 347 w 980"/>
                <a:gd name="T31" fmla="*/ 960 h 996"/>
                <a:gd name="T32" fmla="*/ 331 w 980"/>
                <a:gd name="T33" fmla="*/ 996 h 996"/>
                <a:gd name="T34" fmla="*/ 0 w 980"/>
                <a:gd name="T35" fmla="*/ 666 h 996"/>
                <a:gd name="T36" fmla="*/ 2 w 980"/>
                <a:gd name="T37" fmla="*/ 664 h 996"/>
                <a:gd name="T38" fmla="*/ 8 w 980"/>
                <a:gd name="T39" fmla="*/ 657 h 996"/>
                <a:gd name="T40" fmla="*/ 18 w 980"/>
                <a:gd name="T41" fmla="*/ 645 h 996"/>
                <a:gd name="T42" fmla="*/ 30 w 980"/>
                <a:gd name="T43" fmla="*/ 629 h 996"/>
                <a:gd name="T44" fmla="*/ 47 w 980"/>
                <a:gd name="T45" fmla="*/ 609 h 996"/>
                <a:gd name="T46" fmla="*/ 66 w 980"/>
                <a:gd name="T47" fmla="*/ 588 h 996"/>
                <a:gd name="T48" fmla="*/ 89 w 980"/>
                <a:gd name="T49" fmla="*/ 561 h 996"/>
                <a:gd name="T50" fmla="*/ 115 w 980"/>
                <a:gd name="T51" fmla="*/ 533 h 996"/>
                <a:gd name="T52" fmla="*/ 144 w 980"/>
                <a:gd name="T53" fmla="*/ 503 h 996"/>
                <a:gd name="T54" fmla="*/ 174 w 980"/>
                <a:gd name="T55" fmla="*/ 471 h 996"/>
                <a:gd name="T56" fmla="*/ 208 w 980"/>
                <a:gd name="T57" fmla="*/ 438 h 996"/>
                <a:gd name="T58" fmla="*/ 244 w 980"/>
                <a:gd name="T59" fmla="*/ 403 h 996"/>
                <a:gd name="T60" fmla="*/ 283 w 980"/>
                <a:gd name="T61" fmla="*/ 368 h 996"/>
                <a:gd name="T62" fmla="*/ 324 w 980"/>
                <a:gd name="T63" fmla="*/ 332 h 996"/>
                <a:gd name="T64" fmla="*/ 366 w 980"/>
                <a:gd name="T65" fmla="*/ 296 h 996"/>
                <a:gd name="T66" fmla="*/ 410 w 980"/>
                <a:gd name="T67" fmla="*/ 261 h 996"/>
                <a:gd name="T68" fmla="*/ 457 w 980"/>
                <a:gd name="T69" fmla="*/ 226 h 996"/>
                <a:gd name="T70" fmla="*/ 504 w 980"/>
                <a:gd name="T71" fmla="*/ 192 h 996"/>
                <a:gd name="T72" fmla="*/ 554 w 980"/>
                <a:gd name="T73" fmla="*/ 160 h 996"/>
                <a:gd name="T74" fmla="*/ 603 w 980"/>
                <a:gd name="T75" fmla="*/ 130 h 996"/>
                <a:gd name="T76" fmla="*/ 655 w 980"/>
                <a:gd name="T77" fmla="*/ 102 h 996"/>
                <a:gd name="T78" fmla="*/ 707 w 980"/>
                <a:gd name="T79" fmla="*/ 76 h 996"/>
                <a:gd name="T80" fmla="*/ 761 w 980"/>
                <a:gd name="T81" fmla="*/ 54 h 996"/>
                <a:gd name="T82" fmla="*/ 815 w 980"/>
                <a:gd name="T83" fmla="*/ 35 h 996"/>
                <a:gd name="T84" fmla="*/ 870 w 980"/>
                <a:gd name="T85" fmla="*/ 19 h 996"/>
                <a:gd name="T86" fmla="*/ 925 w 980"/>
                <a:gd name="T87" fmla="*/ 7 h 996"/>
                <a:gd name="T88" fmla="*/ 980 w 980"/>
                <a:gd name="T89" fmla="*/ 0 h 9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80" h="996">
                  <a:moveTo>
                    <a:pt x="980" y="0"/>
                  </a:moveTo>
                  <a:lnTo>
                    <a:pt x="952" y="46"/>
                  </a:lnTo>
                  <a:lnTo>
                    <a:pt x="921" y="94"/>
                  </a:lnTo>
                  <a:lnTo>
                    <a:pt x="890" y="145"/>
                  </a:lnTo>
                  <a:lnTo>
                    <a:pt x="856" y="198"/>
                  </a:lnTo>
                  <a:lnTo>
                    <a:pt x="819" y="255"/>
                  </a:lnTo>
                  <a:lnTo>
                    <a:pt x="781" y="314"/>
                  </a:lnTo>
                  <a:lnTo>
                    <a:pt x="740" y="376"/>
                  </a:lnTo>
                  <a:lnTo>
                    <a:pt x="696" y="444"/>
                  </a:lnTo>
                  <a:lnTo>
                    <a:pt x="649" y="514"/>
                  </a:lnTo>
                  <a:lnTo>
                    <a:pt x="599" y="588"/>
                  </a:lnTo>
                  <a:lnTo>
                    <a:pt x="546" y="665"/>
                  </a:lnTo>
                  <a:lnTo>
                    <a:pt x="491" y="748"/>
                  </a:lnTo>
                  <a:lnTo>
                    <a:pt x="431" y="834"/>
                  </a:lnTo>
                  <a:lnTo>
                    <a:pt x="369" y="926"/>
                  </a:lnTo>
                  <a:lnTo>
                    <a:pt x="347" y="960"/>
                  </a:lnTo>
                  <a:lnTo>
                    <a:pt x="331" y="996"/>
                  </a:lnTo>
                  <a:lnTo>
                    <a:pt x="0" y="666"/>
                  </a:lnTo>
                  <a:lnTo>
                    <a:pt x="2" y="664"/>
                  </a:lnTo>
                  <a:lnTo>
                    <a:pt x="8" y="657"/>
                  </a:lnTo>
                  <a:lnTo>
                    <a:pt x="18" y="645"/>
                  </a:lnTo>
                  <a:lnTo>
                    <a:pt x="30" y="629"/>
                  </a:lnTo>
                  <a:lnTo>
                    <a:pt x="47" y="609"/>
                  </a:lnTo>
                  <a:lnTo>
                    <a:pt x="66" y="588"/>
                  </a:lnTo>
                  <a:lnTo>
                    <a:pt x="89" y="561"/>
                  </a:lnTo>
                  <a:lnTo>
                    <a:pt x="115" y="533"/>
                  </a:lnTo>
                  <a:lnTo>
                    <a:pt x="144" y="503"/>
                  </a:lnTo>
                  <a:lnTo>
                    <a:pt x="174" y="471"/>
                  </a:lnTo>
                  <a:lnTo>
                    <a:pt x="208" y="438"/>
                  </a:lnTo>
                  <a:lnTo>
                    <a:pt x="244" y="403"/>
                  </a:lnTo>
                  <a:lnTo>
                    <a:pt x="283" y="368"/>
                  </a:lnTo>
                  <a:lnTo>
                    <a:pt x="324" y="332"/>
                  </a:lnTo>
                  <a:lnTo>
                    <a:pt x="366" y="296"/>
                  </a:lnTo>
                  <a:lnTo>
                    <a:pt x="410" y="261"/>
                  </a:lnTo>
                  <a:lnTo>
                    <a:pt x="457" y="226"/>
                  </a:lnTo>
                  <a:lnTo>
                    <a:pt x="504" y="192"/>
                  </a:lnTo>
                  <a:lnTo>
                    <a:pt x="554" y="160"/>
                  </a:lnTo>
                  <a:lnTo>
                    <a:pt x="603" y="130"/>
                  </a:lnTo>
                  <a:lnTo>
                    <a:pt x="655" y="102"/>
                  </a:lnTo>
                  <a:lnTo>
                    <a:pt x="707" y="76"/>
                  </a:lnTo>
                  <a:lnTo>
                    <a:pt x="761" y="54"/>
                  </a:lnTo>
                  <a:lnTo>
                    <a:pt x="815" y="35"/>
                  </a:lnTo>
                  <a:lnTo>
                    <a:pt x="870" y="19"/>
                  </a:lnTo>
                  <a:lnTo>
                    <a:pt x="925" y="7"/>
                  </a:lnTo>
                  <a:lnTo>
                    <a:pt x="98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HarmonyOS Sans SC"/>
                <a:cs typeface="+mn-cs"/>
              </a:endParaRPr>
            </a:p>
          </p:txBody>
        </p:sp>
        <p:sp>
          <p:nvSpPr>
            <p:cNvPr id="108" name="Freeform 1274">
              <a:extLst>
                <a:ext uri="{FF2B5EF4-FFF2-40B4-BE49-F238E27FC236}">
                  <a16:creationId xmlns:a16="http://schemas.microsoft.com/office/drawing/2014/main" id="{CF7982AE-C039-4B44-9FD4-255AECC340E8}"/>
                </a:ext>
              </a:extLst>
            </p:cNvPr>
            <p:cNvSpPr>
              <a:spLocks/>
            </p:cNvSpPr>
            <p:nvPr/>
          </p:nvSpPr>
          <p:spPr bwMode="auto">
            <a:xfrm>
              <a:off x="6354" y="5106"/>
              <a:ext cx="498" cy="489"/>
            </a:xfrm>
            <a:custGeom>
              <a:avLst/>
              <a:gdLst>
                <a:gd name="T0" fmla="*/ 998 w 998"/>
                <a:gd name="T1" fmla="*/ 0 h 979"/>
                <a:gd name="T2" fmla="*/ 990 w 998"/>
                <a:gd name="T3" fmla="*/ 55 h 979"/>
                <a:gd name="T4" fmla="*/ 978 w 998"/>
                <a:gd name="T5" fmla="*/ 111 h 979"/>
                <a:gd name="T6" fmla="*/ 963 w 998"/>
                <a:gd name="T7" fmla="*/ 165 h 979"/>
                <a:gd name="T8" fmla="*/ 943 w 998"/>
                <a:gd name="T9" fmla="*/ 220 h 979"/>
                <a:gd name="T10" fmla="*/ 920 w 998"/>
                <a:gd name="T11" fmla="*/ 273 h 979"/>
                <a:gd name="T12" fmla="*/ 895 w 998"/>
                <a:gd name="T13" fmla="*/ 326 h 979"/>
                <a:gd name="T14" fmla="*/ 867 w 998"/>
                <a:gd name="T15" fmla="*/ 377 h 979"/>
                <a:gd name="T16" fmla="*/ 837 w 998"/>
                <a:gd name="T17" fmla="*/ 427 h 979"/>
                <a:gd name="T18" fmla="*/ 804 w 998"/>
                <a:gd name="T19" fmla="*/ 477 h 979"/>
                <a:gd name="T20" fmla="*/ 770 w 998"/>
                <a:gd name="T21" fmla="*/ 524 h 979"/>
                <a:gd name="T22" fmla="*/ 736 w 998"/>
                <a:gd name="T23" fmla="*/ 570 h 979"/>
                <a:gd name="T24" fmla="*/ 700 w 998"/>
                <a:gd name="T25" fmla="*/ 614 h 979"/>
                <a:gd name="T26" fmla="*/ 665 w 998"/>
                <a:gd name="T27" fmla="*/ 657 h 979"/>
                <a:gd name="T28" fmla="*/ 629 w 998"/>
                <a:gd name="T29" fmla="*/ 698 h 979"/>
                <a:gd name="T30" fmla="*/ 594 w 998"/>
                <a:gd name="T31" fmla="*/ 736 h 979"/>
                <a:gd name="T32" fmla="*/ 559 w 998"/>
                <a:gd name="T33" fmla="*/ 771 h 979"/>
                <a:gd name="T34" fmla="*/ 525 w 998"/>
                <a:gd name="T35" fmla="*/ 805 h 979"/>
                <a:gd name="T36" fmla="*/ 494 w 998"/>
                <a:gd name="T37" fmla="*/ 837 h 979"/>
                <a:gd name="T38" fmla="*/ 463 w 998"/>
                <a:gd name="T39" fmla="*/ 866 h 979"/>
                <a:gd name="T40" fmla="*/ 434 w 998"/>
                <a:gd name="T41" fmla="*/ 891 h 979"/>
                <a:gd name="T42" fmla="*/ 409 w 998"/>
                <a:gd name="T43" fmla="*/ 914 h 979"/>
                <a:gd name="T44" fmla="*/ 386 w 998"/>
                <a:gd name="T45" fmla="*/ 933 h 979"/>
                <a:gd name="T46" fmla="*/ 367 w 998"/>
                <a:gd name="T47" fmla="*/ 949 h 979"/>
                <a:gd name="T48" fmla="*/ 351 w 998"/>
                <a:gd name="T49" fmla="*/ 962 h 979"/>
                <a:gd name="T50" fmla="*/ 340 w 998"/>
                <a:gd name="T51" fmla="*/ 972 h 979"/>
                <a:gd name="T52" fmla="*/ 333 w 998"/>
                <a:gd name="T53" fmla="*/ 978 h 979"/>
                <a:gd name="T54" fmla="*/ 330 w 998"/>
                <a:gd name="T55" fmla="*/ 979 h 979"/>
                <a:gd name="T56" fmla="*/ 0 w 998"/>
                <a:gd name="T57" fmla="*/ 649 h 979"/>
                <a:gd name="T58" fmla="*/ 35 w 998"/>
                <a:gd name="T59" fmla="*/ 633 h 979"/>
                <a:gd name="T60" fmla="*/ 70 w 998"/>
                <a:gd name="T61" fmla="*/ 612 h 979"/>
                <a:gd name="T62" fmla="*/ 161 w 998"/>
                <a:gd name="T63" fmla="*/ 549 h 979"/>
                <a:gd name="T64" fmla="*/ 248 w 998"/>
                <a:gd name="T65" fmla="*/ 490 h 979"/>
                <a:gd name="T66" fmla="*/ 330 w 998"/>
                <a:gd name="T67" fmla="*/ 433 h 979"/>
                <a:gd name="T68" fmla="*/ 409 w 998"/>
                <a:gd name="T69" fmla="*/ 381 h 979"/>
                <a:gd name="T70" fmla="*/ 483 w 998"/>
                <a:gd name="T71" fmla="*/ 332 h 979"/>
                <a:gd name="T72" fmla="*/ 553 w 998"/>
                <a:gd name="T73" fmla="*/ 285 h 979"/>
                <a:gd name="T74" fmla="*/ 619 w 998"/>
                <a:gd name="T75" fmla="*/ 241 h 979"/>
                <a:gd name="T76" fmla="*/ 682 w 998"/>
                <a:gd name="T77" fmla="*/ 200 h 979"/>
                <a:gd name="T78" fmla="*/ 743 w 998"/>
                <a:gd name="T79" fmla="*/ 162 h 979"/>
                <a:gd name="T80" fmla="*/ 799 w 998"/>
                <a:gd name="T81" fmla="*/ 125 h 979"/>
                <a:gd name="T82" fmla="*/ 853 w 998"/>
                <a:gd name="T83" fmla="*/ 92 h 979"/>
                <a:gd name="T84" fmla="*/ 903 w 998"/>
                <a:gd name="T85" fmla="*/ 59 h 979"/>
                <a:gd name="T86" fmla="*/ 952 w 998"/>
                <a:gd name="T87" fmla="*/ 29 h 979"/>
                <a:gd name="T88" fmla="*/ 998 w 998"/>
                <a:gd name="T89" fmla="*/ 0 h 9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98" h="979">
                  <a:moveTo>
                    <a:pt x="998" y="0"/>
                  </a:moveTo>
                  <a:lnTo>
                    <a:pt x="990" y="55"/>
                  </a:lnTo>
                  <a:lnTo>
                    <a:pt x="978" y="111"/>
                  </a:lnTo>
                  <a:lnTo>
                    <a:pt x="963" y="165"/>
                  </a:lnTo>
                  <a:lnTo>
                    <a:pt x="943" y="220"/>
                  </a:lnTo>
                  <a:lnTo>
                    <a:pt x="920" y="273"/>
                  </a:lnTo>
                  <a:lnTo>
                    <a:pt x="895" y="326"/>
                  </a:lnTo>
                  <a:lnTo>
                    <a:pt x="867" y="377"/>
                  </a:lnTo>
                  <a:lnTo>
                    <a:pt x="837" y="427"/>
                  </a:lnTo>
                  <a:lnTo>
                    <a:pt x="804" y="477"/>
                  </a:lnTo>
                  <a:lnTo>
                    <a:pt x="770" y="524"/>
                  </a:lnTo>
                  <a:lnTo>
                    <a:pt x="736" y="570"/>
                  </a:lnTo>
                  <a:lnTo>
                    <a:pt x="700" y="614"/>
                  </a:lnTo>
                  <a:lnTo>
                    <a:pt x="665" y="657"/>
                  </a:lnTo>
                  <a:lnTo>
                    <a:pt x="629" y="698"/>
                  </a:lnTo>
                  <a:lnTo>
                    <a:pt x="594" y="736"/>
                  </a:lnTo>
                  <a:lnTo>
                    <a:pt x="559" y="771"/>
                  </a:lnTo>
                  <a:lnTo>
                    <a:pt x="525" y="805"/>
                  </a:lnTo>
                  <a:lnTo>
                    <a:pt x="494" y="837"/>
                  </a:lnTo>
                  <a:lnTo>
                    <a:pt x="463" y="866"/>
                  </a:lnTo>
                  <a:lnTo>
                    <a:pt x="434" y="891"/>
                  </a:lnTo>
                  <a:lnTo>
                    <a:pt x="409" y="914"/>
                  </a:lnTo>
                  <a:lnTo>
                    <a:pt x="386" y="933"/>
                  </a:lnTo>
                  <a:lnTo>
                    <a:pt x="367" y="949"/>
                  </a:lnTo>
                  <a:lnTo>
                    <a:pt x="351" y="962"/>
                  </a:lnTo>
                  <a:lnTo>
                    <a:pt x="340" y="972"/>
                  </a:lnTo>
                  <a:lnTo>
                    <a:pt x="333" y="978"/>
                  </a:lnTo>
                  <a:lnTo>
                    <a:pt x="330" y="979"/>
                  </a:lnTo>
                  <a:lnTo>
                    <a:pt x="0" y="649"/>
                  </a:lnTo>
                  <a:lnTo>
                    <a:pt x="35" y="633"/>
                  </a:lnTo>
                  <a:lnTo>
                    <a:pt x="70" y="612"/>
                  </a:lnTo>
                  <a:lnTo>
                    <a:pt x="161" y="549"/>
                  </a:lnTo>
                  <a:lnTo>
                    <a:pt x="248" y="490"/>
                  </a:lnTo>
                  <a:lnTo>
                    <a:pt x="330" y="433"/>
                  </a:lnTo>
                  <a:lnTo>
                    <a:pt x="409" y="381"/>
                  </a:lnTo>
                  <a:lnTo>
                    <a:pt x="483" y="332"/>
                  </a:lnTo>
                  <a:lnTo>
                    <a:pt x="553" y="285"/>
                  </a:lnTo>
                  <a:lnTo>
                    <a:pt x="619" y="241"/>
                  </a:lnTo>
                  <a:lnTo>
                    <a:pt x="682" y="200"/>
                  </a:lnTo>
                  <a:lnTo>
                    <a:pt x="743" y="162"/>
                  </a:lnTo>
                  <a:lnTo>
                    <a:pt x="799" y="125"/>
                  </a:lnTo>
                  <a:lnTo>
                    <a:pt x="853" y="92"/>
                  </a:lnTo>
                  <a:lnTo>
                    <a:pt x="903" y="59"/>
                  </a:lnTo>
                  <a:lnTo>
                    <a:pt x="952" y="29"/>
                  </a:lnTo>
                  <a:lnTo>
                    <a:pt x="99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HarmonyOS Sans SC"/>
                <a:cs typeface="+mn-cs"/>
              </a:endParaRPr>
            </a:p>
          </p:txBody>
        </p:sp>
        <p:sp>
          <p:nvSpPr>
            <p:cNvPr id="109" name="Freeform 1275">
              <a:extLst>
                <a:ext uri="{FF2B5EF4-FFF2-40B4-BE49-F238E27FC236}">
                  <a16:creationId xmlns:a16="http://schemas.microsoft.com/office/drawing/2014/main" id="{6ED03352-5475-4C00-B612-EB34D0501B9B}"/>
                </a:ext>
              </a:extLst>
            </p:cNvPr>
            <p:cNvSpPr>
              <a:spLocks/>
            </p:cNvSpPr>
            <p:nvPr/>
          </p:nvSpPr>
          <p:spPr bwMode="auto">
            <a:xfrm>
              <a:off x="5516" y="4987"/>
              <a:ext cx="618" cy="618"/>
            </a:xfrm>
            <a:custGeom>
              <a:avLst/>
              <a:gdLst>
                <a:gd name="T0" fmla="*/ 496 w 1237"/>
                <a:gd name="T1" fmla="*/ 0 h 1235"/>
                <a:gd name="T2" fmla="*/ 532 w 1237"/>
                <a:gd name="T3" fmla="*/ 36 h 1235"/>
                <a:gd name="T4" fmla="*/ 502 w 1237"/>
                <a:gd name="T5" fmla="*/ 104 h 1235"/>
                <a:gd name="T6" fmla="*/ 474 w 1237"/>
                <a:gd name="T7" fmla="*/ 173 h 1235"/>
                <a:gd name="T8" fmla="*/ 447 w 1237"/>
                <a:gd name="T9" fmla="*/ 248 h 1235"/>
                <a:gd name="T10" fmla="*/ 423 w 1237"/>
                <a:gd name="T11" fmla="*/ 324 h 1235"/>
                <a:gd name="T12" fmla="*/ 403 w 1237"/>
                <a:gd name="T13" fmla="*/ 401 h 1235"/>
                <a:gd name="T14" fmla="*/ 375 w 1237"/>
                <a:gd name="T15" fmla="*/ 522 h 1235"/>
                <a:gd name="T16" fmla="*/ 353 w 1237"/>
                <a:gd name="T17" fmla="*/ 644 h 1235"/>
                <a:gd name="T18" fmla="*/ 335 w 1237"/>
                <a:gd name="T19" fmla="*/ 767 h 1235"/>
                <a:gd name="T20" fmla="*/ 323 w 1237"/>
                <a:gd name="T21" fmla="*/ 890 h 1235"/>
                <a:gd name="T22" fmla="*/ 320 w 1237"/>
                <a:gd name="T23" fmla="*/ 915 h 1235"/>
                <a:gd name="T24" fmla="*/ 423 w 1237"/>
                <a:gd name="T25" fmla="*/ 906 h 1235"/>
                <a:gd name="T26" fmla="*/ 526 w 1237"/>
                <a:gd name="T27" fmla="*/ 893 h 1235"/>
                <a:gd name="T28" fmla="*/ 647 w 1237"/>
                <a:gd name="T29" fmla="*/ 874 h 1235"/>
                <a:gd name="T30" fmla="*/ 766 w 1237"/>
                <a:gd name="T31" fmla="*/ 849 h 1235"/>
                <a:gd name="T32" fmla="*/ 885 w 1237"/>
                <a:gd name="T33" fmla="*/ 820 h 1235"/>
                <a:gd name="T34" fmla="*/ 1002 w 1237"/>
                <a:gd name="T35" fmla="*/ 784 h 1235"/>
                <a:gd name="T36" fmla="*/ 1060 w 1237"/>
                <a:gd name="T37" fmla="*/ 763 h 1235"/>
                <a:gd name="T38" fmla="*/ 1117 w 1237"/>
                <a:gd name="T39" fmla="*/ 740 h 1235"/>
                <a:gd name="T40" fmla="*/ 1173 w 1237"/>
                <a:gd name="T41" fmla="*/ 717 h 1235"/>
                <a:gd name="T42" fmla="*/ 1200 w 1237"/>
                <a:gd name="T43" fmla="*/ 704 h 1235"/>
                <a:gd name="T44" fmla="*/ 1237 w 1237"/>
                <a:gd name="T45" fmla="*/ 740 h 1235"/>
                <a:gd name="T46" fmla="*/ 1194 w 1237"/>
                <a:gd name="T47" fmla="*/ 797 h 1235"/>
                <a:gd name="T48" fmla="*/ 1147 w 1237"/>
                <a:gd name="T49" fmla="*/ 851 h 1235"/>
                <a:gd name="T50" fmla="*/ 1095 w 1237"/>
                <a:gd name="T51" fmla="*/ 901 h 1235"/>
                <a:gd name="T52" fmla="*/ 1041 w 1237"/>
                <a:gd name="T53" fmla="*/ 947 h 1235"/>
                <a:gd name="T54" fmla="*/ 983 w 1237"/>
                <a:gd name="T55" fmla="*/ 989 h 1235"/>
                <a:gd name="T56" fmla="*/ 922 w 1237"/>
                <a:gd name="T57" fmla="*/ 1027 h 1235"/>
                <a:gd name="T58" fmla="*/ 858 w 1237"/>
                <a:gd name="T59" fmla="*/ 1062 h 1235"/>
                <a:gd name="T60" fmla="*/ 794 w 1237"/>
                <a:gd name="T61" fmla="*/ 1094 h 1235"/>
                <a:gd name="T62" fmla="*/ 728 w 1237"/>
                <a:gd name="T63" fmla="*/ 1123 h 1235"/>
                <a:gd name="T64" fmla="*/ 661 w 1237"/>
                <a:gd name="T65" fmla="*/ 1147 h 1235"/>
                <a:gd name="T66" fmla="*/ 594 w 1237"/>
                <a:gd name="T67" fmla="*/ 1169 h 1235"/>
                <a:gd name="T68" fmla="*/ 491 w 1237"/>
                <a:gd name="T69" fmla="*/ 1196 h 1235"/>
                <a:gd name="T70" fmla="*/ 386 w 1237"/>
                <a:gd name="T71" fmla="*/ 1217 h 1235"/>
                <a:gd name="T72" fmla="*/ 280 w 1237"/>
                <a:gd name="T73" fmla="*/ 1229 h 1235"/>
                <a:gd name="T74" fmla="*/ 174 w 1237"/>
                <a:gd name="T75" fmla="*/ 1235 h 1235"/>
                <a:gd name="T76" fmla="*/ 151 w 1237"/>
                <a:gd name="T77" fmla="*/ 1235 h 1235"/>
                <a:gd name="T78" fmla="*/ 128 w 1237"/>
                <a:gd name="T79" fmla="*/ 1233 h 1235"/>
                <a:gd name="T80" fmla="*/ 106 w 1237"/>
                <a:gd name="T81" fmla="*/ 1228 h 1235"/>
                <a:gd name="T82" fmla="*/ 80 w 1237"/>
                <a:gd name="T83" fmla="*/ 1217 h 1235"/>
                <a:gd name="T84" fmla="*/ 57 w 1237"/>
                <a:gd name="T85" fmla="*/ 1201 h 1235"/>
                <a:gd name="T86" fmla="*/ 36 w 1237"/>
                <a:gd name="T87" fmla="*/ 1182 h 1235"/>
                <a:gd name="T88" fmla="*/ 21 w 1237"/>
                <a:gd name="T89" fmla="*/ 1159 h 1235"/>
                <a:gd name="T90" fmla="*/ 8 w 1237"/>
                <a:gd name="T91" fmla="*/ 1134 h 1235"/>
                <a:gd name="T92" fmla="*/ 1 w 1237"/>
                <a:gd name="T93" fmla="*/ 1106 h 1235"/>
                <a:gd name="T94" fmla="*/ 0 w 1237"/>
                <a:gd name="T95" fmla="*/ 1073 h 1235"/>
                <a:gd name="T96" fmla="*/ 0 w 1237"/>
                <a:gd name="T97" fmla="*/ 1041 h 1235"/>
                <a:gd name="T98" fmla="*/ 6 w 1237"/>
                <a:gd name="T99" fmla="*/ 947 h 1235"/>
                <a:gd name="T100" fmla="*/ 18 w 1237"/>
                <a:gd name="T101" fmla="*/ 855 h 1235"/>
                <a:gd name="T102" fmla="*/ 35 w 1237"/>
                <a:gd name="T103" fmla="*/ 762 h 1235"/>
                <a:gd name="T104" fmla="*/ 57 w 1237"/>
                <a:gd name="T105" fmla="*/ 671 h 1235"/>
                <a:gd name="T106" fmla="*/ 85 w 1237"/>
                <a:gd name="T107" fmla="*/ 582 h 1235"/>
                <a:gd name="T108" fmla="*/ 115 w 1237"/>
                <a:gd name="T109" fmla="*/ 501 h 1235"/>
                <a:gd name="T110" fmla="*/ 150 w 1237"/>
                <a:gd name="T111" fmla="*/ 421 h 1235"/>
                <a:gd name="T112" fmla="*/ 190 w 1237"/>
                <a:gd name="T113" fmla="*/ 345 h 1235"/>
                <a:gd name="T114" fmla="*/ 235 w 1237"/>
                <a:gd name="T115" fmla="*/ 270 h 1235"/>
                <a:gd name="T116" fmla="*/ 285 w 1237"/>
                <a:gd name="T117" fmla="*/ 200 h 1235"/>
                <a:gd name="T118" fmla="*/ 331 w 1237"/>
                <a:gd name="T119" fmla="*/ 144 h 1235"/>
                <a:gd name="T120" fmla="*/ 382 w 1237"/>
                <a:gd name="T121" fmla="*/ 92 h 1235"/>
                <a:gd name="T122" fmla="*/ 438 w 1237"/>
                <a:gd name="T123" fmla="*/ 44 h 1235"/>
                <a:gd name="T124" fmla="*/ 496 w 1237"/>
                <a:gd name="T125" fmla="*/ 0 h 1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37" h="1235">
                  <a:moveTo>
                    <a:pt x="496" y="0"/>
                  </a:moveTo>
                  <a:lnTo>
                    <a:pt x="532" y="36"/>
                  </a:lnTo>
                  <a:lnTo>
                    <a:pt x="502" y="104"/>
                  </a:lnTo>
                  <a:lnTo>
                    <a:pt x="474" y="173"/>
                  </a:lnTo>
                  <a:lnTo>
                    <a:pt x="447" y="248"/>
                  </a:lnTo>
                  <a:lnTo>
                    <a:pt x="423" y="324"/>
                  </a:lnTo>
                  <a:lnTo>
                    <a:pt x="403" y="401"/>
                  </a:lnTo>
                  <a:lnTo>
                    <a:pt x="375" y="522"/>
                  </a:lnTo>
                  <a:lnTo>
                    <a:pt x="353" y="644"/>
                  </a:lnTo>
                  <a:lnTo>
                    <a:pt x="335" y="767"/>
                  </a:lnTo>
                  <a:lnTo>
                    <a:pt x="323" y="890"/>
                  </a:lnTo>
                  <a:lnTo>
                    <a:pt x="320" y="915"/>
                  </a:lnTo>
                  <a:lnTo>
                    <a:pt x="423" y="906"/>
                  </a:lnTo>
                  <a:lnTo>
                    <a:pt x="526" y="893"/>
                  </a:lnTo>
                  <a:lnTo>
                    <a:pt x="647" y="874"/>
                  </a:lnTo>
                  <a:lnTo>
                    <a:pt x="766" y="849"/>
                  </a:lnTo>
                  <a:lnTo>
                    <a:pt x="885" y="820"/>
                  </a:lnTo>
                  <a:lnTo>
                    <a:pt x="1002" y="784"/>
                  </a:lnTo>
                  <a:lnTo>
                    <a:pt x="1060" y="763"/>
                  </a:lnTo>
                  <a:lnTo>
                    <a:pt x="1117" y="740"/>
                  </a:lnTo>
                  <a:lnTo>
                    <a:pt x="1173" y="717"/>
                  </a:lnTo>
                  <a:lnTo>
                    <a:pt x="1200" y="704"/>
                  </a:lnTo>
                  <a:lnTo>
                    <a:pt x="1237" y="740"/>
                  </a:lnTo>
                  <a:lnTo>
                    <a:pt x="1194" y="797"/>
                  </a:lnTo>
                  <a:lnTo>
                    <a:pt x="1147" y="851"/>
                  </a:lnTo>
                  <a:lnTo>
                    <a:pt x="1095" y="901"/>
                  </a:lnTo>
                  <a:lnTo>
                    <a:pt x="1041" y="947"/>
                  </a:lnTo>
                  <a:lnTo>
                    <a:pt x="983" y="989"/>
                  </a:lnTo>
                  <a:lnTo>
                    <a:pt x="922" y="1027"/>
                  </a:lnTo>
                  <a:lnTo>
                    <a:pt x="858" y="1062"/>
                  </a:lnTo>
                  <a:lnTo>
                    <a:pt x="794" y="1094"/>
                  </a:lnTo>
                  <a:lnTo>
                    <a:pt x="728" y="1123"/>
                  </a:lnTo>
                  <a:lnTo>
                    <a:pt x="661" y="1147"/>
                  </a:lnTo>
                  <a:lnTo>
                    <a:pt x="594" y="1169"/>
                  </a:lnTo>
                  <a:lnTo>
                    <a:pt x="491" y="1196"/>
                  </a:lnTo>
                  <a:lnTo>
                    <a:pt x="386" y="1217"/>
                  </a:lnTo>
                  <a:lnTo>
                    <a:pt x="280" y="1229"/>
                  </a:lnTo>
                  <a:lnTo>
                    <a:pt x="174" y="1235"/>
                  </a:lnTo>
                  <a:lnTo>
                    <a:pt x="151" y="1235"/>
                  </a:lnTo>
                  <a:lnTo>
                    <a:pt x="128" y="1233"/>
                  </a:lnTo>
                  <a:lnTo>
                    <a:pt x="106" y="1228"/>
                  </a:lnTo>
                  <a:lnTo>
                    <a:pt x="80" y="1217"/>
                  </a:lnTo>
                  <a:lnTo>
                    <a:pt x="57" y="1201"/>
                  </a:lnTo>
                  <a:lnTo>
                    <a:pt x="36" y="1182"/>
                  </a:lnTo>
                  <a:lnTo>
                    <a:pt x="21" y="1159"/>
                  </a:lnTo>
                  <a:lnTo>
                    <a:pt x="8" y="1134"/>
                  </a:lnTo>
                  <a:lnTo>
                    <a:pt x="1" y="1106"/>
                  </a:lnTo>
                  <a:lnTo>
                    <a:pt x="0" y="1073"/>
                  </a:lnTo>
                  <a:lnTo>
                    <a:pt x="0" y="1041"/>
                  </a:lnTo>
                  <a:lnTo>
                    <a:pt x="6" y="947"/>
                  </a:lnTo>
                  <a:lnTo>
                    <a:pt x="18" y="855"/>
                  </a:lnTo>
                  <a:lnTo>
                    <a:pt x="35" y="762"/>
                  </a:lnTo>
                  <a:lnTo>
                    <a:pt x="57" y="671"/>
                  </a:lnTo>
                  <a:lnTo>
                    <a:pt x="85" y="582"/>
                  </a:lnTo>
                  <a:lnTo>
                    <a:pt x="115" y="501"/>
                  </a:lnTo>
                  <a:lnTo>
                    <a:pt x="150" y="421"/>
                  </a:lnTo>
                  <a:lnTo>
                    <a:pt x="190" y="345"/>
                  </a:lnTo>
                  <a:lnTo>
                    <a:pt x="235" y="270"/>
                  </a:lnTo>
                  <a:lnTo>
                    <a:pt x="285" y="200"/>
                  </a:lnTo>
                  <a:lnTo>
                    <a:pt x="331" y="144"/>
                  </a:lnTo>
                  <a:lnTo>
                    <a:pt x="382" y="92"/>
                  </a:lnTo>
                  <a:lnTo>
                    <a:pt x="438" y="44"/>
                  </a:lnTo>
                  <a:lnTo>
                    <a:pt x="49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HarmonyOS Sans SC"/>
                <a:cs typeface="+mn-cs"/>
              </a:endParaRPr>
            </a:p>
          </p:txBody>
        </p:sp>
        <p:sp>
          <p:nvSpPr>
            <p:cNvPr id="110" name="Freeform 1276">
              <a:extLst>
                <a:ext uri="{FF2B5EF4-FFF2-40B4-BE49-F238E27FC236}">
                  <a16:creationId xmlns:a16="http://schemas.microsoft.com/office/drawing/2014/main" id="{D23419F1-30DB-4895-8D1B-AA9B046ED40C}"/>
                </a:ext>
              </a:extLst>
            </p:cNvPr>
            <p:cNvSpPr>
              <a:spLocks noEditPoints="1"/>
            </p:cNvSpPr>
            <p:nvPr/>
          </p:nvSpPr>
          <p:spPr bwMode="auto">
            <a:xfrm>
              <a:off x="5766" y="3626"/>
              <a:ext cx="1731" cy="1729"/>
            </a:xfrm>
            <a:custGeom>
              <a:avLst/>
              <a:gdLst>
                <a:gd name="T0" fmla="*/ 1977 w 3461"/>
                <a:gd name="T1" fmla="*/ 939 h 3456"/>
                <a:gd name="T2" fmla="*/ 1837 w 3461"/>
                <a:gd name="T3" fmla="*/ 996 h 3456"/>
                <a:gd name="T4" fmla="*/ 1719 w 3461"/>
                <a:gd name="T5" fmla="*/ 1101 h 3456"/>
                <a:gd name="T6" fmla="*/ 1646 w 3461"/>
                <a:gd name="T7" fmla="*/ 1235 h 3456"/>
                <a:gd name="T8" fmla="*/ 1621 w 3461"/>
                <a:gd name="T9" fmla="*/ 1382 h 3456"/>
                <a:gd name="T10" fmla="*/ 1646 w 3461"/>
                <a:gd name="T11" fmla="*/ 1529 h 3456"/>
                <a:gd name="T12" fmla="*/ 1719 w 3461"/>
                <a:gd name="T13" fmla="*/ 1665 h 3456"/>
                <a:gd name="T14" fmla="*/ 1837 w 3461"/>
                <a:gd name="T15" fmla="*/ 1770 h 3456"/>
                <a:gd name="T16" fmla="*/ 1977 w 3461"/>
                <a:gd name="T17" fmla="*/ 1826 h 3456"/>
                <a:gd name="T18" fmla="*/ 2127 w 3461"/>
                <a:gd name="T19" fmla="*/ 1835 h 3456"/>
                <a:gd name="T20" fmla="*/ 2270 w 3461"/>
                <a:gd name="T21" fmla="*/ 1794 h 3456"/>
                <a:gd name="T22" fmla="*/ 2399 w 3461"/>
                <a:gd name="T23" fmla="*/ 1705 h 3456"/>
                <a:gd name="T24" fmla="*/ 2488 w 3461"/>
                <a:gd name="T25" fmla="*/ 1577 h 3456"/>
                <a:gd name="T26" fmla="*/ 2529 w 3461"/>
                <a:gd name="T27" fmla="*/ 1433 h 3456"/>
                <a:gd name="T28" fmla="*/ 2521 w 3461"/>
                <a:gd name="T29" fmla="*/ 1283 h 3456"/>
                <a:gd name="T30" fmla="*/ 2464 w 3461"/>
                <a:gd name="T31" fmla="*/ 1143 h 3456"/>
                <a:gd name="T32" fmla="*/ 2359 w 3461"/>
                <a:gd name="T33" fmla="*/ 1026 h 3456"/>
                <a:gd name="T34" fmla="*/ 2225 w 3461"/>
                <a:gd name="T35" fmla="*/ 952 h 3456"/>
                <a:gd name="T36" fmla="*/ 2076 w 3461"/>
                <a:gd name="T37" fmla="*/ 928 h 3456"/>
                <a:gd name="T38" fmla="*/ 3351 w 3461"/>
                <a:gd name="T39" fmla="*/ 2 h 3456"/>
                <a:gd name="T40" fmla="*/ 3421 w 3461"/>
                <a:gd name="T41" fmla="*/ 40 h 3456"/>
                <a:gd name="T42" fmla="*/ 3459 w 3461"/>
                <a:gd name="T43" fmla="*/ 111 h 3456"/>
                <a:gd name="T44" fmla="*/ 3457 w 3461"/>
                <a:gd name="T45" fmla="*/ 256 h 3456"/>
                <a:gd name="T46" fmla="*/ 3444 w 3461"/>
                <a:gd name="T47" fmla="*/ 471 h 3456"/>
                <a:gd name="T48" fmla="*/ 3416 w 3461"/>
                <a:gd name="T49" fmla="*/ 722 h 3456"/>
                <a:gd name="T50" fmla="*/ 3372 w 3461"/>
                <a:gd name="T51" fmla="*/ 997 h 3456"/>
                <a:gd name="T52" fmla="*/ 3304 w 3461"/>
                <a:gd name="T53" fmla="*/ 1283 h 3456"/>
                <a:gd name="T54" fmla="*/ 3210 w 3461"/>
                <a:gd name="T55" fmla="*/ 1569 h 3456"/>
                <a:gd name="T56" fmla="*/ 3083 w 3461"/>
                <a:gd name="T57" fmla="*/ 1845 h 3456"/>
                <a:gd name="T58" fmla="*/ 2922 w 3461"/>
                <a:gd name="T59" fmla="*/ 2094 h 3456"/>
                <a:gd name="T60" fmla="*/ 2738 w 3461"/>
                <a:gd name="T61" fmla="*/ 2296 h 3456"/>
                <a:gd name="T62" fmla="*/ 2592 w 3461"/>
                <a:gd name="T63" fmla="*/ 2431 h 3456"/>
                <a:gd name="T64" fmla="*/ 2457 w 3461"/>
                <a:gd name="T65" fmla="*/ 2538 h 3456"/>
                <a:gd name="T66" fmla="*/ 2318 w 3461"/>
                <a:gd name="T67" fmla="*/ 2635 h 3456"/>
                <a:gd name="T68" fmla="*/ 2156 w 3461"/>
                <a:gd name="T69" fmla="*/ 2738 h 3456"/>
                <a:gd name="T70" fmla="*/ 2003 w 3461"/>
                <a:gd name="T71" fmla="*/ 2833 h 3456"/>
                <a:gd name="T72" fmla="*/ 1849 w 3461"/>
                <a:gd name="T73" fmla="*/ 2931 h 3456"/>
                <a:gd name="T74" fmla="*/ 1665 w 3461"/>
                <a:gd name="T75" fmla="*/ 3049 h 3456"/>
                <a:gd name="T76" fmla="*/ 1449 w 3461"/>
                <a:gd name="T77" fmla="*/ 3193 h 3456"/>
                <a:gd name="T78" fmla="*/ 1193 w 3461"/>
                <a:gd name="T79" fmla="*/ 3366 h 3456"/>
                <a:gd name="T80" fmla="*/ 1048 w 3461"/>
                <a:gd name="T81" fmla="*/ 3453 h 3456"/>
                <a:gd name="T82" fmla="*/ 969 w 3461"/>
                <a:gd name="T83" fmla="*/ 3445 h 3456"/>
                <a:gd name="T84" fmla="*/ 40 w 3461"/>
                <a:gd name="T85" fmla="*/ 2534 h 3456"/>
                <a:gd name="T86" fmla="*/ 3 w 3461"/>
                <a:gd name="T87" fmla="*/ 2463 h 3456"/>
                <a:gd name="T88" fmla="*/ 11 w 3461"/>
                <a:gd name="T89" fmla="*/ 2383 h 3456"/>
                <a:gd name="T90" fmla="*/ 152 w 3461"/>
                <a:gd name="T91" fmla="*/ 2175 h 3456"/>
                <a:gd name="T92" fmla="*/ 315 w 3461"/>
                <a:gd name="T93" fmla="*/ 1934 h 3456"/>
                <a:gd name="T94" fmla="*/ 449 w 3461"/>
                <a:gd name="T95" fmla="*/ 1729 h 3456"/>
                <a:gd name="T96" fmla="*/ 560 w 3461"/>
                <a:gd name="T97" fmla="*/ 1556 h 3456"/>
                <a:gd name="T98" fmla="*/ 653 w 3461"/>
                <a:gd name="T99" fmla="*/ 1409 h 3456"/>
                <a:gd name="T100" fmla="*/ 755 w 3461"/>
                <a:gd name="T101" fmla="*/ 1246 h 3456"/>
                <a:gd name="T102" fmla="*/ 855 w 3461"/>
                <a:gd name="T103" fmla="*/ 1094 h 3456"/>
                <a:gd name="T104" fmla="*/ 953 w 3461"/>
                <a:gd name="T105" fmla="*/ 957 h 3456"/>
                <a:gd name="T106" fmla="*/ 1068 w 3461"/>
                <a:gd name="T107" fmla="*/ 822 h 3456"/>
                <a:gd name="T108" fmla="*/ 1215 w 3461"/>
                <a:gd name="T109" fmla="*/ 667 h 3456"/>
                <a:gd name="T110" fmla="*/ 1442 w 3461"/>
                <a:gd name="T111" fmla="*/ 480 h 3456"/>
                <a:gd name="T112" fmla="*/ 1704 w 3461"/>
                <a:gd name="T113" fmla="*/ 332 h 3456"/>
                <a:gd name="T114" fmla="*/ 1983 w 3461"/>
                <a:gd name="T115" fmla="*/ 217 h 3456"/>
                <a:gd name="T116" fmla="*/ 2272 w 3461"/>
                <a:gd name="T117" fmla="*/ 131 h 3456"/>
                <a:gd name="T118" fmla="*/ 2556 w 3461"/>
                <a:gd name="T119" fmla="*/ 72 h 3456"/>
                <a:gd name="T120" fmla="*/ 2824 w 3461"/>
                <a:gd name="T121" fmla="*/ 34 h 3456"/>
                <a:gd name="T122" fmla="*/ 3065 w 3461"/>
                <a:gd name="T123" fmla="*/ 11 h 3456"/>
                <a:gd name="T124" fmla="*/ 3265 w 3461"/>
                <a:gd name="T125" fmla="*/ 1 h 3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461" h="3456">
                  <a:moveTo>
                    <a:pt x="2076" y="928"/>
                  </a:moveTo>
                  <a:lnTo>
                    <a:pt x="2026" y="931"/>
                  </a:lnTo>
                  <a:lnTo>
                    <a:pt x="1977" y="939"/>
                  </a:lnTo>
                  <a:lnTo>
                    <a:pt x="1928" y="952"/>
                  </a:lnTo>
                  <a:lnTo>
                    <a:pt x="1881" y="972"/>
                  </a:lnTo>
                  <a:lnTo>
                    <a:pt x="1837" y="996"/>
                  </a:lnTo>
                  <a:lnTo>
                    <a:pt x="1794" y="1026"/>
                  </a:lnTo>
                  <a:lnTo>
                    <a:pt x="1754" y="1061"/>
                  </a:lnTo>
                  <a:lnTo>
                    <a:pt x="1719" y="1101"/>
                  </a:lnTo>
                  <a:lnTo>
                    <a:pt x="1689" y="1143"/>
                  </a:lnTo>
                  <a:lnTo>
                    <a:pt x="1665" y="1188"/>
                  </a:lnTo>
                  <a:lnTo>
                    <a:pt x="1646" y="1235"/>
                  </a:lnTo>
                  <a:lnTo>
                    <a:pt x="1632" y="1283"/>
                  </a:lnTo>
                  <a:lnTo>
                    <a:pt x="1624" y="1333"/>
                  </a:lnTo>
                  <a:lnTo>
                    <a:pt x="1621" y="1382"/>
                  </a:lnTo>
                  <a:lnTo>
                    <a:pt x="1624" y="1433"/>
                  </a:lnTo>
                  <a:lnTo>
                    <a:pt x="1632" y="1481"/>
                  </a:lnTo>
                  <a:lnTo>
                    <a:pt x="1646" y="1529"/>
                  </a:lnTo>
                  <a:lnTo>
                    <a:pt x="1665" y="1577"/>
                  </a:lnTo>
                  <a:lnTo>
                    <a:pt x="1689" y="1622"/>
                  </a:lnTo>
                  <a:lnTo>
                    <a:pt x="1719" y="1665"/>
                  </a:lnTo>
                  <a:lnTo>
                    <a:pt x="1754" y="1705"/>
                  </a:lnTo>
                  <a:lnTo>
                    <a:pt x="1794" y="1740"/>
                  </a:lnTo>
                  <a:lnTo>
                    <a:pt x="1837" y="1770"/>
                  </a:lnTo>
                  <a:lnTo>
                    <a:pt x="1881" y="1794"/>
                  </a:lnTo>
                  <a:lnTo>
                    <a:pt x="1928" y="1813"/>
                  </a:lnTo>
                  <a:lnTo>
                    <a:pt x="1977" y="1826"/>
                  </a:lnTo>
                  <a:lnTo>
                    <a:pt x="2026" y="1835"/>
                  </a:lnTo>
                  <a:lnTo>
                    <a:pt x="2076" y="1837"/>
                  </a:lnTo>
                  <a:lnTo>
                    <a:pt x="2127" y="1835"/>
                  </a:lnTo>
                  <a:lnTo>
                    <a:pt x="2175" y="1826"/>
                  </a:lnTo>
                  <a:lnTo>
                    <a:pt x="2225" y="1813"/>
                  </a:lnTo>
                  <a:lnTo>
                    <a:pt x="2270" y="1794"/>
                  </a:lnTo>
                  <a:lnTo>
                    <a:pt x="2316" y="1770"/>
                  </a:lnTo>
                  <a:lnTo>
                    <a:pt x="2359" y="1740"/>
                  </a:lnTo>
                  <a:lnTo>
                    <a:pt x="2399" y="1705"/>
                  </a:lnTo>
                  <a:lnTo>
                    <a:pt x="2434" y="1665"/>
                  </a:lnTo>
                  <a:lnTo>
                    <a:pt x="2464" y="1622"/>
                  </a:lnTo>
                  <a:lnTo>
                    <a:pt x="2488" y="1577"/>
                  </a:lnTo>
                  <a:lnTo>
                    <a:pt x="2507" y="1529"/>
                  </a:lnTo>
                  <a:lnTo>
                    <a:pt x="2521" y="1481"/>
                  </a:lnTo>
                  <a:lnTo>
                    <a:pt x="2529" y="1433"/>
                  </a:lnTo>
                  <a:lnTo>
                    <a:pt x="2532" y="1382"/>
                  </a:lnTo>
                  <a:lnTo>
                    <a:pt x="2529" y="1333"/>
                  </a:lnTo>
                  <a:lnTo>
                    <a:pt x="2521" y="1283"/>
                  </a:lnTo>
                  <a:lnTo>
                    <a:pt x="2507" y="1235"/>
                  </a:lnTo>
                  <a:lnTo>
                    <a:pt x="2488" y="1188"/>
                  </a:lnTo>
                  <a:lnTo>
                    <a:pt x="2464" y="1143"/>
                  </a:lnTo>
                  <a:lnTo>
                    <a:pt x="2434" y="1101"/>
                  </a:lnTo>
                  <a:lnTo>
                    <a:pt x="2399" y="1061"/>
                  </a:lnTo>
                  <a:lnTo>
                    <a:pt x="2359" y="1026"/>
                  </a:lnTo>
                  <a:lnTo>
                    <a:pt x="2316" y="996"/>
                  </a:lnTo>
                  <a:lnTo>
                    <a:pt x="2270" y="972"/>
                  </a:lnTo>
                  <a:lnTo>
                    <a:pt x="2225" y="952"/>
                  </a:lnTo>
                  <a:lnTo>
                    <a:pt x="2175" y="939"/>
                  </a:lnTo>
                  <a:lnTo>
                    <a:pt x="2127" y="931"/>
                  </a:lnTo>
                  <a:lnTo>
                    <a:pt x="2076" y="928"/>
                  </a:lnTo>
                  <a:close/>
                  <a:moveTo>
                    <a:pt x="3322" y="0"/>
                  </a:moveTo>
                  <a:lnTo>
                    <a:pt x="3325" y="0"/>
                  </a:lnTo>
                  <a:lnTo>
                    <a:pt x="3351" y="2"/>
                  </a:lnTo>
                  <a:lnTo>
                    <a:pt x="3377" y="10"/>
                  </a:lnTo>
                  <a:lnTo>
                    <a:pt x="3401" y="23"/>
                  </a:lnTo>
                  <a:lnTo>
                    <a:pt x="3421" y="40"/>
                  </a:lnTo>
                  <a:lnTo>
                    <a:pt x="3438" y="60"/>
                  </a:lnTo>
                  <a:lnTo>
                    <a:pt x="3451" y="86"/>
                  </a:lnTo>
                  <a:lnTo>
                    <a:pt x="3459" y="111"/>
                  </a:lnTo>
                  <a:lnTo>
                    <a:pt x="3461" y="139"/>
                  </a:lnTo>
                  <a:lnTo>
                    <a:pt x="3460" y="194"/>
                  </a:lnTo>
                  <a:lnTo>
                    <a:pt x="3457" y="256"/>
                  </a:lnTo>
                  <a:lnTo>
                    <a:pt x="3454" y="323"/>
                  </a:lnTo>
                  <a:lnTo>
                    <a:pt x="3450" y="395"/>
                  </a:lnTo>
                  <a:lnTo>
                    <a:pt x="3444" y="471"/>
                  </a:lnTo>
                  <a:lnTo>
                    <a:pt x="3437" y="552"/>
                  </a:lnTo>
                  <a:lnTo>
                    <a:pt x="3427" y="635"/>
                  </a:lnTo>
                  <a:lnTo>
                    <a:pt x="3416" y="722"/>
                  </a:lnTo>
                  <a:lnTo>
                    <a:pt x="3404" y="811"/>
                  </a:lnTo>
                  <a:lnTo>
                    <a:pt x="3389" y="903"/>
                  </a:lnTo>
                  <a:lnTo>
                    <a:pt x="3372" y="997"/>
                  </a:lnTo>
                  <a:lnTo>
                    <a:pt x="3351" y="1091"/>
                  </a:lnTo>
                  <a:lnTo>
                    <a:pt x="3329" y="1187"/>
                  </a:lnTo>
                  <a:lnTo>
                    <a:pt x="3304" y="1283"/>
                  </a:lnTo>
                  <a:lnTo>
                    <a:pt x="3275" y="1380"/>
                  </a:lnTo>
                  <a:lnTo>
                    <a:pt x="3244" y="1475"/>
                  </a:lnTo>
                  <a:lnTo>
                    <a:pt x="3210" y="1569"/>
                  </a:lnTo>
                  <a:lnTo>
                    <a:pt x="3171" y="1663"/>
                  </a:lnTo>
                  <a:lnTo>
                    <a:pt x="3129" y="1755"/>
                  </a:lnTo>
                  <a:lnTo>
                    <a:pt x="3083" y="1845"/>
                  </a:lnTo>
                  <a:lnTo>
                    <a:pt x="3033" y="1932"/>
                  </a:lnTo>
                  <a:lnTo>
                    <a:pt x="2980" y="2015"/>
                  </a:lnTo>
                  <a:lnTo>
                    <a:pt x="2922" y="2094"/>
                  </a:lnTo>
                  <a:lnTo>
                    <a:pt x="2859" y="2172"/>
                  </a:lnTo>
                  <a:lnTo>
                    <a:pt x="2793" y="2243"/>
                  </a:lnTo>
                  <a:lnTo>
                    <a:pt x="2738" y="2296"/>
                  </a:lnTo>
                  <a:lnTo>
                    <a:pt x="2686" y="2346"/>
                  </a:lnTo>
                  <a:lnTo>
                    <a:pt x="2638" y="2390"/>
                  </a:lnTo>
                  <a:lnTo>
                    <a:pt x="2592" y="2431"/>
                  </a:lnTo>
                  <a:lnTo>
                    <a:pt x="2546" y="2469"/>
                  </a:lnTo>
                  <a:lnTo>
                    <a:pt x="2501" y="2504"/>
                  </a:lnTo>
                  <a:lnTo>
                    <a:pt x="2457" y="2538"/>
                  </a:lnTo>
                  <a:lnTo>
                    <a:pt x="2412" y="2571"/>
                  </a:lnTo>
                  <a:lnTo>
                    <a:pt x="2366" y="2603"/>
                  </a:lnTo>
                  <a:lnTo>
                    <a:pt x="2318" y="2635"/>
                  </a:lnTo>
                  <a:lnTo>
                    <a:pt x="2267" y="2668"/>
                  </a:lnTo>
                  <a:lnTo>
                    <a:pt x="2214" y="2702"/>
                  </a:lnTo>
                  <a:lnTo>
                    <a:pt x="2156" y="2738"/>
                  </a:lnTo>
                  <a:lnTo>
                    <a:pt x="2094" y="2777"/>
                  </a:lnTo>
                  <a:lnTo>
                    <a:pt x="2050" y="2804"/>
                  </a:lnTo>
                  <a:lnTo>
                    <a:pt x="2003" y="2833"/>
                  </a:lnTo>
                  <a:lnTo>
                    <a:pt x="1955" y="2865"/>
                  </a:lnTo>
                  <a:lnTo>
                    <a:pt x="1903" y="2897"/>
                  </a:lnTo>
                  <a:lnTo>
                    <a:pt x="1849" y="2931"/>
                  </a:lnTo>
                  <a:lnTo>
                    <a:pt x="1791" y="2969"/>
                  </a:lnTo>
                  <a:lnTo>
                    <a:pt x="1729" y="3007"/>
                  </a:lnTo>
                  <a:lnTo>
                    <a:pt x="1665" y="3049"/>
                  </a:lnTo>
                  <a:lnTo>
                    <a:pt x="1597" y="3094"/>
                  </a:lnTo>
                  <a:lnTo>
                    <a:pt x="1525" y="3142"/>
                  </a:lnTo>
                  <a:lnTo>
                    <a:pt x="1449" y="3193"/>
                  </a:lnTo>
                  <a:lnTo>
                    <a:pt x="1368" y="3247"/>
                  </a:lnTo>
                  <a:lnTo>
                    <a:pt x="1283" y="3304"/>
                  </a:lnTo>
                  <a:lnTo>
                    <a:pt x="1193" y="3366"/>
                  </a:lnTo>
                  <a:lnTo>
                    <a:pt x="1099" y="3431"/>
                  </a:lnTo>
                  <a:lnTo>
                    <a:pt x="1074" y="3445"/>
                  </a:lnTo>
                  <a:lnTo>
                    <a:pt x="1048" y="3453"/>
                  </a:lnTo>
                  <a:lnTo>
                    <a:pt x="1021" y="3456"/>
                  </a:lnTo>
                  <a:lnTo>
                    <a:pt x="994" y="3454"/>
                  </a:lnTo>
                  <a:lnTo>
                    <a:pt x="969" y="3445"/>
                  </a:lnTo>
                  <a:lnTo>
                    <a:pt x="946" y="3433"/>
                  </a:lnTo>
                  <a:lnTo>
                    <a:pt x="924" y="3415"/>
                  </a:lnTo>
                  <a:lnTo>
                    <a:pt x="40" y="2534"/>
                  </a:lnTo>
                  <a:lnTo>
                    <a:pt x="23" y="2512"/>
                  </a:lnTo>
                  <a:lnTo>
                    <a:pt x="10" y="2488"/>
                  </a:lnTo>
                  <a:lnTo>
                    <a:pt x="3" y="2463"/>
                  </a:lnTo>
                  <a:lnTo>
                    <a:pt x="0" y="2436"/>
                  </a:lnTo>
                  <a:lnTo>
                    <a:pt x="3" y="2408"/>
                  </a:lnTo>
                  <a:lnTo>
                    <a:pt x="11" y="2383"/>
                  </a:lnTo>
                  <a:lnTo>
                    <a:pt x="25" y="2359"/>
                  </a:lnTo>
                  <a:lnTo>
                    <a:pt x="90" y="2265"/>
                  </a:lnTo>
                  <a:lnTo>
                    <a:pt x="152" y="2175"/>
                  </a:lnTo>
                  <a:lnTo>
                    <a:pt x="210" y="2090"/>
                  </a:lnTo>
                  <a:lnTo>
                    <a:pt x="264" y="2010"/>
                  </a:lnTo>
                  <a:lnTo>
                    <a:pt x="315" y="1934"/>
                  </a:lnTo>
                  <a:lnTo>
                    <a:pt x="362" y="1861"/>
                  </a:lnTo>
                  <a:lnTo>
                    <a:pt x="407" y="1794"/>
                  </a:lnTo>
                  <a:lnTo>
                    <a:pt x="449" y="1729"/>
                  </a:lnTo>
                  <a:lnTo>
                    <a:pt x="489" y="1668"/>
                  </a:lnTo>
                  <a:lnTo>
                    <a:pt x="525" y="1610"/>
                  </a:lnTo>
                  <a:lnTo>
                    <a:pt x="560" y="1556"/>
                  </a:lnTo>
                  <a:lnTo>
                    <a:pt x="593" y="1504"/>
                  </a:lnTo>
                  <a:lnTo>
                    <a:pt x="624" y="1456"/>
                  </a:lnTo>
                  <a:lnTo>
                    <a:pt x="653" y="1409"/>
                  </a:lnTo>
                  <a:lnTo>
                    <a:pt x="681" y="1365"/>
                  </a:lnTo>
                  <a:lnTo>
                    <a:pt x="718" y="1303"/>
                  </a:lnTo>
                  <a:lnTo>
                    <a:pt x="755" y="1246"/>
                  </a:lnTo>
                  <a:lnTo>
                    <a:pt x="790" y="1193"/>
                  </a:lnTo>
                  <a:lnTo>
                    <a:pt x="822" y="1142"/>
                  </a:lnTo>
                  <a:lnTo>
                    <a:pt x="855" y="1094"/>
                  </a:lnTo>
                  <a:lnTo>
                    <a:pt x="886" y="1048"/>
                  </a:lnTo>
                  <a:lnTo>
                    <a:pt x="919" y="1002"/>
                  </a:lnTo>
                  <a:lnTo>
                    <a:pt x="953" y="957"/>
                  </a:lnTo>
                  <a:lnTo>
                    <a:pt x="989" y="914"/>
                  </a:lnTo>
                  <a:lnTo>
                    <a:pt x="1027" y="868"/>
                  </a:lnTo>
                  <a:lnTo>
                    <a:pt x="1068" y="822"/>
                  </a:lnTo>
                  <a:lnTo>
                    <a:pt x="1112" y="773"/>
                  </a:lnTo>
                  <a:lnTo>
                    <a:pt x="1161" y="722"/>
                  </a:lnTo>
                  <a:lnTo>
                    <a:pt x="1215" y="667"/>
                  </a:lnTo>
                  <a:lnTo>
                    <a:pt x="1287" y="601"/>
                  </a:lnTo>
                  <a:lnTo>
                    <a:pt x="1363" y="538"/>
                  </a:lnTo>
                  <a:lnTo>
                    <a:pt x="1442" y="480"/>
                  </a:lnTo>
                  <a:lnTo>
                    <a:pt x="1527" y="427"/>
                  </a:lnTo>
                  <a:lnTo>
                    <a:pt x="1613" y="378"/>
                  </a:lnTo>
                  <a:lnTo>
                    <a:pt x="1704" y="332"/>
                  </a:lnTo>
                  <a:lnTo>
                    <a:pt x="1794" y="290"/>
                  </a:lnTo>
                  <a:lnTo>
                    <a:pt x="1889" y="252"/>
                  </a:lnTo>
                  <a:lnTo>
                    <a:pt x="1983" y="217"/>
                  </a:lnTo>
                  <a:lnTo>
                    <a:pt x="2080" y="186"/>
                  </a:lnTo>
                  <a:lnTo>
                    <a:pt x="2175" y="157"/>
                  </a:lnTo>
                  <a:lnTo>
                    <a:pt x="2272" y="131"/>
                  </a:lnTo>
                  <a:lnTo>
                    <a:pt x="2367" y="110"/>
                  </a:lnTo>
                  <a:lnTo>
                    <a:pt x="2463" y="89"/>
                  </a:lnTo>
                  <a:lnTo>
                    <a:pt x="2556" y="72"/>
                  </a:lnTo>
                  <a:lnTo>
                    <a:pt x="2648" y="57"/>
                  </a:lnTo>
                  <a:lnTo>
                    <a:pt x="2737" y="45"/>
                  </a:lnTo>
                  <a:lnTo>
                    <a:pt x="2824" y="34"/>
                  </a:lnTo>
                  <a:lnTo>
                    <a:pt x="2909" y="24"/>
                  </a:lnTo>
                  <a:lnTo>
                    <a:pt x="2988" y="17"/>
                  </a:lnTo>
                  <a:lnTo>
                    <a:pt x="3065" y="11"/>
                  </a:lnTo>
                  <a:lnTo>
                    <a:pt x="3137" y="6"/>
                  </a:lnTo>
                  <a:lnTo>
                    <a:pt x="3204" y="3"/>
                  </a:lnTo>
                  <a:lnTo>
                    <a:pt x="3265" y="1"/>
                  </a:lnTo>
                  <a:lnTo>
                    <a:pt x="332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HarmonyOS Sans SC"/>
                <a:cs typeface="+mn-cs"/>
              </a:endParaRPr>
            </a:p>
          </p:txBody>
        </p:sp>
      </p:grpSp>
      <p:grpSp>
        <p:nvGrpSpPr>
          <p:cNvPr id="111" name="Group 1036">
            <a:extLst>
              <a:ext uri="{FF2B5EF4-FFF2-40B4-BE49-F238E27FC236}">
                <a16:creationId xmlns:a16="http://schemas.microsoft.com/office/drawing/2014/main" id="{861DFB90-C001-447D-9EF3-BE8DC2A97E01}"/>
              </a:ext>
            </a:extLst>
          </p:cNvPr>
          <p:cNvGrpSpPr>
            <a:grpSpLocks noChangeAspect="1"/>
          </p:cNvGrpSpPr>
          <p:nvPr/>
        </p:nvGrpSpPr>
        <p:grpSpPr bwMode="auto">
          <a:xfrm>
            <a:off x="6770249" y="2273090"/>
            <a:ext cx="246522" cy="245021"/>
            <a:chOff x="9876" y="-1946"/>
            <a:chExt cx="822" cy="817"/>
          </a:xfrm>
          <a:solidFill>
            <a:schemeClr val="bg1"/>
          </a:solidFill>
        </p:grpSpPr>
        <p:sp>
          <p:nvSpPr>
            <p:cNvPr id="112" name="Freeform 1038">
              <a:extLst>
                <a:ext uri="{FF2B5EF4-FFF2-40B4-BE49-F238E27FC236}">
                  <a16:creationId xmlns:a16="http://schemas.microsoft.com/office/drawing/2014/main" id="{36096536-43AB-4A64-AFCE-26389FEE03E7}"/>
                </a:ext>
              </a:extLst>
            </p:cNvPr>
            <p:cNvSpPr>
              <a:spLocks/>
            </p:cNvSpPr>
            <p:nvPr/>
          </p:nvSpPr>
          <p:spPr bwMode="auto">
            <a:xfrm>
              <a:off x="10016" y="-1801"/>
              <a:ext cx="356" cy="75"/>
            </a:xfrm>
            <a:custGeom>
              <a:avLst/>
              <a:gdLst>
                <a:gd name="T0" fmla="*/ 149 w 1421"/>
                <a:gd name="T1" fmla="*/ 0 h 298"/>
                <a:gd name="T2" fmla="*/ 1272 w 1421"/>
                <a:gd name="T3" fmla="*/ 0 h 298"/>
                <a:gd name="T4" fmla="*/ 1302 w 1421"/>
                <a:gd name="T5" fmla="*/ 3 h 298"/>
                <a:gd name="T6" fmla="*/ 1330 w 1421"/>
                <a:gd name="T7" fmla="*/ 12 h 298"/>
                <a:gd name="T8" fmla="*/ 1356 w 1421"/>
                <a:gd name="T9" fmla="*/ 25 h 298"/>
                <a:gd name="T10" fmla="*/ 1378 w 1421"/>
                <a:gd name="T11" fmla="*/ 44 h 298"/>
                <a:gd name="T12" fmla="*/ 1396 w 1421"/>
                <a:gd name="T13" fmla="*/ 66 h 298"/>
                <a:gd name="T14" fmla="*/ 1410 w 1421"/>
                <a:gd name="T15" fmla="*/ 91 h 298"/>
                <a:gd name="T16" fmla="*/ 1418 w 1421"/>
                <a:gd name="T17" fmla="*/ 119 h 298"/>
                <a:gd name="T18" fmla="*/ 1421 w 1421"/>
                <a:gd name="T19" fmla="*/ 149 h 298"/>
                <a:gd name="T20" fmla="*/ 1418 w 1421"/>
                <a:gd name="T21" fmla="*/ 179 h 298"/>
                <a:gd name="T22" fmla="*/ 1410 w 1421"/>
                <a:gd name="T23" fmla="*/ 206 h 298"/>
                <a:gd name="T24" fmla="*/ 1396 w 1421"/>
                <a:gd name="T25" fmla="*/ 232 h 298"/>
                <a:gd name="T26" fmla="*/ 1378 w 1421"/>
                <a:gd name="T27" fmla="*/ 254 h 298"/>
                <a:gd name="T28" fmla="*/ 1356 w 1421"/>
                <a:gd name="T29" fmla="*/ 272 h 298"/>
                <a:gd name="T30" fmla="*/ 1330 w 1421"/>
                <a:gd name="T31" fmla="*/ 285 h 298"/>
                <a:gd name="T32" fmla="*/ 1302 w 1421"/>
                <a:gd name="T33" fmla="*/ 295 h 298"/>
                <a:gd name="T34" fmla="*/ 1272 w 1421"/>
                <a:gd name="T35" fmla="*/ 298 h 298"/>
                <a:gd name="T36" fmla="*/ 149 w 1421"/>
                <a:gd name="T37" fmla="*/ 298 h 298"/>
                <a:gd name="T38" fmla="*/ 119 w 1421"/>
                <a:gd name="T39" fmla="*/ 295 h 298"/>
                <a:gd name="T40" fmla="*/ 91 w 1421"/>
                <a:gd name="T41" fmla="*/ 285 h 298"/>
                <a:gd name="T42" fmla="*/ 65 w 1421"/>
                <a:gd name="T43" fmla="*/ 272 h 298"/>
                <a:gd name="T44" fmla="*/ 44 w 1421"/>
                <a:gd name="T45" fmla="*/ 254 h 298"/>
                <a:gd name="T46" fmla="*/ 25 w 1421"/>
                <a:gd name="T47" fmla="*/ 232 h 298"/>
                <a:gd name="T48" fmla="*/ 11 w 1421"/>
                <a:gd name="T49" fmla="*/ 206 h 298"/>
                <a:gd name="T50" fmla="*/ 3 w 1421"/>
                <a:gd name="T51" fmla="*/ 179 h 298"/>
                <a:gd name="T52" fmla="*/ 0 w 1421"/>
                <a:gd name="T53" fmla="*/ 149 h 298"/>
                <a:gd name="T54" fmla="*/ 3 w 1421"/>
                <a:gd name="T55" fmla="*/ 119 h 298"/>
                <a:gd name="T56" fmla="*/ 11 w 1421"/>
                <a:gd name="T57" fmla="*/ 91 h 298"/>
                <a:gd name="T58" fmla="*/ 25 w 1421"/>
                <a:gd name="T59" fmla="*/ 66 h 298"/>
                <a:gd name="T60" fmla="*/ 44 w 1421"/>
                <a:gd name="T61" fmla="*/ 44 h 298"/>
                <a:gd name="T62" fmla="*/ 65 w 1421"/>
                <a:gd name="T63" fmla="*/ 25 h 298"/>
                <a:gd name="T64" fmla="*/ 91 w 1421"/>
                <a:gd name="T65" fmla="*/ 12 h 298"/>
                <a:gd name="T66" fmla="*/ 119 w 1421"/>
                <a:gd name="T67" fmla="*/ 3 h 298"/>
                <a:gd name="T68" fmla="*/ 149 w 1421"/>
                <a:gd name="T69" fmla="*/ 0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421" h="298">
                  <a:moveTo>
                    <a:pt x="149" y="0"/>
                  </a:moveTo>
                  <a:lnTo>
                    <a:pt x="1272" y="0"/>
                  </a:lnTo>
                  <a:lnTo>
                    <a:pt x="1302" y="3"/>
                  </a:lnTo>
                  <a:lnTo>
                    <a:pt x="1330" y="12"/>
                  </a:lnTo>
                  <a:lnTo>
                    <a:pt x="1356" y="25"/>
                  </a:lnTo>
                  <a:lnTo>
                    <a:pt x="1378" y="44"/>
                  </a:lnTo>
                  <a:lnTo>
                    <a:pt x="1396" y="66"/>
                  </a:lnTo>
                  <a:lnTo>
                    <a:pt x="1410" y="91"/>
                  </a:lnTo>
                  <a:lnTo>
                    <a:pt x="1418" y="119"/>
                  </a:lnTo>
                  <a:lnTo>
                    <a:pt x="1421" y="149"/>
                  </a:lnTo>
                  <a:lnTo>
                    <a:pt x="1418" y="179"/>
                  </a:lnTo>
                  <a:lnTo>
                    <a:pt x="1410" y="206"/>
                  </a:lnTo>
                  <a:lnTo>
                    <a:pt x="1396" y="232"/>
                  </a:lnTo>
                  <a:lnTo>
                    <a:pt x="1378" y="254"/>
                  </a:lnTo>
                  <a:lnTo>
                    <a:pt x="1356" y="272"/>
                  </a:lnTo>
                  <a:lnTo>
                    <a:pt x="1330" y="285"/>
                  </a:lnTo>
                  <a:lnTo>
                    <a:pt x="1302" y="295"/>
                  </a:lnTo>
                  <a:lnTo>
                    <a:pt x="1272" y="298"/>
                  </a:lnTo>
                  <a:lnTo>
                    <a:pt x="149" y="298"/>
                  </a:lnTo>
                  <a:lnTo>
                    <a:pt x="119" y="295"/>
                  </a:lnTo>
                  <a:lnTo>
                    <a:pt x="91" y="285"/>
                  </a:lnTo>
                  <a:lnTo>
                    <a:pt x="65" y="272"/>
                  </a:lnTo>
                  <a:lnTo>
                    <a:pt x="44" y="254"/>
                  </a:lnTo>
                  <a:lnTo>
                    <a:pt x="25" y="232"/>
                  </a:lnTo>
                  <a:lnTo>
                    <a:pt x="11" y="206"/>
                  </a:lnTo>
                  <a:lnTo>
                    <a:pt x="3" y="179"/>
                  </a:lnTo>
                  <a:lnTo>
                    <a:pt x="0" y="149"/>
                  </a:lnTo>
                  <a:lnTo>
                    <a:pt x="3" y="119"/>
                  </a:lnTo>
                  <a:lnTo>
                    <a:pt x="11" y="91"/>
                  </a:lnTo>
                  <a:lnTo>
                    <a:pt x="25" y="66"/>
                  </a:lnTo>
                  <a:lnTo>
                    <a:pt x="44" y="44"/>
                  </a:lnTo>
                  <a:lnTo>
                    <a:pt x="65" y="25"/>
                  </a:lnTo>
                  <a:lnTo>
                    <a:pt x="91" y="12"/>
                  </a:lnTo>
                  <a:lnTo>
                    <a:pt x="119" y="3"/>
                  </a:lnTo>
                  <a:lnTo>
                    <a:pt x="14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HarmonyOS Sans SC"/>
                <a:cs typeface="+mn-cs"/>
              </a:endParaRPr>
            </a:p>
          </p:txBody>
        </p:sp>
        <p:sp>
          <p:nvSpPr>
            <p:cNvPr id="113" name="Freeform 1039">
              <a:extLst>
                <a:ext uri="{FF2B5EF4-FFF2-40B4-BE49-F238E27FC236}">
                  <a16:creationId xmlns:a16="http://schemas.microsoft.com/office/drawing/2014/main" id="{E9C8D2A8-5888-4136-99A3-1C28E54213DD}"/>
                </a:ext>
              </a:extLst>
            </p:cNvPr>
            <p:cNvSpPr>
              <a:spLocks/>
            </p:cNvSpPr>
            <p:nvPr/>
          </p:nvSpPr>
          <p:spPr bwMode="auto">
            <a:xfrm>
              <a:off x="10016" y="-1662"/>
              <a:ext cx="356" cy="75"/>
            </a:xfrm>
            <a:custGeom>
              <a:avLst/>
              <a:gdLst>
                <a:gd name="T0" fmla="*/ 149 w 1421"/>
                <a:gd name="T1" fmla="*/ 0 h 298"/>
                <a:gd name="T2" fmla="*/ 1272 w 1421"/>
                <a:gd name="T3" fmla="*/ 0 h 298"/>
                <a:gd name="T4" fmla="*/ 1302 w 1421"/>
                <a:gd name="T5" fmla="*/ 3 h 298"/>
                <a:gd name="T6" fmla="*/ 1330 w 1421"/>
                <a:gd name="T7" fmla="*/ 12 h 298"/>
                <a:gd name="T8" fmla="*/ 1356 w 1421"/>
                <a:gd name="T9" fmla="*/ 26 h 298"/>
                <a:gd name="T10" fmla="*/ 1378 w 1421"/>
                <a:gd name="T11" fmla="*/ 44 h 298"/>
                <a:gd name="T12" fmla="*/ 1396 w 1421"/>
                <a:gd name="T13" fmla="*/ 66 h 298"/>
                <a:gd name="T14" fmla="*/ 1410 w 1421"/>
                <a:gd name="T15" fmla="*/ 91 h 298"/>
                <a:gd name="T16" fmla="*/ 1418 w 1421"/>
                <a:gd name="T17" fmla="*/ 119 h 298"/>
                <a:gd name="T18" fmla="*/ 1421 w 1421"/>
                <a:gd name="T19" fmla="*/ 149 h 298"/>
                <a:gd name="T20" fmla="*/ 1418 w 1421"/>
                <a:gd name="T21" fmla="*/ 179 h 298"/>
                <a:gd name="T22" fmla="*/ 1410 w 1421"/>
                <a:gd name="T23" fmla="*/ 207 h 298"/>
                <a:gd name="T24" fmla="*/ 1396 w 1421"/>
                <a:gd name="T25" fmla="*/ 232 h 298"/>
                <a:gd name="T26" fmla="*/ 1378 w 1421"/>
                <a:gd name="T27" fmla="*/ 255 h 298"/>
                <a:gd name="T28" fmla="*/ 1356 w 1421"/>
                <a:gd name="T29" fmla="*/ 272 h 298"/>
                <a:gd name="T30" fmla="*/ 1330 w 1421"/>
                <a:gd name="T31" fmla="*/ 287 h 298"/>
                <a:gd name="T32" fmla="*/ 1302 w 1421"/>
                <a:gd name="T33" fmla="*/ 295 h 298"/>
                <a:gd name="T34" fmla="*/ 1272 w 1421"/>
                <a:gd name="T35" fmla="*/ 298 h 298"/>
                <a:gd name="T36" fmla="*/ 149 w 1421"/>
                <a:gd name="T37" fmla="*/ 298 h 298"/>
                <a:gd name="T38" fmla="*/ 119 w 1421"/>
                <a:gd name="T39" fmla="*/ 295 h 298"/>
                <a:gd name="T40" fmla="*/ 91 w 1421"/>
                <a:gd name="T41" fmla="*/ 287 h 298"/>
                <a:gd name="T42" fmla="*/ 65 w 1421"/>
                <a:gd name="T43" fmla="*/ 272 h 298"/>
                <a:gd name="T44" fmla="*/ 44 w 1421"/>
                <a:gd name="T45" fmla="*/ 255 h 298"/>
                <a:gd name="T46" fmla="*/ 25 w 1421"/>
                <a:gd name="T47" fmla="*/ 232 h 298"/>
                <a:gd name="T48" fmla="*/ 11 w 1421"/>
                <a:gd name="T49" fmla="*/ 207 h 298"/>
                <a:gd name="T50" fmla="*/ 3 w 1421"/>
                <a:gd name="T51" fmla="*/ 179 h 298"/>
                <a:gd name="T52" fmla="*/ 0 w 1421"/>
                <a:gd name="T53" fmla="*/ 149 h 298"/>
                <a:gd name="T54" fmla="*/ 3 w 1421"/>
                <a:gd name="T55" fmla="*/ 119 h 298"/>
                <a:gd name="T56" fmla="*/ 11 w 1421"/>
                <a:gd name="T57" fmla="*/ 91 h 298"/>
                <a:gd name="T58" fmla="*/ 25 w 1421"/>
                <a:gd name="T59" fmla="*/ 66 h 298"/>
                <a:gd name="T60" fmla="*/ 44 w 1421"/>
                <a:gd name="T61" fmla="*/ 44 h 298"/>
                <a:gd name="T62" fmla="*/ 65 w 1421"/>
                <a:gd name="T63" fmla="*/ 26 h 298"/>
                <a:gd name="T64" fmla="*/ 91 w 1421"/>
                <a:gd name="T65" fmla="*/ 12 h 298"/>
                <a:gd name="T66" fmla="*/ 119 w 1421"/>
                <a:gd name="T67" fmla="*/ 3 h 298"/>
                <a:gd name="T68" fmla="*/ 149 w 1421"/>
                <a:gd name="T69" fmla="*/ 0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421" h="298">
                  <a:moveTo>
                    <a:pt x="149" y="0"/>
                  </a:moveTo>
                  <a:lnTo>
                    <a:pt x="1272" y="0"/>
                  </a:lnTo>
                  <a:lnTo>
                    <a:pt x="1302" y="3"/>
                  </a:lnTo>
                  <a:lnTo>
                    <a:pt x="1330" y="12"/>
                  </a:lnTo>
                  <a:lnTo>
                    <a:pt x="1356" y="26"/>
                  </a:lnTo>
                  <a:lnTo>
                    <a:pt x="1378" y="44"/>
                  </a:lnTo>
                  <a:lnTo>
                    <a:pt x="1396" y="66"/>
                  </a:lnTo>
                  <a:lnTo>
                    <a:pt x="1410" y="91"/>
                  </a:lnTo>
                  <a:lnTo>
                    <a:pt x="1418" y="119"/>
                  </a:lnTo>
                  <a:lnTo>
                    <a:pt x="1421" y="149"/>
                  </a:lnTo>
                  <a:lnTo>
                    <a:pt x="1418" y="179"/>
                  </a:lnTo>
                  <a:lnTo>
                    <a:pt x="1410" y="207"/>
                  </a:lnTo>
                  <a:lnTo>
                    <a:pt x="1396" y="232"/>
                  </a:lnTo>
                  <a:lnTo>
                    <a:pt x="1378" y="255"/>
                  </a:lnTo>
                  <a:lnTo>
                    <a:pt x="1356" y="272"/>
                  </a:lnTo>
                  <a:lnTo>
                    <a:pt x="1330" y="287"/>
                  </a:lnTo>
                  <a:lnTo>
                    <a:pt x="1302" y="295"/>
                  </a:lnTo>
                  <a:lnTo>
                    <a:pt x="1272" y="298"/>
                  </a:lnTo>
                  <a:lnTo>
                    <a:pt x="149" y="298"/>
                  </a:lnTo>
                  <a:lnTo>
                    <a:pt x="119" y="295"/>
                  </a:lnTo>
                  <a:lnTo>
                    <a:pt x="91" y="287"/>
                  </a:lnTo>
                  <a:lnTo>
                    <a:pt x="65" y="272"/>
                  </a:lnTo>
                  <a:lnTo>
                    <a:pt x="44" y="255"/>
                  </a:lnTo>
                  <a:lnTo>
                    <a:pt x="25" y="232"/>
                  </a:lnTo>
                  <a:lnTo>
                    <a:pt x="11" y="207"/>
                  </a:lnTo>
                  <a:lnTo>
                    <a:pt x="3" y="179"/>
                  </a:lnTo>
                  <a:lnTo>
                    <a:pt x="0" y="149"/>
                  </a:lnTo>
                  <a:lnTo>
                    <a:pt x="3" y="119"/>
                  </a:lnTo>
                  <a:lnTo>
                    <a:pt x="11" y="91"/>
                  </a:lnTo>
                  <a:lnTo>
                    <a:pt x="25" y="66"/>
                  </a:lnTo>
                  <a:lnTo>
                    <a:pt x="44" y="44"/>
                  </a:lnTo>
                  <a:lnTo>
                    <a:pt x="65" y="26"/>
                  </a:lnTo>
                  <a:lnTo>
                    <a:pt x="91" y="12"/>
                  </a:lnTo>
                  <a:lnTo>
                    <a:pt x="119" y="3"/>
                  </a:lnTo>
                  <a:lnTo>
                    <a:pt x="14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HarmonyOS Sans SC"/>
                <a:cs typeface="+mn-cs"/>
              </a:endParaRPr>
            </a:p>
          </p:txBody>
        </p:sp>
        <p:sp>
          <p:nvSpPr>
            <p:cNvPr id="114" name="Freeform 1040">
              <a:extLst>
                <a:ext uri="{FF2B5EF4-FFF2-40B4-BE49-F238E27FC236}">
                  <a16:creationId xmlns:a16="http://schemas.microsoft.com/office/drawing/2014/main" id="{FFE7C1BD-4411-479F-B06C-FABF9CE6AC67}"/>
                </a:ext>
              </a:extLst>
            </p:cNvPr>
            <p:cNvSpPr>
              <a:spLocks/>
            </p:cNvSpPr>
            <p:nvPr/>
          </p:nvSpPr>
          <p:spPr bwMode="auto">
            <a:xfrm>
              <a:off x="10016" y="-1522"/>
              <a:ext cx="215" cy="74"/>
            </a:xfrm>
            <a:custGeom>
              <a:avLst/>
              <a:gdLst>
                <a:gd name="T0" fmla="*/ 149 w 860"/>
                <a:gd name="T1" fmla="*/ 0 h 297"/>
                <a:gd name="T2" fmla="*/ 711 w 860"/>
                <a:gd name="T3" fmla="*/ 0 h 297"/>
                <a:gd name="T4" fmla="*/ 741 w 860"/>
                <a:gd name="T5" fmla="*/ 3 h 297"/>
                <a:gd name="T6" fmla="*/ 769 w 860"/>
                <a:gd name="T7" fmla="*/ 11 h 297"/>
                <a:gd name="T8" fmla="*/ 795 w 860"/>
                <a:gd name="T9" fmla="*/ 26 h 297"/>
                <a:gd name="T10" fmla="*/ 817 w 860"/>
                <a:gd name="T11" fmla="*/ 43 h 297"/>
                <a:gd name="T12" fmla="*/ 835 w 860"/>
                <a:gd name="T13" fmla="*/ 66 h 297"/>
                <a:gd name="T14" fmla="*/ 849 w 860"/>
                <a:gd name="T15" fmla="*/ 90 h 297"/>
                <a:gd name="T16" fmla="*/ 857 w 860"/>
                <a:gd name="T17" fmla="*/ 118 h 297"/>
                <a:gd name="T18" fmla="*/ 860 w 860"/>
                <a:gd name="T19" fmla="*/ 149 h 297"/>
                <a:gd name="T20" fmla="*/ 857 w 860"/>
                <a:gd name="T21" fmla="*/ 179 h 297"/>
                <a:gd name="T22" fmla="*/ 849 w 860"/>
                <a:gd name="T23" fmla="*/ 207 h 297"/>
                <a:gd name="T24" fmla="*/ 835 w 860"/>
                <a:gd name="T25" fmla="*/ 231 h 297"/>
                <a:gd name="T26" fmla="*/ 817 w 860"/>
                <a:gd name="T27" fmla="*/ 254 h 297"/>
                <a:gd name="T28" fmla="*/ 795 w 860"/>
                <a:gd name="T29" fmla="*/ 271 h 297"/>
                <a:gd name="T30" fmla="*/ 769 w 860"/>
                <a:gd name="T31" fmla="*/ 286 h 297"/>
                <a:gd name="T32" fmla="*/ 741 w 860"/>
                <a:gd name="T33" fmla="*/ 294 h 297"/>
                <a:gd name="T34" fmla="*/ 711 w 860"/>
                <a:gd name="T35" fmla="*/ 297 h 297"/>
                <a:gd name="T36" fmla="*/ 149 w 860"/>
                <a:gd name="T37" fmla="*/ 297 h 297"/>
                <a:gd name="T38" fmla="*/ 119 w 860"/>
                <a:gd name="T39" fmla="*/ 294 h 297"/>
                <a:gd name="T40" fmla="*/ 91 w 860"/>
                <a:gd name="T41" fmla="*/ 286 h 297"/>
                <a:gd name="T42" fmla="*/ 65 w 860"/>
                <a:gd name="T43" fmla="*/ 271 h 297"/>
                <a:gd name="T44" fmla="*/ 44 w 860"/>
                <a:gd name="T45" fmla="*/ 254 h 297"/>
                <a:gd name="T46" fmla="*/ 25 w 860"/>
                <a:gd name="T47" fmla="*/ 231 h 297"/>
                <a:gd name="T48" fmla="*/ 11 w 860"/>
                <a:gd name="T49" fmla="*/ 207 h 297"/>
                <a:gd name="T50" fmla="*/ 3 w 860"/>
                <a:gd name="T51" fmla="*/ 179 h 297"/>
                <a:gd name="T52" fmla="*/ 0 w 860"/>
                <a:gd name="T53" fmla="*/ 149 h 297"/>
                <a:gd name="T54" fmla="*/ 3 w 860"/>
                <a:gd name="T55" fmla="*/ 118 h 297"/>
                <a:gd name="T56" fmla="*/ 11 w 860"/>
                <a:gd name="T57" fmla="*/ 90 h 297"/>
                <a:gd name="T58" fmla="*/ 25 w 860"/>
                <a:gd name="T59" fmla="*/ 66 h 297"/>
                <a:gd name="T60" fmla="*/ 44 w 860"/>
                <a:gd name="T61" fmla="*/ 43 h 297"/>
                <a:gd name="T62" fmla="*/ 65 w 860"/>
                <a:gd name="T63" fmla="*/ 26 h 297"/>
                <a:gd name="T64" fmla="*/ 91 w 860"/>
                <a:gd name="T65" fmla="*/ 11 h 297"/>
                <a:gd name="T66" fmla="*/ 119 w 860"/>
                <a:gd name="T67" fmla="*/ 3 h 297"/>
                <a:gd name="T68" fmla="*/ 149 w 860"/>
                <a:gd name="T69" fmla="*/ 0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60" h="297">
                  <a:moveTo>
                    <a:pt x="149" y="0"/>
                  </a:moveTo>
                  <a:lnTo>
                    <a:pt x="711" y="0"/>
                  </a:lnTo>
                  <a:lnTo>
                    <a:pt x="741" y="3"/>
                  </a:lnTo>
                  <a:lnTo>
                    <a:pt x="769" y="11"/>
                  </a:lnTo>
                  <a:lnTo>
                    <a:pt x="795" y="26"/>
                  </a:lnTo>
                  <a:lnTo>
                    <a:pt x="817" y="43"/>
                  </a:lnTo>
                  <a:lnTo>
                    <a:pt x="835" y="66"/>
                  </a:lnTo>
                  <a:lnTo>
                    <a:pt x="849" y="90"/>
                  </a:lnTo>
                  <a:lnTo>
                    <a:pt x="857" y="118"/>
                  </a:lnTo>
                  <a:lnTo>
                    <a:pt x="860" y="149"/>
                  </a:lnTo>
                  <a:lnTo>
                    <a:pt x="857" y="179"/>
                  </a:lnTo>
                  <a:lnTo>
                    <a:pt x="849" y="207"/>
                  </a:lnTo>
                  <a:lnTo>
                    <a:pt x="835" y="231"/>
                  </a:lnTo>
                  <a:lnTo>
                    <a:pt x="817" y="254"/>
                  </a:lnTo>
                  <a:lnTo>
                    <a:pt x="795" y="271"/>
                  </a:lnTo>
                  <a:lnTo>
                    <a:pt x="769" y="286"/>
                  </a:lnTo>
                  <a:lnTo>
                    <a:pt x="741" y="294"/>
                  </a:lnTo>
                  <a:lnTo>
                    <a:pt x="711" y="297"/>
                  </a:lnTo>
                  <a:lnTo>
                    <a:pt x="149" y="297"/>
                  </a:lnTo>
                  <a:lnTo>
                    <a:pt x="119" y="294"/>
                  </a:lnTo>
                  <a:lnTo>
                    <a:pt x="91" y="286"/>
                  </a:lnTo>
                  <a:lnTo>
                    <a:pt x="65" y="271"/>
                  </a:lnTo>
                  <a:lnTo>
                    <a:pt x="44" y="254"/>
                  </a:lnTo>
                  <a:lnTo>
                    <a:pt x="25" y="231"/>
                  </a:lnTo>
                  <a:lnTo>
                    <a:pt x="11" y="207"/>
                  </a:lnTo>
                  <a:lnTo>
                    <a:pt x="3" y="179"/>
                  </a:lnTo>
                  <a:lnTo>
                    <a:pt x="0" y="149"/>
                  </a:lnTo>
                  <a:lnTo>
                    <a:pt x="3" y="118"/>
                  </a:lnTo>
                  <a:lnTo>
                    <a:pt x="11" y="90"/>
                  </a:lnTo>
                  <a:lnTo>
                    <a:pt x="25" y="66"/>
                  </a:lnTo>
                  <a:lnTo>
                    <a:pt x="44" y="43"/>
                  </a:lnTo>
                  <a:lnTo>
                    <a:pt x="65" y="26"/>
                  </a:lnTo>
                  <a:lnTo>
                    <a:pt x="91" y="11"/>
                  </a:lnTo>
                  <a:lnTo>
                    <a:pt x="119" y="3"/>
                  </a:lnTo>
                  <a:lnTo>
                    <a:pt x="14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HarmonyOS Sans SC"/>
                <a:cs typeface="+mn-cs"/>
              </a:endParaRPr>
            </a:p>
          </p:txBody>
        </p:sp>
        <p:sp>
          <p:nvSpPr>
            <p:cNvPr id="115" name="Freeform 1041">
              <a:extLst>
                <a:ext uri="{FF2B5EF4-FFF2-40B4-BE49-F238E27FC236}">
                  <a16:creationId xmlns:a16="http://schemas.microsoft.com/office/drawing/2014/main" id="{C2AEC455-1690-472E-9386-F5D53DFF5BC2}"/>
                </a:ext>
              </a:extLst>
            </p:cNvPr>
            <p:cNvSpPr>
              <a:spLocks/>
            </p:cNvSpPr>
            <p:nvPr/>
          </p:nvSpPr>
          <p:spPr bwMode="auto">
            <a:xfrm>
              <a:off x="9876" y="-1946"/>
              <a:ext cx="636" cy="817"/>
            </a:xfrm>
            <a:custGeom>
              <a:avLst/>
              <a:gdLst>
                <a:gd name="T0" fmla="*/ 150 w 2545"/>
                <a:gd name="T1" fmla="*/ 0 h 3271"/>
                <a:gd name="T2" fmla="*/ 2395 w 2545"/>
                <a:gd name="T3" fmla="*/ 0 h 3271"/>
                <a:gd name="T4" fmla="*/ 2425 w 2545"/>
                <a:gd name="T5" fmla="*/ 3 h 3271"/>
                <a:gd name="T6" fmla="*/ 2453 w 2545"/>
                <a:gd name="T7" fmla="*/ 11 h 3271"/>
                <a:gd name="T8" fmla="*/ 2479 w 2545"/>
                <a:gd name="T9" fmla="*/ 26 h 3271"/>
                <a:gd name="T10" fmla="*/ 2501 w 2545"/>
                <a:gd name="T11" fmla="*/ 43 h 3271"/>
                <a:gd name="T12" fmla="*/ 2520 w 2545"/>
                <a:gd name="T13" fmla="*/ 66 h 3271"/>
                <a:gd name="T14" fmla="*/ 2533 w 2545"/>
                <a:gd name="T15" fmla="*/ 90 h 3271"/>
                <a:gd name="T16" fmla="*/ 2542 w 2545"/>
                <a:gd name="T17" fmla="*/ 118 h 3271"/>
                <a:gd name="T18" fmla="*/ 2545 w 2545"/>
                <a:gd name="T19" fmla="*/ 148 h 3271"/>
                <a:gd name="T20" fmla="*/ 2545 w 2545"/>
                <a:gd name="T21" fmla="*/ 369 h 3271"/>
                <a:gd name="T22" fmla="*/ 2246 w 2545"/>
                <a:gd name="T23" fmla="*/ 885 h 3271"/>
                <a:gd name="T24" fmla="*/ 2246 w 2545"/>
                <a:gd name="T25" fmla="*/ 297 h 3271"/>
                <a:gd name="T26" fmla="*/ 300 w 2545"/>
                <a:gd name="T27" fmla="*/ 297 h 3271"/>
                <a:gd name="T28" fmla="*/ 300 w 2545"/>
                <a:gd name="T29" fmla="*/ 2973 h 3271"/>
                <a:gd name="T30" fmla="*/ 2246 w 2545"/>
                <a:gd name="T31" fmla="*/ 2973 h 3271"/>
                <a:gd name="T32" fmla="*/ 2246 w 2545"/>
                <a:gd name="T33" fmla="*/ 2603 h 3271"/>
                <a:gd name="T34" fmla="*/ 2403 w 2545"/>
                <a:gd name="T35" fmla="*/ 2500 h 3271"/>
                <a:gd name="T36" fmla="*/ 2430 w 2545"/>
                <a:gd name="T37" fmla="*/ 2478 h 3271"/>
                <a:gd name="T38" fmla="*/ 2454 w 2545"/>
                <a:gd name="T39" fmla="*/ 2453 h 3271"/>
                <a:gd name="T40" fmla="*/ 2474 w 2545"/>
                <a:gd name="T41" fmla="*/ 2425 h 3271"/>
                <a:gd name="T42" fmla="*/ 2545 w 2545"/>
                <a:gd name="T43" fmla="*/ 2302 h 3271"/>
                <a:gd name="T44" fmla="*/ 2545 w 2545"/>
                <a:gd name="T45" fmla="*/ 3122 h 3271"/>
                <a:gd name="T46" fmla="*/ 2542 w 2545"/>
                <a:gd name="T47" fmla="*/ 3151 h 3271"/>
                <a:gd name="T48" fmla="*/ 2533 w 2545"/>
                <a:gd name="T49" fmla="*/ 3179 h 3271"/>
                <a:gd name="T50" fmla="*/ 2520 w 2545"/>
                <a:gd name="T51" fmla="*/ 3205 h 3271"/>
                <a:gd name="T52" fmla="*/ 2501 w 2545"/>
                <a:gd name="T53" fmla="*/ 3226 h 3271"/>
                <a:gd name="T54" fmla="*/ 2479 w 2545"/>
                <a:gd name="T55" fmla="*/ 3245 h 3271"/>
                <a:gd name="T56" fmla="*/ 2453 w 2545"/>
                <a:gd name="T57" fmla="*/ 3258 h 3271"/>
                <a:gd name="T58" fmla="*/ 2425 w 2545"/>
                <a:gd name="T59" fmla="*/ 3268 h 3271"/>
                <a:gd name="T60" fmla="*/ 2395 w 2545"/>
                <a:gd name="T61" fmla="*/ 3271 h 3271"/>
                <a:gd name="T62" fmla="*/ 150 w 2545"/>
                <a:gd name="T63" fmla="*/ 3271 h 3271"/>
                <a:gd name="T64" fmla="*/ 120 w 2545"/>
                <a:gd name="T65" fmla="*/ 3268 h 3271"/>
                <a:gd name="T66" fmla="*/ 92 w 2545"/>
                <a:gd name="T67" fmla="*/ 3258 h 3271"/>
                <a:gd name="T68" fmla="*/ 66 w 2545"/>
                <a:gd name="T69" fmla="*/ 3245 h 3271"/>
                <a:gd name="T70" fmla="*/ 44 w 2545"/>
                <a:gd name="T71" fmla="*/ 3226 h 3271"/>
                <a:gd name="T72" fmla="*/ 26 w 2545"/>
                <a:gd name="T73" fmla="*/ 3205 h 3271"/>
                <a:gd name="T74" fmla="*/ 12 w 2545"/>
                <a:gd name="T75" fmla="*/ 3179 h 3271"/>
                <a:gd name="T76" fmla="*/ 3 w 2545"/>
                <a:gd name="T77" fmla="*/ 3151 h 3271"/>
                <a:gd name="T78" fmla="*/ 0 w 2545"/>
                <a:gd name="T79" fmla="*/ 3122 h 3271"/>
                <a:gd name="T80" fmla="*/ 0 w 2545"/>
                <a:gd name="T81" fmla="*/ 148 h 3271"/>
                <a:gd name="T82" fmla="*/ 3 w 2545"/>
                <a:gd name="T83" fmla="*/ 118 h 3271"/>
                <a:gd name="T84" fmla="*/ 12 w 2545"/>
                <a:gd name="T85" fmla="*/ 90 h 3271"/>
                <a:gd name="T86" fmla="*/ 26 w 2545"/>
                <a:gd name="T87" fmla="*/ 66 h 3271"/>
                <a:gd name="T88" fmla="*/ 44 w 2545"/>
                <a:gd name="T89" fmla="*/ 43 h 3271"/>
                <a:gd name="T90" fmla="*/ 66 w 2545"/>
                <a:gd name="T91" fmla="*/ 26 h 3271"/>
                <a:gd name="T92" fmla="*/ 92 w 2545"/>
                <a:gd name="T93" fmla="*/ 11 h 3271"/>
                <a:gd name="T94" fmla="*/ 120 w 2545"/>
                <a:gd name="T95" fmla="*/ 3 h 3271"/>
                <a:gd name="T96" fmla="*/ 150 w 2545"/>
                <a:gd name="T97" fmla="*/ 0 h 3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545" h="3271">
                  <a:moveTo>
                    <a:pt x="150" y="0"/>
                  </a:moveTo>
                  <a:lnTo>
                    <a:pt x="2395" y="0"/>
                  </a:lnTo>
                  <a:lnTo>
                    <a:pt x="2425" y="3"/>
                  </a:lnTo>
                  <a:lnTo>
                    <a:pt x="2453" y="11"/>
                  </a:lnTo>
                  <a:lnTo>
                    <a:pt x="2479" y="26"/>
                  </a:lnTo>
                  <a:lnTo>
                    <a:pt x="2501" y="43"/>
                  </a:lnTo>
                  <a:lnTo>
                    <a:pt x="2520" y="66"/>
                  </a:lnTo>
                  <a:lnTo>
                    <a:pt x="2533" y="90"/>
                  </a:lnTo>
                  <a:lnTo>
                    <a:pt x="2542" y="118"/>
                  </a:lnTo>
                  <a:lnTo>
                    <a:pt x="2545" y="148"/>
                  </a:lnTo>
                  <a:lnTo>
                    <a:pt x="2545" y="369"/>
                  </a:lnTo>
                  <a:lnTo>
                    <a:pt x="2246" y="885"/>
                  </a:lnTo>
                  <a:lnTo>
                    <a:pt x="2246" y="297"/>
                  </a:lnTo>
                  <a:lnTo>
                    <a:pt x="300" y="297"/>
                  </a:lnTo>
                  <a:lnTo>
                    <a:pt x="300" y="2973"/>
                  </a:lnTo>
                  <a:lnTo>
                    <a:pt x="2246" y="2973"/>
                  </a:lnTo>
                  <a:lnTo>
                    <a:pt x="2246" y="2603"/>
                  </a:lnTo>
                  <a:lnTo>
                    <a:pt x="2403" y="2500"/>
                  </a:lnTo>
                  <a:lnTo>
                    <a:pt x="2430" y="2478"/>
                  </a:lnTo>
                  <a:lnTo>
                    <a:pt x="2454" y="2453"/>
                  </a:lnTo>
                  <a:lnTo>
                    <a:pt x="2474" y="2425"/>
                  </a:lnTo>
                  <a:lnTo>
                    <a:pt x="2545" y="2302"/>
                  </a:lnTo>
                  <a:lnTo>
                    <a:pt x="2545" y="3122"/>
                  </a:lnTo>
                  <a:lnTo>
                    <a:pt x="2542" y="3151"/>
                  </a:lnTo>
                  <a:lnTo>
                    <a:pt x="2533" y="3179"/>
                  </a:lnTo>
                  <a:lnTo>
                    <a:pt x="2520" y="3205"/>
                  </a:lnTo>
                  <a:lnTo>
                    <a:pt x="2501" y="3226"/>
                  </a:lnTo>
                  <a:lnTo>
                    <a:pt x="2479" y="3245"/>
                  </a:lnTo>
                  <a:lnTo>
                    <a:pt x="2453" y="3258"/>
                  </a:lnTo>
                  <a:lnTo>
                    <a:pt x="2425" y="3268"/>
                  </a:lnTo>
                  <a:lnTo>
                    <a:pt x="2395" y="3271"/>
                  </a:lnTo>
                  <a:lnTo>
                    <a:pt x="150" y="3271"/>
                  </a:lnTo>
                  <a:lnTo>
                    <a:pt x="120" y="3268"/>
                  </a:lnTo>
                  <a:lnTo>
                    <a:pt x="92" y="3258"/>
                  </a:lnTo>
                  <a:lnTo>
                    <a:pt x="66" y="3245"/>
                  </a:lnTo>
                  <a:lnTo>
                    <a:pt x="44" y="3226"/>
                  </a:lnTo>
                  <a:lnTo>
                    <a:pt x="26" y="3205"/>
                  </a:lnTo>
                  <a:lnTo>
                    <a:pt x="12" y="3179"/>
                  </a:lnTo>
                  <a:lnTo>
                    <a:pt x="3" y="3151"/>
                  </a:lnTo>
                  <a:lnTo>
                    <a:pt x="0" y="3122"/>
                  </a:lnTo>
                  <a:lnTo>
                    <a:pt x="0" y="148"/>
                  </a:lnTo>
                  <a:lnTo>
                    <a:pt x="3" y="118"/>
                  </a:lnTo>
                  <a:lnTo>
                    <a:pt x="12" y="90"/>
                  </a:lnTo>
                  <a:lnTo>
                    <a:pt x="26" y="66"/>
                  </a:lnTo>
                  <a:lnTo>
                    <a:pt x="44" y="43"/>
                  </a:lnTo>
                  <a:lnTo>
                    <a:pt x="66" y="26"/>
                  </a:lnTo>
                  <a:lnTo>
                    <a:pt x="92" y="11"/>
                  </a:lnTo>
                  <a:lnTo>
                    <a:pt x="120" y="3"/>
                  </a:lnTo>
                  <a:lnTo>
                    <a:pt x="15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HarmonyOS Sans SC"/>
                <a:cs typeface="+mn-cs"/>
              </a:endParaRPr>
            </a:p>
          </p:txBody>
        </p:sp>
        <p:sp>
          <p:nvSpPr>
            <p:cNvPr id="116" name="Freeform 1042">
              <a:extLst>
                <a:ext uri="{FF2B5EF4-FFF2-40B4-BE49-F238E27FC236}">
                  <a16:creationId xmlns:a16="http://schemas.microsoft.com/office/drawing/2014/main" id="{51F667CE-2F50-4197-868D-CB4C931C196C}"/>
                </a:ext>
              </a:extLst>
            </p:cNvPr>
            <p:cNvSpPr>
              <a:spLocks noEditPoints="1"/>
            </p:cNvSpPr>
            <p:nvPr/>
          </p:nvSpPr>
          <p:spPr bwMode="auto">
            <a:xfrm>
              <a:off x="10305" y="-1855"/>
              <a:ext cx="393" cy="586"/>
            </a:xfrm>
            <a:custGeom>
              <a:avLst/>
              <a:gdLst>
                <a:gd name="T0" fmla="*/ 130 w 1574"/>
                <a:gd name="T1" fmla="*/ 1973 h 2342"/>
                <a:gd name="T2" fmla="*/ 221 w 1574"/>
                <a:gd name="T3" fmla="*/ 2017 h 2342"/>
                <a:gd name="T4" fmla="*/ 305 w 1574"/>
                <a:gd name="T5" fmla="*/ 2073 h 2342"/>
                <a:gd name="T6" fmla="*/ 434 w 1574"/>
                <a:gd name="T7" fmla="*/ 1957 h 2342"/>
                <a:gd name="T8" fmla="*/ 385 w 1574"/>
                <a:gd name="T9" fmla="*/ 1912 h 2342"/>
                <a:gd name="T10" fmla="*/ 311 w 1574"/>
                <a:gd name="T11" fmla="*/ 1861 h 2342"/>
                <a:gd name="T12" fmla="*/ 242 w 1574"/>
                <a:gd name="T13" fmla="*/ 1827 h 2342"/>
                <a:gd name="T14" fmla="*/ 186 w 1574"/>
                <a:gd name="T15" fmla="*/ 1808 h 2342"/>
                <a:gd name="T16" fmla="*/ 140 w 1574"/>
                <a:gd name="T17" fmla="*/ 1799 h 2342"/>
                <a:gd name="T18" fmla="*/ 1106 w 1574"/>
                <a:gd name="T19" fmla="*/ 0 h 2342"/>
                <a:gd name="T20" fmla="*/ 1161 w 1574"/>
                <a:gd name="T21" fmla="*/ 7 h 2342"/>
                <a:gd name="T22" fmla="*/ 1227 w 1574"/>
                <a:gd name="T23" fmla="*/ 25 h 2342"/>
                <a:gd name="T24" fmla="*/ 1305 w 1574"/>
                <a:gd name="T25" fmla="*/ 56 h 2342"/>
                <a:gd name="T26" fmla="*/ 1391 w 1574"/>
                <a:gd name="T27" fmla="*/ 107 h 2342"/>
                <a:gd name="T28" fmla="*/ 1462 w 1574"/>
                <a:gd name="T29" fmla="*/ 161 h 2342"/>
                <a:gd name="T30" fmla="*/ 1512 w 1574"/>
                <a:gd name="T31" fmla="*/ 213 h 2342"/>
                <a:gd name="T32" fmla="*/ 1544 w 1574"/>
                <a:gd name="T33" fmla="*/ 258 h 2342"/>
                <a:gd name="T34" fmla="*/ 1562 w 1574"/>
                <a:gd name="T35" fmla="*/ 294 h 2342"/>
                <a:gd name="T36" fmla="*/ 1571 w 1574"/>
                <a:gd name="T37" fmla="*/ 316 h 2342"/>
                <a:gd name="T38" fmla="*/ 1574 w 1574"/>
                <a:gd name="T39" fmla="*/ 340 h 2342"/>
                <a:gd name="T40" fmla="*/ 1563 w 1574"/>
                <a:gd name="T41" fmla="*/ 375 h 2342"/>
                <a:gd name="T42" fmla="*/ 618 w 1574"/>
                <a:gd name="T43" fmla="*/ 1998 h 2342"/>
                <a:gd name="T44" fmla="*/ 115 w 1574"/>
                <a:gd name="T45" fmla="*/ 2330 h 2342"/>
                <a:gd name="T46" fmla="*/ 77 w 1574"/>
                <a:gd name="T47" fmla="*/ 2342 h 2342"/>
                <a:gd name="T48" fmla="*/ 36 w 1574"/>
                <a:gd name="T49" fmla="*/ 2332 h 2342"/>
                <a:gd name="T50" fmla="*/ 13 w 1574"/>
                <a:gd name="T51" fmla="*/ 2311 h 2342"/>
                <a:gd name="T52" fmla="*/ 0 w 1574"/>
                <a:gd name="T53" fmla="*/ 2280 h 2342"/>
                <a:gd name="T54" fmla="*/ 34 w 1574"/>
                <a:gd name="T55" fmla="*/ 1683 h 2342"/>
                <a:gd name="T56" fmla="*/ 45 w 1574"/>
                <a:gd name="T57" fmla="*/ 1651 h 2342"/>
                <a:gd name="T58" fmla="*/ 991 w 1574"/>
                <a:gd name="T59" fmla="*/ 27 h 2342"/>
                <a:gd name="T60" fmla="*/ 1023 w 1574"/>
                <a:gd name="T61" fmla="*/ 7 h 2342"/>
                <a:gd name="T62" fmla="*/ 1036 w 1574"/>
                <a:gd name="T63" fmla="*/ 4 h 2342"/>
                <a:gd name="T64" fmla="*/ 1064 w 1574"/>
                <a:gd name="T65" fmla="*/ 0 h 2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574" h="2342">
                  <a:moveTo>
                    <a:pt x="140" y="1799"/>
                  </a:moveTo>
                  <a:lnTo>
                    <a:pt x="130" y="1973"/>
                  </a:lnTo>
                  <a:lnTo>
                    <a:pt x="175" y="1993"/>
                  </a:lnTo>
                  <a:lnTo>
                    <a:pt x="221" y="2017"/>
                  </a:lnTo>
                  <a:lnTo>
                    <a:pt x="264" y="2043"/>
                  </a:lnTo>
                  <a:lnTo>
                    <a:pt x="305" y="2073"/>
                  </a:lnTo>
                  <a:lnTo>
                    <a:pt x="451" y="1976"/>
                  </a:lnTo>
                  <a:lnTo>
                    <a:pt x="434" y="1957"/>
                  </a:lnTo>
                  <a:lnTo>
                    <a:pt x="412" y="1935"/>
                  </a:lnTo>
                  <a:lnTo>
                    <a:pt x="385" y="1912"/>
                  </a:lnTo>
                  <a:lnTo>
                    <a:pt x="351" y="1887"/>
                  </a:lnTo>
                  <a:lnTo>
                    <a:pt x="311" y="1861"/>
                  </a:lnTo>
                  <a:lnTo>
                    <a:pt x="276" y="1843"/>
                  </a:lnTo>
                  <a:lnTo>
                    <a:pt x="242" y="1827"/>
                  </a:lnTo>
                  <a:lnTo>
                    <a:pt x="212" y="1816"/>
                  </a:lnTo>
                  <a:lnTo>
                    <a:pt x="186" y="1808"/>
                  </a:lnTo>
                  <a:lnTo>
                    <a:pt x="162" y="1803"/>
                  </a:lnTo>
                  <a:lnTo>
                    <a:pt x="140" y="1799"/>
                  </a:lnTo>
                  <a:close/>
                  <a:moveTo>
                    <a:pt x="1083" y="0"/>
                  </a:moveTo>
                  <a:lnTo>
                    <a:pt x="1106" y="0"/>
                  </a:lnTo>
                  <a:lnTo>
                    <a:pt x="1132" y="2"/>
                  </a:lnTo>
                  <a:lnTo>
                    <a:pt x="1161" y="7"/>
                  </a:lnTo>
                  <a:lnTo>
                    <a:pt x="1192" y="14"/>
                  </a:lnTo>
                  <a:lnTo>
                    <a:pt x="1227" y="25"/>
                  </a:lnTo>
                  <a:lnTo>
                    <a:pt x="1264" y="39"/>
                  </a:lnTo>
                  <a:lnTo>
                    <a:pt x="1305" y="56"/>
                  </a:lnTo>
                  <a:lnTo>
                    <a:pt x="1347" y="80"/>
                  </a:lnTo>
                  <a:lnTo>
                    <a:pt x="1391" y="107"/>
                  </a:lnTo>
                  <a:lnTo>
                    <a:pt x="1430" y="135"/>
                  </a:lnTo>
                  <a:lnTo>
                    <a:pt x="1462" y="161"/>
                  </a:lnTo>
                  <a:lnTo>
                    <a:pt x="1489" y="188"/>
                  </a:lnTo>
                  <a:lnTo>
                    <a:pt x="1512" y="213"/>
                  </a:lnTo>
                  <a:lnTo>
                    <a:pt x="1529" y="236"/>
                  </a:lnTo>
                  <a:lnTo>
                    <a:pt x="1544" y="258"/>
                  </a:lnTo>
                  <a:lnTo>
                    <a:pt x="1554" y="277"/>
                  </a:lnTo>
                  <a:lnTo>
                    <a:pt x="1562" y="294"/>
                  </a:lnTo>
                  <a:lnTo>
                    <a:pt x="1567" y="307"/>
                  </a:lnTo>
                  <a:lnTo>
                    <a:pt x="1571" y="316"/>
                  </a:lnTo>
                  <a:lnTo>
                    <a:pt x="1572" y="322"/>
                  </a:lnTo>
                  <a:lnTo>
                    <a:pt x="1574" y="340"/>
                  </a:lnTo>
                  <a:lnTo>
                    <a:pt x="1571" y="359"/>
                  </a:lnTo>
                  <a:lnTo>
                    <a:pt x="1563" y="375"/>
                  </a:lnTo>
                  <a:lnTo>
                    <a:pt x="628" y="1985"/>
                  </a:lnTo>
                  <a:lnTo>
                    <a:pt x="618" y="1998"/>
                  </a:lnTo>
                  <a:lnTo>
                    <a:pt x="605" y="2009"/>
                  </a:lnTo>
                  <a:lnTo>
                    <a:pt x="115" y="2330"/>
                  </a:lnTo>
                  <a:lnTo>
                    <a:pt x="97" y="2339"/>
                  </a:lnTo>
                  <a:lnTo>
                    <a:pt x="77" y="2342"/>
                  </a:lnTo>
                  <a:lnTo>
                    <a:pt x="56" y="2340"/>
                  </a:lnTo>
                  <a:lnTo>
                    <a:pt x="36" y="2332"/>
                  </a:lnTo>
                  <a:lnTo>
                    <a:pt x="23" y="2323"/>
                  </a:lnTo>
                  <a:lnTo>
                    <a:pt x="13" y="2311"/>
                  </a:lnTo>
                  <a:lnTo>
                    <a:pt x="5" y="2296"/>
                  </a:lnTo>
                  <a:lnTo>
                    <a:pt x="0" y="2280"/>
                  </a:lnTo>
                  <a:lnTo>
                    <a:pt x="0" y="2263"/>
                  </a:lnTo>
                  <a:lnTo>
                    <a:pt x="34" y="1683"/>
                  </a:lnTo>
                  <a:lnTo>
                    <a:pt x="38" y="1666"/>
                  </a:lnTo>
                  <a:lnTo>
                    <a:pt x="45" y="1651"/>
                  </a:lnTo>
                  <a:lnTo>
                    <a:pt x="981" y="41"/>
                  </a:lnTo>
                  <a:lnTo>
                    <a:pt x="991" y="27"/>
                  </a:lnTo>
                  <a:lnTo>
                    <a:pt x="1005" y="15"/>
                  </a:lnTo>
                  <a:lnTo>
                    <a:pt x="1023" y="7"/>
                  </a:lnTo>
                  <a:lnTo>
                    <a:pt x="1027" y="6"/>
                  </a:lnTo>
                  <a:lnTo>
                    <a:pt x="1036" y="4"/>
                  </a:lnTo>
                  <a:lnTo>
                    <a:pt x="1049" y="2"/>
                  </a:lnTo>
                  <a:lnTo>
                    <a:pt x="1064" y="0"/>
                  </a:lnTo>
                  <a:lnTo>
                    <a:pt x="108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HarmonyOS Sans SC"/>
                <a:cs typeface="+mn-cs"/>
              </a:endParaRPr>
            </a:p>
          </p:txBody>
        </p:sp>
        <p:sp>
          <p:nvSpPr>
            <p:cNvPr id="117" name="Freeform 1043">
              <a:extLst>
                <a:ext uri="{FF2B5EF4-FFF2-40B4-BE49-F238E27FC236}">
                  <a16:creationId xmlns:a16="http://schemas.microsoft.com/office/drawing/2014/main" id="{80E84E68-A18F-4447-922C-2FD47B6AC8CE}"/>
                </a:ext>
              </a:extLst>
            </p:cNvPr>
            <p:cNvSpPr>
              <a:spLocks/>
            </p:cNvSpPr>
            <p:nvPr/>
          </p:nvSpPr>
          <p:spPr bwMode="auto">
            <a:xfrm>
              <a:off x="9995" y="-1385"/>
              <a:ext cx="286" cy="146"/>
            </a:xfrm>
            <a:custGeom>
              <a:avLst/>
              <a:gdLst>
                <a:gd name="T0" fmla="*/ 551 w 1143"/>
                <a:gd name="T1" fmla="*/ 5 h 585"/>
                <a:gd name="T2" fmla="*/ 577 w 1143"/>
                <a:gd name="T3" fmla="*/ 28 h 585"/>
                <a:gd name="T4" fmla="*/ 585 w 1143"/>
                <a:gd name="T5" fmla="*/ 110 h 585"/>
                <a:gd name="T6" fmla="*/ 554 w 1143"/>
                <a:gd name="T7" fmla="*/ 197 h 585"/>
                <a:gd name="T8" fmla="*/ 563 w 1143"/>
                <a:gd name="T9" fmla="*/ 239 h 585"/>
                <a:gd name="T10" fmla="*/ 581 w 1143"/>
                <a:gd name="T11" fmla="*/ 267 h 585"/>
                <a:gd name="T12" fmla="*/ 631 w 1143"/>
                <a:gd name="T13" fmla="*/ 275 h 585"/>
                <a:gd name="T14" fmla="*/ 674 w 1143"/>
                <a:gd name="T15" fmla="*/ 319 h 585"/>
                <a:gd name="T16" fmla="*/ 685 w 1143"/>
                <a:gd name="T17" fmla="*/ 353 h 585"/>
                <a:gd name="T18" fmla="*/ 838 w 1143"/>
                <a:gd name="T19" fmla="*/ 347 h 585"/>
                <a:gd name="T20" fmla="*/ 986 w 1143"/>
                <a:gd name="T21" fmla="*/ 362 h 585"/>
                <a:gd name="T22" fmla="*/ 1106 w 1143"/>
                <a:gd name="T23" fmla="*/ 369 h 585"/>
                <a:gd name="T24" fmla="*/ 1137 w 1143"/>
                <a:gd name="T25" fmla="*/ 396 h 585"/>
                <a:gd name="T26" fmla="*/ 1142 w 1143"/>
                <a:gd name="T27" fmla="*/ 436 h 585"/>
                <a:gd name="T28" fmla="*/ 1119 w 1143"/>
                <a:gd name="T29" fmla="*/ 470 h 585"/>
                <a:gd name="T30" fmla="*/ 1055 w 1143"/>
                <a:gd name="T31" fmla="*/ 477 h 585"/>
                <a:gd name="T32" fmla="*/ 946 w 1143"/>
                <a:gd name="T33" fmla="*/ 461 h 585"/>
                <a:gd name="T34" fmla="*/ 834 w 1143"/>
                <a:gd name="T35" fmla="*/ 447 h 585"/>
                <a:gd name="T36" fmla="*/ 730 w 1143"/>
                <a:gd name="T37" fmla="*/ 456 h 585"/>
                <a:gd name="T38" fmla="*/ 672 w 1143"/>
                <a:gd name="T39" fmla="*/ 481 h 585"/>
                <a:gd name="T40" fmla="*/ 630 w 1143"/>
                <a:gd name="T41" fmla="*/ 486 h 585"/>
                <a:gd name="T42" fmla="*/ 596 w 1143"/>
                <a:gd name="T43" fmla="*/ 472 h 585"/>
                <a:gd name="T44" fmla="*/ 571 w 1143"/>
                <a:gd name="T45" fmla="*/ 449 h 585"/>
                <a:gd name="T46" fmla="*/ 565 w 1143"/>
                <a:gd name="T47" fmla="*/ 403 h 585"/>
                <a:gd name="T48" fmla="*/ 531 w 1143"/>
                <a:gd name="T49" fmla="*/ 452 h 585"/>
                <a:gd name="T50" fmla="*/ 490 w 1143"/>
                <a:gd name="T51" fmla="*/ 465 h 585"/>
                <a:gd name="T52" fmla="*/ 450 w 1143"/>
                <a:gd name="T53" fmla="*/ 451 h 585"/>
                <a:gd name="T54" fmla="*/ 435 w 1143"/>
                <a:gd name="T55" fmla="*/ 414 h 585"/>
                <a:gd name="T56" fmla="*/ 445 w 1143"/>
                <a:gd name="T57" fmla="*/ 385 h 585"/>
                <a:gd name="T58" fmla="*/ 454 w 1143"/>
                <a:gd name="T59" fmla="*/ 365 h 585"/>
                <a:gd name="T60" fmla="*/ 417 w 1143"/>
                <a:gd name="T61" fmla="*/ 400 h 585"/>
                <a:gd name="T62" fmla="*/ 375 w 1143"/>
                <a:gd name="T63" fmla="*/ 423 h 585"/>
                <a:gd name="T64" fmla="*/ 331 w 1143"/>
                <a:gd name="T65" fmla="*/ 412 h 585"/>
                <a:gd name="T66" fmla="*/ 311 w 1143"/>
                <a:gd name="T67" fmla="*/ 375 h 585"/>
                <a:gd name="T68" fmla="*/ 360 w 1143"/>
                <a:gd name="T69" fmla="*/ 285 h 585"/>
                <a:gd name="T70" fmla="*/ 250 w 1143"/>
                <a:gd name="T71" fmla="*/ 388 h 585"/>
                <a:gd name="T72" fmla="*/ 95 w 1143"/>
                <a:gd name="T73" fmla="*/ 574 h 585"/>
                <a:gd name="T74" fmla="*/ 49 w 1143"/>
                <a:gd name="T75" fmla="*/ 584 h 585"/>
                <a:gd name="T76" fmla="*/ 9 w 1143"/>
                <a:gd name="T77" fmla="*/ 562 h 585"/>
                <a:gd name="T78" fmla="*/ 2 w 1143"/>
                <a:gd name="T79" fmla="*/ 521 h 585"/>
                <a:gd name="T80" fmla="*/ 137 w 1143"/>
                <a:gd name="T81" fmla="*/ 347 h 585"/>
                <a:gd name="T82" fmla="*/ 341 w 1143"/>
                <a:gd name="T83" fmla="*/ 122 h 585"/>
                <a:gd name="T84" fmla="*/ 395 w 1143"/>
                <a:gd name="T85" fmla="*/ 70 h 585"/>
                <a:gd name="T86" fmla="*/ 458 w 1143"/>
                <a:gd name="T87" fmla="*/ 20 h 585"/>
                <a:gd name="T88" fmla="*/ 528 w 1143"/>
                <a:gd name="T89" fmla="*/ 0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143" h="585">
                  <a:moveTo>
                    <a:pt x="528" y="0"/>
                  </a:moveTo>
                  <a:lnTo>
                    <a:pt x="539" y="2"/>
                  </a:lnTo>
                  <a:lnTo>
                    <a:pt x="551" y="5"/>
                  </a:lnTo>
                  <a:lnTo>
                    <a:pt x="561" y="10"/>
                  </a:lnTo>
                  <a:lnTo>
                    <a:pt x="571" y="18"/>
                  </a:lnTo>
                  <a:lnTo>
                    <a:pt x="577" y="28"/>
                  </a:lnTo>
                  <a:lnTo>
                    <a:pt x="585" y="53"/>
                  </a:lnTo>
                  <a:lnTo>
                    <a:pt x="587" y="81"/>
                  </a:lnTo>
                  <a:lnTo>
                    <a:pt x="585" y="110"/>
                  </a:lnTo>
                  <a:lnTo>
                    <a:pt x="578" y="139"/>
                  </a:lnTo>
                  <a:lnTo>
                    <a:pt x="567" y="168"/>
                  </a:lnTo>
                  <a:lnTo>
                    <a:pt x="554" y="197"/>
                  </a:lnTo>
                  <a:lnTo>
                    <a:pt x="537" y="227"/>
                  </a:lnTo>
                  <a:lnTo>
                    <a:pt x="551" y="232"/>
                  </a:lnTo>
                  <a:lnTo>
                    <a:pt x="563" y="239"/>
                  </a:lnTo>
                  <a:lnTo>
                    <a:pt x="573" y="252"/>
                  </a:lnTo>
                  <a:lnTo>
                    <a:pt x="577" y="260"/>
                  </a:lnTo>
                  <a:lnTo>
                    <a:pt x="581" y="267"/>
                  </a:lnTo>
                  <a:lnTo>
                    <a:pt x="597" y="266"/>
                  </a:lnTo>
                  <a:lnTo>
                    <a:pt x="614" y="269"/>
                  </a:lnTo>
                  <a:lnTo>
                    <a:pt x="631" y="275"/>
                  </a:lnTo>
                  <a:lnTo>
                    <a:pt x="646" y="286"/>
                  </a:lnTo>
                  <a:lnTo>
                    <a:pt x="661" y="300"/>
                  </a:lnTo>
                  <a:lnTo>
                    <a:pt x="674" y="319"/>
                  </a:lnTo>
                  <a:lnTo>
                    <a:pt x="681" y="334"/>
                  </a:lnTo>
                  <a:lnTo>
                    <a:pt x="684" y="345"/>
                  </a:lnTo>
                  <a:lnTo>
                    <a:pt x="685" y="353"/>
                  </a:lnTo>
                  <a:lnTo>
                    <a:pt x="738" y="347"/>
                  </a:lnTo>
                  <a:lnTo>
                    <a:pt x="789" y="346"/>
                  </a:lnTo>
                  <a:lnTo>
                    <a:pt x="838" y="347"/>
                  </a:lnTo>
                  <a:lnTo>
                    <a:pt x="887" y="351"/>
                  </a:lnTo>
                  <a:lnTo>
                    <a:pt x="936" y="356"/>
                  </a:lnTo>
                  <a:lnTo>
                    <a:pt x="986" y="362"/>
                  </a:lnTo>
                  <a:lnTo>
                    <a:pt x="1036" y="365"/>
                  </a:lnTo>
                  <a:lnTo>
                    <a:pt x="1089" y="367"/>
                  </a:lnTo>
                  <a:lnTo>
                    <a:pt x="1106" y="369"/>
                  </a:lnTo>
                  <a:lnTo>
                    <a:pt x="1119" y="375"/>
                  </a:lnTo>
                  <a:lnTo>
                    <a:pt x="1130" y="384"/>
                  </a:lnTo>
                  <a:lnTo>
                    <a:pt x="1137" y="396"/>
                  </a:lnTo>
                  <a:lnTo>
                    <a:pt x="1142" y="408"/>
                  </a:lnTo>
                  <a:lnTo>
                    <a:pt x="1143" y="422"/>
                  </a:lnTo>
                  <a:lnTo>
                    <a:pt x="1142" y="436"/>
                  </a:lnTo>
                  <a:lnTo>
                    <a:pt x="1137" y="449"/>
                  </a:lnTo>
                  <a:lnTo>
                    <a:pt x="1130" y="460"/>
                  </a:lnTo>
                  <a:lnTo>
                    <a:pt x="1119" y="470"/>
                  </a:lnTo>
                  <a:lnTo>
                    <a:pt x="1106" y="476"/>
                  </a:lnTo>
                  <a:lnTo>
                    <a:pt x="1089" y="478"/>
                  </a:lnTo>
                  <a:lnTo>
                    <a:pt x="1055" y="477"/>
                  </a:lnTo>
                  <a:lnTo>
                    <a:pt x="1020" y="473"/>
                  </a:lnTo>
                  <a:lnTo>
                    <a:pt x="983" y="467"/>
                  </a:lnTo>
                  <a:lnTo>
                    <a:pt x="946" y="461"/>
                  </a:lnTo>
                  <a:lnTo>
                    <a:pt x="909" y="455"/>
                  </a:lnTo>
                  <a:lnTo>
                    <a:pt x="872" y="450"/>
                  </a:lnTo>
                  <a:lnTo>
                    <a:pt x="834" y="447"/>
                  </a:lnTo>
                  <a:lnTo>
                    <a:pt x="798" y="446"/>
                  </a:lnTo>
                  <a:lnTo>
                    <a:pt x="763" y="449"/>
                  </a:lnTo>
                  <a:lnTo>
                    <a:pt x="730" y="456"/>
                  </a:lnTo>
                  <a:lnTo>
                    <a:pt x="698" y="469"/>
                  </a:lnTo>
                  <a:lnTo>
                    <a:pt x="685" y="475"/>
                  </a:lnTo>
                  <a:lnTo>
                    <a:pt x="672" y="481"/>
                  </a:lnTo>
                  <a:lnTo>
                    <a:pt x="657" y="486"/>
                  </a:lnTo>
                  <a:lnTo>
                    <a:pt x="644" y="488"/>
                  </a:lnTo>
                  <a:lnTo>
                    <a:pt x="630" y="486"/>
                  </a:lnTo>
                  <a:lnTo>
                    <a:pt x="619" y="482"/>
                  </a:lnTo>
                  <a:lnTo>
                    <a:pt x="608" y="477"/>
                  </a:lnTo>
                  <a:lnTo>
                    <a:pt x="596" y="472"/>
                  </a:lnTo>
                  <a:lnTo>
                    <a:pt x="586" y="465"/>
                  </a:lnTo>
                  <a:lnTo>
                    <a:pt x="578" y="458"/>
                  </a:lnTo>
                  <a:lnTo>
                    <a:pt x="571" y="449"/>
                  </a:lnTo>
                  <a:lnTo>
                    <a:pt x="566" y="437"/>
                  </a:lnTo>
                  <a:lnTo>
                    <a:pt x="565" y="418"/>
                  </a:lnTo>
                  <a:lnTo>
                    <a:pt x="565" y="403"/>
                  </a:lnTo>
                  <a:lnTo>
                    <a:pt x="554" y="422"/>
                  </a:lnTo>
                  <a:lnTo>
                    <a:pt x="542" y="441"/>
                  </a:lnTo>
                  <a:lnTo>
                    <a:pt x="531" y="452"/>
                  </a:lnTo>
                  <a:lnTo>
                    <a:pt x="519" y="460"/>
                  </a:lnTo>
                  <a:lnTo>
                    <a:pt x="504" y="464"/>
                  </a:lnTo>
                  <a:lnTo>
                    <a:pt x="490" y="465"/>
                  </a:lnTo>
                  <a:lnTo>
                    <a:pt x="475" y="463"/>
                  </a:lnTo>
                  <a:lnTo>
                    <a:pt x="462" y="458"/>
                  </a:lnTo>
                  <a:lnTo>
                    <a:pt x="450" y="451"/>
                  </a:lnTo>
                  <a:lnTo>
                    <a:pt x="441" y="441"/>
                  </a:lnTo>
                  <a:lnTo>
                    <a:pt x="436" y="428"/>
                  </a:lnTo>
                  <a:lnTo>
                    <a:pt x="435" y="414"/>
                  </a:lnTo>
                  <a:lnTo>
                    <a:pt x="439" y="398"/>
                  </a:lnTo>
                  <a:lnTo>
                    <a:pt x="442" y="391"/>
                  </a:lnTo>
                  <a:lnTo>
                    <a:pt x="445" y="385"/>
                  </a:lnTo>
                  <a:lnTo>
                    <a:pt x="445" y="385"/>
                  </a:lnTo>
                  <a:lnTo>
                    <a:pt x="444" y="385"/>
                  </a:lnTo>
                  <a:lnTo>
                    <a:pt x="454" y="365"/>
                  </a:lnTo>
                  <a:lnTo>
                    <a:pt x="440" y="374"/>
                  </a:lnTo>
                  <a:lnTo>
                    <a:pt x="428" y="385"/>
                  </a:lnTo>
                  <a:lnTo>
                    <a:pt x="417" y="400"/>
                  </a:lnTo>
                  <a:lnTo>
                    <a:pt x="405" y="412"/>
                  </a:lnTo>
                  <a:lnTo>
                    <a:pt x="390" y="420"/>
                  </a:lnTo>
                  <a:lnTo>
                    <a:pt x="375" y="423"/>
                  </a:lnTo>
                  <a:lnTo>
                    <a:pt x="359" y="423"/>
                  </a:lnTo>
                  <a:lnTo>
                    <a:pt x="345" y="419"/>
                  </a:lnTo>
                  <a:lnTo>
                    <a:pt x="331" y="412"/>
                  </a:lnTo>
                  <a:lnTo>
                    <a:pt x="321" y="402"/>
                  </a:lnTo>
                  <a:lnTo>
                    <a:pt x="314" y="389"/>
                  </a:lnTo>
                  <a:lnTo>
                    <a:pt x="311" y="375"/>
                  </a:lnTo>
                  <a:lnTo>
                    <a:pt x="313" y="360"/>
                  </a:lnTo>
                  <a:lnTo>
                    <a:pt x="320" y="343"/>
                  </a:lnTo>
                  <a:lnTo>
                    <a:pt x="360" y="285"/>
                  </a:lnTo>
                  <a:lnTo>
                    <a:pt x="400" y="224"/>
                  </a:lnTo>
                  <a:lnTo>
                    <a:pt x="323" y="305"/>
                  </a:lnTo>
                  <a:lnTo>
                    <a:pt x="250" y="388"/>
                  </a:lnTo>
                  <a:lnTo>
                    <a:pt x="177" y="475"/>
                  </a:lnTo>
                  <a:lnTo>
                    <a:pt x="108" y="562"/>
                  </a:lnTo>
                  <a:lnTo>
                    <a:pt x="95" y="574"/>
                  </a:lnTo>
                  <a:lnTo>
                    <a:pt x="80" y="582"/>
                  </a:lnTo>
                  <a:lnTo>
                    <a:pt x="64" y="585"/>
                  </a:lnTo>
                  <a:lnTo>
                    <a:pt x="49" y="584"/>
                  </a:lnTo>
                  <a:lnTo>
                    <a:pt x="33" y="580"/>
                  </a:lnTo>
                  <a:lnTo>
                    <a:pt x="21" y="572"/>
                  </a:lnTo>
                  <a:lnTo>
                    <a:pt x="9" y="562"/>
                  </a:lnTo>
                  <a:lnTo>
                    <a:pt x="2" y="550"/>
                  </a:lnTo>
                  <a:lnTo>
                    <a:pt x="0" y="535"/>
                  </a:lnTo>
                  <a:lnTo>
                    <a:pt x="2" y="521"/>
                  </a:lnTo>
                  <a:lnTo>
                    <a:pt x="12" y="506"/>
                  </a:lnTo>
                  <a:lnTo>
                    <a:pt x="74" y="426"/>
                  </a:lnTo>
                  <a:lnTo>
                    <a:pt x="137" y="347"/>
                  </a:lnTo>
                  <a:lnTo>
                    <a:pt x="202" y="270"/>
                  </a:lnTo>
                  <a:lnTo>
                    <a:pt x="270" y="194"/>
                  </a:lnTo>
                  <a:lnTo>
                    <a:pt x="341" y="122"/>
                  </a:lnTo>
                  <a:lnTo>
                    <a:pt x="357" y="106"/>
                  </a:lnTo>
                  <a:lnTo>
                    <a:pt x="376" y="88"/>
                  </a:lnTo>
                  <a:lnTo>
                    <a:pt x="395" y="70"/>
                  </a:lnTo>
                  <a:lnTo>
                    <a:pt x="414" y="51"/>
                  </a:lnTo>
                  <a:lnTo>
                    <a:pt x="435" y="35"/>
                  </a:lnTo>
                  <a:lnTo>
                    <a:pt x="458" y="20"/>
                  </a:lnTo>
                  <a:lnTo>
                    <a:pt x="480" y="9"/>
                  </a:lnTo>
                  <a:lnTo>
                    <a:pt x="504" y="2"/>
                  </a:lnTo>
                  <a:lnTo>
                    <a:pt x="52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HarmonyOS Sans SC"/>
                <a:cs typeface="+mn-cs"/>
              </a:endParaRPr>
            </a:p>
          </p:txBody>
        </p:sp>
      </p:grpSp>
      <p:sp>
        <p:nvSpPr>
          <p:cNvPr id="118" name="Freeform 1171">
            <a:extLst>
              <a:ext uri="{FF2B5EF4-FFF2-40B4-BE49-F238E27FC236}">
                <a16:creationId xmlns:a16="http://schemas.microsoft.com/office/drawing/2014/main" id="{7AE65F8E-645F-4E05-8863-9AC1807871BD}"/>
              </a:ext>
            </a:extLst>
          </p:cNvPr>
          <p:cNvSpPr>
            <a:spLocks/>
          </p:cNvSpPr>
          <p:nvPr/>
        </p:nvSpPr>
        <p:spPr bwMode="auto">
          <a:xfrm>
            <a:off x="6731727" y="3355640"/>
            <a:ext cx="310785" cy="233064"/>
          </a:xfrm>
          <a:custGeom>
            <a:avLst/>
            <a:gdLst>
              <a:gd name="T0" fmla="*/ 6189 w 6231"/>
              <a:gd name="T1" fmla="*/ 0 h 4673"/>
              <a:gd name="T2" fmla="*/ 6206 w 6231"/>
              <a:gd name="T3" fmla="*/ 6 h 4673"/>
              <a:gd name="T4" fmla="*/ 6219 w 6231"/>
              <a:gd name="T5" fmla="*/ 17 h 4673"/>
              <a:gd name="T6" fmla="*/ 6229 w 6231"/>
              <a:gd name="T7" fmla="*/ 34 h 4673"/>
              <a:gd name="T8" fmla="*/ 6231 w 6231"/>
              <a:gd name="T9" fmla="*/ 53 h 4673"/>
              <a:gd name="T10" fmla="*/ 6223 w 6231"/>
              <a:gd name="T11" fmla="*/ 72 h 4673"/>
              <a:gd name="T12" fmla="*/ 3477 w 6231"/>
              <a:gd name="T13" fmla="*/ 4603 h 4673"/>
              <a:gd name="T14" fmla="*/ 3455 w 6231"/>
              <a:gd name="T15" fmla="*/ 4631 h 4673"/>
              <a:gd name="T16" fmla="*/ 3428 w 6231"/>
              <a:gd name="T17" fmla="*/ 4652 h 4673"/>
              <a:gd name="T18" fmla="*/ 3398 w 6231"/>
              <a:gd name="T19" fmla="*/ 4665 h 4673"/>
              <a:gd name="T20" fmla="*/ 3366 w 6231"/>
              <a:gd name="T21" fmla="*/ 4673 h 4673"/>
              <a:gd name="T22" fmla="*/ 3332 w 6231"/>
              <a:gd name="T23" fmla="*/ 4673 h 4673"/>
              <a:gd name="T24" fmla="*/ 3300 w 6231"/>
              <a:gd name="T25" fmla="*/ 4664 h 4673"/>
              <a:gd name="T26" fmla="*/ 3269 w 6231"/>
              <a:gd name="T27" fmla="*/ 4648 h 4673"/>
              <a:gd name="T28" fmla="*/ 2513 w 6231"/>
              <a:gd name="T29" fmla="*/ 4132 h 4673"/>
              <a:gd name="T30" fmla="*/ 1745 w 6231"/>
              <a:gd name="T31" fmla="*/ 4641 h 4673"/>
              <a:gd name="T32" fmla="*/ 1717 w 6231"/>
              <a:gd name="T33" fmla="*/ 4654 h 4673"/>
              <a:gd name="T34" fmla="*/ 1690 w 6231"/>
              <a:gd name="T35" fmla="*/ 4656 h 4673"/>
              <a:gd name="T36" fmla="*/ 1664 w 6231"/>
              <a:gd name="T37" fmla="*/ 4650 h 4673"/>
              <a:gd name="T38" fmla="*/ 1639 w 6231"/>
              <a:gd name="T39" fmla="*/ 4639 h 4673"/>
              <a:gd name="T40" fmla="*/ 1621 w 6231"/>
              <a:gd name="T41" fmla="*/ 4618 h 4673"/>
              <a:gd name="T42" fmla="*/ 1609 w 6231"/>
              <a:gd name="T43" fmla="*/ 4595 h 4673"/>
              <a:gd name="T44" fmla="*/ 1603 w 6231"/>
              <a:gd name="T45" fmla="*/ 4565 h 4673"/>
              <a:gd name="T46" fmla="*/ 1603 w 6231"/>
              <a:gd name="T47" fmla="*/ 3511 h 4673"/>
              <a:gd name="T48" fmla="*/ 5090 w 6231"/>
              <a:gd name="T49" fmla="*/ 905 h 4673"/>
              <a:gd name="T50" fmla="*/ 972 w 6231"/>
              <a:gd name="T51" fmla="*/ 3077 h 4673"/>
              <a:gd name="T52" fmla="*/ 64 w 6231"/>
              <a:gd name="T53" fmla="*/ 2459 h 4673"/>
              <a:gd name="T54" fmla="*/ 36 w 6231"/>
              <a:gd name="T55" fmla="*/ 2434 h 4673"/>
              <a:gd name="T56" fmla="*/ 15 w 6231"/>
              <a:gd name="T57" fmla="*/ 2404 h 4673"/>
              <a:gd name="T58" fmla="*/ 4 w 6231"/>
              <a:gd name="T59" fmla="*/ 2370 h 4673"/>
              <a:gd name="T60" fmla="*/ 0 w 6231"/>
              <a:gd name="T61" fmla="*/ 2335 h 4673"/>
              <a:gd name="T62" fmla="*/ 0 w 6231"/>
              <a:gd name="T63" fmla="*/ 2335 h 4673"/>
              <a:gd name="T64" fmla="*/ 4 w 6231"/>
              <a:gd name="T65" fmla="*/ 2301 h 4673"/>
              <a:gd name="T66" fmla="*/ 17 w 6231"/>
              <a:gd name="T67" fmla="*/ 2269 h 4673"/>
              <a:gd name="T68" fmla="*/ 36 w 6231"/>
              <a:gd name="T69" fmla="*/ 2241 h 4673"/>
              <a:gd name="T70" fmla="*/ 62 w 6231"/>
              <a:gd name="T71" fmla="*/ 2216 h 4673"/>
              <a:gd name="T72" fmla="*/ 96 w 6231"/>
              <a:gd name="T73" fmla="*/ 2199 h 4673"/>
              <a:gd name="T74" fmla="*/ 6168 w 6231"/>
              <a:gd name="T75" fmla="*/ 4 h 4673"/>
              <a:gd name="T76" fmla="*/ 6189 w 6231"/>
              <a:gd name="T77" fmla="*/ 0 h 46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231" h="4673">
                <a:moveTo>
                  <a:pt x="6189" y="0"/>
                </a:moveTo>
                <a:lnTo>
                  <a:pt x="6206" y="6"/>
                </a:lnTo>
                <a:lnTo>
                  <a:pt x="6219" y="17"/>
                </a:lnTo>
                <a:lnTo>
                  <a:pt x="6229" y="34"/>
                </a:lnTo>
                <a:lnTo>
                  <a:pt x="6231" y="53"/>
                </a:lnTo>
                <a:lnTo>
                  <a:pt x="6223" y="72"/>
                </a:lnTo>
                <a:lnTo>
                  <a:pt x="3477" y="4603"/>
                </a:lnTo>
                <a:lnTo>
                  <a:pt x="3455" y="4631"/>
                </a:lnTo>
                <a:lnTo>
                  <a:pt x="3428" y="4652"/>
                </a:lnTo>
                <a:lnTo>
                  <a:pt x="3398" y="4665"/>
                </a:lnTo>
                <a:lnTo>
                  <a:pt x="3366" y="4673"/>
                </a:lnTo>
                <a:lnTo>
                  <a:pt x="3332" y="4673"/>
                </a:lnTo>
                <a:lnTo>
                  <a:pt x="3300" y="4664"/>
                </a:lnTo>
                <a:lnTo>
                  <a:pt x="3269" y="4648"/>
                </a:lnTo>
                <a:lnTo>
                  <a:pt x="2513" y="4132"/>
                </a:lnTo>
                <a:lnTo>
                  <a:pt x="1745" y="4641"/>
                </a:lnTo>
                <a:lnTo>
                  <a:pt x="1717" y="4654"/>
                </a:lnTo>
                <a:lnTo>
                  <a:pt x="1690" y="4656"/>
                </a:lnTo>
                <a:lnTo>
                  <a:pt x="1664" y="4650"/>
                </a:lnTo>
                <a:lnTo>
                  <a:pt x="1639" y="4639"/>
                </a:lnTo>
                <a:lnTo>
                  <a:pt x="1621" y="4618"/>
                </a:lnTo>
                <a:lnTo>
                  <a:pt x="1609" y="4595"/>
                </a:lnTo>
                <a:lnTo>
                  <a:pt x="1603" y="4565"/>
                </a:lnTo>
                <a:lnTo>
                  <a:pt x="1603" y="3511"/>
                </a:lnTo>
                <a:lnTo>
                  <a:pt x="5090" y="905"/>
                </a:lnTo>
                <a:lnTo>
                  <a:pt x="972" y="3077"/>
                </a:lnTo>
                <a:lnTo>
                  <a:pt x="64" y="2459"/>
                </a:lnTo>
                <a:lnTo>
                  <a:pt x="36" y="2434"/>
                </a:lnTo>
                <a:lnTo>
                  <a:pt x="15" y="2404"/>
                </a:lnTo>
                <a:lnTo>
                  <a:pt x="4" y="2370"/>
                </a:lnTo>
                <a:lnTo>
                  <a:pt x="0" y="2335"/>
                </a:lnTo>
                <a:lnTo>
                  <a:pt x="0" y="2335"/>
                </a:lnTo>
                <a:lnTo>
                  <a:pt x="4" y="2301"/>
                </a:lnTo>
                <a:lnTo>
                  <a:pt x="17" y="2269"/>
                </a:lnTo>
                <a:lnTo>
                  <a:pt x="36" y="2241"/>
                </a:lnTo>
                <a:lnTo>
                  <a:pt x="62" y="2216"/>
                </a:lnTo>
                <a:lnTo>
                  <a:pt x="96" y="2199"/>
                </a:lnTo>
                <a:lnTo>
                  <a:pt x="6168" y="4"/>
                </a:lnTo>
                <a:lnTo>
                  <a:pt x="6189"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HarmonyOS Sans SC"/>
              <a:cs typeface="+mn-cs"/>
            </a:endParaRPr>
          </a:p>
        </p:txBody>
      </p:sp>
    </p:spTree>
    <p:extLst>
      <p:ext uri="{BB962C8B-B14F-4D97-AF65-F5344CB8AC3E}">
        <p14:creationId xmlns:p14="http://schemas.microsoft.com/office/powerpoint/2010/main" val="3371727385"/>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5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reeform 2047">
            <a:extLst>
              <a:ext uri="{FF2B5EF4-FFF2-40B4-BE49-F238E27FC236}">
                <a16:creationId xmlns:a16="http://schemas.microsoft.com/office/drawing/2014/main" id="{212721E8-CACF-4E15-A4E0-7C0B0111A6D7}"/>
              </a:ext>
            </a:extLst>
          </p:cNvPr>
          <p:cNvSpPr>
            <a:spLocks/>
          </p:cNvSpPr>
          <p:nvPr/>
        </p:nvSpPr>
        <p:spPr bwMode="auto">
          <a:xfrm>
            <a:off x="6918769" y="3528755"/>
            <a:ext cx="1578845" cy="2379023"/>
          </a:xfrm>
          <a:custGeom>
            <a:avLst/>
            <a:gdLst>
              <a:gd name="T0" fmla="*/ 602 w 1468"/>
              <a:gd name="T1" fmla="*/ 4 h 2212"/>
              <a:gd name="T2" fmla="*/ 722 w 1468"/>
              <a:gd name="T3" fmla="*/ 31 h 2212"/>
              <a:gd name="T4" fmla="*/ 829 w 1468"/>
              <a:gd name="T5" fmla="*/ 83 h 2212"/>
              <a:gd name="T6" fmla="*/ 922 w 1468"/>
              <a:gd name="T7" fmla="*/ 158 h 2212"/>
              <a:gd name="T8" fmla="*/ 995 w 1468"/>
              <a:gd name="T9" fmla="*/ 250 h 2212"/>
              <a:gd name="T10" fmla="*/ 1048 w 1468"/>
              <a:gd name="T11" fmla="*/ 357 h 2212"/>
              <a:gd name="T12" fmla="*/ 1076 w 1468"/>
              <a:gd name="T13" fmla="*/ 476 h 2212"/>
              <a:gd name="T14" fmla="*/ 1083 w 1468"/>
              <a:gd name="T15" fmla="*/ 608 h 2212"/>
              <a:gd name="T16" fmla="*/ 1112 w 1468"/>
              <a:gd name="T17" fmla="*/ 741 h 2212"/>
              <a:gd name="T18" fmla="*/ 1168 w 1468"/>
              <a:gd name="T19" fmla="*/ 864 h 2212"/>
              <a:gd name="T20" fmla="*/ 1248 w 1468"/>
              <a:gd name="T21" fmla="*/ 974 h 2212"/>
              <a:gd name="T22" fmla="*/ 1350 w 1468"/>
              <a:gd name="T23" fmla="*/ 1063 h 2212"/>
              <a:gd name="T24" fmla="*/ 1468 w 1468"/>
              <a:gd name="T25" fmla="*/ 1131 h 2212"/>
              <a:gd name="T26" fmla="*/ 1354 w 1468"/>
              <a:gd name="T27" fmla="*/ 1199 h 2212"/>
              <a:gd name="T28" fmla="*/ 1256 w 1468"/>
              <a:gd name="T29" fmla="*/ 1288 h 2212"/>
              <a:gd name="T30" fmla="*/ 1177 w 1468"/>
              <a:gd name="T31" fmla="*/ 1395 h 2212"/>
              <a:gd name="T32" fmla="*/ 1122 w 1468"/>
              <a:gd name="T33" fmla="*/ 1517 h 2212"/>
              <a:gd name="T34" fmla="*/ 1093 w 1468"/>
              <a:gd name="T35" fmla="*/ 1652 h 2212"/>
              <a:gd name="T36" fmla="*/ 1093 w 1468"/>
              <a:gd name="T37" fmla="*/ 1794 h 2212"/>
              <a:gd name="T38" fmla="*/ 1123 w 1468"/>
              <a:gd name="T39" fmla="*/ 1932 h 2212"/>
              <a:gd name="T40" fmla="*/ 1181 w 1468"/>
              <a:gd name="T41" fmla="*/ 2056 h 2212"/>
              <a:gd name="T42" fmla="*/ 1264 w 1468"/>
              <a:gd name="T43" fmla="*/ 2165 h 2212"/>
              <a:gd name="T44" fmla="*/ 1206 w 1468"/>
              <a:gd name="T45" fmla="*/ 2183 h 2212"/>
              <a:gd name="T46" fmla="*/ 1003 w 1468"/>
              <a:gd name="T47" fmla="*/ 2105 h 2212"/>
              <a:gd name="T48" fmla="*/ 813 w 1468"/>
              <a:gd name="T49" fmla="*/ 2003 h 2212"/>
              <a:gd name="T50" fmla="*/ 636 w 1468"/>
              <a:gd name="T51" fmla="*/ 1877 h 2212"/>
              <a:gd name="T52" fmla="*/ 478 w 1468"/>
              <a:gd name="T53" fmla="*/ 1730 h 2212"/>
              <a:gd name="T54" fmla="*/ 339 w 1468"/>
              <a:gd name="T55" fmla="*/ 1565 h 2212"/>
              <a:gd name="T56" fmla="*/ 220 w 1468"/>
              <a:gd name="T57" fmla="*/ 1383 h 2212"/>
              <a:gd name="T58" fmla="*/ 126 w 1468"/>
              <a:gd name="T59" fmla="*/ 1186 h 2212"/>
              <a:gd name="T60" fmla="*/ 57 w 1468"/>
              <a:gd name="T61" fmla="*/ 976 h 2212"/>
              <a:gd name="T62" fmla="*/ 15 w 1468"/>
              <a:gd name="T63" fmla="*/ 762 h 2212"/>
              <a:gd name="T64" fmla="*/ 0 w 1468"/>
              <a:gd name="T65" fmla="*/ 539 h 2212"/>
              <a:gd name="T66" fmla="*/ 15 w 1468"/>
              <a:gd name="T67" fmla="*/ 416 h 2212"/>
              <a:gd name="T68" fmla="*/ 55 w 1468"/>
              <a:gd name="T69" fmla="*/ 302 h 2212"/>
              <a:gd name="T70" fmla="*/ 119 w 1468"/>
              <a:gd name="T71" fmla="*/ 201 h 2212"/>
              <a:gd name="T72" fmla="*/ 202 w 1468"/>
              <a:gd name="T73" fmla="*/ 117 h 2212"/>
              <a:gd name="T74" fmla="*/ 303 w 1468"/>
              <a:gd name="T75" fmla="*/ 55 h 2212"/>
              <a:gd name="T76" fmla="*/ 417 w 1468"/>
              <a:gd name="T77" fmla="*/ 14 h 2212"/>
              <a:gd name="T78" fmla="*/ 540 w 1468"/>
              <a:gd name="T79" fmla="*/ 0 h 2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68" h="2212">
                <a:moveTo>
                  <a:pt x="540" y="0"/>
                </a:moveTo>
                <a:lnTo>
                  <a:pt x="602" y="4"/>
                </a:lnTo>
                <a:lnTo>
                  <a:pt x="664" y="14"/>
                </a:lnTo>
                <a:lnTo>
                  <a:pt x="722" y="31"/>
                </a:lnTo>
                <a:lnTo>
                  <a:pt x="777" y="55"/>
                </a:lnTo>
                <a:lnTo>
                  <a:pt x="829" y="83"/>
                </a:lnTo>
                <a:lnTo>
                  <a:pt x="877" y="117"/>
                </a:lnTo>
                <a:lnTo>
                  <a:pt x="922" y="158"/>
                </a:lnTo>
                <a:lnTo>
                  <a:pt x="961" y="201"/>
                </a:lnTo>
                <a:lnTo>
                  <a:pt x="995" y="250"/>
                </a:lnTo>
                <a:lnTo>
                  <a:pt x="1024" y="302"/>
                </a:lnTo>
                <a:lnTo>
                  <a:pt x="1048" y="357"/>
                </a:lnTo>
                <a:lnTo>
                  <a:pt x="1065" y="416"/>
                </a:lnTo>
                <a:lnTo>
                  <a:pt x="1076" y="476"/>
                </a:lnTo>
                <a:lnTo>
                  <a:pt x="1079" y="539"/>
                </a:lnTo>
                <a:lnTo>
                  <a:pt x="1083" y="608"/>
                </a:lnTo>
                <a:lnTo>
                  <a:pt x="1095" y="676"/>
                </a:lnTo>
                <a:lnTo>
                  <a:pt x="1112" y="741"/>
                </a:lnTo>
                <a:lnTo>
                  <a:pt x="1137" y="803"/>
                </a:lnTo>
                <a:lnTo>
                  <a:pt x="1168" y="864"/>
                </a:lnTo>
                <a:lnTo>
                  <a:pt x="1205" y="921"/>
                </a:lnTo>
                <a:lnTo>
                  <a:pt x="1248" y="974"/>
                </a:lnTo>
                <a:lnTo>
                  <a:pt x="1296" y="1021"/>
                </a:lnTo>
                <a:lnTo>
                  <a:pt x="1350" y="1063"/>
                </a:lnTo>
                <a:lnTo>
                  <a:pt x="1408" y="1099"/>
                </a:lnTo>
                <a:lnTo>
                  <a:pt x="1468" y="1131"/>
                </a:lnTo>
                <a:lnTo>
                  <a:pt x="1409" y="1161"/>
                </a:lnTo>
                <a:lnTo>
                  <a:pt x="1354" y="1199"/>
                </a:lnTo>
                <a:lnTo>
                  <a:pt x="1303" y="1241"/>
                </a:lnTo>
                <a:lnTo>
                  <a:pt x="1256" y="1288"/>
                </a:lnTo>
                <a:lnTo>
                  <a:pt x="1214" y="1339"/>
                </a:lnTo>
                <a:lnTo>
                  <a:pt x="1177" y="1395"/>
                </a:lnTo>
                <a:lnTo>
                  <a:pt x="1147" y="1454"/>
                </a:lnTo>
                <a:lnTo>
                  <a:pt x="1122" y="1517"/>
                </a:lnTo>
                <a:lnTo>
                  <a:pt x="1104" y="1584"/>
                </a:lnTo>
                <a:lnTo>
                  <a:pt x="1093" y="1652"/>
                </a:lnTo>
                <a:lnTo>
                  <a:pt x="1089" y="1722"/>
                </a:lnTo>
                <a:lnTo>
                  <a:pt x="1093" y="1794"/>
                </a:lnTo>
                <a:lnTo>
                  <a:pt x="1105" y="1864"/>
                </a:lnTo>
                <a:lnTo>
                  <a:pt x="1123" y="1932"/>
                </a:lnTo>
                <a:lnTo>
                  <a:pt x="1150" y="1996"/>
                </a:lnTo>
                <a:lnTo>
                  <a:pt x="1181" y="2056"/>
                </a:lnTo>
                <a:lnTo>
                  <a:pt x="1219" y="2113"/>
                </a:lnTo>
                <a:lnTo>
                  <a:pt x="1264" y="2165"/>
                </a:lnTo>
                <a:lnTo>
                  <a:pt x="1312" y="2212"/>
                </a:lnTo>
                <a:lnTo>
                  <a:pt x="1206" y="2183"/>
                </a:lnTo>
                <a:lnTo>
                  <a:pt x="1104" y="2147"/>
                </a:lnTo>
                <a:lnTo>
                  <a:pt x="1003" y="2105"/>
                </a:lnTo>
                <a:lnTo>
                  <a:pt x="907" y="2056"/>
                </a:lnTo>
                <a:lnTo>
                  <a:pt x="813" y="2003"/>
                </a:lnTo>
                <a:lnTo>
                  <a:pt x="723" y="1942"/>
                </a:lnTo>
                <a:lnTo>
                  <a:pt x="636" y="1877"/>
                </a:lnTo>
                <a:lnTo>
                  <a:pt x="555" y="1806"/>
                </a:lnTo>
                <a:lnTo>
                  <a:pt x="478" y="1730"/>
                </a:lnTo>
                <a:lnTo>
                  <a:pt x="406" y="1649"/>
                </a:lnTo>
                <a:lnTo>
                  <a:pt x="339" y="1565"/>
                </a:lnTo>
                <a:lnTo>
                  <a:pt x="276" y="1476"/>
                </a:lnTo>
                <a:lnTo>
                  <a:pt x="220" y="1383"/>
                </a:lnTo>
                <a:lnTo>
                  <a:pt x="170" y="1286"/>
                </a:lnTo>
                <a:lnTo>
                  <a:pt x="126" y="1186"/>
                </a:lnTo>
                <a:lnTo>
                  <a:pt x="88" y="1082"/>
                </a:lnTo>
                <a:lnTo>
                  <a:pt x="57" y="976"/>
                </a:lnTo>
                <a:lnTo>
                  <a:pt x="33" y="870"/>
                </a:lnTo>
                <a:lnTo>
                  <a:pt x="15" y="762"/>
                </a:lnTo>
                <a:lnTo>
                  <a:pt x="4" y="652"/>
                </a:lnTo>
                <a:lnTo>
                  <a:pt x="0" y="539"/>
                </a:lnTo>
                <a:lnTo>
                  <a:pt x="4" y="476"/>
                </a:lnTo>
                <a:lnTo>
                  <a:pt x="15" y="416"/>
                </a:lnTo>
                <a:lnTo>
                  <a:pt x="32" y="357"/>
                </a:lnTo>
                <a:lnTo>
                  <a:pt x="55" y="302"/>
                </a:lnTo>
                <a:lnTo>
                  <a:pt x="84" y="250"/>
                </a:lnTo>
                <a:lnTo>
                  <a:pt x="119" y="201"/>
                </a:lnTo>
                <a:lnTo>
                  <a:pt x="159" y="158"/>
                </a:lnTo>
                <a:lnTo>
                  <a:pt x="202" y="117"/>
                </a:lnTo>
                <a:lnTo>
                  <a:pt x="250" y="83"/>
                </a:lnTo>
                <a:lnTo>
                  <a:pt x="303" y="55"/>
                </a:lnTo>
                <a:lnTo>
                  <a:pt x="358" y="31"/>
                </a:lnTo>
                <a:lnTo>
                  <a:pt x="417" y="14"/>
                </a:lnTo>
                <a:lnTo>
                  <a:pt x="477" y="4"/>
                </a:lnTo>
                <a:lnTo>
                  <a:pt x="540" y="0"/>
                </a:lnTo>
                <a:close/>
              </a:path>
            </a:pathLst>
          </a:custGeom>
          <a:gradFill flip="none" rotWithShape="1">
            <a:gsLst>
              <a:gs pos="0">
                <a:schemeClr val="accent1">
                  <a:lumMod val="40000"/>
                  <a:lumOff val="60000"/>
                </a:schemeClr>
              </a:gs>
              <a:gs pos="55000">
                <a:schemeClr val="accent1">
                  <a:lumMod val="60000"/>
                  <a:lumOff val="40000"/>
                </a:schemeClr>
              </a:gs>
              <a:gs pos="100000">
                <a:schemeClr val="accent1"/>
              </a:gs>
            </a:gsLst>
            <a:lin ang="162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9" name="Freeform 2048">
            <a:extLst>
              <a:ext uri="{FF2B5EF4-FFF2-40B4-BE49-F238E27FC236}">
                <a16:creationId xmlns:a16="http://schemas.microsoft.com/office/drawing/2014/main" id="{8D76FB35-CF0B-4115-B647-AA16A48D5FCC}"/>
              </a:ext>
            </a:extLst>
          </p:cNvPr>
          <p:cNvSpPr>
            <a:spLocks/>
          </p:cNvSpPr>
          <p:nvPr/>
        </p:nvSpPr>
        <p:spPr bwMode="auto">
          <a:xfrm>
            <a:off x="9059029" y="2318809"/>
            <a:ext cx="1565939" cy="2341381"/>
          </a:xfrm>
          <a:custGeom>
            <a:avLst/>
            <a:gdLst>
              <a:gd name="T0" fmla="*/ 271 w 1456"/>
              <a:gd name="T1" fmla="*/ 28 h 2177"/>
              <a:gd name="T2" fmla="*/ 445 w 1456"/>
              <a:gd name="T3" fmla="*/ 94 h 2177"/>
              <a:gd name="T4" fmla="*/ 609 w 1456"/>
              <a:gd name="T5" fmla="*/ 181 h 2177"/>
              <a:gd name="T6" fmla="*/ 788 w 1456"/>
              <a:gd name="T7" fmla="*/ 303 h 2177"/>
              <a:gd name="T8" fmla="*/ 950 w 1456"/>
              <a:gd name="T9" fmla="*/ 445 h 2177"/>
              <a:gd name="T10" fmla="*/ 1094 w 1456"/>
              <a:gd name="T11" fmla="*/ 608 h 2177"/>
              <a:gd name="T12" fmla="*/ 1216 w 1456"/>
              <a:gd name="T13" fmla="*/ 787 h 2177"/>
              <a:gd name="T14" fmla="*/ 1316 w 1456"/>
              <a:gd name="T15" fmla="*/ 982 h 2177"/>
              <a:gd name="T16" fmla="*/ 1389 w 1456"/>
              <a:gd name="T17" fmla="*/ 1190 h 2177"/>
              <a:gd name="T18" fmla="*/ 1435 w 1456"/>
              <a:gd name="T19" fmla="*/ 1394 h 2177"/>
              <a:gd name="T20" fmla="*/ 1454 w 1456"/>
              <a:gd name="T21" fmla="*/ 1606 h 2177"/>
              <a:gd name="T22" fmla="*/ 1456 w 1456"/>
              <a:gd name="T23" fmla="*/ 1648 h 2177"/>
              <a:gd name="T24" fmla="*/ 1437 w 1456"/>
              <a:gd name="T25" fmla="*/ 1779 h 2177"/>
              <a:gd name="T26" fmla="*/ 1389 w 1456"/>
              <a:gd name="T27" fmla="*/ 1898 h 2177"/>
              <a:gd name="T28" fmla="*/ 1316 w 1456"/>
              <a:gd name="T29" fmla="*/ 2000 h 2177"/>
              <a:gd name="T30" fmla="*/ 1221 w 1456"/>
              <a:gd name="T31" fmla="*/ 2083 h 2177"/>
              <a:gd name="T32" fmla="*/ 1109 w 1456"/>
              <a:gd name="T33" fmla="*/ 2142 h 2177"/>
              <a:gd name="T34" fmla="*/ 983 w 1456"/>
              <a:gd name="T35" fmla="*/ 2173 h 2177"/>
              <a:gd name="T36" fmla="*/ 854 w 1456"/>
              <a:gd name="T37" fmla="*/ 2175 h 2177"/>
              <a:gd name="T38" fmla="*/ 734 w 1456"/>
              <a:gd name="T39" fmla="*/ 2146 h 2177"/>
              <a:gd name="T40" fmla="*/ 627 w 1456"/>
              <a:gd name="T41" fmla="*/ 2093 h 2177"/>
              <a:gd name="T42" fmla="*/ 534 w 1456"/>
              <a:gd name="T43" fmla="*/ 2020 h 2177"/>
              <a:gd name="T44" fmla="*/ 461 w 1456"/>
              <a:gd name="T45" fmla="*/ 1927 h 2177"/>
              <a:gd name="T46" fmla="*/ 408 w 1456"/>
              <a:gd name="T47" fmla="*/ 1820 h 2177"/>
              <a:gd name="T48" fmla="*/ 380 w 1456"/>
              <a:gd name="T49" fmla="*/ 1701 h 2177"/>
              <a:gd name="T50" fmla="*/ 376 w 1456"/>
              <a:gd name="T51" fmla="*/ 1638 h 2177"/>
              <a:gd name="T52" fmla="*/ 357 w 1456"/>
              <a:gd name="T53" fmla="*/ 1508 h 2177"/>
              <a:gd name="T54" fmla="*/ 314 w 1456"/>
              <a:gd name="T55" fmla="*/ 1388 h 2177"/>
              <a:gd name="T56" fmla="*/ 241 w 1456"/>
              <a:gd name="T57" fmla="*/ 1270 h 2177"/>
              <a:gd name="T58" fmla="*/ 145 w 1456"/>
              <a:gd name="T59" fmla="*/ 1170 h 2177"/>
              <a:gd name="T60" fmla="*/ 31 w 1456"/>
              <a:gd name="T61" fmla="*/ 1093 h 2177"/>
              <a:gd name="T62" fmla="*/ 62 w 1456"/>
              <a:gd name="T63" fmla="*/ 1047 h 2177"/>
              <a:gd name="T64" fmla="*/ 172 w 1456"/>
              <a:gd name="T65" fmla="*/ 969 h 2177"/>
              <a:gd name="T66" fmla="*/ 263 w 1456"/>
              <a:gd name="T67" fmla="*/ 869 h 2177"/>
              <a:gd name="T68" fmla="*/ 333 w 1456"/>
              <a:gd name="T69" fmla="*/ 753 h 2177"/>
              <a:gd name="T70" fmla="*/ 377 w 1456"/>
              <a:gd name="T71" fmla="*/ 622 h 2177"/>
              <a:gd name="T72" fmla="*/ 393 w 1456"/>
              <a:gd name="T73" fmla="*/ 481 h 2177"/>
              <a:gd name="T74" fmla="*/ 377 w 1456"/>
              <a:gd name="T75" fmla="*/ 342 h 2177"/>
              <a:gd name="T76" fmla="*/ 335 w 1456"/>
              <a:gd name="T77" fmla="*/ 214 h 2177"/>
              <a:gd name="T78" fmla="*/ 268 w 1456"/>
              <a:gd name="T79" fmla="*/ 98 h 2177"/>
              <a:gd name="T80" fmla="*/ 181 w 1456"/>
              <a:gd name="T81" fmla="*/ 0 h 2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456" h="2177">
                <a:moveTo>
                  <a:pt x="181" y="0"/>
                </a:moveTo>
                <a:lnTo>
                  <a:pt x="271" y="28"/>
                </a:lnTo>
                <a:lnTo>
                  <a:pt x="359" y="59"/>
                </a:lnTo>
                <a:lnTo>
                  <a:pt x="445" y="94"/>
                </a:lnTo>
                <a:lnTo>
                  <a:pt x="529" y="135"/>
                </a:lnTo>
                <a:lnTo>
                  <a:pt x="609" y="181"/>
                </a:lnTo>
                <a:lnTo>
                  <a:pt x="700" y="238"/>
                </a:lnTo>
                <a:lnTo>
                  <a:pt x="788" y="303"/>
                </a:lnTo>
                <a:lnTo>
                  <a:pt x="872" y="372"/>
                </a:lnTo>
                <a:lnTo>
                  <a:pt x="950" y="445"/>
                </a:lnTo>
                <a:lnTo>
                  <a:pt x="1025" y="525"/>
                </a:lnTo>
                <a:lnTo>
                  <a:pt x="1094" y="608"/>
                </a:lnTo>
                <a:lnTo>
                  <a:pt x="1159" y="695"/>
                </a:lnTo>
                <a:lnTo>
                  <a:pt x="1216" y="787"/>
                </a:lnTo>
                <a:lnTo>
                  <a:pt x="1269" y="882"/>
                </a:lnTo>
                <a:lnTo>
                  <a:pt x="1316" y="982"/>
                </a:lnTo>
                <a:lnTo>
                  <a:pt x="1356" y="1085"/>
                </a:lnTo>
                <a:lnTo>
                  <a:pt x="1389" y="1190"/>
                </a:lnTo>
                <a:lnTo>
                  <a:pt x="1415" y="1291"/>
                </a:lnTo>
                <a:lnTo>
                  <a:pt x="1435" y="1394"/>
                </a:lnTo>
                <a:lnTo>
                  <a:pt x="1448" y="1499"/>
                </a:lnTo>
                <a:lnTo>
                  <a:pt x="1454" y="1606"/>
                </a:lnTo>
                <a:lnTo>
                  <a:pt x="1456" y="1638"/>
                </a:lnTo>
                <a:lnTo>
                  <a:pt x="1456" y="1648"/>
                </a:lnTo>
                <a:lnTo>
                  <a:pt x="1451" y="1715"/>
                </a:lnTo>
                <a:lnTo>
                  <a:pt x="1437" y="1779"/>
                </a:lnTo>
                <a:lnTo>
                  <a:pt x="1416" y="1841"/>
                </a:lnTo>
                <a:lnTo>
                  <a:pt x="1389" y="1898"/>
                </a:lnTo>
                <a:lnTo>
                  <a:pt x="1355" y="1951"/>
                </a:lnTo>
                <a:lnTo>
                  <a:pt x="1316" y="2000"/>
                </a:lnTo>
                <a:lnTo>
                  <a:pt x="1271" y="2045"/>
                </a:lnTo>
                <a:lnTo>
                  <a:pt x="1221" y="2083"/>
                </a:lnTo>
                <a:lnTo>
                  <a:pt x="1166" y="2116"/>
                </a:lnTo>
                <a:lnTo>
                  <a:pt x="1109" y="2142"/>
                </a:lnTo>
                <a:lnTo>
                  <a:pt x="1047" y="2161"/>
                </a:lnTo>
                <a:lnTo>
                  <a:pt x="983" y="2173"/>
                </a:lnTo>
                <a:lnTo>
                  <a:pt x="916" y="2177"/>
                </a:lnTo>
                <a:lnTo>
                  <a:pt x="854" y="2175"/>
                </a:lnTo>
                <a:lnTo>
                  <a:pt x="792" y="2163"/>
                </a:lnTo>
                <a:lnTo>
                  <a:pt x="734" y="2146"/>
                </a:lnTo>
                <a:lnTo>
                  <a:pt x="679" y="2122"/>
                </a:lnTo>
                <a:lnTo>
                  <a:pt x="627" y="2093"/>
                </a:lnTo>
                <a:lnTo>
                  <a:pt x="579" y="2059"/>
                </a:lnTo>
                <a:lnTo>
                  <a:pt x="534" y="2020"/>
                </a:lnTo>
                <a:lnTo>
                  <a:pt x="495" y="1976"/>
                </a:lnTo>
                <a:lnTo>
                  <a:pt x="461" y="1927"/>
                </a:lnTo>
                <a:lnTo>
                  <a:pt x="432" y="1875"/>
                </a:lnTo>
                <a:lnTo>
                  <a:pt x="408" y="1820"/>
                </a:lnTo>
                <a:lnTo>
                  <a:pt x="391" y="1762"/>
                </a:lnTo>
                <a:lnTo>
                  <a:pt x="380" y="1701"/>
                </a:lnTo>
                <a:lnTo>
                  <a:pt x="377" y="1638"/>
                </a:lnTo>
                <a:lnTo>
                  <a:pt x="376" y="1638"/>
                </a:lnTo>
                <a:lnTo>
                  <a:pt x="371" y="1572"/>
                </a:lnTo>
                <a:lnTo>
                  <a:pt x="357" y="1508"/>
                </a:lnTo>
                <a:lnTo>
                  <a:pt x="339" y="1447"/>
                </a:lnTo>
                <a:lnTo>
                  <a:pt x="314" y="1388"/>
                </a:lnTo>
                <a:lnTo>
                  <a:pt x="282" y="1326"/>
                </a:lnTo>
                <a:lnTo>
                  <a:pt x="241" y="1270"/>
                </a:lnTo>
                <a:lnTo>
                  <a:pt x="196" y="1218"/>
                </a:lnTo>
                <a:lnTo>
                  <a:pt x="145" y="1170"/>
                </a:lnTo>
                <a:lnTo>
                  <a:pt x="90" y="1129"/>
                </a:lnTo>
                <a:lnTo>
                  <a:pt x="31" y="1093"/>
                </a:lnTo>
                <a:lnTo>
                  <a:pt x="0" y="1079"/>
                </a:lnTo>
                <a:lnTo>
                  <a:pt x="62" y="1047"/>
                </a:lnTo>
                <a:lnTo>
                  <a:pt x="119" y="1012"/>
                </a:lnTo>
                <a:lnTo>
                  <a:pt x="172" y="969"/>
                </a:lnTo>
                <a:lnTo>
                  <a:pt x="220" y="922"/>
                </a:lnTo>
                <a:lnTo>
                  <a:pt x="263" y="869"/>
                </a:lnTo>
                <a:lnTo>
                  <a:pt x="301" y="813"/>
                </a:lnTo>
                <a:lnTo>
                  <a:pt x="333" y="753"/>
                </a:lnTo>
                <a:lnTo>
                  <a:pt x="359" y="689"/>
                </a:lnTo>
                <a:lnTo>
                  <a:pt x="377" y="622"/>
                </a:lnTo>
                <a:lnTo>
                  <a:pt x="389" y="553"/>
                </a:lnTo>
                <a:lnTo>
                  <a:pt x="393" y="481"/>
                </a:lnTo>
                <a:lnTo>
                  <a:pt x="389" y="410"/>
                </a:lnTo>
                <a:lnTo>
                  <a:pt x="377" y="342"/>
                </a:lnTo>
                <a:lnTo>
                  <a:pt x="360" y="276"/>
                </a:lnTo>
                <a:lnTo>
                  <a:pt x="335" y="214"/>
                </a:lnTo>
                <a:lnTo>
                  <a:pt x="305" y="155"/>
                </a:lnTo>
                <a:lnTo>
                  <a:pt x="268" y="98"/>
                </a:lnTo>
                <a:lnTo>
                  <a:pt x="227" y="47"/>
                </a:lnTo>
                <a:lnTo>
                  <a:pt x="181" y="0"/>
                </a:lnTo>
                <a:close/>
              </a:path>
            </a:pathLst>
          </a:custGeom>
          <a:gradFill flip="none" rotWithShape="1">
            <a:gsLst>
              <a:gs pos="0">
                <a:schemeClr val="accent1">
                  <a:lumMod val="40000"/>
                  <a:lumOff val="60000"/>
                </a:schemeClr>
              </a:gs>
              <a:gs pos="55000">
                <a:schemeClr val="accent1">
                  <a:lumMod val="60000"/>
                  <a:lumOff val="40000"/>
                </a:schemeClr>
              </a:gs>
              <a:gs pos="100000">
                <a:schemeClr val="accent1"/>
              </a:gs>
            </a:gsLst>
            <a:lin ang="162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10" name="Freeform 2049">
            <a:extLst>
              <a:ext uri="{FF2B5EF4-FFF2-40B4-BE49-F238E27FC236}">
                <a16:creationId xmlns:a16="http://schemas.microsoft.com/office/drawing/2014/main" id="{460DE999-0157-4203-80E0-C6388428B858}"/>
              </a:ext>
            </a:extLst>
          </p:cNvPr>
          <p:cNvSpPr>
            <a:spLocks/>
          </p:cNvSpPr>
          <p:nvPr/>
        </p:nvSpPr>
        <p:spPr bwMode="auto">
          <a:xfrm>
            <a:off x="6980073" y="2255354"/>
            <a:ext cx="2380099" cy="1569166"/>
          </a:xfrm>
          <a:custGeom>
            <a:avLst/>
            <a:gdLst>
              <a:gd name="T0" fmla="*/ 1670 w 2213"/>
              <a:gd name="T1" fmla="*/ 0 h 1459"/>
              <a:gd name="T2" fmla="*/ 1684 w 2213"/>
              <a:gd name="T3" fmla="*/ 0 h 1459"/>
              <a:gd name="T4" fmla="*/ 1754 w 2213"/>
              <a:gd name="T5" fmla="*/ 7 h 1459"/>
              <a:gd name="T6" fmla="*/ 1878 w 2213"/>
              <a:gd name="T7" fmla="*/ 41 h 1459"/>
              <a:gd name="T8" fmla="*/ 1988 w 2213"/>
              <a:gd name="T9" fmla="*/ 102 h 1459"/>
              <a:gd name="T10" fmla="*/ 2081 w 2213"/>
              <a:gd name="T11" fmla="*/ 186 h 1459"/>
              <a:gd name="T12" fmla="*/ 2152 w 2213"/>
              <a:gd name="T13" fmla="*/ 290 h 1459"/>
              <a:gd name="T14" fmla="*/ 2196 w 2213"/>
              <a:gd name="T15" fmla="*/ 409 h 1459"/>
              <a:gd name="T16" fmla="*/ 2213 w 2213"/>
              <a:gd name="T17" fmla="*/ 540 h 1459"/>
              <a:gd name="T18" fmla="*/ 2196 w 2213"/>
              <a:gd name="T19" fmla="*/ 670 h 1459"/>
              <a:gd name="T20" fmla="*/ 2152 w 2213"/>
              <a:gd name="T21" fmla="*/ 791 h 1459"/>
              <a:gd name="T22" fmla="*/ 2080 w 2213"/>
              <a:gd name="T23" fmla="*/ 894 h 1459"/>
              <a:gd name="T24" fmla="*/ 1987 w 2213"/>
              <a:gd name="T25" fmla="*/ 979 h 1459"/>
              <a:gd name="T26" fmla="*/ 1875 w 2213"/>
              <a:gd name="T27" fmla="*/ 1040 h 1459"/>
              <a:gd name="T28" fmla="*/ 1751 w 2213"/>
              <a:gd name="T29" fmla="*/ 1074 h 1459"/>
              <a:gd name="T30" fmla="*/ 1684 w 2213"/>
              <a:gd name="T31" fmla="*/ 1080 h 1459"/>
              <a:gd name="T32" fmla="*/ 1598 w 2213"/>
              <a:gd name="T33" fmla="*/ 1083 h 1459"/>
              <a:gd name="T34" fmla="*/ 1467 w 2213"/>
              <a:gd name="T35" fmla="*/ 1110 h 1459"/>
              <a:gd name="T36" fmla="*/ 1345 w 2213"/>
              <a:gd name="T37" fmla="*/ 1165 h 1459"/>
              <a:gd name="T38" fmla="*/ 1237 w 2213"/>
              <a:gd name="T39" fmla="*/ 1244 h 1459"/>
              <a:gd name="T40" fmla="*/ 1146 w 2213"/>
              <a:gd name="T41" fmla="*/ 1342 h 1459"/>
              <a:gd name="T42" fmla="*/ 1080 w 2213"/>
              <a:gd name="T43" fmla="*/ 1459 h 1459"/>
              <a:gd name="T44" fmla="*/ 1011 w 2213"/>
              <a:gd name="T45" fmla="*/ 1342 h 1459"/>
              <a:gd name="T46" fmla="*/ 922 w 2213"/>
              <a:gd name="T47" fmla="*/ 1241 h 1459"/>
              <a:gd name="T48" fmla="*/ 814 w 2213"/>
              <a:gd name="T49" fmla="*/ 1161 h 1459"/>
              <a:gd name="T50" fmla="*/ 691 w 2213"/>
              <a:gd name="T51" fmla="*/ 1105 h 1459"/>
              <a:gd name="T52" fmla="*/ 555 w 2213"/>
              <a:gd name="T53" fmla="*/ 1075 h 1459"/>
              <a:gd name="T54" fmla="*/ 412 w 2213"/>
              <a:gd name="T55" fmla="*/ 1075 h 1459"/>
              <a:gd name="T56" fmla="*/ 277 w 2213"/>
              <a:gd name="T57" fmla="*/ 1104 h 1459"/>
              <a:gd name="T58" fmla="*/ 154 w 2213"/>
              <a:gd name="T59" fmla="*/ 1160 h 1459"/>
              <a:gd name="T60" fmla="*/ 47 w 2213"/>
              <a:gd name="T61" fmla="*/ 1239 h 1459"/>
              <a:gd name="T62" fmla="*/ 26 w 2213"/>
              <a:gd name="T63" fmla="*/ 1195 h 1459"/>
              <a:gd name="T64" fmla="*/ 92 w 2213"/>
              <a:gd name="T65" fmla="*/ 1020 h 1459"/>
              <a:gd name="T66" fmla="*/ 196 w 2213"/>
              <a:gd name="T67" fmla="*/ 825 h 1459"/>
              <a:gd name="T68" fmla="*/ 323 w 2213"/>
              <a:gd name="T69" fmla="*/ 644 h 1459"/>
              <a:gd name="T70" fmla="*/ 471 w 2213"/>
              <a:gd name="T71" fmla="*/ 482 h 1459"/>
              <a:gd name="T72" fmla="*/ 638 w 2213"/>
              <a:gd name="T73" fmla="*/ 339 h 1459"/>
              <a:gd name="T74" fmla="*/ 824 w 2213"/>
              <a:gd name="T75" fmla="*/ 220 h 1459"/>
              <a:gd name="T76" fmla="*/ 1025 w 2213"/>
              <a:gd name="T77" fmla="*/ 123 h 1459"/>
              <a:gd name="T78" fmla="*/ 1239 w 2213"/>
              <a:gd name="T79" fmla="*/ 54 h 1459"/>
              <a:gd name="T80" fmla="*/ 1449 w 2213"/>
              <a:gd name="T81" fmla="*/ 15 h 1459"/>
              <a:gd name="T82" fmla="*/ 1666 w 2213"/>
              <a:gd name="T83" fmla="*/ 0 h 1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213" h="1459">
                <a:moveTo>
                  <a:pt x="1666" y="0"/>
                </a:moveTo>
                <a:lnTo>
                  <a:pt x="1670" y="0"/>
                </a:lnTo>
                <a:lnTo>
                  <a:pt x="1674" y="0"/>
                </a:lnTo>
                <a:lnTo>
                  <a:pt x="1684" y="0"/>
                </a:lnTo>
                <a:lnTo>
                  <a:pt x="1687" y="0"/>
                </a:lnTo>
                <a:lnTo>
                  <a:pt x="1754" y="7"/>
                </a:lnTo>
                <a:lnTo>
                  <a:pt x="1817" y="20"/>
                </a:lnTo>
                <a:lnTo>
                  <a:pt x="1878" y="41"/>
                </a:lnTo>
                <a:lnTo>
                  <a:pt x="1934" y="68"/>
                </a:lnTo>
                <a:lnTo>
                  <a:pt x="1988" y="102"/>
                </a:lnTo>
                <a:lnTo>
                  <a:pt x="2036" y="142"/>
                </a:lnTo>
                <a:lnTo>
                  <a:pt x="2081" y="186"/>
                </a:lnTo>
                <a:lnTo>
                  <a:pt x="2119" y="236"/>
                </a:lnTo>
                <a:lnTo>
                  <a:pt x="2152" y="290"/>
                </a:lnTo>
                <a:lnTo>
                  <a:pt x="2178" y="347"/>
                </a:lnTo>
                <a:lnTo>
                  <a:pt x="2196" y="409"/>
                </a:lnTo>
                <a:lnTo>
                  <a:pt x="2209" y="473"/>
                </a:lnTo>
                <a:lnTo>
                  <a:pt x="2213" y="540"/>
                </a:lnTo>
                <a:lnTo>
                  <a:pt x="2209" y="606"/>
                </a:lnTo>
                <a:lnTo>
                  <a:pt x="2196" y="670"/>
                </a:lnTo>
                <a:lnTo>
                  <a:pt x="2178" y="732"/>
                </a:lnTo>
                <a:lnTo>
                  <a:pt x="2152" y="791"/>
                </a:lnTo>
                <a:lnTo>
                  <a:pt x="2119" y="845"/>
                </a:lnTo>
                <a:lnTo>
                  <a:pt x="2080" y="894"/>
                </a:lnTo>
                <a:lnTo>
                  <a:pt x="2035" y="939"/>
                </a:lnTo>
                <a:lnTo>
                  <a:pt x="1987" y="979"/>
                </a:lnTo>
                <a:lnTo>
                  <a:pt x="1933" y="1012"/>
                </a:lnTo>
                <a:lnTo>
                  <a:pt x="1875" y="1040"/>
                </a:lnTo>
                <a:lnTo>
                  <a:pt x="1815" y="1061"/>
                </a:lnTo>
                <a:lnTo>
                  <a:pt x="1751" y="1074"/>
                </a:lnTo>
                <a:lnTo>
                  <a:pt x="1684" y="1079"/>
                </a:lnTo>
                <a:lnTo>
                  <a:pt x="1684" y="1080"/>
                </a:lnTo>
                <a:lnTo>
                  <a:pt x="1666" y="1079"/>
                </a:lnTo>
                <a:lnTo>
                  <a:pt x="1598" y="1083"/>
                </a:lnTo>
                <a:lnTo>
                  <a:pt x="1531" y="1093"/>
                </a:lnTo>
                <a:lnTo>
                  <a:pt x="1467" y="1110"/>
                </a:lnTo>
                <a:lnTo>
                  <a:pt x="1405" y="1134"/>
                </a:lnTo>
                <a:lnTo>
                  <a:pt x="1345" y="1165"/>
                </a:lnTo>
                <a:lnTo>
                  <a:pt x="1289" y="1202"/>
                </a:lnTo>
                <a:lnTo>
                  <a:pt x="1237" y="1244"/>
                </a:lnTo>
                <a:lnTo>
                  <a:pt x="1189" y="1291"/>
                </a:lnTo>
                <a:lnTo>
                  <a:pt x="1146" y="1342"/>
                </a:lnTo>
                <a:lnTo>
                  <a:pt x="1110" y="1398"/>
                </a:lnTo>
                <a:lnTo>
                  <a:pt x="1080" y="1459"/>
                </a:lnTo>
                <a:lnTo>
                  <a:pt x="1048" y="1398"/>
                </a:lnTo>
                <a:lnTo>
                  <a:pt x="1011" y="1342"/>
                </a:lnTo>
                <a:lnTo>
                  <a:pt x="970" y="1290"/>
                </a:lnTo>
                <a:lnTo>
                  <a:pt x="922" y="1241"/>
                </a:lnTo>
                <a:lnTo>
                  <a:pt x="870" y="1198"/>
                </a:lnTo>
                <a:lnTo>
                  <a:pt x="814" y="1161"/>
                </a:lnTo>
                <a:lnTo>
                  <a:pt x="754" y="1130"/>
                </a:lnTo>
                <a:lnTo>
                  <a:pt x="691" y="1105"/>
                </a:lnTo>
                <a:lnTo>
                  <a:pt x="624" y="1087"/>
                </a:lnTo>
                <a:lnTo>
                  <a:pt x="555" y="1075"/>
                </a:lnTo>
                <a:lnTo>
                  <a:pt x="483" y="1071"/>
                </a:lnTo>
                <a:lnTo>
                  <a:pt x="412" y="1075"/>
                </a:lnTo>
                <a:lnTo>
                  <a:pt x="344" y="1085"/>
                </a:lnTo>
                <a:lnTo>
                  <a:pt x="277" y="1104"/>
                </a:lnTo>
                <a:lnTo>
                  <a:pt x="214" y="1129"/>
                </a:lnTo>
                <a:lnTo>
                  <a:pt x="154" y="1160"/>
                </a:lnTo>
                <a:lnTo>
                  <a:pt x="99" y="1197"/>
                </a:lnTo>
                <a:lnTo>
                  <a:pt x="47" y="1239"/>
                </a:lnTo>
                <a:lnTo>
                  <a:pt x="0" y="1286"/>
                </a:lnTo>
                <a:lnTo>
                  <a:pt x="26" y="1195"/>
                </a:lnTo>
                <a:lnTo>
                  <a:pt x="57" y="1106"/>
                </a:lnTo>
                <a:lnTo>
                  <a:pt x="92" y="1020"/>
                </a:lnTo>
                <a:lnTo>
                  <a:pt x="141" y="921"/>
                </a:lnTo>
                <a:lnTo>
                  <a:pt x="196" y="825"/>
                </a:lnTo>
                <a:lnTo>
                  <a:pt x="256" y="732"/>
                </a:lnTo>
                <a:lnTo>
                  <a:pt x="323" y="644"/>
                </a:lnTo>
                <a:lnTo>
                  <a:pt x="395" y="561"/>
                </a:lnTo>
                <a:lnTo>
                  <a:pt x="471" y="482"/>
                </a:lnTo>
                <a:lnTo>
                  <a:pt x="553" y="409"/>
                </a:lnTo>
                <a:lnTo>
                  <a:pt x="638" y="339"/>
                </a:lnTo>
                <a:lnTo>
                  <a:pt x="730" y="276"/>
                </a:lnTo>
                <a:lnTo>
                  <a:pt x="824" y="220"/>
                </a:lnTo>
                <a:lnTo>
                  <a:pt x="922" y="169"/>
                </a:lnTo>
                <a:lnTo>
                  <a:pt x="1025" y="123"/>
                </a:lnTo>
                <a:lnTo>
                  <a:pt x="1131" y="85"/>
                </a:lnTo>
                <a:lnTo>
                  <a:pt x="1239" y="54"/>
                </a:lnTo>
                <a:lnTo>
                  <a:pt x="1343" y="30"/>
                </a:lnTo>
                <a:lnTo>
                  <a:pt x="1449" y="15"/>
                </a:lnTo>
                <a:lnTo>
                  <a:pt x="1556" y="4"/>
                </a:lnTo>
                <a:lnTo>
                  <a:pt x="1666" y="0"/>
                </a:lnTo>
                <a:close/>
              </a:path>
            </a:pathLst>
          </a:custGeom>
          <a:gradFill flip="none" rotWithShape="1">
            <a:gsLst>
              <a:gs pos="0">
                <a:schemeClr val="accent1">
                  <a:lumMod val="40000"/>
                  <a:lumOff val="60000"/>
                </a:schemeClr>
              </a:gs>
              <a:gs pos="55000">
                <a:schemeClr val="accent1">
                  <a:lumMod val="60000"/>
                  <a:lumOff val="40000"/>
                </a:schemeClr>
              </a:gs>
              <a:gs pos="100000">
                <a:schemeClr val="accent1"/>
              </a:gs>
            </a:gsLst>
            <a:lin ang="162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11" name="Freeform 2050">
            <a:extLst>
              <a:ext uri="{FF2B5EF4-FFF2-40B4-BE49-F238E27FC236}">
                <a16:creationId xmlns:a16="http://schemas.microsoft.com/office/drawing/2014/main" id="{23C30B6E-90AF-4A57-AEA9-7B8F1FADDAD4}"/>
              </a:ext>
            </a:extLst>
          </p:cNvPr>
          <p:cNvSpPr>
            <a:spLocks/>
          </p:cNvSpPr>
          <p:nvPr/>
        </p:nvSpPr>
        <p:spPr bwMode="auto">
          <a:xfrm>
            <a:off x="8211529" y="4378406"/>
            <a:ext cx="2362890" cy="1583148"/>
          </a:xfrm>
          <a:custGeom>
            <a:avLst/>
            <a:gdLst>
              <a:gd name="T0" fmla="*/ 1145 w 2197"/>
              <a:gd name="T1" fmla="*/ 58 h 1472"/>
              <a:gd name="T2" fmla="*/ 1224 w 2197"/>
              <a:gd name="T3" fmla="*/ 164 h 1472"/>
              <a:gd name="T4" fmla="*/ 1323 w 2197"/>
              <a:gd name="T5" fmla="*/ 252 h 1472"/>
              <a:gd name="T6" fmla="*/ 1437 w 2197"/>
              <a:gd name="T7" fmla="*/ 318 h 1472"/>
              <a:gd name="T8" fmla="*/ 1566 w 2197"/>
              <a:gd name="T9" fmla="*/ 360 h 1472"/>
              <a:gd name="T10" fmla="*/ 1704 w 2197"/>
              <a:gd name="T11" fmla="*/ 375 h 1472"/>
              <a:gd name="T12" fmla="*/ 1847 w 2197"/>
              <a:gd name="T13" fmla="*/ 359 h 1472"/>
              <a:gd name="T14" fmla="*/ 1979 w 2197"/>
              <a:gd name="T15" fmla="*/ 315 h 1472"/>
              <a:gd name="T16" fmla="*/ 2097 w 2197"/>
              <a:gd name="T17" fmla="*/ 244 h 1472"/>
              <a:gd name="T18" fmla="*/ 2197 w 2197"/>
              <a:gd name="T19" fmla="*/ 150 h 1472"/>
              <a:gd name="T20" fmla="*/ 2142 w 2197"/>
              <a:gd name="T21" fmla="*/ 337 h 1472"/>
              <a:gd name="T22" fmla="*/ 2059 w 2197"/>
              <a:gd name="T23" fmla="*/ 527 h 1472"/>
              <a:gd name="T24" fmla="*/ 1948 w 2197"/>
              <a:gd name="T25" fmla="*/ 716 h 1472"/>
              <a:gd name="T26" fmla="*/ 1813 w 2197"/>
              <a:gd name="T27" fmla="*/ 889 h 1472"/>
              <a:gd name="T28" fmla="*/ 1659 w 2197"/>
              <a:gd name="T29" fmla="*/ 1044 h 1472"/>
              <a:gd name="T30" fmla="*/ 1486 w 2197"/>
              <a:gd name="T31" fmla="*/ 1177 h 1472"/>
              <a:gd name="T32" fmla="*/ 1296 w 2197"/>
              <a:gd name="T33" fmla="*/ 1288 h 1472"/>
              <a:gd name="T34" fmla="*/ 1092 w 2197"/>
              <a:gd name="T35" fmla="*/ 1375 h 1472"/>
              <a:gd name="T36" fmla="*/ 884 w 2197"/>
              <a:gd name="T37" fmla="*/ 1434 h 1472"/>
              <a:gd name="T38" fmla="*/ 675 w 2197"/>
              <a:gd name="T39" fmla="*/ 1465 h 1472"/>
              <a:gd name="T40" fmla="*/ 539 w 2197"/>
              <a:gd name="T41" fmla="*/ 1472 h 1472"/>
              <a:gd name="T42" fmla="*/ 465 w 2197"/>
              <a:gd name="T43" fmla="*/ 1467 h 1472"/>
              <a:gd name="T44" fmla="*/ 339 w 2197"/>
              <a:gd name="T45" fmla="*/ 1434 h 1472"/>
              <a:gd name="T46" fmla="*/ 228 w 2197"/>
              <a:gd name="T47" fmla="*/ 1372 h 1472"/>
              <a:gd name="T48" fmla="*/ 134 w 2197"/>
              <a:gd name="T49" fmla="*/ 1288 h 1472"/>
              <a:gd name="T50" fmla="*/ 63 w 2197"/>
              <a:gd name="T51" fmla="*/ 1184 h 1472"/>
              <a:gd name="T52" fmla="*/ 16 w 2197"/>
              <a:gd name="T53" fmla="*/ 1063 h 1472"/>
              <a:gd name="T54" fmla="*/ 0 w 2197"/>
              <a:gd name="T55" fmla="*/ 932 h 1472"/>
              <a:gd name="T56" fmla="*/ 14 w 2197"/>
              <a:gd name="T57" fmla="*/ 808 h 1472"/>
              <a:gd name="T58" fmla="*/ 55 w 2197"/>
              <a:gd name="T59" fmla="*/ 695 h 1472"/>
              <a:gd name="T60" fmla="*/ 119 w 2197"/>
              <a:gd name="T61" fmla="*/ 595 h 1472"/>
              <a:gd name="T62" fmla="*/ 202 w 2197"/>
              <a:gd name="T63" fmla="*/ 511 h 1472"/>
              <a:gd name="T64" fmla="*/ 302 w 2197"/>
              <a:gd name="T65" fmla="*/ 448 h 1472"/>
              <a:gd name="T66" fmla="*/ 416 w 2197"/>
              <a:gd name="T67" fmla="*/ 407 h 1472"/>
              <a:gd name="T68" fmla="*/ 539 w 2197"/>
              <a:gd name="T69" fmla="*/ 393 h 1472"/>
              <a:gd name="T70" fmla="*/ 607 w 2197"/>
              <a:gd name="T71" fmla="*/ 387 h 1472"/>
              <a:gd name="T72" fmla="*/ 734 w 2197"/>
              <a:gd name="T73" fmla="*/ 356 h 1472"/>
              <a:gd name="T74" fmla="*/ 854 w 2197"/>
              <a:gd name="T75" fmla="*/ 300 h 1472"/>
              <a:gd name="T76" fmla="*/ 961 w 2197"/>
              <a:gd name="T77" fmla="*/ 219 h 1472"/>
              <a:gd name="T78" fmla="*/ 1049 w 2197"/>
              <a:gd name="T79" fmla="*/ 118 h 1472"/>
              <a:gd name="T80" fmla="*/ 1114 w 2197"/>
              <a:gd name="T81" fmla="*/ 0 h 14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197" h="1472">
                <a:moveTo>
                  <a:pt x="1114" y="0"/>
                </a:moveTo>
                <a:lnTo>
                  <a:pt x="1145" y="58"/>
                </a:lnTo>
                <a:lnTo>
                  <a:pt x="1182" y="113"/>
                </a:lnTo>
                <a:lnTo>
                  <a:pt x="1224" y="164"/>
                </a:lnTo>
                <a:lnTo>
                  <a:pt x="1271" y="211"/>
                </a:lnTo>
                <a:lnTo>
                  <a:pt x="1323" y="252"/>
                </a:lnTo>
                <a:lnTo>
                  <a:pt x="1378" y="288"/>
                </a:lnTo>
                <a:lnTo>
                  <a:pt x="1437" y="318"/>
                </a:lnTo>
                <a:lnTo>
                  <a:pt x="1500" y="343"/>
                </a:lnTo>
                <a:lnTo>
                  <a:pt x="1566" y="360"/>
                </a:lnTo>
                <a:lnTo>
                  <a:pt x="1634" y="372"/>
                </a:lnTo>
                <a:lnTo>
                  <a:pt x="1704" y="375"/>
                </a:lnTo>
                <a:lnTo>
                  <a:pt x="1776" y="371"/>
                </a:lnTo>
                <a:lnTo>
                  <a:pt x="1847" y="359"/>
                </a:lnTo>
                <a:lnTo>
                  <a:pt x="1915" y="341"/>
                </a:lnTo>
                <a:lnTo>
                  <a:pt x="1979" y="315"/>
                </a:lnTo>
                <a:lnTo>
                  <a:pt x="2040" y="282"/>
                </a:lnTo>
                <a:lnTo>
                  <a:pt x="2097" y="244"/>
                </a:lnTo>
                <a:lnTo>
                  <a:pt x="2150" y="199"/>
                </a:lnTo>
                <a:lnTo>
                  <a:pt x="2197" y="150"/>
                </a:lnTo>
                <a:lnTo>
                  <a:pt x="2172" y="244"/>
                </a:lnTo>
                <a:lnTo>
                  <a:pt x="2142" y="337"/>
                </a:lnTo>
                <a:lnTo>
                  <a:pt x="2106" y="426"/>
                </a:lnTo>
                <a:lnTo>
                  <a:pt x="2059" y="527"/>
                </a:lnTo>
                <a:lnTo>
                  <a:pt x="2006" y="623"/>
                </a:lnTo>
                <a:lnTo>
                  <a:pt x="1948" y="716"/>
                </a:lnTo>
                <a:lnTo>
                  <a:pt x="1882" y="804"/>
                </a:lnTo>
                <a:lnTo>
                  <a:pt x="1813" y="889"/>
                </a:lnTo>
                <a:lnTo>
                  <a:pt x="1738" y="968"/>
                </a:lnTo>
                <a:lnTo>
                  <a:pt x="1659" y="1044"/>
                </a:lnTo>
                <a:lnTo>
                  <a:pt x="1574" y="1113"/>
                </a:lnTo>
                <a:lnTo>
                  <a:pt x="1486" y="1177"/>
                </a:lnTo>
                <a:lnTo>
                  <a:pt x="1393" y="1236"/>
                </a:lnTo>
                <a:lnTo>
                  <a:pt x="1296" y="1288"/>
                </a:lnTo>
                <a:lnTo>
                  <a:pt x="1195" y="1334"/>
                </a:lnTo>
                <a:lnTo>
                  <a:pt x="1092" y="1375"/>
                </a:lnTo>
                <a:lnTo>
                  <a:pt x="984" y="1409"/>
                </a:lnTo>
                <a:lnTo>
                  <a:pt x="884" y="1434"/>
                </a:lnTo>
                <a:lnTo>
                  <a:pt x="780" y="1452"/>
                </a:lnTo>
                <a:lnTo>
                  <a:pt x="675" y="1465"/>
                </a:lnTo>
                <a:lnTo>
                  <a:pt x="569" y="1470"/>
                </a:lnTo>
                <a:lnTo>
                  <a:pt x="539" y="1472"/>
                </a:lnTo>
                <a:lnTo>
                  <a:pt x="531" y="1472"/>
                </a:lnTo>
                <a:lnTo>
                  <a:pt x="465" y="1467"/>
                </a:lnTo>
                <a:lnTo>
                  <a:pt x="401" y="1453"/>
                </a:lnTo>
                <a:lnTo>
                  <a:pt x="339" y="1434"/>
                </a:lnTo>
                <a:lnTo>
                  <a:pt x="281" y="1406"/>
                </a:lnTo>
                <a:lnTo>
                  <a:pt x="228" y="1372"/>
                </a:lnTo>
                <a:lnTo>
                  <a:pt x="178" y="1333"/>
                </a:lnTo>
                <a:lnTo>
                  <a:pt x="134" y="1288"/>
                </a:lnTo>
                <a:lnTo>
                  <a:pt x="96" y="1237"/>
                </a:lnTo>
                <a:lnTo>
                  <a:pt x="63" y="1184"/>
                </a:lnTo>
                <a:lnTo>
                  <a:pt x="35" y="1126"/>
                </a:lnTo>
                <a:lnTo>
                  <a:pt x="16" y="1063"/>
                </a:lnTo>
                <a:lnTo>
                  <a:pt x="4" y="999"/>
                </a:lnTo>
                <a:lnTo>
                  <a:pt x="0" y="932"/>
                </a:lnTo>
                <a:lnTo>
                  <a:pt x="4" y="870"/>
                </a:lnTo>
                <a:lnTo>
                  <a:pt x="14" y="808"/>
                </a:lnTo>
                <a:lnTo>
                  <a:pt x="31" y="750"/>
                </a:lnTo>
                <a:lnTo>
                  <a:pt x="55" y="695"/>
                </a:lnTo>
                <a:lnTo>
                  <a:pt x="84" y="643"/>
                </a:lnTo>
                <a:lnTo>
                  <a:pt x="119" y="595"/>
                </a:lnTo>
                <a:lnTo>
                  <a:pt x="158" y="550"/>
                </a:lnTo>
                <a:lnTo>
                  <a:pt x="202" y="511"/>
                </a:lnTo>
                <a:lnTo>
                  <a:pt x="250" y="477"/>
                </a:lnTo>
                <a:lnTo>
                  <a:pt x="302" y="448"/>
                </a:lnTo>
                <a:lnTo>
                  <a:pt x="357" y="424"/>
                </a:lnTo>
                <a:lnTo>
                  <a:pt x="416" y="407"/>
                </a:lnTo>
                <a:lnTo>
                  <a:pt x="476" y="396"/>
                </a:lnTo>
                <a:lnTo>
                  <a:pt x="539" y="393"/>
                </a:lnTo>
                <a:lnTo>
                  <a:pt x="539" y="392"/>
                </a:lnTo>
                <a:lnTo>
                  <a:pt x="607" y="387"/>
                </a:lnTo>
                <a:lnTo>
                  <a:pt x="672" y="375"/>
                </a:lnTo>
                <a:lnTo>
                  <a:pt x="734" y="356"/>
                </a:lnTo>
                <a:lnTo>
                  <a:pt x="795" y="332"/>
                </a:lnTo>
                <a:lnTo>
                  <a:pt x="854" y="300"/>
                </a:lnTo>
                <a:lnTo>
                  <a:pt x="910" y="262"/>
                </a:lnTo>
                <a:lnTo>
                  <a:pt x="961" y="219"/>
                </a:lnTo>
                <a:lnTo>
                  <a:pt x="1007" y="171"/>
                </a:lnTo>
                <a:lnTo>
                  <a:pt x="1049" y="118"/>
                </a:lnTo>
                <a:lnTo>
                  <a:pt x="1084" y="61"/>
                </a:lnTo>
                <a:lnTo>
                  <a:pt x="1114" y="0"/>
                </a:lnTo>
                <a:close/>
              </a:path>
            </a:pathLst>
          </a:custGeom>
          <a:gradFill flip="none" rotWithShape="1">
            <a:gsLst>
              <a:gs pos="0">
                <a:schemeClr val="accent1">
                  <a:lumMod val="40000"/>
                  <a:lumOff val="60000"/>
                </a:schemeClr>
              </a:gs>
              <a:gs pos="55000">
                <a:schemeClr val="accent1">
                  <a:lumMod val="60000"/>
                  <a:lumOff val="40000"/>
                </a:schemeClr>
              </a:gs>
              <a:gs pos="100000">
                <a:schemeClr val="accent1"/>
              </a:gs>
            </a:gsLst>
            <a:lin ang="162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12" name="Freeform 2051">
            <a:extLst>
              <a:ext uri="{FF2B5EF4-FFF2-40B4-BE49-F238E27FC236}">
                <a16:creationId xmlns:a16="http://schemas.microsoft.com/office/drawing/2014/main" id="{90740C28-E68D-444C-B4E6-30B7EAD9074F}"/>
              </a:ext>
            </a:extLst>
          </p:cNvPr>
          <p:cNvSpPr>
            <a:spLocks/>
          </p:cNvSpPr>
          <p:nvPr/>
        </p:nvSpPr>
        <p:spPr bwMode="auto">
          <a:xfrm>
            <a:off x="8380384" y="2399472"/>
            <a:ext cx="855029" cy="853953"/>
          </a:xfrm>
          <a:custGeom>
            <a:avLst/>
            <a:gdLst>
              <a:gd name="T0" fmla="*/ 397 w 795"/>
              <a:gd name="T1" fmla="*/ 0 h 794"/>
              <a:gd name="T2" fmla="*/ 450 w 795"/>
              <a:gd name="T3" fmla="*/ 4 h 794"/>
              <a:gd name="T4" fmla="*/ 503 w 795"/>
              <a:gd name="T5" fmla="*/ 14 h 794"/>
              <a:gd name="T6" fmla="*/ 551 w 795"/>
              <a:gd name="T7" fmla="*/ 31 h 794"/>
              <a:gd name="T8" fmla="*/ 597 w 795"/>
              <a:gd name="T9" fmla="*/ 55 h 794"/>
              <a:gd name="T10" fmla="*/ 640 w 795"/>
              <a:gd name="T11" fmla="*/ 82 h 794"/>
              <a:gd name="T12" fmla="*/ 678 w 795"/>
              <a:gd name="T13" fmla="*/ 116 h 794"/>
              <a:gd name="T14" fmla="*/ 711 w 795"/>
              <a:gd name="T15" fmla="*/ 154 h 794"/>
              <a:gd name="T16" fmla="*/ 740 w 795"/>
              <a:gd name="T17" fmla="*/ 196 h 794"/>
              <a:gd name="T18" fmla="*/ 763 w 795"/>
              <a:gd name="T19" fmla="*/ 242 h 794"/>
              <a:gd name="T20" fmla="*/ 780 w 795"/>
              <a:gd name="T21" fmla="*/ 292 h 794"/>
              <a:gd name="T22" fmla="*/ 791 w 795"/>
              <a:gd name="T23" fmla="*/ 343 h 794"/>
              <a:gd name="T24" fmla="*/ 795 w 795"/>
              <a:gd name="T25" fmla="*/ 398 h 794"/>
              <a:gd name="T26" fmla="*/ 791 w 795"/>
              <a:gd name="T27" fmla="*/ 451 h 794"/>
              <a:gd name="T28" fmla="*/ 780 w 795"/>
              <a:gd name="T29" fmla="*/ 502 h 794"/>
              <a:gd name="T30" fmla="*/ 763 w 795"/>
              <a:gd name="T31" fmla="*/ 552 h 794"/>
              <a:gd name="T32" fmla="*/ 740 w 795"/>
              <a:gd name="T33" fmla="*/ 598 h 794"/>
              <a:gd name="T34" fmla="*/ 711 w 795"/>
              <a:gd name="T35" fmla="*/ 640 h 794"/>
              <a:gd name="T36" fmla="*/ 678 w 795"/>
              <a:gd name="T37" fmla="*/ 678 h 794"/>
              <a:gd name="T38" fmla="*/ 640 w 795"/>
              <a:gd name="T39" fmla="*/ 712 h 794"/>
              <a:gd name="T40" fmla="*/ 597 w 795"/>
              <a:gd name="T41" fmla="*/ 739 h 794"/>
              <a:gd name="T42" fmla="*/ 551 w 795"/>
              <a:gd name="T43" fmla="*/ 763 h 794"/>
              <a:gd name="T44" fmla="*/ 503 w 795"/>
              <a:gd name="T45" fmla="*/ 780 h 794"/>
              <a:gd name="T46" fmla="*/ 450 w 795"/>
              <a:gd name="T47" fmla="*/ 790 h 794"/>
              <a:gd name="T48" fmla="*/ 397 w 795"/>
              <a:gd name="T49" fmla="*/ 794 h 794"/>
              <a:gd name="T50" fmla="*/ 343 w 795"/>
              <a:gd name="T51" fmla="*/ 790 h 794"/>
              <a:gd name="T52" fmla="*/ 292 w 795"/>
              <a:gd name="T53" fmla="*/ 780 h 794"/>
              <a:gd name="T54" fmla="*/ 242 w 795"/>
              <a:gd name="T55" fmla="*/ 763 h 794"/>
              <a:gd name="T56" fmla="*/ 196 w 795"/>
              <a:gd name="T57" fmla="*/ 739 h 794"/>
              <a:gd name="T58" fmla="*/ 155 w 795"/>
              <a:gd name="T59" fmla="*/ 712 h 794"/>
              <a:gd name="T60" fmla="*/ 117 w 795"/>
              <a:gd name="T61" fmla="*/ 678 h 794"/>
              <a:gd name="T62" fmla="*/ 83 w 795"/>
              <a:gd name="T63" fmla="*/ 640 h 794"/>
              <a:gd name="T64" fmla="*/ 54 w 795"/>
              <a:gd name="T65" fmla="*/ 598 h 794"/>
              <a:gd name="T66" fmla="*/ 31 w 795"/>
              <a:gd name="T67" fmla="*/ 552 h 794"/>
              <a:gd name="T68" fmla="*/ 14 w 795"/>
              <a:gd name="T69" fmla="*/ 502 h 794"/>
              <a:gd name="T70" fmla="*/ 4 w 795"/>
              <a:gd name="T71" fmla="*/ 451 h 794"/>
              <a:gd name="T72" fmla="*/ 0 w 795"/>
              <a:gd name="T73" fmla="*/ 398 h 794"/>
              <a:gd name="T74" fmla="*/ 4 w 795"/>
              <a:gd name="T75" fmla="*/ 343 h 794"/>
              <a:gd name="T76" fmla="*/ 14 w 795"/>
              <a:gd name="T77" fmla="*/ 292 h 794"/>
              <a:gd name="T78" fmla="*/ 31 w 795"/>
              <a:gd name="T79" fmla="*/ 242 h 794"/>
              <a:gd name="T80" fmla="*/ 54 w 795"/>
              <a:gd name="T81" fmla="*/ 196 h 794"/>
              <a:gd name="T82" fmla="*/ 83 w 795"/>
              <a:gd name="T83" fmla="*/ 154 h 794"/>
              <a:gd name="T84" fmla="*/ 117 w 795"/>
              <a:gd name="T85" fmla="*/ 116 h 794"/>
              <a:gd name="T86" fmla="*/ 155 w 795"/>
              <a:gd name="T87" fmla="*/ 82 h 794"/>
              <a:gd name="T88" fmla="*/ 196 w 795"/>
              <a:gd name="T89" fmla="*/ 55 h 794"/>
              <a:gd name="T90" fmla="*/ 242 w 795"/>
              <a:gd name="T91" fmla="*/ 31 h 794"/>
              <a:gd name="T92" fmla="*/ 292 w 795"/>
              <a:gd name="T93" fmla="*/ 14 h 794"/>
              <a:gd name="T94" fmla="*/ 343 w 795"/>
              <a:gd name="T95" fmla="*/ 4 h 794"/>
              <a:gd name="T96" fmla="*/ 397 w 795"/>
              <a:gd name="T97" fmla="*/ 0 h 7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95" h="794">
                <a:moveTo>
                  <a:pt x="397" y="0"/>
                </a:moveTo>
                <a:lnTo>
                  <a:pt x="450" y="4"/>
                </a:lnTo>
                <a:lnTo>
                  <a:pt x="503" y="14"/>
                </a:lnTo>
                <a:lnTo>
                  <a:pt x="551" y="31"/>
                </a:lnTo>
                <a:lnTo>
                  <a:pt x="597" y="55"/>
                </a:lnTo>
                <a:lnTo>
                  <a:pt x="640" y="82"/>
                </a:lnTo>
                <a:lnTo>
                  <a:pt x="678" y="116"/>
                </a:lnTo>
                <a:lnTo>
                  <a:pt x="711" y="154"/>
                </a:lnTo>
                <a:lnTo>
                  <a:pt x="740" y="196"/>
                </a:lnTo>
                <a:lnTo>
                  <a:pt x="763" y="242"/>
                </a:lnTo>
                <a:lnTo>
                  <a:pt x="780" y="292"/>
                </a:lnTo>
                <a:lnTo>
                  <a:pt x="791" y="343"/>
                </a:lnTo>
                <a:lnTo>
                  <a:pt x="795" y="398"/>
                </a:lnTo>
                <a:lnTo>
                  <a:pt x="791" y="451"/>
                </a:lnTo>
                <a:lnTo>
                  <a:pt x="780" y="502"/>
                </a:lnTo>
                <a:lnTo>
                  <a:pt x="763" y="552"/>
                </a:lnTo>
                <a:lnTo>
                  <a:pt x="740" y="598"/>
                </a:lnTo>
                <a:lnTo>
                  <a:pt x="711" y="640"/>
                </a:lnTo>
                <a:lnTo>
                  <a:pt x="678" y="678"/>
                </a:lnTo>
                <a:lnTo>
                  <a:pt x="640" y="712"/>
                </a:lnTo>
                <a:lnTo>
                  <a:pt x="597" y="739"/>
                </a:lnTo>
                <a:lnTo>
                  <a:pt x="551" y="763"/>
                </a:lnTo>
                <a:lnTo>
                  <a:pt x="503" y="780"/>
                </a:lnTo>
                <a:lnTo>
                  <a:pt x="450" y="790"/>
                </a:lnTo>
                <a:lnTo>
                  <a:pt x="397" y="794"/>
                </a:lnTo>
                <a:lnTo>
                  <a:pt x="343" y="790"/>
                </a:lnTo>
                <a:lnTo>
                  <a:pt x="292" y="780"/>
                </a:lnTo>
                <a:lnTo>
                  <a:pt x="242" y="763"/>
                </a:lnTo>
                <a:lnTo>
                  <a:pt x="196" y="739"/>
                </a:lnTo>
                <a:lnTo>
                  <a:pt x="155" y="712"/>
                </a:lnTo>
                <a:lnTo>
                  <a:pt x="117" y="678"/>
                </a:lnTo>
                <a:lnTo>
                  <a:pt x="83" y="640"/>
                </a:lnTo>
                <a:lnTo>
                  <a:pt x="54" y="598"/>
                </a:lnTo>
                <a:lnTo>
                  <a:pt x="31" y="552"/>
                </a:lnTo>
                <a:lnTo>
                  <a:pt x="14" y="502"/>
                </a:lnTo>
                <a:lnTo>
                  <a:pt x="4" y="451"/>
                </a:lnTo>
                <a:lnTo>
                  <a:pt x="0" y="398"/>
                </a:lnTo>
                <a:lnTo>
                  <a:pt x="4" y="343"/>
                </a:lnTo>
                <a:lnTo>
                  <a:pt x="14" y="292"/>
                </a:lnTo>
                <a:lnTo>
                  <a:pt x="31" y="242"/>
                </a:lnTo>
                <a:lnTo>
                  <a:pt x="54" y="196"/>
                </a:lnTo>
                <a:lnTo>
                  <a:pt x="83" y="154"/>
                </a:lnTo>
                <a:lnTo>
                  <a:pt x="117" y="116"/>
                </a:lnTo>
                <a:lnTo>
                  <a:pt x="155" y="82"/>
                </a:lnTo>
                <a:lnTo>
                  <a:pt x="196" y="55"/>
                </a:lnTo>
                <a:lnTo>
                  <a:pt x="242" y="31"/>
                </a:lnTo>
                <a:lnTo>
                  <a:pt x="292" y="14"/>
                </a:lnTo>
                <a:lnTo>
                  <a:pt x="343" y="4"/>
                </a:lnTo>
                <a:lnTo>
                  <a:pt x="397" y="0"/>
                </a:lnTo>
                <a:close/>
              </a:path>
            </a:pathLst>
          </a:custGeom>
          <a:solidFill>
            <a:schemeClr val="bg1"/>
          </a:solidFill>
          <a:ln w="1270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armonyOS Sans SC"/>
              <a:cs typeface="+mn-cs"/>
            </a:endParaRPr>
          </a:p>
        </p:txBody>
      </p:sp>
      <p:sp>
        <p:nvSpPr>
          <p:cNvPr id="13" name="Freeform 2052">
            <a:extLst>
              <a:ext uri="{FF2B5EF4-FFF2-40B4-BE49-F238E27FC236}">
                <a16:creationId xmlns:a16="http://schemas.microsoft.com/office/drawing/2014/main" id="{E11DE4C3-4BBF-45E3-B990-5A85CC047510}"/>
              </a:ext>
            </a:extLst>
          </p:cNvPr>
          <p:cNvSpPr>
            <a:spLocks/>
          </p:cNvSpPr>
          <p:nvPr/>
        </p:nvSpPr>
        <p:spPr bwMode="auto">
          <a:xfrm>
            <a:off x="8340590" y="4979616"/>
            <a:ext cx="853953" cy="853953"/>
          </a:xfrm>
          <a:custGeom>
            <a:avLst/>
            <a:gdLst>
              <a:gd name="T0" fmla="*/ 397 w 794"/>
              <a:gd name="T1" fmla="*/ 0 h 794"/>
              <a:gd name="T2" fmla="*/ 451 w 794"/>
              <a:gd name="T3" fmla="*/ 3 h 794"/>
              <a:gd name="T4" fmla="*/ 503 w 794"/>
              <a:gd name="T5" fmla="*/ 13 h 794"/>
              <a:gd name="T6" fmla="*/ 552 w 794"/>
              <a:gd name="T7" fmla="*/ 30 h 794"/>
              <a:gd name="T8" fmla="*/ 597 w 794"/>
              <a:gd name="T9" fmla="*/ 54 h 794"/>
              <a:gd name="T10" fmla="*/ 639 w 794"/>
              <a:gd name="T11" fmla="*/ 83 h 794"/>
              <a:gd name="T12" fmla="*/ 679 w 794"/>
              <a:gd name="T13" fmla="*/ 116 h 794"/>
              <a:gd name="T14" fmla="*/ 711 w 794"/>
              <a:gd name="T15" fmla="*/ 155 h 794"/>
              <a:gd name="T16" fmla="*/ 740 w 794"/>
              <a:gd name="T17" fmla="*/ 197 h 794"/>
              <a:gd name="T18" fmla="*/ 764 w 794"/>
              <a:gd name="T19" fmla="*/ 243 h 794"/>
              <a:gd name="T20" fmla="*/ 781 w 794"/>
              <a:gd name="T21" fmla="*/ 291 h 794"/>
              <a:gd name="T22" fmla="*/ 791 w 794"/>
              <a:gd name="T23" fmla="*/ 343 h 794"/>
              <a:gd name="T24" fmla="*/ 794 w 794"/>
              <a:gd name="T25" fmla="*/ 397 h 794"/>
              <a:gd name="T26" fmla="*/ 791 w 794"/>
              <a:gd name="T27" fmla="*/ 451 h 794"/>
              <a:gd name="T28" fmla="*/ 781 w 794"/>
              <a:gd name="T29" fmla="*/ 502 h 794"/>
              <a:gd name="T30" fmla="*/ 764 w 794"/>
              <a:gd name="T31" fmla="*/ 551 h 794"/>
              <a:gd name="T32" fmla="*/ 740 w 794"/>
              <a:gd name="T33" fmla="*/ 597 h 794"/>
              <a:gd name="T34" fmla="*/ 711 w 794"/>
              <a:gd name="T35" fmla="*/ 639 h 794"/>
              <a:gd name="T36" fmla="*/ 679 w 794"/>
              <a:gd name="T37" fmla="*/ 677 h 794"/>
              <a:gd name="T38" fmla="*/ 639 w 794"/>
              <a:gd name="T39" fmla="*/ 711 h 794"/>
              <a:gd name="T40" fmla="*/ 597 w 794"/>
              <a:gd name="T41" fmla="*/ 740 h 794"/>
              <a:gd name="T42" fmla="*/ 552 w 794"/>
              <a:gd name="T43" fmla="*/ 762 h 794"/>
              <a:gd name="T44" fmla="*/ 503 w 794"/>
              <a:gd name="T45" fmla="*/ 779 h 794"/>
              <a:gd name="T46" fmla="*/ 451 w 794"/>
              <a:gd name="T47" fmla="*/ 790 h 794"/>
              <a:gd name="T48" fmla="*/ 397 w 794"/>
              <a:gd name="T49" fmla="*/ 794 h 794"/>
              <a:gd name="T50" fmla="*/ 343 w 794"/>
              <a:gd name="T51" fmla="*/ 790 h 794"/>
              <a:gd name="T52" fmla="*/ 291 w 794"/>
              <a:gd name="T53" fmla="*/ 779 h 794"/>
              <a:gd name="T54" fmla="*/ 243 w 794"/>
              <a:gd name="T55" fmla="*/ 762 h 794"/>
              <a:gd name="T56" fmla="*/ 197 w 794"/>
              <a:gd name="T57" fmla="*/ 740 h 794"/>
              <a:gd name="T58" fmla="*/ 155 w 794"/>
              <a:gd name="T59" fmla="*/ 711 h 794"/>
              <a:gd name="T60" fmla="*/ 117 w 794"/>
              <a:gd name="T61" fmla="*/ 677 h 794"/>
              <a:gd name="T62" fmla="*/ 83 w 794"/>
              <a:gd name="T63" fmla="*/ 639 h 794"/>
              <a:gd name="T64" fmla="*/ 54 w 794"/>
              <a:gd name="T65" fmla="*/ 597 h 794"/>
              <a:gd name="T66" fmla="*/ 32 w 794"/>
              <a:gd name="T67" fmla="*/ 551 h 794"/>
              <a:gd name="T68" fmla="*/ 15 w 794"/>
              <a:gd name="T69" fmla="*/ 502 h 794"/>
              <a:gd name="T70" fmla="*/ 4 w 794"/>
              <a:gd name="T71" fmla="*/ 451 h 794"/>
              <a:gd name="T72" fmla="*/ 0 w 794"/>
              <a:gd name="T73" fmla="*/ 397 h 794"/>
              <a:gd name="T74" fmla="*/ 4 w 794"/>
              <a:gd name="T75" fmla="*/ 343 h 794"/>
              <a:gd name="T76" fmla="*/ 15 w 794"/>
              <a:gd name="T77" fmla="*/ 291 h 794"/>
              <a:gd name="T78" fmla="*/ 32 w 794"/>
              <a:gd name="T79" fmla="*/ 243 h 794"/>
              <a:gd name="T80" fmla="*/ 54 w 794"/>
              <a:gd name="T81" fmla="*/ 197 h 794"/>
              <a:gd name="T82" fmla="*/ 83 w 794"/>
              <a:gd name="T83" fmla="*/ 155 h 794"/>
              <a:gd name="T84" fmla="*/ 117 w 794"/>
              <a:gd name="T85" fmla="*/ 116 h 794"/>
              <a:gd name="T86" fmla="*/ 155 w 794"/>
              <a:gd name="T87" fmla="*/ 83 h 794"/>
              <a:gd name="T88" fmla="*/ 197 w 794"/>
              <a:gd name="T89" fmla="*/ 54 h 794"/>
              <a:gd name="T90" fmla="*/ 243 w 794"/>
              <a:gd name="T91" fmla="*/ 30 h 794"/>
              <a:gd name="T92" fmla="*/ 291 w 794"/>
              <a:gd name="T93" fmla="*/ 13 h 794"/>
              <a:gd name="T94" fmla="*/ 343 w 794"/>
              <a:gd name="T95" fmla="*/ 3 h 794"/>
              <a:gd name="T96" fmla="*/ 397 w 794"/>
              <a:gd name="T97" fmla="*/ 0 h 7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94" h="794">
                <a:moveTo>
                  <a:pt x="397" y="0"/>
                </a:moveTo>
                <a:lnTo>
                  <a:pt x="451" y="3"/>
                </a:lnTo>
                <a:lnTo>
                  <a:pt x="503" y="13"/>
                </a:lnTo>
                <a:lnTo>
                  <a:pt x="552" y="30"/>
                </a:lnTo>
                <a:lnTo>
                  <a:pt x="597" y="54"/>
                </a:lnTo>
                <a:lnTo>
                  <a:pt x="639" y="83"/>
                </a:lnTo>
                <a:lnTo>
                  <a:pt x="679" y="116"/>
                </a:lnTo>
                <a:lnTo>
                  <a:pt x="711" y="155"/>
                </a:lnTo>
                <a:lnTo>
                  <a:pt x="740" y="197"/>
                </a:lnTo>
                <a:lnTo>
                  <a:pt x="764" y="243"/>
                </a:lnTo>
                <a:lnTo>
                  <a:pt x="781" y="291"/>
                </a:lnTo>
                <a:lnTo>
                  <a:pt x="791" y="343"/>
                </a:lnTo>
                <a:lnTo>
                  <a:pt x="794" y="397"/>
                </a:lnTo>
                <a:lnTo>
                  <a:pt x="791" y="451"/>
                </a:lnTo>
                <a:lnTo>
                  <a:pt x="781" y="502"/>
                </a:lnTo>
                <a:lnTo>
                  <a:pt x="764" y="551"/>
                </a:lnTo>
                <a:lnTo>
                  <a:pt x="740" y="597"/>
                </a:lnTo>
                <a:lnTo>
                  <a:pt x="711" y="639"/>
                </a:lnTo>
                <a:lnTo>
                  <a:pt x="679" y="677"/>
                </a:lnTo>
                <a:lnTo>
                  <a:pt x="639" y="711"/>
                </a:lnTo>
                <a:lnTo>
                  <a:pt x="597" y="740"/>
                </a:lnTo>
                <a:lnTo>
                  <a:pt x="552" y="762"/>
                </a:lnTo>
                <a:lnTo>
                  <a:pt x="503" y="779"/>
                </a:lnTo>
                <a:lnTo>
                  <a:pt x="451" y="790"/>
                </a:lnTo>
                <a:lnTo>
                  <a:pt x="397" y="794"/>
                </a:lnTo>
                <a:lnTo>
                  <a:pt x="343" y="790"/>
                </a:lnTo>
                <a:lnTo>
                  <a:pt x="291" y="779"/>
                </a:lnTo>
                <a:lnTo>
                  <a:pt x="243" y="762"/>
                </a:lnTo>
                <a:lnTo>
                  <a:pt x="197" y="740"/>
                </a:lnTo>
                <a:lnTo>
                  <a:pt x="155" y="711"/>
                </a:lnTo>
                <a:lnTo>
                  <a:pt x="117" y="677"/>
                </a:lnTo>
                <a:lnTo>
                  <a:pt x="83" y="639"/>
                </a:lnTo>
                <a:lnTo>
                  <a:pt x="54" y="597"/>
                </a:lnTo>
                <a:lnTo>
                  <a:pt x="32" y="551"/>
                </a:lnTo>
                <a:lnTo>
                  <a:pt x="15" y="502"/>
                </a:lnTo>
                <a:lnTo>
                  <a:pt x="4" y="451"/>
                </a:lnTo>
                <a:lnTo>
                  <a:pt x="0" y="397"/>
                </a:lnTo>
                <a:lnTo>
                  <a:pt x="4" y="343"/>
                </a:lnTo>
                <a:lnTo>
                  <a:pt x="15" y="291"/>
                </a:lnTo>
                <a:lnTo>
                  <a:pt x="32" y="243"/>
                </a:lnTo>
                <a:lnTo>
                  <a:pt x="54" y="197"/>
                </a:lnTo>
                <a:lnTo>
                  <a:pt x="83" y="155"/>
                </a:lnTo>
                <a:lnTo>
                  <a:pt x="117" y="116"/>
                </a:lnTo>
                <a:lnTo>
                  <a:pt x="155" y="83"/>
                </a:lnTo>
                <a:lnTo>
                  <a:pt x="197" y="54"/>
                </a:lnTo>
                <a:lnTo>
                  <a:pt x="243" y="30"/>
                </a:lnTo>
                <a:lnTo>
                  <a:pt x="291" y="13"/>
                </a:lnTo>
                <a:lnTo>
                  <a:pt x="343" y="3"/>
                </a:lnTo>
                <a:lnTo>
                  <a:pt x="397" y="0"/>
                </a:lnTo>
                <a:close/>
              </a:path>
            </a:pathLst>
          </a:custGeom>
          <a:solidFill>
            <a:schemeClr val="bg1"/>
          </a:solidFill>
          <a:ln w="1270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armonyOS Sans SC"/>
              <a:cs typeface="+mn-cs"/>
            </a:endParaRPr>
          </a:p>
        </p:txBody>
      </p:sp>
      <p:sp>
        <p:nvSpPr>
          <p:cNvPr id="14" name="Freeform 2053">
            <a:extLst>
              <a:ext uri="{FF2B5EF4-FFF2-40B4-BE49-F238E27FC236}">
                <a16:creationId xmlns:a16="http://schemas.microsoft.com/office/drawing/2014/main" id="{FFB83BF6-3ADE-420B-89D7-880948EFBF3F}"/>
              </a:ext>
            </a:extLst>
          </p:cNvPr>
          <p:cNvSpPr>
            <a:spLocks/>
          </p:cNvSpPr>
          <p:nvPr/>
        </p:nvSpPr>
        <p:spPr bwMode="auto">
          <a:xfrm>
            <a:off x="7068265" y="3653514"/>
            <a:ext cx="852878" cy="855029"/>
          </a:xfrm>
          <a:custGeom>
            <a:avLst/>
            <a:gdLst>
              <a:gd name="T0" fmla="*/ 397 w 793"/>
              <a:gd name="T1" fmla="*/ 0 h 795"/>
              <a:gd name="T2" fmla="*/ 450 w 793"/>
              <a:gd name="T3" fmla="*/ 4 h 795"/>
              <a:gd name="T4" fmla="*/ 503 w 793"/>
              <a:gd name="T5" fmla="*/ 15 h 795"/>
              <a:gd name="T6" fmla="*/ 551 w 793"/>
              <a:gd name="T7" fmla="*/ 32 h 795"/>
              <a:gd name="T8" fmla="*/ 597 w 793"/>
              <a:gd name="T9" fmla="*/ 54 h 795"/>
              <a:gd name="T10" fmla="*/ 639 w 793"/>
              <a:gd name="T11" fmla="*/ 83 h 795"/>
              <a:gd name="T12" fmla="*/ 677 w 793"/>
              <a:gd name="T13" fmla="*/ 117 h 795"/>
              <a:gd name="T14" fmla="*/ 711 w 793"/>
              <a:gd name="T15" fmla="*/ 155 h 795"/>
              <a:gd name="T16" fmla="*/ 740 w 793"/>
              <a:gd name="T17" fmla="*/ 197 h 795"/>
              <a:gd name="T18" fmla="*/ 762 w 793"/>
              <a:gd name="T19" fmla="*/ 242 h 795"/>
              <a:gd name="T20" fmla="*/ 779 w 793"/>
              <a:gd name="T21" fmla="*/ 292 h 795"/>
              <a:gd name="T22" fmla="*/ 791 w 793"/>
              <a:gd name="T23" fmla="*/ 343 h 795"/>
              <a:gd name="T24" fmla="*/ 793 w 793"/>
              <a:gd name="T25" fmla="*/ 397 h 795"/>
              <a:gd name="T26" fmla="*/ 791 w 793"/>
              <a:gd name="T27" fmla="*/ 450 h 795"/>
              <a:gd name="T28" fmla="*/ 779 w 793"/>
              <a:gd name="T29" fmla="*/ 503 h 795"/>
              <a:gd name="T30" fmla="*/ 762 w 793"/>
              <a:gd name="T31" fmla="*/ 551 h 795"/>
              <a:gd name="T32" fmla="*/ 740 w 793"/>
              <a:gd name="T33" fmla="*/ 597 h 795"/>
              <a:gd name="T34" fmla="*/ 711 w 793"/>
              <a:gd name="T35" fmla="*/ 640 h 795"/>
              <a:gd name="T36" fmla="*/ 677 w 793"/>
              <a:gd name="T37" fmla="*/ 678 h 795"/>
              <a:gd name="T38" fmla="*/ 639 w 793"/>
              <a:gd name="T39" fmla="*/ 711 h 795"/>
              <a:gd name="T40" fmla="*/ 597 w 793"/>
              <a:gd name="T41" fmla="*/ 740 h 795"/>
              <a:gd name="T42" fmla="*/ 551 w 793"/>
              <a:gd name="T43" fmla="*/ 763 h 795"/>
              <a:gd name="T44" fmla="*/ 503 w 793"/>
              <a:gd name="T45" fmla="*/ 780 h 795"/>
              <a:gd name="T46" fmla="*/ 450 w 793"/>
              <a:gd name="T47" fmla="*/ 791 h 795"/>
              <a:gd name="T48" fmla="*/ 397 w 793"/>
              <a:gd name="T49" fmla="*/ 795 h 795"/>
              <a:gd name="T50" fmla="*/ 343 w 793"/>
              <a:gd name="T51" fmla="*/ 791 h 795"/>
              <a:gd name="T52" fmla="*/ 291 w 793"/>
              <a:gd name="T53" fmla="*/ 780 h 795"/>
              <a:gd name="T54" fmla="*/ 242 w 793"/>
              <a:gd name="T55" fmla="*/ 763 h 795"/>
              <a:gd name="T56" fmla="*/ 196 w 793"/>
              <a:gd name="T57" fmla="*/ 740 h 795"/>
              <a:gd name="T58" fmla="*/ 154 w 793"/>
              <a:gd name="T59" fmla="*/ 711 h 795"/>
              <a:gd name="T60" fmla="*/ 117 w 793"/>
              <a:gd name="T61" fmla="*/ 678 h 795"/>
              <a:gd name="T62" fmla="*/ 82 w 793"/>
              <a:gd name="T63" fmla="*/ 640 h 795"/>
              <a:gd name="T64" fmla="*/ 54 w 793"/>
              <a:gd name="T65" fmla="*/ 597 h 795"/>
              <a:gd name="T66" fmla="*/ 31 w 793"/>
              <a:gd name="T67" fmla="*/ 551 h 795"/>
              <a:gd name="T68" fmla="*/ 14 w 793"/>
              <a:gd name="T69" fmla="*/ 503 h 795"/>
              <a:gd name="T70" fmla="*/ 4 w 793"/>
              <a:gd name="T71" fmla="*/ 450 h 795"/>
              <a:gd name="T72" fmla="*/ 0 w 793"/>
              <a:gd name="T73" fmla="*/ 397 h 795"/>
              <a:gd name="T74" fmla="*/ 4 w 793"/>
              <a:gd name="T75" fmla="*/ 343 h 795"/>
              <a:gd name="T76" fmla="*/ 14 w 793"/>
              <a:gd name="T77" fmla="*/ 292 h 795"/>
              <a:gd name="T78" fmla="*/ 31 w 793"/>
              <a:gd name="T79" fmla="*/ 242 h 795"/>
              <a:gd name="T80" fmla="*/ 54 w 793"/>
              <a:gd name="T81" fmla="*/ 197 h 795"/>
              <a:gd name="T82" fmla="*/ 82 w 793"/>
              <a:gd name="T83" fmla="*/ 155 h 795"/>
              <a:gd name="T84" fmla="*/ 117 w 793"/>
              <a:gd name="T85" fmla="*/ 117 h 795"/>
              <a:gd name="T86" fmla="*/ 154 w 793"/>
              <a:gd name="T87" fmla="*/ 83 h 795"/>
              <a:gd name="T88" fmla="*/ 196 w 793"/>
              <a:gd name="T89" fmla="*/ 54 h 795"/>
              <a:gd name="T90" fmla="*/ 242 w 793"/>
              <a:gd name="T91" fmla="*/ 32 h 795"/>
              <a:gd name="T92" fmla="*/ 291 w 793"/>
              <a:gd name="T93" fmla="*/ 15 h 795"/>
              <a:gd name="T94" fmla="*/ 343 w 793"/>
              <a:gd name="T95" fmla="*/ 4 h 795"/>
              <a:gd name="T96" fmla="*/ 397 w 793"/>
              <a:gd name="T97" fmla="*/ 0 h 7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93" h="795">
                <a:moveTo>
                  <a:pt x="397" y="0"/>
                </a:moveTo>
                <a:lnTo>
                  <a:pt x="450" y="4"/>
                </a:lnTo>
                <a:lnTo>
                  <a:pt x="503" y="15"/>
                </a:lnTo>
                <a:lnTo>
                  <a:pt x="551" y="32"/>
                </a:lnTo>
                <a:lnTo>
                  <a:pt x="597" y="54"/>
                </a:lnTo>
                <a:lnTo>
                  <a:pt x="639" y="83"/>
                </a:lnTo>
                <a:lnTo>
                  <a:pt x="677" y="117"/>
                </a:lnTo>
                <a:lnTo>
                  <a:pt x="711" y="155"/>
                </a:lnTo>
                <a:lnTo>
                  <a:pt x="740" y="197"/>
                </a:lnTo>
                <a:lnTo>
                  <a:pt x="762" y="242"/>
                </a:lnTo>
                <a:lnTo>
                  <a:pt x="779" y="292"/>
                </a:lnTo>
                <a:lnTo>
                  <a:pt x="791" y="343"/>
                </a:lnTo>
                <a:lnTo>
                  <a:pt x="793" y="397"/>
                </a:lnTo>
                <a:lnTo>
                  <a:pt x="791" y="450"/>
                </a:lnTo>
                <a:lnTo>
                  <a:pt x="779" y="503"/>
                </a:lnTo>
                <a:lnTo>
                  <a:pt x="762" y="551"/>
                </a:lnTo>
                <a:lnTo>
                  <a:pt x="740" y="597"/>
                </a:lnTo>
                <a:lnTo>
                  <a:pt x="711" y="640"/>
                </a:lnTo>
                <a:lnTo>
                  <a:pt x="677" y="678"/>
                </a:lnTo>
                <a:lnTo>
                  <a:pt x="639" y="711"/>
                </a:lnTo>
                <a:lnTo>
                  <a:pt x="597" y="740"/>
                </a:lnTo>
                <a:lnTo>
                  <a:pt x="551" y="763"/>
                </a:lnTo>
                <a:lnTo>
                  <a:pt x="503" y="780"/>
                </a:lnTo>
                <a:lnTo>
                  <a:pt x="450" y="791"/>
                </a:lnTo>
                <a:lnTo>
                  <a:pt x="397" y="795"/>
                </a:lnTo>
                <a:lnTo>
                  <a:pt x="343" y="791"/>
                </a:lnTo>
                <a:lnTo>
                  <a:pt x="291" y="780"/>
                </a:lnTo>
                <a:lnTo>
                  <a:pt x="242" y="763"/>
                </a:lnTo>
                <a:lnTo>
                  <a:pt x="196" y="740"/>
                </a:lnTo>
                <a:lnTo>
                  <a:pt x="154" y="711"/>
                </a:lnTo>
                <a:lnTo>
                  <a:pt x="117" y="678"/>
                </a:lnTo>
                <a:lnTo>
                  <a:pt x="82" y="640"/>
                </a:lnTo>
                <a:lnTo>
                  <a:pt x="54" y="597"/>
                </a:lnTo>
                <a:lnTo>
                  <a:pt x="31" y="551"/>
                </a:lnTo>
                <a:lnTo>
                  <a:pt x="14" y="503"/>
                </a:lnTo>
                <a:lnTo>
                  <a:pt x="4" y="450"/>
                </a:lnTo>
                <a:lnTo>
                  <a:pt x="0" y="397"/>
                </a:lnTo>
                <a:lnTo>
                  <a:pt x="4" y="343"/>
                </a:lnTo>
                <a:lnTo>
                  <a:pt x="14" y="292"/>
                </a:lnTo>
                <a:lnTo>
                  <a:pt x="31" y="242"/>
                </a:lnTo>
                <a:lnTo>
                  <a:pt x="54" y="197"/>
                </a:lnTo>
                <a:lnTo>
                  <a:pt x="82" y="155"/>
                </a:lnTo>
                <a:lnTo>
                  <a:pt x="117" y="117"/>
                </a:lnTo>
                <a:lnTo>
                  <a:pt x="154" y="83"/>
                </a:lnTo>
                <a:lnTo>
                  <a:pt x="196" y="54"/>
                </a:lnTo>
                <a:lnTo>
                  <a:pt x="242" y="32"/>
                </a:lnTo>
                <a:lnTo>
                  <a:pt x="291" y="15"/>
                </a:lnTo>
                <a:lnTo>
                  <a:pt x="343" y="4"/>
                </a:lnTo>
                <a:lnTo>
                  <a:pt x="397" y="0"/>
                </a:lnTo>
                <a:close/>
              </a:path>
            </a:pathLst>
          </a:custGeom>
          <a:solidFill>
            <a:schemeClr val="bg1"/>
          </a:solidFill>
          <a:ln w="1270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armonyOS Sans SC"/>
              <a:cs typeface="+mn-cs"/>
            </a:endParaRPr>
          </a:p>
        </p:txBody>
      </p:sp>
      <p:sp>
        <p:nvSpPr>
          <p:cNvPr id="15" name="Freeform 2054">
            <a:extLst>
              <a:ext uri="{FF2B5EF4-FFF2-40B4-BE49-F238E27FC236}">
                <a16:creationId xmlns:a16="http://schemas.microsoft.com/office/drawing/2014/main" id="{8C0FF5D8-6F6C-44CB-9040-882727379555}"/>
              </a:ext>
            </a:extLst>
          </p:cNvPr>
          <p:cNvSpPr>
            <a:spLocks/>
          </p:cNvSpPr>
          <p:nvPr/>
        </p:nvSpPr>
        <p:spPr bwMode="auto">
          <a:xfrm>
            <a:off x="9626897" y="3681477"/>
            <a:ext cx="852878" cy="853953"/>
          </a:xfrm>
          <a:custGeom>
            <a:avLst/>
            <a:gdLst>
              <a:gd name="T0" fmla="*/ 396 w 793"/>
              <a:gd name="T1" fmla="*/ 0 h 794"/>
              <a:gd name="T2" fmla="*/ 450 w 793"/>
              <a:gd name="T3" fmla="*/ 3 h 794"/>
              <a:gd name="T4" fmla="*/ 502 w 793"/>
              <a:gd name="T5" fmla="*/ 15 h 794"/>
              <a:gd name="T6" fmla="*/ 551 w 793"/>
              <a:gd name="T7" fmla="*/ 32 h 794"/>
              <a:gd name="T8" fmla="*/ 597 w 793"/>
              <a:gd name="T9" fmla="*/ 54 h 794"/>
              <a:gd name="T10" fmla="*/ 638 w 793"/>
              <a:gd name="T11" fmla="*/ 83 h 794"/>
              <a:gd name="T12" fmla="*/ 678 w 793"/>
              <a:gd name="T13" fmla="*/ 117 h 794"/>
              <a:gd name="T14" fmla="*/ 710 w 793"/>
              <a:gd name="T15" fmla="*/ 155 h 794"/>
              <a:gd name="T16" fmla="*/ 739 w 793"/>
              <a:gd name="T17" fmla="*/ 197 h 794"/>
              <a:gd name="T18" fmla="*/ 763 w 793"/>
              <a:gd name="T19" fmla="*/ 243 h 794"/>
              <a:gd name="T20" fmla="*/ 780 w 793"/>
              <a:gd name="T21" fmla="*/ 291 h 794"/>
              <a:gd name="T22" fmla="*/ 790 w 793"/>
              <a:gd name="T23" fmla="*/ 343 h 794"/>
              <a:gd name="T24" fmla="*/ 793 w 793"/>
              <a:gd name="T25" fmla="*/ 397 h 794"/>
              <a:gd name="T26" fmla="*/ 790 w 793"/>
              <a:gd name="T27" fmla="*/ 451 h 794"/>
              <a:gd name="T28" fmla="*/ 780 w 793"/>
              <a:gd name="T29" fmla="*/ 503 h 794"/>
              <a:gd name="T30" fmla="*/ 763 w 793"/>
              <a:gd name="T31" fmla="*/ 551 h 794"/>
              <a:gd name="T32" fmla="*/ 739 w 793"/>
              <a:gd name="T33" fmla="*/ 597 h 794"/>
              <a:gd name="T34" fmla="*/ 710 w 793"/>
              <a:gd name="T35" fmla="*/ 639 h 794"/>
              <a:gd name="T36" fmla="*/ 678 w 793"/>
              <a:gd name="T37" fmla="*/ 677 h 794"/>
              <a:gd name="T38" fmla="*/ 638 w 793"/>
              <a:gd name="T39" fmla="*/ 711 h 794"/>
              <a:gd name="T40" fmla="*/ 597 w 793"/>
              <a:gd name="T41" fmla="*/ 740 h 794"/>
              <a:gd name="T42" fmla="*/ 551 w 793"/>
              <a:gd name="T43" fmla="*/ 762 h 794"/>
              <a:gd name="T44" fmla="*/ 502 w 793"/>
              <a:gd name="T45" fmla="*/ 779 h 794"/>
              <a:gd name="T46" fmla="*/ 450 w 793"/>
              <a:gd name="T47" fmla="*/ 791 h 794"/>
              <a:gd name="T48" fmla="*/ 396 w 793"/>
              <a:gd name="T49" fmla="*/ 794 h 794"/>
              <a:gd name="T50" fmla="*/ 343 w 793"/>
              <a:gd name="T51" fmla="*/ 791 h 794"/>
              <a:gd name="T52" fmla="*/ 290 w 793"/>
              <a:gd name="T53" fmla="*/ 779 h 794"/>
              <a:gd name="T54" fmla="*/ 242 w 793"/>
              <a:gd name="T55" fmla="*/ 762 h 794"/>
              <a:gd name="T56" fmla="*/ 196 w 793"/>
              <a:gd name="T57" fmla="*/ 740 h 794"/>
              <a:gd name="T58" fmla="*/ 154 w 793"/>
              <a:gd name="T59" fmla="*/ 711 h 794"/>
              <a:gd name="T60" fmla="*/ 116 w 793"/>
              <a:gd name="T61" fmla="*/ 677 h 794"/>
              <a:gd name="T62" fmla="*/ 82 w 793"/>
              <a:gd name="T63" fmla="*/ 639 h 794"/>
              <a:gd name="T64" fmla="*/ 53 w 793"/>
              <a:gd name="T65" fmla="*/ 597 h 794"/>
              <a:gd name="T66" fmla="*/ 31 w 793"/>
              <a:gd name="T67" fmla="*/ 551 h 794"/>
              <a:gd name="T68" fmla="*/ 14 w 793"/>
              <a:gd name="T69" fmla="*/ 503 h 794"/>
              <a:gd name="T70" fmla="*/ 4 w 793"/>
              <a:gd name="T71" fmla="*/ 451 h 794"/>
              <a:gd name="T72" fmla="*/ 0 w 793"/>
              <a:gd name="T73" fmla="*/ 397 h 794"/>
              <a:gd name="T74" fmla="*/ 4 w 793"/>
              <a:gd name="T75" fmla="*/ 343 h 794"/>
              <a:gd name="T76" fmla="*/ 14 w 793"/>
              <a:gd name="T77" fmla="*/ 291 h 794"/>
              <a:gd name="T78" fmla="*/ 31 w 793"/>
              <a:gd name="T79" fmla="*/ 243 h 794"/>
              <a:gd name="T80" fmla="*/ 53 w 793"/>
              <a:gd name="T81" fmla="*/ 197 h 794"/>
              <a:gd name="T82" fmla="*/ 82 w 793"/>
              <a:gd name="T83" fmla="*/ 155 h 794"/>
              <a:gd name="T84" fmla="*/ 116 w 793"/>
              <a:gd name="T85" fmla="*/ 117 h 794"/>
              <a:gd name="T86" fmla="*/ 154 w 793"/>
              <a:gd name="T87" fmla="*/ 83 h 794"/>
              <a:gd name="T88" fmla="*/ 196 w 793"/>
              <a:gd name="T89" fmla="*/ 54 h 794"/>
              <a:gd name="T90" fmla="*/ 242 w 793"/>
              <a:gd name="T91" fmla="*/ 32 h 794"/>
              <a:gd name="T92" fmla="*/ 290 w 793"/>
              <a:gd name="T93" fmla="*/ 15 h 794"/>
              <a:gd name="T94" fmla="*/ 343 w 793"/>
              <a:gd name="T95" fmla="*/ 3 h 794"/>
              <a:gd name="T96" fmla="*/ 396 w 793"/>
              <a:gd name="T97" fmla="*/ 0 h 7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93" h="794">
                <a:moveTo>
                  <a:pt x="396" y="0"/>
                </a:moveTo>
                <a:lnTo>
                  <a:pt x="450" y="3"/>
                </a:lnTo>
                <a:lnTo>
                  <a:pt x="502" y="15"/>
                </a:lnTo>
                <a:lnTo>
                  <a:pt x="551" y="32"/>
                </a:lnTo>
                <a:lnTo>
                  <a:pt x="597" y="54"/>
                </a:lnTo>
                <a:lnTo>
                  <a:pt x="638" y="83"/>
                </a:lnTo>
                <a:lnTo>
                  <a:pt x="678" y="117"/>
                </a:lnTo>
                <a:lnTo>
                  <a:pt x="710" y="155"/>
                </a:lnTo>
                <a:lnTo>
                  <a:pt x="739" y="197"/>
                </a:lnTo>
                <a:lnTo>
                  <a:pt x="763" y="243"/>
                </a:lnTo>
                <a:lnTo>
                  <a:pt x="780" y="291"/>
                </a:lnTo>
                <a:lnTo>
                  <a:pt x="790" y="343"/>
                </a:lnTo>
                <a:lnTo>
                  <a:pt x="793" y="397"/>
                </a:lnTo>
                <a:lnTo>
                  <a:pt x="790" y="451"/>
                </a:lnTo>
                <a:lnTo>
                  <a:pt x="780" y="503"/>
                </a:lnTo>
                <a:lnTo>
                  <a:pt x="763" y="551"/>
                </a:lnTo>
                <a:lnTo>
                  <a:pt x="739" y="597"/>
                </a:lnTo>
                <a:lnTo>
                  <a:pt x="710" y="639"/>
                </a:lnTo>
                <a:lnTo>
                  <a:pt x="678" y="677"/>
                </a:lnTo>
                <a:lnTo>
                  <a:pt x="638" y="711"/>
                </a:lnTo>
                <a:lnTo>
                  <a:pt x="597" y="740"/>
                </a:lnTo>
                <a:lnTo>
                  <a:pt x="551" y="762"/>
                </a:lnTo>
                <a:lnTo>
                  <a:pt x="502" y="779"/>
                </a:lnTo>
                <a:lnTo>
                  <a:pt x="450" y="791"/>
                </a:lnTo>
                <a:lnTo>
                  <a:pt x="396" y="794"/>
                </a:lnTo>
                <a:lnTo>
                  <a:pt x="343" y="791"/>
                </a:lnTo>
                <a:lnTo>
                  <a:pt x="290" y="779"/>
                </a:lnTo>
                <a:lnTo>
                  <a:pt x="242" y="762"/>
                </a:lnTo>
                <a:lnTo>
                  <a:pt x="196" y="740"/>
                </a:lnTo>
                <a:lnTo>
                  <a:pt x="154" y="711"/>
                </a:lnTo>
                <a:lnTo>
                  <a:pt x="116" y="677"/>
                </a:lnTo>
                <a:lnTo>
                  <a:pt x="82" y="639"/>
                </a:lnTo>
                <a:lnTo>
                  <a:pt x="53" y="597"/>
                </a:lnTo>
                <a:lnTo>
                  <a:pt x="31" y="551"/>
                </a:lnTo>
                <a:lnTo>
                  <a:pt x="14" y="503"/>
                </a:lnTo>
                <a:lnTo>
                  <a:pt x="4" y="451"/>
                </a:lnTo>
                <a:lnTo>
                  <a:pt x="0" y="397"/>
                </a:lnTo>
                <a:lnTo>
                  <a:pt x="4" y="343"/>
                </a:lnTo>
                <a:lnTo>
                  <a:pt x="14" y="291"/>
                </a:lnTo>
                <a:lnTo>
                  <a:pt x="31" y="243"/>
                </a:lnTo>
                <a:lnTo>
                  <a:pt x="53" y="197"/>
                </a:lnTo>
                <a:lnTo>
                  <a:pt x="82" y="155"/>
                </a:lnTo>
                <a:lnTo>
                  <a:pt x="116" y="117"/>
                </a:lnTo>
                <a:lnTo>
                  <a:pt x="154" y="83"/>
                </a:lnTo>
                <a:lnTo>
                  <a:pt x="196" y="54"/>
                </a:lnTo>
                <a:lnTo>
                  <a:pt x="242" y="32"/>
                </a:lnTo>
                <a:lnTo>
                  <a:pt x="290" y="15"/>
                </a:lnTo>
                <a:lnTo>
                  <a:pt x="343" y="3"/>
                </a:lnTo>
                <a:lnTo>
                  <a:pt x="396" y="0"/>
                </a:lnTo>
                <a:close/>
              </a:path>
            </a:pathLst>
          </a:custGeom>
          <a:solidFill>
            <a:schemeClr val="bg1"/>
          </a:solidFill>
          <a:ln w="1270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armonyOS Sans SC"/>
              <a:cs typeface="+mn-cs"/>
            </a:endParaRPr>
          </a:p>
        </p:txBody>
      </p:sp>
      <p:sp>
        <p:nvSpPr>
          <p:cNvPr id="4" name="TextBox 31">
            <a:extLst>
              <a:ext uri="{FF2B5EF4-FFF2-40B4-BE49-F238E27FC236}">
                <a16:creationId xmlns:a16="http://schemas.microsoft.com/office/drawing/2014/main" id="{9423CB3F-8CF8-4E6F-9C7F-CF8FAA3F42C2}"/>
              </a:ext>
            </a:extLst>
          </p:cNvPr>
          <p:cNvSpPr txBox="1"/>
          <p:nvPr/>
        </p:nvSpPr>
        <p:spPr>
          <a:xfrm>
            <a:off x="6902900" y="3957915"/>
            <a:ext cx="1183608" cy="33739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d-ID" sz="1600" b="0" i="0" u="none" strike="noStrike" kern="1200" cap="none" spc="0" normalizeH="0" baseline="0" noProof="0" dirty="0">
                <a:ln>
                  <a:noFill/>
                </a:ln>
                <a:solidFill>
                  <a:prstClr val="black">
                    <a:lumMod val="75000"/>
                    <a:lumOff val="25000"/>
                  </a:prstClr>
                </a:solidFill>
                <a:effectLst/>
                <a:uLnTx/>
                <a:uFillTx/>
                <a:latin typeface="HarmonyOS Sans SC Black"/>
                <a:ea typeface="+mj-ea"/>
                <a:cs typeface="Open Sans" panose="020B0606030504020204" pitchFamily="34" charset="0"/>
              </a:rPr>
              <a:t>text</a:t>
            </a:r>
            <a:endParaRPr kumimoji="0" lang="en-US" sz="1600" b="0" i="0" u="none" strike="noStrike" kern="1200" cap="none" spc="0" normalizeH="0" baseline="0" noProof="0" dirty="0">
              <a:ln>
                <a:noFill/>
              </a:ln>
              <a:solidFill>
                <a:prstClr val="black">
                  <a:lumMod val="75000"/>
                  <a:lumOff val="25000"/>
                </a:prstClr>
              </a:solidFill>
              <a:effectLst/>
              <a:uLnTx/>
              <a:uFillTx/>
              <a:latin typeface="HarmonyOS Sans SC Black"/>
              <a:ea typeface="+mj-ea"/>
              <a:cs typeface="Open Sans" panose="020B0606030504020204" pitchFamily="34" charset="0"/>
            </a:endParaRPr>
          </a:p>
        </p:txBody>
      </p:sp>
      <p:sp>
        <p:nvSpPr>
          <p:cNvPr id="5" name="TextBox 34">
            <a:extLst>
              <a:ext uri="{FF2B5EF4-FFF2-40B4-BE49-F238E27FC236}">
                <a16:creationId xmlns:a16="http://schemas.microsoft.com/office/drawing/2014/main" id="{B800A10F-E008-455F-B717-11D65A782C96}"/>
              </a:ext>
            </a:extLst>
          </p:cNvPr>
          <p:cNvSpPr txBox="1"/>
          <p:nvPr/>
        </p:nvSpPr>
        <p:spPr>
          <a:xfrm>
            <a:off x="8160980" y="5283478"/>
            <a:ext cx="1183608" cy="33739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d-ID" sz="1600" b="0" i="0" u="none" strike="noStrike" kern="1200" cap="none" spc="0" normalizeH="0" baseline="0" noProof="0" dirty="0">
                <a:ln>
                  <a:noFill/>
                </a:ln>
                <a:solidFill>
                  <a:prstClr val="black">
                    <a:lumMod val="75000"/>
                    <a:lumOff val="25000"/>
                  </a:prstClr>
                </a:solidFill>
                <a:effectLst/>
                <a:uLnTx/>
                <a:uFillTx/>
                <a:latin typeface="HarmonyOS Sans SC Black"/>
                <a:ea typeface="+mj-ea"/>
                <a:cs typeface="Open Sans" panose="020B0606030504020204" pitchFamily="34" charset="0"/>
              </a:rPr>
              <a:t>text</a:t>
            </a:r>
            <a:endParaRPr kumimoji="0" lang="en-US" sz="1600" b="0" i="0" u="none" strike="noStrike" kern="1200" cap="none" spc="0" normalizeH="0" baseline="0" noProof="0" dirty="0">
              <a:ln>
                <a:noFill/>
              </a:ln>
              <a:solidFill>
                <a:prstClr val="black">
                  <a:lumMod val="75000"/>
                  <a:lumOff val="25000"/>
                </a:prstClr>
              </a:solidFill>
              <a:effectLst/>
              <a:uLnTx/>
              <a:uFillTx/>
              <a:latin typeface="HarmonyOS Sans SC Black"/>
              <a:ea typeface="+mj-ea"/>
              <a:cs typeface="Open Sans" panose="020B0606030504020204" pitchFamily="34" charset="0"/>
            </a:endParaRPr>
          </a:p>
        </p:txBody>
      </p:sp>
      <p:sp>
        <p:nvSpPr>
          <p:cNvPr id="6" name="TextBox 35">
            <a:extLst>
              <a:ext uri="{FF2B5EF4-FFF2-40B4-BE49-F238E27FC236}">
                <a16:creationId xmlns:a16="http://schemas.microsoft.com/office/drawing/2014/main" id="{691093F4-A83B-4CB4-9A2D-C1F46A28684B}"/>
              </a:ext>
            </a:extLst>
          </p:cNvPr>
          <p:cNvSpPr txBox="1"/>
          <p:nvPr/>
        </p:nvSpPr>
        <p:spPr>
          <a:xfrm>
            <a:off x="9461532" y="3957915"/>
            <a:ext cx="1183608" cy="33739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d-ID" sz="1600" b="0" i="0" u="none" strike="noStrike" kern="1200" cap="none" spc="0" normalizeH="0" baseline="0" noProof="0" dirty="0">
                <a:ln>
                  <a:noFill/>
                </a:ln>
                <a:solidFill>
                  <a:prstClr val="black">
                    <a:lumMod val="75000"/>
                    <a:lumOff val="25000"/>
                  </a:prstClr>
                </a:solidFill>
                <a:effectLst/>
                <a:uLnTx/>
                <a:uFillTx/>
                <a:latin typeface="HarmonyOS Sans SC Black"/>
                <a:ea typeface="+mj-ea"/>
                <a:cs typeface="Open Sans" panose="020B0606030504020204" pitchFamily="34" charset="0"/>
              </a:rPr>
              <a:t>text</a:t>
            </a:r>
            <a:endParaRPr kumimoji="0" lang="en-US" sz="1600" b="0" i="0" u="none" strike="noStrike" kern="1200" cap="none" spc="0" normalizeH="0" baseline="0" noProof="0" dirty="0">
              <a:ln>
                <a:noFill/>
              </a:ln>
              <a:solidFill>
                <a:prstClr val="black">
                  <a:lumMod val="75000"/>
                  <a:lumOff val="25000"/>
                </a:prstClr>
              </a:solidFill>
              <a:effectLst/>
              <a:uLnTx/>
              <a:uFillTx/>
              <a:latin typeface="HarmonyOS Sans SC Black"/>
              <a:ea typeface="+mj-ea"/>
              <a:cs typeface="Open Sans" panose="020B0606030504020204" pitchFamily="34" charset="0"/>
            </a:endParaRPr>
          </a:p>
        </p:txBody>
      </p:sp>
      <p:sp>
        <p:nvSpPr>
          <p:cNvPr id="7" name="TextBox 38">
            <a:extLst>
              <a:ext uri="{FF2B5EF4-FFF2-40B4-BE49-F238E27FC236}">
                <a16:creationId xmlns:a16="http://schemas.microsoft.com/office/drawing/2014/main" id="{ED6383B4-A5CE-41F0-AA91-5A743FAD19E5}"/>
              </a:ext>
            </a:extLst>
          </p:cNvPr>
          <p:cNvSpPr txBox="1"/>
          <p:nvPr/>
        </p:nvSpPr>
        <p:spPr>
          <a:xfrm>
            <a:off x="8210254" y="2683058"/>
            <a:ext cx="1183608" cy="33739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d-ID" sz="1600" b="0" i="0" u="none" strike="noStrike" kern="1200" cap="none" spc="0" normalizeH="0" baseline="0" noProof="0" dirty="0">
                <a:ln>
                  <a:noFill/>
                </a:ln>
                <a:solidFill>
                  <a:prstClr val="black">
                    <a:lumMod val="75000"/>
                    <a:lumOff val="25000"/>
                  </a:prstClr>
                </a:solidFill>
                <a:effectLst/>
                <a:uLnTx/>
                <a:uFillTx/>
                <a:latin typeface="HarmonyOS Sans SC Black"/>
                <a:ea typeface="+mj-ea"/>
                <a:cs typeface="Open Sans" panose="020B0606030504020204" pitchFamily="34" charset="0"/>
              </a:rPr>
              <a:t>text</a:t>
            </a:r>
            <a:endParaRPr kumimoji="0" lang="en-US" sz="1600" b="0" i="0" u="none" strike="noStrike" kern="1200" cap="none" spc="0" normalizeH="0" baseline="0" noProof="0" dirty="0">
              <a:ln>
                <a:noFill/>
              </a:ln>
              <a:solidFill>
                <a:prstClr val="black">
                  <a:lumMod val="75000"/>
                  <a:lumOff val="25000"/>
                </a:prstClr>
              </a:solidFill>
              <a:effectLst/>
              <a:uLnTx/>
              <a:uFillTx/>
              <a:latin typeface="HarmonyOS Sans SC Black"/>
              <a:ea typeface="+mj-ea"/>
              <a:cs typeface="Open Sans" panose="020B0606030504020204" pitchFamily="34" charset="0"/>
            </a:endParaRPr>
          </a:p>
        </p:txBody>
      </p:sp>
      <p:sp>
        <p:nvSpPr>
          <p:cNvPr id="16" name="TextBox 39">
            <a:extLst>
              <a:ext uri="{FF2B5EF4-FFF2-40B4-BE49-F238E27FC236}">
                <a16:creationId xmlns:a16="http://schemas.microsoft.com/office/drawing/2014/main" id="{1993DB00-763E-4440-80A5-725BBB0E9EA3}"/>
              </a:ext>
            </a:extLst>
          </p:cNvPr>
          <p:cNvSpPr txBox="1"/>
          <p:nvPr/>
        </p:nvSpPr>
        <p:spPr>
          <a:xfrm>
            <a:off x="969517" y="2213748"/>
            <a:ext cx="2021864"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600" b="0" i="0" u="none" strike="noStrike" kern="1200" cap="none" spc="0" normalizeH="0" baseline="0" noProof="0" dirty="0">
                <a:ln>
                  <a:noFill/>
                </a:ln>
                <a:solidFill>
                  <a:schemeClr val="accent1"/>
                </a:solidFill>
                <a:effectLst/>
                <a:uLnTx/>
                <a:uFillTx/>
                <a:latin typeface="HarmonyOS Sans SC Black"/>
                <a:ea typeface="+mj-ea"/>
                <a:cs typeface="Open Sans" panose="020B0606030504020204" pitchFamily="34" charset="0"/>
              </a:rPr>
              <a:t>关键词标题</a:t>
            </a:r>
            <a:endParaRPr kumimoji="0" lang="en-US" sz="1600" b="0" i="0" u="none" strike="noStrike" kern="1200" cap="none" spc="0" normalizeH="0" baseline="0" noProof="0" dirty="0">
              <a:ln>
                <a:noFill/>
              </a:ln>
              <a:solidFill>
                <a:schemeClr val="accent1"/>
              </a:solidFill>
              <a:effectLst/>
              <a:uLnTx/>
              <a:uFillTx/>
              <a:latin typeface="HarmonyOS Sans SC Black"/>
              <a:ea typeface="+mj-ea"/>
              <a:cs typeface="Open Sans" panose="020B0606030504020204" pitchFamily="34" charset="0"/>
            </a:endParaRPr>
          </a:p>
        </p:txBody>
      </p:sp>
      <p:sp>
        <p:nvSpPr>
          <p:cNvPr id="17" name="Rectangle 40">
            <a:extLst>
              <a:ext uri="{FF2B5EF4-FFF2-40B4-BE49-F238E27FC236}">
                <a16:creationId xmlns:a16="http://schemas.microsoft.com/office/drawing/2014/main" id="{370C6A40-9388-4624-B6E7-5FE3081579D4}"/>
              </a:ext>
            </a:extLst>
          </p:cNvPr>
          <p:cNvSpPr>
            <a:spLocks noChangeArrowheads="1"/>
          </p:cNvSpPr>
          <p:nvPr/>
        </p:nvSpPr>
        <p:spPr bwMode="auto">
          <a:xfrm>
            <a:off x="969516" y="2552302"/>
            <a:ext cx="4627418" cy="4154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3600">
                <a:solidFill>
                  <a:schemeClr val="tx1"/>
                </a:solidFill>
                <a:latin typeface="Calibri" panose="020F0502020204030204" pitchFamily="34" charset="0"/>
              </a:defRPr>
            </a:lvl1pPr>
            <a:lvl2pPr marL="742950" indent="-285750">
              <a:defRPr sz="3600">
                <a:solidFill>
                  <a:schemeClr val="tx1"/>
                </a:solidFill>
                <a:latin typeface="Calibri" panose="020F0502020204030204" pitchFamily="34" charset="0"/>
              </a:defRPr>
            </a:lvl2pPr>
            <a:lvl3pPr marL="1143000" indent="-228600">
              <a:defRPr sz="3600">
                <a:solidFill>
                  <a:schemeClr val="tx1"/>
                </a:solidFill>
                <a:latin typeface="Calibri" panose="020F0502020204030204" pitchFamily="34" charset="0"/>
              </a:defRPr>
            </a:lvl3pPr>
            <a:lvl4pPr marL="1600200" indent="-228600">
              <a:defRPr sz="3600">
                <a:solidFill>
                  <a:schemeClr val="tx1"/>
                </a:solidFill>
                <a:latin typeface="Calibri" panose="020F0502020204030204" pitchFamily="34" charset="0"/>
              </a:defRPr>
            </a:lvl4pPr>
            <a:lvl5pPr marL="2057400" indent="-228600">
              <a:defRPr sz="3600">
                <a:solidFill>
                  <a:schemeClr val="tx1"/>
                </a:solidFill>
                <a:latin typeface="Calibri" panose="020F0502020204030204" pitchFamily="34" charset="0"/>
              </a:defRPr>
            </a:lvl5pPr>
            <a:lvl6pPr marL="2514600" indent="-228600" defTabSz="1827213" fontAlgn="base">
              <a:spcBef>
                <a:spcPct val="0"/>
              </a:spcBef>
              <a:spcAft>
                <a:spcPct val="0"/>
              </a:spcAft>
              <a:defRPr sz="3600">
                <a:solidFill>
                  <a:schemeClr val="tx1"/>
                </a:solidFill>
                <a:latin typeface="Calibri" panose="020F0502020204030204" pitchFamily="34" charset="0"/>
              </a:defRPr>
            </a:lvl6pPr>
            <a:lvl7pPr marL="2971800" indent="-228600" defTabSz="1827213" fontAlgn="base">
              <a:spcBef>
                <a:spcPct val="0"/>
              </a:spcBef>
              <a:spcAft>
                <a:spcPct val="0"/>
              </a:spcAft>
              <a:defRPr sz="3600">
                <a:solidFill>
                  <a:schemeClr val="tx1"/>
                </a:solidFill>
                <a:latin typeface="Calibri" panose="020F0502020204030204" pitchFamily="34" charset="0"/>
              </a:defRPr>
            </a:lvl7pPr>
            <a:lvl8pPr marL="3429000" indent="-228600" defTabSz="1827213" fontAlgn="base">
              <a:spcBef>
                <a:spcPct val="0"/>
              </a:spcBef>
              <a:spcAft>
                <a:spcPct val="0"/>
              </a:spcAft>
              <a:defRPr sz="3600">
                <a:solidFill>
                  <a:schemeClr val="tx1"/>
                </a:solidFill>
                <a:latin typeface="Calibri" panose="020F0502020204030204" pitchFamily="34" charset="0"/>
              </a:defRPr>
            </a:lvl8pPr>
            <a:lvl9pPr marL="3886200" indent="-228600" defTabSz="1827213" fontAlgn="base">
              <a:spcBef>
                <a:spcPct val="0"/>
              </a:spcBef>
              <a:spcAft>
                <a:spcPct val="0"/>
              </a:spcAft>
              <a:defRPr sz="3600">
                <a:solidFill>
                  <a:schemeClr val="tx1"/>
                </a:solidFill>
                <a:latin typeface="Calibri" panose="020F050202020403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lumMod val="50000"/>
                    <a:lumOff val="50000"/>
                  </a:prstClr>
                </a:solidFill>
                <a:effectLst/>
                <a:uLnTx/>
                <a:uFillTx/>
                <a:latin typeface="HarmonyOS Sans SC"/>
                <a:cs typeface="Open Sans" panose="020B0606030504020204" pitchFamily="34" charset="0"/>
              </a:rPr>
              <a:t>Lorem ipsum dolor sit </a:t>
            </a:r>
            <a:r>
              <a:rPr kumimoji="0" lang="en-US" sz="1050" b="0" i="0" u="none" strike="noStrike" kern="1200" cap="none" spc="0" normalizeH="0" baseline="0" noProof="0" dirty="0" err="1">
                <a:ln>
                  <a:noFill/>
                </a:ln>
                <a:solidFill>
                  <a:prstClr val="black">
                    <a:lumMod val="50000"/>
                    <a:lumOff val="50000"/>
                  </a:prstClr>
                </a:solidFill>
                <a:effectLst/>
                <a:uLnTx/>
                <a:uFillTx/>
                <a:latin typeface="HarmonyOS Sans SC"/>
                <a:cs typeface="Open Sans" panose="020B0606030504020204" pitchFamily="34" charset="0"/>
              </a:rPr>
              <a:t>amet</a:t>
            </a:r>
            <a:r>
              <a:rPr kumimoji="0" lang="en-US" sz="1050" b="0" i="0" u="none" strike="noStrike" kern="1200" cap="none" spc="0" normalizeH="0" baseline="0" noProof="0" dirty="0">
                <a:ln>
                  <a:noFill/>
                </a:ln>
                <a:solidFill>
                  <a:prstClr val="black">
                    <a:lumMod val="50000"/>
                    <a:lumOff val="50000"/>
                  </a:prstClr>
                </a:solidFill>
                <a:effectLst/>
                <a:uLnTx/>
                <a:uFillTx/>
                <a:latin typeface="HarmonyOS Sans SC"/>
                <a:cs typeface="Open Sans" panose="020B0606030504020204" pitchFamily="34" charset="0"/>
              </a:rPr>
              <a:t>, </a:t>
            </a:r>
            <a:r>
              <a:rPr kumimoji="0" lang="en-US" sz="1050" b="0" i="0" u="none" strike="noStrike" kern="1200" cap="none" spc="0" normalizeH="0" baseline="0" noProof="0" dirty="0" err="1">
                <a:ln>
                  <a:noFill/>
                </a:ln>
                <a:solidFill>
                  <a:prstClr val="black">
                    <a:lumMod val="50000"/>
                    <a:lumOff val="50000"/>
                  </a:prstClr>
                </a:solidFill>
                <a:effectLst/>
                <a:uLnTx/>
                <a:uFillTx/>
                <a:latin typeface="HarmonyOS Sans SC"/>
                <a:cs typeface="Open Sans" panose="020B0606030504020204" pitchFamily="34" charset="0"/>
              </a:rPr>
              <a:t>consectetur</a:t>
            </a:r>
            <a:r>
              <a:rPr kumimoji="0" lang="en-US" sz="1050" b="0" i="0" u="none" strike="noStrike" kern="1200" cap="none" spc="0" normalizeH="0" baseline="0" noProof="0" dirty="0">
                <a:ln>
                  <a:noFill/>
                </a:ln>
                <a:solidFill>
                  <a:prstClr val="black">
                    <a:lumMod val="50000"/>
                    <a:lumOff val="50000"/>
                  </a:prstClr>
                </a:solidFill>
                <a:effectLst/>
                <a:uLnTx/>
                <a:uFillTx/>
                <a:latin typeface="HarmonyOS Sans SC"/>
                <a:cs typeface="Open Sans" panose="020B0606030504020204" pitchFamily="34" charset="0"/>
              </a:rPr>
              <a:t> </a:t>
            </a:r>
            <a:r>
              <a:rPr kumimoji="0" lang="en-US" sz="1050" b="0" i="0" u="none" strike="noStrike" kern="1200" cap="none" spc="0" normalizeH="0" baseline="0" noProof="0" dirty="0" err="1">
                <a:ln>
                  <a:noFill/>
                </a:ln>
                <a:solidFill>
                  <a:prstClr val="black">
                    <a:lumMod val="50000"/>
                    <a:lumOff val="50000"/>
                  </a:prstClr>
                </a:solidFill>
                <a:effectLst/>
                <a:uLnTx/>
                <a:uFillTx/>
                <a:latin typeface="HarmonyOS Sans SC"/>
                <a:cs typeface="Open Sans" panose="020B0606030504020204" pitchFamily="34" charset="0"/>
              </a:rPr>
              <a:t>adipiscing</a:t>
            </a:r>
            <a:r>
              <a:rPr kumimoji="0" lang="en-US" sz="1050" b="0" i="0" u="none" strike="noStrike" kern="1200" cap="none" spc="0" normalizeH="0" baseline="0" noProof="0" dirty="0">
                <a:ln>
                  <a:noFill/>
                </a:ln>
                <a:solidFill>
                  <a:prstClr val="black">
                    <a:lumMod val="50000"/>
                    <a:lumOff val="50000"/>
                  </a:prstClr>
                </a:solidFill>
                <a:effectLst/>
                <a:uLnTx/>
                <a:uFillTx/>
                <a:latin typeface="HarmonyOS Sans SC"/>
                <a:cs typeface="Open Sans" panose="020B0606030504020204" pitchFamily="34" charset="0"/>
              </a:rPr>
              <a:t> </a:t>
            </a:r>
            <a:r>
              <a:rPr kumimoji="0" lang="en-US" sz="1050" b="0" i="0" u="none" strike="noStrike" kern="1200" cap="none" spc="0" normalizeH="0" baseline="0" noProof="0" dirty="0" err="1">
                <a:ln>
                  <a:noFill/>
                </a:ln>
                <a:solidFill>
                  <a:prstClr val="black">
                    <a:lumMod val="50000"/>
                    <a:lumOff val="50000"/>
                  </a:prstClr>
                </a:solidFill>
                <a:effectLst/>
                <a:uLnTx/>
                <a:uFillTx/>
                <a:latin typeface="HarmonyOS Sans SC"/>
                <a:cs typeface="Open Sans" panose="020B0606030504020204" pitchFamily="34" charset="0"/>
              </a:rPr>
              <a:t>elit</a:t>
            </a:r>
            <a:r>
              <a:rPr kumimoji="0" lang="en-US" sz="1050" b="0" i="0" u="none" strike="noStrike" kern="1200" cap="none" spc="0" normalizeH="0" baseline="0" noProof="0" dirty="0">
                <a:ln>
                  <a:noFill/>
                </a:ln>
                <a:solidFill>
                  <a:prstClr val="black">
                    <a:lumMod val="50000"/>
                    <a:lumOff val="50000"/>
                  </a:prstClr>
                </a:solidFill>
                <a:effectLst/>
                <a:uLnTx/>
                <a:uFillTx/>
                <a:latin typeface="HarmonyOS Sans SC"/>
                <a:cs typeface="Open Sans" panose="020B0606030504020204" pitchFamily="34" charset="0"/>
              </a:rPr>
              <a:t>. Nunc </a:t>
            </a:r>
            <a:r>
              <a:rPr kumimoji="0" lang="en-US" sz="1050" b="0" i="0" u="none" strike="noStrike" kern="1200" cap="none" spc="0" normalizeH="0" baseline="0" noProof="0" dirty="0" err="1">
                <a:ln>
                  <a:noFill/>
                </a:ln>
                <a:solidFill>
                  <a:prstClr val="black">
                    <a:lumMod val="50000"/>
                    <a:lumOff val="50000"/>
                  </a:prstClr>
                </a:solidFill>
                <a:effectLst/>
                <a:uLnTx/>
                <a:uFillTx/>
                <a:latin typeface="HarmonyOS Sans SC"/>
                <a:cs typeface="Open Sans" panose="020B0606030504020204" pitchFamily="34" charset="0"/>
              </a:rPr>
              <a:t>bibendum</a:t>
            </a:r>
            <a:r>
              <a:rPr kumimoji="0" lang="en-US" sz="1050" b="0" i="0" u="none" strike="noStrike" kern="1200" cap="none" spc="0" normalizeH="0" baseline="0" noProof="0" dirty="0">
                <a:ln>
                  <a:noFill/>
                </a:ln>
                <a:solidFill>
                  <a:prstClr val="black">
                    <a:lumMod val="50000"/>
                    <a:lumOff val="50000"/>
                  </a:prstClr>
                </a:solidFill>
                <a:effectLst/>
                <a:uLnTx/>
                <a:uFillTx/>
                <a:latin typeface="HarmonyOS Sans SC"/>
                <a:cs typeface="Open Sans" panose="020B0606030504020204" pitchFamily="34" charset="0"/>
              </a:rPr>
              <a:t> </a:t>
            </a:r>
            <a:r>
              <a:rPr kumimoji="0" lang="en-US" sz="1050" b="0" i="0" u="none" strike="noStrike" kern="1200" cap="none" spc="0" normalizeH="0" baseline="0" noProof="0" dirty="0" err="1">
                <a:ln>
                  <a:noFill/>
                </a:ln>
                <a:solidFill>
                  <a:prstClr val="black">
                    <a:lumMod val="50000"/>
                    <a:lumOff val="50000"/>
                  </a:prstClr>
                </a:solidFill>
                <a:effectLst/>
                <a:uLnTx/>
                <a:uFillTx/>
                <a:latin typeface="HarmonyOS Sans SC"/>
                <a:cs typeface="Open Sans" panose="020B0606030504020204" pitchFamily="34" charset="0"/>
              </a:rPr>
              <a:t>eleifend</a:t>
            </a:r>
            <a:r>
              <a:rPr kumimoji="0" lang="en-US" sz="1050" b="0" i="0" u="none" strike="noStrike" kern="1200" cap="none" spc="0" normalizeH="0" baseline="0" noProof="0" dirty="0">
                <a:ln>
                  <a:noFill/>
                </a:ln>
                <a:solidFill>
                  <a:prstClr val="black">
                    <a:lumMod val="50000"/>
                    <a:lumOff val="50000"/>
                  </a:prstClr>
                </a:solidFill>
                <a:effectLst/>
                <a:uLnTx/>
                <a:uFillTx/>
                <a:latin typeface="HarmonyOS Sans SC"/>
                <a:cs typeface="Open Sans" panose="020B0606030504020204" pitchFamily="34" charset="0"/>
              </a:rPr>
              <a:t> </a:t>
            </a:r>
            <a:r>
              <a:rPr kumimoji="0" lang="en-US" sz="1050" b="0" i="0" u="none" strike="noStrike" kern="1200" cap="none" spc="0" normalizeH="0" baseline="0" noProof="0" dirty="0" err="1">
                <a:ln>
                  <a:noFill/>
                </a:ln>
                <a:solidFill>
                  <a:prstClr val="black">
                    <a:lumMod val="50000"/>
                    <a:lumOff val="50000"/>
                  </a:prstClr>
                </a:solidFill>
                <a:effectLst/>
                <a:uLnTx/>
                <a:uFillTx/>
                <a:latin typeface="HarmonyOS Sans SC"/>
                <a:cs typeface="Open Sans" panose="020B0606030504020204" pitchFamily="34" charset="0"/>
              </a:rPr>
              <a:t>tortor</a:t>
            </a:r>
            <a:r>
              <a:rPr kumimoji="0" lang="en-US" sz="1050" b="0" i="0" u="none" strike="noStrike" kern="1200" cap="none" spc="0" normalizeH="0" baseline="0" noProof="0" dirty="0">
                <a:ln>
                  <a:noFill/>
                </a:ln>
                <a:solidFill>
                  <a:prstClr val="black">
                    <a:lumMod val="50000"/>
                    <a:lumOff val="50000"/>
                  </a:prstClr>
                </a:solidFill>
                <a:effectLst/>
                <a:uLnTx/>
                <a:uFillTx/>
                <a:latin typeface="HarmonyOS Sans SC"/>
                <a:cs typeface="Open Sans" panose="020B0606030504020204" pitchFamily="34" charset="0"/>
              </a:rPr>
              <a:t>, non porta Lorem ipsum dolor sit </a:t>
            </a:r>
          </a:p>
        </p:txBody>
      </p:sp>
      <p:sp>
        <p:nvSpPr>
          <p:cNvPr id="18" name="TextBox 41">
            <a:extLst>
              <a:ext uri="{FF2B5EF4-FFF2-40B4-BE49-F238E27FC236}">
                <a16:creationId xmlns:a16="http://schemas.microsoft.com/office/drawing/2014/main" id="{554D7571-A88B-4CBF-B1B0-EDEF26FC353F}"/>
              </a:ext>
            </a:extLst>
          </p:cNvPr>
          <p:cNvSpPr txBox="1"/>
          <p:nvPr/>
        </p:nvSpPr>
        <p:spPr>
          <a:xfrm>
            <a:off x="969517" y="3198761"/>
            <a:ext cx="2021864"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600" b="0" i="0" u="none" strike="noStrike" kern="1200" cap="none" spc="0" normalizeH="0" baseline="0" noProof="0" dirty="0">
                <a:ln>
                  <a:noFill/>
                </a:ln>
                <a:solidFill>
                  <a:schemeClr val="accent1"/>
                </a:solidFill>
                <a:effectLst/>
                <a:uLnTx/>
                <a:uFillTx/>
                <a:latin typeface="HarmonyOS Sans SC Black"/>
                <a:ea typeface="+mj-ea"/>
                <a:cs typeface="Open Sans" panose="020B0606030504020204" pitchFamily="34" charset="0"/>
              </a:rPr>
              <a:t>关键词标题</a:t>
            </a:r>
            <a:endParaRPr kumimoji="0" lang="en-US" sz="1600" b="0" i="0" u="none" strike="noStrike" kern="1200" cap="none" spc="0" normalizeH="0" baseline="0" noProof="0" dirty="0">
              <a:ln>
                <a:noFill/>
              </a:ln>
              <a:solidFill>
                <a:schemeClr val="accent1"/>
              </a:solidFill>
              <a:effectLst/>
              <a:uLnTx/>
              <a:uFillTx/>
              <a:latin typeface="HarmonyOS Sans SC Black"/>
              <a:ea typeface="+mj-ea"/>
              <a:cs typeface="Open Sans" panose="020B0606030504020204" pitchFamily="34" charset="0"/>
            </a:endParaRPr>
          </a:p>
        </p:txBody>
      </p:sp>
      <p:sp>
        <p:nvSpPr>
          <p:cNvPr id="19" name="Rectangle 42">
            <a:extLst>
              <a:ext uri="{FF2B5EF4-FFF2-40B4-BE49-F238E27FC236}">
                <a16:creationId xmlns:a16="http://schemas.microsoft.com/office/drawing/2014/main" id="{F173F03B-846A-490F-9762-237793022E9C}"/>
              </a:ext>
            </a:extLst>
          </p:cNvPr>
          <p:cNvSpPr>
            <a:spLocks noChangeArrowheads="1"/>
          </p:cNvSpPr>
          <p:nvPr/>
        </p:nvSpPr>
        <p:spPr bwMode="auto">
          <a:xfrm>
            <a:off x="969516" y="3537315"/>
            <a:ext cx="4627418" cy="4154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3600">
                <a:solidFill>
                  <a:schemeClr val="tx1"/>
                </a:solidFill>
                <a:latin typeface="Calibri" panose="020F0502020204030204" pitchFamily="34" charset="0"/>
              </a:defRPr>
            </a:lvl1pPr>
            <a:lvl2pPr marL="742950" indent="-285750">
              <a:defRPr sz="3600">
                <a:solidFill>
                  <a:schemeClr val="tx1"/>
                </a:solidFill>
                <a:latin typeface="Calibri" panose="020F0502020204030204" pitchFamily="34" charset="0"/>
              </a:defRPr>
            </a:lvl2pPr>
            <a:lvl3pPr marL="1143000" indent="-228600">
              <a:defRPr sz="3600">
                <a:solidFill>
                  <a:schemeClr val="tx1"/>
                </a:solidFill>
                <a:latin typeface="Calibri" panose="020F0502020204030204" pitchFamily="34" charset="0"/>
              </a:defRPr>
            </a:lvl3pPr>
            <a:lvl4pPr marL="1600200" indent="-228600">
              <a:defRPr sz="3600">
                <a:solidFill>
                  <a:schemeClr val="tx1"/>
                </a:solidFill>
                <a:latin typeface="Calibri" panose="020F0502020204030204" pitchFamily="34" charset="0"/>
              </a:defRPr>
            </a:lvl4pPr>
            <a:lvl5pPr marL="2057400" indent="-228600">
              <a:defRPr sz="3600">
                <a:solidFill>
                  <a:schemeClr val="tx1"/>
                </a:solidFill>
                <a:latin typeface="Calibri" panose="020F0502020204030204" pitchFamily="34" charset="0"/>
              </a:defRPr>
            </a:lvl5pPr>
            <a:lvl6pPr marL="2514600" indent="-228600" defTabSz="1827213" fontAlgn="base">
              <a:spcBef>
                <a:spcPct val="0"/>
              </a:spcBef>
              <a:spcAft>
                <a:spcPct val="0"/>
              </a:spcAft>
              <a:defRPr sz="3600">
                <a:solidFill>
                  <a:schemeClr val="tx1"/>
                </a:solidFill>
                <a:latin typeface="Calibri" panose="020F0502020204030204" pitchFamily="34" charset="0"/>
              </a:defRPr>
            </a:lvl6pPr>
            <a:lvl7pPr marL="2971800" indent="-228600" defTabSz="1827213" fontAlgn="base">
              <a:spcBef>
                <a:spcPct val="0"/>
              </a:spcBef>
              <a:spcAft>
                <a:spcPct val="0"/>
              </a:spcAft>
              <a:defRPr sz="3600">
                <a:solidFill>
                  <a:schemeClr val="tx1"/>
                </a:solidFill>
                <a:latin typeface="Calibri" panose="020F0502020204030204" pitchFamily="34" charset="0"/>
              </a:defRPr>
            </a:lvl7pPr>
            <a:lvl8pPr marL="3429000" indent="-228600" defTabSz="1827213" fontAlgn="base">
              <a:spcBef>
                <a:spcPct val="0"/>
              </a:spcBef>
              <a:spcAft>
                <a:spcPct val="0"/>
              </a:spcAft>
              <a:defRPr sz="3600">
                <a:solidFill>
                  <a:schemeClr val="tx1"/>
                </a:solidFill>
                <a:latin typeface="Calibri" panose="020F0502020204030204" pitchFamily="34" charset="0"/>
              </a:defRPr>
            </a:lvl8pPr>
            <a:lvl9pPr marL="3886200" indent="-228600" defTabSz="1827213" fontAlgn="base">
              <a:spcBef>
                <a:spcPct val="0"/>
              </a:spcBef>
              <a:spcAft>
                <a:spcPct val="0"/>
              </a:spcAft>
              <a:defRPr sz="3600">
                <a:solidFill>
                  <a:schemeClr val="tx1"/>
                </a:solidFill>
                <a:latin typeface="Calibri" panose="020F050202020403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lumMod val="50000"/>
                    <a:lumOff val="50000"/>
                  </a:prstClr>
                </a:solidFill>
                <a:effectLst/>
                <a:uLnTx/>
                <a:uFillTx/>
                <a:latin typeface="HarmonyOS Sans SC"/>
                <a:cs typeface="Open Sans" panose="020B0606030504020204" pitchFamily="34" charset="0"/>
              </a:rPr>
              <a:t>Lorem ipsum dolor sit </a:t>
            </a:r>
            <a:r>
              <a:rPr kumimoji="0" lang="en-US" sz="1050" b="0" i="0" u="none" strike="noStrike" kern="1200" cap="none" spc="0" normalizeH="0" baseline="0" noProof="0" dirty="0" err="1">
                <a:ln>
                  <a:noFill/>
                </a:ln>
                <a:solidFill>
                  <a:prstClr val="black">
                    <a:lumMod val="50000"/>
                    <a:lumOff val="50000"/>
                  </a:prstClr>
                </a:solidFill>
                <a:effectLst/>
                <a:uLnTx/>
                <a:uFillTx/>
                <a:latin typeface="HarmonyOS Sans SC"/>
                <a:cs typeface="Open Sans" panose="020B0606030504020204" pitchFamily="34" charset="0"/>
              </a:rPr>
              <a:t>amet</a:t>
            </a:r>
            <a:r>
              <a:rPr kumimoji="0" lang="en-US" sz="1050" b="0" i="0" u="none" strike="noStrike" kern="1200" cap="none" spc="0" normalizeH="0" baseline="0" noProof="0" dirty="0">
                <a:ln>
                  <a:noFill/>
                </a:ln>
                <a:solidFill>
                  <a:prstClr val="black">
                    <a:lumMod val="50000"/>
                    <a:lumOff val="50000"/>
                  </a:prstClr>
                </a:solidFill>
                <a:effectLst/>
                <a:uLnTx/>
                <a:uFillTx/>
                <a:latin typeface="HarmonyOS Sans SC"/>
                <a:cs typeface="Open Sans" panose="020B0606030504020204" pitchFamily="34" charset="0"/>
              </a:rPr>
              <a:t>, </a:t>
            </a:r>
            <a:r>
              <a:rPr kumimoji="0" lang="en-US" sz="1050" b="0" i="0" u="none" strike="noStrike" kern="1200" cap="none" spc="0" normalizeH="0" baseline="0" noProof="0" dirty="0" err="1">
                <a:ln>
                  <a:noFill/>
                </a:ln>
                <a:solidFill>
                  <a:prstClr val="black">
                    <a:lumMod val="50000"/>
                    <a:lumOff val="50000"/>
                  </a:prstClr>
                </a:solidFill>
                <a:effectLst/>
                <a:uLnTx/>
                <a:uFillTx/>
                <a:latin typeface="HarmonyOS Sans SC"/>
                <a:cs typeface="Open Sans" panose="020B0606030504020204" pitchFamily="34" charset="0"/>
              </a:rPr>
              <a:t>consectetur</a:t>
            </a:r>
            <a:r>
              <a:rPr kumimoji="0" lang="en-US" sz="1050" b="0" i="0" u="none" strike="noStrike" kern="1200" cap="none" spc="0" normalizeH="0" baseline="0" noProof="0" dirty="0">
                <a:ln>
                  <a:noFill/>
                </a:ln>
                <a:solidFill>
                  <a:prstClr val="black">
                    <a:lumMod val="50000"/>
                    <a:lumOff val="50000"/>
                  </a:prstClr>
                </a:solidFill>
                <a:effectLst/>
                <a:uLnTx/>
                <a:uFillTx/>
                <a:latin typeface="HarmonyOS Sans SC"/>
                <a:cs typeface="Open Sans" panose="020B0606030504020204" pitchFamily="34" charset="0"/>
              </a:rPr>
              <a:t> </a:t>
            </a:r>
            <a:r>
              <a:rPr kumimoji="0" lang="en-US" sz="1050" b="0" i="0" u="none" strike="noStrike" kern="1200" cap="none" spc="0" normalizeH="0" baseline="0" noProof="0" dirty="0" err="1">
                <a:ln>
                  <a:noFill/>
                </a:ln>
                <a:solidFill>
                  <a:prstClr val="black">
                    <a:lumMod val="50000"/>
                    <a:lumOff val="50000"/>
                  </a:prstClr>
                </a:solidFill>
                <a:effectLst/>
                <a:uLnTx/>
                <a:uFillTx/>
                <a:latin typeface="HarmonyOS Sans SC"/>
                <a:cs typeface="Open Sans" panose="020B0606030504020204" pitchFamily="34" charset="0"/>
              </a:rPr>
              <a:t>adipiscing</a:t>
            </a:r>
            <a:r>
              <a:rPr kumimoji="0" lang="en-US" sz="1050" b="0" i="0" u="none" strike="noStrike" kern="1200" cap="none" spc="0" normalizeH="0" baseline="0" noProof="0" dirty="0">
                <a:ln>
                  <a:noFill/>
                </a:ln>
                <a:solidFill>
                  <a:prstClr val="black">
                    <a:lumMod val="50000"/>
                    <a:lumOff val="50000"/>
                  </a:prstClr>
                </a:solidFill>
                <a:effectLst/>
                <a:uLnTx/>
                <a:uFillTx/>
                <a:latin typeface="HarmonyOS Sans SC"/>
                <a:cs typeface="Open Sans" panose="020B0606030504020204" pitchFamily="34" charset="0"/>
              </a:rPr>
              <a:t> </a:t>
            </a:r>
            <a:r>
              <a:rPr kumimoji="0" lang="en-US" sz="1050" b="0" i="0" u="none" strike="noStrike" kern="1200" cap="none" spc="0" normalizeH="0" baseline="0" noProof="0" dirty="0" err="1">
                <a:ln>
                  <a:noFill/>
                </a:ln>
                <a:solidFill>
                  <a:prstClr val="black">
                    <a:lumMod val="50000"/>
                    <a:lumOff val="50000"/>
                  </a:prstClr>
                </a:solidFill>
                <a:effectLst/>
                <a:uLnTx/>
                <a:uFillTx/>
                <a:latin typeface="HarmonyOS Sans SC"/>
                <a:cs typeface="Open Sans" panose="020B0606030504020204" pitchFamily="34" charset="0"/>
              </a:rPr>
              <a:t>elit</a:t>
            </a:r>
            <a:r>
              <a:rPr kumimoji="0" lang="en-US" sz="1050" b="0" i="0" u="none" strike="noStrike" kern="1200" cap="none" spc="0" normalizeH="0" baseline="0" noProof="0" dirty="0">
                <a:ln>
                  <a:noFill/>
                </a:ln>
                <a:solidFill>
                  <a:prstClr val="black">
                    <a:lumMod val="50000"/>
                    <a:lumOff val="50000"/>
                  </a:prstClr>
                </a:solidFill>
                <a:effectLst/>
                <a:uLnTx/>
                <a:uFillTx/>
                <a:latin typeface="HarmonyOS Sans SC"/>
                <a:cs typeface="Open Sans" panose="020B0606030504020204" pitchFamily="34" charset="0"/>
              </a:rPr>
              <a:t>. Nunc </a:t>
            </a:r>
            <a:r>
              <a:rPr kumimoji="0" lang="en-US" sz="1050" b="0" i="0" u="none" strike="noStrike" kern="1200" cap="none" spc="0" normalizeH="0" baseline="0" noProof="0" dirty="0" err="1">
                <a:ln>
                  <a:noFill/>
                </a:ln>
                <a:solidFill>
                  <a:prstClr val="black">
                    <a:lumMod val="50000"/>
                    <a:lumOff val="50000"/>
                  </a:prstClr>
                </a:solidFill>
                <a:effectLst/>
                <a:uLnTx/>
                <a:uFillTx/>
                <a:latin typeface="HarmonyOS Sans SC"/>
                <a:cs typeface="Open Sans" panose="020B0606030504020204" pitchFamily="34" charset="0"/>
              </a:rPr>
              <a:t>bibendum</a:t>
            </a:r>
            <a:r>
              <a:rPr kumimoji="0" lang="en-US" sz="1050" b="0" i="0" u="none" strike="noStrike" kern="1200" cap="none" spc="0" normalizeH="0" baseline="0" noProof="0" dirty="0">
                <a:ln>
                  <a:noFill/>
                </a:ln>
                <a:solidFill>
                  <a:prstClr val="black">
                    <a:lumMod val="50000"/>
                    <a:lumOff val="50000"/>
                  </a:prstClr>
                </a:solidFill>
                <a:effectLst/>
                <a:uLnTx/>
                <a:uFillTx/>
                <a:latin typeface="HarmonyOS Sans SC"/>
                <a:cs typeface="Open Sans" panose="020B0606030504020204" pitchFamily="34" charset="0"/>
              </a:rPr>
              <a:t> </a:t>
            </a:r>
            <a:r>
              <a:rPr kumimoji="0" lang="en-US" sz="1050" b="0" i="0" u="none" strike="noStrike" kern="1200" cap="none" spc="0" normalizeH="0" baseline="0" noProof="0" dirty="0" err="1">
                <a:ln>
                  <a:noFill/>
                </a:ln>
                <a:solidFill>
                  <a:prstClr val="black">
                    <a:lumMod val="50000"/>
                    <a:lumOff val="50000"/>
                  </a:prstClr>
                </a:solidFill>
                <a:effectLst/>
                <a:uLnTx/>
                <a:uFillTx/>
                <a:latin typeface="HarmonyOS Sans SC"/>
                <a:cs typeface="Open Sans" panose="020B0606030504020204" pitchFamily="34" charset="0"/>
              </a:rPr>
              <a:t>eleifend</a:t>
            </a:r>
            <a:r>
              <a:rPr kumimoji="0" lang="en-US" sz="1050" b="0" i="0" u="none" strike="noStrike" kern="1200" cap="none" spc="0" normalizeH="0" baseline="0" noProof="0" dirty="0">
                <a:ln>
                  <a:noFill/>
                </a:ln>
                <a:solidFill>
                  <a:prstClr val="black">
                    <a:lumMod val="50000"/>
                    <a:lumOff val="50000"/>
                  </a:prstClr>
                </a:solidFill>
                <a:effectLst/>
                <a:uLnTx/>
                <a:uFillTx/>
                <a:latin typeface="HarmonyOS Sans SC"/>
                <a:cs typeface="Open Sans" panose="020B0606030504020204" pitchFamily="34" charset="0"/>
              </a:rPr>
              <a:t> </a:t>
            </a:r>
            <a:r>
              <a:rPr kumimoji="0" lang="en-US" sz="1050" b="0" i="0" u="none" strike="noStrike" kern="1200" cap="none" spc="0" normalizeH="0" baseline="0" noProof="0" dirty="0" err="1">
                <a:ln>
                  <a:noFill/>
                </a:ln>
                <a:solidFill>
                  <a:prstClr val="black">
                    <a:lumMod val="50000"/>
                    <a:lumOff val="50000"/>
                  </a:prstClr>
                </a:solidFill>
                <a:effectLst/>
                <a:uLnTx/>
                <a:uFillTx/>
                <a:latin typeface="HarmonyOS Sans SC"/>
                <a:cs typeface="Open Sans" panose="020B0606030504020204" pitchFamily="34" charset="0"/>
              </a:rPr>
              <a:t>tortor</a:t>
            </a:r>
            <a:r>
              <a:rPr kumimoji="0" lang="en-US" sz="1050" b="0" i="0" u="none" strike="noStrike" kern="1200" cap="none" spc="0" normalizeH="0" baseline="0" noProof="0" dirty="0">
                <a:ln>
                  <a:noFill/>
                </a:ln>
                <a:solidFill>
                  <a:prstClr val="black">
                    <a:lumMod val="50000"/>
                    <a:lumOff val="50000"/>
                  </a:prstClr>
                </a:solidFill>
                <a:effectLst/>
                <a:uLnTx/>
                <a:uFillTx/>
                <a:latin typeface="HarmonyOS Sans SC"/>
                <a:cs typeface="Open Sans" panose="020B0606030504020204" pitchFamily="34" charset="0"/>
              </a:rPr>
              <a:t>, non porta Lorem ipsum dolor sit </a:t>
            </a:r>
          </a:p>
        </p:txBody>
      </p:sp>
      <p:sp>
        <p:nvSpPr>
          <p:cNvPr id="20" name="TextBox 43">
            <a:extLst>
              <a:ext uri="{FF2B5EF4-FFF2-40B4-BE49-F238E27FC236}">
                <a16:creationId xmlns:a16="http://schemas.microsoft.com/office/drawing/2014/main" id="{24023567-84C2-4369-82D6-46A3795DF345}"/>
              </a:ext>
            </a:extLst>
          </p:cNvPr>
          <p:cNvSpPr txBox="1"/>
          <p:nvPr/>
        </p:nvSpPr>
        <p:spPr>
          <a:xfrm>
            <a:off x="969517" y="4229898"/>
            <a:ext cx="2021864"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600" b="0" i="0" u="none" strike="noStrike" kern="1200" cap="none" spc="0" normalizeH="0" baseline="0" noProof="0" dirty="0">
                <a:ln>
                  <a:noFill/>
                </a:ln>
                <a:solidFill>
                  <a:schemeClr val="accent1"/>
                </a:solidFill>
                <a:effectLst/>
                <a:uLnTx/>
                <a:uFillTx/>
                <a:latin typeface="HarmonyOS Sans SC Black"/>
                <a:ea typeface="+mj-ea"/>
                <a:cs typeface="Open Sans" panose="020B0606030504020204" pitchFamily="34" charset="0"/>
              </a:rPr>
              <a:t>关键词标题</a:t>
            </a:r>
            <a:endParaRPr kumimoji="0" lang="en-US" sz="1600" b="0" i="0" u="none" strike="noStrike" kern="1200" cap="none" spc="0" normalizeH="0" baseline="0" noProof="0" dirty="0">
              <a:ln>
                <a:noFill/>
              </a:ln>
              <a:solidFill>
                <a:schemeClr val="accent1"/>
              </a:solidFill>
              <a:effectLst/>
              <a:uLnTx/>
              <a:uFillTx/>
              <a:latin typeface="HarmonyOS Sans SC Black"/>
              <a:ea typeface="+mj-ea"/>
              <a:cs typeface="Open Sans" panose="020B0606030504020204" pitchFamily="34" charset="0"/>
            </a:endParaRPr>
          </a:p>
        </p:txBody>
      </p:sp>
      <p:sp>
        <p:nvSpPr>
          <p:cNvPr id="21" name="Rectangle 44">
            <a:extLst>
              <a:ext uri="{FF2B5EF4-FFF2-40B4-BE49-F238E27FC236}">
                <a16:creationId xmlns:a16="http://schemas.microsoft.com/office/drawing/2014/main" id="{C85DB05B-AD14-4E56-B76E-4C28162AE568}"/>
              </a:ext>
            </a:extLst>
          </p:cNvPr>
          <p:cNvSpPr>
            <a:spLocks noChangeArrowheads="1"/>
          </p:cNvSpPr>
          <p:nvPr/>
        </p:nvSpPr>
        <p:spPr bwMode="auto">
          <a:xfrm>
            <a:off x="969516" y="4568452"/>
            <a:ext cx="4627418" cy="4154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3600">
                <a:solidFill>
                  <a:schemeClr val="tx1"/>
                </a:solidFill>
                <a:latin typeface="Calibri" panose="020F0502020204030204" pitchFamily="34" charset="0"/>
              </a:defRPr>
            </a:lvl1pPr>
            <a:lvl2pPr marL="742950" indent="-285750">
              <a:defRPr sz="3600">
                <a:solidFill>
                  <a:schemeClr val="tx1"/>
                </a:solidFill>
                <a:latin typeface="Calibri" panose="020F0502020204030204" pitchFamily="34" charset="0"/>
              </a:defRPr>
            </a:lvl2pPr>
            <a:lvl3pPr marL="1143000" indent="-228600">
              <a:defRPr sz="3600">
                <a:solidFill>
                  <a:schemeClr val="tx1"/>
                </a:solidFill>
                <a:latin typeface="Calibri" panose="020F0502020204030204" pitchFamily="34" charset="0"/>
              </a:defRPr>
            </a:lvl3pPr>
            <a:lvl4pPr marL="1600200" indent="-228600">
              <a:defRPr sz="3600">
                <a:solidFill>
                  <a:schemeClr val="tx1"/>
                </a:solidFill>
                <a:latin typeface="Calibri" panose="020F0502020204030204" pitchFamily="34" charset="0"/>
              </a:defRPr>
            </a:lvl4pPr>
            <a:lvl5pPr marL="2057400" indent="-228600">
              <a:defRPr sz="3600">
                <a:solidFill>
                  <a:schemeClr val="tx1"/>
                </a:solidFill>
                <a:latin typeface="Calibri" panose="020F0502020204030204" pitchFamily="34" charset="0"/>
              </a:defRPr>
            </a:lvl5pPr>
            <a:lvl6pPr marL="2514600" indent="-228600" defTabSz="1827213" fontAlgn="base">
              <a:spcBef>
                <a:spcPct val="0"/>
              </a:spcBef>
              <a:spcAft>
                <a:spcPct val="0"/>
              </a:spcAft>
              <a:defRPr sz="3600">
                <a:solidFill>
                  <a:schemeClr val="tx1"/>
                </a:solidFill>
                <a:latin typeface="Calibri" panose="020F0502020204030204" pitchFamily="34" charset="0"/>
              </a:defRPr>
            </a:lvl6pPr>
            <a:lvl7pPr marL="2971800" indent="-228600" defTabSz="1827213" fontAlgn="base">
              <a:spcBef>
                <a:spcPct val="0"/>
              </a:spcBef>
              <a:spcAft>
                <a:spcPct val="0"/>
              </a:spcAft>
              <a:defRPr sz="3600">
                <a:solidFill>
                  <a:schemeClr val="tx1"/>
                </a:solidFill>
                <a:latin typeface="Calibri" panose="020F0502020204030204" pitchFamily="34" charset="0"/>
              </a:defRPr>
            </a:lvl7pPr>
            <a:lvl8pPr marL="3429000" indent="-228600" defTabSz="1827213" fontAlgn="base">
              <a:spcBef>
                <a:spcPct val="0"/>
              </a:spcBef>
              <a:spcAft>
                <a:spcPct val="0"/>
              </a:spcAft>
              <a:defRPr sz="3600">
                <a:solidFill>
                  <a:schemeClr val="tx1"/>
                </a:solidFill>
                <a:latin typeface="Calibri" panose="020F0502020204030204" pitchFamily="34" charset="0"/>
              </a:defRPr>
            </a:lvl8pPr>
            <a:lvl9pPr marL="3886200" indent="-228600" defTabSz="1827213" fontAlgn="base">
              <a:spcBef>
                <a:spcPct val="0"/>
              </a:spcBef>
              <a:spcAft>
                <a:spcPct val="0"/>
              </a:spcAft>
              <a:defRPr sz="3600">
                <a:solidFill>
                  <a:schemeClr val="tx1"/>
                </a:solidFill>
                <a:latin typeface="Calibri" panose="020F050202020403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lumMod val="50000"/>
                    <a:lumOff val="50000"/>
                  </a:prstClr>
                </a:solidFill>
                <a:effectLst/>
                <a:uLnTx/>
                <a:uFillTx/>
                <a:latin typeface="HarmonyOS Sans SC"/>
                <a:cs typeface="Open Sans" panose="020B0606030504020204" pitchFamily="34" charset="0"/>
              </a:rPr>
              <a:t>Lorem ipsum dolor sit </a:t>
            </a:r>
            <a:r>
              <a:rPr kumimoji="0" lang="en-US" sz="1050" b="0" i="0" u="none" strike="noStrike" kern="1200" cap="none" spc="0" normalizeH="0" baseline="0" noProof="0" dirty="0" err="1">
                <a:ln>
                  <a:noFill/>
                </a:ln>
                <a:solidFill>
                  <a:prstClr val="black">
                    <a:lumMod val="50000"/>
                    <a:lumOff val="50000"/>
                  </a:prstClr>
                </a:solidFill>
                <a:effectLst/>
                <a:uLnTx/>
                <a:uFillTx/>
                <a:latin typeface="HarmonyOS Sans SC"/>
                <a:cs typeface="Open Sans" panose="020B0606030504020204" pitchFamily="34" charset="0"/>
              </a:rPr>
              <a:t>amet</a:t>
            </a:r>
            <a:r>
              <a:rPr kumimoji="0" lang="en-US" sz="1050" b="0" i="0" u="none" strike="noStrike" kern="1200" cap="none" spc="0" normalizeH="0" baseline="0" noProof="0" dirty="0">
                <a:ln>
                  <a:noFill/>
                </a:ln>
                <a:solidFill>
                  <a:prstClr val="black">
                    <a:lumMod val="50000"/>
                    <a:lumOff val="50000"/>
                  </a:prstClr>
                </a:solidFill>
                <a:effectLst/>
                <a:uLnTx/>
                <a:uFillTx/>
                <a:latin typeface="HarmonyOS Sans SC"/>
                <a:cs typeface="Open Sans" panose="020B0606030504020204" pitchFamily="34" charset="0"/>
              </a:rPr>
              <a:t>, </a:t>
            </a:r>
            <a:r>
              <a:rPr kumimoji="0" lang="en-US" sz="1050" b="0" i="0" u="none" strike="noStrike" kern="1200" cap="none" spc="0" normalizeH="0" baseline="0" noProof="0" dirty="0" err="1">
                <a:ln>
                  <a:noFill/>
                </a:ln>
                <a:solidFill>
                  <a:prstClr val="black">
                    <a:lumMod val="50000"/>
                    <a:lumOff val="50000"/>
                  </a:prstClr>
                </a:solidFill>
                <a:effectLst/>
                <a:uLnTx/>
                <a:uFillTx/>
                <a:latin typeface="HarmonyOS Sans SC"/>
                <a:cs typeface="Open Sans" panose="020B0606030504020204" pitchFamily="34" charset="0"/>
              </a:rPr>
              <a:t>consectetur</a:t>
            </a:r>
            <a:r>
              <a:rPr kumimoji="0" lang="en-US" sz="1050" b="0" i="0" u="none" strike="noStrike" kern="1200" cap="none" spc="0" normalizeH="0" baseline="0" noProof="0" dirty="0">
                <a:ln>
                  <a:noFill/>
                </a:ln>
                <a:solidFill>
                  <a:prstClr val="black">
                    <a:lumMod val="50000"/>
                    <a:lumOff val="50000"/>
                  </a:prstClr>
                </a:solidFill>
                <a:effectLst/>
                <a:uLnTx/>
                <a:uFillTx/>
                <a:latin typeface="HarmonyOS Sans SC"/>
                <a:cs typeface="Open Sans" panose="020B0606030504020204" pitchFamily="34" charset="0"/>
              </a:rPr>
              <a:t> </a:t>
            </a:r>
            <a:r>
              <a:rPr kumimoji="0" lang="en-US" sz="1050" b="0" i="0" u="none" strike="noStrike" kern="1200" cap="none" spc="0" normalizeH="0" baseline="0" noProof="0" dirty="0" err="1">
                <a:ln>
                  <a:noFill/>
                </a:ln>
                <a:solidFill>
                  <a:prstClr val="black">
                    <a:lumMod val="50000"/>
                    <a:lumOff val="50000"/>
                  </a:prstClr>
                </a:solidFill>
                <a:effectLst/>
                <a:uLnTx/>
                <a:uFillTx/>
                <a:latin typeface="HarmonyOS Sans SC"/>
                <a:cs typeface="Open Sans" panose="020B0606030504020204" pitchFamily="34" charset="0"/>
              </a:rPr>
              <a:t>adipiscing</a:t>
            </a:r>
            <a:r>
              <a:rPr kumimoji="0" lang="en-US" sz="1050" b="0" i="0" u="none" strike="noStrike" kern="1200" cap="none" spc="0" normalizeH="0" baseline="0" noProof="0" dirty="0">
                <a:ln>
                  <a:noFill/>
                </a:ln>
                <a:solidFill>
                  <a:prstClr val="black">
                    <a:lumMod val="50000"/>
                    <a:lumOff val="50000"/>
                  </a:prstClr>
                </a:solidFill>
                <a:effectLst/>
                <a:uLnTx/>
                <a:uFillTx/>
                <a:latin typeface="HarmonyOS Sans SC"/>
                <a:cs typeface="Open Sans" panose="020B0606030504020204" pitchFamily="34" charset="0"/>
              </a:rPr>
              <a:t> </a:t>
            </a:r>
            <a:r>
              <a:rPr kumimoji="0" lang="en-US" sz="1050" b="0" i="0" u="none" strike="noStrike" kern="1200" cap="none" spc="0" normalizeH="0" baseline="0" noProof="0" dirty="0" err="1">
                <a:ln>
                  <a:noFill/>
                </a:ln>
                <a:solidFill>
                  <a:prstClr val="black">
                    <a:lumMod val="50000"/>
                    <a:lumOff val="50000"/>
                  </a:prstClr>
                </a:solidFill>
                <a:effectLst/>
                <a:uLnTx/>
                <a:uFillTx/>
                <a:latin typeface="HarmonyOS Sans SC"/>
                <a:cs typeface="Open Sans" panose="020B0606030504020204" pitchFamily="34" charset="0"/>
              </a:rPr>
              <a:t>elit</a:t>
            </a:r>
            <a:r>
              <a:rPr kumimoji="0" lang="en-US" sz="1050" b="0" i="0" u="none" strike="noStrike" kern="1200" cap="none" spc="0" normalizeH="0" baseline="0" noProof="0" dirty="0">
                <a:ln>
                  <a:noFill/>
                </a:ln>
                <a:solidFill>
                  <a:prstClr val="black">
                    <a:lumMod val="50000"/>
                    <a:lumOff val="50000"/>
                  </a:prstClr>
                </a:solidFill>
                <a:effectLst/>
                <a:uLnTx/>
                <a:uFillTx/>
                <a:latin typeface="HarmonyOS Sans SC"/>
                <a:cs typeface="Open Sans" panose="020B0606030504020204" pitchFamily="34" charset="0"/>
              </a:rPr>
              <a:t>. Nunc </a:t>
            </a:r>
            <a:r>
              <a:rPr kumimoji="0" lang="en-US" sz="1050" b="0" i="0" u="none" strike="noStrike" kern="1200" cap="none" spc="0" normalizeH="0" baseline="0" noProof="0" dirty="0" err="1">
                <a:ln>
                  <a:noFill/>
                </a:ln>
                <a:solidFill>
                  <a:prstClr val="black">
                    <a:lumMod val="50000"/>
                    <a:lumOff val="50000"/>
                  </a:prstClr>
                </a:solidFill>
                <a:effectLst/>
                <a:uLnTx/>
                <a:uFillTx/>
                <a:latin typeface="HarmonyOS Sans SC"/>
                <a:cs typeface="Open Sans" panose="020B0606030504020204" pitchFamily="34" charset="0"/>
              </a:rPr>
              <a:t>bibendum</a:t>
            </a:r>
            <a:r>
              <a:rPr kumimoji="0" lang="en-US" sz="1050" b="0" i="0" u="none" strike="noStrike" kern="1200" cap="none" spc="0" normalizeH="0" baseline="0" noProof="0" dirty="0">
                <a:ln>
                  <a:noFill/>
                </a:ln>
                <a:solidFill>
                  <a:prstClr val="black">
                    <a:lumMod val="50000"/>
                    <a:lumOff val="50000"/>
                  </a:prstClr>
                </a:solidFill>
                <a:effectLst/>
                <a:uLnTx/>
                <a:uFillTx/>
                <a:latin typeface="HarmonyOS Sans SC"/>
                <a:cs typeface="Open Sans" panose="020B0606030504020204" pitchFamily="34" charset="0"/>
              </a:rPr>
              <a:t> </a:t>
            </a:r>
            <a:r>
              <a:rPr kumimoji="0" lang="en-US" sz="1050" b="0" i="0" u="none" strike="noStrike" kern="1200" cap="none" spc="0" normalizeH="0" baseline="0" noProof="0" dirty="0" err="1">
                <a:ln>
                  <a:noFill/>
                </a:ln>
                <a:solidFill>
                  <a:prstClr val="black">
                    <a:lumMod val="50000"/>
                    <a:lumOff val="50000"/>
                  </a:prstClr>
                </a:solidFill>
                <a:effectLst/>
                <a:uLnTx/>
                <a:uFillTx/>
                <a:latin typeface="HarmonyOS Sans SC"/>
                <a:cs typeface="Open Sans" panose="020B0606030504020204" pitchFamily="34" charset="0"/>
              </a:rPr>
              <a:t>eleifend</a:t>
            </a:r>
            <a:r>
              <a:rPr kumimoji="0" lang="en-US" sz="1050" b="0" i="0" u="none" strike="noStrike" kern="1200" cap="none" spc="0" normalizeH="0" baseline="0" noProof="0" dirty="0">
                <a:ln>
                  <a:noFill/>
                </a:ln>
                <a:solidFill>
                  <a:prstClr val="black">
                    <a:lumMod val="50000"/>
                    <a:lumOff val="50000"/>
                  </a:prstClr>
                </a:solidFill>
                <a:effectLst/>
                <a:uLnTx/>
                <a:uFillTx/>
                <a:latin typeface="HarmonyOS Sans SC"/>
                <a:cs typeface="Open Sans" panose="020B0606030504020204" pitchFamily="34" charset="0"/>
              </a:rPr>
              <a:t> </a:t>
            </a:r>
            <a:r>
              <a:rPr kumimoji="0" lang="en-US" sz="1050" b="0" i="0" u="none" strike="noStrike" kern="1200" cap="none" spc="0" normalizeH="0" baseline="0" noProof="0" dirty="0" err="1">
                <a:ln>
                  <a:noFill/>
                </a:ln>
                <a:solidFill>
                  <a:prstClr val="black">
                    <a:lumMod val="50000"/>
                    <a:lumOff val="50000"/>
                  </a:prstClr>
                </a:solidFill>
                <a:effectLst/>
                <a:uLnTx/>
                <a:uFillTx/>
                <a:latin typeface="HarmonyOS Sans SC"/>
                <a:cs typeface="Open Sans" panose="020B0606030504020204" pitchFamily="34" charset="0"/>
              </a:rPr>
              <a:t>tortor</a:t>
            </a:r>
            <a:r>
              <a:rPr kumimoji="0" lang="en-US" sz="1050" b="0" i="0" u="none" strike="noStrike" kern="1200" cap="none" spc="0" normalizeH="0" baseline="0" noProof="0" dirty="0">
                <a:ln>
                  <a:noFill/>
                </a:ln>
                <a:solidFill>
                  <a:prstClr val="black">
                    <a:lumMod val="50000"/>
                    <a:lumOff val="50000"/>
                  </a:prstClr>
                </a:solidFill>
                <a:effectLst/>
                <a:uLnTx/>
                <a:uFillTx/>
                <a:latin typeface="HarmonyOS Sans SC"/>
                <a:cs typeface="Open Sans" panose="020B0606030504020204" pitchFamily="34" charset="0"/>
              </a:rPr>
              <a:t>, non porta Lorem ipsum dolor sit </a:t>
            </a:r>
          </a:p>
        </p:txBody>
      </p:sp>
      <p:sp>
        <p:nvSpPr>
          <p:cNvPr id="22" name="TextBox 45">
            <a:extLst>
              <a:ext uri="{FF2B5EF4-FFF2-40B4-BE49-F238E27FC236}">
                <a16:creationId xmlns:a16="http://schemas.microsoft.com/office/drawing/2014/main" id="{45C7895B-8158-495D-A580-6655FC25959A}"/>
              </a:ext>
            </a:extLst>
          </p:cNvPr>
          <p:cNvSpPr txBox="1"/>
          <p:nvPr/>
        </p:nvSpPr>
        <p:spPr>
          <a:xfrm>
            <a:off x="969517" y="5214911"/>
            <a:ext cx="2021864"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600" b="0" i="0" u="none" strike="noStrike" kern="1200" cap="none" spc="0" normalizeH="0" baseline="0" noProof="0" dirty="0">
                <a:ln>
                  <a:noFill/>
                </a:ln>
                <a:solidFill>
                  <a:schemeClr val="accent1"/>
                </a:solidFill>
                <a:effectLst/>
                <a:uLnTx/>
                <a:uFillTx/>
                <a:latin typeface="HarmonyOS Sans SC Black"/>
                <a:ea typeface="+mj-ea"/>
                <a:cs typeface="Open Sans" panose="020B0606030504020204" pitchFamily="34" charset="0"/>
              </a:rPr>
              <a:t>关键词标题</a:t>
            </a:r>
            <a:endParaRPr kumimoji="0" lang="en-US" sz="1600" b="0" i="0" u="none" strike="noStrike" kern="1200" cap="none" spc="0" normalizeH="0" baseline="0" noProof="0" dirty="0">
              <a:ln>
                <a:noFill/>
              </a:ln>
              <a:solidFill>
                <a:schemeClr val="accent1"/>
              </a:solidFill>
              <a:effectLst/>
              <a:uLnTx/>
              <a:uFillTx/>
              <a:latin typeface="HarmonyOS Sans SC Black"/>
              <a:ea typeface="+mj-ea"/>
              <a:cs typeface="Open Sans" panose="020B0606030504020204" pitchFamily="34" charset="0"/>
            </a:endParaRPr>
          </a:p>
        </p:txBody>
      </p:sp>
      <p:sp>
        <p:nvSpPr>
          <p:cNvPr id="23" name="Rectangle 46">
            <a:extLst>
              <a:ext uri="{FF2B5EF4-FFF2-40B4-BE49-F238E27FC236}">
                <a16:creationId xmlns:a16="http://schemas.microsoft.com/office/drawing/2014/main" id="{027DF48F-B59E-43C5-BC26-ACC5D62F8A31}"/>
              </a:ext>
            </a:extLst>
          </p:cNvPr>
          <p:cNvSpPr>
            <a:spLocks noChangeArrowheads="1"/>
          </p:cNvSpPr>
          <p:nvPr/>
        </p:nvSpPr>
        <p:spPr bwMode="auto">
          <a:xfrm>
            <a:off x="969516" y="5553465"/>
            <a:ext cx="4627418" cy="4154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3600">
                <a:solidFill>
                  <a:schemeClr val="tx1"/>
                </a:solidFill>
                <a:latin typeface="Calibri" panose="020F0502020204030204" pitchFamily="34" charset="0"/>
              </a:defRPr>
            </a:lvl1pPr>
            <a:lvl2pPr marL="742950" indent="-285750">
              <a:defRPr sz="3600">
                <a:solidFill>
                  <a:schemeClr val="tx1"/>
                </a:solidFill>
                <a:latin typeface="Calibri" panose="020F0502020204030204" pitchFamily="34" charset="0"/>
              </a:defRPr>
            </a:lvl2pPr>
            <a:lvl3pPr marL="1143000" indent="-228600">
              <a:defRPr sz="3600">
                <a:solidFill>
                  <a:schemeClr val="tx1"/>
                </a:solidFill>
                <a:latin typeface="Calibri" panose="020F0502020204030204" pitchFamily="34" charset="0"/>
              </a:defRPr>
            </a:lvl3pPr>
            <a:lvl4pPr marL="1600200" indent="-228600">
              <a:defRPr sz="3600">
                <a:solidFill>
                  <a:schemeClr val="tx1"/>
                </a:solidFill>
                <a:latin typeface="Calibri" panose="020F0502020204030204" pitchFamily="34" charset="0"/>
              </a:defRPr>
            </a:lvl4pPr>
            <a:lvl5pPr marL="2057400" indent="-228600">
              <a:defRPr sz="3600">
                <a:solidFill>
                  <a:schemeClr val="tx1"/>
                </a:solidFill>
                <a:latin typeface="Calibri" panose="020F0502020204030204" pitchFamily="34" charset="0"/>
              </a:defRPr>
            </a:lvl5pPr>
            <a:lvl6pPr marL="2514600" indent="-228600" defTabSz="1827213" fontAlgn="base">
              <a:spcBef>
                <a:spcPct val="0"/>
              </a:spcBef>
              <a:spcAft>
                <a:spcPct val="0"/>
              </a:spcAft>
              <a:defRPr sz="3600">
                <a:solidFill>
                  <a:schemeClr val="tx1"/>
                </a:solidFill>
                <a:latin typeface="Calibri" panose="020F0502020204030204" pitchFamily="34" charset="0"/>
              </a:defRPr>
            </a:lvl6pPr>
            <a:lvl7pPr marL="2971800" indent="-228600" defTabSz="1827213" fontAlgn="base">
              <a:spcBef>
                <a:spcPct val="0"/>
              </a:spcBef>
              <a:spcAft>
                <a:spcPct val="0"/>
              </a:spcAft>
              <a:defRPr sz="3600">
                <a:solidFill>
                  <a:schemeClr val="tx1"/>
                </a:solidFill>
                <a:latin typeface="Calibri" panose="020F0502020204030204" pitchFamily="34" charset="0"/>
              </a:defRPr>
            </a:lvl7pPr>
            <a:lvl8pPr marL="3429000" indent="-228600" defTabSz="1827213" fontAlgn="base">
              <a:spcBef>
                <a:spcPct val="0"/>
              </a:spcBef>
              <a:spcAft>
                <a:spcPct val="0"/>
              </a:spcAft>
              <a:defRPr sz="3600">
                <a:solidFill>
                  <a:schemeClr val="tx1"/>
                </a:solidFill>
                <a:latin typeface="Calibri" panose="020F0502020204030204" pitchFamily="34" charset="0"/>
              </a:defRPr>
            </a:lvl8pPr>
            <a:lvl9pPr marL="3886200" indent="-228600" defTabSz="1827213" fontAlgn="base">
              <a:spcBef>
                <a:spcPct val="0"/>
              </a:spcBef>
              <a:spcAft>
                <a:spcPct val="0"/>
              </a:spcAft>
              <a:defRPr sz="3600">
                <a:solidFill>
                  <a:schemeClr val="tx1"/>
                </a:solidFill>
                <a:latin typeface="Calibri" panose="020F050202020403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lumMod val="50000"/>
                    <a:lumOff val="50000"/>
                  </a:prstClr>
                </a:solidFill>
                <a:effectLst/>
                <a:uLnTx/>
                <a:uFillTx/>
                <a:latin typeface="HarmonyOS Sans SC"/>
                <a:cs typeface="Open Sans" panose="020B0606030504020204" pitchFamily="34" charset="0"/>
              </a:rPr>
              <a:t>Lorem ipsum dolor sit </a:t>
            </a:r>
            <a:r>
              <a:rPr kumimoji="0" lang="en-US" sz="1050" b="0" i="0" u="none" strike="noStrike" kern="1200" cap="none" spc="0" normalizeH="0" baseline="0" noProof="0" dirty="0" err="1">
                <a:ln>
                  <a:noFill/>
                </a:ln>
                <a:solidFill>
                  <a:prstClr val="black">
                    <a:lumMod val="50000"/>
                    <a:lumOff val="50000"/>
                  </a:prstClr>
                </a:solidFill>
                <a:effectLst/>
                <a:uLnTx/>
                <a:uFillTx/>
                <a:latin typeface="HarmonyOS Sans SC"/>
                <a:cs typeface="Open Sans" panose="020B0606030504020204" pitchFamily="34" charset="0"/>
              </a:rPr>
              <a:t>amet</a:t>
            </a:r>
            <a:r>
              <a:rPr kumimoji="0" lang="en-US" sz="1050" b="0" i="0" u="none" strike="noStrike" kern="1200" cap="none" spc="0" normalizeH="0" baseline="0" noProof="0" dirty="0">
                <a:ln>
                  <a:noFill/>
                </a:ln>
                <a:solidFill>
                  <a:prstClr val="black">
                    <a:lumMod val="50000"/>
                    <a:lumOff val="50000"/>
                  </a:prstClr>
                </a:solidFill>
                <a:effectLst/>
                <a:uLnTx/>
                <a:uFillTx/>
                <a:latin typeface="HarmonyOS Sans SC"/>
                <a:cs typeface="Open Sans" panose="020B0606030504020204" pitchFamily="34" charset="0"/>
              </a:rPr>
              <a:t>, </a:t>
            </a:r>
            <a:r>
              <a:rPr kumimoji="0" lang="en-US" sz="1050" b="0" i="0" u="none" strike="noStrike" kern="1200" cap="none" spc="0" normalizeH="0" baseline="0" noProof="0" dirty="0" err="1">
                <a:ln>
                  <a:noFill/>
                </a:ln>
                <a:solidFill>
                  <a:prstClr val="black">
                    <a:lumMod val="50000"/>
                    <a:lumOff val="50000"/>
                  </a:prstClr>
                </a:solidFill>
                <a:effectLst/>
                <a:uLnTx/>
                <a:uFillTx/>
                <a:latin typeface="HarmonyOS Sans SC"/>
                <a:cs typeface="Open Sans" panose="020B0606030504020204" pitchFamily="34" charset="0"/>
              </a:rPr>
              <a:t>consectetur</a:t>
            </a:r>
            <a:r>
              <a:rPr kumimoji="0" lang="en-US" sz="1050" b="0" i="0" u="none" strike="noStrike" kern="1200" cap="none" spc="0" normalizeH="0" baseline="0" noProof="0" dirty="0">
                <a:ln>
                  <a:noFill/>
                </a:ln>
                <a:solidFill>
                  <a:prstClr val="black">
                    <a:lumMod val="50000"/>
                    <a:lumOff val="50000"/>
                  </a:prstClr>
                </a:solidFill>
                <a:effectLst/>
                <a:uLnTx/>
                <a:uFillTx/>
                <a:latin typeface="HarmonyOS Sans SC"/>
                <a:cs typeface="Open Sans" panose="020B0606030504020204" pitchFamily="34" charset="0"/>
              </a:rPr>
              <a:t> </a:t>
            </a:r>
            <a:r>
              <a:rPr kumimoji="0" lang="en-US" sz="1050" b="0" i="0" u="none" strike="noStrike" kern="1200" cap="none" spc="0" normalizeH="0" baseline="0" noProof="0" dirty="0" err="1">
                <a:ln>
                  <a:noFill/>
                </a:ln>
                <a:solidFill>
                  <a:prstClr val="black">
                    <a:lumMod val="50000"/>
                    <a:lumOff val="50000"/>
                  </a:prstClr>
                </a:solidFill>
                <a:effectLst/>
                <a:uLnTx/>
                <a:uFillTx/>
                <a:latin typeface="HarmonyOS Sans SC"/>
                <a:cs typeface="Open Sans" panose="020B0606030504020204" pitchFamily="34" charset="0"/>
              </a:rPr>
              <a:t>adipiscing</a:t>
            </a:r>
            <a:r>
              <a:rPr kumimoji="0" lang="en-US" sz="1050" b="0" i="0" u="none" strike="noStrike" kern="1200" cap="none" spc="0" normalizeH="0" baseline="0" noProof="0" dirty="0">
                <a:ln>
                  <a:noFill/>
                </a:ln>
                <a:solidFill>
                  <a:prstClr val="black">
                    <a:lumMod val="50000"/>
                    <a:lumOff val="50000"/>
                  </a:prstClr>
                </a:solidFill>
                <a:effectLst/>
                <a:uLnTx/>
                <a:uFillTx/>
                <a:latin typeface="HarmonyOS Sans SC"/>
                <a:cs typeface="Open Sans" panose="020B0606030504020204" pitchFamily="34" charset="0"/>
              </a:rPr>
              <a:t> </a:t>
            </a:r>
            <a:r>
              <a:rPr kumimoji="0" lang="en-US" sz="1050" b="0" i="0" u="none" strike="noStrike" kern="1200" cap="none" spc="0" normalizeH="0" baseline="0" noProof="0" dirty="0" err="1">
                <a:ln>
                  <a:noFill/>
                </a:ln>
                <a:solidFill>
                  <a:prstClr val="black">
                    <a:lumMod val="50000"/>
                    <a:lumOff val="50000"/>
                  </a:prstClr>
                </a:solidFill>
                <a:effectLst/>
                <a:uLnTx/>
                <a:uFillTx/>
                <a:latin typeface="HarmonyOS Sans SC"/>
                <a:cs typeface="Open Sans" panose="020B0606030504020204" pitchFamily="34" charset="0"/>
              </a:rPr>
              <a:t>elit</a:t>
            </a:r>
            <a:r>
              <a:rPr kumimoji="0" lang="en-US" sz="1050" b="0" i="0" u="none" strike="noStrike" kern="1200" cap="none" spc="0" normalizeH="0" baseline="0" noProof="0" dirty="0">
                <a:ln>
                  <a:noFill/>
                </a:ln>
                <a:solidFill>
                  <a:prstClr val="black">
                    <a:lumMod val="50000"/>
                    <a:lumOff val="50000"/>
                  </a:prstClr>
                </a:solidFill>
                <a:effectLst/>
                <a:uLnTx/>
                <a:uFillTx/>
                <a:latin typeface="HarmonyOS Sans SC"/>
                <a:cs typeface="Open Sans" panose="020B0606030504020204" pitchFamily="34" charset="0"/>
              </a:rPr>
              <a:t>. Nunc </a:t>
            </a:r>
            <a:r>
              <a:rPr kumimoji="0" lang="en-US" sz="1050" b="0" i="0" u="none" strike="noStrike" kern="1200" cap="none" spc="0" normalizeH="0" baseline="0" noProof="0" dirty="0" err="1">
                <a:ln>
                  <a:noFill/>
                </a:ln>
                <a:solidFill>
                  <a:prstClr val="black">
                    <a:lumMod val="50000"/>
                    <a:lumOff val="50000"/>
                  </a:prstClr>
                </a:solidFill>
                <a:effectLst/>
                <a:uLnTx/>
                <a:uFillTx/>
                <a:latin typeface="HarmonyOS Sans SC"/>
                <a:cs typeface="Open Sans" panose="020B0606030504020204" pitchFamily="34" charset="0"/>
              </a:rPr>
              <a:t>bibendum</a:t>
            </a:r>
            <a:r>
              <a:rPr kumimoji="0" lang="en-US" sz="1050" b="0" i="0" u="none" strike="noStrike" kern="1200" cap="none" spc="0" normalizeH="0" baseline="0" noProof="0" dirty="0">
                <a:ln>
                  <a:noFill/>
                </a:ln>
                <a:solidFill>
                  <a:prstClr val="black">
                    <a:lumMod val="50000"/>
                    <a:lumOff val="50000"/>
                  </a:prstClr>
                </a:solidFill>
                <a:effectLst/>
                <a:uLnTx/>
                <a:uFillTx/>
                <a:latin typeface="HarmonyOS Sans SC"/>
                <a:cs typeface="Open Sans" panose="020B0606030504020204" pitchFamily="34" charset="0"/>
              </a:rPr>
              <a:t> </a:t>
            </a:r>
            <a:r>
              <a:rPr kumimoji="0" lang="en-US" sz="1050" b="0" i="0" u="none" strike="noStrike" kern="1200" cap="none" spc="0" normalizeH="0" baseline="0" noProof="0" dirty="0" err="1">
                <a:ln>
                  <a:noFill/>
                </a:ln>
                <a:solidFill>
                  <a:prstClr val="black">
                    <a:lumMod val="50000"/>
                    <a:lumOff val="50000"/>
                  </a:prstClr>
                </a:solidFill>
                <a:effectLst/>
                <a:uLnTx/>
                <a:uFillTx/>
                <a:latin typeface="HarmonyOS Sans SC"/>
                <a:cs typeface="Open Sans" panose="020B0606030504020204" pitchFamily="34" charset="0"/>
              </a:rPr>
              <a:t>eleifend</a:t>
            </a:r>
            <a:r>
              <a:rPr kumimoji="0" lang="en-US" sz="1050" b="0" i="0" u="none" strike="noStrike" kern="1200" cap="none" spc="0" normalizeH="0" baseline="0" noProof="0" dirty="0">
                <a:ln>
                  <a:noFill/>
                </a:ln>
                <a:solidFill>
                  <a:prstClr val="black">
                    <a:lumMod val="50000"/>
                    <a:lumOff val="50000"/>
                  </a:prstClr>
                </a:solidFill>
                <a:effectLst/>
                <a:uLnTx/>
                <a:uFillTx/>
                <a:latin typeface="HarmonyOS Sans SC"/>
                <a:cs typeface="Open Sans" panose="020B0606030504020204" pitchFamily="34" charset="0"/>
              </a:rPr>
              <a:t> </a:t>
            </a:r>
            <a:r>
              <a:rPr kumimoji="0" lang="en-US" sz="1050" b="0" i="0" u="none" strike="noStrike" kern="1200" cap="none" spc="0" normalizeH="0" baseline="0" noProof="0" dirty="0" err="1">
                <a:ln>
                  <a:noFill/>
                </a:ln>
                <a:solidFill>
                  <a:prstClr val="black">
                    <a:lumMod val="50000"/>
                    <a:lumOff val="50000"/>
                  </a:prstClr>
                </a:solidFill>
                <a:effectLst/>
                <a:uLnTx/>
                <a:uFillTx/>
                <a:latin typeface="HarmonyOS Sans SC"/>
                <a:cs typeface="Open Sans" panose="020B0606030504020204" pitchFamily="34" charset="0"/>
              </a:rPr>
              <a:t>tortor</a:t>
            </a:r>
            <a:r>
              <a:rPr kumimoji="0" lang="en-US" sz="1050" b="0" i="0" u="none" strike="noStrike" kern="1200" cap="none" spc="0" normalizeH="0" baseline="0" noProof="0" dirty="0">
                <a:ln>
                  <a:noFill/>
                </a:ln>
                <a:solidFill>
                  <a:prstClr val="black">
                    <a:lumMod val="50000"/>
                    <a:lumOff val="50000"/>
                  </a:prstClr>
                </a:solidFill>
                <a:effectLst/>
                <a:uLnTx/>
                <a:uFillTx/>
                <a:latin typeface="HarmonyOS Sans SC"/>
                <a:cs typeface="Open Sans" panose="020B0606030504020204" pitchFamily="34" charset="0"/>
              </a:rPr>
              <a:t>, non porta Lorem ipsum dolor sit </a:t>
            </a:r>
          </a:p>
        </p:txBody>
      </p:sp>
      <p:sp>
        <p:nvSpPr>
          <p:cNvPr id="27" name="文本框 26">
            <a:extLst>
              <a:ext uri="{FF2B5EF4-FFF2-40B4-BE49-F238E27FC236}">
                <a16:creationId xmlns:a16="http://schemas.microsoft.com/office/drawing/2014/main" id="{DC822B56-3926-4CF8-AF33-44D3776663BD}"/>
              </a:ext>
            </a:extLst>
          </p:cNvPr>
          <p:cNvSpPr txBox="1"/>
          <p:nvPr/>
        </p:nvSpPr>
        <p:spPr>
          <a:xfrm>
            <a:off x="3244901" y="918105"/>
            <a:ext cx="5702202" cy="52322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2800" b="0" i="0" u="none" strike="noStrike" kern="1200" cap="none" spc="0" normalizeH="0" baseline="0" noProof="0" dirty="0">
                <a:ln>
                  <a:noFill/>
                </a:ln>
                <a:solidFill>
                  <a:prstClr val="black"/>
                </a:solidFill>
                <a:effectLst/>
                <a:uLnTx/>
                <a:uFillTx/>
                <a:latin typeface="HarmonyOS Sans Black"/>
                <a:ea typeface="+mj-ea"/>
                <a:cs typeface="+mn-cs"/>
              </a:rPr>
              <a:t>Turban Fashion For </a:t>
            </a:r>
            <a:r>
              <a:rPr kumimoji="0" lang="en-US" altLang="zh-CN" sz="2800" b="0" i="0" u="none" strike="noStrike" kern="1200" cap="none" spc="0" normalizeH="0" baseline="0" noProof="0" dirty="0">
                <a:ln>
                  <a:noFill/>
                </a:ln>
                <a:solidFill>
                  <a:schemeClr val="accent1"/>
                </a:solidFill>
                <a:effectLst/>
                <a:uLnTx/>
                <a:uFillTx/>
                <a:latin typeface="HarmonyOS Sans Black"/>
                <a:ea typeface="+mj-ea"/>
                <a:cs typeface="+mn-cs"/>
              </a:rPr>
              <a:t>Infographic</a:t>
            </a:r>
          </a:p>
        </p:txBody>
      </p:sp>
    </p:spTree>
    <p:extLst>
      <p:ext uri="{BB962C8B-B14F-4D97-AF65-F5344CB8AC3E}">
        <p14:creationId xmlns:p14="http://schemas.microsoft.com/office/powerpoint/2010/main" val="458281863"/>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5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reeform 16">
            <a:extLst>
              <a:ext uri="{FF2B5EF4-FFF2-40B4-BE49-F238E27FC236}">
                <a16:creationId xmlns:a16="http://schemas.microsoft.com/office/drawing/2014/main" id="{1DCD2B95-4DC5-4AC3-AAC1-FF16E2DED95E}"/>
              </a:ext>
            </a:extLst>
          </p:cNvPr>
          <p:cNvSpPr/>
          <p:nvPr/>
        </p:nvSpPr>
        <p:spPr>
          <a:xfrm>
            <a:off x="4383158" y="1837162"/>
            <a:ext cx="1683008" cy="1559240"/>
          </a:xfrm>
          <a:custGeom>
            <a:avLst/>
            <a:gdLst/>
            <a:ahLst/>
            <a:cxnLst>
              <a:cxn ang="0">
                <a:pos x="wd2" y="hd2"/>
              </a:cxn>
              <a:cxn ang="5400000">
                <a:pos x="wd2" y="hd2"/>
              </a:cxn>
              <a:cxn ang="10800000">
                <a:pos x="wd2" y="hd2"/>
              </a:cxn>
              <a:cxn ang="16200000">
                <a:pos x="wd2" y="hd2"/>
              </a:cxn>
            </a:cxnLst>
            <a:rect l="0" t="0" r="r" b="b"/>
            <a:pathLst>
              <a:path w="21600" h="21600" extrusionOk="0">
                <a:moveTo>
                  <a:pt x="18195" y="949"/>
                </a:moveTo>
                <a:cubicBezTo>
                  <a:pt x="16877" y="198"/>
                  <a:pt x="15669" y="0"/>
                  <a:pt x="14791" y="0"/>
                </a:cubicBezTo>
                <a:cubicBezTo>
                  <a:pt x="13875" y="0"/>
                  <a:pt x="13289" y="198"/>
                  <a:pt x="13253" y="237"/>
                </a:cubicBezTo>
                <a:cubicBezTo>
                  <a:pt x="5308" y="3916"/>
                  <a:pt x="146" y="12264"/>
                  <a:pt x="0" y="21600"/>
                </a:cubicBezTo>
                <a:cubicBezTo>
                  <a:pt x="329" y="20769"/>
                  <a:pt x="879" y="19780"/>
                  <a:pt x="1757" y="18870"/>
                </a:cubicBezTo>
                <a:cubicBezTo>
                  <a:pt x="3807" y="16655"/>
                  <a:pt x="6626" y="16338"/>
                  <a:pt x="6773" y="16338"/>
                </a:cubicBezTo>
                <a:cubicBezTo>
                  <a:pt x="6773" y="16338"/>
                  <a:pt x="6773" y="16338"/>
                  <a:pt x="6773" y="16338"/>
                </a:cubicBezTo>
                <a:cubicBezTo>
                  <a:pt x="18122" y="16338"/>
                  <a:pt x="18122" y="16338"/>
                  <a:pt x="18122" y="16338"/>
                </a:cubicBezTo>
                <a:cubicBezTo>
                  <a:pt x="21600" y="4826"/>
                  <a:pt x="21600" y="4826"/>
                  <a:pt x="21600" y="4826"/>
                </a:cubicBezTo>
                <a:cubicBezTo>
                  <a:pt x="21344" y="4273"/>
                  <a:pt x="20282" y="2097"/>
                  <a:pt x="18195" y="949"/>
                </a:cubicBezTo>
                <a:close/>
              </a:path>
            </a:pathLst>
          </a:custGeom>
          <a:gradFill flip="none" rotWithShape="1">
            <a:gsLst>
              <a:gs pos="68000">
                <a:schemeClr val="accent1"/>
              </a:gs>
              <a:gs pos="48000">
                <a:schemeClr val="accent1">
                  <a:lumMod val="60000"/>
                  <a:lumOff val="40000"/>
                </a:schemeClr>
              </a:gs>
              <a:gs pos="0">
                <a:schemeClr val="accent1">
                  <a:lumMod val="40000"/>
                  <a:lumOff val="60000"/>
                </a:schemeClr>
              </a:gs>
            </a:gsLst>
            <a:lin ang="135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white"/>
              </a:solidFill>
              <a:effectLst/>
              <a:uLnTx/>
              <a:uFillTx/>
              <a:latin typeface="HarmonyOS Sans SC"/>
              <a:cs typeface="+mn-cs"/>
              <a:sym typeface="Poppins Regular"/>
            </a:endParaRPr>
          </a:p>
        </p:txBody>
      </p:sp>
      <p:sp>
        <p:nvSpPr>
          <p:cNvPr id="4" name="01…">
            <a:extLst>
              <a:ext uri="{FF2B5EF4-FFF2-40B4-BE49-F238E27FC236}">
                <a16:creationId xmlns:a16="http://schemas.microsoft.com/office/drawing/2014/main" id="{CC7FC4C7-5405-43F6-92E9-7DF0C51B03B3}"/>
              </a:ext>
            </a:extLst>
          </p:cNvPr>
          <p:cNvSpPr txBox="1"/>
          <p:nvPr/>
        </p:nvSpPr>
        <p:spPr>
          <a:xfrm>
            <a:off x="5021993" y="2092520"/>
            <a:ext cx="756617" cy="523220"/>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numCol="1" anchor="t">
            <a:spAutoFit/>
          </a:bodyPr>
          <a:lstStyle/>
          <a:p>
            <a:pPr marL="0" marR="0" lvl="0" indent="0" algn="ctr" defTabSz="412750" rtl="0" eaLnBrk="1" fontAlgn="auto" latinLnBrk="0" hangingPunct="0">
              <a:lnSpc>
                <a:spcPct val="100000"/>
              </a:lnSpc>
              <a:spcBef>
                <a:spcPts val="0"/>
              </a:spcBef>
              <a:spcAft>
                <a:spcPts val="0"/>
              </a:spcAft>
              <a:buClrTx/>
              <a:buSzTx/>
              <a:buFontTx/>
              <a:buNone/>
              <a:tabLst/>
              <a:defRPr sz="5000" b="0">
                <a:solidFill>
                  <a:srgbClr val="F6F9FF"/>
                </a:solidFill>
                <a:latin typeface="Poppins Bold"/>
                <a:ea typeface="Poppins Bold"/>
                <a:cs typeface="Poppins Bold"/>
                <a:sym typeface="Poppins Bold"/>
              </a:defRPr>
            </a:pPr>
            <a:r>
              <a:rPr kumimoji="0" lang="en-US" sz="2500" b="0" i="0" u="none" strike="noStrike" kern="0" cap="none" spc="0" normalizeH="0" baseline="0" noProof="0" dirty="0">
                <a:ln>
                  <a:noFill/>
                </a:ln>
                <a:solidFill>
                  <a:srgbClr val="F6F9FF"/>
                </a:solidFill>
                <a:effectLst/>
                <a:uLnTx/>
                <a:uFillTx/>
                <a:latin typeface="HarmonyOS Sans SC Black"/>
                <a:ea typeface="+mj-ea"/>
                <a:cs typeface="Poppins Bold"/>
                <a:sym typeface="Poppins Bold"/>
              </a:rPr>
              <a:t>01</a:t>
            </a:r>
          </a:p>
          <a:p>
            <a:pPr marL="0" marR="0" lvl="0" indent="0" algn="ctr" defTabSz="412750" rtl="0" eaLnBrk="1" fontAlgn="auto" latinLnBrk="0" hangingPunct="0">
              <a:lnSpc>
                <a:spcPct val="100000"/>
              </a:lnSpc>
              <a:spcBef>
                <a:spcPts val="0"/>
              </a:spcBef>
              <a:spcAft>
                <a:spcPts val="0"/>
              </a:spcAft>
              <a:buClrTx/>
              <a:buSzTx/>
              <a:buFontTx/>
              <a:buNone/>
              <a:tabLst/>
              <a:defRPr sz="1800" b="0">
                <a:solidFill>
                  <a:srgbClr val="F6F9FF"/>
                </a:solidFill>
                <a:latin typeface="Poppins Light"/>
                <a:ea typeface="Poppins Light"/>
                <a:cs typeface="Poppins Light"/>
                <a:sym typeface="Poppins Light"/>
              </a:defRPr>
            </a:pPr>
            <a:r>
              <a:rPr kumimoji="0" lang="en-US" sz="900" b="0" i="0" u="none" strike="noStrike" kern="0" cap="none" spc="0" normalizeH="0" baseline="0" noProof="0" dirty="0">
                <a:ln>
                  <a:noFill/>
                </a:ln>
                <a:solidFill>
                  <a:srgbClr val="F6F9FF"/>
                </a:solidFill>
                <a:effectLst/>
                <a:uLnTx/>
                <a:uFillTx/>
                <a:latin typeface="HarmonyOS Sans SC"/>
                <a:cs typeface="Poppins Light"/>
                <a:sym typeface="Poppins Light"/>
              </a:rPr>
              <a:t>Creativity Plan</a:t>
            </a:r>
          </a:p>
        </p:txBody>
      </p:sp>
      <p:sp>
        <p:nvSpPr>
          <p:cNvPr id="6" name="Freeform 17">
            <a:extLst>
              <a:ext uri="{FF2B5EF4-FFF2-40B4-BE49-F238E27FC236}">
                <a16:creationId xmlns:a16="http://schemas.microsoft.com/office/drawing/2014/main" id="{A3D11BA4-0FD6-4C49-8E20-2A960C73AA71}"/>
              </a:ext>
            </a:extLst>
          </p:cNvPr>
          <p:cNvSpPr/>
          <p:nvPr/>
        </p:nvSpPr>
        <p:spPr>
          <a:xfrm>
            <a:off x="5595408" y="1714500"/>
            <a:ext cx="1865826" cy="1301761"/>
          </a:xfrm>
          <a:custGeom>
            <a:avLst/>
            <a:gdLst/>
            <a:ahLst/>
            <a:cxnLst>
              <a:cxn ang="0">
                <a:pos x="wd2" y="hd2"/>
              </a:cxn>
              <a:cxn ang="5400000">
                <a:pos x="wd2" y="hd2"/>
              </a:cxn>
              <a:cxn ang="10800000">
                <a:pos x="wd2" y="hd2"/>
              </a:cxn>
              <a:cxn ang="16200000">
                <a:pos x="wd2" y="hd2"/>
              </a:cxn>
            </a:cxnLst>
            <a:rect l="0" t="0" r="r" b="b"/>
            <a:pathLst>
              <a:path w="21303" h="21600" extrusionOk="0">
                <a:moveTo>
                  <a:pt x="20427" y="9711"/>
                </a:moveTo>
                <a:cubicBezTo>
                  <a:pt x="16713" y="3505"/>
                  <a:pt x="11338" y="0"/>
                  <a:pt x="5701" y="0"/>
                </a:cubicBezTo>
                <a:cubicBezTo>
                  <a:pt x="3747" y="0"/>
                  <a:pt x="1824" y="379"/>
                  <a:pt x="0" y="1232"/>
                </a:cubicBezTo>
                <a:cubicBezTo>
                  <a:pt x="749" y="1326"/>
                  <a:pt x="1662" y="1658"/>
                  <a:pt x="2639" y="2368"/>
                </a:cubicBezTo>
                <a:cubicBezTo>
                  <a:pt x="4919" y="4121"/>
                  <a:pt x="5929" y="7484"/>
                  <a:pt x="5995" y="7626"/>
                </a:cubicBezTo>
                <a:cubicBezTo>
                  <a:pt x="9122" y="21600"/>
                  <a:pt x="9122" y="21600"/>
                  <a:pt x="9122" y="21600"/>
                </a:cubicBezTo>
                <a:cubicBezTo>
                  <a:pt x="19091" y="21600"/>
                  <a:pt x="19091" y="21600"/>
                  <a:pt x="19091" y="21600"/>
                </a:cubicBezTo>
                <a:cubicBezTo>
                  <a:pt x="19450" y="21126"/>
                  <a:pt x="20851" y="18947"/>
                  <a:pt x="21209" y="16011"/>
                </a:cubicBezTo>
                <a:cubicBezTo>
                  <a:pt x="21600" y="12458"/>
                  <a:pt x="20655" y="10184"/>
                  <a:pt x="20427" y="9711"/>
                </a:cubicBezTo>
                <a:close/>
              </a:path>
            </a:pathLst>
          </a:custGeom>
          <a:gradFill flip="none" rotWithShape="1">
            <a:gsLst>
              <a:gs pos="73000">
                <a:schemeClr val="accent1"/>
              </a:gs>
              <a:gs pos="31000">
                <a:schemeClr val="accent1">
                  <a:lumMod val="60000"/>
                  <a:lumOff val="40000"/>
                </a:schemeClr>
              </a:gs>
              <a:gs pos="0">
                <a:schemeClr val="accent1">
                  <a:lumMod val="40000"/>
                  <a:lumOff val="60000"/>
                </a:schemeClr>
              </a:gs>
            </a:gsLst>
            <a:lin ang="189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white"/>
              </a:solidFill>
              <a:effectLst/>
              <a:uLnTx/>
              <a:uFillTx/>
              <a:latin typeface="HarmonyOS Sans SC"/>
              <a:cs typeface="+mn-cs"/>
              <a:sym typeface="Poppins Regular"/>
            </a:endParaRPr>
          </a:p>
        </p:txBody>
      </p:sp>
      <p:sp>
        <p:nvSpPr>
          <p:cNvPr id="7" name="02…">
            <a:extLst>
              <a:ext uri="{FF2B5EF4-FFF2-40B4-BE49-F238E27FC236}">
                <a16:creationId xmlns:a16="http://schemas.microsoft.com/office/drawing/2014/main" id="{30A9A2C8-E713-46AE-B447-80A619BE1F5B}"/>
              </a:ext>
            </a:extLst>
          </p:cNvPr>
          <p:cNvSpPr txBox="1"/>
          <p:nvPr/>
        </p:nvSpPr>
        <p:spPr>
          <a:xfrm>
            <a:off x="6441404" y="2092520"/>
            <a:ext cx="756617" cy="523220"/>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numCol="1" anchor="t">
            <a:spAutoFit/>
          </a:bodyPr>
          <a:lstStyle/>
          <a:p>
            <a:pPr marL="0" marR="0" lvl="0" indent="0" algn="ctr" defTabSz="412750" rtl="0" eaLnBrk="1" fontAlgn="auto" latinLnBrk="0" hangingPunct="0">
              <a:lnSpc>
                <a:spcPct val="100000"/>
              </a:lnSpc>
              <a:spcBef>
                <a:spcPts val="0"/>
              </a:spcBef>
              <a:spcAft>
                <a:spcPts val="0"/>
              </a:spcAft>
              <a:buClrTx/>
              <a:buSzTx/>
              <a:buFontTx/>
              <a:buNone/>
              <a:tabLst/>
              <a:defRPr sz="5000" b="0">
                <a:solidFill>
                  <a:srgbClr val="F6F9FF"/>
                </a:solidFill>
                <a:latin typeface="Poppins Bold"/>
                <a:ea typeface="Poppins Bold"/>
                <a:cs typeface="Poppins Bold"/>
                <a:sym typeface="Poppins Bold"/>
              </a:defRPr>
            </a:pPr>
            <a:r>
              <a:rPr kumimoji="0" lang="en-US" sz="2500" b="0" i="0" u="none" strike="noStrike" kern="0" cap="none" spc="0" normalizeH="0" baseline="0" noProof="0" dirty="0">
                <a:ln>
                  <a:noFill/>
                </a:ln>
                <a:solidFill>
                  <a:srgbClr val="F6F9FF"/>
                </a:solidFill>
                <a:effectLst/>
                <a:uLnTx/>
                <a:uFillTx/>
                <a:latin typeface="HarmonyOS Sans SC Black"/>
                <a:ea typeface="+mj-ea"/>
                <a:cs typeface="Poppins Bold"/>
                <a:sym typeface="Poppins Bold"/>
              </a:rPr>
              <a:t>02</a:t>
            </a:r>
          </a:p>
          <a:p>
            <a:pPr marL="0" marR="0" lvl="0" indent="0" algn="ctr" defTabSz="412750" rtl="0" eaLnBrk="1" fontAlgn="auto" latinLnBrk="0" hangingPunct="0">
              <a:lnSpc>
                <a:spcPct val="100000"/>
              </a:lnSpc>
              <a:spcBef>
                <a:spcPts val="0"/>
              </a:spcBef>
              <a:spcAft>
                <a:spcPts val="0"/>
              </a:spcAft>
              <a:buClrTx/>
              <a:buSzTx/>
              <a:buFontTx/>
              <a:buNone/>
              <a:tabLst/>
              <a:defRPr sz="1800" b="0">
                <a:solidFill>
                  <a:srgbClr val="F6F9FF"/>
                </a:solidFill>
                <a:latin typeface="Poppins Light"/>
                <a:ea typeface="Poppins Light"/>
                <a:cs typeface="Poppins Light"/>
                <a:sym typeface="Poppins Light"/>
              </a:defRPr>
            </a:pPr>
            <a:r>
              <a:rPr kumimoji="0" lang="en-US" sz="900" b="0" i="0" u="none" strike="noStrike" kern="0" cap="none" spc="0" normalizeH="0" baseline="0" noProof="0" dirty="0">
                <a:ln>
                  <a:noFill/>
                </a:ln>
                <a:solidFill>
                  <a:srgbClr val="F6F9FF"/>
                </a:solidFill>
                <a:effectLst/>
                <a:uLnTx/>
                <a:uFillTx/>
                <a:latin typeface="HarmonyOS Sans SC"/>
                <a:cs typeface="Poppins Light"/>
                <a:sym typeface="Poppins Light"/>
              </a:rPr>
              <a:t>Creativity Plan</a:t>
            </a:r>
          </a:p>
        </p:txBody>
      </p:sp>
      <p:sp>
        <p:nvSpPr>
          <p:cNvPr id="9" name="Freeform 20">
            <a:extLst>
              <a:ext uri="{FF2B5EF4-FFF2-40B4-BE49-F238E27FC236}">
                <a16:creationId xmlns:a16="http://schemas.microsoft.com/office/drawing/2014/main" id="{31DE7DB7-E249-440F-B31D-4711FC81FA3A}"/>
              </a:ext>
            </a:extLst>
          </p:cNvPr>
          <p:cNvSpPr/>
          <p:nvPr/>
        </p:nvSpPr>
        <p:spPr>
          <a:xfrm>
            <a:off x="4388683" y="3070408"/>
            <a:ext cx="1223302" cy="1979162"/>
          </a:xfrm>
          <a:custGeom>
            <a:avLst/>
            <a:gdLst/>
            <a:ahLst/>
            <a:cxnLst>
              <a:cxn ang="0">
                <a:pos x="wd2" y="hd2"/>
              </a:cxn>
              <a:cxn ang="5400000">
                <a:pos x="wd2" y="hd2"/>
              </a:cxn>
              <a:cxn ang="10800000">
                <a:pos x="wd2" y="hd2"/>
              </a:cxn>
              <a:cxn ang="16200000">
                <a:pos x="wd2" y="hd2"/>
              </a:cxn>
            </a:cxnLst>
            <a:rect l="0" t="0" r="r" b="b"/>
            <a:pathLst>
              <a:path w="21600" h="21600" extrusionOk="0">
                <a:moveTo>
                  <a:pt x="2971" y="1808"/>
                </a:moveTo>
                <a:cubicBezTo>
                  <a:pt x="252" y="3460"/>
                  <a:pt x="0" y="5205"/>
                  <a:pt x="0" y="5610"/>
                </a:cubicBezTo>
                <a:cubicBezTo>
                  <a:pt x="1057" y="13029"/>
                  <a:pt x="9063" y="19231"/>
                  <a:pt x="20241" y="21600"/>
                </a:cubicBezTo>
                <a:cubicBezTo>
                  <a:pt x="19385" y="21132"/>
                  <a:pt x="18428" y="20447"/>
                  <a:pt x="17673" y="19481"/>
                </a:cubicBezTo>
                <a:cubicBezTo>
                  <a:pt x="15910" y="17299"/>
                  <a:pt x="16716" y="14930"/>
                  <a:pt x="16766" y="14836"/>
                </a:cubicBezTo>
                <a:cubicBezTo>
                  <a:pt x="21600" y="5610"/>
                  <a:pt x="21600" y="5610"/>
                  <a:pt x="21600" y="5610"/>
                </a:cubicBezTo>
                <a:cubicBezTo>
                  <a:pt x="9113" y="0"/>
                  <a:pt x="9113" y="0"/>
                  <a:pt x="9113" y="0"/>
                </a:cubicBezTo>
                <a:cubicBezTo>
                  <a:pt x="8358" y="62"/>
                  <a:pt x="5236" y="405"/>
                  <a:pt x="2971" y="1808"/>
                </a:cubicBezTo>
                <a:close/>
              </a:path>
            </a:pathLst>
          </a:custGeom>
          <a:gradFill flip="none" rotWithShape="1">
            <a:gsLst>
              <a:gs pos="73000">
                <a:schemeClr val="accent1"/>
              </a:gs>
              <a:gs pos="31000">
                <a:schemeClr val="accent1">
                  <a:lumMod val="60000"/>
                  <a:lumOff val="40000"/>
                </a:schemeClr>
              </a:gs>
              <a:gs pos="0">
                <a:schemeClr val="accent1">
                  <a:lumMod val="40000"/>
                  <a:lumOff val="60000"/>
                </a:schemeClr>
              </a:gs>
            </a:gsLst>
            <a:lin ang="108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white"/>
              </a:solidFill>
              <a:effectLst/>
              <a:uLnTx/>
              <a:uFillTx/>
              <a:latin typeface="HarmonyOS Sans SC"/>
              <a:cs typeface="+mn-cs"/>
              <a:sym typeface="Poppins Regular"/>
            </a:endParaRPr>
          </a:p>
        </p:txBody>
      </p:sp>
      <p:sp>
        <p:nvSpPr>
          <p:cNvPr id="10" name="05…">
            <a:extLst>
              <a:ext uri="{FF2B5EF4-FFF2-40B4-BE49-F238E27FC236}">
                <a16:creationId xmlns:a16="http://schemas.microsoft.com/office/drawing/2014/main" id="{201B24EE-8CC2-4E03-A60A-C97AA7B83F71}"/>
              </a:ext>
            </a:extLst>
          </p:cNvPr>
          <p:cNvSpPr txBox="1"/>
          <p:nvPr/>
        </p:nvSpPr>
        <p:spPr>
          <a:xfrm>
            <a:off x="4600466" y="3429000"/>
            <a:ext cx="756617" cy="523220"/>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numCol="1" anchor="t">
            <a:spAutoFit/>
          </a:bodyPr>
          <a:lstStyle/>
          <a:p>
            <a:pPr marL="0" marR="0" lvl="0" indent="0" algn="ctr" defTabSz="412750" rtl="0" eaLnBrk="1" fontAlgn="auto" latinLnBrk="0" hangingPunct="0">
              <a:lnSpc>
                <a:spcPct val="100000"/>
              </a:lnSpc>
              <a:spcBef>
                <a:spcPts val="0"/>
              </a:spcBef>
              <a:spcAft>
                <a:spcPts val="0"/>
              </a:spcAft>
              <a:buClrTx/>
              <a:buSzTx/>
              <a:buFontTx/>
              <a:buNone/>
              <a:tabLst/>
              <a:defRPr sz="5000" b="0">
                <a:solidFill>
                  <a:srgbClr val="F6F9FF"/>
                </a:solidFill>
                <a:latin typeface="Poppins Bold"/>
                <a:ea typeface="Poppins Bold"/>
                <a:cs typeface="Poppins Bold"/>
                <a:sym typeface="Poppins Bold"/>
              </a:defRPr>
            </a:pPr>
            <a:r>
              <a:rPr kumimoji="0" lang="en-US" sz="2500" b="0" i="0" u="none" strike="noStrike" kern="0" cap="none" spc="0" normalizeH="0" baseline="0" noProof="0" dirty="0">
                <a:ln>
                  <a:noFill/>
                </a:ln>
                <a:solidFill>
                  <a:srgbClr val="F6F9FF"/>
                </a:solidFill>
                <a:effectLst/>
                <a:uLnTx/>
                <a:uFillTx/>
                <a:latin typeface="HarmonyOS Sans SC Black"/>
                <a:ea typeface="+mj-ea"/>
                <a:cs typeface="Poppins Bold"/>
                <a:sym typeface="Poppins Bold"/>
              </a:rPr>
              <a:t>05</a:t>
            </a:r>
          </a:p>
          <a:p>
            <a:pPr marL="0" marR="0" lvl="0" indent="0" algn="ctr" defTabSz="412750" rtl="0" eaLnBrk="1" fontAlgn="auto" latinLnBrk="0" hangingPunct="0">
              <a:lnSpc>
                <a:spcPct val="100000"/>
              </a:lnSpc>
              <a:spcBef>
                <a:spcPts val="0"/>
              </a:spcBef>
              <a:spcAft>
                <a:spcPts val="0"/>
              </a:spcAft>
              <a:buClrTx/>
              <a:buSzTx/>
              <a:buFontTx/>
              <a:buNone/>
              <a:tabLst/>
              <a:defRPr sz="1800" b="0">
                <a:solidFill>
                  <a:srgbClr val="F6F9FF"/>
                </a:solidFill>
                <a:latin typeface="Poppins Light"/>
                <a:ea typeface="Poppins Light"/>
                <a:cs typeface="Poppins Light"/>
                <a:sym typeface="Poppins Light"/>
              </a:defRPr>
            </a:pPr>
            <a:r>
              <a:rPr kumimoji="0" lang="en-US" sz="900" b="0" i="0" u="none" strike="noStrike" kern="0" cap="none" spc="0" normalizeH="0" baseline="0" noProof="0" dirty="0">
                <a:ln>
                  <a:noFill/>
                </a:ln>
                <a:solidFill>
                  <a:srgbClr val="F6F9FF"/>
                </a:solidFill>
                <a:effectLst/>
                <a:uLnTx/>
                <a:uFillTx/>
                <a:latin typeface="HarmonyOS Sans SC"/>
                <a:cs typeface="Poppins Light"/>
                <a:sym typeface="Poppins Light"/>
              </a:rPr>
              <a:t>Creativity Plan</a:t>
            </a:r>
          </a:p>
        </p:txBody>
      </p:sp>
      <p:sp>
        <p:nvSpPr>
          <p:cNvPr id="12" name="Freeform 19">
            <a:extLst>
              <a:ext uri="{FF2B5EF4-FFF2-40B4-BE49-F238E27FC236}">
                <a16:creationId xmlns:a16="http://schemas.microsoft.com/office/drawing/2014/main" id="{5A3F639A-16DE-4D3A-9694-547C5F65BA11}"/>
              </a:ext>
            </a:extLst>
          </p:cNvPr>
          <p:cNvSpPr/>
          <p:nvPr/>
        </p:nvSpPr>
        <p:spPr>
          <a:xfrm>
            <a:off x="6576701" y="2444945"/>
            <a:ext cx="1232142" cy="2048415"/>
          </a:xfrm>
          <a:custGeom>
            <a:avLst/>
            <a:gdLst/>
            <a:ahLst/>
            <a:cxnLst>
              <a:cxn ang="0">
                <a:pos x="wd2" y="hd2"/>
              </a:cxn>
              <a:cxn ang="5400000">
                <a:pos x="wd2" y="hd2"/>
              </a:cxn>
              <a:cxn ang="10800000">
                <a:pos x="wd2" y="hd2"/>
              </a:cxn>
              <a:cxn ang="16200000">
                <a:pos x="wd2" y="hd2"/>
              </a:cxn>
            </a:cxnLst>
            <a:rect l="0" t="0" r="r" b="b"/>
            <a:pathLst>
              <a:path w="21600" h="21366" extrusionOk="0">
                <a:moveTo>
                  <a:pt x="17350" y="19395"/>
                </a:moveTo>
                <a:cubicBezTo>
                  <a:pt x="20100" y="16654"/>
                  <a:pt x="21600" y="13466"/>
                  <a:pt x="21600" y="10249"/>
                </a:cubicBezTo>
                <a:cubicBezTo>
                  <a:pt x="21600" y="6554"/>
                  <a:pt x="19650" y="2979"/>
                  <a:pt x="16150" y="0"/>
                </a:cubicBezTo>
                <a:cubicBezTo>
                  <a:pt x="16400" y="685"/>
                  <a:pt x="16500" y="1519"/>
                  <a:pt x="16250" y="2532"/>
                </a:cubicBezTo>
                <a:cubicBezTo>
                  <a:pt x="15600" y="4856"/>
                  <a:pt x="12700" y="6376"/>
                  <a:pt x="12600" y="6435"/>
                </a:cubicBezTo>
                <a:cubicBezTo>
                  <a:pt x="0" y="11887"/>
                  <a:pt x="0" y="11887"/>
                  <a:pt x="0" y="11887"/>
                </a:cubicBezTo>
                <a:cubicBezTo>
                  <a:pt x="4750" y="20557"/>
                  <a:pt x="4750" y="20557"/>
                  <a:pt x="4750" y="20557"/>
                </a:cubicBezTo>
                <a:cubicBezTo>
                  <a:pt x="5400" y="20766"/>
                  <a:pt x="8250" y="21600"/>
                  <a:pt x="11400" y="21302"/>
                </a:cubicBezTo>
                <a:cubicBezTo>
                  <a:pt x="15250" y="20945"/>
                  <a:pt x="17100" y="19604"/>
                  <a:pt x="17350" y="19395"/>
                </a:cubicBezTo>
                <a:close/>
              </a:path>
            </a:pathLst>
          </a:custGeom>
          <a:gradFill flip="none" rotWithShape="1">
            <a:gsLst>
              <a:gs pos="73000">
                <a:schemeClr val="accent1"/>
              </a:gs>
              <a:gs pos="31000">
                <a:schemeClr val="accent1">
                  <a:lumMod val="60000"/>
                  <a:lumOff val="40000"/>
                </a:schemeClr>
              </a:gs>
              <a:gs pos="0">
                <a:schemeClr val="accent1">
                  <a:lumMod val="40000"/>
                  <a:lumOff val="60000"/>
                </a:schemeClr>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white"/>
              </a:solidFill>
              <a:effectLst/>
              <a:uLnTx/>
              <a:uFillTx/>
              <a:latin typeface="HarmonyOS Sans SC"/>
              <a:cs typeface="+mn-cs"/>
              <a:sym typeface="Poppins Regular"/>
            </a:endParaRPr>
          </a:p>
        </p:txBody>
      </p:sp>
      <p:sp>
        <p:nvSpPr>
          <p:cNvPr id="13" name="03…">
            <a:extLst>
              <a:ext uri="{FF2B5EF4-FFF2-40B4-BE49-F238E27FC236}">
                <a16:creationId xmlns:a16="http://schemas.microsoft.com/office/drawing/2014/main" id="{79BE0BBA-AFD6-47D8-BA9C-BA2E1DBE4C96}"/>
              </a:ext>
            </a:extLst>
          </p:cNvPr>
          <p:cNvSpPr txBox="1"/>
          <p:nvPr/>
        </p:nvSpPr>
        <p:spPr>
          <a:xfrm>
            <a:off x="6841372" y="3429000"/>
            <a:ext cx="756617" cy="523220"/>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numCol="1" anchor="t">
            <a:spAutoFit/>
          </a:bodyPr>
          <a:lstStyle/>
          <a:p>
            <a:pPr marL="0" marR="0" lvl="0" indent="0" algn="ctr" defTabSz="412750" rtl="0" eaLnBrk="1" fontAlgn="auto" latinLnBrk="0" hangingPunct="0">
              <a:lnSpc>
                <a:spcPct val="100000"/>
              </a:lnSpc>
              <a:spcBef>
                <a:spcPts val="0"/>
              </a:spcBef>
              <a:spcAft>
                <a:spcPts val="0"/>
              </a:spcAft>
              <a:buClrTx/>
              <a:buSzTx/>
              <a:buFontTx/>
              <a:buNone/>
              <a:tabLst/>
              <a:defRPr sz="5000" b="0">
                <a:solidFill>
                  <a:srgbClr val="F6F9FF"/>
                </a:solidFill>
                <a:latin typeface="Poppins Bold"/>
                <a:ea typeface="Poppins Bold"/>
                <a:cs typeface="Poppins Bold"/>
                <a:sym typeface="Poppins Bold"/>
              </a:defRPr>
            </a:pPr>
            <a:r>
              <a:rPr kumimoji="0" sz="2500" b="0" i="0" u="none" strike="noStrike" kern="0" cap="none" spc="0" normalizeH="0" baseline="0" noProof="0" dirty="0">
                <a:ln>
                  <a:noFill/>
                </a:ln>
                <a:solidFill>
                  <a:srgbClr val="F6F9FF"/>
                </a:solidFill>
                <a:effectLst/>
                <a:uLnTx/>
                <a:uFillTx/>
                <a:latin typeface="HarmonyOS Sans SC Black"/>
                <a:ea typeface="+mj-ea"/>
                <a:cs typeface="Poppins Bold"/>
                <a:sym typeface="Poppins Bold"/>
              </a:rPr>
              <a:t>03</a:t>
            </a:r>
          </a:p>
          <a:p>
            <a:pPr marL="0" marR="0" lvl="0" indent="0" algn="ctr" defTabSz="412750" rtl="0" eaLnBrk="1" fontAlgn="auto" latinLnBrk="0" hangingPunct="0">
              <a:lnSpc>
                <a:spcPct val="100000"/>
              </a:lnSpc>
              <a:spcBef>
                <a:spcPts val="0"/>
              </a:spcBef>
              <a:spcAft>
                <a:spcPts val="0"/>
              </a:spcAft>
              <a:buClrTx/>
              <a:buSzTx/>
              <a:buFontTx/>
              <a:buNone/>
              <a:tabLst/>
              <a:defRPr sz="1800" b="0">
                <a:solidFill>
                  <a:srgbClr val="F6F9FF"/>
                </a:solidFill>
                <a:latin typeface="Poppins Light"/>
                <a:ea typeface="Poppins Light"/>
                <a:cs typeface="Poppins Light"/>
                <a:sym typeface="Poppins Light"/>
              </a:defRPr>
            </a:pPr>
            <a:r>
              <a:rPr kumimoji="0" sz="900" b="0" i="0" u="none" strike="noStrike" kern="0" cap="none" spc="0" normalizeH="0" baseline="0" noProof="0" dirty="0">
                <a:ln>
                  <a:noFill/>
                </a:ln>
                <a:solidFill>
                  <a:srgbClr val="F6F9FF"/>
                </a:solidFill>
                <a:effectLst/>
                <a:uLnTx/>
                <a:uFillTx/>
                <a:latin typeface="HarmonyOS Sans SC"/>
                <a:cs typeface="Poppins Light"/>
                <a:sym typeface="Poppins Light"/>
              </a:rPr>
              <a:t>Creativity Plan</a:t>
            </a:r>
          </a:p>
        </p:txBody>
      </p:sp>
      <p:sp>
        <p:nvSpPr>
          <p:cNvPr id="15" name="Freeform 18">
            <a:extLst>
              <a:ext uri="{FF2B5EF4-FFF2-40B4-BE49-F238E27FC236}">
                <a16:creationId xmlns:a16="http://schemas.microsoft.com/office/drawing/2014/main" id="{59F56DFF-5F86-472E-A446-AD68B560C5E0}"/>
              </a:ext>
            </a:extLst>
          </p:cNvPr>
          <p:cNvSpPr/>
          <p:nvPr/>
        </p:nvSpPr>
        <p:spPr>
          <a:xfrm>
            <a:off x="5378742" y="3935670"/>
            <a:ext cx="2082008" cy="1207832"/>
          </a:xfrm>
          <a:custGeom>
            <a:avLst/>
            <a:gdLst/>
            <a:ahLst/>
            <a:cxnLst>
              <a:cxn ang="0">
                <a:pos x="wd2" y="hd2"/>
              </a:cxn>
              <a:cxn ang="5400000">
                <a:pos x="wd2" y="hd2"/>
              </a:cxn>
              <a:cxn ang="10800000">
                <a:pos x="wd2" y="hd2"/>
              </a:cxn>
              <a:cxn ang="16200000">
                <a:pos x="wd2" y="hd2"/>
              </a:cxn>
            </a:cxnLst>
            <a:rect l="0" t="0" r="r" b="b"/>
            <a:pathLst>
              <a:path w="21363" h="21600" extrusionOk="0">
                <a:moveTo>
                  <a:pt x="19051" y="10826"/>
                </a:moveTo>
                <a:cubicBezTo>
                  <a:pt x="16739" y="11438"/>
                  <a:pt x="14778" y="9396"/>
                  <a:pt x="14690" y="9345"/>
                </a:cubicBezTo>
                <a:cubicBezTo>
                  <a:pt x="7343" y="0"/>
                  <a:pt x="7343" y="0"/>
                  <a:pt x="7343" y="0"/>
                </a:cubicBezTo>
                <a:cubicBezTo>
                  <a:pt x="85" y="9191"/>
                  <a:pt x="85" y="9191"/>
                  <a:pt x="85" y="9191"/>
                </a:cubicBezTo>
                <a:cubicBezTo>
                  <a:pt x="26" y="9957"/>
                  <a:pt x="-237" y="13123"/>
                  <a:pt x="612" y="16034"/>
                </a:cubicBezTo>
                <a:cubicBezTo>
                  <a:pt x="1665" y="19711"/>
                  <a:pt x="3304" y="20732"/>
                  <a:pt x="3480" y="20834"/>
                </a:cubicBezTo>
                <a:cubicBezTo>
                  <a:pt x="4739" y="21345"/>
                  <a:pt x="6026" y="21600"/>
                  <a:pt x="7343" y="21600"/>
                </a:cubicBezTo>
                <a:cubicBezTo>
                  <a:pt x="12846" y="21600"/>
                  <a:pt x="18085" y="17004"/>
                  <a:pt x="21363" y="9396"/>
                </a:cubicBezTo>
                <a:cubicBezTo>
                  <a:pt x="20778" y="10009"/>
                  <a:pt x="20017" y="10570"/>
                  <a:pt x="19051" y="10826"/>
                </a:cubicBezTo>
                <a:close/>
              </a:path>
            </a:pathLst>
          </a:custGeom>
          <a:gradFill flip="none" rotWithShape="1">
            <a:gsLst>
              <a:gs pos="73000">
                <a:schemeClr val="accent1"/>
              </a:gs>
              <a:gs pos="31000">
                <a:schemeClr val="accent1">
                  <a:lumMod val="60000"/>
                  <a:lumOff val="40000"/>
                </a:schemeClr>
              </a:gs>
              <a:gs pos="0">
                <a:schemeClr val="accent1">
                  <a:lumMod val="40000"/>
                  <a:lumOff val="60000"/>
                </a:schemeClr>
              </a:gs>
            </a:gsLst>
            <a:lin ang="54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white"/>
              </a:solidFill>
              <a:effectLst/>
              <a:uLnTx/>
              <a:uFillTx/>
              <a:latin typeface="HarmonyOS Sans SC"/>
              <a:cs typeface="+mn-cs"/>
              <a:sym typeface="Poppins Regular"/>
            </a:endParaRPr>
          </a:p>
        </p:txBody>
      </p:sp>
      <p:sp>
        <p:nvSpPr>
          <p:cNvPr id="16" name="04…">
            <a:extLst>
              <a:ext uri="{FF2B5EF4-FFF2-40B4-BE49-F238E27FC236}">
                <a16:creationId xmlns:a16="http://schemas.microsoft.com/office/drawing/2014/main" id="{75AA505E-C2AF-41F7-AED3-F6D8F4EDE951}"/>
              </a:ext>
            </a:extLst>
          </p:cNvPr>
          <p:cNvSpPr txBox="1"/>
          <p:nvPr/>
        </p:nvSpPr>
        <p:spPr>
          <a:xfrm>
            <a:off x="5717691" y="4257010"/>
            <a:ext cx="756617" cy="523220"/>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numCol="1" anchor="t">
            <a:spAutoFit/>
          </a:bodyPr>
          <a:lstStyle/>
          <a:p>
            <a:pPr marL="0" marR="0" lvl="0" indent="0" algn="ctr" defTabSz="412750" rtl="0" eaLnBrk="1" fontAlgn="auto" latinLnBrk="0" hangingPunct="0">
              <a:lnSpc>
                <a:spcPct val="100000"/>
              </a:lnSpc>
              <a:spcBef>
                <a:spcPts val="0"/>
              </a:spcBef>
              <a:spcAft>
                <a:spcPts val="0"/>
              </a:spcAft>
              <a:buClrTx/>
              <a:buSzTx/>
              <a:buFontTx/>
              <a:buNone/>
              <a:tabLst/>
              <a:defRPr sz="5000" b="0">
                <a:solidFill>
                  <a:srgbClr val="F6F9FF"/>
                </a:solidFill>
                <a:latin typeface="Poppins Bold"/>
                <a:ea typeface="Poppins Bold"/>
                <a:cs typeface="Poppins Bold"/>
                <a:sym typeface="Poppins Bold"/>
              </a:defRPr>
            </a:pPr>
            <a:r>
              <a:rPr kumimoji="0" lang="en-US" sz="2500" b="0" i="0" u="none" strike="noStrike" kern="0" cap="none" spc="0" normalizeH="0" baseline="0" noProof="0" dirty="0">
                <a:ln>
                  <a:noFill/>
                </a:ln>
                <a:solidFill>
                  <a:srgbClr val="F6F9FF"/>
                </a:solidFill>
                <a:effectLst/>
                <a:uLnTx/>
                <a:uFillTx/>
                <a:latin typeface="HarmonyOS Sans SC Black"/>
                <a:ea typeface="+mj-ea"/>
                <a:cs typeface="Poppins Bold"/>
                <a:sym typeface="Poppins Bold"/>
              </a:rPr>
              <a:t>04</a:t>
            </a:r>
          </a:p>
          <a:p>
            <a:pPr marL="0" marR="0" lvl="0" indent="0" algn="ctr" defTabSz="412750" rtl="0" eaLnBrk="1" fontAlgn="auto" latinLnBrk="0" hangingPunct="0">
              <a:lnSpc>
                <a:spcPct val="100000"/>
              </a:lnSpc>
              <a:spcBef>
                <a:spcPts val="0"/>
              </a:spcBef>
              <a:spcAft>
                <a:spcPts val="0"/>
              </a:spcAft>
              <a:buClrTx/>
              <a:buSzTx/>
              <a:buFontTx/>
              <a:buNone/>
              <a:tabLst/>
              <a:defRPr sz="1800" b="0">
                <a:solidFill>
                  <a:srgbClr val="F6F9FF"/>
                </a:solidFill>
                <a:latin typeface="Poppins Light"/>
                <a:ea typeface="Poppins Light"/>
                <a:cs typeface="Poppins Light"/>
                <a:sym typeface="Poppins Light"/>
              </a:defRPr>
            </a:pPr>
            <a:r>
              <a:rPr kumimoji="0" lang="en-US" sz="900" b="0" i="0" u="none" strike="noStrike" kern="0" cap="none" spc="0" normalizeH="0" baseline="0" noProof="0" dirty="0">
                <a:ln>
                  <a:noFill/>
                </a:ln>
                <a:solidFill>
                  <a:srgbClr val="F6F9FF"/>
                </a:solidFill>
                <a:effectLst/>
                <a:uLnTx/>
                <a:uFillTx/>
                <a:latin typeface="HarmonyOS Sans SC"/>
                <a:cs typeface="Poppins Light"/>
                <a:sym typeface="Poppins Light"/>
              </a:rPr>
              <a:t>Creativity Plan</a:t>
            </a:r>
          </a:p>
        </p:txBody>
      </p:sp>
      <p:grpSp>
        <p:nvGrpSpPr>
          <p:cNvPr id="33" name="组合 32">
            <a:extLst>
              <a:ext uri="{FF2B5EF4-FFF2-40B4-BE49-F238E27FC236}">
                <a16:creationId xmlns:a16="http://schemas.microsoft.com/office/drawing/2014/main" id="{932A2B62-1877-4055-A1C6-7ED1DA74EBAA}"/>
              </a:ext>
            </a:extLst>
          </p:cNvPr>
          <p:cNvGrpSpPr/>
          <p:nvPr/>
        </p:nvGrpSpPr>
        <p:grpSpPr>
          <a:xfrm>
            <a:off x="425268" y="2176641"/>
            <a:ext cx="3132138" cy="742098"/>
            <a:chOff x="425268" y="2176641"/>
            <a:chExt cx="3132138" cy="742098"/>
          </a:xfrm>
        </p:grpSpPr>
        <p:sp>
          <p:nvSpPr>
            <p:cNvPr id="22" name="TextBox 48">
              <a:extLst>
                <a:ext uri="{FF2B5EF4-FFF2-40B4-BE49-F238E27FC236}">
                  <a16:creationId xmlns:a16="http://schemas.microsoft.com/office/drawing/2014/main" id="{6C8A2700-C7A0-4E1B-92B3-8AA041C612EF}"/>
                </a:ext>
              </a:extLst>
            </p:cNvPr>
            <p:cNvSpPr txBox="1"/>
            <p:nvPr/>
          </p:nvSpPr>
          <p:spPr>
            <a:xfrm>
              <a:off x="1404756" y="2176641"/>
              <a:ext cx="2152650" cy="326628"/>
            </a:xfrm>
            <a:prstGeom prst="rect">
              <a:avLst/>
            </a:prstGeom>
            <a:noFill/>
          </p:spPr>
          <p:txBody>
            <a:bodyPr wrap="square" lIns="0" tIns="0" rIns="0" bIns="0" rtlCol="0">
              <a:spAutoFit/>
            </a:bodyPr>
            <a:lstStyle/>
            <a:p>
              <a:pPr marL="0" marR="0" lvl="0" indent="0" algn="r" defTabSz="457200" rtl="0" eaLnBrk="1" fontAlgn="base" latinLnBrk="0" hangingPunct="1">
                <a:lnSpc>
                  <a:spcPct val="130000"/>
                </a:lnSpc>
                <a:spcBef>
                  <a:spcPts val="1000"/>
                </a:spcBef>
                <a:spcAft>
                  <a:spcPts val="0"/>
                </a:spcAft>
                <a:buClrTx/>
                <a:buSzTx/>
                <a:buFontTx/>
                <a:buNone/>
                <a:tabLst/>
                <a:defRPr/>
              </a:pPr>
              <a:r>
                <a:rPr kumimoji="0" lang="en-US" sz="1800" b="1" i="0" u="none" strike="noStrike" kern="1200" cap="none" spc="0" normalizeH="0" baseline="0" noProof="0" dirty="0">
                  <a:ln>
                    <a:noFill/>
                  </a:ln>
                  <a:solidFill>
                    <a:schemeClr val="accent1"/>
                  </a:solidFill>
                  <a:effectLst/>
                  <a:uLnTx/>
                  <a:uFillTx/>
                  <a:latin typeface="HarmonyOS Sans SC"/>
                  <a:cs typeface="+mn-cs"/>
                </a:rPr>
                <a:t>Full Customize</a:t>
              </a:r>
            </a:p>
          </p:txBody>
        </p:sp>
        <p:sp>
          <p:nvSpPr>
            <p:cNvPr id="23" name="TextBox 48">
              <a:extLst>
                <a:ext uri="{FF2B5EF4-FFF2-40B4-BE49-F238E27FC236}">
                  <a16:creationId xmlns:a16="http://schemas.microsoft.com/office/drawing/2014/main" id="{A775C034-EB7D-418E-AC35-7BFA2A6E40EC}"/>
                </a:ext>
              </a:extLst>
            </p:cNvPr>
            <p:cNvSpPr txBox="1"/>
            <p:nvPr/>
          </p:nvSpPr>
          <p:spPr>
            <a:xfrm>
              <a:off x="425268" y="2537224"/>
              <a:ext cx="3132138" cy="381515"/>
            </a:xfrm>
            <a:prstGeom prst="rect">
              <a:avLst/>
            </a:prstGeom>
            <a:noFill/>
          </p:spPr>
          <p:txBody>
            <a:bodyPr wrap="square" lIns="0" tIns="0" rIns="0" bIns="0" rtlCol="0">
              <a:spAutoFit/>
            </a:bodyPr>
            <a:lstStyle/>
            <a:p>
              <a:pPr marL="0" marR="0" lvl="0" indent="0" algn="r" defTabSz="457200" rtl="0" eaLnBrk="1" fontAlgn="base" latinLnBrk="0" hangingPunct="1">
                <a:lnSpc>
                  <a:spcPct val="130000"/>
                </a:lnSpc>
                <a:spcBef>
                  <a:spcPts val="100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HarmonyOS Sans SC"/>
                  <a:cs typeface="+mn-cs"/>
                </a:rPr>
                <a:t>Uniquely incubate timely infomediaries B2C infomediaries.</a:t>
              </a:r>
            </a:p>
          </p:txBody>
        </p:sp>
      </p:grpSp>
      <p:sp>
        <p:nvSpPr>
          <p:cNvPr id="24" name="TextBox 45">
            <a:extLst>
              <a:ext uri="{FF2B5EF4-FFF2-40B4-BE49-F238E27FC236}">
                <a16:creationId xmlns:a16="http://schemas.microsoft.com/office/drawing/2014/main" id="{B1449A1D-3C11-49E5-B5AA-75537020FA8D}"/>
              </a:ext>
            </a:extLst>
          </p:cNvPr>
          <p:cNvSpPr txBox="1"/>
          <p:nvPr/>
        </p:nvSpPr>
        <p:spPr>
          <a:xfrm>
            <a:off x="1404756" y="3933196"/>
            <a:ext cx="2152650" cy="326628"/>
          </a:xfrm>
          <a:prstGeom prst="rect">
            <a:avLst/>
          </a:prstGeom>
          <a:noFill/>
        </p:spPr>
        <p:txBody>
          <a:bodyPr wrap="square" lIns="0" tIns="0" rIns="0" bIns="0" rtlCol="0">
            <a:spAutoFit/>
          </a:bodyPr>
          <a:lstStyle/>
          <a:p>
            <a:pPr marL="0" marR="0" lvl="0" indent="0" algn="r" defTabSz="457200" rtl="0" eaLnBrk="1" fontAlgn="base" latinLnBrk="0" hangingPunct="1">
              <a:lnSpc>
                <a:spcPct val="130000"/>
              </a:lnSpc>
              <a:spcBef>
                <a:spcPts val="1000"/>
              </a:spcBef>
              <a:spcAft>
                <a:spcPts val="0"/>
              </a:spcAft>
              <a:buClrTx/>
              <a:buSzTx/>
              <a:buFontTx/>
              <a:buNone/>
              <a:tabLst/>
              <a:defRPr/>
            </a:pPr>
            <a:r>
              <a:rPr kumimoji="0" lang="en-US" sz="1800" b="1" i="0" u="none" strike="noStrike" kern="1200" cap="none" spc="0" normalizeH="0" baseline="0" noProof="0" dirty="0">
                <a:ln>
                  <a:noFill/>
                </a:ln>
                <a:solidFill>
                  <a:schemeClr val="accent1"/>
                </a:solidFill>
                <a:effectLst/>
                <a:uLnTx/>
                <a:uFillTx/>
                <a:latin typeface="HarmonyOS Sans SC"/>
                <a:cs typeface="+mn-cs"/>
              </a:rPr>
              <a:t>Full Customize</a:t>
            </a:r>
          </a:p>
        </p:txBody>
      </p:sp>
      <p:sp>
        <p:nvSpPr>
          <p:cNvPr id="25" name="TextBox 45">
            <a:extLst>
              <a:ext uri="{FF2B5EF4-FFF2-40B4-BE49-F238E27FC236}">
                <a16:creationId xmlns:a16="http://schemas.microsoft.com/office/drawing/2014/main" id="{6D3026C2-8005-4F46-88D1-99DA41811153}"/>
              </a:ext>
            </a:extLst>
          </p:cNvPr>
          <p:cNvSpPr txBox="1"/>
          <p:nvPr/>
        </p:nvSpPr>
        <p:spPr>
          <a:xfrm>
            <a:off x="425268" y="4293779"/>
            <a:ext cx="3132138" cy="381515"/>
          </a:xfrm>
          <a:prstGeom prst="rect">
            <a:avLst/>
          </a:prstGeom>
          <a:noFill/>
        </p:spPr>
        <p:txBody>
          <a:bodyPr wrap="square" lIns="0" tIns="0" rIns="0" bIns="0" rtlCol="0">
            <a:spAutoFit/>
          </a:bodyPr>
          <a:lstStyle/>
          <a:p>
            <a:pPr marL="0" marR="0" lvl="0" indent="0" algn="r" defTabSz="457200" rtl="0" eaLnBrk="1" fontAlgn="base" latinLnBrk="0" hangingPunct="1">
              <a:lnSpc>
                <a:spcPct val="130000"/>
              </a:lnSpc>
              <a:spcBef>
                <a:spcPts val="100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HarmonyOS Sans SC"/>
                <a:cs typeface="+mn-cs"/>
              </a:rPr>
              <a:t>Uniquely incubate timely infomediaries B2C infomediaries.</a:t>
            </a:r>
          </a:p>
        </p:txBody>
      </p:sp>
      <p:sp>
        <p:nvSpPr>
          <p:cNvPr id="26" name="TextBox 44">
            <a:extLst>
              <a:ext uri="{FF2B5EF4-FFF2-40B4-BE49-F238E27FC236}">
                <a16:creationId xmlns:a16="http://schemas.microsoft.com/office/drawing/2014/main" id="{BE763D9E-E93E-4259-AFDA-2805795838F7}"/>
              </a:ext>
            </a:extLst>
          </p:cNvPr>
          <p:cNvSpPr txBox="1"/>
          <p:nvPr/>
        </p:nvSpPr>
        <p:spPr>
          <a:xfrm>
            <a:off x="8596800" y="3933196"/>
            <a:ext cx="2295525" cy="326628"/>
          </a:xfrm>
          <a:prstGeom prst="rect">
            <a:avLst/>
          </a:prstGeom>
          <a:noFill/>
        </p:spPr>
        <p:txBody>
          <a:bodyPr wrap="square" lIns="0" tIns="0" rIns="0" bIns="0" rtlCol="0">
            <a:spAutoFit/>
          </a:bodyPr>
          <a:lstStyle/>
          <a:p>
            <a:pPr marL="0" marR="0" lvl="0" indent="0" algn="l" defTabSz="457200" rtl="0" eaLnBrk="1" fontAlgn="base" latinLnBrk="0" hangingPunct="1">
              <a:lnSpc>
                <a:spcPct val="130000"/>
              </a:lnSpc>
              <a:spcBef>
                <a:spcPts val="1000"/>
              </a:spcBef>
              <a:spcAft>
                <a:spcPts val="0"/>
              </a:spcAft>
              <a:buClrTx/>
              <a:buSzTx/>
              <a:buFontTx/>
              <a:buNone/>
              <a:tabLst/>
              <a:defRPr/>
            </a:pPr>
            <a:r>
              <a:rPr kumimoji="0" lang="en-US" sz="1800" b="1" i="0" u="none" strike="noStrike" kern="1200" cap="none" spc="0" normalizeH="0" baseline="0" noProof="0" dirty="0">
                <a:ln>
                  <a:noFill/>
                </a:ln>
                <a:solidFill>
                  <a:schemeClr val="accent1"/>
                </a:solidFill>
                <a:effectLst/>
                <a:uLnTx/>
                <a:uFillTx/>
                <a:latin typeface="HarmonyOS Sans SC"/>
                <a:cs typeface="+mn-cs"/>
              </a:rPr>
              <a:t>Full Customize</a:t>
            </a:r>
          </a:p>
        </p:txBody>
      </p:sp>
      <p:sp>
        <p:nvSpPr>
          <p:cNvPr id="27" name="TextBox 44">
            <a:extLst>
              <a:ext uri="{FF2B5EF4-FFF2-40B4-BE49-F238E27FC236}">
                <a16:creationId xmlns:a16="http://schemas.microsoft.com/office/drawing/2014/main" id="{2DE548E2-D9AA-489B-A972-B1745DCA6418}"/>
              </a:ext>
            </a:extLst>
          </p:cNvPr>
          <p:cNvSpPr txBox="1"/>
          <p:nvPr/>
        </p:nvSpPr>
        <p:spPr>
          <a:xfrm>
            <a:off x="8596800" y="4293779"/>
            <a:ext cx="2898647" cy="381515"/>
          </a:xfrm>
          <a:prstGeom prst="rect">
            <a:avLst/>
          </a:prstGeom>
          <a:noFill/>
        </p:spPr>
        <p:txBody>
          <a:bodyPr wrap="square" lIns="0" tIns="0" rIns="0" bIns="0" rtlCol="0">
            <a:spAutoFit/>
          </a:bodyPr>
          <a:lstStyle/>
          <a:p>
            <a:pPr marL="0" marR="0" lvl="0" indent="0" algn="l" defTabSz="457200" rtl="0" eaLnBrk="1" fontAlgn="base" latinLnBrk="0" hangingPunct="1">
              <a:lnSpc>
                <a:spcPct val="130000"/>
              </a:lnSpc>
              <a:spcBef>
                <a:spcPts val="100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HarmonyOS Sans SC"/>
                <a:cs typeface="+mn-cs"/>
              </a:rPr>
              <a:t>Uniquely incubate timely infomediaries B2C infomediaries.</a:t>
            </a:r>
          </a:p>
        </p:txBody>
      </p:sp>
      <p:sp>
        <p:nvSpPr>
          <p:cNvPr id="28" name="TextBox 46">
            <a:extLst>
              <a:ext uri="{FF2B5EF4-FFF2-40B4-BE49-F238E27FC236}">
                <a16:creationId xmlns:a16="http://schemas.microsoft.com/office/drawing/2014/main" id="{B25D3E1A-2E17-43CF-996A-3B8768E2C716}"/>
              </a:ext>
            </a:extLst>
          </p:cNvPr>
          <p:cNvSpPr txBox="1"/>
          <p:nvPr/>
        </p:nvSpPr>
        <p:spPr>
          <a:xfrm>
            <a:off x="8596800" y="2177255"/>
            <a:ext cx="2295525" cy="326628"/>
          </a:xfrm>
          <a:prstGeom prst="rect">
            <a:avLst/>
          </a:prstGeom>
          <a:noFill/>
        </p:spPr>
        <p:txBody>
          <a:bodyPr wrap="square" lIns="0" tIns="0" rIns="0" bIns="0" rtlCol="0">
            <a:spAutoFit/>
          </a:bodyPr>
          <a:lstStyle/>
          <a:p>
            <a:pPr marL="0" marR="0" lvl="0" indent="0" algn="l" defTabSz="457200" rtl="0" eaLnBrk="1" fontAlgn="base" latinLnBrk="0" hangingPunct="1">
              <a:lnSpc>
                <a:spcPct val="130000"/>
              </a:lnSpc>
              <a:spcBef>
                <a:spcPts val="1000"/>
              </a:spcBef>
              <a:spcAft>
                <a:spcPts val="0"/>
              </a:spcAft>
              <a:buClrTx/>
              <a:buSzTx/>
              <a:buFontTx/>
              <a:buNone/>
              <a:tabLst/>
              <a:defRPr/>
            </a:pPr>
            <a:r>
              <a:rPr kumimoji="0" lang="en-US" sz="1800" b="1" i="0" u="none" strike="noStrike" kern="1200" cap="none" spc="0" normalizeH="0" baseline="0" noProof="0" dirty="0">
                <a:ln>
                  <a:noFill/>
                </a:ln>
                <a:solidFill>
                  <a:schemeClr val="accent1"/>
                </a:solidFill>
                <a:effectLst/>
                <a:uLnTx/>
                <a:uFillTx/>
                <a:latin typeface="HarmonyOS Sans SC"/>
                <a:cs typeface="+mn-cs"/>
              </a:rPr>
              <a:t>Full Customize</a:t>
            </a:r>
          </a:p>
        </p:txBody>
      </p:sp>
      <p:sp>
        <p:nvSpPr>
          <p:cNvPr id="29" name="TextBox 46">
            <a:extLst>
              <a:ext uri="{FF2B5EF4-FFF2-40B4-BE49-F238E27FC236}">
                <a16:creationId xmlns:a16="http://schemas.microsoft.com/office/drawing/2014/main" id="{8ED39ABA-DB35-4D3C-9155-E9E5D5C86140}"/>
              </a:ext>
            </a:extLst>
          </p:cNvPr>
          <p:cNvSpPr txBox="1"/>
          <p:nvPr/>
        </p:nvSpPr>
        <p:spPr>
          <a:xfrm>
            <a:off x="8596800" y="2537838"/>
            <a:ext cx="2898647" cy="381515"/>
          </a:xfrm>
          <a:prstGeom prst="rect">
            <a:avLst/>
          </a:prstGeom>
          <a:noFill/>
        </p:spPr>
        <p:txBody>
          <a:bodyPr wrap="square" lIns="0" tIns="0" rIns="0" bIns="0" rtlCol="0">
            <a:spAutoFit/>
          </a:bodyPr>
          <a:lstStyle/>
          <a:p>
            <a:pPr marL="0" marR="0" lvl="0" indent="0" algn="l" defTabSz="457200" rtl="0" eaLnBrk="1" fontAlgn="base" latinLnBrk="0" hangingPunct="1">
              <a:lnSpc>
                <a:spcPct val="130000"/>
              </a:lnSpc>
              <a:spcBef>
                <a:spcPts val="100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HarmonyOS Sans SC"/>
                <a:cs typeface="+mn-cs"/>
              </a:rPr>
              <a:t>Uniquely incubate timely infomediaries B2C infomediaries.</a:t>
            </a:r>
          </a:p>
        </p:txBody>
      </p:sp>
      <p:sp>
        <p:nvSpPr>
          <p:cNvPr id="30" name="TextBox 47">
            <a:extLst>
              <a:ext uri="{FF2B5EF4-FFF2-40B4-BE49-F238E27FC236}">
                <a16:creationId xmlns:a16="http://schemas.microsoft.com/office/drawing/2014/main" id="{11D12F72-6C3A-45BA-8F4C-88A3018EE6FB}"/>
              </a:ext>
            </a:extLst>
          </p:cNvPr>
          <p:cNvSpPr txBox="1"/>
          <p:nvPr/>
        </p:nvSpPr>
        <p:spPr>
          <a:xfrm>
            <a:off x="4948238" y="5477415"/>
            <a:ext cx="2295525" cy="326628"/>
          </a:xfrm>
          <a:prstGeom prst="rect">
            <a:avLst/>
          </a:prstGeom>
          <a:noFill/>
        </p:spPr>
        <p:txBody>
          <a:bodyPr wrap="square" lIns="0" tIns="0" rIns="0" bIns="0" rtlCol="0">
            <a:spAutoFit/>
          </a:bodyPr>
          <a:lstStyle/>
          <a:p>
            <a:pPr marL="0" marR="0" lvl="0" indent="0" algn="ctr" defTabSz="457200" rtl="0" eaLnBrk="1" fontAlgn="base" latinLnBrk="0" hangingPunct="1">
              <a:lnSpc>
                <a:spcPct val="130000"/>
              </a:lnSpc>
              <a:spcBef>
                <a:spcPts val="1000"/>
              </a:spcBef>
              <a:spcAft>
                <a:spcPts val="0"/>
              </a:spcAft>
              <a:buClrTx/>
              <a:buSzTx/>
              <a:buFontTx/>
              <a:buNone/>
              <a:tabLst/>
              <a:defRPr/>
            </a:pPr>
            <a:r>
              <a:rPr kumimoji="0" lang="en-US" sz="1800" b="1" i="0" u="none" strike="noStrike" kern="1200" cap="none" spc="0" normalizeH="0" baseline="0" noProof="0" dirty="0">
                <a:ln>
                  <a:noFill/>
                </a:ln>
                <a:solidFill>
                  <a:schemeClr val="accent1"/>
                </a:solidFill>
                <a:effectLst/>
                <a:uLnTx/>
                <a:uFillTx/>
                <a:latin typeface="HarmonyOS Sans SC"/>
                <a:cs typeface="+mn-cs"/>
              </a:rPr>
              <a:t>Full Customize</a:t>
            </a:r>
          </a:p>
        </p:txBody>
      </p:sp>
      <p:sp>
        <p:nvSpPr>
          <p:cNvPr id="31" name="TextBox 47">
            <a:extLst>
              <a:ext uri="{FF2B5EF4-FFF2-40B4-BE49-F238E27FC236}">
                <a16:creationId xmlns:a16="http://schemas.microsoft.com/office/drawing/2014/main" id="{FC37AA90-6BF6-4510-9BEB-3D92B9114735}"/>
              </a:ext>
            </a:extLst>
          </p:cNvPr>
          <p:cNvSpPr txBox="1"/>
          <p:nvPr/>
        </p:nvSpPr>
        <p:spPr>
          <a:xfrm>
            <a:off x="3265715" y="5837998"/>
            <a:ext cx="5660572" cy="181460"/>
          </a:xfrm>
          <a:prstGeom prst="rect">
            <a:avLst/>
          </a:prstGeom>
          <a:noFill/>
        </p:spPr>
        <p:txBody>
          <a:bodyPr wrap="square" lIns="0" tIns="0" rIns="0" bIns="0" rtlCol="0">
            <a:spAutoFit/>
          </a:bodyPr>
          <a:lstStyle/>
          <a:p>
            <a:pPr marL="0" marR="0" lvl="0" indent="0" algn="ctr" defTabSz="457200" rtl="0" eaLnBrk="1" fontAlgn="base" latinLnBrk="0" hangingPunct="1">
              <a:lnSpc>
                <a:spcPct val="130000"/>
              </a:lnSpc>
              <a:spcBef>
                <a:spcPts val="100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HarmonyOS Sans SC"/>
                <a:cs typeface="+mn-cs"/>
              </a:rPr>
              <a:t>Uniquely incubate timely infomediaries B2C infomediaries.</a:t>
            </a:r>
          </a:p>
        </p:txBody>
      </p:sp>
    </p:spTree>
    <p:extLst>
      <p:ext uri="{BB962C8B-B14F-4D97-AF65-F5344CB8AC3E}">
        <p14:creationId xmlns:p14="http://schemas.microsoft.com/office/powerpoint/2010/main" val="2104498082"/>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5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reeform 5">
            <a:extLst>
              <a:ext uri="{FF2B5EF4-FFF2-40B4-BE49-F238E27FC236}">
                <a16:creationId xmlns:a16="http://schemas.microsoft.com/office/drawing/2014/main" id="{4B268926-8D33-4ADC-9B26-89DB99A1F969}"/>
              </a:ext>
            </a:extLst>
          </p:cNvPr>
          <p:cNvSpPr>
            <a:spLocks/>
          </p:cNvSpPr>
          <p:nvPr/>
        </p:nvSpPr>
        <p:spPr bwMode="auto">
          <a:xfrm>
            <a:off x="6130592" y="1985623"/>
            <a:ext cx="1519536" cy="1559736"/>
          </a:xfrm>
          <a:custGeom>
            <a:avLst/>
            <a:gdLst>
              <a:gd name="T0" fmla="*/ 0 w 650"/>
              <a:gd name="T1" fmla="*/ 104 h 668"/>
              <a:gd name="T2" fmla="*/ 7 w 650"/>
              <a:gd name="T3" fmla="*/ 118 h 668"/>
              <a:gd name="T4" fmla="*/ 24 w 650"/>
              <a:gd name="T5" fmla="*/ 112 h 668"/>
              <a:gd name="T6" fmla="*/ 67 w 650"/>
              <a:gd name="T7" fmla="*/ 96 h 668"/>
              <a:gd name="T8" fmla="*/ 134 w 650"/>
              <a:gd name="T9" fmla="*/ 164 h 668"/>
              <a:gd name="T10" fmla="*/ 67 w 650"/>
              <a:gd name="T11" fmla="*/ 232 h 668"/>
              <a:gd name="T12" fmla="*/ 22 w 650"/>
              <a:gd name="T13" fmla="*/ 215 h 668"/>
              <a:gd name="T14" fmla="*/ 7 w 650"/>
              <a:gd name="T15" fmla="*/ 210 h 668"/>
              <a:gd name="T16" fmla="*/ 0 w 650"/>
              <a:gd name="T17" fmla="*/ 224 h 668"/>
              <a:gd name="T18" fmla="*/ 0 w 650"/>
              <a:gd name="T19" fmla="*/ 333 h 668"/>
              <a:gd name="T20" fmla="*/ 334 w 650"/>
              <a:gd name="T21" fmla="*/ 584 h 668"/>
              <a:gd name="T22" fmla="*/ 336 w 650"/>
              <a:gd name="T23" fmla="*/ 588 h 668"/>
              <a:gd name="T24" fmla="*/ 438 w 650"/>
              <a:gd name="T25" fmla="*/ 555 h 668"/>
              <a:gd name="T26" fmla="*/ 439 w 650"/>
              <a:gd name="T27" fmla="*/ 555 h 668"/>
              <a:gd name="T28" fmla="*/ 470 w 650"/>
              <a:gd name="T29" fmla="*/ 562 h 668"/>
              <a:gd name="T30" fmla="*/ 474 w 650"/>
              <a:gd name="T31" fmla="*/ 594 h 668"/>
              <a:gd name="T32" fmla="*/ 473 w 650"/>
              <a:gd name="T33" fmla="*/ 596 h 668"/>
              <a:gd name="T34" fmla="*/ 471 w 650"/>
              <a:gd name="T35" fmla="*/ 632 h 668"/>
              <a:gd name="T36" fmla="*/ 496 w 650"/>
              <a:gd name="T37" fmla="*/ 661 h 668"/>
              <a:gd name="T38" fmla="*/ 536 w 650"/>
              <a:gd name="T39" fmla="*/ 664 h 668"/>
              <a:gd name="T40" fmla="*/ 569 w 650"/>
              <a:gd name="T41" fmla="*/ 600 h 668"/>
              <a:gd name="T42" fmla="*/ 547 w 650"/>
              <a:gd name="T43" fmla="*/ 573 h 668"/>
              <a:gd name="T44" fmla="*/ 545 w 650"/>
              <a:gd name="T45" fmla="*/ 572 h 668"/>
              <a:gd name="T46" fmla="*/ 529 w 650"/>
              <a:gd name="T47" fmla="*/ 543 h 668"/>
              <a:gd name="T48" fmla="*/ 550 w 650"/>
              <a:gd name="T49" fmla="*/ 518 h 668"/>
              <a:gd name="T50" fmla="*/ 551 w 650"/>
              <a:gd name="T51" fmla="*/ 518 h 668"/>
              <a:gd name="T52" fmla="*/ 650 w 650"/>
              <a:gd name="T53" fmla="*/ 486 h 668"/>
              <a:gd name="T54" fmla="*/ 648 w 650"/>
              <a:gd name="T55" fmla="*/ 475 h 668"/>
              <a:gd name="T56" fmla="*/ 648 w 650"/>
              <a:gd name="T57" fmla="*/ 473 h 668"/>
              <a:gd name="T58" fmla="*/ 0 w 650"/>
              <a:gd name="T59" fmla="*/ 0 h 668"/>
              <a:gd name="T60" fmla="*/ 0 w 650"/>
              <a:gd name="T61" fmla="*/ 104 h 6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650" h="668">
                <a:moveTo>
                  <a:pt x="0" y="104"/>
                </a:moveTo>
                <a:cubicBezTo>
                  <a:pt x="0" y="108"/>
                  <a:pt x="3" y="116"/>
                  <a:pt x="7" y="118"/>
                </a:cubicBezTo>
                <a:cubicBezTo>
                  <a:pt x="11" y="119"/>
                  <a:pt x="16" y="117"/>
                  <a:pt x="24" y="112"/>
                </a:cubicBezTo>
                <a:cubicBezTo>
                  <a:pt x="36" y="102"/>
                  <a:pt x="51" y="96"/>
                  <a:pt x="67" y="96"/>
                </a:cubicBezTo>
                <a:cubicBezTo>
                  <a:pt x="104" y="96"/>
                  <a:pt x="134" y="127"/>
                  <a:pt x="134" y="164"/>
                </a:cubicBezTo>
                <a:cubicBezTo>
                  <a:pt x="134" y="202"/>
                  <a:pt x="104" y="232"/>
                  <a:pt x="67" y="232"/>
                </a:cubicBezTo>
                <a:cubicBezTo>
                  <a:pt x="50" y="232"/>
                  <a:pt x="35" y="226"/>
                  <a:pt x="22" y="215"/>
                </a:cubicBezTo>
                <a:cubicBezTo>
                  <a:pt x="16" y="210"/>
                  <a:pt x="10" y="209"/>
                  <a:pt x="7" y="210"/>
                </a:cubicBezTo>
                <a:cubicBezTo>
                  <a:pt x="3" y="212"/>
                  <a:pt x="0" y="220"/>
                  <a:pt x="0" y="224"/>
                </a:cubicBezTo>
                <a:cubicBezTo>
                  <a:pt x="0" y="333"/>
                  <a:pt x="0" y="333"/>
                  <a:pt x="0" y="333"/>
                </a:cubicBezTo>
                <a:cubicBezTo>
                  <a:pt x="155" y="340"/>
                  <a:pt x="286" y="442"/>
                  <a:pt x="334" y="584"/>
                </a:cubicBezTo>
                <a:cubicBezTo>
                  <a:pt x="336" y="588"/>
                  <a:pt x="336" y="588"/>
                  <a:pt x="336" y="588"/>
                </a:cubicBezTo>
                <a:cubicBezTo>
                  <a:pt x="438" y="555"/>
                  <a:pt x="438" y="555"/>
                  <a:pt x="438" y="555"/>
                </a:cubicBezTo>
                <a:cubicBezTo>
                  <a:pt x="438" y="555"/>
                  <a:pt x="438" y="555"/>
                  <a:pt x="439" y="555"/>
                </a:cubicBezTo>
                <a:cubicBezTo>
                  <a:pt x="441" y="554"/>
                  <a:pt x="459" y="551"/>
                  <a:pt x="470" y="562"/>
                </a:cubicBezTo>
                <a:cubicBezTo>
                  <a:pt x="476" y="569"/>
                  <a:pt x="478" y="580"/>
                  <a:pt x="474" y="594"/>
                </a:cubicBezTo>
                <a:cubicBezTo>
                  <a:pt x="474" y="595"/>
                  <a:pt x="474" y="595"/>
                  <a:pt x="473" y="596"/>
                </a:cubicBezTo>
                <a:cubicBezTo>
                  <a:pt x="468" y="607"/>
                  <a:pt x="467" y="620"/>
                  <a:pt x="471" y="632"/>
                </a:cubicBezTo>
                <a:cubicBezTo>
                  <a:pt x="475" y="645"/>
                  <a:pt x="484" y="655"/>
                  <a:pt x="496" y="661"/>
                </a:cubicBezTo>
                <a:cubicBezTo>
                  <a:pt x="508" y="667"/>
                  <a:pt x="522" y="668"/>
                  <a:pt x="536" y="664"/>
                </a:cubicBezTo>
                <a:cubicBezTo>
                  <a:pt x="563" y="655"/>
                  <a:pt x="578" y="626"/>
                  <a:pt x="569" y="600"/>
                </a:cubicBezTo>
                <a:cubicBezTo>
                  <a:pt x="565" y="589"/>
                  <a:pt x="557" y="579"/>
                  <a:pt x="547" y="573"/>
                </a:cubicBezTo>
                <a:cubicBezTo>
                  <a:pt x="546" y="572"/>
                  <a:pt x="546" y="572"/>
                  <a:pt x="545" y="572"/>
                </a:cubicBezTo>
                <a:cubicBezTo>
                  <a:pt x="534" y="562"/>
                  <a:pt x="528" y="553"/>
                  <a:pt x="529" y="543"/>
                </a:cubicBezTo>
                <a:cubicBezTo>
                  <a:pt x="531" y="527"/>
                  <a:pt x="548" y="519"/>
                  <a:pt x="550" y="518"/>
                </a:cubicBezTo>
                <a:cubicBezTo>
                  <a:pt x="550" y="518"/>
                  <a:pt x="551" y="518"/>
                  <a:pt x="551" y="518"/>
                </a:cubicBezTo>
                <a:cubicBezTo>
                  <a:pt x="650" y="486"/>
                  <a:pt x="650" y="486"/>
                  <a:pt x="650" y="486"/>
                </a:cubicBezTo>
                <a:cubicBezTo>
                  <a:pt x="648" y="475"/>
                  <a:pt x="648" y="475"/>
                  <a:pt x="648" y="475"/>
                </a:cubicBezTo>
                <a:cubicBezTo>
                  <a:pt x="648" y="475"/>
                  <a:pt x="648" y="474"/>
                  <a:pt x="648" y="473"/>
                </a:cubicBezTo>
                <a:cubicBezTo>
                  <a:pt x="555" y="202"/>
                  <a:pt x="301" y="6"/>
                  <a:pt x="0" y="0"/>
                </a:cubicBezTo>
                <a:lnTo>
                  <a:pt x="0" y="104"/>
                </a:lnTo>
                <a:close/>
              </a:path>
            </a:pathLst>
          </a:custGeom>
          <a:gradFill flip="none" rotWithShape="1">
            <a:gsLst>
              <a:gs pos="75000">
                <a:schemeClr val="accent1"/>
              </a:gs>
              <a:gs pos="40000">
                <a:schemeClr val="accent1">
                  <a:lumMod val="60000"/>
                  <a:lumOff val="40000"/>
                </a:schemeClr>
              </a:gs>
              <a:gs pos="2000">
                <a:schemeClr val="accent1">
                  <a:lumMod val="20000"/>
                  <a:lumOff val="80000"/>
                </a:schemeClr>
              </a:gs>
              <a:gs pos="25000">
                <a:schemeClr val="accent1">
                  <a:lumMod val="40000"/>
                  <a:lumOff val="60000"/>
                </a:schemeClr>
              </a:gs>
            </a:gsLst>
            <a:lin ang="1620000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sp>
        <p:nvSpPr>
          <p:cNvPr id="5" name="Freeform 6">
            <a:extLst>
              <a:ext uri="{FF2B5EF4-FFF2-40B4-BE49-F238E27FC236}">
                <a16:creationId xmlns:a16="http://schemas.microsoft.com/office/drawing/2014/main" id="{55280D83-90E8-49BD-9460-C6BBC7A9EE53}"/>
              </a:ext>
            </a:extLst>
          </p:cNvPr>
          <p:cNvSpPr>
            <a:spLocks/>
          </p:cNvSpPr>
          <p:nvPr/>
        </p:nvSpPr>
        <p:spPr bwMode="auto">
          <a:xfrm>
            <a:off x="4452938" y="2916909"/>
            <a:ext cx="1098783" cy="2009969"/>
          </a:xfrm>
          <a:custGeom>
            <a:avLst/>
            <a:gdLst>
              <a:gd name="T0" fmla="*/ 335 w 470"/>
              <a:gd name="T1" fmla="*/ 777 h 860"/>
              <a:gd name="T2" fmla="*/ 337 w 470"/>
              <a:gd name="T3" fmla="*/ 761 h 860"/>
              <a:gd name="T4" fmla="*/ 321 w 470"/>
              <a:gd name="T5" fmla="*/ 756 h 860"/>
              <a:gd name="T6" fmla="*/ 276 w 470"/>
              <a:gd name="T7" fmla="*/ 743 h 860"/>
              <a:gd name="T8" fmla="*/ 262 w 470"/>
              <a:gd name="T9" fmla="*/ 649 h 860"/>
              <a:gd name="T10" fmla="*/ 306 w 470"/>
              <a:gd name="T11" fmla="*/ 622 h 860"/>
              <a:gd name="T12" fmla="*/ 356 w 470"/>
              <a:gd name="T13" fmla="*/ 633 h 860"/>
              <a:gd name="T14" fmla="*/ 382 w 470"/>
              <a:gd name="T15" fmla="*/ 674 h 860"/>
              <a:gd name="T16" fmla="*/ 392 w 470"/>
              <a:gd name="T17" fmla="*/ 686 h 860"/>
              <a:gd name="T18" fmla="*/ 405 w 470"/>
              <a:gd name="T19" fmla="*/ 679 h 860"/>
              <a:gd name="T20" fmla="*/ 470 w 470"/>
              <a:gd name="T21" fmla="*/ 590 h 860"/>
              <a:gd name="T22" fmla="*/ 333 w 470"/>
              <a:gd name="T23" fmla="*/ 303 h 860"/>
              <a:gd name="T24" fmla="*/ 347 w 470"/>
              <a:gd name="T25" fmla="*/ 203 h 860"/>
              <a:gd name="T26" fmla="*/ 346 w 470"/>
              <a:gd name="T27" fmla="*/ 198 h 860"/>
              <a:gd name="T28" fmla="*/ 347 w 470"/>
              <a:gd name="T29" fmla="*/ 187 h 860"/>
              <a:gd name="T30" fmla="*/ 246 w 470"/>
              <a:gd name="T31" fmla="*/ 154 h 860"/>
              <a:gd name="T32" fmla="*/ 245 w 470"/>
              <a:gd name="T33" fmla="*/ 154 h 860"/>
              <a:gd name="T34" fmla="*/ 224 w 470"/>
              <a:gd name="T35" fmla="*/ 130 h 860"/>
              <a:gd name="T36" fmla="*/ 240 w 470"/>
              <a:gd name="T37" fmla="*/ 101 h 860"/>
              <a:gd name="T38" fmla="*/ 241 w 470"/>
              <a:gd name="T39" fmla="*/ 100 h 860"/>
              <a:gd name="T40" fmla="*/ 264 w 470"/>
              <a:gd name="T41" fmla="*/ 72 h 860"/>
              <a:gd name="T42" fmla="*/ 261 w 470"/>
              <a:gd name="T43" fmla="*/ 34 h 860"/>
              <a:gd name="T44" fmla="*/ 230 w 470"/>
              <a:gd name="T45" fmla="*/ 9 h 860"/>
              <a:gd name="T46" fmla="*/ 166 w 470"/>
              <a:gd name="T47" fmla="*/ 40 h 860"/>
              <a:gd name="T48" fmla="*/ 168 w 470"/>
              <a:gd name="T49" fmla="*/ 76 h 860"/>
              <a:gd name="T50" fmla="*/ 169 w 470"/>
              <a:gd name="T51" fmla="*/ 78 h 860"/>
              <a:gd name="T52" fmla="*/ 164 w 470"/>
              <a:gd name="T53" fmla="*/ 110 h 860"/>
              <a:gd name="T54" fmla="*/ 133 w 470"/>
              <a:gd name="T55" fmla="*/ 118 h 860"/>
              <a:gd name="T56" fmla="*/ 132 w 470"/>
              <a:gd name="T57" fmla="*/ 117 h 860"/>
              <a:gd name="T58" fmla="*/ 34 w 470"/>
              <a:gd name="T59" fmla="*/ 86 h 860"/>
              <a:gd name="T60" fmla="*/ 0 w 470"/>
              <a:gd name="T61" fmla="*/ 303 h 860"/>
              <a:gd name="T62" fmla="*/ 274 w 470"/>
              <a:gd name="T63" fmla="*/ 860 h 860"/>
              <a:gd name="T64" fmla="*/ 335 w 470"/>
              <a:gd name="T65" fmla="*/ 777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70" h="860">
                <a:moveTo>
                  <a:pt x="335" y="777"/>
                </a:moveTo>
                <a:cubicBezTo>
                  <a:pt x="337" y="773"/>
                  <a:pt x="339" y="765"/>
                  <a:pt x="337" y="761"/>
                </a:cubicBezTo>
                <a:cubicBezTo>
                  <a:pt x="335" y="758"/>
                  <a:pt x="329" y="756"/>
                  <a:pt x="321" y="756"/>
                </a:cubicBezTo>
                <a:cubicBezTo>
                  <a:pt x="305" y="757"/>
                  <a:pt x="289" y="753"/>
                  <a:pt x="276" y="743"/>
                </a:cubicBezTo>
                <a:cubicBezTo>
                  <a:pt x="246" y="722"/>
                  <a:pt x="240" y="680"/>
                  <a:pt x="262" y="649"/>
                </a:cubicBezTo>
                <a:cubicBezTo>
                  <a:pt x="273" y="635"/>
                  <a:pt x="288" y="625"/>
                  <a:pt x="306" y="622"/>
                </a:cubicBezTo>
                <a:cubicBezTo>
                  <a:pt x="324" y="619"/>
                  <a:pt x="341" y="623"/>
                  <a:pt x="356" y="633"/>
                </a:cubicBezTo>
                <a:cubicBezTo>
                  <a:pt x="369" y="643"/>
                  <a:pt x="378" y="657"/>
                  <a:pt x="382" y="674"/>
                </a:cubicBezTo>
                <a:cubicBezTo>
                  <a:pt x="384" y="681"/>
                  <a:pt x="388" y="685"/>
                  <a:pt x="392" y="686"/>
                </a:cubicBezTo>
                <a:cubicBezTo>
                  <a:pt x="396" y="687"/>
                  <a:pt x="403" y="682"/>
                  <a:pt x="405" y="679"/>
                </a:cubicBezTo>
                <a:cubicBezTo>
                  <a:pt x="470" y="590"/>
                  <a:pt x="470" y="590"/>
                  <a:pt x="470" y="590"/>
                </a:cubicBezTo>
                <a:cubicBezTo>
                  <a:pt x="387" y="522"/>
                  <a:pt x="333" y="419"/>
                  <a:pt x="333" y="303"/>
                </a:cubicBezTo>
                <a:cubicBezTo>
                  <a:pt x="333" y="268"/>
                  <a:pt x="338" y="235"/>
                  <a:pt x="347" y="203"/>
                </a:cubicBezTo>
                <a:cubicBezTo>
                  <a:pt x="346" y="202"/>
                  <a:pt x="345" y="200"/>
                  <a:pt x="346" y="198"/>
                </a:cubicBezTo>
                <a:cubicBezTo>
                  <a:pt x="347" y="187"/>
                  <a:pt x="347" y="187"/>
                  <a:pt x="347" y="187"/>
                </a:cubicBezTo>
                <a:cubicBezTo>
                  <a:pt x="246" y="154"/>
                  <a:pt x="246" y="154"/>
                  <a:pt x="246" y="154"/>
                </a:cubicBezTo>
                <a:cubicBezTo>
                  <a:pt x="245" y="154"/>
                  <a:pt x="245" y="154"/>
                  <a:pt x="245" y="154"/>
                </a:cubicBezTo>
                <a:cubicBezTo>
                  <a:pt x="243" y="153"/>
                  <a:pt x="226" y="145"/>
                  <a:pt x="224" y="130"/>
                </a:cubicBezTo>
                <a:cubicBezTo>
                  <a:pt x="223" y="120"/>
                  <a:pt x="228" y="110"/>
                  <a:pt x="240" y="101"/>
                </a:cubicBezTo>
                <a:cubicBezTo>
                  <a:pt x="240" y="101"/>
                  <a:pt x="240" y="100"/>
                  <a:pt x="241" y="100"/>
                </a:cubicBezTo>
                <a:cubicBezTo>
                  <a:pt x="252" y="94"/>
                  <a:pt x="260" y="84"/>
                  <a:pt x="264" y="72"/>
                </a:cubicBezTo>
                <a:cubicBezTo>
                  <a:pt x="268" y="60"/>
                  <a:pt x="267" y="46"/>
                  <a:pt x="261" y="34"/>
                </a:cubicBezTo>
                <a:cubicBezTo>
                  <a:pt x="254" y="22"/>
                  <a:pt x="244" y="13"/>
                  <a:pt x="230" y="9"/>
                </a:cubicBezTo>
                <a:cubicBezTo>
                  <a:pt x="203" y="0"/>
                  <a:pt x="175" y="14"/>
                  <a:pt x="166" y="40"/>
                </a:cubicBezTo>
                <a:cubicBezTo>
                  <a:pt x="162" y="52"/>
                  <a:pt x="163" y="65"/>
                  <a:pt x="168" y="76"/>
                </a:cubicBezTo>
                <a:cubicBezTo>
                  <a:pt x="168" y="76"/>
                  <a:pt x="168" y="77"/>
                  <a:pt x="169" y="78"/>
                </a:cubicBezTo>
                <a:cubicBezTo>
                  <a:pt x="173" y="92"/>
                  <a:pt x="171" y="103"/>
                  <a:pt x="164" y="110"/>
                </a:cubicBezTo>
                <a:cubicBezTo>
                  <a:pt x="154" y="122"/>
                  <a:pt x="135" y="118"/>
                  <a:pt x="133" y="118"/>
                </a:cubicBezTo>
                <a:cubicBezTo>
                  <a:pt x="133" y="118"/>
                  <a:pt x="133" y="118"/>
                  <a:pt x="132" y="117"/>
                </a:cubicBezTo>
                <a:cubicBezTo>
                  <a:pt x="34" y="86"/>
                  <a:pt x="34" y="86"/>
                  <a:pt x="34" y="86"/>
                </a:cubicBezTo>
                <a:cubicBezTo>
                  <a:pt x="12" y="154"/>
                  <a:pt x="0" y="227"/>
                  <a:pt x="0" y="303"/>
                </a:cubicBezTo>
                <a:cubicBezTo>
                  <a:pt x="0" y="530"/>
                  <a:pt x="107" y="732"/>
                  <a:pt x="274" y="860"/>
                </a:cubicBezTo>
                <a:lnTo>
                  <a:pt x="335" y="777"/>
                </a:lnTo>
                <a:close/>
              </a:path>
            </a:pathLst>
          </a:custGeom>
          <a:gradFill flip="none" rotWithShape="1">
            <a:gsLst>
              <a:gs pos="75000">
                <a:schemeClr val="accent1"/>
              </a:gs>
              <a:gs pos="40000">
                <a:schemeClr val="accent1">
                  <a:lumMod val="60000"/>
                  <a:lumOff val="40000"/>
                </a:schemeClr>
              </a:gs>
              <a:gs pos="2000">
                <a:schemeClr val="accent1">
                  <a:lumMod val="20000"/>
                  <a:lumOff val="80000"/>
                </a:schemeClr>
              </a:gs>
              <a:gs pos="25000">
                <a:schemeClr val="accent1">
                  <a:lumMod val="40000"/>
                  <a:lumOff val="60000"/>
                </a:schemeClr>
              </a:gs>
            </a:gsLst>
            <a:lin ang="540000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sp>
        <p:nvSpPr>
          <p:cNvPr id="6" name="Freeform 7">
            <a:extLst>
              <a:ext uri="{FF2B5EF4-FFF2-40B4-BE49-F238E27FC236}">
                <a16:creationId xmlns:a16="http://schemas.microsoft.com/office/drawing/2014/main" id="{CE116F72-B6E9-47FD-88B0-0E61C747D955}"/>
              </a:ext>
            </a:extLst>
          </p:cNvPr>
          <p:cNvSpPr>
            <a:spLocks/>
          </p:cNvSpPr>
          <p:nvPr/>
        </p:nvSpPr>
        <p:spPr bwMode="auto">
          <a:xfrm>
            <a:off x="4544057" y="1982943"/>
            <a:ext cx="1859891" cy="1338640"/>
          </a:xfrm>
          <a:custGeom>
            <a:avLst/>
            <a:gdLst>
              <a:gd name="T0" fmla="*/ 98 w 796"/>
              <a:gd name="T1" fmla="*/ 502 h 573"/>
              <a:gd name="T2" fmla="*/ 113 w 796"/>
              <a:gd name="T3" fmla="*/ 499 h 573"/>
              <a:gd name="T4" fmla="*/ 114 w 796"/>
              <a:gd name="T5" fmla="*/ 482 h 573"/>
              <a:gd name="T6" fmla="*/ 111 w 796"/>
              <a:gd name="T7" fmla="*/ 435 h 573"/>
              <a:gd name="T8" fmla="*/ 197 w 796"/>
              <a:gd name="T9" fmla="*/ 393 h 573"/>
              <a:gd name="T10" fmla="*/ 236 w 796"/>
              <a:gd name="T11" fmla="*/ 426 h 573"/>
              <a:gd name="T12" fmla="*/ 241 w 796"/>
              <a:gd name="T13" fmla="*/ 477 h 573"/>
              <a:gd name="T14" fmla="*/ 210 w 796"/>
              <a:gd name="T15" fmla="*/ 514 h 573"/>
              <a:gd name="T16" fmla="*/ 201 w 796"/>
              <a:gd name="T17" fmla="*/ 528 h 573"/>
              <a:gd name="T18" fmla="*/ 212 w 796"/>
              <a:gd name="T19" fmla="*/ 539 h 573"/>
              <a:gd name="T20" fmla="*/ 318 w 796"/>
              <a:gd name="T21" fmla="*/ 573 h 573"/>
              <a:gd name="T22" fmla="*/ 649 w 796"/>
              <a:gd name="T23" fmla="*/ 334 h 573"/>
              <a:gd name="T24" fmla="*/ 652 w 796"/>
              <a:gd name="T25" fmla="*/ 333 h 573"/>
              <a:gd name="T26" fmla="*/ 662 w 796"/>
              <a:gd name="T27" fmla="*/ 331 h 573"/>
              <a:gd name="T28" fmla="*/ 662 w 796"/>
              <a:gd name="T29" fmla="*/ 225 h 573"/>
              <a:gd name="T30" fmla="*/ 662 w 796"/>
              <a:gd name="T31" fmla="*/ 224 h 573"/>
              <a:gd name="T32" fmla="*/ 679 w 796"/>
              <a:gd name="T33" fmla="*/ 196 h 573"/>
              <a:gd name="T34" fmla="*/ 711 w 796"/>
              <a:gd name="T35" fmla="*/ 202 h 573"/>
              <a:gd name="T36" fmla="*/ 712 w 796"/>
              <a:gd name="T37" fmla="*/ 203 h 573"/>
              <a:gd name="T38" fmla="*/ 746 w 796"/>
              <a:gd name="T39" fmla="*/ 217 h 573"/>
              <a:gd name="T40" fmla="*/ 796 w 796"/>
              <a:gd name="T41" fmla="*/ 165 h 573"/>
              <a:gd name="T42" fmla="*/ 746 w 796"/>
              <a:gd name="T43" fmla="*/ 114 h 573"/>
              <a:gd name="T44" fmla="*/ 713 w 796"/>
              <a:gd name="T45" fmla="*/ 126 h 573"/>
              <a:gd name="T46" fmla="*/ 711 w 796"/>
              <a:gd name="T47" fmla="*/ 128 h 573"/>
              <a:gd name="T48" fmla="*/ 679 w 796"/>
              <a:gd name="T49" fmla="*/ 134 h 573"/>
              <a:gd name="T50" fmla="*/ 662 w 796"/>
              <a:gd name="T51" fmla="*/ 106 h 573"/>
              <a:gd name="T52" fmla="*/ 662 w 796"/>
              <a:gd name="T53" fmla="*/ 105 h 573"/>
              <a:gd name="T54" fmla="*/ 662 w 796"/>
              <a:gd name="T55" fmla="*/ 1 h 573"/>
              <a:gd name="T56" fmla="*/ 658 w 796"/>
              <a:gd name="T57" fmla="*/ 0 h 573"/>
              <a:gd name="T58" fmla="*/ 0 w 796"/>
              <a:gd name="T59" fmla="*/ 470 h 573"/>
              <a:gd name="T60" fmla="*/ 98 w 796"/>
              <a:gd name="T61" fmla="*/ 502 h 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96" h="573">
                <a:moveTo>
                  <a:pt x="98" y="502"/>
                </a:moveTo>
                <a:cubicBezTo>
                  <a:pt x="102" y="502"/>
                  <a:pt x="110" y="502"/>
                  <a:pt x="113" y="499"/>
                </a:cubicBezTo>
                <a:cubicBezTo>
                  <a:pt x="116" y="496"/>
                  <a:pt x="116" y="490"/>
                  <a:pt x="114" y="482"/>
                </a:cubicBezTo>
                <a:cubicBezTo>
                  <a:pt x="107" y="467"/>
                  <a:pt x="106" y="450"/>
                  <a:pt x="111" y="435"/>
                </a:cubicBezTo>
                <a:cubicBezTo>
                  <a:pt x="123" y="400"/>
                  <a:pt x="161" y="381"/>
                  <a:pt x="197" y="393"/>
                </a:cubicBezTo>
                <a:cubicBezTo>
                  <a:pt x="214" y="399"/>
                  <a:pt x="228" y="410"/>
                  <a:pt x="236" y="426"/>
                </a:cubicBezTo>
                <a:cubicBezTo>
                  <a:pt x="245" y="442"/>
                  <a:pt x="246" y="460"/>
                  <a:pt x="241" y="477"/>
                </a:cubicBezTo>
                <a:cubicBezTo>
                  <a:pt x="236" y="493"/>
                  <a:pt x="225" y="506"/>
                  <a:pt x="210" y="514"/>
                </a:cubicBezTo>
                <a:cubicBezTo>
                  <a:pt x="204" y="519"/>
                  <a:pt x="201" y="524"/>
                  <a:pt x="201" y="528"/>
                </a:cubicBezTo>
                <a:cubicBezTo>
                  <a:pt x="202" y="532"/>
                  <a:pt x="209" y="537"/>
                  <a:pt x="212" y="539"/>
                </a:cubicBezTo>
                <a:cubicBezTo>
                  <a:pt x="318" y="573"/>
                  <a:pt x="318" y="573"/>
                  <a:pt x="318" y="573"/>
                </a:cubicBezTo>
                <a:cubicBezTo>
                  <a:pt x="368" y="437"/>
                  <a:pt x="497" y="340"/>
                  <a:pt x="649" y="334"/>
                </a:cubicBezTo>
                <a:cubicBezTo>
                  <a:pt x="650" y="334"/>
                  <a:pt x="651" y="333"/>
                  <a:pt x="652" y="333"/>
                </a:cubicBezTo>
                <a:cubicBezTo>
                  <a:pt x="662" y="331"/>
                  <a:pt x="662" y="331"/>
                  <a:pt x="662" y="331"/>
                </a:cubicBezTo>
                <a:cubicBezTo>
                  <a:pt x="662" y="225"/>
                  <a:pt x="662" y="225"/>
                  <a:pt x="662" y="225"/>
                </a:cubicBezTo>
                <a:cubicBezTo>
                  <a:pt x="662" y="224"/>
                  <a:pt x="662" y="224"/>
                  <a:pt x="662" y="224"/>
                </a:cubicBezTo>
                <a:cubicBezTo>
                  <a:pt x="663" y="222"/>
                  <a:pt x="665" y="203"/>
                  <a:pt x="679" y="196"/>
                </a:cubicBezTo>
                <a:cubicBezTo>
                  <a:pt x="688" y="192"/>
                  <a:pt x="699" y="194"/>
                  <a:pt x="711" y="202"/>
                </a:cubicBezTo>
                <a:cubicBezTo>
                  <a:pt x="711" y="203"/>
                  <a:pt x="712" y="203"/>
                  <a:pt x="712" y="203"/>
                </a:cubicBezTo>
                <a:cubicBezTo>
                  <a:pt x="721" y="212"/>
                  <a:pt x="733" y="217"/>
                  <a:pt x="746" y="217"/>
                </a:cubicBezTo>
                <a:cubicBezTo>
                  <a:pt x="774" y="217"/>
                  <a:pt x="796" y="194"/>
                  <a:pt x="796" y="165"/>
                </a:cubicBezTo>
                <a:cubicBezTo>
                  <a:pt x="796" y="137"/>
                  <a:pt x="774" y="114"/>
                  <a:pt x="746" y="114"/>
                </a:cubicBezTo>
                <a:cubicBezTo>
                  <a:pt x="734" y="114"/>
                  <a:pt x="722" y="118"/>
                  <a:pt x="713" y="126"/>
                </a:cubicBezTo>
                <a:cubicBezTo>
                  <a:pt x="712" y="127"/>
                  <a:pt x="712" y="127"/>
                  <a:pt x="711" y="128"/>
                </a:cubicBezTo>
                <a:cubicBezTo>
                  <a:pt x="699" y="136"/>
                  <a:pt x="688" y="138"/>
                  <a:pt x="679" y="134"/>
                </a:cubicBezTo>
                <a:cubicBezTo>
                  <a:pt x="665" y="127"/>
                  <a:pt x="663" y="108"/>
                  <a:pt x="662" y="106"/>
                </a:cubicBezTo>
                <a:cubicBezTo>
                  <a:pt x="662" y="106"/>
                  <a:pt x="662" y="106"/>
                  <a:pt x="662" y="105"/>
                </a:cubicBezTo>
                <a:cubicBezTo>
                  <a:pt x="662" y="1"/>
                  <a:pt x="662" y="1"/>
                  <a:pt x="662" y="1"/>
                </a:cubicBezTo>
                <a:cubicBezTo>
                  <a:pt x="658" y="0"/>
                  <a:pt x="658" y="0"/>
                  <a:pt x="658" y="0"/>
                </a:cubicBezTo>
                <a:cubicBezTo>
                  <a:pt x="354" y="3"/>
                  <a:pt x="96" y="198"/>
                  <a:pt x="0" y="470"/>
                </a:cubicBezTo>
                <a:lnTo>
                  <a:pt x="98" y="502"/>
                </a:lnTo>
                <a:close/>
              </a:path>
            </a:pathLst>
          </a:custGeom>
          <a:gradFill flip="none" rotWithShape="1">
            <a:gsLst>
              <a:gs pos="75000">
                <a:schemeClr val="accent1"/>
              </a:gs>
              <a:gs pos="40000">
                <a:schemeClr val="accent1">
                  <a:lumMod val="60000"/>
                  <a:lumOff val="40000"/>
                </a:schemeClr>
              </a:gs>
              <a:gs pos="2000">
                <a:schemeClr val="accent1">
                  <a:lumMod val="20000"/>
                  <a:lumOff val="80000"/>
                </a:schemeClr>
              </a:gs>
              <a:gs pos="25000">
                <a:schemeClr val="accent1">
                  <a:lumMod val="40000"/>
                  <a:lumOff val="60000"/>
                </a:schemeClr>
              </a:gs>
            </a:gsLst>
            <a:lin ang="1080000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sp>
        <p:nvSpPr>
          <p:cNvPr id="7" name="Freeform 8">
            <a:extLst>
              <a:ext uri="{FF2B5EF4-FFF2-40B4-BE49-F238E27FC236}">
                <a16:creationId xmlns:a16="http://schemas.microsoft.com/office/drawing/2014/main" id="{5F5888DB-9039-459B-8B32-6AAC6246C61C}"/>
              </a:ext>
            </a:extLst>
          </p:cNvPr>
          <p:cNvSpPr>
            <a:spLocks/>
          </p:cNvSpPr>
          <p:nvPr/>
        </p:nvSpPr>
        <p:spPr bwMode="auto">
          <a:xfrm>
            <a:off x="6547326" y="3155425"/>
            <a:ext cx="1188562" cy="1796913"/>
          </a:xfrm>
          <a:custGeom>
            <a:avLst/>
            <a:gdLst>
              <a:gd name="T0" fmla="*/ 479 w 509"/>
              <a:gd name="T1" fmla="*/ 0 h 769"/>
              <a:gd name="T2" fmla="*/ 379 w 509"/>
              <a:gd name="T3" fmla="*/ 33 h 769"/>
              <a:gd name="T4" fmla="*/ 368 w 509"/>
              <a:gd name="T5" fmla="*/ 44 h 769"/>
              <a:gd name="T6" fmla="*/ 378 w 509"/>
              <a:gd name="T7" fmla="*/ 58 h 769"/>
              <a:gd name="T8" fmla="*/ 407 w 509"/>
              <a:gd name="T9" fmla="*/ 94 h 769"/>
              <a:gd name="T10" fmla="*/ 363 w 509"/>
              <a:gd name="T11" fmla="*/ 178 h 769"/>
              <a:gd name="T12" fmla="*/ 341 w 509"/>
              <a:gd name="T13" fmla="*/ 182 h 769"/>
              <a:gd name="T14" fmla="*/ 311 w 509"/>
              <a:gd name="T15" fmla="*/ 175 h 769"/>
              <a:gd name="T16" fmla="*/ 277 w 509"/>
              <a:gd name="T17" fmla="*/ 136 h 769"/>
              <a:gd name="T18" fmla="*/ 280 w 509"/>
              <a:gd name="T19" fmla="*/ 88 h 769"/>
              <a:gd name="T20" fmla="*/ 280 w 509"/>
              <a:gd name="T21" fmla="*/ 72 h 769"/>
              <a:gd name="T22" fmla="*/ 264 w 509"/>
              <a:gd name="T23" fmla="*/ 70 h 769"/>
              <a:gd name="T24" fmla="*/ 162 w 509"/>
              <a:gd name="T25" fmla="*/ 103 h 769"/>
              <a:gd name="T26" fmla="*/ 175 w 509"/>
              <a:gd name="T27" fmla="*/ 201 h 769"/>
              <a:gd name="T28" fmla="*/ 30 w 509"/>
              <a:gd name="T29" fmla="*/ 494 h 769"/>
              <a:gd name="T30" fmla="*/ 30 w 509"/>
              <a:gd name="T31" fmla="*/ 495 h 769"/>
              <a:gd name="T32" fmla="*/ 22 w 509"/>
              <a:gd name="T33" fmla="*/ 502 h 769"/>
              <a:gd name="T34" fmla="*/ 85 w 509"/>
              <a:gd name="T35" fmla="*/ 588 h 769"/>
              <a:gd name="T36" fmla="*/ 85 w 509"/>
              <a:gd name="T37" fmla="*/ 589 h 769"/>
              <a:gd name="T38" fmla="*/ 88 w 509"/>
              <a:gd name="T39" fmla="*/ 621 h 769"/>
              <a:gd name="T40" fmla="*/ 59 w 509"/>
              <a:gd name="T41" fmla="*/ 635 h 769"/>
              <a:gd name="T42" fmla="*/ 57 w 509"/>
              <a:gd name="T43" fmla="*/ 635 h 769"/>
              <a:gd name="T44" fmla="*/ 22 w 509"/>
              <a:gd name="T45" fmla="*/ 644 h 769"/>
              <a:gd name="T46" fmla="*/ 2 w 509"/>
              <a:gd name="T47" fmla="*/ 677 h 769"/>
              <a:gd name="T48" fmla="*/ 12 w 509"/>
              <a:gd name="T49" fmla="*/ 715 h 769"/>
              <a:gd name="T50" fmla="*/ 82 w 509"/>
              <a:gd name="T51" fmla="*/ 727 h 769"/>
              <a:gd name="T52" fmla="*/ 102 w 509"/>
              <a:gd name="T53" fmla="*/ 698 h 769"/>
              <a:gd name="T54" fmla="*/ 102 w 509"/>
              <a:gd name="T55" fmla="*/ 696 h 769"/>
              <a:gd name="T56" fmla="*/ 125 w 509"/>
              <a:gd name="T57" fmla="*/ 672 h 769"/>
              <a:gd name="T58" fmla="*/ 154 w 509"/>
              <a:gd name="T59" fmla="*/ 684 h 769"/>
              <a:gd name="T60" fmla="*/ 155 w 509"/>
              <a:gd name="T61" fmla="*/ 685 h 769"/>
              <a:gd name="T62" fmla="*/ 216 w 509"/>
              <a:gd name="T63" fmla="*/ 769 h 769"/>
              <a:gd name="T64" fmla="*/ 225 w 509"/>
              <a:gd name="T65" fmla="*/ 765 h 769"/>
              <a:gd name="T66" fmla="*/ 509 w 509"/>
              <a:gd name="T67" fmla="*/ 201 h 769"/>
              <a:gd name="T68" fmla="*/ 479 w 509"/>
              <a:gd name="T69" fmla="*/ 0 h 7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09" h="769">
                <a:moveTo>
                  <a:pt x="479" y="0"/>
                </a:moveTo>
                <a:cubicBezTo>
                  <a:pt x="379" y="33"/>
                  <a:pt x="379" y="33"/>
                  <a:pt x="379" y="33"/>
                </a:cubicBezTo>
                <a:cubicBezTo>
                  <a:pt x="375" y="34"/>
                  <a:pt x="368" y="39"/>
                  <a:pt x="368" y="44"/>
                </a:cubicBezTo>
                <a:cubicBezTo>
                  <a:pt x="367" y="48"/>
                  <a:pt x="371" y="53"/>
                  <a:pt x="378" y="58"/>
                </a:cubicBezTo>
                <a:cubicBezTo>
                  <a:pt x="391" y="66"/>
                  <a:pt x="402" y="79"/>
                  <a:pt x="407" y="94"/>
                </a:cubicBezTo>
                <a:cubicBezTo>
                  <a:pt x="418" y="129"/>
                  <a:pt x="398" y="167"/>
                  <a:pt x="363" y="178"/>
                </a:cubicBezTo>
                <a:cubicBezTo>
                  <a:pt x="356" y="181"/>
                  <a:pt x="348" y="182"/>
                  <a:pt x="341" y="182"/>
                </a:cubicBezTo>
                <a:cubicBezTo>
                  <a:pt x="331" y="182"/>
                  <a:pt x="320" y="180"/>
                  <a:pt x="311" y="175"/>
                </a:cubicBezTo>
                <a:cubicBezTo>
                  <a:pt x="295" y="167"/>
                  <a:pt x="283" y="153"/>
                  <a:pt x="277" y="136"/>
                </a:cubicBezTo>
                <a:cubicBezTo>
                  <a:pt x="272" y="120"/>
                  <a:pt x="273" y="104"/>
                  <a:pt x="280" y="88"/>
                </a:cubicBezTo>
                <a:cubicBezTo>
                  <a:pt x="282" y="81"/>
                  <a:pt x="282" y="75"/>
                  <a:pt x="280" y="72"/>
                </a:cubicBezTo>
                <a:cubicBezTo>
                  <a:pt x="276" y="69"/>
                  <a:pt x="268" y="69"/>
                  <a:pt x="264" y="70"/>
                </a:cubicBezTo>
                <a:cubicBezTo>
                  <a:pt x="162" y="103"/>
                  <a:pt x="162" y="103"/>
                  <a:pt x="162" y="103"/>
                </a:cubicBezTo>
                <a:cubicBezTo>
                  <a:pt x="171" y="134"/>
                  <a:pt x="175" y="167"/>
                  <a:pt x="175" y="201"/>
                </a:cubicBezTo>
                <a:cubicBezTo>
                  <a:pt x="175" y="320"/>
                  <a:pt x="118" y="427"/>
                  <a:pt x="30" y="494"/>
                </a:cubicBezTo>
                <a:cubicBezTo>
                  <a:pt x="30" y="494"/>
                  <a:pt x="30" y="494"/>
                  <a:pt x="30" y="495"/>
                </a:cubicBezTo>
                <a:cubicBezTo>
                  <a:pt x="22" y="502"/>
                  <a:pt x="22" y="502"/>
                  <a:pt x="22" y="502"/>
                </a:cubicBezTo>
                <a:cubicBezTo>
                  <a:pt x="85" y="588"/>
                  <a:pt x="85" y="588"/>
                  <a:pt x="85" y="588"/>
                </a:cubicBezTo>
                <a:cubicBezTo>
                  <a:pt x="85" y="589"/>
                  <a:pt x="85" y="589"/>
                  <a:pt x="85" y="589"/>
                </a:cubicBezTo>
                <a:cubicBezTo>
                  <a:pt x="86" y="591"/>
                  <a:pt x="95" y="607"/>
                  <a:pt x="88" y="621"/>
                </a:cubicBezTo>
                <a:cubicBezTo>
                  <a:pt x="83" y="630"/>
                  <a:pt x="73" y="635"/>
                  <a:pt x="59" y="635"/>
                </a:cubicBezTo>
                <a:cubicBezTo>
                  <a:pt x="58" y="635"/>
                  <a:pt x="58" y="635"/>
                  <a:pt x="57" y="635"/>
                </a:cubicBezTo>
                <a:cubicBezTo>
                  <a:pt x="45" y="634"/>
                  <a:pt x="32" y="637"/>
                  <a:pt x="22" y="644"/>
                </a:cubicBezTo>
                <a:cubicBezTo>
                  <a:pt x="11" y="652"/>
                  <a:pt x="4" y="664"/>
                  <a:pt x="2" y="677"/>
                </a:cubicBezTo>
                <a:cubicBezTo>
                  <a:pt x="0" y="690"/>
                  <a:pt x="3" y="704"/>
                  <a:pt x="12" y="715"/>
                </a:cubicBezTo>
                <a:cubicBezTo>
                  <a:pt x="28" y="738"/>
                  <a:pt x="60" y="744"/>
                  <a:pt x="82" y="727"/>
                </a:cubicBezTo>
                <a:cubicBezTo>
                  <a:pt x="92" y="720"/>
                  <a:pt x="99" y="710"/>
                  <a:pt x="102" y="698"/>
                </a:cubicBezTo>
                <a:cubicBezTo>
                  <a:pt x="102" y="697"/>
                  <a:pt x="102" y="696"/>
                  <a:pt x="102" y="696"/>
                </a:cubicBezTo>
                <a:cubicBezTo>
                  <a:pt x="107" y="682"/>
                  <a:pt x="115" y="674"/>
                  <a:pt x="125" y="672"/>
                </a:cubicBezTo>
                <a:cubicBezTo>
                  <a:pt x="140" y="669"/>
                  <a:pt x="153" y="683"/>
                  <a:pt x="154" y="684"/>
                </a:cubicBezTo>
                <a:cubicBezTo>
                  <a:pt x="155" y="684"/>
                  <a:pt x="155" y="685"/>
                  <a:pt x="155" y="685"/>
                </a:cubicBezTo>
                <a:cubicBezTo>
                  <a:pt x="216" y="769"/>
                  <a:pt x="216" y="769"/>
                  <a:pt x="216" y="769"/>
                </a:cubicBezTo>
                <a:cubicBezTo>
                  <a:pt x="225" y="765"/>
                  <a:pt x="225" y="765"/>
                  <a:pt x="225" y="765"/>
                </a:cubicBezTo>
                <a:cubicBezTo>
                  <a:pt x="397" y="637"/>
                  <a:pt x="509" y="432"/>
                  <a:pt x="509" y="201"/>
                </a:cubicBezTo>
                <a:cubicBezTo>
                  <a:pt x="509" y="131"/>
                  <a:pt x="498" y="64"/>
                  <a:pt x="479" y="0"/>
                </a:cubicBezTo>
                <a:close/>
              </a:path>
            </a:pathLst>
          </a:custGeom>
          <a:gradFill flip="none" rotWithShape="1">
            <a:gsLst>
              <a:gs pos="75000">
                <a:schemeClr val="accent1"/>
              </a:gs>
              <a:gs pos="40000">
                <a:schemeClr val="accent1">
                  <a:lumMod val="60000"/>
                  <a:lumOff val="40000"/>
                </a:schemeClr>
              </a:gs>
              <a:gs pos="2000">
                <a:schemeClr val="accent1">
                  <a:lumMod val="20000"/>
                  <a:lumOff val="80000"/>
                </a:schemeClr>
              </a:gs>
              <a:gs pos="25000">
                <a:schemeClr val="accent1">
                  <a:lumMod val="40000"/>
                  <a:lumOff val="60000"/>
                </a:schemeClr>
              </a:gs>
            </a:gsLst>
            <a:lin ang="1890000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sp>
        <p:nvSpPr>
          <p:cNvPr id="8" name="Freeform 9">
            <a:extLst>
              <a:ext uri="{FF2B5EF4-FFF2-40B4-BE49-F238E27FC236}">
                <a16:creationId xmlns:a16="http://schemas.microsoft.com/office/drawing/2014/main" id="{B17A7F9C-8643-4698-9224-BF27139D32DA}"/>
              </a:ext>
            </a:extLst>
          </p:cNvPr>
          <p:cNvSpPr>
            <a:spLocks/>
          </p:cNvSpPr>
          <p:nvPr/>
        </p:nvSpPr>
        <p:spPr bwMode="auto">
          <a:xfrm>
            <a:off x="5058609" y="4326567"/>
            <a:ext cx="1964410" cy="939326"/>
          </a:xfrm>
          <a:custGeom>
            <a:avLst/>
            <a:gdLst>
              <a:gd name="T0" fmla="*/ 779 w 841"/>
              <a:gd name="T1" fmla="*/ 194 h 402"/>
              <a:gd name="T2" fmla="*/ 765 w 841"/>
              <a:gd name="T3" fmla="*/ 187 h 402"/>
              <a:gd name="T4" fmla="*/ 755 w 841"/>
              <a:gd name="T5" fmla="*/ 201 h 402"/>
              <a:gd name="T6" fmla="*/ 729 w 841"/>
              <a:gd name="T7" fmla="*/ 240 h 402"/>
              <a:gd name="T8" fmla="*/ 635 w 841"/>
              <a:gd name="T9" fmla="*/ 224 h 402"/>
              <a:gd name="T10" fmla="*/ 623 w 841"/>
              <a:gd name="T11" fmla="*/ 174 h 402"/>
              <a:gd name="T12" fmla="*/ 649 w 841"/>
              <a:gd name="T13" fmla="*/ 130 h 402"/>
              <a:gd name="T14" fmla="*/ 695 w 841"/>
              <a:gd name="T15" fmla="*/ 118 h 402"/>
              <a:gd name="T16" fmla="*/ 710 w 841"/>
              <a:gd name="T17" fmla="*/ 112 h 402"/>
              <a:gd name="T18" fmla="*/ 708 w 841"/>
              <a:gd name="T19" fmla="*/ 97 h 402"/>
              <a:gd name="T20" fmla="*/ 645 w 841"/>
              <a:gd name="T21" fmla="*/ 9 h 402"/>
              <a:gd name="T22" fmla="*/ 443 w 841"/>
              <a:gd name="T23" fmla="*/ 69 h 402"/>
              <a:gd name="T24" fmla="*/ 237 w 841"/>
              <a:gd name="T25" fmla="*/ 6 h 402"/>
              <a:gd name="T26" fmla="*/ 232 w 841"/>
              <a:gd name="T27" fmla="*/ 5 h 402"/>
              <a:gd name="T28" fmla="*/ 222 w 841"/>
              <a:gd name="T29" fmla="*/ 0 h 402"/>
              <a:gd name="T30" fmla="*/ 159 w 841"/>
              <a:gd name="T31" fmla="*/ 86 h 402"/>
              <a:gd name="T32" fmla="*/ 159 w 841"/>
              <a:gd name="T33" fmla="*/ 87 h 402"/>
              <a:gd name="T34" fmla="*/ 129 w 841"/>
              <a:gd name="T35" fmla="*/ 99 h 402"/>
              <a:gd name="T36" fmla="*/ 107 w 841"/>
              <a:gd name="T37" fmla="*/ 76 h 402"/>
              <a:gd name="T38" fmla="*/ 107 w 841"/>
              <a:gd name="T39" fmla="*/ 74 h 402"/>
              <a:gd name="T40" fmla="*/ 87 w 841"/>
              <a:gd name="T41" fmla="*/ 44 h 402"/>
              <a:gd name="T42" fmla="*/ 50 w 841"/>
              <a:gd name="T43" fmla="*/ 35 h 402"/>
              <a:gd name="T44" fmla="*/ 16 w 841"/>
              <a:gd name="T45" fmla="*/ 56 h 402"/>
              <a:gd name="T46" fmla="*/ 27 w 841"/>
              <a:gd name="T47" fmla="*/ 127 h 402"/>
              <a:gd name="T48" fmla="*/ 61 w 841"/>
              <a:gd name="T49" fmla="*/ 136 h 402"/>
              <a:gd name="T50" fmla="*/ 63 w 841"/>
              <a:gd name="T51" fmla="*/ 136 h 402"/>
              <a:gd name="T52" fmla="*/ 92 w 841"/>
              <a:gd name="T53" fmla="*/ 150 h 402"/>
              <a:gd name="T54" fmla="*/ 90 w 841"/>
              <a:gd name="T55" fmla="*/ 182 h 402"/>
              <a:gd name="T56" fmla="*/ 89 w 841"/>
              <a:gd name="T57" fmla="*/ 183 h 402"/>
              <a:gd name="T58" fmla="*/ 28 w 841"/>
              <a:gd name="T59" fmla="*/ 267 h 402"/>
              <a:gd name="T60" fmla="*/ 443 w 841"/>
              <a:gd name="T61" fmla="*/ 402 h 402"/>
              <a:gd name="T62" fmla="*/ 841 w 841"/>
              <a:gd name="T63" fmla="*/ 279 h 402"/>
              <a:gd name="T64" fmla="*/ 779 w 841"/>
              <a:gd name="T65" fmla="*/ 194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41" h="402">
                <a:moveTo>
                  <a:pt x="779" y="194"/>
                </a:moveTo>
                <a:cubicBezTo>
                  <a:pt x="776" y="191"/>
                  <a:pt x="770" y="186"/>
                  <a:pt x="765" y="187"/>
                </a:cubicBezTo>
                <a:cubicBezTo>
                  <a:pt x="761" y="188"/>
                  <a:pt x="757" y="193"/>
                  <a:pt x="755" y="201"/>
                </a:cubicBezTo>
                <a:cubicBezTo>
                  <a:pt x="751" y="217"/>
                  <a:pt x="742" y="230"/>
                  <a:pt x="729" y="240"/>
                </a:cubicBezTo>
                <a:cubicBezTo>
                  <a:pt x="699" y="261"/>
                  <a:pt x="657" y="254"/>
                  <a:pt x="635" y="224"/>
                </a:cubicBezTo>
                <a:cubicBezTo>
                  <a:pt x="625" y="209"/>
                  <a:pt x="620" y="191"/>
                  <a:pt x="623" y="174"/>
                </a:cubicBezTo>
                <a:cubicBezTo>
                  <a:pt x="625" y="156"/>
                  <a:pt x="635" y="140"/>
                  <a:pt x="649" y="130"/>
                </a:cubicBezTo>
                <a:cubicBezTo>
                  <a:pt x="663" y="120"/>
                  <a:pt x="679" y="116"/>
                  <a:pt x="695" y="118"/>
                </a:cubicBezTo>
                <a:cubicBezTo>
                  <a:pt x="703" y="117"/>
                  <a:pt x="709" y="115"/>
                  <a:pt x="710" y="112"/>
                </a:cubicBezTo>
                <a:cubicBezTo>
                  <a:pt x="713" y="108"/>
                  <a:pt x="710" y="100"/>
                  <a:pt x="708" y="97"/>
                </a:cubicBezTo>
                <a:cubicBezTo>
                  <a:pt x="645" y="9"/>
                  <a:pt x="645" y="9"/>
                  <a:pt x="645" y="9"/>
                </a:cubicBezTo>
                <a:cubicBezTo>
                  <a:pt x="587" y="47"/>
                  <a:pt x="517" y="69"/>
                  <a:pt x="443" y="69"/>
                </a:cubicBezTo>
                <a:cubicBezTo>
                  <a:pt x="367" y="69"/>
                  <a:pt x="296" y="46"/>
                  <a:pt x="237" y="6"/>
                </a:cubicBezTo>
                <a:cubicBezTo>
                  <a:pt x="235" y="6"/>
                  <a:pt x="233" y="6"/>
                  <a:pt x="232" y="5"/>
                </a:cubicBezTo>
                <a:cubicBezTo>
                  <a:pt x="222" y="0"/>
                  <a:pt x="222" y="0"/>
                  <a:pt x="222" y="0"/>
                </a:cubicBezTo>
                <a:cubicBezTo>
                  <a:pt x="159" y="86"/>
                  <a:pt x="159" y="86"/>
                  <a:pt x="159" y="86"/>
                </a:cubicBezTo>
                <a:cubicBezTo>
                  <a:pt x="159" y="87"/>
                  <a:pt x="159" y="87"/>
                  <a:pt x="159" y="87"/>
                </a:cubicBezTo>
                <a:cubicBezTo>
                  <a:pt x="158" y="89"/>
                  <a:pt x="145" y="102"/>
                  <a:pt x="129" y="99"/>
                </a:cubicBezTo>
                <a:cubicBezTo>
                  <a:pt x="120" y="97"/>
                  <a:pt x="112" y="90"/>
                  <a:pt x="107" y="76"/>
                </a:cubicBezTo>
                <a:cubicBezTo>
                  <a:pt x="107" y="75"/>
                  <a:pt x="107" y="75"/>
                  <a:pt x="107" y="74"/>
                </a:cubicBezTo>
                <a:cubicBezTo>
                  <a:pt x="104" y="62"/>
                  <a:pt x="97" y="51"/>
                  <a:pt x="87" y="44"/>
                </a:cubicBezTo>
                <a:cubicBezTo>
                  <a:pt x="76" y="36"/>
                  <a:pt x="63" y="33"/>
                  <a:pt x="50" y="35"/>
                </a:cubicBezTo>
                <a:cubicBezTo>
                  <a:pt x="36" y="37"/>
                  <a:pt x="24" y="45"/>
                  <a:pt x="16" y="56"/>
                </a:cubicBezTo>
                <a:cubicBezTo>
                  <a:pt x="0" y="79"/>
                  <a:pt x="4" y="111"/>
                  <a:pt x="27" y="127"/>
                </a:cubicBezTo>
                <a:cubicBezTo>
                  <a:pt x="36" y="134"/>
                  <a:pt x="49" y="137"/>
                  <a:pt x="61" y="136"/>
                </a:cubicBezTo>
                <a:cubicBezTo>
                  <a:pt x="61" y="136"/>
                  <a:pt x="62" y="136"/>
                  <a:pt x="63" y="136"/>
                </a:cubicBezTo>
                <a:cubicBezTo>
                  <a:pt x="78" y="137"/>
                  <a:pt x="87" y="141"/>
                  <a:pt x="92" y="150"/>
                </a:cubicBezTo>
                <a:cubicBezTo>
                  <a:pt x="100" y="164"/>
                  <a:pt x="91" y="180"/>
                  <a:pt x="90" y="182"/>
                </a:cubicBezTo>
                <a:cubicBezTo>
                  <a:pt x="90" y="182"/>
                  <a:pt x="90" y="183"/>
                  <a:pt x="89" y="183"/>
                </a:cubicBezTo>
                <a:cubicBezTo>
                  <a:pt x="28" y="267"/>
                  <a:pt x="28" y="267"/>
                  <a:pt x="28" y="267"/>
                </a:cubicBezTo>
                <a:cubicBezTo>
                  <a:pt x="145" y="352"/>
                  <a:pt x="288" y="402"/>
                  <a:pt x="443" y="402"/>
                </a:cubicBezTo>
                <a:cubicBezTo>
                  <a:pt x="591" y="402"/>
                  <a:pt x="728" y="357"/>
                  <a:pt x="841" y="279"/>
                </a:cubicBezTo>
                <a:lnTo>
                  <a:pt x="779" y="194"/>
                </a:lnTo>
                <a:close/>
              </a:path>
            </a:pathLst>
          </a:custGeom>
          <a:gradFill flip="none" rotWithShape="1">
            <a:gsLst>
              <a:gs pos="75000">
                <a:schemeClr val="accent1"/>
              </a:gs>
              <a:gs pos="40000">
                <a:schemeClr val="accent1">
                  <a:lumMod val="60000"/>
                  <a:lumOff val="40000"/>
                </a:schemeClr>
              </a:gs>
              <a:gs pos="2000">
                <a:schemeClr val="accent1">
                  <a:lumMod val="20000"/>
                  <a:lumOff val="80000"/>
                </a:schemeClr>
              </a:gs>
              <a:gs pos="25000">
                <a:schemeClr val="accent1">
                  <a:lumMod val="40000"/>
                  <a:lumOff val="60000"/>
                </a:schemeClr>
              </a:gs>
            </a:gsLst>
            <a:lin ang="270000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sp>
        <p:nvSpPr>
          <p:cNvPr id="14" name="Freeform 5">
            <a:extLst>
              <a:ext uri="{FF2B5EF4-FFF2-40B4-BE49-F238E27FC236}">
                <a16:creationId xmlns:a16="http://schemas.microsoft.com/office/drawing/2014/main" id="{A4AD83C0-2EB9-4173-B597-6A2355BF9E7B}"/>
              </a:ext>
            </a:extLst>
          </p:cNvPr>
          <p:cNvSpPr>
            <a:spLocks noEditPoints="1"/>
          </p:cNvSpPr>
          <p:nvPr/>
        </p:nvSpPr>
        <p:spPr bwMode="auto">
          <a:xfrm>
            <a:off x="5248689" y="2405710"/>
            <a:ext cx="340804" cy="340802"/>
          </a:xfrm>
          <a:custGeom>
            <a:avLst/>
            <a:gdLst>
              <a:gd name="T0" fmla="*/ 1024 w 2048"/>
              <a:gd name="T1" fmla="*/ 0 h 2048"/>
              <a:gd name="T2" fmla="*/ 0 w 2048"/>
              <a:gd name="T3" fmla="*/ 1024 h 2048"/>
              <a:gd name="T4" fmla="*/ 1024 w 2048"/>
              <a:gd name="T5" fmla="*/ 2048 h 2048"/>
              <a:gd name="T6" fmla="*/ 2048 w 2048"/>
              <a:gd name="T7" fmla="*/ 1024 h 2048"/>
              <a:gd name="T8" fmla="*/ 1024 w 2048"/>
              <a:gd name="T9" fmla="*/ 0 h 2048"/>
              <a:gd name="T10" fmla="*/ 1499 w 2048"/>
              <a:gd name="T11" fmla="*/ 1134 h 2048"/>
              <a:gd name="T12" fmla="*/ 1024 w 2048"/>
              <a:gd name="T13" fmla="*/ 1134 h 2048"/>
              <a:gd name="T14" fmla="*/ 914 w 2048"/>
              <a:gd name="T15" fmla="*/ 1024 h 2048"/>
              <a:gd name="T16" fmla="*/ 914 w 2048"/>
              <a:gd name="T17" fmla="*/ 549 h 2048"/>
              <a:gd name="T18" fmla="*/ 1024 w 2048"/>
              <a:gd name="T19" fmla="*/ 439 h 2048"/>
              <a:gd name="T20" fmla="*/ 1134 w 2048"/>
              <a:gd name="T21" fmla="*/ 549 h 2048"/>
              <a:gd name="T22" fmla="*/ 1134 w 2048"/>
              <a:gd name="T23" fmla="*/ 915 h 2048"/>
              <a:gd name="T24" fmla="*/ 1499 w 2048"/>
              <a:gd name="T25" fmla="*/ 915 h 2048"/>
              <a:gd name="T26" fmla="*/ 1609 w 2048"/>
              <a:gd name="T27" fmla="*/ 1024 h 2048"/>
              <a:gd name="T28" fmla="*/ 1499 w 2048"/>
              <a:gd name="T29" fmla="*/ 1134 h 20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48" h="2048">
                <a:moveTo>
                  <a:pt x="1024" y="0"/>
                </a:moveTo>
                <a:cubicBezTo>
                  <a:pt x="459" y="0"/>
                  <a:pt x="0" y="459"/>
                  <a:pt x="0" y="1024"/>
                </a:cubicBezTo>
                <a:cubicBezTo>
                  <a:pt x="0" y="1589"/>
                  <a:pt x="459" y="2048"/>
                  <a:pt x="1024" y="2048"/>
                </a:cubicBezTo>
                <a:cubicBezTo>
                  <a:pt x="1589" y="2048"/>
                  <a:pt x="2048" y="1589"/>
                  <a:pt x="2048" y="1024"/>
                </a:cubicBezTo>
                <a:cubicBezTo>
                  <a:pt x="2048" y="459"/>
                  <a:pt x="1589" y="0"/>
                  <a:pt x="1024" y="0"/>
                </a:cubicBezTo>
                <a:close/>
                <a:moveTo>
                  <a:pt x="1499" y="1134"/>
                </a:moveTo>
                <a:cubicBezTo>
                  <a:pt x="1024" y="1134"/>
                  <a:pt x="1024" y="1134"/>
                  <a:pt x="1024" y="1134"/>
                </a:cubicBezTo>
                <a:cubicBezTo>
                  <a:pt x="963" y="1134"/>
                  <a:pt x="914" y="1085"/>
                  <a:pt x="914" y="1024"/>
                </a:cubicBezTo>
                <a:cubicBezTo>
                  <a:pt x="914" y="549"/>
                  <a:pt x="914" y="549"/>
                  <a:pt x="914" y="549"/>
                </a:cubicBezTo>
                <a:cubicBezTo>
                  <a:pt x="914" y="489"/>
                  <a:pt x="963" y="439"/>
                  <a:pt x="1024" y="439"/>
                </a:cubicBezTo>
                <a:cubicBezTo>
                  <a:pt x="1085" y="439"/>
                  <a:pt x="1134" y="489"/>
                  <a:pt x="1134" y="549"/>
                </a:cubicBezTo>
                <a:cubicBezTo>
                  <a:pt x="1134" y="915"/>
                  <a:pt x="1134" y="915"/>
                  <a:pt x="1134" y="915"/>
                </a:cubicBezTo>
                <a:cubicBezTo>
                  <a:pt x="1499" y="915"/>
                  <a:pt x="1499" y="915"/>
                  <a:pt x="1499" y="915"/>
                </a:cubicBezTo>
                <a:cubicBezTo>
                  <a:pt x="1560" y="915"/>
                  <a:pt x="1609" y="964"/>
                  <a:pt x="1609" y="1024"/>
                </a:cubicBezTo>
                <a:cubicBezTo>
                  <a:pt x="1609" y="1085"/>
                  <a:pt x="1560" y="1134"/>
                  <a:pt x="1499" y="1134"/>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Open Sans"/>
              <a:ea typeface="+mn-ea"/>
              <a:cs typeface="+mn-cs"/>
            </a:endParaRPr>
          </a:p>
        </p:txBody>
      </p:sp>
      <p:grpSp>
        <p:nvGrpSpPr>
          <p:cNvPr id="15" name="Group 54">
            <a:extLst>
              <a:ext uri="{FF2B5EF4-FFF2-40B4-BE49-F238E27FC236}">
                <a16:creationId xmlns:a16="http://schemas.microsoft.com/office/drawing/2014/main" id="{33A65D04-068C-4B01-8151-49831ED30092}"/>
              </a:ext>
            </a:extLst>
          </p:cNvPr>
          <p:cNvGrpSpPr/>
          <p:nvPr/>
        </p:nvGrpSpPr>
        <p:grpSpPr>
          <a:xfrm>
            <a:off x="6777545" y="2489971"/>
            <a:ext cx="277646" cy="345366"/>
            <a:chOff x="4862513" y="3505200"/>
            <a:chExt cx="260350" cy="323851"/>
          </a:xfrm>
          <a:solidFill>
            <a:srgbClr val="FFFFFF"/>
          </a:solidFill>
        </p:grpSpPr>
        <p:sp>
          <p:nvSpPr>
            <p:cNvPr id="16" name="Freeform 9">
              <a:extLst>
                <a:ext uri="{FF2B5EF4-FFF2-40B4-BE49-F238E27FC236}">
                  <a16:creationId xmlns:a16="http://schemas.microsoft.com/office/drawing/2014/main" id="{9C652FCB-00B1-4E11-AAC0-C027E93F2581}"/>
                </a:ext>
              </a:extLst>
            </p:cNvPr>
            <p:cNvSpPr>
              <a:spLocks/>
            </p:cNvSpPr>
            <p:nvPr/>
          </p:nvSpPr>
          <p:spPr bwMode="auto">
            <a:xfrm>
              <a:off x="4870451" y="3505200"/>
              <a:ext cx="220663" cy="234950"/>
            </a:xfrm>
            <a:custGeom>
              <a:avLst/>
              <a:gdLst>
                <a:gd name="T0" fmla="*/ 761 w 1393"/>
                <a:gd name="T1" fmla="*/ 0 h 1489"/>
                <a:gd name="T2" fmla="*/ 240 w 1393"/>
                <a:gd name="T3" fmla="*/ 0 h 1489"/>
                <a:gd name="T4" fmla="*/ 93 w 1393"/>
                <a:gd name="T5" fmla="*/ 0 h 1489"/>
                <a:gd name="T6" fmla="*/ 0 w 1393"/>
                <a:gd name="T7" fmla="*/ 93 h 1489"/>
                <a:gd name="T8" fmla="*/ 93 w 1393"/>
                <a:gd name="T9" fmla="*/ 186 h 1489"/>
                <a:gd name="T10" fmla="*/ 147 w 1393"/>
                <a:gd name="T11" fmla="*/ 186 h 1489"/>
                <a:gd name="T12" fmla="*/ 147 w 1393"/>
                <a:gd name="T13" fmla="*/ 938 h 1489"/>
                <a:gd name="T14" fmla="*/ 240 w 1393"/>
                <a:gd name="T15" fmla="*/ 1031 h 1489"/>
                <a:gd name="T16" fmla="*/ 397 w 1393"/>
                <a:gd name="T17" fmla="*/ 1031 h 1489"/>
                <a:gd name="T18" fmla="*/ 462 w 1393"/>
                <a:gd name="T19" fmla="*/ 1004 h 1489"/>
                <a:gd name="T20" fmla="*/ 591 w 1393"/>
                <a:gd name="T21" fmla="*/ 876 h 1489"/>
                <a:gd name="T22" fmla="*/ 591 w 1393"/>
                <a:gd name="T23" fmla="*/ 1100 h 1489"/>
                <a:gd name="T24" fmla="*/ 201 w 1393"/>
                <a:gd name="T25" fmla="*/ 1489 h 1489"/>
                <a:gd name="T26" fmla="*/ 1393 w 1393"/>
                <a:gd name="T27" fmla="*/ 1489 h 1489"/>
                <a:gd name="T28" fmla="*/ 1393 w 1393"/>
                <a:gd name="T29" fmla="*/ 633 h 1489"/>
                <a:gd name="T30" fmla="*/ 761 w 1393"/>
                <a:gd name="T31" fmla="*/ 0 h 14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93" h="1489">
                  <a:moveTo>
                    <a:pt x="761" y="0"/>
                  </a:moveTo>
                  <a:cubicBezTo>
                    <a:pt x="240" y="0"/>
                    <a:pt x="240" y="0"/>
                    <a:pt x="240" y="0"/>
                  </a:cubicBezTo>
                  <a:cubicBezTo>
                    <a:pt x="93" y="0"/>
                    <a:pt x="93" y="0"/>
                    <a:pt x="93" y="0"/>
                  </a:cubicBezTo>
                  <a:cubicBezTo>
                    <a:pt x="41" y="0"/>
                    <a:pt x="0" y="42"/>
                    <a:pt x="0" y="93"/>
                  </a:cubicBezTo>
                  <a:cubicBezTo>
                    <a:pt x="0" y="145"/>
                    <a:pt x="41" y="186"/>
                    <a:pt x="93" y="186"/>
                  </a:cubicBezTo>
                  <a:cubicBezTo>
                    <a:pt x="147" y="186"/>
                    <a:pt x="147" y="186"/>
                    <a:pt x="147" y="186"/>
                  </a:cubicBezTo>
                  <a:cubicBezTo>
                    <a:pt x="147" y="938"/>
                    <a:pt x="147" y="938"/>
                    <a:pt x="147" y="938"/>
                  </a:cubicBezTo>
                  <a:cubicBezTo>
                    <a:pt x="147" y="990"/>
                    <a:pt x="188" y="1031"/>
                    <a:pt x="240" y="1031"/>
                  </a:cubicBezTo>
                  <a:cubicBezTo>
                    <a:pt x="397" y="1031"/>
                    <a:pt x="397" y="1031"/>
                    <a:pt x="397" y="1031"/>
                  </a:cubicBezTo>
                  <a:cubicBezTo>
                    <a:pt x="421" y="1031"/>
                    <a:pt x="445" y="1021"/>
                    <a:pt x="462" y="1004"/>
                  </a:cubicBezTo>
                  <a:cubicBezTo>
                    <a:pt x="591" y="876"/>
                    <a:pt x="591" y="876"/>
                    <a:pt x="591" y="876"/>
                  </a:cubicBezTo>
                  <a:cubicBezTo>
                    <a:pt x="591" y="1100"/>
                    <a:pt x="591" y="1100"/>
                    <a:pt x="591" y="1100"/>
                  </a:cubicBezTo>
                  <a:cubicBezTo>
                    <a:pt x="201" y="1489"/>
                    <a:pt x="201" y="1489"/>
                    <a:pt x="201" y="1489"/>
                  </a:cubicBezTo>
                  <a:cubicBezTo>
                    <a:pt x="1393" y="1489"/>
                    <a:pt x="1393" y="1489"/>
                    <a:pt x="1393" y="1489"/>
                  </a:cubicBezTo>
                  <a:cubicBezTo>
                    <a:pt x="1393" y="633"/>
                    <a:pt x="1393" y="633"/>
                    <a:pt x="1393" y="633"/>
                  </a:cubicBezTo>
                  <a:cubicBezTo>
                    <a:pt x="1393" y="284"/>
                    <a:pt x="1109" y="0"/>
                    <a:pt x="76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sp>
          <p:nvSpPr>
            <p:cNvPr id="17" name="Freeform 10">
              <a:extLst>
                <a:ext uri="{FF2B5EF4-FFF2-40B4-BE49-F238E27FC236}">
                  <a16:creationId xmlns:a16="http://schemas.microsoft.com/office/drawing/2014/main" id="{BF9FBEED-5AAE-44A2-8F8E-CE544B637D19}"/>
                </a:ext>
              </a:extLst>
            </p:cNvPr>
            <p:cNvSpPr>
              <a:spLocks/>
            </p:cNvSpPr>
            <p:nvPr/>
          </p:nvSpPr>
          <p:spPr bwMode="auto">
            <a:xfrm>
              <a:off x="4862513" y="3770313"/>
              <a:ext cx="260350" cy="58738"/>
            </a:xfrm>
            <a:custGeom>
              <a:avLst/>
              <a:gdLst>
                <a:gd name="T0" fmla="*/ 0 w 1646"/>
                <a:gd name="T1" fmla="*/ 0 h 372"/>
                <a:gd name="T2" fmla="*/ 0 w 1646"/>
                <a:gd name="T3" fmla="*/ 279 h 372"/>
                <a:gd name="T4" fmla="*/ 93 w 1646"/>
                <a:gd name="T5" fmla="*/ 372 h 372"/>
                <a:gd name="T6" fmla="*/ 1553 w 1646"/>
                <a:gd name="T7" fmla="*/ 372 h 372"/>
                <a:gd name="T8" fmla="*/ 1646 w 1646"/>
                <a:gd name="T9" fmla="*/ 279 h 372"/>
                <a:gd name="T10" fmla="*/ 1646 w 1646"/>
                <a:gd name="T11" fmla="*/ 0 h 372"/>
                <a:gd name="T12" fmla="*/ 0 w 1646"/>
                <a:gd name="T13" fmla="*/ 0 h 372"/>
              </a:gdLst>
              <a:ahLst/>
              <a:cxnLst>
                <a:cxn ang="0">
                  <a:pos x="T0" y="T1"/>
                </a:cxn>
                <a:cxn ang="0">
                  <a:pos x="T2" y="T3"/>
                </a:cxn>
                <a:cxn ang="0">
                  <a:pos x="T4" y="T5"/>
                </a:cxn>
                <a:cxn ang="0">
                  <a:pos x="T6" y="T7"/>
                </a:cxn>
                <a:cxn ang="0">
                  <a:pos x="T8" y="T9"/>
                </a:cxn>
                <a:cxn ang="0">
                  <a:pos x="T10" y="T11"/>
                </a:cxn>
                <a:cxn ang="0">
                  <a:pos x="T12" y="T13"/>
                </a:cxn>
              </a:cxnLst>
              <a:rect l="0" t="0" r="r" b="b"/>
              <a:pathLst>
                <a:path w="1646" h="372">
                  <a:moveTo>
                    <a:pt x="0" y="0"/>
                  </a:moveTo>
                  <a:cubicBezTo>
                    <a:pt x="0" y="279"/>
                    <a:pt x="0" y="279"/>
                    <a:pt x="0" y="279"/>
                  </a:cubicBezTo>
                  <a:cubicBezTo>
                    <a:pt x="0" y="330"/>
                    <a:pt x="42" y="372"/>
                    <a:pt x="93" y="372"/>
                  </a:cubicBezTo>
                  <a:cubicBezTo>
                    <a:pt x="1553" y="372"/>
                    <a:pt x="1553" y="372"/>
                    <a:pt x="1553" y="372"/>
                  </a:cubicBezTo>
                  <a:cubicBezTo>
                    <a:pt x="1604" y="372"/>
                    <a:pt x="1646" y="330"/>
                    <a:pt x="1646" y="279"/>
                  </a:cubicBezTo>
                  <a:cubicBezTo>
                    <a:pt x="1646" y="0"/>
                    <a:pt x="1646" y="0"/>
                    <a:pt x="1646" y="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grpSp>
      <p:sp>
        <p:nvSpPr>
          <p:cNvPr id="18" name="Freeform 14">
            <a:extLst>
              <a:ext uri="{FF2B5EF4-FFF2-40B4-BE49-F238E27FC236}">
                <a16:creationId xmlns:a16="http://schemas.microsoft.com/office/drawing/2014/main" id="{F51E980C-8F30-4C4A-B039-BCF2DAAEAB05}"/>
              </a:ext>
            </a:extLst>
          </p:cNvPr>
          <p:cNvSpPr>
            <a:spLocks noEditPoints="1"/>
          </p:cNvSpPr>
          <p:nvPr/>
        </p:nvSpPr>
        <p:spPr bwMode="auto">
          <a:xfrm>
            <a:off x="6998041" y="3977176"/>
            <a:ext cx="420392" cy="408604"/>
          </a:xfrm>
          <a:custGeom>
            <a:avLst/>
            <a:gdLst>
              <a:gd name="T0" fmla="*/ 2119 w 2125"/>
              <a:gd name="T1" fmla="*/ 400 h 2053"/>
              <a:gd name="T2" fmla="*/ 2061 w 2125"/>
              <a:gd name="T3" fmla="*/ 337 h 2053"/>
              <a:gd name="T4" fmla="*/ 1857 w 2125"/>
              <a:gd name="T5" fmla="*/ 269 h 2053"/>
              <a:gd name="T6" fmla="*/ 1789 w 2125"/>
              <a:gd name="T7" fmla="*/ 64 h 2053"/>
              <a:gd name="T8" fmla="*/ 1726 w 2125"/>
              <a:gd name="T9" fmla="*/ 7 h 2053"/>
              <a:gd name="T10" fmla="*/ 1645 w 2125"/>
              <a:gd name="T11" fmla="*/ 30 h 2053"/>
              <a:gd name="T12" fmla="*/ 1399 w 2125"/>
              <a:gd name="T13" fmla="*/ 276 h 2053"/>
              <a:gd name="T14" fmla="*/ 1378 w 2125"/>
              <a:gd name="T15" fmla="*/ 365 h 2053"/>
              <a:gd name="T16" fmla="*/ 1443 w 2125"/>
              <a:gd name="T17" fmla="*/ 560 h 2053"/>
              <a:gd name="T18" fmla="*/ 1293 w 2125"/>
              <a:gd name="T19" fmla="*/ 710 h 2053"/>
              <a:gd name="T20" fmla="*/ 826 w 2125"/>
              <a:gd name="T21" fmla="*/ 547 h 2053"/>
              <a:gd name="T22" fmla="*/ 293 w 2125"/>
              <a:gd name="T23" fmla="*/ 768 h 2053"/>
              <a:gd name="T24" fmla="*/ 293 w 2125"/>
              <a:gd name="T25" fmla="*/ 1832 h 2053"/>
              <a:gd name="T26" fmla="*/ 826 w 2125"/>
              <a:gd name="T27" fmla="*/ 2053 h 2053"/>
              <a:gd name="T28" fmla="*/ 1358 w 2125"/>
              <a:gd name="T29" fmla="*/ 1832 h 2053"/>
              <a:gd name="T30" fmla="*/ 1416 w 2125"/>
              <a:gd name="T31" fmla="*/ 833 h 2053"/>
              <a:gd name="T32" fmla="*/ 1566 w 2125"/>
              <a:gd name="T33" fmla="*/ 683 h 2053"/>
              <a:gd name="T34" fmla="*/ 1761 w 2125"/>
              <a:gd name="T35" fmla="*/ 748 h 2053"/>
              <a:gd name="T36" fmla="*/ 1788 w 2125"/>
              <a:gd name="T37" fmla="*/ 752 h 2053"/>
              <a:gd name="T38" fmla="*/ 1850 w 2125"/>
              <a:gd name="T39" fmla="*/ 727 h 2053"/>
              <a:gd name="T40" fmla="*/ 2095 w 2125"/>
              <a:gd name="T41" fmla="*/ 481 h 2053"/>
              <a:gd name="T42" fmla="*/ 2119 w 2125"/>
              <a:gd name="T43" fmla="*/ 400 h 2053"/>
              <a:gd name="T44" fmla="*/ 1235 w 2125"/>
              <a:gd name="T45" fmla="*/ 1710 h 2053"/>
              <a:gd name="T46" fmla="*/ 826 w 2125"/>
              <a:gd name="T47" fmla="*/ 1879 h 2053"/>
              <a:gd name="T48" fmla="*/ 416 w 2125"/>
              <a:gd name="T49" fmla="*/ 1710 h 2053"/>
              <a:gd name="T50" fmla="*/ 416 w 2125"/>
              <a:gd name="T51" fmla="*/ 890 h 2053"/>
              <a:gd name="T52" fmla="*/ 826 w 2125"/>
              <a:gd name="T53" fmla="*/ 721 h 2053"/>
              <a:gd name="T54" fmla="*/ 1169 w 2125"/>
              <a:gd name="T55" fmla="*/ 834 h 2053"/>
              <a:gd name="T56" fmla="*/ 1044 w 2125"/>
              <a:gd name="T57" fmla="*/ 959 h 2053"/>
              <a:gd name="T58" fmla="*/ 826 w 2125"/>
              <a:gd name="T59" fmla="*/ 895 h 2053"/>
              <a:gd name="T60" fmla="*/ 539 w 2125"/>
              <a:gd name="T61" fmla="*/ 1013 h 2053"/>
              <a:gd name="T62" fmla="*/ 420 w 2125"/>
              <a:gd name="T63" fmla="*/ 1300 h 2053"/>
              <a:gd name="T64" fmla="*/ 539 w 2125"/>
              <a:gd name="T65" fmla="*/ 1587 h 2053"/>
              <a:gd name="T66" fmla="*/ 826 w 2125"/>
              <a:gd name="T67" fmla="*/ 1705 h 2053"/>
              <a:gd name="T68" fmla="*/ 1112 w 2125"/>
              <a:gd name="T69" fmla="*/ 1587 h 2053"/>
              <a:gd name="T70" fmla="*/ 1167 w 2125"/>
              <a:gd name="T71" fmla="*/ 1081 h 2053"/>
              <a:gd name="T72" fmla="*/ 1292 w 2125"/>
              <a:gd name="T73" fmla="*/ 957 h 2053"/>
              <a:gd name="T74" fmla="*/ 1235 w 2125"/>
              <a:gd name="T75" fmla="*/ 1710 h 2053"/>
              <a:gd name="T76" fmla="*/ 764 w 2125"/>
              <a:gd name="T77" fmla="*/ 1361 h 2053"/>
              <a:gd name="T78" fmla="*/ 826 w 2125"/>
              <a:gd name="T79" fmla="*/ 1387 h 2053"/>
              <a:gd name="T80" fmla="*/ 887 w 2125"/>
              <a:gd name="T81" fmla="*/ 1361 h 2053"/>
              <a:gd name="T82" fmla="*/ 1039 w 2125"/>
              <a:gd name="T83" fmla="*/ 1210 h 2053"/>
              <a:gd name="T84" fmla="*/ 990 w 2125"/>
              <a:gd name="T85" fmla="*/ 1464 h 2053"/>
              <a:gd name="T86" fmla="*/ 826 w 2125"/>
              <a:gd name="T87" fmla="*/ 1532 h 2053"/>
              <a:gd name="T88" fmla="*/ 662 w 2125"/>
              <a:gd name="T89" fmla="*/ 1464 h 2053"/>
              <a:gd name="T90" fmla="*/ 594 w 2125"/>
              <a:gd name="T91" fmla="*/ 1300 h 2053"/>
              <a:gd name="T92" fmla="*/ 662 w 2125"/>
              <a:gd name="T93" fmla="*/ 1136 h 2053"/>
              <a:gd name="T94" fmla="*/ 826 w 2125"/>
              <a:gd name="T95" fmla="*/ 1068 h 2053"/>
              <a:gd name="T96" fmla="*/ 916 w 2125"/>
              <a:gd name="T97" fmla="*/ 1087 h 2053"/>
              <a:gd name="T98" fmla="*/ 764 w 2125"/>
              <a:gd name="T99" fmla="*/ 1239 h 2053"/>
              <a:gd name="T100" fmla="*/ 764 w 2125"/>
              <a:gd name="T101" fmla="*/ 1361 h 20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125" h="2053">
                <a:moveTo>
                  <a:pt x="2119" y="400"/>
                </a:moveTo>
                <a:cubicBezTo>
                  <a:pt x="2112" y="370"/>
                  <a:pt x="2090" y="347"/>
                  <a:pt x="2061" y="337"/>
                </a:cubicBezTo>
                <a:cubicBezTo>
                  <a:pt x="1857" y="269"/>
                  <a:pt x="1857" y="269"/>
                  <a:pt x="1857" y="269"/>
                </a:cubicBezTo>
                <a:cubicBezTo>
                  <a:pt x="1789" y="64"/>
                  <a:pt x="1789" y="64"/>
                  <a:pt x="1789" y="64"/>
                </a:cubicBezTo>
                <a:cubicBezTo>
                  <a:pt x="1779" y="36"/>
                  <a:pt x="1756" y="14"/>
                  <a:pt x="1726" y="7"/>
                </a:cubicBezTo>
                <a:cubicBezTo>
                  <a:pt x="1697" y="0"/>
                  <a:pt x="1666" y="9"/>
                  <a:pt x="1645" y="30"/>
                </a:cubicBezTo>
                <a:cubicBezTo>
                  <a:pt x="1399" y="276"/>
                  <a:pt x="1399" y="276"/>
                  <a:pt x="1399" y="276"/>
                </a:cubicBezTo>
                <a:cubicBezTo>
                  <a:pt x="1376" y="299"/>
                  <a:pt x="1368" y="334"/>
                  <a:pt x="1378" y="365"/>
                </a:cubicBezTo>
                <a:cubicBezTo>
                  <a:pt x="1443" y="560"/>
                  <a:pt x="1443" y="560"/>
                  <a:pt x="1443" y="560"/>
                </a:cubicBezTo>
                <a:cubicBezTo>
                  <a:pt x="1293" y="710"/>
                  <a:pt x="1293" y="710"/>
                  <a:pt x="1293" y="710"/>
                </a:cubicBezTo>
                <a:cubicBezTo>
                  <a:pt x="1161" y="604"/>
                  <a:pt x="998" y="547"/>
                  <a:pt x="826" y="547"/>
                </a:cubicBezTo>
                <a:cubicBezTo>
                  <a:pt x="625" y="547"/>
                  <a:pt x="436" y="625"/>
                  <a:pt x="293" y="768"/>
                </a:cubicBezTo>
                <a:cubicBezTo>
                  <a:pt x="0" y="1061"/>
                  <a:pt x="0" y="1539"/>
                  <a:pt x="293" y="1832"/>
                </a:cubicBezTo>
                <a:cubicBezTo>
                  <a:pt x="436" y="1975"/>
                  <a:pt x="625" y="2053"/>
                  <a:pt x="826" y="2053"/>
                </a:cubicBezTo>
                <a:cubicBezTo>
                  <a:pt x="1027" y="2053"/>
                  <a:pt x="1216" y="1975"/>
                  <a:pt x="1358" y="1832"/>
                </a:cubicBezTo>
                <a:cubicBezTo>
                  <a:pt x="1631" y="1560"/>
                  <a:pt x="1650" y="1128"/>
                  <a:pt x="1416" y="833"/>
                </a:cubicBezTo>
                <a:cubicBezTo>
                  <a:pt x="1566" y="683"/>
                  <a:pt x="1566" y="683"/>
                  <a:pt x="1566" y="683"/>
                </a:cubicBezTo>
                <a:cubicBezTo>
                  <a:pt x="1761" y="748"/>
                  <a:pt x="1761" y="748"/>
                  <a:pt x="1761" y="748"/>
                </a:cubicBezTo>
                <a:cubicBezTo>
                  <a:pt x="1770" y="751"/>
                  <a:pt x="1779" y="752"/>
                  <a:pt x="1788" y="752"/>
                </a:cubicBezTo>
                <a:cubicBezTo>
                  <a:pt x="1811" y="752"/>
                  <a:pt x="1833" y="743"/>
                  <a:pt x="1850" y="727"/>
                </a:cubicBezTo>
                <a:cubicBezTo>
                  <a:pt x="2095" y="481"/>
                  <a:pt x="2095" y="481"/>
                  <a:pt x="2095" y="481"/>
                </a:cubicBezTo>
                <a:cubicBezTo>
                  <a:pt x="2117" y="460"/>
                  <a:pt x="2125" y="429"/>
                  <a:pt x="2119" y="400"/>
                </a:cubicBezTo>
                <a:close/>
                <a:moveTo>
                  <a:pt x="1235" y="1710"/>
                </a:moveTo>
                <a:cubicBezTo>
                  <a:pt x="1126" y="1819"/>
                  <a:pt x="980" y="1879"/>
                  <a:pt x="826" y="1879"/>
                </a:cubicBezTo>
                <a:cubicBezTo>
                  <a:pt x="671" y="1879"/>
                  <a:pt x="526" y="1819"/>
                  <a:pt x="416" y="1710"/>
                </a:cubicBezTo>
                <a:cubicBezTo>
                  <a:pt x="190" y="1484"/>
                  <a:pt x="190" y="1116"/>
                  <a:pt x="416" y="890"/>
                </a:cubicBezTo>
                <a:cubicBezTo>
                  <a:pt x="526" y="781"/>
                  <a:pt x="671" y="721"/>
                  <a:pt x="826" y="721"/>
                </a:cubicBezTo>
                <a:cubicBezTo>
                  <a:pt x="951" y="721"/>
                  <a:pt x="1070" y="760"/>
                  <a:pt x="1169" y="834"/>
                </a:cubicBezTo>
                <a:cubicBezTo>
                  <a:pt x="1044" y="959"/>
                  <a:pt x="1044" y="959"/>
                  <a:pt x="1044" y="959"/>
                </a:cubicBezTo>
                <a:cubicBezTo>
                  <a:pt x="980" y="917"/>
                  <a:pt x="904" y="895"/>
                  <a:pt x="826" y="895"/>
                </a:cubicBezTo>
                <a:cubicBezTo>
                  <a:pt x="717" y="895"/>
                  <a:pt x="616" y="937"/>
                  <a:pt x="539" y="1013"/>
                </a:cubicBezTo>
                <a:cubicBezTo>
                  <a:pt x="463" y="1090"/>
                  <a:pt x="420" y="1192"/>
                  <a:pt x="420" y="1300"/>
                </a:cubicBezTo>
                <a:cubicBezTo>
                  <a:pt x="420" y="1408"/>
                  <a:pt x="463" y="1510"/>
                  <a:pt x="539" y="1587"/>
                </a:cubicBezTo>
                <a:cubicBezTo>
                  <a:pt x="616" y="1663"/>
                  <a:pt x="717" y="1705"/>
                  <a:pt x="826" y="1705"/>
                </a:cubicBezTo>
                <a:cubicBezTo>
                  <a:pt x="934" y="1705"/>
                  <a:pt x="1036" y="1663"/>
                  <a:pt x="1112" y="1587"/>
                </a:cubicBezTo>
                <a:cubicBezTo>
                  <a:pt x="1249" y="1450"/>
                  <a:pt x="1268" y="1238"/>
                  <a:pt x="1167" y="1081"/>
                </a:cubicBezTo>
                <a:cubicBezTo>
                  <a:pt x="1292" y="957"/>
                  <a:pt x="1292" y="957"/>
                  <a:pt x="1292" y="957"/>
                </a:cubicBezTo>
                <a:cubicBezTo>
                  <a:pt x="1459" y="1183"/>
                  <a:pt x="1440" y="1505"/>
                  <a:pt x="1235" y="1710"/>
                </a:cubicBezTo>
                <a:close/>
                <a:moveTo>
                  <a:pt x="764" y="1361"/>
                </a:moveTo>
                <a:cubicBezTo>
                  <a:pt x="781" y="1378"/>
                  <a:pt x="804" y="1387"/>
                  <a:pt x="826" y="1387"/>
                </a:cubicBezTo>
                <a:cubicBezTo>
                  <a:pt x="848" y="1387"/>
                  <a:pt x="870" y="1378"/>
                  <a:pt x="887" y="1361"/>
                </a:cubicBezTo>
                <a:cubicBezTo>
                  <a:pt x="1039" y="1210"/>
                  <a:pt x="1039" y="1210"/>
                  <a:pt x="1039" y="1210"/>
                </a:cubicBezTo>
                <a:cubicBezTo>
                  <a:pt x="1075" y="1294"/>
                  <a:pt x="1058" y="1395"/>
                  <a:pt x="990" y="1464"/>
                </a:cubicBezTo>
                <a:cubicBezTo>
                  <a:pt x="946" y="1508"/>
                  <a:pt x="888" y="1532"/>
                  <a:pt x="826" y="1532"/>
                </a:cubicBezTo>
                <a:cubicBezTo>
                  <a:pt x="764" y="1532"/>
                  <a:pt x="706" y="1508"/>
                  <a:pt x="662" y="1464"/>
                </a:cubicBezTo>
                <a:cubicBezTo>
                  <a:pt x="618" y="1420"/>
                  <a:pt x="594" y="1362"/>
                  <a:pt x="594" y="1300"/>
                </a:cubicBezTo>
                <a:cubicBezTo>
                  <a:pt x="594" y="1238"/>
                  <a:pt x="618" y="1180"/>
                  <a:pt x="662" y="1136"/>
                </a:cubicBezTo>
                <a:cubicBezTo>
                  <a:pt x="706" y="1092"/>
                  <a:pt x="764" y="1068"/>
                  <a:pt x="826" y="1068"/>
                </a:cubicBezTo>
                <a:cubicBezTo>
                  <a:pt x="857" y="1068"/>
                  <a:pt x="888" y="1075"/>
                  <a:pt x="916" y="1087"/>
                </a:cubicBezTo>
                <a:cubicBezTo>
                  <a:pt x="764" y="1239"/>
                  <a:pt x="764" y="1239"/>
                  <a:pt x="764" y="1239"/>
                </a:cubicBezTo>
                <a:cubicBezTo>
                  <a:pt x="730" y="1273"/>
                  <a:pt x="730" y="1328"/>
                  <a:pt x="764" y="1361"/>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grpSp>
        <p:nvGrpSpPr>
          <p:cNvPr id="19" name="Group 58">
            <a:extLst>
              <a:ext uri="{FF2B5EF4-FFF2-40B4-BE49-F238E27FC236}">
                <a16:creationId xmlns:a16="http://schemas.microsoft.com/office/drawing/2014/main" id="{2ADFE589-51B6-4C24-A83C-9F605620DF3D}"/>
              </a:ext>
            </a:extLst>
          </p:cNvPr>
          <p:cNvGrpSpPr/>
          <p:nvPr/>
        </p:nvGrpSpPr>
        <p:grpSpPr>
          <a:xfrm>
            <a:off x="5834457" y="4699027"/>
            <a:ext cx="335208" cy="333632"/>
            <a:chOff x="9682163" y="3494088"/>
            <a:chExt cx="338137" cy="336551"/>
          </a:xfrm>
          <a:solidFill>
            <a:srgbClr val="FFFFFF"/>
          </a:solidFill>
        </p:grpSpPr>
        <p:sp>
          <p:nvSpPr>
            <p:cNvPr id="20" name="Rectangle 18">
              <a:extLst>
                <a:ext uri="{FF2B5EF4-FFF2-40B4-BE49-F238E27FC236}">
                  <a16:creationId xmlns:a16="http://schemas.microsoft.com/office/drawing/2014/main" id="{6BD93C1F-CC7D-493B-BB04-2DDA3A0D4BBD}"/>
                </a:ext>
              </a:extLst>
            </p:cNvPr>
            <p:cNvSpPr>
              <a:spLocks noChangeArrowheads="1"/>
            </p:cNvSpPr>
            <p:nvPr/>
          </p:nvSpPr>
          <p:spPr bwMode="auto">
            <a:xfrm>
              <a:off x="9836150" y="3687763"/>
              <a:ext cx="30162" cy="301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sp>
          <p:nvSpPr>
            <p:cNvPr id="21" name="Freeform 19">
              <a:extLst>
                <a:ext uri="{FF2B5EF4-FFF2-40B4-BE49-F238E27FC236}">
                  <a16:creationId xmlns:a16="http://schemas.microsoft.com/office/drawing/2014/main" id="{3FF4F865-E85C-4C4E-B12E-A3CC7172618C}"/>
                </a:ext>
              </a:extLst>
            </p:cNvPr>
            <p:cNvSpPr>
              <a:spLocks noEditPoints="1"/>
            </p:cNvSpPr>
            <p:nvPr/>
          </p:nvSpPr>
          <p:spPr bwMode="auto">
            <a:xfrm>
              <a:off x="9682163" y="3494088"/>
              <a:ext cx="338137" cy="163513"/>
            </a:xfrm>
            <a:custGeom>
              <a:avLst/>
              <a:gdLst>
                <a:gd name="T0" fmla="*/ 1955 w 2048"/>
                <a:gd name="T1" fmla="*/ 372 h 993"/>
                <a:gd name="T2" fmla="*/ 1427 w 2048"/>
                <a:gd name="T3" fmla="*/ 372 h 993"/>
                <a:gd name="T4" fmla="*/ 1427 w 2048"/>
                <a:gd name="T5" fmla="*/ 93 h 993"/>
                <a:gd name="T6" fmla="*/ 1334 w 2048"/>
                <a:gd name="T7" fmla="*/ 0 h 993"/>
                <a:gd name="T8" fmla="*/ 714 w 2048"/>
                <a:gd name="T9" fmla="*/ 0 h 993"/>
                <a:gd name="T10" fmla="*/ 621 w 2048"/>
                <a:gd name="T11" fmla="*/ 93 h 993"/>
                <a:gd name="T12" fmla="*/ 621 w 2048"/>
                <a:gd name="T13" fmla="*/ 372 h 993"/>
                <a:gd name="T14" fmla="*/ 93 w 2048"/>
                <a:gd name="T15" fmla="*/ 372 h 993"/>
                <a:gd name="T16" fmla="*/ 0 w 2048"/>
                <a:gd name="T17" fmla="*/ 465 h 993"/>
                <a:gd name="T18" fmla="*/ 0 w 2048"/>
                <a:gd name="T19" fmla="*/ 781 h 993"/>
                <a:gd name="T20" fmla="*/ 93 w 2048"/>
                <a:gd name="T21" fmla="*/ 804 h 993"/>
                <a:gd name="T22" fmla="*/ 186 w 2048"/>
                <a:gd name="T23" fmla="*/ 827 h 993"/>
                <a:gd name="T24" fmla="*/ 849 w 2048"/>
                <a:gd name="T25" fmla="*/ 993 h 993"/>
                <a:gd name="T26" fmla="*/ 1199 w 2048"/>
                <a:gd name="T27" fmla="*/ 993 h 993"/>
                <a:gd name="T28" fmla="*/ 1862 w 2048"/>
                <a:gd name="T29" fmla="*/ 827 h 993"/>
                <a:gd name="T30" fmla="*/ 1955 w 2048"/>
                <a:gd name="T31" fmla="*/ 804 h 993"/>
                <a:gd name="T32" fmla="*/ 2048 w 2048"/>
                <a:gd name="T33" fmla="*/ 781 h 993"/>
                <a:gd name="T34" fmla="*/ 2048 w 2048"/>
                <a:gd name="T35" fmla="*/ 465 h 993"/>
                <a:gd name="T36" fmla="*/ 1955 w 2048"/>
                <a:gd name="T37" fmla="*/ 372 h 993"/>
                <a:gd name="T38" fmla="*/ 1241 w 2048"/>
                <a:gd name="T39" fmla="*/ 372 h 993"/>
                <a:gd name="T40" fmla="*/ 807 w 2048"/>
                <a:gd name="T41" fmla="*/ 372 h 993"/>
                <a:gd name="T42" fmla="*/ 807 w 2048"/>
                <a:gd name="T43" fmla="*/ 186 h 993"/>
                <a:gd name="T44" fmla="*/ 1241 w 2048"/>
                <a:gd name="T45" fmla="*/ 186 h 993"/>
                <a:gd name="T46" fmla="*/ 1241 w 2048"/>
                <a:gd name="T47" fmla="*/ 372 h 9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048" h="993">
                  <a:moveTo>
                    <a:pt x="1955" y="372"/>
                  </a:moveTo>
                  <a:cubicBezTo>
                    <a:pt x="1427" y="372"/>
                    <a:pt x="1427" y="372"/>
                    <a:pt x="1427" y="372"/>
                  </a:cubicBezTo>
                  <a:cubicBezTo>
                    <a:pt x="1427" y="93"/>
                    <a:pt x="1427" y="93"/>
                    <a:pt x="1427" y="93"/>
                  </a:cubicBezTo>
                  <a:cubicBezTo>
                    <a:pt x="1427" y="42"/>
                    <a:pt x="1386" y="0"/>
                    <a:pt x="1334" y="0"/>
                  </a:cubicBezTo>
                  <a:cubicBezTo>
                    <a:pt x="714" y="0"/>
                    <a:pt x="714" y="0"/>
                    <a:pt x="714" y="0"/>
                  </a:cubicBezTo>
                  <a:cubicBezTo>
                    <a:pt x="662" y="0"/>
                    <a:pt x="621" y="42"/>
                    <a:pt x="621" y="93"/>
                  </a:cubicBezTo>
                  <a:cubicBezTo>
                    <a:pt x="621" y="372"/>
                    <a:pt x="621" y="372"/>
                    <a:pt x="621" y="372"/>
                  </a:cubicBezTo>
                  <a:cubicBezTo>
                    <a:pt x="93" y="372"/>
                    <a:pt x="93" y="372"/>
                    <a:pt x="93" y="372"/>
                  </a:cubicBezTo>
                  <a:cubicBezTo>
                    <a:pt x="42" y="372"/>
                    <a:pt x="0" y="414"/>
                    <a:pt x="0" y="465"/>
                  </a:cubicBezTo>
                  <a:cubicBezTo>
                    <a:pt x="0" y="781"/>
                    <a:pt x="0" y="781"/>
                    <a:pt x="0" y="781"/>
                  </a:cubicBezTo>
                  <a:cubicBezTo>
                    <a:pt x="93" y="804"/>
                    <a:pt x="93" y="804"/>
                    <a:pt x="93" y="804"/>
                  </a:cubicBezTo>
                  <a:cubicBezTo>
                    <a:pt x="186" y="827"/>
                    <a:pt x="186" y="827"/>
                    <a:pt x="186" y="827"/>
                  </a:cubicBezTo>
                  <a:cubicBezTo>
                    <a:pt x="849" y="993"/>
                    <a:pt x="849" y="993"/>
                    <a:pt x="849" y="993"/>
                  </a:cubicBezTo>
                  <a:cubicBezTo>
                    <a:pt x="1199" y="993"/>
                    <a:pt x="1199" y="993"/>
                    <a:pt x="1199" y="993"/>
                  </a:cubicBezTo>
                  <a:cubicBezTo>
                    <a:pt x="1862" y="827"/>
                    <a:pt x="1862" y="827"/>
                    <a:pt x="1862" y="827"/>
                  </a:cubicBezTo>
                  <a:cubicBezTo>
                    <a:pt x="1955" y="804"/>
                    <a:pt x="1955" y="804"/>
                    <a:pt x="1955" y="804"/>
                  </a:cubicBezTo>
                  <a:cubicBezTo>
                    <a:pt x="2048" y="781"/>
                    <a:pt x="2048" y="781"/>
                    <a:pt x="2048" y="781"/>
                  </a:cubicBezTo>
                  <a:cubicBezTo>
                    <a:pt x="2048" y="465"/>
                    <a:pt x="2048" y="465"/>
                    <a:pt x="2048" y="465"/>
                  </a:cubicBezTo>
                  <a:cubicBezTo>
                    <a:pt x="2048" y="414"/>
                    <a:pt x="2006" y="372"/>
                    <a:pt x="1955" y="372"/>
                  </a:cubicBezTo>
                  <a:close/>
                  <a:moveTo>
                    <a:pt x="1241" y="372"/>
                  </a:moveTo>
                  <a:cubicBezTo>
                    <a:pt x="807" y="372"/>
                    <a:pt x="807" y="372"/>
                    <a:pt x="807" y="372"/>
                  </a:cubicBezTo>
                  <a:cubicBezTo>
                    <a:pt x="807" y="186"/>
                    <a:pt x="807" y="186"/>
                    <a:pt x="807" y="186"/>
                  </a:cubicBezTo>
                  <a:cubicBezTo>
                    <a:pt x="1241" y="186"/>
                    <a:pt x="1241" y="186"/>
                    <a:pt x="1241" y="186"/>
                  </a:cubicBezTo>
                  <a:lnTo>
                    <a:pt x="1241" y="3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sp>
          <p:nvSpPr>
            <p:cNvPr id="22" name="Freeform 20">
              <a:extLst>
                <a:ext uri="{FF2B5EF4-FFF2-40B4-BE49-F238E27FC236}">
                  <a16:creationId xmlns:a16="http://schemas.microsoft.com/office/drawing/2014/main" id="{014EED89-585A-4552-994E-65AD73948A94}"/>
                </a:ext>
              </a:extLst>
            </p:cNvPr>
            <p:cNvSpPr>
              <a:spLocks/>
            </p:cNvSpPr>
            <p:nvPr/>
          </p:nvSpPr>
          <p:spPr bwMode="auto">
            <a:xfrm>
              <a:off x="9682163" y="3654426"/>
              <a:ext cx="338137" cy="176213"/>
            </a:xfrm>
            <a:custGeom>
              <a:avLst/>
              <a:gdLst>
                <a:gd name="T0" fmla="*/ 1955 w 2048"/>
                <a:gd name="T1" fmla="*/ 23 h 1075"/>
                <a:gd name="T2" fmla="*/ 1862 w 2048"/>
                <a:gd name="T3" fmla="*/ 46 h 1075"/>
                <a:gd name="T4" fmla="*/ 1303 w 2048"/>
                <a:gd name="T5" fmla="*/ 186 h 1075"/>
                <a:gd name="T6" fmla="*/ 1303 w 2048"/>
                <a:gd name="T7" fmla="*/ 485 h 1075"/>
                <a:gd name="T8" fmla="*/ 1210 w 2048"/>
                <a:gd name="T9" fmla="*/ 579 h 1075"/>
                <a:gd name="T10" fmla="*/ 838 w 2048"/>
                <a:gd name="T11" fmla="*/ 579 h 1075"/>
                <a:gd name="T12" fmla="*/ 745 w 2048"/>
                <a:gd name="T13" fmla="*/ 485 h 1075"/>
                <a:gd name="T14" fmla="*/ 745 w 2048"/>
                <a:gd name="T15" fmla="*/ 186 h 1075"/>
                <a:gd name="T16" fmla="*/ 186 w 2048"/>
                <a:gd name="T17" fmla="*/ 46 h 1075"/>
                <a:gd name="T18" fmla="*/ 93 w 2048"/>
                <a:gd name="T19" fmla="*/ 23 h 1075"/>
                <a:gd name="T20" fmla="*/ 0 w 2048"/>
                <a:gd name="T21" fmla="*/ 0 h 1075"/>
                <a:gd name="T22" fmla="*/ 0 w 2048"/>
                <a:gd name="T23" fmla="*/ 982 h 1075"/>
                <a:gd name="T24" fmla="*/ 93 w 2048"/>
                <a:gd name="T25" fmla="*/ 1075 h 1075"/>
                <a:gd name="T26" fmla="*/ 1955 w 2048"/>
                <a:gd name="T27" fmla="*/ 1075 h 1075"/>
                <a:gd name="T28" fmla="*/ 2048 w 2048"/>
                <a:gd name="T29" fmla="*/ 982 h 1075"/>
                <a:gd name="T30" fmla="*/ 2048 w 2048"/>
                <a:gd name="T31" fmla="*/ 0 h 1075"/>
                <a:gd name="T32" fmla="*/ 1955 w 2048"/>
                <a:gd name="T33" fmla="*/ 23 h 10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48" h="1075">
                  <a:moveTo>
                    <a:pt x="1955" y="23"/>
                  </a:moveTo>
                  <a:cubicBezTo>
                    <a:pt x="1862" y="46"/>
                    <a:pt x="1862" y="46"/>
                    <a:pt x="1862" y="46"/>
                  </a:cubicBezTo>
                  <a:cubicBezTo>
                    <a:pt x="1303" y="186"/>
                    <a:pt x="1303" y="186"/>
                    <a:pt x="1303" y="186"/>
                  </a:cubicBezTo>
                  <a:cubicBezTo>
                    <a:pt x="1303" y="485"/>
                    <a:pt x="1303" y="485"/>
                    <a:pt x="1303" y="485"/>
                  </a:cubicBezTo>
                  <a:cubicBezTo>
                    <a:pt x="1303" y="537"/>
                    <a:pt x="1262" y="579"/>
                    <a:pt x="1210" y="579"/>
                  </a:cubicBezTo>
                  <a:cubicBezTo>
                    <a:pt x="838" y="579"/>
                    <a:pt x="838" y="579"/>
                    <a:pt x="838" y="579"/>
                  </a:cubicBezTo>
                  <a:cubicBezTo>
                    <a:pt x="786" y="579"/>
                    <a:pt x="745" y="537"/>
                    <a:pt x="745" y="485"/>
                  </a:cubicBezTo>
                  <a:cubicBezTo>
                    <a:pt x="745" y="186"/>
                    <a:pt x="745" y="186"/>
                    <a:pt x="745" y="186"/>
                  </a:cubicBezTo>
                  <a:cubicBezTo>
                    <a:pt x="186" y="46"/>
                    <a:pt x="186" y="46"/>
                    <a:pt x="186" y="46"/>
                  </a:cubicBezTo>
                  <a:cubicBezTo>
                    <a:pt x="93" y="23"/>
                    <a:pt x="93" y="23"/>
                    <a:pt x="93" y="23"/>
                  </a:cubicBezTo>
                  <a:cubicBezTo>
                    <a:pt x="0" y="0"/>
                    <a:pt x="0" y="0"/>
                    <a:pt x="0" y="0"/>
                  </a:cubicBezTo>
                  <a:cubicBezTo>
                    <a:pt x="0" y="982"/>
                    <a:pt x="0" y="982"/>
                    <a:pt x="0" y="982"/>
                  </a:cubicBezTo>
                  <a:cubicBezTo>
                    <a:pt x="0" y="1033"/>
                    <a:pt x="42" y="1075"/>
                    <a:pt x="93" y="1075"/>
                  </a:cubicBezTo>
                  <a:cubicBezTo>
                    <a:pt x="1955" y="1075"/>
                    <a:pt x="1955" y="1075"/>
                    <a:pt x="1955" y="1075"/>
                  </a:cubicBezTo>
                  <a:cubicBezTo>
                    <a:pt x="2006" y="1075"/>
                    <a:pt x="2048" y="1033"/>
                    <a:pt x="2048" y="982"/>
                  </a:cubicBezTo>
                  <a:cubicBezTo>
                    <a:pt x="2048" y="0"/>
                    <a:pt x="2048" y="0"/>
                    <a:pt x="2048" y="0"/>
                  </a:cubicBezTo>
                  <a:lnTo>
                    <a:pt x="1955" y="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Open Sans"/>
                <a:ea typeface="+mn-ea"/>
                <a:cs typeface="+mn-cs"/>
              </a:endParaRPr>
            </a:p>
          </p:txBody>
        </p:sp>
      </p:grpSp>
      <p:grpSp>
        <p:nvGrpSpPr>
          <p:cNvPr id="23" name="Group 62">
            <a:extLst>
              <a:ext uri="{FF2B5EF4-FFF2-40B4-BE49-F238E27FC236}">
                <a16:creationId xmlns:a16="http://schemas.microsoft.com/office/drawing/2014/main" id="{D15744C7-9D01-4C7F-B1CB-06A0D682D2D2}"/>
              </a:ext>
            </a:extLst>
          </p:cNvPr>
          <p:cNvGrpSpPr/>
          <p:nvPr/>
        </p:nvGrpSpPr>
        <p:grpSpPr>
          <a:xfrm>
            <a:off x="4716343" y="3679113"/>
            <a:ext cx="342266" cy="378020"/>
            <a:chOff x="5153025" y="2384426"/>
            <a:chExt cx="1884363" cy="2081213"/>
          </a:xfrm>
          <a:solidFill>
            <a:srgbClr val="FFFFFF"/>
          </a:solidFill>
        </p:grpSpPr>
        <p:sp>
          <p:nvSpPr>
            <p:cNvPr id="24" name="Freeform 5">
              <a:extLst>
                <a:ext uri="{FF2B5EF4-FFF2-40B4-BE49-F238E27FC236}">
                  <a16:creationId xmlns:a16="http://schemas.microsoft.com/office/drawing/2014/main" id="{5CDFC6C3-6829-4684-A139-EA72A0AAFBB1}"/>
                </a:ext>
              </a:extLst>
            </p:cNvPr>
            <p:cNvSpPr>
              <a:spLocks/>
            </p:cNvSpPr>
            <p:nvPr/>
          </p:nvSpPr>
          <p:spPr bwMode="auto">
            <a:xfrm>
              <a:off x="5529263" y="2384426"/>
              <a:ext cx="377825" cy="763588"/>
            </a:xfrm>
            <a:custGeom>
              <a:avLst/>
              <a:gdLst>
                <a:gd name="T0" fmla="*/ 252 w 373"/>
                <a:gd name="T1" fmla="*/ 409 h 754"/>
                <a:gd name="T2" fmla="*/ 187 w 373"/>
                <a:gd name="T3" fmla="*/ 288 h 754"/>
                <a:gd name="T4" fmla="*/ 252 w 373"/>
                <a:gd name="T5" fmla="*/ 168 h 754"/>
                <a:gd name="T6" fmla="*/ 252 w 373"/>
                <a:gd name="T7" fmla="*/ 36 h 754"/>
                <a:gd name="T8" fmla="*/ 121 w 373"/>
                <a:gd name="T9" fmla="*/ 36 h 754"/>
                <a:gd name="T10" fmla="*/ 0 w 373"/>
                <a:gd name="T11" fmla="*/ 288 h 754"/>
                <a:gd name="T12" fmla="*/ 121 w 373"/>
                <a:gd name="T13" fmla="*/ 540 h 754"/>
                <a:gd name="T14" fmla="*/ 187 w 373"/>
                <a:gd name="T15" fmla="*/ 661 h 754"/>
                <a:gd name="T16" fmla="*/ 280 w 373"/>
                <a:gd name="T17" fmla="*/ 754 h 754"/>
                <a:gd name="T18" fmla="*/ 373 w 373"/>
                <a:gd name="T19" fmla="*/ 661 h 754"/>
                <a:gd name="T20" fmla="*/ 252 w 373"/>
                <a:gd name="T21" fmla="*/ 409 h 7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3" h="754">
                  <a:moveTo>
                    <a:pt x="252" y="409"/>
                  </a:moveTo>
                  <a:cubicBezTo>
                    <a:pt x="207" y="363"/>
                    <a:pt x="187" y="341"/>
                    <a:pt x="187" y="288"/>
                  </a:cubicBezTo>
                  <a:cubicBezTo>
                    <a:pt x="187" y="236"/>
                    <a:pt x="207" y="214"/>
                    <a:pt x="252" y="168"/>
                  </a:cubicBezTo>
                  <a:cubicBezTo>
                    <a:pt x="289" y="132"/>
                    <a:pt x="289" y="73"/>
                    <a:pt x="252" y="36"/>
                  </a:cubicBezTo>
                  <a:cubicBezTo>
                    <a:pt x="216" y="0"/>
                    <a:pt x="157" y="0"/>
                    <a:pt x="121" y="36"/>
                  </a:cubicBezTo>
                  <a:cubicBezTo>
                    <a:pt x="70" y="87"/>
                    <a:pt x="0" y="157"/>
                    <a:pt x="0" y="288"/>
                  </a:cubicBezTo>
                  <a:cubicBezTo>
                    <a:pt x="0" y="420"/>
                    <a:pt x="70" y="489"/>
                    <a:pt x="121" y="540"/>
                  </a:cubicBezTo>
                  <a:cubicBezTo>
                    <a:pt x="166" y="586"/>
                    <a:pt x="187" y="608"/>
                    <a:pt x="187" y="661"/>
                  </a:cubicBezTo>
                  <a:cubicBezTo>
                    <a:pt x="187" y="712"/>
                    <a:pt x="228" y="754"/>
                    <a:pt x="280" y="754"/>
                  </a:cubicBezTo>
                  <a:cubicBezTo>
                    <a:pt x="331" y="754"/>
                    <a:pt x="373" y="712"/>
                    <a:pt x="373" y="661"/>
                  </a:cubicBezTo>
                  <a:cubicBezTo>
                    <a:pt x="373" y="529"/>
                    <a:pt x="303" y="459"/>
                    <a:pt x="252" y="40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sp>
          <p:nvSpPr>
            <p:cNvPr id="25" name="Freeform 6">
              <a:extLst>
                <a:ext uri="{FF2B5EF4-FFF2-40B4-BE49-F238E27FC236}">
                  <a16:creationId xmlns:a16="http://schemas.microsoft.com/office/drawing/2014/main" id="{8D0EC90A-64F1-4BE7-B887-3F511507191B}"/>
                </a:ext>
              </a:extLst>
            </p:cNvPr>
            <p:cNvSpPr>
              <a:spLocks/>
            </p:cNvSpPr>
            <p:nvPr/>
          </p:nvSpPr>
          <p:spPr bwMode="auto">
            <a:xfrm>
              <a:off x="5970588" y="2384426"/>
              <a:ext cx="376238" cy="763588"/>
            </a:xfrm>
            <a:custGeom>
              <a:avLst/>
              <a:gdLst>
                <a:gd name="T0" fmla="*/ 252 w 372"/>
                <a:gd name="T1" fmla="*/ 409 h 754"/>
                <a:gd name="T2" fmla="*/ 186 w 372"/>
                <a:gd name="T3" fmla="*/ 288 h 754"/>
                <a:gd name="T4" fmla="*/ 252 w 372"/>
                <a:gd name="T5" fmla="*/ 168 h 754"/>
                <a:gd name="T6" fmla="*/ 252 w 372"/>
                <a:gd name="T7" fmla="*/ 36 h 754"/>
                <a:gd name="T8" fmla="*/ 120 w 372"/>
                <a:gd name="T9" fmla="*/ 36 h 754"/>
                <a:gd name="T10" fmla="*/ 0 w 372"/>
                <a:gd name="T11" fmla="*/ 288 h 754"/>
                <a:gd name="T12" fmla="*/ 120 w 372"/>
                <a:gd name="T13" fmla="*/ 540 h 754"/>
                <a:gd name="T14" fmla="*/ 186 w 372"/>
                <a:gd name="T15" fmla="*/ 661 h 754"/>
                <a:gd name="T16" fmla="*/ 279 w 372"/>
                <a:gd name="T17" fmla="*/ 754 h 754"/>
                <a:gd name="T18" fmla="*/ 372 w 372"/>
                <a:gd name="T19" fmla="*/ 661 h 754"/>
                <a:gd name="T20" fmla="*/ 252 w 372"/>
                <a:gd name="T21" fmla="*/ 409 h 7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2" h="754">
                  <a:moveTo>
                    <a:pt x="252" y="409"/>
                  </a:moveTo>
                  <a:cubicBezTo>
                    <a:pt x="206" y="363"/>
                    <a:pt x="186" y="341"/>
                    <a:pt x="186" y="288"/>
                  </a:cubicBezTo>
                  <a:cubicBezTo>
                    <a:pt x="186" y="236"/>
                    <a:pt x="206" y="214"/>
                    <a:pt x="252" y="168"/>
                  </a:cubicBezTo>
                  <a:cubicBezTo>
                    <a:pt x="288" y="132"/>
                    <a:pt x="288" y="73"/>
                    <a:pt x="252" y="36"/>
                  </a:cubicBezTo>
                  <a:cubicBezTo>
                    <a:pt x="216" y="0"/>
                    <a:pt x="157" y="0"/>
                    <a:pt x="120" y="36"/>
                  </a:cubicBezTo>
                  <a:cubicBezTo>
                    <a:pt x="69" y="87"/>
                    <a:pt x="0" y="157"/>
                    <a:pt x="0" y="288"/>
                  </a:cubicBezTo>
                  <a:cubicBezTo>
                    <a:pt x="0" y="420"/>
                    <a:pt x="69" y="489"/>
                    <a:pt x="120" y="540"/>
                  </a:cubicBezTo>
                  <a:cubicBezTo>
                    <a:pt x="166" y="586"/>
                    <a:pt x="186" y="608"/>
                    <a:pt x="186" y="661"/>
                  </a:cubicBezTo>
                  <a:cubicBezTo>
                    <a:pt x="186" y="712"/>
                    <a:pt x="228" y="754"/>
                    <a:pt x="279" y="754"/>
                  </a:cubicBezTo>
                  <a:cubicBezTo>
                    <a:pt x="331" y="754"/>
                    <a:pt x="372" y="712"/>
                    <a:pt x="372" y="661"/>
                  </a:cubicBezTo>
                  <a:cubicBezTo>
                    <a:pt x="372" y="529"/>
                    <a:pt x="303" y="459"/>
                    <a:pt x="252" y="40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sp>
          <p:nvSpPr>
            <p:cNvPr id="26" name="Freeform 7">
              <a:extLst>
                <a:ext uri="{FF2B5EF4-FFF2-40B4-BE49-F238E27FC236}">
                  <a16:creationId xmlns:a16="http://schemas.microsoft.com/office/drawing/2014/main" id="{55E0BEBD-BB4F-4C36-9E24-9BB69EBB0218}"/>
                </a:ext>
              </a:extLst>
            </p:cNvPr>
            <p:cNvSpPr>
              <a:spLocks noEditPoints="1"/>
            </p:cNvSpPr>
            <p:nvPr/>
          </p:nvSpPr>
          <p:spPr bwMode="auto">
            <a:xfrm>
              <a:off x="5153025" y="3335340"/>
              <a:ext cx="1884363" cy="1130299"/>
            </a:xfrm>
            <a:custGeom>
              <a:avLst/>
              <a:gdLst>
                <a:gd name="T0" fmla="*/ 1433 w 1862"/>
                <a:gd name="T1" fmla="*/ 683 h 1117"/>
                <a:gd name="T2" fmla="*/ 1521 w 1862"/>
                <a:gd name="T3" fmla="*/ 683 h 1117"/>
                <a:gd name="T4" fmla="*/ 1521 w 1862"/>
                <a:gd name="T5" fmla="*/ 683 h 1117"/>
                <a:gd name="T6" fmla="*/ 1862 w 1862"/>
                <a:gd name="T7" fmla="*/ 341 h 1117"/>
                <a:gd name="T8" fmla="*/ 1521 w 1862"/>
                <a:gd name="T9" fmla="*/ 0 h 1117"/>
                <a:gd name="T10" fmla="*/ 1396 w 1862"/>
                <a:gd name="T11" fmla="*/ 0 h 1117"/>
                <a:gd name="T12" fmla="*/ 155 w 1862"/>
                <a:gd name="T13" fmla="*/ 0 h 1117"/>
                <a:gd name="T14" fmla="*/ 62 w 1862"/>
                <a:gd name="T15" fmla="*/ 93 h 1117"/>
                <a:gd name="T16" fmla="*/ 62 w 1862"/>
                <a:gd name="T17" fmla="*/ 403 h 1117"/>
                <a:gd name="T18" fmla="*/ 296 w 1862"/>
                <a:gd name="T19" fmla="*/ 931 h 1117"/>
                <a:gd name="T20" fmla="*/ 93 w 1862"/>
                <a:gd name="T21" fmla="*/ 931 h 1117"/>
                <a:gd name="T22" fmla="*/ 0 w 1862"/>
                <a:gd name="T23" fmla="*/ 1024 h 1117"/>
                <a:gd name="T24" fmla="*/ 93 w 1862"/>
                <a:gd name="T25" fmla="*/ 1117 h 1117"/>
                <a:gd name="T26" fmla="*/ 776 w 1862"/>
                <a:gd name="T27" fmla="*/ 1117 h 1117"/>
                <a:gd name="T28" fmla="*/ 1459 w 1862"/>
                <a:gd name="T29" fmla="*/ 1117 h 1117"/>
                <a:gd name="T30" fmla="*/ 1552 w 1862"/>
                <a:gd name="T31" fmla="*/ 1024 h 1117"/>
                <a:gd name="T32" fmla="*/ 1459 w 1862"/>
                <a:gd name="T33" fmla="*/ 931 h 1117"/>
                <a:gd name="T34" fmla="*/ 1256 w 1862"/>
                <a:gd name="T35" fmla="*/ 931 h 1117"/>
                <a:gd name="T36" fmla="*/ 1433 w 1862"/>
                <a:gd name="T37" fmla="*/ 683 h 1117"/>
                <a:gd name="T38" fmla="*/ 1490 w 1862"/>
                <a:gd name="T39" fmla="*/ 403 h 1117"/>
                <a:gd name="T40" fmla="*/ 1490 w 1862"/>
                <a:gd name="T41" fmla="*/ 186 h 1117"/>
                <a:gd name="T42" fmla="*/ 1521 w 1862"/>
                <a:gd name="T43" fmla="*/ 186 h 1117"/>
                <a:gd name="T44" fmla="*/ 1676 w 1862"/>
                <a:gd name="T45" fmla="*/ 341 h 1117"/>
                <a:gd name="T46" fmla="*/ 1521 w 1862"/>
                <a:gd name="T47" fmla="*/ 496 h 1117"/>
                <a:gd name="T48" fmla="*/ 1520 w 1862"/>
                <a:gd name="T49" fmla="*/ 496 h 1117"/>
                <a:gd name="T50" fmla="*/ 1483 w 1862"/>
                <a:gd name="T51" fmla="*/ 496 h 1117"/>
                <a:gd name="T52" fmla="*/ 1490 w 1862"/>
                <a:gd name="T53" fmla="*/ 403 h 1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62" h="1117">
                  <a:moveTo>
                    <a:pt x="1433" y="683"/>
                  </a:moveTo>
                  <a:cubicBezTo>
                    <a:pt x="1521" y="683"/>
                    <a:pt x="1521" y="683"/>
                    <a:pt x="1521" y="683"/>
                  </a:cubicBezTo>
                  <a:cubicBezTo>
                    <a:pt x="1521" y="683"/>
                    <a:pt x="1521" y="683"/>
                    <a:pt x="1521" y="683"/>
                  </a:cubicBezTo>
                  <a:cubicBezTo>
                    <a:pt x="1709" y="682"/>
                    <a:pt x="1862" y="529"/>
                    <a:pt x="1862" y="341"/>
                  </a:cubicBezTo>
                  <a:cubicBezTo>
                    <a:pt x="1862" y="153"/>
                    <a:pt x="1709" y="0"/>
                    <a:pt x="1521" y="0"/>
                  </a:cubicBezTo>
                  <a:cubicBezTo>
                    <a:pt x="1396" y="0"/>
                    <a:pt x="1396" y="0"/>
                    <a:pt x="1396" y="0"/>
                  </a:cubicBezTo>
                  <a:cubicBezTo>
                    <a:pt x="155" y="0"/>
                    <a:pt x="155" y="0"/>
                    <a:pt x="155" y="0"/>
                  </a:cubicBezTo>
                  <a:cubicBezTo>
                    <a:pt x="104" y="0"/>
                    <a:pt x="62" y="42"/>
                    <a:pt x="62" y="93"/>
                  </a:cubicBezTo>
                  <a:cubicBezTo>
                    <a:pt x="62" y="403"/>
                    <a:pt x="62" y="403"/>
                    <a:pt x="62" y="403"/>
                  </a:cubicBezTo>
                  <a:cubicBezTo>
                    <a:pt x="62" y="612"/>
                    <a:pt x="152" y="800"/>
                    <a:pt x="296" y="931"/>
                  </a:cubicBezTo>
                  <a:cubicBezTo>
                    <a:pt x="93" y="931"/>
                    <a:pt x="93" y="931"/>
                    <a:pt x="93" y="931"/>
                  </a:cubicBezTo>
                  <a:cubicBezTo>
                    <a:pt x="42" y="931"/>
                    <a:pt x="0" y="972"/>
                    <a:pt x="0" y="1024"/>
                  </a:cubicBezTo>
                  <a:cubicBezTo>
                    <a:pt x="0" y="1075"/>
                    <a:pt x="42" y="1117"/>
                    <a:pt x="93" y="1117"/>
                  </a:cubicBezTo>
                  <a:cubicBezTo>
                    <a:pt x="776" y="1117"/>
                    <a:pt x="776" y="1117"/>
                    <a:pt x="776" y="1117"/>
                  </a:cubicBezTo>
                  <a:cubicBezTo>
                    <a:pt x="1459" y="1117"/>
                    <a:pt x="1459" y="1117"/>
                    <a:pt x="1459" y="1117"/>
                  </a:cubicBezTo>
                  <a:cubicBezTo>
                    <a:pt x="1510" y="1117"/>
                    <a:pt x="1552" y="1075"/>
                    <a:pt x="1552" y="1024"/>
                  </a:cubicBezTo>
                  <a:cubicBezTo>
                    <a:pt x="1552" y="972"/>
                    <a:pt x="1510" y="931"/>
                    <a:pt x="1459" y="931"/>
                  </a:cubicBezTo>
                  <a:cubicBezTo>
                    <a:pt x="1256" y="931"/>
                    <a:pt x="1256" y="931"/>
                    <a:pt x="1256" y="931"/>
                  </a:cubicBezTo>
                  <a:cubicBezTo>
                    <a:pt x="1331" y="862"/>
                    <a:pt x="1392" y="778"/>
                    <a:pt x="1433" y="683"/>
                  </a:cubicBezTo>
                  <a:close/>
                  <a:moveTo>
                    <a:pt x="1490" y="403"/>
                  </a:moveTo>
                  <a:cubicBezTo>
                    <a:pt x="1490" y="186"/>
                    <a:pt x="1490" y="186"/>
                    <a:pt x="1490" y="186"/>
                  </a:cubicBezTo>
                  <a:cubicBezTo>
                    <a:pt x="1521" y="186"/>
                    <a:pt x="1521" y="186"/>
                    <a:pt x="1521" y="186"/>
                  </a:cubicBezTo>
                  <a:cubicBezTo>
                    <a:pt x="1606" y="186"/>
                    <a:pt x="1676" y="256"/>
                    <a:pt x="1676" y="341"/>
                  </a:cubicBezTo>
                  <a:cubicBezTo>
                    <a:pt x="1676" y="427"/>
                    <a:pt x="1606" y="496"/>
                    <a:pt x="1521" y="496"/>
                  </a:cubicBezTo>
                  <a:cubicBezTo>
                    <a:pt x="1521" y="496"/>
                    <a:pt x="1521" y="496"/>
                    <a:pt x="1520" y="496"/>
                  </a:cubicBezTo>
                  <a:cubicBezTo>
                    <a:pt x="1483" y="496"/>
                    <a:pt x="1483" y="496"/>
                    <a:pt x="1483" y="496"/>
                  </a:cubicBezTo>
                  <a:cubicBezTo>
                    <a:pt x="1487" y="466"/>
                    <a:pt x="1490" y="435"/>
                    <a:pt x="1490" y="4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Open Sans"/>
                <a:ea typeface="+mn-ea"/>
                <a:cs typeface="+mn-cs"/>
              </a:endParaRPr>
            </a:p>
          </p:txBody>
        </p:sp>
      </p:grpSp>
      <p:sp>
        <p:nvSpPr>
          <p:cNvPr id="27" name="TextBox 66">
            <a:extLst>
              <a:ext uri="{FF2B5EF4-FFF2-40B4-BE49-F238E27FC236}">
                <a16:creationId xmlns:a16="http://schemas.microsoft.com/office/drawing/2014/main" id="{7DD6DEA5-EB0A-4340-96AD-EBD2620BCF44}"/>
              </a:ext>
            </a:extLst>
          </p:cNvPr>
          <p:cNvSpPr txBox="1"/>
          <p:nvPr/>
        </p:nvSpPr>
        <p:spPr>
          <a:xfrm>
            <a:off x="5678882" y="3508017"/>
            <a:ext cx="859915" cy="246221"/>
          </a:xfrm>
          <a:prstGeom prst="rect">
            <a:avLst/>
          </a:prstGeom>
          <a:noFill/>
        </p:spPr>
        <p:txBody>
          <a:bodyPr wrap="none" lIns="0" tIns="0" rIns="0" bIns="0" rtlCol="0">
            <a:spAutoFit/>
          </a:bodyPr>
          <a:lstStyle/>
          <a:p>
            <a:pPr marL="0" marR="0" lvl="0" indent="0" algn="ctr" defTabSz="457200" rtl="0" eaLnBrk="1" fontAlgn="base" latinLnBrk="0" hangingPunct="1">
              <a:lnSpc>
                <a:spcPct val="100000"/>
              </a:lnSpc>
              <a:spcBef>
                <a:spcPts val="60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Open Sans"/>
                <a:ea typeface="+mn-ea"/>
                <a:cs typeface="+mn-cs"/>
              </a:rPr>
              <a:t>Strategy</a:t>
            </a:r>
          </a:p>
        </p:txBody>
      </p:sp>
      <p:sp>
        <p:nvSpPr>
          <p:cNvPr id="28" name="文本框 27">
            <a:extLst>
              <a:ext uri="{FF2B5EF4-FFF2-40B4-BE49-F238E27FC236}">
                <a16:creationId xmlns:a16="http://schemas.microsoft.com/office/drawing/2014/main" id="{112C452C-5A32-46BA-B3F8-82708310B107}"/>
              </a:ext>
            </a:extLst>
          </p:cNvPr>
          <p:cNvSpPr txBox="1"/>
          <p:nvPr/>
        </p:nvSpPr>
        <p:spPr>
          <a:xfrm>
            <a:off x="4449556" y="918105"/>
            <a:ext cx="3292889" cy="52322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2800" b="0" i="0" u="none" strike="noStrike" kern="1200" cap="none" spc="0" normalizeH="0" baseline="0" noProof="0" dirty="0">
                <a:ln>
                  <a:noFill/>
                </a:ln>
                <a:solidFill>
                  <a:prstClr val="black"/>
                </a:solidFill>
                <a:effectLst/>
                <a:uLnTx/>
                <a:uFillTx/>
                <a:latin typeface="HarmonyOS Sans Black"/>
                <a:ea typeface="+mj-ea"/>
                <a:cs typeface="+mn-cs"/>
              </a:rPr>
              <a:t>Circle </a:t>
            </a:r>
            <a:r>
              <a:rPr kumimoji="0" lang="en-US" altLang="zh-CN" sz="2800" b="0" i="0" u="none" strike="noStrike" kern="1200" cap="none" spc="0" normalizeH="0" baseline="0" noProof="0" dirty="0">
                <a:ln>
                  <a:noFill/>
                </a:ln>
                <a:solidFill>
                  <a:schemeClr val="accent1"/>
                </a:solidFill>
                <a:effectLst/>
                <a:uLnTx/>
                <a:uFillTx/>
                <a:latin typeface="HarmonyOS Sans Black"/>
                <a:ea typeface="+mj-ea"/>
                <a:cs typeface="+mn-cs"/>
              </a:rPr>
              <a:t>infographic</a:t>
            </a:r>
          </a:p>
        </p:txBody>
      </p:sp>
      <p:grpSp>
        <p:nvGrpSpPr>
          <p:cNvPr id="51" name="组合 50">
            <a:extLst>
              <a:ext uri="{FF2B5EF4-FFF2-40B4-BE49-F238E27FC236}">
                <a16:creationId xmlns:a16="http://schemas.microsoft.com/office/drawing/2014/main" id="{D4E24979-CA05-4CC6-961B-231F44376127}"/>
              </a:ext>
            </a:extLst>
          </p:cNvPr>
          <p:cNvGrpSpPr/>
          <p:nvPr/>
        </p:nvGrpSpPr>
        <p:grpSpPr>
          <a:xfrm>
            <a:off x="1003957" y="2175612"/>
            <a:ext cx="2769262" cy="851660"/>
            <a:chOff x="593918" y="2199246"/>
            <a:chExt cx="2769262" cy="851660"/>
          </a:xfrm>
        </p:grpSpPr>
        <p:sp>
          <p:nvSpPr>
            <p:cNvPr id="52" name="TextBox 65">
              <a:extLst>
                <a:ext uri="{FF2B5EF4-FFF2-40B4-BE49-F238E27FC236}">
                  <a16:creationId xmlns:a16="http://schemas.microsoft.com/office/drawing/2014/main" id="{D58DFF52-8D17-4FD0-A364-709AFC6B50CF}"/>
                </a:ext>
              </a:extLst>
            </p:cNvPr>
            <p:cNvSpPr txBox="1"/>
            <p:nvPr/>
          </p:nvSpPr>
          <p:spPr>
            <a:xfrm>
              <a:off x="1306918" y="2199246"/>
              <a:ext cx="2056261" cy="352588"/>
            </a:xfrm>
            <a:prstGeom prst="rect">
              <a:avLst/>
            </a:prstGeom>
            <a:noFill/>
          </p:spPr>
          <p:txBody>
            <a:bodyPr wrap="square" lIns="0" tIns="36000" rIns="0" bIns="36000" rtlCol="0">
              <a:spAutoFit/>
            </a:bodyPr>
            <a:lstStyle/>
            <a:p>
              <a:pPr marL="0" marR="0" lvl="0" indent="0" algn="r" defTabSz="914400" rtl="0" eaLnBrk="1" fontAlgn="auto" latinLnBrk="0" hangingPunct="1">
                <a:lnSpc>
                  <a:spcPct val="120000"/>
                </a:lnSpc>
                <a:spcBef>
                  <a:spcPts val="600"/>
                </a:spcBef>
                <a:spcAft>
                  <a:spcPts val="0"/>
                </a:spcAft>
                <a:buClrTx/>
                <a:buSzTx/>
                <a:buFontTx/>
                <a:buNone/>
                <a:tabLst/>
                <a:defRPr/>
              </a:pPr>
              <a:r>
                <a:rPr kumimoji="0" lang="zh-CN" altLang="en-US" sz="1600" b="0" i="0" u="none" strike="noStrike" kern="1200" cap="none" spc="0" normalizeH="0" baseline="0" noProof="0" dirty="0">
                  <a:ln>
                    <a:noFill/>
                  </a:ln>
                  <a:solidFill>
                    <a:schemeClr val="accent1"/>
                  </a:solidFill>
                  <a:effectLst/>
                  <a:uLnTx/>
                  <a:uFillTx/>
                  <a:latin typeface="HarmonyOS Sans SC Black"/>
                  <a:ea typeface="+mj-ea"/>
                  <a:cs typeface="+mn-cs"/>
                </a:rPr>
                <a:t>关键词标题</a:t>
              </a:r>
              <a:endParaRPr kumimoji="0" lang="en-US" sz="1600" b="0" i="0" u="none" strike="noStrike" kern="1200" cap="none" spc="0" normalizeH="0" baseline="0" noProof="0" dirty="0">
                <a:ln>
                  <a:noFill/>
                </a:ln>
                <a:solidFill>
                  <a:schemeClr val="accent1"/>
                </a:solidFill>
                <a:effectLst/>
                <a:uLnTx/>
                <a:uFillTx/>
                <a:latin typeface="HarmonyOS Sans SC Black"/>
                <a:ea typeface="+mj-ea"/>
                <a:cs typeface="+mn-cs"/>
              </a:endParaRPr>
            </a:p>
          </p:txBody>
        </p:sp>
        <p:sp>
          <p:nvSpPr>
            <p:cNvPr id="53" name="TextBox 65">
              <a:extLst>
                <a:ext uri="{FF2B5EF4-FFF2-40B4-BE49-F238E27FC236}">
                  <a16:creationId xmlns:a16="http://schemas.microsoft.com/office/drawing/2014/main" id="{6E6F21CC-CE8D-43F7-AEE5-3D0F14FE778E}"/>
                </a:ext>
              </a:extLst>
            </p:cNvPr>
            <p:cNvSpPr txBox="1"/>
            <p:nvPr/>
          </p:nvSpPr>
          <p:spPr>
            <a:xfrm>
              <a:off x="593918" y="2582645"/>
              <a:ext cx="2769262" cy="468261"/>
            </a:xfrm>
            <a:prstGeom prst="rect">
              <a:avLst/>
            </a:prstGeom>
            <a:noFill/>
          </p:spPr>
          <p:txBody>
            <a:bodyPr wrap="square" lIns="0" tIns="36000" rIns="0" bIns="36000" rtlCol="0">
              <a:spAutoFit/>
            </a:bodyPr>
            <a:lstStyle/>
            <a:p>
              <a:pPr marL="0" marR="0" lvl="0" indent="0" algn="r" defTabSz="914400" rtl="0" eaLnBrk="1" fontAlgn="auto" latinLnBrk="0" hangingPunct="1">
                <a:lnSpc>
                  <a:spcPct val="120000"/>
                </a:lnSpc>
                <a:spcBef>
                  <a:spcPts val="600"/>
                </a:spcBef>
                <a:spcAft>
                  <a:spcPts val="0"/>
                </a:spcAft>
                <a:buClrTx/>
                <a:buSzTx/>
                <a:buFontTx/>
                <a:buNone/>
                <a:tabLst/>
                <a:defRPr/>
              </a:pPr>
              <a:r>
                <a:rPr kumimoji="0" lang="zh-CN" altLang="en-US" sz="1100" b="0" i="0" u="none" strike="noStrike" kern="1200" cap="none" spc="0" normalizeH="0" baseline="0" noProof="0" dirty="0">
                  <a:ln>
                    <a:noFill/>
                  </a:ln>
                  <a:solidFill>
                    <a:prstClr val="black">
                      <a:lumMod val="50000"/>
                      <a:lumOff val="50000"/>
                    </a:prstClr>
                  </a:solidFill>
                  <a:effectLst/>
                  <a:uLnTx/>
                  <a:uFillTx/>
                  <a:latin typeface="HarmonyOS Sans SC"/>
                  <a:cs typeface="+mn-cs"/>
                </a:rPr>
                <a:t>在这里输入你的正文，阐述与关键词标题相关的具体内容</a:t>
              </a:r>
              <a:endParaRPr kumimoji="0" lang="en-US" sz="1100" b="0" i="0" u="none" strike="noStrike" kern="1200" cap="none" spc="0" normalizeH="0" baseline="0" noProof="0" dirty="0">
                <a:ln>
                  <a:noFill/>
                </a:ln>
                <a:solidFill>
                  <a:prstClr val="black">
                    <a:lumMod val="50000"/>
                    <a:lumOff val="50000"/>
                  </a:prstClr>
                </a:solidFill>
                <a:effectLst/>
                <a:uLnTx/>
                <a:uFillTx/>
                <a:latin typeface="HarmonyOS Sans SC"/>
                <a:cs typeface="+mn-cs"/>
              </a:endParaRPr>
            </a:p>
          </p:txBody>
        </p:sp>
      </p:grpSp>
      <p:grpSp>
        <p:nvGrpSpPr>
          <p:cNvPr id="54" name="组合 53">
            <a:extLst>
              <a:ext uri="{FF2B5EF4-FFF2-40B4-BE49-F238E27FC236}">
                <a16:creationId xmlns:a16="http://schemas.microsoft.com/office/drawing/2014/main" id="{FD039778-3429-4D30-A5A4-6117BDC060C2}"/>
              </a:ext>
            </a:extLst>
          </p:cNvPr>
          <p:cNvGrpSpPr/>
          <p:nvPr/>
        </p:nvGrpSpPr>
        <p:grpSpPr>
          <a:xfrm>
            <a:off x="1207940" y="3693744"/>
            <a:ext cx="2769262" cy="851660"/>
            <a:chOff x="593918" y="2199246"/>
            <a:chExt cx="2769262" cy="851660"/>
          </a:xfrm>
        </p:grpSpPr>
        <p:sp>
          <p:nvSpPr>
            <p:cNvPr id="55" name="TextBox 65">
              <a:extLst>
                <a:ext uri="{FF2B5EF4-FFF2-40B4-BE49-F238E27FC236}">
                  <a16:creationId xmlns:a16="http://schemas.microsoft.com/office/drawing/2014/main" id="{2BBF02AF-441B-44D7-A60E-D7F5A14823F1}"/>
                </a:ext>
              </a:extLst>
            </p:cNvPr>
            <p:cNvSpPr txBox="1"/>
            <p:nvPr/>
          </p:nvSpPr>
          <p:spPr>
            <a:xfrm>
              <a:off x="1306918" y="2199246"/>
              <a:ext cx="2056261" cy="352588"/>
            </a:xfrm>
            <a:prstGeom prst="rect">
              <a:avLst/>
            </a:prstGeom>
            <a:noFill/>
          </p:spPr>
          <p:txBody>
            <a:bodyPr wrap="square" lIns="0" tIns="36000" rIns="0" bIns="36000" rtlCol="0">
              <a:spAutoFit/>
            </a:bodyPr>
            <a:lstStyle/>
            <a:p>
              <a:pPr marL="0" marR="0" lvl="0" indent="0" algn="r" defTabSz="914400" rtl="0" eaLnBrk="1" fontAlgn="auto" latinLnBrk="0" hangingPunct="1">
                <a:lnSpc>
                  <a:spcPct val="120000"/>
                </a:lnSpc>
                <a:spcBef>
                  <a:spcPts val="600"/>
                </a:spcBef>
                <a:spcAft>
                  <a:spcPts val="0"/>
                </a:spcAft>
                <a:buClrTx/>
                <a:buSzTx/>
                <a:buFontTx/>
                <a:buNone/>
                <a:tabLst/>
                <a:defRPr/>
              </a:pPr>
              <a:r>
                <a:rPr kumimoji="0" lang="zh-CN" altLang="en-US" sz="1600" b="0" i="0" u="none" strike="noStrike" kern="1200" cap="none" spc="0" normalizeH="0" baseline="0" noProof="0" dirty="0">
                  <a:ln>
                    <a:noFill/>
                  </a:ln>
                  <a:solidFill>
                    <a:schemeClr val="accent1"/>
                  </a:solidFill>
                  <a:effectLst/>
                  <a:uLnTx/>
                  <a:uFillTx/>
                  <a:latin typeface="HarmonyOS Sans SC Black"/>
                  <a:ea typeface="+mj-ea"/>
                  <a:cs typeface="+mn-cs"/>
                </a:rPr>
                <a:t>关键词标题</a:t>
              </a:r>
              <a:endParaRPr kumimoji="0" lang="en-US" sz="1600" b="0" i="0" u="none" strike="noStrike" kern="1200" cap="none" spc="0" normalizeH="0" baseline="0" noProof="0" dirty="0">
                <a:ln>
                  <a:noFill/>
                </a:ln>
                <a:solidFill>
                  <a:schemeClr val="accent1"/>
                </a:solidFill>
                <a:effectLst/>
                <a:uLnTx/>
                <a:uFillTx/>
                <a:latin typeface="HarmonyOS Sans SC Black"/>
                <a:ea typeface="+mj-ea"/>
                <a:cs typeface="+mn-cs"/>
              </a:endParaRPr>
            </a:p>
          </p:txBody>
        </p:sp>
        <p:sp>
          <p:nvSpPr>
            <p:cNvPr id="56" name="TextBox 65">
              <a:extLst>
                <a:ext uri="{FF2B5EF4-FFF2-40B4-BE49-F238E27FC236}">
                  <a16:creationId xmlns:a16="http://schemas.microsoft.com/office/drawing/2014/main" id="{25966CCC-9A35-498C-8C7F-CF9E7DA3DD92}"/>
                </a:ext>
              </a:extLst>
            </p:cNvPr>
            <p:cNvSpPr txBox="1"/>
            <p:nvPr/>
          </p:nvSpPr>
          <p:spPr>
            <a:xfrm>
              <a:off x="593918" y="2582645"/>
              <a:ext cx="2769262" cy="468261"/>
            </a:xfrm>
            <a:prstGeom prst="rect">
              <a:avLst/>
            </a:prstGeom>
            <a:noFill/>
          </p:spPr>
          <p:txBody>
            <a:bodyPr wrap="square" lIns="0" tIns="36000" rIns="0" bIns="36000" rtlCol="0">
              <a:spAutoFit/>
            </a:bodyPr>
            <a:lstStyle/>
            <a:p>
              <a:pPr marL="0" marR="0" lvl="0" indent="0" algn="r" defTabSz="914400" rtl="0" eaLnBrk="1" fontAlgn="auto" latinLnBrk="0" hangingPunct="1">
                <a:lnSpc>
                  <a:spcPct val="120000"/>
                </a:lnSpc>
                <a:spcBef>
                  <a:spcPts val="600"/>
                </a:spcBef>
                <a:spcAft>
                  <a:spcPts val="0"/>
                </a:spcAft>
                <a:buClrTx/>
                <a:buSzTx/>
                <a:buFontTx/>
                <a:buNone/>
                <a:tabLst/>
                <a:defRPr/>
              </a:pPr>
              <a:r>
                <a:rPr kumimoji="0" lang="zh-CN" altLang="en-US" sz="1100" b="0" i="0" u="none" strike="noStrike" kern="1200" cap="none" spc="0" normalizeH="0" baseline="0" noProof="0" dirty="0">
                  <a:ln>
                    <a:noFill/>
                  </a:ln>
                  <a:solidFill>
                    <a:prstClr val="black">
                      <a:lumMod val="50000"/>
                      <a:lumOff val="50000"/>
                    </a:prstClr>
                  </a:solidFill>
                  <a:effectLst/>
                  <a:uLnTx/>
                  <a:uFillTx/>
                  <a:latin typeface="HarmonyOS Sans SC"/>
                  <a:cs typeface="+mn-cs"/>
                </a:rPr>
                <a:t>在这里输入你的正文，阐述与关键词标题相关的具体内容</a:t>
              </a:r>
              <a:endParaRPr kumimoji="0" lang="en-US" sz="1100" b="0" i="0" u="none" strike="noStrike" kern="1200" cap="none" spc="0" normalizeH="0" baseline="0" noProof="0" dirty="0">
                <a:ln>
                  <a:noFill/>
                </a:ln>
                <a:solidFill>
                  <a:prstClr val="black">
                    <a:lumMod val="50000"/>
                    <a:lumOff val="50000"/>
                  </a:prstClr>
                </a:solidFill>
                <a:effectLst/>
                <a:uLnTx/>
                <a:uFillTx/>
                <a:latin typeface="HarmonyOS Sans SC"/>
                <a:cs typeface="+mn-cs"/>
              </a:endParaRPr>
            </a:p>
          </p:txBody>
        </p:sp>
      </p:grpSp>
      <p:grpSp>
        <p:nvGrpSpPr>
          <p:cNvPr id="57" name="组合 56">
            <a:extLst>
              <a:ext uri="{FF2B5EF4-FFF2-40B4-BE49-F238E27FC236}">
                <a16:creationId xmlns:a16="http://schemas.microsoft.com/office/drawing/2014/main" id="{DEDE5B4D-A146-4C29-9575-409FE3BB3F88}"/>
              </a:ext>
            </a:extLst>
          </p:cNvPr>
          <p:cNvGrpSpPr/>
          <p:nvPr/>
        </p:nvGrpSpPr>
        <p:grpSpPr>
          <a:xfrm>
            <a:off x="3685274" y="5514738"/>
            <a:ext cx="4821452" cy="648527"/>
            <a:chOff x="-432177" y="2199246"/>
            <a:chExt cx="4821452" cy="648527"/>
          </a:xfrm>
        </p:grpSpPr>
        <p:sp>
          <p:nvSpPr>
            <p:cNvPr id="58" name="TextBox 65">
              <a:extLst>
                <a:ext uri="{FF2B5EF4-FFF2-40B4-BE49-F238E27FC236}">
                  <a16:creationId xmlns:a16="http://schemas.microsoft.com/office/drawing/2014/main" id="{B96AEC56-138C-4CC1-B124-3AB66FC188F2}"/>
                </a:ext>
              </a:extLst>
            </p:cNvPr>
            <p:cNvSpPr txBox="1"/>
            <p:nvPr/>
          </p:nvSpPr>
          <p:spPr>
            <a:xfrm>
              <a:off x="950419" y="2199246"/>
              <a:ext cx="2056261" cy="352588"/>
            </a:xfrm>
            <a:prstGeom prst="rect">
              <a:avLst/>
            </a:prstGeom>
            <a:noFill/>
          </p:spPr>
          <p:txBody>
            <a:bodyPr wrap="square" lIns="0" tIns="36000" rIns="0" bIns="36000" rtlCol="0">
              <a:spAutoFit/>
            </a:bodyPr>
            <a:lstStyle/>
            <a:p>
              <a:pPr marL="0" marR="0" lvl="0" indent="0" algn="ctr" defTabSz="914400" rtl="0" eaLnBrk="1" fontAlgn="auto" latinLnBrk="0" hangingPunct="1">
                <a:lnSpc>
                  <a:spcPct val="120000"/>
                </a:lnSpc>
                <a:spcBef>
                  <a:spcPts val="600"/>
                </a:spcBef>
                <a:spcAft>
                  <a:spcPts val="0"/>
                </a:spcAft>
                <a:buClrTx/>
                <a:buSzTx/>
                <a:buFontTx/>
                <a:buNone/>
                <a:tabLst/>
                <a:defRPr/>
              </a:pPr>
              <a:r>
                <a:rPr kumimoji="0" lang="zh-CN" altLang="en-US" sz="1600" b="0" i="0" u="none" strike="noStrike" kern="1200" cap="none" spc="0" normalizeH="0" baseline="0" noProof="0" dirty="0">
                  <a:ln>
                    <a:noFill/>
                  </a:ln>
                  <a:solidFill>
                    <a:schemeClr val="accent1"/>
                  </a:solidFill>
                  <a:effectLst/>
                  <a:uLnTx/>
                  <a:uFillTx/>
                  <a:latin typeface="HarmonyOS Sans SC Black"/>
                  <a:ea typeface="+mj-ea"/>
                  <a:cs typeface="+mn-cs"/>
                </a:rPr>
                <a:t>关键词标题</a:t>
              </a:r>
              <a:endParaRPr kumimoji="0" lang="en-US" sz="1600" b="0" i="0" u="none" strike="noStrike" kern="1200" cap="none" spc="0" normalizeH="0" baseline="0" noProof="0" dirty="0">
                <a:ln>
                  <a:noFill/>
                </a:ln>
                <a:solidFill>
                  <a:schemeClr val="accent1"/>
                </a:solidFill>
                <a:effectLst/>
                <a:uLnTx/>
                <a:uFillTx/>
                <a:latin typeface="HarmonyOS Sans SC Black"/>
                <a:ea typeface="+mj-ea"/>
                <a:cs typeface="+mn-cs"/>
              </a:endParaRPr>
            </a:p>
          </p:txBody>
        </p:sp>
        <p:sp>
          <p:nvSpPr>
            <p:cNvPr id="59" name="TextBox 65">
              <a:extLst>
                <a:ext uri="{FF2B5EF4-FFF2-40B4-BE49-F238E27FC236}">
                  <a16:creationId xmlns:a16="http://schemas.microsoft.com/office/drawing/2014/main" id="{3A2426A5-D82A-4FA8-9652-0A85C810D776}"/>
                </a:ext>
              </a:extLst>
            </p:cNvPr>
            <p:cNvSpPr txBox="1"/>
            <p:nvPr/>
          </p:nvSpPr>
          <p:spPr>
            <a:xfrm>
              <a:off x="-432177" y="2582645"/>
              <a:ext cx="4821452" cy="265128"/>
            </a:xfrm>
            <a:prstGeom prst="rect">
              <a:avLst/>
            </a:prstGeom>
            <a:noFill/>
          </p:spPr>
          <p:txBody>
            <a:bodyPr wrap="square" lIns="0" tIns="36000" rIns="0" bIns="36000" rtlCol="0">
              <a:spAutoFit/>
            </a:bodyPr>
            <a:lstStyle/>
            <a:p>
              <a:pPr marL="0" marR="0" lvl="0" indent="0" algn="ctr" defTabSz="914400" rtl="0" eaLnBrk="1" fontAlgn="auto" latinLnBrk="0" hangingPunct="1">
                <a:lnSpc>
                  <a:spcPct val="120000"/>
                </a:lnSpc>
                <a:spcBef>
                  <a:spcPts val="600"/>
                </a:spcBef>
                <a:spcAft>
                  <a:spcPts val="0"/>
                </a:spcAft>
                <a:buClrTx/>
                <a:buSzTx/>
                <a:buFontTx/>
                <a:buNone/>
                <a:tabLst/>
                <a:defRPr/>
              </a:pPr>
              <a:r>
                <a:rPr kumimoji="0" lang="zh-CN" altLang="en-US" sz="1100" b="0" i="0" u="none" strike="noStrike" kern="1200" cap="none" spc="0" normalizeH="0" baseline="0" noProof="0" dirty="0">
                  <a:ln>
                    <a:noFill/>
                  </a:ln>
                  <a:solidFill>
                    <a:prstClr val="black">
                      <a:lumMod val="50000"/>
                      <a:lumOff val="50000"/>
                    </a:prstClr>
                  </a:solidFill>
                  <a:effectLst/>
                  <a:uLnTx/>
                  <a:uFillTx/>
                  <a:latin typeface="HarmonyOS Sans SC"/>
                  <a:cs typeface="+mn-cs"/>
                </a:rPr>
                <a:t>在这里输入你的正文，阐述与关键词标题相关的具体内容</a:t>
              </a:r>
              <a:endParaRPr kumimoji="0" lang="en-US" sz="1100" b="0" i="0" u="none" strike="noStrike" kern="1200" cap="none" spc="0" normalizeH="0" baseline="0" noProof="0" dirty="0">
                <a:ln>
                  <a:noFill/>
                </a:ln>
                <a:solidFill>
                  <a:prstClr val="black">
                    <a:lumMod val="50000"/>
                    <a:lumOff val="50000"/>
                  </a:prstClr>
                </a:solidFill>
                <a:effectLst/>
                <a:uLnTx/>
                <a:uFillTx/>
                <a:latin typeface="HarmonyOS Sans SC"/>
                <a:cs typeface="+mn-cs"/>
              </a:endParaRPr>
            </a:p>
          </p:txBody>
        </p:sp>
      </p:grpSp>
      <p:grpSp>
        <p:nvGrpSpPr>
          <p:cNvPr id="61" name="组合 60">
            <a:extLst>
              <a:ext uri="{FF2B5EF4-FFF2-40B4-BE49-F238E27FC236}">
                <a16:creationId xmlns:a16="http://schemas.microsoft.com/office/drawing/2014/main" id="{A177D92B-28C9-4DD3-8274-0A05E9A5B55B}"/>
              </a:ext>
            </a:extLst>
          </p:cNvPr>
          <p:cNvGrpSpPr/>
          <p:nvPr/>
        </p:nvGrpSpPr>
        <p:grpSpPr>
          <a:xfrm flipH="1">
            <a:off x="8506726" y="2175612"/>
            <a:ext cx="2769262" cy="851660"/>
            <a:chOff x="593918" y="2199246"/>
            <a:chExt cx="2769262" cy="851660"/>
          </a:xfrm>
        </p:grpSpPr>
        <p:sp>
          <p:nvSpPr>
            <p:cNvPr id="65" name="TextBox 65">
              <a:extLst>
                <a:ext uri="{FF2B5EF4-FFF2-40B4-BE49-F238E27FC236}">
                  <a16:creationId xmlns:a16="http://schemas.microsoft.com/office/drawing/2014/main" id="{5BEA41AB-9F04-448A-832F-215C97C137A1}"/>
                </a:ext>
              </a:extLst>
            </p:cNvPr>
            <p:cNvSpPr txBox="1"/>
            <p:nvPr/>
          </p:nvSpPr>
          <p:spPr>
            <a:xfrm>
              <a:off x="1306918" y="2199246"/>
              <a:ext cx="2056261" cy="352588"/>
            </a:xfrm>
            <a:prstGeom prst="rect">
              <a:avLst/>
            </a:prstGeom>
            <a:noFill/>
          </p:spPr>
          <p:txBody>
            <a:bodyPr wrap="square" lIns="0" tIns="36000" rIns="0" bIns="36000" rtlCol="0">
              <a:spAutoFit/>
            </a:bodyPr>
            <a:lstStyle/>
            <a:p>
              <a:pPr marL="0" marR="0" lvl="0" indent="0" algn="l" defTabSz="914400" rtl="0" eaLnBrk="1" fontAlgn="auto" latinLnBrk="0" hangingPunct="1">
                <a:lnSpc>
                  <a:spcPct val="120000"/>
                </a:lnSpc>
                <a:spcBef>
                  <a:spcPts val="600"/>
                </a:spcBef>
                <a:spcAft>
                  <a:spcPts val="0"/>
                </a:spcAft>
                <a:buClrTx/>
                <a:buSzTx/>
                <a:buFontTx/>
                <a:buNone/>
                <a:tabLst/>
                <a:defRPr/>
              </a:pPr>
              <a:r>
                <a:rPr kumimoji="0" lang="zh-CN" altLang="en-US" sz="1600" b="0" i="0" u="none" strike="noStrike" kern="1200" cap="none" spc="0" normalizeH="0" baseline="0" noProof="0" dirty="0">
                  <a:ln>
                    <a:noFill/>
                  </a:ln>
                  <a:solidFill>
                    <a:schemeClr val="accent1"/>
                  </a:solidFill>
                  <a:effectLst/>
                  <a:uLnTx/>
                  <a:uFillTx/>
                  <a:latin typeface="HarmonyOS Sans SC Black"/>
                  <a:ea typeface="+mj-ea"/>
                  <a:cs typeface="+mn-cs"/>
                </a:rPr>
                <a:t>关键词标题</a:t>
              </a:r>
              <a:endParaRPr kumimoji="0" lang="en-US" sz="1600" b="0" i="0" u="none" strike="noStrike" kern="1200" cap="none" spc="0" normalizeH="0" baseline="0" noProof="0" dirty="0">
                <a:ln>
                  <a:noFill/>
                </a:ln>
                <a:solidFill>
                  <a:schemeClr val="accent1"/>
                </a:solidFill>
                <a:effectLst/>
                <a:uLnTx/>
                <a:uFillTx/>
                <a:latin typeface="HarmonyOS Sans SC Black"/>
                <a:ea typeface="+mj-ea"/>
                <a:cs typeface="+mn-cs"/>
              </a:endParaRPr>
            </a:p>
          </p:txBody>
        </p:sp>
        <p:sp>
          <p:nvSpPr>
            <p:cNvPr id="66" name="TextBox 65">
              <a:extLst>
                <a:ext uri="{FF2B5EF4-FFF2-40B4-BE49-F238E27FC236}">
                  <a16:creationId xmlns:a16="http://schemas.microsoft.com/office/drawing/2014/main" id="{3E46BA09-562F-4173-97DF-FEEF48AD2548}"/>
                </a:ext>
              </a:extLst>
            </p:cNvPr>
            <p:cNvSpPr txBox="1"/>
            <p:nvPr/>
          </p:nvSpPr>
          <p:spPr>
            <a:xfrm>
              <a:off x="593918" y="2582645"/>
              <a:ext cx="2769262" cy="468261"/>
            </a:xfrm>
            <a:prstGeom prst="rect">
              <a:avLst/>
            </a:prstGeom>
            <a:noFill/>
          </p:spPr>
          <p:txBody>
            <a:bodyPr wrap="square" lIns="0" tIns="36000" rIns="0" bIns="36000" rtlCol="0">
              <a:spAutoFit/>
            </a:bodyPr>
            <a:lstStyle/>
            <a:p>
              <a:pPr marL="0" marR="0" lvl="0" indent="0" algn="l" defTabSz="914400" rtl="0" eaLnBrk="1" fontAlgn="auto" latinLnBrk="0" hangingPunct="1">
                <a:lnSpc>
                  <a:spcPct val="120000"/>
                </a:lnSpc>
                <a:spcBef>
                  <a:spcPts val="600"/>
                </a:spcBef>
                <a:spcAft>
                  <a:spcPts val="0"/>
                </a:spcAft>
                <a:buClrTx/>
                <a:buSzTx/>
                <a:buFontTx/>
                <a:buNone/>
                <a:tabLst/>
                <a:defRPr/>
              </a:pPr>
              <a:r>
                <a:rPr kumimoji="0" lang="zh-CN" altLang="en-US" sz="1100" b="0" i="0" u="none" strike="noStrike" kern="1200" cap="none" spc="0" normalizeH="0" baseline="0" noProof="0" dirty="0">
                  <a:ln>
                    <a:noFill/>
                  </a:ln>
                  <a:solidFill>
                    <a:prstClr val="black">
                      <a:lumMod val="50000"/>
                      <a:lumOff val="50000"/>
                    </a:prstClr>
                  </a:solidFill>
                  <a:effectLst/>
                  <a:uLnTx/>
                  <a:uFillTx/>
                  <a:latin typeface="HarmonyOS Sans SC"/>
                  <a:cs typeface="+mn-cs"/>
                </a:rPr>
                <a:t>在这里输入你的正文，阐述与关键词标题相关的具体内容</a:t>
              </a:r>
              <a:endParaRPr kumimoji="0" lang="en-US" sz="1100" b="0" i="0" u="none" strike="noStrike" kern="1200" cap="none" spc="0" normalizeH="0" baseline="0" noProof="0" dirty="0">
                <a:ln>
                  <a:noFill/>
                </a:ln>
                <a:solidFill>
                  <a:prstClr val="black">
                    <a:lumMod val="50000"/>
                    <a:lumOff val="50000"/>
                  </a:prstClr>
                </a:solidFill>
                <a:effectLst/>
                <a:uLnTx/>
                <a:uFillTx/>
                <a:latin typeface="HarmonyOS Sans SC"/>
                <a:cs typeface="+mn-cs"/>
              </a:endParaRPr>
            </a:p>
          </p:txBody>
        </p:sp>
      </p:grpSp>
      <p:grpSp>
        <p:nvGrpSpPr>
          <p:cNvPr id="62" name="组合 61">
            <a:extLst>
              <a:ext uri="{FF2B5EF4-FFF2-40B4-BE49-F238E27FC236}">
                <a16:creationId xmlns:a16="http://schemas.microsoft.com/office/drawing/2014/main" id="{47C366CB-BCE3-4D90-A7A0-486E9E42E08D}"/>
              </a:ext>
            </a:extLst>
          </p:cNvPr>
          <p:cNvGrpSpPr/>
          <p:nvPr/>
        </p:nvGrpSpPr>
        <p:grpSpPr>
          <a:xfrm flipH="1">
            <a:off x="8256126" y="3693744"/>
            <a:ext cx="2769262" cy="851660"/>
            <a:chOff x="593918" y="2199246"/>
            <a:chExt cx="2769262" cy="851660"/>
          </a:xfrm>
        </p:grpSpPr>
        <p:sp>
          <p:nvSpPr>
            <p:cNvPr id="63" name="TextBox 65">
              <a:extLst>
                <a:ext uri="{FF2B5EF4-FFF2-40B4-BE49-F238E27FC236}">
                  <a16:creationId xmlns:a16="http://schemas.microsoft.com/office/drawing/2014/main" id="{4FC2CA8F-E4B4-4C9D-BF1D-24B36F5A073D}"/>
                </a:ext>
              </a:extLst>
            </p:cNvPr>
            <p:cNvSpPr txBox="1"/>
            <p:nvPr/>
          </p:nvSpPr>
          <p:spPr>
            <a:xfrm>
              <a:off x="1306919" y="2199246"/>
              <a:ext cx="2056261" cy="352588"/>
            </a:xfrm>
            <a:prstGeom prst="rect">
              <a:avLst/>
            </a:prstGeom>
            <a:noFill/>
          </p:spPr>
          <p:txBody>
            <a:bodyPr wrap="square" lIns="0" tIns="36000" rIns="0" bIns="36000" rtlCol="0">
              <a:spAutoFit/>
            </a:bodyPr>
            <a:lstStyle/>
            <a:p>
              <a:pPr marL="0" marR="0" lvl="0" indent="0" algn="l" defTabSz="914400" rtl="0" eaLnBrk="1" fontAlgn="auto" latinLnBrk="0" hangingPunct="1">
                <a:lnSpc>
                  <a:spcPct val="120000"/>
                </a:lnSpc>
                <a:spcBef>
                  <a:spcPts val="600"/>
                </a:spcBef>
                <a:spcAft>
                  <a:spcPts val="0"/>
                </a:spcAft>
                <a:buClrTx/>
                <a:buSzTx/>
                <a:buFontTx/>
                <a:buNone/>
                <a:tabLst/>
                <a:defRPr/>
              </a:pPr>
              <a:r>
                <a:rPr kumimoji="0" lang="zh-CN" altLang="en-US" sz="1600" b="0" i="0" u="none" strike="noStrike" kern="1200" cap="none" spc="0" normalizeH="0" baseline="0" noProof="0" dirty="0">
                  <a:ln>
                    <a:noFill/>
                  </a:ln>
                  <a:solidFill>
                    <a:schemeClr val="accent1"/>
                  </a:solidFill>
                  <a:effectLst/>
                  <a:uLnTx/>
                  <a:uFillTx/>
                  <a:latin typeface="HarmonyOS Sans SC Black"/>
                  <a:ea typeface="+mj-ea"/>
                  <a:cs typeface="+mn-cs"/>
                </a:rPr>
                <a:t>关键词标题</a:t>
              </a:r>
              <a:endParaRPr kumimoji="0" lang="en-US" sz="1600" b="0" i="0" u="none" strike="noStrike" kern="1200" cap="none" spc="0" normalizeH="0" baseline="0" noProof="0" dirty="0">
                <a:ln>
                  <a:noFill/>
                </a:ln>
                <a:solidFill>
                  <a:schemeClr val="accent1"/>
                </a:solidFill>
                <a:effectLst/>
                <a:uLnTx/>
                <a:uFillTx/>
                <a:latin typeface="HarmonyOS Sans SC Black"/>
                <a:ea typeface="+mj-ea"/>
                <a:cs typeface="+mn-cs"/>
              </a:endParaRPr>
            </a:p>
          </p:txBody>
        </p:sp>
        <p:sp>
          <p:nvSpPr>
            <p:cNvPr id="64" name="TextBox 65">
              <a:extLst>
                <a:ext uri="{FF2B5EF4-FFF2-40B4-BE49-F238E27FC236}">
                  <a16:creationId xmlns:a16="http://schemas.microsoft.com/office/drawing/2014/main" id="{159DD53B-1B80-4963-99E3-2835CE50E3A3}"/>
                </a:ext>
              </a:extLst>
            </p:cNvPr>
            <p:cNvSpPr txBox="1"/>
            <p:nvPr/>
          </p:nvSpPr>
          <p:spPr>
            <a:xfrm>
              <a:off x="593918" y="2582645"/>
              <a:ext cx="2769262" cy="468261"/>
            </a:xfrm>
            <a:prstGeom prst="rect">
              <a:avLst/>
            </a:prstGeom>
            <a:noFill/>
          </p:spPr>
          <p:txBody>
            <a:bodyPr wrap="square" lIns="0" tIns="36000" rIns="0" bIns="36000" rtlCol="0">
              <a:spAutoFit/>
            </a:bodyPr>
            <a:lstStyle/>
            <a:p>
              <a:pPr marL="0" marR="0" lvl="0" indent="0" algn="l" defTabSz="914400" rtl="0" eaLnBrk="1" fontAlgn="auto" latinLnBrk="0" hangingPunct="1">
                <a:lnSpc>
                  <a:spcPct val="120000"/>
                </a:lnSpc>
                <a:spcBef>
                  <a:spcPts val="600"/>
                </a:spcBef>
                <a:spcAft>
                  <a:spcPts val="0"/>
                </a:spcAft>
                <a:buClrTx/>
                <a:buSzTx/>
                <a:buFontTx/>
                <a:buNone/>
                <a:tabLst/>
                <a:defRPr/>
              </a:pPr>
              <a:r>
                <a:rPr kumimoji="0" lang="zh-CN" altLang="en-US" sz="1100" b="0" i="0" u="none" strike="noStrike" kern="1200" cap="none" spc="0" normalizeH="0" baseline="0" noProof="0" dirty="0">
                  <a:ln>
                    <a:noFill/>
                  </a:ln>
                  <a:solidFill>
                    <a:prstClr val="black">
                      <a:lumMod val="50000"/>
                      <a:lumOff val="50000"/>
                    </a:prstClr>
                  </a:solidFill>
                  <a:effectLst/>
                  <a:uLnTx/>
                  <a:uFillTx/>
                  <a:latin typeface="HarmonyOS Sans SC"/>
                  <a:cs typeface="+mn-cs"/>
                </a:rPr>
                <a:t>在这里输入你的正文，阐述与关键词标题相关的具体内容</a:t>
              </a:r>
              <a:endParaRPr kumimoji="0" lang="en-US" sz="1100" b="0" i="0" u="none" strike="noStrike" kern="1200" cap="none" spc="0" normalizeH="0" baseline="0" noProof="0" dirty="0">
                <a:ln>
                  <a:noFill/>
                </a:ln>
                <a:solidFill>
                  <a:prstClr val="black">
                    <a:lumMod val="50000"/>
                    <a:lumOff val="50000"/>
                  </a:prstClr>
                </a:solidFill>
                <a:effectLst/>
                <a:uLnTx/>
                <a:uFillTx/>
                <a:latin typeface="HarmonyOS Sans SC"/>
                <a:cs typeface="+mn-cs"/>
              </a:endParaRPr>
            </a:p>
          </p:txBody>
        </p:sp>
      </p:grpSp>
    </p:spTree>
    <p:extLst>
      <p:ext uri="{BB962C8B-B14F-4D97-AF65-F5344CB8AC3E}">
        <p14:creationId xmlns:p14="http://schemas.microsoft.com/office/powerpoint/2010/main" val="2800602803"/>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52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 name="Freeform 12">
            <a:extLst>
              <a:ext uri="{FF2B5EF4-FFF2-40B4-BE49-F238E27FC236}">
                <a16:creationId xmlns:a16="http://schemas.microsoft.com/office/drawing/2014/main" id="{062D4683-EDDE-4542-B175-99151E4927D1}"/>
              </a:ext>
            </a:extLst>
          </p:cNvPr>
          <p:cNvSpPr>
            <a:spLocks/>
          </p:cNvSpPr>
          <p:nvPr/>
        </p:nvSpPr>
        <p:spPr bwMode="auto">
          <a:xfrm>
            <a:off x="5062537" y="3429000"/>
            <a:ext cx="2066925" cy="1863725"/>
          </a:xfrm>
          <a:custGeom>
            <a:avLst/>
            <a:gdLst>
              <a:gd name="T0" fmla="*/ 1302 w 1302"/>
              <a:gd name="T1" fmla="*/ 1174 h 1174"/>
              <a:gd name="T2" fmla="*/ 651 w 1302"/>
              <a:gd name="T3" fmla="*/ 0 h 1174"/>
              <a:gd name="T4" fmla="*/ 0 w 1302"/>
              <a:gd name="T5" fmla="*/ 1169 h 1174"/>
              <a:gd name="T6" fmla="*/ 1302 w 1302"/>
              <a:gd name="T7" fmla="*/ 1174 h 1174"/>
            </a:gdLst>
            <a:ahLst/>
            <a:cxnLst>
              <a:cxn ang="0">
                <a:pos x="T0" y="T1"/>
              </a:cxn>
              <a:cxn ang="0">
                <a:pos x="T2" y="T3"/>
              </a:cxn>
              <a:cxn ang="0">
                <a:pos x="T4" y="T5"/>
              </a:cxn>
              <a:cxn ang="0">
                <a:pos x="T6" y="T7"/>
              </a:cxn>
            </a:cxnLst>
            <a:rect l="0" t="0" r="r" b="b"/>
            <a:pathLst>
              <a:path w="1302" h="1174">
                <a:moveTo>
                  <a:pt x="1302" y="1174"/>
                </a:moveTo>
                <a:lnTo>
                  <a:pt x="651" y="0"/>
                </a:lnTo>
                <a:lnTo>
                  <a:pt x="0" y="1169"/>
                </a:lnTo>
                <a:lnTo>
                  <a:pt x="1302" y="1174"/>
                </a:lnTo>
                <a:close/>
              </a:path>
            </a:pathLst>
          </a:custGeom>
          <a:gradFill flip="none" rotWithShape="1">
            <a:gsLst>
              <a:gs pos="73000">
                <a:schemeClr val="accent1"/>
              </a:gs>
              <a:gs pos="31000">
                <a:schemeClr val="accent1">
                  <a:lumMod val="60000"/>
                  <a:lumOff val="40000"/>
                </a:schemeClr>
              </a:gs>
              <a:gs pos="0">
                <a:schemeClr val="accent1">
                  <a:lumMod val="40000"/>
                  <a:lumOff val="60000"/>
                </a:schemeClr>
              </a:gs>
            </a:gsLst>
            <a:lin ang="1080000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84" name="任意多边形: 形状 83">
            <a:extLst>
              <a:ext uri="{FF2B5EF4-FFF2-40B4-BE49-F238E27FC236}">
                <a16:creationId xmlns:a16="http://schemas.microsoft.com/office/drawing/2014/main" id="{88A5ADE6-3A69-4C7F-9B5C-2D29E79ED63A}"/>
              </a:ext>
            </a:extLst>
          </p:cNvPr>
          <p:cNvSpPr>
            <a:spLocks/>
          </p:cNvSpPr>
          <p:nvPr/>
        </p:nvSpPr>
        <p:spPr bwMode="auto">
          <a:xfrm>
            <a:off x="3986212" y="3421063"/>
            <a:ext cx="2109788" cy="1863725"/>
          </a:xfrm>
          <a:custGeom>
            <a:avLst/>
            <a:gdLst>
              <a:gd name="connsiteX0" fmla="*/ 0 w 2109788"/>
              <a:gd name="connsiteY0" fmla="*/ 0 h 1863725"/>
              <a:gd name="connsiteX1" fmla="*/ 2109788 w 2109788"/>
              <a:gd name="connsiteY1" fmla="*/ 7938 h 1863725"/>
              <a:gd name="connsiteX2" fmla="*/ 1650739 w 2109788"/>
              <a:gd name="connsiteY2" fmla="*/ 832252 h 1863725"/>
              <a:gd name="connsiteX3" fmla="*/ 1693325 w 2109788"/>
              <a:gd name="connsiteY3" fmla="*/ 860964 h 1863725"/>
              <a:gd name="connsiteX4" fmla="*/ 1743076 w 2109788"/>
              <a:gd name="connsiteY4" fmla="*/ 981075 h 1863725"/>
              <a:gd name="connsiteX5" fmla="*/ 1573213 w 2109788"/>
              <a:gd name="connsiteY5" fmla="*/ 1150938 h 1863725"/>
              <a:gd name="connsiteX6" fmla="*/ 1507095 w 2109788"/>
              <a:gd name="connsiteY6" fmla="*/ 1137590 h 1863725"/>
              <a:gd name="connsiteX7" fmla="*/ 1487905 w 2109788"/>
              <a:gd name="connsiteY7" fmla="*/ 1124652 h 1863725"/>
              <a:gd name="connsiteX8" fmla="*/ 1076325 w 2109788"/>
              <a:gd name="connsiteY8" fmla="*/ 1863725 h 1863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09788" h="1863725">
                <a:moveTo>
                  <a:pt x="0" y="0"/>
                </a:moveTo>
                <a:lnTo>
                  <a:pt x="2109788" y="7938"/>
                </a:lnTo>
                <a:lnTo>
                  <a:pt x="1650739" y="832252"/>
                </a:lnTo>
                <a:lnTo>
                  <a:pt x="1693325" y="860964"/>
                </a:lnTo>
                <a:cubicBezTo>
                  <a:pt x="1724064" y="891703"/>
                  <a:pt x="1743076" y="934169"/>
                  <a:pt x="1743076" y="981075"/>
                </a:cubicBezTo>
                <a:cubicBezTo>
                  <a:pt x="1743076" y="1074888"/>
                  <a:pt x="1667026" y="1150938"/>
                  <a:pt x="1573213" y="1150938"/>
                </a:cubicBezTo>
                <a:cubicBezTo>
                  <a:pt x="1549760" y="1150938"/>
                  <a:pt x="1527417" y="1146185"/>
                  <a:pt x="1507095" y="1137590"/>
                </a:cubicBezTo>
                <a:lnTo>
                  <a:pt x="1487905" y="1124652"/>
                </a:lnTo>
                <a:lnTo>
                  <a:pt x="1076325" y="1863725"/>
                </a:lnTo>
                <a:close/>
              </a:path>
            </a:pathLst>
          </a:custGeom>
          <a:gradFill flip="none" rotWithShape="1">
            <a:gsLst>
              <a:gs pos="73000">
                <a:schemeClr val="accent1"/>
              </a:gs>
              <a:gs pos="31000">
                <a:schemeClr val="accent1">
                  <a:lumMod val="60000"/>
                  <a:lumOff val="40000"/>
                </a:schemeClr>
              </a:gs>
              <a:gs pos="0">
                <a:schemeClr val="accent1">
                  <a:lumMod val="40000"/>
                  <a:lumOff val="60000"/>
                </a:schemeClr>
              </a:gs>
            </a:gsLst>
            <a:lin ang="13500000" scaled="1"/>
            <a:tileRect/>
          </a:gradFill>
          <a:ln>
            <a:noFill/>
          </a:ln>
        </p:spPr>
        <p:txBody>
          <a:bodyPr vert="horz" wrap="square" lIns="91440" tIns="45720" rIns="91440" bIns="45720" numCol="1" anchor="t"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83" name="任意多边形: 形状 82">
            <a:extLst>
              <a:ext uri="{FF2B5EF4-FFF2-40B4-BE49-F238E27FC236}">
                <a16:creationId xmlns:a16="http://schemas.microsoft.com/office/drawing/2014/main" id="{AF53B62D-3BC3-4DE4-93B3-D7F93EE322DB}"/>
              </a:ext>
            </a:extLst>
          </p:cNvPr>
          <p:cNvSpPr>
            <a:spLocks/>
          </p:cNvSpPr>
          <p:nvPr/>
        </p:nvSpPr>
        <p:spPr bwMode="auto">
          <a:xfrm>
            <a:off x="3986212" y="1565274"/>
            <a:ext cx="2109788" cy="2022476"/>
          </a:xfrm>
          <a:custGeom>
            <a:avLst/>
            <a:gdLst>
              <a:gd name="connsiteX0" fmla="*/ 1076325 w 2109788"/>
              <a:gd name="connsiteY0" fmla="*/ 0 h 2022476"/>
              <a:gd name="connsiteX1" fmla="*/ 2109788 w 2109788"/>
              <a:gd name="connsiteY1" fmla="*/ 1855788 h 2022476"/>
              <a:gd name="connsiteX2" fmla="*/ 1149569 w 2109788"/>
              <a:gd name="connsiteY2" fmla="*/ 1859400 h 2022476"/>
              <a:gd name="connsiteX3" fmla="*/ 1137591 w 2109788"/>
              <a:gd name="connsiteY3" fmla="*/ 1918732 h 2022476"/>
              <a:gd name="connsiteX4" fmla="*/ 981076 w 2109788"/>
              <a:gd name="connsiteY4" fmla="*/ 2022476 h 2022476"/>
              <a:gd name="connsiteX5" fmla="*/ 824562 w 2109788"/>
              <a:gd name="connsiteY5" fmla="*/ 1918732 h 2022476"/>
              <a:gd name="connsiteX6" fmla="*/ 812839 w 2109788"/>
              <a:gd name="connsiteY6" fmla="*/ 1860667 h 2022476"/>
              <a:gd name="connsiteX7" fmla="*/ 0 w 2109788"/>
              <a:gd name="connsiteY7" fmla="*/ 1863725 h 2022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09788" h="2022476">
                <a:moveTo>
                  <a:pt x="1076325" y="0"/>
                </a:moveTo>
                <a:lnTo>
                  <a:pt x="2109788" y="1855788"/>
                </a:lnTo>
                <a:lnTo>
                  <a:pt x="1149569" y="1859400"/>
                </a:lnTo>
                <a:lnTo>
                  <a:pt x="1137591" y="1918732"/>
                </a:lnTo>
                <a:cubicBezTo>
                  <a:pt x="1111804" y="1979698"/>
                  <a:pt x="1051436" y="2022476"/>
                  <a:pt x="981076" y="2022476"/>
                </a:cubicBezTo>
                <a:cubicBezTo>
                  <a:pt x="910717" y="2022476"/>
                  <a:pt x="850348" y="1979698"/>
                  <a:pt x="824562" y="1918732"/>
                </a:cubicBezTo>
                <a:lnTo>
                  <a:pt x="812839" y="1860667"/>
                </a:lnTo>
                <a:lnTo>
                  <a:pt x="0" y="1863725"/>
                </a:lnTo>
                <a:close/>
              </a:path>
            </a:pathLst>
          </a:custGeom>
          <a:gradFill flip="none" rotWithShape="1">
            <a:gsLst>
              <a:gs pos="73000">
                <a:schemeClr val="accent1"/>
              </a:gs>
              <a:gs pos="31000">
                <a:schemeClr val="accent1">
                  <a:lumMod val="60000"/>
                  <a:lumOff val="40000"/>
                </a:schemeClr>
              </a:gs>
              <a:gs pos="0">
                <a:schemeClr val="accent1">
                  <a:lumMod val="40000"/>
                  <a:lumOff val="60000"/>
                </a:schemeClr>
              </a:gs>
            </a:gsLst>
            <a:lin ang="16200000" scaled="1"/>
            <a:tileRect/>
          </a:gradFill>
          <a:ln>
            <a:noFill/>
          </a:ln>
        </p:spPr>
        <p:txBody>
          <a:bodyPr vert="horz" wrap="square" lIns="91440" tIns="45720" rIns="91440" bIns="45720" numCol="1" anchor="t"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81" name="任意多边形: 形状 80">
            <a:extLst>
              <a:ext uri="{FF2B5EF4-FFF2-40B4-BE49-F238E27FC236}">
                <a16:creationId xmlns:a16="http://schemas.microsoft.com/office/drawing/2014/main" id="{2FEF1AF7-A0BC-482E-B965-3FA78B66920C}"/>
              </a:ext>
            </a:extLst>
          </p:cNvPr>
          <p:cNvSpPr>
            <a:spLocks/>
          </p:cNvSpPr>
          <p:nvPr/>
        </p:nvSpPr>
        <p:spPr bwMode="auto">
          <a:xfrm>
            <a:off x="5062537" y="1565275"/>
            <a:ext cx="2066925" cy="1863725"/>
          </a:xfrm>
          <a:custGeom>
            <a:avLst/>
            <a:gdLst>
              <a:gd name="connsiteX0" fmla="*/ 0 w 2066925"/>
              <a:gd name="connsiteY0" fmla="*/ 0 h 1863725"/>
              <a:gd name="connsiteX1" fmla="*/ 2066925 w 2066925"/>
              <a:gd name="connsiteY1" fmla="*/ 3175 h 1863725"/>
              <a:gd name="connsiteX2" fmla="*/ 1033463 w 2066925"/>
              <a:gd name="connsiteY2" fmla="*/ 1863725 h 1863725"/>
              <a:gd name="connsiteX3" fmla="*/ 536427 w 2066925"/>
              <a:gd name="connsiteY3" fmla="*/ 967381 h 1863725"/>
              <a:gd name="connsiteX4" fmla="*/ 526495 w 2066925"/>
              <a:gd name="connsiteY4" fmla="*/ 974077 h 1863725"/>
              <a:gd name="connsiteX5" fmla="*/ 460376 w 2066925"/>
              <a:gd name="connsiteY5" fmla="*/ 987426 h 1863725"/>
              <a:gd name="connsiteX6" fmla="*/ 290513 w 2066925"/>
              <a:gd name="connsiteY6" fmla="*/ 817563 h 1863725"/>
              <a:gd name="connsiteX7" fmla="*/ 340265 w 2066925"/>
              <a:gd name="connsiteY7" fmla="*/ 697452 h 1863725"/>
              <a:gd name="connsiteX8" fmla="*/ 374098 w 2066925"/>
              <a:gd name="connsiteY8" fmla="*/ 674641 h 1863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66925" h="1863725">
                <a:moveTo>
                  <a:pt x="0" y="0"/>
                </a:moveTo>
                <a:lnTo>
                  <a:pt x="2066925" y="3175"/>
                </a:lnTo>
                <a:lnTo>
                  <a:pt x="1033463" y="1863725"/>
                </a:lnTo>
                <a:lnTo>
                  <a:pt x="536427" y="967381"/>
                </a:lnTo>
                <a:lnTo>
                  <a:pt x="526495" y="974077"/>
                </a:lnTo>
                <a:cubicBezTo>
                  <a:pt x="506173" y="982673"/>
                  <a:pt x="483830" y="987426"/>
                  <a:pt x="460376" y="987426"/>
                </a:cubicBezTo>
                <a:cubicBezTo>
                  <a:pt x="366563" y="987426"/>
                  <a:pt x="290513" y="911376"/>
                  <a:pt x="290513" y="817563"/>
                </a:cubicBezTo>
                <a:cubicBezTo>
                  <a:pt x="290513" y="770657"/>
                  <a:pt x="309526" y="728191"/>
                  <a:pt x="340265" y="697452"/>
                </a:cubicBezTo>
                <a:lnTo>
                  <a:pt x="374098" y="674641"/>
                </a:lnTo>
                <a:close/>
              </a:path>
            </a:pathLst>
          </a:custGeom>
          <a:gradFill flip="none" rotWithShape="1">
            <a:gsLst>
              <a:gs pos="73000">
                <a:schemeClr val="accent1"/>
              </a:gs>
              <a:gs pos="31000">
                <a:schemeClr val="accent1">
                  <a:lumMod val="60000"/>
                  <a:lumOff val="40000"/>
                </a:schemeClr>
              </a:gs>
              <a:gs pos="0">
                <a:schemeClr val="accent1">
                  <a:lumMod val="40000"/>
                  <a:lumOff val="60000"/>
                </a:schemeClr>
              </a:gs>
            </a:gsLst>
            <a:lin ang="0" scaled="1"/>
            <a:tileRect/>
          </a:gradFill>
          <a:ln>
            <a:noFill/>
          </a:ln>
        </p:spPr>
        <p:txBody>
          <a:bodyPr vert="horz" wrap="square" lIns="91440" tIns="45720" rIns="91440" bIns="45720" numCol="1" anchor="t"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80" name="任意多边形: 形状 79">
            <a:extLst>
              <a:ext uri="{FF2B5EF4-FFF2-40B4-BE49-F238E27FC236}">
                <a16:creationId xmlns:a16="http://schemas.microsoft.com/office/drawing/2014/main" id="{2FD95DC2-6E8B-4A16-AC92-9E0BFF99D369}"/>
              </a:ext>
            </a:extLst>
          </p:cNvPr>
          <p:cNvSpPr>
            <a:spLocks/>
          </p:cNvSpPr>
          <p:nvPr/>
        </p:nvSpPr>
        <p:spPr bwMode="auto">
          <a:xfrm>
            <a:off x="6096000" y="1568450"/>
            <a:ext cx="2109788" cy="1863725"/>
          </a:xfrm>
          <a:custGeom>
            <a:avLst/>
            <a:gdLst>
              <a:gd name="connsiteX0" fmla="*/ 1033463 w 2109788"/>
              <a:gd name="connsiteY0" fmla="*/ 0 h 1863725"/>
              <a:gd name="connsiteX1" fmla="*/ 2109788 w 2109788"/>
              <a:gd name="connsiteY1" fmla="*/ 1863725 h 1863725"/>
              <a:gd name="connsiteX2" fmla="*/ 0 w 2109788"/>
              <a:gd name="connsiteY2" fmla="*/ 1860550 h 1863725"/>
              <a:gd name="connsiteX3" fmla="*/ 498951 w 2109788"/>
              <a:gd name="connsiteY3" fmla="*/ 962286 h 1863725"/>
              <a:gd name="connsiteX4" fmla="*/ 457739 w 2109788"/>
              <a:gd name="connsiteY4" fmla="*/ 934500 h 1863725"/>
              <a:gd name="connsiteX5" fmla="*/ 407987 w 2109788"/>
              <a:gd name="connsiteY5" fmla="*/ 814388 h 1863725"/>
              <a:gd name="connsiteX6" fmla="*/ 577850 w 2109788"/>
              <a:gd name="connsiteY6" fmla="*/ 644525 h 1863725"/>
              <a:gd name="connsiteX7" fmla="*/ 643969 w 2109788"/>
              <a:gd name="connsiteY7" fmla="*/ 657874 h 1863725"/>
              <a:gd name="connsiteX8" fmla="*/ 661482 w 2109788"/>
              <a:gd name="connsiteY8" fmla="*/ 669681 h 1863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09788" h="1863725">
                <a:moveTo>
                  <a:pt x="1033463" y="0"/>
                </a:moveTo>
                <a:lnTo>
                  <a:pt x="2109788" y="1863725"/>
                </a:lnTo>
                <a:lnTo>
                  <a:pt x="0" y="1860550"/>
                </a:lnTo>
                <a:lnTo>
                  <a:pt x="498951" y="962286"/>
                </a:lnTo>
                <a:lnTo>
                  <a:pt x="457739" y="934500"/>
                </a:lnTo>
                <a:cubicBezTo>
                  <a:pt x="427000" y="903760"/>
                  <a:pt x="407987" y="861295"/>
                  <a:pt x="407987" y="814388"/>
                </a:cubicBezTo>
                <a:cubicBezTo>
                  <a:pt x="407987" y="720575"/>
                  <a:pt x="484037" y="644525"/>
                  <a:pt x="577850" y="644525"/>
                </a:cubicBezTo>
                <a:cubicBezTo>
                  <a:pt x="601304" y="644525"/>
                  <a:pt x="623647" y="649278"/>
                  <a:pt x="643969" y="657874"/>
                </a:cubicBezTo>
                <a:lnTo>
                  <a:pt x="661482" y="669681"/>
                </a:lnTo>
                <a:close/>
              </a:path>
            </a:pathLst>
          </a:custGeom>
          <a:gradFill flip="none" rotWithShape="1">
            <a:gsLst>
              <a:gs pos="73000">
                <a:schemeClr val="accent1"/>
              </a:gs>
              <a:gs pos="31000">
                <a:schemeClr val="accent1">
                  <a:lumMod val="60000"/>
                  <a:lumOff val="40000"/>
                </a:schemeClr>
              </a:gs>
              <a:gs pos="0">
                <a:schemeClr val="accent1">
                  <a:lumMod val="40000"/>
                  <a:lumOff val="60000"/>
                </a:schemeClr>
              </a:gs>
            </a:gsLst>
            <a:lin ang="2700000" scaled="1"/>
            <a:tileRect/>
          </a:gradFill>
          <a:ln>
            <a:noFill/>
          </a:ln>
        </p:spPr>
        <p:txBody>
          <a:bodyPr vert="horz" wrap="square" lIns="91440" tIns="45720" rIns="91440" bIns="45720" numCol="1" anchor="t"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HarmonyOS Sans SC"/>
              <a:cs typeface="+mn-cs"/>
            </a:endParaRPr>
          </a:p>
        </p:txBody>
      </p:sp>
      <p:sp>
        <p:nvSpPr>
          <p:cNvPr id="79" name="任意多边形: 形状 78">
            <a:extLst>
              <a:ext uri="{FF2B5EF4-FFF2-40B4-BE49-F238E27FC236}">
                <a16:creationId xmlns:a16="http://schemas.microsoft.com/office/drawing/2014/main" id="{4B1433CC-8AFC-4EA6-936B-C29161D57BEA}"/>
              </a:ext>
            </a:extLst>
          </p:cNvPr>
          <p:cNvSpPr>
            <a:spLocks/>
          </p:cNvSpPr>
          <p:nvPr/>
        </p:nvSpPr>
        <p:spPr bwMode="auto">
          <a:xfrm>
            <a:off x="6096000" y="3254374"/>
            <a:ext cx="2109788" cy="2038350"/>
          </a:xfrm>
          <a:custGeom>
            <a:avLst/>
            <a:gdLst>
              <a:gd name="connsiteX0" fmla="*/ 1211263 w 2109788"/>
              <a:gd name="connsiteY0" fmla="*/ 0 h 2038350"/>
              <a:gd name="connsiteX1" fmla="*/ 1381126 w 2109788"/>
              <a:gd name="connsiteY1" fmla="*/ 169863 h 2038350"/>
              <a:gd name="connsiteX2" fmla="*/ 1379943 w 2109788"/>
              <a:gd name="connsiteY2" fmla="*/ 175723 h 2038350"/>
              <a:gd name="connsiteX3" fmla="*/ 2109788 w 2109788"/>
              <a:gd name="connsiteY3" fmla="*/ 174625 h 2038350"/>
              <a:gd name="connsiteX4" fmla="*/ 1033463 w 2109788"/>
              <a:gd name="connsiteY4" fmla="*/ 2038350 h 2038350"/>
              <a:gd name="connsiteX5" fmla="*/ 0 w 2109788"/>
              <a:gd name="connsiteY5" fmla="*/ 177800 h 2038350"/>
              <a:gd name="connsiteX6" fmla="*/ 1042686 w 2109788"/>
              <a:gd name="connsiteY6" fmla="*/ 176231 h 2038350"/>
              <a:gd name="connsiteX7" fmla="*/ 1041400 w 2109788"/>
              <a:gd name="connsiteY7" fmla="*/ 169863 h 2038350"/>
              <a:gd name="connsiteX8" fmla="*/ 1211263 w 2109788"/>
              <a:gd name="connsiteY8" fmla="*/ 0 h 2038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09788" h="2038350">
                <a:moveTo>
                  <a:pt x="1211263" y="0"/>
                </a:moveTo>
                <a:cubicBezTo>
                  <a:pt x="1305076" y="0"/>
                  <a:pt x="1381126" y="76050"/>
                  <a:pt x="1381126" y="169863"/>
                </a:cubicBezTo>
                <a:lnTo>
                  <a:pt x="1379943" y="175723"/>
                </a:lnTo>
                <a:lnTo>
                  <a:pt x="2109788" y="174625"/>
                </a:lnTo>
                <a:lnTo>
                  <a:pt x="1033463" y="2038350"/>
                </a:lnTo>
                <a:lnTo>
                  <a:pt x="0" y="177800"/>
                </a:lnTo>
                <a:lnTo>
                  <a:pt x="1042686" y="176231"/>
                </a:lnTo>
                <a:lnTo>
                  <a:pt x="1041400" y="169863"/>
                </a:lnTo>
                <a:cubicBezTo>
                  <a:pt x="1041400" y="76050"/>
                  <a:pt x="1117450" y="0"/>
                  <a:pt x="1211263" y="0"/>
                </a:cubicBezTo>
                <a:close/>
              </a:path>
            </a:pathLst>
          </a:custGeom>
          <a:gradFill flip="none" rotWithShape="1">
            <a:gsLst>
              <a:gs pos="73000">
                <a:schemeClr val="accent1"/>
              </a:gs>
              <a:gs pos="31000">
                <a:schemeClr val="accent1">
                  <a:lumMod val="60000"/>
                  <a:lumOff val="40000"/>
                </a:schemeClr>
              </a:gs>
              <a:gs pos="0">
                <a:schemeClr val="accent1">
                  <a:lumMod val="40000"/>
                  <a:lumOff val="60000"/>
                </a:schemeClr>
              </a:gs>
            </a:gsLst>
            <a:lin ang="5400000" scaled="1"/>
            <a:tileRect/>
          </a:gradFill>
          <a:ln>
            <a:noFill/>
          </a:ln>
        </p:spPr>
        <p:txBody>
          <a:bodyPr vert="horz" wrap="square" lIns="91440" tIns="45720" rIns="91440" bIns="45720" numCol="1" anchor="t"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13" name="Oval 17">
            <a:extLst>
              <a:ext uri="{FF2B5EF4-FFF2-40B4-BE49-F238E27FC236}">
                <a16:creationId xmlns:a16="http://schemas.microsoft.com/office/drawing/2014/main" id="{3D3E2A2A-A82D-4C30-ADC4-EF9038A16084}"/>
              </a:ext>
            </a:extLst>
          </p:cNvPr>
          <p:cNvSpPr>
            <a:spLocks noChangeArrowheads="1"/>
          </p:cNvSpPr>
          <p:nvPr/>
        </p:nvSpPr>
        <p:spPr bwMode="auto">
          <a:xfrm>
            <a:off x="6503987" y="4281488"/>
            <a:ext cx="339725" cy="339725"/>
          </a:xfrm>
          <a:prstGeom prst="ellipse">
            <a:avLst/>
          </a:prstGeom>
          <a:gradFill>
            <a:gsLst>
              <a:gs pos="84000">
                <a:schemeClr val="accent1">
                  <a:lumMod val="60000"/>
                  <a:lumOff val="40000"/>
                </a:schemeClr>
              </a:gs>
              <a:gs pos="0">
                <a:schemeClr val="accent1">
                  <a:lumMod val="40000"/>
                  <a:lumOff val="60000"/>
                </a:schemeClr>
              </a:gs>
            </a:gsLst>
            <a:lin ang="10800000" scaled="1"/>
          </a:gra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16" name="Oval 13">
            <a:extLst>
              <a:ext uri="{FF2B5EF4-FFF2-40B4-BE49-F238E27FC236}">
                <a16:creationId xmlns:a16="http://schemas.microsoft.com/office/drawing/2014/main" id="{A70D45D0-CE66-41D3-A843-BEECF90CEC22}"/>
              </a:ext>
            </a:extLst>
          </p:cNvPr>
          <p:cNvSpPr>
            <a:spLocks noChangeArrowheads="1"/>
          </p:cNvSpPr>
          <p:nvPr/>
        </p:nvSpPr>
        <p:spPr bwMode="auto">
          <a:xfrm>
            <a:off x="5329237" y="2617788"/>
            <a:ext cx="1619250" cy="1617663"/>
          </a:xfrm>
          <a:prstGeom prst="ellipse">
            <a:avLst/>
          </a:prstGeom>
          <a:solidFill>
            <a:srgbClr val="FFFFFF"/>
          </a:solidFill>
          <a:ln>
            <a:noFill/>
          </a:ln>
          <a:effectLst>
            <a:outerShdw blurRad="660400" dist="38100" dir="5400000" algn="t" rotWithShape="0">
              <a:schemeClr val="accent1">
                <a:lumMod val="75000"/>
                <a:alpha val="40000"/>
              </a:scheme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0" tIns="45720" rIns="0" bIns="45720" numCol="1" anchor="ctr"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lumMod val="75000"/>
                    <a:lumOff val="25000"/>
                  </a:prstClr>
                </a:solidFill>
                <a:effectLst/>
                <a:uLnTx/>
                <a:uFillTx/>
                <a:latin typeface="HarmonyOS Sans SC Black"/>
                <a:ea typeface="+mj-ea"/>
                <a:cs typeface="+mn-cs"/>
              </a:rPr>
              <a:t>STRATEGY</a:t>
            </a:r>
          </a:p>
        </p:txBody>
      </p:sp>
      <p:sp>
        <p:nvSpPr>
          <p:cNvPr id="24" name="Freeform 5">
            <a:extLst>
              <a:ext uri="{FF2B5EF4-FFF2-40B4-BE49-F238E27FC236}">
                <a16:creationId xmlns:a16="http://schemas.microsoft.com/office/drawing/2014/main" id="{247B0A71-0EEC-45ED-A4C7-048E876866A9}"/>
              </a:ext>
            </a:extLst>
          </p:cNvPr>
          <p:cNvSpPr>
            <a:spLocks/>
          </p:cNvSpPr>
          <p:nvPr/>
        </p:nvSpPr>
        <p:spPr bwMode="auto">
          <a:xfrm>
            <a:off x="6020768" y="4554796"/>
            <a:ext cx="83703" cy="169164"/>
          </a:xfrm>
          <a:custGeom>
            <a:avLst/>
            <a:gdLst>
              <a:gd name="T0" fmla="*/ 252 w 373"/>
              <a:gd name="T1" fmla="*/ 409 h 754"/>
              <a:gd name="T2" fmla="*/ 187 w 373"/>
              <a:gd name="T3" fmla="*/ 288 h 754"/>
              <a:gd name="T4" fmla="*/ 252 w 373"/>
              <a:gd name="T5" fmla="*/ 168 h 754"/>
              <a:gd name="T6" fmla="*/ 252 w 373"/>
              <a:gd name="T7" fmla="*/ 36 h 754"/>
              <a:gd name="T8" fmla="*/ 121 w 373"/>
              <a:gd name="T9" fmla="*/ 36 h 754"/>
              <a:gd name="T10" fmla="*/ 0 w 373"/>
              <a:gd name="T11" fmla="*/ 288 h 754"/>
              <a:gd name="T12" fmla="*/ 121 w 373"/>
              <a:gd name="T13" fmla="*/ 540 h 754"/>
              <a:gd name="T14" fmla="*/ 187 w 373"/>
              <a:gd name="T15" fmla="*/ 661 h 754"/>
              <a:gd name="T16" fmla="*/ 280 w 373"/>
              <a:gd name="T17" fmla="*/ 754 h 754"/>
              <a:gd name="T18" fmla="*/ 373 w 373"/>
              <a:gd name="T19" fmla="*/ 661 h 754"/>
              <a:gd name="T20" fmla="*/ 252 w 373"/>
              <a:gd name="T21" fmla="*/ 409 h 7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3" h="754">
                <a:moveTo>
                  <a:pt x="252" y="409"/>
                </a:moveTo>
                <a:cubicBezTo>
                  <a:pt x="207" y="363"/>
                  <a:pt x="187" y="341"/>
                  <a:pt x="187" y="288"/>
                </a:cubicBezTo>
                <a:cubicBezTo>
                  <a:pt x="187" y="236"/>
                  <a:pt x="207" y="214"/>
                  <a:pt x="252" y="168"/>
                </a:cubicBezTo>
                <a:cubicBezTo>
                  <a:pt x="289" y="132"/>
                  <a:pt x="289" y="73"/>
                  <a:pt x="252" y="36"/>
                </a:cubicBezTo>
                <a:cubicBezTo>
                  <a:pt x="216" y="0"/>
                  <a:pt x="157" y="0"/>
                  <a:pt x="121" y="36"/>
                </a:cubicBezTo>
                <a:cubicBezTo>
                  <a:pt x="70" y="87"/>
                  <a:pt x="0" y="157"/>
                  <a:pt x="0" y="288"/>
                </a:cubicBezTo>
                <a:cubicBezTo>
                  <a:pt x="0" y="420"/>
                  <a:pt x="70" y="489"/>
                  <a:pt x="121" y="540"/>
                </a:cubicBezTo>
                <a:cubicBezTo>
                  <a:pt x="166" y="586"/>
                  <a:pt x="187" y="608"/>
                  <a:pt x="187" y="661"/>
                </a:cubicBezTo>
                <a:cubicBezTo>
                  <a:pt x="187" y="712"/>
                  <a:pt x="228" y="754"/>
                  <a:pt x="280" y="754"/>
                </a:cubicBezTo>
                <a:cubicBezTo>
                  <a:pt x="331" y="754"/>
                  <a:pt x="373" y="712"/>
                  <a:pt x="373" y="661"/>
                </a:cubicBezTo>
                <a:cubicBezTo>
                  <a:pt x="373" y="529"/>
                  <a:pt x="303" y="459"/>
                  <a:pt x="252" y="40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25" name="Freeform 6">
            <a:extLst>
              <a:ext uri="{FF2B5EF4-FFF2-40B4-BE49-F238E27FC236}">
                <a16:creationId xmlns:a16="http://schemas.microsoft.com/office/drawing/2014/main" id="{A065C453-B2DF-40EF-A219-D1457E5A713A}"/>
              </a:ext>
            </a:extLst>
          </p:cNvPr>
          <p:cNvSpPr>
            <a:spLocks/>
          </p:cNvSpPr>
          <p:nvPr/>
        </p:nvSpPr>
        <p:spPr bwMode="auto">
          <a:xfrm>
            <a:off x="6118539" y="4554796"/>
            <a:ext cx="83351" cy="169164"/>
          </a:xfrm>
          <a:custGeom>
            <a:avLst/>
            <a:gdLst>
              <a:gd name="T0" fmla="*/ 252 w 372"/>
              <a:gd name="T1" fmla="*/ 409 h 754"/>
              <a:gd name="T2" fmla="*/ 186 w 372"/>
              <a:gd name="T3" fmla="*/ 288 h 754"/>
              <a:gd name="T4" fmla="*/ 252 w 372"/>
              <a:gd name="T5" fmla="*/ 168 h 754"/>
              <a:gd name="T6" fmla="*/ 252 w 372"/>
              <a:gd name="T7" fmla="*/ 36 h 754"/>
              <a:gd name="T8" fmla="*/ 120 w 372"/>
              <a:gd name="T9" fmla="*/ 36 h 754"/>
              <a:gd name="T10" fmla="*/ 0 w 372"/>
              <a:gd name="T11" fmla="*/ 288 h 754"/>
              <a:gd name="T12" fmla="*/ 120 w 372"/>
              <a:gd name="T13" fmla="*/ 540 h 754"/>
              <a:gd name="T14" fmla="*/ 186 w 372"/>
              <a:gd name="T15" fmla="*/ 661 h 754"/>
              <a:gd name="T16" fmla="*/ 279 w 372"/>
              <a:gd name="T17" fmla="*/ 754 h 754"/>
              <a:gd name="T18" fmla="*/ 372 w 372"/>
              <a:gd name="T19" fmla="*/ 661 h 754"/>
              <a:gd name="T20" fmla="*/ 252 w 372"/>
              <a:gd name="T21" fmla="*/ 409 h 7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2" h="754">
                <a:moveTo>
                  <a:pt x="252" y="409"/>
                </a:moveTo>
                <a:cubicBezTo>
                  <a:pt x="206" y="363"/>
                  <a:pt x="186" y="341"/>
                  <a:pt x="186" y="288"/>
                </a:cubicBezTo>
                <a:cubicBezTo>
                  <a:pt x="186" y="236"/>
                  <a:pt x="206" y="214"/>
                  <a:pt x="252" y="168"/>
                </a:cubicBezTo>
                <a:cubicBezTo>
                  <a:pt x="288" y="132"/>
                  <a:pt x="288" y="73"/>
                  <a:pt x="252" y="36"/>
                </a:cubicBezTo>
                <a:cubicBezTo>
                  <a:pt x="216" y="0"/>
                  <a:pt x="157" y="0"/>
                  <a:pt x="120" y="36"/>
                </a:cubicBezTo>
                <a:cubicBezTo>
                  <a:pt x="69" y="87"/>
                  <a:pt x="0" y="157"/>
                  <a:pt x="0" y="288"/>
                </a:cubicBezTo>
                <a:cubicBezTo>
                  <a:pt x="0" y="420"/>
                  <a:pt x="69" y="489"/>
                  <a:pt x="120" y="540"/>
                </a:cubicBezTo>
                <a:cubicBezTo>
                  <a:pt x="166" y="586"/>
                  <a:pt x="186" y="608"/>
                  <a:pt x="186" y="661"/>
                </a:cubicBezTo>
                <a:cubicBezTo>
                  <a:pt x="186" y="712"/>
                  <a:pt x="228" y="754"/>
                  <a:pt x="279" y="754"/>
                </a:cubicBezTo>
                <a:cubicBezTo>
                  <a:pt x="331" y="754"/>
                  <a:pt x="372" y="712"/>
                  <a:pt x="372" y="661"/>
                </a:cubicBezTo>
                <a:cubicBezTo>
                  <a:pt x="372" y="529"/>
                  <a:pt x="303" y="459"/>
                  <a:pt x="252" y="40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26" name="Freeform 7">
            <a:extLst>
              <a:ext uri="{FF2B5EF4-FFF2-40B4-BE49-F238E27FC236}">
                <a16:creationId xmlns:a16="http://schemas.microsoft.com/office/drawing/2014/main" id="{2010A6A9-55B9-46FF-97F7-C8653C02A268}"/>
              </a:ext>
            </a:extLst>
          </p:cNvPr>
          <p:cNvSpPr>
            <a:spLocks noEditPoints="1"/>
          </p:cNvSpPr>
          <p:nvPr/>
        </p:nvSpPr>
        <p:spPr bwMode="auto">
          <a:xfrm>
            <a:off x="5937417" y="4765460"/>
            <a:ext cx="417460" cy="250404"/>
          </a:xfrm>
          <a:custGeom>
            <a:avLst/>
            <a:gdLst>
              <a:gd name="T0" fmla="*/ 1433 w 1862"/>
              <a:gd name="T1" fmla="*/ 683 h 1117"/>
              <a:gd name="T2" fmla="*/ 1521 w 1862"/>
              <a:gd name="T3" fmla="*/ 683 h 1117"/>
              <a:gd name="T4" fmla="*/ 1521 w 1862"/>
              <a:gd name="T5" fmla="*/ 683 h 1117"/>
              <a:gd name="T6" fmla="*/ 1862 w 1862"/>
              <a:gd name="T7" fmla="*/ 341 h 1117"/>
              <a:gd name="T8" fmla="*/ 1521 w 1862"/>
              <a:gd name="T9" fmla="*/ 0 h 1117"/>
              <a:gd name="T10" fmla="*/ 1396 w 1862"/>
              <a:gd name="T11" fmla="*/ 0 h 1117"/>
              <a:gd name="T12" fmla="*/ 155 w 1862"/>
              <a:gd name="T13" fmla="*/ 0 h 1117"/>
              <a:gd name="T14" fmla="*/ 62 w 1862"/>
              <a:gd name="T15" fmla="*/ 93 h 1117"/>
              <a:gd name="T16" fmla="*/ 62 w 1862"/>
              <a:gd name="T17" fmla="*/ 403 h 1117"/>
              <a:gd name="T18" fmla="*/ 296 w 1862"/>
              <a:gd name="T19" fmla="*/ 931 h 1117"/>
              <a:gd name="T20" fmla="*/ 93 w 1862"/>
              <a:gd name="T21" fmla="*/ 931 h 1117"/>
              <a:gd name="T22" fmla="*/ 0 w 1862"/>
              <a:gd name="T23" fmla="*/ 1024 h 1117"/>
              <a:gd name="T24" fmla="*/ 93 w 1862"/>
              <a:gd name="T25" fmla="*/ 1117 h 1117"/>
              <a:gd name="T26" fmla="*/ 776 w 1862"/>
              <a:gd name="T27" fmla="*/ 1117 h 1117"/>
              <a:gd name="T28" fmla="*/ 1459 w 1862"/>
              <a:gd name="T29" fmla="*/ 1117 h 1117"/>
              <a:gd name="T30" fmla="*/ 1552 w 1862"/>
              <a:gd name="T31" fmla="*/ 1024 h 1117"/>
              <a:gd name="T32" fmla="*/ 1459 w 1862"/>
              <a:gd name="T33" fmla="*/ 931 h 1117"/>
              <a:gd name="T34" fmla="*/ 1256 w 1862"/>
              <a:gd name="T35" fmla="*/ 931 h 1117"/>
              <a:gd name="T36" fmla="*/ 1433 w 1862"/>
              <a:gd name="T37" fmla="*/ 683 h 1117"/>
              <a:gd name="T38" fmla="*/ 1490 w 1862"/>
              <a:gd name="T39" fmla="*/ 403 h 1117"/>
              <a:gd name="T40" fmla="*/ 1490 w 1862"/>
              <a:gd name="T41" fmla="*/ 186 h 1117"/>
              <a:gd name="T42" fmla="*/ 1521 w 1862"/>
              <a:gd name="T43" fmla="*/ 186 h 1117"/>
              <a:gd name="T44" fmla="*/ 1676 w 1862"/>
              <a:gd name="T45" fmla="*/ 341 h 1117"/>
              <a:gd name="T46" fmla="*/ 1521 w 1862"/>
              <a:gd name="T47" fmla="*/ 496 h 1117"/>
              <a:gd name="T48" fmla="*/ 1520 w 1862"/>
              <a:gd name="T49" fmla="*/ 496 h 1117"/>
              <a:gd name="T50" fmla="*/ 1483 w 1862"/>
              <a:gd name="T51" fmla="*/ 496 h 1117"/>
              <a:gd name="T52" fmla="*/ 1490 w 1862"/>
              <a:gd name="T53" fmla="*/ 403 h 1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62" h="1117">
                <a:moveTo>
                  <a:pt x="1433" y="683"/>
                </a:moveTo>
                <a:cubicBezTo>
                  <a:pt x="1521" y="683"/>
                  <a:pt x="1521" y="683"/>
                  <a:pt x="1521" y="683"/>
                </a:cubicBezTo>
                <a:cubicBezTo>
                  <a:pt x="1521" y="683"/>
                  <a:pt x="1521" y="683"/>
                  <a:pt x="1521" y="683"/>
                </a:cubicBezTo>
                <a:cubicBezTo>
                  <a:pt x="1709" y="682"/>
                  <a:pt x="1862" y="529"/>
                  <a:pt x="1862" y="341"/>
                </a:cubicBezTo>
                <a:cubicBezTo>
                  <a:pt x="1862" y="153"/>
                  <a:pt x="1709" y="0"/>
                  <a:pt x="1521" y="0"/>
                </a:cubicBezTo>
                <a:cubicBezTo>
                  <a:pt x="1396" y="0"/>
                  <a:pt x="1396" y="0"/>
                  <a:pt x="1396" y="0"/>
                </a:cubicBezTo>
                <a:cubicBezTo>
                  <a:pt x="155" y="0"/>
                  <a:pt x="155" y="0"/>
                  <a:pt x="155" y="0"/>
                </a:cubicBezTo>
                <a:cubicBezTo>
                  <a:pt x="104" y="0"/>
                  <a:pt x="62" y="42"/>
                  <a:pt x="62" y="93"/>
                </a:cubicBezTo>
                <a:cubicBezTo>
                  <a:pt x="62" y="403"/>
                  <a:pt x="62" y="403"/>
                  <a:pt x="62" y="403"/>
                </a:cubicBezTo>
                <a:cubicBezTo>
                  <a:pt x="62" y="612"/>
                  <a:pt x="152" y="800"/>
                  <a:pt x="296" y="931"/>
                </a:cubicBezTo>
                <a:cubicBezTo>
                  <a:pt x="93" y="931"/>
                  <a:pt x="93" y="931"/>
                  <a:pt x="93" y="931"/>
                </a:cubicBezTo>
                <a:cubicBezTo>
                  <a:pt x="42" y="931"/>
                  <a:pt x="0" y="972"/>
                  <a:pt x="0" y="1024"/>
                </a:cubicBezTo>
                <a:cubicBezTo>
                  <a:pt x="0" y="1075"/>
                  <a:pt x="42" y="1117"/>
                  <a:pt x="93" y="1117"/>
                </a:cubicBezTo>
                <a:cubicBezTo>
                  <a:pt x="776" y="1117"/>
                  <a:pt x="776" y="1117"/>
                  <a:pt x="776" y="1117"/>
                </a:cubicBezTo>
                <a:cubicBezTo>
                  <a:pt x="1459" y="1117"/>
                  <a:pt x="1459" y="1117"/>
                  <a:pt x="1459" y="1117"/>
                </a:cubicBezTo>
                <a:cubicBezTo>
                  <a:pt x="1510" y="1117"/>
                  <a:pt x="1552" y="1075"/>
                  <a:pt x="1552" y="1024"/>
                </a:cubicBezTo>
                <a:cubicBezTo>
                  <a:pt x="1552" y="972"/>
                  <a:pt x="1510" y="931"/>
                  <a:pt x="1459" y="931"/>
                </a:cubicBezTo>
                <a:cubicBezTo>
                  <a:pt x="1256" y="931"/>
                  <a:pt x="1256" y="931"/>
                  <a:pt x="1256" y="931"/>
                </a:cubicBezTo>
                <a:cubicBezTo>
                  <a:pt x="1331" y="862"/>
                  <a:pt x="1392" y="778"/>
                  <a:pt x="1433" y="683"/>
                </a:cubicBezTo>
                <a:close/>
                <a:moveTo>
                  <a:pt x="1490" y="403"/>
                </a:moveTo>
                <a:cubicBezTo>
                  <a:pt x="1490" y="186"/>
                  <a:pt x="1490" y="186"/>
                  <a:pt x="1490" y="186"/>
                </a:cubicBezTo>
                <a:cubicBezTo>
                  <a:pt x="1521" y="186"/>
                  <a:pt x="1521" y="186"/>
                  <a:pt x="1521" y="186"/>
                </a:cubicBezTo>
                <a:cubicBezTo>
                  <a:pt x="1606" y="186"/>
                  <a:pt x="1676" y="256"/>
                  <a:pt x="1676" y="341"/>
                </a:cubicBezTo>
                <a:cubicBezTo>
                  <a:pt x="1676" y="427"/>
                  <a:pt x="1606" y="496"/>
                  <a:pt x="1521" y="496"/>
                </a:cubicBezTo>
                <a:cubicBezTo>
                  <a:pt x="1521" y="496"/>
                  <a:pt x="1521" y="496"/>
                  <a:pt x="1520" y="496"/>
                </a:cubicBezTo>
                <a:cubicBezTo>
                  <a:pt x="1483" y="496"/>
                  <a:pt x="1483" y="496"/>
                  <a:pt x="1483" y="496"/>
                </a:cubicBezTo>
                <a:cubicBezTo>
                  <a:pt x="1487" y="466"/>
                  <a:pt x="1490" y="435"/>
                  <a:pt x="1490" y="40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HarmonyOS Sans SC"/>
              <a:cs typeface="+mn-cs"/>
            </a:endParaRPr>
          </a:p>
        </p:txBody>
      </p:sp>
      <p:sp>
        <p:nvSpPr>
          <p:cNvPr id="28" name="Oval 5">
            <a:extLst>
              <a:ext uri="{FF2B5EF4-FFF2-40B4-BE49-F238E27FC236}">
                <a16:creationId xmlns:a16="http://schemas.microsoft.com/office/drawing/2014/main" id="{7C584F7F-F0DE-4BFD-BEA8-8D324A32FEB9}"/>
              </a:ext>
            </a:extLst>
          </p:cNvPr>
          <p:cNvSpPr>
            <a:spLocks noChangeArrowheads="1"/>
          </p:cNvSpPr>
          <p:nvPr/>
        </p:nvSpPr>
        <p:spPr bwMode="auto">
          <a:xfrm>
            <a:off x="7157531" y="2514599"/>
            <a:ext cx="182797" cy="18279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29" name="Freeform 6">
            <a:extLst>
              <a:ext uri="{FF2B5EF4-FFF2-40B4-BE49-F238E27FC236}">
                <a16:creationId xmlns:a16="http://schemas.microsoft.com/office/drawing/2014/main" id="{10563DB1-AD09-4846-883E-A9A1B8416EB5}"/>
              </a:ext>
            </a:extLst>
          </p:cNvPr>
          <p:cNvSpPr>
            <a:spLocks/>
          </p:cNvSpPr>
          <p:nvPr/>
        </p:nvSpPr>
        <p:spPr bwMode="auto">
          <a:xfrm>
            <a:off x="7080691" y="2742691"/>
            <a:ext cx="335667" cy="188458"/>
          </a:xfrm>
          <a:custGeom>
            <a:avLst/>
            <a:gdLst>
              <a:gd name="T0" fmla="*/ 933 w 1650"/>
              <a:gd name="T1" fmla="*/ 0 h 926"/>
              <a:gd name="T2" fmla="*/ 933 w 1650"/>
              <a:gd name="T3" fmla="*/ 109 h 926"/>
              <a:gd name="T4" fmla="*/ 933 w 1650"/>
              <a:gd name="T5" fmla="*/ 218 h 926"/>
              <a:gd name="T6" fmla="*/ 933 w 1650"/>
              <a:gd name="T7" fmla="*/ 675 h 926"/>
              <a:gd name="T8" fmla="*/ 926 w 1650"/>
              <a:gd name="T9" fmla="*/ 711 h 926"/>
              <a:gd name="T10" fmla="*/ 825 w 1650"/>
              <a:gd name="T11" fmla="*/ 783 h 926"/>
              <a:gd name="T12" fmla="*/ 724 w 1650"/>
              <a:gd name="T13" fmla="*/ 711 h 926"/>
              <a:gd name="T14" fmla="*/ 717 w 1650"/>
              <a:gd name="T15" fmla="*/ 675 h 926"/>
              <a:gd name="T16" fmla="*/ 717 w 1650"/>
              <a:gd name="T17" fmla="*/ 218 h 926"/>
              <a:gd name="T18" fmla="*/ 717 w 1650"/>
              <a:gd name="T19" fmla="*/ 109 h 926"/>
              <a:gd name="T20" fmla="*/ 717 w 1650"/>
              <a:gd name="T21" fmla="*/ 0 h 926"/>
              <a:gd name="T22" fmla="*/ 0 w 1650"/>
              <a:gd name="T23" fmla="*/ 818 h 926"/>
              <a:gd name="T24" fmla="*/ 108 w 1650"/>
              <a:gd name="T25" fmla="*/ 926 h 926"/>
              <a:gd name="T26" fmla="*/ 1542 w 1650"/>
              <a:gd name="T27" fmla="*/ 926 h 926"/>
              <a:gd name="T28" fmla="*/ 1650 w 1650"/>
              <a:gd name="T29" fmla="*/ 818 h 926"/>
              <a:gd name="T30" fmla="*/ 933 w 1650"/>
              <a:gd name="T31" fmla="*/ 0 h 9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50" h="926">
                <a:moveTo>
                  <a:pt x="933" y="0"/>
                </a:moveTo>
                <a:cubicBezTo>
                  <a:pt x="933" y="109"/>
                  <a:pt x="933" y="109"/>
                  <a:pt x="933" y="109"/>
                </a:cubicBezTo>
                <a:cubicBezTo>
                  <a:pt x="933" y="218"/>
                  <a:pt x="933" y="218"/>
                  <a:pt x="933" y="218"/>
                </a:cubicBezTo>
                <a:cubicBezTo>
                  <a:pt x="933" y="675"/>
                  <a:pt x="933" y="675"/>
                  <a:pt x="933" y="675"/>
                </a:cubicBezTo>
                <a:cubicBezTo>
                  <a:pt x="933" y="688"/>
                  <a:pt x="930" y="700"/>
                  <a:pt x="926" y="711"/>
                </a:cubicBezTo>
                <a:cubicBezTo>
                  <a:pt x="912" y="753"/>
                  <a:pt x="872" y="783"/>
                  <a:pt x="825" y="783"/>
                </a:cubicBezTo>
                <a:cubicBezTo>
                  <a:pt x="778" y="783"/>
                  <a:pt x="738" y="753"/>
                  <a:pt x="724" y="711"/>
                </a:cubicBezTo>
                <a:cubicBezTo>
                  <a:pt x="720" y="700"/>
                  <a:pt x="717" y="688"/>
                  <a:pt x="717" y="675"/>
                </a:cubicBezTo>
                <a:cubicBezTo>
                  <a:pt x="717" y="218"/>
                  <a:pt x="717" y="218"/>
                  <a:pt x="717" y="218"/>
                </a:cubicBezTo>
                <a:cubicBezTo>
                  <a:pt x="717" y="109"/>
                  <a:pt x="717" y="109"/>
                  <a:pt x="717" y="109"/>
                </a:cubicBezTo>
                <a:cubicBezTo>
                  <a:pt x="717" y="0"/>
                  <a:pt x="717" y="0"/>
                  <a:pt x="717" y="0"/>
                </a:cubicBezTo>
                <a:cubicBezTo>
                  <a:pt x="313" y="53"/>
                  <a:pt x="0" y="400"/>
                  <a:pt x="0" y="818"/>
                </a:cubicBezTo>
                <a:cubicBezTo>
                  <a:pt x="0" y="878"/>
                  <a:pt x="48" y="926"/>
                  <a:pt x="108" y="926"/>
                </a:cubicBezTo>
                <a:cubicBezTo>
                  <a:pt x="1542" y="926"/>
                  <a:pt x="1542" y="926"/>
                  <a:pt x="1542" y="926"/>
                </a:cubicBezTo>
                <a:cubicBezTo>
                  <a:pt x="1602" y="926"/>
                  <a:pt x="1650" y="878"/>
                  <a:pt x="1650" y="818"/>
                </a:cubicBezTo>
                <a:cubicBezTo>
                  <a:pt x="1650" y="400"/>
                  <a:pt x="1337" y="53"/>
                  <a:pt x="933"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30" name="Freeform 14">
            <a:extLst>
              <a:ext uri="{FF2B5EF4-FFF2-40B4-BE49-F238E27FC236}">
                <a16:creationId xmlns:a16="http://schemas.microsoft.com/office/drawing/2014/main" id="{5AE46317-645F-4B73-9C58-64E398EEDE7C}"/>
              </a:ext>
            </a:extLst>
          </p:cNvPr>
          <p:cNvSpPr>
            <a:spLocks/>
          </p:cNvSpPr>
          <p:nvPr/>
        </p:nvSpPr>
        <p:spPr bwMode="auto">
          <a:xfrm>
            <a:off x="7087106" y="3843996"/>
            <a:ext cx="322836" cy="421243"/>
          </a:xfrm>
          <a:custGeom>
            <a:avLst/>
            <a:gdLst>
              <a:gd name="T0" fmla="*/ 1538 w 1573"/>
              <a:gd name="T1" fmla="*/ 277 h 2048"/>
              <a:gd name="T2" fmla="*/ 1475 w 1573"/>
              <a:gd name="T3" fmla="*/ 215 h 2048"/>
              <a:gd name="T4" fmla="*/ 1496 w 1573"/>
              <a:gd name="T5" fmla="*/ 194 h 2048"/>
              <a:gd name="T6" fmla="*/ 1496 w 1573"/>
              <a:gd name="T7" fmla="*/ 68 h 2048"/>
              <a:gd name="T8" fmla="*/ 1370 w 1573"/>
              <a:gd name="T9" fmla="*/ 68 h 2048"/>
              <a:gd name="T10" fmla="*/ 1349 w 1573"/>
              <a:gd name="T11" fmla="*/ 89 h 2048"/>
              <a:gd name="T12" fmla="*/ 1286 w 1573"/>
              <a:gd name="T13" fmla="*/ 26 h 2048"/>
              <a:gd name="T14" fmla="*/ 1224 w 1573"/>
              <a:gd name="T15" fmla="*/ 0 h 2048"/>
              <a:gd name="T16" fmla="*/ 1161 w 1573"/>
              <a:gd name="T17" fmla="*/ 26 h 2048"/>
              <a:gd name="T18" fmla="*/ 574 w 1573"/>
              <a:gd name="T19" fmla="*/ 613 h 2048"/>
              <a:gd name="T20" fmla="*/ 548 w 1573"/>
              <a:gd name="T21" fmla="*/ 676 h 2048"/>
              <a:gd name="T22" fmla="*/ 574 w 1573"/>
              <a:gd name="T23" fmla="*/ 738 h 2048"/>
              <a:gd name="T24" fmla="*/ 825 w 1573"/>
              <a:gd name="T25" fmla="*/ 990 h 2048"/>
              <a:gd name="T26" fmla="*/ 888 w 1573"/>
              <a:gd name="T27" fmla="*/ 1016 h 2048"/>
              <a:gd name="T28" fmla="*/ 951 w 1573"/>
              <a:gd name="T29" fmla="*/ 990 h 2048"/>
              <a:gd name="T30" fmla="*/ 1218 w 1573"/>
              <a:gd name="T31" fmla="*/ 723 h 2048"/>
              <a:gd name="T32" fmla="*/ 1308 w 1573"/>
              <a:gd name="T33" fmla="*/ 1011 h 2048"/>
              <a:gd name="T34" fmla="*/ 804 w 1573"/>
              <a:gd name="T35" fmla="*/ 1515 h 2048"/>
              <a:gd name="T36" fmla="*/ 420 w 1573"/>
              <a:gd name="T37" fmla="*/ 1337 h 2048"/>
              <a:gd name="T38" fmla="*/ 682 w 1573"/>
              <a:gd name="T39" fmla="*/ 1337 h 2048"/>
              <a:gd name="T40" fmla="*/ 771 w 1573"/>
              <a:gd name="T41" fmla="*/ 1248 h 2048"/>
              <a:gd name="T42" fmla="*/ 682 w 1573"/>
              <a:gd name="T43" fmla="*/ 1159 h 2048"/>
              <a:gd name="T44" fmla="*/ 330 w 1573"/>
              <a:gd name="T45" fmla="*/ 1159 h 2048"/>
              <a:gd name="T46" fmla="*/ 89 w 1573"/>
              <a:gd name="T47" fmla="*/ 1159 h 2048"/>
              <a:gd name="T48" fmla="*/ 0 w 1573"/>
              <a:gd name="T49" fmla="*/ 1248 h 2048"/>
              <a:gd name="T50" fmla="*/ 89 w 1573"/>
              <a:gd name="T51" fmla="*/ 1337 h 2048"/>
              <a:gd name="T52" fmla="*/ 241 w 1573"/>
              <a:gd name="T53" fmla="*/ 1337 h 2048"/>
              <a:gd name="T54" fmla="*/ 241 w 1573"/>
              <a:gd name="T55" fmla="*/ 1366 h 2048"/>
              <a:gd name="T56" fmla="*/ 259 w 1573"/>
              <a:gd name="T57" fmla="*/ 1420 h 2048"/>
              <a:gd name="T58" fmla="*/ 716 w 1573"/>
              <a:gd name="T59" fmla="*/ 1687 h 2048"/>
              <a:gd name="T60" fmla="*/ 716 w 1573"/>
              <a:gd name="T61" fmla="*/ 1870 h 2048"/>
              <a:gd name="T62" fmla="*/ 390 w 1573"/>
              <a:gd name="T63" fmla="*/ 1870 h 2048"/>
              <a:gd name="T64" fmla="*/ 301 w 1573"/>
              <a:gd name="T65" fmla="*/ 1959 h 2048"/>
              <a:gd name="T66" fmla="*/ 390 w 1573"/>
              <a:gd name="T67" fmla="*/ 2048 h 2048"/>
              <a:gd name="T68" fmla="*/ 805 w 1573"/>
              <a:gd name="T69" fmla="*/ 2048 h 2048"/>
              <a:gd name="T70" fmla="*/ 1220 w 1573"/>
              <a:gd name="T71" fmla="*/ 2048 h 2048"/>
              <a:gd name="T72" fmla="*/ 1308 w 1573"/>
              <a:gd name="T73" fmla="*/ 1959 h 2048"/>
              <a:gd name="T74" fmla="*/ 1220 w 1573"/>
              <a:gd name="T75" fmla="*/ 1870 h 2048"/>
              <a:gd name="T76" fmla="*/ 894 w 1573"/>
              <a:gd name="T77" fmla="*/ 1870 h 2048"/>
              <a:gd name="T78" fmla="*/ 894 w 1573"/>
              <a:gd name="T79" fmla="*/ 1687 h 2048"/>
              <a:gd name="T80" fmla="*/ 1486 w 1573"/>
              <a:gd name="T81" fmla="*/ 1011 h 2048"/>
              <a:gd name="T82" fmla="*/ 1345 w 1573"/>
              <a:gd name="T83" fmla="*/ 596 h 2048"/>
              <a:gd name="T84" fmla="*/ 1538 w 1573"/>
              <a:gd name="T85" fmla="*/ 403 h 2048"/>
              <a:gd name="T86" fmla="*/ 1538 w 1573"/>
              <a:gd name="T87" fmla="*/ 277 h 20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573" h="2048">
                <a:moveTo>
                  <a:pt x="1538" y="277"/>
                </a:moveTo>
                <a:cubicBezTo>
                  <a:pt x="1475" y="215"/>
                  <a:pt x="1475" y="215"/>
                  <a:pt x="1475" y="215"/>
                </a:cubicBezTo>
                <a:cubicBezTo>
                  <a:pt x="1496" y="194"/>
                  <a:pt x="1496" y="194"/>
                  <a:pt x="1496" y="194"/>
                </a:cubicBezTo>
                <a:cubicBezTo>
                  <a:pt x="1531" y="159"/>
                  <a:pt x="1531" y="103"/>
                  <a:pt x="1496" y="68"/>
                </a:cubicBezTo>
                <a:cubicBezTo>
                  <a:pt x="1461" y="33"/>
                  <a:pt x="1405" y="33"/>
                  <a:pt x="1370" y="68"/>
                </a:cubicBezTo>
                <a:cubicBezTo>
                  <a:pt x="1349" y="89"/>
                  <a:pt x="1349" y="89"/>
                  <a:pt x="1349" y="89"/>
                </a:cubicBezTo>
                <a:cubicBezTo>
                  <a:pt x="1286" y="26"/>
                  <a:pt x="1286" y="26"/>
                  <a:pt x="1286" y="26"/>
                </a:cubicBezTo>
                <a:cubicBezTo>
                  <a:pt x="1270" y="9"/>
                  <a:pt x="1247" y="0"/>
                  <a:pt x="1224" y="0"/>
                </a:cubicBezTo>
                <a:cubicBezTo>
                  <a:pt x="1200" y="0"/>
                  <a:pt x="1177" y="9"/>
                  <a:pt x="1161" y="26"/>
                </a:cubicBezTo>
                <a:cubicBezTo>
                  <a:pt x="574" y="613"/>
                  <a:pt x="574" y="613"/>
                  <a:pt x="574" y="613"/>
                </a:cubicBezTo>
                <a:cubicBezTo>
                  <a:pt x="557" y="629"/>
                  <a:pt x="548" y="652"/>
                  <a:pt x="548" y="676"/>
                </a:cubicBezTo>
                <a:cubicBezTo>
                  <a:pt x="548" y="699"/>
                  <a:pt x="557" y="722"/>
                  <a:pt x="574" y="738"/>
                </a:cubicBezTo>
                <a:cubicBezTo>
                  <a:pt x="825" y="990"/>
                  <a:pt x="825" y="990"/>
                  <a:pt x="825" y="990"/>
                </a:cubicBezTo>
                <a:cubicBezTo>
                  <a:pt x="843" y="1007"/>
                  <a:pt x="866" y="1016"/>
                  <a:pt x="888" y="1016"/>
                </a:cubicBezTo>
                <a:cubicBezTo>
                  <a:pt x="911" y="1016"/>
                  <a:pt x="934" y="1007"/>
                  <a:pt x="951" y="990"/>
                </a:cubicBezTo>
                <a:cubicBezTo>
                  <a:pt x="1218" y="723"/>
                  <a:pt x="1218" y="723"/>
                  <a:pt x="1218" y="723"/>
                </a:cubicBezTo>
                <a:cubicBezTo>
                  <a:pt x="1277" y="807"/>
                  <a:pt x="1308" y="906"/>
                  <a:pt x="1308" y="1011"/>
                </a:cubicBezTo>
                <a:cubicBezTo>
                  <a:pt x="1308" y="1289"/>
                  <a:pt x="1082" y="1515"/>
                  <a:pt x="804" y="1515"/>
                </a:cubicBezTo>
                <a:cubicBezTo>
                  <a:pt x="655" y="1515"/>
                  <a:pt x="516" y="1450"/>
                  <a:pt x="420" y="1337"/>
                </a:cubicBezTo>
                <a:cubicBezTo>
                  <a:pt x="682" y="1337"/>
                  <a:pt x="682" y="1337"/>
                  <a:pt x="682" y="1337"/>
                </a:cubicBezTo>
                <a:cubicBezTo>
                  <a:pt x="731" y="1337"/>
                  <a:pt x="771" y="1297"/>
                  <a:pt x="771" y="1248"/>
                </a:cubicBezTo>
                <a:cubicBezTo>
                  <a:pt x="771" y="1199"/>
                  <a:pt x="731" y="1159"/>
                  <a:pt x="682" y="1159"/>
                </a:cubicBezTo>
                <a:cubicBezTo>
                  <a:pt x="330" y="1159"/>
                  <a:pt x="330" y="1159"/>
                  <a:pt x="330" y="1159"/>
                </a:cubicBezTo>
                <a:cubicBezTo>
                  <a:pt x="89" y="1159"/>
                  <a:pt x="89" y="1159"/>
                  <a:pt x="89" y="1159"/>
                </a:cubicBezTo>
                <a:cubicBezTo>
                  <a:pt x="40" y="1159"/>
                  <a:pt x="0" y="1199"/>
                  <a:pt x="0" y="1248"/>
                </a:cubicBezTo>
                <a:cubicBezTo>
                  <a:pt x="0" y="1297"/>
                  <a:pt x="40" y="1337"/>
                  <a:pt x="89" y="1337"/>
                </a:cubicBezTo>
                <a:cubicBezTo>
                  <a:pt x="241" y="1337"/>
                  <a:pt x="241" y="1337"/>
                  <a:pt x="241" y="1337"/>
                </a:cubicBezTo>
                <a:cubicBezTo>
                  <a:pt x="241" y="1366"/>
                  <a:pt x="241" y="1366"/>
                  <a:pt x="241" y="1366"/>
                </a:cubicBezTo>
                <a:cubicBezTo>
                  <a:pt x="241" y="1386"/>
                  <a:pt x="248" y="1404"/>
                  <a:pt x="259" y="1420"/>
                </a:cubicBezTo>
                <a:cubicBezTo>
                  <a:pt x="371" y="1569"/>
                  <a:pt x="534" y="1663"/>
                  <a:pt x="716" y="1687"/>
                </a:cubicBezTo>
                <a:cubicBezTo>
                  <a:pt x="716" y="1870"/>
                  <a:pt x="716" y="1870"/>
                  <a:pt x="716" y="1870"/>
                </a:cubicBezTo>
                <a:cubicBezTo>
                  <a:pt x="390" y="1870"/>
                  <a:pt x="390" y="1870"/>
                  <a:pt x="390" y="1870"/>
                </a:cubicBezTo>
                <a:cubicBezTo>
                  <a:pt x="341" y="1870"/>
                  <a:pt x="301" y="1910"/>
                  <a:pt x="301" y="1959"/>
                </a:cubicBezTo>
                <a:cubicBezTo>
                  <a:pt x="301" y="2008"/>
                  <a:pt x="341" y="2048"/>
                  <a:pt x="390" y="2048"/>
                </a:cubicBezTo>
                <a:cubicBezTo>
                  <a:pt x="805" y="2048"/>
                  <a:pt x="805" y="2048"/>
                  <a:pt x="805" y="2048"/>
                </a:cubicBezTo>
                <a:cubicBezTo>
                  <a:pt x="1220" y="2048"/>
                  <a:pt x="1220" y="2048"/>
                  <a:pt x="1220" y="2048"/>
                </a:cubicBezTo>
                <a:cubicBezTo>
                  <a:pt x="1269" y="2048"/>
                  <a:pt x="1308" y="2008"/>
                  <a:pt x="1308" y="1959"/>
                </a:cubicBezTo>
                <a:cubicBezTo>
                  <a:pt x="1308" y="1910"/>
                  <a:pt x="1269" y="1870"/>
                  <a:pt x="1220" y="1870"/>
                </a:cubicBezTo>
                <a:cubicBezTo>
                  <a:pt x="894" y="1870"/>
                  <a:pt x="894" y="1870"/>
                  <a:pt x="894" y="1870"/>
                </a:cubicBezTo>
                <a:cubicBezTo>
                  <a:pt x="894" y="1687"/>
                  <a:pt x="894" y="1687"/>
                  <a:pt x="894" y="1687"/>
                </a:cubicBezTo>
                <a:cubicBezTo>
                  <a:pt x="1227" y="1643"/>
                  <a:pt x="1486" y="1356"/>
                  <a:pt x="1486" y="1011"/>
                </a:cubicBezTo>
                <a:cubicBezTo>
                  <a:pt x="1486" y="859"/>
                  <a:pt x="1436" y="714"/>
                  <a:pt x="1345" y="596"/>
                </a:cubicBezTo>
                <a:cubicBezTo>
                  <a:pt x="1538" y="403"/>
                  <a:pt x="1538" y="403"/>
                  <a:pt x="1538" y="403"/>
                </a:cubicBezTo>
                <a:cubicBezTo>
                  <a:pt x="1573" y="368"/>
                  <a:pt x="1573" y="312"/>
                  <a:pt x="1538" y="277"/>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31" name="Freeform 18">
            <a:extLst>
              <a:ext uri="{FF2B5EF4-FFF2-40B4-BE49-F238E27FC236}">
                <a16:creationId xmlns:a16="http://schemas.microsoft.com/office/drawing/2014/main" id="{D6973273-3615-442D-8F4C-536E74A7DD25}"/>
              </a:ext>
            </a:extLst>
          </p:cNvPr>
          <p:cNvSpPr>
            <a:spLocks noEditPoints="1"/>
          </p:cNvSpPr>
          <p:nvPr/>
        </p:nvSpPr>
        <p:spPr bwMode="auto">
          <a:xfrm>
            <a:off x="4842226" y="3912050"/>
            <a:ext cx="372269" cy="422778"/>
          </a:xfrm>
          <a:custGeom>
            <a:avLst/>
            <a:gdLst>
              <a:gd name="T0" fmla="*/ 1785 w 1806"/>
              <a:gd name="T1" fmla="*/ 223 h 2048"/>
              <a:gd name="T2" fmla="*/ 1512 w 1806"/>
              <a:gd name="T3" fmla="*/ 0 h 2048"/>
              <a:gd name="T4" fmla="*/ 1512 w 1806"/>
              <a:gd name="T5" fmla="*/ 0 h 2048"/>
              <a:gd name="T6" fmla="*/ 1349 w 1806"/>
              <a:gd name="T7" fmla="*/ 0 h 2048"/>
              <a:gd name="T8" fmla="*/ 457 w 1806"/>
              <a:gd name="T9" fmla="*/ 0 h 2048"/>
              <a:gd name="T10" fmla="*/ 294 w 1806"/>
              <a:gd name="T11" fmla="*/ 0 h 2048"/>
              <a:gd name="T12" fmla="*/ 294 w 1806"/>
              <a:gd name="T13" fmla="*/ 0 h 2048"/>
              <a:gd name="T14" fmla="*/ 21 w 1806"/>
              <a:gd name="T15" fmla="*/ 223 h 2048"/>
              <a:gd name="T16" fmla="*/ 78 w 1806"/>
              <a:gd name="T17" fmla="*/ 520 h 2048"/>
              <a:gd name="T18" fmla="*/ 366 w 1806"/>
              <a:gd name="T19" fmla="*/ 782 h 2048"/>
              <a:gd name="T20" fmla="*/ 810 w 1806"/>
              <a:gd name="T21" fmla="*/ 1276 h 2048"/>
              <a:gd name="T22" fmla="*/ 810 w 1806"/>
              <a:gd name="T23" fmla="*/ 1480 h 2048"/>
              <a:gd name="T24" fmla="*/ 521 w 1806"/>
              <a:gd name="T25" fmla="*/ 1480 h 2048"/>
              <a:gd name="T26" fmla="*/ 428 w 1806"/>
              <a:gd name="T27" fmla="*/ 1573 h 2048"/>
              <a:gd name="T28" fmla="*/ 428 w 1806"/>
              <a:gd name="T29" fmla="*/ 1955 h 2048"/>
              <a:gd name="T30" fmla="*/ 521 w 1806"/>
              <a:gd name="T31" fmla="*/ 2048 h 2048"/>
              <a:gd name="T32" fmla="*/ 1285 w 1806"/>
              <a:gd name="T33" fmla="*/ 2048 h 2048"/>
              <a:gd name="T34" fmla="*/ 1378 w 1806"/>
              <a:gd name="T35" fmla="*/ 1955 h 2048"/>
              <a:gd name="T36" fmla="*/ 1378 w 1806"/>
              <a:gd name="T37" fmla="*/ 1573 h 2048"/>
              <a:gd name="T38" fmla="*/ 1285 w 1806"/>
              <a:gd name="T39" fmla="*/ 1480 h 2048"/>
              <a:gd name="T40" fmla="*/ 996 w 1806"/>
              <a:gd name="T41" fmla="*/ 1480 h 2048"/>
              <a:gd name="T42" fmla="*/ 996 w 1806"/>
              <a:gd name="T43" fmla="*/ 1276 h 2048"/>
              <a:gd name="T44" fmla="*/ 1440 w 1806"/>
              <a:gd name="T45" fmla="*/ 781 h 2048"/>
              <a:gd name="T46" fmla="*/ 1728 w 1806"/>
              <a:gd name="T47" fmla="*/ 520 h 2048"/>
              <a:gd name="T48" fmla="*/ 1785 w 1806"/>
              <a:gd name="T49" fmla="*/ 223 h 2048"/>
              <a:gd name="T50" fmla="*/ 201 w 1806"/>
              <a:gd name="T51" fmla="*/ 269 h 2048"/>
              <a:gd name="T52" fmla="*/ 294 w 1806"/>
              <a:gd name="T53" fmla="*/ 186 h 2048"/>
              <a:gd name="T54" fmla="*/ 294 w 1806"/>
              <a:gd name="T55" fmla="*/ 186 h 2048"/>
              <a:gd name="T56" fmla="*/ 364 w 1806"/>
              <a:gd name="T57" fmla="*/ 186 h 2048"/>
              <a:gd name="T58" fmla="*/ 365 w 1806"/>
              <a:gd name="T59" fmla="*/ 557 h 2048"/>
              <a:gd name="T60" fmla="*/ 201 w 1806"/>
              <a:gd name="T61" fmla="*/ 269 h 2048"/>
              <a:gd name="T62" fmla="*/ 1442 w 1806"/>
              <a:gd name="T63" fmla="*/ 556 h 2048"/>
              <a:gd name="T64" fmla="*/ 1442 w 1806"/>
              <a:gd name="T65" fmla="*/ 186 h 2048"/>
              <a:gd name="T66" fmla="*/ 1512 w 1806"/>
              <a:gd name="T67" fmla="*/ 186 h 2048"/>
              <a:gd name="T68" fmla="*/ 1512 w 1806"/>
              <a:gd name="T69" fmla="*/ 186 h 2048"/>
              <a:gd name="T70" fmla="*/ 1605 w 1806"/>
              <a:gd name="T71" fmla="*/ 269 h 2048"/>
              <a:gd name="T72" fmla="*/ 1442 w 1806"/>
              <a:gd name="T73" fmla="*/ 556 h 20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806" h="2048">
                <a:moveTo>
                  <a:pt x="1785" y="223"/>
                </a:moveTo>
                <a:cubicBezTo>
                  <a:pt x="1752" y="92"/>
                  <a:pt x="1640" y="0"/>
                  <a:pt x="1512" y="0"/>
                </a:cubicBezTo>
                <a:cubicBezTo>
                  <a:pt x="1512" y="0"/>
                  <a:pt x="1512" y="0"/>
                  <a:pt x="1512" y="0"/>
                </a:cubicBezTo>
                <a:cubicBezTo>
                  <a:pt x="1349" y="0"/>
                  <a:pt x="1349" y="0"/>
                  <a:pt x="1349" y="0"/>
                </a:cubicBezTo>
                <a:cubicBezTo>
                  <a:pt x="457" y="0"/>
                  <a:pt x="457" y="0"/>
                  <a:pt x="457" y="0"/>
                </a:cubicBezTo>
                <a:cubicBezTo>
                  <a:pt x="294" y="0"/>
                  <a:pt x="294" y="0"/>
                  <a:pt x="294" y="0"/>
                </a:cubicBezTo>
                <a:cubicBezTo>
                  <a:pt x="294" y="0"/>
                  <a:pt x="294" y="0"/>
                  <a:pt x="294" y="0"/>
                </a:cubicBezTo>
                <a:cubicBezTo>
                  <a:pt x="166" y="0"/>
                  <a:pt x="54" y="92"/>
                  <a:pt x="21" y="223"/>
                </a:cubicBezTo>
                <a:cubicBezTo>
                  <a:pt x="3" y="290"/>
                  <a:pt x="0" y="396"/>
                  <a:pt x="78" y="520"/>
                </a:cubicBezTo>
                <a:cubicBezTo>
                  <a:pt x="137" y="615"/>
                  <a:pt x="234" y="703"/>
                  <a:pt x="366" y="782"/>
                </a:cubicBezTo>
                <a:cubicBezTo>
                  <a:pt x="383" y="1030"/>
                  <a:pt x="569" y="1234"/>
                  <a:pt x="810" y="1276"/>
                </a:cubicBezTo>
                <a:cubicBezTo>
                  <a:pt x="810" y="1480"/>
                  <a:pt x="810" y="1480"/>
                  <a:pt x="810" y="1480"/>
                </a:cubicBezTo>
                <a:cubicBezTo>
                  <a:pt x="521" y="1480"/>
                  <a:pt x="521" y="1480"/>
                  <a:pt x="521" y="1480"/>
                </a:cubicBezTo>
                <a:cubicBezTo>
                  <a:pt x="470" y="1480"/>
                  <a:pt x="428" y="1522"/>
                  <a:pt x="428" y="1573"/>
                </a:cubicBezTo>
                <a:cubicBezTo>
                  <a:pt x="428" y="1955"/>
                  <a:pt x="428" y="1955"/>
                  <a:pt x="428" y="1955"/>
                </a:cubicBezTo>
                <a:cubicBezTo>
                  <a:pt x="428" y="2006"/>
                  <a:pt x="470" y="2048"/>
                  <a:pt x="521" y="2048"/>
                </a:cubicBezTo>
                <a:cubicBezTo>
                  <a:pt x="1285" y="2048"/>
                  <a:pt x="1285" y="2048"/>
                  <a:pt x="1285" y="2048"/>
                </a:cubicBezTo>
                <a:cubicBezTo>
                  <a:pt x="1336" y="2048"/>
                  <a:pt x="1378" y="2006"/>
                  <a:pt x="1378" y="1955"/>
                </a:cubicBezTo>
                <a:cubicBezTo>
                  <a:pt x="1378" y="1573"/>
                  <a:pt x="1378" y="1573"/>
                  <a:pt x="1378" y="1573"/>
                </a:cubicBezTo>
                <a:cubicBezTo>
                  <a:pt x="1378" y="1522"/>
                  <a:pt x="1336" y="1480"/>
                  <a:pt x="1285" y="1480"/>
                </a:cubicBezTo>
                <a:cubicBezTo>
                  <a:pt x="996" y="1480"/>
                  <a:pt x="996" y="1480"/>
                  <a:pt x="996" y="1480"/>
                </a:cubicBezTo>
                <a:cubicBezTo>
                  <a:pt x="996" y="1276"/>
                  <a:pt x="996" y="1276"/>
                  <a:pt x="996" y="1276"/>
                </a:cubicBezTo>
                <a:cubicBezTo>
                  <a:pt x="1238" y="1234"/>
                  <a:pt x="1424" y="1031"/>
                  <a:pt x="1440" y="781"/>
                </a:cubicBezTo>
                <a:cubicBezTo>
                  <a:pt x="1572" y="703"/>
                  <a:pt x="1669" y="615"/>
                  <a:pt x="1728" y="520"/>
                </a:cubicBezTo>
                <a:cubicBezTo>
                  <a:pt x="1806" y="396"/>
                  <a:pt x="1803" y="290"/>
                  <a:pt x="1785" y="223"/>
                </a:cubicBezTo>
                <a:close/>
                <a:moveTo>
                  <a:pt x="201" y="269"/>
                </a:moveTo>
                <a:cubicBezTo>
                  <a:pt x="215" y="215"/>
                  <a:pt x="258" y="186"/>
                  <a:pt x="294" y="186"/>
                </a:cubicBezTo>
                <a:cubicBezTo>
                  <a:pt x="294" y="186"/>
                  <a:pt x="294" y="186"/>
                  <a:pt x="294" y="186"/>
                </a:cubicBezTo>
                <a:cubicBezTo>
                  <a:pt x="364" y="186"/>
                  <a:pt x="364" y="186"/>
                  <a:pt x="364" y="186"/>
                </a:cubicBezTo>
                <a:cubicBezTo>
                  <a:pt x="365" y="557"/>
                  <a:pt x="365" y="557"/>
                  <a:pt x="365" y="557"/>
                </a:cubicBezTo>
                <a:cubicBezTo>
                  <a:pt x="221" y="446"/>
                  <a:pt x="183" y="340"/>
                  <a:pt x="201" y="269"/>
                </a:cubicBezTo>
                <a:close/>
                <a:moveTo>
                  <a:pt x="1442" y="556"/>
                </a:moveTo>
                <a:cubicBezTo>
                  <a:pt x="1442" y="186"/>
                  <a:pt x="1442" y="186"/>
                  <a:pt x="1442" y="186"/>
                </a:cubicBezTo>
                <a:cubicBezTo>
                  <a:pt x="1512" y="186"/>
                  <a:pt x="1512" y="186"/>
                  <a:pt x="1512" y="186"/>
                </a:cubicBezTo>
                <a:cubicBezTo>
                  <a:pt x="1512" y="186"/>
                  <a:pt x="1512" y="186"/>
                  <a:pt x="1512" y="186"/>
                </a:cubicBezTo>
                <a:cubicBezTo>
                  <a:pt x="1548" y="186"/>
                  <a:pt x="1591" y="215"/>
                  <a:pt x="1605" y="269"/>
                </a:cubicBezTo>
                <a:cubicBezTo>
                  <a:pt x="1623" y="340"/>
                  <a:pt x="1585" y="446"/>
                  <a:pt x="1442" y="556"/>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33" name="Freeform 29">
            <a:extLst>
              <a:ext uri="{FF2B5EF4-FFF2-40B4-BE49-F238E27FC236}">
                <a16:creationId xmlns:a16="http://schemas.microsoft.com/office/drawing/2014/main" id="{7CBBC40A-87FE-4960-9653-F037EE9AAB1E}"/>
              </a:ext>
            </a:extLst>
          </p:cNvPr>
          <p:cNvSpPr>
            <a:spLocks/>
          </p:cNvSpPr>
          <p:nvPr/>
        </p:nvSpPr>
        <p:spPr bwMode="auto">
          <a:xfrm>
            <a:off x="4873583" y="2809003"/>
            <a:ext cx="204982" cy="117712"/>
          </a:xfrm>
          <a:custGeom>
            <a:avLst/>
            <a:gdLst>
              <a:gd name="T0" fmla="*/ 900 w 994"/>
              <a:gd name="T1" fmla="*/ 54 h 571"/>
              <a:gd name="T2" fmla="*/ 806 w 994"/>
              <a:gd name="T3" fmla="*/ 94 h 571"/>
              <a:gd name="T4" fmla="*/ 497 w 994"/>
              <a:gd name="T5" fmla="*/ 149 h 571"/>
              <a:gd name="T6" fmla="*/ 188 w 994"/>
              <a:gd name="T7" fmla="*/ 94 h 571"/>
              <a:gd name="T8" fmla="*/ 94 w 994"/>
              <a:gd name="T9" fmla="*/ 54 h 571"/>
              <a:gd name="T10" fmla="*/ 0 w 994"/>
              <a:gd name="T11" fmla="*/ 0 h 571"/>
              <a:gd name="T12" fmla="*/ 0 w 994"/>
              <a:gd name="T13" fmla="*/ 472 h 571"/>
              <a:gd name="T14" fmla="*/ 45 w 994"/>
              <a:gd name="T15" fmla="*/ 552 h 571"/>
              <a:gd name="T16" fmla="*/ 136 w 994"/>
              <a:gd name="T17" fmla="*/ 556 h 571"/>
              <a:gd name="T18" fmla="*/ 497 w 994"/>
              <a:gd name="T19" fmla="*/ 372 h 571"/>
              <a:gd name="T20" fmla="*/ 858 w 994"/>
              <a:gd name="T21" fmla="*/ 556 h 571"/>
              <a:gd name="T22" fmla="*/ 900 w 994"/>
              <a:gd name="T23" fmla="*/ 566 h 571"/>
              <a:gd name="T24" fmla="*/ 949 w 994"/>
              <a:gd name="T25" fmla="*/ 552 h 571"/>
              <a:gd name="T26" fmla="*/ 994 w 994"/>
              <a:gd name="T27" fmla="*/ 472 h 571"/>
              <a:gd name="T28" fmla="*/ 994 w 994"/>
              <a:gd name="T29" fmla="*/ 0 h 571"/>
              <a:gd name="T30" fmla="*/ 900 w 994"/>
              <a:gd name="T31" fmla="*/ 54 h 5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94" h="571">
                <a:moveTo>
                  <a:pt x="900" y="54"/>
                </a:moveTo>
                <a:cubicBezTo>
                  <a:pt x="870" y="69"/>
                  <a:pt x="839" y="83"/>
                  <a:pt x="806" y="94"/>
                </a:cubicBezTo>
                <a:cubicBezTo>
                  <a:pt x="710" y="129"/>
                  <a:pt x="606" y="149"/>
                  <a:pt x="497" y="149"/>
                </a:cubicBezTo>
                <a:cubicBezTo>
                  <a:pt x="388" y="149"/>
                  <a:pt x="284" y="129"/>
                  <a:pt x="188" y="94"/>
                </a:cubicBezTo>
                <a:cubicBezTo>
                  <a:pt x="155" y="83"/>
                  <a:pt x="124" y="69"/>
                  <a:pt x="94" y="54"/>
                </a:cubicBezTo>
                <a:cubicBezTo>
                  <a:pt x="61" y="38"/>
                  <a:pt x="30" y="20"/>
                  <a:pt x="0" y="0"/>
                </a:cubicBezTo>
                <a:cubicBezTo>
                  <a:pt x="0" y="472"/>
                  <a:pt x="0" y="472"/>
                  <a:pt x="0" y="472"/>
                </a:cubicBezTo>
                <a:cubicBezTo>
                  <a:pt x="0" y="505"/>
                  <a:pt x="17" y="535"/>
                  <a:pt x="45" y="552"/>
                </a:cubicBezTo>
                <a:cubicBezTo>
                  <a:pt x="72" y="569"/>
                  <a:pt x="107" y="571"/>
                  <a:pt x="136" y="556"/>
                </a:cubicBezTo>
                <a:cubicBezTo>
                  <a:pt x="497" y="372"/>
                  <a:pt x="497" y="372"/>
                  <a:pt x="497" y="372"/>
                </a:cubicBezTo>
                <a:cubicBezTo>
                  <a:pt x="858" y="556"/>
                  <a:pt x="858" y="556"/>
                  <a:pt x="858" y="556"/>
                </a:cubicBezTo>
                <a:cubicBezTo>
                  <a:pt x="871" y="563"/>
                  <a:pt x="886" y="566"/>
                  <a:pt x="900" y="566"/>
                </a:cubicBezTo>
                <a:cubicBezTo>
                  <a:pt x="917" y="566"/>
                  <a:pt x="934" y="561"/>
                  <a:pt x="949" y="552"/>
                </a:cubicBezTo>
                <a:cubicBezTo>
                  <a:pt x="977" y="535"/>
                  <a:pt x="994" y="505"/>
                  <a:pt x="994" y="472"/>
                </a:cubicBezTo>
                <a:cubicBezTo>
                  <a:pt x="994" y="0"/>
                  <a:pt x="994" y="0"/>
                  <a:pt x="994" y="0"/>
                </a:cubicBezTo>
                <a:cubicBezTo>
                  <a:pt x="964" y="20"/>
                  <a:pt x="933" y="38"/>
                  <a:pt x="900" y="5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34" name="Oval 30">
            <a:extLst>
              <a:ext uri="{FF2B5EF4-FFF2-40B4-BE49-F238E27FC236}">
                <a16:creationId xmlns:a16="http://schemas.microsoft.com/office/drawing/2014/main" id="{997D3727-96A0-4F66-B119-BF372F7B3B1A}"/>
              </a:ext>
            </a:extLst>
          </p:cNvPr>
          <p:cNvSpPr>
            <a:spLocks noChangeArrowheads="1"/>
          </p:cNvSpPr>
          <p:nvPr/>
        </p:nvSpPr>
        <p:spPr bwMode="auto">
          <a:xfrm>
            <a:off x="4943602" y="2619242"/>
            <a:ext cx="64945" cy="6494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35" name="Freeform 31">
            <a:extLst>
              <a:ext uri="{FF2B5EF4-FFF2-40B4-BE49-F238E27FC236}">
                <a16:creationId xmlns:a16="http://schemas.microsoft.com/office/drawing/2014/main" id="{5188C973-0817-45AB-8E87-135EB6C3F1F1}"/>
              </a:ext>
            </a:extLst>
          </p:cNvPr>
          <p:cNvSpPr>
            <a:spLocks noEditPoints="1"/>
          </p:cNvSpPr>
          <p:nvPr/>
        </p:nvSpPr>
        <p:spPr bwMode="auto">
          <a:xfrm>
            <a:off x="4826904" y="2502545"/>
            <a:ext cx="298340" cy="298340"/>
          </a:xfrm>
          <a:custGeom>
            <a:avLst/>
            <a:gdLst>
              <a:gd name="T0" fmla="*/ 721 w 1442"/>
              <a:gd name="T1" fmla="*/ 0 h 1442"/>
              <a:gd name="T2" fmla="*/ 0 w 1442"/>
              <a:gd name="T3" fmla="*/ 721 h 1442"/>
              <a:gd name="T4" fmla="*/ 224 w 1442"/>
              <a:gd name="T5" fmla="*/ 1243 h 1442"/>
              <a:gd name="T6" fmla="*/ 318 w 1442"/>
              <a:gd name="T7" fmla="*/ 1319 h 1442"/>
              <a:gd name="T8" fmla="*/ 412 w 1442"/>
              <a:gd name="T9" fmla="*/ 1373 h 1442"/>
              <a:gd name="T10" fmla="*/ 721 w 1442"/>
              <a:gd name="T11" fmla="*/ 1442 h 1442"/>
              <a:gd name="T12" fmla="*/ 1030 w 1442"/>
              <a:gd name="T13" fmla="*/ 1373 h 1442"/>
              <a:gd name="T14" fmla="*/ 1124 w 1442"/>
              <a:gd name="T15" fmla="*/ 1319 h 1442"/>
              <a:gd name="T16" fmla="*/ 1218 w 1442"/>
              <a:gd name="T17" fmla="*/ 1243 h 1442"/>
              <a:gd name="T18" fmla="*/ 1442 w 1442"/>
              <a:gd name="T19" fmla="*/ 721 h 1442"/>
              <a:gd name="T20" fmla="*/ 721 w 1442"/>
              <a:gd name="T21" fmla="*/ 0 h 1442"/>
              <a:gd name="T22" fmla="*/ 721 w 1442"/>
              <a:gd name="T23" fmla="*/ 1066 h 1442"/>
              <a:gd name="T24" fmla="*/ 376 w 1442"/>
              <a:gd name="T25" fmla="*/ 721 h 1442"/>
              <a:gd name="T26" fmla="*/ 721 w 1442"/>
              <a:gd name="T27" fmla="*/ 376 h 1442"/>
              <a:gd name="T28" fmla="*/ 1066 w 1442"/>
              <a:gd name="T29" fmla="*/ 721 h 1442"/>
              <a:gd name="T30" fmla="*/ 721 w 1442"/>
              <a:gd name="T31" fmla="*/ 1066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42" h="1442">
                <a:moveTo>
                  <a:pt x="721" y="0"/>
                </a:moveTo>
                <a:cubicBezTo>
                  <a:pt x="323" y="0"/>
                  <a:pt x="0" y="324"/>
                  <a:pt x="0" y="721"/>
                </a:cubicBezTo>
                <a:cubicBezTo>
                  <a:pt x="0" y="926"/>
                  <a:pt x="86" y="1112"/>
                  <a:pt x="224" y="1243"/>
                </a:cubicBezTo>
                <a:cubicBezTo>
                  <a:pt x="253" y="1271"/>
                  <a:pt x="284" y="1296"/>
                  <a:pt x="318" y="1319"/>
                </a:cubicBezTo>
                <a:cubicBezTo>
                  <a:pt x="347" y="1339"/>
                  <a:pt x="379" y="1357"/>
                  <a:pt x="412" y="1373"/>
                </a:cubicBezTo>
                <a:cubicBezTo>
                  <a:pt x="505" y="1417"/>
                  <a:pt x="610" y="1442"/>
                  <a:pt x="721" y="1442"/>
                </a:cubicBezTo>
                <a:cubicBezTo>
                  <a:pt x="832" y="1442"/>
                  <a:pt x="937" y="1417"/>
                  <a:pt x="1030" y="1373"/>
                </a:cubicBezTo>
                <a:cubicBezTo>
                  <a:pt x="1063" y="1357"/>
                  <a:pt x="1095" y="1339"/>
                  <a:pt x="1124" y="1319"/>
                </a:cubicBezTo>
                <a:cubicBezTo>
                  <a:pt x="1158" y="1296"/>
                  <a:pt x="1189" y="1271"/>
                  <a:pt x="1218" y="1243"/>
                </a:cubicBezTo>
                <a:cubicBezTo>
                  <a:pt x="1356" y="1112"/>
                  <a:pt x="1442" y="926"/>
                  <a:pt x="1442" y="721"/>
                </a:cubicBezTo>
                <a:cubicBezTo>
                  <a:pt x="1442" y="324"/>
                  <a:pt x="1119" y="0"/>
                  <a:pt x="721" y="0"/>
                </a:cubicBezTo>
                <a:close/>
                <a:moveTo>
                  <a:pt x="721" y="1066"/>
                </a:moveTo>
                <a:cubicBezTo>
                  <a:pt x="531" y="1066"/>
                  <a:pt x="376" y="911"/>
                  <a:pt x="376" y="721"/>
                </a:cubicBezTo>
                <a:cubicBezTo>
                  <a:pt x="376" y="531"/>
                  <a:pt x="531" y="376"/>
                  <a:pt x="721" y="376"/>
                </a:cubicBezTo>
                <a:cubicBezTo>
                  <a:pt x="911" y="376"/>
                  <a:pt x="1066" y="531"/>
                  <a:pt x="1066" y="721"/>
                </a:cubicBezTo>
                <a:cubicBezTo>
                  <a:pt x="1066" y="911"/>
                  <a:pt x="911" y="1066"/>
                  <a:pt x="721" y="106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37" name="Freeform 9">
            <a:extLst>
              <a:ext uri="{FF2B5EF4-FFF2-40B4-BE49-F238E27FC236}">
                <a16:creationId xmlns:a16="http://schemas.microsoft.com/office/drawing/2014/main" id="{58A815ED-DAEB-44B5-903B-E229E4DF51FF}"/>
              </a:ext>
            </a:extLst>
          </p:cNvPr>
          <p:cNvSpPr>
            <a:spLocks/>
          </p:cNvSpPr>
          <p:nvPr/>
        </p:nvSpPr>
        <p:spPr bwMode="auto">
          <a:xfrm>
            <a:off x="5955312" y="1870183"/>
            <a:ext cx="283824" cy="302202"/>
          </a:xfrm>
          <a:custGeom>
            <a:avLst/>
            <a:gdLst>
              <a:gd name="T0" fmla="*/ 761 w 1393"/>
              <a:gd name="T1" fmla="*/ 0 h 1489"/>
              <a:gd name="T2" fmla="*/ 240 w 1393"/>
              <a:gd name="T3" fmla="*/ 0 h 1489"/>
              <a:gd name="T4" fmla="*/ 93 w 1393"/>
              <a:gd name="T5" fmla="*/ 0 h 1489"/>
              <a:gd name="T6" fmla="*/ 0 w 1393"/>
              <a:gd name="T7" fmla="*/ 93 h 1489"/>
              <a:gd name="T8" fmla="*/ 93 w 1393"/>
              <a:gd name="T9" fmla="*/ 186 h 1489"/>
              <a:gd name="T10" fmla="*/ 147 w 1393"/>
              <a:gd name="T11" fmla="*/ 186 h 1489"/>
              <a:gd name="T12" fmla="*/ 147 w 1393"/>
              <a:gd name="T13" fmla="*/ 938 h 1489"/>
              <a:gd name="T14" fmla="*/ 240 w 1393"/>
              <a:gd name="T15" fmla="*/ 1031 h 1489"/>
              <a:gd name="T16" fmla="*/ 397 w 1393"/>
              <a:gd name="T17" fmla="*/ 1031 h 1489"/>
              <a:gd name="T18" fmla="*/ 462 w 1393"/>
              <a:gd name="T19" fmla="*/ 1004 h 1489"/>
              <a:gd name="T20" fmla="*/ 591 w 1393"/>
              <a:gd name="T21" fmla="*/ 876 h 1489"/>
              <a:gd name="T22" fmla="*/ 591 w 1393"/>
              <a:gd name="T23" fmla="*/ 1100 h 1489"/>
              <a:gd name="T24" fmla="*/ 201 w 1393"/>
              <a:gd name="T25" fmla="*/ 1489 h 1489"/>
              <a:gd name="T26" fmla="*/ 1393 w 1393"/>
              <a:gd name="T27" fmla="*/ 1489 h 1489"/>
              <a:gd name="T28" fmla="*/ 1393 w 1393"/>
              <a:gd name="T29" fmla="*/ 633 h 1489"/>
              <a:gd name="T30" fmla="*/ 761 w 1393"/>
              <a:gd name="T31" fmla="*/ 0 h 14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93" h="1489">
                <a:moveTo>
                  <a:pt x="761" y="0"/>
                </a:moveTo>
                <a:cubicBezTo>
                  <a:pt x="240" y="0"/>
                  <a:pt x="240" y="0"/>
                  <a:pt x="240" y="0"/>
                </a:cubicBezTo>
                <a:cubicBezTo>
                  <a:pt x="93" y="0"/>
                  <a:pt x="93" y="0"/>
                  <a:pt x="93" y="0"/>
                </a:cubicBezTo>
                <a:cubicBezTo>
                  <a:pt x="41" y="0"/>
                  <a:pt x="0" y="42"/>
                  <a:pt x="0" y="93"/>
                </a:cubicBezTo>
                <a:cubicBezTo>
                  <a:pt x="0" y="145"/>
                  <a:pt x="41" y="186"/>
                  <a:pt x="93" y="186"/>
                </a:cubicBezTo>
                <a:cubicBezTo>
                  <a:pt x="147" y="186"/>
                  <a:pt x="147" y="186"/>
                  <a:pt x="147" y="186"/>
                </a:cubicBezTo>
                <a:cubicBezTo>
                  <a:pt x="147" y="938"/>
                  <a:pt x="147" y="938"/>
                  <a:pt x="147" y="938"/>
                </a:cubicBezTo>
                <a:cubicBezTo>
                  <a:pt x="147" y="990"/>
                  <a:pt x="188" y="1031"/>
                  <a:pt x="240" y="1031"/>
                </a:cubicBezTo>
                <a:cubicBezTo>
                  <a:pt x="397" y="1031"/>
                  <a:pt x="397" y="1031"/>
                  <a:pt x="397" y="1031"/>
                </a:cubicBezTo>
                <a:cubicBezTo>
                  <a:pt x="421" y="1031"/>
                  <a:pt x="445" y="1021"/>
                  <a:pt x="462" y="1004"/>
                </a:cubicBezTo>
                <a:cubicBezTo>
                  <a:pt x="591" y="876"/>
                  <a:pt x="591" y="876"/>
                  <a:pt x="591" y="876"/>
                </a:cubicBezTo>
                <a:cubicBezTo>
                  <a:pt x="591" y="1100"/>
                  <a:pt x="591" y="1100"/>
                  <a:pt x="591" y="1100"/>
                </a:cubicBezTo>
                <a:cubicBezTo>
                  <a:pt x="201" y="1489"/>
                  <a:pt x="201" y="1489"/>
                  <a:pt x="201" y="1489"/>
                </a:cubicBezTo>
                <a:cubicBezTo>
                  <a:pt x="1393" y="1489"/>
                  <a:pt x="1393" y="1489"/>
                  <a:pt x="1393" y="1489"/>
                </a:cubicBezTo>
                <a:cubicBezTo>
                  <a:pt x="1393" y="633"/>
                  <a:pt x="1393" y="633"/>
                  <a:pt x="1393" y="633"/>
                </a:cubicBezTo>
                <a:cubicBezTo>
                  <a:pt x="1393" y="284"/>
                  <a:pt x="1109" y="0"/>
                  <a:pt x="761"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38" name="Freeform 10">
            <a:extLst>
              <a:ext uri="{FF2B5EF4-FFF2-40B4-BE49-F238E27FC236}">
                <a16:creationId xmlns:a16="http://schemas.microsoft.com/office/drawing/2014/main" id="{F8539401-9FA8-4345-82F1-7A536F02F5DC}"/>
              </a:ext>
            </a:extLst>
          </p:cNvPr>
          <p:cNvSpPr>
            <a:spLocks/>
          </p:cNvSpPr>
          <p:nvPr/>
        </p:nvSpPr>
        <p:spPr bwMode="auto">
          <a:xfrm>
            <a:off x="5945102" y="2211182"/>
            <a:ext cx="334871" cy="75551"/>
          </a:xfrm>
          <a:custGeom>
            <a:avLst/>
            <a:gdLst>
              <a:gd name="T0" fmla="*/ 0 w 1646"/>
              <a:gd name="T1" fmla="*/ 0 h 372"/>
              <a:gd name="T2" fmla="*/ 0 w 1646"/>
              <a:gd name="T3" fmla="*/ 279 h 372"/>
              <a:gd name="T4" fmla="*/ 93 w 1646"/>
              <a:gd name="T5" fmla="*/ 372 h 372"/>
              <a:gd name="T6" fmla="*/ 1553 w 1646"/>
              <a:gd name="T7" fmla="*/ 372 h 372"/>
              <a:gd name="T8" fmla="*/ 1646 w 1646"/>
              <a:gd name="T9" fmla="*/ 279 h 372"/>
              <a:gd name="T10" fmla="*/ 1646 w 1646"/>
              <a:gd name="T11" fmla="*/ 0 h 372"/>
              <a:gd name="T12" fmla="*/ 0 w 1646"/>
              <a:gd name="T13" fmla="*/ 0 h 372"/>
            </a:gdLst>
            <a:ahLst/>
            <a:cxnLst>
              <a:cxn ang="0">
                <a:pos x="T0" y="T1"/>
              </a:cxn>
              <a:cxn ang="0">
                <a:pos x="T2" y="T3"/>
              </a:cxn>
              <a:cxn ang="0">
                <a:pos x="T4" y="T5"/>
              </a:cxn>
              <a:cxn ang="0">
                <a:pos x="T6" y="T7"/>
              </a:cxn>
              <a:cxn ang="0">
                <a:pos x="T8" y="T9"/>
              </a:cxn>
              <a:cxn ang="0">
                <a:pos x="T10" y="T11"/>
              </a:cxn>
              <a:cxn ang="0">
                <a:pos x="T12" y="T13"/>
              </a:cxn>
            </a:cxnLst>
            <a:rect l="0" t="0" r="r" b="b"/>
            <a:pathLst>
              <a:path w="1646" h="372">
                <a:moveTo>
                  <a:pt x="0" y="0"/>
                </a:moveTo>
                <a:cubicBezTo>
                  <a:pt x="0" y="279"/>
                  <a:pt x="0" y="279"/>
                  <a:pt x="0" y="279"/>
                </a:cubicBezTo>
                <a:cubicBezTo>
                  <a:pt x="0" y="330"/>
                  <a:pt x="42" y="372"/>
                  <a:pt x="93" y="372"/>
                </a:cubicBezTo>
                <a:cubicBezTo>
                  <a:pt x="1553" y="372"/>
                  <a:pt x="1553" y="372"/>
                  <a:pt x="1553" y="372"/>
                </a:cubicBezTo>
                <a:cubicBezTo>
                  <a:pt x="1604" y="372"/>
                  <a:pt x="1646" y="330"/>
                  <a:pt x="1646" y="279"/>
                </a:cubicBezTo>
                <a:cubicBezTo>
                  <a:pt x="1646" y="0"/>
                  <a:pt x="1646" y="0"/>
                  <a:pt x="1646" y="0"/>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58" name="TextBox 65">
            <a:extLst>
              <a:ext uri="{FF2B5EF4-FFF2-40B4-BE49-F238E27FC236}">
                <a16:creationId xmlns:a16="http://schemas.microsoft.com/office/drawing/2014/main" id="{76CF6644-E9BA-40AD-95F0-A9EC174FA933}"/>
              </a:ext>
            </a:extLst>
          </p:cNvPr>
          <p:cNvSpPr txBox="1"/>
          <p:nvPr/>
        </p:nvSpPr>
        <p:spPr>
          <a:xfrm flipH="1">
            <a:off x="8815387" y="1962858"/>
            <a:ext cx="2056261" cy="352588"/>
          </a:xfrm>
          <a:prstGeom prst="rect">
            <a:avLst/>
          </a:prstGeom>
          <a:noFill/>
        </p:spPr>
        <p:txBody>
          <a:bodyPr wrap="square" lIns="0" tIns="36000" rIns="0" bIns="36000" rtlCol="0">
            <a:spAutoFit/>
          </a:bodyPr>
          <a:lstStyle/>
          <a:p>
            <a:pPr marL="0" marR="0" lvl="0" indent="0" algn="l" defTabSz="914400" rtl="0" eaLnBrk="1" fontAlgn="auto" latinLnBrk="0" hangingPunct="1">
              <a:lnSpc>
                <a:spcPct val="120000"/>
              </a:lnSpc>
              <a:spcBef>
                <a:spcPts val="600"/>
              </a:spcBef>
              <a:spcAft>
                <a:spcPts val="0"/>
              </a:spcAft>
              <a:buClrTx/>
              <a:buSzTx/>
              <a:buFontTx/>
              <a:buNone/>
              <a:tabLst/>
              <a:defRPr/>
            </a:pPr>
            <a:r>
              <a:rPr kumimoji="0" lang="zh-CN" altLang="en-US" sz="1600" b="0" i="0" u="none" strike="noStrike" kern="1200" cap="none" spc="0" normalizeH="0" baseline="0" noProof="0" dirty="0">
                <a:ln>
                  <a:noFill/>
                </a:ln>
                <a:solidFill>
                  <a:schemeClr val="accent1"/>
                </a:solidFill>
                <a:effectLst/>
                <a:uLnTx/>
                <a:uFillTx/>
                <a:latin typeface="HarmonyOS Sans SC Black"/>
                <a:ea typeface="+mj-ea"/>
                <a:cs typeface="+mn-cs"/>
              </a:rPr>
              <a:t>关键词标题</a:t>
            </a:r>
            <a:endParaRPr kumimoji="0" lang="en-US" sz="1600" b="0" i="0" u="none" strike="noStrike" kern="1200" cap="none" spc="0" normalizeH="0" baseline="0" noProof="0" dirty="0">
              <a:ln>
                <a:noFill/>
              </a:ln>
              <a:solidFill>
                <a:schemeClr val="accent1"/>
              </a:solidFill>
              <a:effectLst/>
              <a:uLnTx/>
              <a:uFillTx/>
              <a:latin typeface="HarmonyOS Sans SC Black"/>
              <a:ea typeface="+mj-ea"/>
              <a:cs typeface="+mn-cs"/>
            </a:endParaRPr>
          </a:p>
        </p:txBody>
      </p:sp>
      <p:sp>
        <p:nvSpPr>
          <p:cNvPr id="59" name="TextBox 65">
            <a:extLst>
              <a:ext uri="{FF2B5EF4-FFF2-40B4-BE49-F238E27FC236}">
                <a16:creationId xmlns:a16="http://schemas.microsoft.com/office/drawing/2014/main" id="{9041BBFD-1B8A-42E6-B1E2-9D8388DCD75A}"/>
              </a:ext>
            </a:extLst>
          </p:cNvPr>
          <p:cNvSpPr txBox="1"/>
          <p:nvPr/>
        </p:nvSpPr>
        <p:spPr>
          <a:xfrm flipH="1">
            <a:off x="8815386" y="2346257"/>
            <a:ext cx="2370774" cy="462746"/>
          </a:xfrm>
          <a:prstGeom prst="rect">
            <a:avLst/>
          </a:prstGeom>
          <a:noFill/>
        </p:spPr>
        <p:txBody>
          <a:bodyPr wrap="square" lIns="0" tIns="36000" rIns="0" bIns="36000" rtlCol="0">
            <a:spAutoFit/>
          </a:bodyPr>
          <a:lstStyle/>
          <a:p>
            <a:pPr marL="0" marR="0" lvl="0" indent="0" algn="l" defTabSz="914400" rtl="0" eaLnBrk="1" fontAlgn="auto" latinLnBrk="0" hangingPunct="1">
              <a:lnSpc>
                <a:spcPct val="120000"/>
              </a:lnSpc>
              <a:spcBef>
                <a:spcPts val="600"/>
              </a:spcBef>
              <a:spcAft>
                <a:spcPts val="0"/>
              </a:spcAft>
              <a:buClrTx/>
              <a:buSzTx/>
              <a:buFontTx/>
              <a:buNone/>
              <a:tabLst/>
              <a:defRPr/>
            </a:pPr>
            <a:r>
              <a:rPr kumimoji="0" lang="en-US" sz="1100" b="0" i="0" u="none" strike="noStrike" kern="1200" cap="none" spc="0" normalizeH="0" baseline="0" noProof="0" dirty="0">
                <a:ln>
                  <a:noFill/>
                </a:ln>
                <a:solidFill>
                  <a:prstClr val="black">
                    <a:lumMod val="50000"/>
                    <a:lumOff val="50000"/>
                  </a:prstClr>
                </a:solidFill>
                <a:effectLst/>
                <a:uLnTx/>
                <a:uFillTx/>
                <a:latin typeface="HarmonyOS Sans SC"/>
                <a:cs typeface="+mn-cs"/>
              </a:rPr>
              <a:t>Apparently we had reached a great height in the.</a:t>
            </a:r>
          </a:p>
        </p:txBody>
      </p:sp>
      <p:sp>
        <p:nvSpPr>
          <p:cNvPr id="61" name="TextBox 65">
            <a:extLst>
              <a:ext uri="{FF2B5EF4-FFF2-40B4-BE49-F238E27FC236}">
                <a16:creationId xmlns:a16="http://schemas.microsoft.com/office/drawing/2014/main" id="{1D582F85-7717-4637-A8C4-C716570258DE}"/>
              </a:ext>
            </a:extLst>
          </p:cNvPr>
          <p:cNvSpPr txBox="1"/>
          <p:nvPr/>
        </p:nvSpPr>
        <p:spPr>
          <a:xfrm flipH="1">
            <a:off x="8815387" y="3887373"/>
            <a:ext cx="2056261" cy="352588"/>
          </a:xfrm>
          <a:prstGeom prst="rect">
            <a:avLst/>
          </a:prstGeom>
          <a:noFill/>
        </p:spPr>
        <p:txBody>
          <a:bodyPr wrap="square" lIns="0" tIns="36000" rIns="0" bIns="36000" rtlCol="0">
            <a:spAutoFit/>
          </a:bodyPr>
          <a:lstStyle/>
          <a:p>
            <a:pPr marL="0" marR="0" lvl="0" indent="0" algn="l" defTabSz="914400" rtl="0" eaLnBrk="1" fontAlgn="auto" latinLnBrk="0" hangingPunct="1">
              <a:lnSpc>
                <a:spcPct val="120000"/>
              </a:lnSpc>
              <a:spcBef>
                <a:spcPts val="600"/>
              </a:spcBef>
              <a:spcAft>
                <a:spcPts val="0"/>
              </a:spcAft>
              <a:buClrTx/>
              <a:buSzTx/>
              <a:buFontTx/>
              <a:buNone/>
              <a:tabLst/>
              <a:defRPr/>
            </a:pPr>
            <a:r>
              <a:rPr kumimoji="0" lang="zh-CN" altLang="en-US" sz="1600" b="0" i="0" u="none" strike="noStrike" kern="1200" cap="none" spc="0" normalizeH="0" baseline="0" noProof="0" dirty="0">
                <a:ln>
                  <a:noFill/>
                </a:ln>
                <a:solidFill>
                  <a:schemeClr val="accent1"/>
                </a:solidFill>
                <a:effectLst/>
                <a:uLnTx/>
                <a:uFillTx/>
                <a:latin typeface="HarmonyOS Sans SC Black"/>
                <a:ea typeface="+mj-ea"/>
                <a:cs typeface="+mn-cs"/>
              </a:rPr>
              <a:t>关键词标题</a:t>
            </a:r>
            <a:endParaRPr kumimoji="0" lang="en-US" sz="1600" b="0" i="0" u="none" strike="noStrike" kern="1200" cap="none" spc="0" normalizeH="0" baseline="0" noProof="0" dirty="0">
              <a:ln>
                <a:noFill/>
              </a:ln>
              <a:solidFill>
                <a:schemeClr val="accent1"/>
              </a:solidFill>
              <a:effectLst/>
              <a:uLnTx/>
              <a:uFillTx/>
              <a:latin typeface="HarmonyOS Sans SC Black"/>
              <a:ea typeface="+mj-ea"/>
              <a:cs typeface="+mn-cs"/>
            </a:endParaRPr>
          </a:p>
        </p:txBody>
      </p:sp>
      <p:sp>
        <p:nvSpPr>
          <p:cNvPr id="62" name="TextBox 65">
            <a:extLst>
              <a:ext uri="{FF2B5EF4-FFF2-40B4-BE49-F238E27FC236}">
                <a16:creationId xmlns:a16="http://schemas.microsoft.com/office/drawing/2014/main" id="{227BBA16-72E1-41F2-94D0-3401882A9630}"/>
              </a:ext>
            </a:extLst>
          </p:cNvPr>
          <p:cNvSpPr txBox="1"/>
          <p:nvPr/>
        </p:nvSpPr>
        <p:spPr>
          <a:xfrm flipH="1">
            <a:off x="8815386" y="4270772"/>
            <a:ext cx="2370774" cy="462746"/>
          </a:xfrm>
          <a:prstGeom prst="rect">
            <a:avLst/>
          </a:prstGeom>
          <a:noFill/>
        </p:spPr>
        <p:txBody>
          <a:bodyPr wrap="square" lIns="0" tIns="36000" rIns="0" bIns="36000" rtlCol="0">
            <a:spAutoFit/>
          </a:bodyPr>
          <a:lstStyle/>
          <a:p>
            <a:pPr marL="0" marR="0" lvl="0" indent="0" algn="l" defTabSz="914400" rtl="0" eaLnBrk="1" fontAlgn="auto" latinLnBrk="0" hangingPunct="1">
              <a:lnSpc>
                <a:spcPct val="120000"/>
              </a:lnSpc>
              <a:spcBef>
                <a:spcPts val="600"/>
              </a:spcBef>
              <a:spcAft>
                <a:spcPts val="0"/>
              </a:spcAft>
              <a:buClrTx/>
              <a:buSzTx/>
              <a:buFontTx/>
              <a:buNone/>
              <a:tabLst/>
              <a:defRPr/>
            </a:pPr>
            <a:r>
              <a:rPr kumimoji="0" lang="en-US" sz="1100" b="0" i="0" u="none" strike="noStrike" kern="1200" cap="none" spc="0" normalizeH="0" baseline="0" noProof="0" dirty="0">
                <a:ln>
                  <a:noFill/>
                </a:ln>
                <a:solidFill>
                  <a:prstClr val="black">
                    <a:lumMod val="50000"/>
                    <a:lumOff val="50000"/>
                  </a:prstClr>
                </a:solidFill>
                <a:effectLst/>
                <a:uLnTx/>
                <a:uFillTx/>
                <a:latin typeface="HarmonyOS Sans SC"/>
                <a:cs typeface="+mn-cs"/>
              </a:rPr>
              <a:t>Apparently we had reached a great height in the.</a:t>
            </a:r>
          </a:p>
        </p:txBody>
      </p:sp>
      <p:sp>
        <p:nvSpPr>
          <p:cNvPr id="64" name="TextBox 65">
            <a:extLst>
              <a:ext uri="{FF2B5EF4-FFF2-40B4-BE49-F238E27FC236}">
                <a16:creationId xmlns:a16="http://schemas.microsoft.com/office/drawing/2014/main" id="{A239991A-4755-4190-8C95-034BB9CF5048}"/>
              </a:ext>
            </a:extLst>
          </p:cNvPr>
          <p:cNvSpPr txBox="1"/>
          <p:nvPr/>
        </p:nvSpPr>
        <p:spPr>
          <a:xfrm>
            <a:off x="1276662" y="1962858"/>
            <a:ext cx="2056261" cy="352588"/>
          </a:xfrm>
          <a:prstGeom prst="rect">
            <a:avLst/>
          </a:prstGeom>
          <a:noFill/>
        </p:spPr>
        <p:txBody>
          <a:bodyPr wrap="square" lIns="0" tIns="36000" rIns="0" bIns="36000" rtlCol="0">
            <a:spAutoFit/>
          </a:bodyPr>
          <a:lstStyle/>
          <a:p>
            <a:pPr marL="0" marR="0" lvl="0" indent="0" algn="r" defTabSz="914400" rtl="0" eaLnBrk="1" fontAlgn="auto" latinLnBrk="0" hangingPunct="1">
              <a:lnSpc>
                <a:spcPct val="120000"/>
              </a:lnSpc>
              <a:spcBef>
                <a:spcPts val="600"/>
              </a:spcBef>
              <a:spcAft>
                <a:spcPts val="0"/>
              </a:spcAft>
              <a:buClrTx/>
              <a:buSzTx/>
              <a:buFontTx/>
              <a:buNone/>
              <a:tabLst/>
              <a:defRPr/>
            </a:pPr>
            <a:r>
              <a:rPr kumimoji="0" lang="zh-CN" altLang="en-US" sz="1600" b="0" i="0" u="none" strike="noStrike" kern="1200" cap="none" spc="0" normalizeH="0" baseline="0" noProof="0" dirty="0">
                <a:ln>
                  <a:noFill/>
                </a:ln>
                <a:solidFill>
                  <a:schemeClr val="accent1"/>
                </a:solidFill>
                <a:effectLst/>
                <a:uLnTx/>
                <a:uFillTx/>
                <a:latin typeface="HarmonyOS Sans SC Black"/>
                <a:ea typeface="+mj-ea"/>
                <a:cs typeface="+mn-cs"/>
              </a:rPr>
              <a:t>关键词标题</a:t>
            </a:r>
            <a:endParaRPr kumimoji="0" lang="en-US" sz="1600" b="0" i="0" u="none" strike="noStrike" kern="1200" cap="none" spc="0" normalizeH="0" baseline="0" noProof="0" dirty="0">
              <a:ln>
                <a:noFill/>
              </a:ln>
              <a:solidFill>
                <a:schemeClr val="accent1"/>
              </a:solidFill>
              <a:effectLst/>
              <a:uLnTx/>
              <a:uFillTx/>
              <a:latin typeface="HarmonyOS Sans SC Black"/>
              <a:ea typeface="+mj-ea"/>
              <a:cs typeface="+mn-cs"/>
            </a:endParaRPr>
          </a:p>
        </p:txBody>
      </p:sp>
      <p:sp>
        <p:nvSpPr>
          <p:cNvPr id="65" name="TextBox 65">
            <a:extLst>
              <a:ext uri="{FF2B5EF4-FFF2-40B4-BE49-F238E27FC236}">
                <a16:creationId xmlns:a16="http://schemas.microsoft.com/office/drawing/2014/main" id="{0DB36594-63CD-416F-985B-15B2D25ACC51}"/>
              </a:ext>
            </a:extLst>
          </p:cNvPr>
          <p:cNvSpPr txBox="1"/>
          <p:nvPr/>
        </p:nvSpPr>
        <p:spPr>
          <a:xfrm>
            <a:off x="1070222" y="2346257"/>
            <a:ext cx="2262702" cy="462746"/>
          </a:xfrm>
          <a:prstGeom prst="rect">
            <a:avLst/>
          </a:prstGeom>
          <a:noFill/>
        </p:spPr>
        <p:txBody>
          <a:bodyPr wrap="square" lIns="0" tIns="36000" rIns="0" bIns="36000" rtlCol="0">
            <a:spAutoFit/>
          </a:bodyPr>
          <a:lstStyle/>
          <a:p>
            <a:pPr marL="0" marR="0" lvl="0" indent="0" algn="r" defTabSz="914400" rtl="0" eaLnBrk="1" fontAlgn="auto" latinLnBrk="0" hangingPunct="1">
              <a:lnSpc>
                <a:spcPct val="120000"/>
              </a:lnSpc>
              <a:spcBef>
                <a:spcPts val="600"/>
              </a:spcBef>
              <a:spcAft>
                <a:spcPts val="0"/>
              </a:spcAft>
              <a:buClrTx/>
              <a:buSzTx/>
              <a:buFontTx/>
              <a:buNone/>
              <a:tabLst/>
              <a:defRPr/>
            </a:pPr>
            <a:r>
              <a:rPr kumimoji="0" lang="en-US" sz="1100" b="0" i="0" u="none" strike="noStrike" kern="1200" cap="none" spc="0" normalizeH="0" baseline="0" noProof="0" dirty="0">
                <a:ln>
                  <a:noFill/>
                </a:ln>
                <a:solidFill>
                  <a:prstClr val="black">
                    <a:lumMod val="50000"/>
                    <a:lumOff val="50000"/>
                  </a:prstClr>
                </a:solidFill>
                <a:effectLst/>
                <a:uLnTx/>
                <a:uFillTx/>
                <a:latin typeface="HarmonyOS Sans SC"/>
                <a:cs typeface="+mn-cs"/>
              </a:rPr>
              <a:t>Apparently we had reached a great height in the.</a:t>
            </a:r>
          </a:p>
        </p:txBody>
      </p:sp>
      <p:sp>
        <p:nvSpPr>
          <p:cNvPr id="67" name="TextBox 65">
            <a:extLst>
              <a:ext uri="{FF2B5EF4-FFF2-40B4-BE49-F238E27FC236}">
                <a16:creationId xmlns:a16="http://schemas.microsoft.com/office/drawing/2014/main" id="{AD1F0C52-D163-4FAF-9466-4862C304D8C9}"/>
              </a:ext>
            </a:extLst>
          </p:cNvPr>
          <p:cNvSpPr txBox="1"/>
          <p:nvPr/>
        </p:nvSpPr>
        <p:spPr>
          <a:xfrm>
            <a:off x="1276662" y="3887373"/>
            <a:ext cx="2056261" cy="352588"/>
          </a:xfrm>
          <a:prstGeom prst="rect">
            <a:avLst/>
          </a:prstGeom>
          <a:noFill/>
        </p:spPr>
        <p:txBody>
          <a:bodyPr wrap="square" lIns="0" tIns="36000" rIns="0" bIns="36000" rtlCol="0">
            <a:spAutoFit/>
          </a:bodyPr>
          <a:lstStyle/>
          <a:p>
            <a:pPr marL="0" marR="0" lvl="0" indent="0" algn="r" defTabSz="914400" rtl="0" eaLnBrk="1" fontAlgn="auto" latinLnBrk="0" hangingPunct="1">
              <a:lnSpc>
                <a:spcPct val="120000"/>
              </a:lnSpc>
              <a:spcBef>
                <a:spcPts val="600"/>
              </a:spcBef>
              <a:spcAft>
                <a:spcPts val="0"/>
              </a:spcAft>
              <a:buClrTx/>
              <a:buSzTx/>
              <a:buFontTx/>
              <a:buNone/>
              <a:tabLst/>
              <a:defRPr/>
            </a:pPr>
            <a:r>
              <a:rPr kumimoji="0" lang="zh-CN" altLang="en-US" sz="1600" b="0" i="0" u="none" strike="noStrike" kern="1200" cap="none" spc="0" normalizeH="0" baseline="0" noProof="0" dirty="0">
                <a:ln>
                  <a:noFill/>
                </a:ln>
                <a:solidFill>
                  <a:schemeClr val="accent1"/>
                </a:solidFill>
                <a:effectLst/>
                <a:uLnTx/>
                <a:uFillTx/>
                <a:latin typeface="HarmonyOS Sans SC Black"/>
                <a:ea typeface="+mj-ea"/>
                <a:cs typeface="+mn-cs"/>
              </a:rPr>
              <a:t>关键词标题</a:t>
            </a:r>
            <a:endParaRPr kumimoji="0" lang="en-US" sz="1600" b="0" i="0" u="none" strike="noStrike" kern="1200" cap="none" spc="0" normalizeH="0" baseline="0" noProof="0" dirty="0">
              <a:ln>
                <a:noFill/>
              </a:ln>
              <a:solidFill>
                <a:schemeClr val="accent1"/>
              </a:solidFill>
              <a:effectLst/>
              <a:uLnTx/>
              <a:uFillTx/>
              <a:latin typeface="HarmonyOS Sans SC Black"/>
              <a:ea typeface="+mj-ea"/>
              <a:cs typeface="+mn-cs"/>
            </a:endParaRPr>
          </a:p>
        </p:txBody>
      </p:sp>
      <p:sp>
        <p:nvSpPr>
          <p:cNvPr id="68" name="TextBox 65">
            <a:extLst>
              <a:ext uri="{FF2B5EF4-FFF2-40B4-BE49-F238E27FC236}">
                <a16:creationId xmlns:a16="http://schemas.microsoft.com/office/drawing/2014/main" id="{B7CC74F9-44CC-4AC5-A9DA-08CACCE7271E}"/>
              </a:ext>
            </a:extLst>
          </p:cNvPr>
          <p:cNvSpPr txBox="1"/>
          <p:nvPr/>
        </p:nvSpPr>
        <p:spPr>
          <a:xfrm>
            <a:off x="1070222" y="4270772"/>
            <a:ext cx="2262702" cy="462746"/>
          </a:xfrm>
          <a:prstGeom prst="rect">
            <a:avLst/>
          </a:prstGeom>
          <a:noFill/>
        </p:spPr>
        <p:txBody>
          <a:bodyPr wrap="square" lIns="0" tIns="36000" rIns="0" bIns="36000" rtlCol="0">
            <a:spAutoFit/>
          </a:bodyPr>
          <a:lstStyle/>
          <a:p>
            <a:pPr marL="0" marR="0" lvl="0" indent="0" algn="r" defTabSz="914400" rtl="0" eaLnBrk="1" fontAlgn="auto" latinLnBrk="0" hangingPunct="1">
              <a:lnSpc>
                <a:spcPct val="120000"/>
              </a:lnSpc>
              <a:spcBef>
                <a:spcPts val="600"/>
              </a:spcBef>
              <a:spcAft>
                <a:spcPts val="0"/>
              </a:spcAft>
              <a:buClrTx/>
              <a:buSzTx/>
              <a:buFontTx/>
              <a:buNone/>
              <a:tabLst/>
              <a:defRPr/>
            </a:pPr>
            <a:r>
              <a:rPr kumimoji="0" lang="en-US" sz="1100" b="0" i="0" u="none" strike="noStrike" kern="1200" cap="none" spc="0" normalizeH="0" baseline="0" noProof="0" dirty="0">
                <a:ln>
                  <a:noFill/>
                </a:ln>
                <a:solidFill>
                  <a:prstClr val="black">
                    <a:lumMod val="50000"/>
                    <a:lumOff val="50000"/>
                  </a:prstClr>
                </a:solidFill>
                <a:effectLst/>
                <a:uLnTx/>
                <a:uFillTx/>
                <a:latin typeface="HarmonyOS Sans SC"/>
                <a:cs typeface="+mn-cs"/>
              </a:rPr>
              <a:t>Apparently we had reached a great height in the.</a:t>
            </a:r>
          </a:p>
        </p:txBody>
      </p:sp>
      <p:sp>
        <p:nvSpPr>
          <p:cNvPr id="69" name="TextBox 65">
            <a:extLst>
              <a:ext uri="{FF2B5EF4-FFF2-40B4-BE49-F238E27FC236}">
                <a16:creationId xmlns:a16="http://schemas.microsoft.com/office/drawing/2014/main" id="{CA00238C-9002-455B-B7AE-4FFC3A6B68CF}"/>
              </a:ext>
            </a:extLst>
          </p:cNvPr>
          <p:cNvSpPr txBox="1"/>
          <p:nvPr/>
        </p:nvSpPr>
        <p:spPr>
          <a:xfrm>
            <a:off x="5067870" y="5375275"/>
            <a:ext cx="2056261" cy="352588"/>
          </a:xfrm>
          <a:prstGeom prst="rect">
            <a:avLst/>
          </a:prstGeom>
          <a:noFill/>
        </p:spPr>
        <p:txBody>
          <a:bodyPr wrap="square" lIns="0" tIns="36000" rIns="0" bIns="36000" rtlCol="0">
            <a:spAutoFit/>
          </a:bodyPr>
          <a:lstStyle/>
          <a:p>
            <a:pPr marL="0" marR="0" lvl="0" indent="0" algn="ctr" defTabSz="914400" rtl="0" eaLnBrk="1" fontAlgn="auto" latinLnBrk="0" hangingPunct="1">
              <a:lnSpc>
                <a:spcPct val="120000"/>
              </a:lnSpc>
              <a:spcBef>
                <a:spcPts val="600"/>
              </a:spcBef>
              <a:spcAft>
                <a:spcPts val="0"/>
              </a:spcAft>
              <a:buClrTx/>
              <a:buSzTx/>
              <a:buFontTx/>
              <a:buNone/>
              <a:tabLst/>
              <a:defRPr/>
            </a:pPr>
            <a:r>
              <a:rPr kumimoji="0" lang="zh-CN" altLang="en-US" sz="1600" b="0" i="0" u="none" strike="noStrike" kern="1200" cap="none" spc="0" normalizeH="0" baseline="0" noProof="0" dirty="0">
                <a:ln>
                  <a:noFill/>
                </a:ln>
                <a:solidFill>
                  <a:schemeClr val="accent1"/>
                </a:solidFill>
                <a:effectLst/>
                <a:uLnTx/>
                <a:uFillTx/>
                <a:latin typeface="HarmonyOS Sans SC Black"/>
                <a:ea typeface="+mj-ea"/>
                <a:cs typeface="+mn-cs"/>
              </a:rPr>
              <a:t>关键词标题</a:t>
            </a:r>
            <a:endParaRPr kumimoji="0" lang="en-US" sz="1600" b="0" i="0" u="none" strike="noStrike" kern="1200" cap="none" spc="0" normalizeH="0" baseline="0" noProof="0" dirty="0">
              <a:ln>
                <a:noFill/>
              </a:ln>
              <a:solidFill>
                <a:schemeClr val="accent1"/>
              </a:solidFill>
              <a:effectLst/>
              <a:uLnTx/>
              <a:uFillTx/>
              <a:latin typeface="HarmonyOS Sans SC Black"/>
              <a:ea typeface="+mj-ea"/>
              <a:cs typeface="+mn-cs"/>
            </a:endParaRPr>
          </a:p>
        </p:txBody>
      </p:sp>
      <p:sp>
        <p:nvSpPr>
          <p:cNvPr id="70" name="TextBox 65">
            <a:extLst>
              <a:ext uri="{FF2B5EF4-FFF2-40B4-BE49-F238E27FC236}">
                <a16:creationId xmlns:a16="http://schemas.microsoft.com/office/drawing/2014/main" id="{12550F53-AF06-4612-8D61-017B579405DD}"/>
              </a:ext>
            </a:extLst>
          </p:cNvPr>
          <p:cNvSpPr txBox="1"/>
          <p:nvPr/>
        </p:nvSpPr>
        <p:spPr>
          <a:xfrm>
            <a:off x="4964649" y="5758674"/>
            <a:ext cx="2262702" cy="462746"/>
          </a:xfrm>
          <a:prstGeom prst="rect">
            <a:avLst/>
          </a:prstGeom>
          <a:noFill/>
        </p:spPr>
        <p:txBody>
          <a:bodyPr wrap="square" lIns="0" tIns="36000" rIns="0" bIns="36000" rtlCol="0">
            <a:spAutoFit/>
          </a:bodyPr>
          <a:lstStyle/>
          <a:p>
            <a:pPr marL="0" marR="0" lvl="0" indent="0" algn="ctr" defTabSz="914400" rtl="0" eaLnBrk="1" fontAlgn="auto" latinLnBrk="0" hangingPunct="1">
              <a:lnSpc>
                <a:spcPct val="120000"/>
              </a:lnSpc>
              <a:spcBef>
                <a:spcPts val="600"/>
              </a:spcBef>
              <a:spcAft>
                <a:spcPts val="0"/>
              </a:spcAft>
              <a:buClrTx/>
              <a:buSzTx/>
              <a:buFontTx/>
              <a:buNone/>
              <a:tabLst/>
              <a:defRPr/>
            </a:pPr>
            <a:r>
              <a:rPr kumimoji="0" lang="en-US" sz="1100" b="0" i="0" u="none" strike="noStrike" kern="1200" cap="none" spc="0" normalizeH="0" baseline="0" noProof="0" dirty="0">
                <a:ln>
                  <a:noFill/>
                </a:ln>
                <a:solidFill>
                  <a:prstClr val="black">
                    <a:lumMod val="50000"/>
                    <a:lumOff val="50000"/>
                  </a:prstClr>
                </a:solidFill>
                <a:effectLst/>
                <a:uLnTx/>
                <a:uFillTx/>
                <a:latin typeface="HarmonyOS Sans SC"/>
                <a:cs typeface="+mn-cs"/>
              </a:rPr>
              <a:t>Apparently we had reached a great height in the.</a:t>
            </a:r>
          </a:p>
        </p:txBody>
      </p:sp>
      <p:sp>
        <p:nvSpPr>
          <p:cNvPr id="75" name="TextBox 65">
            <a:extLst>
              <a:ext uri="{FF2B5EF4-FFF2-40B4-BE49-F238E27FC236}">
                <a16:creationId xmlns:a16="http://schemas.microsoft.com/office/drawing/2014/main" id="{14E77344-9D84-42ED-91E3-D94240289885}"/>
              </a:ext>
            </a:extLst>
          </p:cNvPr>
          <p:cNvSpPr txBox="1"/>
          <p:nvPr/>
        </p:nvSpPr>
        <p:spPr>
          <a:xfrm>
            <a:off x="4964649" y="943275"/>
            <a:ext cx="2262702" cy="462746"/>
          </a:xfrm>
          <a:prstGeom prst="rect">
            <a:avLst/>
          </a:prstGeom>
          <a:noFill/>
        </p:spPr>
        <p:txBody>
          <a:bodyPr wrap="square" lIns="0" tIns="36000" rIns="0" bIns="36000" rtlCol="0">
            <a:spAutoFit/>
          </a:bodyPr>
          <a:lstStyle/>
          <a:p>
            <a:pPr marL="0" marR="0" lvl="0" indent="0" algn="ctr" defTabSz="914400" rtl="0" eaLnBrk="1" fontAlgn="auto" latinLnBrk="0" hangingPunct="1">
              <a:lnSpc>
                <a:spcPct val="120000"/>
              </a:lnSpc>
              <a:spcBef>
                <a:spcPts val="600"/>
              </a:spcBef>
              <a:spcAft>
                <a:spcPts val="0"/>
              </a:spcAft>
              <a:buClrTx/>
              <a:buSzTx/>
              <a:buFontTx/>
              <a:buNone/>
              <a:tabLst/>
              <a:defRPr/>
            </a:pPr>
            <a:r>
              <a:rPr kumimoji="0" lang="en-US" sz="1100" b="0" i="0" u="none" strike="noStrike" kern="1200" cap="none" spc="0" normalizeH="0" baseline="0" noProof="0" dirty="0">
                <a:ln>
                  <a:noFill/>
                </a:ln>
                <a:solidFill>
                  <a:prstClr val="black">
                    <a:lumMod val="50000"/>
                    <a:lumOff val="50000"/>
                  </a:prstClr>
                </a:solidFill>
                <a:effectLst/>
                <a:uLnTx/>
                <a:uFillTx/>
                <a:latin typeface="HarmonyOS Sans SC"/>
                <a:cs typeface="+mn-cs"/>
              </a:rPr>
              <a:t>Apparently we had reached a great height in the.</a:t>
            </a:r>
          </a:p>
        </p:txBody>
      </p:sp>
    </p:spTree>
    <p:extLst>
      <p:ext uri="{BB962C8B-B14F-4D97-AF65-F5344CB8AC3E}">
        <p14:creationId xmlns:p14="http://schemas.microsoft.com/office/powerpoint/2010/main" val="1654374413"/>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5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reeform 5">
            <a:extLst>
              <a:ext uri="{FF2B5EF4-FFF2-40B4-BE49-F238E27FC236}">
                <a16:creationId xmlns:a16="http://schemas.microsoft.com/office/drawing/2014/main" id="{3473AB31-9363-4537-8DEF-26E4D77FCEEC}"/>
              </a:ext>
            </a:extLst>
          </p:cNvPr>
          <p:cNvSpPr>
            <a:spLocks/>
          </p:cNvSpPr>
          <p:nvPr/>
        </p:nvSpPr>
        <p:spPr bwMode="auto">
          <a:xfrm rot="2700000">
            <a:off x="6181518" y="3612057"/>
            <a:ext cx="1501092" cy="2490289"/>
          </a:xfrm>
          <a:custGeom>
            <a:avLst/>
            <a:gdLst>
              <a:gd name="T0" fmla="*/ 117 w 365"/>
              <a:gd name="T1" fmla="*/ 69 h 606"/>
              <a:gd name="T2" fmla="*/ 110 w 365"/>
              <a:gd name="T3" fmla="*/ 59 h 606"/>
              <a:gd name="T4" fmla="*/ 59 w 365"/>
              <a:gd name="T5" fmla="*/ 60 h 606"/>
              <a:gd name="T6" fmla="*/ 61 w 365"/>
              <a:gd name="T7" fmla="*/ 111 h 606"/>
              <a:gd name="T8" fmla="*/ 69 w 365"/>
              <a:gd name="T9" fmla="*/ 117 h 606"/>
              <a:gd name="T10" fmla="*/ 71 w 365"/>
              <a:gd name="T11" fmla="*/ 126 h 606"/>
              <a:gd name="T12" fmla="*/ 0 w 365"/>
              <a:gd name="T13" fmla="*/ 197 h 606"/>
              <a:gd name="T14" fmla="*/ 0 w 365"/>
              <a:gd name="T15" fmla="*/ 409 h 606"/>
              <a:gd name="T16" fmla="*/ 0 w 365"/>
              <a:gd name="T17" fmla="*/ 409 h 606"/>
              <a:gd name="T18" fmla="*/ 70 w 365"/>
              <a:gd name="T19" fmla="*/ 480 h 606"/>
              <a:gd name="T20" fmla="*/ 80 w 365"/>
              <a:gd name="T21" fmla="*/ 478 h 606"/>
              <a:gd name="T22" fmla="*/ 86 w 365"/>
              <a:gd name="T23" fmla="*/ 470 h 606"/>
              <a:gd name="T24" fmla="*/ 136 w 365"/>
              <a:gd name="T25" fmla="*/ 468 h 606"/>
              <a:gd name="T26" fmla="*/ 137 w 365"/>
              <a:gd name="T27" fmla="*/ 519 h 606"/>
              <a:gd name="T28" fmla="*/ 127 w 365"/>
              <a:gd name="T29" fmla="*/ 526 h 606"/>
              <a:gd name="T30" fmla="*/ 126 w 365"/>
              <a:gd name="T31" fmla="*/ 535 h 606"/>
              <a:gd name="T32" fmla="*/ 197 w 365"/>
              <a:gd name="T33" fmla="*/ 606 h 606"/>
              <a:gd name="T34" fmla="*/ 197 w 365"/>
              <a:gd name="T35" fmla="*/ 606 h 606"/>
              <a:gd name="T36" fmla="*/ 197 w 365"/>
              <a:gd name="T37" fmla="*/ 0 h 606"/>
              <a:gd name="T38" fmla="*/ 127 w 365"/>
              <a:gd name="T39" fmla="*/ 71 h 606"/>
              <a:gd name="T40" fmla="*/ 117 w 365"/>
              <a:gd name="T41" fmla="*/ 69 h 6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65" h="606">
                <a:moveTo>
                  <a:pt x="117" y="69"/>
                </a:moveTo>
                <a:cubicBezTo>
                  <a:pt x="115" y="66"/>
                  <a:pt x="113" y="62"/>
                  <a:pt x="110" y="59"/>
                </a:cubicBezTo>
                <a:cubicBezTo>
                  <a:pt x="96" y="45"/>
                  <a:pt x="72" y="46"/>
                  <a:pt x="59" y="60"/>
                </a:cubicBezTo>
                <a:cubicBezTo>
                  <a:pt x="45" y="75"/>
                  <a:pt x="46" y="98"/>
                  <a:pt x="61" y="111"/>
                </a:cubicBezTo>
                <a:cubicBezTo>
                  <a:pt x="63" y="113"/>
                  <a:pt x="66" y="115"/>
                  <a:pt x="69" y="117"/>
                </a:cubicBezTo>
                <a:cubicBezTo>
                  <a:pt x="73" y="118"/>
                  <a:pt x="74" y="123"/>
                  <a:pt x="71" y="126"/>
                </a:cubicBezTo>
                <a:cubicBezTo>
                  <a:pt x="0" y="197"/>
                  <a:pt x="0" y="197"/>
                  <a:pt x="0" y="197"/>
                </a:cubicBezTo>
                <a:cubicBezTo>
                  <a:pt x="59" y="256"/>
                  <a:pt x="59" y="351"/>
                  <a:pt x="0" y="409"/>
                </a:cubicBezTo>
                <a:cubicBezTo>
                  <a:pt x="0" y="409"/>
                  <a:pt x="0" y="409"/>
                  <a:pt x="0" y="409"/>
                </a:cubicBezTo>
                <a:cubicBezTo>
                  <a:pt x="70" y="480"/>
                  <a:pt x="70" y="480"/>
                  <a:pt x="70" y="480"/>
                </a:cubicBezTo>
                <a:cubicBezTo>
                  <a:pt x="73" y="483"/>
                  <a:pt x="78" y="482"/>
                  <a:pt x="80" y="478"/>
                </a:cubicBezTo>
                <a:cubicBezTo>
                  <a:pt x="82" y="475"/>
                  <a:pt x="83" y="472"/>
                  <a:pt x="86" y="470"/>
                </a:cubicBezTo>
                <a:cubicBezTo>
                  <a:pt x="99" y="455"/>
                  <a:pt x="122" y="454"/>
                  <a:pt x="136" y="468"/>
                </a:cubicBezTo>
                <a:cubicBezTo>
                  <a:pt x="151" y="481"/>
                  <a:pt x="152" y="504"/>
                  <a:pt x="137" y="519"/>
                </a:cubicBezTo>
                <a:cubicBezTo>
                  <a:pt x="134" y="522"/>
                  <a:pt x="131" y="524"/>
                  <a:pt x="127" y="526"/>
                </a:cubicBezTo>
                <a:cubicBezTo>
                  <a:pt x="124" y="527"/>
                  <a:pt x="123" y="532"/>
                  <a:pt x="126" y="535"/>
                </a:cubicBezTo>
                <a:cubicBezTo>
                  <a:pt x="197" y="606"/>
                  <a:pt x="197" y="606"/>
                  <a:pt x="197" y="606"/>
                </a:cubicBezTo>
                <a:cubicBezTo>
                  <a:pt x="197" y="606"/>
                  <a:pt x="197" y="606"/>
                  <a:pt x="197" y="606"/>
                </a:cubicBezTo>
                <a:cubicBezTo>
                  <a:pt x="365" y="439"/>
                  <a:pt x="365" y="168"/>
                  <a:pt x="197" y="0"/>
                </a:cubicBezTo>
                <a:cubicBezTo>
                  <a:pt x="127" y="71"/>
                  <a:pt x="127" y="71"/>
                  <a:pt x="127" y="71"/>
                </a:cubicBezTo>
                <a:cubicBezTo>
                  <a:pt x="124" y="74"/>
                  <a:pt x="119" y="73"/>
                  <a:pt x="117" y="69"/>
                </a:cubicBezTo>
                <a:close/>
              </a:path>
            </a:pathLst>
          </a:custGeom>
          <a:gradFill flip="none" rotWithShape="1">
            <a:gsLst>
              <a:gs pos="73000">
                <a:schemeClr val="accent1"/>
              </a:gs>
              <a:gs pos="31000">
                <a:schemeClr val="accent1">
                  <a:lumMod val="60000"/>
                  <a:lumOff val="40000"/>
                </a:schemeClr>
              </a:gs>
              <a:gs pos="0">
                <a:schemeClr val="accent1">
                  <a:lumMod val="40000"/>
                  <a:lumOff val="60000"/>
                </a:schemeClr>
              </a:gs>
            </a:gsLst>
            <a:lin ang="540000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4" name="Freeform 6">
            <a:extLst>
              <a:ext uri="{FF2B5EF4-FFF2-40B4-BE49-F238E27FC236}">
                <a16:creationId xmlns:a16="http://schemas.microsoft.com/office/drawing/2014/main" id="{DA1E404C-269F-436C-AC61-7ED3B00BE486}"/>
              </a:ext>
            </a:extLst>
          </p:cNvPr>
          <p:cNvSpPr>
            <a:spLocks/>
          </p:cNvSpPr>
          <p:nvPr/>
        </p:nvSpPr>
        <p:spPr bwMode="auto">
          <a:xfrm rot="2700000">
            <a:off x="5688036" y="2434561"/>
            <a:ext cx="2486831" cy="1495903"/>
          </a:xfrm>
          <a:custGeom>
            <a:avLst/>
            <a:gdLst>
              <a:gd name="T0" fmla="*/ 68 w 605"/>
              <a:gd name="T1" fmla="*/ 247 h 364"/>
              <a:gd name="T2" fmla="*/ 60 w 605"/>
              <a:gd name="T3" fmla="*/ 253 h 364"/>
              <a:gd name="T4" fmla="*/ 58 w 605"/>
              <a:gd name="T5" fmla="*/ 303 h 364"/>
              <a:gd name="T6" fmla="*/ 109 w 605"/>
              <a:gd name="T7" fmla="*/ 304 h 364"/>
              <a:gd name="T8" fmla="*/ 116 w 605"/>
              <a:gd name="T9" fmla="*/ 294 h 364"/>
              <a:gd name="T10" fmla="*/ 126 w 605"/>
              <a:gd name="T11" fmla="*/ 293 h 364"/>
              <a:gd name="T12" fmla="*/ 197 w 605"/>
              <a:gd name="T13" fmla="*/ 364 h 364"/>
              <a:gd name="T14" fmla="*/ 408 w 605"/>
              <a:gd name="T15" fmla="*/ 364 h 364"/>
              <a:gd name="T16" fmla="*/ 408 w 605"/>
              <a:gd name="T17" fmla="*/ 364 h 364"/>
              <a:gd name="T18" fmla="*/ 479 w 605"/>
              <a:gd name="T19" fmla="*/ 293 h 364"/>
              <a:gd name="T20" fmla="*/ 477 w 605"/>
              <a:gd name="T21" fmla="*/ 284 h 364"/>
              <a:gd name="T22" fmla="*/ 469 w 605"/>
              <a:gd name="T23" fmla="*/ 278 h 364"/>
              <a:gd name="T24" fmla="*/ 467 w 605"/>
              <a:gd name="T25" fmla="*/ 227 h 364"/>
              <a:gd name="T26" fmla="*/ 518 w 605"/>
              <a:gd name="T27" fmla="*/ 226 h 364"/>
              <a:gd name="T28" fmla="*/ 525 w 605"/>
              <a:gd name="T29" fmla="*/ 236 h 364"/>
              <a:gd name="T30" fmla="*/ 535 w 605"/>
              <a:gd name="T31" fmla="*/ 238 h 364"/>
              <a:gd name="T32" fmla="*/ 605 w 605"/>
              <a:gd name="T33" fmla="*/ 167 h 364"/>
              <a:gd name="T34" fmla="*/ 605 w 605"/>
              <a:gd name="T35" fmla="*/ 167 h 364"/>
              <a:gd name="T36" fmla="*/ 0 w 605"/>
              <a:gd name="T37" fmla="*/ 167 h 364"/>
              <a:gd name="T38" fmla="*/ 70 w 605"/>
              <a:gd name="T39" fmla="*/ 237 h 364"/>
              <a:gd name="T40" fmla="*/ 68 w 605"/>
              <a:gd name="T41" fmla="*/ 247 h 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05" h="364">
                <a:moveTo>
                  <a:pt x="68" y="247"/>
                </a:moveTo>
                <a:cubicBezTo>
                  <a:pt x="65" y="249"/>
                  <a:pt x="62" y="250"/>
                  <a:pt x="60" y="253"/>
                </a:cubicBezTo>
                <a:cubicBezTo>
                  <a:pt x="45" y="266"/>
                  <a:pt x="44" y="289"/>
                  <a:pt x="58" y="303"/>
                </a:cubicBezTo>
                <a:cubicBezTo>
                  <a:pt x="72" y="318"/>
                  <a:pt x="95" y="318"/>
                  <a:pt x="109" y="304"/>
                </a:cubicBezTo>
                <a:cubicBezTo>
                  <a:pt x="112" y="301"/>
                  <a:pt x="114" y="298"/>
                  <a:pt x="116" y="294"/>
                </a:cubicBezTo>
                <a:cubicBezTo>
                  <a:pt x="118" y="291"/>
                  <a:pt x="123" y="290"/>
                  <a:pt x="126" y="293"/>
                </a:cubicBezTo>
                <a:cubicBezTo>
                  <a:pt x="197" y="364"/>
                  <a:pt x="197" y="364"/>
                  <a:pt x="197" y="364"/>
                </a:cubicBezTo>
                <a:cubicBezTo>
                  <a:pt x="255" y="306"/>
                  <a:pt x="350" y="306"/>
                  <a:pt x="408" y="364"/>
                </a:cubicBezTo>
                <a:cubicBezTo>
                  <a:pt x="408" y="364"/>
                  <a:pt x="408" y="364"/>
                  <a:pt x="408" y="364"/>
                </a:cubicBezTo>
                <a:cubicBezTo>
                  <a:pt x="479" y="293"/>
                  <a:pt x="479" y="293"/>
                  <a:pt x="479" y="293"/>
                </a:cubicBezTo>
                <a:cubicBezTo>
                  <a:pt x="482" y="290"/>
                  <a:pt x="481" y="285"/>
                  <a:pt x="477" y="284"/>
                </a:cubicBezTo>
                <a:cubicBezTo>
                  <a:pt x="474" y="282"/>
                  <a:pt x="471" y="280"/>
                  <a:pt x="469" y="278"/>
                </a:cubicBezTo>
                <a:cubicBezTo>
                  <a:pt x="454" y="265"/>
                  <a:pt x="453" y="242"/>
                  <a:pt x="467" y="227"/>
                </a:cubicBezTo>
                <a:cubicBezTo>
                  <a:pt x="480" y="213"/>
                  <a:pt x="504" y="212"/>
                  <a:pt x="518" y="226"/>
                </a:cubicBezTo>
                <a:cubicBezTo>
                  <a:pt x="521" y="229"/>
                  <a:pt x="523" y="233"/>
                  <a:pt x="525" y="236"/>
                </a:cubicBezTo>
                <a:cubicBezTo>
                  <a:pt x="527" y="240"/>
                  <a:pt x="532" y="241"/>
                  <a:pt x="535" y="238"/>
                </a:cubicBezTo>
                <a:cubicBezTo>
                  <a:pt x="605" y="167"/>
                  <a:pt x="605" y="167"/>
                  <a:pt x="605" y="167"/>
                </a:cubicBezTo>
                <a:cubicBezTo>
                  <a:pt x="605" y="167"/>
                  <a:pt x="605" y="167"/>
                  <a:pt x="605" y="167"/>
                </a:cubicBezTo>
                <a:cubicBezTo>
                  <a:pt x="438" y="0"/>
                  <a:pt x="167" y="0"/>
                  <a:pt x="0" y="167"/>
                </a:cubicBezTo>
                <a:cubicBezTo>
                  <a:pt x="70" y="237"/>
                  <a:pt x="70" y="237"/>
                  <a:pt x="70" y="237"/>
                </a:cubicBezTo>
                <a:cubicBezTo>
                  <a:pt x="73" y="240"/>
                  <a:pt x="72" y="245"/>
                  <a:pt x="68" y="247"/>
                </a:cubicBezTo>
                <a:close/>
              </a:path>
            </a:pathLst>
          </a:custGeom>
          <a:gradFill flip="none" rotWithShape="1">
            <a:gsLst>
              <a:gs pos="73000">
                <a:schemeClr val="accent1"/>
              </a:gs>
              <a:gs pos="31000">
                <a:schemeClr val="accent1">
                  <a:lumMod val="60000"/>
                  <a:lumOff val="40000"/>
                </a:schemeClr>
              </a:gs>
              <a:gs pos="0">
                <a:schemeClr val="accent1">
                  <a:lumMod val="40000"/>
                  <a:lumOff val="60000"/>
                </a:schemeClr>
              </a:gs>
            </a:gsLst>
            <a:lin ang="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5" name="Freeform 7">
            <a:extLst>
              <a:ext uri="{FF2B5EF4-FFF2-40B4-BE49-F238E27FC236}">
                <a16:creationId xmlns:a16="http://schemas.microsoft.com/office/drawing/2014/main" id="{E8128CF8-1C03-46DA-B09E-48248CDAAE28}"/>
              </a:ext>
            </a:extLst>
          </p:cNvPr>
          <p:cNvSpPr>
            <a:spLocks/>
          </p:cNvSpPr>
          <p:nvPr/>
        </p:nvSpPr>
        <p:spPr bwMode="auto">
          <a:xfrm rot="2700000">
            <a:off x="4507440" y="1937262"/>
            <a:ext cx="1501092" cy="2486830"/>
          </a:xfrm>
          <a:custGeom>
            <a:avLst/>
            <a:gdLst>
              <a:gd name="T0" fmla="*/ 247 w 365"/>
              <a:gd name="T1" fmla="*/ 536 h 605"/>
              <a:gd name="T2" fmla="*/ 253 w 365"/>
              <a:gd name="T3" fmla="*/ 545 h 605"/>
              <a:gd name="T4" fmla="*/ 304 w 365"/>
              <a:gd name="T5" fmla="*/ 547 h 605"/>
              <a:gd name="T6" fmla="*/ 304 w 365"/>
              <a:gd name="T7" fmla="*/ 496 h 605"/>
              <a:gd name="T8" fmla="*/ 294 w 365"/>
              <a:gd name="T9" fmla="*/ 489 h 605"/>
              <a:gd name="T10" fmla="*/ 293 w 365"/>
              <a:gd name="T11" fmla="*/ 479 h 605"/>
              <a:gd name="T12" fmla="*/ 364 w 365"/>
              <a:gd name="T13" fmla="*/ 408 h 605"/>
              <a:gd name="T14" fmla="*/ 364 w 365"/>
              <a:gd name="T15" fmla="*/ 197 h 605"/>
              <a:gd name="T16" fmla="*/ 365 w 365"/>
              <a:gd name="T17" fmla="*/ 197 h 605"/>
              <a:gd name="T18" fmla="*/ 294 w 365"/>
              <a:gd name="T19" fmla="*/ 126 h 605"/>
              <a:gd name="T20" fmla="*/ 284 w 365"/>
              <a:gd name="T21" fmla="*/ 127 h 605"/>
              <a:gd name="T22" fmla="*/ 277 w 365"/>
              <a:gd name="T23" fmla="*/ 137 h 605"/>
              <a:gd name="T24" fmla="*/ 226 w 365"/>
              <a:gd name="T25" fmla="*/ 136 h 605"/>
              <a:gd name="T26" fmla="*/ 228 w 365"/>
              <a:gd name="T27" fmla="*/ 86 h 605"/>
              <a:gd name="T28" fmla="*/ 236 w 365"/>
              <a:gd name="T29" fmla="*/ 80 h 605"/>
              <a:gd name="T30" fmla="*/ 238 w 365"/>
              <a:gd name="T31" fmla="*/ 70 h 605"/>
              <a:gd name="T32" fmla="*/ 168 w 365"/>
              <a:gd name="T33" fmla="*/ 0 h 605"/>
              <a:gd name="T34" fmla="*/ 167 w 365"/>
              <a:gd name="T35" fmla="*/ 0 h 605"/>
              <a:gd name="T36" fmla="*/ 167 w 365"/>
              <a:gd name="T37" fmla="*/ 605 h 605"/>
              <a:gd name="T38" fmla="*/ 237 w 365"/>
              <a:gd name="T39" fmla="*/ 535 h 605"/>
              <a:gd name="T40" fmla="*/ 247 w 365"/>
              <a:gd name="T41" fmla="*/ 536 h 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65" h="605">
                <a:moveTo>
                  <a:pt x="247" y="536"/>
                </a:moveTo>
                <a:cubicBezTo>
                  <a:pt x="249" y="539"/>
                  <a:pt x="251" y="542"/>
                  <a:pt x="253" y="545"/>
                </a:cubicBezTo>
                <a:cubicBezTo>
                  <a:pt x="266" y="559"/>
                  <a:pt x="289" y="560"/>
                  <a:pt x="304" y="547"/>
                </a:cubicBezTo>
                <a:cubicBezTo>
                  <a:pt x="318" y="533"/>
                  <a:pt x="319" y="510"/>
                  <a:pt x="304" y="496"/>
                </a:cubicBezTo>
                <a:cubicBezTo>
                  <a:pt x="301" y="493"/>
                  <a:pt x="298" y="491"/>
                  <a:pt x="294" y="489"/>
                </a:cubicBezTo>
                <a:cubicBezTo>
                  <a:pt x="291" y="487"/>
                  <a:pt x="290" y="482"/>
                  <a:pt x="293" y="479"/>
                </a:cubicBezTo>
                <a:cubicBezTo>
                  <a:pt x="364" y="408"/>
                  <a:pt x="364" y="408"/>
                  <a:pt x="364" y="408"/>
                </a:cubicBezTo>
                <a:cubicBezTo>
                  <a:pt x="306" y="350"/>
                  <a:pt x="306" y="256"/>
                  <a:pt x="364" y="197"/>
                </a:cubicBezTo>
                <a:cubicBezTo>
                  <a:pt x="364" y="197"/>
                  <a:pt x="365" y="197"/>
                  <a:pt x="365" y="197"/>
                </a:cubicBezTo>
                <a:cubicBezTo>
                  <a:pt x="294" y="126"/>
                  <a:pt x="294" y="126"/>
                  <a:pt x="294" y="126"/>
                </a:cubicBezTo>
                <a:cubicBezTo>
                  <a:pt x="291" y="123"/>
                  <a:pt x="286" y="124"/>
                  <a:pt x="284" y="127"/>
                </a:cubicBezTo>
                <a:cubicBezTo>
                  <a:pt x="282" y="131"/>
                  <a:pt x="280" y="134"/>
                  <a:pt x="277" y="137"/>
                </a:cubicBezTo>
                <a:cubicBezTo>
                  <a:pt x="263" y="151"/>
                  <a:pt x="240" y="151"/>
                  <a:pt x="226" y="136"/>
                </a:cubicBezTo>
                <a:cubicBezTo>
                  <a:pt x="212" y="122"/>
                  <a:pt x="213" y="99"/>
                  <a:pt x="228" y="86"/>
                </a:cubicBezTo>
                <a:cubicBezTo>
                  <a:pt x="230" y="83"/>
                  <a:pt x="233" y="82"/>
                  <a:pt x="236" y="80"/>
                </a:cubicBezTo>
                <a:cubicBezTo>
                  <a:pt x="240" y="78"/>
                  <a:pt x="241" y="73"/>
                  <a:pt x="238" y="70"/>
                </a:cubicBezTo>
                <a:cubicBezTo>
                  <a:pt x="168" y="0"/>
                  <a:pt x="168" y="0"/>
                  <a:pt x="168" y="0"/>
                </a:cubicBezTo>
                <a:cubicBezTo>
                  <a:pt x="168" y="0"/>
                  <a:pt x="167" y="0"/>
                  <a:pt x="167" y="0"/>
                </a:cubicBezTo>
                <a:cubicBezTo>
                  <a:pt x="0" y="167"/>
                  <a:pt x="0" y="438"/>
                  <a:pt x="167" y="605"/>
                </a:cubicBezTo>
                <a:cubicBezTo>
                  <a:pt x="237" y="535"/>
                  <a:pt x="237" y="535"/>
                  <a:pt x="237" y="535"/>
                </a:cubicBezTo>
                <a:cubicBezTo>
                  <a:pt x="240" y="532"/>
                  <a:pt x="245" y="533"/>
                  <a:pt x="247" y="536"/>
                </a:cubicBezTo>
                <a:close/>
              </a:path>
            </a:pathLst>
          </a:custGeom>
          <a:gradFill flip="none" rotWithShape="1">
            <a:gsLst>
              <a:gs pos="73000">
                <a:schemeClr val="accent1"/>
              </a:gs>
              <a:gs pos="31000">
                <a:schemeClr val="accent1">
                  <a:lumMod val="60000"/>
                  <a:lumOff val="40000"/>
                </a:schemeClr>
              </a:gs>
              <a:gs pos="0">
                <a:schemeClr val="accent1">
                  <a:lumMod val="40000"/>
                  <a:lumOff val="60000"/>
                </a:schemeClr>
              </a:gs>
            </a:gsLst>
            <a:lin ang="1620000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HarmonyOS Sans SC"/>
              <a:cs typeface="+mn-cs"/>
            </a:endParaRPr>
          </a:p>
        </p:txBody>
      </p:sp>
      <p:sp>
        <p:nvSpPr>
          <p:cNvPr id="6" name="Freeform 8">
            <a:extLst>
              <a:ext uri="{FF2B5EF4-FFF2-40B4-BE49-F238E27FC236}">
                <a16:creationId xmlns:a16="http://schemas.microsoft.com/office/drawing/2014/main" id="{AD817A7F-136E-40DD-8AE1-798466C99BC3}"/>
              </a:ext>
            </a:extLst>
          </p:cNvPr>
          <p:cNvSpPr>
            <a:spLocks/>
          </p:cNvSpPr>
          <p:nvPr/>
        </p:nvSpPr>
        <p:spPr bwMode="auto">
          <a:xfrm rot="2700000">
            <a:off x="4010753" y="4103852"/>
            <a:ext cx="2492020" cy="1499362"/>
          </a:xfrm>
          <a:custGeom>
            <a:avLst/>
            <a:gdLst>
              <a:gd name="T0" fmla="*/ 535 w 606"/>
              <a:gd name="T1" fmla="*/ 127 h 365"/>
              <a:gd name="T2" fmla="*/ 536 w 606"/>
              <a:gd name="T3" fmla="*/ 118 h 365"/>
              <a:gd name="T4" fmla="*/ 546 w 606"/>
              <a:gd name="T5" fmla="*/ 111 h 365"/>
              <a:gd name="T6" fmla="*/ 545 w 606"/>
              <a:gd name="T7" fmla="*/ 60 h 365"/>
              <a:gd name="T8" fmla="*/ 495 w 606"/>
              <a:gd name="T9" fmla="*/ 62 h 365"/>
              <a:gd name="T10" fmla="*/ 489 w 606"/>
              <a:gd name="T11" fmla="*/ 70 h 365"/>
              <a:gd name="T12" fmla="*/ 479 w 606"/>
              <a:gd name="T13" fmla="*/ 72 h 365"/>
              <a:gd name="T14" fmla="*/ 409 w 606"/>
              <a:gd name="T15" fmla="*/ 1 h 365"/>
              <a:gd name="T16" fmla="*/ 197 w 606"/>
              <a:gd name="T17" fmla="*/ 1 h 365"/>
              <a:gd name="T18" fmla="*/ 197 w 606"/>
              <a:gd name="T19" fmla="*/ 0 h 365"/>
              <a:gd name="T20" fmla="*/ 126 w 606"/>
              <a:gd name="T21" fmla="*/ 71 h 365"/>
              <a:gd name="T22" fmla="*/ 127 w 606"/>
              <a:gd name="T23" fmla="*/ 81 h 365"/>
              <a:gd name="T24" fmla="*/ 137 w 606"/>
              <a:gd name="T25" fmla="*/ 88 h 365"/>
              <a:gd name="T26" fmla="*/ 137 w 606"/>
              <a:gd name="T27" fmla="*/ 139 h 365"/>
              <a:gd name="T28" fmla="*/ 86 w 606"/>
              <a:gd name="T29" fmla="*/ 137 h 365"/>
              <a:gd name="T30" fmla="*/ 80 w 606"/>
              <a:gd name="T31" fmla="*/ 128 h 365"/>
              <a:gd name="T32" fmla="*/ 70 w 606"/>
              <a:gd name="T33" fmla="*/ 127 h 365"/>
              <a:gd name="T34" fmla="*/ 0 w 606"/>
              <a:gd name="T35" fmla="*/ 197 h 365"/>
              <a:gd name="T36" fmla="*/ 0 w 606"/>
              <a:gd name="T37" fmla="*/ 198 h 365"/>
              <a:gd name="T38" fmla="*/ 606 w 606"/>
              <a:gd name="T39" fmla="*/ 198 h 365"/>
              <a:gd name="T40" fmla="*/ 535 w 606"/>
              <a:gd name="T41" fmla="*/ 127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06" h="365">
                <a:moveTo>
                  <a:pt x="535" y="127"/>
                </a:moveTo>
                <a:cubicBezTo>
                  <a:pt x="532" y="124"/>
                  <a:pt x="533" y="119"/>
                  <a:pt x="536" y="118"/>
                </a:cubicBezTo>
                <a:cubicBezTo>
                  <a:pt x="540" y="116"/>
                  <a:pt x="543" y="114"/>
                  <a:pt x="546" y="111"/>
                </a:cubicBezTo>
                <a:cubicBezTo>
                  <a:pt x="561" y="96"/>
                  <a:pt x="560" y="73"/>
                  <a:pt x="545" y="60"/>
                </a:cubicBezTo>
                <a:cubicBezTo>
                  <a:pt x="531" y="46"/>
                  <a:pt x="508" y="47"/>
                  <a:pt x="495" y="62"/>
                </a:cubicBezTo>
                <a:cubicBezTo>
                  <a:pt x="492" y="64"/>
                  <a:pt x="491" y="67"/>
                  <a:pt x="489" y="70"/>
                </a:cubicBezTo>
                <a:cubicBezTo>
                  <a:pt x="487" y="74"/>
                  <a:pt x="482" y="75"/>
                  <a:pt x="479" y="72"/>
                </a:cubicBezTo>
                <a:cubicBezTo>
                  <a:pt x="409" y="1"/>
                  <a:pt x="409" y="1"/>
                  <a:pt x="409" y="1"/>
                </a:cubicBezTo>
                <a:cubicBezTo>
                  <a:pt x="350" y="60"/>
                  <a:pt x="256" y="59"/>
                  <a:pt x="197" y="1"/>
                </a:cubicBezTo>
                <a:cubicBezTo>
                  <a:pt x="197" y="1"/>
                  <a:pt x="197" y="1"/>
                  <a:pt x="197" y="0"/>
                </a:cubicBezTo>
                <a:cubicBezTo>
                  <a:pt x="126" y="71"/>
                  <a:pt x="126" y="71"/>
                  <a:pt x="126" y="71"/>
                </a:cubicBezTo>
                <a:cubicBezTo>
                  <a:pt x="123" y="74"/>
                  <a:pt x="124" y="79"/>
                  <a:pt x="127" y="81"/>
                </a:cubicBezTo>
                <a:cubicBezTo>
                  <a:pt x="131" y="83"/>
                  <a:pt x="134" y="85"/>
                  <a:pt x="137" y="88"/>
                </a:cubicBezTo>
                <a:cubicBezTo>
                  <a:pt x="152" y="102"/>
                  <a:pt x="151" y="125"/>
                  <a:pt x="137" y="139"/>
                </a:cubicBezTo>
                <a:cubicBezTo>
                  <a:pt x="122" y="152"/>
                  <a:pt x="99" y="151"/>
                  <a:pt x="86" y="137"/>
                </a:cubicBezTo>
                <a:cubicBezTo>
                  <a:pt x="84" y="134"/>
                  <a:pt x="82" y="131"/>
                  <a:pt x="80" y="128"/>
                </a:cubicBezTo>
                <a:cubicBezTo>
                  <a:pt x="78" y="125"/>
                  <a:pt x="73" y="124"/>
                  <a:pt x="70" y="127"/>
                </a:cubicBezTo>
                <a:cubicBezTo>
                  <a:pt x="0" y="197"/>
                  <a:pt x="0" y="197"/>
                  <a:pt x="0" y="197"/>
                </a:cubicBezTo>
                <a:cubicBezTo>
                  <a:pt x="0" y="198"/>
                  <a:pt x="0" y="198"/>
                  <a:pt x="0" y="198"/>
                </a:cubicBezTo>
                <a:cubicBezTo>
                  <a:pt x="168" y="365"/>
                  <a:pt x="439" y="365"/>
                  <a:pt x="606" y="198"/>
                </a:cubicBezTo>
                <a:lnTo>
                  <a:pt x="535" y="127"/>
                </a:lnTo>
                <a:close/>
              </a:path>
            </a:pathLst>
          </a:custGeom>
          <a:gradFill flip="none" rotWithShape="1">
            <a:gsLst>
              <a:gs pos="73000">
                <a:schemeClr val="accent1"/>
              </a:gs>
              <a:gs pos="31000">
                <a:schemeClr val="accent1">
                  <a:lumMod val="60000"/>
                  <a:lumOff val="40000"/>
                </a:schemeClr>
              </a:gs>
              <a:gs pos="0">
                <a:schemeClr val="accent1">
                  <a:lumMod val="40000"/>
                  <a:lumOff val="60000"/>
                </a:schemeClr>
              </a:gs>
            </a:gsLst>
            <a:lin ang="810000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grpSp>
        <p:nvGrpSpPr>
          <p:cNvPr id="11" name="Group 41">
            <a:extLst>
              <a:ext uri="{FF2B5EF4-FFF2-40B4-BE49-F238E27FC236}">
                <a16:creationId xmlns:a16="http://schemas.microsoft.com/office/drawing/2014/main" id="{F9179C3A-1280-479A-B386-97EB2F895A10}"/>
              </a:ext>
            </a:extLst>
          </p:cNvPr>
          <p:cNvGrpSpPr/>
          <p:nvPr/>
        </p:nvGrpSpPr>
        <p:grpSpPr>
          <a:xfrm>
            <a:off x="4912274" y="3109150"/>
            <a:ext cx="542376" cy="360712"/>
            <a:chOff x="7953375" y="1320800"/>
            <a:chExt cx="2303463" cy="1531938"/>
          </a:xfrm>
          <a:solidFill>
            <a:srgbClr val="FFFFFF"/>
          </a:solidFill>
        </p:grpSpPr>
        <p:sp>
          <p:nvSpPr>
            <p:cNvPr id="12" name="Freeform 9">
              <a:extLst>
                <a:ext uri="{FF2B5EF4-FFF2-40B4-BE49-F238E27FC236}">
                  <a16:creationId xmlns:a16="http://schemas.microsoft.com/office/drawing/2014/main" id="{00B35981-80E8-49D7-B05A-C234AC523009}"/>
                </a:ext>
              </a:extLst>
            </p:cNvPr>
            <p:cNvSpPr>
              <a:spLocks/>
            </p:cNvSpPr>
            <p:nvPr/>
          </p:nvSpPr>
          <p:spPr bwMode="auto">
            <a:xfrm>
              <a:off x="9498013" y="1320800"/>
              <a:ext cx="479425" cy="673100"/>
            </a:xfrm>
            <a:custGeom>
              <a:avLst/>
              <a:gdLst>
                <a:gd name="T0" fmla="*/ 127 w 426"/>
                <a:gd name="T1" fmla="*/ 0 h 598"/>
                <a:gd name="T2" fmla="*/ 0 w 426"/>
                <a:gd name="T3" fmla="*/ 29 h 598"/>
                <a:gd name="T4" fmla="*/ 40 w 426"/>
                <a:gd name="T5" fmla="*/ 89 h 598"/>
                <a:gd name="T6" fmla="*/ 68 w 426"/>
                <a:gd name="T7" fmla="*/ 155 h 598"/>
                <a:gd name="T8" fmla="*/ 93 w 426"/>
                <a:gd name="T9" fmla="*/ 299 h 598"/>
                <a:gd name="T10" fmla="*/ 68 w 426"/>
                <a:gd name="T11" fmla="*/ 443 h 598"/>
                <a:gd name="T12" fmla="*/ 40 w 426"/>
                <a:gd name="T13" fmla="*/ 509 h 598"/>
                <a:gd name="T14" fmla="*/ 0 w 426"/>
                <a:gd name="T15" fmla="*/ 569 h 598"/>
                <a:gd name="T16" fmla="*/ 127 w 426"/>
                <a:gd name="T17" fmla="*/ 598 h 598"/>
                <a:gd name="T18" fmla="*/ 426 w 426"/>
                <a:gd name="T19" fmla="*/ 299 h 598"/>
                <a:gd name="T20" fmla="*/ 127 w 426"/>
                <a:gd name="T21" fmla="*/ 0 h 5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26" h="598">
                  <a:moveTo>
                    <a:pt x="127" y="0"/>
                  </a:moveTo>
                  <a:cubicBezTo>
                    <a:pt x="82" y="0"/>
                    <a:pt x="39" y="10"/>
                    <a:pt x="0" y="29"/>
                  </a:cubicBezTo>
                  <a:cubicBezTo>
                    <a:pt x="15" y="48"/>
                    <a:pt x="28" y="68"/>
                    <a:pt x="40" y="89"/>
                  </a:cubicBezTo>
                  <a:cubicBezTo>
                    <a:pt x="51" y="110"/>
                    <a:pt x="61" y="132"/>
                    <a:pt x="68" y="155"/>
                  </a:cubicBezTo>
                  <a:cubicBezTo>
                    <a:pt x="84" y="200"/>
                    <a:pt x="93" y="248"/>
                    <a:pt x="93" y="299"/>
                  </a:cubicBezTo>
                  <a:cubicBezTo>
                    <a:pt x="93" y="350"/>
                    <a:pt x="84" y="398"/>
                    <a:pt x="68" y="443"/>
                  </a:cubicBezTo>
                  <a:cubicBezTo>
                    <a:pt x="61" y="466"/>
                    <a:pt x="51" y="488"/>
                    <a:pt x="40" y="509"/>
                  </a:cubicBezTo>
                  <a:cubicBezTo>
                    <a:pt x="28" y="530"/>
                    <a:pt x="15" y="550"/>
                    <a:pt x="0" y="569"/>
                  </a:cubicBezTo>
                  <a:cubicBezTo>
                    <a:pt x="39" y="588"/>
                    <a:pt x="82" y="598"/>
                    <a:pt x="127" y="598"/>
                  </a:cubicBezTo>
                  <a:cubicBezTo>
                    <a:pt x="292" y="598"/>
                    <a:pt x="426" y="464"/>
                    <a:pt x="426" y="299"/>
                  </a:cubicBezTo>
                  <a:cubicBezTo>
                    <a:pt x="426" y="134"/>
                    <a:pt x="292" y="0"/>
                    <a:pt x="12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13" name="Freeform 10">
              <a:extLst>
                <a:ext uri="{FF2B5EF4-FFF2-40B4-BE49-F238E27FC236}">
                  <a16:creationId xmlns:a16="http://schemas.microsoft.com/office/drawing/2014/main" id="{1B3644DB-4B31-4F9B-B87B-4FFC4122024A}"/>
                </a:ext>
              </a:extLst>
            </p:cNvPr>
            <p:cNvSpPr>
              <a:spLocks/>
            </p:cNvSpPr>
            <p:nvPr/>
          </p:nvSpPr>
          <p:spPr bwMode="auto">
            <a:xfrm>
              <a:off x="9580563" y="2155825"/>
              <a:ext cx="676275" cy="696913"/>
            </a:xfrm>
            <a:custGeom>
              <a:avLst/>
              <a:gdLst>
                <a:gd name="T0" fmla="*/ 53 w 601"/>
                <a:gd name="T1" fmla="*/ 0 h 619"/>
                <a:gd name="T2" fmla="*/ 0 w 601"/>
                <a:gd name="T3" fmla="*/ 2 h 619"/>
                <a:gd name="T4" fmla="*/ 77 w 601"/>
                <a:gd name="T5" fmla="*/ 72 h 619"/>
                <a:gd name="T6" fmla="*/ 143 w 601"/>
                <a:gd name="T7" fmla="*/ 153 h 619"/>
                <a:gd name="T8" fmla="*/ 264 w 601"/>
                <a:gd name="T9" fmla="*/ 476 h 619"/>
                <a:gd name="T10" fmla="*/ 268 w 601"/>
                <a:gd name="T11" fmla="*/ 547 h 619"/>
                <a:gd name="T12" fmla="*/ 255 w 601"/>
                <a:gd name="T13" fmla="*/ 619 h 619"/>
                <a:gd name="T14" fmla="*/ 530 w 601"/>
                <a:gd name="T15" fmla="*/ 619 h 619"/>
                <a:gd name="T16" fmla="*/ 601 w 601"/>
                <a:gd name="T17" fmla="*/ 547 h 619"/>
                <a:gd name="T18" fmla="*/ 53 w 601"/>
                <a:gd name="T19" fmla="*/ 0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1" h="619">
                  <a:moveTo>
                    <a:pt x="53" y="0"/>
                  </a:moveTo>
                  <a:cubicBezTo>
                    <a:pt x="36" y="0"/>
                    <a:pt x="18" y="1"/>
                    <a:pt x="0" y="2"/>
                  </a:cubicBezTo>
                  <a:cubicBezTo>
                    <a:pt x="28" y="24"/>
                    <a:pt x="53" y="47"/>
                    <a:pt x="77" y="72"/>
                  </a:cubicBezTo>
                  <a:cubicBezTo>
                    <a:pt x="101" y="97"/>
                    <a:pt x="123" y="124"/>
                    <a:pt x="143" y="153"/>
                  </a:cubicBezTo>
                  <a:cubicBezTo>
                    <a:pt x="209" y="246"/>
                    <a:pt x="252" y="357"/>
                    <a:pt x="264" y="476"/>
                  </a:cubicBezTo>
                  <a:cubicBezTo>
                    <a:pt x="266" y="499"/>
                    <a:pt x="268" y="523"/>
                    <a:pt x="268" y="547"/>
                  </a:cubicBezTo>
                  <a:cubicBezTo>
                    <a:pt x="268" y="572"/>
                    <a:pt x="263" y="597"/>
                    <a:pt x="255" y="619"/>
                  </a:cubicBezTo>
                  <a:cubicBezTo>
                    <a:pt x="530" y="619"/>
                    <a:pt x="530" y="619"/>
                    <a:pt x="530" y="619"/>
                  </a:cubicBezTo>
                  <a:cubicBezTo>
                    <a:pt x="569" y="619"/>
                    <a:pt x="601" y="587"/>
                    <a:pt x="601" y="547"/>
                  </a:cubicBezTo>
                  <a:cubicBezTo>
                    <a:pt x="601" y="245"/>
                    <a:pt x="355" y="0"/>
                    <a:pt x="5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14" name="Freeform 11">
              <a:extLst>
                <a:ext uri="{FF2B5EF4-FFF2-40B4-BE49-F238E27FC236}">
                  <a16:creationId xmlns:a16="http://schemas.microsoft.com/office/drawing/2014/main" id="{5C6F102C-C90C-4198-9432-E525C286926B}"/>
                </a:ext>
              </a:extLst>
            </p:cNvPr>
            <p:cNvSpPr>
              <a:spLocks/>
            </p:cNvSpPr>
            <p:nvPr/>
          </p:nvSpPr>
          <p:spPr bwMode="auto">
            <a:xfrm>
              <a:off x="8232775" y="1320800"/>
              <a:ext cx="479425" cy="673100"/>
            </a:xfrm>
            <a:custGeom>
              <a:avLst/>
              <a:gdLst>
                <a:gd name="T0" fmla="*/ 358 w 426"/>
                <a:gd name="T1" fmla="*/ 443 h 598"/>
                <a:gd name="T2" fmla="*/ 333 w 426"/>
                <a:gd name="T3" fmla="*/ 299 h 598"/>
                <a:gd name="T4" fmla="*/ 358 w 426"/>
                <a:gd name="T5" fmla="*/ 155 h 598"/>
                <a:gd name="T6" fmla="*/ 386 w 426"/>
                <a:gd name="T7" fmla="*/ 89 h 598"/>
                <a:gd name="T8" fmla="*/ 426 w 426"/>
                <a:gd name="T9" fmla="*/ 29 h 598"/>
                <a:gd name="T10" fmla="*/ 299 w 426"/>
                <a:gd name="T11" fmla="*/ 0 h 598"/>
                <a:gd name="T12" fmla="*/ 0 w 426"/>
                <a:gd name="T13" fmla="*/ 299 h 598"/>
                <a:gd name="T14" fmla="*/ 299 w 426"/>
                <a:gd name="T15" fmla="*/ 598 h 598"/>
                <a:gd name="T16" fmla="*/ 426 w 426"/>
                <a:gd name="T17" fmla="*/ 569 h 598"/>
                <a:gd name="T18" fmla="*/ 386 w 426"/>
                <a:gd name="T19" fmla="*/ 509 h 598"/>
                <a:gd name="T20" fmla="*/ 358 w 426"/>
                <a:gd name="T21" fmla="*/ 443 h 5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26" h="598">
                  <a:moveTo>
                    <a:pt x="358" y="443"/>
                  </a:moveTo>
                  <a:cubicBezTo>
                    <a:pt x="342" y="398"/>
                    <a:pt x="333" y="350"/>
                    <a:pt x="333" y="299"/>
                  </a:cubicBezTo>
                  <a:cubicBezTo>
                    <a:pt x="333" y="248"/>
                    <a:pt x="342" y="200"/>
                    <a:pt x="358" y="155"/>
                  </a:cubicBezTo>
                  <a:cubicBezTo>
                    <a:pt x="365" y="132"/>
                    <a:pt x="375" y="110"/>
                    <a:pt x="386" y="89"/>
                  </a:cubicBezTo>
                  <a:cubicBezTo>
                    <a:pt x="398" y="68"/>
                    <a:pt x="411" y="48"/>
                    <a:pt x="426" y="29"/>
                  </a:cubicBezTo>
                  <a:cubicBezTo>
                    <a:pt x="387" y="10"/>
                    <a:pt x="344" y="0"/>
                    <a:pt x="299" y="0"/>
                  </a:cubicBezTo>
                  <a:cubicBezTo>
                    <a:pt x="134" y="0"/>
                    <a:pt x="0" y="134"/>
                    <a:pt x="0" y="299"/>
                  </a:cubicBezTo>
                  <a:cubicBezTo>
                    <a:pt x="0" y="464"/>
                    <a:pt x="134" y="598"/>
                    <a:pt x="299" y="598"/>
                  </a:cubicBezTo>
                  <a:cubicBezTo>
                    <a:pt x="344" y="598"/>
                    <a:pt x="387" y="588"/>
                    <a:pt x="426" y="569"/>
                  </a:cubicBezTo>
                  <a:cubicBezTo>
                    <a:pt x="411" y="550"/>
                    <a:pt x="398" y="530"/>
                    <a:pt x="386" y="509"/>
                  </a:cubicBezTo>
                  <a:cubicBezTo>
                    <a:pt x="375" y="488"/>
                    <a:pt x="365" y="466"/>
                    <a:pt x="358" y="4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15" name="Freeform 12">
              <a:extLst>
                <a:ext uri="{FF2B5EF4-FFF2-40B4-BE49-F238E27FC236}">
                  <a16:creationId xmlns:a16="http://schemas.microsoft.com/office/drawing/2014/main" id="{E9789837-FF64-4747-9196-29F9C1007474}"/>
                </a:ext>
              </a:extLst>
            </p:cNvPr>
            <p:cNvSpPr>
              <a:spLocks/>
            </p:cNvSpPr>
            <p:nvPr/>
          </p:nvSpPr>
          <p:spPr bwMode="auto">
            <a:xfrm>
              <a:off x="7953375" y="2155825"/>
              <a:ext cx="676275" cy="696913"/>
            </a:xfrm>
            <a:custGeom>
              <a:avLst/>
              <a:gdLst>
                <a:gd name="T0" fmla="*/ 548 w 601"/>
                <a:gd name="T1" fmla="*/ 0 h 619"/>
                <a:gd name="T2" fmla="*/ 0 w 601"/>
                <a:gd name="T3" fmla="*/ 547 h 619"/>
                <a:gd name="T4" fmla="*/ 71 w 601"/>
                <a:gd name="T5" fmla="*/ 619 h 619"/>
                <a:gd name="T6" fmla="*/ 346 w 601"/>
                <a:gd name="T7" fmla="*/ 619 h 619"/>
                <a:gd name="T8" fmla="*/ 333 w 601"/>
                <a:gd name="T9" fmla="*/ 547 h 619"/>
                <a:gd name="T10" fmla="*/ 337 w 601"/>
                <a:gd name="T11" fmla="*/ 476 h 619"/>
                <a:gd name="T12" fmla="*/ 458 w 601"/>
                <a:gd name="T13" fmla="*/ 153 h 619"/>
                <a:gd name="T14" fmla="*/ 524 w 601"/>
                <a:gd name="T15" fmla="*/ 72 h 619"/>
                <a:gd name="T16" fmla="*/ 601 w 601"/>
                <a:gd name="T17" fmla="*/ 2 h 619"/>
                <a:gd name="T18" fmla="*/ 548 w 601"/>
                <a:gd name="T19" fmla="*/ 0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1" h="619">
                  <a:moveTo>
                    <a:pt x="548" y="0"/>
                  </a:moveTo>
                  <a:cubicBezTo>
                    <a:pt x="246" y="0"/>
                    <a:pt x="0" y="245"/>
                    <a:pt x="0" y="547"/>
                  </a:cubicBezTo>
                  <a:cubicBezTo>
                    <a:pt x="0" y="587"/>
                    <a:pt x="32" y="619"/>
                    <a:pt x="71" y="619"/>
                  </a:cubicBezTo>
                  <a:cubicBezTo>
                    <a:pt x="346" y="619"/>
                    <a:pt x="346" y="619"/>
                    <a:pt x="346" y="619"/>
                  </a:cubicBezTo>
                  <a:cubicBezTo>
                    <a:pt x="338" y="597"/>
                    <a:pt x="333" y="572"/>
                    <a:pt x="333" y="547"/>
                  </a:cubicBezTo>
                  <a:cubicBezTo>
                    <a:pt x="333" y="523"/>
                    <a:pt x="335" y="499"/>
                    <a:pt x="337" y="476"/>
                  </a:cubicBezTo>
                  <a:cubicBezTo>
                    <a:pt x="349" y="357"/>
                    <a:pt x="392" y="246"/>
                    <a:pt x="458" y="153"/>
                  </a:cubicBezTo>
                  <a:cubicBezTo>
                    <a:pt x="478" y="124"/>
                    <a:pt x="500" y="97"/>
                    <a:pt x="524" y="72"/>
                  </a:cubicBezTo>
                  <a:cubicBezTo>
                    <a:pt x="548" y="47"/>
                    <a:pt x="573" y="24"/>
                    <a:pt x="601" y="2"/>
                  </a:cubicBezTo>
                  <a:cubicBezTo>
                    <a:pt x="583" y="1"/>
                    <a:pt x="565" y="0"/>
                    <a:pt x="54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16" name="Freeform 13">
              <a:extLst>
                <a:ext uri="{FF2B5EF4-FFF2-40B4-BE49-F238E27FC236}">
                  <a16:creationId xmlns:a16="http://schemas.microsoft.com/office/drawing/2014/main" id="{3847F69E-3DD0-44A5-B533-2F9C16E54773}"/>
                </a:ext>
              </a:extLst>
            </p:cNvPr>
            <p:cNvSpPr>
              <a:spLocks/>
            </p:cNvSpPr>
            <p:nvPr/>
          </p:nvSpPr>
          <p:spPr bwMode="auto">
            <a:xfrm>
              <a:off x="8769350" y="1320800"/>
              <a:ext cx="673100" cy="673100"/>
            </a:xfrm>
            <a:custGeom>
              <a:avLst/>
              <a:gdLst>
                <a:gd name="T0" fmla="*/ 577 w 598"/>
                <a:gd name="T1" fmla="*/ 188 h 598"/>
                <a:gd name="T2" fmla="*/ 537 w 598"/>
                <a:gd name="T3" fmla="*/ 119 h 598"/>
                <a:gd name="T4" fmla="*/ 299 w 598"/>
                <a:gd name="T5" fmla="*/ 0 h 598"/>
                <a:gd name="T6" fmla="*/ 61 w 598"/>
                <a:gd name="T7" fmla="*/ 119 h 598"/>
                <a:gd name="T8" fmla="*/ 21 w 598"/>
                <a:gd name="T9" fmla="*/ 188 h 598"/>
                <a:gd name="T10" fmla="*/ 0 w 598"/>
                <a:gd name="T11" fmla="*/ 299 h 598"/>
                <a:gd name="T12" fmla="*/ 21 w 598"/>
                <a:gd name="T13" fmla="*/ 410 h 598"/>
                <a:gd name="T14" fmla="*/ 61 w 598"/>
                <a:gd name="T15" fmla="*/ 479 h 598"/>
                <a:gd name="T16" fmla="*/ 299 w 598"/>
                <a:gd name="T17" fmla="*/ 598 h 598"/>
                <a:gd name="T18" fmla="*/ 537 w 598"/>
                <a:gd name="T19" fmla="*/ 479 h 598"/>
                <a:gd name="T20" fmla="*/ 577 w 598"/>
                <a:gd name="T21" fmla="*/ 410 h 598"/>
                <a:gd name="T22" fmla="*/ 598 w 598"/>
                <a:gd name="T23" fmla="*/ 299 h 598"/>
                <a:gd name="T24" fmla="*/ 577 w 598"/>
                <a:gd name="T25" fmla="*/ 188 h 5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98" h="598">
                  <a:moveTo>
                    <a:pt x="577" y="188"/>
                  </a:moveTo>
                  <a:cubicBezTo>
                    <a:pt x="567" y="163"/>
                    <a:pt x="553" y="140"/>
                    <a:pt x="537" y="119"/>
                  </a:cubicBezTo>
                  <a:cubicBezTo>
                    <a:pt x="483" y="47"/>
                    <a:pt x="396" y="0"/>
                    <a:pt x="299" y="0"/>
                  </a:cubicBezTo>
                  <a:cubicBezTo>
                    <a:pt x="202" y="0"/>
                    <a:pt x="115" y="47"/>
                    <a:pt x="61" y="119"/>
                  </a:cubicBezTo>
                  <a:cubicBezTo>
                    <a:pt x="45" y="140"/>
                    <a:pt x="31" y="163"/>
                    <a:pt x="21" y="188"/>
                  </a:cubicBezTo>
                  <a:cubicBezTo>
                    <a:pt x="8" y="223"/>
                    <a:pt x="0" y="260"/>
                    <a:pt x="0" y="299"/>
                  </a:cubicBezTo>
                  <a:cubicBezTo>
                    <a:pt x="0" y="338"/>
                    <a:pt x="8" y="375"/>
                    <a:pt x="21" y="410"/>
                  </a:cubicBezTo>
                  <a:cubicBezTo>
                    <a:pt x="31" y="435"/>
                    <a:pt x="45" y="458"/>
                    <a:pt x="61" y="479"/>
                  </a:cubicBezTo>
                  <a:cubicBezTo>
                    <a:pt x="115" y="551"/>
                    <a:pt x="202" y="598"/>
                    <a:pt x="299" y="598"/>
                  </a:cubicBezTo>
                  <a:cubicBezTo>
                    <a:pt x="396" y="598"/>
                    <a:pt x="483" y="551"/>
                    <a:pt x="537" y="479"/>
                  </a:cubicBezTo>
                  <a:cubicBezTo>
                    <a:pt x="553" y="458"/>
                    <a:pt x="567" y="435"/>
                    <a:pt x="577" y="410"/>
                  </a:cubicBezTo>
                  <a:cubicBezTo>
                    <a:pt x="590" y="375"/>
                    <a:pt x="598" y="338"/>
                    <a:pt x="598" y="299"/>
                  </a:cubicBezTo>
                  <a:cubicBezTo>
                    <a:pt x="598" y="260"/>
                    <a:pt x="590" y="223"/>
                    <a:pt x="577" y="1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17" name="Freeform 14">
              <a:extLst>
                <a:ext uri="{FF2B5EF4-FFF2-40B4-BE49-F238E27FC236}">
                  <a16:creationId xmlns:a16="http://schemas.microsoft.com/office/drawing/2014/main" id="{F1A41EDB-7BC8-45D9-B0E1-F79084B844A5}"/>
                </a:ext>
              </a:extLst>
            </p:cNvPr>
            <p:cNvSpPr>
              <a:spLocks/>
            </p:cNvSpPr>
            <p:nvPr/>
          </p:nvSpPr>
          <p:spPr bwMode="auto">
            <a:xfrm>
              <a:off x="8488363" y="2160588"/>
              <a:ext cx="1233488" cy="692150"/>
            </a:xfrm>
            <a:custGeom>
              <a:avLst/>
              <a:gdLst>
                <a:gd name="T0" fmla="*/ 1091 w 1096"/>
                <a:gd name="T1" fmla="*/ 472 h 615"/>
                <a:gd name="T2" fmla="*/ 929 w 1096"/>
                <a:gd name="T3" fmla="*/ 150 h 615"/>
                <a:gd name="T4" fmla="*/ 863 w 1096"/>
                <a:gd name="T5" fmla="*/ 95 h 615"/>
                <a:gd name="T6" fmla="*/ 786 w 1096"/>
                <a:gd name="T7" fmla="*/ 50 h 615"/>
                <a:gd name="T8" fmla="*/ 619 w 1096"/>
                <a:gd name="T9" fmla="*/ 0 h 615"/>
                <a:gd name="T10" fmla="*/ 619 w 1096"/>
                <a:gd name="T11" fmla="*/ 448 h 615"/>
                <a:gd name="T12" fmla="*/ 548 w 1096"/>
                <a:gd name="T13" fmla="*/ 520 h 615"/>
                <a:gd name="T14" fmla="*/ 477 w 1096"/>
                <a:gd name="T15" fmla="*/ 448 h 615"/>
                <a:gd name="T16" fmla="*/ 477 w 1096"/>
                <a:gd name="T17" fmla="*/ 0 h 615"/>
                <a:gd name="T18" fmla="*/ 310 w 1096"/>
                <a:gd name="T19" fmla="*/ 50 h 615"/>
                <a:gd name="T20" fmla="*/ 233 w 1096"/>
                <a:gd name="T21" fmla="*/ 95 h 615"/>
                <a:gd name="T22" fmla="*/ 167 w 1096"/>
                <a:gd name="T23" fmla="*/ 150 h 615"/>
                <a:gd name="T24" fmla="*/ 5 w 1096"/>
                <a:gd name="T25" fmla="*/ 472 h 615"/>
                <a:gd name="T26" fmla="*/ 0 w 1096"/>
                <a:gd name="T27" fmla="*/ 543 h 615"/>
                <a:gd name="T28" fmla="*/ 72 w 1096"/>
                <a:gd name="T29" fmla="*/ 615 h 615"/>
                <a:gd name="T30" fmla="*/ 1024 w 1096"/>
                <a:gd name="T31" fmla="*/ 615 h 615"/>
                <a:gd name="T32" fmla="*/ 1096 w 1096"/>
                <a:gd name="T33" fmla="*/ 543 h 615"/>
                <a:gd name="T34" fmla="*/ 1091 w 1096"/>
                <a:gd name="T35" fmla="*/ 472 h 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96" h="615">
                  <a:moveTo>
                    <a:pt x="1091" y="472"/>
                  </a:moveTo>
                  <a:cubicBezTo>
                    <a:pt x="1075" y="346"/>
                    <a:pt x="1015" y="234"/>
                    <a:pt x="929" y="150"/>
                  </a:cubicBezTo>
                  <a:cubicBezTo>
                    <a:pt x="908" y="130"/>
                    <a:pt x="886" y="112"/>
                    <a:pt x="863" y="95"/>
                  </a:cubicBezTo>
                  <a:cubicBezTo>
                    <a:pt x="838" y="78"/>
                    <a:pt x="813" y="63"/>
                    <a:pt x="786" y="50"/>
                  </a:cubicBezTo>
                  <a:cubicBezTo>
                    <a:pt x="734" y="25"/>
                    <a:pt x="678" y="8"/>
                    <a:pt x="619" y="0"/>
                  </a:cubicBezTo>
                  <a:cubicBezTo>
                    <a:pt x="619" y="448"/>
                    <a:pt x="619" y="448"/>
                    <a:pt x="619" y="448"/>
                  </a:cubicBezTo>
                  <a:cubicBezTo>
                    <a:pt x="619" y="488"/>
                    <a:pt x="587" y="520"/>
                    <a:pt x="548" y="520"/>
                  </a:cubicBezTo>
                  <a:cubicBezTo>
                    <a:pt x="509" y="520"/>
                    <a:pt x="477" y="488"/>
                    <a:pt x="477" y="448"/>
                  </a:cubicBezTo>
                  <a:cubicBezTo>
                    <a:pt x="477" y="0"/>
                    <a:pt x="477" y="0"/>
                    <a:pt x="477" y="0"/>
                  </a:cubicBezTo>
                  <a:cubicBezTo>
                    <a:pt x="418" y="8"/>
                    <a:pt x="362" y="25"/>
                    <a:pt x="310" y="50"/>
                  </a:cubicBezTo>
                  <a:cubicBezTo>
                    <a:pt x="283" y="63"/>
                    <a:pt x="258" y="78"/>
                    <a:pt x="233" y="95"/>
                  </a:cubicBezTo>
                  <a:cubicBezTo>
                    <a:pt x="210" y="112"/>
                    <a:pt x="188" y="130"/>
                    <a:pt x="167" y="150"/>
                  </a:cubicBezTo>
                  <a:cubicBezTo>
                    <a:pt x="81" y="234"/>
                    <a:pt x="21" y="346"/>
                    <a:pt x="5" y="472"/>
                  </a:cubicBezTo>
                  <a:cubicBezTo>
                    <a:pt x="2" y="495"/>
                    <a:pt x="0" y="519"/>
                    <a:pt x="0" y="543"/>
                  </a:cubicBezTo>
                  <a:cubicBezTo>
                    <a:pt x="0" y="583"/>
                    <a:pt x="32" y="615"/>
                    <a:pt x="72" y="615"/>
                  </a:cubicBezTo>
                  <a:cubicBezTo>
                    <a:pt x="1024" y="615"/>
                    <a:pt x="1024" y="615"/>
                    <a:pt x="1024" y="615"/>
                  </a:cubicBezTo>
                  <a:cubicBezTo>
                    <a:pt x="1064" y="615"/>
                    <a:pt x="1096" y="583"/>
                    <a:pt x="1096" y="543"/>
                  </a:cubicBezTo>
                  <a:cubicBezTo>
                    <a:pt x="1096" y="519"/>
                    <a:pt x="1094" y="495"/>
                    <a:pt x="1091" y="4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grpSp>
      <p:grpSp>
        <p:nvGrpSpPr>
          <p:cNvPr id="18" name="Group 48">
            <a:extLst>
              <a:ext uri="{FF2B5EF4-FFF2-40B4-BE49-F238E27FC236}">
                <a16:creationId xmlns:a16="http://schemas.microsoft.com/office/drawing/2014/main" id="{29700C32-0E6F-4481-89F0-1F9CA2F89AFB}"/>
              </a:ext>
            </a:extLst>
          </p:cNvPr>
          <p:cNvGrpSpPr/>
          <p:nvPr/>
        </p:nvGrpSpPr>
        <p:grpSpPr>
          <a:xfrm>
            <a:off x="5030792" y="4663752"/>
            <a:ext cx="471182" cy="371698"/>
            <a:chOff x="4949825" y="1755776"/>
            <a:chExt cx="2052638" cy="1619250"/>
          </a:xfrm>
          <a:solidFill>
            <a:srgbClr val="FFFFFF"/>
          </a:solidFill>
        </p:grpSpPr>
        <p:sp>
          <p:nvSpPr>
            <p:cNvPr id="19" name="Freeform 18">
              <a:extLst>
                <a:ext uri="{FF2B5EF4-FFF2-40B4-BE49-F238E27FC236}">
                  <a16:creationId xmlns:a16="http://schemas.microsoft.com/office/drawing/2014/main" id="{08D0C0E4-CD3F-4B62-9F9D-7E72A07A11BA}"/>
                </a:ext>
              </a:extLst>
            </p:cNvPr>
            <p:cNvSpPr>
              <a:spLocks/>
            </p:cNvSpPr>
            <p:nvPr/>
          </p:nvSpPr>
          <p:spPr bwMode="auto">
            <a:xfrm>
              <a:off x="4949825" y="1943101"/>
              <a:ext cx="185738" cy="560388"/>
            </a:xfrm>
            <a:custGeom>
              <a:avLst/>
              <a:gdLst>
                <a:gd name="T0" fmla="*/ 93 w 186"/>
                <a:gd name="T1" fmla="*/ 0 h 559"/>
                <a:gd name="T2" fmla="*/ 0 w 186"/>
                <a:gd name="T3" fmla="*/ 93 h 559"/>
                <a:gd name="T4" fmla="*/ 0 w 186"/>
                <a:gd name="T5" fmla="*/ 466 h 559"/>
                <a:gd name="T6" fmla="*/ 93 w 186"/>
                <a:gd name="T7" fmla="*/ 559 h 559"/>
                <a:gd name="T8" fmla="*/ 186 w 186"/>
                <a:gd name="T9" fmla="*/ 466 h 559"/>
                <a:gd name="T10" fmla="*/ 186 w 186"/>
                <a:gd name="T11" fmla="*/ 373 h 559"/>
                <a:gd name="T12" fmla="*/ 186 w 186"/>
                <a:gd name="T13" fmla="*/ 187 h 559"/>
                <a:gd name="T14" fmla="*/ 186 w 186"/>
                <a:gd name="T15" fmla="*/ 93 h 559"/>
                <a:gd name="T16" fmla="*/ 93 w 186"/>
                <a:gd name="T17" fmla="*/ 0 h 5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6" h="559">
                  <a:moveTo>
                    <a:pt x="93" y="0"/>
                  </a:moveTo>
                  <a:cubicBezTo>
                    <a:pt x="42" y="0"/>
                    <a:pt x="0" y="42"/>
                    <a:pt x="0" y="93"/>
                  </a:cubicBezTo>
                  <a:cubicBezTo>
                    <a:pt x="0" y="466"/>
                    <a:pt x="0" y="466"/>
                    <a:pt x="0" y="466"/>
                  </a:cubicBezTo>
                  <a:cubicBezTo>
                    <a:pt x="0" y="517"/>
                    <a:pt x="42" y="559"/>
                    <a:pt x="93" y="559"/>
                  </a:cubicBezTo>
                  <a:cubicBezTo>
                    <a:pt x="145" y="559"/>
                    <a:pt x="186" y="517"/>
                    <a:pt x="186" y="466"/>
                  </a:cubicBezTo>
                  <a:cubicBezTo>
                    <a:pt x="186" y="373"/>
                    <a:pt x="186" y="373"/>
                    <a:pt x="186" y="373"/>
                  </a:cubicBezTo>
                  <a:cubicBezTo>
                    <a:pt x="186" y="187"/>
                    <a:pt x="186" y="187"/>
                    <a:pt x="186" y="187"/>
                  </a:cubicBezTo>
                  <a:cubicBezTo>
                    <a:pt x="186" y="93"/>
                    <a:pt x="186" y="93"/>
                    <a:pt x="186" y="93"/>
                  </a:cubicBezTo>
                  <a:cubicBezTo>
                    <a:pt x="186" y="42"/>
                    <a:pt x="145" y="0"/>
                    <a:pt x="9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20" name="Freeform 19">
              <a:extLst>
                <a:ext uri="{FF2B5EF4-FFF2-40B4-BE49-F238E27FC236}">
                  <a16:creationId xmlns:a16="http://schemas.microsoft.com/office/drawing/2014/main" id="{E7764DA7-A8A0-4F37-A899-5167B521E1C2}"/>
                </a:ext>
              </a:extLst>
            </p:cNvPr>
            <p:cNvSpPr>
              <a:spLocks/>
            </p:cNvSpPr>
            <p:nvPr/>
          </p:nvSpPr>
          <p:spPr bwMode="auto">
            <a:xfrm>
              <a:off x="5435600" y="2752726"/>
              <a:ext cx="957263" cy="622300"/>
            </a:xfrm>
            <a:custGeom>
              <a:avLst/>
              <a:gdLst>
                <a:gd name="T0" fmla="*/ 935 w 956"/>
                <a:gd name="T1" fmla="*/ 489 h 621"/>
                <a:gd name="T2" fmla="*/ 709 w 956"/>
                <a:gd name="T3" fmla="*/ 0 h 621"/>
                <a:gd name="T4" fmla="*/ 478 w 956"/>
                <a:gd name="T5" fmla="*/ 0 h 621"/>
                <a:gd name="T6" fmla="*/ 247 w 956"/>
                <a:gd name="T7" fmla="*/ 0 h 621"/>
                <a:gd name="T8" fmla="*/ 21 w 956"/>
                <a:gd name="T9" fmla="*/ 489 h 621"/>
                <a:gd name="T10" fmla="*/ 67 w 956"/>
                <a:gd name="T11" fmla="*/ 612 h 621"/>
                <a:gd name="T12" fmla="*/ 106 w 956"/>
                <a:gd name="T13" fmla="*/ 621 h 621"/>
                <a:gd name="T14" fmla="*/ 190 w 956"/>
                <a:gd name="T15" fmla="*/ 567 h 621"/>
                <a:gd name="T16" fmla="*/ 385 w 956"/>
                <a:gd name="T17" fmla="*/ 145 h 621"/>
                <a:gd name="T18" fmla="*/ 385 w 956"/>
                <a:gd name="T19" fmla="*/ 528 h 621"/>
                <a:gd name="T20" fmla="*/ 478 w 956"/>
                <a:gd name="T21" fmla="*/ 621 h 621"/>
                <a:gd name="T22" fmla="*/ 571 w 956"/>
                <a:gd name="T23" fmla="*/ 528 h 621"/>
                <a:gd name="T24" fmla="*/ 571 w 956"/>
                <a:gd name="T25" fmla="*/ 145 h 621"/>
                <a:gd name="T26" fmla="*/ 766 w 956"/>
                <a:gd name="T27" fmla="*/ 567 h 621"/>
                <a:gd name="T28" fmla="*/ 850 w 956"/>
                <a:gd name="T29" fmla="*/ 621 h 621"/>
                <a:gd name="T30" fmla="*/ 889 w 956"/>
                <a:gd name="T31" fmla="*/ 612 h 621"/>
                <a:gd name="T32" fmla="*/ 935 w 956"/>
                <a:gd name="T33" fmla="*/ 489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56" h="621">
                  <a:moveTo>
                    <a:pt x="935" y="489"/>
                  </a:moveTo>
                  <a:cubicBezTo>
                    <a:pt x="709" y="0"/>
                    <a:pt x="709" y="0"/>
                    <a:pt x="709" y="0"/>
                  </a:cubicBezTo>
                  <a:cubicBezTo>
                    <a:pt x="478" y="0"/>
                    <a:pt x="478" y="0"/>
                    <a:pt x="478" y="0"/>
                  </a:cubicBezTo>
                  <a:cubicBezTo>
                    <a:pt x="247" y="0"/>
                    <a:pt x="247" y="0"/>
                    <a:pt x="247" y="0"/>
                  </a:cubicBezTo>
                  <a:cubicBezTo>
                    <a:pt x="21" y="489"/>
                    <a:pt x="21" y="489"/>
                    <a:pt x="21" y="489"/>
                  </a:cubicBezTo>
                  <a:cubicBezTo>
                    <a:pt x="0" y="535"/>
                    <a:pt x="20" y="591"/>
                    <a:pt x="67" y="612"/>
                  </a:cubicBezTo>
                  <a:cubicBezTo>
                    <a:pt x="79" y="618"/>
                    <a:pt x="92" y="621"/>
                    <a:pt x="106" y="621"/>
                  </a:cubicBezTo>
                  <a:cubicBezTo>
                    <a:pt x="141" y="621"/>
                    <a:pt x="174" y="601"/>
                    <a:pt x="190" y="567"/>
                  </a:cubicBezTo>
                  <a:cubicBezTo>
                    <a:pt x="385" y="145"/>
                    <a:pt x="385" y="145"/>
                    <a:pt x="385" y="145"/>
                  </a:cubicBezTo>
                  <a:cubicBezTo>
                    <a:pt x="385" y="528"/>
                    <a:pt x="385" y="528"/>
                    <a:pt x="385" y="528"/>
                  </a:cubicBezTo>
                  <a:cubicBezTo>
                    <a:pt x="385" y="579"/>
                    <a:pt x="427" y="621"/>
                    <a:pt x="478" y="621"/>
                  </a:cubicBezTo>
                  <a:cubicBezTo>
                    <a:pt x="529" y="621"/>
                    <a:pt x="571" y="579"/>
                    <a:pt x="571" y="528"/>
                  </a:cubicBezTo>
                  <a:cubicBezTo>
                    <a:pt x="571" y="145"/>
                    <a:pt x="571" y="145"/>
                    <a:pt x="571" y="145"/>
                  </a:cubicBezTo>
                  <a:cubicBezTo>
                    <a:pt x="766" y="567"/>
                    <a:pt x="766" y="567"/>
                    <a:pt x="766" y="567"/>
                  </a:cubicBezTo>
                  <a:cubicBezTo>
                    <a:pt x="781" y="601"/>
                    <a:pt x="815" y="621"/>
                    <a:pt x="850" y="621"/>
                  </a:cubicBezTo>
                  <a:cubicBezTo>
                    <a:pt x="863" y="621"/>
                    <a:pt x="877" y="618"/>
                    <a:pt x="889" y="612"/>
                  </a:cubicBezTo>
                  <a:cubicBezTo>
                    <a:pt x="936" y="591"/>
                    <a:pt x="956" y="535"/>
                    <a:pt x="935" y="48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21" name="Freeform 20">
              <a:extLst>
                <a:ext uri="{FF2B5EF4-FFF2-40B4-BE49-F238E27FC236}">
                  <a16:creationId xmlns:a16="http://schemas.microsoft.com/office/drawing/2014/main" id="{94EBB366-7CA2-4E82-8A92-FD4C1F1AF469}"/>
                </a:ext>
              </a:extLst>
            </p:cNvPr>
            <p:cNvSpPr>
              <a:spLocks/>
            </p:cNvSpPr>
            <p:nvPr/>
          </p:nvSpPr>
          <p:spPr bwMode="auto">
            <a:xfrm>
              <a:off x="5322888" y="1943101"/>
              <a:ext cx="312738" cy="560388"/>
            </a:xfrm>
            <a:custGeom>
              <a:avLst/>
              <a:gdLst>
                <a:gd name="T0" fmla="*/ 311 w 312"/>
                <a:gd name="T1" fmla="*/ 31 h 559"/>
                <a:gd name="T2" fmla="*/ 312 w 312"/>
                <a:gd name="T3" fmla="*/ 0 h 559"/>
                <a:gd name="T4" fmla="*/ 93 w 312"/>
                <a:gd name="T5" fmla="*/ 0 h 559"/>
                <a:gd name="T6" fmla="*/ 0 w 312"/>
                <a:gd name="T7" fmla="*/ 93 h 559"/>
                <a:gd name="T8" fmla="*/ 0 w 312"/>
                <a:gd name="T9" fmla="*/ 187 h 559"/>
                <a:gd name="T10" fmla="*/ 0 w 312"/>
                <a:gd name="T11" fmla="*/ 373 h 559"/>
                <a:gd name="T12" fmla="*/ 0 w 312"/>
                <a:gd name="T13" fmla="*/ 466 h 559"/>
                <a:gd name="T14" fmla="*/ 93 w 312"/>
                <a:gd name="T15" fmla="*/ 559 h 559"/>
                <a:gd name="T16" fmla="*/ 312 w 312"/>
                <a:gd name="T17" fmla="*/ 559 h 559"/>
                <a:gd name="T18" fmla="*/ 311 w 312"/>
                <a:gd name="T19" fmla="*/ 528 h 559"/>
                <a:gd name="T20" fmla="*/ 311 w 312"/>
                <a:gd name="T21" fmla="*/ 31 h 5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2" h="559">
                  <a:moveTo>
                    <a:pt x="311" y="31"/>
                  </a:moveTo>
                  <a:cubicBezTo>
                    <a:pt x="311" y="21"/>
                    <a:pt x="311" y="11"/>
                    <a:pt x="312" y="0"/>
                  </a:cubicBezTo>
                  <a:cubicBezTo>
                    <a:pt x="93" y="0"/>
                    <a:pt x="93" y="0"/>
                    <a:pt x="93" y="0"/>
                  </a:cubicBezTo>
                  <a:cubicBezTo>
                    <a:pt x="42" y="0"/>
                    <a:pt x="0" y="42"/>
                    <a:pt x="0" y="93"/>
                  </a:cubicBezTo>
                  <a:cubicBezTo>
                    <a:pt x="0" y="187"/>
                    <a:pt x="0" y="187"/>
                    <a:pt x="0" y="187"/>
                  </a:cubicBezTo>
                  <a:cubicBezTo>
                    <a:pt x="0" y="373"/>
                    <a:pt x="0" y="373"/>
                    <a:pt x="0" y="373"/>
                  </a:cubicBezTo>
                  <a:cubicBezTo>
                    <a:pt x="0" y="466"/>
                    <a:pt x="0" y="466"/>
                    <a:pt x="0" y="466"/>
                  </a:cubicBezTo>
                  <a:cubicBezTo>
                    <a:pt x="0" y="517"/>
                    <a:pt x="42" y="559"/>
                    <a:pt x="93" y="559"/>
                  </a:cubicBezTo>
                  <a:cubicBezTo>
                    <a:pt x="312" y="559"/>
                    <a:pt x="312" y="559"/>
                    <a:pt x="312" y="559"/>
                  </a:cubicBezTo>
                  <a:cubicBezTo>
                    <a:pt x="311" y="549"/>
                    <a:pt x="311" y="538"/>
                    <a:pt x="311" y="528"/>
                  </a:cubicBezTo>
                  <a:lnTo>
                    <a:pt x="31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22" name="Freeform 21">
              <a:extLst>
                <a:ext uri="{FF2B5EF4-FFF2-40B4-BE49-F238E27FC236}">
                  <a16:creationId xmlns:a16="http://schemas.microsoft.com/office/drawing/2014/main" id="{2CAC4CA0-FA09-4478-B7C5-2B5F23397778}"/>
                </a:ext>
              </a:extLst>
            </p:cNvPr>
            <p:cNvSpPr>
              <a:spLocks/>
            </p:cNvSpPr>
            <p:nvPr/>
          </p:nvSpPr>
          <p:spPr bwMode="auto">
            <a:xfrm>
              <a:off x="5821363" y="1755776"/>
              <a:ext cx="1181100" cy="935038"/>
            </a:xfrm>
            <a:custGeom>
              <a:avLst/>
              <a:gdLst>
                <a:gd name="T0" fmla="*/ 1086 w 1179"/>
                <a:gd name="T1" fmla="*/ 0 h 931"/>
                <a:gd name="T2" fmla="*/ 993 w 1179"/>
                <a:gd name="T3" fmla="*/ 93 h 931"/>
                <a:gd name="T4" fmla="*/ 993 w 1179"/>
                <a:gd name="T5" fmla="*/ 124 h 931"/>
                <a:gd name="T6" fmla="*/ 325 w 1179"/>
                <a:gd name="T7" fmla="*/ 124 h 931"/>
                <a:gd name="T8" fmla="*/ 196 w 1179"/>
                <a:gd name="T9" fmla="*/ 124 h 931"/>
                <a:gd name="T10" fmla="*/ 93 w 1179"/>
                <a:gd name="T11" fmla="*/ 124 h 931"/>
                <a:gd name="T12" fmla="*/ 5 w 1179"/>
                <a:gd name="T13" fmla="*/ 186 h 931"/>
                <a:gd name="T14" fmla="*/ 0 w 1179"/>
                <a:gd name="T15" fmla="*/ 217 h 931"/>
                <a:gd name="T16" fmla="*/ 0 w 1179"/>
                <a:gd name="T17" fmla="*/ 693 h 931"/>
                <a:gd name="T18" fmla="*/ 0 w 1179"/>
                <a:gd name="T19" fmla="*/ 714 h 931"/>
                <a:gd name="T20" fmla="*/ 5 w 1179"/>
                <a:gd name="T21" fmla="*/ 745 h 931"/>
                <a:gd name="T22" fmla="*/ 93 w 1179"/>
                <a:gd name="T23" fmla="*/ 807 h 931"/>
                <a:gd name="T24" fmla="*/ 196 w 1179"/>
                <a:gd name="T25" fmla="*/ 807 h 931"/>
                <a:gd name="T26" fmla="*/ 238 w 1179"/>
                <a:gd name="T27" fmla="*/ 807 h 931"/>
                <a:gd name="T28" fmla="*/ 325 w 1179"/>
                <a:gd name="T29" fmla="*/ 807 h 931"/>
                <a:gd name="T30" fmla="*/ 854 w 1179"/>
                <a:gd name="T31" fmla="*/ 807 h 931"/>
                <a:gd name="T32" fmla="*/ 993 w 1179"/>
                <a:gd name="T33" fmla="*/ 807 h 931"/>
                <a:gd name="T34" fmla="*/ 993 w 1179"/>
                <a:gd name="T35" fmla="*/ 838 h 931"/>
                <a:gd name="T36" fmla="*/ 1086 w 1179"/>
                <a:gd name="T37" fmla="*/ 931 h 931"/>
                <a:gd name="T38" fmla="*/ 1179 w 1179"/>
                <a:gd name="T39" fmla="*/ 838 h 931"/>
                <a:gd name="T40" fmla="*/ 1179 w 1179"/>
                <a:gd name="T41" fmla="*/ 714 h 931"/>
                <a:gd name="T42" fmla="*/ 1179 w 1179"/>
                <a:gd name="T43" fmla="*/ 217 h 931"/>
                <a:gd name="T44" fmla="*/ 1179 w 1179"/>
                <a:gd name="T45" fmla="*/ 93 h 931"/>
                <a:gd name="T46" fmla="*/ 1086 w 1179"/>
                <a:gd name="T47" fmla="*/ 0 h 9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79" h="931">
                  <a:moveTo>
                    <a:pt x="1086" y="0"/>
                  </a:moveTo>
                  <a:cubicBezTo>
                    <a:pt x="1034" y="0"/>
                    <a:pt x="993" y="42"/>
                    <a:pt x="993" y="93"/>
                  </a:cubicBezTo>
                  <a:cubicBezTo>
                    <a:pt x="993" y="124"/>
                    <a:pt x="993" y="124"/>
                    <a:pt x="993" y="124"/>
                  </a:cubicBezTo>
                  <a:cubicBezTo>
                    <a:pt x="325" y="124"/>
                    <a:pt x="325" y="124"/>
                    <a:pt x="325" y="124"/>
                  </a:cubicBezTo>
                  <a:cubicBezTo>
                    <a:pt x="196" y="124"/>
                    <a:pt x="196" y="124"/>
                    <a:pt x="196" y="124"/>
                  </a:cubicBezTo>
                  <a:cubicBezTo>
                    <a:pt x="93" y="124"/>
                    <a:pt x="93" y="124"/>
                    <a:pt x="93" y="124"/>
                  </a:cubicBezTo>
                  <a:cubicBezTo>
                    <a:pt x="52" y="124"/>
                    <a:pt x="18" y="150"/>
                    <a:pt x="5" y="186"/>
                  </a:cubicBezTo>
                  <a:cubicBezTo>
                    <a:pt x="2" y="196"/>
                    <a:pt x="0" y="207"/>
                    <a:pt x="0" y="217"/>
                  </a:cubicBezTo>
                  <a:cubicBezTo>
                    <a:pt x="0" y="693"/>
                    <a:pt x="0" y="693"/>
                    <a:pt x="0" y="693"/>
                  </a:cubicBezTo>
                  <a:cubicBezTo>
                    <a:pt x="0" y="714"/>
                    <a:pt x="0" y="714"/>
                    <a:pt x="0" y="714"/>
                  </a:cubicBezTo>
                  <a:cubicBezTo>
                    <a:pt x="0" y="725"/>
                    <a:pt x="2" y="735"/>
                    <a:pt x="5" y="745"/>
                  </a:cubicBezTo>
                  <a:cubicBezTo>
                    <a:pt x="18" y="781"/>
                    <a:pt x="52" y="807"/>
                    <a:pt x="93" y="807"/>
                  </a:cubicBezTo>
                  <a:cubicBezTo>
                    <a:pt x="196" y="807"/>
                    <a:pt x="196" y="807"/>
                    <a:pt x="196" y="807"/>
                  </a:cubicBezTo>
                  <a:cubicBezTo>
                    <a:pt x="238" y="807"/>
                    <a:pt x="238" y="807"/>
                    <a:pt x="238" y="807"/>
                  </a:cubicBezTo>
                  <a:cubicBezTo>
                    <a:pt x="325" y="807"/>
                    <a:pt x="325" y="807"/>
                    <a:pt x="325" y="807"/>
                  </a:cubicBezTo>
                  <a:cubicBezTo>
                    <a:pt x="854" y="807"/>
                    <a:pt x="854" y="807"/>
                    <a:pt x="854" y="807"/>
                  </a:cubicBezTo>
                  <a:cubicBezTo>
                    <a:pt x="993" y="807"/>
                    <a:pt x="993" y="807"/>
                    <a:pt x="993" y="807"/>
                  </a:cubicBezTo>
                  <a:cubicBezTo>
                    <a:pt x="993" y="838"/>
                    <a:pt x="993" y="838"/>
                    <a:pt x="993" y="838"/>
                  </a:cubicBezTo>
                  <a:cubicBezTo>
                    <a:pt x="993" y="889"/>
                    <a:pt x="1035" y="931"/>
                    <a:pt x="1086" y="931"/>
                  </a:cubicBezTo>
                  <a:cubicBezTo>
                    <a:pt x="1137" y="931"/>
                    <a:pt x="1179" y="889"/>
                    <a:pt x="1179" y="838"/>
                  </a:cubicBezTo>
                  <a:cubicBezTo>
                    <a:pt x="1179" y="714"/>
                    <a:pt x="1179" y="714"/>
                    <a:pt x="1179" y="714"/>
                  </a:cubicBezTo>
                  <a:cubicBezTo>
                    <a:pt x="1179" y="217"/>
                    <a:pt x="1179" y="217"/>
                    <a:pt x="1179" y="217"/>
                  </a:cubicBezTo>
                  <a:cubicBezTo>
                    <a:pt x="1179" y="93"/>
                    <a:pt x="1179" y="93"/>
                    <a:pt x="1179" y="93"/>
                  </a:cubicBezTo>
                  <a:cubicBezTo>
                    <a:pt x="1179" y="42"/>
                    <a:pt x="1137" y="0"/>
                    <a:pt x="108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grpSp>
      <p:grpSp>
        <p:nvGrpSpPr>
          <p:cNvPr id="23" name="Group 53">
            <a:extLst>
              <a:ext uri="{FF2B5EF4-FFF2-40B4-BE49-F238E27FC236}">
                <a16:creationId xmlns:a16="http://schemas.microsoft.com/office/drawing/2014/main" id="{BDEC079C-4460-4341-B9B5-A2ADCFFE06A6}"/>
              </a:ext>
            </a:extLst>
          </p:cNvPr>
          <p:cNvGrpSpPr/>
          <p:nvPr/>
        </p:nvGrpSpPr>
        <p:grpSpPr>
          <a:xfrm>
            <a:off x="6647779" y="4637476"/>
            <a:ext cx="595268" cy="369814"/>
            <a:chOff x="8420100" y="1390651"/>
            <a:chExt cx="2493963" cy="1549400"/>
          </a:xfrm>
          <a:solidFill>
            <a:srgbClr val="FFFFFF"/>
          </a:solidFill>
        </p:grpSpPr>
        <p:sp>
          <p:nvSpPr>
            <p:cNvPr id="24" name="Freeform 25">
              <a:extLst>
                <a:ext uri="{FF2B5EF4-FFF2-40B4-BE49-F238E27FC236}">
                  <a16:creationId xmlns:a16="http://schemas.microsoft.com/office/drawing/2014/main" id="{812E55E4-F309-477F-A1BF-3E9661E4845E}"/>
                </a:ext>
              </a:extLst>
            </p:cNvPr>
            <p:cNvSpPr>
              <a:spLocks/>
            </p:cNvSpPr>
            <p:nvPr/>
          </p:nvSpPr>
          <p:spPr bwMode="auto">
            <a:xfrm>
              <a:off x="9567863" y="2698751"/>
              <a:ext cx="198438" cy="241300"/>
            </a:xfrm>
            <a:custGeom>
              <a:avLst/>
              <a:gdLst>
                <a:gd name="T0" fmla="*/ 81 w 162"/>
                <a:gd name="T1" fmla="*/ 1 h 199"/>
                <a:gd name="T2" fmla="*/ 0 w 162"/>
                <a:gd name="T3" fmla="*/ 0 h 199"/>
                <a:gd name="T4" fmla="*/ 0 w 162"/>
                <a:gd name="T5" fmla="*/ 118 h 199"/>
                <a:gd name="T6" fmla="*/ 81 w 162"/>
                <a:gd name="T7" fmla="*/ 199 h 199"/>
                <a:gd name="T8" fmla="*/ 162 w 162"/>
                <a:gd name="T9" fmla="*/ 118 h 199"/>
                <a:gd name="T10" fmla="*/ 162 w 162"/>
                <a:gd name="T11" fmla="*/ 0 h 199"/>
                <a:gd name="T12" fmla="*/ 81 w 162"/>
                <a:gd name="T13" fmla="*/ 1 h 199"/>
              </a:gdLst>
              <a:ahLst/>
              <a:cxnLst>
                <a:cxn ang="0">
                  <a:pos x="T0" y="T1"/>
                </a:cxn>
                <a:cxn ang="0">
                  <a:pos x="T2" y="T3"/>
                </a:cxn>
                <a:cxn ang="0">
                  <a:pos x="T4" y="T5"/>
                </a:cxn>
                <a:cxn ang="0">
                  <a:pos x="T6" y="T7"/>
                </a:cxn>
                <a:cxn ang="0">
                  <a:pos x="T8" y="T9"/>
                </a:cxn>
                <a:cxn ang="0">
                  <a:pos x="T10" y="T11"/>
                </a:cxn>
                <a:cxn ang="0">
                  <a:pos x="T12" y="T13"/>
                </a:cxn>
              </a:cxnLst>
              <a:rect l="0" t="0" r="r" b="b"/>
              <a:pathLst>
                <a:path w="162" h="199">
                  <a:moveTo>
                    <a:pt x="81" y="1"/>
                  </a:moveTo>
                  <a:cubicBezTo>
                    <a:pt x="54" y="1"/>
                    <a:pt x="27" y="1"/>
                    <a:pt x="0" y="0"/>
                  </a:cubicBezTo>
                  <a:cubicBezTo>
                    <a:pt x="0" y="118"/>
                    <a:pt x="0" y="118"/>
                    <a:pt x="0" y="118"/>
                  </a:cubicBezTo>
                  <a:cubicBezTo>
                    <a:pt x="0" y="162"/>
                    <a:pt x="36" y="199"/>
                    <a:pt x="81" y="199"/>
                  </a:cubicBezTo>
                  <a:cubicBezTo>
                    <a:pt x="126" y="199"/>
                    <a:pt x="162" y="162"/>
                    <a:pt x="162" y="118"/>
                  </a:cubicBezTo>
                  <a:cubicBezTo>
                    <a:pt x="162" y="0"/>
                    <a:pt x="162" y="0"/>
                    <a:pt x="162" y="0"/>
                  </a:cubicBezTo>
                  <a:cubicBezTo>
                    <a:pt x="135" y="1"/>
                    <a:pt x="108" y="1"/>
                    <a:pt x="8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25" name="Freeform 26">
              <a:extLst>
                <a:ext uri="{FF2B5EF4-FFF2-40B4-BE49-F238E27FC236}">
                  <a16:creationId xmlns:a16="http://schemas.microsoft.com/office/drawing/2014/main" id="{6FC621A9-FC08-4F1D-A975-ECD791E06F75}"/>
                </a:ext>
              </a:extLst>
            </p:cNvPr>
            <p:cNvSpPr>
              <a:spLocks/>
            </p:cNvSpPr>
            <p:nvPr/>
          </p:nvSpPr>
          <p:spPr bwMode="auto">
            <a:xfrm>
              <a:off x="8943975" y="2646363"/>
              <a:ext cx="273050" cy="293688"/>
            </a:xfrm>
            <a:custGeom>
              <a:avLst/>
              <a:gdLst>
                <a:gd name="T0" fmla="*/ 61 w 224"/>
                <a:gd name="T1" fmla="*/ 0 h 241"/>
                <a:gd name="T2" fmla="*/ 15 w 224"/>
                <a:gd name="T3" fmla="*/ 133 h 241"/>
                <a:gd name="T4" fmla="*/ 64 w 224"/>
                <a:gd name="T5" fmla="*/ 236 h 241"/>
                <a:gd name="T6" fmla="*/ 91 w 224"/>
                <a:gd name="T7" fmla="*/ 241 h 241"/>
                <a:gd name="T8" fmla="*/ 167 w 224"/>
                <a:gd name="T9" fmla="*/ 187 h 241"/>
                <a:gd name="T10" fmla="*/ 224 w 224"/>
                <a:gd name="T11" fmla="*/ 23 h 241"/>
                <a:gd name="T12" fmla="*/ 61 w 224"/>
                <a:gd name="T13" fmla="*/ 0 h 241"/>
              </a:gdLst>
              <a:ahLst/>
              <a:cxnLst>
                <a:cxn ang="0">
                  <a:pos x="T0" y="T1"/>
                </a:cxn>
                <a:cxn ang="0">
                  <a:pos x="T2" y="T3"/>
                </a:cxn>
                <a:cxn ang="0">
                  <a:pos x="T4" y="T5"/>
                </a:cxn>
                <a:cxn ang="0">
                  <a:pos x="T6" y="T7"/>
                </a:cxn>
                <a:cxn ang="0">
                  <a:pos x="T8" y="T9"/>
                </a:cxn>
                <a:cxn ang="0">
                  <a:pos x="T10" y="T11"/>
                </a:cxn>
                <a:cxn ang="0">
                  <a:pos x="T12" y="T13"/>
                </a:cxn>
              </a:cxnLst>
              <a:rect l="0" t="0" r="r" b="b"/>
              <a:pathLst>
                <a:path w="224" h="241">
                  <a:moveTo>
                    <a:pt x="61" y="0"/>
                  </a:moveTo>
                  <a:cubicBezTo>
                    <a:pt x="15" y="133"/>
                    <a:pt x="15" y="133"/>
                    <a:pt x="15" y="133"/>
                  </a:cubicBezTo>
                  <a:cubicBezTo>
                    <a:pt x="0" y="175"/>
                    <a:pt x="22" y="221"/>
                    <a:pt x="64" y="236"/>
                  </a:cubicBezTo>
                  <a:cubicBezTo>
                    <a:pt x="73" y="239"/>
                    <a:pt x="82" y="241"/>
                    <a:pt x="91" y="241"/>
                  </a:cubicBezTo>
                  <a:cubicBezTo>
                    <a:pt x="124" y="241"/>
                    <a:pt x="156" y="220"/>
                    <a:pt x="167" y="187"/>
                  </a:cubicBezTo>
                  <a:cubicBezTo>
                    <a:pt x="224" y="23"/>
                    <a:pt x="224" y="23"/>
                    <a:pt x="224" y="23"/>
                  </a:cubicBezTo>
                  <a:cubicBezTo>
                    <a:pt x="168" y="17"/>
                    <a:pt x="114" y="9"/>
                    <a:pt x="6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26" name="Freeform 27">
              <a:extLst>
                <a:ext uri="{FF2B5EF4-FFF2-40B4-BE49-F238E27FC236}">
                  <a16:creationId xmlns:a16="http://schemas.microsoft.com/office/drawing/2014/main" id="{3B4DA3C9-B5D6-4976-8C26-C21E2D7FAD49}"/>
                </a:ext>
              </a:extLst>
            </p:cNvPr>
            <p:cNvSpPr>
              <a:spLocks/>
            </p:cNvSpPr>
            <p:nvPr/>
          </p:nvSpPr>
          <p:spPr bwMode="auto">
            <a:xfrm>
              <a:off x="10118725" y="2646363"/>
              <a:ext cx="271463" cy="293688"/>
            </a:xfrm>
            <a:custGeom>
              <a:avLst/>
              <a:gdLst>
                <a:gd name="T0" fmla="*/ 209 w 224"/>
                <a:gd name="T1" fmla="*/ 133 h 241"/>
                <a:gd name="T2" fmla="*/ 163 w 224"/>
                <a:gd name="T3" fmla="*/ 0 h 241"/>
                <a:gd name="T4" fmla="*/ 0 w 224"/>
                <a:gd name="T5" fmla="*/ 23 h 241"/>
                <a:gd name="T6" fmla="*/ 57 w 224"/>
                <a:gd name="T7" fmla="*/ 187 h 241"/>
                <a:gd name="T8" fmla="*/ 133 w 224"/>
                <a:gd name="T9" fmla="*/ 241 h 241"/>
                <a:gd name="T10" fmla="*/ 160 w 224"/>
                <a:gd name="T11" fmla="*/ 236 h 241"/>
                <a:gd name="T12" fmla="*/ 209 w 224"/>
                <a:gd name="T13" fmla="*/ 133 h 241"/>
              </a:gdLst>
              <a:ahLst/>
              <a:cxnLst>
                <a:cxn ang="0">
                  <a:pos x="T0" y="T1"/>
                </a:cxn>
                <a:cxn ang="0">
                  <a:pos x="T2" y="T3"/>
                </a:cxn>
                <a:cxn ang="0">
                  <a:pos x="T4" y="T5"/>
                </a:cxn>
                <a:cxn ang="0">
                  <a:pos x="T6" y="T7"/>
                </a:cxn>
                <a:cxn ang="0">
                  <a:pos x="T8" y="T9"/>
                </a:cxn>
                <a:cxn ang="0">
                  <a:pos x="T10" y="T11"/>
                </a:cxn>
                <a:cxn ang="0">
                  <a:pos x="T12" y="T13"/>
                </a:cxn>
              </a:cxnLst>
              <a:rect l="0" t="0" r="r" b="b"/>
              <a:pathLst>
                <a:path w="224" h="241">
                  <a:moveTo>
                    <a:pt x="209" y="133"/>
                  </a:moveTo>
                  <a:cubicBezTo>
                    <a:pt x="163" y="0"/>
                    <a:pt x="163" y="0"/>
                    <a:pt x="163" y="0"/>
                  </a:cubicBezTo>
                  <a:cubicBezTo>
                    <a:pt x="110" y="9"/>
                    <a:pt x="56" y="17"/>
                    <a:pt x="0" y="23"/>
                  </a:cubicBezTo>
                  <a:cubicBezTo>
                    <a:pt x="57" y="187"/>
                    <a:pt x="57" y="187"/>
                    <a:pt x="57" y="187"/>
                  </a:cubicBezTo>
                  <a:cubicBezTo>
                    <a:pt x="68" y="220"/>
                    <a:pt x="100" y="241"/>
                    <a:pt x="133" y="241"/>
                  </a:cubicBezTo>
                  <a:cubicBezTo>
                    <a:pt x="142" y="241"/>
                    <a:pt x="151" y="239"/>
                    <a:pt x="160" y="236"/>
                  </a:cubicBezTo>
                  <a:cubicBezTo>
                    <a:pt x="202" y="221"/>
                    <a:pt x="224" y="175"/>
                    <a:pt x="209" y="1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27" name="Freeform 28">
              <a:extLst>
                <a:ext uri="{FF2B5EF4-FFF2-40B4-BE49-F238E27FC236}">
                  <a16:creationId xmlns:a16="http://schemas.microsoft.com/office/drawing/2014/main" id="{CB9E1617-C768-40E6-A2AB-CEB3D26FF9AA}"/>
                </a:ext>
              </a:extLst>
            </p:cNvPr>
            <p:cNvSpPr>
              <a:spLocks/>
            </p:cNvSpPr>
            <p:nvPr/>
          </p:nvSpPr>
          <p:spPr bwMode="auto">
            <a:xfrm>
              <a:off x="8420100" y="1709738"/>
              <a:ext cx="2493963" cy="792163"/>
            </a:xfrm>
            <a:custGeom>
              <a:avLst/>
              <a:gdLst>
                <a:gd name="T0" fmla="*/ 1592 w 2048"/>
                <a:gd name="T1" fmla="*/ 3 h 651"/>
                <a:gd name="T2" fmla="*/ 1615 w 2048"/>
                <a:gd name="T3" fmla="*/ 163 h 651"/>
                <a:gd name="T4" fmla="*/ 1519 w 2048"/>
                <a:gd name="T5" fmla="*/ 311 h 651"/>
                <a:gd name="T6" fmla="*/ 1029 w 2048"/>
                <a:gd name="T7" fmla="*/ 409 h 651"/>
                <a:gd name="T8" fmla="*/ 539 w 2048"/>
                <a:gd name="T9" fmla="*/ 311 h 651"/>
                <a:gd name="T10" fmla="*/ 443 w 2048"/>
                <a:gd name="T11" fmla="*/ 163 h 651"/>
                <a:gd name="T12" fmla="*/ 466 w 2048"/>
                <a:gd name="T13" fmla="*/ 0 h 651"/>
                <a:gd name="T14" fmla="*/ 0 w 2048"/>
                <a:gd name="T15" fmla="*/ 301 h 651"/>
                <a:gd name="T16" fmla="*/ 335 w 2048"/>
                <a:gd name="T17" fmla="*/ 569 h 651"/>
                <a:gd name="T18" fmla="*/ 545 w 2048"/>
                <a:gd name="T19" fmla="*/ 615 h 651"/>
                <a:gd name="T20" fmla="*/ 709 w 2048"/>
                <a:gd name="T21" fmla="*/ 636 h 651"/>
                <a:gd name="T22" fmla="*/ 943 w 2048"/>
                <a:gd name="T23" fmla="*/ 650 h 651"/>
                <a:gd name="T24" fmla="*/ 1024 w 2048"/>
                <a:gd name="T25" fmla="*/ 651 h 651"/>
                <a:gd name="T26" fmla="*/ 1105 w 2048"/>
                <a:gd name="T27" fmla="*/ 650 h 651"/>
                <a:gd name="T28" fmla="*/ 1339 w 2048"/>
                <a:gd name="T29" fmla="*/ 636 h 651"/>
                <a:gd name="T30" fmla="*/ 1503 w 2048"/>
                <a:gd name="T31" fmla="*/ 615 h 651"/>
                <a:gd name="T32" fmla="*/ 1713 w 2048"/>
                <a:gd name="T33" fmla="*/ 569 h 651"/>
                <a:gd name="T34" fmla="*/ 2048 w 2048"/>
                <a:gd name="T35" fmla="*/ 301 h 651"/>
                <a:gd name="T36" fmla="*/ 1592 w 2048"/>
                <a:gd name="T37" fmla="*/ 3 h 6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048" h="651">
                  <a:moveTo>
                    <a:pt x="1592" y="3"/>
                  </a:moveTo>
                  <a:cubicBezTo>
                    <a:pt x="1607" y="54"/>
                    <a:pt x="1615" y="108"/>
                    <a:pt x="1615" y="163"/>
                  </a:cubicBezTo>
                  <a:cubicBezTo>
                    <a:pt x="1615" y="227"/>
                    <a:pt x="1577" y="285"/>
                    <a:pt x="1519" y="311"/>
                  </a:cubicBezTo>
                  <a:cubicBezTo>
                    <a:pt x="1510" y="315"/>
                    <a:pt x="1294" y="409"/>
                    <a:pt x="1029" y="409"/>
                  </a:cubicBezTo>
                  <a:cubicBezTo>
                    <a:pt x="763" y="409"/>
                    <a:pt x="548" y="315"/>
                    <a:pt x="539" y="311"/>
                  </a:cubicBezTo>
                  <a:cubicBezTo>
                    <a:pt x="481" y="285"/>
                    <a:pt x="443" y="227"/>
                    <a:pt x="443" y="163"/>
                  </a:cubicBezTo>
                  <a:cubicBezTo>
                    <a:pt x="443" y="107"/>
                    <a:pt x="451" y="53"/>
                    <a:pt x="466" y="0"/>
                  </a:cubicBezTo>
                  <a:cubicBezTo>
                    <a:pt x="250" y="44"/>
                    <a:pt x="0" y="131"/>
                    <a:pt x="0" y="301"/>
                  </a:cubicBezTo>
                  <a:cubicBezTo>
                    <a:pt x="0" y="415"/>
                    <a:pt x="113" y="506"/>
                    <a:pt x="335" y="569"/>
                  </a:cubicBezTo>
                  <a:cubicBezTo>
                    <a:pt x="399" y="587"/>
                    <a:pt x="469" y="603"/>
                    <a:pt x="545" y="615"/>
                  </a:cubicBezTo>
                  <a:cubicBezTo>
                    <a:pt x="598" y="624"/>
                    <a:pt x="653" y="631"/>
                    <a:pt x="709" y="636"/>
                  </a:cubicBezTo>
                  <a:cubicBezTo>
                    <a:pt x="784" y="644"/>
                    <a:pt x="863" y="648"/>
                    <a:pt x="943" y="650"/>
                  </a:cubicBezTo>
                  <a:cubicBezTo>
                    <a:pt x="970" y="651"/>
                    <a:pt x="997" y="651"/>
                    <a:pt x="1024" y="651"/>
                  </a:cubicBezTo>
                  <a:cubicBezTo>
                    <a:pt x="1051" y="651"/>
                    <a:pt x="1078" y="651"/>
                    <a:pt x="1105" y="650"/>
                  </a:cubicBezTo>
                  <a:cubicBezTo>
                    <a:pt x="1185" y="648"/>
                    <a:pt x="1264" y="644"/>
                    <a:pt x="1339" y="636"/>
                  </a:cubicBezTo>
                  <a:cubicBezTo>
                    <a:pt x="1395" y="631"/>
                    <a:pt x="1450" y="624"/>
                    <a:pt x="1503" y="615"/>
                  </a:cubicBezTo>
                  <a:cubicBezTo>
                    <a:pt x="1579" y="603"/>
                    <a:pt x="1649" y="587"/>
                    <a:pt x="1713" y="569"/>
                  </a:cubicBezTo>
                  <a:cubicBezTo>
                    <a:pt x="1935" y="506"/>
                    <a:pt x="2048" y="415"/>
                    <a:pt x="2048" y="301"/>
                  </a:cubicBezTo>
                  <a:cubicBezTo>
                    <a:pt x="2048" y="133"/>
                    <a:pt x="1804" y="46"/>
                    <a:pt x="1592"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28" name="Freeform 29">
              <a:extLst>
                <a:ext uri="{FF2B5EF4-FFF2-40B4-BE49-F238E27FC236}">
                  <a16:creationId xmlns:a16="http://schemas.microsoft.com/office/drawing/2014/main" id="{0AC2DF87-4F33-4797-98BF-D0BC6BB1FE88}"/>
                </a:ext>
              </a:extLst>
            </p:cNvPr>
            <p:cNvSpPr>
              <a:spLocks/>
            </p:cNvSpPr>
            <p:nvPr/>
          </p:nvSpPr>
          <p:spPr bwMode="auto">
            <a:xfrm>
              <a:off x="9156700" y="1390651"/>
              <a:ext cx="1033463" cy="620713"/>
            </a:xfrm>
            <a:custGeom>
              <a:avLst/>
              <a:gdLst>
                <a:gd name="T0" fmla="*/ 807 w 848"/>
                <a:gd name="T1" fmla="*/ 243 h 509"/>
                <a:gd name="T2" fmla="*/ 766 w 848"/>
                <a:gd name="T3" fmla="*/ 173 h 509"/>
                <a:gd name="T4" fmla="*/ 710 w 848"/>
                <a:gd name="T5" fmla="*/ 111 h 509"/>
                <a:gd name="T6" fmla="*/ 424 w 848"/>
                <a:gd name="T7" fmla="*/ 0 h 509"/>
                <a:gd name="T8" fmla="*/ 139 w 848"/>
                <a:gd name="T9" fmla="*/ 111 h 509"/>
                <a:gd name="T10" fmla="*/ 83 w 848"/>
                <a:gd name="T11" fmla="*/ 172 h 509"/>
                <a:gd name="T12" fmla="*/ 41 w 848"/>
                <a:gd name="T13" fmla="*/ 242 h 509"/>
                <a:gd name="T14" fmla="*/ 0 w 848"/>
                <a:gd name="T15" fmla="*/ 424 h 509"/>
                <a:gd name="T16" fmla="*/ 424 w 848"/>
                <a:gd name="T17" fmla="*/ 509 h 509"/>
                <a:gd name="T18" fmla="*/ 848 w 848"/>
                <a:gd name="T19" fmla="*/ 424 h 509"/>
                <a:gd name="T20" fmla="*/ 807 w 848"/>
                <a:gd name="T21" fmla="*/ 243 h 5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48" h="509">
                  <a:moveTo>
                    <a:pt x="807" y="243"/>
                  </a:moveTo>
                  <a:cubicBezTo>
                    <a:pt x="796" y="219"/>
                    <a:pt x="782" y="195"/>
                    <a:pt x="766" y="173"/>
                  </a:cubicBezTo>
                  <a:cubicBezTo>
                    <a:pt x="749" y="151"/>
                    <a:pt x="730" y="130"/>
                    <a:pt x="710" y="111"/>
                  </a:cubicBezTo>
                  <a:cubicBezTo>
                    <a:pt x="635" y="42"/>
                    <a:pt x="534" y="0"/>
                    <a:pt x="424" y="0"/>
                  </a:cubicBezTo>
                  <a:cubicBezTo>
                    <a:pt x="314" y="0"/>
                    <a:pt x="214" y="42"/>
                    <a:pt x="139" y="111"/>
                  </a:cubicBezTo>
                  <a:cubicBezTo>
                    <a:pt x="118" y="129"/>
                    <a:pt x="100" y="150"/>
                    <a:pt x="83" y="172"/>
                  </a:cubicBezTo>
                  <a:cubicBezTo>
                    <a:pt x="67" y="194"/>
                    <a:pt x="53" y="217"/>
                    <a:pt x="41" y="242"/>
                  </a:cubicBezTo>
                  <a:cubicBezTo>
                    <a:pt x="15" y="297"/>
                    <a:pt x="0" y="359"/>
                    <a:pt x="0" y="424"/>
                  </a:cubicBezTo>
                  <a:cubicBezTo>
                    <a:pt x="0" y="424"/>
                    <a:pt x="190" y="509"/>
                    <a:pt x="424" y="509"/>
                  </a:cubicBezTo>
                  <a:cubicBezTo>
                    <a:pt x="658" y="509"/>
                    <a:pt x="848" y="424"/>
                    <a:pt x="848" y="424"/>
                  </a:cubicBezTo>
                  <a:cubicBezTo>
                    <a:pt x="848" y="359"/>
                    <a:pt x="833" y="298"/>
                    <a:pt x="807" y="2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grpSp>
      <p:grpSp>
        <p:nvGrpSpPr>
          <p:cNvPr id="29" name="Group 59">
            <a:extLst>
              <a:ext uri="{FF2B5EF4-FFF2-40B4-BE49-F238E27FC236}">
                <a16:creationId xmlns:a16="http://schemas.microsoft.com/office/drawing/2014/main" id="{C3CEA553-E625-456D-ACD4-0942FDE1B6B7}"/>
              </a:ext>
            </a:extLst>
          </p:cNvPr>
          <p:cNvGrpSpPr/>
          <p:nvPr/>
        </p:nvGrpSpPr>
        <p:grpSpPr>
          <a:xfrm>
            <a:off x="6554439" y="3003427"/>
            <a:ext cx="575752" cy="353486"/>
            <a:chOff x="6411913" y="1622425"/>
            <a:chExt cx="1023937" cy="628651"/>
          </a:xfrm>
          <a:solidFill>
            <a:srgbClr val="FFFFFF"/>
          </a:solidFill>
        </p:grpSpPr>
        <p:sp>
          <p:nvSpPr>
            <p:cNvPr id="30" name="Freeform 21">
              <a:extLst>
                <a:ext uri="{FF2B5EF4-FFF2-40B4-BE49-F238E27FC236}">
                  <a16:creationId xmlns:a16="http://schemas.microsoft.com/office/drawing/2014/main" id="{3808A022-6A77-4CAE-B47E-7EA6A383D18B}"/>
                </a:ext>
              </a:extLst>
            </p:cNvPr>
            <p:cNvSpPr>
              <a:spLocks/>
            </p:cNvSpPr>
            <p:nvPr/>
          </p:nvSpPr>
          <p:spPr bwMode="auto">
            <a:xfrm>
              <a:off x="6648450" y="2005013"/>
              <a:ext cx="550862" cy="246063"/>
            </a:xfrm>
            <a:custGeom>
              <a:avLst/>
              <a:gdLst>
                <a:gd name="T0" fmla="*/ 622 w 1100"/>
                <a:gd name="T1" fmla="*/ 159 h 493"/>
                <a:gd name="T2" fmla="*/ 550 w 1100"/>
                <a:gd name="T3" fmla="*/ 171 h 493"/>
                <a:gd name="T4" fmla="*/ 478 w 1100"/>
                <a:gd name="T5" fmla="*/ 159 h 493"/>
                <a:gd name="T6" fmla="*/ 0 w 1100"/>
                <a:gd name="T7" fmla="*/ 0 h 493"/>
                <a:gd name="T8" fmla="*/ 0 w 1100"/>
                <a:gd name="T9" fmla="*/ 259 h 493"/>
                <a:gd name="T10" fmla="*/ 52 w 1100"/>
                <a:gd name="T11" fmla="*/ 331 h 493"/>
                <a:gd name="T12" fmla="*/ 526 w 1100"/>
                <a:gd name="T13" fmla="*/ 489 h 493"/>
                <a:gd name="T14" fmla="*/ 550 w 1100"/>
                <a:gd name="T15" fmla="*/ 493 h 493"/>
                <a:gd name="T16" fmla="*/ 574 w 1100"/>
                <a:gd name="T17" fmla="*/ 489 h 493"/>
                <a:gd name="T18" fmla="*/ 1048 w 1100"/>
                <a:gd name="T19" fmla="*/ 331 h 493"/>
                <a:gd name="T20" fmla="*/ 1100 w 1100"/>
                <a:gd name="T21" fmla="*/ 259 h 493"/>
                <a:gd name="T22" fmla="*/ 1100 w 1100"/>
                <a:gd name="T23" fmla="*/ 0 h 493"/>
                <a:gd name="T24" fmla="*/ 622 w 1100"/>
                <a:gd name="T25" fmla="*/ 159 h 4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00" h="493">
                  <a:moveTo>
                    <a:pt x="622" y="159"/>
                  </a:moveTo>
                  <a:cubicBezTo>
                    <a:pt x="599" y="167"/>
                    <a:pt x="575" y="171"/>
                    <a:pt x="550" y="171"/>
                  </a:cubicBezTo>
                  <a:cubicBezTo>
                    <a:pt x="525" y="171"/>
                    <a:pt x="501" y="167"/>
                    <a:pt x="478" y="159"/>
                  </a:cubicBezTo>
                  <a:cubicBezTo>
                    <a:pt x="0" y="0"/>
                    <a:pt x="0" y="0"/>
                    <a:pt x="0" y="0"/>
                  </a:cubicBezTo>
                  <a:cubicBezTo>
                    <a:pt x="0" y="259"/>
                    <a:pt x="0" y="259"/>
                    <a:pt x="0" y="259"/>
                  </a:cubicBezTo>
                  <a:cubicBezTo>
                    <a:pt x="0" y="292"/>
                    <a:pt x="21" y="321"/>
                    <a:pt x="52" y="331"/>
                  </a:cubicBezTo>
                  <a:cubicBezTo>
                    <a:pt x="526" y="489"/>
                    <a:pt x="526" y="489"/>
                    <a:pt x="526" y="489"/>
                  </a:cubicBezTo>
                  <a:cubicBezTo>
                    <a:pt x="534" y="492"/>
                    <a:pt x="542" y="493"/>
                    <a:pt x="550" y="493"/>
                  </a:cubicBezTo>
                  <a:cubicBezTo>
                    <a:pt x="558" y="493"/>
                    <a:pt x="566" y="492"/>
                    <a:pt x="574" y="489"/>
                  </a:cubicBezTo>
                  <a:cubicBezTo>
                    <a:pt x="1048" y="331"/>
                    <a:pt x="1048" y="331"/>
                    <a:pt x="1048" y="331"/>
                  </a:cubicBezTo>
                  <a:cubicBezTo>
                    <a:pt x="1079" y="321"/>
                    <a:pt x="1100" y="292"/>
                    <a:pt x="1100" y="259"/>
                  </a:cubicBezTo>
                  <a:cubicBezTo>
                    <a:pt x="1100" y="0"/>
                    <a:pt x="1100" y="0"/>
                    <a:pt x="1100" y="0"/>
                  </a:cubicBezTo>
                  <a:lnTo>
                    <a:pt x="622" y="1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31" name="Freeform 22">
              <a:extLst>
                <a:ext uri="{FF2B5EF4-FFF2-40B4-BE49-F238E27FC236}">
                  <a16:creationId xmlns:a16="http://schemas.microsoft.com/office/drawing/2014/main" id="{180558FC-CB37-4A34-99D0-C61C131F41DD}"/>
                </a:ext>
              </a:extLst>
            </p:cNvPr>
            <p:cNvSpPr>
              <a:spLocks/>
            </p:cNvSpPr>
            <p:nvPr/>
          </p:nvSpPr>
          <p:spPr bwMode="auto">
            <a:xfrm>
              <a:off x="6411913" y="1622425"/>
              <a:ext cx="1023937" cy="457200"/>
            </a:xfrm>
            <a:custGeom>
              <a:avLst/>
              <a:gdLst>
                <a:gd name="T0" fmla="*/ 1996 w 2048"/>
                <a:gd name="T1" fmla="*/ 320 h 915"/>
                <a:gd name="T2" fmla="*/ 1048 w 2048"/>
                <a:gd name="T3" fmla="*/ 4 h 915"/>
                <a:gd name="T4" fmla="*/ 1024 w 2048"/>
                <a:gd name="T5" fmla="*/ 0 h 915"/>
                <a:gd name="T6" fmla="*/ 1000 w 2048"/>
                <a:gd name="T7" fmla="*/ 4 h 915"/>
                <a:gd name="T8" fmla="*/ 52 w 2048"/>
                <a:gd name="T9" fmla="*/ 320 h 915"/>
                <a:gd name="T10" fmla="*/ 0 w 2048"/>
                <a:gd name="T11" fmla="*/ 392 h 915"/>
                <a:gd name="T12" fmla="*/ 52 w 2048"/>
                <a:gd name="T13" fmla="*/ 464 h 915"/>
                <a:gd name="T14" fmla="*/ 474 w 2048"/>
                <a:gd name="T15" fmla="*/ 605 h 915"/>
                <a:gd name="T16" fmla="*/ 1000 w 2048"/>
                <a:gd name="T17" fmla="*/ 780 h 915"/>
                <a:gd name="T18" fmla="*/ 1024 w 2048"/>
                <a:gd name="T19" fmla="*/ 784 h 915"/>
                <a:gd name="T20" fmla="*/ 1048 w 2048"/>
                <a:gd name="T21" fmla="*/ 780 h 915"/>
                <a:gd name="T22" fmla="*/ 1574 w 2048"/>
                <a:gd name="T23" fmla="*/ 605 h 915"/>
                <a:gd name="T24" fmla="*/ 1896 w 2048"/>
                <a:gd name="T25" fmla="*/ 497 h 915"/>
                <a:gd name="T26" fmla="*/ 1896 w 2048"/>
                <a:gd name="T27" fmla="*/ 840 h 915"/>
                <a:gd name="T28" fmla="*/ 1972 w 2048"/>
                <a:gd name="T29" fmla="*/ 915 h 915"/>
                <a:gd name="T30" fmla="*/ 2048 w 2048"/>
                <a:gd name="T31" fmla="*/ 840 h 915"/>
                <a:gd name="T32" fmla="*/ 2048 w 2048"/>
                <a:gd name="T33" fmla="*/ 392 h 915"/>
                <a:gd name="T34" fmla="*/ 1996 w 2048"/>
                <a:gd name="T35" fmla="*/ 320 h 9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48" h="915">
                  <a:moveTo>
                    <a:pt x="1996" y="320"/>
                  </a:moveTo>
                  <a:cubicBezTo>
                    <a:pt x="1048" y="4"/>
                    <a:pt x="1048" y="4"/>
                    <a:pt x="1048" y="4"/>
                  </a:cubicBezTo>
                  <a:cubicBezTo>
                    <a:pt x="1040" y="1"/>
                    <a:pt x="1032" y="0"/>
                    <a:pt x="1024" y="0"/>
                  </a:cubicBezTo>
                  <a:cubicBezTo>
                    <a:pt x="1016" y="0"/>
                    <a:pt x="1008" y="1"/>
                    <a:pt x="1000" y="4"/>
                  </a:cubicBezTo>
                  <a:cubicBezTo>
                    <a:pt x="52" y="320"/>
                    <a:pt x="52" y="320"/>
                    <a:pt x="52" y="320"/>
                  </a:cubicBezTo>
                  <a:cubicBezTo>
                    <a:pt x="21" y="330"/>
                    <a:pt x="0" y="359"/>
                    <a:pt x="0" y="392"/>
                  </a:cubicBezTo>
                  <a:cubicBezTo>
                    <a:pt x="0" y="425"/>
                    <a:pt x="21" y="454"/>
                    <a:pt x="52" y="464"/>
                  </a:cubicBezTo>
                  <a:cubicBezTo>
                    <a:pt x="474" y="605"/>
                    <a:pt x="474" y="605"/>
                    <a:pt x="474" y="605"/>
                  </a:cubicBezTo>
                  <a:cubicBezTo>
                    <a:pt x="1000" y="780"/>
                    <a:pt x="1000" y="780"/>
                    <a:pt x="1000" y="780"/>
                  </a:cubicBezTo>
                  <a:cubicBezTo>
                    <a:pt x="1008" y="783"/>
                    <a:pt x="1016" y="784"/>
                    <a:pt x="1024" y="784"/>
                  </a:cubicBezTo>
                  <a:cubicBezTo>
                    <a:pt x="1032" y="784"/>
                    <a:pt x="1040" y="783"/>
                    <a:pt x="1048" y="780"/>
                  </a:cubicBezTo>
                  <a:cubicBezTo>
                    <a:pt x="1574" y="605"/>
                    <a:pt x="1574" y="605"/>
                    <a:pt x="1574" y="605"/>
                  </a:cubicBezTo>
                  <a:cubicBezTo>
                    <a:pt x="1896" y="497"/>
                    <a:pt x="1896" y="497"/>
                    <a:pt x="1896" y="497"/>
                  </a:cubicBezTo>
                  <a:cubicBezTo>
                    <a:pt x="1896" y="840"/>
                    <a:pt x="1896" y="840"/>
                    <a:pt x="1896" y="840"/>
                  </a:cubicBezTo>
                  <a:cubicBezTo>
                    <a:pt x="1896" y="881"/>
                    <a:pt x="1930" y="915"/>
                    <a:pt x="1972" y="915"/>
                  </a:cubicBezTo>
                  <a:cubicBezTo>
                    <a:pt x="2014" y="915"/>
                    <a:pt x="2048" y="881"/>
                    <a:pt x="2048" y="840"/>
                  </a:cubicBezTo>
                  <a:cubicBezTo>
                    <a:pt x="2048" y="392"/>
                    <a:pt x="2048" y="392"/>
                    <a:pt x="2048" y="392"/>
                  </a:cubicBezTo>
                  <a:cubicBezTo>
                    <a:pt x="2048" y="359"/>
                    <a:pt x="2027" y="330"/>
                    <a:pt x="1996" y="3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grpSp>
      <p:sp>
        <p:nvSpPr>
          <p:cNvPr id="35" name="文本框 34">
            <a:extLst>
              <a:ext uri="{FF2B5EF4-FFF2-40B4-BE49-F238E27FC236}">
                <a16:creationId xmlns:a16="http://schemas.microsoft.com/office/drawing/2014/main" id="{93A79750-4F7B-4C1F-8F51-22080502E86F}"/>
              </a:ext>
            </a:extLst>
          </p:cNvPr>
          <p:cNvSpPr txBox="1"/>
          <p:nvPr/>
        </p:nvSpPr>
        <p:spPr>
          <a:xfrm>
            <a:off x="4449556" y="918105"/>
            <a:ext cx="3292889" cy="52322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2800" b="0" i="0" u="none" strike="noStrike" kern="1200" cap="none" spc="0" normalizeH="0" baseline="0" noProof="0" dirty="0">
                <a:ln>
                  <a:noFill/>
                </a:ln>
                <a:solidFill>
                  <a:prstClr val="black"/>
                </a:solidFill>
                <a:effectLst/>
                <a:uLnTx/>
                <a:uFillTx/>
                <a:latin typeface="HarmonyOS Sans Black"/>
                <a:ea typeface="+mj-ea"/>
                <a:cs typeface="+mn-cs"/>
              </a:rPr>
              <a:t>Circle </a:t>
            </a:r>
            <a:r>
              <a:rPr kumimoji="0" lang="en-US" altLang="zh-CN" sz="2800" b="0" i="0" u="none" strike="noStrike" kern="1200" cap="none" spc="0" normalizeH="0" baseline="0" noProof="0" dirty="0">
                <a:ln>
                  <a:noFill/>
                </a:ln>
                <a:solidFill>
                  <a:schemeClr val="accent1"/>
                </a:solidFill>
                <a:effectLst/>
                <a:uLnTx/>
                <a:uFillTx/>
                <a:latin typeface="HarmonyOS Sans Black"/>
                <a:ea typeface="+mj-ea"/>
                <a:cs typeface="+mn-cs"/>
              </a:rPr>
              <a:t>infographic</a:t>
            </a:r>
          </a:p>
        </p:txBody>
      </p:sp>
      <p:grpSp>
        <p:nvGrpSpPr>
          <p:cNvPr id="57" name="组合 56">
            <a:extLst>
              <a:ext uri="{FF2B5EF4-FFF2-40B4-BE49-F238E27FC236}">
                <a16:creationId xmlns:a16="http://schemas.microsoft.com/office/drawing/2014/main" id="{C883CC64-8619-4599-88BA-EB8343F492ED}"/>
              </a:ext>
            </a:extLst>
          </p:cNvPr>
          <p:cNvGrpSpPr/>
          <p:nvPr/>
        </p:nvGrpSpPr>
        <p:grpSpPr>
          <a:xfrm>
            <a:off x="1508465" y="2482630"/>
            <a:ext cx="2262702" cy="846145"/>
            <a:chOff x="1508465" y="2482630"/>
            <a:chExt cx="2262702" cy="846145"/>
          </a:xfrm>
        </p:grpSpPr>
        <p:sp>
          <p:nvSpPr>
            <p:cNvPr id="48" name="TextBox 65">
              <a:extLst>
                <a:ext uri="{FF2B5EF4-FFF2-40B4-BE49-F238E27FC236}">
                  <a16:creationId xmlns:a16="http://schemas.microsoft.com/office/drawing/2014/main" id="{5122FCC6-14C0-44A3-A54E-ED960C99D220}"/>
                </a:ext>
              </a:extLst>
            </p:cNvPr>
            <p:cNvSpPr txBox="1"/>
            <p:nvPr/>
          </p:nvSpPr>
          <p:spPr>
            <a:xfrm>
              <a:off x="1714906" y="2482630"/>
              <a:ext cx="2056261" cy="352588"/>
            </a:xfrm>
            <a:prstGeom prst="rect">
              <a:avLst/>
            </a:prstGeom>
            <a:noFill/>
          </p:spPr>
          <p:txBody>
            <a:bodyPr wrap="square" lIns="0" tIns="36000" rIns="0" bIns="36000" rtlCol="0">
              <a:spAutoFit/>
            </a:bodyPr>
            <a:lstStyle/>
            <a:p>
              <a:pPr marL="0" marR="0" lvl="0" indent="0" algn="r" defTabSz="914400" rtl="0" eaLnBrk="1" fontAlgn="auto" latinLnBrk="0" hangingPunct="1">
                <a:lnSpc>
                  <a:spcPct val="120000"/>
                </a:lnSpc>
                <a:spcBef>
                  <a:spcPts val="600"/>
                </a:spcBef>
                <a:spcAft>
                  <a:spcPts val="0"/>
                </a:spcAft>
                <a:buClrTx/>
                <a:buSzTx/>
                <a:buFontTx/>
                <a:buNone/>
                <a:tabLst/>
                <a:defRPr/>
              </a:pPr>
              <a:r>
                <a:rPr kumimoji="0" lang="zh-CN" altLang="en-US" sz="1600" b="0" i="0" u="none" strike="noStrike" kern="1200" cap="none" spc="0" normalizeH="0" baseline="0" noProof="0" dirty="0">
                  <a:ln>
                    <a:noFill/>
                  </a:ln>
                  <a:solidFill>
                    <a:schemeClr val="accent1"/>
                  </a:solidFill>
                  <a:effectLst/>
                  <a:uLnTx/>
                  <a:uFillTx/>
                  <a:latin typeface="HarmonyOS Sans SC Black"/>
                  <a:ea typeface="+mj-ea"/>
                  <a:cs typeface="+mn-cs"/>
                </a:rPr>
                <a:t>关键词标题</a:t>
              </a:r>
              <a:endParaRPr kumimoji="0" lang="en-US" sz="1600" b="0" i="0" u="none" strike="noStrike" kern="1200" cap="none" spc="0" normalizeH="0" baseline="0" noProof="0" dirty="0">
                <a:ln>
                  <a:noFill/>
                </a:ln>
                <a:solidFill>
                  <a:schemeClr val="accent1"/>
                </a:solidFill>
                <a:effectLst/>
                <a:uLnTx/>
                <a:uFillTx/>
                <a:latin typeface="HarmonyOS Sans SC Black"/>
                <a:ea typeface="+mj-ea"/>
                <a:cs typeface="+mn-cs"/>
              </a:endParaRPr>
            </a:p>
          </p:txBody>
        </p:sp>
        <p:sp>
          <p:nvSpPr>
            <p:cNvPr id="49" name="TextBox 65">
              <a:extLst>
                <a:ext uri="{FF2B5EF4-FFF2-40B4-BE49-F238E27FC236}">
                  <a16:creationId xmlns:a16="http://schemas.microsoft.com/office/drawing/2014/main" id="{DCB02D28-17D5-46DC-AE41-3A8F102C2DEB}"/>
                </a:ext>
              </a:extLst>
            </p:cNvPr>
            <p:cNvSpPr txBox="1"/>
            <p:nvPr/>
          </p:nvSpPr>
          <p:spPr>
            <a:xfrm>
              <a:off x="1508465" y="2866029"/>
              <a:ext cx="2262702" cy="462746"/>
            </a:xfrm>
            <a:prstGeom prst="rect">
              <a:avLst/>
            </a:prstGeom>
            <a:noFill/>
          </p:spPr>
          <p:txBody>
            <a:bodyPr wrap="square" lIns="0" tIns="36000" rIns="0" bIns="36000" rtlCol="0">
              <a:spAutoFit/>
            </a:bodyPr>
            <a:lstStyle/>
            <a:p>
              <a:pPr marL="0" marR="0" lvl="0" indent="0" algn="r" defTabSz="914400" rtl="0" eaLnBrk="1" fontAlgn="auto" latinLnBrk="0" hangingPunct="1">
                <a:lnSpc>
                  <a:spcPct val="120000"/>
                </a:lnSpc>
                <a:spcBef>
                  <a:spcPts val="600"/>
                </a:spcBef>
                <a:spcAft>
                  <a:spcPts val="0"/>
                </a:spcAft>
                <a:buClrTx/>
                <a:buSzTx/>
                <a:buFontTx/>
                <a:buNone/>
                <a:tabLst/>
                <a:defRPr/>
              </a:pPr>
              <a:r>
                <a:rPr kumimoji="0" lang="en-US" sz="1100" b="0" i="0" u="none" strike="noStrike" kern="1200" cap="none" spc="0" normalizeH="0" baseline="0" noProof="0" dirty="0">
                  <a:ln>
                    <a:noFill/>
                  </a:ln>
                  <a:solidFill>
                    <a:prstClr val="black">
                      <a:lumMod val="50000"/>
                      <a:lumOff val="50000"/>
                    </a:prstClr>
                  </a:solidFill>
                  <a:effectLst/>
                  <a:uLnTx/>
                  <a:uFillTx/>
                  <a:latin typeface="HarmonyOS Sans SC"/>
                  <a:cs typeface="+mn-cs"/>
                </a:rPr>
                <a:t>Apparently we had reached a great height in the.</a:t>
              </a:r>
            </a:p>
          </p:txBody>
        </p:sp>
      </p:grpSp>
      <p:sp>
        <p:nvSpPr>
          <p:cNvPr id="50" name="TextBox 65">
            <a:extLst>
              <a:ext uri="{FF2B5EF4-FFF2-40B4-BE49-F238E27FC236}">
                <a16:creationId xmlns:a16="http://schemas.microsoft.com/office/drawing/2014/main" id="{3222D14D-401C-46D6-B6FA-642B060ABC03}"/>
              </a:ext>
            </a:extLst>
          </p:cNvPr>
          <p:cNvSpPr txBox="1"/>
          <p:nvPr/>
        </p:nvSpPr>
        <p:spPr>
          <a:xfrm>
            <a:off x="1714906" y="4557113"/>
            <a:ext cx="2056261" cy="352588"/>
          </a:xfrm>
          <a:prstGeom prst="rect">
            <a:avLst/>
          </a:prstGeom>
          <a:noFill/>
        </p:spPr>
        <p:txBody>
          <a:bodyPr wrap="square" lIns="0" tIns="36000" rIns="0" bIns="36000" rtlCol="0">
            <a:spAutoFit/>
          </a:bodyPr>
          <a:lstStyle/>
          <a:p>
            <a:pPr marL="0" marR="0" lvl="0" indent="0" algn="r" defTabSz="914400" rtl="0" eaLnBrk="1" fontAlgn="auto" latinLnBrk="0" hangingPunct="1">
              <a:lnSpc>
                <a:spcPct val="120000"/>
              </a:lnSpc>
              <a:spcBef>
                <a:spcPts val="600"/>
              </a:spcBef>
              <a:spcAft>
                <a:spcPts val="0"/>
              </a:spcAft>
              <a:buClrTx/>
              <a:buSzTx/>
              <a:buFontTx/>
              <a:buNone/>
              <a:tabLst/>
              <a:defRPr/>
            </a:pPr>
            <a:r>
              <a:rPr kumimoji="0" lang="zh-CN" altLang="en-US" sz="1600" b="0" i="0" u="none" strike="noStrike" kern="1200" cap="none" spc="0" normalizeH="0" baseline="0" noProof="0" dirty="0">
                <a:ln>
                  <a:noFill/>
                </a:ln>
                <a:solidFill>
                  <a:schemeClr val="accent1"/>
                </a:solidFill>
                <a:effectLst/>
                <a:uLnTx/>
                <a:uFillTx/>
                <a:latin typeface="HarmonyOS Sans SC Black"/>
                <a:ea typeface="+mj-ea"/>
                <a:cs typeface="+mn-cs"/>
              </a:rPr>
              <a:t>关键词标题</a:t>
            </a:r>
            <a:endParaRPr kumimoji="0" lang="en-US" sz="1600" b="0" i="0" u="none" strike="noStrike" kern="1200" cap="none" spc="0" normalizeH="0" baseline="0" noProof="0" dirty="0">
              <a:ln>
                <a:noFill/>
              </a:ln>
              <a:solidFill>
                <a:schemeClr val="accent1"/>
              </a:solidFill>
              <a:effectLst/>
              <a:uLnTx/>
              <a:uFillTx/>
              <a:latin typeface="HarmonyOS Sans SC Black"/>
              <a:ea typeface="+mj-ea"/>
              <a:cs typeface="+mn-cs"/>
            </a:endParaRPr>
          </a:p>
        </p:txBody>
      </p:sp>
      <p:sp>
        <p:nvSpPr>
          <p:cNvPr id="51" name="TextBox 65">
            <a:extLst>
              <a:ext uri="{FF2B5EF4-FFF2-40B4-BE49-F238E27FC236}">
                <a16:creationId xmlns:a16="http://schemas.microsoft.com/office/drawing/2014/main" id="{5A195A73-97C7-4D08-840A-0BD6E8403ED1}"/>
              </a:ext>
            </a:extLst>
          </p:cNvPr>
          <p:cNvSpPr txBox="1"/>
          <p:nvPr/>
        </p:nvSpPr>
        <p:spPr>
          <a:xfrm>
            <a:off x="1508465" y="4940512"/>
            <a:ext cx="2262702" cy="462746"/>
          </a:xfrm>
          <a:prstGeom prst="rect">
            <a:avLst/>
          </a:prstGeom>
          <a:noFill/>
        </p:spPr>
        <p:txBody>
          <a:bodyPr wrap="square" lIns="0" tIns="36000" rIns="0" bIns="36000" rtlCol="0">
            <a:spAutoFit/>
          </a:bodyPr>
          <a:lstStyle/>
          <a:p>
            <a:pPr marL="0" marR="0" lvl="0" indent="0" algn="r" defTabSz="914400" rtl="0" eaLnBrk="1" fontAlgn="auto" latinLnBrk="0" hangingPunct="1">
              <a:lnSpc>
                <a:spcPct val="120000"/>
              </a:lnSpc>
              <a:spcBef>
                <a:spcPts val="600"/>
              </a:spcBef>
              <a:spcAft>
                <a:spcPts val="0"/>
              </a:spcAft>
              <a:buClrTx/>
              <a:buSzTx/>
              <a:buFontTx/>
              <a:buNone/>
              <a:tabLst/>
              <a:defRPr/>
            </a:pPr>
            <a:r>
              <a:rPr kumimoji="0" lang="en-US" sz="1100" b="0" i="0" u="none" strike="noStrike" kern="1200" cap="none" spc="0" normalizeH="0" baseline="0" noProof="0" dirty="0">
                <a:ln>
                  <a:noFill/>
                </a:ln>
                <a:solidFill>
                  <a:prstClr val="black">
                    <a:lumMod val="50000"/>
                    <a:lumOff val="50000"/>
                  </a:prstClr>
                </a:solidFill>
                <a:effectLst/>
                <a:uLnTx/>
                <a:uFillTx/>
                <a:latin typeface="HarmonyOS Sans SC"/>
                <a:cs typeface="+mn-cs"/>
              </a:rPr>
              <a:t>Apparently we had reached a great height in the.</a:t>
            </a:r>
          </a:p>
        </p:txBody>
      </p:sp>
      <p:grpSp>
        <p:nvGrpSpPr>
          <p:cNvPr id="58" name="组合 57">
            <a:extLst>
              <a:ext uri="{FF2B5EF4-FFF2-40B4-BE49-F238E27FC236}">
                <a16:creationId xmlns:a16="http://schemas.microsoft.com/office/drawing/2014/main" id="{7DD94A2B-B36F-4CD6-98F6-D4CCAF0743A0}"/>
              </a:ext>
            </a:extLst>
          </p:cNvPr>
          <p:cNvGrpSpPr/>
          <p:nvPr/>
        </p:nvGrpSpPr>
        <p:grpSpPr>
          <a:xfrm>
            <a:off x="8423300" y="2482630"/>
            <a:ext cx="2262702" cy="846145"/>
            <a:chOff x="8423300" y="2482630"/>
            <a:chExt cx="2262702" cy="846145"/>
          </a:xfrm>
        </p:grpSpPr>
        <p:sp>
          <p:nvSpPr>
            <p:cNvPr id="53" name="TextBox 65">
              <a:extLst>
                <a:ext uri="{FF2B5EF4-FFF2-40B4-BE49-F238E27FC236}">
                  <a16:creationId xmlns:a16="http://schemas.microsoft.com/office/drawing/2014/main" id="{5BDD0D33-1E0B-41AD-ABCC-AA818086305E}"/>
                </a:ext>
              </a:extLst>
            </p:cNvPr>
            <p:cNvSpPr txBox="1"/>
            <p:nvPr/>
          </p:nvSpPr>
          <p:spPr>
            <a:xfrm flipH="1">
              <a:off x="8423300" y="2482630"/>
              <a:ext cx="2056261" cy="352588"/>
            </a:xfrm>
            <a:prstGeom prst="rect">
              <a:avLst/>
            </a:prstGeom>
            <a:noFill/>
          </p:spPr>
          <p:txBody>
            <a:bodyPr wrap="square" lIns="0" tIns="36000" rIns="0" bIns="36000" rtlCol="0">
              <a:spAutoFit/>
            </a:bodyPr>
            <a:lstStyle/>
            <a:p>
              <a:pPr marL="0" marR="0" lvl="0" indent="0" algn="l" defTabSz="914400" rtl="0" eaLnBrk="1" fontAlgn="auto" latinLnBrk="0" hangingPunct="1">
                <a:lnSpc>
                  <a:spcPct val="120000"/>
                </a:lnSpc>
                <a:spcBef>
                  <a:spcPts val="600"/>
                </a:spcBef>
                <a:spcAft>
                  <a:spcPts val="0"/>
                </a:spcAft>
                <a:buClrTx/>
                <a:buSzTx/>
                <a:buFontTx/>
                <a:buNone/>
                <a:tabLst/>
                <a:defRPr/>
              </a:pPr>
              <a:r>
                <a:rPr kumimoji="0" lang="zh-CN" altLang="en-US" sz="1600" b="0" i="0" u="none" strike="noStrike" kern="1200" cap="none" spc="0" normalizeH="0" baseline="0" noProof="0" dirty="0">
                  <a:ln>
                    <a:noFill/>
                  </a:ln>
                  <a:solidFill>
                    <a:schemeClr val="accent1"/>
                  </a:solidFill>
                  <a:effectLst/>
                  <a:uLnTx/>
                  <a:uFillTx/>
                  <a:latin typeface="HarmonyOS Sans SC Black"/>
                  <a:ea typeface="+mj-ea"/>
                  <a:cs typeface="+mn-cs"/>
                </a:rPr>
                <a:t>关键词标题</a:t>
              </a:r>
              <a:endParaRPr kumimoji="0" lang="en-US" sz="1600" b="0" i="0" u="none" strike="noStrike" kern="1200" cap="none" spc="0" normalizeH="0" baseline="0" noProof="0" dirty="0">
                <a:ln>
                  <a:noFill/>
                </a:ln>
                <a:solidFill>
                  <a:schemeClr val="accent1"/>
                </a:solidFill>
                <a:effectLst/>
                <a:uLnTx/>
                <a:uFillTx/>
                <a:latin typeface="HarmonyOS Sans SC Black"/>
                <a:ea typeface="+mj-ea"/>
                <a:cs typeface="+mn-cs"/>
              </a:endParaRPr>
            </a:p>
          </p:txBody>
        </p:sp>
        <p:sp>
          <p:nvSpPr>
            <p:cNvPr id="54" name="TextBox 65">
              <a:extLst>
                <a:ext uri="{FF2B5EF4-FFF2-40B4-BE49-F238E27FC236}">
                  <a16:creationId xmlns:a16="http://schemas.microsoft.com/office/drawing/2014/main" id="{6BAED02A-938C-4973-B3BA-EF81D41A3104}"/>
                </a:ext>
              </a:extLst>
            </p:cNvPr>
            <p:cNvSpPr txBox="1"/>
            <p:nvPr/>
          </p:nvSpPr>
          <p:spPr>
            <a:xfrm flipH="1">
              <a:off x="8423300" y="2866029"/>
              <a:ext cx="2262702" cy="462746"/>
            </a:xfrm>
            <a:prstGeom prst="rect">
              <a:avLst/>
            </a:prstGeom>
            <a:noFill/>
          </p:spPr>
          <p:txBody>
            <a:bodyPr wrap="square" lIns="0" tIns="36000" rIns="0" bIns="36000" rtlCol="0">
              <a:spAutoFit/>
            </a:bodyPr>
            <a:lstStyle/>
            <a:p>
              <a:pPr marL="0" marR="0" lvl="0" indent="0" algn="l" defTabSz="914400" rtl="0" eaLnBrk="1" fontAlgn="auto" latinLnBrk="0" hangingPunct="1">
                <a:lnSpc>
                  <a:spcPct val="120000"/>
                </a:lnSpc>
                <a:spcBef>
                  <a:spcPts val="600"/>
                </a:spcBef>
                <a:spcAft>
                  <a:spcPts val="0"/>
                </a:spcAft>
                <a:buClrTx/>
                <a:buSzTx/>
                <a:buFontTx/>
                <a:buNone/>
                <a:tabLst/>
                <a:defRPr/>
              </a:pPr>
              <a:r>
                <a:rPr kumimoji="0" lang="en-US" sz="1100" b="0" i="0" u="none" strike="noStrike" kern="1200" cap="none" spc="0" normalizeH="0" baseline="0" noProof="0" dirty="0">
                  <a:ln>
                    <a:noFill/>
                  </a:ln>
                  <a:solidFill>
                    <a:prstClr val="black">
                      <a:lumMod val="50000"/>
                      <a:lumOff val="50000"/>
                    </a:prstClr>
                  </a:solidFill>
                  <a:effectLst/>
                  <a:uLnTx/>
                  <a:uFillTx/>
                  <a:latin typeface="HarmonyOS Sans SC"/>
                  <a:cs typeface="+mn-cs"/>
                </a:rPr>
                <a:t>Apparently we had reached a great height in the.</a:t>
              </a:r>
            </a:p>
          </p:txBody>
        </p:sp>
      </p:grpSp>
      <p:sp>
        <p:nvSpPr>
          <p:cNvPr id="55" name="TextBox 65">
            <a:extLst>
              <a:ext uri="{FF2B5EF4-FFF2-40B4-BE49-F238E27FC236}">
                <a16:creationId xmlns:a16="http://schemas.microsoft.com/office/drawing/2014/main" id="{C629F5F4-85B4-471F-BDEB-77477D57EC8B}"/>
              </a:ext>
            </a:extLst>
          </p:cNvPr>
          <p:cNvSpPr txBox="1"/>
          <p:nvPr/>
        </p:nvSpPr>
        <p:spPr>
          <a:xfrm flipH="1">
            <a:off x="8423300" y="4557113"/>
            <a:ext cx="2056261" cy="352588"/>
          </a:xfrm>
          <a:prstGeom prst="rect">
            <a:avLst/>
          </a:prstGeom>
          <a:noFill/>
        </p:spPr>
        <p:txBody>
          <a:bodyPr wrap="square" lIns="0" tIns="36000" rIns="0" bIns="36000" rtlCol="0">
            <a:spAutoFit/>
          </a:bodyPr>
          <a:lstStyle/>
          <a:p>
            <a:pPr marL="0" marR="0" lvl="0" indent="0" algn="l" defTabSz="914400" rtl="0" eaLnBrk="1" fontAlgn="auto" latinLnBrk="0" hangingPunct="1">
              <a:lnSpc>
                <a:spcPct val="120000"/>
              </a:lnSpc>
              <a:spcBef>
                <a:spcPts val="600"/>
              </a:spcBef>
              <a:spcAft>
                <a:spcPts val="0"/>
              </a:spcAft>
              <a:buClrTx/>
              <a:buSzTx/>
              <a:buFontTx/>
              <a:buNone/>
              <a:tabLst/>
              <a:defRPr/>
            </a:pPr>
            <a:r>
              <a:rPr kumimoji="0" lang="zh-CN" altLang="en-US" sz="1600" b="0" i="0" u="none" strike="noStrike" kern="1200" cap="none" spc="0" normalizeH="0" baseline="0" noProof="0" dirty="0">
                <a:ln>
                  <a:noFill/>
                </a:ln>
                <a:solidFill>
                  <a:schemeClr val="accent1"/>
                </a:solidFill>
                <a:effectLst/>
                <a:uLnTx/>
                <a:uFillTx/>
                <a:latin typeface="HarmonyOS Sans SC Black"/>
                <a:ea typeface="+mj-ea"/>
                <a:cs typeface="+mn-cs"/>
              </a:rPr>
              <a:t>关键词标题</a:t>
            </a:r>
            <a:endParaRPr kumimoji="0" lang="en-US" sz="1600" b="0" i="0" u="none" strike="noStrike" kern="1200" cap="none" spc="0" normalizeH="0" baseline="0" noProof="0" dirty="0">
              <a:ln>
                <a:noFill/>
              </a:ln>
              <a:solidFill>
                <a:schemeClr val="accent1"/>
              </a:solidFill>
              <a:effectLst/>
              <a:uLnTx/>
              <a:uFillTx/>
              <a:latin typeface="HarmonyOS Sans SC Black"/>
              <a:ea typeface="+mj-ea"/>
              <a:cs typeface="+mn-cs"/>
            </a:endParaRPr>
          </a:p>
        </p:txBody>
      </p:sp>
      <p:sp>
        <p:nvSpPr>
          <p:cNvPr id="56" name="TextBox 65">
            <a:extLst>
              <a:ext uri="{FF2B5EF4-FFF2-40B4-BE49-F238E27FC236}">
                <a16:creationId xmlns:a16="http://schemas.microsoft.com/office/drawing/2014/main" id="{4B7D495F-AE18-49B5-A8A2-26BB3D3A97FD}"/>
              </a:ext>
            </a:extLst>
          </p:cNvPr>
          <p:cNvSpPr txBox="1"/>
          <p:nvPr/>
        </p:nvSpPr>
        <p:spPr>
          <a:xfrm flipH="1">
            <a:off x="8423300" y="4940512"/>
            <a:ext cx="2262702" cy="462746"/>
          </a:xfrm>
          <a:prstGeom prst="rect">
            <a:avLst/>
          </a:prstGeom>
          <a:noFill/>
        </p:spPr>
        <p:txBody>
          <a:bodyPr wrap="square" lIns="0" tIns="36000" rIns="0" bIns="36000" rtlCol="0">
            <a:spAutoFit/>
          </a:bodyPr>
          <a:lstStyle/>
          <a:p>
            <a:pPr marL="0" marR="0" lvl="0" indent="0" algn="l" defTabSz="914400" rtl="0" eaLnBrk="1" fontAlgn="auto" latinLnBrk="0" hangingPunct="1">
              <a:lnSpc>
                <a:spcPct val="120000"/>
              </a:lnSpc>
              <a:spcBef>
                <a:spcPts val="600"/>
              </a:spcBef>
              <a:spcAft>
                <a:spcPts val="0"/>
              </a:spcAft>
              <a:buClrTx/>
              <a:buSzTx/>
              <a:buFontTx/>
              <a:buNone/>
              <a:tabLst/>
              <a:defRPr/>
            </a:pPr>
            <a:r>
              <a:rPr kumimoji="0" lang="en-US" sz="1100" b="0" i="0" u="none" strike="noStrike" kern="1200" cap="none" spc="0" normalizeH="0" baseline="0" noProof="0" dirty="0">
                <a:ln>
                  <a:noFill/>
                </a:ln>
                <a:solidFill>
                  <a:prstClr val="black">
                    <a:lumMod val="50000"/>
                    <a:lumOff val="50000"/>
                  </a:prstClr>
                </a:solidFill>
                <a:effectLst/>
                <a:uLnTx/>
                <a:uFillTx/>
                <a:latin typeface="HarmonyOS Sans SC"/>
                <a:cs typeface="+mn-cs"/>
              </a:rPr>
              <a:t>Apparently we had reached a great height in the.</a:t>
            </a:r>
          </a:p>
        </p:txBody>
      </p:sp>
    </p:spTree>
    <p:extLst>
      <p:ext uri="{BB962C8B-B14F-4D97-AF65-F5344CB8AC3E}">
        <p14:creationId xmlns:p14="http://schemas.microsoft.com/office/powerpoint/2010/main" val="153377009"/>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5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reeform 5">
            <a:extLst>
              <a:ext uri="{FF2B5EF4-FFF2-40B4-BE49-F238E27FC236}">
                <a16:creationId xmlns:a16="http://schemas.microsoft.com/office/drawing/2014/main" id="{7707DFCF-0E0A-472F-BCD2-61A0D96ACEA5}"/>
              </a:ext>
            </a:extLst>
          </p:cNvPr>
          <p:cNvSpPr>
            <a:spLocks/>
          </p:cNvSpPr>
          <p:nvPr/>
        </p:nvSpPr>
        <p:spPr bwMode="auto">
          <a:xfrm>
            <a:off x="6200775" y="2319338"/>
            <a:ext cx="1562100" cy="1882775"/>
          </a:xfrm>
          <a:custGeom>
            <a:avLst/>
            <a:gdLst>
              <a:gd name="T0" fmla="*/ 3 w 350"/>
              <a:gd name="T1" fmla="*/ 0 h 422"/>
              <a:gd name="T2" fmla="*/ 56 w 350"/>
              <a:gd name="T3" fmla="*/ 96 h 422"/>
              <a:gd name="T4" fmla="*/ 0 w 350"/>
              <a:gd name="T5" fmla="*/ 198 h 422"/>
              <a:gd name="T6" fmla="*/ 153 w 350"/>
              <a:gd name="T7" fmla="*/ 367 h 422"/>
              <a:gd name="T8" fmla="*/ 253 w 350"/>
              <a:gd name="T9" fmla="*/ 422 h 422"/>
              <a:gd name="T10" fmla="*/ 350 w 350"/>
              <a:gd name="T11" fmla="*/ 369 h 422"/>
              <a:gd name="T12" fmla="*/ 3 w 350"/>
              <a:gd name="T13" fmla="*/ 0 h 422"/>
            </a:gdLst>
            <a:ahLst/>
            <a:cxnLst>
              <a:cxn ang="0">
                <a:pos x="T0" y="T1"/>
              </a:cxn>
              <a:cxn ang="0">
                <a:pos x="T2" y="T3"/>
              </a:cxn>
              <a:cxn ang="0">
                <a:pos x="T4" y="T5"/>
              </a:cxn>
              <a:cxn ang="0">
                <a:pos x="T6" y="T7"/>
              </a:cxn>
              <a:cxn ang="0">
                <a:pos x="T8" y="T9"/>
              </a:cxn>
              <a:cxn ang="0">
                <a:pos x="T10" y="T11"/>
              </a:cxn>
              <a:cxn ang="0">
                <a:pos x="T12" y="T13"/>
              </a:cxn>
            </a:cxnLst>
            <a:rect l="0" t="0" r="r" b="b"/>
            <a:pathLst>
              <a:path w="350" h="422">
                <a:moveTo>
                  <a:pt x="3" y="0"/>
                </a:moveTo>
                <a:cubicBezTo>
                  <a:pt x="56" y="96"/>
                  <a:pt x="56" y="96"/>
                  <a:pt x="56" y="96"/>
                </a:cubicBezTo>
                <a:cubicBezTo>
                  <a:pt x="0" y="198"/>
                  <a:pt x="0" y="198"/>
                  <a:pt x="0" y="198"/>
                </a:cubicBezTo>
                <a:cubicBezTo>
                  <a:pt x="85" y="209"/>
                  <a:pt x="150" y="281"/>
                  <a:pt x="153" y="367"/>
                </a:cubicBezTo>
                <a:cubicBezTo>
                  <a:pt x="253" y="422"/>
                  <a:pt x="253" y="422"/>
                  <a:pt x="253" y="422"/>
                </a:cubicBezTo>
                <a:cubicBezTo>
                  <a:pt x="350" y="369"/>
                  <a:pt x="350" y="369"/>
                  <a:pt x="350" y="369"/>
                </a:cubicBezTo>
                <a:cubicBezTo>
                  <a:pt x="348" y="172"/>
                  <a:pt x="198" y="13"/>
                  <a:pt x="3" y="0"/>
                </a:cubicBezTo>
                <a:close/>
              </a:path>
            </a:pathLst>
          </a:custGeom>
          <a:gradFill flip="none" rotWithShape="1">
            <a:gsLst>
              <a:gs pos="64000">
                <a:schemeClr val="accent1"/>
              </a:gs>
              <a:gs pos="31000">
                <a:schemeClr val="accent1">
                  <a:lumMod val="60000"/>
                  <a:lumOff val="40000"/>
                </a:schemeClr>
              </a:gs>
              <a:gs pos="0">
                <a:schemeClr val="accent1">
                  <a:lumMod val="40000"/>
                  <a:lumOff val="60000"/>
                </a:schemeClr>
              </a:gs>
            </a:gsLst>
            <a:lin ang="2700000" scaled="1"/>
            <a:tileRect/>
          </a:gradFill>
          <a:ln>
            <a:noFill/>
          </a:ln>
          <a:effectLst>
            <a:outerShdw blurRad="444500" dist="317500" dir="5400000" sx="92000" sy="92000" algn="t" rotWithShape="0">
              <a:schemeClr val="accent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4" name="Freeform 6">
            <a:extLst>
              <a:ext uri="{FF2B5EF4-FFF2-40B4-BE49-F238E27FC236}">
                <a16:creationId xmlns:a16="http://schemas.microsoft.com/office/drawing/2014/main" id="{9C2760CB-F51F-4069-A0C0-D65D7F527DF0}"/>
              </a:ext>
            </a:extLst>
          </p:cNvPr>
          <p:cNvSpPr>
            <a:spLocks/>
          </p:cNvSpPr>
          <p:nvPr/>
        </p:nvSpPr>
        <p:spPr bwMode="auto">
          <a:xfrm>
            <a:off x="4424363" y="3765550"/>
            <a:ext cx="1562100" cy="1887538"/>
          </a:xfrm>
          <a:custGeom>
            <a:avLst/>
            <a:gdLst>
              <a:gd name="T0" fmla="*/ 197 w 350"/>
              <a:gd name="T1" fmla="*/ 55 h 423"/>
              <a:gd name="T2" fmla="*/ 97 w 350"/>
              <a:gd name="T3" fmla="*/ 0 h 423"/>
              <a:gd name="T4" fmla="*/ 0 w 350"/>
              <a:gd name="T5" fmla="*/ 54 h 423"/>
              <a:gd name="T6" fmla="*/ 348 w 350"/>
              <a:gd name="T7" fmla="*/ 423 h 423"/>
              <a:gd name="T8" fmla="*/ 295 w 350"/>
              <a:gd name="T9" fmla="*/ 326 h 423"/>
              <a:gd name="T10" fmla="*/ 350 w 350"/>
              <a:gd name="T11" fmla="*/ 225 h 423"/>
              <a:gd name="T12" fmla="*/ 197 w 350"/>
              <a:gd name="T13" fmla="*/ 55 h 423"/>
            </a:gdLst>
            <a:ahLst/>
            <a:cxnLst>
              <a:cxn ang="0">
                <a:pos x="T0" y="T1"/>
              </a:cxn>
              <a:cxn ang="0">
                <a:pos x="T2" y="T3"/>
              </a:cxn>
              <a:cxn ang="0">
                <a:pos x="T4" y="T5"/>
              </a:cxn>
              <a:cxn ang="0">
                <a:pos x="T6" y="T7"/>
              </a:cxn>
              <a:cxn ang="0">
                <a:pos x="T8" y="T9"/>
              </a:cxn>
              <a:cxn ang="0">
                <a:pos x="T10" y="T11"/>
              </a:cxn>
              <a:cxn ang="0">
                <a:pos x="T12" y="T13"/>
              </a:cxn>
            </a:cxnLst>
            <a:rect l="0" t="0" r="r" b="b"/>
            <a:pathLst>
              <a:path w="350" h="423">
                <a:moveTo>
                  <a:pt x="197" y="55"/>
                </a:moveTo>
                <a:cubicBezTo>
                  <a:pt x="97" y="0"/>
                  <a:pt x="97" y="0"/>
                  <a:pt x="97" y="0"/>
                </a:cubicBezTo>
                <a:cubicBezTo>
                  <a:pt x="0" y="54"/>
                  <a:pt x="0" y="54"/>
                  <a:pt x="0" y="54"/>
                </a:cubicBezTo>
                <a:cubicBezTo>
                  <a:pt x="2" y="251"/>
                  <a:pt x="153" y="409"/>
                  <a:pt x="348" y="423"/>
                </a:cubicBezTo>
                <a:cubicBezTo>
                  <a:pt x="295" y="326"/>
                  <a:pt x="295" y="326"/>
                  <a:pt x="295" y="326"/>
                </a:cubicBezTo>
                <a:cubicBezTo>
                  <a:pt x="350" y="225"/>
                  <a:pt x="350" y="225"/>
                  <a:pt x="350" y="225"/>
                </a:cubicBezTo>
                <a:cubicBezTo>
                  <a:pt x="265" y="213"/>
                  <a:pt x="200" y="142"/>
                  <a:pt x="197" y="55"/>
                </a:cubicBezTo>
                <a:close/>
              </a:path>
            </a:pathLst>
          </a:custGeom>
          <a:gradFill flip="none" rotWithShape="1">
            <a:gsLst>
              <a:gs pos="64000">
                <a:schemeClr val="accent1"/>
              </a:gs>
              <a:gs pos="31000">
                <a:schemeClr val="accent1">
                  <a:lumMod val="60000"/>
                  <a:lumOff val="40000"/>
                </a:schemeClr>
              </a:gs>
              <a:gs pos="0">
                <a:schemeClr val="accent1">
                  <a:lumMod val="40000"/>
                  <a:lumOff val="60000"/>
                </a:schemeClr>
              </a:gs>
            </a:gsLst>
            <a:lin ang="13500000" scaled="1"/>
            <a:tileRect/>
          </a:gradFill>
          <a:ln>
            <a:noFill/>
          </a:ln>
          <a:effectLst>
            <a:outerShdw blurRad="444500" dist="317500" dir="5400000" sx="92000" sy="92000" algn="t" rotWithShape="0">
              <a:schemeClr val="accent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5" name="Freeform 7">
            <a:extLst>
              <a:ext uri="{FF2B5EF4-FFF2-40B4-BE49-F238E27FC236}">
                <a16:creationId xmlns:a16="http://schemas.microsoft.com/office/drawing/2014/main" id="{8E40C4A3-5746-4346-81C3-2FAFADA2111C}"/>
              </a:ext>
            </a:extLst>
          </p:cNvPr>
          <p:cNvSpPr>
            <a:spLocks/>
          </p:cNvSpPr>
          <p:nvPr/>
        </p:nvSpPr>
        <p:spPr bwMode="auto">
          <a:xfrm>
            <a:off x="5875338" y="4090988"/>
            <a:ext cx="1887538" cy="1562100"/>
          </a:xfrm>
          <a:custGeom>
            <a:avLst/>
            <a:gdLst>
              <a:gd name="T0" fmla="*/ 0 w 423"/>
              <a:gd name="T1" fmla="*/ 253 h 350"/>
              <a:gd name="T2" fmla="*/ 54 w 423"/>
              <a:gd name="T3" fmla="*/ 350 h 350"/>
              <a:gd name="T4" fmla="*/ 423 w 423"/>
              <a:gd name="T5" fmla="*/ 3 h 350"/>
              <a:gd name="T6" fmla="*/ 326 w 423"/>
              <a:gd name="T7" fmla="*/ 56 h 350"/>
              <a:gd name="T8" fmla="*/ 225 w 423"/>
              <a:gd name="T9" fmla="*/ 0 h 350"/>
              <a:gd name="T10" fmla="*/ 55 w 423"/>
              <a:gd name="T11" fmla="*/ 153 h 350"/>
              <a:gd name="T12" fmla="*/ 0 w 423"/>
              <a:gd name="T13" fmla="*/ 253 h 350"/>
            </a:gdLst>
            <a:ahLst/>
            <a:cxnLst>
              <a:cxn ang="0">
                <a:pos x="T0" y="T1"/>
              </a:cxn>
              <a:cxn ang="0">
                <a:pos x="T2" y="T3"/>
              </a:cxn>
              <a:cxn ang="0">
                <a:pos x="T4" y="T5"/>
              </a:cxn>
              <a:cxn ang="0">
                <a:pos x="T6" y="T7"/>
              </a:cxn>
              <a:cxn ang="0">
                <a:pos x="T8" y="T9"/>
              </a:cxn>
              <a:cxn ang="0">
                <a:pos x="T10" y="T11"/>
              </a:cxn>
              <a:cxn ang="0">
                <a:pos x="T12" y="T13"/>
              </a:cxn>
            </a:cxnLst>
            <a:rect l="0" t="0" r="r" b="b"/>
            <a:pathLst>
              <a:path w="423" h="350">
                <a:moveTo>
                  <a:pt x="0" y="253"/>
                </a:moveTo>
                <a:cubicBezTo>
                  <a:pt x="54" y="350"/>
                  <a:pt x="54" y="350"/>
                  <a:pt x="54" y="350"/>
                </a:cubicBezTo>
                <a:cubicBezTo>
                  <a:pt x="251" y="348"/>
                  <a:pt x="409" y="197"/>
                  <a:pt x="423" y="3"/>
                </a:cubicBezTo>
                <a:cubicBezTo>
                  <a:pt x="326" y="56"/>
                  <a:pt x="326" y="56"/>
                  <a:pt x="326" y="56"/>
                </a:cubicBezTo>
                <a:cubicBezTo>
                  <a:pt x="225" y="0"/>
                  <a:pt x="225" y="0"/>
                  <a:pt x="225" y="0"/>
                </a:cubicBezTo>
                <a:cubicBezTo>
                  <a:pt x="213" y="85"/>
                  <a:pt x="142" y="150"/>
                  <a:pt x="55" y="153"/>
                </a:cubicBezTo>
                <a:lnTo>
                  <a:pt x="0" y="253"/>
                </a:lnTo>
                <a:close/>
              </a:path>
            </a:pathLst>
          </a:custGeom>
          <a:gradFill flip="none" rotWithShape="1">
            <a:gsLst>
              <a:gs pos="64000">
                <a:schemeClr val="accent1"/>
              </a:gs>
              <a:gs pos="31000">
                <a:schemeClr val="accent1">
                  <a:lumMod val="60000"/>
                  <a:lumOff val="40000"/>
                </a:schemeClr>
              </a:gs>
              <a:gs pos="0">
                <a:schemeClr val="accent1">
                  <a:lumMod val="40000"/>
                  <a:lumOff val="60000"/>
                </a:schemeClr>
              </a:gs>
            </a:gsLst>
            <a:lin ang="8100000" scaled="1"/>
            <a:tileRect/>
          </a:gradFill>
          <a:ln>
            <a:noFill/>
          </a:ln>
          <a:effectLst>
            <a:outerShdw blurRad="444500" dist="317500" dir="5400000" sx="92000" sy="92000" algn="t" rotWithShape="0">
              <a:schemeClr val="accent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6" name="Freeform 8">
            <a:extLst>
              <a:ext uri="{FF2B5EF4-FFF2-40B4-BE49-F238E27FC236}">
                <a16:creationId xmlns:a16="http://schemas.microsoft.com/office/drawing/2014/main" id="{6D7A466E-B378-41BF-8F02-0B5485552E89}"/>
              </a:ext>
            </a:extLst>
          </p:cNvPr>
          <p:cNvSpPr>
            <a:spLocks/>
          </p:cNvSpPr>
          <p:nvPr/>
        </p:nvSpPr>
        <p:spPr bwMode="auto">
          <a:xfrm>
            <a:off x="4429125" y="2314575"/>
            <a:ext cx="1882775" cy="1562100"/>
          </a:xfrm>
          <a:custGeom>
            <a:avLst/>
            <a:gdLst>
              <a:gd name="T0" fmla="*/ 422 w 422"/>
              <a:gd name="T1" fmla="*/ 97 h 350"/>
              <a:gd name="T2" fmla="*/ 369 w 422"/>
              <a:gd name="T3" fmla="*/ 0 h 350"/>
              <a:gd name="T4" fmla="*/ 0 w 422"/>
              <a:gd name="T5" fmla="*/ 348 h 350"/>
              <a:gd name="T6" fmla="*/ 96 w 422"/>
              <a:gd name="T7" fmla="*/ 295 h 350"/>
              <a:gd name="T8" fmla="*/ 198 w 422"/>
              <a:gd name="T9" fmla="*/ 350 h 350"/>
              <a:gd name="T10" fmla="*/ 367 w 422"/>
              <a:gd name="T11" fmla="*/ 197 h 350"/>
              <a:gd name="T12" fmla="*/ 422 w 422"/>
              <a:gd name="T13" fmla="*/ 97 h 350"/>
            </a:gdLst>
            <a:ahLst/>
            <a:cxnLst>
              <a:cxn ang="0">
                <a:pos x="T0" y="T1"/>
              </a:cxn>
              <a:cxn ang="0">
                <a:pos x="T2" y="T3"/>
              </a:cxn>
              <a:cxn ang="0">
                <a:pos x="T4" y="T5"/>
              </a:cxn>
              <a:cxn ang="0">
                <a:pos x="T6" y="T7"/>
              </a:cxn>
              <a:cxn ang="0">
                <a:pos x="T8" y="T9"/>
              </a:cxn>
              <a:cxn ang="0">
                <a:pos x="T10" y="T11"/>
              </a:cxn>
              <a:cxn ang="0">
                <a:pos x="T12" y="T13"/>
              </a:cxn>
            </a:cxnLst>
            <a:rect l="0" t="0" r="r" b="b"/>
            <a:pathLst>
              <a:path w="422" h="350">
                <a:moveTo>
                  <a:pt x="422" y="97"/>
                </a:moveTo>
                <a:cubicBezTo>
                  <a:pt x="369" y="0"/>
                  <a:pt x="369" y="0"/>
                  <a:pt x="369" y="0"/>
                </a:cubicBezTo>
                <a:cubicBezTo>
                  <a:pt x="172" y="2"/>
                  <a:pt x="13" y="153"/>
                  <a:pt x="0" y="348"/>
                </a:cubicBezTo>
                <a:cubicBezTo>
                  <a:pt x="96" y="295"/>
                  <a:pt x="96" y="295"/>
                  <a:pt x="96" y="295"/>
                </a:cubicBezTo>
                <a:cubicBezTo>
                  <a:pt x="198" y="350"/>
                  <a:pt x="198" y="350"/>
                  <a:pt x="198" y="350"/>
                </a:cubicBezTo>
                <a:cubicBezTo>
                  <a:pt x="209" y="265"/>
                  <a:pt x="281" y="200"/>
                  <a:pt x="367" y="197"/>
                </a:cubicBezTo>
                <a:lnTo>
                  <a:pt x="422" y="97"/>
                </a:lnTo>
                <a:close/>
              </a:path>
            </a:pathLst>
          </a:custGeom>
          <a:gradFill flip="none" rotWithShape="1">
            <a:gsLst>
              <a:gs pos="64000">
                <a:schemeClr val="accent1"/>
              </a:gs>
              <a:gs pos="31000">
                <a:schemeClr val="accent1">
                  <a:lumMod val="60000"/>
                  <a:lumOff val="40000"/>
                </a:schemeClr>
              </a:gs>
              <a:gs pos="0">
                <a:schemeClr val="accent1">
                  <a:lumMod val="40000"/>
                  <a:lumOff val="60000"/>
                </a:schemeClr>
              </a:gs>
            </a:gsLst>
            <a:lin ang="18900000" scaled="1"/>
            <a:tileRect/>
          </a:gradFill>
          <a:ln>
            <a:noFill/>
          </a:ln>
          <a:effectLst>
            <a:outerShdw blurRad="444500" dist="317500" dir="5400000" sx="92000" sy="92000" algn="t" rotWithShape="0">
              <a:schemeClr val="accent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11" name="TextBox 48">
            <a:extLst>
              <a:ext uri="{FF2B5EF4-FFF2-40B4-BE49-F238E27FC236}">
                <a16:creationId xmlns:a16="http://schemas.microsoft.com/office/drawing/2014/main" id="{1B50E2F1-2CE5-455B-9370-56F18D79A4B4}"/>
              </a:ext>
            </a:extLst>
          </p:cNvPr>
          <p:cNvSpPr txBox="1"/>
          <p:nvPr/>
        </p:nvSpPr>
        <p:spPr>
          <a:xfrm>
            <a:off x="5512181" y="3792187"/>
            <a:ext cx="1167638" cy="492443"/>
          </a:xfrm>
          <a:prstGeom prst="rect">
            <a:avLst/>
          </a:prstGeom>
          <a:noFill/>
        </p:spPr>
        <p:txBody>
          <a:bodyPr wrap="square" lIns="0" tIns="0" rIns="0" bIns="0" rtlCol="0">
            <a:spAutoFit/>
          </a:bodyPr>
          <a:lstStyle/>
          <a:p>
            <a:pPr marL="0" marR="0" lvl="0" indent="0" algn="ctr" defTabSz="457200" rtl="0" eaLnBrk="1" fontAlgn="base" latinLnBrk="0" hangingPunct="1">
              <a:lnSpc>
                <a:spcPct val="100000"/>
              </a:lnSpc>
              <a:spcBef>
                <a:spcPts val="1000"/>
              </a:spcBef>
              <a:spcAft>
                <a:spcPts val="0"/>
              </a:spcAft>
              <a:buClrTx/>
              <a:buSzTx/>
              <a:buFontTx/>
              <a:buNone/>
              <a:tabLst/>
              <a:defRPr/>
            </a:pPr>
            <a:r>
              <a:rPr kumimoji="0" lang="en-US" sz="1600" b="0" i="0" u="none" strike="noStrike" kern="1200" cap="none" spc="0" normalizeH="0" baseline="0" noProof="0" dirty="0">
                <a:ln>
                  <a:noFill/>
                </a:ln>
                <a:solidFill>
                  <a:prstClr val="black">
                    <a:lumMod val="75000"/>
                    <a:lumOff val="25000"/>
                  </a:prstClr>
                </a:solidFill>
                <a:effectLst/>
                <a:uLnTx/>
                <a:uFillTx/>
                <a:latin typeface="HarmonyOS Sans SC Black"/>
                <a:ea typeface="+mj-ea"/>
                <a:cs typeface="+mn-cs"/>
              </a:rPr>
              <a:t>Your title</a:t>
            </a:r>
            <a:br>
              <a:rPr kumimoji="0" lang="en-US" sz="1600" b="0" i="0" u="none" strike="noStrike" kern="1200" cap="none" spc="0" normalizeH="0" baseline="0" noProof="0" dirty="0">
                <a:ln>
                  <a:noFill/>
                </a:ln>
                <a:solidFill>
                  <a:prstClr val="black">
                    <a:lumMod val="75000"/>
                    <a:lumOff val="25000"/>
                  </a:prstClr>
                </a:solidFill>
                <a:effectLst/>
                <a:uLnTx/>
                <a:uFillTx/>
                <a:latin typeface="HarmonyOS Sans SC Black"/>
                <a:ea typeface="+mj-ea"/>
                <a:cs typeface="+mn-cs"/>
              </a:rPr>
            </a:br>
            <a:r>
              <a:rPr kumimoji="0" lang="en-US" sz="1600" b="0" i="0" u="none" strike="noStrike" kern="1200" cap="none" spc="0" normalizeH="0" baseline="0" noProof="0" dirty="0">
                <a:ln>
                  <a:noFill/>
                </a:ln>
                <a:solidFill>
                  <a:prstClr val="black">
                    <a:lumMod val="75000"/>
                    <a:lumOff val="25000"/>
                  </a:prstClr>
                </a:solidFill>
                <a:effectLst/>
                <a:uLnTx/>
                <a:uFillTx/>
                <a:latin typeface="HarmonyOS Sans SC Black"/>
                <a:ea typeface="+mj-ea"/>
                <a:cs typeface="+mn-cs"/>
              </a:rPr>
              <a:t>is here</a:t>
            </a:r>
          </a:p>
        </p:txBody>
      </p:sp>
      <p:sp>
        <p:nvSpPr>
          <p:cNvPr id="12" name="Freeform 65">
            <a:extLst>
              <a:ext uri="{FF2B5EF4-FFF2-40B4-BE49-F238E27FC236}">
                <a16:creationId xmlns:a16="http://schemas.microsoft.com/office/drawing/2014/main" id="{2A569258-E696-486B-92DF-43F6F5C4DE5A}"/>
              </a:ext>
            </a:extLst>
          </p:cNvPr>
          <p:cNvSpPr>
            <a:spLocks noEditPoints="1"/>
          </p:cNvSpPr>
          <p:nvPr/>
        </p:nvSpPr>
        <p:spPr bwMode="auto">
          <a:xfrm>
            <a:off x="5127358" y="2792783"/>
            <a:ext cx="410806" cy="415594"/>
          </a:xfrm>
          <a:custGeom>
            <a:avLst/>
            <a:gdLst>
              <a:gd name="T0" fmla="*/ 537707 w 160"/>
              <a:gd name="T1" fmla="*/ 6886 h 160"/>
              <a:gd name="T2" fmla="*/ 517287 w 160"/>
              <a:gd name="T3" fmla="*/ 0 h 160"/>
              <a:gd name="T4" fmla="*/ 183773 w 160"/>
              <a:gd name="T5" fmla="*/ 55086 h 160"/>
              <a:gd name="T6" fmla="*/ 166757 w 160"/>
              <a:gd name="T7" fmla="*/ 79187 h 160"/>
              <a:gd name="T8" fmla="*/ 166757 w 160"/>
              <a:gd name="T9" fmla="*/ 392490 h 160"/>
              <a:gd name="T10" fmla="*/ 78274 w 160"/>
              <a:gd name="T11" fmla="*/ 392490 h 160"/>
              <a:gd name="T12" fmla="*/ 0 w 160"/>
              <a:gd name="T13" fmla="*/ 471676 h 160"/>
              <a:gd name="T14" fmla="*/ 78274 w 160"/>
              <a:gd name="T15" fmla="*/ 550863 h 160"/>
              <a:gd name="T16" fmla="*/ 132725 w 160"/>
              <a:gd name="T17" fmla="*/ 550863 h 160"/>
              <a:gd name="T18" fmla="*/ 210999 w 160"/>
              <a:gd name="T19" fmla="*/ 471676 h 160"/>
              <a:gd name="T20" fmla="*/ 210999 w 160"/>
              <a:gd name="T21" fmla="*/ 416590 h 160"/>
              <a:gd name="T22" fmla="*/ 210999 w 160"/>
              <a:gd name="T23" fmla="*/ 96401 h 160"/>
              <a:gd name="T24" fmla="*/ 500271 w 160"/>
              <a:gd name="T25" fmla="*/ 48201 h 160"/>
              <a:gd name="T26" fmla="*/ 500271 w 160"/>
              <a:gd name="T27" fmla="*/ 337404 h 160"/>
              <a:gd name="T28" fmla="*/ 411788 w 160"/>
              <a:gd name="T29" fmla="*/ 337404 h 160"/>
              <a:gd name="T30" fmla="*/ 333514 w 160"/>
              <a:gd name="T31" fmla="*/ 416590 h 160"/>
              <a:gd name="T32" fmla="*/ 411788 w 160"/>
              <a:gd name="T33" fmla="*/ 495777 h 160"/>
              <a:gd name="T34" fmla="*/ 466239 w 160"/>
              <a:gd name="T35" fmla="*/ 495777 h 160"/>
              <a:gd name="T36" fmla="*/ 544513 w 160"/>
              <a:gd name="T37" fmla="*/ 416590 h 160"/>
              <a:gd name="T38" fmla="*/ 544513 w 160"/>
              <a:gd name="T39" fmla="*/ 361504 h 160"/>
              <a:gd name="T40" fmla="*/ 544513 w 160"/>
              <a:gd name="T41" fmla="*/ 20657 h 160"/>
              <a:gd name="T42" fmla="*/ 537707 w 160"/>
              <a:gd name="T43" fmla="*/ 6886 h 160"/>
              <a:gd name="T44" fmla="*/ 166757 w 160"/>
              <a:gd name="T45" fmla="*/ 471676 h 160"/>
              <a:gd name="T46" fmla="*/ 132725 w 160"/>
              <a:gd name="T47" fmla="*/ 506105 h 160"/>
              <a:gd name="T48" fmla="*/ 78274 w 160"/>
              <a:gd name="T49" fmla="*/ 506105 h 160"/>
              <a:gd name="T50" fmla="*/ 44242 w 160"/>
              <a:gd name="T51" fmla="*/ 471676 h 160"/>
              <a:gd name="T52" fmla="*/ 78274 w 160"/>
              <a:gd name="T53" fmla="*/ 437248 h 160"/>
              <a:gd name="T54" fmla="*/ 166757 w 160"/>
              <a:gd name="T55" fmla="*/ 437248 h 160"/>
              <a:gd name="T56" fmla="*/ 166757 w 160"/>
              <a:gd name="T57" fmla="*/ 471676 h 160"/>
              <a:gd name="T58" fmla="*/ 500271 w 160"/>
              <a:gd name="T59" fmla="*/ 416590 h 160"/>
              <a:gd name="T60" fmla="*/ 466239 w 160"/>
              <a:gd name="T61" fmla="*/ 451019 h 160"/>
              <a:gd name="T62" fmla="*/ 411788 w 160"/>
              <a:gd name="T63" fmla="*/ 451019 h 160"/>
              <a:gd name="T64" fmla="*/ 377756 w 160"/>
              <a:gd name="T65" fmla="*/ 416590 h 160"/>
              <a:gd name="T66" fmla="*/ 411788 w 160"/>
              <a:gd name="T67" fmla="*/ 382161 h 160"/>
              <a:gd name="T68" fmla="*/ 500271 w 160"/>
              <a:gd name="T69" fmla="*/ 382161 h 160"/>
              <a:gd name="T70" fmla="*/ 500271 w 160"/>
              <a:gd name="T71" fmla="*/ 416590 h 160"/>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160" h="160">
                <a:moveTo>
                  <a:pt x="158" y="2"/>
                </a:moveTo>
                <a:cubicBezTo>
                  <a:pt x="156" y="0"/>
                  <a:pt x="154" y="0"/>
                  <a:pt x="152" y="0"/>
                </a:cubicBezTo>
                <a:cubicBezTo>
                  <a:pt x="54" y="16"/>
                  <a:pt x="54" y="16"/>
                  <a:pt x="54" y="16"/>
                </a:cubicBezTo>
                <a:cubicBezTo>
                  <a:pt x="51" y="17"/>
                  <a:pt x="49" y="20"/>
                  <a:pt x="49" y="23"/>
                </a:cubicBezTo>
                <a:cubicBezTo>
                  <a:pt x="49" y="114"/>
                  <a:pt x="49" y="114"/>
                  <a:pt x="49" y="114"/>
                </a:cubicBezTo>
                <a:cubicBezTo>
                  <a:pt x="23" y="114"/>
                  <a:pt x="23" y="114"/>
                  <a:pt x="23" y="114"/>
                </a:cubicBezTo>
                <a:cubicBezTo>
                  <a:pt x="10" y="114"/>
                  <a:pt x="0" y="125"/>
                  <a:pt x="0" y="137"/>
                </a:cubicBezTo>
                <a:cubicBezTo>
                  <a:pt x="0" y="150"/>
                  <a:pt x="10" y="160"/>
                  <a:pt x="23" y="160"/>
                </a:cubicBezTo>
                <a:cubicBezTo>
                  <a:pt x="39" y="160"/>
                  <a:pt x="39" y="160"/>
                  <a:pt x="39" y="160"/>
                </a:cubicBezTo>
                <a:cubicBezTo>
                  <a:pt x="52" y="160"/>
                  <a:pt x="62" y="150"/>
                  <a:pt x="62" y="137"/>
                </a:cubicBezTo>
                <a:cubicBezTo>
                  <a:pt x="62" y="121"/>
                  <a:pt x="62" y="121"/>
                  <a:pt x="62" y="121"/>
                </a:cubicBezTo>
                <a:cubicBezTo>
                  <a:pt x="62" y="28"/>
                  <a:pt x="62" y="28"/>
                  <a:pt x="62" y="28"/>
                </a:cubicBezTo>
                <a:cubicBezTo>
                  <a:pt x="147" y="14"/>
                  <a:pt x="147" y="14"/>
                  <a:pt x="147" y="14"/>
                </a:cubicBezTo>
                <a:cubicBezTo>
                  <a:pt x="147" y="98"/>
                  <a:pt x="147" y="98"/>
                  <a:pt x="147" y="98"/>
                </a:cubicBezTo>
                <a:cubicBezTo>
                  <a:pt x="121" y="98"/>
                  <a:pt x="121" y="98"/>
                  <a:pt x="121" y="98"/>
                </a:cubicBezTo>
                <a:cubicBezTo>
                  <a:pt x="108" y="98"/>
                  <a:pt x="98" y="108"/>
                  <a:pt x="98" y="121"/>
                </a:cubicBezTo>
                <a:cubicBezTo>
                  <a:pt x="98" y="133"/>
                  <a:pt x="108" y="144"/>
                  <a:pt x="121" y="144"/>
                </a:cubicBezTo>
                <a:cubicBezTo>
                  <a:pt x="137" y="144"/>
                  <a:pt x="137" y="144"/>
                  <a:pt x="137" y="144"/>
                </a:cubicBezTo>
                <a:cubicBezTo>
                  <a:pt x="150" y="144"/>
                  <a:pt x="160" y="133"/>
                  <a:pt x="160" y="121"/>
                </a:cubicBezTo>
                <a:cubicBezTo>
                  <a:pt x="160" y="105"/>
                  <a:pt x="160" y="105"/>
                  <a:pt x="160" y="105"/>
                </a:cubicBezTo>
                <a:cubicBezTo>
                  <a:pt x="160" y="6"/>
                  <a:pt x="160" y="6"/>
                  <a:pt x="160" y="6"/>
                </a:cubicBezTo>
                <a:cubicBezTo>
                  <a:pt x="160" y="5"/>
                  <a:pt x="159" y="3"/>
                  <a:pt x="158" y="2"/>
                </a:cubicBezTo>
                <a:close/>
                <a:moveTo>
                  <a:pt x="49" y="137"/>
                </a:moveTo>
                <a:cubicBezTo>
                  <a:pt x="49" y="143"/>
                  <a:pt x="45" y="147"/>
                  <a:pt x="39" y="147"/>
                </a:cubicBezTo>
                <a:cubicBezTo>
                  <a:pt x="23" y="147"/>
                  <a:pt x="23" y="147"/>
                  <a:pt x="23" y="147"/>
                </a:cubicBezTo>
                <a:cubicBezTo>
                  <a:pt x="17" y="147"/>
                  <a:pt x="13" y="143"/>
                  <a:pt x="13" y="137"/>
                </a:cubicBezTo>
                <a:cubicBezTo>
                  <a:pt x="13" y="132"/>
                  <a:pt x="17" y="127"/>
                  <a:pt x="23" y="127"/>
                </a:cubicBezTo>
                <a:cubicBezTo>
                  <a:pt x="49" y="127"/>
                  <a:pt x="49" y="127"/>
                  <a:pt x="49" y="127"/>
                </a:cubicBezTo>
                <a:lnTo>
                  <a:pt x="49" y="137"/>
                </a:lnTo>
                <a:close/>
                <a:moveTo>
                  <a:pt x="147" y="121"/>
                </a:moveTo>
                <a:cubicBezTo>
                  <a:pt x="147" y="126"/>
                  <a:pt x="143" y="131"/>
                  <a:pt x="137" y="131"/>
                </a:cubicBezTo>
                <a:cubicBezTo>
                  <a:pt x="121" y="131"/>
                  <a:pt x="121" y="131"/>
                  <a:pt x="121" y="131"/>
                </a:cubicBezTo>
                <a:cubicBezTo>
                  <a:pt x="115" y="131"/>
                  <a:pt x="111" y="126"/>
                  <a:pt x="111" y="121"/>
                </a:cubicBezTo>
                <a:cubicBezTo>
                  <a:pt x="111" y="115"/>
                  <a:pt x="115" y="111"/>
                  <a:pt x="121" y="111"/>
                </a:cubicBezTo>
                <a:cubicBezTo>
                  <a:pt x="147" y="111"/>
                  <a:pt x="147" y="111"/>
                  <a:pt x="147" y="111"/>
                </a:cubicBezTo>
                <a:lnTo>
                  <a:pt x="147" y="121"/>
                </a:lnTo>
                <a:close/>
              </a:path>
            </a:pathLst>
          </a:custGeom>
          <a:solidFill>
            <a:srgbClr val="FFFFFF"/>
          </a:solidFill>
          <a:ln>
            <a:noFill/>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13" name="Freeform 75">
            <a:extLst>
              <a:ext uri="{FF2B5EF4-FFF2-40B4-BE49-F238E27FC236}">
                <a16:creationId xmlns:a16="http://schemas.microsoft.com/office/drawing/2014/main" id="{97B00E65-4CCD-4826-A869-E46CA8A437D6}"/>
              </a:ext>
            </a:extLst>
          </p:cNvPr>
          <p:cNvSpPr>
            <a:spLocks noEditPoints="1"/>
          </p:cNvSpPr>
          <p:nvPr/>
        </p:nvSpPr>
        <p:spPr bwMode="auto">
          <a:xfrm>
            <a:off x="6857216" y="3008433"/>
            <a:ext cx="416796" cy="416794"/>
          </a:xfrm>
          <a:custGeom>
            <a:avLst/>
            <a:gdLst>
              <a:gd name="T0" fmla="*/ 409222 w 162"/>
              <a:gd name="T1" fmla="*/ 380882 h 161"/>
              <a:gd name="T2" fmla="*/ 402402 w 162"/>
              <a:gd name="T3" fmla="*/ 374019 h 161"/>
              <a:gd name="T4" fmla="*/ 341019 w 162"/>
              <a:gd name="T5" fmla="*/ 312254 h 161"/>
              <a:gd name="T6" fmla="*/ 225072 w 162"/>
              <a:gd name="T7" fmla="*/ 192157 h 161"/>
              <a:gd name="T8" fmla="*/ 40922 w 162"/>
              <a:gd name="T9" fmla="*/ 10294 h 161"/>
              <a:gd name="T10" fmla="*/ 10231 w 162"/>
              <a:gd name="T11" fmla="*/ 41176 h 161"/>
              <a:gd name="T12" fmla="*/ 184150 w 162"/>
              <a:gd name="T13" fmla="*/ 277941 h 161"/>
              <a:gd name="T14" fmla="*/ 276225 w 162"/>
              <a:gd name="T15" fmla="*/ 370588 h 161"/>
              <a:gd name="T16" fmla="*/ 323968 w 162"/>
              <a:gd name="T17" fmla="*/ 356862 h 161"/>
              <a:gd name="T18" fmla="*/ 283045 w 162"/>
              <a:gd name="T19" fmla="*/ 418627 h 161"/>
              <a:gd name="T20" fmla="*/ 269405 w 162"/>
              <a:gd name="T21" fmla="*/ 418627 h 161"/>
              <a:gd name="T22" fmla="*/ 139818 w 162"/>
              <a:gd name="T23" fmla="*/ 277941 h 161"/>
              <a:gd name="T24" fmla="*/ 139818 w 162"/>
              <a:gd name="T25" fmla="*/ 233333 h 161"/>
              <a:gd name="T26" fmla="*/ 95485 w 162"/>
              <a:gd name="T27" fmla="*/ 233333 h 161"/>
              <a:gd name="T28" fmla="*/ 150048 w 162"/>
              <a:gd name="T29" fmla="*/ 408333 h 161"/>
              <a:gd name="T30" fmla="*/ 255764 w 162"/>
              <a:gd name="T31" fmla="*/ 507842 h 161"/>
              <a:gd name="T32" fmla="*/ 163689 w 162"/>
              <a:gd name="T33" fmla="*/ 531862 h 161"/>
              <a:gd name="T34" fmla="*/ 368300 w 162"/>
              <a:gd name="T35" fmla="*/ 552450 h 161"/>
              <a:gd name="T36" fmla="*/ 368300 w 162"/>
              <a:gd name="T37" fmla="*/ 507842 h 161"/>
              <a:gd name="T38" fmla="*/ 296686 w 162"/>
              <a:gd name="T39" fmla="*/ 459803 h 161"/>
              <a:gd name="T40" fmla="*/ 511528 w 162"/>
              <a:gd name="T41" fmla="*/ 545587 h 161"/>
              <a:gd name="T42" fmla="*/ 542219 w 162"/>
              <a:gd name="T43" fmla="*/ 545587 h 161"/>
              <a:gd name="T44" fmla="*/ 276225 w 162"/>
              <a:gd name="T45" fmla="*/ 325980 h 161"/>
              <a:gd name="T46" fmla="*/ 242123 w 162"/>
              <a:gd name="T47" fmla="*/ 312254 h 161"/>
              <a:gd name="T48" fmla="*/ 228482 w 162"/>
              <a:gd name="T49" fmla="*/ 264215 h 161"/>
              <a:gd name="T50" fmla="*/ 276225 w 162"/>
              <a:gd name="T51" fmla="*/ 325980 h 161"/>
              <a:gd name="T52" fmla="*/ 276225 w 162"/>
              <a:gd name="T53" fmla="*/ 3431 h 161"/>
              <a:gd name="T54" fmla="*/ 341019 w 162"/>
              <a:gd name="T55" fmla="*/ 30882 h 161"/>
              <a:gd name="T56" fmla="*/ 368300 w 162"/>
              <a:gd name="T57" fmla="*/ 216176 h 161"/>
              <a:gd name="T58" fmla="*/ 323968 w 162"/>
              <a:gd name="T59" fmla="*/ 216176 h 161"/>
              <a:gd name="T60" fmla="*/ 310327 w 162"/>
              <a:gd name="T61" fmla="*/ 61765 h 161"/>
              <a:gd name="T62" fmla="*/ 276225 w 162"/>
              <a:gd name="T63" fmla="*/ 48039 h 161"/>
              <a:gd name="T64" fmla="*/ 204611 w 162"/>
              <a:gd name="T65" fmla="*/ 102941 h 161"/>
              <a:gd name="T66" fmla="*/ 412632 w 162"/>
              <a:gd name="T67" fmla="*/ 301960 h 161"/>
              <a:gd name="T68" fmla="*/ 412632 w 162"/>
              <a:gd name="T69" fmla="*/ 233333 h 161"/>
              <a:gd name="T70" fmla="*/ 456965 w 162"/>
              <a:gd name="T71" fmla="*/ 233333 h 161"/>
              <a:gd name="T72" fmla="*/ 453555 w 162"/>
              <a:gd name="T73" fmla="*/ 308823 h 161"/>
              <a:gd name="T74" fmla="*/ 429683 w 162"/>
              <a:gd name="T75" fmla="*/ 329411 h 161"/>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162" h="161">
                <a:moveTo>
                  <a:pt x="159" y="150"/>
                </a:moveTo>
                <a:cubicBezTo>
                  <a:pt x="120" y="111"/>
                  <a:pt x="120" y="111"/>
                  <a:pt x="120" y="111"/>
                </a:cubicBezTo>
                <a:cubicBezTo>
                  <a:pt x="120" y="110"/>
                  <a:pt x="119" y="110"/>
                  <a:pt x="119" y="109"/>
                </a:cubicBezTo>
                <a:cubicBezTo>
                  <a:pt x="119" y="109"/>
                  <a:pt x="118" y="109"/>
                  <a:pt x="118" y="109"/>
                </a:cubicBezTo>
                <a:cubicBezTo>
                  <a:pt x="100" y="91"/>
                  <a:pt x="100" y="91"/>
                  <a:pt x="100" y="91"/>
                </a:cubicBezTo>
                <a:cubicBezTo>
                  <a:pt x="100" y="91"/>
                  <a:pt x="100" y="91"/>
                  <a:pt x="100" y="91"/>
                </a:cubicBezTo>
                <a:cubicBezTo>
                  <a:pt x="100" y="91"/>
                  <a:pt x="100" y="91"/>
                  <a:pt x="100" y="91"/>
                </a:cubicBezTo>
                <a:cubicBezTo>
                  <a:pt x="66" y="56"/>
                  <a:pt x="66" y="56"/>
                  <a:pt x="66" y="56"/>
                </a:cubicBezTo>
                <a:cubicBezTo>
                  <a:pt x="66" y="56"/>
                  <a:pt x="66" y="56"/>
                  <a:pt x="65" y="56"/>
                </a:cubicBezTo>
                <a:cubicBezTo>
                  <a:pt x="12" y="3"/>
                  <a:pt x="12" y="3"/>
                  <a:pt x="12" y="3"/>
                </a:cubicBezTo>
                <a:cubicBezTo>
                  <a:pt x="10" y="0"/>
                  <a:pt x="5" y="0"/>
                  <a:pt x="3" y="3"/>
                </a:cubicBezTo>
                <a:cubicBezTo>
                  <a:pt x="0" y="5"/>
                  <a:pt x="0" y="10"/>
                  <a:pt x="3" y="12"/>
                </a:cubicBezTo>
                <a:cubicBezTo>
                  <a:pt x="54" y="64"/>
                  <a:pt x="54" y="64"/>
                  <a:pt x="54" y="64"/>
                </a:cubicBezTo>
                <a:cubicBezTo>
                  <a:pt x="54" y="81"/>
                  <a:pt x="54" y="81"/>
                  <a:pt x="54" y="81"/>
                </a:cubicBezTo>
                <a:cubicBezTo>
                  <a:pt x="54" y="88"/>
                  <a:pt x="57" y="95"/>
                  <a:pt x="62" y="100"/>
                </a:cubicBezTo>
                <a:cubicBezTo>
                  <a:pt x="67" y="105"/>
                  <a:pt x="74" y="108"/>
                  <a:pt x="81" y="108"/>
                </a:cubicBezTo>
                <a:cubicBezTo>
                  <a:pt x="81" y="108"/>
                  <a:pt x="81" y="108"/>
                  <a:pt x="81" y="108"/>
                </a:cubicBezTo>
                <a:cubicBezTo>
                  <a:pt x="86" y="108"/>
                  <a:pt x="91" y="106"/>
                  <a:pt x="95" y="104"/>
                </a:cubicBezTo>
                <a:cubicBezTo>
                  <a:pt x="105" y="114"/>
                  <a:pt x="105" y="114"/>
                  <a:pt x="105" y="114"/>
                </a:cubicBezTo>
                <a:cubicBezTo>
                  <a:pt x="98" y="119"/>
                  <a:pt x="90" y="121"/>
                  <a:pt x="83" y="122"/>
                </a:cubicBezTo>
                <a:cubicBezTo>
                  <a:pt x="82" y="121"/>
                  <a:pt x="82" y="121"/>
                  <a:pt x="81" y="121"/>
                </a:cubicBezTo>
                <a:cubicBezTo>
                  <a:pt x="80" y="121"/>
                  <a:pt x="80" y="121"/>
                  <a:pt x="79" y="122"/>
                </a:cubicBezTo>
                <a:cubicBezTo>
                  <a:pt x="70" y="121"/>
                  <a:pt x="60" y="117"/>
                  <a:pt x="53" y="110"/>
                </a:cubicBezTo>
                <a:cubicBezTo>
                  <a:pt x="45" y="103"/>
                  <a:pt x="41" y="92"/>
                  <a:pt x="41" y="81"/>
                </a:cubicBezTo>
                <a:cubicBezTo>
                  <a:pt x="41" y="81"/>
                  <a:pt x="41" y="81"/>
                  <a:pt x="41" y="81"/>
                </a:cubicBezTo>
                <a:cubicBezTo>
                  <a:pt x="41" y="68"/>
                  <a:pt x="41" y="68"/>
                  <a:pt x="41" y="68"/>
                </a:cubicBezTo>
                <a:cubicBezTo>
                  <a:pt x="41" y="64"/>
                  <a:pt x="38" y="61"/>
                  <a:pt x="34" y="61"/>
                </a:cubicBezTo>
                <a:cubicBezTo>
                  <a:pt x="31" y="61"/>
                  <a:pt x="28" y="64"/>
                  <a:pt x="28" y="68"/>
                </a:cubicBezTo>
                <a:cubicBezTo>
                  <a:pt x="28" y="81"/>
                  <a:pt x="28" y="81"/>
                  <a:pt x="28" y="81"/>
                </a:cubicBezTo>
                <a:cubicBezTo>
                  <a:pt x="28" y="95"/>
                  <a:pt x="33" y="109"/>
                  <a:pt x="44" y="119"/>
                </a:cubicBezTo>
                <a:cubicBezTo>
                  <a:pt x="52" y="128"/>
                  <a:pt x="63" y="133"/>
                  <a:pt x="75" y="134"/>
                </a:cubicBezTo>
                <a:cubicBezTo>
                  <a:pt x="75" y="148"/>
                  <a:pt x="75" y="148"/>
                  <a:pt x="75" y="148"/>
                </a:cubicBezTo>
                <a:cubicBezTo>
                  <a:pt x="54" y="148"/>
                  <a:pt x="54" y="148"/>
                  <a:pt x="54" y="148"/>
                </a:cubicBezTo>
                <a:cubicBezTo>
                  <a:pt x="51" y="148"/>
                  <a:pt x="48" y="151"/>
                  <a:pt x="48" y="155"/>
                </a:cubicBezTo>
                <a:cubicBezTo>
                  <a:pt x="48" y="158"/>
                  <a:pt x="51" y="161"/>
                  <a:pt x="54" y="161"/>
                </a:cubicBezTo>
                <a:cubicBezTo>
                  <a:pt x="108" y="161"/>
                  <a:pt x="108" y="161"/>
                  <a:pt x="108" y="161"/>
                </a:cubicBezTo>
                <a:cubicBezTo>
                  <a:pt x="111" y="161"/>
                  <a:pt x="114" y="158"/>
                  <a:pt x="114" y="155"/>
                </a:cubicBezTo>
                <a:cubicBezTo>
                  <a:pt x="114" y="151"/>
                  <a:pt x="111" y="148"/>
                  <a:pt x="108" y="148"/>
                </a:cubicBezTo>
                <a:cubicBezTo>
                  <a:pt x="87" y="148"/>
                  <a:pt x="87" y="148"/>
                  <a:pt x="87" y="148"/>
                </a:cubicBezTo>
                <a:cubicBezTo>
                  <a:pt x="87" y="134"/>
                  <a:pt x="87" y="134"/>
                  <a:pt x="87" y="134"/>
                </a:cubicBezTo>
                <a:cubicBezTo>
                  <a:pt x="97" y="133"/>
                  <a:pt x="106" y="129"/>
                  <a:pt x="114" y="123"/>
                </a:cubicBezTo>
                <a:cubicBezTo>
                  <a:pt x="150" y="159"/>
                  <a:pt x="150" y="159"/>
                  <a:pt x="150" y="159"/>
                </a:cubicBezTo>
                <a:cubicBezTo>
                  <a:pt x="151" y="160"/>
                  <a:pt x="153" y="161"/>
                  <a:pt x="155" y="161"/>
                </a:cubicBezTo>
                <a:cubicBezTo>
                  <a:pt x="156" y="161"/>
                  <a:pt x="158" y="160"/>
                  <a:pt x="159" y="159"/>
                </a:cubicBezTo>
                <a:cubicBezTo>
                  <a:pt x="162" y="157"/>
                  <a:pt x="162" y="152"/>
                  <a:pt x="159" y="150"/>
                </a:cubicBezTo>
                <a:close/>
                <a:moveTo>
                  <a:pt x="81" y="95"/>
                </a:moveTo>
                <a:cubicBezTo>
                  <a:pt x="81" y="95"/>
                  <a:pt x="81" y="95"/>
                  <a:pt x="81" y="95"/>
                </a:cubicBezTo>
                <a:cubicBezTo>
                  <a:pt x="77" y="95"/>
                  <a:pt x="74" y="93"/>
                  <a:pt x="71" y="91"/>
                </a:cubicBezTo>
                <a:cubicBezTo>
                  <a:pt x="69" y="88"/>
                  <a:pt x="67" y="85"/>
                  <a:pt x="67" y="81"/>
                </a:cubicBezTo>
                <a:cubicBezTo>
                  <a:pt x="67" y="77"/>
                  <a:pt x="67" y="77"/>
                  <a:pt x="67" y="77"/>
                </a:cubicBezTo>
                <a:cubicBezTo>
                  <a:pt x="85" y="94"/>
                  <a:pt x="85" y="94"/>
                  <a:pt x="85" y="94"/>
                </a:cubicBezTo>
                <a:cubicBezTo>
                  <a:pt x="84" y="94"/>
                  <a:pt x="82" y="95"/>
                  <a:pt x="81" y="95"/>
                </a:cubicBezTo>
                <a:close/>
                <a:moveTo>
                  <a:pt x="55" y="22"/>
                </a:moveTo>
                <a:cubicBezTo>
                  <a:pt x="58" y="10"/>
                  <a:pt x="68" y="1"/>
                  <a:pt x="81" y="1"/>
                </a:cubicBezTo>
                <a:cubicBezTo>
                  <a:pt x="81" y="1"/>
                  <a:pt x="81" y="1"/>
                  <a:pt x="81" y="1"/>
                </a:cubicBezTo>
                <a:cubicBezTo>
                  <a:pt x="88" y="1"/>
                  <a:pt x="95" y="4"/>
                  <a:pt x="100" y="9"/>
                </a:cubicBezTo>
                <a:cubicBezTo>
                  <a:pt x="105" y="14"/>
                  <a:pt x="108" y="20"/>
                  <a:pt x="108" y="28"/>
                </a:cubicBezTo>
                <a:cubicBezTo>
                  <a:pt x="108" y="63"/>
                  <a:pt x="108" y="63"/>
                  <a:pt x="108" y="63"/>
                </a:cubicBezTo>
                <a:cubicBezTo>
                  <a:pt x="108" y="67"/>
                  <a:pt x="105" y="70"/>
                  <a:pt x="101" y="70"/>
                </a:cubicBezTo>
                <a:cubicBezTo>
                  <a:pt x="97" y="70"/>
                  <a:pt x="95" y="67"/>
                  <a:pt x="95" y="63"/>
                </a:cubicBezTo>
                <a:cubicBezTo>
                  <a:pt x="95" y="28"/>
                  <a:pt x="95" y="28"/>
                  <a:pt x="95" y="28"/>
                </a:cubicBezTo>
                <a:cubicBezTo>
                  <a:pt x="95" y="24"/>
                  <a:pt x="93" y="20"/>
                  <a:pt x="91" y="18"/>
                </a:cubicBezTo>
                <a:cubicBezTo>
                  <a:pt x="88" y="15"/>
                  <a:pt x="85" y="14"/>
                  <a:pt x="81" y="14"/>
                </a:cubicBezTo>
                <a:cubicBezTo>
                  <a:pt x="81" y="14"/>
                  <a:pt x="81" y="14"/>
                  <a:pt x="81" y="14"/>
                </a:cubicBezTo>
                <a:cubicBezTo>
                  <a:pt x="75" y="14"/>
                  <a:pt x="69" y="19"/>
                  <a:pt x="68" y="25"/>
                </a:cubicBezTo>
                <a:cubicBezTo>
                  <a:pt x="67" y="28"/>
                  <a:pt x="64" y="31"/>
                  <a:pt x="60" y="30"/>
                </a:cubicBezTo>
                <a:cubicBezTo>
                  <a:pt x="57" y="29"/>
                  <a:pt x="54" y="26"/>
                  <a:pt x="55" y="22"/>
                </a:cubicBezTo>
                <a:close/>
                <a:moveTo>
                  <a:pt x="121" y="88"/>
                </a:moveTo>
                <a:cubicBezTo>
                  <a:pt x="121" y="86"/>
                  <a:pt x="121" y="83"/>
                  <a:pt x="121" y="81"/>
                </a:cubicBezTo>
                <a:cubicBezTo>
                  <a:pt x="121" y="68"/>
                  <a:pt x="121" y="68"/>
                  <a:pt x="121" y="68"/>
                </a:cubicBezTo>
                <a:cubicBezTo>
                  <a:pt x="121" y="64"/>
                  <a:pt x="124" y="61"/>
                  <a:pt x="128" y="61"/>
                </a:cubicBezTo>
                <a:cubicBezTo>
                  <a:pt x="131" y="61"/>
                  <a:pt x="134" y="64"/>
                  <a:pt x="134" y="68"/>
                </a:cubicBezTo>
                <a:cubicBezTo>
                  <a:pt x="134" y="81"/>
                  <a:pt x="134" y="81"/>
                  <a:pt x="134" y="81"/>
                </a:cubicBezTo>
                <a:cubicBezTo>
                  <a:pt x="134" y="84"/>
                  <a:pt x="134" y="87"/>
                  <a:pt x="133" y="90"/>
                </a:cubicBezTo>
                <a:cubicBezTo>
                  <a:pt x="133" y="94"/>
                  <a:pt x="130" y="96"/>
                  <a:pt x="127" y="96"/>
                </a:cubicBezTo>
                <a:cubicBezTo>
                  <a:pt x="127" y="96"/>
                  <a:pt x="126" y="96"/>
                  <a:pt x="126" y="96"/>
                </a:cubicBezTo>
                <a:cubicBezTo>
                  <a:pt x="122" y="95"/>
                  <a:pt x="120" y="92"/>
                  <a:pt x="121" y="88"/>
                </a:cubicBezTo>
                <a:close/>
              </a:path>
            </a:pathLst>
          </a:custGeom>
          <a:solidFill>
            <a:srgbClr val="FFFFFF"/>
          </a:solidFill>
          <a:ln>
            <a:noFill/>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14" name="Freeform 61">
            <a:extLst>
              <a:ext uri="{FF2B5EF4-FFF2-40B4-BE49-F238E27FC236}">
                <a16:creationId xmlns:a16="http://schemas.microsoft.com/office/drawing/2014/main" id="{B0FCB2AA-3842-4C24-99E3-48668FA36445}"/>
              </a:ext>
            </a:extLst>
          </p:cNvPr>
          <p:cNvSpPr>
            <a:spLocks noEditPoints="1"/>
          </p:cNvSpPr>
          <p:nvPr/>
        </p:nvSpPr>
        <p:spPr bwMode="auto">
          <a:xfrm>
            <a:off x="4900293" y="4524853"/>
            <a:ext cx="387988" cy="391360"/>
          </a:xfrm>
          <a:custGeom>
            <a:avLst/>
            <a:gdLst>
              <a:gd name="T0" fmla="*/ 540884 w 161"/>
              <a:gd name="T1" fmla="*/ 137255 h 161"/>
              <a:gd name="T2" fmla="*/ 445634 w 161"/>
              <a:gd name="T3" fmla="*/ 233333 h 161"/>
              <a:gd name="T4" fmla="*/ 415018 w 161"/>
              <a:gd name="T5" fmla="*/ 233333 h 161"/>
              <a:gd name="T6" fmla="*/ 472849 w 161"/>
              <a:gd name="T7" fmla="*/ 144117 h 161"/>
              <a:gd name="T8" fmla="*/ 312965 w 161"/>
              <a:gd name="T9" fmla="*/ 123529 h 161"/>
              <a:gd name="T10" fmla="*/ 472849 w 161"/>
              <a:gd name="T11" fmla="*/ 99510 h 161"/>
              <a:gd name="T12" fmla="*/ 415018 w 161"/>
              <a:gd name="T13" fmla="*/ 10294 h 161"/>
              <a:gd name="T14" fmla="*/ 540884 w 161"/>
              <a:gd name="T15" fmla="*/ 106372 h 161"/>
              <a:gd name="T16" fmla="*/ 544286 w 161"/>
              <a:gd name="T17" fmla="*/ 109804 h 161"/>
              <a:gd name="T18" fmla="*/ 544286 w 161"/>
              <a:gd name="T19" fmla="*/ 116666 h 161"/>
              <a:gd name="T20" fmla="*/ 547688 w 161"/>
              <a:gd name="T21" fmla="*/ 123529 h 161"/>
              <a:gd name="T22" fmla="*/ 547688 w 161"/>
              <a:gd name="T23" fmla="*/ 123529 h 161"/>
              <a:gd name="T24" fmla="*/ 547688 w 161"/>
              <a:gd name="T25" fmla="*/ 126961 h 161"/>
              <a:gd name="T26" fmla="*/ 544286 w 161"/>
              <a:gd name="T27" fmla="*/ 130392 h 161"/>
              <a:gd name="T28" fmla="*/ 544286 w 161"/>
              <a:gd name="T29" fmla="*/ 133823 h 161"/>
              <a:gd name="T30" fmla="*/ 523875 w 161"/>
              <a:gd name="T31" fmla="*/ 480391 h 161"/>
              <a:gd name="T32" fmla="*/ 452438 w 161"/>
              <a:gd name="T33" fmla="*/ 552450 h 161"/>
              <a:gd name="T34" fmla="*/ 445634 w 161"/>
              <a:gd name="T35" fmla="*/ 552450 h 161"/>
              <a:gd name="T36" fmla="*/ 81643 w 161"/>
              <a:gd name="T37" fmla="*/ 322548 h 161"/>
              <a:gd name="T38" fmla="*/ 3402 w 161"/>
              <a:gd name="T39" fmla="*/ 102941 h 161"/>
              <a:gd name="T40" fmla="*/ 74839 w 161"/>
              <a:gd name="T41" fmla="*/ 27451 h 161"/>
              <a:gd name="T42" fmla="*/ 214313 w 161"/>
              <a:gd name="T43" fmla="*/ 89216 h 161"/>
              <a:gd name="T44" fmla="*/ 231322 w 161"/>
              <a:gd name="T45" fmla="*/ 150980 h 161"/>
              <a:gd name="T46" fmla="*/ 214313 w 161"/>
              <a:gd name="T47" fmla="*/ 226470 h 161"/>
              <a:gd name="T48" fmla="*/ 309563 w 161"/>
              <a:gd name="T49" fmla="*/ 356862 h 161"/>
              <a:gd name="T50" fmla="*/ 326572 w 161"/>
              <a:gd name="T51" fmla="*/ 339705 h 161"/>
              <a:gd name="T52" fmla="*/ 462643 w 161"/>
              <a:gd name="T53" fmla="*/ 339705 h 161"/>
              <a:gd name="T54" fmla="*/ 523875 w 161"/>
              <a:gd name="T55" fmla="*/ 408333 h 161"/>
              <a:gd name="T56" fmla="*/ 455840 w 161"/>
              <a:gd name="T57" fmla="*/ 380882 h 161"/>
              <a:gd name="T58" fmla="*/ 357188 w 161"/>
              <a:gd name="T59" fmla="*/ 370588 h 161"/>
              <a:gd name="T60" fmla="*/ 299357 w 161"/>
              <a:gd name="T61" fmla="*/ 404901 h 161"/>
              <a:gd name="T62" fmla="*/ 153080 w 161"/>
              <a:gd name="T63" fmla="*/ 226470 h 161"/>
              <a:gd name="T64" fmla="*/ 190500 w 161"/>
              <a:gd name="T65" fmla="*/ 168137 h 161"/>
              <a:gd name="T66" fmla="*/ 146277 w 161"/>
              <a:gd name="T67" fmla="*/ 72059 h 161"/>
              <a:gd name="T68" fmla="*/ 74839 w 161"/>
              <a:gd name="T69" fmla="*/ 72059 h 161"/>
              <a:gd name="T70" fmla="*/ 47625 w 161"/>
              <a:gd name="T71" fmla="*/ 99510 h 161"/>
              <a:gd name="T72" fmla="*/ 119063 w 161"/>
              <a:gd name="T73" fmla="*/ 298529 h 161"/>
              <a:gd name="T74" fmla="*/ 255134 w 161"/>
              <a:gd name="T75" fmla="*/ 435784 h 161"/>
              <a:gd name="T76" fmla="*/ 452438 w 161"/>
              <a:gd name="T77" fmla="*/ 507842 h 161"/>
              <a:gd name="T78" fmla="*/ 479652 w 161"/>
              <a:gd name="T79" fmla="*/ 408333 h 161"/>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161" h="161">
                <a:moveTo>
                  <a:pt x="160" y="39"/>
                </a:moveTo>
                <a:cubicBezTo>
                  <a:pt x="159" y="39"/>
                  <a:pt x="159" y="40"/>
                  <a:pt x="159" y="40"/>
                </a:cubicBezTo>
                <a:cubicBezTo>
                  <a:pt x="159" y="40"/>
                  <a:pt x="159" y="40"/>
                  <a:pt x="159" y="40"/>
                </a:cubicBezTo>
                <a:cubicBezTo>
                  <a:pt x="131" y="68"/>
                  <a:pt x="131" y="68"/>
                  <a:pt x="131" y="68"/>
                </a:cubicBezTo>
                <a:cubicBezTo>
                  <a:pt x="129" y="70"/>
                  <a:pt x="128" y="70"/>
                  <a:pt x="126" y="70"/>
                </a:cubicBezTo>
                <a:cubicBezTo>
                  <a:pt x="124" y="70"/>
                  <a:pt x="123" y="70"/>
                  <a:pt x="122" y="68"/>
                </a:cubicBezTo>
                <a:cubicBezTo>
                  <a:pt x="119" y="66"/>
                  <a:pt x="119" y="62"/>
                  <a:pt x="122" y="59"/>
                </a:cubicBezTo>
                <a:cubicBezTo>
                  <a:pt x="139" y="42"/>
                  <a:pt x="139" y="42"/>
                  <a:pt x="139" y="42"/>
                </a:cubicBezTo>
                <a:cubicBezTo>
                  <a:pt x="98" y="42"/>
                  <a:pt x="98" y="42"/>
                  <a:pt x="98" y="42"/>
                </a:cubicBezTo>
                <a:cubicBezTo>
                  <a:pt x="94" y="42"/>
                  <a:pt x="92" y="39"/>
                  <a:pt x="92" y="36"/>
                </a:cubicBezTo>
                <a:cubicBezTo>
                  <a:pt x="92" y="32"/>
                  <a:pt x="94" y="29"/>
                  <a:pt x="98" y="29"/>
                </a:cubicBezTo>
                <a:cubicBezTo>
                  <a:pt x="139" y="29"/>
                  <a:pt x="139" y="29"/>
                  <a:pt x="139" y="29"/>
                </a:cubicBezTo>
                <a:cubicBezTo>
                  <a:pt x="122" y="12"/>
                  <a:pt x="122" y="12"/>
                  <a:pt x="122" y="12"/>
                </a:cubicBezTo>
                <a:cubicBezTo>
                  <a:pt x="119" y="10"/>
                  <a:pt x="119" y="5"/>
                  <a:pt x="122" y="3"/>
                </a:cubicBezTo>
                <a:cubicBezTo>
                  <a:pt x="124" y="0"/>
                  <a:pt x="128" y="0"/>
                  <a:pt x="131" y="3"/>
                </a:cubicBezTo>
                <a:cubicBezTo>
                  <a:pt x="159" y="31"/>
                  <a:pt x="159" y="31"/>
                  <a:pt x="159" y="31"/>
                </a:cubicBezTo>
                <a:cubicBezTo>
                  <a:pt x="159" y="31"/>
                  <a:pt x="159" y="32"/>
                  <a:pt x="160" y="32"/>
                </a:cubicBezTo>
                <a:cubicBezTo>
                  <a:pt x="160" y="32"/>
                  <a:pt x="160" y="32"/>
                  <a:pt x="160" y="32"/>
                </a:cubicBezTo>
                <a:cubicBezTo>
                  <a:pt x="160" y="33"/>
                  <a:pt x="160" y="33"/>
                  <a:pt x="160" y="33"/>
                </a:cubicBezTo>
                <a:cubicBezTo>
                  <a:pt x="160" y="33"/>
                  <a:pt x="160" y="33"/>
                  <a:pt x="160" y="34"/>
                </a:cubicBezTo>
                <a:cubicBezTo>
                  <a:pt x="160" y="34"/>
                  <a:pt x="161" y="34"/>
                  <a:pt x="161" y="34"/>
                </a:cubicBezTo>
                <a:cubicBezTo>
                  <a:pt x="161" y="35"/>
                  <a:pt x="161" y="35"/>
                  <a:pt x="161" y="36"/>
                </a:cubicBezTo>
                <a:cubicBezTo>
                  <a:pt x="161" y="36"/>
                  <a:pt x="161" y="36"/>
                  <a:pt x="161" y="36"/>
                </a:cubicBezTo>
                <a:cubicBezTo>
                  <a:pt x="161" y="36"/>
                  <a:pt x="161" y="36"/>
                  <a:pt x="161" y="36"/>
                </a:cubicBezTo>
                <a:cubicBezTo>
                  <a:pt x="161" y="36"/>
                  <a:pt x="161" y="36"/>
                  <a:pt x="161" y="36"/>
                </a:cubicBezTo>
                <a:cubicBezTo>
                  <a:pt x="161" y="36"/>
                  <a:pt x="161" y="36"/>
                  <a:pt x="161" y="37"/>
                </a:cubicBezTo>
                <a:cubicBezTo>
                  <a:pt x="161" y="37"/>
                  <a:pt x="160" y="37"/>
                  <a:pt x="160" y="38"/>
                </a:cubicBezTo>
                <a:cubicBezTo>
                  <a:pt x="160" y="38"/>
                  <a:pt x="160" y="38"/>
                  <a:pt x="160" y="38"/>
                </a:cubicBezTo>
                <a:cubicBezTo>
                  <a:pt x="160" y="38"/>
                  <a:pt x="160" y="39"/>
                  <a:pt x="160" y="39"/>
                </a:cubicBezTo>
                <a:cubicBezTo>
                  <a:pt x="160" y="39"/>
                  <a:pt x="160" y="39"/>
                  <a:pt x="160" y="39"/>
                </a:cubicBezTo>
                <a:close/>
                <a:moveTo>
                  <a:pt x="154" y="119"/>
                </a:moveTo>
                <a:cubicBezTo>
                  <a:pt x="154" y="140"/>
                  <a:pt x="154" y="140"/>
                  <a:pt x="154" y="140"/>
                </a:cubicBezTo>
                <a:cubicBezTo>
                  <a:pt x="154" y="152"/>
                  <a:pt x="145" y="161"/>
                  <a:pt x="133" y="161"/>
                </a:cubicBezTo>
                <a:cubicBezTo>
                  <a:pt x="133" y="161"/>
                  <a:pt x="133" y="161"/>
                  <a:pt x="133" y="161"/>
                </a:cubicBezTo>
                <a:cubicBezTo>
                  <a:pt x="133" y="161"/>
                  <a:pt x="132" y="161"/>
                  <a:pt x="131" y="161"/>
                </a:cubicBezTo>
                <a:cubicBezTo>
                  <a:pt x="131" y="161"/>
                  <a:pt x="131" y="161"/>
                  <a:pt x="131" y="161"/>
                </a:cubicBezTo>
                <a:cubicBezTo>
                  <a:pt x="109" y="158"/>
                  <a:pt x="87" y="151"/>
                  <a:pt x="68" y="138"/>
                </a:cubicBezTo>
                <a:cubicBezTo>
                  <a:pt x="50" y="127"/>
                  <a:pt x="35" y="112"/>
                  <a:pt x="24" y="94"/>
                </a:cubicBezTo>
                <a:cubicBezTo>
                  <a:pt x="11" y="75"/>
                  <a:pt x="3" y="53"/>
                  <a:pt x="1" y="30"/>
                </a:cubicBezTo>
                <a:cubicBezTo>
                  <a:pt x="1" y="30"/>
                  <a:pt x="1" y="30"/>
                  <a:pt x="1" y="30"/>
                </a:cubicBezTo>
                <a:cubicBezTo>
                  <a:pt x="0" y="19"/>
                  <a:pt x="8" y="9"/>
                  <a:pt x="20" y="8"/>
                </a:cubicBezTo>
                <a:cubicBezTo>
                  <a:pt x="20" y="8"/>
                  <a:pt x="21" y="8"/>
                  <a:pt x="22" y="8"/>
                </a:cubicBezTo>
                <a:cubicBezTo>
                  <a:pt x="43" y="8"/>
                  <a:pt x="43" y="8"/>
                  <a:pt x="43" y="8"/>
                </a:cubicBezTo>
                <a:cubicBezTo>
                  <a:pt x="53" y="8"/>
                  <a:pt x="62" y="16"/>
                  <a:pt x="63" y="26"/>
                </a:cubicBezTo>
                <a:cubicBezTo>
                  <a:pt x="63" y="26"/>
                  <a:pt x="63" y="26"/>
                  <a:pt x="63" y="26"/>
                </a:cubicBezTo>
                <a:cubicBezTo>
                  <a:pt x="64" y="32"/>
                  <a:pt x="65" y="38"/>
                  <a:pt x="68" y="44"/>
                </a:cubicBezTo>
                <a:cubicBezTo>
                  <a:pt x="70" y="52"/>
                  <a:pt x="69" y="60"/>
                  <a:pt x="63" y="66"/>
                </a:cubicBezTo>
                <a:cubicBezTo>
                  <a:pt x="63" y="66"/>
                  <a:pt x="63" y="66"/>
                  <a:pt x="63" y="66"/>
                </a:cubicBezTo>
                <a:cubicBezTo>
                  <a:pt x="58" y="71"/>
                  <a:pt x="58" y="71"/>
                  <a:pt x="58" y="71"/>
                </a:cubicBezTo>
                <a:cubicBezTo>
                  <a:pt x="66" y="84"/>
                  <a:pt x="77" y="96"/>
                  <a:pt x="91" y="104"/>
                </a:cubicBezTo>
                <a:cubicBezTo>
                  <a:pt x="96" y="99"/>
                  <a:pt x="96" y="99"/>
                  <a:pt x="96" y="99"/>
                </a:cubicBezTo>
                <a:cubicBezTo>
                  <a:pt x="96" y="99"/>
                  <a:pt x="96" y="99"/>
                  <a:pt x="96" y="99"/>
                </a:cubicBezTo>
                <a:cubicBezTo>
                  <a:pt x="102" y="93"/>
                  <a:pt x="110" y="91"/>
                  <a:pt x="118" y="94"/>
                </a:cubicBezTo>
                <a:cubicBezTo>
                  <a:pt x="124" y="96"/>
                  <a:pt x="130" y="98"/>
                  <a:pt x="136" y="99"/>
                </a:cubicBezTo>
                <a:cubicBezTo>
                  <a:pt x="136" y="99"/>
                  <a:pt x="136" y="99"/>
                  <a:pt x="136" y="99"/>
                </a:cubicBezTo>
                <a:cubicBezTo>
                  <a:pt x="146" y="100"/>
                  <a:pt x="154" y="109"/>
                  <a:pt x="154" y="119"/>
                </a:cubicBezTo>
                <a:close/>
                <a:moveTo>
                  <a:pt x="141" y="119"/>
                </a:moveTo>
                <a:cubicBezTo>
                  <a:pt x="141" y="115"/>
                  <a:pt x="138" y="112"/>
                  <a:pt x="134" y="111"/>
                </a:cubicBezTo>
                <a:cubicBezTo>
                  <a:pt x="127" y="111"/>
                  <a:pt x="120" y="109"/>
                  <a:pt x="113" y="106"/>
                </a:cubicBezTo>
                <a:cubicBezTo>
                  <a:pt x="110" y="105"/>
                  <a:pt x="107" y="106"/>
                  <a:pt x="105" y="108"/>
                </a:cubicBezTo>
                <a:cubicBezTo>
                  <a:pt x="96" y="117"/>
                  <a:pt x="96" y="117"/>
                  <a:pt x="96" y="117"/>
                </a:cubicBezTo>
                <a:cubicBezTo>
                  <a:pt x="94" y="119"/>
                  <a:pt x="91" y="119"/>
                  <a:pt x="88" y="118"/>
                </a:cubicBezTo>
                <a:cubicBezTo>
                  <a:pt x="70" y="107"/>
                  <a:pt x="54" y="92"/>
                  <a:pt x="44" y="73"/>
                </a:cubicBezTo>
                <a:cubicBezTo>
                  <a:pt x="42" y="71"/>
                  <a:pt x="43" y="68"/>
                  <a:pt x="45" y="66"/>
                </a:cubicBezTo>
                <a:cubicBezTo>
                  <a:pt x="54" y="57"/>
                  <a:pt x="54" y="57"/>
                  <a:pt x="54" y="57"/>
                </a:cubicBezTo>
                <a:cubicBezTo>
                  <a:pt x="56" y="54"/>
                  <a:pt x="57" y="51"/>
                  <a:pt x="56" y="49"/>
                </a:cubicBezTo>
                <a:cubicBezTo>
                  <a:pt x="53" y="42"/>
                  <a:pt x="51" y="35"/>
                  <a:pt x="50" y="27"/>
                </a:cubicBezTo>
                <a:cubicBezTo>
                  <a:pt x="50" y="24"/>
                  <a:pt x="46" y="21"/>
                  <a:pt x="43" y="21"/>
                </a:cubicBezTo>
                <a:cubicBezTo>
                  <a:pt x="43" y="21"/>
                  <a:pt x="43" y="21"/>
                  <a:pt x="43" y="21"/>
                </a:cubicBezTo>
                <a:cubicBezTo>
                  <a:pt x="22" y="21"/>
                  <a:pt x="22" y="21"/>
                  <a:pt x="22" y="21"/>
                </a:cubicBezTo>
                <a:cubicBezTo>
                  <a:pt x="21" y="21"/>
                  <a:pt x="21" y="21"/>
                  <a:pt x="21" y="21"/>
                </a:cubicBezTo>
                <a:cubicBezTo>
                  <a:pt x="17" y="21"/>
                  <a:pt x="14" y="25"/>
                  <a:pt x="14" y="29"/>
                </a:cubicBezTo>
                <a:cubicBezTo>
                  <a:pt x="16" y="50"/>
                  <a:pt x="23" y="70"/>
                  <a:pt x="35" y="87"/>
                </a:cubicBezTo>
                <a:cubicBezTo>
                  <a:pt x="35" y="87"/>
                  <a:pt x="35" y="87"/>
                  <a:pt x="35" y="87"/>
                </a:cubicBezTo>
                <a:cubicBezTo>
                  <a:pt x="45" y="103"/>
                  <a:pt x="59" y="117"/>
                  <a:pt x="75" y="127"/>
                </a:cubicBezTo>
                <a:cubicBezTo>
                  <a:pt x="75" y="127"/>
                  <a:pt x="75" y="127"/>
                  <a:pt x="75" y="127"/>
                </a:cubicBezTo>
                <a:cubicBezTo>
                  <a:pt x="92" y="139"/>
                  <a:pt x="112" y="146"/>
                  <a:pt x="133" y="148"/>
                </a:cubicBezTo>
                <a:cubicBezTo>
                  <a:pt x="133" y="148"/>
                  <a:pt x="133" y="148"/>
                  <a:pt x="133" y="148"/>
                </a:cubicBezTo>
                <a:cubicBezTo>
                  <a:pt x="137" y="148"/>
                  <a:pt x="141" y="145"/>
                  <a:pt x="141" y="140"/>
                </a:cubicBezTo>
                <a:cubicBezTo>
                  <a:pt x="141" y="119"/>
                  <a:pt x="141" y="119"/>
                  <a:pt x="141" y="119"/>
                </a:cubicBezTo>
                <a:cubicBezTo>
                  <a:pt x="141" y="119"/>
                  <a:pt x="141" y="119"/>
                  <a:pt x="141" y="119"/>
                </a:cubicBezTo>
                <a:close/>
              </a:path>
            </a:pathLst>
          </a:custGeom>
          <a:solidFill>
            <a:srgbClr val="FFFFFF"/>
          </a:solidFill>
          <a:ln>
            <a:noFill/>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HarmonyOS Sans SC"/>
              <a:cs typeface="+mn-cs"/>
            </a:endParaRPr>
          </a:p>
        </p:txBody>
      </p:sp>
      <p:sp>
        <p:nvSpPr>
          <p:cNvPr id="15" name="Freeform 101">
            <a:extLst>
              <a:ext uri="{FF2B5EF4-FFF2-40B4-BE49-F238E27FC236}">
                <a16:creationId xmlns:a16="http://schemas.microsoft.com/office/drawing/2014/main" id="{BD517FF8-FDFB-464F-9070-4A77B4661C78}"/>
              </a:ext>
            </a:extLst>
          </p:cNvPr>
          <p:cNvSpPr>
            <a:spLocks noEditPoints="1"/>
          </p:cNvSpPr>
          <p:nvPr/>
        </p:nvSpPr>
        <p:spPr bwMode="auto">
          <a:xfrm>
            <a:off x="6611177" y="4824939"/>
            <a:ext cx="389112" cy="389110"/>
          </a:xfrm>
          <a:custGeom>
            <a:avLst/>
            <a:gdLst>
              <a:gd name="T0" fmla="*/ 498100 w 161"/>
              <a:gd name="T1" fmla="*/ 51495 h 160"/>
              <a:gd name="T2" fmla="*/ 375281 w 161"/>
              <a:gd name="T3" fmla="*/ 0 h 160"/>
              <a:gd name="T4" fmla="*/ 255873 w 161"/>
              <a:gd name="T5" fmla="*/ 51495 h 160"/>
              <a:gd name="T6" fmla="*/ 85291 w 161"/>
              <a:gd name="T7" fmla="*/ 219710 h 160"/>
              <a:gd name="T8" fmla="*/ 78468 w 161"/>
              <a:gd name="T9" fmla="*/ 236875 h 160"/>
              <a:gd name="T10" fmla="*/ 78468 w 161"/>
              <a:gd name="T11" fmla="*/ 442853 h 160"/>
              <a:gd name="T12" fmla="*/ 10235 w 161"/>
              <a:gd name="T13" fmla="*/ 511512 h 160"/>
              <a:gd name="T14" fmla="*/ 10235 w 161"/>
              <a:gd name="T15" fmla="*/ 542409 h 160"/>
              <a:gd name="T16" fmla="*/ 23882 w 161"/>
              <a:gd name="T17" fmla="*/ 549275 h 160"/>
              <a:gd name="T18" fmla="*/ 40940 w 161"/>
              <a:gd name="T19" fmla="*/ 542409 h 160"/>
              <a:gd name="T20" fmla="*/ 109173 w 161"/>
              <a:gd name="T21" fmla="*/ 473750 h 160"/>
              <a:gd name="T22" fmla="*/ 313871 w 161"/>
              <a:gd name="T23" fmla="*/ 473750 h 160"/>
              <a:gd name="T24" fmla="*/ 330930 w 161"/>
              <a:gd name="T25" fmla="*/ 466884 h 160"/>
              <a:gd name="T26" fmla="*/ 498100 w 161"/>
              <a:gd name="T27" fmla="*/ 295235 h 160"/>
              <a:gd name="T28" fmla="*/ 549275 w 161"/>
              <a:gd name="T29" fmla="*/ 175081 h 160"/>
              <a:gd name="T30" fmla="*/ 498100 w 161"/>
              <a:gd name="T31" fmla="*/ 51495 h 160"/>
              <a:gd name="T32" fmla="*/ 303636 w 161"/>
              <a:gd name="T33" fmla="*/ 429121 h 160"/>
              <a:gd name="T34" fmla="*/ 153524 w 161"/>
              <a:gd name="T35" fmla="*/ 429121 h 160"/>
              <a:gd name="T36" fmla="*/ 211522 w 161"/>
              <a:gd name="T37" fmla="*/ 374194 h 160"/>
              <a:gd name="T38" fmla="*/ 361634 w 161"/>
              <a:gd name="T39" fmla="*/ 374194 h 160"/>
              <a:gd name="T40" fmla="*/ 303636 w 161"/>
              <a:gd name="T41" fmla="*/ 429121 h 160"/>
              <a:gd name="T42" fmla="*/ 467395 w 161"/>
              <a:gd name="T43" fmla="*/ 264339 h 160"/>
              <a:gd name="T44" fmla="*/ 467395 w 161"/>
              <a:gd name="T45" fmla="*/ 264339 h 160"/>
              <a:gd name="T46" fmla="*/ 405986 w 161"/>
              <a:gd name="T47" fmla="*/ 329565 h 160"/>
              <a:gd name="T48" fmla="*/ 402574 w 161"/>
              <a:gd name="T49" fmla="*/ 329565 h 160"/>
              <a:gd name="T50" fmla="*/ 255873 w 161"/>
              <a:gd name="T51" fmla="*/ 329565 h 160"/>
              <a:gd name="T52" fmla="*/ 392339 w 161"/>
              <a:gd name="T53" fmla="*/ 188813 h 160"/>
              <a:gd name="T54" fmla="*/ 392339 w 161"/>
              <a:gd name="T55" fmla="*/ 157917 h 160"/>
              <a:gd name="T56" fmla="*/ 361634 w 161"/>
              <a:gd name="T57" fmla="*/ 157917 h 160"/>
              <a:gd name="T58" fmla="*/ 184229 w 161"/>
              <a:gd name="T59" fmla="*/ 332998 h 160"/>
              <a:gd name="T60" fmla="*/ 184229 w 161"/>
              <a:gd name="T61" fmla="*/ 336431 h 160"/>
              <a:gd name="T62" fmla="*/ 122819 w 161"/>
              <a:gd name="T63" fmla="*/ 398224 h 160"/>
              <a:gd name="T64" fmla="*/ 122819 w 161"/>
              <a:gd name="T65" fmla="*/ 247174 h 160"/>
              <a:gd name="T66" fmla="*/ 286578 w 161"/>
              <a:gd name="T67" fmla="*/ 82391 h 160"/>
              <a:gd name="T68" fmla="*/ 375281 w 161"/>
              <a:gd name="T69" fmla="*/ 44629 h 160"/>
              <a:gd name="T70" fmla="*/ 467395 w 161"/>
              <a:gd name="T71" fmla="*/ 82391 h 160"/>
              <a:gd name="T72" fmla="*/ 504924 w 161"/>
              <a:gd name="T73" fmla="*/ 175081 h 160"/>
              <a:gd name="T74" fmla="*/ 467395 w 161"/>
              <a:gd name="T75" fmla="*/ 264339 h 160"/>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161" h="160">
                <a:moveTo>
                  <a:pt x="146" y="15"/>
                </a:moveTo>
                <a:cubicBezTo>
                  <a:pt x="137" y="5"/>
                  <a:pt x="124" y="0"/>
                  <a:pt x="110" y="0"/>
                </a:cubicBezTo>
                <a:cubicBezTo>
                  <a:pt x="97" y="0"/>
                  <a:pt x="84" y="5"/>
                  <a:pt x="75" y="15"/>
                </a:cubicBezTo>
                <a:cubicBezTo>
                  <a:pt x="25" y="64"/>
                  <a:pt x="25" y="64"/>
                  <a:pt x="25" y="64"/>
                </a:cubicBezTo>
                <a:cubicBezTo>
                  <a:pt x="24" y="66"/>
                  <a:pt x="23" y="67"/>
                  <a:pt x="23" y="69"/>
                </a:cubicBezTo>
                <a:cubicBezTo>
                  <a:pt x="23" y="129"/>
                  <a:pt x="23" y="129"/>
                  <a:pt x="23" y="129"/>
                </a:cubicBezTo>
                <a:cubicBezTo>
                  <a:pt x="3" y="149"/>
                  <a:pt x="3" y="149"/>
                  <a:pt x="3" y="149"/>
                </a:cubicBezTo>
                <a:cubicBezTo>
                  <a:pt x="0" y="151"/>
                  <a:pt x="0" y="156"/>
                  <a:pt x="3" y="158"/>
                </a:cubicBezTo>
                <a:cubicBezTo>
                  <a:pt x="4" y="159"/>
                  <a:pt x="6" y="160"/>
                  <a:pt x="7" y="160"/>
                </a:cubicBezTo>
                <a:cubicBezTo>
                  <a:pt x="9" y="160"/>
                  <a:pt x="11" y="159"/>
                  <a:pt x="12" y="158"/>
                </a:cubicBezTo>
                <a:cubicBezTo>
                  <a:pt x="32" y="138"/>
                  <a:pt x="32" y="138"/>
                  <a:pt x="32" y="138"/>
                </a:cubicBezTo>
                <a:cubicBezTo>
                  <a:pt x="92" y="138"/>
                  <a:pt x="92" y="138"/>
                  <a:pt x="92" y="138"/>
                </a:cubicBezTo>
                <a:cubicBezTo>
                  <a:pt x="94" y="138"/>
                  <a:pt x="95" y="137"/>
                  <a:pt x="97" y="136"/>
                </a:cubicBezTo>
                <a:cubicBezTo>
                  <a:pt x="146" y="86"/>
                  <a:pt x="146" y="86"/>
                  <a:pt x="146" y="86"/>
                </a:cubicBezTo>
                <a:cubicBezTo>
                  <a:pt x="156" y="77"/>
                  <a:pt x="161" y="64"/>
                  <a:pt x="161" y="51"/>
                </a:cubicBezTo>
                <a:cubicBezTo>
                  <a:pt x="161" y="37"/>
                  <a:pt x="156" y="24"/>
                  <a:pt x="146" y="15"/>
                </a:cubicBezTo>
                <a:close/>
                <a:moveTo>
                  <a:pt x="89" y="125"/>
                </a:moveTo>
                <a:cubicBezTo>
                  <a:pt x="45" y="125"/>
                  <a:pt x="45" y="125"/>
                  <a:pt x="45" y="125"/>
                </a:cubicBezTo>
                <a:cubicBezTo>
                  <a:pt x="62" y="109"/>
                  <a:pt x="62" y="109"/>
                  <a:pt x="62" y="109"/>
                </a:cubicBezTo>
                <a:cubicBezTo>
                  <a:pt x="106" y="109"/>
                  <a:pt x="106" y="109"/>
                  <a:pt x="106" y="109"/>
                </a:cubicBezTo>
                <a:lnTo>
                  <a:pt x="89" y="125"/>
                </a:lnTo>
                <a:close/>
                <a:moveTo>
                  <a:pt x="137" y="77"/>
                </a:moveTo>
                <a:cubicBezTo>
                  <a:pt x="137" y="77"/>
                  <a:pt x="137" y="77"/>
                  <a:pt x="137" y="77"/>
                </a:cubicBezTo>
                <a:cubicBezTo>
                  <a:pt x="119" y="96"/>
                  <a:pt x="119" y="96"/>
                  <a:pt x="119" y="96"/>
                </a:cubicBezTo>
                <a:cubicBezTo>
                  <a:pt x="118" y="96"/>
                  <a:pt x="118" y="96"/>
                  <a:pt x="118" y="96"/>
                </a:cubicBezTo>
                <a:cubicBezTo>
                  <a:pt x="75" y="96"/>
                  <a:pt x="75" y="96"/>
                  <a:pt x="75" y="96"/>
                </a:cubicBezTo>
                <a:cubicBezTo>
                  <a:pt x="115" y="55"/>
                  <a:pt x="115" y="55"/>
                  <a:pt x="115" y="55"/>
                </a:cubicBezTo>
                <a:cubicBezTo>
                  <a:pt x="117" y="53"/>
                  <a:pt x="117" y="49"/>
                  <a:pt x="115" y="46"/>
                </a:cubicBezTo>
                <a:cubicBezTo>
                  <a:pt x="112" y="44"/>
                  <a:pt x="108" y="44"/>
                  <a:pt x="106" y="46"/>
                </a:cubicBezTo>
                <a:cubicBezTo>
                  <a:pt x="54" y="97"/>
                  <a:pt x="54" y="97"/>
                  <a:pt x="54" y="97"/>
                </a:cubicBezTo>
                <a:cubicBezTo>
                  <a:pt x="54" y="98"/>
                  <a:pt x="54" y="98"/>
                  <a:pt x="54" y="98"/>
                </a:cubicBezTo>
                <a:cubicBezTo>
                  <a:pt x="36" y="116"/>
                  <a:pt x="36" y="116"/>
                  <a:pt x="36" y="116"/>
                </a:cubicBezTo>
                <a:cubicBezTo>
                  <a:pt x="36" y="72"/>
                  <a:pt x="36" y="72"/>
                  <a:pt x="36" y="72"/>
                </a:cubicBezTo>
                <a:cubicBezTo>
                  <a:pt x="84" y="24"/>
                  <a:pt x="84" y="24"/>
                  <a:pt x="84" y="24"/>
                </a:cubicBezTo>
                <a:cubicBezTo>
                  <a:pt x="91" y="17"/>
                  <a:pt x="100" y="13"/>
                  <a:pt x="110" y="13"/>
                </a:cubicBezTo>
                <a:cubicBezTo>
                  <a:pt x="120" y="13"/>
                  <a:pt x="130" y="17"/>
                  <a:pt x="137" y="24"/>
                </a:cubicBezTo>
                <a:cubicBezTo>
                  <a:pt x="144" y="31"/>
                  <a:pt x="148" y="41"/>
                  <a:pt x="148" y="51"/>
                </a:cubicBezTo>
                <a:cubicBezTo>
                  <a:pt x="148" y="61"/>
                  <a:pt x="144" y="70"/>
                  <a:pt x="137" y="77"/>
                </a:cubicBezTo>
                <a:close/>
              </a:path>
            </a:pathLst>
          </a:custGeom>
          <a:solidFill>
            <a:srgbClr val="FFFFFF"/>
          </a:solidFill>
          <a:ln>
            <a:noFill/>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16" name="文本框 15">
            <a:extLst>
              <a:ext uri="{FF2B5EF4-FFF2-40B4-BE49-F238E27FC236}">
                <a16:creationId xmlns:a16="http://schemas.microsoft.com/office/drawing/2014/main" id="{5D15016A-A4D7-435E-8BD8-F5047094B22F}"/>
              </a:ext>
            </a:extLst>
          </p:cNvPr>
          <p:cNvSpPr txBox="1"/>
          <p:nvPr/>
        </p:nvSpPr>
        <p:spPr>
          <a:xfrm>
            <a:off x="4449556" y="918105"/>
            <a:ext cx="3292889" cy="52322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2800" b="0" i="0" u="none" strike="noStrike" kern="1200" cap="none" spc="0" normalizeH="0" baseline="0" noProof="0" dirty="0">
                <a:ln>
                  <a:noFill/>
                </a:ln>
                <a:solidFill>
                  <a:prstClr val="black"/>
                </a:solidFill>
                <a:effectLst/>
                <a:uLnTx/>
                <a:uFillTx/>
                <a:latin typeface="HarmonyOS Sans Black"/>
                <a:ea typeface="+mj-ea"/>
                <a:cs typeface="+mn-cs"/>
              </a:rPr>
              <a:t>Circle </a:t>
            </a:r>
            <a:r>
              <a:rPr kumimoji="0" lang="en-US" altLang="zh-CN" sz="2800" b="0" i="0" u="none" strike="noStrike" kern="1200" cap="none" spc="0" normalizeH="0" baseline="0" noProof="0" dirty="0">
                <a:ln>
                  <a:noFill/>
                </a:ln>
                <a:solidFill>
                  <a:schemeClr val="accent1"/>
                </a:solidFill>
                <a:effectLst/>
                <a:uLnTx/>
                <a:uFillTx/>
                <a:latin typeface="HarmonyOS Sans Black"/>
                <a:ea typeface="+mj-ea"/>
                <a:cs typeface="+mn-cs"/>
              </a:rPr>
              <a:t>infographic</a:t>
            </a:r>
          </a:p>
        </p:txBody>
      </p:sp>
      <p:grpSp>
        <p:nvGrpSpPr>
          <p:cNvPr id="33" name="组合 32">
            <a:extLst>
              <a:ext uri="{FF2B5EF4-FFF2-40B4-BE49-F238E27FC236}">
                <a16:creationId xmlns:a16="http://schemas.microsoft.com/office/drawing/2014/main" id="{FAB32117-2587-4FF7-9FC8-F887C024F6FA}"/>
              </a:ext>
            </a:extLst>
          </p:cNvPr>
          <p:cNvGrpSpPr/>
          <p:nvPr/>
        </p:nvGrpSpPr>
        <p:grpSpPr>
          <a:xfrm>
            <a:off x="1748361" y="2822541"/>
            <a:ext cx="2262702" cy="846145"/>
            <a:chOff x="1508465" y="2482630"/>
            <a:chExt cx="2262702" cy="846145"/>
          </a:xfrm>
        </p:grpSpPr>
        <p:sp>
          <p:nvSpPr>
            <p:cNvPr id="37" name="TextBox 65">
              <a:extLst>
                <a:ext uri="{FF2B5EF4-FFF2-40B4-BE49-F238E27FC236}">
                  <a16:creationId xmlns:a16="http://schemas.microsoft.com/office/drawing/2014/main" id="{8B749F45-45E1-4FFC-A59B-649FDEB94DA0}"/>
                </a:ext>
              </a:extLst>
            </p:cNvPr>
            <p:cNvSpPr txBox="1"/>
            <p:nvPr/>
          </p:nvSpPr>
          <p:spPr>
            <a:xfrm>
              <a:off x="1714906" y="2482630"/>
              <a:ext cx="2056261" cy="352588"/>
            </a:xfrm>
            <a:prstGeom prst="rect">
              <a:avLst/>
            </a:prstGeom>
            <a:noFill/>
          </p:spPr>
          <p:txBody>
            <a:bodyPr wrap="square" lIns="0" tIns="36000" rIns="0" bIns="36000" rtlCol="0">
              <a:spAutoFit/>
            </a:bodyPr>
            <a:lstStyle/>
            <a:p>
              <a:pPr marL="0" marR="0" lvl="0" indent="0" algn="r" defTabSz="914400" rtl="0" eaLnBrk="1" fontAlgn="auto" latinLnBrk="0" hangingPunct="1">
                <a:lnSpc>
                  <a:spcPct val="120000"/>
                </a:lnSpc>
                <a:spcBef>
                  <a:spcPts val="600"/>
                </a:spcBef>
                <a:spcAft>
                  <a:spcPts val="0"/>
                </a:spcAft>
                <a:buClrTx/>
                <a:buSzTx/>
                <a:buFontTx/>
                <a:buNone/>
                <a:tabLst/>
                <a:defRPr/>
              </a:pPr>
              <a:r>
                <a:rPr kumimoji="0" lang="zh-CN" altLang="en-US" sz="1600" b="0" i="0" u="none" strike="noStrike" kern="1200" cap="none" spc="0" normalizeH="0" baseline="0" noProof="0" dirty="0">
                  <a:ln>
                    <a:noFill/>
                  </a:ln>
                  <a:solidFill>
                    <a:schemeClr val="accent1"/>
                  </a:solidFill>
                  <a:effectLst/>
                  <a:uLnTx/>
                  <a:uFillTx/>
                  <a:latin typeface="HarmonyOS Sans SC Black"/>
                  <a:ea typeface="+mj-ea"/>
                  <a:cs typeface="+mn-cs"/>
                </a:rPr>
                <a:t>关键词标题</a:t>
              </a:r>
              <a:endParaRPr kumimoji="0" lang="en-US" sz="1600" b="0" i="0" u="none" strike="noStrike" kern="1200" cap="none" spc="0" normalizeH="0" baseline="0" noProof="0" dirty="0">
                <a:ln>
                  <a:noFill/>
                </a:ln>
                <a:solidFill>
                  <a:schemeClr val="accent1"/>
                </a:solidFill>
                <a:effectLst/>
                <a:uLnTx/>
                <a:uFillTx/>
                <a:latin typeface="HarmonyOS Sans SC Black"/>
                <a:ea typeface="+mj-ea"/>
                <a:cs typeface="+mn-cs"/>
              </a:endParaRPr>
            </a:p>
          </p:txBody>
        </p:sp>
        <p:sp>
          <p:nvSpPr>
            <p:cNvPr id="38" name="TextBox 65">
              <a:extLst>
                <a:ext uri="{FF2B5EF4-FFF2-40B4-BE49-F238E27FC236}">
                  <a16:creationId xmlns:a16="http://schemas.microsoft.com/office/drawing/2014/main" id="{E6814FA7-FEA2-4B60-99D1-430D200B00C2}"/>
                </a:ext>
              </a:extLst>
            </p:cNvPr>
            <p:cNvSpPr txBox="1"/>
            <p:nvPr/>
          </p:nvSpPr>
          <p:spPr>
            <a:xfrm>
              <a:off x="1508465" y="2866029"/>
              <a:ext cx="2262702" cy="462746"/>
            </a:xfrm>
            <a:prstGeom prst="rect">
              <a:avLst/>
            </a:prstGeom>
            <a:noFill/>
          </p:spPr>
          <p:txBody>
            <a:bodyPr wrap="square" lIns="0" tIns="36000" rIns="0" bIns="36000" rtlCol="0">
              <a:spAutoFit/>
            </a:bodyPr>
            <a:lstStyle/>
            <a:p>
              <a:pPr marL="0" marR="0" lvl="0" indent="0" algn="r" defTabSz="914400" rtl="0" eaLnBrk="1" fontAlgn="auto" latinLnBrk="0" hangingPunct="1">
                <a:lnSpc>
                  <a:spcPct val="120000"/>
                </a:lnSpc>
                <a:spcBef>
                  <a:spcPts val="600"/>
                </a:spcBef>
                <a:spcAft>
                  <a:spcPts val="0"/>
                </a:spcAft>
                <a:buClrTx/>
                <a:buSzTx/>
                <a:buFontTx/>
                <a:buNone/>
                <a:tabLst/>
                <a:defRPr/>
              </a:pPr>
              <a:r>
                <a:rPr kumimoji="0" lang="en-US" sz="1100" b="0" i="0" u="none" strike="noStrike" kern="1200" cap="none" spc="0" normalizeH="0" baseline="0" noProof="0" dirty="0">
                  <a:ln>
                    <a:noFill/>
                  </a:ln>
                  <a:solidFill>
                    <a:prstClr val="black">
                      <a:lumMod val="50000"/>
                      <a:lumOff val="50000"/>
                    </a:prstClr>
                  </a:solidFill>
                  <a:effectLst/>
                  <a:uLnTx/>
                  <a:uFillTx/>
                  <a:latin typeface="HarmonyOS Sans SC"/>
                  <a:cs typeface="+mn-cs"/>
                </a:rPr>
                <a:t>Apparently we had reached a great height in the.</a:t>
              </a:r>
            </a:p>
          </p:txBody>
        </p:sp>
      </p:grpSp>
      <p:grpSp>
        <p:nvGrpSpPr>
          <p:cNvPr id="34" name="组合 33">
            <a:extLst>
              <a:ext uri="{FF2B5EF4-FFF2-40B4-BE49-F238E27FC236}">
                <a16:creationId xmlns:a16="http://schemas.microsoft.com/office/drawing/2014/main" id="{5F9374E9-E000-417C-B551-0A199645A446}"/>
              </a:ext>
            </a:extLst>
          </p:cNvPr>
          <p:cNvGrpSpPr/>
          <p:nvPr/>
        </p:nvGrpSpPr>
        <p:grpSpPr>
          <a:xfrm>
            <a:off x="1748361" y="4427646"/>
            <a:ext cx="2262702" cy="846145"/>
            <a:chOff x="1508465" y="2482630"/>
            <a:chExt cx="2262702" cy="846145"/>
          </a:xfrm>
        </p:grpSpPr>
        <p:sp>
          <p:nvSpPr>
            <p:cNvPr id="35" name="TextBox 65">
              <a:extLst>
                <a:ext uri="{FF2B5EF4-FFF2-40B4-BE49-F238E27FC236}">
                  <a16:creationId xmlns:a16="http://schemas.microsoft.com/office/drawing/2014/main" id="{FCC50B27-2405-4360-8E1F-A7FA4C2CB6F1}"/>
                </a:ext>
              </a:extLst>
            </p:cNvPr>
            <p:cNvSpPr txBox="1"/>
            <p:nvPr/>
          </p:nvSpPr>
          <p:spPr>
            <a:xfrm>
              <a:off x="1714906" y="2482630"/>
              <a:ext cx="2056261" cy="352588"/>
            </a:xfrm>
            <a:prstGeom prst="rect">
              <a:avLst/>
            </a:prstGeom>
            <a:noFill/>
          </p:spPr>
          <p:txBody>
            <a:bodyPr wrap="square" lIns="0" tIns="36000" rIns="0" bIns="36000" rtlCol="0">
              <a:spAutoFit/>
            </a:bodyPr>
            <a:lstStyle/>
            <a:p>
              <a:pPr marL="0" marR="0" lvl="0" indent="0" algn="r" defTabSz="914400" rtl="0" eaLnBrk="1" fontAlgn="auto" latinLnBrk="0" hangingPunct="1">
                <a:lnSpc>
                  <a:spcPct val="120000"/>
                </a:lnSpc>
                <a:spcBef>
                  <a:spcPts val="600"/>
                </a:spcBef>
                <a:spcAft>
                  <a:spcPts val="0"/>
                </a:spcAft>
                <a:buClrTx/>
                <a:buSzTx/>
                <a:buFontTx/>
                <a:buNone/>
                <a:tabLst/>
                <a:defRPr/>
              </a:pPr>
              <a:r>
                <a:rPr kumimoji="0" lang="zh-CN" altLang="en-US" sz="1600" b="0" i="0" u="none" strike="noStrike" kern="1200" cap="none" spc="0" normalizeH="0" baseline="0" noProof="0" dirty="0">
                  <a:ln>
                    <a:noFill/>
                  </a:ln>
                  <a:solidFill>
                    <a:schemeClr val="accent1"/>
                  </a:solidFill>
                  <a:effectLst/>
                  <a:uLnTx/>
                  <a:uFillTx/>
                  <a:latin typeface="HarmonyOS Sans SC Black"/>
                  <a:ea typeface="+mj-ea"/>
                  <a:cs typeface="+mn-cs"/>
                </a:rPr>
                <a:t>关键词标题</a:t>
              </a:r>
              <a:endParaRPr kumimoji="0" lang="en-US" sz="1600" b="0" i="0" u="none" strike="noStrike" kern="1200" cap="none" spc="0" normalizeH="0" baseline="0" noProof="0" dirty="0">
                <a:ln>
                  <a:noFill/>
                </a:ln>
                <a:solidFill>
                  <a:schemeClr val="accent1"/>
                </a:solidFill>
                <a:effectLst/>
                <a:uLnTx/>
                <a:uFillTx/>
                <a:latin typeface="HarmonyOS Sans SC Black"/>
                <a:ea typeface="+mj-ea"/>
                <a:cs typeface="+mn-cs"/>
              </a:endParaRPr>
            </a:p>
          </p:txBody>
        </p:sp>
        <p:sp>
          <p:nvSpPr>
            <p:cNvPr id="36" name="TextBox 65">
              <a:extLst>
                <a:ext uri="{FF2B5EF4-FFF2-40B4-BE49-F238E27FC236}">
                  <a16:creationId xmlns:a16="http://schemas.microsoft.com/office/drawing/2014/main" id="{110CF217-6458-4630-8553-DEC625A77EC5}"/>
                </a:ext>
              </a:extLst>
            </p:cNvPr>
            <p:cNvSpPr txBox="1"/>
            <p:nvPr/>
          </p:nvSpPr>
          <p:spPr>
            <a:xfrm>
              <a:off x="1508465" y="2866029"/>
              <a:ext cx="2262702" cy="462746"/>
            </a:xfrm>
            <a:prstGeom prst="rect">
              <a:avLst/>
            </a:prstGeom>
            <a:noFill/>
          </p:spPr>
          <p:txBody>
            <a:bodyPr wrap="square" lIns="0" tIns="36000" rIns="0" bIns="36000" rtlCol="0">
              <a:spAutoFit/>
            </a:bodyPr>
            <a:lstStyle/>
            <a:p>
              <a:pPr marL="0" marR="0" lvl="0" indent="0" algn="r" defTabSz="914400" rtl="0" eaLnBrk="1" fontAlgn="auto" latinLnBrk="0" hangingPunct="1">
                <a:lnSpc>
                  <a:spcPct val="120000"/>
                </a:lnSpc>
                <a:spcBef>
                  <a:spcPts val="600"/>
                </a:spcBef>
                <a:spcAft>
                  <a:spcPts val="0"/>
                </a:spcAft>
                <a:buClrTx/>
                <a:buSzTx/>
                <a:buFontTx/>
                <a:buNone/>
                <a:tabLst/>
                <a:defRPr/>
              </a:pPr>
              <a:r>
                <a:rPr kumimoji="0" lang="en-US" sz="1100" b="0" i="0" u="none" strike="noStrike" kern="1200" cap="none" spc="0" normalizeH="0" baseline="0" noProof="0" dirty="0">
                  <a:ln>
                    <a:noFill/>
                  </a:ln>
                  <a:solidFill>
                    <a:prstClr val="black">
                      <a:lumMod val="50000"/>
                      <a:lumOff val="50000"/>
                    </a:prstClr>
                  </a:solidFill>
                  <a:effectLst/>
                  <a:uLnTx/>
                  <a:uFillTx/>
                  <a:latin typeface="HarmonyOS Sans SC"/>
                  <a:cs typeface="+mn-cs"/>
                </a:rPr>
                <a:t>Apparently we had reached a great height in the.</a:t>
              </a:r>
            </a:p>
          </p:txBody>
        </p:sp>
      </p:grpSp>
      <p:grpSp>
        <p:nvGrpSpPr>
          <p:cNvPr id="39" name="组合 38">
            <a:extLst>
              <a:ext uri="{FF2B5EF4-FFF2-40B4-BE49-F238E27FC236}">
                <a16:creationId xmlns:a16="http://schemas.microsoft.com/office/drawing/2014/main" id="{70C8C7C0-EFBE-4EC5-AD59-0654664B4C98}"/>
              </a:ext>
            </a:extLst>
          </p:cNvPr>
          <p:cNvGrpSpPr/>
          <p:nvPr/>
        </p:nvGrpSpPr>
        <p:grpSpPr>
          <a:xfrm flipH="1">
            <a:off x="8180938" y="2822541"/>
            <a:ext cx="2262702" cy="2451250"/>
            <a:chOff x="1732299" y="2822541"/>
            <a:chExt cx="2262702" cy="2451250"/>
          </a:xfrm>
        </p:grpSpPr>
        <p:grpSp>
          <p:nvGrpSpPr>
            <p:cNvPr id="40" name="组合 39">
              <a:extLst>
                <a:ext uri="{FF2B5EF4-FFF2-40B4-BE49-F238E27FC236}">
                  <a16:creationId xmlns:a16="http://schemas.microsoft.com/office/drawing/2014/main" id="{6F0DEC5B-AB41-4C4C-9819-793B44862ED7}"/>
                </a:ext>
              </a:extLst>
            </p:cNvPr>
            <p:cNvGrpSpPr/>
            <p:nvPr/>
          </p:nvGrpSpPr>
          <p:grpSpPr>
            <a:xfrm>
              <a:off x="1732299" y="2822541"/>
              <a:ext cx="2262702" cy="846145"/>
              <a:chOff x="1508465" y="2482630"/>
              <a:chExt cx="2262702" cy="846145"/>
            </a:xfrm>
          </p:grpSpPr>
          <p:sp>
            <p:nvSpPr>
              <p:cNvPr id="44" name="TextBox 65">
                <a:extLst>
                  <a:ext uri="{FF2B5EF4-FFF2-40B4-BE49-F238E27FC236}">
                    <a16:creationId xmlns:a16="http://schemas.microsoft.com/office/drawing/2014/main" id="{C97334EB-D0E5-4341-B645-03F6D6A7312A}"/>
                  </a:ext>
                </a:extLst>
              </p:cNvPr>
              <p:cNvSpPr txBox="1"/>
              <p:nvPr/>
            </p:nvSpPr>
            <p:spPr>
              <a:xfrm>
                <a:off x="1714906" y="2482630"/>
                <a:ext cx="2056261" cy="352588"/>
              </a:xfrm>
              <a:prstGeom prst="rect">
                <a:avLst/>
              </a:prstGeom>
              <a:noFill/>
            </p:spPr>
            <p:txBody>
              <a:bodyPr wrap="square" lIns="0" tIns="36000" rIns="0" bIns="36000" rtlCol="0">
                <a:spAutoFit/>
              </a:bodyPr>
              <a:lstStyle/>
              <a:p>
                <a:pPr marL="0" marR="0" lvl="0" indent="0" algn="l" defTabSz="914400" rtl="0" eaLnBrk="1" fontAlgn="auto" latinLnBrk="0" hangingPunct="1">
                  <a:lnSpc>
                    <a:spcPct val="120000"/>
                  </a:lnSpc>
                  <a:spcBef>
                    <a:spcPts val="600"/>
                  </a:spcBef>
                  <a:spcAft>
                    <a:spcPts val="0"/>
                  </a:spcAft>
                  <a:buClrTx/>
                  <a:buSzTx/>
                  <a:buFontTx/>
                  <a:buNone/>
                  <a:tabLst/>
                  <a:defRPr/>
                </a:pPr>
                <a:r>
                  <a:rPr kumimoji="0" lang="zh-CN" altLang="en-US" sz="1600" b="0" i="0" u="none" strike="noStrike" kern="1200" cap="none" spc="0" normalizeH="0" baseline="0" noProof="0" dirty="0">
                    <a:ln>
                      <a:noFill/>
                    </a:ln>
                    <a:solidFill>
                      <a:schemeClr val="accent1"/>
                    </a:solidFill>
                    <a:effectLst/>
                    <a:uLnTx/>
                    <a:uFillTx/>
                    <a:latin typeface="HarmonyOS Sans SC Black"/>
                    <a:ea typeface="+mj-ea"/>
                    <a:cs typeface="+mn-cs"/>
                  </a:rPr>
                  <a:t>关键词标题</a:t>
                </a:r>
                <a:endParaRPr kumimoji="0" lang="en-US" sz="1600" b="0" i="0" u="none" strike="noStrike" kern="1200" cap="none" spc="0" normalizeH="0" baseline="0" noProof="0" dirty="0">
                  <a:ln>
                    <a:noFill/>
                  </a:ln>
                  <a:solidFill>
                    <a:schemeClr val="accent1"/>
                  </a:solidFill>
                  <a:effectLst/>
                  <a:uLnTx/>
                  <a:uFillTx/>
                  <a:latin typeface="HarmonyOS Sans SC Black"/>
                  <a:ea typeface="+mj-ea"/>
                  <a:cs typeface="+mn-cs"/>
                </a:endParaRPr>
              </a:p>
            </p:txBody>
          </p:sp>
          <p:sp>
            <p:nvSpPr>
              <p:cNvPr id="45" name="TextBox 65">
                <a:extLst>
                  <a:ext uri="{FF2B5EF4-FFF2-40B4-BE49-F238E27FC236}">
                    <a16:creationId xmlns:a16="http://schemas.microsoft.com/office/drawing/2014/main" id="{755BD465-25F0-4223-8029-40488B934DBA}"/>
                  </a:ext>
                </a:extLst>
              </p:cNvPr>
              <p:cNvSpPr txBox="1"/>
              <p:nvPr/>
            </p:nvSpPr>
            <p:spPr>
              <a:xfrm>
                <a:off x="1508465" y="2866029"/>
                <a:ext cx="2262702" cy="462746"/>
              </a:xfrm>
              <a:prstGeom prst="rect">
                <a:avLst/>
              </a:prstGeom>
              <a:noFill/>
            </p:spPr>
            <p:txBody>
              <a:bodyPr wrap="square" lIns="0" tIns="36000" rIns="0" bIns="36000" rtlCol="0">
                <a:spAutoFit/>
              </a:bodyPr>
              <a:lstStyle/>
              <a:p>
                <a:pPr marL="0" marR="0" lvl="0" indent="0" algn="l" defTabSz="914400" rtl="0" eaLnBrk="1" fontAlgn="auto" latinLnBrk="0" hangingPunct="1">
                  <a:lnSpc>
                    <a:spcPct val="120000"/>
                  </a:lnSpc>
                  <a:spcBef>
                    <a:spcPts val="600"/>
                  </a:spcBef>
                  <a:spcAft>
                    <a:spcPts val="0"/>
                  </a:spcAft>
                  <a:buClrTx/>
                  <a:buSzTx/>
                  <a:buFontTx/>
                  <a:buNone/>
                  <a:tabLst/>
                  <a:defRPr/>
                </a:pPr>
                <a:r>
                  <a:rPr kumimoji="0" lang="en-US" sz="1100" b="0" i="0" u="none" strike="noStrike" kern="1200" cap="none" spc="0" normalizeH="0" baseline="0" noProof="0" dirty="0">
                    <a:ln>
                      <a:noFill/>
                    </a:ln>
                    <a:solidFill>
                      <a:prstClr val="black">
                        <a:lumMod val="50000"/>
                        <a:lumOff val="50000"/>
                      </a:prstClr>
                    </a:solidFill>
                    <a:effectLst/>
                    <a:uLnTx/>
                    <a:uFillTx/>
                    <a:latin typeface="HarmonyOS Sans SC"/>
                    <a:cs typeface="+mn-cs"/>
                  </a:rPr>
                  <a:t>Apparently we had reached a great height in the.</a:t>
                </a:r>
              </a:p>
            </p:txBody>
          </p:sp>
        </p:grpSp>
        <p:grpSp>
          <p:nvGrpSpPr>
            <p:cNvPr id="41" name="组合 40">
              <a:extLst>
                <a:ext uri="{FF2B5EF4-FFF2-40B4-BE49-F238E27FC236}">
                  <a16:creationId xmlns:a16="http://schemas.microsoft.com/office/drawing/2014/main" id="{7E29C85E-E6C5-4405-9FBE-F2AC78F5E927}"/>
                </a:ext>
              </a:extLst>
            </p:cNvPr>
            <p:cNvGrpSpPr/>
            <p:nvPr/>
          </p:nvGrpSpPr>
          <p:grpSpPr>
            <a:xfrm>
              <a:off x="1732299" y="4427646"/>
              <a:ext cx="2262702" cy="846145"/>
              <a:chOff x="1508465" y="2482630"/>
              <a:chExt cx="2262702" cy="846145"/>
            </a:xfrm>
          </p:grpSpPr>
          <p:sp>
            <p:nvSpPr>
              <p:cNvPr id="42" name="TextBox 65">
                <a:extLst>
                  <a:ext uri="{FF2B5EF4-FFF2-40B4-BE49-F238E27FC236}">
                    <a16:creationId xmlns:a16="http://schemas.microsoft.com/office/drawing/2014/main" id="{89DE6350-3522-42F2-AEEA-6BD02B005D55}"/>
                  </a:ext>
                </a:extLst>
              </p:cNvPr>
              <p:cNvSpPr txBox="1"/>
              <p:nvPr/>
            </p:nvSpPr>
            <p:spPr>
              <a:xfrm>
                <a:off x="1714906" y="2482630"/>
                <a:ext cx="2056261" cy="352588"/>
              </a:xfrm>
              <a:prstGeom prst="rect">
                <a:avLst/>
              </a:prstGeom>
              <a:noFill/>
            </p:spPr>
            <p:txBody>
              <a:bodyPr wrap="square" lIns="0" tIns="36000" rIns="0" bIns="36000" rtlCol="0">
                <a:spAutoFit/>
              </a:bodyPr>
              <a:lstStyle/>
              <a:p>
                <a:pPr marL="0" marR="0" lvl="0" indent="0" algn="l" defTabSz="914400" rtl="0" eaLnBrk="1" fontAlgn="auto" latinLnBrk="0" hangingPunct="1">
                  <a:lnSpc>
                    <a:spcPct val="120000"/>
                  </a:lnSpc>
                  <a:spcBef>
                    <a:spcPts val="600"/>
                  </a:spcBef>
                  <a:spcAft>
                    <a:spcPts val="0"/>
                  </a:spcAft>
                  <a:buClrTx/>
                  <a:buSzTx/>
                  <a:buFontTx/>
                  <a:buNone/>
                  <a:tabLst/>
                  <a:defRPr/>
                </a:pPr>
                <a:r>
                  <a:rPr kumimoji="0" lang="zh-CN" altLang="en-US" sz="1600" b="0" i="0" u="none" strike="noStrike" kern="1200" cap="none" spc="0" normalizeH="0" baseline="0" noProof="0" dirty="0">
                    <a:ln>
                      <a:noFill/>
                    </a:ln>
                    <a:solidFill>
                      <a:schemeClr val="accent1"/>
                    </a:solidFill>
                    <a:effectLst/>
                    <a:uLnTx/>
                    <a:uFillTx/>
                    <a:latin typeface="HarmonyOS Sans SC Black"/>
                    <a:ea typeface="+mj-ea"/>
                    <a:cs typeface="+mn-cs"/>
                  </a:rPr>
                  <a:t>关键词标题</a:t>
                </a:r>
                <a:endParaRPr kumimoji="0" lang="en-US" sz="1600" b="0" i="0" u="none" strike="noStrike" kern="1200" cap="none" spc="0" normalizeH="0" baseline="0" noProof="0" dirty="0">
                  <a:ln>
                    <a:noFill/>
                  </a:ln>
                  <a:solidFill>
                    <a:schemeClr val="accent1"/>
                  </a:solidFill>
                  <a:effectLst/>
                  <a:uLnTx/>
                  <a:uFillTx/>
                  <a:latin typeface="HarmonyOS Sans SC Black"/>
                  <a:ea typeface="+mj-ea"/>
                  <a:cs typeface="+mn-cs"/>
                </a:endParaRPr>
              </a:p>
            </p:txBody>
          </p:sp>
          <p:sp>
            <p:nvSpPr>
              <p:cNvPr id="43" name="TextBox 65">
                <a:extLst>
                  <a:ext uri="{FF2B5EF4-FFF2-40B4-BE49-F238E27FC236}">
                    <a16:creationId xmlns:a16="http://schemas.microsoft.com/office/drawing/2014/main" id="{F1C73124-3E1A-4E20-95F0-F09B27882D8A}"/>
                  </a:ext>
                </a:extLst>
              </p:cNvPr>
              <p:cNvSpPr txBox="1"/>
              <p:nvPr/>
            </p:nvSpPr>
            <p:spPr>
              <a:xfrm>
                <a:off x="1508465" y="2866029"/>
                <a:ext cx="2262702" cy="462746"/>
              </a:xfrm>
              <a:prstGeom prst="rect">
                <a:avLst/>
              </a:prstGeom>
              <a:noFill/>
            </p:spPr>
            <p:txBody>
              <a:bodyPr wrap="square" lIns="0" tIns="36000" rIns="0" bIns="36000" rtlCol="0">
                <a:spAutoFit/>
              </a:bodyPr>
              <a:lstStyle/>
              <a:p>
                <a:pPr marL="0" marR="0" lvl="0" indent="0" algn="l" defTabSz="914400" rtl="0" eaLnBrk="1" fontAlgn="auto" latinLnBrk="0" hangingPunct="1">
                  <a:lnSpc>
                    <a:spcPct val="120000"/>
                  </a:lnSpc>
                  <a:spcBef>
                    <a:spcPts val="600"/>
                  </a:spcBef>
                  <a:spcAft>
                    <a:spcPts val="0"/>
                  </a:spcAft>
                  <a:buClrTx/>
                  <a:buSzTx/>
                  <a:buFontTx/>
                  <a:buNone/>
                  <a:tabLst/>
                  <a:defRPr/>
                </a:pPr>
                <a:r>
                  <a:rPr kumimoji="0" lang="en-US" sz="1100" b="0" i="0" u="none" strike="noStrike" kern="1200" cap="none" spc="0" normalizeH="0" baseline="0" noProof="0" dirty="0">
                    <a:ln>
                      <a:noFill/>
                    </a:ln>
                    <a:solidFill>
                      <a:prstClr val="black">
                        <a:lumMod val="50000"/>
                        <a:lumOff val="50000"/>
                      </a:prstClr>
                    </a:solidFill>
                    <a:effectLst/>
                    <a:uLnTx/>
                    <a:uFillTx/>
                    <a:latin typeface="HarmonyOS Sans SC"/>
                    <a:cs typeface="+mn-cs"/>
                  </a:rPr>
                  <a:t>Apparently we had reached a great height in the.</a:t>
                </a:r>
              </a:p>
            </p:txBody>
          </p:sp>
        </p:grpSp>
      </p:grpSp>
    </p:spTree>
    <p:extLst>
      <p:ext uri="{BB962C8B-B14F-4D97-AF65-F5344CB8AC3E}">
        <p14:creationId xmlns:p14="http://schemas.microsoft.com/office/powerpoint/2010/main" val="784650173"/>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5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reeform 12">
            <a:extLst>
              <a:ext uri="{FF2B5EF4-FFF2-40B4-BE49-F238E27FC236}">
                <a16:creationId xmlns:a16="http://schemas.microsoft.com/office/drawing/2014/main" id="{3C3F334F-6C77-46EE-800D-984519E5D436}"/>
              </a:ext>
            </a:extLst>
          </p:cNvPr>
          <p:cNvSpPr>
            <a:spLocks/>
          </p:cNvSpPr>
          <p:nvPr/>
        </p:nvSpPr>
        <p:spPr bwMode="auto">
          <a:xfrm>
            <a:off x="4210050" y="2047875"/>
            <a:ext cx="2370138" cy="1862138"/>
          </a:xfrm>
          <a:custGeom>
            <a:avLst/>
            <a:gdLst>
              <a:gd name="T0" fmla="*/ 962 w 1101"/>
              <a:gd name="T1" fmla="*/ 330 h 865"/>
              <a:gd name="T2" fmla="*/ 865 w 1101"/>
              <a:gd name="T3" fmla="*/ 369 h 865"/>
              <a:gd name="T4" fmla="*/ 865 w 1101"/>
              <a:gd name="T5" fmla="*/ 0 h 865"/>
              <a:gd name="T6" fmla="*/ 0 w 1101"/>
              <a:gd name="T7" fmla="*/ 865 h 865"/>
              <a:gd name="T8" fmla="*/ 342 w 1101"/>
              <a:gd name="T9" fmla="*/ 865 h 865"/>
              <a:gd name="T10" fmla="*/ 327 w 1101"/>
              <a:gd name="T11" fmla="*/ 799 h 865"/>
              <a:gd name="T12" fmla="*/ 484 w 1101"/>
              <a:gd name="T13" fmla="*/ 642 h 865"/>
              <a:gd name="T14" fmla="*/ 642 w 1101"/>
              <a:gd name="T15" fmla="*/ 799 h 865"/>
              <a:gd name="T16" fmla="*/ 627 w 1101"/>
              <a:gd name="T17" fmla="*/ 865 h 865"/>
              <a:gd name="T18" fmla="*/ 865 w 1101"/>
              <a:gd name="T19" fmla="*/ 865 h 865"/>
              <a:gd name="T20" fmla="*/ 865 w 1101"/>
              <a:gd name="T21" fmla="*/ 570 h 865"/>
              <a:gd name="T22" fmla="*/ 962 w 1101"/>
              <a:gd name="T23" fmla="*/ 609 h 865"/>
              <a:gd name="T24" fmla="*/ 1101 w 1101"/>
              <a:gd name="T25" fmla="*/ 469 h 865"/>
              <a:gd name="T26" fmla="*/ 962 w 1101"/>
              <a:gd name="T27" fmla="*/ 330 h 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01" h="865">
                <a:moveTo>
                  <a:pt x="962" y="330"/>
                </a:moveTo>
                <a:cubicBezTo>
                  <a:pt x="924" y="330"/>
                  <a:pt x="890" y="345"/>
                  <a:pt x="865" y="369"/>
                </a:cubicBezTo>
                <a:cubicBezTo>
                  <a:pt x="865" y="0"/>
                  <a:pt x="865" y="0"/>
                  <a:pt x="865" y="0"/>
                </a:cubicBezTo>
                <a:cubicBezTo>
                  <a:pt x="390" y="6"/>
                  <a:pt x="6" y="390"/>
                  <a:pt x="0" y="865"/>
                </a:cubicBezTo>
                <a:cubicBezTo>
                  <a:pt x="342" y="865"/>
                  <a:pt x="342" y="865"/>
                  <a:pt x="342" y="865"/>
                </a:cubicBezTo>
                <a:cubicBezTo>
                  <a:pt x="332" y="845"/>
                  <a:pt x="327" y="823"/>
                  <a:pt x="327" y="799"/>
                </a:cubicBezTo>
                <a:cubicBezTo>
                  <a:pt x="327" y="712"/>
                  <a:pt x="398" y="642"/>
                  <a:pt x="484" y="642"/>
                </a:cubicBezTo>
                <a:cubicBezTo>
                  <a:pt x="571" y="642"/>
                  <a:pt x="642" y="712"/>
                  <a:pt x="642" y="799"/>
                </a:cubicBezTo>
                <a:cubicBezTo>
                  <a:pt x="642" y="823"/>
                  <a:pt x="636" y="845"/>
                  <a:pt x="627" y="865"/>
                </a:cubicBezTo>
                <a:cubicBezTo>
                  <a:pt x="865" y="865"/>
                  <a:pt x="865" y="865"/>
                  <a:pt x="865" y="865"/>
                </a:cubicBezTo>
                <a:cubicBezTo>
                  <a:pt x="865" y="570"/>
                  <a:pt x="865" y="570"/>
                  <a:pt x="865" y="570"/>
                </a:cubicBezTo>
                <a:cubicBezTo>
                  <a:pt x="890" y="594"/>
                  <a:pt x="924" y="609"/>
                  <a:pt x="962" y="609"/>
                </a:cubicBezTo>
                <a:cubicBezTo>
                  <a:pt x="1039" y="609"/>
                  <a:pt x="1101" y="547"/>
                  <a:pt x="1101" y="469"/>
                </a:cubicBezTo>
                <a:cubicBezTo>
                  <a:pt x="1101" y="392"/>
                  <a:pt x="1039" y="330"/>
                  <a:pt x="962" y="330"/>
                </a:cubicBezTo>
                <a:close/>
              </a:path>
            </a:pathLst>
          </a:custGeom>
          <a:gradFill flip="none" rotWithShape="1">
            <a:gsLst>
              <a:gs pos="64000">
                <a:schemeClr val="accent1"/>
              </a:gs>
              <a:gs pos="31000">
                <a:schemeClr val="accent1">
                  <a:lumMod val="60000"/>
                  <a:lumOff val="40000"/>
                </a:schemeClr>
              </a:gs>
              <a:gs pos="0">
                <a:schemeClr val="accent1">
                  <a:lumMod val="40000"/>
                  <a:lumOff val="60000"/>
                </a:schemeClr>
              </a:gs>
            </a:gsLst>
            <a:lin ang="108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4" name="Freeform 13">
            <a:extLst>
              <a:ext uri="{FF2B5EF4-FFF2-40B4-BE49-F238E27FC236}">
                <a16:creationId xmlns:a16="http://schemas.microsoft.com/office/drawing/2014/main" id="{C7DCEDD1-2FFB-4F6E-A01C-55B0B77C23C8}"/>
              </a:ext>
            </a:extLst>
          </p:cNvPr>
          <p:cNvSpPr>
            <a:spLocks/>
          </p:cNvSpPr>
          <p:nvPr/>
        </p:nvSpPr>
        <p:spPr bwMode="auto">
          <a:xfrm>
            <a:off x="6110288" y="2047875"/>
            <a:ext cx="1873250" cy="2370138"/>
          </a:xfrm>
          <a:custGeom>
            <a:avLst/>
            <a:gdLst>
              <a:gd name="T0" fmla="*/ 870 w 870"/>
              <a:gd name="T1" fmla="*/ 865 h 1101"/>
              <a:gd name="T2" fmla="*/ 0 w 870"/>
              <a:gd name="T3" fmla="*/ 0 h 1101"/>
              <a:gd name="T4" fmla="*/ 0 w 870"/>
              <a:gd name="T5" fmla="*/ 333 h 1101"/>
              <a:gd name="T6" fmla="*/ 79 w 870"/>
              <a:gd name="T7" fmla="*/ 312 h 1101"/>
              <a:gd name="T8" fmla="*/ 236 w 870"/>
              <a:gd name="T9" fmla="*/ 469 h 1101"/>
              <a:gd name="T10" fmla="*/ 79 w 870"/>
              <a:gd name="T11" fmla="*/ 627 h 1101"/>
              <a:gd name="T12" fmla="*/ 0 w 870"/>
              <a:gd name="T13" fmla="*/ 606 h 1101"/>
              <a:gd name="T14" fmla="*/ 0 w 870"/>
              <a:gd name="T15" fmla="*/ 865 h 1101"/>
              <a:gd name="T16" fmla="*/ 299 w 870"/>
              <a:gd name="T17" fmla="*/ 865 h 1101"/>
              <a:gd name="T18" fmla="*/ 260 w 870"/>
              <a:gd name="T19" fmla="*/ 962 h 1101"/>
              <a:gd name="T20" fmla="*/ 400 w 870"/>
              <a:gd name="T21" fmla="*/ 1101 h 1101"/>
              <a:gd name="T22" fmla="*/ 540 w 870"/>
              <a:gd name="T23" fmla="*/ 962 h 1101"/>
              <a:gd name="T24" fmla="*/ 501 w 870"/>
              <a:gd name="T25" fmla="*/ 865 h 1101"/>
              <a:gd name="T26" fmla="*/ 870 w 870"/>
              <a:gd name="T27" fmla="*/ 865 h 1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70" h="1101">
                <a:moveTo>
                  <a:pt x="870" y="865"/>
                </a:moveTo>
                <a:cubicBezTo>
                  <a:pt x="864" y="388"/>
                  <a:pt x="478" y="3"/>
                  <a:pt x="0" y="0"/>
                </a:cubicBezTo>
                <a:cubicBezTo>
                  <a:pt x="0" y="333"/>
                  <a:pt x="0" y="333"/>
                  <a:pt x="0" y="333"/>
                </a:cubicBezTo>
                <a:cubicBezTo>
                  <a:pt x="23" y="320"/>
                  <a:pt x="50" y="312"/>
                  <a:pt x="79" y="312"/>
                </a:cubicBezTo>
                <a:cubicBezTo>
                  <a:pt x="165" y="312"/>
                  <a:pt x="236" y="383"/>
                  <a:pt x="236" y="469"/>
                </a:cubicBezTo>
                <a:cubicBezTo>
                  <a:pt x="236" y="556"/>
                  <a:pt x="165" y="627"/>
                  <a:pt x="79" y="627"/>
                </a:cubicBezTo>
                <a:cubicBezTo>
                  <a:pt x="50" y="627"/>
                  <a:pt x="23" y="619"/>
                  <a:pt x="0" y="606"/>
                </a:cubicBezTo>
                <a:cubicBezTo>
                  <a:pt x="0" y="865"/>
                  <a:pt x="0" y="865"/>
                  <a:pt x="0" y="865"/>
                </a:cubicBezTo>
                <a:cubicBezTo>
                  <a:pt x="299" y="865"/>
                  <a:pt x="299" y="865"/>
                  <a:pt x="299" y="865"/>
                </a:cubicBezTo>
                <a:cubicBezTo>
                  <a:pt x="275" y="890"/>
                  <a:pt x="260" y="924"/>
                  <a:pt x="260" y="962"/>
                </a:cubicBezTo>
                <a:cubicBezTo>
                  <a:pt x="260" y="1039"/>
                  <a:pt x="323" y="1101"/>
                  <a:pt x="400" y="1101"/>
                </a:cubicBezTo>
                <a:cubicBezTo>
                  <a:pt x="477" y="1101"/>
                  <a:pt x="540" y="1039"/>
                  <a:pt x="540" y="962"/>
                </a:cubicBezTo>
                <a:cubicBezTo>
                  <a:pt x="540" y="924"/>
                  <a:pt x="525" y="890"/>
                  <a:pt x="501" y="865"/>
                </a:cubicBezTo>
                <a:lnTo>
                  <a:pt x="870" y="865"/>
                </a:lnTo>
                <a:close/>
              </a:path>
            </a:pathLst>
          </a:custGeom>
          <a:gradFill flip="none" rotWithShape="1">
            <a:gsLst>
              <a:gs pos="64000">
                <a:schemeClr val="accent1"/>
              </a:gs>
              <a:gs pos="31000">
                <a:schemeClr val="accent1">
                  <a:lumMod val="60000"/>
                  <a:lumOff val="40000"/>
                </a:schemeClr>
              </a:gs>
              <a:gs pos="0">
                <a:schemeClr val="accent1">
                  <a:lumMod val="40000"/>
                  <a:lumOff val="60000"/>
                </a:schemeClr>
              </a:gs>
            </a:gsLst>
            <a:lin ang="162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5" name="Freeform 14">
            <a:extLst>
              <a:ext uri="{FF2B5EF4-FFF2-40B4-BE49-F238E27FC236}">
                <a16:creationId xmlns:a16="http://schemas.microsoft.com/office/drawing/2014/main" id="{D7A659AC-B276-4244-A889-68C4C9989D5E}"/>
              </a:ext>
            </a:extLst>
          </p:cNvPr>
          <p:cNvSpPr>
            <a:spLocks/>
          </p:cNvSpPr>
          <p:nvPr/>
        </p:nvSpPr>
        <p:spPr bwMode="auto">
          <a:xfrm>
            <a:off x="4210050" y="3467100"/>
            <a:ext cx="1862138" cy="2354263"/>
          </a:xfrm>
          <a:custGeom>
            <a:avLst/>
            <a:gdLst>
              <a:gd name="T0" fmla="*/ 788 w 865"/>
              <a:gd name="T1" fmla="*/ 479 h 1094"/>
              <a:gd name="T2" fmla="*/ 865 w 865"/>
              <a:gd name="T3" fmla="*/ 500 h 1094"/>
              <a:gd name="T4" fmla="*/ 865 w 865"/>
              <a:gd name="T5" fmla="*/ 224 h 1094"/>
              <a:gd name="T6" fmla="*/ 596 w 865"/>
              <a:gd name="T7" fmla="*/ 224 h 1094"/>
              <a:gd name="T8" fmla="*/ 624 w 865"/>
              <a:gd name="T9" fmla="*/ 140 h 1094"/>
              <a:gd name="T10" fmla="*/ 484 w 865"/>
              <a:gd name="T11" fmla="*/ 0 h 1094"/>
              <a:gd name="T12" fmla="*/ 345 w 865"/>
              <a:gd name="T13" fmla="*/ 140 h 1094"/>
              <a:gd name="T14" fmla="*/ 373 w 865"/>
              <a:gd name="T15" fmla="*/ 224 h 1094"/>
              <a:gd name="T16" fmla="*/ 0 w 865"/>
              <a:gd name="T17" fmla="*/ 224 h 1094"/>
              <a:gd name="T18" fmla="*/ 865 w 865"/>
              <a:gd name="T19" fmla="*/ 1094 h 1094"/>
              <a:gd name="T20" fmla="*/ 865 w 865"/>
              <a:gd name="T21" fmla="*/ 773 h 1094"/>
              <a:gd name="T22" fmla="*/ 788 w 865"/>
              <a:gd name="T23" fmla="*/ 794 h 1094"/>
              <a:gd name="T24" fmla="*/ 630 w 865"/>
              <a:gd name="T25" fmla="*/ 637 h 1094"/>
              <a:gd name="T26" fmla="*/ 788 w 865"/>
              <a:gd name="T27" fmla="*/ 479 h 10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65" h="1094">
                <a:moveTo>
                  <a:pt x="788" y="479"/>
                </a:moveTo>
                <a:cubicBezTo>
                  <a:pt x="816" y="479"/>
                  <a:pt x="842" y="487"/>
                  <a:pt x="865" y="500"/>
                </a:cubicBezTo>
                <a:cubicBezTo>
                  <a:pt x="865" y="224"/>
                  <a:pt x="865" y="224"/>
                  <a:pt x="865" y="224"/>
                </a:cubicBezTo>
                <a:cubicBezTo>
                  <a:pt x="596" y="224"/>
                  <a:pt x="596" y="224"/>
                  <a:pt x="596" y="224"/>
                </a:cubicBezTo>
                <a:cubicBezTo>
                  <a:pt x="613" y="201"/>
                  <a:pt x="624" y="172"/>
                  <a:pt x="624" y="140"/>
                </a:cubicBezTo>
                <a:cubicBezTo>
                  <a:pt x="624" y="63"/>
                  <a:pt x="561" y="0"/>
                  <a:pt x="484" y="0"/>
                </a:cubicBezTo>
                <a:cubicBezTo>
                  <a:pt x="407" y="0"/>
                  <a:pt x="345" y="63"/>
                  <a:pt x="345" y="140"/>
                </a:cubicBezTo>
                <a:cubicBezTo>
                  <a:pt x="345" y="172"/>
                  <a:pt x="355" y="201"/>
                  <a:pt x="373" y="224"/>
                </a:cubicBezTo>
                <a:cubicBezTo>
                  <a:pt x="0" y="224"/>
                  <a:pt x="0" y="224"/>
                  <a:pt x="0" y="224"/>
                </a:cubicBezTo>
                <a:cubicBezTo>
                  <a:pt x="3" y="702"/>
                  <a:pt x="388" y="1088"/>
                  <a:pt x="865" y="1094"/>
                </a:cubicBezTo>
                <a:cubicBezTo>
                  <a:pt x="865" y="773"/>
                  <a:pt x="865" y="773"/>
                  <a:pt x="865" y="773"/>
                </a:cubicBezTo>
                <a:cubicBezTo>
                  <a:pt x="842" y="786"/>
                  <a:pt x="816" y="794"/>
                  <a:pt x="788" y="794"/>
                </a:cubicBezTo>
                <a:cubicBezTo>
                  <a:pt x="701" y="794"/>
                  <a:pt x="630" y="723"/>
                  <a:pt x="630" y="637"/>
                </a:cubicBezTo>
                <a:cubicBezTo>
                  <a:pt x="630" y="550"/>
                  <a:pt x="701" y="479"/>
                  <a:pt x="788" y="479"/>
                </a:cubicBezTo>
                <a:close/>
              </a:path>
            </a:pathLst>
          </a:custGeom>
          <a:gradFill flip="none" rotWithShape="1">
            <a:gsLst>
              <a:gs pos="64000">
                <a:schemeClr val="accent1"/>
              </a:gs>
              <a:gs pos="31000">
                <a:schemeClr val="accent1">
                  <a:lumMod val="60000"/>
                  <a:lumOff val="40000"/>
                </a:schemeClr>
              </a:gs>
              <a:gs pos="0">
                <a:schemeClr val="accent1">
                  <a:lumMod val="40000"/>
                  <a:lumOff val="60000"/>
                </a:schemeClr>
              </a:gs>
            </a:gsLst>
            <a:lin ang="54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6" name="Freeform 15">
            <a:extLst>
              <a:ext uri="{FF2B5EF4-FFF2-40B4-BE49-F238E27FC236}">
                <a16:creationId xmlns:a16="http://schemas.microsoft.com/office/drawing/2014/main" id="{BBCF8C45-B38C-4693-B999-2D2F9052A96B}"/>
              </a:ext>
            </a:extLst>
          </p:cNvPr>
          <p:cNvSpPr>
            <a:spLocks/>
          </p:cNvSpPr>
          <p:nvPr/>
        </p:nvSpPr>
        <p:spPr bwMode="auto">
          <a:xfrm>
            <a:off x="5605463" y="3948113"/>
            <a:ext cx="2378075" cy="1873250"/>
          </a:xfrm>
          <a:custGeom>
            <a:avLst/>
            <a:gdLst>
              <a:gd name="T0" fmla="*/ 771 w 1105"/>
              <a:gd name="T1" fmla="*/ 0 h 870"/>
              <a:gd name="T2" fmla="*/ 792 w 1105"/>
              <a:gd name="T3" fmla="*/ 79 h 870"/>
              <a:gd name="T4" fmla="*/ 635 w 1105"/>
              <a:gd name="T5" fmla="*/ 236 h 870"/>
              <a:gd name="T6" fmla="*/ 478 w 1105"/>
              <a:gd name="T7" fmla="*/ 79 h 870"/>
              <a:gd name="T8" fmla="*/ 499 w 1105"/>
              <a:gd name="T9" fmla="*/ 0 h 870"/>
              <a:gd name="T10" fmla="*/ 235 w 1105"/>
              <a:gd name="T11" fmla="*/ 0 h 870"/>
              <a:gd name="T12" fmla="*/ 235 w 1105"/>
              <a:gd name="T13" fmla="*/ 311 h 870"/>
              <a:gd name="T14" fmla="*/ 140 w 1105"/>
              <a:gd name="T15" fmla="*/ 273 h 870"/>
              <a:gd name="T16" fmla="*/ 0 w 1105"/>
              <a:gd name="T17" fmla="*/ 413 h 870"/>
              <a:gd name="T18" fmla="*/ 140 w 1105"/>
              <a:gd name="T19" fmla="*/ 552 h 870"/>
              <a:gd name="T20" fmla="*/ 235 w 1105"/>
              <a:gd name="T21" fmla="*/ 514 h 870"/>
              <a:gd name="T22" fmla="*/ 235 w 1105"/>
              <a:gd name="T23" fmla="*/ 870 h 870"/>
              <a:gd name="T24" fmla="*/ 1105 w 1105"/>
              <a:gd name="T25" fmla="*/ 0 h 870"/>
              <a:gd name="T26" fmla="*/ 771 w 1105"/>
              <a:gd name="T27" fmla="*/ 0 h 8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05" h="870">
                <a:moveTo>
                  <a:pt x="771" y="0"/>
                </a:moveTo>
                <a:cubicBezTo>
                  <a:pt x="785" y="23"/>
                  <a:pt x="792" y="50"/>
                  <a:pt x="792" y="79"/>
                </a:cubicBezTo>
                <a:cubicBezTo>
                  <a:pt x="792" y="165"/>
                  <a:pt x="722" y="236"/>
                  <a:pt x="635" y="236"/>
                </a:cubicBezTo>
                <a:cubicBezTo>
                  <a:pt x="548" y="236"/>
                  <a:pt x="478" y="165"/>
                  <a:pt x="478" y="79"/>
                </a:cubicBezTo>
                <a:cubicBezTo>
                  <a:pt x="478" y="50"/>
                  <a:pt x="485" y="23"/>
                  <a:pt x="499" y="0"/>
                </a:cubicBezTo>
                <a:cubicBezTo>
                  <a:pt x="235" y="0"/>
                  <a:pt x="235" y="0"/>
                  <a:pt x="235" y="0"/>
                </a:cubicBezTo>
                <a:cubicBezTo>
                  <a:pt x="235" y="311"/>
                  <a:pt x="235" y="311"/>
                  <a:pt x="235" y="311"/>
                </a:cubicBezTo>
                <a:cubicBezTo>
                  <a:pt x="210" y="287"/>
                  <a:pt x="177" y="273"/>
                  <a:pt x="140" y="273"/>
                </a:cubicBezTo>
                <a:cubicBezTo>
                  <a:pt x="63" y="273"/>
                  <a:pt x="0" y="335"/>
                  <a:pt x="0" y="413"/>
                </a:cubicBezTo>
                <a:cubicBezTo>
                  <a:pt x="0" y="490"/>
                  <a:pt x="63" y="552"/>
                  <a:pt x="140" y="552"/>
                </a:cubicBezTo>
                <a:cubicBezTo>
                  <a:pt x="177" y="552"/>
                  <a:pt x="210" y="538"/>
                  <a:pt x="235" y="514"/>
                </a:cubicBezTo>
                <a:cubicBezTo>
                  <a:pt x="235" y="870"/>
                  <a:pt x="235" y="870"/>
                  <a:pt x="235" y="870"/>
                </a:cubicBezTo>
                <a:cubicBezTo>
                  <a:pt x="714" y="867"/>
                  <a:pt x="1102" y="479"/>
                  <a:pt x="1105" y="0"/>
                </a:cubicBezTo>
                <a:lnTo>
                  <a:pt x="771" y="0"/>
                </a:lnTo>
                <a:close/>
              </a:path>
            </a:pathLst>
          </a:custGeom>
          <a:gradFill flip="none" rotWithShape="1">
            <a:gsLst>
              <a:gs pos="64000">
                <a:schemeClr val="accent1"/>
              </a:gs>
              <a:gs pos="31000">
                <a:schemeClr val="accent1">
                  <a:lumMod val="60000"/>
                  <a:lumOff val="40000"/>
                </a:schemeClr>
              </a:gs>
              <a:gs pos="0">
                <a:schemeClr val="accent1">
                  <a:lumMod val="40000"/>
                  <a:lumOff val="60000"/>
                </a:schemeClr>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grpSp>
        <p:nvGrpSpPr>
          <p:cNvPr id="11" name="Group 64">
            <a:extLst>
              <a:ext uri="{FF2B5EF4-FFF2-40B4-BE49-F238E27FC236}">
                <a16:creationId xmlns:a16="http://schemas.microsoft.com/office/drawing/2014/main" id="{62B5FDAC-B283-4435-AAC1-498AFE75E73F}"/>
              </a:ext>
            </a:extLst>
          </p:cNvPr>
          <p:cNvGrpSpPr/>
          <p:nvPr/>
        </p:nvGrpSpPr>
        <p:grpSpPr>
          <a:xfrm>
            <a:off x="5088012" y="2761181"/>
            <a:ext cx="548218" cy="364596"/>
            <a:chOff x="7953375" y="1320800"/>
            <a:chExt cx="2303463" cy="1531938"/>
          </a:xfrm>
          <a:solidFill>
            <a:srgbClr val="FFFFFF"/>
          </a:solidFill>
        </p:grpSpPr>
        <p:sp>
          <p:nvSpPr>
            <p:cNvPr id="12" name="Freeform 9">
              <a:extLst>
                <a:ext uri="{FF2B5EF4-FFF2-40B4-BE49-F238E27FC236}">
                  <a16:creationId xmlns:a16="http://schemas.microsoft.com/office/drawing/2014/main" id="{C3B2DB89-9D5B-4339-975E-A0A9CF09E001}"/>
                </a:ext>
              </a:extLst>
            </p:cNvPr>
            <p:cNvSpPr>
              <a:spLocks/>
            </p:cNvSpPr>
            <p:nvPr/>
          </p:nvSpPr>
          <p:spPr bwMode="auto">
            <a:xfrm>
              <a:off x="9498013" y="1320800"/>
              <a:ext cx="479425" cy="673100"/>
            </a:xfrm>
            <a:custGeom>
              <a:avLst/>
              <a:gdLst>
                <a:gd name="T0" fmla="*/ 127 w 426"/>
                <a:gd name="T1" fmla="*/ 0 h 598"/>
                <a:gd name="T2" fmla="*/ 0 w 426"/>
                <a:gd name="T3" fmla="*/ 29 h 598"/>
                <a:gd name="T4" fmla="*/ 40 w 426"/>
                <a:gd name="T5" fmla="*/ 89 h 598"/>
                <a:gd name="T6" fmla="*/ 68 w 426"/>
                <a:gd name="T7" fmla="*/ 155 h 598"/>
                <a:gd name="T8" fmla="*/ 93 w 426"/>
                <a:gd name="T9" fmla="*/ 299 h 598"/>
                <a:gd name="T10" fmla="*/ 68 w 426"/>
                <a:gd name="T11" fmla="*/ 443 h 598"/>
                <a:gd name="T12" fmla="*/ 40 w 426"/>
                <a:gd name="T13" fmla="*/ 509 h 598"/>
                <a:gd name="T14" fmla="*/ 0 w 426"/>
                <a:gd name="T15" fmla="*/ 569 h 598"/>
                <a:gd name="T16" fmla="*/ 127 w 426"/>
                <a:gd name="T17" fmla="*/ 598 h 598"/>
                <a:gd name="T18" fmla="*/ 426 w 426"/>
                <a:gd name="T19" fmla="*/ 299 h 598"/>
                <a:gd name="T20" fmla="*/ 127 w 426"/>
                <a:gd name="T21" fmla="*/ 0 h 5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26" h="598">
                  <a:moveTo>
                    <a:pt x="127" y="0"/>
                  </a:moveTo>
                  <a:cubicBezTo>
                    <a:pt x="82" y="0"/>
                    <a:pt x="39" y="10"/>
                    <a:pt x="0" y="29"/>
                  </a:cubicBezTo>
                  <a:cubicBezTo>
                    <a:pt x="15" y="48"/>
                    <a:pt x="28" y="68"/>
                    <a:pt x="40" y="89"/>
                  </a:cubicBezTo>
                  <a:cubicBezTo>
                    <a:pt x="51" y="110"/>
                    <a:pt x="61" y="132"/>
                    <a:pt x="68" y="155"/>
                  </a:cubicBezTo>
                  <a:cubicBezTo>
                    <a:pt x="84" y="200"/>
                    <a:pt x="93" y="248"/>
                    <a:pt x="93" y="299"/>
                  </a:cubicBezTo>
                  <a:cubicBezTo>
                    <a:pt x="93" y="350"/>
                    <a:pt x="84" y="398"/>
                    <a:pt x="68" y="443"/>
                  </a:cubicBezTo>
                  <a:cubicBezTo>
                    <a:pt x="61" y="466"/>
                    <a:pt x="51" y="488"/>
                    <a:pt x="40" y="509"/>
                  </a:cubicBezTo>
                  <a:cubicBezTo>
                    <a:pt x="28" y="530"/>
                    <a:pt x="15" y="550"/>
                    <a:pt x="0" y="569"/>
                  </a:cubicBezTo>
                  <a:cubicBezTo>
                    <a:pt x="39" y="588"/>
                    <a:pt x="82" y="598"/>
                    <a:pt x="127" y="598"/>
                  </a:cubicBezTo>
                  <a:cubicBezTo>
                    <a:pt x="292" y="598"/>
                    <a:pt x="426" y="464"/>
                    <a:pt x="426" y="299"/>
                  </a:cubicBezTo>
                  <a:cubicBezTo>
                    <a:pt x="426" y="134"/>
                    <a:pt x="292" y="0"/>
                    <a:pt x="12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sp>
          <p:nvSpPr>
            <p:cNvPr id="13" name="Freeform 10">
              <a:extLst>
                <a:ext uri="{FF2B5EF4-FFF2-40B4-BE49-F238E27FC236}">
                  <a16:creationId xmlns:a16="http://schemas.microsoft.com/office/drawing/2014/main" id="{9A954F56-002E-45E1-B128-EEFF8680276D}"/>
                </a:ext>
              </a:extLst>
            </p:cNvPr>
            <p:cNvSpPr>
              <a:spLocks/>
            </p:cNvSpPr>
            <p:nvPr/>
          </p:nvSpPr>
          <p:spPr bwMode="auto">
            <a:xfrm>
              <a:off x="9580563" y="2155825"/>
              <a:ext cx="676275" cy="696913"/>
            </a:xfrm>
            <a:custGeom>
              <a:avLst/>
              <a:gdLst>
                <a:gd name="T0" fmla="*/ 53 w 601"/>
                <a:gd name="T1" fmla="*/ 0 h 619"/>
                <a:gd name="T2" fmla="*/ 0 w 601"/>
                <a:gd name="T3" fmla="*/ 2 h 619"/>
                <a:gd name="T4" fmla="*/ 77 w 601"/>
                <a:gd name="T5" fmla="*/ 72 h 619"/>
                <a:gd name="T6" fmla="*/ 143 w 601"/>
                <a:gd name="T7" fmla="*/ 153 h 619"/>
                <a:gd name="T8" fmla="*/ 264 w 601"/>
                <a:gd name="T9" fmla="*/ 476 h 619"/>
                <a:gd name="T10" fmla="*/ 268 w 601"/>
                <a:gd name="T11" fmla="*/ 547 h 619"/>
                <a:gd name="T12" fmla="*/ 255 w 601"/>
                <a:gd name="T13" fmla="*/ 619 h 619"/>
                <a:gd name="T14" fmla="*/ 530 w 601"/>
                <a:gd name="T15" fmla="*/ 619 h 619"/>
                <a:gd name="T16" fmla="*/ 601 w 601"/>
                <a:gd name="T17" fmla="*/ 547 h 619"/>
                <a:gd name="T18" fmla="*/ 53 w 601"/>
                <a:gd name="T19" fmla="*/ 0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1" h="619">
                  <a:moveTo>
                    <a:pt x="53" y="0"/>
                  </a:moveTo>
                  <a:cubicBezTo>
                    <a:pt x="36" y="0"/>
                    <a:pt x="18" y="1"/>
                    <a:pt x="0" y="2"/>
                  </a:cubicBezTo>
                  <a:cubicBezTo>
                    <a:pt x="28" y="24"/>
                    <a:pt x="53" y="47"/>
                    <a:pt x="77" y="72"/>
                  </a:cubicBezTo>
                  <a:cubicBezTo>
                    <a:pt x="101" y="97"/>
                    <a:pt x="123" y="124"/>
                    <a:pt x="143" y="153"/>
                  </a:cubicBezTo>
                  <a:cubicBezTo>
                    <a:pt x="209" y="246"/>
                    <a:pt x="252" y="357"/>
                    <a:pt x="264" y="476"/>
                  </a:cubicBezTo>
                  <a:cubicBezTo>
                    <a:pt x="266" y="499"/>
                    <a:pt x="268" y="523"/>
                    <a:pt x="268" y="547"/>
                  </a:cubicBezTo>
                  <a:cubicBezTo>
                    <a:pt x="268" y="572"/>
                    <a:pt x="263" y="597"/>
                    <a:pt x="255" y="619"/>
                  </a:cubicBezTo>
                  <a:cubicBezTo>
                    <a:pt x="530" y="619"/>
                    <a:pt x="530" y="619"/>
                    <a:pt x="530" y="619"/>
                  </a:cubicBezTo>
                  <a:cubicBezTo>
                    <a:pt x="569" y="619"/>
                    <a:pt x="601" y="587"/>
                    <a:pt x="601" y="547"/>
                  </a:cubicBezTo>
                  <a:cubicBezTo>
                    <a:pt x="601" y="245"/>
                    <a:pt x="355" y="0"/>
                    <a:pt x="5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sp>
          <p:nvSpPr>
            <p:cNvPr id="14" name="Freeform 11">
              <a:extLst>
                <a:ext uri="{FF2B5EF4-FFF2-40B4-BE49-F238E27FC236}">
                  <a16:creationId xmlns:a16="http://schemas.microsoft.com/office/drawing/2014/main" id="{76C5BF24-F819-419D-BAB0-8CD7BAA8DA58}"/>
                </a:ext>
              </a:extLst>
            </p:cNvPr>
            <p:cNvSpPr>
              <a:spLocks/>
            </p:cNvSpPr>
            <p:nvPr/>
          </p:nvSpPr>
          <p:spPr bwMode="auto">
            <a:xfrm>
              <a:off x="8232775" y="1320800"/>
              <a:ext cx="479425" cy="673100"/>
            </a:xfrm>
            <a:custGeom>
              <a:avLst/>
              <a:gdLst>
                <a:gd name="T0" fmla="*/ 358 w 426"/>
                <a:gd name="T1" fmla="*/ 443 h 598"/>
                <a:gd name="T2" fmla="*/ 333 w 426"/>
                <a:gd name="T3" fmla="*/ 299 h 598"/>
                <a:gd name="T4" fmla="*/ 358 w 426"/>
                <a:gd name="T5" fmla="*/ 155 h 598"/>
                <a:gd name="T6" fmla="*/ 386 w 426"/>
                <a:gd name="T7" fmla="*/ 89 h 598"/>
                <a:gd name="T8" fmla="*/ 426 w 426"/>
                <a:gd name="T9" fmla="*/ 29 h 598"/>
                <a:gd name="T10" fmla="*/ 299 w 426"/>
                <a:gd name="T11" fmla="*/ 0 h 598"/>
                <a:gd name="T12" fmla="*/ 0 w 426"/>
                <a:gd name="T13" fmla="*/ 299 h 598"/>
                <a:gd name="T14" fmla="*/ 299 w 426"/>
                <a:gd name="T15" fmla="*/ 598 h 598"/>
                <a:gd name="T16" fmla="*/ 426 w 426"/>
                <a:gd name="T17" fmla="*/ 569 h 598"/>
                <a:gd name="T18" fmla="*/ 386 w 426"/>
                <a:gd name="T19" fmla="*/ 509 h 598"/>
                <a:gd name="T20" fmla="*/ 358 w 426"/>
                <a:gd name="T21" fmla="*/ 443 h 5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26" h="598">
                  <a:moveTo>
                    <a:pt x="358" y="443"/>
                  </a:moveTo>
                  <a:cubicBezTo>
                    <a:pt x="342" y="398"/>
                    <a:pt x="333" y="350"/>
                    <a:pt x="333" y="299"/>
                  </a:cubicBezTo>
                  <a:cubicBezTo>
                    <a:pt x="333" y="248"/>
                    <a:pt x="342" y="200"/>
                    <a:pt x="358" y="155"/>
                  </a:cubicBezTo>
                  <a:cubicBezTo>
                    <a:pt x="365" y="132"/>
                    <a:pt x="375" y="110"/>
                    <a:pt x="386" y="89"/>
                  </a:cubicBezTo>
                  <a:cubicBezTo>
                    <a:pt x="398" y="68"/>
                    <a:pt x="411" y="48"/>
                    <a:pt x="426" y="29"/>
                  </a:cubicBezTo>
                  <a:cubicBezTo>
                    <a:pt x="387" y="10"/>
                    <a:pt x="344" y="0"/>
                    <a:pt x="299" y="0"/>
                  </a:cubicBezTo>
                  <a:cubicBezTo>
                    <a:pt x="134" y="0"/>
                    <a:pt x="0" y="134"/>
                    <a:pt x="0" y="299"/>
                  </a:cubicBezTo>
                  <a:cubicBezTo>
                    <a:pt x="0" y="464"/>
                    <a:pt x="134" y="598"/>
                    <a:pt x="299" y="598"/>
                  </a:cubicBezTo>
                  <a:cubicBezTo>
                    <a:pt x="344" y="598"/>
                    <a:pt x="387" y="588"/>
                    <a:pt x="426" y="569"/>
                  </a:cubicBezTo>
                  <a:cubicBezTo>
                    <a:pt x="411" y="550"/>
                    <a:pt x="398" y="530"/>
                    <a:pt x="386" y="509"/>
                  </a:cubicBezTo>
                  <a:cubicBezTo>
                    <a:pt x="375" y="488"/>
                    <a:pt x="365" y="466"/>
                    <a:pt x="358" y="4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sp>
          <p:nvSpPr>
            <p:cNvPr id="15" name="Freeform 12">
              <a:extLst>
                <a:ext uri="{FF2B5EF4-FFF2-40B4-BE49-F238E27FC236}">
                  <a16:creationId xmlns:a16="http://schemas.microsoft.com/office/drawing/2014/main" id="{FB261D05-498B-4990-A5FF-F8DF6B0517A8}"/>
                </a:ext>
              </a:extLst>
            </p:cNvPr>
            <p:cNvSpPr>
              <a:spLocks/>
            </p:cNvSpPr>
            <p:nvPr/>
          </p:nvSpPr>
          <p:spPr bwMode="auto">
            <a:xfrm>
              <a:off x="7953375" y="2155825"/>
              <a:ext cx="676275" cy="696913"/>
            </a:xfrm>
            <a:custGeom>
              <a:avLst/>
              <a:gdLst>
                <a:gd name="T0" fmla="*/ 548 w 601"/>
                <a:gd name="T1" fmla="*/ 0 h 619"/>
                <a:gd name="T2" fmla="*/ 0 w 601"/>
                <a:gd name="T3" fmla="*/ 547 h 619"/>
                <a:gd name="T4" fmla="*/ 71 w 601"/>
                <a:gd name="T5" fmla="*/ 619 h 619"/>
                <a:gd name="T6" fmla="*/ 346 w 601"/>
                <a:gd name="T7" fmla="*/ 619 h 619"/>
                <a:gd name="T8" fmla="*/ 333 w 601"/>
                <a:gd name="T9" fmla="*/ 547 h 619"/>
                <a:gd name="T10" fmla="*/ 337 w 601"/>
                <a:gd name="T11" fmla="*/ 476 h 619"/>
                <a:gd name="T12" fmla="*/ 458 w 601"/>
                <a:gd name="T13" fmla="*/ 153 h 619"/>
                <a:gd name="T14" fmla="*/ 524 w 601"/>
                <a:gd name="T15" fmla="*/ 72 h 619"/>
                <a:gd name="T16" fmla="*/ 601 w 601"/>
                <a:gd name="T17" fmla="*/ 2 h 619"/>
                <a:gd name="T18" fmla="*/ 548 w 601"/>
                <a:gd name="T19" fmla="*/ 0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1" h="619">
                  <a:moveTo>
                    <a:pt x="548" y="0"/>
                  </a:moveTo>
                  <a:cubicBezTo>
                    <a:pt x="246" y="0"/>
                    <a:pt x="0" y="245"/>
                    <a:pt x="0" y="547"/>
                  </a:cubicBezTo>
                  <a:cubicBezTo>
                    <a:pt x="0" y="587"/>
                    <a:pt x="32" y="619"/>
                    <a:pt x="71" y="619"/>
                  </a:cubicBezTo>
                  <a:cubicBezTo>
                    <a:pt x="346" y="619"/>
                    <a:pt x="346" y="619"/>
                    <a:pt x="346" y="619"/>
                  </a:cubicBezTo>
                  <a:cubicBezTo>
                    <a:pt x="338" y="597"/>
                    <a:pt x="333" y="572"/>
                    <a:pt x="333" y="547"/>
                  </a:cubicBezTo>
                  <a:cubicBezTo>
                    <a:pt x="333" y="523"/>
                    <a:pt x="335" y="499"/>
                    <a:pt x="337" y="476"/>
                  </a:cubicBezTo>
                  <a:cubicBezTo>
                    <a:pt x="349" y="357"/>
                    <a:pt x="392" y="246"/>
                    <a:pt x="458" y="153"/>
                  </a:cubicBezTo>
                  <a:cubicBezTo>
                    <a:pt x="478" y="124"/>
                    <a:pt x="500" y="97"/>
                    <a:pt x="524" y="72"/>
                  </a:cubicBezTo>
                  <a:cubicBezTo>
                    <a:pt x="548" y="47"/>
                    <a:pt x="573" y="24"/>
                    <a:pt x="601" y="2"/>
                  </a:cubicBezTo>
                  <a:cubicBezTo>
                    <a:pt x="583" y="1"/>
                    <a:pt x="565" y="0"/>
                    <a:pt x="54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sp>
          <p:nvSpPr>
            <p:cNvPr id="16" name="Freeform 13">
              <a:extLst>
                <a:ext uri="{FF2B5EF4-FFF2-40B4-BE49-F238E27FC236}">
                  <a16:creationId xmlns:a16="http://schemas.microsoft.com/office/drawing/2014/main" id="{E4ABEEC6-9D28-4F14-9000-113222719DBE}"/>
                </a:ext>
              </a:extLst>
            </p:cNvPr>
            <p:cNvSpPr>
              <a:spLocks/>
            </p:cNvSpPr>
            <p:nvPr/>
          </p:nvSpPr>
          <p:spPr bwMode="auto">
            <a:xfrm>
              <a:off x="8769350" y="1320800"/>
              <a:ext cx="673100" cy="673100"/>
            </a:xfrm>
            <a:custGeom>
              <a:avLst/>
              <a:gdLst>
                <a:gd name="T0" fmla="*/ 577 w 598"/>
                <a:gd name="T1" fmla="*/ 188 h 598"/>
                <a:gd name="T2" fmla="*/ 537 w 598"/>
                <a:gd name="T3" fmla="*/ 119 h 598"/>
                <a:gd name="T4" fmla="*/ 299 w 598"/>
                <a:gd name="T5" fmla="*/ 0 h 598"/>
                <a:gd name="T6" fmla="*/ 61 w 598"/>
                <a:gd name="T7" fmla="*/ 119 h 598"/>
                <a:gd name="T8" fmla="*/ 21 w 598"/>
                <a:gd name="T9" fmla="*/ 188 h 598"/>
                <a:gd name="T10" fmla="*/ 0 w 598"/>
                <a:gd name="T11" fmla="*/ 299 h 598"/>
                <a:gd name="T12" fmla="*/ 21 w 598"/>
                <a:gd name="T13" fmla="*/ 410 h 598"/>
                <a:gd name="T14" fmla="*/ 61 w 598"/>
                <a:gd name="T15" fmla="*/ 479 h 598"/>
                <a:gd name="T16" fmla="*/ 299 w 598"/>
                <a:gd name="T17" fmla="*/ 598 h 598"/>
                <a:gd name="T18" fmla="*/ 537 w 598"/>
                <a:gd name="T19" fmla="*/ 479 h 598"/>
                <a:gd name="T20" fmla="*/ 577 w 598"/>
                <a:gd name="T21" fmla="*/ 410 h 598"/>
                <a:gd name="T22" fmla="*/ 598 w 598"/>
                <a:gd name="T23" fmla="*/ 299 h 598"/>
                <a:gd name="T24" fmla="*/ 577 w 598"/>
                <a:gd name="T25" fmla="*/ 188 h 5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98" h="598">
                  <a:moveTo>
                    <a:pt x="577" y="188"/>
                  </a:moveTo>
                  <a:cubicBezTo>
                    <a:pt x="567" y="163"/>
                    <a:pt x="553" y="140"/>
                    <a:pt x="537" y="119"/>
                  </a:cubicBezTo>
                  <a:cubicBezTo>
                    <a:pt x="483" y="47"/>
                    <a:pt x="396" y="0"/>
                    <a:pt x="299" y="0"/>
                  </a:cubicBezTo>
                  <a:cubicBezTo>
                    <a:pt x="202" y="0"/>
                    <a:pt x="115" y="47"/>
                    <a:pt x="61" y="119"/>
                  </a:cubicBezTo>
                  <a:cubicBezTo>
                    <a:pt x="45" y="140"/>
                    <a:pt x="31" y="163"/>
                    <a:pt x="21" y="188"/>
                  </a:cubicBezTo>
                  <a:cubicBezTo>
                    <a:pt x="8" y="223"/>
                    <a:pt x="0" y="260"/>
                    <a:pt x="0" y="299"/>
                  </a:cubicBezTo>
                  <a:cubicBezTo>
                    <a:pt x="0" y="338"/>
                    <a:pt x="8" y="375"/>
                    <a:pt x="21" y="410"/>
                  </a:cubicBezTo>
                  <a:cubicBezTo>
                    <a:pt x="31" y="435"/>
                    <a:pt x="45" y="458"/>
                    <a:pt x="61" y="479"/>
                  </a:cubicBezTo>
                  <a:cubicBezTo>
                    <a:pt x="115" y="551"/>
                    <a:pt x="202" y="598"/>
                    <a:pt x="299" y="598"/>
                  </a:cubicBezTo>
                  <a:cubicBezTo>
                    <a:pt x="396" y="598"/>
                    <a:pt x="483" y="551"/>
                    <a:pt x="537" y="479"/>
                  </a:cubicBezTo>
                  <a:cubicBezTo>
                    <a:pt x="553" y="458"/>
                    <a:pt x="567" y="435"/>
                    <a:pt x="577" y="410"/>
                  </a:cubicBezTo>
                  <a:cubicBezTo>
                    <a:pt x="590" y="375"/>
                    <a:pt x="598" y="338"/>
                    <a:pt x="598" y="299"/>
                  </a:cubicBezTo>
                  <a:cubicBezTo>
                    <a:pt x="598" y="260"/>
                    <a:pt x="590" y="223"/>
                    <a:pt x="577" y="1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sp>
          <p:nvSpPr>
            <p:cNvPr id="17" name="Freeform 14">
              <a:extLst>
                <a:ext uri="{FF2B5EF4-FFF2-40B4-BE49-F238E27FC236}">
                  <a16:creationId xmlns:a16="http://schemas.microsoft.com/office/drawing/2014/main" id="{E211BF52-AF95-42F1-AAD1-939C0EC21BD6}"/>
                </a:ext>
              </a:extLst>
            </p:cNvPr>
            <p:cNvSpPr>
              <a:spLocks/>
            </p:cNvSpPr>
            <p:nvPr/>
          </p:nvSpPr>
          <p:spPr bwMode="auto">
            <a:xfrm>
              <a:off x="8488363" y="2160588"/>
              <a:ext cx="1233488" cy="692150"/>
            </a:xfrm>
            <a:custGeom>
              <a:avLst/>
              <a:gdLst>
                <a:gd name="T0" fmla="*/ 1091 w 1096"/>
                <a:gd name="T1" fmla="*/ 472 h 615"/>
                <a:gd name="T2" fmla="*/ 929 w 1096"/>
                <a:gd name="T3" fmla="*/ 150 h 615"/>
                <a:gd name="T4" fmla="*/ 863 w 1096"/>
                <a:gd name="T5" fmla="*/ 95 h 615"/>
                <a:gd name="T6" fmla="*/ 786 w 1096"/>
                <a:gd name="T7" fmla="*/ 50 h 615"/>
                <a:gd name="T8" fmla="*/ 619 w 1096"/>
                <a:gd name="T9" fmla="*/ 0 h 615"/>
                <a:gd name="T10" fmla="*/ 619 w 1096"/>
                <a:gd name="T11" fmla="*/ 448 h 615"/>
                <a:gd name="T12" fmla="*/ 548 w 1096"/>
                <a:gd name="T13" fmla="*/ 520 h 615"/>
                <a:gd name="T14" fmla="*/ 477 w 1096"/>
                <a:gd name="T15" fmla="*/ 448 h 615"/>
                <a:gd name="T16" fmla="*/ 477 w 1096"/>
                <a:gd name="T17" fmla="*/ 0 h 615"/>
                <a:gd name="T18" fmla="*/ 310 w 1096"/>
                <a:gd name="T19" fmla="*/ 50 h 615"/>
                <a:gd name="T20" fmla="*/ 233 w 1096"/>
                <a:gd name="T21" fmla="*/ 95 h 615"/>
                <a:gd name="T22" fmla="*/ 167 w 1096"/>
                <a:gd name="T23" fmla="*/ 150 h 615"/>
                <a:gd name="T24" fmla="*/ 5 w 1096"/>
                <a:gd name="T25" fmla="*/ 472 h 615"/>
                <a:gd name="T26" fmla="*/ 0 w 1096"/>
                <a:gd name="T27" fmla="*/ 543 h 615"/>
                <a:gd name="T28" fmla="*/ 72 w 1096"/>
                <a:gd name="T29" fmla="*/ 615 h 615"/>
                <a:gd name="T30" fmla="*/ 1024 w 1096"/>
                <a:gd name="T31" fmla="*/ 615 h 615"/>
                <a:gd name="T32" fmla="*/ 1096 w 1096"/>
                <a:gd name="T33" fmla="*/ 543 h 615"/>
                <a:gd name="T34" fmla="*/ 1091 w 1096"/>
                <a:gd name="T35" fmla="*/ 472 h 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96" h="615">
                  <a:moveTo>
                    <a:pt x="1091" y="472"/>
                  </a:moveTo>
                  <a:cubicBezTo>
                    <a:pt x="1075" y="346"/>
                    <a:pt x="1015" y="234"/>
                    <a:pt x="929" y="150"/>
                  </a:cubicBezTo>
                  <a:cubicBezTo>
                    <a:pt x="908" y="130"/>
                    <a:pt x="886" y="112"/>
                    <a:pt x="863" y="95"/>
                  </a:cubicBezTo>
                  <a:cubicBezTo>
                    <a:pt x="838" y="78"/>
                    <a:pt x="813" y="63"/>
                    <a:pt x="786" y="50"/>
                  </a:cubicBezTo>
                  <a:cubicBezTo>
                    <a:pt x="734" y="25"/>
                    <a:pt x="678" y="8"/>
                    <a:pt x="619" y="0"/>
                  </a:cubicBezTo>
                  <a:cubicBezTo>
                    <a:pt x="619" y="448"/>
                    <a:pt x="619" y="448"/>
                    <a:pt x="619" y="448"/>
                  </a:cubicBezTo>
                  <a:cubicBezTo>
                    <a:pt x="619" y="488"/>
                    <a:pt x="587" y="520"/>
                    <a:pt x="548" y="520"/>
                  </a:cubicBezTo>
                  <a:cubicBezTo>
                    <a:pt x="509" y="520"/>
                    <a:pt x="477" y="488"/>
                    <a:pt x="477" y="448"/>
                  </a:cubicBezTo>
                  <a:cubicBezTo>
                    <a:pt x="477" y="0"/>
                    <a:pt x="477" y="0"/>
                    <a:pt x="477" y="0"/>
                  </a:cubicBezTo>
                  <a:cubicBezTo>
                    <a:pt x="418" y="8"/>
                    <a:pt x="362" y="25"/>
                    <a:pt x="310" y="50"/>
                  </a:cubicBezTo>
                  <a:cubicBezTo>
                    <a:pt x="283" y="63"/>
                    <a:pt x="258" y="78"/>
                    <a:pt x="233" y="95"/>
                  </a:cubicBezTo>
                  <a:cubicBezTo>
                    <a:pt x="210" y="112"/>
                    <a:pt x="188" y="130"/>
                    <a:pt x="167" y="150"/>
                  </a:cubicBezTo>
                  <a:cubicBezTo>
                    <a:pt x="81" y="234"/>
                    <a:pt x="21" y="346"/>
                    <a:pt x="5" y="472"/>
                  </a:cubicBezTo>
                  <a:cubicBezTo>
                    <a:pt x="2" y="495"/>
                    <a:pt x="0" y="519"/>
                    <a:pt x="0" y="543"/>
                  </a:cubicBezTo>
                  <a:cubicBezTo>
                    <a:pt x="0" y="583"/>
                    <a:pt x="32" y="615"/>
                    <a:pt x="72" y="615"/>
                  </a:cubicBezTo>
                  <a:cubicBezTo>
                    <a:pt x="1024" y="615"/>
                    <a:pt x="1024" y="615"/>
                    <a:pt x="1024" y="615"/>
                  </a:cubicBezTo>
                  <a:cubicBezTo>
                    <a:pt x="1064" y="615"/>
                    <a:pt x="1096" y="583"/>
                    <a:pt x="1096" y="543"/>
                  </a:cubicBezTo>
                  <a:cubicBezTo>
                    <a:pt x="1096" y="519"/>
                    <a:pt x="1094" y="495"/>
                    <a:pt x="1091" y="4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grpSp>
      <p:grpSp>
        <p:nvGrpSpPr>
          <p:cNvPr id="18" name="Group 71">
            <a:extLst>
              <a:ext uri="{FF2B5EF4-FFF2-40B4-BE49-F238E27FC236}">
                <a16:creationId xmlns:a16="http://schemas.microsoft.com/office/drawing/2014/main" id="{2B097A50-40A4-4B6F-A1A4-31F46EC1EE68}"/>
              </a:ext>
            </a:extLst>
          </p:cNvPr>
          <p:cNvGrpSpPr/>
          <p:nvPr/>
        </p:nvGrpSpPr>
        <p:grpSpPr>
          <a:xfrm>
            <a:off x="4800593" y="4451163"/>
            <a:ext cx="476258" cy="375702"/>
            <a:chOff x="4949825" y="1755776"/>
            <a:chExt cx="2052638" cy="1619250"/>
          </a:xfrm>
          <a:solidFill>
            <a:srgbClr val="FFFFFF"/>
          </a:solidFill>
        </p:grpSpPr>
        <p:sp>
          <p:nvSpPr>
            <p:cNvPr id="19" name="Freeform 18">
              <a:extLst>
                <a:ext uri="{FF2B5EF4-FFF2-40B4-BE49-F238E27FC236}">
                  <a16:creationId xmlns:a16="http://schemas.microsoft.com/office/drawing/2014/main" id="{CE3D28CA-3768-4798-8E9C-FAA5FB30105F}"/>
                </a:ext>
              </a:extLst>
            </p:cNvPr>
            <p:cNvSpPr>
              <a:spLocks/>
            </p:cNvSpPr>
            <p:nvPr/>
          </p:nvSpPr>
          <p:spPr bwMode="auto">
            <a:xfrm>
              <a:off x="4949825" y="1943101"/>
              <a:ext cx="185738" cy="560388"/>
            </a:xfrm>
            <a:custGeom>
              <a:avLst/>
              <a:gdLst>
                <a:gd name="T0" fmla="*/ 93 w 186"/>
                <a:gd name="T1" fmla="*/ 0 h 559"/>
                <a:gd name="T2" fmla="*/ 0 w 186"/>
                <a:gd name="T3" fmla="*/ 93 h 559"/>
                <a:gd name="T4" fmla="*/ 0 w 186"/>
                <a:gd name="T5" fmla="*/ 466 h 559"/>
                <a:gd name="T6" fmla="*/ 93 w 186"/>
                <a:gd name="T7" fmla="*/ 559 h 559"/>
                <a:gd name="T8" fmla="*/ 186 w 186"/>
                <a:gd name="T9" fmla="*/ 466 h 559"/>
                <a:gd name="T10" fmla="*/ 186 w 186"/>
                <a:gd name="T11" fmla="*/ 373 h 559"/>
                <a:gd name="T12" fmla="*/ 186 w 186"/>
                <a:gd name="T13" fmla="*/ 187 h 559"/>
                <a:gd name="T14" fmla="*/ 186 w 186"/>
                <a:gd name="T15" fmla="*/ 93 h 559"/>
                <a:gd name="T16" fmla="*/ 93 w 186"/>
                <a:gd name="T17" fmla="*/ 0 h 5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6" h="559">
                  <a:moveTo>
                    <a:pt x="93" y="0"/>
                  </a:moveTo>
                  <a:cubicBezTo>
                    <a:pt x="42" y="0"/>
                    <a:pt x="0" y="42"/>
                    <a:pt x="0" y="93"/>
                  </a:cubicBezTo>
                  <a:cubicBezTo>
                    <a:pt x="0" y="466"/>
                    <a:pt x="0" y="466"/>
                    <a:pt x="0" y="466"/>
                  </a:cubicBezTo>
                  <a:cubicBezTo>
                    <a:pt x="0" y="517"/>
                    <a:pt x="42" y="559"/>
                    <a:pt x="93" y="559"/>
                  </a:cubicBezTo>
                  <a:cubicBezTo>
                    <a:pt x="145" y="559"/>
                    <a:pt x="186" y="517"/>
                    <a:pt x="186" y="466"/>
                  </a:cubicBezTo>
                  <a:cubicBezTo>
                    <a:pt x="186" y="373"/>
                    <a:pt x="186" y="373"/>
                    <a:pt x="186" y="373"/>
                  </a:cubicBezTo>
                  <a:cubicBezTo>
                    <a:pt x="186" y="187"/>
                    <a:pt x="186" y="187"/>
                    <a:pt x="186" y="187"/>
                  </a:cubicBezTo>
                  <a:cubicBezTo>
                    <a:pt x="186" y="93"/>
                    <a:pt x="186" y="93"/>
                    <a:pt x="186" y="93"/>
                  </a:cubicBezTo>
                  <a:cubicBezTo>
                    <a:pt x="186" y="42"/>
                    <a:pt x="145" y="0"/>
                    <a:pt x="9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sp>
          <p:nvSpPr>
            <p:cNvPr id="20" name="Freeform 19">
              <a:extLst>
                <a:ext uri="{FF2B5EF4-FFF2-40B4-BE49-F238E27FC236}">
                  <a16:creationId xmlns:a16="http://schemas.microsoft.com/office/drawing/2014/main" id="{A4E55465-5931-46E2-94DF-BB2ED531BFA2}"/>
                </a:ext>
              </a:extLst>
            </p:cNvPr>
            <p:cNvSpPr>
              <a:spLocks/>
            </p:cNvSpPr>
            <p:nvPr/>
          </p:nvSpPr>
          <p:spPr bwMode="auto">
            <a:xfrm>
              <a:off x="5435600" y="2752726"/>
              <a:ext cx="957263" cy="622300"/>
            </a:xfrm>
            <a:custGeom>
              <a:avLst/>
              <a:gdLst>
                <a:gd name="T0" fmla="*/ 935 w 956"/>
                <a:gd name="T1" fmla="*/ 489 h 621"/>
                <a:gd name="T2" fmla="*/ 709 w 956"/>
                <a:gd name="T3" fmla="*/ 0 h 621"/>
                <a:gd name="T4" fmla="*/ 478 w 956"/>
                <a:gd name="T5" fmla="*/ 0 h 621"/>
                <a:gd name="T6" fmla="*/ 247 w 956"/>
                <a:gd name="T7" fmla="*/ 0 h 621"/>
                <a:gd name="T8" fmla="*/ 21 w 956"/>
                <a:gd name="T9" fmla="*/ 489 h 621"/>
                <a:gd name="T10" fmla="*/ 67 w 956"/>
                <a:gd name="T11" fmla="*/ 612 h 621"/>
                <a:gd name="T12" fmla="*/ 106 w 956"/>
                <a:gd name="T13" fmla="*/ 621 h 621"/>
                <a:gd name="T14" fmla="*/ 190 w 956"/>
                <a:gd name="T15" fmla="*/ 567 h 621"/>
                <a:gd name="T16" fmla="*/ 385 w 956"/>
                <a:gd name="T17" fmla="*/ 145 h 621"/>
                <a:gd name="T18" fmla="*/ 385 w 956"/>
                <a:gd name="T19" fmla="*/ 528 h 621"/>
                <a:gd name="T20" fmla="*/ 478 w 956"/>
                <a:gd name="T21" fmla="*/ 621 h 621"/>
                <a:gd name="T22" fmla="*/ 571 w 956"/>
                <a:gd name="T23" fmla="*/ 528 h 621"/>
                <a:gd name="T24" fmla="*/ 571 w 956"/>
                <a:gd name="T25" fmla="*/ 145 h 621"/>
                <a:gd name="T26" fmla="*/ 766 w 956"/>
                <a:gd name="T27" fmla="*/ 567 h 621"/>
                <a:gd name="T28" fmla="*/ 850 w 956"/>
                <a:gd name="T29" fmla="*/ 621 h 621"/>
                <a:gd name="T30" fmla="*/ 889 w 956"/>
                <a:gd name="T31" fmla="*/ 612 h 621"/>
                <a:gd name="T32" fmla="*/ 935 w 956"/>
                <a:gd name="T33" fmla="*/ 489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56" h="621">
                  <a:moveTo>
                    <a:pt x="935" y="489"/>
                  </a:moveTo>
                  <a:cubicBezTo>
                    <a:pt x="709" y="0"/>
                    <a:pt x="709" y="0"/>
                    <a:pt x="709" y="0"/>
                  </a:cubicBezTo>
                  <a:cubicBezTo>
                    <a:pt x="478" y="0"/>
                    <a:pt x="478" y="0"/>
                    <a:pt x="478" y="0"/>
                  </a:cubicBezTo>
                  <a:cubicBezTo>
                    <a:pt x="247" y="0"/>
                    <a:pt x="247" y="0"/>
                    <a:pt x="247" y="0"/>
                  </a:cubicBezTo>
                  <a:cubicBezTo>
                    <a:pt x="21" y="489"/>
                    <a:pt x="21" y="489"/>
                    <a:pt x="21" y="489"/>
                  </a:cubicBezTo>
                  <a:cubicBezTo>
                    <a:pt x="0" y="535"/>
                    <a:pt x="20" y="591"/>
                    <a:pt x="67" y="612"/>
                  </a:cubicBezTo>
                  <a:cubicBezTo>
                    <a:pt x="79" y="618"/>
                    <a:pt x="92" y="621"/>
                    <a:pt x="106" y="621"/>
                  </a:cubicBezTo>
                  <a:cubicBezTo>
                    <a:pt x="141" y="621"/>
                    <a:pt x="174" y="601"/>
                    <a:pt x="190" y="567"/>
                  </a:cubicBezTo>
                  <a:cubicBezTo>
                    <a:pt x="385" y="145"/>
                    <a:pt x="385" y="145"/>
                    <a:pt x="385" y="145"/>
                  </a:cubicBezTo>
                  <a:cubicBezTo>
                    <a:pt x="385" y="528"/>
                    <a:pt x="385" y="528"/>
                    <a:pt x="385" y="528"/>
                  </a:cubicBezTo>
                  <a:cubicBezTo>
                    <a:pt x="385" y="579"/>
                    <a:pt x="427" y="621"/>
                    <a:pt x="478" y="621"/>
                  </a:cubicBezTo>
                  <a:cubicBezTo>
                    <a:pt x="529" y="621"/>
                    <a:pt x="571" y="579"/>
                    <a:pt x="571" y="528"/>
                  </a:cubicBezTo>
                  <a:cubicBezTo>
                    <a:pt x="571" y="145"/>
                    <a:pt x="571" y="145"/>
                    <a:pt x="571" y="145"/>
                  </a:cubicBezTo>
                  <a:cubicBezTo>
                    <a:pt x="766" y="567"/>
                    <a:pt x="766" y="567"/>
                    <a:pt x="766" y="567"/>
                  </a:cubicBezTo>
                  <a:cubicBezTo>
                    <a:pt x="781" y="601"/>
                    <a:pt x="815" y="621"/>
                    <a:pt x="850" y="621"/>
                  </a:cubicBezTo>
                  <a:cubicBezTo>
                    <a:pt x="863" y="621"/>
                    <a:pt x="877" y="618"/>
                    <a:pt x="889" y="612"/>
                  </a:cubicBezTo>
                  <a:cubicBezTo>
                    <a:pt x="936" y="591"/>
                    <a:pt x="956" y="535"/>
                    <a:pt x="935" y="48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sp>
          <p:nvSpPr>
            <p:cNvPr id="21" name="Freeform 20">
              <a:extLst>
                <a:ext uri="{FF2B5EF4-FFF2-40B4-BE49-F238E27FC236}">
                  <a16:creationId xmlns:a16="http://schemas.microsoft.com/office/drawing/2014/main" id="{137DE41E-66F0-47E8-95A6-A134CB844D6F}"/>
                </a:ext>
              </a:extLst>
            </p:cNvPr>
            <p:cNvSpPr>
              <a:spLocks/>
            </p:cNvSpPr>
            <p:nvPr/>
          </p:nvSpPr>
          <p:spPr bwMode="auto">
            <a:xfrm>
              <a:off x="5322888" y="1943101"/>
              <a:ext cx="312738" cy="560388"/>
            </a:xfrm>
            <a:custGeom>
              <a:avLst/>
              <a:gdLst>
                <a:gd name="T0" fmla="*/ 311 w 312"/>
                <a:gd name="T1" fmla="*/ 31 h 559"/>
                <a:gd name="T2" fmla="*/ 312 w 312"/>
                <a:gd name="T3" fmla="*/ 0 h 559"/>
                <a:gd name="T4" fmla="*/ 93 w 312"/>
                <a:gd name="T5" fmla="*/ 0 h 559"/>
                <a:gd name="T6" fmla="*/ 0 w 312"/>
                <a:gd name="T7" fmla="*/ 93 h 559"/>
                <a:gd name="T8" fmla="*/ 0 w 312"/>
                <a:gd name="T9" fmla="*/ 187 h 559"/>
                <a:gd name="T10" fmla="*/ 0 w 312"/>
                <a:gd name="T11" fmla="*/ 373 h 559"/>
                <a:gd name="T12" fmla="*/ 0 w 312"/>
                <a:gd name="T13" fmla="*/ 466 h 559"/>
                <a:gd name="T14" fmla="*/ 93 w 312"/>
                <a:gd name="T15" fmla="*/ 559 h 559"/>
                <a:gd name="T16" fmla="*/ 312 w 312"/>
                <a:gd name="T17" fmla="*/ 559 h 559"/>
                <a:gd name="T18" fmla="*/ 311 w 312"/>
                <a:gd name="T19" fmla="*/ 528 h 559"/>
                <a:gd name="T20" fmla="*/ 311 w 312"/>
                <a:gd name="T21" fmla="*/ 31 h 5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2" h="559">
                  <a:moveTo>
                    <a:pt x="311" y="31"/>
                  </a:moveTo>
                  <a:cubicBezTo>
                    <a:pt x="311" y="21"/>
                    <a:pt x="311" y="11"/>
                    <a:pt x="312" y="0"/>
                  </a:cubicBezTo>
                  <a:cubicBezTo>
                    <a:pt x="93" y="0"/>
                    <a:pt x="93" y="0"/>
                    <a:pt x="93" y="0"/>
                  </a:cubicBezTo>
                  <a:cubicBezTo>
                    <a:pt x="42" y="0"/>
                    <a:pt x="0" y="42"/>
                    <a:pt x="0" y="93"/>
                  </a:cubicBezTo>
                  <a:cubicBezTo>
                    <a:pt x="0" y="187"/>
                    <a:pt x="0" y="187"/>
                    <a:pt x="0" y="187"/>
                  </a:cubicBezTo>
                  <a:cubicBezTo>
                    <a:pt x="0" y="373"/>
                    <a:pt x="0" y="373"/>
                    <a:pt x="0" y="373"/>
                  </a:cubicBezTo>
                  <a:cubicBezTo>
                    <a:pt x="0" y="466"/>
                    <a:pt x="0" y="466"/>
                    <a:pt x="0" y="466"/>
                  </a:cubicBezTo>
                  <a:cubicBezTo>
                    <a:pt x="0" y="517"/>
                    <a:pt x="42" y="559"/>
                    <a:pt x="93" y="559"/>
                  </a:cubicBezTo>
                  <a:cubicBezTo>
                    <a:pt x="312" y="559"/>
                    <a:pt x="312" y="559"/>
                    <a:pt x="312" y="559"/>
                  </a:cubicBezTo>
                  <a:cubicBezTo>
                    <a:pt x="311" y="549"/>
                    <a:pt x="311" y="538"/>
                    <a:pt x="311" y="528"/>
                  </a:cubicBezTo>
                  <a:lnTo>
                    <a:pt x="31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sp>
          <p:nvSpPr>
            <p:cNvPr id="22" name="Freeform 21">
              <a:extLst>
                <a:ext uri="{FF2B5EF4-FFF2-40B4-BE49-F238E27FC236}">
                  <a16:creationId xmlns:a16="http://schemas.microsoft.com/office/drawing/2014/main" id="{7E30B037-4CA1-456D-85E9-E8D9F4F768EA}"/>
                </a:ext>
              </a:extLst>
            </p:cNvPr>
            <p:cNvSpPr>
              <a:spLocks/>
            </p:cNvSpPr>
            <p:nvPr/>
          </p:nvSpPr>
          <p:spPr bwMode="auto">
            <a:xfrm>
              <a:off x="5821363" y="1755776"/>
              <a:ext cx="1181100" cy="935038"/>
            </a:xfrm>
            <a:custGeom>
              <a:avLst/>
              <a:gdLst>
                <a:gd name="T0" fmla="*/ 1086 w 1179"/>
                <a:gd name="T1" fmla="*/ 0 h 931"/>
                <a:gd name="T2" fmla="*/ 993 w 1179"/>
                <a:gd name="T3" fmla="*/ 93 h 931"/>
                <a:gd name="T4" fmla="*/ 993 w 1179"/>
                <a:gd name="T5" fmla="*/ 124 h 931"/>
                <a:gd name="T6" fmla="*/ 325 w 1179"/>
                <a:gd name="T7" fmla="*/ 124 h 931"/>
                <a:gd name="T8" fmla="*/ 196 w 1179"/>
                <a:gd name="T9" fmla="*/ 124 h 931"/>
                <a:gd name="T10" fmla="*/ 93 w 1179"/>
                <a:gd name="T11" fmla="*/ 124 h 931"/>
                <a:gd name="T12" fmla="*/ 5 w 1179"/>
                <a:gd name="T13" fmla="*/ 186 h 931"/>
                <a:gd name="T14" fmla="*/ 0 w 1179"/>
                <a:gd name="T15" fmla="*/ 217 h 931"/>
                <a:gd name="T16" fmla="*/ 0 w 1179"/>
                <a:gd name="T17" fmla="*/ 693 h 931"/>
                <a:gd name="T18" fmla="*/ 0 w 1179"/>
                <a:gd name="T19" fmla="*/ 714 h 931"/>
                <a:gd name="T20" fmla="*/ 5 w 1179"/>
                <a:gd name="T21" fmla="*/ 745 h 931"/>
                <a:gd name="T22" fmla="*/ 93 w 1179"/>
                <a:gd name="T23" fmla="*/ 807 h 931"/>
                <a:gd name="T24" fmla="*/ 196 w 1179"/>
                <a:gd name="T25" fmla="*/ 807 h 931"/>
                <a:gd name="T26" fmla="*/ 238 w 1179"/>
                <a:gd name="T27" fmla="*/ 807 h 931"/>
                <a:gd name="T28" fmla="*/ 325 w 1179"/>
                <a:gd name="T29" fmla="*/ 807 h 931"/>
                <a:gd name="T30" fmla="*/ 854 w 1179"/>
                <a:gd name="T31" fmla="*/ 807 h 931"/>
                <a:gd name="T32" fmla="*/ 993 w 1179"/>
                <a:gd name="T33" fmla="*/ 807 h 931"/>
                <a:gd name="T34" fmla="*/ 993 w 1179"/>
                <a:gd name="T35" fmla="*/ 838 h 931"/>
                <a:gd name="T36" fmla="*/ 1086 w 1179"/>
                <a:gd name="T37" fmla="*/ 931 h 931"/>
                <a:gd name="T38" fmla="*/ 1179 w 1179"/>
                <a:gd name="T39" fmla="*/ 838 h 931"/>
                <a:gd name="T40" fmla="*/ 1179 w 1179"/>
                <a:gd name="T41" fmla="*/ 714 h 931"/>
                <a:gd name="T42" fmla="*/ 1179 w 1179"/>
                <a:gd name="T43" fmla="*/ 217 h 931"/>
                <a:gd name="T44" fmla="*/ 1179 w 1179"/>
                <a:gd name="T45" fmla="*/ 93 h 931"/>
                <a:gd name="T46" fmla="*/ 1086 w 1179"/>
                <a:gd name="T47" fmla="*/ 0 h 9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79" h="931">
                  <a:moveTo>
                    <a:pt x="1086" y="0"/>
                  </a:moveTo>
                  <a:cubicBezTo>
                    <a:pt x="1034" y="0"/>
                    <a:pt x="993" y="42"/>
                    <a:pt x="993" y="93"/>
                  </a:cubicBezTo>
                  <a:cubicBezTo>
                    <a:pt x="993" y="124"/>
                    <a:pt x="993" y="124"/>
                    <a:pt x="993" y="124"/>
                  </a:cubicBezTo>
                  <a:cubicBezTo>
                    <a:pt x="325" y="124"/>
                    <a:pt x="325" y="124"/>
                    <a:pt x="325" y="124"/>
                  </a:cubicBezTo>
                  <a:cubicBezTo>
                    <a:pt x="196" y="124"/>
                    <a:pt x="196" y="124"/>
                    <a:pt x="196" y="124"/>
                  </a:cubicBezTo>
                  <a:cubicBezTo>
                    <a:pt x="93" y="124"/>
                    <a:pt x="93" y="124"/>
                    <a:pt x="93" y="124"/>
                  </a:cubicBezTo>
                  <a:cubicBezTo>
                    <a:pt x="52" y="124"/>
                    <a:pt x="18" y="150"/>
                    <a:pt x="5" y="186"/>
                  </a:cubicBezTo>
                  <a:cubicBezTo>
                    <a:pt x="2" y="196"/>
                    <a:pt x="0" y="207"/>
                    <a:pt x="0" y="217"/>
                  </a:cubicBezTo>
                  <a:cubicBezTo>
                    <a:pt x="0" y="693"/>
                    <a:pt x="0" y="693"/>
                    <a:pt x="0" y="693"/>
                  </a:cubicBezTo>
                  <a:cubicBezTo>
                    <a:pt x="0" y="714"/>
                    <a:pt x="0" y="714"/>
                    <a:pt x="0" y="714"/>
                  </a:cubicBezTo>
                  <a:cubicBezTo>
                    <a:pt x="0" y="725"/>
                    <a:pt x="2" y="735"/>
                    <a:pt x="5" y="745"/>
                  </a:cubicBezTo>
                  <a:cubicBezTo>
                    <a:pt x="18" y="781"/>
                    <a:pt x="52" y="807"/>
                    <a:pt x="93" y="807"/>
                  </a:cubicBezTo>
                  <a:cubicBezTo>
                    <a:pt x="196" y="807"/>
                    <a:pt x="196" y="807"/>
                    <a:pt x="196" y="807"/>
                  </a:cubicBezTo>
                  <a:cubicBezTo>
                    <a:pt x="238" y="807"/>
                    <a:pt x="238" y="807"/>
                    <a:pt x="238" y="807"/>
                  </a:cubicBezTo>
                  <a:cubicBezTo>
                    <a:pt x="325" y="807"/>
                    <a:pt x="325" y="807"/>
                    <a:pt x="325" y="807"/>
                  </a:cubicBezTo>
                  <a:cubicBezTo>
                    <a:pt x="854" y="807"/>
                    <a:pt x="854" y="807"/>
                    <a:pt x="854" y="807"/>
                  </a:cubicBezTo>
                  <a:cubicBezTo>
                    <a:pt x="993" y="807"/>
                    <a:pt x="993" y="807"/>
                    <a:pt x="993" y="807"/>
                  </a:cubicBezTo>
                  <a:cubicBezTo>
                    <a:pt x="993" y="838"/>
                    <a:pt x="993" y="838"/>
                    <a:pt x="993" y="838"/>
                  </a:cubicBezTo>
                  <a:cubicBezTo>
                    <a:pt x="993" y="889"/>
                    <a:pt x="1035" y="931"/>
                    <a:pt x="1086" y="931"/>
                  </a:cubicBezTo>
                  <a:cubicBezTo>
                    <a:pt x="1137" y="931"/>
                    <a:pt x="1179" y="889"/>
                    <a:pt x="1179" y="838"/>
                  </a:cubicBezTo>
                  <a:cubicBezTo>
                    <a:pt x="1179" y="714"/>
                    <a:pt x="1179" y="714"/>
                    <a:pt x="1179" y="714"/>
                  </a:cubicBezTo>
                  <a:cubicBezTo>
                    <a:pt x="1179" y="217"/>
                    <a:pt x="1179" y="217"/>
                    <a:pt x="1179" y="217"/>
                  </a:cubicBezTo>
                  <a:cubicBezTo>
                    <a:pt x="1179" y="93"/>
                    <a:pt x="1179" y="93"/>
                    <a:pt x="1179" y="93"/>
                  </a:cubicBezTo>
                  <a:cubicBezTo>
                    <a:pt x="1179" y="42"/>
                    <a:pt x="1137" y="0"/>
                    <a:pt x="108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grpSp>
      <p:grpSp>
        <p:nvGrpSpPr>
          <p:cNvPr id="23" name="Group 76">
            <a:extLst>
              <a:ext uri="{FF2B5EF4-FFF2-40B4-BE49-F238E27FC236}">
                <a16:creationId xmlns:a16="http://schemas.microsoft.com/office/drawing/2014/main" id="{7B7990FC-1582-4F8B-944C-D1E0A7127799}"/>
              </a:ext>
            </a:extLst>
          </p:cNvPr>
          <p:cNvGrpSpPr/>
          <p:nvPr/>
        </p:nvGrpSpPr>
        <p:grpSpPr>
          <a:xfrm>
            <a:off x="6851345" y="3028365"/>
            <a:ext cx="601678" cy="373798"/>
            <a:chOff x="8420100" y="1390651"/>
            <a:chExt cx="2493963" cy="1549400"/>
          </a:xfrm>
          <a:solidFill>
            <a:srgbClr val="FFFFFF"/>
          </a:solidFill>
        </p:grpSpPr>
        <p:sp>
          <p:nvSpPr>
            <p:cNvPr id="24" name="Freeform 25">
              <a:extLst>
                <a:ext uri="{FF2B5EF4-FFF2-40B4-BE49-F238E27FC236}">
                  <a16:creationId xmlns:a16="http://schemas.microsoft.com/office/drawing/2014/main" id="{74717881-47AD-4F9E-99B5-FB1C65282D8D}"/>
                </a:ext>
              </a:extLst>
            </p:cNvPr>
            <p:cNvSpPr>
              <a:spLocks/>
            </p:cNvSpPr>
            <p:nvPr/>
          </p:nvSpPr>
          <p:spPr bwMode="auto">
            <a:xfrm>
              <a:off x="9567863" y="2698751"/>
              <a:ext cx="198438" cy="241300"/>
            </a:xfrm>
            <a:custGeom>
              <a:avLst/>
              <a:gdLst>
                <a:gd name="T0" fmla="*/ 81 w 162"/>
                <a:gd name="T1" fmla="*/ 1 h 199"/>
                <a:gd name="T2" fmla="*/ 0 w 162"/>
                <a:gd name="T3" fmla="*/ 0 h 199"/>
                <a:gd name="T4" fmla="*/ 0 w 162"/>
                <a:gd name="T5" fmla="*/ 118 h 199"/>
                <a:gd name="T6" fmla="*/ 81 w 162"/>
                <a:gd name="T7" fmla="*/ 199 h 199"/>
                <a:gd name="T8" fmla="*/ 162 w 162"/>
                <a:gd name="T9" fmla="*/ 118 h 199"/>
                <a:gd name="T10" fmla="*/ 162 w 162"/>
                <a:gd name="T11" fmla="*/ 0 h 199"/>
                <a:gd name="T12" fmla="*/ 81 w 162"/>
                <a:gd name="T13" fmla="*/ 1 h 199"/>
              </a:gdLst>
              <a:ahLst/>
              <a:cxnLst>
                <a:cxn ang="0">
                  <a:pos x="T0" y="T1"/>
                </a:cxn>
                <a:cxn ang="0">
                  <a:pos x="T2" y="T3"/>
                </a:cxn>
                <a:cxn ang="0">
                  <a:pos x="T4" y="T5"/>
                </a:cxn>
                <a:cxn ang="0">
                  <a:pos x="T6" y="T7"/>
                </a:cxn>
                <a:cxn ang="0">
                  <a:pos x="T8" y="T9"/>
                </a:cxn>
                <a:cxn ang="0">
                  <a:pos x="T10" y="T11"/>
                </a:cxn>
                <a:cxn ang="0">
                  <a:pos x="T12" y="T13"/>
                </a:cxn>
              </a:cxnLst>
              <a:rect l="0" t="0" r="r" b="b"/>
              <a:pathLst>
                <a:path w="162" h="199">
                  <a:moveTo>
                    <a:pt x="81" y="1"/>
                  </a:moveTo>
                  <a:cubicBezTo>
                    <a:pt x="54" y="1"/>
                    <a:pt x="27" y="1"/>
                    <a:pt x="0" y="0"/>
                  </a:cubicBezTo>
                  <a:cubicBezTo>
                    <a:pt x="0" y="118"/>
                    <a:pt x="0" y="118"/>
                    <a:pt x="0" y="118"/>
                  </a:cubicBezTo>
                  <a:cubicBezTo>
                    <a:pt x="0" y="162"/>
                    <a:pt x="36" y="199"/>
                    <a:pt x="81" y="199"/>
                  </a:cubicBezTo>
                  <a:cubicBezTo>
                    <a:pt x="126" y="199"/>
                    <a:pt x="162" y="162"/>
                    <a:pt x="162" y="118"/>
                  </a:cubicBezTo>
                  <a:cubicBezTo>
                    <a:pt x="162" y="0"/>
                    <a:pt x="162" y="0"/>
                    <a:pt x="162" y="0"/>
                  </a:cubicBezTo>
                  <a:cubicBezTo>
                    <a:pt x="135" y="1"/>
                    <a:pt x="108" y="1"/>
                    <a:pt x="8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sp>
          <p:nvSpPr>
            <p:cNvPr id="25" name="Freeform 26">
              <a:extLst>
                <a:ext uri="{FF2B5EF4-FFF2-40B4-BE49-F238E27FC236}">
                  <a16:creationId xmlns:a16="http://schemas.microsoft.com/office/drawing/2014/main" id="{151CF435-645A-4A9F-9F92-284B7712E2BA}"/>
                </a:ext>
              </a:extLst>
            </p:cNvPr>
            <p:cNvSpPr>
              <a:spLocks/>
            </p:cNvSpPr>
            <p:nvPr/>
          </p:nvSpPr>
          <p:spPr bwMode="auto">
            <a:xfrm>
              <a:off x="8943975" y="2646363"/>
              <a:ext cx="273050" cy="293688"/>
            </a:xfrm>
            <a:custGeom>
              <a:avLst/>
              <a:gdLst>
                <a:gd name="T0" fmla="*/ 61 w 224"/>
                <a:gd name="T1" fmla="*/ 0 h 241"/>
                <a:gd name="T2" fmla="*/ 15 w 224"/>
                <a:gd name="T3" fmla="*/ 133 h 241"/>
                <a:gd name="T4" fmla="*/ 64 w 224"/>
                <a:gd name="T5" fmla="*/ 236 h 241"/>
                <a:gd name="T6" fmla="*/ 91 w 224"/>
                <a:gd name="T7" fmla="*/ 241 h 241"/>
                <a:gd name="T8" fmla="*/ 167 w 224"/>
                <a:gd name="T9" fmla="*/ 187 h 241"/>
                <a:gd name="T10" fmla="*/ 224 w 224"/>
                <a:gd name="T11" fmla="*/ 23 h 241"/>
                <a:gd name="T12" fmla="*/ 61 w 224"/>
                <a:gd name="T13" fmla="*/ 0 h 241"/>
              </a:gdLst>
              <a:ahLst/>
              <a:cxnLst>
                <a:cxn ang="0">
                  <a:pos x="T0" y="T1"/>
                </a:cxn>
                <a:cxn ang="0">
                  <a:pos x="T2" y="T3"/>
                </a:cxn>
                <a:cxn ang="0">
                  <a:pos x="T4" y="T5"/>
                </a:cxn>
                <a:cxn ang="0">
                  <a:pos x="T6" y="T7"/>
                </a:cxn>
                <a:cxn ang="0">
                  <a:pos x="T8" y="T9"/>
                </a:cxn>
                <a:cxn ang="0">
                  <a:pos x="T10" y="T11"/>
                </a:cxn>
                <a:cxn ang="0">
                  <a:pos x="T12" y="T13"/>
                </a:cxn>
              </a:cxnLst>
              <a:rect l="0" t="0" r="r" b="b"/>
              <a:pathLst>
                <a:path w="224" h="241">
                  <a:moveTo>
                    <a:pt x="61" y="0"/>
                  </a:moveTo>
                  <a:cubicBezTo>
                    <a:pt x="15" y="133"/>
                    <a:pt x="15" y="133"/>
                    <a:pt x="15" y="133"/>
                  </a:cubicBezTo>
                  <a:cubicBezTo>
                    <a:pt x="0" y="175"/>
                    <a:pt x="22" y="221"/>
                    <a:pt x="64" y="236"/>
                  </a:cubicBezTo>
                  <a:cubicBezTo>
                    <a:pt x="73" y="239"/>
                    <a:pt x="82" y="241"/>
                    <a:pt x="91" y="241"/>
                  </a:cubicBezTo>
                  <a:cubicBezTo>
                    <a:pt x="124" y="241"/>
                    <a:pt x="156" y="220"/>
                    <a:pt x="167" y="187"/>
                  </a:cubicBezTo>
                  <a:cubicBezTo>
                    <a:pt x="224" y="23"/>
                    <a:pt x="224" y="23"/>
                    <a:pt x="224" y="23"/>
                  </a:cubicBezTo>
                  <a:cubicBezTo>
                    <a:pt x="168" y="17"/>
                    <a:pt x="114" y="9"/>
                    <a:pt x="6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sp>
          <p:nvSpPr>
            <p:cNvPr id="26" name="Freeform 27">
              <a:extLst>
                <a:ext uri="{FF2B5EF4-FFF2-40B4-BE49-F238E27FC236}">
                  <a16:creationId xmlns:a16="http://schemas.microsoft.com/office/drawing/2014/main" id="{19B5AE63-22E1-40B0-81C2-8564390E5EFC}"/>
                </a:ext>
              </a:extLst>
            </p:cNvPr>
            <p:cNvSpPr>
              <a:spLocks/>
            </p:cNvSpPr>
            <p:nvPr/>
          </p:nvSpPr>
          <p:spPr bwMode="auto">
            <a:xfrm>
              <a:off x="10118725" y="2646363"/>
              <a:ext cx="271463" cy="293688"/>
            </a:xfrm>
            <a:custGeom>
              <a:avLst/>
              <a:gdLst>
                <a:gd name="T0" fmla="*/ 209 w 224"/>
                <a:gd name="T1" fmla="*/ 133 h 241"/>
                <a:gd name="T2" fmla="*/ 163 w 224"/>
                <a:gd name="T3" fmla="*/ 0 h 241"/>
                <a:gd name="T4" fmla="*/ 0 w 224"/>
                <a:gd name="T5" fmla="*/ 23 h 241"/>
                <a:gd name="T6" fmla="*/ 57 w 224"/>
                <a:gd name="T7" fmla="*/ 187 h 241"/>
                <a:gd name="T8" fmla="*/ 133 w 224"/>
                <a:gd name="T9" fmla="*/ 241 h 241"/>
                <a:gd name="T10" fmla="*/ 160 w 224"/>
                <a:gd name="T11" fmla="*/ 236 h 241"/>
                <a:gd name="T12" fmla="*/ 209 w 224"/>
                <a:gd name="T13" fmla="*/ 133 h 241"/>
              </a:gdLst>
              <a:ahLst/>
              <a:cxnLst>
                <a:cxn ang="0">
                  <a:pos x="T0" y="T1"/>
                </a:cxn>
                <a:cxn ang="0">
                  <a:pos x="T2" y="T3"/>
                </a:cxn>
                <a:cxn ang="0">
                  <a:pos x="T4" y="T5"/>
                </a:cxn>
                <a:cxn ang="0">
                  <a:pos x="T6" y="T7"/>
                </a:cxn>
                <a:cxn ang="0">
                  <a:pos x="T8" y="T9"/>
                </a:cxn>
                <a:cxn ang="0">
                  <a:pos x="T10" y="T11"/>
                </a:cxn>
                <a:cxn ang="0">
                  <a:pos x="T12" y="T13"/>
                </a:cxn>
              </a:cxnLst>
              <a:rect l="0" t="0" r="r" b="b"/>
              <a:pathLst>
                <a:path w="224" h="241">
                  <a:moveTo>
                    <a:pt x="209" y="133"/>
                  </a:moveTo>
                  <a:cubicBezTo>
                    <a:pt x="163" y="0"/>
                    <a:pt x="163" y="0"/>
                    <a:pt x="163" y="0"/>
                  </a:cubicBezTo>
                  <a:cubicBezTo>
                    <a:pt x="110" y="9"/>
                    <a:pt x="56" y="17"/>
                    <a:pt x="0" y="23"/>
                  </a:cubicBezTo>
                  <a:cubicBezTo>
                    <a:pt x="57" y="187"/>
                    <a:pt x="57" y="187"/>
                    <a:pt x="57" y="187"/>
                  </a:cubicBezTo>
                  <a:cubicBezTo>
                    <a:pt x="68" y="220"/>
                    <a:pt x="100" y="241"/>
                    <a:pt x="133" y="241"/>
                  </a:cubicBezTo>
                  <a:cubicBezTo>
                    <a:pt x="142" y="241"/>
                    <a:pt x="151" y="239"/>
                    <a:pt x="160" y="236"/>
                  </a:cubicBezTo>
                  <a:cubicBezTo>
                    <a:pt x="202" y="221"/>
                    <a:pt x="224" y="175"/>
                    <a:pt x="209" y="1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sp>
          <p:nvSpPr>
            <p:cNvPr id="27" name="Freeform 28">
              <a:extLst>
                <a:ext uri="{FF2B5EF4-FFF2-40B4-BE49-F238E27FC236}">
                  <a16:creationId xmlns:a16="http://schemas.microsoft.com/office/drawing/2014/main" id="{AE4CD5E2-9220-468E-B10C-7F728FD19E33}"/>
                </a:ext>
              </a:extLst>
            </p:cNvPr>
            <p:cNvSpPr>
              <a:spLocks/>
            </p:cNvSpPr>
            <p:nvPr/>
          </p:nvSpPr>
          <p:spPr bwMode="auto">
            <a:xfrm>
              <a:off x="8420100" y="1709738"/>
              <a:ext cx="2493963" cy="792163"/>
            </a:xfrm>
            <a:custGeom>
              <a:avLst/>
              <a:gdLst>
                <a:gd name="T0" fmla="*/ 1592 w 2048"/>
                <a:gd name="T1" fmla="*/ 3 h 651"/>
                <a:gd name="T2" fmla="*/ 1615 w 2048"/>
                <a:gd name="T3" fmla="*/ 163 h 651"/>
                <a:gd name="T4" fmla="*/ 1519 w 2048"/>
                <a:gd name="T5" fmla="*/ 311 h 651"/>
                <a:gd name="T6" fmla="*/ 1029 w 2048"/>
                <a:gd name="T7" fmla="*/ 409 h 651"/>
                <a:gd name="T8" fmla="*/ 539 w 2048"/>
                <a:gd name="T9" fmla="*/ 311 h 651"/>
                <a:gd name="T10" fmla="*/ 443 w 2048"/>
                <a:gd name="T11" fmla="*/ 163 h 651"/>
                <a:gd name="T12" fmla="*/ 466 w 2048"/>
                <a:gd name="T13" fmla="*/ 0 h 651"/>
                <a:gd name="T14" fmla="*/ 0 w 2048"/>
                <a:gd name="T15" fmla="*/ 301 h 651"/>
                <a:gd name="T16" fmla="*/ 335 w 2048"/>
                <a:gd name="T17" fmla="*/ 569 h 651"/>
                <a:gd name="T18" fmla="*/ 545 w 2048"/>
                <a:gd name="T19" fmla="*/ 615 h 651"/>
                <a:gd name="T20" fmla="*/ 709 w 2048"/>
                <a:gd name="T21" fmla="*/ 636 h 651"/>
                <a:gd name="T22" fmla="*/ 943 w 2048"/>
                <a:gd name="T23" fmla="*/ 650 h 651"/>
                <a:gd name="T24" fmla="*/ 1024 w 2048"/>
                <a:gd name="T25" fmla="*/ 651 h 651"/>
                <a:gd name="T26" fmla="*/ 1105 w 2048"/>
                <a:gd name="T27" fmla="*/ 650 h 651"/>
                <a:gd name="T28" fmla="*/ 1339 w 2048"/>
                <a:gd name="T29" fmla="*/ 636 h 651"/>
                <a:gd name="T30" fmla="*/ 1503 w 2048"/>
                <a:gd name="T31" fmla="*/ 615 h 651"/>
                <a:gd name="T32" fmla="*/ 1713 w 2048"/>
                <a:gd name="T33" fmla="*/ 569 h 651"/>
                <a:gd name="T34" fmla="*/ 2048 w 2048"/>
                <a:gd name="T35" fmla="*/ 301 h 651"/>
                <a:gd name="T36" fmla="*/ 1592 w 2048"/>
                <a:gd name="T37" fmla="*/ 3 h 6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048" h="651">
                  <a:moveTo>
                    <a:pt x="1592" y="3"/>
                  </a:moveTo>
                  <a:cubicBezTo>
                    <a:pt x="1607" y="54"/>
                    <a:pt x="1615" y="108"/>
                    <a:pt x="1615" y="163"/>
                  </a:cubicBezTo>
                  <a:cubicBezTo>
                    <a:pt x="1615" y="227"/>
                    <a:pt x="1577" y="285"/>
                    <a:pt x="1519" y="311"/>
                  </a:cubicBezTo>
                  <a:cubicBezTo>
                    <a:pt x="1510" y="315"/>
                    <a:pt x="1294" y="409"/>
                    <a:pt x="1029" y="409"/>
                  </a:cubicBezTo>
                  <a:cubicBezTo>
                    <a:pt x="763" y="409"/>
                    <a:pt x="548" y="315"/>
                    <a:pt x="539" y="311"/>
                  </a:cubicBezTo>
                  <a:cubicBezTo>
                    <a:pt x="481" y="285"/>
                    <a:pt x="443" y="227"/>
                    <a:pt x="443" y="163"/>
                  </a:cubicBezTo>
                  <a:cubicBezTo>
                    <a:pt x="443" y="107"/>
                    <a:pt x="451" y="53"/>
                    <a:pt x="466" y="0"/>
                  </a:cubicBezTo>
                  <a:cubicBezTo>
                    <a:pt x="250" y="44"/>
                    <a:pt x="0" y="131"/>
                    <a:pt x="0" y="301"/>
                  </a:cubicBezTo>
                  <a:cubicBezTo>
                    <a:pt x="0" y="415"/>
                    <a:pt x="113" y="506"/>
                    <a:pt x="335" y="569"/>
                  </a:cubicBezTo>
                  <a:cubicBezTo>
                    <a:pt x="399" y="587"/>
                    <a:pt x="469" y="603"/>
                    <a:pt x="545" y="615"/>
                  </a:cubicBezTo>
                  <a:cubicBezTo>
                    <a:pt x="598" y="624"/>
                    <a:pt x="653" y="631"/>
                    <a:pt x="709" y="636"/>
                  </a:cubicBezTo>
                  <a:cubicBezTo>
                    <a:pt x="784" y="644"/>
                    <a:pt x="863" y="648"/>
                    <a:pt x="943" y="650"/>
                  </a:cubicBezTo>
                  <a:cubicBezTo>
                    <a:pt x="970" y="651"/>
                    <a:pt x="997" y="651"/>
                    <a:pt x="1024" y="651"/>
                  </a:cubicBezTo>
                  <a:cubicBezTo>
                    <a:pt x="1051" y="651"/>
                    <a:pt x="1078" y="651"/>
                    <a:pt x="1105" y="650"/>
                  </a:cubicBezTo>
                  <a:cubicBezTo>
                    <a:pt x="1185" y="648"/>
                    <a:pt x="1264" y="644"/>
                    <a:pt x="1339" y="636"/>
                  </a:cubicBezTo>
                  <a:cubicBezTo>
                    <a:pt x="1395" y="631"/>
                    <a:pt x="1450" y="624"/>
                    <a:pt x="1503" y="615"/>
                  </a:cubicBezTo>
                  <a:cubicBezTo>
                    <a:pt x="1579" y="603"/>
                    <a:pt x="1649" y="587"/>
                    <a:pt x="1713" y="569"/>
                  </a:cubicBezTo>
                  <a:cubicBezTo>
                    <a:pt x="1935" y="506"/>
                    <a:pt x="2048" y="415"/>
                    <a:pt x="2048" y="301"/>
                  </a:cubicBezTo>
                  <a:cubicBezTo>
                    <a:pt x="2048" y="133"/>
                    <a:pt x="1804" y="46"/>
                    <a:pt x="1592"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sp>
          <p:nvSpPr>
            <p:cNvPr id="28" name="Freeform 29">
              <a:extLst>
                <a:ext uri="{FF2B5EF4-FFF2-40B4-BE49-F238E27FC236}">
                  <a16:creationId xmlns:a16="http://schemas.microsoft.com/office/drawing/2014/main" id="{1BC876B0-1C3D-4305-8CC9-235A828278D0}"/>
                </a:ext>
              </a:extLst>
            </p:cNvPr>
            <p:cNvSpPr>
              <a:spLocks/>
            </p:cNvSpPr>
            <p:nvPr/>
          </p:nvSpPr>
          <p:spPr bwMode="auto">
            <a:xfrm>
              <a:off x="9156700" y="1390651"/>
              <a:ext cx="1033463" cy="620713"/>
            </a:xfrm>
            <a:custGeom>
              <a:avLst/>
              <a:gdLst>
                <a:gd name="T0" fmla="*/ 807 w 848"/>
                <a:gd name="T1" fmla="*/ 243 h 509"/>
                <a:gd name="T2" fmla="*/ 766 w 848"/>
                <a:gd name="T3" fmla="*/ 173 h 509"/>
                <a:gd name="T4" fmla="*/ 710 w 848"/>
                <a:gd name="T5" fmla="*/ 111 h 509"/>
                <a:gd name="T6" fmla="*/ 424 w 848"/>
                <a:gd name="T7" fmla="*/ 0 h 509"/>
                <a:gd name="T8" fmla="*/ 139 w 848"/>
                <a:gd name="T9" fmla="*/ 111 h 509"/>
                <a:gd name="T10" fmla="*/ 83 w 848"/>
                <a:gd name="T11" fmla="*/ 172 h 509"/>
                <a:gd name="T12" fmla="*/ 41 w 848"/>
                <a:gd name="T13" fmla="*/ 242 h 509"/>
                <a:gd name="T14" fmla="*/ 0 w 848"/>
                <a:gd name="T15" fmla="*/ 424 h 509"/>
                <a:gd name="T16" fmla="*/ 424 w 848"/>
                <a:gd name="T17" fmla="*/ 509 h 509"/>
                <a:gd name="T18" fmla="*/ 848 w 848"/>
                <a:gd name="T19" fmla="*/ 424 h 509"/>
                <a:gd name="T20" fmla="*/ 807 w 848"/>
                <a:gd name="T21" fmla="*/ 243 h 5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48" h="509">
                  <a:moveTo>
                    <a:pt x="807" y="243"/>
                  </a:moveTo>
                  <a:cubicBezTo>
                    <a:pt x="796" y="219"/>
                    <a:pt x="782" y="195"/>
                    <a:pt x="766" y="173"/>
                  </a:cubicBezTo>
                  <a:cubicBezTo>
                    <a:pt x="749" y="151"/>
                    <a:pt x="730" y="130"/>
                    <a:pt x="710" y="111"/>
                  </a:cubicBezTo>
                  <a:cubicBezTo>
                    <a:pt x="635" y="42"/>
                    <a:pt x="534" y="0"/>
                    <a:pt x="424" y="0"/>
                  </a:cubicBezTo>
                  <a:cubicBezTo>
                    <a:pt x="314" y="0"/>
                    <a:pt x="214" y="42"/>
                    <a:pt x="139" y="111"/>
                  </a:cubicBezTo>
                  <a:cubicBezTo>
                    <a:pt x="118" y="129"/>
                    <a:pt x="100" y="150"/>
                    <a:pt x="83" y="172"/>
                  </a:cubicBezTo>
                  <a:cubicBezTo>
                    <a:pt x="67" y="194"/>
                    <a:pt x="53" y="217"/>
                    <a:pt x="41" y="242"/>
                  </a:cubicBezTo>
                  <a:cubicBezTo>
                    <a:pt x="15" y="297"/>
                    <a:pt x="0" y="359"/>
                    <a:pt x="0" y="424"/>
                  </a:cubicBezTo>
                  <a:cubicBezTo>
                    <a:pt x="0" y="424"/>
                    <a:pt x="190" y="509"/>
                    <a:pt x="424" y="509"/>
                  </a:cubicBezTo>
                  <a:cubicBezTo>
                    <a:pt x="658" y="509"/>
                    <a:pt x="848" y="424"/>
                    <a:pt x="848" y="424"/>
                  </a:cubicBezTo>
                  <a:cubicBezTo>
                    <a:pt x="848" y="359"/>
                    <a:pt x="833" y="298"/>
                    <a:pt x="807" y="2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grpSp>
      <p:grpSp>
        <p:nvGrpSpPr>
          <p:cNvPr id="29" name="Group 82">
            <a:extLst>
              <a:ext uri="{FF2B5EF4-FFF2-40B4-BE49-F238E27FC236}">
                <a16:creationId xmlns:a16="http://schemas.microsoft.com/office/drawing/2014/main" id="{C27517CC-610C-4C9A-BB04-311E6F81C165}"/>
              </a:ext>
            </a:extLst>
          </p:cNvPr>
          <p:cNvGrpSpPr/>
          <p:nvPr/>
        </p:nvGrpSpPr>
        <p:grpSpPr>
          <a:xfrm>
            <a:off x="6572529" y="4779224"/>
            <a:ext cx="581952" cy="357292"/>
            <a:chOff x="6411913" y="1622425"/>
            <a:chExt cx="1023937" cy="628651"/>
          </a:xfrm>
          <a:solidFill>
            <a:srgbClr val="FFFFFF"/>
          </a:solidFill>
        </p:grpSpPr>
        <p:sp>
          <p:nvSpPr>
            <p:cNvPr id="30" name="Freeform 21">
              <a:extLst>
                <a:ext uri="{FF2B5EF4-FFF2-40B4-BE49-F238E27FC236}">
                  <a16:creationId xmlns:a16="http://schemas.microsoft.com/office/drawing/2014/main" id="{068C0B54-5038-4A04-B362-5A65CF796DBD}"/>
                </a:ext>
              </a:extLst>
            </p:cNvPr>
            <p:cNvSpPr>
              <a:spLocks/>
            </p:cNvSpPr>
            <p:nvPr/>
          </p:nvSpPr>
          <p:spPr bwMode="auto">
            <a:xfrm>
              <a:off x="6648450" y="2005013"/>
              <a:ext cx="550862" cy="246063"/>
            </a:xfrm>
            <a:custGeom>
              <a:avLst/>
              <a:gdLst>
                <a:gd name="T0" fmla="*/ 622 w 1100"/>
                <a:gd name="T1" fmla="*/ 159 h 493"/>
                <a:gd name="T2" fmla="*/ 550 w 1100"/>
                <a:gd name="T3" fmla="*/ 171 h 493"/>
                <a:gd name="T4" fmla="*/ 478 w 1100"/>
                <a:gd name="T5" fmla="*/ 159 h 493"/>
                <a:gd name="T6" fmla="*/ 0 w 1100"/>
                <a:gd name="T7" fmla="*/ 0 h 493"/>
                <a:gd name="T8" fmla="*/ 0 w 1100"/>
                <a:gd name="T9" fmla="*/ 259 h 493"/>
                <a:gd name="T10" fmla="*/ 52 w 1100"/>
                <a:gd name="T11" fmla="*/ 331 h 493"/>
                <a:gd name="T12" fmla="*/ 526 w 1100"/>
                <a:gd name="T13" fmla="*/ 489 h 493"/>
                <a:gd name="T14" fmla="*/ 550 w 1100"/>
                <a:gd name="T15" fmla="*/ 493 h 493"/>
                <a:gd name="T16" fmla="*/ 574 w 1100"/>
                <a:gd name="T17" fmla="*/ 489 h 493"/>
                <a:gd name="T18" fmla="*/ 1048 w 1100"/>
                <a:gd name="T19" fmla="*/ 331 h 493"/>
                <a:gd name="T20" fmla="*/ 1100 w 1100"/>
                <a:gd name="T21" fmla="*/ 259 h 493"/>
                <a:gd name="T22" fmla="*/ 1100 w 1100"/>
                <a:gd name="T23" fmla="*/ 0 h 493"/>
                <a:gd name="T24" fmla="*/ 622 w 1100"/>
                <a:gd name="T25" fmla="*/ 159 h 4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00" h="493">
                  <a:moveTo>
                    <a:pt x="622" y="159"/>
                  </a:moveTo>
                  <a:cubicBezTo>
                    <a:pt x="599" y="167"/>
                    <a:pt x="575" y="171"/>
                    <a:pt x="550" y="171"/>
                  </a:cubicBezTo>
                  <a:cubicBezTo>
                    <a:pt x="525" y="171"/>
                    <a:pt x="501" y="167"/>
                    <a:pt x="478" y="159"/>
                  </a:cubicBezTo>
                  <a:cubicBezTo>
                    <a:pt x="0" y="0"/>
                    <a:pt x="0" y="0"/>
                    <a:pt x="0" y="0"/>
                  </a:cubicBezTo>
                  <a:cubicBezTo>
                    <a:pt x="0" y="259"/>
                    <a:pt x="0" y="259"/>
                    <a:pt x="0" y="259"/>
                  </a:cubicBezTo>
                  <a:cubicBezTo>
                    <a:pt x="0" y="292"/>
                    <a:pt x="21" y="321"/>
                    <a:pt x="52" y="331"/>
                  </a:cubicBezTo>
                  <a:cubicBezTo>
                    <a:pt x="526" y="489"/>
                    <a:pt x="526" y="489"/>
                    <a:pt x="526" y="489"/>
                  </a:cubicBezTo>
                  <a:cubicBezTo>
                    <a:pt x="534" y="492"/>
                    <a:pt x="542" y="493"/>
                    <a:pt x="550" y="493"/>
                  </a:cubicBezTo>
                  <a:cubicBezTo>
                    <a:pt x="558" y="493"/>
                    <a:pt x="566" y="492"/>
                    <a:pt x="574" y="489"/>
                  </a:cubicBezTo>
                  <a:cubicBezTo>
                    <a:pt x="1048" y="331"/>
                    <a:pt x="1048" y="331"/>
                    <a:pt x="1048" y="331"/>
                  </a:cubicBezTo>
                  <a:cubicBezTo>
                    <a:pt x="1079" y="321"/>
                    <a:pt x="1100" y="292"/>
                    <a:pt x="1100" y="259"/>
                  </a:cubicBezTo>
                  <a:cubicBezTo>
                    <a:pt x="1100" y="0"/>
                    <a:pt x="1100" y="0"/>
                    <a:pt x="1100" y="0"/>
                  </a:cubicBezTo>
                  <a:lnTo>
                    <a:pt x="622" y="1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sp>
          <p:nvSpPr>
            <p:cNvPr id="31" name="Freeform 22">
              <a:extLst>
                <a:ext uri="{FF2B5EF4-FFF2-40B4-BE49-F238E27FC236}">
                  <a16:creationId xmlns:a16="http://schemas.microsoft.com/office/drawing/2014/main" id="{440EF9E7-1233-4E90-A301-162E3A7F029B}"/>
                </a:ext>
              </a:extLst>
            </p:cNvPr>
            <p:cNvSpPr>
              <a:spLocks/>
            </p:cNvSpPr>
            <p:nvPr/>
          </p:nvSpPr>
          <p:spPr bwMode="auto">
            <a:xfrm>
              <a:off x="6411913" y="1622425"/>
              <a:ext cx="1023937" cy="457200"/>
            </a:xfrm>
            <a:custGeom>
              <a:avLst/>
              <a:gdLst>
                <a:gd name="T0" fmla="*/ 1996 w 2048"/>
                <a:gd name="T1" fmla="*/ 320 h 915"/>
                <a:gd name="T2" fmla="*/ 1048 w 2048"/>
                <a:gd name="T3" fmla="*/ 4 h 915"/>
                <a:gd name="T4" fmla="*/ 1024 w 2048"/>
                <a:gd name="T5" fmla="*/ 0 h 915"/>
                <a:gd name="T6" fmla="*/ 1000 w 2048"/>
                <a:gd name="T7" fmla="*/ 4 h 915"/>
                <a:gd name="T8" fmla="*/ 52 w 2048"/>
                <a:gd name="T9" fmla="*/ 320 h 915"/>
                <a:gd name="T10" fmla="*/ 0 w 2048"/>
                <a:gd name="T11" fmla="*/ 392 h 915"/>
                <a:gd name="T12" fmla="*/ 52 w 2048"/>
                <a:gd name="T13" fmla="*/ 464 h 915"/>
                <a:gd name="T14" fmla="*/ 474 w 2048"/>
                <a:gd name="T15" fmla="*/ 605 h 915"/>
                <a:gd name="T16" fmla="*/ 1000 w 2048"/>
                <a:gd name="T17" fmla="*/ 780 h 915"/>
                <a:gd name="T18" fmla="*/ 1024 w 2048"/>
                <a:gd name="T19" fmla="*/ 784 h 915"/>
                <a:gd name="T20" fmla="*/ 1048 w 2048"/>
                <a:gd name="T21" fmla="*/ 780 h 915"/>
                <a:gd name="T22" fmla="*/ 1574 w 2048"/>
                <a:gd name="T23" fmla="*/ 605 h 915"/>
                <a:gd name="T24" fmla="*/ 1896 w 2048"/>
                <a:gd name="T25" fmla="*/ 497 h 915"/>
                <a:gd name="T26" fmla="*/ 1896 w 2048"/>
                <a:gd name="T27" fmla="*/ 840 h 915"/>
                <a:gd name="T28" fmla="*/ 1972 w 2048"/>
                <a:gd name="T29" fmla="*/ 915 h 915"/>
                <a:gd name="T30" fmla="*/ 2048 w 2048"/>
                <a:gd name="T31" fmla="*/ 840 h 915"/>
                <a:gd name="T32" fmla="*/ 2048 w 2048"/>
                <a:gd name="T33" fmla="*/ 392 h 915"/>
                <a:gd name="T34" fmla="*/ 1996 w 2048"/>
                <a:gd name="T35" fmla="*/ 320 h 9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48" h="915">
                  <a:moveTo>
                    <a:pt x="1996" y="320"/>
                  </a:moveTo>
                  <a:cubicBezTo>
                    <a:pt x="1048" y="4"/>
                    <a:pt x="1048" y="4"/>
                    <a:pt x="1048" y="4"/>
                  </a:cubicBezTo>
                  <a:cubicBezTo>
                    <a:pt x="1040" y="1"/>
                    <a:pt x="1032" y="0"/>
                    <a:pt x="1024" y="0"/>
                  </a:cubicBezTo>
                  <a:cubicBezTo>
                    <a:pt x="1016" y="0"/>
                    <a:pt x="1008" y="1"/>
                    <a:pt x="1000" y="4"/>
                  </a:cubicBezTo>
                  <a:cubicBezTo>
                    <a:pt x="52" y="320"/>
                    <a:pt x="52" y="320"/>
                    <a:pt x="52" y="320"/>
                  </a:cubicBezTo>
                  <a:cubicBezTo>
                    <a:pt x="21" y="330"/>
                    <a:pt x="0" y="359"/>
                    <a:pt x="0" y="392"/>
                  </a:cubicBezTo>
                  <a:cubicBezTo>
                    <a:pt x="0" y="425"/>
                    <a:pt x="21" y="454"/>
                    <a:pt x="52" y="464"/>
                  </a:cubicBezTo>
                  <a:cubicBezTo>
                    <a:pt x="474" y="605"/>
                    <a:pt x="474" y="605"/>
                    <a:pt x="474" y="605"/>
                  </a:cubicBezTo>
                  <a:cubicBezTo>
                    <a:pt x="1000" y="780"/>
                    <a:pt x="1000" y="780"/>
                    <a:pt x="1000" y="780"/>
                  </a:cubicBezTo>
                  <a:cubicBezTo>
                    <a:pt x="1008" y="783"/>
                    <a:pt x="1016" y="784"/>
                    <a:pt x="1024" y="784"/>
                  </a:cubicBezTo>
                  <a:cubicBezTo>
                    <a:pt x="1032" y="784"/>
                    <a:pt x="1040" y="783"/>
                    <a:pt x="1048" y="780"/>
                  </a:cubicBezTo>
                  <a:cubicBezTo>
                    <a:pt x="1574" y="605"/>
                    <a:pt x="1574" y="605"/>
                    <a:pt x="1574" y="605"/>
                  </a:cubicBezTo>
                  <a:cubicBezTo>
                    <a:pt x="1896" y="497"/>
                    <a:pt x="1896" y="497"/>
                    <a:pt x="1896" y="497"/>
                  </a:cubicBezTo>
                  <a:cubicBezTo>
                    <a:pt x="1896" y="840"/>
                    <a:pt x="1896" y="840"/>
                    <a:pt x="1896" y="840"/>
                  </a:cubicBezTo>
                  <a:cubicBezTo>
                    <a:pt x="1896" y="881"/>
                    <a:pt x="1930" y="915"/>
                    <a:pt x="1972" y="915"/>
                  </a:cubicBezTo>
                  <a:cubicBezTo>
                    <a:pt x="2014" y="915"/>
                    <a:pt x="2048" y="881"/>
                    <a:pt x="2048" y="840"/>
                  </a:cubicBezTo>
                  <a:cubicBezTo>
                    <a:pt x="2048" y="392"/>
                    <a:pt x="2048" y="392"/>
                    <a:pt x="2048" y="392"/>
                  </a:cubicBezTo>
                  <a:cubicBezTo>
                    <a:pt x="2048" y="359"/>
                    <a:pt x="2027" y="330"/>
                    <a:pt x="1996" y="3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grpSp>
      <p:sp>
        <p:nvSpPr>
          <p:cNvPr id="32" name="文本框 31">
            <a:extLst>
              <a:ext uri="{FF2B5EF4-FFF2-40B4-BE49-F238E27FC236}">
                <a16:creationId xmlns:a16="http://schemas.microsoft.com/office/drawing/2014/main" id="{4C12B79E-5564-4F8C-BA05-9F878C21A2F4}"/>
              </a:ext>
            </a:extLst>
          </p:cNvPr>
          <p:cNvSpPr txBox="1"/>
          <p:nvPr/>
        </p:nvSpPr>
        <p:spPr>
          <a:xfrm>
            <a:off x="4449556" y="918105"/>
            <a:ext cx="3292889" cy="52322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2800" b="0" i="0" u="none" strike="noStrike" kern="1200" cap="none" spc="0" normalizeH="0" baseline="0" noProof="0" dirty="0">
                <a:ln>
                  <a:noFill/>
                </a:ln>
                <a:solidFill>
                  <a:prstClr val="black"/>
                </a:solidFill>
                <a:effectLst/>
                <a:uLnTx/>
                <a:uFillTx/>
                <a:latin typeface="HarmonyOS Sans Black"/>
                <a:ea typeface="+mj-ea"/>
                <a:cs typeface="+mn-cs"/>
              </a:rPr>
              <a:t>Circle </a:t>
            </a:r>
            <a:r>
              <a:rPr kumimoji="0" lang="en-US" altLang="zh-CN" sz="2800" b="0" i="0" u="none" strike="noStrike" kern="1200" cap="none" spc="0" normalizeH="0" baseline="0" noProof="0" dirty="0">
                <a:ln>
                  <a:noFill/>
                </a:ln>
                <a:solidFill>
                  <a:schemeClr val="accent1"/>
                </a:solidFill>
                <a:effectLst/>
                <a:uLnTx/>
                <a:uFillTx/>
                <a:latin typeface="HarmonyOS Sans Black"/>
                <a:ea typeface="+mj-ea"/>
                <a:cs typeface="+mn-cs"/>
              </a:rPr>
              <a:t>infographic</a:t>
            </a:r>
          </a:p>
        </p:txBody>
      </p:sp>
      <p:grpSp>
        <p:nvGrpSpPr>
          <p:cNvPr id="38" name="组合 37">
            <a:extLst>
              <a:ext uri="{FF2B5EF4-FFF2-40B4-BE49-F238E27FC236}">
                <a16:creationId xmlns:a16="http://schemas.microsoft.com/office/drawing/2014/main" id="{B588778E-F6C0-4F28-A814-EBB99C6AFC74}"/>
              </a:ext>
            </a:extLst>
          </p:cNvPr>
          <p:cNvGrpSpPr/>
          <p:nvPr/>
        </p:nvGrpSpPr>
        <p:grpSpPr>
          <a:xfrm>
            <a:off x="976987" y="2516034"/>
            <a:ext cx="2668622" cy="2787957"/>
            <a:chOff x="911022" y="2382112"/>
            <a:chExt cx="2668622" cy="2787957"/>
          </a:xfrm>
        </p:grpSpPr>
        <p:sp>
          <p:nvSpPr>
            <p:cNvPr id="34" name="TextBox 65">
              <a:extLst>
                <a:ext uri="{FF2B5EF4-FFF2-40B4-BE49-F238E27FC236}">
                  <a16:creationId xmlns:a16="http://schemas.microsoft.com/office/drawing/2014/main" id="{DDE7D3F5-206D-4B0C-82D7-07CC2539B8BD}"/>
                </a:ext>
              </a:extLst>
            </p:cNvPr>
            <p:cNvSpPr txBox="1"/>
            <p:nvPr/>
          </p:nvSpPr>
          <p:spPr>
            <a:xfrm>
              <a:off x="1523383" y="2382112"/>
              <a:ext cx="2056261" cy="387598"/>
            </a:xfrm>
            <a:prstGeom prst="rect">
              <a:avLst/>
            </a:prstGeom>
            <a:noFill/>
          </p:spPr>
          <p:txBody>
            <a:bodyPr wrap="square" lIns="0" tIns="36000" rIns="0" bIns="36000" rtlCol="0">
              <a:spAutoFit/>
            </a:bodyPr>
            <a:lstStyle/>
            <a:p>
              <a:pPr marL="0" marR="0" lvl="0" indent="0" algn="r" defTabSz="914400" rtl="0" eaLnBrk="1" fontAlgn="auto" latinLnBrk="0" hangingPunct="1">
                <a:lnSpc>
                  <a:spcPct val="120000"/>
                </a:lnSpc>
                <a:spcBef>
                  <a:spcPts val="600"/>
                </a:spcBef>
                <a:spcAft>
                  <a:spcPts val="0"/>
                </a:spcAft>
                <a:buClrTx/>
                <a:buSzTx/>
                <a:buFontTx/>
                <a:buNone/>
                <a:tabLst/>
                <a:defRPr/>
              </a:pPr>
              <a:r>
                <a:rPr kumimoji="0" lang="zh-CN" altLang="en-US" sz="1800" b="0" i="0" u="none" strike="noStrike" kern="1200" cap="none" spc="0" normalizeH="0" baseline="0" noProof="0" dirty="0">
                  <a:ln>
                    <a:noFill/>
                  </a:ln>
                  <a:solidFill>
                    <a:schemeClr val="accent1"/>
                  </a:solidFill>
                  <a:effectLst/>
                  <a:uLnTx/>
                  <a:uFillTx/>
                  <a:latin typeface="HarmonyOS Sans SC Black"/>
                  <a:ea typeface="+mj-ea"/>
                  <a:cs typeface="+mn-cs"/>
                </a:rPr>
                <a:t>关键词标题</a:t>
              </a:r>
              <a:endParaRPr kumimoji="0" lang="en-US" sz="1800" b="0" i="0" u="none" strike="noStrike" kern="1200" cap="none" spc="0" normalizeH="0" baseline="0" noProof="0" dirty="0">
                <a:ln>
                  <a:noFill/>
                </a:ln>
                <a:solidFill>
                  <a:schemeClr val="accent1"/>
                </a:solidFill>
                <a:effectLst/>
                <a:uLnTx/>
                <a:uFillTx/>
                <a:latin typeface="HarmonyOS Sans SC Black"/>
                <a:ea typeface="+mj-ea"/>
                <a:cs typeface="+mn-cs"/>
              </a:endParaRPr>
            </a:p>
          </p:txBody>
        </p:sp>
        <p:sp>
          <p:nvSpPr>
            <p:cNvPr id="35" name="TextBox 65">
              <a:extLst>
                <a:ext uri="{FF2B5EF4-FFF2-40B4-BE49-F238E27FC236}">
                  <a16:creationId xmlns:a16="http://schemas.microsoft.com/office/drawing/2014/main" id="{129D7BDB-D791-4104-AFBE-A5AA49ACEC02}"/>
                </a:ext>
              </a:extLst>
            </p:cNvPr>
            <p:cNvSpPr txBox="1"/>
            <p:nvPr/>
          </p:nvSpPr>
          <p:spPr>
            <a:xfrm>
              <a:off x="911022" y="2765511"/>
              <a:ext cx="2668622" cy="498204"/>
            </a:xfrm>
            <a:prstGeom prst="rect">
              <a:avLst/>
            </a:prstGeom>
            <a:noFill/>
          </p:spPr>
          <p:txBody>
            <a:bodyPr wrap="square" lIns="0" tIns="36000" rIns="0" bIns="36000" rtlCol="0">
              <a:spAutoFit/>
            </a:bodyPr>
            <a:lstStyle/>
            <a:p>
              <a:pPr marL="0" marR="0" lvl="0" indent="0" algn="r" defTabSz="914400" rtl="0" eaLnBrk="1" fontAlgn="auto" latinLnBrk="0" hangingPunct="1">
                <a:lnSpc>
                  <a:spcPct val="120000"/>
                </a:lnSpc>
                <a:spcBef>
                  <a:spcPts val="600"/>
                </a:spcBef>
                <a:spcAft>
                  <a:spcPts val="0"/>
                </a:spcAft>
                <a:buClrTx/>
                <a:buSzTx/>
                <a:buFontTx/>
                <a:buNone/>
                <a:tabLst/>
                <a:defRPr/>
              </a:pPr>
              <a:r>
                <a:rPr kumimoji="0" lang="en-US" sz="1200" b="0" i="0" u="none" strike="noStrike" kern="1200" cap="none" spc="0" normalizeH="0" baseline="0" noProof="0" dirty="0">
                  <a:ln>
                    <a:noFill/>
                  </a:ln>
                  <a:solidFill>
                    <a:prstClr val="black">
                      <a:lumMod val="50000"/>
                      <a:lumOff val="50000"/>
                    </a:prstClr>
                  </a:solidFill>
                  <a:effectLst/>
                  <a:uLnTx/>
                  <a:uFillTx/>
                  <a:latin typeface="HarmonyOS Sans SC"/>
                  <a:cs typeface="+mn-cs"/>
                </a:rPr>
                <a:t>Apparently we had reached a great height in the.</a:t>
              </a:r>
            </a:p>
          </p:txBody>
        </p:sp>
        <p:sp>
          <p:nvSpPr>
            <p:cNvPr id="36" name="TextBox 65">
              <a:extLst>
                <a:ext uri="{FF2B5EF4-FFF2-40B4-BE49-F238E27FC236}">
                  <a16:creationId xmlns:a16="http://schemas.microsoft.com/office/drawing/2014/main" id="{66261FA8-2E16-4E55-88E3-8742BAE61CD7}"/>
                </a:ext>
              </a:extLst>
            </p:cNvPr>
            <p:cNvSpPr txBox="1"/>
            <p:nvPr/>
          </p:nvSpPr>
          <p:spPr>
            <a:xfrm>
              <a:off x="1523383" y="4288466"/>
              <a:ext cx="2056261" cy="387598"/>
            </a:xfrm>
            <a:prstGeom prst="rect">
              <a:avLst/>
            </a:prstGeom>
            <a:noFill/>
          </p:spPr>
          <p:txBody>
            <a:bodyPr wrap="square" lIns="0" tIns="36000" rIns="0" bIns="36000" rtlCol="0">
              <a:spAutoFit/>
            </a:bodyPr>
            <a:lstStyle/>
            <a:p>
              <a:pPr marL="0" marR="0" lvl="0" indent="0" algn="r" defTabSz="914400" rtl="0" eaLnBrk="1" fontAlgn="auto" latinLnBrk="0" hangingPunct="1">
                <a:lnSpc>
                  <a:spcPct val="120000"/>
                </a:lnSpc>
                <a:spcBef>
                  <a:spcPts val="600"/>
                </a:spcBef>
                <a:spcAft>
                  <a:spcPts val="0"/>
                </a:spcAft>
                <a:buClrTx/>
                <a:buSzTx/>
                <a:buFontTx/>
                <a:buNone/>
                <a:tabLst/>
                <a:defRPr/>
              </a:pPr>
              <a:r>
                <a:rPr kumimoji="0" lang="zh-CN" altLang="en-US" sz="1800" b="0" i="0" u="none" strike="noStrike" kern="1200" cap="none" spc="0" normalizeH="0" baseline="0" noProof="0" dirty="0">
                  <a:ln>
                    <a:noFill/>
                  </a:ln>
                  <a:solidFill>
                    <a:schemeClr val="accent1"/>
                  </a:solidFill>
                  <a:effectLst/>
                  <a:uLnTx/>
                  <a:uFillTx/>
                  <a:latin typeface="HarmonyOS Sans SC Black"/>
                  <a:ea typeface="+mj-ea"/>
                  <a:cs typeface="+mn-cs"/>
                </a:rPr>
                <a:t>关键词标题</a:t>
              </a:r>
              <a:endParaRPr kumimoji="0" lang="en-US" sz="1800" b="0" i="0" u="none" strike="noStrike" kern="1200" cap="none" spc="0" normalizeH="0" baseline="0" noProof="0" dirty="0">
                <a:ln>
                  <a:noFill/>
                </a:ln>
                <a:solidFill>
                  <a:schemeClr val="accent1"/>
                </a:solidFill>
                <a:effectLst/>
                <a:uLnTx/>
                <a:uFillTx/>
                <a:latin typeface="HarmonyOS Sans SC Black"/>
                <a:ea typeface="+mj-ea"/>
                <a:cs typeface="+mn-cs"/>
              </a:endParaRPr>
            </a:p>
          </p:txBody>
        </p:sp>
        <p:sp>
          <p:nvSpPr>
            <p:cNvPr id="37" name="TextBox 65">
              <a:extLst>
                <a:ext uri="{FF2B5EF4-FFF2-40B4-BE49-F238E27FC236}">
                  <a16:creationId xmlns:a16="http://schemas.microsoft.com/office/drawing/2014/main" id="{E03C0600-2207-4A33-9D27-B86588CFB277}"/>
                </a:ext>
              </a:extLst>
            </p:cNvPr>
            <p:cNvSpPr txBox="1"/>
            <p:nvPr/>
          </p:nvSpPr>
          <p:spPr>
            <a:xfrm>
              <a:off x="911022" y="4671865"/>
              <a:ext cx="2668622" cy="498204"/>
            </a:xfrm>
            <a:prstGeom prst="rect">
              <a:avLst/>
            </a:prstGeom>
            <a:noFill/>
          </p:spPr>
          <p:txBody>
            <a:bodyPr wrap="square" lIns="0" tIns="36000" rIns="0" bIns="36000" rtlCol="0">
              <a:spAutoFit/>
            </a:bodyPr>
            <a:lstStyle/>
            <a:p>
              <a:pPr marL="0" marR="0" lvl="0" indent="0" algn="r" defTabSz="914400" rtl="0" eaLnBrk="1" fontAlgn="auto" latinLnBrk="0" hangingPunct="1">
                <a:lnSpc>
                  <a:spcPct val="120000"/>
                </a:lnSpc>
                <a:spcBef>
                  <a:spcPts val="600"/>
                </a:spcBef>
                <a:spcAft>
                  <a:spcPts val="0"/>
                </a:spcAft>
                <a:buClrTx/>
                <a:buSzTx/>
                <a:buFontTx/>
                <a:buNone/>
                <a:tabLst/>
                <a:defRPr/>
              </a:pPr>
              <a:r>
                <a:rPr kumimoji="0" lang="en-US" sz="1200" b="0" i="0" u="none" strike="noStrike" kern="1200" cap="none" spc="0" normalizeH="0" baseline="0" noProof="0" dirty="0">
                  <a:ln>
                    <a:noFill/>
                  </a:ln>
                  <a:solidFill>
                    <a:prstClr val="black">
                      <a:lumMod val="50000"/>
                      <a:lumOff val="50000"/>
                    </a:prstClr>
                  </a:solidFill>
                  <a:effectLst/>
                  <a:uLnTx/>
                  <a:uFillTx/>
                  <a:latin typeface="HarmonyOS Sans SC"/>
                  <a:cs typeface="+mn-cs"/>
                </a:rPr>
                <a:t>Apparently we had reached a great height in the.</a:t>
              </a:r>
            </a:p>
          </p:txBody>
        </p:sp>
      </p:grpSp>
      <p:grpSp>
        <p:nvGrpSpPr>
          <p:cNvPr id="39" name="组合 38">
            <a:extLst>
              <a:ext uri="{FF2B5EF4-FFF2-40B4-BE49-F238E27FC236}">
                <a16:creationId xmlns:a16="http://schemas.microsoft.com/office/drawing/2014/main" id="{833CC327-9558-4DB5-B917-26A790E637A3}"/>
              </a:ext>
            </a:extLst>
          </p:cNvPr>
          <p:cNvGrpSpPr/>
          <p:nvPr/>
        </p:nvGrpSpPr>
        <p:grpSpPr>
          <a:xfrm flipH="1">
            <a:off x="8546391" y="2516034"/>
            <a:ext cx="2668622" cy="2787957"/>
            <a:chOff x="911022" y="2382112"/>
            <a:chExt cx="2668622" cy="2787957"/>
          </a:xfrm>
        </p:grpSpPr>
        <p:sp>
          <p:nvSpPr>
            <p:cNvPr id="40" name="TextBox 65">
              <a:extLst>
                <a:ext uri="{FF2B5EF4-FFF2-40B4-BE49-F238E27FC236}">
                  <a16:creationId xmlns:a16="http://schemas.microsoft.com/office/drawing/2014/main" id="{CDDB0A05-2573-41E3-80AE-D4520B85D8AF}"/>
                </a:ext>
              </a:extLst>
            </p:cNvPr>
            <p:cNvSpPr txBox="1"/>
            <p:nvPr/>
          </p:nvSpPr>
          <p:spPr>
            <a:xfrm>
              <a:off x="1523383" y="2382112"/>
              <a:ext cx="2056261" cy="387598"/>
            </a:xfrm>
            <a:prstGeom prst="rect">
              <a:avLst/>
            </a:prstGeom>
            <a:noFill/>
          </p:spPr>
          <p:txBody>
            <a:bodyPr wrap="square" lIns="0" tIns="36000" rIns="0" bIns="36000" rtlCol="0">
              <a:spAutoFit/>
            </a:bodyPr>
            <a:lstStyle/>
            <a:p>
              <a:pPr marL="0" marR="0" lvl="0" indent="0" algn="l" defTabSz="914400" rtl="0" eaLnBrk="1" fontAlgn="auto" latinLnBrk="0" hangingPunct="1">
                <a:lnSpc>
                  <a:spcPct val="120000"/>
                </a:lnSpc>
                <a:spcBef>
                  <a:spcPts val="600"/>
                </a:spcBef>
                <a:spcAft>
                  <a:spcPts val="0"/>
                </a:spcAft>
                <a:buClrTx/>
                <a:buSzTx/>
                <a:buFontTx/>
                <a:buNone/>
                <a:tabLst/>
                <a:defRPr/>
              </a:pPr>
              <a:r>
                <a:rPr kumimoji="0" lang="zh-CN" altLang="en-US" sz="1800" b="0" i="0" u="none" strike="noStrike" kern="1200" cap="none" spc="0" normalizeH="0" baseline="0" noProof="0" dirty="0">
                  <a:ln>
                    <a:noFill/>
                  </a:ln>
                  <a:solidFill>
                    <a:schemeClr val="accent1"/>
                  </a:solidFill>
                  <a:effectLst/>
                  <a:uLnTx/>
                  <a:uFillTx/>
                  <a:latin typeface="HarmonyOS Sans SC Black"/>
                  <a:ea typeface="+mj-ea"/>
                  <a:cs typeface="+mn-cs"/>
                </a:rPr>
                <a:t>关键词标题</a:t>
              </a:r>
              <a:endParaRPr kumimoji="0" lang="en-US" sz="1800" b="0" i="0" u="none" strike="noStrike" kern="1200" cap="none" spc="0" normalizeH="0" baseline="0" noProof="0" dirty="0">
                <a:ln>
                  <a:noFill/>
                </a:ln>
                <a:solidFill>
                  <a:schemeClr val="accent1"/>
                </a:solidFill>
                <a:effectLst/>
                <a:uLnTx/>
                <a:uFillTx/>
                <a:latin typeface="HarmonyOS Sans SC Black"/>
                <a:ea typeface="+mj-ea"/>
                <a:cs typeface="+mn-cs"/>
              </a:endParaRPr>
            </a:p>
          </p:txBody>
        </p:sp>
        <p:sp>
          <p:nvSpPr>
            <p:cNvPr id="41" name="TextBox 65">
              <a:extLst>
                <a:ext uri="{FF2B5EF4-FFF2-40B4-BE49-F238E27FC236}">
                  <a16:creationId xmlns:a16="http://schemas.microsoft.com/office/drawing/2014/main" id="{CB7BC396-EA57-4602-BB6B-38C58E6A5CA1}"/>
                </a:ext>
              </a:extLst>
            </p:cNvPr>
            <p:cNvSpPr txBox="1"/>
            <p:nvPr/>
          </p:nvSpPr>
          <p:spPr>
            <a:xfrm>
              <a:off x="911022" y="2765511"/>
              <a:ext cx="2668622" cy="498204"/>
            </a:xfrm>
            <a:prstGeom prst="rect">
              <a:avLst/>
            </a:prstGeom>
            <a:noFill/>
          </p:spPr>
          <p:txBody>
            <a:bodyPr wrap="square" lIns="0" tIns="36000" rIns="0" bIns="36000" rtlCol="0">
              <a:spAutoFit/>
            </a:bodyPr>
            <a:lstStyle/>
            <a:p>
              <a:pPr marL="0" marR="0" lvl="0" indent="0" algn="l" defTabSz="914400" rtl="0" eaLnBrk="1" fontAlgn="auto" latinLnBrk="0" hangingPunct="1">
                <a:lnSpc>
                  <a:spcPct val="120000"/>
                </a:lnSpc>
                <a:spcBef>
                  <a:spcPts val="600"/>
                </a:spcBef>
                <a:spcAft>
                  <a:spcPts val="0"/>
                </a:spcAft>
                <a:buClrTx/>
                <a:buSzTx/>
                <a:buFontTx/>
                <a:buNone/>
                <a:tabLst/>
                <a:defRPr/>
              </a:pPr>
              <a:r>
                <a:rPr kumimoji="0" lang="en-US" sz="1200" b="0" i="0" u="none" strike="noStrike" kern="1200" cap="none" spc="0" normalizeH="0" baseline="0" noProof="0" dirty="0">
                  <a:ln>
                    <a:noFill/>
                  </a:ln>
                  <a:solidFill>
                    <a:prstClr val="black">
                      <a:lumMod val="50000"/>
                      <a:lumOff val="50000"/>
                    </a:prstClr>
                  </a:solidFill>
                  <a:effectLst/>
                  <a:uLnTx/>
                  <a:uFillTx/>
                  <a:latin typeface="HarmonyOS Sans SC"/>
                  <a:cs typeface="+mn-cs"/>
                </a:rPr>
                <a:t>Apparently we had reached a great height in the.</a:t>
              </a:r>
            </a:p>
          </p:txBody>
        </p:sp>
        <p:sp>
          <p:nvSpPr>
            <p:cNvPr id="42" name="TextBox 65">
              <a:extLst>
                <a:ext uri="{FF2B5EF4-FFF2-40B4-BE49-F238E27FC236}">
                  <a16:creationId xmlns:a16="http://schemas.microsoft.com/office/drawing/2014/main" id="{107701D8-3647-4BAB-A00E-6B9CFCF62CCE}"/>
                </a:ext>
              </a:extLst>
            </p:cNvPr>
            <p:cNvSpPr txBox="1"/>
            <p:nvPr/>
          </p:nvSpPr>
          <p:spPr>
            <a:xfrm>
              <a:off x="1523383" y="4288466"/>
              <a:ext cx="2056261" cy="387598"/>
            </a:xfrm>
            <a:prstGeom prst="rect">
              <a:avLst/>
            </a:prstGeom>
            <a:noFill/>
          </p:spPr>
          <p:txBody>
            <a:bodyPr wrap="square" lIns="0" tIns="36000" rIns="0" bIns="36000" rtlCol="0">
              <a:spAutoFit/>
            </a:bodyPr>
            <a:lstStyle/>
            <a:p>
              <a:pPr marL="0" marR="0" lvl="0" indent="0" algn="l" defTabSz="914400" rtl="0" eaLnBrk="1" fontAlgn="auto" latinLnBrk="0" hangingPunct="1">
                <a:lnSpc>
                  <a:spcPct val="120000"/>
                </a:lnSpc>
                <a:spcBef>
                  <a:spcPts val="600"/>
                </a:spcBef>
                <a:spcAft>
                  <a:spcPts val="0"/>
                </a:spcAft>
                <a:buClrTx/>
                <a:buSzTx/>
                <a:buFontTx/>
                <a:buNone/>
                <a:tabLst/>
                <a:defRPr/>
              </a:pPr>
              <a:r>
                <a:rPr kumimoji="0" lang="zh-CN" altLang="en-US" sz="1800" b="0" i="0" u="none" strike="noStrike" kern="1200" cap="none" spc="0" normalizeH="0" baseline="0" noProof="0" dirty="0">
                  <a:ln>
                    <a:noFill/>
                  </a:ln>
                  <a:solidFill>
                    <a:schemeClr val="accent1"/>
                  </a:solidFill>
                  <a:effectLst/>
                  <a:uLnTx/>
                  <a:uFillTx/>
                  <a:latin typeface="HarmonyOS Sans SC Black"/>
                  <a:ea typeface="+mj-ea"/>
                  <a:cs typeface="+mn-cs"/>
                </a:rPr>
                <a:t>关键词标题</a:t>
              </a:r>
              <a:endParaRPr kumimoji="0" lang="en-US" sz="1800" b="0" i="0" u="none" strike="noStrike" kern="1200" cap="none" spc="0" normalizeH="0" baseline="0" noProof="0" dirty="0">
                <a:ln>
                  <a:noFill/>
                </a:ln>
                <a:solidFill>
                  <a:schemeClr val="accent1"/>
                </a:solidFill>
                <a:effectLst/>
                <a:uLnTx/>
                <a:uFillTx/>
                <a:latin typeface="HarmonyOS Sans SC Black"/>
                <a:ea typeface="+mj-ea"/>
                <a:cs typeface="+mn-cs"/>
              </a:endParaRPr>
            </a:p>
          </p:txBody>
        </p:sp>
        <p:sp>
          <p:nvSpPr>
            <p:cNvPr id="43" name="TextBox 65">
              <a:extLst>
                <a:ext uri="{FF2B5EF4-FFF2-40B4-BE49-F238E27FC236}">
                  <a16:creationId xmlns:a16="http://schemas.microsoft.com/office/drawing/2014/main" id="{0A0E0E8F-E769-48C5-8718-54C1B734DF90}"/>
                </a:ext>
              </a:extLst>
            </p:cNvPr>
            <p:cNvSpPr txBox="1"/>
            <p:nvPr/>
          </p:nvSpPr>
          <p:spPr>
            <a:xfrm>
              <a:off x="911022" y="4671865"/>
              <a:ext cx="2668622" cy="498204"/>
            </a:xfrm>
            <a:prstGeom prst="rect">
              <a:avLst/>
            </a:prstGeom>
            <a:noFill/>
          </p:spPr>
          <p:txBody>
            <a:bodyPr wrap="square" lIns="0" tIns="36000" rIns="0" bIns="36000" rtlCol="0">
              <a:spAutoFit/>
            </a:bodyPr>
            <a:lstStyle/>
            <a:p>
              <a:pPr marL="0" marR="0" lvl="0" indent="0" algn="l" defTabSz="914400" rtl="0" eaLnBrk="1" fontAlgn="auto" latinLnBrk="0" hangingPunct="1">
                <a:lnSpc>
                  <a:spcPct val="120000"/>
                </a:lnSpc>
                <a:spcBef>
                  <a:spcPts val="600"/>
                </a:spcBef>
                <a:spcAft>
                  <a:spcPts val="0"/>
                </a:spcAft>
                <a:buClrTx/>
                <a:buSzTx/>
                <a:buFontTx/>
                <a:buNone/>
                <a:tabLst/>
                <a:defRPr/>
              </a:pPr>
              <a:r>
                <a:rPr kumimoji="0" lang="en-US" sz="1200" b="0" i="0" u="none" strike="noStrike" kern="1200" cap="none" spc="0" normalizeH="0" baseline="0" noProof="0" dirty="0">
                  <a:ln>
                    <a:noFill/>
                  </a:ln>
                  <a:solidFill>
                    <a:prstClr val="black">
                      <a:lumMod val="50000"/>
                      <a:lumOff val="50000"/>
                    </a:prstClr>
                  </a:solidFill>
                  <a:effectLst/>
                  <a:uLnTx/>
                  <a:uFillTx/>
                  <a:latin typeface="HarmonyOS Sans SC"/>
                  <a:cs typeface="+mn-cs"/>
                </a:rPr>
                <a:t>Apparently we had reached a great height in the.</a:t>
              </a:r>
            </a:p>
          </p:txBody>
        </p:sp>
      </p:grpSp>
    </p:spTree>
    <p:extLst>
      <p:ext uri="{BB962C8B-B14F-4D97-AF65-F5344CB8AC3E}">
        <p14:creationId xmlns:p14="http://schemas.microsoft.com/office/powerpoint/2010/main" val="840028790"/>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5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reeform 13">
            <a:extLst>
              <a:ext uri="{FF2B5EF4-FFF2-40B4-BE49-F238E27FC236}">
                <a16:creationId xmlns:a16="http://schemas.microsoft.com/office/drawing/2014/main" id="{181712DE-99E1-4CEF-9442-D4553CB84DE9}"/>
              </a:ext>
            </a:extLst>
          </p:cNvPr>
          <p:cNvSpPr>
            <a:spLocks/>
          </p:cNvSpPr>
          <p:nvPr/>
        </p:nvSpPr>
        <p:spPr bwMode="auto">
          <a:xfrm>
            <a:off x="3824899" y="2082922"/>
            <a:ext cx="2432050" cy="2043113"/>
          </a:xfrm>
          <a:custGeom>
            <a:avLst/>
            <a:gdLst>
              <a:gd name="T0" fmla="*/ 0 w 6744"/>
              <a:gd name="T1" fmla="*/ 5644 h 5653"/>
              <a:gd name="T2" fmla="*/ 5810 w 6744"/>
              <a:gd name="T3" fmla="*/ 0 h 5653"/>
              <a:gd name="T4" fmla="*/ 6744 w 6744"/>
              <a:gd name="T5" fmla="*/ 1433 h 5653"/>
              <a:gd name="T6" fmla="*/ 5814 w 6744"/>
              <a:gd name="T7" fmla="*/ 2859 h 5653"/>
              <a:gd name="T8" fmla="*/ 2861 w 6744"/>
              <a:gd name="T9" fmla="*/ 5653 h 5653"/>
              <a:gd name="T10" fmla="*/ 1424 w 6744"/>
              <a:gd name="T11" fmla="*/ 4715 h 5653"/>
              <a:gd name="T12" fmla="*/ 0 w 6744"/>
              <a:gd name="T13" fmla="*/ 5644 h 5653"/>
            </a:gdLst>
            <a:ahLst/>
            <a:cxnLst>
              <a:cxn ang="0">
                <a:pos x="T0" y="T1"/>
              </a:cxn>
              <a:cxn ang="0">
                <a:pos x="T2" y="T3"/>
              </a:cxn>
              <a:cxn ang="0">
                <a:pos x="T4" y="T5"/>
              </a:cxn>
              <a:cxn ang="0">
                <a:pos x="T6" y="T7"/>
              </a:cxn>
              <a:cxn ang="0">
                <a:pos x="T8" y="T9"/>
              </a:cxn>
              <a:cxn ang="0">
                <a:pos x="T10" y="T11"/>
              </a:cxn>
              <a:cxn ang="0">
                <a:pos x="T12" y="T13"/>
              </a:cxn>
            </a:cxnLst>
            <a:rect l="0" t="0" r="r" b="b"/>
            <a:pathLst>
              <a:path w="6744" h="5653">
                <a:moveTo>
                  <a:pt x="0" y="5644"/>
                </a:moveTo>
                <a:cubicBezTo>
                  <a:pt x="93" y="2514"/>
                  <a:pt x="2658" y="4"/>
                  <a:pt x="5810" y="0"/>
                </a:cubicBezTo>
                <a:lnTo>
                  <a:pt x="6744" y="1433"/>
                </a:lnTo>
                <a:lnTo>
                  <a:pt x="5814" y="2859"/>
                </a:lnTo>
                <a:cubicBezTo>
                  <a:pt x="4236" y="2862"/>
                  <a:pt x="2948" y="4097"/>
                  <a:pt x="2861" y="5653"/>
                </a:cubicBezTo>
                <a:lnTo>
                  <a:pt x="1424" y="4715"/>
                </a:lnTo>
                <a:lnTo>
                  <a:pt x="0" y="5644"/>
                </a:lnTo>
                <a:close/>
              </a:path>
            </a:pathLst>
          </a:custGeom>
          <a:gradFill flip="none" rotWithShape="1">
            <a:gsLst>
              <a:gs pos="64000">
                <a:schemeClr val="accent1"/>
              </a:gs>
              <a:gs pos="31000">
                <a:schemeClr val="accent1">
                  <a:lumMod val="60000"/>
                  <a:lumOff val="40000"/>
                </a:schemeClr>
              </a:gs>
              <a:gs pos="0">
                <a:schemeClr val="accent1">
                  <a:lumMod val="40000"/>
                  <a:lumOff val="60000"/>
                </a:schemeClr>
              </a:gs>
            </a:gsLst>
            <a:lin ang="18900000" scaled="1"/>
            <a:tileRect/>
          </a:gradFill>
          <a:ln>
            <a:noFill/>
          </a:ln>
          <a:effectLst>
            <a:outerShdw blurRad="444500" dist="317500" dir="5400000" sx="92000" sy="92000" algn="t" rotWithShape="0">
              <a:schemeClr val="accent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4" name="Freeform 17">
            <a:extLst>
              <a:ext uri="{FF2B5EF4-FFF2-40B4-BE49-F238E27FC236}">
                <a16:creationId xmlns:a16="http://schemas.microsoft.com/office/drawing/2014/main" id="{DC3056B2-FF3A-4D2F-BF56-4F92E1F2C2D8}"/>
              </a:ext>
            </a:extLst>
          </p:cNvPr>
          <p:cNvSpPr>
            <a:spLocks/>
          </p:cNvSpPr>
          <p:nvPr/>
        </p:nvSpPr>
        <p:spPr bwMode="auto">
          <a:xfrm>
            <a:off x="5989638" y="2082922"/>
            <a:ext cx="2041525" cy="2435225"/>
          </a:xfrm>
          <a:custGeom>
            <a:avLst/>
            <a:gdLst>
              <a:gd name="T0" fmla="*/ 1 w 5654"/>
              <a:gd name="T1" fmla="*/ 0 h 6750"/>
              <a:gd name="T2" fmla="*/ 5654 w 5654"/>
              <a:gd name="T3" fmla="*/ 5813 h 6750"/>
              <a:gd name="T4" fmla="*/ 4217 w 5654"/>
              <a:gd name="T5" fmla="*/ 6750 h 6750"/>
              <a:gd name="T6" fmla="*/ 2795 w 5654"/>
              <a:gd name="T7" fmla="*/ 5823 h 6750"/>
              <a:gd name="T8" fmla="*/ 2795 w 5654"/>
              <a:gd name="T9" fmla="*/ 5818 h 6750"/>
              <a:gd name="T10" fmla="*/ 0 w 5654"/>
              <a:gd name="T11" fmla="*/ 2862 h 6750"/>
              <a:gd name="T12" fmla="*/ 934 w 5654"/>
              <a:gd name="T13" fmla="*/ 1430 h 6750"/>
              <a:gd name="T14" fmla="*/ 1 w 5654"/>
              <a:gd name="T15" fmla="*/ 0 h 67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654" h="6750">
                <a:moveTo>
                  <a:pt x="1" y="0"/>
                </a:moveTo>
                <a:cubicBezTo>
                  <a:pt x="3136" y="89"/>
                  <a:pt x="5651" y="2657"/>
                  <a:pt x="5654" y="5813"/>
                </a:cubicBezTo>
                <a:lnTo>
                  <a:pt x="4217" y="6750"/>
                </a:lnTo>
                <a:lnTo>
                  <a:pt x="2795" y="5823"/>
                </a:lnTo>
                <a:lnTo>
                  <a:pt x="2795" y="5818"/>
                </a:lnTo>
                <a:cubicBezTo>
                  <a:pt x="2795" y="4239"/>
                  <a:pt x="1558" y="2948"/>
                  <a:pt x="0" y="2862"/>
                </a:cubicBezTo>
                <a:lnTo>
                  <a:pt x="934" y="1430"/>
                </a:lnTo>
                <a:lnTo>
                  <a:pt x="1" y="0"/>
                </a:lnTo>
                <a:close/>
              </a:path>
            </a:pathLst>
          </a:custGeom>
          <a:gradFill flip="none" rotWithShape="1">
            <a:gsLst>
              <a:gs pos="64000">
                <a:schemeClr val="accent1"/>
              </a:gs>
              <a:gs pos="31000">
                <a:schemeClr val="accent1">
                  <a:lumMod val="60000"/>
                  <a:lumOff val="40000"/>
                </a:schemeClr>
              </a:gs>
              <a:gs pos="0">
                <a:schemeClr val="accent1">
                  <a:lumMod val="40000"/>
                  <a:lumOff val="60000"/>
                </a:schemeClr>
              </a:gs>
            </a:gsLst>
            <a:lin ang="2700000" scaled="1"/>
            <a:tileRect/>
          </a:gradFill>
          <a:ln>
            <a:noFill/>
          </a:ln>
          <a:effectLst>
            <a:outerShdw blurRad="444500" dist="317500" dir="5400000" sx="92000" sy="92000" algn="t" rotWithShape="0">
              <a:schemeClr val="accent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5" name="Freeform 21">
            <a:extLst>
              <a:ext uri="{FF2B5EF4-FFF2-40B4-BE49-F238E27FC236}">
                <a16:creationId xmlns:a16="http://schemas.microsoft.com/office/drawing/2014/main" id="{65710D15-427F-4000-AB60-0715ACCF3825}"/>
              </a:ext>
            </a:extLst>
          </p:cNvPr>
          <p:cNvSpPr>
            <a:spLocks/>
          </p:cNvSpPr>
          <p:nvPr/>
        </p:nvSpPr>
        <p:spPr bwMode="auto">
          <a:xfrm>
            <a:off x="5588001" y="4247905"/>
            <a:ext cx="2443162" cy="2039937"/>
          </a:xfrm>
          <a:custGeom>
            <a:avLst/>
            <a:gdLst>
              <a:gd name="T0" fmla="*/ 6755 w 6755"/>
              <a:gd name="T1" fmla="*/ 0 h 5650"/>
              <a:gd name="T2" fmla="*/ 937 w 6755"/>
              <a:gd name="T3" fmla="*/ 5650 h 5650"/>
              <a:gd name="T4" fmla="*/ 934 w 6755"/>
              <a:gd name="T5" fmla="*/ 5650 h 5650"/>
              <a:gd name="T6" fmla="*/ 0 w 6755"/>
              <a:gd name="T7" fmla="*/ 4219 h 5650"/>
              <a:gd name="T8" fmla="*/ 931 w 6755"/>
              <a:gd name="T9" fmla="*/ 2791 h 5650"/>
              <a:gd name="T10" fmla="*/ 937 w 6755"/>
              <a:gd name="T11" fmla="*/ 2791 h 5650"/>
              <a:gd name="T12" fmla="*/ 3893 w 6755"/>
              <a:gd name="T13" fmla="*/ 5 h 5650"/>
              <a:gd name="T14" fmla="*/ 5320 w 6755"/>
              <a:gd name="T15" fmla="*/ 936 h 5650"/>
              <a:gd name="T16" fmla="*/ 6755 w 6755"/>
              <a:gd name="T17" fmla="*/ 0 h 5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755" h="5650">
                <a:moveTo>
                  <a:pt x="6755" y="0"/>
                </a:moveTo>
                <a:cubicBezTo>
                  <a:pt x="6665" y="3136"/>
                  <a:pt x="4094" y="5650"/>
                  <a:pt x="937" y="5650"/>
                </a:cubicBezTo>
                <a:lnTo>
                  <a:pt x="934" y="5650"/>
                </a:lnTo>
                <a:lnTo>
                  <a:pt x="0" y="4219"/>
                </a:lnTo>
                <a:lnTo>
                  <a:pt x="931" y="2791"/>
                </a:lnTo>
                <a:lnTo>
                  <a:pt x="937" y="2791"/>
                </a:lnTo>
                <a:cubicBezTo>
                  <a:pt x="2513" y="2791"/>
                  <a:pt x="3802" y="1559"/>
                  <a:pt x="3893" y="5"/>
                </a:cubicBezTo>
                <a:lnTo>
                  <a:pt x="5320" y="936"/>
                </a:lnTo>
                <a:lnTo>
                  <a:pt x="6755" y="0"/>
                </a:lnTo>
                <a:close/>
              </a:path>
            </a:pathLst>
          </a:custGeom>
          <a:gradFill flip="none" rotWithShape="1">
            <a:gsLst>
              <a:gs pos="64000">
                <a:schemeClr val="accent1"/>
              </a:gs>
              <a:gs pos="31000">
                <a:schemeClr val="accent1">
                  <a:lumMod val="60000"/>
                  <a:lumOff val="40000"/>
                </a:schemeClr>
              </a:gs>
              <a:gs pos="0">
                <a:schemeClr val="accent1">
                  <a:lumMod val="40000"/>
                  <a:lumOff val="60000"/>
                </a:schemeClr>
              </a:gs>
            </a:gsLst>
            <a:lin ang="8100000" scaled="1"/>
            <a:tileRect/>
          </a:gradFill>
          <a:ln>
            <a:noFill/>
          </a:ln>
          <a:effectLst>
            <a:outerShdw blurRad="444500" dist="317500" dir="5400000" sx="92000" sy="92000" algn="t" rotWithShape="0">
              <a:schemeClr val="accent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6" name="Freeform 25">
            <a:extLst>
              <a:ext uri="{FF2B5EF4-FFF2-40B4-BE49-F238E27FC236}">
                <a16:creationId xmlns:a16="http://schemas.microsoft.com/office/drawing/2014/main" id="{43188106-6E6D-4027-AC4F-B2CCC760E8E7}"/>
              </a:ext>
            </a:extLst>
          </p:cNvPr>
          <p:cNvSpPr>
            <a:spLocks/>
          </p:cNvSpPr>
          <p:nvPr/>
        </p:nvSpPr>
        <p:spPr bwMode="auto">
          <a:xfrm>
            <a:off x="3824899" y="3851030"/>
            <a:ext cx="2044700" cy="2436812"/>
          </a:xfrm>
          <a:custGeom>
            <a:avLst/>
            <a:gdLst>
              <a:gd name="T0" fmla="*/ 5642 w 5645"/>
              <a:gd name="T1" fmla="*/ 6749 h 6749"/>
              <a:gd name="T2" fmla="*/ 0 w 5645"/>
              <a:gd name="T3" fmla="*/ 931 h 6749"/>
              <a:gd name="T4" fmla="*/ 0 w 5645"/>
              <a:gd name="T5" fmla="*/ 931 h 6749"/>
              <a:gd name="T6" fmla="*/ 1427 w 5645"/>
              <a:gd name="T7" fmla="*/ 0 h 6749"/>
              <a:gd name="T8" fmla="*/ 2859 w 5645"/>
              <a:gd name="T9" fmla="*/ 934 h 6749"/>
              <a:gd name="T10" fmla="*/ 5645 w 5645"/>
              <a:gd name="T11" fmla="*/ 3887 h 6749"/>
              <a:gd name="T12" fmla="*/ 4710 w 5645"/>
              <a:gd name="T13" fmla="*/ 5320 h 6749"/>
              <a:gd name="T14" fmla="*/ 5642 w 5645"/>
              <a:gd name="T15" fmla="*/ 6749 h 674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645" h="6749">
                <a:moveTo>
                  <a:pt x="5642" y="6749"/>
                </a:moveTo>
                <a:cubicBezTo>
                  <a:pt x="2510" y="6654"/>
                  <a:pt x="0" y="4086"/>
                  <a:pt x="0" y="931"/>
                </a:cubicBezTo>
                <a:lnTo>
                  <a:pt x="0" y="931"/>
                </a:lnTo>
                <a:lnTo>
                  <a:pt x="1427" y="0"/>
                </a:lnTo>
                <a:lnTo>
                  <a:pt x="2859" y="934"/>
                </a:lnTo>
                <a:cubicBezTo>
                  <a:pt x="2861" y="2509"/>
                  <a:pt x="4092" y="3796"/>
                  <a:pt x="5645" y="3887"/>
                </a:cubicBezTo>
                <a:lnTo>
                  <a:pt x="4710" y="5320"/>
                </a:lnTo>
                <a:lnTo>
                  <a:pt x="5642" y="6749"/>
                </a:lnTo>
                <a:close/>
              </a:path>
            </a:pathLst>
          </a:custGeom>
          <a:gradFill flip="none" rotWithShape="1">
            <a:gsLst>
              <a:gs pos="64000">
                <a:schemeClr val="accent1"/>
              </a:gs>
              <a:gs pos="31000">
                <a:schemeClr val="accent1">
                  <a:lumMod val="60000"/>
                  <a:lumOff val="40000"/>
                </a:schemeClr>
              </a:gs>
              <a:gs pos="0">
                <a:schemeClr val="accent1">
                  <a:lumMod val="40000"/>
                  <a:lumOff val="60000"/>
                </a:schemeClr>
              </a:gs>
            </a:gsLst>
            <a:lin ang="13500000" scaled="1"/>
            <a:tileRect/>
          </a:gradFill>
          <a:ln>
            <a:noFill/>
          </a:ln>
          <a:effectLst>
            <a:outerShdw blurRad="444500" dist="317500" dir="5400000" sx="92000" sy="92000" algn="t" rotWithShape="0">
              <a:schemeClr val="accent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7" name="Rectangle 31">
            <a:extLst>
              <a:ext uri="{FF2B5EF4-FFF2-40B4-BE49-F238E27FC236}">
                <a16:creationId xmlns:a16="http://schemas.microsoft.com/office/drawing/2014/main" id="{282AF772-DE97-41A1-8E1C-C31C9BD989F7}"/>
              </a:ext>
            </a:extLst>
          </p:cNvPr>
          <p:cNvSpPr/>
          <p:nvPr/>
        </p:nvSpPr>
        <p:spPr>
          <a:xfrm>
            <a:off x="5140255" y="3951153"/>
            <a:ext cx="1578728" cy="477054"/>
          </a:xfrm>
          <a:prstGeom prst="rect">
            <a:avLst/>
          </a:prstGeom>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500" b="1" i="0" u="none" strike="noStrike" kern="1200" cap="none" spc="0" normalizeH="0" baseline="0" noProof="0" dirty="0">
                <a:ln>
                  <a:noFill/>
                </a:ln>
                <a:solidFill>
                  <a:srgbClr val="FFFFFF"/>
                </a:solidFill>
                <a:effectLst/>
                <a:uLnTx/>
                <a:uFillTx/>
                <a:latin typeface="HarmonyOS Sans SC"/>
                <a:cs typeface="+mn-cs"/>
              </a:rPr>
              <a:t>Startup</a:t>
            </a:r>
          </a:p>
        </p:txBody>
      </p:sp>
      <p:sp>
        <p:nvSpPr>
          <p:cNvPr id="8" name="Freeform 5">
            <a:extLst>
              <a:ext uri="{FF2B5EF4-FFF2-40B4-BE49-F238E27FC236}">
                <a16:creationId xmlns:a16="http://schemas.microsoft.com/office/drawing/2014/main" id="{7F81E9DB-D8AE-4A97-9689-263E8C7B364E}"/>
              </a:ext>
            </a:extLst>
          </p:cNvPr>
          <p:cNvSpPr>
            <a:spLocks noEditPoints="1"/>
          </p:cNvSpPr>
          <p:nvPr/>
        </p:nvSpPr>
        <p:spPr bwMode="auto">
          <a:xfrm>
            <a:off x="4598250" y="2777827"/>
            <a:ext cx="492478" cy="492478"/>
          </a:xfrm>
          <a:custGeom>
            <a:avLst/>
            <a:gdLst>
              <a:gd name="T0" fmla="*/ 1024 w 2048"/>
              <a:gd name="T1" fmla="*/ 0 h 2048"/>
              <a:gd name="T2" fmla="*/ 0 w 2048"/>
              <a:gd name="T3" fmla="*/ 1024 h 2048"/>
              <a:gd name="T4" fmla="*/ 1024 w 2048"/>
              <a:gd name="T5" fmla="*/ 2048 h 2048"/>
              <a:gd name="T6" fmla="*/ 2048 w 2048"/>
              <a:gd name="T7" fmla="*/ 1024 h 2048"/>
              <a:gd name="T8" fmla="*/ 1024 w 2048"/>
              <a:gd name="T9" fmla="*/ 0 h 2048"/>
              <a:gd name="T10" fmla="*/ 1499 w 2048"/>
              <a:gd name="T11" fmla="*/ 1134 h 2048"/>
              <a:gd name="T12" fmla="*/ 1024 w 2048"/>
              <a:gd name="T13" fmla="*/ 1134 h 2048"/>
              <a:gd name="T14" fmla="*/ 914 w 2048"/>
              <a:gd name="T15" fmla="*/ 1024 h 2048"/>
              <a:gd name="T16" fmla="*/ 914 w 2048"/>
              <a:gd name="T17" fmla="*/ 549 h 2048"/>
              <a:gd name="T18" fmla="*/ 1024 w 2048"/>
              <a:gd name="T19" fmla="*/ 439 h 2048"/>
              <a:gd name="T20" fmla="*/ 1134 w 2048"/>
              <a:gd name="T21" fmla="*/ 549 h 2048"/>
              <a:gd name="T22" fmla="*/ 1134 w 2048"/>
              <a:gd name="T23" fmla="*/ 915 h 2048"/>
              <a:gd name="T24" fmla="*/ 1499 w 2048"/>
              <a:gd name="T25" fmla="*/ 915 h 2048"/>
              <a:gd name="T26" fmla="*/ 1609 w 2048"/>
              <a:gd name="T27" fmla="*/ 1024 h 2048"/>
              <a:gd name="T28" fmla="*/ 1499 w 2048"/>
              <a:gd name="T29" fmla="*/ 1134 h 20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48" h="2048">
                <a:moveTo>
                  <a:pt x="1024" y="0"/>
                </a:moveTo>
                <a:cubicBezTo>
                  <a:pt x="459" y="0"/>
                  <a:pt x="0" y="459"/>
                  <a:pt x="0" y="1024"/>
                </a:cubicBezTo>
                <a:cubicBezTo>
                  <a:pt x="0" y="1589"/>
                  <a:pt x="459" y="2048"/>
                  <a:pt x="1024" y="2048"/>
                </a:cubicBezTo>
                <a:cubicBezTo>
                  <a:pt x="1589" y="2048"/>
                  <a:pt x="2048" y="1589"/>
                  <a:pt x="2048" y="1024"/>
                </a:cubicBezTo>
                <a:cubicBezTo>
                  <a:pt x="2048" y="459"/>
                  <a:pt x="1589" y="0"/>
                  <a:pt x="1024" y="0"/>
                </a:cubicBezTo>
                <a:close/>
                <a:moveTo>
                  <a:pt x="1499" y="1134"/>
                </a:moveTo>
                <a:cubicBezTo>
                  <a:pt x="1024" y="1134"/>
                  <a:pt x="1024" y="1134"/>
                  <a:pt x="1024" y="1134"/>
                </a:cubicBezTo>
                <a:cubicBezTo>
                  <a:pt x="963" y="1134"/>
                  <a:pt x="914" y="1085"/>
                  <a:pt x="914" y="1024"/>
                </a:cubicBezTo>
                <a:cubicBezTo>
                  <a:pt x="914" y="549"/>
                  <a:pt x="914" y="549"/>
                  <a:pt x="914" y="549"/>
                </a:cubicBezTo>
                <a:cubicBezTo>
                  <a:pt x="914" y="489"/>
                  <a:pt x="963" y="439"/>
                  <a:pt x="1024" y="439"/>
                </a:cubicBezTo>
                <a:cubicBezTo>
                  <a:pt x="1085" y="439"/>
                  <a:pt x="1134" y="489"/>
                  <a:pt x="1134" y="549"/>
                </a:cubicBezTo>
                <a:cubicBezTo>
                  <a:pt x="1134" y="915"/>
                  <a:pt x="1134" y="915"/>
                  <a:pt x="1134" y="915"/>
                </a:cubicBezTo>
                <a:cubicBezTo>
                  <a:pt x="1499" y="915"/>
                  <a:pt x="1499" y="915"/>
                  <a:pt x="1499" y="915"/>
                </a:cubicBezTo>
                <a:cubicBezTo>
                  <a:pt x="1560" y="915"/>
                  <a:pt x="1609" y="964"/>
                  <a:pt x="1609" y="1024"/>
                </a:cubicBezTo>
                <a:cubicBezTo>
                  <a:pt x="1609" y="1085"/>
                  <a:pt x="1560" y="1134"/>
                  <a:pt x="1499" y="1134"/>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HarmonyOS Sans SC"/>
              <a:cs typeface="+mn-cs"/>
            </a:endParaRPr>
          </a:p>
        </p:txBody>
      </p:sp>
      <p:grpSp>
        <p:nvGrpSpPr>
          <p:cNvPr id="9" name="Group 33">
            <a:extLst>
              <a:ext uri="{FF2B5EF4-FFF2-40B4-BE49-F238E27FC236}">
                <a16:creationId xmlns:a16="http://schemas.microsoft.com/office/drawing/2014/main" id="{887F8855-8D34-4543-942F-84BE848256D8}"/>
              </a:ext>
            </a:extLst>
          </p:cNvPr>
          <p:cNvGrpSpPr/>
          <p:nvPr/>
        </p:nvGrpSpPr>
        <p:grpSpPr>
          <a:xfrm>
            <a:off x="4451209" y="4767581"/>
            <a:ext cx="393280" cy="489202"/>
            <a:chOff x="4862513" y="3505200"/>
            <a:chExt cx="260350" cy="323851"/>
          </a:xfrm>
          <a:solidFill>
            <a:srgbClr val="FFFFFF"/>
          </a:solidFill>
        </p:grpSpPr>
        <p:sp>
          <p:nvSpPr>
            <p:cNvPr id="10" name="Freeform 9">
              <a:extLst>
                <a:ext uri="{FF2B5EF4-FFF2-40B4-BE49-F238E27FC236}">
                  <a16:creationId xmlns:a16="http://schemas.microsoft.com/office/drawing/2014/main" id="{EC6E2060-88A9-4C15-B32D-03AA92E0F636}"/>
                </a:ext>
              </a:extLst>
            </p:cNvPr>
            <p:cNvSpPr>
              <a:spLocks/>
            </p:cNvSpPr>
            <p:nvPr/>
          </p:nvSpPr>
          <p:spPr bwMode="auto">
            <a:xfrm>
              <a:off x="4870451" y="3505200"/>
              <a:ext cx="220663" cy="234950"/>
            </a:xfrm>
            <a:custGeom>
              <a:avLst/>
              <a:gdLst>
                <a:gd name="T0" fmla="*/ 761 w 1393"/>
                <a:gd name="T1" fmla="*/ 0 h 1489"/>
                <a:gd name="T2" fmla="*/ 240 w 1393"/>
                <a:gd name="T3" fmla="*/ 0 h 1489"/>
                <a:gd name="T4" fmla="*/ 93 w 1393"/>
                <a:gd name="T5" fmla="*/ 0 h 1489"/>
                <a:gd name="T6" fmla="*/ 0 w 1393"/>
                <a:gd name="T7" fmla="*/ 93 h 1489"/>
                <a:gd name="T8" fmla="*/ 93 w 1393"/>
                <a:gd name="T9" fmla="*/ 186 h 1489"/>
                <a:gd name="T10" fmla="*/ 147 w 1393"/>
                <a:gd name="T11" fmla="*/ 186 h 1489"/>
                <a:gd name="T12" fmla="*/ 147 w 1393"/>
                <a:gd name="T13" fmla="*/ 938 h 1489"/>
                <a:gd name="T14" fmla="*/ 240 w 1393"/>
                <a:gd name="T15" fmla="*/ 1031 h 1489"/>
                <a:gd name="T16" fmla="*/ 397 w 1393"/>
                <a:gd name="T17" fmla="*/ 1031 h 1489"/>
                <a:gd name="T18" fmla="*/ 462 w 1393"/>
                <a:gd name="T19" fmla="*/ 1004 h 1489"/>
                <a:gd name="T20" fmla="*/ 591 w 1393"/>
                <a:gd name="T21" fmla="*/ 876 h 1489"/>
                <a:gd name="T22" fmla="*/ 591 w 1393"/>
                <a:gd name="T23" fmla="*/ 1100 h 1489"/>
                <a:gd name="T24" fmla="*/ 201 w 1393"/>
                <a:gd name="T25" fmla="*/ 1489 h 1489"/>
                <a:gd name="T26" fmla="*/ 1393 w 1393"/>
                <a:gd name="T27" fmla="*/ 1489 h 1489"/>
                <a:gd name="T28" fmla="*/ 1393 w 1393"/>
                <a:gd name="T29" fmla="*/ 633 h 1489"/>
                <a:gd name="T30" fmla="*/ 761 w 1393"/>
                <a:gd name="T31" fmla="*/ 0 h 14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93" h="1489">
                  <a:moveTo>
                    <a:pt x="761" y="0"/>
                  </a:moveTo>
                  <a:cubicBezTo>
                    <a:pt x="240" y="0"/>
                    <a:pt x="240" y="0"/>
                    <a:pt x="240" y="0"/>
                  </a:cubicBezTo>
                  <a:cubicBezTo>
                    <a:pt x="93" y="0"/>
                    <a:pt x="93" y="0"/>
                    <a:pt x="93" y="0"/>
                  </a:cubicBezTo>
                  <a:cubicBezTo>
                    <a:pt x="41" y="0"/>
                    <a:pt x="0" y="42"/>
                    <a:pt x="0" y="93"/>
                  </a:cubicBezTo>
                  <a:cubicBezTo>
                    <a:pt x="0" y="145"/>
                    <a:pt x="41" y="186"/>
                    <a:pt x="93" y="186"/>
                  </a:cubicBezTo>
                  <a:cubicBezTo>
                    <a:pt x="147" y="186"/>
                    <a:pt x="147" y="186"/>
                    <a:pt x="147" y="186"/>
                  </a:cubicBezTo>
                  <a:cubicBezTo>
                    <a:pt x="147" y="938"/>
                    <a:pt x="147" y="938"/>
                    <a:pt x="147" y="938"/>
                  </a:cubicBezTo>
                  <a:cubicBezTo>
                    <a:pt x="147" y="990"/>
                    <a:pt x="188" y="1031"/>
                    <a:pt x="240" y="1031"/>
                  </a:cubicBezTo>
                  <a:cubicBezTo>
                    <a:pt x="397" y="1031"/>
                    <a:pt x="397" y="1031"/>
                    <a:pt x="397" y="1031"/>
                  </a:cubicBezTo>
                  <a:cubicBezTo>
                    <a:pt x="421" y="1031"/>
                    <a:pt x="445" y="1021"/>
                    <a:pt x="462" y="1004"/>
                  </a:cubicBezTo>
                  <a:cubicBezTo>
                    <a:pt x="591" y="876"/>
                    <a:pt x="591" y="876"/>
                    <a:pt x="591" y="876"/>
                  </a:cubicBezTo>
                  <a:cubicBezTo>
                    <a:pt x="591" y="1100"/>
                    <a:pt x="591" y="1100"/>
                    <a:pt x="591" y="1100"/>
                  </a:cubicBezTo>
                  <a:cubicBezTo>
                    <a:pt x="201" y="1489"/>
                    <a:pt x="201" y="1489"/>
                    <a:pt x="201" y="1489"/>
                  </a:cubicBezTo>
                  <a:cubicBezTo>
                    <a:pt x="1393" y="1489"/>
                    <a:pt x="1393" y="1489"/>
                    <a:pt x="1393" y="1489"/>
                  </a:cubicBezTo>
                  <a:cubicBezTo>
                    <a:pt x="1393" y="633"/>
                    <a:pt x="1393" y="633"/>
                    <a:pt x="1393" y="633"/>
                  </a:cubicBezTo>
                  <a:cubicBezTo>
                    <a:pt x="1393" y="284"/>
                    <a:pt x="1109" y="0"/>
                    <a:pt x="76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11" name="Freeform 10">
              <a:extLst>
                <a:ext uri="{FF2B5EF4-FFF2-40B4-BE49-F238E27FC236}">
                  <a16:creationId xmlns:a16="http://schemas.microsoft.com/office/drawing/2014/main" id="{3FA46836-A7A8-45B3-9A0B-F61555564E44}"/>
                </a:ext>
              </a:extLst>
            </p:cNvPr>
            <p:cNvSpPr>
              <a:spLocks/>
            </p:cNvSpPr>
            <p:nvPr/>
          </p:nvSpPr>
          <p:spPr bwMode="auto">
            <a:xfrm>
              <a:off x="4862513" y="3770313"/>
              <a:ext cx="260350" cy="58738"/>
            </a:xfrm>
            <a:custGeom>
              <a:avLst/>
              <a:gdLst>
                <a:gd name="T0" fmla="*/ 0 w 1646"/>
                <a:gd name="T1" fmla="*/ 0 h 372"/>
                <a:gd name="T2" fmla="*/ 0 w 1646"/>
                <a:gd name="T3" fmla="*/ 279 h 372"/>
                <a:gd name="T4" fmla="*/ 93 w 1646"/>
                <a:gd name="T5" fmla="*/ 372 h 372"/>
                <a:gd name="T6" fmla="*/ 1553 w 1646"/>
                <a:gd name="T7" fmla="*/ 372 h 372"/>
                <a:gd name="T8" fmla="*/ 1646 w 1646"/>
                <a:gd name="T9" fmla="*/ 279 h 372"/>
                <a:gd name="T10" fmla="*/ 1646 w 1646"/>
                <a:gd name="T11" fmla="*/ 0 h 372"/>
                <a:gd name="T12" fmla="*/ 0 w 1646"/>
                <a:gd name="T13" fmla="*/ 0 h 372"/>
              </a:gdLst>
              <a:ahLst/>
              <a:cxnLst>
                <a:cxn ang="0">
                  <a:pos x="T0" y="T1"/>
                </a:cxn>
                <a:cxn ang="0">
                  <a:pos x="T2" y="T3"/>
                </a:cxn>
                <a:cxn ang="0">
                  <a:pos x="T4" y="T5"/>
                </a:cxn>
                <a:cxn ang="0">
                  <a:pos x="T6" y="T7"/>
                </a:cxn>
                <a:cxn ang="0">
                  <a:pos x="T8" y="T9"/>
                </a:cxn>
                <a:cxn ang="0">
                  <a:pos x="T10" y="T11"/>
                </a:cxn>
                <a:cxn ang="0">
                  <a:pos x="T12" y="T13"/>
                </a:cxn>
              </a:cxnLst>
              <a:rect l="0" t="0" r="r" b="b"/>
              <a:pathLst>
                <a:path w="1646" h="372">
                  <a:moveTo>
                    <a:pt x="0" y="0"/>
                  </a:moveTo>
                  <a:cubicBezTo>
                    <a:pt x="0" y="279"/>
                    <a:pt x="0" y="279"/>
                    <a:pt x="0" y="279"/>
                  </a:cubicBezTo>
                  <a:cubicBezTo>
                    <a:pt x="0" y="330"/>
                    <a:pt x="42" y="372"/>
                    <a:pt x="93" y="372"/>
                  </a:cubicBezTo>
                  <a:cubicBezTo>
                    <a:pt x="1553" y="372"/>
                    <a:pt x="1553" y="372"/>
                    <a:pt x="1553" y="372"/>
                  </a:cubicBezTo>
                  <a:cubicBezTo>
                    <a:pt x="1604" y="372"/>
                    <a:pt x="1646" y="330"/>
                    <a:pt x="1646" y="279"/>
                  </a:cubicBezTo>
                  <a:cubicBezTo>
                    <a:pt x="1646" y="0"/>
                    <a:pt x="1646" y="0"/>
                    <a:pt x="1646" y="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grpSp>
      <p:sp>
        <p:nvSpPr>
          <p:cNvPr id="12" name="Freeform 36">
            <a:extLst>
              <a:ext uri="{FF2B5EF4-FFF2-40B4-BE49-F238E27FC236}">
                <a16:creationId xmlns:a16="http://schemas.microsoft.com/office/drawing/2014/main" id="{5670B2C7-6406-4A07-AAE3-561F53CC2D4E}"/>
              </a:ext>
            </a:extLst>
          </p:cNvPr>
          <p:cNvSpPr>
            <a:spLocks noEditPoints="1"/>
          </p:cNvSpPr>
          <p:nvPr/>
        </p:nvSpPr>
        <p:spPr bwMode="auto">
          <a:xfrm>
            <a:off x="6607591" y="5122491"/>
            <a:ext cx="592907" cy="576281"/>
          </a:xfrm>
          <a:custGeom>
            <a:avLst/>
            <a:gdLst>
              <a:gd name="T0" fmla="*/ 2119 w 2125"/>
              <a:gd name="T1" fmla="*/ 400 h 2053"/>
              <a:gd name="T2" fmla="*/ 2061 w 2125"/>
              <a:gd name="T3" fmla="*/ 337 h 2053"/>
              <a:gd name="T4" fmla="*/ 1857 w 2125"/>
              <a:gd name="T5" fmla="*/ 269 h 2053"/>
              <a:gd name="T6" fmla="*/ 1789 w 2125"/>
              <a:gd name="T7" fmla="*/ 64 h 2053"/>
              <a:gd name="T8" fmla="*/ 1726 w 2125"/>
              <a:gd name="T9" fmla="*/ 7 h 2053"/>
              <a:gd name="T10" fmla="*/ 1645 w 2125"/>
              <a:gd name="T11" fmla="*/ 30 h 2053"/>
              <a:gd name="T12" fmla="*/ 1399 w 2125"/>
              <a:gd name="T13" fmla="*/ 276 h 2053"/>
              <a:gd name="T14" fmla="*/ 1378 w 2125"/>
              <a:gd name="T15" fmla="*/ 365 h 2053"/>
              <a:gd name="T16" fmla="*/ 1443 w 2125"/>
              <a:gd name="T17" fmla="*/ 560 h 2053"/>
              <a:gd name="T18" fmla="*/ 1293 w 2125"/>
              <a:gd name="T19" fmla="*/ 710 h 2053"/>
              <a:gd name="T20" fmla="*/ 826 w 2125"/>
              <a:gd name="T21" fmla="*/ 547 h 2053"/>
              <a:gd name="T22" fmla="*/ 293 w 2125"/>
              <a:gd name="T23" fmla="*/ 768 h 2053"/>
              <a:gd name="T24" fmla="*/ 293 w 2125"/>
              <a:gd name="T25" fmla="*/ 1832 h 2053"/>
              <a:gd name="T26" fmla="*/ 826 w 2125"/>
              <a:gd name="T27" fmla="*/ 2053 h 2053"/>
              <a:gd name="T28" fmla="*/ 1358 w 2125"/>
              <a:gd name="T29" fmla="*/ 1832 h 2053"/>
              <a:gd name="T30" fmla="*/ 1416 w 2125"/>
              <a:gd name="T31" fmla="*/ 833 h 2053"/>
              <a:gd name="T32" fmla="*/ 1566 w 2125"/>
              <a:gd name="T33" fmla="*/ 683 h 2053"/>
              <a:gd name="T34" fmla="*/ 1761 w 2125"/>
              <a:gd name="T35" fmla="*/ 748 h 2053"/>
              <a:gd name="T36" fmla="*/ 1788 w 2125"/>
              <a:gd name="T37" fmla="*/ 752 h 2053"/>
              <a:gd name="T38" fmla="*/ 1850 w 2125"/>
              <a:gd name="T39" fmla="*/ 727 h 2053"/>
              <a:gd name="T40" fmla="*/ 2095 w 2125"/>
              <a:gd name="T41" fmla="*/ 481 h 2053"/>
              <a:gd name="T42" fmla="*/ 2119 w 2125"/>
              <a:gd name="T43" fmla="*/ 400 h 2053"/>
              <a:gd name="T44" fmla="*/ 1235 w 2125"/>
              <a:gd name="T45" fmla="*/ 1710 h 2053"/>
              <a:gd name="T46" fmla="*/ 826 w 2125"/>
              <a:gd name="T47" fmla="*/ 1879 h 2053"/>
              <a:gd name="T48" fmla="*/ 416 w 2125"/>
              <a:gd name="T49" fmla="*/ 1710 h 2053"/>
              <a:gd name="T50" fmla="*/ 416 w 2125"/>
              <a:gd name="T51" fmla="*/ 890 h 2053"/>
              <a:gd name="T52" fmla="*/ 826 w 2125"/>
              <a:gd name="T53" fmla="*/ 721 h 2053"/>
              <a:gd name="T54" fmla="*/ 1169 w 2125"/>
              <a:gd name="T55" fmla="*/ 834 h 2053"/>
              <a:gd name="T56" fmla="*/ 1044 w 2125"/>
              <a:gd name="T57" fmla="*/ 959 h 2053"/>
              <a:gd name="T58" fmla="*/ 826 w 2125"/>
              <a:gd name="T59" fmla="*/ 895 h 2053"/>
              <a:gd name="T60" fmla="*/ 539 w 2125"/>
              <a:gd name="T61" fmla="*/ 1013 h 2053"/>
              <a:gd name="T62" fmla="*/ 420 w 2125"/>
              <a:gd name="T63" fmla="*/ 1300 h 2053"/>
              <a:gd name="T64" fmla="*/ 539 w 2125"/>
              <a:gd name="T65" fmla="*/ 1587 h 2053"/>
              <a:gd name="T66" fmla="*/ 826 w 2125"/>
              <a:gd name="T67" fmla="*/ 1705 h 2053"/>
              <a:gd name="T68" fmla="*/ 1112 w 2125"/>
              <a:gd name="T69" fmla="*/ 1587 h 2053"/>
              <a:gd name="T70" fmla="*/ 1167 w 2125"/>
              <a:gd name="T71" fmla="*/ 1081 h 2053"/>
              <a:gd name="T72" fmla="*/ 1292 w 2125"/>
              <a:gd name="T73" fmla="*/ 957 h 2053"/>
              <a:gd name="T74" fmla="*/ 1235 w 2125"/>
              <a:gd name="T75" fmla="*/ 1710 h 2053"/>
              <a:gd name="T76" fmla="*/ 764 w 2125"/>
              <a:gd name="T77" fmla="*/ 1361 h 2053"/>
              <a:gd name="T78" fmla="*/ 826 w 2125"/>
              <a:gd name="T79" fmla="*/ 1387 h 2053"/>
              <a:gd name="T80" fmla="*/ 887 w 2125"/>
              <a:gd name="T81" fmla="*/ 1361 h 2053"/>
              <a:gd name="T82" fmla="*/ 1039 w 2125"/>
              <a:gd name="T83" fmla="*/ 1210 h 2053"/>
              <a:gd name="T84" fmla="*/ 990 w 2125"/>
              <a:gd name="T85" fmla="*/ 1464 h 2053"/>
              <a:gd name="T86" fmla="*/ 826 w 2125"/>
              <a:gd name="T87" fmla="*/ 1532 h 2053"/>
              <a:gd name="T88" fmla="*/ 662 w 2125"/>
              <a:gd name="T89" fmla="*/ 1464 h 2053"/>
              <a:gd name="T90" fmla="*/ 594 w 2125"/>
              <a:gd name="T91" fmla="*/ 1300 h 2053"/>
              <a:gd name="T92" fmla="*/ 662 w 2125"/>
              <a:gd name="T93" fmla="*/ 1136 h 2053"/>
              <a:gd name="T94" fmla="*/ 826 w 2125"/>
              <a:gd name="T95" fmla="*/ 1068 h 2053"/>
              <a:gd name="T96" fmla="*/ 916 w 2125"/>
              <a:gd name="T97" fmla="*/ 1087 h 2053"/>
              <a:gd name="T98" fmla="*/ 764 w 2125"/>
              <a:gd name="T99" fmla="*/ 1239 h 2053"/>
              <a:gd name="T100" fmla="*/ 764 w 2125"/>
              <a:gd name="T101" fmla="*/ 1361 h 20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125" h="2053">
                <a:moveTo>
                  <a:pt x="2119" y="400"/>
                </a:moveTo>
                <a:cubicBezTo>
                  <a:pt x="2112" y="370"/>
                  <a:pt x="2090" y="347"/>
                  <a:pt x="2061" y="337"/>
                </a:cubicBezTo>
                <a:cubicBezTo>
                  <a:pt x="1857" y="269"/>
                  <a:pt x="1857" y="269"/>
                  <a:pt x="1857" y="269"/>
                </a:cubicBezTo>
                <a:cubicBezTo>
                  <a:pt x="1789" y="64"/>
                  <a:pt x="1789" y="64"/>
                  <a:pt x="1789" y="64"/>
                </a:cubicBezTo>
                <a:cubicBezTo>
                  <a:pt x="1779" y="36"/>
                  <a:pt x="1756" y="14"/>
                  <a:pt x="1726" y="7"/>
                </a:cubicBezTo>
                <a:cubicBezTo>
                  <a:pt x="1697" y="0"/>
                  <a:pt x="1666" y="9"/>
                  <a:pt x="1645" y="30"/>
                </a:cubicBezTo>
                <a:cubicBezTo>
                  <a:pt x="1399" y="276"/>
                  <a:pt x="1399" y="276"/>
                  <a:pt x="1399" y="276"/>
                </a:cubicBezTo>
                <a:cubicBezTo>
                  <a:pt x="1376" y="299"/>
                  <a:pt x="1368" y="334"/>
                  <a:pt x="1378" y="365"/>
                </a:cubicBezTo>
                <a:cubicBezTo>
                  <a:pt x="1443" y="560"/>
                  <a:pt x="1443" y="560"/>
                  <a:pt x="1443" y="560"/>
                </a:cubicBezTo>
                <a:cubicBezTo>
                  <a:pt x="1293" y="710"/>
                  <a:pt x="1293" y="710"/>
                  <a:pt x="1293" y="710"/>
                </a:cubicBezTo>
                <a:cubicBezTo>
                  <a:pt x="1161" y="604"/>
                  <a:pt x="998" y="547"/>
                  <a:pt x="826" y="547"/>
                </a:cubicBezTo>
                <a:cubicBezTo>
                  <a:pt x="625" y="547"/>
                  <a:pt x="436" y="625"/>
                  <a:pt x="293" y="768"/>
                </a:cubicBezTo>
                <a:cubicBezTo>
                  <a:pt x="0" y="1061"/>
                  <a:pt x="0" y="1539"/>
                  <a:pt x="293" y="1832"/>
                </a:cubicBezTo>
                <a:cubicBezTo>
                  <a:pt x="436" y="1975"/>
                  <a:pt x="625" y="2053"/>
                  <a:pt x="826" y="2053"/>
                </a:cubicBezTo>
                <a:cubicBezTo>
                  <a:pt x="1027" y="2053"/>
                  <a:pt x="1216" y="1975"/>
                  <a:pt x="1358" y="1832"/>
                </a:cubicBezTo>
                <a:cubicBezTo>
                  <a:pt x="1631" y="1560"/>
                  <a:pt x="1650" y="1128"/>
                  <a:pt x="1416" y="833"/>
                </a:cubicBezTo>
                <a:cubicBezTo>
                  <a:pt x="1566" y="683"/>
                  <a:pt x="1566" y="683"/>
                  <a:pt x="1566" y="683"/>
                </a:cubicBezTo>
                <a:cubicBezTo>
                  <a:pt x="1761" y="748"/>
                  <a:pt x="1761" y="748"/>
                  <a:pt x="1761" y="748"/>
                </a:cubicBezTo>
                <a:cubicBezTo>
                  <a:pt x="1770" y="751"/>
                  <a:pt x="1779" y="752"/>
                  <a:pt x="1788" y="752"/>
                </a:cubicBezTo>
                <a:cubicBezTo>
                  <a:pt x="1811" y="752"/>
                  <a:pt x="1833" y="743"/>
                  <a:pt x="1850" y="727"/>
                </a:cubicBezTo>
                <a:cubicBezTo>
                  <a:pt x="2095" y="481"/>
                  <a:pt x="2095" y="481"/>
                  <a:pt x="2095" y="481"/>
                </a:cubicBezTo>
                <a:cubicBezTo>
                  <a:pt x="2117" y="460"/>
                  <a:pt x="2125" y="429"/>
                  <a:pt x="2119" y="400"/>
                </a:cubicBezTo>
                <a:close/>
                <a:moveTo>
                  <a:pt x="1235" y="1710"/>
                </a:moveTo>
                <a:cubicBezTo>
                  <a:pt x="1126" y="1819"/>
                  <a:pt x="980" y="1879"/>
                  <a:pt x="826" y="1879"/>
                </a:cubicBezTo>
                <a:cubicBezTo>
                  <a:pt x="671" y="1879"/>
                  <a:pt x="526" y="1819"/>
                  <a:pt x="416" y="1710"/>
                </a:cubicBezTo>
                <a:cubicBezTo>
                  <a:pt x="190" y="1484"/>
                  <a:pt x="190" y="1116"/>
                  <a:pt x="416" y="890"/>
                </a:cubicBezTo>
                <a:cubicBezTo>
                  <a:pt x="526" y="781"/>
                  <a:pt x="671" y="721"/>
                  <a:pt x="826" y="721"/>
                </a:cubicBezTo>
                <a:cubicBezTo>
                  <a:pt x="951" y="721"/>
                  <a:pt x="1070" y="760"/>
                  <a:pt x="1169" y="834"/>
                </a:cubicBezTo>
                <a:cubicBezTo>
                  <a:pt x="1044" y="959"/>
                  <a:pt x="1044" y="959"/>
                  <a:pt x="1044" y="959"/>
                </a:cubicBezTo>
                <a:cubicBezTo>
                  <a:pt x="980" y="917"/>
                  <a:pt x="904" y="895"/>
                  <a:pt x="826" y="895"/>
                </a:cubicBezTo>
                <a:cubicBezTo>
                  <a:pt x="717" y="895"/>
                  <a:pt x="616" y="937"/>
                  <a:pt x="539" y="1013"/>
                </a:cubicBezTo>
                <a:cubicBezTo>
                  <a:pt x="463" y="1090"/>
                  <a:pt x="420" y="1192"/>
                  <a:pt x="420" y="1300"/>
                </a:cubicBezTo>
                <a:cubicBezTo>
                  <a:pt x="420" y="1408"/>
                  <a:pt x="463" y="1510"/>
                  <a:pt x="539" y="1587"/>
                </a:cubicBezTo>
                <a:cubicBezTo>
                  <a:pt x="616" y="1663"/>
                  <a:pt x="717" y="1705"/>
                  <a:pt x="826" y="1705"/>
                </a:cubicBezTo>
                <a:cubicBezTo>
                  <a:pt x="934" y="1705"/>
                  <a:pt x="1036" y="1663"/>
                  <a:pt x="1112" y="1587"/>
                </a:cubicBezTo>
                <a:cubicBezTo>
                  <a:pt x="1249" y="1450"/>
                  <a:pt x="1268" y="1238"/>
                  <a:pt x="1167" y="1081"/>
                </a:cubicBezTo>
                <a:cubicBezTo>
                  <a:pt x="1292" y="957"/>
                  <a:pt x="1292" y="957"/>
                  <a:pt x="1292" y="957"/>
                </a:cubicBezTo>
                <a:cubicBezTo>
                  <a:pt x="1459" y="1183"/>
                  <a:pt x="1440" y="1505"/>
                  <a:pt x="1235" y="1710"/>
                </a:cubicBezTo>
                <a:close/>
                <a:moveTo>
                  <a:pt x="764" y="1361"/>
                </a:moveTo>
                <a:cubicBezTo>
                  <a:pt x="781" y="1378"/>
                  <a:pt x="804" y="1387"/>
                  <a:pt x="826" y="1387"/>
                </a:cubicBezTo>
                <a:cubicBezTo>
                  <a:pt x="848" y="1387"/>
                  <a:pt x="870" y="1378"/>
                  <a:pt x="887" y="1361"/>
                </a:cubicBezTo>
                <a:cubicBezTo>
                  <a:pt x="1039" y="1210"/>
                  <a:pt x="1039" y="1210"/>
                  <a:pt x="1039" y="1210"/>
                </a:cubicBezTo>
                <a:cubicBezTo>
                  <a:pt x="1075" y="1294"/>
                  <a:pt x="1058" y="1395"/>
                  <a:pt x="990" y="1464"/>
                </a:cubicBezTo>
                <a:cubicBezTo>
                  <a:pt x="946" y="1508"/>
                  <a:pt x="888" y="1532"/>
                  <a:pt x="826" y="1532"/>
                </a:cubicBezTo>
                <a:cubicBezTo>
                  <a:pt x="764" y="1532"/>
                  <a:pt x="706" y="1508"/>
                  <a:pt x="662" y="1464"/>
                </a:cubicBezTo>
                <a:cubicBezTo>
                  <a:pt x="618" y="1420"/>
                  <a:pt x="594" y="1362"/>
                  <a:pt x="594" y="1300"/>
                </a:cubicBezTo>
                <a:cubicBezTo>
                  <a:pt x="594" y="1238"/>
                  <a:pt x="618" y="1180"/>
                  <a:pt x="662" y="1136"/>
                </a:cubicBezTo>
                <a:cubicBezTo>
                  <a:pt x="706" y="1092"/>
                  <a:pt x="764" y="1068"/>
                  <a:pt x="826" y="1068"/>
                </a:cubicBezTo>
                <a:cubicBezTo>
                  <a:pt x="857" y="1068"/>
                  <a:pt x="888" y="1075"/>
                  <a:pt x="916" y="1087"/>
                </a:cubicBezTo>
                <a:cubicBezTo>
                  <a:pt x="764" y="1239"/>
                  <a:pt x="764" y="1239"/>
                  <a:pt x="764" y="1239"/>
                </a:cubicBezTo>
                <a:cubicBezTo>
                  <a:pt x="730" y="1273"/>
                  <a:pt x="730" y="1328"/>
                  <a:pt x="764" y="1361"/>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grpSp>
        <p:nvGrpSpPr>
          <p:cNvPr id="13" name="Group 37">
            <a:extLst>
              <a:ext uri="{FF2B5EF4-FFF2-40B4-BE49-F238E27FC236}">
                <a16:creationId xmlns:a16="http://schemas.microsoft.com/office/drawing/2014/main" id="{E42B5E99-DB8F-4FBB-A190-31E74A08B6CA}"/>
              </a:ext>
            </a:extLst>
          </p:cNvPr>
          <p:cNvGrpSpPr/>
          <p:nvPr/>
        </p:nvGrpSpPr>
        <p:grpSpPr>
          <a:xfrm>
            <a:off x="6908227" y="3011376"/>
            <a:ext cx="678943" cy="540715"/>
            <a:chOff x="5168900" y="2687638"/>
            <a:chExt cx="1855788" cy="1477963"/>
          </a:xfrm>
          <a:solidFill>
            <a:srgbClr val="FFFFFF"/>
          </a:solidFill>
        </p:grpSpPr>
        <p:sp>
          <p:nvSpPr>
            <p:cNvPr id="14" name="Freeform 15">
              <a:extLst>
                <a:ext uri="{FF2B5EF4-FFF2-40B4-BE49-F238E27FC236}">
                  <a16:creationId xmlns:a16="http://schemas.microsoft.com/office/drawing/2014/main" id="{2A54B49E-B5CF-426A-BDE2-3A078C12536B}"/>
                </a:ext>
              </a:extLst>
            </p:cNvPr>
            <p:cNvSpPr>
              <a:spLocks/>
            </p:cNvSpPr>
            <p:nvPr/>
          </p:nvSpPr>
          <p:spPr bwMode="auto">
            <a:xfrm>
              <a:off x="5430838" y="2687638"/>
              <a:ext cx="642938" cy="714375"/>
            </a:xfrm>
            <a:custGeom>
              <a:avLst/>
              <a:gdLst>
                <a:gd name="T0" fmla="*/ 337 w 678"/>
                <a:gd name="T1" fmla="*/ 754 h 754"/>
                <a:gd name="T2" fmla="*/ 337 w 678"/>
                <a:gd name="T3" fmla="*/ 754 h 754"/>
                <a:gd name="T4" fmla="*/ 339 w 678"/>
                <a:gd name="T5" fmla="*/ 754 h 754"/>
                <a:gd name="T6" fmla="*/ 341 w 678"/>
                <a:gd name="T7" fmla="*/ 754 h 754"/>
                <a:gd name="T8" fmla="*/ 341 w 678"/>
                <a:gd name="T9" fmla="*/ 754 h 754"/>
                <a:gd name="T10" fmla="*/ 629 w 678"/>
                <a:gd name="T11" fmla="*/ 301 h 754"/>
                <a:gd name="T12" fmla="*/ 339 w 678"/>
                <a:gd name="T13" fmla="*/ 4 h 754"/>
                <a:gd name="T14" fmla="*/ 49 w 678"/>
                <a:gd name="T15" fmla="*/ 301 h 754"/>
                <a:gd name="T16" fmla="*/ 337 w 678"/>
                <a:gd name="T17" fmla="*/ 754 h 7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78" h="754">
                  <a:moveTo>
                    <a:pt x="337" y="754"/>
                  </a:moveTo>
                  <a:cubicBezTo>
                    <a:pt x="337" y="754"/>
                    <a:pt x="337" y="754"/>
                    <a:pt x="337" y="754"/>
                  </a:cubicBezTo>
                  <a:cubicBezTo>
                    <a:pt x="338" y="754"/>
                    <a:pt x="338" y="754"/>
                    <a:pt x="339" y="754"/>
                  </a:cubicBezTo>
                  <a:cubicBezTo>
                    <a:pt x="340" y="754"/>
                    <a:pt x="340" y="754"/>
                    <a:pt x="341" y="754"/>
                  </a:cubicBezTo>
                  <a:cubicBezTo>
                    <a:pt x="341" y="754"/>
                    <a:pt x="341" y="754"/>
                    <a:pt x="341" y="754"/>
                  </a:cubicBezTo>
                  <a:cubicBezTo>
                    <a:pt x="678" y="751"/>
                    <a:pt x="629" y="301"/>
                    <a:pt x="629" y="301"/>
                  </a:cubicBezTo>
                  <a:cubicBezTo>
                    <a:pt x="615" y="1"/>
                    <a:pt x="364" y="3"/>
                    <a:pt x="339" y="4"/>
                  </a:cubicBezTo>
                  <a:cubicBezTo>
                    <a:pt x="314" y="3"/>
                    <a:pt x="63" y="0"/>
                    <a:pt x="49" y="301"/>
                  </a:cubicBezTo>
                  <a:cubicBezTo>
                    <a:pt x="49" y="301"/>
                    <a:pt x="0" y="751"/>
                    <a:pt x="337" y="7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HarmonyOS Sans SC"/>
                <a:cs typeface="+mn-cs"/>
              </a:endParaRPr>
            </a:p>
          </p:txBody>
        </p:sp>
        <p:sp>
          <p:nvSpPr>
            <p:cNvPr id="15" name="Freeform 16">
              <a:extLst>
                <a:ext uri="{FF2B5EF4-FFF2-40B4-BE49-F238E27FC236}">
                  <a16:creationId xmlns:a16="http://schemas.microsoft.com/office/drawing/2014/main" id="{8C9D8924-CDF4-4460-99E7-E51B483C9CF9}"/>
                </a:ext>
              </a:extLst>
            </p:cNvPr>
            <p:cNvSpPr>
              <a:spLocks/>
            </p:cNvSpPr>
            <p:nvPr/>
          </p:nvSpPr>
          <p:spPr bwMode="auto">
            <a:xfrm>
              <a:off x="5168900" y="3481388"/>
              <a:ext cx="1052513" cy="671513"/>
            </a:xfrm>
            <a:custGeom>
              <a:avLst/>
              <a:gdLst>
                <a:gd name="T0" fmla="*/ 834 w 1111"/>
                <a:gd name="T1" fmla="*/ 0 h 708"/>
                <a:gd name="T2" fmla="*/ 717 w 1111"/>
                <a:gd name="T3" fmla="*/ 370 h 708"/>
                <a:gd name="T4" fmla="*/ 648 w 1111"/>
                <a:gd name="T5" fmla="*/ 176 h 708"/>
                <a:gd name="T6" fmla="*/ 617 w 1111"/>
                <a:gd name="T7" fmla="*/ 0 h 708"/>
                <a:gd name="T8" fmla="*/ 617 w 1111"/>
                <a:gd name="T9" fmla="*/ 0 h 708"/>
                <a:gd name="T10" fmla="*/ 616 w 1111"/>
                <a:gd name="T11" fmla="*/ 0 h 708"/>
                <a:gd name="T12" fmla="*/ 616 w 1111"/>
                <a:gd name="T13" fmla="*/ 0 h 708"/>
                <a:gd name="T14" fmla="*/ 616 w 1111"/>
                <a:gd name="T15" fmla="*/ 0 h 708"/>
                <a:gd name="T16" fmla="*/ 584 w 1111"/>
                <a:gd name="T17" fmla="*/ 176 h 708"/>
                <a:gd name="T18" fmla="*/ 516 w 1111"/>
                <a:gd name="T19" fmla="*/ 370 h 708"/>
                <a:gd name="T20" fmla="*/ 399 w 1111"/>
                <a:gd name="T21" fmla="*/ 0 h 708"/>
                <a:gd name="T22" fmla="*/ 121 w 1111"/>
                <a:gd name="T23" fmla="*/ 154 h 708"/>
                <a:gd name="T24" fmla="*/ 0 w 1111"/>
                <a:gd name="T25" fmla="*/ 381 h 708"/>
                <a:gd name="T26" fmla="*/ 0 w 1111"/>
                <a:gd name="T27" fmla="*/ 708 h 708"/>
                <a:gd name="T28" fmla="*/ 617 w 1111"/>
                <a:gd name="T29" fmla="*/ 708 h 708"/>
                <a:gd name="T30" fmla="*/ 811 w 1111"/>
                <a:gd name="T31" fmla="*/ 708 h 708"/>
                <a:gd name="T32" fmla="*/ 808 w 1111"/>
                <a:gd name="T33" fmla="*/ 683 h 708"/>
                <a:gd name="T34" fmla="*/ 808 w 1111"/>
                <a:gd name="T35" fmla="*/ 380 h 708"/>
                <a:gd name="T36" fmla="*/ 900 w 1111"/>
                <a:gd name="T37" fmla="*/ 288 h 708"/>
                <a:gd name="T38" fmla="*/ 1014 w 1111"/>
                <a:gd name="T39" fmla="*/ 288 h 708"/>
                <a:gd name="T40" fmla="*/ 1038 w 1111"/>
                <a:gd name="T41" fmla="*/ 291 h 708"/>
                <a:gd name="T42" fmla="*/ 1038 w 1111"/>
                <a:gd name="T43" fmla="*/ 243 h 708"/>
                <a:gd name="T44" fmla="*/ 1111 w 1111"/>
                <a:gd name="T45" fmla="*/ 153 h 708"/>
                <a:gd name="T46" fmla="*/ 834 w 1111"/>
                <a:gd name="T47" fmla="*/ 0 h 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11" h="708">
                  <a:moveTo>
                    <a:pt x="834" y="0"/>
                  </a:moveTo>
                  <a:cubicBezTo>
                    <a:pt x="717" y="370"/>
                    <a:pt x="717" y="370"/>
                    <a:pt x="717" y="370"/>
                  </a:cubicBezTo>
                  <a:cubicBezTo>
                    <a:pt x="648" y="176"/>
                    <a:pt x="648" y="176"/>
                    <a:pt x="648" y="176"/>
                  </a:cubicBezTo>
                  <a:cubicBezTo>
                    <a:pt x="768" y="9"/>
                    <a:pt x="640" y="1"/>
                    <a:pt x="617" y="0"/>
                  </a:cubicBezTo>
                  <a:cubicBezTo>
                    <a:pt x="617" y="0"/>
                    <a:pt x="617" y="0"/>
                    <a:pt x="617" y="0"/>
                  </a:cubicBezTo>
                  <a:cubicBezTo>
                    <a:pt x="617" y="0"/>
                    <a:pt x="617" y="0"/>
                    <a:pt x="616" y="0"/>
                  </a:cubicBezTo>
                  <a:cubicBezTo>
                    <a:pt x="616" y="0"/>
                    <a:pt x="616" y="0"/>
                    <a:pt x="616" y="0"/>
                  </a:cubicBezTo>
                  <a:cubicBezTo>
                    <a:pt x="616" y="0"/>
                    <a:pt x="616" y="0"/>
                    <a:pt x="616" y="0"/>
                  </a:cubicBezTo>
                  <a:cubicBezTo>
                    <a:pt x="593" y="1"/>
                    <a:pt x="464" y="9"/>
                    <a:pt x="584" y="176"/>
                  </a:cubicBezTo>
                  <a:cubicBezTo>
                    <a:pt x="516" y="370"/>
                    <a:pt x="516" y="370"/>
                    <a:pt x="516" y="370"/>
                  </a:cubicBezTo>
                  <a:cubicBezTo>
                    <a:pt x="399" y="0"/>
                    <a:pt x="399" y="0"/>
                    <a:pt x="399" y="0"/>
                  </a:cubicBezTo>
                  <a:cubicBezTo>
                    <a:pt x="399" y="0"/>
                    <a:pt x="252" y="71"/>
                    <a:pt x="121" y="154"/>
                  </a:cubicBezTo>
                  <a:cubicBezTo>
                    <a:pt x="22" y="217"/>
                    <a:pt x="3" y="283"/>
                    <a:pt x="0" y="381"/>
                  </a:cubicBezTo>
                  <a:cubicBezTo>
                    <a:pt x="0" y="708"/>
                    <a:pt x="0" y="708"/>
                    <a:pt x="0" y="708"/>
                  </a:cubicBezTo>
                  <a:cubicBezTo>
                    <a:pt x="617" y="708"/>
                    <a:pt x="617" y="708"/>
                    <a:pt x="617" y="708"/>
                  </a:cubicBezTo>
                  <a:cubicBezTo>
                    <a:pt x="811" y="708"/>
                    <a:pt x="811" y="708"/>
                    <a:pt x="811" y="708"/>
                  </a:cubicBezTo>
                  <a:cubicBezTo>
                    <a:pt x="809" y="700"/>
                    <a:pt x="808" y="692"/>
                    <a:pt x="808" y="683"/>
                  </a:cubicBezTo>
                  <a:cubicBezTo>
                    <a:pt x="808" y="380"/>
                    <a:pt x="808" y="380"/>
                    <a:pt x="808" y="380"/>
                  </a:cubicBezTo>
                  <a:cubicBezTo>
                    <a:pt x="808" y="329"/>
                    <a:pt x="849" y="288"/>
                    <a:pt x="900" y="288"/>
                  </a:cubicBezTo>
                  <a:cubicBezTo>
                    <a:pt x="1014" y="288"/>
                    <a:pt x="1014" y="288"/>
                    <a:pt x="1014" y="288"/>
                  </a:cubicBezTo>
                  <a:cubicBezTo>
                    <a:pt x="1022" y="288"/>
                    <a:pt x="1030" y="289"/>
                    <a:pt x="1038" y="291"/>
                  </a:cubicBezTo>
                  <a:cubicBezTo>
                    <a:pt x="1038" y="243"/>
                    <a:pt x="1038" y="243"/>
                    <a:pt x="1038" y="243"/>
                  </a:cubicBezTo>
                  <a:cubicBezTo>
                    <a:pt x="1038" y="199"/>
                    <a:pt x="1069" y="162"/>
                    <a:pt x="1111" y="153"/>
                  </a:cubicBezTo>
                  <a:cubicBezTo>
                    <a:pt x="980" y="71"/>
                    <a:pt x="834" y="0"/>
                    <a:pt x="83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16" name="Freeform 17">
              <a:extLst>
                <a:ext uri="{FF2B5EF4-FFF2-40B4-BE49-F238E27FC236}">
                  <a16:creationId xmlns:a16="http://schemas.microsoft.com/office/drawing/2014/main" id="{514AF095-C73B-40FB-A675-E26853E4240E}"/>
                </a:ext>
              </a:extLst>
            </p:cNvPr>
            <p:cNvSpPr>
              <a:spLocks/>
            </p:cNvSpPr>
            <p:nvPr/>
          </p:nvSpPr>
          <p:spPr bwMode="auto">
            <a:xfrm>
              <a:off x="5999163" y="3817938"/>
              <a:ext cx="153988" cy="334963"/>
            </a:xfrm>
            <a:custGeom>
              <a:avLst/>
              <a:gdLst>
                <a:gd name="T0" fmla="*/ 138 w 163"/>
                <a:gd name="T1" fmla="*/ 0 h 352"/>
                <a:gd name="T2" fmla="*/ 24 w 163"/>
                <a:gd name="T3" fmla="*/ 0 h 352"/>
                <a:gd name="T4" fmla="*/ 0 w 163"/>
                <a:gd name="T5" fmla="*/ 25 h 352"/>
                <a:gd name="T6" fmla="*/ 0 w 163"/>
                <a:gd name="T7" fmla="*/ 72 h 352"/>
                <a:gd name="T8" fmla="*/ 0 w 163"/>
                <a:gd name="T9" fmla="*/ 281 h 352"/>
                <a:gd name="T10" fmla="*/ 0 w 163"/>
                <a:gd name="T11" fmla="*/ 328 h 352"/>
                <a:gd name="T12" fmla="*/ 24 w 163"/>
                <a:gd name="T13" fmla="*/ 352 h 352"/>
                <a:gd name="T14" fmla="*/ 138 w 163"/>
                <a:gd name="T15" fmla="*/ 352 h 352"/>
                <a:gd name="T16" fmla="*/ 162 w 163"/>
                <a:gd name="T17" fmla="*/ 328 h 352"/>
                <a:gd name="T18" fmla="*/ 162 w 163"/>
                <a:gd name="T19" fmla="*/ 281 h 352"/>
                <a:gd name="T20" fmla="*/ 162 w 163"/>
                <a:gd name="T21" fmla="*/ 72 h 352"/>
                <a:gd name="T22" fmla="*/ 162 w 163"/>
                <a:gd name="T23" fmla="*/ 25 h 352"/>
                <a:gd name="T24" fmla="*/ 138 w 163"/>
                <a:gd name="T25" fmla="*/ 0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3" h="352">
                  <a:moveTo>
                    <a:pt x="138" y="0"/>
                  </a:moveTo>
                  <a:cubicBezTo>
                    <a:pt x="24" y="0"/>
                    <a:pt x="24" y="0"/>
                    <a:pt x="24" y="0"/>
                  </a:cubicBezTo>
                  <a:cubicBezTo>
                    <a:pt x="10" y="0"/>
                    <a:pt x="0" y="12"/>
                    <a:pt x="0" y="25"/>
                  </a:cubicBezTo>
                  <a:cubicBezTo>
                    <a:pt x="0" y="72"/>
                    <a:pt x="0" y="72"/>
                    <a:pt x="0" y="72"/>
                  </a:cubicBezTo>
                  <a:cubicBezTo>
                    <a:pt x="0" y="281"/>
                    <a:pt x="0" y="281"/>
                    <a:pt x="0" y="281"/>
                  </a:cubicBezTo>
                  <a:cubicBezTo>
                    <a:pt x="0" y="328"/>
                    <a:pt x="0" y="328"/>
                    <a:pt x="0" y="328"/>
                  </a:cubicBezTo>
                  <a:cubicBezTo>
                    <a:pt x="0" y="342"/>
                    <a:pt x="11" y="352"/>
                    <a:pt x="24" y="352"/>
                  </a:cubicBezTo>
                  <a:cubicBezTo>
                    <a:pt x="138" y="352"/>
                    <a:pt x="138" y="352"/>
                    <a:pt x="138" y="352"/>
                  </a:cubicBezTo>
                  <a:cubicBezTo>
                    <a:pt x="152" y="352"/>
                    <a:pt x="162" y="341"/>
                    <a:pt x="162" y="328"/>
                  </a:cubicBezTo>
                  <a:cubicBezTo>
                    <a:pt x="162" y="281"/>
                    <a:pt x="162" y="281"/>
                    <a:pt x="162" y="281"/>
                  </a:cubicBezTo>
                  <a:cubicBezTo>
                    <a:pt x="162" y="72"/>
                    <a:pt x="162" y="72"/>
                    <a:pt x="162" y="72"/>
                  </a:cubicBezTo>
                  <a:cubicBezTo>
                    <a:pt x="162" y="25"/>
                    <a:pt x="162" y="25"/>
                    <a:pt x="162" y="25"/>
                  </a:cubicBezTo>
                  <a:cubicBezTo>
                    <a:pt x="163" y="12"/>
                    <a:pt x="152" y="0"/>
                    <a:pt x="13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17" name="Freeform 18">
              <a:extLst>
                <a:ext uri="{FF2B5EF4-FFF2-40B4-BE49-F238E27FC236}">
                  <a16:creationId xmlns:a16="http://schemas.microsoft.com/office/drawing/2014/main" id="{CC4FAB93-A599-4E9C-BC50-65F78DA36295}"/>
                </a:ext>
              </a:extLst>
            </p:cNvPr>
            <p:cNvSpPr>
              <a:spLocks/>
            </p:cNvSpPr>
            <p:nvPr/>
          </p:nvSpPr>
          <p:spPr bwMode="auto">
            <a:xfrm>
              <a:off x="6216650" y="3689350"/>
              <a:ext cx="155575" cy="463550"/>
            </a:xfrm>
            <a:custGeom>
              <a:avLst/>
              <a:gdLst>
                <a:gd name="T0" fmla="*/ 138 w 163"/>
                <a:gd name="T1" fmla="*/ 0 h 488"/>
                <a:gd name="T2" fmla="*/ 24 w 163"/>
                <a:gd name="T3" fmla="*/ 0 h 488"/>
                <a:gd name="T4" fmla="*/ 0 w 163"/>
                <a:gd name="T5" fmla="*/ 24 h 488"/>
                <a:gd name="T6" fmla="*/ 0 w 163"/>
                <a:gd name="T7" fmla="*/ 208 h 488"/>
                <a:gd name="T8" fmla="*/ 0 w 163"/>
                <a:gd name="T9" fmla="*/ 280 h 488"/>
                <a:gd name="T10" fmla="*/ 0 w 163"/>
                <a:gd name="T11" fmla="*/ 464 h 488"/>
                <a:gd name="T12" fmla="*/ 24 w 163"/>
                <a:gd name="T13" fmla="*/ 488 h 488"/>
                <a:gd name="T14" fmla="*/ 138 w 163"/>
                <a:gd name="T15" fmla="*/ 488 h 488"/>
                <a:gd name="T16" fmla="*/ 163 w 163"/>
                <a:gd name="T17" fmla="*/ 464 h 488"/>
                <a:gd name="T18" fmla="*/ 163 w 163"/>
                <a:gd name="T19" fmla="*/ 280 h 488"/>
                <a:gd name="T20" fmla="*/ 163 w 163"/>
                <a:gd name="T21" fmla="*/ 208 h 488"/>
                <a:gd name="T22" fmla="*/ 163 w 163"/>
                <a:gd name="T23" fmla="*/ 25 h 488"/>
                <a:gd name="T24" fmla="*/ 138 w 163"/>
                <a:gd name="T25" fmla="*/ 0 h 4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3" h="488">
                  <a:moveTo>
                    <a:pt x="138" y="0"/>
                  </a:moveTo>
                  <a:cubicBezTo>
                    <a:pt x="24" y="0"/>
                    <a:pt x="24" y="0"/>
                    <a:pt x="24" y="0"/>
                  </a:cubicBezTo>
                  <a:cubicBezTo>
                    <a:pt x="11" y="0"/>
                    <a:pt x="0" y="11"/>
                    <a:pt x="0" y="24"/>
                  </a:cubicBezTo>
                  <a:cubicBezTo>
                    <a:pt x="0" y="208"/>
                    <a:pt x="0" y="208"/>
                    <a:pt x="0" y="208"/>
                  </a:cubicBezTo>
                  <a:cubicBezTo>
                    <a:pt x="0" y="280"/>
                    <a:pt x="0" y="280"/>
                    <a:pt x="0" y="280"/>
                  </a:cubicBezTo>
                  <a:cubicBezTo>
                    <a:pt x="0" y="464"/>
                    <a:pt x="0" y="464"/>
                    <a:pt x="0" y="464"/>
                  </a:cubicBezTo>
                  <a:cubicBezTo>
                    <a:pt x="0" y="478"/>
                    <a:pt x="11" y="488"/>
                    <a:pt x="24" y="488"/>
                  </a:cubicBezTo>
                  <a:cubicBezTo>
                    <a:pt x="138" y="488"/>
                    <a:pt x="138" y="488"/>
                    <a:pt x="138" y="488"/>
                  </a:cubicBezTo>
                  <a:cubicBezTo>
                    <a:pt x="152" y="488"/>
                    <a:pt x="163" y="477"/>
                    <a:pt x="163" y="464"/>
                  </a:cubicBezTo>
                  <a:cubicBezTo>
                    <a:pt x="163" y="280"/>
                    <a:pt x="163" y="280"/>
                    <a:pt x="163" y="280"/>
                  </a:cubicBezTo>
                  <a:cubicBezTo>
                    <a:pt x="163" y="208"/>
                    <a:pt x="163" y="208"/>
                    <a:pt x="163" y="208"/>
                  </a:cubicBezTo>
                  <a:cubicBezTo>
                    <a:pt x="163" y="25"/>
                    <a:pt x="163" y="25"/>
                    <a:pt x="163" y="25"/>
                  </a:cubicBezTo>
                  <a:cubicBezTo>
                    <a:pt x="163" y="11"/>
                    <a:pt x="152" y="0"/>
                    <a:pt x="13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18" name="Freeform 19">
              <a:extLst>
                <a:ext uri="{FF2B5EF4-FFF2-40B4-BE49-F238E27FC236}">
                  <a16:creationId xmlns:a16="http://schemas.microsoft.com/office/drawing/2014/main" id="{55BB4645-4FBC-4893-B333-68A1CA2CCAAC}"/>
                </a:ext>
              </a:extLst>
            </p:cNvPr>
            <p:cNvSpPr>
              <a:spLocks/>
            </p:cNvSpPr>
            <p:nvPr/>
          </p:nvSpPr>
          <p:spPr bwMode="auto">
            <a:xfrm>
              <a:off x="6338888" y="3284538"/>
              <a:ext cx="349250" cy="868363"/>
            </a:xfrm>
            <a:custGeom>
              <a:avLst/>
              <a:gdLst>
                <a:gd name="T0" fmla="*/ 266 w 368"/>
                <a:gd name="T1" fmla="*/ 501 h 916"/>
                <a:gd name="T2" fmla="*/ 266 w 368"/>
                <a:gd name="T3" fmla="*/ 298 h 916"/>
                <a:gd name="T4" fmla="*/ 344 w 368"/>
                <a:gd name="T5" fmla="*/ 298 h 916"/>
                <a:gd name="T6" fmla="*/ 360 w 368"/>
                <a:gd name="T7" fmla="*/ 270 h 916"/>
                <a:gd name="T8" fmla="*/ 200 w 368"/>
                <a:gd name="T9" fmla="*/ 12 h 916"/>
                <a:gd name="T10" fmla="*/ 168 w 368"/>
                <a:gd name="T11" fmla="*/ 12 h 916"/>
                <a:gd name="T12" fmla="*/ 8 w 368"/>
                <a:gd name="T13" fmla="*/ 270 h 916"/>
                <a:gd name="T14" fmla="*/ 23 w 368"/>
                <a:gd name="T15" fmla="*/ 298 h 916"/>
                <a:gd name="T16" fmla="*/ 102 w 368"/>
                <a:gd name="T17" fmla="*/ 298 h 916"/>
                <a:gd name="T18" fmla="*/ 102 w 368"/>
                <a:gd name="T19" fmla="*/ 892 h 916"/>
                <a:gd name="T20" fmla="*/ 126 w 368"/>
                <a:gd name="T21" fmla="*/ 916 h 916"/>
                <a:gd name="T22" fmla="*/ 241 w 368"/>
                <a:gd name="T23" fmla="*/ 916 h 916"/>
                <a:gd name="T24" fmla="*/ 265 w 368"/>
                <a:gd name="T25" fmla="*/ 892 h 916"/>
                <a:gd name="T26" fmla="*/ 192 w 368"/>
                <a:gd name="T27" fmla="*/ 696 h 916"/>
                <a:gd name="T28" fmla="*/ 266 w 368"/>
                <a:gd name="T29" fmla="*/ 501 h 9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8" h="916">
                  <a:moveTo>
                    <a:pt x="266" y="501"/>
                  </a:moveTo>
                  <a:cubicBezTo>
                    <a:pt x="266" y="298"/>
                    <a:pt x="266" y="298"/>
                    <a:pt x="266" y="298"/>
                  </a:cubicBezTo>
                  <a:cubicBezTo>
                    <a:pt x="344" y="298"/>
                    <a:pt x="344" y="298"/>
                    <a:pt x="344" y="298"/>
                  </a:cubicBezTo>
                  <a:cubicBezTo>
                    <a:pt x="359" y="298"/>
                    <a:pt x="368" y="282"/>
                    <a:pt x="360" y="270"/>
                  </a:cubicBezTo>
                  <a:cubicBezTo>
                    <a:pt x="200" y="12"/>
                    <a:pt x="200" y="12"/>
                    <a:pt x="200" y="12"/>
                  </a:cubicBezTo>
                  <a:cubicBezTo>
                    <a:pt x="192" y="0"/>
                    <a:pt x="175" y="0"/>
                    <a:pt x="168" y="12"/>
                  </a:cubicBezTo>
                  <a:cubicBezTo>
                    <a:pt x="8" y="270"/>
                    <a:pt x="8" y="270"/>
                    <a:pt x="8" y="270"/>
                  </a:cubicBezTo>
                  <a:cubicBezTo>
                    <a:pt x="0" y="282"/>
                    <a:pt x="9" y="298"/>
                    <a:pt x="23" y="298"/>
                  </a:cubicBezTo>
                  <a:cubicBezTo>
                    <a:pt x="102" y="298"/>
                    <a:pt x="102" y="298"/>
                    <a:pt x="102" y="298"/>
                  </a:cubicBezTo>
                  <a:cubicBezTo>
                    <a:pt x="102" y="892"/>
                    <a:pt x="102" y="892"/>
                    <a:pt x="102" y="892"/>
                  </a:cubicBezTo>
                  <a:cubicBezTo>
                    <a:pt x="102" y="906"/>
                    <a:pt x="113" y="916"/>
                    <a:pt x="126" y="916"/>
                  </a:cubicBezTo>
                  <a:cubicBezTo>
                    <a:pt x="241" y="916"/>
                    <a:pt x="241" y="916"/>
                    <a:pt x="241" y="916"/>
                  </a:cubicBezTo>
                  <a:cubicBezTo>
                    <a:pt x="254" y="916"/>
                    <a:pt x="265" y="906"/>
                    <a:pt x="265" y="892"/>
                  </a:cubicBezTo>
                  <a:cubicBezTo>
                    <a:pt x="219" y="840"/>
                    <a:pt x="192" y="771"/>
                    <a:pt x="192" y="696"/>
                  </a:cubicBezTo>
                  <a:cubicBezTo>
                    <a:pt x="192" y="622"/>
                    <a:pt x="220" y="553"/>
                    <a:pt x="266" y="5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19" name="Freeform 20">
              <a:extLst>
                <a:ext uri="{FF2B5EF4-FFF2-40B4-BE49-F238E27FC236}">
                  <a16:creationId xmlns:a16="http://schemas.microsoft.com/office/drawing/2014/main" id="{CF1B7668-06B0-4B10-B98A-793B7922E000}"/>
                </a:ext>
              </a:extLst>
            </p:cNvPr>
            <p:cNvSpPr>
              <a:spLocks noEditPoints="1"/>
            </p:cNvSpPr>
            <p:nvPr/>
          </p:nvSpPr>
          <p:spPr bwMode="auto">
            <a:xfrm>
              <a:off x="6581775" y="3722688"/>
              <a:ext cx="442913" cy="442913"/>
            </a:xfrm>
            <a:custGeom>
              <a:avLst/>
              <a:gdLst>
                <a:gd name="T0" fmla="*/ 234 w 467"/>
                <a:gd name="T1" fmla="*/ 0 h 467"/>
                <a:gd name="T2" fmla="*/ 0 w 467"/>
                <a:gd name="T3" fmla="*/ 233 h 467"/>
                <a:gd name="T4" fmla="*/ 234 w 467"/>
                <a:gd name="T5" fmla="*/ 467 h 467"/>
                <a:gd name="T6" fmla="*/ 467 w 467"/>
                <a:gd name="T7" fmla="*/ 233 h 467"/>
                <a:gd name="T8" fmla="*/ 234 w 467"/>
                <a:gd name="T9" fmla="*/ 0 h 467"/>
                <a:gd name="T10" fmla="*/ 301 w 467"/>
                <a:gd name="T11" fmla="*/ 326 h 467"/>
                <a:gd name="T12" fmla="*/ 262 w 467"/>
                <a:gd name="T13" fmla="*/ 351 h 467"/>
                <a:gd name="T14" fmla="*/ 252 w 467"/>
                <a:gd name="T15" fmla="*/ 363 h 467"/>
                <a:gd name="T16" fmla="*/ 252 w 467"/>
                <a:gd name="T17" fmla="*/ 384 h 467"/>
                <a:gd name="T18" fmla="*/ 243 w 467"/>
                <a:gd name="T19" fmla="*/ 393 h 467"/>
                <a:gd name="T20" fmla="*/ 221 w 467"/>
                <a:gd name="T21" fmla="*/ 393 h 467"/>
                <a:gd name="T22" fmla="*/ 211 w 467"/>
                <a:gd name="T23" fmla="*/ 383 h 467"/>
                <a:gd name="T24" fmla="*/ 211 w 467"/>
                <a:gd name="T25" fmla="*/ 368 h 467"/>
                <a:gd name="T26" fmla="*/ 200 w 467"/>
                <a:gd name="T27" fmla="*/ 355 h 467"/>
                <a:gd name="T28" fmla="*/ 160 w 467"/>
                <a:gd name="T29" fmla="*/ 344 h 467"/>
                <a:gd name="T30" fmla="*/ 152 w 467"/>
                <a:gd name="T31" fmla="*/ 326 h 467"/>
                <a:gd name="T32" fmla="*/ 159 w 467"/>
                <a:gd name="T33" fmla="*/ 303 h 467"/>
                <a:gd name="T34" fmla="*/ 172 w 467"/>
                <a:gd name="T35" fmla="*/ 298 h 467"/>
                <a:gd name="T36" fmla="*/ 216 w 467"/>
                <a:gd name="T37" fmla="*/ 311 h 467"/>
                <a:gd name="T38" fmla="*/ 245 w 467"/>
                <a:gd name="T39" fmla="*/ 307 h 467"/>
                <a:gd name="T40" fmla="*/ 250 w 467"/>
                <a:gd name="T41" fmla="*/ 268 h 467"/>
                <a:gd name="T42" fmla="*/ 234 w 467"/>
                <a:gd name="T43" fmla="*/ 259 h 467"/>
                <a:gd name="T44" fmla="*/ 189 w 467"/>
                <a:gd name="T45" fmla="*/ 239 h 467"/>
                <a:gd name="T46" fmla="*/ 153 w 467"/>
                <a:gd name="T47" fmla="*/ 178 h 467"/>
                <a:gd name="T48" fmla="*/ 202 w 467"/>
                <a:gd name="T49" fmla="*/ 116 h 467"/>
                <a:gd name="T50" fmla="*/ 214 w 467"/>
                <a:gd name="T51" fmla="*/ 99 h 467"/>
                <a:gd name="T52" fmla="*/ 214 w 467"/>
                <a:gd name="T53" fmla="*/ 86 h 467"/>
                <a:gd name="T54" fmla="*/ 225 w 467"/>
                <a:gd name="T55" fmla="*/ 75 h 467"/>
                <a:gd name="T56" fmla="*/ 234 w 467"/>
                <a:gd name="T57" fmla="*/ 75 h 467"/>
                <a:gd name="T58" fmla="*/ 254 w 467"/>
                <a:gd name="T59" fmla="*/ 95 h 467"/>
                <a:gd name="T60" fmla="*/ 268 w 467"/>
                <a:gd name="T61" fmla="*/ 111 h 467"/>
                <a:gd name="T62" fmla="*/ 299 w 467"/>
                <a:gd name="T63" fmla="*/ 121 h 467"/>
                <a:gd name="T64" fmla="*/ 305 w 467"/>
                <a:gd name="T65" fmla="*/ 133 h 467"/>
                <a:gd name="T66" fmla="*/ 297 w 467"/>
                <a:gd name="T67" fmla="*/ 159 h 467"/>
                <a:gd name="T68" fmla="*/ 284 w 467"/>
                <a:gd name="T69" fmla="*/ 164 h 467"/>
                <a:gd name="T70" fmla="*/ 234 w 467"/>
                <a:gd name="T71" fmla="*/ 155 h 467"/>
                <a:gd name="T72" fmla="*/ 221 w 467"/>
                <a:gd name="T73" fmla="*/ 157 h 467"/>
                <a:gd name="T74" fmla="*/ 216 w 467"/>
                <a:gd name="T75" fmla="*/ 191 h 467"/>
                <a:gd name="T76" fmla="*/ 238 w 467"/>
                <a:gd name="T77" fmla="*/ 203 h 467"/>
                <a:gd name="T78" fmla="*/ 277 w 467"/>
                <a:gd name="T79" fmla="*/ 220 h 467"/>
                <a:gd name="T80" fmla="*/ 301 w 467"/>
                <a:gd name="T81" fmla="*/ 326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67" h="467">
                  <a:moveTo>
                    <a:pt x="234" y="0"/>
                  </a:moveTo>
                  <a:cubicBezTo>
                    <a:pt x="104" y="0"/>
                    <a:pt x="0" y="104"/>
                    <a:pt x="0" y="233"/>
                  </a:cubicBezTo>
                  <a:cubicBezTo>
                    <a:pt x="0" y="363"/>
                    <a:pt x="104" y="467"/>
                    <a:pt x="234" y="467"/>
                  </a:cubicBezTo>
                  <a:cubicBezTo>
                    <a:pt x="363" y="467"/>
                    <a:pt x="467" y="363"/>
                    <a:pt x="467" y="233"/>
                  </a:cubicBezTo>
                  <a:cubicBezTo>
                    <a:pt x="467" y="104"/>
                    <a:pt x="363" y="0"/>
                    <a:pt x="234" y="0"/>
                  </a:cubicBezTo>
                  <a:close/>
                  <a:moveTo>
                    <a:pt x="301" y="326"/>
                  </a:moveTo>
                  <a:cubicBezTo>
                    <a:pt x="291" y="338"/>
                    <a:pt x="277" y="347"/>
                    <a:pt x="262" y="351"/>
                  </a:cubicBezTo>
                  <a:cubicBezTo>
                    <a:pt x="255" y="353"/>
                    <a:pt x="252" y="356"/>
                    <a:pt x="252" y="363"/>
                  </a:cubicBezTo>
                  <a:cubicBezTo>
                    <a:pt x="253" y="370"/>
                    <a:pt x="252" y="377"/>
                    <a:pt x="252" y="384"/>
                  </a:cubicBezTo>
                  <a:cubicBezTo>
                    <a:pt x="252" y="390"/>
                    <a:pt x="249" y="393"/>
                    <a:pt x="243" y="393"/>
                  </a:cubicBezTo>
                  <a:cubicBezTo>
                    <a:pt x="236" y="393"/>
                    <a:pt x="228" y="393"/>
                    <a:pt x="221" y="393"/>
                  </a:cubicBezTo>
                  <a:cubicBezTo>
                    <a:pt x="214" y="393"/>
                    <a:pt x="211" y="389"/>
                    <a:pt x="211" y="383"/>
                  </a:cubicBezTo>
                  <a:cubicBezTo>
                    <a:pt x="211" y="378"/>
                    <a:pt x="211" y="373"/>
                    <a:pt x="211" y="368"/>
                  </a:cubicBezTo>
                  <a:cubicBezTo>
                    <a:pt x="211" y="357"/>
                    <a:pt x="211" y="357"/>
                    <a:pt x="200" y="355"/>
                  </a:cubicBezTo>
                  <a:cubicBezTo>
                    <a:pt x="186" y="353"/>
                    <a:pt x="173" y="350"/>
                    <a:pt x="160" y="344"/>
                  </a:cubicBezTo>
                  <a:cubicBezTo>
                    <a:pt x="150" y="339"/>
                    <a:pt x="150" y="337"/>
                    <a:pt x="152" y="326"/>
                  </a:cubicBezTo>
                  <a:cubicBezTo>
                    <a:pt x="154" y="319"/>
                    <a:pt x="157" y="311"/>
                    <a:pt x="159" y="303"/>
                  </a:cubicBezTo>
                  <a:cubicBezTo>
                    <a:pt x="162" y="295"/>
                    <a:pt x="164" y="293"/>
                    <a:pt x="172" y="298"/>
                  </a:cubicBezTo>
                  <a:cubicBezTo>
                    <a:pt x="186" y="305"/>
                    <a:pt x="200" y="309"/>
                    <a:pt x="216" y="311"/>
                  </a:cubicBezTo>
                  <a:cubicBezTo>
                    <a:pt x="226" y="312"/>
                    <a:pt x="236" y="311"/>
                    <a:pt x="245" y="307"/>
                  </a:cubicBezTo>
                  <a:cubicBezTo>
                    <a:pt x="262" y="300"/>
                    <a:pt x="265" y="280"/>
                    <a:pt x="250" y="268"/>
                  </a:cubicBezTo>
                  <a:cubicBezTo>
                    <a:pt x="245" y="264"/>
                    <a:pt x="240" y="261"/>
                    <a:pt x="234" y="259"/>
                  </a:cubicBezTo>
                  <a:cubicBezTo>
                    <a:pt x="218" y="252"/>
                    <a:pt x="203" y="247"/>
                    <a:pt x="189" y="239"/>
                  </a:cubicBezTo>
                  <a:cubicBezTo>
                    <a:pt x="166" y="225"/>
                    <a:pt x="151" y="206"/>
                    <a:pt x="153" y="178"/>
                  </a:cubicBezTo>
                  <a:cubicBezTo>
                    <a:pt x="155" y="146"/>
                    <a:pt x="173" y="126"/>
                    <a:pt x="202" y="116"/>
                  </a:cubicBezTo>
                  <a:cubicBezTo>
                    <a:pt x="214" y="111"/>
                    <a:pt x="214" y="112"/>
                    <a:pt x="214" y="99"/>
                  </a:cubicBezTo>
                  <a:cubicBezTo>
                    <a:pt x="214" y="95"/>
                    <a:pt x="214" y="91"/>
                    <a:pt x="214" y="86"/>
                  </a:cubicBezTo>
                  <a:cubicBezTo>
                    <a:pt x="214" y="77"/>
                    <a:pt x="216" y="75"/>
                    <a:pt x="225" y="75"/>
                  </a:cubicBezTo>
                  <a:cubicBezTo>
                    <a:pt x="228" y="75"/>
                    <a:pt x="231" y="75"/>
                    <a:pt x="234" y="75"/>
                  </a:cubicBezTo>
                  <a:cubicBezTo>
                    <a:pt x="254" y="75"/>
                    <a:pt x="254" y="75"/>
                    <a:pt x="254" y="95"/>
                  </a:cubicBezTo>
                  <a:cubicBezTo>
                    <a:pt x="254" y="109"/>
                    <a:pt x="254" y="109"/>
                    <a:pt x="268" y="111"/>
                  </a:cubicBezTo>
                  <a:cubicBezTo>
                    <a:pt x="278" y="113"/>
                    <a:pt x="289" y="116"/>
                    <a:pt x="299" y="121"/>
                  </a:cubicBezTo>
                  <a:cubicBezTo>
                    <a:pt x="304" y="123"/>
                    <a:pt x="306" y="127"/>
                    <a:pt x="305" y="133"/>
                  </a:cubicBezTo>
                  <a:cubicBezTo>
                    <a:pt x="302" y="141"/>
                    <a:pt x="300" y="150"/>
                    <a:pt x="297" y="159"/>
                  </a:cubicBezTo>
                  <a:cubicBezTo>
                    <a:pt x="294" y="167"/>
                    <a:pt x="292" y="168"/>
                    <a:pt x="284" y="164"/>
                  </a:cubicBezTo>
                  <a:cubicBezTo>
                    <a:pt x="268" y="157"/>
                    <a:pt x="252" y="153"/>
                    <a:pt x="234" y="155"/>
                  </a:cubicBezTo>
                  <a:cubicBezTo>
                    <a:pt x="230" y="155"/>
                    <a:pt x="226" y="155"/>
                    <a:pt x="221" y="157"/>
                  </a:cubicBezTo>
                  <a:cubicBezTo>
                    <a:pt x="206" y="164"/>
                    <a:pt x="204" y="181"/>
                    <a:pt x="216" y="191"/>
                  </a:cubicBezTo>
                  <a:cubicBezTo>
                    <a:pt x="223" y="196"/>
                    <a:pt x="230" y="199"/>
                    <a:pt x="238" y="203"/>
                  </a:cubicBezTo>
                  <a:cubicBezTo>
                    <a:pt x="251" y="208"/>
                    <a:pt x="264" y="213"/>
                    <a:pt x="277" y="220"/>
                  </a:cubicBezTo>
                  <a:cubicBezTo>
                    <a:pt x="318" y="241"/>
                    <a:pt x="329" y="291"/>
                    <a:pt x="301" y="3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grpSp>
      <p:sp>
        <p:nvSpPr>
          <p:cNvPr id="24" name="文本框 23">
            <a:extLst>
              <a:ext uri="{FF2B5EF4-FFF2-40B4-BE49-F238E27FC236}">
                <a16:creationId xmlns:a16="http://schemas.microsoft.com/office/drawing/2014/main" id="{32DED04E-8072-4648-AF5F-90B63EF0D10C}"/>
              </a:ext>
            </a:extLst>
          </p:cNvPr>
          <p:cNvSpPr txBox="1"/>
          <p:nvPr/>
        </p:nvSpPr>
        <p:spPr>
          <a:xfrm>
            <a:off x="4278837" y="918105"/>
            <a:ext cx="3634328" cy="52322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2800" b="0" i="0" u="none" strike="noStrike" kern="1200" cap="none" spc="0" normalizeH="0" baseline="0" noProof="0" dirty="0">
                <a:ln>
                  <a:noFill/>
                </a:ln>
                <a:solidFill>
                  <a:prstClr val="black"/>
                </a:solidFill>
                <a:effectLst/>
                <a:uLnTx/>
                <a:uFillTx/>
                <a:latin typeface="HarmonyOS Sans Black"/>
                <a:ea typeface="+mj-ea"/>
                <a:cs typeface="+mn-cs"/>
              </a:rPr>
              <a:t>Process </a:t>
            </a:r>
            <a:r>
              <a:rPr kumimoji="0" lang="en-US" altLang="zh-CN" sz="2800" b="0" i="0" u="none" strike="noStrike" kern="1200" cap="none" spc="0" normalizeH="0" baseline="0" noProof="0" dirty="0">
                <a:ln>
                  <a:noFill/>
                </a:ln>
                <a:solidFill>
                  <a:schemeClr val="accent1"/>
                </a:solidFill>
                <a:effectLst/>
                <a:uLnTx/>
                <a:uFillTx/>
                <a:latin typeface="HarmonyOS Sans Black"/>
                <a:ea typeface="+mj-ea"/>
                <a:cs typeface="+mn-cs"/>
              </a:rPr>
              <a:t>infographic</a:t>
            </a:r>
          </a:p>
        </p:txBody>
      </p:sp>
      <p:grpSp>
        <p:nvGrpSpPr>
          <p:cNvPr id="36" name="组合 35">
            <a:extLst>
              <a:ext uri="{FF2B5EF4-FFF2-40B4-BE49-F238E27FC236}">
                <a16:creationId xmlns:a16="http://schemas.microsoft.com/office/drawing/2014/main" id="{99302764-59F3-46F4-B943-FDE2F0A9A76F}"/>
              </a:ext>
            </a:extLst>
          </p:cNvPr>
          <p:cNvGrpSpPr/>
          <p:nvPr/>
        </p:nvGrpSpPr>
        <p:grpSpPr>
          <a:xfrm>
            <a:off x="976987" y="2692095"/>
            <a:ext cx="2668622" cy="881603"/>
            <a:chOff x="976987" y="2692095"/>
            <a:chExt cx="2668622" cy="881603"/>
          </a:xfrm>
        </p:grpSpPr>
        <p:sp>
          <p:nvSpPr>
            <p:cNvPr id="26" name="TextBox 65">
              <a:extLst>
                <a:ext uri="{FF2B5EF4-FFF2-40B4-BE49-F238E27FC236}">
                  <a16:creationId xmlns:a16="http://schemas.microsoft.com/office/drawing/2014/main" id="{224DB8C7-7542-4827-B6C5-AEF4A0C1235A}"/>
                </a:ext>
              </a:extLst>
            </p:cNvPr>
            <p:cNvSpPr txBox="1"/>
            <p:nvPr/>
          </p:nvSpPr>
          <p:spPr>
            <a:xfrm>
              <a:off x="1589348" y="2692095"/>
              <a:ext cx="2056261" cy="387598"/>
            </a:xfrm>
            <a:prstGeom prst="rect">
              <a:avLst/>
            </a:prstGeom>
            <a:noFill/>
          </p:spPr>
          <p:txBody>
            <a:bodyPr wrap="square" lIns="0" tIns="36000" rIns="0" bIns="36000" rtlCol="0">
              <a:spAutoFit/>
            </a:bodyPr>
            <a:lstStyle/>
            <a:p>
              <a:pPr marL="0" marR="0" lvl="0" indent="0" algn="r" defTabSz="914400" rtl="0" eaLnBrk="1" fontAlgn="auto" latinLnBrk="0" hangingPunct="1">
                <a:lnSpc>
                  <a:spcPct val="120000"/>
                </a:lnSpc>
                <a:spcBef>
                  <a:spcPts val="600"/>
                </a:spcBef>
                <a:spcAft>
                  <a:spcPts val="0"/>
                </a:spcAft>
                <a:buClrTx/>
                <a:buSzTx/>
                <a:buFontTx/>
                <a:buNone/>
                <a:tabLst/>
                <a:defRPr/>
              </a:pPr>
              <a:r>
                <a:rPr kumimoji="0" lang="zh-CN" altLang="en-US" sz="1800" b="0" i="0" u="none" strike="noStrike" kern="1200" cap="none" spc="0" normalizeH="0" baseline="0" noProof="0" dirty="0">
                  <a:ln>
                    <a:noFill/>
                  </a:ln>
                  <a:solidFill>
                    <a:schemeClr val="accent1"/>
                  </a:solidFill>
                  <a:effectLst/>
                  <a:uLnTx/>
                  <a:uFillTx/>
                  <a:latin typeface="HarmonyOS Sans SC Black"/>
                  <a:ea typeface="+mj-ea"/>
                  <a:cs typeface="+mn-cs"/>
                </a:rPr>
                <a:t>关键词标题</a:t>
              </a:r>
              <a:endParaRPr kumimoji="0" lang="en-US" sz="1800" b="0" i="0" u="none" strike="noStrike" kern="1200" cap="none" spc="0" normalizeH="0" baseline="0" noProof="0" dirty="0">
                <a:ln>
                  <a:noFill/>
                </a:ln>
                <a:solidFill>
                  <a:schemeClr val="accent1"/>
                </a:solidFill>
                <a:effectLst/>
                <a:uLnTx/>
                <a:uFillTx/>
                <a:latin typeface="HarmonyOS Sans SC Black"/>
                <a:ea typeface="+mj-ea"/>
                <a:cs typeface="+mn-cs"/>
              </a:endParaRPr>
            </a:p>
          </p:txBody>
        </p:sp>
        <p:sp>
          <p:nvSpPr>
            <p:cNvPr id="27" name="TextBox 65">
              <a:extLst>
                <a:ext uri="{FF2B5EF4-FFF2-40B4-BE49-F238E27FC236}">
                  <a16:creationId xmlns:a16="http://schemas.microsoft.com/office/drawing/2014/main" id="{B49F9BB5-38A8-4367-AB63-024C9039FD7A}"/>
                </a:ext>
              </a:extLst>
            </p:cNvPr>
            <p:cNvSpPr txBox="1"/>
            <p:nvPr/>
          </p:nvSpPr>
          <p:spPr>
            <a:xfrm>
              <a:off x="976987" y="3075494"/>
              <a:ext cx="2668622" cy="498204"/>
            </a:xfrm>
            <a:prstGeom prst="rect">
              <a:avLst/>
            </a:prstGeom>
            <a:noFill/>
          </p:spPr>
          <p:txBody>
            <a:bodyPr wrap="square" lIns="0" tIns="36000" rIns="0" bIns="36000" rtlCol="0">
              <a:spAutoFit/>
            </a:bodyPr>
            <a:lstStyle/>
            <a:p>
              <a:pPr marL="0" marR="0" lvl="0" indent="0" algn="r" defTabSz="914400" rtl="0" eaLnBrk="1" fontAlgn="auto" latinLnBrk="0" hangingPunct="1">
                <a:lnSpc>
                  <a:spcPct val="120000"/>
                </a:lnSpc>
                <a:spcBef>
                  <a:spcPts val="600"/>
                </a:spcBef>
                <a:spcAft>
                  <a:spcPts val="0"/>
                </a:spcAft>
                <a:buClrTx/>
                <a:buSzTx/>
                <a:buFontTx/>
                <a:buNone/>
                <a:tabLst/>
                <a:defRPr/>
              </a:pPr>
              <a:r>
                <a:rPr kumimoji="0" lang="en-US" sz="1200" b="0" i="0" u="none" strike="noStrike" kern="1200" cap="none" spc="0" normalizeH="0" baseline="0" noProof="0" dirty="0">
                  <a:ln>
                    <a:noFill/>
                  </a:ln>
                  <a:solidFill>
                    <a:prstClr val="black">
                      <a:lumMod val="50000"/>
                      <a:lumOff val="50000"/>
                    </a:prstClr>
                  </a:solidFill>
                  <a:effectLst/>
                  <a:uLnTx/>
                  <a:uFillTx/>
                  <a:latin typeface="HarmonyOS Sans SC"/>
                  <a:cs typeface="+mn-cs"/>
                </a:rPr>
                <a:t>Apparently we had reached a great height in the.</a:t>
              </a:r>
            </a:p>
          </p:txBody>
        </p:sp>
      </p:grpSp>
      <p:sp>
        <p:nvSpPr>
          <p:cNvPr id="28" name="TextBox 65">
            <a:extLst>
              <a:ext uri="{FF2B5EF4-FFF2-40B4-BE49-F238E27FC236}">
                <a16:creationId xmlns:a16="http://schemas.microsoft.com/office/drawing/2014/main" id="{DC8808F6-C750-4E5F-8919-CED43DD0DE33}"/>
              </a:ext>
            </a:extLst>
          </p:cNvPr>
          <p:cNvSpPr txBox="1"/>
          <p:nvPr/>
        </p:nvSpPr>
        <p:spPr>
          <a:xfrm>
            <a:off x="1589348" y="4598449"/>
            <a:ext cx="2056261" cy="387598"/>
          </a:xfrm>
          <a:prstGeom prst="rect">
            <a:avLst/>
          </a:prstGeom>
          <a:noFill/>
        </p:spPr>
        <p:txBody>
          <a:bodyPr wrap="square" lIns="0" tIns="36000" rIns="0" bIns="36000" rtlCol="0">
            <a:spAutoFit/>
          </a:bodyPr>
          <a:lstStyle/>
          <a:p>
            <a:pPr marL="0" marR="0" lvl="0" indent="0" algn="r" defTabSz="914400" rtl="0" eaLnBrk="1" fontAlgn="auto" latinLnBrk="0" hangingPunct="1">
              <a:lnSpc>
                <a:spcPct val="120000"/>
              </a:lnSpc>
              <a:spcBef>
                <a:spcPts val="600"/>
              </a:spcBef>
              <a:spcAft>
                <a:spcPts val="0"/>
              </a:spcAft>
              <a:buClrTx/>
              <a:buSzTx/>
              <a:buFontTx/>
              <a:buNone/>
              <a:tabLst/>
              <a:defRPr/>
            </a:pPr>
            <a:r>
              <a:rPr kumimoji="0" lang="zh-CN" altLang="en-US" sz="1800" b="0" i="0" u="none" strike="noStrike" kern="1200" cap="none" spc="0" normalizeH="0" baseline="0" noProof="0" dirty="0">
                <a:ln>
                  <a:noFill/>
                </a:ln>
                <a:solidFill>
                  <a:schemeClr val="accent1"/>
                </a:solidFill>
                <a:effectLst/>
                <a:uLnTx/>
                <a:uFillTx/>
                <a:latin typeface="HarmonyOS Sans SC Black"/>
                <a:ea typeface="+mj-ea"/>
                <a:cs typeface="+mn-cs"/>
              </a:rPr>
              <a:t>关键词标题</a:t>
            </a:r>
            <a:endParaRPr kumimoji="0" lang="en-US" sz="1800" b="0" i="0" u="none" strike="noStrike" kern="1200" cap="none" spc="0" normalizeH="0" baseline="0" noProof="0" dirty="0">
              <a:ln>
                <a:noFill/>
              </a:ln>
              <a:solidFill>
                <a:schemeClr val="accent1"/>
              </a:solidFill>
              <a:effectLst/>
              <a:uLnTx/>
              <a:uFillTx/>
              <a:latin typeface="HarmonyOS Sans SC Black"/>
              <a:ea typeface="+mj-ea"/>
              <a:cs typeface="+mn-cs"/>
            </a:endParaRPr>
          </a:p>
        </p:txBody>
      </p:sp>
      <p:sp>
        <p:nvSpPr>
          <p:cNvPr id="29" name="TextBox 65">
            <a:extLst>
              <a:ext uri="{FF2B5EF4-FFF2-40B4-BE49-F238E27FC236}">
                <a16:creationId xmlns:a16="http://schemas.microsoft.com/office/drawing/2014/main" id="{87EC28D4-131B-402D-8900-135CF0297E4C}"/>
              </a:ext>
            </a:extLst>
          </p:cNvPr>
          <p:cNvSpPr txBox="1"/>
          <p:nvPr/>
        </p:nvSpPr>
        <p:spPr>
          <a:xfrm>
            <a:off x="976987" y="4981848"/>
            <a:ext cx="2668622" cy="498204"/>
          </a:xfrm>
          <a:prstGeom prst="rect">
            <a:avLst/>
          </a:prstGeom>
          <a:noFill/>
        </p:spPr>
        <p:txBody>
          <a:bodyPr wrap="square" lIns="0" tIns="36000" rIns="0" bIns="36000" rtlCol="0">
            <a:spAutoFit/>
          </a:bodyPr>
          <a:lstStyle/>
          <a:p>
            <a:pPr marL="0" marR="0" lvl="0" indent="0" algn="r" defTabSz="914400" rtl="0" eaLnBrk="1" fontAlgn="auto" latinLnBrk="0" hangingPunct="1">
              <a:lnSpc>
                <a:spcPct val="120000"/>
              </a:lnSpc>
              <a:spcBef>
                <a:spcPts val="600"/>
              </a:spcBef>
              <a:spcAft>
                <a:spcPts val="0"/>
              </a:spcAft>
              <a:buClrTx/>
              <a:buSzTx/>
              <a:buFontTx/>
              <a:buNone/>
              <a:tabLst/>
              <a:defRPr/>
            </a:pPr>
            <a:r>
              <a:rPr kumimoji="0" lang="en-US" sz="1200" b="0" i="0" u="none" strike="noStrike" kern="1200" cap="none" spc="0" normalizeH="0" baseline="0" noProof="0" dirty="0">
                <a:ln>
                  <a:noFill/>
                </a:ln>
                <a:solidFill>
                  <a:prstClr val="black">
                    <a:lumMod val="50000"/>
                    <a:lumOff val="50000"/>
                  </a:prstClr>
                </a:solidFill>
                <a:effectLst/>
                <a:uLnTx/>
                <a:uFillTx/>
                <a:latin typeface="HarmonyOS Sans SC"/>
                <a:cs typeface="+mn-cs"/>
              </a:rPr>
              <a:t>Apparently we had reached a great height in the.</a:t>
            </a:r>
          </a:p>
        </p:txBody>
      </p:sp>
      <p:grpSp>
        <p:nvGrpSpPr>
          <p:cNvPr id="37" name="组合 36">
            <a:extLst>
              <a:ext uri="{FF2B5EF4-FFF2-40B4-BE49-F238E27FC236}">
                <a16:creationId xmlns:a16="http://schemas.microsoft.com/office/drawing/2014/main" id="{B138DABA-99BB-426B-A043-96F4745DC73D}"/>
              </a:ext>
            </a:extLst>
          </p:cNvPr>
          <p:cNvGrpSpPr/>
          <p:nvPr/>
        </p:nvGrpSpPr>
        <p:grpSpPr>
          <a:xfrm>
            <a:off x="8546391" y="2692095"/>
            <a:ext cx="2668622" cy="881603"/>
            <a:chOff x="8546391" y="2692095"/>
            <a:chExt cx="2668622" cy="881603"/>
          </a:xfrm>
        </p:grpSpPr>
        <p:sp>
          <p:nvSpPr>
            <p:cNvPr id="31" name="TextBox 65">
              <a:extLst>
                <a:ext uri="{FF2B5EF4-FFF2-40B4-BE49-F238E27FC236}">
                  <a16:creationId xmlns:a16="http://schemas.microsoft.com/office/drawing/2014/main" id="{7CE11E1A-504E-4F61-B097-3AE373DDF60F}"/>
                </a:ext>
              </a:extLst>
            </p:cNvPr>
            <p:cNvSpPr txBox="1"/>
            <p:nvPr/>
          </p:nvSpPr>
          <p:spPr>
            <a:xfrm flipH="1">
              <a:off x="8546391" y="2692095"/>
              <a:ext cx="2056261" cy="387598"/>
            </a:xfrm>
            <a:prstGeom prst="rect">
              <a:avLst/>
            </a:prstGeom>
            <a:noFill/>
          </p:spPr>
          <p:txBody>
            <a:bodyPr wrap="square" lIns="0" tIns="36000" rIns="0" bIns="36000" rtlCol="0">
              <a:spAutoFit/>
            </a:bodyPr>
            <a:lstStyle/>
            <a:p>
              <a:pPr marL="0" marR="0" lvl="0" indent="0" algn="l" defTabSz="914400" rtl="0" eaLnBrk="1" fontAlgn="auto" latinLnBrk="0" hangingPunct="1">
                <a:lnSpc>
                  <a:spcPct val="120000"/>
                </a:lnSpc>
                <a:spcBef>
                  <a:spcPts val="600"/>
                </a:spcBef>
                <a:spcAft>
                  <a:spcPts val="0"/>
                </a:spcAft>
                <a:buClrTx/>
                <a:buSzTx/>
                <a:buFontTx/>
                <a:buNone/>
                <a:tabLst/>
                <a:defRPr/>
              </a:pPr>
              <a:r>
                <a:rPr kumimoji="0" lang="zh-CN" altLang="en-US" sz="1800" b="0" i="0" u="none" strike="noStrike" kern="1200" cap="none" spc="0" normalizeH="0" baseline="0" noProof="0" dirty="0">
                  <a:ln>
                    <a:noFill/>
                  </a:ln>
                  <a:solidFill>
                    <a:schemeClr val="accent1"/>
                  </a:solidFill>
                  <a:effectLst/>
                  <a:uLnTx/>
                  <a:uFillTx/>
                  <a:latin typeface="HarmonyOS Sans SC Black"/>
                  <a:ea typeface="+mj-ea"/>
                  <a:cs typeface="+mn-cs"/>
                </a:rPr>
                <a:t>关键词标题</a:t>
              </a:r>
              <a:endParaRPr kumimoji="0" lang="en-US" sz="1800" b="0" i="0" u="none" strike="noStrike" kern="1200" cap="none" spc="0" normalizeH="0" baseline="0" noProof="0" dirty="0">
                <a:ln>
                  <a:noFill/>
                </a:ln>
                <a:solidFill>
                  <a:schemeClr val="accent1"/>
                </a:solidFill>
                <a:effectLst/>
                <a:uLnTx/>
                <a:uFillTx/>
                <a:latin typeface="HarmonyOS Sans SC Black"/>
                <a:ea typeface="+mj-ea"/>
                <a:cs typeface="+mn-cs"/>
              </a:endParaRPr>
            </a:p>
          </p:txBody>
        </p:sp>
        <p:sp>
          <p:nvSpPr>
            <p:cNvPr id="32" name="TextBox 65">
              <a:extLst>
                <a:ext uri="{FF2B5EF4-FFF2-40B4-BE49-F238E27FC236}">
                  <a16:creationId xmlns:a16="http://schemas.microsoft.com/office/drawing/2014/main" id="{2E728689-29C7-49A8-93C8-A247ADCC599D}"/>
                </a:ext>
              </a:extLst>
            </p:cNvPr>
            <p:cNvSpPr txBox="1"/>
            <p:nvPr/>
          </p:nvSpPr>
          <p:spPr>
            <a:xfrm flipH="1">
              <a:off x="8546391" y="3075494"/>
              <a:ext cx="2668622" cy="498204"/>
            </a:xfrm>
            <a:prstGeom prst="rect">
              <a:avLst/>
            </a:prstGeom>
            <a:noFill/>
          </p:spPr>
          <p:txBody>
            <a:bodyPr wrap="square" lIns="0" tIns="36000" rIns="0" bIns="36000" rtlCol="0">
              <a:spAutoFit/>
            </a:bodyPr>
            <a:lstStyle/>
            <a:p>
              <a:pPr marL="0" marR="0" lvl="0" indent="0" algn="l" defTabSz="914400" rtl="0" eaLnBrk="1" fontAlgn="auto" latinLnBrk="0" hangingPunct="1">
                <a:lnSpc>
                  <a:spcPct val="120000"/>
                </a:lnSpc>
                <a:spcBef>
                  <a:spcPts val="600"/>
                </a:spcBef>
                <a:spcAft>
                  <a:spcPts val="0"/>
                </a:spcAft>
                <a:buClrTx/>
                <a:buSzTx/>
                <a:buFontTx/>
                <a:buNone/>
                <a:tabLst/>
                <a:defRPr/>
              </a:pPr>
              <a:r>
                <a:rPr kumimoji="0" lang="en-US" sz="1200" b="0" i="0" u="none" strike="noStrike" kern="1200" cap="none" spc="0" normalizeH="0" baseline="0" noProof="0" dirty="0">
                  <a:ln>
                    <a:noFill/>
                  </a:ln>
                  <a:solidFill>
                    <a:prstClr val="black">
                      <a:lumMod val="50000"/>
                      <a:lumOff val="50000"/>
                    </a:prstClr>
                  </a:solidFill>
                  <a:effectLst/>
                  <a:uLnTx/>
                  <a:uFillTx/>
                  <a:latin typeface="HarmonyOS Sans SC"/>
                  <a:cs typeface="+mn-cs"/>
                </a:rPr>
                <a:t>Apparently we had reached a great height in the.</a:t>
              </a:r>
            </a:p>
          </p:txBody>
        </p:sp>
      </p:grpSp>
      <p:sp>
        <p:nvSpPr>
          <p:cNvPr id="33" name="TextBox 65">
            <a:extLst>
              <a:ext uri="{FF2B5EF4-FFF2-40B4-BE49-F238E27FC236}">
                <a16:creationId xmlns:a16="http://schemas.microsoft.com/office/drawing/2014/main" id="{9B84ACD4-01FF-46B9-9AF3-157DA25D5F4C}"/>
              </a:ext>
            </a:extLst>
          </p:cNvPr>
          <p:cNvSpPr txBox="1"/>
          <p:nvPr/>
        </p:nvSpPr>
        <p:spPr>
          <a:xfrm flipH="1">
            <a:off x="8546391" y="4598449"/>
            <a:ext cx="2056261" cy="387598"/>
          </a:xfrm>
          <a:prstGeom prst="rect">
            <a:avLst/>
          </a:prstGeom>
          <a:noFill/>
        </p:spPr>
        <p:txBody>
          <a:bodyPr wrap="square" lIns="0" tIns="36000" rIns="0" bIns="36000" rtlCol="0">
            <a:spAutoFit/>
          </a:bodyPr>
          <a:lstStyle/>
          <a:p>
            <a:pPr marL="0" marR="0" lvl="0" indent="0" algn="l" defTabSz="914400" rtl="0" eaLnBrk="1" fontAlgn="auto" latinLnBrk="0" hangingPunct="1">
              <a:lnSpc>
                <a:spcPct val="120000"/>
              </a:lnSpc>
              <a:spcBef>
                <a:spcPts val="600"/>
              </a:spcBef>
              <a:spcAft>
                <a:spcPts val="0"/>
              </a:spcAft>
              <a:buClrTx/>
              <a:buSzTx/>
              <a:buFontTx/>
              <a:buNone/>
              <a:tabLst/>
              <a:defRPr/>
            </a:pPr>
            <a:r>
              <a:rPr kumimoji="0" lang="zh-CN" altLang="en-US" sz="1800" b="0" i="0" u="none" strike="noStrike" kern="1200" cap="none" spc="0" normalizeH="0" baseline="0" noProof="0" dirty="0">
                <a:ln>
                  <a:noFill/>
                </a:ln>
                <a:solidFill>
                  <a:schemeClr val="accent1"/>
                </a:solidFill>
                <a:effectLst/>
                <a:uLnTx/>
                <a:uFillTx/>
                <a:latin typeface="HarmonyOS Sans SC Black"/>
                <a:ea typeface="+mj-ea"/>
                <a:cs typeface="+mn-cs"/>
              </a:rPr>
              <a:t>关键词标题</a:t>
            </a:r>
            <a:endParaRPr kumimoji="0" lang="en-US" sz="1800" b="0" i="0" u="none" strike="noStrike" kern="1200" cap="none" spc="0" normalizeH="0" baseline="0" noProof="0" dirty="0">
              <a:ln>
                <a:noFill/>
              </a:ln>
              <a:solidFill>
                <a:schemeClr val="accent1"/>
              </a:solidFill>
              <a:effectLst/>
              <a:uLnTx/>
              <a:uFillTx/>
              <a:latin typeface="HarmonyOS Sans SC Black"/>
              <a:ea typeface="+mj-ea"/>
              <a:cs typeface="+mn-cs"/>
            </a:endParaRPr>
          </a:p>
        </p:txBody>
      </p:sp>
      <p:sp>
        <p:nvSpPr>
          <p:cNvPr id="34" name="TextBox 65">
            <a:extLst>
              <a:ext uri="{FF2B5EF4-FFF2-40B4-BE49-F238E27FC236}">
                <a16:creationId xmlns:a16="http://schemas.microsoft.com/office/drawing/2014/main" id="{AC239D4C-F177-45C1-8B26-6C86736CA2A8}"/>
              </a:ext>
            </a:extLst>
          </p:cNvPr>
          <p:cNvSpPr txBox="1"/>
          <p:nvPr/>
        </p:nvSpPr>
        <p:spPr>
          <a:xfrm flipH="1">
            <a:off x="8546391" y="4981848"/>
            <a:ext cx="2668622" cy="498204"/>
          </a:xfrm>
          <a:prstGeom prst="rect">
            <a:avLst/>
          </a:prstGeom>
          <a:noFill/>
        </p:spPr>
        <p:txBody>
          <a:bodyPr wrap="square" lIns="0" tIns="36000" rIns="0" bIns="36000" rtlCol="0">
            <a:spAutoFit/>
          </a:bodyPr>
          <a:lstStyle/>
          <a:p>
            <a:pPr marL="0" marR="0" lvl="0" indent="0" algn="l" defTabSz="914400" rtl="0" eaLnBrk="1" fontAlgn="auto" latinLnBrk="0" hangingPunct="1">
              <a:lnSpc>
                <a:spcPct val="120000"/>
              </a:lnSpc>
              <a:spcBef>
                <a:spcPts val="600"/>
              </a:spcBef>
              <a:spcAft>
                <a:spcPts val="0"/>
              </a:spcAft>
              <a:buClrTx/>
              <a:buSzTx/>
              <a:buFontTx/>
              <a:buNone/>
              <a:tabLst/>
              <a:defRPr/>
            </a:pPr>
            <a:r>
              <a:rPr kumimoji="0" lang="en-US" sz="1200" b="0" i="0" u="none" strike="noStrike" kern="1200" cap="none" spc="0" normalizeH="0" baseline="0" noProof="0" dirty="0">
                <a:ln>
                  <a:noFill/>
                </a:ln>
                <a:solidFill>
                  <a:prstClr val="black">
                    <a:lumMod val="50000"/>
                    <a:lumOff val="50000"/>
                  </a:prstClr>
                </a:solidFill>
                <a:effectLst/>
                <a:uLnTx/>
                <a:uFillTx/>
                <a:latin typeface="HarmonyOS Sans SC"/>
                <a:cs typeface="+mn-cs"/>
              </a:rPr>
              <a:t>Apparently we had reached a great height in the.</a:t>
            </a:r>
          </a:p>
        </p:txBody>
      </p:sp>
    </p:spTree>
    <p:extLst>
      <p:ext uri="{BB962C8B-B14F-4D97-AF65-F5344CB8AC3E}">
        <p14:creationId xmlns:p14="http://schemas.microsoft.com/office/powerpoint/2010/main" val="3700786578"/>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bg>
      <p:bgPr>
        <a:solidFill>
          <a:schemeClr val="bg1">
            <a:lumMod val="85000"/>
          </a:schemeClr>
        </a:solidFill>
        <a:effectLst/>
      </p:bgPr>
    </p:bg>
    <p:spTree>
      <p:nvGrpSpPr>
        <p:cNvPr id="1" name=""/>
        <p:cNvGrpSpPr/>
        <p:nvPr/>
      </p:nvGrpSpPr>
      <p:grpSpPr>
        <a:xfrm>
          <a:off x="0" y="0"/>
          <a:ext cx="0" cy="0"/>
          <a:chOff x="0" y="0"/>
          <a:chExt cx="0" cy="0"/>
        </a:xfrm>
      </p:grpSpPr>
      <p:sp>
        <p:nvSpPr>
          <p:cNvPr id="2" name="矩形 1">
            <a:extLst>
              <a:ext uri="{FF2B5EF4-FFF2-40B4-BE49-F238E27FC236}">
                <a16:creationId xmlns:a16="http://schemas.microsoft.com/office/drawing/2014/main" id="{7DDAEC99-EAAF-4154-AB94-D95F82A0A494}"/>
              </a:ext>
            </a:extLst>
          </p:cNvPr>
          <p:cNvSpPr/>
          <p:nvPr/>
        </p:nvSpPr>
        <p:spPr>
          <a:xfrm>
            <a:off x="4445000" y="0"/>
            <a:ext cx="7747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p>
        </p:txBody>
      </p:sp>
      <p:sp>
        <p:nvSpPr>
          <p:cNvPr id="3" name="任意多边形: 形状 2">
            <a:extLst>
              <a:ext uri="{FF2B5EF4-FFF2-40B4-BE49-F238E27FC236}">
                <a16:creationId xmlns:a16="http://schemas.microsoft.com/office/drawing/2014/main" id="{429158F4-26D3-488D-8CBD-915E347D110E}"/>
              </a:ext>
            </a:extLst>
          </p:cNvPr>
          <p:cNvSpPr/>
          <p:nvPr/>
        </p:nvSpPr>
        <p:spPr>
          <a:xfrm>
            <a:off x="1462721" y="2818246"/>
            <a:ext cx="1331826" cy="1221507"/>
          </a:xfrm>
          <a:custGeom>
            <a:avLst/>
            <a:gdLst>
              <a:gd name="connsiteX0" fmla="*/ 1006264 w 1331826"/>
              <a:gd name="connsiteY0" fmla="*/ 238125 h 1221507"/>
              <a:gd name="connsiteX1" fmla="*/ 1123466 w 1331826"/>
              <a:gd name="connsiteY1" fmla="*/ 355327 h 1221507"/>
              <a:gd name="connsiteX2" fmla="*/ 1006264 w 1331826"/>
              <a:gd name="connsiteY2" fmla="*/ 472529 h 1221507"/>
              <a:gd name="connsiteX3" fmla="*/ 889062 w 1331826"/>
              <a:gd name="connsiteY3" fmla="*/ 355327 h 1221507"/>
              <a:gd name="connsiteX4" fmla="*/ 1006264 w 1331826"/>
              <a:gd name="connsiteY4" fmla="*/ 238125 h 1221507"/>
              <a:gd name="connsiteX5" fmla="*/ 172827 w 1331826"/>
              <a:gd name="connsiteY5" fmla="*/ 104180 h 1221507"/>
              <a:gd name="connsiteX6" fmla="*/ 105482 w 1331826"/>
              <a:gd name="connsiteY6" fmla="*/ 171152 h 1221507"/>
              <a:gd name="connsiteX7" fmla="*/ 105482 w 1331826"/>
              <a:gd name="connsiteY7" fmla="*/ 726281 h 1221507"/>
              <a:gd name="connsiteX8" fmla="*/ 179152 w 1331826"/>
              <a:gd name="connsiteY8" fmla="*/ 599777 h 1221507"/>
              <a:gd name="connsiteX9" fmla="*/ 303795 w 1331826"/>
              <a:gd name="connsiteY9" fmla="*/ 490761 h 1221507"/>
              <a:gd name="connsiteX10" fmla="*/ 414300 w 1331826"/>
              <a:gd name="connsiteY10" fmla="*/ 507504 h 1221507"/>
              <a:gd name="connsiteX11" fmla="*/ 731676 w 1331826"/>
              <a:gd name="connsiteY11" fmla="*/ 856878 h 1221507"/>
              <a:gd name="connsiteX12" fmla="*/ 780790 w 1331826"/>
              <a:gd name="connsiteY12" fmla="*/ 791022 h 1221507"/>
              <a:gd name="connsiteX13" fmla="*/ 988777 w 1331826"/>
              <a:gd name="connsiteY13" fmla="*/ 633264 h 1221507"/>
              <a:gd name="connsiteX14" fmla="*/ 1093329 w 1331826"/>
              <a:gd name="connsiteY14" fmla="*/ 666006 h 1221507"/>
              <a:gd name="connsiteX15" fmla="*/ 1227646 w 1331826"/>
              <a:gd name="connsiteY15" fmla="*/ 821159 h 1221507"/>
              <a:gd name="connsiteX16" fmla="*/ 1227646 w 1331826"/>
              <a:gd name="connsiteY16" fmla="*/ 171152 h 1221507"/>
              <a:gd name="connsiteX17" fmla="*/ 1160673 w 1331826"/>
              <a:gd name="connsiteY17" fmla="*/ 104180 h 1221507"/>
              <a:gd name="connsiteX18" fmla="*/ 172827 w 1331826"/>
              <a:gd name="connsiteY18" fmla="*/ 0 h 1221507"/>
              <a:gd name="connsiteX19" fmla="*/ 1160673 w 1331826"/>
              <a:gd name="connsiteY19" fmla="*/ 0 h 1221507"/>
              <a:gd name="connsiteX20" fmla="*/ 1331826 w 1331826"/>
              <a:gd name="connsiteY20" fmla="*/ 171152 h 1221507"/>
              <a:gd name="connsiteX21" fmla="*/ 1331826 w 1331826"/>
              <a:gd name="connsiteY21" fmla="*/ 1050355 h 1221507"/>
              <a:gd name="connsiteX22" fmla="*/ 1160673 w 1331826"/>
              <a:gd name="connsiteY22" fmla="*/ 1221507 h 1221507"/>
              <a:gd name="connsiteX23" fmla="*/ 172827 w 1331826"/>
              <a:gd name="connsiteY23" fmla="*/ 1221507 h 1221507"/>
              <a:gd name="connsiteX24" fmla="*/ 1674 w 1331826"/>
              <a:gd name="connsiteY24" fmla="*/ 1050355 h 1221507"/>
              <a:gd name="connsiteX25" fmla="*/ 1674 w 1331826"/>
              <a:gd name="connsiteY25" fmla="*/ 1006450 h 1221507"/>
              <a:gd name="connsiteX26" fmla="*/ 1674 w 1331826"/>
              <a:gd name="connsiteY26" fmla="*/ 980405 h 1221507"/>
              <a:gd name="connsiteX27" fmla="*/ 1674 w 1331826"/>
              <a:gd name="connsiteY27" fmla="*/ 171152 h 1221507"/>
              <a:gd name="connsiteX28" fmla="*/ 172827 w 1331826"/>
              <a:gd name="connsiteY28" fmla="*/ 0 h 1221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31826" h="1221507">
                <a:moveTo>
                  <a:pt x="1006264" y="238125"/>
                </a:moveTo>
                <a:cubicBezTo>
                  <a:pt x="1070993" y="238125"/>
                  <a:pt x="1123466" y="290598"/>
                  <a:pt x="1123466" y="355327"/>
                </a:cubicBezTo>
                <a:cubicBezTo>
                  <a:pt x="1123466" y="420056"/>
                  <a:pt x="1070993" y="472529"/>
                  <a:pt x="1006264" y="472529"/>
                </a:cubicBezTo>
                <a:cubicBezTo>
                  <a:pt x="941535" y="472529"/>
                  <a:pt x="889062" y="420056"/>
                  <a:pt x="889062" y="355327"/>
                </a:cubicBezTo>
                <a:cubicBezTo>
                  <a:pt x="889062" y="290598"/>
                  <a:pt x="941535" y="238125"/>
                  <a:pt x="1006264" y="238125"/>
                </a:cubicBezTo>
                <a:close/>
                <a:moveTo>
                  <a:pt x="172827" y="104180"/>
                </a:moveTo>
                <a:cubicBezTo>
                  <a:pt x="135620" y="104180"/>
                  <a:pt x="105854" y="133945"/>
                  <a:pt x="105482" y="171152"/>
                </a:cubicBezTo>
                <a:lnTo>
                  <a:pt x="105482" y="726281"/>
                </a:lnTo>
                <a:cubicBezTo>
                  <a:pt x="130411" y="676424"/>
                  <a:pt x="154967" y="634008"/>
                  <a:pt x="179152" y="599777"/>
                </a:cubicBezTo>
                <a:cubicBezTo>
                  <a:pt x="220824" y="540246"/>
                  <a:pt x="261751" y="504527"/>
                  <a:pt x="303795" y="490761"/>
                </a:cubicBezTo>
                <a:cubicBezTo>
                  <a:pt x="342491" y="478110"/>
                  <a:pt x="380442" y="483691"/>
                  <a:pt x="414300" y="507504"/>
                </a:cubicBezTo>
                <a:cubicBezTo>
                  <a:pt x="528526" y="587871"/>
                  <a:pt x="663215" y="762372"/>
                  <a:pt x="731676" y="856878"/>
                </a:cubicBezTo>
                <a:cubicBezTo>
                  <a:pt x="745443" y="837158"/>
                  <a:pt x="762186" y="814090"/>
                  <a:pt x="780790" y="791022"/>
                </a:cubicBezTo>
                <a:cubicBezTo>
                  <a:pt x="858552" y="693911"/>
                  <a:pt x="926641" y="642193"/>
                  <a:pt x="988777" y="633264"/>
                </a:cubicBezTo>
                <a:cubicBezTo>
                  <a:pt x="1028216" y="627683"/>
                  <a:pt x="1064307" y="638845"/>
                  <a:pt x="1093329" y="666006"/>
                </a:cubicBezTo>
                <a:cubicBezTo>
                  <a:pt x="1142070" y="711398"/>
                  <a:pt x="1188951" y="768697"/>
                  <a:pt x="1227646" y="821159"/>
                </a:cubicBezTo>
                <a:lnTo>
                  <a:pt x="1227646" y="171152"/>
                </a:lnTo>
                <a:cubicBezTo>
                  <a:pt x="1227646" y="134317"/>
                  <a:pt x="1197508" y="104180"/>
                  <a:pt x="1160673" y="104180"/>
                </a:cubicBezTo>
                <a:close/>
                <a:moveTo>
                  <a:pt x="172827" y="0"/>
                </a:moveTo>
                <a:lnTo>
                  <a:pt x="1160673" y="0"/>
                </a:lnTo>
                <a:cubicBezTo>
                  <a:pt x="1255179" y="0"/>
                  <a:pt x="1331826" y="76646"/>
                  <a:pt x="1331826" y="171152"/>
                </a:cubicBezTo>
                <a:lnTo>
                  <a:pt x="1331826" y="1050355"/>
                </a:lnTo>
                <a:cubicBezTo>
                  <a:pt x="1331826" y="1144860"/>
                  <a:pt x="1255179" y="1221507"/>
                  <a:pt x="1160673" y="1221507"/>
                </a:cubicBezTo>
                <a:lnTo>
                  <a:pt x="172827" y="1221507"/>
                </a:lnTo>
                <a:cubicBezTo>
                  <a:pt x="78321" y="1221507"/>
                  <a:pt x="1674" y="1144860"/>
                  <a:pt x="1674" y="1050355"/>
                </a:cubicBezTo>
                <a:lnTo>
                  <a:pt x="1674" y="1006450"/>
                </a:lnTo>
                <a:cubicBezTo>
                  <a:pt x="-558" y="997893"/>
                  <a:pt x="-558" y="989335"/>
                  <a:pt x="1674" y="980405"/>
                </a:cubicBezTo>
                <a:lnTo>
                  <a:pt x="1674" y="171152"/>
                </a:lnTo>
                <a:cubicBezTo>
                  <a:pt x="1674" y="76646"/>
                  <a:pt x="78321" y="0"/>
                  <a:pt x="172827" y="0"/>
                </a:cubicBezTo>
                <a:close/>
              </a:path>
            </a:pathLst>
          </a:custGeom>
          <a:solidFill>
            <a:schemeClr val="bg1"/>
          </a:solidFill>
          <a:ln w="1860" cap="flat">
            <a:noFill/>
            <a:prstDash val="solid"/>
            <a:miter/>
          </a:ln>
        </p:spPr>
        <p:txBody>
          <a:bodyPr rtlCol="0" anchor="ctr"/>
          <a:lstStyle/>
          <a:p>
            <a:endParaRPr lang="zh-CN" altLang="en-US"/>
          </a:p>
        </p:txBody>
      </p:sp>
      <p:sp>
        <p:nvSpPr>
          <p:cNvPr id="4" name="矩形 3">
            <a:extLst>
              <a:ext uri="{FF2B5EF4-FFF2-40B4-BE49-F238E27FC236}">
                <a16:creationId xmlns:a16="http://schemas.microsoft.com/office/drawing/2014/main" id="{73E13BBE-7876-46E3-9090-1DA6F48C857C}"/>
              </a:ext>
            </a:extLst>
          </p:cNvPr>
          <p:cNvSpPr/>
          <p:nvPr/>
        </p:nvSpPr>
        <p:spPr>
          <a:xfrm>
            <a:off x="4076284" y="2184400"/>
            <a:ext cx="7420391" cy="2489200"/>
          </a:xfrm>
          <a:prstGeom prst="rect">
            <a:avLst/>
          </a:prstGeom>
          <a:solidFill>
            <a:schemeClr val="accent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p>
        </p:txBody>
      </p:sp>
      <p:sp>
        <p:nvSpPr>
          <p:cNvPr id="5" name="文本框 4">
            <a:extLst>
              <a:ext uri="{FF2B5EF4-FFF2-40B4-BE49-F238E27FC236}">
                <a16:creationId xmlns:a16="http://schemas.microsoft.com/office/drawing/2014/main" id="{3ECD2105-58CB-453D-932D-8D769470BCFE}"/>
              </a:ext>
            </a:extLst>
          </p:cNvPr>
          <p:cNvSpPr txBox="1"/>
          <p:nvPr/>
        </p:nvSpPr>
        <p:spPr>
          <a:xfrm>
            <a:off x="4646000" y="2986203"/>
            <a:ext cx="6350650" cy="846753"/>
          </a:xfrm>
          <a:prstGeom prst="rect">
            <a:avLst/>
          </a:prstGeom>
          <a:noFill/>
        </p:spPr>
        <p:txBody>
          <a:bodyPr wrap="none" lIns="0" tIns="0" rIns="0" bIns="0" rtlCol="0" anchor="t">
            <a:spAutoFit/>
          </a:bodyPr>
          <a:lstStyle/>
          <a:p>
            <a:pPr algn="ctr"/>
            <a:r>
              <a:rPr lang="zh-CN" altLang="en-US" sz="5400" dirty="0">
                <a:solidFill>
                  <a:schemeClr val="bg1"/>
                </a:solidFill>
                <a:latin typeface="+mj-ea"/>
                <a:ea typeface="+mj-ea"/>
              </a:rPr>
              <a:t>输入你的封面大标题</a:t>
            </a:r>
          </a:p>
        </p:txBody>
      </p:sp>
      <p:sp>
        <p:nvSpPr>
          <p:cNvPr id="6" name="文本框 5">
            <a:extLst>
              <a:ext uri="{FF2B5EF4-FFF2-40B4-BE49-F238E27FC236}">
                <a16:creationId xmlns:a16="http://schemas.microsoft.com/office/drawing/2014/main" id="{F32E81F3-F5AE-4FC7-8C03-25AD94D54B32}"/>
              </a:ext>
            </a:extLst>
          </p:cNvPr>
          <p:cNvSpPr txBox="1"/>
          <p:nvPr/>
        </p:nvSpPr>
        <p:spPr>
          <a:xfrm>
            <a:off x="6462335" y="2608118"/>
            <a:ext cx="2717974" cy="250890"/>
          </a:xfrm>
          <a:prstGeom prst="rect">
            <a:avLst/>
          </a:prstGeom>
          <a:noFill/>
        </p:spPr>
        <p:txBody>
          <a:bodyPr wrap="none" lIns="0" tIns="0" rIns="0" bIns="0" rtlCol="0" anchor="t">
            <a:spAutoFit/>
          </a:bodyPr>
          <a:lstStyle/>
          <a:p>
            <a:pPr algn="ctr"/>
            <a:r>
              <a:rPr lang="zh-CN" altLang="en-US" sz="1600" dirty="0">
                <a:solidFill>
                  <a:schemeClr val="bg1"/>
                </a:solidFill>
                <a:latin typeface="+mn-ea"/>
              </a:rPr>
              <a:t>输入你的副标题或大标题英文</a:t>
            </a:r>
          </a:p>
        </p:txBody>
      </p:sp>
      <p:cxnSp>
        <p:nvCxnSpPr>
          <p:cNvPr id="7" name="直接连接符 6">
            <a:extLst>
              <a:ext uri="{FF2B5EF4-FFF2-40B4-BE49-F238E27FC236}">
                <a16:creationId xmlns:a16="http://schemas.microsoft.com/office/drawing/2014/main" id="{1A3C5C84-DBC2-4D54-9E1D-6A045A3A2A50}"/>
              </a:ext>
            </a:extLst>
          </p:cNvPr>
          <p:cNvCxnSpPr/>
          <p:nvPr/>
        </p:nvCxnSpPr>
        <p:spPr>
          <a:xfrm flipH="1">
            <a:off x="4824356" y="2748495"/>
            <a:ext cx="140188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8" name="直接连接符 7">
            <a:extLst>
              <a:ext uri="{FF2B5EF4-FFF2-40B4-BE49-F238E27FC236}">
                <a16:creationId xmlns:a16="http://schemas.microsoft.com/office/drawing/2014/main" id="{B1C194A8-D207-4297-AF53-1B5F00312DC8}"/>
              </a:ext>
            </a:extLst>
          </p:cNvPr>
          <p:cNvCxnSpPr/>
          <p:nvPr/>
        </p:nvCxnSpPr>
        <p:spPr>
          <a:xfrm flipH="1">
            <a:off x="9434384" y="2748495"/>
            <a:ext cx="140188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grpSp>
        <p:nvGrpSpPr>
          <p:cNvPr id="9" name="组合 8">
            <a:extLst>
              <a:ext uri="{FF2B5EF4-FFF2-40B4-BE49-F238E27FC236}">
                <a16:creationId xmlns:a16="http://schemas.microsoft.com/office/drawing/2014/main" id="{5FAA9FA6-F637-41C3-9404-0389E27763C0}"/>
              </a:ext>
            </a:extLst>
          </p:cNvPr>
          <p:cNvGrpSpPr/>
          <p:nvPr/>
        </p:nvGrpSpPr>
        <p:grpSpPr>
          <a:xfrm>
            <a:off x="6520905" y="4077395"/>
            <a:ext cx="1045798" cy="172487"/>
            <a:chOff x="4095451" y="4640913"/>
            <a:chExt cx="1418849" cy="234016"/>
          </a:xfrm>
        </p:grpSpPr>
        <p:sp>
          <p:nvSpPr>
            <p:cNvPr id="10" name="矩形 9">
              <a:extLst>
                <a:ext uri="{FF2B5EF4-FFF2-40B4-BE49-F238E27FC236}">
                  <a16:creationId xmlns:a16="http://schemas.microsoft.com/office/drawing/2014/main" id="{7EFC239B-9159-4C9A-94DE-F741347CB0F4}"/>
                </a:ext>
              </a:extLst>
            </p:cNvPr>
            <p:cNvSpPr/>
            <p:nvPr/>
          </p:nvSpPr>
          <p:spPr>
            <a:xfrm>
              <a:off x="4095451" y="4672584"/>
              <a:ext cx="164592" cy="1645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4400" dirty="0">
                <a:solidFill>
                  <a:schemeClr val="bg1"/>
                </a:solidFill>
              </a:endParaRPr>
            </a:p>
          </p:txBody>
        </p:sp>
        <p:sp>
          <p:nvSpPr>
            <p:cNvPr id="11" name="文本框 10">
              <a:extLst>
                <a:ext uri="{FF2B5EF4-FFF2-40B4-BE49-F238E27FC236}">
                  <a16:creationId xmlns:a16="http://schemas.microsoft.com/office/drawing/2014/main" id="{AA6DA4FB-1E11-471F-9EDA-480DC12C262F}"/>
                </a:ext>
              </a:extLst>
            </p:cNvPr>
            <p:cNvSpPr txBox="1"/>
            <p:nvPr/>
          </p:nvSpPr>
          <p:spPr>
            <a:xfrm>
              <a:off x="4408487" y="4640913"/>
              <a:ext cx="1105813" cy="234016"/>
            </a:xfrm>
            <a:prstGeom prst="rect">
              <a:avLst/>
            </a:prstGeom>
            <a:noFill/>
          </p:spPr>
          <p:txBody>
            <a:bodyPr wrap="none" lIns="0" tIns="0" rIns="0" bIns="0" rtlCol="0" anchor="t">
              <a:spAutoFit/>
            </a:bodyPr>
            <a:lstStyle/>
            <a:p>
              <a:r>
                <a:rPr lang="zh-CN" altLang="en-US" sz="1100" dirty="0">
                  <a:solidFill>
                    <a:schemeClr val="bg1"/>
                  </a:solidFill>
                  <a:latin typeface="+mn-ea"/>
                </a:rPr>
                <a:t>汇报人：</a:t>
              </a:r>
              <a:r>
                <a:rPr lang="en-US" altLang="zh-CN" sz="1100" dirty="0">
                  <a:solidFill>
                    <a:schemeClr val="bg1"/>
                  </a:solidFill>
                  <a:latin typeface="+mn-ea"/>
                </a:rPr>
                <a:t>xxx</a:t>
              </a:r>
              <a:endParaRPr lang="zh-CN" altLang="en-US" sz="1100" dirty="0">
                <a:solidFill>
                  <a:schemeClr val="bg1"/>
                </a:solidFill>
                <a:latin typeface="+mn-ea"/>
              </a:endParaRPr>
            </a:p>
          </p:txBody>
        </p:sp>
      </p:grpSp>
      <p:grpSp>
        <p:nvGrpSpPr>
          <p:cNvPr id="12" name="组合 11">
            <a:extLst>
              <a:ext uri="{FF2B5EF4-FFF2-40B4-BE49-F238E27FC236}">
                <a16:creationId xmlns:a16="http://schemas.microsoft.com/office/drawing/2014/main" id="{0970B05A-8EA0-451B-8055-59FAE0A341CC}"/>
              </a:ext>
            </a:extLst>
          </p:cNvPr>
          <p:cNvGrpSpPr/>
          <p:nvPr/>
        </p:nvGrpSpPr>
        <p:grpSpPr>
          <a:xfrm>
            <a:off x="8185638" y="4077395"/>
            <a:ext cx="902058" cy="172487"/>
            <a:chOff x="4095451" y="4640913"/>
            <a:chExt cx="1223836" cy="234016"/>
          </a:xfrm>
        </p:grpSpPr>
        <p:sp>
          <p:nvSpPr>
            <p:cNvPr id="13" name="矩形 12">
              <a:extLst>
                <a:ext uri="{FF2B5EF4-FFF2-40B4-BE49-F238E27FC236}">
                  <a16:creationId xmlns:a16="http://schemas.microsoft.com/office/drawing/2014/main" id="{EFF5F468-3DF6-485A-8BD2-5E2AD6A6E7FD}"/>
                </a:ext>
              </a:extLst>
            </p:cNvPr>
            <p:cNvSpPr/>
            <p:nvPr/>
          </p:nvSpPr>
          <p:spPr>
            <a:xfrm>
              <a:off x="4095451" y="4672584"/>
              <a:ext cx="164592" cy="1645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4400" dirty="0">
                <a:solidFill>
                  <a:schemeClr val="bg1"/>
                </a:solidFill>
              </a:endParaRPr>
            </a:p>
          </p:txBody>
        </p:sp>
        <p:sp>
          <p:nvSpPr>
            <p:cNvPr id="14" name="文本框 13">
              <a:extLst>
                <a:ext uri="{FF2B5EF4-FFF2-40B4-BE49-F238E27FC236}">
                  <a16:creationId xmlns:a16="http://schemas.microsoft.com/office/drawing/2014/main" id="{E4D2C2C4-6591-45A8-91BA-EF383EBCF5FC}"/>
                </a:ext>
              </a:extLst>
            </p:cNvPr>
            <p:cNvSpPr txBox="1"/>
            <p:nvPr/>
          </p:nvSpPr>
          <p:spPr>
            <a:xfrm>
              <a:off x="4408487" y="4640913"/>
              <a:ext cx="910800" cy="234016"/>
            </a:xfrm>
            <a:prstGeom prst="rect">
              <a:avLst/>
            </a:prstGeom>
            <a:noFill/>
          </p:spPr>
          <p:txBody>
            <a:bodyPr wrap="none" lIns="0" tIns="0" rIns="0" bIns="0" rtlCol="0" anchor="t">
              <a:spAutoFit/>
            </a:bodyPr>
            <a:lstStyle/>
            <a:p>
              <a:r>
                <a:rPr lang="zh-CN" altLang="en-US" sz="1100" dirty="0">
                  <a:solidFill>
                    <a:schemeClr val="bg1"/>
                  </a:solidFill>
                  <a:latin typeface="+mn-ea"/>
                </a:rPr>
                <a:t>单位：</a:t>
              </a:r>
              <a:r>
                <a:rPr lang="en-US" altLang="zh-CN" sz="1100" dirty="0">
                  <a:solidFill>
                    <a:schemeClr val="bg1"/>
                  </a:solidFill>
                  <a:latin typeface="+mn-ea"/>
                </a:rPr>
                <a:t>xxx</a:t>
              </a:r>
              <a:endParaRPr lang="zh-CN" altLang="en-US" sz="1100" dirty="0">
                <a:solidFill>
                  <a:schemeClr val="bg1"/>
                </a:solidFill>
                <a:latin typeface="+mn-ea"/>
              </a:endParaRPr>
            </a:p>
          </p:txBody>
        </p:sp>
      </p:grpSp>
      <p:cxnSp>
        <p:nvCxnSpPr>
          <p:cNvPr id="15" name="直接连接符 14">
            <a:extLst>
              <a:ext uri="{FF2B5EF4-FFF2-40B4-BE49-F238E27FC236}">
                <a16:creationId xmlns:a16="http://schemas.microsoft.com/office/drawing/2014/main" id="{E463E886-4D23-49D1-821A-68BFA695EA2E}"/>
              </a:ext>
            </a:extLst>
          </p:cNvPr>
          <p:cNvCxnSpPr>
            <a:cxnSpLocks/>
          </p:cNvCxnSpPr>
          <p:nvPr/>
        </p:nvCxnSpPr>
        <p:spPr>
          <a:xfrm flipH="1">
            <a:off x="4824356" y="3871797"/>
            <a:ext cx="6011909"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16" name="直角三角形 15">
            <a:extLst>
              <a:ext uri="{FF2B5EF4-FFF2-40B4-BE49-F238E27FC236}">
                <a16:creationId xmlns:a16="http://schemas.microsoft.com/office/drawing/2014/main" id="{BE107429-14B7-4DAD-8001-120EF57FBD8C}"/>
              </a:ext>
            </a:extLst>
          </p:cNvPr>
          <p:cNvSpPr/>
          <p:nvPr/>
        </p:nvSpPr>
        <p:spPr>
          <a:xfrm rot="10800000">
            <a:off x="4076284" y="4673600"/>
            <a:ext cx="368716" cy="368716"/>
          </a:xfrm>
          <a:prstGeom prst="rtTriangle">
            <a:avLst/>
          </a:prstGeom>
          <a:solidFill>
            <a:schemeClr val="accent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p>
        </p:txBody>
      </p:sp>
    </p:spTree>
    <p:extLst>
      <p:ext uri="{BB962C8B-B14F-4D97-AF65-F5344CB8AC3E}">
        <p14:creationId xmlns:p14="http://schemas.microsoft.com/office/powerpoint/2010/main" val="921789763"/>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5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reeform 5">
            <a:extLst>
              <a:ext uri="{FF2B5EF4-FFF2-40B4-BE49-F238E27FC236}">
                <a16:creationId xmlns:a16="http://schemas.microsoft.com/office/drawing/2014/main" id="{7B2A9BC9-4F0F-42B7-B541-826E62B321B5}"/>
              </a:ext>
            </a:extLst>
          </p:cNvPr>
          <p:cNvSpPr>
            <a:spLocks noEditPoints="1"/>
          </p:cNvSpPr>
          <p:nvPr/>
        </p:nvSpPr>
        <p:spPr bwMode="auto">
          <a:xfrm>
            <a:off x="8092634" y="4116965"/>
            <a:ext cx="554755" cy="554755"/>
          </a:xfrm>
          <a:custGeom>
            <a:avLst/>
            <a:gdLst>
              <a:gd name="T0" fmla="*/ 1024 w 2048"/>
              <a:gd name="T1" fmla="*/ 0 h 2048"/>
              <a:gd name="T2" fmla="*/ 0 w 2048"/>
              <a:gd name="T3" fmla="*/ 1024 h 2048"/>
              <a:gd name="T4" fmla="*/ 1024 w 2048"/>
              <a:gd name="T5" fmla="*/ 2048 h 2048"/>
              <a:gd name="T6" fmla="*/ 2048 w 2048"/>
              <a:gd name="T7" fmla="*/ 1024 h 2048"/>
              <a:gd name="T8" fmla="*/ 1024 w 2048"/>
              <a:gd name="T9" fmla="*/ 0 h 2048"/>
              <a:gd name="T10" fmla="*/ 1499 w 2048"/>
              <a:gd name="T11" fmla="*/ 1134 h 2048"/>
              <a:gd name="T12" fmla="*/ 1024 w 2048"/>
              <a:gd name="T13" fmla="*/ 1134 h 2048"/>
              <a:gd name="T14" fmla="*/ 914 w 2048"/>
              <a:gd name="T15" fmla="*/ 1024 h 2048"/>
              <a:gd name="T16" fmla="*/ 914 w 2048"/>
              <a:gd name="T17" fmla="*/ 549 h 2048"/>
              <a:gd name="T18" fmla="*/ 1024 w 2048"/>
              <a:gd name="T19" fmla="*/ 439 h 2048"/>
              <a:gd name="T20" fmla="*/ 1134 w 2048"/>
              <a:gd name="T21" fmla="*/ 549 h 2048"/>
              <a:gd name="T22" fmla="*/ 1134 w 2048"/>
              <a:gd name="T23" fmla="*/ 915 h 2048"/>
              <a:gd name="T24" fmla="*/ 1499 w 2048"/>
              <a:gd name="T25" fmla="*/ 915 h 2048"/>
              <a:gd name="T26" fmla="*/ 1609 w 2048"/>
              <a:gd name="T27" fmla="*/ 1024 h 2048"/>
              <a:gd name="T28" fmla="*/ 1499 w 2048"/>
              <a:gd name="T29" fmla="*/ 1134 h 20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48" h="2048">
                <a:moveTo>
                  <a:pt x="1024" y="0"/>
                </a:moveTo>
                <a:cubicBezTo>
                  <a:pt x="459" y="0"/>
                  <a:pt x="0" y="459"/>
                  <a:pt x="0" y="1024"/>
                </a:cubicBezTo>
                <a:cubicBezTo>
                  <a:pt x="0" y="1589"/>
                  <a:pt x="459" y="2048"/>
                  <a:pt x="1024" y="2048"/>
                </a:cubicBezTo>
                <a:cubicBezTo>
                  <a:pt x="1589" y="2048"/>
                  <a:pt x="2048" y="1589"/>
                  <a:pt x="2048" y="1024"/>
                </a:cubicBezTo>
                <a:cubicBezTo>
                  <a:pt x="2048" y="459"/>
                  <a:pt x="1589" y="0"/>
                  <a:pt x="1024" y="0"/>
                </a:cubicBezTo>
                <a:close/>
                <a:moveTo>
                  <a:pt x="1499" y="1134"/>
                </a:moveTo>
                <a:cubicBezTo>
                  <a:pt x="1024" y="1134"/>
                  <a:pt x="1024" y="1134"/>
                  <a:pt x="1024" y="1134"/>
                </a:cubicBezTo>
                <a:cubicBezTo>
                  <a:pt x="963" y="1134"/>
                  <a:pt x="914" y="1085"/>
                  <a:pt x="914" y="1024"/>
                </a:cubicBezTo>
                <a:cubicBezTo>
                  <a:pt x="914" y="549"/>
                  <a:pt x="914" y="549"/>
                  <a:pt x="914" y="549"/>
                </a:cubicBezTo>
                <a:cubicBezTo>
                  <a:pt x="914" y="489"/>
                  <a:pt x="963" y="439"/>
                  <a:pt x="1024" y="439"/>
                </a:cubicBezTo>
                <a:cubicBezTo>
                  <a:pt x="1085" y="439"/>
                  <a:pt x="1134" y="489"/>
                  <a:pt x="1134" y="549"/>
                </a:cubicBezTo>
                <a:cubicBezTo>
                  <a:pt x="1134" y="915"/>
                  <a:pt x="1134" y="915"/>
                  <a:pt x="1134" y="915"/>
                </a:cubicBezTo>
                <a:cubicBezTo>
                  <a:pt x="1499" y="915"/>
                  <a:pt x="1499" y="915"/>
                  <a:pt x="1499" y="915"/>
                </a:cubicBezTo>
                <a:cubicBezTo>
                  <a:pt x="1560" y="915"/>
                  <a:pt x="1609" y="964"/>
                  <a:pt x="1609" y="1024"/>
                </a:cubicBezTo>
                <a:cubicBezTo>
                  <a:pt x="1609" y="1085"/>
                  <a:pt x="1560" y="1134"/>
                  <a:pt x="1499" y="1134"/>
                </a:cubicBezTo>
                <a:close/>
              </a:path>
            </a:pathLst>
          </a:custGeom>
          <a:gradFill>
            <a:gsLst>
              <a:gs pos="73000">
                <a:schemeClr val="accent1"/>
              </a:gs>
              <a:gs pos="31000">
                <a:schemeClr val="accent1">
                  <a:lumMod val="60000"/>
                  <a:lumOff val="40000"/>
                </a:schemeClr>
              </a:gs>
              <a:gs pos="0">
                <a:schemeClr val="accent1">
                  <a:lumMod val="40000"/>
                  <a:lumOff val="60000"/>
                </a:schemeClr>
              </a:gs>
            </a:gsLst>
            <a:lin ang="5400000" scaled="1"/>
          </a:gra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Open Sans"/>
              <a:ea typeface="+mn-ea"/>
              <a:cs typeface="+mn-cs"/>
            </a:endParaRPr>
          </a:p>
        </p:txBody>
      </p:sp>
      <p:grpSp>
        <p:nvGrpSpPr>
          <p:cNvPr id="37" name="组合 36">
            <a:extLst>
              <a:ext uri="{FF2B5EF4-FFF2-40B4-BE49-F238E27FC236}">
                <a16:creationId xmlns:a16="http://schemas.microsoft.com/office/drawing/2014/main" id="{DB9B745A-C9D9-4619-B5A0-4BD77AB371ED}"/>
              </a:ext>
            </a:extLst>
          </p:cNvPr>
          <p:cNvGrpSpPr/>
          <p:nvPr/>
        </p:nvGrpSpPr>
        <p:grpSpPr>
          <a:xfrm>
            <a:off x="5759305" y="759717"/>
            <a:ext cx="403632" cy="502079"/>
            <a:chOff x="5759305" y="654942"/>
            <a:chExt cx="403632" cy="502079"/>
          </a:xfrm>
          <a:gradFill>
            <a:gsLst>
              <a:gs pos="73000">
                <a:schemeClr val="accent1"/>
              </a:gs>
              <a:gs pos="31000">
                <a:schemeClr val="accent1">
                  <a:lumMod val="60000"/>
                  <a:lumOff val="40000"/>
                </a:schemeClr>
              </a:gs>
              <a:gs pos="0">
                <a:schemeClr val="accent1">
                  <a:lumMod val="40000"/>
                  <a:lumOff val="60000"/>
                </a:schemeClr>
              </a:gs>
            </a:gsLst>
            <a:lin ang="5400000" scaled="1"/>
          </a:gradFill>
        </p:grpSpPr>
        <p:sp>
          <p:nvSpPr>
            <p:cNvPr id="10" name="Freeform 9">
              <a:extLst>
                <a:ext uri="{FF2B5EF4-FFF2-40B4-BE49-F238E27FC236}">
                  <a16:creationId xmlns:a16="http://schemas.microsoft.com/office/drawing/2014/main" id="{F08C83BB-81D1-445E-8905-12A38D0F526C}"/>
                </a:ext>
              </a:extLst>
            </p:cNvPr>
            <p:cNvSpPr>
              <a:spLocks/>
            </p:cNvSpPr>
            <p:nvPr/>
          </p:nvSpPr>
          <p:spPr bwMode="auto">
            <a:xfrm>
              <a:off x="5771612" y="654942"/>
              <a:ext cx="342104" cy="364252"/>
            </a:xfrm>
            <a:custGeom>
              <a:avLst/>
              <a:gdLst>
                <a:gd name="T0" fmla="*/ 761 w 1393"/>
                <a:gd name="T1" fmla="*/ 0 h 1489"/>
                <a:gd name="T2" fmla="*/ 240 w 1393"/>
                <a:gd name="T3" fmla="*/ 0 h 1489"/>
                <a:gd name="T4" fmla="*/ 93 w 1393"/>
                <a:gd name="T5" fmla="*/ 0 h 1489"/>
                <a:gd name="T6" fmla="*/ 0 w 1393"/>
                <a:gd name="T7" fmla="*/ 93 h 1489"/>
                <a:gd name="T8" fmla="*/ 93 w 1393"/>
                <a:gd name="T9" fmla="*/ 186 h 1489"/>
                <a:gd name="T10" fmla="*/ 147 w 1393"/>
                <a:gd name="T11" fmla="*/ 186 h 1489"/>
                <a:gd name="T12" fmla="*/ 147 w 1393"/>
                <a:gd name="T13" fmla="*/ 938 h 1489"/>
                <a:gd name="T14" fmla="*/ 240 w 1393"/>
                <a:gd name="T15" fmla="*/ 1031 h 1489"/>
                <a:gd name="T16" fmla="*/ 397 w 1393"/>
                <a:gd name="T17" fmla="*/ 1031 h 1489"/>
                <a:gd name="T18" fmla="*/ 462 w 1393"/>
                <a:gd name="T19" fmla="*/ 1004 h 1489"/>
                <a:gd name="T20" fmla="*/ 591 w 1393"/>
                <a:gd name="T21" fmla="*/ 876 h 1489"/>
                <a:gd name="T22" fmla="*/ 591 w 1393"/>
                <a:gd name="T23" fmla="*/ 1100 h 1489"/>
                <a:gd name="T24" fmla="*/ 201 w 1393"/>
                <a:gd name="T25" fmla="*/ 1489 h 1489"/>
                <a:gd name="T26" fmla="*/ 1393 w 1393"/>
                <a:gd name="T27" fmla="*/ 1489 h 1489"/>
                <a:gd name="T28" fmla="*/ 1393 w 1393"/>
                <a:gd name="T29" fmla="*/ 633 h 1489"/>
                <a:gd name="T30" fmla="*/ 761 w 1393"/>
                <a:gd name="T31" fmla="*/ 0 h 14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93" h="1489">
                  <a:moveTo>
                    <a:pt x="761" y="0"/>
                  </a:moveTo>
                  <a:cubicBezTo>
                    <a:pt x="240" y="0"/>
                    <a:pt x="240" y="0"/>
                    <a:pt x="240" y="0"/>
                  </a:cubicBezTo>
                  <a:cubicBezTo>
                    <a:pt x="93" y="0"/>
                    <a:pt x="93" y="0"/>
                    <a:pt x="93" y="0"/>
                  </a:cubicBezTo>
                  <a:cubicBezTo>
                    <a:pt x="41" y="0"/>
                    <a:pt x="0" y="42"/>
                    <a:pt x="0" y="93"/>
                  </a:cubicBezTo>
                  <a:cubicBezTo>
                    <a:pt x="0" y="145"/>
                    <a:pt x="41" y="186"/>
                    <a:pt x="93" y="186"/>
                  </a:cubicBezTo>
                  <a:cubicBezTo>
                    <a:pt x="147" y="186"/>
                    <a:pt x="147" y="186"/>
                    <a:pt x="147" y="186"/>
                  </a:cubicBezTo>
                  <a:cubicBezTo>
                    <a:pt x="147" y="938"/>
                    <a:pt x="147" y="938"/>
                    <a:pt x="147" y="938"/>
                  </a:cubicBezTo>
                  <a:cubicBezTo>
                    <a:pt x="147" y="990"/>
                    <a:pt x="188" y="1031"/>
                    <a:pt x="240" y="1031"/>
                  </a:cubicBezTo>
                  <a:cubicBezTo>
                    <a:pt x="397" y="1031"/>
                    <a:pt x="397" y="1031"/>
                    <a:pt x="397" y="1031"/>
                  </a:cubicBezTo>
                  <a:cubicBezTo>
                    <a:pt x="421" y="1031"/>
                    <a:pt x="445" y="1021"/>
                    <a:pt x="462" y="1004"/>
                  </a:cubicBezTo>
                  <a:cubicBezTo>
                    <a:pt x="591" y="876"/>
                    <a:pt x="591" y="876"/>
                    <a:pt x="591" y="876"/>
                  </a:cubicBezTo>
                  <a:cubicBezTo>
                    <a:pt x="591" y="1100"/>
                    <a:pt x="591" y="1100"/>
                    <a:pt x="591" y="1100"/>
                  </a:cubicBezTo>
                  <a:cubicBezTo>
                    <a:pt x="201" y="1489"/>
                    <a:pt x="201" y="1489"/>
                    <a:pt x="201" y="1489"/>
                  </a:cubicBezTo>
                  <a:cubicBezTo>
                    <a:pt x="1393" y="1489"/>
                    <a:pt x="1393" y="1489"/>
                    <a:pt x="1393" y="1489"/>
                  </a:cubicBezTo>
                  <a:cubicBezTo>
                    <a:pt x="1393" y="633"/>
                    <a:pt x="1393" y="633"/>
                    <a:pt x="1393" y="633"/>
                  </a:cubicBezTo>
                  <a:cubicBezTo>
                    <a:pt x="1393" y="284"/>
                    <a:pt x="1109" y="0"/>
                    <a:pt x="76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Open Sans"/>
                <a:ea typeface="+mn-ea"/>
                <a:cs typeface="+mn-cs"/>
              </a:endParaRPr>
            </a:p>
          </p:txBody>
        </p:sp>
        <p:sp>
          <p:nvSpPr>
            <p:cNvPr id="11" name="Freeform 10">
              <a:extLst>
                <a:ext uri="{FF2B5EF4-FFF2-40B4-BE49-F238E27FC236}">
                  <a16:creationId xmlns:a16="http://schemas.microsoft.com/office/drawing/2014/main" id="{282C8F11-9CAB-48D7-BA4D-EBF60CFC6C85}"/>
                </a:ext>
              </a:extLst>
            </p:cNvPr>
            <p:cNvSpPr>
              <a:spLocks/>
            </p:cNvSpPr>
            <p:nvPr/>
          </p:nvSpPr>
          <p:spPr bwMode="auto">
            <a:xfrm>
              <a:off x="5759305" y="1065957"/>
              <a:ext cx="403632" cy="91064"/>
            </a:xfrm>
            <a:custGeom>
              <a:avLst/>
              <a:gdLst>
                <a:gd name="T0" fmla="*/ 0 w 1646"/>
                <a:gd name="T1" fmla="*/ 0 h 372"/>
                <a:gd name="T2" fmla="*/ 0 w 1646"/>
                <a:gd name="T3" fmla="*/ 279 h 372"/>
                <a:gd name="T4" fmla="*/ 93 w 1646"/>
                <a:gd name="T5" fmla="*/ 372 h 372"/>
                <a:gd name="T6" fmla="*/ 1553 w 1646"/>
                <a:gd name="T7" fmla="*/ 372 h 372"/>
                <a:gd name="T8" fmla="*/ 1646 w 1646"/>
                <a:gd name="T9" fmla="*/ 279 h 372"/>
                <a:gd name="T10" fmla="*/ 1646 w 1646"/>
                <a:gd name="T11" fmla="*/ 0 h 372"/>
                <a:gd name="T12" fmla="*/ 0 w 1646"/>
                <a:gd name="T13" fmla="*/ 0 h 372"/>
              </a:gdLst>
              <a:ahLst/>
              <a:cxnLst>
                <a:cxn ang="0">
                  <a:pos x="T0" y="T1"/>
                </a:cxn>
                <a:cxn ang="0">
                  <a:pos x="T2" y="T3"/>
                </a:cxn>
                <a:cxn ang="0">
                  <a:pos x="T4" y="T5"/>
                </a:cxn>
                <a:cxn ang="0">
                  <a:pos x="T6" y="T7"/>
                </a:cxn>
                <a:cxn ang="0">
                  <a:pos x="T8" y="T9"/>
                </a:cxn>
                <a:cxn ang="0">
                  <a:pos x="T10" y="T11"/>
                </a:cxn>
                <a:cxn ang="0">
                  <a:pos x="T12" y="T13"/>
                </a:cxn>
              </a:cxnLst>
              <a:rect l="0" t="0" r="r" b="b"/>
              <a:pathLst>
                <a:path w="1646" h="372">
                  <a:moveTo>
                    <a:pt x="0" y="0"/>
                  </a:moveTo>
                  <a:cubicBezTo>
                    <a:pt x="0" y="279"/>
                    <a:pt x="0" y="279"/>
                    <a:pt x="0" y="279"/>
                  </a:cubicBezTo>
                  <a:cubicBezTo>
                    <a:pt x="0" y="330"/>
                    <a:pt x="42" y="372"/>
                    <a:pt x="93" y="372"/>
                  </a:cubicBezTo>
                  <a:cubicBezTo>
                    <a:pt x="1553" y="372"/>
                    <a:pt x="1553" y="372"/>
                    <a:pt x="1553" y="372"/>
                  </a:cubicBezTo>
                  <a:cubicBezTo>
                    <a:pt x="1604" y="372"/>
                    <a:pt x="1646" y="330"/>
                    <a:pt x="1646" y="279"/>
                  </a:cubicBezTo>
                  <a:cubicBezTo>
                    <a:pt x="1646" y="0"/>
                    <a:pt x="1646" y="0"/>
                    <a:pt x="1646" y="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grpSp>
      <p:sp>
        <p:nvSpPr>
          <p:cNvPr id="12" name="Freeform 14">
            <a:extLst>
              <a:ext uri="{FF2B5EF4-FFF2-40B4-BE49-F238E27FC236}">
                <a16:creationId xmlns:a16="http://schemas.microsoft.com/office/drawing/2014/main" id="{4D21034B-A512-46EC-8E98-5595F1F00A58}"/>
              </a:ext>
            </a:extLst>
          </p:cNvPr>
          <p:cNvSpPr>
            <a:spLocks noEditPoints="1"/>
          </p:cNvSpPr>
          <p:nvPr/>
        </p:nvSpPr>
        <p:spPr bwMode="auto">
          <a:xfrm>
            <a:off x="3131039" y="4006894"/>
            <a:ext cx="647815" cy="629649"/>
          </a:xfrm>
          <a:custGeom>
            <a:avLst/>
            <a:gdLst>
              <a:gd name="T0" fmla="*/ 2119 w 2125"/>
              <a:gd name="T1" fmla="*/ 400 h 2053"/>
              <a:gd name="T2" fmla="*/ 2061 w 2125"/>
              <a:gd name="T3" fmla="*/ 337 h 2053"/>
              <a:gd name="T4" fmla="*/ 1857 w 2125"/>
              <a:gd name="T5" fmla="*/ 269 h 2053"/>
              <a:gd name="T6" fmla="*/ 1789 w 2125"/>
              <a:gd name="T7" fmla="*/ 64 h 2053"/>
              <a:gd name="T8" fmla="*/ 1726 w 2125"/>
              <a:gd name="T9" fmla="*/ 7 h 2053"/>
              <a:gd name="T10" fmla="*/ 1645 w 2125"/>
              <a:gd name="T11" fmla="*/ 30 h 2053"/>
              <a:gd name="T12" fmla="*/ 1399 w 2125"/>
              <a:gd name="T13" fmla="*/ 276 h 2053"/>
              <a:gd name="T14" fmla="*/ 1378 w 2125"/>
              <a:gd name="T15" fmla="*/ 365 h 2053"/>
              <a:gd name="T16" fmla="*/ 1443 w 2125"/>
              <a:gd name="T17" fmla="*/ 560 h 2053"/>
              <a:gd name="T18" fmla="*/ 1293 w 2125"/>
              <a:gd name="T19" fmla="*/ 710 h 2053"/>
              <a:gd name="T20" fmla="*/ 826 w 2125"/>
              <a:gd name="T21" fmla="*/ 547 h 2053"/>
              <a:gd name="T22" fmla="*/ 293 w 2125"/>
              <a:gd name="T23" fmla="*/ 768 h 2053"/>
              <a:gd name="T24" fmla="*/ 293 w 2125"/>
              <a:gd name="T25" fmla="*/ 1832 h 2053"/>
              <a:gd name="T26" fmla="*/ 826 w 2125"/>
              <a:gd name="T27" fmla="*/ 2053 h 2053"/>
              <a:gd name="T28" fmla="*/ 1358 w 2125"/>
              <a:gd name="T29" fmla="*/ 1832 h 2053"/>
              <a:gd name="T30" fmla="*/ 1416 w 2125"/>
              <a:gd name="T31" fmla="*/ 833 h 2053"/>
              <a:gd name="T32" fmla="*/ 1566 w 2125"/>
              <a:gd name="T33" fmla="*/ 683 h 2053"/>
              <a:gd name="T34" fmla="*/ 1761 w 2125"/>
              <a:gd name="T35" fmla="*/ 748 h 2053"/>
              <a:gd name="T36" fmla="*/ 1788 w 2125"/>
              <a:gd name="T37" fmla="*/ 752 h 2053"/>
              <a:gd name="T38" fmla="*/ 1850 w 2125"/>
              <a:gd name="T39" fmla="*/ 727 h 2053"/>
              <a:gd name="T40" fmla="*/ 2095 w 2125"/>
              <a:gd name="T41" fmla="*/ 481 h 2053"/>
              <a:gd name="T42" fmla="*/ 2119 w 2125"/>
              <a:gd name="T43" fmla="*/ 400 h 2053"/>
              <a:gd name="T44" fmla="*/ 1235 w 2125"/>
              <a:gd name="T45" fmla="*/ 1710 h 2053"/>
              <a:gd name="T46" fmla="*/ 826 w 2125"/>
              <a:gd name="T47" fmla="*/ 1879 h 2053"/>
              <a:gd name="T48" fmla="*/ 416 w 2125"/>
              <a:gd name="T49" fmla="*/ 1710 h 2053"/>
              <a:gd name="T50" fmla="*/ 416 w 2125"/>
              <a:gd name="T51" fmla="*/ 890 h 2053"/>
              <a:gd name="T52" fmla="*/ 826 w 2125"/>
              <a:gd name="T53" fmla="*/ 721 h 2053"/>
              <a:gd name="T54" fmla="*/ 1169 w 2125"/>
              <a:gd name="T55" fmla="*/ 834 h 2053"/>
              <a:gd name="T56" fmla="*/ 1044 w 2125"/>
              <a:gd name="T57" fmla="*/ 959 h 2053"/>
              <a:gd name="T58" fmla="*/ 826 w 2125"/>
              <a:gd name="T59" fmla="*/ 895 h 2053"/>
              <a:gd name="T60" fmla="*/ 539 w 2125"/>
              <a:gd name="T61" fmla="*/ 1013 h 2053"/>
              <a:gd name="T62" fmla="*/ 420 w 2125"/>
              <a:gd name="T63" fmla="*/ 1300 h 2053"/>
              <a:gd name="T64" fmla="*/ 539 w 2125"/>
              <a:gd name="T65" fmla="*/ 1587 h 2053"/>
              <a:gd name="T66" fmla="*/ 826 w 2125"/>
              <a:gd name="T67" fmla="*/ 1705 h 2053"/>
              <a:gd name="T68" fmla="*/ 1112 w 2125"/>
              <a:gd name="T69" fmla="*/ 1587 h 2053"/>
              <a:gd name="T70" fmla="*/ 1167 w 2125"/>
              <a:gd name="T71" fmla="*/ 1081 h 2053"/>
              <a:gd name="T72" fmla="*/ 1292 w 2125"/>
              <a:gd name="T73" fmla="*/ 957 h 2053"/>
              <a:gd name="T74" fmla="*/ 1235 w 2125"/>
              <a:gd name="T75" fmla="*/ 1710 h 2053"/>
              <a:gd name="T76" fmla="*/ 764 w 2125"/>
              <a:gd name="T77" fmla="*/ 1361 h 2053"/>
              <a:gd name="T78" fmla="*/ 826 w 2125"/>
              <a:gd name="T79" fmla="*/ 1387 h 2053"/>
              <a:gd name="T80" fmla="*/ 887 w 2125"/>
              <a:gd name="T81" fmla="*/ 1361 h 2053"/>
              <a:gd name="T82" fmla="*/ 1039 w 2125"/>
              <a:gd name="T83" fmla="*/ 1210 h 2053"/>
              <a:gd name="T84" fmla="*/ 990 w 2125"/>
              <a:gd name="T85" fmla="*/ 1464 h 2053"/>
              <a:gd name="T86" fmla="*/ 826 w 2125"/>
              <a:gd name="T87" fmla="*/ 1532 h 2053"/>
              <a:gd name="T88" fmla="*/ 662 w 2125"/>
              <a:gd name="T89" fmla="*/ 1464 h 2053"/>
              <a:gd name="T90" fmla="*/ 594 w 2125"/>
              <a:gd name="T91" fmla="*/ 1300 h 2053"/>
              <a:gd name="T92" fmla="*/ 662 w 2125"/>
              <a:gd name="T93" fmla="*/ 1136 h 2053"/>
              <a:gd name="T94" fmla="*/ 826 w 2125"/>
              <a:gd name="T95" fmla="*/ 1068 h 2053"/>
              <a:gd name="T96" fmla="*/ 916 w 2125"/>
              <a:gd name="T97" fmla="*/ 1087 h 2053"/>
              <a:gd name="T98" fmla="*/ 764 w 2125"/>
              <a:gd name="T99" fmla="*/ 1239 h 2053"/>
              <a:gd name="T100" fmla="*/ 764 w 2125"/>
              <a:gd name="T101" fmla="*/ 1361 h 20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125" h="2053">
                <a:moveTo>
                  <a:pt x="2119" y="400"/>
                </a:moveTo>
                <a:cubicBezTo>
                  <a:pt x="2112" y="370"/>
                  <a:pt x="2090" y="347"/>
                  <a:pt x="2061" y="337"/>
                </a:cubicBezTo>
                <a:cubicBezTo>
                  <a:pt x="1857" y="269"/>
                  <a:pt x="1857" y="269"/>
                  <a:pt x="1857" y="269"/>
                </a:cubicBezTo>
                <a:cubicBezTo>
                  <a:pt x="1789" y="64"/>
                  <a:pt x="1789" y="64"/>
                  <a:pt x="1789" y="64"/>
                </a:cubicBezTo>
                <a:cubicBezTo>
                  <a:pt x="1779" y="36"/>
                  <a:pt x="1756" y="14"/>
                  <a:pt x="1726" y="7"/>
                </a:cubicBezTo>
                <a:cubicBezTo>
                  <a:pt x="1697" y="0"/>
                  <a:pt x="1666" y="9"/>
                  <a:pt x="1645" y="30"/>
                </a:cubicBezTo>
                <a:cubicBezTo>
                  <a:pt x="1399" y="276"/>
                  <a:pt x="1399" y="276"/>
                  <a:pt x="1399" y="276"/>
                </a:cubicBezTo>
                <a:cubicBezTo>
                  <a:pt x="1376" y="299"/>
                  <a:pt x="1368" y="334"/>
                  <a:pt x="1378" y="365"/>
                </a:cubicBezTo>
                <a:cubicBezTo>
                  <a:pt x="1443" y="560"/>
                  <a:pt x="1443" y="560"/>
                  <a:pt x="1443" y="560"/>
                </a:cubicBezTo>
                <a:cubicBezTo>
                  <a:pt x="1293" y="710"/>
                  <a:pt x="1293" y="710"/>
                  <a:pt x="1293" y="710"/>
                </a:cubicBezTo>
                <a:cubicBezTo>
                  <a:pt x="1161" y="604"/>
                  <a:pt x="998" y="547"/>
                  <a:pt x="826" y="547"/>
                </a:cubicBezTo>
                <a:cubicBezTo>
                  <a:pt x="625" y="547"/>
                  <a:pt x="436" y="625"/>
                  <a:pt x="293" y="768"/>
                </a:cubicBezTo>
                <a:cubicBezTo>
                  <a:pt x="0" y="1061"/>
                  <a:pt x="0" y="1539"/>
                  <a:pt x="293" y="1832"/>
                </a:cubicBezTo>
                <a:cubicBezTo>
                  <a:pt x="436" y="1975"/>
                  <a:pt x="625" y="2053"/>
                  <a:pt x="826" y="2053"/>
                </a:cubicBezTo>
                <a:cubicBezTo>
                  <a:pt x="1027" y="2053"/>
                  <a:pt x="1216" y="1975"/>
                  <a:pt x="1358" y="1832"/>
                </a:cubicBezTo>
                <a:cubicBezTo>
                  <a:pt x="1631" y="1560"/>
                  <a:pt x="1650" y="1128"/>
                  <a:pt x="1416" y="833"/>
                </a:cubicBezTo>
                <a:cubicBezTo>
                  <a:pt x="1566" y="683"/>
                  <a:pt x="1566" y="683"/>
                  <a:pt x="1566" y="683"/>
                </a:cubicBezTo>
                <a:cubicBezTo>
                  <a:pt x="1761" y="748"/>
                  <a:pt x="1761" y="748"/>
                  <a:pt x="1761" y="748"/>
                </a:cubicBezTo>
                <a:cubicBezTo>
                  <a:pt x="1770" y="751"/>
                  <a:pt x="1779" y="752"/>
                  <a:pt x="1788" y="752"/>
                </a:cubicBezTo>
                <a:cubicBezTo>
                  <a:pt x="1811" y="752"/>
                  <a:pt x="1833" y="743"/>
                  <a:pt x="1850" y="727"/>
                </a:cubicBezTo>
                <a:cubicBezTo>
                  <a:pt x="2095" y="481"/>
                  <a:pt x="2095" y="481"/>
                  <a:pt x="2095" y="481"/>
                </a:cubicBezTo>
                <a:cubicBezTo>
                  <a:pt x="2117" y="460"/>
                  <a:pt x="2125" y="429"/>
                  <a:pt x="2119" y="400"/>
                </a:cubicBezTo>
                <a:close/>
                <a:moveTo>
                  <a:pt x="1235" y="1710"/>
                </a:moveTo>
                <a:cubicBezTo>
                  <a:pt x="1126" y="1819"/>
                  <a:pt x="980" y="1879"/>
                  <a:pt x="826" y="1879"/>
                </a:cubicBezTo>
                <a:cubicBezTo>
                  <a:pt x="671" y="1879"/>
                  <a:pt x="526" y="1819"/>
                  <a:pt x="416" y="1710"/>
                </a:cubicBezTo>
                <a:cubicBezTo>
                  <a:pt x="190" y="1484"/>
                  <a:pt x="190" y="1116"/>
                  <a:pt x="416" y="890"/>
                </a:cubicBezTo>
                <a:cubicBezTo>
                  <a:pt x="526" y="781"/>
                  <a:pt x="671" y="721"/>
                  <a:pt x="826" y="721"/>
                </a:cubicBezTo>
                <a:cubicBezTo>
                  <a:pt x="951" y="721"/>
                  <a:pt x="1070" y="760"/>
                  <a:pt x="1169" y="834"/>
                </a:cubicBezTo>
                <a:cubicBezTo>
                  <a:pt x="1044" y="959"/>
                  <a:pt x="1044" y="959"/>
                  <a:pt x="1044" y="959"/>
                </a:cubicBezTo>
                <a:cubicBezTo>
                  <a:pt x="980" y="917"/>
                  <a:pt x="904" y="895"/>
                  <a:pt x="826" y="895"/>
                </a:cubicBezTo>
                <a:cubicBezTo>
                  <a:pt x="717" y="895"/>
                  <a:pt x="616" y="937"/>
                  <a:pt x="539" y="1013"/>
                </a:cubicBezTo>
                <a:cubicBezTo>
                  <a:pt x="463" y="1090"/>
                  <a:pt x="420" y="1192"/>
                  <a:pt x="420" y="1300"/>
                </a:cubicBezTo>
                <a:cubicBezTo>
                  <a:pt x="420" y="1408"/>
                  <a:pt x="463" y="1510"/>
                  <a:pt x="539" y="1587"/>
                </a:cubicBezTo>
                <a:cubicBezTo>
                  <a:pt x="616" y="1663"/>
                  <a:pt x="717" y="1705"/>
                  <a:pt x="826" y="1705"/>
                </a:cubicBezTo>
                <a:cubicBezTo>
                  <a:pt x="934" y="1705"/>
                  <a:pt x="1036" y="1663"/>
                  <a:pt x="1112" y="1587"/>
                </a:cubicBezTo>
                <a:cubicBezTo>
                  <a:pt x="1249" y="1450"/>
                  <a:pt x="1268" y="1238"/>
                  <a:pt x="1167" y="1081"/>
                </a:cubicBezTo>
                <a:cubicBezTo>
                  <a:pt x="1292" y="957"/>
                  <a:pt x="1292" y="957"/>
                  <a:pt x="1292" y="957"/>
                </a:cubicBezTo>
                <a:cubicBezTo>
                  <a:pt x="1459" y="1183"/>
                  <a:pt x="1440" y="1505"/>
                  <a:pt x="1235" y="1710"/>
                </a:cubicBezTo>
                <a:close/>
                <a:moveTo>
                  <a:pt x="764" y="1361"/>
                </a:moveTo>
                <a:cubicBezTo>
                  <a:pt x="781" y="1378"/>
                  <a:pt x="804" y="1387"/>
                  <a:pt x="826" y="1387"/>
                </a:cubicBezTo>
                <a:cubicBezTo>
                  <a:pt x="848" y="1387"/>
                  <a:pt x="870" y="1378"/>
                  <a:pt x="887" y="1361"/>
                </a:cubicBezTo>
                <a:cubicBezTo>
                  <a:pt x="1039" y="1210"/>
                  <a:pt x="1039" y="1210"/>
                  <a:pt x="1039" y="1210"/>
                </a:cubicBezTo>
                <a:cubicBezTo>
                  <a:pt x="1075" y="1294"/>
                  <a:pt x="1058" y="1395"/>
                  <a:pt x="990" y="1464"/>
                </a:cubicBezTo>
                <a:cubicBezTo>
                  <a:pt x="946" y="1508"/>
                  <a:pt x="888" y="1532"/>
                  <a:pt x="826" y="1532"/>
                </a:cubicBezTo>
                <a:cubicBezTo>
                  <a:pt x="764" y="1532"/>
                  <a:pt x="706" y="1508"/>
                  <a:pt x="662" y="1464"/>
                </a:cubicBezTo>
                <a:cubicBezTo>
                  <a:pt x="618" y="1420"/>
                  <a:pt x="594" y="1362"/>
                  <a:pt x="594" y="1300"/>
                </a:cubicBezTo>
                <a:cubicBezTo>
                  <a:pt x="594" y="1238"/>
                  <a:pt x="618" y="1180"/>
                  <a:pt x="662" y="1136"/>
                </a:cubicBezTo>
                <a:cubicBezTo>
                  <a:pt x="706" y="1092"/>
                  <a:pt x="764" y="1068"/>
                  <a:pt x="826" y="1068"/>
                </a:cubicBezTo>
                <a:cubicBezTo>
                  <a:pt x="857" y="1068"/>
                  <a:pt x="888" y="1075"/>
                  <a:pt x="916" y="1087"/>
                </a:cubicBezTo>
                <a:cubicBezTo>
                  <a:pt x="764" y="1239"/>
                  <a:pt x="764" y="1239"/>
                  <a:pt x="764" y="1239"/>
                </a:cubicBezTo>
                <a:cubicBezTo>
                  <a:pt x="730" y="1273"/>
                  <a:pt x="730" y="1328"/>
                  <a:pt x="764" y="1361"/>
                </a:cubicBezTo>
                <a:close/>
              </a:path>
            </a:pathLst>
          </a:custGeom>
          <a:gradFill>
            <a:gsLst>
              <a:gs pos="73000">
                <a:schemeClr val="accent1"/>
              </a:gs>
              <a:gs pos="31000">
                <a:schemeClr val="accent1">
                  <a:lumMod val="60000"/>
                  <a:lumOff val="40000"/>
                </a:schemeClr>
              </a:gs>
              <a:gs pos="0">
                <a:schemeClr val="accent1">
                  <a:lumMod val="40000"/>
                  <a:lumOff val="60000"/>
                </a:schemeClr>
              </a:gs>
            </a:gsLst>
            <a:lin ang="5400000" scaled="1"/>
          </a:gra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sp>
        <p:nvSpPr>
          <p:cNvPr id="2" name="Freeform 5">
            <a:extLst>
              <a:ext uri="{FF2B5EF4-FFF2-40B4-BE49-F238E27FC236}">
                <a16:creationId xmlns:a16="http://schemas.microsoft.com/office/drawing/2014/main" id="{EEE1822B-3828-41DC-93EC-E2F054F442A3}"/>
              </a:ext>
            </a:extLst>
          </p:cNvPr>
          <p:cNvSpPr>
            <a:spLocks/>
          </p:cNvSpPr>
          <p:nvPr/>
        </p:nvSpPr>
        <p:spPr bwMode="auto">
          <a:xfrm>
            <a:off x="6038229" y="3427775"/>
            <a:ext cx="1766758" cy="2541061"/>
          </a:xfrm>
          <a:custGeom>
            <a:avLst/>
            <a:gdLst>
              <a:gd name="T0" fmla="*/ 554 w 9023"/>
              <a:gd name="T1" fmla="*/ 9952 h 12978"/>
              <a:gd name="T2" fmla="*/ 5937 w 9023"/>
              <a:gd name="T3" fmla="*/ 4316 h 12978"/>
              <a:gd name="T4" fmla="*/ 5435 w 9023"/>
              <a:gd name="T5" fmla="*/ 1987 h 12978"/>
              <a:gd name="T6" fmla="*/ 7590 w 9023"/>
              <a:gd name="T7" fmla="*/ 1526 h 12978"/>
              <a:gd name="T8" fmla="*/ 7883 w 9023"/>
              <a:gd name="T9" fmla="*/ 0 h 12978"/>
              <a:gd name="T10" fmla="*/ 9023 w 9023"/>
              <a:gd name="T11" fmla="*/ 4316 h 12978"/>
              <a:gd name="T12" fmla="*/ 1380 w 9023"/>
              <a:gd name="T13" fmla="*/ 12978 h 12978"/>
              <a:gd name="T14" fmla="*/ 0 w 9023"/>
              <a:gd name="T15" fmla="*/ 11576 h 12978"/>
              <a:gd name="T16" fmla="*/ 553 w 9023"/>
              <a:gd name="T17" fmla="*/ 9953 h 12978"/>
              <a:gd name="T18" fmla="*/ 554 w 9023"/>
              <a:gd name="T19" fmla="*/ 9952 h 129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023" h="12978">
                <a:moveTo>
                  <a:pt x="554" y="9952"/>
                </a:moveTo>
                <a:cubicBezTo>
                  <a:pt x="3550" y="9817"/>
                  <a:pt x="5937" y="7345"/>
                  <a:pt x="5937" y="4316"/>
                </a:cubicBezTo>
                <a:cubicBezTo>
                  <a:pt x="5937" y="3485"/>
                  <a:pt x="5757" y="2697"/>
                  <a:pt x="5435" y="1987"/>
                </a:cubicBezTo>
                <a:lnTo>
                  <a:pt x="7590" y="1526"/>
                </a:lnTo>
                <a:lnTo>
                  <a:pt x="7883" y="0"/>
                </a:lnTo>
                <a:cubicBezTo>
                  <a:pt x="8609" y="1273"/>
                  <a:pt x="9023" y="2746"/>
                  <a:pt x="9023" y="4316"/>
                </a:cubicBezTo>
                <a:cubicBezTo>
                  <a:pt x="9023" y="8769"/>
                  <a:pt x="5689" y="12443"/>
                  <a:pt x="1380" y="12978"/>
                </a:cubicBezTo>
                <a:lnTo>
                  <a:pt x="0" y="11576"/>
                </a:lnTo>
                <a:lnTo>
                  <a:pt x="553" y="9953"/>
                </a:lnTo>
                <a:lnTo>
                  <a:pt x="554" y="9952"/>
                </a:lnTo>
                <a:close/>
              </a:path>
            </a:pathLst>
          </a:custGeom>
          <a:gradFill flip="none" rotWithShape="1">
            <a:gsLst>
              <a:gs pos="73000">
                <a:schemeClr val="accent1"/>
              </a:gs>
              <a:gs pos="31000">
                <a:schemeClr val="accent1">
                  <a:lumMod val="60000"/>
                  <a:lumOff val="40000"/>
                </a:schemeClr>
              </a:gs>
              <a:gs pos="0">
                <a:schemeClr val="accent1">
                  <a:lumMod val="40000"/>
                  <a:lumOff val="60000"/>
                </a:schemeClr>
              </a:gs>
            </a:gsLst>
            <a:lin ang="1620000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3" name="Freeform 6">
            <a:extLst>
              <a:ext uri="{FF2B5EF4-FFF2-40B4-BE49-F238E27FC236}">
                <a16:creationId xmlns:a16="http://schemas.microsoft.com/office/drawing/2014/main" id="{63A5390C-ABDC-4A32-B3C1-2276543FD6AD}"/>
              </a:ext>
            </a:extLst>
          </p:cNvPr>
          <p:cNvSpPr>
            <a:spLocks/>
          </p:cNvSpPr>
          <p:nvPr/>
        </p:nvSpPr>
        <p:spPr bwMode="auto">
          <a:xfrm>
            <a:off x="4387014" y="3556251"/>
            <a:ext cx="1609828" cy="2422070"/>
          </a:xfrm>
          <a:custGeom>
            <a:avLst/>
            <a:gdLst>
              <a:gd name="T0" fmla="*/ 3650 w 8223"/>
              <a:gd name="T1" fmla="*/ 1200 h 12374"/>
              <a:gd name="T2" fmla="*/ 3087 w 8223"/>
              <a:gd name="T3" fmla="*/ 3660 h 12374"/>
              <a:gd name="T4" fmla="*/ 7804 w 8223"/>
              <a:gd name="T5" fmla="*/ 9227 h 12374"/>
              <a:gd name="T6" fmla="*/ 7095 w 8223"/>
              <a:gd name="T7" fmla="*/ 11228 h 12374"/>
              <a:gd name="T8" fmla="*/ 8223 w 8223"/>
              <a:gd name="T9" fmla="*/ 12374 h 12374"/>
              <a:gd name="T10" fmla="*/ 0 w 8223"/>
              <a:gd name="T11" fmla="*/ 3660 h 12374"/>
              <a:gd name="T12" fmla="*/ 563 w 8223"/>
              <a:gd name="T13" fmla="*/ 570 h 12374"/>
              <a:gd name="T14" fmla="*/ 2483 w 8223"/>
              <a:gd name="T15" fmla="*/ 0 h 12374"/>
              <a:gd name="T16" fmla="*/ 3650 w 8223"/>
              <a:gd name="T17" fmla="*/ 1200 h 12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223" h="12374">
                <a:moveTo>
                  <a:pt x="3650" y="1200"/>
                </a:moveTo>
                <a:cubicBezTo>
                  <a:pt x="3289" y="1944"/>
                  <a:pt x="3087" y="2778"/>
                  <a:pt x="3087" y="3660"/>
                </a:cubicBezTo>
                <a:cubicBezTo>
                  <a:pt x="3087" y="6461"/>
                  <a:pt x="5128" y="8785"/>
                  <a:pt x="7804" y="9227"/>
                </a:cubicBezTo>
                <a:lnTo>
                  <a:pt x="7095" y="11228"/>
                </a:lnTo>
                <a:lnTo>
                  <a:pt x="8223" y="12374"/>
                </a:lnTo>
                <a:cubicBezTo>
                  <a:pt x="3638" y="12112"/>
                  <a:pt x="0" y="8311"/>
                  <a:pt x="0" y="3660"/>
                </a:cubicBezTo>
                <a:cubicBezTo>
                  <a:pt x="0" y="2572"/>
                  <a:pt x="200" y="1531"/>
                  <a:pt x="563" y="570"/>
                </a:cubicBezTo>
                <a:lnTo>
                  <a:pt x="2483" y="0"/>
                </a:lnTo>
                <a:lnTo>
                  <a:pt x="3650" y="1200"/>
                </a:lnTo>
                <a:close/>
              </a:path>
            </a:pathLst>
          </a:custGeom>
          <a:gradFill flip="none" rotWithShape="1">
            <a:gsLst>
              <a:gs pos="73000">
                <a:schemeClr val="accent1"/>
              </a:gs>
              <a:gs pos="31000">
                <a:schemeClr val="accent1">
                  <a:lumMod val="60000"/>
                  <a:lumOff val="40000"/>
                </a:schemeClr>
              </a:gs>
              <a:gs pos="0">
                <a:schemeClr val="accent1">
                  <a:lumMod val="40000"/>
                  <a:lumOff val="60000"/>
                </a:schemeClr>
              </a:gs>
            </a:gsLst>
            <a:lin ang="540000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4" name="Freeform 7">
            <a:extLst>
              <a:ext uri="{FF2B5EF4-FFF2-40B4-BE49-F238E27FC236}">
                <a16:creationId xmlns:a16="http://schemas.microsoft.com/office/drawing/2014/main" id="{60917CBE-BA67-4BB1-8C84-123BACD6AE2E}"/>
              </a:ext>
            </a:extLst>
          </p:cNvPr>
          <p:cNvSpPr>
            <a:spLocks/>
          </p:cNvSpPr>
          <p:nvPr/>
        </p:nvSpPr>
        <p:spPr bwMode="auto">
          <a:xfrm>
            <a:off x="4646552" y="2563797"/>
            <a:ext cx="2746278" cy="1061434"/>
          </a:xfrm>
          <a:custGeom>
            <a:avLst/>
            <a:gdLst>
              <a:gd name="T0" fmla="*/ 7402 w 14024"/>
              <a:gd name="T1" fmla="*/ 0 h 5423"/>
              <a:gd name="T2" fmla="*/ 14024 w 14024"/>
              <a:gd name="T3" fmla="*/ 3042 h 5423"/>
              <a:gd name="T4" fmla="*/ 13619 w 14024"/>
              <a:gd name="T5" fmla="*/ 5006 h 5423"/>
              <a:gd name="T6" fmla="*/ 11974 w 14024"/>
              <a:gd name="T7" fmla="*/ 5423 h 5423"/>
              <a:gd name="T8" fmla="*/ 7402 w 14024"/>
              <a:gd name="T9" fmla="*/ 3087 h 5423"/>
              <a:gd name="T10" fmla="*/ 2911 w 14024"/>
              <a:gd name="T11" fmla="*/ 5313 h 5423"/>
              <a:gd name="T12" fmla="*/ 1523 w 14024"/>
              <a:gd name="T13" fmla="*/ 3691 h 5423"/>
              <a:gd name="T14" fmla="*/ 0 w 14024"/>
              <a:gd name="T15" fmla="*/ 4100 h 5423"/>
              <a:gd name="T16" fmla="*/ 7402 w 14024"/>
              <a:gd name="T17" fmla="*/ 0 h 54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024" h="5423">
                <a:moveTo>
                  <a:pt x="7402" y="0"/>
                </a:moveTo>
                <a:cubicBezTo>
                  <a:pt x="10050" y="0"/>
                  <a:pt x="12423" y="1180"/>
                  <a:pt x="14024" y="3042"/>
                </a:cubicBezTo>
                <a:lnTo>
                  <a:pt x="13619" y="5006"/>
                </a:lnTo>
                <a:lnTo>
                  <a:pt x="11974" y="5423"/>
                </a:lnTo>
                <a:cubicBezTo>
                  <a:pt x="10949" y="4008"/>
                  <a:pt x="9283" y="3087"/>
                  <a:pt x="7402" y="3087"/>
                </a:cubicBezTo>
                <a:cubicBezTo>
                  <a:pt x="5569" y="3087"/>
                  <a:pt x="3941" y="3960"/>
                  <a:pt x="2911" y="5313"/>
                </a:cubicBezTo>
                <a:lnTo>
                  <a:pt x="1523" y="3691"/>
                </a:lnTo>
                <a:lnTo>
                  <a:pt x="0" y="4100"/>
                </a:lnTo>
                <a:cubicBezTo>
                  <a:pt x="1543" y="1638"/>
                  <a:pt x="4281" y="0"/>
                  <a:pt x="7402" y="0"/>
                </a:cubicBezTo>
                <a:close/>
              </a:path>
            </a:pathLst>
          </a:custGeom>
          <a:gradFill flip="none" rotWithShape="1">
            <a:gsLst>
              <a:gs pos="73000">
                <a:schemeClr val="accent1"/>
              </a:gs>
              <a:gs pos="31000">
                <a:schemeClr val="accent1">
                  <a:lumMod val="60000"/>
                  <a:lumOff val="40000"/>
                </a:schemeClr>
              </a:gs>
              <a:gs pos="0">
                <a:schemeClr val="accent1">
                  <a:lumMod val="40000"/>
                  <a:lumOff val="60000"/>
                </a:schemeClr>
              </a:gs>
            </a:gsLst>
            <a:lin ang="1080000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5" name="Rectangle 11">
            <a:extLst>
              <a:ext uri="{FF2B5EF4-FFF2-40B4-BE49-F238E27FC236}">
                <a16:creationId xmlns:a16="http://schemas.microsoft.com/office/drawing/2014/main" id="{DC633D21-E756-4495-A15D-5AE899734696}"/>
              </a:ext>
            </a:extLst>
          </p:cNvPr>
          <p:cNvSpPr/>
          <p:nvPr/>
        </p:nvSpPr>
        <p:spPr>
          <a:xfrm>
            <a:off x="7089989" y="4632665"/>
            <a:ext cx="463588" cy="418961"/>
          </a:xfrm>
          <a:prstGeom prst="rect">
            <a:avLst/>
          </a:prstGeom>
        </p:spPr>
        <p:txBody>
          <a:bodyPr wrap="none">
            <a:spAutoFit/>
          </a:bodyPr>
          <a:lstStyle/>
          <a:p>
            <a:pPr marL="0" marR="0" lvl="0" indent="0" algn="ctr" defTabSz="457200" rtl="0" eaLnBrk="1" fontAlgn="base" latinLnBrk="0" hangingPunct="1">
              <a:lnSpc>
                <a:spcPct val="130000"/>
              </a:lnSpc>
              <a:spcBef>
                <a:spcPts val="1000"/>
              </a:spcBef>
              <a:spcAft>
                <a:spcPts val="0"/>
              </a:spcAft>
              <a:buClrTx/>
              <a:buSzTx/>
              <a:buFontTx/>
              <a:buNone/>
              <a:tabLst/>
              <a:defRPr/>
            </a:pPr>
            <a:r>
              <a:rPr kumimoji="0" lang="mn-MN" sz="1800" b="1" i="0" u="none" strike="noStrike" kern="1200" cap="none" spc="0" normalizeH="0" baseline="0" noProof="0" dirty="0">
                <a:ln>
                  <a:noFill/>
                </a:ln>
                <a:solidFill>
                  <a:srgbClr val="FFFFFF"/>
                </a:solidFill>
                <a:effectLst/>
                <a:uLnTx/>
                <a:uFillTx/>
                <a:latin typeface="HarmonyOS Sans SC Black"/>
                <a:ea typeface="+mj-ea"/>
                <a:cs typeface="+mn-cs"/>
              </a:rPr>
              <a:t>01</a:t>
            </a:r>
            <a:endParaRPr kumimoji="0" lang="en-US" sz="1800" b="1" i="0" u="none" strike="noStrike" kern="1200" cap="none" spc="0" normalizeH="0" baseline="0" noProof="0" dirty="0">
              <a:ln>
                <a:noFill/>
              </a:ln>
              <a:solidFill>
                <a:srgbClr val="FFFFFF"/>
              </a:solidFill>
              <a:effectLst/>
              <a:uLnTx/>
              <a:uFillTx/>
              <a:latin typeface="HarmonyOS Sans SC Black"/>
              <a:ea typeface="+mj-ea"/>
              <a:cs typeface="+mn-cs"/>
            </a:endParaRPr>
          </a:p>
        </p:txBody>
      </p:sp>
      <p:sp>
        <p:nvSpPr>
          <p:cNvPr id="6" name="Rectangle 12">
            <a:extLst>
              <a:ext uri="{FF2B5EF4-FFF2-40B4-BE49-F238E27FC236}">
                <a16:creationId xmlns:a16="http://schemas.microsoft.com/office/drawing/2014/main" id="{16D34AF0-A437-4D27-BF1D-14E88B54B40D}"/>
              </a:ext>
            </a:extLst>
          </p:cNvPr>
          <p:cNvSpPr/>
          <p:nvPr/>
        </p:nvSpPr>
        <p:spPr>
          <a:xfrm>
            <a:off x="4620280" y="4632665"/>
            <a:ext cx="463588" cy="418961"/>
          </a:xfrm>
          <a:prstGeom prst="rect">
            <a:avLst/>
          </a:prstGeom>
        </p:spPr>
        <p:txBody>
          <a:bodyPr wrap="none">
            <a:spAutoFit/>
          </a:bodyPr>
          <a:lstStyle/>
          <a:p>
            <a:pPr marL="0" marR="0" lvl="0" indent="0" algn="ctr" defTabSz="457200" rtl="0" eaLnBrk="1" fontAlgn="base" latinLnBrk="0" hangingPunct="1">
              <a:lnSpc>
                <a:spcPct val="130000"/>
              </a:lnSpc>
              <a:spcBef>
                <a:spcPts val="1000"/>
              </a:spcBef>
              <a:spcAft>
                <a:spcPts val="0"/>
              </a:spcAft>
              <a:buClrTx/>
              <a:buSzTx/>
              <a:buFontTx/>
              <a:buNone/>
              <a:tabLst/>
              <a:defRPr/>
            </a:pPr>
            <a:r>
              <a:rPr kumimoji="0" lang="mn-MN" sz="1800" b="1" i="0" u="none" strike="noStrike" kern="1200" cap="none" spc="0" normalizeH="0" baseline="0" noProof="0" dirty="0">
                <a:ln>
                  <a:noFill/>
                </a:ln>
                <a:solidFill>
                  <a:srgbClr val="FFFFFF"/>
                </a:solidFill>
                <a:effectLst/>
                <a:uLnTx/>
                <a:uFillTx/>
                <a:latin typeface="HarmonyOS Sans SC Black"/>
                <a:ea typeface="+mj-ea"/>
                <a:cs typeface="+mn-cs"/>
              </a:rPr>
              <a:t>02</a:t>
            </a:r>
            <a:endParaRPr kumimoji="0" lang="en-US" sz="1800" b="1" i="0" u="none" strike="noStrike" kern="1200" cap="none" spc="0" normalizeH="0" baseline="0" noProof="0" dirty="0">
              <a:ln>
                <a:noFill/>
              </a:ln>
              <a:solidFill>
                <a:srgbClr val="FFFFFF"/>
              </a:solidFill>
              <a:effectLst/>
              <a:uLnTx/>
              <a:uFillTx/>
              <a:latin typeface="HarmonyOS Sans SC Black"/>
              <a:ea typeface="+mj-ea"/>
              <a:cs typeface="+mn-cs"/>
            </a:endParaRPr>
          </a:p>
        </p:txBody>
      </p:sp>
      <p:sp>
        <p:nvSpPr>
          <p:cNvPr id="7" name="Rectangle 13">
            <a:extLst>
              <a:ext uri="{FF2B5EF4-FFF2-40B4-BE49-F238E27FC236}">
                <a16:creationId xmlns:a16="http://schemas.microsoft.com/office/drawing/2014/main" id="{839EC302-B429-4C18-A70F-15CBB3670448}"/>
              </a:ext>
            </a:extLst>
          </p:cNvPr>
          <p:cNvSpPr/>
          <p:nvPr/>
        </p:nvSpPr>
        <p:spPr>
          <a:xfrm>
            <a:off x="5882449" y="2665910"/>
            <a:ext cx="463588" cy="418961"/>
          </a:xfrm>
          <a:prstGeom prst="rect">
            <a:avLst/>
          </a:prstGeom>
        </p:spPr>
        <p:txBody>
          <a:bodyPr wrap="none">
            <a:spAutoFit/>
          </a:bodyPr>
          <a:lstStyle/>
          <a:p>
            <a:pPr marL="0" marR="0" lvl="0" indent="0" algn="ctr" defTabSz="457200" rtl="0" eaLnBrk="1" fontAlgn="base" latinLnBrk="0" hangingPunct="1">
              <a:lnSpc>
                <a:spcPct val="130000"/>
              </a:lnSpc>
              <a:spcBef>
                <a:spcPts val="1000"/>
              </a:spcBef>
              <a:spcAft>
                <a:spcPts val="0"/>
              </a:spcAft>
              <a:buClrTx/>
              <a:buSzTx/>
              <a:buFontTx/>
              <a:buNone/>
              <a:tabLst/>
              <a:defRPr/>
            </a:pPr>
            <a:r>
              <a:rPr kumimoji="0" lang="mn-MN" sz="1800" b="1" i="0" u="none" strike="noStrike" kern="1200" cap="none" spc="0" normalizeH="0" baseline="0" noProof="0" dirty="0">
                <a:ln>
                  <a:noFill/>
                </a:ln>
                <a:solidFill>
                  <a:srgbClr val="FFFFFF"/>
                </a:solidFill>
                <a:effectLst/>
                <a:uLnTx/>
                <a:uFillTx/>
                <a:latin typeface="HarmonyOS Sans SC Black"/>
                <a:ea typeface="+mj-ea"/>
                <a:cs typeface="+mn-cs"/>
              </a:rPr>
              <a:t>03</a:t>
            </a:r>
            <a:endParaRPr kumimoji="0" lang="en-US" sz="1800" b="1" i="0" u="none" strike="noStrike" kern="1200" cap="none" spc="0" normalizeH="0" baseline="0" noProof="0" dirty="0">
              <a:ln>
                <a:noFill/>
              </a:ln>
              <a:solidFill>
                <a:srgbClr val="FFFFFF"/>
              </a:solidFill>
              <a:effectLst/>
              <a:uLnTx/>
              <a:uFillTx/>
              <a:latin typeface="HarmonyOS Sans SC Black"/>
              <a:ea typeface="+mj-ea"/>
              <a:cs typeface="+mn-cs"/>
            </a:endParaRPr>
          </a:p>
        </p:txBody>
      </p:sp>
      <p:sp>
        <p:nvSpPr>
          <p:cNvPr id="15" name="Rectangle 23">
            <a:extLst>
              <a:ext uri="{FF2B5EF4-FFF2-40B4-BE49-F238E27FC236}">
                <a16:creationId xmlns:a16="http://schemas.microsoft.com/office/drawing/2014/main" id="{E3A9D7D7-D42B-4BEF-AC88-771DCBE6F7A8}"/>
              </a:ext>
            </a:extLst>
          </p:cNvPr>
          <p:cNvSpPr/>
          <p:nvPr/>
        </p:nvSpPr>
        <p:spPr>
          <a:xfrm>
            <a:off x="5432578" y="3951927"/>
            <a:ext cx="1326844" cy="661720"/>
          </a:xfrm>
          <a:prstGeom prst="rect">
            <a:avLst/>
          </a:prstGeom>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500" b="1" i="0" u="none" strike="noStrike" kern="1200" cap="none" spc="0" normalizeH="0" baseline="0" noProof="0" dirty="0">
                <a:ln>
                  <a:noFill/>
                </a:ln>
                <a:solidFill>
                  <a:prstClr val="black">
                    <a:lumMod val="75000"/>
                    <a:lumOff val="25000"/>
                  </a:prstClr>
                </a:solidFill>
                <a:effectLst/>
                <a:uLnTx/>
                <a:uFillTx/>
                <a:latin typeface="HarmonyOS Sans SC Black"/>
                <a:ea typeface="+mj-ea"/>
                <a:cs typeface="+mn-cs"/>
              </a:rPr>
              <a:t>3 STEP</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75000"/>
                    <a:lumOff val="25000"/>
                  </a:prstClr>
                </a:solidFill>
                <a:effectLst/>
                <a:uLnTx/>
                <a:uFillTx/>
                <a:latin typeface="HarmonyOS Sans SC Black"/>
                <a:ea typeface="+mj-ea"/>
                <a:cs typeface="+mn-cs"/>
              </a:rPr>
              <a:t>INFOGRAPHIC</a:t>
            </a:r>
          </a:p>
        </p:txBody>
      </p:sp>
      <p:grpSp>
        <p:nvGrpSpPr>
          <p:cNvPr id="28" name="组合 27">
            <a:extLst>
              <a:ext uri="{FF2B5EF4-FFF2-40B4-BE49-F238E27FC236}">
                <a16:creationId xmlns:a16="http://schemas.microsoft.com/office/drawing/2014/main" id="{FD85D895-7B06-4C34-A9C3-81847E7750BD}"/>
              </a:ext>
            </a:extLst>
          </p:cNvPr>
          <p:cNvGrpSpPr/>
          <p:nvPr/>
        </p:nvGrpSpPr>
        <p:grpSpPr>
          <a:xfrm>
            <a:off x="1099108" y="4767178"/>
            <a:ext cx="2809285" cy="881603"/>
            <a:chOff x="836324" y="2692095"/>
            <a:chExt cx="2809285" cy="881603"/>
          </a:xfrm>
        </p:grpSpPr>
        <p:sp>
          <p:nvSpPr>
            <p:cNvPr id="29" name="TextBox 65">
              <a:extLst>
                <a:ext uri="{FF2B5EF4-FFF2-40B4-BE49-F238E27FC236}">
                  <a16:creationId xmlns:a16="http://schemas.microsoft.com/office/drawing/2014/main" id="{E8204CED-B14B-4285-B8CF-0BF6FA6A8482}"/>
                </a:ext>
              </a:extLst>
            </p:cNvPr>
            <p:cNvSpPr txBox="1"/>
            <p:nvPr/>
          </p:nvSpPr>
          <p:spPr>
            <a:xfrm>
              <a:off x="1589348" y="2692095"/>
              <a:ext cx="2056261" cy="387598"/>
            </a:xfrm>
            <a:prstGeom prst="rect">
              <a:avLst/>
            </a:prstGeom>
            <a:noFill/>
          </p:spPr>
          <p:txBody>
            <a:bodyPr wrap="square" lIns="0" tIns="36000" rIns="0" bIns="36000" rtlCol="0">
              <a:spAutoFit/>
            </a:bodyPr>
            <a:lstStyle/>
            <a:p>
              <a:pPr marL="0" marR="0" lvl="0" indent="0" algn="r" defTabSz="914400" rtl="0" eaLnBrk="1" fontAlgn="auto" latinLnBrk="0" hangingPunct="1">
                <a:lnSpc>
                  <a:spcPct val="120000"/>
                </a:lnSpc>
                <a:spcBef>
                  <a:spcPts val="600"/>
                </a:spcBef>
                <a:spcAft>
                  <a:spcPts val="0"/>
                </a:spcAft>
                <a:buClrTx/>
                <a:buSzTx/>
                <a:buFontTx/>
                <a:buNone/>
                <a:tabLst/>
                <a:defRPr/>
              </a:pPr>
              <a:r>
                <a:rPr kumimoji="0" lang="zh-CN" altLang="en-US" sz="1800" b="0" i="0" u="none" strike="noStrike" kern="1200" cap="none" spc="0" normalizeH="0" baseline="0" noProof="0" dirty="0">
                  <a:ln>
                    <a:noFill/>
                  </a:ln>
                  <a:solidFill>
                    <a:schemeClr val="accent1"/>
                  </a:solidFill>
                  <a:effectLst/>
                  <a:uLnTx/>
                  <a:uFillTx/>
                  <a:latin typeface="HarmonyOS Sans SC Black"/>
                  <a:ea typeface="+mj-ea"/>
                  <a:cs typeface="+mn-cs"/>
                </a:rPr>
                <a:t>关键词标题</a:t>
              </a:r>
              <a:endParaRPr kumimoji="0" lang="en-US" sz="1800" b="0" i="0" u="none" strike="noStrike" kern="1200" cap="none" spc="0" normalizeH="0" baseline="0" noProof="0" dirty="0">
                <a:ln>
                  <a:noFill/>
                </a:ln>
                <a:solidFill>
                  <a:schemeClr val="accent1"/>
                </a:solidFill>
                <a:effectLst/>
                <a:uLnTx/>
                <a:uFillTx/>
                <a:latin typeface="HarmonyOS Sans SC Black"/>
                <a:ea typeface="+mj-ea"/>
                <a:cs typeface="+mn-cs"/>
              </a:endParaRPr>
            </a:p>
          </p:txBody>
        </p:sp>
        <p:sp>
          <p:nvSpPr>
            <p:cNvPr id="30" name="TextBox 65">
              <a:extLst>
                <a:ext uri="{FF2B5EF4-FFF2-40B4-BE49-F238E27FC236}">
                  <a16:creationId xmlns:a16="http://schemas.microsoft.com/office/drawing/2014/main" id="{84BB030B-A7F0-4FE2-BDF7-670C5DA121B3}"/>
                </a:ext>
              </a:extLst>
            </p:cNvPr>
            <p:cNvSpPr txBox="1"/>
            <p:nvPr/>
          </p:nvSpPr>
          <p:spPr>
            <a:xfrm>
              <a:off x="836324" y="3075494"/>
              <a:ext cx="2809285" cy="498204"/>
            </a:xfrm>
            <a:prstGeom prst="rect">
              <a:avLst/>
            </a:prstGeom>
            <a:noFill/>
          </p:spPr>
          <p:txBody>
            <a:bodyPr wrap="square" lIns="0" tIns="36000" rIns="0" bIns="36000" rtlCol="0">
              <a:spAutoFit/>
            </a:bodyPr>
            <a:lstStyle/>
            <a:p>
              <a:pPr marL="0" marR="0" lvl="0" indent="0" algn="r" defTabSz="914400" rtl="0" eaLnBrk="1" fontAlgn="auto" latinLnBrk="0" hangingPunct="1">
                <a:lnSpc>
                  <a:spcPct val="120000"/>
                </a:lnSpc>
                <a:spcBef>
                  <a:spcPts val="600"/>
                </a:spcBef>
                <a:spcAft>
                  <a:spcPts val="0"/>
                </a:spcAft>
                <a:buClrTx/>
                <a:buSzTx/>
                <a:buFontTx/>
                <a:buNone/>
                <a:tabLst/>
                <a:defRPr/>
              </a:pPr>
              <a:r>
                <a:rPr kumimoji="0" lang="en-US" sz="1200" b="0" i="0" u="none" strike="noStrike" kern="1200" cap="none" spc="0" normalizeH="0" baseline="0" noProof="0" dirty="0">
                  <a:ln>
                    <a:noFill/>
                  </a:ln>
                  <a:solidFill>
                    <a:prstClr val="black">
                      <a:lumMod val="50000"/>
                      <a:lumOff val="50000"/>
                    </a:prstClr>
                  </a:solidFill>
                  <a:effectLst/>
                  <a:uLnTx/>
                  <a:uFillTx/>
                  <a:latin typeface="HarmonyOS Sans SC"/>
                  <a:cs typeface="+mn-cs"/>
                </a:rPr>
                <a:t>Apparently we had reached a great height in the.</a:t>
              </a:r>
            </a:p>
          </p:txBody>
        </p:sp>
      </p:grpSp>
      <p:grpSp>
        <p:nvGrpSpPr>
          <p:cNvPr id="31" name="组合 30">
            <a:extLst>
              <a:ext uri="{FF2B5EF4-FFF2-40B4-BE49-F238E27FC236}">
                <a16:creationId xmlns:a16="http://schemas.microsoft.com/office/drawing/2014/main" id="{2B1B6291-7A6C-442A-885E-F07C191B6BEF}"/>
              </a:ext>
            </a:extLst>
          </p:cNvPr>
          <p:cNvGrpSpPr/>
          <p:nvPr/>
        </p:nvGrpSpPr>
        <p:grpSpPr>
          <a:xfrm>
            <a:off x="8323281" y="4767178"/>
            <a:ext cx="2769612" cy="881603"/>
            <a:chOff x="8546391" y="2692095"/>
            <a:chExt cx="2769612" cy="881603"/>
          </a:xfrm>
        </p:grpSpPr>
        <p:sp>
          <p:nvSpPr>
            <p:cNvPr id="32" name="TextBox 65">
              <a:extLst>
                <a:ext uri="{FF2B5EF4-FFF2-40B4-BE49-F238E27FC236}">
                  <a16:creationId xmlns:a16="http://schemas.microsoft.com/office/drawing/2014/main" id="{9D34C692-FA4B-45E6-8ACD-6DB6DB12622B}"/>
                </a:ext>
              </a:extLst>
            </p:cNvPr>
            <p:cNvSpPr txBox="1"/>
            <p:nvPr/>
          </p:nvSpPr>
          <p:spPr>
            <a:xfrm flipH="1">
              <a:off x="8546391" y="2692095"/>
              <a:ext cx="2056261" cy="387598"/>
            </a:xfrm>
            <a:prstGeom prst="rect">
              <a:avLst/>
            </a:prstGeom>
            <a:noFill/>
          </p:spPr>
          <p:txBody>
            <a:bodyPr wrap="square" lIns="0" tIns="36000" rIns="0" bIns="36000" rtlCol="0">
              <a:spAutoFit/>
            </a:bodyPr>
            <a:lstStyle/>
            <a:p>
              <a:pPr marL="0" marR="0" lvl="0" indent="0" algn="l" defTabSz="914400" rtl="0" eaLnBrk="1" fontAlgn="auto" latinLnBrk="0" hangingPunct="1">
                <a:lnSpc>
                  <a:spcPct val="120000"/>
                </a:lnSpc>
                <a:spcBef>
                  <a:spcPts val="600"/>
                </a:spcBef>
                <a:spcAft>
                  <a:spcPts val="0"/>
                </a:spcAft>
                <a:buClrTx/>
                <a:buSzTx/>
                <a:buFontTx/>
                <a:buNone/>
                <a:tabLst/>
                <a:defRPr/>
              </a:pPr>
              <a:r>
                <a:rPr kumimoji="0" lang="zh-CN" altLang="en-US" sz="1800" b="0" i="0" u="none" strike="noStrike" kern="1200" cap="none" spc="0" normalizeH="0" baseline="0" noProof="0" dirty="0">
                  <a:ln>
                    <a:noFill/>
                  </a:ln>
                  <a:solidFill>
                    <a:schemeClr val="accent1"/>
                  </a:solidFill>
                  <a:effectLst/>
                  <a:uLnTx/>
                  <a:uFillTx/>
                  <a:latin typeface="HarmonyOS Sans SC Black"/>
                  <a:ea typeface="+mj-ea"/>
                  <a:cs typeface="+mn-cs"/>
                </a:rPr>
                <a:t>关键词标题</a:t>
              </a:r>
              <a:endParaRPr kumimoji="0" lang="en-US" sz="1800" b="0" i="0" u="none" strike="noStrike" kern="1200" cap="none" spc="0" normalizeH="0" baseline="0" noProof="0" dirty="0">
                <a:ln>
                  <a:noFill/>
                </a:ln>
                <a:solidFill>
                  <a:schemeClr val="accent1"/>
                </a:solidFill>
                <a:effectLst/>
                <a:uLnTx/>
                <a:uFillTx/>
                <a:latin typeface="HarmonyOS Sans SC Black"/>
                <a:ea typeface="+mj-ea"/>
                <a:cs typeface="+mn-cs"/>
              </a:endParaRPr>
            </a:p>
          </p:txBody>
        </p:sp>
        <p:sp>
          <p:nvSpPr>
            <p:cNvPr id="33" name="TextBox 65">
              <a:extLst>
                <a:ext uri="{FF2B5EF4-FFF2-40B4-BE49-F238E27FC236}">
                  <a16:creationId xmlns:a16="http://schemas.microsoft.com/office/drawing/2014/main" id="{177D1879-7085-454E-BB11-B8AA3937C3EE}"/>
                </a:ext>
              </a:extLst>
            </p:cNvPr>
            <p:cNvSpPr txBox="1"/>
            <p:nvPr/>
          </p:nvSpPr>
          <p:spPr>
            <a:xfrm flipH="1">
              <a:off x="8546391" y="3075494"/>
              <a:ext cx="2769612" cy="498204"/>
            </a:xfrm>
            <a:prstGeom prst="rect">
              <a:avLst/>
            </a:prstGeom>
            <a:noFill/>
          </p:spPr>
          <p:txBody>
            <a:bodyPr wrap="square" lIns="0" tIns="36000" rIns="0" bIns="36000" rtlCol="0">
              <a:spAutoFit/>
            </a:bodyPr>
            <a:lstStyle/>
            <a:p>
              <a:pPr marL="0" marR="0" lvl="0" indent="0" algn="l" defTabSz="914400" rtl="0" eaLnBrk="1" fontAlgn="auto" latinLnBrk="0" hangingPunct="1">
                <a:lnSpc>
                  <a:spcPct val="120000"/>
                </a:lnSpc>
                <a:spcBef>
                  <a:spcPts val="600"/>
                </a:spcBef>
                <a:spcAft>
                  <a:spcPts val="0"/>
                </a:spcAft>
                <a:buClrTx/>
                <a:buSzTx/>
                <a:buFontTx/>
                <a:buNone/>
                <a:tabLst/>
                <a:defRPr/>
              </a:pPr>
              <a:r>
                <a:rPr kumimoji="0" lang="en-US" sz="1200" b="0" i="0" u="none" strike="noStrike" kern="1200" cap="none" spc="0" normalizeH="0" baseline="0" noProof="0" dirty="0">
                  <a:ln>
                    <a:noFill/>
                  </a:ln>
                  <a:solidFill>
                    <a:prstClr val="black">
                      <a:lumMod val="50000"/>
                      <a:lumOff val="50000"/>
                    </a:prstClr>
                  </a:solidFill>
                  <a:effectLst/>
                  <a:uLnTx/>
                  <a:uFillTx/>
                  <a:latin typeface="HarmonyOS Sans SC"/>
                  <a:cs typeface="+mn-cs"/>
                </a:rPr>
                <a:t>Apparently we had reached a great height in the.</a:t>
              </a:r>
            </a:p>
          </p:txBody>
        </p:sp>
      </p:grpSp>
      <p:grpSp>
        <p:nvGrpSpPr>
          <p:cNvPr id="34" name="组合 33">
            <a:extLst>
              <a:ext uri="{FF2B5EF4-FFF2-40B4-BE49-F238E27FC236}">
                <a16:creationId xmlns:a16="http://schemas.microsoft.com/office/drawing/2014/main" id="{FC9CF32A-AF4E-4706-B48A-027A9C2E821A}"/>
              </a:ext>
            </a:extLst>
          </p:cNvPr>
          <p:cNvGrpSpPr/>
          <p:nvPr/>
        </p:nvGrpSpPr>
        <p:grpSpPr>
          <a:xfrm>
            <a:off x="4711194" y="1415416"/>
            <a:ext cx="2769612" cy="881603"/>
            <a:chOff x="8546391" y="2692095"/>
            <a:chExt cx="2769612" cy="881603"/>
          </a:xfrm>
        </p:grpSpPr>
        <p:sp>
          <p:nvSpPr>
            <p:cNvPr id="35" name="TextBox 65">
              <a:extLst>
                <a:ext uri="{FF2B5EF4-FFF2-40B4-BE49-F238E27FC236}">
                  <a16:creationId xmlns:a16="http://schemas.microsoft.com/office/drawing/2014/main" id="{50AB197D-BCC9-4568-A7BC-BA371B61C346}"/>
                </a:ext>
              </a:extLst>
            </p:cNvPr>
            <p:cNvSpPr txBox="1"/>
            <p:nvPr/>
          </p:nvSpPr>
          <p:spPr>
            <a:xfrm flipH="1">
              <a:off x="8903067" y="2692095"/>
              <a:ext cx="2056261" cy="387598"/>
            </a:xfrm>
            <a:prstGeom prst="rect">
              <a:avLst/>
            </a:prstGeom>
            <a:noFill/>
          </p:spPr>
          <p:txBody>
            <a:bodyPr wrap="square" lIns="0" tIns="36000" rIns="0" bIns="36000" rtlCol="0">
              <a:spAutoFit/>
            </a:bodyPr>
            <a:lstStyle/>
            <a:p>
              <a:pPr marL="0" marR="0" lvl="0" indent="0" algn="ctr" defTabSz="914400" rtl="0" eaLnBrk="1" fontAlgn="auto" latinLnBrk="0" hangingPunct="1">
                <a:lnSpc>
                  <a:spcPct val="120000"/>
                </a:lnSpc>
                <a:spcBef>
                  <a:spcPts val="600"/>
                </a:spcBef>
                <a:spcAft>
                  <a:spcPts val="0"/>
                </a:spcAft>
                <a:buClrTx/>
                <a:buSzTx/>
                <a:buFontTx/>
                <a:buNone/>
                <a:tabLst/>
                <a:defRPr/>
              </a:pPr>
              <a:r>
                <a:rPr kumimoji="0" lang="zh-CN" altLang="en-US" sz="1800" b="0" i="0" u="none" strike="noStrike" kern="1200" cap="none" spc="0" normalizeH="0" baseline="0" noProof="0" dirty="0">
                  <a:ln>
                    <a:noFill/>
                  </a:ln>
                  <a:solidFill>
                    <a:schemeClr val="accent1"/>
                  </a:solidFill>
                  <a:effectLst/>
                  <a:uLnTx/>
                  <a:uFillTx/>
                  <a:latin typeface="HarmonyOS Sans SC Black"/>
                  <a:ea typeface="+mj-ea"/>
                  <a:cs typeface="+mn-cs"/>
                </a:rPr>
                <a:t>关键词标题</a:t>
              </a:r>
              <a:endParaRPr kumimoji="0" lang="en-US" sz="1800" b="0" i="0" u="none" strike="noStrike" kern="1200" cap="none" spc="0" normalizeH="0" baseline="0" noProof="0" dirty="0">
                <a:ln>
                  <a:noFill/>
                </a:ln>
                <a:solidFill>
                  <a:schemeClr val="accent1"/>
                </a:solidFill>
                <a:effectLst/>
                <a:uLnTx/>
                <a:uFillTx/>
                <a:latin typeface="HarmonyOS Sans SC Black"/>
                <a:ea typeface="+mj-ea"/>
                <a:cs typeface="+mn-cs"/>
              </a:endParaRPr>
            </a:p>
          </p:txBody>
        </p:sp>
        <p:sp>
          <p:nvSpPr>
            <p:cNvPr id="36" name="TextBox 65">
              <a:extLst>
                <a:ext uri="{FF2B5EF4-FFF2-40B4-BE49-F238E27FC236}">
                  <a16:creationId xmlns:a16="http://schemas.microsoft.com/office/drawing/2014/main" id="{FA690EC6-2DD8-416B-A62D-4D67C04858F1}"/>
                </a:ext>
              </a:extLst>
            </p:cNvPr>
            <p:cNvSpPr txBox="1"/>
            <p:nvPr/>
          </p:nvSpPr>
          <p:spPr>
            <a:xfrm flipH="1">
              <a:off x="8546391" y="3075494"/>
              <a:ext cx="2769612" cy="498204"/>
            </a:xfrm>
            <a:prstGeom prst="rect">
              <a:avLst/>
            </a:prstGeom>
            <a:noFill/>
          </p:spPr>
          <p:txBody>
            <a:bodyPr wrap="square" lIns="0" tIns="36000" rIns="0" bIns="36000" rtlCol="0">
              <a:spAutoFit/>
            </a:bodyPr>
            <a:lstStyle/>
            <a:p>
              <a:pPr marL="0" marR="0" lvl="0" indent="0" algn="ctr" defTabSz="914400" rtl="0" eaLnBrk="1" fontAlgn="auto" latinLnBrk="0" hangingPunct="1">
                <a:lnSpc>
                  <a:spcPct val="120000"/>
                </a:lnSpc>
                <a:spcBef>
                  <a:spcPts val="600"/>
                </a:spcBef>
                <a:spcAft>
                  <a:spcPts val="0"/>
                </a:spcAft>
                <a:buClrTx/>
                <a:buSzTx/>
                <a:buFontTx/>
                <a:buNone/>
                <a:tabLst/>
                <a:defRPr/>
              </a:pPr>
              <a:r>
                <a:rPr kumimoji="0" lang="en-US" sz="1200" b="0" i="0" u="none" strike="noStrike" kern="1200" cap="none" spc="0" normalizeH="0" baseline="0" noProof="0" dirty="0">
                  <a:ln>
                    <a:noFill/>
                  </a:ln>
                  <a:solidFill>
                    <a:prstClr val="black">
                      <a:lumMod val="50000"/>
                      <a:lumOff val="50000"/>
                    </a:prstClr>
                  </a:solidFill>
                  <a:effectLst/>
                  <a:uLnTx/>
                  <a:uFillTx/>
                  <a:latin typeface="HarmonyOS Sans SC"/>
                  <a:cs typeface="+mn-cs"/>
                </a:rPr>
                <a:t>Apparently we had reached a great height in the.</a:t>
              </a:r>
            </a:p>
          </p:txBody>
        </p:sp>
      </p:grpSp>
    </p:spTree>
    <p:extLst>
      <p:ext uri="{BB962C8B-B14F-4D97-AF65-F5344CB8AC3E}">
        <p14:creationId xmlns:p14="http://schemas.microsoft.com/office/powerpoint/2010/main" val="3028160632"/>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5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Freeform 9">
            <a:extLst>
              <a:ext uri="{FF2B5EF4-FFF2-40B4-BE49-F238E27FC236}">
                <a16:creationId xmlns:a16="http://schemas.microsoft.com/office/drawing/2014/main" id="{42399BD6-E4DD-4764-A41D-820A8D8755AE}"/>
              </a:ext>
            </a:extLst>
          </p:cNvPr>
          <p:cNvSpPr>
            <a:spLocks/>
          </p:cNvSpPr>
          <p:nvPr/>
        </p:nvSpPr>
        <p:spPr bwMode="auto">
          <a:xfrm>
            <a:off x="4502351" y="2455616"/>
            <a:ext cx="1613781" cy="1501846"/>
          </a:xfrm>
          <a:custGeom>
            <a:avLst/>
            <a:gdLst>
              <a:gd name="T0" fmla="*/ 0 w 8825"/>
              <a:gd name="T1" fmla="*/ 8209 h 8209"/>
              <a:gd name="T2" fmla="*/ 7632 w 8825"/>
              <a:gd name="T3" fmla="*/ 0 h 8209"/>
              <a:gd name="T4" fmla="*/ 8825 w 8825"/>
              <a:gd name="T5" fmla="*/ 1485 h 8209"/>
              <a:gd name="T6" fmla="*/ 7969 w 8825"/>
              <a:gd name="T7" fmla="*/ 3088 h 8209"/>
              <a:gd name="T8" fmla="*/ 3122 w 8825"/>
              <a:gd name="T9" fmla="*/ 8102 h 8209"/>
              <a:gd name="T10" fmla="*/ 1327 w 8825"/>
              <a:gd name="T11" fmla="*/ 7144 h 8209"/>
              <a:gd name="T12" fmla="*/ 0 w 8825"/>
              <a:gd name="T13" fmla="*/ 8209 h 8209"/>
            </a:gdLst>
            <a:ahLst/>
            <a:cxnLst>
              <a:cxn ang="0">
                <a:pos x="T0" y="T1"/>
              </a:cxn>
              <a:cxn ang="0">
                <a:pos x="T2" y="T3"/>
              </a:cxn>
              <a:cxn ang="0">
                <a:pos x="T4" y="T5"/>
              </a:cxn>
              <a:cxn ang="0">
                <a:pos x="T6" y="T7"/>
              </a:cxn>
              <a:cxn ang="0">
                <a:pos x="T8" y="T9"/>
              </a:cxn>
              <a:cxn ang="0">
                <a:pos x="T10" y="T11"/>
              </a:cxn>
              <a:cxn ang="0">
                <a:pos x="T12" y="T13"/>
              </a:cxn>
            </a:cxnLst>
            <a:rect l="0" t="0" r="r" b="b"/>
            <a:pathLst>
              <a:path w="8825" h="8209">
                <a:moveTo>
                  <a:pt x="0" y="8209"/>
                </a:moveTo>
                <a:cubicBezTo>
                  <a:pt x="217" y="3962"/>
                  <a:pt x="3470" y="516"/>
                  <a:pt x="7632" y="0"/>
                </a:cubicBezTo>
                <a:lnTo>
                  <a:pt x="8825" y="1485"/>
                </a:lnTo>
                <a:lnTo>
                  <a:pt x="7969" y="3088"/>
                </a:lnTo>
                <a:cubicBezTo>
                  <a:pt x="5400" y="3430"/>
                  <a:pt x="3379" y="5506"/>
                  <a:pt x="3122" y="8102"/>
                </a:cubicBezTo>
                <a:lnTo>
                  <a:pt x="1327" y="7144"/>
                </a:lnTo>
                <a:lnTo>
                  <a:pt x="0" y="8209"/>
                </a:lnTo>
                <a:close/>
              </a:path>
            </a:pathLst>
          </a:custGeom>
          <a:gradFill flip="none" rotWithShape="1">
            <a:gsLst>
              <a:gs pos="73000">
                <a:schemeClr val="accent1"/>
              </a:gs>
              <a:gs pos="31000">
                <a:schemeClr val="accent1">
                  <a:lumMod val="60000"/>
                  <a:lumOff val="40000"/>
                </a:schemeClr>
              </a:gs>
              <a:gs pos="0">
                <a:schemeClr val="accent1">
                  <a:lumMod val="40000"/>
                  <a:lumOff val="60000"/>
                </a:schemeClr>
              </a:gs>
            </a:gsLst>
            <a:lin ang="1080000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Black"/>
              <a:ea typeface="+mj-ea"/>
              <a:cs typeface="+mn-cs"/>
            </a:endParaRPr>
          </a:p>
        </p:txBody>
      </p:sp>
      <p:sp>
        <p:nvSpPr>
          <p:cNvPr id="8" name="Freeform 10">
            <a:extLst>
              <a:ext uri="{FF2B5EF4-FFF2-40B4-BE49-F238E27FC236}">
                <a16:creationId xmlns:a16="http://schemas.microsoft.com/office/drawing/2014/main" id="{01F7BC43-09C2-4D9A-BE59-F6C23C7D8FC3}"/>
              </a:ext>
            </a:extLst>
          </p:cNvPr>
          <p:cNvSpPr>
            <a:spLocks/>
          </p:cNvSpPr>
          <p:nvPr/>
        </p:nvSpPr>
        <p:spPr bwMode="auto">
          <a:xfrm>
            <a:off x="4512015" y="4024301"/>
            <a:ext cx="1488158" cy="1610559"/>
          </a:xfrm>
          <a:custGeom>
            <a:avLst/>
            <a:gdLst>
              <a:gd name="T0" fmla="*/ 8139 w 8139"/>
              <a:gd name="T1" fmla="*/ 8802 h 8802"/>
              <a:gd name="T2" fmla="*/ 0 w 8139"/>
              <a:gd name="T3" fmla="*/ 1150 h 8802"/>
              <a:gd name="T4" fmla="*/ 1433 w 8139"/>
              <a:gd name="T5" fmla="*/ 0 h 8802"/>
              <a:gd name="T6" fmla="*/ 3098 w 8139"/>
              <a:gd name="T7" fmla="*/ 888 h 8802"/>
              <a:gd name="T8" fmla="*/ 8061 w 8139"/>
              <a:gd name="T9" fmla="*/ 5680 h 8802"/>
              <a:gd name="T10" fmla="*/ 7092 w 8139"/>
              <a:gd name="T11" fmla="*/ 7497 h 8802"/>
              <a:gd name="T12" fmla="*/ 8139 w 8139"/>
              <a:gd name="T13" fmla="*/ 8802 h 8802"/>
            </a:gdLst>
            <a:ahLst/>
            <a:cxnLst>
              <a:cxn ang="0">
                <a:pos x="T0" y="T1"/>
              </a:cxn>
              <a:cxn ang="0">
                <a:pos x="T2" y="T3"/>
              </a:cxn>
              <a:cxn ang="0">
                <a:pos x="T4" y="T5"/>
              </a:cxn>
              <a:cxn ang="0">
                <a:pos x="T6" y="T7"/>
              </a:cxn>
              <a:cxn ang="0">
                <a:pos x="T8" y="T9"/>
              </a:cxn>
              <a:cxn ang="0">
                <a:pos x="T10" y="T11"/>
              </a:cxn>
              <a:cxn ang="0">
                <a:pos x="T12" y="T13"/>
              </a:cxn>
            </a:cxnLst>
            <a:rect l="0" t="0" r="r" b="b"/>
            <a:pathLst>
              <a:path w="8139" h="8802">
                <a:moveTo>
                  <a:pt x="8139" y="8802"/>
                </a:moveTo>
                <a:cubicBezTo>
                  <a:pt x="3917" y="8551"/>
                  <a:pt x="503" y="5299"/>
                  <a:pt x="0" y="1150"/>
                </a:cubicBezTo>
                <a:lnTo>
                  <a:pt x="1433" y="0"/>
                </a:lnTo>
                <a:lnTo>
                  <a:pt x="3098" y="888"/>
                </a:lnTo>
                <a:cubicBezTo>
                  <a:pt x="3458" y="3419"/>
                  <a:pt x="5503" y="5407"/>
                  <a:pt x="8061" y="5680"/>
                </a:cubicBezTo>
                <a:lnTo>
                  <a:pt x="7092" y="7497"/>
                </a:lnTo>
                <a:lnTo>
                  <a:pt x="8139" y="8802"/>
                </a:lnTo>
                <a:close/>
              </a:path>
            </a:pathLst>
          </a:custGeom>
          <a:gradFill flip="none" rotWithShape="1">
            <a:gsLst>
              <a:gs pos="73000">
                <a:schemeClr val="accent1"/>
              </a:gs>
              <a:gs pos="31000">
                <a:schemeClr val="accent1">
                  <a:lumMod val="60000"/>
                  <a:lumOff val="40000"/>
                </a:schemeClr>
              </a:gs>
              <a:gs pos="0">
                <a:schemeClr val="accent1">
                  <a:lumMod val="40000"/>
                  <a:lumOff val="60000"/>
                </a:schemeClr>
              </a:gs>
            </a:gsLst>
            <a:lin ang="540000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Black"/>
              <a:ea typeface="+mj-ea"/>
              <a:cs typeface="+mn-cs"/>
            </a:endParaRPr>
          </a:p>
        </p:txBody>
      </p:sp>
      <p:sp>
        <p:nvSpPr>
          <p:cNvPr id="9" name="Freeform 11">
            <a:extLst>
              <a:ext uri="{FF2B5EF4-FFF2-40B4-BE49-F238E27FC236}">
                <a16:creationId xmlns:a16="http://schemas.microsoft.com/office/drawing/2014/main" id="{A089CD58-4CE6-49DD-BC28-63978D0F6848}"/>
              </a:ext>
            </a:extLst>
          </p:cNvPr>
          <p:cNvSpPr>
            <a:spLocks/>
          </p:cNvSpPr>
          <p:nvPr/>
        </p:nvSpPr>
        <p:spPr bwMode="auto">
          <a:xfrm>
            <a:off x="6070231" y="4131403"/>
            <a:ext cx="1619418" cy="1495405"/>
          </a:xfrm>
          <a:custGeom>
            <a:avLst/>
            <a:gdLst>
              <a:gd name="T0" fmla="*/ 8858 w 8858"/>
              <a:gd name="T1" fmla="*/ 0 h 8175"/>
              <a:gd name="T2" fmla="*/ 1142 w 8858"/>
              <a:gd name="T3" fmla="*/ 8175 h 8175"/>
              <a:gd name="T4" fmla="*/ 0 w 8858"/>
              <a:gd name="T5" fmla="*/ 6752 h 8175"/>
              <a:gd name="T6" fmla="*/ 894 w 8858"/>
              <a:gd name="T7" fmla="*/ 5076 h 8175"/>
              <a:gd name="T8" fmla="*/ 5730 w 8858"/>
              <a:gd name="T9" fmla="*/ 150 h 8175"/>
              <a:gd name="T10" fmla="*/ 7497 w 8858"/>
              <a:gd name="T11" fmla="*/ 1093 h 8175"/>
              <a:gd name="T12" fmla="*/ 8858 w 8858"/>
              <a:gd name="T13" fmla="*/ 0 h 8175"/>
            </a:gdLst>
            <a:ahLst/>
            <a:cxnLst>
              <a:cxn ang="0">
                <a:pos x="T0" y="T1"/>
              </a:cxn>
              <a:cxn ang="0">
                <a:pos x="T2" y="T3"/>
              </a:cxn>
              <a:cxn ang="0">
                <a:pos x="T4" y="T5"/>
              </a:cxn>
              <a:cxn ang="0">
                <a:pos x="T6" y="T7"/>
              </a:cxn>
              <a:cxn ang="0">
                <a:pos x="T8" y="T9"/>
              </a:cxn>
              <a:cxn ang="0">
                <a:pos x="T10" y="T11"/>
              </a:cxn>
              <a:cxn ang="0">
                <a:pos x="T12" y="T13"/>
              </a:cxn>
            </a:cxnLst>
            <a:rect l="0" t="0" r="r" b="b"/>
            <a:pathLst>
              <a:path w="8858" h="8175">
                <a:moveTo>
                  <a:pt x="8858" y="0"/>
                </a:moveTo>
                <a:cubicBezTo>
                  <a:pt x="8619" y="4257"/>
                  <a:pt x="5330" y="7698"/>
                  <a:pt x="1142" y="8175"/>
                </a:cubicBezTo>
                <a:lnTo>
                  <a:pt x="0" y="6752"/>
                </a:lnTo>
                <a:lnTo>
                  <a:pt x="894" y="5076"/>
                </a:lnTo>
                <a:cubicBezTo>
                  <a:pt x="3433" y="4737"/>
                  <a:pt x="5437" y="2704"/>
                  <a:pt x="5730" y="150"/>
                </a:cubicBezTo>
                <a:lnTo>
                  <a:pt x="7497" y="1093"/>
                </a:lnTo>
                <a:lnTo>
                  <a:pt x="8858" y="0"/>
                </a:lnTo>
                <a:close/>
              </a:path>
            </a:pathLst>
          </a:custGeom>
          <a:gradFill flip="none" rotWithShape="1">
            <a:gsLst>
              <a:gs pos="73000">
                <a:schemeClr val="accent1"/>
              </a:gs>
              <a:gs pos="31000">
                <a:schemeClr val="accent1">
                  <a:lumMod val="60000"/>
                  <a:lumOff val="40000"/>
                </a:schemeClr>
              </a:gs>
              <a:gs pos="0">
                <a:schemeClr val="accent1">
                  <a:lumMod val="40000"/>
                  <a:lumOff val="60000"/>
                </a:schemeClr>
              </a:gs>
            </a:gsLst>
            <a:lin ang="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Black"/>
              <a:ea typeface="+mj-ea"/>
              <a:cs typeface="+mn-cs"/>
            </a:endParaRPr>
          </a:p>
        </p:txBody>
      </p:sp>
      <p:sp>
        <p:nvSpPr>
          <p:cNvPr id="10" name="Freeform 12">
            <a:extLst>
              <a:ext uri="{FF2B5EF4-FFF2-40B4-BE49-F238E27FC236}">
                <a16:creationId xmlns:a16="http://schemas.microsoft.com/office/drawing/2014/main" id="{435E970A-9598-46AE-B2CC-7DF8B9F6DD4A}"/>
              </a:ext>
            </a:extLst>
          </p:cNvPr>
          <p:cNvSpPr>
            <a:spLocks/>
          </p:cNvSpPr>
          <p:nvPr/>
        </p:nvSpPr>
        <p:spPr bwMode="auto">
          <a:xfrm>
            <a:off x="6174112" y="2445148"/>
            <a:ext cx="1507484" cy="1625054"/>
          </a:xfrm>
          <a:custGeom>
            <a:avLst/>
            <a:gdLst>
              <a:gd name="T0" fmla="*/ 0 w 8244"/>
              <a:gd name="T1" fmla="*/ 0 h 8881"/>
              <a:gd name="T2" fmla="*/ 8244 w 8244"/>
              <a:gd name="T3" fmla="*/ 7697 h 8881"/>
              <a:gd name="T4" fmla="*/ 6769 w 8244"/>
              <a:gd name="T5" fmla="*/ 8881 h 8881"/>
              <a:gd name="T6" fmla="*/ 5155 w 8244"/>
              <a:gd name="T7" fmla="*/ 8019 h 8881"/>
              <a:gd name="T8" fmla="*/ 179 w 8244"/>
              <a:gd name="T9" fmla="*/ 3128 h 8881"/>
              <a:gd name="T10" fmla="*/ 1110 w 8244"/>
              <a:gd name="T11" fmla="*/ 1383 h 8881"/>
              <a:gd name="T12" fmla="*/ 0 w 8244"/>
              <a:gd name="T13" fmla="*/ 0 h 8881"/>
            </a:gdLst>
            <a:ahLst/>
            <a:cxnLst>
              <a:cxn ang="0">
                <a:pos x="T0" y="T1"/>
              </a:cxn>
              <a:cxn ang="0">
                <a:pos x="T2" y="T3"/>
              </a:cxn>
              <a:cxn ang="0">
                <a:pos x="T4" y="T5"/>
              </a:cxn>
              <a:cxn ang="0">
                <a:pos x="T6" y="T7"/>
              </a:cxn>
              <a:cxn ang="0">
                <a:pos x="T8" y="T9"/>
              </a:cxn>
              <a:cxn ang="0">
                <a:pos x="T10" y="T11"/>
              </a:cxn>
              <a:cxn ang="0">
                <a:pos x="T12" y="T13"/>
              </a:cxn>
            </a:cxnLst>
            <a:rect l="0" t="0" r="r" b="b"/>
            <a:pathLst>
              <a:path w="8244" h="8881">
                <a:moveTo>
                  <a:pt x="0" y="0"/>
                </a:moveTo>
                <a:cubicBezTo>
                  <a:pt x="4281" y="206"/>
                  <a:pt x="7754" y="3496"/>
                  <a:pt x="8244" y="7697"/>
                </a:cubicBezTo>
                <a:lnTo>
                  <a:pt x="6769" y="8881"/>
                </a:lnTo>
                <a:lnTo>
                  <a:pt x="5155" y="8019"/>
                </a:lnTo>
                <a:cubicBezTo>
                  <a:pt x="4835" y="5441"/>
                  <a:pt x="2770" y="3405"/>
                  <a:pt x="179" y="3128"/>
                </a:cubicBezTo>
                <a:lnTo>
                  <a:pt x="1110" y="1383"/>
                </a:lnTo>
                <a:lnTo>
                  <a:pt x="0" y="0"/>
                </a:lnTo>
                <a:close/>
              </a:path>
            </a:pathLst>
          </a:custGeom>
          <a:gradFill flip="none" rotWithShape="1">
            <a:gsLst>
              <a:gs pos="73000">
                <a:schemeClr val="accent1"/>
              </a:gs>
              <a:gs pos="31000">
                <a:schemeClr val="accent1">
                  <a:lumMod val="60000"/>
                  <a:lumOff val="40000"/>
                </a:schemeClr>
              </a:gs>
              <a:gs pos="0">
                <a:schemeClr val="accent1">
                  <a:lumMod val="40000"/>
                  <a:lumOff val="60000"/>
                </a:schemeClr>
              </a:gs>
            </a:gsLst>
            <a:lin ang="1620000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Black"/>
              <a:ea typeface="+mj-ea"/>
              <a:cs typeface="+mn-cs"/>
            </a:endParaRPr>
          </a:p>
        </p:txBody>
      </p:sp>
      <p:sp>
        <p:nvSpPr>
          <p:cNvPr id="11" name="Rectangle 21">
            <a:extLst>
              <a:ext uri="{FF2B5EF4-FFF2-40B4-BE49-F238E27FC236}">
                <a16:creationId xmlns:a16="http://schemas.microsoft.com/office/drawing/2014/main" id="{A903D64E-905D-4C7E-9C62-C082ADE7CF67}"/>
              </a:ext>
            </a:extLst>
          </p:cNvPr>
          <p:cNvSpPr/>
          <p:nvPr/>
        </p:nvSpPr>
        <p:spPr>
          <a:xfrm>
            <a:off x="4862136" y="4618703"/>
            <a:ext cx="466794" cy="420051"/>
          </a:xfrm>
          <a:prstGeom prst="rect">
            <a:avLst/>
          </a:prstGeom>
        </p:spPr>
        <p:txBody>
          <a:bodyPr wrap="none">
            <a:spAutoFit/>
          </a:bodyPr>
          <a:lstStyle/>
          <a:p>
            <a:pPr marL="0" marR="0" lvl="0" indent="0" algn="ctr" defTabSz="457200" rtl="0" eaLnBrk="1" fontAlgn="base" latinLnBrk="0" hangingPunct="1">
              <a:lnSpc>
                <a:spcPct val="130000"/>
              </a:lnSpc>
              <a:spcBef>
                <a:spcPts val="1000"/>
              </a:spcBef>
              <a:spcAft>
                <a:spcPts val="0"/>
              </a:spcAft>
              <a:buClrTx/>
              <a:buSzTx/>
              <a:buFontTx/>
              <a:buNone/>
              <a:tabLst/>
              <a:defRPr/>
            </a:pPr>
            <a:r>
              <a:rPr kumimoji="0" lang="mn-MN" sz="1800" b="1" i="0" u="none" strike="noStrike" kern="1200" cap="none" spc="0" normalizeH="0" baseline="0" noProof="0" dirty="0">
                <a:ln>
                  <a:noFill/>
                </a:ln>
                <a:solidFill>
                  <a:srgbClr val="FFFFFF"/>
                </a:solidFill>
                <a:effectLst/>
                <a:uLnTx/>
                <a:uFillTx/>
                <a:latin typeface="HarmonyOS Sans SC Black"/>
                <a:ea typeface="+mj-ea"/>
                <a:cs typeface="+mn-cs"/>
              </a:rPr>
              <a:t>01</a:t>
            </a:r>
            <a:endParaRPr kumimoji="0" lang="en-US" sz="1800" b="1" i="0" u="none" strike="noStrike" kern="1200" cap="none" spc="0" normalizeH="0" baseline="0" noProof="0" dirty="0">
              <a:ln>
                <a:noFill/>
              </a:ln>
              <a:solidFill>
                <a:srgbClr val="FFFFFF"/>
              </a:solidFill>
              <a:effectLst/>
              <a:uLnTx/>
              <a:uFillTx/>
              <a:latin typeface="HarmonyOS Sans SC Black"/>
              <a:ea typeface="+mj-ea"/>
              <a:cs typeface="+mn-cs"/>
            </a:endParaRPr>
          </a:p>
        </p:txBody>
      </p:sp>
      <p:sp>
        <p:nvSpPr>
          <p:cNvPr id="12" name="Rectangle 22">
            <a:extLst>
              <a:ext uri="{FF2B5EF4-FFF2-40B4-BE49-F238E27FC236}">
                <a16:creationId xmlns:a16="http://schemas.microsoft.com/office/drawing/2014/main" id="{CDB9B75A-976B-429B-95E7-872EB50006CD}"/>
              </a:ext>
            </a:extLst>
          </p:cNvPr>
          <p:cNvSpPr/>
          <p:nvPr/>
        </p:nvSpPr>
        <p:spPr>
          <a:xfrm>
            <a:off x="4932660" y="2844738"/>
            <a:ext cx="466794" cy="420051"/>
          </a:xfrm>
          <a:prstGeom prst="rect">
            <a:avLst/>
          </a:prstGeom>
        </p:spPr>
        <p:txBody>
          <a:bodyPr wrap="none">
            <a:spAutoFit/>
          </a:bodyPr>
          <a:lstStyle/>
          <a:p>
            <a:pPr marL="0" marR="0" lvl="0" indent="0" algn="ctr" defTabSz="457200" rtl="0" eaLnBrk="1" fontAlgn="base" latinLnBrk="0" hangingPunct="1">
              <a:lnSpc>
                <a:spcPct val="130000"/>
              </a:lnSpc>
              <a:spcBef>
                <a:spcPts val="100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HarmonyOS Sans SC Black"/>
                <a:ea typeface="+mj-ea"/>
                <a:cs typeface="+mn-cs"/>
              </a:rPr>
              <a:t>02</a:t>
            </a:r>
          </a:p>
        </p:txBody>
      </p:sp>
      <p:sp>
        <p:nvSpPr>
          <p:cNvPr id="13" name="Rectangle 23">
            <a:extLst>
              <a:ext uri="{FF2B5EF4-FFF2-40B4-BE49-F238E27FC236}">
                <a16:creationId xmlns:a16="http://schemas.microsoft.com/office/drawing/2014/main" id="{73920843-A5F3-4E85-B0EC-DEE1344DA63C}"/>
              </a:ext>
            </a:extLst>
          </p:cNvPr>
          <p:cNvSpPr/>
          <p:nvPr/>
        </p:nvSpPr>
        <p:spPr>
          <a:xfrm>
            <a:off x="6763400" y="4712735"/>
            <a:ext cx="466794" cy="420051"/>
          </a:xfrm>
          <a:prstGeom prst="rect">
            <a:avLst/>
          </a:prstGeom>
        </p:spPr>
        <p:txBody>
          <a:bodyPr wrap="none">
            <a:spAutoFit/>
          </a:bodyPr>
          <a:lstStyle/>
          <a:p>
            <a:pPr marL="0" marR="0" lvl="0" indent="0" algn="ctr" defTabSz="457200" rtl="0" eaLnBrk="1" fontAlgn="base" latinLnBrk="0" hangingPunct="1">
              <a:lnSpc>
                <a:spcPct val="130000"/>
              </a:lnSpc>
              <a:spcBef>
                <a:spcPts val="100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HarmonyOS Sans SC Black"/>
                <a:ea typeface="+mj-ea"/>
                <a:cs typeface="+mn-cs"/>
              </a:rPr>
              <a:t>04</a:t>
            </a:r>
          </a:p>
        </p:txBody>
      </p:sp>
      <p:sp>
        <p:nvSpPr>
          <p:cNvPr id="14" name="Rectangle 24">
            <a:extLst>
              <a:ext uri="{FF2B5EF4-FFF2-40B4-BE49-F238E27FC236}">
                <a16:creationId xmlns:a16="http://schemas.microsoft.com/office/drawing/2014/main" id="{FAA01339-DD8E-47D1-8A5E-050A4846F0C9}"/>
              </a:ext>
            </a:extLst>
          </p:cNvPr>
          <p:cNvSpPr/>
          <p:nvPr/>
        </p:nvSpPr>
        <p:spPr>
          <a:xfrm>
            <a:off x="6822170" y="2868246"/>
            <a:ext cx="466794" cy="420051"/>
          </a:xfrm>
          <a:prstGeom prst="rect">
            <a:avLst/>
          </a:prstGeom>
        </p:spPr>
        <p:txBody>
          <a:bodyPr wrap="none">
            <a:spAutoFit/>
          </a:bodyPr>
          <a:lstStyle/>
          <a:p>
            <a:pPr marL="0" marR="0" lvl="0" indent="0" algn="ctr" defTabSz="457200" rtl="0" eaLnBrk="1" fontAlgn="base" latinLnBrk="0" hangingPunct="1">
              <a:lnSpc>
                <a:spcPct val="130000"/>
              </a:lnSpc>
              <a:spcBef>
                <a:spcPts val="100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HarmonyOS Sans SC Black"/>
                <a:ea typeface="+mj-ea"/>
                <a:cs typeface="+mn-cs"/>
              </a:rPr>
              <a:t>03</a:t>
            </a:r>
          </a:p>
        </p:txBody>
      </p:sp>
      <p:sp>
        <p:nvSpPr>
          <p:cNvPr id="15" name="Rectangle 25">
            <a:extLst>
              <a:ext uri="{FF2B5EF4-FFF2-40B4-BE49-F238E27FC236}">
                <a16:creationId xmlns:a16="http://schemas.microsoft.com/office/drawing/2014/main" id="{62B6A14D-5888-4698-9233-6E2FC2FE68DC}"/>
              </a:ext>
            </a:extLst>
          </p:cNvPr>
          <p:cNvSpPr/>
          <p:nvPr/>
        </p:nvSpPr>
        <p:spPr>
          <a:xfrm>
            <a:off x="5277326" y="3633725"/>
            <a:ext cx="1637349" cy="661720"/>
          </a:xfrm>
          <a:prstGeom prst="rect">
            <a:avLst/>
          </a:prstGeom>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500" b="1" i="0" u="none" strike="noStrike" kern="1200" cap="none" spc="0" normalizeH="0" baseline="0" noProof="0" dirty="0">
                <a:ln>
                  <a:noFill/>
                </a:ln>
                <a:solidFill>
                  <a:prstClr val="black">
                    <a:lumMod val="75000"/>
                    <a:lumOff val="25000"/>
                  </a:prstClr>
                </a:solidFill>
                <a:effectLst/>
                <a:uLnTx/>
                <a:uFillTx/>
                <a:latin typeface="HarmonyOS Sans SC Black"/>
                <a:ea typeface="+mj-ea"/>
                <a:cs typeface="+mn-cs"/>
              </a:rPr>
              <a:t>4 STEP</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75000"/>
                    <a:lumOff val="25000"/>
                  </a:prstClr>
                </a:solidFill>
                <a:effectLst/>
                <a:uLnTx/>
                <a:uFillTx/>
                <a:latin typeface="HarmonyOS Sans SC Black"/>
                <a:ea typeface="+mj-ea"/>
                <a:cs typeface="+mn-cs"/>
              </a:rPr>
              <a:t>INFOGRAPHIC</a:t>
            </a:r>
          </a:p>
        </p:txBody>
      </p:sp>
      <p:sp>
        <p:nvSpPr>
          <p:cNvPr id="16" name="文本框 15">
            <a:extLst>
              <a:ext uri="{FF2B5EF4-FFF2-40B4-BE49-F238E27FC236}">
                <a16:creationId xmlns:a16="http://schemas.microsoft.com/office/drawing/2014/main" id="{3DD2E80F-5D25-4C34-BEF2-2DB11EB5FF0E}"/>
              </a:ext>
            </a:extLst>
          </p:cNvPr>
          <p:cNvSpPr txBox="1"/>
          <p:nvPr/>
        </p:nvSpPr>
        <p:spPr>
          <a:xfrm>
            <a:off x="4278837" y="918105"/>
            <a:ext cx="3634328" cy="52322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2800" b="0" i="0" u="none" strike="noStrike" kern="1200" cap="none" spc="0" normalizeH="0" baseline="0" noProof="0" dirty="0">
                <a:ln>
                  <a:noFill/>
                </a:ln>
                <a:solidFill>
                  <a:prstClr val="black"/>
                </a:solidFill>
                <a:effectLst/>
                <a:uLnTx/>
                <a:uFillTx/>
                <a:latin typeface="HarmonyOS Sans Black"/>
                <a:ea typeface="+mj-ea"/>
                <a:cs typeface="+mn-cs"/>
              </a:rPr>
              <a:t>Process </a:t>
            </a:r>
            <a:r>
              <a:rPr kumimoji="0" lang="en-US" altLang="zh-CN" sz="2800" b="0" i="0" u="none" strike="noStrike" kern="1200" cap="none" spc="0" normalizeH="0" baseline="0" noProof="0" dirty="0">
                <a:ln>
                  <a:noFill/>
                </a:ln>
                <a:solidFill>
                  <a:schemeClr val="accent1"/>
                </a:solidFill>
                <a:effectLst/>
                <a:uLnTx/>
                <a:uFillTx/>
                <a:latin typeface="HarmonyOS Sans Black"/>
                <a:ea typeface="+mj-ea"/>
                <a:cs typeface="+mn-cs"/>
              </a:rPr>
              <a:t>infographic</a:t>
            </a:r>
          </a:p>
        </p:txBody>
      </p:sp>
      <p:grpSp>
        <p:nvGrpSpPr>
          <p:cNvPr id="29" name="组合 28">
            <a:extLst>
              <a:ext uri="{FF2B5EF4-FFF2-40B4-BE49-F238E27FC236}">
                <a16:creationId xmlns:a16="http://schemas.microsoft.com/office/drawing/2014/main" id="{75B554C5-131C-4D35-8A66-9C3BBBE5F6F4}"/>
              </a:ext>
            </a:extLst>
          </p:cNvPr>
          <p:cNvGrpSpPr/>
          <p:nvPr/>
        </p:nvGrpSpPr>
        <p:grpSpPr>
          <a:xfrm>
            <a:off x="976987" y="2692095"/>
            <a:ext cx="2668622" cy="2787957"/>
            <a:chOff x="976987" y="2692095"/>
            <a:chExt cx="2668622" cy="2787957"/>
          </a:xfrm>
        </p:grpSpPr>
        <p:grpSp>
          <p:nvGrpSpPr>
            <p:cNvPr id="18" name="组合 17">
              <a:extLst>
                <a:ext uri="{FF2B5EF4-FFF2-40B4-BE49-F238E27FC236}">
                  <a16:creationId xmlns:a16="http://schemas.microsoft.com/office/drawing/2014/main" id="{842D68FE-22EE-4508-A5F8-17B30220F3A1}"/>
                </a:ext>
              </a:extLst>
            </p:cNvPr>
            <p:cNvGrpSpPr/>
            <p:nvPr/>
          </p:nvGrpSpPr>
          <p:grpSpPr>
            <a:xfrm>
              <a:off x="976987" y="2692095"/>
              <a:ext cx="2668622" cy="881603"/>
              <a:chOff x="976987" y="2692095"/>
              <a:chExt cx="2668622" cy="881603"/>
            </a:xfrm>
          </p:grpSpPr>
          <p:sp>
            <p:nvSpPr>
              <p:cNvPr id="19" name="TextBox 65">
                <a:extLst>
                  <a:ext uri="{FF2B5EF4-FFF2-40B4-BE49-F238E27FC236}">
                    <a16:creationId xmlns:a16="http://schemas.microsoft.com/office/drawing/2014/main" id="{BACD7755-0B15-4892-AA52-1B368C41CD01}"/>
                  </a:ext>
                </a:extLst>
              </p:cNvPr>
              <p:cNvSpPr txBox="1"/>
              <p:nvPr/>
            </p:nvSpPr>
            <p:spPr>
              <a:xfrm>
                <a:off x="1589348" y="2692095"/>
                <a:ext cx="2056261" cy="387598"/>
              </a:xfrm>
              <a:prstGeom prst="rect">
                <a:avLst/>
              </a:prstGeom>
              <a:noFill/>
            </p:spPr>
            <p:txBody>
              <a:bodyPr wrap="square" lIns="0" tIns="36000" rIns="0" bIns="36000" rtlCol="0">
                <a:spAutoFit/>
              </a:bodyPr>
              <a:lstStyle/>
              <a:p>
                <a:pPr marL="0" marR="0" lvl="0" indent="0" algn="r" defTabSz="914400" rtl="0" eaLnBrk="1" fontAlgn="auto" latinLnBrk="0" hangingPunct="1">
                  <a:lnSpc>
                    <a:spcPct val="120000"/>
                  </a:lnSpc>
                  <a:spcBef>
                    <a:spcPts val="600"/>
                  </a:spcBef>
                  <a:spcAft>
                    <a:spcPts val="0"/>
                  </a:spcAft>
                  <a:buClrTx/>
                  <a:buSzTx/>
                  <a:buFontTx/>
                  <a:buNone/>
                  <a:tabLst/>
                  <a:defRPr/>
                </a:pPr>
                <a:r>
                  <a:rPr kumimoji="0" lang="zh-CN" altLang="en-US" sz="1800" b="0" i="0" u="none" strike="noStrike" kern="1200" cap="none" spc="0" normalizeH="0" baseline="0" noProof="0" dirty="0">
                    <a:ln>
                      <a:noFill/>
                    </a:ln>
                    <a:solidFill>
                      <a:schemeClr val="accent1"/>
                    </a:solidFill>
                    <a:effectLst/>
                    <a:uLnTx/>
                    <a:uFillTx/>
                    <a:latin typeface="HarmonyOS Sans SC Black"/>
                    <a:ea typeface="+mj-ea"/>
                    <a:cs typeface="+mn-cs"/>
                  </a:rPr>
                  <a:t>关键词标题</a:t>
                </a:r>
                <a:endParaRPr kumimoji="0" lang="en-US" sz="1800" b="0" i="0" u="none" strike="noStrike" kern="1200" cap="none" spc="0" normalizeH="0" baseline="0" noProof="0" dirty="0">
                  <a:ln>
                    <a:noFill/>
                  </a:ln>
                  <a:solidFill>
                    <a:schemeClr val="accent1"/>
                  </a:solidFill>
                  <a:effectLst/>
                  <a:uLnTx/>
                  <a:uFillTx/>
                  <a:latin typeface="HarmonyOS Sans SC Black"/>
                  <a:ea typeface="+mj-ea"/>
                  <a:cs typeface="+mn-cs"/>
                </a:endParaRPr>
              </a:p>
            </p:txBody>
          </p:sp>
          <p:sp>
            <p:nvSpPr>
              <p:cNvPr id="20" name="TextBox 65">
                <a:extLst>
                  <a:ext uri="{FF2B5EF4-FFF2-40B4-BE49-F238E27FC236}">
                    <a16:creationId xmlns:a16="http://schemas.microsoft.com/office/drawing/2014/main" id="{569EDA96-B739-4562-898E-DD73DC737E0C}"/>
                  </a:ext>
                </a:extLst>
              </p:cNvPr>
              <p:cNvSpPr txBox="1"/>
              <p:nvPr/>
            </p:nvSpPr>
            <p:spPr>
              <a:xfrm>
                <a:off x="976987" y="3075494"/>
                <a:ext cx="2668622" cy="498204"/>
              </a:xfrm>
              <a:prstGeom prst="rect">
                <a:avLst/>
              </a:prstGeom>
              <a:noFill/>
            </p:spPr>
            <p:txBody>
              <a:bodyPr wrap="square" lIns="0" tIns="36000" rIns="0" bIns="36000" rtlCol="0">
                <a:spAutoFit/>
              </a:bodyPr>
              <a:lstStyle/>
              <a:p>
                <a:pPr marL="0" marR="0" lvl="0" indent="0" algn="r" defTabSz="914400" rtl="0" eaLnBrk="1" fontAlgn="auto" latinLnBrk="0" hangingPunct="1">
                  <a:lnSpc>
                    <a:spcPct val="120000"/>
                  </a:lnSpc>
                  <a:spcBef>
                    <a:spcPts val="600"/>
                  </a:spcBef>
                  <a:spcAft>
                    <a:spcPts val="0"/>
                  </a:spcAft>
                  <a:buClrTx/>
                  <a:buSzTx/>
                  <a:buFontTx/>
                  <a:buNone/>
                  <a:tabLst/>
                  <a:defRPr/>
                </a:pPr>
                <a:r>
                  <a:rPr kumimoji="0" lang="en-US" sz="1200" b="0" i="0" u="none" strike="noStrike" kern="1200" cap="none" spc="0" normalizeH="0" baseline="0" noProof="0" dirty="0">
                    <a:ln>
                      <a:noFill/>
                    </a:ln>
                    <a:solidFill>
                      <a:prstClr val="black">
                        <a:lumMod val="50000"/>
                        <a:lumOff val="50000"/>
                      </a:prstClr>
                    </a:solidFill>
                    <a:effectLst/>
                    <a:uLnTx/>
                    <a:uFillTx/>
                    <a:latin typeface="HarmonyOS Sans SC"/>
                    <a:cs typeface="+mn-cs"/>
                  </a:rPr>
                  <a:t>Apparently we had reached a great height in the.</a:t>
                </a:r>
              </a:p>
            </p:txBody>
          </p:sp>
        </p:grpSp>
        <p:sp>
          <p:nvSpPr>
            <p:cNvPr id="21" name="TextBox 65">
              <a:extLst>
                <a:ext uri="{FF2B5EF4-FFF2-40B4-BE49-F238E27FC236}">
                  <a16:creationId xmlns:a16="http://schemas.microsoft.com/office/drawing/2014/main" id="{9A5B403F-0DF9-4025-9CD5-CB7C06CAC73A}"/>
                </a:ext>
              </a:extLst>
            </p:cNvPr>
            <p:cNvSpPr txBox="1"/>
            <p:nvPr/>
          </p:nvSpPr>
          <p:spPr>
            <a:xfrm>
              <a:off x="1589348" y="4598449"/>
              <a:ext cx="2056261" cy="387598"/>
            </a:xfrm>
            <a:prstGeom prst="rect">
              <a:avLst/>
            </a:prstGeom>
            <a:noFill/>
          </p:spPr>
          <p:txBody>
            <a:bodyPr wrap="square" lIns="0" tIns="36000" rIns="0" bIns="36000" rtlCol="0">
              <a:spAutoFit/>
            </a:bodyPr>
            <a:lstStyle/>
            <a:p>
              <a:pPr marL="0" marR="0" lvl="0" indent="0" algn="r" defTabSz="914400" rtl="0" eaLnBrk="1" fontAlgn="auto" latinLnBrk="0" hangingPunct="1">
                <a:lnSpc>
                  <a:spcPct val="120000"/>
                </a:lnSpc>
                <a:spcBef>
                  <a:spcPts val="600"/>
                </a:spcBef>
                <a:spcAft>
                  <a:spcPts val="0"/>
                </a:spcAft>
                <a:buClrTx/>
                <a:buSzTx/>
                <a:buFontTx/>
                <a:buNone/>
                <a:tabLst/>
                <a:defRPr/>
              </a:pPr>
              <a:r>
                <a:rPr kumimoji="0" lang="zh-CN" altLang="en-US" sz="1800" b="0" i="0" u="none" strike="noStrike" kern="1200" cap="none" spc="0" normalizeH="0" baseline="0" noProof="0" dirty="0">
                  <a:ln>
                    <a:noFill/>
                  </a:ln>
                  <a:solidFill>
                    <a:schemeClr val="accent1"/>
                  </a:solidFill>
                  <a:effectLst/>
                  <a:uLnTx/>
                  <a:uFillTx/>
                  <a:latin typeface="HarmonyOS Sans SC Black"/>
                  <a:ea typeface="+mj-ea"/>
                  <a:cs typeface="+mn-cs"/>
                </a:rPr>
                <a:t>关键词标题</a:t>
              </a:r>
              <a:endParaRPr kumimoji="0" lang="en-US" sz="1800" b="0" i="0" u="none" strike="noStrike" kern="1200" cap="none" spc="0" normalizeH="0" baseline="0" noProof="0" dirty="0">
                <a:ln>
                  <a:noFill/>
                </a:ln>
                <a:solidFill>
                  <a:schemeClr val="accent1"/>
                </a:solidFill>
                <a:effectLst/>
                <a:uLnTx/>
                <a:uFillTx/>
                <a:latin typeface="HarmonyOS Sans SC Black"/>
                <a:ea typeface="+mj-ea"/>
                <a:cs typeface="+mn-cs"/>
              </a:endParaRPr>
            </a:p>
          </p:txBody>
        </p:sp>
        <p:sp>
          <p:nvSpPr>
            <p:cNvPr id="22" name="TextBox 65">
              <a:extLst>
                <a:ext uri="{FF2B5EF4-FFF2-40B4-BE49-F238E27FC236}">
                  <a16:creationId xmlns:a16="http://schemas.microsoft.com/office/drawing/2014/main" id="{099AD86E-93DF-4323-8F16-197FDCFA1E86}"/>
                </a:ext>
              </a:extLst>
            </p:cNvPr>
            <p:cNvSpPr txBox="1"/>
            <p:nvPr/>
          </p:nvSpPr>
          <p:spPr>
            <a:xfrm>
              <a:off x="976987" y="4981848"/>
              <a:ext cx="2668622" cy="498204"/>
            </a:xfrm>
            <a:prstGeom prst="rect">
              <a:avLst/>
            </a:prstGeom>
            <a:noFill/>
          </p:spPr>
          <p:txBody>
            <a:bodyPr wrap="square" lIns="0" tIns="36000" rIns="0" bIns="36000" rtlCol="0">
              <a:spAutoFit/>
            </a:bodyPr>
            <a:lstStyle/>
            <a:p>
              <a:pPr marL="0" marR="0" lvl="0" indent="0" algn="r" defTabSz="914400" rtl="0" eaLnBrk="1" fontAlgn="auto" latinLnBrk="0" hangingPunct="1">
                <a:lnSpc>
                  <a:spcPct val="120000"/>
                </a:lnSpc>
                <a:spcBef>
                  <a:spcPts val="600"/>
                </a:spcBef>
                <a:spcAft>
                  <a:spcPts val="0"/>
                </a:spcAft>
                <a:buClrTx/>
                <a:buSzTx/>
                <a:buFontTx/>
                <a:buNone/>
                <a:tabLst/>
                <a:defRPr/>
              </a:pPr>
              <a:r>
                <a:rPr kumimoji="0" lang="en-US" sz="1200" b="0" i="0" u="none" strike="noStrike" kern="1200" cap="none" spc="0" normalizeH="0" baseline="0" noProof="0" dirty="0">
                  <a:ln>
                    <a:noFill/>
                  </a:ln>
                  <a:solidFill>
                    <a:prstClr val="black">
                      <a:lumMod val="50000"/>
                      <a:lumOff val="50000"/>
                    </a:prstClr>
                  </a:solidFill>
                  <a:effectLst/>
                  <a:uLnTx/>
                  <a:uFillTx/>
                  <a:latin typeface="HarmonyOS Sans SC"/>
                  <a:cs typeface="+mn-cs"/>
                </a:rPr>
                <a:t>Apparently we had reached a great height in the.</a:t>
              </a:r>
            </a:p>
          </p:txBody>
        </p:sp>
      </p:grpSp>
      <p:grpSp>
        <p:nvGrpSpPr>
          <p:cNvPr id="30" name="组合 29">
            <a:extLst>
              <a:ext uri="{FF2B5EF4-FFF2-40B4-BE49-F238E27FC236}">
                <a16:creationId xmlns:a16="http://schemas.microsoft.com/office/drawing/2014/main" id="{56143ED6-2FBB-49C2-8C19-0083552875AC}"/>
              </a:ext>
            </a:extLst>
          </p:cNvPr>
          <p:cNvGrpSpPr/>
          <p:nvPr/>
        </p:nvGrpSpPr>
        <p:grpSpPr>
          <a:xfrm>
            <a:off x="8546391" y="2692095"/>
            <a:ext cx="2668622" cy="2787957"/>
            <a:chOff x="8546391" y="2692095"/>
            <a:chExt cx="2668622" cy="2787957"/>
          </a:xfrm>
        </p:grpSpPr>
        <p:grpSp>
          <p:nvGrpSpPr>
            <p:cNvPr id="23" name="组合 22">
              <a:extLst>
                <a:ext uri="{FF2B5EF4-FFF2-40B4-BE49-F238E27FC236}">
                  <a16:creationId xmlns:a16="http://schemas.microsoft.com/office/drawing/2014/main" id="{28790787-12B3-4739-81BF-D1F42B07D786}"/>
                </a:ext>
              </a:extLst>
            </p:cNvPr>
            <p:cNvGrpSpPr/>
            <p:nvPr/>
          </p:nvGrpSpPr>
          <p:grpSpPr>
            <a:xfrm>
              <a:off x="8546391" y="2692095"/>
              <a:ext cx="2668622" cy="881603"/>
              <a:chOff x="8546391" y="2692095"/>
              <a:chExt cx="2668622" cy="881603"/>
            </a:xfrm>
          </p:grpSpPr>
          <p:sp>
            <p:nvSpPr>
              <p:cNvPr id="24" name="TextBox 65">
                <a:extLst>
                  <a:ext uri="{FF2B5EF4-FFF2-40B4-BE49-F238E27FC236}">
                    <a16:creationId xmlns:a16="http://schemas.microsoft.com/office/drawing/2014/main" id="{63742B32-A3CB-4245-A7A7-12FFE07FAFEB}"/>
                  </a:ext>
                </a:extLst>
              </p:cNvPr>
              <p:cNvSpPr txBox="1"/>
              <p:nvPr/>
            </p:nvSpPr>
            <p:spPr>
              <a:xfrm flipH="1">
                <a:off x="8546391" y="2692095"/>
                <a:ext cx="2056261" cy="387598"/>
              </a:xfrm>
              <a:prstGeom prst="rect">
                <a:avLst/>
              </a:prstGeom>
              <a:noFill/>
            </p:spPr>
            <p:txBody>
              <a:bodyPr wrap="square" lIns="0" tIns="36000" rIns="0" bIns="36000" rtlCol="0">
                <a:spAutoFit/>
              </a:bodyPr>
              <a:lstStyle/>
              <a:p>
                <a:pPr marL="0" marR="0" lvl="0" indent="0" algn="l" defTabSz="914400" rtl="0" eaLnBrk="1" fontAlgn="auto" latinLnBrk="0" hangingPunct="1">
                  <a:lnSpc>
                    <a:spcPct val="120000"/>
                  </a:lnSpc>
                  <a:spcBef>
                    <a:spcPts val="600"/>
                  </a:spcBef>
                  <a:spcAft>
                    <a:spcPts val="0"/>
                  </a:spcAft>
                  <a:buClrTx/>
                  <a:buSzTx/>
                  <a:buFontTx/>
                  <a:buNone/>
                  <a:tabLst/>
                  <a:defRPr/>
                </a:pPr>
                <a:r>
                  <a:rPr kumimoji="0" lang="zh-CN" altLang="en-US" sz="1800" b="0" i="0" u="none" strike="noStrike" kern="1200" cap="none" spc="0" normalizeH="0" baseline="0" noProof="0" dirty="0">
                    <a:ln>
                      <a:noFill/>
                    </a:ln>
                    <a:solidFill>
                      <a:schemeClr val="accent1"/>
                    </a:solidFill>
                    <a:effectLst/>
                    <a:uLnTx/>
                    <a:uFillTx/>
                    <a:latin typeface="HarmonyOS Sans SC Black"/>
                    <a:ea typeface="+mj-ea"/>
                    <a:cs typeface="+mn-cs"/>
                  </a:rPr>
                  <a:t>关键词标题</a:t>
                </a:r>
                <a:endParaRPr kumimoji="0" lang="en-US" sz="1800" b="0" i="0" u="none" strike="noStrike" kern="1200" cap="none" spc="0" normalizeH="0" baseline="0" noProof="0" dirty="0">
                  <a:ln>
                    <a:noFill/>
                  </a:ln>
                  <a:solidFill>
                    <a:schemeClr val="accent1"/>
                  </a:solidFill>
                  <a:effectLst/>
                  <a:uLnTx/>
                  <a:uFillTx/>
                  <a:latin typeface="HarmonyOS Sans SC Black"/>
                  <a:ea typeface="+mj-ea"/>
                  <a:cs typeface="+mn-cs"/>
                </a:endParaRPr>
              </a:p>
            </p:txBody>
          </p:sp>
          <p:sp>
            <p:nvSpPr>
              <p:cNvPr id="25" name="TextBox 65">
                <a:extLst>
                  <a:ext uri="{FF2B5EF4-FFF2-40B4-BE49-F238E27FC236}">
                    <a16:creationId xmlns:a16="http://schemas.microsoft.com/office/drawing/2014/main" id="{0426B143-8137-4A09-BD21-718CB96D9744}"/>
                  </a:ext>
                </a:extLst>
              </p:cNvPr>
              <p:cNvSpPr txBox="1"/>
              <p:nvPr/>
            </p:nvSpPr>
            <p:spPr>
              <a:xfrm flipH="1">
                <a:off x="8546391" y="3075494"/>
                <a:ext cx="2668622" cy="498204"/>
              </a:xfrm>
              <a:prstGeom prst="rect">
                <a:avLst/>
              </a:prstGeom>
              <a:noFill/>
            </p:spPr>
            <p:txBody>
              <a:bodyPr wrap="square" lIns="0" tIns="36000" rIns="0" bIns="36000" rtlCol="0">
                <a:spAutoFit/>
              </a:bodyPr>
              <a:lstStyle/>
              <a:p>
                <a:pPr marL="0" marR="0" lvl="0" indent="0" algn="l" defTabSz="914400" rtl="0" eaLnBrk="1" fontAlgn="auto" latinLnBrk="0" hangingPunct="1">
                  <a:lnSpc>
                    <a:spcPct val="120000"/>
                  </a:lnSpc>
                  <a:spcBef>
                    <a:spcPts val="600"/>
                  </a:spcBef>
                  <a:spcAft>
                    <a:spcPts val="0"/>
                  </a:spcAft>
                  <a:buClrTx/>
                  <a:buSzTx/>
                  <a:buFontTx/>
                  <a:buNone/>
                  <a:tabLst/>
                  <a:defRPr/>
                </a:pPr>
                <a:r>
                  <a:rPr kumimoji="0" lang="en-US" sz="1200" b="0" i="0" u="none" strike="noStrike" kern="1200" cap="none" spc="0" normalizeH="0" baseline="0" noProof="0" dirty="0">
                    <a:ln>
                      <a:noFill/>
                    </a:ln>
                    <a:solidFill>
                      <a:prstClr val="black">
                        <a:lumMod val="50000"/>
                        <a:lumOff val="50000"/>
                      </a:prstClr>
                    </a:solidFill>
                    <a:effectLst/>
                    <a:uLnTx/>
                    <a:uFillTx/>
                    <a:latin typeface="HarmonyOS Sans SC"/>
                    <a:cs typeface="+mn-cs"/>
                  </a:rPr>
                  <a:t>Apparently we had reached a great height in the.</a:t>
                </a:r>
              </a:p>
            </p:txBody>
          </p:sp>
        </p:grpSp>
        <p:sp>
          <p:nvSpPr>
            <p:cNvPr id="26" name="TextBox 65">
              <a:extLst>
                <a:ext uri="{FF2B5EF4-FFF2-40B4-BE49-F238E27FC236}">
                  <a16:creationId xmlns:a16="http://schemas.microsoft.com/office/drawing/2014/main" id="{75D51B94-B054-4E17-B00B-7AC64ED93656}"/>
                </a:ext>
              </a:extLst>
            </p:cNvPr>
            <p:cNvSpPr txBox="1"/>
            <p:nvPr/>
          </p:nvSpPr>
          <p:spPr>
            <a:xfrm flipH="1">
              <a:off x="8546391" y="4598449"/>
              <a:ext cx="2056261" cy="387598"/>
            </a:xfrm>
            <a:prstGeom prst="rect">
              <a:avLst/>
            </a:prstGeom>
            <a:noFill/>
          </p:spPr>
          <p:txBody>
            <a:bodyPr wrap="square" lIns="0" tIns="36000" rIns="0" bIns="36000" rtlCol="0">
              <a:spAutoFit/>
            </a:bodyPr>
            <a:lstStyle/>
            <a:p>
              <a:pPr marL="0" marR="0" lvl="0" indent="0" algn="l" defTabSz="914400" rtl="0" eaLnBrk="1" fontAlgn="auto" latinLnBrk="0" hangingPunct="1">
                <a:lnSpc>
                  <a:spcPct val="120000"/>
                </a:lnSpc>
                <a:spcBef>
                  <a:spcPts val="600"/>
                </a:spcBef>
                <a:spcAft>
                  <a:spcPts val="0"/>
                </a:spcAft>
                <a:buClrTx/>
                <a:buSzTx/>
                <a:buFontTx/>
                <a:buNone/>
                <a:tabLst/>
                <a:defRPr/>
              </a:pPr>
              <a:r>
                <a:rPr kumimoji="0" lang="zh-CN" altLang="en-US" sz="1800" b="0" i="0" u="none" strike="noStrike" kern="1200" cap="none" spc="0" normalizeH="0" baseline="0" noProof="0" dirty="0">
                  <a:ln>
                    <a:noFill/>
                  </a:ln>
                  <a:solidFill>
                    <a:schemeClr val="accent1"/>
                  </a:solidFill>
                  <a:effectLst/>
                  <a:uLnTx/>
                  <a:uFillTx/>
                  <a:latin typeface="HarmonyOS Sans SC Black"/>
                  <a:ea typeface="+mj-ea"/>
                  <a:cs typeface="+mn-cs"/>
                </a:rPr>
                <a:t>关键词标题</a:t>
              </a:r>
              <a:endParaRPr kumimoji="0" lang="en-US" sz="1800" b="0" i="0" u="none" strike="noStrike" kern="1200" cap="none" spc="0" normalizeH="0" baseline="0" noProof="0" dirty="0">
                <a:ln>
                  <a:noFill/>
                </a:ln>
                <a:solidFill>
                  <a:schemeClr val="accent1"/>
                </a:solidFill>
                <a:effectLst/>
                <a:uLnTx/>
                <a:uFillTx/>
                <a:latin typeface="HarmonyOS Sans SC Black"/>
                <a:ea typeface="+mj-ea"/>
                <a:cs typeface="+mn-cs"/>
              </a:endParaRPr>
            </a:p>
          </p:txBody>
        </p:sp>
        <p:sp>
          <p:nvSpPr>
            <p:cNvPr id="27" name="TextBox 65">
              <a:extLst>
                <a:ext uri="{FF2B5EF4-FFF2-40B4-BE49-F238E27FC236}">
                  <a16:creationId xmlns:a16="http://schemas.microsoft.com/office/drawing/2014/main" id="{8E80678F-7173-4842-9D15-D749B6CAB4B3}"/>
                </a:ext>
              </a:extLst>
            </p:cNvPr>
            <p:cNvSpPr txBox="1"/>
            <p:nvPr/>
          </p:nvSpPr>
          <p:spPr>
            <a:xfrm flipH="1">
              <a:off x="8546391" y="4981848"/>
              <a:ext cx="2668622" cy="498204"/>
            </a:xfrm>
            <a:prstGeom prst="rect">
              <a:avLst/>
            </a:prstGeom>
            <a:noFill/>
          </p:spPr>
          <p:txBody>
            <a:bodyPr wrap="square" lIns="0" tIns="36000" rIns="0" bIns="36000" rtlCol="0">
              <a:spAutoFit/>
            </a:bodyPr>
            <a:lstStyle/>
            <a:p>
              <a:pPr marL="0" marR="0" lvl="0" indent="0" algn="l" defTabSz="914400" rtl="0" eaLnBrk="1" fontAlgn="auto" latinLnBrk="0" hangingPunct="1">
                <a:lnSpc>
                  <a:spcPct val="120000"/>
                </a:lnSpc>
                <a:spcBef>
                  <a:spcPts val="600"/>
                </a:spcBef>
                <a:spcAft>
                  <a:spcPts val="0"/>
                </a:spcAft>
                <a:buClrTx/>
                <a:buSzTx/>
                <a:buFontTx/>
                <a:buNone/>
                <a:tabLst/>
                <a:defRPr/>
              </a:pPr>
              <a:r>
                <a:rPr kumimoji="0" lang="en-US" sz="1200" b="0" i="0" u="none" strike="noStrike" kern="1200" cap="none" spc="0" normalizeH="0" baseline="0" noProof="0" dirty="0">
                  <a:ln>
                    <a:noFill/>
                  </a:ln>
                  <a:solidFill>
                    <a:prstClr val="black">
                      <a:lumMod val="50000"/>
                      <a:lumOff val="50000"/>
                    </a:prstClr>
                  </a:solidFill>
                  <a:effectLst/>
                  <a:uLnTx/>
                  <a:uFillTx/>
                  <a:latin typeface="HarmonyOS Sans SC"/>
                  <a:cs typeface="+mn-cs"/>
                </a:rPr>
                <a:t>Apparently we had reached a great height in the.</a:t>
              </a:r>
            </a:p>
          </p:txBody>
        </p:sp>
      </p:grpSp>
    </p:spTree>
    <p:extLst>
      <p:ext uri="{BB962C8B-B14F-4D97-AF65-F5344CB8AC3E}">
        <p14:creationId xmlns:p14="http://schemas.microsoft.com/office/powerpoint/2010/main" val="2755082625"/>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5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任意多边形: 形状 39">
            <a:extLst>
              <a:ext uri="{FF2B5EF4-FFF2-40B4-BE49-F238E27FC236}">
                <a16:creationId xmlns:a16="http://schemas.microsoft.com/office/drawing/2014/main" id="{35815342-2FAC-42FD-AF50-BD50013F28CE}"/>
              </a:ext>
            </a:extLst>
          </p:cNvPr>
          <p:cNvSpPr/>
          <p:nvPr/>
        </p:nvSpPr>
        <p:spPr>
          <a:xfrm>
            <a:off x="4127612" y="2042243"/>
            <a:ext cx="2812753" cy="1438794"/>
          </a:xfrm>
          <a:custGeom>
            <a:avLst/>
            <a:gdLst>
              <a:gd name="connsiteX0" fmla="*/ 497417 w 3128932"/>
              <a:gd name="connsiteY0" fmla="*/ 0 h 1600528"/>
              <a:gd name="connsiteX1" fmla="*/ 2667814 w 3128932"/>
              <a:gd name="connsiteY1" fmla="*/ 0 h 1600528"/>
              <a:gd name="connsiteX2" fmla="*/ 2680452 w 3128932"/>
              <a:gd name="connsiteY2" fmla="*/ 7678 h 1600528"/>
              <a:gd name="connsiteX3" fmla="*/ 3128932 w 3128932"/>
              <a:gd name="connsiteY3" fmla="*/ 851168 h 1600528"/>
              <a:gd name="connsiteX4" fmla="*/ 3128932 w 3128932"/>
              <a:gd name="connsiteY4" fmla="*/ 1159359 h 1600528"/>
              <a:gd name="connsiteX5" fmla="*/ 838023 w 3128932"/>
              <a:gd name="connsiteY5" fmla="*/ 1159359 h 1600528"/>
              <a:gd name="connsiteX6" fmla="*/ 53091 w 3128932"/>
              <a:gd name="connsiteY6" fmla="*/ 1529531 h 1600528"/>
              <a:gd name="connsiteX7" fmla="*/ 0 w 3128932"/>
              <a:gd name="connsiteY7" fmla="*/ 1600528 h 1600528"/>
              <a:gd name="connsiteX8" fmla="*/ 0 w 3128932"/>
              <a:gd name="connsiteY8" fmla="*/ 497417 h 1600528"/>
              <a:gd name="connsiteX9" fmla="*/ 497417 w 3128932"/>
              <a:gd name="connsiteY9" fmla="*/ 0 h 1600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28932" h="1600528">
                <a:moveTo>
                  <a:pt x="497417" y="0"/>
                </a:moveTo>
                <a:lnTo>
                  <a:pt x="2667814" y="0"/>
                </a:lnTo>
                <a:lnTo>
                  <a:pt x="2680452" y="7678"/>
                </a:lnTo>
                <a:cubicBezTo>
                  <a:pt x="2951033" y="190479"/>
                  <a:pt x="3128932" y="500048"/>
                  <a:pt x="3128932" y="851168"/>
                </a:cubicBezTo>
                <a:lnTo>
                  <a:pt x="3128932" y="1159359"/>
                </a:lnTo>
                <a:lnTo>
                  <a:pt x="838023" y="1159359"/>
                </a:lnTo>
                <a:cubicBezTo>
                  <a:pt x="522015" y="1159359"/>
                  <a:pt x="239663" y="1303458"/>
                  <a:pt x="53091" y="1529531"/>
                </a:cubicBezTo>
                <a:lnTo>
                  <a:pt x="0" y="1600528"/>
                </a:lnTo>
                <a:lnTo>
                  <a:pt x="0" y="497417"/>
                </a:lnTo>
                <a:cubicBezTo>
                  <a:pt x="0" y="222701"/>
                  <a:pt x="222701" y="0"/>
                  <a:pt x="497417" y="0"/>
                </a:cubicBezTo>
                <a:close/>
              </a:path>
            </a:pathLst>
          </a:custGeom>
          <a:gradFill flip="none" rotWithShape="1">
            <a:gsLst>
              <a:gs pos="73000">
                <a:schemeClr val="accent1"/>
              </a:gs>
              <a:gs pos="31000">
                <a:schemeClr val="accent1">
                  <a:lumMod val="60000"/>
                  <a:lumOff val="40000"/>
                </a:schemeClr>
              </a:gs>
              <a:gs pos="0">
                <a:schemeClr val="accent1">
                  <a:lumMod val="40000"/>
                  <a:lumOff val="60000"/>
                </a:schemeClr>
              </a:gs>
            </a:gsLst>
            <a:path path="circle">
              <a:fillToRect r="100000" b="100000"/>
            </a:path>
            <a:tileRect l="-100000" t="-100000"/>
          </a:gradFill>
          <a:ln>
            <a:noFill/>
          </a:ln>
          <a:effectLst>
            <a:outerShdw blurRad="444500" dist="317500" dir="5400000" sx="92000" sy="92000" algn="t" rotWithShape="0">
              <a:schemeClr val="accent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HarmonyOS Sans SC"/>
              <a:cs typeface="+mn-cs"/>
            </a:endParaRPr>
          </a:p>
        </p:txBody>
      </p:sp>
      <p:sp>
        <p:nvSpPr>
          <p:cNvPr id="41" name="任意多边形: 形状 40">
            <a:extLst>
              <a:ext uri="{FF2B5EF4-FFF2-40B4-BE49-F238E27FC236}">
                <a16:creationId xmlns:a16="http://schemas.microsoft.com/office/drawing/2014/main" id="{2087F214-3AD9-4806-BA6A-753044CA3838}"/>
              </a:ext>
            </a:extLst>
          </p:cNvPr>
          <p:cNvSpPr/>
          <p:nvPr/>
        </p:nvSpPr>
        <p:spPr>
          <a:xfrm rot="5400000">
            <a:off x="5842571" y="2729222"/>
            <a:ext cx="2812752" cy="1438794"/>
          </a:xfrm>
          <a:custGeom>
            <a:avLst/>
            <a:gdLst>
              <a:gd name="connsiteX0" fmla="*/ 497417 w 3128932"/>
              <a:gd name="connsiteY0" fmla="*/ 0 h 1600528"/>
              <a:gd name="connsiteX1" fmla="*/ 2667814 w 3128932"/>
              <a:gd name="connsiteY1" fmla="*/ 0 h 1600528"/>
              <a:gd name="connsiteX2" fmla="*/ 2680452 w 3128932"/>
              <a:gd name="connsiteY2" fmla="*/ 7678 h 1600528"/>
              <a:gd name="connsiteX3" fmla="*/ 3128932 w 3128932"/>
              <a:gd name="connsiteY3" fmla="*/ 851168 h 1600528"/>
              <a:gd name="connsiteX4" fmla="*/ 3128932 w 3128932"/>
              <a:gd name="connsiteY4" fmla="*/ 1159359 h 1600528"/>
              <a:gd name="connsiteX5" fmla="*/ 838023 w 3128932"/>
              <a:gd name="connsiteY5" fmla="*/ 1159359 h 1600528"/>
              <a:gd name="connsiteX6" fmla="*/ 53091 w 3128932"/>
              <a:gd name="connsiteY6" fmla="*/ 1529531 h 1600528"/>
              <a:gd name="connsiteX7" fmla="*/ 0 w 3128932"/>
              <a:gd name="connsiteY7" fmla="*/ 1600528 h 1600528"/>
              <a:gd name="connsiteX8" fmla="*/ 0 w 3128932"/>
              <a:gd name="connsiteY8" fmla="*/ 497417 h 1600528"/>
              <a:gd name="connsiteX9" fmla="*/ 497417 w 3128932"/>
              <a:gd name="connsiteY9" fmla="*/ 0 h 1600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28932" h="1600528">
                <a:moveTo>
                  <a:pt x="497417" y="0"/>
                </a:moveTo>
                <a:lnTo>
                  <a:pt x="2667814" y="0"/>
                </a:lnTo>
                <a:lnTo>
                  <a:pt x="2680452" y="7678"/>
                </a:lnTo>
                <a:cubicBezTo>
                  <a:pt x="2951033" y="190479"/>
                  <a:pt x="3128932" y="500048"/>
                  <a:pt x="3128932" y="851168"/>
                </a:cubicBezTo>
                <a:lnTo>
                  <a:pt x="3128932" y="1159359"/>
                </a:lnTo>
                <a:lnTo>
                  <a:pt x="838023" y="1159359"/>
                </a:lnTo>
                <a:cubicBezTo>
                  <a:pt x="522015" y="1159359"/>
                  <a:pt x="239663" y="1303458"/>
                  <a:pt x="53091" y="1529531"/>
                </a:cubicBezTo>
                <a:lnTo>
                  <a:pt x="0" y="1600528"/>
                </a:lnTo>
                <a:lnTo>
                  <a:pt x="0" y="497417"/>
                </a:lnTo>
                <a:cubicBezTo>
                  <a:pt x="0" y="222701"/>
                  <a:pt x="222701" y="0"/>
                  <a:pt x="497417" y="0"/>
                </a:cubicBezTo>
                <a:close/>
              </a:path>
            </a:pathLst>
          </a:custGeom>
          <a:gradFill flip="none" rotWithShape="1">
            <a:gsLst>
              <a:gs pos="73000">
                <a:schemeClr val="accent1"/>
              </a:gs>
              <a:gs pos="31000">
                <a:schemeClr val="accent1">
                  <a:lumMod val="60000"/>
                  <a:lumOff val="40000"/>
                </a:schemeClr>
              </a:gs>
              <a:gs pos="0">
                <a:schemeClr val="accent1">
                  <a:lumMod val="40000"/>
                  <a:lumOff val="60000"/>
                </a:schemeClr>
              </a:gs>
            </a:gsLst>
            <a:path path="circle">
              <a:fillToRect r="100000" b="100000"/>
            </a:path>
            <a:tileRect l="-100000" t="-100000"/>
          </a:gradFill>
          <a:ln>
            <a:noFill/>
          </a:ln>
          <a:effectLst>
            <a:outerShdw blurRad="444500" dist="317500" dir="5400000" sx="92000" sy="92000" algn="t" rotWithShape="0">
              <a:schemeClr val="accent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HarmonyOS Sans SC"/>
              <a:cs typeface="+mn-cs"/>
            </a:endParaRPr>
          </a:p>
        </p:txBody>
      </p:sp>
      <p:sp>
        <p:nvSpPr>
          <p:cNvPr id="43" name="任意多边形: 形状 42">
            <a:extLst>
              <a:ext uri="{FF2B5EF4-FFF2-40B4-BE49-F238E27FC236}">
                <a16:creationId xmlns:a16="http://schemas.microsoft.com/office/drawing/2014/main" id="{94418F16-7CDC-4D7A-BB95-590376AD2C2C}"/>
              </a:ext>
            </a:extLst>
          </p:cNvPr>
          <p:cNvSpPr/>
          <p:nvPr/>
        </p:nvSpPr>
        <p:spPr>
          <a:xfrm flipH="1" flipV="1">
            <a:off x="5155591" y="4440833"/>
            <a:ext cx="2812753" cy="1438794"/>
          </a:xfrm>
          <a:custGeom>
            <a:avLst/>
            <a:gdLst>
              <a:gd name="connsiteX0" fmla="*/ 497417 w 3128932"/>
              <a:gd name="connsiteY0" fmla="*/ 0 h 1600528"/>
              <a:gd name="connsiteX1" fmla="*/ 2667814 w 3128932"/>
              <a:gd name="connsiteY1" fmla="*/ 0 h 1600528"/>
              <a:gd name="connsiteX2" fmla="*/ 2680452 w 3128932"/>
              <a:gd name="connsiteY2" fmla="*/ 7678 h 1600528"/>
              <a:gd name="connsiteX3" fmla="*/ 3128932 w 3128932"/>
              <a:gd name="connsiteY3" fmla="*/ 851168 h 1600528"/>
              <a:gd name="connsiteX4" fmla="*/ 3128932 w 3128932"/>
              <a:gd name="connsiteY4" fmla="*/ 1159359 h 1600528"/>
              <a:gd name="connsiteX5" fmla="*/ 838023 w 3128932"/>
              <a:gd name="connsiteY5" fmla="*/ 1159359 h 1600528"/>
              <a:gd name="connsiteX6" fmla="*/ 53091 w 3128932"/>
              <a:gd name="connsiteY6" fmla="*/ 1529531 h 1600528"/>
              <a:gd name="connsiteX7" fmla="*/ 0 w 3128932"/>
              <a:gd name="connsiteY7" fmla="*/ 1600528 h 1600528"/>
              <a:gd name="connsiteX8" fmla="*/ 0 w 3128932"/>
              <a:gd name="connsiteY8" fmla="*/ 497417 h 1600528"/>
              <a:gd name="connsiteX9" fmla="*/ 497417 w 3128932"/>
              <a:gd name="connsiteY9" fmla="*/ 0 h 1600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28932" h="1600528">
                <a:moveTo>
                  <a:pt x="497417" y="0"/>
                </a:moveTo>
                <a:lnTo>
                  <a:pt x="2667814" y="0"/>
                </a:lnTo>
                <a:lnTo>
                  <a:pt x="2680452" y="7678"/>
                </a:lnTo>
                <a:cubicBezTo>
                  <a:pt x="2951033" y="190479"/>
                  <a:pt x="3128932" y="500048"/>
                  <a:pt x="3128932" y="851168"/>
                </a:cubicBezTo>
                <a:lnTo>
                  <a:pt x="3128932" y="1159359"/>
                </a:lnTo>
                <a:lnTo>
                  <a:pt x="838023" y="1159359"/>
                </a:lnTo>
                <a:cubicBezTo>
                  <a:pt x="522015" y="1159359"/>
                  <a:pt x="239663" y="1303458"/>
                  <a:pt x="53091" y="1529531"/>
                </a:cubicBezTo>
                <a:lnTo>
                  <a:pt x="0" y="1600528"/>
                </a:lnTo>
                <a:lnTo>
                  <a:pt x="0" y="497417"/>
                </a:lnTo>
                <a:cubicBezTo>
                  <a:pt x="0" y="222701"/>
                  <a:pt x="222701" y="0"/>
                  <a:pt x="497417" y="0"/>
                </a:cubicBezTo>
                <a:close/>
              </a:path>
            </a:pathLst>
          </a:custGeom>
          <a:gradFill flip="none" rotWithShape="1">
            <a:gsLst>
              <a:gs pos="73000">
                <a:schemeClr val="accent1"/>
              </a:gs>
              <a:gs pos="31000">
                <a:schemeClr val="accent1">
                  <a:lumMod val="60000"/>
                  <a:lumOff val="40000"/>
                </a:schemeClr>
              </a:gs>
              <a:gs pos="0">
                <a:schemeClr val="accent1">
                  <a:lumMod val="40000"/>
                  <a:lumOff val="60000"/>
                </a:schemeClr>
              </a:gs>
            </a:gsLst>
            <a:path path="circle">
              <a:fillToRect r="100000" b="100000"/>
            </a:path>
            <a:tileRect l="-100000" t="-100000"/>
          </a:gradFill>
          <a:ln>
            <a:noFill/>
          </a:ln>
          <a:effectLst>
            <a:outerShdw blurRad="444500" dist="317500" dir="5400000" sx="92000" sy="92000" algn="t" rotWithShape="0">
              <a:schemeClr val="accent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HarmonyOS Sans SC"/>
              <a:cs typeface="+mn-cs"/>
            </a:endParaRPr>
          </a:p>
        </p:txBody>
      </p:sp>
      <p:sp>
        <p:nvSpPr>
          <p:cNvPr id="44" name="任意多边形: 形状 43">
            <a:extLst>
              <a:ext uri="{FF2B5EF4-FFF2-40B4-BE49-F238E27FC236}">
                <a16:creationId xmlns:a16="http://schemas.microsoft.com/office/drawing/2014/main" id="{3A053598-34BC-4BC9-BA8A-32BC866CBFF2}"/>
              </a:ext>
            </a:extLst>
          </p:cNvPr>
          <p:cNvSpPr/>
          <p:nvPr/>
        </p:nvSpPr>
        <p:spPr>
          <a:xfrm rot="5400000" flipH="1" flipV="1">
            <a:off x="3440633" y="3753854"/>
            <a:ext cx="2812752" cy="1438794"/>
          </a:xfrm>
          <a:custGeom>
            <a:avLst/>
            <a:gdLst>
              <a:gd name="connsiteX0" fmla="*/ 497417 w 3128932"/>
              <a:gd name="connsiteY0" fmla="*/ 0 h 1600528"/>
              <a:gd name="connsiteX1" fmla="*/ 2667814 w 3128932"/>
              <a:gd name="connsiteY1" fmla="*/ 0 h 1600528"/>
              <a:gd name="connsiteX2" fmla="*/ 2680452 w 3128932"/>
              <a:gd name="connsiteY2" fmla="*/ 7678 h 1600528"/>
              <a:gd name="connsiteX3" fmla="*/ 3128932 w 3128932"/>
              <a:gd name="connsiteY3" fmla="*/ 851168 h 1600528"/>
              <a:gd name="connsiteX4" fmla="*/ 3128932 w 3128932"/>
              <a:gd name="connsiteY4" fmla="*/ 1159359 h 1600528"/>
              <a:gd name="connsiteX5" fmla="*/ 838023 w 3128932"/>
              <a:gd name="connsiteY5" fmla="*/ 1159359 h 1600528"/>
              <a:gd name="connsiteX6" fmla="*/ 53091 w 3128932"/>
              <a:gd name="connsiteY6" fmla="*/ 1529531 h 1600528"/>
              <a:gd name="connsiteX7" fmla="*/ 0 w 3128932"/>
              <a:gd name="connsiteY7" fmla="*/ 1600528 h 1600528"/>
              <a:gd name="connsiteX8" fmla="*/ 0 w 3128932"/>
              <a:gd name="connsiteY8" fmla="*/ 497417 h 1600528"/>
              <a:gd name="connsiteX9" fmla="*/ 497417 w 3128932"/>
              <a:gd name="connsiteY9" fmla="*/ 0 h 1600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28932" h="1600528">
                <a:moveTo>
                  <a:pt x="497417" y="0"/>
                </a:moveTo>
                <a:lnTo>
                  <a:pt x="2667814" y="0"/>
                </a:lnTo>
                <a:lnTo>
                  <a:pt x="2680452" y="7678"/>
                </a:lnTo>
                <a:cubicBezTo>
                  <a:pt x="2951033" y="190479"/>
                  <a:pt x="3128932" y="500048"/>
                  <a:pt x="3128932" y="851168"/>
                </a:cubicBezTo>
                <a:lnTo>
                  <a:pt x="3128932" y="1159359"/>
                </a:lnTo>
                <a:lnTo>
                  <a:pt x="838023" y="1159359"/>
                </a:lnTo>
                <a:cubicBezTo>
                  <a:pt x="522015" y="1159359"/>
                  <a:pt x="239663" y="1303458"/>
                  <a:pt x="53091" y="1529531"/>
                </a:cubicBezTo>
                <a:lnTo>
                  <a:pt x="0" y="1600528"/>
                </a:lnTo>
                <a:lnTo>
                  <a:pt x="0" y="497417"/>
                </a:lnTo>
                <a:cubicBezTo>
                  <a:pt x="0" y="222701"/>
                  <a:pt x="222701" y="0"/>
                  <a:pt x="497417" y="0"/>
                </a:cubicBezTo>
                <a:close/>
              </a:path>
            </a:pathLst>
          </a:custGeom>
          <a:gradFill flip="none" rotWithShape="1">
            <a:gsLst>
              <a:gs pos="73000">
                <a:schemeClr val="accent1"/>
              </a:gs>
              <a:gs pos="31000">
                <a:schemeClr val="accent1">
                  <a:lumMod val="60000"/>
                  <a:lumOff val="40000"/>
                </a:schemeClr>
              </a:gs>
              <a:gs pos="0">
                <a:schemeClr val="accent1">
                  <a:lumMod val="40000"/>
                  <a:lumOff val="60000"/>
                </a:schemeClr>
              </a:gs>
            </a:gsLst>
            <a:path path="circle">
              <a:fillToRect r="100000" b="100000"/>
            </a:path>
            <a:tileRect l="-100000" t="-100000"/>
          </a:gradFill>
          <a:ln>
            <a:noFill/>
          </a:ln>
          <a:effectLst>
            <a:outerShdw blurRad="444500" dist="317500" dir="5400000" sx="92000" sy="92000" algn="t" rotWithShape="0">
              <a:schemeClr val="accent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HarmonyOS Sans SC"/>
              <a:cs typeface="+mn-cs"/>
            </a:endParaRPr>
          </a:p>
        </p:txBody>
      </p:sp>
      <p:sp>
        <p:nvSpPr>
          <p:cNvPr id="4" name="Freeform 123">
            <a:extLst>
              <a:ext uri="{FF2B5EF4-FFF2-40B4-BE49-F238E27FC236}">
                <a16:creationId xmlns:a16="http://schemas.microsoft.com/office/drawing/2014/main" id="{FAEF16BC-FAAB-48ED-B087-253D0F7132C0}"/>
              </a:ext>
            </a:extLst>
          </p:cNvPr>
          <p:cNvSpPr>
            <a:spLocks noChangeArrowheads="1"/>
          </p:cNvSpPr>
          <p:nvPr/>
        </p:nvSpPr>
        <p:spPr bwMode="auto">
          <a:xfrm>
            <a:off x="5767348" y="2248878"/>
            <a:ext cx="647601" cy="662778"/>
          </a:xfrm>
          <a:custGeom>
            <a:avLst/>
            <a:gdLst>
              <a:gd name="T0" fmla="*/ 275 w 452"/>
              <a:gd name="T1" fmla="*/ 301 h 462"/>
              <a:gd name="T2" fmla="*/ 275 w 452"/>
              <a:gd name="T3" fmla="*/ 301 h 462"/>
              <a:gd name="T4" fmla="*/ 434 w 452"/>
              <a:gd name="T5" fmla="*/ 26 h 462"/>
              <a:gd name="T6" fmla="*/ 434 w 452"/>
              <a:gd name="T7" fmla="*/ 18 h 462"/>
              <a:gd name="T8" fmla="*/ 425 w 452"/>
              <a:gd name="T9" fmla="*/ 18 h 462"/>
              <a:gd name="T10" fmla="*/ 159 w 452"/>
              <a:gd name="T11" fmla="*/ 178 h 462"/>
              <a:gd name="T12" fmla="*/ 9 w 452"/>
              <a:gd name="T13" fmla="*/ 301 h 462"/>
              <a:gd name="T14" fmla="*/ 35 w 452"/>
              <a:gd name="T15" fmla="*/ 328 h 462"/>
              <a:gd name="T16" fmla="*/ 88 w 452"/>
              <a:gd name="T17" fmla="*/ 310 h 462"/>
              <a:gd name="T18" fmla="*/ 151 w 452"/>
              <a:gd name="T19" fmla="*/ 372 h 462"/>
              <a:gd name="T20" fmla="*/ 133 w 452"/>
              <a:gd name="T21" fmla="*/ 425 h 462"/>
              <a:gd name="T22" fmla="*/ 151 w 452"/>
              <a:gd name="T23" fmla="*/ 452 h 462"/>
              <a:gd name="T24" fmla="*/ 275 w 452"/>
              <a:gd name="T25" fmla="*/ 301 h 462"/>
              <a:gd name="T26" fmla="*/ 301 w 452"/>
              <a:gd name="T27" fmla="*/ 150 h 462"/>
              <a:gd name="T28" fmla="*/ 301 w 452"/>
              <a:gd name="T29" fmla="*/ 150 h 462"/>
              <a:gd name="T30" fmla="*/ 301 w 452"/>
              <a:gd name="T31" fmla="*/ 97 h 462"/>
              <a:gd name="T32" fmla="*/ 354 w 452"/>
              <a:gd name="T33" fmla="*/ 97 h 462"/>
              <a:gd name="T34" fmla="*/ 354 w 452"/>
              <a:gd name="T35" fmla="*/ 150 h 462"/>
              <a:gd name="T36" fmla="*/ 301 w 452"/>
              <a:gd name="T37" fmla="*/ 150 h 4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52" h="462">
                <a:moveTo>
                  <a:pt x="275" y="301"/>
                </a:moveTo>
                <a:lnTo>
                  <a:pt x="275" y="301"/>
                </a:lnTo>
                <a:cubicBezTo>
                  <a:pt x="275" y="301"/>
                  <a:pt x="451" y="169"/>
                  <a:pt x="434" y="26"/>
                </a:cubicBezTo>
                <a:lnTo>
                  <a:pt x="434" y="18"/>
                </a:lnTo>
                <a:cubicBezTo>
                  <a:pt x="425" y="18"/>
                  <a:pt x="425" y="18"/>
                  <a:pt x="425" y="18"/>
                </a:cubicBezTo>
                <a:cubicBezTo>
                  <a:pt x="284" y="0"/>
                  <a:pt x="159" y="178"/>
                  <a:pt x="159" y="178"/>
                </a:cubicBezTo>
                <a:cubicBezTo>
                  <a:pt x="53" y="159"/>
                  <a:pt x="62" y="186"/>
                  <a:pt x="9" y="301"/>
                </a:cubicBezTo>
                <a:cubicBezTo>
                  <a:pt x="0" y="328"/>
                  <a:pt x="18" y="328"/>
                  <a:pt x="35" y="328"/>
                </a:cubicBezTo>
                <a:cubicBezTo>
                  <a:pt x="53" y="319"/>
                  <a:pt x="88" y="310"/>
                  <a:pt x="88" y="310"/>
                </a:cubicBezTo>
                <a:cubicBezTo>
                  <a:pt x="151" y="372"/>
                  <a:pt x="151" y="372"/>
                  <a:pt x="151" y="372"/>
                </a:cubicBezTo>
                <a:cubicBezTo>
                  <a:pt x="151" y="372"/>
                  <a:pt x="141" y="407"/>
                  <a:pt x="133" y="425"/>
                </a:cubicBezTo>
                <a:cubicBezTo>
                  <a:pt x="124" y="443"/>
                  <a:pt x="133" y="461"/>
                  <a:pt x="151" y="452"/>
                </a:cubicBezTo>
                <a:cubicBezTo>
                  <a:pt x="266" y="398"/>
                  <a:pt x="292" y="407"/>
                  <a:pt x="275" y="301"/>
                </a:cubicBezTo>
                <a:close/>
                <a:moveTo>
                  <a:pt x="301" y="150"/>
                </a:moveTo>
                <a:lnTo>
                  <a:pt x="301" y="150"/>
                </a:lnTo>
                <a:cubicBezTo>
                  <a:pt x="284" y="133"/>
                  <a:pt x="284" y="115"/>
                  <a:pt x="301" y="97"/>
                </a:cubicBezTo>
                <a:cubicBezTo>
                  <a:pt x="319" y="80"/>
                  <a:pt x="345" y="80"/>
                  <a:pt x="354" y="97"/>
                </a:cubicBezTo>
                <a:cubicBezTo>
                  <a:pt x="372" y="115"/>
                  <a:pt x="372" y="133"/>
                  <a:pt x="354" y="150"/>
                </a:cubicBezTo>
                <a:cubicBezTo>
                  <a:pt x="345" y="169"/>
                  <a:pt x="319" y="169"/>
                  <a:pt x="301" y="150"/>
                </a:cubicBezTo>
                <a:close/>
              </a:path>
            </a:pathLst>
          </a:custGeom>
          <a:solidFill>
            <a:schemeClr val="bg1"/>
          </a:solidFill>
          <a:ln>
            <a:noFill/>
          </a:ln>
          <a:effectLst/>
        </p:spPr>
        <p:txBody>
          <a:bodyPr wrap="none" lIns="17145" tIns="8573" rIns="17145" bIns="8573"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reeform 111">
            <a:extLst>
              <a:ext uri="{FF2B5EF4-FFF2-40B4-BE49-F238E27FC236}">
                <a16:creationId xmlns:a16="http://schemas.microsoft.com/office/drawing/2014/main" id="{5F55E7DE-6C49-471C-A741-596380DA6758}"/>
              </a:ext>
            </a:extLst>
          </p:cNvPr>
          <p:cNvSpPr>
            <a:spLocks noChangeArrowheads="1"/>
          </p:cNvSpPr>
          <p:nvPr/>
        </p:nvSpPr>
        <p:spPr bwMode="auto">
          <a:xfrm>
            <a:off x="7152898" y="3597500"/>
            <a:ext cx="462416" cy="563140"/>
          </a:xfrm>
          <a:custGeom>
            <a:avLst/>
            <a:gdLst>
              <a:gd name="T0" fmla="*/ 346 w 355"/>
              <a:gd name="T1" fmla="*/ 283 h 435"/>
              <a:gd name="T2" fmla="*/ 346 w 355"/>
              <a:gd name="T3" fmla="*/ 283 h 435"/>
              <a:gd name="T4" fmla="*/ 178 w 355"/>
              <a:gd name="T5" fmla="*/ 345 h 435"/>
              <a:gd name="T6" fmla="*/ 9 w 355"/>
              <a:gd name="T7" fmla="*/ 283 h 435"/>
              <a:gd name="T8" fmla="*/ 0 w 355"/>
              <a:gd name="T9" fmla="*/ 283 h 435"/>
              <a:gd name="T10" fmla="*/ 0 w 355"/>
              <a:gd name="T11" fmla="*/ 336 h 435"/>
              <a:gd name="T12" fmla="*/ 178 w 355"/>
              <a:gd name="T13" fmla="*/ 434 h 435"/>
              <a:gd name="T14" fmla="*/ 354 w 355"/>
              <a:gd name="T15" fmla="*/ 336 h 435"/>
              <a:gd name="T16" fmla="*/ 354 w 355"/>
              <a:gd name="T17" fmla="*/ 283 h 435"/>
              <a:gd name="T18" fmla="*/ 346 w 355"/>
              <a:gd name="T19" fmla="*/ 283 h 435"/>
              <a:gd name="T20" fmla="*/ 346 w 355"/>
              <a:gd name="T21" fmla="*/ 160 h 435"/>
              <a:gd name="T22" fmla="*/ 346 w 355"/>
              <a:gd name="T23" fmla="*/ 160 h 435"/>
              <a:gd name="T24" fmla="*/ 178 w 355"/>
              <a:gd name="T25" fmla="*/ 213 h 435"/>
              <a:gd name="T26" fmla="*/ 9 w 355"/>
              <a:gd name="T27" fmla="*/ 160 h 435"/>
              <a:gd name="T28" fmla="*/ 0 w 355"/>
              <a:gd name="T29" fmla="*/ 160 h 435"/>
              <a:gd name="T30" fmla="*/ 0 w 355"/>
              <a:gd name="T31" fmla="*/ 222 h 435"/>
              <a:gd name="T32" fmla="*/ 178 w 355"/>
              <a:gd name="T33" fmla="*/ 292 h 435"/>
              <a:gd name="T34" fmla="*/ 354 w 355"/>
              <a:gd name="T35" fmla="*/ 222 h 435"/>
              <a:gd name="T36" fmla="*/ 354 w 355"/>
              <a:gd name="T37" fmla="*/ 160 h 435"/>
              <a:gd name="T38" fmla="*/ 346 w 355"/>
              <a:gd name="T39" fmla="*/ 160 h 435"/>
              <a:gd name="T40" fmla="*/ 178 w 355"/>
              <a:gd name="T41" fmla="*/ 0 h 435"/>
              <a:gd name="T42" fmla="*/ 178 w 355"/>
              <a:gd name="T43" fmla="*/ 0 h 435"/>
              <a:gd name="T44" fmla="*/ 0 w 355"/>
              <a:gd name="T45" fmla="*/ 62 h 435"/>
              <a:gd name="T46" fmla="*/ 0 w 355"/>
              <a:gd name="T47" fmla="*/ 97 h 435"/>
              <a:gd name="T48" fmla="*/ 178 w 355"/>
              <a:gd name="T49" fmla="*/ 160 h 435"/>
              <a:gd name="T50" fmla="*/ 354 w 355"/>
              <a:gd name="T51" fmla="*/ 97 h 435"/>
              <a:gd name="T52" fmla="*/ 354 w 355"/>
              <a:gd name="T53" fmla="*/ 62 h 435"/>
              <a:gd name="T54" fmla="*/ 178 w 355"/>
              <a:gd name="T55" fmla="*/ 0 h 4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55" h="435">
                <a:moveTo>
                  <a:pt x="346" y="283"/>
                </a:moveTo>
                <a:lnTo>
                  <a:pt x="346" y="283"/>
                </a:lnTo>
                <a:cubicBezTo>
                  <a:pt x="328" y="319"/>
                  <a:pt x="257" y="345"/>
                  <a:pt x="178" y="345"/>
                </a:cubicBezTo>
                <a:cubicBezTo>
                  <a:pt x="97" y="345"/>
                  <a:pt x="36" y="319"/>
                  <a:pt x="9" y="283"/>
                </a:cubicBezTo>
                <a:cubicBezTo>
                  <a:pt x="9" y="275"/>
                  <a:pt x="0" y="283"/>
                  <a:pt x="0" y="283"/>
                </a:cubicBezTo>
                <a:cubicBezTo>
                  <a:pt x="0" y="292"/>
                  <a:pt x="0" y="336"/>
                  <a:pt x="0" y="336"/>
                </a:cubicBezTo>
                <a:cubicBezTo>
                  <a:pt x="0" y="381"/>
                  <a:pt x="80" y="434"/>
                  <a:pt x="178" y="434"/>
                </a:cubicBezTo>
                <a:cubicBezTo>
                  <a:pt x="275" y="434"/>
                  <a:pt x="354" y="381"/>
                  <a:pt x="354" y="336"/>
                </a:cubicBezTo>
                <a:cubicBezTo>
                  <a:pt x="354" y="336"/>
                  <a:pt x="354" y="292"/>
                  <a:pt x="354" y="283"/>
                </a:cubicBezTo>
                <a:cubicBezTo>
                  <a:pt x="354" y="283"/>
                  <a:pt x="346" y="275"/>
                  <a:pt x="346" y="283"/>
                </a:cubicBezTo>
                <a:close/>
                <a:moveTo>
                  <a:pt x="346" y="160"/>
                </a:moveTo>
                <a:lnTo>
                  <a:pt x="346" y="160"/>
                </a:lnTo>
                <a:cubicBezTo>
                  <a:pt x="328" y="186"/>
                  <a:pt x="257" y="213"/>
                  <a:pt x="178" y="213"/>
                </a:cubicBezTo>
                <a:cubicBezTo>
                  <a:pt x="97" y="213"/>
                  <a:pt x="36" y="186"/>
                  <a:pt x="9" y="160"/>
                </a:cubicBezTo>
                <a:cubicBezTo>
                  <a:pt x="9" y="151"/>
                  <a:pt x="0" y="160"/>
                  <a:pt x="0" y="160"/>
                </a:cubicBezTo>
                <a:lnTo>
                  <a:pt x="0" y="222"/>
                </a:lnTo>
                <a:cubicBezTo>
                  <a:pt x="0" y="257"/>
                  <a:pt x="80" y="292"/>
                  <a:pt x="178" y="292"/>
                </a:cubicBezTo>
                <a:cubicBezTo>
                  <a:pt x="275" y="292"/>
                  <a:pt x="354" y="257"/>
                  <a:pt x="354" y="222"/>
                </a:cubicBezTo>
                <a:lnTo>
                  <a:pt x="354" y="160"/>
                </a:lnTo>
                <a:cubicBezTo>
                  <a:pt x="354" y="160"/>
                  <a:pt x="346" y="151"/>
                  <a:pt x="346" y="160"/>
                </a:cubicBezTo>
                <a:close/>
                <a:moveTo>
                  <a:pt x="178" y="0"/>
                </a:moveTo>
                <a:lnTo>
                  <a:pt x="178" y="0"/>
                </a:lnTo>
                <a:cubicBezTo>
                  <a:pt x="80" y="0"/>
                  <a:pt x="0" y="26"/>
                  <a:pt x="0" y="62"/>
                </a:cubicBezTo>
                <a:cubicBezTo>
                  <a:pt x="0" y="97"/>
                  <a:pt x="0" y="97"/>
                  <a:pt x="0" y="97"/>
                </a:cubicBezTo>
                <a:cubicBezTo>
                  <a:pt x="0" y="133"/>
                  <a:pt x="80" y="160"/>
                  <a:pt x="178" y="160"/>
                </a:cubicBezTo>
                <a:cubicBezTo>
                  <a:pt x="275" y="160"/>
                  <a:pt x="354" y="133"/>
                  <a:pt x="354" y="97"/>
                </a:cubicBezTo>
                <a:cubicBezTo>
                  <a:pt x="354" y="62"/>
                  <a:pt x="354" y="62"/>
                  <a:pt x="354" y="62"/>
                </a:cubicBezTo>
                <a:cubicBezTo>
                  <a:pt x="354" y="26"/>
                  <a:pt x="275" y="0"/>
                  <a:pt x="178" y="0"/>
                </a:cubicBezTo>
                <a:close/>
              </a:path>
            </a:pathLst>
          </a:custGeom>
          <a:solidFill>
            <a:schemeClr val="bg1"/>
          </a:solidFill>
          <a:ln>
            <a:noFill/>
          </a:ln>
          <a:effectLst/>
        </p:spPr>
        <p:txBody>
          <a:bodyPr wrap="none" lIns="17145" tIns="8573" rIns="17145" bIns="8573"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 name="Freeform 149">
            <a:extLst>
              <a:ext uri="{FF2B5EF4-FFF2-40B4-BE49-F238E27FC236}">
                <a16:creationId xmlns:a16="http://schemas.microsoft.com/office/drawing/2014/main" id="{AE6BB491-0C49-4A3B-AFBB-050782F5B0D3}"/>
              </a:ext>
            </a:extLst>
          </p:cNvPr>
          <p:cNvSpPr>
            <a:spLocks noChangeArrowheads="1"/>
          </p:cNvSpPr>
          <p:nvPr/>
        </p:nvSpPr>
        <p:spPr bwMode="auto">
          <a:xfrm>
            <a:off x="5855362" y="5120252"/>
            <a:ext cx="471572" cy="640973"/>
          </a:xfrm>
          <a:custGeom>
            <a:avLst/>
            <a:gdLst>
              <a:gd name="T0" fmla="*/ 106 w 364"/>
              <a:gd name="T1" fmla="*/ 479 h 498"/>
              <a:gd name="T2" fmla="*/ 106 w 364"/>
              <a:gd name="T3" fmla="*/ 479 h 498"/>
              <a:gd name="T4" fmla="*/ 176 w 364"/>
              <a:gd name="T5" fmla="*/ 497 h 498"/>
              <a:gd name="T6" fmla="*/ 248 w 364"/>
              <a:gd name="T7" fmla="*/ 479 h 498"/>
              <a:gd name="T8" fmla="*/ 248 w 364"/>
              <a:gd name="T9" fmla="*/ 426 h 498"/>
              <a:gd name="T10" fmla="*/ 106 w 364"/>
              <a:gd name="T11" fmla="*/ 426 h 498"/>
              <a:gd name="T12" fmla="*/ 106 w 364"/>
              <a:gd name="T13" fmla="*/ 479 h 498"/>
              <a:gd name="T14" fmla="*/ 248 w 364"/>
              <a:gd name="T15" fmla="*/ 400 h 498"/>
              <a:gd name="T16" fmla="*/ 248 w 364"/>
              <a:gd name="T17" fmla="*/ 400 h 498"/>
              <a:gd name="T18" fmla="*/ 354 w 364"/>
              <a:gd name="T19" fmla="*/ 151 h 498"/>
              <a:gd name="T20" fmla="*/ 176 w 364"/>
              <a:gd name="T21" fmla="*/ 0 h 498"/>
              <a:gd name="T22" fmla="*/ 0 w 364"/>
              <a:gd name="T23" fmla="*/ 151 h 498"/>
              <a:gd name="T24" fmla="*/ 106 w 364"/>
              <a:gd name="T25" fmla="*/ 400 h 498"/>
              <a:gd name="T26" fmla="*/ 248 w 364"/>
              <a:gd name="T27" fmla="*/ 400 h 498"/>
              <a:gd name="T28" fmla="*/ 53 w 364"/>
              <a:gd name="T29" fmla="*/ 151 h 498"/>
              <a:gd name="T30" fmla="*/ 53 w 364"/>
              <a:gd name="T31" fmla="*/ 151 h 498"/>
              <a:gd name="T32" fmla="*/ 176 w 364"/>
              <a:gd name="T33" fmla="*/ 53 h 498"/>
              <a:gd name="T34" fmla="*/ 301 w 364"/>
              <a:gd name="T35" fmla="*/ 151 h 498"/>
              <a:gd name="T36" fmla="*/ 257 w 364"/>
              <a:gd name="T37" fmla="*/ 249 h 498"/>
              <a:gd name="T38" fmla="*/ 194 w 364"/>
              <a:gd name="T39" fmla="*/ 355 h 498"/>
              <a:gd name="T40" fmla="*/ 159 w 364"/>
              <a:gd name="T41" fmla="*/ 355 h 498"/>
              <a:gd name="T42" fmla="*/ 97 w 364"/>
              <a:gd name="T43" fmla="*/ 249 h 498"/>
              <a:gd name="T44" fmla="*/ 53 w 364"/>
              <a:gd name="T45" fmla="*/ 151 h 4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64" h="498">
                <a:moveTo>
                  <a:pt x="106" y="479"/>
                </a:moveTo>
                <a:lnTo>
                  <a:pt x="106" y="479"/>
                </a:lnTo>
                <a:cubicBezTo>
                  <a:pt x="123" y="488"/>
                  <a:pt x="150" y="497"/>
                  <a:pt x="176" y="497"/>
                </a:cubicBezTo>
                <a:cubicBezTo>
                  <a:pt x="203" y="497"/>
                  <a:pt x="229" y="488"/>
                  <a:pt x="248" y="479"/>
                </a:cubicBezTo>
                <a:cubicBezTo>
                  <a:pt x="248" y="426"/>
                  <a:pt x="248" y="426"/>
                  <a:pt x="248" y="426"/>
                </a:cubicBezTo>
                <a:cubicBezTo>
                  <a:pt x="106" y="426"/>
                  <a:pt x="106" y="426"/>
                  <a:pt x="106" y="426"/>
                </a:cubicBezTo>
                <a:lnTo>
                  <a:pt x="106" y="479"/>
                </a:lnTo>
                <a:close/>
                <a:moveTo>
                  <a:pt x="248" y="400"/>
                </a:moveTo>
                <a:lnTo>
                  <a:pt x="248" y="400"/>
                </a:lnTo>
                <a:cubicBezTo>
                  <a:pt x="248" y="293"/>
                  <a:pt x="363" y="258"/>
                  <a:pt x="354" y="151"/>
                </a:cubicBezTo>
                <a:cubicBezTo>
                  <a:pt x="345" y="80"/>
                  <a:pt x="301" y="0"/>
                  <a:pt x="176" y="0"/>
                </a:cubicBezTo>
                <a:cubicBezTo>
                  <a:pt x="53" y="0"/>
                  <a:pt x="9" y="80"/>
                  <a:pt x="0" y="151"/>
                </a:cubicBezTo>
                <a:cubicBezTo>
                  <a:pt x="0" y="258"/>
                  <a:pt x="106" y="293"/>
                  <a:pt x="106" y="400"/>
                </a:cubicBezTo>
                <a:lnTo>
                  <a:pt x="248" y="400"/>
                </a:lnTo>
                <a:close/>
                <a:moveTo>
                  <a:pt x="53" y="151"/>
                </a:moveTo>
                <a:lnTo>
                  <a:pt x="53" y="151"/>
                </a:lnTo>
                <a:cubicBezTo>
                  <a:pt x="62" y="89"/>
                  <a:pt x="106" y="53"/>
                  <a:pt x="176" y="53"/>
                </a:cubicBezTo>
                <a:cubicBezTo>
                  <a:pt x="248" y="53"/>
                  <a:pt x="292" y="89"/>
                  <a:pt x="301" y="151"/>
                </a:cubicBezTo>
                <a:cubicBezTo>
                  <a:pt x="301" y="187"/>
                  <a:pt x="283" y="213"/>
                  <a:pt x="257" y="249"/>
                </a:cubicBezTo>
                <a:cubicBezTo>
                  <a:pt x="229" y="275"/>
                  <a:pt x="213" y="311"/>
                  <a:pt x="194" y="355"/>
                </a:cubicBezTo>
                <a:cubicBezTo>
                  <a:pt x="159" y="355"/>
                  <a:pt x="159" y="355"/>
                  <a:pt x="159" y="355"/>
                </a:cubicBezTo>
                <a:cubicBezTo>
                  <a:pt x="141" y="311"/>
                  <a:pt x="123" y="275"/>
                  <a:pt x="97" y="249"/>
                </a:cubicBezTo>
                <a:cubicBezTo>
                  <a:pt x="70" y="213"/>
                  <a:pt x="53" y="187"/>
                  <a:pt x="53" y="151"/>
                </a:cubicBezTo>
                <a:close/>
              </a:path>
            </a:pathLst>
          </a:custGeom>
          <a:solidFill>
            <a:schemeClr val="bg1"/>
          </a:solidFill>
          <a:ln>
            <a:noFill/>
          </a:ln>
          <a:effectLst/>
        </p:spPr>
        <p:txBody>
          <a:bodyPr wrap="none" lIns="17145" tIns="8573" rIns="17145" bIns="8573"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Freeform 96">
            <a:extLst>
              <a:ext uri="{FF2B5EF4-FFF2-40B4-BE49-F238E27FC236}">
                <a16:creationId xmlns:a16="http://schemas.microsoft.com/office/drawing/2014/main" id="{C7CF2862-9EB6-45C8-961F-1E4FAAB5F0AC}"/>
              </a:ext>
            </a:extLst>
          </p:cNvPr>
          <p:cNvSpPr>
            <a:spLocks noChangeArrowheads="1"/>
          </p:cNvSpPr>
          <p:nvPr/>
        </p:nvSpPr>
        <p:spPr bwMode="auto">
          <a:xfrm>
            <a:off x="4310149" y="3638414"/>
            <a:ext cx="645553" cy="563139"/>
          </a:xfrm>
          <a:custGeom>
            <a:avLst/>
            <a:gdLst>
              <a:gd name="T0" fmla="*/ 442 w 497"/>
              <a:gd name="T1" fmla="*/ 0 h 435"/>
              <a:gd name="T2" fmla="*/ 442 w 497"/>
              <a:gd name="T3" fmla="*/ 0 h 435"/>
              <a:gd name="T4" fmla="*/ 53 w 497"/>
              <a:gd name="T5" fmla="*/ 0 h 435"/>
              <a:gd name="T6" fmla="*/ 0 w 497"/>
              <a:gd name="T7" fmla="*/ 44 h 435"/>
              <a:gd name="T8" fmla="*/ 0 w 497"/>
              <a:gd name="T9" fmla="*/ 319 h 435"/>
              <a:gd name="T10" fmla="*/ 44 w 497"/>
              <a:gd name="T11" fmla="*/ 381 h 435"/>
              <a:gd name="T12" fmla="*/ 160 w 497"/>
              <a:gd name="T13" fmla="*/ 399 h 435"/>
              <a:gd name="T14" fmla="*/ 123 w 497"/>
              <a:gd name="T15" fmla="*/ 434 h 435"/>
              <a:gd name="T16" fmla="*/ 372 w 497"/>
              <a:gd name="T17" fmla="*/ 434 h 435"/>
              <a:gd name="T18" fmla="*/ 336 w 497"/>
              <a:gd name="T19" fmla="*/ 399 h 435"/>
              <a:gd name="T20" fmla="*/ 451 w 497"/>
              <a:gd name="T21" fmla="*/ 381 h 435"/>
              <a:gd name="T22" fmla="*/ 496 w 497"/>
              <a:gd name="T23" fmla="*/ 319 h 435"/>
              <a:gd name="T24" fmla="*/ 496 w 497"/>
              <a:gd name="T25" fmla="*/ 44 h 435"/>
              <a:gd name="T26" fmla="*/ 442 w 497"/>
              <a:gd name="T27" fmla="*/ 0 h 435"/>
              <a:gd name="T28" fmla="*/ 442 w 497"/>
              <a:gd name="T29" fmla="*/ 319 h 435"/>
              <a:gd name="T30" fmla="*/ 442 w 497"/>
              <a:gd name="T31" fmla="*/ 319 h 435"/>
              <a:gd name="T32" fmla="*/ 53 w 497"/>
              <a:gd name="T33" fmla="*/ 319 h 435"/>
              <a:gd name="T34" fmla="*/ 53 w 497"/>
              <a:gd name="T35" fmla="*/ 44 h 435"/>
              <a:gd name="T36" fmla="*/ 442 w 497"/>
              <a:gd name="T37" fmla="*/ 44 h 435"/>
              <a:gd name="T38" fmla="*/ 442 w 497"/>
              <a:gd name="T39" fmla="*/ 319 h 4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97" h="435">
                <a:moveTo>
                  <a:pt x="442" y="0"/>
                </a:moveTo>
                <a:lnTo>
                  <a:pt x="442" y="0"/>
                </a:lnTo>
                <a:cubicBezTo>
                  <a:pt x="53" y="0"/>
                  <a:pt x="53" y="0"/>
                  <a:pt x="53" y="0"/>
                </a:cubicBezTo>
                <a:cubicBezTo>
                  <a:pt x="26" y="0"/>
                  <a:pt x="0" y="17"/>
                  <a:pt x="0" y="44"/>
                </a:cubicBezTo>
                <a:cubicBezTo>
                  <a:pt x="0" y="319"/>
                  <a:pt x="0" y="319"/>
                  <a:pt x="0" y="319"/>
                </a:cubicBezTo>
                <a:cubicBezTo>
                  <a:pt x="0" y="345"/>
                  <a:pt x="17" y="372"/>
                  <a:pt x="44" y="381"/>
                </a:cubicBezTo>
                <a:cubicBezTo>
                  <a:pt x="160" y="399"/>
                  <a:pt x="160" y="399"/>
                  <a:pt x="160" y="399"/>
                </a:cubicBezTo>
                <a:cubicBezTo>
                  <a:pt x="160" y="399"/>
                  <a:pt x="62" y="434"/>
                  <a:pt x="123" y="434"/>
                </a:cubicBezTo>
                <a:cubicBezTo>
                  <a:pt x="372" y="434"/>
                  <a:pt x="372" y="434"/>
                  <a:pt x="372" y="434"/>
                </a:cubicBezTo>
                <a:cubicBezTo>
                  <a:pt x="434" y="434"/>
                  <a:pt x="336" y="399"/>
                  <a:pt x="336" y="399"/>
                </a:cubicBezTo>
                <a:cubicBezTo>
                  <a:pt x="451" y="381"/>
                  <a:pt x="451" y="381"/>
                  <a:pt x="451" y="381"/>
                </a:cubicBezTo>
                <a:cubicBezTo>
                  <a:pt x="479" y="372"/>
                  <a:pt x="496" y="345"/>
                  <a:pt x="496" y="319"/>
                </a:cubicBezTo>
                <a:cubicBezTo>
                  <a:pt x="496" y="44"/>
                  <a:pt x="496" y="44"/>
                  <a:pt x="496" y="44"/>
                </a:cubicBezTo>
                <a:cubicBezTo>
                  <a:pt x="496" y="17"/>
                  <a:pt x="470" y="0"/>
                  <a:pt x="442" y="0"/>
                </a:cubicBezTo>
                <a:close/>
                <a:moveTo>
                  <a:pt x="442" y="319"/>
                </a:moveTo>
                <a:lnTo>
                  <a:pt x="442" y="319"/>
                </a:lnTo>
                <a:cubicBezTo>
                  <a:pt x="53" y="319"/>
                  <a:pt x="53" y="319"/>
                  <a:pt x="53" y="319"/>
                </a:cubicBezTo>
                <a:cubicBezTo>
                  <a:pt x="53" y="44"/>
                  <a:pt x="53" y="44"/>
                  <a:pt x="53" y="44"/>
                </a:cubicBezTo>
                <a:cubicBezTo>
                  <a:pt x="442" y="44"/>
                  <a:pt x="442" y="44"/>
                  <a:pt x="442" y="44"/>
                </a:cubicBezTo>
                <a:lnTo>
                  <a:pt x="442" y="319"/>
                </a:lnTo>
                <a:close/>
              </a:path>
            </a:pathLst>
          </a:custGeom>
          <a:solidFill>
            <a:schemeClr val="bg1"/>
          </a:solidFill>
          <a:ln>
            <a:noFill/>
          </a:ln>
          <a:effectLst/>
        </p:spPr>
        <p:txBody>
          <a:bodyPr wrap="none" lIns="17145" tIns="8573" rIns="17145" bIns="8573"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 name="TextBox 16">
            <a:extLst>
              <a:ext uri="{FF2B5EF4-FFF2-40B4-BE49-F238E27FC236}">
                <a16:creationId xmlns:a16="http://schemas.microsoft.com/office/drawing/2014/main" id="{9EA5D769-5B59-4CC7-8DFA-E5083D6EDA24}"/>
              </a:ext>
            </a:extLst>
          </p:cNvPr>
          <p:cNvSpPr txBox="1"/>
          <p:nvPr/>
        </p:nvSpPr>
        <p:spPr>
          <a:xfrm>
            <a:off x="1371601" y="2319549"/>
            <a:ext cx="2260572" cy="369314"/>
          </a:xfrm>
          <a:prstGeom prst="rect">
            <a:avLst/>
          </a:prstGeom>
          <a:noFill/>
        </p:spPr>
        <p:txBody>
          <a:bodyPr wrap="square" lIns="91422" tIns="45711" rIns="91422" bIns="45711"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chemeClr val="accent1"/>
                </a:solidFill>
                <a:effectLst/>
                <a:uLnTx/>
                <a:uFillTx/>
                <a:latin typeface="HarmonyOS Sans SC Black"/>
                <a:ea typeface="+mj-ea"/>
                <a:cs typeface="Lato" pitchFamily="34" charset="0"/>
              </a:rPr>
              <a:t>Description here</a:t>
            </a:r>
            <a:endParaRPr kumimoji="0" lang="id-ID" sz="1800" b="1" i="0" u="none" strike="noStrike" kern="1200" cap="none" spc="0" normalizeH="0" baseline="0" noProof="0" dirty="0">
              <a:ln>
                <a:noFill/>
              </a:ln>
              <a:solidFill>
                <a:schemeClr val="accent1"/>
              </a:solidFill>
              <a:effectLst/>
              <a:uLnTx/>
              <a:uFillTx/>
              <a:latin typeface="HarmonyOS Sans SC Black"/>
              <a:ea typeface="+mj-ea"/>
              <a:cs typeface="Lato" pitchFamily="34" charset="0"/>
            </a:endParaRPr>
          </a:p>
        </p:txBody>
      </p:sp>
      <p:sp>
        <p:nvSpPr>
          <p:cNvPr id="17" name="TextBox 17">
            <a:extLst>
              <a:ext uri="{FF2B5EF4-FFF2-40B4-BE49-F238E27FC236}">
                <a16:creationId xmlns:a16="http://schemas.microsoft.com/office/drawing/2014/main" id="{E95A76D5-DACA-4EFB-993F-75F1DC005C98}"/>
              </a:ext>
            </a:extLst>
          </p:cNvPr>
          <p:cNvSpPr txBox="1"/>
          <p:nvPr/>
        </p:nvSpPr>
        <p:spPr>
          <a:xfrm>
            <a:off x="943827" y="2727960"/>
            <a:ext cx="2713773" cy="572446"/>
          </a:xfrm>
          <a:prstGeom prst="rect">
            <a:avLst/>
          </a:prstGeom>
          <a:noFill/>
        </p:spPr>
        <p:txBody>
          <a:bodyPr wrap="square" lIns="109710" tIns="54855" rIns="109710" bIns="54855"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HarmonyOS Sans SC"/>
                <a:cs typeface="Lato" pitchFamily="34" charset="0"/>
              </a:rPr>
              <a:t>Lorem Ipsum has two main data statistical this methodologies important Data analysis which summarizes.</a:t>
            </a:r>
          </a:p>
        </p:txBody>
      </p:sp>
      <p:sp>
        <p:nvSpPr>
          <p:cNvPr id="18" name="TextBox 18">
            <a:extLst>
              <a:ext uri="{FF2B5EF4-FFF2-40B4-BE49-F238E27FC236}">
                <a16:creationId xmlns:a16="http://schemas.microsoft.com/office/drawing/2014/main" id="{5AA7276F-74D1-40B8-BD5F-929B93906CA7}"/>
              </a:ext>
            </a:extLst>
          </p:cNvPr>
          <p:cNvSpPr txBox="1"/>
          <p:nvPr/>
        </p:nvSpPr>
        <p:spPr>
          <a:xfrm>
            <a:off x="1371601" y="4398058"/>
            <a:ext cx="2260572" cy="369314"/>
          </a:xfrm>
          <a:prstGeom prst="rect">
            <a:avLst/>
          </a:prstGeom>
          <a:noFill/>
        </p:spPr>
        <p:txBody>
          <a:bodyPr wrap="square" lIns="91422" tIns="45711" rIns="91422" bIns="45711"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chemeClr val="accent1"/>
                </a:solidFill>
                <a:effectLst/>
                <a:uLnTx/>
                <a:uFillTx/>
                <a:latin typeface="HarmonyOS Sans SC Black"/>
                <a:ea typeface="+mj-ea"/>
                <a:cs typeface="Lato" pitchFamily="34" charset="0"/>
              </a:rPr>
              <a:t>Description here</a:t>
            </a:r>
            <a:endParaRPr kumimoji="0" lang="id-ID" sz="1800" b="1" i="0" u="none" strike="noStrike" kern="1200" cap="none" spc="0" normalizeH="0" baseline="0" noProof="0" dirty="0">
              <a:ln>
                <a:noFill/>
              </a:ln>
              <a:solidFill>
                <a:schemeClr val="accent1"/>
              </a:solidFill>
              <a:effectLst/>
              <a:uLnTx/>
              <a:uFillTx/>
              <a:latin typeface="HarmonyOS Sans SC Black"/>
              <a:ea typeface="+mj-ea"/>
              <a:cs typeface="Lato" pitchFamily="34" charset="0"/>
            </a:endParaRPr>
          </a:p>
        </p:txBody>
      </p:sp>
      <p:sp>
        <p:nvSpPr>
          <p:cNvPr id="19" name="TextBox 19">
            <a:extLst>
              <a:ext uri="{FF2B5EF4-FFF2-40B4-BE49-F238E27FC236}">
                <a16:creationId xmlns:a16="http://schemas.microsoft.com/office/drawing/2014/main" id="{DC8B68DD-D048-48BB-A320-F3AB0C22B201}"/>
              </a:ext>
            </a:extLst>
          </p:cNvPr>
          <p:cNvSpPr txBox="1"/>
          <p:nvPr/>
        </p:nvSpPr>
        <p:spPr>
          <a:xfrm>
            <a:off x="943827" y="4806469"/>
            <a:ext cx="2713773" cy="572446"/>
          </a:xfrm>
          <a:prstGeom prst="rect">
            <a:avLst/>
          </a:prstGeom>
          <a:noFill/>
        </p:spPr>
        <p:txBody>
          <a:bodyPr wrap="square" lIns="109710" tIns="54855" rIns="109710" bIns="54855"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HarmonyOS Sans SC"/>
                <a:cs typeface="Lato" pitchFamily="34" charset="0"/>
              </a:rPr>
              <a:t>Lorem Ipsum has two main data statistical this methodologies important Data analysis which summarizes.</a:t>
            </a:r>
          </a:p>
        </p:txBody>
      </p:sp>
      <p:sp>
        <p:nvSpPr>
          <p:cNvPr id="20" name="TextBox 20">
            <a:extLst>
              <a:ext uri="{FF2B5EF4-FFF2-40B4-BE49-F238E27FC236}">
                <a16:creationId xmlns:a16="http://schemas.microsoft.com/office/drawing/2014/main" id="{21A5C4FC-5D09-4B90-A48A-D08EE45EC25F}"/>
              </a:ext>
            </a:extLst>
          </p:cNvPr>
          <p:cNvSpPr txBox="1"/>
          <p:nvPr/>
        </p:nvSpPr>
        <p:spPr>
          <a:xfrm>
            <a:off x="8506746" y="2281449"/>
            <a:ext cx="2202668" cy="369314"/>
          </a:xfrm>
          <a:prstGeom prst="rect">
            <a:avLst/>
          </a:prstGeom>
          <a:noFill/>
        </p:spPr>
        <p:txBody>
          <a:bodyPr wrap="square" lIns="91422" tIns="45711" rIns="91422" bIns="45711"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chemeClr val="accent1"/>
                </a:solidFill>
                <a:effectLst/>
                <a:uLnTx/>
                <a:uFillTx/>
                <a:latin typeface="HarmonyOS Sans SC Black"/>
                <a:ea typeface="+mj-ea"/>
                <a:cs typeface="Lato" pitchFamily="34" charset="0"/>
              </a:rPr>
              <a:t>Description here</a:t>
            </a:r>
            <a:endParaRPr kumimoji="0" lang="id-ID" sz="1800" b="1" i="0" u="none" strike="noStrike" kern="1200" cap="none" spc="0" normalizeH="0" baseline="0" noProof="0" dirty="0">
              <a:ln>
                <a:noFill/>
              </a:ln>
              <a:solidFill>
                <a:schemeClr val="accent1"/>
              </a:solidFill>
              <a:effectLst/>
              <a:uLnTx/>
              <a:uFillTx/>
              <a:latin typeface="HarmonyOS Sans SC Black"/>
              <a:ea typeface="+mj-ea"/>
              <a:cs typeface="Lato" pitchFamily="34" charset="0"/>
            </a:endParaRPr>
          </a:p>
        </p:txBody>
      </p:sp>
      <p:sp>
        <p:nvSpPr>
          <p:cNvPr id="21" name="TextBox 21">
            <a:extLst>
              <a:ext uri="{FF2B5EF4-FFF2-40B4-BE49-F238E27FC236}">
                <a16:creationId xmlns:a16="http://schemas.microsoft.com/office/drawing/2014/main" id="{82AA025C-0B4D-4FBC-9336-21027108031D}"/>
              </a:ext>
            </a:extLst>
          </p:cNvPr>
          <p:cNvSpPr txBox="1"/>
          <p:nvPr/>
        </p:nvSpPr>
        <p:spPr>
          <a:xfrm>
            <a:off x="8490941" y="2689860"/>
            <a:ext cx="2713773" cy="572446"/>
          </a:xfrm>
          <a:prstGeom prst="rect">
            <a:avLst/>
          </a:prstGeom>
          <a:noFill/>
        </p:spPr>
        <p:txBody>
          <a:bodyPr wrap="square" lIns="109710" tIns="54855" rIns="109710" bIns="54855"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HarmonyOS Sans SC"/>
                <a:cs typeface="Lato" pitchFamily="34" charset="0"/>
              </a:rPr>
              <a:t>Lorem Ipsum has two main data statistical this methodologies important Data analysis which summarizes.</a:t>
            </a:r>
          </a:p>
        </p:txBody>
      </p:sp>
      <p:sp>
        <p:nvSpPr>
          <p:cNvPr id="22" name="TextBox 22">
            <a:extLst>
              <a:ext uri="{FF2B5EF4-FFF2-40B4-BE49-F238E27FC236}">
                <a16:creationId xmlns:a16="http://schemas.microsoft.com/office/drawing/2014/main" id="{8F8D3842-6996-4BB6-9047-2FA6A6E1189E}"/>
              </a:ext>
            </a:extLst>
          </p:cNvPr>
          <p:cNvSpPr txBox="1"/>
          <p:nvPr/>
        </p:nvSpPr>
        <p:spPr>
          <a:xfrm>
            <a:off x="8506746" y="4359958"/>
            <a:ext cx="2202668" cy="369314"/>
          </a:xfrm>
          <a:prstGeom prst="rect">
            <a:avLst/>
          </a:prstGeom>
          <a:noFill/>
        </p:spPr>
        <p:txBody>
          <a:bodyPr wrap="square" lIns="91422" tIns="45711" rIns="91422" bIns="45711"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chemeClr val="accent1"/>
                </a:solidFill>
                <a:effectLst/>
                <a:uLnTx/>
                <a:uFillTx/>
                <a:latin typeface="HarmonyOS Sans SC Black"/>
                <a:ea typeface="+mj-ea"/>
                <a:cs typeface="Lato" pitchFamily="34" charset="0"/>
              </a:rPr>
              <a:t>Description here</a:t>
            </a:r>
            <a:endParaRPr kumimoji="0" lang="id-ID" sz="1800" b="1" i="0" u="none" strike="noStrike" kern="1200" cap="none" spc="0" normalizeH="0" baseline="0" noProof="0" dirty="0">
              <a:ln>
                <a:noFill/>
              </a:ln>
              <a:solidFill>
                <a:schemeClr val="accent1"/>
              </a:solidFill>
              <a:effectLst/>
              <a:uLnTx/>
              <a:uFillTx/>
              <a:latin typeface="HarmonyOS Sans SC Black"/>
              <a:ea typeface="+mj-ea"/>
              <a:cs typeface="Lato" pitchFamily="34" charset="0"/>
            </a:endParaRPr>
          </a:p>
        </p:txBody>
      </p:sp>
      <p:sp>
        <p:nvSpPr>
          <p:cNvPr id="23" name="TextBox 23">
            <a:extLst>
              <a:ext uri="{FF2B5EF4-FFF2-40B4-BE49-F238E27FC236}">
                <a16:creationId xmlns:a16="http://schemas.microsoft.com/office/drawing/2014/main" id="{C715A7B5-AF2E-4261-AD52-3784B40EEDEC}"/>
              </a:ext>
            </a:extLst>
          </p:cNvPr>
          <p:cNvSpPr txBox="1"/>
          <p:nvPr/>
        </p:nvSpPr>
        <p:spPr>
          <a:xfrm>
            <a:off x="8490941" y="4768369"/>
            <a:ext cx="2713773" cy="572446"/>
          </a:xfrm>
          <a:prstGeom prst="rect">
            <a:avLst/>
          </a:prstGeom>
          <a:noFill/>
        </p:spPr>
        <p:txBody>
          <a:bodyPr wrap="square" lIns="109710" tIns="54855" rIns="109710" bIns="54855"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HarmonyOS Sans SC"/>
                <a:cs typeface="Lato" pitchFamily="34" charset="0"/>
              </a:rPr>
              <a:t>Lorem Ipsum has two main data statistical this methodologies important Data analysis which summarizes.</a:t>
            </a:r>
          </a:p>
        </p:txBody>
      </p:sp>
      <p:sp>
        <p:nvSpPr>
          <p:cNvPr id="24" name="文本框 23">
            <a:extLst>
              <a:ext uri="{FF2B5EF4-FFF2-40B4-BE49-F238E27FC236}">
                <a16:creationId xmlns:a16="http://schemas.microsoft.com/office/drawing/2014/main" id="{A3142383-D410-47B7-88DB-E5EC4588AE8D}"/>
              </a:ext>
            </a:extLst>
          </p:cNvPr>
          <p:cNvSpPr txBox="1"/>
          <p:nvPr/>
        </p:nvSpPr>
        <p:spPr>
          <a:xfrm>
            <a:off x="4608252" y="918105"/>
            <a:ext cx="2975495" cy="52322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2800" b="0" i="0" u="none" strike="noStrike" kern="1200" cap="none" spc="0" normalizeH="0" baseline="0" noProof="0" dirty="0">
                <a:ln>
                  <a:noFill/>
                </a:ln>
                <a:solidFill>
                  <a:prstClr val="black"/>
                </a:solidFill>
                <a:effectLst/>
                <a:uLnTx/>
                <a:uFillTx/>
                <a:latin typeface="HarmonyOS Sans Black"/>
                <a:ea typeface="+mj-ea"/>
                <a:cs typeface="+mn-cs"/>
              </a:rPr>
              <a:t>Our </a:t>
            </a:r>
            <a:r>
              <a:rPr kumimoji="0" lang="en-US" altLang="zh-CN" sz="2800" b="0" i="0" u="none" strike="noStrike" kern="1200" cap="none" spc="0" normalizeH="0" baseline="0" noProof="0" dirty="0">
                <a:ln>
                  <a:noFill/>
                </a:ln>
                <a:solidFill>
                  <a:schemeClr val="accent1"/>
                </a:solidFill>
                <a:effectLst/>
                <a:uLnTx/>
                <a:uFillTx/>
                <a:latin typeface="HarmonyOS Sans Black"/>
                <a:ea typeface="+mj-ea"/>
                <a:cs typeface="+mn-cs"/>
              </a:rPr>
              <a:t>Infographic</a:t>
            </a:r>
          </a:p>
        </p:txBody>
      </p:sp>
    </p:spTree>
    <p:extLst>
      <p:ext uri="{BB962C8B-B14F-4D97-AF65-F5344CB8AC3E}">
        <p14:creationId xmlns:p14="http://schemas.microsoft.com/office/powerpoint/2010/main" val="3428175614"/>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5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文本框 4">
            <a:extLst>
              <a:ext uri="{FF2B5EF4-FFF2-40B4-BE49-F238E27FC236}">
                <a16:creationId xmlns:a16="http://schemas.microsoft.com/office/drawing/2014/main" id="{82D9EF9F-4960-4391-8A25-76EBC23BAA4D}"/>
              </a:ext>
            </a:extLst>
          </p:cNvPr>
          <p:cNvSpPr txBox="1"/>
          <p:nvPr/>
        </p:nvSpPr>
        <p:spPr>
          <a:xfrm>
            <a:off x="4272424" y="918105"/>
            <a:ext cx="3647152" cy="52322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2800" b="0" i="0" u="none" strike="noStrike" kern="1200" cap="none" spc="0" normalizeH="0" baseline="0" noProof="0" dirty="0">
                <a:ln>
                  <a:noFill/>
                </a:ln>
                <a:solidFill>
                  <a:prstClr val="black"/>
                </a:solidFill>
                <a:effectLst/>
                <a:uLnTx/>
                <a:uFillTx/>
                <a:latin typeface="HarmonyOS Sans Black"/>
                <a:ea typeface="+mj-ea"/>
                <a:cs typeface="+mn-cs"/>
              </a:rPr>
              <a:t>Process </a:t>
            </a:r>
            <a:r>
              <a:rPr kumimoji="0" lang="en-US" altLang="zh-CN" sz="2800" b="0" i="0" u="none" strike="noStrike" kern="1200" cap="none" spc="0" normalizeH="0" baseline="0" noProof="0" dirty="0">
                <a:ln>
                  <a:noFill/>
                </a:ln>
                <a:solidFill>
                  <a:schemeClr val="accent1"/>
                </a:solidFill>
                <a:effectLst/>
                <a:uLnTx/>
                <a:uFillTx/>
                <a:latin typeface="HarmonyOS Sans Black"/>
                <a:ea typeface="+mj-ea"/>
                <a:cs typeface="+mn-cs"/>
              </a:rPr>
              <a:t>Infographic</a:t>
            </a:r>
          </a:p>
        </p:txBody>
      </p:sp>
      <p:sp>
        <p:nvSpPr>
          <p:cNvPr id="51" name="Freeform 6">
            <a:extLst>
              <a:ext uri="{FF2B5EF4-FFF2-40B4-BE49-F238E27FC236}">
                <a16:creationId xmlns:a16="http://schemas.microsoft.com/office/drawing/2014/main" id="{74546239-5CF8-4210-BFA4-4E2CEB038DBD}"/>
              </a:ext>
            </a:extLst>
          </p:cNvPr>
          <p:cNvSpPr>
            <a:spLocks/>
          </p:cNvSpPr>
          <p:nvPr/>
        </p:nvSpPr>
        <p:spPr bwMode="auto">
          <a:xfrm>
            <a:off x="3778072" y="2451696"/>
            <a:ext cx="2282825" cy="1230313"/>
          </a:xfrm>
          <a:custGeom>
            <a:avLst/>
            <a:gdLst>
              <a:gd name="T0" fmla="*/ 1198 w 1198"/>
              <a:gd name="T1" fmla="*/ 524 h 634"/>
              <a:gd name="T2" fmla="*/ 1150 w 1198"/>
              <a:gd name="T3" fmla="*/ 473 h 634"/>
              <a:gd name="T4" fmla="*/ 653 w 1198"/>
              <a:gd name="T5" fmla="*/ 72 h 634"/>
              <a:gd name="T6" fmla="*/ 44 w 1198"/>
              <a:gd name="T7" fmla="*/ 208 h 634"/>
              <a:gd name="T8" fmla="*/ 58 w 1198"/>
              <a:gd name="T9" fmla="*/ 339 h 634"/>
              <a:gd name="T10" fmla="*/ 150 w 1198"/>
              <a:gd name="T11" fmla="*/ 326 h 634"/>
              <a:gd name="T12" fmla="*/ 646 w 1198"/>
              <a:gd name="T13" fmla="*/ 240 h 634"/>
              <a:gd name="T14" fmla="*/ 1044 w 1198"/>
              <a:gd name="T15" fmla="*/ 591 h 634"/>
              <a:gd name="T16" fmla="*/ 1084 w 1198"/>
              <a:gd name="T17" fmla="*/ 634 h 634"/>
              <a:gd name="T18" fmla="*/ 1198 w 1198"/>
              <a:gd name="T19" fmla="*/ 524 h 6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98" h="634">
                <a:moveTo>
                  <a:pt x="1198" y="524"/>
                </a:moveTo>
                <a:cubicBezTo>
                  <a:pt x="1173" y="498"/>
                  <a:pt x="1155" y="478"/>
                  <a:pt x="1150" y="473"/>
                </a:cubicBezTo>
                <a:cubicBezTo>
                  <a:pt x="921" y="223"/>
                  <a:pt x="822" y="130"/>
                  <a:pt x="653" y="72"/>
                </a:cubicBezTo>
                <a:cubicBezTo>
                  <a:pt x="443" y="0"/>
                  <a:pt x="183" y="66"/>
                  <a:pt x="44" y="208"/>
                </a:cubicBezTo>
                <a:cubicBezTo>
                  <a:pt x="0" y="246"/>
                  <a:pt x="9" y="314"/>
                  <a:pt x="58" y="339"/>
                </a:cubicBezTo>
                <a:cubicBezTo>
                  <a:pt x="88" y="355"/>
                  <a:pt x="126" y="350"/>
                  <a:pt x="150" y="326"/>
                </a:cubicBezTo>
                <a:cubicBezTo>
                  <a:pt x="276" y="204"/>
                  <a:pt x="488" y="165"/>
                  <a:pt x="646" y="240"/>
                </a:cubicBezTo>
                <a:cubicBezTo>
                  <a:pt x="758" y="292"/>
                  <a:pt x="824" y="351"/>
                  <a:pt x="1044" y="591"/>
                </a:cubicBezTo>
                <a:cubicBezTo>
                  <a:pt x="1044" y="592"/>
                  <a:pt x="1060" y="609"/>
                  <a:pt x="1084" y="634"/>
                </a:cubicBezTo>
                <a:cubicBezTo>
                  <a:pt x="1098" y="579"/>
                  <a:pt x="1142" y="536"/>
                  <a:pt x="1198" y="524"/>
                </a:cubicBezTo>
                <a:close/>
              </a:path>
            </a:pathLst>
          </a:custGeom>
          <a:gradFill>
            <a:gsLst>
              <a:gs pos="73000">
                <a:schemeClr val="accent1"/>
              </a:gs>
              <a:gs pos="31000">
                <a:schemeClr val="accent1">
                  <a:lumMod val="60000"/>
                  <a:lumOff val="40000"/>
                </a:schemeClr>
              </a:gs>
              <a:gs pos="0">
                <a:schemeClr val="accent1">
                  <a:lumMod val="40000"/>
                  <a:lumOff val="60000"/>
                </a:schemeClr>
              </a:gs>
            </a:gsLst>
            <a:path path="circle">
              <a:fillToRect r="100000" b="100000"/>
            </a:path>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ontserrat"/>
              <a:ea typeface="+mn-ea"/>
              <a:cs typeface="+mn-cs"/>
            </a:endParaRPr>
          </a:p>
        </p:txBody>
      </p:sp>
      <p:sp>
        <p:nvSpPr>
          <p:cNvPr id="52" name="Freeform 34">
            <a:extLst>
              <a:ext uri="{FF2B5EF4-FFF2-40B4-BE49-F238E27FC236}">
                <a16:creationId xmlns:a16="http://schemas.microsoft.com/office/drawing/2014/main" id="{88C1A1E2-7396-4011-B1EB-DA0429874BF5}"/>
              </a:ext>
            </a:extLst>
          </p:cNvPr>
          <p:cNvSpPr>
            <a:spLocks/>
          </p:cNvSpPr>
          <p:nvPr/>
        </p:nvSpPr>
        <p:spPr bwMode="auto">
          <a:xfrm>
            <a:off x="6179959" y="3824884"/>
            <a:ext cx="2266951" cy="1108108"/>
          </a:xfrm>
          <a:custGeom>
            <a:avLst/>
            <a:gdLst>
              <a:gd name="connsiteX0" fmla="*/ 217140 w 2266951"/>
              <a:gd name="connsiteY0" fmla="*/ 0 h 1108108"/>
              <a:gd name="connsiteX1" fmla="*/ 304757 w 2266951"/>
              <a:gd name="connsiteY1" fmla="*/ 93205 h 1108108"/>
              <a:gd name="connsiteX2" fmla="*/ 1478072 w 2266951"/>
              <a:gd name="connsiteY2" fmla="*/ 794179 h 1108108"/>
              <a:gd name="connsiteX3" fmla="*/ 1861161 w 2266951"/>
              <a:gd name="connsiteY3" fmla="*/ 641266 h 1108108"/>
              <a:gd name="connsiteX4" fmla="*/ 1905720 w 2266951"/>
              <a:gd name="connsiteY4" fmla="*/ 605806 h 1108108"/>
              <a:gd name="connsiteX5" fmla="*/ 1846243 w 2266951"/>
              <a:gd name="connsiteY5" fmla="*/ 545115 h 1108108"/>
              <a:gd name="connsiteX6" fmla="*/ 1869087 w 2266951"/>
              <a:gd name="connsiteY6" fmla="*/ 488782 h 1108108"/>
              <a:gd name="connsiteX7" fmla="*/ 2192709 w 2266951"/>
              <a:gd name="connsiteY7" fmla="*/ 481012 h 1108108"/>
              <a:gd name="connsiteX8" fmla="*/ 2266951 w 2266951"/>
              <a:gd name="connsiteY8" fmla="*/ 558713 h 1108108"/>
              <a:gd name="connsiteX9" fmla="*/ 2261240 w 2266951"/>
              <a:gd name="connsiteY9" fmla="*/ 886997 h 1108108"/>
              <a:gd name="connsiteX10" fmla="*/ 2204131 w 2266951"/>
              <a:gd name="connsiteY10" fmla="*/ 910307 h 1108108"/>
              <a:gd name="connsiteX11" fmla="*/ 2121104 w 2266951"/>
              <a:gd name="connsiteY11" fmla="*/ 825585 h 1108108"/>
              <a:gd name="connsiteX12" fmla="*/ 2073892 w 2266951"/>
              <a:gd name="connsiteY12" fmla="*/ 864826 h 1108108"/>
              <a:gd name="connsiteX13" fmla="*/ 1500929 w 2266951"/>
              <a:gd name="connsiteY13" fmla="*/ 1102919 h 1108108"/>
              <a:gd name="connsiteX14" fmla="*/ 104760 w 2266951"/>
              <a:gd name="connsiteY14" fmla="*/ 324274 h 1108108"/>
              <a:gd name="connsiteX15" fmla="*/ 0 w 2266951"/>
              <a:gd name="connsiteY15" fmla="*/ 213594 h 1108108"/>
              <a:gd name="connsiteX16" fmla="*/ 217140 w 2266951"/>
              <a:gd name="connsiteY16" fmla="*/ 0 h 11081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266951" h="1108108">
                <a:moveTo>
                  <a:pt x="217140" y="0"/>
                </a:moveTo>
                <a:cubicBezTo>
                  <a:pt x="262853" y="48544"/>
                  <a:pt x="295234" y="83496"/>
                  <a:pt x="304757" y="93205"/>
                </a:cubicBezTo>
                <a:cubicBezTo>
                  <a:pt x="721893" y="557285"/>
                  <a:pt x="1078078" y="860199"/>
                  <a:pt x="1478072" y="794179"/>
                </a:cubicBezTo>
                <a:cubicBezTo>
                  <a:pt x="1660926" y="764082"/>
                  <a:pt x="1779496" y="700975"/>
                  <a:pt x="1861161" y="641266"/>
                </a:cubicBezTo>
                <a:lnTo>
                  <a:pt x="1905720" y="605806"/>
                </a:lnTo>
                <a:lnTo>
                  <a:pt x="1846243" y="545115"/>
                </a:lnTo>
                <a:cubicBezTo>
                  <a:pt x="1817688" y="514035"/>
                  <a:pt x="1827207" y="488782"/>
                  <a:pt x="1869087" y="488782"/>
                </a:cubicBezTo>
                <a:cubicBezTo>
                  <a:pt x="2192709" y="481012"/>
                  <a:pt x="2192709" y="481012"/>
                  <a:pt x="2192709" y="481012"/>
                </a:cubicBezTo>
                <a:cubicBezTo>
                  <a:pt x="2234589" y="481012"/>
                  <a:pt x="2266951" y="515977"/>
                  <a:pt x="2266951" y="558713"/>
                </a:cubicBezTo>
                <a:cubicBezTo>
                  <a:pt x="2261240" y="886997"/>
                  <a:pt x="2261240" y="886997"/>
                  <a:pt x="2261240" y="886997"/>
                </a:cubicBezTo>
                <a:cubicBezTo>
                  <a:pt x="2259336" y="929732"/>
                  <a:pt x="2234589" y="941387"/>
                  <a:pt x="2204131" y="910307"/>
                </a:cubicBezTo>
                <a:lnTo>
                  <a:pt x="2121104" y="825585"/>
                </a:lnTo>
                <a:lnTo>
                  <a:pt x="2073892" y="864826"/>
                </a:lnTo>
                <a:cubicBezTo>
                  <a:pt x="1937529" y="968210"/>
                  <a:pt x="1725925" y="1081074"/>
                  <a:pt x="1500929" y="1102919"/>
                </a:cubicBezTo>
                <a:cubicBezTo>
                  <a:pt x="895224" y="1157288"/>
                  <a:pt x="529516" y="776704"/>
                  <a:pt x="104760" y="324274"/>
                </a:cubicBezTo>
                <a:cubicBezTo>
                  <a:pt x="102856" y="324274"/>
                  <a:pt x="60952" y="277672"/>
                  <a:pt x="0" y="213594"/>
                </a:cubicBezTo>
                <a:cubicBezTo>
                  <a:pt x="106665" y="190292"/>
                  <a:pt x="190473" y="106797"/>
                  <a:pt x="217140" y="0"/>
                </a:cubicBezTo>
                <a:close/>
              </a:path>
            </a:pathLst>
          </a:custGeom>
          <a:gradFill>
            <a:gsLst>
              <a:gs pos="73000">
                <a:schemeClr val="accent1"/>
              </a:gs>
              <a:gs pos="31000">
                <a:schemeClr val="accent1">
                  <a:lumMod val="60000"/>
                  <a:lumOff val="40000"/>
                </a:schemeClr>
              </a:gs>
              <a:gs pos="0">
                <a:schemeClr val="accent1">
                  <a:lumMod val="40000"/>
                  <a:lumOff val="60000"/>
                </a:schemeClr>
              </a:gs>
            </a:gsLst>
            <a:path path="circle">
              <a:fillToRect r="100000" b="100000"/>
            </a:path>
          </a:gra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ontserrat"/>
              <a:ea typeface="+mn-ea"/>
              <a:cs typeface="+mn-cs"/>
            </a:endParaRPr>
          </a:p>
        </p:txBody>
      </p:sp>
      <p:sp>
        <p:nvSpPr>
          <p:cNvPr id="53" name="Freeform 31">
            <a:extLst>
              <a:ext uri="{FF2B5EF4-FFF2-40B4-BE49-F238E27FC236}">
                <a16:creationId xmlns:a16="http://schemas.microsoft.com/office/drawing/2014/main" id="{23D70560-A59A-4B95-BB74-673D94A6AA41}"/>
              </a:ext>
            </a:extLst>
          </p:cNvPr>
          <p:cNvSpPr>
            <a:spLocks/>
          </p:cNvSpPr>
          <p:nvPr/>
        </p:nvSpPr>
        <p:spPr bwMode="auto">
          <a:xfrm>
            <a:off x="907975" y="4282302"/>
            <a:ext cx="1777896" cy="689756"/>
          </a:xfrm>
          <a:custGeom>
            <a:avLst/>
            <a:gdLst>
              <a:gd name="connsiteX0" fmla="*/ 1728270 w 1777896"/>
              <a:gd name="connsiteY0" fmla="*/ 493 h 689756"/>
              <a:gd name="connsiteX1" fmla="*/ 1777896 w 1777896"/>
              <a:gd name="connsiteY1" fmla="*/ 45182 h 689756"/>
              <a:gd name="connsiteX2" fmla="*/ 1775987 w 1777896"/>
              <a:gd name="connsiteY2" fmla="*/ 464871 h 689756"/>
              <a:gd name="connsiteX3" fmla="*/ 1737813 w 1777896"/>
              <a:gd name="connsiteY3" fmla="*/ 482358 h 689756"/>
              <a:gd name="connsiteX4" fmla="*/ 1637213 w 1777896"/>
              <a:gd name="connsiteY4" fmla="*/ 392694 h 689756"/>
              <a:gd name="connsiteX5" fmla="*/ 1625467 w 1777896"/>
              <a:gd name="connsiteY5" fmla="*/ 402622 h 689756"/>
              <a:gd name="connsiteX6" fmla="*/ 1200288 w 1777896"/>
              <a:gd name="connsiteY6" fmla="*/ 637126 h 689756"/>
              <a:gd name="connsiteX7" fmla="*/ 573094 w 1777896"/>
              <a:gd name="connsiteY7" fmla="*/ 654619 h 689756"/>
              <a:gd name="connsiteX8" fmla="*/ 46938 w 1777896"/>
              <a:gd name="connsiteY8" fmla="*/ 361138 h 689756"/>
              <a:gd name="connsiteX9" fmla="*/ 73627 w 1777896"/>
              <a:gd name="connsiteY9" fmla="*/ 116248 h 689756"/>
              <a:gd name="connsiteX10" fmla="*/ 207072 w 1777896"/>
              <a:gd name="connsiteY10" fmla="*/ 106530 h 689756"/>
              <a:gd name="connsiteX11" fmla="*/ 576907 w 1777896"/>
              <a:gd name="connsiteY11" fmla="*/ 333928 h 689756"/>
              <a:gd name="connsiteX12" fmla="*/ 1160255 w 1777896"/>
              <a:gd name="connsiteY12" fmla="*/ 324210 h 689756"/>
              <a:gd name="connsiteX13" fmla="*/ 1383538 w 1777896"/>
              <a:gd name="connsiteY13" fmla="*/ 200064 h 689756"/>
              <a:gd name="connsiteX14" fmla="*/ 1403740 w 1777896"/>
              <a:gd name="connsiteY14" fmla="*/ 184602 h 689756"/>
              <a:gd name="connsiteX15" fmla="*/ 1308354 w 1777896"/>
              <a:gd name="connsiteY15" fmla="*/ 99586 h 689756"/>
              <a:gd name="connsiteX16" fmla="*/ 1319806 w 1777896"/>
              <a:gd name="connsiteY16" fmla="*/ 58783 h 689756"/>
              <a:gd name="connsiteX17" fmla="*/ 1728270 w 1777896"/>
              <a:gd name="connsiteY17" fmla="*/ 493 h 689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777896" h="689756">
                <a:moveTo>
                  <a:pt x="1728270" y="493"/>
                </a:moveTo>
                <a:cubicBezTo>
                  <a:pt x="1754992" y="-3393"/>
                  <a:pt x="1777896" y="16037"/>
                  <a:pt x="1777896" y="45182"/>
                </a:cubicBezTo>
                <a:cubicBezTo>
                  <a:pt x="1775987" y="464871"/>
                  <a:pt x="1775987" y="464871"/>
                  <a:pt x="1775987" y="464871"/>
                </a:cubicBezTo>
                <a:cubicBezTo>
                  <a:pt x="1775987" y="492073"/>
                  <a:pt x="1758809" y="499845"/>
                  <a:pt x="1737813" y="482358"/>
                </a:cubicBezTo>
                <a:lnTo>
                  <a:pt x="1637213" y="392694"/>
                </a:lnTo>
                <a:lnTo>
                  <a:pt x="1625467" y="402622"/>
                </a:lnTo>
                <a:cubicBezTo>
                  <a:pt x="1540574" y="470950"/>
                  <a:pt x="1374721" y="584650"/>
                  <a:pt x="1200288" y="637126"/>
                </a:cubicBezTo>
                <a:cubicBezTo>
                  <a:pt x="1024903" y="695434"/>
                  <a:pt x="801858" y="710982"/>
                  <a:pt x="573094" y="654619"/>
                </a:cubicBezTo>
                <a:cubicBezTo>
                  <a:pt x="414866" y="621578"/>
                  <a:pt x="182290" y="501076"/>
                  <a:pt x="46938" y="361138"/>
                </a:cubicBezTo>
                <a:cubicBezTo>
                  <a:pt x="-25504" y="291170"/>
                  <a:pt x="-12159" y="168724"/>
                  <a:pt x="73627" y="116248"/>
                </a:cubicBezTo>
                <a:cubicBezTo>
                  <a:pt x="113661" y="90981"/>
                  <a:pt x="163226" y="87094"/>
                  <a:pt x="207072" y="106530"/>
                </a:cubicBezTo>
                <a:cubicBezTo>
                  <a:pt x="269983" y="131796"/>
                  <a:pt x="338612" y="250355"/>
                  <a:pt x="576907" y="333928"/>
                </a:cubicBezTo>
                <a:cubicBezTo>
                  <a:pt x="752293" y="396123"/>
                  <a:pt x="963899" y="400010"/>
                  <a:pt x="1160255" y="324210"/>
                </a:cubicBezTo>
                <a:cubicBezTo>
                  <a:pt x="1245088" y="292141"/>
                  <a:pt x="1324202" y="242580"/>
                  <a:pt x="1383538" y="200064"/>
                </a:cubicBezTo>
                <a:lnTo>
                  <a:pt x="1403740" y="184602"/>
                </a:lnTo>
                <a:lnTo>
                  <a:pt x="1308354" y="99586"/>
                </a:lnTo>
                <a:cubicBezTo>
                  <a:pt x="1287358" y="82099"/>
                  <a:pt x="1293084" y="62669"/>
                  <a:pt x="1319806" y="58783"/>
                </a:cubicBezTo>
                <a:cubicBezTo>
                  <a:pt x="1728270" y="493"/>
                  <a:pt x="1728270" y="493"/>
                  <a:pt x="1728270" y="493"/>
                </a:cubicBezTo>
                <a:close/>
              </a:path>
            </a:pathLst>
          </a:custGeom>
          <a:gradFill>
            <a:gsLst>
              <a:gs pos="73000">
                <a:schemeClr val="accent1"/>
              </a:gs>
              <a:gs pos="31000">
                <a:schemeClr val="accent1">
                  <a:lumMod val="60000"/>
                  <a:lumOff val="40000"/>
                </a:schemeClr>
              </a:gs>
              <a:gs pos="0">
                <a:schemeClr val="accent1">
                  <a:lumMod val="40000"/>
                  <a:lumOff val="60000"/>
                </a:schemeClr>
              </a:gs>
            </a:gsLst>
            <a:path path="circle">
              <a:fillToRect r="100000" b="100000"/>
            </a:path>
          </a:gra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ontserrat"/>
              <a:ea typeface="+mn-ea"/>
              <a:cs typeface="+mn-cs"/>
            </a:endParaRPr>
          </a:p>
        </p:txBody>
      </p:sp>
      <p:sp>
        <p:nvSpPr>
          <p:cNvPr id="54" name="Freeform 32">
            <a:extLst>
              <a:ext uri="{FF2B5EF4-FFF2-40B4-BE49-F238E27FC236}">
                <a16:creationId xmlns:a16="http://schemas.microsoft.com/office/drawing/2014/main" id="{88716C0A-6A33-42DF-9695-6DFE34A1EBDA}"/>
              </a:ext>
            </a:extLst>
          </p:cNvPr>
          <p:cNvSpPr>
            <a:spLocks/>
          </p:cNvSpPr>
          <p:nvPr/>
        </p:nvSpPr>
        <p:spPr bwMode="auto">
          <a:xfrm>
            <a:off x="9502102" y="2529293"/>
            <a:ext cx="1776830" cy="692079"/>
          </a:xfrm>
          <a:custGeom>
            <a:avLst/>
            <a:gdLst>
              <a:gd name="connsiteX0" fmla="*/ 871387 w 1776830"/>
              <a:gd name="connsiteY0" fmla="*/ 689 h 692079"/>
              <a:gd name="connsiteX1" fmla="*/ 1203750 w 1776830"/>
              <a:gd name="connsiteY1" fmla="*/ 35917 h 692079"/>
              <a:gd name="connsiteX2" fmla="*/ 1731341 w 1776830"/>
              <a:gd name="connsiteY2" fmla="*/ 329397 h 692079"/>
              <a:gd name="connsiteX3" fmla="*/ 1704675 w 1776830"/>
              <a:gd name="connsiteY3" fmla="*/ 574288 h 692079"/>
              <a:gd name="connsiteX4" fmla="*/ 1569445 w 1776830"/>
              <a:gd name="connsiteY4" fmla="*/ 584005 h 692079"/>
              <a:gd name="connsiteX5" fmla="*/ 1199941 w 1776830"/>
              <a:gd name="connsiteY5" fmla="*/ 356607 h 692079"/>
              <a:gd name="connsiteX6" fmla="*/ 617115 w 1776830"/>
              <a:gd name="connsiteY6" fmla="*/ 366325 h 692079"/>
              <a:gd name="connsiteX7" fmla="*/ 394746 w 1776830"/>
              <a:gd name="connsiteY7" fmla="*/ 489499 h 692079"/>
              <a:gd name="connsiteX8" fmla="*/ 373753 w 1776830"/>
              <a:gd name="connsiteY8" fmla="*/ 505406 h 692079"/>
              <a:gd name="connsiteX9" fmla="*/ 469235 w 1776830"/>
              <a:gd name="connsiteY9" fmla="*/ 590338 h 692079"/>
              <a:gd name="connsiteX10" fmla="*/ 457791 w 1776830"/>
              <a:gd name="connsiteY10" fmla="*/ 633188 h 692079"/>
              <a:gd name="connsiteX11" fmla="*/ 51501 w 1776830"/>
              <a:gd name="connsiteY11" fmla="*/ 691621 h 692079"/>
              <a:gd name="connsiteX12" fmla="*/ 0 w 1776830"/>
              <a:gd name="connsiteY12" fmla="*/ 646823 h 692079"/>
              <a:gd name="connsiteX13" fmla="*/ 1907 w 1776830"/>
              <a:gd name="connsiteY13" fmla="*/ 226110 h 692079"/>
              <a:gd name="connsiteX14" fmla="*/ 40057 w 1776830"/>
              <a:gd name="connsiteY14" fmla="*/ 208581 h 692079"/>
              <a:gd name="connsiteX15" fmla="*/ 140490 w 1776830"/>
              <a:gd name="connsiteY15" fmla="*/ 297916 h 692079"/>
              <a:gd name="connsiteX16" fmla="*/ 152348 w 1776830"/>
              <a:gd name="connsiteY16" fmla="*/ 287883 h 692079"/>
              <a:gd name="connsiteX17" fmla="*/ 579022 w 1776830"/>
              <a:gd name="connsiteY17" fmla="*/ 51465 h 692079"/>
              <a:gd name="connsiteX18" fmla="*/ 871387 w 1776830"/>
              <a:gd name="connsiteY18" fmla="*/ 689 h 692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776830" h="692079">
                <a:moveTo>
                  <a:pt x="871387" y="689"/>
                </a:moveTo>
                <a:cubicBezTo>
                  <a:pt x="977095" y="-2955"/>
                  <a:pt x="1089470" y="7735"/>
                  <a:pt x="1203750" y="35917"/>
                </a:cubicBezTo>
                <a:cubicBezTo>
                  <a:pt x="1361837" y="67014"/>
                  <a:pt x="1594205" y="189459"/>
                  <a:pt x="1731341" y="329397"/>
                </a:cubicBezTo>
                <a:cubicBezTo>
                  <a:pt x="1801813" y="399366"/>
                  <a:pt x="1788480" y="521811"/>
                  <a:pt x="1704675" y="574288"/>
                </a:cubicBezTo>
                <a:cubicBezTo>
                  <a:pt x="1664677" y="597610"/>
                  <a:pt x="1613252" y="601498"/>
                  <a:pt x="1569445" y="584005"/>
                </a:cubicBezTo>
                <a:cubicBezTo>
                  <a:pt x="1506591" y="558739"/>
                  <a:pt x="1438023" y="438237"/>
                  <a:pt x="1199941" y="356607"/>
                </a:cubicBezTo>
                <a:cubicBezTo>
                  <a:pt x="1024712" y="294413"/>
                  <a:pt x="813295" y="290525"/>
                  <a:pt x="617115" y="366325"/>
                </a:cubicBezTo>
                <a:cubicBezTo>
                  <a:pt x="532358" y="398394"/>
                  <a:pt x="453790" y="447469"/>
                  <a:pt x="394746" y="489499"/>
                </a:cubicBezTo>
                <a:lnTo>
                  <a:pt x="373753" y="505406"/>
                </a:lnTo>
                <a:lnTo>
                  <a:pt x="469235" y="590338"/>
                </a:lnTo>
                <a:cubicBezTo>
                  <a:pt x="492125" y="609815"/>
                  <a:pt x="486403" y="629293"/>
                  <a:pt x="457791" y="633188"/>
                </a:cubicBezTo>
                <a:cubicBezTo>
                  <a:pt x="51501" y="691621"/>
                  <a:pt x="51501" y="691621"/>
                  <a:pt x="51501" y="691621"/>
                </a:cubicBezTo>
                <a:cubicBezTo>
                  <a:pt x="22890" y="695516"/>
                  <a:pt x="0" y="674091"/>
                  <a:pt x="0" y="646823"/>
                </a:cubicBezTo>
                <a:cubicBezTo>
                  <a:pt x="1907" y="226110"/>
                  <a:pt x="1907" y="226110"/>
                  <a:pt x="1907" y="226110"/>
                </a:cubicBezTo>
                <a:cubicBezTo>
                  <a:pt x="1907" y="196894"/>
                  <a:pt x="19075" y="189103"/>
                  <a:pt x="40057" y="208581"/>
                </a:cubicBezTo>
                <a:lnTo>
                  <a:pt x="140490" y="297916"/>
                </a:lnTo>
                <a:lnTo>
                  <a:pt x="152348" y="287883"/>
                </a:lnTo>
                <a:cubicBezTo>
                  <a:pt x="237254" y="219463"/>
                  <a:pt x="403317" y="105400"/>
                  <a:pt x="579022" y="51465"/>
                </a:cubicBezTo>
                <a:cubicBezTo>
                  <a:pt x="666636" y="22312"/>
                  <a:pt x="765678" y="4334"/>
                  <a:pt x="871387" y="689"/>
                </a:cubicBezTo>
                <a:close/>
              </a:path>
            </a:pathLst>
          </a:custGeom>
          <a:gradFill>
            <a:gsLst>
              <a:gs pos="73000">
                <a:schemeClr val="accent1"/>
              </a:gs>
              <a:gs pos="31000">
                <a:schemeClr val="accent1">
                  <a:lumMod val="60000"/>
                  <a:lumOff val="40000"/>
                </a:schemeClr>
              </a:gs>
              <a:gs pos="0">
                <a:schemeClr val="accent1">
                  <a:lumMod val="40000"/>
                  <a:lumOff val="60000"/>
                </a:schemeClr>
              </a:gs>
            </a:gsLst>
            <a:path path="circle">
              <a:fillToRect r="100000" b="100000"/>
            </a:path>
          </a:gra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ontserrat"/>
              <a:ea typeface="+mn-ea"/>
              <a:cs typeface="+mn-cs"/>
            </a:endParaRPr>
          </a:p>
        </p:txBody>
      </p:sp>
      <p:sp>
        <p:nvSpPr>
          <p:cNvPr id="55" name="Freeform 13">
            <a:extLst>
              <a:ext uri="{FF2B5EF4-FFF2-40B4-BE49-F238E27FC236}">
                <a16:creationId xmlns:a16="http://schemas.microsoft.com/office/drawing/2014/main" id="{36B52BC3-8C64-40FC-93E2-E23F83326968}"/>
              </a:ext>
            </a:extLst>
          </p:cNvPr>
          <p:cNvSpPr>
            <a:spLocks/>
          </p:cNvSpPr>
          <p:nvPr/>
        </p:nvSpPr>
        <p:spPr bwMode="auto">
          <a:xfrm>
            <a:off x="880884" y="2451696"/>
            <a:ext cx="2282825" cy="1230313"/>
          </a:xfrm>
          <a:custGeom>
            <a:avLst/>
            <a:gdLst>
              <a:gd name="T0" fmla="*/ 1198 w 1198"/>
              <a:gd name="T1" fmla="*/ 524 h 634"/>
              <a:gd name="T2" fmla="*/ 1150 w 1198"/>
              <a:gd name="T3" fmla="*/ 473 h 634"/>
              <a:gd name="T4" fmla="*/ 653 w 1198"/>
              <a:gd name="T5" fmla="*/ 72 h 634"/>
              <a:gd name="T6" fmla="*/ 44 w 1198"/>
              <a:gd name="T7" fmla="*/ 208 h 634"/>
              <a:gd name="T8" fmla="*/ 58 w 1198"/>
              <a:gd name="T9" fmla="*/ 339 h 634"/>
              <a:gd name="T10" fmla="*/ 150 w 1198"/>
              <a:gd name="T11" fmla="*/ 326 h 634"/>
              <a:gd name="T12" fmla="*/ 646 w 1198"/>
              <a:gd name="T13" fmla="*/ 240 h 634"/>
              <a:gd name="T14" fmla="*/ 1044 w 1198"/>
              <a:gd name="T15" fmla="*/ 591 h 634"/>
              <a:gd name="T16" fmla="*/ 1085 w 1198"/>
              <a:gd name="T17" fmla="*/ 634 h 634"/>
              <a:gd name="T18" fmla="*/ 1198 w 1198"/>
              <a:gd name="T19" fmla="*/ 524 h 6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98" h="634">
                <a:moveTo>
                  <a:pt x="1198" y="524"/>
                </a:moveTo>
                <a:cubicBezTo>
                  <a:pt x="1173" y="498"/>
                  <a:pt x="1155" y="478"/>
                  <a:pt x="1150" y="473"/>
                </a:cubicBezTo>
                <a:cubicBezTo>
                  <a:pt x="921" y="223"/>
                  <a:pt x="822" y="130"/>
                  <a:pt x="653" y="72"/>
                </a:cubicBezTo>
                <a:cubicBezTo>
                  <a:pt x="443" y="0"/>
                  <a:pt x="183" y="66"/>
                  <a:pt x="44" y="208"/>
                </a:cubicBezTo>
                <a:cubicBezTo>
                  <a:pt x="0" y="246"/>
                  <a:pt x="9" y="314"/>
                  <a:pt x="58" y="339"/>
                </a:cubicBezTo>
                <a:cubicBezTo>
                  <a:pt x="88" y="355"/>
                  <a:pt x="126" y="350"/>
                  <a:pt x="150" y="326"/>
                </a:cubicBezTo>
                <a:cubicBezTo>
                  <a:pt x="276" y="204"/>
                  <a:pt x="488" y="165"/>
                  <a:pt x="646" y="240"/>
                </a:cubicBezTo>
                <a:cubicBezTo>
                  <a:pt x="758" y="292"/>
                  <a:pt x="824" y="351"/>
                  <a:pt x="1044" y="591"/>
                </a:cubicBezTo>
                <a:cubicBezTo>
                  <a:pt x="1044" y="592"/>
                  <a:pt x="1060" y="609"/>
                  <a:pt x="1085" y="634"/>
                </a:cubicBezTo>
                <a:cubicBezTo>
                  <a:pt x="1098" y="579"/>
                  <a:pt x="1143" y="536"/>
                  <a:pt x="1198" y="524"/>
                </a:cubicBezTo>
                <a:close/>
              </a:path>
            </a:pathLst>
          </a:custGeom>
          <a:gradFill>
            <a:gsLst>
              <a:gs pos="73000">
                <a:schemeClr val="accent1"/>
              </a:gs>
              <a:gs pos="31000">
                <a:schemeClr val="accent1">
                  <a:lumMod val="60000"/>
                  <a:lumOff val="40000"/>
                </a:schemeClr>
              </a:gs>
              <a:gs pos="0">
                <a:schemeClr val="accent1">
                  <a:lumMod val="40000"/>
                  <a:lumOff val="60000"/>
                </a:schemeClr>
              </a:gs>
            </a:gsLst>
            <a:path path="circle">
              <a:fillToRect r="100000" b="100000"/>
            </a:path>
          </a:gradFill>
          <a:ln w="12700">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ontserrat"/>
              <a:ea typeface="+mn-ea"/>
              <a:cs typeface="+mn-cs"/>
            </a:endParaRPr>
          </a:p>
        </p:txBody>
      </p:sp>
      <p:sp>
        <p:nvSpPr>
          <p:cNvPr id="56" name="Freeform 33">
            <a:extLst>
              <a:ext uri="{FF2B5EF4-FFF2-40B4-BE49-F238E27FC236}">
                <a16:creationId xmlns:a16="http://schemas.microsoft.com/office/drawing/2014/main" id="{4770957B-6963-41DB-95B7-EEC02C433331}"/>
              </a:ext>
            </a:extLst>
          </p:cNvPr>
          <p:cNvSpPr>
            <a:spLocks/>
          </p:cNvSpPr>
          <p:nvPr/>
        </p:nvSpPr>
        <p:spPr bwMode="auto">
          <a:xfrm>
            <a:off x="3282772" y="3824884"/>
            <a:ext cx="2266950" cy="1108108"/>
          </a:xfrm>
          <a:custGeom>
            <a:avLst/>
            <a:gdLst>
              <a:gd name="connsiteX0" fmla="*/ 217140 w 2266950"/>
              <a:gd name="connsiteY0" fmla="*/ 0 h 1108108"/>
              <a:gd name="connsiteX1" fmla="*/ 304757 w 2266950"/>
              <a:gd name="connsiteY1" fmla="*/ 93205 h 1108108"/>
              <a:gd name="connsiteX2" fmla="*/ 1478072 w 2266950"/>
              <a:gd name="connsiteY2" fmla="*/ 794179 h 1108108"/>
              <a:gd name="connsiteX3" fmla="*/ 1861399 w 2266950"/>
              <a:gd name="connsiteY3" fmla="*/ 641266 h 1108108"/>
              <a:gd name="connsiteX4" fmla="*/ 1906083 w 2266950"/>
              <a:gd name="connsiteY4" fmla="*/ 605854 h 1108108"/>
              <a:gd name="connsiteX5" fmla="*/ 1846242 w 2266950"/>
              <a:gd name="connsiteY5" fmla="*/ 545115 h 1108108"/>
              <a:gd name="connsiteX6" fmla="*/ 1869086 w 2266950"/>
              <a:gd name="connsiteY6" fmla="*/ 488782 h 1108108"/>
              <a:gd name="connsiteX7" fmla="*/ 2192708 w 2266950"/>
              <a:gd name="connsiteY7" fmla="*/ 481012 h 1108108"/>
              <a:gd name="connsiteX8" fmla="*/ 2266950 w 2266950"/>
              <a:gd name="connsiteY8" fmla="*/ 558713 h 1108108"/>
              <a:gd name="connsiteX9" fmla="*/ 2261239 w 2266950"/>
              <a:gd name="connsiteY9" fmla="*/ 886997 h 1108108"/>
              <a:gd name="connsiteX10" fmla="*/ 2206033 w 2266950"/>
              <a:gd name="connsiteY10" fmla="*/ 910307 h 1108108"/>
              <a:gd name="connsiteX11" fmla="*/ 2121907 w 2266950"/>
              <a:gd name="connsiteY11" fmla="*/ 824918 h 1108108"/>
              <a:gd name="connsiteX12" fmla="*/ 2073892 w 2266950"/>
              <a:gd name="connsiteY12" fmla="*/ 864826 h 1108108"/>
              <a:gd name="connsiteX13" fmla="*/ 1500929 w 2266950"/>
              <a:gd name="connsiteY13" fmla="*/ 1102919 h 1108108"/>
              <a:gd name="connsiteX14" fmla="*/ 104760 w 2266950"/>
              <a:gd name="connsiteY14" fmla="*/ 324274 h 1108108"/>
              <a:gd name="connsiteX15" fmla="*/ 0 w 2266950"/>
              <a:gd name="connsiteY15" fmla="*/ 213594 h 1108108"/>
              <a:gd name="connsiteX16" fmla="*/ 217140 w 2266950"/>
              <a:gd name="connsiteY16" fmla="*/ 0 h 11081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266950" h="1108108">
                <a:moveTo>
                  <a:pt x="217140" y="0"/>
                </a:moveTo>
                <a:cubicBezTo>
                  <a:pt x="262853" y="48544"/>
                  <a:pt x="295234" y="83496"/>
                  <a:pt x="304757" y="93205"/>
                </a:cubicBezTo>
                <a:cubicBezTo>
                  <a:pt x="721893" y="557285"/>
                  <a:pt x="1078078" y="860199"/>
                  <a:pt x="1478072" y="794179"/>
                </a:cubicBezTo>
                <a:cubicBezTo>
                  <a:pt x="1660926" y="764082"/>
                  <a:pt x="1779496" y="700975"/>
                  <a:pt x="1861399" y="641266"/>
                </a:cubicBezTo>
                <a:lnTo>
                  <a:pt x="1906083" y="605854"/>
                </a:lnTo>
                <a:lnTo>
                  <a:pt x="1846242" y="545115"/>
                </a:lnTo>
                <a:cubicBezTo>
                  <a:pt x="1817687" y="514035"/>
                  <a:pt x="1827206" y="488782"/>
                  <a:pt x="1869086" y="488782"/>
                </a:cubicBezTo>
                <a:cubicBezTo>
                  <a:pt x="2192708" y="481012"/>
                  <a:pt x="2192708" y="481012"/>
                  <a:pt x="2192708" y="481012"/>
                </a:cubicBezTo>
                <a:cubicBezTo>
                  <a:pt x="2234588" y="481012"/>
                  <a:pt x="2266950" y="515977"/>
                  <a:pt x="2266950" y="558713"/>
                </a:cubicBezTo>
                <a:cubicBezTo>
                  <a:pt x="2261239" y="886997"/>
                  <a:pt x="2261239" y="886997"/>
                  <a:pt x="2261239" y="886997"/>
                </a:cubicBezTo>
                <a:cubicBezTo>
                  <a:pt x="2259336" y="929732"/>
                  <a:pt x="2234588" y="941387"/>
                  <a:pt x="2206033" y="910307"/>
                </a:cubicBezTo>
                <a:lnTo>
                  <a:pt x="2121907" y="824918"/>
                </a:lnTo>
                <a:lnTo>
                  <a:pt x="2073892" y="864826"/>
                </a:lnTo>
                <a:cubicBezTo>
                  <a:pt x="1937529" y="968210"/>
                  <a:pt x="1725925" y="1081074"/>
                  <a:pt x="1500929" y="1102919"/>
                </a:cubicBezTo>
                <a:cubicBezTo>
                  <a:pt x="895224" y="1157288"/>
                  <a:pt x="529516" y="776704"/>
                  <a:pt x="104760" y="324274"/>
                </a:cubicBezTo>
                <a:cubicBezTo>
                  <a:pt x="102856" y="324274"/>
                  <a:pt x="60952" y="277672"/>
                  <a:pt x="0" y="213594"/>
                </a:cubicBezTo>
                <a:cubicBezTo>
                  <a:pt x="106665" y="190292"/>
                  <a:pt x="190473" y="106797"/>
                  <a:pt x="217140" y="0"/>
                </a:cubicBezTo>
                <a:close/>
              </a:path>
            </a:pathLst>
          </a:custGeom>
          <a:gradFill>
            <a:gsLst>
              <a:gs pos="73000">
                <a:schemeClr val="accent1"/>
              </a:gs>
              <a:gs pos="31000">
                <a:schemeClr val="accent1">
                  <a:lumMod val="60000"/>
                  <a:lumOff val="40000"/>
                </a:schemeClr>
              </a:gs>
              <a:gs pos="0">
                <a:schemeClr val="accent1">
                  <a:lumMod val="40000"/>
                  <a:lumOff val="60000"/>
                </a:schemeClr>
              </a:gs>
            </a:gsLst>
            <a:path path="circle">
              <a:fillToRect r="100000" b="100000"/>
            </a:path>
          </a:gradFill>
          <a:ln w="12700">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ontserrat"/>
              <a:ea typeface="+mn-ea"/>
              <a:cs typeface="+mn-cs"/>
            </a:endParaRPr>
          </a:p>
        </p:txBody>
      </p:sp>
      <p:sp>
        <p:nvSpPr>
          <p:cNvPr id="57" name="Oval 13">
            <a:extLst>
              <a:ext uri="{FF2B5EF4-FFF2-40B4-BE49-F238E27FC236}">
                <a16:creationId xmlns:a16="http://schemas.microsoft.com/office/drawing/2014/main" id="{66731BA9-22A5-4316-B2FE-BF24EE8B6D70}"/>
              </a:ext>
            </a:extLst>
          </p:cNvPr>
          <p:cNvSpPr/>
          <p:nvPr/>
        </p:nvSpPr>
        <p:spPr>
          <a:xfrm>
            <a:off x="1157128" y="3132734"/>
            <a:ext cx="1207017" cy="1207017"/>
          </a:xfrm>
          <a:prstGeom prst="ellipse">
            <a:avLst/>
          </a:prstGeom>
          <a:noFill/>
          <a:ln w="25400">
            <a:gradFill flip="none" rotWithShape="1">
              <a:gsLst>
                <a:gs pos="75000">
                  <a:schemeClr val="accent1"/>
                </a:gs>
                <a:gs pos="2000">
                  <a:schemeClr val="accent1">
                    <a:lumMod val="40000"/>
                    <a:lumOff val="60000"/>
                  </a:schemeClr>
                </a:gs>
                <a:gs pos="30000">
                  <a:schemeClr val="accent1">
                    <a:lumMod val="60000"/>
                    <a:lumOff val="40000"/>
                  </a:schemeClr>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rIns="0" rtlCol="0" anchor="b"/>
          <a:lstStyle/>
          <a:p>
            <a:pPr marL="0" marR="0" lvl="0" indent="0" algn="ctr" defTabSz="914400" rtl="0" eaLnBrk="1" fontAlgn="auto" latinLnBrk="0" hangingPunct="1">
              <a:lnSpc>
                <a:spcPct val="120000"/>
              </a:lnSpc>
              <a:spcBef>
                <a:spcPts val="600"/>
              </a:spcBef>
              <a:spcAft>
                <a:spcPts val="0"/>
              </a:spcAft>
              <a:buClrTx/>
              <a:buSzTx/>
              <a:buFontTx/>
              <a:buNone/>
              <a:tabLst/>
              <a:defRPr/>
            </a:pPr>
            <a:endParaRPr kumimoji="0" lang="en-US" sz="1200" b="0" i="0" u="none" strike="noStrike" kern="1200" cap="none" spc="-60" normalizeH="0" baseline="0" noProof="0" dirty="0">
              <a:ln>
                <a:noFill/>
              </a:ln>
              <a:solidFill>
                <a:srgbClr val="000000"/>
              </a:solidFill>
              <a:effectLst/>
              <a:uLnTx/>
              <a:uFillTx/>
              <a:latin typeface="Montserrat"/>
              <a:ea typeface="+mn-ea"/>
              <a:cs typeface="+mn-cs"/>
            </a:endParaRPr>
          </a:p>
        </p:txBody>
      </p:sp>
      <p:sp>
        <p:nvSpPr>
          <p:cNvPr id="58" name="Oval 14">
            <a:extLst>
              <a:ext uri="{FF2B5EF4-FFF2-40B4-BE49-F238E27FC236}">
                <a16:creationId xmlns:a16="http://schemas.microsoft.com/office/drawing/2014/main" id="{A7473062-0878-46BE-9DB7-F229A0B6E3B0}"/>
              </a:ext>
            </a:extLst>
          </p:cNvPr>
          <p:cNvSpPr/>
          <p:nvPr/>
        </p:nvSpPr>
        <p:spPr>
          <a:xfrm>
            <a:off x="4098772" y="3132734"/>
            <a:ext cx="1207017" cy="1207017"/>
          </a:xfrm>
          <a:prstGeom prst="ellipse">
            <a:avLst/>
          </a:prstGeom>
          <a:noFill/>
          <a:ln w="25400">
            <a:gradFill flip="none" rotWithShape="1">
              <a:gsLst>
                <a:gs pos="75000">
                  <a:schemeClr val="accent1"/>
                </a:gs>
                <a:gs pos="2000">
                  <a:schemeClr val="accent1">
                    <a:lumMod val="40000"/>
                    <a:lumOff val="60000"/>
                  </a:schemeClr>
                </a:gs>
                <a:gs pos="30000">
                  <a:schemeClr val="accent1">
                    <a:lumMod val="60000"/>
                    <a:lumOff val="40000"/>
                  </a:schemeClr>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rIns="0" rtlCol="0" anchor="b"/>
          <a:lstStyle/>
          <a:p>
            <a:pPr marL="0" marR="0" lvl="0" indent="0" algn="ctr" defTabSz="914400" rtl="0" eaLnBrk="1" fontAlgn="auto" latinLnBrk="0" hangingPunct="1">
              <a:lnSpc>
                <a:spcPct val="120000"/>
              </a:lnSpc>
              <a:spcBef>
                <a:spcPts val="600"/>
              </a:spcBef>
              <a:spcAft>
                <a:spcPts val="0"/>
              </a:spcAft>
              <a:buClrTx/>
              <a:buSzTx/>
              <a:buFontTx/>
              <a:buNone/>
              <a:tabLst/>
              <a:defRPr/>
            </a:pPr>
            <a:endParaRPr kumimoji="0" lang="en-US" sz="1200" b="0" i="0" u="none" strike="noStrike" kern="1200" cap="none" spc="-60" normalizeH="0" baseline="0" noProof="0" dirty="0">
              <a:ln>
                <a:noFill/>
              </a:ln>
              <a:solidFill>
                <a:srgbClr val="000000"/>
              </a:solidFill>
              <a:effectLst/>
              <a:uLnTx/>
              <a:uFillTx/>
              <a:latin typeface="Montserrat"/>
              <a:ea typeface="+mn-ea"/>
              <a:cs typeface="+mn-cs"/>
            </a:endParaRPr>
          </a:p>
        </p:txBody>
      </p:sp>
      <p:sp>
        <p:nvSpPr>
          <p:cNvPr id="59" name="Oval 15">
            <a:extLst>
              <a:ext uri="{FF2B5EF4-FFF2-40B4-BE49-F238E27FC236}">
                <a16:creationId xmlns:a16="http://schemas.microsoft.com/office/drawing/2014/main" id="{AEC59477-8291-4A82-8ACF-B3EAFB2D2FAC}"/>
              </a:ext>
            </a:extLst>
          </p:cNvPr>
          <p:cNvSpPr/>
          <p:nvPr/>
        </p:nvSpPr>
        <p:spPr>
          <a:xfrm>
            <a:off x="6939319" y="3132734"/>
            <a:ext cx="1207017" cy="1207017"/>
          </a:xfrm>
          <a:prstGeom prst="ellipse">
            <a:avLst/>
          </a:prstGeom>
          <a:noFill/>
          <a:ln w="25400">
            <a:gradFill flip="none" rotWithShape="1">
              <a:gsLst>
                <a:gs pos="75000">
                  <a:schemeClr val="accent1"/>
                </a:gs>
                <a:gs pos="2000">
                  <a:schemeClr val="accent1">
                    <a:lumMod val="40000"/>
                    <a:lumOff val="60000"/>
                  </a:schemeClr>
                </a:gs>
                <a:gs pos="30000">
                  <a:schemeClr val="accent1">
                    <a:lumMod val="60000"/>
                    <a:lumOff val="40000"/>
                  </a:schemeClr>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rIns="0" rtlCol="0" anchor="b"/>
          <a:lstStyle/>
          <a:p>
            <a:pPr marL="0" marR="0" lvl="0" indent="0" algn="ctr" defTabSz="914400" rtl="0" eaLnBrk="1" fontAlgn="auto" latinLnBrk="0" hangingPunct="1">
              <a:lnSpc>
                <a:spcPct val="120000"/>
              </a:lnSpc>
              <a:spcBef>
                <a:spcPts val="600"/>
              </a:spcBef>
              <a:spcAft>
                <a:spcPts val="0"/>
              </a:spcAft>
              <a:buClrTx/>
              <a:buSzTx/>
              <a:buFontTx/>
              <a:buNone/>
              <a:tabLst/>
              <a:defRPr/>
            </a:pPr>
            <a:endParaRPr kumimoji="0" lang="en-US" sz="1200" b="0" i="0" u="none" strike="noStrike" kern="1200" cap="none" spc="-60" normalizeH="0" baseline="0" noProof="0" dirty="0">
              <a:ln>
                <a:noFill/>
              </a:ln>
              <a:solidFill>
                <a:srgbClr val="000000"/>
              </a:solidFill>
              <a:effectLst/>
              <a:uLnTx/>
              <a:uFillTx/>
              <a:latin typeface="Montserrat"/>
              <a:ea typeface="+mn-ea"/>
              <a:cs typeface="+mn-cs"/>
            </a:endParaRPr>
          </a:p>
        </p:txBody>
      </p:sp>
      <p:sp>
        <p:nvSpPr>
          <p:cNvPr id="60" name="Freeform 6">
            <a:extLst>
              <a:ext uri="{FF2B5EF4-FFF2-40B4-BE49-F238E27FC236}">
                <a16:creationId xmlns:a16="http://schemas.microsoft.com/office/drawing/2014/main" id="{D6A040BC-A550-41EF-A891-CFF50118F643}"/>
              </a:ext>
            </a:extLst>
          </p:cNvPr>
          <p:cNvSpPr>
            <a:spLocks/>
          </p:cNvSpPr>
          <p:nvPr/>
        </p:nvSpPr>
        <p:spPr bwMode="auto">
          <a:xfrm>
            <a:off x="6654111" y="2451696"/>
            <a:ext cx="2282825" cy="1230313"/>
          </a:xfrm>
          <a:custGeom>
            <a:avLst/>
            <a:gdLst>
              <a:gd name="T0" fmla="*/ 1198 w 1198"/>
              <a:gd name="T1" fmla="*/ 524 h 634"/>
              <a:gd name="T2" fmla="*/ 1150 w 1198"/>
              <a:gd name="T3" fmla="*/ 473 h 634"/>
              <a:gd name="T4" fmla="*/ 653 w 1198"/>
              <a:gd name="T5" fmla="*/ 72 h 634"/>
              <a:gd name="T6" fmla="*/ 44 w 1198"/>
              <a:gd name="T7" fmla="*/ 208 h 634"/>
              <a:gd name="T8" fmla="*/ 58 w 1198"/>
              <a:gd name="T9" fmla="*/ 339 h 634"/>
              <a:gd name="T10" fmla="*/ 150 w 1198"/>
              <a:gd name="T11" fmla="*/ 326 h 634"/>
              <a:gd name="T12" fmla="*/ 646 w 1198"/>
              <a:gd name="T13" fmla="*/ 240 h 634"/>
              <a:gd name="T14" fmla="*/ 1044 w 1198"/>
              <a:gd name="T15" fmla="*/ 591 h 634"/>
              <a:gd name="T16" fmla="*/ 1084 w 1198"/>
              <a:gd name="T17" fmla="*/ 634 h 634"/>
              <a:gd name="T18" fmla="*/ 1198 w 1198"/>
              <a:gd name="T19" fmla="*/ 524 h 6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98" h="634">
                <a:moveTo>
                  <a:pt x="1198" y="524"/>
                </a:moveTo>
                <a:cubicBezTo>
                  <a:pt x="1173" y="498"/>
                  <a:pt x="1155" y="478"/>
                  <a:pt x="1150" y="473"/>
                </a:cubicBezTo>
                <a:cubicBezTo>
                  <a:pt x="921" y="223"/>
                  <a:pt x="822" y="130"/>
                  <a:pt x="653" y="72"/>
                </a:cubicBezTo>
                <a:cubicBezTo>
                  <a:pt x="443" y="0"/>
                  <a:pt x="183" y="66"/>
                  <a:pt x="44" y="208"/>
                </a:cubicBezTo>
                <a:cubicBezTo>
                  <a:pt x="0" y="246"/>
                  <a:pt x="9" y="314"/>
                  <a:pt x="58" y="339"/>
                </a:cubicBezTo>
                <a:cubicBezTo>
                  <a:pt x="88" y="355"/>
                  <a:pt x="126" y="350"/>
                  <a:pt x="150" y="326"/>
                </a:cubicBezTo>
                <a:cubicBezTo>
                  <a:pt x="276" y="204"/>
                  <a:pt x="488" y="165"/>
                  <a:pt x="646" y="240"/>
                </a:cubicBezTo>
                <a:cubicBezTo>
                  <a:pt x="758" y="292"/>
                  <a:pt x="824" y="351"/>
                  <a:pt x="1044" y="591"/>
                </a:cubicBezTo>
                <a:cubicBezTo>
                  <a:pt x="1044" y="592"/>
                  <a:pt x="1060" y="609"/>
                  <a:pt x="1084" y="634"/>
                </a:cubicBezTo>
                <a:cubicBezTo>
                  <a:pt x="1098" y="579"/>
                  <a:pt x="1142" y="536"/>
                  <a:pt x="1198" y="524"/>
                </a:cubicBezTo>
                <a:close/>
              </a:path>
            </a:pathLst>
          </a:custGeom>
          <a:gradFill>
            <a:gsLst>
              <a:gs pos="73000">
                <a:schemeClr val="accent1"/>
              </a:gs>
              <a:gs pos="31000">
                <a:schemeClr val="accent1">
                  <a:lumMod val="60000"/>
                  <a:lumOff val="40000"/>
                </a:schemeClr>
              </a:gs>
              <a:gs pos="0">
                <a:schemeClr val="accent1">
                  <a:lumMod val="40000"/>
                  <a:lumOff val="60000"/>
                </a:schemeClr>
              </a:gs>
            </a:gsLst>
            <a:path path="circle">
              <a:fillToRect r="100000" b="100000"/>
            </a:path>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ontserrat"/>
              <a:ea typeface="+mn-ea"/>
              <a:cs typeface="+mn-cs"/>
            </a:endParaRPr>
          </a:p>
        </p:txBody>
      </p:sp>
      <p:sp>
        <p:nvSpPr>
          <p:cNvPr id="61" name="Freeform 7">
            <a:extLst>
              <a:ext uri="{FF2B5EF4-FFF2-40B4-BE49-F238E27FC236}">
                <a16:creationId xmlns:a16="http://schemas.microsoft.com/office/drawing/2014/main" id="{4D422D83-0178-4369-A4FF-D30F2ED9D166}"/>
              </a:ext>
            </a:extLst>
          </p:cNvPr>
          <p:cNvSpPr>
            <a:spLocks/>
          </p:cNvSpPr>
          <p:nvPr/>
        </p:nvSpPr>
        <p:spPr bwMode="auto">
          <a:xfrm>
            <a:off x="9055998" y="3824884"/>
            <a:ext cx="2249488" cy="1157288"/>
          </a:xfrm>
          <a:custGeom>
            <a:avLst/>
            <a:gdLst>
              <a:gd name="T0" fmla="*/ 1150 w 1181"/>
              <a:gd name="T1" fmla="*/ 278 h 596"/>
              <a:gd name="T2" fmla="*/ 1062 w 1181"/>
              <a:gd name="T3" fmla="*/ 262 h 596"/>
              <a:gd name="T4" fmla="*/ 776 w 1181"/>
              <a:gd name="T5" fmla="*/ 409 h 596"/>
              <a:gd name="T6" fmla="*/ 160 w 1181"/>
              <a:gd name="T7" fmla="*/ 48 h 596"/>
              <a:gd name="T8" fmla="*/ 114 w 1181"/>
              <a:gd name="T9" fmla="*/ 0 h 596"/>
              <a:gd name="T10" fmla="*/ 0 w 1181"/>
              <a:gd name="T11" fmla="*/ 110 h 596"/>
              <a:gd name="T12" fmla="*/ 55 w 1181"/>
              <a:gd name="T13" fmla="*/ 167 h 596"/>
              <a:gd name="T14" fmla="*/ 788 w 1181"/>
              <a:gd name="T15" fmla="*/ 568 h 596"/>
              <a:gd name="T16" fmla="*/ 1168 w 1181"/>
              <a:gd name="T17" fmla="*/ 366 h 596"/>
              <a:gd name="T18" fmla="*/ 1150 w 1181"/>
              <a:gd name="T19" fmla="*/ 278 h 5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81" h="596">
                <a:moveTo>
                  <a:pt x="1150" y="278"/>
                </a:moveTo>
                <a:cubicBezTo>
                  <a:pt x="1127" y="255"/>
                  <a:pt x="1092" y="249"/>
                  <a:pt x="1062" y="262"/>
                </a:cubicBezTo>
                <a:cubicBezTo>
                  <a:pt x="1025" y="279"/>
                  <a:pt x="968" y="378"/>
                  <a:pt x="776" y="409"/>
                </a:cubicBezTo>
                <a:cubicBezTo>
                  <a:pt x="566" y="443"/>
                  <a:pt x="379" y="287"/>
                  <a:pt x="160" y="48"/>
                </a:cubicBezTo>
                <a:cubicBezTo>
                  <a:pt x="155" y="43"/>
                  <a:pt x="138" y="25"/>
                  <a:pt x="114" y="0"/>
                </a:cubicBezTo>
                <a:cubicBezTo>
                  <a:pt x="100" y="55"/>
                  <a:pt x="56" y="98"/>
                  <a:pt x="0" y="110"/>
                </a:cubicBezTo>
                <a:cubicBezTo>
                  <a:pt x="32" y="143"/>
                  <a:pt x="54" y="167"/>
                  <a:pt x="55" y="167"/>
                </a:cubicBezTo>
                <a:cubicBezTo>
                  <a:pt x="278" y="400"/>
                  <a:pt x="470" y="596"/>
                  <a:pt x="788" y="568"/>
                </a:cubicBezTo>
                <a:cubicBezTo>
                  <a:pt x="977" y="550"/>
                  <a:pt x="1148" y="412"/>
                  <a:pt x="1168" y="366"/>
                </a:cubicBezTo>
                <a:cubicBezTo>
                  <a:pt x="1181" y="336"/>
                  <a:pt x="1174" y="300"/>
                  <a:pt x="1150" y="278"/>
                </a:cubicBezTo>
                <a:close/>
              </a:path>
            </a:pathLst>
          </a:custGeom>
          <a:gradFill>
            <a:gsLst>
              <a:gs pos="73000">
                <a:schemeClr val="accent1"/>
              </a:gs>
              <a:gs pos="31000">
                <a:schemeClr val="accent1">
                  <a:lumMod val="60000"/>
                  <a:lumOff val="40000"/>
                </a:schemeClr>
              </a:gs>
              <a:gs pos="0">
                <a:schemeClr val="accent1">
                  <a:lumMod val="40000"/>
                  <a:lumOff val="60000"/>
                </a:schemeClr>
              </a:gs>
            </a:gsLst>
            <a:path path="circle">
              <a:fillToRect r="100000" b="100000"/>
            </a:path>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ontserrat"/>
              <a:ea typeface="+mn-ea"/>
              <a:cs typeface="+mn-cs"/>
            </a:endParaRPr>
          </a:p>
        </p:txBody>
      </p:sp>
      <p:sp>
        <p:nvSpPr>
          <p:cNvPr id="62" name="Oval 18">
            <a:extLst>
              <a:ext uri="{FF2B5EF4-FFF2-40B4-BE49-F238E27FC236}">
                <a16:creationId xmlns:a16="http://schemas.microsoft.com/office/drawing/2014/main" id="{967444C7-B847-44D8-A4A2-1C98ED574FBA}"/>
              </a:ext>
            </a:extLst>
          </p:cNvPr>
          <p:cNvSpPr/>
          <p:nvPr/>
        </p:nvSpPr>
        <p:spPr>
          <a:xfrm>
            <a:off x="9815357" y="3132734"/>
            <a:ext cx="1207017" cy="1207017"/>
          </a:xfrm>
          <a:prstGeom prst="ellipse">
            <a:avLst/>
          </a:prstGeom>
          <a:noFill/>
          <a:ln w="25400">
            <a:gradFill flip="none" rotWithShape="1">
              <a:gsLst>
                <a:gs pos="75000">
                  <a:schemeClr val="accent1"/>
                </a:gs>
                <a:gs pos="2000">
                  <a:schemeClr val="accent1">
                    <a:lumMod val="40000"/>
                    <a:lumOff val="60000"/>
                  </a:schemeClr>
                </a:gs>
                <a:gs pos="30000">
                  <a:schemeClr val="accent1">
                    <a:lumMod val="60000"/>
                    <a:lumOff val="40000"/>
                  </a:schemeClr>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rIns="0" rtlCol="0" anchor="b"/>
          <a:lstStyle/>
          <a:p>
            <a:pPr marL="0" marR="0" lvl="0" indent="0" algn="ctr" defTabSz="914400" rtl="0" eaLnBrk="1" fontAlgn="auto" latinLnBrk="0" hangingPunct="1">
              <a:lnSpc>
                <a:spcPct val="120000"/>
              </a:lnSpc>
              <a:spcBef>
                <a:spcPts val="600"/>
              </a:spcBef>
              <a:spcAft>
                <a:spcPts val="0"/>
              </a:spcAft>
              <a:buClrTx/>
              <a:buSzTx/>
              <a:buFontTx/>
              <a:buNone/>
              <a:tabLst/>
              <a:defRPr/>
            </a:pPr>
            <a:endParaRPr kumimoji="0" lang="en-US" sz="1200" b="0" i="0" u="none" strike="noStrike" kern="1200" cap="none" spc="-60" normalizeH="0" baseline="0" noProof="0" dirty="0">
              <a:ln>
                <a:noFill/>
              </a:ln>
              <a:solidFill>
                <a:srgbClr val="000000"/>
              </a:solidFill>
              <a:effectLst/>
              <a:uLnTx/>
              <a:uFillTx/>
              <a:latin typeface="Montserrat"/>
              <a:ea typeface="+mn-ea"/>
              <a:cs typeface="+mn-cs"/>
            </a:endParaRPr>
          </a:p>
        </p:txBody>
      </p:sp>
      <p:sp>
        <p:nvSpPr>
          <p:cNvPr id="63" name="Freeform 2101">
            <a:extLst>
              <a:ext uri="{FF2B5EF4-FFF2-40B4-BE49-F238E27FC236}">
                <a16:creationId xmlns:a16="http://schemas.microsoft.com/office/drawing/2014/main" id="{3AB85E93-09C2-486E-85A5-548FA2A5DC29}"/>
              </a:ext>
            </a:extLst>
          </p:cNvPr>
          <p:cNvSpPr>
            <a:spLocks noEditPoints="1"/>
          </p:cNvSpPr>
          <p:nvPr/>
        </p:nvSpPr>
        <p:spPr bwMode="auto">
          <a:xfrm>
            <a:off x="1507276" y="3514650"/>
            <a:ext cx="477694" cy="500785"/>
          </a:xfrm>
          <a:custGeom>
            <a:avLst/>
            <a:gdLst>
              <a:gd name="T0" fmla="*/ 154 w 154"/>
              <a:gd name="T1" fmla="*/ 22 h 160"/>
              <a:gd name="T2" fmla="*/ 77 w 154"/>
              <a:gd name="T3" fmla="*/ 0 h 160"/>
              <a:gd name="T4" fmla="*/ 0 w 154"/>
              <a:gd name="T5" fmla="*/ 22 h 160"/>
              <a:gd name="T6" fmla="*/ 6 w 154"/>
              <a:gd name="T7" fmla="*/ 30 h 160"/>
              <a:gd name="T8" fmla="*/ 58 w 154"/>
              <a:gd name="T9" fmla="*/ 102 h 160"/>
              <a:gd name="T10" fmla="*/ 58 w 154"/>
              <a:gd name="T11" fmla="*/ 156 h 160"/>
              <a:gd name="T12" fmla="*/ 60 w 154"/>
              <a:gd name="T13" fmla="*/ 159 h 160"/>
              <a:gd name="T14" fmla="*/ 62 w 154"/>
              <a:gd name="T15" fmla="*/ 160 h 160"/>
              <a:gd name="T16" fmla="*/ 95 w 154"/>
              <a:gd name="T17" fmla="*/ 127 h 160"/>
              <a:gd name="T18" fmla="*/ 95 w 154"/>
              <a:gd name="T19" fmla="*/ 102 h 160"/>
              <a:gd name="T20" fmla="*/ 148 w 154"/>
              <a:gd name="T21" fmla="*/ 30 h 160"/>
              <a:gd name="T22" fmla="*/ 148 w 154"/>
              <a:gd name="T23" fmla="*/ 30 h 160"/>
              <a:gd name="T24" fmla="*/ 154 w 154"/>
              <a:gd name="T25" fmla="*/ 22 h 160"/>
              <a:gd name="T26" fmla="*/ 77 w 154"/>
              <a:gd name="T27" fmla="*/ 6 h 160"/>
              <a:gd name="T28" fmla="*/ 147 w 154"/>
              <a:gd name="T29" fmla="*/ 22 h 160"/>
              <a:gd name="T30" fmla="*/ 144 w 154"/>
              <a:gd name="T31" fmla="*/ 26 h 160"/>
              <a:gd name="T32" fmla="*/ 144 w 154"/>
              <a:gd name="T33" fmla="*/ 26 h 160"/>
              <a:gd name="T34" fmla="*/ 144 w 154"/>
              <a:gd name="T35" fmla="*/ 26 h 160"/>
              <a:gd name="T36" fmla="*/ 77 w 154"/>
              <a:gd name="T37" fmla="*/ 37 h 160"/>
              <a:gd name="T38" fmla="*/ 10 w 154"/>
              <a:gd name="T39" fmla="*/ 26 h 160"/>
              <a:gd name="T40" fmla="*/ 10 w 154"/>
              <a:gd name="T41" fmla="*/ 26 h 160"/>
              <a:gd name="T42" fmla="*/ 8 w 154"/>
              <a:gd name="T43" fmla="*/ 25 h 160"/>
              <a:gd name="T44" fmla="*/ 6 w 154"/>
              <a:gd name="T45" fmla="*/ 22 h 160"/>
              <a:gd name="T46" fmla="*/ 77 w 154"/>
              <a:gd name="T47" fmla="*/ 6 h 160"/>
              <a:gd name="T48" fmla="*/ 89 w 154"/>
              <a:gd name="T49" fmla="*/ 125 h 160"/>
              <a:gd name="T50" fmla="*/ 65 w 154"/>
              <a:gd name="T51" fmla="*/ 149 h 160"/>
              <a:gd name="T52" fmla="*/ 65 w 154"/>
              <a:gd name="T53" fmla="*/ 104 h 160"/>
              <a:gd name="T54" fmla="*/ 89 w 154"/>
              <a:gd name="T55" fmla="*/ 104 h 160"/>
              <a:gd name="T56" fmla="*/ 89 w 154"/>
              <a:gd name="T57" fmla="*/ 125 h 160"/>
              <a:gd name="T58" fmla="*/ 91 w 154"/>
              <a:gd name="T59" fmla="*/ 98 h 160"/>
              <a:gd name="T60" fmla="*/ 63 w 154"/>
              <a:gd name="T61" fmla="*/ 98 h 160"/>
              <a:gd name="T62" fmla="*/ 17 w 154"/>
              <a:gd name="T63" fmla="*/ 36 h 160"/>
              <a:gd name="T64" fmla="*/ 77 w 154"/>
              <a:gd name="T65" fmla="*/ 43 h 160"/>
              <a:gd name="T66" fmla="*/ 136 w 154"/>
              <a:gd name="T67" fmla="*/ 36 h 160"/>
              <a:gd name="T68" fmla="*/ 91 w 154"/>
              <a:gd name="T69" fmla="*/ 98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54" h="160">
                <a:moveTo>
                  <a:pt x="154" y="22"/>
                </a:moveTo>
                <a:cubicBezTo>
                  <a:pt x="154" y="7"/>
                  <a:pt x="115" y="0"/>
                  <a:pt x="77" y="0"/>
                </a:cubicBezTo>
                <a:cubicBezTo>
                  <a:pt x="39" y="0"/>
                  <a:pt x="0" y="7"/>
                  <a:pt x="0" y="22"/>
                </a:cubicBezTo>
                <a:cubicBezTo>
                  <a:pt x="0" y="25"/>
                  <a:pt x="2" y="28"/>
                  <a:pt x="6" y="30"/>
                </a:cubicBezTo>
                <a:cubicBezTo>
                  <a:pt x="58" y="102"/>
                  <a:pt x="58" y="102"/>
                  <a:pt x="58" y="102"/>
                </a:cubicBezTo>
                <a:cubicBezTo>
                  <a:pt x="58" y="156"/>
                  <a:pt x="58" y="156"/>
                  <a:pt x="58" y="156"/>
                </a:cubicBezTo>
                <a:cubicBezTo>
                  <a:pt x="58" y="158"/>
                  <a:pt x="59" y="159"/>
                  <a:pt x="60" y="159"/>
                </a:cubicBezTo>
                <a:cubicBezTo>
                  <a:pt x="62" y="160"/>
                  <a:pt x="62" y="160"/>
                  <a:pt x="62" y="160"/>
                </a:cubicBezTo>
                <a:cubicBezTo>
                  <a:pt x="95" y="127"/>
                  <a:pt x="95" y="127"/>
                  <a:pt x="95" y="127"/>
                </a:cubicBezTo>
                <a:cubicBezTo>
                  <a:pt x="95" y="102"/>
                  <a:pt x="95" y="102"/>
                  <a:pt x="95" y="102"/>
                </a:cubicBezTo>
                <a:cubicBezTo>
                  <a:pt x="148" y="30"/>
                  <a:pt x="148" y="30"/>
                  <a:pt x="148" y="30"/>
                </a:cubicBezTo>
                <a:cubicBezTo>
                  <a:pt x="148" y="30"/>
                  <a:pt x="148" y="30"/>
                  <a:pt x="148" y="30"/>
                </a:cubicBezTo>
                <a:cubicBezTo>
                  <a:pt x="152" y="28"/>
                  <a:pt x="154" y="25"/>
                  <a:pt x="154" y="22"/>
                </a:cubicBezTo>
                <a:close/>
                <a:moveTo>
                  <a:pt x="77" y="6"/>
                </a:moveTo>
                <a:cubicBezTo>
                  <a:pt x="120" y="6"/>
                  <a:pt x="147" y="15"/>
                  <a:pt x="147" y="22"/>
                </a:cubicBezTo>
                <a:cubicBezTo>
                  <a:pt x="147" y="23"/>
                  <a:pt x="146" y="24"/>
                  <a:pt x="144" y="26"/>
                </a:cubicBezTo>
                <a:cubicBezTo>
                  <a:pt x="144" y="26"/>
                  <a:pt x="144" y="26"/>
                  <a:pt x="144" y="26"/>
                </a:cubicBezTo>
                <a:cubicBezTo>
                  <a:pt x="144" y="26"/>
                  <a:pt x="144" y="26"/>
                  <a:pt x="144" y="26"/>
                </a:cubicBezTo>
                <a:cubicBezTo>
                  <a:pt x="135" y="31"/>
                  <a:pt x="111" y="37"/>
                  <a:pt x="77" y="37"/>
                </a:cubicBezTo>
                <a:cubicBezTo>
                  <a:pt x="43" y="37"/>
                  <a:pt x="18" y="31"/>
                  <a:pt x="10" y="26"/>
                </a:cubicBezTo>
                <a:cubicBezTo>
                  <a:pt x="10" y="26"/>
                  <a:pt x="10" y="26"/>
                  <a:pt x="10" y="26"/>
                </a:cubicBezTo>
                <a:cubicBezTo>
                  <a:pt x="8" y="25"/>
                  <a:pt x="8" y="25"/>
                  <a:pt x="8" y="25"/>
                </a:cubicBezTo>
                <a:cubicBezTo>
                  <a:pt x="7" y="24"/>
                  <a:pt x="6" y="23"/>
                  <a:pt x="6" y="22"/>
                </a:cubicBezTo>
                <a:cubicBezTo>
                  <a:pt x="6" y="15"/>
                  <a:pt x="34" y="6"/>
                  <a:pt x="77" y="6"/>
                </a:cubicBezTo>
                <a:close/>
                <a:moveTo>
                  <a:pt x="89" y="125"/>
                </a:moveTo>
                <a:cubicBezTo>
                  <a:pt x="65" y="149"/>
                  <a:pt x="65" y="149"/>
                  <a:pt x="65" y="149"/>
                </a:cubicBezTo>
                <a:cubicBezTo>
                  <a:pt x="65" y="104"/>
                  <a:pt x="65" y="104"/>
                  <a:pt x="65" y="104"/>
                </a:cubicBezTo>
                <a:cubicBezTo>
                  <a:pt x="89" y="104"/>
                  <a:pt x="89" y="104"/>
                  <a:pt x="89" y="104"/>
                </a:cubicBezTo>
                <a:lnTo>
                  <a:pt x="89" y="125"/>
                </a:lnTo>
                <a:close/>
                <a:moveTo>
                  <a:pt x="91" y="98"/>
                </a:moveTo>
                <a:cubicBezTo>
                  <a:pt x="63" y="98"/>
                  <a:pt x="63" y="98"/>
                  <a:pt x="63" y="98"/>
                </a:cubicBezTo>
                <a:cubicBezTo>
                  <a:pt x="17" y="36"/>
                  <a:pt x="17" y="36"/>
                  <a:pt x="17" y="36"/>
                </a:cubicBezTo>
                <a:cubicBezTo>
                  <a:pt x="32" y="40"/>
                  <a:pt x="54" y="43"/>
                  <a:pt x="77" y="43"/>
                </a:cubicBezTo>
                <a:cubicBezTo>
                  <a:pt x="99" y="43"/>
                  <a:pt x="122" y="40"/>
                  <a:pt x="136" y="36"/>
                </a:cubicBezTo>
                <a:lnTo>
                  <a:pt x="91" y="98"/>
                </a:lnTo>
                <a:close/>
              </a:path>
            </a:pathLst>
          </a:custGeom>
          <a:gradFill>
            <a:gsLst>
              <a:gs pos="73000">
                <a:schemeClr val="accent1"/>
              </a:gs>
              <a:gs pos="31000">
                <a:schemeClr val="accent1">
                  <a:lumMod val="60000"/>
                  <a:lumOff val="40000"/>
                </a:schemeClr>
              </a:gs>
              <a:gs pos="0">
                <a:schemeClr val="accent1">
                  <a:lumMod val="40000"/>
                  <a:lumOff val="60000"/>
                </a:schemeClr>
              </a:gs>
            </a:gsLst>
            <a:path path="circle">
              <a:fillToRect r="100000" b="100000"/>
            </a:path>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ontserrat"/>
              <a:ea typeface="+mn-ea"/>
              <a:cs typeface="+mn-cs"/>
            </a:endParaRPr>
          </a:p>
        </p:txBody>
      </p:sp>
      <p:sp>
        <p:nvSpPr>
          <p:cNvPr id="64" name="Freeform 2112">
            <a:extLst>
              <a:ext uri="{FF2B5EF4-FFF2-40B4-BE49-F238E27FC236}">
                <a16:creationId xmlns:a16="http://schemas.microsoft.com/office/drawing/2014/main" id="{220450CA-8B1E-4115-A5E5-C272842C2946}"/>
              </a:ext>
            </a:extLst>
          </p:cNvPr>
          <p:cNvSpPr>
            <a:spLocks noEditPoints="1"/>
          </p:cNvSpPr>
          <p:nvPr/>
        </p:nvSpPr>
        <p:spPr bwMode="auto">
          <a:xfrm>
            <a:off x="7336452" y="3477844"/>
            <a:ext cx="412750" cy="500785"/>
          </a:xfrm>
          <a:custGeom>
            <a:avLst/>
            <a:gdLst>
              <a:gd name="T0" fmla="*/ 123 w 133"/>
              <a:gd name="T1" fmla="*/ 155 h 160"/>
              <a:gd name="T2" fmla="*/ 109 w 133"/>
              <a:gd name="T3" fmla="*/ 144 h 160"/>
              <a:gd name="T4" fmla="*/ 100 w 133"/>
              <a:gd name="T5" fmla="*/ 99 h 160"/>
              <a:gd name="T6" fmla="*/ 100 w 133"/>
              <a:gd name="T7" fmla="*/ 61 h 160"/>
              <a:gd name="T8" fmla="*/ 109 w 133"/>
              <a:gd name="T9" fmla="*/ 16 h 160"/>
              <a:gd name="T10" fmla="*/ 123 w 133"/>
              <a:gd name="T11" fmla="*/ 5 h 160"/>
              <a:gd name="T12" fmla="*/ 133 w 133"/>
              <a:gd name="T13" fmla="*/ 3 h 160"/>
              <a:gd name="T14" fmla="*/ 123 w 133"/>
              <a:gd name="T15" fmla="*/ 0 h 160"/>
              <a:gd name="T16" fmla="*/ 13 w 133"/>
              <a:gd name="T17" fmla="*/ 0 h 160"/>
              <a:gd name="T18" fmla="*/ 3 w 133"/>
              <a:gd name="T19" fmla="*/ 0 h 160"/>
              <a:gd name="T20" fmla="*/ 3 w 133"/>
              <a:gd name="T21" fmla="*/ 5 h 160"/>
              <a:gd name="T22" fmla="*/ 11 w 133"/>
              <a:gd name="T23" fmla="*/ 16 h 160"/>
              <a:gd name="T24" fmla="*/ 24 w 133"/>
              <a:gd name="T25" fmla="*/ 43 h 160"/>
              <a:gd name="T26" fmla="*/ 62 w 133"/>
              <a:gd name="T27" fmla="*/ 80 h 160"/>
              <a:gd name="T28" fmla="*/ 24 w 133"/>
              <a:gd name="T29" fmla="*/ 117 h 160"/>
              <a:gd name="T30" fmla="*/ 11 w 133"/>
              <a:gd name="T31" fmla="*/ 144 h 160"/>
              <a:gd name="T32" fmla="*/ 3 w 133"/>
              <a:gd name="T33" fmla="*/ 155 h 160"/>
              <a:gd name="T34" fmla="*/ 3 w 133"/>
              <a:gd name="T35" fmla="*/ 160 h 160"/>
              <a:gd name="T36" fmla="*/ 13 w 133"/>
              <a:gd name="T37" fmla="*/ 160 h 160"/>
              <a:gd name="T38" fmla="*/ 123 w 133"/>
              <a:gd name="T39" fmla="*/ 160 h 160"/>
              <a:gd name="T40" fmla="*/ 133 w 133"/>
              <a:gd name="T41" fmla="*/ 157 h 160"/>
              <a:gd name="T42" fmla="*/ 16 w 133"/>
              <a:gd name="T43" fmla="*/ 11 h 160"/>
              <a:gd name="T44" fmla="*/ 117 w 133"/>
              <a:gd name="T45" fmla="*/ 5 h 160"/>
              <a:gd name="T46" fmla="*/ 109 w 133"/>
              <a:gd name="T47" fmla="*/ 11 h 160"/>
              <a:gd name="T48" fmla="*/ 16 w 133"/>
              <a:gd name="T49" fmla="*/ 11 h 160"/>
              <a:gd name="T50" fmla="*/ 29 w 133"/>
              <a:gd name="T51" fmla="*/ 43 h 160"/>
              <a:gd name="T52" fmla="*/ 104 w 133"/>
              <a:gd name="T53" fmla="*/ 16 h 160"/>
              <a:gd name="T54" fmla="*/ 97 w 133"/>
              <a:gd name="T55" fmla="*/ 57 h 160"/>
              <a:gd name="T56" fmla="*/ 37 w 133"/>
              <a:gd name="T57" fmla="*/ 57 h 160"/>
              <a:gd name="T58" fmla="*/ 37 w 133"/>
              <a:gd name="T59" fmla="*/ 103 h 160"/>
              <a:gd name="T60" fmla="*/ 97 w 133"/>
              <a:gd name="T61" fmla="*/ 103 h 160"/>
              <a:gd name="T62" fmla="*/ 104 w 133"/>
              <a:gd name="T63" fmla="*/ 144 h 160"/>
              <a:gd name="T64" fmla="*/ 29 w 133"/>
              <a:gd name="T65" fmla="*/ 117 h 160"/>
              <a:gd name="T66" fmla="*/ 24 w 133"/>
              <a:gd name="T67" fmla="*/ 149 h 160"/>
              <a:gd name="T68" fmla="*/ 117 w 133"/>
              <a:gd name="T69" fmla="*/ 149 h 160"/>
              <a:gd name="T70" fmla="*/ 16 w 133"/>
              <a:gd name="T71" fmla="*/ 155 h 160"/>
              <a:gd name="T72" fmla="*/ 55 w 133"/>
              <a:gd name="T73" fmla="*/ 56 h 160"/>
              <a:gd name="T74" fmla="*/ 53 w 133"/>
              <a:gd name="T75" fmla="*/ 61 h 160"/>
              <a:gd name="T76" fmla="*/ 39 w 133"/>
              <a:gd name="T77" fmla="*/ 52 h 160"/>
              <a:gd name="T78" fmla="*/ 35 w 133"/>
              <a:gd name="T79" fmla="*/ 37 h 160"/>
              <a:gd name="T80" fmla="*/ 40 w 133"/>
              <a:gd name="T81" fmla="*/ 37 h 160"/>
              <a:gd name="T82" fmla="*/ 42 w 133"/>
              <a:gd name="T83" fmla="*/ 48 h 160"/>
              <a:gd name="T84" fmla="*/ 99 w 133"/>
              <a:gd name="T85" fmla="*/ 119 h 160"/>
              <a:gd name="T86" fmla="*/ 96 w 133"/>
              <a:gd name="T87" fmla="*/ 128 h 160"/>
              <a:gd name="T88" fmla="*/ 93 w 133"/>
              <a:gd name="T89" fmla="*/ 119 h 160"/>
              <a:gd name="T90" fmla="*/ 79 w 133"/>
              <a:gd name="T91" fmla="*/ 106 h 160"/>
              <a:gd name="T92" fmla="*/ 81 w 133"/>
              <a:gd name="T93" fmla="*/ 102 h 160"/>
              <a:gd name="T94" fmla="*/ 99 w 133"/>
              <a:gd name="T95" fmla="*/ 119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33" h="160">
                <a:moveTo>
                  <a:pt x="131" y="155"/>
                </a:moveTo>
                <a:cubicBezTo>
                  <a:pt x="123" y="155"/>
                  <a:pt x="123" y="155"/>
                  <a:pt x="123" y="155"/>
                </a:cubicBezTo>
                <a:cubicBezTo>
                  <a:pt x="123" y="144"/>
                  <a:pt x="123" y="144"/>
                  <a:pt x="123" y="144"/>
                </a:cubicBezTo>
                <a:cubicBezTo>
                  <a:pt x="109" y="144"/>
                  <a:pt x="109" y="144"/>
                  <a:pt x="109" y="144"/>
                </a:cubicBezTo>
                <a:cubicBezTo>
                  <a:pt x="109" y="117"/>
                  <a:pt x="109" y="117"/>
                  <a:pt x="109" y="117"/>
                </a:cubicBezTo>
                <a:cubicBezTo>
                  <a:pt x="109" y="110"/>
                  <a:pt x="106" y="103"/>
                  <a:pt x="100" y="99"/>
                </a:cubicBezTo>
                <a:cubicBezTo>
                  <a:pt x="71" y="80"/>
                  <a:pt x="71" y="80"/>
                  <a:pt x="71" y="80"/>
                </a:cubicBezTo>
                <a:cubicBezTo>
                  <a:pt x="100" y="61"/>
                  <a:pt x="100" y="61"/>
                  <a:pt x="100" y="61"/>
                </a:cubicBezTo>
                <a:cubicBezTo>
                  <a:pt x="106" y="57"/>
                  <a:pt x="109" y="50"/>
                  <a:pt x="109" y="43"/>
                </a:cubicBezTo>
                <a:cubicBezTo>
                  <a:pt x="109" y="16"/>
                  <a:pt x="109" y="16"/>
                  <a:pt x="109" y="16"/>
                </a:cubicBezTo>
                <a:cubicBezTo>
                  <a:pt x="123" y="16"/>
                  <a:pt x="123" y="16"/>
                  <a:pt x="123" y="16"/>
                </a:cubicBezTo>
                <a:cubicBezTo>
                  <a:pt x="123" y="5"/>
                  <a:pt x="123" y="5"/>
                  <a:pt x="123" y="5"/>
                </a:cubicBezTo>
                <a:cubicBezTo>
                  <a:pt x="131" y="5"/>
                  <a:pt x="131" y="5"/>
                  <a:pt x="131" y="5"/>
                </a:cubicBezTo>
                <a:cubicBezTo>
                  <a:pt x="132" y="5"/>
                  <a:pt x="133" y="4"/>
                  <a:pt x="133" y="3"/>
                </a:cubicBezTo>
                <a:cubicBezTo>
                  <a:pt x="133" y="1"/>
                  <a:pt x="132" y="0"/>
                  <a:pt x="131" y="0"/>
                </a:cubicBezTo>
                <a:cubicBezTo>
                  <a:pt x="123" y="0"/>
                  <a:pt x="123" y="0"/>
                  <a:pt x="123" y="0"/>
                </a:cubicBezTo>
                <a:cubicBezTo>
                  <a:pt x="120" y="0"/>
                  <a:pt x="120" y="0"/>
                  <a:pt x="120" y="0"/>
                </a:cubicBezTo>
                <a:cubicBezTo>
                  <a:pt x="13" y="0"/>
                  <a:pt x="13" y="0"/>
                  <a:pt x="13" y="0"/>
                </a:cubicBezTo>
                <a:cubicBezTo>
                  <a:pt x="11" y="0"/>
                  <a:pt x="11" y="0"/>
                  <a:pt x="11" y="0"/>
                </a:cubicBezTo>
                <a:cubicBezTo>
                  <a:pt x="3" y="0"/>
                  <a:pt x="3" y="0"/>
                  <a:pt x="3" y="0"/>
                </a:cubicBezTo>
                <a:cubicBezTo>
                  <a:pt x="1" y="0"/>
                  <a:pt x="0" y="1"/>
                  <a:pt x="0" y="3"/>
                </a:cubicBezTo>
                <a:cubicBezTo>
                  <a:pt x="0" y="4"/>
                  <a:pt x="1" y="5"/>
                  <a:pt x="3" y="5"/>
                </a:cubicBezTo>
                <a:cubicBezTo>
                  <a:pt x="11" y="5"/>
                  <a:pt x="11" y="5"/>
                  <a:pt x="11" y="5"/>
                </a:cubicBezTo>
                <a:cubicBezTo>
                  <a:pt x="11" y="16"/>
                  <a:pt x="11" y="16"/>
                  <a:pt x="11" y="16"/>
                </a:cubicBezTo>
                <a:cubicBezTo>
                  <a:pt x="24" y="16"/>
                  <a:pt x="24" y="16"/>
                  <a:pt x="24" y="16"/>
                </a:cubicBezTo>
                <a:cubicBezTo>
                  <a:pt x="24" y="43"/>
                  <a:pt x="24" y="43"/>
                  <a:pt x="24" y="43"/>
                </a:cubicBezTo>
                <a:cubicBezTo>
                  <a:pt x="24" y="50"/>
                  <a:pt x="28" y="57"/>
                  <a:pt x="34" y="61"/>
                </a:cubicBezTo>
                <a:cubicBezTo>
                  <a:pt x="62" y="80"/>
                  <a:pt x="62" y="80"/>
                  <a:pt x="62" y="80"/>
                </a:cubicBezTo>
                <a:cubicBezTo>
                  <a:pt x="34" y="99"/>
                  <a:pt x="34" y="99"/>
                  <a:pt x="34" y="99"/>
                </a:cubicBezTo>
                <a:cubicBezTo>
                  <a:pt x="28" y="103"/>
                  <a:pt x="24" y="110"/>
                  <a:pt x="24" y="117"/>
                </a:cubicBezTo>
                <a:cubicBezTo>
                  <a:pt x="24" y="144"/>
                  <a:pt x="24" y="144"/>
                  <a:pt x="24" y="144"/>
                </a:cubicBezTo>
                <a:cubicBezTo>
                  <a:pt x="11" y="144"/>
                  <a:pt x="11" y="144"/>
                  <a:pt x="11" y="144"/>
                </a:cubicBezTo>
                <a:cubicBezTo>
                  <a:pt x="11" y="155"/>
                  <a:pt x="11" y="155"/>
                  <a:pt x="11" y="155"/>
                </a:cubicBezTo>
                <a:cubicBezTo>
                  <a:pt x="3" y="155"/>
                  <a:pt x="3" y="155"/>
                  <a:pt x="3" y="155"/>
                </a:cubicBezTo>
                <a:cubicBezTo>
                  <a:pt x="1" y="155"/>
                  <a:pt x="0" y="156"/>
                  <a:pt x="0" y="157"/>
                </a:cubicBezTo>
                <a:cubicBezTo>
                  <a:pt x="0" y="159"/>
                  <a:pt x="1" y="160"/>
                  <a:pt x="3" y="160"/>
                </a:cubicBezTo>
                <a:cubicBezTo>
                  <a:pt x="11" y="160"/>
                  <a:pt x="11" y="160"/>
                  <a:pt x="11" y="160"/>
                </a:cubicBezTo>
                <a:cubicBezTo>
                  <a:pt x="13" y="160"/>
                  <a:pt x="13" y="160"/>
                  <a:pt x="13" y="160"/>
                </a:cubicBezTo>
                <a:cubicBezTo>
                  <a:pt x="120" y="160"/>
                  <a:pt x="120" y="160"/>
                  <a:pt x="120" y="160"/>
                </a:cubicBezTo>
                <a:cubicBezTo>
                  <a:pt x="123" y="160"/>
                  <a:pt x="123" y="160"/>
                  <a:pt x="123" y="160"/>
                </a:cubicBezTo>
                <a:cubicBezTo>
                  <a:pt x="131" y="160"/>
                  <a:pt x="131" y="160"/>
                  <a:pt x="131" y="160"/>
                </a:cubicBezTo>
                <a:cubicBezTo>
                  <a:pt x="132" y="160"/>
                  <a:pt x="133" y="159"/>
                  <a:pt x="133" y="157"/>
                </a:cubicBezTo>
                <a:cubicBezTo>
                  <a:pt x="133" y="156"/>
                  <a:pt x="132" y="155"/>
                  <a:pt x="131" y="155"/>
                </a:cubicBezTo>
                <a:close/>
                <a:moveTo>
                  <a:pt x="16" y="11"/>
                </a:moveTo>
                <a:cubicBezTo>
                  <a:pt x="16" y="5"/>
                  <a:pt x="16" y="5"/>
                  <a:pt x="16" y="5"/>
                </a:cubicBezTo>
                <a:cubicBezTo>
                  <a:pt x="117" y="5"/>
                  <a:pt x="117" y="5"/>
                  <a:pt x="117" y="5"/>
                </a:cubicBezTo>
                <a:cubicBezTo>
                  <a:pt x="117" y="11"/>
                  <a:pt x="117" y="11"/>
                  <a:pt x="117" y="11"/>
                </a:cubicBezTo>
                <a:cubicBezTo>
                  <a:pt x="109" y="11"/>
                  <a:pt x="109" y="11"/>
                  <a:pt x="109" y="11"/>
                </a:cubicBezTo>
                <a:cubicBezTo>
                  <a:pt x="24" y="11"/>
                  <a:pt x="24" y="11"/>
                  <a:pt x="24" y="11"/>
                </a:cubicBezTo>
                <a:lnTo>
                  <a:pt x="16" y="11"/>
                </a:lnTo>
                <a:close/>
                <a:moveTo>
                  <a:pt x="37" y="57"/>
                </a:moveTo>
                <a:cubicBezTo>
                  <a:pt x="32" y="54"/>
                  <a:pt x="29" y="49"/>
                  <a:pt x="29" y="43"/>
                </a:cubicBezTo>
                <a:cubicBezTo>
                  <a:pt x="29" y="16"/>
                  <a:pt x="29" y="16"/>
                  <a:pt x="29" y="16"/>
                </a:cubicBezTo>
                <a:cubicBezTo>
                  <a:pt x="104" y="16"/>
                  <a:pt x="104" y="16"/>
                  <a:pt x="104" y="16"/>
                </a:cubicBezTo>
                <a:cubicBezTo>
                  <a:pt x="104" y="43"/>
                  <a:pt x="104" y="43"/>
                  <a:pt x="104" y="43"/>
                </a:cubicBezTo>
                <a:cubicBezTo>
                  <a:pt x="104" y="49"/>
                  <a:pt x="101" y="54"/>
                  <a:pt x="97" y="57"/>
                </a:cubicBezTo>
                <a:cubicBezTo>
                  <a:pt x="67" y="77"/>
                  <a:pt x="67" y="77"/>
                  <a:pt x="67" y="77"/>
                </a:cubicBezTo>
                <a:lnTo>
                  <a:pt x="37" y="57"/>
                </a:lnTo>
                <a:close/>
                <a:moveTo>
                  <a:pt x="29" y="117"/>
                </a:moveTo>
                <a:cubicBezTo>
                  <a:pt x="29" y="111"/>
                  <a:pt x="32" y="106"/>
                  <a:pt x="37" y="103"/>
                </a:cubicBezTo>
                <a:cubicBezTo>
                  <a:pt x="67" y="83"/>
                  <a:pt x="67" y="83"/>
                  <a:pt x="67" y="83"/>
                </a:cubicBezTo>
                <a:cubicBezTo>
                  <a:pt x="97" y="103"/>
                  <a:pt x="97" y="103"/>
                  <a:pt x="97" y="103"/>
                </a:cubicBezTo>
                <a:cubicBezTo>
                  <a:pt x="101" y="106"/>
                  <a:pt x="104" y="111"/>
                  <a:pt x="104" y="117"/>
                </a:cubicBezTo>
                <a:cubicBezTo>
                  <a:pt x="104" y="144"/>
                  <a:pt x="104" y="144"/>
                  <a:pt x="104" y="144"/>
                </a:cubicBezTo>
                <a:cubicBezTo>
                  <a:pt x="29" y="144"/>
                  <a:pt x="29" y="144"/>
                  <a:pt x="29" y="144"/>
                </a:cubicBezTo>
                <a:lnTo>
                  <a:pt x="29" y="117"/>
                </a:lnTo>
                <a:close/>
                <a:moveTo>
                  <a:pt x="16" y="149"/>
                </a:moveTo>
                <a:cubicBezTo>
                  <a:pt x="24" y="149"/>
                  <a:pt x="24" y="149"/>
                  <a:pt x="24" y="149"/>
                </a:cubicBezTo>
                <a:cubicBezTo>
                  <a:pt x="109" y="149"/>
                  <a:pt x="109" y="149"/>
                  <a:pt x="109" y="149"/>
                </a:cubicBezTo>
                <a:cubicBezTo>
                  <a:pt x="117" y="149"/>
                  <a:pt x="117" y="149"/>
                  <a:pt x="117" y="149"/>
                </a:cubicBezTo>
                <a:cubicBezTo>
                  <a:pt x="117" y="155"/>
                  <a:pt x="117" y="155"/>
                  <a:pt x="117" y="155"/>
                </a:cubicBezTo>
                <a:cubicBezTo>
                  <a:pt x="16" y="155"/>
                  <a:pt x="16" y="155"/>
                  <a:pt x="16" y="155"/>
                </a:cubicBezTo>
                <a:lnTo>
                  <a:pt x="16" y="149"/>
                </a:lnTo>
                <a:close/>
                <a:moveTo>
                  <a:pt x="55" y="56"/>
                </a:moveTo>
                <a:cubicBezTo>
                  <a:pt x="56" y="57"/>
                  <a:pt x="56" y="59"/>
                  <a:pt x="56" y="60"/>
                </a:cubicBezTo>
                <a:cubicBezTo>
                  <a:pt x="55" y="61"/>
                  <a:pt x="54" y="61"/>
                  <a:pt x="53" y="61"/>
                </a:cubicBezTo>
                <a:cubicBezTo>
                  <a:pt x="53" y="61"/>
                  <a:pt x="52" y="61"/>
                  <a:pt x="52" y="61"/>
                </a:cubicBezTo>
                <a:cubicBezTo>
                  <a:pt x="39" y="52"/>
                  <a:pt x="39" y="52"/>
                  <a:pt x="39" y="52"/>
                </a:cubicBezTo>
                <a:cubicBezTo>
                  <a:pt x="36" y="50"/>
                  <a:pt x="35" y="47"/>
                  <a:pt x="35" y="43"/>
                </a:cubicBezTo>
                <a:cubicBezTo>
                  <a:pt x="35" y="37"/>
                  <a:pt x="35" y="37"/>
                  <a:pt x="35" y="37"/>
                </a:cubicBezTo>
                <a:cubicBezTo>
                  <a:pt x="35" y="36"/>
                  <a:pt x="36" y="35"/>
                  <a:pt x="37" y="35"/>
                </a:cubicBezTo>
                <a:cubicBezTo>
                  <a:pt x="39" y="35"/>
                  <a:pt x="40" y="36"/>
                  <a:pt x="40" y="37"/>
                </a:cubicBezTo>
                <a:cubicBezTo>
                  <a:pt x="40" y="43"/>
                  <a:pt x="40" y="43"/>
                  <a:pt x="40" y="43"/>
                </a:cubicBezTo>
                <a:cubicBezTo>
                  <a:pt x="40" y="45"/>
                  <a:pt x="41" y="47"/>
                  <a:pt x="42" y="48"/>
                </a:cubicBezTo>
                <a:lnTo>
                  <a:pt x="55" y="56"/>
                </a:lnTo>
                <a:close/>
                <a:moveTo>
                  <a:pt x="99" y="119"/>
                </a:moveTo>
                <a:cubicBezTo>
                  <a:pt x="99" y="125"/>
                  <a:pt x="99" y="125"/>
                  <a:pt x="99" y="125"/>
                </a:cubicBezTo>
                <a:cubicBezTo>
                  <a:pt x="99" y="126"/>
                  <a:pt x="97" y="128"/>
                  <a:pt x="96" y="128"/>
                </a:cubicBezTo>
                <a:cubicBezTo>
                  <a:pt x="95" y="128"/>
                  <a:pt x="93" y="126"/>
                  <a:pt x="93" y="125"/>
                </a:cubicBezTo>
                <a:cubicBezTo>
                  <a:pt x="93" y="119"/>
                  <a:pt x="93" y="119"/>
                  <a:pt x="93" y="119"/>
                </a:cubicBezTo>
                <a:cubicBezTo>
                  <a:pt x="93" y="117"/>
                  <a:pt x="92" y="115"/>
                  <a:pt x="91" y="114"/>
                </a:cubicBezTo>
                <a:cubicBezTo>
                  <a:pt x="79" y="106"/>
                  <a:pt x="79" y="106"/>
                  <a:pt x="79" y="106"/>
                </a:cubicBezTo>
                <a:cubicBezTo>
                  <a:pt x="77" y="105"/>
                  <a:pt x="77" y="104"/>
                  <a:pt x="78" y="103"/>
                </a:cubicBezTo>
                <a:cubicBezTo>
                  <a:pt x="79" y="101"/>
                  <a:pt x="80" y="101"/>
                  <a:pt x="81" y="102"/>
                </a:cubicBezTo>
                <a:cubicBezTo>
                  <a:pt x="94" y="110"/>
                  <a:pt x="94" y="110"/>
                  <a:pt x="94" y="110"/>
                </a:cubicBezTo>
                <a:cubicBezTo>
                  <a:pt x="97" y="112"/>
                  <a:pt x="99" y="115"/>
                  <a:pt x="99" y="119"/>
                </a:cubicBezTo>
                <a:close/>
              </a:path>
            </a:pathLst>
          </a:custGeom>
          <a:gradFill>
            <a:gsLst>
              <a:gs pos="73000">
                <a:schemeClr val="accent1"/>
              </a:gs>
              <a:gs pos="31000">
                <a:schemeClr val="accent1">
                  <a:lumMod val="60000"/>
                  <a:lumOff val="40000"/>
                </a:schemeClr>
              </a:gs>
              <a:gs pos="0">
                <a:schemeClr val="accent1">
                  <a:lumMod val="40000"/>
                  <a:lumOff val="60000"/>
                </a:schemeClr>
              </a:gs>
            </a:gsLst>
            <a:path path="circle">
              <a:fillToRect r="100000" b="100000"/>
            </a:path>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ontserrat"/>
              <a:ea typeface="+mn-ea"/>
              <a:cs typeface="+mn-cs"/>
            </a:endParaRPr>
          </a:p>
        </p:txBody>
      </p:sp>
      <p:sp>
        <p:nvSpPr>
          <p:cNvPr id="65" name="Freeform 2123">
            <a:extLst>
              <a:ext uri="{FF2B5EF4-FFF2-40B4-BE49-F238E27FC236}">
                <a16:creationId xmlns:a16="http://schemas.microsoft.com/office/drawing/2014/main" id="{F7A4C272-5C87-4723-9ACD-C104C65D3A85}"/>
              </a:ext>
            </a:extLst>
          </p:cNvPr>
          <p:cNvSpPr>
            <a:spLocks noEditPoints="1"/>
          </p:cNvSpPr>
          <p:nvPr/>
        </p:nvSpPr>
        <p:spPr bwMode="auto">
          <a:xfrm>
            <a:off x="4472814" y="3451809"/>
            <a:ext cx="458932" cy="499341"/>
          </a:xfrm>
          <a:custGeom>
            <a:avLst/>
            <a:gdLst>
              <a:gd name="T0" fmla="*/ 24 w 148"/>
              <a:gd name="T1" fmla="*/ 74 h 160"/>
              <a:gd name="T2" fmla="*/ 56 w 148"/>
              <a:gd name="T3" fmla="*/ 148 h 160"/>
              <a:gd name="T4" fmla="*/ 62 w 148"/>
              <a:gd name="T5" fmla="*/ 151 h 160"/>
              <a:gd name="T6" fmla="*/ 65 w 148"/>
              <a:gd name="T7" fmla="*/ 160 h 160"/>
              <a:gd name="T8" fmla="*/ 86 w 148"/>
              <a:gd name="T9" fmla="*/ 157 h 160"/>
              <a:gd name="T10" fmla="*/ 89 w 148"/>
              <a:gd name="T11" fmla="*/ 151 h 160"/>
              <a:gd name="T12" fmla="*/ 92 w 148"/>
              <a:gd name="T13" fmla="*/ 121 h 160"/>
              <a:gd name="T14" fmla="*/ 74 w 148"/>
              <a:gd name="T15" fmla="*/ 24 h 160"/>
              <a:gd name="T16" fmla="*/ 80 w 148"/>
              <a:gd name="T17" fmla="*/ 148 h 160"/>
              <a:gd name="T18" fmla="*/ 68 w 148"/>
              <a:gd name="T19" fmla="*/ 154 h 160"/>
              <a:gd name="T20" fmla="*/ 65 w 148"/>
              <a:gd name="T21" fmla="*/ 145 h 160"/>
              <a:gd name="T22" fmla="*/ 62 w 148"/>
              <a:gd name="T23" fmla="*/ 130 h 160"/>
              <a:gd name="T24" fmla="*/ 86 w 148"/>
              <a:gd name="T25" fmla="*/ 145 h 160"/>
              <a:gd name="T26" fmla="*/ 88 w 148"/>
              <a:gd name="T27" fmla="*/ 116 h 160"/>
              <a:gd name="T28" fmla="*/ 86 w 148"/>
              <a:gd name="T29" fmla="*/ 124 h 160"/>
              <a:gd name="T30" fmla="*/ 62 w 148"/>
              <a:gd name="T31" fmla="*/ 119 h 160"/>
              <a:gd name="T32" fmla="*/ 30 w 148"/>
              <a:gd name="T33" fmla="*/ 74 h 160"/>
              <a:gd name="T34" fmla="*/ 119 w 148"/>
              <a:gd name="T35" fmla="*/ 74 h 160"/>
              <a:gd name="T36" fmla="*/ 71 w 148"/>
              <a:gd name="T37" fmla="*/ 15 h 160"/>
              <a:gd name="T38" fmla="*/ 74 w 148"/>
              <a:gd name="T39" fmla="*/ 0 h 160"/>
              <a:gd name="T40" fmla="*/ 77 w 148"/>
              <a:gd name="T41" fmla="*/ 15 h 160"/>
              <a:gd name="T42" fmla="*/ 71 w 148"/>
              <a:gd name="T43" fmla="*/ 15 h 160"/>
              <a:gd name="T44" fmla="*/ 145 w 148"/>
              <a:gd name="T45" fmla="*/ 77 h 160"/>
              <a:gd name="T46" fmla="*/ 130 w 148"/>
              <a:gd name="T47" fmla="*/ 74 h 160"/>
              <a:gd name="T48" fmla="*/ 145 w 148"/>
              <a:gd name="T49" fmla="*/ 71 h 160"/>
              <a:gd name="T50" fmla="*/ 18 w 148"/>
              <a:gd name="T51" fmla="*/ 74 h 160"/>
              <a:gd name="T52" fmla="*/ 3 w 148"/>
              <a:gd name="T53" fmla="*/ 77 h 160"/>
              <a:gd name="T54" fmla="*/ 3 w 148"/>
              <a:gd name="T55" fmla="*/ 71 h 160"/>
              <a:gd name="T56" fmla="*/ 18 w 148"/>
              <a:gd name="T57" fmla="*/ 74 h 160"/>
              <a:gd name="T58" fmla="*/ 126 w 148"/>
              <a:gd name="T59" fmla="*/ 26 h 160"/>
              <a:gd name="T60" fmla="*/ 116 w 148"/>
              <a:gd name="T61" fmla="*/ 35 h 160"/>
              <a:gd name="T62" fmla="*/ 114 w 148"/>
              <a:gd name="T63" fmla="*/ 30 h 160"/>
              <a:gd name="T64" fmla="*/ 126 w 148"/>
              <a:gd name="T65" fmla="*/ 22 h 160"/>
              <a:gd name="T66" fmla="*/ 34 w 148"/>
              <a:gd name="T67" fmla="*/ 118 h 160"/>
              <a:gd name="T68" fmla="*/ 24 w 148"/>
              <a:gd name="T69" fmla="*/ 127 h 160"/>
              <a:gd name="T70" fmla="*/ 22 w 148"/>
              <a:gd name="T71" fmla="*/ 122 h 160"/>
              <a:gd name="T72" fmla="*/ 34 w 148"/>
              <a:gd name="T73" fmla="*/ 114 h 160"/>
              <a:gd name="T74" fmla="*/ 126 w 148"/>
              <a:gd name="T75" fmla="*/ 126 h 160"/>
              <a:gd name="T76" fmla="*/ 122 w 148"/>
              <a:gd name="T77" fmla="*/ 126 h 160"/>
              <a:gd name="T78" fmla="*/ 114 w 148"/>
              <a:gd name="T79" fmla="*/ 114 h 160"/>
              <a:gd name="T80" fmla="*/ 126 w 148"/>
              <a:gd name="T81" fmla="*/ 122 h 160"/>
              <a:gd name="T82" fmla="*/ 22 w 148"/>
              <a:gd name="T83" fmla="*/ 22 h 160"/>
              <a:gd name="T84" fmla="*/ 34 w 148"/>
              <a:gd name="T85" fmla="*/ 30 h 160"/>
              <a:gd name="T86" fmla="*/ 32 w 148"/>
              <a:gd name="T87" fmla="*/ 35 h 160"/>
              <a:gd name="T88" fmla="*/ 22 w 148"/>
              <a:gd name="T89" fmla="*/ 26 h 160"/>
              <a:gd name="T90" fmla="*/ 74 w 148"/>
              <a:gd name="T91" fmla="*/ 44 h 160"/>
              <a:gd name="T92" fmla="*/ 41 w 148"/>
              <a:gd name="T93" fmla="*/ 77 h 160"/>
              <a:gd name="T94" fmla="*/ 74 w 148"/>
              <a:gd name="T95" fmla="*/ 39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48" h="160">
                <a:moveTo>
                  <a:pt x="74" y="24"/>
                </a:moveTo>
                <a:cubicBezTo>
                  <a:pt x="46" y="24"/>
                  <a:pt x="24" y="46"/>
                  <a:pt x="24" y="74"/>
                </a:cubicBezTo>
                <a:cubicBezTo>
                  <a:pt x="24" y="95"/>
                  <a:pt x="37" y="114"/>
                  <a:pt x="56" y="121"/>
                </a:cubicBezTo>
                <a:cubicBezTo>
                  <a:pt x="56" y="148"/>
                  <a:pt x="56" y="148"/>
                  <a:pt x="56" y="148"/>
                </a:cubicBezTo>
                <a:cubicBezTo>
                  <a:pt x="56" y="150"/>
                  <a:pt x="58" y="151"/>
                  <a:pt x="59" y="151"/>
                </a:cubicBezTo>
                <a:cubicBezTo>
                  <a:pt x="62" y="151"/>
                  <a:pt x="62" y="151"/>
                  <a:pt x="62" y="151"/>
                </a:cubicBezTo>
                <a:cubicBezTo>
                  <a:pt x="62" y="157"/>
                  <a:pt x="62" y="157"/>
                  <a:pt x="62" y="157"/>
                </a:cubicBezTo>
                <a:cubicBezTo>
                  <a:pt x="62" y="159"/>
                  <a:pt x="64" y="160"/>
                  <a:pt x="65" y="160"/>
                </a:cubicBezTo>
                <a:cubicBezTo>
                  <a:pt x="83" y="160"/>
                  <a:pt x="83" y="160"/>
                  <a:pt x="83" y="160"/>
                </a:cubicBezTo>
                <a:cubicBezTo>
                  <a:pt x="85" y="160"/>
                  <a:pt x="86" y="159"/>
                  <a:pt x="86" y="157"/>
                </a:cubicBezTo>
                <a:cubicBezTo>
                  <a:pt x="86" y="151"/>
                  <a:pt x="86" y="151"/>
                  <a:pt x="86" y="151"/>
                </a:cubicBezTo>
                <a:cubicBezTo>
                  <a:pt x="89" y="151"/>
                  <a:pt x="89" y="151"/>
                  <a:pt x="89" y="151"/>
                </a:cubicBezTo>
                <a:cubicBezTo>
                  <a:pt x="91" y="151"/>
                  <a:pt x="92" y="150"/>
                  <a:pt x="92" y="148"/>
                </a:cubicBezTo>
                <a:cubicBezTo>
                  <a:pt x="92" y="121"/>
                  <a:pt x="92" y="121"/>
                  <a:pt x="92" y="121"/>
                </a:cubicBezTo>
                <a:cubicBezTo>
                  <a:pt x="111" y="114"/>
                  <a:pt x="124" y="95"/>
                  <a:pt x="124" y="74"/>
                </a:cubicBezTo>
                <a:cubicBezTo>
                  <a:pt x="124" y="46"/>
                  <a:pt x="102" y="24"/>
                  <a:pt x="74" y="24"/>
                </a:cubicBezTo>
                <a:close/>
                <a:moveTo>
                  <a:pt x="83" y="145"/>
                </a:moveTo>
                <a:cubicBezTo>
                  <a:pt x="81" y="145"/>
                  <a:pt x="80" y="147"/>
                  <a:pt x="80" y="148"/>
                </a:cubicBezTo>
                <a:cubicBezTo>
                  <a:pt x="80" y="154"/>
                  <a:pt x="80" y="154"/>
                  <a:pt x="80" y="154"/>
                </a:cubicBezTo>
                <a:cubicBezTo>
                  <a:pt x="68" y="154"/>
                  <a:pt x="68" y="154"/>
                  <a:pt x="68" y="154"/>
                </a:cubicBezTo>
                <a:cubicBezTo>
                  <a:pt x="68" y="148"/>
                  <a:pt x="68" y="148"/>
                  <a:pt x="68" y="148"/>
                </a:cubicBezTo>
                <a:cubicBezTo>
                  <a:pt x="68" y="147"/>
                  <a:pt x="67" y="145"/>
                  <a:pt x="65" y="145"/>
                </a:cubicBezTo>
                <a:cubicBezTo>
                  <a:pt x="62" y="145"/>
                  <a:pt x="62" y="145"/>
                  <a:pt x="62" y="145"/>
                </a:cubicBezTo>
                <a:cubicBezTo>
                  <a:pt x="62" y="130"/>
                  <a:pt x="62" y="130"/>
                  <a:pt x="62" y="130"/>
                </a:cubicBezTo>
                <a:cubicBezTo>
                  <a:pt x="86" y="130"/>
                  <a:pt x="86" y="130"/>
                  <a:pt x="86" y="130"/>
                </a:cubicBezTo>
                <a:cubicBezTo>
                  <a:pt x="86" y="145"/>
                  <a:pt x="86" y="145"/>
                  <a:pt x="86" y="145"/>
                </a:cubicBezTo>
                <a:lnTo>
                  <a:pt x="83" y="145"/>
                </a:lnTo>
                <a:close/>
                <a:moveTo>
                  <a:pt x="88" y="116"/>
                </a:moveTo>
                <a:cubicBezTo>
                  <a:pt x="87" y="117"/>
                  <a:pt x="86" y="118"/>
                  <a:pt x="86" y="119"/>
                </a:cubicBezTo>
                <a:cubicBezTo>
                  <a:pt x="86" y="124"/>
                  <a:pt x="86" y="124"/>
                  <a:pt x="86" y="124"/>
                </a:cubicBezTo>
                <a:cubicBezTo>
                  <a:pt x="62" y="124"/>
                  <a:pt x="62" y="124"/>
                  <a:pt x="62" y="124"/>
                </a:cubicBezTo>
                <a:cubicBezTo>
                  <a:pt x="62" y="119"/>
                  <a:pt x="62" y="119"/>
                  <a:pt x="62" y="119"/>
                </a:cubicBezTo>
                <a:cubicBezTo>
                  <a:pt x="62" y="118"/>
                  <a:pt x="61" y="117"/>
                  <a:pt x="60" y="116"/>
                </a:cubicBezTo>
                <a:cubicBezTo>
                  <a:pt x="42" y="110"/>
                  <a:pt x="30" y="93"/>
                  <a:pt x="30" y="74"/>
                </a:cubicBezTo>
                <a:cubicBezTo>
                  <a:pt x="30" y="50"/>
                  <a:pt x="50" y="30"/>
                  <a:pt x="74" y="30"/>
                </a:cubicBezTo>
                <a:cubicBezTo>
                  <a:pt x="99" y="30"/>
                  <a:pt x="119" y="50"/>
                  <a:pt x="119" y="74"/>
                </a:cubicBezTo>
                <a:cubicBezTo>
                  <a:pt x="119" y="93"/>
                  <a:pt x="106" y="110"/>
                  <a:pt x="88" y="116"/>
                </a:cubicBezTo>
                <a:close/>
                <a:moveTo>
                  <a:pt x="71" y="15"/>
                </a:moveTo>
                <a:cubicBezTo>
                  <a:pt x="71" y="3"/>
                  <a:pt x="71" y="3"/>
                  <a:pt x="71" y="3"/>
                </a:cubicBezTo>
                <a:cubicBezTo>
                  <a:pt x="71" y="1"/>
                  <a:pt x="72" y="0"/>
                  <a:pt x="74" y="0"/>
                </a:cubicBezTo>
                <a:cubicBezTo>
                  <a:pt x="76" y="0"/>
                  <a:pt x="77" y="1"/>
                  <a:pt x="77" y="3"/>
                </a:cubicBezTo>
                <a:cubicBezTo>
                  <a:pt x="77" y="15"/>
                  <a:pt x="77" y="15"/>
                  <a:pt x="77" y="15"/>
                </a:cubicBezTo>
                <a:cubicBezTo>
                  <a:pt x="77" y="16"/>
                  <a:pt x="76" y="18"/>
                  <a:pt x="74" y="18"/>
                </a:cubicBezTo>
                <a:cubicBezTo>
                  <a:pt x="72" y="18"/>
                  <a:pt x="71" y="16"/>
                  <a:pt x="71" y="15"/>
                </a:cubicBezTo>
                <a:close/>
                <a:moveTo>
                  <a:pt x="148" y="74"/>
                </a:moveTo>
                <a:cubicBezTo>
                  <a:pt x="148" y="76"/>
                  <a:pt x="147" y="77"/>
                  <a:pt x="145" y="77"/>
                </a:cubicBezTo>
                <a:cubicBezTo>
                  <a:pt x="133" y="77"/>
                  <a:pt x="133" y="77"/>
                  <a:pt x="133" y="77"/>
                </a:cubicBezTo>
                <a:cubicBezTo>
                  <a:pt x="132" y="77"/>
                  <a:pt x="130" y="76"/>
                  <a:pt x="130" y="74"/>
                </a:cubicBezTo>
                <a:cubicBezTo>
                  <a:pt x="130" y="72"/>
                  <a:pt x="132" y="71"/>
                  <a:pt x="133" y="71"/>
                </a:cubicBezTo>
                <a:cubicBezTo>
                  <a:pt x="145" y="71"/>
                  <a:pt x="145" y="71"/>
                  <a:pt x="145" y="71"/>
                </a:cubicBezTo>
                <a:cubicBezTo>
                  <a:pt x="147" y="71"/>
                  <a:pt x="148" y="72"/>
                  <a:pt x="148" y="74"/>
                </a:cubicBezTo>
                <a:close/>
                <a:moveTo>
                  <a:pt x="18" y="74"/>
                </a:moveTo>
                <a:cubicBezTo>
                  <a:pt x="18" y="76"/>
                  <a:pt x="16" y="77"/>
                  <a:pt x="15" y="77"/>
                </a:cubicBezTo>
                <a:cubicBezTo>
                  <a:pt x="3" y="77"/>
                  <a:pt x="3" y="77"/>
                  <a:pt x="3" y="77"/>
                </a:cubicBezTo>
                <a:cubicBezTo>
                  <a:pt x="1" y="77"/>
                  <a:pt x="0" y="76"/>
                  <a:pt x="0" y="74"/>
                </a:cubicBezTo>
                <a:cubicBezTo>
                  <a:pt x="0" y="72"/>
                  <a:pt x="1" y="71"/>
                  <a:pt x="3" y="71"/>
                </a:cubicBezTo>
                <a:cubicBezTo>
                  <a:pt x="15" y="71"/>
                  <a:pt x="15" y="71"/>
                  <a:pt x="15" y="71"/>
                </a:cubicBezTo>
                <a:cubicBezTo>
                  <a:pt x="16" y="71"/>
                  <a:pt x="18" y="72"/>
                  <a:pt x="18" y="74"/>
                </a:cubicBezTo>
                <a:close/>
                <a:moveTo>
                  <a:pt x="126" y="22"/>
                </a:moveTo>
                <a:cubicBezTo>
                  <a:pt x="128" y="23"/>
                  <a:pt x="128" y="25"/>
                  <a:pt x="126" y="26"/>
                </a:cubicBezTo>
                <a:cubicBezTo>
                  <a:pt x="118" y="34"/>
                  <a:pt x="118" y="34"/>
                  <a:pt x="118" y="34"/>
                </a:cubicBezTo>
                <a:cubicBezTo>
                  <a:pt x="117" y="35"/>
                  <a:pt x="117" y="35"/>
                  <a:pt x="116" y="35"/>
                </a:cubicBezTo>
                <a:cubicBezTo>
                  <a:pt x="115" y="35"/>
                  <a:pt x="114" y="35"/>
                  <a:pt x="114" y="34"/>
                </a:cubicBezTo>
                <a:cubicBezTo>
                  <a:pt x="113" y="33"/>
                  <a:pt x="113" y="31"/>
                  <a:pt x="114" y="30"/>
                </a:cubicBezTo>
                <a:cubicBezTo>
                  <a:pt x="122" y="22"/>
                  <a:pt x="122" y="22"/>
                  <a:pt x="122" y="22"/>
                </a:cubicBezTo>
                <a:cubicBezTo>
                  <a:pt x="123" y="21"/>
                  <a:pt x="125" y="21"/>
                  <a:pt x="126" y="22"/>
                </a:cubicBezTo>
                <a:close/>
                <a:moveTo>
                  <a:pt x="34" y="114"/>
                </a:moveTo>
                <a:cubicBezTo>
                  <a:pt x="35" y="115"/>
                  <a:pt x="35" y="117"/>
                  <a:pt x="34" y="118"/>
                </a:cubicBezTo>
                <a:cubicBezTo>
                  <a:pt x="26" y="126"/>
                  <a:pt x="26" y="126"/>
                  <a:pt x="26" y="126"/>
                </a:cubicBezTo>
                <a:cubicBezTo>
                  <a:pt x="25" y="127"/>
                  <a:pt x="25" y="127"/>
                  <a:pt x="24" y="127"/>
                </a:cubicBezTo>
                <a:cubicBezTo>
                  <a:pt x="23" y="127"/>
                  <a:pt x="22" y="127"/>
                  <a:pt x="22" y="126"/>
                </a:cubicBezTo>
                <a:cubicBezTo>
                  <a:pt x="21" y="125"/>
                  <a:pt x="21" y="123"/>
                  <a:pt x="22" y="122"/>
                </a:cubicBezTo>
                <a:cubicBezTo>
                  <a:pt x="30" y="114"/>
                  <a:pt x="30" y="114"/>
                  <a:pt x="30" y="114"/>
                </a:cubicBezTo>
                <a:cubicBezTo>
                  <a:pt x="31" y="113"/>
                  <a:pt x="33" y="113"/>
                  <a:pt x="34" y="114"/>
                </a:cubicBezTo>
                <a:close/>
                <a:moveTo>
                  <a:pt x="126" y="122"/>
                </a:moveTo>
                <a:cubicBezTo>
                  <a:pt x="128" y="123"/>
                  <a:pt x="128" y="125"/>
                  <a:pt x="126" y="126"/>
                </a:cubicBezTo>
                <a:cubicBezTo>
                  <a:pt x="126" y="127"/>
                  <a:pt x="125" y="127"/>
                  <a:pt x="124" y="127"/>
                </a:cubicBezTo>
                <a:cubicBezTo>
                  <a:pt x="124" y="127"/>
                  <a:pt x="123" y="127"/>
                  <a:pt x="122" y="126"/>
                </a:cubicBezTo>
                <a:cubicBezTo>
                  <a:pt x="114" y="118"/>
                  <a:pt x="114" y="118"/>
                  <a:pt x="114" y="118"/>
                </a:cubicBezTo>
                <a:cubicBezTo>
                  <a:pt x="113" y="117"/>
                  <a:pt x="113" y="115"/>
                  <a:pt x="114" y="114"/>
                </a:cubicBezTo>
                <a:cubicBezTo>
                  <a:pt x="115" y="113"/>
                  <a:pt x="117" y="113"/>
                  <a:pt x="118" y="114"/>
                </a:cubicBezTo>
                <a:lnTo>
                  <a:pt x="126" y="122"/>
                </a:lnTo>
                <a:close/>
                <a:moveTo>
                  <a:pt x="22" y="26"/>
                </a:moveTo>
                <a:cubicBezTo>
                  <a:pt x="21" y="25"/>
                  <a:pt x="21" y="23"/>
                  <a:pt x="22" y="22"/>
                </a:cubicBezTo>
                <a:cubicBezTo>
                  <a:pt x="23" y="21"/>
                  <a:pt x="25" y="21"/>
                  <a:pt x="26" y="22"/>
                </a:cubicBezTo>
                <a:cubicBezTo>
                  <a:pt x="34" y="30"/>
                  <a:pt x="34" y="30"/>
                  <a:pt x="34" y="30"/>
                </a:cubicBezTo>
                <a:cubicBezTo>
                  <a:pt x="35" y="31"/>
                  <a:pt x="35" y="33"/>
                  <a:pt x="34" y="34"/>
                </a:cubicBezTo>
                <a:cubicBezTo>
                  <a:pt x="34" y="35"/>
                  <a:pt x="33" y="35"/>
                  <a:pt x="32" y="35"/>
                </a:cubicBezTo>
                <a:cubicBezTo>
                  <a:pt x="31" y="35"/>
                  <a:pt x="31" y="35"/>
                  <a:pt x="30" y="34"/>
                </a:cubicBezTo>
                <a:lnTo>
                  <a:pt x="22" y="26"/>
                </a:lnTo>
                <a:close/>
                <a:moveTo>
                  <a:pt x="77" y="41"/>
                </a:moveTo>
                <a:cubicBezTo>
                  <a:pt x="77" y="43"/>
                  <a:pt x="76" y="44"/>
                  <a:pt x="74" y="44"/>
                </a:cubicBezTo>
                <a:cubicBezTo>
                  <a:pt x="58" y="44"/>
                  <a:pt x="44" y="58"/>
                  <a:pt x="44" y="74"/>
                </a:cubicBezTo>
                <a:cubicBezTo>
                  <a:pt x="44" y="76"/>
                  <a:pt x="43" y="77"/>
                  <a:pt x="41" y="77"/>
                </a:cubicBezTo>
                <a:cubicBezTo>
                  <a:pt x="40" y="77"/>
                  <a:pt x="39" y="76"/>
                  <a:pt x="39" y="74"/>
                </a:cubicBezTo>
                <a:cubicBezTo>
                  <a:pt x="39" y="54"/>
                  <a:pt x="54" y="39"/>
                  <a:pt x="74" y="39"/>
                </a:cubicBezTo>
                <a:cubicBezTo>
                  <a:pt x="76" y="39"/>
                  <a:pt x="77" y="40"/>
                  <a:pt x="77" y="41"/>
                </a:cubicBezTo>
                <a:close/>
              </a:path>
            </a:pathLst>
          </a:custGeom>
          <a:gradFill>
            <a:gsLst>
              <a:gs pos="73000">
                <a:schemeClr val="accent1"/>
              </a:gs>
              <a:gs pos="31000">
                <a:schemeClr val="accent1">
                  <a:lumMod val="60000"/>
                  <a:lumOff val="40000"/>
                </a:schemeClr>
              </a:gs>
              <a:gs pos="0">
                <a:schemeClr val="accent1">
                  <a:lumMod val="40000"/>
                  <a:lumOff val="60000"/>
                </a:schemeClr>
              </a:gs>
            </a:gsLst>
            <a:path path="circle">
              <a:fillToRect r="100000" b="100000"/>
            </a:path>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ontserrat"/>
              <a:ea typeface="+mn-ea"/>
              <a:cs typeface="+mn-cs"/>
            </a:endParaRPr>
          </a:p>
        </p:txBody>
      </p:sp>
      <p:sp>
        <p:nvSpPr>
          <p:cNvPr id="66" name="Freeform 2073">
            <a:extLst>
              <a:ext uri="{FF2B5EF4-FFF2-40B4-BE49-F238E27FC236}">
                <a16:creationId xmlns:a16="http://schemas.microsoft.com/office/drawing/2014/main" id="{0EDDB4BA-CC15-47A5-96A8-EBA8E991811F}"/>
              </a:ext>
            </a:extLst>
          </p:cNvPr>
          <p:cNvSpPr>
            <a:spLocks noEditPoints="1"/>
          </p:cNvSpPr>
          <p:nvPr/>
        </p:nvSpPr>
        <p:spPr bwMode="auto">
          <a:xfrm>
            <a:off x="10172081" y="3515372"/>
            <a:ext cx="493568" cy="499341"/>
          </a:xfrm>
          <a:custGeom>
            <a:avLst/>
            <a:gdLst>
              <a:gd name="T0" fmla="*/ 91 w 159"/>
              <a:gd name="T1" fmla="*/ 157 h 160"/>
              <a:gd name="T2" fmla="*/ 88 w 159"/>
              <a:gd name="T3" fmla="*/ 160 h 160"/>
              <a:gd name="T4" fmla="*/ 80 w 159"/>
              <a:gd name="T5" fmla="*/ 74 h 160"/>
              <a:gd name="T6" fmla="*/ 86 w 159"/>
              <a:gd name="T7" fmla="*/ 72 h 160"/>
              <a:gd name="T8" fmla="*/ 83 w 159"/>
              <a:gd name="T9" fmla="*/ 0 h 160"/>
              <a:gd name="T10" fmla="*/ 41 w 159"/>
              <a:gd name="T11" fmla="*/ 13 h 160"/>
              <a:gd name="T12" fmla="*/ 44 w 159"/>
              <a:gd name="T13" fmla="*/ 18 h 160"/>
              <a:gd name="T14" fmla="*/ 83 w 159"/>
              <a:gd name="T15" fmla="*/ 5 h 160"/>
              <a:gd name="T16" fmla="*/ 153 w 159"/>
              <a:gd name="T17" fmla="*/ 87 h 160"/>
              <a:gd name="T18" fmla="*/ 156 w 159"/>
              <a:gd name="T19" fmla="*/ 89 h 160"/>
              <a:gd name="T20" fmla="*/ 150 w 159"/>
              <a:gd name="T21" fmla="*/ 45 h 160"/>
              <a:gd name="T22" fmla="*/ 33 w 159"/>
              <a:gd name="T23" fmla="*/ 23 h 160"/>
              <a:gd name="T24" fmla="*/ 13 w 159"/>
              <a:gd name="T25" fmla="*/ 109 h 160"/>
              <a:gd name="T26" fmla="*/ 17 w 159"/>
              <a:gd name="T27" fmla="*/ 111 h 160"/>
              <a:gd name="T28" fmla="*/ 33 w 159"/>
              <a:gd name="T29" fmla="*/ 26 h 160"/>
              <a:gd name="T30" fmla="*/ 61 w 159"/>
              <a:gd name="T31" fmla="*/ 21 h 160"/>
              <a:gd name="T32" fmla="*/ 30 w 159"/>
              <a:gd name="T33" fmla="*/ 97 h 160"/>
              <a:gd name="T34" fmla="*/ 34 w 159"/>
              <a:gd name="T35" fmla="*/ 138 h 160"/>
              <a:gd name="T36" fmla="*/ 36 w 159"/>
              <a:gd name="T37" fmla="*/ 97 h 160"/>
              <a:gd name="T38" fmla="*/ 63 w 159"/>
              <a:gd name="T39" fmla="*/ 26 h 160"/>
              <a:gd name="T40" fmla="*/ 133 w 159"/>
              <a:gd name="T41" fmla="*/ 59 h 160"/>
              <a:gd name="T42" fmla="*/ 140 w 159"/>
              <a:gd name="T43" fmla="*/ 133 h 160"/>
              <a:gd name="T44" fmla="*/ 138 w 159"/>
              <a:gd name="T45" fmla="*/ 57 h 160"/>
              <a:gd name="T46" fmla="*/ 83 w 159"/>
              <a:gd name="T47" fmla="*/ 33 h 160"/>
              <a:gd name="T48" fmla="*/ 72 w 159"/>
              <a:gd name="T49" fmla="*/ 37 h 160"/>
              <a:gd name="T50" fmla="*/ 83 w 159"/>
              <a:gd name="T51" fmla="*/ 38 h 160"/>
              <a:gd name="T52" fmla="*/ 121 w 159"/>
              <a:gd name="T53" fmla="*/ 144 h 160"/>
              <a:gd name="T54" fmla="*/ 124 w 159"/>
              <a:gd name="T55" fmla="*/ 146 h 160"/>
              <a:gd name="T56" fmla="*/ 120 w 159"/>
              <a:gd name="T57" fmla="*/ 57 h 160"/>
              <a:gd name="T58" fmla="*/ 63 w 159"/>
              <a:gd name="T59" fmla="*/ 44 h 160"/>
              <a:gd name="T60" fmla="*/ 60 w 159"/>
              <a:gd name="T61" fmla="*/ 40 h 160"/>
              <a:gd name="T62" fmla="*/ 50 w 159"/>
              <a:gd name="T63" fmla="*/ 138 h 160"/>
              <a:gd name="T64" fmla="*/ 56 w 159"/>
              <a:gd name="T65" fmla="*/ 138 h 160"/>
              <a:gd name="T66" fmla="*/ 63 w 159"/>
              <a:gd name="T67" fmla="*/ 44 h 160"/>
              <a:gd name="T68" fmla="*/ 107 w 159"/>
              <a:gd name="T69" fmla="*/ 127 h 160"/>
              <a:gd name="T70" fmla="*/ 104 w 159"/>
              <a:gd name="T71" fmla="*/ 130 h 160"/>
              <a:gd name="T72" fmla="*/ 105 w 159"/>
              <a:gd name="T73" fmla="*/ 152 h 160"/>
              <a:gd name="T74" fmla="*/ 107 w 159"/>
              <a:gd name="T75" fmla="*/ 155 h 160"/>
              <a:gd name="T76" fmla="*/ 110 w 159"/>
              <a:gd name="T77" fmla="*/ 138 h 160"/>
              <a:gd name="T78" fmla="*/ 83 w 159"/>
              <a:gd name="T79" fmla="*/ 52 h 160"/>
              <a:gd name="T80" fmla="*/ 63 w 159"/>
              <a:gd name="T81" fmla="*/ 81 h 160"/>
              <a:gd name="T82" fmla="*/ 69 w 159"/>
              <a:gd name="T83" fmla="*/ 155 h 160"/>
              <a:gd name="T84" fmla="*/ 68 w 159"/>
              <a:gd name="T85" fmla="*/ 79 h 160"/>
              <a:gd name="T86" fmla="*/ 83 w 159"/>
              <a:gd name="T87" fmla="*/ 57 h 160"/>
              <a:gd name="T88" fmla="*/ 105 w 159"/>
              <a:gd name="T89" fmla="*/ 117 h 160"/>
              <a:gd name="T90" fmla="*/ 108 w 159"/>
              <a:gd name="T91" fmla="*/ 119 h 160"/>
              <a:gd name="T92" fmla="*/ 103 w 159"/>
              <a:gd name="T93" fmla="*/ 65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59" h="160">
                <a:moveTo>
                  <a:pt x="86" y="72"/>
                </a:moveTo>
                <a:cubicBezTo>
                  <a:pt x="86" y="74"/>
                  <a:pt x="93" y="99"/>
                  <a:pt x="91" y="157"/>
                </a:cubicBezTo>
                <a:cubicBezTo>
                  <a:pt x="91" y="159"/>
                  <a:pt x="90" y="160"/>
                  <a:pt x="88" y="160"/>
                </a:cubicBezTo>
                <a:cubicBezTo>
                  <a:pt x="88" y="160"/>
                  <a:pt x="88" y="160"/>
                  <a:pt x="88" y="160"/>
                </a:cubicBezTo>
                <a:cubicBezTo>
                  <a:pt x="87" y="160"/>
                  <a:pt x="86" y="159"/>
                  <a:pt x="86" y="157"/>
                </a:cubicBezTo>
                <a:cubicBezTo>
                  <a:pt x="88" y="100"/>
                  <a:pt x="80" y="74"/>
                  <a:pt x="80" y="74"/>
                </a:cubicBezTo>
                <a:cubicBezTo>
                  <a:pt x="80" y="73"/>
                  <a:pt x="81" y="71"/>
                  <a:pt x="82" y="71"/>
                </a:cubicBezTo>
                <a:cubicBezTo>
                  <a:pt x="84" y="70"/>
                  <a:pt x="85" y="71"/>
                  <a:pt x="86" y="72"/>
                </a:cubicBezTo>
                <a:close/>
                <a:moveTo>
                  <a:pt x="150" y="45"/>
                </a:moveTo>
                <a:cubicBezTo>
                  <a:pt x="139" y="18"/>
                  <a:pt x="112" y="0"/>
                  <a:pt x="83" y="0"/>
                </a:cubicBezTo>
                <a:cubicBezTo>
                  <a:pt x="73" y="0"/>
                  <a:pt x="64" y="2"/>
                  <a:pt x="55" y="6"/>
                </a:cubicBezTo>
                <a:cubicBezTo>
                  <a:pt x="50" y="8"/>
                  <a:pt x="45" y="10"/>
                  <a:pt x="41" y="13"/>
                </a:cubicBezTo>
                <a:cubicBezTo>
                  <a:pt x="40" y="14"/>
                  <a:pt x="39" y="15"/>
                  <a:pt x="40" y="17"/>
                </a:cubicBezTo>
                <a:cubicBezTo>
                  <a:pt x="41" y="18"/>
                  <a:pt x="42" y="18"/>
                  <a:pt x="44" y="18"/>
                </a:cubicBezTo>
                <a:cubicBezTo>
                  <a:pt x="48" y="15"/>
                  <a:pt x="52" y="13"/>
                  <a:pt x="57" y="11"/>
                </a:cubicBezTo>
                <a:cubicBezTo>
                  <a:pt x="65" y="7"/>
                  <a:pt x="74" y="5"/>
                  <a:pt x="83" y="5"/>
                </a:cubicBezTo>
                <a:cubicBezTo>
                  <a:pt x="110" y="5"/>
                  <a:pt x="135" y="22"/>
                  <a:pt x="145" y="47"/>
                </a:cubicBezTo>
                <a:cubicBezTo>
                  <a:pt x="150" y="57"/>
                  <a:pt x="152" y="77"/>
                  <a:pt x="153" y="87"/>
                </a:cubicBezTo>
                <a:cubicBezTo>
                  <a:pt x="153" y="88"/>
                  <a:pt x="155" y="89"/>
                  <a:pt x="156" y="89"/>
                </a:cubicBezTo>
                <a:cubicBezTo>
                  <a:pt x="156" y="89"/>
                  <a:pt x="156" y="89"/>
                  <a:pt x="156" y="89"/>
                </a:cubicBezTo>
                <a:cubicBezTo>
                  <a:pt x="158" y="89"/>
                  <a:pt x="159" y="88"/>
                  <a:pt x="159" y="87"/>
                </a:cubicBezTo>
                <a:cubicBezTo>
                  <a:pt x="157" y="73"/>
                  <a:pt x="155" y="55"/>
                  <a:pt x="150" y="45"/>
                </a:cubicBezTo>
                <a:close/>
                <a:moveTo>
                  <a:pt x="33" y="26"/>
                </a:moveTo>
                <a:cubicBezTo>
                  <a:pt x="34" y="25"/>
                  <a:pt x="34" y="24"/>
                  <a:pt x="33" y="23"/>
                </a:cubicBezTo>
                <a:cubicBezTo>
                  <a:pt x="32" y="21"/>
                  <a:pt x="30" y="21"/>
                  <a:pt x="29" y="22"/>
                </a:cubicBezTo>
                <a:cubicBezTo>
                  <a:pt x="14" y="37"/>
                  <a:pt x="0" y="64"/>
                  <a:pt x="13" y="109"/>
                </a:cubicBezTo>
                <a:cubicBezTo>
                  <a:pt x="14" y="110"/>
                  <a:pt x="15" y="111"/>
                  <a:pt x="16" y="111"/>
                </a:cubicBezTo>
                <a:cubicBezTo>
                  <a:pt x="16" y="111"/>
                  <a:pt x="17" y="111"/>
                  <a:pt x="17" y="111"/>
                </a:cubicBezTo>
                <a:cubicBezTo>
                  <a:pt x="18" y="111"/>
                  <a:pt x="19" y="109"/>
                  <a:pt x="19" y="108"/>
                </a:cubicBezTo>
                <a:cubicBezTo>
                  <a:pt x="8" y="74"/>
                  <a:pt x="13" y="45"/>
                  <a:pt x="33" y="26"/>
                </a:cubicBezTo>
                <a:close/>
                <a:moveTo>
                  <a:pt x="85" y="16"/>
                </a:moveTo>
                <a:cubicBezTo>
                  <a:pt x="77" y="16"/>
                  <a:pt x="69" y="17"/>
                  <a:pt x="61" y="21"/>
                </a:cubicBezTo>
                <a:cubicBezTo>
                  <a:pt x="34" y="32"/>
                  <a:pt x="20" y="61"/>
                  <a:pt x="28" y="89"/>
                </a:cubicBezTo>
                <a:cubicBezTo>
                  <a:pt x="29" y="91"/>
                  <a:pt x="30" y="94"/>
                  <a:pt x="30" y="97"/>
                </a:cubicBezTo>
                <a:cubicBezTo>
                  <a:pt x="31" y="104"/>
                  <a:pt x="31" y="116"/>
                  <a:pt x="31" y="136"/>
                </a:cubicBezTo>
                <a:cubicBezTo>
                  <a:pt x="31" y="137"/>
                  <a:pt x="32" y="138"/>
                  <a:pt x="34" y="138"/>
                </a:cubicBezTo>
                <a:cubicBezTo>
                  <a:pt x="35" y="138"/>
                  <a:pt x="37" y="137"/>
                  <a:pt x="37" y="136"/>
                </a:cubicBezTo>
                <a:cubicBezTo>
                  <a:pt x="37" y="115"/>
                  <a:pt x="37" y="104"/>
                  <a:pt x="36" y="97"/>
                </a:cubicBezTo>
                <a:cubicBezTo>
                  <a:pt x="35" y="93"/>
                  <a:pt x="34" y="90"/>
                  <a:pt x="33" y="87"/>
                </a:cubicBezTo>
                <a:cubicBezTo>
                  <a:pt x="26" y="62"/>
                  <a:pt x="39" y="36"/>
                  <a:pt x="63" y="26"/>
                </a:cubicBezTo>
                <a:cubicBezTo>
                  <a:pt x="70" y="23"/>
                  <a:pt x="77" y="21"/>
                  <a:pt x="85" y="22"/>
                </a:cubicBezTo>
                <a:cubicBezTo>
                  <a:pt x="104" y="22"/>
                  <a:pt x="126" y="39"/>
                  <a:pt x="133" y="59"/>
                </a:cubicBezTo>
                <a:cubicBezTo>
                  <a:pt x="138" y="76"/>
                  <a:pt x="138" y="104"/>
                  <a:pt x="138" y="130"/>
                </a:cubicBezTo>
                <a:cubicBezTo>
                  <a:pt x="138" y="132"/>
                  <a:pt x="139" y="133"/>
                  <a:pt x="140" y="133"/>
                </a:cubicBezTo>
                <a:cubicBezTo>
                  <a:pt x="142" y="133"/>
                  <a:pt x="143" y="132"/>
                  <a:pt x="143" y="130"/>
                </a:cubicBezTo>
                <a:cubicBezTo>
                  <a:pt x="144" y="104"/>
                  <a:pt x="144" y="75"/>
                  <a:pt x="138" y="57"/>
                </a:cubicBezTo>
                <a:cubicBezTo>
                  <a:pt x="130" y="35"/>
                  <a:pt x="107" y="17"/>
                  <a:pt x="85" y="16"/>
                </a:cubicBezTo>
                <a:close/>
                <a:moveTo>
                  <a:pt x="83" y="33"/>
                </a:moveTo>
                <a:cubicBezTo>
                  <a:pt x="80" y="33"/>
                  <a:pt x="77" y="33"/>
                  <a:pt x="74" y="33"/>
                </a:cubicBezTo>
                <a:cubicBezTo>
                  <a:pt x="73" y="34"/>
                  <a:pt x="72" y="35"/>
                  <a:pt x="72" y="37"/>
                </a:cubicBezTo>
                <a:cubicBezTo>
                  <a:pt x="72" y="38"/>
                  <a:pt x="74" y="39"/>
                  <a:pt x="75" y="39"/>
                </a:cubicBezTo>
                <a:cubicBezTo>
                  <a:pt x="78" y="38"/>
                  <a:pt x="80" y="38"/>
                  <a:pt x="83" y="38"/>
                </a:cubicBezTo>
                <a:cubicBezTo>
                  <a:pt x="97" y="38"/>
                  <a:pt x="110" y="46"/>
                  <a:pt x="115" y="59"/>
                </a:cubicBezTo>
                <a:cubicBezTo>
                  <a:pt x="122" y="75"/>
                  <a:pt x="122" y="100"/>
                  <a:pt x="121" y="144"/>
                </a:cubicBezTo>
                <a:cubicBezTo>
                  <a:pt x="121" y="145"/>
                  <a:pt x="122" y="146"/>
                  <a:pt x="124" y="146"/>
                </a:cubicBezTo>
                <a:cubicBezTo>
                  <a:pt x="124" y="146"/>
                  <a:pt x="124" y="146"/>
                  <a:pt x="124" y="146"/>
                </a:cubicBezTo>
                <a:cubicBezTo>
                  <a:pt x="125" y="146"/>
                  <a:pt x="126" y="145"/>
                  <a:pt x="126" y="144"/>
                </a:cubicBezTo>
                <a:cubicBezTo>
                  <a:pt x="128" y="98"/>
                  <a:pt x="127" y="74"/>
                  <a:pt x="120" y="57"/>
                </a:cubicBezTo>
                <a:cubicBezTo>
                  <a:pt x="114" y="42"/>
                  <a:pt x="99" y="33"/>
                  <a:pt x="83" y="33"/>
                </a:cubicBezTo>
                <a:close/>
                <a:moveTo>
                  <a:pt x="63" y="44"/>
                </a:moveTo>
                <a:cubicBezTo>
                  <a:pt x="64" y="43"/>
                  <a:pt x="64" y="42"/>
                  <a:pt x="63" y="41"/>
                </a:cubicBezTo>
                <a:cubicBezTo>
                  <a:pt x="63" y="39"/>
                  <a:pt x="61" y="39"/>
                  <a:pt x="60" y="40"/>
                </a:cubicBezTo>
                <a:cubicBezTo>
                  <a:pt x="46" y="50"/>
                  <a:pt x="40" y="69"/>
                  <a:pt x="45" y="87"/>
                </a:cubicBezTo>
                <a:cubicBezTo>
                  <a:pt x="45" y="87"/>
                  <a:pt x="50" y="107"/>
                  <a:pt x="50" y="138"/>
                </a:cubicBezTo>
                <a:cubicBezTo>
                  <a:pt x="50" y="140"/>
                  <a:pt x="51" y="141"/>
                  <a:pt x="53" y="141"/>
                </a:cubicBezTo>
                <a:cubicBezTo>
                  <a:pt x="54" y="141"/>
                  <a:pt x="56" y="140"/>
                  <a:pt x="56" y="138"/>
                </a:cubicBezTo>
                <a:cubicBezTo>
                  <a:pt x="56" y="106"/>
                  <a:pt x="50" y="86"/>
                  <a:pt x="50" y="85"/>
                </a:cubicBezTo>
                <a:cubicBezTo>
                  <a:pt x="45" y="69"/>
                  <a:pt x="51" y="53"/>
                  <a:pt x="63" y="44"/>
                </a:cubicBezTo>
                <a:close/>
                <a:moveTo>
                  <a:pt x="110" y="130"/>
                </a:moveTo>
                <a:cubicBezTo>
                  <a:pt x="110" y="129"/>
                  <a:pt x="109" y="127"/>
                  <a:pt x="107" y="127"/>
                </a:cubicBezTo>
                <a:cubicBezTo>
                  <a:pt x="107" y="127"/>
                  <a:pt x="107" y="127"/>
                  <a:pt x="107" y="127"/>
                </a:cubicBezTo>
                <a:cubicBezTo>
                  <a:pt x="106" y="127"/>
                  <a:pt x="104" y="129"/>
                  <a:pt x="104" y="130"/>
                </a:cubicBezTo>
                <a:cubicBezTo>
                  <a:pt x="104" y="132"/>
                  <a:pt x="104" y="135"/>
                  <a:pt x="105" y="138"/>
                </a:cubicBezTo>
                <a:cubicBezTo>
                  <a:pt x="105" y="143"/>
                  <a:pt x="105" y="148"/>
                  <a:pt x="105" y="152"/>
                </a:cubicBezTo>
                <a:cubicBezTo>
                  <a:pt x="105" y="153"/>
                  <a:pt x="106" y="155"/>
                  <a:pt x="107" y="155"/>
                </a:cubicBezTo>
                <a:cubicBezTo>
                  <a:pt x="107" y="155"/>
                  <a:pt x="107" y="155"/>
                  <a:pt x="107" y="155"/>
                </a:cubicBezTo>
                <a:cubicBezTo>
                  <a:pt x="109" y="155"/>
                  <a:pt x="110" y="153"/>
                  <a:pt x="110" y="152"/>
                </a:cubicBezTo>
                <a:cubicBezTo>
                  <a:pt x="110" y="148"/>
                  <a:pt x="110" y="143"/>
                  <a:pt x="110" y="138"/>
                </a:cubicBezTo>
                <a:cubicBezTo>
                  <a:pt x="110" y="135"/>
                  <a:pt x="110" y="132"/>
                  <a:pt x="110" y="130"/>
                </a:cubicBezTo>
                <a:close/>
                <a:moveTo>
                  <a:pt x="83" y="52"/>
                </a:moveTo>
                <a:cubicBezTo>
                  <a:pt x="80" y="52"/>
                  <a:pt x="77" y="52"/>
                  <a:pt x="75" y="53"/>
                </a:cubicBezTo>
                <a:cubicBezTo>
                  <a:pt x="64" y="58"/>
                  <a:pt x="59" y="70"/>
                  <a:pt x="63" y="81"/>
                </a:cubicBezTo>
                <a:cubicBezTo>
                  <a:pt x="65" y="87"/>
                  <a:pt x="66" y="120"/>
                  <a:pt x="66" y="152"/>
                </a:cubicBezTo>
                <a:cubicBezTo>
                  <a:pt x="66" y="153"/>
                  <a:pt x="68" y="155"/>
                  <a:pt x="69" y="155"/>
                </a:cubicBezTo>
                <a:cubicBezTo>
                  <a:pt x="71" y="155"/>
                  <a:pt x="72" y="153"/>
                  <a:pt x="72" y="152"/>
                </a:cubicBezTo>
                <a:cubicBezTo>
                  <a:pt x="72" y="123"/>
                  <a:pt x="70" y="87"/>
                  <a:pt x="68" y="79"/>
                </a:cubicBezTo>
                <a:cubicBezTo>
                  <a:pt x="65" y="71"/>
                  <a:pt x="69" y="62"/>
                  <a:pt x="77" y="58"/>
                </a:cubicBezTo>
                <a:cubicBezTo>
                  <a:pt x="79" y="57"/>
                  <a:pt x="81" y="57"/>
                  <a:pt x="83" y="57"/>
                </a:cubicBezTo>
                <a:cubicBezTo>
                  <a:pt x="89" y="57"/>
                  <a:pt x="95" y="61"/>
                  <a:pt x="98" y="67"/>
                </a:cubicBezTo>
                <a:cubicBezTo>
                  <a:pt x="103" y="79"/>
                  <a:pt x="105" y="101"/>
                  <a:pt x="105" y="117"/>
                </a:cubicBezTo>
                <a:cubicBezTo>
                  <a:pt x="105" y="118"/>
                  <a:pt x="106" y="119"/>
                  <a:pt x="108" y="119"/>
                </a:cubicBezTo>
                <a:cubicBezTo>
                  <a:pt x="108" y="119"/>
                  <a:pt x="108" y="119"/>
                  <a:pt x="108" y="119"/>
                </a:cubicBezTo>
                <a:cubicBezTo>
                  <a:pt x="109" y="119"/>
                  <a:pt x="110" y="118"/>
                  <a:pt x="110" y="117"/>
                </a:cubicBezTo>
                <a:cubicBezTo>
                  <a:pt x="110" y="100"/>
                  <a:pt x="108" y="78"/>
                  <a:pt x="103" y="65"/>
                </a:cubicBezTo>
                <a:cubicBezTo>
                  <a:pt x="100" y="57"/>
                  <a:pt x="92" y="52"/>
                  <a:pt x="83" y="52"/>
                </a:cubicBezTo>
                <a:close/>
              </a:path>
            </a:pathLst>
          </a:custGeom>
          <a:gradFill>
            <a:gsLst>
              <a:gs pos="73000">
                <a:schemeClr val="accent1"/>
              </a:gs>
              <a:gs pos="31000">
                <a:schemeClr val="accent1">
                  <a:lumMod val="60000"/>
                  <a:lumOff val="40000"/>
                </a:schemeClr>
              </a:gs>
              <a:gs pos="0">
                <a:schemeClr val="accent1">
                  <a:lumMod val="40000"/>
                  <a:lumOff val="60000"/>
                </a:schemeClr>
              </a:gs>
            </a:gsLst>
            <a:path path="circle">
              <a:fillToRect r="100000" b="100000"/>
            </a:path>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Montserrat"/>
              <a:ea typeface="+mn-ea"/>
              <a:cs typeface="+mn-cs"/>
            </a:endParaRPr>
          </a:p>
        </p:txBody>
      </p:sp>
      <p:sp>
        <p:nvSpPr>
          <p:cNvPr id="71" name="Oval 27">
            <a:extLst>
              <a:ext uri="{FF2B5EF4-FFF2-40B4-BE49-F238E27FC236}">
                <a16:creationId xmlns:a16="http://schemas.microsoft.com/office/drawing/2014/main" id="{ED3BA35E-F655-4FA2-8A58-7A301926D80B}"/>
              </a:ext>
            </a:extLst>
          </p:cNvPr>
          <p:cNvSpPr/>
          <p:nvPr/>
        </p:nvSpPr>
        <p:spPr>
          <a:xfrm>
            <a:off x="3067312" y="3598050"/>
            <a:ext cx="310793" cy="310793"/>
          </a:xfrm>
          <a:prstGeom prst="ellipse">
            <a:avLst/>
          </a:prstGeom>
          <a:gradFill>
            <a:gsLst>
              <a:gs pos="73000">
                <a:schemeClr val="accent1"/>
              </a:gs>
              <a:gs pos="31000">
                <a:schemeClr val="accent1">
                  <a:lumMod val="60000"/>
                  <a:lumOff val="40000"/>
                </a:schemeClr>
              </a:gs>
              <a:gs pos="0">
                <a:schemeClr val="accent1">
                  <a:lumMod val="40000"/>
                  <a:lumOff val="60000"/>
                </a:schemeClr>
              </a:gs>
            </a:gsLst>
            <a:path path="circle">
              <a:fillToRect r="100000" b="100000"/>
            </a:path>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HarmonyOS Sans SC"/>
                <a:cs typeface="+mn-cs"/>
              </a:rPr>
              <a:t>A</a:t>
            </a:r>
          </a:p>
        </p:txBody>
      </p:sp>
      <p:sp>
        <p:nvSpPr>
          <p:cNvPr id="72" name="Oval 28">
            <a:extLst>
              <a:ext uri="{FF2B5EF4-FFF2-40B4-BE49-F238E27FC236}">
                <a16:creationId xmlns:a16="http://schemas.microsoft.com/office/drawing/2014/main" id="{44E4D096-E9E0-4A7C-B8EC-4C7A649AF30D}"/>
              </a:ext>
            </a:extLst>
          </p:cNvPr>
          <p:cNvSpPr/>
          <p:nvPr/>
        </p:nvSpPr>
        <p:spPr>
          <a:xfrm>
            <a:off x="5959596" y="3598050"/>
            <a:ext cx="310793" cy="310793"/>
          </a:xfrm>
          <a:prstGeom prst="ellipse">
            <a:avLst/>
          </a:prstGeom>
          <a:gradFill>
            <a:gsLst>
              <a:gs pos="73000">
                <a:schemeClr val="accent1"/>
              </a:gs>
              <a:gs pos="31000">
                <a:schemeClr val="accent1">
                  <a:lumMod val="60000"/>
                  <a:lumOff val="40000"/>
                </a:schemeClr>
              </a:gs>
              <a:gs pos="0">
                <a:schemeClr val="accent1">
                  <a:lumMod val="40000"/>
                  <a:lumOff val="60000"/>
                </a:schemeClr>
              </a:gs>
            </a:gsLst>
            <a:path path="circle">
              <a:fillToRect r="100000" b="100000"/>
            </a:path>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HarmonyOS Sans SC"/>
                <a:cs typeface="+mn-cs"/>
              </a:rPr>
              <a:t>B</a:t>
            </a:r>
          </a:p>
        </p:txBody>
      </p:sp>
      <p:sp>
        <p:nvSpPr>
          <p:cNvPr id="73" name="Oval 29">
            <a:extLst>
              <a:ext uri="{FF2B5EF4-FFF2-40B4-BE49-F238E27FC236}">
                <a16:creationId xmlns:a16="http://schemas.microsoft.com/office/drawing/2014/main" id="{F8F69F6A-FD6D-49FE-8254-EF4E948FE59F}"/>
              </a:ext>
            </a:extLst>
          </p:cNvPr>
          <p:cNvSpPr/>
          <p:nvPr/>
        </p:nvSpPr>
        <p:spPr>
          <a:xfrm>
            <a:off x="8841946" y="3598050"/>
            <a:ext cx="310793" cy="310793"/>
          </a:xfrm>
          <a:prstGeom prst="ellipse">
            <a:avLst/>
          </a:prstGeom>
          <a:gradFill>
            <a:gsLst>
              <a:gs pos="73000">
                <a:schemeClr val="accent1"/>
              </a:gs>
              <a:gs pos="31000">
                <a:schemeClr val="accent1">
                  <a:lumMod val="60000"/>
                  <a:lumOff val="40000"/>
                </a:schemeClr>
              </a:gs>
              <a:gs pos="0">
                <a:schemeClr val="accent1">
                  <a:lumMod val="40000"/>
                  <a:lumOff val="60000"/>
                </a:schemeClr>
              </a:gs>
            </a:gsLst>
            <a:path path="circle">
              <a:fillToRect r="100000" b="100000"/>
            </a:path>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HarmonyOS Sans SC"/>
                <a:cs typeface="+mn-cs"/>
              </a:rPr>
              <a:t>C</a:t>
            </a:r>
          </a:p>
        </p:txBody>
      </p:sp>
      <p:sp>
        <p:nvSpPr>
          <p:cNvPr id="74" name="TextBox 26">
            <a:extLst>
              <a:ext uri="{FF2B5EF4-FFF2-40B4-BE49-F238E27FC236}">
                <a16:creationId xmlns:a16="http://schemas.microsoft.com/office/drawing/2014/main" id="{8A3726D0-6B0B-4A06-957C-A6EA5B3C6259}"/>
              </a:ext>
            </a:extLst>
          </p:cNvPr>
          <p:cNvSpPr txBox="1"/>
          <p:nvPr/>
        </p:nvSpPr>
        <p:spPr>
          <a:xfrm>
            <a:off x="3486150" y="1427611"/>
            <a:ext cx="5219700" cy="254163"/>
          </a:xfrm>
          <a:prstGeom prst="rect">
            <a:avLst/>
          </a:prstGeom>
          <a:noFill/>
        </p:spPr>
        <p:txBody>
          <a:bodyPr wrap="square" lIns="0" tIns="36000" rIns="0" bIns="36000" rtlCol="0">
            <a:spAutoFit/>
          </a:bodyPr>
          <a:lstStyle/>
          <a:p>
            <a:pPr marL="0" marR="0" lvl="0" indent="0" algn="ctr" defTabSz="914400" rtl="0" eaLnBrk="1" fontAlgn="auto" latinLnBrk="0" hangingPunct="1">
              <a:lnSpc>
                <a:spcPct val="130000"/>
              </a:lnSpc>
              <a:spcBef>
                <a:spcPts val="100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alpha val="70000"/>
                  </a:prstClr>
                </a:solidFill>
                <a:effectLst/>
                <a:uLnTx/>
                <a:uFillTx/>
                <a:latin typeface="HarmonyOS Sans SC"/>
                <a:cs typeface="+mn-cs"/>
              </a:rPr>
              <a:t>A peep at some distant orb has power to raise and purify our thoughts.</a:t>
            </a:r>
          </a:p>
        </p:txBody>
      </p:sp>
      <p:sp>
        <p:nvSpPr>
          <p:cNvPr id="76" name="TextBox 26">
            <a:extLst>
              <a:ext uri="{FF2B5EF4-FFF2-40B4-BE49-F238E27FC236}">
                <a16:creationId xmlns:a16="http://schemas.microsoft.com/office/drawing/2014/main" id="{06D0A18D-A76D-4F32-93B8-E7798B506B48}"/>
              </a:ext>
            </a:extLst>
          </p:cNvPr>
          <p:cNvSpPr txBox="1"/>
          <p:nvPr/>
        </p:nvSpPr>
        <p:spPr>
          <a:xfrm>
            <a:off x="1112477" y="5731861"/>
            <a:ext cx="1296319" cy="416067"/>
          </a:xfrm>
          <a:prstGeom prst="rect">
            <a:avLst/>
          </a:prstGeom>
          <a:noFill/>
        </p:spPr>
        <p:txBody>
          <a:bodyPr wrap="square" lIns="0" tIns="36000" rIns="0" bIns="36000" rtlCol="0">
            <a:spAutoFit/>
          </a:bodyPr>
          <a:lstStyle/>
          <a:p>
            <a:pPr marL="0" marR="0" lvl="0" indent="0" algn="ctr" defTabSz="914400" rtl="0" eaLnBrk="1" fontAlgn="auto" latinLnBrk="0" hangingPunct="1">
              <a:lnSpc>
                <a:spcPct val="130000"/>
              </a:lnSpc>
              <a:spcBef>
                <a:spcPts val="1000"/>
              </a:spcBef>
              <a:spcAft>
                <a:spcPts val="0"/>
              </a:spcAft>
              <a:buClrTx/>
              <a:buSzTx/>
              <a:buFontTx/>
              <a:buNone/>
              <a:tabLst/>
              <a:defRPr/>
            </a:pPr>
            <a:r>
              <a:rPr kumimoji="0" lang="en-US" sz="900" b="0" i="0" u="none" strike="noStrike" kern="1200" cap="none" spc="0" normalizeH="0" baseline="0" noProof="0" dirty="0">
                <a:ln>
                  <a:noFill/>
                </a:ln>
                <a:solidFill>
                  <a:prstClr val="black">
                    <a:lumMod val="50000"/>
                    <a:lumOff val="50000"/>
                  </a:prstClr>
                </a:solidFill>
                <a:effectLst/>
                <a:uLnTx/>
                <a:uFillTx/>
                <a:latin typeface="HarmonyOS Sans SC"/>
                <a:cs typeface="+mn-cs"/>
              </a:rPr>
              <a:t>A peep at some distant orb has power.</a:t>
            </a:r>
          </a:p>
        </p:txBody>
      </p:sp>
      <p:sp>
        <p:nvSpPr>
          <p:cNvPr id="77" name="TextBox 27">
            <a:extLst>
              <a:ext uri="{FF2B5EF4-FFF2-40B4-BE49-F238E27FC236}">
                <a16:creationId xmlns:a16="http://schemas.microsoft.com/office/drawing/2014/main" id="{61550261-F413-4153-9F85-6551D1FEF96C}"/>
              </a:ext>
            </a:extLst>
          </p:cNvPr>
          <p:cNvSpPr txBox="1"/>
          <p:nvPr/>
        </p:nvSpPr>
        <p:spPr>
          <a:xfrm>
            <a:off x="1051122" y="5369364"/>
            <a:ext cx="1419028" cy="288147"/>
          </a:xfrm>
          <a:prstGeom prst="rect">
            <a:avLst/>
          </a:prstGeom>
          <a:noFill/>
        </p:spPr>
        <p:txBody>
          <a:bodyPr wrap="square" lIns="0" tIns="36000" rIns="0" bIns="36000" rtlCol="0">
            <a:spAutoFit/>
          </a:bodyPr>
          <a:lstStyle/>
          <a:p>
            <a:pPr marL="0" marR="0" lvl="0" indent="0" algn="ctr" defTabSz="914400" rtl="0" eaLnBrk="1" fontAlgn="auto" latinLnBrk="0" hangingPunct="1">
              <a:lnSpc>
                <a:spcPct val="100000"/>
              </a:lnSpc>
              <a:spcBef>
                <a:spcPts val="1000"/>
              </a:spcBef>
              <a:spcAft>
                <a:spcPts val="0"/>
              </a:spcAft>
              <a:buClrTx/>
              <a:buSzTx/>
              <a:buFontTx/>
              <a:buNone/>
              <a:tabLst/>
              <a:defRPr/>
            </a:pPr>
            <a:r>
              <a:rPr kumimoji="0" lang="en-US" sz="1400" b="1" i="0" u="none" strike="noStrike" kern="1200" cap="none" spc="0" normalizeH="0" baseline="0" noProof="0" dirty="0">
                <a:ln>
                  <a:noFill/>
                </a:ln>
                <a:solidFill>
                  <a:prstClr val="black">
                    <a:lumMod val="75000"/>
                    <a:lumOff val="25000"/>
                  </a:prstClr>
                </a:solidFill>
                <a:effectLst/>
                <a:uLnTx/>
                <a:uFillTx/>
                <a:latin typeface="HarmonyOS Sans SC Black"/>
                <a:ea typeface="+mj-ea"/>
                <a:cs typeface="+mn-cs"/>
              </a:rPr>
              <a:t>Process name</a:t>
            </a:r>
          </a:p>
        </p:txBody>
      </p:sp>
      <p:sp>
        <p:nvSpPr>
          <p:cNvPr id="78" name="TextBox 26">
            <a:extLst>
              <a:ext uri="{FF2B5EF4-FFF2-40B4-BE49-F238E27FC236}">
                <a16:creationId xmlns:a16="http://schemas.microsoft.com/office/drawing/2014/main" id="{B425C745-07C3-40BB-BFB9-35ECDEB25A99}"/>
              </a:ext>
            </a:extLst>
          </p:cNvPr>
          <p:cNvSpPr txBox="1"/>
          <p:nvPr/>
        </p:nvSpPr>
        <p:spPr>
          <a:xfrm>
            <a:off x="4054121" y="5731861"/>
            <a:ext cx="1296319" cy="416067"/>
          </a:xfrm>
          <a:prstGeom prst="rect">
            <a:avLst/>
          </a:prstGeom>
          <a:noFill/>
        </p:spPr>
        <p:txBody>
          <a:bodyPr wrap="square" lIns="0" tIns="36000" rIns="0" bIns="36000" rtlCol="0">
            <a:spAutoFit/>
          </a:bodyPr>
          <a:lstStyle/>
          <a:p>
            <a:pPr marL="0" marR="0" lvl="0" indent="0" algn="ctr" defTabSz="914400" rtl="0" eaLnBrk="1" fontAlgn="auto" latinLnBrk="0" hangingPunct="1">
              <a:lnSpc>
                <a:spcPct val="130000"/>
              </a:lnSpc>
              <a:spcBef>
                <a:spcPts val="1000"/>
              </a:spcBef>
              <a:spcAft>
                <a:spcPts val="0"/>
              </a:spcAft>
              <a:buClrTx/>
              <a:buSzTx/>
              <a:buFontTx/>
              <a:buNone/>
              <a:tabLst/>
              <a:defRPr/>
            </a:pPr>
            <a:r>
              <a:rPr kumimoji="0" lang="en-US" sz="900" b="0" i="0" u="none" strike="noStrike" kern="1200" cap="none" spc="0" normalizeH="0" baseline="0" noProof="0" dirty="0">
                <a:ln>
                  <a:noFill/>
                </a:ln>
                <a:solidFill>
                  <a:prstClr val="black">
                    <a:lumMod val="50000"/>
                    <a:lumOff val="50000"/>
                  </a:prstClr>
                </a:solidFill>
                <a:effectLst/>
                <a:uLnTx/>
                <a:uFillTx/>
                <a:latin typeface="HarmonyOS Sans SC"/>
                <a:cs typeface="+mn-cs"/>
              </a:rPr>
              <a:t>A peep at some distant orb has power.</a:t>
            </a:r>
          </a:p>
        </p:txBody>
      </p:sp>
      <p:sp>
        <p:nvSpPr>
          <p:cNvPr id="79" name="TextBox 27">
            <a:extLst>
              <a:ext uri="{FF2B5EF4-FFF2-40B4-BE49-F238E27FC236}">
                <a16:creationId xmlns:a16="http://schemas.microsoft.com/office/drawing/2014/main" id="{72130F68-9B36-49D6-9AA2-F295A1618A3D}"/>
              </a:ext>
            </a:extLst>
          </p:cNvPr>
          <p:cNvSpPr txBox="1"/>
          <p:nvPr/>
        </p:nvSpPr>
        <p:spPr>
          <a:xfrm>
            <a:off x="4098771" y="5369364"/>
            <a:ext cx="1207018" cy="288147"/>
          </a:xfrm>
          <a:prstGeom prst="rect">
            <a:avLst/>
          </a:prstGeom>
          <a:noFill/>
        </p:spPr>
        <p:txBody>
          <a:bodyPr wrap="square" lIns="0" tIns="36000" rIns="0" bIns="36000" rtlCol="0">
            <a:spAutoFit/>
          </a:bodyPr>
          <a:lstStyle/>
          <a:p>
            <a:pPr marL="0" marR="0" lvl="0" indent="0" algn="ctr" defTabSz="914400" rtl="0" eaLnBrk="1" fontAlgn="auto" latinLnBrk="0" hangingPunct="1">
              <a:lnSpc>
                <a:spcPct val="100000"/>
              </a:lnSpc>
              <a:spcBef>
                <a:spcPts val="1000"/>
              </a:spcBef>
              <a:spcAft>
                <a:spcPts val="0"/>
              </a:spcAft>
              <a:buClrTx/>
              <a:buSzTx/>
              <a:buFontTx/>
              <a:buNone/>
              <a:tabLst/>
              <a:defRPr/>
            </a:pPr>
            <a:r>
              <a:rPr kumimoji="0" lang="en-US" sz="1400" b="1" i="0" u="none" strike="noStrike" kern="1200" cap="none" spc="0" normalizeH="0" baseline="0" noProof="0" dirty="0">
                <a:ln>
                  <a:noFill/>
                </a:ln>
                <a:solidFill>
                  <a:prstClr val="black">
                    <a:lumMod val="75000"/>
                    <a:lumOff val="25000"/>
                  </a:prstClr>
                </a:solidFill>
                <a:effectLst/>
                <a:uLnTx/>
                <a:uFillTx/>
                <a:latin typeface="HarmonyOS Sans SC Black"/>
                <a:ea typeface="+mj-ea"/>
                <a:cs typeface="+mn-cs"/>
              </a:rPr>
              <a:t>Process name</a:t>
            </a:r>
          </a:p>
        </p:txBody>
      </p:sp>
      <p:sp>
        <p:nvSpPr>
          <p:cNvPr id="80" name="TextBox 26">
            <a:extLst>
              <a:ext uri="{FF2B5EF4-FFF2-40B4-BE49-F238E27FC236}">
                <a16:creationId xmlns:a16="http://schemas.microsoft.com/office/drawing/2014/main" id="{F02B3256-D4D5-4F8E-AA9F-B1EB3F9C7A46}"/>
              </a:ext>
            </a:extLst>
          </p:cNvPr>
          <p:cNvSpPr txBox="1"/>
          <p:nvPr/>
        </p:nvSpPr>
        <p:spPr>
          <a:xfrm>
            <a:off x="6894668" y="5731861"/>
            <a:ext cx="1296319" cy="416067"/>
          </a:xfrm>
          <a:prstGeom prst="rect">
            <a:avLst/>
          </a:prstGeom>
          <a:noFill/>
        </p:spPr>
        <p:txBody>
          <a:bodyPr wrap="square" lIns="0" tIns="36000" rIns="0" bIns="36000" rtlCol="0">
            <a:spAutoFit/>
          </a:bodyPr>
          <a:lstStyle/>
          <a:p>
            <a:pPr marL="0" marR="0" lvl="0" indent="0" algn="ctr" defTabSz="914400" rtl="0" eaLnBrk="1" fontAlgn="auto" latinLnBrk="0" hangingPunct="1">
              <a:lnSpc>
                <a:spcPct val="130000"/>
              </a:lnSpc>
              <a:spcBef>
                <a:spcPts val="1000"/>
              </a:spcBef>
              <a:spcAft>
                <a:spcPts val="0"/>
              </a:spcAft>
              <a:buClrTx/>
              <a:buSzTx/>
              <a:buFontTx/>
              <a:buNone/>
              <a:tabLst/>
              <a:defRPr/>
            </a:pPr>
            <a:r>
              <a:rPr kumimoji="0" lang="en-US" sz="900" b="0" i="0" u="none" strike="noStrike" kern="1200" cap="none" spc="0" normalizeH="0" baseline="0" noProof="0" dirty="0">
                <a:ln>
                  <a:noFill/>
                </a:ln>
                <a:solidFill>
                  <a:prstClr val="black">
                    <a:lumMod val="50000"/>
                    <a:lumOff val="50000"/>
                  </a:prstClr>
                </a:solidFill>
                <a:effectLst/>
                <a:uLnTx/>
                <a:uFillTx/>
                <a:latin typeface="HarmonyOS Sans SC"/>
                <a:cs typeface="+mn-cs"/>
              </a:rPr>
              <a:t>A peep at some distant orb has power.</a:t>
            </a:r>
          </a:p>
        </p:txBody>
      </p:sp>
      <p:sp>
        <p:nvSpPr>
          <p:cNvPr id="81" name="TextBox 27">
            <a:extLst>
              <a:ext uri="{FF2B5EF4-FFF2-40B4-BE49-F238E27FC236}">
                <a16:creationId xmlns:a16="http://schemas.microsoft.com/office/drawing/2014/main" id="{412111E9-7227-4BB9-A9F1-64A0309FA9EC}"/>
              </a:ext>
            </a:extLst>
          </p:cNvPr>
          <p:cNvSpPr txBox="1"/>
          <p:nvPr/>
        </p:nvSpPr>
        <p:spPr>
          <a:xfrm>
            <a:off x="6894669" y="5369364"/>
            <a:ext cx="1296318" cy="288147"/>
          </a:xfrm>
          <a:prstGeom prst="rect">
            <a:avLst/>
          </a:prstGeom>
          <a:noFill/>
        </p:spPr>
        <p:txBody>
          <a:bodyPr wrap="square" lIns="0" tIns="36000" rIns="0" bIns="36000" rtlCol="0">
            <a:spAutoFit/>
          </a:bodyPr>
          <a:lstStyle/>
          <a:p>
            <a:pPr marL="0" marR="0" lvl="0" indent="0" algn="ctr" defTabSz="914400" rtl="0" eaLnBrk="1" fontAlgn="auto" latinLnBrk="0" hangingPunct="1">
              <a:lnSpc>
                <a:spcPct val="100000"/>
              </a:lnSpc>
              <a:spcBef>
                <a:spcPts val="1000"/>
              </a:spcBef>
              <a:spcAft>
                <a:spcPts val="0"/>
              </a:spcAft>
              <a:buClrTx/>
              <a:buSzTx/>
              <a:buFontTx/>
              <a:buNone/>
              <a:tabLst/>
              <a:defRPr/>
            </a:pPr>
            <a:r>
              <a:rPr kumimoji="0" lang="en-US" sz="1400" b="1" i="0" u="none" strike="noStrike" kern="1200" cap="none" spc="0" normalizeH="0" baseline="0" noProof="0" dirty="0">
                <a:ln>
                  <a:noFill/>
                </a:ln>
                <a:solidFill>
                  <a:prstClr val="black">
                    <a:lumMod val="75000"/>
                    <a:lumOff val="25000"/>
                  </a:prstClr>
                </a:solidFill>
                <a:effectLst/>
                <a:uLnTx/>
                <a:uFillTx/>
                <a:latin typeface="HarmonyOS Sans SC Black"/>
                <a:ea typeface="+mj-ea"/>
                <a:cs typeface="+mn-cs"/>
              </a:rPr>
              <a:t>Process name</a:t>
            </a:r>
          </a:p>
        </p:txBody>
      </p:sp>
      <p:sp>
        <p:nvSpPr>
          <p:cNvPr id="82" name="TextBox 26">
            <a:extLst>
              <a:ext uri="{FF2B5EF4-FFF2-40B4-BE49-F238E27FC236}">
                <a16:creationId xmlns:a16="http://schemas.microsoft.com/office/drawing/2014/main" id="{ABCFD877-74FA-402F-9409-87F2722275ED}"/>
              </a:ext>
            </a:extLst>
          </p:cNvPr>
          <p:cNvSpPr txBox="1"/>
          <p:nvPr/>
        </p:nvSpPr>
        <p:spPr>
          <a:xfrm>
            <a:off x="9783204" y="5731861"/>
            <a:ext cx="1271324" cy="416067"/>
          </a:xfrm>
          <a:prstGeom prst="rect">
            <a:avLst/>
          </a:prstGeom>
          <a:noFill/>
        </p:spPr>
        <p:txBody>
          <a:bodyPr wrap="square" lIns="0" tIns="36000" rIns="0" bIns="36000" rtlCol="0">
            <a:spAutoFit/>
          </a:bodyPr>
          <a:lstStyle/>
          <a:p>
            <a:pPr marL="0" marR="0" lvl="0" indent="0" algn="ctr" defTabSz="914400" rtl="0" eaLnBrk="1" fontAlgn="auto" latinLnBrk="0" hangingPunct="1">
              <a:lnSpc>
                <a:spcPct val="130000"/>
              </a:lnSpc>
              <a:spcBef>
                <a:spcPts val="1000"/>
              </a:spcBef>
              <a:spcAft>
                <a:spcPts val="0"/>
              </a:spcAft>
              <a:buClrTx/>
              <a:buSzTx/>
              <a:buFontTx/>
              <a:buNone/>
              <a:tabLst/>
              <a:defRPr/>
            </a:pPr>
            <a:r>
              <a:rPr kumimoji="0" lang="en-US" sz="900" b="0" i="0" u="none" strike="noStrike" kern="1200" cap="none" spc="0" normalizeH="0" baseline="0" noProof="0" dirty="0">
                <a:ln>
                  <a:noFill/>
                </a:ln>
                <a:solidFill>
                  <a:prstClr val="black">
                    <a:lumMod val="50000"/>
                    <a:lumOff val="50000"/>
                  </a:prstClr>
                </a:solidFill>
                <a:effectLst/>
                <a:uLnTx/>
                <a:uFillTx/>
                <a:latin typeface="HarmonyOS Sans SC"/>
                <a:cs typeface="+mn-cs"/>
              </a:rPr>
              <a:t>A peep at some distant orb has power.</a:t>
            </a:r>
          </a:p>
        </p:txBody>
      </p:sp>
      <p:sp>
        <p:nvSpPr>
          <p:cNvPr id="83" name="TextBox 27">
            <a:extLst>
              <a:ext uri="{FF2B5EF4-FFF2-40B4-BE49-F238E27FC236}">
                <a16:creationId xmlns:a16="http://schemas.microsoft.com/office/drawing/2014/main" id="{9BDCF72A-F16A-4D74-92AE-F57733E13FDE}"/>
              </a:ext>
            </a:extLst>
          </p:cNvPr>
          <p:cNvSpPr txBox="1"/>
          <p:nvPr/>
        </p:nvSpPr>
        <p:spPr>
          <a:xfrm>
            <a:off x="9758209" y="5369364"/>
            <a:ext cx="1321314" cy="288147"/>
          </a:xfrm>
          <a:prstGeom prst="rect">
            <a:avLst/>
          </a:prstGeom>
          <a:noFill/>
        </p:spPr>
        <p:txBody>
          <a:bodyPr wrap="square" lIns="0" tIns="36000" rIns="0" bIns="36000" rtlCol="0">
            <a:spAutoFit/>
          </a:bodyPr>
          <a:lstStyle/>
          <a:p>
            <a:pPr marL="0" marR="0" lvl="0" indent="0" algn="ctr" defTabSz="914400" rtl="0" eaLnBrk="1" fontAlgn="auto" latinLnBrk="0" hangingPunct="1">
              <a:lnSpc>
                <a:spcPct val="100000"/>
              </a:lnSpc>
              <a:spcBef>
                <a:spcPts val="1000"/>
              </a:spcBef>
              <a:spcAft>
                <a:spcPts val="0"/>
              </a:spcAft>
              <a:buClrTx/>
              <a:buSzTx/>
              <a:buFontTx/>
              <a:buNone/>
              <a:tabLst/>
              <a:defRPr/>
            </a:pPr>
            <a:r>
              <a:rPr kumimoji="0" lang="en-US" sz="1400" b="1" i="0" u="none" strike="noStrike" kern="1200" cap="none" spc="0" normalizeH="0" baseline="0" noProof="0" dirty="0">
                <a:ln>
                  <a:noFill/>
                </a:ln>
                <a:solidFill>
                  <a:prstClr val="black">
                    <a:lumMod val="75000"/>
                    <a:lumOff val="25000"/>
                  </a:prstClr>
                </a:solidFill>
                <a:effectLst/>
                <a:uLnTx/>
                <a:uFillTx/>
                <a:latin typeface="HarmonyOS Sans SC Black"/>
                <a:ea typeface="+mj-ea"/>
                <a:cs typeface="+mn-cs"/>
              </a:rPr>
              <a:t>Process name</a:t>
            </a:r>
          </a:p>
        </p:txBody>
      </p:sp>
    </p:spTree>
    <p:extLst>
      <p:ext uri="{BB962C8B-B14F-4D97-AF65-F5344CB8AC3E}">
        <p14:creationId xmlns:p14="http://schemas.microsoft.com/office/powerpoint/2010/main" val="119667868"/>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5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F668DF0-2DEE-44D3-ABA7-67F58E5B11E2}"/>
              </a:ext>
            </a:extLst>
          </p:cNvPr>
          <p:cNvSpPr txBox="1">
            <a:spLocks/>
          </p:cNvSpPr>
          <p:nvPr/>
        </p:nvSpPr>
        <p:spPr>
          <a:xfrm>
            <a:off x="11496675" y="6261101"/>
            <a:ext cx="466726" cy="365125"/>
          </a:xfrm>
          <a:prstGeom prst="rect">
            <a:avLst/>
          </a:prstGeom>
        </p:spPr>
        <p:txBody>
          <a:bodyPr vert="horz" lIns="91440" tIns="45720" rIns="91440" bIns="45720" rtlCol="0" anchor="ctr"/>
          <a:lstStyle>
            <a:defPPr>
              <a:defRPr lang="zh-CN"/>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fld id="{EC3C1908-F36C-497F-A384-B39F0F8EB8D1}" type="slidenum">
              <a:rPr kumimoji="0" lang="en-US" sz="1200" b="0" i="0" u="none" strike="noStrike" kern="1200" cap="none" spc="0" normalizeH="0" baseline="0" noProof="0" smtClean="0">
                <a:ln>
                  <a:noFill/>
                </a:ln>
                <a:solidFill>
                  <a:prstClr val="white"/>
                </a:solidFill>
                <a:effectLst/>
                <a:uLnTx/>
                <a:uFillTx/>
                <a:latin typeface="Open Sans"/>
                <a:cs typeface="+mn-cs"/>
              </a:rPr>
              <a:pPr marL="0" marR="0" lvl="0" indent="0" algn="ctr" defTabSz="457200" rtl="0" eaLnBrk="1" fontAlgn="auto" latinLnBrk="0" hangingPunct="1">
                <a:lnSpc>
                  <a:spcPct val="100000"/>
                </a:lnSpc>
                <a:spcBef>
                  <a:spcPts val="0"/>
                </a:spcBef>
                <a:spcAft>
                  <a:spcPts val="0"/>
                </a:spcAft>
                <a:buClrTx/>
                <a:buSzTx/>
                <a:buFontTx/>
                <a:buNone/>
                <a:tabLst/>
                <a:defRPr/>
              </a:pPr>
              <a:t>534</a:t>
            </a:fld>
            <a:endParaRPr kumimoji="0" lang="en-US" sz="1200" b="0" i="0" u="none" strike="noStrike" kern="1200" cap="none" spc="0" normalizeH="0" baseline="0" noProof="0">
              <a:ln>
                <a:noFill/>
              </a:ln>
              <a:solidFill>
                <a:prstClr val="white"/>
              </a:solidFill>
              <a:effectLst/>
              <a:uLnTx/>
              <a:uFillTx/>
              <a:latin typeface="Open Sans"/>
              <a:cs typeface="+mn-cs"/>
            </a:endParaRPr>
          </a:p>
        </p:txBody>
      </p:sp>
      <p:sp>
        <p:nvSpPr>
          <p:cNvPr id="4" name="Freeform 5">
            <a:extLst>
              <a:ext uri="{FF2B5EF4-FFF2-40B4-BE49-F238E27FC236}">
                <a16:creationId xmlns:a16="http://schemas.microsoft.com/office/drawing/2014/main" id="{7B2215BA-AA6E-46AA-92D6-96FE9F266C69}"/>
              </a:ext>
            </a:extLst>
          </p:cNvPr>
          <p:cNvSpPr>
            <a:spLocks/>
          </p:cNvSpPr>
          <p:nvPr/>
        </p:nvSpPr>
        <p:spPr bwMode="auto">
          <a:xfrm>
            <a:off x="6150539" y="3208139"/>
            <a:ext cx="574265" cy="367950"/>
          </a:xfrm>
          <a:custGeom>
            <a:avLst/>
            <a:gdLst>
              <a:gd name="T0" fmla="*/ 0 w 122"/>
              <a:gd name="T1" fmla="*/ 78 h 78"/>
              <a:gd name="T2" fmla="*/ 122 w 122"/>
              <a:gd name="T3" fmla="*/ 0 h 78"/>
              <a:gd name="T4" fmla="*/ 0 w 122"/>
              <a:gd name="T5" fmla="*/ 78 h 78"/>
            </a:gdLst>
            <a:ahLst/>
            <a:cxnLst>
              <a:cxn ang="0">
                <a:pos x="T0" y="T1"/>
              </a:cxn>
              <a:cxn ang="0">
                <a:pos x="T2" y="T3"/>
              </a:cxn>
              <a:cxn ang="0">
                <a:pos x="T4" y="T5"/>
              </a:cxn>
            </a:cxnLst>
            <a:rect l="0" t="0" r="r" b="b"/>
            <a:pathLst>
              <a:path w="122" h="78">
                <a:moveTo>
                  <a:pt x="0" y="78"/>
                </a:moveTo>
                <a:cubicBezTo>
                  <a:pt x="68" y="69"/>
                  <a:pt x="109" y="43"/>
                  <a:pt x="122" y="0"/>
                </a:cubicBezTo>
                <a:cubicBezTo>
                  <a:pt x="122" y="52"/>
                  <a:pt x="77" y="67"/>
                  <a:pt x="0" y="78"/>
                </a:cubicBezTo>
                <a:close/>
              </a:path>
            </a:pathLst>
          </a:custGeom>
          <a:gradFill flip="none" rotWithShape="1">
            <a:gsLst>
              <a:gs pos="0">
                <a:schemeClr val="accent1">
                  <a:lumMod val="67000"/>
                </a:schemeClr>
              </a:gs>
              <a:gs pos="100000">
                <a:schemeClr val="accent1"/>
              </a:gs>
            </a:gsLst>
            <a:lin ang="1620000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5" name="Freeform 6">
            <a:extLst>
              <a:ext uri="{FF2B5EF4-FFF2-40B4-BE49-F238E27FC236}">
                <a16:creationId xmlns:a16="http://schemas.microsoft.com/office/drawing/2014/main" id="{86836EE0-D342-410D-B83C-6B3DC953B9B4}"/>
              </a:ext>
            </a:extLst>
          </p:cNvPr>
          <p:cNvSpPr>
            <a:spLocks/>
          </p:cNvSpPr>
          <p:nvPr/>
        </p:nvSpPr>
        <p:spPr bwMode="auto">
          <a:xfrm>
            <a:off x="5904801" y="2829676"/>
            <a:ext cx="513816" cy="335098"/>
          </a:xfrm>
          <a:custGeom>
            <a:avLst/>
            <a:gdLst>
              <a:gd name="T0" fmla="*/ 6 w 109"/>
              <a:gd name="T1" fmla="*/ 26 h 71"/>
              <a:gd name="T2" fmla="*/ 6 w 109"/>
              <a:gd name="T3" fmla="*/ 31 h 71"/>
              <a:gd name="T4" fmla="*/ 104 w 109"/>
              <a:gd name="T5" fmla="*/ 71 h 71"/>
              <a:gd name="T6" fmla="*/ 71 w 109"/>
              <a:gd name="T7" fmla="*/ 9 h 71"/>
              <a:gd name="T8" fmla="*/ 0 w 109"/>
              <a:gd name="T9" fmla="*/ 7 h 71"/>
              <a:gd name="T10" fmla="*/ 6 w 109"/>
              <a:gd name="T11" fmla="*/ 26 h 71"/>
            </a:gdLst>
            <a:ahLst/>
            <a:cxnLst>
              <a:cxn ang="0">
                <a:pos x="T0" y="T1"/>
              </a:cxn>
              <a:cxn ang="0">
                <a:pos x="T2" y="T3"/>
              </a:cxn>
              <a:cxn ang="0">
                <a:pos x="T4" y="T5"/>
              </a:cxn>
              <a:cxn ang="0">
                <a:pos x="T6" y="T7"/>
              </a:cxn>
              <a:cxn ang="0">
                <a:pos x="T8" y="T9"/>
              </a:cxn>
              <a:cxn ang="0">
                <a:pos x="T10" y="T11"/>
              </a:cxn>
            </a:cxnLst>
            <a:rect l="0" t="0" r="r" b="b"/>
            <a:pathLst>
              <a:path w="109" h="71">
                <a:moveTo>
                  <a:pt x="6" y="26"/>
                </a:moveTo>
                <a:cubicBezTo>
                  <a:pt x="6" y="28"/>
                  <a:pt x="6" y="32"/>
                  <a:pt x="6" y="31"/>
                </a:cubicBezTo>
                <a:cubicBezTo>
                  <a:pt x="59" y="31"/>
                  <a:pt x="91" y="44"/>
                  <a:pt x="104" y="71"/>
                </a:cubicBezTo>
                <a:cubicBezTo>
                  <a:pt x="109" y="49"/>
                  <a:pt x="101" y="23"/>
                  <a:pt x="71" y="9"/>
                </a:cubicBezTo>
                <a:cubicBezTo>
                  <a:pt x="47" y="0"/>
                  <a:pt x="21" y="4"/>
                  <a:pt x="0" y="7"/>
                </a:cubicBezTo>
                <a:cubicBezTo>
                  <a:pt x="1" y="12"/>
                  <a:pt x="1" y="10"/>
                  <a:pt x="6" y="26"/>
                </a:cubicBezTo>
                <a:close/>
              </a:path>
            </a:pathLst>
          </a:custGeom>
          <a:gradFill flip="none" rotWithShape="1">
            <a:gsLst>
              <a:gs pos="100000">
                <a:schemeClr val="accent1"/>
              </a:gs>
              <a:gs pos="31000">
                <a:schemeClr val="accent1">
                  <a:lumMod val="60000"/>
                  <a:lumOff val="40000"/>
                </a:schemeClr>
              </a:gs>
              <a:gs pos="0">
                <a:schemeClr val="accent1">
                  <a:lumMod val="40000"/>
                  <a:lumOff val="60000"/>
                </a:schemeClr>
              </a:gs>
            </a:gsLst>
            <a:lin ang="270000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6" name="Freeform 7">
            <a:extLst>
              <a:ext uri="{FF2B5EF4-FFF2-40B4-BE49-F238E27FC236}">
                <a16:creationId xmlns:a16="http://schemas.microsoft.com/office/drawing/2014/main" id="{48AA5537-1F13-45EA-87F2-D0D8459C4CF2}"/>
              </a:ext>
            </a:extLst>
          </p:cNvPr>
          <p:cNvSpPr>
            <a:spLocks/>
          </p:cNvSpPr>
          <p:nvPr/>
        </p:nvSpPr>
        <p:spPr bwMode="auto">
          <a:xfrm>
            <a:off x="5363389" y="2612848"/>
            <a:ext cx="1379812" cy="977696"/>
          </a:xfrm>
          <a:custGeom>
            <a:avLst/>
            <a:gdLst>
              <a:gd name="T0" fmla="*/ 0 w 293"/>
              <a:gd name="T1" fmla="*/ 45 h 207"/>
              <a:gd name="T2" fmla="*/ 121 w 293"/>
              <a:gd name="T3" fmla="*/ 72 h 207"/>
              <a:gd name="T4" fmla="*/ 115 w 293"/>
              <a:gd name="T5" fmla="*/ 53 h 207"/>
              <a:gd name="T6" fmla="*/ 183 w 293"/>
              <a:gd name="T7" fmla="*/ 63 h 207"/>
              <a:gd name="T8" fmla="*/ 219 w 293"/>
              <a:gd name="T9" fmla="*/ 117 h 207"/>
              <a:gd name="T10" fmla="*/ 150 w 293"/>
              <a:gd name="T11" fmla="*/ 158 h 207"/>
              <a:gd name="T12" fmla="*/ 167 w 293"/>
              <a:gd name="T13" fmla="*/ 204 h 207"/>
              <a:gd name="T14" fmla="*/ 289 w 293"/>
              <a:gd name="T15" fmla="*/ 126 h 207"/>
              <a:gd name="T16" fmla="*/ 289 w 293"/>
              <a:gd name="T17" fmla="*/ 126 h 207"/>
              <a:gd name="T18" fmla="*/ 289 w 293"/>
              <a:gd name="T19" fmla="*/ 126 h 207"/>
              <a:gd name="T20" fmla="*/ 191 w 293"/>
              <a:gd name="T21" fmla="*/ 25 h 207"/>
              <a:gd name="T22" fmla="*/ 102 w 293"/>
              <a:gd name="T23" fmla="*/ 17 h 207"/>
              <a:gd name="T24" fmla="*/ 96 w 293"/>
              <a:gd name="T25" fmla="*/ 0 h 207"/>
              <a:gd name="T26" fmla="*/ 0 w 293"/>
              <a:gd name="T27" fmla="*/ 45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93" h="207">
                <a:moveTo>
                  <a:pt x="0" y="45"/>
                </a:moveTo>
                <a:cubicBezTo>
                  <a:pt x="121" y="72"/>
                  <a:pt x="121" y="72"/>
                  <a:pt x="121" y="72"/>
                </a:cubicBezTo>
                <a:cubicBezTo>
                  <a:pt x="114" y="51"/>
                  <a:pt x="115" y="53"/>
                  <a:pt x="115" y="53"/>
                </a:cubicBezTo>
                <a:cubicBezTo>
                  <a:pt x="136" y="50"/>
                  <a:pt x="159" y="54"/>
                  <a:pt x="183" y="63"/>
                </a:cubicBezTo>
                <a:cubicBezTo>
                  <a:pt x="212" y="77"/>
                  <a:pt x="224" y="95"/>
                  <a:pt x="219" y="117"/>
                </a:cubicBezTo>
                <a:cubicBezTo>
                  <a:pt x="210" y="139"/>
                  <a:pt x="188" y="152"/>
                  <a:pt x="150" y="158"/>
                </a:cubicBezTo>
                <a:cubicBezTo>
                  <a:pt x="167" y="207"/>
                  <a:pt x="167" y="204"/>
                  <a:pt x="167" y="204"/>
                </a:cubicBezTo>
                <a:cubicBezTo>
                  <a:pt x="235" y="195"/>
                  <a:pt x="282" y="168"/>
                  <a:pt x="289" y="126"/>
                </a:cubicBezTo>
                <a:cubicBezTo>
                  <a:pt x="289" y="126"/>
                  <a:pt x="289" y="126"/>
                  <a:pt x="289" y="126"/>
                </a:cubicBezTo>
                <a:cubicBezTo>
                  <a:pt x="289" y="126"/>
                  <a:pt x="289" y="126"/>
                  <a:pt x="289" y="126"/>
                </a:cubicBezTo>
                <a:cubicBezTo>
                  <a:pt x="293" y="79"/>
                  <a:pt x="260" y="45"/>
                  <a:pt x="191" y="25"/>
                </a:cubicBezTo>
                <a:cubicBezTo>
                  <a:pt x="163" y="17"/>
                  <a:pt x="131" y="15"/>
                  <a:pt x="102" y="17"/>
                </a:cubicBezTo>
                <a:cubicBezTo>
                  <a:pt x="96" y="0"/>
                  <a:pt x="96" y="0"/>
                  <a:pt x="96" y="0"/>
                </a:cubicBezTo>
                <a:cubicBezTo>
                  <a:pt x="0" y="45"/>
                  <a:pt x="0" y="45"/>
                  <a:pt x="0" y="45"/>
                </a:cubicBezTo>
                <a:close/>
              </a:path>
            </a:pathLst>
          </a:cu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7" name="Freeform 8">
            <a:extLst>
              <a:ext uri="{FF2B5EF4-FFF2-40B4-BE49-F238E27FC236}">
                <a16:creationId xmlns:a16="http://schemas.microsoft.com/office/drawing/2014/main" id="{69948716-37F6-420B-81D9-C9CE236B9A94}"/>
              </a:ext>
            </a:extLst>
          </p:cNvPr>
          <p:cNvSpPr>
            <a:spLocks/>
          </p:cNvSpPr>
          <p:nvPr/>
        </p:nvSpPr>
        <p:spPr bwMode="auto">
          <a:xfrm>
            <a:off x="5423838" y="2640445"/>
            <a:ext cx="1300966" cy="915933"/>
          </a:xfrm>
          <a:custGeom>
            <a:avLst/>
            <a:gdLst>
              <a:gd name="T0" fmla="*/ 156 w 276"/>
              <a:gd name="T1" fmla="*/ 194 h 194"/>
              <a:gd name="T2" fmla="*/ 143 w 276"/>
              <a:gd name="T3" fmla="*/ 155 h 194"/>
              <a:gd name="T4" fmla="*/ 210 w 276"/>
              <a:gd name="T5" fmla="*/ 113 h 194"/>
              <a:gd name="T6" fmla="*/ 210 w 276"/>
              <a:gd name="T7" fmla="*/ 113 h 194"/>
              <a:gd name="T8" fmla="*/ 210 w 276"/>
              <a:gd name="T9" fmla="*/ 112 h 194"/>
              <a:gd name="T10" fmla="*/ 172 w 276"/>
              <a:gd name="T11" fmla="*/ 54 h 194"/>
              <a:gd name="T12" fmla="*/ 115 w 276"/>
              <a:gd name="T13" fmla="*/ 42 h 194"/>
              <a:gd name="T14" fmla="*/ 101 w 276"/>
              <a:gd name="T15" fmla="*/ 43 h 194"/>
              <a:gd name="T16" fmla="*/ 95 w 276"/>
              <a:gd name="T17" fmla="*/ 44 h 194"/>
              <a:gd name="T18" fmla="*/ 102 w 276"/>
              <a:gd name="T19" fmla="*/ 61 h 194"/>
              <a:gd name="T20" fmla="*/ 0 w 276"/>
              <a:gd name="T21" fmla="*/ 37 h 194"/>
              <a:gd name="T22" fmla="*/ 81 w 276"/>
              <a:gd name="T23" fmla="*/ 0 h 194"/>
              <a:gd name="T24" fmla="*/ 87 w 276"/>
              <a:gd name="T25" fmla="*/ 16 h 194"/>
              <a:gd name="T26" fmla="*/ 90 w 276"/>
              <a:gd name="T27" fmla="*/ 15 h 194"/>
              <a:gd name="T28" fmla="*/ 112 w 276"/>
              <a:gd name="T29" fmla="*/ 15 h 194"/>
              <a:gd name="T30" fmla="*/ 177 w 276"/>
              <a:gd name="T31" fmla="*/ 23 h 194"/>
              <a:gd name="T32" fmla="*/ 272 w 276"/>
              <a:gd name="T33" fmla="*/ 119 h 194"/>
              <a:gd name="T34" fmla="*/ 272 w 276"/>
              <a:gd name="T35" fmla="*/ 120 h 194"/>
              <a:gd name="T36" fmla="*/ 156 w 276"/>
              <a:gd name="T37" fmla="*/ 194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76" h="194">
                <a:moveTo>
                  <a:pt x="156" y="194"/>
                </a:moveTo>
                <a:cubicBezTo>
                  <a:pt x="155" y="190"/>
                  <a:pt x="151" y="180"/>
                  <a:pt x="143" y="155"/>
                </a:cubicBezTo>
                <a:cubicBezTo>
                  <a:pt x="179" y="149"/>
                  <a:pt x="201" y="135"/>
                  <a:pt x="210" y="113"/>
                </a:cubicBezTo>
                <a:cubicBezTo>
                  <a:pt x="210" y="113"/>
                  <a:pt x="210" y="113"/>
                  <a:pt x="210" y="113"/>
                </a:cubicBezTo>
                <a:cubicBezTo>
                  <a:pt x="210" y="112"/>
                  <a:pt x="210" y="112"/>
                  <a:pt x="210" y="112"/>
                </a:cubicBezTo>
                <a:cubicBezTo>
                  <a:pt x="216" y="88"/>
                  <a:pt x="203" y="68"/>
                  <a:pt x="172" y="54"/>
                </a:cubicBezTo>
                <a:cubicBezTo>
                  <a:pt x="152" y="46"/>
                  <a:pt x="133" y="42"/>
                  <a:pt x="115" y="42"/>
                </a:cubicBezTo>
                <a:cubicBezTo>
                  <a:pt x="111" y="42"/>
                  <a:pt x="106" y="42"/>
                  <a:pt x="101" y="43"/>
                </a:cubicBezTo>
                <a:cubicBezTo>
                  <a:pt x="95" y="44"/>
                  <a:pt x="95" y="44"/>
                  <a:pt x="95" y="44"/>
                </a:cubicBezTo>
                <a:cubicBezTo>
                  <a:pt x="95" y="44"/>
                  <a:pt x="99" y="52"/>
                  <a:pt x="102" y="61"/>
                </a:cubicBezTo>
                <a:cubicBezTo>
                  <a:pt x="0" y="37"/>
                  <a:pt x="0" y="37"/>
                  <a:pt x="0" y="37"/>
                </a:cubicBezTo>
                <a:cubicBezTo>
                  <a:pt x="81" y="0"/>
                  <a:pt x="81" y="0"/>
                  <a:pt x="81" y="0"/>
                </a:cubicBezTo>
                <a:cubicBezTo>
                  <a:pt x="87" y="16"/>
                  <a:pt x="87" y="16"/>
                  <a:pt x="87" y="16"/>
                </a:cubicBezTo>
                <a:cubicBezTo>
                  <a:pt x="90" y="15"/>
                  <a:pt x="90" y="15"/>
                  <a:pt x="90" y="15"/>
                </a:cubicBezTo>
                <a:cubicBezTo>
                  <a:pt x="97" y="15"/>
                  <a:pt x="105" y="15"/>
                  <a:pt x="112" y="15"/>
                </a:cubicBezTo>
                <a:cubicBezTo>
                  <a:pt x="137" y="15"/>
                  <a:pt x="159" y="17"/>
                  <a:pt x="177" y="23"/>
                </a:cubicBezTo>
                <a:cubicBezTo>
                  <a:pt x="244" y="43"/>
                  <a:pt x="276" y="74"/>
                  <a:pt x="272" y="119"/>
                </a:cubicBezTo>
                <a:cubicBezTo>
                  <a:pt x="272" y="120"/>
                  <a:pt x="272" y="120"/>
                  <a:pt x="272" y="120"/>
                </a:cubicBezTo>
                <a:cubicBezTo>
                  <a:pt x="262" y="162"/>
                  <a:pt x="220" y="185"/>
                  <a:pt x="156" y="194"/>
                </a:cubicBezTo>
                <a:close/>
              </a:path>
            </a:pathLst>
          </a:custGeom>
          <a:gradFill flip="none" rotWithShape="1">
            <a:gsLst>
              <a:gs pos="100000">
                <a:schemeClr val="accent1"/>
              </a:gs>
              <a:gs pos="31000">
                <a:schemeClr val="accent1">
                  <a:lumMod val="60000"/>
                  <a:lumOff val="40000"/>
                </a:schemeClr>
              </a:gs>
              <a:gs pos="0">
                <a:schemeClr val="accent1">
                  <a:lumMod val="40000"/>
                  <a:lumOff val="60000"/>
                </a:schemeClr>
              </a:gs>
            </a:gsLst>
            <a:lin ang="1350000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8" name="Freeform 9">
            <a:extLst>
              <a:ext uri="{FF2B5EF4-FFF2-40B4-BE49-F238E27FC236}">
                <a16:creationId xmlns:a16="http://schemas.microsoft.com/office/drawing/2014/main" id="{1E739640-2668-42AC-A4D8-47CDA0106D18}"/>
              </a:ext>
            </a:extLst>
          </p:cNvPr>
          <p:cNvSpPr>
            <a:spLocks/>
          </p:cNvSpPr>
          <p:nvPr/>
        </p:nvSpPr>
        <p:spPr bwMode="auto">
          <a:xfrm>
            <a:off x="5363389" y="2825733"/>
            <a:ext cx="570322" cy="231283"/>
          </a:xfrm>
          <a:custGeom>
            <a:avLst/>
            <a:gdLst>
              <a:gd name="T0" fmla="*/ 0 w 121"/>
              <a:gd name="T1" fmla="*/ 0 h 49"/>
              <a:gd name="T2" fmla="*/ 121 w 121"/>
              <a:gd name="T3" fmla="*/ 27 h 49"/>
              <a:gd name="T4" fmla="*/ 121 w 121"/>
              <a:gd name="T5" fmla="*/ 49 h 49"/>
              <a:gd name="T6" fmla="*/ 2 w 121"/>
              <a:gd name="T7" fmla="*/ 29 h 49"/>
              <a:gd name="T8" fmla="*/ 0 w 121"/>
              <a:gd name="T9" fmla="*/ 0 h 49"/>
            </a:gdLst>
            <a:ahLst/>
            <a:cxnLst>
              <a:cxn ang="0">
                <a:pos x="T0" y="T1"/>
              </a:cxn>
              <a:cxn ang="0">
                <a:pos x="T2" y="T3"/>
              </a:cxn>
              <a:cxn ang="0">
                <a:pos x="T4" y="T5"/>
              </a:cxn>
              <a:cxn ang="0">
                <a:pos x="T6" y="T7"/>
              </a:cxn>
              <a:cxn ang="0">
                <a:pos x="T8" y="T9"/>
              </a:cxn>
            </a:cxnLst>
            <a:rect l="0" t="0" r="r" b="b"/>
            <a:pathLst>
              <a:path w="121" h="49">
                <a:moveTo>
                  <a:pt x="0" y="0"/>
                </a:moveTo>
                <a:cubicBezTo>
                  <a:pt x="121" y="27"/>
                  <a:pt x="121" y="27"/>
                  <a:pt x="121" y="27"/>
                </a:cubicBezTo>
                <a:cubicBezTo>
                  <a:pt x="121" y="27"/>
                  <a:pt x="121" y="49"/>
                  <a:pt x="121" y="49"/>
                </a:cubicBezTo>
                <a:cubicBezTo>
                  <a:pt x="2" y="29"/>
                  <a:pt x="2" y="29"/>
                  <a:pt x="2" y="29"/>
                </a:cubicBezTo>
                <a:cubicBezTo>
                  <a:pt x="0" y="0"/>
                  <a:pt x="0" y="0"/>
                  <a:pt x="0" y="0"/>
                </a:cubicBezTo>
                <a:close/>
              </a:path>
            </a:pathLst>
          </a:custGeom>
          <a:gradFill flip="none" rotWithShape="1">
            <a:gsLst>
              <a:gs pos="100000">
                <a:schemeClr val="accent1"/>
              </a:gs>
              <a:gs pos="31000">
                <a:schemeClr val="accent1">
                  <a:lumMod val="60000"/>
                  <a:lumOff val="40000"/>
                </a:schemeClr>
              </a:gs>
              <a:gs pos="0">
                <a:schemeClr val="accent1">
                  <a:lumMod val="40000"/>
                  <a:lumOff val="60000"/>
                </a:schemeClr>
              </a:gs>
            </a:gsLst>
            <a:lin ang="270000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9" name="Freeform 10">
            <a:extLst>
              <a:ext uri="{FF2B5EF4-FFF2-40B4-BE49-F238E27FC236}">
                <a16:creationId xmlns:a16="http://schemas.microsoft.com/office/drawing/2014/main" id="{61948A61-963D-4FF5-ADF8-BA7E93C524BE}"/>
              </a:ext>
            </a:extLst>
          </p:cNvPr>
          <p:cNvSpPr>
            <a:spLocks/>
          </p:cNvSpPr>
          <p:nvPr/>
        </p:nvSpPr>
        <p:spPr bwMode="auto">
          <a:xfrm>
            <a:off x="6070379" y="3359261"/>
            <a:ext cx="74905" cy="207629"/>
          </a:xfrm>
          <a:custGeom>
            <a:avLst/>
            <a:gdLst>
              <a:gd name="T0" fmla="*/ 0 w 16"/>
              <a:gd name="T1" fmla="*/ 0 h 44"/>
              <a:gd name="T2" fmla="*/ 0 w 16"/>
              <a:gd name="T3" fmla="*/ 7 h 44"/>
              <a:gd name="T4" fmla="*/ 16 w 16"/>
              <a:gd name="T5" fmla="*/ 44 h 44"/>
              <a:gd name="T6" fmla="*/ 0 w 16"/>
              <a:gd name="T7" fmla="*/ 0 h 44"/>
            </a:gdLst>
            <a:ahLst/>
            <a:cxnLst>
              <a:cxn ang="0">
                <a:pos x="T0" y="T1"/>
              </a:cxn>
              <a:cxn ang="0">
                <a:pos x="T2" y="T3"/>
              </a:cxn>
              <a:cxn ang="0">
                <a:pos x="T4" y="T5"/>
              </a:cxn>
              <a:cxn ang="0">
                <a:pos x="T6" y="T7"/>
              </a:cxn>
            </a:cxnLst>
            <a:rect l="0" t="0" r="r" b="b"/>
            <a:pathLst>
              <a:path w="16" h="44">
                <a:moveTo>
                  <a:pt x="0" y="0"/>
                </a:moveTo>
                <a:cubicBezTo>
                  <a:pt x="0" y="7"/>
                  <a:pt x="0" y="7"/>
                  <a:pt x="0" y="7"/>
                </a:cubicBezTo>
                <a:cubicBezTo>
                  <a:pt x="0" y="8"/>
                  <a:pt x="15" y="43"/>
                  <a:pt x="16" y="44"/>
                </a:cubicBezTo>
                <a:cubicBezTo>
                  <a:pt x="9" y="25"/>
                  <a:pt x="7" y="19"/>
                  <a:pt x="0" y="0"/>
                </a:cubicBezTo>
                <a:close/>
              </a:path>
            </a:pathLst>
          </a:custGeom>
          <a:gradFill>
            <a:gsLst>
              <a:gs pos="100000">
                <a:schemeClr val="accent1"/>
              </a:gs>
              <a:gs pos="31000">
                <a:schemeClr val="accent1">
                  <a:lumMod val="60000"/>
                  <a:lumOff val="40000"/>
                </a:schemeClr>
              </a:gs>
              <a:gs pos="0">
                <a:schemeClr val="accent1">
                  <a:lumMod val="40000"/>
                  <a:lumOff val="60000"/>
                </a:schemeClr>
              </a:gs>
            </a:gsLst>
            <a:lin ang="2700000" scaled="1"/>
          </a:gra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10" name="Freeform 11">
            <a:extLst>
              <a:ext uri="{FF2B5EF4-FFF2-40B4-BE49-F238E27FC236}">
                <a16:creationId xmlns:a16="http://schemas.microsoft.com/office/drawing/2014/main" id="{79A4A5D6-F29B-4AA3-8173-CB2F5407643A}"/>
              </a:ext>
            </a:extLst>
          </p:cNvPr>
          <p:cNvSpPr>
            <a:spLocks/>
          </p:cNvSpPr>
          <p:nvPr/>
        </p:nvSpPr>
        <p:spPr bwMode="auto">
          <a:xfrm>
            <a:off x="7770834" y="3212081"/>
            <a:ext cx="189231" cy="203687"/>
          </a:xfrm>
          <a:custGeom>
            <a:avLst/>
            <a:gdLst>
              <a:gd name="T0" fmla="*/ 0 w 40"/>
              <a:gd name="T1" fmla="*/ 7 h 43"/>
              <a:gd name="T2" fmla="*/ 21 w 40"/>
              <a:gd name="T3" fmla="*/ 43 h 43"/>
              <a:gd name="T4" fmla="*/ 35 w 40"/>
              <a:gd name="T5" fmla="*/ 41 h 43"/>
              <a:gd name="T6" fmla="*/ 40 w 40"/>
              <a:gd name="T7" fmla="*/ 0 h 43"/>
              <a:gd name="T8" fmla="*/ 0 w 40"/>
              <a:gd name="T9" fmla="*/ 7 h 43"/>
            </a:gdLst>
            <a:ahLst/>
            <a:cxnLst>
              <a:cxn ang="0">
                <a:pos x="T0" y="T1"/>
              </a:cxn>
              <a:cxn ang="0">
                <a:pos x="T2" y="T3"/>
              </a:cxn>
              <a:cxn ang="0">
                <a:pos x="T4" y="T5"/>
              </a:cxn>
              <a:cxn ang="0">
                <a:pos x="T6" y="T7"/>
              </a:cxn>
              <a:cxn ang="0">
                <a:pos x="T8" y="T9"/>
              </a:cxn>
            </a:cxnLst>
            <a:rect l="0" t="0" r="r" b="b"/>
            <a:pathLst>
              <a:path w="40" h="43">
                <a:moveTo>
                  <a:pt x="0" y="7"/>
                </a:moveTo>
                <a:cubicBezTo>
                  <a:pt x="10" y="18"/>
                  <a:pt x="19" y="31"/>
                  <a:pt x="21" y="43"/>
                </a:cubicBezTo>
                <a:cubicBezTo>
                  <a:pt x="35" y="41"/>
                  <a:pt x="35" y="41"/>
                  <a:pt x="35" y="41"/>
                </a:cubicBezTo>
                <a:cubicBezTo>
                  <a:pt x="40" y="0"/>
                  <a:pt x="40" y="0"/>
                  <a:pt x="40" y="0"/>
                </a:cubicBezTo>
                <a:lnTo>
                  <a:pt x="0" y="7"/>
                </a:lnTo>
                <a:close/>
              </a:path>
            </a:pathLst>
          </a:custGeom>
          <a:gradFill flip="none" rotWithShape="1">
            <a:gsLst>
              <a:gs pos="100000">
                <a:schemeClr val="accent1"/>
              </a:gs>
              <a:gs pos="31000">
                <a:schemeClr val="accent1">
                  <a:lumMod val="60000"/>
                  <a:lumOff val="40000"/>
                </a:schemeClr>
              </a:gs>
              <a:gs pos="0">
                <a:schemeClr val="accent1">
                  <a:lumMod val="40000"/>
                  <a:lumOff val="60000"/>
                </a:schemeClr>
              </a:gs>
            </a:gsLst>
            <a:lin ang="270000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11" name="Freeform 12">
            <a:extLst>
              <a:ext uri="{FF2B5EF4-FFF2-40B4-BE49-F238E27FC236}">
                <a16:creationId xmlns:a16="http://schemas.microsoft.com/office/drawing/2014/main" id="{FEC7D6D7-94A5-44D5-BD9E-6A48B91614F3}"/>
              </a:ext>
            </a:extLst>
          </p:cNvPr>
          <p:cNvSpPr>
            <a:spLocks/>
          </p:cNvSpPr>
          <p:nvPr/>
        </p:nvSpPr>
        <p:spPr bwMode="auto">
          <a:xfrm>
            <a:off x="6267495" y="3457819"/>
            <a:ext cx="1640006" cy="590035"/>
          </a:xfrm>
          <a:custGeom>
            <a:avLst/>
            <a:gdLst>
              <a:gd name="T0" fmla="*/ 0 w 348"/>
              <a:gd name="T1" fmla="*/ 44 h 125"/>
              <a:gd name="T2" fmla="*/ 192 w 348"/>
              <a:gd name="T3" fmla="*/ 93 h 125"/>
              <a:gd name="T4" fmla="*/ 340 w 348"/>
              <a:gd name="T5" fmla="*/ 0 h 125"/>
              <a:gd name="T6" fmla="*/ 221 w 348"/>
              <a:gd name="T7" fmla="*/ 113 h 125"/>
              <a:gd name="T8" fmla="*/ 0 w 348"/>
              <a:gd name="T9" fmla="*/ 44 h 125"/>
            </a:gdLst>
            <a:ahLst/>
            <a:cxnLst>
              <a:cxn ang="0">
                <a:pos x="T0" y="T1"/>
              </a:cxn>
              <a:cxn ang="0">
                <a:pos x="T2" y="T3"/>
              </a:cxn>
              <a:cxn ang="0">
                <a:pos x="T4" y="T5"/>
              </a:cxn>
              <a:cxn ang="0">
                <a:pos x="T6" y="T7"/>
              </a:cxn>
              <a:cxn ang="0">
                <a:pos x="T8" y="T9"/>
              </a:cxn>
            </a:cxnLst>
            <a:rect l="0" t="0" r="r" b="b"/>
            <a:pathLst>
              <a:path w="348" h="125">
                <a:moveTo>
                  <a:pt x="0" y="44"/>
                </a:moveTo>
                <a:cubicBezTo>
                  <a:pt x="38" y="88"/>
                  <a:pt x="102" y="100"/>
                  <a:pt x="192" y="93"/>
                </a:cubicBezTo>
                <a:cubicBezTo>
                  <a:pt x="278" y="80"/>
                  <a:pt x="328" y="48"/>
                  <a:pt x="340" y="0"/>
                </a:cubicBezTo>
                <a:cubicBezTo>
                  <a:pt x="348" y="59"/>
                  <a:pt x="308" y="103"/>
                  <a:pt x="221" y="113"/>
                </a:cubicBezTo>
                <a:cubicBezTo>
                  <a:pt x="124" y="125"/>
                  <a:pt x="50" y="97"/>
                  <a:pt x="0" y="44"/>
                </a:cubicBezTo>
                <a:close/>
              </a:path>
            </a:pathLst>
          </a:custGeom>
          <a:gradFill flip="none" rotWithShape="1">
            <a:gsLst>
              <a:gs pos="100000">
                <a:schemeClr val="accent1"/>
              </a:gs>
              <a:gs pos="31000">
                <a:schemeClr val="accent1">
                  <a:lumMod val="60000"/>
                  <a:lumOff val="40000"/>
                </a:schemeClr>
              </a:gs>
              <a:gs pos="0">
                <a:schemeClr val="accent1">
                  <a:lumMod val="40000"/>
                  <a:lumOff val="60000"/>
                </a:schemeClr>
              </a:gs>
            </a:gsLst>
            <a:lin ang="270000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12" name="Freeform 13">
            <a:extLst>
              <a:ext uri="{FF2B5EF4-FFF2-40B4-BE49-F238E27FC236}">
                <a16:creationId xmlns:a16="http://schemas.microsoft.com/office/drawing/2014/main" id="{C0D0A508-BF0E-4C8F-BDFB-70D308090F65}"/>
              </a:ext>
            </a:extLst>
          </p:cNvPr>
          <p:cNvSpPr>
            <a:spLocks/>
          </p:cNvSpPr>
          <p:nvPr/>
        </p:nvSpPr>
        <p:spPr bwMode="auto">
          <a:xfrm>
            <a:off x="6230700" y="3013651"/>
            <a:ext cx="1729365" cy="944843"/>
          </a:xfrm>
          <a:custGeom>
            <a:avLst/>
            <a:gdLst>
              <a:gd name="T0" fmla="*/ 222 w 367"/>
              <a:gd name="T1" fmla="*/ 74 h 200"/>
              <a:gd name="T2" fmla="*/ 246 w 367"/>
              <a:gd name="T3" fmla="*/ 0 h 200"/>
              <a:gd name="T4" fmla="*/ 367 w 367"/>
              <a:gd name="T5" fmla="*/ 42 h 200"/>
              <a:gd name="T6" fmla="*/ 331 w 367"/>
              <a:gd name="T7" fmla="*/ 50 h 200"/>
              <a:gd name="T8" fmla="*/ 348 w 367"/>
              <a:gd name="T9" fmla="*/ 85 h 200"/>
              <a:gd name="T10" fmla="*/ 202 w 367"/>
              <a:gd name="T11" fmla="*/ 193 h 200"/>
              <a:gd name="T12" fmla="*/ 3 w 367"/>
              <a:gd name="T13" fmla="*/ 130 h 200"/>
              <a:gd name="T14" fmla="*/ 0 w 367"/>
              <a:gd name="T15" fmla="*/ 124 h 200"/>
              <a:gd name="T16" fmla="*/ 73 w 367"/>
              <a:gd name="T17" fmla="*/ 108 h 200"/>
              <a:gd name="T18" fmla="*/ 185 w 367"/>
              <a:gd name="T19" fmla="*/ 143 h 200"/>
              <a:gd name="T20" fmla="*/ 264 w 367"/>
              <a:gd name="T21" fmla="*/ 102 h 200"/>
              <a:gd name="T22" fmla="*/ 260 w 367"/>
              <a:gd name="T23" fmla="*/ 66 h 200"/>
              <a:gd name="T24" fmla="*/ 222 w 367"/>
              <a:gd name="T25" fmla="*/ 74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67" h="200">
                <a:moveTo>
                  <a:pt x="222" y="74"/>
                </a:moveTo>
                <a:cubicBezTo>
                  <a:pt x="246" y="0"/>
                  <a:pt x="246" y="0"/>
                  <a:pt x="246" y="0"/>
                </a:cubicBezTo>
                <a:cubicBezTo>
                  <a:pt x="367" y="42"/>
                  <a:pt x="367" y="42"/>
                  <a:pt x="367" y="42"/>
                </a:cubicBezTo>
                <a:cubicBezTo>
                  <a:pt x="331" y="50"/>
                  <a:pt x="331" y="50"/>
                  <a:pt x="331" y="50"/>
                </a:cubicBezTo>
                <a:cubicBezTo>
                  <a:pt x="341" y="61"/>
                  <a:pt x="346" y="73"/>
                  <a:pt x="348" y="85"/>
                </a:cubicBezTo>
                <a:cubicBezTo>
                  <a:pt x="355" y="148"/>
                  <a:pt x="267" y="185"/>
                  <a:pt x="202" y="193"/>
                </a:cubicBezTo>
                <a:cubicBezTo>
                  <a:pt x="133" y="200"/>
                  <a:pt x="39" y="189"/>
                  <a:pt x="3" y="130"/>
                </a:cubicBezTo>
                <a:cubicBezTo>
                  <a:pt x="0" y="124"/>
                  <a:pt x="0" y="124"/>
                  <a:pt x="0" y="124"/>
                </a:cubicBezTo>
                <a:cubicBezTo>
                  <a:pt x="73" y="108"/>
                  <a:pt x="73" y="108"/>
                  <a:pt x="73" y="108"/>
                </a:cubicBezTo>
                <a:cubicBezTo>
                  <a:pt x="91" y="135"/>
                  <a:pt x="128" y="147"/>
                  <a:pt x="185" y="143"/>
                </a:cubicBezTo>
                <a:cubicBezTo>
                  <a:pt x="222" y="139"/>
                  <a:pt x="248" y="125"/>
                  <a:pt x="264" y="102"/>
                </a:cubicBezTo>
                <a:cubicBezTo>
                  <a:pt x="270" y="91"/>
                  <a:pt x="269" y="78"/>
                  <a:pt x="260" y="66"/>
                </a:cubicBezTo>
                <a:cubicBezTo>
                  <a:pt x="222" y="74"/>
                  <a:pt x="222" y="74"/>
                  <a:pt x="222" y="74"/>
                </a:cubicBezTo>
                <a:close/>
              </a:path>
            </a:pathLst>
          </a:cu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13" name="Freeform 14">
            <a:extLst>
              <a:ext uri="{FF2B5EF4-FFF2-40B4-BE49-F238E27FC236}">
                <a16:creationId xmlns:a16="http://schemas.microsoft.com/office/drawing/2014/main" id="{51B55CAC-D0E3-4E23-9FBE-936A224AE89C}"/>
              </a:ext>
            </a:extLst>
          </p:cNvPr>
          <p:cNvSpPr>
            <a:spLocks/>
          </p:cNvSpPr>
          <p:nvPr/>
        </p:nvSpPr>
        <p:spPr bwMode="auto">
          <a:xfrm>
            <a:off x="6258296" y="3037305"/>
            <a:ext cx="1630807" cy="879138"/>
          </a:xfrm>
          <a:custGeom>
            <a:avLst/>
            <a:gdLst>
              <a:gd name="T0" fmla="*/ 156 w 346"/>
              <a:gd name="T1" fmla="*/ 186 h 186"/>
              <a:gd name="T2" fmla="*/ 0 w 346"/>
              <a:gd name="T3" fmla="*/ 123 h 186"/>
              <a:gd name="T4" fmla="*/ 0 w 346"/>
              <a:gd name="T5" fmla="*/ 122 h 186"/>
              <a:gd name="T6" fmla="*/ 65 w 346"/>
              <a:gd name="T7" fmla="*/ 107 h 186"/>
              <a:gd name="T8" fmla="*/ 161 w 346"/>
              <a:gd name="T9" fmla="*/ 143 h 186"/>
              <a:gd name="T10" fmla="*/ 180 w 346"/>
              <a:gd name="T11" fmla="*/ 142 h 186"/>
              <a:gd name="T12" fmla="*/ 261 w 346"/>
              <a:gd name="T13" fmla="*/ 100 h 186"/>
              <a:gd name="T14" fmla="*/ 257 w 346"/>
              <a:gd name="T15" fmla="*/ 59 h 186"/>
              <a:gd name="T16" fmla="*/ 255 w 346"/>
              <a:gd name="T17" fmla="*/ 57 h 186"/>
              <a:gd name="T18" fmla="*/ 222 w 346"/>
              <a:gd name="T19" fmla="*/ 64 h 186"/>
              <a:gd name="T20" fmla="*/ 242 w 346"/>
              <a:gd name="T21" fmla="*/ 0 h 186"/>
              <a:gd name="T22" fmla="*/ 346 w 346"/>
              <a:gd name="T23" fmla="*/ 36 h 186"/>
              <a:gd name="T24" fmla="*/ 317 w 346"/>
              <a:gd name="T25" fmla="*/ 43 h 186"/>
              <a:gd name="T26" fmla="*/ 322 w 346"/>
              <a:gd name="T27" fmla="*/ 48 h 186"/>
              <a:gd name="T28" fmla="*/ 338 w 346"/>
              <a:gd name="T29" fmla="*/ 80 h 186"/>
              <a:gd name="T30" fmla="*/ 324 w 346"/>
              <a:gd name="T31" fmla="*/ 126 h 186"/>
              <a:gd name="T32" fmla="*/ 195 w 346"/>
              <a:gd name="T33" fmla="*/ 184 h 186"/>
              <a:gd name="T34" fmla="*/ 156 w 346"/>
              <a:gd name="T35" fmla="*/ 186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6" h="186">
                <a:moveTo>
                  <a:pt x="156" y="186"/>
                </a:moveTo>
                <a:cubicBezTo>
                  <a:pt x="121" y="186"/>
                  <a:pt x="35" y="180"/>
                  <a:pt x="0" y="123"/>
                </a:cubicBezTo>
                <a:cubicBezTo>
                  <a:pt x="0" y="122"/>
                  <a:pt x="0" y="122"/>
                  <a:pt x="0" y="122"/>
                </a:cubicBezTo>
                <a:cubicBezTo>
                  <a:pt x="65" y="107"/>
                  <a:pt x="65" y="107"/>
                  <a:pt x="65" y="107"/>
                </a:cubicBezTo>
                <a:cubicBezTo>
                  <a:pt x="82" y="131"/>
                  <a:pt x="114" y="143"/>
                  <a:pt x="161" y="143"/>
                </a:cubicBezTo>
                <a:cubicBezTo>
                  <a:pt x="167" y="143"/>
                  <a:pt x="173" y="143"/>
                  <a:pt x="180" y="142"/>
                </a:cubicBezTo>
                <a:cubicBezTo>
                  <a:pt x="218" y="138"/>
                  <a:pt x="245" y="123"/>
                  <a:pt x="261" y="100"/>
                </a:cubicBezTo>
                <a:cubicBezTo>
                  <a:pt x="268" y="86"/>
                  <a:pt x="267" y="72"/>
                  <a:pt x="257" y="59"/>
                </a:cubicBezTo>
                <a:cubicBezTo>
                  <a:pt x="255" y="57"/>
                  <a:pt x="255" y="57"/>
                  <a:pt x="255" y="57"/>
                </a:cubicBezTo>
                <a:cubicBezTo>
                  <a:pt x="222" y="64"/>
                  <a:pt x="222" y="64"/>
                  <a:pt x="222" y="64"/>
                </a:cubicBezTo>
                <a:cubicBezTo>
                  <a:pt x="242" y="0"/>
                  <a:pt x="242" y="0"/>
                  <a:pt x="242" y="0"/>
                </a:cubicBezTo>
                <a:cubicBezTo>
                  <a:pt x="346" y="36"/>
                  <a:pt x="346" y="36"/>
                  <a:pt x="346" y="36"/>
                </a:cubicBezTo>
                <a:cubicBezTo>
                  <a:pt x="317" y="43"/>
                  <a:pt x="317" y="43"/>
                  <a:pt x="317" y="43"/>
                </a:cubicBezTo>
                <a:cubicBezTo>
                  <a:pt x="322" y="48"/>
                  <a:pt x="322" y="48"/>
                  <a:pt x="322" y="48"/>
                </a:cubicBezTo>
                <a:cubicBezTo>
                  <a:pt x="331" y="58"/>
                  <a:pt x="336" y="69"/>
                  <a:pt x="338" y="80"/>
                </a:cubicBezTo>
                <a:cubicBezTo>
                  <a:pt x="340" y="96"/>
                  <a:pt x="335" y="112"/>
                  <a:pt x="324" y="126"/>
                </a:cubicBezTo>
                <a:cubicBezTo>
                  <a:pt x="298" y="159"/>
                  <a:pt x="241" y="179"/>
                  <a:pt x="195" y="184"/>
                </a:cubicBezTo>
                <a:cubicBezTo>
                  <a:pt x="183" y="185"/>
                  <a:pt x="169" y="186"/>
                  <a:pt x="156" y="186"/>
                </a:cubicBezTo>
                <a:close/>
              </a:path>
            </a:pathLst>
          </a:custGeom>
          <a:gradFill flip="none" rotWithShape="1">
            <a:gsLst>
              <a:gs pos="100000">
                <a:schemeClr val="accent1"/>
              </a:gs>
              <a:gs pos="31000">
                <a:schemeClr val="accent1">
                  <a:lumMod val="60000"/>
                  <a:lumOff val="40000"/>
                </a:schemeClr>
              </a:gs>
              <a:gs pos="0">
                <a:schemeClr val="accent1">
                  <a:lumMod val="40000"/>
                  <a:lumOff val="60000"/>
                </a:schemeClr>
              </a:gs>
            </a:gsLst>
            <a:lin ang="1620000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14" name="Freeform 15">
            <a:extLst>
              <a:ext uri="{FF2B5EF4-FFF2-40B4-BE49-F238E27FC236}">
                <a16:creationId xmlns:a16="http://schemas.microsoft.com/office/drawing/2014/main" id="{8D5D6FEC-1E72-4BE7-BD4B-FA6448DBC3DA}"/>
              </a:ext>
            </a:extLst>
          </p:cNvPr>
          <p:cNvSpPr>
            <a:spLocks/>
          </p:cNvSpPr>
          <p:nvPr/>
        </p:nvSpPr>
        <p:spPr bwMode="auto">
          <a:xfrm>
            <a:off x="7450191" y="3325094"/>
            <a:ext cx="52564" cy="170834"/>
          </a:xfrm>
          <a:custGeom>
            <a:avLst/>
            <a:gdLst>
              <a:gd name="T0" fmla="*/ 0 w 11"/>
              <a:gd name="T1" fmla="*/ 29 h 36"/>
              <a:gd name="T2" fmla="*/ 5 w 11"/>
              <a:gd name="T3" fmla="*/ 36 h 36"/>
              <a:gd name="T4" fmla="*/ 1 w 11"/>
              <a:gd name="T5" fmla="*/ 0 h 36"/>
              <a:gd name="T6" fmla="*/ 0 w 11"/>
              <a:gd name="T7" fmla="*/ 29 h 36"/>
            </a:gdLst>
            <a:ahLst/>
            <a:cxnLst>
              <a:cxn ang="0">
                <a:pos x="T0" y="T1"/>
              </a:cxn>
              <a:cxn ang="0">
                <a:pos x="T2" y="T3"/>
              </a:cxn>
              <a:cxn ang="0">
                <a:pos x="T4" y="T5"/>
              </a:cxn>
              <a:cxn ang="0">
                <a:pos x="T6" y="T7"/>
              </a:cxn>
            </a:cxnLst>
            <a:rect l="0" t="0" r="r" b="b"/>
            <a:pathLst>
              <a:path w="11" h="36">
                <a:moveTo>
                  <a:pt x="0" y="29"/>
                </a:moveTo>
                <a:cubicBezTo>
                  <a:pt x="3" y="32"/>
                  <a:pt x="4" y="36"/>
                  <a:pt x="5" y="36"/>
                </a:cubicBezTo>
                <a:cubicBezTo>
                  <a:pt x="11" y="25"/>
                  <a:pt x="10" y="12"/>
                  <a:pt x="1" y="0"/>
                </a:cubicBezTo>
                <a:lnTo>
                  <a:pt x="0" y="29"/>
                </a:lnTo>
                <a:close/>
              </a:path>
            </a:pathLst>
          </a:custGeom>
          <a:gradFill>
            <a:gsLst>
              <a:gs pos="100000">
                <a:schemeClr val="accent1"/>
              </a:gs>
              <a:gs pos="31000">
                <a:schemeClr val="accent1">
                  <a:lumMod val="60000"/>
                  <a:lumOff val="40000"/>
                </a:schemeClr>
              </a:gs>
              <a:gs pos="0">
                <a:schemeClr val="accent1">
                  <a:lumMod val="40000"/>
                  <a:lumOff val="60000"/>
                </a:schemeClr>
              </a:gs>
            </a:gsLst>
            <a:lin ang="2700000" scaled="1"/>
          </a:gra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15" name="Freeform 16">
            <a:extLst>
              <a:ext uri="{FF2B5EF4-FFF2-40B4-BE49-F238E27FC236}">
                <a16:creationId xmlns:a16="http://schemas.microsoft.com/office/drawing/2014/main" id="{E28181A1-3E25-4988-955F-2F685272C0DD}"/>
              </a:ext>
            </a:extLst>
          </p:cNvPr>
          <p:cNvSpPr>
            <a:spLocks/>
          </p:cNvSpPr>
          <p:nvPr/>
        </p:nvSpPr>
        <p:spPr bwMode="auto">
          <a:xfrm>
            <a:off x="7276729" y="3325094"/>
            <a:ext cx="178719" cy="156379"/>
          </a:xfrm>
          <a:custGeom>
            <a:avLst/>
            <a:gdLst>
              <a:gd name="T0" fmla="*/ 136 w 136"/>
              <a:gd name="T1" fmla="*/ 0 h 119"/>
              <a:gd name="T2" fmla="*/ 0 w 136"/>
              <a:gd name="T3" fmla="*/ 29 h 119"/>
              <a:gd name="T4" fmla="*/ 0 w 136"/>
              <a:gd name="T5" fmla="*/ 29 h 119"/>
              <a:gd name="T6" fmla="*/ 0 w 136"/>
              <a:gd name="T7" fmla="*/ 119 h 119"/>
              <a:gd name="T8" fmla="*/ 132 w 136"/>
              <a:gd name="T9" fmla="*/ 105 h 119"/>
              <a:gd name="T10" fmla="*/ 136 w 136"/>
              <a:gd name="T11" fmla="*/ 0 h 119"/>
            </a:gdLst>
            <a:ahLst/>
            <a:cxnLst>
              <a:cxn ang="0">
                <a:pos x="T0" y="T1"/>
              </a:cxn>
              <a:cxn ang="0">
                <a:pos x="T2" y="T3"/>
              </a:cxn>
              <a:cxn ang="0">
                <a:pos x="T4" y="T5"/>
              </a:cxn>
              <a:cxn ang="0">
                <a:pos x="T6" y="T7"/>
              </a:cxn>
              <a:cxn ang="0">
                <a:pos x="T8" y="T9"/>
              </a:cxn>
              <a:cxn ang="0">
                <a:pos x="T10" y="T11"/>
              </a:cxn>
            </a:cxnLst>
            <a:rect l="0" t="0" r="r" b="b"/>
            <a:pathLst>
              <a:path w="136" h="119">
                <a:moveTo>
                  <a:pt x="136" y="0"/>
                </a:moveTo>
                <a:lnTo>
                  <a:pt x="0" y="29"/>
                </a:lnTo>
                <a:lnTo>
                  <a:pt x="0" y="29"/>
                </a:lnTo>
                <a:lnTo>
                  <a:pt x="0" y="119"/>
                </a:lnTo>
                <a:lnTo>
                  <a:pt x="132" y="105"/>
                </a:lnTo>
                <a:lnTo>
                  <a:pt x="136" y="0"/>
                </a:lnTo>
                <a:close/>
              </a:path>
            </a:pathLst>
          </a:custGeom>
          <a:gradFill>
            <a:gsLst>
              <a:gs pos="100000">
                <a:schemeClr val="accent1"/>
              </a:gs>
              <a:gs pos="31000">
                <a:schemeClr val="accent1">
                  <a:lumMod val="60000"/>
                  <a:lumOff val="40000"/>
                </a:schemeClr>
              </a:gs>
              <a:gs pos="0">
                <a:schemeClr val="accent1">
                  <a:lumMod val="40000"/>
                  <a:lumOff val="60000"/>
                </a:schemeClr>
              </a:gs>
            </a:gsLst>
            <a:lin ang="2700000" scaled="1"/>
          </a:gra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16" name="Freeform 17">
            <a:extLst>
              <a:ext uri="{FF2B5EF4-FFF2-40B4-BE49-F238E27FC236}">
                <a16:creationId xmlns:a16="http://schemas.microsoft.com/office/drawing/2014/main" id="{960467D0-AEB5-488D-9341-C80726179442}"/>
              </a:ext>
            </a:extLst>
          </p:cNvPr>
          <p:cNvSpPr>
            <a:spLocks/>
          </p:cNvSpPr>
          <p:nvPr/>
        </p:nvSpPr>
        <p:spPr bwMode="auto">
          <a:xfrm>
            <a:off x="4787810" y="3359261"/>
            <a:ext cx="971126" cy="306187"/>
          </a:xfrm>
          <a:custGeom>
            <a:avLst/>
            <a:gdLst>
              <a:gd name="T0" fmla="*/ 205 w 206"/>
              <a:gd name="T1" fmla="*/ 65 h 65"/>
              <a:gd name="T2" fmla="*/ 111 w 206"/>
              <a:gd name="T3" fmla="*/ 22 h 65"/>
              <a:gd name="T4" fmla="*/ 14 w 206"/>
              <a:gd name="T5" fmla="*/ 57 h 65"/>
              <a:gd name="T6" fmla="*/ 14 w 206"/>
              <a:gd name="T7" fmla="*/ 57 h 65"/>
              <a:gd name="T8" fmla="*/ 2 w 206"/>
              <a:gd name="T9" fmla="*/ 57 h 65"/>
              <a:gd name="T10" fmla="*/ 2 w 206"/>
              <a:gd name="T11" fmla="*/ 56 h 65"/>
              <a:gd name="T12" fmla="*/ 89 w 206"/>
              <a:gd name="T13" fmla="*/ 0 h 65"/>
              <a:gd name="T14" fmla="*/ 206 w 206"/>
              <a:gd name="T15" fmla="*/ 56 h 65"/>
              <a:gd name="T16" fmla="*/ 205 w 206"/>
              <a:gd name="T17" fmla="*/ 65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6" h="65">
                <a:moveTo>
                  <a:pt x="205" y="65"/>
                </a:moveTo>
                <a:cubicBezTo>
                  <a:pt x="192" y="37"/>
                  <a:pt x="161" y="23"/>
                  <a:pt x="111" y="22"/>
                </a:cubicBezTo>
                <a:cubicBezTo>
                  <a:pt x="68" y="24"/>
                  <a:pt x="35" y="35"/>
                  <a:pt x="14" y="57"/>
                </a:cubicBezTo>
                <a:cubicBezTo>
                  <a:pt x="14" y="57"/>
                  <a:pt x="14" y="57"/>
                  <a:pt x="14" y="57"/>
                </a:cubicBezTo>
                <a:cubicBezTo>
                  <a:pt x="2" y="57"/>
                  <a:pt x="2" y="57"/>
                  <a:pt x="2" y="57"/>
                </a:cubicBezTo>
                <a:cubicBezTo>
                  <a:pt x="2" y="56"/>
                  <a:pt x="2" y="56"/>
                  <a:pt x="2" y="56"/>
                </a:cubicBezTo>
                <a:cubicBezTo>
                  <a:pt x="0" y="20"/>
                  <a:pt x="50" y="1"/>
                  <a:pt x="89" y="0"/>
                </a:cubicBezTo>
                <a:cubicBezTo>
                  <a:pt x="152" y="2"/>
                  <a:pt x="191" y="24"/>
                  <a:pt x="206" y="56"/>
                </a:cubicBezTo>
                <a:lnTo>
                  <a:pt x="205" y="65"/>
                </a:lnTo>
                <a:close/>
              </a:path>
            </a:pathLst>
          </a:custGeom>
          <a:gradFill flip="none" rotWithShape="1">
            <a:gsLst>
              <a:gs pos="100000">
                <a:schemeClr val="accent1"/>
              </a:gs>
              <a:gs pos="31000">
                <a:schemeClr val="accent1">
                  <a:lumMod val="60000"/>
                  <a:lumOff val="40000"/>
                </a:schemeClr>
              </a:gs>
              <a:gs pos="0">
                <a:schemeClr val="accent1">
                  <a:lumMod val="40000"/>
                  <a:lumOff val="60000"/>
                </a:schemeClr>
              </a:gs>
            </a:gsLst>
            <a:lin ang="270000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17" name="Freeform 18">
            <a:extLst>
              <a:ext uri="{FF2B5EF4-FFF2-40B4-BE49-F238E27FC236}">
                <a16:creationId xmlns:a16="http://schemas.microsoft.com/office/drawing/2014/main" id="{22DC461C-98E4-4CFF-AFE7-66ABA28986C6}"/>
              </a:ext>
            </a:extLst>
          </p:cNvPr>
          <p:cNvSpPr>
            <a:spLocks/>
          </p:cNvSpPr>
          <p:nvPr/>
        </p:nvSpPr>
        <p:spPr bwMode="auto">
          <a:xfrm>
            <a:off x="5753679" y="3623397"/>
            <a:ext cx="358752" cy="42051"/>
          </a:xfrm>
          <a:custGeom>
            <a:avLst/>
            <a:gdLst>
              <a:gd name="T0" fmla="*/ 4 w 273"/>
              <a:gd name="T1" fmla="*/ 0 h 32"/>
              <a:gd name="T2" fmla="*/ 273 w 273"/>
              <a:gd name="T3" fmla="*/ 0 h 32"/>
              <a:gd name="T4" fmla="*/ 273 w 273"/>
              <a:gd name="T5" fmla="*/ 0 h 32"/>
              <a:gd name="T6" fmla="*/ 269 w 273"/>
              <a:gd name="T7" fmla="*/ 0 h 32"/>
              <a:gd name="T8" fmla="*/ 0 w 273"/>
              <a:gd name="T9" fmla="*/ 32 h 32"/>
              <a:gd name="T10" fmla="*/ 4 w 273"/>
              <a:gd name="T11" fmla="*/ 0 h 32"/>
            </a:gdLst>
            <a:ahLst/>
            <a:cxnLst>
              <a:cxn ang="0">
                <a:pos x="T0" y="T1"/>
              </a:cxn>
              <a:cxn ang="0">
                <a:pos x="T2" y="T3"/>
              </a:cxn>
              <a:cxn ang="0">
                <a:pos x="T4" y="T5"/>
              </a:cxn>
              <a:cxn ang="0">
                <a:pos x="T6" y="T7"/>
              </a:cxn>
              <a:cxn ang="0">
                <a:pos x="T8" y="T9"/>
              </a:cxn>
              <a:cxn ang="0">
                <a:pos x="T10" y="T11"/>
              </a:cxn>
            </a:cxnLst>
            <a:rect l="0" t="0" r="r" b="b"/>
            <a:pathLst>
              <a:path w="273" h="32">
                <a:moveTo>
                  <a:pt x="4" y="0"/>
                </a:moveTo>
                <a:lnTo>
                  <a:pt x="273" y="0"/>
                </a:lnTo>
                <a:lnTo>
                  <a:pt x="273" y="0"/>
                </a:lnTo>
                <a:lnTo>
                  <a:pt x="269" y="0"/>
                </a:lnTo>
                <a:lnTo>
                  <a:pt x="0" y="32"/>
                </a:lnTo>
                <a:lnTo>
                  <a:pt x="4" y="0"/>
                </a:lnTo>
                <a:close/>
              </a:path>
            </a:pathLst>
          </a:custGeom>
          <a:gradFill>
            <a:gsLst>
              <a:gs pos="100000">
                <a:schemeClr val="accent1"/>
              </a:gs>
              <a:gs pos="31000">
                <a:schemeClr val="accent1">
                  <a:lumMod val="60000"/>
                  <a:lumOff val="40000"/>
                </a:schemeClr>
              </a:gs>
              <a:gs pos="0">
                <a:schemeClr val="accent1">
                  <a:lumMod val="40000"/>
                  <a:lumOff val="60000"/>
                </a:schemeClr>
              </a:gs>
            </a:gsLst>
            <a:lin ang="2700000" scaled="1"/>
          </a:gra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18" name="Freeform 19">
            <a:extLst>
              <a:ext uri="{FF2B5EF4-FFF2-40B4-BE49-F238E27FC236}">
                <a16:creationId xmlns:a16="http://schemas.microsoft.com/office/drawing/2014/main" id="{0590E4D7-3746-4C33-8E87-62066BB167FA}"/>
              </a:ext>
            </a:extLst>
          </p:cNvPr>
          <p:cNvSpPr>
            <a:spLocks/>
          </p:cNvSpPr>
          <p:nvPr/>
        </p:nvSpPr>
        <p:spPr bwMode="auto">
          <a:xfrm>
            <a:off x="4193834" y="3202883"/>
            <a:ext cx="1936994" cy="806862"/>
          </a:xfrm>
          <a:custGeom>
            <a:avLst/>
            <a:gdLst>
              <a:gd name="T0" fmla="*/ 170 w 411"/>
              <a:gd name="T1" fmla="*/ 90 h 171"/>
              <a:gd name="T2" fmla="*/ 90 w 411"/>
              <a:gd name="T3" fmla="*/ 171 h 171"/>
              <a:gd name="T4" fmla="*/ 0 w 411"/>
              <a:gd name="T5" fmla="*/ 90 h 171"/>
              <a:gd name="T6" fmla="*/ 44 w 411"/>
              <a:gd name="T7" fmla="*/ 90 h 171"/>
              <a:gd name="T8" fmla="*/ 204 w 411"/>
              <a:gd name="T9" fmla="*/ 0 h 171"/>
              <a:gd name="T10" fmla="*/ 411 w 411"/>
              <a:gd name="T11" fmla="*/ 89 h 171"/>
              <a:gd name="T12" fmla="*/ 332 w 411"/>
              <a:gd name="T13" fmla="*/ 89 h 171"/>
              <a:gd name="T14" fmla="*/ 128 w 411"/>
              <a:gd name="T15" fmla="*/ 90 h 171"/>
              <a:gd name="T16" fmla="*/ 170 w 411"/>
              <a:gd name="T17" fmla="*/ 90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1" h="171">
                <a:moveTo>
                  <a:pt x="170" y="90"/>
                </a:moveTo>
                <a:cubicBezTo>
                  <a:pt x="168" y="92"/>
                  <a:pt x="91" y="169"/>
                  <a:pt x="90" y="171"/>
                </a:cubicBezTo>
                <a:cubicBezTo>
                  <a:pt x="0" y="90"/>
                  <a:pt x="0" y="90"/>
                  <a:pt x="0" y="90"/>
                </a:cubicBezTo>
                <a:cubicBezTo>
                  <a:pt x="44" y="90"/>
                  <a:pt x="44" y="90"/>
                  <a:pt x="44" y="90"/>
                </a:cubicBezTo>
                <a:cubicBezTo>
                  <a:pt x="45" y="27"/>
                  <a:pt x="141" y="0"/>
                  <a:pt x="204" y="0"/>
                </a:cubicBezTo>
                <a:cubicBezTo>
                  <a:pt x="311" y="0"/>
                  <a:pt x="396" y="43"/>
                  <a:pt x="411" y="89"/>
                </a:cubicBezTo>
                <a:cubicBezTo>
                  <a:pt x="332" y="89"/>
                  <a:pt x="332" y="89"/>
                  <a:pt x="332" y="89"/>
                </a:cubicBezTo>
                <a:cubicBezTo>
                  <a:pt x="303" y="24"/>
                  <a:pt x="137" y="15"/>
                  <a:pt x="128" y="90"/>
                </a:cubicBezTo>
                <a:cubicBezTo>
                  <a:pt x="128" y="90"/>
                  <a:pt x="170" y="90"/>
                  <a:pt x="170" y="90"/>
                </a:cubicBezTo>
                <a:close/>
              </a:path>
            </a:pathLst>
          </a:cu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19" name="Freeform 20">
            <a:extLst>
              <a:ext uri="{FF2B5EF4-FFF2-40B4-BE49-F238E27FC236}">
                <a16:creationId xmlns:a16="http://schemas.microsoft.com/office/drawing/2014/main" id="{DEE7218C-138A-4A33-BF70-A88CEDC6F853}"/>
              </a:ext>
            </a:extLst>
          </p:cNvPr>
          <p:cNvSpPr>
            <a:spLocks/>
          </p:cNvSpPr>
          <p:nvPr/>
        </p:nvSpPr>
        <p:spPr bwMode="auto">
          <a:xfrm>
            <a:off x="4241142" y="3221280"/>
            <a:ext cx="1862090" cy="764810"/>
          </a:xfrm>
          <a:custGeom>
            <a:avLst/>
            <a:gdLst>
              <a:gd name="T0" fmla="*/ 0 w 395"/>
              <a:gd name="T1" fmla="*/ 90 h 162"/>
              <a:gd name="T2" fmla="*/ 38 w 395"/>
              <a:gd name="T3" fmla="*/ 90 h 162"/>
              <a:gd name="T4" fmla="*/ 38 w 395"/>
              <a:gd name="T5" fmla="*/ 86 h 162"/>
              <a:gd name="T6" fmla="*/ 194 w 395"/>
              <a:gd name="T7" fmla="*/ 0 h 162"/>
              <a:gd name="T8" fmla="*/ 395 w 395"/>
              <a:gd name="T9" fmla="*/ 81 h 162"/>
              <a:gd name="T10" fmla="*/ 324 w 395"/>
              <a:gd name="T11" fmla="*/ 81 h 162"/>
              <a:gd name="T12" fmla="*/ 208 w 395"/>
              <a:gd name="T13" fmla="*/ 29 h 162"/>
              <a:gd name="T14" fmla="*/ 114 w 395"/>
              <a:gd name="T15" fmla="*/ 85 h 162"/>
              <a:gd name="T16" fmla="*/ 113 w 395"/>
              <a:gd name="T17" fmla="*/ 90 h 162"/>
              <a:gd name="T18" fmla="*/ 151 w 395"/>
              <a:gd name="T19" fmla="*/ 90 h 162"/>
              <a:gd name="T20" fmla="*/ 149 w 395"/>
              <a:gd name="T21" fmla="*/ 91 h 162"/>
              <a:gd name="T22" fmla="*/ 80 w 395"/>
              <a:gd name="T23" fmla="*/ 162 h 162"/>
              <a:gd name="T24" fmla="*/ 0 w 395"/>
              <a:gd name="T25" fmla="*/ 90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5" h="162">
                <a:moveTo>
                  <a:pt x="0" y="90"/>
                </a:moveTo>
                <a:cubicBezTo>
                  <a:pt x="38" y="90"/>
                  <a:pt x="38" y="90"/>
                  <a:pt x="38" y="90"/>
                </a:cubicBezTo>
                <a:cubicBezTo>
                  <a:pt x="38" y="86"/>
                  <a:pt x="38" y="86"/>
                  <a:pt x="38" y="86"/>
                </a:cubicBezTo>
                <a:cubicBezTo>
                  <a:pt x="39" y="28"/>
                  <a:pt x="131" y="0"/>
                  <a:pt x="194" y="0"/>
                </a:cubicBezTo>
                <a:cubicBezTo>
                  <a:pt x="300" y="0"/>
                  <a:pt x="377" y="40"/>
                  <a:pt x="395" y="81"/>
                </a:cubicBezTo>
                <a:cubicBezTo>
                  <a:pt x="324" y="81"/>
                  <a:pt x="324" y="81"/>
                  <a:pt x="324" y="81"/>
                </a:cubicBezTo>
                <a:cubicBezTo>
                  <a:pt x="307" y="45"/>
                  <a:pt x="252" y="29"/>
                  <a:pt x="208" y="29"/>
                </a:cubicBezTo>
                <a:cubicBezTo>
                  <a:pt x="155" y="29"/>
                  <a:pt x="118" y="51"/>
                  <a:pt x="114" y="85"/>
                </a:cubicBezTo>
                <a:cubicBezTo>
                  <a:pt x="113" y="90"/>
                  <a:pt x="113" y="90"/>
                  <a:pt x="113" y="90"/>
                </a:cubicBezTo>
                <a:cubicBezTo>
                  <a:pt x="151" y="90"/>
                  <a:pt x="151" y="90"/>
                  <a:pt x="151" y="90"/>
                </a:cubicBezTo>
                <a:cubicBezTo>
                  <a:pt x="149" y="91"/>
                  <a:pt x="149" y="91"/>
                  <a:pt x="149" y="91"/>
                </a:cubicBezTo>
                <a:cubicBezTo>
                  <a:pt x="132" y="108"/>
                  <a:pt x="90" y="151"/>
                  <a:pt x="80" y="162"/>
                </a:cubicBezTo>
                <a:lnTo>
                  <a:pt x="0" y="90"/>
                </a:lnTo>
                <a:close/>
              </a:path>
            </a:pathLst>
          </a:custGeom>
          <a:gradFill flip="none" rotWithShape="1">
            <a:gsLst>
              <a:gs pos="100000">
                <a:schemeClr val="accent1"/>
              </a:gs>
              <a:gs pos="31000">
                <a:schemeClr val="accent1">
                  <a:lumMod val="60000"/>
                  <a:lumOff val="40000"/>
                </a:schemeClr>
              </a:gs>
              <a:gs pos="0">
                <a:schemeClr val="accent1">
                  <a:lumMod val="40000"/>
                  <a:lumOff val="60000"/>
                </a:schemeClr>
              </a:gs>
            </a:gsLst>
            <a:lin ang="810000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20" name="Freeform 21">
            <a:extLst>
              <a:ext uri="{FF2B5EF4-FFF2-40B4-BE49-F238E27FC236}">
                <a16:creationId xmlns:a16="http://schemas.microsoft.com/office/drawing/2014/main" id="{6C35A1F2-FAB5-456F-8AD8-6FE454027BD6}"/>
              </a:ext>
            </a:extLst>
          </p:cNvPr>
          <p:cNvSpPr>
            <a:spLocks/>
          </p:cNvSpPr>
          <p:nvPr/>
        </p:nvSpPr>
        <p:spPr bwMode="auto">
          <a:xfrm>
            <a:off x="4614348" y="3627339"/>
            <a:ext cx="381091" cy="557181"/>
          </a:xfrm>
          <a:custGeom>
            <a:avLst/>
            <a:gdLst>
              <a:gd name="T0" fmla="*/ 0 w 81"/>
              <a:gd name="T1" fmla="*/ 118 h 118"/>
              <a:gd name="T2" fmla="*/ 80 w 81"/>
              <a:gd name="T3" fmla="*/ 26 h 118"/>
              <a:gd name="T4" fmla="*/ 81 w 81"/>
              <a:gd name="T5" fmla="*/ 0 h 118"/>
              <a:gd name="T6" fmla="*/ 1 w 81"/>
              <a:gd name="T7" fmla="*/ 81 h 118"/>
              <a:gd name="T8" fmla="*/ 1 w 81"/>
              <a:gd name="T9" fmla="*/ 81 h 118"/>
              <a:gd name="T10" fmla="*/ 0 w 81"/>
              <a:gd name="T11" fmla="*/ 118 h 118"/>
            </a:gdLst>
            <a:ahLst/>
            <a:cxnLst>
              <a:cxn ang="0">
                <a:pos x="T0" y="T1"/>
              </a:cxn>
              <a:cxn ang="0">
                <a:pos x="T2" y="T3"/>
              </a:cxn>
              <a:cxn ang="0">
                <a:pos x="T4" y="T5"/>
              </a:cxn>
              <a:cxn ang="0">
                <a:pos x="T6" y="T7"/>
              </a:cxn>
              <a:cxn ang="0">
                <a:pos x="T8" y="T9"/>
              </a:cxn>
              <a:cxn ang="0">
                <a:pos x="T10" y="T11"/>
              </a:cxn>
            </a:cxnLst>
            <a:rect l="0" t="0" r="r" b="b"/>
            <a:pathLst>
              <a:path w="81" h="118">
                <a:moveTo>
                  <a:pt x="0" y="118"/>
                </a:moveTo>
                <a:cubicBezTo>
                  <a:pt x="78" y="28"/>
                  <a:pt x="80" y="26"/>
                  <a:pt x="80" y="26"/>
                </a:cubicBezTo>
                <a:cubicBezTo>
                  <a:pt x="81" y="0"/>
                  <a:pt x="81" y="0"/>
                  <a:pt x="81" y="0"/>
                </a:cubicBezTo>
                <a:cubicBezTo>
                  <a:pt x="80" y="1"/>
                  <a:pt x="2" y="80"/>
                  <a:pt x="1" y="81"/>
                </a:cubicBezTo>
                <a:cubicBezTo>
                  <a:pt x="1" y="81"/>
                  <a:pt x="1" y="81"/>
                  <a:pt x="1" y="81"/>
                </a:cubicBezTo>
                <a:lnTo>
                  <a:pt x="0" y="118"/>
                </a:lnTo>
                <a:close/>
              </a:path>
            </a:pathLst>
          </a:custGeom>
          <a:gradFill>
            <a:gsLst>
              <a:gs pos="100000">
                <a:schemeClr val="accent1"/>
              </a:gs>
              <a:gs pos="31000">
                <a:schemeClr val="accent1">
                  <a:lumMod val="60000"/>
                  <a:lumOff val="40000"/>
                </a:schemeClr>
              </a:gs>
              <a:gs pos="0">
                <a:schemeClr val="accent1">
                  <a:lumMod val="40000"/>
                  <a:lumOff val="60000"/>
                </a:schemeClr>
              </a:gs>
            </a:gsLst>
            <a:lin ang="2700000" scaled="1"/>
          </a:gra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21" name="Freeform 22">
            <a:extLst>
              <a:ext uri="{FF2B5EF4-FFF2-40B4-BE49-F238E27FC236}">
                <a16:creationId xmlns:a16="http://schemas.microsoft.com/office/drawing/2014/main" id="{EA66D4E0-DD26-4AA7-9115-0A3AB6FAAEF5}"/>
              </a:ext>
            </a:extLst>
          </p:cNvPr>
          <p:cNvSpPr>
            <a:spLocks/>
          </p:cNvSpPr>
          <p:nvPr/>
        </p:nvSpPr>
        <p:spPr bwMode="auto">
          <a:xfrm>
            <a:off x="4193834" y="3627339"/>
            <a:ext cx="424457" cy="557181"/>
          </a:xfrm>
          <a:custGeom>
            <a:avLst/>
            <a:gdLst>
              <a:gd name="T0" fmla="*/ 90 w 90"/>
              <a:gd name="T1" fmla="*/ 81 h 118"/>
              <a:gd name="T2" fmla="*/ 0 w 90"/>
              <a:gd name="T3" fmla="*/ 0 h 118"/>
              <a:gd name="T4" fmla="*/ 3 w 90"/>
              <a:gd name="T5" fmla="*/ 45 h 118"/>
              <a:gd name="T6" fmla="*/ 89 w 90"/>
              <a:gd name="T7" fmla="*/ 118 h 118"/>
              <a:gd name="T8" fmla="*/ 90 w 90"/>
              <a:gd name="T9" fmla="*/ 81 h 118"/>
            </a:gdLst>
            <a:ahLst/>
            <a:cxnLst>
              <a:cxn ang="0">
                <a:pos x="T0" y="T1"/>
              </a:cxn>
              <a:cxn ang="0">
                <a:pos x="T2" y="T3"/>
              </a:cxn>
              <a:cxn ang="0">
                <a:pos x="T4" y="T5"/>
              </a:cxn>
              <a:cxn ang="0">
                <a:pos x="T6" y="T7"/>
              </a:cxn>
              <a:cxn ang="0">
                <a:pos x="T8" y="T9"/>
              </a:cxn>
            </a:cxnLst>
            <a:rect l="0" t="0" r="r" b="b"/>
            <a:pathLst>
              <a:path w="90" h="118">
                <a:moveTo>
                  <a:pt x="90" y="81"/>
                </a:moveTo>
                <a:cubicBezTo>
                  <a:pt x="0" y="0"/>
                  <a:pt x="0" y="0"/>
                  <a:pt x="0" y="0"/>
                </a:cubicBezTo>
                <a:cubicBezTo>
                  <a:pt x="2" y="47"/>
                  <a:pt x="3" y="45"/>
                  <a:pt x="3" y="45"/>
                </a:cubicBezTo>
                <a:cubicBezTo>
                  <a:pt x="4" y="46"/>
                  <a:pt x="89" y="118"/>
                  <a:pt x="89" y="118"/>
                </a:cubicBezTo>
                <a:lnTo>
                  <a:pt x="90" y="81"/>
                </a:lnTo>
                <a:close/>
              </a:path>
            </a:pathLst>
          </a:custGeom>
          <a:gradFill>
            <a:gsLst>
              <a:gs pos="100000">
                <a:schemeClr val="accent1"/>
              </a:gs>
              <a:gs pos="31000">
                <a:schemeClr val="accent1">
                  <a:lumMod val="60000"/>
                  <a:lumOff val="40000"/>
                </a:schemeClr>
              </a:gs>
              <a:gs pos="0">
                <a:schemeClr val="accent1">
                  <a:lumMod val="40000"/>
                  <a:lumOff val="60000"/>
                </a:schemeClr>
              </a:gs>
            </a:gsLst>
            <a:lin ang="2700000" scaled="1"/>
          </a:gra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22" name="Freeform 23">
            <a:extLst>
              <a:ext uri="{FF2B5EF4-FFF2-40B4-BE49-F238E27FC236}">
                <a16:creationId xmlns:a16="http://schemas.microsoft.com/office/drawing/2014/main" id="{64C3B9FE-D241-4186-A237-DF9057C709F8}"/>
              </a:ext>
            </a:extLst>
          </p:cNvPr>
          <p:cNvSpPr>
            <a:spLocks/>
          </p:cNvSpPr>
          <p:nvPr/>
        </p:nvSpPr>
        <p:spPr bwMode="auto">
          <a:xfrm>
            <a:off x="5461947" y="4113558"/>
            <a:ext cx="1239203" cy="751669"/>
          </a:xfrm>
          <a:custGeom>
            <a:avLst/>
            <a:gdLst>
              <a:gd name="T0" fmla="*/ 263 w 263"/>
              <a:gd name="T1" fmla="*/ 104 h 159"/>
              <a:gd name="T2" fmla="*/ 174 w 263"/>
              <a:gd name="T3" fmla="*/ 99 h 159"/>
              <a:gd name="T4" fmla="*/ 80 w 263"/>
              <a:gd name="T5" fmla="*/ 68 h 159"/>
              <a:gd name="T6" fmla="*/ 0 w 263"/>
              <a:gd name="T7" fmla="*/ 0 h 159"/>
              <a:gd name="T8" fmla="*/ 63 w 263"/>
              <a:gd name="T9" fmla="*/ 113 h 159"/>
              <a:gd name="T10" fmla="*/ 113 w 263"/>
              <a:gd name="T11" fmla="*/ 138 h 159"/>
              <a:gd name="T12" fmla="*/ 261 w 263"/>
              <a:gd name="T13" fmla="*/ 152 h 159"/>
              <a:gd name="T14" fmla="*/ 263 w 263"/>
              <a:gd name="T15" fmla="*/ 104 h 1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3" h="159">
                <a:moveTo>
                  <a:pt x="263" y="104"/>
                </a:moveTo>
                <a:cubicBezTo>
                  <a:pt x="237" y="106"/>
                  <a:pt x="200" y="102"/>
                  <a:pt x="174" y="99"/>
                </a:cubicBezTo>
                <a:cubicBezTo>
                  <a:pt x="136" y="94"/>
                  <a:pt x="116" y="83"/>
                  <a:pt x="80" y="68"/>
                </a:cubicBezTo>
                <a:cubicBezTo>
                  <a:pt x="40" y="51"/>
                  <a:pt x="0" y="33"/>
                  <a:pt x="0" y="0"/>
                </a:cubicBezTo>
                <a:cubicBezTo>
                  <a:pt x="0" y="51"/>
                  <a:pt x="22" y="87"/>
                  <a:pt x="63" y="113"/>
                </a:cubicBezTo>
                <a:cubicBezTo>
                  <a:pt x="90" y="130"/>
                  <a:pt x="113" y="138"/>
                  <a:pt x="113" y="138"/>
                </a:cubicBezTo>
                <a:cubicBezTo>
                  <a:pt x="162" y="154"/>
                  <a:pt x="211" y="159"/>
                  <a:pt x="261" y="152"/>
                </a:cubicBezTo>
                <a:lnTo>
                  <a:pt x="263" y="104"/>
                </a:lnTo>
                <a:close/>
              </a:path>
            </a:pathLst>
          </a:custGeom>
          <a:gradFill flip="none" rotWithShape="1">
            <a:gsLst>
              <a:gs pos="100000">
                <a:schemeClr val="accent1"/>
              </a:gs>
              <a:gs pos="31000">
                <a:schemeClr val="accent1">
                  <a:lumMod val="60000"/>
                  <a:lumOff val="40000"/>
                </a:schemeClr>
              </a:gs>
              <a:gs pos="0">
                <a:schemeClr val="accent1">
                  <a:lumMod val="40000"/>
                  <a:lumOff val="60000"/>
                </a:schemeClr>
              </a:gs>
            </a:gsLst>
            <a:lin ang="270000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23" name="Freeform 24">
            <a:extLst>
              <a:ext uri="{FF2B5EF4-FFF2-40B4-BE49-F238E27FC236}">
                <a16:creationId xmlns:a16="http://schemas.microsoft.com/office/drawing/2014/main" id="{64F0FE14-4DF6-41A7-9234-CFFF1D5D2D8D}"/>
              </a:ext>
            </a:extLst>
          </p:cNvPr>
          <p:cNvSpPr>
            <a:spLocks/>
          </p:cNvSpPr>
          <p:nvPr/>
        </p:nvSpPr>
        <p:spPr bwMode="auto">
          <a:xfrm>
            <a:off x="6493521" y="4222630"/>
            <a:ext cx="85417" cy="132725"/>
          </a:xfrm>
          <a:custGeom>
            <a:avLst/>
            <a:gdLst>
              <a:gd name="T0" fmla="*/ 0 w 18"/>
              <a:gd name="T1" fmla="*/ 27 h 28"/>
              <a:gd name="T2" fmla="*/ 1 w 18"/>
              <a:gd name="T3" fmla="*/ 0 h 28"/>
              <a:gd name="T4" fmla="*/ 18 w 18"/>
              <a:gd name="T5" fmla="*/ 27 h 28"/>
              <a:gd name="T6" fmla="*/ 0 w 18"/>
              <a:gd name="T7" fmla="*/ 27 h 28"/>
            </a:gdLst>
            <a:ahLst/>
            <a:cxnLst>
              <a:cxn ang="0">
                <a:pos x="T0" y="T1"/>
              </a:cxn>
              <a:cxn ang="0">
                <a:pos x="T2" y="T3"/>
              </a:cxn>
              <a:cxn ang="0">
                <a:pos x="T4" y="T5"/>
              </a:cxn>
              <a:cxn ang="0">
                <a:pos x="T6" y="T7"/>
              </a:cxn>
            </a:cxnLst>
            <a:rect l="0" t="0" r="r" b="b"/>
            <a:pathLst>
              <a:path w="18" h="28">
                <a:moveTo>
                  <a:pt x="0" y="27"/>
                </a:moveTo>
                <a:cubicBezTo>
                  <a:pt x="1" y="0"/>
                  <a:pt x="1" y="0"/>
                  <a:pt x="1" y="0"/>
                </a:cubicBezTo>
                <a:cubicBezTo>
                  <a:pt x="1" y="0"/>
                  <a:pt x="18" y="27"/>
                  <a:pt x="18" y="27"/>
                </a:cubicBezTo>
                <a:cubicBezTo>
                  <a:pt x="13" y="28"/>
                  <a:pt x="13" y="26"/>
                  <a:pt x="0" y="27"/>
                </a:cubicBezTo>
                <a:close/>
              </a:path>
            </a:pathLst>
          </a:custGeom>
          <a:gradFill flip="none" rotWithShape="1">
            <a:gsLst>
              <a:gs pos="100000">
                <a:schemeClr val="accent1"/>
              </a:gs>
              <a:gs pos="31000">
                <a:schemeClr val="accent1">
                  <a:lumMod val="60000"/>
                  <a:lumOff val="40000"/>
                </a:schemeClr>
              </a:gs>
              <a:gs pos="0">
                <a:schemeClr val="accent1">
                  <a:lumMod val="40000"/>
                  <a:lumOff val="60000"/>
                </a:schemeClr>
              </a:gs>
            </a:gsLst>
            <a:lin ang="270000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24" name="Freeform 25">
            <a:extLst>
              <a:ext uri="{FF2B5EF4-FFF2-40B4-BE49-F238E27FC236}">
                <a16:creationId xmlns:a16="http://schemas.microsoft.com/office/drawing/2014/main" id="{7D968AB6-CA4B-44A1-AF42-CC3804706949}"/>
              </a:ext>
            </a:extLst>
          </p:cNvPr>
          <p:cNvSpPr>
            <a:spLocks/>
          </p:cNvSpPr>
          <p:nvPr/>
        </p:nvSpPr>
        <p:spPr bwMode="auto">
          <a:xfrm>
            <a:off x="5447492" y="3641794"/>
            <a:ext cx="1909398" cy="1110421"/>
          </a:xfrm>
          <a:custGeom>
            <a:avLst/>
            <a:gdLst>
              <a:gd name="T0" fmla="*/ 93 w 405"/>
              <a:gd name="T1" fmla="*/ 101 h 235"/>
              <a:gd name="T2" fmla="*/ 177 w 405"/>
              <a:gd name="T3" fmla="*/ 36 h 235"/>
              <a:gd name="T4" fmla="*/ 157 w 405"/>
              <a:gd name="T5" fmla="*/ 0 h 235"/>
              <a:gd name="T6" fmla="*/ 77 w 405"/>
              <a:gd name="T7" fmla="*/ 20 h 235"/>
              <a:gd name="T8" fmla="*/ 4 w 405"/>
              <a:gd name="T9" fmla="*/ 107 h 235"/>
              <a:gd name="T10" fmla="*/ 75 w 405"/>
              <a:gd name="T11" fmla="*/ 181 h 235"/>
              <a:gd name="T12" fmla="*/ 176 w 405"/>
              <a:gd name="T13" fmla="*/ 206 h 235"/>
              <a:gd name="T14" fmla="*/ 266 w 405"/>
              <a:gd name="T15" fmla="*/ 204 h 235"/>
              <a:gd name="T16" fmla="*/ 283 w 405"/>
              <a:gd name="T17" fmla="*/ 235 h 235"/>
              <a:gd name="T18" fmla="*/ 405 w 405"/>
              <a:gd name="T19" fmla="*/ 154 h 235"/>
              <a:gd name="T20" fmla="*/ 223 w 405"/>
              <a:gd name="T21" fmla="*/ 123 h 235"/>
              <a:gd name="T22" fmla="*/ 237 w 405"/>
              <a:gd name="T23" fmla="*/ 149 h 235"/>
              <a:gd name="T24" fmla="*/ 233 w 405"/>
              <a:gd name="T25" fmla="*/ 149 h 235"/>
              <a:gd name="T26" fmla="*/ 222 w 405"/>
              <a:gd name="T27" fmla="*/ 150 h 235"/>
              <a:gd name="T28" fmla="*/ 93 w 405"/>
              <a:gd name="T29" fmla="*/ 101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05" h="235">
                <a:moveTo>
                  <a:pt x="93" y="101"/>
                </a:moveTo>
                <a:cubicBezTo>
                  <a:pt x="86" y="69"/>
                  <a:pt x="113" y="48"/>
                  <a:pt x="177" y="36"/>
                </a:cubicBezTo>
                <a:cubicBezTo>
                  <a:pt x="157" y="0"/>
                  <a:pt x="157" y="0"/>
                  <a:pt x="157" y="0"/>
                </a:cubicBezTo>
                <a:cubicBezTo>
                  <a:pt x="102" y="8"/>
                  <a:pt x="77" y="20"/>
                  <a:pt x="77" y="20"/>
                </a:cubicBezTo>
                <a:cubicBezTo>
                  <a:pt x="25" y="44"/>
                  <a:pt x="0" y="72"/>
                  <a:pt x="4" y="107"/>
                </a:cubicBezTo>
                <a:cubicBezTo>
                  <a:pt x="11" y="143"/>
                  <a:pt x="41" y="166"/>
                  <a:pt x="75" y="181"/>
                </a:cubicBezTo>
                <a:cubicBezTo>
                  <a:pt x="110" y="196"/>
                  <a:pt x="146" y="204"/>
                  <a:pt x="176" y="206"/>
                </a:cubicBezTo>
                <a:cubicBezTo>
                  <a:pt x="227" y="209"/>
                  <a:pt x="269" y="204"/>
                  <a:pt x="266" y="204"/>
                </a:cubicBezTo>
                <a:cubicBezTo>
                  <a:pt x="271" y="213"/>
                  <a:pt x="277" y="225"/>
                  <a:pt x="283" y="235"/>
                </a:cubicBezTo>
                <a:cubicBezTo>
                  <a:pt x="405" y="154"/>
                  <a:pt x="405" y="154"/>
                  <a:pt x="405" y="154"/>
                </a:cubicBezTo>
                <a:cubicBezTo>
                  <a:pt x="223" y="123"/>
                  <a:pt x="223" y="123"/>
                  <a:pt x="223" y="123"/>
                </a:cubicBezTo>
                <a:cubicBezTo>
                  <a:pt x="224" y="125"/>
                  <a:pt x="235" y="147"/>
                  <a:pt x="237" y="149"/>
                </a:cubicBezTo>
                <a:cubicBezTo>
                  <a:pt x="233" y="149"/>
                  <a:pt x="233" y="149"/>
                  <a:pt x="233" y="149"/>
                </a:cubicBezTo>
                <a:cubicBezTo>
                  <a:pt x="222" y="150"/>
                  <a:pt x="222" y="150"/>
                  <a:pt x="222" y="150"/>
                </a:cubicBezTo>
                <a:cubicBezTo>
                  <a:pt x="153" y="151"/>
                  <a:pt x="110" y="135"/>
                  <a:pt x="93" y="101"/>
                </a:cubicBezTo>
                <a:close/>
              </a:path>
            </a:pathLst>
          </a:cu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25" name="Freeform 26">
            <a:extLst>
              <a:ext uri="{FF2B5EF4-FFF2-40B4-BE49-F238E27FC236}">
                <a16:creationId xmlns:a16="http://schemas.microsoft.com/office/drawing/2014/main" id="{90548E87-140A-4C04-AE49-7EE27A242B18}"/>
              </a:ext>
            </a:extLst>
          </p:cNvPr>
          <p:cNvSpPr>
            <a:spLocks/>
          </p:cNvSpPr>
          <p:nvPr/>
        </p:nvSpPr>
        <p:spPr bwMode="auto">
          <a:xfrm>
            <a:off x="5467203" y="3665448"/>
            <a:ext cx="1842378" cy="1057857"/>
          </a:xfrm>
          <a:custGeom>
            <a:avLst/>
            <a:gdLst>
              <a:gd name="T0" fmla="*/ 280 w 391"/>
              <a:gd name="T1" fmla="*/ 224 h 224"/>
              <a:gd name="T2" fmla="*/ 273 w 391"/>
              <a:gd name="T3" fmla="*/ 211 h 224"/>
              <a:gd name="T4" fmla="*/ 266 w 391"/>
              <a:gd name="T5" fmla="*/ 198 h 224"/>
              <a:gd name="T6" fmla="*/ 266 w 391"/>
              <a:gd name="T7" fmla="*/ 195 h 224"/>
              <a:gd name="T8" fmla="*/ 262 w 391"/>
              <a:gd name="T9" fmla="*/ 195 h 224"/>
              <a:gd name="T10" fmla="*/ 255 w 391"/>
              <a:gd name="T11" fmla="*/ 196 h 224"/>
              <a:gd name="T12" fmla="*/ 255 w 391"/>
              <a:gd name="T13" fmla="*/ 196 h 224"/>
              <a:gd name="T14" fmla="*/ 208 w 391"/>
              <a:gd name="T15" fmla="*/ 198 h 224"/>
              <a:gd name="T16" fmla="*/ 173 w 391"/>
              <a:gd name="T17" fmla="*/ 197 h 224"/>
              <a:gd name="T18" fmla="*/ 73 w 391"/>
              <a:gd name="T19" fmla="*/ 172 h 224"/>
              <a:gd name="T20" fmla="*/ 4 w 391"/>
              <a:gd name="T21" fmla="*/ 101 h 224"/>
              <a:gd name="T22" fmla="*/ 75 w 391"/>
              <a:gd name="T23" fmla="*/ 19 h 224"/>
              <a:gd name="T24" fmla="*/ 151 w 391"/>
              <a:gd name="T25" fmla="*/ 0 h 224"/>
              <a:gd name="T26" fmla="*/ 167 w 391"/>
              <a:gd name="T27" fmla="*/ 28 h 224"/>
              <a:gd name="T28" fmla="*/ 90 w 391"/>
              <a:gd name="T29" fmla="*/ 65 h 224"/>
              <a:gd name="T30" fmla="*/ 85 w 391"/>
              <a:gd name="T31" fmla="*/ 97 h 224"/>
              <a:gd name="T32" fmla="*/ 86 w 391"/>
              <a:gd name="T33" fmla="*/ 97 h 224"/>
              <a:gd name="T34" fmla="*/ 86 w 391"/>
              <a:gd name="T35" fmla="*/ 98 h 224"/>
              <a:gd name="T36" fmla="*/ 213 w 391"/>
              <a:gd name="T37" fmla="*/ 149 h 224"/>
              <a:gd name="T38" fmla="*/ 218 w 391"/>
              <a:gd name="T39" fmla="*/ 149 h 224"/>
              <a:gd name="T40" fmla="*/ 229 w 391"/>
              <a:gd name="T41" fmla="*/ 148 h 224"/>
              <a:gd name="T42" fmla="*/ 233 w 391"/>
              <a:gd name="T43" fmla="*/ 148 h 224"/>
              <a:gd name="T44" fmla="*/ 239 w 391"/>
              <a:gd name="T45" fmla="*/ 147 h 224"/>
              <a:gd name="T46" fmla="*/ 236 w 391"/>
              <a:gd name="T47" fmla="*/ 142 h 224"/>
              <a:gd name="T48" fmla="*/ 226 w 391"/>
              <a:gd name="T49" fmla="*/ 124 h 224"/>
              <a:gd name="T50" fmla="*/ 391 w 391"/>
              <a:gd name="T51" fmla="*/ 151 h 224"/>
              <a:gd name="T52" fmla="*/ 280 w 391"/>
              <a:gd name="T53" fmla="*/ 22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91" h="224">
                <a:moveTo>
                  <a:pt x="280" y="224"/>
                </a:moveTo>
                <a:cubicBezTo>
                  <a:pt x="278" y="220"/>
                  <a:pt x="275" y="216"/>
                  <a:pt x="273" y="211"/>
                </a:cubicBezTo>
                <a:cubicBezTo>
                  <a:pt x="271" y="207"/>
                  <a:pt x="268" y="202"/>
                  <a:pt x="266" y="198"/>
                </a:cubicBezTo>
                <a:cubicBezTo>
                  <a:pt x="266" y="195"/>
                  <a:pt x="266" y="195"/>
                  <a:pt x="266" y="195"/>
                </a:cubicBezTo>
                <a:cubicBezTo>
                  <a:pt x="262" y="195"/>
                  <a:pt x="262" y="195"/>
                  <a:pt x="262" y="195"/>
                </a:cubicBezTo>
                <a:cubicBezTo>
                  <a:pt x="255" y="196"/>
                  <a:pt x="255" y="196"/>
                  <a:pt x="255" y="196"/>
                </a:cubicBezTo>
                <a:cubicBezTo>
                  <a:pt x="255" y="196"/>
                  <a:pt x="255" y="196"/>
                  <a:pt x="255" y="196"/>
                </a:cubicBezTo>
                <a:cubicBezTo>
                  <a:pt x="246" y="197"/>
                  <a:pt x="229" y="198"/>
                  <a:pt x="208" y="198"/>
                </a:cubicBezTo>
                <a:cubicBezTo>
                  <a:pt x="196" y="198"/>
                  <a:pt x="184" y="198"/>
                  <a:pt x="173" y="197"/>
                </a:cubicBezTo>
                <a:cubicBezTo>
                  <a:pt x="140" y="195"/>
                  <a:pt x="105" y="186"/>
                  <a:pt x="73" y="172"/>
                </a:cubicBezTo>
                <a:cubicBezTo>
                  <a:pt x="45" y="160"/>
                  <a:pt x="11" y="139"/>
                  <a:pt x="4" y="101"/>
                </a:cubicBezTo>
                <a:cubicBezTo>
                  <a:pt x="0" y="69"/>
                  <a:pt x="24" y="41"/>
                  <a:pt x="75" y="19"/>
                </a:cubicBezTo>
                <a:cubicBezTo>
                  <a:pt x="75" y="19"/>
                  <a:pt x="99" y="7"/>
                  <a:pt x="151" y="0"/>
                </a:cubicBezTo>
                <a:cubicBezTo>
                  <a:pt x="167" y="28"/>
                  <a:pt x="167" y="28"/>
                  <a:pt x="167" y="28"/>
                </a:cubicBezTo>
                <a:cubicBezTo>
                  <a:pt x="126" y="36"/>
                  <a:pt x="101" y="48"/>
                  <a:pt x="90" y="65"/>
                </a:cubicBezTo>
                <a:cubicBezTo>
                  <a:pt x="84" y="75"/>
                  <a:pt x="83" y="85"/>
                  <a:pt x="85" y="97"/>
                </a:cubicBezTo>
                <a:cubicBezTo>
                  <a:pt x="86" y="97"/>
                  <a:pt x="86" y="97"/>
                  <a:pt x="86" y="97"/>
                </a:cubicBezTo>
                <a:cubicBezTo>
                  <a:pt x="86" y="98"/>
                  <a:pt x="86" y="98"/>
                  <a:pt x="86" y="98"/>
                </a:cubicBezTo>
                <a:cubicBezTo>
                  <a:pt x="103" y="132"/>
                  <a:pt x="146" y="149"/>
                  <a:pt x="213" y="149"/>
                </a:cubicBezTo>
                <a:cubicBezTo>
                  <a:pt x="215" y="149"/>
                  <a:pt x="217" y="149"/>
                  <a:pt x="218" y="149"/>
                </a:cubicBezTo>
                <a:cubicBezTo>
                  <a:pt x="229" y="148"/>
                  <a:pt x="229" y="148"/>
                  <a:pt x="229" y="148"/>
                </a:cubicBezTo>
                <a:cubicBezTo>
                  <a:pt x="233" y="148"/>
                  <a:pt x="233" y="148"/>
                  <a:pt x="233" y="148"/>
                </a:cubicBezTo>
                <a:cubicBezTo>
                  <a:pt x="239" y="147"/>
                  <a:pt x="239" y="147"/>
                  <a:pt x="239" y="147"/>
                </a:cubicBezTo>
                <a:cubicBezTo>
                  <a:pt x="236" y="142"/>
                  <a:pt x="236" y="142"/>
                  <a:pt x="236" y="142"/>
                </a:cubicBezTo>
                <a:cubicBezTo>
                  <a:pt x="235" y="141"/>
                  <a:pt x="230" y="131"/>
                  <a:pt x="226" y="124"/>
                </a:cubicBezTo>
                <a:cubicBezTo>
                  <a:pt x="391" y="151"/>
                  <a:pt x="391" y="151"/>
                  <a:pt x="391" y="151"/>
                </a:cubicBezTo>
                <a:lnTo>
                  <a:pt x="280" y="224"/>
                </a:lnTo>
                <a:close/>
              </a:path>
            </a:pathLst>
          </a:custGeom>
          <a:gradFill flip="none" rotWithShape="1">
            <a:gsLst>
              <a:gs pos="100000">
                <a:schemeClr val="accent1"/>
              </a:gs>
              <a:gs pos="31000">
                <a:schemeClr val="accent1">
                  <a:lumMod val="60000"/>
                  <a:lumOff val="40000"/>
                </a:schemeClr>
              </a:gs>
              <a:gs pos="0">
                <a:schemeClr val="accent1">
                  <a:lumMod val="40000"/>
                  <a:lumOff val="60000"/>
                </a:schemeClr>
              </a:gs>
            </a:gsLst>
            <a:lin ang="270000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26" name="Freeform 27">
            <a:extLst>
              <a:ext uri="{FF2B5EF4-FFF2-40B4-BE49-F238E27FC236}">
                <a16:creationId xmlns:a16="http://schemas.microsoft.com/office/drawing/2014/main" id="{5482ED1C-E3F9-4EDE-A016-C10DE5D18FF1}"/>
              </a:ext>
            </a:extLst>
          </p:cNvPr>
          <p:cNvSpPr>
            <a:spLocks/>
          </p:cNvSpPr>
          <p:nvPr/>
        </p:nvSpPr>
        <p:spPr bwMode="auto">
          <a:xfrm>
            <a:off x="5853551" y="3812628"/>
            <a:ext cx="428399" cy="306187"/>
          </a:xfrm>
          <a:custGeom>
            <a:avLst/>
            <a:gdLst>
              <a:gd name="T0" fmla="*/ 7 w 91"/>
              <a:gd name="T1" fmla="*/ 65 h 65"/>
              <a:gd name="T2" fmla="*/ 91 w 91"/>
              <a:gd name="T3" fmla="*/ 0 h 65"/>
              <a:gd name="T4" fmla="*/ 91 w 91"/>
              <a:gd name="T5" fmla="*/ 9 h 65"/>
              <a:gd name="T6" fmla="*/ 7 w 91"/>
              <a:gd name="T7" fmla="*/ 65 h 65"/>
            </a:gdLst>
            <a:ahLst/>
            <a:cxnLst>
              <a:cxn ang="0">
                <a:pos x="T0" y="T1"/>
              </a:cxn>
              <a:cxn ang="0">
                <a:pos x="T2" y="T3"/>
              </a:cxn>
              <a:cxn ang="0">
                <a:pos x="T4" y="T5"/>
              </a:cxn>
              <a:cxn ang="0">
                <a:pos x="T6" y="T7"/>
              </a:cxn>
            </a:cxnLst>
            <a:rect l="0" t="0" r="r" b="b"/>
            <a:pathLst>
              <a:path w="91" h="65">
                <a:moveTo>
                  <a:pt x="7" y="65"/>
                </a:moveTo>
                <a:cubicBezTo>
                  <a:pt x="0" y="33"/>
                  <a:pt x="27" y="12"/>
                  <a:pt x="91" y="0"/>
                </a:cubicBezTo>
                <a:cubicBezTo>
                  <a:pt x="91" y="9"/>
                  <a:pt x="91" y="9"/>
                  <a:pt x="91" y="9"/>
                </a:cubicBezTo>
                <a:cubicBezTo>
                  <a:pt x="55" y="14"/>
                  <a:pt x="15" y="31"/>
                  <a:pt x="7" y="65"/>
                </a:cubicBezTo>
                <a:close/>
              </a:path>
            </a:pathLst>
          </a:custGeom>
          <a:gradFill flip="none" rotWithShape="1">
            <a:gsLst>
              <a:gs pos="100000">
                <a:schemeClr val="accent1"/>
              </a:gs>
              <a:gs pos="31000">
                <a:schemeClr val="accent1">
                  <a:lumMod val="60000"/>
                  <a:lumOff val="40000"/>
                </a:schemeClr>
              </a:gs>
              <a:gs pos="0">
                <a:schemeClr val="accent1">
                  <a:lumMod val="40000"/>
                  <a:lumOff val="60000"/>
                </a:schemeClr>
              </a:gs>
            </a:gsLst>
            <a:lin ang="270000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27" name="Freeform 28">
            <a:extLst>
              <a:ext uri="{FF2B5EF4-FFF2-40B4-BE49-F238E27FC236}">
                <a16:creationId xmlns:a16="http://schemas.microsoft.com/office/drawing/2014/main" id="{6633DFCD-52DD-4227-98CE-C38CDD2347FD}"/>
              </a:ext>
            </a:extLst>
          </p:cNvPr>
          <p:cNvSpPr>
            <a:spLocks/>
          </p:cNvSpPr>
          <p:nvPr/>
        </p:nvSpPr>
        <p:spPr bwMode="auto">
          <a:xfrm>
            <a:off x="6766856" y="4369810"/>
            <a:ext cx="590035" cy="637342"/>
          </a:xfrm>
          <a:custGeom>
            <a:avLst/>
            <a:gdLst>
              <a:gd name="T0" fmla="*/ 0 w 449"/>
              <a:gd name="T1" fmla="*/ 485 h 485"/>
              <a:gd name="T2" fmla="*/ 434 w 449"/>
              <a:gd name="T3" fmla="*/ 147 h 485"/>
              <a:gd name="T4" fmla="*/ 449 w 449"/>
              <a:gd name="T5" fmla="*/ 0 h 485"/>
              <a:gd name="T6" fmla="*/ 449 w 449"/>
              <a:gd name="T7" fmla="*/ 0 h 485"/>
              <a:gd name="T8" fmla="*/ 11 w 449"/>
              <a:gd name="T9" fmla="*/ 291 h 485"/>
              <a:gd name="T10" fmla="*/ 0 w 449"/>
              <a:gd name="T11" fmla="*/ 485 h 485"/>
            </a:gdLst>
            <a:ahLst/>
            <a:cxnLst>
              <a:cxn ang="0">
                <a:pos x="T0" y="T1"/>
              </a:cxn>
              <a:cxn ang="0">
                <a:pos x="T2" y="T3"/>
              </a:cxn>
              <a:cxn ang="0">
                <a:pos x="T4" y="T5"/>
              </a:cxn>
              <a:cxn ang="0">
                <a:pos x="T6" y="T7"/>
              </a:cxn>
              <a:cxn ang="0">
                <a:pos x="T8" y="T9"/>
              </a:cxn>
              <a:cxn ang="0">
                <a:pos x="T10" y="T11"/>
              </a:cxn>
            </a:cxnLst>
            <a:rect l="0" t="0" r="r" b="b"/>
            <a:pathLst>
              <a:path w="449" h="485">
                <a:moveTo>
                  <a:pt x="0" y="485"/>
                </a:moveTo>
                <a:lnTo>
                  <a:pt x="434" y="147"/>
                </a:lnTo>
                <a:lnTo>
                  <a:pt x="449" y="0"/>
                </a:lnTo>
                <a:lnTo>
                  <a:pt x="449" y="0"/>
                </a:lnTo>
                <a:lnTo>
                  <a:pt x="11" y="291"/>
                </a:lnTo>
                <a:lnTo>
                  <a:pt x="0" y="485"/>
                </a:lnTo>
                <a:close/>
              </a:path>
            </a:pathLst>
          </a:custGeom>
          <a:gradFill flip="none" rotWithShape="1">
            <a:gsLst>
              <a:gs pos="100000">
                <a:schemeClr val="accent1"/>
              </a:gs>
              <a:gs pos="31000">
                <a:schemeClr val="accent1">
                  <a:lumMod val="60000"/>
                  <a:lumOff val="40000"/>
                </a:schemeClr>
              </a:gs>
              <a:gs pos="0">
                <a:schemeClr val="accent1">
                  <a:lumMod val="40000"/>
                  <a:lumOff val="60000"/>
                </a:schemeClr>
              </a:gs>
            </a:gsLst>
            <a:lin ang="270000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28" name="Freeform 29">
            <a:extLst>
              <a:ext uri="{FF2B5EF4-FFF2-40B4-BE49-F238E27FC236}">
                <a16:creationId xmlns:a16="http://schemas.microsoft.com/office/drawing/2014/main" id="{5922F37A-DACA-4C94-A205-49447A558520}"/>
              </a:ext>
            </a:extLst>
          </p:cNvPr>
          <p:cNvSpPr>
            <a:spLocks/>
          </p:cNvSpPr>
          <p:nvPr/>
        </p:nvSpPr>
        <p:spPr bwMode="auto">
          <a:xfrm>
            <a:off x="6691951" y="4605034"/>
            <a:ext cx="89359" cy="402117"/>
          </a:xfrm>
          <a:custGeom>
            <a:avLst/>
            <a:gdLst>
              <a:gd name="T0" fmla="*/ 0 w 19"/>
              <a:gd name="T1" fmla="*/ 48 h 85"/>
              <a:gd name="T2" fmla="*/ 16 w 19"/>
              <a:gd name="T3" fmla="*/ 85 h 85"/>
              <a:gd name="T4" fmla="*/ 19 w 19"/>
              <a:gd name="T5" fmla="*/ 31 h 85"/>
              <a:gd name="T6" fmla="*/ 2 w 19"/>
              <a:gd name="T7" fmla="*/ 0 h 85"/>
              <a:gd name="T8" fmla="*/ 0 w 19"/>
              <a:gd name="T9" fmla="*/ 48 h 85"/>
            </a:gdLst>
            <a:ahLst/>
            <a:cxnLst>
              <a:cxn ang="0">
                <a:pos x="T0" y="T1"/>
              </a:cxn>
              <a:cxn ang="0">
                <a:pos x="T2" y="T3"/>
              </a:cxn>
              <a:cxn ang="0">
                <a:pos x="T4" y="T5"/>
              </a:cxn>
              <a:cxn ang="0">
                <a:pos x="T6" y="T7"/>
              </a:cxn>
              <a:cxn ang="0">
                <a:pos x="T8" y="T9"/>
              </a:cxn>
            </a:cxnLst>
            <a:rect l="0" t="0" r="r" b="b"/>
            <a:pathLst>
              <a:path w="19" h="85">
                <a:moveTo>
                  <a:pt x="0" y="48"/>
                </a:moveTo>
                <a:cubicBezTo>
                  <a:pt x="3" y="54"/>
                  <a:pt x="15" y="84"/>
                  <a:pt x="16" y="85"/>
                </a:cubicBezTo>
                <a:cubicBezTo>
                  <a:pt x="19" y="31"/>
                  <a:pt x="19" y="31"/>
                  <a:pt x="19" y="31"/>
                </a:cubicBezTo>
                <a:cubicBezTo>
                  <a:pt x="14" y="22"/>
                  <a:pt x="6" y="7"/>
                  <a:pt x="2" y="0"/>
                </a:cubicBezTo>
                <a:lnTo>
                  <a:pt x="0" y="48"/>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29" name="Freeform 33">
            <a:extLst>
              <a:ext uri="{FF2B5EF4-FFF2-40B4-BE49-F238E27FC236}">
                <a16:creationId xmlns:a16="http://schemas.microsoft.com/office/drawing/2014/main" id="{8C97237B-A0D0-4011-A8D2-B8D68CB18DA5}"/>
              </a:ext>
            </a:extLst>
          </p:cNvPr>
          <p:cNvSpPr>
            <a:spLocks/>
          </p:cNvSpPr>
          <p:nvPr/>
        </p:nvSpPr>
        <p:spPr bwMode="auto">
          <a:xfrm>
            <a:off x="3086964" y="3810000"/>
            <a:ext cx="1538288" cy="304800"/>
          </a:xfrm>
          <a:custGeom>
            <a:avLst/>
            <a:gdLst>
              <a:gd name="T0" fmla="*/ 11 w 406"/>
              <a:gd name="T1" fmla="*/ 78 h 78"/>
              <a:gd name="T2" fmla="*/ 23 w 406"/>
              <a:gd name="T3" fmla="*/ 66 h 78"/>
              <a:gd name="T4" fmla="*/ 333 w 406"/>
              <a:gd name="T5" fmla="*/ 66 h 78"/>
              <a:gd name="T6" fmla="*/ 406 w 406"/>
              <a:gd name="T7" fmla="*/ 2 h 78"/>
              <a:gd name="T8" fmla="*/ 404 w 406"/>
              <a:gd name="T9" fmla="*/ 0 h 78"/>
              <a:gd name="T10" fmla="*/ 332 w 406"/>
              <a:gd name="T11" fmla="*/ 64 h 78"/>
              <a:gd name="T12" fmla="*/ 23 w 406"/>
              <a:gd name="T13" fmla="*/ 64 h 78"/>
              <a:gd name="T14" fmla="*/ 11 w 406"/>
              <a:gd name="T15" fmla="*/ 54 h 78"/>
              <a:gd name="T16" fmla="*/ 0 w 406"/>
              <a:gd name="T17" fmla="*/ 66 h 78"/>
              <a:gd name="T18" fmla="*/ 11 w 406"/>
              <a:gd name="T19"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6" h="78">
                <a:moveTo>
                  <a:pt x="11" y="78"/>
                </a:moveTo>
                <a:cubicBezTo>
                  <a:pt x="18" y="78"/>
                  <a:pt x="23" y="72"/>
                  <a:pt x="23" y="66"/>
                </a:cubicBezTo>
                <a:cubicBezTo>
                  <a:pt x="333" y="66"/>
                  <a:pt x="333" y="66"/>
                  <a:pt x="333" y="66"/>
                </a:cubicBezTo>
                <a:cubicBezTo>
                  <a:pt x="406" y="2"/>
                  <a:pt x="406" y="2"/>
                  <a:pt x="406" y="2"/>
                </a:cubicBezTo>
                <a:cubicBezTo>
                  <a:pt x="404" y="0"/>
                  <a:pt x="404" y="0"/>
                  <a:pt x="404" y="0"/>
                </a:cubicBezTo>
                <a:cubicBezTo>
                  <a:pt x="332" y="64"/>
                  <a:pt x="332" y="64"/>
                  <a:pt x="332" y="64"/>
                </a:cubicBezTo>
                <a:cubicBezTo>
                  <a:pt x="23" y="64"/>
                  <a:pt x="23" y="64"/>
                  <a:pt x="23" y="64"/>
                </a:cubicBezTo>
                <a:cubicBezTo>
                  <a:pt x="22" y="58"/>
                  <a:pt x="17" y="54"/>
                  <a:pt x="11" y="54"/>
                </a:cubicBezTo>
                <a:cubicBezTo>
                  <a:pt x="5" y="54"/>
                  <a:pt x="0" y="59"/>
                  <a:pt x="0" y="66"/>
                </a:cubicBezTo>
                <a:cubicBezTo>
                  <a:pt x="0" y="72"/>
                  <a:pt x="5" y="78"/>
                  <a:pt x="11" y="78"/>
                </a:cubicBezTo>
                <a:close/>
              </a:path>
            </a:pathLst>
          </a:custGeom>
          <a:noFill/>
          <a:ln w="12700">
            <a:gradFill>
              <a:gsLst>
                <a:gs pos="17000">
                  <a:schemeClr val="accent1">
                    <a:lumMod val="20000"/>
                    <a:lumOff val="80000"/>
                    <a:alpha val="0"/>
                  </a:schemeClr>
                </a:gs>
                <a:gs pos="100000">
                  <a:schemeClr val="accent1">
                    <a:lumMod val="20000"/>
                    <a:lumOff val="80000"/>
                  </a:schemeClr>
                </a:gs>
              </a:gsLst>
              <a:lin ang="5400000" scaled="1"/>
            </a:grad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sp>
        <p:nvSpPr>
          <p:cNvPr id="30" name="Freeform 33">
            <a:extLst>
              <a:ext uri="{FF2B5EF4-FFF2-40B4-BE49-F238E27FC236}">
                <a16:creationId xmlns:a16="http://schemas.microsoft.com/office/drawing/2014/main" id="{4C04A12E-81D0-475F-BE73-BE4FFC19ECCD}"/>
              </a:ext>
            </a:extLst>
          </p:cNvPr>
          <p:cNvSpPr>
            <a:spLocks/>
          </p:cNvSpPr>
          <p:nvPr/>
        </p:nvSpPr>
        <p:spPr bwMode="auto">
          <a:xfrm flipH="1">
            <a:off x="7119959" y="4452634"/>
            <a:ext cx="1538288" cy="304800"/>
          </a:xfrm>
          <a:custGeom>
            <a:avLst/>
            <a:gdLst>
              <a:gd name="T0" fmla="*/ 11 w 406"/>
              <a:gd name="T1" fmla="*/ 78 h 78"/>
              <a:gd name="T2" fmla="*/ 23 w 406"/>
              <a:gd name="T3" fmla="*/ 66 h 78"/>
              <a:gd name="T4" fmla="*/ 333 w 406"/>
              <a:gd name="T5" fmla="*/ 66 h 78"/>
              <a:gd name="T6" fmla="*/ 406 w 406"/>
              <a:gd name="T7" fmla="*/ 2 h 78"/>
              <a:gd name="T8" fmla="*/ 404 w 406"/>
              <a:gd name="T9" fmla="*/ 0 h 78"/>
              <a:gd name="T10" fmla="*/ 332 w 406"/>
              <a:gd name="T11" fmla="*/ 64 h 78"/>
              <a:gd name="T12" fmla="*/ 23 w 406"/>
              <a:gd name="T13" fmla="*/ 64 h 78"/>
              <a:gd name="T14" fmla="*/ 11 w 406"/>
              <a:gd name="T15" fmla="*/ 54 h 78"/>
              <a:gd name="T16" fmla="*/ 0 w 406"/>
              <a:gd name="T17" fmla="*/ 66 h 78"/>
              <a:gd name="T18" fmla="*/ 11 w 406"/>
              <a:gd name="T19"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6" h="78">
                <a:moveTo>
                  <a:pt x="11" y="78"/>
                </a:moveTo>
                <a:cubicBezTo>
                  <a:pt x="18" y="78"/>
                  <a:pt x="23" y="72"/>
                  <a:pt x="23" y="66"/>
                </a:cubicBezTo>
                <a:cubicBezTo>
                  <a:pt x="333" y="66"/>
                  <a:pt x="333" y="66"/>
                  <a:pt x="333" y="66"/>
                </a:cubicBezTo>
                <a:cubicBezTo>
                  <a:pt x="406" y="2"/>
                  <a:pt x="406" y="2"/>
                  <a:pt x="406" y="2"/>
                </a:cubicBezTo>
                <a:cubicBezTo>
                  <a:pt x="404" y="0"/>
                  <a:pt x="404" y="0"/>
                  <a:pt x="404" y="0"/>
                </a:cubicBezTo>
                <a:cubicBezTo>
                  <a:pt x="332" y="64"/>
                  <a:pt x="332" y="64"/>
                  <a:pt x="332" y="64"/>
                </a:cubicBezTo>
                <a:cubicBezTo>
                  <a:pt x="23" y="64"/>
                  <a:pt x="23" y="64"/>
                  <a:pt x="23" y="64"/>
                </a:cubicBezTo>
                <a:cubicBezTo>
                  <a:pt x="22" y="58"/>
                  <a:pt x="17" y="54"/>
                  <a:pt x="11" y="54"/>
                </a:cubicBezTo>
                <a:cubicBezTo>
                  <a:pt x="5" y="54"/>
                  <a:pt x="0" y="59"/>
                  <a:pt x="0" y="66"/>
                </a:cubicBezTo>
                <a:cubicBezTo>
                  <a:pt x="0" y="72"/>
                  <a:pt x="5" y="78"/>
                  <a:pt x="11" y="78"/>
                </a:cubicBezTo>
                <a:close/>
              </a:path>
            </a:pathLst>
          </a:custGeom>
          <a:noFill/>
          <a:ln w="12700">
            <a:gradFill>
              <a:gsLst>
                <a:gs pos="17000">
                  <a:schemeClr val="accent1">
                    <a:lumMod val="20000"/>
                    <a:lumOff val="80000"/>
                    <a:alpha val="0"/>
                  </a:schemeClr>
                </a:gs>
                <a:gs pos="100000">
                  <a:schemeClr val="accent1">
                    <a:lumMod val="20000"/>
                    <a:lumOff val="80000"/>
                  </a:schemeClr>
                </a:gs>
              </a:gsLst>
              <a:lin ang="5400000" scaled="1"/>
            </a:grad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sp>
        <p:nvSpPr>
          <p:cNvPr id="31" name="Freeform 33">
            <a:extLst>
              <a:ext uri="{FF2B5EF4-FFF2-40B4-BE49-F238E27FC236}">
                <a16:creationId xmlns:a16="http://schemas.microsoft.com/office/drawing/2014/main" id="{158138B2-A4C8-4C65-95E1-F62A8DB22A3B}"/>
              </a:ext>
            </a:extLst>
          </p:cNvPr>
          <p:cNvSpPr>
            <a:spLocks/>
          </p:cNvSpPr>
          <p:nvPr/>
        </p:nvSpPr>
        <p:spPr bwMode="auto">
          <a:xfrm flipV="1">
            <a:off x="4110505" y="2469420"/>
            <a:ext cx="1538288" cy="304800"/>
          </a:xfrm>
          <a:custGeom>
            <a:avLst/>
            <a:gdLst>
              <a:gd name="T0" fmla="*/ 11 w 406"/>
              <a:gd name="T1" fmla="*/ 78 h 78"/>
              <a:gd name="T2" fmla="*/ 23 w 406"/>
              <a:gd name="T3" fmla="*/ 66 h 78"/>
              <a:gd name="T4" fmla="*/ 333 w 406"/>
              <a:gd name="T5" fmla="*/ 66 h 78"/>
              <a:gd name="T6" fmla="*/ 406 w 406"/>
              <a:gd name="T7" fmla="*/ 2 h 78"/>
              <a:gd name="T8" fmla="*/ 404 w 406"/>
              <a:gd name="T9" fmla="*/ 0 h 78"/>
              <a:gd name="T10" fmla="*/ 332 w 406"/>
              <a:gd name="T11" fmla="*/ 64 h 78"/>
              <a:gd name="T12" fmla="*/ 23 w 406"/>
              <a:gd name="T13" fmla="*/ 64 h 78"/>
              <a:gd name="T14" fmla="*/ 11 w 406"/>
              <a:gd name="T15" fmla="*/ 54 h 78"/>
              <a:gd name="T16" fmla="*/ 0 w 406"/>
              <a:gd name="T17" fmla="*/ 66 h 78"/>
              <a:gd name="T18" fmla="*/ 11 w 406"/>
              <a:gd name="T19"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6" h="78">
                <a:moveTo>
                  <a:pt x="11" y="78"/>
                </a:moveTo>
                <a:cubicBezTo>
                  <a:pt x="18" y="78"/>
                  <a:pt x="23" y="72"/>
                  <a:pt x="23" y="66"/>
                </a:cubicBezTo>
                <a:cubicBezTo>
                  <a:pt x="333" y="66"/>
                  <a:pt x="333" y="66"/>
                  <a:pt x="333" y="66"/>
                </a:cubicBezTo>
                <a:cubicBezTo>
                  <a:pt x="406" y="2"/>
                  <a:pt x="406" y="2"/>
                  <a:pt x="406" y="2"/>
                </a:cubicBezTo>
                <a:cubicBezTo>
                  <a:pt x="404" y="0"/>
                  <a:pt x="404" y="0"/>
                  <a:pt x="404" y="0"/>
                </a:cubicBezTo>
                <a:cubicBezTo>
                  <a:pt x="332" y="64"/>
                  <a:pt x="332" y="64"/>
                  <a:pt x="332" y="64"/>
                </a:cubicBezTo>
                <a:cubicBezTo>
                  <a:pt x="23" y="64"/>
                  <a:pt x="23" y="64"/>
                  <a:pt x="23" y="64"/>
                </a:cubicBezTo>
                <a:cubicBezTo>
                  <a:pt x="22" y="58"/>
                  <a:pt x="17" y="54"/>
                  <a:pt x="11" y="54"/>
                </a:cubicBezTo>
                <a:cubicBezTo>
                  <a:pt x="5" y="54"/>
                  <a:pt x="0" y="59"/>
                  <a:pt x="0" y="66"/>
                </a:cubicBezTo>
                <a:cubicBezTo>
                  <a:pt x="0" y="72"/>
                  <a:pt x="5" y="78"/>
                  <a:pt x="11" y="78"/>
                </a:cubicBezTo>
                <a:close/>
              </a:path>
            </a:pathLst>
          </a:custGeom>
          <a:noFill/>
          <a:ln w="12700">
            <a:gradFill>
              <a:gsLst>
                <a:gs pos="17000">
                  <a:schemeClr val="accent1">
                    <a:lumMod val="20000"/>
                    <a:lumOff val="80000"/>
                    <a:alpha val="0"/>
                  </a:schemeClr>
                </a:gs>
                <a:gs pos="100000">
                  <a:schemeClr val="accent1">
                    <a:lumMod val="20000"/>
                    <a:lumOff val="80000"/>
                  </a:schemeClr>
                </a:gs>
              </a:gsLst>
              <a:lin ang="5400000" scaled="1"/>
            </a:grad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sp>
        <p:nvSpPr>
          <p:cNvPr id="32" name="Freeform 33">
            <a:extLst>
              <a:ext uri="{FF2B5EF4-FFF2-40B4-BE49-F238E27FC236}">
                <a16:creationId xmlns:a16="http://schemas.microsoft.com/office/drawing/2014/main" id="{F48EAEA2-0555-4C3A-BF21-B6CB2BF3C077}"/>
              </a:ext>
            </a:extLst>
          </p:cNvPr>
          <p:cNvSpPr>
            <a:spLocks/>
          </p:cNvSpPr>
          <p:nvPr/>
        </p:nvSpPr>
        <p:spPr bwMode="auto">
          <a:xfrm flipH="1" flipV="1">
            <a:off x="7619991" y="2833792"/>
            <a:ext cx="1538288" cy="304800"/>
          </a:xfrm>
          <a:custGeom>
            <a:avLst/>
            <a:gdLst>
              <a:gd name="T0" fmla="*/ 11 w 406"/>
              <a:gd name="T1" fmla="*/ 78 h 78"/>
              <a:gd name="T2" fmla="*/ 23 w 406"/>
              <a:gd name="T3" fmla="*/ 66 h 78"/>
              <a:gd name="T4" fmla="*/ 333 w 406"/>
              <a:gd name="T5" fmla="*/ 66 h 78"/>
              <a:gd name="T6" fmla="*/ 406 w 406"/>
              <a:gd name="T7" fmla="*/ 2 h 78"/>
              <a:gd name="T8" fmla="*/ 404 w 406"/>
              <a:gd name="T9" fmla="*/ 0 h 78"/>
              <a:gd name="T10" fmla="*/ 332 w 406"/>
              <a:gd name="T11" fmla="*/ 64 h 78"/>
              <a:gd name="T12" fmla="*/ 23 w 406"/>
              <a:gd name="T13" fmla="*/ 64 h 78"/>
              <a:gd name="T14" fmla="*/ 11 w 406"/>
              <a:gd name="T15" fmla="*/ 54 h 78"/>
              <a:gd name="T16" fmla="*/ 0 w 406"/>
              <a:gd name="T17" fmla="*/ 66 h 78"/>
              <a:gd name="T18" fmla="*/ 11 w 406"/>
              <a:gd name="T19"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6" h="78">
                <a:moveTo>
                  <a:pt x="11" y="78"/>
                </a:moveTo>
                <a:cubicBezTo>
                  <a:pt x="18" y="78"/>
                  <a:pt x="23" y="72"/>
                  <a:pt x="23" y="66"/>
                </a:cubicBezTo>
                <a:cubicBezTo>
                  <a:pt x="333" y="66"/>
                  <a:pt x="333" y="66"/>
                  <a:pt x="333" y="66"/>
                </a:cubicBezTo>
                <a:cubicBezTo>
                  <a:pt x="406" y="2"/>
                  <a:pt x="406" y="2"/>
                  <a:pt x="406" y="2"/>
                </a:cubicBezTo>
                <a:cubicBezTo>
                  <a:pt x="404" y="0"/>
                  <a:pt x="404" y="0"/>
                  <a:pt x="404" y="0"/>
                </a:cubicBezTo>
                <a:cubicBezTo>
                  <a:pt x="332" y="64"/>
                  <a:pt x="332" y="64"/>
                  <a:pt x="332" y="64"/>
                </a:cubicBezTo>
                <a:cubicBezTo>
                  <a:pt x="23" y="64"/>
                  <a:pt x="23" y="64"/>
                  <a:pt x="23" y="64"/>
                </a:cubicBezTo>
                <a:cubicBezTo>
                  <a:pt x="22" y="58"/>
                  <a:pt x="17" y="54"/>
                  <a:pt x="11" y="54"/>
                </a:cubicBezTo>
                <a:cubicBezTo>
                  <a:pt x="5" y="54"/>
                  <a:pt x="0" y="59"/>
                  <a:pt x="0" y="66"/>
                </a:cubicBezTo>
                <a:cubicBezTo>
                  <a:pt x="0" y="72"/>
                  <a:pt x="5" y="78"/>
                  <a:pt x="11" y="78"/>
                </a:cubicBezTo>
                <a:close/>
              </a:path>
            </a:pathLst>
          </a:custGeom>
          <a:noFill/>
          <a:ln w="12700">
            <a:gradFill>
              <a:gsLst>
                <a:gs pos="17000">
                  <a:schemeClr val="accent1">
                    <a:lumMod val="20000"/>
                    <a:lumOff val="80000"/>
                    <a:alpha val="0"/>
                  </a:schemeClr>
                </a:gs>
                <a:gs pos="100000">
                  <a:schemeClr val="accent1">
                    <a:lumMod val="20000"/>
                    <a:lumOff val="80000"/>
                  </a:schemeClr>
                </a:gs>
              </a:gsLst>
              <a:lin ang="5400000" scaled="1"/>
            </a:grad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sp>
        <p:nvSpPr>
          <p:cNvPr id="37" name="TextBox 43">
            <a:extLst>
              <a:ext uri="{FF2B5EF4-FFF2-40B4-BE49-F238E27FC236}">
                <a16:creationId xmlns:a16="http://schemas.microsoft.com/office/drawing/2014/main" id="{1F9B8704-56DD-4939-92BC-E4DBAC9980A0}"/>
              </a:ext>
            </a:extLst>
          </p:cNvPr>
          <p:cNvSpPr txBox="1"/>
          <p:nvPr/>
        </p:nvSpPr>
        <p:spPr>
          <a:xfrm>
            <a:off x="3145495" y="3590228"/>
            <a:ext cx="825923" cy="439544"/>
          </a:xfrm>
          <a:prstGeom prst="rect">
            <a:avLst/>
          </a:prstGeom>
          <a:noFill/>
        </p:spPr>
        <p:txBody>
          <a:bodyPr wrap="square" lIns="0" tIns="0" rIns="0" bIns="0" rtlCol="0">
            <a:spAutoFit/>
          </a:bodyPr>
          <a:lstStyle/>
          <a:p>
            <a:pPr marL="0" marR="0" lvl="0" indent="0" algn="r" defTabSz="457200" rtl="0" eaLnBrk="1" fontAlgn="base" latinLnBrk="0" hangingPunct="1">
              <a:lnSpc>
                <a:spcPct val="130000"/>
              </a:lnSpc>
              <a:spcBef>
                <a:spcPts val="1000"/>
              </a:spcBef>
              <a:spcAft>
                <a:spcPts val="0"/>
              </a:spcAft>
              <a:buClrTx/>
              <a:buSzTx/>
              <a:buFontTx/>
              <a:buNone/>
              <a:tabLst/>
              <a:defRPr/>
            </a:pPr>
            <a:r>
              <a:rPr kumimoji="0" lang="en-US" sz="2400" b="1" i="0" u="none" strike="noStrike" kern="1200" cap="none" spc="0" normalizeH="0" baseline="0" noProof="0" dirty="0">
                <a:ln>
                  <a:noFill/>
                </a:ln>
                <a:gradFill flip="none" rotWithShape="1">
                  <a:gsLst>
                    <a:gs pos="100000">
                      <a:schemeClr val="accent1"/>
                    </a:gs>
                    <a:gs pos="31000">
                      <a:srgbClr val="5CE0CE">
                        <a:lumMod val="60000"/>
                        <a:lumOff val="40000"/>
                      </a:srgbClr>
                    </a:gs>
                    <a:gs pos="0">
                      <a:srgbClr val="5CE0CE">
                        <a:lumMod val="40000"/>
                        <a:lumOff val="60000"/>
                      </a:srgbClr>
                    </a:gs>
                  </a:gsLst>
                  <a:lin ang="2700000" scaled="1"/>
                  <a:tileRect/>
                </a:gradFill>
                <a:effectLst/>
                <a:uLnTx/>
                <a:uFillTx/>
                <a:latin typeface="Open Sans"/>
                <a:ea typeface="+mn-ea"/>
                <a:cs typeface="+mn-cs"/>
              </a:rPr>
              <a:t>65%</a:t>
            </a:r>
            <a:endParaRPr kumimoji="0" lang="en-US" sz="1200" b="0" i="0" u="none" strike="noStrike" kern="1200" cap="none" spc="0" normalizeH="0" baseline="0" noProof="0" dirty="0">
              <a:ln>
                <a:noFill/>
              </a:ln>
              <a:gradFill flip="none" rotWithShape="1">
                <a:gsLst>
                  <a:gs pos="100000">
                    <a:schemeClr val="accent1"/>
                  </a:gs>
                  <a:gs pos="31000">
                    <a:srgbClr val="5CE0CE">
                      <a:lumMod val="60000"/>
                      <a:lumOff val="40000"/>
                    </a:srgbClr>
                  </a:gs>
                  <a:gs pos="0">
                    <a:srgbClr val="5CE0CE">
                      <a:lumMod val="40000"/>
                      <a:lumOff val="60000"/>
                    </a:srgbClr>
                  </a:gs>
                </a:gsLst>
                <a:lin ang="2700000" scaled="1"/>
                <a:tileRect/>
              </a:gradFill>
              <a:effectLst/>
              <a:uLnTx/>
              <a:uFillTx/>
              <a:latin typeface="Open Sans"/>
              <a:ea typeface="+mn-ea"/>
              <a:cs typeface="+mn-cs"/>
            </a:endParaRPr>
          </a:p>
        </p:txBody>
      </p:sp>
      <p:sp>
        <p:nvSpPr>
          <p:cNvPr id="38" name="TextBox 44">
            <a:extLst>
              <a:ext uri="{FF2B5EF4-FFF2-40B4-BE49-F238E27FC236}">
                <a16:creationId xmlns:a16="http://schemas.microsoft.com/office/drawing/2014/main" id="{CA2808DB-21D7-4DDE-9BBF-F0348EDBBAE4}"/>
              </a:ext>
            </a:extLst>
          </p:cNvPr>
          <p:cNvSpPr txBox="1"/>
          <p:nvPr/>
        </p:nvSpPr>
        <p:spPr>
          <a:xfrm>
            <a:off x="4123333" y="2055145"/>
            <a:ext cx="825923" cy="439544"/>
          </a:xfrm>
          <a:prstGeom prst="rect">
            <a:avLst/>
          </a:prstGeom>
          <a:noFill/>
        </p:spPr>
        <p:txBody>
          <a:bodyPr wrap="square" lIns="0" tIns="0" rIns="0" bIns="0" rtlCol="0">
            <a:spAutoFit/>
          </a:bodyPr>
          <a:lstStyle/>
          <a:p>
            <a:pPr marL="0" marR="0" lvl="0" indent="0" algn="r" defTabSz="457200" rtl="0" eaLnBrk="1" fontAlgn="base" latinLnBrk="0" hangingPunct="1">
              <a:lnSpc>
                <a:spcPct val="130000"/>
              </a:lnSpc>
              <a:spcBef>
                <a:spcPts val="1000"/>
              </a:spcBef>
              <a:spcAft>
                <a:spcPts val="0"/>
              </a:spcAft>
              <a:buClrTx/>
              <a:buSzTx/>
              <a:buFontTx/>
              <a:buNone/>
              <a:tabLst/>
              <a:defRPr/>
            </a:pPr>
            <a:r>
              <a:rPr kumimoji="0" lang="en-US" sz="2400" b="1" i="0" u="none" strike="noStrike" kern="1200" cap="none" spc="0" normalizeH="0" baseline="0" noProof="0" dirty="0">
                <a:ln>
                  <a:noFill/>
                </a:ln>
                <a:gradFill flip="none" rotWithShape="1">
                  <a:gsLst>
                    <a:gs pos="100000">
                      <a:schemeClr val="accent1"/>
                    </a:gs>
                    <a:gs pos="31000">
                      <a:srgbClr val="5CE0CE">
                        <a:lumMod val="60000"/>
                        <a:lumOff val="40000"/>
                      </a:srgbClr>
                    </a:gs>
                    <a:gs pos="0">
                      <a:srgbClr val="5CE0CE">
                        <a:lumMod val="40000"/>
                        <a:lumOff val="60000"/>
                      </a:srgbClr>
                    </a:gs>
                  </a:gsLst>
                  <a:lin ang="2700000" scaled="1"/>
                  <a:tileRect/>
                </a:gradFill>
                <a:effectLst/>
                <a:uLnTx/>
                <a:uFillTx/>
                <a:latin typeface="Open Sans"/>
                <a:ea typeface="+mn-ea"/>
                <a:cs typeface="+mn-cs"/>
              </a:rPr>
              <a:t>75%</a:t>
            </a:r>
            <a:endParaRPr kumimoji="0" lang="en-US" sz="1200" b="0" i="0" u="none" strike="noStrike" kern="1200" cap="none" spc="0" normalizeH="0" baseline="0" noProof="0" dirty="0">
              <a:ln>
                <a:noFill/>
              </a:ln>
              <a:gradFill flip="none" rotWithShape="1">
                <a:gsLst>
                  <a:gs pos="100000">
                    <a:schemeClr val="accent1"/>
                  </a:gs>
                  <a:gs pos="31000">
                    <a:srgbClr val="5CE0CE">
                      <a:lumMod val="60000"/>
                      <a:lumOff val="40000"/>
                    </a:srgbClr>
                  </a:gs>
                  <a:gs pos="0">
                    <a:srgbClr val="5CE0CE">
                      <a:lumMod val="40000"/>
                      <a:lumOff val="60000"/>
                    </a:srgbClr>
                  </a:gs>
                </a:gsLst>
                <a:lin ang="2700000" scaled="1"/>
                <a:tileRect/>
              </a:gradFill>
              <a:effectLst/>
              <a:uLnTx/>
              <a:uFillTx/>
              <a:latin typeface="Open Sans"/>
              <a:ea typeface="+mn-ea"/>
              <a:cs typeface="+mn-cs"/>
            </a:endParaRPr>
          </a:p>
        </p:txBody>
      </p:sp>
      <p:sp>
        <p:nvSpPr>
          <p:cNvPr id="39" name="TextBox 45">
            <a:extLst>
              <a:ext uri="{FF2B5EF4-FFF2-40B4-BE49-F238E27FC236}">
                <a16:creationId xmlns:a16="http://schemas.microsoft.com/office/drawing/2014/main" id="{B1082922-36D2-4718-BCDB-ADB06E5DD20B}"/>
              </a:ext>
            </a:extLst>
          </p:cNvPr>
          <p:cNvSpPr txBox="1"/>
          <p:nvPr/>
        </p:nvSpPr>
        <p:spPr>
          <a:xfrm>
            <a:off x="8120448" y="2432424"/>
            <a:ext cx="825923" cy="439544"/>
          </a:xfrm>
          <a:prstGeom prst="rect">
            <a:avLst/>
          </a:prstGeom>
          <a:noFill/>
        </p:spPr>
        <p:txBody>
          <a:bodyPr wrap="square" lIns="0" tIns="0" rIns="0" bIns="0" rtlCol="0">
            <a:spAutoFit/>
          </a:bodyPr>
          <a:lstStyle/>
          <a:p>
            <a:pPr marL="0" marR="0" lvl="0" indent="0" algn="r" defTabSz="457200" rtl="0" eaLnBrk="1" fontAlgn="base" latinLnBrk="0" hangingPunct="1">
              <a:lnSpc>
                <a:spcPct val="130000"/>
              </a:lnSpc>
              <a:spcBef>
                <a:spcPts val="1000"/>
              </a:spcBef>
              <a:spcAft>
                <a:spcPts val="0"/>
              </a:spcAft>
              <a:buClrTx/>
              <a:buSzTx/>
              <a:buFontTx/>
              <a:buNone/>
              <a:tabLst/>
              <a:defRPr/>
            </a:pPr>
            <a:r>
              <a:rPr kumimoji="0" lang="en-US" sz="2400" b="1" i="0" u="none" strike="noStrike" kern="1200" cap="none" spc="0" normalizeH="0" baseline="0" noProof="0" dirty="0">
                <a:ln>
                  <a:noFill/>
                </a:ln>
                <a:gradFill flip="none" rotWithShape="1">
                  <a:gsLst>
                    <a:gs pos="100000">
                      <a:schemeClr val="accent1"/>
                    </a:gs>
                    <a:gs pos="31000">
                      <a:srgbClr val="5CE0CE">
                        <a:lumMod val="60000"/>
                        <a:lumOff val="40000"/>
                      </a:srgbClr>
                    </a:gs>
                    <a:gs pos="0">
                      <a:srgbClr val="5CE0CE">
                        <a:lumMod val="40000"/>
                        <a:lumOff val="60000"/>
                      </a:srgbClr>
                    </a:gs>
                  </a:gsLst>
                  <a:lin ang="2700000" scaled="1"/>
                  <a:tileRect/>
                </a:gradFill>
                <a:effectLst/>
                <a:uLnTx/>
                <a:uFillTx/>
                <a:latin typeface="Open Sans"/>
                <a:ea typeface="+mn-ea"/>
                <a:cs typeface="+mn-cs"/>
              </a:rPr>
              <a:t>78%</a:t>
            </a:r>
            <a:endParaRPr kumimoji="0" lang="en-US" sz="1200" b="0" i="0" u="none" strike="noStrike" kern="1200" cap="none" spc="0" normalizeH="0" baseline="0" noProof="0" dirty="0">
              <a:ln>
                <a:noFill/>
              </a:ln>
              <a:gradFill flip="none" rotWithShape="1">
                <a:gsLst>
                  <a:gs pos="100000">
                    <a:schemeClr val="accent1"/>
                  </a:gs>
                  <a:gs pos="31000">
                    <a:srgbClr val="5CE0CE">
                      <a:lumMod val="60000"/>
                      <a:lumOff val="40000"/>
                    </a:srgbClr>
                  </a:gs>
                  <a:gs pos="0">
                    <a:srgbClr val="5CE0CE">
                      <a:lumMod val="40000"/>
                      <a:lumOff val="60000"/>
                    </a:srgbClr>
                  </a:gs>
                </a:gsLst>
                <a:lin ang="2700000" scaled="1"/>
                <a:tileRect/>
              </a:gradFill>
              <a:effectLst/>
              <a:uLnTx/>
              <a:uFillTx/>
              <a:latin typeface="Open Sans"/>
              <a:ea typeface="+mn-ea"/>
              <a:cs typeface="+mn-cs"/>
            </a:endParaRPr>
          </a:p>
        </p:txBody>
      </p:sp>
      <p:sp>
        <p:nvSpPr>
          <p:cNvPr id="40" name="TextBox 46">
            <a:extLst>
              <a:ext uri="{FF2B5EF4-FFF2-40B4-BE49-F238E27FC236}">
                <a16:creationId xmlns:a16="http://schemas.microsoft.com/office/drawing/2014/main" id="{92470C36-C6B3-4A81-A661-A5FB91B17B71}"/>
              </a:ext>
            </a:extLst>
          </p:cNvPr>
          <p:cNvSpPr txBox="1"/>
          <p:nvPr/>
        </p:nvSpPr>
        <p:spPr>
          <a:xfrm>
            <a:off x="7662684" y="4261637"/>
            <a:ext cx="825923" cy="439544"/>
          </a:xfrm>
          <a:prstGeom prst="rect">
            <a:avLst/>
          </a:prstGeom>
          <a:noFill/>
        </p:spPr>
        <p:txBody>
          <a:bodyPr wrap="square" lIns="0" tIns="0" rIns="0" bIns="0" rtlCol="0">
            <a:spAutoFit/>
          </a:bodyPr>
          <a:lstStyle/>
          <a:p>
            <a:pPr marL="0" marR="0" lvl="0" indent="0" algn="r" defTabSz="457200" rtl="0" eaLnBrk="1" fontAlgn="base" latinLnBrk="0" hangingPunct="1">
              <a:lnSpc>
                <a:spcPct val="130000"/>
              </a:lnSpc>
              <a:spcBef>
                <a:spcPts val="1000"/>
              </a:spcBef>
              <a:spcAft>
                <a:spcPts val="0"/>
              </a:spcAft>
              <a:buClrTx/>
              <a:buSzTx/>
              <a:buFontTx/>
              <a:buNone/>
              <a:tabLst/>
              <a:defRPr/>
            </a:pPr>
            <a:r>
              <a:rPr kumimoji="0" lang="en-US" sz="2400" b="1" i="0" u="none" strike="noStrike" kern="1200" cap="none" spc="0" normalizeH="0" baseline="0" noProof="0" dirty="0">
                <a:ln>
                  <a:noFill/>
                </a:ln>
                <a:gradFill flip="none" rotWithShape="1">
                  <a:gsLst>
                    <a:gs pos="100000">
                      <a:schemeClr val="accent1"/>
                    </a:gs>
                    <a:gs pos="31000">
                      <a:srgbClr val="5CE0CE">
                        <a:lumMod val="60000"/>
                        <a:lumOff val="40000"/>
                      </a:srgbClr>
                    </a:gs>
                    <a:gs pos="0">
                      <a:srgbClr val="5CE0CE">
                        <a:lumMod val="40000"/>
                        <a:lumOff val="60000"/>
                      </a:srgbClr>
                    </a:gs>
                  </a:gsLst>
                  <a:lin ang="2700000" scaled="1"/>
                  <a:tileRect/>
                </a:gradFill>
                <a:effectLst/>
                <a:uLnTx/>
                <a:uFillTx/>
                <a:latin typeface="Open Sans"/>
                <a:ea typeface="+mn-ea"/>
                <a:cs typeface="+mn-cs"/>
              </a:rPr>
              <a:t>98%</a:t>
            </a:r>
            <a:endParaRPr kumimoji="0" lang="en-US" sz="1200" b="0" i="0" u="none" strike="noStrike" kern="1200" cap="none" spc="0" normalizeH="0" baseline="0" noProof="0" dirty="0">
              <a:ln>
                <a:noFill/>
              </a:ln>
              <a:gradFill flip="none" rotWithShape="1">
                <a:gsLst>
                  <a:gs pos="100000">
                    <a:schemeClr val="accent1"/>
                  </a:gs>
                  <a:gs pos="31000">
                    <a:srgbClr val="5CE0CE">
                      <a:lumMod val="60000"/>
                      <a:lumOff val="40000"/>
                    </a:srgbClr>
                  </a:gs>
                  <a:gs pos="0">
                    <a:srgbClr val="5CE0CE">
                      <a:lumMod val="40000"/>
                      <a:lumOff val="60000"/>
                    </a:srgbClr>
                  </a:gs>
                </a:gsLst>
                <a:lin ang="2700000" scaled="1"/>
                <a:tileRect/>
              </a:gradFill>
              <a:effectLst/>
              <a:uLnTx/>
              <a:uFillTx/>
              <a:latin typeface="Open Sans"/>
              <a:ea typeface="+mn-ea"/>
              <a:cs typeface="+mn-cs"/>
            </a:endParaRPr>
          </a:p>
        </p:txBody>
      </p:sp>
      <p:sp>
        <p:nvSpPr>
          <p:cNvPr id="41" name="TextBox 47">
            <a:extLst>
              <a:ext uri="{FF2B5EF4-FFF2-40B4-BE49-F238E27FC236}">
                <a16:creationId xmlns:a16="http://schemas.microsoft.com/office/drawing/2014/main" id="{E538B47E-4778-416E-AC6C-390B302B7AB3}"/>
              </a:ext>
            </a:extLst>
          </p:cNvPr>
          <p:cNvSpPr txBox="1"/>
          <p:nvPr/>
        </p:nvSpPr>
        <p:spPr>
          <a:xfrm>
            <a:off x="4391932" y="3356317"/>
            <a:ext cx="424457" cy="366319"/>
          </a:xfrm>
          <a:prstGeom prst="rect">
            <a:avLst/>
          </a:prstGeom>
          <a:noFill/>
        </p:spPr>
        <p:txBody>
          <a:bodyPr wrap="square" lIns="0" tIns="0" rIns="0" bIns="0" rtlCol="0">
            <a:spAutoFit/>
          </a:bodyPr>
          <a:lstStyle/>
          <a:p>
            <a:pPr marL="0" marR="0" lvl="0" indent="0" algn="ctr" defTabSz="457200" rtl="0" eaLnBrk="1" fontAlgn="base" latinLnBrk="0" hangingPunct="1">
              <a:lnSpc>
                <a:spcPct val="130000"/>
              </a:lnSpc>
              <a:spcBef>
                <a:spcPts val="1000"/>
              </a:spcBef>
              <a:spcAft>
                <a:spcPts val="0"/>
              </a:spcAft>
              <a:buClrTx/>
              <a:buSzTx/>
              <a:buFontTx/>
              <a:buNone/>
              <a:tabLst/>
              <a:defRPr/>
            </a:pPr>
            <a:r>
              <a:rPr kumimoji="0" lang="en-US" sz="2000" b="1" i="0" u="none" strike="noStrike" kern="1200" cap="none" spc="0" normalizeH="0" baseline="0" noProof="0" dirty="0">
                <a:ln>
                  <a:noFill/>
                </a:ln>
                <a:solidFill>
                  <a:srgbClr val="FFFFFF"/>
                </a:solidFill>
                <a:effectLst/>
                <a:uLnTx/>
                <a:uFillTx/>
                <a:latin typeface="HarmonyOS Sans SC"/>
                <a:cs typeface="+mn-cs"/>
              </a:rPr>
              <a:t>D</a:t>
            </a:r>
            <a:endParaRPr kumimoji="0" lang="en-US" sz="1100" b="0" i="0" u="none" strike="noStrike" kern="1200" cap="none" spc="0" normalizeH="0" baseline="0" noProof="0" dirty="0">
              <a:ln>
                <a:noFill/>
              </a:ln>
              <a:solidFill>
                <a:srgbClr val="FFFFFF"/>
              </a:solidFill>
              <a:effectLst/>
              <a:uLnTx/>
              <a:uFillTx/>
              <a:latin typeface="HarmonyOS Sans SC"/>
              <a:cs typeface="+mn-cs"/>
            </a:endParaRPr>
          </a:p>
        </p:txBody>
      </p:sp>
      <p:sp>
        <p:nvSpPr>
          <p:cNvPr id="42" name="TextBox 48">
            <a:extLst>
              <a:ext uri="{FF2B5EF4-FFF2-40B4-BE49-F238E27FC236}">
                <a16:creationId xmlns:a16="http://schemas.microsoft.com/office/drawing/2014/main" id="{D7B845E2-4C1E-44FA-A556-6806439EBE2A}"/>
              </a:ext>
            </a:extLst>
          </p:cNvPr>
          <p:cNvSpPr txBox="1"/>
          <p:nvPr/>
        </p:nvSpPr>
        <p:spPr>
          <a:xfrm>
            <a:off x="6318744" y="2933831"/>
            <a:ext cx="424457" cy="366319"/>
          </a:xfrm>
          <a:prstGeom prst="rect">
            <a:avLst/>
          </a:prstGeom>
          <a:noFill/>
        </p:spPr>
        <p:txBody>
          <a:bodyPr wrap="square" lIns="0" tIns="0" rIns="0" bIns="0" rtlCol="0">
            <a:spAutoFit/>
          </a:bodyPr>
          <a:lstStyle/>
          <a:p>
            <a:pPr marL="0" marR="0" lvl="0" indent="0" algn="ctr" defTabSz="457200" rtl="0" eaLnBrk="1" fontAlgn="base" latinLnBrk="0" hangingPunct="1">
              <a:lnSpc>
                <a:spcPct val="130000"/>
              </a:lnSpc>
              <a:spcBef>
                <a:spcPts val="1000"/>
              </a:spcBef>
              <a:spcAft>
                <a:spcPts val="0"/>
              </a:spcAft>
              <a:buClrTx/>
              <a:buSzTx/>
              <a:buFontTx/>
              <a:buNone/>
              <a:tabLst/>
              <a:defRPr/>
            </a:pPr>
            <a:r>
              <a:rPr kumimoji="0" lang="en-US" sz="2000" b="1" i="0" u="none" strike="noStrike" kern="1200" cap="none" spc="0" normalizeH="0" baseline="0" noProof="0">
                <a:ln>
                  <a:noFill/>
                </a:ln>
                <a:solidFill>
                  <a:srgbClr val="FFFFFF"/>
                </a:solidFill>
                <a:effectLst/>
                <a:uLnTx/>
                <a:uFillTx/>
                <a:latin typeface="HarmonyOS Sans SC"/>
                <a:cs typeface="+mn-cs"/>
              </a:rPr>
              <a:t>A</a:t>
            </a:r>
            <a:endParaRPr kumimoji="0" lang="en-US" sz="1100" b="0" i="0" u="none" strike="noStrike" kern="1200" cap="none" spc="0" normalizeH="0" baseline="0" noProof="0" dirty="0">
              <a:ln>
                <a:noFill/>
              </a:ln>
              <a:solidFill>
                <a:srgbClr val="FFFFFF"/>
              </a:solidFill>
              <a:effectLst/>
              <a:uLnTx/>
              <a:uFillTx/>
              <a:latin typeface="HarmonyOS Sans SC"/>
              <a:cs typeface="+mn-cs"/>
            </a:endParaRPr>
          </a:p>
        </p:txBody>
      </p:sp>
      <p:sp>
        <p:nvSpPr>
          <p:cNvPr id="43" name="TextBox 49">
            <a:extLst>
              <a:ext uri="{FF2B5EF4-FFF2-40B4-BE49-F238E27FC236}">
                <a16:creationId xmlns:a16="http://schemas.microsoft.com/office/drawing/2014/main" id="{C24ADC15-227C-4215-A5C4-FDA4CA84A420}"/>
              </a:ext>
            </a:extLst>
          </p:cNvPr>
          <p:cNvSpPr txBox="1"/>
          <p:nvPr/>
        </p:nvSpPr>
        <p:spPr>
          <a:xfrm>
            <a:off x="7446754" y="3217785"/>
            <a:ext cx="424457" cy="366319"/>
          </a:xfrm>
          <a:prstGeom prst="rect">
            <a:avLst/>
          </a:prstGeom>
          <a:noFill/>
        </p:spPr>
        <p:txBody>
          <a:bodyPr wrap="square" lIns="0" tIns="0" rIns="0" bIns="0" rtlCol="0">
            <a:spAutoFit/>
          </a:bodyPr>
          <a:lstStyle/>
          <a:p>
            <a:pPr marL="0" marR="0" lvl="0" indent="0" algn="ctr" defTabSz="457200" rtl="0" eaLnBrk="1" fontAlgn="base" latinLnBrk="0" hangingPunct="1">
              <a:lnSpc>
                <a:spcPct val="130000"/>
              </a:lnSpc>
              <a:spcBef>
                <a:spcPts val="1000"/>
              </a:spcBef>
              <a:spcAft>
                <a:spcPts val="0"/>
              </a:spcAft>
              <a:buClrTx/>
              <a:buSzTx/>
              <a:buFontTx/>
              <a:buNone/>
              <a:tabLst/>
              <a:defRPr/>
            </a:pPr>
            <a:r>
              <a:rPr kumimoji="0" lang="en-US" sz="2000" b="1" i="0" u="none" strike="noStrike" kern="1200" cap="none" spc="0" normalizeH="0" baseline="0" noProof="0">
                <a:ln>
                  <a:noFill/>
                </a:ln>
                <a:solidFill>
                  <a:srgbClr val="FFFFFF"/>
                </a:solidFill>
                <a:effectLst/>
                <a:uLnTx/>
                <a:uFillTx/>
                <a:latin typeface="HarmonyOS Sans SC"/>
                <a:cs typeface="+mn-cs"/>
              </a:rPr>
              <a:t>B</a:t>
            </a:r>
            <a:endParaRPr kumimoji="0" lang="en-US" sz="1100" b="0" i="0" u="none" strike="noStrike" kern="1200" cap="none" spc="0" normalizeH="0" baseline="0" noProof="0" dirty="0">
              <a:ln>
                <a:noFill/>
              </a:ln>
              <a:solidFill>
                <a:srgbClr val="FFFFFF"/>
              </a:solidFill>
              <a:effectLst/>
              <a:uLnTx/>
              <a:uFillTx/>
              <a:latin typeface="HarmonyOS Sans SC"/>
              <a:cs typeface="+mn-cs"/>
            </a:endParaRPr>
          </a:p>
        </p:txBody>
      </p:sp>
      <p:sp>
        <p:nvSpPr>
          <p:cNvPr id="44" name="TextBox 50">
            <a:extLst>
              <a:ext uri="{FF2B5EF4-FFF2-40B4-BE49-F238E27FC236}">
                <a16:creationId xmlns:a16="http://schemas.microsoft.com/office/drawing/2014/main" id="{307FF716-CE78-4768-A586-8D39C6A61CFA}"/>
              </a:ext>
            </a:extLst>
          </p:cNvPr>
          <p:cNvSpPr txBox="1"/>
          <p:nvPr/>
        </p:nvSpPr>
        <p:spPr>
          <a:xfrm>
            <a:off x="5495456" y="3877361"/>
            <a:ext cx="424457" cy="366319"/>
          </a:xfrm>
          <a:prstGeom prst="rect">
            <a:avLst/>
          </a:prstGeom>
          <a:noFill/>
        </p:spPr>
        <p:txBody>
          <a:bodyPr wrap="square" lIns="0" tIns="0" rIns="0" bIns="0" rtlCol="0">
            <a:spAutoFit/>
          </a:bodyPr>
          <a:lstStyle/>
          <a:p>
            <a:pPr marL="0" marR="0" lvl="0" indent="0" algn="ctr" defTabSz="457200" rtl="0" eaLnBrk="1" fontAlgn="base" latinLnBrk="0" hangingPunct="1">
              <a:lnSpc>
                <a:spcPct val="130000"/>
              </a:lnSpc>
              <a:spcBef>
                <a:spcPts val="1000"/>
              </a:spcBef>
              <a:spcAft>
                <a:spcPts val="0"/>
              </a:spcAft>
              <a:buClrTx/>
              <a:buSzTx/>
              <a:buFontTx/>
              <a:buNone/>
              <a:tabLst/>
              <a:defRPr/>
            </a:pPr>
            <a:r>
              <a:rPr kumimoji="0" lang="en-US" sz="2000" b="1" i="0" u="none" strike="noStrike" kern="1200" cap="none" spc="0" normalizeH="0" baseline="0" noProof="0" dirty="0">
                <a:ln>
                  <a:noFill/>
                </a:ln>
                <a:solidFill>
                  <a:srgbClr val="FFFFFF"/>
                </a:solidFill>
                <a:effectLst/>
                <a:uLnTx/>
                <a:uFillTx/>
                <a:latin typeface="HarmonyOS Sans SC"/>
                <a:cs typeface="+mn-cs"/>
              </a:rPr>
              <a:t>C</a:t>
            </a:r>
            <a:endParaRPr kumimoji="0" lang="en-US" sz="1100" b="0" i="0" u="none" strike="noStrike" kern="1200" cap="none" spc="0" normalizeH="0" baseline="0" noProof="0" dirty="0">
              <a:ln>
                <a:noFill/>
              </a:ln>
              <a:solidFill>
                <a:srgbClr val="FFFFFF"/>
              </a:solidFill>
              <a:effectLst/>
              <a:uLnTx/>
              <a:uFillTx/>
              <a:latin typeface="HarmonyOS Sans SC"/>
              <a:cs typeface="+mn-cs"/>
            </a:endParaRPr>
          </a:p>
        </p:txBody>
      </p:sp>
      <p:grpSp>
        <p:nvGrpSpPr>
          <p:cNvPr id="75" name="组合 74">
            <a:extLst>
              <a:ext uri="{FF2B5EF4-FFF2-40B4-BE49-F238E27FC236}">
                <a16:creationId xmlns:a16="http://schemas.microsoft.com/office/drawing/2014/main" id="{3A0832DF-21C7-479C-85CF-7DDC7733B395}"/>
              </a:ext>
            </a:extLst>
          </p:cNvPr>
          <p:cNvGrpSpPr/>
          <p:nvPr/>
        </p:nvGrpSpPr>
        <p:grpSpPr>
          <a:xfrm>
            <a:off x="9332829" y="2431166"/>
            <a:ext cx="2056262" cy="881603"/>
            <a:chOff x="9332829" y="2431166"/>
            <a:chExt cx="2056262" cy="881603"/>
          </a:xfrm>
        </p:grpSpPr>
        <p:sp>
          <p:nvSpPr>
            <p:cNvPr id="62" name="TextBox 65">
              <a:extLst>
                <a:ext uri="{FF2B5EF4-FFF2-40B4-BE49-F238E27FC236}">
                  <a16:creationId xmlns:a16="http://schemas.microsoft.com/office/drawing/2014/main" id="{B3F78AD8-7A29-41FA-BECA-C951C50C9047}"/>
                </a:ext>
              </a:extLst>
            </p:cNvPr>
            <p:cNvSpPr txBox="1"/>
            <p:nvPr/>
          </p:nvSpPr>
          <p:spPr>
            <a:xfrm flipH="1">
              <a:off x="9332830" y="2431166"/>
              <a:ext cx="2056261" cy="387598"/>
            </a:xfrm>
            <a:prstGeom prst="rect">
              <a:avLst/>
            </a:prstGeom>
            <a:noFill/>
          </p:spPr>
          <p:txBody>
            <a:bodyPr wrap="square" lIns="0" tIns="36000" rIns="0" bIns="36000" rtlCol="0">
              <a:spAutoFit/>
            </a:bodyPr>
            <a:lstStyle/>
            <a:p>
              <a:pPr marL="0" marR="0" lvl="0" indent="0" algn="l" defTabSz="914400" rtl="0" eaLnBrk="1" fontAlgn="auto" latinLnBrk="0" hangingPunct="1">
                <a:lnSpc>
                  <a:spcPct val="120000"/>
                </a:lnSpc>
                <a:spcBef>
                  <a:spcPts val="600"/>
                </a:spcBef>
                <a:spcAft>
                  <a:spcPts val="0"/>
                </a:spcAft>
                <a:buClrTx/>
                <a:buSzTx/>
                <a:buFontTx/>
                <a:buNone/>
                <a:tabLst/>
                <a:defRPr/>
              </a:pPr>
              <a:r>
                <a:rPr kumimoji="0" lang="zh-CN" altLang="en-US" sz="1800" b="0" i="0" u="none" strike="noStrike" kern="1200" cap="none" spc="0" normalizeH="0" baseline="0" noProof="0" dirty="0">
                  <a:ln>
                    <a:noFill/>
                  </a:ln>
                  <a:solidFill>
                    <a:prstClr val="black">
                      <a:lumMod val="75000"/>
                      <a:lumOff val="25000"/>
                    </a:prstClr>
                  </a:solidFill>
                  <a:effectLst/>
                  <a:uLnTx/>
                  <a:uFillTx/>
                  <a:latin typeface="HarmonyOS Sans SC Black"/>
                  <a:ea typeface="+mj-ea"/>
                  <a:cs typeface="+mn-cs"/>
                </a:rPr>
                <a:t>关键词标题</a:t>
              </a:r>
              <a:endParaRPr kumimoji="0" lang="en-US" sz="1800" b="0" i="0" u="none" strike="noStrike" kern="1200" cap="none" spc="0" normalizeH="0" baseline="0" noProof="0" dirty="0">
                <a:ln>
                  <a:noFill/>
                </a:ln>
                <a:solidFill>
                  <a:prstClr val="black">
                    <a:lumMod val="75000"/>
                    <a:lumOff val="25000"/>
                  </a:prstClr>
                </a:solidFill>
                <a:effectLst/>
                <a:uLnTx/>
                <a:uFillTx/>
                <a:latin typeface="HarmonyOS Sans SC Black"/>
                <a:ea typeface="+mj-ea"/>
                <a:cs typeface="+mn-cs"/>
              </a:endParaRPr>
            </a:p>
          </p:txBody>
        </p:sp>
        <p:sp>
          <p:nvSpPr>
            <p:cNvPr id="63" name="TextBox 65">
              <a:extLst>
                <a:ext uri="{FF2B5EF4-FFF2-40B4-BE49-F238E27FC236}">
                  <a16:creationId xmlns:a16="http://schemas.microsoft.com/office/drawing/2014/main" id="{36ABD487-868F-47FE-AF43-CEE9625D2CA0}"/>
                </a:ext>
              </a:extLst>
            </p:cNvPr>
            <p:cNvSpPr txBox="1"/>
            <p:nvPr/>
          </p:nvSpPr>
          <p:spPr>
            <a:xfrm flipH="1">
              <a:off x="9332829" y="2814565"/>
              <a:ext cx="1987912" cy="498204"/>
            </a:xfrm>
            <a:prstGeom prst="rect">
              <a:avLst/>
            </a:prstGeom>
            <a:noFill/>
          </p:spPr>
          <p:txBody>
            <a:bodyPr wrap="square" lIns="0" tIns="36000" rIns="0" bIns="36000" rtlCol="0">
              <a:spAutoFit/>
            </a:bodyPr>
            <a:lstStyle/>
            <a:p>
              <a:pPr marL="0" marR="0" lvl="0" indent="0" algn="l" defTabSz="914400" rtl="0" eaLnBrk="1" fontAlgn="auto" latinLnBrk="0" hangingPunct="1">
                <a:lnSpc>
                  <a:spcPct val="120000"/>
                </a:lnSpc>
                <a:spcBef>
                  <a:spcPts val="600"/>
                </a:spcBef>
                <a:spcAft>
                  <a:spcPts val="0"/>
                </a:spcAft>
                <a:buClrTx/>
                <a:buSzTx/>
                <a:buFontTx/>
                <a:buNone/>
                <a:tabLst/>
                <a:defRPr/>
              </a:pPr>
              <a:r>
                <a:rPr kumimoji="0" lang="en-US" sz="1200" b="0" i="0" u="none" strike="noStrike" kern="1200" cap="none" spc="0" normalizeH="0" baseline="0" noProof="0" dirty="0">
                  <a:ln>
                    <a:noFill/>
                  </a:ln>
                  <a:solidFill>
                    <a:prstClr val="black">
                      <a:lumMod val="50000"/>
                      <a:lumOff val="50000"/>
                    </a:prstClr>
                  </a:solidFill>
                  <a:effectLst/>
                  <a:uLnTx/>
                  <a:uFillTx/>
                  <a:latin typeface="HarmonyOS Sans SC"/>
                  <a:cs typeface="+mn-cs"/>
                </a:rPr>
                <a:t>Apparently we had reached a great height in the.</a:t>
              </a:r>
            </a:p>
          </p:txBody>
        </p:sp>
      </p:grpSp>
      <p:sp>
        <p:nvSpPr>
          <p:cNvPr id="65" name="TextBox 65">
            <a:extLst>
              <a:ext uri="{FF2B5EF4-FFF2-40B4-BE49-F238E27FC236}">
                <a16:creationId xmlns:a16="http://schemas.microsoft.com/office/drawing/2014/main" id="{EE9333B8-02FC-46DC-9566-07854472633E}"/>
              </a:ext>
            </a:extLst>
          </p:cNvPr>
          <p:cNvSpPr txBox="1"/>
          <p:nvPr/>
        </p:nvSpPr>
        <p:spPr>
          <a:xfrm flipH="1">
            <a:off x="8803723" y="4300075"/>
            <a:ext cx="2056261" cy="387598"/>
          </a:xfrm>
          <a:prstGeom prst="rect">
            <a:avLst/>
          </a:prstGeom>
          <a:noFill/>
        </p:spPr>
        <p:txBody>
          <a:bodyPr wrap="square" lIns="0" tIns="36000" rIns="0" bIns="36000" rtlCol="0">
            <a:spAutoFit/>
          </a:bodyPr>
          <a:lstStyle/>
          <a:p>
            <a:pPr marL="0" marR="0" lvl="0" indent="0" algn="l" defTabSz="914400" rtl="0" eaLnBrk="1" fontAlgn="auto" latinLnBrk="0" hangingPunct="1">
              <a:lnSpc>
                <a:spcPct val="120000"/>
              </a:lnSpc>
              <a:spcBef>
                <a:spcPts val="600"/>
              </a:spcBef>
              <a:spcAft>
                <a:spcPts val="0"/>
              </a:spcAft>
              <a:buClrTx/>
              <a:buSzTx/>
              <a:buFontTx/>
              <a:buNone/>
              <a:tabLst/>
              <a:defRPr/>
            </a:pPr>
            <a:r>
              <a:rPr kumimoji="0" lang="zh-CN" altLang="en-US" sz="1800" b="0" i="0" u="none" strike="noStrike" kern="1200" cap="none" spc="0" normalizeH="0" baseline="0" noProof="0" dirty="0">
                <a:ln>
                  <a:noFill/>
                </a:ln>
                <a:solidFill>
                  <a:prstClr val="black">
                    <a:lumMod val="75000"/>
                    <a:lumOff val="25000"/>
                  </a:prstClr>
                </a:solidFill>
                <a:effectLst/>
                <a:uLnTx/>
                <a:uFillTx/>
                <a:latin typeface="HarmonyOS Sans SC Black"/>
                <a:ea typeface="+mj-ea"/>
                <a:cs typeface="+mn-cs"/>
              </a:rPr>
              <a:t>关键词标题</a:t>
            </a:r>
            <a:endParaRPr kumimoji="0" lang="en-US" sz="1800" b="0" i="0" u="none" strike="noStrike" kern="1200" cap="none" spc="0" normalizeH="0" baseline="0" noProof="0" dirty="0">
              <a:ln>
                <a:noFill/>
              </a:ln>
              <a:solidFill>
                <a:prstClr val="black">
                  <a:lumMod val="75000"/>
                  <a:lumOff val="25000"/>
                </a:prstClr>
              </a:solidFill>
              <a:effectLst/>
              <a:uLnTx/>
              <a:uFillTx/>
              <a:latin typeface="HarmonyOS Sans SC Black"/>
              <a:ea typeface="+mj-ea"/>
              <a:cs typeface="+mn-cs"/>
            </a:endParaRPr>
          </a:p>
        </p:txBody>
      </p:sp>
      <p:sp>
        <p:nvSpPr>
          <p:cNvPr id="66" name="TextBox 65">
            <a:extLst>
              <a:ext uri="{FF2B5EF4-FFF2-40B4-BE49-F238E27FC236}">
                <a16:creationId xmlns:a16="http://schemas.microsoft.com/office/drawing/2014/main" id="{6D95089A-52D5-4519-899B-B46EFAA6010F}"/>
              </a:ext>
            </a:extLst>
          </p:cNvPr>
          <p:cNvSpPr txBox="1"/>
          <p:nvPr/>
        </p:nvSpPr>
        <p:spPr>
          <a:xfrm flipH="1">
            <a:off x="8803722" y="4683474"/>
            <a:ext cx="1965878" cy="498204"/>
          </a:xfrm>
          <a:prstGeom prst="rect">
            <a:avLst/>
          </a:prstGeom>
          <a:noFill/>
        </p:spPr>
        <p:txBody>
          <a:bodyPr wrap="square" lIns="0" tIns="36000" rIns="0" bIns="36000" rtlCol="0">
            <a:spAutoFit/>
          </a:bodyPr>
          <a:lstStyle/>
          <a:p>
            <a:pPr marL="0" marR="0" lvl="0" indent="0" algn="l" defTabSz="914400" rtl="0" eaLnBrk="1" fontAlgn="auto" latinLnBrk="0" hangingPunct="1">
              <a:lnSpc>
                <a:spcPct val="120000"/>
              </a:lnSpc>
              <a:spcBef>
                <a:spcPts val="600"/>
              </a:spcBef>
              <a:spcAft>
                <a:spcPts val="0"/>
              </a:spcAft>
              <a:buClrTx/>
              <a:buSzTx/>
              <a:buFontTx/>
              <a:buNone/>
              <a:tabLst/>
              <a:defRPr/>
            </a:pPr>
            <a:r>
              <a:rPr kumimoji="0" lang="en-US" sz="1200" b="0" i="0" u="none" strike="noStrike" kern="1200" cap="none" spc="0" normalizeH="0" baseline="0" noProof="0" dirty="0">
                <a:ln>
                  <a:noFill/>
                </a:ln>
                <a:solidFill>
                  <a:prstClr val="black">
                    <a:lumMod val="50000"/>
                    <a:lumOff val="50000"/>
                  </a:prstClr>
                </a:solidFill>
                <a:effectLst/>
                <a:uLnTx/>
                <a:uFillTx/>
                <a:latin typeface="HarmonyOS Sans SC"/>
                <a:cs typeface="+mn-cs"/>
              </a:rPr>
              <a:t>Apparently we had reached a great height in the.</a:t>
            </a:r>
          </a:p>
        </p:txBody>
      </p:sp>
      <p:sp>
        <p:nvSpPr>
          <p:cNvPr id="67" name="TextBox 65">
            <a:extLst>
              <a:ext uri="{FF2B5EF4-FFF2-40B4-BE49-F238E27FC236}">
                <a16:creationId xmlns:a16="http://schemas.microsoft.com/office/drawing/2014/main" id="{85D16156-8AD7-437C-BF77-39CB64F1AA86}"/>
              </a:ext>
            </a:extLst>
          </p:cNvPr>
          <p:cNvSpPr txBox="1"/>
          <p:nvPr/>
        </p:nvSpPr>
        <p:spPr>
          <a:xfrm>
            <a:off x="1740216" y="2076566"/>
            <a:ext cx="2056261" cy="387598"/>
          </a:xfrm>
          <a:prstGeom prst="rect">
            <a:avLst/>
          </a:prstGeom>
          <a:noFill/>
        </p:spPr>
        <p:txBody>
          <a:bodyPr wrap="square" lIns="0" tIns="36000" rIns="0" bIns="36000" rtlCol="0">
            <a:spAutoFit/>
          </a:bodyPr>
          <a:lstStyle/>
          <a:p>
            <a:pPr marL="0" marR="0" lvl="0" indent="0" algn="r" defTabSz="914400" rtl="0" eaLnBrk="1" fontAlgn="auto" latinLnBrk="0" hangingPunct="1">
              <a:lnSpc>
                <a:spcPct val="120000"/>
              </a:lnSpc>
              <a:spcBef>
                <a:spcPts val="600"/>
              </a:spcBef>
              <a:spcAft>
                <a:spcPts val="0"/>
              </a:spcAft>
              <a:buClrTx/>
              <a:buSzTx/>
              <a:buFontTx/>
              <a:buNone/>
              <a:tabLst/>
              <a:defRPr/>
            </a:pPr>
            <a:r>
              <a:rPr kumimoji="0" lang="zh-CN" altLang="en-US" sz="1800" b="0" i="0" u="none" strike="noStrike" kern="1200" cap="none" spc="0" normalizeH="0" baseline="0" noProof="0" dirty="0">
                <a:ln>
                  <a:noFill/>
                </a:ln>
                <a:solidFill>
                  <a:prstClr val="black">
                    <a:lumMod val="75000"/>
                    <a:lumOff val="25000"/>
                  </a:prstClr>
                </a:solidFill>
                <a:effectLst/>
                <a:uLnTx/>
                <a:uFillTx/>
                <a:latin typeface="HarmonyOS Sans SC Black"/>
                <a:ea typeface="+mj-ea"/>
                <a:cs typeface="+mn-cs"/>
              </a:rPr>
              <a:t>关键词标题</a:t>
            </a:r>
            <a:endParaRPr kumimoji="0" lang="en-US" sz="1800" b="0" i="0" u="none" strike="noStrike" kern="1200" cap="none" spc="0" normalizeH="0" baseline="0" noProof="0" dirty="0">
              <a:ln>
                <a:noFill/>
              </a:ln>
              <a:solidFill>
                <a:prstClr val="black">
                  <a:lumMod val="75000"/>
                  <a:lumOff val="25000"/>
                </a:prstClr>
              </a:solidFill>
              <a:effectLst/>
              <a:uLnTx/>
              <a:uFillTx/>
              <a:latin typeface="HarmonyOS Sans SC Black"/>
              <a:ea typeface="+mj-ea"/>
              <a:cs typeface="+mn-cs"/>
            </a:endParaRPr>
          </a:p>
        </p:txBody>
      </p:sp>
      <p:sp>
        <p:nvSpPr>
          <p:cNvPr id="68" name="TextBox 65">
            <a:extLst>
              <a:ext uri="{FF2B5EF4-FFF2-40B4-BE49-F238E27FC236}">
                <a16:creationId xmlns:a16="http://schemas.microsoft.com/office/drawing/2014/main" id="{CC42A22A-1B8B-4D96-9124-2A073BBB2926}"/>
              </a:ext>
            </a:extLst>
          </p:cNvPr>
          <p:cNvSpPr txBox="1"/>
          <p:nvPr/>
        </p:nvSpPr>
        <p:spPr>
          <a:xfrm>
            <a:off x="937307" y="2459965"/>
            <a:ext cx="2859171" cy="498204"/>
          </a:xfrm>
          <a:prstGeom prst="rect">
            <a:avLst/>
          </a:prstGeom>
          <a:noFill/>
        </p:spPr>
        <p:txBody>
          <a:bodyPr wrap="square" lIns="0" tIns="36000" rIns="0" bIns="36000" rtlCol="0">
            <a:spAutoFit/>
          </a:bodyPr>
          <a:lstStyle/>
          <a:p>
            <a:pPr marL="0" marR="0" lvl="0" indent="0" algn="r" defTabSz="914400" rtl="0" eaLnBrk="1" fontAlgn="auto" latinLnBrk="0" hangingPunct="1">
              <a:lnSpc>
                <a:spcPct val="120000"/>
              </a:lnSpc>
              <a:spcBef>
                <a:spcPts val="600"/>
              </a:spcBef>
              <a:spcAft>
                <a:spcPts val="0"/>
              </a:spcAft>
              <a:buClrTx/>
              <a:buSzTx/>
              <a:buFontTx/>
              <a:buNone/>
              <a:tabLst/>
              <a:defRPr/>
            </a:pPr>
            <a:r>
              <a:rPr kumimoji="0" lang="en-US" sz="1200" b="0" i="0" u="none" strike="noStrike" kern="1200" cap="none" spc="0" normalizeH="0" baseline="0" noProof="0" dirty="0">
                <a:ln>
                  <a:noFill/>
                </a:ln>
                <a:solidFill>
                  <a:prstClr val="black">
                    <a:lumMod val="50000"/>
                    <a:lumOff val="50000"/>
                  </a:prstClr>
                </a:solidFill>
                <a:effectLst/>
                <a:uLnTx/>
                <a:uFillTx/>
                <a:latin typeface="HarmonyOS Sans SC"/>
                <a:cs typeface="+mn-cs"/>
              </a:rPr>
              <a:t>Apparently we had reached a great height in the.</a:t>
            </a:r>
          </a:p>
        </p:txBody>
      </p:sp>
      <p:sp>
        <p:nvSpPr>
          <p:cNvPr id="69" name="TextBox 65">
            <a:extLst>
              <a:ext uri="{FF2B5EF4-FFF2-40B4-BE49-F238E27FC236}">
                <a16:creationId xmlns:a16="http://schemas.microsoft.com/office/drawing/2014/main" id="{276D9217-3F03-4B10-B011-1EEB5616D303}"/>
              </a:ext>
            </a:extLst>
          </p:cNvPr>
          <p:cNvSpPr txBox="1"/>
          <p:nvPr/>
        </p:nvSpPr>
        <p:spPr>
          <a:xfrm>
            <a:off x="736761" y="3641794"/>
            <a:ext cx="2056261" cy="387598"/>
          </a:xfrm>
          <a:prstGeom prst="rect">
            <a:avLst/>
          </a:prstGeom>
          <a:noFill/>
        </p:spPr>
        <p:txBody>
          <a:bodyPr wrap="square" lIns="0" tIns="36000" rIns="0" bIns="36000" rtlCol="0">
            <a:spAutoFit/>
          </a:bodyPr>
          <a:lstStyle/>
          <a:p>
            <a:pPr marL="0" marR="0" lvl="0" indent="0" algn="r" defTabSz="914400" rtl="0" eaLnBrk="1" fontAlgn="auto" latinLnBrk="0" hangingPunct="1">
              <a:lnSpc>
                <a:spcPct val="120000"/>
              </a:lnSpc>
              <a:spcBef>
                <a:spcPts val="600"/>
              </a:spcBef>
              <a:spcAft>
                <a:spcPts val="0"/>
              </a:spcAft>
              <a:buClrTx/>
              <a:buSzTx/>
              <a:buFontTx/>
              <a:buNone/>
              <a:tabLst/>
              <a:defRPr/>
            </a:pPr>
            <a:r>
              <a:rPr kumimoji="0" lang="zh-CN" altLang="en-US" sz="1800" b="0" i="0" u="none" strike="noStrike" kern="1200" cap="none" spc="0" normalizeH="0" baseline="0" noProof="0" dirty="0">
                <a:ln>
                  <a:noFill/>
                </a:ln>
                <a:solidFill>
                  <a:prstClr val="black">
                    <a:lumMod val="75000"/>
                    <a:lumOff val="25000"/>
                  </a:prstClr>
                </a:solidFill>
                <a:effectLst/>
                <a:uLnTx/>
                <a:uFillTx/>
                <a:latin typeface="HarmonyOS Sans SC Black"/>
                <a:ea typeface="+mj-ea"/>
                <a:cs typeface="+mn-cs"/>
              </a:rPr>
              <a:t>关键词标题</a:t>
            </a:r>
            <a:endParaRPr kumimoji="0" lang="en-US" sz="1800" b="0" i="0" u="none" strike="noStrike" kern="1200" cap="none" spc="0" normalizeH="0" baseline="0" noProof="0" dirty="0">
              <a:ln>
                <a:noFill/>
              </a:ln>
              <a:solidFill>
                <a:prstClr val="black">
                  <a:lumMod val="75000"/>
                  <a:lumOff val="25000"/>
                </a:prstClr>
              </a:solidFill>
              <a:effectLst/>
              <a:uLnTx/>
              <a:uFillTx/>
              <a:latin typeface="HarmonyOS Sans SC Black"/>
              <a:ea typeface="+mj-ea"/>
              <a:cs typeface="+mn-cs"/>
            </a:endParaRPr>
          </a:p>
        </p:txBody>
      </p:sp>
      <p:sp>
        <p:nvSpPr>
          <p:cNvPr id="70" name="TextBox 65">
            <a:extLst>
              <a:ext uri="{FF2B5EF4-FFF2-40B4-BE49-F238E27FC236}">
                <a16:creationId xmlns:a16="http://schemas.microsoft.com/office/drawing/2014/main" id="{573E943D-D5CE-4F48-9D96-9BBFB68CD285}"/>
              </a:ext>
            </a:extLst>
          </p:cNvPr>
          <p:cNvSpPr txBox="1"/>
          <p:nvPr/>
        </p:nvSpPr>
        <p:spPr>
          <a:xfrm>
            <a:off x="-66148" y="4025193"/>
            <a:ext cx="2859171" cy="498204"/>
          </a:xfrm>
          <a:prstGeom prst="rect">
            <a:avLst/>
          </a:prstGeom>
          <a:noFill/>
        </p:spPr>
        <p:txBody>
          <a:bodyPr wrap="square" lIns="0" tIns="36000" rIns="0" bIns="36000" rtlCol="0">
            <a:spAutoFit/>
          </a:bodyPr>
          <a:lstStyle/>
          <a:p>
            <a:pPr marL="0" marR="0" lvl="0" indent="0" algn="r" defTabSz="914400" rtl="0" eaLnBrk="1" fontAlgn="auto" latinLnBrk="0" hangingPunct="1">
              <a:lnSpc>
                <a:spcPct val="120000"/>
              </a:lnSpc>
              <a:spcBef>
                <a:spcPts val="600"/>
              </a:spcBef>
              <a:spcAft>
                <a:spcPts val="0"/>
              </a:spcAft>
              <a:buClrTx/>
              <a:buSzTx/>
              <a:buFontTx/>
              <a:buNone/>
              <a:tabLst/>
              <a:defRPr/>
            </a:pPr>
            <a:r>
              <a:rPr kumimoji="0" lang="en-US" sz="1200" b="0" i="0" u="none" strike="noStrike" kern="1200" cap="none" spc="0" normalizeH="0" baseline="0" noProof="0" dirty="0">
                <a:ln>
                  <a:noFill/>
                </a:ln>
                <a:solidFill>
                  <a:prstClr val="black">
                    <a:lumMod val="50000"/>
                    <a:lumOff val="50000"/>
                  </a:prstClr>
                </a:solidFill>
                <a:effectLst/>
                <a:uLnTx/>
                <a:uFillTx/>
                <a:latin typeface="HarmonyOS Sans SC"/>
                <a:cs typeface="+mn-cs"/>
              </a:rPr>
              <a:t>Apparently we had reached a great height in the.</a:t>
            </a:r>
          </a:p>
        </p:txBody>
      </p:sp>
    </p:spTree>
    <p:extLst>
      <p:ext uri="{BB962C8B-B14F-4D97-AF65-F5344CB8AC3E}">
        <p14:creationId xmlns:p14="http://schemas.microsoft.com/office/powerpoint/2010/main" val="3181551241"/>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5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reeform 5">
            <a:extLst>
              <a:ext uri="{FF2B5EF4-FFF2-40B4-BE49-F238E27FC236}">
                <a16:creationId xmlns:a16="http://schemas.microsoft.com/office/drawing/2014/main" id="{20643AC8-C939-47C4-A55C-318ADCCC9DD3}"/>
              </a:ext>
            </a:extLst>
          </p:cNvPr>
          <p:cNvSpPr>
            <a:spLocks/>
          </p:cNvSpPr>
          <p:nvPr/>
        </p:nvSpPr>
        <p:spPr bwMode="auto">
          <a:xfrm>
            <a:off x="6045788" y="1699519"/>
            <a:ext cx="10296" cy="1717"/>
          </a:xfrm>
          <a:custGeom>
            <a:avLst/>
            <a:gdLst>
              <a:gd name="T0" fmla="*/ 4 w 4"/>
              <a:gd name="T1" fmla="*/ 1 h 1"/>
              <a:gd name="T2" fmla="*/ 4 w 4"/>
              <a:gd name="T3" fmla="*/ 0 h 1"/>
              <a:gd name="T4" fmla="*/ 0 w 4"/>
              <a:gd name="T5" fmla="*/ 0 h 1"/>
              <a:gd name="T6" fmla="*/ 1 w 4"/>
              <a:gd name="T7" fmla="*/ 1 h 1"/>
              <a:gd name="T8" fmla="*/ 4 w 4"/>
              <a:gd name="T9" fmla="*/ 1 h 1"/>
            </a:gdLst>
            <a:ahLst/>
            <a:cxnLst>
              <a:cxn ang="0">
                <a:pos x="T0" y="T1"/>
              </a:cxn>
              <a:cxn ang="0">
                <a:pos x="T2" y="T3"/>
              </a:cxn>
              <a:cxn ang="0">
                <a:pos x="T4" y="T5"/>
              </a:cxn>
              <a:cxn ang="0">
                <a:pos x="T6" y="T7"/>
              </a:cxn>
              <a:cxn ang="0">
                <a:pos x="T8" y="T9"/>
              </a:cxn>
            </a:cxnLst>
            <a:rect l="0" t="0" r="r" b="b"/>
            <a:pathLst>
              <a:path w="4" h="1">
                <a:moveTo>
                  <a:pt x="4" y="1"/>
                </a:moveTo>
                <a:cubicBezTo>
                  <a:pt x="4" y="0"/>
                  <a:pt x="4" y="0"/>
                  <a:pt x="4" y="0"/>
                </a:cubicBezTo>
                <a:cubicBezTo>
                  <a:pt x="0" y="0"/>
                  <a:pt x="0" y="0"/>
                  <a:pt x="0" y="0"/>
                </a:cubicBezTo>
                <a:cubicBezTo>
                  <a:pt x="1" y="1"/>
                  <a:pt x="1" y="1"/>
                  <a:pt x="1" y="1"/>
                </a:cubicBezTo>
                <a:cubicBezTo>
                  <a:pt x="2" y="1"/>
                  <a:pt x="3" y="1"/>
                  <a:pt x="4" y="1"/>
                </a:cubicBezTo>
                <a:close/>
              </a:path>
            </a:pathLst>
          </a:custGeom>
          <a:solidFill>
            <a:srgbClr val="B2CE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6" name="Freeform 6">
            <a:extLst>
              <a:ext uri="{FF2B5EF4-FFF2-40B4-BE49-F238E27FC236}">
                <a16:creationId xmlns:a16="http://schemas.microsoft.com/office/drawing/2014/main" id="{464DBFE5-2070-45B1-98DC-3759ED649872}"/>
              </a:ext>
            </a:extLst>
          </p:cNvPr>
          <p:cNvSpPr>
            <a:spLocks/>
          </p:cNvSpPr>
          <p:nvPr/>
        </p:nvSpPr>
        <p:spPr bwMode="auto">
          <a:xfrm>
            <a:off x="6159042" y="1701235"/>
            <a:ext cx="1575259" cy="2582532"/>
          </a:xfrm>
          <a:custGeom>
            <a:avLst/>
            <a:gdLst>
              <a:gd name="T0" fmla="*/ 660 w 690"/>
              <a:gd name="T1" fmla="*/ 529 h 1131"/>
              <a:gd name="T2" fmla="*/ 540 w 690"/>
              <a:gd name="T3" fmla="*/ 283 h 1131"/>
              <a:gd name="T4" fmla="*/ 327 w 690"/>
              <a:gd name="T5" fmla="*/ 95 h 1131"/>
              <a:gd name="T6" fmla="*/ 2 w 690"/>
              <a:gd name="T7" fmla="*/ 0 h 1131"/>
              <a:gd name="T8" fmla="*/ 126 w 690"/>
              <a:gd name="T9" fmla="*/ 144 h 1131"/>
              <a:gd name="T10" fmla="*/ 0 w 690"/>
              <a:gd name="T11" fmla="*/ 289 h 1131"/>
              <a:gd name="T12" fmla="*/ 183 w 690"/>
              <a:gd name="T13" fmla="*/ 345 h 1131"/>
              <a:gd name="T14" fmla="*/ 381 w 690"/>
              <a:gd name="T15" fmla="*/ 604 h 1131"/>
              <a:gd name="T16" fmla="*/ 348 w 690"/>
              <a:gd name="T17" fmla="*/ 910 h 1131"/>
              <a:gd name="T18" fmla="*/ 302 w 690"/>
              <a:gd name="T19" fmla="*/ 883 h 1131"/>
              <a:gd name="T20" fmla="*/ 387 w 690"/>
              <a:gd name="T21" fmla="*/ 1131 h 1131"/>
              <a:gd name="T22" fmla="*/ 645 w 690"/>
              <a:gd name="T23" fmla="*/ 1081 h 1131"/>
              <a:gd name="T24" fmla="*/ 598 w 690"/>
              <a:gd name="T25" fmla="*/ 1054 h 1131"/>
              <a:gd name="T26" fmla="*/ 679 w 690"/>
              <a:gd name="T27" fmla="*/ 802 h 1131"/>
              <a:gd name="T28" fmla="*/ 660 w 690"/>
              <a:gd name="T29" fmla="*/ 529 h 1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90" h="1131">
                <a:moveTo>
                  <a:pt x="660" y="529"/>
                </a:moveTo>
                <a:cubicBezTo>
                  <a:pt x="636" y="439"/>
                  <a:pt x="596" y="357"/>
                  <a:pt x="540" y="283"/>
                </a:cubicBezTo>
                <a:cubicBezTo>
                  <a:pt x="482" y="207"/>
                  <a:pt x="411" y="144"/>
                  <a:pt x="327" y="95"/>
                </a:cubicBezTo>
                <a:cubicBezTo>
                  <a:pt x="228" y="38"/>
                  <a:pt x="116" y="5"/>
                  <a:pt x="2" y="0"/>
                </a:cubicBezTo>
                <a:cubicBezTo>
                  <a:pt x="126" y="144"/>
                  <a:pt x="126" y="144"/>
                  <a:pt x="126" y="144"/>
                </a:cubicBezTo>
                <a:cubicBezTo>
                  <a:pt x="0" y="289"/>
                  <a:pt x="0" y="289"/>
                  <a:pt x="0" y="289"/>
                </a:cubicBezTo>
                <a:cubicBezTo>
                  <a:pt x="64" y="294"/>
                  <a:pt x="127" y="313"/>
                  <a:pt x="183" y="345"/>
                </a:cubicBezTo>
                <a:cubicBezTo>
                  <a:pt x="282" y="402"/>
                  <a:pt x="352" y="494"/>
                  <a:pt x="381" y="604"/>
                </a:cubicBezTo>
                <a:cubicBezTo>
                  <a:pt x="409" y="707"/>
                  <a:pt x="397" y="815"/>
                  <a:pt x="348" y="910"/>
                </a:cubicBezTo>
                <a:cubicBezTo>
                  <a:pt x="302" y="883"/>
                  <a:pt x="302" y="883"/>
                  <a:pt x="302" y="883"/>
                </a:cubicBezTo>
                <a:cubicBezTo>
                  <a:pt x="387" y="1131"/>
                  <a:pt x="387" y="1131"/>
                  <a:pt x="387" y="1131"/>
                </a:cubicBezTo>
                <a:cubicBezTo>
                  <a:pt x="645" y="1081"/>
                  <a:pt x="645" y="1081"/>
                  <a:pt x="645" y="1081"/>
                </a:cubicBezTo>
                <a:cubicBezTo>
                  <a:pt x="598" y="1054"/>
                  <a:pt x="598" y="1054"/>
                  <a:pt x="598" y="1054"/>
                </a:cubicBezTo>
                <a:cubicBezTo>
                  <a:pt x="641" y="975"/>
                  <a:pt x="668" y="890"/>
                  <a:pt x="679" y="802"/>
                </a:cubicBezTo>
                <a:cubicBezTo>
                  <a:pt x="690" y="710"/>
                  <a:pt x="684" y="618"/>
                  <a:pt x="660" y="529"/>
                </a:cubicBezTo>
                <a:close/>
              </a:path>
            </a:pathLst>
          </a:custGeom>
          <a:gradFill flip="none" rotWithShape="1">
            <a:gsLst>
              <a:gs pos="64000">
                <a:schemeClr val="accent1"/>
              </a:gs>
              <a:gs pos="31000">
                <a:schemeClr val="accent1">
                  <a:lumMod val="60000"/>
                  <a:lumOff val="40000"/>
                </a:schemeClr>
              </a:gs>
              <a:gs pos="0">
                <a:schemeClr val="accent1">
                  <a:lumMod val="40000"/>
                  <a:lumOff val="60000"/>
                </a:schemeClr>
              </a:gs>
            </a:gsLst>
            <a:lin ang="0" scaled="1"/>
            <a:tileRect/>
          </a:gradFill>
          <a:ln>
            <a:noFill/>
          </a:ln>
          <a:effectLst>
            <a:outerShdw blurRad="444500" dist="317500" dir="5400000" sx="92000" sy="92000" algn="t" rotWithShape="0">
              <a:schemeClr val="accent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HarmonyOS Sans SC"/>
              <a:cs typeface="+mn-cs"/>
            </a:endParaRPr>
          </a:p>
        </p:txBody>
      </p:sp>
      <p:sp>
        <p:nvSpPr>
          <p:cNvPr id="7" name="Freeform 7">
            <a:extLst>
              <a:ext uri="{FF2B5EF4-FFF2-40B4-BE49-F238E27FC236}">
                <a16:creationId xmlns:a16="http://schemas.microsoft.com/office/drawing/2014/main" id="{63561AF6-E04A-4012-83DC-30438CB79C97}"/>
              </a:ext>
            </a:extLst>
          </p:cNvPr>
          <p:cNvSpPr>
            <a:spLocks/>
          </p:cNvSpPr>
          <p:nvPr/>
        </p:nvSpPr>
        <p:spPr bwMode="auto">
          <a:xfrm>
            <a:off x="4702185" y="4175660"/>
            <a:ext cx="6864" cy="10296"/>
          </a:xfrm>
          <a:custGeom>
            <a:avLst/>
            <a:gdLst>
              <a:gd name="T0" fmla="*/ 1 w 3"/>
              <a:gd name="T1" fmla="*/ 0 h 4"/>
              <a:gd name="T2" fmla="*/ 0 w 3"/>
              <a:gd name="T3" fmla="*/ 1 h 4"/>
              <a:gd name="T4" fmla="*/ 2 w 3"/>
              <a:gd name="T5" fmla="*/ 4 h 4"/>
              <a:gd name="T6" fmla="*/ 3 w 3"/>
              <a:gd name="T7" fmla="*/ 2 h 4"/>
              <a:gd name="T8" fmla="*/ 1 w 3"/>
              <a:gd name="T9" fmla="*/ 0 h 4"/>
            </a:gdLst>
            <a:ahLst/>
            <a:cxnLst>
              <a:cxn ang="0">
                <a:pos x="T0" y="T1"/>
              </a:cxn>
              <a:cxn ang="0">
                <a:pos x="T2" y="T3"/>
              </a:cxn>
              <a:cxn ang="0">
                <a:pos x="T4" y="T5"/>
              </a:cxn>
              <a:cxn ang="0">
                <a:pos x="T6" y="T7"/>
              </a:cxn>
              <a:cxn ang="0">
                <a:pos x="T8" y="T9"/>
              </a:cxn>
            </a:cxnLst>
            <a:rect l="0" t="0" r="r" b="b"/>
            <a:pathLst>
              <a:path w="3" h="4">
                <a:moveTo>
                  <a:pt x="1" y="0"/>
                </a:moveTo>
                <a:cubicBezTo>
                  <a:pt x="0" y="1"/>
                  <a:pt x="0" y="1"/>
                  <a:pt x="0" y="1"/>
                </a:cubicBezTo>
                <a:cubicBezTo>
                  <a:pt x="2" y="4"/>
                  <a:pt x="2" y="4"/>
                  <a:pt x="2" y="4"/>
                </a:cubicBezTo>
                <a:cubicBezTo>
                  <a:pt x="3" y="2"/>
                  <a:pt x="3" y="2"/>
                  <a:pt x="3" y="2"/>
                </a:cubicBezTo>
                <a:cubicBezTo>
                  <a:pt x="3" y="2"/>
                  <a:pt x="2" y="1"/>
                  <a:pt x="1" y="0"/>
                </a:cubicBezTo>
                <a:close/>
              </a:path>
            </a:pathLst>
          </a:custGeom>
          <a:solidFill>
            <a:srgbClr val="73C4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8" name="Freeform 8">
            <a:extLst>
              <a:ext uri="{FF2B5EF4-FFF2-40B4-BE49-F238E27FC236}">
                <a16:creationId xmlns:a16="http://schemas.microsoft.com/office/drawing/2014/main" id="{AE52D063-31A0-4F15-8B2E-53DEFD02D6DA}"/>
              </a:ext>
            </a:extLst>
          </p:cNvPr>
          <p:cNvSpPr>
            <a:spLocks/>
          </p:cNvSpPr>
          <p:nvPr/>
        </p:nvSpPr>
        <p:spPr bwMode="auto">
          <a:xfrm>
            <a:off x="4471865" y="1596315"/>
            <a:ext cx="1976795" cy="2505313"/>
          </a:xfrm>
          <a:custGeom>
            <a:avLst/>
            <a:gdLst>
              <a:gd name="T0" fmla="*/ 142 w 866"/>
              <a:gd name="T1" fmla="*/ 918 h 1097"/>
              <a:gd name="T2" fmla="*/ 331 w 866"/>
              <a:gd name="T3" fmla="*/ 954 h 1097"/>
              <a:gd name="T4" fmla="*/ 288 w 866"/>
              <a:gd name="T5" fmla="*/ 768 h 1097"/>
              <a:gd name="T6" fmla="*/ 413 w 866"/>
              <a:gd name="T7" fmla="*/ 467 h 1097"/>
              <a:gd name="T8" fmla="*/ 695 w 866"/>
              <a:gd name="T9" fmla="*/ 343 h 1097"/>
              <a:gd name="T10" fmla="*/ 695 w 866"/>
              <a:gd name="T11" fmla="*/ 396 h 1097"/>
              <a:gd name="T12" fmla="*/ 866 w 866"/>
              <a:gd name="T13" fmla="*/ 198 h 1097"/>
              <a:gd name="T14" fmla="*/ 695 w 866"/>
              <a:gd name="T15" fmla="*/ 0 h 1097"/>
              <a:gd name="T16" fmla="*/ 695 w 866"/>
              <a:gd name="T17" fmla="*/ 54 h 1097"/>
              <a:gd name="T18" fmla="*/ 436 w 866"/>
              <a:gd name="T19" fmla="*/ 110 h 1097"/>
              <a:gd name="T20" fmla="*/ 209 w 866"/>
              <a:gd name="T21" fmla="*/ 263 h 1097"/>
              <a:gd name="T22" fmla="*/ 56 w 866"/>
              <a:gd name="T23" fmla="*/ 490 h 1097"/>
              <a:gd name="T24" fmla="*/ 0 w 866"/>
              <a:gd name="T25" fmla="*/ 768 h 1097"/>
              <a:gd name="T26" fmla="*/ 80 w 866"/>
              <a:gd name="T27" fmla="*/ 1097 h 1097"/>
              <a:gd name="T28" fmla="*/ 142 w 866"/>
              <a:gd name="T29" fmla="*/ 918 h 10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66" h="1097">
                <a:moveTo>
                  <a:pt x="142" y="918"/>
                </a:moveTo>
                <a:cubicBezTo>
                  <a:pt x="331" y="954"/>
                  <a:pt x="331" y="954"/>
                  <a:pt x="331" y="954"/>
                </a:cubicBezTo>
                <a:cubicBezTo>
                  <a:pt x="303" y="896"/>
                  <a:pt x="288" y="832"/>
                  <a:pt x="288" y="768"/>
                </a:cubicBezTo>
                <a:cubicBezTo>
                  <a:pt x="288" y="654"/>
                  <a:pt x="332" y="547"/>
                  <a:pt x="413" y="467"/>
                </a:cubicBezTo>
                <a:cubicBezTo>
                  <a:pt x="489" y="391"/>
                  <a:pt x="588" y="347"/>
                  <a:pt x="695" y="343"/>
                </a:cubicBezTo>
                <a:cubicBezTo>
                  <a:pt x="695" y="396"/>
                  <a:pt x="695" y="396"/>
                  <a:pt x="695" y="396"/>
                </a:cubicBezTo>
                <a:cubicBezTo>
                  <a:pt x="866" y="198"/>
                  <a:pt x="866" y="198"/>
                  <a:pt x="866" y="198"/>
                </a:cubicBezTo>
                <a:cubicBezTo>
                  <a:pt x="695" y="0"/>
                  <a:pt x="695" y="0"/>
                  <a:pt x="695" y="0"/>
                </a:cubicBezTo>
                <a:cubicBezTo>
                  <a:pt x="695" y="54"/>
                  <a:pt x="695" y="54"/>
                  <a:pt x="695" y="54"/>
                </a:cubicBezTo>
                <a:cubicBezTo>
                  <a:pt x="605" y="56"/>
                  <a:pt x="518" y="75"/>
                  <a:pt x="436" y="110"/>
                </a:cubicBezTo>
                <a:cubicBezTo>
                  <a:pt x="351" y="146"/>
                  <a:pt x="274" y="197"/>
                  <a:pt x="209" y="263"/>
                </a:cubicBezTo>
                <a:cubicBezTo>
                  <a:pt x="143" y="328"/>
                  <a:pt x="92" y="405"/>
                  <a:pt x="56" y="490"/>
                </a:cubicBezTo>
                <a:cubicBezTo>
                  <a:pt x="19" y="578"/>
                  <a:pt x="0" y="671"/>
                  <a:pt x="0" y="768"/>
                </a:cubicBezTo>
                <a:cubicBezTo>
                  <a:pt x="0" y="882"/>
                  <a:pt x="28" y="996"/>
                  <a:pt x="80" y="1097"/>
                </a:cubicBezTo>
                <a:lnTo>
                  <a:pt x="142" y="918"/>
                </a:lnTo>
                <a:close/>
              </a:path>
            </a:pathLst>
          </a:custGeom>
          <a:gradFill flip="none" rotWithShape="1">
            <a:gsLst>
              <a:gs pos="64000">
                <a:schemeClr val="accent1"/>
              </a:gs>
              <a:gs pos="31000">
                <a:schemeClr val="accent1">
                  <a:lumMod val="60000"/>
                  <a:lumOff val="40000"/>
                </a:schemeClr>
              </a:gs>
              <a:gs pos="0">
                <a:schemeClr val="accent1">
                  <a:lumMod val="40000"/>
                  <a:lumOff val="60000"/>
                </a:schemeClr>
              </a:gs>
            </a:gsLst>
            <a:lin ang="18900000" scaled="1"/>
            <a:tileRect/>
          </a:gradFill>
          <a:ln>
            <a:noFill/>
          </a:ln>
          <a:effectLst>
            <a:outerShdw blurRad="444500" dist="317500" dir="5400000" sx="92000" sy="92000" algn="t" rotWithShape="0">
              <a:schemeClr val="accent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HarmonyOS Sans SC"/>
              <a:cs typeface="+mn-cs"/>
            </a:endParaRPr>
          </a:p>
        </p:txBody>
      </p:sp>
      <p:sp>
        <p:nvSpPr>
          <p:cNvPr id="9" name="Freeform 9">
            <a:extLst>
              <a:ext uri="{FF2B5EF4-FFF2-40B4-BE49-F238E27FC236}">
                <a16:creationId xmlns:a16="http://schemas.microsoft.com/office/drawing/2014/main" id="{E23E536D-3783-4DB5-99DB-5122A5F97214}"/>
              </a:ext>
            </a:extLst>
          </p:cNvPr>
          <p:cNvSpPr>
            <a:spLocks/>
          </p:cNvSpPr>
          <p:nvPr/>
        </p:nvSpPr>
        <p:spPr bwMode="auto">
          <a:xfrm>
            <a:off x="7523236" y="4100157"/>
            <a:ext cx="10296" cy="12012"/>
          </a:xfrm>
          <a:custGeom>
            <a:avLst/>
            <a:gdLst>
              <a:gd name="T0" fmla="*/ 3 w 4"/>
              <a:gd name="T1" fmla="*/ 5 h 5"/>
              <a:gd name="T2" fmla="*/ 4 w 4"/>
              <a:gd name="T3" fmla="*/ 3 h 5"/>
              <a:gd name="T4" fmla="*/ 2 w 4"/>
              <a:gd name="T5" fmla="*/ 2 h 5"/>
              <a:gd name="T6" fmla="*/ 3 w 4"/>
              <a:gd name="T7" fmla="*/ 0 h 5"/>
              <a:gd name="T8" fmla="*/ 1 w 4"/>
              <a:gd name="T9" fmla="*/ 1 h 5"/>
              <a:gd name="T10" fmla="*/ 0 w 4"/>
              <a:gd name="T11" fmla="*/ 3 h 5"/>
              <a:gd name="T12" fmla="*/ 3 w 4"/>
              <a:gd name="T13" fmla="*/ 5 h 5"/>
            </a:gdLst>
            <a:ahLst/>
            <a:cxnLst>
              <a:cxn ang="0">
                <a:pos x="T0" y="T1"/>
              </a:cxn>
              <a:cxn ang="0">
                <a:pos x="T2" y="T3"/>
              </a:cxn>
              <a:cxn ang="0">
                <a:pos x="T4" y="T5"/>
              </a:cxn>
              <a:cxn ang="0">
                <a:pos x="T6" y="T7"/>
              </a:cxn>
              <a:cxn ang="0">
                <a:pos x="T8" y="T9"/>
              </a:cxn>
              <a:cxn ang="0">
                <a:pos x="T10" y="T11"/>
              </a:cxn>
              <a:cxn ang="0">
                <a:pos x="T12" y="T13"/>
              </a:cxn>
            </a:cxnLst>
            <a:rect l="0" t="0" r="r" b="b"/>
            <a:pathLst>
              <a:path w="4" h="5">
                <a:moveTo>
                  <a:pt x="3" y="5"/>
                </a:moveTo>
                <a:cubicBezTo>
                  <a:pt x="4" y="3"/>
                  <a:pt x="4" y="3"/>
                  <a:pt x="4" y="3"/>
                </a:cubicBezTo>
                <a:cubicBezTo>
                  <a:pt x="2" y="2"/>
                  <a:pt x="2" y="2"/>
                  <a:pt x="2" y="2"/>
                </a:cubicBezTo>
                <a:cubicBezTo>
                  <a:pt x="3" y="0"/>
                  <a:pt x="3" y="0"/>
                  <a:pt x="3" y="0"/>
                </a:cubicBezTo>
                <a:cubicBezTo>
                  <a:pt x="1" y="1"/>
                  <a:pt x="1" y="1"/>
                  <a:pt x="1" y="1"/>
                </a:cubicBezTo>
                <a:cubicBezTo>
                  <a:pt x="1" y="1"/>
                  <a:pt x="0" y="2"/>
                  <a:pt x="0" y="3"/>
                </a:cubicBezTo>
                <a:lnTo>
                  <a:pt x="3" y="5"/>
                </a:lnTo>
                <a:close/>
              </a:path>
            </a:pathLst>
          </a:custGeom>
          <a:solidFill>
            <a:srgbClr val="F76B5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10" name="Freeform 10">
            <a:extLst>
              <a:ext uri="{FF2B5EF4-FFF2-40B4-BE49-F238E27FC236}">
                <a16:creationId xmlns:a16="http://schemas.microsoft.com/office/drawing/2014/main" id="{C7567904-ADEE-4FBC-97F6-30DFC6F8132C}"/>
              </a:ext>
            </a:extLst>
          </p:cNvPr>
          <p:cNvSpPr>
            <a:spLocks/>
          </p:cNvSpPr>
          <p:nvPr/>
        </p:nvSpPr>
        <p:spPr bwMode="auto">
          <a:xfrm>
            <a:off x="4599227" y="3674597"/>
            <a:ext cx="2869099" cy="1280112"/>
          </a:xfrm>
          <a:custGeom>
            <a:avLst/>
            <a:gdLst>
              <a:gd name="T0" fmla="*/ 1070 w 1257"/>
              <a:gd name="T1" fmla="*/ 267 h 561"/>
              <a:gd name="T2" fmla="*/ 1008 w 1257"/>
              <a:gd name="T3" fmla="*/ 85 h 561"/>
              <a:gd name="T4" fmla="*/ 868 w 1257"/>
              <a:gd name="T5" fmla="*/ 215 h 561"/>
              <a:gd name="T6" fmla="*/ 656 w 1257"/>
              <a:gd name="T7" fmla="*/ 273 h 561"/>
              <a:gd name="T8" fmla="*/ 545 w 1257"/>
              <a:gd name="T9" fmla="*/ 258 h 561"/>
              <a:gd name="T10" fmla="*/ 296 w 1257"/>
              <a:gd name="T11" fmla="*/ 76 h 561"/>
              <a:gd name="T12" fmla="*/ 343 w 1257"/>
              <a:gd name="T13" fmla="*/ 49 h 561"/>
              <a:gd name="T14" fmla="*/ 85 w 1257"/>
              <a:gd name="T15" fmla="*/ 0 h 561"/>
              <a:gd name="T16" fmla="*/ 0 w 1257"/>
              <a:gd name="T17" fmla="*/ 247 h 561"/>
              <a:gd name="T18" fmla="*/ 46 w 1257"/>
              <a:gd name="T19" fmla="*/ 220 h 561"/>
              <a:gd name="T20" fmla="*/ 224 w 1257"/>
              <a:gd name="T21" fmla="*/ 416 h 561"/>
              <a:gd name="T22" fmla="*/ 470 w 1257"/>
              <a:gd name="T23" fmla="*/ 536 h 561"/>
              <a:gd name="T24" fmla="*/ 655 w 1257"/>
              <a:gd name="T25" fmla="*/ 561 h 561"/>
              <a:gd name="T26" fmla="*/ 743 w 1257"/>
              <a:gd name="T27" fmla="*/ 555 h 561"/>
              <a:gd name="T28" fmla="*/ 1012 w 1257"/>
              <a:gd name="T29" fmla="*/ 465 h 561"/>
              <a:gd name="T30" fmla="*/ 1257 w 1257"/>
              <a:gd name="T31" fmla="*/ 231 h 561"/>
              <a:gd name="T32" fmla="*/ 1070 w 1257"/>
              <a:gd name="T33" fmla="*/ 267 h 5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57" h="561">
                <a:moveTo>
                  <a:pt x="1070" y="267"/>
                </a:moveTo>
                <a:cubicBezTo>
                  <a:pt x="1008" y="85"/>
                  <a:pt x="1008" y="85"/>
                  <a:pt x="1008" y="85"/>
                </a:cubicBezTo>
                <a:cubicBezTo>
                  <a:pt x="972" y="138"/>
                  <a:pt x="923" y="183"/>
                  <a:pt x="868" y="215"/>
                </a:cubicBezTo>
                <a:cubicBezTo>
                  <a:pt x="803" y="253"/>
                  <a:pt x="730" y="273"/>
                  <a:pt x="656" y="273"/>
                </a:cubicBezTo>
                <a:cubicBezTo>
                  <a:pt x="619" y="273"/>
                  <a:pt x="581" y="268"/>
                  <a:pt x="545" y="258"/>
                </a:cubicBezTo>
                <a:cubicBezTo>
                  <a:pt x="441" y="230"/>
                  <a:pt x="354" y="166"/>
                  <a:pt x="296" y="76"/>
                </a:cubicBezTo>
                <a:cubicBezTo>
                  <a:pt x="343" y="49"/>
                  <a:pt x="343" y="49"/>
                  <a:pt x="343" y="49"/>
                </a:cubicBezTo>
                <a:cubicBezTo>
                  <a:pt x="85" y="0"/>
                  <a:pt x="85" y="0"/>
                  <a:pt x="85" y="0"/>
                </a:cubicBezTo>
                <a:cubicBezTo>
                  <a:pt x="0" y="247"/>
                  <a:pt x="0" y="247"/>
                  <a:pt x="0" y="247"/>
                </a:cubicBezTo>
                <a:cubicBezTo>
                  <a:pt x="46" y="220"/>
                  <a:pt x="46" y="220"/>
                  <a:pt x="46" y="220"/>
                </a:cubicBezTo>
                <a:cubicBezTo>
                  <a:pt x="93" y="297"/>
                  <a:pt x="153" y="363"/>
                  <a:pt x="224" y="416"/>
                </a:cubicBezTo>
                <a:cubicBezTo>
                  <a:pt x="298" y="472"/>
                  <a:pt x="381" y="512"/>
                  <a:pt x="470" y="536"/>
                </a:cubicBezTo>
                <a:cubicBezTo>
                  <a:pt x="531" y="553"/>
                  <a:pt x="593" y="561"/>
                  <a:pt x="655" y="561"/>
                </a:cubicBezTo>
                <a:cubicBezTo>
                  <a:pt x="684" y="561"/>
                  <a:pt x="714" y="559"/>
                  <a:pt x="743" y="555"/>
                </a:cubicBezTo>
                <a:cubicBezTo>
                  <a:pt x="838" y="544"/>
                  <a:pt x="928" y="513"/>
                  <a:pt x="1012" y="465"/>
                </a:cubicBezTo>
                <a:cubicBezTo>
                  <a:pt x="1111" y="408"/>
                  <a:pt x="1196" y="327"/>
                  <a:pt x="1257" y="231"/>
                </a:cubicBezTo>
                <a:lnTo>
                  <a:pt x="1070" y="267"/>
                </a:lnTo>
                <a:close/>
              </a:path>
            </a:pathLst>
          </a:custGeom>
          <a:gradFill flip="none" rotWithShape="1">
            <a:gsLst>
              <a:gs pos="64000">
                <a:schemeClr val="accent1"/>
              </a:gs>
              <a:gs pos="31000">
                <a:schemeClr val="accent1">
                  <a:lumMod val="60000"/>
                  <a:lumOff val="40000"/>
                </a:schemeClr>
              </a:gs>
              <a:gs pos="0">
                <a:schemeClr val="accent1">
                  <a:lumMod val="40000"/>
                  <a:lumOff val="60000"/>
                </a:schemeClr>
              </a:gs>
            </a:gsLst>
            <a:lin ang="10800000" scaled="1"/>
            <a:tileRect/>
          </a:gradFill>
          <a:ln>
            <a:noFill/>
          </a:ln>
          <a:effectLst>
            <a:outerShdw blurRad="444500" dist="317500" dir="5400000" sx="92000" sy="92000" algn="t" rotWithShape="0">
              <a:schemeClr val="accent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11" name="Freeform 61">
            <a:extLst>
              <a:ext uri="{FF2B5EF4-FFF2-40B4-BE49-F238E27FC236}">
                <a16:creationId xmlns:a16="http://schemas.microsoft.com/office/drawing/2014/main" id="{4AAA11AD-EBEC-4B7B-BAAC-E52464FA2989}"/>
              </a:ext>
            </a:extLst>
          </p:cNvPr>
          <p:cNvSpPr>
            <a:spLocks noEditPoints="1"/>
          </p:cNvSpPr>
          <p:nvPr/>
        </p:nvSpPr>
        <p:spPr bwMode="auto">
          <a:xfrm>
            <a:off x="7090173" y="2597200"/>
            <a:ext cx="351167" cy="354220"/>
          </a:xfrm>
          <a:custGeom>
            <a:avLst/>
            <a:gdLst>
              <a:gd name="T0" fmla="*/ 540884 w 161"/>
              <a:gd name="T1" fmla="*/ 137255 h 161"/>
              <a:gd name="T2" fmla="*/ 445634 w 161"/>
              <a:gd name="T3" fmla="*/ 233333 h 161"/>
              <a:gd name="T4" fmla="*/ 415018 w 161"/>
              <a:gd name="T5" fmla="*/ 233333 h 161"/>
              <a:gd name="T6" fmla="*/ 472849 w 161"/>
              <a:gd name="T7" fmla="*/ 144117 h 161"/>
              <a:gd name="T8" fmla="*/ 312965 w 161"/>
              <a:gd name="T9" fmla="*/ 123529 h 161"/>
              <a:gd name="T10" fmla="*/ 472849 w 161"/>
              <a:gd name="T11" fmla="*/ 99510 h 161"/>
              <a:gd name="T12" fmla="*/ 415018 w 161"/>
              <a:gd name="T13" fmla="*/ 10294 h 161"/>
              <a:gd name="T14" fmla="*/ 540884 w 161"/>
              <a:gd name="T15" fmla="*/ 106372 h 161"/>
              <a:gd name="T16" fmla="*/ 544286 w 161"/>
              <a:gd name="T17" fmla="*/ 109804 h 161"/>
              <a:gd name="T18" fmla="*/ 544286 w 161"/>
              <a:gd name="T19" fmla="*/ 116666 h 161"/>
              <a:gd name="T20" fmla="*/ 547688 w 161"/>
              <a:gd name="T21" fmla="*/ 123529 h 161"/>
              <a:gd name="T22" fmla="*/ 547688 w 161"/>
              <a:gd name="T23" fmla="*/ 123529 h 161"/>
              <a:gd name="T24" fmla="*/ 547688 w 161"/>
              <a:gd name="T25" fmla="*/ 126961 h 161"/>
              <a:gd name="T26" fmla="*/ 544286 w 161"/>
              <a:gd name="T27" fmla="*/ 130392 h 161"/>
              <a:gd name="T28" fmla="*/ 544286 w 161"/>
              <a:gd name="T29" fmla="*/ 133823 h 161"/>
              <a:gd name="T30" fmla="*/ 523875 w 161"/>
              <a:gd name="T31" fmla="*/ 480391 h 161"/>
              <a:gd name="T32" fmla="*/ 452438 w 161"/>
              <a:gd name="T33" fmla="*/ 552450 h 161"/>
              <a:gd name="T34" fmla="*/ 445634 w 161"/>
              <a:gd name="T35" fmla="*/ 552450 h 161"/>
              <a:gd name="T36" fmla="*/ 81643 w 161"/>
              <a:gd name="T37" fmla="*/ 322548 h 161"/>
              <a:gd name="T38" fmla="*/ 3402 w 161"/>
              <a:gd name="T39" fmla="*/ 102941 h 161"/>
              <a:gd name="T40" fmla="*/ 74839 w 161"/>
              <a:gd name="T41" fmla="*/ 27451 h 161"/>
              <a:gd name="T42" fmla="*/ 214313 w 161"/>
              <a:gd name="T43" fmla="*/ 89216 h 161"/>
              <a:gd name="T44" fmla="*/ 231322 w 161"/>
              <a:gd name="T45" fmla="*/ 150980 h 161"/>
              <a:gd name="T46" fmla="*/ 214313 w 161"/>
              <a:gd name="T47" fmla="*/ 226470 h 161"/>
              <a:gd name="T48" fmla="*/ 309563 w 161"/>
              <a:gd name="T49" fmla="*/ 356862 h 161"/>
              <a:gd name="T50" fmla="*/ 326572 w 161"/>
              <a:gd name="T51" fmla="*/ 339705 h 161"/>
              <a:gd name="T52" fmla="*/ 462643 w 161"/>
              <a:gd name="T53" fmla="*/ 339705 h 161"/>
              <a:gd name="T54" fmla="*/ 523875 w 161"/>
              <a:gd name="T55" fmla="*/ 408333 h 161"/>
              <a:gd name="T56" fmla="*/ 455840 w 161"/>
              <a:gd name="T57" fmla="*/ 380882 h 161"/>
              <a:gd name="T58" fmla="*/ 357188 w 161"/>
              <a:gd name="T59" fmla="*/ 370588 h 161"/>
              <a:gd name="T60" fmla="*/ 299357 w 161"/>
              <a:gd name="T61" fmla="*/ 404901 h 161"/>
              <a:gd name="T62" fmla="*/ 153080 w 161"/>
              <a:gd name="T63" fmla="*/ 226470 h 161"/>
              <a:gd name="T64" fmla="*/ 190500 w 161"/>
              <a:gd name="T65" fmla="*/ 168137 h 161"/>
              <a:gd name="T66" fmla="*/ 146277 w 161"/>
              <a:gd name="T67" fmla="*/ 72059 h 161"/>
              <a:gd name="T68" fmla="*/ 74839 w 161"/>
              <a:gd name="T69" fmla="*/ 72059 h 161"/>
              <a:gd name="T70" fmla="*/ 47625 w 161"/>
              <a:gd name="T71" fmla="*/ 99510 h 161"/>
              <a:gd name="T72" fmla="*/ 119063 w 161"/>
              <a:gd name="T73" fmla="*/ 298529 h 161"/>
              <a:gd name="T74" fmla="*/ 255134 w 161"/>
              <a:gd name="T75" fmla="*/ 435784 h 161"/>
              <a:gd name="T76" fmla="*/ 452438 w 161"/>
              <a:gd name="T77" fmla="*/ 507842 h 161"/>
              <a:gd name="T78" fmla="*/ 479652 w 161"/>
              <a:gd name="T79" fmla="*/ 408333 h 161"/>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161" h="161">
                <a:moveTo>
                  <a:pt x="160" y="39"/>
                </a:moveTo>
                <a:cubicBezTo>
                  <a:pt x="159" y="39"/>
                  <a:pt x="159" y="40"/>
                  <a:pt x="159" y="40"/>
                </a:cubicBezTo>
                <a:cubicBezTo>
                  <a:pt x="159" y="40"/>
                  <a:pt x="159" y="40"/>
                  <a:pt x="159" y="40"/>
                </a:cubicBezTo>
                <a:cubicBezTo>
                  <a:pt x="131" y="68"/>
                  <a:pt x="131" y="68"/>
                  <a:pt x="131" y="68"/>
                </a:cubicBezTo>
                <a:cubicBezTo>
                  <a:pt x="129" y="70"/>
                  <a:pt x="128" y="70"/>
                  <a:pt x="126" y="70"/>
                </a:cubicBezTo>
                <a:cubicBezTo>
                  <a:pt x="124" y="70"/>
                  <a:pt x="123" y="70"/>
                  <a:pt x="122" y="68"/>
                </a:cubicBezTo>
                <a:cubicBezTo>
                  <a:pt x="119" y="66"/>
                  <a:pt x="119" y="62"/>
                  <a:pt x="122" y="59"/>
                </a:cubicBezTo>
                <a:cubicBezTo>
                  <a:pt x="139" y="42"/>
                  <a:pt x="139" y="42"/>
                  <a:pt x="139" y="42"/>
                </a:cubicBezTo>
                <a:cubicBezTo>
                  <a:pt x="98" y="42"/>
                  <a:pt x="98" y="42"/>
                  <a:pt x="98" y="42"/>
                </a:cubicBezTo>
                <a:cubicBezTo>
                  <a:pt x="94" y="42"/>
                  <a:pt x="92" y="39"/>
                  <a:pt x="92" y="36"/>
                </a:cubicBezTo>
                <a:cubicBezTo>
                  <a:pt x="92" y="32"/>
                  <a:pt x="94" y="29"/>
                  <a:pt x="98" y="29"/>
                </a:cubicBezTo>
                <a:cubicBezTo>
                  <a:pt x="139" y="29"/>
                  <a:pt x="139" y="29"/>
                  <a:pt x="139" y="29"/>
                </a:cubicBezTo>
                <a:cubicBezTo>
                  <a:pt x="122" y="12"/>
                  <a:pt x="122" y="12"/>
                  <a:pt x="122" y="12"/>
                </a:cubicBezTo>
                <a:cubicBezTo>
                  <a:pt x="119" y="10"/>
                  <a:pt x="119" y="5"/>
                  <a:pt x="122" y="3"/>
                </a:cubicBezTo>
                <a:cubicBezTo>
                  <a:pt x="124" y="0"/>
                  <a:pt x="128" y="0"/>
                  <a:pt x="131" y="3"/>
                </a:cubicBezTo>
                <a:cubicBezTo>
                  <a:pt x="159" y="31"/>
                  <a:pt x="159" y="31"/>
                  <a:pt x="159" y="31"/>
                </a:cubicBezTo>
                <a:cubicBezTo>
                  <a:pt x="159" y="31"/>
                  <a:pt x="159" y="32"/>
                  <a:pt x="160" y="32"/>
                </a:cubicBezTo>
                <a:cubicBezTo>
                  <a:pt x="160" y="32"/>
                  <a:pt x="160" y="32"/>
                  <a:pt x="160" y="32"/>
                </a:cubicBezTo>
                <a:cubicBezTo>
                  <a:pt x="160" y="33"/>
                  <a:pt x="160" y="33"/>
                  <a:pt x="160" y="33"/>
                </a:cubicBezTo>
                <a:cubicBezTo>
                  <a:pt x="160" y="33"/>
                  <a:pt x="160" y="33"/>
                  <a:pt x="160" y="34"/>
                </a:cubicBezTo>
                <a:cubicBezTo>
                  <a:pt x="160" y="34"/>
                  <a:pt x="161" y="34"/>
                  <a:pt x="161" y="34"/>
                </a:cubicBezTo>
                <a:cubicBezTo>
                  <a:pt x="161" y="35"/>
                  <a:pt x="161" y="35"/>
                  <a:pt x="161" y="36"/>
                </a:cubicBezTo>
                <a:cubicBezTo>
                  <a:pt x="161" y="36"/>
                  <a:pt x="161" y="36"/>
                  <a:pt x="161" y="36"/>
                </a:cubicBezTo>
                <a:cubicBezTo>
                  <a:pt x="161" y="36"/>
                  <a:pt x="161" y="36"/>
                  <a:pt x="161" y="36"/>
                </a:cubicBezTo>
                <a:cubicBezTo>
                  <a:pt x="161" y="36"/>
                  <a:pt x="161" y="36"/>
                  <a:pt x="161" y="36"/>
                </a:cubicBezTo>
                <a:cubicBezTo>
                  <a:pt x="161" y="36"/>
                  <a:pt x="161" y="36"/>
                  <a:pt x="161" y="37"/>
                </a:cubicBezTo>
                <a:cubicBezTo>
                  <a:pt x="161" y="37"/>
                  <a:pt x="160" y="37"/>
                  <a:pt x="160" y="38"/>
                </a:cubicBezTo>
                <a:cubicBezTo>
                  <a:pt x="160" y="38"/>
                  <a:pt x="160" y="38"/>
                  <a:pt x="160" y="38"/>
                </a:cubicBezTo>
                <a:cubicBezTo>
                  <a:pt x="160" y="38"/>
                  <a:pt x="160" y="39"/>
                  <a:pt x="160" y="39"/>
                </a:cubicBezTo>
                <a:cubicBezTo>
                  <a:pt x="160" y="39"/>
                  <a:pt x="160" y="39"/>
                  <a:pt x="160" y="39"/>
                </a:cubicBezTo>
                <a:close/>
                <a:moveTo>
                  <a:pt x="154" y="119"/>
                </a:moveTo>
                <a:cubicBezTo>
                  <a:pt x="154" y="140"/>
                  <a:pt x="154" y="140"/>
                  <a:pt x="154" y="140"/>
                </a:cubicBezTo>
                <a:cubicBezTo>
                  <a:pt x="154" y="152"/>
                  <a:pt x="145" y="161"/>
                  <a:pt x="133" y="161"/>
                </a:cubicBezTo>
                <a:cubicBezTo>
                  <a:pt x="133" y="161"/>
                  <a:pt x="133" y="161"/>
                  <a:pt x="133" y="161"/>
                </a:cubicBezTo>
                <a:cubicBezTo>
                  <a:pt x="133" y="161"/>
                  <a:pt x="132" y="161"/>
                  <a:pt x="131" y="161"/>
                </a:cubicBezTo>
                <a:cubicBezTo>
                  <a:pt x="131" y="161"/>
                  <a:pt x="131" y="161"/>
                  <a:pt x="131" y="161"/>
                </a:cubicBezTo>
                <a:cubicBezTo>
                  <a:pt x="109" y="158"/>
                  <a:pt x="87" y="151"/>
                  <a:pt x="68" y="138"/>
                </a:cubicBezTo>
                <a:cubicBezTo>
                  <a:pt x="50" y="127"/>
                  <a:pt x="35" y="112"/>
                  <a:pt x="24" y="94"/>
                </a:cubicBezTo>
                <a:cubicBezTo>
                  <a:pt x="11" y="75"/>
                  <a:pt x="3" y="53"/>
                  <a:pt x="1" y="30"/>
                </a:cubicBezTo>
                <a:cubicBezTo>
                  <a:pt x="1" y="30"/>
                  <a:pt x="1" y="30"/>
                  <a:pt x="1" y="30"/>
                </a:cubicBezTo>
                <a:cubicBezTo>
                  <a:pt x="0" y="19"/>
                  <a:pt x="8" y="9"/>
                  <a:pt x="20" y="8"/>
                </a:cubicBezTo>
                <a:cubicBezTo>
                  <a:pt x="20" y="8"/>
                  <a:pt x="21" y="8"/>
                  <a:pt x="22" y="8"/>
                </a:cubicBezTo>
                <a:cubicBezTo>
                  <a:pt x="43" y="8"/>
                  <a:pt x="43" y="8"/>
                  <a:pt x="43" y="8"/>
                </a:cubicBezTo>
                <a:cubicBezTo>
                  <a:pt x="53" y="8"/>
                  <a:pt x="62" y="16"/>
                  <a:pt x="63" y="26"/>
                </a:cubicBezTo>
                <a:cubicBezTo>
                  <a:pt x="63" y="26"/>
                  <a:pt x="63" y="26"/>
                  <a:pt x="63" y="26"/>
                </a:cubicBezTo>
                <a:cubicBezTo>
                  <a:pt x="64" y="32"/>
                  <a:pt x="65" y="38"/>
                  <a:pt x="68" y="44"/>
                </a:cubicBezTo>
                <a:cubicBezTo>
                  <a:pt x="70" y="52"/>
                  <a:pt x="69" y="60"/>
                  <a:pt x="63" y="66"/>
                </a:cubicBezTo>
                <a:cubicBezTo>
                  <a:pt x="63" y="66"/>
                  <a:pt x="63" y="66"/>
                  <a:pt x="63" y="66"/>
                </a:cubicBezTo>
                <a:cubicBezTo>
                  <a:pt x="58" y="71"/>
                  <a:pt x="58" y="71"/>
                  <a:pt x="58" y="71"/>
                </a:cubicBezTo>
                <a:cubicBezTo>
                  <a:pt x="66" y="84"/>
                  <a:pt x="77" y="96"/>
                  <a:pt x="91" y="104"/>
                </a:cubicBezTo>
                <a:cubicBezTo>
                  <a:pt x="96" y="99"/>
                  <a:pt x="96" y="99"/>
                  <a:pt x="96" y="99"/>
                </a:cubicBezTo>
                <a:cubicBezTo>
                  <a:pt x="96" y="99"/>
                  <a:pt x="96" y="99"/>
                  <a:pt x="96" y="99"/>
                </a:cubicBezTo>
                <a:cubicBezTo>
                  <a:pt x="102" y="93"/>
                  <a:pt x="110" y="91"/>
                  <a:pt x="118" y="94"/>
                </a:cubicBezTo>
                <a:cubicBezTo>
                  <a:pt x="124" y="96"/>
                  <a:pt x="130" y="98"/>
                  <a:pt x="136" y="99"/>
                </a:cubicBezTo>
                <a:cubicBezTo>
                  <a:pt x="136" y="99"/>
                  <a:pt x="136" y="99"/>
                  <a:pt x="136" y="99"/>
                </a:cubicBezTo>
                <a:cubicBezTo>
                  <a:pt x="146" y="100"/>
                  <a:pt x="154" y="109"/>
                  <a:pt x="154" y="119"/>
                </a:cubicBezTo>
                <a:close/>
                <a:moveTo>
                  <a:pt x="141" y="119"/>
                </a:moveTo>
                <a:cubicBezTo>
                  <a:pt x="141" y="115"/>
                  <a:pt x="138" y="112"/>
                  <a:pt x="134" y="111"/>
                </a:cubicBezTo>
                <a:cubicBezTo>
                  <a:pt x="127" y="111"/>
                  <a:pt x="120" y="109"/>
                  <a:pt x="113" y="106"/>
                </a:cubicBezTo>
                <a:cubicBezTo>
                  <a:pt x="110" y="105"/>
                  <a:pt x="107" y="106"/>
                  <a:pt x="105" y="108"/>
                </a:cubicBezTo>
                <a:cubicBezTo>
                  <a:pt x="96" y="117"/>
                  <a:pt x="96" y="117"/>
                  <a:pt x="96" y="117"/>
                </a:cubicBezTo>
                <a:cubicBezTo>
                  <a:pt x="94" y="119"/>
                  <a:pt x="91" y="119"/>
                  <a:pt x="88" y="118"/>
                </a:cubicBezTo>
                <a:cubicBezTo>
                  <a:pt x="70" y="107"/>
                  <a:pt x="54" y="92"/>
                  <a:pt x="44" y="73"/>
                </a:cubicBezTo>
                <a:cubicBezTo>
                  <a:pt x="42" y="71"/>
                  <a:pt x="43" y="68"/>
                  <a:pt x="45" y="66"/>
                </a:cubicBezTo>
                <a:cubicBezTo>
                  <a:pt x="54" y="57"/>
                  <a:pt x="54" y="57"/>
                  <a:pt x="54" y="57"/>
                </a:cubicBezTo>
                <a:cubicBezTo>
                  <a:pt x="56" y="54"/>
                  <a:pt x="57" y="51"/>
                  <a:pt x="56" y="49"/>
                </a:cubicBezTo>
                <a:cubicBezTo>
                  <a:pt x="53" y="42"/>
                  <a:pt x="51" y="35"/>
                  <a:pt x="50" y="27"/>
                </a:cubicBezTo>
                <a:cubicBezTo>
                  <a:pt x="50" y="24"/>
                  <a:pt x="46" y="21"/>
                  <a:pt x="43" y="21"/>
                </a:cubicBezTo>
                <a:cubicBezTo>
                  <a:pt x="43" y="21"/>
                  <a:pt x="43" y="21"/>
                  <a:pt x="43" y="21"/>
                </a:cubicBezTo>
                <a:cubicBezTo>
                  <a:pt x="22" y="21"/>
                  <a:pt x="22" y="21"/>
                  <a:pt x="22" y="21"/>
                </a:cubicBezTo>
                <a:cubicBezTo>
                  <a:pt x="21" y="21"/>
                  <a:pt x="21" y="21"/>
                  <a:pt x="21" y="21"/>
                </a:cubicBezTo>
                <a:cubicBezTo>
                  <a:pt x="17" y="21"/>
                  <a:pt x="14" y="25"/>
                  <a:pt x="14" y="29"/>
                </a:cubicBezTo>
                <a:cubicBezTo>
                  <a:pt x="16" y="50"/>
                  <a:pt x="23" y="70"/>
                  <a:pt x="35" y="87"/>
                </a:cubicBezTo>
                <a:cubicBezTo>
                  <a:pt x="35" y="87"/>
                  <a:pt x="35" y="87"/>
                  <a:pt x="35" y="87"/>
                </a:cubicBezTo>
                <a:cubicBezTo>
                  <a:pt x="45" y="103"/>
                  <a:pt x="59" y="117"/>
                  <a:pt x="75" y="127"/>
                </a:cubicBezTo>
                <a:cubicBezTo>
                  <a:pt x="75" y="127"/>
                  <a:pt x="75" y="127"/>
                  <a:pt x="75" y="127"/>
                </a:cubicBezTo>
                <a:cubicBezTo>
                  <a:pt x="92" y="139"/>
                  <a:pt x="112" y="146"/>
                  <a:pt x="133" y="148"/>
                </a:cubicBezTo>
                <a:cubicBezTo>
                  <a:pt x="133" y="148"/>
                  <a:pt x="133" y="148"/>
                  <a:pt x="133" y="148"/>
                </a:cubicBezTo>
                <a:cubicBezTo>
                  <a:pt x="137" y="148"/>
                  <a:pt x="141" y="145"/>
                  <a:pt x="141" y="140"/>
                </a:cubicBezTo>
                <a:cubicBezTo>
                  <a:pt x="141" y="119"/>
                  <a:pt x="141" y="119"/>
                  <a:pt x="141" y="119"/>
                </a:cubicBezTo>
                <a:cubicBezTo>
                  <a:pt x="141" y="119"/>
                  <a:pt x="141" y="119"/>
                  <a:pt x="141" y="119"/>
                </a:cubicBezTo>
                <a:close/>
              </a:path>
            </a:pathLst>
          </a:custGeom>
          <a:solidFill>
            <a:srgbClr val="FFFFFF"/>
          </a:solidFill>
          <a:ln>
            <a:noFill/>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HarmonyOS Sans SC"/>
              <a:cs typeface="+mn-cs"/>
            </a:endParaRPr>
          </a:p>
        </p:txBody>
      </p:sp>
      <p:sp>
        <p:nvSpPr>
          <p:cNvPr id="12" name="Freeform 101">
            <a:extLst>
              <a:ext uri="{FF2B5EF4-FFF2-40B4-BE49-F238E27FC236}">
                <a16:creationId xmlns:a16="http://schemas.microsoft.com/office/drawing/2014/main" id="{7DC6238B-DD79-41B0-A9FC-AE58B750EE50}"/>
              </a:ext>
            </a:extLst>
          </p:cNvPr>
          <p:cNvSpPr>
            <a:spLocks noEditPoints="1"/>
          </p:cNvSpPr>
          <p:nvPr/>
        </p:nvSpPr>
        <p:spPr bwMode="auto">
          <a:xfrm>
            <a:off x="4770709" y="2598218"/>
            <a:ext cx="352185" cy="352185"/>
          </a:xfrm>
          <a:custGeom>
            <a:avLst/>
            <a:gdLst>
              <a:gd name="T0" fmla="*/ 498100 w 161"/>
              <a:gd name="T1" fmla="*/ 51495 h 160"/>
              <a:gd name="T2" fmla="*/ 375281 w 161"/>
              <a:gd name="T3" fmla="*/ 0 h 160"/>
              <a:gd name="T4" fmla="*/ 255873 w 161"/>
              <a:gd name="T5" fmla="*/ 51495 h 160"/>
              <a:gd name="T6" fmla="*/ 85291 w 161"/>
              <a:gd name="T7" fmla="*/ 219710 h 160"/>
              <a:gd name="T8" fmla="*/ 78468 w 161"/>
              <a:gd name="T9" fmla="*/ 236875 h 160"/>
              <a:gd name="T10" fmla="*/ 78468 w 161"/>
              <a:gd name="T11" fmla="*/ 442853 h 160"/>
              <a:gd name="T12" fmla="*/ 10235 w 161"/>
              <a:gd name="T13" fmla="*/ 511512 h 160"/>
              <a:gd name="T14" fmla="*/ 10235 w 161"/>
              <a:gd name="T15" fmla="*/ 542409 h 160"/>
              <a:gd name="T16" fmla="*/ 23882 w 161"/>
              <a:gd name="T17" fmla="*/ 549275 h 160"/>
              <a:gd name="T18" fmla="*/ 40940 w 161"/>
              <a:gd name="T19" fmla="*/ 542409 h 160"/>
              <a:gd name="T20" fmla="*/ 109173 w 161"/>
              <a:gd name="T21" fmla="*/ 473750 h 160"/>
              <a:gd name="T22" fmla="*/ 313871 w 161"/>
              <a:gd name="T23" fmla="*/ 473750 h 160"/>
              <a:gd name="T24" fmla="*/ 330930 w 161"/>
              <a:gd name="T25" fmla="*/ 466884 h 160"/>
              <a:gd name="T26" fmla="*/ 498100 w 161"/>
              <a:gd name="T27" fmla="*/ 295235 h 160"/>
              <a:gd name="T28" fmla="*/ 549275 w 161"/>
              <a:gd name="T29" fmla="*/ 175081 h 160"/>
              <a:gd name="T30" fmla="*/ 498100 w 161"/>
              <a:gd name="T31" fmla="*/ 51495 h 160"/>
              <a:gd name="T32" fmla="*/ 303636 w 161"/>
              <a:gd name="T33" fmla="*/ 429121 h 160"/>
              <a:gd name="T34" fmla="*/ 153524 w 161"/>
              <a:gd name="T35" fmla="*/ 429121 h 160"/>
              <a:gd name="T36" fmla="*/ 211522 w 161"/>
              <a:gd name="T37" fmla="*/ 374194 h 160"/>
              <a:gd name="T38" fmla="*/ 361634 w 161"/>
              <a:gd name="T39" fmla="*/ 374194 h 160"/>
              <a:gd name="T40" fmla="*/ 303636 w 161"/>
              <a:gd name="T41" fmla="*/ 429121 h 160"/>
              <a:gd name="T42" fmla="*/ 467395 w 161"/>
              <a:gd name="T43" fmla="*/ 264339 h 160"/>
              <a:gd name="T44" fmla="*/ 467395 w 161"/>
              <a:gd name="T45" fmla="*/ 264339 h 160"/>
              <a:gd name="T46" fmla="*/ 405986 w 161"/>
              <a:gd name="T47" fmla="*/ 329565 h 160"/>
              <a:gd name="T48" fmla="*/ 402574 w 161"/>
              <a:gd name="T49" fmla="*/ 329565 h 160"/>
              <a:gd name="T50" fmla="*/ 255873 w 161"/>
              <a:gd name="T51" fmla="*/ 329565 h 160"/>
              <a:gd name="T52" fmla="*/ 392339 w 161"/>
              <a:gd name="T53" fmla="*/ 188813 h 160"/>
              <a:gd name="T54" fmla="*/ 392339 w 161"/>
              <a:gd name="T55" fmla="*/ 157917 h 160"/>
              <a:gd name="T56" fmla="*/ 361634 w 161"/>
              <a:gd name="T57" fmla="*/ 157917 h 160"/>
              <a:gd name="T58" fmla="*/ 184229 w 161"/>
              <a:gd name="T59" fmla="*/ 332998 h 160"/>
              <a:gd name="T60" fmla="*/ 184229 w 161"/>
              <a:gd name="T61" fmla="*/ 336431 h 160"/>
              <a:gd name="T62" fmla="*/ 122819 w 161"/>
              <a:gd name="T63" fmla="*/ 398224 h 160"/>
              <a:gd name="T64" fmla="*/ 122819 w 161"/>
              <a:gd name="T65" fmla="*/ 247174 h 160"/>
              <a:gd name="T66" fmla="*/ 286578 w 161"/>
              <a:gd name="T67" fmla="*/ 82391 h 160"/>
              <a:gd name="T68" fmla="*/ 375281 w 161"/>
              <a:gd name="T69" fmla="*/ 44629 h 160"/>
              <a:gd name="T70" fmla="*/ 467395 w 161"/>
              <a:gd name="T71" fmla="*/ 82391 h 160"/>
              <a:gd name="T72" fmla="*/ 504924 w 161"/>
              <a:gd name="T73" fmla="*/ 175081 h 160"/>
              <a:gd name="T74" fmla="*/ 467395 w 161"/>
              <a:gd name="T75" fmla="*/ 264339 h 160"/>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161" h="160">
                <a:moveTo>
                  <a:pt x="146" y="15"/>
                </a:moveTo>
                <a:cubicBezTo>
                  <a:pt x="137" y="5"/>
                  <a:pt x="124" y="0"/>
                  <a:pt x="110" y="0"/>
                </a:cubicBezTo>
                <a:cubicBezTo>
                  <a:pt x="97" y="0"/>
                  <a:pt x="84" y="5"/>
                  <a:pt x="75" y="15"/>
                </a:cubicBezTo>
                <a:cubicBezTo>
                  <a:pt x="25" y="64"/>
                  <a:pt x="25" y="64"/>
                  <a:pt x="25" y="64"/>
                </a:cubicBezTo>
                <a:cubicBezTo>
                  <a:pt x="24" y="66"/>
                  <a:pt x="23" y="67"/>
                  <a:pt x="23" y="69"/>
                </a:cubicBezTo>
                <a:cubicBezTo>
                  <a:pt x="23" y="129"/>
                  <a:pt x="23" y="129"/>
                  <a:pt x="23" y="129"/>
                </a:cubicBezTo>
                <a:cubicBezTo>
                  <a:pt x="3" y="149"/>
                  <a:pt x="3" y="149"/>
                  <a:pt x="3" y="149"/>
                </a:cubicBezTo>
                <a:cubicBezTo>
                  <a:pt x="0" y="151"/>
                  <a:pt x="0" y="156"/>
                  <a:pt x="3" y="158"/>
                </a:cubicBezTo>
                <a:cubicBezTo>
                  <a:pt x="4" y="159"/>
                  <a:pt x="6" y="160"/>
                  <a:pt x="7" y="160"/>
                </a:cubicBezTo>
                <a:cubicBezTo>
                  <a:pt x="9" y="160"/>
                  <a:pt x="11" y="159"/>
                  <a:pt x="12" y="158"/>
                </a:cubicBezTo>
                <a:cubicBezTo>
                  <a:pt x="32" y="138"/>
                  <a:pt x="32" y="138"/>
                  <a:pt x="32" y="138"/>
                </a:cubicBezTo>
                <a:cubicBezTo>
                  <a:pt x="92" y="138"/>
                  <a:pt x="92" y="138"/>
                  <a:pt x="92" y="138"/>
                </a:cubicBezTo>
                <a:cubicBezTo>
                  <a:pt x="94" y="138"/>
                  <a:pt x="95" y="137"/>
                  <a:pt x="97" y="136"/>
                </a:cubicBezTo>
                <a:cubicBezTo>
                  <a:pt x="146" y="86"/>
                  <a:pt x="146" y="86"/>
                  <a:pt x="146" y="86"/>
                </a:cubicBezTo>
                <a:cubicBezTo>
                  <a:pt x="156" y="77"/>
                  <a:pt x="161" y="64"/>
                  <a:pt x="161" y="51"/>
                </a:cubicBezTo>
                <a:cubicBezTo>
                  <a:pt x="161" y="37"/>
                  <a:pt x="156" y="24"/>
                  <a:pt x="146" y="15"/>
                </a:cubicBezTo>
                <a:close/>
                <a:moveTo>
                  <a:pt x="89" y="125"/>
                </a:moveTo>
                <a:cubicBezTo>
                  <a:pt x="45" y="125"/>
                  <a:pt x="45" y="125"/>
                  <a:pt x="45" y="125"/>
                </a:cubicBezTo>
                <a:cubicBezTo>
                  <a:pt x="62" y="109"/>
                  <a:pt x="62" y="109"/>
                  <a:pt x="62" y="109"/>
                </a:cubicBezTo>
                <a:cubicBezTo>
                  <a:pt x="106" y="109"/>
                  <a:pt x="106" y="109"/>
                  <a:pt x="106" y="109"/>
                </a:cubicBezTo>
                <a:lnTo>
                  <a:pt x="89" y="125"/>
                </a:lnTo>
                <a:close/>
                <a:moveTo>
                  <a:pt x="137" y="77"/>
                </a:moveTo>
                <a:cubicBezTo>
                  <a:pt x="137" y="77"/>
                  <a:pt x="137" y="77"/>
                  <a:pt x="137" y="77"/>
                </a:cubicBezTo>
                <a:cubicBezTo>
                  <a:pt x="119" y="96"/>
                  <a:pt x="119" y="96"/>
                  <a:pt x="119" y="96"/>
                </a:cubicBezTo>
                <a:cubicBezTo>
                  <a:pt x="118" y="96"/>
                  <a:pt x="118" y="96"/>
                  <a:pt x="118" y="96"/>
                </a:cubicBezTo>
                <a:cubicBezTo>
                  <a:pt x="75" y="96"/>
                  <a:pt x="75" y="96"/>
                  <a:pt x="75" y="96"/>
                </a:cubicBezTo>
                <a:cubicBezTo>
                  <a:pt x="115" y="55"/>
                  <a:pt x="115" y="55"/>
                  <a:pt x="115" y="55"/>
                </a:cubicBezTo>
                <a:cubicBezTo>
                  <a:pt x="117" y="53"/>
                  <a:pt x="117" y="49"/>
                  <a:pt x="115" y="46"/>
                </a:cubicBezTo>
                <a:cubicBezTo>
                  <a:pt x="112" y="44"/>
                  <a:pt x="108" y="44"/>
                  <a:pt x="106" y="46"/>
                </a:cubicBezTo>
                <a:cubicBezTo>
                  <a:pt x="54" y="97"/>
                  <a:pt x="54" y="97"/>
                  <a:pt x="54" y="97"/>
                </a:cubicBezTo>
                <a:cubicBezTo>
                  <a:pt x="54" y="98"/>
                  <a:pt x="54" y="98"/>
                  <a:pt x="54" y="98"/>
                </a:cubicBezTo>
                <a:cubicBezTo>
                  <a:pt x="36" y="116"/>
                  <a:pt x="36" y="116"/>
                  <a:pt x="36" y="116"/>
                </a:cubicBezTo>
                <a:cubicBezTo>
                  <a:pt x="36" y="72"/>
                  <a:pt x="36" y="72"/>
                  <a:pt x="36" y="72"/>
                </a:cubicBezTo>
                <a:cubicBezTo>
                  <a:pt x="84" y="24"/>
                  <a:pt x="84" y="24"/>
                  <a:pt x="84" y="24"/>
                </a:cubicBezTo>
                <a:cubicBezTo>
                  <a:pt x="91" y="17"/>
                  <a:pt x="100" y="13"/>
                  <a:pt x="110" y="13"/>
                </a:cubicBezTo>
                <a:cubicBezTo>
                  <a:pt x="120" y="13"/>
                  <a:pt x="130" y="17"/>
                  <a:pt x="137" y="24"/>
                </a:cubicBezTo>
                <a:cubicBezTo>
                  <a:pt x="144" y="31"/>
                  <a:pt x="148" y="41"/>
                  <a:pt x="148" y="51"/>
                </a:cubicBezTo>
                <a:cubicBezTo>
                  <a:pt x="148" y="61"/>
                  <a:pt x="144" y="70"/>
                  <a:pt x="137" y="77"/>
                </a:cubicBezTo>
                <a:close/>
              </a:path>
            </a:pathLst>
          </a:custGeom>
          <a:solidFill>
            <a:srgbClr val="FFFFFF"/>
          </a:solidFill>
          <a:ln>
            <a:noFill/>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13" name="Freeform 20">
            <a:extLst>
              <a:ext uri="{FF2B5EF4-FFF2-40B4-BE49-F238E27FC236}">
                <a16:creationId xmlns:a16="http://schemas.microsoft.com/office/drawing/2014/main" id="{BB74EB94-E1EC-42AC-A4D3-16CF492F8DC8}"/>
              </a:ext>
            </a:extLst>
          </p:cNvPr>
          <p:cNvSpPr>
            <a:spLocks noEditPoints="1"/>
          </p:cNvSpPr>
          <p:nvPr/>
        </p:nvSpPr>
        <p:spPr bwMode="auto">
          <a:xfrm>
            <a:off x="5866542" y="4431830"/>
            <a:ext cx="458916" cy="374345"/>
          </a:xfrm>
          <a:custGeom>
            <a:avLst/>
            <a:gdLst>
              <a:gd name="T0" fmla="*/ 493833 w 172"/>
              <a:gd name="T1" fmla="*/ 415960 h 139"/>
              <a:gd name="T2" fmla="*/ 483616 w 172"/>
              <a:gd name="T3" fmla="*/ 419397 h 139"/>
              <a:gd name="T4" fmla="*/ 463181 w 172"/>
              <a:gd name="T5" fmla="*/ 405647 h 139"/>
              <a:gd name="T6" fmla="*/ 473398 w 172"/>
              <a:gd name="T7" fmla="*/ 378145 h 139"/>
              <a:gd name="T8" fmla="*/ 510862 w 172"/>
              <a:gd name="T9" fmla="*/ 250951 h 139"/>
              <a:gd name="T10" fmla="*/ 429124 w 172"/>
              <a:gd name="T11" fmla="*/ 202823 h 139"/>
              <a:gd name="T12" fmla="*/ 401878 w 172"/>
              <a:gd name="T13" fmla="*/ 202823 h 139"/>
              <a:gd name="T14" fmla="*/ 378038 w 172"/>
              <a:gd name="T15" fmla="*/ 185635 h 139"/>
              <a:gd name="T16" fmla="*/ 183910 w 172"/>
              <a:gd name="T17" fmla="*/ 68754 h 139"/>
              <a:gd name="T18" fmla="*/ 85144 w 172"/>
              <a:gd name="T19" fmla="*/ 144383 h 139"/>
              <a:gd name="T20" fmla="*/ 68115 w 172"/>
              <a:gd name="T21" fmla="*/ 268139 h 139"/>
              <a:gd name="T22" fmla="*/ 105578 w 172"/>
              <a:gd name="T23" fmla="*/ 333455 h 139"/>
              <a:gd name="T24" fmla="*/ 102172 w 172"/>
              <a:gd name="T25" fmla="*/ 364394 h 139"/>
              <a:gd name="T26" fmla="*/ 71521 w 172"/>
              <a:gd name="T27" fmla="*/ 364394 h 139"/>
              <a:gd name="T28" fmla="*/ 27246 w 172"/>
              <a:gd name="T29" fmla="*/ 278452 h 139"/>
              <a:gd name="T30" fmla="*/ 173693 w 172"/>
              <a:gd name="T31" fmla="*/ 27501 h 139"/>
              <a:gd name="T32" fmla="*/ 418907 w 172"/>
              <a:gd name="T33" fmla="*/ 158133 h 139"/>
              <a:gd name="T34" fmla="*/ 429124 w 172"/>
              <a:gd name="T35" fmla="*/ 158133 h 139"/>
              <a:gd name="T36" fmla="*/ 548325 w 172"/>
              <a:gd name="T37" fmla="*/ 230325 h 139"/>
              <a:gd name="T38" fmla="*/ 493833 w 172"/>
              <a:gd name="T39" fmla="*/ 415960 h 139"/>
              <a:gd name="T40" fmla="*/ 309923 w 172"/>
              <a:gd name="T41" fmla="*/ 233762 h 139"/>
              <a:gd name="T42" fmla="*/ 306517 w 172"/>
              <a:gd name="T43" fmla="*/ 230325 h 139"/>
              <a:gd name="T44" fmla="*/ 303111 w 172"/>
              <a:gd name="T45" fmla="*/ 230325 h 139"/>
              <a:gd name="T46" fmla="*/ 303111 w 172"/>
              <a:gd name="T47" fmla="*/ 230325 h 139"/>
              <a:gd name="T48" fmla="*/ 299705 w 172"/>
              <a:gd name="T49" fmla="*/ 230325 h 139"/>
              <a:gd name="T50" fmla="*/ 296300 w 172"/>
              <a:gd name="T51" fmla="*/ 226887 h 139"/>
              <a:gd name="T52" fmla="*/ 292894 w 172"/>
              <a:gd name="T53" fmla="*/ 226887 h 139"/>
              <a:gd name="T54" fmla="*/ 289488 w 172"/>
              <a:gd name="T55" fmla="*/ 226887 h 139"/>
              <a:gd name="T56" fmla="*/ 286083 w 172"/>
              <a:gd name="T57" fmla="*/ 230325 h 139"/>
              <a:gd name="T58" fmla="*/ 286083 w 172"/>
              <a:gd name="T59" fmla="*/ 230325 h 139"/>
              <a:gd name="T60" fmla="*/ 282677 w 172"/>
              <a:gd name="T61" fmla="*/ 230325 h 139"/>
              <a:gd name="T62" fmla="*/ 279271 w 172"/>
              <a:gd name="T63" fmla="*/ 230325 h 139"/>
              <a:gd name="T64" fmla="*/ 275865 w 172"/>
              <a:gd name="T65" fmla="*/ 233762 h 139"/>
              <a:gd name="T66" fmla="*/ 187316 w 172"/>
              <a:gd name="T67" fmla="*/ 326580 h 139"/>
              <a:gd name="T68" fmla="*/ 187316 w 172"/>
              <a:gd name="T69" fmla="*/ 357519 h 139"/>
              <a:gd name="T70" fmla="*/ 217968 w 172"/>
              <a:gd name="T71" fmla="*/ 357519 h 139"/>
              <a:gd name="T72" fmla="*/ 272460 w 172"/>
              <a:gd name="T73" fmla="*/ 302516 h 139"/>
              <a:gd name="T74" fmla="*/ 272460 w 172"/>
              <a:gd name="T75" fmla="*/ 457212 h 139"/>
              <a:gd name="T76" fmla="*/ 292894 w 172"/>
              <a:gd name="T77" fmla="*/ 477838 h 139"/>
              <a:gd name="T78" fmla="*/ 316734 w 172"/>
              <a:gd name="T79" fmla="*/ 457212 h 139"/>
              <a:gd name="T80" fmla="*/ 316734 w 172"/>
              <a:gd name="T81" fmla="*/ 302516 h 139"/>
              <a:gd name="T82" fmla="*/ 367820 w 172"/>
              <a:gd name="T83" fmla="*/ 357519 h 139"/>
              <a:gd name="T84" fmla="*/ 384849 w 172"/>
              <a:gd name="T85" fmla="*/ 364394 h 139"/>
              <a:gd name="T86" fmla="*/ 398472 w 172"/>
              <a:gd name="T87" fmla="*/ 357519 h 139"/>
              <a:gd name="T88" fmla="*/ 398472 w 172"/>
              <a:gd name="T89" fmla="*/ 326580 h 139"/>
              <a:gd name="T90" fmla="*/ 309923 w 172"/>
              <a:gd name="T91" fmla="*/ 233762 h 139"/>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172" h="139">
                <a:moveTo>
                  <a:pt x="145" y="121"/>
                </a:moveTo>
                <a:cubicBezTo>
                  <a:pt x="144" y="122"/>
                  <a:pt x="143" y="122"/>
                  <a:pt x="142" y="122"/>
                </a:cubicBezTo>
                <a:cubicBezTo>
                  <a:pt x="140" y="122"/>
                  <a:pt x="138" y="121"/>
                  <a:pt x="136" y="118"/>
                </a:cubicBezTo>
                <a:cubicBezTo>
                  <a:pt x="135" y="115"/>
                  <a:pt x="136" y="111"/>
                  <a:pt x="139" y="110"/>
                </a:cubicBezTo>
                <a:cubicBezTo>
                  <a:pt x="152" y="103"/>
                  <a:pt x="157" y="86"/>
                  <a:pt x="150" y="73"/>
                </a:cubicBezTo>
                <a:cubicBezTo>
                  <a:pt x="145" y="64"/>
                  <a:pt x="136" y="59"/>
                  <a:pt x="126" y="59"/>
                </a:cubicBezTo>
                <a:cubicBezTo>
                  <a:pt x="118" y="59"/>
                  <a:pt x="118" y="59"/>
                  <a:pt x="118" y="59"/>
                </a:cubicBezTo>
                <a:cubicBezTo>
                  <a:pt x="115" y="59"/>
                  <a:pt x="112" y="57"/>
                  <a:pt x="111" y="54"/>
                </a:cubicBezTo>
                <a:cubicBezTo>
                  <a:pt x="105" y="29"/>
                  <a:pt x="79" y="14"/>
                  <a:pt x="54" y="20"/>
                </a:cubicBezTo>
                <a:cubicBezTo>
                  <a:pt x="42" y="24"/>
                  <a:pt x="32" y="31"/>
                  <a:pt x="25" y="42"/>
                </a:cubicBezTo>
                <a:cubicBezTo>
                  <a:pt x="19" y="53"/>
                  <a:pt x="17" y="66"/>
                  <a:pt x="20" y="78"/>
                </a:cubicBezTo>
                <a:cubicBezTo>
                  <a:pt x="22" y="85"/>
                  <a:pt x="26" y="92"/>
                  <a:pt x="31" y="97"/>
                </a:cubicBezTo>
                <a:cubicBezTo>
                  <a:pt x="33" y="100"/>
                  <a:pt x="33" y="104"/>
                  <a:pt x="30" y="106"/>
                </a:cubicBezTo>
                <a:cubicBezTo>
                  <a:pt x="27" y="109"/>
                  <a:pt x="23" y="108"/>
                  <a:pt x="21" y="106"/>
                </a:cubicBezTo>
                <a:cubicBezTo>
                  <a:pt x="15" y="99"/>
                  <a:pt x="10" y="90"/>
                  <a:pt x="8" y="81"/>
                </a:cubicBezTo>
                <a:cubicBezTo>
                  <a:pt x="0" y="49"/>
                  <a:pt x="19" y="16"/>
                  <a:pt x="51" y="8"/>
                </a:cubicBezTo>
                <a:cubicBezTo>
                  <a:pt x="81" y="0"/>
                  <a:pt x="112" y="17"/>
                  <a:pt x="123" y="46"/>
                </a:cubicBezTo>
                <a:cubicBezTo>
                  <a:pt x="126" y="46"/>
                  <a:pt x="126" y="46"/>
                  <a:pt x="126" y="46"/>
                </a:cubicBezTo>
                <a:cubicBezTo>
                  <a:pt x="141" y="46"/>
                  <a:pt x="154" y="54"/>
                  <a:pt x="161" y="67"/>
                </a:cubicBezTo>
                <a:cubicBezTo>
                  <a:pt x="172" y="86"/>
                  <a:pt x="165" y="110"/>
                  <a:pt x="145" y="121"/>
                </a:cubicBezTo>
                <a:close/>
                <a:moveTo>
                  <a:pt x="91" y="68"/>
                </a:moveTo>
                <a:cubicBezTo>
                  <a:pt x="90" y="68"/>
                  <a:pt x="90" y="67"/>
                  <a:pt x="90" y="67"/>
                </a:cubicBezTo>
                <a:cubicBezTo>
                  <a:pt x="90" y="67"/>
                  <a:pt x="89" y="67"/>
                  <a:pt x="89" y="67"/>
                </a:cubicBezTo>
                <a:cubicBezTo>
                  <a:pt x="89" y="67"/>
                  <a:pt x="89" y="67"/>
                  <a:pt x="89" y="67"/>
                </a:cubicBezTo>
                <a:cubicBezTo>
                  <a:pt x="88" y="67"/>
                  <a:pt x="88" y="67"/>
                  <a:pt x="88" y="67"/>
                </a:cubicBezTo>
                <a:cubicBezTo>
                  <a:pt x="88" y="66"/>
                  <a:pt x="88" y="66"/>
                  <a:pt x="87" y="66"/>
                </a:cubicBezTo>
                <a:cubicBezTo>
                  <a:pt x="87" y="66"/>
                  <a:pt x="86" y="66"/>
                  <a:pt x="86" y="66"/>
                </a:cubicBezTo>
                <a:cubicBezTo>
                  <a:pt x="86" y="66"/>
                  <a:pt x="85" y="66"/>
                  <a:pt x="85" y="66"/>
                </a:cubicBezTo>
                <a:cubicBezTo>
                  <a:pt x="84" y="66"/>
                  <a:pt x="84" y="66"/>
                  <a:pt x="84" y="67"/>
                </a:cubicBezTo>
                <a:cubicBezTo>
                  <a:pt x="84" y="67"/>
                  <a:pt x="84" y="67"/>
                  <a:pt x="84" y="67"/>
                </a:cubicBezTo>
                <a:cubicBezTo>
                  <a:pt x="83" y="67"/>
                  <a:pt x="83" y="67"/>
                  <a:pt x="83" y="67"/>
                </a:cubicBezTo>
                <a:cubicBezTo>
                  <a:pt x="83" y="67"/>
                  <a:pt x="83" y="67"/>
                  <a:pt x="82" y="67"/>
                </a:cubicBezTo>
                <a:cubicBezTo>
                  <a:pt x="82" y="67"/>
                  <a:pt x="82" y="68"/>
                  <a:pt x="81" y="68"/>
                </a:cubicBezTo>
                <a:cubicBezTo>
                  <a:pt x="55" y="95"/>
                  <a:pt x="55" y="95"/>
                  <a:pt x="55" y="95"/>
                </a:cubicBezTo>
                <a:cubicBezTo>
                  <a:pt x="52" y="97"/>
                  <a:pt x="52" y="101"/>
                  <a:pt x="55" y="104"/>
                </a:cubicBezTo>
                <a:cubicBezTo>
                  <a:pt x="57" y="106"/>
                  <a:pt x="61" y="106"/>
                  <a:pt x="64" y="104"/>
                </a:cubicBezTo>
                <a:cubicBezTo>
                  <a:pt x="80" y="88"/>
                  <a:pt x="80" y="88"/>
                  <a:pt x="80" y="88"/>
                </a:cubicBezTo>
                <a:cubicBezTo>
                  <a:pt x="80" y="133"/>
                  <a:pt x="80" y="133"/>
                  <a:pt x="80" y="133"/>
                </a:cubicBezTo>
                <a:cubicBezTo>
                  <a:pt x="80" y="136"/>
                  <a:pt x="82" y="139"/>
                  <a:pt x="86" y="139"/>
                </a:cubicBezTo>
                <a:cubicBezTo>
                  <a:pt x="90" y="139"/>
                  <a:pt x="93" y="136"/>
                  <a:pt x="93" y="133"/>
                </a:cubicBezTo>
                <a:cubicBezTo>
                  <a:pt x="93" y="88"/>
                  <a:pt x="93" y="88"/>
                  <a:pt x="93" y="88"/>
                </a:cubicBezTo>
                <a:cubicBezTo>
                  <a:pt x="108" y="104"/>
                  <a:pt x="108" y="104"/>
                  <a:pt x="108" y="104"/>
                </a:cubicBezTo>
                <a:cubicBezTo>
                  <a:pt x="109" y="105"/>
                  <a:pt x="111" y="106"/>
                  <a:pt x="113" y="106"/>
                </a:cubicBezTo>
                <a:cubicBezTo>
                  <a:pt x="114" y="106"/>
                  <a:pt x="116" y="105"/>
                  <a:pt x="117" y="104"/>
                </a:cubicBezTo>
                <a:cubicBezTo>
                  <a:pt x="120" y="101"/>
                  <a:pt x="120" y="97"/>
                  <a:pt x="117" y="95"/>
                </a:cubicBezTo>
                <a:lnTo>
                  <a:pt x="91" y="68"/>
                </a:lnTo>
                <a:close/>
              </a:path>
            </a:pathLst>
          </a:custGeom>
          <a:solidFill>
            <a:srgbClr val="FFFFFF"/>
          </a:solidFill>
          <a:ln>
            <a:noFill/>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14" name="TextBox 39">
            <a:extLst>
              <a:ext uri="{FF2B5EF4-FFF2-40B4-BE49-F238E27FC236}">
                <a16:creationId xmlns:a16="http://schemas.microsoft.com/office/drawing/2014/main" id="{FA01EFFF-0C28-4071-8646-ED1F1FCDF97A}"/>
              </a:ext>
            </a:extLst>
          </p:cNvPr>
          <p:cNvSpPr txBox="1"/>
          <p:nvPr/>
        </p:nvSpPr>
        <p:spPr>
          <a:xfrm>
            <a:off x="5512181" y="3141141"/>
            <a:ext cx="1167638" cy="553998"/>
          </a:xfrm>
          <a:prstGeom prst="rect">
            <a:avLst/>
          </a:prstGeom>
          <a:noFill/>
        </p:spPr>
        <p:txBody>
          <a:bodyPr wrap="square" lIns="0" tIns="0" rIns="0" bIns="0" rtlCol="0">
            <a:spAutoFit/>
          </a:bodyPr>
          <a:lstStyle/>
          <a:p>
            <a:pPr marL="0" marR="0" lvl="0" indent="0" algn="ctr" defTabSz="457200" rtl="0" eaLnBrk="1" fontAlgn="base" latinLnBrk="0" hangingPunct="1">
              <a:lnSpc>
                <a:spcPct val="100000"/>
              </a:lnSpc>
              <a:spcBef>
                <a:spcPts val="1000"/>
              </a:spcBef>
              <a:spcAft>
                <a:spcPts val="0"/>
              </a:spcAft>
              <a:buClrTx/>
              <a:buSzTx/>
              <a:buFontTx/>
              <a:buNone/>
              <a:tabLst/>
              <a:defRPr/>
            </a:pPr>
            <a:r>
              <a:rPr kumimoji="0" lang="en-US" sz="1800" b="0" i="0" u="none" strike="noStrike" kern="1200" cap="none" spc="0" normalizeH="0" baseline="0" noProof="0" dirty="0">
                <a:ln>
                  <a:noFill/>
                </a:ln>
                <a:solidFill>
                  <a:prstClr val="black">
                    <a:lumMod val="75000"/>
                    <a:lumOff val="25000"/>
                  </a:prstClr>
                </a:solidFill>
                <a:effectLst/>
                <a:uLnTx/>
                <a:uFillTx/>
                <a:latin typeface="HarmonyOS Sans SC Black"/>
                <a:ea typeface="+mj-ea"/>
                <a:cs typeface="+mn-cs"/>
              </a:rPr>
              <a:t>Your title</a:t>
            </a:r>
            <a:br>
              <a:rPr kumimoji="0" lang="en-US" sz="1800" b="0" i="0" u="none" strike="noStrike" kern="1200" cap="none" spc="0" normalizeH="0" baseline="0" noProof="0" dirty="0">
                <a:ln>
                  <a:noFill/>
                </a:ln>
                <a:solidFill>
                  <a:prstClr val="black">
                    <a:lumMod val="75000"/>
                    <a:lumOff val="25000"/>
                  </a:prstClr>
                </a:solidFill>
                <a:effectLst/>
                <a:uLnTx/>
                <a:uFillTx/>
                <a:latin typeface="HarmonyOS Sans SC Black"/>
                <a:ea typeface="+mj-ea"/>
                <a:cs typeface="+mn-cs"/>
              </a:rPr>
            </a:br>
            <a:r>
              <a:rPr kumimoji="0" lang="en-US" sz="1800" b="0" i="0" u="none" strike="noStrike" kern="1200" cap="none" spc="0" normalizeH="0" baseline="0" noProof="0" dirty="0">
                <a:ln>
                  <a:noFill/>
                </a:ln>
                <a:solidFill>
                  <a:prstClr val="black">
                    <a:lumMod val="75000"/>
                    <a:lumOff val="25000"/>
                  </a:prstClr>
                </a:solidFill>
                <a:effectLst/>
                <a:uLnTx/>
                <a:uFillTx/>
                <a:latin typeface="HarmonyOS Sans SC Black"/>
                <a:ea typeface="+mj-ea"/>
                <a:cs typeface="+mn-cs"/>
              </a:rPr>
              <a:t>is here</a:t>
            </a:r>
          </a:p>
        </p:txBody>
      </p:sp>
      <p:sp>
        <p:nvSpPr>
          <p:cNvPr id="26" name="TextBox 65">
            <a:extLst>
              <a:ext uri="{FF2B5EF4-FFF2-40B4-BE49-F238E27FC236}">
                <a16:creationId xmlns:a16="http://schemas.microsoft.com/office/drawing/2014/main" id="{FDEDA515-12C4-4FD6-BD64-5D5084252D7E}"/>
              </a:ext>
            </a:extLst>
          </p:cNvPr>
          <p:cNvSpPr txBox="1"/>
          <p:nvPr/>
        </p:nvSpPr>
        <p:spPr>
          <a:xfrm>
            <a:off x="1974436" y="2450166"/>
            <a:ext cx="2056261" cy="387598"/>
          </a:xfrm>
          <a:prstGeom prst="rect">
            <a:avLst/>
          </a:prstGeom>
          <a:noFill/>
        </p:spPr>
        <p:txBody>
          <a:bodyPr wrap="square" lIns="0" tIns="36000" rIns="0" bIns="36000" rtlCol="0">
            <a:spAutoFit/>
          </a:bodyPr>
          <a:lstStyle/>
          <a:p>
            <a:pPr marL="0" marR="0" lvl="0" indent="0" algn="r" defTabSz="914400" rtl="0" eaLnBrk="1" fontAlgn="auto" latinLnBrk="0" hangingPunct="1">
              <a:lnSpc>
                <a:spcPct val="120000"/>
              </a:lnSpc>
              <a:spcBef>
                <a:spcPts val="600"/>
              </a:spcBef>
              <a:spcAft>
                <a:spcPts val="0"/>
              </a:spcAft>
              <a:buClrTx/>
              <a:buSzTx/>
              <a:buFontTx/>
              <a:buNone/>
              <a:tabLst/>
              <a:defRPr/>
            </a:pPr>
            <a:r>
              <a:rPr kumimoji="0" lang="zh-CN" altLang="en-US" sz="1800" b="0" i="0" u="none" strike="noStrike" kern="1200" cap="none" spc="0" normalizeH="0" baseline="0" noProof="0" dirty="0">
                <a:ln>
                  <a:noFill/>
                </a:ln>
                <a:solidFill>
                  <a:schemeClr val="accent1"/>
                </a:solidFill>
                <a:effectLst/>
                <a:uLnTx/>
                <a:uFillTx/>
                <a:latin typeface="HarmonyOS Sans SC Black"/>
                <a:ea typeface="+mj-ea"/>
                <a:cs typeface="+mn-cs"/>
              </a:rPr>
              <a:t>关键词标题</a:t>
            </a:r>
            <a:endParaRPr kumimoji="0" lang="en-US" sz="1800" b="0" i="0" u="none" strike="noStrike" kern="1200" cap="none" spc="0" normalizeH="0" baseline="0" noProof="0" dirty="0">
              <a:ln>
                <a:noFill/>
              </a:ln>
              <a:solidFill>
                <a:schemeClr val="accent1"/>
              </a:solidFill>
              <a:effectLst/>
              <a:uLnTx/>
              <a:uFillTx/>
              <a:latin typeface="HarmonyOS Sans SC Black"/>
              <a:ea typeface="+mj-ea"/>
              <a:cs typeface="+mn-cs"/>
            </a:endParaRPr>
          </a:p>
        </p:txBody>
      </p:sp>
      <p:sp>
        <p:nvSpPr>
          <p:cNvPr id="27" name="TextBox 65">
            <a:extLst>
              <a:ext uri="{FF2B5EF4-FFF2-40B4-BE49-F238E27FC236}">
                <a16:creationId xmlns:a16="http://schemas.microsoft.com/office/drawing/2014/main" id="{84EAC2EE-BDEB-4DE4-90F9-898BCFB599CF}"/>
              </a:ext>
            </a:extLst>
          </p:cNvPr>
          <p:cNvSpPr txBox="1"/>
          <p:nvPr/>
        </p:nvSpPr>
        <p:spPr>
          <a:xfrm>
            <a:off x="1362075" y="2833565"/>
            <a:ext cx="2668622" cy="498204"/>
          </a:xfrm>
          <a:prstGeom prst="rect">
            <a:avLst/>
          </a:prstGeom>
          <a:noFill/>
        </p:spPr>
        <p:txBody>
          <a:bodyPr wrap="square" lIns="0" tIns="36000" rIns="0" bIns="36000" rtlCol="0">
            <a:spAutoFit/>
          </a:bodyPr>
          <a:lstStyle/>
          <a:p>
            <a:pPr marL="0" marR="0" lvl="0" indent="0" algn="r" defTabSz="914400" rtl="0" eaLnBrk="1" fontAlgn="auto" latinLnBrk="0" hangingPunct="1">
              <a:lnSpc>
                <a:spcPct val="120000"/>
              </a:lnSpc>
              <a:spcBef>
                <a:spcPts val="600"/>
              </a:spcBef>
              <a:spcAft>
                <a:spcPts val="0"/>
              </a:spcAft>
              <a:buClrTx/>
              <a:buSzTx/>
              <a:buFontTx/>
              <a:buNone/>
              <a:tabLst/>
              <a:defRPr/>
            </a:pPr>
            <a:r>
              <a:rPr kumimoji="0" lang="en-US" sz="1200" b="0" i="0" u="none" strike="noStrike" kern="1200" cap="none" spc="0" normalizeH="0" baseline="0" noProof="0" dirty="0">
                <a:ln>
                  <a:noFill/>
                </a:ln>
                <a:solidFill>
                  <a:prstClr val="black">
                    <a:lumMod val="50000"/>
                    <a:lumOff val="50000"/>
                  </a:prstClr>
                </a:solidFill>
                <a:effectLst/>
                <a:uLnTx/>
                <a:uFillTx/>
                <a:latin typeface="HarmonyOS Sans SC"/>
                <a:cs typeface="+mn-cs"/>
              </a:rPr>
              <a:t>Apparently we had reached a great height in the.</a:t>
            </a:r>
          </a:p>
        </p:txBody>
      </p:sp>
      <p:sp>
        <p:nvSpPr>
          <p:cNvPr id="29" name="TextBox 65">
            <a:extLst>
              <a:ext uri="{FF2B5EF4-FFF2-40B4-BE49-F238E27FC236}">
                <a16:creationId xmlns:a16="http://schemas.microsoft.com/office/drawing/2014/main" id="{E46DC4D2-F2E5-4411-B869-25287CC5C945}"/>
              </a:ext>
            </a:extLst>
          </p:cNvPr>
          <p:cNvSpPr txBox="1"/>
          <p:nvPr/>
        </p:nvSpPr>
        <p:spPr>
          <a:xfrm flipH="1">
            <a:off x="8161304" y="2450166"/>
            <a:ext cx="2056261" cy="387598"/>
          </a:xfrm>
          <a:prstGeom prst="rect">
            <a:avLst/>
          </a:prstGeom>
          <a:noFill/>
        </p:spPr>
        <p:txBody>
          <a:bodyPr wrap="square" lIns="0" tIns="36000" rIns="0" bIns="36000" rtlCol="0">
            <a:spAutoFit/>
          </a:bodyPr>
          <a:lstStyle/>
          <a:p>
            <a:pPr marL="0" marR="0" lvl="0" indent="0" algn="l" defTabSz="914400" rtl="0" eaLnBrk="1" fontAlgn="auto" latinLnBrk="0" hangingPunct="1">
              <a:lnSpc>
                <a:spcPct val="120000"/>
              </a:lnSpc>
              <a:spcBef>
                <a:spcPts val="600"/>
              </a:spcBef>
              <a:spcAft>
                <a:spcPts val="0"/>
              </a:spcAft>
              <a:buClrTx/>
              <a:buSzTx/>
              <a:buFontTx/>
              <a:buNone/>
              <a:tabLst/>
              <a:defRPr/>
            </a:pPr>
            <a:r>
              <a:rPr kumimoji="0" lang="zh-CN" altLang="en-US" sz="1800" b="0" i="0" u="none" strike="noStrike" kern="1200" cap="none" spc="0" normalizeH="0" baseline="0" noProof="0" dirty="0">
                <a:ln>
                  <a:noFill/>
                </a:ln>
                <a:solidFill>
                  <a:schemeClr val="accent1"/>
                </a:solidFill>
                <a:effectLst/>
                <a:uLnTx/>
                <a:uFillTx/>
                <a:latin typeface="HarmonyOS Sans SC Black"/>
                <a:ea typeface="+mj-ea"/>
                <a:cs typeface="+mn-cs"/>
              </a:rPr>
              <a:t>关键词标题</a:t>
            </a:r>
            <a:endParaRPr kumimoji="0" lang="en-US" sz="1800" b="0" i="0" u="none" strike="noStrike" kern="1200" cap="none" spc="0" normalizeH="0" baseline="0" noProof="0" dirty="0">
              <a:ln>
                <a:noFill/>
              </a:ln>
              <a:solidFill>
                <a:schemeClr val="accent1"/>
              </a:solidFill>
              <a:effectLst/>
              <a:uLnTx/>
              <a:uFillTx/>
              <a:latin typeface="HarmonyOS Sans SC Black"/>
              <a:ea typeface="+mj-ea"/>
              <a:cs typeface="+mn-cs"/>
            </a:endParaRPr>
          </a:p>
        </p:txBody>
      </p:sp>
      <p:sp>
        <p:nvSpPr>
          <p:cNvPr id="30" name="TextBox 65">
            <a:extLst>
              <a:ext uri="{FF2B5EF4-FFF2-40B4-BE49-F238E27FC236}">
                <a16:creationId xmlns:a16="http://schemas.microsoft.com/office/drawing/2014/main" id="{CF0C7669-229E-40EC-9D6A-A95A76BD72A1}"/>
              </a:ext>
            </a:extLst>
          </p:cNvPr>
          <p:cNvSpPr txBox="1"/>
          <p:nvPr/>
        </p:nvSpPr>
        <p:spPr>
          <a:xfrm flipH="1">
            <a:off x="8161304" y="2833565"/>
            <a:ext cx="2773396" cy="498204"/>
          </a:xfrm>
          <a:prstGeom prst="rect">
            <a:avLst/>
          </a:prstGeom>
          <a:noFill/>
        </p:spPr>
        <p:txBody>
          <a:bodyPr wrap="square" lIns="0" tIns="36000" rIns="0" bIns="36000" rtlCol="0">
            <a:spAutoFit/>
          </a:bodyPr>
          <a:lstStyle/>
          <a:p>
            <a:pPr marL="0" marR="0" lvl="0" indent="0" algn="l" defTabSz="914400" rtl="0" eaLnBrk="1" fontAlgn="auto" latinLnBrk="0" hangingPunct="1">
              <a:lnSpc>
                <a:spcPct val="120000"/>
              </a:lnSpc>
              <a:spcBef>
                <a:spcPts val="600"/>
              </a:spcBef>
              <a:spcAft>
                <a:spcPts val="0"/>
              </a:spcAft>
              <a:buClrTx/>
              <a:buSzTx/>
              <a:buFontTx/>
              <a:buNone/>
              <a:tabLst/>
              <a:defRPr/>
            </a:pPr>
            <a:r>
              <a:rPr kumimoji="0" lang="en-US" sz="1200" b="0" i="0" u="none" strike="noStrike" kern="1200" cap="none" spc="0" normalizeH="0" baseline="0" noProof="0" dirty="0">
                <a:ln>
                  <a:noFill/>
                </a:ln>
                <a:solidFill>
                  <a:prstClr val="black">
                    <a:lumMod val="50000"/>
                    <a:lumOff val="50000"/>
                  </a:prstClr>
                </a:solidFill>
                <a:effectLst/>
                <a:uLnTx/>
                <a:uFillTx/>
                <a:latin typeface="HarmonyOS Sans SC"/>
                <a:cs typeface="+mn-cs"/>
              </a:rPr>
              <a:t>Apparently we had reached a great height in the.</a:t>
            </a:r>
          </a:p>
        </p:txBody>
      </p:sp>
      <p:sp>
        <p:nvSpPr>
          <p:cNvPr id="32" name="TextBox 65">
            <a:extLst>
              <a:ext uri="{FF2B5EF4-FFF2-40B4-BE49-F238E27FC236}">
                <a16:creationId xmlns:a16="http://schemas.microsoft.com/office/drawing/2014/main" id="{EBF15E82-A832-43A9-AD1D-A05FE9A23E39}"/>
              </a:ext>
            </a:extLst>
          </p:cNvPr>
          <p:cNvSpPr txBox="1"/>
          <p:nvPr/>
        </p:nvSpPr>
        <p:spPr>
          <a:xfrm>
            <a:off x="5005285" y="5349117"/>
            <a:ext cx="2181434" cy="387598"/>
          </a:xfrm>
          <a:prstGeom prst="rect">
            <a:avLst/>
          </a:prstGeom>
          <a:noFill/>
        </p:spPr>
        <p:txBody>
          <a:bodyPr wrap="square" lIns="0" tIns="36000" rIns="0" bIns="36000" rtlCol="0">
            <a:spAutoFit/>
          </a:bodyPr>
          <a:lstStyle/>
          <a:p>
            <a:pPr marL="0" marR="0" lvl="0" indent="0" algn="ctr" defTabSz="914400" rtl="0" eaLnBrk="1" fontAlgn="auto" latinLnBrk="0" hangingPunct="1">
              <a:lnSpc>
                <a:spcPct val="120000"/>
              </a:lnSpc>
              <a:spcBef>
                <a:spcPts val="600"/>
              </a:spcBef>
              <a:spcAft>
                <a:spcPts val="0"/>
              </a:spcAft>
              <a:buClrTx/>
              <a:buSzTx/>
              <a:buFontTx/>
              <a:buNone/>
              <a:tabLst/>
              <a:defRPr/>
            </a:pPr>
            <a:r>
              <a:rPr kumimoji="0" lang="zh-CN" altLang="en-US" sz="1800" b="0" i="0" u="none" strike="noStrike" kern="1200" cap="none" spc="0" normalizeH="0" baseline="0" noProof="0" dirty="0">
                <a:ln>
                  <a:noFill/>
                </a:ln>
                <a:solidFill>
                  <a:schemeClr val="accent1"/>
                </a:solidFill>
                <a:effectLst/>
                <a:uLnTx/>
                <a:uFillTx/>
                <a:latin typeface="HarmonyOS Sans SC Black"/>
                <a:ea typeface="+mj-ea"/>
                <a:cs typeface="+mn-cs"/>
              </a:rPr>
              <a:t>关键词标题</a:t>
            </a:r>
            <a:endParaRPr kumimoji="0" lang="en-US" sz="1800" b="0" i="0" u="none" strike="noStrike" kern="1200" cap="none" spc="0" normalizeH="0" baseline="0" noProof="0" dirty="0">
              <a:ln>
                <a:noFill/>
              </a:ln>
              <a:solidFill>
                <a:schemeClr val="accent1"/>
              </a:solidFill>
              <a:effectLst/>
              <a:uLnTx/>
              <a:uFillTx/>
              <a:latin typeface="HarmonyOS Sans SC Black"/>
              <a:ea typeface="+mj-ea"/>
              <a:cs typeface="+mn-cs"/>
            </a:endParaRPr>
          </a:p>
        </p:txBody>
      </p:sp>
      <p:sp>
        <p:nvSpPr>
          <p:cNvPr id="33" name="TextBox 65">
            <a:extLst>
              <a:ext uri="{FF2B5EF4-FFF2-40B4-BE49-F238E27FC236}">
                <a16:creationId xmlns:a16="http://schemas.microsoft.com/office/drawing/2014/main" id="{6C39A835-7289-409F-9323-48543C565C83}"/>
              </a:ext>
            </a:extLst>
          </p:cNvPr>
          <p:cNvSpPr txBox="1"/>
          <p:nvPr/>
        </p:nvSpPr>
        <p:spPr>
          <a:xfrm>
            <a:off x="4668768" y="5755855"/>
            <a:ext cx="2854468" cy="498204"/>
          </a:xfrm>
          <a:prstGeom prst="rect">
            <a:avLst/>
          </a:prstGeom>
          <a:noFill/>
        </p:spPr>
        <p:txBody>
          <a:bodyPr wrap="square" lIns="0" tIns="36000" rIns="0" bIns="36000" rtlCol="0">
            <a:spAutoFit/>
          </a:bodyPr>
          <a:lstStyle/>
          <a:p>
            <a:pPr marL="0" marR="0" lvl="0" indent="0" algn="ctr" defTabSz="914400" rtl="0" eaLnBrk="1" fontAlgn="auto" latinLnBrk="0" hangingPunct="1">
              <a:lnSpc>
                <a:spcPct val="120000"/>
              </a:lnSpc>
              <a:spcBef>
                <a:spcPts val="600"/>
              </a:spcBef>
              <a:spcAft>
                <a:spcPts val="0"/>
              </a:spcAft>
              <a:buClrTx/>
              <a:buSzTx/>
              <a:buFontTx/>
              <a:buNone/>
              <a:tabLst/>
              <a:defRPr/>
            </a:pPr>
            <a:r>
              <a:rPr kumimoji="0" lang="en-US" sz="1200" b="0" i="0" u="none" strike="noStrike" kern="1200" cap="none" spc="0" normalizeH="0" baseline="0" noProof="0" dirty="0">
                <a:ln>
                  <a:noFill/>
                </a:ln>
                <a:solidFill>
                  <a:prstClr val="black">
                    <a:lumMod val="50000"/>
                    <a:lumOff val="50000"/>
                  </a:prstClr>
                </a:solidFill>
                <a:effectLst/>
                <a:uLnTx/>
                <a:uFillTx/>
                <a:latin typeface="HarmonyOS Sans SC"/>
                <a:cs typeface="+mn-cs"/>
              </a:rPr>
              <a:t>Apparently we had reached a great height in the.</a:t>
            </a:r>
          </a:p>
        </p:txBody>
      </p:sp>
    </p:spTree>
    <p:extLst>
      <p:ext uri="{BB962C8B-B14F-4D97-AF65-F5344CB8AC3E}">
        <p14:creationId xmlns:p14="http://schemas.microsoft.com/office/powerpoint/2010/main" val="51652245"/>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5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文本框 19">
            <a:extLst>
              <a:ext uri="{FF2B5EF4-FFF2-40B4-BE49-F238E27FC236}">
                <a16:creationId xmlns:a16="http://schemas.microsoft.com/office/drawing/2014/main" id="{6343A301-2E54-4511-B0E0-16FA64E93813}"/>
              </a:ext>
            </a:extLst>
          </p:cNvPr>
          <p:cNvSpPr txBox="1"/>
          <p:nvPr/>
        </p:nvSpPr>
        <p:spPr>
          <a:xfrm>
            <a:off x="4278837" y="918105"/>
            <a:ext cx="3634328" cy="52322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2800" b="0" i="0" u="none" strike="noStrike" kern="1200" cap="none" spc="0" normalizeH="0" baseline="0" noProof="0" dirty="0">
                <a:ln>
                  <a:noFill/>
                </a:ln>
                <a:solidFill>
                  <a:prstClr val="black"/>
                </a:solidFill>
                <a:effectLst/>
                <a:uLnTx/>
                <a:uFillTx/>
                <a:latin typeface="HarmonyOS Sans Black"/>
                <a:ea typeface="+mj-ea"/>
                <a:cs typeface="+mn-cs"/>
              </a:rPr>
              <a:t>Process </a:t>
            </a:r>
            <a:r>
              <a:rPr kumimoji="0" lang="en-US" altLang="zh-CN" sz="2800" b="0" i="0" u="none" strike="noStrike" kern="1200" cap="none" spc="0" normalizeH="0" baseline="0" noProof="0" dirty="0">
                <a:ln>
                  <a:noFill/>
                </a:ln>
                <a:solidFill>
                  <a:schemeClr val="accent1"/>
                </a:solidFill>
                <a:effectLst/>
                <a:uLnTx/>
                <a:uFillTx/>
                <a:latin typeface="HarmonyOS Sans Black"/>
                <a:ea typeface="+mj-ea"/>
                <a:cs typeface="+mn-cs"/>
              </a:rPr>
              <a:t>infographic</a:t>
            </a:r>
          </a:p>
        </p:txBody>
      </p:sp>
      <p:sp>
        <p:nvSpPr>
          <p:cNvPr id="3" name="Freeform 9">
            <a:extLst>
              <a:ext uri="{FF2B5EF4-FFF2-40B4-BE49-F238E27FC236}">
                <a16:creationId xmlns:a16="http://schemas.microsoft.com/office/drawing/2014/main" id="{A3262985-3232-45A5-936A-C1A3D20A3132}"/>
              </a:ext>
            </a:extLst>
          </p:cNvPr>
          <p:cNvSpPr>
            <a:spLocks/>
          </p:cNvSpPr>
          <p:nvPr/>
        </p:nvSpPr>
        <p:spPr bwMode="auto">
          <a:xfrm>
            <a:off x="4496411" y="2371065"/>
            <a:ext cx="1743485" cy="3196787"/>
          </a:xfrm>
          <a:custGeom>
            <a:avLst/>
            <a:gdLst>
              <a:gd name="T0" fmla="*/ 8411 w 9627"/>
              <a:gd name="T1" fmla="*/ 17645 h 17645"/>
              <a:gd name="T2" fmla="*/ 0 w 9627"/>
              <a:gd name="T3" fmla="*/ 8824 h 17645"/>
              <a:gd name="T4" fmla="*/ 8507 w 9627"/>
              <a:gd name="T5" fmla="*/ 0 h 17645"/>
              <a:gd name="T6" fmla="*/ 9627 w 9627"/>
              <a:gd name="T7" fmla="*/ 1546 h 17645"/>
              <a:gd name="T8" fmla="*/ 8495 w 9627"/>
              <a:gd name="T9" fmla="*/ 3108 h 17645"/>
              <a:gd name="T10" fmla="*/ 3105 w 9627"/>
              <a:gd name="T11" fmla="*/ 8824 h 17645"/>
              <a:gd name="T12" fmla="*/ 8429 w 9627"/>
              <a:gd name="T13" fmla="*/ 14536 h 17645"/>
              <a:gd name="T14" fmla="*/ 7294 w 9627"/>
              <a:gd name="T15" fmla="*/ 16103 h 17645"/>
              <a:gd name="T16" fmla="*/ 8411 w 9627"/>
              <a:gd name="T17" fmla="*/ 17645 h 17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27" h="17645">
                <a:moveTo>
                  <a:pt x="8411" y="17645"/>
                </a:moveTo>
                <a:cubicBezTo>
                  <a:pt x="3729" y="17426"/>
                  <a:pt x="0" y="13561"/>
                  <a:pt x="0" y="8824"/>
                </a:cubicBezTo>
                <a:cubicBezTo>
                  <a:pt x="0" y="4056"/>
                  <a:pt x="3780" y="171"/>
                  <a:pt x="8507" y="0"/>
                </a:cubicBezTo>
                <a:lnTo>
                  <a:pt x="9627" y="1546"/>
                </a:lnTo>
                <a:lnTo>
                  <a:pt x="8495" y="3108"/>
                </a:lnTo>
                <a:cubicBezTo>
                  <a:pt x="5489" y="3282"/>
                  <a:pt x="3105" y="5775"/>
                  <a:pt x="3105" y="8824"/>
                </a:cubicBezTo>
                <a:cubicBezTo>
                  <a:pt x="3105" y="11852"/>
                  <a:pt x="5454" y="14330"/>
                  <a:pt x="8429" y="14536"/>
                </a:cubicBezTo>
                <a:lnTo>
                  <a:pt x="7294" y="16103"/>
                </a:lnTo>
                <a:lnTo>
                  <a:pt x="8411" y="17645"/>
                </a:lnTo>
                <a:close/>
              </a:path>
            </a:pathLst>
          </a:custGeom>
          <a:gradFill flip="none" rotWithShape="1">
            <a:gsLst>
              <a:gs pos="73000">
                <a:schemeClr val="accent1"/>
              </a:gs>
              <a:gs pos="31000">
                <a:schemeClr val="accent1">
                  <a:lumMod val="60000"/>
                  <a:lumOff val="40000"/>
                </a:schemeClr>
              </a:gs>
              <a:gs pos="0">
                <a:schemeClr val="accent1">
                  <a:lumMod val="40000"/>
                  <a:lumOff val="60000"/>
                </a:schemeClr>
              </a:gs>
            </a:gsLst>
            <a:lin ang="540000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4" name="Freeform 10">
            <a:extLst>
              <a:ext uri="{FF2B5EF4-FFF2-40B4-BE49-F238E27FC236}">
                <a16:creationId xmlns:a16="http://schemas.microsoft.com/office/drawing/2014/main" id="{072C35BA-0671-4B95-BB0E-F98971A92C9A}"/>
              </a:ext>
            </a:extLst>
          </p:cNvPr>
          <p:cNvSpPr>
            <a:spLocks/>
          </p:cNvSpPr>
          <p:nvPr/>
        </p:nvSpPr>
        <p:spPr bwMode="auto">
          <a:xfrm>
            <a:off x="5951307" y="2371862"/>
            <a:ext cx="1744282" cy="3195990"/>
          </a:xfrm>
          <a:custGeom>
            <a:avLst/>
            <a:gdLst>
              <a:gd name="T0" fmla="*/ 1215 w 9627"/>
              <a:gd name="T1" fmla="*/ 0 h 17644"/>
              <a:gd name="T2" fmla="*/ 9627 w 9627"/>
              <a:gd name="T3" fmla="*/ 8820 h 17644"/>
              <a:gd name="T4" fmla="*/ 1120 w 9627"/>
              <a:gd name="T5" fmla="*/ 17644 h 17644"/>
              <a:gd name="T6" fmla="*/ 0 w 9627"/>
              <a:gd name="T7" fmla="*/ 16099 h 17644"/>
              <a:gd name="T8" fmla="*/ 1132 w 9627"/>
              <a:gd name="T9" fmla="*/ 14537 h 17644"/>
              <a:gd name="T10" fmla="*/ 6522 w 9627"/>
              <a:gd name="T11" fmla="*/ 8820 h 17644"/>
              <a:gd name="T12" fmla="*/ 1198 w 9627"/>
              <a:gd name="T13" fmla="*/ 3108 h 17644"/>
              <a:gd name="T14" fmla="*/ 2333 w 9627"/>
              <a:gd name="T15" fmla="*/ 1542 h 17644"/>
              <a:gd name="T16" fmla="*/ 1215 w 9627"/>
              <a:gd name="T17" fmla="*/ 0 h 176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27" h="17644">
                <a:moveTo>
                  <a:pt x="1215" y="0"/>
                </a:moveTo>
                <a:cubicBezTo>
                  <a:pt x="5898" y="219"/>
                  <a:pt x="9627" y="4084"/>
                  <a:pt x="9627" y="8820"/>
                </a:cubicBezTo>
                <a:cubicBezTo>
                  <a:pt x="9627" y="13589"/>
                  <a:pt x="5847" y="17474"/>
                  <a:pt x="1120" y="17644"/>
                </a:cubicBezTo>
                <a:lnTo>
                  <a:pt x="0" y="16099"/>
                </a:lnTo>
                <a:lnTo>
                  <a:pt x="1132" y="14537"/>
                </a:lnTo>
                <a:cubicBezTo>
                  <a:pt x="4138" y="14363"/>
                  <a:pt x="6522" y="11870"/>
                  <a:pt x="6522" y="8820"/>
                </a:cubicBezTo>
                <a:cubicBezTo>
                  <a:pt x="6522" y="5793"/>
                  <a:pt x="4173" y="3315"/>
                  <a:pt x="1198" y="3108"/>
                </a:cubicBezTo>
                <a:lnTo>
                  <a:pt x="2333" y="1542"/>
                </a:lnTo>
                <a:lnTo>
                  <a:pt x="1215" y="0"/>
                </a:lnTo>
                <a:close/>
              </a:path>
            </a:pathLst>
          </a:custGeom>
          <a:gradFill flip="none" rotWithShape="1">
            <a:gsLst>
              <a:gs pos="73000">
                <a:schemeClr val="accent1"/>
              </a:gs>
              <a:gs pos="31000">
                <a:schemeClr val="accent1">
                  <a:lumMod val="60000"/>
                  <a:lumOff val="40000"/>
                </a:schemeClr>
              </a:gs>
              <a:gs pos="0">
                <a:schemeClr val="accent1">
                  <a:lumMod val="40000"/>
                  <a:lumOff val="60000"/>
                </a:schemeClr>
              </a:gs>
            </a:gsLst>
            <a:lin ang="1620000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HarmonyOS Sans SC Black"/>
              <a:ea typeface="+mj-ea"/>
              <a:cs typeface="+mn-cs"/>
            </a:endParaRPr>
          </a:p>
        </p:txBody>
      </p:sp>
      <p:sp>
        <p:nvSpPr>
          <p:cNvPr id="7" name="Rectangle 7">
            <a:extLst>
              <a:ext uri="{FF2B5EF4-FFF2-40B4-BE49-F238E27FC236}">
                <a16:creationId xmlns:a16="http://schemas.microsoft.com/office/drawing/2014/main" id="{1B6C44C2-6964-4759-90BA-456ECD53A20C}"/>
              </a:ext>
            </a:extLst>
          </p:cNvPr>
          <p:cNvSpPr/>
          <p:nvPr/>
        </p:nvSpPr>
        <p:spPr>
          <a:xfrm>
            <a:off x="5445276" y="3638997"/>
            <a:ext cx="1326844" cy="661720"/>
          </a:xfrm>
          <a:prstGeom prst="rect">
            <a:avLst/>
          </a:prstGeom>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mn-MN" sz="2500" b="1" i="0" u="none" strike="noStrike" kern="1200" cap="none" spc="0" normalizeH="0" baseline="0" noProof="0" dirty="0">
                <a:ln>
                  <a:noFill/>
                </a:ln>
                <a:solidFill>
                  <a:prstClr val="black">
                    <a:lumMod val="75000"/>
                    <a:lumOff val="25000"/>
                  </a:prstClr>
                </a:solidFill>
                <a:effectLst/>
                <a:uLnTx/>
                <a:uFillTx/>
                <a:latin typeface="HarmonyOS Sans SC Black"/>
                <a:ea typeface="+mj-ea"/>
                <a:cs typeface="+mn-cs"/>
              </a:rPr>
              <a:t>2</a:t>
            </a:r>
            <a:r>
              <a:rPr kumimoji="0" lang="en-US" sz="2500" b="1" i="0" u="none" strike="noStrike" kern="1200" cap="none" spc="0" normalizeH="0" baseline="0" noProof="0" dirty="0">
                <a:ln>
                  <a:noFill/>
                </a:ln>
                <a:solidFill>
                  <a:prstClr val="black">
                    <a:lumMod val="75000"/>
                    <a:lumOff val="25000"/>
                  </a:prstClr>
                </a:solidFill>
                <a:effectLst/>
                <a:uLnTx/>
                <a:uFillTx/>
                <a:latin typeface="HarmonyOS Sans SC Black"/>
                <a:ea typeface="+mj-ea"/>
                <a:cs typeface="+mn-cs"/>
              </a:rPr>
              <a:t> STEP</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75000"/>
                    <a:lumOff val="25000"/>
                  </a:prstClr>
                </a:solidFill>
                <a:effectLst/>
                <a:uLnTx/>
                <a:uFillTx/>
                <a:latin typeface="HarmonyOS Sans SC Black"/>
                <a:ea typeface="+mj-ea"/>
                <a:cs typeface="+mn-cs"/>
              </a:rPr>
              <a:t>INFOGRAPHIC</a:t>
            </a:r>
          </a:p>
        </p:txBody>
      </p:sp>
      <p:sp>
        <p:nvSpPr>
          <p:cNvPr id="8" name="Rectangle 8">
            <a:extLst>
              <a:ext uri="{FF2B5EF4-FFF2-40B4-BE49-F238E27FC236}">
                <a16:creationId xmlns:a16="http://schemas.microsoft.com/office/drawing/2014/main" id="{2BE38B7E-0AC7-478C-9B81-E74309EE838B}"/>
              </a:ext>
            </a:extLst>
          </p:cNvPr>
          <p:cNvSpPr/>
          <p:nvPr/>
        </p:nvSpPr>
        <p:spPr>
          <a:xfrm>
            <a:off x="4555938" y="3760377"/>
            <a:ext cx="463588" cy="418961"/>
          </a:xfrm>
          <a:prstGeom prst="rect">
            <a:avLst/>
          </a:prstGeom>
        </p:spPr>
        <p:txBody>
          <a:bodyPr wrap="none">
            <a:spAutoFit/>
          </a:bodyPr>
          <a:lstStyle/>
          <a:p>
            <a:pPr marL="0" marR="0" lvl="0" indent="0" algn="ctr" defTabSz="457200" rtl="0" eaLnBrk="1" fontAlgn="base" latinLnBrk="0" hangingPunct="1">
              <a:lnSpc>
                <a:spcPct val="130000"/>
              </a:lnSpc>
              <a:spcBef>
                <a:spcPts val="1000"/>
              </a:spcBef>
              <a:spcAft>
                <a:spcPts val="0"/>
              </a:spcAft>
              <a:buClrTx/>
              <a:buSzTx/>
              <a:buFontTx/>
              <a:buNone/>
              <a:tabLst/>
              <a:defRPr/>
            </a:pPr>
            <a:r>
              <a:rPr kumimoji="0" lang="mn-MN" sz="1800" b="1" i="0" u="none" strike="noStrike" kern="1200" cap="none" spc="0" normalizeH="0" baseline="0" noProof="0" dirty="0">
                <a:ln>
                  <a:noFill/>
                </a:ln>
                <a:solidFill>
                  <a:srgbClr val="FFFFFF"/>
                </a:solidFill>
                <a:effectLst/>
                <a:uLnTx/>
                <a:uFillTx/>
                <a:latin typeface="HarmonyOS Sans SC Black"/>
                <a:ea typeface="+mj-ea"/>
                <a:cs typeface="+mn-cs"/>
              </a:rPr>
              <a:t>01</a:t>
            </a:r>
            <a:endParaRPr kumimoji="0" lang="en-US" sz="1800" b="1" i="0" u="none" strike="noStrike" kern="1200" cap="none" spc="0" normalizeH="0" baseline="0" noProof="0" dirty="0">
              <a:ln>
                <a:noFill/>
              </a:ln>
              <a:solidFill>
                <a:srgbClr val="FFFFFF"/>
              </a:solidFill>
              <a:effectLst/>
              <a:uLnTx/>
              <a:uFillTx/>
              <a:latin typeface="HarmonyOS Sans SC Black"/>
              <a:ea typeface="+mj-ea"/>
              <a:cs typeface="+mn-cs"/>
            </a:endParaRPr>
          </a:p>
        </p:txBody>
      </p:sp>
      <p:sp>
        <p:nvSpPr>
          <p:cNvPr id="9" name="Rectangle 9">
            <a:extLst>
              <a:ext uri="{FF2B5EF4-FFF2-40B4-BE49-F238E27FC236}">
                <a16:creationId xmlns:a16="http://schemas.microsoft.com/office/drawing/2014/main" id="{0F3075CA-3357-4FA1-A630-36F22CD87964}"/>
              </a:ext>
            </a:extLst>
          </p:cNvPr>
          <p:cNvSpPr/>
          <p:nvPr/>
        </p:nvSpPr>
        <p:spPr>
          <a:xfrm>
            <a:off x="7168048" y="3760377"/>
            <a:ext cx="463588" cy="418961"/>
          </a:xfrm>
          <a:prstGeom prst="rect">
            <a:avLst/>
          </a:prstGeom>
        </p:spPr>
        <p:txBody>
          <a:bodyPr wrap="none">
            <a:spAutoFit/>
          </a:bodyPr>
          <a:lstStyle/>
          <a:p>
            <a:pPr marL="0" marR="0" lvl="0" indent="0" algn="ctr" defTabSz="457200" rtl="0" eaLnBrk="1" fontAlgn="base" latinLnBrk="0" hangingPunct="1">
              <a:lnSpc>
                <a:spcPct val="130000"/>
              </a:lnSpc>
              <a:spcBef>
                <a:spcPts val="1000"/>
              </a:spcBef>
              <a:spcAft>
                <a:spcPts val="0"/>
              </a:spcAft>
              <a:buClrTx/>
              <a:buSzTx/>
              <a:buFontTx/>
              <a:buNone/>
              <a:tabLst/>
              <a:defRPr/>
            </a:pPr>
            <a:r>
              <a:rPr kumimoji="0" lang="mn-MN" sz="1800" b="1" i="0" u="none" strike="noStrike" kern="1200" cap="none" spc="0" normalizeH="0" baseline="0" noProof="0" dirty="0">
                <a:ln>
                  <a:noFill/>
                </a:ln>
                <a:solidFill>
                  <a:srgbClr val="FFFFFF"/>
                </a:solidFill>
                <a:effectLst/>
                <a:uLnTx/>
                <a:uFillTx/>
                <a:latin typeface="HarmonyOS Sans SC Black"/>
                <a:ea typeface="+mj-ea"/>
                <a:cs typeface="+mn-cs"/>
              </a:rPr>
              <a:t>02</a:t>
            </a:r>
            <a:endParaRPr kumimoji="0" lang="en-US" sz="1800" b="1" i="0" u="none" strike="noStrike" kern="1200" cap="none" spc="0" normalizeH="0" baseline="0" noProof="0" dirty="0">
              <a:ln>
                <a:noFill/>
              </a:ln>
              <a:solidFill>
                <a:srgbClr val="FFFFFF"/>
              </a:solidFill>
              <a:effectLst/>
              <a:uLnTx/>
              <a:uFillTx/>
              <a:latin typeface="HarmonyOS Sans SC Black"/>
              <a:ea typeface="+mj-ea"/>
              <a:cs typeface="+mn-cs"/>
            </a:endParaRPr>
          </a:p>
        </p:txBody>
      </p:sp>
      <p:grpSp>
        <p:nvGrpSpPr>
          <p:cNvPr id="27" name="组合 26">
            <a:extLst>
              <a:ext uri="{FF2B5EF4-FFF2-40B4-BE49-F238E27FC236}">
                <a16:creationId xmlns:a16="http://schemas.microsoft.com/office/drawing/2014/main" id="{3F3B3175-EE5A-4EDF-8579-21BE78A4DEB2}"/>
              </a:ext>
            </a:extLst>
          </p:cNvPr>
          <p:cNvGrpSpPr/>
          <p:nvPr/>
        </p:nvGrpSpPr>
        <p:grpSpPr>
          <a:xfrm>
            <a:off x="1099108" y="3445056"/>
            <a:ext cx="2809285" cy="881603"/>
            <a:chOff x="836324" y="2692095"/>
            <a:chExt cx="2809285" cy="881603"/>
          </a:xfrm>
        </p:grpSpPr>
        <p:sp>
          <p:nvSpPr>
            <p:cNvPr id="28" name="TextBox 65">
              <a:extLst>
                <a:ext uri="{FF2B5EF4-FFF2-40B4-BE49-F238E27FC236}">
                  <a16:creationId xmlns:a16="http://schemas.microsoft.com/office/drawing/2014/main" id="{23B4E1CB-2BB7-41EC-9FCD-4E22FFDB6310}"/>
                </a:ext>
              </a:extLst>
            </p:cNvPr>
            <p:cNvSpPr txBox="1"/>
            <p:nvPr/>
          </p:nvSpPr>
          <p:spPr>
            <a:xfrm>
              <a:off x="1589348" y="2692095"/>
              <a:ext cx="2056261" cy="387598"/>
            </a:xfrm>
            <a:prstGeom prst="rect">
              <a:avLst/>
            </a:prstGeom>
            <a:noFill/>
          </p:spPr>
          <p:txBody>
            <a:bodyPr wrap="square" lIns="0" tIns="36000" rIns="0" bIns="36000" rtlCol="0">
              <a:spAutoFit/>
            </a:bodyPr>
            <a:lstStyle/>
            <a:p>
              <a:pPr marL="0" marR="0" lvl="0" indent="0" algn="r" defTabSz="914400" rtl="0" eaLnBrk="1" fontAlgn="auto" latinLnBrk="0" hangingPunct="1">
                <a:lnSpc>
                  <a:spcPct val="120000"/>
                </a:lnSpc>
                <a:spcBef>
                  <a:spcPts val="600"/>
                </a:spcBef>
                <a:spcAft>
                  <a:spcPts val="0"/>
                </a:spcAft>
                <a:buClrTx/>
                <a:buSzTx/>
                <a:buFontTx/>
                <a:buNone/>
                <a:tabLst/>
                <a:defRPr/>
              </a:pPr>
              <a:r>
                <a:rPr kumimoji="0" lang="zh-CN" altLang="en-US" sz="1800" b="0" i="0" u="none" strike="noStrike" kern="1200" cap="none" spc="0" normalizeH="0" baseline="0" noProof="0" dirty="0">
                  <a:ln>
                    <a:noFill/>
                  </a:ln>
                  <a:solidFill>
                    <a:schemeClr val="accent1"/>
                  </a:solidFill>
                  <a:effectLst/>
                  <a:uLnTx/>
                  <a:uFillTx/>
                  <a:latin typeface="HarmonyOS Sans SC Black"/>
                  <a:ea typeface="+mj-ea"/>
                  <a:cs typeface="+mn-cs"/>
                </a:rPr>
                <a:t>关键词标题</a:t>
              </a:r>
              <a:endParaRPr kumimoji="0" lang="en-US" sz="1800" b="0" i="0" u="none" strike="noStrike" kern="1200" cap="none" spc="0" normalizeH="0" baseline="0" noProof="0" dirty="0">
                <a:ln>
                  <a:noFill/>
                </a:ln>
                <a:solidFill>
                  <a:schemeClr val="accent1"/>
                </a:solidFill>
                <a:effectLst/>
                <a:uLnTx/>
                <a:uFillTx/>
                <a:latin typeface="HarmonyOS Sans SC Black"/>
                <a:ea typeface="+mj-ea"/>
                <a:cs typeface="+mn-cs"/>
              </a:endParaRPr>
            </a:p>
          </p:txBody>
        </p:sp>
        <p:sp>
          <p:nvSpPr>
            <p:cNvPr id="29" name="TextBox 65">
              <a:extLst>
                <a:ext uri="{FF2B5EF4-FFF2-40B4-BE49-F238E27FC236}">
                  <a16:creationId xmlns:a16="http://schemas.microsoft.com/office/drawing/2014/main" id="{1ED6DA34-0754-447D-83DB-5E4E7887558F}"/>
                </a:ext>
              </a:extLst>
            </p:cNvPr>
            <p:cNvSpPr txBox="1"/>
            <p:nvPr/>
          </p:nvSpPr>
          <p:spPr>
            <a:xfrm>
              <a:off x="836324" y="3075494"/>
              <a:ext cx="2809285" cy="498204"/>
            </a:xfrm>
            <a:prstGeom prst="rect">
              <a:avLst/>
            </a:prstGeom>
            <a:noFill/>
          </p:spPr>
          <p:txBody>
            <a:bodyPr wrap="square" lIns="0" tIns="36000" rIns="0" bIns="36000" rtlCol="0">
              <a:spAutoFit/>
            </a:bodyPr>
            <a:lstStyle/>
            <a:p>
              <a:pPr marL="0" marR="0" lvl="0" indent="0" algn="r" defTabSz="914400" rtl="0" eaLnBrk="1" fontAlgn="auto" latinLnBrk="0" hangingPunct="1">
                <a:lnSpc>
                  <a:spcPct val="120000"/>
                </a:lnSpc>
                <a:spcBef>
                  <a:spcPts val="600"/>
                </a:spcBef>
                <a:spcAft>
                  <a:spcPts val="0"/>
                </a:spcAft>
                <a:buClrTx/>
                <a:buSzTx/>
                <a:buFontTx/>
                <a:buNone/>
                <a:tabLst/>
                <a:defRPr/>
              </a:pPr>
              <a:r>
                <a:rPr kumimoji="0" lang="en-US" sz="1200" b="0" i="0" u="none" strike="noStrike" kern="1200" cap="none" spc="0" normalizeH="0" baseline="0" noProof="0" dirty="0">
                  <a:ln>
                    <a:noFill/>
                  </a:ln>
                  <a:solidFill>
                    <a:prstClr val="black">
                      <a:lumMod val="50000"/>
                      <a:lumOff val="50000"/>
                    </a:prstClr>
                  </a:solidFill>
                  <a:effectLst/>
                  <a:uLnTx/>
                  <a:uFillTx/>
                  <a:latin typeface="HarmonyOS Sans SC"/>
                  <a:cs typeface="+mn-cs"/>
                </a:rPr>
                <a:t>Apparently we had reached a great height in the.</a:t>
              </a:r>
            </a:p>
          </p:txBody>
        </p:sp>
      </p:grpSp>
      <p:grpSp>
        <p:nvGrpSpPr>
          <p:cNvPr id="30" name="组合 29">
            <a:extLst>
              <a:ext uri="{FF2B5EF4-FFF2-40B4-BE49-F238E27FC236}">
                <a16:creationId xmlns:a16="http://schemas.microsoft.com/office/drawing/2014/main" id="{3451CAA6-741E-4688-BE9E-B9904420DFF0}"/>
              </a:ext>
            </a:extLst>
          </p:cNvPr>
          <p:cNvGrpSpPr/>
          <p:nvPr/>
        </p:nvGrpSpPr>
        <p:grpSpPr>
          <a:xfrm>
            <a:off x="8323281" y="3445056"/>
            <a:ext cx="2769612" cy="881603"/>
            <a:chOff x="8546391" y="2692095"/>
            <a:chExt cx="2769612" cy="881603"/>
          </a:xfrm>
        </p:grpSpPr>
        <p:sp>
          <p:nvSpPr>
            <p:cNvPr id="31" name="TextBox 65">
              <a:extLst>
                <a:ext uri="{FF2B5EF4-FFF2-40B4-BE49-F238E27FC236}">
                  <a16:creationId xmlns:a16="http://schemas.microsoft.com/office/drawing/2014/main" id="{EB1E266E-D98A-4146-86B4-5395E3DC1487}"/>
                </a:ext>
              </a:extLst>
            </p:cNvPr>
            <p:cNvSpPr txBox="1"/>
            <p:nvPr/>
          </p:nvSpPr>
          <p:spPr>
            <a:xfrm flipH="1">
              <a:off x="8546391" y="2692095"/>
              <a:ext cx="2056261" cy="387598"/>
            </a:xfrm>
            <a:prstGeom prst="rect">
              <a:avLst/>
            </a:prstGeom>
            <a:noFill/>
          </p:spPr>
          <p:txBody>
            <a:bodyPr wrap="square" lIns="0" tIns="36000" rIns="0" bIns="36000" rtlCol="0">
              <a:spAutoFit/>
            </a:bodyPr>
            <a:lstStyle/>
            <a:p>
              <a:pPr marL="0" marR="0" lvl="0" indent="0" algn="l" defTabSz="914400" rtl="0" eaLnBrk="1" fontAlgn="auto" latinLnBrk="0" hangingPunct="1">
                <a:lnSpc>
                  <a:spcPct val="120000"/>
                </a:lnSpc>
                <a:spcBef>
                  <a:spcPts val="600"/>
                </a:spcBef>
                <a:spcAft>
                  <a:spcPts val="0"/>
                </a:spcAft>
                <a:buClrTx/>
                <a:buSzTx/>
                <a:buFontTx/>
                <a:buNone/>
                <a:tabLst/>
                <a:defRPr/>
              </a:pPr>
              <a:r>
                <a:rPr kumimoji="0" lang="zh-CN" altLang="en-US" sz="1800" b="0" i="0" u="none" strike="noStrike" kern="1200" cap="none" spc="0" normalizeH="0" baseline="0" noProof="0" dirty="0">
                  <a:ln>
                    <a:noFill/>
                  </a:ln>
                  <a:solidFill>
                    <a:schemeClr val="accent1"/>
                  </a:solidFill>
                  <a:effectLst/>
                  <a:uLnTx/>
                  <a:uFillTx/>
                  <a:latin typeface="HarmonyOS Sans SC Black"/>
                  <a:ea typeface="+mj-ea"/>
                  <a:cs typeface="+mn-cs"/>
                </a:rPr>
                <a:t>关键词标题</a:t>
              </a:r>
              <a:endParaRPr kumimoji="0" lang="en-US" sz="1800" b="0" i="0" u="none" strike="noStrike" kern="1200" cap="none" spc="0" normalizeH="0" baseline="0" noProof="0" dirty="0">
                <a:ln>
                  <a:noFill/>
                </a:ln>
                <a:solidFill>
                  <a:schemeClr val="accent1"/>
                </a:solidFill>
                <a:effectLst/>
                <a:uLnTx/>
                <a:uFillTx/>
                <a:latin typeface="HarmonyOS Sans SC Black"/>
                <a:ea typeface="+mj-ea"/>
                <a:cs typeface="+mn-cs"/>
              </a:endParaRPr>
            </a:p>
          </p:txBody>
        </p:sp>
        <p:sp>
          <p:nvSpPr>
            <p:cNvPr id="32" name="TextBox 65">
              <a:extLst>
                <a:ext uri="{FF2B5EF4-FFF2-40B4-BE49-F238E27FC236}">
                  <a16:creationId xmlns:a16="http://schemas.microsoft.com/office/drawing/2014/main" id="{2E000E01-E2F4-4691-A056-847CC7993148}"/>
                </a:ext>
              </a:extLst>
            </p:cNvPr>
            <p:cNvSpPr txBox="1"/>
            <p:nvPr/>
          </p:nvSpPr>
          <p:spPr>
            <a:xfrm flipH="1">
              <a:off x="8546391" y="3075494"/>
              <a:ext cx="2769612" cy="498204"/>
            </a:xfrm>
            <a:prstGeom prst="rect">
              <a:avLst/>
            </a:prstGeom>
            <a:noFill/>
          </p:spPr>
          <p:txBody>
            <a:bodyPr wrap="square" lIns="0" tIns="36000" rIns="0" bIns="36000" rtlCol="0">
              <a:spAutoFit/>
            </a:bodyPr>
            <a:lstStyle/>
            <a:p>
              <a:pPr marL="0" marR="0" lvl="0" indent="0" algn="l" defTabSz="914400" rtl="0" eaLnBrk="1" fontAlgn="auto" latinLnBrk="0" hangingPunct="1">
                <a:lnSpc>
                  <a:spcPct val="120000"/>
                </a:lnSpc>
                <a:spcBef>
                  <a:spcPts val="600"/>
                </a:spcBef>
                <a:spcAft>
                  <a:spcPts val="0"/>
                </a:spcAft>
                <a:buClrTx/>
                <a:buSzTx/>
                <a:buFontTx/>
                <a:buNone/>
                <a:tabLst/>
                <a:defRPr/>
              </a:pPr>
              <a:r>
                <a:rPr kumimoji="0" lang="en-US" sz="1200" b="0" i="0" u="none" strike="noStrike" kern="1200" cap="none" spc="0" normalizeH="0" baseline="0" noProof="0" dirty="0">
                  <a:ln>
                    <a:noFill/>
                  </a:ln>
                  <a:solidFill>
                    <a:prstClr val="black">
                      <a:lumMod val="50000"/>
                      <a:lumOff val="50000"/>
                    </a:prstClr>
                  </a:solidFill>
                  <a:effectLst/>
                  <a:uLnTx/>
                  <a:uFillTx/>
                  <a:latin typeface="HarmonyOS Sans SC"/>
                  <a:cs typeface="+mn-cs"/>
                </a:rPr>
                <a:t>Apparently we had reached a great height in the.</a:t>
              </a:r>
            </a:p>
          </p:txBody>
        </p:sp>
      </p:grpSp>
    </p:spTree>
    <p:extLst>
      <p:ext uri="{BB962C8B-B14F-4D97-AF65-F5344CB8AC3E}">
        <p14:creationId xmlns:p14="http://schemas.microsoft.com/office/powerpoint/2010/main" val="156829934"/>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5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5">
            <a:extLst>
              <a:ext uri="{FF2B5EF4-FFF2-40B4-BE49-F238E27FC236}">
                <a16:creationId xmlns:a16="http://schemas.microsoft.com/office/drawing/2014/main" id="{C69FCCC1-8CBD-42D5-9903-5EFC26F59CC9}"/>
              </a:ext>
            </a:extLst>
          </p:cNvPr>
          <p:cNvSpPr>
            <a:spLocks/>
          </p:cNvSpPr>
          <p:nvPr/>
        </p:nvSpPr>
        <p:spPr bwMode="auto">
          <a:xfrm>
            <a:off x="4810889" y="3536137"/>
            <a:ext cx="2812212" cy="2072799"/>
          </a:xfrm>
          <a:custGeom>
            <a:avLst/>
            <a:gdLst>
              <a:gd name="T0" fmla="*/ 2270 w 2270"/>
              <a:gd name="T1" fmla="*/ 791 h 1673"/>
              <a:gd name="T2" fmla="*/ 1059 w 2270"/>
              <a:gd name="T3" fmla="*/ 1673 h 1673"/>
              <a:gd name="T4" fmla="*/ 0 w 2270"/>
              <a:gd name="T5" fmla="*/ 1108 h 1673"/>
              <a:gd name="T6" fmla="*/ 425 w 2270"/>
              <a:gd name="T7" fmla="*/ 1237 h 1673"/>
              <a:gd name="T8" fmla="*/ 1177 w 2270"/>
              <a:gd name="T9" fmla="*/ 478 h 1673"/>
              <a:gd name="T10" fmla="*/ 1655 w 2270"/>
              <a:gd name="T11" fmla="*/ 0 h 1673"/>
              <a:gd name="T12" fmla="*/ 2133 w 2270"/>
              <a:gd name="T13" fmla="*/ 481 h 1673"/>
              <a:gd name="T14" fmla="*/ 1959 w 2270"/>
              <a:gd name="T15" fmla="*/ 481 h 1673"/>
              <a:gd name="T16" fmla="*/ 2270 w 2270"/>
              <a:gd name="T17" fmla="*/ 791 h 16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70" h="1673">
                <a:moveTo>
                  <a:pt x="2270" y="791"/>
                </a:moveTo>
                <a:cubicBezTo>
                  <a:pt x="2105" y="1303"/>
                  <a:pt x="1625" y="1673"/>
                  <a:pt x="1059" y="1673"/>
                </a:cubicBezTo>
                <a:cubicBezTo>
                  <a:pt x="617" y="1673"/>
                  <a:pt x="229" y="1448"/>
                  <a:pt x="0" y="1108"/>
                </a:cubicBezTo>
                <a:cubicBezTo>
                  <a:pt x="121" y="1190"/>
                  <a:pt x="266" y="1237"/>
                  <a:pt x="425" y="1237"/>
                </a:cubicBezTo>
                <a:cubicBezTo>
                  <a:pt x="852" y="1237"/>
                  <a:pt x="1177" y="901"/>
                  <a:pt x="1177" y="478"/>
                </a:cubicBezTo>
                <a:cubicBezTo>
                  <a:pt x="1177" y="214"/>
                  <a:pt x="1391" y="0"/>
                  <a:pt x="1655" y="0"/>
                </a:cubicBezTo>
                <a:cubicBezTo>
                  <a:pt x="1920" y="0"/>
                  <a:pt x="2134" y="216"/>
                  <a:pt x="2133" y="481"/>
                </a:cubicBezTo>
                <a:cubicBezTo>
                  <a:pt x="1959" y="481"/>
                  <a:pt x="1959" y="481"/>
                  <a:pt x="1959" y="481"/>
                </a:cubicBezTo>
                <a:cubicBezTo>
                  <a:pt x="2270" y="791"/>
                  <a:pt x="2270" y="791"/>
                  <a:pt x="2270" y="791"/>
                </a:cubicBezTo>
                <a:close/>
              </a:path>
            </a:pathLst>
          </a:custGeom>
          <a:gradFill flip="none" rotWithShape="1">
            <a:gsLst>
              <a:gs pos="0">
                <a:schemeClr val="accent1">
                  <a:lumMod val="20000"/>
                  <a:lumOff val="80000"/>
                  <a:alpha val="0"/>
                </a:schemeClr>
              </a:gs>
              <a:gs pos="100000">
                <a:schemeClr val="accent1">
                  <a:lumMod val="60000"/>
                  <a:lumOff val="40000"/>
                </a:scheme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3" name="Freeform 6">
            <a:extLst>
              <a:ext uri="{FF2B5EF4-FFF2-40B4-BE49-F238E27FC236}">
                <a16:creationId xmlns:a16="http://schemas.microsoft.com/office/drawing/2014/main" id="{55DBA136-0887-476B-A508-A072CF54A6FB}"/>
              </a:ext>
            </a:extLst>
          </p:cNvPr>
          <p:cNvSpPr>
            <a:spLocks/>
          </p:cNvSpPr>
          <p:nvPr/>
        </p:nvSpPr>
        <p:spPr bwMode="auto">
          <a:xfrm>
            <a:off x="4572073" y="2455342"/>
            <a:ext cx="3072460" cy="2267220"/>
          </a:xfrm>
          <a:custGeom>
            <a:avLst/>
            <a:gdLst>
              <a:gd name="T0" fmla="*/ 1252 w 2480"/>
              <a:gd name="T1" fmla="*/ 0 h 1830"/>
              <a:gd name="T2" fmla="*/ 2480 w 2480"/>
              <a:gd name="T3" fmla="*/ 939 h 1830"/>
              <a:gd name="T4" fmla="*/ 1848 w 2480"/>
              <a:gd name="T5" fmla="*/ 597 h 1830"/>
              <a:gd name="T6" fmla="*/ 1096 w 2480"/>
              <a:gd name="T7" fmla="*/ 1351 h 1830"/>
              <a:gd name="T8" fmla="*/ 618 w 2480"/>
              <a:gd name="T9" fmla="*/ 1830 h 1830"/>
              <a:gd name="T10" fmla="*/ 140 w 2480"/>
              <a:gd name="T11" fmla="*/ 1348 h 1830"/>
              <a:gd name="T12" fmla="*/ 311 w 2480"/>
              <a:gd name="T13" fmla="*/ 1348 h 1830"/>
              <a:gd name="T14" fmla="*/ 0 w 2480"/>
              <a:gd name="T15" fmla="*/ 1036 h 1830"/>
              <a:gd name="T16" fmla="*/ 1252 w 2480"/>
              <a:gd name="T17" fmla="*/ 0 h 18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80" h="1830">
                <a:moveTo>
                  <a:pt x="1252" y="0"/>
                </a:moveTo>
                <a:cubicBezTo>
                  <a:pt x="1839" y="0"/>
                  <a:pt x="2333" y="398"/>
                  <a:pt x="2480" y="939"/>
                </a:cubicBezTo>
                <a:cubicBezTo>
                  <a:pt x="2344" y="733"/>
                  <a:pt x="2112" y="597"/>
                  <a:pt x="1848" y="597"/>
                </a:cubicBezTo>
                <a:cubicBezTo>
                  <a:pt x="1426" y="597"/>
                  <a:pt x="1096" y="932"/>
                  <a:pt x="1096" y="1351"/>
                </a:cubicBezTo>
                <a:cubicBezTo>
                  <a:pt x="1096" y="1616"/>
                  <a:pt x="882" y="1830"/>
                  <a:pt x="618" y="1830"/>
                </a:cubicBezTo>
                <a:cubicBezTo>
                  <a:pt x="350" y="1830"/>
                  <a:pt x="140" y="1614"/>
                  <a:pt x="140" y="1348"/>
                </a:cubicBezTo>
                <a:cubicBezTo>
                  <a:pt x="311" y="1348"/>
                  <a:pt x="311" y="1348"/>
                  <a:pt x="311" y="1348"/>
                </a:cubicBezTo>
                <a:cubicBezTo>
                  <a:pt x="0" y="1036"/>
                  <a:pt x="0" y="1036"/>
                  <a:pt x="0" y="1036"/>
                </a:cubicBezTo>
                <a:cubicBezTo>
                  <a:pt x="111" y="447"/>
                  <a:pt x="629" y="0"/>
                  <a:pt x="1252" y="0"/>
                </a:cubicBezTo>
                <a:close/>
              </a:path>
            </a:pathLst>
          </a:custGeom>
          <a:gradFill flip="none" rotWithShape="1">
            <a:gsLst>
              <a:gs pos="0">
                <a:schemeClr val="accent1">
                  <a:lumMod val="20000"/>
                  <a:lumOff val="80000"/>
                  <a:alpha val="0"/>
                </a:schemeClr>
              </a:gs>
              <a:gs pos="100000">
                <a:schemeClr val="accent1">
                  <a:lumMod val="60000"/>
                  <a:lumOff val="40000"/>
                </a:schemeClr>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4" name="Freeform 7">
            <a:extLst>
              <a:ext uri="{FF2B5EF4-FFF2-40B4-BE49-F238E27FC236}">
                <a16:creationId xmlns:a16="http://schemas.microsoft.com/office/drawing/2014/main" id="{D4C25560-D3EC-4994-BBA1-D1FA9FD31BCB}"/>
              </a:ext>
            </a:extLst>
          </p:cNvPr>
          <p:cNvSpPr>
            <a:spLocks/>
          </p:cNvSpPr>
          <p:nvPr/>
        </p:nvSpPr>
        <p:spPr bwMode="auto">
          <a:xfrm>
            <a:off x="4187825" y="3194753"/>
            <a:ext cx="3819525" cy="1873786"/>
          </a:xfrm>
          <a:custGeom>
            <a:avLst/>
            <a:gdLst>
              <a:gd name="T0" fmla="*/ 928 w 3083"/>
              <a:gd name="T1" fmla="*/ 1513 h 1513"/>
              <a:gd name="T2" fmla="*/ 172 w 3083"/>
              <a:gd name="T3" fmla="*/ 751 h 1513"/>
              <a:gd name="T4" fmla="*/ 0 w 3083"/>
              <a:gd name="T5" fmla="*/ 751 h 1513"/>
              <a:gd name="T6" fmla="*/ 310 w 3083"/>
              <a:gd name="T7" fmla="*/ 439 h 1513"/>
              <a:gd name="T8" fmla="*/ 621 w 3083"/>
              <a:gd name="T9" fmla="*/ 751 h 1513"/>
              <a:gd name="T10" fmla="*/ 450 w 3083"/>
              <a:gd name="T11" fmla="*/ 751 h 1513"/>
              <a:gd name="T12" fmla="*/ 928 w 3083"/>
              <a:gd name="T13" fmla="*/ 1233 h 1513"/>
              <a:gd name="T14" fmla="*/ 1406 w 3083"/>
              <a:gd name="T15" fmla="*/ 754 h 1513"/>
              <a:gd name="T16" fmla="*/ 2158 w 3083"/>
              <a:gd name="T17" fmla="*/ 0 h 1513"/>
              <a:gd name="T18" fmla="*/ 2914 w 3083"/>
              <a:gd name="T19" fmla="*/ 757 h 1513"/>
              <a:gd name="T20" fmla="*/ 3083 w 3083"/>
              <a:gd name="T21" fmla="*/ 757 h 1513"/>
              <a:gd name="T22" fmla="*/ 2773 w 3083"/>
              <a:gd name="T23" fmla="*/ 1067 h 1513"/>
              <a:gd name="T24" fmla="*/ 2462 w 3083"/>
              <a:gd name="T25" fmla="*/ 757 h 1513"/>
              <a:gd name="T26" fmla="*/ 2636 w 3083"/>
              <a:gd name="T27" fmla="*/ 757 h 1513"/>
              <a:gd name="T28" fmla="*/ 2158 w 3083"/>
              <a:gd name="T29" fmla="*/ 276 h 1513"/>
              <a:gd name="T30" fmla="*/ 1680 w 3083"/>
              <a:gd name="T31" fmla="*/ 754 h 1513"/>
              <a:gd name="T32" fmla="*/ 928 w 3083"/>
              <a:gd name="T33" fmla="*/ 1513 h 15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083" h="1513">
                <a:moveTo>
                  <a:pt x="928" y="1513"/>
                </a:moveTo>
                <a:cubicBezTo>
                  <a:pt x="504" y="1513"/>
                  <a:pt x="174" y="1172"/>
                  <a:pt x="172" y="751"/>
                </a:cubicBezTo>
                <a:cubicBezTo>
                  <a:pt x="0" y="751"/>
                  <a:pt x="0" y="751"/>
                  <a:pt x="0" y="751"/>
                </a:cubicBezTo>
                <a:cubicBezTo>
                  <a:pt x="310" y="439"/>
                  <a:pt x="310" y="439"/>
                  <a:pt x="310" y="439"/>
                </a:cubicBezTo>
                <a:cubicBezTo>
                  <a:pt x="621" y="751"/>
                  <a:pt x="621" y="751"/>
                  <a:pt x="621" y="751"/>
                </a:cubicBezTo>
                <a:cubicBezTo>
                  <a:pt x="450" y="751"/>
                  <a:pt x="450" y="751"/>
                  <a:pt x="450" y="751"/>
                </a:cubicBezTo>
                <a:cubicBezTo>
                  <a:pt x="450" y="1017"/>
                  <a:pt x="660" y="1233"/>
                  <a:pt x="928" y="1233"/>
                </a:cubicBezTo>
                <a:cubicBezTo>
                  <a:pt x="1192" y="1233"/>
                  <a:pt x="1406" y="1019"/>
                  <a:pt x="1406" y="754"/>
                </a:cubicBezTo>
                <a:cubicBezTo>
                  <a:pt x="1406" y="335"/>
                  <a:pt x="1736" y="0"/>
                  <a:pt x="2158" y="0"/>
                </a:cubicBezTo>
                <a:cubicBezTo>
                  <a:pt x="2576" y="0"/>
                  <a:pt x="2913" y="339"/>
                  <a:pt x="2914" y="757"/>
                </a:cubicBezTo>
                <a:cubicBezTo>
                  <a:pt x="3083" y="757"/>
                  <a:pt x="3083" y="757"/>
                  <a:pt x="3083" y="757"/>
                </a:cubicBezTo>
                <a:cubicBezTo>
                  <a:pt x="2773" y="1067"/>
                  <a:pt x="2773" y="1067"/>
                  <a:pt x="2773" y="1067"/>
                </a:cubicBezTo>
                <a:cubicBezTo>
                  <a:pt x="2462" y="757"/>
                  <a:pt x="2462" y="757"/>
                  <a:pt x="2462" y="757"/>
                </a:cubicBezTo>
                <a:cubicBezTo>
                  <a:pt x="2636" y="757"/>
                  <a:pt x="2636" y="757"/>
                  <a:pt x="2636" y="757"/>
                </a:cubicBezTo>
                <a:cubicBezTo>
                  <a:pt x="2637" y="492"/>
                  <a:pt x="2423" y="276"/>
                  <a:pt x="2158" y="276"/>
                </a:cubicBezTo>
                <a:cubicBezTo>
                  <a:pt x="1894" y="276"/>
                  <a:pt x="1680" y="490"/>
                  <a:pt x="1680" y="754"/>
                </a:cubicBezTo>
                <a:cubicBezTo>
                  <a:pt x="1680" y="1177"/>
                  <a:pt x="1355" y="1513"/>
                  <a:pt x="928" y="1513"/>
                </a:cubicBezTo>
                <a:close/>
              </a:path>
            </a:pathLst>
          </a:custGeom>
          <a:gradFill flip="none" rotWithShape="1">
            <a:gsLst>
              <a:gs pos="0">
                <a:schemeClr val="accent1"/>
              </a:gs>
              <a:gs pos="44000">
                <a:schemeClr val="accent1">
                  <a:lumMod val="60000"/>
                  <a:lumOff val="40000"/>
                </a:schemeClr>
              </a:gs>
              <a:gs pos="100000">
                <a:schemeClr val="accent1"/>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grpSp>
        <p:nvGrpSpPr>
          <p:cNvPr id="6" name="Group 10">
            <a:extLst>
              <a:ext uri="{FF2B5EF4-FFF2-40B4-BE49-F238E27FC236}">
                <a16:creationId xmlns:a16="http://schemas.microsoft.com/office/drawing/2014/main" id="{CEC15BC3-B6E0-4996-960A-0DFEDD13F750}"/>
              </a:ext>
            </a:extLst>
          </p:cNvPr>
          <p:cNvGrpSpPr>
            <a:grpSpLocks noChangeAspect="1"/>
          </p:cNvGrpSpPr>
          <p:nvPr/>
        </p:nvGrpSpPr>
        <p:grpSpPr bwMode="auto">
          <a:xfrm>
            <a:off x="5058400" y="3234839"/>
            <a:ext cx="634794" cy="602596"/>
            <a:chOff x="3064" y="1608"/>
            <a:chExt cx="828" cy="786"/>
          </a:xfrm>
          <a:gradFill flip="none" rotWithShape="1">
            <a:gsLst>
              <a:gs pos="18584">
                <a:schemeClr val="accent1">
                  <a:lumMod val="40000"/>
                  <a:lumOff val="60000"/>
                </a:schemeClr>
              </a:gs>
              <a:gs pos="46000">
                <a:schemeClr val="accent1">
                  <a:lumMod val="60000"/>
                  <a:lumOff val="40000"/>
                </a:schemeClr>
              </a:gs>
              <a:gs pos="100000">
                <a:schemeClr val="accent1"/>
              </a:gs>
            </a:gsLst>
            <a:lin ang="2700000" scaled="1"/>
            <a:tileRect/>
          </a:gradFill>
        </p:grpSpPr>
        <p:sp>
          <p:nvSpPr>
            <p:cNvPr id="7" name="Freeform 11">
              <a:extLst>
                <a:ext uri="{FF2B5EF4-FFF2-40B4-BE49-F238E27FC236}">
                  <a16:creationId xmlns:a16="http://schemas.microsoft.com/office/drawing/2014/main" id="{16D44368-4A25-42F4-B51A-7B8AFD992C04}"/>
                </a:ext>
              </a:extLst>
            </p:cNvPr>
            <p:cNvSpPr>
              <a:spLocks/>
            </p:cNvSpPr>
            <p:nvPr/>
          </p:nvSpPr>
          <p:spPr bwMode="auto">
            <a:xfrm>
              <a:off x="3453" y="1608"/>
              <a:ext cx="174" cy="173"/>
            </a:xfrm>
            <a:custGeom>
              <a:avLst/>
              <a:gdLst>
                <a:gd name="T0" fmla="*/ 51 w 83"/>
                <a:gd name="T1" fmla="*/ 6 h 83"/>
                <a:gd name="T2" fmla="*/ 5 w 83"/>
                <a:gd name="T3" fmla="*/ 32 h 83"/>
                <a:gd name="T4" fmla="*/ 32 w 83"/>
                <a:gd name="T5" fmla="*/ 78 h 83"/>
                <a:gd name="T6" fmla="*/ 78 w 83"/>
                <a:gd name="T7" fmla="*/ 52 h 83"/>
                <a:gd name="T8" fmla="*/ 51 w 83"/>
                <a:gd name="T9" fmla="*/ 6 h 83"/>
              </a:gdLst>
              <a:ahLst/>
              <a:cxnLst>
                <a:cxn ang="0">
                  <a:pos x="T0" y="T1"/>
                </a:cxn>
                <a:cxn ang="0">
                  <a:pos x="T2" y="T3"/>
                </a:cxn>
                <a:cxn ang="0">
                  <a:pos x="T4" y="T5"/>
                </a:cxn>
                <a:cxn ang="0">
                  <a:pos x="T6" y="T7"/>
                </a:cxn>
                <a:cxn ang="0">
                  <a:pos x="T8" y="T9"/>
                </a:cxn>
              </a:cxnLst>
              <a:rect l="0" t="0" r="r" b="b"/>
              <a:pathLst>
                <a:path w="83" h="83">
                  <a:moveTo>
                    <a:pt x="51" y="6"/>
                  </a:moveTo>
                  <a:cubicBezTo>
                    <a:pt x="31" y="0"/>
                    <a:pt x="11" y="12"/>
                    <a:pt x="5" y="32"/>
                  </a:cubicBezTo>
                  <a:cubicBezTo>
                    <a:pt x="0" y="52"/>
                    <a:pt x="12" y="72"/>
                    <a:pt x="32" y="78"/>
                  </a:cubicBezTo>
                  <a:cubicBezTo>
                    <a:pt x="52" y="83"/>
                    <a:pt x="72" y="72"/>
                    <a:pt x="78" y="52"/>
                  </a:cubicBezTo>
                  <a:cubicBezTo>
                    <a:pt x="83" y="32"/>
                    <a:pt x="71" y="11"/>
                    <a:pt x="51"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Inter"/>
                <a:ea typeface="+mn-ea"/>
                <a:cs typeface="+mn-cs"/>
              </a:endParaRPr>
            </a:p>
          </p:txBody>
        </p:sp>
        <p:sp>
          <p:nvSpPr>
            <p:cNvPr id="8" name="Freeform 12">
              <a:extLst>
                <a:ext uri="{FF2B5EF4-FFF2-40B4-BE49-F238E27FC236}">
                  <a16:creationId xmlns:a16="http://schemas.microsoft.com/office/drawing/2014/main" id="{0C3A2FD9-D762-448B-8352-151D74DE45D1}"/>
                </a:ext>
              </a:extLst>
            </p:cNvPr>
            <p:cNvSpPr>
              <a:spLocks noEditPoints="1"/>
            </p:cNvSpPr>
            <p:nvPr/>
          </p:nvSpPr>
          <p:spPr bwMode="auto">
            <a:xfrm>
              <a:off x="3064" y="1838"/>
              <a:ext cx="828" cy="556"/>
            </a:xfrm>
            <a:custGeom>
              <a:avLst/>
              <a:gdLst>
                <a:gd name="T0" fmla="*/ 58 w 396"/>
                <a:gd name="T1" fmla="*/ 80 h 266"/>
                <a:gd name="T2" fmla="*/ 38 w 396"/>
                <a:gd name="T3" fmla="*/ 45 h 266"/>
                <a:gd name="T4" fmla="*/ 4 w 396"/>
                <a:gd name="T5" fmla="*/ 65 h 266"/>
                <a:gd name="T6" fmla="*/ 24 w 396"/>
                <a:gd name="T7" fmla="*/ 99 h 266"/>
                <a:gd name="T8" fmla="*/ 58 w 396"/>
                <a:gd name="T9" fmla="*/ 80 h 266"/>
                <a:gd name="T10" fmla="*/ 161 w 396"/>
                <a:gd name="T11" fmla="*/ 247 h 266"/>
                <a:gd name="T12" fmla="*/ 281 w 396"/>
                <a:gd name="T13" fmla="*/ 244 h 266"/>
                <a:gd name="T14" fmla="*/ 344 w 396"/>
                <a:gd name="T15" fmla="*/ 142 h 266"/>
                <a:gd name="T16" fmla="*/ 257 w 396"/>
                <a:gd name="T17" fmla="*/ 201 h 266"/>
                <a:gd name="T18" fmla="*/ 161 w 396"/>
                <a:gd name="T19" fmla="*/ 247 h 266"/>
                <a:gd name="T20" fmla="*/ 390 w 396"/>
                <a:gd name="T21" fmla="*/ 24 h 266"/>
                <a:gd name="T22" fmla="*/ 282 w 396"/>
                <a:gd name="T23" fmla="*/ 25 h 266"/>
                <a:gd name="T24" fmla="*/ 155 w 396"/>
                <a:gd name="T25" fmla="*/ 24 h 266"/>
                <a:gd name="T26" fmla="*/ 91 w 396"/>
                <a:gd name="T27" fmla="*/ 132 h 266"/>
                <a:gd name="T28" fmla="*/ 33 w 396"/>
                <a:gd name="T29" fmla="*/ 201 h 266"/>
                <a:gd name="T30" fmla="*/ 35 w 396"/>
                <a:gd name="T31" fmla="*/ 224 h 266"/>
                <a:gd name="T32" fmla="*/ 71 w 396"/>
                <a:gd name="T33" fmla="*/ 239 h 266"/>
                <a:gd name="T34" fmla="*/ 243 w 396"/>
                <a:gd name="T35" fmla="*/ 176 h 266"/>
                <a:gd name="T36" fmla="*/ 393 w 396"/>
                <a:gd name="T37" fmla="*/ 47 h 266"/>
                <a:gd name="T38" fmla="*/ 390 w 396"/>
                <a:gd name="T39" fmla="*/ 24 h 266"/>
                <a:gd name="T40" fmla="*/ 60 w 396"/>
                <a:gd name="T41" fmla="*/ 210 h 266"/>
                <a:gd name="T42" fmla="*/ 95 w 396"/>
                <a:gd name="T43" fmla="*/ 166 h 266"/>
                <a:gd name="T44" fmla="*/ 108 w 396"/>
                <a:gd name="T45" fmla="*/ 197 h 266"/>
                <a:gd name="T46" fmla="*/ 112 w 396"/>
                <a:gd name="T47" fmla="*/ 203 h 266"/>
                <a:gd name="T48" fmla="*/ 60 w 396"/>
                <a:gd name="T49" fmla="*/ 210 h 266"/>
                <a:gd name="T50" fmla="*/ 181 w 396"/>
                <a:gd name="T51" fmla="*/ 69 h 266"/>
                <a:gd name="T52" fmla="*/ 144 w 396"/>
                <a:gd name="T53" fmla="*/ 129 h 266"/>
                <a:gd name="T54" fmla="*/ 132 w 396"/>
                <a:gd name="T55" fmla="*/ 140 h 266"/>
                <a:gd name="T56" fmla="*/ 131 w 396"/>
                <a:gd name="T57" fmla="*/ 140 h 266"/>
                <a:gd name="T58" fmla="*/ 120 w 396"/>
                <a:gd name="T59" fmla="*/ 127 h 266"/>
                <a:gd name="T60" fmla="*/ 169 w 396"/>
                <a:gd name="T61" fmla="*/ 49 h 266"/>
                <a:gd name="T62" fmla="*/ 185 w 396"/>
                <a:gd name="T63" fmla="*/ 53 h 266"/>
                <a:gd name="T64" fmla="*/ 181 w 396"/>
                <a:gd name="T65" fmla="*/ 69 h 266"/>
                <a:gd name="T66" fmla="*/ 332 w 396"/>
                <a:gd name="T67" fmla="*/ 80 h 266"/>
                <a:gd name="T68" fmla="*/ 328 w 396"/>
                <a:gd name="T69" fmla="*/ 71 h 266"/>
                <a:gd name="T70" fmla="*/ 309 w 396"/>
                <a:gd name="T71" fmla="*/ 46 h 266"/>
                <a:gd name="T72" fmla="*/ 366 w 396"/>
                <a:gd name="T73" fmla="*/ 38 h 266"/>
                <a:gd name="T74" fmla="*/ 332 w 396"/>
                <a:gd name="T75" fmla="*/ 80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96" h="266">
                  <a:moveTo>
                    <a:pt x="58" y="80"/>
                  </a:moveTo>
                  <a:cubicBezTo>
                    <a:pt x="62" y="65"/>
                    <a:pt x="53" y="49"/>
                    <a:pt x="38" y="45"/>
                  </a:cubicBezTo>
                  <a:cubicBezTo>
                    <a:pt x="24" y="41"/>
                    <a:pt x="8" y="50"/>
                    <a:pt x="4" y="65"/>
                  </a:cubicBezTo>
                  <a:cubicBezTo>
                    <a:pt x="0" y="80"/>
                    <a:pt x="9" y="95"/>
                    <a:pt x="24" y="99"/>
                  </a:cubicBezTo>
                  <a:cubicBezTo>
                    <a:pt x="39" y="103"/>
                    <a:pt x="54" y="95"/>
                    <a:pt x="58" y="80"/>
                  </a:cubicBezTo>
                  <a:close/>
                  <a:moveTo>
                    <a:pt x="161" y="247"/>
                  </a:moveTo>
                  <a:cubicBezTo>
                    <a:pt x="198" y="265"/>
                    <a:pt x="242" y="266"/>
                    <a:pt x="281" y="244"/>
                  </a:cubicBezTo>
                  <a:cubicBezTo>
                    <a:pt x="319" y="222"/>
                    <a:pt x="341" y="183"/>
                    <a:pt x="344" y="142"/>
                  </a:cubicBezTo>
                  <a:cubicBezTo>
                    <a:pt x="319" y="162"/>
                    <a:pt x="290" y="182"/>
                    <a:pt x="257" y="201"/>
                  </a:cubicBezTo>
                  <a:cubicBezTo>
                    <a:pt x="224" y="220"/>
                    <a:pt x="191" y="236"/>
                    <a:pt x="161" y="247"/>
                  </a:cubicBezTo>
                  <a:close/>
                  <a:moveTo>
                    <a:pt x="390" y="24"/>
                  </a:moveTo>
                  <a:cubicBezTo>
                    <a:pt x="376" y="0"/>
                    <a:pt x="331" y="7"/>
                    <a:pt x="282" y="25"/>
                  </a:cubicBezTo>
                  <a:cubicBezTo>
                    <a:pt x="244" y="3"/>
                    <a:pt x="196" y="1"/>
                    <a:pt x="155" y="24"/>
                  </a:cubicBezTo>
                  <a:cubicBezTo>
                    <a:pt x="115" y="47"/>
                    <a:pt x="92" y="89"/>
                    <a:pt x="91" y="132"/>
                  </a:cubicBezTo>
                  <a:cubicBezTo>
                    <a:pt x="61" y="157"/>
                    <a:pt x="38" y="181"/>
                    <a:pt x="33" y="201"/>
                  </a:cubicBezTo>
                  <a:cubicBezTo>
                    <a:pt x="30" y="212"/>
                    <a:pt x="33" y="219"/>
                    <a:pt x="35" y="224"/>
                  </a:cubicBezTo>
                  <a:cubicBezTo>
                    <a:pt x="42" y="235"/>
                    <a:pt x="54" y="239"/>
                    <a:pt x="71" y="239"/>
                  </a:cubicBezTo>
                  <a:cubicBezTo>
                    <a:pt x="117" y="239"/>
                    <a:pt x="194" y="204"/>
                    <a:pt x="243" y="176"/>
                  </a:cubicBezTo>
                  <a:cubicBezTo>
                    <a:pt x="310" y="139"/>
                    <a:pt x="383" y="84"/>
                    <a:pt x="393" y="47"/>
                  </a:cubicBezTo>
                  <a:cubicBezTo>
                    <a:pt x="396" y="36"/>
                    <a:pt x="393" y="28"/>
                    <a:pt x="390" y="24"/>
                  </a:cubicBezTo>
                  <a:close/>
                  <a:moveTo>
                    <a:pt x="60" y="210"/>
                  </a:moveTo>
                  <a:cubicBezTo>
                    <a:pt x="60" y="203"/>
                    <a:pt x="72" y="187"/>
                    <a:pt x="95" y="166"/>
                  </a:cubicBezTo>
                  <a:cubicBezTo>
                    <a:pt x="98" y="176"/>
                    <a:pt x="102" y="187"/>
                    <a:pt x="108" y="197"/>
                  </a:cubicBezTo>
                  <a:cubicBezTo>
                    <a:pt x="109" y="199"/>
                    <a:pt x="111" y="201"/>
                    <a:pt x="112" y="203"/>
                  </a:cubicBezTo>
                  <a:cubicBezTo>
                    <a:pt x="84" y="212"/>
                    <a:pt x="65" y="213"/>
                    <a:pt x="60" y="210"/>
                  </a:cubicBezTo>
                  <a:close/>
                  <a:moveTo>
                    <a:pt x="181" y="69"/>
                  </a:moveTo>
                  <a:cubicBezTo>
                    <a:pt x="159" y="82"/>
                    <a:pt x="145" y="104"/>
                    <a:pt x="144" y="129"/>
                  </a:cubicBezTo>
                  <a:cubicBezTo>
                    <a:pt x="143" y="135"/>
                    <a:pt x="138" y="140"/>
                    <a:pt x="132" y="140"/>
                  </a:cubicBezTo>
                  <a:cubicBezTo>
                    <a:pt x="132" y="140"/>
                    <a:pt x="131" y="140"/>
                    <a:pt x="131" y="140"/>
                  </a:cubicBezTo>
                  <a:cubicBezTo>
                    <a:pt x="125" y="139"/>
                    <a:pt x="120" y="134"/>
                    <a:pt x="120" y="127"/>
                  </a:cubicBezTo>
                  <a:cubicBezTo>
                    <a:pt x="123" y="95"/>
                    <a:pt x="141" y="65"/>
                    <a:pt x="169" y="49"/>
                  </a:cubicBezTo>
                  <a:cubicBezTo>
                    <a:pt x="175" y="46"/>
                    <a:pt x="182" y="48"/>
                    <a:pt x="185" y="53"/>
                  </a:cubicBezTo>
                  <a:cubicBezTo>
                    <a:pt x="189" y="59"/>
                    <a:pt x="187" y="66"/>
                    <a:pt x="181" y="69"/>
                  </a:cubicBezTo>
                  <a:close/>
                  <a:moveTo>
                    <a:pt x="332" y="80"/>
                  </a:moveTo>
                  <a:cubicBezTo>
                    <a:pt x="331" y="77"/>
                    <a:pt x="330" y="74"/>
                    <a:pt x="328" y="71"/>
                  </a:cubicBezTo>
                  <a:cubicBezTo>
                    <a:pt x="322" y="62"/>
                    <a:pt x="316" y="53"/>
                    <a:pt x="309" y="46"/>
                  </a:cubicBezTo>
                  <a:cubicBezTo>
                    <a:pt x="340" y="36"/>
                    <a:pt x="360" y="34"/>
                    <a:pt x="366" y="38"/>
                  </a:cubicBezTo>
                  <a:cubicBezTo>
                    <a:pt x="366" y="45"/>
                    <a:pt x="355" y="60"/>
                    <a:pt x="332"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Inter"/>
                <a:ea typeface="+mn-ea"/>
                <a:cs typeface="+mn-cs"/>
              </a:endParaRPr>
            </a:p>
          </p:txBody>
        </p:sp>
      </p:grpSp>
      <p:grpSp>
        <p:nvGrpSpPr>
          <p:cNvPr id="9" name="Group 13">
            <a:extLst>
              <a:ext uri="{FF2B5EF4-FFF2-40B4-BE49-F238E27FC236}">
                <a16:creationId xmlns:a16="http://schemas.microsoft.com/office/drawing/2014/main" id="{B2813DEB-506E-4570-85EA-BF794BCC00E4}"/>
              </a:ext>
            </a:extLst>
          </p:cNvPr>
          <p:cNvGrpSpPr>
            <a:grpSpLocks noChangeAspect="1"/>
          </p:cNvGrpSpPr>
          <p:nvPr/>
        </p:nvGrpSpPr>
        <p:grpSpPr bwMode="auto">
          <a:xfrm>
            <a:off x="6486855" y="4390091"/>
            <a:ext cx="585449" cy="460964"/>
            <a:chOff x="4002" y="1687"/>
            <a:chExt cx="950" cy="748"/>
          </a:xfrm>
          <a:gradFill flip="none" rotWithShape="1">
            <a:gsLst>
              <a:gs pos="18584">
                <a:schemeClr val="accent1">
                  <a:lumMod val="40000"/>
                  <a:lumOff val="60000"/>
                </a:schemeClr>
              </a:gs>
              <a:gs pos="46000">
                <a:schemeClr val="accent1">
                  <a:lumMod val="60000"/>
                  <a:lumOff val="40000"/>
                </a:schemeClr>
              </a:gs>
              <a:gs pos="100000">
                <a:schemeClr val="accent1"/>
              </a:gs>
            </a:gsLst>
            <a:lin ang="2700000" scaled="1"/>
            <a:tileRect/>
          </a:gradFill>
        </p:grpSpPr>
        <p:sp>
          <p:nvSpPr>
            <p:cNvPr id="10" name="Freeform 14">
              <a:extLst>
                <a:ext uri="{FF2B5EF4-FFF2-40B4-BE49-F238E27FC236}">
                  <a16:creationId xmlns:a16="http://schemas.microsoft.com/office/drawing/2014/main" id="{9EE3DA7A-7A05-496E-87D4-3CD8CAEED400}"/>
                </a:ext>
              </a:extLst>
            </p:cNvPr>
            <p:cNvSpPr>
              <a:spLocks/>
            </p:cNvSpPr>
            <p:nvPr/>
          </p:nvSpPr>
          <p:spPr bwMode="auto">
            <a:xfrm>
              <a:off x="4033" y="2095"/>
              <a:ext cx="115" cy="286"/>
            </a:xfrm>
            <a:custGeom>
              <a:avLst/>
              <a:gdLst>
                <a:gd name="T0" fmla="*/ 39 w 55"/>
                <a:gd name="T1" fmla="*/ 85 h 137"/>
                <a:gd name="T2" fmla="*/ 39 w 55"/>
                <a:gd name="T3" fmla="*/ 13 h 137"/>
                <a:gd name="T4" fmla="*/ 17 w 55"/>
                <a:gd name="T5" fmla="*/ 0 h 137"/>
                <a:gd name="T6" fmla="*/ 17 w 55"/>
                <a:gd name="T7" fmla="*/ 84 h 137"/>
                <a:gd name="T8" fmla="*/ 0 w 55"/>
                <a:gd name="T9" fmla="*/ 110 h 137"/>
                <a:gd name="T10" fmla="*/ 27 w 55"/>
                <a:gd name="T11" fmla="*/ 137 h 137"/>
                <a:gd name="T12" fmla="*/ 55 w 55"/>
                <a:gd name="T13" fmla="*/ 110 h 137"/>
                <a:gd name="T14" fmla="*/ 39 w 55"/>
                <a:gd name="T15" fmla="*/ 85 h 1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5" h="137">
                  <a:moveTo>
                    <a:pt x="39" y="85"/>
                  </a:moveTo>
                  <a:cubicBezTo>
                    <a:pt x="39" y="13"/>
                    <a:pt x="39" y="13"/>
                    <a:pt x="39" y="13"/>
                  </a:cubicBezTo>
                  <a:cubicBezTo>
                    <a:pt x="17" y="0"/>
                    <a:pt x="17" y="0"/>
                    <a:pt x="17" y="0"/>
                  </a:cubicBezTo>
                  <a:cubicBezTo>
                    <a:pt x="17" y="84"/>
                    <a:pt x="17" y="84"/>
                    <a:pt x="17" y="84"/>
                  </a:cubicBezTo>
                  <a:cubicBezTo>
                    <a:pt x="7" y="88"/>
                    <a:pt x="0" y="98"/>
                    <a:pt x="0" y="110"/>
                  </a:cubicBezTo>
                  <a:cubicBezTo>
                    <a:pt x="0" y="125"/>
                    <a:pt x="12" y="137"/>
                    <a:pt x="27" y="137"/>
                  </a:cubicBezTo>
                  <a:cubicBezTo>
                    <a:pt x="42" y="137"/>
                    <a:pt x="55" y="125"/>
                    <a:pt x="55" y="110"/>
                  </a:cubicBezTo>
                  <a:cubicBezTo>
                    <a:pt x="55" y="99"/>
                    <a:pt x="48" y="89"/>
                    <a:pt x="39" y="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Inter"/>
                <a:ea typeface="+mn-ea"/>
                <a:cs typeface="+mn-cs"/>
              </a:endParaRPr>
            </a:p>
          </p:txBody>
        </p:sp>
        <p:sp>
          <p:nvSpPr>
            <p:cNvPr id="11" name="Freeform 15">
              <a:extLst>
                <a:ext uri="{FF2B5EF4-FFF2-40B4-BE49-F238E27FC236}">
                  <a16:creationId xmlns:a16="http://schemas.microsoft.com/office/drawing/2014/main" id="{637A6957-A5AC-4312-87A3-78269FB5A739}"/>
                </a:ext>
              </a:extLst>
            </p:cNvPr>
            <p:cNvSpPr>
              <a:spLocks noEditPoints="1"/>
            </p:cNvSpPr>
            <p:nvPr/>
          </p:nvSpPr>
          <p:spPr bwMode="auto">
            <a:xfrm>
              <a:off x="4002" y="1687"/>
              <a:ext cx="950" cy="748"/>
            </a:xfrm>
            <a:custGeom>
              <a:avLst/>
              <a:gdLst>
                <a:gd name="T0" fmla="*/ 227 w 455"/>
                <a:gd name="T1" fmla="*/ 300 h 358"/>
                <a:gd name="T2" fmla="*/ 203 w 455"/>
                <a:gd name="T3" fmla="*/ 293 h 358"/>
                <a:gd name="T4" fmla="*/ 81 w 455"/>
                <a:gd name="T5" fmla="*/ 223 h 358"/>
                <a:gd name="T6" fmla="*/ 81 w 455"/>
                <a:gd name="T7" fmla="*/ 278 h 358"/>
                <a:gd name="T8" fmla="*/ 83 w 455"/>
                <a:gd name="T9" fmla="*/ 279 h 358"/>
                <a:gd name="T10" fmla="*/ 205 w 455"/>
                <a:gd name="T11" fmla="*/ 350 h 358"/>
                <a:gd name="T12" fmla="*/ 249 w 455"/>
                <a:gd name="T13" fmla="*/ 350 h 358"/>
                <a:gd name="T14" fmla="*/ 372 w 455"/>
                <a:gd name="T15" fmla="*/ 279 h 358"/>
                <a:gd name="T16" fmla="*/ 394 w 455"/>
                <a:gd name="T17" fmla="*/ 241 h 358"/>
                <a:gd name="T18" fmla="*/ 394 w 455"/>
                <a:gd name="T19" fmla="*/ 212 h 358"/>
                <a:gd name="T20" fmla="*/ 252 w 455"/>
                <a:gd name="T21" fmla="*/ 293 h 358"/>
                <a:gd name="T22" fmla="*/ 227 w 455"/>
                <a:gd name="T23" fmla="*/ 300 h 358"/>
                <a:gd name="T24" fmla="*/ 440 w 455"/>
                <a:gd name="T25" fmla="*/ 116 h 358"/>
                <a:gd name="T26" fmla="*/ 249 w 455"/>
                <a:gd name="T27" fmla="*/ 6 h 358"/>
                <a:gd name="T28" fmla="*/ 227 w 455"/>
                <a:gd name="T29" fmla="*/ 0 h 358"/>
                <a:gd name="T30" fmla="*/ 205 w 455"/>
                <a:gd name="T31" fmla="*/ 6 h 358"/>
                <a:gd name="T32" fmla="*/ 15 w 455"/>
                <a:gd name="T33" fmla="*/ 116 h 358"/>
                <a:gd name="T34" fmla="*/ 15 w 455"/>
                <a:gd name="T35" fmla="*/ 153 h 358"/>
                <a:gd name="T36" fmla="*/ 217 w 455"/>
                <a:gd name="T37" fmla="*/ 269 h 358"/>
                <a:gd name="T38" fmla="*/ 227 w 455"/>
                <a:gd name="T39" fmla="*/ 272 h 358"/>
                <a:gd name="T40" fmla="*/ 238 w 455"/>
                <a:gd name="T41" fmla="*/ 269 h 358"/>
                <a:gd name="T42" fmla="*/ 440 w 455"/>
                <a:gd name="T43" fmla="*/ 153 h 358"/>
                <a:gd name="T44" fmla="*/ 440 w 455"/>
                <a:gd name="T45" fmla="*/ 116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55" h="358">
                  <a:moveTo>
                    <a:pt x="227" y="300"/>
                  </a:moveTo>
                  <a:cubicBezTo>
                    <a:pt x="219" y="300"/>
                    <a:pt x="210" y="298"/>
                    <a:pt x="203" y="293"/>
                  </a:cubicBezTo>
                  <a:cubicBezTo>
                    <a:pt x="81" y="223"/>
                    <a:pt x="81" y="223"/>
                    <a:pt x="81" y="223"/>
                  </a:cubicBezTo>
                  <a:cubicBezTo>
                    <a:pt x="81" y="278"/>
                    <a:pt x="81" y="278"/>
                    <a:pt x="81" y="278"/>
                  </a:cubicBezTo>
                  <a:cubicBezTo>
                    <a:pt x="82" y="279"/>
                    <a:pt x="82" y="279"/>
                    <a:pt x="83" y="279"/>
                  </a:cubicBezTo>
                  <a:cubicBezTo>
                    <a:pt x="205" y="350"/>
                    <a:pt x="205" y="350"/>
                    <a:pt x="205" y="350"/>
                  </a:cubicBezTo>
                  <a:cubicBezTo>
                    <a:pt x="219" y="358"/>
                    <a:pt x="236" y="358"/>
                    <a:pt x="249" y="350"/>
                  </a:cubicBezTo>
                  <a:cubicBezTo>
                    <a:pt x="372" y="279"/>
                    <a:pt x="372" y="279"/>
                    <a:pt x="372" y="279"/>
                  </a:cubicBezTo>
                  <a:cubicBezTo>
                    <a:pt x="386" y="272"/>
                    <a:pt x="394" y="257"/>
                    <a:pt x="394" y="241"/>
                  </a:cubicBezTo>
                  <a:cubicBezTo>
                    <a:pt x="394" y="212"/>
                    <a:pt x="394" y="212"/>
                    <a:pt x="394" y="212"/>
                  </a:cubicBezTo>
                  <a:cubicBezTo>
                    <a:pt x="252" y="293"/>
                    <a:pt x="252" y="293"/>
                    <a:pt x="252" y="293"/>
                  </a:cubicBezTo>
                  <a:cubicBezTo>
                    <a:pt x="244" y="298"/>
                    <a:pt x="236" y="300"/>
                    <a:pt x="227" y="300"/>
                  </a:cubicBezTo>
                  <a:close/>
                  <a:moveTo>
                    <a:pt x="440" y="116"/>
                  </a:moveTo>
                  <a:cubicBezTo>
                    <a:pt x="249" y="6"/>
                    <a:pt x="249" y="6"/>
                    <a:pt x="249" y="6"/>
                  </a:cubicBezTo>
                  <a:cubicBezTo>
                    <a:pt x="243" y="2"/>
                    <a:pt x="235" y="0"/>
                    <a:pt x="227" y="0"/>
                  </a:cubicBezTo>
                  <a:cubicBezTo>
                    <a:pt x="220" y="0"/>
                    <a:pt x="212" y="2"/>
                    <a:pt x="205" y="6"/>
                  </a:cubicBezTo>
                  <a:cubicBezTo>
                    <a:pt x="15" y="116"/>
                    <a:pt x="15" y="116"/>
                    <a:pt x="15" y="116"/>
                  </a:cubicBezTo>
                  <a:cubicBezTo>
                    <a:pt x="0" y="124"/>
                    <a:pt x="0" y="145"/>
                    <a:pt x="15" y="153"/>
                  </a:cubicBezTo>
                  <a:cubicBezTo>
                    <a:pt x="217" y="269"/>
                    <a:pt x="217" y="269"/>
                    <a:pt x="217" y="269"/>
                  </a:cubicBezTo>
                  <a:cubicBezTo>
                    <a:pt x="220" y="271"/>
                    <a:pt x="224" y="272"/>
                    <a:pt x="227" y="272"/>
                  </a:cubicBezTo>
                  <a:cubicBezTo>
                    <a:pt x="231" y="272"/>
                    <a:pt x="235" y="271"/>
                    <a:pt x="238" y="269"/>
                  </a:cubicBezTo>
                  <a:cubicBezTo>
                    <a:pt x="440" y="153"/>
                    <a:pt x="440" y="153"/>
                    <a:pt x="440" y="153"/>
                  </a:cubicBezTo>
                  <a:cubicBezTo>
                    <a:pt x="455" y="145"/>
                    <a:pt x="455" y="124"/>
                    <a:pt x="440" y="1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Inter"/>
                <a:ea typeface="+mn-ea"/>
                <a:cs typeface="+mn-cs"/>
              </a:endParaRPr>
            </a:p>
          </p:txBody>
        </p:sp>
      </p:grpSp>
      <p:cxnSp>
        <p:nvCxnSpPr>
          <p:cNvPr id="15" name="Straight Connector 109">
            <a:extLst>
              <a:ext uri="{FF2B5EF4-FFF2-40B4-BE49-F238E27FC236}">
                <a16:creationId xmlns:a16="http://schemas.microsoft.com/office/drawing/2014/main" id="{33CFDE69-D960-447D-9BB2-89AC27B27C18}"/>
              </a:ext>
            </a:extLst>
          </p:cNvPr>
          <p:cNvCxnSpPr>
            <a:cxnSpLocks/>
          </p:cNvCxnSpPr>
          <p:nvPr/>
        </p:nvCxnSpPr>
        <p:spPr>
          <a:xfrm>
            <a:off x="3154680" y="3012358"/>
            <a:ext cx="1310830" cy="0"/>
          </a:xfrm>
          <a:prstGeom prst="line">
            <a:avLst/>
          </a:prstGeom>
          <a:ln w="12700">
            <a:solidFill>
              <a:schemeClr val="accent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2" name="Straight Connector 116">
            <a:extLst>
              <a:ext uri="{FF2B5EF4-FFF2-40B4-BE49-F238E27FC236}">
                <a16:creationId xmlns:a16="http://schemas.microsoft.com/office/drawing/2014/main" id="{367436B2-5287-42C3-BEC4-0CDDE0CC53A5}"/>
              </a:ext>
            </a:extLst>
          </p:cNvPr>
          <p:cNvCxnSpPr>
            <a:cxnSpLocks/>
          </p:cNvCxnSpPr>
          <p:nvPr/>
        </p:nvCxnSpPr>
        <p:spPr>
          <a:xfrm flipH="1">
            <a:off x="7727549" y="5123150"/>
            <a:ext cx="1369779" cy="0"/>
          </a:xfrm>
          <a:prstGeom prst="line">
            <a:avLst/>
          </a:prstGeom>
          <a:ln w="12700">
            <a:solidFill>
              <a:schemeClr val="accent1">
                <a:lumMod val="20000"/>
                <a:lumOff val="80000"/>
              </a:schemeClr>
            </a:solidFill>
            <a:prstDash val="dash"/>
          </a:ln>
        </p:spPr>
        <p:style>
          <a:lnRef idx="1">
            <a:schemeClr val="accent1"/>
          </a:lnRef>
          <a:fillRef idx="0">
            <a:schemeClr val="accent1"/>
          </a:fillRef>
          <a:effectRef idx="0">
            <a:schemeClr val="accent1"/>
          </a:effectRef>
          <a:fontRef idx="minor">
            <a:schemeClr val="tx1"/>
          </a:fontRef>
        </p:style>
      </p:cxnSp>
      <p:sp>
        <p:nvSpPr>
          <p:cNvPr id="31" name="Right Triangle 61">
            <a:extLst>
              <a:ext uri="{FF2B5EF4-FFF2-40B4-BE49-F238E27FC236}">
                <a16:creationId xmlns:a16="http://schemas.microsoft.com/office/drawing/2014/main" id="{5675A66B-F683-4F88-A62D-8BB723EB4353}"/>
              </a:ext>
            </a:extLst>
          </p:cNvPr>
          <p:cNvSpPr/>
          <p:nvPr/>
        </p:nvSpPr>
        <p:spPr>
          <a:xfrm flipV="1">
            <a:off x="1055689" y="803583"/>
            <a:ext cx="72580" cy="72177"/>
          </a:xfrm>
          <a:prstGeom prst="r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HarmonyOS Sans SC"/>
              <a:cs typeface="+mn-cs"/>
            </a:endParaRPr>
          </a:p>
        </p:txBody>
      </p:sp>
      <p:sp>
        <p:nvSpPr>
          <p:cNvPr id="32" name="文本框 31">
            <a:extLst>
              <a:ext uri="{FF2B5EF4-FFF2-40B4-BE49-F238E27FC236}">
                <a16:creationId xmlns:a16="http://schemas.microsoft.com/office/drawing/2014/main" id="{B1FB8879-BB96-4EF6-9D9A-17E5CF6FA734}"/>
              </a:ext>
            </a:extLst>
          </p:cNvPr>
          <p:cNvSpPr txBox="1"/>
          <p:nvPr/>
        </p:nvSpPr>
        <p:spPr>
          <a:xfrm>
            <a:off x="941388" y="918105"/>
            <a:ext cx="3411511"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2800" b="0" i="0" u="none" strike="noStrike" kern="1200" cap="none" spc="0" normalizeH="0" baseline="0" noProof="0" dirty="0">
                <a:ln>
                  <a:noFill/>
                </a:ln>
                <a:solidFill>
                  <a:prstClr val="black"/>
                </a:solidFill>
                <a:effectLst/>
                <a:uLnTx/>
                <a:uFillTx/>
                <a:latin typeface="HarmonyOS Sans Black"/>
                <a:ea typeface="+mj-ea"/>
                <a:cs typeface="+mn-cs"/>
              </a:rPr>
              <a:t>Arrow </a:t>
            </a:r>
            <a:r>
              <a:rPr kumimoji="0" lang="en-US" altLang="zh-CN" sz="2800" b="0" i="0" u="none" strike="noStrike" kern="1200" cap="none" spc="0" normalizeH="0" baseline="0" noProof="0" dirty="0">
                <a:ln>
                  <a:noFill/>
                </a:ln>
                <a:solidFill>
                  <a:schemeClr val="accent1"/>
                </a:solidFill>
                <a:effectLst/>
                <a:uLnTx/>
                <a:uFillTx/>
                <a:latin typeface="HarmonyOS Sans Black"/>
                <a:ea typeface="+mj-ea"/>
                <a:cs typeface="+mn-cs"/>
              </a:rPr>
              <a:t>infographic</a:t>
            </a:r>
          </a:p>
        </p:txBody>
      </p:sp>
      <p:grpSp>
        <p:nvGrpSpPr>
          <p:cNvPr id="36" name="组合 35">
            <a:extLst>
              <a:ext uri="{FF2B5EF4-FFF2-40B4-BE49-F238E27FC236}">
                <a16:creationId xmlns:a16="http://schemas.microsoft.com/office/drawing/2014/main" id="{E5D5D309-810A-4A57-BCEF-0D8DCA8FD0BF}"/>
              </a:ext>
            </a:extLst>
          </p:cNvPr>
          <p:cNvGrpSpPr/>
          <p:nvPr/>
        </p:nvGrpSpPr>
        <p:grpSpPr>
          <a:xfrm>
            <a:off x="1238186" y="2811766"/>
            <a:ext cx="1812046" cy="846145"/>
            <a:chOff x="5154634" y="1949395"/>
            <a:chExt cx="1812046" cy="846145"/>
          </a:xfrm>
        </p:grpSpPr>
        <p:sp>
          <p:nvSpPr>
            <p:cNvPr id="37" name="TextBox 65">
              <a:extLst>
                <a:ext uri="{FF2B5EF4-FFF2-40B4-BE49-F238E27FC236}">
                  <a16:creationId xmlns:a16="http://schemas.microsoft.com/office/drawing/2014/main" id="{F36EB53A-0BE8-4976-BC79-51482991050C}"/>
                </a:ext>
              </a:extLst>
            </p:cNvPr>
            <p:cNvSpPr txBox="1"/>
            <p:nvPr/>
          </p:nvSpPr>
          <p:spPr>
            <a:xfrm>
              <a:off x="5427752" y="1949395"/>
              <a:ext cx="1538928" cy="345598"/>
            </a:xfrm>
            <a:prstGeom prst="rect">
              <a:avLst/>
            </a:prstGeom>
            <a:noFill/>
          </p:spPr>
          <p:txBody>
            <a:bodyPr wrap="square" lIns="0" tIns="36000" rIns="0" bIns="36000" rtlCol="0">
              <a:spAutoFit/>
            </a:bodyPr>
            <a:lstStyle/>
            <a:p>
              <a:pPr marL="0" marR="0" lvl="0" indent="0" algn="r" defTabSz="914400" rtl="0" eaLnBrk="1" fontAlgn="auto" latinLnBrk="0" hangingPunct="1">
                <a:lnSpc>
                  <a:spcPct val="120000"/>
                </a:lnSpc>
                <a:spcBef>
                  <a:spcPts val="600"/>
                </a:spcBef>
                <a:spcAft>
                  <a:spcPts val="0"/>
                </a:spcAft>
                <a:buClrTx/>
                <a:buSzTx/>
                <a:buFontTx/>
                <a:buNone/>
                <a:tabLst/>
                <a:defRPr/>
              </a:pPr>
              <a:r>
                <a:rPr kumimoji="0" lang="en-US" sz="1600" b="0" i="0" u="none" strike="noStrike" kern="1200" cap="none" spc="0" normalizeH="0" baseline="0" noProof="0" dirty="0">
                  <a:ln>
                    <a:noFill/>
                  </a:ln>
                  <a:solidFill>
                    <a:schemeClr val="accent1"/>
                  </a:solidFill>
                  <a:effectLst/>
                  <a:uLnTx/>
                  <a:uFillTx/>
                  <a:latin typeface="HarmonyOS Sans SC Black"/>
                  <a:ea typeface="+mj-ea"/>
                  <a:cs typeface="+mn-cs"/>
                </a:rPr>
                <a:t>Subtitle Here</a:t>
              </a:r>
              <a:endParaRPr kumimoji="0" lang="en-US" sz="1100" b="0" i="0" u="none" strike="noStrike" kern="1200" cap="none" spc="0" normalizeH="0" baseline="0" noProof="0" dirty="0">
                <a:ln>
                  <a:noFill/>
                </a:ln>
                <a:solidFill>
                  <a:schemeClr val="accent1"/>
                </a:solidFill>
                <a:effectLst/>
                <a:uLnTx/>
                <a:uFillTx/>
                <a:latin typeface="HarmonyOS Sans SC Black"/>
                <a:ea typeface="+mj-ea"/>
                <a:cs typeface="+mn-cs"/>
              </a:endParaRPr>
            </a:p>
          </p:txBody>
        </p:sp>
        <p:sp>
          <p:nvSpPr>
            <p:cNvPr id="38" name="TextBox 65">
              <a:extLst>
                <a:ext uri="{FF2B5EF4-FFF2-40B4-BE49-F238E27FC236}">
                  <a16:creationId xmlns:a16="http://schemas.microsoft.com/office/drawing/2014/main" id="{FFCEDDE5-8C0B-488D-ACFD-3AF2EF0EFF53}"/>
                </a:ext>
              </a:extLst>
            </p:cNvPr>
            <p:cNvSpPr txBox="1"/>
            <p:nvPr/>
          </p:nvSpPr>
          <p:spPr>
            <a:xfrm>
              <a:off x="5154634" y="2332794"/>
              <a:ext cx="1812046" cy="462746"/>
            </a:xfrm>
            <a:prstGeom prst="rect">
              <a:avLst/>
            </a:prstGeom>
            <a:noFill/>
          </p:spPr>
          <p:txBody>
            <a:bodyPr wrap="square" lIns="0" tIns="36000" rIns="0" bIns="36000" rtlCol="0">
              <a:spAutoFit/>
            </a:bodyPr>
            <a:lstStyle/>
            <a:p>
              <a:pPr marL="0" marR="0" lvl="0" indent="0" algn="r" defTabSz="914400" rtl="0" eaLnBrk="1" fontAlgn="auto" latinLnBrk="0" hangingPunct="1">
                <a:lnSpc>
                  <a:spcPct val="120000"/>
                </a:lnSpc>
                <a:spcBef>
                  <a:spcPts val="600"/>
                </a:spcBef>
                <a:spcAft>
                  <a:spcPts val="0"/>
                </a:spcAft>
                <a:buClrTx/>
                <a:buSzTx/>
                <a:buFontTx/>
                <a:buNone/>
                <a:tabLst/>
                <a:defRPr/>
              </a:pPr>
              <a:r>
                <a:rPr kumimoji="0" lang="en-US" sz="1100" b="0" i="0" u="none" strike="noStrike" kern="1200" cap="none" spc="0" normalizeH="0" baseline="0" noProof="0" dirty="0">
                  <a:ln>
                    <a:noFill/>
                  </a:ln>
                  <a:solidFill>
                    <a:prstClr val="black">
                      <a:lumMod val="50000"/>
                      <a:lumOff val="50000"/>
                    </a:prstClr>
                  </a:solidFill>
                  <a:effectLst/>
                  <a:uLnTx/>
                  <a:uFillTx/>
                  <a:latin typeface="HarmonyOS Sans SC"/>
                  <a:cs typeface="+mn-cs"/>
                </a:rPr>
                <a:t>As the minuteness of the parts formed a great.</a:t>
              </a:r>
            </a:p>
          </p:txBody>
        </p:sp>
      </p:grpSp>
      <p:grpSp>
        <p:nvGrpSpPr>
          <p:cNvPr id="43" name="组合 42">
            <a:extLst>
              <a:ext uri="{FF2B5EF4-FFF2-40B4-BE49-F238E27FC236}">
                <a16:creationId xmlns:a16="http://schemas.microsoft.com/office/drawing/2014/main" id="{31CEDD0B-8821-4E4D-B5D7-173DEC4F9EC7}"/>
              </a:ext>
            </a:extLst>
          </p:cNvPr>
          <p:cNvGrpSpPr/>
          <p:nvPr/>
        </p:nvGrpSpPr>
        <p:grpSpPr>
          <a:xfrm>
            <a:off x="4465510" y="2913963"/>
            <a:ext cx="209550" cy="209550"/>
            <a:chOff x="5585550" y="2229291"/>
            <a:chExt cx="209550" cy="209550"/>
          </a:xfrm>
        </p:grpSpPr>
        <p:sp>
          <p:nvSpPr>
            <p:cNvPr id="44" name="Oval 69">
              <a:extLst>
                <a:ext uri="{FF2B5EF4-FFF2-40B4-BE49-F238E27FC236}">
                  <a16:creationId xmlns:a16="http://schemas.microsoft.com/office/drawing/2014/main" id="{FAB6DACE-5A2D-4C77-9652-2D6B3572AE76}"/>
                </a:ext>
              </a:extLst>
            </p:cNvPr>
            <p:cNvSpPr/>
            <p:nvPr/>
          </p:nvSpPr>
          <p:spPr>
            <a:xfrm flipH="1">
              <a:off x="5585550" y="2229291"/>
              <a:ext cx="209550" cy="209550"/>
            </a:xfrm>
            <a:prstGeom prst="ellipse">
              <a:avLst/>
            </a:prstGeom>
            <a:solidFill>
              <a:schemeClr val="accent1">
                <a:lumMod val="20000"/>
                <a:lumOff val="80000"/>
                <a:alpha val="5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800" b="0" i="0" u="none" strike="noStrike" kern="1200" cap="none" spc="0" normalizeH="0" baseline="0" noProof="0">
                <a:ln>
                  <a:noFill/>
                </a:ln>
                <a:solidFill>
                  <a:prstClr val="black">
                    <a:lumMod val="50000"/>
                    <a:lumOff val="50000"/>
                  </a:prstClr>
                </a:solidFill>
                <a:effectLst/>
                <a:uLnTx/>
                <a:uFillTx/>
                <a:latin typeface="HarmonyOS Sans SC"/>
                <a:cs typeface="+mn-cs"/>
              </a:endParaRPr>
            </a:p>
          </p:txBody>
        </p:sp>
        <p:sp>
          <p:nvSpPr>
            <p:cNvPr id="45" name="Oval 70">
              <a:extLst>
                <a:ext uri="{FF2B5EF4-FFF2-40B4-BE49-F238E27FC236}">
                  <a16:creationId xmlns:a16="http://schemas.microsoft.com/office/drawing/2014/main" id="{A399F42A-913F-41C7-A7DA-1D70A1F2AAD3}"/>
                </a:ext>
              </a:extLst>
            </p:cNvPr>
            <p:cNvSpPr/>
            <p:nvPr/>
          </p:nvSpPr>
          <p:spPr>
            <a:xfrm flipH="1" flipV="1">
              <a:off x="5654983" y="2298724"/>
              <a:ext cx="70684" cy="70684"/>
            </a:xfrm>
            <a:prstGeom prst="ellipse">
              <a:avLst/>
            </a:prstGeom>
            <a:gradFill>
              <a:gsLst>
                <a:gs pos="73000">
                  <a:schemeClr val="accent1"/>
                </a:gs>
                <a:gs pos="31000">
                  <a:schemeClr val="accent1">
                    <a:lumMod val="60000"/>
                    <a:lumOff val="40000"/>
                  </a:schemeClr>
                </a:gs>
                <a:gs pos="0">
                  <a:schemeClr val="accent1">
                    <a:lumMod val="40000"/>
                    <a:lumOff val="60000"/>
                  </a:schemeClr>
                </a:gs>
              </a:gsLst>
              <a:lin ang="2700000" scaled="1"/>
            </a:gra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800" b="0" i="0" u="none" strike="noStrike" kern="1200" cap="none" spc="0" normalizeH="0" baseline="0" noProof="0">
                <a:ln>
                  <a:noFill/>
                </a:ln>
                <a:solidFill>
                  <a:prstClr val="black">
                    <a:lumMod val="50000"/>
                    <a:lumOff val="50000"/>
                  </a:prstClr>
                </a:solidFill>
                <a:effectLst/>
                <a:uLnTx/>
                <a:uFillTx/>
                <a:latin typeface="HarmonyOS Sans SC"/>
                <a:cs typeface="+mn-cs"/>
              </a:endParaRPr>
            </a:p>
          </p:txBody>
        </p:sp>
      </p:grpSp>
      <p:grpSp>
        <p:nvGrpSpPr>
          <p:cNvPr id="49" name="组合 48">
            <a:extLst>
              <a:ext uri="{FF2B5EF4-FFF2-40B4-BE49-F238E27FC236}">
                <a16:creationId xmlns:a16="http://schemas.microsoft.com/office/drawing/2014/main" id="{35EC8B5F-4D91-428D-8BEF-1FDC36B813F9}"/>
              </a:ext>
            </a:extLst>
          </p:cNvPr>
          <p:cNvGrpSpPr/>
          <p:nvPr/>
        </p:nvGrpSpPr>
        <p:grpSpPr>
          <a:xfrm>
            <a:off x="7513252" y="5018375"/>
            <a:ext cx="209550" cy="209550"/>
            <a:chOff x="5585550" y="2229291"/>
            <a:chExt cx="209550" cy="209550"/>
          </a:xfrm>
        </p:grpSpPr>
        <p:sp>
          <p:nvSpPr>
            <p:cNvPr id="50" name="Oval 69">
              <a:extLst>
                <a:ext uri="{FF2B5EF4-FFF2-40B4-BE49-F238E27FC236}">
                  <a16:creationId xmlns:a16="http://schemas.microsoft.com/office/drawing/2014/main" id="{813796D4-9E32-453E-9FBB-66956E65C90C}"/>
                </a:ext>
              </a:extLst>
            </p:cNvPr>
            <p:cNvSpPr/>
            <p:nvPr/>
          </p:nvSpPr>
          <p:spPr>
            <a:xfrm flipH="1">
              <a:off x="5585550" y="2229291"/>
              <a:ext cx="209550" cy="209550"/>
            </a:xfrm>
            <a:prstGeom prst="ellipse">
              <a:avLst/>
            </a:prstGeom>
            <a:solidFill>
              <a:schemeClr val="accent1">
                <a:lumMod val="20000"/>
                <a:lumOff val="80000"/>
                <a:alpha val="5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800" b="0" i="0" u="none" strike="noStrike" kern="1200" cap="none" spc="0" normalizeH="0" baseline="0" noProof="0">
                <a:ln>
                  <a:noFill/>
                </a:ln>
                <a:solidFill>
                  <a:prstClr val="black">
                    <a:lumMod val="50000"/>
                    <a:lumOff val="50000"/>
                  </a:prstClr>
                </a:solidFill>
                <a:effectLst/>
                <a:uLnTx/>
                <a:uFillTx/>
                <a:latin typeface="HarmonyOS Sans SC"/>
                <a:cs typeface="+mn-cs"/>
              </a:endParaRPr>
            </a:p>
          </p:txBody>
        </p:sp>
        <p:sp>
          <p:nvSpPr>
            <p:cNvPr id="51" name="Oval 70">
              <a:extLst>
                <a:ext uri="{FF2B5EF4-FFF2-40B4-BE49-F238E27FC236}">
                  <a16:creationId xmlns:a16="http://schemas.microsoft.com/office/drawing/2014/main" id="{CCD02560-CA82-4C5E-B79A-2B598B3C3094}"/>
                </a:ext>
              </a:extLst>
            </p:cNvPr>
            <p:cNvSpPr/>
            <p:nvPr/>
          </p:nvSpPr>
          <p:spPr>
            <a:xfrm flipH="1" flipV="1">
              <a:off x="5654983" y="2298724"/>
              <a:ext cx="70684" cy="70684"/>
            </a:xfrm>
            <a:prstGeom prst="ellipse">
              <a:avLst/>
            </a:prstGeom>
            <a:gradFill>
              <a:gsLst>
                <a:gs pos="73000">
                  <a:schemeClr val="accent1"/>
                </a:gs>
                <a:gs pos="31000">
                  <a:schemeClr val="accent1">
                    <a:lumMod val="60000"/>
                    <a:lumOff val="40000"/>
                  </a:schemeClr>
                </a:gs>
                <a:gs pos="0">
                  <a:schemeClr val="accent1">
                    <a:lumMod val="40000"/>
                    <a:lumOff val="60000"/>
                  </a:schemeClr>
                </a:gs>
              </a:gsLst>
              <a:lin ang="2700000" scaled="1"/>
            </a:gra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800" b="0" i="0" u="none" strike="noStrike" kern="1200" cap="none" spc="0" normalizeH="0" baseline="0" noProof="0">
                <a:ln>
                  <a:noFill/>
                </a:ln>
                <a:solidFill>
                  <a:prstClr val="black">
                    <a:lumMod val="50000"/>
                    <a:lumOff val="50000"/>
                  </a:prstClr>
                </a:solidFill>
                <a:effectLst/>
                <a:uLnTx/>
                <a:uFillTx/>
                <a:latin typeface="HarmonyOS Sans SC"/>
                <a:cs typeface="+mn-cs"/>
              </a:endParaRPr>
            </a:p>
          </p:txBody>
        </p:sp>
      </p:grpSp>
      <p:grpSp>
        <p:nvGrpSpPr>
          <p:cNvPr id="52" name="组合 51">
            <a:extLst>
              <a:ext uri="{FF2B5EF4-FFF2-40B4-BE49-F238E27FC236}">
                <a16:creationId xmlns:a16="http://schemas.microsoft.com/office/drawing/2014/main" id="{FE4CB2EB-08D3-4217-9E7D-E4D9124BB8DF}"/>
              </a:ext>
            </a:extLst>
          </p:cNvPr>
          <p:cNvGrpSpPr/>
          <p:nvPr/>
        </p:nvGrpSpPr>
        <p:grpSpPr>
          <a:xfrm>
            <a:off x="9217053" y="4943253"/>
            <a:ext cx="1812046" cy="846145"/>
            <a:chOff x="5154634" y="1949395"/>
            <a:chExt cx="1812046" cy="846145"/>
          </a:xfrm>
        </p:grpSpPr>
        <p:sp>
          <p:nvSpPr>
            <p:cNvPr id="53" name="TextBox 65">
              <a:extLst>
                <a:ext uri="{FF2B5EF4-FFF2-40B4-BE49-F238E27FC236}">
                  <a16:creationId xmlns:a16="http://schemas.microsoft.com/office/drawing/2014/main" id="{5522EDCB-7440-43C9-9613-7F4B5B22FCD9}"/>
                </a:ext>
              </a:extLst>
            </p:cNvPr>
            <p:cNvSpPr txBox="1"/>
            <p:nvPr/>
          </p:nvSpPr>
          <p:spPr>
            <a:xfrm>
              <a:off x="5154634" y="1949395"/>
              <a:ext cx="1538928" cy="345598"/>
            </a:xfrm>
            <a:prstGeom prst="rect">
              <a:avLst/>
            </a:prstGeom>
            <a:noFill/>
          </p:spPr>
          <p:txBody>
            <a:bodyPr wrap="square" lIns="0" tIns="36000" rIns="0" bIns="36000" rtlCol="0">
              <a:spAutoFit/>
            </a:bodyPr>
            <a:lstStyle/>
            <a:p>
              <a:pPr marL="0" marR="0" lvl="0" indent="0" algn="l" defTabSz="914400" rtl="0" eaLnBrk="1" fontAlgn="auto" latinLnBrk="0" hangingPunct="1">
                <a:lnSpc>
                  <a:spcPct val="120000"/>
                </a:lnSpc>
                <a:spcBef>
                  <a:spcPts val="600"/>
                </a:spcBef>
                <a:spcAft>
                  <a:spcPts val="0"/>
                </a:spcAft>
                <a:buClrTx/>
                <a:buSzTx/>
                <a:buFontTx/>
                <a:buNone/>
                <a:tabLst/>
                <a:defRPr/>
              </a:pPr>
              <a:r>
                <a:rPr kumimoji="0" lang="en-US" sz="1600" b="0" i="0" u="none" strike="noStrike" kern="1200" cap="none" spc="0" normalizeH="0" baseline="0" noProof="0" dirty="0">
                  <a:ln>
                    <a:noFill/>
                  </a:ln>
                  <a:solidFill>
                    <a:schemeClr val="accent1"/>
                  </a:solidFill>
                  <a:effectLst/>
                  <a:uLnTx/>
                  <a:uFillTx/>
                  <a:latin typeface="HarmonyOS Sans SC Black"/>
                  <a:ea typeface="+mj-ea"/>
                  <a:cs typeface="+mn-cs"/>
                </a:rPr>
                <a:t>Subtitle Here</a:t>
              </a:r>
              <a:endParaRPr kumimoji="0" lang="en-US" sz="1100" b="0" i="0" u="none" strike="noStrike" kern="1200" cap="none" spc="0" normalizeH="0" baseline="0" noProof="0" dirty="0">
                <a:ln>
                  <a:noFill/>
                </a:ln>
                <a:solidFill>
                  <a:schemeClr val="accent1"/>
                </a:solidFill>
                <a:effectLst/>
                <a:uLnTx/>
                <a:uFillTx/>
                <a:latin typeface="HarmonyOS Sans SC Black"/>
                <a:ea typeface="+mj-ea"/>
                <a:cs typeface="+mn-cs"/>
              </a:endParaRPr>
            </a:p>
          </p:txBody>
        </p:sp>
        <p:sp>
          <p:nvSpPr>
            <p:cNvPr id="54" name="TextBox 65">
              <a:extLst>
                <a:ext uri="{FF2B5EF4-FFF2-40B4-BE49-F238E27FC236}">
                  <a16:creationId xmlns:a16="http://schemas.microsoft.com/office/drawing/2014/main" id="{948B2E22-7AC2-4EEC-AC94-0DE15C06AD79}"/>
                </a:ext>
              </a:extLst>
            </p:cNvPr>
            <p:cNvSpPr txBox="1"/>
            <p:nvPr/>
          </p:nvSpPr>
          <p:spPr>
            <a:xfrm>
              <a:off x="5154634" y="2332794"/>
              <a:ext cx="1812046" cy="462746"/>
            </a:xfrm>
            <a:prstGeom prst="rect">
              <a:avLst/>
            </a:prstGeom>
            <a:noFill/>
          </p:spPr>
          <p:txBody>
            <a:bodyPr wrap="square" lIns="0" tIns="36000" rIns="0" bIns="36000" rtlCol="0">
              <a:spAutoFit/>
            </a:bodyPr>
            <a:lstStyle/>
            <a:p>
              <a:pPr marL="0" marR="0" lvl="0" indent="0" algn="l" defTabSz="914400" rtl="0" eaLnBrk="1" fontAlgn="auto" latinLnBrk="0" hangingPunct="1">
                <a:lnSpc>
                  <a:spcPct val="120000"/>
                </a:lnSpc>
                <a:spcBef>
                  <a:spcPts val="600"/>
                </a:spcBef>
                <a:spcAft>
                  <a:spcPts val="0"/>
                </a:spcAft>
                <a:buClrTx/>
                <a:buSzTx/>
                <a:buFontTx/>
                <a:buNone/>
                <a:tabLst/>
                <a:defRPr/>
              </a:pPr>
              <a:r>
                <a:rPr kumimoji="0" lang="en-US" sz="1100" b="0" i="0" u="none" strike="noStrike" kern="1200" cap="none" spc="0" normalizeH="0" baseline="0" noProof="0" dirty="0">
                  <a:ln>
                    <a:noFill/>
                  </a:ln>
                  <a:solidFill>
                    <a:prstClr val="black">
                      <a:lumMod val="50000"/>
                      <a:lumOff val="50000"/>
                    </a:prstClr>
                  </a:solidFill>
                  <a:effectLst/>
                  <a:uLnTx/>
                  <a:uFillTx/>
                  <a:latin typeface="HarmonyOS Sans SC"/>
                  <a:cs typeface="+mn-cs"/>
                </a:rPr>
                <a:t>As the minuteness of the parts formed a great.</a:t>
              </a:r>
            </a:p>
          </p:txBody>
        </p:sp>
      </p:grpSp>
    </p:spTree>
    <p:extLst>
      <p:ext uri="{BB962C8B-B14F-4D97-AF65-F5344CB8AC3E}">
        <p14:creationId xmlns:p14="http://schemas.microsoft.com/office/powerpoint/2010/main" val="668008182"/>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5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54">
            <a:extLst>
              <a:ext uri="{FF2B5EF4-FFF2-40B4-BE49-F238E27FC236}">
                <a16:creationId xmlns:a16="http://schemas.microsoft.com/office/drawing/2014/main" id="{8B54E686-BD3B-40DA-8A73-45AAA08F8A0A}"/>
              </a:ext>
            </a:extLst>
          </p:cNvPr>
          <p:cNvSpPr txBox="1"/>
          <p:nvPr/>
        </p:nvSpPr>
        <p:spPr>
          <a:xfrm>
            <a:off x="1019175" y="3682181"/>
            <a:ext cx="3043238" cy="2078133"/>
          </a:xfrm>
          <a:prstGeom prst="rect">
            <a:avLst/>
          </a:prstGeom>
          <a:noFill/>
        </p:spPr>
        <p:txBody>
          <a:bodyPr wrap="square" spcCol="0" rtlCol="0">
            <a:spAutoFit/>
          </a:bodyPr>
          <a:lstStyle>
            <a:defPPr>
              <a:defRPr lang="en-US"/>
            </a:defPPr>
            <a:lvl1pPr>
              <a:lnSpc>
                <a:spcPct val="120000"/>
              </a:lnSpc>
              <a:spcBef>
                <a:spcPts val="1200"/>
              </a:spcBef>
              <a:defRPr sz="1000"/>
            </a:lvl1pPr>
          </a:lstStyle>
          <a:p>
            <a:pPr marL="0" marR="0" lvl="0" indent="0" algn="l" defTabSz="914400" rtl="0" eaLnBrk="1" fontAlgn="auto" latinLnBrk="0" hangingPunct="1">
              <a:lnSpc>
                <a:spcPct val="120000"/>
              </a:lnSpc>
              <a:spcBef>
                <a:spcPts val="120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HarmonyOS Sans SC"/>
                <a:cs typeface="+mn-cs"/>
              </a:rPr>
              <a:t>Nunc </a:t>
            </a:r>
            <a:r>
              <a:rPr kumimoji="0" lang="en-US" sz="1000" b="0" i="0" u="none" strike="noStrike" kern="1200" cap="none" spc="0" normalizeH="0" baseline="0" noProof="0" dirty="0" err="1">
                <a:ln>
                  <a:noFill/>
                </a:ln>
                <a:solidFill>
                  <a:prstClr val="black">
                    <a:lumMod val="50000"/>
                    <a:lumOff val="50000"/>
                  </a:prstClr>
                </a:solidFill>
                <a:effectLst/>
                <a:uLnTx/>
                <a:uFillTx/>
                <a:latin typeface="HarmonyOS Sans SC"/>
                <a:cs typeface="+mn-cs"/>
              </a:rPr>
              <a:t>varius</a:t>
            </a:r>
            <a:r>
              <a:rPr kumimoji="0" lang="en-US" sz="1000" b="0" i="0" u="none" strike="noStrike" kern="1200" cap="none" spc="0" normalizeH="0" baseline="0" noProof="0" dirty="0">
                <a:ln>
                  <a:noFill/>
                </a:ln>
                <a:solidFill>
                  <a:prstClr val="black">
                    <a:lumMod val="50000"/>
                    <a:lumOff val="50000"/>
                  </a:prstClr>
                </a:solidFill>
                <a:effectLst/>
                <a:uLnTx/>
                <a:uFillTx/>
                <a:latin typeface="HarmonyOS Sans SC"/>
                <a:cs typeface="+mn-cs"/>
              </a:rPr>
              <a:t> </a:t>
            </a:r>
            <a:r>
              <a:rPr kumimoji="0" lang="en-US" sz="1000" b="0" i="0" u="none" strike="noStrike" kern="1200" cap="none" spc="0" normalizeH="0" baseline="0" noProof="0" dirty="0" err="1">
                <a:ln>
                  <a:noFill/>
                </a:ln>
                <a:solidFill>
                  <a:prstClr val="black">
                    <a:lumMod val="50000"/>
                    <a:lumOff val="50000"/>
                  </a:prstClr>
                </a:solidFill>
                <a:effectLst/>
                <a:uLnTx/>
                <a:uFillTx/>
                <a:latin typeface="HarmonyOS Sans SC"/>
                <a:cs typeface="+mn-cs"/>
              </a:rPr>
              <a:t>justo</a:t>
            </a:r>
            <a:r>
              <a:rPr kumimoji="0" lang="en-US" sz="1000" b="0" i="0" u="none" strike="noStrike" kern="1200" cap="none" spc="0" normalizeH="0" baseline="0" noProof="0" dirty="0">
                <a:ln>
                  <a:noFill/>
                </a:ln>
                <a:solidFill>
                  <a:prstClr val="black">
                    <a:lumMod val="50000"/>
                    <a:lumOff val="50000"/>
                  </a:prstClr>
                </a:solidFill>
                <a:effectLst/>
                <a:uLnTx/>
                <a:uFillTx/>
                <a:latin typeface="HarmonyOS Sans SC"/>
                <a:cs typeface="+mn-cs"/>
              </a:rPr>
              <a:t> </a:t>
            </a:r>
            <a:r>
              <a:rPr kumimoji="0" lang="en-US" sz="1000" b="0" i="0" u="none" strike="noStrike" kern="1200" cap="none" spc="0" normalizeH="0" baseline="0" noProof="0" dirty="0" err="1">
                <a:ln>
                  <a:noFill/>
                </a:ln>
                <a:solidFill>
                  <a:prstClr val="black">
                    <a:lumMod val="50000"/>
                    <a:lumOff val="50000"/>
                  </a:prstClr>
                </a:solidFill>
                <a:effectLst/>
                <a:uLnTx/>
                <a:uFillTx/>
                <a:latin typeface="HarmonyOS Sans SC"/>
                <a:cs typeface="+mn-cs"/>
              </a:rPr>
              <a:t>volutpat</a:t>
            </a:r>
            <a:r>
              <a:rPr kumimoji="0" lang="en-US" sz="1000" b="0" i="0" u="none" strike="noStrike" kern="1200" cap="none" spc="0" normalizeH="0" baseline="0" noProof="0" dirty="0">
                <a:ln>
                  <a:noFill/>
                </a:ln>
                <a:solidFill>
                  <a:prstClr val="black">
                    <a:lumMod val="50000"/>
                    <a:lumOff val="50000"/>
                  </a:prstClr>
                </a:solidFill>
                <a:effectLst/>
                <a:uLnTx/>
                <a:uFillTx/>
                <a:latin typeface="HarmonyOS Sans SC"/>
                <a:cs typeface="+mn-cs"/>
              </a:rPr>
              <a:t> </a:t>
            </a:r>
            <a:r>
              <a:rPr kumimoji="0" lang="en-US" sz="1000" b="0" i="0" u="none" strike="noStrike" kern="1200" cap="none" spc="0" normalizeH="0" baseline="0" noProof="0" dirty="0" err="1">
                <a:ln>
                  <a:noFill/>
                </a:ln>
                <a:solidFill>
                  <a:prstClr val="black">
                    <a:lumMod val="50000"/>
                    <a:lumOff val="50000"/>
                  </a:prstClr>
                </a:solidFill>
                <a:effectLst/>
                <a:uLnTx/>
                <a:uFillTx/>
                <a:latin typeface="HarmonyOS Sans SC"/>
                <a:cs typeface="+mn-cs"/>
              </a:rPr>
              <a:t>tincidunt</a:t>
            </a:r>
            <a:r>
              <a:rPr kumimoji="0" lang="en-US" sz="1000" b="0" i="0" u="none" strike="noStrike" kern="1200" cap="none" spc="0" normalizeH="0" baseline="0" noProof="0" dirty="0">
                <a:ln>
                  <a:noFill/>
                </a:ln>
                <a:solidFill>
                  <a:prstClr val="black">
                    <a:lumMod val="50000"/>
                    <a:lumOff val="50000"/>
                  </a:prstClr>
                </a:solidFill>
                <a:effectLst/>
                <a:uLnTx/>
                <a:uFillTx/>
                <a:latin typeface="HarmonyOS Sans SC"/>
                <a:cs typeface="+mn-cs"/>
              </a:rPr>
              <a:t> </a:t>
            </a:r>
            <a:r>
              <a:rPr kumimoji="0" lang="en-US" sz="1000" b="0" i="0" u="none" strike="noStrike" kern="1200" cap="none" spc="0" normalizeH="0" baseline="0" noProof="0" dirty="0" err="1">
                <a:ln>
                  <a:noFill/>
                </a:ln>
                <a:solidFill>
                  <a:prstClr val="black">
                    <a:lumMod val="50000"/>
                    <a:lumOff val="50000"/>
                  </a:prstClr>
                </a:solidFill>
                <a:effectLst/>
                <a:uLnTx/>
                <a:uFillTx/>
                <a:latin typeface="HarmonyOS Sans SC"/>
                <a:cs typeface="+mn-cs"/>
              </a:rPr>
              <a:t>mattis</a:t>
            </a:r>
            <a:r>
              <a:rPr kumimoji="0" lang="en-US" sz="1000" b="0" i="0" u="none" strike="noStrike" kern="1200" cap="none" spc="0" normalizeH="0" baseline="0" noProof="0" dirty="0">
                <a:ln>
                  <a:noFill/>
                </a:ln>
                <a:solidFill>
                  <a:prstClr val="black">
                    <a:lumMod val="50000"/>
                    <a:lumOff val="50000"/>
                  </a:prstClr>
                </a:solidFill>
                <a:effectLst/>
                <a:uLnTx/>
                <a:uFillTx/>
                <a:latin typeface="HarmonyOS Sans SC"/>
                <a:cs typeface="+mn-cs"/>
              </a:rPr>
              <a:t>. </a:t>
            </a:r>
            <a:r>
              <a:rPr kumimoji="0" lang="en-US" sz="1000" b="0" i="0" u="none" strike="noStrike" kern="1200" cap="none" spc="0" normalizeH="0" baseline="0" noProof="0" dirty="0" err="1">
                <a:ln>
                  <a:noFill/>
                </a:ln>
                <a:solidFill>
                  <a:prstClr val="black">
                    <a:lumMod val="50000"/>
                    <a:lumOff val="50000"/>
                  </a:prstClr>
                </a:solidFill>
                <a:effectLst/>
                <a:uLnTx/>
                <a:uFillTx/>
                <a:latin typeface="HarmonyOS Sans SC"/>
                <a:cs typeface="+mn-cs"/>
              </a:rPr>
              <a:t>Fusce</a:t>
            </a:r>
            <a:r>
              <a:rPr kumimoji="0" lang="en-US" sz="1000" b="0" i="0" u="none" strike="noStrike" kern="1200" cap="none" spc="0" normalizeH="0" baseline="0" noProof="0" dirty="0">
                <a:ln>
                  <a:noFill/>
                </a:ln>
                <a:solidFill>
                  <a:prstClr val="black">
                    <a:lumMod val="50000"/>
                    <a:lumOff val="50000"/>
                  </a:prstClr>
                </a:solidFill>
                <a:effectLst/>
                <a:uLnTx/>
                <a:uFillTx/>
                <a:latin typeface="HarmonyOS Sans SC"/>
                <a:cs typeface="+mn-cs"/>
              </a:rPr>
              <a:t> </a:t>
            </a:r>
            <a:r>
              <a:rPr kumimoji="0" lang="en-US" sz="1000" b="0" i="0" u="none" strike="noStrike" kern="1200" cap="none" spc="0" normalizeH="0" baseline="0" noProof="0" dirty="0" err="1">
                <a:ln>
                  <a:noFill/>
                </a:ln>
                <a:solidFill>
                  <a:prstClr val="black">
                    <a:lumMod val="50000"/>
                    <a:lumOff val="50000"/>
                  </a:prstClr>
                </a:solidFill>
                <a:effectLst/>
                <a:uLnTx/>
                <a:uFillTx/>
                <a:latin typeface="HarmonyOS Sans SC"/>
                <a:cs typeface="+mn-cs"/>
              </a:rPr>
              <a:t>odio</a:t>
            </a:r>
            <a:r>
              <a:rPr kumimoji="0" lang="en-US" sz="1000" b="0" i="0" u="none" strike="noStrike" kern="1200" cap="none" spc="0" normalizeH="0" baseline="0" noProof="0" dirty="0">
                <a:ln>
                  <a:noFill/>
                </a:ln>
                <a:solidFill>
                  <a:prstClr val="black">
                    <a:lumMod val="50000"/>
                    <a:lumOff val="50000"/>
                  </a:prstClr>
                </a:solidFill>
                <a:effectLst/>
                <a:uLnTx/>
                <a:uFillTx/>
                <a:latin typeface="HarmonyOS Sans SC"/>
                <a:cs typeface="+mn-cs"/>
              </a:rPr>
              <a:t> </a:t>
            </a:r>
            <a:r>
              <a:rPr kumimoji="0" lang="en-US" sz="1000" b="0" i="0" u="none" strike="noStrike" kern="1200" cap="none" spc="0" normalizeH="0" baseline="0" noProof="0" dirty="0" err="1">
                <a:ln>
                  <a:noFill/>
                </a:ln>
                <a:solidFill>
                  <a:prstClr val="black">
                    <a:lumMod val="50000"/>
                    <a:lumOff val="50000"/>
                  </a:prstClr>
                </a:solidFill>
                <a:effectLst/>
                <a:uLnTx/>
                <a:uFillTx/>
                <a:latin typeface="HarmonyOS Sans SC"/>
                <a:cs typeface="+mn-cs"/>
              </a:rPr>
              <a:t>tellus</a:t>
            </a:r>
            <a:r>
              <a:rPr kumimoji="0" lang="en-US" sz="1000" b="0" i="0" u="none" strike="noStrike" kern="1200" cap="none" spc="0" normalizeH="0" baseline="0" noProof="0" dirty="0">
                <a:ln>
                  <a:noFill/>
                </a:ln>
                <a:solidFill>
                  <a:prstClr val="black">
                    <a:lumMod val="50000"/>
                    <a:lumOff val="50000"/>
                  </a:prstClr>
                </a:solidFill>
                <a:effectLst/>
                <a:uLnTx/>
                <a:uFillTx/>
                <a:latin typeface="HarmonyOS Sans SC"/>
                <a:cs typeface="+mn-cs"/>
              </a:rPr>
              <a:t>, </a:t>
            </a:r>
            <a:r>
              <a:rPr kumimoji="0" lang="en-US" sz="1000" b="0" i="0" u="none" strike="noStrike" kern="1200" cap="none" spc="0" normalizeH="0" baseline="0" noProof="0" dirty="0" err="1">
                <a:ln>
                  <a:noFill/>
                </a:ln>
                <a:solidFill>
                  <a:prstClr val="black">
                    <a:lumMod val="50000"/>
                    <a:lumOff val="50000"/>
                  </a:prstClr>
                </a:solidFill>
                <a:effectLst/>
                <a:uLnTx/>
                <a:uFillTx/>
                <a:latin typeface="HarmonyOS Sans SC"/>
                <a:cs typeface="+mn-cs"/>
              </a:rPr>
              <a:t>aliquam</a:t>
            </a:r>
            <a:r>
              <a:rPr kumimoji="0" lang="en-US" sz="1000" b="0" i="0" u="none" strike="noStrike" kern="1200" cap="none" spc="0" normalizeH="0" baseline="0" noProof="0" dirty="0">
                <a:ln>
                  <a:noFill/>
                </a:ln>
                <a:solidFill>
                  <a:prstClr val="black">
                    <a:lumMod val="50000"/>
                    <a:lumOff val="50000"/>
                  </a:prstClr>
                </a:solidFill>
                <a:effectLst/>
                <a:uLnTx/>
                <a:uFillTx/>
                <a:latin typeface="HarmonyOS Sans SC"/>
                <a:cs typeface="+mn-cs"/>
              </a:rPr>
              <a:t> </a:t>
            </a:r>
            <a:r>
              <a:rPr kumimoji="0" lang="en-US" sz="1000" b="0" i="0" u="none" strike="noStrike" kern="1200" cap="none" spc="0" normalizeH="0" baseline="0" noProof="0" dirty="0" err="1">
                <a:ln>
                  <a:noFill/>
                </a:ln>
                <a:solidFill>
                  <a:prstClr val="black">
                    <a:lumMod val="50000"/>
                    <a:lumOff val="50000"/>
                  </a:prstClr>
                </a:solidFill>
                <a:effectLst/>
                <a:uLnTx/>
                <a:uFillTx/>
                <a:latin typeface="HarmonyOS Sans SC"/>
                <a:cs typeface="+mn-cs"/>
              </a:rPr>
              <a:t>eulacus</a:t>
            </a:r>
            <a:r>
              <a:rPr kumimoji="0" lang="en-US" sz="1000" b="0" i="0" u="none" strike="noStrike" kern="1200" cap="none" spc="0" normalizeH="0" baseline="0" noProof="0" dirty="0">
                <a:ln>
                  <a:noFill/>
                </a:ln>
                <a:solidFill>
                  <a:prstClr val="black">
                    <a:lumMod val="50000"/>
                    <a:lumOff val="50000"/>
                  </a:prstClr>
                </a:solidFill>
                <a:effectLst/>
                <a:uLnTx/>
                <a:uFillTx/>
                <a:latin typeface="HarmonyOS Sans SC"/>
                <a:cs typeface="+mn-cs"/>
              </a:rPr>
              <a:t> </a:t>
            </a:r>
            <a:r>
              <a:rPr kumimoji="0" lang="en-US" sz="1000" b="0" i="0" u="none" strike="noStrike" kern="1200" cap="none" spc="0" normalizeH="0" baseline="0" noProof="0" dirty="0" err="1">
                <a:ln>
                  <a:noFill/>
                </a:ln>
                <a:solidFill>
                  <a:prstClr val="black">
                    <a:lumMod val="50000"/>
                    <a:lumOff val="50000"/>
                  </a:prstClr>
                </a:solidFill>
                <a:effectLst/>
                <a:uLnTx/>
                <a:uFillTx/>
                <a:latin typeface="HarmonyOS Sans SC"/>
                <a:cs typeface="+mn-cs"/>
              </a:rPr>
              <a:t>elementum</a:t>
            </a:r>
            <a:r>
              <a:rPr kumimoji="0" lang="en-US" sz="1000" b="0" i="0" u="none" strike="noStrike" kern="1200" cap="none" spc="0" normalizeH="0" baseline="0" noProof="0" dirty="0">
                <a:ln>
                  <a:noFill/>
                </a:ln>
                <a:solidFill>
                  <a:prstClr val="black">
                    <a:lumMod val="50000"/>
                    <a:lumOff val="50000"/>
                  </a:prstClr>
                </a:solidFill>
                <a:effectLst/>
                <a:uLnTx/>
                <a:uFillTx/>
                <a:latin typeface="HarmonyOS Sans SC"/>
                <a:cs typeface="+mn-cs"/>
              </a:rPr>
              <a:t>, </a:t>
            </a:r>
            <a:r>
              <a:rPr kumimoji="0" lang="en-US" sz="1000" b="0" i="0" u="none" strike="noStrike" kern="1200" cap="none" spc="0" normalizeH="0" baseline="0" noProof="0" dirty="0" err="1">
                <a:ln>
                  <a:noFill/>
                </a:ln>
                <a:solidFill>
                  <a:prstClr val="black">
                    <a:lumMod val="50000"/>
                    <a:lumOff val="50000"/>
                  </a:prstClr>
                </a:solidFill>
                <a:effectLst/>
                <a:uLnTx/>
                <a:uFillTx/>
                <a:latin typeface="HarmonyOS Sans SC"/>
                <a:cs typeface="+mn-cs"/>
              </a:rPr>
              <a:t>finibus</a:t>
            </a:r>
            <a:r>
              <a:rPr kumimoji="0" lang="en-US" sz="1000" b="0" i="0" u="none" strike="noStrike" kern="1200" cap="none" spc="0" normalizeH="0" baseline="0" noProof="0" dirty="0">
                <a:ln>
                  <a:noFill/>
                </a:ln>
                <a:solidFill>
                  <a:prstClr val="black">
                    <a:lumMod val="50000"/>
                    <a:lumOff val="50000"/>
                  </a:prstClr>
                </a:solidFill>
                <a:effectLst/>
                <a:uLnTx/>
                <a:uFillTx/>
                <a:latin typeface="HarmonyOS Sans SC"/>
                <a:cs typeface="+mn-cs"/>
              </a:rPr>
              <a:t> </a:t>
            </a:r>
            <a:r>
              <a:rPr kumimoji="0" lang="en-US" sz="1000" b="0" i="0" u="none" strike="noStrike" kern="1200" cap="none" spc="0" normalizeH="0" baseline="0" noProof="0" dirty="0" err="1">
                <a:ln>
                  <a:noFill/>
                </a:ln>
                <a:solidFill>
                  <a:prstClr val="black">
                    <a:lumMod val="50000"/>
                    <a:lumOff val="50000"/>
                  </a:prstClr>
                </a:solidFill>
                <a:effectLst/>
                <a:uLnTx/>
                <a:uFillTx/>
                <a:latin typeface="HarmonyOS Sans SC"/>
                <a:cs typeface="+mn-cs"/>
              </a:rPr>
              <a:t>sollicitudin</a:t>
            </a:r>
            <a:r>
              <a:rPr kumimoji="0" lang="en-US" sz="1000" b="0" i="0" u="none" strike="noStrike" kern="1200" cap="none" spc="0" normalizeH="0" baseline="0" noProof="0" dirty="0">
                <a:ln>
                  <a:noFill/>
                </a:ln>
                <a:solidFill>
                  <a:prstClr val="black">
                    <a:lumMod val="50000"/>
                    <a:lumOff val="50000"/>
                  </a:prstClr>
                </a:solidFill>
                <a:effectLst/>
                <a:uLnTx/>
                <a:uFillTx/>
                <a:latin typeface="HarmonyOS Sans SC"/>
                <a:cs typeface="+mn-cs"/>
              </a:rPr>
              <a:t> </a:t>
            </a:r>
            <a:r>
              <a:rPr kumimoji="0" lang="en-US" sz="1000" b="0" i="0" u="none" strike="noStrike" kern="1200" cap="none" spc="0" normalizeH="0" baseline="0" noProof="0" dirty="0" err="1">
                <a:ln>
                  <a:noFill/>
                </a:ln>
                <a:solidFill>
                  <a:prstClr val="black">
                    <a:lumMod val="50000"/>
                    <a:lumOff val="50000"/>
                  </a:prstClr>
                </a:solidFill>
                <a:effectLst/>
                <a:uLnTx/>
                <a:uFillTx/>
                <a:latin typeface="HarmonyOS Sans SC"/>
                <a:cs typeface="+mn-cs"/>
              </a:rPr>
              <a:t>elit</a:t>
            </a:r>
            <a:r>
              <a:rPr kumimoji="0" lang="en-US" sz="1000" b="0" i="0" u="none" strike="noStrike" kern="1200" cap="none" spc="0" normalizeH="0" baseline="0" noProof="0" dirty="0">
                <a:ln>
                  <a:noFill/>
                </a:ln>
                <a:solidFill>
                  <a:prstClr val="black">
                    <a:lumMod val="50000"/>
                    <a:lumOff val="50000"/>
                  </a:prstClr>
                </a:solidFill>
                <a:effectLst/>
                <a:uLnTx/>
                <a:uFillTx/>
                <a:latin typeface="HarmonyOS Sans SC"/>
                <a:cs typeface="+mn-cs"/>
              </a:rPr>
              <a:t>. </a:t>
            </a:r>
            <a:r>
              <a:rPr kumimoji="0" lang="en-US" sz="1000" b="0" i="0" u="none" strike="noStrike" kern="1200" cap="none" spc="0" normalizeH="0" baseline="0" noProof="0" dirty="0" err="1">
                <a:ln>
                  <a:noFill/>
                </a:ln>
                <a:solidFill>
                  <a:prstClr val="black">
                    <a:lumMod val="50000"/>
                    <a:lumOff val="50000"/>
                  </a:prstClr>
                </a:solidFill>
                <a:effectLst/>
                <a:uLnTx/>
                <a:uFillTx/>
                <a:latin typeface="HarmonyOS Sans SC"/>
                <a:cs typeface="+mn-cs"/>
              </a:rPr>
              <a:t>Nullam</a:t>
            </a:r>
            <a:r>
              <a:rPr kumimoji="0" lang="en-US" sz="1000" b="0" i="0" u="none" strike="noStrike" kern="1200" cap="none" spc="0" normalizeH="0" baseline="0" noProof="0" dirty="0">
                <a:ln>
                  <a:noFill/>
                </a:ln>
                <a:solidFill>
                  <a:prstClr val="black">
                    <a:lumMod val="50000"/>
                    <a:lumOff val="50000"/>
                  </a:prstClr>
                </a:solidFill>
                <a:effectLst/>
                <a:uLnTx/>
                <a:uFillTx/>
                <a:latin typeface="HarmonyOS Sans SC"/>
                <a:cs typeface="+mn-cs"/>
              </a:rPr>
              <a:t> </a:t>
            </a:r>
            <a:r>
              <a:rPr kumimoji="0" lang="en-US" sz="1000" b="0" i="0" u="none" strike="noStrike" kern="1200" cap="none" spc="0" normalizeH="0" baseline="0" noProof="0" dirty="0" err="1">
                <a:ln>
                  <a:noFill/>
                </a:ln>
                <a:solidFill>
                  <a:prstClr val="black">
                    <a:lumMod val="50000"/>
                    <a:lumOff val="50000"/>
                  </a:prstClr>
                </a:solidFill>
                <a:effectLst/>
                <a:uLnTx/>
                <a:uFillTx/>
                <a:latin typeface="HarmonyOS Sans SC"/>
                <a:cs typeface="+mn-cs"/>
              </a:rPr>
              <a:t>nec</a:t>
            </a:r>
            <a:r>
              <a:rPr kumimoji="0" lang="en-US" sz="1000" b="0" i="0" u="none" strike="noStrike" kern="1200" cap="none" spc="0" normalizeH="0" baseline="0" noProof="0" dirty="0">
                <a:ln>
                  <a:noFill/>
                </a:ln>
                <a:solidFill>
                  <a:prstClr val="black">
                    <a:lumMod val="50000"/>
                    <a:lumOff val="50000"/>
                  </a:prstClr>
                </a:solidFill>
                <a:effectLst/>
                <a:uLnTx/>
                <a:uFillTx/>
                <a:latin typeface="HarmonyOS Sans SC"/>
                <a:cs typeface="+mn-cs"/>
              </a:rPr>
              <a:t> ex </a:t>
            </a:r>
            <a:r>
              <a:rPr kumimoji="0" lang="en-US" sz="1000" b="0" i="0" u="none" strike="noStrike" kern="1200" cap="none" spc="0" normalizeH="0" baseline="0" noProof="0" dirty="0" err="1">
                <a:ln>
                  <a:noFill/>
                </a:ln>
                <a:solidFill>
                  <a:prstClr val="black">
                    <a:lumMod val="50000"/>
                    <a:lumOff val="50000"/>
                  </a:prstClr>
                </a:solidFill>
                <a:effectLst/>
                <a:uLnTx/>
                <a:uFillTx/>
                <a:latin typeface="HarmonyOS Sans SC"/>
                <a:cs typeface="+mn-cs"/>
              </a:rPr>
              <a:t>eu</a:t>
            </a:r>
            <a:r>
              <a:rPr kumimoji="0" lang="en-US" sz="1000" b="0" i="0" u="none" strike="noStrike" kern="1200" cap="none" spc="0" normalizeH="0" baseline="0" noProof="0" dirty="0">
                <a:ln>
                  <a:noFill/>
                </a:ln>
                <a:solidFill>
                  <a:prstClr val="black">
                    <a:lumMod val="50000"/>
                    <a:lumOff val="50000"/>
                  </a:prstClr>
                </a:solidFill>
                <a:effectLst/>
                <a:uLnTx/>
                <a:uFillTx/>
                <a:latin typeface="HarmonyOS Sans SC"/>
                <a:cs typeface="+mn-cs"/>
              </a:rPr>
              <a:t> </a:t>
            </a:r>
            <a:r>
              <a:rPr kumimoji="0" lang="en-US" sz="1000" b="0" i="0" u="none" strike="noStrike" kern="1200" cap="none" spc="0" normalizeH="0" baseline="0" noProof="0" dirty="0" err="1">
                <a:ln>
                  <a:noFill/>
                </a:ln>
                <a:solidFill>
                  <a:prstClr val="black">
                    <a:lumMod val="50000"/>
                    <a:lumOff val="50000"/>
                  </a:prstClr>
                </a:solidFill>
                <a:effectLst/>
                <a:uLnTx/>
                <a:uFillTx/>
                <a:latin typeface="HarmonyOS Sans SC"/>
                <a:cs typeface="+mn-cs"/>
              </a:rPr>
              <a:t>nulla</a:t>
            </a:r>
            <a:r>
              <a:rPr kumimoji="0" lang="en-US" sz="1000" b="0" i="0" u="none" strike="noStrike" kern="1200" cap="none" spc="0" normalizeH="0" baseline="0" noProof="0" dirty="0">
                <a:ln>
                  <a:noFill/>
                </a:ln>
                <a:solidFill>
                  <a:prstClr val="black">
                    <a:lumMod val="50000"/>
                    <a:lumOff val="50000"/>
                  </a:prstClr>
                </a:solidFill>
                <a:effectLst/>
                <a:uLnTx/>
                <a:uFillTx/>
                <a:latin typeface="HarmonyOS Sans SC"/>
                <a:cs typeface="+mn-cs"/>
              </a:rPr>
              <a:t> </a:t>
            </a:r>
            <a:r>
              <a:rPr kumimoji="0" lang="en-US" sz="1000" b="0" i="0" u="none" strike="noStrike" kern="1200" cap="none" spc="0" normalizeH="0" baseline="0" noProof="0" dirty="0" err="1">
                <a:ln>
                  <a:noFill/>
                </a:ln>
                <a:solidFill>
                  <a:prstClr val="black">
                    <a:lumMod val="50000"/>
                    <a:lumOff val="50000"/>
                  </a:prstClr>
                </a:solidFill>
                <a:effectLst/>
                <a:uLnTx/>
                <a:uFillTx/>
                <a:latin typeface="HarmonyOS Sans SC"/>
                <a:cs typeface="+mn-cs"/>
              </a:rPr>
              <a:t>accumsan</a:t>
            </a:r>
            <a:r>
              <a:rPr kumimoji="0" lang="en-US" sz="1000" b="0" i="0" u="none" strike="noStrike" kern="1200" cap="none" spc="0" normalizeH="0" baseline="0" noProof="0" dirty="0">
                <a:ln>
                  <a:noFill/>
                </a:ln>
                <a:solidFill>
                  <a:prstClr val="black">
                    <a:lumMod val="50000"/>
                    <a:lumOff val="50000"/>
                  </a:prstClr>
                </a:solidFill>
                <a:effectLst/>
                <a:uLnTx/>
                <a:uFillTx/>
                <a:latin typeface="HarmonyOS Sans SC"/>
                <a:cs typeface="+mn-cs"/>
              </a:rPr>
              <a:t> pulvinar maximus ac </a:t>
            </a:r>
            <a:r>
              <a:rPr kumimoji="0" lang="en-US" sz="1000" b="0" i="0" u="none" strike="noStrike" kern="1200" cap="none" spc="0" normalizeH="0" baseline="0" noProof="0" dirty="0" err="1">
                <a:ln>
                  <a:noFill/>
                </a:ln>
                <a:solidFill>
                  <a:prstClr val="black">
                    <a:lumMod val="50000"/>
                    <a:lumOff val="50000"/>
                  </a:prstClr>
                </a:solidFill>
                <a:effectLst/>
                <a:uLnTx/>
                <a:uFillTx/>
                <a:latin typeface="HarmonyOS Sans SC"/>
                <a:cs typeface="+mn-cs"/>
              </a:rPr>
              <a:t>velit</a:t>
            </a:r>
            <a:r>
              <a:rPr kumimoji="0" lang="en-US" sz="1000" b="0" i="0" u="none" strike="noStrike" kern="1200" cap="none" spc="0" normalizeH="0" baseline="0" noProof="0" dirty="0">
                <a:ln>
                  <a:noFill/>
                </a:ln>
                <a:solidFill>
                  <a:prstClr val="black">
                    <a:lumMod val="50000"/>
                    <a:lumOff val="50000"/>
                  </a:prstClr>
                </a:solidFill>
                <a:effectLst/>
                <a:uLnTx/>
                <a:uFillTx/>
                <a:latin typeface="HarmonyOS Sans SC"/>
                <a:cs typeface="+mn-cs"/>
              </a:rPr>
              <a:t>. Sed </a:t>
            </a:r>
            <a:r>
              <a:rPr kumimoji="0" lang="en-US" sz="1000" b="0" i="0" u="none" strike="noStrike" kern="1200" cap="none" spc="0" normalizeH="0" baseline="0" noProof="0" dirty="0" err="1">
                <a:ln>
                  <a:noFill/>
                </a:ln>
                <a:solidFill>
                  <a:prstClr val="black">
                    <a:lumMod val="50000"/>
                    <a:lumOff val="50000"/>
                  </a:prstClr>
                </a:solidFill>
                <a:effectLst/>
                <a:uLnTx/>
                <a:uFillTx/>
                <a:latin typeface="HarmonyOS Sans SC"/>
                <a:cs typeface="+mn-cs"/>
              </a:rPr>
              <a:t>ornare</a:t>
            </a:r>
            <a:r>
              <a:rPr kumimoji="0" lang="en-US" sz="1000" b="0" i="0" u="none" strike="noStrike" kern="1200" cap="none" spc="0" normalizeH="0" baseline="0" noProof="0" dirty="0">
                <a:ln>
                  <a:noFill/>
                </a:ln>
                <a:solidFill>
                  <a:prstClr val="black">
                    <a:lumMod val="50000"/>
                    <a:lumOff val="50000"/>
                  </a:prstClr>
                </a:solidFill>
                <a:effectLst/>
                <a:uLnTx/>
                <a:uFillTx/>
                <a:latin typeface="HarmonyOS Sans SC"/>
                <a:cs typeface="+mn-cs"/>
              </a:rPr>
              <a:t> magna a </a:t>
            </a:r>
            <a:r>
              <a:rPr kumimoji="0" lang="en-US" sz="1000" b="0" i="0" u="none" strike="noStrike" kern="1200" cap="none" spc="0" normalizeH="0" baseline="0" noProof="0" dirty="0" err="1">
                <a:ln>
                  <a:noFill/>
                </a:ln>
                <a:solidFill>
                  <a:prstClr val="black">
                    <a:lumMod val="50000"/>
                    <a:lumOff val="50000"/>
                  </a:prstClr>
                </a:solidFill>
                <a:effectLst/>
                <a:uLnTx/>
                <a:uFillTx/>
                <a:latin typeface="HarmonyOS Sans SC"/>
                <a:cs typeface="+mn-cs"/>
              </a:rPr>
              <a:t>egestas</a:t>
            </a:r>
            <a:r>
              <a:rPr kumimoji="0" lang="en-US" sz="1000" b="0" i="0" u="none" strike="noStrike" kern="1200" cap="none" spc="0" normalizeH="0" baseline="0" noProof="0" dirty="0">
                <a:ln>
                  <a:noFill/>
                </a:ln>
                <a:solidFill>
                  <a:prstClr val="black">
                    <a:lumMod val="50000"/>
                    <a:lumOff val="50000"/>
                  </a:prstClr>
                </a:solidFill>
                <a:effectLst/>
                <a:uLnTx/>
                <a:uFillTx/>
                <a:latin typeface="HarmonyOS Sans SC"/>
                <a:cs typeface="+mn-cs"/>
              </a:rPr>
              <a:t> </a:t>
            </a:r>
            <a:r>
              <a:rPr kumimoji="0" lang="en-US" sz="1000" b="0" i="0" u="none" strike="noStrike" kern="1200" cap="none" spc="0" normalizeH="0" baseline="0" noProof="0" dirty="0" err="1">
                <a:ln>
                  <a:noFill/>
                </a:ln>
                <a:solidFill>
                  <a:prstClr val="black">
                    <a:lumMod val="50000"/>
                    <a:lumOff val="50000"/>
                  </a:prstClr>
                </a:solidFill>
                <a:effectLst/>
                <a:uLnTx/>
                <a:uFillTx/>
                <a:latin typeface="HarmonyOS Sans SC"/>
                <a:cs typeface="+mn-cs"/>
              </a:rPr>
              <a:t>faucibus</a:t>
            </a:r>
            <a:r>
              <a:rPr kumimoji="0" lang="en-US" sz="1000" b="0" i="0" u="none" strike="noStrike" kern="1200" cap="none" spc="0" normalizeH="0" baseline="0" noProof="0" dirty="0">
                <a:ln>
                  <a:noFill/>
                </a:ln>
                <a:solidFill>
                  <a:prstClr val="black">
                    <a:lumMod val="50000"/>
                    <a:lumOff val="50000"/>
                  </a:prstClr>
                </a:solidFill>
                <a:effectLst/>
                <a:uLnTx/>
                <a:uFillTx/>
                <a:latin typeface="HarmonyOS Sans SC"/>
                <a:cs typeface="+mn-cs"/>
              </a:rPr>
              <a:t>. Proin </a:t>
            </a:r>
            <a:r>
              <a:rPr kumimoji="0" lang="en-US" sz="1000" b="0" i="0" u="none" strike="noStrike" kern="1200" cap="none" spc="0" normalizeH="0" baseline="0" noProof="0" dirty="0" err="1">
                <a:ln>
                  <a:noFill/>
                </a:ln>
                <a:solidFill>
                  <a:prstClr val="black">
                    <a:lumMod val="50000"/>
                    <a:lumOff val="50000"/>
                  </a:prstClr>
                </a:solidFill>
                <a:effectLst/>
                <a:uLnTx/>
                <a:uFillTx/>
                <a:latin typeface="HarmonyOS Sans SC"/>
                <a:cs typeface="+mn-cs"/>
              </a:rPr>
              <a:t>elementum</a:t>
            </a:r>
            <a:r>
              <a:rPr kumimoji="0" lang="en-US" sz="1000" b="0" i="0" u="none" strike="noStrike" kern="1200" cap="none" spc="0" normalizeH="0" baseline="0" noProof="0" dirty="0">
                <a:ln>
                  <a:noFill/>
                </a:ln>
                <a:solidFill>
                  <a:prstClr val="black">
                    <a:lumMod val="50000"/>
                    <a:lumOff val="50000"/>
                  </a:prstClr>
                </a:solidFill>
                <a:effectLst/>
                <a:uLnTx/>
                <a:uFillTx/>
                <a:latin typeface="HarmonyOS Sans SC"/>
                <a:cs typeface="+mn-cs"/>
              </a:rPr>
              <a:t> </a:t>
            </a:r>
            <a:r>
              <a:rPr kumimoji="0" lang="en-US" sz="1000" b="0" i="0" u="none" strike="noStrike" kern="1200" cap="none" spc="0" normalizeH="0" baseline="0" noProof="0" dirty="0" err="1">
                <a:ln>
                  <a:noFill/>
                </a:ln>
                <a:solidFill>
                  <a:prstClr val="black">
                    <a:lumMod val="50000"/>
                    <a:lumOff val="50000"/>
                  </a:prstClr>
                </a:solidFill>
                <a:effectLst/>
                <a:uLnTx/>
                <a:uFillTx/>
                <a:latin typeface="HarmonyOS Sans SC"/>
                <a:cs typeface="+mn-cs"/>
              </a:rPr>
              <a:t>eleifend</a:t>
            </a:r>
            <a:r>
              <a:rPr kumimoji="0" lang="en-US" sz="1000" b="0" i="0" u="none" strike="noStrike" kern="1200" cap="none" spc="0" normalizeH="0" baseline="0" noProof="0" dirty="0">
                <a:ln>
                  <a:noFill/>
                </a:ln>
                <a:solidFill>
                  <a:prstClr val="black">
                    <a:lumMod val="50000"/>
                    <a:lumOff val="50000"/>
                  </a:prstClr>
                </a:solidFill>
                <a:effectLst/>
                <a:uLnTx/>
                <a:uFillTx/>
                <a:latin typeface="HarmonyOS Sans SC"/>
                <a:cs typeface="+mn-cs"/>
              </a:rPr>
              <a:t> </a:t>
            </a:r>
            <a:r>
              <a:rPr kumimoji="0" lang="en-US" sz="1000" b="0" i="0" u="none" strike="noStrike" kern="1200" cap="none" spc="0" normalizeH="0" baseline="0" noProof="0" dirty="0" err="1">
                <a:ln>
                  <a:noFill/>
                </a:ln>
                <a:solidFill>
                  <a:prstClr val="black">
                    <a:lumMod val="50000"/>
                    <a:lumOff val="50000"/>
                  </a:prstClr>
                </a:solidFill>
                <a:effectLst/>
                <a:uLnTx/>
                <a:uFillTx/>
                <a:latin typeface="HarmonyOS Sans SC"/>
                <a:cs typeface="+mn-cs"/>
              </a:rPr>
              <a:t>odio</a:t>
            </a:r>
            <a:r>
              <a:rPr kumimoji="0" lang="en-US" sz="1000" b="0" i="0" u="none" strike="noStrike" kern="1200" cap="none" spc="0" normalizeH="0" baseline="0" noProof="0" dirty="0">
                <a:ln>
                  <a:noFill/>
                </a:ln>
                <a:solidFill>
                  <a:prstClr val="black">
                    <a:lumMod val="50000"/>
                    <a:lumOff val="50000"/>
                  </a:prstClr>
                </a:solidFill>
                <a:effectLst/>
                <a:uLnTx/>
                <a:uFillTx/>
                <a:latin typeface="HarmonyOS Sans SC"/>
                <a:cs typeface="+mn-cs"/>
              </a:rPr>
              <a:t>, </a:t>
            </a:r>
            <a:r>
              <a:rPr kumimoji="0" lang="en-US" sz="1000" b="0" i="0" u="none" strike="noStrike" kern="1200" cap="none" spc="0" normalizeH="0" baseline="0" noProof="0" dirty="0" err="1">
                <a:ln>
                  <a:noFill/>
                </a:ln>
                <a:solidFill>
                  <a:prstClr val="black">
                    <a:lumMod val="50000"/>
                    <a:lumOff val="50000"/>
                  </a:prstClr>
                </a:solidFill>
                <a:effectLst/>
                <a:uLnTx/>
                <a:uFillTx/>
                <a:latin typeface="HarmonyOS Sans SC"/>
                <a:cs typeface="+mn-cs"/>
              </a:rPr>
              <a:t>quis</a:t>
            </a:r>
            <a:r>
              <a:rPr kumimoji="0" lang="en-US" sz="1000" b="0" i="0" u="none" strike="noStrike" kern="1200" cap="none" spc="0" normalizeH="0" baseline="0" noProof="0" dirty="0">
                <a:ln>
                  <a:noFill/>
                </a:ln>
                <a:solidFill>
                  <a:prstClr val="black">
                    <a:lumMod val="50000"/>
                    <a:lumOff val="50000"/>
                  </a:prstClr>
                </a:solidFill>
                <a:effectLst/>
                <a:uLnTx/>
                <a:uFillTx/>
                <a:latin typeface="HarmonyOS Sans SC"/>
                <a:cs typeface="+mn-cs"/>
              </a:rPr>
              <a:t> </a:t>
            </a:r>
            <a:r>
              <a:rPr kumimoji="0" lang="en-US" sz="1000" b="0" i="0" u="none" strike="noStrike" kern="1200" cap="none" spc="0" normalizeH="0" baseline="0" noProof="0" dirty="0" err="1">
                <a:ln>
                  <a:noFill/>
                </a:ln>
                <a:solidFill>
                  <a:prstClr val="black">
                    <a:lumMod val="50000"/>
                    <a:lumOff val="50000"/>
                  </a:prstClr>
                </a:solidFill>
                <a:effectLst/>
                <a:uLnTx/>
                <a:uFillTx/>
                <a:latin typeface="HarmonyOS Sans SC"/>
                <a:cs typeface="+mn-cs"/>
              </a:rPr>
              <a:t>posuere</a:t>
            </a:r>
            <a:r>
              <a:rPr kumimoji="0" lang="en-US" sz="1000" b="0" i="0" u="none" strike="noStrike" kern="1200" cap="none" spc="0" normalizeH="0" baseline="0" noProof="0" dirty="0">
                <a:ln>
                  <a:noFill/>
                </a:ln>
                <a:solidFill>
                  <a:prstClr val="black">
                    <a:lumMod val="50000"/>
                    <a:lumOff val="50000"/>
                  </a:prstClr>
                </a:solidFill>
                <a:effectLst/>
                <a:uLnTx/>
                <a:uFillTx/>
                <a:latin typeface="HarmonyOS Sans SC"/>
                <a:cs typeface="+mn-cs"/>
              </a:rPr>
              <a:t> </a:t>
            </a:r>
            <a:r>
              <a:rPr kumimoji="0" lang="en-US" sz="1000" b="0" i="0" u="none" strike="noStrike" kern="1200" cap="none" spc="0" normalizeH="0" baseline="0" noProof="0" dirty="0" err="1">
                <a:ln>
                  <a:noFill/>
                </a:ln>
                <a:solidFill>
                  <a:prstClr val="black">
                    <a:lumMod val="50000"/>
                    <a:lumOff val="50000"/>
                  </a:prstClr>
                </a:solidFill>
                <a:effectLst/>
                <a:uLnTx/>
                <a:uFillTx/>
                <a:latin typeface="HarmonyOS Sans SC"/>
                <a:cs typeface="+mn-cs"/>
              </a:rPr>
              <a:t>nisl</a:t>
            </a:r>
            <a:r>
              <a:rPr kumimoji="0" lang="en-US" sz="1000" b="0" i="0" u="none" strike="noStrike" kern="1200" cap="none" spc="0" normalizeH="0" baseline="0" noProof="0" dirty="0">
                <a:ln>
                  <a:noFill/>
                </a:ln>
                <a:solidFill>
                  <a:prstClr val="black">
                    <a:lumMod val="50000"/>
                    <a:lumOff val="50000"/>
                  </a:prstClr>
                </a:solidFill>
                <a:effectLst/>
                <a:uLnTx/>
                <a:uFillTx/>
                <a:latin typeface="HarmonyOS Sans SC"/>
                <a:cs typeface="+mn-cs"/>
              </a:rPr>
              <a:t> </a:t>
            </a:r>
            <a:r>
              <a:rPr kumimoji="0" lang="en-US" sz="1000" b="0" i="0" u="none" strike="noStrike" kern="1200" cap="none" spc="0" normalizeH="0" baseline="0" noProof="0" dirty="0" err="1">
                <a:ln>
                  <a:noFill/>
                </a:ln>
                <a:solidFill>
                  <a:prstClr val="black">
                    <a:lumMod val="50000"/>
                    <a:lumOff val="50000"/>
                  </a:prstClr>
                </a:solidFill>
                <a:effectLst/>
                <a:uLnTx/>
                <a:uFillTx/>
                <a:latin typeface="HarmonyOS Sans SC"/>
                <a:cs typeface="+mn-cs"/>
              </a:rPr>
              <a:t>molestie</a:t>
            </a:r>
            <a:r>
              <a:rPr kumimoji="0" lang="en-US" sz="1000" b="0" i="0" u="none" strike="noStrike" kern="1200" cap="none" spc="0" normalizeH="0" baseline="0" noProof="0" dirty="0">
                <a:ln>
                  <a:noFill/>
                </a:ln>
                <a:solidFill>
                  <a:prstClr val="black">
                    <a:lumMod val="50000"/>
                    <a:lumOff val="50000"/>
                  </a:prstClr>
                </a:solidFill>
                <a:effectLst/>
                <a:uLnTx/>
                <a:uFillTx/>
                <a:latin typeface="HarmonyOS Sans SC"/>
                <a:cs typeface="+mn-cs"/>
              </a:rPr>
              <a:t> id.</a:t>
            </a:r>
          </a:p>
          <a:p>
            <a:pPr marL="0" marR="0" lvl="0" indent="0" algn="l" defTabSz="914400" rtl="0" eaLnBrk="1" fontAlgn="auto" latinLnBrk="0" hangingPunct="1">
              <a:lnSpc>
                <a:spcPct val="120000"/>
              </a:lnSpc>
              <a:spcBef>
                <a:spcPts val="1200"/>
              </a:spcBef>
              <a:spcAft>
                <a:spcPts val="0"/>
              </a:spcAft>
              <a:buClrTx/>
              <a:buSzTx/>
              <a:buFontTx/>
              <a:buNone/>
              <a:tabLst/>
              <a:defRPr/>
            </a:pPr>
            <a:r>
              <a:rPr kumimoji="0" lang="en-US" sz="1000" b="0" i="0" u="none" strike="noStrike" kern="1200" cap="none" spc="0" normalizeH="0" baseline="0" noProof="0" dirty="0" err="1">
                <a:ln>
                  <a:noFill/>
                </a:ln>
                <a:solidFill>
                  <a:prstClr val="black">
                    <a:lumMod val="50000"/>
                    <a:lumOff val="50000"/>
                  </a:prstClr>
                </a:solidFill>
                <a:effectLst/>
                <a:uLnTx/>
                <a:uFillTx/>
                <a:latin typeface="HarmonyOS Sans SC"/>
                <a:cs typeface="+mn-cs"/>
              </a:rPr>
              <a:t>Fusce</a:t>
            </a:r>
            <a:r>
              <a:rPr kumimoji="0" lang="en-US" sz="1000" b="0" i="0" u="none" strike="noStrike" kern="1200" cap="none" spc="0" normalizeH="0" baseline="0" noProof="0" dirty="0">
                <a:ln>
                  <a:noFill/>
                </a:ln>
                <a:solidFill>
                  <a:prstClr val="black">
                    <a:lumMod val="50000"/>
                    <a:lumOff val="50000"/>
                  </a:prstClr>
                </a:solidFill>
                <a:effectLst/>
                <a:uLnTx/>
                <a:uFillTx/>
                <a:latin typeface="HarmonyOS Sans SC"/>
                <a:cs typeface="+mn-cs"/>
              </a:rPr>
              <a:t> </a:t>
            </a:r>
            <a:r>
              <a:rPr kumimoji="0" lang="en-US" sz="1000" b="0" i="0" u="none" strike="noStrike" kern="1200" cap="none" spc="0" normalizeH="0" baseline="0" noProof="0" dirty="0" err="1">
                <a:ln>
                  <a:noFill/>
                </a:ln>
                <a:solidFill>
                  <a:prstClr val="black">
                    <a:lumMod val="50000"/>
                    <a:lumOff val="50000"/>
                  </a:prstClr>
                </a:solidFill>
                <a:effectLst/>
                <a:uLnTx/>
                <a:uFillTx/>
                <a:latin typeface="HarmonyOS Sans SC"/>
                <a:cs typeface="+mn-cs"/>
              </a:rPr>
              <a:t>condimentum</a:t>
            </a:r>
            <a:r>
              <a:rPr kumimoji="0" lang="en-US" sz="1000" b="0" i="0" u="none" strike="noStrike" kern="1200" cap="none" spc="0" normalizeH="0" baseline="0" noProof="0" dirty="0">
                <a:ln>
                  <a:noFill/>
                </a:ln>
                <a:solidFill>
                  <a:prstClr val="black">
                    <a:lumMod val="50000"/>
                    <a:lumOff val="50000"/>
                  </a:prstClr>
                </a:solidFill>
                <a:effectLst/>
                <a:uLnTx/>
                <a:uFillTx/>
                <a:latin typeface="HarmonyOS Sans SC"/>
                <a:cs typeface="+mn-cs"/>
              </a:rPr>
              <a:t> </a:t>
            </a:r>
            <a:r>
              <a:rPr kumimoji="0" lang="en-US" sz="1000" b="0" i="0" u="none" strike="noStrike" kern="1200" cap="none" spc="0" normalizeH="0" baseline="0" noProof="0" dirty="0" err="1">
                <a:ln>
                  <a:noFill/>
                </a:ln>
                <a:solidFill>
                  <a:prstClr val="black">
                    <a:lumMod val="50000"/>
                    <a:lumOff val="50000"/>
                  </a:prstClr>
                </a:solidFill>
                <a:effectLst/>
                <a:uLnTx/>
                <a:uFillTx/>
                <a:latin typeface="HarmonyOS Sans SC"/>
                <a:cs typeface="+mn-cs"/>
              </a:rPr>
              <a:t>urna</a:t>
            </a:r>
            <a:r>
              <a:rPr kumimoji="0" lang="en-US" sz="1000" b="0" i="0" u="none" strike="noStrike" kern="1200" cap="none" spc="0" normalizeH="0" baseline="0" noProof="0" dirty="0">
                <a:ln>
                  <a:noFill/>
                </a:ln>
                <a:solidFill>
                  <a:prstClr val="black">
                    <a:lumMod val="50000"/>
                    <a:lumOff val="50000"/>
                  </a:prstClr>
                </a:solidFill>
                <a:effectLst/>
                <a:uLnTx/>
                <a:uFillTx/>
                <a:latin typeface="HarmonyOS Sans SC"/>
                <a:cs typeface="+mn-cs"/>
              </a:rPr>
              <a:t> ligula, in </a:t>
            </a:r>
            <a:r>
              <a:rPr kumimoji="0" lang="en-US" sz="1000" b="0" i="0" u="none" strike="noStrike" kern="1200" cap="none" spc="0" normalizeH="0" baseline="0" noProof="0" dirty="0" err="1">
                <a:ln>
                  <a:noFill/>
                </a:ln>
                <a:solidFill>
                  <a:prstClr val="black">
                    <a:lumMod val="50000"/>
                    <a:lumOff val="50000"/>
                  </a:prstClr>
                </a:solidFill>
                <a:effectLst/>
                <a:uLnTx/>
                <a:uFillTx/>
                <a:latin typeface="HarmonyOS Sans SC"/>
                <a:cs typeface="+mn-cs"/>
              </a:rPr>
              <a:t>viverra</a:t>
            </a:r>
            <a:r>
              <a:rPr kumimoji="0" lang="en-US" sz="1000" b="0" i="0" u="none" strike="noStrike" kern="1200" cap="none" spc="0" normalizeH="0" baseline="0" noProof="0" dirty="0">
                <a:ln>
                  <a:noFill/>
                </a:ln>
                <a:solidFill>
                  <a:prstClr val="black">
                    <a:lumMod val="50000"/>
                    <a:lumOff val="50000"/>
                  </a:prstClr>
                </a:solidFill>
                <a:effectLst/>
                <a:uLnTx/>
                <a:uFillTx/>
                <a:latin typeface="HarmonyOS Sans SC"/>
                <a:cs typeface="+mn-cs"/>
              </a:rPr>
              <a:t> </a:t>
            </a:r>
            <a:r>
              <a:rPr kumimoji="0" lang="en-US" sz="1000" b="0" i="0" u="none" strike="noStrike" kern="1200" cap="none" spc="0" normalizeH="0" baseline="0" noProof="0" dirty="0" err="1">
                <a:ln>
                  <a:noFill/>
                </a:ln>
                <a:solidFill>
                  <a:prstClr val="black">
                    <a:lumMod val="50000"/>
                    <a:lumOff val="50000"/>
                  </a:prstClr>
                </a:solidFill>
                <a:effectLst/>
                <a:uLnTx/>
                <a:uFillTx/>
                <a:latin typeface="HarmonyOS Sans SC"/>
                <a:cs typeface="+mn-cs"/>
              </a:rPr>
              <a:t>neque</a:t>
            </a:r>
            <a:r>
              <a:rPr kumimoji="0" lang="en-US" sz="1000" b="0" i="0" u="none" strike="noStrike" kern="1200" cap="none" spc="0" normalizeH="0" baseline="0" noProof="0" dirty="0">
                <a:ln>
                  <a:noFill/>
                </a:ln>
                <a:solidFill>
                  <a:prstClr val="black">
                    <a:lumMod val="50000"/>
                    <a:lumOff val="50000"/>
                  </a:prstClr>
                </a:solidFill>
                <a:effectLst/>
                <a:uLnTx/>
                <a:uFillTx/>
                <a:latin typeface="HarmonyOS Sans SC"/>
                <a:cs typeface="+mn-cs"/>
              </a:rPr>
              <a:t> </a:t>
            </a:r>
            <a:r>
              <a:rPr kumimoji="0" lang="en-US" sz="1000" b="0" i="0" u="none" strike="noStrike" kern="1200" cap="none" spc="0" normalizeH="0" baseline="0" noProof="0" dirty="0" err="1">
                <a:ln>
                  <a:noFill/>
                </a:ln>
                <a:solidFill>
                  <a:prstClr val="black">
                    <a:lumMod val="50000"/>
                    <a:lumOff val="50000"/>
                  </a:prstClr>
                </a:solidFill>
                <a:effectLst/>
                <a:uLnTx/>
                <a:uFillTx/>
                <a:latin typeface="HarmonyOS Sans SC"/>
                <a:cs typeface="+mn-cs"/>
              </a:rPr>
              <a:t>eleifend</a:t>
            </a:r>
            <a:r>
              <a:rPr kumimoji="0" lang="en-US" sz="1000" b="0" i="0" u="none" strike="noStrike" kern="1200" cap="none" spc="0" normalizeH="0" baseline="0" noProof="0" dirty="0">
                <a:ln>
                  <a:noFill/>
                </a:ln>
                <a:solidFill>
                  <a:prstClr val="black">
                    <a:lumMod val="50000"/>
                    <a:lumOff val="50000"/>
                  </a:prstClr>
                </a:solidFill>
                <a:effectLst/>
                <a:uLnTx/>
                <a:uFillTx/>
                <a:latin typeface="HarmonyOS Sans SC"/>
                <a:cs typeface="+mn-cs"/>
              </a:rPr>
              <a:t> vitae. Donec sed </a:t>
            </a:r>
            <a:r>
              <a:rPr kumimoji="0" lang="en-US" sz="1000" b="0" i="0" u="none" strike="noStrike" kern="1200" cap="none" spc="0" normalizeH="0" baseline="0" noProof="0" dirty="0" err="1">
                <a:ln>
                  <a:noFill/>
                </a:ln>
                <a:solidFill>
                  <a:prstClr val="black">
                    <a:lumMod val="50000"/>
                    <a:lumOff val="50000"/>
                  </a:prstClr>
                </a:solidFill>
                <a:effectLst/>
                <a:uLnTx/>
                <a:uFillTx/>
                <a:latin typeface="HarmonyOS Sans SC"/>
                <a:cs typeface="+mn-cs"/>
              </a:rPr>
              <a:t>elit</a:t>
            </a:r>
            <a:r>
              <a:rPr kumimoji="0" lang="en-US" sz="1000" b="0" i="0" u="none" strike="noStrike" kern="1200" cap="none" spc="0" normalizeH="0" baseline="0" noProof="0" dirty="0">
                <a:ln>
                  <a:noFill/>
                </a:ln>
                <a:solidFill>
                  <a:prstClr val="black">
                    <a:lumMod val="50000"/>
                    <a:lumOff val="50000"/>
                  </a:prstClr>
                </a:solidFill>
                <a:effectLst/>
                <a:uLnTx/>
                <a:uFillTx/>
                <a:latin typeface="HarmonyOS Sans SC"/>
                <a:cs typeface="+mn-cs"/>
              </a:rPr>
              <a:t> </a:t>
            </a:r>
            <a:r>
              <a:rPr kumimoji="0" lang="en-US" sz="1000" b="0" i="0" u="none" strike="noStrike" kern="1200" cap="none" spc="0" normalizeH="0" baseline="0" noProof="0" dirty="0" err="1">
                <a:ln>
                  <a:noFill/>
                </a:ln>
                <a:solidFill>
                  <a:prstClr val="black">
                    <a:lumMod val="50000"/>
                    <a:lumOff val="50000"/>
                  </a:prstClr>
                </a:solidFill>
                <a:effectLst/>
                <a:uLnTx/>
                <a:uFillTx/>
                <a:latin typeface="HarmonyOS Sans SC"/>
                <a:cs typeface="+mn-cs"/>
              </a:rPr>
              <a:t>quis</a:t>
            </a:r>
            <a:r>
              <a:rPr kumimoji="0" lang="en-US" sz="1000" b="0" i="0" u="none" strike="noStrike" kern="1200" cap="none" spc="0" normalizeH="0" baseline="0" noProof="0" dirty="0">
                <a:ln>
                  <a:noFill/>
                </a:ln>
                <a:solidFill>
                  <a:prstClr val="black">
                    <a:lumMod val="50000"/>
                    <a:lumOff val="50000"/>
                  </a:prstClr>
                </a:solidFill>
                <a:effectLst/>
                <a:uLnTx/>
                <a:uFillTx/>
                <a:latin typeface="HarmonyOS Sans SC"/>
                <a:cs typeface="+mn-cs"/>
              </a:rPr>
              <a:t> </a:t>
            </a:r>
            <a:r>
              <a:rPr kumimoji="0" lang="en-US" sz="1000" b="0" i="0" u="none" strike="noStrike" kern="1200" cap="none" spc="0" normalizeH="0" baseline="0" noProof="0" dirty="0" err="1">
                <a:ln>
                  <a:noFill/>
                </a:ln>
                <a:solidFill>
                  <a:prstClr val="black">
                    <a:lumMod val="50000"/>
                    <a:lumOff val="50000"/>
                  </a:prstClr>
                </a:solidFill>
                <a:effectLst/>
                <a:uLnTx/>
                <a:uFillTx/>
                <a:latin typeface="HarmonyOS Sans SC"/>
                <a:cs typeface="+mn-cs"/>
              </a:rPr>
              <a:t>felis</a:t>
            </a:r>
            <a:r>
              <a:rPr kumimoji="0" lang="en-US" sz="1000" b="0" i="0" u="none" strike="noStrike" kern="1200" cap="none" spc="0" normalizeH="0" baseline="0" noProof="0" dirty="0">
                <a:ln>
                  <a:noFill/>
                </a:ln>
                <a:solidFill>
                  <a:prstClr val="black">
                    <a:lumMod val="50000"/>
                    <a:lumOff val="50000"/>
                  </a:prstClr>
                </a:solidFill>
                <a:effectLst/>
                <a:uLnTx/>
                <a:uFillTx/>
                <a:latin typeface="HarmonyOS Sans SC"/>
                <a:cs typeface="+mn-cs"/>
              </a:rPr>
              <a:t> </a:t>
            </a:r>
            <a:r>
              <a:rPr kumimoji="0" lang="en-US" sz="1000" b="0" i="0" u="none" strike="noStrike" kern="1200" cap="none" spc="0" normalizeH="0" baseline="0" noProof="0" dirty="0" err="1">
                <a:ln>
                  <a:noFill/>
                </a:ln>
                <a:solidFill>
                  <a:prstClr val="black">
                    <a:lumMod val="50000"/>
                    <a:lumOff val="50000"/>
                  </a:prstClr>
                </a:solidFill>
                <a:effectLst/>
                <a:uLnTx/>
                <a:uFillTx/>
                <a:latin typeface="HarmonyOS Sans SC"/>
                <a:cs typeface="+mn-cs"/>
              </a:rPr>
              <a:t>aliquam</a:t>
            </a:r>
            <a:r>
              <a:rPr kumimoji="0" lang="en-US" sz="1000" b="0" i="0" u="none" strike="noStrike" kern="1200" cap="none" spc="0" normalizeH="0" baseline="0" noProof="0" dirty="0">
                <a:ln>
                  <a:noFill/>
                </a:ln>
                <a:solidFill>
                  <a:prstClr val="black">
                    <a:lumMod val="50000"/>
                    <a:lumOff val="50000"/>
                  </a:prstClr>
                </a:solidFill>
                <a:effectLst/>
                <a:uLnTx/>
                <a:uFillTx/>
                <a:latin typeface="HarmonyOS Sans SC"/>
                <a:cs typeface="+mn-cs"/>
              </a:rPr>
              <a:t> </a:t>
            </a:r>
            <a:r>
              <a:rPr kumimoji="0" lang="en-US" sz="1000" b="0" i="0" u="none" strike="noStrike" kern="1200" cap="none" spc="0" normalizeH="0" baseline="0" noProof="0" dirty="0" err="1">
                <a:ln>
                  <a:noFill/>
                </a:ln>
                <a:solidFill>
                  <a:prstClr val="black">
                    <a:lumMod val="50000"/>
                    <a:lumOff val="50000"/>
                  </a:prstClr>
                </a:solidFill>
                <a:effectLst/>
                <a:uLnTx/>
                <a:uFillTx/>
                <a:latin typeface="HarmonyOS Sans SC"/>
                <a:cs typeface="+mn-cs"/>
              </a:rPr>
              <a:t>bibendum</a:t>
            </a:r>
            <a:r>
              <a:rPr kumimoji="0" lang="en-US" sz="1000" b="0" i="0" u="none" strike="noStrike" kern="1200" cap="none" spc="0" normalizeH="0" baseline="0" noProof="0" dirty="0">
                <a:ln>
                  <a:noFill/>
                </a:ln>
                <a:solidFill>
                  <a:prstClr val="black">
                    <a:lumMod val="50000"/>
                    <a:lumOff val="50000"/>
                  </a:prstClr>
                </a:solidFill>
                <a:effectLst/>
                <a:uLnTx/>
                <a:uFillTx/>
                <a:latin typeface="HarmonyOS Sans SC"/>
                <a:cs typeface="+mn-cs"/>
              </a:rPr>
              <a:t> ac </a:t>
            </a:r>
            <a:r>
              <a:rPr kumimoji="0" lang="en-US" sz="1000" b="0" i="0" u="none" strike="noStrike" kern="1200" cap="none" spc="0" normalizeH="0" baseline="0" noProof="0" dirty="0" err="1">
                <a:ln>
                  <a:noFill/>
                </a:ln>
                <a:solidFill>
                  <a:prstClr val="black">
                    <a:lumMod val="50000"/>
                    <a:lumOff val="50000"/>
                  </a:prstClr>
                </a:solidFill>
                <a:effectLst/>
                <a:uLnTx/>
                <a:uFillTx/>
                <a:latin typeface="HarmonyOS Sans SC"/>
                <a:cs typeface="+mn-cs"/>
              </a:rPr>
              <a:t>ut</a:t>
            </a:r>
            <a:r>
              <a:rPr kumimoji="0" lang="en-US" sz="1000" b="0" i="0" u="none" strike="noStrike" kern="1200" cap="none" spc="0" normalizeH="0" baseline="0" noProof="0" dirty="0">
                <a:ln>
                  <a:noFill/>
                </a:ln>
                <a:solidFill>
                  <a:prstClr val="black">
                    <a:lumMod val="50000"/>
                    <a:lumOff val="50000"/>
                  </a:prstClr>
                </a:solidFill>
                <a:effectLst/>
                <a:uLnTx/>
                <a:uFillTx/>
                <a:latin typeface="HarmonyOS Sans SC"/>
                <a:cs typeface="+mn-cs"/>
              </a:rPr>
              <a:t> </a:t>
            </a:r>
            <a:r>
              <a:rPr kumimoji="0" lang="en-US" sz="1000" b="0" i="0" u="none" strike="noStrike" kern="1200" cap="none" spc="0" normalizeH="0" baseline="0" noProof="0" dirty="0" err="1">
                <a:ln>
                  <a:noFill/>
                </a:ln>
                <a:solidFill>
                  <a:prstClr val="black">
                    <a:lumMod val="50000"/>
                    <a:lumOff val="50000"/>
                  </a:prstClr>
                </a:solidFill>
                <a:effectLst/>
                <a:uLnTx/>
                <a:uFillTx/>
                <a:latin typeface="HarmonyOS Sans SC"/>
                <a:cs typeface="+mn-cs"/>
              </a:rPr>
              <a:t>neque</a:t>
            </a:r>
            <a:r>
              <a:rPr kumimoji="0" lang="en-US" sz="1000" b="0" i="0" u="none" strike="noStrike" kern="1200" cap="none" spc="0" normalizeH="0" baseline="0" noProof="0" dirty="0">
                <a:ln>
                  <a:noFill/>
                </a:ln>
                <a:solidFill>
                  <a:prstClr val="black">
                    <a:lumMod val="50000"/>
                    <a:lumOff val="50000"/>
                  </a:prstClr>
                </a:solidFill>
                <a:effectLst/>
                <a:uLnTx/>
                <a:uFillTx/>
                <a:latin typeface="HarmonyOS Sans SC"/>
                <a:cs typeface="+mn-cs"/>
              </a:rPr>
              <a:t>. Nunc vitae </a:t>
            </a:r>
            <a:r>
              <a:rPr kumimoji="0" lang="en-US" sz="1000" b="0" i="0" u="none" strike="noStrike" kern="1200" cap="none" spc="0" normalizeH="0" baseline="0" noProof="0" dirty="0" err="1">
                <a:ln>
                  <a:noFill/>
                </a:ln>
                <a:solidFill>
                  <a:prstClr val="black">
                    <a:lumMod val="50000"/>
                    <a:lumOff val="50000"/>
                  </a:prstClr>
                </a:solidFill>
                <a:effectLst/>
                <a:uLnTx/>
                <a:uFillTx/>
                <a:latin typeface="HarmonyOS Sans SC"/>
                <a:cs typeface="+mn-cs"/>
              </a:rPr>
              <a:t>lobortis</a:t>
            </a:r>
            <a:r>
              <a:rPr kumimoji="0" lang="en-US" sz="1000" b="0" i="0" u="none" strike="noStrike" kern="1200" cap="none" spc="0" normalizeH="0" baseline="0" noProof="0" dirty="0">
                <a:ln>
                  <a:noFill/>
                </a:ln>
                <a:solidFill>
                  <a:prstClr val="black">
                    <a:lumMod val="50000"/>
                    <a:lumOff val="50000"/>
                  </a:prstClr>
                </a:solidFill>
                <a:effectLst/>
                <a:uLnTx/>
                <a:uFillTx/>
                <a:latin typeface="HarmonyOS Sans SC"/>
                <a:cs typeface="+mn-cs"/>
              </a:rPr>
              <a:t> </a:t>
            </a:r>
            <a:r>
              <a:rPr kumimoji="0" lang="en-US" sz="1000" b="0" i="0" u="none" strike="noStrike" kern="1200" cap="none" spc="0" normalizeH="0" baseline="0" noProof="0" dirty="0" err="1">
                <a:ln>
                  <a:noFill/>
                </a:ln>
                <a:solidFill>
                  <a:prstClr val="black">
                    <a:lumMod val="50000"/>
                    <a:lumOff val="50000"/>
                  </a:prstClr>
                </a:solidFill>
                <a:effectLst/>
                <a:uLnTx/>
                <a:uFillTx/>
                <a:latin typeface="HarmonyOS Sans SC"/>
                <a:cs typeface="+mn-cs"/>
              </a:rPr>
              <a:t>enim</a:t>
            </a:r>
            <a:r>
              <a:rPr kumimoji="0" lang="en-US" sz="1000" b="0" i="0" u="none" strike="noStrike" kern="1200" cap="none" spc="0" normalizeH="0" baseline="0" noProof="0" dirty="0">
                <a:ln>
                  <a:noFill/>
                </a:ln>
                <a:solidFill>
                  <a:prstClr val="black">
                    <a:lumMod val="50000"/>
                    <a:lumOff val="50000"/>
                  </a:prstClr>
                </a:solidFill>
                <a:effectLst/>
                <a:uLnTx/>
                <a:uFillTx/>
                <a:latin typeface="HarmonyOS Sans SC"/>
                <a:cs typeface="+mn-cs"/>
              </a:rPr>
              <a:t>. </a:t>
            </a:r>
            <a:r>
              <a:rPr kumimoji="0" lang="en-US" sz="1000" b="0" i="0" u="none" strike="noStrike" kern="1200" cap="none" spc="0" normalizeH="0" baseline="0" noProof="0" dirty="0" err="1">
                <a:ln>
                  <a:noFill/>
                </a:ln>
                <a:solidFill>
                  <a:prstClr val="black">
                    <a:lumMod val="50000"/>
                    <a:lumOff val="50000"/>
                  </a:prstClr>
                </a:solidFill>
                <a:effectLst/>
                <a:uLnTx/>
                <a:uFillTx/>
                <a:latin typeface="HarmonyOS Sans SC"/>
                <a:cs typeface="+mn-cs"/>
              </a:rPr>
              <a:t>Mauris</a:t>
            </a:r>
            <a:r>
              <a:rPr kumimoji="0" lang="en-US" sz="1000" b="0" i="0" u="none" strike="noStrike" kern="1200" cap="none" spc="0" normalizeH="0" baseline="0" noProof="0" dirty="0">
                <a:ln>
                  <a:noFill/>
                </a:ln>
                <a:solidFill>
                  <a:prstClr val="black">
                    <a:lumMod val="50000"/>
                    <a:lumOff val="50000"/>
                  </a:prstClr>
                </a:solidFill>
                <a:effectLst/>
                <a:uLnTx/>
                <a:uFillTx/>
                <a:latin typeface="HarmonyOS Sans SC"/>
                <a:cs typeface="+mn-cs"/>
              </a:rPr>
              <a:t> </a:t>
            </a:r>
            <a:r>
              <a:rPr kumimoji="0" lang="en-US" sz="1000" b="0" i="0" u="none" strike="noStrike" kern="1200" cap="none" spc="0" normalizeH="0" baseline="0" noProof="0" dirty="0" err="1">
                <a:ln>
                  <a:noFill/>
                </a:ln>
                <a:solidFill>
                  <a:prstClr val="black">
                    <a:lumMod val="50000"/>
                    <a:lumOff val="50000"/>
                  </a:prstClr>
                </a:solidFill>
                <a:effectLst/>
                <a:uLnTx/>
                <a:uFillTx/>
                <a:latin typeface="HarmonyOS Sans SC"/>
                <a:cs typeface="+mn-cs"/>
              </a:rPr>
              <a:t>laoreet</a:t>
            </a:r>
            <a:r>
              <a:rPr kumimoji="0" lang="en-US" sz="1000" b="0" i="0" u="none" strike="noStrike" kern="1200" cap="none" spc="0" normalizeH="0" baseline="0" noProof="0" dirty="0">
                <a:ln>
                  <a:noFill/>
                </a:ln>
                <a:solidFill>
                  <a:prstClr val="black">
                    <a:lumMod val="50000"/>
                    <a:lumOff val="50000"/>
                  </a:prstClr>
                </a:solidFill>
                <a:effectLst/>
                <a:uLnTx/>
                <a:uFillTx/>
                <a:latin typeface="HarmonyOS Sans SC"/>
                <a:cs typeface="+mn-cs"/>
              </a:rPr>
              <a:t> </a:t>
            </a:r>
            <a:r>
              <a:rPr kumimoji="0" lang="en-US" sz="1000" b="0" i="0" u="none" strike="noStrike" kern="1200" cap="none" spc="0" normalizeH="0" baseline="0" noProof="0" dirty="0" err="1">
                <a:ln>
                  <a:noFill/>
                </a:ln>
                <a:solidFill>
                  <a:prstClr val="black">
                    <a:lumMod val="50000"/>
                    <a:lumOff val="50000"/>
                  </a:prstClr>
                </a:solidFill>
                <a:effectLst/>
                <a:uLnTx/>
                <a:uFillTx/>
                <a:latin typeface="HarmonyOS Sans SC"/>
                <a:cs typeface="+mn-cs"/>
              </a:rPr>
              <a:t>lobortis</a:t>
            </a:r>
            <a:r>
              <a:rPr kumimoji="0" lang="en-US" sz="1000" b="0" i="0" u="none" strike="noStrike" kern="1200" cap="none" spc="0" normalizeH="0" baseline="0" noProof="0" dirty="0">
                <a:ln>
                  <a:noFill/>
                </a:ln>
                <a:solidFill>
                  <a:prstClr val="black">
                    <a:lumMod val="50000"/>
                    <a:lumOff val="50000"/>
                  </a:prstClr>
                </a:solidFill>
                <a:effectLst/>
                <a:uLnTx/>
                <a:uFillTx/>
                <a:latin typeface="HarmonyOS Sans SC"/>
                <a:cs typeface="+mn-cs"/>
              </a:rPr>
              <a:t> auctor. </a:t>
            </a:r>
          </a:p>
        </p:txBody>
      </p:sp>
      <p:sp>
        <p:nvSpPr>
          <p:cNvPr id="5" name="TextBox 55">
            <a:extLst>
              <a:ext uri="{FF2B5EF4-FFF2-40B4-BE49-F238E27FC236}">
                <a16:creationId xmlns:a16="http://schemas.microsoft.com/office/drawing/2014/main" id="{EBF00E27-7B81-4C2A-AD69-9AC8C239CFD9}"/>
              </a:ext>
            </a:extLst>
          </p:cNvPr>
          <p:cNvSpPr txBox="1"/>
          <p:nvPr/>
        </p:nvSpPr>
        <p:spPr>
          <a:xfrm>
            <a:off x="1012824" y="1852633"/>
            <a:ext cx="2035175" cy="446088"/>
          </a:xfrm>
          <a:prstGeom prst="roundRect">
            <a:avLst>
              <a:gd name="adj" fmla="val 11329"/>
            </a:avLst>
          </a:prstGeom>
          <a:gradFill>
            <a:gsLst>
              <a:gs pos="73000">
                <a:schemeClr val="accent1"/>
              </a:gs>
              <a:gs pos="31000">
                <a:schemeClr val="accent1">
                  <a:lumMod val="60000"/>
                  <a:lumOff val="40000"/>
                </a:schemeClr>
              </a:gs>
              <a:gs pos="0">
                <a:schemeClr val="accent1">
                  <a:lumMod val="40000"/>
                  <a:lumOff val="60000"/>
                </a:schemeClr>
              </a:gs>
            </a:gsLst>
            <a:path path="circle">
              <a:fillToRect r="100000" b="100000"/>
            </a:path>
          </a:gradFill>
          <a:ln>
            <a:noFill/>
          </a:ln>
          <a:effectLst>
            <a:outerShdw blurRad="444500" dist="317500" dir="5400000" sx="92000" sy="92000" algn="t" rotWithShape="0">
              <a:schemeClr val="accent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HarmonyOS Sans SC Black"/>
                <a:ea typeface="+mj-ea"/>
                <a:cs typeface="+mn-cs"/>
              </a:rPr>
              <a:t>INFOGRAPHIC</a:t>
            </a:r>
          </a:p>
        </p:txBody>
      </p:sp>
      <p:sp>
        <p:nvSpPr>
          <p:cNvPr id="7" name="Freeform 35">
            <a:extLst>
              <a:ext uri="{FF2B5EF4-FFF2-40B4-BE49-F238E27FC236}">
                <a16:creationId xmlns:a16="http://schemas.microsoft.com/office/drawing/2014/main" id="{F74434CD-5BF4-4E2C-A5CB-AE146F10ACF6}"/>
              </a:ext>
            </a:extLst>
          </p:cNvPr>
          <p:cNvSpPr>
            <a:spLocks/>
          </p:cNvSpPr>
          <p:nvPr/>
        </p:nvSpPr>
        <p:spPr bwMode="auto">
          <a:xfrm>
            <a:off x="5266821" y="2775788"/>
            <a:ext cx="1634234" cy="871391"/>
          </a:xfrm>
          <a:custGeom>
            <a:avLst/>
            <a:gdLst>
              <a:gd name="T0" fmla="*/ 840 w 1083"/>
              <a:gd name="T1" fmla="*/ 68 h 579"/>
              <a:gd name="T2" fmla="*/ 840 w 1083"/>
              <a:gd name="T3" fmla="*/ 68 h 579"/>
              <a:gd name="T4" fmla="*/ 836 w 1083"/>
              <a:gd name="T5" fmla="*/ 66 h 579"/>
              <a:gd name="T6" fmla="*/ 820 w 1083"/>
              <a:gd name="T7" fmla="*/ 57 h 579"/>
              <a:gd name="T8" fmla="*/ 795 w 1083"/>
              <a:gd name="T9" fmla="*/ 47 h 579"/>
              <a:gd name="T10" fmla="*/ 759 w 1083"/>
              <a:gd name="T11" fmla="*/ 34 h 579"/>
              <a:gd name="T12" fmla="*/ 738 w 1083"/>
              <a:gd name="T13" fmla="*/ 27 h 579"/>
              <a:gd name="T14" fmla="*/ 714 w 1083"/>
              <a:gd name="T15" fmla="*/ 21 h 579"/>
              <a:gd name="T16" fmla="*/ 688 w 1083"/>
              <a:gd name="T17" fmla="*/ 16 h 579"/>
              <a:gd name="T18" fmla="*/ 660 w 1083"/>
              <a:gd name="T19" fmla="*/ 10 h 579"/>
              <a:gd name="T20" fmla="*/ 628 w 1083"/>
              <a:gd name="T21" fmla="*/ 6 h 579"/>
              <a:gd name="T22" fmla="*/ 596 w 1083"/>
              <a:gd name="T23" fmla="*/ 3 h 579"/>
              <a:gd name="T24" fmla="*/ 562 w 1083"/>
              <a:gd name="T25" fmla="*/ 0 h 579"/>
              <a:gd name="T26" fmla="*/ 525 w 1083"/>
              <a:gd name="T27" fmla="*/ 0 h 579"/>
              <a:gd name="T28" fmla="*/ 525 w 1083"/>
              <a:gd name="T29" fmla="*/ 0 h 579"/>
              <a:gd name="T30" fmla="*/ 488 w 1083"/>
              <a:gd name="T31" fmla="*/ 0 h 579"/>
              <a:gd name="T32" fmla="*/ 453 w 1083"/>
              <a:gd name="T33" fmla="*/ 3 h 579"/>
              <a:gd name="T34" fmla="*/ 424 w 1083"/>
              <a:gd name="T35" fmla="*/ 6 h 579"/>
              <a:gd name="T36" fmla="*/ 395 w 1083"/>
              <a:gd name="T37" fmla="*/ 10 h 579"/>
              <a:gd name="T38" fmla="*/ 370 w 1083"/>
              <a:gd name="T39" fmla="*/ 16 h 579"/>
              <a:gd name="T40" fmla="*/ 347 w 1083"/>
              <a:gd name="T41" fmla="*/ 21 h 579"/>
              <a:gd name="T42" fmla="*/ 327 w 1083"/>
              <a:gd name="T43" fmla="*/ 27 h 579"/>
              <a:gd name="T44" fmla="*/ 310 w 1083"/>
              <a:gd name="T45" fmla="*/ 34 h 579"/>
              <a:gd name="T46" fmla="*/ 281 w 1083"/>
              <a:gd name="T47" fmla="*/ 47 h 579"/>
              <a:gd name="T48" fmla="*/ 261 w 1083"/>
              <a:gd name="T49" fmla="*/ 57 h 579"/>
              <a:gd name="T50" fmla="*/ 250 w 1083"/>
              <a:gd name="T51" fmla="*/ 66 h 579"/>
              <a:gd name="T52" fmla="*/ 247 w 1083"/>
              <a:gd name="T53" fmla="*/ 68 h 579"/>
              <a:gd name="T54" fmla="*/ 247 w 1083"/>
              <a:gd name="T55" fmla="*/ 68 h 579"/>
              <a:gd name="T56" fmla="*/ 0 w 1083"/>
              <a:gd name="T57" fmla="*/ 579 h 579"/>
              <a:gd name="T58" fmla="*/ 1083 w 1083"/>
              <a:gd name="T59" fmla="*/ 566 h 579"/>
              <a:gd name="T60" fmla="*/ 840 w 1083"/>
              <a:gd name="T61" fmla="*/ 68 h 5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83" h="579">
                <a:moveTo>
                  <a:pt x="840" y="68"/>
                </a:moveTo>
                <a:lnTo>
                  <a:pt x="840" y="68"/>
                </a:lnTo>
                <a:lnTo>
                  <a:pt x="836" y="66"/>
                </a:lnTo>
                <a:lnTo>
                  <a:pt x="820" y="57"/>
                </a:lnTo>
                <a:lnTo>
                  <a:pt x="795" y="47"/>
                </a:lnTo>
                <a:lnTo>
                  <a:pt x="759" y="34"/>
                </a:lnTo>
                <a:lnTo>
                  <a:pt x="738" y="27"/>
                </a:lnTo>
                <a:lnTo>
                  <a:pt x="714" y="21"/>
                </a:lnTo>
                <a:lnTo>
                  <a:pt x="688" y="16"/>
                </a:lnTo>
                <a:lnTo>
                  <a:pt x="660" y="10"/>
                </a:lnTo>
                <a:lnTo>
                  <a:pt x="628" y="6"/>
                </a:lnTo>
                <a:lnTo>
                  <a:pt x="596" y="3"/>
                </a:lnTo>
                <a:lnTo>
                  <a:pt x="562" y="0"/>
                </a:lnTo>
                <a:lnTo>
                  <a:pt x="525" y="0"/>
                </a:lnTo>
                <a:lnTo>
                  <a:pt x="525" y="0"/>
                </a:lnTo>
                <a:lnTo>
                  <a:pt x="488" y="0"/>
                </a:lnTo>
                <a:lnTo>
                  <a:pt x="453" y="3"/>
                </a:lnTo>
                <a:lnTo>
                  <a:pt x="424" y="6"/>
                </a:lnTo>
                <a:lnTo>
                  <a:pt x="395" y="10"/>
                </a:lnTo>
                <a:lnTo>
                  <a:pt x="370" y="16"/>
                </a:lnTo>
                <a:lnTo>
                  <a:pt x="347" y="21"/>
                </a:lnTo>
                <a:lnTo>
                  <a:pt x="327" y="27"/>
                </a:lnTo>
                <a:lnTo>
                  <a:pt x="310" y="34"/>
                </a:lnTo>
                <a:lnTo>
                  <a:pt x="281" y="47"/>
                </a:lnTo>
                <a:lnTo>
                  <a:pt x="261" y="57"/>
                </a:lnTo>
                <a:lnTo>
                  <a:pt x="250" y="66"/>
                </a:lnTo>
                <a:lnTo>
                  <a:pt x="247" y="68"/>
                </a:lnTo>
                <a:lnTo>
                  <a:pt x="247" y="68"/>
                </a:lnTo>
                <a:lnTo>
                  <a:pt x="0" y="579"/>
                </a:lnTo>
                <a:lnTo>
                  <a:pt x="1083" y="566"/>
                </a:lnTo>
                <a:lnTo>
                  <a:pt x="840" y="68"/>
                </a:lnTo>
                <a:close/>
              </a:path>
            </a:pathLst>
          </a:custGeom>
          <a:gradFill flip="none" rotWithShape="1">
            <a:gsLst>
              <a:gs pos="73000">
                <a:schemeClr val="accent1"/>
              </a:gs>
              <a:gs pos="31000">
                <a:schemeClr val="accent1">
                  <a:lumMod val="60000"/>
                  <a:lumOff val="40000"/>
                </a:schemeClr>
              </a:gs>
              <a:gs pos="0">
                <a:schemeClr val="accent1">
                  <a:lumMod val="40000"/>
                  <a:lumOff val="60000"/>
                </a:schemeClr>
              </a:gs>
            </a:gsLst>
            <a:lin ang="0" scaled="0"/>
            <a:tileRect/>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22222"/>
              </a:solidFill>
              <a:effectLst/>
              <a:uLnTx/>
              <a:uFillTx/>
              <a:latin typeface="Inter"/>
              <a:cs typeface="+mn-cs"/>
            </a:endParaRPr>
          </a:p>
        </p:txBody>
      </p:sp>
      <p:sp>
        <p:nvSpPr>
          <p:cNvPr id="8" name="Freeform 36">
            <a:extLst>
              <a:ext uri="{FF2B5EF4-FFF2-40B4-BE49-F238E27FC236}">
                <a16:creationId xmlns:a16="http://schemas.microsoft.com/office/drawing/2014/main" id="{63B6B2D0-79F7-45B6-A531-E777AF85EB51}"/>
              </a:ext>
            </a:extLst>
          </p:cNvPr>
          <p:cNvSpPr>
            <a:spLocks/>
          </p:cNvSpPr>
          <p:nvPr/>
        </p:nvSpPr>
        <p:spPr bwMode="auto">
          <a:xfrm>
            <a:off x="5357277" y="2796896"/>
            <a:ext cx="482431" cy="850284"/>
          </a:xfrm>
          <a:custGeom>
            <a:avLst/>
            <a:gdLst>
              <a:gd name="T0" fmla="*/ 0 w 318"/>
              <a:gd name="T1" fmla="*/ 565 h 565"/>
              <a:gd name="T2" fmla="*/ 152 w 318"/>
              <a:gd name="T3" fmla="*/ 564 h 565"/>
              <a:gd name="T4" fmla="*/ 318 w 318"/>
              <a:gd name="T5" fmla="*/ 0 h 565"/>
              <a:gd name="T6" fmla="*/ 318 w 318"/>
              <a:gd name="T7" fmla="*/ 0 h 565"/>
              <a:gd name="T8" fmla="*/ 291 w 318"/>
              <a:gd name="T9" fmla="*/ 6 h 565"/>
              <a:gd name="T10" fmla="*/ 267 w 318"/>
              <a:gd name="T11" fmla="*/ 13 h 565"/>
              <a:gd name="T12" fmla="*/ 247 w 318"/>
              <a:gd name="T13" fmla="*/ 20 h 565"/>
              <a:gd name="T14" fmla="*/ 230 w 318"/>
              <a:gd name="T15" fmla="*/ 27 h 565"/>
              <a:gd name="T16" fmla="*/ 0 w 318"/>
              <a:gd name="T17" fmla="*/ 565 h 5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8" h="565">
                <a:moveTo>
                  <a:pt x="0" y="565"/>
                </a:moveTo>
                <a:lnTo>
                  <a:pt x="152" y="564"/>
                </a:lnTo>
                <a:lnTo>
                  <a:pt x="318" y="0"/>
                </a:lnTo>
                <a:lnTo>
                  <a:pt x="318" y="0"/>
                </a:lnTo>
                <a:lnTo>
                  <a:pt x="291" y="6"/>
                </a:lnTo>
                <a:lnTo>
                  <a:pt x="267" y="13"/>
                </a:lnTo>
                <a:lnTo>
                  <a:pt x="247" y="20"/>
                </a:lnTo>
                <a:lnTo>
                  <a:pt x="230" y="27"/>
                </a:lnTo>
                <a:lnTo>
                  <a:pt x="0" y="565"/>
                </a:lnTo>
                <a:close/>
              </a:path>
            </a:pathLst>
          </a:custGeom>
          <a:solidFill>
            <a:schemeClr val="bg1">
              <a:alpha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armonyOS Sans SC"/>
              <a:cs typeface="+mn-cs"/>
            </a:endParaRPr>
          </a:p>
        </p:txBody>
      </p:sp>
      <p:sp>
        <p:nvSpPr>
          <p:cNvPr id="9" name="Freeform 37">
            <a:extLst>
              <a:ext uri="{FF2B5EF4-FFF2-40B4-BE49-F238E27FC236}">
                <a16:creationId xmlns:a16="http://schemas.microsoft.com/office/drawing/2014/main" id="{A23BB251-FD2D-4973-8F52-D5FF0A089208}"/>
              </a:ext>
            </a:extLst>
          </p:cNvPr>
          <p:cNvSpPr>
            <a:spLocks/>
          </p:cNvSpPr>
          <p:nvPr/>
        </p:nvSpPr>
        <p:spPr bwMode="auto">
          <a:xfrm>
            <a:off x="5266821" y="3526572"/>
            <a:ext cx="1634234" cy="229155"/>
          </a:xfrm>
          <a:custGeom>
            <a:avLst/>
            <a:gdLst>
              <a:gd name="T0" fmla="*/ 0 w 1083"/>
              <a:gd name="T1" fmla="*/ 80 h 151"/>
              <a:gd name="T2" fmla="*/ 0 w 1083"/>
              <a:gd name="T3" fmla="*/ 80 h 151"/>
              <a:gd name="T4" fmla="*/ 8 w 1083"/>
              <a:gd name="T5" fmla="*/ 77 h 151"/>
              <a:gd name="T6" fmla="*/ 33 w 1083"/>
              <a:gd name="T7" fmla="*/ 69 h 151"/>
              <a:gd name="T8" fmla="*/ 72 w 1083"/>
              <a:gd name="T9" fmla="*/ 56 h 151"/>
              <a:gd name="T10" fmla="*/ 99 w 1083"/>
              <a:gd name="T11" fmla="*/ 49 h 151"/>
              <a:gd name="T12" fmla="*/ 131 w 1083"/>
              <a:gd name="T13" fmla="*/ 40 h 151"/>
              <a:gd name="T14" fmla="*/ 166 w 1083"/>
              <a:gd name="T15" fmla="*/ 33 h 151"/>
              <a:gd name="T16" fmla="*/ 206 w 1083"/>
              <a:gd name="T17" fmla="*/ 26 h 151"/>
              <a:gd name="T18" fmla="*/ 250 w 1083"/>
              <a:gd name="T19" fmla="*/ 19 h 151"/>
              <a:gd name="T20" fmla="*/ 300 w 1083"/>
              <a:gd name="T21" fmla="*/ 13 h 151"/>
              <a:gd name="T22" fmla="*/ 354 w 1083"/>
              <a:gd name="T23" fmla="*/ 9 h 151"/>
              <a:gd name="T24" fmla="*/ 412 w 1083"/>
              <a:gd name="T25" fmla="*/ 5 h 151"/>
              <a:gd name="T26" fmla="*/ 476 w 1083"/>
              <a:gd name="T27" fmla="*/ 2 h 151"/>
              <a:gd name="T28" fmla="*/ 544 w 1083"/>
              <a:gd name="T29" fmla="*/ 0 h 151"/>
              <a:gd name="T30" fmla="*/ 544 w 1083"/>
              <a:gd name="T31" fmla="*/ 0 h 151"/>
              <a:gd name="T32" fmla="*/ 613 w 1083"/>
              <a:gd name="T33" fmla="*/ 2 h 151"/>
              <a:gd name="T34" fmla="*/ 675 w 1083"/>
              <a:gd name="T35" fmla="*/ 3 h 151"/>
              <a:gd name="T36" fmla="*/ 735 w 1083"/>
              <a:gd name="T37" fmla="*/ 7 h 151"/>
              <a:gd name="T38" fmla="*/ 788 w 1083"/>
              <a:gd name="T39" fmla="*/ 12 h 151"/>
              <a:gd name="T40" fmla="*/ 837 w 1083"/>
              <a:gd name="T41" fmla="*/ 16 h 151"/>
              <a:gd name="T42" fmla="*/ 881 w 1083"/>
              <a:gd name="T43" fmla="*/ 22 h 151"/>
              <a:gd name="T44" fmla="*/ 921 w 1083"/>
              <a:gd name="T45" fmla="*/ 29 h 151"/>
              <a:gd name="T46" fmla="*/ 955 w 1083"/>
              <a:gd name="T47" fmla="*/ 35 h 151"/>
              <a:gd name="T48" fmla="*/ 1012 w 1083"/>
              <a:gd name="T49" fmla="*/ 47 h 151"/>
              <a:gd name="T50" fmla="*/ 1052 w 1083"/>
              <a:gd name="T51" fmla="*/ 57 h 151"/>
              <a:gd name="T52" fmla="*/ 1076 w 1083"/>
              <a:gd name="T53" fmla="*/ 64 h 151"/>
              <a:gd name="T54" fmla="*/ 1083 w 1083"/>
              <a:gd name="T55" fmla="*/ 67 h 151"/>
              <a:gd name="T56" fmla="*/ 1083 w 1083"/>
              <a:gd name="T57" fmla="*/ 67 h 151"/>
              <a:gd name="T58" fmla="*/ 1076 w 1083"/>
              <a:gd name="T59" fmla="*/ 71 h 151"/>
              <a:gd name="T60" fmla="*/ 1052 w 1083"/>
              <a:gd name="T61" fmla="*/ 80 h 151"/>
              <a:gd name="T62" fmla="*/ 1012 w 1083"/>
              <a:gd name="T63" fmla="*/ 94 h 151"/>
              <a:gd name="T64" fmla="*/ 987 w 1083"/>
              <a:gd name="T65" fmla="*/ 101 h 151"/>
              <a:gd name="T66" fmla="*/ 955 w 1083"/>
              <a:gd name="T67" fmla="*/ 108 h 151"/>
              <a:gd name="T68" fmla="*/ 921 w 1083"/>
              <a:gd name="T69" fmla="*/ 117 h 151"/>
              <a:gd name="T70" fmla="*/ 881 w 1083"/>
              <a:gd name="T71" fmla="*/ 124 h 151"/>
              <a:gd name="T72" fmla="*/ 837 w 1083"/>
              <a:gd name="T73" fmla="*/ 131 h 151"/>
              <a:gd name="T74" fmla="*/ 789 w 1083"/>
              <a:gd name="T75" fmla="*/ 138 h 151"/>
              <a:gd name="T76" fmla="*/ 736 w 1083"/>
              <a:gd name="T77" fmla="*/ 143 h 151"/>
              <a:gd name="T78" fmla="*/ 678 w 1083"/>
              <a:gd name="T79" fmla="*/ 147 h 151"/>
              <a:gd name="T80" fmla="*/ 616 w 1083"/>
              <a:gd name="T81" fmla="*/ 150 h 151"/>
              <a:gd name="T82" fmla="*/ 549 w 1083"/>
              <a:gd name="T83" fmla="*/ 151 h 151"/>
              <a:gd name="T84" fmla="*/ 549 w 1083"/>
              <a:gd name="T85" fmla="*/ 151 h 151"/>
              <a:gd name="T86" fmla="*/ 482 w 1083"/>
              <a:gd name="T87" fmla="*/ 150 h 151"/>
              <a:gd name="T88" fmla="*/ 418 w 1083"/>
              <a:gd name="T89" fmla="*/ 148 h 151"/>
              <a:gd name="T90" fmla="*/ 360 w 1083"/>
              <a:gd name="T91" fmla="*/ 144 h 151"/>
              <a:gd name="T92" fmla="*/ 306 w 1083"/>
              <a:gd name="T93" fmla="*/ 140 h 151"/>
              <a:gd name="T94" fmla="*/ 257 w 1083"/>
              <a:gd name="T95" fmla="*/ 134 h 151"/>
              <a:gd name="T96" fmla="*/ 212 w 1083"/>
              <a:gd name="T97" fmla="*/ 128 h 151"/>
              <a:gd name="T98" fmla="*/ 172 w 1083"/>
              <a:gd name="T99" fmla="*/ 123 h 151"/>
              <a:gd name="T100" fmla="*/ 135 w 1083"/>
              <a:gd name="T101" fmla="*/ 116 h 151"/>
              <a:gd name="T102" fmla="*/ 77 w 1083"/>
              <a:gd name="T103" fmla="*/ 103 h 151"/>
              <a:gd name="T104" fmla="*/ 34 w 1083"/>
              <a:gd name="T105" fmla="*/ 91 h 151"/>
              <a:gd name="T106" fmla="*/ 8 w 1083"/>
              <a:gd name="T107" fmla="*/ 83 h 151"/>
              <a:gd name="T108" fmla="*/ 0 w 1083"/>
              <a:gd name="T109" fmla="*/ 80 h 151"/>
              <a:gd name="T110" fmla="*/ 0 w 1083"/>
              <a:gd name="T111" fmla="*/ 80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083" h="151">
                <a:moveTo>
                  <a:pt x="0" y="80"/>
                </a:moveTo>
                <a:lnTo>
                  <a:pt x="0" y="80"/>
                </a:lnTo>
                <a:lnTo>
                  <a:pt x="8" y="77"/>
                </a:lnTo>
                <a:lnTo>
                  <a:pt x="33" y="69"/>
                </a:lnTo>
                <a:lnTo>
                  <a:pt x="72" y="56"/>
                </a:lnTo>
                <a:lnTo>
                  <a:pt x="99" y="49"/>
                </a:lnTo>
                <a:lnTo>
                  <a:pt x="131" y="40"/>
                </a:lnTo>
                <a:lnTo>
                  <a:pt x="166" y="33"/>
                </a:lnTo>
                <a:lnTo>
                  <a:pt x="206" y="26"/>
                </a:lnTo>
                <a:lnTo>
                  <a:pt x="250" y="19"/>
                </a:lnTo>
                <a:lnTo>
                  <a:pt x="300" y="13"/>
                </a:lnTo>
                <a:lnTo>
                  <a:pt x="354" y="9"/>
                </a:lnTo>
                <a:lnTo>
                  <a:pt x="412" y="5"/>
                </a:lnTo>
                <a:lnTo>
                  <a:pt x="476" y="2"/>
                </a:lnTo>
                <a:lnTo>
                  <a:pt x="544" y="0"/>
                </a:lnTo>
                <a:lnTo>
                  <a:pt x="544" y="0"/>
                </a:lnTo>
                <a:lnTo>
                  <a:pt x="613" y="2"/>
                </a:lnTo>
                <a:lnTo>
                  <a:pt x="675" y="3"/>
                </a:lnTo>
                <a:lnTo>
                  <a:pt x="735" y="7"/>
                </a:lnTo>
                <a:lnTo>
                  <a:pt x="788" y="12"/>
                </a:lnTo>
                <a:lnTo>
                  <a:pt x="837" y="16"/>
                </a:lnTo>
                <a:lnTo>
                  <a:pt x="881" y="22"/>
                </a:lnTo>
                <a:lnTo>
                  <a:pt x="921" y="29"/>
                </a:lnTo>
                <a:lnTo>
                  <a:pt x="955" y="35"/>
                </a:lnTo>
                <a:lnTo>
                  <a:pt x="1012" y="47"/>
                </a:lnTo>
                <a:lnTo>
                  <a:pt x="1052" y="57"/>
                </a:lnTo>
                <a:lnTo>
                  <a:pt x="1076" y="64"/>
                </a:lnTo>
                <a:lnTo>
                  <a:pt x="1083" y="67"/>
                </a:lnTo>
                <a:lnTo>
                  <a:pt x="1083" y="67"/>
                </a:lnTo>
                <a:lnTo>
                  <a:pt x="1076" y="71"/>
                </a:lnTo>
                <a:lnTo>
                  <a:pt x="1052" y="80"/>
                </a:lnTo>
                <a:lnTo>
                  <a:pt x="1012" y="94"/>
                </a:lnTo>
                <a:lnTo>
                  <a:pt x="987" y="101"/>
                </a:lnTo>
                <a:lnTo>
                  <a:pt x="955" y="108"/>
                </a:lnTo>
                <a:lnTo>
                  <a:pt x="921" y="117"/>
                </a:lnTo>
                <a:lnTo>
                  <a:pt x="881" y="124"/>
                </a:lnTo>
                <a:lnTo>
                  <a:pt x="837" y="131"/>
                </a:lnTo>
                <a:lnTo>
                  <a:pt x="789" y="138"/>
                </a:lnTo>
                <a:lnTo>
                  <a:pt x="736" y="143"/>
                </a:lnTo>
                <a:lnTo>
                  <a:pt x="678" y="147"/>
                </a:lnTo>
                <a:lnTo>
                  <a:pt x="616" y="150"/>
                </a:lnTo>
                <a:lnTo>
                  <a:pt x="549" y="151"/>
                </a:lnTo>
                <a:lnTo>
                  <a:pt x="549" y="151"/>
                </a:lnTo>
                <a:lnTo>
                  <a:pt x="482" y="150"/>
                </a:lnTo>
                <a:lnTo>
                  <a:pt x="418" y="148"/>
                </a:lnTo>
                <a:lnTo>
                  <a:pt x="360" y="144"/>
                </a:lnTo>
                <a:lnTo>
                  <a:pt x="306" y="140"/>
                </a:lnTo>
                <a:lnTo>
                  <a:pt x="257" y="134"/>
                </a:lnTo>
                <a:lnTo>
                  <a:pt x="212" y="128"/>
                </a:lnTo>
                <a:lnTo>
                  <a:pt x="172" y="123"/>
                </a:lnTo>
                <a:lnTo>
                  <a:pt x="135" y="116"/>
                </a:lnTo>
                <a:lnTo>
                  <a:pt x="77" y="103"/>
                </a:lnTo>
                <a:lnTo>
                  <a:pt x="34" y="91"/>
                </a:lnTo>
                <a:lnTo>
                  <a:pt x="8" y="83"/>
                </a:lnTo>
                <a:lnTo>
                  <a:pt x="0" y="80"/>
                </a:lnTo>
                <a:lnTo>
                  <a:pt x="0" y="80"/>
                </a:lnTo>
                <a:close/>
              </a:path>
            </a:pathLst>
          </a:custGeom>
          <a:gradFill flip="none" rotWithShape="1">
            <a:gsLst>
              <a:gs pos="0">
                <a:schemeClr val="accent1">
                  <a:lumMod val="40000"/>
                  <a:lumOff val="60000"/>
                </a:schemeClr>
              </a:gs>
              <a:gs pos="100000">
                <a:schemeClr val="accent1"/>
              </a:gs>
            </a:gsLst>
            <a:path path="circle">
              <a:fillToRect l="100000" b="100000"/>
            </a:path>
            <a:tileRect t="-100000" r="-100000"/>
          </a:gradFill>
          <a:ln w="1270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armonyOS Sans SC"/>
              <a:cs typeface="+mn-cs"/>
            </a:endParaRPr>
          </a:p>
        </p:txBody>
      </p:sp>
      <p:sp>
        <p:nvSpPr>
          <p:cNvPr id="10" name="Freeform 38">
            <a:extLst>
              <a:ext uri="{FF2B5EF4-FFF2-40B4-BE49-F238E27FC236}">
                <a16:creationId xmlns:a16="http://schemas.microsoft.com/office/drawing/2014/main" id="{9770B29E-3616-4A01-A9A2-374908C9C5FD}"/>
              </a:ext>
            </a:extLst>
          </p:cNvPr>
          <p:cNvSpPr>
            <a:spLocks/>
          </p:cNvSpPr>
          <p:nvPr/>
        </p:nvSpPr>
        <p:spPr bwMode="auto">
          <a:xfrm>
            <a:off x="4823589" y="3704467"/>
            <a:ext cx="2538791" cy="868375"/>
          </a:xfrm>
          <a:custGeom>
            <a:avLst/>
            <a:gdLst>
              <a:gd name="T0" fmla="*/ 1441 w 1683"/>
              <a:gd name="T1" fmla="*/ 81 h 578"/>
              <a:gd name="T2" fmla="*/ 1441 w 1683"/>
              <a:gd name="T3" fmla="*/ 81 h 578"/>
              <a:gd name="T4" fmla="*/ 1434 w 1683"/>
              <a:gd name="T5" fmla="*/ 78 h 578"/>
              <a:gd name="T6" fmla="*/ 1410 w 1683"/>
              <a:gd name="T7" fmla="*/ 68 h 578"/>
              <a:gd name="T8" fmla="*/ 1370 w 1683"/>
              <a:gd name="T9" fmla="*/ 55 h 578"/>
              <a:gd name="T10" fmla="*/ 1343 w 1683"/>
              <a:gd name="T11" fmla="*/ 48 h 578"/>
              <a:gd name="T12" fmla="*/ 1310 w 1683"/>
              <a:gd name="T13" fmla="*/ 40 h 578"/>
              <a:gd name="T14" fmla="*/ 1274 w 1683"/>
              <a:gd name="T15" fmla="*/ 33 h 578"/>
              <a:gd name="T16" fmla="*/ 1231 w 1683"/>
              <a:gd name="T17" fmla="*/ 26 h 578"/>
              <a:gd name="T18" fmla="*/ 1183 w 1683"/>
              <a:gd name="T19" fmla="*/ 19 h 578"/>
              <a:gd name="T20" fmla="*/ 1128 w 1683"/>
              <a:gd name="T21" fmla="*/ 13 h 578"/>
              <a:gd name="T22" fmla="*/ 1069 w 1683"/>
              <a:gd name="T23" fmla="*/ 7 h 578"/>
              <a:gd name="T24" fmla="*/ 1003 w 1683"/>
              <a:gd name="T25" fmla="*/ 3 h 578"/>
              <a:gd name="T26" fmla="*/ 931 w 1683"/>
              <a:gd name="T27" fmla="*/ 1 h 578"/>
              <a:gd name="T28" fmla="*/ 851 w 1683"/>
              <a:gd name="T29" fmla="*/ 0 h 578"/>
              <a:gd name="T30" fmla="*/ 851 w 1683"/>
              <a:gd name="T31" fmla="*/ 0 h 578"/>
              <a:gd name="T32" fmla="*/ 773 w 1683"/>
              <a:gd name="T33" fmla="*/ 0 h 578"/>
              <a:gd name="T34" fmla="*/ 701 w 1683"/>
              <a:gd name="T35" fmla="*/ 3 h 578"/>
              <a:gd name="T36" fmla="*/ 634 w 1683"/>
              <a:gd name="T37" fmla="*/ 6 h 578"/>
              <a:gd name="T38" fmla="*/ 573 w 1683"/>
              <a:gd name="T39" fmla="*/ 9 h 578"/>
              <a:gd name="T40" fmla="*/ 519 w 1683"/>
              <a:gd name="T41" fmla="*/ 13 h 578"/>
              <a:gd name="T42" fmla="*/ 469 w 1683"/>
              <a:gd name="T43" fmla="*/ 19 h 578"/>
              <a:gd name="T44" fmla="*/ 425 w 1683"/>
              <a:gd name="T45" fmla="*/ 23 h 578"/>
              <a:gd name="T46" fmla="*/ 386 w 1683"/>
              <a:gd name="T47" fmla="*/ 28 h 578"/>
              <a:gd name="T48" fmla="*/ 325 w 1683"/>
              <a:gd name="T49" fmla="*/ 38 h 578"/>
              <a:gd name="T50" fmla="*/ 282 w 1683"/>
              <a:gd name="T51" fmla="*/ 47 h 578"/>
              <a:gd name="T52" fmla="*/ 258 w 1683"/>
              <a:gd name="T53" fmla="*/ 54 h 578"/>
              <a:gd name="T54" fmla="*/ 250 w 1683"/>
              <a:gd name="T55" fmla="*/ 57 h 578"/>
              <a:gd name="T56" fmla="*/ 250 w 1683"/>
              <a:gd name="T57" fmla="*/ 57 h 578"/>
              <a:gd name="T58" fmla="*/ 0 w 1683"/>
              <a:gd name="T59" fmla="*/ 578 h 578"/>
              <a:gd name="T60" fmla="*/ 1683 w 1683"/>
              <a:gd name="T61" fmla="*/ 578 h 578"/>
              <a:gd name="T62" fmla="*/ 1441 w 1683"/>
              <a:gd name="T63" fmla="*/ 81 h 5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683" h="578">
                <a:moveTo>
                  <a:pt x="1441" y="81"/>
                </a:moveTo>
                <a:lnTo>
                  <a:pt x="1441" y="81"/>
                </a:lnTo>
                <a:lnTo>
                  <a:pt x="1434" y="78"/>
                </a:lnTo>
                <a:lnTo>
                  <a:pt x="1410" y="68"/>
                </a:lnTo>
                <a:lnTo>
                  <a:pt x="1370" y="55"/>
                </a:lnTo>
                <a:lnTo>
                  <a:pt x="1343" y="48"/>
                </a:lnTo>
                <a:lnTo>
                  <a:pt x="1310" y="40"/>
                </a:lnTo>
                <a:lnTo>
                  <a:pt x="1274" y="33"/>
                </a:lnTo>
                <a:lnTo>
                  <a:pt x="1231" y="26"/>
                </a:lnTo>
                <a:lnTo>
                  <a:pt x="1183" y="19"/>
                </a:lnTo>
                <a:lnTo>
                  <a:pt x="1128" y="13"/>
                </a:lnTo>
                <a:lnTo>
                  <a:pt x="1069" y="7"/>
                </a:lnTo>
                <a:lnTo>
                  <a:pt x="1003" y="3"/>
                </a:lnTo>
                <a:lnTo>
                  <a:pt x="931" y="1"/>
                </a:lnTo>
                <a:lnTo>
                  <a:pt x="851" y="0"/>
                </a:lnTo>
                <a:lnTo>
                  <a:pt x="851" y="0"/>
                </a:lnTo>
                <a:lnTo>
                  <a:pt x="773" y="0"/>
                </a:lnTo>
                <a:lnTo>
                  <a:pt x="701" y="3"/>
                </a:lnTo>
                <a:lnTo>
                  <a:pt x="634" y="6"/>
                </a:lnTo>
                <a:lnTo>
                  <a:pt x="573" y="9"/>
                </a:lnTo>
                <a:lnTo>
                  <a:pt x="519" y="13"/>
                </a:lnTo>
                <a:lnTo>
                  <a:pt x="469" y="19"/>
                </a:lnTo>
                <a:lnTo>
                  <a:pt x="425" y="23"/>
                </a:lnTo>
                <a:lnTo>
                  <a:pt x="386" y="28"/>
                </a:lnTo>
                <a:lnTo>
                  <a:pt x="325" y="38"/>
                </a:lnTo>
                <a:lnTo>
                  <a:pt x="282" y="47"/>
                </a:lnTo>
                <a:lnTo>
                  <a:pt x="258" y="54"/>
                </a:lnTo>
                <a:lnTo>
                  <a:pt x="250" y="57"/>
                </a:lnTo>
                <a:lnTo>
                  <a:pt x="250" y="57"/>
                </a:lnTo>
                <a:lnTo>
                  <a:pt x="0" y="578"/>
                </a:lnTo>
                <a:lnTo>
                  <a:pt x="1683" y="578"/>
                </a:lnTo>
                <a:lnTo>
                  <a:pt x="1441" y="81"/>
                </a:lnTo>
                <a:close/>
              </a:path>
            </a:pathLst>
          </a:custGeom>
          <a:gradFill flip="none" rotWithShape="1">
            <a:gsLst>
              <a:gs pos="73000">
                <a:schemeClr val="accent1"/>
              </a:gs>
              <a:gs pos="31000">
                <a:schemeClr val="accent1">
                  <a:lumMod val="60000"/>
                  <a:lumOff val="40000"/>
                </a:schemeClr>
              </a:gs>
              <a:gs pos="0">
                <a:schemeClr val="accent1">
                  <a:lumMod val="40000"/>
                  <a:lumOff val="60000"/>
                </a:schemeClr>
              </a:gs>
            </a:gsLst>
            <a:lin ang="0" scaled="0"/>
            <a:tileRect/>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22222"/>
              </a:solidFill>
              <a:effectLst/>
              <a:uLnTx/>
              <a:uFillTx/>
              <a:latin typeface="Inter"/>
              <a:cs typeface="+mn-cs"/>
            </a:endParaRPr>
          </a:p>
        </p:txBody>
      </p:sp>
      <p:sp>
        <p:nvSpPr>
          <p:cNvPr id="11" name="Freeform 39">
            <a:extLst>
              <a:ext uri="{FF2B5EF4-FFF2-40B4-BE49-F238E27FC236}">
                <a16:creationId xmlns:a16="http://schemas.microsoft.com/office/drawing/2014/main" id="{D2AA656F-4368-4741-A2B6-F7A1C915F864}"/>
              </a:ext>
            </a:extLst>
          </p:cNvPr>
          <p:cNvSpPr>
            <a:spLocks/>
          </p:cNvSpPr>
          <p:nvPr/>
        </p:nvSpPr>
        <p:spPr bwMode="auto">
          <a:xfrm>
            <a:off x="4962288" y="3725575"/>
            <a:ext cx="603038" cy="847270"/>
          </a:xfrm>
          <a:custGeom>
            <a:avLst/>
            <a:gdLst>
              <a:gd name="T0" fmla="*/ 0 w 399"/>
              <a:gd name="T1" fmla="*/ 562 h 562"/>
              <a:gd name="T2" fmla="*/ 234 w 399"/>
              <a:gd name="T3" fmla="*/ 562 h 562"/>
              <a:gd name="T4" fmla="*/ 399 w 399"/>
              <a:gd name="T5" fmla="*/ 0 h 562"/>
              <a:gd name="T6" fmla="*/ 399 w 399"/>
              <a:gd name="T7" fmla="*/ 0 h 562"/>
              <a:gd name="T8" fmla="*/ 346 w 399"/>
              <a:gd name="T9" fmla="*/ 5 h 562"/>
              <a:gd name="T10" fmla="*/ 301 w 399"/>
              <a:gd name="T11" fmla="*/ 11 h 562"/>
              <a:gd name="T12" fmla="*/ 263 w 399"/>
              <a:gd name="T13" fmla="*/ 18 h 562"/>
              <a:gd name="T14" fmla="*/ 230 w 399"/>
              <a:gd name="T15" fmla="*/ 24 h 562"/>
              <a:gd name="T16" fmla="*/ 0 w 399"/>
              <a:gd name="T17" fmla="*/ 562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9" h="562">
                <a:moveTo>
                  <a:pt x="0" y="562"/>
                </a:moveTo>
                <a:lnTo>
                  <a:pt x="234" y="562"/>
                </a:lnTo>
                <a:lnTo>
                  <a:pt x="399" y="0"/>
                </a:lnTo>
                <a:lnTo>
                  <a:pt x="399" y="0"/>
                </a:lnTo>
                <a:lnTo>
                  <a:pt x="346" y="5"/>
                </a:lnTo>
                <a:lnTo>
                  <a:pt x="301" y="11"/>
                </a:lnTo>
                <a:lnTo>
                  <a:pt x="263" y="18"/>
                </a:lnTo>
                <a:lnTo>
                  <a:pt x="230" y="24"/>
                </a:lnTo>
                <a:lnTo>
                  <a:pt x="0" y="562"/>
                </a:lnTo>
                <a:close/>
              </a:path>
            </a:pathLst>
          </a:custGeom>
          <a:solidFill>
            <a:schemeClr val="bg1">
              <a:alpha val="2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armonyOS Sans SC"/>
              <a:cs typeface="+mn-cs"/>
            </a:endParaRPr>
          </a:p>
        </p:txBody>
      </p:sp>
      <p:sp>
        <p:nvSpPr>
          <p:cNvPr id="12" name="Freeform 40">
            <a:extLst>
              <a:ext uri="{FF2B5EF4-FFF2-40B4-BE49-F238E27FC236}">
                <a16:creationId xmlns:a16="http://schemas.microsoft.com/office/drawing/2014/main" id="{183723AD-B38E-40BE-A03B-C440AC6C9F34}"/>
              </a:ext>
            </a:extLst>
          </p:cNvPr>
          <p:cNvSpPr>
            <a:spLocks/>
          </p:cNvSpPr>
          <p:nvPr/>
        </p:nvSpPr>
        <p:spPr bwMode="auto">
          <a:xfrm>
            <a:off x="4823589" y="4476356"/>
            <a:ext cx="2538791" cy="223124"/>
          </a:xfrm>
          <a:custGeom>
            <a:avLst/>
            <a:gdLst>
              <a:gd name="T0" fmla="*/ 0 w 1683"/>
              <a:gd name="T1" fmla="*/ 66 h 148"/>
              <a:gd name="T2" fmla="*/ 0 w 1683"/>
              <a:gd name="T3" fmla="*/ 66 h 148"/>
              <a:gd name="T4" fmla="*/ 12 w 1683"/>
              <a:gd name="T5" fmla="*/ 63 h 148"/>
              <a:gd name="T6" fmla="*/ 51 w 1683"/>
              <a:gd name="T7" fmla="*/ 56 h 148"/>
              <a:gd name="T8" fmla="*/ 116 w 1683"/>
              <a:gd name="T9" fmla="*/ 44 h 148"/>
              <a:gd name="T10" fmla="*/ 206 w 1683"/>
              <a:gd name="T11" fmla="*/ 33 h 148"/>
              <a:gd name="T12" fmla="*/ 260 w 1683"/>
              <a:gd name="T13" fmla="*/ 27 h 148"/>
              <a:gd name="T14" fmla="*/ 319 w 1683"/>
              <a:gd name="T15" fmla="*/ 21 h 148"/>
              <a:gd name="T16" fmla="*/ 386 w 1683"/>
              <a:gd name="T17" fmla="*/ 16 h 148"/>
              <a:gd name="T18" fmla="*/ 459 w 1683"/>
              <a:gd name="T19" fmla="*/ 10 h 148"/>
              <a:gd name="T20" fmla="*/ 538 w 1683"/>
              <a:gd name="T21" fmla="*/ 6 h 148"/>
              <a:gd name="T22" fmla="*/ 624 w 1683"/>
              <a:gd name="T23" fmla="*/ 3 h 148"/>
              <a:gd name="T24" fmla="*/ 713 w 1683"/>
              <a:gd name="T25" fmla="*/ 2 h 148"/>
              <a:gd name="T26" fmla="*/ 810 w 1683"/>
              <a:gd name="T27" fmla="*/ 0 h 148"/>
              <a:gd name="T28" fmla="*/ 810 w 1683"/>
              <a:gd name="T29" fmla="*/ 0 h 148"/>
              <a:gd name="T30" fmla="*/ 908 w 1683"/>
              <a:gd name="T31" fmla="*/ 2 h 148"/>
              <a:gd name="T32" fmla="*/ 1001 w 1683"/>
              <a:gd name="T33" fmla="*/ 3 h 148"/>
              <a:gd name="T34" fmla="*/ 1089 w 1683"/>
              <a:gd name="T35" fmla="*/ 6 h 148"/>
              <a:gd name="T36" fmla="*/ 1171 w 1683"/>
              <a:gd name="T37" fmla="*/ 10 h 148"/>
              <a:gd name="T38" fmla="*/ 1249 w 1683"/>
              <a:gd name="T39" fmla="*/ 16 h 148"/>
              <a:gd name="T40" fmla="*/ 1320 w 1683"/>
              <a:gd name="T41" fmla="*/ 21 h 148"/>
              <a:gd name="T42" fmla="*/ 1447 w 1683"/>
              <a:gd name="T43" fmla="*/ 33 h 148"/>
              <a:gd name="T44" fmla="*/ 1548 w 1683"/>
              <a:gd name="T45" fmla="*/ 44 h 148"/>
              <a:gd name="T46" fmla="*/ 1622 w 1683"/>
              <a:gd name="T47" fmla="*/ 56 h 148"/>
              <a:gd name="T48" fmla="*/ 1683 w 1683"/>
              <a:gd name="T49" fmla="*/ 66 h 148"/>
              <a:gd name="T50" fmla="*/ 1683 w 1683"/>
              <a:gd name="T51" fmla="*/ 66 h 148"/>
              <a:gd name="T52" fmla="*/ 1608 w 1683"/>
              <a:gd name="T53" fmla="*/ 78 h 148"/>
              <a:gd name="T54" fmla="*/ 1522 w 1683"/>
              <a:gd name="T55" fmla="*/ 91 h 148"/>
              <a:gd name="T56" fmla="*/ 1411 w 1683"/>
              <a:gd name="T57" fmla="*/ 107 h 148"/>
              <a:gd name="T58" fmla="*/ 1279 w 1683"/>
              <a:gd name="T59" fmla="*/ 121 h 148"/>
              <a:gd name="T60" fmla="*/ 1208 w 1683"/>
              <a:gd name="T61" fmla="*/ 128 h 148"/>
              <a:gd name="T62" fmla="*/ 1133 w 1683"/>
              <a:gd name="T63" fmla="*/ 135 h 148"/>
              <a:gd name="T64" fmla="*/ 1055 w 1683"/>
              <a:gd name="T65" fmla="*/ 139 h 148"/>
              <a:gd name="T66" fmla="*/ 975 w 1683"/>
              <a:gd name="T67" fmla="*/ 144 h 148"/>
              <a:gd name="T68" fmla="*/ 894 w 1683"/>
              <a:gd name="T69" fmla="*/ 147 h 148"/>
              <a:gd name="T70" fmla="*/ 813 w 1683"/>
              <a:gd name="T71" fmla="*/ 148 h 148"/>
              <a:gd name="T72" fmla="*/ 813 w 1683"/>
              <a:gd name="T73" fmla="*/ 148 h 148"/>
              <a:gd name="T74" fmla="*/ 732 w 1683"/>
              <a:gd name="T75" fmla="*/ 147 h 148"/>
              <a:gd name="T76" fmla="*/ 652 w 1683"/>
              <a:gd name="T77" fmla="*/ 144 h 148"/>
              <a:gd name="T78" fmla="*/ 575 w 1683"/>
              <a:gd name="T79" fmla="*/ 139 h 148"/>
              <a:gd name="T80" fmla="*/ 501 w 1683"/>
              <a:gd name="T81" fmla="*/ 135 h 148"/>
              <a:gd name="T82" fmla="*/ 430 w 1683"/>
              <a:gd name="T83" fmla="*/ 128 h 148"/>
              <a:gd name="T84" fmla="*/ 364 w 1683"/>
              <a:gd name="T85" fmla="*/ 121 h 148"/>
              <a:gd name="T86" fmla="*/ 301 w 1683"/>
              <a:gd name="T87" fmla="*/ 114 h 148"/>
              <a:gd name="T88" fmla="*/ 243 w 1683"/>
              <a:gd name="T89" fmla="*/ 107 h 148"/>
              <a:gd name="T90" fmla="*/ 142 w 1683"/>
              <a:gd name="T91" fmla="*/ 91 h 148"/>
              <a:gd name="T92" fmla="*/ 65 w 1683"/>
              <a:gd name="T93" fmla="*/ 78 h 148"/>
              <a:gd name="T94" fmla="*/ 0 w 1683"/>
              <a:gd name="T95" fmla="*/ 66 h 148"/>
              <a:gd name="T96" fmla="*/ 0 w 1683"/>
              <a:gd name="T97" fmla="*/ 66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83" h="148">
                <a:moveTo>
                  <a:pt x="0" y="66"/>
                </a:moveTo>
                <a:lnTo>
                  <a:pt x="0" y="66"/>
                </a:lnTo>
                <a:lnTo>
                  <a:pt x="12" y="63"/>
                </a:lnTo>
                <a:lnTo>
                  <a:pt x="51" y="56"/>
                </a:lnTo>
                <a:lnTo>
                  <a:pt x="116" y="44"/>
                </a:lnTo>
                <a:lnTo>
                  <a:pt x="206" y="33"/>
                </a:lnTo>
                <a:lnTo>
                  <a:pt x="260" y="27"/>
                </a:lnTo>
                <a:lnTo>
                  <a:pt x="319" y="21"/>
                </a:lnTo>
                <a:lnTo>
                  <a:pt x="386" y="16"/>
                </a:lnTo>
                <a:lnTo>
                  <a:pt x="459" y="10"/>
                </a:lnTo>
                <a:lnTo>
                  <a:pt x="538" y="6"/>
                </a:lnTo>
                <a:lnTo>
                  <a:pt x="624" y="3"/>
                </a:lnTo>
                <a:lnTo>
                  <a:pt x="713" y="2"/>
                </a:lnTo>
                <a:lnTo>
                  <a:pt x="810" y="0"/>
                </a:lnTo>
                <a:lnTo>
                  <a:pt x="810" y="0"/>
                </a:lnTo>
                <a:lnTo>
                  <a:pt x="908" y="2"/>
                </a:lnTo>
                <a:lnTo>
                  <a:pt x="1001" y="3"/>
                </a:lnTo>
                <a:lnTo>
                  <a:pt x="1089" y="6"/>
                </a:lnTo>
                <a:lnTo>
                  <a:pt x="1171" y="10"/>
                </a:lnTo>
                <a:lnTo>
                  <a:pt x="1249" y="16"/>
                </a:lnTo>
                <a:lnTo>
                  <a:pt x="1320" y="21"/>
                </a:lnTo>
                <a:lnTo>
                  <a:pt x="1447" y="33"/>
                </a:lnTo>
                <a:lnTo>
                  <a:pt x="1548" y="44"/>
                </a:lnTo>
                <a:lnTo>
                  <a:pt x="1622" y="56"/>
                </a:lnTo>
                <a:lnTo>
                  <a:pt x="1683" y="66"/>
                </a:lnTo>
                <a:lnTo>
                  <a:pt x="1683" y="66"/>
                </a:lnTo>
                <a:lnTo>
                  <a:pt x="1608" y="78"/>
                </a:lnTo>
                <a:lnTo>
                  <a:pt x="1522" y="91"/>
                </a:lnTo>
                <a:lnTo>
                  <a:pt x="1411" y="107"/>
                </a:lnTo>
                <a:lnTo>
                  <a:pt x="1279" y="121"/>
                </a:lnTo>
                <a:lnTo>
                  <a:pt x="1208" y="128"/>
                </a:lnTo>
                <a:lnTo>
                  <a:pt x="1133" y="135"/>
                </a:lnTo>
                <a:lnTo>
                  <a:pt x="1055" y="139"/>
                </a:lnTo>
                <a:lnTo>
                  <a:pt x="975" y="144"/>
                </a:lnTo>
                <a:lnTo>
                  <a:pt x="894" y="147"/>
                </a:lnTo>
                <a:lnTo>
                  <a:pt x="813" y="148"/>
                </a:lnTo>
                <a:lnTo>
                  <a:pt x="813" y="148"/>
                </a:lnTo>
                <a:lnTo>
                  <a:pt x="732" y="147"/>
                </a:lnTo>
                <a:lnTo>
                  <a:pt x="652" y="144"/>
                </a:lnTo>
                <a:lnTo>
                  <a:pt x="575" y="139"/>
                </a:lnTo>
                <a:lnTo>
                  <a:pt x="501" y="135"/>
                </a:lnTo>
                <a:lnTo>
                  <a:pt x="430" y="128"/>
                </a:lnTo>
                <a:lnTo>
                  <a:pt x="364" y="121"/>
                </a:lnTo>
                <a:lnTo>
                  <a:pt x="301" y="114"/>
                </a:lnTo>
                <a:lnTo>
                  <a:pt x="243" y="107"/>
                </a:lnTo>
                <a:lnTo>
                  <a:pt x="142" y="91"/>
                </a:lnTo>
                <a:lnTo>
                  <a:pt x="65" y="78"/>
                </a:lnTo>
                <a:lnTo>
                  <a:pt x="0" y="66"/>
                </a:lnTo>
                <a:lnTo>
                  <a:pt x="0" y="66"/>
                </a:lnTo>
                <a:close/>
              </a:path>
            </a:pathLst>
          </a:custGeom>
          <a:gradFill flip="none" rotWithShape="1">
            <a:gsLst>
              <a:gs pos="0">
                <a:schemeClr val="accent1">
                  <a:lumMod val="40000"/>
                  <a:lumOff val="60000"/>
                </a:schemeClr>
              </a:gs>
              <a:gs pos="100000">
                <a:schemeClr val="accent1"/>
              </a:gs>
            </a:gsLst>
            <a:path path="circle">
              <a:fillToRect l="100000" b="100000"/>
            </a:path>
            <a:tileRect t="-100000" r="-100000"/>
          </a:gradFill>
          <a:ln w="1270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armonyOS Sans SC"/>
              <a:cs typeface="+mn-cs"/>
            </a:endParaRPr>
          </a:p>
        </p:txBody>
      </p:sp>
      <p:sp>
        <p:nvSpPr>
          <p:cNvPr id="13" name="Freeform 41">
            <a:extLst>
              <a:ext uri="{FF2B5EF4-FFF2-40B4-BE49-F238E27FC236}">
                <a16:creationId xmlns:a16="http://schemas.microsoft.com/office/drawing/2014/main" id="{CE6F4B97-C0B0-45C7-AF82-63BD013EFE87}"/>
              </a:ext>
            </a:extLst>
          </p:cNvPr>
          <p:cNvSpPr>
            <a:spLocks/>
          </p:cNvSpPr>
          <p:nvPr/>
        </p:nvSpPr>
        <p:spPr bwMode="auto">
          <a:xfrm>
            <a:off x="4365280" y="5320610"/>
            <a:ext cx="3461440" cy="346748"/>
          </a:xfrm>
          <a:custGeom>
            <a:avLst/>
            <a:gdLst>
              <a:gd name="T0" fmla="*/ 0 w 2295"/>
              <a:gd name="T1" fmla="*/ 133 h 230"/>
              <a:gd name="T2" fmla="*/ 0 w 2295"/>
              <a:gd name="T3" fmla="*/ 133 h 230"/>
              <a:gd name="T4" fmla="*/ 17 w 2295"/>
              <a:gd name="T5" fmla="*/ 128 h 230"/>
              <a:gd name="T6" fmla="*/ 70 w 2295"/>
              <a:gd name="T7" fmla="*/ 113 h 230"/>
              <a:gd name="T8" fmla="*/ 110 w 2295"/>
              <a:gd name="T9" fmla="*/ 102 h 230"/>
              <a:gd name="T10" fmla="*/ 157 w 2295"/>
              <a:gd name="T11" fmla="*/ 91 h 230"/>
              <a:gd name="T12" fmla="*/ 214 w 2295"/>
              <a:gd name="T13" fmla="*/ 79 h 230"/>
              <a:gd name="T14" fmla="*/ 278 w 2295"/>
              <a:gd name="T15" fmla="*/ 66 h 230"/>
              <a:gd name="T16" fmla="*/ 351 w 2295"/>
              <a:gd name="T17" fmla="*/ 54 h 230"/>
              <a:gd name="T18" fmla="*/ 433 w 2295"/>
              <a:gd name="T19" fmla="*/ 42 h 230"/>
              <a:gd name="T20" fmla="*/ 524 w 2295"/>
              <a:gd name="T21" fmla="*/ 31 h 230"/>
              <a:gd name="T22" fmla="*/ 622 w 2295"/>
              <a:gd name="T23" fmla="*/ 21 h 230"/>
              <a:gd name="T24" fmla="*/ 730 w 2295"/>
              <a:gd name="T25" fmla="*/ 12 h 230"/>
              <a:gd name="T26" fmla="*/ 845 w 2295"/>
              <a:gd name="T27" fmla="*/ 5 h 230"/>
              <a:gd name="T28" fmla="*/ 969 w 2295"/>
              <a:gd name="T29" fmla="*/ 1 h 230"/>
              <a:gd name="T30" fmla="*/ 1101 w 2295"/>
              <a:gd name="T31" fmla="*/ 0 h 230"/>
              <a:gd name="T32" fmla="*/ 1101 w 2295"/>
              <a:gd name="T33" fmla="*/ 0 h 230"/>
              <a:gd name="T34" fmla="*/ 1234 w 2295"/>
              <a:gd name="T35" fmla="*/ 1 h 230"/>
              <a:gd name="T36" fmla="*/ 1361 w 2295"/>
              <a:gd name="T37" fmla="*/ 5 h 230"/>
              <a:gd name="T38" fmla="*/ 1480 w 2295"/>
              <a:gd name="T39" fmla="*/ 12 h 230"/>
              <a:gd name="T40" fmla="*/ 1594 w 2295"/>
              <a:gd name="T41" fmla="*/ 21 h 230"/>
              <a:gd name="T42" fmla="*/ 1699 w 2295"/>
              <a:gd name="T43" fmla="*/ 31 h 230"/>
              <a:gd name="T44" fmla="*/ 1797 w 2295"/>
              <a:gd name="T45" fmla="*/ 42 h 230"/>
              <a:gd name="T46" fmla="*/ 1888 w 2295"/>
              <a:gd name="T47" fmla="*/ 54 h 230"/>
              <a:gd name="T48" fmla="*/ 1971 w 2295"/>
              <a:gd name="T49" fmla="*/ 66 h 230"/>
              <a:gd name="T50" fmla="*/ 2043 w 2295"/>
              <a:gd name="T51" fmla="*/ 79 h 230"/>
              <a:gd name="T52" fmla="*/ 2109 w 2295"/>
              <a:gd name="T53" fmla="*/ 91 h 230"/>
              <a:gd name="T54" fmla="*/ 2164 w 2295"/>
              <a:gd name="T55" fmla="*/ 102 h 230"/>
              <a:gd name="T56" fmla="*/ 2210 w 2295"/>
              <a:gd name="T57" fmla="*/ 113 h 230"/>
              <a:gd name="T58" fmla="*/ 2274 w 2295"/>
              <a:gd name="T59" fmla="*/ 128 h 230"/>
              <a:gd name="T60" fmla="*/ 2295 w 2295"/>
              <a:gd name="T61" fmla="*/ 133 h 230"/>
              <a:gd name="T62" fmla="*/ 2295 w 2295"/>
              <a:gd name="T63" fmla="*/ 133 h 230"/>
              <a:gd name="T64" fmla="*/ 2271 w 2295"/>
              <a:gd name="T65" fmla="*/ 138 h 230"/>
              <a:gd name="T66" fmla="*/ 2203 w 2295"/>
              <a:gd name="T67" fmla="*/ 149 h 230"/>
              <a:gd name="T68" fmla="*/ 2096 w 2295"/>
              <a:gd name="T69" fmla="*/ 165 h 230"/>
              <a:gd name="T70" fmla="*/ 1952 w 2295"/>
              <a:gd name="T71" fmla="*/ 182 h 230"/>
              <a:gd name="T72" fmla="*/ 1869 w 2295"/>
              <a:gd name="T73" fmla="*/ 192 h 230"/>
              <a:gd name="T74" fmla="*/ 1778 w 2295"/>
              <a:gd name="T75" fmla="*/ 200 h 230"/>
              <a:gd name="T76" fmla="*/ 1679 w 2295"/>
              <a:gd name="T77" fmla="*/ 207 h 230"/>
              <a:gd name="T78" fmla="*/ 1576 w 2295"/>
              <a:gd name="T79" fmla="*/ 214 h 230"/>
              <a:gd name="T80" fmla="*/ 1465 w 2295"/>
              <a:gd name="T81" fmla="*/ 221 h 230"/>
              <a:gd name="T82" fmla="*/ 1351 w 2295"/>
              <a:gd name="T83" fmla="*/ 226 h 230"/>
              <a:gd name="T84" fmla="*/ 1230 w 2295"/>
              <a:gd name="T85" fmla="*/ 229 h 230"/>
              <a:gd name="T86" fmla="*/ 1106 w 2295"/>
              <a:gd name="T87" fmla="*/ 230 h 230"/>
              <a:gd name="T88" fmla="*/ 1106 w 2295"/>
              <a:gd name="T89" fmla="*/ 230 h 230"/>
              <a:gd name="T90" fmla="*/ 984 w 2295"/>
              <a:gd name="T91" fmla="*/ 229 h 230"/>
              <a:gd name="T92" fmla="*/ 868 w 2295"/>
              <a:gd name="T93" fmla="*/ 226 h 230"/>
              <a:gd name="T94" fmla="*/ 757 w 2295"/>
              <a:gd name="T95" fmla="*/ 221 h 230"/>
              <a:gd name="T96" fmla="*/ 651 w 2295"/>
              <a:gd name="T97" fmla="*/ 214 h 230"/>
              <a:gd name="T98" fmla="*/ 553 w 2295"/>
              <a:gd name="T99" fmla="*/ 207 h 230"/>
              <a:gd name="T100" fmla="*/ 462 w 2295"/>
              <a:gd name="T101" fmla="*/ 200 h 230"/>
              <a:gd name="T102" fmla="*/ 378 w 2295"/>
              <a:gd name="T103" fmla="*/ 192 h 230"/>
              <a:gd name="T104" fmla="*/ 303 w 2295"/>
              <a:gd name="T105" fmla="*/ 182 h 230"/>
              <a:gd name="T106" fmla="*/ 235 w 2295"/>
              <a:gd name="T107" fmla="*/ 173 h 230"/>
              <a:gd name="T108" fmla="*/ 174 w 2295"/>
              <a:gd name="T109" fmla="*/ 165 h 230"/>
              <a:gd name="T110" fmla="*/ 80 w 2295"/>
              <a:gd name="T111" fmla="*/ 149 h 230"/>
              <a:gd name="T112" fmla="*/ 20 w 2295"/>
              <a:gd name="T113" fmla="*/ 138 h 230"/>
              <a:gd name="T114" fmla="*/ 0 w 2295"/>
              <a:gd name="T115" fmla="*/ 133 h 230"/>
              <a:gd name="T116" fmla="*/ 0 w 2295"/>
              <a:gd name="T117" fmla="*/ 133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295" h="230">
                <a:moveTo>
                  <a:pt x="0" y="133"/>
                </a:moveTo>
                <a:lnTo>
                  <a:pt x="0" y="133"/>
                </a:lnTo>
                <a:lnTo>
                  <a:pt x="17" y="128"/>
                </a:lnTo>
                <a:lnTo>
                  <a:pt x="70" y="113"/>
                </a:lnTo>
                <a:lnTo>
                  <a:pt x="110" y="102"/>
                </a:lnTo>
                <a:lnTo>
                  <a:pt x="157" y="91"/>
                </a:lnTo>
                <a:lnTo>
                  <a:pt x="214" y="79"/>
                </a:lnTo>
                <a:lnTo>
                  <a:pt x="278" y="66"/>
                </a:lnTo>
                <a:lnTo>
                  <a:pt x="351" y="54"/>
                </a:lnTo>
                <a:lnTo>
                  <a:pt x="433" y="42"/>
                </a:lnTo>
                <a:lnTo>
                  <a:pt x="524" y="31"/>
                </a:lnTo>
                <a:lnTo>
                  <a:pt x="622" y="21"/>
                </a:lnTo>
                <a:lnTo>
                  <a:pt x="730" y="12"/>
                </a:lnTo>
                <a:lnTo>
                  <a:pt x="845" y="5"/>
                </a:lnTo>
                <a:lnTo>
                  <a:pt x="969" y="1"/>
                </a:lnTo>
                <a:lnTo>
                  <a:pt x="1101" y="0"/>
                </a:lnTo>
                <a:lnTo>
                  <a:pt x="1101" y="0"/>
                </a:lnTo>
                <a:lnTo>
                  <a:pt x="1234" y="1"/>
                </a:lnTo>
                <a:lnTo>
                  <a:pt x="1361" y="5"/>
                </a:lnTo>
                <a:lnTo>
                  <a:pt x="1480" y="12"/>
                </a:lnTo>
                <a:lnTo>
                  <a:pt x="1594" y="21"/>
                </a:lnTo>
                <a:lnTo>
                  <a:pt x="1699" y="31"/>
                </a:lnTo>
                <a:lnTo>
                  <a:pt x="1797" y="42"/>
                </a:lnTo>
                <a:lnTo>
                  <a:pt x="1888" y="54"/>
                </a:lnTo>
                <a:lnTo>
                  <a:pt x="1971" y="66"/>
                </a:lnTo>
                <a:lnTo>
                  <a:pt x="2043" y="79"/>
                </a:lnTo>
                <a:lnTo>
                  <a:pt x="2109" y="91"/>
                </a:lnTo>
                <a:lnTo>
                  <a:pt x="2164" y="102"/>
                </a:lnTo>
                <a:lnTo>
                  <a:pt x="2210" y="113"/>
                </a:lnTo>
                <a:lnTo>
                  <a:pt x="2274" y="128"/>
                </a:lnTo>
                <a:lnTo>
                  <a:pt x="2295" y="133"/>
                </a:lnTo>
                <a:lnTo>
                  <a:pt x="2295" y="133"/>
                </a:lnTo>
                <a:lnTo>
                  <a:pt x="2271" y="138"/>
                </a:lnTo>
                <a:lnTo>
                  <a:pt x="2203" y="149"/>
                </a:lnTo>
                <a:lnTo>
                  <a:pt x="2096" y="165"/>
                </a:lnTo>
                <a:lnTo>
                  <a:pt x="1952" y="182"/>
                </a:lnTo>
                <a:lnTo>
                  <a:pt x="1869" y="192"/>
                </a:lnTo>
                <a:lnTo>
                  <a:pt x="1778" y="200"/>
                </a:lnTo>
                <a:lnTo>
                  <a:pt x="1679" y="207"/>
                </a:lnTo>
                <a:lnTo>
                  <a:pt x="1576" y="214"/>
                </a:lnTo>
                <a:lnTo>
                  <a:pt x="1465" y="221"/>
                </a:lnTo>
                <a:lnTo>
                  <a:pt x="1351" y="226"/>
                </a:lnTo>
                <a:lnTo>
                  <a:pt x="1230" y="229"/>
                </a:lnTo>
                <a:lnTo>
                  <a:pt x="1106" y="230"/>
                </a:lnTo>
                <a:lnTo>
                  <a:pt x="1106" y="230"/>
                </a:lnTo>
                <a:lnTo>
                  <a:pt x="984" y="229"/>
                </a:lnTo>
                <a:lnTo>
                  <a:pt x="868" y="226"/>
                </a:lnTo>
                <a:lnTo>
                  <a:pt x="757" y="221"/>
                </a:lnTo>
                <a:lnTo>
                  <a:pt x="651" y="214"/>
                </a:lnTo>
                <a:lnTo>
                  <a:pt x="553" y="207"/>
                </a:lnTo>
                <a:lnTo>
                  <a:pt x="462" y="200"/>
                </a:lnTo>
                <a:lnTo>
                  <a:pt x="378" y="192"/>
                </a:lnTo>
                <a:lnTo>
                  <a:pt x="303" y="182"/>
                </a:lnTo>
                <a:lnTo>
                  <a:pt x="235" y="173"/>
                </a:lnTo>
                <a:lnTo>
                  <a:pt x="174" y="165"/>
                </a:lnTo>
                <a:lnTo>
                  <a:pt x="80" y="149"/>
                </a:lnTo>
                <a:lnTo>
                  <a:pt x="20" y="138"/>
                </a:lnTo>
                <a:lnTo>
                  <a:pt x="0" y="133"/>
                </a:lnTo>
                <a:lnTo>
                  <a:pt x="0" y="133"/>
                </a:lnTo>
                <a:close/>
              </a:path>
            </a:pathLst>
          </a:custGeom>
          <a:gradFill flip="none" rotWithShape="1">
            <a:gsLst>
              <a:gs pos="0">
                <a:schemeClr val="accent1">
                  <a:lumMod val="40000"/>
                  <a:lumOff val="60000"/>
                </a:schemeClr>
              </a:gs>
              <a:gs pos="100000">
                <a:schemeClr val="accent1"/>
              </a:gs>
            </a:gsLst>
            <a:path path="circle">
              <a:fillToRect l="100000" b="100000"/>
            </a:path>
            <a:tileRect t="-100000" r="-100000"/>
          </a:gradFill>
          <a:ln w="1270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armonyOS Sans SC"/>
              <a:cs typeface="+mn-cs"/>
            </a:endParaRPr>
          </a:p>
        </p:txBody>
      </p:sp>
      <p:sp>
        <p:nvSpPr>
          <p:cNvPr id="14" name="Line 42">
            <a:extLst>
              <a:ext uri="{FF2B5EF4-FFF2-40B4-BE49-F238E27FC236}">
                <a16:creationId xmlns:a16="http://schemas.microsoft.com/office/drawing/2014/main" id="{C316EB79-2AA8-49EA-8A2A-79EBE202A09C}"/>
              </a:ext>
            </a:extLst>
          </p:cNvPr>
          <p:cNvSpPr>
            <a:spLocks noChangeShapeType="1"/>
          </p:cNvSpPr>
          <p:nvPr/>
        </p:nvSpPr>
        <p:spPr bwMode="auto">
          <a:xfrm>
            <a:off x="4675844" y="4539676"/>
            <a:ext cx="0" cy="0"/>
          </a:xfrm>
          <a:prstGeom prst="line">
            <a:avLst/>
          </a:prstGeom>
          <a:noFill/>
          <a:ln w="4763">
            <a:solidFill>
              <a:srgbClr val="BA5E0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armonyOS Sans SC"/>
              <a:cs typeface="+mn-cs"/>
            </a:endParaRPr>
          </a:p>
        </p:txBody>
      </p:sp>
      <p:sp>
        <p:nvSpPr>
          <p:cNvPr id="15" name="Freeform 43">
            <a:extLst>
              <a:ext uri="{FF2B5EF4-FFF2-40B4-BE49-F238E27FC236}">
                <a16:creationId xmlns:a16="http://schemas.microsoft.com/office/drawing/2014/main" id="{278384B8-CBE9-441B-B944-135B1F8A75CE}"/>
              </a:ext>
            </a:extLst>
          </p:cNvPr>
          <p:cNvSpPr>
            <a:spLocks/>
          </p:cNvSpPr>
          <p:nvPr/>
        </p:nvSpPr>
        <p:spPr bwMode="auto">
          <a:xfrm>
            <a:off x="4365280" y="4624102"/>
            <a:ext cx="3461440" cy="898527"/>
          </a:xfrm>
          <a:custGeom>
            <a:avLst/>
            <a:gdLst>
              <a:gd name="T0" fmla="*/ 2049 w 2295"/>
              <a:gd name="T1" fmla="*/ 94 h 596"/>
              <a:gd name="T2" fmla="*/ 2049 w 2295"/>
              <a:gd name="T3" fmla="*/ 94 h 596"/>
              <a:gd name="T4" fmla="*/ 2035 w 2295"/>
              <a:gd name="T5" fmla="*/ 90 h 596"/>
              <a:gd name="T6" fmla="*/ 1988 w 2295"/>
              <a:gd name="T7" fmla="*/ 80 h 596"/>
              <a:gd name="T8" fmla="*/ 1914 w 2295"/>
              <a:gd name="T9" fmla="*/ 64 h 596"/>
              <a:gd name="T10" fmla="*/ 1866 w 2295"/>
              <a:gd name="T11" fmla="*/ 56 h 596"/>
              <a:gd name="T12" fmla="*/ 1812 w 2295"/>
              <a:gd name="T13" fmla="*/ 47 h 596"/>
              <a:gd name="T14" fmla="*/ 1749 w 2295"/>
              <a:gd name="T15" fmla="*/ 39 h 596"/>
              <a:gd name="T16" fmla="*/ 1681 w 2295"/>
              <a:gd name="T17" fmla="*/ 30 h 596"/>
              <a:gd name="T18" fmla="*/ 1607 w 2295"/>
              <a:gd name="T19" fmla="*/ 22 h 596"/>
              <a:gd name="T20" fmla="*/ 1526 w 2295"/>
              <a:gd name="T21" fmla="*/ 16 h 596"/>
              <a:gd name="T22" fmla="*/ 1438 w 2295"/>
              <a:gd name="T23" fmla="*/ 9 h 596"/>
              <a:gd name="T24" fmla="*/ 1345 w 2295"/>
              <a:gd name="T25" fmla="*/ 5 h 596"/>
              <a:gd name="T26" fmla="*/ 1246 w 2295"/>
              <a:gd name="T27" fmla="*/ 2 h 596"/>
              <a:gd name="T28" fmla="*/ 1141 w 2295"/>
              <a:gd name="T29" fmla="*/ 0 h 596"/>
              <a:gd name="T30" fmla="*/ 1141 w 2295"/>
              <a:gd name="T31" fmla="*/ 0 h 596"/>
              <a:gd name="T32" fmla="*/ 1037 w 2295"/>
              <a:gd name="T33" fmla="*/ 2 h 596"/>
              <a:gd name="T34" fmla="*/ 937 w 2295"/>
              <a:gd name="T35" fmla="*/ 5 h 596"/>
              <a:gd name="T36" fmla="*/ 845 w 2295"/>
              <a:gd name="T37" fmla="*/ 9 h 596"/>
              <a:gd name="T38" fmla="*/ 758 w 2295"/>
              <a:gd name="T39" fmla="*/ 16 h 596"/>
              <a:gd name="T40" fmla="*/ 678 w 2295"/>
              <a:gd name="T41" fmla="*/ 22 h 596"/>
              <a:gd name="T42" fmla="*/ 605 w 2295"/>
              <a:gd name="T43" fmla="*/ 30 h 596"/>
              <a:gd name="T44" fmla="*/ 538 w 2295"/>
              <a:gd name="T45" fmla="*/ 39 h 596"/>
              <a:gd name="T46" fmla="*/ 477 w 2295"/>
              <a:gd name="T47" fmla="*/ 47 h 596"/>
              <a:gd name="T48" fmla="*/ 423 w 2295"/>
              <a:gd name="T49" fmla="*/ 56 h 596"/>
              <a:gd name="T50" fmla="*/ 376 w 2295"/>
              <a:gd name="T51" fmla="*/ 64 h 596"/>
              <a:gd name="T52" fmla="*/ 302 w 2295"/>
              <a:gd name="T53" fmla="*/ 80 h 596"/>
              <a:gd name="T54" fmla="*/ 258 w 2295"/>
              <a:gd name="T55" fmla="*/ 90 h 596"/>
              <a:gd name="T56" fmla="*/ 243 w 2295"/>
              <a:gd name="T57" fmla="*/ 94 h 596"/>
              <a:gd name="T58" fmla="*/ 243 w 2295"/>
              <a:gd name="T59" fmla="*/ 94 h 596"/>
              <a:gd name="T60" fmla="*/ 0 w 2295"/>
              <a:gd name="T61" fmla="*/ 596 h 596"/>
              <a:gd name="T62" fmla="*/ 0 w 2295"/>
              <a:gd name="T63" fmla="*/ 596 h 596"/>
              <a:gd name="T64" fmla="*/ 90 w 2295"/>
              <a:gd name="T65" fmla="*/ 585 h 596"/>
              <a:gd name="T66" fmla="*/ 194 w 2295"/>
              <a:gd name="T67" fmla="*/ 572 h 596"/>
              <a:gd name="T68" fmla="*/ 332 w 2295"/>
              <a:gd name="T69" fmla="*/ 558 h 596"/>
              <a:gd name="T70" fmla="*/ 413 w 2295"/>
              <a:gd name="T71" fmla="*/ 551 h 596"/>
              <a:gd name="T72" fmla="*/ 501 w 2295"/>
              <a:gd name="T73" fmla="*/ 544 h 596"/>
              <a:gd name="T74" fmla="*/ 595 w 2295"/>
              <a:gd name="T75" fmla="*/ 538 h 596"/>
              <a:gd name="T76" fmla="*/ 694 w 2295"/>
              <a:gd name="T77" fmla="*/ 532 h 596"/>
              <a:gd name="T78" fmla="*/ 799 w 2295"/>
              <a:gd name="T79" fmla="*/ 527 h 596"/>
              <a:gd name="T80" fmla="*/ 909 w 2295"/>
              <a:gd name="T81" fmla="*/ 524 h 596"/>
              <a:gd name="T82" fmla="*/ 1024 w 2295"/>
              <a:gd name="T83" fmla="*/ 521 h 596"/>
              <a:gd name="T84" fmla="*/ 1141 w 2295"/>
              <a:gd name="T85" fmla="*/ 519 h 596"/>
              <a:gd name="T86" fmla="*/ 1141 w 2295"/>
              <a:gd name="T87" fmla="*/ 519 h 596"/>
              <a:gd name="T88" fmla="*/ 1259 w 2295"/>
              <a:gd name="T89" fmla="*/ 521 h 596"/>
              <a:gd name="T90" fmla="*/ 1374 w 2295"/>
              <a:gd name="T91" fmla="*/ 524 h 596"/>
              <a:gd name="T92" fmla="*/ 1485 w 2295"/>
              <a:gd name="T93" fmla="*/ 527 h 596"/>
              <a:gd name="T94" fmla="*/ 1590 w 2295"/>
              <a:gd name="T95" fmla="*/ 532 h 596"/>
              <a:gd name="T96" fmla="*/ 1691 w 2295"/>
              <a:gd name="T97" fmla="*/ 538 h 596"/>
              <a:gd name="T98" fmla="*/ 1786 w 2295"/>
              <a:gd name="T99" fmla="*/ 544 h 596"/>
              <a:gd name="T100" fmla="*/ 1957 w 2295"/>
              <a:gd name="T101" fmla="*/ 558 h 596"/>
              <a:gd name="T102" fmla="*/ 2098 w 2295"/>
              <a:gd name="T103" fmla="*/ 572 h 596"/>
              <a:gd name="T104" fmla="*/ 2204 w 2295"/>
              <a:gd name="T105" fmla="*/ 585 h 596"/>
              <a:gd name="T106" fmla="*/ 2295 w 2295"/>
              <a:gd name="T107" fmla="*/ 596 h 596"/>
              <a:gd name="T108" fmla="*/ 2049 w 2295"/>
              <a:gd name="T109" fmla="*/ 94 h 5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295" h="596">
                <a:moveTo>
                  <a:pt x="2049" y="94"/>
                </a:moveTo>
                <a:lnTo>
                  <a:pt x="2049" y="94"/>
                </a:lnTo>
                <a:lnTo>
                  <a:pt x="2035" y="90"/>
                </a:lnTo>
                <a:lnTo>
                  <a:pt x="1988" y="80"/>
                </a:lnTo>
                <a:lnTo>
                  <a:pt x="1914" y="64"/>
                </a:lnTo>
                <a:lnTo>
                  <a:pt x="1866" y="56"/>
                </a:lnTo>
                <a:lnTo>
                  <a:pt x="1812" y="47"/>
                </a:lnTo>
                <a:lnTo>
                  <a:pt x="1749" y="39"/>
                </a:lnTo>
                <a:lnTo>
                  <a:pt x="1681" y="30"/>
                </a:lnTo>
                <a:lnTo>
                  <a:pt x="1607" y="22"/>
                </a:lnTo>
                <a:lnTo>
                  <a:pt x="1526" y="16"/>
                </a:lnTo>
                <a:lnTo>
                  <a:pt x="1438" y="9"/>
                </a:lnTo>
                <a:lnTo>
                  <a:pt x="1345" y="5"/>
                </a:lnTo>
                <a:lnTo>
                  <a:pt x="1246" y="2"/>
                </a:lnTo>
                <a:lnTo>
                  <a:pt x="1141" y="0"/>
                </a:lnTo>
                <a:lnTo>
                  <a:pt x="1141" y="0"/>
                </a:lnTo>
                <a:lnTo>
                  <a:pt x="1037" y="2"/>
                </a:lnTo>
                <a:lnTo>
                  <a:pt x="937" y="5"/>
                </a:lnTo>
                <a:lnTo>
                  <a:pt x="845" y="9"/>
                </a:lnTo>
                <a:lnTo>
                  <a:pt x="758" y="16"/>
                </a:lnTo>
                <a:lnTo>
                  <a:pt x="678" y="22"/>
                </a:lnTo>
                <a:lnTo>
                  <a:pt x="605" y="30"/>
                </a:lnTo>
                <a:lnTo>
                  <a:pt x="538" y="39"/>
                </a:lnTo>
                <a:lnTo>
                  <a:pt x="477" y="47"/>
                </a:lnTo>
                <a:lnTo>
                  <a:pt x="423" y="56"/>
                </a:lnTo>
                <a:lnTo>
                  <a:pt x="376" y="64"/>
                </a:lnTo>
                <a:lnTo>
                  <a:pt x="302" y="80"/>
                </a:lnTo>
                <a:lnTo>
                  <a:pt x="258" y="90"/>
                </a:lnTo>
                <a:lnTo>
                  <a:pt x="243" y="94"/>
                </a:lnTo>
                <a:lnTo>
                  <a:pt x="243" y="94"/>
                </a:lnTo>
                <a:lnTo>
                  <a:pt x="0" y="596"/>
                </a:lnTo>
                <a:lnTo>
                  <a:pt x="0" y="596"/>
                </a:lnTo>
                <a:lnTo>
                  <a:pt x="90" y="585"/>
                </a:lnTo>
                <a:lnTo>
                  <a:pt x="194" y="572"/>
                </a:lnTo>
                <a:lnTo>
                  <a:pt x="332" y="558"/>
                </a:lnTo>
                <a:lnTo>
                  <a:pt x="413" y="551"/>
                </a:lnTo>
                <a:lnTo>
                  <a:pt x="501" y="544"/>
                </a:lnTo>
                <a:lnTo>
                  <a:pt x="595" y="538"/>
                </a:lnTo>
                <a:lnTo>
                  <a:pt x="694" y="532"/>
                </a:lnTo>
                <a:lnTo>
                  <a:pt x="799" y="527"/>
                </a:lnTo>
                <a:lnTo>
                  <a:pt x="909" y="524"/>
                </a:lnTo>
                <a:lnTo>
                  <a:pt x="1024" y="521"/>
                </a:lnTo>
                <a:lnTo>
                  <a:pt x="1141" y="519"/>
                </a:lnTo>
                <a:lnTo>
                  <a:pt x="1141" y="519"/>
                </a:lnTo>
                <a:lnTo>
                  <a:pt x="1259" y="521"/>
                </a:lnTo>
                <a:lnTo>
                  <a:pt x="1374" y="524"/>
                </a:lnTo>
                <a:lnTo>
                  <a:pt x="1485" y="527"/>
                </a:lnTo>
                <a:lnTo>
                  <a:pt x="1590" y="532"/>
                </a:lnTo>
                <a:lnTo>
                  <a:pt x="1691" y="538"/>
                </a:lnTo>
                <a:lnTo>
                  <a:pt x="1786" y="544"/>
                </a:lnTo>
                <a:lnTo>
                  <a:pt x="1957" y="558"/>
                </a:lnTo>
                <a:lnTo>
                  <a:pt x="2098" y="572"/>
                </a:lnTo>
                <a:lnTo>
                  <a:pt x="2204" y="585"/>
                </a:lnTo>
                <a:lnTo>
                  <a:pt x="2295" y="596"/>
                </a:lnTo>
                <a:lnTo>
                  <a:pt x="2049" y="94"/>
                </a:lnTo>
                <a:close/>
              </a:path>
            </a:pathLst>
          </a:custGeom>
          <a:gradFill flip="none" rotWithShape="1">
            <a:gsLst>
              <a:gs pos="73000">
                <a:schemeClr val="accent1"/>
              </a:gs>
              <a:gs pos="31000">
                <a:schemeClr val="accent1">
                  <a:lumMod val="60000"/>
                  <a:lumOff val="40000"/>
                </a:schemeClr>
              </a:gs>
              <a:gs pos="0">
                <a:schemeClr val="accent1">
                  <a:lumMod val="40000"/>
                  <a:lumOff val="60000"/>
                </a:schemeClr>
              </a:gs>
            </a:gsLst>
            <a:lin ang="0" scaled="0"/>
            <a:tileRect/>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22222"/>
              </a:solidFill>
              <a:effectLst/>
              <a:uLnTx/>
              <a:uFillTx/>
              <a:latin typeface="Inter"/>
              <a:cs typeface="+mn-cs"/>
            </a:endParaRPr>
          </a:p>
        </p:txBody>
      </p:sp>
      <p:sp>
        <p:nvSpPr>
          <p:cNvPr id="16" name="Freeform 44">
            <a:extLst>
              <a:ext uri="{FF2B5EF4-FFF2-40B4-BE49-F238E27FC236}">
                <a16:creationId xmlns:a16="http://schemas.microsoft.com/office/drawing/2014/main" id="{3916CE28-AD14-4086-B9E4-94FEF3495858}"/>
              </a:ext>
            </a:extLst>
          </p:cNvPr>
          <p:cNvSpPr>
            <a:spLocks/>
          </p:cNvSpPr>
          <p:nvPr/>
        </p:nvSpPr>
        <p:spPr bwMode="auto">
          <a:xfrm>
            <a:off x="4564283" y="4666314"/>
            <a:ext cx="723646" cy="829179"/>
          </a:xfrm>
          <a:custGeom>
            <a:avLst/>
            <a:gdLst>
              <a:gd name="T0" fmla="*/ 0 w 480"/>
              <a:gd name="T1" fmla="*/ 550 h 550"/>
              <a:gd name="T2" fmla="*/ 0 w 480"/>
              <a:gd name="T3" fmla="*/ 550 h 550"/>
              <a:gd name="T4" fmla="*/ 143 w 480"/>
              <a:gd name="T5" fmla="*/ 535 h 550"/>
              <a:gd name="T6" fmla="*/ 229 w 480"/>
              <a:gd name="T7" fmla="*/ 526 h 550"/>
              <a:gd name="T8" fmla="*/ 328 w 480"/>
              <a:gd name="T9" fmla="*/ 519 h 550"/>
              <a:gd name="T10" fmla="*/ 480 w 480"/>
              <a:gd name="T11" fmla="*/ 0 h 550"/>
              <a:gd name="T12" fmla="*/ 480 w 480"/>
              <a:gd name="T13" fmla="*/ 0 h 550"/>
              <a:gd name="T14" fmla="*/ 400 w 480"/>
              <a:gd name="T15" fmla="*/ 10 h 550"/>
              <a:gd name="T16" fmla="*/ 330 w 480"/>
              <a:gd name="T17" fmla="*/ 21 h 550"/>
              <a:gd name="T18" fmla="*/ 271 w 480"/>
              <a:gd name="T19" fmla="*/ 31 h 550"/>
              <a:gd name="T20" fmla="*/ 219 w 480"/>
              <a:gd name="T21" fmla="*/ 40 h 550"/>
              <a:gd name="T22" fmla="*/ 0 w 480"/>
              <a:gd name="T23" fmla="*/ 550 h 5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80" h="550">
                <a:moveTo>
                  <a:pt x="0" y="550"/>
                </a:moveTo>
                <a:lnTo>
                  <a:pt x="0" y="550"/>
                </a:lnTo>
                <a:lnTo>
                  <a:pt x="143" y="535"/>
                </a:lnTo>
                <a:lnTo>
                  <a:pt x="229" y="526"/>
                </a:lnTo>
                <a:lnTo>
                  <a:pt x="328" y="519"/>
                </a:lnTo>
                <a:lnTo>
                  <a:pt x="480" y="0"/>
                </a:lnTo>
                <a:lnTo>
                  <a:pt x="480" y="0"/>
                </a:lnTo>
                <a:lnTo>
                  <a:pt x="400" y="10"/>
                </a:lnTo>
                <a:lnTo>
                  <a:pt x="330" y="21"/>
                </a:lnTo>
                <a:lnTo>
                  <a:pt x="271" y="31"/>
                </a:lnTo>
                <a:lnTo>
                  <a:pt x="219" y="40"/>
                </a:lnTo>
                <a:lnTo>
                  <a:pt x="0" y="550"/>
                </a:lnTo>
                <a:close/>
              </a:path>
            </a:pathLst>
          </a:custGeom>
          <a:solidFill>
            <a:schemeClr val="bg1">
              <a:alpha val="2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armonyOS Sans SC"/>
              <a:cs typeface="+mn-cs"/>
            </a:endParaRPr>
          </a:p>
        </p:txBody>
      </p:sp>
      <p:sp>
        <p:nvSpPr>
          <p:cNvPr id="17" name="Freeform 45">
            <a:extLst>
              <a:ext uri="{FF2B5EF4-FFF2-40B4-BE49-F238E27FC236}">
                <a16:creationId xmlns:a16="http://schemas.microsoft.com/office/drawing/2014/main" id="{D383593E-C128-48FD-97FB-5B1D165AF4AA}"/>
              </a:ext>
            </a:extLst>
          </p:cNvPr>
          <p:cNvSpPr>
            <a:spLocks/>
          </p:cNvSpPr>
          <p:nvPr/>
        </p:nvSpPr>
        <p:spPr bwMode="auto">
          <a:xfrm>
            <a:off x="5725130" y="1952642"/>
            <a:ext cx="726660" cy="747768"/>
          </a:xfrm>
          <a:custGeom>
            <a:avLst/>
            <a:gdLst>
              <a:gd name="T0" fmla="*/ 482 w 482"/>
              <a:gd name="T1" fmla="*/ 497 h 497"/>
              <a:gd name="T2" fmla="*/ 482 w 482"/>
              <a:gd name="T3" fmla="*/ 497 h 497"/>
              <a:gd name="T4" fmla="*/ 239 w 482"/>
              <a:gd name="T5" fmla="*/ 0 h 497"/>
              <a:gd name="T6" fmla="*/ 0 w 482"/>
              <a:gd name="T7" fmla="*/ 497 h 497"/>
              <a:gd name="T8" fmla="*/ 482 w 482"/>
              <a:gd name="T9" fmla="*/ 497 h 497"/>
            </a:gdLst>
            <a:ahLst/>
            <a:cxnLst>
              <a:cxn ang="0">
                <a:pos x="T0" y="T1"/>
              </a:cxn>
              <a:cxn ang="0">
                <a:pos x="T2" y="T3"/>
              </a:cxn>
              <a:cxn ang="0">
                <a:pos x="T4" y="T5"/>
              </a:cxn>
              <a:cxn ang="0">
                <a:pos x="T6" y="T7"/>
              </a:cxn>
              <a:cxn ang="0">
                <a:pos x="T8" y="T9"/>
              </a:cxn>
            </a:cxnLst>
            <a:rect l="0" t="0" r="r" b="b"/>
            <a:pathLst>
              <a:path w="482" h="497">
                <a:moveTo>
                  <a:pt x="482" y="497"/>
                </a:moveTo>
                <a:lnTo>
                  <a:pt x="482" y="497"/>
                </a:lnTo>
                <a:lnTo>
                  <a:pt x="239" y="0"/>
                </a:lnTo>
                <a:lnTo>
                  <a:pt x="0" y="497"/>
                </a:lnTo>
                <a:lnTo>
                  <a:pt x="482" y="497"/>
                </a:lnTo>
                <a:close/>
              </a:path>
            </a:pathLst>
          </a:custGeom>
          <a:gradFill flip="none" rotWithShape="1">
            <a:gsLst>
              <a:gs pos="73000">
                <a:schemeClr val="accent1"/>
              </a:gs>
              <a:gs pos="31000">
                <a:schemeClr val="accent1">
                  <a:lumMod val="60000"/>
                  <a:lumOff val="40000"/>
                </a:schemeClr>
              </a:gs>
              <a:gs pos="0">
                <a:schemeClr val="accent1">
                  <a:lumMod val="40000"/>
                  <a:lumOff val="60000"/>
                </a:schemeClr>
              </a:gs>
            </a:gsLst>
            <a:lin ang="0" scaled="0"/>
            <a:tileRect/>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22222"/>
              </a:solidFill>
              <a:effectLst/>
              <a:uLnTx/>
              <a:uFillTx/>
              <a:latin typeface="Inter"/>
              <a:cs typeface="+mn-cs"/>
            </a:endParaRPr>
          </a:p>
        </p:txBody>
      </p:sp>
      <p:sp>
        <p:nvSpPr>
          <p:cNvPr id="18" name="Freeform 46">
            <a:extLst>
              <a:ext uri="{FF2B5EF4-FFF2-40B4-BE49-F238E27FC236}">
                <a16:creationId xmlns:a16="http://schemas.microsoft.com/office/drawing/2014/main" id="{756A3EFF-0F8A-4F86-A635-F5E9A70ABC7F}"/>
              </a:ext>
            </a:extLst>
          </p:cNvPr>
          <p:cNvSpPr>
            <a:spLocks/>
          </p:cNvSpPr>
          <p:nvPr/>
        </p:nvSpPr>
        <p:spPr bwMode="auto">
          <a:xfrm>
            <a:off x="5764329" y="1952642"/>
            <a:ext cx="319610" cy="747768"/>
          </a:xfrm>
          <a:custGeom>
            <a:avLst/>
            <a:gdLst>
              <a:gd name="T0" fmla="*/ 69 w 214"/>
              <a:gd name="T1" fmla="*/ 497 h 497"/>
              <a:gd name="T2" fmla="*/ 214 w 214"/>
              <a:gd name="T3" fmla="*/ 0 h 497"/>
              <a:gd name="T4" fmla="*/ 0 w 214"/>
              <a:gd name="T5" fmla="*/ 497 h 497"/>
              <a:gd name="T6" fmla="*/ 69 w 214"/>
              <a:gd name="T7" fmla="*/ 497 h 497"/>
            </a:gdLst>
            <a:ahLst/>
            <a:cxnLst>
              <a:cxn ang="0">
                <a:pos x="T0" y="T1"/>
              </a:cxn>
              <a:cxn ang="0">
                <a:pos x="T2" y="T3"/>
              </a:cxn>
              <a:cxn ang="0">
                <a:pos x="T4" y="T5"/>
              </a:cxn>
              <a:cxn ang="0">
                <a:pos x="T6" y="T7"/>
              </a:cxn>
            </a:cxnLst>
            <a:rect l="0" t="0" r="r" b="b"/>
            <a:pathLst>
              <a:path w="214" h="497">
                <a:moveTo>
                  <a:pt x="69" y="497"/>
                </a:moveTo>
                <a:lnTo>
                  <a:pt x="214" y="0"/>
                </a:lnTo>
                <a:lnTo>
                  <a:pt x="0" y="497"/>
                </a:lnTo>
                <a:lnTo>
                  <a:pt x="69" y="497"/>
                </a:lnTo>
                <a:close/>
              </a:path>
            </a:pathLst>
          </a:custGeom>
          <a:solidFill>
            <a:schemeClr val="bg1">
              <a:alpha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armonyOS Sans SC"/>
              <a:cs typeface="+mn-cs"/>
            </a:endParaRPr>
          </a:p>
        </p:txBody>
      </p:sp>
      <p:sp>
        <p:nvSpPr>
          <p:cNvPr id="19" name="Freeform 47">
            <a:extLst>
              <a:ext uri="{FF2B5EF4-FFF2-40B4-BE49-F238E27FC236}">
                <a16:creationId xmlns:a16="http://schemas.microsoft.com/office/drawing/2014/main" id="{3E130C3D-8418-46FF-9147-96F9D870DF2B}"/>
              </a:ext>
            </a:extLst>
          </p:cNvPr>
          <p:cNvSpPr>
            <a:spLocks/>
          </p:cNvSpPr>
          <p:nvPr/>
        </p:nvSpPr>
        <p:spPr bwMode="auto">
          <a:xfrm>
            <a:off x="5725130" y="2634075"/>
            <a:ext cx="726660" cy="141715"/>
          </a:xfrm>
          <a:custGeom>
            <a:avLst/>
            <a:gdLst>
              <a:gd name="T0" fmla="*/ 0 w 482"/>
              <a:gd name="T1" fmla="*/ 46 h 94"/>
              <a:gd name="T2" fmla="*/ 0 w 482"/>
              <a:gd name="T3" fmla="*/ 46 h 94"/>
              <a:gd name="T4" fmla="*/ 17 w 482"/>
              <a:gd name="T5" fmla="*/ 39 h 94"/>
              <a:gd name="T6" fmla="*/ 37 w 482"/>
              <a:gd name="T7" fmla="*/ 32 h 94"/>
              <a:gd name="T8" fmla="*/ 64 w 482"/>
              <a:gd name="T9" fmla="*/ 23 h 94"/>
              <a:gd name="T10" fmla="*/ 99 w 482"/>
              <a:gd name="T11" fmla="*/ 14 h 94"/>
              <a:gd name="T12" fmla="*/ 139 w 482"/>
              <a:gd name="T13" fmla="*/ 7 h 94"/>
              <a:gd name="T14" fmla="*/ 162 w 482"/>
              <a:gd name="T15" fmla="*/ 4 h 94"/>
              <a:gd name="T16" fmla="*/ 186 w 482"/>
              <a:gd name="T17" fmla="*/ 2 h 94"/>
              <a:gd name="T18" fmla="*/ 212 w 482"/>
              <a:gd name="T19" fmla="*/ 0 h 94"/>
              <a:gd name="T20" fmla="*/ 239 w 482"/>
              <a:gd name="T21" fmla="*/ 0 h 94"/>
              <a:gd name="T22" fmla="*/ 239 w 482"/>
              <a:gd name="T23" fmla="*/ 0 h 94"/>
              <a:gd name="T24" fmla="*/ 266 w 482"/>
              <a:gd name="T25" fmla="*/ 0 h 94"/>
              <a:gd name="T26" fmla="*/ 293 w 482"/>
              <a:gd name="T27" fmla="*/ 2 h 94"/>
              <a:gd name="T28" fmla="*/ 317 w 482"/>
              <a:gd name="T29" fmla="*/ 4 h 94"/>
              <a:gd name="T30" fmla="*/ 340 w 482"/>
              <a:gd name="T31" fmla="*/ 7 h 94"/>
              <a:gd name="T32" fmla="*/ 381 w 482"/>
              <a:gd name="T33" fmla="*/ 14 h 94"/>
              <a:gd name="T34" fmla="*/ 415 w 482"/>
              <a:gd name="T35" fmla="*/ 23 h 94"/>
              <a:gd name="T36" fmla="*/ 443 w 482"/>
              <a:gd name="T37" fmla="*/ 32 h 94"/>
              <a:gd name="T38" fmla="*/ 465 w 482"/>
              <a:gd name="T39" fmla="*/ 39 h 94"/>
              <a:gd name="T40" fmla="*/ 482 w 482"/>
              <a:gd name="T41" fmla="*/ 46 h 94"/>
              <a:gd name="T42" fmla="*/ 482 w 482"/>
              <a:gd name="T43" fmla="*/ 46 h 94"/>
              <a:gd name="T44" fmla="*/ 466 w 482"/>
              <a:gd name="T45" fmla="*/ 53 h 94"/>
              <a:gd name="T46" fmla="*/ 448 w 482"/>
              <a:gd name="T47" fmla="*/ 61 h 94"/>
              <a:gd name="T48" fmla="*/ 422 w 482"/>
              <a:gd name="T49" fmla="*/ 70 h 94"/>
              <a:gd name="T50" fmla="*/ 389 w 482"/>
              <a:gd name="T51" fmla="*/ 78 h 94"/>
              <a:gd name="T52" fmla="*/ 347 w 482"/>
              <a:gd name="T53" fmla="*/ 87 h 94"/>
              <a:gd name="T54" fmla="*/ 324 w 482"/>
              <a:gd name="T55" fmla="*/ 90 h 94"/>
              <a:gd name="T56" fmla="*/ 298 w 482"/>
              <a:gd name="T57" fmla="*/ 91 h 94"/>
              <a:gd name="T58" fmla="*/ 270 w 482"/>
              <a:gd name="T59" fmla="*/ 94 h 94"/>
              <a:gd name="T60" fmla="*/ 240 w 482"/>
              <a:gd name="T61" fmla="*/ 94 h 94"/>
              <a:gd name="T62" fmla="*/ 240 w 482"/>
              <a:gd name="T63" fmla="*/ 94 h 94"/>
              <a:gd name="T64" fmla="*/ 212 w 482"/>
              <a:gd name="T65" fmla="*/ 94 h 94"/>
              <a:gd name="T66" fmla="*/ 183 w 482"/>
              <a:gd name="T67" fmla="*/ 91 h 94"/>
              <a:gd name="T68" fmla="*/ 158 w 482"/>
              <a:gd name="T69" fmla="*/ 90 h 94"/>
              <a:gd name="T70" fmla="*/ 133 w 482"/>
              <a:gd name="T71" fmla="*/ 87 h 94"/>
              <a:gd name="T72" fmla="*/ 92 w 482"/>
              <a:gd name="T73" fmla="*/ 78 h 94"/>
              <a:gd name="T74" fmla="*/ 59 w 482"/>
              <a:gd name="T75" fmla="*/ 70 h 94"/>
              <a:gd name="T76" fmla="*/ 32 w 482"/>
              <a:gd name="T77" fmla="*/ 61 h 94"/>
              <a:gd name="T78" fmla="*/ 14 w 482"/>
              <a:gd name="T79" fmla="*/ 53 h 94"/>
              <a:gd name="T80" fmla="*/ 0 w 482"/>
              <a:gd name="T81" fmla="*/ 46 h 94"/>
              <a:gd name="T82" fmla="*/ 0 w 482"/>
              <a:gd name="T83" fmla="*/ 46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82" h="94">
                <a:moveTo>
                  <a:pt x="0" y="46"/>
                </a:moveTo>
                <a:lnTo>
                  <a:pt x="0" y="46"/>
                </a:lnTo>
                <a:lnTo>
                  <a:pt x="17" y="39"/>
                </a:lnTo>
                <a:lnTo>
                  <a:pt x="37" y="32"/>
                </a:lnTo>
                <a:lnTo>
                  <a:pt x="64" y="23"/>
                </a:lnTo>
                <a:lnTo>
                  <a:pt x="99" y="14"/>
                </a:lnTo>
                <a:lnTo>
                  <a:pt x="139" y="7"/>
                </a:lnTo>
                <a:lnTo>
                  <a:pt x="162" y="4"/>
                </a:lnTo>
                <a:lnTo>
                  <a:pt x="186" y="2"/>
                </a:lnTo>
                <a:lnTo>
                  <a:pt x="212" y="0"/>
                </a:lnTo>
                <a:lnTo>
                  <a:pt x="239" y="0"/>
                </a:lnTo>
                <a:lnTo>
                  <a:pt x="239" y="0"/>
                </a:lnTo>
                <a:lnTo>
                  <a:pt x="266" y="0"/>
                </a:lnTo>
                <a:lnTo>
                  <a:pt x="293" y="2"/>
                </a:lnTo>
                <a:lnTo>
                  <a:pt x="317" y="4"/>
                </a:lnTo>
                <a:lnTo>
                  <a:pt x="340" y="7"/>
                </a:lnTo>
                <a:lnTo>
                  <a:pt x="381" y="14"/>
                </a:lnTo>
                <a:lnTo>
                  <a:pt x="415" y="23"/>
                </a:lnTo>
                <a:lnTo>
                  <a:pt x="443" y="32"/>
                </a:lnTo>
                <a:lnTo>
                  <a:pt x="465" y="39"/>
                </a:lnTo>
                <a:lnTo>
                  <a:pt x="482" y="46"/>
                </a:lnTo>
                <a:lnTo>
                  <a:pt x="482" y="46"/>
                </a:lnTo>
                <a:lnTo>
                  <a:pt x="466" y="53"/>
                </a:lnTo>
                <a:lnTo>
                  <a:pt x="448" y="61"/>
                </a:lnTo>
                <a:lnTo>
                  <a:pt x="422" y="70"/>
                </a:lnTo>
                <a:lnTo>
                  <a:pt x="389" y="78"/>
                </a:lnTo>
                <a:lnTo>
                  <a:pt x="347" y="87"/>
                </a:lnTo>
                <a:lnTo>
                  <a:pt x="324" y="90"/>
                </a:lnTo>
                <a:lnTo>
                  <a:pt x="298" y="91"/>
                </a:lnTo>
                <a:lnTo>
                  <a:pt x="270" y="94"/>
                </a:lnTo>
                <a:lnTo>
                  <a:pt x="240" y="94"/>
                </a:lnTo>
                <a:lnTo>
                  <a:pt x="240" y="94"/>
                </a:lnTo>
                <a:lnTo>
                  <a:pt x="212" y="94"/>
                </a:lnTo>
                <a:lnTo>
                  <a:pt x="183" y="91"/>
                </a:lnTo>
                <a:lnTo>
                  <a:pt x="158" y="90"/>
                </a:lnTo>
                <a:lnTo>
                  <a:pt x="133" y="87"/>
                </a:lnTo>
                <a:lnTo>
                  <a:pt x="92" y="78"/>
                </a:lnTo>
                <a:lnTo>
                  <a:pt x="59" y="70"/>
                </a:lnTo>
                <a:lnTo>
                  <a:pt x="32" y="61"/>
                </a:lnTo>
                <a:lnTo>
                  <a:pt x="14" y="53"/>
                </a:lnTo>
                <a:lnTo>
                  <a:pt x="0" y="46"/>
                </a:lnTo>
                <a:lnTo>
                  <a:pt x="0" y="46"/>
                </a:lnTo>
                <a:close/>
              </a:path>
            </a:pathLst>
          </a:custGeom>
          <a:gradFill flip="none" rotWithShape="1">
            <a:gsLst>
              <a:gs pos="0">
                <a:schemeClr val="accent1">
                  <a:lumMod val="40000"/>
                  <a:lumOff val="60000"/>
                </a:schemeClr>
              </a:gs>
              <a:gs pos="100000">
                <a:schemeClr val="accent1"/>
              </a:gs>
            </a:gsLst>
            <a:path path="circle">
              <a:fillToRect l="100000" b="100000"/>
            </a:path>
            <a:tileRect t="-100000" r="-100000"/>
          </a:gradFill>
          <a:ln w="1270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armonyOS Sans SC"/>
              <a:cs typeface="+mn-cs"/>
            </a:endParaRPr>
          </a:p>
        </p:txBody>
      </p:sp>
      <p:sp>
        <p:nvSpPr>
          <p:cNvPr id="21" name="TextBox 74">
            <a:extLst>
              <a:ext uri="{FF2B5EF4-FFF2-40B4-BE49-F238E27FC236}">
                <a16:creationId xmlns:a16="http://schemas.microsoft.com/office/drawing/2014/main" id="{9B731A95-1A6A-4ECC-9501-C16C09745B4F}"/>
              </a:ext>
            </a:extLst>
          </p:cNvPr>
          <p:cNvSpPr txBox="1"/>
          <p:nvPr/>
        </p:nvSpPr>
        <p:spPr>
          <a:xfrm>
            <a:off x="8566788" y="5290486"/>
            <a:ext cx="2607625" cy="453970"/>
          </a:xfrm>
          <a:prstGeom prst="rect">
            <a:avLst/>
          </a:prstGeom>
          <a:noFill/>
        </p:spPr>
        <p:txBody>
          <a:bodyPr wrap="square" spcCol="0" rtlCol="0">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lumMod val="50000"/>
                    <a:lumOff val="50000"/>
                  </a:prstClr>
                </a:solidFill>
                <a:effectLst/>
                <a:uLnTx/>
                <a:uFillTx/>
                <a:latin typeface="HarmonyOS Sans SC"/>
                <a:cs typeface="+mn-cs"/>
              </a:rPr>
              <a:t>Nunc varius justo volutpat tincidunt mattis. Fusce odio tellus.</a:t>
            </a:r>
          </a:p>
        </p:txBody>
      </p:sp>
      <p:sp>
        <p:nvSpPr>
          <p:cNvPr id="22" name="TextBox 75">
            <a:extLst>
              <a:ext uri="{FF2B5EF4-FFF2-40B4-BE49-F238E27FC236}">
                <a16:creationId xmlns:a16="http://schemas.microsoft.com/office/drawing/2014/main" id="{6FCCA19D-8F63-4E32-B995-6F61EE3A6E7C}"/>
              </a:ext>
            </a:extLst>
          </p:cNvPr>
          <p:cNvSpPr txBox="1"/>
          <p:nvPr/>
        </p:nvSpPr>
        <p:spPr>
          <a:xfrm>
            <a:off x="8566788" y="4965051"/>
            <a:ext cx="2607625"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chemeClr val="accent1"/>
                </a:solidFill>
                <a:effectLst/>
                <a:uLnTx/>
                <a:uFillTx/>
                <a:latin typeface="HarmonyOS Sans SC Black"/>
                <a:ea typeface="+mj-ea"/>
                <a:cs typeface="+mn-cs"/>
              </a:rPr>
              <a:t>04</a:t>
            </a:r>
          </a:p>
        </p:txBody>
      </p:sp>
      <p:sp>
        <p:nvSpPr>
          <p:cNvPr id="24" name="TextBox 77">
            <a:extLst>
              <a:ext uri="{FF2B5EF4-FFF2-40B4-BE49-F238E27FC236}">
                <a16:creationId xmlns:a16="http://schemas.microsoft.com/office/drawing/2014/main" id="{CE4E3389-CF4D-4188-838F-DBF3DD3BF487}"/>
              </a:ext>
            </a:extLst>
          </p:cNvPr>
          <p:cNvSpPr txBox="1"/>
          <p:nvPr/>
        </p:nvSpPr>
        <p:spPr>
          <a:xfrm>
            <a:off x="8566788" y="4317407"/>
            <a:ext cx="2607625" cy="453970"/>
          </a:xfrm>
          <a:prstGeom prst="rect">
            <a:avLst/>
          </a:prstGeom>
          <a:noFill/>
        </p:spPr>
        <p:txBody>
          <a:bodyPr wrap="square" spcCol="0" rtlCol="0">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lumMod val="50000"/>
                    <a:lumOff val="50000"/>
                  </a:prstClr>
                </a:solidFill>
                <a:effectLst/>
                <a:uLnTx/>
                <a:uFillTx/>
                <a:latin typeface="HarmonyOS Sans SC"/>
                <a:cs typeface="+mn-cs"/>
              </a:rPr>
              <a:t>Nunc varius justo volutpat tincidunt mattis. Fusce odio tellus.</a:t>
            </a:r>
          </a:p>
        </p:txBody>
      </p:sp>
      <p:sp>
        <p:nvSpPr>
          <p:cNvPr id="25" name="TextBox 78">
            <a:extLst>
              <a:ext uri="{FF2B5EF4-FFF2-40B4-BE49-F238E27FC236}">
                <a16:creationId xmlns:a16="http://schemas.microsoft.com/office/drawing/2014/main" id="{063A77E3-890B-45D9-AC78-B3C62C08192E}"/>
              </a:ext>
            </a:extLst>
          </p:cNvPr>
          <p:cNvSpPr txBox="1"/>
          <p:nvPr/>
        </p:nvSpPr>
        <p:spPr>
          <a:xfrm>
            <a:off x="8566788" y="3991972"/>
            <a:ext cx="2607625"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chemeClr val="accent1"/>
                </a:solidFill>
                <a:effectLst/>
                <a:uLnTx/>
                <a:uFillTx/>
                <a:latin typeface="HarmonyOS Sans SC Black"/>
                <a:ea typeface="+mj-ea"/>
                <a:cs typeface="+mn-cs"/>
              </a:rPr>
              <a:t>03</a:t>
            </a:r>
          </a:p>
        </p:txBody>
      </p:sp>
      <p:sp>
        <p:nvSpPr>
          <p:cNvPr id="27" name="TextBox 80">
            <a:extLst>
              <a:ext uri="{FF2B5EF4-FFF2-40B4-BE49-F238E27FC236}">
                <a16:creationId xmlns:a16="http://schemas.microsoft.com/office/drawing/2014/main" id="{8CE99256-5362-4E71-9A4E-60A8E5360FE2}"/>
              </a:ext>
            </a:extLst>
          </p:cNvPr>
          <p:cNvSpPr txBox="1"/>
          <p:nvPr/>
        </p:nvSpPr>
        <p:spPr>
          <a:xfrm>
            <a:off x="8566788" y="3344329"/>
            <a:ext cx="2607625" cy="453970"/>
          </a:xfrm>
          <a:prstGeom prst="rect">
            <a:avLst/>
          </a:prstGeom>
          <a:noFill/>
        </p:spPr>
        <p:txBody>
          <a:bodyPr wrap="square" spcCol="0" rtlCol="0">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lumMod val="50000"/>
                    <a:lumOff val="50000"/>
                  </a:prstClr>
                </a:solidFill>
                <a:effectLst/>
                <a:uLnTx/>
                <a:uFillTx/>
                <a:latin typeface="HarmonyOS Sans SC"/>
                <a:cs typeface="+mn-cs"/>
              </a:rPr>
              <a:t>Nunc varius justo volutpat tincidunt mattis. Fusce odio tellus.</a:t>
            </a:r>
          </a:p>
        </p:txBody>
      </p:sp>
      <p:sp>
        <p:nvSpPr>
          <p:cNvPr id="28" name="TextBox 81">
            <a:extLst>
              <a:ext uri="{FF2B5EF4-FFF2-40B4-BE49-F238E27FC236}">
                <a16:creationId xmlns:a16="http://schemas.microsoft.com/office/drawing/2014/main" id="{FC4BEAA1-D573-4104-83D7-EB07CBBDA25A}"/>
              </a:ext>
            </a:extLst>
          </p:cNvPr>
          <p:cNvSpPr txBox="1"/>
          <p:nvPr/>
        </p:nvSpPr>
        <p:spPr>
          <a:xfrm>
            <a:off x="8566788" y="3018894"/>
            <a:ext cx="2607625"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chemeClr val="accent1"/>
                </a:solidFill>
                <a:effectLst/>
                <a:uLnTx/>
                <a:uFillTx/>
                <a:latin typeface="HarmonyOS Sans SC Black"/>
                <a:ea typeface="+mj-ea"/>
                <a:cs typeface="+mn-cs"/>
              </a:rPr>
              <a:t>02</a:t>
            </a:r>
          </a:p>
        </p:txBody>
      </p:sp>
      <p:sp>
        <p:nvSpPr>
          <p:cNvPr id="30" name="TextBox 83">
            <a:extLst>
              <a:ext uri="{FF2B5EF4-FFF2-40B4-BE49-F238E27FC236}">
                <a16:creationId xmlns:a16="http://schemas.microsoft.com/office/drawing/2014/main" id="{9F0A8E2E-E641-4D35-A5D0-944761647B8C}"/>
              </a:ext>
            </a:extLst>
          </p:cNvPr>
          <p:cNvSpPr txBox="1"/>
          <p:nvPr/>
        </p:nvSpPr>
        <p:spPr>
          <a:xfrm>
            <a:off x="8566788" y="2371251"/>
            <a:ext cx="2607625" cy="453970"/>
          </a:xfrm>
          <a:prstGeom prst="rect">
            <a:avLst/>
          </a:prstGeom>
          <a:noFill/>
        </p:spPr>
        <p:txBody>
          <a:bodyPr wrap="square" spcCol="0" rtlCol="0">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HarmonyOS Sans SC"/>
                <a:cs typeface="+mn-cs"/>
              </a:rPr>
              <a:t>Nunc </a:t>
            </a:r>
            <a:r>
              <a:rPr kumimoji="0" lang="en-US" sz="1000" b="0" i="0" u="none" strike="noStrike" kern="1200" cap="none" spc="0" normalizeH="0" baseline="0" noProof="0" dirty="0" err="1">
                <a:ln>
                  <a:noFill/>
                </a:ln>
                <a:solidFill>
                  <a:prstClr val="black">
                    <a:lumMod val="50000"/>
                    <a:lumOff val="50000"/>
                  </a:prstClr>
                </a:solidFill>
                <a:effectLst/>
                <a:uLnTx/>
                <a:uFillTx/>
                <a:latin typeface="HarmonyOS Sans SC"/>
                <a:cs typeface="+mn-cs"/>
              </a:rPr>
              <a:t>varius</a:t>
            </a:r>
            <a:r>
              <a:rPr kumimoji="0" lang="en-US" sz="1000" b="0" i="0" u="none" strike="noStrike" kern="1200" cap="none" spc="0" normalizeH="0" baseline="0" noProof="0" dirty="0">
                <a:ln>
                  <a:noFill/>
                </a:ln>
                <a:solidFill>
                  <a:prstClr val="black">
                    <a:lumMod val="50000"/>
                    <a:lumOff val="50000"/>
                  </a:prstClr>
                </a:solidFill>
                <a:effectLst/>
                <a:uLnTx/>
                <a:uFillTx/>
                <a:latin typeface="HarmonyOS Sans SC"/>
                <a:cs typeface="+mn-cs"/>
              </a:rPr>
              <a:t> </a:t>
            </a:r>
            <a:r>
              <a:rPr kumimoji="0" lang="en-US" sz="1000" b="0" i="0" u="none" strike="noStrike" kern="1200" cap="none" spc="0" normalizeH="0" baseline="0" noProof="0" dirty="0" err="1">
                <a:ln>
                  <a:noFill/>
                </a:ln>
                <a:solidFill>
                  <a:prstClr val="black">
                    <a:lumMod val="50000"/>
                    <a:lumOff val="50000"/>
                  </a:prstClr>
                </a:solidFill>
                <a:effectLst/>
                <a:uLnTx/>
                <a:uFillTx/>
                <a:latin typeface="HarmonyOS Sans SC"/>
                <a:cs typeface="+mn-cs"/>
              </a:rPr>
              <a:t>justo</a:t>
            </a:r>
            <a:r>
              <a:rPr kumimoji="0" lang="en-US" sz="1000" b="0" i="0" u="none" strike="noStrike" kern="1200" cap="none" spc="0" normalizeH="0" baseline="0" noProof="0" dirty="0">
                <a:ln>
                  <a:noFill/>
                </a:ln>
                <a:solidFill>
                  <a:prstClr val="black">
                    <a:lumMod val="50000"/>
                    <a:lumOff val="50000"/>
                  </a:prstClr>
                </a:solidFill>
                <a:effectLst/>
                <a:uLnTx/>
                <a:uFillTx/>
                <a:latin typeface="HarmonyOS Sans SC"/>
                <a:cs typeface="+mn-cs"/>
              </a:rPr>
              <a:t> </a:t>
            </a:r>
            <a:r>
              <a:rPr kumimoji="0" lang="en-US" sz="1000" b="0" i="0" u="none" strike="noStrike" kern="1200" cap="none" spc="0" normalizeH="0" baseline="0" noProof="0" dirty="0" err="1">
                <a:ln>
                  <a:noFill/>
                </a:ln>
                <a:solidFill>
                  <a:prstClr val="black">
                    <a:lumMod val="50000"/>
                    <a:lumOff val="50000"/>
                  </a:prstClr>
                </a:solidFill>
                <a:effectLst/>
                <a:uLnTx/>
                <a:uFillTx/>
                <a:latin typeface="HarmonyOS Sans SC"/>
                <a:cs typeface="+mn-cs"/>
              </a:rPr>
              <a:t>volutpat</a:t>
            </a:r>
            <a:r>
              <a:rPr kumimoji="0" lang="en-US" sz="1000" b="0" i="0" u="none" strike="noStrike" kern="1200" cap="none" spc="0" normalizeH="0" baseline="0" noProof="0" dirty="0">
                <a:ln>
                  <a:noFill/>
                </a:ln>
                <a:solidFill>
                  <a:prstClr val="black">
                    <a:lumMod val="50000"/>
                    <a:lumOff val="50000"/>
                  </a:prstClr>
                </a:solidFill>
                <a:effectLst/>
                <a:uLnTx/>
                <a:uFillTx/>
                <a:latin typeface="HarmonyOS Sans SC"/>
                <a:cs typeface="+mn-cs"/>
              </a:rPr>
              <a:t> </a:t>
            </a:r>
            <a:r>
              <a:rPr kumimoji="0" lang="en-US" sz="1000" b="0" i="0" u="none" strike="noStrike" kern="1200" cap="none" spc="0" normalizeH="0" baseline="0" noProof="0" dirty="0" err="1">
                <a:ln>
                  <a:noFill/>
                </a:ln>
                <a:solidFill>
                  <a:prstClr val="black">
                    <a:lumMod val="50000"/>
                    <a:lumOff val="50000"/>
                  </a:prstClr>
                </a:solidFill>
                <a:effectLst/>
                <a:uLnTx/>
                <a:uFillTx/>
                <a:latin typeface="HarmonyOS Sans SC"/>
                <a:cs typeface="+mn-cs"/>
              </a:rPr>
              <a:t>tincidunt</a:t>
            </a:r>
            <a:r>
              <a:rPr kumimoji="0" lang="en-US" sz="1000" b="0" i="0" u="none" strike="noStrike" kern="1200" cap="none" spc="0" normalizeH="0" baseline="0" noProof="0" dirty="0">
                <a:ln>
                  <a:noFill/>
                </a:ln>
                <a:solidFill>
                  <a:prstClr val="black">
                    <a:lumMod val="50000"/>
                    <a:lumOff val="50000"/>
                  </a:prstClr>
                </a:solidFill>
                <a:effectLst/>
                <a:uLnTx/>
                <a:uFillTx/>
                <a:latin typeface="HarmonyOS Sans SC"/>
                <a:cs typeface="+mn-cs"/>
              </a:rPr>
              <a:t> </a:t>
            </a:r>
            <a:r>
              <a:rPr kumimoji="0" lang="en-US" sz="1000" b="0" i="0" u="none" strike="noStrike" kern="1200" cap="none" spc="0" normalizeH="0" baseline="0" noProof="0" dirty="0" err="1">
                <a:ln>
                  <a:noFill/>
                </a:ln>
                <a:solidFill>
                  <a:prstClr val="black">
                    <a:lumMod val="50000"/>
                    <a:lumOff val="50000"/>
                  </a:prstClr>
                </a:solidFill>
                <a:effectLst/>
                <a:uLnTx/>
                <a:uFillTx/>
                <a:latin typeface="HarmonyOS Sans SC"/>
                <a:cs typeface="+mn-cs"/>
              </a:rPr>
              <a:t>mattis</a:t>
            </a:r>
            <a:r>
              <a:rPr kumimoji="0" lang="en-US" sz="1000" b="0" i="0" u="none" strike="noStrike" kern="1200" cap="none" spc="0" normalizeH="0" baseline="0" noProof="0" dirty="0">
                <a:ln>
                  <a:noFill/>
                </a:ln>
                <a:solidFill>
                  <a:prstClr val="black">
                    <a:lumMod val="50000"/>
                    <a:lumOff val="50000"/>
                  </a:prstClr>
                </a:solidFill>
                <a:effectLst/>
                <a:uLnTx/>
                <a:uFillTx/>
                <a:latin typeface="HarmonyOS Sans SC"/>
                <a:cs typeface="+mn-cs"/>
              </a:rPr>
              <a:t>. </a:t>
            </a:r>
            <a:r>
              <a:rPr kumimoji="0" lang="en-US" sz="1000" b="0" i="0" u="none" strike="noStrike" kern="1200" cap="none" spc="0" normalizeH="0" baseline="0" noProof="0" dirty="0" err="1">
                <a:ln>
                  <a:noFill/>
                </a:ln>
                <a:solidFill>
                  <a:prstClr val="black">
                    <a:lumMod val="50000"/>
                    <a:lumOff val="50000"/>
                  </a:prstClr>
                </a:solidFill>
                <a:effectLst/>
                <a:uLnTx/>
                <a:uFillTx/>
                <a:latin typeface="HarmonyOS Sans SC"/>
                <a:cs typeface="+mn-cs"/>
              </a:rPr>
              <a:t>Fusce</a:t>
            </a:r>
            <a:r>
              <a:rPr kumimoji="0" lang="en-US" sz="1000" b="0" i="0" u="none" strike="noStrike" kern="1200" cap="none" spc="0" normalizeH="0" baseline="0" noProof="0" dirty="0">
                <a:ln>
                  <a:noFill/>
                </a:ln>
                <a:solidFill>
                  <a:prstClr val="black">
                    <a:lumMod val="50000"/>
                    <a:lumOff val="50000"/>
                  </a:prstClr>
                </a:solidFill>
                <a:effectLst/>
                <a:uLnTx/>
                <a:uFillTx/>
                <a:latin typeface="HarmonyOS Sans SC"/>
                <a:cs typeface="+mn-cs"/>
              </a:rPr>
              <a:t> </a:t>
            </a:r>
            <a:r>
              <a:rPr kumimoji="0" lang="en-US" sz="1000" b="0" i="0" u="none" strike="noStrike" kern="1200" cap="none" spc="0" normalizeH="0" baseline="0" noProof="0" dirty="0" err="1">
                <a:ln>
                  <a:noFill/>
                </a:ln>
                <a:solidFill>
                  <a:prstClr val="black">
                    <a:lumMod val="50000"/>
                    <a:lumOff val="50000"/>
                  </a:prstClr>
                </a:solidFill>
                <a:effectLst/>
                <a:uLnTx/>
                <a:uFillTx/>
                <a:latin typeface="HarmonyOS Sans SC"/>
                <a:cs typeface="+mn-cs"/>
              </a:rPr>
              <a:t>odio</a:t>
            </a:r>
            <a:r>
              <a:rPr kumimoji="0" lang="en-US" sz="1000" b="0" i="0" u="none" strike="noStrike" kern="1200" cap="none" spc="0" normalizeH="0" baseline="0" noProof="0" dirty="0">
                <a:ln>
                  <a:noFill/>
                </a:ln>
                <a:solidFill>
                  <a:prstClr val="black">
                    <a:lumMod val="50000"/>
                    <a:lumOff val="50000"/>
                  </a:prstClr>
                </a:solidFill>
                <a:effectLst/>
                <a:uLnTx/>
                <a:uFillTx/>
                <a:latin typeface="HarmonyOS Sans SC"/>
                <a:cs typeface="+mn-cs"/>
              </a:rPr>
              <a:t> </a:t>
            </a:r>
            <a:r>
              <a:rPr kumimoji="0" lang="en-US" sz="1000" b="0" i="0" u="none" strike="noStrike" kern="1200" cap="none" spc="0" normalizeH="0" baseline="0" noProof="0" dirty="0" err="1">
                <a:ln>
                  <a:noFill/>
                </a:ln>
                <a:solidFill>
                  <a:prstClr val="black">
                    <a:lumMod val="50000"/>
                    <a:lumOff val="50000"/>
                  </a:prstClr>
                </a:solidFill>
                <a:effectLst/>
                <a:uLnTx/>
                <a:uFillTx/>
                <a:latin typeface="HarmonyOS Sans SC"/>
                <a:cs typeface="+mn-cs"/>
              </a:rPr>
              <a:t>tellus</a:t>
            </a:r>
            <a:r>
              <a:rPr kumimoji="0" lang="en-US" sz="1000" b="0" i="0" u="none" strike="noStrike" kern="1200" cap="none" spc="0" normalizeH="0" baseline="0" noProof="0" dirty="0">
                <a:ln>
                  <a:noFill/>
                </a:ln>
                <a:solidFill>
                  <a:prstClr val="black">
                    <a:lumMod val="50000"/>
                    <a:lumOff val="50000"/>
                  </a:prstClr>
                </a:solidFill>
                <a:effectLst/>
                <a:uLnTx/>
                <a:uFillTx/>
                <a:latin typeface="HarmonyOS Sans SC"/>
                <a:cs typeface="+mn-cs"/>
              </a:rPr>
              <a:t>.</a:t>
            </a:r>
          </a:p>
        </p:txBody>
      </p:sp>
      <p:sp>
        <p:nvSpPr>
          <p:cNvPr id="31" name="TextBox 84">
            <a:extLst>
              <a:ext uri="{FF2B5EF4-FFF2-40B4-BE49-F238E27FC236}">
                <a16:creationId xmlns:a16="http://schemas.microsoft.com/office/drawing/2014/main" id="{6C91EDE7-0EE6-487C-ACAD-A927E64D82F7}"/>
              </a:ext>
            </a:extLst>
          </p:cNvPr>
          <p:cNvSpPr txBox="1"/>
          <p:nvPr/>
        </p:nvSpPr>
        <p:spPr>
          <a:xfrm>
            <a:off x="8566788" y="2045816"/>
            <a:ext cx="2607625"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chemeClr val="accent1"/>
                </a:solidFill>
                <a:effectLst/>
                <a:uLnTx/>
                <a:uFillTx/>
                <a:latin typeface="HarmonyOS Sans SC Black"/>
                <a:ea typeface="+mj-ea"/>
                <a:cs typeface="+mn-cs"/>
              </a:rPr>
              <a:t>01</a:t>
            </a:r>
          </a:p>
        </p:txBody>
      </p:sp>
      <p:sp>
        <p:nvSpPr>
          <p:cNvPr id="32" name="文本框 31">
            <a:extLst>
              <a:ext uri="{FF2B5EF4-FFF2-40B4-BE49-F238E27FC236}">
                <a16:creationId xmlns:a16="http://schemas.microsoft.com/office/drawing/2014/main" id="{D3E872CF-701E-4E30-95C9-6612BB8F8C6F}"/>
              </a:ext>
            </a:extLst>
          </p:cNvPr>
          <p:cNvSpPr txBox="1"/>
          <p:nvPr/>
        </p:nvSpPr>
        <p:spPr>
          <a:xfrm>
            <a:off x="950412" y="2627149"/>
            <a:ext cx="2380780" cy="83099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2400" b="0" i="0" u="none" strike="noStrike" kern="1200" cap="none" spc="0" normalizeH="0" baseline="0" noProof="0" dirty="0">
                <a:ln>
                  <a:noFill/>
                </a:ln>
                <a:solidFill>
                  <a:prstClr val="black">
                    <a:lumMod val="75000"/>
                    <a:lumOff val="25000"/>
                  </a:prstClr>
                </a:solidFill>
                <a:effectLst/>
                <a:uLnTx/>
                <a:uFillTx/>
                <a:latin typeface="HarmonyOS Sans Black"/>
                <a:ea typeface="+mj-ea"/>
                <a:cs typeface="+mn-cs"/>
              </a:rPr>
              <a:t>Our obsession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2400" b="0" i="0" u="none" strike="noStrike" kern="1200" cap="none" spc="0" normalizeH="0" baseline="0" noProof="0" dirty="0">
                <a:ln>
                  <a:noFill/>
                </a:ln>
                <a:solidFill>
                  <a:prstClr val="black">
                    <a:lumMod val="75000"/>
                    <a:lumOff val="25000"/>
                  </a:prstClr>
                </a:solidFill>
                <a:effectLst/>
                <a:uLnTx/>
                <a:uFillTx/>
                <a:latin typeface="HarmonyOS Sans Black"/>
                <a:ea typeface="+mj-ea"/>
                <a:cs typeface="+mn-cs"/>
              </a:rPr>
              <a:t>with growth</a:t>
            </a:r>
          </a:p>
        </p:txBody>
      </p:sp>
    </p:spTree>
    <p:extLst>
      <p:ext uri="{BB962C8B-B14F-4D97-AF65-F5344CB8AC3E}">
        <p14:creationId xmlns:p14="http://schemas.microsoft.com/office/powerpoint/2010/main" val="145627434"/>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5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文本框 6">
            <a:extLst>
              <a:ext uri="{FF2B5EF4-FFF2-40B4-BE49-F238E27FC236}">
                <a16:creationId xmlns:a16="http://schemas.microsoft.com/office/drawing/2014/main" id="{8868F4E9-4E2D-45EC-A29F-23F8283B212B}"/>
              </a:ext>
            </a:extLst>
          </p:cNvPr>
          <p:cNvSpPr txBox="1"/>
          <p:nvPr/>
        </p:nvSpPr>
        <p:spPr>
          <a:xfrm>
            <a:off x="6498486" y="1571805"/>
            <a:ext cx="3366627" cy="144655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4400" b="0" i="0" u="none" strike="noStrike" kern="1200" cap="none" spc="0" normalizeH="0" baseline="0" noProof="0" dirty="0">
                <a:ln>
                  <a:noFill/>
                </a:ln>
                <a:solidFill>
                  <a:prstClr val="black"/>
                </a:solidFill>
                <a:effectLst/>
                <a:uLnTx/>
                <a:uFillTx/>
                <a:latin typeface="HarmonyOS Sans Black"/>
                <a:ea typeface="+mj-ea"/>
                <a:cs typeface="+mn-cs"/>
              </a:rPr>
              <a:t>Proces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4400" b="0" i="0" u="none" strike="noStrike" kern="1200" cap="none" spc="0" normalizeH="0" baseline="0" noProof="0" dirty="0">
                <a:ln>
                  <a:noFill/>
                </a:ln>
                <a:solidFill>
                  <a:schemeClr val="accent1"/>
                </a:solidFill>
                <a:effectLst/>
                <a:uLnTx/>
                <a:uFillTx/>
                <a:latin typeface="HarmonyOS Sans Black"/>
                <a:ea typeface="+mj-ea"/>
                <a:cs typeface="+mn-cs"/>
              </a:rPr>
              <a:t>Infographic</a:t>
            </a:r>
          </a:p>
        </p:txBody>
      </p:sp>
      <p:sp>
        <p:nvSpPr>
          <p:cNvPr id="22" name="Google Shape;423;p48">
            <a:extLst>
              <a:ext uri="{FF2B5EF4-FFF2-40B4-BE49-F238E27FC236}">
                <a16:creationId xmlns:a16="http://schemas.microsoft.com/office/drawing/2014/main" id="{C950E4E9-0A3E-4857-9C0C-3AFEEB866758}"/>
              </a:ext>
            </a:extLst>
          </p:cNvPr>
          <p:cNvSpPr/>
          <p:nvPr/>
        </p:nvSpPr>
        <p:spPr>
          <a:xfrm>
            <a:off x="1497509" y="3272745"/>
            <a:ext cx="3678238" cy="1935163"/>
          </a:xfrm>
          <a:custGeom>
            <a:avLst/>
            <a:gdLst/>
            <a:ahLst/>
            <a:cxnLst/>
            <a:rect l="l" t="t" r="r" b="b"/>
            <a:pathLst>
              <a:path w="2317" h="1219" extrusionOk="0">
                <a:moveTo>
                  <a:pt x="1167" y="0"/>
                </a:moveTo>
                <a:lnTo>
                  <a:pt x="0" y="607"/>
                </a:lnTo>
                <a:lnTo>
                  <a:pt x="1153" y="1219"/>
                </a:lnTo>
                <a:lnTo>
                  <a:pt x="2317" y="615"/>
                </a:lnTo>
                <a:lnTo>
                  <a:pt x="1167" y="0"/>
                </a:lnTo>
                <a:close/>
              </a:path>
            </a:pathLst>
          </a:custGeom>
          <a:gradFill flip="none" rotWithShape="1">
            <a:gsLst>
              <a:gs pos="0">
                <a:schemeClr val="accent1">
                  <a:lumMod val="20000"/>
                  <a:lumOff val="80000"/>
                </a:schemeClr>
              </a:gs>
              <a:gs pos="52000">
                <a:schemeClr val="accent1">
                  <a:lumMod val="40000"/>
                  <a:lumOff val="60000"/>
                </a:schemeClr>
              </a:gs>
              <a:gs pos="100000">
                <a:schemeClr val="accent1">
                  <a:lumMod val="60000"/>
                  <a:lumOff val="40000"/>
                </a:schemeClr>
              </a:gs>
            </a:gsLst>
            <a:lin ang="5400000" scaled="1"/>
            <a:tileRect/>
          </a:gradFill>
          <a:ln w="51262"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HarmonyOS Sans SC"/>
              <a:cs typeface="+mn-cs"/>
              <a:sym typeface="Arial"/>
            </a:endParaRPr>
          </a:p>
        </p:txBody>
      </p:sp>
      <p:sp>
        <p:nvSpPr>
          <p:cNvPr id="23" name="Google Shape;424;p48">
            <a:extLst>
              <a:ext uri="{FF2B5EF4-FFF2-40B4-BE49-F238E27FC236}">
                <a16:creationId xmlns:a16="http://schemas.microsoft.com/office/drawing/2014/main" id="{6A3EA2BF-4562-4EAD-A9C2-08814BF2A56D}"/>
              </a:ext>
            </a:extLst>
          </p:cNvPr>
          <p:cNvSpPr/>
          <p:nvPr/>
        </p:nvSpPr>
        <p:spPr>
          <a:xfrm>
            <a:off x="1108572" y="4233183"/>
            <a:ext cx="2227263" cy="1868488"/>
          </a:xfrm>
          <a:custGeom>
            <a:avLst/>
            <a:gdLst/>
            <a:ahLst/>
            <a:cxnLst/>
            <a:rect l="l" t="t" r="r" b="b"/>
            <a:pathLst>
              <a:path w="10000" h="10000" extrusionOk="0">
                <a:moveTo>
                  <a:pt x="10000" y="5200"/>
                </a:moveTo>
                <a:lnTo>
                  <a:pt x="1746" y="0"/>
                </a:lnTo>
                <a:lnTo>
                  <a:pt x="0" y="3653"/>
                </a:lnTo>
                <a:lnTo>
                  <a:pt x="9968" y="10000"/>
                </a:lnTo>
                <a:cubicBezTo>
                  <a:pt x="9979" y="8400"/>
                  <a:pt x="9989" y="6800"/>
                  <a:pt x="10000" y="5200"/>
                </a:cubicBezTo>
                <a:close/>
              </a:path>
            </a:pathLst>
          </a:custGeom>
          <a:gradFill flip="none" rotWithShape="1">
            <a:gsLst>
              <a:gs pos="0">
                <a:schemeClr val="accent1">
                  <a:lumMod val="74000"/>
                  <a:lumOff val="26000"/>
                </a:schemeClr>
              </a:gs>
              <a:gs pos="63000">
                <a:schemeClr val="accent1">
                  <a:lumMod val="93000"/>
                </a:schemeClr>
              </a:gs>
            </a:gsLst>
            <a:lin ang="7200000" scaled="0"/>
            <a:tileRect/>
          </a:gradFill>
          <a:ln w="1270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HarmonyOS Sans SC"/>
              <a:cs typeface="+mn-cs"/>
              <a:sym typeface="Arial"/>
            </a:endParaRPr>
          </a:p>
        </p:txBody>
      </p:sp>
      <p:sp>
        <p:nvSpPr>
          <p:cNvPr id="24" name="Google Shape;425;p48">
            <a:extLst>
              <a:ext uri="{FF2B5EF4-FFF2-40B4-BE49-F238E27FC236}">
                <a16:creationId xmlns:a16="http://schemas.microsoft.com/office/drawing/2014/main" id="{C523E1E2-B8BA-4D44-A9DF-AF9DD907AE9B}"/>
              </a:ext>
            </a:extLst>
          </p:cNvPr>
          <p:cNvSpPr/>
          <p:nvPr/>
        </p:nvSpPr>
        <p:spPr>
          <a:xfrm>
            <a:off x="3324722" y="4248190"/>
            <a:ext cx="2241550" cy="1853480"/>
          </a:xfrm>
          <a:custGeom>
            <a:avLst/>
            <a:gdLst/>
            <a:ahLst/>
            <a:cxnLst/>
            <a:rect l="l" t="t" r="r" b="b"/>
            <a:pathLst>
              <a:path w="10000" h="9962" extrusionOk="0">
                <a:moveTo>
                  <a:pt x="0" y="5141"/>
                </a:moveTo>
                <a:lnTo>
                  <a:pt x="8247" y="0"/>
                </a:lnTo>
                <a:lnTo>
                  <a:pt x="10000" y="3605"/>
                </a:lnTo>
                <a:lnTo>
                  <a:pt x="0" y="9962"/>
                </a:lnTo>
                <a:lnTo>
                  <a:pt x="0" y="5141"/>
                </a:lnTo>
                <a:close/>
              </a:path>
            </a:pathLst>
          </a:custGeom>
          <a:gradFill flip="none" rotWithShape="1">
            <a:gsLst>
              <a:gs pos="0">
                <a:schemeClr val="accent1">
                  <a:lumMod val="59000"/>
                  <a:lumOff val="41000"/>
                </a:schemeClr>
              </a:gs>
              <a:gs pos="63000">
                <a:schemeClr val="accent1">
                  <a:lumMod val="92000"/>
                  <a:lumOff val="8000"/>
                </a:schemeClr>
              </a:gs>
            </a:gsLst>
            <a:lin ang="5400000" scaled="1"/>
            <a:tileRect/>
          </a:gradFill>
          <a:ln w="1270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HarmonyOS Sans SC"/>
              <a:cs typeface="+mn-cs"/>
              <a:sym typeface="Arial"/>
            </a:endParaRPr>
          </a:p>
        </p:txBody>
      </p:sp>
      <p:sp>
        <p:nvSpPr>
          <p:cNvPr id="19" name="Google Shape;427;p48">
            <a:extLst>
              <a:ext uri="{FF2B5EF4-FFF2-40B4-BE49-F238E27FC236}">
                <a16:creationId xmlns:a16="http://schemas.microsoft.com/office/drawing/2014/main" id="{ACDF635A-52BA-4024-8B2E-8B57B895DFCA}"/>
              </a:ext>
            </a:extLst>
          </p:cNvPr>
          <p:cNvSpPr/>
          <p:nvPr/>
        </p:nvSpPr>
        <p:spPr>
          <a:xfrm>
            <a:off x="1978522" y="2650445"/>
            <a:ext cx="2717800" cy="1433513"/>
          </a:xfrm>
          <a:custGeom>
            <a:avLst/>
            <a:gdLst/>
            <a:ahLst/>
            <a:cxnLst/>
            <a:rect l="l" t="t" r="r" b="b"/>
            <a:pathLst>
              <a:path w="1712" h="903" extrusionOk="0">
                <a:moveTo>
                  <a:pt x="845" y="0"/>
                </a:moveTo>
                <a:lnTo>
                  <a:pt x="0" y="451"/>
                </a:lnTo>
                <a:lnTo>
                  <a:pt x="836" y="903"/>
                </a:lnTo>
                <a:lnTo>
                  <a:pt x="1712" y="437"/>
                </a:lnTo>
                <a:lnTo>
                  <a:pt x="845" y="0"/>
                </a:lnTo>
                <a:close/>
              </a:path>
            </a:pathLst>
          </a:custGeom>
          <a:gradFill flip="none" rotWithShape="1">
            <a:gsLst>
              <a:gs pos="0">
                <a:schemeClr val="accent1">
                  <a:lumMod val="20000"/>
                  <a:lumOff val="80000"/>
                </a:schemeClr>
              </a:gs>
              <a:gs pos="52000">
                <a:schemeClr val="accent1">
                  <a:lumMod val="40000"/>
                  <a:lumOff val="60000"/>
                </a:schemeClr>
              </a:gs>
              <a:gs pos="100000">
                <a:schemeClr val="accent1">
                  <a:lumMod val="60000"/>
                  <a:lumOff val="40000"/>
                </a:schemeClr>
              </a:gs>
            </a:gsLst>
            <a:lin ang="5400000" scaled="1"/>
            <a:tileRect/>
          </a:gradFill>
          <a:ln w="51262"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HarmonyOS Sans SC"/>
              <a:cs typeface="+mn-cs"/>
              <a:sym typeface="Arial"/>
            </a:endParaRPr>
          </a:p>
        </p:txBody>
      </p:sp>
      <p:sp>
        <p:nvSpPr>
          <p:cNvPr id="20" name="Google Shape;428;p48">
            <a:extLst>
              <a:ext uri="{FF2B5EF4-FFF2-40B4-BE49-F238E27FC236}">
                <a16:creationId xmlns:a16="http://schemas.microsoft.com/office/drawing/2014/main" id="{FE5E8B77-23E9-4D9D-BEB3-01B507C33DD1}"/>
              </a:ext>
            </a:extLst>
          </p:cNvPr>
          <p:cNvSpPr/>
          <p:nvPr/>
        </p:nvSpPr>
        <p:spPr>
          <a:xfrm>
            <a:off x="1587997" y="3366408"/>
            <a:ext cx="1725613" cy="1593850"/>
          </a:xfrm>
          <a:custGeom>
            <a:avLst/>
            <a:gdLst/>
            <a:ahLst/>
            <a:cxnLst/>
            <a:rect l="l" t="t" r="r" b="b"/>
            <a:pathLst>
              <a:path w="10000" h="10000" extrusionOk="0">
                <a:moveTo>
                  <a:pt x="10000" y="4402"/>
                </a:moveTo>
                <a:lnTo>
                  <a:pt x="2263" y="0"/>
                </a:lnTo>
                <a:lnTo>
                  <a:pt x="0" y="4263"/>
                </a:lnTo>
                <a:lnTo>
                  <a:pt x="9959" y="10000"/>
                </a:lnTo>
                <a:cubicBezTo>
                  <a:pt x="9973" y="8134"/>
                  <a:pt x="9986" y="6268"/>
                  <a:pt x="10000" y="4402"/>
                </a:cubicBezTo>
                <a:close/>
              </a:path>
            </a:pathLst>
          </a:custGeom>
          <a:gradFill flip="none" rotWithShape="1">
            <a:gsLst>
              <a:gs pos="0">
                <a:schemeClr val="accent1">
                  <a:lumMod val="71000"/>
                  <a:lumOff val="29000"/>
                </a:schemeClr>
              </a:gs>
              <a:gs pos="63000">
                <a:schemeClr val="accent1"/>
              </a:gs>
            </a:gsLst>
            <a:lin ang="7200000" scaled="0"/>
            <a:tileRect/>
          </a:gradFill>
          <a:ln w="1270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HarmonyOS Sans SC"/>
              <a:cs typeface="+mn-cs"/>
              <a:sym typeface="Arial"/>
            </a:endParaRPr>
          </a:p>
        </p:txBody>
      </p:sp>
      <p:sp>
        <p:nvSpPr>
          <p:cNvPr id="21" name="Google Shape;429;p48">
            <a:extLst>
              <a:ext uri="{FF2B5EF4-FFF2-40B4-BE49-F238E27FC236}">
                <a16:creationId xmlns:a16="http://schemas.microsoft.com/office/drawing/2014/main" id="{115E95A4-BE34-4E82-96C3-42AAD9082D41}"/>
              </a:ext>
            </a:extLst>
          </p:cNvPr>
          <p:cNvSpPr/>
          <p:nvPr/>
        </p:nvSpPr>
        <p:spPr>
          <a:xfrm>
            <a:off x="3302497" y="3344183"/>
            <a:ext cx="1784350" cy="1616075"/>
          </a:xfrm>
          <a:custGeom>
            <a:avLst/>
            <a:gdLst/>
            <a:ahLst/>
            <a:cxnLst/>
            <a:rect l="l" t="t" r="r" b="b"/>
            <a:pathLst>
              <a:path w="1124" h="1018" extrusionOk="0">
                <a:moveTo>
                  <a:pt x="0" y="456"/>
                </a:moveTo>
                <a:lnTo>
                  <a:pt x="878" y="0"/>
                </a:lnTo>
                <a:lnTo>
                  <a:pt x="1124" y="428"/>
                </a:lnTo>
                <a:lnTo>
                  <a:pt x="0" y="1018"/>
                </a:lnTo>
                <a:lnTo>
                  <a:pt x="0" y="456"/>
                </a:lnTo>
                <a:close/>
              </a:path>
            </a:pathLst>
          </a:custGeom>
          <a:gradFill flip="none" rotWithShape="1">
            <a:gsLst>
              <a:gs pos="0">
                <a:schemeClr val="accent1">
                  <a:lumMod val="49000"/>
                  <a:lumOff val="51000"/>
                </a:schemeClr>
              </a:gs>
              <a:gs pos="63000">
                <a:schemeClr val="accent1">
                  <a:lumMod val="78000"/>
                  <a:lumOff val="22000"/>
                </a:schemeClr>
              </a:gs>
            </a:gsLst>
            <a:lin ang="5400000" scaled="1"/>
            <a:tileRect/>
          </a:gradFill>
          <a:ln w="1270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HarmonyOS Sans SC"/>
              <a:cs typeface="+mn-cs"/>
              <a:sym typeface="Arial"/>
            </a:endParaRPr>
          </a:p>
        </p:txBody>
      </p:sp>
      <p:sp>
        <p:nvSpPr>
          <p:cNvPr id="16" name="Google Shape;431;p48">
            <a:extLst>
              <a:ext uri="{FF2B5EF4-FFF2-40B4-BE49-F238E27FC236}">
                <a16:creationId xmlns:a16="http://schemas.microsoft.com/office/drawing/2014/main" id="{0FEA84E5-5AEA-4141-9CF4-679762A46C7B}"/>
              </a:ext>
            </a:extLst>
          </p:cNvPr>
          <p:cNvSpPr/>
          <p:nvPr/>
        </p:nvSpPr>
        <p:spPr>
          <a:xfrm>
            <a:off x="2518272" y="2050370"/>
            <a:ext cx="1643063" cy="858838"/>
          </a:xfrm>
          <a:custGeom>
            <a:avLst/>
            <a:gdLst/>
            <a:ahLst/>
            <a:cxnLst/>
            <a:rect l="l" t="t" r="r" b="b"/>
            <a:pathLst>
              <a:path w="1035" h="541" extrusionOk="0">
                <a:moveTo>
                  <a:pt x="517" y="0"/>
                </a:moveTo>
                <a:lnTo>
                  <a:pt x="0" y="272"/>
                </a:lnTo>
                <a:lnTo>
                  <a:pt x="513" y="541"/>
                </a:lnTo>
                <a:lnTo>
                  <a:pt x="1035" y="272"/>
                </a:lnTo>
                <a:lnTo>
                  <a:pt x="517" y="0"/>
                </a:lnTo>
                <a:close/>
              </a:path>
            </a:pathLst>
          </a:custGeom>
          <a:gradFill flip="none" rotWithShape="1">
            <a:gsLst>
              <a:gs pos="0">
                <a:schemeClr val="accent1">
                  <a:lumMod val="20000"/>
                  <a:lumOff val="80000"/>
                </a:schemeClr>
              </a:gs>
              <a:gs pos="52000">
                <a:schemeClr val="accent1">
                  <a:lumMod val="40000"/>
                  <a:lumOff val="60000"/>
                </a:schemeClr>
              </a:gs>
              <a:gs pos="100000">
                <a:schemeClr val="accent1">
                  <a:lumMod val="60000"/>
                  <a:lumOff val="40000"/>
                </a:schemeClr>
              </a:gs>
            </a:gsLst>
            <a:lin ang="5400000" scaled="1"/>
            <a:tileRect/>
          </a:gradFill>
          <a:ln w="51262"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HarmonyOS Sans SC"/>
              <a:cs typeface="+mn-cs"/>
              <a:sym typeface="Arial"/>
            </a:endParaRPr>
          </a:p>
        </p:txBody>
      </p:sp>
      <p:sp>
        <p:nvSpPr>
          <p:cNvPr id="17" name="Google Shape;432;p48">
            <a:extLst>
              <a:ext uri="{FF2B5EF4-FFF2-40B4-BE49-F238E27FC236}">
                <a16:creationId xmlns:a16="http://schemas.microsoft.com/office/drawing/2014/main" id="{A3521DBD-387A-40EA-B2DA-B64E88D669E5}"/>
              </a:ext>
            </a:extLst>
          </p:cNvPr>
          <p:cNvSpPr/>
          <p:nvPr/>
        </p:nvSpPr>
        <p:spPr>
          <a:xfrm>
            <a:off x="2127747" y="2482170"/>
            <a:ext cx="1216025" cy="1323975"/>
          </a:xfrm>
          <a:custGeom>
            <a:avLst/>
            <a:gdLst/>
            <a:ahLst/>
            <a:cxnLst/>
            <a:rect l="l" t="t" r="r" b="b"/>
            <a:pathLst>
              <a:path w="10000" h="10000" extrusionOk="0">
                <a:moveTo>
                  <a:pt x="10000" y="3225"/>
                </a:moveTo>
                <a:lnTo>
                  <a:pt x="3211" y="0"/>
                </a:lnTo>
                <a:lnTo>
                  <a:pt x="0" y="5132"/>
                </a:lnTo>
                <a:lnTo>
                  <a:pt x="9922" y="10000"/>
                </a:lnTo>
                <a:cubicBezTo>
                  <a:pt x="9948" y="7742"/>
                  <a:pt x="9974" y="5483"/>
                  <a:pt x="10000" y="3225"/>
                </a:cubicBezTo>
                <a:close/>
              </a:path>
            </a:pathLst>
          </a:custGeom>
          <a:gradFill flip="none" rotWithShape="1">
            <a:gsLst>
              <a:gs pos="0">
                <a:schemeClr val="accent1">
                  <a:lumMod val="65000"/>
                  <a:lumOff val="35000"/>
                </a:schemeClr>
              </a:gs>
              <a:gs pos="63000">
                <a:schemeClr val="accent1">
                  <a:lumMod val="87000"/>
                  <a:lumOff val="13000"/>
                </a:schemeClr>
              </a:gs>
            </a:gsLst>
            <a:lin ang="5400000" scaled="1"/>
            <a:tileRect/>
          </a:gradFill>
          <a:ln w="1270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HarmonyOS Sans SC"/>
              <a:cs typeface="+mn-cs"/>
              <a:sym typeface="Arial"/>
            </a:endParaRPr>
          </a:p>
        </p:txBody>
      </p:sp>
      <p:sp>
        <p:nvSpPr>
          <p:cNvPr id="18" name="Google Shape;433;p48">
            <a:extLst>
              <a:ext uri="{FF2B5EF4-FFF2-40B4-BE49-F238E27FC236}">
                <a16:creationId xmlns:a16="http://schemas.microsoft.com/office/drawing/2014/main" id="{B90AD8A2-BC00-49C3-B9D3-7466AA1185A7}"/>
              </a:ext>
            </a:extLst>
          </p:cNvPr>
          <p:cNvSpPr/>
          <p:nvPr/>
        </p:nvSpPr>
        <p:spPr>
          <a:xfrm>
            <a:off x="3332660" y="2484554"/>
            <a:ext cx="1214438" cy="1321592"/>
          </a:xfrm>
          <a:custGeom>
            <a:avLst/>
            <a:gdLst/>
            <a:ahLst/>
            <a:cxnLst/>
            <a:rect l="l" t="t" r="r" b="b"/>
            <a:pathLst>
              <a:path w="10000" h="9982" extrusionOk="0">
                <a:moveTo>
                  <a:pt x="0" y="3207"/>
                </a:moveTo>
                <a:lnTo>
                  <a:pt x="6824" y="0"/>
                </a:lnTo>
                <a:lnTo>
                  <a:pt x="10000" y="5114"/>
                </a:lnTo>
                <a:lnTo>
                  <a:pt x="0" y="9982"/>
                </a:lnTo>
                <a:lnTo>
                  <a:pt x="0" y="3207"/>
                </a:lnTo>
                <a:close/>
              </a:path>
            </a:pathLst>
          </a:custGeom>
          <a:gradFill flip="none" rotWithShape="1">
            <a:gsLst>
              <a:gs pos="0">
                <a:schemeClr val="accent1">
                  <a:lumMod val="51000"/>
                  <a:lumOff val="49000"/>
                </a:schemeClr>
              </a:gs>
              <a:gs pos="100000">
                <a:schemeClr val="accent1">
                  <a:lumMod val="95000"/>
                  <a:lumOff val="5000"/>
                </a:schemeClr>
              </a:gs>
            </a:gsLst>
            <a:lin ang="2700000" scaled="1"/>
            <a:tileRect/>
          </a:gradFill>
          <a:ln w="51262"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HarmonyOS Sans SC"/>
              <a:cs typeface="+mn-cs"/>
              <a:sym typeface="Calibri"/>
            </a:endParaRPr>
          </a:p>
        </p:txBody>
      </p:sp>
      <p:sp>
        <p:nvSpPr>
          <p:cNvPr id="14" name="Google Shape;435;p48">
            <a:extLst>
              <a:ext uri="{FF2B5EF4-FFF2-40B4-BE49-F238E27FC236}">
                <a16:creationId xmlns:a16="http://schemas.microsoft.com/office/drawing/2014/main" id="{7F7A4D11-423C-4002-A8A4-122B071971AA}"/>
              </a:ext>
            </a:extLst>
          </p:cNvPr>
          <p:cNvSpPr/>
          <p:nvPr/>
        </p:nvSpPr>
        <p:spPr>
          <a:xfrm>
            <a:off x="2624635" y="1061358"/>
            <a:ext cx="712788" cy="1589088"/>
          </a:xfrm>
          <a:custGeom>
            <a:avLst/>
            <a:gdLst/>
            <a:ahLst/>
            <a:cxnLst/>
            <a:rect l="l" t="t" r="r" b="b"/>
            <a:pathLst>
              <a:path w="449" h="1001" extrusionOk="0">
                <a:moveTo>
                  <a:pt x="449" y="0"/>
                </a:moveTo>
                <a:lnTo>
                  <a:pt x="449" y="1001"/>
                </a:lnTo>
                <a:lnTo>
                  <a:pt x="0" y="772"/>
                </a:lnTo>
                <a:lnTo>
                  <a:pt x="449" y="0"/>
                </a:lnTo>
                <a:close/>
              </a:path>
            </a:pathLst>
          </a:custGeom>
          <a:gradFill flip="none" rotWithShape="1">
            <a:gsLst>
              <a:gs pos="0">
                <a:schemeClr val="accent1">
                  <a:lumMod val="20000"/>
                  <a:lumOff val="80000"/>
                </a:schemeClr>
              </a:gs>
              <a:gs pos="52000">
                <a:schemeClr val="accent1">
                  <a:lumMod val="52000"/>
                  <a:lumOff val="48000"/>
                </a:schemeClr>
              </a:gs>
              <a:gs pos="100000">
                <a:schemeClr val="accent1">
                  <a:lumMod val="96000"/>
                  <a:lumOff val="4000"/>
                </a:schemeClr>
              </a:gs>
            </a:gsLst>
            <a:lin ang="5400000" scaled="1"/>
            <a:tileRect/>
          </a:gradFill>
          <a:ln w="51262"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HarmonyOS Sans SC"/>
              <a:cs typeface="+mn-cs"/>
              <a:sym typeface="Arial"/>
            </a:endParaRPr>
          </a:p>
        </p:txBody>
      </p:sp>
      <p:sp>
        <p:nvSpPr>
          <p:cNvPr id="15" name="Google Shape;436;p48">
            <a:extLst>
              <a:ext uri="{FF2B5EF4-FFF2-40B4-BE49-F238E27FC236}">
                <a16:creationId xmlns:a16="http://schemas.microsoft.com/office/drawing/2014/main" id="{F33A7A1B-8B33-4FDD-942F-29A1661F6F24}"/>
              </a:ext>
            </a:extLst>
          </p:cNvPr>
          <p:cNvSpPr/>
          <p:nvPr/>
        </p:nvSpPr>
        <p:spPr>
          <a:xfrm>
            <a:off x="3337422" y="1061358"/>
            <a:ext cx="712788" cy="1589088"/>
          </a:xfrm>
          <a:custGeom>
            <a:avLst/>
            <a:gdLst/>
            <a:ahLst/>
            <a:cxnLst/>
            <a:rect l="l" t="t" r="r" b="b"/>
            <a:pathLst>
              <a:path w="449" h="1001" extrusionOk="0">
                <a:moveTo>
                  <a:pt x="0" y="0"/>
                </a:moveTo>
                <a:lnTo>
                  <a:pt x="0" y="1001"/>
                </a:lnTo>
                <a:lnTo>
                  <a:pt x="449" y="772"/>
                </a:lnTo>
                <a:lnTo>
                  <a:pt x="0" y="0"/>
                </a:lnTo>
                <a:close/>
              </a:path>
            </a:pathLst>
          </a:custGeom>
          <a:gradFill flip="none" rotWithShape="1">
            <a:gsLst>
              <a:gs pos="0">
                <a:schemeClr val="accent1">
                  <a:lumMod val="20000"/>
                  <a:lumOff val="80000"/>
                </a:schemeClr>
              </a:gs>
              <a:gs pos="52000">
                <a:schemeClr val="accent1">
                  <a:lumMod val="40000"/>
                  <a:lumOff val="60000"/>
                </a:schemeClr>
              </a:gs>
              <a:gs pos="100000">
                <a:schemeClr val="accent1">
                  <a:lumMod val="60000"/>
                  <a:lumOff val="40000"/>
                </a:schemeClr>
              </a:gs>
            </a:gsLst>
            <a:lin ang="5400000" scaled="1"/>
            <a:tileRect/>
          </a:gradFill>
          <a:ln w="51262"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HarmonyOS Sans SC"/>
              <a:cs typeface="+mn-cs"/>
              <a:sym typeface="Arial"/>
            </a:endParaRPr>
          </a:p>
        </p:txBody>
      </p:sp>
      <p:sp>
        <p:nvSpPr>
          <p:cNvPr id="27" name="Google Shape;439;p48">
            <a:extLst>
              <a:ext uri="{FF2B5EF4-FFF2-40B4-BE49-F238E27FC236}">
                <a16:creationId xmlns:a16="http://schemas.microsoft.com/office/drawing/2014/main" id="{EEC95C01-C812-4A29-B9B3-D8A0E306A281}"/>
              </a:ext>
            </a:extLst>
          </p:cNvPr>
          <p:cNvSpPr txBox="1"/>
          <p:nvPr/>
        </p:nvSpPr>
        <p:spPr>
          <a:xfrm>
            <a:off x="6498486" y="3925519"/>
            <a:ext cx="4827729" cy="606833"/>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200000"/>
              </a:lnSpc>
              <a:spcBef>
                <a:spcPts val="0"/>
              </a:spcBef>
              <a:spcAft>
                <a:spcPts val="0"/>
              </a:spcAft>
              <a:buClr>
                <a:srgbClr val="000000"/>
              </a:buClr>
              <a:buSzTx/>
              <a:buFont typeface="Arial"/>
              <a:buNone/>
              <a:tabLst/>
              <a:defRPr/>
            </a:pPr>
            <a:r>
              <a:rPr kumimoji="0" lang="en-US" sz="900" b="0" i="0" u="none" strike="noStrike" kern="0" cap="none" spc="0" normalizeH="0" baseline="0" noProof="0" dirty="0">
                <a:ln>
                  <a:noFill/>
                </a:ln>
                <a:solidFill>
                  <a:prstClr val="black">
                    <a:lumMod val="50000"/>
                    <a:lumOff val="50000"/>
                  </a:prstClr>
                </a:solidFill>
                <a:effectLst/>
                <a:uLnTx/>
                <a:uFillTx/>
                <a:latin typeface="HarmonyOS Sans SC"/>
                <a:cs typeface="Open Sans"/>
                <a:sym typeface="Open Sans"/>
              </a:rPr>
              <a:t>Lorem </a:t>
            </a:r>
            <a:r>
              <a:rPr kumimoji="0" lang="en-US" sz="900" b="0" i="0" u="none" strike="noStrike" kern="0" cap="none" spc="0" normalizeH="0" baseline="0" noProof="0" dirty="0" err="1">
                <a:ln>
                  <a:noFill/>
                </a:ln>
                <a:solidFill>
                  <a:prstClr val="black">
                    <a:lumMod val="50000"/>
                    <a:lumOff val="50000"/>
                  </a:prstClr>
                </a:solidFill>
                <a:effectLst/>
                <a:uLnTx/>
                <a:uFillTx/>
                <a:latin typeface="HarmonyOS Sans SC"/>
                <a:cs typeface="Open Sans"/>
                <a:sym typeface="Open Sans"/>
              </a:rPr>
              <a:t>ipsu</a:t>
            </a:r>
            <a:r>
              <a:rPr kumimoji="0" lang="en-US" sz="900" b="0" i="0" u="none" strike="noStrike" kern="0" cap="none" spc="0" normalizeH="0" baseline="0" noProof="0" dirty="0">
                <a:ln>
                  <a:noFill/>
                </a:ln>
                <a:solidFill>
                  <a:prstClr val="black">
                    <a:lumMod val="50000"/>
                    <a:lumOff val="50000"/>
                  </a:prstClr>
                </a:solidFill>
                <a:effectLst/>
                <a:uLnTx/>
                <a:uFillTx/>
                <a:latin typeface="HarmonyOS Sans SC"/>
                <a:cs typeface="Open Sans"/>
                <a:sym typeface="Open Sans"/>
              </a:rPr>
              <a:t> </a:t>
            </a:r>
            <a:r>
              <a:rPr kumimoji="0" lang="en-US" sz="900" b="0" i="0" u="none" strike="noStrike" kern="0" cap="none" spc="0" normalizeH="0" baseline="0" noProof="0" dirty="0" err="1">
                <a:ln>
                  <a:noFill/>
                </a:ln>
                <a:solidFill>
                  <a:prstClr val="black">
                    <a:lumMod val="50000"/>
                    <a:lumOff val="50000"/>
                  </a:prstClr>
                </a:solidFill>
                <a:effectLst/>
                <a:uLnTx/>
                <a:uFillTx/>
                <a:latin typeface="HarmonyOS Sans SC"/>
                <a:cs typeface="Open Sans"/>
                <a:sym typeface="Open Sans"/>
              </a:rPr>
              <a:t>conse</a:t>
            </a:r>
            <a:r>
              <a:rPr kumimoji="0" lang="en-US" sz="900" b="0" i="0" u="none" strike="noStrike" kern="0" cap="none" spc="0" normalizeH="0" baseline="0" noProof="0" dirty="0">
                <a:ln>
                  <a:noFill/>
                </a:ln>
                <a:solidFill>
                  <a:prstClr val="black">
                    <a:lumMod val="50000"/>
                    <a:lumOff val="50000"/>
                  </a:prstClr>
                </a:solidFill>
                <a:effectLst/>
                <a:uLnTx/>
                <a:uFillTx/>
                <a:latin typeface="HarmonyOS Sans SC"/>
                <a:cs typeface="Open Sans"/>
                <a:sym typeface="Open Sans"/>
              </a:rPr>
              <a:t> </a:t>
            </a:r>
            <a:r>
              <a:rPr kumimoji="0" lang="en-US" sz="900" b="0" i="0" u="none" strike="noStrike" kern="0" cap="none" spc="0" normalizeH="0" baseline="0" noProof="0" dirty="0" err="1">
                <a:ln>
                  <a:noFill/>
                </a:ln>
                <a:solidFill>
                  <a:prstClr val="black">
                    <a:lumMod val="50000"/>
                    <a:lumOff val="50000"/>
                  </a:prstClr>
                </a:solidFill>
                <a:effectLst/>
                <a:uLnTx/>
                <a:uFillTx/>
                <a:latin typeface="HarmonyOS Sans SC"/>
                <a:cs typeface="Open Sans"/>
                <a:sym typeface="Open Sans"/>
              </a:rPr>
              <a:t>lectus</a:t>
            </a:r>
            <a:r>
              <a:rPr kumimoji="0" lang="en-US" sz="900" b="0" i="0" u="none" strike="noStrike" kern="0" cap="none" spc="0" normalizeH="0" baseline="0" noProof="0" dirty="0">
                <a:ln>
                  <a:noFill/>
                </a:ln>
                <a:solidFill>
                  <a:prstClr val="black">
                    <a:lumMod val="50000"/>
                    <a:lumOff val="50000"/>
                  </a:prstClr>
                </a:solidFill>
                <a:effectLst/>
                <a:uLnTx/>
                <a:uFillTx/>
                <a:latin typeface="HarmonyOS Sans SC"/>
                <a:cs typeface="Open Sans"/>
                <a:sym typeface="Open Sans"/>
              </a:rPr>
              <a:t> </a:t>
            </a:r>
            <a:r>
              <a:rPr kumimoji="0" lang="en-US" sz="900" b="0" i="0" u="none" strike="noStrike" kern="0" cap="none" spc="0" normalizeH="0" baseline="0" noProof="0" dirty="0" err="1">
                <a:ln>
                  <a:noFill/>
                </a:ln>
                <a:solidFill>
                  <a:prstClr val="black">
                    <a:lumMod val="50000"/>
                    <a:lumOff val="50000"/>
                  </a:prstClr>
                </a:solidFill>
                <a:effectLst/>
                <a:uLnTx/>
                <a:uFillTx/>
                <a:latin typeface="HarmonyOS Sans SC"/>
                <a:cs typeface="Open Sans"/>
                <a:sym typeface="Open Sans"/>
              </a:rPr>
              <a:t>ornare</a:t>
            </a:r>
            <a:r>
              <a:rPr kumimoji="0" lang="en-US" sz="900" b="0" i="0" u="none" strike="noStrike" kern="0" cap="none" spc="0" normalizeH="0" baseline="0" noProof="0" dirty="0">
                <a:ln>
                  <a:noFill/>
                </a:ln>
                <a:solidFill>
                  <a:prstClr val="black">
                    <a:lumMod val="50000"/>
                    <a:lumOff val="50000"/>
                  </a:prstClr>
                </a:solidFill>
                <a:effectLst/>
                <a:uLnTx/>
                <a:uFillTx/>
                <a:latin typeface="HarmonyOS Sans SC"/>
                <a:cs typeface="Open Sans"/>
                <a:sym typeface="Open Sans"/>
              </a:rPr>
              <a:t>, </a:t>
            </a:r>
            <a:r>
              <a:rPr kumimoji="0" lang="en-US" sz="900" b="0" i="0" u="none" strike="noStrike" kern="0" cap="none" spc="0" normalizeH="0" baseline="0" noProof="0" dirty="0" err="1">
                <a:ln>
                  <a:noFill/>
                </a:ln>
                <a:solidFill>
                  <a:prstClr val="black">
                    <a:lumMod val="50000"/>
                    <a:lumOff val="50000"/>
                  </a:prstClr>
                </a:solidFill>
                <a:effectLst/>
                <a:uLnTx/>
                <a:uFillTx/>
                <a:latin typeface="HarmonyOS Sans SC"/>
                <a:cs typeface="Open Sans"/>
                <a:sym typeface="Open Sans"/>
              </a:rPr>
              <a:t>viverra</a:t>
            </a:r>
            <a:r>
              <a:rPr kumimoji="0" lang="en-US" sz="900" b="0" i="0" u="none" strike="noStrike" kern="0" cap="none" spc="0" normalizeH="0" baseline="0" noProof="0" dirty="0">
                <a:ln>
                  <a:noFill/>
                </a:ln>
                <a:solidFill>
                  <a:prstClr val="black">
                    <a:lumMod val="50000"/>
                    <a:lumOff val="50000"/>
                  </a:prstClr>
                </a:solidFill>
                <a:effectLst/>
                <a:uLnTx/>
                <a:uFillTx/>
                <a:latin typeface="HarmonyOS Sans SC"/>
                <a:cs typeface="Open Sans"/>
                <a:sym typeface="Open Sans"/>
              </a:rPr>
              <a:t> </a:t>
            </a:r>
            <a:r>
              <a:rPr kumimoji="0" lang="en-US" sz="900" b="0" i="0" u="none" strike="noStrike" kern="0" cap="none" spc="0" normalizeH="0" baseline="0" noProof="0" dirty="0" err="1">
                <a:ln>
                  <a:noFill/>
                </a:ln>
                <a:solidFill>
                  <a:prstClr val="black">
                    <a:lumMod val="50000"/>
                    <a:lumOff val="50000"/>
                  </a:prstClr>
                </a:solidFill>
                <a:effectLst/>
                <a:uLnTx/>
                <a:uFillTx/>
                <a:latin typeface="HarmonyOS Sans SC"/>
                <a:cs typeface="Open Sans"/>
                <a:sym typeface="Open Sans"/>
              </a:rPr>
              <a:t>ctetur</a:t>
            </a:r>
            <a:r>
              <a:rPr kumimoji="0" lang="en-US" sz="900" b="0" i="0" u="none" strike="noStrike" kern="0" cap="none" spc="0" normalizeH="0" baseline="0" noProof="0" dirty="0">
                <a:ln>
                  <a:noFill/>
                </a:ln>
                <a:solidFill>
                  <a:prstClr val="black">
                    <a:lumMod val="50000"/>
                    <a:lumOff val="50000"/>
                  </a:prstClr>
                </a:solidFill>
                <a:effectLst/>
                <a:uLnTx/>
                <a:uFillTx/>
                <a:latin typeface="HarmonyOS Sans SC"/>
                <a:cs typeface="Open Sans"/>
                <a:sym typeface="Open Sans"/>
              </a:rPr>
              <a:t> </a:t>
            </a:r>
            <a:r>
              <a:rPr kumimoji="0" lang="en-US" sz="900" b="0" i="0" u="none" strike="noStrike" kern="0" cap="none" spc="0" normalizeH="0" baseline="0" noProof="0" dirty="0" err="1">
                <a:ln>
                  <a:noFill/>
                </a:ln>
                <a:solidFill>
                  <a:prstClr val="black">
                    <a:lumMod val="50000"/>
                    <a:lumOff val="50000"/>
                  </a:prstClr>
                </a:solidFill>
                <a:effectLst/>
                <a:uLnTx/>
                <a:uFillTx/>
                <a:latin typeface="HarmonyOS Sans SC"/>
                <a:cs typeface="Open Sans"/>
                <a:sym typeface="Open Sans"/>
              </a:rPr>
              <a:t>adipiscing</a:t>
            </a:r>
            <a:r>
              <a:rPr kumimoji="0" lang="en-US" sz="900" b="0" i="0" u="none" strike="noStrike" kern="0" cap="none" spc="0" normalizeH="0" baseline="0" noProof="0" dirty="0">
                <a:ln>
                  <a:noFill/>
                </a:ln>
                <a:solidFill>
                  <a:prstClr val="black">
                    <a:lumMod val="50000"/>
                    <a:lumOff val="50000"/>
                  </a:prstClr>
                </a:solidFill>
                <a:effectLst/>
                <a:uLnTx/>
                <a:uFillTx/>
                <a:latin typeface="HarmonyOS Sans SC"/>
                <a:cs typeface="Open Sans"/>
                <a:sym typeface="Open Sans"/>
              </a:rPr>
              <a:t> </a:t>
            </a:r>
            <a:r>
              <a:rPr kumimoji="0" lang="en-US" sz="900" b="0" i="0" u="none" strike="noStrike" kern="0" cap="none" spc="0" normalizeH="0" baseline="0" noProof="0" dirty="0" err="1">
                <a:ln>
                  <a:noFill/>
                </a:ln>
                <a:solidFill>
                  <a:prstClr val="black">
                    <a:lumMod val="50000"/>
                    <a:lumOff val="50000"/>
                  </a:prstClr>
                </a:solidFill>
                <a:effectLst/>
                <a:uLnTx/>
                <a:uFillTx/>
                <a:latin typeface="HarmonyOS Sans SC"/>
                <a:cs typeface="Open Sans"/>
                <a:sym typeface="Open Sans"/>
              </a:rPr>
              <a:t>elit.llentesque</a:t>
            </a:r>
            <a:r>
              <a:rPr kumimoji="0" lang="en-US" sz="900" b="0" i="0" u="none" strike="noStrike" kern="0" cap="none" spc="0" normalizeH="0" baseline="0" noProof="0" dirty="0">
                <a:ln>
                  <a:noFill/>
                </a:ln>
                <a:solidFill>
                  <a:prstClr val="black">
                    <a:lumMod val="50000"/>
                    <a:lumOff val="50000"/>
                  </a:prstClr>
                </a:solidFill>
                <a:effectLst/>
                <a:uLnTx/>
                <a:uFillTx/>
                <a:latin typeface="HarmonyOS Sans SC"/>
                <a:cs typeface="Open Sans"/>
                <a:sym typeface="Open Sans"/>
              </a:rPr>
              <a:t> </a:t>
            </a:r>
            <a:r>
              <a:rPr kumimoji="0" lang="en-US" sz="900" b="0" i="0" u="none" strike="noStrike" kern="0" cap="none" spc="0" normalizeH="0" baseline="0" noProof="0" dirty="0" err="1">
                <a:ln>
                  <a:noFill/>
                </a:ln>
                <a:solidFill>
                  <a:prstClr val="black">
                    <a:lumMod val="50000"/>
                    <a:lumOff val="50000"/>
                  </a:prstClr>
                </a:solidFill>
                <a:effectLst/>
                <a:uLnTx/>
                <a:uFillTx/>
                <a:latin typeface="HarmonyOS Sans SC"/>
                <a:cs typeface="Open Sans"/>
                <a:sym typeface="Open Sans"/>
              </a:rPr>
              <a:t>scelerisque</a:t>
            </a:r>
            <a:r>
              <a:rPr kumimoji="0" lang="en-US" sz="900" b="0" i="0" u="none" strike="noStrike" kern="0" cap="none" spc="0" normalizeH="0" baseline="0" noProof="0" dirty="0">
                <a:ln>
                  <a:noFill/>
                </a:ln>
                <a:solidFill>
                  <a:prstClr val="black">
                    <a:lumMod val="50000"/>
                    <a:lumOff val="50000"/>
                  </a:prstClr>
                </a:solidFill>
                <a:effectLst/>
                <a:uLnTx/>
                <a:uFillTx/>
                <a:latin typeface="HarmonyOS Sans SC"/>
                <a:cs typeface="Open Sans"/>
                <a:sym typeface="Open Sans"/>
              </a:rPr>
              <a:t> </a:t>
            </a:r>
            <a:r>
              <a:rPr kumimoji="0" lang="en-US" sz="900" b="0" i="0" u="none" strike="noStrike" kern="0" cap="none" spc="0" normalizeH="0" baseline="0" noProof="0" dirty="0" err="1">
                <a:ln>
                  <a:noFill/>
                </a:ln>
                <a:solidFill>
                  <a:prstClr val="black">
                    <a:lumMod val="50000"/>
                    <a:lumOff val="50000"/>
                  </a:prstClr>
                </a:solidFill>
                <a:effectLst/>
                <a:uLnTx/>
                <a:uFillTx/>
                <a:latin typeface="HarmonyOS Sans SC"/>
                <a:cs typeface="Open Sans"/>
                <a:sym typeface="Open Sans"/>
              </a:rPr>
              <a:t>malesuada</a:t>
            </a:r>
            <a:r>
              <a:rPr kumimoji="0" lang="en-US" sz="900" b="0" i="0" u="none" strike="noStrike" kern="0" cap="none" spc="0" normalizeH="0" baseline="0" noProof="0" dirty="0">
                <a:ln>
                  <a:noFill/>
                </a:ln>
                <a:solidFill>
                  <a:prstClr val="black">
                    <a:lumMod val="50000"/>
                    <a:lumOff val="50000"/>
                  </a:prstClr>
                </a:solidFill>
                <a:effectLst/>
                <a:uLnTx/>
                <a:uFillTx/>
                <a:latin typeface="HarmonyOS Sans SC"/>
                <a:cs typeface="Open Sans"/>
                <a:sym typeface="Open Sans"/>
              </a:rPr>
              <a:t> </a:t>
            </a:r>
            <a:r>
              <a:rPr kumimoji="0" lang="en-US" sz="900" b="0" i="0" u="none" strike="noStrike" kern="0" cap="none" spc="0" normalizeH="0" baseline="0" noProof="0" dirty="0" err="1">
                <a:ln>
                  <a:noFill/>
                </a:ln>
                <a:solidFill>
                  <a:prstClr val="black">
                    <a:lumMod val="50000"/>
                    <a:lumOff val="50000"/>
                  </a:prstClr>
                </a:solidFill>
                <a:effectLst/>
                <a:uLnTx/>
                <a:uFillTx/>
                <a:latin typeface="HarmonyOS Sans SC"/>
                <a:cs typeface="Open Sans"/>
                <a:sym typeface="Open Sans"/>
              </a:rPr>
              <a:t>libe</a:t>
            </a:r>
            <a:r>
              <a:rPr kumimoji="0" lang="en-US" sz="900" b="0" i="0" u="none" strike="noStrike" kern="0" cap="none" spc="0" normalizeH="0" baseline="0" noProof="0" dirty="0">
                <a:ln>
                  <a:noFill/>
                </a:ln>
                <a:solidFill>
                  <a:prstClr val="black">
                    <a:lumMod val="50000"/>
                    <a:lumOff val="50000"/>
                  </a:prstClr>
                </a:solidFill>
                <a:effectLst/>
                <a:uLnTx/>
                <a:uFillTx/>
                <a:latin typeface="HarmonyOS Sans SC"/>
                <a:cs typeface="Open Sans"/>
                <a:sym typeface="Open Sans"/>
              </a:rPr>
              <a:t> </a:t>
            </a:r>
            <a:r>
              <a:rPr kumimoji="0" lang="en-US" sz="900" b="0" i="0" u="none" strike="noStrike" kern="0" cap="none" spc="0" normalizeH="0" baseline="0" noProof="0" dirty="0" err="1">
                <a:ln>
                  <a:noFill/>
                </a:ln>
                <a:solidFill>
                  <a:prstClr val="black">
                    <a:lumMod val="50000"/>
                    <a:lumOff val="50000"/>
                  </a:prstClr>
                </a:solidFill>
                <a:effectLst/>
                <a:uLnTx/>
                <a:uFillTx/>
                <a:latin typeface="HarmonyOS Sans SC"/>
                <a:cs typeface="Open Sans"/>
                <a:sym typeface="Open Sans"/>
              </a:rPr>
              <a:t>elit</a:t>
            </a:r>
            <a:r>
              <a:rPr kumimoji="0" lang="en-US" sz="900" b="0" i="0" u="none" strike="noStrike" kern="0" cap="none" spc="0" normalizeH="0" baseline="0" noProof="0" dirty="0">
                <a:ln>
                  <a:noFill/>
                </a:ln>
                <a:solidFill>
                  <a:prstClr val="black">
                    <a:lumMod val="50000"/>
                    <a:lumOff val="50000"/>
                  </a:prstClr>
                </a:solidFill>
                <a:effectLst/>
                <a:uLnTx/>
                <a:uFillTx/>
                <a:latin typeface="HarmonyOS Sans SC"/>
                <a:cs typeface="Open Sans"/>
                <a:sym typeface="Open Sans"/>
              </a:rPr>
              <a:t>. </a:t>
            </a:r>
            <a:r>
              <a:rPr kumimoji="0" lang="en-US" sz="900" b="0" i="0" u="none" strike="noStrike" kern="0" cap="none" spc="0" normalizeH="0" baseline="0" noProof="0" dirty="0" err="1">
                <a:ln>
                  <a:noFill/>
                </a:ln>
                <a:solidFill>
                  <a:prstClr val="black">
                    <a:lumMod val="50000"/>
                    <a:lumOff val="50000"/>
                  </a:prstClr>
                </a:solidFill>
                <a:effectLst/>
                <a:uLnTx/>
                <a:uFillTx/>
                <a:latin typeface="HarmonyOS Sans SC"/>
                <a:cs typeface="Open Sans"/>
                <a:sym typeface="Open Sans"/>
              </a:rPr>
              <a:t>Pellentue</a:t>
            </a:r>
            <a:r>
              <a:rPr kumimoji="0" lang="en-US" sz="900" b="0" i="0" u="none" strike="noStrike" kern="0" cap="none" spc="0" normalizeH="0" baseline="0" noProof="0" dirty="0">
                <a:ln>
                  <a:noFill/>
                </a:ln>
                <a:solidFill>
                  <a:prstClr val="black">
                    <a:lumMod val="50000"/>
                    <a:lumOff val="50000"/>
                  </a:prstClr>
                </a:solidFill>
                <a:effectLst/>
                <a:uLnTx/>
                <a:uFillTx/>
                <a:latin typeface="HarmonyOS Sans SC"/>
                <a:cs typeface="Open Sans"/>
                <a:sym typeface="Open Sans"/>
              </a:rPr>
              <a:t> </a:t>
            </a:r>
            <a:r>
              <a:rPr kumimoji="0" lang="en-US" sz="900" b="0" i="0" u="none" strike="noStrike" kern="0" cap="none" spc="0" normalizeH="0" baseline="0" noProof="0" dirty="0" err="1">
                <a:ln>
                  <a:noFill/>
                </a:ln>
                <a:solidFill>
                  <a:prstClr val="black">
                    <a:lumMod val="50000"/>
                    <a:lumOff val="50000"/>
                  </a:prstClr>
                </a:solidFill>
                <a:effectLst/>
                <a:uLnTx/>
                <a:uFillTx/>
                <a:latin typeface="HarmonyOS Sans SC"/>
                <a:cs typeface="Open Sans"/>
                <a:sym typeface="Open Sans"/>
              </a:rPr>
              <a:t>malesuada</a:t>
            </a:r>
            <a:r>
              <a:rPr kumimoji="0" lang="en-US" sz="900" b="0" i="0" u="none" strike="noStrike" kern="0" cap="none" spc="0" normalizeH="0" baseline="0" noProof="0" dirty="0">
                <a:ln>
                  <a:noFill/>
                </a:ln>
                <a:solidFill>
                  <a:prstClr val="black">
                    <a:lumMod val="50000"/>
                    <a:lumOff val="50000"/>
                  </a:prstClr>
                </a:solidFill>
                <a:effectLst/>
                <a:uLnTx/>
                <a:uFillTx/>
                <a:latin typeface="HarmonyOS Sans SC"/>
                <a:cs typeface="Open Sans"/>
                <a:sym typeface="Open Sans"/>
              </a:rPr>
              <a:t> libero a </a:t>
            </a:r>
            <a:r>
              <a:rPr kumimoji="0" lang="en-US" sz="900" b="0" i="0" u="none" strike="noStrike" kern="0" cap="none" spc="0" normalizeH="0" baseline="0" noProof="0" dirty="0" err="1">
                <a:ln>
                  <a:noFill/>
                </a:ln>
                <a:solidFill>
                  <a:prstClr val="black">
                    <a:lumMod val="50000"/>
                    <a:lumOff val="50000"/>
                  </a:prstClr>
                </a:solidFill>
                <a:effectLst/>
                <a:uLnTx/>
                <a:uFillTx/>
                <a:latin typeface="HarmonyOS Sans SC"/>
                <a:cs typeface="Open Sans"/>
                <a:sym typeface="Open Sans"/>
              </a:rPr>
              <a:t>pellentesque</a:t>
            </a:r>
            <a:endParaRPr kumimoji="0" sz="900" b="0" i="0" u="none" strike="noStrike" kern="0" cap="none" spc="0" normalizeH="0" baseline="0" noProof="0" dirty="0">
              <a:ln>
                <a:noFill/>
              </a:ln>
              <a:solidFill>
                <a:prstClr val="black">
                  <a:lumMod val="50000"/>
                  <a:lumOff val="50000"/>
                </a:prstClr>
              </a:solidFill>
              <a:effectLst/>
              <a:uLnTx/>
              <a:uFillTx/>
              <a:latin typeface="HarmonyOS Sans SC"/>
              <a:cs typeface="Open Sans"/>
              <a:sym typeface="Open Sans"/>
            </a:endParaRPr>
          </a:p>
        </p:txBody>
      </p:sp>
      <p:sp>
        <p:nvSpPr>
          <p:cNvPr id="28" name="Google Shape;440;p48">
            <a:extLst>
              <a:ext uri="{FF2B5EF4-FFF2-40B4-BE49-F238E27FC236}">
                <a16:creationId xmlns:a16="http://schemas.microsoft.com/office/drawing/2014/main" id="{14004DCA-C5EC-4632-8E20-D820248554F0}"/>
              </a:ext>
            </a:extLst>
          </p:cNvPr>
          <p:cNvSpPr/>
          <p:nvPr/>
        </p:nvSpPr>
        <p:spPr>
          <a:xfrm>
            <a:off x="6937272" y="3554979"/>
            <a:ext cx="3605982" cy="307777"/>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0" i="0" u="none" strike="noStrike" kern="0" cap="none" spc="0" normalizeH="0" baseline="0" noProof="0" dirty="0">
                <a:ln>
                  <a:noFill/>
                </a:ln>
                <a:solidFill>
                  <a:prstClr val="black">
                    <a:lumMod val="75000"/>
                    <a:lumOff val="25000"/>
                  </a:prstClr>
                </a:solidFill>
                <a:effectLst/>
                <a:uLnTx/>
                <a:uFillTx/>
                <a:latin typeface="HarmonyOS Sans SC"/>
                <a:cs typeface="Poppins Medium"/>
                <a:sym typeface="Poppins Medium"/>
              </a:rPr>
              <a:t>You’ve Constantly Got Time</a:t>
            </a:r>
            <a:endParaRPr kumimoji="0" sz="1400" b="0" i="0" u="none" strike="noStrike" kern="0" cap="none" spc="0" normalizeH="0" baseline="0" noProof="0" dirty="0">
              <a:ln>
                <a:noFill/>
              </a:ln>
              <a:solidFill>
                <a:prstClr val="black">
                  <a:lumMod val="75000"/>
                  <a:lumOff val="25000"/>
                </a:prstClr>
              </a:solidFill>
              <a:effectLst/>
              <a:uLnTx/>
              <a:uFillTx/>
              <a:latin typeface="HarmonyOS Sans SC"/>
              <a:cs typeface="Poppins Medium"/>
              <a:sym typeface="Poppins Medium"/>
            </a:endParaRPr>
          </a:p>
        </p:txBody>
      </p:sp>
      <p:sp>
        <p:nvSpPr>
          <p:cNvPr id="29" name="Google Shape;441;p48">
            <a:extLst>
              <a:ext uri="{FF2B5EF4-FFF2-40B4-BE49-F238E27FC236}">
                <a16:creationId xmlns:a16="http://schemas.microsoft.com/office/drawing/2014/main" id="{2FE1F233-2B43-4C30-A29B-D7FB6338ABFB}"/>
              </a:ext>
            </a:extLst>
          </p:cNvPr>
          <p:cNvSpPr txBox="1"/>
          <p:nvPr/>
        </p:nvSpPr>
        <p:spPr>
          <a:xfrm>
            <a:off x="6498486" y="5270671"/>
            <a:ext cx="4827729" cy="606833"/>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200000"/>
              </a:lnSpc>
              <a:spcBef>
                <a:spcPts val="0"/>
              </a:spcBef>
              <a:spcAft>
                <a:spcPts val="0"/>
              </a:spcAft>
              <a:buClr>
                <a:srgbClr val="000000"/>
              </a:buClr>
              <a:buSzTx/>
              <a:buFont typeface="Arial"/>
              <a:buNone/>
              <a:tabLst/>
              <a:defRPr/>
            </a:pPr>
            <a:r>
              <a:rPr kumimoji="0" lang="en-US" sz="900" b="0" i="0" u="none" strike="noStrike" kern="0" cap="none" spc="0" normalizeH="0" baseline="0" noProof="0" dirty="0">
                <a:ln>
                  <a:noFill/>
                </a:ln>
                <a:solidFill>
                  <a:prstClr val="black">
                    <a:lumMod val="50000"/>
                    <a:lumOff val="50000"/>
                  </a:prstClr>
                </a:solidFill>
                <a:effectLst/>
                <a:uLnTx/>
                <a:uFillTx/>
                <a:latin typeface="HarmonyOS Sans SC"/>
                <a:cs typeface="Open Sans"/>
                <a:sym typeface="Open Sans"/>
              </a:rPr>
              <a:t>Lorem </a:t>
            </a:r>
            <a:r>
              <a:rPr kumimoji="0" lang="en-US" sz="900" b="0" i="0" u="none" strike="noStrike" kern="0" cap="none" spc="0" normalizeH="0" baseline="0" noProof="0" dirty="0" err="1">
                <a:ln>
                  <a:noFill/>
                </a:ln>
                <a:solidFill>
                  <a:prstClr val="black">
                    <a:lumMod val="50000"/>
                    <a:lumOff val="50000"/>
                  </a:prstClr>
                </a:solidFill>
                <a:effectLst/>
                <a:uLnTx/>
                <a:uFillTx/>
                <a:latin typeface="HarmonyOS Sans SC"/>
                <a:cs typeface="Open Sans"/>
                <a:sym typeface="Open Sans"/>
              </a:rPr>
              <a:t>ipsu</a:t>
            </a:r>
            <a:r>
              <a:rPr kumimoji="0" lang="en-US" sz="900" b="0" i="0" u="none" strike="noStrike" kern="0" cap="none" spc="0" normalizeH="0" baseline="0" noProof="0" dirty="0">
                <a:ln>
                  <a:noFill/>
                </a:ln>
                <a:solidFill>
                  <a:prstClr val="black">
                    <a:lumMod val="50000"/>
                    <a:lumOff val="50000"/>
                  </a:prstClr>
                </a:solidFill>
                <a:effectLst/>
                <a:uLnTx/>
                <a:uFillTx/>
                <a:latin typeface="HarmonyOS Sans SC"/>
                <a:cs typeface="Open Sans"/>
                <a:sym typeface="Open Sans"/>
              </a:rPr>
              <a:t> </a:t>
            </a:r>
            <a:r>
              <a:rPr kumimoji="0" lang="en-US" sz="900" b="0" i="0" u="none" strike="noStrike" kern="0" cap="none" spc="0" normalizeH="0" baseline="0" noProof="0" dirty="0" err="1">
                <a:ln>
                  <a:noFill/>
                </a:ln>
                <a:solidFill>
                  <a:prstClr val="black">
                    <a:lumMod val="50000"/>
                    <a:lumOff val="50000"/>
                  </a:prstClr>
                </a:solidFill>
                <a:effectLst/>
                <a:uLnTx/>
                <a:uFillTx/>
                <a:latin typeface="HarmonyOS Sans SC"/>
                <a:cs typeface="Open Sans"/>
                <a:sym typeface="Open Sans"/>
              </a:rPr>
              <a:t>conse</a:t>
            </a:r>
            <a:r>
              <a:rPr kumimoji="0" lang="en-US" sz="900" b="0" i="0" u="none" strike="noStrike" kern="0" cap="none" spc="0" normalizeH="0" baseline="0" noProof="0" dirty="0">
                <a:ln>
                  <a:noFill/>
                </a:ln>
                <a:solidFill>
                  <a:prstClr val="black">
                    <a:lumMod val="50000"/>
                    <a:lumOff val="50000"/>
                  </a:prstClr>
                </a:solidFill>
                <a:effectLst/>
                <a:uLnTx/>
                <a:uFillTx/>
                <a:latin typeface="HarmonyOS Sans SC"/>
                <a:cs typeface="Open Sans"/>
                <a:sym typeface="Open Sans"/>
              </a:rPr>
              <a:t> </a:t>
            </a:r>
            <a:r>
              <a:rPr kumimoji="0" lang="en-US" sz="900" b="0" i="0" u="none" strike="noStrike" kern="0" cap="none" spc="0" normalizeH="0" baseline="0" noProof="0" dirty="0" err="1">
                <a:ln>
                  <a:noFill/>
                </a:ln>
                <a:solidFill>
                  <a:prstClr val="black">
                    <a:lumMod val="50000"/>
                    <a:lumOff val="50000"/>
                  </a:prstClr>
                </a:solidFill>
                <a:effectLst/>
                <a:uLnTx/>
                <a:uFillTx/>
                <a:latin typeface="HarmonyOS Sans SC"/>
                <a:cs typeface="Open Sans"/>
                <a:sym typeface="Open Sans"/>
              </a:rPr>
              <a:t>lectus</a:t>
            </a:r>
            <a:r>
              <a:rPr kumimoji="0" lang="en-US" sz="900" b="0" i="0" u="none" strike="noStrike" kern="0" cap="none" spc="0" normalizeH="0" baseline="0" noProof="0" dirty="0">
                <a:ln>
                  <a:noFill/>
                </a:ln>
                <a:solidFill>
                  <a:prstClr val="black">
                    <a:lumMod val="50000"/>
                    <a:lumOff val="50000"/>
                  </a:prstClr>
                </a:solidFill>
                <a:effectLst/>
                <a:uLnTx/>
                <a:uFillTx/>
                <a:latin typeface="HarmonyOS Sans SC"/>
                <a:cs typeface="Open Sans"/>
                <a:sym typeface="Open Sans"/>
              </a:rPr>
              <a:t> </a:t>
            </a:r>
            <a:r>
              <a:rPr kumimoji="0" lang="en-US" sz="900" b="0" i="0" u="none" strike="noStrike" kern="0" cap="none" spc="0" normalizeH="0" baseline="0" noProof="0" dirty="0" err="1">
                <a:ln>
                  <a:noFill/>
                </a:ln>
                <a:solidFill>
                  <a:prstClr val="black">
                    <a:lumMod val="50000"/>
                    <a:lumOff val="50000"/>
                  </a:prstClr>
                </a:solidFill>
                <a:effectLst/>
                <a:uLnTx/>
                <a:uFillTx/>
                <a:latin typeface="HarmonyOS Sans SC"/>
                <a:cs typeface="Open Sans"/>
                <a:sym typeface="Open Sans"/>
              </a:rPr>
              <a:t>ornare</a:t>
            </a:r>
            <a:r>
              <a:rPr kumimoji="0" lang="en-US" sz="900" b="0" i="0" u="none" strike="noStrike" kern="0" cap="none" spc="0" normalizeH="0" baseline="0" noProof="0" dirty="0">
                <a:ln>
                  <a:noFill/>
                </a:ln>
                <a:solidFill>
                  <a:prstClr val="black">
                    <a:lumMod val="50000"/>
                    <a:lumOff val="50000"/>
                  </a:prstClr>
                </a:solidFill>
                <a:effectLst/>
                <a:uLnTx/>
                <a:uFillTx/>
                <a:latin typeface="HarmonyOS Sans SC"/>
                <a:cs typeface="Open Sans"/>
                <a:sym typeface="Open Sans"/>
              </a:rPr>
              <a:t>, </a:t>
            </a:r>
            <a:r>
              <a:rPr kumimoji="0" lang="en-US" sz="900" b="0" i="0" u="none" strike="noStrike" kern="0" cap="none" spc="0" normalizeH="0" baseline="0" noProof="0" dirty="0" err="1">
                <a:ln>
                  <a:noFill/>
                </a:ln>
                <a:solidFill>
                  <a:prstClr val="black">
                    <a:lumMod val="50000"/>
                    <a:lumOff val="50000"/>
                  </a:prstClr>
                </a:solidFill>
                <a:effectLst/>
                <a:uLnTx/>
                <a:uFillTx/>
                <a:latin typeface="HarmonyOS Sans SC"/>
                <a:cs typeface="Open Sans"/>
                <a:sym typeface="Open Sans"/>
              </a:rPr>
              <a:t>viverra</a:t>
            </a:r>
            <a:r>
              <a:rPr kumimoji="0" lang="en-US" sz="900" b="0" i="0" u="none" strike="noStrike" kern="0" cap="none" spc="0" normalizeH="0" baseline="0" noProof="0" dirty="0">
                <a:ln>
                  <a:noFill/>
                </a:ln>
                <a:solidFill>
                  <a:prstClr val="black">
                    <a:lumMod val="50000"/>
                    <a:lumOff val="50000"/>
                  </a:prstClr>
                </a:solidFill>
                <a:effectLst/>
                <a:uLnTx/>
                <a:uFillTx/>
                <a:latin typeface="HarmonyOS Sans SC"/>
                <a:cs typeface="Open Sans"/>
                <a:sym typeface="Open Sans"/>
              </a:rPr>
              <a:t> </a:t>
            </a:r>
            <a:r>
              <a:rPr kumimoji="0" lang="en-US" sz="900" b="0" i="0" u="none" strike="noStrike" kern="0" cap="none" spc="0" normalizeH="0" baseline="0" noProof="0" dirty="0" err="1">
                <a:ln>
                  <a:noFill/>
                </a:ln>
                <a:solidFill>
                  <a:prstClr val="black">
                    <a:lumMod val="50000"/>
                    <a:lumOff val="50000"/>
                  </a:prstClr>
                </a:solidFill>
                <a:effectLst/>
                <a:uLnTx/>
                <a:uFillTx/>
                <a:latin typeface="HarmonyOS Sans SC"/>
                <a:cs typeface="Open Sans"/>
                <a:sym typeface="Open Sans"/>
              </a:rPr>
              <a:t>ctetur</a:t>
            </a:r>
            <a:r>
              <a:rPr kumimoji="0" lang="en-US" sz="900" b="0" i="0" u="none" strike="noStrike" kern="0" cap="none" spc="0" normalizeH="0" baseline="0" noProof="0" dirty="0">
                <a:ln>
                  <a:noFill/>
                </a:ln>
                <a:solidFill>
                  <a:prstClr val="black">
                    <a:lumMod val="50000"/>
                    <a:lumOff val="50000"/>
                  </a:prstClr>
                </a:solidFill>
                <a:effectLst/>
                <a:uLnTx/>
                <a:uFillTx/>
                <a:latin typeface="HarmonyOS Sans SC"/>
                <a:cs typeface="Open Sans"/>
                <a:sym typeface="Open Sans"/>
              </a:rPr>
              <a:t> </a:t>
            </a:r>
            <a:r>
              <a:rPr kumimoji="0" lang="en-US" sz="900" b="0" i="0" u="none" strike="noStrike" kern="0" cap="none" spc="0" normalizeH="0" baseline="0" noProof="0" dirty="0" err="1">
                <a:ln>
                  <a:noFill/>
                </a:ln>
                <a:solidFill>
                  <a:prstClr val="black">
                    <a:lumMod val="50000"/>
                    <a:lumOff val="50000"/>
                  </a:prstClr>
                </a:solidFill>
                <a:effectLst/>
                <a:uLnTx/>
                <a:uFillTx/>
                <a:latin typeface="HarmonyOS Sans SC"/>
                <a:cs typeface="Open Sans"/>
                <a:sym typeface="Open Sans"/>
              </a:rPr>
              <a:t>adipiscing</a:t>
            </a:r>
            <a:r>
              <a:rPr kumimoji="0" lang="en-US" sz="900" b="0" i="0" u="none" strike="noStrike" kern="0" cap="none" spc="0" normalizeH="0" baseline="0" noProof="0" dirty="0">
                <a:ln>
                  <a:noFill/>
                </a:ln>
                <a:solidFill>
                  <a:prstClr val="black">
                    <a:lumMod val="50000"/>
                    <a:lumOff val="50000"/>
                  </a:prstClr>
                </a:solidFill>
                <a:effectLst/>
                <a:uLnTx/>
                <a:uFillTx/>
                <a:latin typeface="HarmonyOS Sans SC"/>
                <a:cs typeface="Open Sans"/>
                <a:sym typeface="Open Sans"/>
              </a:rPr>
              <a:t> </a:t>
            </a:r>
            <a:r>
              <a:rPr kumimoji="0" lang="en-US" sz="900" b="0" i="0" u="none" strike="noStrike" kern="0" cap="none" spc="0" normalizeH="0" baseline="0" noProof="0" dirty="0" err="1">
                <a:ln>
                  <a:noFill/>
                </a:ln>
                <a:solidFill>
                  <a:prstClr val="black">
                    <a:lumMod val="50000"/>
                    <a:lumOff val="50000"/>
                  </a:prstClr>
                </a:solidFill>
                <a:effectLst/>
                <a:uLnTx/>
                <a:uFillTx/>
                <a:latin typeface="HarmonyOS Sans SC"/>
                <a:cs typeface="Open Sans"/>
                <a:sym typeface="Open Sans"/>
              </a:rPr>
              <a:t>elit.llentesque</a:t>
            </a:r>
            <a:r>
              <a:rPr kumimoji="0" lang="en-US" sz="900" b="0" i="0" u="none" strike="noStrike" kern="0" cap="none" spc="0" normalizeH="0" baseline="0" noProof="0" dirty="0">
                <a:ln>
                  <a:noFill/>
                </a:ln>
                <a:solidFill>
                  <a:prstClr val="black">
                    <a:lumMod val="50000"/>
                    <a:lumOff val="50000"/>
                  </a:prstClr>
                </a:solidFill>
                <a:effectLst/>
                <a:uLnTx/>
                <a:uFillTx/>
                <a:latin typeface="HarmonyOS Sans SC"/>
                <a:cs typeface="Open Sans"/>
                <a:sym typeface="Open Sans"/>
              </a:rPr>
              <a:t> </a:t>
            </a:r>
            <a:r>
              <a:rPr kumimoji="0" lang="en-US" sz="900" b="0" i="0" u="none" strike="noStrike" kern="0" cap="none" spc="0" normalizeH="0" baseline="0" noProof="0" dirty="0" err="1">
                <a:ln>
                  <a:noFill/>
                </a:ln>
                <a:solidFill>
                  <a:prstClr val="black">
                    <a:lumMod val="50000"/>
                    <a:lumOff val="50000"/>
                  </a:prstClr>
                </a:solidFill>
                <a:effectLst/>
                <a:uLnTx/>
                <a:uFillTx/>
                <a:latin typeface="HarmonyOS Sans SC"/>
                <a:cs typeface="Open Sans"/>
                <a:sym typeface="Open Sans"/>
              </a:rPr>
              <a:t>scelerisque</a:t>
            </a:r>
            <a:r>
              <a:rPr kumimoji="0" lang="en-US" sz="900" b="0" i="0" u="none" strike="noStrike" kern="0" cap="none" spc="0" normalizeH="0" baseline="0" noProof="0" dirty="0">
                <a:ln>
                  <a:noFill/>
                </a:ln>
                <a:solidFill>
                  <a:prstClr val="black">
                    <a:lumMod val="50000"/>
                    <a:lumOff val="50000"/>
                  </a:prstClr>
                </a:solidFill>
                <a:effectLst/>
                <a:uLnTx/>
                <a:uFillTx/>
                <a:latin typeface="HarmonyOS Sans SC"/>
                <a:cs typeface="Open Sans"/>
                <a:sym typeface="Open Sans"/>
              </a:rPr>
              <a:t> </a:t>
            </a:r>
            <a:r>
              <a:rPr kumimoji="0" lang="en-US" sz="900" b="0" i="0" u="none" strike="noStrike" kern="0" cap="none" spc="0" normalizeH="0" baseline="0" noProof="0" dirty="0" err="1">
                <a:ln>
                  <a:noFill/>
                </a:ln>
                <a:solidFill>
                  <a:prstClr val="black">
                    <a:lumMod val="50000"/>
                    <a:lumOff val="50000"/>
                  </a:prstClr>
                </a:solidFill>
                <a:effectLst/>
                <a:uLnTx/>
                <a:uFillTx/>
                <a:latin typeface="HarmonyOS Sans SC"/>
                <a:cs typeface="Open Sans"/>
                <a:sym typeface="Open Sans"/>
              </a:rPr>
              <a:t>malesuada</a:t>
            </a:r>
            <a:r>
              <a:rPr kumimoji="0" lang="en-US" sz="900" b="0" i="0" u="none" strike="noStrike" kern="0" cap="none" spc="0" normalizeH="0" baseline="0" noProof="0" dirty="0">
                <a:ln>
                  <a:noFill/>
                </a:ln>
                <a:solidFill>
                  <a:prstClr val="black">
                    <a:lumMod val="50000"/>
                    <a:lumOff val="50000"/>
                  </a:prstClr>
                </a:solidFill>
                <a:effectLst/>
                <a:uLnTx/>
                <a:uFillTx/>
                <a:latin typeface="HarmonyOS Sans SC"/>
                <a:cs typeface="Open Sans"/>
                <a:sym typeface="Open Sans"/>
              </a:rPr>
              <a:t> </a:t>
            </a:r>
            <a:r>
              <a:rPr kumimoji="0" lang="en-US" sz="900" b="0" i="0" u="none" strike="noStrike" kern="0" cap="none" spc="0" normalizeH="0" baseline="0" noProof="0" dirty="0" err="1">
                <a:ln>
                  <a:noFill/>
                </a:ln>
                <a:solidFill>
                  <a:prstClr val="black">
                    <a:lumMod val="50000"/>
                    <a:lumOff val="50000"/>
                  </a:prstClr>
                </a:solidFill>
                <a:effectLst/>
                <a:uLnTx/>
                <a:uFillTx/>
                <a:latin typeface="HarmonyOS Sans SC"/>
                <a:cs typeface="Open Sans"/>
                <a:sym typeface="Open Sans"/>
              </a:rPr>
              <a:t>libe</a:t>
            </a:r>
            <a:r>
              <a:rPr kumimoji="0" lang="en-US" sz="900" b="0" i="0" u="none" strike="noStrike" kern="0" cap="none" spc="0" normalizeH="0" baseline="0" noProof="0" dirty="0">
                <a:ln>
                  <a:noFill/>
                </a:ln>
                <a:solidFill>
                  <a:prstClr val="black">
                    <a:lumMod val="50000"/>
                    <a:lumOff val="50000"/>
                  </a:prstClr>
                </a:solidFill>
                <a:effectLst/>
                <a:uLnTx/>
                <a:uFillTx/>
                <a:latin typeface="HarmonyOS Sans SC"/>
                <a:cs typeface="Open Sans"/>
                <a:sym typeface="Open Sans"/>
              </a:rPr>
              <a:t> </a:t>
            </a:r>
            <a:r>
              <a:rPr kumimoji="0" lang="en-US" sz="900" b="0" i="0" u="none" strike="noStrike" kern="0" cap="none" spc="0" normalizeH="0" baseline="0" noProof="0" dirty="0" err="1">
                <a:ln>
                  <a:noFill/>
                </a:ln>
                <a:solidFill>
                  <a:prstClr val="black">
                    <a:lumMod val="50000"/>
                    <a:lumOff val="50000"/>
                  </a:prstClr>
                </a:solidFill>
                <a:effectLst/>
                <a:uLnTx/>
                <a:uFillTx/>
                <a:latin typeface="HarmonyOS Sans SC"/>
                <a:cs typeface="Open Sans"/>
                <a:sym typeface="Open Sans"/>
              </a:rPr>
              <a:t>elit</a:t>
            </a:r>
            <a:r>
              <a:rPr kumimoji="0" lang="en-US" sz="900" b="0" i="0" u="none" strike="noStrike" kern="0" cap="none" spc="0" normalizeH="0" baseline="0" noProof="0" dirty="0">
                <a:ln>
                  <a:noFill/>
                </a:ln>
                <a:solidFill>
                  <a:prstClr val="black">
                    <a:lumMod val="50000"/>
                    <a:lumOff val="50000"/>
                  </a:prstClr>
                </a:solidFill>
                <a:effectLst/>
                <a:uLnTx/>
                <a:uFillTx/>
                <a:latin typeface="HarmonyOS Sans SC"/>
                <a:cs typeface="Open Sans"/>
                <a:sym typeface="Open Sans"/>
              </a:rPr>
              <a:t>. </a:t>
            </a:r>
            <a:r>
              <a:rPr kumimoji="0" lang="en-US" sz="900" b="0" i="0" u="none" strike="noStrike" kern="0" cap="none" spc="0" normalizeH="0" baseline="0" noProof="0" dirty="0" err="1">
                <a:ln>
                  <a:noFill/>
                </a:ln>
                <a:solidFill>
                  <a:prstClr val="black">
                    <a:lumMod val="50000"/>
                    <a:lumOff val="50000"/>
                  </a:prstClr>
                </a:solidFill>
                <a:effectLst/>
                <a:uLnTx/>
                <a:uFillTx/>
                <a:latin typeface="HarmonyOS Sans SC"/>
                <a:cs typeface="Open Sans"/>
                <a:sym typeface="Open Sans"/>
              </a:rPr>
              <a:t>Pellentue</a:t>
            </a:r>
            <a:r>
              <a:rPr kumimoji="0" lang="en-US" sz="900" b="0" i="0" u="none" strike="noStrike" kern="0" cap="none" spc="0" normalizeH="0" baseline="0" noProof="0" dirty="0">
                <a:ln>
                  <a:noFill/>
                </a:ln>
                <a:solidFill>
                  <a:prstClr val="black">
                    <a:lumMod val="50000"/>
                    <a:lumOff val="50000"/>
                  </a:prstClr>
                </a:solidFill>
                <a:effectLst/>
                <a:uLnTx/>
                <a:uFillTx/>
                <a:latin typeface="HarmonyOS Sans SC"/>
                <a:cs typeface="Open Sans"/>
                <a:sym typeface="Open Sans"/>
              </a:rPr>
              <a:t> </a:t>
            </a:r>
            <a:r>
              <a:rPr kumimoji="0" lang="en-US" sz="900" b="0" i="0" u="none" strike="noStrike" kern="0" cap="none" spc="0" normalizeH="0" baseline="0" noProof="0" dirty="0" err="1">
                <a:ln>
                  <a:noFill/>
                </a:ln>
                <a:solidFill>
                  <a:prstClr val="black">
                    <a:lumMod val="50000"/>
                    <a:lumOff val="50000"/>
                  </a:prstClr>
                </a:solidFill>
                <a:effectLst/>
                <a:uLnTx/>
                <a:uFillTx/>
                <a:latin typeface="HarmonyOS Sans SC"/>
                <a:cs typeface="Open Sans"/>
                <a:sym typeface="Open Sans"/>
              </a:rPr>
              <a:t>malesuada</a:t>
            </a:r>
            <a:r>
              <a:rPr kumimoji="0" lang="en-US" sz="900" b="0" i="0" u="none" strike="noStrike" kern="0" cap="none" spc="0" normalizeH="0" baseline="0" noProof="0" dirty="0">
                <a:ln>
                  <a:noFill/>
                </a:ln>
                <a:solidFill>
                  <a:prstClr val="black">
                    <a:lumMod val="50000"/>
                    <a:lumOff val="50000"/>
                  </a:prstClr>
                </a:solidFill>
                <a:effectLst/>
                <a:uLnTx/>
                <a:uFillTx/>
                <a:latin typeface="HarmonyOS Sans SC"/>
                <a:cs typeface="Open Sans"/>
                <a:sym typeface="Open Sans"/>
              </a:rPr>
              <a:t> libero a </a:t>
            </a:r>
            <a:r>
              <a:rPr kumimoji="0" lang="en-US" sz="900" b="0" i="0" u="none" strike="noStrike" kern="0" cap="none" spc="0" normalizeH="0" baseline="0" noProof="0" dirty="0" err="1">
                <a:ln>
                  <a:noFill/>
                </a:ln>
                <a:solidFill>
                  <a:prstClr val="black">
                    <a:lumMod val="50000"/>
                    <a:lumOff val="50000"/>
                  </a:prstClr>
                </a:solidFill>
                <a:effectLst/>
                <a:uLnTx/>
                <a:uFillTx/>
                <a:latin typeface="HarmonyOS Sans SC"/>
                <a:cs typeface="Open Sans"/>
                <a:sym typeface="Open Sans"/>
              </a:rPr>
              <a:t>pellentesque</a:t>
            </a:r>
            <a:endParaRPr kumimoji="0" sz="900" b="0" i="0" u="none" strike="noStrike" kern="0" cap="none" spc="0" normalizeH="0" baseline="0" noProof="0" dirty="0">
              <a:ln>
                <a:noFill/>
              </a:ln>
              <a:solidFill>
                <a:prstClr val="black">
                  <a:lumMod val="50000"/>
                  <a:lumOff val="50000"/>
                </a:prstClr>
              </a:solidFill>
              <a:effectLst/>
              <a:uLnTx/>
              <a:uFillTx/>
              <a:latin typeface="HarmonyOS Sans SC"/>
              <a:cs typeface="Open Sans"/>
              <a:sym typeface="Open Sans"/>
            </a:endParaRPr>
          </a:p>
        </p:txBody>
      </p:sp>
      <p:sp>
        <p:nvSpPr>
          <p:cNvPr id="30" name="Google Shape;442;p48">
            <a:extLst>
              <a:ext uri="{FF2B5EF4-FFF2-40B4-BE49-F238E27FC236}">
                <a16:creationId xmlns:a16="http://schemas.microsoft.com/office/drawing/2014/main" id="{C0D3E8FF-DA60-420C-89DA-049EBF71F23E}"/>
              </a:ext>
            </a:extLst>
          </p:cNvPr>
          <p:cNvSpPr/>
          <p:nvPr/>
        </p:nvSpPr>
        <p:spPr>
          <a:xfrm>
            <a:off x="6937272" y="4900131"/>
            <a:ext cx="3605982" cy="307777"/>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0" i="0" u="none" strike="noStrike" kern="0" cap="none" spc="0" normalizeH="0" baseline="0" noProof="0" dirty="0">
                <a:ln>
                  <a:noFill/>
                </a:ln>
                <a:solidFill>
                  <a:prstClr val="black">
                    <a:lumMod val="75000"/>
                    <a:lumOff val="25000"/>
                  </a:prstClr>
                </a:solidFill>
                <a:effectLst/>
                <a:uLnTx/>
                <a:uFillTx/>
                <a:latin typeface="HarmonyOS Sans SC"/>
                <a:cs typeface="Poppins Medium"/>
                <a:sym typeface="Poppins Medium"/>
              </a:rPr>
              <a:t>You’ve Constantly Got Time</a:t>
            </a:r>
            <a:endParaRPr kumimoji="0" sz="1400" b="0" i="0" u="none" strike="noStrike" kern="0" cap="none" spc="0" normalizeH="0" baseline="0" noProof="0" dirty="0">
              <a:ln>
                <a:noFill/>
              </a:ln>
              <a:solidFill>
                <a:prstClr val="black">
                  <a:lumMod val="75000"/>
                  <a:lumOff val="25000"/>
                </a:prstClr>
              </a:solidFill>
              <a:effectLst/>
              <a:uLnTx/>
              <a:uFillTx/>
              <a:latin typeface="HarmonyOS Sans SC"/>
              <a:cs typeface="Poppins Medium"/>
              <a:sym typeface="Poppins Medium"/>
            </a:endParaRPr>
          </a:p>
        </p:txBody>
      </p:sp>
      <p:sp>
        <p:nvSpPr>
          <p:cNvPr id="31" name="Google Shape;443;p48">
            <a:extLst>
              <a:ext uri="{FF2B5EF4-FFF2-40B4-BE49-F238E27FC236}">
                <a16:creationId xmlns:a16="http://schemas.microsoft.com/office/drawing/2014/main" id="{221399D3-1CE8-4B9E-AB3D-B0228B41853F}"/>
              </a:ext>
            </a:extLst>
          </p:cNvPr>
          <p:cNvSpPr/>
          <p:nvPr/>
        </p:nvSpPr>
        <p:spPr>
          <a:xfrm>
            <a:off x="6625729" y="3605033"/>
            <a:ext cx="238746" cy="212219"/>
          </a:xfrm>
          <a:custGeom>
            <a:avLst/>
            <a:gdLst/>
            <a:ahLst/>
            <a:cxnLst/>
            <a:rect l="l" t="t" r="r" b="b"/>
            <a:pathLst>
              <a:path w="238745" h="212218" extrusionOk="0">
                <a:moveTo>
                  <a:pt x="225615" y="186752"/>
                </a:moveTo>
                <a:cubicBezTo>
                  <a:pt x="225615" y="196169"/>
                  <a:pt x="231053" y="204393"/>
                  <a:pt x="238879" y="208372"/>
                </a:cubicBezTo>
                <a:lnTo>
                  <a:pt x="238879" y="211688"/>
                </a:lnTo>
                <a:cubicBezTo>
                  <a:pt x="236624" y="211953"/>
                  <a:pt x="234502" y="212219"/>
                  <a:pt x="232114" y="212219"/>
                </a:cubicBezTo>
                <a:cubicBezTo>
                  <a:pt x="218055" y="212219"/>
                  <a:pt x="205322" y="206250"/>
                  <a:pt x="196302" y="196833"/>
                </a:cubicBezTo>
                <a:cubicBezTo>
                  <a:pt x="190864" y="198292"/>
                  <a:pt x="185161" y="199087"/>
                  <a:pt x="179192" y="199087"/>
                </a:cubicBezTo>
                <a:cubicBezTo>
                  <a:pt x="146298" y="199087"/>
                  <a:pt x="119506" y="175346"/>
                  <a:pt x="119506" y="146033"/>
                </a:cubicBezTo>
                <a:cubicBezTo>
                  <a:pt x="119506" y="116720"/>
                  <a:pt x="146298" y="92978"/>
                  <a:pt x="179192" y="92978"/>
                </a:cubicBezTo>
                <a:cubicBezTo>
                  <a:pt x="212086" y="92978"/>
                  <a:pt x="238879" y="116720"/>
                  <a:pt x="238879" y="146033"/>
                </a:cubicBezTo>
                <a:cubicBezTo>
                  <a:pt x="238879" y="157572"/>
                  <a:pt x="234767" y="168183"/>
                  <a:pt x="227870" y="176805"/>
                </a:cubicBezTo>
                <a:cubicBezTo>
                  <a:pt x="226411" y="179723"/>
                  <a:pt x="225615" y="183171"/>
                  <a:pt x="225615" y="186752"/>
                </a:cubicBezTo>
                <a:lnTo>
                  <a:pt x="225615" y="186752"/>
                </a:lnTo>
                <a:close/>
                <a:moveTo>
                  <a:pt x="106242" y="0"/>
                </a:moveTo>
                <a:cubicBezTo>
                  <a:pt x="163939" y="0"/>
                  <a:pt x="210893" y="37404"/>
                  <a:pt x="212351" y="84092"/>
                </a:cubicBezTo>
                <a:cubicBezTo>
                  <a:pt x="202138" y="79582"/>
                  <a:pt x="190864" y="77195"/>
                  <a:pt x="179192" y="77195"/>
                </a:cubicBezTo>
                <a:cubicBezTo>
                  <a:pt x="159429" y="77195"/>
                  <a:pt x="140728" y="84092"/>
                  <a:pt x="126535" y="96692"/>
                </a:cubicBezTo>
                <a:cubicBezTo>
                  <a:pt x="111813" y="109691"/>
                  <a:pt x="103722" y="127198"/>
                  <a:pt x="103722" y="146033"/>
                </a:cubicBezTo>
                <a:cubicBezTo>
                  <a:pt x="103722" y="155318"/>
                  <a:pt x="105711" y="164204"/>
                  <a:pt x="109425" y="172560"/>
                </a:cubicBezTo>
                <a:cubicBezTo>
                  <a:pt x="108364" y="172560"/>
                  <a:pt x="107303" y="172560"/>
                  <a:pt x="106109" y="172560"/>
                </a:cubicBezTo>
                <a:cubicBezTo>
                  <a:pt x="100539" y="172560"/>
                  <a:pt x="94968" y="172162"/>
                  <a:pt x="89530" y="171499"/>
                </a:cubicBezTo>
                <a:cubicBezTo>
                  <a:pt x="66716" y="194313"/>
                  <a:pt x="39526" y="198424"/>
                  <a:pt x="13264" y="198955"/>
                </a:cubicBezTo>
                <a:lnTo>
                  <a:pt x="13264" y="193384"/>
                </a:lnTo>
                <a:cubicBezTo>
                  <a:pt x="27456" y="186487"/>
                  <a:pt x="39791" y="173754"/>
                  <a:pt x="39791" y="159297"/>
                </a:cubicBezTo>
                <a:cubicBezTo>
                  <a:pt x="39791" y="157307"/>
                  <a:pt x="39659" y="155318"/>
                  <a:pt x="39393" y="153328"/>
                </a:cubicBezTo>
                <a:cubicBezTo>
                  <a:pt x="15386" y="137544"/>
                  <a:pt x="0" y="113404"/>
                  <a:pt x="0" y="86346"/>
                </a:cubicBezTo>
                <a:cubicBezTo>
                  <a:pt x="133" y="38597"/>
                  <a:pt x="47616" y="0"/>
                  <a:pt x="106242" y="0"/>
                </a:cubicBezTo>
                <a:lnTo>
                  <a:pt x="106242" y="0"/>
                </a:lnTo>
                <a:close/>
              </a:path>
            </a:pathLst>
          </a:custGeom>
          <a:solidFill>
            <a:schemeClr val="accen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latin typeface="Calibri"/>
              <a:ea typeface="Calibri"/>
              <a:cs typeface="Calibri"/>
              <a:sym typeface="Calibri"/>
            </a:endParaRPr>
          </a:p>
        </p:txBody>
      </p:sp>
      <p:sp>
        <p:nvSpPr>
          <p:cNvPr id="32" name="Google Shape;444;p48">
            <a:extLst>
              <a:ext uri="{FF2B5EF4-FFF2-40B4-BE49-F238E27FC236}">
                <a16:creationId xmlns:a16="http://schemas.microsoft.com/office/drawing/2014/main" id="{F3C75117-BC09-4128-A531-46E952C74654}"/>
              </a:ext>
            </a:extLst>
          </p:cNvPr>
          <p:cNvSpPr/>
          <p:nvPr/>
        </p:nvSpPr>
        <p:spPr>
          <a:xfrm>
            <a:off x="6656165" y="4941310"/>
            <a:ext cx="212219" cy="198955"/>
          </a:xfrm>
          <a:custGeom>
            <a:avLst/>
            <a:gdLst/>
            <a:ahLst/>
            <a:cxnLst/>
            <a:rect l="l" t="t" r="r" b="b"/>
            <a:pathLst>
              <a:path w="212218" h="198954" extrusionOk="0">
                <a:moveTo>
                  <a:pt x="198955" y="53055"/>
                </a:moveTo>
                <a:lnTo>
                  <a:pt x="159164" y="53055"/>
                </a:lnTo>
                <a:lnTo>
                  <a:pt x="159164" y="33159"/>
                </a:lnTo>
                <a:cubicBezTo>
                  <a:pt x="159164" y="14855"/>
                  <a:pt x="123485" y="0"/>
                  <a:pt x="79582" y="0"/>
                </a:cubicBezTo>
                <a:cubicBezTo>
                  <a:pt x="35679" y="0"/>
                  <a:pt x="0" y="14855"/>
                  <a:pt x="0" y="33159"/>
                </a:cubicBezTo>
                <a:lnTo>
                  <a:pt x="0" y="165796"/>
                </a:lnTo>
                <a:cubicBezTo>
                  <a:pt x="0" y="184100"/>
                  <a:pt x="35679" y="198955"/>
                  <a:pt x="79582" y="198955"/>
                </a:cubicBezTo>
                <a:cubicBezTo>
                  <a:pt x="123485" y="198955"/>
                  <a:pt x="159164" y="184100"/>
                  <a:pt x="159164" y="165796"/>
                </a:cubicBezTo>
                <a:lnTo>
                  <a:pt x="159164" y="145900"/>
                </a:lnTo>
                <a:lnTo>
                  <a:pt x="198955" y="145900"/>
                </a:lnTo>
                <a:cubicBezTo>
                  <a:pt x="206250" y="145900"/>
                  <a:pt x="212219" y="139932"/>
                  <a:pt x="212219" y="132637"/>
                </a:cubicBezTo>
                <a:lnTo>
                  <a:pt x="212219" y="66318"/>
                </a:lnTo>
                <a:cubicBezTo>
                  <a:pt x="212219" y="59023"/>
                  <a:pt x="206250" y="53055"/>
                  <a:pt x="198955" y="53055"/>
                </a:cubicBezTo>
                <a:close/>
                <a:moveTo>
                  <a:pt x="36475" y="40321"/>
                </a:moveTo>
                <a:cubicBezTo>
                  <a:pt x="28782" y="37802"/>
                  <a:pt x="24140" y="35149"/>
                  <a:pt x="21620" y="33159"/>
                </a:cubicBezTo>
                <a:cubicBezTo>
                  <a:pt x="24140" y="31302"/>
                  <a:pt x="28782" y="28517"/>
                  <a:pt x="36475" y="25997"/>
                </a:cubicBezTo>
                <a:cubicBezTo>
                  <a:pt x="48545" y="22018"/>
                  <a:pt x="63798" y="19895"/>
                  <a:pt x="79582" y="19895"/>
                </a:cubicBezTo>
                <a:cubicBezTo>
                  <a:pt x="95366" y="19895"/>
                  <a:pt x="110619" y="22018"/>
                  <a:pt x="122689" y="25997"/>
                </a:cubicBezTo>
                <a:cubicBezTo>
                  <a:pt x="130382" y="28517"/>
                  <a:pt x="135024" y="31170"/>
                  <a:pt x="137544" y="33159"/>
                </a:cubicBezTo>
                <a:cubicBezTo>
                  <a:pt x="135024" y="35016"/>
                  <a:pt x="130382" y="37802"/>
                  <a:pt x="122689" y="40321"/>
                </a:cubicBezTo>
                <a:cubicBezTo>
                  <a:pt x="110619" y="44301"/>
                  <a:pt x="95366" y="46423"/>
                  <a:pt x="79582" y="46423"/>
                </a:cubicBezTo>
                <a:cubicBezTo>
                  <a:pt x="63798" y="46423"/>
                  <a:pt x="48545" y="44301"/>
                  <a:pt x="36475" y="40321"/>
                </a:cubicBezTo>
                <a:close/>
                <a:moveTo>
                  <a:pt x="185691" y="119373"/>
                </a:moveTo>
                <a:lnTo>
                  <a:pt x="159164" y="119373"/>
                </a:lnTo>
                <a:lnTo>
                  <a:pt x="159164" y="79582"/>
                </a:lnTo>
                <a:lnTo>
                  <a:pt x="185691" y="79582"/>
                </a:lnTo>
                <a:lnTo>
                  <a:pt x="185691" y="119373"/>
                </a:lnTo>
                <a:close/>
              </a:path>
            </a:pathLst>
          </a:custGeom>
          <a:solidFill>
            <a:schemeClr val="accent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latin typeface="Calibri"/>
              <a:ea typeface="Calibri"/>
              <a:cs typeface="Calibri"/>
              <a:sym typeface="Calibri"/>
            </a:endParaRPr>
          </a:p>
        </p:txBody>
      </p:sp>
      <p:sp>
        <p:nvSpPr>
          <p:cNvPr id="34" name="文本框 33">
            <a:extLst>
              <a:ext uri="{FF2B5EF4-FFF2-40B4-BE49-F238E27FC236}">
                <a16:creationId xmlns:a16="http://schemas.microsoft.com/office/drawing/2014/main" id="{327D2113-F745-4713-95CF-E4223E53C386}"/>
              </a:ext>
            </a:extLst>
          </p:cNvPr>
          <p:cNvSpPr txBox="1"/>
          <p:nvPr/>
        </p:nvSpPr>
        <p:spPr>
          <a:xfrm>
            <a:off x="6498486" y="1247162"/>
            <a:ext cx="955711"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200" b="0" i="0" u="none" strike="noStrike" kern="1200" cap="none" spc="0" normalizeH="0" baseline="0" noProof="0" dirty="0" err="1">
                <a:ln>
                  <a:noFill/>
                </a:ln>
                <a:solidFill>
                  <a:schemeClr val="accent1"/>
                </a:solidFill>
                <a:effectLst/>
                <a:uLnTx/>
                <a:uFillTx/>
                <a:latin typeface="HarmonyOS Sans SC Black"/>
                <a:ea typeface="+mj-ea"/>
                <a:cs typeface="+mn-cs"/>
              </a:rPr>
              <a:t>SkillShake</a:t>
            </a:r>
            <a:endParaRPr kumimoji="0" lang="en-US" altLang="zh-CN" sz="1200" b="0" i="0" u="none" strike="noStrike" kern="1200" cap="none" spc="0" normalizeH="0" baseline="0" noProof="0" dirty="0">
              <a:ln>
                <a:noFill/>
              </a:ln>
              <a:solidFill>
                <a:schemeClr val="accent1"/>
              </a:solidFill>
              <a:effectLst/>
              <a:uLnTx/>
              <a:uFillTx/>
              <a:latin typeface="HarmonyOS Sans SC Black"/>
              <a:ea typeface="+mj-ea"/>
              <a:cs typeface="+mn-cs"/>
            </a:endParaRPr>
          </a:p>
        </p:txBody>
      </p:sp>
    </p:spTree>
    <p:extLst>
      <p:ext uri="{BB962C8B-B14F-4D97-AF65-F5344CB8AC3E}">
        <p14:creationId xmlns:p14="http://schemas.microsoft.com/office/powerpoint/2010/main" val="1347210018"/>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矩形 3">
            <a:extLst>
              <a:ext uri="{FF2B5EF4-FFF2-40B4-BE49-F238E27FC236}">
                <a16:creationId xmlns:a16="http://schemas.microsoft.com/office/drawing/2014/main" id="{76856F1D-D4C5-4936-AB79-263A6F571BBD}"/>
              </a:ext>
            </a:extLst>
          </p:cNvPr>
          <p:cNvSpPr/>
          <p:nvPr/>
        </p:nvSpPr>
        <p:spPr>
          <a:xfrm>
            <a:off x="0" y="7937"/>
            <a:ext cx="6096000" cy="6850063"/>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p>
        </p:txBody>
      </p:sp>
      <p:sp>
        <p:nvSpPr>
          <p:cNvPr id="5" name="任意多边形: 形状 4">
            <a:extLst>
              <a:ext uri="{FF2B5EF4-FFF2-40B4-BE49-F238E27FC236}">
                <a16:creationId xmlns:a16="http://schemas.microsoft.com/office/drawing/2014/main" id="{FC022735-6687-4F3A-B016-88726DA6A175}"/>
              </a:ext>
            </a:extLst>
          </p:cNvPr>
          <p:cNvSpPr/>
          <p:nvPr/>
        </p:nvSpPr>
        <p:spPr>
          <a:xfrm>
            <a:off x="1500144" y="2693162"/>
            <a:ext cx="1331826" cy="1221507"/>
          </a:xfrm>
          <a:custGeom>
            <a:avLst/>
            <a:gdLst>
              <a:gd name="connsiteX0" fmla="*/ 1006264 w 1331826"/>
              <a:gd name="connsiteY0" fmla="*/ 238125 h 1221507"/>
              <a:gd name="connsiteX1" fmla="*/ 1123466 w 1331826"/>
              <a:gd name="connsiteY1" fmla="*/ 355327 h 1221507"/>
              <a:gd name="connsiteX2" fmla="*/ 1006264 w 1331826"/>
              <a:gd name="connsiteY2" fmla="*/ 472529 h 1221507"/>
              <a:gd name="connsiteX3" fmla="*/ 889062 w 1331826"/>
              <a:gd name="connsiteY3" fmla="*/ 355327 h 1221507"/>
              <a:gd name="connsiteX4" fmla="*/ 1006264 w 1331826"/>
              <a:gd name="connsiteY4" fmla="*/ 238125 h 1221507"/>
              <a:gd name="connsiteX5" fmla="*/ 172827 w 1331826"/>
              <a:gd name="connsiteY5" fmla="*/ 104180 h 1221507"/>
              <a:gd name="connsiteX6" fmla="*/ 105482 w 1331826"/>
              <a:gd name="connsiteY6" fmla="*/ 171152 h 1221507"/>
              <a:gd name="connsiteX7" fmla="*/ 105482 w 1331826"/>
              <a:gd name="connsiteY7" fmla="*/ 726281 h 1221507"/>
              <a:gd name="connsiteX8" fmla="*/ 179152 w 1331826"/>
              <a:gd name="connsiteY8" fmla="*/ 599777 h 1221507"/>
              <a:gd name="connsiteX9" fmla="*/ 303795 w 1331826"/>
              <a:gd name="connsiteY9" fmla="*/ 490761 h 1221507"/>
              <a:gd name="connsiteX10" fmla="*/ 414300 w 1331826"/>
              <a:gd name="connsiteY10" fmla="*/ 507504 h 1221507"/>
              <a:gd name="connsiteX11" fmla="*/ 731676 w 1331826"/>
              <a:gd name="connsiteY11" fmla="*/ 856878 h 1221507"/>
              <a:gd name="connsiteX12" fmla="*/ 780790 w 1331826"/>
              <a:gd name="connsiteY12" fmla="*/ 791022 h 1221507"/>
              <a:gd name="connsiteX13" fmla="*/ 988777 w 1331826"/>
              <a:gd name="connsiteY13" fmla="*/ 633264 h 1221507"/>
              <a:gd name="connsiteX14" fmla="*/ 1093329 w 1331826"/>
              <a:gd name="connsiteY14" fmla="*/ 666006 h 1221507"/>
              <a:gd name="connsiteX15" fmla="*/ 1227646 w 1331826"/>
              <a:gd name="connsiteY15" fmla="*/ 821159 h 1221507"/>
              <a:gd name="connsiteX16" fmla="*/ 1227646 w 1331826"/>
              <a:gd name="connsiteY16" fmla="*/ 171152 h 1221507"/>
              <a:gd name="connsiteX17" fmla="*/ 1160673 w 1331826"/>
              <a:gd name="connsiteY17" fmla="*/ 104180 h 1221507"/>
              <a:gd name="connsiteX18" fmla="*/ 172827 w 1331826"/>
              <a:gd name="connsiteY18" fmla="*/ 0 h 1221507"/>
              <a:gd name="connsiteX19" fmla="*/ 1160673 w 1331826"/>
              <a:gd name="connsiteY19" fmla="*/ 0 h 1221507"/>
              <a:gd name="connsiteX20" fmla="*/ 1331826 w 1331826"/>
              <a:gd name="connsiteY20" fmla="*/ 171152 h 1221507"/>
              <a:gd name="connsiteX21" fmla="*/ 1331826 w 1331826"/>
              <a:gd name="connsiteY21" fmla="*/ 1050355 h 1221507"/>
              <a:gd name="connsiteX22" fmla="*/ 1160673 w 1331826"/>
              <a:gd name="connsiteY22" fmla="*/ 1221507 h 1221507"/>
              <a:gd name="connsiteX23" fmla="*/ 172827 w 1331826"/>
              <a:gd name="connsiteY23" fmla="*/ 1221507 h 1221507"/>
              <a:gd name="connsiteX24" fmla="*/ 1674 w 1331826"/>
              <a:gd name="connsiteY24" fmla="*/ 1050355 h 1221507"/>
              <a:gd name="connsiteX25" fmla="*/ 1674 w 1331826"/>
              <a:gd name="connsiteY25" fmla="*/ 1006450 h 1221507"/>
              <a:gd name="connsiteX26" fmla="*/ 1674 w 1331826"/>
              <a:gd name="connsiteY26" fmla="*/ 980405 h 1221507"/>
              <a:gd name="connsiteX27" fmla="*/ 1674 w 1331826"/>
              <a:gd name="connsiteY27" fmla="*/ 171152 h 1221507"/>
              <a:gd name="connsiteX28" fmla="*/ 172827 w 1331826"/>
              <a:gd name="connsiteY28" fmla="*/ 0 h 1221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31826" h="1221507">
                <a:moveTo>
                  <a:pt x="1006264" y="238125"/>
                </a:moveTo>
                <a:cubicBezTo>
                  <a:pt x="1070993" y="238125"/>
                  <a:pt x="1123466" y="290598"/>
                  <a:pt x="1123466" y="355327"/>
                </a:cubicBezTo>
                <a:cubicBezTo>
                  <a:pt x="1123466" y="420056"/>
                  <a:pt x="1070993" y="472529"/>
                  <a:pt x="1006264" y="472529"/>
                </a:cubicBezTo>
                <a:cubicBezTo>
                  <a:pt x="941535" y="472529"/>
                  <a:pt x="889062" y="420056"/>
                  <a:pt x="889062" y="355327"/>
                </a:cubicBezTo>
                <a:cubicBezTo>
                  <a:pt x="889062" y="290598"/>
                  <a:pt x="941535" y="238125"/>
                  <a:pt x="1006264" y="238125"/>
                </a:cubicBezTo>
                <a:close/>
                <a:moveTo>
                  <a:pt x="172827" y="104180"/>
                </a:moveTo>
                <a:cubicBezTo>
                  <a:pt x="135620" y="104180"/>
                  <a:pt x="105854" y="133945"/>
                  <a:pt x="105482" y="171152"/>
                </a:cubicBezTo>
                <a:lnTo>
                  <a:pt x="105482" y="726281"/>
                </a:lnTo>
                <a:cubicBezTo>
                  <a:pt x="130411" y="676424"/>
                  <a:pt x="154967" y="634008"/>
                  <a:pt x="179152" y="599777"/>
                </a:cubicBezTo>
                <a:cubicBezTo>
                  <a:pt x="220824" y="540246"/>
                  <a:pt x="261751" y="504527"/>
                  <a:pt x="303795" y="490761"/>
                </a:cubicBezTo>
                <a:cubicBezTo>
                  <a:pt x="342491" y="478110"/>
                  <a:pt x="380442" y="483691"/>
                  <a:pt x="414300" y="507504"/>
                </a:cubicBezTo>
                <a:cubicBezTo>
                  <a:pt x="528526" y="587871"/>
                  <a:pt x="663215" y="762372"/>
                  <a:pt x="731676" y="856878"/>
                </a:cubicBezTo>
                <a:cubicBezTo>
                  <a:pt x="745443" y="837158"/>
                  <a:pt x="762186" y="814090"/>
                  <a:pt x="780790" y="791022"/>
                </a:cubicBezTo>
                <a:cubicBezTo>
                  <a:pt x="858552" y="693911"/>
                  <a:pt x="926641" y="642193"/>
                  <a:pt x="988777" y="633264"/>
                </a:cubicBezTo>
                <a:cubicBezTo>
                  <a:pt x="1028216" y="627683"/>
                  <a:pt x="1064307" y="638845"/>
                  <a:pt x="1093329" y="666006"/>
                </a:cubicBezTo>
                <a:cubicBezTo>
                  <a:pt x="1142070" y="711398"/>
                  <a:pt x="1188951" y="768697"/>
                  <a:pt x="1227646" y="821159"/>
                </a:cubicBezTo>
                <a:lnTo>
                  <a:pt x="1227646" y="171152"/>
                </a:lnTo>
                <a:cubicBezTo>
                  <a:pt x="1227646" y="134317"/>
                  <a:pt x="1197508" y="104180"/>
                  <a:pt x="1160673" y="104180"/>
                </a:cubicBezTo>
                <a:close/>
                <a:moveTo>
                  <a:pt x="172827" y="0"/>
                </a:moveTo>
                <a:lnTo>
                  <a:pt x="1160673" y="0"/>
                </a:lnTo>
                <a:cubicBezTo>
                  <a:pt x="1255179" y="0"/>
                  <a:pt x="1331826" y="76646"/>
                  <a:pt x="1331826" y="171152"/>
                </a:cubicBezTo>
                <a:lnTo>
                  <a:pt x="1331826" y="1050355"/>
                </a:lnTo>
                <a:cubicBezTo>
                  <a:pt x="1331826" y="1144860"/>
                  <a:pt x="1255179" y="1221507"/>
                  <a:pt x="1160673" y="1221507"/>
                </a:cubicBezTo>
                <a:lnTo>
                  <a:pt x="172827" y="1221507"/>
                </a:lnTo>
                <a:cubicBezTo>
                  <a:pt x="78321" y="1221507"/>
                  <a:pt x="1674" y="1144860"/>
                  <a:pt x="1674" y="1050355"/>
                </a:cubicBezTo>
                <a:lnTo>
                  <a:pt x="1674" y="1006450"/>
                </a:lnTo>
                <a:cubicBezTo>
                  <a:pt x="-558" y="997893"/>
                  <a:pt x="-558" y="989335"/>
                  <a:pt x="1674" y="980405"/>
                </a:cubicBezTo>
                <a:lnTo>
                  <a:pt x="1674" y="171152"/>
                </a:lnTo>
                <a:cubicBezTo>
                  <a:pt x="1674" y="76646"/>
                  <a:pt x="78321" y="0"/>
                  <a:pt x="172827" y="0"/>
                </a:cubicBezTo>
                <a:close/>
              </a:path>
            </a:pathLst>
          </a:custGeom>
          <a:solidFill>
            <a:schemeClr val="bg1"/>
          </a:solidFill>
          <a:ln w="1860" cap="flat">
            <a:noFill/>
            <a:prstDash val="solid"/>
            <a:miter/>
          </a:ln>
        </p:spPr>
        <p:txBody>
          <a:bodyPr rtlCol="0" anchor="ctr"/>
          <a:lstStyle/>
          <a:p>
            <a:endParaRPr lang="zh-CN" altLang="en-US"/>
          </a:p>
        </p:txBody>
      </p:sp>
      <p:sp>
        <p:nvSpPr>
          <p:cNvPr id="6" name="矩形 5">
            <a:extLst>
              <a:ext uri="{FF2B5EF4-FFF2-40B4-BE49-F238E27FC236}">
                <a16:creationId xmlns:a16="http://schemas.microsoft.com/office/drawing/2014/main" id="{1B657493-1CC0-4B3A-9542-942EC44AA85B}"/>
              </a:ext>
            </a:extLst>
          </p:cNvPr>
          <p:cNvSpPr/>
          <p:nvPr/>
        </p:nvSpPr>
        <p:spPr>
          <a:xfrm>
            <a:off x="4076284" y="1565524"/>
            <a:ext cx="7420391" cy="372695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p>
        </p:txBody>
      </p:sp>
      <p:sp>
        <p:nvSpPr>
          <p:cNvPr id="7" name="文本框 6">
            <a:extLst>
              <a:ext uri="{FF2B5EF4-FFF2-40B4-BE49-F238E27FC236}">
                <a16:creationId xmlns:a16="http://schemas.microsoft.com/office/drawing/2014/main" id="{61A84EFD-448F-4B79-9737-1BEB6BF5A50F}"/>
              </a:ext>
            </a:extLst>
          </p:cNvPr>
          <p:cNvSpPr txBox="1"/>
          <p:nvPr/>
        </p:nvSpPr>
        <p:spPr>
          <a:xfrm>
            <a:off x="4646000" y="2986203"/>
            <a:ext cx="6350650" cy="846753"/>
          </a:xfrm>
          <a:prstGeom prst="rect">
            <a:avLst/>
          </a:prstGeom>
          <a:noFill/>
        </p:spPr>
        <p:txBody>
          <a:bodyPr wrap="none" lIns="0" tIns="0" rIns="0" bIns="0" rtlCol="0" anchor="t">
            <a:spAutoFit/>
          </a:bodyPr>
          <a:lstStyle/>
          <a:p>
            <a:pPr algn="ctr"/>
            <a:r>
              <a:rPr lang="zh-CN" altLang="en-US" sz="5400" dirty="0">
                <a:solidFill>
                  <a:schemeClr val="bg1"/>
                </a:solidFill>
                <a:latin typeface="+mj-ea"/>
                <a:ea typeface="+mj-ea"/>
              </a:rPr>
              <a:t>输入你的封面大标题</a:t>
            </a:r>
          </a:p>
        </p:txBody>
      </p:sp>
      <p:sp>
        <p:nvSpPr>
          <p:cNvPr id="8" name="文本框 7">
            <a:extLst>
              <a:ext uri="{FF2B5EF4-FFF2-40B4-BE49-F238E27FC236}">
                <a16:creationId xmlns:a16="http://schemas.microsoft.com/office/drawing/2014/main" id="{5C7506F0-72E3-456C-8F35-4981D5407FE8}"/>
              </a:ext>
            </a:extLst>
          </p:cNvPr>
          <p:cNvSpPr txBox="1"/>
          <p:nvPr/>
        </p:nvSpPr>
        <p:spPr>
          <a:xfrm>
            <a:off x="6462335" y="2608118"/>
            <a:ext cx="2717974" cy="250890"/>
          </a:xfrm>
          <a:prstGeom prst="rect">
            <a:avLst/>
          </a:prstGeom>
          <a:noFill/>
        </p:spPr>
        <p:txBody>
          <a:bodyPr wrap="none" lIns="0" tIns="0" rIns="0" bIns="0" rtlCol="0" anchor="t">
            <a:spAutoFit/>
          </a:bodyPr>
          <a:lstStyle/>
          <a:p>
            <a:pPr algn="ctr"/>
            <a:r>
              <a:rPr lang="zh-CN" altLang="en-US" sz="1600" dirty="0">
                <a:solidFill>
                  <a:schemeClr val="bg1"/>
                </a:solidFill>
                <a:latin typeface="+mn-ea"/>
              </a:rPr>
              <a:t>输入你的副标题或大标题英文</a:t>
            </a:r>
          </a:p>
        </p:txBody>
      </p:sp>
      <p:cxnSp>
        <p:nvCxnSpPr>
          <p:cNvPr id="9" name="直接连接符 8">
            <a:extLst>
              <a:ext uri="{FF2B5EF4-FFF2-40B4-BE49-F238E27FC236}">
                <a16:creationId xmlns:a16="http://schemas.microsoft.com/office/drawing/2014/main" id="{6024D0FD-D2AA-43E3-9653-A8E316FD1B87}"/>
              </a:ext>
            </a:extLst>
          </p:cNvPr>
          <p:cNvCxnSpPr/>
          <p:nvPr/>
        </p:nvCxnSpPr>
        <p:spPr>
          <a:xfrm flipH="1">
            <a:off x="4824356" y="2748495"/>
            <a:ext cx="140188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0" name="直接连接符 9">
            <a:extLst>
              <a:ext uri="{FF2B5EF4-FFF2-40B4-BE49-F238E27FC236}">
                <a16:creationId xmlns:a16="http://schemas.microsoft.com/office/drawing/2014/main" id="{E28CE01B-BAD1-46E5-9236-85423D1EED89}"/>
              </a:ext>
            </a:extLst>
          </p:cNvPr>
          <p:cNvCxnSpPr/>
          <p:nvPr/>
        </p:nvCxnSpPr>
        <p:spPr>
          <a:xfrm flipH="1">
            <a:off x="9434384" y="2748495"/>
            <a:ext cx="140188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grpSp>
        <p:nvGrpSpPr>
          <p:cNvPr id="11" name="组合 10">
            <a:extLst>
              <a:ext uri="{FF2B5EF4-FFF2-40B4-BE49-F238E27FC236}">
                <a16:creationId xmlns:a16="http://schemas.microsoft.com/office/drawing/2014/main" id="{2679BEB7-37F1-4F1E-AAD7-4577E4C9B049}"/>
              </a:ext>
            </a:extLst>
          </p:cNvPr>
          <p:cNvGrpSpPr/>
          <p:nvPr/>
        </p:nvGrpSpPr>
        <p:grpSpPr>
          <a:xfrm>
            <a:off x="6520905" y="4077395"/>
            <a:ext cx="1045798" cy="172487"/>
            <a:chOff x="4095451" y="4640913"/>
            <a:chExt cx="1418849" cy="234016"/>
          </a:xfrm>
        </p:grpSpPr>
        <p:sp>
          <p:nvSpPr>
            <p:cNvPr id="12" name="矩形 11">
              <a:extLst>
                <a:ext uri="{FF2B5EF4-FFF2-40B4-BE49-F238E27FC236}">
                  <a16:creationId xmlns:a16="http://schemas.microsoft.com/office/drawing/2014/main" id="{99590C8F-ACC9-42A9-B0A6-5C6FBFCBCA79}"/>
                </a:ext>
              </a:extLst>
            </p:cNvPr>
            <p:cNvSpPr/>
            <p:nvPr/>
          </p:nvSpPr>
          <p:spPr>
            <a:xfrm>
              <a:off x="4095451" y="4672584"/>
              <a:ext cx="164592" cy="1645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4400" dirty="0">
                <a:solidFill>
                  <a:schemeClr val="bg1"/>
                </a:solidFill>
              </a:endParaRPr>
            </a:p>
          </p:txBody>
        </p:sp>
        <p:sp>
          <p:nvSpPr>
            <p:cNvPr id="13" name="文本框 12">
              <a:extLst>
                <a:ext uri="{FF2B5EF4-FFF2-40B4-BE49-F238E27FC236}">
                  <a16:creationId xmlns:a16="http://schemas.microsoft.com/office/drawing/2014/main" id="{EAAF15FA-60AE-4297-8CC4-27D5150824B3}"/>
                </a:ext>
              </a:extLst>
            </p:cNvPr>
            <p:cNvSpPr txBox="1"/>
            <p:nvPr/>
          </p:nvSpPr>
          <p:spPr>
            <a:xfrm>
              <a:off x="4408487" y="4640913"/>
              <a:ext cx="1105813" cy="234016"/>
            </a:xfrm>
            <a:prstGeom prst="rect">
              <a:avLst/>
            </a:prstGeom>
            <a:noFill/>
          </p:spPr>
          <p:txBody>
            <a:bodyPr wrap="none" lIns="0" tIns="0" rIns="0" bIns="0" rtlCol="0" anchor="t">
              <a:spAutoFit/>
            </a:bodyPr>
            <a:lstStyle/>
            <a:p>
              <a:r>
                <a:rPr lang="zh-CN" altLang="en-US" sz="1100" dirty="0">
                  <a:solidFill>
                    <a:schemeClr val="bg1"/>
                  </a:solidFill>
                  <a:latin typeface="+mn-ea"/>
                </a:rPr>
                <a:t>汇报人：</a:t>
              </a:r>
              <a:r>
                <a:rPr lang="en-US" altLang="zh-CN" sz="1100" dirty="0">
                  <a:solidFill>
                    <a:schemeClr val="bg1"/>
                  </a:solidFill>
                  <a:latin typeface="+mn-ea"/>
                </a:rPr>
                <a:t>xxx</a:t>
              </a:r>
              <a:endParaRPr lang="zh-CN" altLang="en-US" sz="1100" dirty="0">
                <a:solidFill>
                  <a:schemeClr val="bg1"/>
                </a:solidFill>
                <a:latin typeface="+mn-ea"/>
              </a:endParaRPr>
            </a:p>
          </p:txBody>
        </p:sp>
      </p:grpSp>
      <p:grpSp>
        <p:nvGrpSpPr>
          <p:cNvPr id="14" name="组合 13">
            <a:extLst>
              <a:ext uri="{FF2B5EF4-FFF2-40B4-BE49-F238E27FC236}">
                <a16:creationId xmlns:a16="http://schemas.microsoft.com/office/drawing/2014/main" id="{61C2BBBD-875C-496A-910A-373EAC86AD5A}"/>
              </a:ext>
            </a:extLst>
          </p:cNvPr>
          <p:cNvGrpSpPr/>
          <p:nvPr/>
        </p:nvGrpSpPr>
        <p:grpSpPr>
          <a:xfrm>
            <a:off x="8185638" y="4077395"/>
            <a:ext cx="902058" cy="172487"/>
            <a:chOff x="4095451" y="4640913"/>
            <a:chExt cx="1223836" cy="234016"/>
          </a:xfrm>
        </p:grpSpPr>
        <p:sp>
          <p:nvSpPr>
            <p:cNvPr id="15" name="矩形 14">
              <a:extLst>
                <a:ext uri="{FF2B5EF4-FFF2-40B4-BE49-F238E27FC236}">
                  <a16:creationId xmlns:a16="http://schemas.microsoft.com/office/drawing/2014/main" id="{182F5005-AB37-4356-B80D-BA444A32CC3D}"/>
                </a:ext>
              </a:extLst>
            </p:cNvPr>
            <p:cNvSpPr/>
            <p:nvPr/>
          </p:nvSpPr>
          <p:spPr>
            <a:xfrm>
              <a:off x="4095451" y="4672584"/>
              <a:ext cx="164592" cy="1645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4400" dirty="0">
                <a:solidFill>
                  <a:schemeClr val="bg1"/>
                </a:solidFill>
              </a:endParaRPr>
            </a:p>
          </p:txBody>
        </p:sp>
        <p:sp>
          <p:nvSpPr>
            <p:cNvPr id="16" name="文本框 15">
              <a:extLst>
                <a:ext uri="{FF2B5EF4-FFF2-40B4-BE49-F238E27FC236}">
                  <a16:creationId xmlns:a16="http://schemas.microsoft.com/office/drawing/2014/main" id="{5C9CE48D-DD72-4A29-B6DD-9AD099871D56}"/>
                </a:ext>
              </a:extLst>
            </p:cNvPr>
            <p:cNvSpPr txBox="1"/>
            <p:nvPr/>
          </p:nvSpPr>
          <p:spPr>
            <a:xfrm>
              <a:off x="4408487" y="4640913"/>
              <a:ext cx="910800" cy="234016"/>
            </a:xfrm>
            <a:prstGeom prst="rect">
              <a:avLst/>
            </a:prstGeom>
            <a:noFill/>
          </p:spPr>
          <p:txBody>
            <a:bodyPr wrap="none" lIns="0" tIns="0" rIns="0" bIns="0" rtlCol="0" anchor="t">
              <a:spAutoFit/>
            </a:bodyPr>
            <a:lstStyle/>
            <a:p>
              <a:r>
                <a:rPr lang="zh-CN" altLang="en-US" sz="1100" dirty="0">
                  <a:solidFill>
                    <a:schemeClr val="bg1"/>
                  </a:solidFill>
                  <a:latin typeface="+mn-ea"/>
                </a:rPr>
                <a:t>单位：</a:t>
              </a:r>
              <a:r>
                <a:rPr lang="en-US" altLang="zh-CN" sz="1100" dirty="0">
                  <a:solidFill>
                    <a:schemeClr val="bg1"/>
                  </a:solidFill>
                  <a:latin typeface="+mn-ea"/>
                </a:rPr>
                <a:t>xxx</a:t>
              </a:r>
              <a:endParaRPr lang="zh-CN" altLang="en-US" sz="1100" dirty="0">
                <a:solidFill>
                  <a:schemeClr val="bg1"/>
                </a:solidFill>
                <a:latin typeface="+mn-ea"/>
              </a:endParaRPr>
            </a:p>
          </p:txBody>
        </p:sp>
      </p:grpSp>
      <p:cxnSp>
        <p:nvCxnSpPr>
          <p:cNvPr id="17" name="直接连接符 16">
            <a:extLst>
              <a:ext uri="{FF2B5EF4-FFF2-40B4-BE49-F238E27FC236}">
                <a16:creationId xmlns:a16="http://schemas.microsoft.com/office/drawing/2014/main" id="{E6E1F3E6-B3C8-4ED8-8EE9-C9F1D0D663B2}"/>
              </a:ext>
            </a:extLst>
          </p:cNvPr>
          <p:cNvCxnSpPr>
            <a:cxnSpLocks/>
          </p:cNvCxnSpPr>
          <p:nvPr/>
        </p:nvCxnSpPr>
        <p:spPr>
          <a:xfrm flipH="1">
            <a:off x="4824356" y="3871797"/>
            <a:ext cx="6011909"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20" name="矩形 19">
            <a:extLst>
              <a:ext uri="{FF2B5EF4-FFF2-40B4-BE49-F238E27FC236}">
                <a16:creationId xmlns:a16="http://schemas.microsoft.com/office/drawing/2014/main" id="{4FAC6EE2-90D5-40A7-AE48-C403CF68340F}"/>
              </a:ext>
            </a:extLst>
          </p:cNvPr>
          <p:cNvSpPr/>
          <p:nvPr/>
        </p:nvSpPr>
        <p:spPr>
          <a:xfrm>
            <a:off x="0" y="7936"/>
            <a:ext cx="124691" cy="6850063"/>
          </a:xfrm>
          <a:prstGeom prst="rect">
            <a:avLst/>
          </a:prstGeom>
          <a:solidFill>
            <a:schemeClr val="accent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p>
        </p:txBody>
      </p:sp>
    </p:spTree>
    <p:extLst>
      <p:ext uri="{BB962C8B-B14F-4D97-AF65-F5344CB8AC3E}">
        <p14:creationId xmlns:p14="http://schemas.microsoft.com/office/powerpoint/2010/main" val="1356677248"/>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5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文本框 5">
            <a:extLst>
              <a:ext uri="{FF2B5EF4-FFF2-40B4-BE49-F238E27FC236}">
                <a16:creationId xmlns:a16="http://schemas.microsoft.com/office/drawing/2014/main" id="{505F9250-43CA-47FD-9D63-19DFCD7AC4F3}"/>
              </a:ext>
            </a:extLst>
          </p:cNvPr>
          <p:cNvSpPr txBox="1"/>
          <p:nvPr/>
        </p:nvSpPr>
        <p:spPr>
          <a:xfrm>
            <a:off x="4133766" y="918105"/>
            <a:ext cx="3924472" cy="52322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2800" b="0" i="0" u="none" strike="noStrike" kern="1200" cap="none" spc="0" normalizeH="0" baseline="0" noProof="0" dirty="0">
                <a:ln>
                  <a:noFill/>
                </a:ln>
                <a:solidFill>
                  <a:prstClr val="black"/>
                </a:solidFill>
                <a:effectLst/>
                <a:uLnTx/>
                <a:uFillTx/>
                <a:latin typeface="HarmonyOS Sans Black"/>
                <a:ea typeface="+mj-ea"/>
                <a:cs typeface="+mn-cs"/>
              </a:rPr>
              <a:t>Branding </a:t>
            </a:r>
            <a:r>
              <a:rPr kumimoji="0" lang="en-US" altLang="zh-CN" sz="2800" b="0" i="0" u="none" strike="noStrike" kern="1200" cap="none" spc="0" normalizeH="0" baseline="0" noProof="0" dirty="0">
                <a:ln>
                  <a:noFill/>
                </a:ln>
                <a:solidFill>
                  <a:schemeClr val="accent1"/>
                </a:solidFill>
                <a:effectLst/>
                <a:uLnTx/>
                <a:uFillTx/>
                <a:latin typeface="HarmonyOS Sans Black"/>
                <a:ea typeface="+mj-ea"/>
                <a:cs typeface="+mn-cs"/>
              </a:rPr>
              <a:t>Infographic</a:t>
            </a:r>
          </a:p>
        </p:txBody>
      </p:sp>
      <p:sp>
        <p:nvSpPr>
          <p:cNvPr id="9" name="Freeform 5">
            <a:extLst>
              <a:ext uri="{FF2B5EF4-FFF2-40B4-BE49-F238E27FC236}">
                <a16:creationId xmlns:a16="http://schemas.microsoft.com/office/drawing/2014/main" id="{D7A2DCBD-1D39-43EB-AEA5-5A30473C218A}"/>
              </a:ext>
            </a:extLst>
          </p:cNvPr>
          <p:cNvSpPr>
            <a:spLocks/>
          </p:cNvSpPr>
          <p:nvPr/>
        </p:nvSpPr>
        <p:spPr bwMode="auto">
          <a:xfrm flipV="1">
            <a:off x="4839949" y="4123780"/>
            <a:ext cx="2510351" cy="903306"/>
          </a:xfrm>
          <a:custGeom>
            <a:avLst/>
            <a:gdLst>
              <a:gd name="T0" fmla="*/ 8518 w 8606"/>
              <a:gd name="T1" fmla="*/ 254 h 3097"/>
              <a:gd name="T2" fmla="*/ 8298 w 8606"/>
              <a:gd name="T3" fmla="*/ 200 h 3097"/>
              <a:gd name="T4" fmla="*/ 8055 w 8606"/>
              <a:gd name="T5" fmla="*/ 163 h 3097"/>
              <a:gd name="T6" fmla="*/ 7705 w 8606"/>
              <a:gd name="T7" fmla="*/ 124 h 3097"/>
              <a:gd name="T8" fmla="*/ 7400 w 8606"/>
              <a:gd name="T9" fmla="*/ 97 h 3097"/>
              <a:gd name="T10" fmla="*/ 7078 w 8606"/>
              <a:gd name="T11" fmla="*/ 75 h 3097"/>
              <a:gd name="T12" fmla="*/ 6816 w 8606"/>
              <a:gd name="T13" fmla="*/ 60 h 3097"/>
              <a:gd name="T14" fmla="*/ 6319 w 8606"/>
              <a:gd name="T15" fmla="*/ 37 h 3097"/>
              <a:gd name="T16" fmla="*/ 5818 w 8606"/>
              <a:gd name="T17" fmla="*/ 20 h 3097"/>
              <a:gd name="T18" fmla="*/ 5359 w 8606"/>
              <a:gd name="T19" fmla="*/ 9 h 3097"/>
              <a:gd name="T20" fmla="*/ 5056 w 8606"/>
              <a:gd name="T21" fmla="*/ 4 h 3097"/>
              <a:gd name="T22" fmla="*/ 4814 w 8606"/>
              <a:gd name="T23" fmla="*/ 2 h 3097"/>
              <a:gd name="T24" fmla="*/ 4476 w 8606"/>
              <a:gd name="T25" fmla="*/ 0 h 3097"/>
              <a:gd name="T26" fmla="*/ 4106 w 8606"/>
              <a:gd name="T27" fmla="*/ 0 h 3097"/>
              <a:gd name="T28" fmla="*/ 3828 w 8606"/>
              <a:gd name="T29" fmla="*/ 2 h 3097"/>
              <a:gd name="T30" fmla="*/ 3408 w 8606"/>
              <a:gd name="T31" fmla="*/ 6 h 3097"/>
              <a:gd name="T32" fmla="*/ 2947 w 8606"/>
              <a:gd name="T33" fmla="*/ 15 h 3097"/>
              <a:gd name="T34" fmla="*/ 2682 w 8606"/>
              <a:gd name="T35" fmla="*/ 23 h 3097"/>
              <a:gd name="T36" fmla="*/ 2391 w 8606"/>
              <a:gd name="T37" fmla="*/ 33 h 3097"/>
              <a:gd name="T38" fmla="*/ 2047 w 8606"/>
              <a:gd name="T39" fmla="*/ 47 h 3097"/>
              <a:gd name="T40" fmla="*/ 1724 w 8606"/>
              <a:gd name="T41" fmla="*/ 64 h 3097"/>
              <a:gd name="T42" fmla="*/ 1295 w 8606"/>
              <a:gd name="T43" fmla="*/ 91 h 3097"/>
              <a:gd name="T44" fmla="*/ 937 w 8606"/>
              <a:gd name="T45" fmla="*/ 120 h 3097"/>
              <a:gd name="T46" fmla="*/ 686 w 8606"/>
              <a:gd name="T47" fmla="*/ 146 h 3097"/>
              <a:gd name="T48" fmla="*/ 456 w 8606"/>
              <a:gd name="T49" fmla="*/ 176 h 3097"/>
              <a:gd name="T50" fmla="*/ 277 w 8606"/>
              <a:gd name="T51" fmla="*/ 206 h 3097"/>
              <a:gd name="T52" fmla="*/ 122 w 8606"/>
              <a:gd name="T53" fmla="*/ 243 h 3097"/>
              <a:gd name="T54" fmla="*/ 23 w 8606"/>
              <a:gd name="T55" fmla="*/ 285 h 3097"/>
              <a:gd name="T56" fmla="*/ 340 w 8606"/>
              <a:gd name="T57" fmla="*/ 970 h 3097"/>
              <a:gd name="T58" fmla="*/ 1362 w 8606"/>
              <a:gd name="T59" fmla="*/ 2898 h 3097"/>
              <a:gd name="T60" fmla="*/ 1412 w 8606"/>
              <a:gd name="T61" fmla="*/ 2924 h 3097"/>
              <a:gd name="T62" fmla="*/ 1476 w 8606"/>
              <a:gd name="T63" fmla="*/ 2942 h 3097"/>
              <a:gd name="T64" fmla="*/ 1585 w 8606"/>
              <a:gd name="T65" fmla="*/ 2964 h 3097"/>
              <a:gd name="T66" fmla="*/ 1724 w 8606"/>
              <a:gd name="T67" fmla="*/ 2984 h 3097"/>
              <a:gd name="T68" fmla="*/ 1912 w 8606"/>
              <a:gd name="T69" fmla="*/ 3007 h 3097"/>
              <a:gd name="T70" fmla="*/ 2107 w 8606"/>
              <a:gd name="T71" fmla="*/ 3024 h 3097"/>
              <a:gd name="T72" fmla="*/ 2284 w 8606"/>
              <a:gd name="T73" fmla="*/ 3038 h 3097"/>
              <a:gd name="T74" fmla="*/ 2465 w 8606"/>
              <a:gd name="T75" fmla="*/ 3049 h 3097"/>
              <a:gd name="T76" fmla="*/ 2722 w 8606"/>
              <a:gd name="T77" fmla="*/ 3063 h 3097"/>
              <a:gd name="T78" fmla="*/ 2905 w 8606"/>
              <a:gd name="T79" fmla="*/ 3071 h 3097"/>
              <a:gd name="T80" fmla="*/ 3093 w 8606"/>
              <a:gd name="T81" fmla="*/ 3078 h 3097"/>
              <a:gd name="T82" fmla="*/ 3321 w 8606"/>
              <a:gd name="T83" fmla="*/ 3084 h 3097"/>
              <a:gd name="T84" fmla="*/ 3567 w 8606"/>
              <a:gd name="T85" fmla="*/ 3090 h 3097"/>
              <a:gd name="T86" fmla="*/ 3850 w 8606"/>
              <a:gd name="T87" fmla="*/ 3095 h 3097"/>
              <a:gd name="T88" fmla="*/ 4101 w 8606"/>
              <a:gd name="T89" fmla="*/ 3097 h 3097"/>
              <a:gd name="T90" fmla="*/ 4428 w 8606"/>
              <a:gd name="T91" fmla="*/ 3097 h 3097"/>
              <a:gd name="T92" fmla="*/ 4726 w 8606"/>
              <a:gd name="T93" fmla="*/ 3095 h 3097"/>
              <a:gd name="T94" fmla="*/ 4988 w 8606"/>
              <a:gd name="T95" fmla="*/ 3091 h 3097"/>
              <a:gd name="T96" fmla="*/ 5222 w 8606"/>
              <a:gd name="T97" fmla="*/ 3086 h 3097"/>
              <a:gd name="T98" fmla="*/ 5491 w 8606"/>
              <a:gd name="T99" fmla="*/ 3078 h 3097"/>
              <a:gd name="T100" fmla="*/ 5746 w 8606"/>
              <a:gd name="T101" fmla="*/ 3069 h 3097"/>
              <a:gd name="T102" fmla="*/ 6003 w 8606"/>
              <a:gd name="T103" fmla="*/ 3057 h 3097"/>
              <a:gd name="T104" fmla="*/ 6226 w 8606"/>
              <a:gd name="T105" fmla="*/ 3044 h 3097"/>
              <a:gd name="T106" fmla="*/ 6397 w 8606"/>
              <a:gd name="T107" fmla="*/ 3033 h 3097"/>
              <a:gd name="T108" fmla="*/ 6587 w 8606"/>
              <a:gd name="T109" fmla="*/ 3017 h 3097"/>
              <a:gd name="T110" fmla="*/ 6756 w 8606"/>
              <a:gd name="T111" fmla="*/ 3000 h 3097"/>
              <a:gd name="T112" fmla="*/ 6914 w 8606"/>
              <a:gd name="T113" fmla="*/ 2980 h 3097"/>
              <a:gd name="T114" fmla="*/ 7036 w 8606"/>
              <a:gd name="T115" fmla="*/ 2961 h 3097"/>
              <a:gd name="T116" fmla="*/ 7128 w 8606"/>
              <a:gd name="T117" fmla="*/ 2942 h 3097"/>
              <a:gd name="T118" fmla="*/ 7203 w 8606"/>
              <a:gd name="T119" fmla="*/ 2919 h 3097"/>
              <a:gd name="T120" fmla="*/ 7246 w 8606"/>
              <a:gd name="T121" fmla="*/ 2897 h 3097"/>
              <a:gd name="T122" fmla="*/ 8378 w 8606"/>
              <a:gd name="T123" fmla="*/ 758 h 30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8606" h="3097">
                <a:moveTo>
                  <a:pt x="8606" y="315"/>
                </a:moveTo>
                <a:lnTo>
                  <a:pt x="8606" y="313"/>
                </a:lnTo>
                <a:lnTo>
                  <a:pt x="8605" y="312"/>
                </a:lnTo>
                <a:lnTo>
                  <a:pt x="8604" y="309"/>
                </a:lnTo>
                <a:lnTo>
                  <a:pt x="8603" y="305"/>
                </a:lnTo>
                <a:lnTo>
                  <a:pt x="8602" y="304"/>
                </a:lnTo>
                <a:lnTo>
                  <a:pt x="8601" y="302"/>
                </a:lnTo>
                <a:lnTo>
                  <a:pt x="8598" y="299"/>
                </a:lnTo>
                <a:lnTo>
                  <a:pt x="8594" y="296"/>
                </a:lnTo>
                <a:lnTo>
                  <a:pt x="8593" y="295"/>
                </a:lnTo>
                <a:lnTo>
                  <a:pt x="8592" y="293"/>
                </a:lnTo>
                <a:lnTo>
                  <a:pt x="8586" y="288"/>
                </a:lnTo>
                <a:lnTo>
                  <a:pt x="8580" y="283"/>
                </a:lnTo>
                <a:lnTo>
                  <a:pt x="8579" y="283"/>
                </a:lnTo>
                <a:lnTo>
                  <a:pt x="8578" y="282"/>
                </a:lnTo>
                <a:lnTo>
                  <a:pt x="8572" y="278"/>
                </a:lnTo>
                <a:lnTo>
                  <a:pt x="8565" y="274"/>
                </a:lnTo>
                <a:lnTo>
                  <a:pt x="8561" y="273"/>
                </a:lnTo>
                <a:lnTo>
                  <a:pt x="8558" y="271"/>
                </a:lnTo>
                <a:lnTo>
                  <a:pt x="8552" y="268"/>
                </a:lnTo>
                <a:lnTo>
                  <a:pt x="8546" y="265"/>
                </a:lnTo>
                <a:lnTo>
                  <a:pt x="8542" y="264"/>
                </a:lnTo>
                <a:lnTo>
                  <a:pt x="8538" y="262"/>
                </a:lnTo>
                <a:lnTo>
                  <a:pt x="8531" y="259"/>
                </a:lnTo>
                <a:lnTo>
                  <a:pt x="8522" y="255"/>
                </a:lnTo>
                <a:lnTo>
                  <a:pt x="8518" y="254"/>
                </a:lnTo>
                <a:lnTo>
                  <a:pt x="8514" y="253"/>
                </a:lnTo>
                <a:lnTo>
                  <a:pt x="8502" y="248"/>
                </a:lnTo>
                <a:lnTo>
                  <a:pt x="8488" y="244"/>
                </a:lnTo>
                <a:lnTo>
                  <a:pt x="8485" y="243"/>
                </a:lnTo>
                <a:lnTo>
                  <a:pt x="8482" y="242"/>
                </a:lnTo>
                <a:lnTo>
                  <a:pt x="8470" y="239"/>
                </a:lnTo>
                <a:lnTo>
                  <a:pt x="8457" y="236"/>
                </a:lnTo>
                <a:lnTo>
                  <a:pt x="8452" y="234"/>
                </a:lnTo>
                <a:lnTo>
                  <a:pt x="8446" y="233"/>
                </a:lnTo>
                <a:lnTo>
                  <a:pt x="8435" y="230"/>
                </a:lnTo>
                <a:lnTo>
                  <a:pt x="8423" y="227"/>
                </a:lnTo>
                <a:lnTo>
                  <a:pt x="8417" y="225"/>
                </a:lnTo>
                <a:lnTo>
                  <a:pt x="8411" y="224"/>
                </a:lnTo>
                <a:lnTo>
                  <a:pt x="8398" y="220"/>
                </a:lnTo>
                <a:lnTo>
                  <a:pt x="8384" y="217"/>
                </a:lnTo>
                <a:lnTo>
                  <a:pt x="8379" y="216"/>
                </a:lnTo>
                <a:lnTo>
                  <a:pt x="8373" y="215"/>
                </a:lnTo>
                <a:lnTo>
                  <a:pt x="8364" y="213"/>
                </a:lnTo>
                <a:lnTo>
                  <a:pt x="8353" y="211"/>
                </a:lnTo>
                <a:lnTo>
                  <a:pt x="8343" y="209"/>
                </a:lnTo>
                <a:lnTo>
                  <a:pt x="8333" y="207"/>
                </a:lnTo>
                <a:lnTo>
                  <a:pt x="8328" y="206"/>
                </a:lnTo>
                <a:lnTo>
                  <a:pt x="8322" y="205"/>
                </a:lnTo>
                <a:lnTo>
                  <a:pt x="8314" y="203"/>
                </a:lnTo>
                <a:lnTo>
                  <a:pt x="8306" y="202"/>
                </a:lnTo>
                <a:lnTo>
                  <a:pt x="8298" y="200"/>
                </a:lnTo>
                <a:lnTo>
                  <a:pt x="8288" y="199"/>
                </a:lnTo>
                <a:lnTo>
                  <a:pt x="8280" y="197"/>
                </a:lnTo>
                <a:lnTo>
                  <a:pt x="8272" y="196"/>
                </a:lnTo>
                <a:lnTo>
                  <a:pt x="8265" y="194"/>
                </a:lnTo>
                <a:lnTo>
                  <a:pt x="8256" y="193"/>
                </a:lnTo>
                <a:lnTo>
                  <a:pt x="8248" y="192"/>
                </a:lnTo>
                <a:lnTo>
                  <a:pt x="8241" y="190"/>
                </a:lnTo>
                <a:lnTo>
                  <a:pt x="8232" y="189"/>
                </a:lnTo>
                <a:lnTo>
                  <a:pt x="8223" y="188"/>
                </a:lnTo>
                <a:lnTo>
                  <a:pt x="8214" y="185"/>
                </a:lnTo>
                <a:lnTo>
                  <a:pt x="8205" y="184"/>
                </a:lnTo>
                <a:lnTo>
                  <a:pt x="8195" y="182"/>
                </a:lnTo>
                <a:lnTo>
                  <a:pt x="8185" y="181"/>
                </a:lnTo>
                <a:lnTo>
                  <a:pt x="8179" y="180"/>
                </a:lnTo>
                <a:lnTo>
                  <a:pt x="8172" y="179"/>
                </a:lnTo>
                <a:lnTo>
                  <a:pt x="8158" y="177"/>
                </a:lnTo>
                <a:lnTo>
                  <a:pt x="8146" y="175"/>
                </a:lnTo>
                <a:lnTo>
                  <a:pt x="8133" y="173"/>
                </a:lnTo>
                <a:lnTo>
                  <a:pt x="8118" y="171"/>
                </a:lnTo>
                <a:lnTo>
                  <a:pt x="8117" y="171"/>
                </a:lnTo>
                <a:lnTo>
                  <a:pt x="8115" y="171"/>
                </a:lnTo>
                <a:lnTo>
                  <a:pt x="8105" y="169"/>
                </a:lnTo>
                <a:lnTo>
                  <a:pt x="8095" y="168"/>
                </a:lnTo>
                <a:lnTo>
                  <a:pt x="8082" y="166"/>
                </a:lnTo>
                <a:lnTo>
                  <a:pt x="8069" y="165"/>
                </a:lnTo>
                <a:lnTo>
                  <a:pt x="8055" y="163"/>
                </a:lnTo>
                <a:lnTo>
                  <a:pt x="8042" y="161"/>
                </a:lnTo>
                <a:lnTo>
                  <a:pt x="8030" y="160"/>
                </a:lnTo>
                <a:lnTo>
                  <a:pt x="8016" y="158"/>
                </a:lnTo>
                <a:lnTo>
                  <a:pt x="8003" y="156"/>
                </a:lnTo>
                <a:lnTo>
                  <a:pt x="7988" y="155"/>
                </a:lnTo>
                <a:lnTo>
                  <a:pt x="7975" y="152"/>
                </a:lnTo>
                <a:lnTo>
                  <a:pt x="7962" y="150"/>
                </a:lnTo>
                <a:lnTo>
                  <a:pt x="7947" y="149"/>
                </a:lnTo>
                <a:lnTo>
                  <a:pt x="7932" y="147"/>
                </a:lnTo>
                <a:lnTo>
                  <a:pt x="7918" y="145"/>
                </a:lnTo>
                <a:lnTo>
                  <a:pt x="7906" y="144"/>
                </a:lnTo>
                <a:lnTo>
                  <a:pt x="7901" y="143"/>
                </a:lnTo>
                <a:lnTo>
                  <a:pt x="7896" y="143"/>
                </a:lnTo>
                <a:lnTo>
                  <a:pt x="7890" y="142"/>
                </a:lnTo>
                <a:lnTo>
                  <a:pt x="7884" y="142"/>
                </a:lnTo>
                <a:lnTo>
                  <a:pt x="7866" y="140"/>
                </a:lnTo>
                <a:lnTo>
                  <a:pt x="7846" y="138"/>
                </a:lnTo>
                <a:lnTo>
                  <a:pt x="7827" y="136"/>
                </a:lnTo>
                <a:lnTo>
                  <a:pt x="7807" y="134"/>
                </a:lnTo>
                <a:lnTo>
                  <a:pt x="7803" y="133"/>
                </a:lnTo>
                <a:lnTo>
                  <a:pt x="7798" y="133"/>
                </a:lnTo>
                <a:lnTo>
                  <a:pt x="7777" y="131"/>
                </a:lnTo>
                <a:lnTo>
                  <a:pt x="7754" y="128"/>
                </a:lnTo>
                <a:lnTo>
                  <a:pt x="7733" y="126"/>
                </a:lnTo>
                <a:lnTo>
                  <a:pt x="7710" y="124"/>
                </a:lnTo>
                <a:lnTo>
                  <a:pt x="7705" y="124"/>
                </a:lnTo>
                <a:lnTo>
                  <a:pt x="7700" y="123"/>
                </a:lnTo>
                <a:lnTo>
                  <a:pt x="7694" y="123"/>
                </a:lnTo>
                <a:lnTo>
                  <a:pt x="7688" y="122"/>
                </a:lnTo>
                <a:lnTo>
                  <a:pt x="7671" y="121"/>
                </a:lnTo>
                <a:lnTo>
                  <a:pt x="7653" y="118"/>
                </a:lnTo>
                <a:lnTo>
                  <a:pt x="7635" y="117"/>
                </a:lnTo>
                <a:lnTo>
                  <a:pt x="7617" y="115"/>
                </a:lnTo>
                <a:lnTo>
                  <a:pt x="7612" y="115"/>
                </a:lnTo>
                <a:lnTo>
                  <a:pt x="7607" y="114"/>
                </a:lnTo>
                <a:lnTo>
                  <a:pt x="7587" y="112"/>
                </a:lnTo>
                <a:lnTo>
                  <a:pt x="7567" y="111"/>
                </a:lnTo>
                <a:lnTo>
                  <a:pt x="7546" y="109"/>
                </a:lnTo>
                <a:lnTo>
                  <a:pt x="7525" y="107"/>
                </a:lnTo>
                <a:lnTo>
                  <a:pt x="7520" y="107"/>
                </a:lnTo>
                <a:lnTo>
                  <a:pt x="7515" y="106"/>
                </a:lnTo>
                <a:lnTo>
                  <a:pt x="7506" y="106"/>
                </a:lnTo>
                <a:lnTo>
                  <a:pt x="7497" y="105"/>
                </a:lnTo>
                <a:lnTo>
                  <a:pt x="7483" y="104"/>
                </a:lnTo>
                <a:lnTo>
                  <a:pt x="7471" y="103"/>
                </a:lnTo>
                <a:lnTo>
                  <a:pt x="7459" y="102"/>
                </a:lnTo>
                <a:lnTo>
                  <a:pt x="7446" y="101"/>
                </a:lnTo>
                <a:lnTo>
                  <a:pt x="7438" y="100"/>
                </a:lnTo>
                <a:lnTo>
                  <a:pt x="7430" y="100"/>
                </a:lnTo>
                <a:lnTo>
                  <a:pt x="7421" y="99"/>
                </a:lnTo>
                <a:lnTo>
                  <a:pt x="7413" y="98"/>
                </a:lnTo>
                <a:lnTo>
                  <a:pt x="7400" y="97"/>
                </a:lnTo>
                <a:lnTo>
                  <a:pt x="7386" y="96"/>
                </a:lnTo>
                <a:lnTo>
                  <a:pt x="7374" y="95"/>
                </a:lnTo>
                <a:lnTo>
                  <a:pt x="7361" y="95"/>
                </a:lnTo>
                <a:lnTo>
                  <a:pt x="7348" y="94"/>
                </a:lnTo>
                <a:lnTo>
                  <a:pt x="7337" y="93"/>
                </a:lnTo>
                <a:lnTo>
                  <a:pt x="7335" y="93"/>
                </a:lnTo>
                <a:lnTo>
                  <a:pt x="7333" y="93"/>
                </a:lnTo>
                <a:lnTo>
                  <a:pt x="7313" y="91"/>
                </a:lnTo>
                <a:lnTo>
                  <a:pt x="7293" y="90"/>
                </a:lnTo>
                <a:lnTo>
                  <a:pt x="7272" y="88"/>
                </a:lnTo>
                <a:lnTo>
                  <a:pt x="7251" y="87"/>
                </a:lnTo>
                <a:lnTo>
                  <a:pt x="7245" y="86"/>
                </a:lnTo>
                <a:lnTo>
                  <a:pt x="7239" y="86"/>
                </a:lnTo>
                <a:lnTo>
                  <a:pt x="7222" y="84"/>
                </a:lnTo>
                <a:lnTo>
                  <a:pt x="7204" y="83"/>
                </a:lnTo>
                <a:lnTo>
                  <a:pt x="7185" y="82"/>
                </a:lnTo>
                <a:lnTo>
                  <a:pt x="7168" y="80"/>
                </a:lnTo>
                <a:lnTo>
                  <a:pt x="7165" y="80"/>
                </a:lnTo>
                <a:lnTo>
                  <a:pt x="7161" y="80"/>
                </a:lnTo>
                <a:lnTo>
                  <a:pt x="7146" y="79"/>
                </a:lnTo>
                <a:lnTo>
                  <a:pt x="7132" y="78"/>
                </a:lnTo>
                <a:lnTo>
                  <a:pt x="7122" y="77"/>
                </a:lnTo>
                <a:lnTo>
                  <a:pt x="7110" y="77"/>
                </a:lnTo>
                <a:lnTo>
                  <a:pt x="7100" y="76"/>
                </a:lnTo>
                <a:lnTo>
                  <a:pt x="7089" y="75"/>
                </a:lnTo>
                <a:lnTo>
                  <a:pt x="7078" y="75"/>
                </a:lnTo>
                <a:lnTo>
                  <a:pt x="7068" y="74"/>
                </a:lnTo>
                <a:lnTo>
                  <a:pt x="7058" y="74"/>
                </a:lnTo>
                <a:lnTo>
                  <a:pt x="7047" y="73"/>
                </a:lnTo>
                <a:lnTo>
                  <a:pt x="7037" y="72"/>
                </a:lnTo>
                <a:lnTo>
                  <a:pt x="7027" y="72"/>
                </a:lnTo>
                <a:lnTo>
                  <a:pt x="7016" y="71"/>
                </a:lnTo>
                <a:lnTo>
                  <a:pt x="7007" y="71"/>
                </a:lnTo>
                <a:lnTo>
                  <a:pt x="7000" y="70"/>
                </a:lnTo>
                <a:lnTo>
                  <a:pt x="6993" y="70"/>
                </a:lnTo>
                <a:lnTo>
                  <a:pt x="6978" y="69"/>
                </a:lnTo>
                <a:lnTo>
                  <a:pt x="6965" y="68"/>
                </a:lnTo>
                <a:lnTo>
                  <a:pt x="6954" y="68"/>
                </a:lnTo>
                <a:lnTo>
                  <a:pt x="6943" y="67"/>
                </a:lnTo>
                <a:lnTo>
                  <a:pt x="6933" y="66"/>
                </a:lnTo>
                <a:lnTo>
                  <a:pt x="6922" y="66"/>
                </a:lnTo>
                <a:lnTo>
                  <a:pt x="6912" y="65"/>
                </a:lnTo>
                <a:lnTo>
                  <a:pt x="6903" y="65"/>
                </a:lnTo>
                <a:lnTo>
                  <a:pt x="6893" y="64"/>
                </a:lnTo>
                <a:lnTo>
                  <a:pt x="6883" y="64"/>
                </a:lnTo>
                <a:lnTo>
                  <a:pt x="6872" y="63"/>
                </a:lnTo>
                <a:lnTo>
                  <a:pt x="6862" y="62"/>
                </a:lnTo>
                <a:lnTo>
                  <a:pt x="6850" y="62"/>
                </a:lnTo>
                <a:lnTo>
                  <a:pt x="6840" y="61"/>
                </a:lnTo>
                <a:lnTo>
                  <a:pt x="6831" y="61"/>
                </a:lnTo>
                <a:lnTo>
                  <a:pt x="6823" y="60"/>
                </a:lnTo>
                <a:lnTo>
                  <a:pt x="6816" y="60"/>
                </a:lnTo>
                <a:lnTo>
                  <a:pt x="6810" y="60"/>
                </a:lnTo>
                <a:lnTo>
                  <a:pt x="6773" y="58"/>
                </a:lnTo>
                <a:lnTo>
                  <a:pt x="6736" y="56"/>
                </a:lnTo>
                <a:lnTo>
                  <a:pt x="6698" y="54"/>
                </a:lnTo>
                <a:lnTo>
                  <a:pt x="6661" y="52"/>
                </a:lnTo>
                <a:lnTo>
                  <a:pt x="6657" y="52"/>
                </a:lnTo>
                <a:lnTo>
                  <a:pt x="6653" y="52"/>
                </a:lnTo>
                <a:lnTo>
                  <a:pt x="6647" y="52"/>
                </a:lnTo>
                <a:lnTo>
                  <a:pt x="6643" y="52"/>
                </a:lnTo>
                <a:lnTo>
                  <a:pt x="6605" y="49"/>
                </a:lnTo>
                <a:lnTo>
                  <a:pt x="6568" y="47"/>
                </a:lnTo>
                <a:lnTo>
                  <a:pt x="6530" y="45"/>
                </a:lnTo>
                <a:lnTo>
                  <a:pt x="6492" y="44"/>
                </a:lnTo>
                <a:lnTo>
                  <a:pt x="6489" y="44"/>
                </a:lnTo>
                <a:lnTo>
                  <a:pt x="6487" y="44"/>
                </a:lnTo>
                <a:lnTo>
                  <a:pt x="6481" y="43"/>
                </a:lnTo>
                <a:lnTo>
                  <a:pt x="6477" y="43"/>
                </a:lnTo>
                <a:lnTo>
                  <a:pt x="6458" y="42"/>
                </a:lnTo>
                <a:lnTo>
                  <a:pt x="6438" y="42"/>
                </a:lnTo>
                <a:lnTo>
                  <a:pt x="6419" y="41"/>
                </a:lnTo>
                <a:lnTo>
                  <a:pt x="6399" y="40"/>
                </a:lnTo>
                <a:lnTo>
                  <a:pt x="6379" y="39"/>
                </a:lnTo>
                <a:lnTo>
                  <a:pt x="6359" y="38"/>
                </a:lnTo>
                <a:lnTo>
                  <a:pt x="6339" y="38"/>
                </a:lnTo>
                <a:lnTo>
                  <a:pt x="6320" y="37"/>
                </a:lnTo>
                <a:lnTo>
                  <a:pt x="6319" y="37"/>
                </a:lnTo>
                <a:lnTo>
                  <a:pt x="6318" y="37"/>
                </a:lnTo>
                <a:lnTo>
                  <a:pt x="6314" y="37"/>
                </a:lnTo>
                <a:lnTo>
                  <a:pt x="6311" y="37"/>
                </a:lnTo>
                <a:lnTo>
                  <a:pt x="6273" y="35"/>
                </a:lnTo>
                <a:lnTo>
                  <a:pt x="6236" y="34"/>
                </a:lnTo>
                <a:lnTo>
                  <a:pt x="6198" y="32"/>
                </a:lnTo>
                <a:lnTo>
                  <a:pt x="6160" y="31"/>
                </a:lnTo>
                <a:lnTo>
                  <a:pt x="6156" y="31"/>
                </a:lnTo>
                <a:lnTo>
                  <a:pt x="6152" y="31"/>
                </a:lnTo>
                <a:lnTo>
                  <a:pt x="6150" y="31"/>
                </a:lnTo>
                <a:lnTo>
                  <a:pt x="6148" y="31"/>
                </a:lnTo>
                <a:lnTo>
                  <a:pt x="6111" y="29"/>
                </a:lnTo>
                <a:lnTo>
                  <a:pt x="6074" y="28"/>
                </a:lnTo>
                <a:lnTo>
                  <a:pt x="6036" y="27"/>
                </a:lnTo>
                <a:lnTo>
                  <a:pt x="5999" y="26"/>
                </a:lnTo>
                <a:lnTo>
                  <a:pt x="5993" y="26"/>
                </a:lnTo>
                <a:lnTo>
                  <a:pt x="5987" y="25"/>
                </a:lnTo>
                <a:lnTo>
                  <a:pt x="5982" y="25"/>
                </a:lnTo>
                <a:lnTo>
                  <a:pt x="5976" y="25"/>
                </a:lnTo>
                <a:lnTo>
                  <a:pt x="5941" y="24"/>
                </a:lnTo>
                <a:lnTo>
                  <a:pt x="5907" y="23"/>
                </a:lnTo>
                <a:lnTo>
                  <a:pt x="5871" y="22"/>
                </a:lnTo>
                <a:lnTo>
                  <a:pt x="5836" y="21"/>
                </a:lnTo>
                <a:lnTo>
                  <a:pt x="5832" y="21"/>
                </a:lnTo>
                <a:lnTo>
                  <a:pt x="5827" y="21"/>
                </a:lnTo>
                <a:lnTo>
                  <a:pt x="5818" y="20"/>
                </a:lnTo>
                <a:lnTo>
                  <a:pt x="5808" y="20"/>
                </a:lnTo>
                <a:lnTo>
                  <a:pt x="5779" y="19"/>
                </a:lnTo>
                <a:lnTo>
                  <a:pt x="5749" y="19"/>
                </a:lnTo>
                <a:lnTo>
                  <a:pt x="5719" y="18"/>
                </a:lnTo>
                <a:lnTo>
                  <a:pt x="5688" y="17"/>
                </a:lnTo>
                <a:lnTo>
                  <a:pt x="5682" y="17"/>
                </a:lnTo>
                <a:lnTo>
                  <a:pt x="5675" y="17"/>
                </a:lnTo>
                <a:lnTo>
                  <a:pt x="5672" y="17"/>
                </a:lnTo>
                <a:lnTo>
                  <a:pt x="5669" y="17"/>
                </a:lnTo>
                <a:lnTo>
                  <a:pt x="5637" y="15"/>
                </a:lnTo>
                <a:lnTo>
                  <a:pt x="5604" y="14"/>
                </a:lnTo>
                <a:lnTo>
                  <a:pt x="5572" y="13"/>
                </a:lnTo>
                <a:lnTo>
                  <a:pt x="5540" y="13"/>
                </a:lnTo>
                <a:lnTo>
                  <a:pt x="5537" y="13"/>
                </a:lnTo>
                <a:lnTo>
                  <a:pt x="5535" y="13"/>
                </a:lnTo>
                <a:lnTo>
                  <a:pt x="5528" y="12"/>
                </a:lnTo>
                <a:lnTo>
                  <a:pt x="5521" y="12"/>
                </a:lnTo>
                <a:lnTo>
                  <a:pt x="5495" y="12"/>
                </a:lnTo>
                <a:lnTo>
                  <a:pt x="5469" y="11"/>
                </a:lnTo>
                <a:lnTo>
                  <a:pt x="5444" y="11"/>
                </a:lnTo>
                <a:lnTo>
                  <a:pt x="5418" y="10"/>
                </a:lnTo>
                <a:lnTo>
                  <a:pt x="5407" y="10"/>
                </a:lnTo>
                <a:lnTo>
                  <a:pt x="5397" y="10"/>
                </a:lnTo>
                <a:lnTo>
                  <a:pt x="5385" y="10"/>
                </a:lnTo>
                <a:lnTo>
                  <a:pt x="5372" y="9"/>
                </a:lnTo>
                <a:lnTo>
                  <a:pt x="5359" y="9"/>
                </a:lnTo>
                <a:lnTo>
                  <a:pt x="5345" y="9"/>
                </a:lnTo>
                <a:lnTo>
                  <a:pt x="5331" y="9"/>
                </a:lnTo>
                <a:lnTo>
                  <a:pt x="5317" y="8"/>
                </a:lnTo>
                <a:lnTo>
                  <a:pt x="5301" y="8"/>
                </a:lnTo>
                <a:lnTo>
                  <a:pt x="5287" y="8"/>
                </a:lnTo>
                <a:lnTo>
                  <a:pt x="5276" y="8"/>
                </a:lnTo>
                <a:lnTo>
                  <a:pt x="5265" y="8"/>
                </a:lnTo>
                <a:lnTo>
                  <a:pt x="5251" y="7"/>
                </a:lnTo>
                <a:lnTo>
                  <a:pt x="5236" y="7"/>
                </a:lnTo>
                <a:lnTo>
                  <a:pt x="5223" y="7"/>
                </a:lnTo>
                <a:lnTo>
                  <a:pt x="5209" y="7"/>
                </a:lnTo>
                <a:lnTo>
                  <a:pt x="5200" y="7"/>
                </a:lnTo>
                <a:lnTo>
                  <a:pt x="5192" y="6"/>
                </a:lnTo>
                <a:lnTo>
                  <a:pt x="5183" y="6"/>
                </a:lnTo>
                <a:lnTo>
                  <a:pt x="5174" y="6"/>
                </a:lnTo>
                <a:lnTo>
                  <a:pt x="5165" y="6"/>
                </a:lnTo>
                <a:lnTo>
                  <a:pt x="5156" y="6"/>
                </a:lnTo>
                <a:lnTo>
                  <a:pt x="5143" y="6"/>
                </a:lnTo>
                <a:lnTo>
                  <a:pt x="5128" y="5"/>
                </a:lnTo>
                <a:lnTo>
                  <a:pt x="5115" y="5"/>
                </a:lnTo>
                <a:lnTo>
                  <a:pt x="5100" y="5"/>
                </a:lnTo>
                <a:lnTo>
                  <a:pt x="5092" y="5"/>
                </a:lnTo>
                <a:lnTo>
                  <a:pt x="5083" y="5"/>
                </a:lnTo>
                <a:lnTo>
                  <a:pt x="5075" y="5"/>
                </a:lnTo>
                <a:lnTo>
                  <a:pt x="5065" y="5"/>
                </a:lnTo>
                <a:lnTo>
                  <a:pt x="5056" y="4"/>
                </a:lnTo>
                <a:lnTo>
                  <a:pt x="5047" y="4"/>
                </a:lnTo>
                <a:lnTo>
                  <a:pt x="5038" y="4"/>
                </a:lnTo>
                <a:lnTo>
                  <a:pt x="5029" y="4"/>
                </a:lnTo>
                <a:lnTo>
                  <a:pt x="5021" y="4"/>
                </a:lnTo>
                <a:lnTo>
                  <a:pt x="5013" y="4"/>
                </a:lnTo>
                <a:lnTo>
                  <a:pt x="5004" y="4"/>
                </a:lnTo>
                <a:lnTo>
                  <a:pt x="4997" y="4"/>
                </a:lnTo>
                <a:lnTo>
                  <a:pt x="4989" y="4"/>
                </a:lnTo>
                <a:lnTo>
                  <a:pt x="4981" y="4"/>
                </a:lnTo>
                <a:lnTo>
                  <a:pt x="4972" y="3"/>
                </a:lnTo>
                <a:lnTo>
                  <a:pt x="4964" y="3"/>
                </a:lnTo>
                <a:lnTo>
                  <a:pt x="4956" y="3"/>
                </a:lnTo>
                <a:lnTo>
                  <a:pt x="4948" y="3"/>
                </a:lnTo>
                <a:lnTo>
                  <a:pt x="4938" y="3"/>
                </a:lnTo>
                <a:lnTo>
                  <a:pt x="4929" y="3"/>
                </a:lnTo>
                <a:lnTo>
                  <a:pt x="4920" y="3"/>
                </a:lnTo>
                <a:lnTo>
                  <a:pt x="4911" y="3"/>
                </a:lnTo>
                <a:lnTo>
                  <a:pt x="4903" y="3"/>
                </a:lnTo>
                <a:lnTo>
                  <a:pt x="4896" y="3"/>
                </a:lnTo>
                <a:lnTo>
                  <a:pt x="4877" y="3"/>
                </a:lnTo>
                <a:lnTo>
                  <a:pt x="4858" y="2"/>
                </a:lnTo>
                <a:lnTo>
                  <a:pt x="4839" y="2"/>
                </a:lnTo>
                <a:lnTo>
                  <a:pt x="4820" y="2"/>
                </a:lnTo>
                <a:lnTo>
                  <a:pt x="4819" y="2"/>
                </a:lnTo>
                <a:lnTo>
                  <a:pt x="4818" y="2"/>
                </a:lnTo>
                <a:lnTo>
                  <a:pt x="4814" y="2"/>
                </a:lnTo>
                <a:lnTo>
                  <a:pt x="4811" y="2"/>
                </a:lnTo>
                <a:lnTo>
                  <a:pt x="4789" y="2"/>
                </a:lnTo>
                <a:lnTo>
                  <a:pt x="4768" y="2"/>
                </a:lnTo>
                <a:lnTo>
                  <a:pt x="4747" y="1"/>
                </a:lnTo>
                <a:lnTo>
                  <a:pt x="4726" y="1"/>
                </a:lnTo>
                <a:lnTo>
                  <a:pt x="4718" y="1"/>
                </a:lnTo>
                <a:lnTo>
                  <a:pt x="4710" y="1"/>
                </a:lnTo>
                <a:lnTo>
                  <a:pt x="4709" y="1"/>
                </a:lnTo>
                <a:lnTo>
                  <a:pt x="4708" y="1"/>
                </a:lnTo>
                <a:lnTo>
                  <a:pt x="4695" y="1"/>
                </a:lnTo>
                <a:lnTo>
                  <a:pt x="4683" y="1"/>
                </a:lnTo>
                <a:lnTo>
                  <a:pt x="4669" y="1"/>
                </a:lnTo>
                <a:lnTo>
                  <a:pt x="4657" y="1"/>
                </a:lnTo>
                <a:lnTo>
                  <a:pt x="4641" y="1"/>
                </a:lnTo>
                <a:lnTo>
                  <a:pt x="4623" y="1"/>
                </a:lnTo>
                <a:lnTo>
                  <a:pt x="4606" y="1"/>
                </a:lnTo>
                <a:lnTo>
                  <a:pt x="4589" y="0"/>
                </a:lnTo>
                <a:lnTo>
                  <a:pt x="4572" y="0"/>
                </a:lnTo>
                <a:lnTo>
                  <a:pt x="4554" y="0"/>
                </a:lnTo>
                <a:lnTo>
                  <a:pt x="4536" y="0"/>
                </a:lnTo>
                <a:lnTo>
                  <a:pt x="4520" y="0"/>
                </a:lnTo>
                <a:lnTo>
                  <a:pt x="4507" y="0"/>
                </a:lnTo>
                <a:lnTo>
                  <a:pt x="4494" y="0"/>
                </a:lnTo>
                <a:lnTo>
                  <a:pt x="4490" y="0"/>
                </a:lnTo>
                <a:lnTo>
                  <a:pt x="4485" y="0"/>
                </a:lnTo>
                <a:lnTo>
                  <a:pt x="4476" y="0"/>
                </a:lnTo>
                <a:lnTo>
                  <a:pt x="4467" y="0"/>
                </a:lnTo>
                <a:lnTo>
                  <a:pt x="4459" y="0"/>
                </a:lnTo>
                <a:lnTo>
                  <a:pt x="4450" y="0"/>
                </a:lnTo>
                <a:lnTo>
                  <a:pt x="4432" y="0"/>
                </a:lnTo>
                <a:lnTo>
                  <a:pt x="4416" y="0"/>
                </a:lnTo>
                <a:lnTo>
                  <a:pt x="4398" y="0"/>
                </a:lnTo>
                <a:lnTo>
                  <a:pt x="4381" y="0"/>
                </a:lnTo>
                <a:lnTo>
                  <a:pt x="4380" y="0"/>
                </a:lnTo>
                <a:lnTo>
                  <a:pt x="4378" y="0"/>
                </a:lnTo>
                <a:lnTo>
                  <a:pt x="4362" y="0"/>
                </a:lnTo>
                <a:lnTo>
                  <a:pt x="4347" y="0"/>
                </a:lnTo>
                <a:lnTo>
                  <a:pt x="4331" y="0"/>
                </a:lnTo>
                <a:lnTo>
                  <a:pt x="4316" y="0"/>
                </a:lnTo>
                <a:lnTo>
                  <a:pt x="4299" y="0"/>
                </a:lnTo>
                <a:lnTo>
                  <a:pt x="4283" y="0"/>
                </a:lnTo>
                <a:lnTo>
                  <a:pt x="4266" y="0"/>
                </a:lnTo>
                <a:lnTo>
                  <a:pt x="4251" y="0"/>
                </a:lnTo>
                <a:lnTo>
                  <a:pt x="4234" y="0"/>
                </a:lnTo>
                <a:lnTo>
                  <a:pt x="4218" y="0"/>
                </a:lnTo>
                <a:lnTo>
                  <a:pt x="4203" y="0"/>
                </a:lnTo>
                <a:lnTo>
                  <a:pt x="4186" y="0"/>
                </a:lnTo>
                <a:lnTo>
                  <a:pt x="4170" y="0"/>
                </a:lnTo>
                <a:lnTo>
                  <a:pt x="4154" y="0"/>
                </a:lnTo>
                <a:lnTo>
                  <a:pt x="4138" y="0"/>
                </a:lnTo>
                <a:lnTo>
                  <a:pt x="4122" y="0"/>
                </a:lnTo>
                <a:lnTo>
                  <a:pt x="4106" y="0"/>
                </a:lnTo>
                <a:lnTo>
                  <a:pt x="4090" y="0"/>
                </a:lnTo>
                <a:lnTo>
                  <a:pt x="4074" y="0"/>
                </a:lnTo>
                <a:lnTo>
                  <a:pt x="4057" y="0"/>
                </a:lnTo>
                <a:lnTo>
                  <a:pt x="4053" y="0"/>
                </a:lnTo>
                <a:lnTo>
                  <a:pt x="4049" y="0"/>
                </a:lnTo>
                <a:lnTo>
                  <a:pt x="4045" y="0"/>
                </a:lnTo>
                <a:lnTo>
                  <a:pt x="4041" y="0"/>
                </a:lnTo>
                <a:lnTo>
                  <a:pt x="4027" y="0"/>
                </a:lnTo>
                <a:lnTo>
                  <a:pt x="4014" y="0"/>
                </a:lnTo>
                <a:lnTo>
                  <a:pt x="4000" y="1"/>
                </a:lnTo>
                <a:lnTo>
                  <a:pt x="3987" y="1"/>
                </a:lnTo>
                <a:lnTo>
                  <a:pt x="3977" y="1"/>
                </a:lnTo>
                <a:lnTo>
                  <a:pt x="3967" y="1"/>
                </a:lnTo>
                <a:lnTo>
                  <a:pt x="3958" y="1"/>
                </a:lnTo>
                <a:lnTo>
                  <a:pt x="3949" y="1"/>
                </a:lnTo>
                <a:lnTo>
                  <a:pt x="3940" y="1"/>
                </a:lnTo>
                <a:lnTo>
                  <a:pt x="3931" y="1"/>
                </a:lnTo>
                <a:lnTo>
                  <a:pt x="3920" y="1"/>
                </a:lnTo>
                <a:lnTo>
                  <a:pt x="3909" y="1"/>
                </a:lnTo>
                <a:lnTo>
                  <a:pt x="3890" y="1"/>
                </a:lnTo>
                <a:lnTo>
                  <a:pt x="3871" y="1"/>
                </a:lnTo>
                <a:lnTo>
                  <a:pt x="3851" y="1"/>
                </a:lnTo>
                <a:lnTo>
                  <a:pt x="3831" y="2"/>
                </a:lnTo>
                <a:lnTo>
                  <a:pt x="3831" y="2"/>
                </a:lnTo>
                <a:lnTo>
                  <a:pt x="3830" y="2"/>
                </a:lnTo>
                <a:lnTo>
                  <a:pt x="3828" y="2"/>
                </a:lnTo>
                <a:lnTo>
                  <a:pt x="3827" y="2"/>
                </a:lnTo>
                <a:lnTo>
                  <a:pt x="3809" y="2"/>
                </a:lnTo>
                <a:lnTo>
                  <a:pt x="3791" y="2"/>
                </a:lnTo>
                <a:lnTo>
                  <a:pt x="3773" y="2"/>
                </a:lnTo>
                <a:lnTo>
                  <a:pt x="3755" y="2"/>
                </a:lnTo>
                <a:lnTo>
                  <a:pt x="3742" y="2"/>
                </a:lnTo>
                <a:lnTo>
                  <a:pt x="3728" y="3"/>
                </a:lnTo>
                <a:lnTo>
                  <a:pt x="3720" y="3"/>
                </a:lnTo>
                <a:lnTo>
                  <a:pt x="3712" y="3"/>
                </a:lnTo>
                <a:lnTo>
                  <a:pt x="3704" y="3"/>
                </a:lnTo>
                <a:lnTo>
                  <a:pt x="3694" y="3"/>
                </a:lnTo>
                <a:lnTo>
                  <a:pt x="3686" y="3"/>
                </a:lnTo>
                <a:lnTo>
                  <a:pt x="3678" y="3"/>
                </a:lnTo>
                <a:lnTo>
                  <a:pt x="3668" y="3"/>
                </a:lnTo>
                <a:lnTo>
                  <a:pt x="3656" y="3"/>
                </a:lnTo>
                <a:lnTo>
                  <a:pt x="3627" y="4"/>
                </a:lnTo>
                <a:lnTo>
                  <a:pt x="3597" y="4"/>
                </a:lnTo>
                <a:lnTo>
                  <a:pt x="3568" y="4"/>
                </a:lnTo>
                <a:lnTo>
                  <a:pt x="3538" y="5"/>
                </a:lnTo>
                <a:lnTo>
                  <a:pt x="3527" y="5"/>
                </a:lnTo>
                <a:lnTo>
                  <a:pt x="3517" y="5"/>
                </a:lnTo>
                <a:lnTo>
                  <a:pt x="3514" y="5"/>
                </a:lnTo>
                <a:lnTo>
                  <a:pt x="3511" y="5"/>
                </a:lnTo>
                <a:lnTo>
                  <a:pt x="3477" y="5"/>
                </a:lnTo>
                <a:lnTo>
                  <a:pt x="3442" y="6"/>
                </a:lnTo>
                <a:lnTo>
                  <a:pt x="3408" y="6"/>
                </a:lnTo>
                <a:lnTo>
                  <a:pt x="3374" y="7"/>
                </a:lnTo>
                <a:lnTo>
                  <a:pt x="3367" y="7"/>
                </a:lnTo>
                <a:lnTo>
                  <a:pt x="3358" y="7"/>
                </a:lnTo>
                <a:lnTo>
                  <a:pt x="3344" y="7"/>
                </a:lnTo>
                <a:lnTo>
                  <a:pt x="3328" y="8"/>
                </a:lnTo>
                <a:lnTo>
                  <a:pt x="3314" y="8"/>
                </a:lnTo>
                <a:lnTo>
                  <a:pt x="3299" y="8"/>
                </a:lnTo>
                <a:lnTo>
                  <a:pt x="3292" y="8"/>
                </a:lnTo>
                <a:lnTo>
                  <a:pt x="3285" y="8"/>
                </a:lnTo>
                <a:lnTo>
                  <a:pt x="3253" y="9"/>
                </a:lnTo>
                <a:lnTo>
                  <a:pt x="3221" y="10"/>
                </a:lnTo>
                <a:lnTo>
                  <a:pt x="3189" y="10"/>
                </a:lnTo>
                <a:lnTo>
                  <a:pt x="3157" y="11"/>
                </a:lnTo>
                <a:lnTo>
                  <a:pt x="3149" y="11"/>
                </a:lnTo>
                <a:lnTo>
                  <a:pt x="3141" y="11"/>
                </a:lnTo>
                <a:lnTo>
                  <a:pt x="3133" y="11"/>
                </a:lnTo>
                <a:lnTo>
                  <a:pt x="3124" y="12"/>
                </a:lnTo>
                <a:lnTo>
                  <a:pt x="3090" y="12"/>
                </a:lnTo>
                <a:lnTo>
                  <a:pt x="3056" y="13"/>
                </a:lnTo>
                <a:lnTo>
                  <a:pt x="3022" y="14"/>
                </a:lnTo>
                <a:lnTo>
                  <a:pt x="2988" y="14"/>
                </a:lnTo>
                <a:lnTo>
                  <a:pt x="2985" y="15"/>
                </a:lnTo>
                <a:lnTo>
                  <a:pt x="2982" y="15"/>
                </a:lnTo>
                <a:lnTo>
                  <a:pt x="2971" y="15"/>
                </a:lnTo>
                <a:lnTo>
                  <a:pt x="2959" y="15"/>
                </a:lnTo>
                <a:lnTo>
                  <a:pt x="2947" y="15"/>
                </a:lnTo>
                <a:lnTo>
                  <a:pt x="2936" y="17"/>
                </a:lnTo>
                <a:lnTo>
                  <a:pt x="2923" y="17"/>
                </a:lnTo>
                <a:lnTo>
                  <a:pt x="2911" y="17"/>
                </a:lnTo>
                <a:lnTo>
                  <a:pt x="2900" y="18"/>
                </a:lnTo>
                <a:lnTo>
                  <a:pt x="2887" y="18"/>
                </a:lnTo>
                <a:lnTo>
                  <a:pt x="2882" y="18"/>
                </a:lnTo>
                <a:lnTo>
                  <a:pt x="2877" y="18"/>
                </a:lnTo>
                <a:lnTo>
                  <a:pt x="2866" y="18"/>
                </a:lnTo>
                <a:lnTo>
                  <a:pt x="2853" y="19"/>
                </a:lnTo>
                <a:lnTo>
                  <a:pt x="2842" y="19"/>
                </a:lnTo>
                <a:lnTo>
                  <a:pt x="2830" y="19"/>
                </a:lnTo>
                <a:lnTo>
                  <a:pt x="2819" y="20"/>
                </a:lnTo>
                <a:lnTo>
                  <a:pt x="2809" y="20"/>
                </a:lnTo>
                <a:lnTo>
                  <a:pt x="2799" y="20"/>
                </a:lnTo>
                <a:lnTo>
                  <a:pt x="2788" y="20"/>
                </a:lnTo>
                <a:lnTo>
                  <a:pt x="2781" y="21"/>
                </a:lnTo>
                <a:lnTo>
                  <a:pt x="2774" y="21"/>
                </a:lnTo>
                <a:lnTo>
                  <a:pt x="2763" y="21"/>
                </a:lnTo>
                <a:lnTo>
                  <a:pt x="2751" y="22"/>
                </a:lnTo>
                <a:lnTo>
                  <a:pt x="2740" y="22"/>
                </a:lnTo>
                <a:lnTo>
                  <a:pt x="2729" y="22"/>
                </a:lnTo>
                <a:lnTo>
                  <a:pt x="2717" y="22"/>
                </a:lnTo>
                <a:lnTo>
                  <a:pt x="2707" y="23"/>
                </a:lnTo>
                <a:lnTo>
                  <a:pt x="2697" y="23"/>
                </a:lnTo>
                <a:lnTo>
                  <a:pt x="2686" y="23"/>
                </a:lnTo>
                <a:lnTo>
                  <a:pt x="2682" y="23"/>
                </a:lnTo>
                <a:lnTo>
                  <a:pt x="2677" y="24"/>
                </a:lnTo>
                <a:lnTo>
                  <a:pt x="2658" y="24"/>
                </a:lnTo>
                <a:lnTo>
                  <a:pt x="2639" y="25"/>
                </a:lnTo>
                <a:lnTo>
                  <a:pt x="2619" y="25"/>
                </a:lnTo>
                <a:lnTo>
                  <a:pt x="2600" y="26"/>
                </a:lnTo>
                <a:lnTo>
                  <a:pt x="2581" y="27"/>
                </a:lnTo>
                <a:lnTo>
                  <a:pt x="2562" y="27"/>
                </a:lnTo>
                <a:lnTo>
                  <a:pt x="2543" y="28"/>
                </a:lnTo>
                <a:lnTo>
                  <a:pt x="2523" y="28"/>
                </a:lnTo>
                <a:lnTo>
                  <a:pt x="2517" y="29"/>
                </a:lnTo>
                <a:lnTo>
                  <a:pt x="2511" y="29"/>
                </a:lnTo>
                <a:lnTo>
                  <a:pt x="2502" y="29"/>
                </a:lnTo>
                <a:lnTo>
                  <a:pt x="2494" y="29"/>
                </a:lnTo>
                <a:lnTo>
                  <a:pt x="2482" y="30"/>
                </a:lnTo>
                <a:lnTo>
                  <a:pt x="2471" y="30"/>
                </a:lnTo>
                <a:lnTo>
                  <a:pt x="2460" y="31"/>
                </a:lnTo>
                <a:lnTo>
                  <a:pt x="2448" y="31"/>
                </a:lnTo>
                <a:lnTo>
                  <a:pt x="2448" y="31"/>
                </a:lnTo>
                <a:lnTo>
                  <a:pt x="2448" y="31"/>
                </a:lnTo>
                <a:lnTo>
                  <a:pt x="2448" y="31"/>
                </a:lnTo>
                <a:lnTo>
                  <a:pt x="2440" y="31"/>
                </a:lnTo>
                <a:lnTo>
                  <a:pt x="2431" y="32"/>
                </a:lnTo>
                <a:lnTo>
                  <a:pt x="2421" y="32"/>
                </a:lnTo>
                <a:lnTo>
                  <a:pt x="2411" y="32"/>
                </a:lnTo>
                <a:lnTo>
                  <a:pt x="2402" y="33"/>
                </a:lnTo>
                <a:lnTo>
                  <a:pt x="2391" y="33"/>
                </a:lnTo>
                <a:lnTo>
                  <a:pt x="2382" y="33"/>
                </a:lnTo>
                <a:lnTo>
                  <a:pt x="2372" y="34"/>
                </a:lnTo>
                <a:lnTo>
                  <a:pt x="2357" y="34"/>
                </a:lnTo>
                <a:lnTo>
                  <a:pt x="2344" y="35"/>
                </a:lnTo>
                <a:lnTo>
                  <a:pt x="2334" y="35"/>
                </a:lnTo>
                <a:lnTo>
                  <a:pt x="2324" y="35"/>
                </a:lnTo>
                <a:lnTo>
                  <a:pt x="2314" y="36"/>
                </a:lnTo>
                <a:lnTo>
                  <a:pt x="2305" y="36"/>
                </a:lnTo>
                <a:lnTo>
                  <a:pt x="2299" y="36"/>
                </a:lnTo>
                <a:lnTo>
                  <a:pt x="2293" y="37"/>
                </a:lnTo>
                <a:lnTo>
                  <a:pt x="2280" y="37"/>
                </a:lnTo>
                <a:lnTo>
                  <a:pt x="2269" y="37"/>
                </a:lnTo>
                <a:lnTo>
                  <a:pt x="2256" y="38"/>
                </a:lnTo>
                <a:lnTo>
                  <a:pt x="2245" y="38"/>
                </a:lnTo>
                <a:lnTo>
                  <a:pt x="2234" y="39"/>
                </a:lnTo>
                <a:lnTo>
                  <a:pt x="2222" y="39"/>
                </a:lnTo>
                <a:lnTo>
                  <a:pt x="2218" y="39"/>
                </a:lnTo>
                <a:lnTo>
                  <a:pt x="2213" y="40"/>
                </a:lnTo>
                <a:lnTo>
                  <a:pt x="2194" y="40"/>
                </a:lnTo>
                <a:lnTo>
                  <a:pt x="2175" y="41"/>
                </a:lnTo>
                <a:lnTo>
                  <a:pt x="2155" y="42"/>
                </a:lnTo>
                <a:lnTo>
                  <a:pt x="2136" y="43"/>
                </a:lnTo>
                <a:lnTo>
                  <a:pt x="2113" y="44"/>
                </a:lnTo>
                <a:lnTo>
                  <a:pt x="2092" y="45"/>
                </a:lnTo>
                <a:lnTo>
                  <a:pt x="2069" y="46"/>
                </a:lnTo>
                <a:lnTo>
                  <a:pt x="2047" y="47"/>
                </a:lnTo>
                <a:lnTo>
                  <a:pt x="2040" y="47"/>
                </a:lnTo>
                <a:lnTo>
                  <a:pt x="2034" y="47"/>
                </a:lnTo>
                <a:lnTo>
                  <a:pt x="2013" y="48"/>
                </a:lnTo>
                <a:lnTo>
                  <a:pt x="1994" y="49"/>
                </a:lnTo>
                <a:lnTo>
                  <a:pt x="1974" y="51"/>
                </a:lnTo>
                <a:lnTo>
                  <a:pt x="1954" y="52"/>
                </a:lnTo>
                <a:lnTo>
                  <a:pt x="1951" y="52"/>
                </a:lnTo>
                <a:lnTo>
                  <a:pt x="1949" y="52"/>
                </a:lnTo>
                <a:lnTo>
                  <a:pt x="1937" y="53"/>
                </a:lnTo>
                <a:lnTo>
                  <a:pt x="1925" y="53"/>
                </a:lnTo>
                <a:lnTo>
                  <a:pt x="1908" y="54"/>
                </a:lnTo>
                <a:lnTo>
                  <a:pt x="1893" y="55"/>
                </a:lnTo>
                <a:lnTo>
                  <a:pt x="1877" y="56"/>
                </a:lnTo>
                <a:lnTo>
                  <a:pt x="1862" y="56"/>
                </a:lnTo>
                <a:lnTo>
                  <a:pt x="1858" y="57"/>
                </a:lnTo>
                <a:lnTo>
                  <a:pt x="1852" y="57"/>
                </a:lnTo>
                <a:lnTo>
                  <a:pt x="1845" y="57"/>
                </a:lnTo>
                <a:lnTo>
                  <a:pt x="1837" y="58"/>
                </a:lnTo>
                <a:lnTo>
                  <a:pt x="1814" y="59"/>
                </a:lnTo>
                <a:lnTo>
                  <a:pt x="1792" y="60"/>
                </a:lnTo>
                <a:lnTo>
                  <a:pt x="1769" y="61"/>
                </a:lnTo>
                <a:lnTo>
                  <a:pt x="1747" y="62"/>
                </a:lnTo>
                <a:lnTo>
                  <a:pt x="1739" y="63"/>
                </a:lnTo>
                <a:lnTo>
                  <a:pt x="1732" y="63"/>
                </a:lnTo>
                <a:lnTo>
                  <a:pt x="1728" y="63"/>
                </a:lnTo>
                <a:lnTo>
                  <a:pt x="1724" y="64"/>
                </a:lnTo>
                <a:lnTo>
                  <a:pt x="1695" y="65"/>
                </a:lnTo>
                <a:lnTo>
                  <a:pt x="1667" y="67"/>
                </a:lnTo>
                <a:lnTo>
                  <a:pt x="1638" y="68"/>
                </a:lnTo>
                <a:lnTo>
                  <a:pt x="1610" y="70"/>
                </a:lnTo>
                <a:lnTo>
                  <a:pt x="1606" y="70"/>
                </a:lnTo>
                <a:lnTo>
                  <a:pt x="1602" y="70"/>
                </a:lnTo>
                <a:lnTo>
                  <a:pt x="1596" y="71"/>
                </a:lnTo>
                <a:lnTo>
                  <a:pt x="1591" y="71"/>
                </a:lnTo>
                <a:lnTo>
                  <a:pt x="1556" y="73"/>
                </a:lnTo>
                <a:lnTo>
                  <a:pt x="1521" y="75"/>
                </a:lnTo>
                <a:lnTo>
                  <a:pt x="1485" y="77"/>
                </a:lnTo>
                <a:lnTo>
                  <a:pt x="1450" y="80"/>
                </a:lnTo>
                <a:lnTo>
                  <a:pt x="1448" y="80"/>
                </a:lnTo>
                <a:lnTo>
                  <a:pt x="1445" y="80"/>
                </a:lnTo>
                <a:lnTo>
                  <a:pt x="1436" y="81"/>
                </a:lnTo>
                <a:lnTo>
                  <a:pt x="1427" y="81"/>
                </a:lnTo>
                <a:lnTo>
                  <a:pt x="1412" y="82"/>
                </a:lnTo>
                <a:lnTo>
                  <a:pt x="1399" y="83"/>
                </a:lnTo>
                <a:lnTo>
                  <a:pt x="1385" y="84"/>
                </a:lnTo>
                <a:lnTo>
                  <a:pt x="1372" y="86"/>
                </a:lnTo>
                <a:lnTo>
                  <a:pt x="1357" y="87"/>
                </a:lnTo>
                <a:lnTo>
                  <a:pt x="1341" y="88"/>
                </a:lnTo>
                <a:lnTo>
                  <a:pt x="1330" y="89"/>
                </a:lnTo>
                <a:lnTo>
                  <a:pt x="1318" y="89"/>
                </a:lnTo>
                <a:lnTo>
                  <a:pt x="1306" y="90"/>
                </a:lnTo>
                <a:lnTo>
                  <a:pt x="1295" y="91"/>
                </a:lnTo>
                <a:lnTo>
                  <a:pt x="1287" y="92"/>
                </a:lnTo>
                <a:lnTo>
                  <a:pt x="1278" y="92"/>
                </a:lnTo>
                <a:lnTo>
                  <a:pt x="1270" y="93"/>
                </a:lnTo>
                <a:lnTo>
                  <a:pt x="1262" y="93"/>
                </a:lnTo>
                <a:lnTo>
                  <a:pt x="1247" y="94"/>
                </a:lnTo>
                <a:lnTo>
                  <a:pt x="1234" y="95"/>
                </a:lnTo>
                <a:lnTo>
                  <a:pt x="1220" y="96"/>
                </a:lnTo>
                <a:lnTo>
                  <a:pt x="1206" y="97"/>
                </a:lnTo>
                <a:lnTo>
                  <a:pt x="1193" y="98"/>
                </a:lnTo>
                <a:lnTo>
                  <a:pt x="1180" y="99"/>
                </a:lnTo>
                <a:lnTo>
                  <a:pt x="1160" y="101"/>
                </a:lnTo>
                <a:lnTo>
                  <a:pt x="1140" y="102"/>
                </a:lnTo>
                <a:lnTo>
                  <a:pt x="1121" y="104"/>
                </a:lnTo>
                <a:lnTo>
                  <a:pt x="1100" y="106"/>
                </a:lnTo>
                <a:lnTo>
                  <a:pt x="1080" y="107"/>
                </a:lnTo>
                <a:lnTo>
                  <a:pt x="1061" y="109"/>
                </a:lnTo>
                <a:lnTo>
                  <a:pt x="1042" y="110"/>
                </a:lnTo>
                <a:lnTo>
                  <a:pt x="1023" y="112"/>
                </a:lnTo>
                <a:lnTo>
                  <a:pt x="1013" y="113"/>
                </a:lnTo>
                <a:lnTo>
                  <a:pt x="1004" y="114"/>
                </a:lnTo>
                <a:lnTo>
                  <a:pt x="990" y="115"/>
                </a:lnTo>
                <a:lnTo>
                  <a:pt x="975" y="116"/>
                </a:lnTo>
                <a:lnTo>
                  <a:pt x="962" y="117"/>
                </a:lnTo>
                <a:lnTo>
                  <a:pt x="947" y="120"/>
                </a:lnTo>
                <a:lnTo>
                  <a:pt x="942" y="120"/>
                </a:lnTo>
                <a:lnTo>
                  <a:pt x="937" y="120"/>
                </a:lnTo>
                <a:lnTo>
                  <a:pt x="931" y="121"/>
                </a:lnTo>
                <a:lnTo>
                  <a:pt x="924" y="122"/>
                </a:lnTo>
                <a:lnTo>
                  <a:pt x="912" y="123"/>
                </a:lnTo>
                <a:lnTo>
                  <a:pt x="901" y="124"/>
                </a:lnTo>
                <a:lnTo>
                  <a:pt x="890" y="125"/>
                </a:lnTo>
                <a:lnTo>
                  <a:pt x="878" y="126"/>
                </a:lnTo>
                <a:lnTo>
                  <a:pt x="865" y="127"/>
                </a:lnTo>
                <a:lnTo>
                  <a:pt x="853" y="128"/>
                </a:lnTo>
                <a:lnTo>
                  <a:pt x="842" y="129"/>
                </a:lnTo>
                <a:lnTo>
                  <a:pt x="832" y="130"/>
                </a:lnTo>
                <a:lnTo>
                  <a:pt x="823" y="131"/>
                </a:lnTo>
                <a:lnTo>
                  <a:pt x="812" y="132"/>
                </a:lnTo>
                <a:lnTo>
                  <a:pt x="802" y="133"/>
                </a:lnTo>
                <a:lnTo>
                  <a:pt x="793" y="134"/>
                </a:lnTo>
                <a:lnTo>
                  <a:pt x="789" y="135"/>
                </a:lnTo>
                <a:lnTo>
                  <a:pt x="785" y="135"/>
                </a:lnTo>
                <a:lnTo>
                  <a:pt x="775" y="136"/>
                </a:lnTo>
                <a:lnTo>
                  <a:pt x="767" y="137"/>
                </a:lnTo>
                <a:lnTo>
                  <a:pt x="759" y="138"/>
                </a:lnTo>
                <a:lnTo>
                  <a:pt x="750" y="139"/>
                </a:lnTo>
                <a:lnTo>
                  <a:pt x="736" y="140"/>
                </a:lnTo>
                <a:lnTo>
                  <a:pt x="723" y="142"/>
                </a:lnTo>
                <a:lnTo>
                  <a:pt x="713" y="143"/>
                </a:lnTo>
                <a:lnTo>
                  <a:pt x="704" y="144"/>
                </a:lnTo>
                <a:lnTo>
                  <a:pt x="695" y="145"/>
                </a:lnTo>
                <a:lnTo>
                  <a:pt x="686" y="146"/>
                </a:lnTo>
                <a:lnTo>
                  <a:pt x="675" y="147"/>
                </a:lnTo>
                <a:lnTo>
                  <a:pt x="665" y="148"/>
                </a:lnTo>
                <a:lnTo>
                  <a:pt x="664" y="148"/>
                </a:lnTo>
                <a:lnTo>
                  <a:pt x="663" y="148"/>
                </a:lnTo>
                <a:lnTo>
                  <a:pt x="658" y="149"/>
                </a:lnTo>
                <a:lnTo>
                  <a:pt x="653" y="149"/>
                </a:lnTo>
                <a:lnTo>
                  <a:pt x="632" y="152"/>
                </a:lnTo>
                <a:lnTo>
                  <a:pt x="611" y="155"/>
                </a:lnTo>
                <a:lnTo>
                  <a:pt x="592" y="158"/>
                </a:lnTo>
                <a:lnTo>
                  <a:pt x="572" y="160"/>
                </a:lnTo>
                <a:lnTo>
                  <a:pt x="564" y="161"/>
                </a:lnTo>
                <a:lnTo>
                  <a:pt x="556" y="162"/>
                </a:lnTo>
                <a:lnTo>
                  <a:pt x="555" y="162"/>
                </a:lnTo>
                <a:lnTo>
                  <a:pt x="554" y="162"/>
                </a:lnTo>
                <a:lnTo>
                  <a:pt x="546" y="163"/>
                </a:lnTo>
                <a:lnTo>
                  <a:pt x="538" y="164"/>
                </a:lnTo>
                <a:lnTo>
                  <a:pt x="530" y="165"/>
                </a:lnTo>
                <a:lnTo>
                  <a:pt x="523" y="166"/>
                </a:lnTo>
                <a:lnTo>
                  <a:pt x="513" y="168"/>
                </a:lnTo>
                <a:lnTo>
                  <a:pt x="504" y="169"/>
                </a:lnTo>
                <a:lnTo>
                  <a:pt x="496" y="170"/>
                </a:lnTo>
                <a:lnTo>
                  <a:pt x="488" y="171"/>
                </a:lnTo>
                <a:lnTo>
                  <a:pt x="479" y="172"/>
                </a:lnTo>
                <a:lnTo>
                  <a:pt x="471" y="173"/>
                </a:lnTo>
                <a:lnTo>
                  <a:pt x="463" y="175"/>
                </a:lnTo>
                <a:lnTo>
                  <a:pt x="456" y="176"/>
                </a:lnTo>
                <a:lnTo>
                  <a:pt x="444" y="177"/>
                </a:lnTo>
                <a:lnTo>
                  <a:pt x="433" y="179"/>
                </a:lnTo>
                <a:lnTo>
                  <a:pt x="423" y="180"/>
                </a:lnTo>
                <a:lnTo>
                  <a:pt x="411" y="182"/>
                </a:lnTo>
                <a:lnTo>
                  <a:pt x="407" y="183"/>
                </a:lnTo>
                <a:lnTo>
                  <a:pt x="403" y="183"/>
                </a:lnTo>
                <a:lnTo>
                  <a:pt x="395" y="185"/>
                </a:lnTo>
                <a:lnTo>
                  <a:pt x="387" y="186"/>
                </a:lnTo>
                <a:lnTo>
                  <a:pt x="378" y="188"/>
                </a:lnTo>
                <a:lnTo>
                  <a:pt x="370" y="190"/>
                </a:lnTo>
                <a:lnTo>
                  <a:pt x="369" y="190"/>
                </a:lnTo>
                <a:lnTo>
                  <a:pt x="368" y="190"/>
                </a:lnTo>
                <a:lnTo>
                  <a:pt x="365" y="190"/>
                </a:lnTo>
                <a:lnTo>
                  <a:pt x="362" y="191"/>
                </a:lnTo>
                <a:lnTo>
                  <a:pt x="354" y="192"/>
                </a:lnTo>
                <a:lnTo>
                  <a:pt x="345" y="194"/>
                </a:lnTo>
                <a:lnTo>
                  <a:pt x="337" y="195"/>
                </a:lnTo>
                <a:lnTo>
                  <a:pt x="329" y="197"/>
                </a:lnTo>
                <a:lnTo>
                  <a:pt x="322" y="198"/>
                </a:lnTo>
                <a:lnTo>
                  <a:pt x="315" y="199"/>
                </a:lnTo>
                <a:lnTo>
                  <a:pt x="305" y="201"/>
                </a:lnTo>
                <a:lnTo>
                  <a:pt x="295" y="202"/>
                </a:lnTo>
                <a:lnTo>
                  <a:pt x="293" y="203"/>
                </a:lnTo>
                <a:lnTo>
                  <a:pt x="291" y="203"/>
                </a:lnTo>
                <a:lnTo>
                  <a:pt x="284" y="205"/>
                </a:lnTo>
                <a:lnTo>
                  <a:pt x="277" y="206"/>
                </a:lnTo>
                <a:lnTo>
                  <a:pt x="266" y="208"/>
                </a:lnTo>
                <a:lnTo>
                  <a:pt x="255" y="210"/>
                </a:lnTo>
                <a:lnTo>
                  <a:pt x="249" y="212"/>
                </a:lnTo>
                <a:lnTo>
                  <a:pt x="241" y="213"/>
                </a:lnTo>
                <a:lnTo>
                  <a:pt x="235" y="214"/>
                </a:lnTo>
                <a:lnTo>
                  <a:pt x="229" y="216"/>
                </a:lnTo>
                <a:lnTo>
                  <a:pt x="225" y="216"/>
                </a:lnTo>
                <a:lnTo>
                  <a:pt x="222" y="217"/>
                </a:lnTo>
                <a:lnTo>
                  <a:pt x="216" y="218"/>
                </a:lnTo>
                <a:lnTo>
                  <a:pt x="208" y="220"/>
                </a:lnTo>
                <a:lnTo>
                  <a:pt x="200" y="223"/>
                </a:lnTo>
                <a:lnTo>
                  <a:pt x="191" y="225"/>
                </a:lnTo>
                <a:lnTo>
                  <a:pt x="185" y="226"/>
                </a:lnTo>
                <a:lnTo>
                  <a:pt x="179" y="228"/>
                </a:lnTo>
                <a:lnTo>
                  <a:pt x="175" y="229"/>
                </a:lnTo>
                <a:lnTo>
                  <a:pt x="171" y="230"/>
                </a:lnTo>
                <a:lnTo>
                  <a:pt x="167" y="231"/>
                </a:lnTo>
                <a:lnTo>
                  <a:pt x="162" y="232"/>
                </a:lnTo>
                <a:lnTo>
                  <a:pt x="156" y="233"/>
                </a:lnTo>
                <a:lnTo>
                  <a:pt x="151" y="235"/>
                </a:lnTo>
                <a:lnTo>
                  <a:pt x="142" y="237"/>
                </a:lnTo>
                <a:lnTo>
                  <a:pt x="134" y="239"/>
                </a:lnTo>
                <a:lnTo>
                  <a:pt x="130" y="241"/>
                </a:lnTo>
                <a:lnTo>
                  <a:pt x="125" y="242"/>
                </a:lnTo>
                <a:lnTo>
                  <a:pt x="124" y="242"/>
                </a:lnTo>
                <a:lnTo>
                  <a:pt x="122" y="243"/>
                </a:lnTo>
                <a:lnTo>
                  <a:pt x="122" y="243"/>
                </a:lnTo>
                <a:lnTo>
                  <a:pt x="122" y="243"/>
                </a:lnTo>
                <a:lnTo>
                  <a:pt x="116" y="245"/>
                </a:lnTo>
                <a:lnTo>
                  <a:pt x="109" y="247"/>
                </a:lnTo>
                <a:lnTo>
                  <a:pt x="105" y="248"/>
                </a:lnTo>
                <a:lnTo>
                  <a:pt x="102" y="249"/>
                </a:lnTo>
                <a:lnTo>
                  <a:pt x="92" y="252"/>
                </a:lnTo>
                <a:lnTo>
                  <a:pt x="83" y="257"/>
                </a:lnTo>
                <a:lnTo>
                  <a:pt x="82" y="257"/>
                </a:lnTo>
                <a:lnTo>
                  <a:pt x="81" y="257"/>
                </a:lnTo>
                <a:lnTo>
                  <a:pt x="71" y="261"/>
                </a:lnTo>
                <a:lnTo>
                  <a:pt x="62" y="265"/>
                </a:lnTo>
                <a:lnTo>
                  <a:pt x="60" y="266"/>
                </a:lnTo>
                <a:lnTo>
                  <a:pt x="58" y="267"/>
                </a:lnTo>
                <a:lnTo>
                  <a:pt x="53" y="269"/>
                </a:lnTo>
                <a:lnTo>
                  <a:pt x="48" y="271"/>
                </a:lnTo>
                <a:lnTo>
                  <a:pt x="47" y="272"/>
                </a:lnTo>
                <a:lnTo>
                  <a:pt x="46" y="272"/>
                </a:lnTo>
                <a:lnTo>
                  <a:pt x="43" y="273"/>
                </a:lnTo>
                <a:lnTo>
                  <a:pt x="40" y="275"/>
                </a:lnTo>
                <a:lnTo>
                  <a:pt x="36" y="277"/>
                </a:lnTo>
                <a:lnTo>
                  <a:pt x="32" y="279"/>
                </a:lnTo>
                <a:lnTo>
                  <a:pt x="30" y="281"/>
                </a:lnTo>
                <a:lnTo>
                  <a:pt x="27" y="283"/>
                </a:lnTo>
                <a:lnTo>
                  <a:pt x="25" y="284"/>
                </a:lnTo>
                <a:lnTo>
                  <a:pt x="23" y="285"/>
                </a:lnTo>
                <a:lnTo>
                  <a:pt x="22" y="286"/>
                </a:lnTo>
                <a:lnTo>
                  <a:pt x="21" y="287"/>
                </a:lnTo>
                <a:lnTo>
                  <a:pt x="19" y="289"/>
                </a:lnTo>
                <a:lnTo>
                  <a:pt x="17" y="291"/>
                </a:lnTo>
                <a:lnTo>
                  <a:pt x="14" y="293"/>
                </a:lnTo>
                <a:lnTo>
                  <a:pt x="12" y="296"/>
                </a:lnTo>
                <a:lnTo>
                  <a:pt x="9" y="297"/>
                </a:lnTo>
                <a:lnTo>
                  <a:pt x="8" y="299"/>
                </a:lnTo>
                <a:lnTo>
                  <a:pt x="7" y="300"/>
                </a:lnTo>
                <a:lnTo>
                  <a:pt x="6" y="301"/>
                </a:lnTo>
                <a:lnTo>
                  <a:pt x="6" y="302"/>
                </a:lnTo>
                <a:lnTo>
                  <a:pt x="5" y="303"/>
                </a:lnTo>
                <a:lnTo>
                  <a:pt x="2" y="308"/>
                </a:lnTo>
                <a:lnTo>
                  <a:pt x="0" y="313"/>
                </a:lnTo>
                <a:lnTo>
                  <a:pt x="0" y="315"/>
                </a:lnTo>
                <a:lnTo>
                  <a:pt x="0" y="317"/>
                </a:lnTo>
                <a:lnTo>
                  <a:pt x="0" y="319"/>
                </a:lnTo>
                <a:lnTo>
                  <a:pt x="0" y="320"/>
                </a:lnTo>
                <a:lnTo>
                  <a:pt x="0" y="322"/>
                </a:lnTo>
                <a:lnTo>
                  <a:pt x="0" y="323"/>
                </a:lnTo>
                <a:lnTo>
                  <a:pt x="1" y="328"/>
                </a:lnTo>
                <a:lnTo>
                  <a:pt x="3" y="332"/>
                </a:lnTo>
                <a:lnTo>
                  <a:pt x="88" y="491"/>
                </a:lnTo>
                <a:lnTo>
                  <a:pt x="171" y="651"/>
                </a:lnTo>
                <a:lnTo>
                  <a:pt x="256" y="811"/>
                </a:lnTo>
                <a:lnTo>
                  <a:pt x="340" y="970"/>
                </a:lnTo>
                <a:lnTo>
                  <a:pt x="424" y="1130"/>
                </a:lnTo>
                <a:lnTo>
                  <a:pt x="508" y="1290"/>
                </a:lnTo>
                <a:lnTo>
                  <a:pt x="593" y="1449"/>
                </a:lnTo>
                <a:lnTo>
                  <a:pt x="677" y="1609"/>
                </a:lnTo>
                <a:lnTo>
                  <a:pt x="761" y="1769"/>
                </a:lnTo>
                <a:lnTo>
                  <a:pt x="845" y="1928"/>
                </a:lnTo>
                <a:lnTo>
                  <a:pt x="930" y="2088"/>
                </a:lnTo>
                <a:lnTo>
                  <a:pt x="1014" y="2248"/>
                </a:lnTo>
                <a:lnTo>
                  <a:pt x="1098" y="2407"/>
                </a:lnTo>
                <a:lnTo>
                  <a:pt x="1182" y="2567"/>
                </a:lnTo>
                <a:lnTo>
                  <a:pt x="1267" y="2727"/>
                </a:lnTo>
                <a:lnTo>
                  <a:pt x="1351" y="2886"/>
                </a:lnTo>
                <a:lnTo>
                  <a:pt x="1351" y="2887"/>
                </a:lnTo>
                <a:lnTo>
                  <a:pt x="1353" y="2888"/>
                </a:lnTo>
                <a:lnTo>
                  <a:pt x="1354" y="2891"/>
                </a:lnTo>
                <a:lnTo>
                  <a:pt x="1355" y="2892"/>
                </a:lnTo>
                <a:lnTo>
                  <a:pt x="1355" y="2892"/>
                </a:lnTo>
                <a:lnTo>
                  <a:pt x="1356" y="2893"/>
                </a:lnTo>
                <a:lnTo>
                  <a:pt x="1357" y="2894"/>
                </a:lnTo>
                <a:lnTo>
                  <a:pt x="1358" y="2895"/>
                </a:lnTo>
                <a:lnTo>
                  <a:pt x="1358" y="2895"/>
                </a:lnTo>
                <a:lnTo>
                  <a:pt x="1358" y="2895"/>
                </a:lnTo>
                <a:lnTo>
                  <a:pt x="1359" y="2896"/>
                </a:lnTo>
                <a:lnTo>
                  <a:pt x="1360" y="2897"/>
                </a:lnTo>
                <a:lnTo>
                  <a:pt x="1361" y="2898"/>
                </a:lnTo>
                <a:lnTo>
                  <a:pt x="1362" y="2898"/>
                </a:lnTo>
                <a:lnTo>
                  <a:pt x="1363" y="2899"/>
                </a:lnTo>
                <a:lnTo>
                  <a:pt x="1364" y="2900"/>
                </a:lnTo>
                <a:lnTo>
                  <a:pt x="1366" y="2901"/>
                </a:lnTo>
                <a:lnTo>
                  <a:pt x="1367" y="2902"/>
                </a:lnTo>
                <a:lnTo>
                  <a:pt x="1368" y="2903"/>
                </a:lnTo>
                <a:lnTo>
                  <a:pt x="1369" y="2904"/>
                </a:lnTo>
                <a:lnTo>
                  <a:pt x="1371" y="2905"/>
                </a:lnTo>
                <a:lnTo>
                  <a:pt x="1373" y="2906"/>
                </a:lnTo>
                <a:lnTo>
                  <a:pt x="1374" y="2907"/>
                </a:lnTo>
                <a:lnTo>
                  <a:pt x="1376" y="2908"/>
                </a:lnTo>
                <a:lnTo>
                  <a:pt x="1378" y="2909"/>
                </a:lnTo>
                <a:lnTo>
                  <a:pt x="1379" y="2909"/>
                </a:lnTo>
                <a:lnTo>
                  <a:pt x="1381" y="2911"/>
                </a:lnTo>
                <a:lnTo>
                  <a:pt x="1384" y="2912"/>
                </a:lnTo>
                <a:lnTo>
                  <a:pt x="1385" y="2912"/>
                </a:lnTo>
                <a:lnTo>
                  <a:pt x="1387" y="2913"/>
                </a:lnTo>
                <a:lnTo>
                  <a:pt x="1390" y="2914"/>
                </a:lnTo>
                <a:lnTo>
                  <a:pt x="1392" y="2915"/>
                </a:lnTo>
                <a:lnTo>
                  <a:pt x="1395" y="2916"/>
                </a:lnTo>
                <a:lnTo>
                  <a:pt x="1397" y="2917"/>
                </a:lnTo>
                <a:lnTo>
                  <a:pt x="1398" y="2918"/>
                </a:lnTo>
                <a:lnTo>
                  <a:pt x="1399" y="2918"/>
                </a:lnTo>
                <a:lnTo>
                  <a:pt x="1403" y="2919"/>
                </a:lnTo>
                <a:lnTo>
                  <a:pt x="1406" y="2921"/>
                </a:lnTo>
                <a:lnTo>
                  <a:pt x="1409" y="2922"/>
                </a:lnTo>
                <a:lnTo>
                  <a:pt x="1412" y="2924"/>
                </a:lnTo>
                <a:lnTo>
                  <a:pt x="1412" y="2924"/>
                </a:lnTo>
                <a:lnTo>
                  <a:pt x="1413" y="2924"/>
                </a:lnTo>
                <a:lnTo>
                  <a:pt x="1416" y="2925"/>
                </a:lnTo>
                <a:lnTo>
                  <a:pt x="1418" y="2926"/>
                </a:lnTo>
                <a:lnTo>
                  <a:pt x="1422" y="2927"/>
                </a:lnTo>
                <a:lnTo>
                  <a:pt x="1425" y="2928"/>
                </a:lnTo>
                <a:lnTo>
                  <a:pt x="1427" y="2928"/>
                </a:lnTo>
                <a:lnTo>
                  <a:pt x="1429" y="2929"/>
                </a:lnTo>
                <a:lnTo>
                  <a:pt x="1429" y="2929"/>
                </a:lnTo>
                <a:lnTo>
                  <a:pt x="1429" y="2929"/>
                </a:lnTo>
                <a:lnTo>
                  <a:pt x="1433" y="2930"/>
                </a:lnTo>
                <a:lnTo>
                  <a:pt x="1437" y="2931"/>
                </a:lnTo>
                <a:lnTo>
                  <a:pt x="1441" y="2933"/>
                </a:lnTo>
                <a:lnTo>
                  <a:pt x="1446" y="2934"/>
                </a:lnTo>
                <a:lnTo>
                  <a:pt x="1447" y="2934"/>
                </a:lnTo>
                <a:lnTo>
                  <a:pt x="1447" y="2934"/>
                </a:lnTo>
                <a:lnTo>
                  <a:pt x="1449" y="2935"/>
                </a:lnTo>
                <a:lnTo>
                  <a:pt x="1452" y="2936"/>
                </a:lnTo>
                <a:lnTo>
                  <a:pt x="1454" y="2936"/>
                </a:lnTo>
                <a:lnTo>
                  <a:pt x="1456" y="2936"/>
                </a:lnTo>
                <a:lnTo>
                  <a:pt x="1461" y="2938"/>
                </a:lnTo>
                <a:lnTo>
                  <a:pt x="1466" y="2939"/>
                </a:lnTo>
                <a:lnTo>
                  <a:pt x="1467" y="2939"/>
                </a:lnTo>
                <a:lnTo>
                  <a:pt x="1468" y="2940"/>
                </a:lnTo>
                <a:lnTo>
                  <a:pt x="1472" y="2941"/>
                </a:lnTo>
                <a:lnTo>
                  <a:pt x="1476" y="2942"/>
                </a:lnTo>
                <a:lnTo>
                  <a:pt x="1481" y="2943"/>
                </a:lnTo>
                <a:lnTo>
                  <a:pt x="1487" y="2944"/>
                </a:lnTo>
                <a:lnTo>
                  <a:pt x="1489" y="2944"/>
                </a:lnTo>
                <a:lnTo>
                  <a:pt x="1491" y="2945"/>
                </a:lnTo>
                <a:lnTo>
                  <a:pt x="1495" y="2946"/>
                </a:lnTo>
                <a:lnTo>
                  <a:pt x="1499" y="2947"/>
                </a:lnTo>
                <a:lnTo>
                  <a:pt x="1504" y="2948"/>
                </a:lnTo>
                <a:lnTo>
                  <a:pt x="1508" y="2949"/>
                </a:lnTo>
                <a:lnTo>
                  <a:pt x="1511" y="2949"/>
                </a:lnTo>
                <a:lnTo>
                  <a:pt x="1514" y="2950"/>
                </a:lnTo>
                <a:lnTo>
                  <a:pt x="1519" y="2951"/>
                </a:lnTo>
                <a:lnTo>
                  <a:pt x="1524" y="2952"/>
                </a:lnTo>
                <a:lnTo>
                  <a:pt x="1529" y="2953"/>
                </a:lnTo>
                <a:lnTo>
                  <a:pt x="1533" y="2954"/>
                </a:lnTo>
                <a:lnTo>
                  <a:pt x="1537" y="2954"/>
                </a:lnTo>
                <a:lnTo>
                  <a:pt x="1540" y="2955"/>
                </a:lnTo>
                <a:lnTo>
                  <a:pt x="1545" y="2956"/>
                </a:lnTo>
                <a:lnTo>
                  <a:pt x="1550" y="2958"/>
                </a:lnTo>
                <a:lnTo>
                  <a:pt x="1555" y="2959"/>
                </a:lnTo>
                <a:lnTo>
                  <a:pt x="1558" y="2959"/>
                </a:lnTo>
                <a:lnTo>
                  <a:pt x="1563" y="2960"/>
                </a:lnTo>
                <a:lnTo>
                  <a:pt x="1568" y="2961"/>
                </a:lnTo>
                <a:lnTo>
                  <a:pt x="1573" y="2962"/>
                </a:lnTo>
                <a:lnTo>
                  <a:pt x="1578" y="2963"/>
                </a:lnTo>
                <a:lnTo>
                  <a:pt x="1581" y="2964"/>
                </a:lnTo>
                <a:lnTo>
                  <a:pt x="1585" y="2964"/>
                </a:lnTo>
                <a:lnTo>
                  <a:pt x="1592" y="2965"/>
                </a:lnTo>
                <a:lnTo>
                  <a:pt x="1598" y="2966"/>
                </a:lnTo>
                <a:lnTo>
                  <a:pt x="1603" y="2967"/>
                </a:lnTo>
                <a:lnTo>
                  <a:pt x="1608" y="2968"/>
                </a:lnTo>
                <a:lnTo>
                  <a:pt x="1611" y="2968"/>
                </a:lnTo>
                <a:lnTo>
                  <a:pt x="1613" y="2969"/>
                </a:lnTo>
                <a:lnTo>
                  <a:pt x="1621" y="2970"/>
                </a:lnTo>
                <a:lnTo>
                  <a:pt x="1628" y="2971"/>
                </a:lnTo>
                <a:lnTo>
                  <a:pt x="1633" y="2972"/>
                </a:lnTo>
                <a:lnTo>
                  <a:pt x="1638" y="2973"/>
                </a:lnTo>
                <a:lnTo>
                  <a:pt x="1641" y="2973"/>
                </a:lnTo>
                <a:lnTo>
                  <a:pt x="1645" y="2974"/>
                </a:lnTo>
                <a:lnTo>
                  <a:pt x="1651" y="2975"/>
                </a:lnTo>
                <a:lnTo>
                  <a:pt x="1658" y="2975"/>
                </a:lnTo>
                <a:lnTo>
                  <a:pt x="1665" y="2976"/>
                </a:lnTo>
                <a:lnTo>
                  <a:pt x="1671" y="2977"/>
                </a:lnTo>
                <a:lnTo>
                  <a:pt x="1675" y="2978"/>
                </a:lnTo>
                <a:lnTo>
                  <a:pt x="1679" y="2978"/>
                </a:lnTo>
                <a:lnTo>
                  <a:pt x="1684" y="2979"/>
                </a:lnTo>
                <a:lnTo>
                  <a:pt x="1691" y="2980"/>
                </a:lnTo>
                <a:lnTo>
                  <a:pt x="1698" y="2981"/>
                </a:lnTo>
                <a:lnTo>
                  <a:pt x="1706" y="2982"/>
                </a:lnTo>
                <a:lnTo>
                  <a:pt x="1710" y="2983"/>
                </a:lnTo>
                <a:lnTo>
                  <a:pt x="1714" y="2983"/>
                </a:lnTo>
                <a:lnTo>
                  <a:pt x="1718" y="2984"/>
                </a:lnTo>
                <a:lnTo>
                  <a:pt x="1724" y="2984"/>
                </a:lnTo>
                <a:lnTo>
                  <a:pt x="1733" y="2986"/>
                </a:lnTo>
                <a:lnTo>
                  <a:pt x="1742" y="2987"/>
                </a:lnTo>
                <a:lnTo>
                  <a:pt x="1750" y="2988"/>
                </a:lnTo>
                <a:lnTo>
                  <a:pt x="1760" y="2989"/>
                </a:lnTo>
                <a:lnTo>
                  <a:pt x="1769" y="2990"/>
                </a:lnTo>
                <a:lnTo>
                  <a:pt x="1778" y="2992"/>
                </a:lnTo>
                <a:lnTo>
                  <a:pt x="1783" y="2993"/>
                </a:lnTo>
                <a:lnTo>
                  <a:pt x="1787" y="2993"/>
                </a:lnTo>
                <a:lnTo>
                  <a:pt x="1793" y="2994"/>
                </a:lnTo>
                <a:lnTo>
                  <a:pt x="1798" y="2994"/>
                </a:lnTo>
                <a:lnTo>
                  <a:pt x="1807" y="2995"/>
                </a:lnTo>
                <a:lnTo>
                  <a:pt x="1815" y="2996"/>
                </a:lnTo>
                <a:lnTo>
                  <a:pt x="1821" y="2997"/>
                </a:lnTo>
                <a:lnTo>
                  <a:pt x="1828" y="2998"/>
                </a:lnTo>
                <a:lnTo>
                  <a:pt x="1833" y="2998"/>
                </a:lnTo>
                <a:lnTo>
                  <a:pt x="1838" y="2999"/>
                </a:lnTo>
                <a:lnTo>
                  <a:pt x="1846" y="3000"/>
                </a:lnTo>
                <a:lnTo>
                  <a:pt x="1854" y="3001"/>
                </a:lnTo>
                <a:lnTo>
                  <a:pt x="1862" y="3001"/>
                </a:lnTo>
                <a:lnTo>
                  <a:pt x="1870" y="3002"/>
                </a:lnTo>
                <a:lnTo>
                  <a:pt x="1874" y="3003"/>
                </a:lnTo>
                <a:lnTo>
                  <a:pt x="1879" y="3003"/>
                </a:lnTo>
                <a:lnTo>
                  <a:pt x="1886" y="3004"/>
                </a:lnTo>
                <a:lnTo>
                  <a:pt x="1894" y="3005"/>
                </a:lnTo>
                <a:lnTo>
                  <a:pt x="1903" y="3006"/>
                </a:lnTo>
                <a:lnTo>
                  <a:pt x="1912" y="3007"/>
                </a:lnTo>
                <a:lnTo>
                  <a:pt x="1916" y="3007"/>
                </a:lnTo>
                <a:lnTo>
                  <a:pt x="1920" y="3007"/>
                </a:lnTo>
                <a:lnTo>
                  <a:pt x="1928" y="3008"/>
                </a:lnTo>
                <a:lnTo>
                  <a:pt x="1936" y="3009"/>
                </a:lnTo>
                <a:lnTo>
                  <a:pt x="1945" y="3010"/>
                </a:lnTo>
                <a:lnTo>
                  <a:pt x="1953" y="3011"/>
                </a:lnTo>
                <a:lnTo>
                  <a:pt x="1960" y="3011"/>
                </a:lnTo>
                <a:lnTo>
                  <a:pt x="1965" y="3012"/>
                </a:lnTo>
                <a:lnTo>
                  <a:pt x="1973" y="3012"/>
                </a:lnTo>
                <a:lnTo>
                  <a:pt x="1981" y="3013"/>
                </a:lnTo>
                <a:lnTo>
                  <a:pt x="1988" y="3014"/>
                </a:lnTo>
                <a:lnTo>
                  <a:pt x="1997" y="3015"/>
                </a:lnTo>
                <a:lnTo>
                  <a:pt x="2004" y="3015"/>
                </a:lnTo>
                <a:lnTo>
                  <a:pt x="2011" y="3016"/>
                </a:lnTo>
                <a:lnTo>
                  <a:pt x="2019" y="3017"/>
                </a:lnTo>
                <a:lnTo>
                  <a:pt x="2028" y="3017"/>
                </a:lnTo>
                <a:lnTo>
                  <a:pt x="2034" y="3018"/>
                </a:lnTo>
                <a:lnTo>
                  <a:pt x="2041" y="3018"/>
                </a:lnTo>
                <a:lnTo>
                  <a:pt x="2049" y="3019"/>
                </a:lnTo>
                <a:lnTo>
                  <a:pt x="2059" y="3020"/>
                </a:lnTo>
                <a:lnTo>
                  <a:pt x="2067" y="3021"/>
                </a:lnTo>
                <a:lnTo>
                  <a:pt x="2075" y="3021"/>
                </a:lnTo>
                <a:lnTo>
                  <a:pt x="2081" y="3022"/>
                </a:lnTo>
                <a:lnTo>
                  <a:pt x="2086" y="3022"/>
                </a:lnTo>
                <a:lnTo>
                  <a:pt x="2097" y="3023"/>
                </a:lnTo>
                <a:lnTo>
                  <a:pt x="2107" y="3024"/>
                </a:lnTo>
                <a:lnTo>
                  <a:pt x="2116" y="3026"/>
                </a:lnTo>
                <a:lnTo>
                  <a:pt x="2126" y="3026"/>
                </a:lnTo>
                <a:lnTo>
                  <a:pt x="2130" y="3027"/>
                </a:lnTo>
                <a:lnTo>
                  <a:pt x="2133" y="3027"/>
                </a:lnTo>
                <a:lnTo>
                  <a:pt x="2145" y="3028"/>
                </a:lnTo>
                <a:lnTo>
                  <a:pt x="2159" y="3029"/>
                </a:lnTo>
                <a:lnTo>
                  <a:pt x="2167" y="3030"/>
                </a:lnTo>
                <a:lnTo>
                  <a:pt x="2176" y="3030"/>
                </a:lnTo>
                <a:lnTo>
                  <a:pt x="2178" y="3030"/>
                </a:lnTo>
                <a:lnTo>
                  <a:pt x="2181" y="3031"/>
                </a:lnTo>
                <a:lnTo>
                  <a:pt x="2188" y="3031"/>
                </a:lnTo>
                <a:lnTo>
                  <a:pt x="2197" y="3032"/>
                </a:lnTo>
                <a:lnTo>
                  <a:pt x="2205" y="3032"/>
                </a:lnTo>
                <a:lnTo>
                  <a:pt x="2213" y="3033"/>
                </a:lnTo>
                <a:lnTo>
                  <a:pt x="2221" y="3034"/>
                </a:lnTo>
                <a:lnTo>
                  <a:pt x="2231" y="3034"/>
                </a:lnTo>
                <a:lnTo>
                  <a:pt x="2240" y="3035"/>
                </a:lnTo>
                <a:lnTo>
                  <a:pt x="2249" y="3036"/>
                </a:lnTo>
                <a:lnTo>
                  <a:pt x="2259" y="3036"/>
                </a:lnTo>
                <a:lnTo>
                  <a:pt x="2268" y="3037"/>
                </a:lnTo>
                <a:lnTo>
                  <a:pt x="2274" y="3037"/>
                </a:lnTo>
                <a:lnTo>
                  <a:pt x="2280" y="3038"/>
                </a:lnTo>
                <a:lnTo>
                  <a:pt x="2281" y="3038"/>
                </a:lnTo>
                <a:lnTo>
                  <a:pt x="2283" y="3038"/>
                </a:lnTo>
                <a:lnTo>
                  <a:pt x="2283" y="3038"/>
                </a:lnTo>
                <a:lnTo>
                  <a:pt x="2284" y="3038"/>
                </a:lnTo>
                <a:lnTo>
                  <a:pt x="2294" y="3039"/>
                </a:lnTo>
                <a:lnTo>
                  <a:pt x="2304" y="3039"/>
                </a:lnTo>
                <a:lnTo>
                  <a:pt x="2313" y="3040"/>
                </a:lnTo>
                <a:lnTo>
                  <a:pt x="2323" y="3040"/>
                </a:lnTo>
                <a:lnTo>
                  <a:pt x="2328" y="3041"/>
                </a:lnTo>
                <a:lnTo>
                  <a:pt x="2332" y="3041"/>
                </a:lnTo>
                <a:lnTo>
                  <a:pt x="2335" y="3041"/>
                </a:lnTo>
                <a:lnTo>
                  <a:pt x="2338" y="3041"/>
                </a:lnTo>
                <a:lnTo>
                  <a:pt x="2345" y="3042"/>
                </a:lnTo>
                <a:lnTo>
                  <a:pt x="2352" y="3042"/>
                </a:lnTo>
                <a:lnTo>
                  <a:pt x="2363" y="3043"/>
                </a:lnTo>
                <a:lnTo>
                  <a:pt x="2373" y="3044"/>
                </a:lnTo>
                <a:lnTo>
                  <a:pt x="2384" y="3044"/>
                </a:lnTo>
                <a:lnTo>
                  <a:pt x="2395" y="3045"/>
                </a:lnTo>
                <a:lnTo>
                  <a:pt x="2403" y="3046"/>
                </a:lnTo>
                <a:lnTo>
                  <a:pt x="2412" y="3046"/>
                </a:lnTo>
                <a:lnTo>
                  <a:pt x="2426" y="3047"/>
                </a:lnTo>
                <a:lnTo>
                  <a:pt x="2439" y="3048"/>
                </a:lnTo>
                <a:lnTo>
                  <a:pt x="2441" y="3048"/>
                </a:lnTo>
                <a:lnTo>
                  <a:pt x="2443" y="3048"/>
                </a:lnTo>
                <a:lnTo>
                  <a:pt x="2448" y="3048"/>
                </a:lnTo>
                <a:lnTo>
                  <a:pt x="2452" y="3048"/>
                </a:lnTo>
                <a:lnTo>
                  <a:pt x="2456" y="3049"/>
                </a:lnTo>
                <a:lnTo>
                  <a:pt x="2461" y="3049"/>
                </a:lnTo>
                <a:lnTo>
                  <a:pt x="2463" y="3049"/>
                </a:lnTo>
                <a:lnTo>
                  <a:pt x="2465" y="3049"/>
                </a:lnTo>
                <a:lnTo>
                  <a:pt x="2479" y="3050"/>
                </a:lnTo>
                <a:lnTo>
                  <a:pt x="2494" y="3051"/>
                </a:lnTo>
                <a:lnTo>
                  <a:pt x="2500" y="3051"/>
                </a:lnTo>
                <a:lnTo>
                  <a:pt x="2505" y="3051"/>
                </a:lnTo>
                <a:lnTo>
                  <a:pt x="2516" y="3052"/>
                </a:lnTo>
                <a:lnTo>
                  <a:pt x="2528" y="3053"/>
                </a:lnTo>
                <a:lnTo>
                  <a:pt x="2538" y="3053"/>
                </a:lnTo>
                <a:lnTo>
                  <a:pt x="2549" y="3054"/>
                </a:lnTo>
                <a:lnTo>
                  <a:pt x="2557" y="3054"/>
                </a:lnTo>
                <a:lnTo>
                  <a:pt x="2566" y="3055"/>
                </a:lnTo>
                <a:lnTo>
                  <a:pt x="2576" y="3055"/>
                </a:lnTo>
                <a:lnTo>
                  <a:pt x="2586" y="3056"/>
                </a:lnTo>
                <a:lnTo>
                  <a:pt x="2596" y="3056"/>
                </a:lnTo>
                <a:lnTo>
                  <a:pt x="2606" y="3057"/>
                </a:lnTo>
                <a:lnTo>
                  <a:pt x="2616" y="3057"/>
                </a:lnTo>
                <a:lnTo>
                  <a:pt x="2627" y="3058"/>
                </a:lnTo>
                <a:lnTo>
                  <a:pt x="2636" y="3058"/>
                </a:lnTo>
                <a:lnTo>
                  <a:pt x="2645" y="3059"/>
                </a:lnTo>
                <a:lnTo>
                  <a:pt x="2654" y="3059"/>
                </a:lnTo>
                <a:lnTo>
                  <a:pt x="2664" y="3061"/>
                </a:lnTo>
                <a:lnTo>
                  <a:pt x="2675" y="3061"/>
                </a:lnTo>
                <a:lnTo>
                  <a:pt x="2686" y="3062"/>
                </a:lnTo>
                <a:lnTo>
                  <a:pt x="2695" y="3062"/>
                </a:lnTo>
                <a:lnTo>
                  <a:pt x="2704" y="3063"/>
                </a:lnTo>
                <a:lnTo>
                  <a:pt x="2713" y="3063"/>
                </a:lnTo>
                <a:lnTo>
                  <a:pt x="2722" y="3063"/>
                </a:lnTo>
                <a:lnTo>
                  <a:pt x="2728" y="3064"/>
                </a:lnTo>
                <a:lnTo>
                  <a:pt x="2734" y="3064"/>
                </a:lnTo>
                <a:lnTo>
                  <a:pt x="2736" y="3064"/>
                </a:lnTo>
                <a:lnTo>
                  <a:pt x="2738" y="3064"/>
                </a:lnTo>
                <a:lnTo>
                  <a:pt x="2743" y="3064"/>
                </a:lnTo>
                <a:lnTo>
                  <a:pt x="2748" y="3064"/>
                </a:lnTo>
                <a:lnTo>
                  <a:pt x="2756" y="3065"/>
                </a:lnTo>
                <a:lnTo>
                  <a:pt x="2765" y="3065"/>
                </a:lnTo>
                <a:lnTo>
                  <a:pt x="2774" y="3066"/>
                </a:lnTo>
                <a:lnTo>
                  <a:pt x="2782" y="3066"/>
                </a:lnTo>
                <a:lnTo>
                  <a:pt x="2795" y="3066"/>
                </a:lnTo>
                <a:lnTo>
                  <a:pt x="2806" y="3067"/>
                </a:lnTo>
                <a:lnTo>
                  <a:pt x="2815" y="3067"/>
                </a:lnTo>
                <a:lnTo>
                  <a:pt x="2824" y="3068"/>
                </a:lnTo>
                <a:lnTo>
                  <a:pt x="2834" y="3068"/>
                </a:lnTo>
                <a:lnTo>
                  <a:pt x="2843" y="3069"/>
                </a:lnTo>
                <a:lnTo>
                  <a:pt x="2848" y="3069"/>
                </a:lnTo>
                <a:lnTo>
                  <a:pt x="2853" y="3069"/>
                </a:lnTo>
                <a:lnTo>
                  <a:pt x="2858" y="3069"/>
                </a:lnTo>
                <a:lnTo>
                  <a:pt x="2864" y="3069"/>
                </a:lnTo>
                <a:lnTo>
                  <a:pt x="2866" y="3069"/>
                </a:lnTo>
                <a:lnTo>
                  <a:pt x="2867" y="3070"/>
                </a:lnTo>
                <a:lnTo>
                  <a:pt x="2876" y="3070"/>
                </a:lnTo>
                <a:lnTo>
                  <a:pt x="2886" y="3070"/>
                </a:lnTo>
                <a:lnTo>
                  <a:pt x="2896" y="3071"/>
                </a:lnTo>
                <a:lnTo>
                  <a:pt x="2905" y="3071"/>
                </a:lnTo>
                <a:lnTo>
                  <a:pt x="2917" y="3072"/>
                </a:lnTo>
                <a:lnTo>
                  <a:pt x="2930" y="3072"/>
                </a:lnTo>
                <a:lnTo>
                  <a:pt x="2939" y="3072"/>
                </a:lnTo>
                <a:lnTo>
                  <a:pt x="2948" y="3073"/>
                </a:lnTo>
                <a:lnTo>
                  <a:pt x="2957" y="3073"/>
                </a:lnTo>
                <a:lnTo>
                  <a:pt x="2967" y="3073"/>
                </a:lnTo>
                <a:lnTo>
                  <a:pt x="2971" y="3074"/>
                </a:lnTo>
                <a:lnTo>
                  <a:pt x="2976" y="3074"/>
                </a:lnTo>
                <a:lnTo>
                  <a:pt x="2977" y="3074"/>
                </a:lnTo>
                <a:lnTo>
                  <a:pt x="2978" y="3074"/>
                </a:lnTo>
                <a:lnTo>
                  <a:pt x="2981" y="3074"/>
                </a:lnTo>
                <a:lnTo>
                  <a:pt x="2984" y="3074"/>
                </a:lnTo>
                <a:lnTo>
                  <a:pt x="2988" y="3074"/>
                </a:lnTo>
                <a:lnTo>
                  <a:pt x="2993" y="3074"/>
                </a:lnTo>
                <a:lnTo>
                  <a:pt x="3003" y="3075"/>
                </a:lnTo>
                <a:lnTo>
                  <a:pt x="3012" y="3075"/>
                </a:lnTo>
                <a:lnTo>
                  <a:pt x="3021" y="3075"/>
                </a:lnTo>
                <a:lnTo>
                  <a:pt x="3031" y="3076"/>
                </a:lnTo>
                <a:lnTo>
                  <a:pt x="3043" y="3076"/>
                </a:lnTo>
                <a:lnTo>
                  <a:pt x="3056" y="3076"/>
                </a:lnTo>
                <a:lnTo>
                  <a:pt x="3065" y="3077"/>
                </a:lnTo>
                <a:lnTo>
                  <a:pt x="3072" y="3077"/>
                </a:lnTo>
                <a:lnTo>
                  <a:pt x="3080" y="3077"/>
                </a:lnTo>
                <a:lnTo>
                  <a:pt x="3087" y="3078"/>
                </a:lnTo>
                <a:lnTo>
                  <a:pt x="3090" y="3078"/>
                </a:lnTo>
                <a:lnTo>
                  <a:pt x="3093" y="3078"/>
                </a:lnTo>
                <a:lnTo>
                  <a:pt x="3093" y="3078"/>
                </a:lnTo>
                <a:lnTo>
                  <a:pt x="3094" y="3078"/>
                </a:lnTo>
                <a:lnTo>
                  <a:pt x="3108" y="3078"/>
                </a:lnTo>
                <a:lnTo>
                  <a:pt x="3121" y="3079"/>
                </a:lnTo>
                <a:lnTo>
                  <a:pt x="3131" y="3079"/>
                </a:lnTo>
                <a:lnTo>
                  <a:pt x="3140" y="3079"/>
                </a:lnTo>
                <a:lnTo>
                  <a:pt x="3150" y="3079"/>
                </a:lnTo>
                <a:lnTo>
                  <a:pt x="3159" y="3080"/>
                </a:lnTo>
                <a:lnTo>
                  <a:pt x="3173" y="3080"/>
                </a:lnTo>
                <a:lnTo>
                  <a:pt x="3187" y="3081"/>
                </a:lnTo>
                <a:lnTo>
                  <a:pt x="3197" y="3081"/>
                </a:lnTo>
                <a:lnTo>
                  <a:pt x="3206" y="3081"/>
                </a:lnTo>
                <a:lnTo>
                  <a:pt x="3215" y="3081"/>
                </a:lnTo>
                <a:lnTo>
                  <a:pt x="3225" y="3082"/>
                </a:lnTo>
                <a:lnTo>
                  <a:pt x="3240" y="3082"/>
                </a:lnTo>
                <a:lnTo>
                  <a:pt x="3253" y="3083"/>
                </a:lnTo>
                <a:lnTo>
                  <a:pt x="3262" y="3083"/>
                </a:lnTo>
                <a:lnTo>
                  <a:pt x="3272" y="3083"/>
                </a:lnTo>
                <a:lnTo>
                  <a:pt x="3282" y="3083"/>
                </a:lnTo>
                <a:lnTo>
                  <a:pt x="3291" y="3083"/>
                </a:lnTo>
                <a:lnTo>
                  <a:pt x="3302" y="3084"/>
                </a:lnTo>
                <a:lnTo>
                  <a:pt x="3313" y="3084"/>
                </a:lnTo>
                <a:lnTo>
                  <a:pt x="3315" y="3084"/>
                </a:lnTo>
                <a:lnTo>
                  <a:pt x="3317" y="3084"/>
                </a:lnTo>
                <a:lnTo>
                  <a:pt x="3319" y="3084"/>
                </a:lnTo>
                <a:lnTo>
                  <a:pt x="3321" y="3084"/>
                </a:lnTo>
                <a:lnTo>
                  <a:pt x="3330" y="3085"/>
                </a:lnTo>
                <a:lnTo>
                  <a:pt x="3340" y="3085"/>
                </a:lnTo>
                <a:lnTo>
                  <a:pt x="3349" y="3085"/>
                </a:lnTo>
                <a:lnTo>
                  <a:pt x="3358" y="3085"/>
                </a:lnTo>
                <a:lnTo>
                  <a:pt x="3374" y="3086"/>
                </a:lnTo>
                <a:lnTo>
                  <a:pt x="3388" y="3086"/>
                </a:lnTo>
                <a:lnTo>
                  <a:pt x="3396" y="3086"/>
                </a:lnTo>
                <a:lnTo>
                  <a:pt x="3405" y="3086"/>
                </a:lnTo>
                <a:lnTo>
                  <a:pt x="3413" y="3086"/>
                </a:lnTo>
                <a:lnTo>
                  <a:pt x="3420" y="3087"/>
                </a:lnTo>
                <a:lnTo>
                  <a:pt x="3423" y="3087"/>
                </a:lnTo>
                <a:lnTo>
                  <a:pt x="3426" y="3087"/>
                </a:lnTo>
                <a:lnTo>
                  <a:pt x="3428" y="3087"/>
                </a:lnTo>
                <a:lnTo>
                  <a:pt x="3432" y="3087"/>
                </a:lnTo>
                <a:lnTo>
                  <a:pt x="3444" y="3087"/>
                </a:lnTo>
                <a:lnTo>
                  <a:pt x="3457" y="3087"/>
                </a:lnTo>
                <a:lnTo>
                  <a:pt x="3467" y="3088"/>
                </a:lnTo>
                <a:lnTo>
                  <a:pt x="3477" y="3088"/>
                </a:lnTo>
                <a:lnTo>
                  <a:pt x="3486" y="3088"/>
                </a:lnTo>
                <a:lnTo>
                  <a:pt x="3495" y="3088"/>
                </a:lnTo>
                <a:lnTo>
                  <a:pt x="3511" y="3089"/>
                </a:lnTo>
                <a:lnTo>
                  <a:pt x="3525" y="3089"/>
                </a:lnTo>
                <a:lnTo>
                  <a:pt x="3536" y="3089"/>
                </a:lnTo>
                <a:lnTo>
                  <a:pt x="3546" y="3089"/>
                </a:lnTo>
                <a:lnTo>
                  <a:pt x="3556" y="3089"/>
                </a:lnTo>
                <a:lnTo>
                  <a:pt x="3567" y="3090"/>
                </a:lnTo>
                <a:lnTo>
                  <a:pt x="3581" y="3090"/>
                </a:lnTo>
                <a:lnTo>
                  <a:pt x="3595" y="3090"/>
                </a:lnTo>
                <a:lnTo>
                  <a:pt x="3606" y="3090"/>
                </a:lnTo>
                <a:lnTo>
                  <a:pt x="3616" y="3091"/>
                </a:lnTo>
                <a:lnTo>
                  <a:pt x="3626" y="3091"/>
                </a:lnTo>
                <a:lnTo>
                  <a:pt x="3636" y="3091"/>
                </a:lnTo>
                <a:lnTo>
                  <a:pt x="3651" y="3091"/>
                </a:lnTo>
                <a:lnTo>
                  <a:pt x="3667" y="3091"/>
                </a:lnTo>
                <a:lnTo>
                  <a:pt x="3677" y="3092"/>
                </a:lnTo>
                <a:lnTo>
                  <a:pt x="3687" y="3092"/>
                </a:lnTo>
                <a:lnTo>
                  <a:pt x="3697" y="3092"/>
                </a:lnTo>
                <a:lnTo>
                  <a:pt x="3708" y="3092"/>
                </a:lnTo>
                <a:lnTo>
                  <a:pt x="3722" y="3092"/>
                </a:lnTo>
                <a:lnTo>
                  <a:pt x="3738" y="3092"/>
                </a:lnTo>
                <a:lnTo>
                  <a:pt x="3751" y="3093"/>
                </a:lnTo>
                <a:lnTo>
                  <a:pt x="3765" y="3093"/>
                </a:lnTo>
                <a:lnTo>
                  <a:pt x="3767" y="3093"/>
                </a:lnTo>
                <a:lnTo>
                  <a:pt x="3767" y="3093"/>
                </a:lnTo>
                <a:lnTo>
                  <a:pt x="3773" y="3093"/>
                </a:lnTo>
                <a:lnTo>
                  <a:pt x="3779" y="3093"/>
                </a:lnTo>
                <a:lnTo>
                  <a:pt x="3794" y="3093"/>
                </a:lnTo>
                <a:lnTo>
                  <a:pt x="3810" y="3093"/>
                </a:lnTo>
                <a:lnTo>
                  <a:pt x="3819" y="3095"/>
                </a:lnTo>
                <a:lnTo>
                  <a:pt x="3829" y="3095"/>
                </a:lnTo>
                <a:lnTo>
                  <a:pt x="3840" y="3095"/>
                </a:lnTo>
                <a:lnTo>
                  <a:pt x="3850" y="3095"/>
                </a:lnTo>
                <a:lnTo>
                  <a:pt x="3864" y="3095"/>
                </a:lnTo>
                <a:lnTo>
                  <a:pt x="3879" y="3095"/>
                </a:lnTo>
                <a:lnTo>
                  <a:pt x="3881" y="3095"/>
                </a:lnTo>
                <a:lnTo>
                  <a:pt x="3884" y="3095"/>
                </a:lnTo>
                <a:lnTo>
                  <a:pt x="3885" y="3095"/>
                </a:lnTo>
                <a:lnTo>
                  <a:pt x="3886" y="3095"/>
                </a:lnTo>
                <a:lnTo>
                  <a:pt x="3895" y="3095"/>
                </a:lnTo>
                <a:lnTo>
                  <a:pt x="3905" y="3095"/>
                </a:lnTo>
                <a:lnTo>
                  <a:pt x="3915" y="3095"/>
                </a:lnTo>
                <a:lnTo>
                  <a:pt x="3924" y="3096"/>
                </a:lnTo>
                <a:lnTo>
                  <a:pt x="3940" y="3096"/>
                </a:lnTo>
                <a:lnTo>
                  <a:pt x="3954" y="3096"/>
                </a:lnTo>
                <a:lnTo>
                  <a:pt x="3965" y="3096"/>
                </a:lnTo>
                <a:lnTo>
                  <a:pt x="3976" y="3096"/>
                </a:lnTo>
                <a:lnTo>
                  <a:pt x="3986" y="3096"/>
                </a:lnTo>
                <a:lnTo>
                  <a:pt x="3996" y="3096"/>
                </a:lnTo>
                <a:lnTo>
                  <a:pt x="4005" y="3096"/>
                </a:lnTo>
                <a:lnTo>
                  <a:pt x="4013" y="3096"/>
                </a:lnTo>
                <a:lnTo>
                  <a:pt x="4020" y="3096"/>
                </a:lnTo>
                <a:lnTo>
                  <a:pt x="4028" y="3096"/>
                </a:lnTo>
                <a:lnTo>
                  <a:pt x="4040" y="3097"/>
                </a:lnTo>
                <a:lnTo>
                  <a:pt x="4051" y="3097"/>
                </a:lnTo>
                <a:lnTo>
                  <a:pt x="4062" y="3097"/>
                </a:lnTo>
                <a:lnTo>
                  <a:pt x="4074" y="3097"/>
                </a:lnTo>
                <a:lnTo>
                  <a:pt x="4088" y="3097"/>
                </a:lnTo>
                <a:lnTo>
                  <a:pt x="4101" y="3097"/>
                </a:lnTo>
                <a:lnTo>
                  <a:pt x="4117" y="3097"/>
                </a:lnTo>
                <a:lnTo>
                  <a:pt x="4131" y="3097"/>
                </a:lnTo>
                <a:lnTo>
                  <a:pt x="4133" y="3097"/>
                </a:lnTo>
                <a:lnTo>
                  <a:pt x="4134" y="3097"/>
                </a:lnTo>
                <a:lnTo>
                  <a:pt x="4139" y="3097"/>
                </a:lnTo>
                <a:lnTo>
                  <a:pt x="4143" y="3097"/>
                </a:lnTo>
                <a:lnTo>
                  <a:pt x="4146" y="3097"/>
                </a:lnTo>
                <a:lnTo>
                  <a:pt x="4150" y="3097"/>
                </a:lnTo>
                <a:lnTo>
                  <a:pt x="4163" y="3097"/>
                </a:lnTo>
                <a:lnTo>
                  <a:pt x="4177" y="3097"/>
                </a:lnTo>
                <a:lnTo>
                  <a:pt x="4195" y="3097"/>
                </a:lnTo>
                <a:lnTo>
                  <a:pt x="4214" y="3097"/>
                </a:lnTo>
                <a:lnTo>
                  <a:pt x="4232" y="3097"/>
                </a:lnTo>
                <a:lnTo>
                  <a:pt x="4252" y="3097"/>
                </a:lnTo>
                <a:lnTo>
                  <a:pt x="4289" y="3097"/>
                </a:lnTo>
                <a:lnTo>
                  <a:pt x="4327" y="3097"/>
                </a:lnTo>
                <a:lnTo>
                  <a:pt x="4365" y="3097"/>
                </a:lnTo>
                <a:lnTo>
                  <a:pt x="4402" y="3097"/>
                </a:lnTo>
                <a:lnTo>
                  <a:pt x="4409" y="3097"/>
                </a:lnTo>
                <a:lnTo>
                  <a:pt x="4415" y="3097"/>
                </a:lnTo>
                <a:lnTo>
                  <a:pt x="4415" y="3097"/>
                </a:lnTo>
                <a:lnTo>
                  <a:pt x="4415" y="3097"/>
                </a:lnTo>
                <a:lnTo>
                  <a:pt x="4416" y="3097"/>
                </a:lnTo>
                <a:lnTo>
                  <a:pt x="4417" y="3097"/>
                </a:lnTo>
                <a:lnTo>
                  <a:pt x="4423" y="3097"/>
                </a:lnTo>
                <a:lnTo>
                  <a:pt x="4428" y="3097"/>
                </a:lnTo>
                <a:lnTo>
                  <a:pt x="4441" y="3097"/>
                </a:lnTo>
                <a:lnTo>
                  <a:pt x="4453" y="3097"/>
                </a:lnTo>
                <a:lnTo>
                  <a:pt x="4465" y="3097"/>
                </a:lnTo>
                <a:lnTo>
                  <a:pt x="4478" y="3097"/>
                </a:lnTo>
                <a:lnTo>
                  <a:pt x="4488" y="3097"/>
                </a:lnTo>
                <a:lnTo>
                  <a:pt x="4498" y="3097"/>
                </a:lnTo>
                <a:lnTo>
                  <a:pt x="4512" y="3097"/>
                </a:lnTo>
                <a:lnTo>
                  <a:pt x="4525" y="3097"/>
                </a:lnTo>
                <a:lnTo>
                  <a:pt x="4539" y="3097"/>
                </a:lnTo>
                <a:lnTo>
                  <a:pt x="4552" y="3097"/>
                </a:lnTo>
                <a:lnTo>
                  <a:pt x="4564" y="3097"/>
                </a:lnTo>
                <a:lnTo>
                  <a:pt x="4578" y="3096"/>
                </a:lnTo>
                <a:lnTo>
                  <a:pt x="4581" y="3096"/>
                </a:lnTo>
                <a:lnTo>
                  <a:pt x="4585" y="3096"/>
                </a:lnTo>
                <a:lnTo>
                  <a:pt x="4595" y="3096"/>
                </a:lnTo>
                <a:lnTo>
                  <a:pt x="4606" y="3096"/>
                </a:lnTo>
                <a:lnTo>
                  <a:pt x="4616" y="3096"/>
                </a:lnTo>
                <a:lnTo>
                  <a:pt x="4626" y="3096"/>
                </a:lnTo>
                <a:lnTo>
                  <a:pt x="4639" y="3096"/>
                </a:lnTo>
                <a:lnTo>
                  <a:pt x="4652" y="3096"/>
                </a:lnTo>
                <a:lnTo>
                  <a:pt x="4663" y="3096"/>
                </a:lnTo>
                <a:lnTo>
                  <a:pt x="4676" y="3096"/>
                </a:lnTo>
                <a:lnTo>
                  <a:pt x="4688" y="3096"/>
                </a:lnTo>
                <a:lnTo>
                  <a:pt x="4699" y="3095"/>
                </a:lnTo>
                <a:lnTo>
                  <a:pt x="4713" y="3095"/>
                </a:lnTo>
                <a:lnTo>
                  <a:pt x="4726" y="3095"/>
                </a:lnTo>
                <a:lnTo>
                  <a:pt x="4731" y="3095"/>
                </a:lnTo>
                <a:lnTo>
                  <a:pt x="4736" y="3095"/>
                </a:lnTo>
                <a:lnTo>
                  <a:pt x="4741" y="3095"/>
                </a:lnTo>
                <a:lnTo>
                  <a:pt x="4744" y="3095"/>
                </a:lnTo>
                <a:lnTo>
                  <a:pt x="4747" y="3095"/>
                </a:lnTo>
                <a:lnTo>
                  <a:pt x="4750" y="3095"/>
                </a:lnTo>
                <a:lnTo>
                  <a:pt x="4761" y="3095"/>
                </a:lnTo>
                <a:lnTo>
                  <a:pt x="4773" y="3095"/>
                </a:lnTo>
                <a:lnTo>
                  <a:pt x="4787" y="3093"/>
                </a:lnTo>
                <a:lnTo>
                  <a:pt x="4801" y="3093"/>
                </a:lnTo>
                <a:lnTo>
                  <a:pt x="4812" y="3093"/>
                </a:lnTo>
                <a:lnTo>
                  <a:pt x="4823" y="3093"/>
                </a:lnTo>
                <a:lnTo>
                  <a:pt x="4833" y="3093"/>
                </a:lnTo>
                <a:lnTo>
                  <a:pt x="4845" y="3093"/>
                </a:lnTo>
                <a:lnTo>
                  <a:pt x="4859" y="3093"/>
                </a:lnTo>
                <a:lnTo>
                  <a:pt x="4874" y="3092"/>
                </a:lnTo>
                <a:lnTo>
                  <a:pt x="4880" y="3092"/>
                </a:lnTo>
                <a:lnTo>
                  <a:pt x="4886" y="3092"/>
                </a:lnTo>
                <a:lnTo>
                  <a:pt x="4901" y="3092"/>
                </a:lnTo>
                <a:lnTo>
                  <a:pt x="4917" y="3092"/>
                </a:lnTo>
                <a:lnTo>
                  <a:pt x="4929" y="3092"/>
                </a:lnTo>
                <a:lnTo>
                  <a:pt x="4942" y="3091"/>
                </a:lnTo>
                <a:lnTo>
                  <a:pt x="4953" y="3091"/>
                </a:lnTo>
                <a:lnTo>
                  <a:pt x="4965" y="3091"/>
                </a:lnTo>
                <a:lnTo>
                  <a:pt x="4977" y="3091"/>
                </a:lnTo>
                <a:lnTo>
                  <a:pt x="4988" y="3091"/>
                </a:lnTo>
                <a:lnTo>
                  <a:pt x="4999" y="3090"/>
                </a:lnTo>
                <a:lnTo>
                  <a:pt x="5010" y="3090"/>
                </a:lnTo>
                <a:lnTo>
                  <a:pt x="5015" y="3090"/>
                </a:lnTo>
                <a:lnTo>
                  <a:pt x="5019" y="3090"/>
                </a:lnTo>
                <a:lnTo>
                  <a:pt x="5029" y="3090"/>
                </a:lnTo>
                <a:lnTo>
                  <a:pt x="5038" y="3090"/>
                </a:lnTo>
                <a:lnTo>
                  <a:pt x="5049" y="3090"/>
                </a:lnTo>
                <a:lnTo>
                  <a:pt x="5058" y="3089"/>
                </a:lnTo>
                <a:lnTo>
                  <a:pt x="5071" y="3089"/>
                </a:lnTo>
                <a:lnTo>
                  <a:pt x="5085" y="3089"/>
                </a:lnTo>
                <a:lnTo>
                  <a:pt x="5095" y="3089"/>
                </a:lnTo>
                <a:lnTo>
                  <a:pt x="5106" y="3088"/>
                </a:lnTo>
                <a:lnTo>
                  <a:pt x="5117" y="3088"/>
                </a:lnTo>
                <a:lnTo>
                  <a:pt x="5127" y="3088"/>
                </a:lnTo>
                <a:lnTo>
                  <a:pt x="5136" y="3088"/>
                </a:lnTo>
                <a:lnTo>
                  <a:pt x="5146" y="3088"/>
                </a:lnTo>
                <a:lnTo>
                  <a:pt x="5147" y="3088"/>
                </a:lnTo>
                <a:lnTo>
                  <a:pt x="5147" y="3088"/>
                </a:lnTo>
                <a:lnTo>
                  <a:pt x="5151" y="3087"/>
                </a:lnTo>
                <a:lnTo>
                  <a:pt x="5154" y="3087"/>
                </a:lnTo>
                <a:lnTo>
                  <a:pt x="5165" y="3087"/>
                </a:lnTo>
                <a:lnTo>
                  <a:pt x="5176" y="3087"/>
                </a:lnTo>
                <a:lnTo>
                  <a:pt x="5187" y="3087"/>
                </a:lnTo>
                <a:lnTo>
                  <a:pt x="5197" y="3086"/>
                </a:lnTo>
                <a:lnTo>
                  <a:pt x="5210" y="3086"/>
                </a:lnTo>
                <a:lnTo>
                  <a:pt x="5222" y="3086"/>
                </a:lnTo>
                <a:lnTo>
                  <a:pt x="5233" y="3086"/>
                </a:lnTo>
                <a:lnTo>
                  <a:pt x="5244" y="3085"/>
                </a:lnTo>
                <a:lnTo>
                  <a:pt x="5255" y="3085"/>
                </a:lnTo>
                <a:lnTo>
                  <a:pt x="5265" y="3085"/>
                </a:lnTo>
                <a:lnTo>
                  <a:pt x="5279" y="3084"/>
                </a:lnTo>
                <a:lnTo>
                  <a:pt x="5291" y="3084"/>
                </a:lnTo>
                <a:lnTo>
                  <a:pt x="5301" y="3084"/>
                </a:lnTo>
                <a:lnTo>
                  <a:pt x="5312" y="3084"/>
                </a:lnTo>
                <a:lnTo>
                  <a:pt x="5322" y="3083"/>
                </a:lnTo>
                <a:lnTo>
                  <a:pt x="5332" y="3083"/>
                </a:lnTo>
                <a:lnTo>
                  <a:pt x="5346" y="3083"/>
                </a:lnTo>
                <a:lnTo>
                  <a:pt x="5359" y="3082"/>
                </a:lnTo>
                <a:lnTo>
                  <a:pt x="5369" y="3082"/>
                </a:lnTo>
                <a:lnTo>
                  <a:pt x="5380" y="3082"/>
                </a:lnTo>
                <a:lnTo>
                  <a:pt x="5390" y="3081"/>
                </a:lnTo>
                <a:lnTo>
                  <a:pt x="5399" y="3081"/>
                </a:lnTo>
                <a:lnTo>
                  <a:pt x="5412" y="3081"/>
                </a:lnTo>
                <a:lnTo>
                  <a:pt x="5424" y="3080"/>
                </a:lnTo>
                <a:lnTo>
                  <a:pt x="5427" y="3080"/>
                </a:lnTo>
                <a:lnTo>
                  <a:pt x="5429" y="3080"/>
                </a:lnTo>
                <a:lnTo>
                  <a:pt x="5438" y="3080"/>
                </a:lnTo>
                <a:lnTo>
                  <a:pt x="5448" y="3080"/>
                </a:lnTo>
                <a:lnTo>
                  <a:pt x="5457" y="3079"/>
                </a:lnTo>
                <a:lnTo>
                  <a:pt x="5466" y="3079"/>
                </a:lnTo>
                <a:lnTo>
                  <a:pt x="5479" y="3079"/>
                </a:lnTo>
                <a:lnTo>
                  <a:pt x="5491" y="3078"/>
                </a:lnTo>
                <a:lnTo>
                  <a:pt x="5500" y="3078"/>
                </a:lnTo>
                <a:lnTo>
                  <a:pt x="5511" y="3078"/>
                </a:lnTo>
                <a:lnTo>
                  <a:pt x="5521" y="3077"/>
                </a:lnTo>
                <a:lnTo>
                  <a:pt x="5531" y="3077"/>
                </a:lnTo>
                <a:lnTo>
                  <a:pt x="5543" y="3077"/>
                </a:lnTo>
                <a:lnTo>
                  <a:pt x="5556" y="3076"/>
                </a:lnTo>
                <a:lnTo>
                  <a:pt x="5564" y="3076"/>
                </a:lnTo>
                <a:lnTo>
                  <a:pt x="5572" y="3076"/>
                </a:lnTo>
                <a:lnTo>
                  <a:pt x="5573" y="3076"/>
                </a:lnTo>
                <a:lnTo>
                  <a:pt x="5574" y="3076"/>
                </a:lnTo>
                <a:lnTo>
                  <a:pt x="5585" y="3075"/>
                </a:lnTo>
                <a:lnTo>
                  <a:pt x="5595" y="3075"/>
                </a:lnTo>
                <a:lnTo>
                  <a:pt x="5607" y="3075"/>
                </a:lnTo>
                <a:lnTo>
                  <a:pt x="5621" y="3074"/>
                </a:lnTo>
                <a:lnTo>
                  <a:pt x="5630" y="3074"/>
                </a:lnTo>
                <a:lnTo>
                  <a:pt x="5639" y="3073"/>
                </a:lnTo>
                <a:lnTo>
                  <a:pt x="5650" y="3073"/>
                </a:lnTo>
                <a:lnTo>
                  <a:pt x="5659" y="3073"/>
                </a:lnTo>
                <a:lnTo>
                  <a:pt x="5671" y="3072"/>
                </a:lnTo>
                <a:lnTo>
                  <a:pt x="5683" y="3072"/>
                </a:lnTo>
                <a:lnTo>
                  <a:pt x="5693" y="3071"/>
                </a:lnTo>
                <a:lnTo>
                  <a:pt x="5702" y="3071"/>
                </a:lnTo>
                <a:lnTo>
                  <a:pt x="5712" y="3071"/>
                </a:lnTo>
                <a:lnTo>
                  <a:pt x="5722" y="3070"/>
                </a:lnTo>
                <a:lnTo>
                  <a:pt x="5733" y="3070"/>
                </a:lnTo>
                <a:lnTo>
                  <a:pt x="5746" y="3069"/>
                </a:lnTo>
                <a:lnTo>
                  <a:pt x="5755" y="3069"/>
                </a:lnTo>
                <a:lnTo>
                  <a:pt x="5765" y="3068"/>
                </a:lnTo>
                <a:lnTo>
                  <a:pt x="5774" y="3068"/>
                </a:lnTo>
                <a:lnTo>
                  <a:pt x="5784" y="3068"/>
                </a:lnTo>
                <a:lnTo>
                  <a:pt x="5795" y="3067"/>
                </a:lnTo>
                <a:lnTo>
                  <a:pt x="5806" y="3067"/>
                </a:lnTo>
                <a:lnTo>
                  <a:pt x="5816" y="3066"/>
                </a:lnTo>
                <a:lnTo>
                  <a:pt x="5826" y="3066"/>
                </a:lnTo>
                <a:lnTo>
                  <a:pt x="5835" y="3065"/>
                </a:lnTo>
                <a:lnTo>
                  <a:pt x="5844" y="3065"/>
                </a:lnTo>
                <a:lnTo>
                  <a:pt x="5856" y="3065"/>
                </a:lnTo>
                <a:lnTo>
                  <a:pt x="5866" y="3064"/>
                </a:lnTo>
                <a:lnTo>
                  <a:pt x="5876" y="3064"/>
                </a:lnTo>
                <a:lnTo>
                  <a:pt x="5886" y="3063"/>
                </a:lnTo>
                <a:lnTo>
                  <a:pt x="5895" y="3063"/>
                </a:lnTo>
                <a:lnTo>
                  <a:pt x="5904" y="3062"/>
                </a:lnTo>
                <a:lnTo>
                  <a:pt x="5916" y="3062"/>
                </a:lnTo>
                <a:lnTo>
                  <a:pt x="5927" y="3061"/>
                </a:lnTo>
                <a:lnTo>
                  <a:pt x="5936" y="3061"/>
                </a:lnTo>
                <a:lnTo>
                  <a:pt x="5945" y="3059"/>
                </a:lnTo>
                <a:lnTo>
                  <a:pt x="5954" y="3059"/>
                </a:lnTo>
                <a:lnTo>
                  <a:pt x="5963" y="3059"/>
                </a:lnTo>
                <a:lnTo>
                  <a:pt x="5974" y="3058"/>
                </a:lnTo>
                <a:lnTo>
                  <a:pt x="5986" y="3057"/>
                </a:lnTo>
                <a:lnTo>
                  <a:pt x="5995" y="3057"/>
                </a:lnTo>
                <a:lnTo>
                  <a:pt x="6003" y="3057"/>
                </a:lnTo>
                <a:lnTo>
                  <a:pt x="6012" y="3056"/>
                </a:lnTo>
                <a:lnTo>
                  <a:pt x="6021" y="3056"/>
                </a:lnTo>
                <a:lnTo>
                  <a:pt x="6032" y="3055"/>
                </a:lnTo>
                <a:lnTo>
                  <a:pt x="6043" y="3054"/>
                </a:lnTo>
                <a:lnTo>
                  <a:pt x="6053" y="3054"/>
                </a:lnTo>
                <a:lnTo>
                  <a:pt x="6061" y="3054"/>
                </a:lnTo>
                <a:lnTo>
                  <a:pt x="6069" y="3053"/>
                </a:lnTo>
                <a:lnTo>
                  <a:pt x="6078" y="3053"/>
                </a:lnTo>
                <a:lnTo>
                  <a:pt x="6081" y="3053"/>
                </a:lnTo>
                <a:lnTo>
                  <a:pt x="6083" y="3052"/>
                </a:lnTo>
                <a:lnTo>
                  <a:pt x="6091" y="3052"/>
                </a:lnTo>
                <a:lnTo>
                  <a:pt x="6099" y="3052"/>
                </a:lnTo>
                <a:lnTo>
                  <a:pt x="6108" y="3051"/>
                </a:lnTo>
                <a:lnTo>
                  <a:pt x="6117" y="3051"/>
                </a:lnTo>
                <a:lnTo>
                  <a:pt x="6126" y="3050"/>
                </a:lnTo>
                <a:lnTo>
                  <a:pt x="6134" y="3050"/>
                </a:lnTo>
                <a:lnTo>
                  <a:pt x="6144" y="3049"/>
                </a:lnTo>
                <a:lnTo>
                  <a:pt x="6155" y="3048"/>
                </a:lnTo>
                <a:lnTo>
                  <a:pt x="6169" y="3047"/>
                </a:lnTo>
                <a:lnTo>
                  <a:pt x="6185" y="3047"/>
                </a:lnTo>
                <a:lnTo>
                  <a:pt x="6189" y="3046"/>
                </a:lnTo>
                <a:lnTo>
                  <a:pt x="6192" y="3046"/>
                </a:lnTo>
                <a:lnTo>
                  <a:pt x="6200" y="3046"/>
                </a:lnTo>
                <a:lnTo>
                  <a:pt x="6208" y="3045"/>
                </a:lnTo>
                <a:lnTo>
                  <a:pt x="6218" y="3045"/>
                </a:lnTo>
                <a:lnTo>
                  <a:pt x="6226" y="3044"/>
                </a:lnTo>
                <a:lnTo>
                  <a:pt x="6234" y="3044"/>
                </a:lnTo>
                <a:lnTo>
                  <a:pt x="6243" y="3043"/>
                </a:lnTo>
                <a:lnTo>
                  <a:pt x="6253" y="3042"/>
                </a:lnTo>
                <a:lnTo>
                  <a:pt x="6262" y="3042"/>
                </a:lnTo>
                <a:lnTo>
                  <a:pt x="6275" y="3041"/>
                </a:lnTo>
                <a:lnTo>
                  <a:pt x="6289" y="3040"/>
                </a:lnTo>
                <a:lnTo>
                  <a:pt x="6290" y="3040"/>
                </a:lnTo>
                <a:lnTo>
                  <a:pt x="6291" y="3040"/>
                </a:lnTo>
                <a:lnTo>
                  <a:pt x="6295" y="3040"/>
                </a:lnTo>
                <a:lnTo>
                  <a:pt x="6298" y="3040"/>
                </a:lnTo>
                <a:lnTo>
                  <a:pt x="6306" y="3039"/>
                </a:lnTo>
                <a:lnTo>
                  <a:pt x="6314" y="3038"/>
                </a:lnTo>
                <a:lnTo>
                  <a:pt x="6323" y="3038"/>
                </a:lnTo>
                <a:lnTo>
                  <a:pt x="6331" y="3037"/>
                </a:lnTo>
                <a:lnTo>
                  <a:pt x="6339" y="3037"/>
                </a:lnTo>
                <a:lnTo>
                  <a:pt x="6347" y="3036"/>
                </a:lnTo>
                <a:lnTo>
                  <a:pt x="6347" y="3036"/>
                </a:lnTo>
                <a:lnTo>
                  <a:pt x="6348" y="3036"/>
                </a:lnTo>
                <a:lnTo>
                  <a:pt x="6351" y="3036"/>
                </a:lnTo>
                <a:lnTo>
                  <a:pt x="6354" y="3036"/>
                </a:lnTo>
                <a:lnTo>
                  <a:pt x="6360" y="3035"/>
                </a:lnTo>
                <a:lnTo>
                  <a:pt x="6365" y="3035"/>
                </a:lnTo>
                <a:lnTo>
                  <a:pt x="6373" y="3034"/>
                </a:lnTo>
                <a:lnTo>
                  <a:pt x="6381" y="3034"/>
                </a:lnTo>
                <a:lnTo>
                  <a:pt x="6390" y="3033"/>
                </a:lnTo>
                <a:lnTo>
                  <a:pt x="6397" y="3033"/>
                </a:lnTo>
                <a:lnTo>
                  <a:pt x="6404" y="3032"/>
                </a:lnTo>
                <a:lnTo>
                  <a:pt x="6410" y="3032"/>
                </a:lnTo>
                <a:lnTo>
                  <a:pt x="6414" y="3031"/>
                </a:lnTo>
                <a:lnTo>
                  <a:pt x="6420" y="3031"/>
                </a:lnTo>
                <a:lnTo>
                  <a:pt x="6433" y="3030"/>
                </a:lnTo>
                <a:lnTo>
                  <a:pt x="6446" y="3029"/>
                </a:lnTo>
                <a:lnTo>
                  <a:pt x="6455" y="3028"/>
                </a:lnTo>
                <a:lnTo>
                  <a:pt x="6464" y="3028"/>
                </a:lnTo>
                <a:lnTo>
                  <a:pt x="6469" y="3027"/>
                </a:lnTo>
                <a:lnTo>
                  <a:pt x="6475" y="3027"/>
                </a:lnTo>
                <a:lnTo>
                  <a:pt x="6486" y="3026"/>
                </a:lnTo>
                <a:lnTo>
                  <a:pt x="6495" y="3024"/>
                </a:lnTo>
                <a:lnTo>
                  <a:pt x="6503" y="3024"/>
                </a:lnTo>
                <a:lnTo>
                  <a:pt x="6511" y="3023"/>
                </a:lnTo>
                <a:lnTo>
                  <a:pt x="6520" y="3022"/>
                </a:lnTo>
                <a:lnTo>
                  <a:pt x="6528" y="3022"/>
                </a:lnTo>
                <a:lnTo>
                  <a:pt x="6528" y="3022"/>
                </a:lnTo>
                <a:lnTo>
                  <a:pt x="6529" y="3021"/>
                </a:lnTo>
                <a:lnTo>
                  <a:pt x="6531" y="3021"/>
                </a:lnTo>
                <a:lnTo>
                  <a:pt x="6532" y="3021"/>
                </a:lnTo>
                <a:lnTo>
                  <a:pt x="6537" y="3021"/>
                </a:lnTo>
                <a:lnTo>
                  <a:pt x="6541" y="3020"/>
                </a:lnTo>
                <a:lnTo>
                  <a:pt x="6549" y="3020"/>
                </a:lnTo>
                <a:lnTo>
                  <a:pt x="6558" y="3019"/>
                </a:lnTo>
                <a:lnTo>
                  <a:pt x="6572" y="3018"/>
                </a:lnTo>
                <a:lnTo>
                  <a:pt x="6587" y="3017"/>
                </a:lnTo>
                <a:lnTo>
                  <a:pt x="6595" y="3016"/>
                </a:lnTo>
                <a:lnTo>
                  <a:pt x="6603" y="3015"/>
                </a:lnTo>
                <a:lnTo>
                  <a:pt x="6610" y="3014"/>
                </a:lnTo>
                <a:lnTo>
                  <a:pt x="6618" y="3014"/>
                </a:lnTo>
                <a:lnTo>
                  <a:pt x="6618" y="3014"/>
                </a:lnTo>
                <a:lnTo>
                  <a:pt x="6618" y="3014"/>
                </a:lnTo>
                <a:lnTo>
                  <a:pt x="6625" y="3013"/>
                </a:lnTo>
                <a:lnTo>
                  <a:pt x="6631" y="3013"/>
                </a:lnTo>
                <a:lnTo>
                  <a:pt x="6639" y="3012"/>
                </a:lnTo>
                <a:lnTo>
                  <a:pt x="6646" y="3011"/>
                </a:lnTo>
                <a:lnTo>
                  <a:pt x="6661" y="3010"/>
                </a:lnTo>
                <a:lnTo>
                  <a:pt x="6674" y="3008"/>
                </a:lnTo>
                <a:lnTo>
                  <a:pt x="6681" y="3008"/>
                </a:lnTo>
                <a:lnTo>
                  <a:pt x="6689" y="3007"/>
                </a:lnTo>
                <a:lnTo>
                  <a:pt x="6695" y="3007"/>
                </a:lnTo>
                <a:lnTo>
                  <a:pt x="6700" y="3006"/>
                </a:lnTo>
                <a:lnTo>
                  <a:pt x="6701" y="3006"/>
                </a:lnTo>
                <a:lnTo>
                  <a:pt x="6701" y="3006"/>
                </a:lnTo>
                <a:lnTo>
                  <a:pt x="6701" y="3006"/>
                </a:lnTo>
                <a:lnTo>
                  <a:pt x="6701" y="3006"/>
                </a:lnTo>
                <a:lnTo>
                  <a:pt x="6708" y="3005"/>
                </a:lnTo>
                <a:lnTo>
                  <a:pt x="6715" y="3004"/>
                </a:lnTo>
                <a:lnTo>
                  <a:pt x="6723" y="3004"/>
                </a:lnTo>
                <a:lnTo>
                  <a:pt x="6730" y="3003"/>
                </a:lnTo>
                <a:lnTo>
                  <a:pt x="6743" y="3002"/>
                </a:lnTo>
                <a:lnTo>
                  <a:pt x="6756" y="3000"/>
                </a:lnTo>
                <a:lnTo>
                  <a:pt x="6762" y="3000"/>
                </a:lnTo>
                <a:lnTo>
                  <a:pt x="6768" y="2999"/>
                </a:lnTo>
                <a:lnTo>
                  <a:pt x="6771" y="2999"/>
                </a:lnTo>
                <a:lnTo>
                  <a:pt x="6775" y="2998"/>
                </a:lnTo>
                <a:lnTo>
                  <a:pt x="6785" y="2997"/>
                </a:lnTo>
                <a:lnTo>
                  <a:pt x="6795" y="2996"/>
                </a:lnTo>
                <a:lnTo>
                  <a:pt x="6801" y="2995"/>
                </a:lnTo>
                <a:lnTo>
                  <a:pt x="6808" y="2994"/>
                </a:lnTo>
                <a:lnTo>
                  <a:pt x="6821" y="2993"/>
                </a:lnTo>
                <a:lnTo>
                  <a:pt x="6832" y="2992"/>
                </a:lnTo>
                <a:lnTo>
                  <a:pt x="6835" y="2990"/>
                </a:lnTo>
                <a:lnTo>
                  <a:pt x="6839" y="2990"/>
                </a:lnTo>
                <a:lnTo>
                  <a:pt x="6842" y="2990"/>
                </a:lnTo>
                <a:lnTo>
                  <a:pt x="6844" y="2989"/>
                </a:lnTo>
                <a:lnTo>
                  <a:pt x="6845" y="2989"/>
                </a:lnTo>
                <a:lnTo>
                  <a:pt x="6845" y="2989"/>
                </a:lnTo>
                <a:lnTo>
                  <a:pt x="6857" y="2988"/>
                </a:lnTo>
                <a:lnTo>
                  <a:pt x="6868" y="2986"/>
                </a:lnTo>
                <a:lnTo>
                  <a:pt x="6874" y="2985"/>
                </a:lnTo>
                <a:lnTo>
                  <a:pt x="6880" y="2985"/>
                </a:lnTo>
                <a:lnTo>
                  <a:pt x="6888" y="2984"/>
                </a:lnTo>
                <a:lnTo>
                  <a:pt x="6895" y="2983"/>
                </a:lnTo>
                <a:lnTo>
                  <a:pt x="6899" y="2982"/>
                </a:lnTo>
                <a:lnTo>
                  <a:pt x="6903" y="2982"/>
                </a:lnTo>
                <a:lnTo>
                  <a:pt x="6909" y="2981"/>
                </a:lnTo>
                <a:lnTo>
                  <a:pt x="6914" y="2980"/>
                </a:lnTo>
                <a:lnTo>
                  <a:pt x="6926" y="2979"/>
                </a:lnTo>
                <a:lnTo>
                  <a:pt x="6936" y="2977"/>
                </a:lnTo>
                <a:lnTo>
                  <a:pt x="6941" y="2976"/>
                </a:lnTo>
                <a:lnTo>
                  <a:pt x="6947" y="2976"/>
                </a:lnTo>
                <a:lnTo>
                  <a:pt x="6948" y="2975"/>
                </a:lnTo>
                <a:lnTo>
                  <a:pt x="6949" y="2975"/>
                </a:lnTo>
                <a:lnTo>
                  <a:pt x="6950" y="2975"/>
                </a:lnTo>
                <a:lnTo>
                  <a:pt x="6953" y="2975"/>
                </a:lnTo>
                <a:lnTo>
                  <a:pt x="6953" y="2975"/>
                </a:lnTo>
                <a:lnTo>
                  <a:pt x="6954" y="2975"/>
                </a:lnTo>
                <a:lnTo>
                  <a:pt x="6961" y="2974"/>
                </a:lnTo>
                <a:lnTo>
                  <a:pt x="6968" y="2973"/>
                </a:lnTo>
                <a:lnTo>
                  <a:pt x="6973" y="2972"/>
                </a:lnTo>
                <a:lnTo>
                  <a:pt x="6978" y="2971"/>
                </a:lnTo>
                <a:lnTo>
                  <a:pt x="6989" y="2969"/>
                </a:lnTo>
                <a:lnTo>
                  <a:pt x="6998" y="2968"/>
                </a:lnTo>
                <a:lnTo>
                  <a:pt x="6998" y="2968"/>
                </a:lnTo>
                <a:lnTo>
                  <a:pt x="6998" y="2968"/>
                </a:lnTo>
                <a:lnTo>
                  <a:pt x="7001" y="2968"/>
                </a:lnTo>
                <a:lnTo>
                  <a:pt x="7003" y="2967"/>
                </a:lnTo>
                <a:lnTo>
                  <a:pt x="7005" y="2967"/>
                </a:lnTo>
                <a:lnTo>
                  <a:pt x="7008" y="2966"/>
                </a:lnTo>
                <a:lnTo>
                  <a:pt x="7017" y="2965"/>
                </a:lnTo>
                <a:lnTo>
                  <a:pt x="7027" y="2963"/>
                </a:lnTo>
                <a:lnTo>
                  <a:pt x="7032" y="2962"/>
                </a:lnTo>
                <a:lnTo>
                  <a:pt x="7036" y="2961"/>
                </a:lnTo>
                <a:lnTo>
                  <a:pt x="7041" y="2961"/>
                </a:lnTo>
                <a:lnTo>
                  <a:pt x="7045" y="2960"/>
                </a:lnTo>
                <a:lnTo>
                  <a:pt x="7046" y="2960"/>
                </a:lnTo>
                <a:lnTo>
                  <a:pt x="7047" y="2960"/>
                </a:lnTo>
                <a:lnTo>
                  <a:pt x="7048" y="2959"/>
                </a:lnTo>
                <a:lnTo>
                  <a:pt x="7050" y="2959"/>
                </a:lnTo>
                <a:lnTo>
                  <a:pt x="7051" y="2959"/>
                </a:lnTo>
                <a:lnTo>
                  <a:pt x="7054" y="2958"/>
                </a:lnTo>
                <a:lnTo>
                  <a:pt x="7058" y="2958"/>
                </a:lnTo>
                <a:lnTo>
                  <a:pt x="7063" y="2956"/>
                </a:lnTo>
                <a:lnTo>
                  <a:pt x="7071" y="2954"/>
                </a:lnTo>
                <a:lnTo>
                  <a:pt x="7079" y="2953"/>
                </a:lnTo>
                <a:lnTo>
                  <a:pt x="7082" y="2952"/>
                </a:lnTo>
                <a:lnTo>
                  <a:pt x="7087" y="2951"/>
                </a:lnTo>
                <a:lnTo>
                  <a:pt x="7089" y="2951"/>
                </a:lnTo>
                <a:lnTo>
                  <a:pt x="7090" y="2950"/>
                </a:lnTo>
                <a:lnTo>
                  <a:pt x="7097" y="2949"/>
                </a:lnTo>
                <a:lnTo>
                  <a:pt x="7103" y="2948"/>
                </a:lnTo>
                <a:lnTo>
                  <a:pt x="7107" y="2947"/>
                </a:lnTo>
                <a:lnTo>
                  <a:pt x="7111" y="2946"/>
                </a:lnTo>
                <a:lnTo>
                  <a:pt x="7116" y="2945"/>
                </a:lnTo>
                <a:lnTo>
                  <a:pt x="7123" y="2943"/>
                </a:lnTo>
                <a:lnTo>
                  <a:pt x="7124" y="2943"/>
                </a:lnTo>
                <a:lnTo>
                  <a:pt x="7126" y="2943"/>
                </a:lnTo>
                <a:lnTo>
                  <a:pt x="7127" y="2942"/>
                </a:lnTo>
                <a:lnTo>
                  <a:pt x="7128" y="2942"/>
                </a:lnTo>
                <a:lnTo>
                  <a:pt x="7130" y="2941"/>
                </a:lnTo>
                <a:lnTo>
                  <a:pt x="7133" y="2941"/>
                </a:lnTo>
                <a:lnTo>
                  <a:pt x="7139" y="2939"/>
                </a:lnTo>
                <a:lnTo>
                  <a:pt x="7145" y="2938"/>
                </a:lnTo>
                <a:lnTo>
                  <a:pt x="7149" y="2937"/>
                </a:lnTo>
                <a:lnTo>
                  <a:pt x="7152" y="2936"/>
                </a:lnTo>
                <a:lnTo>
                  <a:pt x="7156" y="2935"/>
                </a:lnTo>
                <a:lnTo>
                  <a:pt x="7159" y="2934"/>
                </a:lnTo>
                <a:lnTo>
                  <a:pt x="7161" y="2934"/>
                </a:lnTo>
                <a:lnTo>
                  <a:pt x="7162" y="2933"/>
                </a:lnTo>
                <a:lnTo>
                  <a:pt x="7164" y="2933"/>
                </a:lnTo>
                <a:lnTo>
                  <a:pt x="7165" y="2933"/>
                </a:lnTo>
                <a:lnTo>
                  <a:pt x="7168" y="2932"/>
                </a:lnTo>
                <a:lnTo>
                  <a:pt x="7171" y="2931"/>
                </a:lnTo>
                <a:lnTo>
                  <a:pt x="7176" y="2929"/>
                </a:lnTo>
                <a:lnTo>
                  <a:pt x="7182" y="2928"/>
                </a:lnTo>
                <a:lnTo>
                  <a:pt x="7184" y="2927"/>
                </a:lnTo>
                <a:lnTo>
                  <a:pt x="7188" y="2926"/>
                </a:lnTo>
                <a:lnTo>
                  <a:pt x="7189" y="2926"/>
                </a:lnTo>
                <a:lnTo>
                  <a:pt x="7189" y="2925"/>
                </a:lnTo>
                <a:lnTo>
                  <a:pt x="7190" y="2925"/>
                </a:lnTo>
                <a:lnTo>
                  <a:pt x="7190" y="2925"/>
                </a:lnTo>
                <a:lnTo>
                  <a:pt x="7194" y="2924"/>
                </a:lnTo>
                <a:lnTo>
                  <a:pt x="7198" y="2921"/>
                </a:lnTo>
                <a:lnTo>
                  <a:pt x="7200" y="2920"/>
                </a:lnTo>
                <a:lnTo>
                  <a:pt x="7203" y="2919"/>
                </a:lnTo>
                <a:lnTo>
                  <a:pt x="7207" y="2918"/>
                </a:lnTo>
                <a:lnTo>
                  <a:pt x="7211" y="2916"/>
                </a:lnTo>
                <a:lnTo>
                  <a:pt x="7213" y="2916"/>
                </a:lnTo>
                <a:lnTo>
                  <a:pt x="7214" y="2915"/>
                </a:lnTo>
                <a:lnTo>
                  <a:pt x="7215" y="2915"/>
                </a:lnTo>
                <a:lnTo>
                  <a:pt x="7216" y="2914"/>
                </a:lnTo>
                <a:lnTo>
                  <a:pt x="7219" y="2913"/>
                </a:lnTo>
                <a:lnTo>
                  <a:pt x="7224" y="2911"/>
                </a:lnTo>
                <a:lnTo>
                  <a:pt x="7226" y="2910"/>
                </a:lnTo>
                <a:lnTo>
                  <a:pt x="7228" y="2909"/>
                </a:lnTo>
                <a:lnTo>
                  <a:pt x="7231" y="2907"/>
                </a:lnTo>
                <a:lnTo>
                  <a:pt x="7233" y="2906"/>
                </a:lnTo>
                <a:lnTo>
                  <a:pt x="7234" y="2906"/>
                </a:lnTo>
                <a:lnTo>
                  <a:pt x="7234" y="2905"/>
                </a:lnTo>
                <a:lnTo>
                  <a:pt x="7235" y="2905"/>
                </a:lnTo>
                <a:lnTo>
                  <a:pt x="7235" y="2905"/>
                </a:lnTo>
                <a:lnTo>
                  <a:pt x="7236" y="2905"/>
                </a:lnTo>
                <a:lnTo>
                  <a:pt x="7236" y="2904"/>
                </a:lnTo>
                <a:lnTo>
                  <a:pt x="7236" y="2904"/>
                </a:lnTo>
                <a:lnTo>
                  <a:pt x="7237" y="2904"/>
                </a:lnTo>
                <a:lnTo>
                  <a:pt x="7239" y="2902"/>
                </a:lnTo>
                <a:lnTo>
                  <a:pt x="7242" y="2900"/>
                </a:lnTo>
                <a:lnTo>
                  <a:pt x="7243" y="2899"/>
                </a:lnTo>
                <a:lnTo>
                  <a:pt x="7244" y="2898"/>
                </a:lnTo>
                <a:lnTo>
                  <a:pt x="7245" y="2897"/>
                </a:lnTo>
                <a:lnTo>
                  <a:pt x="7246" y="2897"/>
                </a:lnTo>
                <a:lnTo>
                  <a:pt x="7247" y="2896"/>
                </a:lnTo>
                <a:lnTo>
                  <a:pt x="7248" y="2895"/>
                </a:lnTo>
                <a:lnTo>
                  <a:pt x="7248" y="2895"/>
                </a:lnTo>
                <a:lnTo>
                  <a:pt x="7248" y="2895"/>
                </a:lnTo>
                <a:lnTo>
                  <a:pt x="7249" y="2894"/>
                </a:lnTo>
                <a:lnTo>
                  <a:pt x="7250" y="2893"/>
                </a:lnTo>
                <a:lnTo>
                  <a:pt x="7252" y="2891"/>
                </a:lnTo>
                <a:lnTo>
                  <a:pt x="7253" y="2890"/>
                </a:lnTo>
                <a:lnTo>
                  <a:pt x="7253" y="2888"/>
                </a:lnTo>
                <a:lnTo>
                  <a:pt x="7255" y="2887"/>
                </a:lnTo>
                <a:lnTo>
                  <a:pt x="7255" y="2886"/>
                </a:lnTo>
                <a:lnTo>
                  <a:pt x="7255" y="2886"/>
                </a:lnTo>
                <a:lnTo>
                  <a:pt x="8147" y="1196"/>
                </a:lnTo>
                <a:lnTo>
                  <a:pt x="8152" y="1186"/>
                </a:lnTo>
                <a:lnTo>
                  <a:pt x="8158" y="1174"/>
                </a:lnTo>
                <a:lnTo>
                  <a:pt x="8164" y="1164"/>
                </a:lnTo>
                <a:lnTo>
                  <a:pt x="8169" y="1154"/>
                </a:lnTo>
                <a:lnTo>
                  <a:pt x="8228" y="1044"/>
                </a:lnTo>
                <a:lnTo>
                  <a:pt x="8246" y="1007"/>
                </a:lnTo>
                <a:lnTo>
                  <a:pt x="8266" y="971"/>
                </a:lnTo>
                <a:lnTo>
                  <a:pt x="8284" y="935"/>
                </a:lnTo>
                <a:lnTo>
                  <a:pt x="8304" y="899"/>
                </a:lnTo>
                <a:lnTo>
                  <a:pt x="8322" y="864"/>
                </a:lnTo>
                <a:lnTo>
                  <a:pt x="8341" y="828"/>
                </a:lnTo>
                <a:lnTo>
                  <a:pt x="8359" y="793"/>
                </a:lnTo>
                <a:lnTo>
                  <a:pt x="8378" y="758"/>
                </a:lnTo>
                <a:lnTo>
                  <a:pt x="8420" y="679"/>
                </a:lnTo>
                <a:lnTo>
                  <a:pt x="8438" y="645"/>
                </a:lnTo>
                <a:lnTo>
                  <a:pt x="8455" y="612"/>
                </a:lnTo>
                <a:lnTo>
                  <a:pt x="8473" y="579"/>
                </a:lnTo>
                <a:lnTo>
                  <a:pt x="8489" y="546"/>
                </a:lnTo>
                <a:lnTo>
                  <a:pt x="8507" y="514"/>
                </a:lnTo>
                <a:lnTo>
                  <a:pt x="8524" y="481"/>
                </a:lnTo>
                <a:lnTo>
                  <a:pt x="8541" y="449"/>
                </a:lnTo>
                <a:lnTo>
                  <a:pt x="8557" y="417"/>
                </a:lnTo>
                <a:lnTo>
                  <a:pt x="8603" y="332"/>
                </a:lnTo>
                <a:lnTo>
                  <a:pt x="8605" y="328"/>
                </a:lnTo>
                <a:lnTo>
                  <a:pt x="8606" y="325"/>
                </a:lnTo>
                <a:lnTo>
                  <a:pt x="8606" y="319"/>
                </a:lnTo>
                <a:lnTo>
                  <a:pt x="8606" y="315"/>
                </a:lnTo>
                <a:close/>
              </a:path>
            </a:pathLst>
          </a:custGeom>
          <a:gradFill flip="none" rotWithShape="1">
            <a:gsLst>
              <a:gs pos="73000">
                <a:schemeClr val="accent1"/>
              </a:gs>
              <a:gs pos="31000">
                <a:schemeClr val="accent1">
                  <a:lumMod val="60000"/>
                  <a:lumOff val="40000"/>
                </a:schemeClr>
              </a:gs>
              <a:gs pos="0">
                <a:schemeClr val="accent1">
                  <a:lumMod val="40000"/>
                  <a:lumOff val="60000"/>
                </a:schemeClr>
              </a:gs>
            </a:gsLst>
            <a:lin ang="1080000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22222"/>
              </a:solidFill>
              <a:effectLst/>
              <a:uLnTx/>
              <a:uFillTx/>
              <a:latin typeface="Inter"/>
              <a:cs typeface="+mn-cs"/>
            </a:endParaRPr>
          </a:p>
        </p:txBody>
      </p:sp>
      <p:sp>
        <p:nvSpPr>
          <p:cNvPr id="10" name="Freeform 6">
            <a:extLst>
              <a:ext uri="{FF2B5EF4-FFF2-40B4-BE49-F238E27FC236}">
                <a16:creationId xmlns:a16="http://schemas.microsoft.com/office/drawing/2014/main" id="{09712713-6CAF-4DC7-941E-762B98609321}"/>
              </a:ext>
            </a:extLst>
          </p:cNvPr>
          <p:cNvSpPr>
            <a:spLocks/>
          </p:cNvSpPr>
          <p:nvPr/>
        </p:nvSpPr>
        <p:spPr bwMode="auto">
          <a:xfrm flipV="1">
            <a:off x="4839949" y="4841523"/>
            <a:ext cx="2510351" cy="185563"/>
          </a:xfrm>
          <a:custGeom>
            <a:avLst/>
            <a:gdLst>
              <a:gd name="T0" fmla="*/ 8576 w 8606"/>
              <a:gd name="T1" fmla="*/ 357 h 638"/>
              <a:gd name="T2" fmla="*/ 8451 w 8606"/>
              <a:gd name="T3" fmla="*/ 404 h 638"/>
              <a:gd name="T4" fmla="*/ 8238 w 8606"/>
              <a:gd name="T5" fmla="*/ 448 h 638"/>
              <a:gd name="T6" fmla="*/ 7944 w 8606"/>
              <a:gd name="T7" fmla="*/ 489 h 638"/>
              <a:gd name="T8" fmla="*/ 7575 w 8606"/>
              <a:gd name="T9" fmla="*/ 526 h 638"/>
              <a:gd name="T10" fmla="*/ 7140 w 8606"/>
              <a:gd name="T11" fmla="*/ 558 h 638"/>
              <a:gd name="T12" fmla="*/ 6646 w 8606"/>
              <a:gd name="T13" fmla="*/ 586 h 638"/>
              <a:gd name="T14" fmla="*/ 6101 w 8606"/>
              <a:gd name="T15" fmla="*/ 609 h 638"/>
              <a:gd name="T16" fmla="*/ 5511 w 8606"/>
              <a:gd name="T17" fmla="*/ 625 h 638"/>
              <a:gd name="T18" fmla="*/ 4884 w 8606"/>
              <a:gd name="T19" fmla="*/ 635 h 638"/>
              <a:gd name="T20" fmla="*/ 4228 w 8606"/>
              <a:gd name="T21" fmla="*/ 638 h 638"/>
              <a:gd name="T22" fmla="*/ 3574 w 8606"/>
              <a:gd name="T23" fmla="*/ 634 h 638"/>
              <a:gd name="T24" fmla="*/ 2952 w 8606"/>
              <a:gd name="T25" fmla="*/ 622 h 638"/>
              <a:gd name="T26" fmla="*/ 2370 w 8606"/>
              <a:gd name="T27" fmla="*/ 604 h 638"/>
              <a:gd name="T28" fmla="*/ 1835 w 8606"/>
              <a:gd name="T29" fmla="*/ 580 h 638"/>
              <a:gd name="T30" fmla="*/ 1355 w 8606"/>
              <a:gd name="T31" fmla="*/ 551 h 638"/>
              <a:gd name="T32" fmla="*/ 935 w 8606"/>
              <a:gd name="T33" fmla="*/ 517 h 638"/>
              <a:gd name="T34" fmla="*/ 585 w 8606"/>
              <a:gd name="T35" fmla="*/ 479 h 638"/>
              <a:gd name="T36" fmla="*/ 309 w 8606"/>
              <a:gd name="T37" fmla="*/ 438 h 638"/>
              <a:gd name="T38" fmla="*/ 117 w 8606"/>
              <a:gd name="T39" fmla="*/ 394 h 638"/>
              <a:gd name="T40" fmla="*/ 15 w 8606"/>
              <a:gd name="T41" fmla="*/ 346 h 638"/>
              <a:gd name="T42" fmla="*/ 9 w 8606"/>
              <a:gd name="T43" fmla="*/ 297 h 638"/>
              <a:gd name="T44" fmla="*/ 103 w 8606"/>
              <a:gd name="T45" fmla="*/ 249 h 638"/>
              <a:gd name="T46" fmla="*/ 288 w 8606"/>
              <a:gd name="T47" fmla="*/ 204 h 638"/>
              <a:gd name="T48" fmla="*/ 556 w 8606"/>
              <a:gd name="T49" fmla="*/ 162 h 638"/>
              <a:gd name="T50" fmla="*/ 900 w 8606"/>
              <a:gd name="T51" fmla="*/ 124 h 638"/>
              <a:gd name="T52" fmla="*/ 1313 w 8606"/>
              <a:gd name="T53" fmla="*/ 90 h 638"/>
              <a:gd name="T54" fmla="*/ 1789 w 8606"/>
              <a:gd name="T55" fmla="*/ 60 h 638"/>
              <a:gd name="T56" fmla="*/ 2318 w 8606"/>
              <a:gd name="T57" fmla="*/ 36 h 638"/>
              <a:gd name="T58" fmla="*/ 2894 w 8606"/>
              <a:gd name="T59" fmla="*/ 18 h 638"/>
              <a:gd name="T60" fmla="*/ 3510 w 8606"/>
              <a:gd name="T61" fmla="*/ 5 h 638"/>
              <a:gd name="T62" fmla="*/ 4156 w 8606"/>
              <a:gd name="T63" fmla="*/ 0 h 638"/>
              <a:gd name="T64" fmla="*/ 4818 w 8606"/>
              <a:gd name="T65" fmla="*/ 2 h 638"/>
              <a:gd name="T66" fmla="*/ 5451 w 8606"/>
              <a:gd name="T67" fmla="*/ 11 h 638"/>
              <a:gd name="T68" fmla="*/ 6046 w 8606"/>
              <a:gd name="T69" fmla="*/ 27 h 638"/>
              <a:gd name="T70" fmla="*/ 6598 w 8606"/>
              <a:gd name="T71" fmla="*/ 48 h 638"/>
              <a:gd name="T72" fmla="*/ 7098 w 8606"/>
              <a:gd name="T73" fmla="*/ 76 h 638"/>
              <a:gd name="T74" fmla="*/ 7538 w 8606"/>
              <a:gd name="T75" fmla="*/ 108 h 638"/>
              <a:gd name="T76" fmla="*/ 7913 w 8606"/>
              <a:gd name="T77" fmla="*/ 145 h 638"/>
              <a:gd name="T78" fmla="*/ 8214 w 8606"/>
              <a:gd name="T79" fmla="*/ 185 h 638"/>
              <a:gd name="T80" fmla="*/ 8435 w 8606"/>
              <a:gd name="T81" fmla="*/ 230 h 638"/>
              <a:gd name="T82" fmla="*/ 8568 w 8606"/>
              <a:gd name="T83" fmla="*/ 276 h 638"/>
              <a:gd name="T84" fmla="*/ 8606 w 8606"/>
              <a:gd name="T85" fmla="*/ 325 h 6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606" h="638">
                <a:moveTo>
                  <a:pt x="8606" y="325"/>
                </a:moveTo>
                <a:lnTo>
                  <a:pt x="8597" y="341"/>
                </a:lnTo>
                <a:lnTo>
                  <a:pt x="8576" y="357"/>
                </a:lnTo>
                <a:lnTo>
                  <a:pt x="8545" y="373"/>
                </a:lnTo>
                <a:lnTo>
                  <a:pt x="8503" y="388"/>
                </a:lnTo>
                <a:lnTo>
                  <a:pt x="8451" y="404"/>
                </a:lnTo>
                <a:lnTo>
                  <a:pt x="8389" y="419"/>
                </a:lnTo>
                <a:lnTo>
                  <a:pt x="8318" y="434"/>
                </a:lnTo>
                <a:lnTo>
                  <a:pt x="8238" y="448"/>
                </a:lnTo>
                <a:lnTo>
                  <a:pt x="8149" y="463"/>
                </a:lnTo>
                <a:lnTo>
                  <a:pt x="8050" y="476"/>
                </a:lnTo>
                <a:lnTo>
                  <a:pt x="7944" y="489"/>
                </a:lnTo>
                <a:lnTo>
                  <a:pt x="7829" y="502"/>
                </a:lnTo>
                <a:lnTo>
                  <a:pt x="7706" y="514"/>
                </a:lnTo>
                <a:lnTo>
                  <a:pt x="7575" y="526"/>
                </a:lnTo>
                <a:lnTo>
                  <a:pt x="7437" y="538"/>
                </a:lnTo>
                <a:lnTo>
                  <a:pt x="7293" y="548"/>
                </a:lnTo>
                <a:lnTo>
                  <a:pt x="7140" y="558"/>
                </a:lnTo>
                <a:lnTo>
                  <a:pt x="6982" y="569"/>
                </a:lnTo>
                <a:lnTo>
                  <a:pt x="6817" y="578"/>
                </a:lnTo>
                <a:lnTo>
                  <a:pt x="6646" y="586"/>
                </a:lnTo>
                <a:lnTo>
                  <a:pt x="6470" y="594"/>
                </a:lnTo>
                <a:lnTo>
                  <a:pt x="6288" y="602"/>
                </a:lnTo>
                <a:lnTo>
                  <a:pt x="6101" y="609"/>
                </a:lnTo>
                <a:lnTo>
                  <a:pt x="5908" y="615"/>
                </a:lnTo>
                <a:lnTo>
                  <a:pt x="5712" y="620"/>
                </a:lnTo>
                <a:lnTo>
                  <a:pt x="5511" y="625"/>
                </a:lnTo>
                <a:lnTo>
                  <a:pt x="5305" y="629"/>
                </a:lnTo>
                <a:lnTo>
                  <a:pt x="5096" y="633"/>
                </a:lnTo>
                <a:lnTo>
                  <a:pt x="4884" y="635"/>
                </a:lnTo>
                <a:lnTo>
                  <a:pt x="4668" y="637"/>
                </a:lnTo>
                <a:lnTo>
                  <a:pt x="4450" y="638"/>
                </a:lnTo>
                <a:lnTo>
                  <a:pt x="4228" y="638"/>
                </a:lnTo>
                <a:lnTo>
                  <a:pt x="4007" y="637"/>
                </a:lnTo>
                <a:lnTo>
                  <a:pt x="3788" y="636"/>
                </a:lnTo>
                <a:lnTo>
                  <a:pt x="3574" y="634"/>
                </a:lnTo>
                <a:lnTo>
                  <a:pt x="3362" y="630"/>
                </a:lnTo>
                <a:lnTo>
                  <a:pt x="3155" y="626"/>
                </a:lnTo>
                <a:lnTo>
                  <a:pt x="2952" y="622"/>
                </a:lnTo>
                <a:lnTo>
                  <a:pt x="2753" y="617"/>
                </a:lnTo>
                <a:lnTo>
                  <a:pt x="2560" y="611"/>
                </a:lnTo>
                <a:lnTo>
                  <a:pt x="2370" y="604"/>
                </a:lnTo>
                <a:lnTo>
                  <a:pt x="2186" y="596"/>
                </a:lnTo>
                <a:lnTo>
                  <a:pt x="2008" y="589"/>
                </a:lnTo>
                <a:lnTo>
                  <a:pt x="1835" y="580"/>
                </a:lnTo>
                <a:lnTo>
                  <a:pt x="1669" y="571"/>
                </a:lnTo>
                <a:lnTo>
                  <a:pt x="1508" y="561"/>
                </a:lnTo>
                <a:lnTo>
                  <a:pt x="1355" y="551"/>
                </a:lnTo>
                <a:lnTo>
                  <a:pt x="1207" y="541"/>
                </a:lnTo>
                <a:lnTo>
                  <a:pt x="1068" y="530"/>
                </a:lnTo>
                <a:lnTo>
                  <a:pt x="935" y="517"/>
                </a:lnTo>
                <a:lnTo>
                  <a:pt x="810" y="505"/>
                </a:lnTo>
                <a:lnTo>
                  <a:pt x="693" y="492"/>
                </a:lnTo>
                <a:lnTo>
                  <a:pt x="585" y="479"/>
                </a:lnTo>
                <a:lnTo>
                  <a:pt x="484" y="466"/>
                </a:lnTo>
                <a:lnTo>
                  <a:pt x="392" y="452"/>
                </a:lnTo>
                <a:lnTo>
                  <a:pt x="309" y="438"/>
                </a:lnTo>
                <a:lnTo>
                  <a:pt x="235" y="423"/>
                </a:lnTo>
                <a:lnTo>
                  <a:pt x="171" y="408"/>
                </a:lnTo>
                <a:lnTo>
                  <a:pt x="117" y="394"/>
                </a:lnTo>
                <a:lnTo>
                  <a:pt x="72" y="378"/>
                </a:lnTo>
                <a:lnTo>
                  <a:pt x="38" y="362"/>
                </a:lnTo>
                <a:lnTo>
                  <a:pt x="15" y="346"/>
                </a:lnTo>
                <a:lnTo>
                  <a:pt x="2" y="330"/>
                </a:lnTo>
                <a:lnTo>
                  <a:pt x="0" y="313"/>
                </a:lnTo>
                <a:lnTo>
                  <a:pt x="9" y="297"/>
                </a:lnTo>
                <a:lnTo>
                  <a:pt x="30" y="280"/>
                </a:lnTo>
                <a:lnTo>
                  <a:pt x="61" y="265"/>
                </a:lnTo>
                <a:lnTo>
                  <a:pt x="103" y="249"/>
                </a:lnTo>
                <a:lnTo>
                  <a:pt x="155" y="234"/>
                </a:lnTo>
                <a:lnTo>
                  <a:pt x="217" y="218"/>
                </a:lnTo>
                <a:lnTo>
                  <a:pt x="288" y="204"/>
                </a:lnTo>
                <a:lnTo>
                  <a:pt x="368" y="190"/>
                </a:lnTo>
                <a:lnTo>
                  <a:pt x="457" y="175"/>
                </a:lnTo>
                <a:lnTo>
                  <a:pt x="556" y="162"/>
                </a:lnTo>
                <a:lnTo>
                  <a:pt x="662" y="148"/>
                </a:lnTo>
                <a:lnTo>
                  <a:pt x="777" y="136"/>
                </a:lnTo>
                <a:lnTo>
                  <a:pt x="900" y="124"/>
                </a:lnTo>
                <a:lnTo>
                  <a:pt x="1031" y="111"/>
                </a:lnTo>
                <a:lnTo>
                  <a:pt x="1169" y="100"/>
                </a:lnTo>
                <a:lnTo>
                  <a:pt x="1313" y="90"/>
                </a:lnTo>
                <a:lnTo>
                  <a:pt x="1466" y="79"/>
                </a:lnTo>
                <a:lnTo>
                  <a:pt x="1624" y="69"/>
                </a:lnTo>
                <a:lnTo>
                  <a:pt x="1789" y="60"/>
                </a:lnTo>
                <a:lnTo>
                  <a:pt x="1960" y="52"/>
                </a:lnTo>
                <a:lnTo>
                  <a:pt x="2136" y="43"/>
                </a:lnTo>
                <a:lnTo>
                  <a:pt x="2318" y="36"/>
                </a:lnTo>
                <a:lnTo>
                  <a:pt x="2505" y="29"/>
                </a:lnTo>
                <a:lnTo>
                  <a:pt x="2698" y="23"/>
                </a:lnTo>
                <a:lnTo>
                  <a:pt x="2894" y="18"/>
                </a:lnTo>
                <a:lnTo>
                  <a:pt x="3095" y="12"/>
                </a:lnTo>
                <a:lnTo>
                  <a:pt x="3301" y="8"/>
                </a:lnTo>
                <a:lnTo>
                  <a:pt x="3510" y="5"/>
                </a:lnTo>
                <a:lnTo>
                  <a:pt x="3722" y="3"/>
                </a:lnTo>
                <a:lnTo>
                  <a:pt x="3938" y="1"/>
                </a:lnTo>
                <a:lnTo>
                  <a:pt x="4156" y="0"/>
                </a:lnTo>
                <a:lnTo>
                  <a:pt x="4378" y="0"/>
                </a:lnTo>
                <a:lnTo>
                  <a:pt x="4599" y="1"/>
                </a:lnTo>
                <a:lnTo>
                  <a:pt x="4818" y="2"/>
                </a:lnTo>
                <a:lnTo>
                  <a:pt x="5032" y="4"/>
                </a:lnTo>
                <a:lnTo>
                  <a:pt x="5244" y="7"/>
                </a:lnTo>
                <a:lnTo>
                  <a:pt x="5451" y="11"/>
                </a:lnTo>
                <a:lnTo>
                  <a:pt x="5654" y="15"/>
                </a:lnTo>
                <a:lnTo>
                  <a:pt x="5853" y="21"/>
                </a:lnTo>
                <a:lnTo>
                  <a:pt x="6046" y="27"/>
                </a:lnTo>
                <a:lnTo>
                  <a:pt x="6236" y="34"/>
                </a:lnTo>
                <a:lnTo>
                  <a:pt x="6420" y="41"/>
                </a:lnTo>
                <a:lnTo>
                  <a:pt x="6598" y="48"/>
                </a:lnTo>
                <a:lnTo>
                  <a:pt x="6771" y="58"/>
                </a:lnTo>
                <a:lnTo>
                  <a:pt x="6937" y="67"/>
                </a:lnTo>
                <a:lnTo>
                  <a:pt x="7098" y="76"/>
                </a:lnTo>
                <a:lnTo>
                  <a:pt x="7251" y="87"/>
                </a:lnTo>
                <a:lnTo>
                  <a:pt x="7399" y="97"/>
                </a:lnTo>
                <a:lnTo>
                  <a:pt x="7538" y="108"/>
                </a:lnTo>
                <a:lnTo>
                  <a:pt x="7671" y="121"/>
                </a:lnTo>
                <a:lnTo>
                  <a:pt x="7796" y="133"/>
                </a:lnTo>
                <a:lnTo>
                  <a:pt x="7913" y="145"/>
                </a:lnTo>
                <a:lnTo>
                  <a:pt x="8021" y="159"/>
                </a:lnTo>
                <a:lnTo>
                  <a:pt x="8122" y="172"/>
                </a:lnTo>
                <a:lnTo>
                  <a:pt x="8214" y="185"/>
                </a:lnTo>
                <a:lnTo>
                  <a:pt x="8297" y="200"/>
                </a:lnTo>
                <a:lnTo>
                  <a:pt x="8371" y="214"/>
                </a:lnTo>
                <a:lnTo>
                  <a:pt x="8435" y="230"/>
                </a:lnTo>
                <a:lnTo>
                  <a:pt x="8489" y="244"/>
                </a:lnTo>
                <a:lnTo>
                  <a:pt x="8534" y="260"/>
                </a:lnTo>
                <a:lnTo>
                  <a:pt x="8568" y="276"/>
                </a:lnTo>
                <a:lnTo>
                  <a:pt x="8591" y="292"/>
                </a:lnTo>
                <a:lnTo>
                  <a:pt x="8604" y="308"/>
                </a:lnTo>
                <a:lnTo>
                  <a:pt x="8606" y="325"/>
                </a:lnTo>
                <a:close/>
              </a:path>
            </a:pathLst>
          </a:custGeom>
          <a:gradFill>
            <a:gsLst>
              <a:gs pos="0">
                <a:schemeClr val="accent1">
                  <a:lumMod val="40000"/>
                  <a:lumOff val="60000"/>
                </a:schemeClr>
              </a:gs>
              <a:gs pos="100000">
                <a:schemeClr val="accent1"/>
              </a:gs>
            </a:gsLst>
            <a:path path="circle">
              <a:fillToRect r="100000" b="100000"/>
            </a:path>
          </a:gradFill>
          <a:ln w="1270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armonyOS Sans SC"/>
              <a:cs typeface="+mn-cs"/>
            </a:endParaRPr>
          </a:p>
        </p:txBody>
      </p:sp>
      <p:sp>
        <p:nvSpPr>
          <p:cNvPr id="11" name="Freeform 11">
            <a:extLst>
              <a:ext uri="{FF2B5EF4-FFF2-40B4-BE49-F238E27FC236}">
                <a16:creationId xmlns:a16="http://schemas.microsoft.com/office/drawing/2014/main" id="{5320B016-5861-4768-B890-30B531466ED1}"/>
              </a:ext>
            </a:extLst>
          </p:cNvPr>
          <p:cNvSpPr>
            <a:spLocks/>
          </p:cNvSpPr>
          <p:nvPr/>
        </p:nvSpPr>
        <p:spPr bwMode="auto">
          <a:xfrm flipV="1">
            <a:off x="4400550" y="5115140"/>
            <a:ext cx="3390900" cy="969829"/>
          </a:xfrm>
          <a:custGeom>
            <a:avLst/>
            <a:gdLst>
              <a:gd name="T0" fmla="*/ 11508 w 11623"/>
              <a:gd name="T1" fmla="*/ 345 h 3321"/>
              <a:gd name="T2" fmla="*/ 11315 w 11623"/>
              <a:gd name="T3" fmla="*/ 292 h 3321"/>
              <a:gd name="T4" fmla="*/ 11036 w 11623"/>
              <a:gd name="T5" fmla="*/ 242 h 3321"/>
              <a:gd name="T6" fmla="*/ 10780 w 11623"/>
              <a:gd name="T7" fmla="*/ 207 h 3321"/>
              <a:gd name="T8" fmla="*/ 10530 w 11623"/>
              <a:gd name="T9" fmla="*/ 179 h 3321"/>
              <a:gd name="T10" fmla="*/ 10139 w 11623"/>
              <a:gd name="T11" fmla="*/ 143 h 3321"/>
              <a:gd name="T12" fmla="*/ 9726 w 11623"/>
              <a:gd name="T13" fmla="*/ 112 h 3321"/>
              <a:gd name="T14" fmla="*/ 9415 w 11623"/>
              <a:gd name="T15" fmla="*/ 92 h 3321"/>
              <a:gd name="T16" fmla="*/ 9091 w 11623"/>
              <a:gd name="T17" fmla="*/ 75 h 3321"/>
              <a:gd name="T18" fmla="*/ 8768 w 11623"/>
              <a:gd name="T19" fmla="*/ 59 h 3321"/>
              <a:gd name="T20" fmla="*/ 8307 w 11623"/>
              <a:gd name="T21" fmla="*/ 42 h 3321"/>
              <a:gd name="T22" fmla="*/ 7855 w 11623"/>
              <a:gd name="T23" fmla="*/ 27 h 3321"/>
              <a:gd name="T24" fmla="*/ 7315 w 11623"/>
              <a:gd name="T25" fmla="*/ 14 h 3321"/>
              <a:gd name="T26" fmla="*/ 6999 w 11623"/>
              <a:gd name="T27" fmla="*/ 9 h 3321"/>
              <a:gd name="T28" fmla="*/ 6674 w 11623"/>
              <a:gd name="T29" fmla="*/ 5 h 3321"/>
              <a:gd name="T30" fmla="*/ 6231 w 11623"/>
              <a:gd name="T31" fmla="*/ 1 h 3321"/>
              <a:gd name="T32" fmla="*/ 5916 w 11623"/>
              <a:gd name="T33" fmla="*/ 0 h 3321"/>
              <a:gd name="T34" fmla="*/ 5601 w 11623"/>
              <a:gd name="T35" fmla="*/ 0 h 3321"/>
              <a:gd name="T36" fmla="*/ 5292 w 11623"/>
              <a:gd name="T37" fmla="*/ 2 h 3321"/>
              <a:gd name="T38" fmla="*/ 4857 w 11623"/>
              <a:gd name="T39" fmla="*/ 6 h 3321"/>
              <a:gd name="T40" fmla="*/ 4419 w 11623"/>
              <a:gd name="T41" fmla="*/ 12 h 3321"/>
              <a:gd name="T42" fmla="*/ 3960 w 11623"/>
              <a:gd name="T43" fmla="*/ 22 h 3321"/>
              <a:gd name="T44" fmla="*/ 3625 w 11623"/>
              <a:gd name="T45" fmla="*/ 32 h 3321"/>
              <a:gd name="T46" fmla="*/ 3222 w 11623"/>
              <a:gd name="T47" fmla="*/ 45 h 3321"/>
              <a:gd name="T48" fmla="*/ 2802 w 11623"/>
              <a:gd name="T49" fmla="*/ 63 h 3321"/>
              <a:gd name="T50" fmla="*/ 2421 w 11623"/>
              <a:gd name="T51" fmla="*/ 81 h 3321"/>
              <a:gd name="T52" fmla="*/ 2003 w 11623"/>
              <a:gd name="T53" fmla="*/ 106 h 3321"/>
              <a:gd name="T54" fmla="*/ 1668 w 11623"/>
              <a:gd name="T55" fmla="*/ 128 h 3321"/>
              <a:gd name="T56" fmla="*/ 1299 w 11623"/>
              <a:gd name="T57" fmla="*/ 159 h 3321"/>
              <a:gd name="T58" fmla="*/ 1005 w 11623"/>
              <a:gd name="T59" fmla="*/ 188 h 3321"/>
              <a:gd name="T60" fmla="*/ 736 w 11623"/>
              <a:gd name="T61" fmla="*/ 220 h 3321"/>
              <a:gd name="T62" fmla="*/ 498 w 11623"/>
              <a:gd name="T63" fmla="*/ 256 h 3321"/>
              <a:gd name="T64" fmla="*/ 269 w 11623"/>
              <a:gd name="T65" fmla="*/ 300 h 3321"/>
              <a:gd name="T66" fmla="*/ 84 w 11623"/>
              <a:gd name="T67" fmla="*/ 357 h 3321"/>
              <a:gd name="T68" fmla="*/ 7 w 11623"/>
              <a:gd name="T69" fmla="*/ 409 h 3321"/>
              <a:gd name="T70" fmla="*/ 1015 w 11623"/>
              <a:gd name="T71" fmla="*/ 2364 h 3321"/>
              <a:gd name="T72" fmla="*/ 1429 w 11623"/>
              <a:gd name="T73" fmla="*/ 3052 h 3321"/>
              <a:gd name="T74" fmla="*/ 1636 w 11623"/>
              <a:gd name="T75" fmla="*/ 3107 h 3321"/>
              <a:gd name="T76" fmla="*/ 1901 w 11623"/>
              <a:gd name="T77" fmla="*/ 3149 h 3321"/>
              <a:gd name="T78" fmla="*/ 2181 w 11623"/>
              <a:gd name="T79" fmla="*/ 3182 h 3321"/>
              <a:gd name="T80" fmla="*/ 2445 w 11623"/>
              <a:gd name="T81" fmla="*/ 3206 h 3321"/>
              <a:gd name="T82" fmla="*/ 2682 w 11623"/>
              <a:gd name="T83" fmla="*/ 3226 h 3321"/>
              <a:gd name="T84" fmla="*/ 2976 w 11623"/>
              <a:gd name="T85" fmla="*/ 3246 h 3321"/>
              <a:gd name="T86" fmla="*/ 3333 w 11623"/>
              <a:gd name="T87" fmla="*/ 3265 h 3321"/>
              <a:gd name="T88" fmla="*/ 3779 w 11623"/>
              <a:gd name="T89" fmla="*/ 3285 h 3321"/>
              <a:gd name="T90" fmla="*/ 4315 w 11623"/>
              <a:gd name="T91" fmla="*/ 3301 h 3321"/>
              <a:gd name="T92" fmla="*/ 4877 w 11623"/>
              <a:gd name="T93" fmla="*/ 3314 h 3321"/>
              <a:gd name="T94" fmla="*/ 5419 w 11623"/>
              <a:gd name="T95" fmla="*/ 3320 h 3321"/>
              <a:gd name="T96" fmla="*/ 5947 w 11623"/>
              <a:gd name="T97" fmla="*/ 3321 h 3321"/>
              <a:gd name="T98" fmla="*/ 6477 w 11623"/>
              <a:gd name="T99" fmla="*/ 3317 h 3321"/>
              <a:gd name="T100" fmla="*/ 6967 w 11623"/>
              <a:gd name="T101" fmla="*/ 3309 h 3321"/>
              <a:gd name="T102" fmla="*/ 7400 w 11623"/>
              <a:gd name="T103" fmla="*/ 3299 h 3321"/>
              <a:gd name="T104" fmla="*/ 7729 w 11623"/>
              <a:gd name="T105" fmla="*/ 3289 h 3321"/>
              <a:gd name="T106" fmla="*/ 8090 w 11623"/>
              <a:gd name="T107" fmla="*/ 3274 h 3321"/>
              <a:gd name="T108" fmla="*/ 8659 w 11623"/>
              <a:gd name="T109" fmla="*/ 3245 h 3321"/>
              <a:gd name="T110" fmla="*/ 9012 w 11623"/>
              <a:gd name="T111" fmla="*/ 3220 h 3321"/>
              <a:gd name="T112" fmla="*/ 9410 w 11623"/>
              <a:gd name="T113" fmla="*/ 3186 h 3321"/>
              <a:gd name="T114" fmla="*/ 9774 w 11623"/>
              <a:gd name="T115" fmla="*/ 3142 h 3321"/>
              <a:gd name="T116" fmla="*/ 10017 w 11623"/>
              <a:gd name="T117" fmla="*/ 3100 h 3321"/>
              <a:gd name="T118" fmla="*/ 10179 w 11623"/>
              <a:gd name="T119" fmla="*/ 3058 h 3321"/>
              <a:gd name="T120" fmla="*/ 10263 w 11623"/>
              <a:gd name="T121" fmla="*/ 3012 h 3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1623" h="3321">
                <a:moveTo>
                  <a:pt x="11622" y="425"/>
                </a:moveTo>
                <a:lnTo>
                  <a:pt x="11622" y="423"/>
                </a:lnTo>
                <a:lnTo>
                  <a:pt x="11621" y="421"/>
                </a:lnTo>
                <a:lnTo>
                  <a:pt x="11620" y="417"/>
                </a:lnTo>
                <a:lnTo>
                  <a:pt x="11617" y="413"/>
                </a:lnTo>
                <a:lnTo>
                  <a:pt x="11616" y="411"/>
                </a:lnTo>
                <a:lnTo>
                  <a:pt x="11615" y="409"/>
                </a:lnTo>
                <a:lnTo>
                  <a:pt x="11610" y="403"/>
                </a:lnTo>
                <a:lnTo>
                  <a:pt x="11607" y="399"/>
                </a:lnTo>
                <a:lnTo>
                  <a:pt x="11605" y="397"/>
                </a:lnTo>
                <a:lnTo>
                  <a:pt x="11603" y="395"/>
                </a:lnTo>
                <a:lnTo>
                  <a:pt x="11596" y="389"/>
                </a:lnTo>
                <a:lnTo>
                  <a:pt x="11588" y="383"/>
                </a:lnTo>
                <a:lnTo>
                  <a:pt x="11587" y="383"/>
                </a:lnTo>
                <a:lnTo>
                  <a:pt x="11586" y="382"/>
                </a:lnTo>
                <a:lnTo>
                  <a:pt x="11576" y="377"/>
                </a:lnTo>
                <a:lnTo>
                  <a:pt x="11566" y="371"/>
                </a:lnTo>
                <a:lnTo>
                  <a:pt x="11563" y="368"/>
                </a:lnTo>
                <a:lnTo>
                  <a:pt x="11559" y="366"/>
                </a:lnTo>
                <a:lnTo>
                  <a:pt x="11550" y="362"/>
                </a:lnTo>
                <a:lnTo>
                  <a:pt x="11540" y="358"/>
                </a:lnTo>
                <a:lnTo>
                  <a:pt x="11535" y="356"/>
                </a:lnTo>
                <a:lnTo>
                  <a:pt x="11530" y="354"/>
                </a:lnTo>
                <a:lnTo>
                  <a:pt x="11520" y="350"/>
                </a:lnTo>
                <a:lnTo>
                  <a:pt x="11508" y="345"/>
                </a:lnTo>
                <a:lnTo>
                  <a:pt x="11503" y="344"/>
                </a:lnTo>
                <a:lnTo>
                  <a:pt x="11499" y="342"/>
                </a:lnTo>
                <a:lnTo>
                  <a:pt x="11490" y="339"/>
                </a:lnTo>
                <a:lnTo>
                  <a:pt x="11482" y="335"/>
                </a:lnTo>
                <a:lnTo>
                  <a:pt x="11472" y="332"/>
                </a:lnTo>
                <a:lnTo>
                  <a:pt x="11463" y="330"/>
                </a:lnTo>
                <a:lnTo>
                  <a:pt x="11459" y="329"/>
                </a:lnTo>
                <a:lnTo>
                  <a:pt x="11456" y="328"/>
                </a:lnTo>
                <a:lnTo>
                  <a:pt x="11448" y="325"/>
                </a:lnTo>
                <a:lnTo>
                  <a:pt x="11439" y="323"/>
                </a:lnTo>
                <a:lnTo>
                  <a:pt x="11430" y="320"/>
                </a:lnTo>
                <a:lnTo>
                  <a:pt x="11422" y="318"/>
                </a:lnTo>
                <a:lnTo>
                  <a:pt x="11415" y="316"/>
                </a:lnTo>
                <a:lnTo>
                  <a:pt x="11406" y="314"/>
                </a:lnTo>
                <a:lnTo>
                  <a:pt x="11399" y="312"/>
                </a:lnTo>
                <a:lnTo>
                  <a:pt x="11392" y="310"/>
                </a:lnTo>
                <a:lnTo>
                  <a:pt x="11384" y="308"/>
                </a:lnTo>
                <a:lnTo>
                  <a:pt x="11375" y="307"/>
                </a:lnTo>
                <a:lnTo>
                  <a:pt x="11367" y="305"/>
                </a:lnTo>
                <a:lnTo>
                  <a:pt x="11359" y="303"/>
                </a:lnTo>
                <a:lnTo>
                  <a:pt x="11350" y="300"/>
                </a:lnTo>
                <a:lnTo>
                  <a:pt x="11340" y="297"/>
                </a:lnTo>
                <a:lnTo>
                  <a:pt x="11331" y="295"/>
                </a:lnTo>
                <a:lnTo>
                  <a:pt x="11322" y="293"/>
                </a:lnTo>
                <a:lnTo>
                  <a:pt x="11315" y="292"/>
                </a:lnTo>
                <a:lnTo>
                  <a:pt x="11307" y="290"/>
                </a:lnTo>
                <a:lnTo>
                  <a:pt x="11294" y="288"/>
                </a:lnTo>
                <a:lnTo>
                  <a:pt x="11281" y="285"/>
                </a:lnTo>
                <a:lnTo>
                  <a:pt x="11267" y="282"/>
                </a:lnTo>
                <a:lnTo>
                  <a:pt x="11253" y="279"/>
                </a:lnTo>
                <a:lnTo>
                  <a:pt x="11246" y="278"/>
                </a:lnTo>
                <a:lnTo>
                  <a:pt x="11239" y="277"/>
                </a:lnTo>
                <a:lnTo>
                  <a:pt x="11228" y="275"/>
                </a:lnTo>
                <a:lnTo>
                  <a:pt x="11217" y="273"/>
                </a:lnTo>
                <a:lnTo>
                  <a:pt x="11205" y="271"/>
                </a:lnTo>
                <a:lnTo>
                  <a:pt x="11193" y="267"/>
                </a:lnTo>
                <a:lnTo>
                  <a:pt x="11183" y="266"/>
                </a:lnTo>
                <a:lnTo>
                  <a:pt x="11171" y="264"/>
                </a:lnTo>
                <a:lnTo>
                  <a:pt x="11161" y="262"/>
                </a:lnTo>
                <a:lnTo>
                  <a:pt x="11150" y="260"/>
                </a:lnTo>
                <a:lnTo>
                  <a:pt x="11139" y="258"/>
                </a:lnTo>
                <a:lnTo>
                  <a:pt x="11128" y="256"/>
                </a:lnTo>
                <a:lnTo>
                  <a:pt x="11117" y="255"/>
                </a:lnTo>
                <a:lnTo>
                  <a:pt x="11104" y="253"/>
                </a:lnTo>
                <a:lnTo>
                  <a:pt x="11092" y="251"/>
                </a:lnTo>
                <a:lnTo>
                  <a:pt x="11080" y="249"/>
                </a:lnTo>
                <a:lnTo>
                  <a:pt x="11066" y="247"/>
                </a:lnTo>
                <a:lnTo>
                  <a:pt x="11054" y="245"/>
                </a:lnTo>
                <a:lnTo>
                  <a:pt x="11045" y="243"/>
                </a:lnTo>
                <a:lnTo>
                  <a:pt x="11036" y="242"/>
                </a:lnTo>
                <a:lnTo>
                  <a:pt x="11018" y="240"/>
                </a:lnTo>
                <a:lnTo>
                  <a:pt x="11000" y="237"/>
                </a:lnTo>
                <a:lnTo>
                  <a:pt x="10983" y="234"/>
                </a:lnTo>
                <a:lnTo>
                  <a:pt x="10964" y="231"/>
                </a:lnTo>
                <a:lnTo>
                  <a:pt x="10962" y="231"/>
                </a:lnTo>
                <a:lnTo>
                  <a:pt x="10960" y="230"/>
                </a:lnTo>
                <a:lnTo>
                  <a:pt x="10946" y="228"/>
                </a:lnTo>
                <a:lnTo>
                  <a:pt x="10931" y="227"/>
                </a:lnTo>
                <a:lnTo>
                  <a:pt x="10923" y="225"/>
                </a:lnTo>
                <a:lnTo>
                  <a:pt x="10914" y="224"/>
                </a:lnTo>
                <a:lnTo>
                  <a:pt x="10905" y="223"/>
                </a:lnTo>
                <a:lnTo>
                  <a:pt x="10896" y="222"/>
                </a:lnTo>
                <a:lnTo>
                  <a:pt x="10888" y="221"/>
                </a:lnTo>
                <a:lnTo>
                  <a:pt x="10880" y="220"/>
                </a:lnTo>
                <a:lnTo>
                  <a:pt x="10870" y="219"/>
                </a:lnTo>
                <a:lnTo>
                  <a:pt x="10862" y="217"/>
                </a:lnTo>
                <a:lnTo>
                  <a:pt x="10853" y="216"/>
                </a:lnTo>
                <a:lnTo>
                  <a:pt x="10844" y="215"/>
                </a:lnTo>
                <a:lnTo>
                  <a:pt x="10834" y="214"/>
                </a:lnTo>
                <a:lnTo>
                  <a:pt x="10826" y="213"/>
                </a:lnTo>
                <a:lnTo>
                  <a:pt x="10817" y="212"/>
                </a:lnTo>
                <a:lnTo>
                  <a:pt x="10808" y="211"/>
                </a:lnTo>
                <a:lnTo>
                  <a:pt x="10798" y="210"/>
                </a:lnTo>
                <a:lnTo>
                  <a:pt x="10788" y="208"/>
                </a:lnTo>
                <a:lnTo>
                  <a:pt x="10780" y="207"/>
                </a:lnTo>
                <a:lnTo>
                  <a:pt x="10770" y="206"/>
                </a:lnTo>
                <a:lnTo>
                  <a:pt x="10761" y="205"/>
                </a:lnTo>
                <a:lnTo>
                  <a:pt x="10752" y="204"/>
                </a:lnTo>
                <a:lnTo>
                  <a:pt x="10743" y="203"/>
                </a:lnTo>
                <a:lnTo>
                  <a:pt x="10732" y="202"/>
                </a:lnTo>
                <a:lnTo>
                  <a:pt x="10722" y="201"/>
                </a:lnTo>
                <a:lnTo>
                  <a:pt x="10713" y="200"/>
                </a:lnTo>
                <a:lnTo>
                  <a:pt x="10703" y="198"/>
                </a:lnTo>
                <a:lnTo>
                  <a:pt x="10694" y="197"/>
                </a:lnTo>
                <a:lnTo>
                  <a:pt x="10685" y="196"/>
                </a:lnTo>
                <a:lnTo>
                  <a:pt x="10676" y="195"/>
                </a:lnTo>
                <a:lnTo>
                  <a:pt x="10669" y="194"/>
                </a:lnTo>
                <a:lnTo>
                  <a:pt x="10663" y="193"/>
                </a:lnTo>
                <a:lnTo>
                  <a:pt x="10663" y="193"/>
                </a:lnTo>
                <a:lnTo>
                  <a:pt x="10663" y="193"/>
                </a:lnTo>
                <a:lnTo>
                  <a:pt x="10652" y="192"/>
                </a:lnTo>
                <a:lnTo>
                  <a:pt x="10642" y="191"/>
                </a:lnTo>
                <a:lnTo>
                  <a:pt x="10630" y="190"/>
                </a:lnTo>
                <a:lnTo>
                  <a:pt x="10619" y="188"/>
                </a:lnTo>
                <a:lnTo>
                  <a:pt x="10612" y="188"/>
                </a:lnTo>
                <a:lnTo>
                  <a:pt x="10605" y="187"/>
                </a:lnTo>
                <a:lnTo>
                  <a:pt x="10587" y="185"/>
                </a:lnTo>
                <a:lnTo>
                  <a:pt x="10568" y="183"/>
                </a:lnTo>
                <a:lnTo>
                  <a:pt x="10550" y="181"/>
                </a:lnTo>
                <a:lnTo>
                  <a:pt x="10530" y="179"/>
                </a:lnTo>
                <a:lnTo>
                  <a:pt x="10523" y="179"/>
                </a:lnTo>
                <a:lnTo>
                  <a:pt x="10515" y="178"/>
                </a:lnTo>
                <a:lnTo>
                  <a:pt x="10500" y="176"/>
                </a:lnTo>
                <a:lnTo>
                  <a:pt x="10485" y="175"/>
                </a:lnTo>
                <a:lnTo>
                  <a:pt x="10469" y="173"/>
                </a:lnTo>
                <a:lnTo>
                  <a:pt x="10454" y="172"/>
                </a:lnTo>
                <a:lnTo>
                  <a:pt x="10441" y="171"/>
                </a:lnTo>
                <a:lnTo>
                  <a:pt x="10428" y="169"/>
                </a:lnTo>
                <a:lnTo>
                  <a:pt x="10413" y="168"/>
                </a:lnTo>
                <a:lnTo>
                  <a:pt x="10398" y="167"/>
                </a:lnTo>
                <a:lnTo>
                  <a:pt x="10391" y="166"/>
                </a:lnTo>
                <a:lnTo>
                  <a:pt x="10384" y="164"/>
                </a:lnTo>
                <a:lnTo>
                  <a:pt x="10359" y="162"/>
                </a:lnTo>
                <a:lnTo>
                  <a:pt x="10333" y="160"/>
                </a:lnTo>
                <a:lnTo>
                  <a:pt x="10309" y="158"/>
                </a:lnTo>
                <a:lnTo>
                  <a:pt x="10283" y="155"/>
                </a:lnTo>
                <a:lnTo>
                  <a:pt x="10279" y="155"/>
                </a:lnTo>
                <a:lnTo>
                  <a:pt x="10275" y="155"/>
                </a:lnTo>
                <a:lnTo>
                  <a:pt x="10246" y="152"/>
                </a:lnTo>
                <a:lnTo>
                  <a:pt x="10218" y="150"/>
                </a:lnTo>
                <a:lnTo>
                  <a:pt x="10189" y="147"/>
                </a:lnTo>
                <a:lnTo>
                  <a:pt x="10160" y="145"/>
                </a:lnTo>
                <a:lnTo>
                  <a:pt x="10155" y="145"/>
                </a:lnTo>
                <a:lnTo>
                  <a:pt x="10149" y="144"/>
                </a:lnTo>
                <a:lnTo>
                  <a:pt x="10139" y="143"/>
                </a:lnTo>
                <a:lnTo>
                  <a:pt x="10127" y="142"/>
                </a:lnTo>
                <a:lnTo>
                  <a:pt x="10109" y="141"/>
                </a:lnTo>
                <a:lnTo>
                  <a:pt x="10090" y="139"/>
                </a:lnTo>
                <a:lnTo>
                  <a:pt x="10071" y="138"/>
                </a:lnTo>
                <a:lnTo>
                  <a:pt x="10052" y="136"/>
                </a:lnTo>
                <a:lnTo>
                  <a:pt x="10043" y="136"/>
                </a:lnTo>
                <a:lnTo>
                  <a:pt x="10033" y="135"/>
                </a:lnTo>
                <a:lnTo>
                  <a:pt x="10023" y="134"/>
                </a:lnTo>
                <a:lnTo>
                  <a:pt x="10014" y="134"/>
                </a:lnTo>
                <a:lnTo>
                  <a:pt x="9993" y="132"/>
                </a:lnTo>
                <a:lnTo>
                  <a:pt x="9973" y="130"/>
                </a:lnTo>
                <a:lnTo>
                  <a:pt x="9952" y="128"/>
                </a:lnTo>
                <a:lnTo>
                  <a:pt x="9931" y="126"/>
                </a:lnTo>
                <a:lnTo>
                  <a:pt x="9919" y="126"/>
                </a:lnTo>
                <a:lnTo>
                  <a:pt x="9908" y="125"/>
                </a:lnTo>
                <a:lnTo>
                  <a:pt x="9905" y="125"/>
                </a:lnTo>
                <a:lnTo>
                  <a:pt x="9901" y="124"/>
                </a:lnTo>
                <a:lnTo>
                  <a:pt x="9875" y="122"/>
                </a:lnTo>
                <a:lnTo>
                  <a:pt x="9847" y="120"/>
                </a:lnTo>
                <a:lnTo>
                  <a:pt x="9820" y="119"/>
                </a:lnTo>
                <a:lnTo>
                  <a:pt x="9793" y="117"/>
                </a:lnTo>
                <a:lnTo>
                  <a:pt x="9781" y="116"/>
                </a:lnTo>
                <a:lnTo>
                  <a:pt x="9770" y="115"/>
                </a:lnTo>
                <a:lnTo>
                  <a:pt x="9748" y="114"/>
                </a:lnTo>
                <a:lnTo>
                  <a:pt x="9726" y="112"/>
                </a:lnTo>
                <a:lnTo>
                  <a:pt x="9704" y="111"/>
                </a:lnTo>
                <a:lnTo>
                  <a:pt x="9682" y="109"/>
                </a:lnTo>
                <a:lnTo>
                  <a:pt x="9676" y="109"/>
                </a:lnTo>
                <a:lnTo>
                  <a:pt x="9671" y="109"/>
                </a:lnTo>
                <a:lnTo>
                  <a:pt x="9660" y="108"/>
                </a:lnTo>
                <a:lnTo>
                  <a:pt x="9649" y="107"/>
                </a:lnTo>
                <a:lnTo>
                  <a:pt x="9639" y="107"/>
                </a:lnTo>
                <a:lnTo>
                  <a:pt x="9628" y="106"/>
                </a:lnTo>
                <a:lnTo>
                  <a:pt x="9614" y="105"/>
                </a:lnTo>
                <a:lnTo>
                  <a:pt x="9601" y="104"/>
                </a:lnTo>
                <a:lnTo>
                  <a:pt x="9586" y="103"/>
                </a:lnTo>
                <a:lnTo>
                  <a:pt x="9573" y="103"/>
                </a:lnTo>
                <a:lnTo>
                  <a:pt x="9559" y="102"/>
                </a:lnTo>
                <a:lnTo>
                  <a:pt x="9547" y="101"/>
                </a:lnTo>
                <a:lnTo>
                  <a:pt x="9534" y="100"/>
                </a:lnTo>
                <a:lnTo>
                  <a:pt x="9521" y="100"/>
                </a:lnTo>
                <a:lnTo>
                  <a:pt x="9506" y="99"/>
                </a:lnTo>
                <a:lnTo>
                  <a:pt x="9491" y="98"/>
                </a:lnTo>
                <a:lnTo>
                  <a:pt x="9476" y="96"/>
                </a:lnTo>
                <a:lnTo>
                  <a:pt x="9460" y="95"/>
                </a:lnTo>
                <a:lnTo>
                  <a:pt x="9452" y="94"/>
                </a:lnTo>
                <a:lnTo>
                  <a:pt x="9444" y="94"/>
                </a:lnTo>
                <a:lnTo>
                  <a:pt x="9434" y="93"/>
                </a:lnTo>
                <a:lnTo>
                  <a:pt x="9424" y="93"/>
                </a:lnTo>
                <a:lnTo>
                  <a:pt x="9415" y="92"/>
                </a:lnTo>
                <a:lnTo>
                  <a:pt x="9406" y="92"/>
                </a:lnTo>
                <a:lnTo>
                  <a:pt x="9391" y="91"/>
                </a:lnTo>
                <a:lnTo>
                  <a:pt x="9378" y="90"/>
                </a:lnTo>
                <a:lnTo>
                  <a:pt x="9364" y="89"/>
                </a:lnTo>
                <a:lnTo>
                  <a:pt x="9350" y="89"/>
                </a:lnTo>
                <a:lnTo>
                  <a:pt x="9336" y="88"/>
                </a:lnTo>
                <a:lnTo>
                  <a:pt x="9321" y="87"/>
                </a:lnTo>
                <a:lnTo>
                  <a:pt x="9307" y="86"/>
                </a:lnTo>
                <a:lnTo>
                  <a:pt x="9292" y="85"/>
                </a:lnTo>
                <a:lnTo>
                  <a:pt x="9278" y="85"/>
                </a:lnTo>
                <a:lnTo>
                  <a:pt x="9264" y="84"/>
                </a:lnTo>
                <a:lnTo>
                  <a:pt x="9251" y="83"/>
                </a:lnTo>
                <a:lnTo>
                  <a:pt x="9237" y="83"/>
                </a:lnTo>
                <a:lnTo>
                  <a:pt x="9225" y="82"/>
                </a:lnTo>
                <a:lnTo>
                  <a:pt x="9214" y="81"/>
                </a:lnTo>
                <a:lnTo>
                  <a:pt x="9205" y="81"/>
                </a:lnTo>
                <a:lnTo>
                  <a:pt x="9195" y="80"/>
                </a:lnTo>
                <a:lnTo>
                  <a:pt x="9186" y="80"/>
                </a:lnTo>
                <a:lnTo>
                  <a:pt x="9177" y="79"/>
                </a:lnTo>
                <a:lnTo>
                  <a:pt x="9163" y="79"/>
                </a:lnTo>
                <a:lnTo>
                  <a:pt x="9150" y="78"/>
                </a:lnTo>
                <a:lnTo>
                  <a:pt x="9136" y="77"/>
                </a:lnTo>
                <a:lnTo>
                  <a:pt x="9122" y="77"/>
                </a:lnTo>
                <a:lnTo>
                  <a:pt x="9107" y="76"/>
                </a:lnTo>
                <a:lnTo>
                  <a:pt x="9091" y="75"/>
                </a:lnTo>
                <a:lnTo>
                  <a:pt x="9077" y="74"/>
                </a:lnTo>
                <a:lnTo>
                  <a:pt x="9061" y="74"/>
                </a:lnTo>
                <a:lnTo>
                  <a:pt x="9049" y="73"/>
                </a:lnTo>
                <a:lnTo>
                  <a:pt x="9036" y="72"/>
                </a:lnTo>
                <a:lnTo>
                  <a:pt x="9023" y="72"/>
                </a:lnTo>
                <a:lnTo>
                  <a:pt x="9010" y="71"/>
                </a:lnTo>
                <a:lnTo>
                  <a:pt x="8998" y="71"/>
                </a:lnTo>
                <a:lnTo>
                  <a:pt x="8985" y="70"/>
                </a:lnTo>
                <a:lnTo>
                  <a:pt x="8973" y="69"/>
                </a:lnTo>
                <a:lnTo>
                  <a:pt x="8961" y="69"/>
                </a:lnTo>
                <a:lnTo>
                  <a:pt x="8950" y="68"/>
                </a:lnTo>
                <a:lnTo>
                  <a:pt x="8939" y="68"/>
                </a:lnTo>
                <a:lnTo>
                  <a:pt x="8927" y="67"/>
                </a:lnTo>
                <a:lnTo>
                  <a:pt x="8916" y="67"/>
                </a:lnTo>
                <a:lnTo>
                  <a:pt x="8905" y="66"/>
                </a:lnTo>
                <a:lnTo>
                  <a:pt x="8893" y="66"/>
                </a:lnTo>
                <a:lnTo>
                  <a:pt x="8877" y="65"/>
                </a:lnTo>
                <a:lnTo>
                  <a:pt x="8860" y="64"/>
                </a:lnTo>
                <a:lnTo>
                  <a:pt x="8844" y="64"/>
                </a:lnTo>
                <a:lnTo>
                  <a:pt x="8827" y="63"/>
                </a:lnTo>
                <a:lnTo>
                  <a:pt x="8815" y="61"/>
                </a:lnTo>
                <a:lnTo>
                  <a:pt x="8802" y="61"/>
                </a:lnTo>
                <a:lnTo>
                  <a:pt x="8788" y="60"/>
                </a:lnTo>
                <a:lnTo>
                  <a:pt x="8776" y="60"/>
                </a:lnTo>
                <a:lnTo>
                  <a:pt x="8768" y="59"/>
                </a:lnTo>
                <a:lnTo>
                  <a:pt x="8759" y="59"/>
                </a:lnTo>
                <a:lnTo>
                  <a:pt x="8751" y="59"/>
                </a:lnTo>
                <a:lnTo>
                  <a:pt x="8742" y="58"/>
                </a:lnTo>
                <a:lnTo>
                  <a:pt x="8717" y="57"/>
                </a:lnTo>
                <a:lnTo>
                  <a:pt x="8691" y="56"/>
                </a:lnTo>
                <a:lnTo>
                  <a:pt x="8666" y="55"/>
                </a:lnTo>
                <a:lnTo>
                  <a:pt x="8640" y="54"/>
                </a:lnTo>
                <a:lnTo>
                  <a:pt x="8614" y="53"/>
                </a:lnTo>
                <a:lnTo>
                  <a:pt x="8588" y="52"/>
                </a:lnTo>
                <a:lnTo>
                  <a:pt x="8563" y="51"/>
                </a:lnTo>
                <a:lnTo>
                  <a:pt x="8537" y="50"/>
                </a:lnTo>
                <a:lnTo>
                  <a:pt x="8534" y="50"/>
                </a:lnTo>
                <a:lnTo>
                  <a:pt x="8532" y="50"/>
                </a:lnTo>
                <a:lnTo>
                  <a:pt x="8523" y="49"/>
                </a:lnTo>
                <a:lnTo>
                  <a:pt x="8516" y="49"/>
                </a:lnTo>
                <a:lnTo>
                  <a:pt x="8492" y="48"/>
                </a:lnTo>
                <a:lnTo>
                  <a:pt x="8469" y="47"/>
                </a:lnTo>
                <a:lnTo>
                  <a:pt x="8444" y="46"/>
                </a:lnTo>
                <a:lnTo>
                  <a:pt x="8420" y="46"/>
                </a:lnTo>
                <a:lnTo>
                  <a:pt x="8396" y="45"/>
                </a:lnTo>
                <a:lnTo>
                  <a:pt x="8372" y="44"/>
                </a:lnTo>
                <a:lnTo>
                  <a:pt x="8347" y="43"/>
                </a:lnTo>
                <a:lnTo>
                  <a:pt x="8322" y="42"/>
                </a:lnTo>
                <a:lnTo>
                  <a:pt x="8315" y="42"/>
                </a:lnTo>
                <a:lnTo>
                  <a:pt x="8307" y="42"/>
                </a:lnTo>
                <a:lnTo>
                  <a:pt x="8304" y="41"/>
                </a:lnTo>
                <a:lnTo>
                  <a:pt x="8301" y="41"/>
                </a:lnTo>
                <a:lnTo>
                  <a:pt x="8277" y="41"/>
                </a:lnTo>
                <a:lnTo>
                  <a:pt x="8253" y="40"/>
                </a:lnTo>
                <a:lnTo>
                  <a:pt x="8229" y="39"/>
                </a:lnTo>
                <a:lnTo>
                  <a:pt x="8205" y="38"/>
                </a:lnTo>
                <a:lnTo>
                  <a:pt x="8181" y="37"/>
                </a:lnTo>
                <a:lnTo>
                  <a:pt x="8157" y="37"/>
                </a:lnTo>
                <a:lnTo>
                  <a:pt x="8133" y="36"/>
                </a:lnTo>
                <a:lnTo>
                  <a:pt x="8109" y="35"/>
                </a:lnTo>
                <a:lnTo>
                  <a:pt x="8097" y="35"/>
                </a:lnTo>
                <a:lnTo>
                  <a:pt x="8084" y="34"/>
                </a:lnTo>
                <a:lnTo>
                  <a:pt x="8075" y="34"/>
                </a:lnTo>
                <a:lnTo>
                  <a:pt x="8066" y="34"/>
                </a:lnTo>
                <a:lnTo>
                  <a:pt x="8043" y="33"/>
                </a:lnTo>
                <a:lnTo>
                  <a:pt x="8020" y="32"/>
                </a:lnTo>
                <a:lnTo>
                  <a:pt x="7998" y="32"/>
                </a:lnTo>
                <a:lnTo>
                  <a:pt x="7974" y="31"/>
                </a:lnTo>
                <a:lnTo>
                  <a:pt x="7951" y="30"/>
                </a:lnTo>
                <a:lnTo>
                  <a:pt x="7929" y="30"/>
                </a:lnTo>
                <a:lnTo>
                  <a:pt x="7905" y="29"/>
                </a:lnTo>
                <a:lnTo>
                  <a:pt x="7882" y="29"/>
                </a:lnTo>
                <a:lnTo>
                  <a:pt x="7876" y="27"/>
                </a:lnTo>
                <a:lnTo>
                  <a:pt x="7869" y="27"/>
                </a:lnTo>
                <a:lnTo>
                  <a:pt x="7855" y="27"/>
                </a:lnTo>
                <a:lnTo>
                  <a:pt x="7843" y="26"/>
                </a:lnTo>
                <a:lnTo>
                  <a:pt x="7805" y="25"/>
                </a:lnTo>
                <a:lnTo>
                  <a:pt x="7767" y="24"/>
                </a:lnTo>
                <a:lnTo>
                  <a:pt x="7728" y="23"/>
                </a:lnTo>
                <a:lnTo>
                  <a:pt x="7690" y="23"/>
                </a:lnTo>
                <a:lnTo>
                  <a:pt x="7677" y="22"/>
                </a:lnTo>
                <a:lnTo>
                  <a:pt x="7664" y="22"/>
                </a:lnTo>
                <a:lnTo>
                  <a:pt x="7658" y="22"/>
                </a:lnTo>
                <a:lnTo>
                  <a:pt x="7651" y="22"/>
                </a:lnTo>
                <a:lnTo>
                  <a:pt x="7631" y="21"/>
                </a:lnTo>
                <a:lnTo>
                  <a:pt x="7610" y="21"/>
                </a:lnTo>
                <a:lnTo>
                  <a:pt x="7589" y="20"/>
                </a:lnTo>
                <a:lnTo>
                  <a:pt x="7568" y="20"/>
                </a:lnTo>
                <a:lnTo>
                  <a:pt x="7547" y="19"/>
                </a:lnTo>
                <a:lnTo>
                  <a:pt x="7526" y="19"/>
                </a:lnTo>
                <a:lnTo>
                  <a:pt x="7505" y="18"/>
                </a:lnTo>
                <a:lnTo>
                  <a:pt x="7483" y="18"/>
                </a:lnTo>
                <a:lnTo>
                  <a:pt x="7479" y="18"/>
                </a:lnTo>
                <a:lnTo>
                  <a:pt x="7475" y="18"/>
                </a:lnTo>
                <a:lnTo>
                  <a:pt x="7462" y="17"/>
                </a:lnTo>
                <a:lnTo>
                  <a:pt x="7449" y="17"/>
                </a:lnTo>
                <a:lnTo>
                  <a:pt x="7415" y="16"/>
                </a:lnTo>
                <a:lnTo>
                  <a:pt x="7382" y="16"/>
                </a:lnTo>
                <a:lnTo>
                  <a:pt x="7348" y="15"/>
                </a:lnTo>
                <a:lnTo>
                  <a:pt x="7315" y="14"/>
                </a:lnTo>
                <a:lnTo>
                  <a:pt x="7302" y="14"/>
                </a:lnTo>
                <a:lnTo>
                  <a:pt x="7289" y="14"/>
                </a:lnTo>
                <a:lnTo>
                  <a:pt x="7279" y="14"/>
                </a:lnTo>
                <a:lnTo>
                  <a:pt x="7271" y="13"/>
                </a:lnTo>
                <a:lnTo>
                  <a:pt x="7263" y="13"/>
                </a:lnTo>
                <a:lnTo>
                  <a:pt x="7255" y="13"/>
                </a:lnTo>
                <a:lnTo>
                  <a:pt x="7237" y="13"/>
                </a:lnTo>
                <a:lnTo>
                  <a:pt x="7220" y="13"/>
                </a:lnTo>
                <a:lnTo>
                  <a:pt x="7202" y="12"/>
                </a:lnTo>
                <a:lnTo>
                  <a:pt x="7183" y="12"/>
                </a:lnTo>
                <a:lnTo>
                  <a:pt x="7172" y="12"/>
                </a:lnTo>
                <a:lnTo>
                  <a:pt x="7161" y="12"/>
                </a:lnTo>
                <a:lnTo>
                  <a:pt x="7150" y="11"/>
                </a:lnTo>
                <a:lnTo>
                  <a:pt x="7139" y="11"/>
                </a:lnTo>
                <a:lnTo>
                  <a:pt x="7131" y="11"/>
                </a:lnTo>
                <a:lnTo>
                  <a:pt x="7123" y="11"/>
                </a:lnTo>
                <a:lnTo>
                  <a:pt x="7115" y="11"/>
                </a:lnTo>
                <a:lnTo>
                  <a:pt x="7107" y="11"/>
                </a:lnTo>
                <a:lnTo>
                  <a:pt x="7089" y="10"/>
                </a:lnTo>
                <a:lnTo>
                  <a:pt x="7070" y="10"/>
                </a:lnTo>
                <a:lnTo>
                  <a:pt x="7050" y="10"/>
                </a:lnTo>
                <a:lnTo>
                  <a:pt x="7032" y="9"/>
                </a:lnTo>
                <a:lnTo>
                  <a:pt x="7021" y="9"/>
                </a:lnTo>
                <a:lnTo>
                  <a:pt x="7010" y="9"/>
                </a:lnTo>
                <a:lnTo>
                  <a:pt x="6999" y="9"/>
                </a:lnTo>
                <a:lnTo>
                  <a:pt x="6988" y="9"/>
                </a:lnTo>
                <a:lnTo>
                  <a:pt x="6976" y="9"/>
                </a:lnTo>
                <a:lnTo>
                  <a:pt x="6965" y="8"/>
                </a:lnTo>
                <a:lnTo>
                  <a:pt x="6946" y="8"/>
                </a:lnTo>
                <a:lnTo>
                  <a:pt x="6928" y="8"/>
                </a:lnTo>
                <a:lnTo>
                  <a:pt x="6909" y="8"/>
                </a:lnTo>
                <a:lnTo>
                  <a:pt x="6891" y="7"/>
                </a:lnTo>
                <a:lnTo>
                  <a:pt x="6878" y="7"/>
                </a:lnTo>
                <a:lnTo>
                  <a:pt x="6866" y="7"/>
                </a:lnTo>
                <a:lnTo>
                  <a:pt x="6853" y="7"/>
                </a:lnTo>
                <a:lnTo>
                  <a:pt x="6840" y="7"/>
                </a:lnTo>
                <a:lnTo>
                  <a:pt x="6826" y="7"/>
                </a:lnTo>
                <a:lnTo>
                  <a:pt x="6811" y="6"/>
                </a:lnTo>
                <a:lnTo>
                  <a:pt x="6802" y="6"/>
                </a:lnTo>
                <a:lnTo>
                  <a:pt x="6792" y="6"/>
                </a:lnTo>
                <a:lnTo>
                  <a:pt x="6782" y="6"/>
                </a:lnTo>
                <a:lnTo>
                  <a:pt x="6772" y="6"/>
                </a:lnTo>
                <a:lnTo>
                  <a:pt x="6761" y="6"/>
                </a:lnTo>
                <a:lnTo>
                  <a:pt x="6749" y="6"/>
                </a:lnTo>
                <a:lnTo>
                  <a:pt x="6738" y="5"/>
                </a:lnTo>
                <a:lnTo>
                  <a:pt x="6727" y="5"/>
                </a:lnTo>
                <a:lnTo>
                  <a:pt x="6713" y="5"/>
                </a:lnTo>
                <a:lnTo>
                  <a:pt x="6700" y="5"/>
                </a:lnTo>
                <a:lnTo>
                  <a:pt x="6687" y="5"/>
                </a:lnTo>
                <a:lnTo>
                  <a:pt x="6674" y="5"/>
                </a:lnTo>
                <a:lnTo>
                  <a:pt x="6665" y="5"/>
                </a:lnTo>
                <a:lnTo>
                  <a:pt x="6657" y="5"/>
                </a:lnTo>
                <a:lnTo>
                  <a:pt x="6648" y="5"/>
                </a:lnTo>
                <a:lnTo>
                  <a:pt x="6640" y="4"/>
                </a:lnTo>
                <a:lnTo>
                  <a:pt x="6626" y="4"/>
                </a:lnTo>
                <a:lnTo>
                  <a:pt x="6611" y="4"/>
                </a:lnTo>
                <a:lnTo>
                  <a:pt x="6583" y="4"/>
                </a:lnTo>
                <a:lnTo>
                  <a:pt x="6554" y="4"/>
                </a:lnTo>
                <a:lnTo>
                  <a:pt x="6525" y="3"/>
                </a:lnTo>
                <a:lnTo>
                  <a:pt x="6496" y="3"/>
                </a:lnTo>
                <a:lnTo>
                  <a:pt x="6468" y="3"/>
                </a:lnTo>
                <a:lnTo>
                  <a:pt x="6439" y="3"/>
                </a:lnTo>
                <a:lnTo>
                  <a:pt x="6410" y="2"/>
                </a:lnTo>
                <a:lnTo>
                  <a:pt x="6382" y="2"/>
                </a:lnTo>
                <a:lnTo>
                  <a:pt x="6374" y="2"/>
                </a:lnTo>
                <a:lnTo>
                  <a:pt x="6367" y="2"/>
                </a:lnTo>
                <a:lnTo>
                  <a:pt x="6356" y="2"/>
                </a:lnTo>
                <a:lnTo>
                  <a:pt x="6344" y="2"/>
                </a:lnTo>
                <a:lnTo>
                  <a:pt x="6331" y="2"/>
                </a:lnTo>
                <a:lnTo>
                  <a:pt x="6317" y="2"/>
                </a:lnTo>
                <a:lnTo>
                  <a:pt x="6303" y="2"/>
                </a:lnTo>
                <a:lnTo>
                  <a:pt x="6290" y="2"/>
                </a:lnTo>
                <a:lnTo>
                  <a:pt x="6270" y="1"/>
                </a:lnTo>
                <a:lnTo>
                  <a:pt x="6251" y="1"/>
                </a:lnTo>
                <a:lnTo>
                  <a:pt x="6231" y="1"/>
                </a:lnTo>
                <a:lnTo>
                  <a:pt x="6211" y="1"/>
                </a:lnTo>
                <a:lnTo>
                  <a:pt x="6211" y="1"/>
                </a:lnTo>
                <a:lnTo>
                  <a:pt x="6211" y="1"/>
                </a:lnTo>
                <a:lnTo>
                  <a:pt x="6204" y="1"/>
                </a:lnTo>
                <a:lnTo>
                  <a:pt x="6197" y="1"/>
                </a:lnTo>
                <a:lnTo>
                  <a:pt x="6197" y="1"/>
                </a:lnTo>
                <a:lnTo>
                  <a:pt x="6197" y="1"/>
                </a:lnTo>
                <a:lnTo>
                  <a:pt x="6173" y="1"/>
                </a:lnTo>
                <a:lnTo>
                  <a:pt x="6150" y="1"/>
                </a:lnTo>
                <a:lnTo>
                  <a:pt x="6127" y="1"/>
                </a:lnTo>
                <a:lnTo>
                  <a:pt x="6103" y="1"/>
                </a:lnTo>
                <a:lnTo>
                  <a:pt x="6091" y="1"/>
                </a:lnTo>
                <a:lnTo>
                  <a:pt x="6078" y="1"/>
                </a:lnTo>
                <a:lnTo>
                  <a:pt x="6069" y="1"/>
                </a:lnTo>
                <a:lnTo>
                  <a:pt x="6061" y="1"/>
                </a:lnTo>
                <a:lnTo>
                  <a:pt x="6052" y="1"/>
                </a:lnTo>
                <a:lnTo>
                  <a:pt x="6043" y="1"/>
                </a:lnTo>
                <a:lnTo>
                  <a:pt x="6035" y="0"/>
                </a:lnTo>
                <a:lnTo>
                  <a:pt x="6027" y="0"/>
                </a:lnTo>
                <a:lnTo>
                  <a:pt x="6018" y="0"/>
                </a:lnTo>
                <a:lnTo>
                  <a:pt x="6009" y="0"/>
                </a:lnTo>
                <a:lnTo>
                  <a:pt x="5987" y="0"/>
                </a:lnTo>
                <a:lnTo>
                  <a:pt x="5963" y="0"/>
                </a:lnTo>
                <a:lnTo>
                  <a:pt x="5939" y="0"/>
                </a:lnTo>
                <a:lnTo>
                  <a:pt x="5916" y="0"/>
                </a:lnTo>
                <a:lnTo>
                  <a:pt x="5915" y="0"/>
                </a:lnTo>
                <a:lnTo>
                  <a:pt x="5913" y="0"/>
                </a:lnTo>
                <a:lnTo>
                  <a:pt x="5891" y="0"/>
                </a:lnTo>
                <a:lnTo>
                  <a:pt x="5870" y="0"/>
                </a:lnTo>
                <a:lnTo>
                  <a:pt x="5849" y="0"/>
                </a:lnTo>
                <a:lnTo>
                  <a:pt x="5828" y="0"/>
                </a:lnTo>
                <a:lnTo>
                  <a:pt x="5815" y="0"/>
                </a:lnTo>
                <a:lnTo>
                  <a:pt x="5802" y="0"/>
                </a:lnTo>
                <a:lnTo>
                  <a:pt x="5790" y="0"/>
                </a:lnTo>
                <a:lnTo>
                  <a:pt x="5776" y="0"/>
                </a:lnTo>
                <a:lnTo>
                  <a:pt x="5766" y="0"/>
                </a:lnTo>
                <a:lnTo>
                  <a:pt x="5755" y="0"/>
                </a:lnTo>
                <a:lnTo>
                  <a:pt x="5748" y="0"/>
                </a:lnTo>
                <a:lnTo>
                  <a:pt x="5740" y="0"/>
                </a:lnTo>
                <a:lnTo>
                  <a:pt x="5740" y="0"/>
                </a:lnTo>
                <a:lnTo>
                  <a:pt x="5740" y="0"/>
                </a:lnTo>
                <a:lnTo>
                  <a:pt x="5740" y="0"/>
                </a:lnTo>
                <a:lnTo>
                  <a:pt x="5719" y="0"/>
                </a:lnTo>
                <a:lnTo>
                  <a:pt x="5697" y="0"/>
                </a:lnTo>
                <a:lnTo>
                  <a:pt x="5674" y="0"/>
                </a:lnTo>
                <a:lnTo>
                  <a:pt x="5653" y="0"/>
                </a:lnTo>
                <a:lnTo>
                  <a:pt x="5639" y="0"/>
                </a:lnTo>
                <a:lnTo>
                  <a:pt x="5626" y="0"/>
                </a:lnTo>
                <a:lnTo>
                  <a:pt x="5614" y="0"/>
                </a:lnTo>
                <a:lnTo>
                  <a:pt x="5601" y="0"/>
                </a:lnTo>
                <a:lnTo>
                  <a:pt x="5592" y="0"/>
                </a:lnTo>
                <a:lnTo>
                  <a:pt x="5584" y="0"/>
                </a:lnTo>
                <a:lnTo>
                  <a:pt x="5574" y="0"/>
                </a:lnTo>
                <a:lnTo>
                  <a:pt x="5566" y="1"/>
                </a:lnTo>
                <a:lnTo>
                  <a:pt x="5545" y="1"/>
                </a:lnTo>
                <a:lnTo>
                  <a:pt x="5523" y="1"/>
                </a:lnTo>
                <a:lnTo>
                  <a:pt x="5501" y="1"/>
                </a:lnTo>
                <a:lnTo>
                  <a:pt x="5480" y="1"/>
                </a:lnTo>
                <a:lnTo>
                  <a:pt x="5474" y="1"/>
                </a:lnTo>
                <a:lnTo>
                  <a:pt x="5469" y="1"/>
                </a:lnTo>
                <a:lnTo>
                  <a:pt x="5462" y="1"/>
                </a:lnTo>
                <a:lnTo>
                  <a:pt x="5454" y="1"/>
                </a:lnTo>
                <a:lnTo>
                  <a:pt x="5436" y="1"/>
                </a:lnTo>
                <a:lnTo>
                  <a:pt x="5419" y="1"/>
                </a:lnTo>
                <a:lnTo>
                  <a:pt x="5401" y="1"/>
                </a:lnTo>
                <a:lnTo>
                  <a:pt x="5384" y="1"/>
                </a:lnTo>
                <a:lnTo>
                  <a:pt x="5372" y="1"/>
                </a:lnTo>
                <a:lnTo>
                  <a:pt x="5360" y="1"/>
                </a:lnTo>
                <a:lnTo>
                  <a:pt x="5348" y="1"/>
                </a:lnTo>
                <a:lnTo>
                  <a:pt x="5336" y="2"/>
                </a:lnTo>
                <a:lnTo>
                  <a:pt x="5328" y="2"/>
                </a:lnTo>
                <a:lnTo>
                  <a:pt x="5320" y="2"/>
                </a:lnTo>
                <a:lnTo>
                  <a:pt x="5312" y="2"/>
                </a:lnTo>
                <a:lnTo>
                  <a:pt x="5304" y="2"/>
                </a:lnTo>
                <a:lnTo>
                  <a:pt x="5292" y="2"/>
                </a:lnTo>
                <a:lnTo>
                  <a:pt x="5279" y="2"/>
                </a:lnTo>
                <a:lnTo>
                  <a:pt x="5253" y="2"/>
                </a:lnTo>
                <a:lnTo>
                  <a:pt x="5227" y="2"/>
                </a:lnTo>
                <a:lnTo>
                  <a:pt x="5200" y="2"/>
                </a:lnTo>
                <a:lnTo>
                  <a:pt x="5175" y="3"/>
                </a:lnTo>
                <a:lnTo>
                  <a:pt x="5149" y="3"/>
                </a:lnTo>
                <a:lnTo>
                  <a:pt x="5123" y="3"/>
                </a:lnTo>
                <a:lnTo>
                  <a:pt x="5097" y="3"/>
                </a:lnTo>
                <a:lnTo>
                  <a:pt x="5070" y="4"/>
                </a:lnTo>
                <a:lnTo>
                  <a:pt x="5056" y="4"/>
                </a:lnTo>
                <a:lnTo>
                  <a:pt x="5043" y="4"/>
                </a:lnTo>
                <a:lnTo>
                  <a:pt x="5033" y="4"/>
                </a:lnTo>
                <a:lnTo>
                  <a:pt x="5025" y="4"/>
                </a:lnTo>
                <a:lnTo>
                  <a:pt x="5017" y="4"/>
                </a:lnTo>
                <a:lnTo>
                  <a:pt x="5009" y="4"/>
                </a:lnTo>
                <a:lnTo>
                  <a:pt x="4998" y="4"/>
                </a:lnTo>
                <a:lnTo>
                  <a:pt x="4987" y="4"/>
                </a:lnTo>
                <a:lnTo>
                  <a:pt x="4977" y="4"/>
                </a:lnTo>
                <a:lnTo>
                  <a:pt x="4966" y="5"/>
                </a:lnTo>
                <a:lnTo>
                  <a:pt x="4952" y="5"/>
                </a:lnTo>
                <a:lnTo>
                  <a:pt x="4937" y="5"/>
                </a:lnTo>
                <a:lnTo>
                  <a:pt x="4917" y="5"/>
                </a:lnTo>
                <a:lnTo>
                  <a:pt x="4897" y="5"/>
                </a:lnTo>
                <a:lnTo>
                  <a:pt x="4877" y="6"/>
                </a:lnTo>
                <a:lnTo>
                  <a:pt x="4857" y="6"/>
                </a:lnTo>
                <a:lnTo>
                  <a:pt x="4836" y="6"/>
                </a:lnTo>
                <a:lnTo>
                  <a:pt x="4817" y="6"/>
                </a:lnTo>
                <a:lnTo>
                  <a:pt x="4797" y="7"/>
                </a:lnTo>
                <a:lnTo>
                  <a:pt x="4777" y="7"/>
                </a:lnTo>
                <a:lnTo>
                  <a:pt x="4763" y="7"/>
                </a:lnTo>
                <a:lnTo>
                  <a:pt x="4750" y="7"/>
                </a:lnTo>
                <a:lnTo>
                  <a:pt x="4746" y="7"/>
                </a:lnTo>
                <a:lnTo>
                  <a:pt x="4742" y="7"/>
                </a:lnTo>
                <a:lnTo>
                  <a:pt x="4719" y="8"/>
                </a:lnTo>
                <a:lnTo>
                  <a:pt x="4695" y="8"/>
                </a:lnTo>
                <a:lnTo>
                  <a:pt x="4673" y="8"/>
                </a:lnTo>
                <a:lnTo>
                  <a:pt x="4650" y="9"/>
                </a:lnTo>
                <a:lnTo>
                  <a:pt x="4626" y="9"/>
                </a:lnTo>
                <a:lnTo>
                  <a:pt x="4603" y="9"/>
                </a:lnTo>
                <a:lnTo>
                  <a:pt x="4581" y="10"/>
                </a:lnTo>
                <a:lnTo>
                  <a:pt x="4558" y="10"/>
                </a:lnTo>
                <a:lnTo>
                  <a:pt x="4547" y="10"/>
                </a:lnTo>
                <a:lnTo>
                  <a:pt x="4535" y="10"/>
                </a:lnTo>
                <a:lnTo>
                  <a:pt x="4515" y="11"/>
                </a:lnTo>
                <a:lnTo>
                  <a:pt x="4495" y="11"/>
                </a:lnTo>
                <a:lnTo>
                  <a:pt x="4475" y="11"/>
                </a:lnTo>
                <a:lnTo>
                  <a:pt x="4455" y="12"/>
                </a:lnTo>
                <a:lnTo>
                  <a:pt x="4448" y="12"/>
                </a:lnTo>
                <a:lnTo>
                  <a:pt x="4442" y="12"/>
                </a:lnTo>
                <a:lnTo>
                  <a:pt x="4419" y="12"/>
                </a:lnTo>
                <a:lnTo>
                  <a:pt x="4397" y="13"/>
                </a:lnTo>
                <a:lnTo>
                  <a:pt x="4376" y="13"/>
                </a:lnTo>
                <a:lnTo>
                  <a:pt x="4354" y="13"/>
                </a:lnTo>
                <a:lnTo>
                  <a:pt x="4332" y="14"/>
                </a:lnTo>
                <a:lnTo>
                  <a:pt x="4310" y="14"/>
                </a:lnTo>
                <a:lnTo>
                  <a:pt x="4288" y="15"/>
                </a:lnTo>
                <a:lnTo>
                  <a:pt x="4266" y="15"/>
                </a:lnTo>
                <a:lnTo>
                  <a:pt x="4254" y="15"/>
                </a:lnTo>
                <a:lnTo>
                  <a:pt x="4242" y="16"/>
                </a:lnTo>
                <a:lnTo>
                  <a:pt x="4229" y="16"/>
                </a:lnTo>
                <a:lnTo>
                  <a:pt x="4217" y="16"/>
                </a:lnTo>
                <a:lnTo>
                  <a:pt x="4194" y="17"/>
                </a:lnTo>
                <a:lnTo>
                  <a:pt x="4172" y="17"/>
                </a:lnTo>
                <a:lnTo>
                  <a:pt x="4150" y="18"/>
                </a:lnTo>
                <a:lnTo>
                  <a:pt x="4127" y="18"/>
                </a:lnTo>
                <a:lnTo>
                  <a:pt x="4105" y="19"/>
                </a:lnTo>
                <a:lnTo>
                  <a:pt x="4083" y="19"/>
                </a:lnTo>
                <a:lnTo>
                  <a:pt x="4060" y="19"/>
                </a:lnTo>
                <a:lnTo>
                  <a:pt x="4038" y="20"/>
                </a:lnTo>
                <a:lnTo>
                  <a:pt x="4032" y="20"/>
                </a:lnTo>
                <a:lnTo>
                  <a:pt x="4027" y="20"/>
                </a:lnTo>
                <a:lnTo>
                  <a:pt x="4011" y="21"/>
                </a:lnTo>
                <a:lnTo>
                  <a:pt x="3994" y="21"/>
                </a:lnTo>
                <a:lnTo>
                  <a:pt x="3977" y="21"/>
                </a:lnTo>
                <a:lnTo>
                  <a:pt x="3960" y="22"/>
                </a:lnTo>
                <a:lnTo>
                  <a:pt x="3945" y="22"/>
                </a:lnTo>
                <a:lnTo>
                  <a:pt x="3928" y="23"/>
                </a:lnTo>
                <a:lnTo>
                  <a:pt x="3913" y="23"/>
                </a:lnTo>
                <a:lnTo>
                  <a:pt x="3897" y="23"/>
                </a:lnTo>
                <a:lnTo>
                  <a:pt x="3891" y="24"/>
                </a:lnTo>
                <a:lnTo>
                  <a:pt x="3886" y="24"/>
                </a:lnTo>
                <a:lnTo>
                  <a:pt x="3874" y="24"/>
                </a:lnTo>
                <a:lnTo>
                  <a:pt x="3862" y="24"/>
                </a:lnTo>
                <a:lnTo>
                  <a:pt x="3851" y="25"/>
                </a:lnTo>
                <a:lnTo>
                  <a:pt x="3839" y="25"/>
                </a:lnTo>
                <a:lnTo>
                  <a:pt x="3819" y="25"/>
                </a:lnTo>
                <a:lnTo>
                  <a:pt x="3800" y="26"/>
                </a:lnTo>
                <a:lnTo>
                  <a:pt x="3779" y="26"/>
                </a:lnTo>
                <a:lnTo>
                  <a:pt x="3759" y="27"/>
                </a:lnTo>
                <a:lnTo>
                  <a:pt x="3752" y="27"/>
                </a:lnTo>
                <a:lnTo>
                  <a:pt x="3746" y="27"/>
                </a:lnTo>
                <a:lnTo>
                  <a:pt x="3729" y="29"/>
                </a:lnTo>
                <a:lnTo>
                  <a:pt x="3713" y="29"/>
                </a:lnTo>
                <a:lnTo>
                  <a:pt x="3697" y="30"/>
                </a:lnTo>
                <a:lnTo>
                  <a:pt x="3681" y="30"/>
                </a:lnTo>
                <a:lnTo>
                  <a:pt x="3670" y="30"/>
                </a:lnTo>
                <a:lnTo>
                  <a:pt x="3658" y="31"/>
                </a:lnTo>
                <a:lnTo>
                  <a:pt x="3646" y="31"/>
                </a:lnTo>
                <a:lnTo>
                  <a:pt x="3635" y="32"/>
                </a:lnTo>
                <a:lnTo>
                  <a:pt x="3625" y="32"/>
                </a:lnTo>
                <a:lnTo>
                  <a:pt x="3616" y="32"/>
                </a:lnTo>
                <a:lnTo>
                  <a:pt x="3589" y="33"/>
                </a:lnTo>
                <a:lnTo>
                  <a:pt x="3563" y="34"/>
                </a:lnTo>
                <a:lnTo>
                  <a:pt x="3538" y="34"/>
                </a:lnTo>
                <a:lnTo>
                  <a:pt x="3512" y="35"/>
                </a:lnTo>
                <a:lnTo>
                  <a:pt x="3485" y="36"/>
                </a:lnTo>
                <a:lnTo>
                  <a:pt x="3459" y="37"/>
                </a:lnTo>
                <a:lnTo>
                  <a:pt x="3434" y="38"/>
                </a:lnTo>
                <a:lnTo>
                  <a:pt x="3408" y="38"/>
                </a:lnTo>
                <a:lnTo>
                  <a:pt x="3400" y="39"/>
                </a:lnTo>
                <a:lnTo>
                  <a:pt x="3391" y="39"/>
                </a:lnTo>
                <a:lnTo>
                  <a:pt x="3379" y="39"/>
                </a:lnTo>
                <a:lnTo>
                  <a:pt x="3368" y="40"/>
                </a:lnTo>
                <a:lnTo>
                  <a:pt x="3352" y="40"/>
                </a:lnTo>
                <a:lnTo>
                  <a:pt x="3337" y="41"/>
                </a:lnTo>
                <a:lnTo>
                  <a:pt x="3321" y="41"/>
                </a:lnTo>
                <a:lnTo>
                  <a:pt x="3306" y="42"/>
                </a:lnTo>
                <a:lnTo>
                  <a:pt x="3298" y="42"/>
                </a:lnTo>
                <a:lnTo>
                  <a:pt x="3288" y="43"/>
                </a:lnTo>
                <a:lnTo>
                  <a:pt x="3279" y="43"/>
                </a:lnTo>
                <a:lnTo>
                  <a:pt x="3270" y="43"/>
                </a:lnTo>
                <a:lnTo>
                  <a:pt x="3255" y="44"/>
                </a:lnTo>
                <a:lnTo>
                  <a:pt x="3241" y="44"/>
                </a:lnTo>
                <a:lnTo>
                  <a:pt x="3232" y="45"/>
                </a:lnTo>
                <a:lnTo>
                  <a:pt x="3222" y="45"/>
                </a:lnTo>
                <a:lnTo>
                  <a:pt x="3213" y="45"/>
                </a:lnTo>
                <a:lnTo>
                  <a:pt x="3203" y="46"/>
                </a:lnTo>
                <a:lnTo>
                  <a:pt x="3190" y="46"/>
                </a:lnTo>
                <a:lnTo>
                  <a:pt x="3177" y="47"/>
                </a:lnTo>
                <a:lnTo>
                  <a:pt x="3164" y="47"/>
                </a:lnTo>
                <a:lnTo>
                  <a:pt x="3151" y="47"/>
                </a:lnTo>
                <a:lnTo>
                  <a:pt x="3136" y="48"/>
                </a:lnTo>
                <a:lnTo>
                  <a:pt x="3120" y="49"/>
                </a:lnTo>
                <a:lnTo>
                  <a:pt x="3108" y="49"/>
                </a:lnTo>
                <a:lnTo>
                  <a:pt x="3096" y="50"/>
                </a:lnTo>
                <a:lnTo>
                  <a:pt x="3076" y="50"/>
                </a:lnTo>
                <a:lnTo>
                  <a:pt x="3056" y="51"/>
                </a:lnTo>
                <a:lnTo>
                  <a:pt x="3037" y="52"/>
                </a:lnTo>
                <a:lnTo>
                  <a:pt x="3017" y="53"/>
                </a:lnTo>
                <a:lnTo>
                  <a:pt x="3011" y="53"/>
                </a:lnTo>
                <a:lnTo>
                  <a:pt x="3004" y="53"/>
                </a:lnTo>
                <a:lnTo>
                  <a:pt x="2997" y="53"/>
                </a:lnTo>
                <a:lnTo>
                  <a:pt x="2989" y="54"/>
                </a:lnTo>
                <a:lnTo>
                  <a:pt x="2963" y="55"/>
                </a:lnTo>
                <a:lnTo>
                  <a:pt x="2937" y="56"/>
                </a:lnTo>
                <a:lnTo>
                  <a:pt x="2910" y="57"/>
                </a:lnTo>
                <a:lnTo>
                  <a:pt x="2884" y="58"/>
                </a:lnTo>
                <a:lnTo>
                  <a:pt x="2856" y="59"/>
                </a:lnTo>
                <a:lnTo>
                  <a:pt x="2830" y="60"/>
                </a:lnTo>
                <a:lnTo>
                  <a:pt x="2802" y="63"/>
                </a:lnTo>
                <a:lnTo>
                  <a:pt x="2775" y="64"/>
                </a:lnTo>
                <a:lnTo>
                  <a:pt x="2770" y="64"/>
                </a:lnTo>
                <a:lnTo>
                  <a:pt x="2765" y="64"/>
                </a:lnTo>
                <a:lnTo>
                  <a:pt x="2765" y="64"/>
                </a:lnTo>
                <a:lnTo>
                  <a:pt x="2764" y="64"/>
                </a:lnTo>
                <a:lnTo>
                  <a:pt x="2762" y="64"/>
                </a:lnTo>
                <a:lnTo>
                  <a:pt x="2758" y="64"/>
                </a:lnTo>
                <a:lnTo>
                  <a:pt x="2728" y="66"/>
                </a:lnTo>
                <a:lnTo>
                  <a:pt x="2698" y="67"/>
                </a:lnTo>
                <a:lnTo>
                  <a:pt x="2668" y="69"/>
                </a:lnTo>
                <a:lnTo>
                  <a:pt x="2638" y="70"/>
                </a:lnTo>
                <a:lnTo>
                  <a:pt x="2635" y="70"/>
                </a:lnTo>
                <a:lnTo>
                  <a:pt x="2632" y="70"/>
                </a:lnTo>
                <a:lnTo>
                  <a:pt x="2617" y="71"/>
                </a:lnTo>
                <a:lnTo>
                  <a:pt x="2603" y="72"/>
                </a:lnTo>
                <a:lnTo>
                  <a:pt x="2581" y="73"/>
                </a:lnTo>
                <a:lnTo>
                  <a:pt x="2559" y="74"/>
                </a:lnTo>
                <a:lnTo>
                  <a:pt x="2536" y="75"/>
                </a:lnTo>
                <a:lnTo>
                  <a:pt x="2514" y="76"/>
                </a:lnTo>
                <a:lnTo>
                  <a:pt x="2508" y="76"/>
                </a:lnTo>
                <a:lnTo>
                  <a:pt x="2502" y="77"/>
                </a:lnTo>
                <a:lnTo>
                  <a:pt x="2492" y="77"/>
                </a:lnTo>
                <a:lnTo>
                  <a:pt x="2480" y="78"/>
                </a:lnTo>
                <a:lnTo>
                  <a:pt x="2450" y="79"/>
                </a:lnTo>
                <a:lnTo>
                  <a:pt x="2421" y="81"/>
                </a:lnTo>
                <a:lnTo>
                  <a:pt x="2393" y="82"/>
                </a:lnTo>
                <a:lnTo>
                  <a:pt x="2364" y="84"/>
                </a:lnTo>
                <a:lnTo>
                  <a:pt x="2351" y="84"/>
                </a:lnTo>
                <a:lnTo>
                  <a:pt x="2339" y="85"/>
                </a:lnTo>
                <a:lnTo>
                  <a:pt x="2332" y="85"/>
                </a:lnTo>
                <a:lnTo>
                  <a:pt x="2325" y="86"/>
                </a:lnTo>
                <a:lnTo>
                  <a:pt x="2287" y="88"/>
                </a:lnTo>
                <a:lnTo>
                  <a:pt x="2250" y="90"/>
                </a:lnTo>
                <a:lnTo>
                  <a:pt x="2213" y="92"/>
                </a:lnTo>
                <a:lnTo>
                  <a:pt x="2176" y="94"/>
                </a:lnTo>
                <a:lnTo>
                  <a:pt x="2170" y="94"/>
                </a:lnTo>
                <a:lnTo>
                  <a:pt x="2163" y="95"/>
                </a:lnTo>
                <a:lnTo>
                  <a:pt x="2151" y="96"/>
                </a:lnTo>
                <a:lnTo>
                  <a:pt x="2139" y="96"/>
                </a:lnTo>
                <a:lnTo>
                  <a:pt x="2128" y="98"/>
                </a:lnTo>
                <a:lnTo>
                  <a:pt x="2115" y="99"/>
                </a:lnTo>
                <a:lnTo>
                  <a:pt x="2105" y="99"/>
                </a:lnTo>
                <a:lnTo>
                  <a:pt x="2095" y="100"/>
                </a:lnTo>
                <a:lnTo>
                  <a:pt x="2084" y="101"/>
                </a:lnTo>
                <a:lnTo>
                  <a:pt x="2074" y="101"/>
                </a:lnTo>
                <a:lnTo>
                  <a:pt x="2059" y="102"/>
                </a:lnTo>
                <a:lnTo>
                  <a:pt x="2044" y="103"/>
                </a:lnTo>
                <a:lnTo>
                  <a:pt x="2030" y="104"/>
                </a:lnTo>
                <a:lnTo>
                  <a:pt x="2015" y="105"/>
                </a:lnTo>
                <a:lnTo>
                  <a:pt x="2003" y="106"/>
                </a:lnTo>
                <a:lnTo>
                  <a:pt x="1990" y="106"/>
                </a:lnTo>
                <a:lnTo>
                  <a:pt x="1977" y="107"/>
                </a:lnTo>
                <a:lnTo>
                  <a:pt x="1965" y="108"/>
                </a:lnTo>
                <a:lnTo>
                  <a:pt x="1959" y="108"/>
                </a:lnTo>
                <a:lnTo>
                  <a:pt x="1952" y="109"/>
                </a:lnTo>
                <a:lnTo>
                  <a:pt x="1938" y="110"/>
                </a:lnTo>
                <a:lnTo>
                  <a:pt x="1924" y="111"/>
                </a:lnTo>
                <a:lnTo>
                  <a:pt x="1906" y="112"/>
                </a:lnTo>
                <a:lnTo>
                  <a:pt x="1890" y="113"/>
                </a:lnTo>
                <a:lnTo>
                  <a:pt x="1872" y="114"/>
                </a:lnTo>
                <a:lnTo>
                  <a:pt x="1855" y="115"/>
                </a:lnTo>
                <a:lnTo>
                  <a:pt x="1843" y="116"/>
                </a:lnTo>
                <a:lnTo>
                  <a:pt x="1832" y="117"/>
                </a:lnTo>
                <a:lnTo>
                  <a:pt x="1822" y="117"/>
                </a:lnTo>
                <a:lnTo>
                  <a:pt x="1810" y="118"/>
                </a:lnTo>
                <a:lnTo>
                  <a:pt x="1795" y="119"/>
                </a:lnTo>
                <a:lnTo>
                  <a:pt x="1779" y="120"/>
                </a:lnTo>
                <a:lnTo>
                  <a:pt x="1764" y="121"/>
                </a:lnTo>
                <a:lnTo>
                  <a:pt x="1748" y="122"/>
                </a:lnTo>
                <a:lnTo>
                  <a:pt x="1737" y="123"/>
                </a:lnTo>
                <a:lnTo>
                  <a:pt x="1726" y="124"/>
                </a:lnTo>
                <a:lnTo>
                  <a:pt x="1715" y="125"/>
                </a:lnTo>
                <a:lnTo>
                  <a:pt x="1704" y="126"/>
                </a:lnTo>
                <a:lnTo>
                  <a:pt x="1685" y="127"/>
                </a:lnTo>
                <a:lnTo>
                  <a:pt x="1668" y="128"/>
                </a:lnTo>
                <a:lnTo>
                  <a:pt x="1649" y="130"/>
                </a:lnTo>
                <a:lnTo>
                  <a:pt x="1631" y="132"/>
                </a:lnTo>
                <a:lnTo>
                  <a:pt x="1622" y="133"/>
                </a:lnTo>
                <a:lnTo>
                  <a:pt x="1611" y="133"/>
                </a:lnTo>
                <a:lnTo>
                  <a:pt x="1602" y="134"/>
                </a:lnTo>
                <a:lnTo>
                  <a:pt x="1592" y="135"/>
                </a:lnTo>
                <a:lnTo>
                  <a:pt x="1570" y="136"/>
                </a:lnTo>
                <a:lnTo>
                  <a:pt x="1547" y="138"/>
                </a:lnTo>
                <a:lnTo>
                  <a:pt x="1526" y="140"/>
                </a:lnTo>
                <a:lnTo>
                  <a:pt x="1504" y="142"/>
                </a:lnTo>
                <a:lnTo>
                  <a:pt x="1495" y="142"/>
                </a:lnTo>
                <a:lnTo>
                  <a:pt x="1487" y="143"/>
                </a:lnTo>
                <a:lnTo>
                  <a:pt x="1486" y="143"/>
                </a:lnTo>
                <a:lnTo>
                  <a:pt x="1484" y="143"/>
                </a:lnTo>
                <a:lnTo>
                  <a:pt x="1459" y="145"/>
                </a:lnTo>
                <a:lnTo>
                  <a:pt x="1433" y="147"/>
                </a:lnTo>
                <a:lnTo>
                  <a:pt x="1408" y="149"/>
                </a:lnTo>
                <a:lnTo>
                  <a:pt x="1382" y="152"/>
                </a:lnTo>
                <a:lnTo>
                  <a:pt x="1375" y="152"/>
                </a:lnTo>
                <a:lnTo>
                  <a:pt x="1367" y="153"/>
                </a:lnTo>
                <a:lnTo>
                  <a:pt x="1359" y="154"/>
                </a:lnTo>
                <a:lnTo>
                  <a:pt x="1352" y="154"/>
                </a:lnTo>
                <a:lnTo>
                  <a:pt x="1333" y="156"/>
                </a:lnTo>
                <a:lnTo>
                  <a:pt x="1315" y="157"/>
                </a:lnTo>
                <a:lnTo>
                  <a:pt x="1299" y="159"/>
                </a:lnTo>
                <a:lnTo>
                  <a:pt x="1281" y="160"/>
                </a:lnTo>
                <a:lnTo>
                  <a:pt x="1273" y="161"/>
                </a:lnTo>
                <a:lnTo>
                  <a:pt x="1266" y="162"/>
                </a:lnTo>
                <a:lnTo>
                  <a:pt x="1256" y="163"/>
                </a:lnTo>
                <a:lnTo>
                  <a:pt x="1245" y="164"/>
                </a:lnTo>
                <a:lnTo>
                  <a:pt x="1231" y="166"/>
                </a:lnTo>
                <a:lnTo>
                  <a:pt x="1216" y="167"/>
                </a:lnTo>
                <a:lnTo>
                  <a:pt x="1202" y="169"/>
                </a:lnTo>
                <a:lnTo>
                  <a:pt x="1188" y="170"/>
                </a:lnTo>
                <a:lnTo>
                  <a:pt x="1178" y="171"/>
                </a:lnTo>
                <a:lnTo>
                  <a:pt x="1169" y="172"/>
                </a:lnTo>
                <a:lnTo>
                  <a:pt x="1160" y="173"/>
                </a:lnTo>
                <a:lnTo>
                  <a:pt x="1151" y="174"/>
                </a:lnTo>
                <a:lnTo>
                  <a:pt x="1136" y="175"/>
                </a:lnTo>
                <a:lnTo>
                  <a:pt x="1122" y="176"/>
                </a:lnTo>
                <a:lnTo>
                  <a:pt x="1107" y="178"/>
                </a:lnTo>
                <a:lnTo>
                  <a:pt x="1093" y="179"/>
                </a:lnTo>
                <a:lnTo>
                  <a:pt x="1081" y="180"/>
                </a:lnTo>
                <a:lnTo>
                  <a:pt x="1070" y="181"/>
                </a:lnTo>
                <a:lnTo>
                  <a:pt x="1066" y="182"/>
                </a:lnTo>
                <a:lnTo>
                  <a:pt x="1062" y="182"/>
                </a:lnTo>
                <a:lnTo>
                  <a:pt x="1047" y="184"/>
                </a:lnTo>
                <a:lnTo>
                  <a:pt x="1033" y="185"/>
                </a:lnTo>
                <a:lnTo>
                  <a:pt x="1020" y="187"/>
                </a:lnTo>
                <a:lnTo>
                  <a:pt x="1005" y="188"/>
                </a:lnTo>
                <a:lnTo>
                  <a:pt x="991" y="190"/>
                </a:lnTo>
                <a:lnTo>
                  <a:pt x="977" y="191"/>
                </a:lnTo>
                <a:lnTo>
                  <a:pt x="961" y="193"/>
                </a:lnTo>
                <a:lnTo>
                  <a:pt x="945" y="195"/>
                </a:lnTo>
                <a:lnTo>
                  <a:pt x="930" y="196"/>
                </a:lnTo>
                <a:lnTo>
                  <a:pt x="914" y="198"/>
                </a:lnTo>
                <a:lnTo>
                  <a:pt x="906" y="200"/>
                </a:lnTo>
                <a:lnTo>
                  <a:pt x="897" y="201"/>
                </a:lnTo>
                <a:lnTo>
                  <a:pt x="897" y="201"/>
                </a:lnTo>
                <a:lnTo>
                  <a:pt x="896" y="201"/>
                </a:lnTo>
                <a:lnTo>
                  <a:pt x="884" y="203"/>
                </a:lnTo>
                <a:lnTo>
                  <a:pt x="871" y="204"/>
                </a:lnTo>
                <a:lnTo>
                  <a:pt x="859" y="205"/>
                </a:lnTo>
                <a:lnTo>
                  <a:pt x="847" y="207"/>
                </a:lnTo>
                <a:lnTo>
                  <a:pt x="838" y="208"/>
                </a:lnTo>
                <a:lnTo>
                  <a:pt x="829" y="209"/>
                </a:lnTo>
                <a:lnTo>
                  <a:pt x="820" y="210"/>
                </a:lnTo>
                <a:lnTo>
                  <a:pt x="811" y="211"/>
                </a:lnTo>
                <a:lnTo>
                  <a:pt x="795" y="213"/>
                </a:lnTo>
                <a:lnTo>
                  <a:pt x="779" y="215"/>
                </a:lnTo>
                <a:lnTo>
                  <a:pt x="764" y="217"/>
                </a:lnTo>
                <a:lnTo>
                  <a:pt x="749" y="219"/>
                </a:lnTo>
                <a:lnTo>
                  <a:pt x="749" y="219"/>
                </a:lnTo>
                <a:lnTo>
                  <a:pt x="749" y="219"/>
                </a:lnTo>
                <a:lnTo>
                  <a:pt x="736" y="220"/>
                </a:lnTo>
                <a:lnTo>
                  <a:pt x="725" y="222"/>
                </a:lnTo>
                <a:lnTo>
                  <a:pt x="713" y="223"/>
                </a:lnTo>
                <a:lnTo>
                  <a:pt x="703" y="225"/>
                </a:lnTo>
                <a:lnTo>
                  <a:pt x="692" y="226"/>
                </a:lnTo>
                <a:lnTo>
                  <a:pt x="682" y="228"/>
                </a:lnTo>
                <a:lnTo>
                  <a:pt x="671" y="229"/>
                </a:lnTo>
                <a:lnTo>
                  <a:pt x="662" y="230"/>
                </a:lnTo>
                <a:lnTo>
                  <a:pt x="652" y="232"/>
                </a:lnTo>
                <a:lnTo>
                  <a:pt x="642" y="234"/>
                </a:lnTo>
                <a:lnTo>
                  <a:pt x="629" y="236"/>
                </a:lnTo>
                <a:lnTo>
                  <a:pt x="618" y="238"/>
                </a:lnTo>
                <a:lnTo>
                  <a:pt x="617" y="238"/>
                </a:lnTo>
                <a:lnTo>
                  <a:pt x="617" y="238"/>
                </a:lnTo>
                <a:lnTo>
                  <a:pt x="601" y="240"/>
                </a:lnTo>
                <a:lnTo>
                  <a:pt x="586" y="242"/>
                </a:lnTo>
                <a:lnTo>
                  <a:pt x="571" y="244"/>
                </a:lnTo>
                <a:lnTo>
                  <a:pt x="557" y="247"/>
                </a:lnTo>
                <a:lnTo>
                  <a:pt x="545" y="248"/>
                </a:lnTo>
                <a:lnTo>
                  <a:pt x="535" y="250"/>
                </a:lnTo>
                <a:lnTo>
                  <a:pt x="526" y="251"/>
                </a:lnTo>
                <a:lnTo>
                  <a:pt x="517" y="253"/>
                </a:lnTo>
                <a:lnTo>
                  <a:pt x="508" y="254"/>
                </a:lnTo>
                <a:lnTo>
                  <a:pt x="499" y="255"/>
                </a:lnTo>
                <a:lnTo>
                  <a:pt x="499" y="256"/>
                </a:lnTo>
                <a:lnTo>
                  <a:pt x="498" y="256"/>
                </a:lnTo>
                <a:lnTo>
                  <a:pt x="490" y="257"/>
                </a:lnTo>
                <a:lnTo>
                  <a:pt x="483" y="258"/>
                </a:lnTo>
                <a:lnTo>
                  <a:pt x="472" y="260"/>
                </a:lnTo>
                <a:lnTo>
                  <a:pt x="463" y="262"/>
                </a:lnTo>
                <a:lnTo>
                  <a:pt x="454" y="263"/>
                </a:lnTo>
                <a:lnTo>
                  <a:pt x="444" y="265"/>
                </a:lnTo>
                <a:lnTo>
                  <a:pt x="434" y="266"/>
                </a:lnTo>
                <a:lnTo>
                  <a:pt x="425" y="269"/>
                </a:lnTo>
                <a:lnTo>
                  <a:pt x="411" y="272"/>
                </a:lnTo>
                <a:lnTo>
                  <a:pt x="398" y="274"/>
                </a:lnTo>
                <a:lnTo>
                  <a:pt x="396" y="274"/>
                </a:lnTo>
                <a:lnTo>
                  <a:pt x="394" y="275"/>
                </a:lnTo>
                <a:lnTo>
                  <a:pt x="384" y="277"/>
                </a:lnTo>
                <a:lnTo>
                  <a:pt x="373" y="279"/>
                </a:lnTo>
                <a:lnTo>
                  <a:pt x="359" y="281"/>
                </a:lnTo>
                <a:lnTo>
                  <a:pt x="346" y="284"/>
                </a:lnTo>
                <a:lnTo>
                  <a:pt x="335" y="286"/>
                </a:lnTo>
                <a:lnTo>
                  <a:pt x="326" y="288"/>
                </a:lnTo>
                <a:lnTo>
                  <a:pt x="318" y="290"/>
                </a:lnTo>
                <a:lnTo>
                  <a:pt x="308" y="291"/>
                </a:lnTo>
                <a:lnTo>
                  <a:pt x="304" y="292"/>
                </a:lnTo>
                <a:lnTo>
                  <a:pt x="300" y="293"/>
                </a:lnTo>
                <a:lnTo>
                  <a:pt x="291" y="295"/>
                </a:lnTo>
                <a:lnTo>
                  <a:pt x="282" y="297"/>
                </a:lnTo>
                <a:lnTo>
                  <a:pt x="269" y="300"/>
                </a:lnTo>
                <a:lnTo>
                  <a:pt x="258" y="304"/>
                </a:lnTo>
                <a:lnTo>
                  <a:pt x="250" y="306"/>
                </a:lnTo>
                <a:lnTo>
                  <a:pt x="241" y="308"/>
                </a:lnTo>
                <a:lnTo>
                  <a:pt x="236" y="309"/>
                </a:lnTo>
                <a:lnTo>
                  <a:pt x="231" y="310"/>
                </a:lnTo>
                <a:lnTo>
                  <a:pt x="225" y="312"/>
                </a:lnTo>
                <a:lnTo>
                  <a:pt x="219" y="313"/>
                </a:lnTo>
                <a:lnTo>
                  <a:pt x="210" y="315"/>
                </a:lnTo>
                <a:lnTo>
                  <a:pt x="203" y="317"/>
                </a:lnTo>
                <a:lnTo>
                  <a:pt x="193" y="320"/>
                </a:lnTo>
                <a:lnTo>
                  <a:pt x="183" y="323"/>
                </a:lnTo>
                <a:lnTo>
                  <a:pt x="175" y="325"/>
                </a:lnTo>
                <a:lnTo>
                  <a:pt x="169" y="327"/>
                </a:lnTo>
                <a:lnTo>
                  <a:pt x="167" y="327"/>
                </a:lnTo>
                <a:lnTo>
                  <a:pt x="165" y="328"/>
                </a:lnTo>
                <a:lnTo>
                  <a:pt x="156" y="331"/>
                </a:lnTo>
                <a:lnTo>
                  <a:pt x="148" y="333"/>
                </a:lnTo>
                <a:lnTo>
                  <a:pt x="142" y="335"/>
                </a:lnTo>
                <a:lnTo>
                  <a:pt x="137" y="338"/>
                </a:lnTo>
                <a:lnTo>
                  <a:pt x="125" y="342"/>
                </a:lnTo>
                <a:lnTo>
                  <a:pt x="113" y="346"/>
                </a:lnTo>
                <a:lnTo>
                  <a:pt x="111" y="347"/>
                </a:lnTo>
                <a:lnTo>
                  <a:pt x="108" y="348"/>
                </a:lnTo>
                <a:lnTo>
                  <a:pt x="96" y="352"/>
                </a:lnTo>
                <a:lnTo>
                  <a:pt x="84" y="357"/>
                </a:lnTo>
                <a:lnTo>
                  <a:pt x="81" y="359"/>
                </a:lnTo>
                <a:lnTo>
                  <a:pt x="76" y="360"/>
                </a:lnTo>
                <a:lnTo>
                  <a:pt x="70" y="363"/>
                </a:lnTo>
                <a:lnTo>
                  <a:pt x="64" y="366"/>
                </a:lnTo>
                <a:lnTo>
                  <a:pt x="63" y="366"/>
                </a:lnTo>
                <a:lnTo>
                  <a:pt x="62" y="367"/>
                </a:lnTo>
                <a:lnTo>
                  <a:pt x="58" y="369"/>
                </a:lnTo>
                <a:lnTo>
                  <a:pt x="55" y="372"/>
                </a:lnTo>
                <a:lnTo>
                  <a:pt x="49" y="375"/>
                </a:lnTo>
                <a:lnTo>
                  <a:pt x="44" y="378"/>
                </a:lnTo>
                <a:lnTo>
                  <a:pt x="40" y="380"/>
                </a:lnTo>
                <a:lnTo>
                  <a:pt x="36" y="382"/>
                </a:lnTo>
                <a:lnTo>
                  <a:pt x="33" y="384"/>
                </a:lnTo>
                <a:lnTo>
                  <a:pt x="30" y="386"/>
                </a:lnTo>
                <a:lnTo>
                  <a:pt x="29" y="387"/>
                </a:lnTo>
                <a:lnTo>
                  <a:pt x="28" y="388"/>
                </a:lnTo>
                <a:lnTo>
                  <a:pt x="25" y="391"/>
                </a:lnTo>
                <a:lnTo>
                  <a:pt x="22" y="393"/>
                </a:lnTo>
                <a:lnTo>
                  <a:pt x="19" y="396"/>
                </a:lnTo>
                <a:lnTo>
                  <a:pt x="16" y="398"/>
                </a:lnTo>
                <a:lnTo>
                  <a:pt x="14" y="401"/>
                </a:lnTo>
                <a:lnTo>
                  <a:pt x="12" y="403"/>
                </a:lnTo>
                <a:lnTo>
                  <a:pt x="9" y="406"/>
                </a:lnTo>
                <a:lnTo>
                  <a:pt x="8" y="407"/>
                </a:lnTo>
                <a:lnTo>
                  <a:pt x="7" y="409"/>
                </a:lnTo>
                <a:lnTo>
                  <a:pt x="6" y="411"/>
                </a:lnTo>
                <a:lnTo>
                  <a:pt x="5" y="412"/>
                </a:lnTo>
                <a:lnTo>
                  <a:pt x="4" y="413"/>
                </a:lnTo>
                <a:lnTo>
                  <a:pt x="2" y="418"/>
                </a:lnTo>
                <a:lnTo>
                  <a:pt x="0" y="423"/>
                </a:lnTo>
                <a:lnTo>
                  <a:pt x="0" y="426"/>
                </a:lnTo>
                <a:lnTo>
                  <a:pt x="0" y="428"/>
                </a:lnTo>
                <a:lnTo>
                  <a:pt x="0" y="431"/>
                </a:lnTo>
                <a:lnTo>
                  <a:pt x="0" y="433"/>
                </a:lnTo>
                <a:lnTo>
                  <a:pt x="0" y="435"/>
                </a:lnTo>
                <a:lnTo>
                  <a:pt x="0" y="436"/>
                </a:lnTo>
                <a:lnTo>
                  <a:pt x="2" y="443"/>
                </a:lnTo>
                <a:lnTo>
                  <a:pt x="4" y="448"/>
                </a:lnTo>
                <a:lnTo>
                  <a:pt x="89" y="607"/>
                </a:lnTo>
                <a:lnTo>
                  <a:pt x="172" y="767"/>
                </a:lnTo>
                <a:lnTo>
                  <a:pt x="257" y="927"/>
                </a:lnTo>
                <a:lnTo>
                  <a:pt x="341" y="1086"/>
                </a:lnTo>
                <a:lnTo>
                  <a:pt x="426" y="1246"/>
                </a:lnTo>
                <a:lnTo>
                  <a:pt x="509" y="1406"/>
                </a:lnTo>
                <a:lnTo>
                  <a:pt x="594" y="1565"/>
                </a:lnTo>
                <a:lnTo>
                  <a:pt x="678" y="1725"/>
                </a:lnTo>
                <a:lnTo>
                  <a:pt x="763" y="1885"/>
                </a:lnTo>
                <a:lnTo>
                  <a:pt x="846" y="2044"/>
                </a:lnTo>
                <a:lnTo>
                  <a:pt x="931" y="2204"/>
                </a:lnTo>
                <a:lnTo>
                  <a:pt x="1015" y="2364"/>
                </a:lnTo>
                <a:lnTo>
                  <a:pt x="1100" y="2523"/>
                </a:lnTo>
                <a:lnTo>
                  <a:pt x="1184" y="2683"/>
                </a:lnTo>
                <a:lnTo>
                  <a:pt x="1268" y="2843"/>
                </a:lnTo>
                <a:lnTo>
                  <a:pt x="1353" y="3002"/>
                </a:lnTo>
                <a:lnTo>
                  <a:pt x="1356" y="3008"/>
                </a:lnTo>
                <a:lnTo>
                  <a:pt x="1359" y="3012"/>
                </a:lnTo>
                <a:lnTo>
                  <a:pt x="1360" y="3013"/>
                </a:lnTo>
                <a:lnTo>
                  <a:pt x="1362" y="3015"/>
                </a:lnTo>
                <a:lnTo>
                  <a:pt x="1365" y="3018"/>
                </a:lnTo>
                <a:lnTo>
                  <a:pt x="1368" y="3020"/>
                </a:lnTo>
                <a:lnTo>
                  <a:pt x="1370" y="3022"/>
                </a:lnTo>
                <a:lnTo>
                  <a:pt x="1372" y="3024"/>
                </a:lnTo>
                <a:lnTo>
                  <a:pt x="1376" y="3026"/>
                </a:lnTo>
                <a:lnTo>
                  <a:pt x="1380" y="3029"/>
                </a:lnTo>
                <a:lnTo>
                  <a:pt x="1383" y="3030"/>
                </a:lnTo>
                <a:lnTo>
                  <a:pt x="1387" y="3032"/>
                </a:lnTo>
                <a:lnTo>
                  <a:pt x="1391" y="3035"/>
                </a:lnTo>
                <a:lnTo>
                  <a:pt x="1396" y="3038"/>
                </a:lnTo>
                <a:lnTo>
                  <a:pt x="1399" y="3040"/>
                </a:lnTo>
                <a:lnTo>
                  <a:pt x="1403" y="3042"/>
                </a:lnTo>
                <a:lnTo>
                  <a:pt x="1408" y="3044"/>
                </a:lnTo>
                <a:lnTo>
                  <a:pt x="1414" y="3046"/>
                </a:lnTo>
                <a:lnTo>
                  <a:pt x="1419" y="3048"/>
                </a:lnTo>
                <a:lnTo>
                  <a:pt x="1422" y="3050"/>
                </a:lnTo>
                <a:lnTo>
                  <a:pt x="1429" y="3052"/>
                </a:lnTo>
                <a:lnTo>
                  <a:pt x="1436" y="3055"/>
                </a:lnTo>
                <a:lnTo>
                  <a:pt x="1440" y="3056"/>
                </a:lnTo>
                <a:lnTo>
                  <a:pt x="1444" y="3058"/>
                </a:lnTo>
                <a:lnTo>
                  <a:pt x="1455" y="3061"/>
                </a:lnTo>
                <a:lnTo>
                  <a:pt x="1465" y="3064"/>
                </a:lnTo>
                <a:lnTo>
                  <a:pt x="1467" y="3065"/>
                </a:lnTo>
                <a:lnTo>
                  <a:pt x="1469" y="3066"/>
                </a:lnTo>
                <a:lnTo>
                  <a:pt x="1482" y="3070"/>
                </a:lnTo>
                <a:lnTo>
                  <a:pt x="1497" y="3075"/>
                </a:lnTo>
                <a:lnTo>
                  <a:pt x="1502" y="3076"/>
                </a:lnTo>
                <a:lnTo>
                  <a:pt x="1506" y="3077"/>
                </a:lnTo>
                <a:lnTo>
                  <a:pt x="1516" y="3080"/>
                </a:lnTo>
                <a:lnTo>
                  <a:pt x="1528" y="3083"/>
                </a:lnTo>
                <a:lnTo>
                  <a:pt x="1534" y="3084"/>
                </a:lnTo>
                <a:lnTo>
                  <a:pt x="1540" y="3086"/>
                </a:lnTo>
                <a:lnTo>
                  <a:pt x="1550" y="3088"/>
                </a:lnTo>
                <a:lnTo>
                  <a:pt x="1561" y="3091"/>
                </a:lnTo>
                <a:lnTo>
                  <a:pt x="1568" y="3092"/>
                </a:lnTo>
                <a:lnTo>
                  <a:pt x="1575" y="3094"/>
                </a:lnTo>
                <a:lnTo>
                  <a:pt x="1587" y="3096"/>
                </a:lnTo>
                <a:lnTo>
                  <a:pt x="1597" y="3098"/>
                </a:lnTo>
                <a:lnTo>
                  <a:pt x="1605" y="3100"/>
                </a:lnTo>
                <a:lnTo>
                  <a:pt x="1613" y="3102"/>
                </a:lnTo>
                <a:lnTo>
                  <a:pt x="1625" y="3104"/>
                </a:lnTo>
                <a:lnTo>
                  <a:pt x="1636" y="3107"/>
                </a:lnTo>
                <a:lnTo>
                  <a:pt x="1644" y="3109"/>
                </a:lnTo>
                <a:lnTo>
                  <a:pt x="1654" y="3110"/>
                </a:lnTo>
                <a:lnTo>
                  <a:pt x="1666" y="3113"/>
                </a:lnTo>
                <a:lnTo>
                  <a:pt x="1678" y="3115"/>
                </a:lnTo>
                <a:lnTo>
                  <a:pt x="1687" y="3116"/>
                </a:lnTo>
                <a:lnTo>
                  <a:pt x="1696" y="3118"/>
                </a:lnTo>
                <a:lnTo>
                  <a:pt x="1710" y="3120"/>
                </a:lnTo>
                <a:lnTo>
                  <a:pt x="1726" y="3123"/>
                </a:lnTo>
                <a:lnTo>
                  <a:pt x="1733" y="3124"/>
                </a:lnTo>
                <a:lnTo>
                  <a:pt x="1740" y="3125"/>
                </a:lnTo>
                <a:lnTo>
                  <a:pt x="1751" y="3127"/>
                </a:lnTo>
                <a:lnTo>
                  <a:pt x="1763" y="3129"/>
                </a:lnTo>
                <a:lnTo>
                  <a:pt x="1775" y="3131"/>
                </a:lnTo>
                <a:lnTo>
                  <a:pt x="1786" y="3132"/>
                </a:lnTo>
                <a:lnTo>
                  <a:pt x="1795" y="3134"/>
                </a:lnTo>
                <a:lnTo>
                  <a:pt x="1803" y="3135"/>
                </a:lnTo>
                <a:lnTo>
                  <a:pt x="1811" y="3136"/>
                </a:lnTo>
                <a:lnTo>
                  <a:pt x="1819" y="3137"/>
                </a:lnTo>
                <a:lnTo>
                  <a:pt x="1828" y="3138"/>
                </a:lnTo>
                <a:lnTo>
                  <a:pt x="1836" y="3141"/>
                </a:lnTo>
                <a:lnTo>
                  <a:pt x="1847" y="3142"/>
                </a:lnTo>
                <a:lnTo>
                  <a:pt x="1859" y="3144"/>
                </a:lnTo>
                <a:lnTo>
                  <a:pt x="1873" y="3146"/>
                </a:lnTo>
                <a:lnTo>
                  <a:pt x="1889" y="3148"/>
                </a:lnTo>
                <a:lnTo>
                  <a:pt x="1901" y="3149"/>
                </a:lnTo>
                <a:lnTo>
                  <a:pt x="1912" y="3151"/>
                </a:lnTo>
                <a:lnTo>
                  <a:pt x="1928" y="3153"/>
                </a:lnTo>
                <a:lnTo>
                  <a:pt x="1943" y="3155"/>
                </a:lnTo>
                <a:lnTo>
                  <a:pt x="1957" y="3156"/>
                </a:lnTo>
                <a:lnTo>
                  <a:pt x="1969" y="3158"/>
                </a:lnTo>
                <a:lnTo>
                  <a:pt x="1977" y="3159"/>
                </a:lnTo>
                <a:lnTo>
                  <a:pt x="1984" y="3160"/>
                </a:lnTo>
                <a:lnTo>
                  <a:pt x="1993" y="3161"/>
                </a:lnTo>
                <a:lnTo>
                  <a:pt x="2001" y="3162"/>
                </a:lnTo>
                <a:lnTo>
                  <a:pt x="2013" y="3163"/>
                </a:lnTo>
                <a:lnTo>
                  <a:pt x="2027" y="3165"/>
                </a:lnTo>
                <a:lnTo>
                  <a:pt x="2036" y="3166"/>
                </a:lnTo>
                <a:lnTo>
                  <a:pt x="2044" y="3167"/>
                </a:lnTo>
                <a:lnTo>
                  <a:pt x="2052" y="3168"/>
                </a:lnTo>
                <a:lnTo>
                  <a:pt x="2061" y="3169"/>
                </a:lnTo>
                <a:lnTo>
                  <a:pt x="2074" y="3170"/>
                </a:lnTo>
                <a:lnTo>
                  <a:pt x="2087" y="3172"/>
                </a:lnTo>
                <a:lnTo>
                  <a:pt x="2097" y="3173"/>
                </a:lnTo>
                <a:lnTo>
                  <a:pt x="2106" y="3175"/>
                </a:lnTo>
                <a:lnTo>
                  <a:pt x="2115" y="3176"/>
                </a:lnTo>
                <a:lnTo>
                  <a:pt x="2126" y="3177"/>
                </a:lnTo>
                <a:lnTo>
                  <a:pt x="2138" y="3178"/>
                </a:lnTo>
                <a:lnTo>
                  <a:pt x="2150" y="3179"/>
                </a:lnTo>
                <a:lnTo>
                  <a:pt x="2166" y="3181"/>
                </a:lnTo>
                <a:lnTo>
                  <a:pt x="2181" y="3182"/>
                </a:lnTo>
                <a:lnTo>
                  <a:pt x="2197" y="3184"/>
                </a:lnTo>
                <a:lnTo>
                  <a:pt x="2212" y="3186"/>
                </a:lnTo>
                <a:lnTo>
                  <a:pt x="2225" y="3187"/>
                </a:lnTo>
                <a:lnTo>
                  <a:pt x="2236" y="3188"/>
                </a:lnTo>
                <a:lnTo>
                  <a:pt x="2246" y="3189"/>
                </a:lnTo>
                <a:lnTo>
                  <a:pt x="2258" y="3190"/>
                </a:lnTo>
                <a:lnTo>
                  <a:pt x="2269" y="3191"/>
                </a:lnTo>
                <a:lnTo>
                  <a:pt x="2279" y="3192"/>
                </a:lnTo>
                <a:lnTo>
                  <a:pt x="2295" y="3193"/>
                </a:lnTo>
                <a:lnTo>
                  <a:pt x="2310" y="3195"/>
                </a:lnTo>
                <a:lnTo>
                  <a:pt x="2319" y="3196"/>
                </a:lnTo>
                <a:lnTo>
                  <a:pt x="2329" y="3196"/>
                </a:lnTo>
                <a:lnTo>
                  <a:pt x="2338" y="3197"/>
                </a:lnTo>
                <a:lnTo>
                  <a:pt x="2348" y="3198"/>
                </a:lnTo>
                <a:lnTo>
                  <a:pt x="2356" y="3199"/>
                </a:lnTo>
                <a:lnTo>
                  <a:pt x="2365" y="3200"/>
                </a:lnTo>
                <a:lnTo>
                  <a:pt x="2373" y="3200"/>
                </a:lnTo>
                <a:lnTo>
                  <a:pt x="2381" y="3201"/>
                </a:lnTo>
                <a:lnTo>
                  <a:pt x="2390" y="3202"/>
                </a:lnTo>
                <a:lnTo>
                  <a:pt x="2400" y="3203"/>
                </a:lnTo>
                <a:lnTo>
                  <a:pt x="2410" y="3203"/>
                </a:lnTo>
                <a:lnTo>
                  <a:pt x="2419" y="3204"/>
                </a:lnTo>
                <a:lnTo>
                  <a:pt x="2428" y="3205"/>
                </a:lnTo>
                <a:lnTo>
                  <a:pt x="2437" y="3206"/>
                </a:lnTo>
                <a:lnTo>
                  <a:pt x="2445" y="3206"/>
                </a:lnTo>
                <a:lnTo>
                  <a:pt x="2453" y="3207"/>
                </a:lnTo>
                <a:lnTo>
                  <a:pt x="2464" y="3209"/>
                </a:lnTo>
                <a:lnTo>
                  <a:pt x="2473" y="3210"/>
                </a:lnTo>
                <a:lnTo>
                  <a:pt x="2483" y="3211"/>
                </a:lnTo>
                <a:lnTo>
                  <a:pt x="2494" y="3211"/>
                </a:lnTo>
                <a:lnTo>
                  <a:pt x="2502" y="3212"/>
                </a:lnTo>
                <a:lnTo>
                  <a:pt x="2510" y="3213"/>
                </a:lnTo>
                <a:lnTo>
                  <a:pt x="2519" y="3213"/>
                </a:lnTo>
                <a:lnTo>
                  <a:pt x="2528" y="3214"/>
                </a:lnTo>
                <a:lnTo>
                  <a:pt x="2538" y="3215"/>
                </a:lnTo>
                <a:lnTo>
                  <a:pt x="2548" y="3216"/>
                </a:lnTo>
                <a:lnTo>
                  <a:pt x="2559" y="3216"/>
                </a:lnTo>
                <a:lnTo>
                  <a:pt x="2569" y="3217"/>
                </a:lnTo>
                <a:lnTo>
                  <a:pt x="2578" y="3218"/>
                </a:lnTo>
                <a:lnTo>
                  <a:pt x="2586" y="3219"/>
                </a:lnTo>
                <a:lnTo>
                  <a:pt x="2596" y="3219"/>
                </a:lnTo>
                <a:lnTo>
                  <a:pt x="2604" y="3220"/>
                </a:lnTo>
                <a:lnTo>
                  <a:pt x="2615" y="3221"/>
                </a:lnTo>
                <a:lnTo>
                  <a:pt x="2626" y="3221"/>
                </a:lnTo>
                <a:lnTo>
                  <a:pt x="2637" y="3222"/>
                </a:lnTo>
                <a:lnTo>
                  <a:pt x="2647" y="3223"/>
                </a:lnTo>
                <a:lnTo>
                  <a:pt x="2656" y="3224"/>
                </a:lnTo>
                <a:lnTo>
                  <a:pt x="2665" y="3224"/>
                </a:lnTo>
                <a:lnTo>
                  <a:pt x="2673" y="3225"/>
                </a:lnTo>
                <a:lnTo>
                  <a:pt x="2682" y="3226"/>
                </a:lnTo>
                <a:lnTo>
                  <a:pt x="2697" y="3227"/>
                </a:lnTo>
                <a:lnTo>
                  <a:pt x="2711" y="3228"/>
                </a:lnTo>
                <a:lnTo>
                  <a:pt x="2725" y="3229"/>
                </a:lnTo>
                <a:lnTo>
                  <a:pt x="2740" y="3230"/>
                </a:lnTo>
                <a:lnTo>
                  <a:pt x="2751" y="3230"/>
                </a:lnTo>
                <a:lnTo>
                  <a:pt x="2764" y="3231"/>
                </a:lnTo>
                <a:lnTo>
                  <a:pt x="2775" y="3232"/>
                </a:lnTo>
                <a:lnTo>
                  <a:pt x="2786" y="3233"/>
                </a:lnTo>
                <a:lnTo>
                  <a:pt x="2800" y="3234"/>
                </a:lnTo>
                <a:lnTo>
                  <a:pt x="2813" y="3234"/>
                </a:lnTo>
                <a:lnTo>
                  <a:pt x="2826" y="3235"/>
                </a:lnTo>
                <a:lnTo>
                  <a:pt x="2841" y="3236"/>
                </a:lnTo>
                <a:lnTo>
                  <a:pt x="2850" y="3237"/>
                </a:lnTo>
                <a:lnTo>
                  <a:pt x="2859" y="3237"/>
                </a:lnTo>
                <a:lnTo>
                  <a:pt x="2869" y="3238"/>
                </a:lnTo>
                <a:lnTo>
                  <a:pt x="2878" y="3239"/>
                </a:lnTo>
                <a:lnTo>
                  <a:pt x="2889" y="3239"/>
                </a:lnTo>
                <a:lnTo>
                  <a:pt x="2901" y="3240"/>
                </a:lnTo>
                <a:lnTo>
                  <a:pt x="2913" y="3241"/>
                </a:lnTo>
                <a:lnTo>
                  <a:pt x="2924" y="3242"/>
                </a:lnTo>
                <a:lnTo>
                  <a:pt x="2935" y="3242"/>
                </a:lnTo>
                <a:lnTo>
                  <a:pt x="2944" y="3244"/>
                </a:lnTo>
                <a:lnTo>
                  <a:pt x="2954" y="3244"/>
                </a:lnTo>
                <a:lnTo>
                  <a:pt x="2965" y="3245"/>
                </a:lnTo>
                <a:lnTo>
                  <a:pt x="2976" y="3246"/>
                </a:lnTo>
                <a:lnTo>
                  <a:pt x="2987" y="3246"/>
                </a:lnTo>
                <a:lnTo>
                  <a:pt x="2999" y="3247"/>
                </a:lnTo>
                <a:lnTo>
                  <a:pt x="3010" y="3248"/>
                </a:lnTo>
                <a:lnTo>
                  <a:pt x="3018" y="3248"/>
                </a:lnTo>
                <a:lnTo>
                  <a:pt x="3027" y="3249"/>
                </a:lnTo>
                <a:lnTo>
                  <a:pt x="3039" y="3249"/>
                </a:lnTo>
                <a:lnTo>
                  <a:pt x="3049" y="3250"/>
                </a:lnTo>
                <a:lnTo>
                  <a:pt x="3064" y="3251"/>
                </a:lnTo>
                <a:lnTo>
                  <a:pt x="3078" y="3251"/>
                </a:lnTo>
                <a:lnTo>
                  <a:pt x="3092" y="3252"/>
                </a:lnTo>
                <a:lnTo>
                  <a:pt x="3107" y="3253"/>
                </a:lnTo>
                <a:lnTo>
                  <a:pt x="3116" y="3254"/>
                </a:lnTo>
                <a:lnTo>
                  <a:pt x="3124" y="3254"/>
                </a:lnTo>
                <a:lnTo>
                  <a:pt x="3134" y="3255"/>
                </a:lnTo>
                <a:lnTo>
                  <a:pt x="3142" y="3255"/>
                </a:lnTo>
                <a:lnTo>
                  <a:pt x="3159" y="3256"/>
                </a:lnTo>
                <a:lnTo>
                  <a:pt x="3178" y="3257"/>
                </a:lnTo>
                <a:lnTo>
                  <a:pt x="3196" y="3258"/>
                </a:lnTo>
                <a:lnTo>
                  <a:pt x="3213" y="3259"/>
                </a:lnTo>
                <a:lnTo>
                  <a:pt x="3225" y="3259"/>
                </a:lnTo>
                <a:lnTo>
                  <a:pt x="3238" y="3260"/>
                </a:lnTo>
                <a:lnTo>
                  <a:pt x="3261" y="3261"/>
                </a:lnTo>
                <a:lnTo>
                  <a:pt x="3285" y="3262"/>
                </a:lnTo>
                <a:lnTo>
                  <a:pt x="3309" y="3264"/>
                </a:lnTo>
                <a:lnTo>
                  <a:pt x="3333" y="3265"/>
                </a:lnTo>
                <a:lnTo>
                  <a:pt x="3341" y="3265"/>
                </a:lnTo>
                <a:lnTo>
                  <a:pt x="3349" y="3265"/>
                </a:lnTo>
                <a:lnTo>
                  <a:pt x="3356" y="3266"/>
                </a:lnTo>
                <a:lnTo>
                  <a:pt x="3365" y="3266"/>
                </a:lnTo>
                <a:lnTo>
                  <a:pt x="3381" y="3267"/>
                </a:lnTo>
                <a:lnTo>
                  <a:pt x="3398" y="3268"/>
                </a:lnTo>
                <a:lnTo>
                  <a:pt x="3413" y="3268"/>
                </a:lnTo>
                <a:lnTo>
                  <a:pt x="3429" y="3269"/>
                </a:lnTo>
                <a:lnTo>
                  <a:pt x="3439" y="3270"/>
                </a:lnTo>
                <a:lnTo>
                  <a:pt x="3448" y="3270"/>
                </a:lnTo>
                <a:lnTo>
                  <a:pt x="3455" y="3270"/>
                </a:lnTo>
                <a:lnTo>
                  <a:pt x="3462" y="3271"/>
                </a:lnTo>
                <a:lnTo>
                  <a:pt x="3501" y="3272"/>
                </a:lnTo>
                <a:lnTo>
                  <a:pt x="3539" y="3274"/>
                </a:lnTo>
                <a:lnTo>
                  <a:pt x="3577" y="3276"/>
                </a:lnTo>
                <a:lnTo>
                  <a:pt x="3615" y="3278"/>
                </a:lnTo>
                <a:lnTo>
                  <a:pt x="3627" y="3279"/>
                </a:lnTo>
                <a:lnTo>
                  <a:pt x="3640" y="3279"/>
                </a:lnTo>
                <a:lnTo>
                  <a:pt x="3659" y="3280"/>
                </a:lnTo>
                <a:lnTo>
                  <a:pt x="3679" y="3281"/>
                </a:lnTo>
                <a:lnTo>
                  <a:pt x="3700" y="3282"/>
                </a:lnTo>
                <a:lnTo>
                  <a:pt x="3719" y="3282"/>
                </a:lnTo>
                <a:lnTo>
                  <a:pt x="3739" y="3283"/>
                </a:lnTo>
                <a:lnTo>
                  <a:pt x="3758" y="3284"/>
                </a:lnTo>
                <a:lnTo>
                  <a:pt x="3779" y="3285"/>
                </a:lnTo>
                <a:lnTo>
                  <a:pt x="3798" y="3285"/>
                </a:lnTo>
                <a:lnTo>
                  <a:pt x="3804" y="3286"/>
                </a:lnTo>
                <a:lnTo>
                  <a:pt x="3810" y="3286"/>
                </a:lnTo>
                <a:lnTo>
                  <a:pt x="3817" y="3286"/>
                </a:lnTo>
                <a:lnTo>
                  <a:pt x="3825" y="3286"/>
                </a:lnTo>
                <a:lnTo>
                  <a:pt x="3861" y="3288"/>
                </a:lnTo>
                <a:lnTo>
                  <a:pt x="3897" y="3289"/>
                </a:lnTo>
                <a:lnTo>
                  <a:pt x="3935" y="3290"/>
                </a:lnTo>
                <a:lnTo>
                  <a:pt x="3971" y="3291"/>
                </a:lnTo>
                <a:lnTo>
                  <a:pt x="3983" y="3292"/>
                </a:lnTo>
                <a:lnTo>
                  <a:pt x="3995" y="3292"/>
                </a:lnTo>
                <a:lnTo>
                  <a:pt x="4030" y="3293"/>
                </a:lnTo>
                <a:lnTo>
                  <a:pt x="4066" y="3294"/>
                </a:lnTo>
                <a:lnTo>
                  <a:pt x="4103" y="3295"/>
                </a:lnTo>
                <a:lnTo>
                  <a:pt x="4139" y="3296"/>
                </a:lnTo>
                <a:lnTo>
                  <a:pt x="4145" y="3297"/>
                </a:lnTo>
                <a:lnTo>
                  <a:pt x="4151" y="3297"/>
                </a:lnTo>
                <a:lnTo>
                  <a:pt x="4153" y="3297"/>
                </a:lnTo>
                <a:lnTo>
                  <a:pt x="4155" y="3297"/>
                </a:lnTo>
                <a:lnTo>
                  <a:pt x="4191" y="3298"/>
                </a:lnTo>
                <a:lnTo>
                  <a:pt x="4227" y="3299"/>
                </a:lnTo>
                <a:lnTo>
                  <a:pt x="4263" y="3300"/>
                </a:lnTo>
                <a:lnTo>
                  <a:pt x="4299" y="3301"/>
                </a:lnTo>
                <a:lnTo>
                  <a:pt x="4307" y="3301"/>
                </a:lnTo>
                <a:lnTo>
                  <a:pt x="4315" y="3301"/>
                </a:lnTo>
                <a:lnTo>
                  <a:pt x="4322" y="3301"/>
                </a:lnTo>
                <a:lnTo>
                  <a:pt x="4330" y="3302"/>
                </a:lnTo>
                <a:lnTo>
                  <a:pt x="4365" y="3303"/>
                </a:lnTo>
                <a:lnTo>
                  <a:pt x="4401" y="3303"/>
                </a:lnTo>
                <a:lnTo>
                  <a:pt x="4438" y="3304"/>
                </a:lnTo>
                <a:lnTo>
                  <a:pt x="4473" y="3305"/>
                </a:lnTo>
                <a:lnTo>
                  <a:pt x="4480" y="3305"/>
                </a:lnTo>
                <a:lnTo>
                  <a:pt x="4487" y="3305"/>
                </a:lnTo>
                <a:lnTo>
                  <a:pt x="4497" y="3306"/>
                </a:lnTo>
                <a:lnTo>
                  <a:pt x="4508" y="3306"/>
                </a:lnTo>
                <a:lnTo>
                  <a:pt x="4544" y="3307"/>
                </a:lnTo>
                <a:lnTo>
                  <a:pt x="4580" y="3307"/>
                </a:lnTo>
                <a:lnTo>
                  <a:pt x="4616" y="3308"/>
                </a:lnTo>
                <a:lnTo>
                  <a:pt x="4652" y="3309"/>
                </a:lnTo>
                <a:lnTo>
                  <a:pt x="4654" y="3309"/>
                </a:lnTo>
                <a:lnTo>
                  <a:pt x="4655" y="3309"/>
                </a:lnTo>
                <a:lnTo>
                  <a:pt x="4693" y="3310"/>
                </a:lnTo>
                <a:lnTo>
                  <a:pt x="4730" y="3310"/>
                </a:lnTo>
                <a:lnTo>
                  <a:pt x="4768" y="3312"/>
                </a:lnTo>
                <a:lnTo>
                  <a:pt x="4807" y="3313"/>
                </a:lnTo>
                <a:lnTo>
                  <a:pt x="4816" y="3313"/>
                </a:lnTo>
                <a:lnTo>
                  <a:pt x="4825" y="3313"/>
                </a:lnTo>
                <a:lnTo>
                  <a:pt x="4832" y="3313"/>
                </a:lnTo>
                <a:lnTo>
                  <a:pt x="4840" y="3313"/>
                </a:lnTo>
                <a:lnTo>
                  <a:pt x="4877" y="3314"/>
                </a:lnTo>
                <a:lnTo>
                  <a:pt x="4915" y="3314"/>
                </a:lnTo>
                <a:lnTo>
                  <a:pt x="4953" y="3315"/>
                </a:lnTo>
                <a:lnTo>
                  <a:pt x="4991" y="3315"/>
                </a:lnTo>
                <a:lnTo>
                  <a:pt x="5004" y="3315"/>
                </a:lnTo>
                <a:lnTo>
                  <a:pt x="5018" y="3316"/>
                </a:lnTo>
                <a:lnTo>
                  <a:pt x="5055" y="3316"/>
                </a:lnTo>
                <a:lnTo>
                  <a:pt x="5093" y="3317"/>
                </a:lnTo>
                <a:lnTo>
                  <a:pt x="5131" y="3317"/>
                </a:lnTo>
                <a:lnTo>
                  <a:pt x="5169" y="3317"/>
                </a:lnTo>
                <a:lnTo>
                  <a:pt x="5173" y="3318"/>
                </a:lnTo>
                <a:lnTo>
                  <a:pt x="5178" y="3318"/>
                </a:lnTo>
                <a:lnTo>
                  <a:pt x="5180" y="3318"/>
                </a:lnTo>
                <a:lnTo>
                  <a:pt x="5181" y="3318"/>
                </a:lnTo>
                <a:lnTo>
                  <a:pt x="5202" y="3318"/>
                </a:lnTo>
                <a:lnTo>
                  <a:pt x="5223" y="3318"/>
                </a:lnTo>
                <a:lnTo>
                  <a:pt x="5245" y="3318"/>
                </a:lnTo>
                <a:lnTo>
                  <a:pt x="5266" y="3318"/>
                </a:lnTo>
                <a:lnTo>
                  <a:pt x="5288" y="3319"/>
                </a:lnTo>
                <a:lnTo>
                  <a:pt x="5309" y="3319"/>
                </a:lnTo>
                <a:lnTo>
                  <a:pt x="5330" y="3319"/>
                </a:lnTo>
                <a:lnTo>
                  <a:pt x="5352" y="3319"/>
                </a:lnTo>
                <a:lnTo>
                  <a:pt x="5364" y="3319"/>
                </a:lnTo>
                <a:lnTo>
                  <a:pt x="5376" y="3319"/>
                </a:lnTo>
                <a:lnTo>
                  <a:pt x="5397" y="3319"/>
                </a:lnTo>
                <a:lnTo>
                  <a:pt x="5419" y="3320"/>
                </a:lnTo>
                <a:lnTo>
                  <a:pt x="5439" y="3320"/>
                </a:lnTo>
                <a:lnTo>
                  <a:pt x="5461" y="3320"/>
                </a:lnTo>
                <a:lnTo>
                  <a:pt x="5483" y="3320"/>
                </a:lnTo>
                <a:lnTo>
                  <a:pt x="5504" y="3320"/>
                </a:lnTo>
                <a:lnTo>
                  <a:pt x="5526" y="3320"/>
                </a:lnTo>
                <a:lnTo>
                  <a:pt x="5548" y="3320"/>
                </a:lnTo>
                <a:lnTo>
                  <a:pt x="5552" y="3320"/>
                </a:lnTo>
                <a:lnTo>
                  <a:pt x="5557" y="3320"/>
                </a:lnTo>
                <a:lnTo>
                  <a:pt x="5564" y="3320"/>
                </a:lnTo>
                <a:lnTo>
                  <a:pt x="5570" y="3320"/>
                </a:lnTo>
                <a:lnTo>
                  <a:pt x="5591" y="3320"/>
                </a:lnTo>
                <a:lnTo>
                  <a:pt x="5612" y="3320"/>
                </a:lnTo>
                <a:lnTo>
                  <a:pt x="5631" y="3320"/>
                </a:lnTo>
                <a:lnTo>
                  <a:pt x="5652" y="3321"/>
                </a:lnTo>
                <a:lnTo>
                  <a:pt x="5672" y="3321"/>
                </a:lnTo>
                <a:lnTo>
                  <a:pt x="5692" y="3321"/>
                </a:lnTo>
                <a:lnTo>
                  <a:pt x="5713" y="3321"/>
                </a:lnTo>
                <a:lnTo>
                  <a:pt x="5733" y="3321"/>
                </a:lnTo>
                <a:lnTo>
                  <a:pt x="5764" y="3321"/>
                </a:lnTo>
                <a:lnTo>
                  <a:pt x="5794" y="3321"/>
                </a:lnTo>
                <a:lnTo>
                  <a:pt x="5825" y="3321"/>
                </a:lnTo>
                <a:lnTo>
                  <a:pt x="5856" y="3321"/>
                </a:lnTo>
                <a:lnTo>
                  <a:pt x="5886" y="3321"/>
                </a:lnTo>
                <a:lnTo>
                  <a:pt x="5917" y="3321"/>
                </a:lnTo>
                <a:lnTo>
                  <a:pt x="5947" y="3321"/>
                </a:lnTo>
                <a:lnTo>
                  <a:pt x="5977" y="3321"/>
                </a:lnTo>
                <a:lnTo>
                  <a:pt x="5980" y="3321"/>
                </a:lnTo>
                <a:lnTo>
                  <a:pt x="5982" y="3321"/>
                </a:lnTo>
                <a:lnTo>
                  <a:pt x="5985" y="3321"/>
                </a:lnTo>
                <a:lnTo>
                  <a:pt x="5988" y="3320"/>
                </a:lnTo>
                <a:lnTo>
                  <a:pt x="6018" y="3320"/>
                </a:lnTo>
                <a:lnTo>
                  <a:pt x="6047" y="3320"/>
                </a:lnTo>
                <a:lnTo>
                  <a:pt x="6076" y="3320"/>
                </a:lnTo>
                <a:lnTo>
                  <a:pt x="6105" y="3320"/>
                </a:lnTo>
                <a:lnTo>
                  <a:pt x="6135" y="3320"/>
                </a:lnTo>
                <a:lnTo>
                  <a:pt x="6164" y="3320"/>
                </a:lnTo>
                <a:lnTo>
                  <a:pt x="6193" y="3320"/>
                </a:lnTo>
                <a:lnTo>
                  <a:pt x="6222" y="3319"/>
                </a:lnTo>
                <a:lnTo>
                  <a:pt x="6232" y="3319"/>
                </a:lnTo>
                <a:lnTo>
                  <a:pt x="6242" y="3319"/>
                </a:lnTo>
                <a:lnTo>
                  <a:pt x="6270" y="3319"/>
                </a:lnTo>
                <a:lnTo>
                  <a:pt x="6298" y="3319"/>
                </a:lnTo>
                <a:lnTo>
                  <a:pt x="6327" y="3319"/>
                </a:lnTo>
                <a:lnTo>
                  <a:pt x="6355" y="3318"/>
                </a:lnTo>
                <a:lnTo>
                  <a:pt x="6383" y="3318"/>
                </a:lnTo>
                <a:lnTo>
                  <a:pt x="6410" y="3318"/>
                </a:lnTo>
                <a:lnTo>
                  <a:pt x="6438" y="3318"/>
                </a:lnTo>
                <a:lnTo>
                  <a:pt x="6466" y="3317"/>
                </a:lnTo>
                <a:lnTo>
                  <a:pt x="6472" y="3317"/>
                </a:lnTo>
                <a:lnTo>
                  <a:pt x="6477" y="3317"/>
                </a:lnTo>
                <a:lnTo>
                  <a:pt x="6483" y="3317"/>
                </a:lnTo>
                <a:lnTo>
                  <a:pt x="6488" y="3317"/>
                </a:lnTo>
                <a:lnTo>
                  <a:pt x="6510" y="3317"/>
                </a:lnTo>
                <a:lnTo>
                  <a:pt x="6533" y="3317"/>
                </a:lnTo>
                <a:lnTo>
                  <a:pt x="6556" y="3316"/>
                </a:lnTo>
                <a:lnTo>
                  <a:pt x="6578" y="3316"/>
                </a:lnTo>
                <a:lnTo>
                  <a:pt x="6601" y="3316"/>
                </a:lnTo>
                <a:lnTo>
                  <a:pt x="6624" y="3315"/>
                </a:lnTo>
                <a:lnTo>
                  <a:pt x="6646" y="3315"/>
                </a:lnTo>
                <a:lnTo>
                  <a:pt x="6669" y="3315"/>
                </a:lnTo>
                <a:lnTo>
                  <a:pt x="6682" y="3315"/>
                </a:lnTo>
                <a:lnTo>
                  <a:pt x="6697" y="3314"/>
                </a:lnTo>
                <a:lnTo>
                  <a:pt x="6720" y="3314"/>
                </a:lnTo>
                <a:lnTo>
                  <a:pt x="6741" y="3314"/>
                </a:lnTo>
                <a:lnTo>
                  <a:pt x="6763" y="3313"/>
                </a:lnTo>
                <a:lnTo>
                  <a:pt x="6786" y="3313"/>
                </a:lnTo>
                <a:lnTo>
                  <a:pt x="6807" y="3313"/>
                </a:lnTo>
                <a:lnTo>
                  <a:pt x="6829" y="3312"/>
                </a:lnTo>
                <a:lnTo>
                  <a:pt x="6852" y="3312"/>
                </a:lnTo>
                <a:lnTo>
                  <a:pt x="6873" y="3312"/>
                </a:lnTo>
                <a:lnTo>
                  <a:pt x="6888" y="3310"/>
                </a:lnTo>
                <a:lnTo>
                  <a:pt x="6901" y="3310"/>
                </a:lnTo>
                <a:lnTo>
                  <a:pt x="6924" y="3310"/>
                </a:lnTo>
                <a:lnTo>
                  <a:pt x="6945" y="3309"/>
                </a:lnTo>
                <a:lnTo>
                  <a:pt x="6967" y="3309"/>
                </a:lnTo>
                <a:lnTo>
                  <a:pt x="6989" y="3308"/>
                </a:lnTo>
                <a:lnTo>
                  <a:pt x="7010" y="3308"/>
                </a:lnTo>
                <a:lnTo>
                  <a:pt x="7032" y="3308"/>
                </a:lnTo>
                <a:lnTo>
                  <a:pt x="7054" y="3307"/>
                </a:lnTo>
                <a:lnTo>
                  <a:pt x="7075" y="3307"/>
                </a:lnTo>
                <a:lnTo>
                  <a:pt x="7088" y="3306"/>
                </a:lnTo>
                <a:lnTo>
                  <a:pt x="7101" y="3306"/>
                </a:lnTo>
                <a:lnTo>
                  <a:pt x="7123" y="3306"/>
                </a:lnTo>
                <a:lnTo>
                  <a:pt x="7144" y="3305"/>
                </a:lnTo>
                <a:lnTo>
                  <a:pt x="7166" y="3305"/>
                </a:lnTo>
                <a:lnTo>
                  <a:pt x="7188" y="3304"/>
                </a:lnTo>
                <a:lnTo>
                  <a:pt x="7209" y="3304"/>
                </a:lnTo>
                <a:lnTo>
                  <a:pt x="7231" y="3303"/>
                </a:lnTo>
                <a:lnTo>
                  <a:pt x="7251" y="3303"/>
                </a:lnTo>
                <a:lnTo>
                  <a:pt x="7273" y="3302"/>
                </a:lnTo>
                <a:lnTo>
                  <a:pt x="7277" y="3302"/>
                </a:lnTo>
                <a:lnTo>
                  <a:pt x="7282" y="3302"/>
                </a:lnTo>
                <a:lnTo>
                  <a:pt x="7298" y="3301"/>
                </a:lnTo>
                <a:lnTo>
                  <a:pt x="7313" y="3301"/>
                </a:lnTo>
                <a:lnTo>
                  <a:pt x="7329" y="3301"/>
                </a:lnTo>
                <a:lnTo>
                  <a:pt x="7344" y="3300"/>
                </a:lnTo>
                <a:lnTo>
                  <a:pt x="7360" y="3300"/>
                </a:lnTo>
                <a:lnTo>
                  <a:pt x="7375" y="3299"/>
                </a:lnTo>
                <a:lnTo>
                  <a:pt x="7388" y="3299"/>
                </a:lnTo>
                <a:lnTo>
                  <a:pt x="7400" y="3299"/>
                </a:lnTo>
                <a:lnTo>
                  <a:pt x="7413" y="3298"/>
                </a:lnTo>
                <a:lnTo>
                  <a:pt x="7426" y="3298"/>
                </a:lnTo>
                <a:lnTo>
                  <a:pt x="7439" y="3298"/>
                </a:lnTo>
                <a:lnTo>
                  <a:pt x="7453" y="3297"/>
                </a:lnTo>
                <a:lnTo>
                  <a:pt x="7468" y="3297"/>
                </a:lnTo>
                <a:lnTo>
                  <a:pt x="7481" y="3296"/>
                </a:lnTo>
                <a:lnTo>
                  <a:pt x="7495" y="3296"/>
                </a:lnTo>
                <a:lnTo>
                  <a:pt x="7507" y="3296"/>
                </a:lnTo>
                <a:lnTo>
                  <a:pt x="7519" y="3295"/>
                </a:lnTo>
                <a:lnTo>
                  <a:pt x="7532" y="3295"/>
                </a:lnTo>
                <a:lnTo>
                  <a:pt x="7546" y="3295"/>
                </a:lnTo>
                <a:lnTo>
                  <a:pt x="7560" y="3294"/>
                </a:lnTo>
                <a:lnTo>
                  <a:pt x="7574" y="3294"/>
                </a:lnTo>
                <a:lnTo>
                  <a:pt x="7587" y="3293"/>
                </a:lnTo>
                <a:lnTo>
                  <a:pt x="7601" y="3293"/>
                </a:lnTo>
                <a:lnTo>
                  <a:pt x="7613" y="3292"/>
                </a:lnTo>
                <a:lnTo>
                  <a:pt x="7626" y="3292"/>
                </a:lnTo>
                <a:lnTo>
                  <a:pt x="7638" y="3292"/>
                </a:lnTo>
                <a:lnTo>
                  <a:pt x="7651" y="3291"/>
                </a:lnTo>
                <a:lnTo>
                  <a:pt x="7665" y="3291"/>
                </a:lnTo>
                <a:lnTo>
                  <a:pt x="7678" y="3290"/>
                </a:lnTo>
                <a:lnTo>
                  <a:pt x="7692" y="3290"/>
                </a:lnTo>
                <a:lnTo>
                  <a:pt x="7704" y="3289"/>
                </a:lnTo>
                <a:lnTo>
                  <a:pt x="7716" y="3289"/>
                </a:lnTo>
                <a:lnTo>
                  <a:pt x="7729" y="3289"/>
                </a:lnTo>
                <a:lnTo>
                  <a:pt x="7741" y="3288"/>
                </a:lnTo>
                <a:lnTo>
                  <a:pt x="7755" y="3288"/>
                </a:lnTo>
                <a:lnTo>
                  <a:pt x="7770" y="3287"/>
                </a:lnTo>
                <a:lnTo>
                  <a:pt x="7784" y="3287"/>
                </a:lnTo>
                <a:lnTo>
                  <a:pt x="7799" y="3286"/>
                </a:lnTo>
                <a:lnTo>
                  <a:pt x="7811" y="3286"/>
                </a:lnTo>
                <a:lnTo>
                  <a:pt x="7825" y="3285"/>
                </a:lnTo>
                <a:lnTo>
                  <a:pt x="7837" y="3285"/>
                </a:lnTo>
                <a:lnTo>
                  <a:pt x="7849" y="3284"/>
                </a:lnTo>
                <a:lnTo>
                  <a:pt x="7872" y="3283"/>
                </a:lnTo>
                <a:lnTo>
                  <a:pt x="7895" y="3283"/>
                </a:lnTo>
                <a:lnTo>
                  <a:pt x="7917" y="3282"/>
                </a:lnTo>
                <a:lnTo>
                  <a:pt x="7939" y="3281"/>
                </a:lnTo>
                <a:lnTo>
                  <a:pt x="7952" y="3280"/>
                </a:lnTo>
                <a:lnTo>
                  <a:pt x="7965" y="3280"/>
                </a:lnTo>
                <a:lnTo>
                  <a:pt x="7978" y="3279"/>
                </a:lnTo>
                <a:lnTo>
                  <a:pt x="7992" y="3279"/>
                </a:lnTo>
                <a:lnTo>
                  <a:pt x="8003" y="3278"/>
                </a:lnTo>
                <a:lnTo>
                  <a:pt x="8014" y="3278"/>
                </a:lnTo>
                <a:lnTo>
                  <a:pt x="8026" y="3276"/>
                </a:lnTo>
                <a:lnTo>
                  <a:pt x="8037" y="3276"/>
                </a:lnTo>
                <a:lnTo>
                  <a:pt x="8050" y="3275"/>
                </a:lnTo>
                <a:lnTo>
                  <a:pt x="8064" y="3275"/>
                </a:lnTo>
                <a:lnTo>
                  <a:pt x="8077" y="3274"/>
                </a:lnTo>
                <a:lnTo>
                  <a:pt x="8090" y="3274"/>
                </a:lnTo>
                <a:lnTo>
                  <a:pt x="8102" y="3273"/>
                </a:lnTo>
                <a:lnTo>
                  <a:pt x="8112" y="3273"/>
                </a:lnTo>
                <a:lnTo>
                  <a:pt x="8123" y="3272"/>
                </a:lnTo>
                <a:lnTo>
                  <a:pt x="8134" y="3272"/>
                </a:lnTo>
                <a:lnTo>
                  <a:pt x="8144" y="3271"/>
                </a:lnTo>
                <a:lnTo>
                  <a:pt x="8153" y="3271"/>
                </a:lnTo>
                <a:lnTo>
                  <a:pt x="8162" y="3271"/>
                </a:lnTo>
                <a:lnTo>
                  <a:pt x="8170" y="3270"/>
                </a:lnTo>
                <a:lnTo>
                  <a:pt x="8207" y="3269"/>
                </a:lnTo>
                <a:lnTo>
                  <a:pt x="8244" y="3267"/>
                </a:lnTo>
                <a:lnTo>
                  <a:pt x="8281" y="3265"/>
                </a:lnTo>
                <a:lnTo>
                  <a:pt x="8317" y="3263"/>
                </a:lnTo>
                <a:lnTo>
                  <a:pt x="8330" y="3263"/>
                </a:lnTo>
                <a:lnTo>
                  <a:pt x="8342" y="3262"/>
                </a:lnTo>
                <a:lnTo>
                  <a:pt x="8379" y="3260"/>
                </a:lnTo>
                <a:lnTo>
                  <a:pt x="8415" y="3258"/>
                </a:lnTo>
                <a:lnTo>
                  <a:pt x="8451" y="3257"/>
                </a:lnTo>
                <a:lnTo>
                  <a:pt x="8487" y="3255"/>
                </a:lnTo>
                <a:lnTo>
                  <a:pt x="8498" y="3254"/>
                </a:lnTo>
                <a:lnTo>
                  <a:pt x="8508" y="3253"/>
                </a:lnTo>
                <a:lnTo>
                  <a:pt x="8544" y="3251"/>
                </a:lnTo>
                <a:lnTo>
                  <a:pt x="8580" y="3249"/>
                </a:lnTo>
                <a:lnTo>
                  <a:pt x="8616" y="3247"/>
                </a:lnTo>
                <a:lnTo>
                  <a:pt x="8651" y="3245"/>
                </a:lnTo>
                <a:lnTo>
                  <a:pt x="8659" y="3245"/>
                </a:lnTo>
                <a:lnTo>
                  <a:pt x="8669" y="3244"/>
                </a:lnTo>
                <a:lnTo>
                  <a:pt x="8704" y="3241"/>
                </a:lnTo>
                <a:lnTo>
                  <a:pt x="8739" y="3239"/>
                </a:lnTo>
                <a:lnTo>
                  <a:pt x="8773" y="3237"/>
                </a:lnTo>
                <a:lnTo>
                  <a:pt x="8808" y="3235"/>
                </a:lnTo>
                <a:lnTo>
                  <a:pt x="8810" y="3234"/>
                </a:lnTo>
                <a:lnTo>
                  <a:pt x="8813" y="3234"/>
                </a:lnTo>
                <a:lnTo>
                  <a:pt x="8826" y="3233"/>
                </a:lnTo>
                <a:lnTo>
                  <a:pt x="8840" y="3232"/>
                </a:lnTo>
                <a:lnTo>
                  <a:pt x="8853" y="3232"/>
                </a:lnTo>
                <a:lnTo>
                  <a:pt x="8866" y="3231"/>
                </a:lnTo>
                <a:lnTo>
                  <a:pt x="8879" y="3230"/>
                </a:lnTo>
                <a:lnTo>
                  <a:pt x="8891" y="3229"/>
                </a:lnTo>
                <a:lnTo>
                  <a:pt x="8901" y="3228"/>
                </a:lnTo>
                <a:lnTo>
                  <a:pt x="8910" y="3228"/>
                </a:lnTo>
                <a:lnTo>
                  <a:pt x="8919" y="3227"/>
                </a:lnTo>
                <a:lnTo>
                  <a:pt x="8928" y="3226"/>
                </a:lnTo>
                <a:lnTo>
                  <a:pt x="8941" y="3225"/>
                </a:lnTo>
                <a:lnTo>
                  <a:pt x="8953" y="3225"/>
                </a:lnTo>
                <a:lnTo>
                  <a:pt x="8966" y="3224"/>
                </a:lnTo>
                <a:lnTo>
                  <a:pt x="8978" y="3223"/>
                </a:lnTo>
                <a:lnTo>
                  <a:pt x="8986" y="3222"/>
                </a:lnTo>
                <a:lnTo>
                  <a:pt x="8995" y="3222"/>
                </a:lnTo>
                <a:lnTo>
                  <a:pt x="9004" y="3221"/>
                </a:lnTo>
                <a:lnTo>
                  <a:pt x="9012" y="3220"/>
                </a:lnTo>
                <a:lnTo>
                  <a:pt x="9025" y="3219"/>
                </a:lnTo>
                <a:lnTo>
                  <a:pt x="9039" y="3218"/>
                </a:lnTo>
                <a:lnTo>
                  <a:pt x="9052" y="3217"/>
                </a:lnTo>
                <a:lnTo>
                  <a:pt x="9066" y="3216"/>
                </a:lnTo>
                <a:lnTo>
                  <a:pt x="9079" y="3215"/>
                </a:lnTo>
                <a:lnTo>
                  <a:pt x="9093" y="3214"/>
                </a:lnTo>
                <a:lnTo>
                  <a:pt x="9113" y="3213"/>
                </a:lnTo>
                <a:lnTo>
                  <a:pt x="9133" y="3211"/>
                </a:lnTo>
                <a:lnTo>
                  <a:pt x="9152" y="3209"/>
                </a:lnTo>
                <a:lnTo>
                  <a:pt x="9172" y="3207"/>
                </a:lnTo>
                <a:lnTo>
                  <a:pt x="9172" y="3207"/>
                </a:lnTo>
                <a:lnTo>
                  <a:pt x="9173" y="3207"/>
                </a:lnTo>
                <a:lnTo>
                  <a:pt x="9187" y="3206"/>
                </a:lnTo>
                <a:lnTo>
                  <a:pt x="9202" y="3204"/>
                </a:lnTo>
                <a:lnTo>
                  <a:pt x="9216" y="3203"/>
                </a:lnTo>
                <a:lnTo>
                  <a:pt x="9230" y="3202"/>
                </a:lnTo>
                <a:lnTo>
                  <a:pt x="9235" y="3202"/>
                </a:lnTo>
                <a:lnTo>
                  <a:pt x="9240" y="3201"/>
                </a:lnTo>
                <a:lnTo>
                  <a:pt x="9264" y="3199"/>
                </a:lnTo>
                <a:lnTo>
                  <a:pt x="9289" y="3197"/>
                </a:lnTo>
                <a:lnTo>
                  <a:pt x="9314" y="3195"/>
                </a:lnTo>
                <a:lnTo>
                  <a:pt x="9338" y="3192"/>
                </a:lnTo>
                <a:lnTo>
                  <a:pt x="9362" y="3190"/>
                </a:lnTo>
                <a:lnTo>
                  <a:pt x="9386" y="3188"/>
                </a:lnTo>
                <a:lnTo>
                  <a:pt x="9410" y="3186"/>
                </a:lnTo>
                <a:lnTo>
                  <a:pt x="9432" y="3183"/>
                </a:lnTo>
                <a:lnTo>
                  <a:pt x="9434" y="3183"/>
                </a:lnTo>
                <a:lnTo>
                  <a:pt x="9434" y="3183"/>
                </a:lnTo>
                <a:lnTo>
                  <a:pt x="9458" y="3181"/>
                </a:lnTo>
                <a:lnTo>
                  <a:pt x="9483" y="3178"/>
                </a:lnTo>
                <a:lnTo>
                  <a:pt x="9508" y="3176"/>
                </a:lnTo>
                <a:lnTo>
                  <a:pt x="9531" y="3172"/>
                </a:lnTo>
                <a:lnTo>
                  <a:pt x="9538" y="3171"/>
                </a:lnTo>
                <a:lnTo>
                  <a:pt x="9545" y="3171"/>
                </a:lnTo>
                <a:lnTo>
                  <a:pt x="9566" y="3168"/>
                </a:lnTo>
                <a:lnTo>
                  <a:pt x="9589" y="3166"/>
                </a:lnTo>
                <a:lnTo>
                  <a:pt x="9611" y="3163"/>
                </a:lnTo>
                <a:lnTo>
                  <a:pt x="9632" y="3160"/>
                </a:lnTo>
                <a:lnTo>
                  <a:pt x="9637" y="3160"/>
                </a:lnTo>
                <a:lnTo>
                  <a:pt x="9641" y="3159"/>
                </a:lnTo>
                <a:lnTo>
                  <a:pt x="9645" y="3159"/>
                </a:lnTo>
                <a:lnTo>
                  <a:pt x="9648" y="3159"/>
                </a:lnTo>
                <a:lnTo>
                  <a:pt x="9668" y="3156"/>
                </a:lnTo>
                <a:lnTo>
                  <a:pt x="9687" y="3154"/>
                </a:lnTo>
                <a:lnTo>
                  <a:pt x="9707" y="3151"/>
                </a:lnTo>
                <a:lnTo>
                  <a:pt x="9725" y="3149"/>
                </a:lnTo>
                <a:lnTo>
                  <a:pt x="9731" y="3148"/>
                </a:lnTo>
                <a:lnTo>
                  <a:pt x="9739" y="3147"/>
                </a:lnTo>
                <a:lnTo>
                  <a:pt x="9756" y="3145"/>
                </a:lnTo>
                <a:lnTo>
                  <a:pt x="9774" y="3142"/>
                </a:lnTo>
                <a:lnTo>
                  <a:pt x="9791" y="3139"/>
                </a:lnTo>
                <a:lnTo>
                  <a:pt x="9808" y="3137"/>
                </a:lnTo>
                <a:lnTo>
                  <a:pt x="9810" y="3136"/>
                </a:lnTo>
                <a:lnTo>
                  <a:pt x="9813" y="3136"/>
                </a:lnTo>
                <a:lnTo>
                  <a:pt x="9813" y="3136"/>
                </a:lnTo>
                <a:lnTo>
                  <a:pt x="9814" y="3136"/>
                </a:lnTo>
                <a:lnTo>
                  <a:pt x="9831" y="3133"/>
                </a:lnTo>
                <a:lnTo>
                  <a:pt x="9848" y="3131"/>
                </a:lnTo>
                <a:lnTo>
                  <a:pt x="9863" y="3128"/>
                </a:lnTo>
                <a:lnTo>
                  <a:pt x="9880" y="3126"/>
                </a:lnTo>
                <a:lnTo>
                  <a:pt x="9886" y="3125"/>
                </a:lnTo>
                <a:lnTo>
                  <a:pt x="9893" y="3123"/>
                </a:lnTo>
                <a:lnTo>
                  <a:pt x="9909" y="3121"/>
                </a:lnTo>
                <a:lnTo>
                  <a:pt x="9924" y="3118"/>
                </a:lnTo>
                <a:lnTo>
                  <a:pt x="9939" y="3116"/>
                </a:lnTo>
                <a:lnTo>
                  <a:pt x="9953" y="3113"/>
                </a:lnTo>
                <a:lnTo>
                  <a:pt x="9954" y="3113"/>
                </a:lnTo>
                <a:lnTo>
                  <a:pt x="9956" y="3113"/>
                </a:lnTo>
                <a:lnTo>
                  <a:pt x="9958" y="3112"/>
                </a:lnTo>
                <a:lnTo>
                  <a:pt x="9961" y="3112"/>
                </a:lnTo>
                <a:lnTo>
                  <a:pt x="9975" y="3109"/>
                </a:lnTo>
                <a:lnTo>
                  <a:pt x="9987" y="3107"/>
                </a:lnTo>
                <a:lnTo>
                  <a:pt x="10000" y="3103"/>
                </a:lnTo>
                <a:lnTo>
                  <a:pt x="10013" y="3101"/>
                </a:lnTo>
                <a:lnTo>
                  <a:pt x="10017" y="3100"/>
                </a:lnTo>
                <a:lnTo>
                  <a:pt x="10020" y="3099"/>
                </a:lnTo>
                <a:lnTo>
                  <a:pt x="10033" y="3097"/>
                </a:lnTo>
                <a:lnTo>
                  <a:pt x="10046" y="3094"/>
                </a:lnTo>
                <a:lnTo>
                  <a:pt x="10057" y="3091"/>
                </a:lnTo>
                <a:lnTo>
                  <a:pt x="10069" y="3089"/>
                </a:lnTo>
                <a:lnTo>
                  <a:pt x="10072" y="3088"/>
                </a:lnTo>
                <a:lnTo>
                  <a:pt x="10075" y="3088"/>
                </a:lnTo>
                <a:lnTo>
                  <a:pt x="10079" y="3087"/>
                </a:lnTo>
                <a:lnTo>
                  <a:pt x="10084" y="3085"/>
                </a:lnTo>
                <a:lnTo>
                  <a:pt x="10089" y="3084"/>
                </a:lnTo>
                <a:lnTo>
                  <a:pt x="10095" y="3083"/>
                </a:lnTo>
                <a:lnTo>
                  <a:pt x="10105" y="3080"/>
                </a:lnTo>
                <a:lnTo>
                  <a:pt x="10113" y="3078"/>
                </a:lnTo>
                <a:lnTo>
                  <a:pt x="10118" y="3077"/>
                </a:lnTo>
                <a:lnTo>
                  <a:pt x="10123" y="3076"/>
                </a:lnTo>
                <a:lnTo>
                  <a:pt x="10132" y="3073"/>
                </a:lnTo>
                <a:lnTo>
                  <a:pt x="10142" y="3069"/>
                </a:lnTo>
                <a:lnTo>
                  <a:pt x="10145" y="3068"/>
                </a:lnTo>
                <a:lnTo>
                  <a:pt x="10148" y="3067"/>
                </a:lnTo>
                <a:lnTo>
                  <a:pt x="10159" y="3064"/>
                </a:lnTo>
                <a:lnTo>
                  <a:pt x="10169" y="3061"/>
                </a:lnTo>
                <a:lnTo>
                  <a:pt x="10171" y="3060"/>
                </a:lnTo>
                <a:lnTo>
                  <a:pt x="10171" y="3060"/>
                </a:lnTo>
                <a:lnTo>
                  <a:pt x="10175" y="3059"/>
                </a:lnTo>
                <a:lnTo>
                  <a:pt x="10179" y="3058"/>
                </a:lnTo>
                <a:lnTo>
                  <a:pt x="10186" y="3055"/>
                </a:lnTo>
                <a:lnTo>
                  <a:pt x="10192" y="3053"/>
                </a:lnTo>
                <a:lnTo>
                  <a:pt x="10196" y="3051"/>
                </a:lnTo>
                <a:lnTo>
                  <a:pt x="10199" y="3050"/>
                </a:lnTo>
                <a:lnTo>
                  <a:pt x="10206" y="3047"/>
                </a:lnTo>
                <a:lnTo>
                  <a:pt x="10212" y="3045"/>
                </a:lnTo>
                <a:lnTo>
                  <a:pt x="10215" y="3044"/>
                </a:lnTo>
                <a:lnTo>
                  <a:pt x="10218" y="3042"/>
                </a:lnTo>
                <a:lnTo>
                  <a:pt x="10223" y="3040"/>
                </a:lnTo>
                <a:lnTo>
                  <a:pt x="10228" y="3036"/>
                </a:lnTo>
                <a:lnTo>
                  <a:pt x="10231" y="3035"/>
                </a:lnTo>
                <a:lnTo>
                  <a:pt x="10233" y="3033"/>
                </a:lnTo>
                <a:lnTo>
                  <a:pt x="10236" y="3032"/>
                </a:lnTo>
                <a:lnTo>
                  <a:pt x="10240" y="3030"/>
                </a:lnTo>
                <a:lnTo>
                  <a:pt x="10241" y="3029"/>
                </a:lnTo>
                <a:lnTo>
                  <a:pt x="10243" y="3028"/>
                </a:lnTo>
                <a:lnTo>
                  <a:pt x="10244" y="3027"/>
                </a:lnTo>
                <a:lnTo>
                  <a:pt x="10246" y="3026"/>
                </a:lnTo>
                <a:lnTo>
                  <a:pt x="10250" y="3024"/>
                </a:lnTo>
                <a:lnTo>
                  <a:pt x="10253" y="3021"/>
                </a:lnTo>
                <a:lnTo>
                  <a:pt x="10255" y="3020"/>
                </a:lnTo>
                <a:lnTo>
                  <a:pt x="10256" y="3018"/>
                </a:lnTo>
                <a:lnTo>
                  <a:pt x="10259" y="3016"/>
                </a:lnTo>
                <a:lnTo>
                  <a:pt x="10262" y="3013"/>
                </a:lnTo>
                <a:lnTo>
                  <a:pt x="10263" y="3012"/>
                </a:lnTo>
                <a:lnTo>
                  <a:pt x="10264" y="3011"/>
                </a:lnTo>
                <a:lnTo>
                  <a:pt x="10267" y="3007"/>
                </a:lnTo>
                <a:lnTo>
                  <a:pt x="10269" y="3002"/>
                </a:lnTo>
                <a:lnTo>
                  <a:pt x="10354" y="2843"/>
                </a:lnTo>
                <a:lnTo>
                  <a:pt x="10438" y="2683"/>
                </a:lnTo>
                <a:lnTo>
                  <a:pt x="10522" y="2523"/>
                </a:lnTo>
                <a:lnTo>
                  <a:pt x="10607" y="2364"/>
                </a:lnTo>
                <a:lnTo>
                  <a:pt x="10691" y="2204"/>
                </a:lnTo>
                <a:lnTo>
                  <a:pt x="10776" y="2044"/>
                </a:lnTo>
                <a:lnTo>
                  <a:pt x="10859" y="1885"/>
                </a:lnTo>
                <a:lnTo>
                  <a:pt x="10944" y="1725"/>
                </a:lnTo>
                <a:lnTo>
                  <a:pt x="11028" y="1565"/>
                </a:lnTo>
                <a:lnTo>
                  <a:pt x="11113" y="1406"/>
                </a:lnTo>
                <a:lnTo>
                  <a:pt x="11196" y="1246"/>
                </a:lnTo>
                <a:lnTo>
                  <a:pt x="11281" y="1086"/>
                </a:lnTo>
                <a:lnTo>
                  <a:pt x="11365" y="927"/>
                </a:lnTo>
                <a:lnTo>
                  <a:pt x="11450" y="767"/>
                </a:lnTo>
                <a:lnTo>
                  <a:pt x="11534" y="607"/>
                </a:lnTo>
                <a:lnTo>
                  <a:pt x="11618" y="448"/>
                </a:lnTo>
                <a:lnTo>
                  <a:pt x="11620" y="443"/>
                </a:lnTo>
                <a:lnTo>
                  <a:pt x="11622" y="438"/>
                </a:lnTo>
                <a:lnTo>
                  <a:pt x="11623" y="432"/>
                </a:lnTo>
                <a:lnTo>
                  <a:pt x="11622" y="425"/>
                </a:lnTo>
                <a:close/>
              </a:path>
            </a:pathLst>
          </a:custGeom>
          <a:gradFill flip="none" rotWithShape="1">
            <a:gsLst>
              <a:gs pos="73000">
                <a:schemeClr val="accent1"/>
              </a:gs>
              <a:gs pos="31000">
                <a:schemeClr val="accent1">
                  <a:lumMod val="60000"/>
                  <a:lumOff val="40000"/>
                </a:schemeClr>
              </a:gs>
              <a:gs pos="0">
                <a:schemeClr val="accent1">
                  <a:lumMod val="40000"/>
                  <a:lumOff val="60000"/>
                </a:schemeClr>
              </a:gs>
            </a:gsLst>
            <a:lin ang="1080000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22222"/>
              </a:solidFill>
              <a:effectLst/>
              <a:uLnTx/>
              <a:uFillTx/>
              <a:latin typeface="Inter"/>
              <a:cs typeface="+mn-cs"/>
            </a:endParaRPr>
          </a:p>
        </p:txBody>
      </p:sp>
      <p:sp>
        <p:nvSpPr>
          <p:cNvPr id="12" name="Freeform 12">
            <a:extLst>
              <a:ext uri="{FF2B5EF4-FFF2-40B4-BE49-F238E27FC236}">
                <a16:creationId xmlns:a16="http://schemas.microsoft.com/office/drawing/2014/main" id="{7D8245AC-9A31-48F7-BFCF-2F318ABF046D}"/>
              </a:ext>
            </a:extLst>
          </p:cNvPr>
          <p:cNvSpPr>
            <a:spLocks/>
          </p:cNvSpPr>
          <p:nvPr/>
        </p:nvSpPr>
        <p:spPr bwMode="auto">
          <a:xfrm flipV="1">
            <a:off x="4400550" y="5832884"/>
            <a:ext cx="3389149" cy="252085"/>
          </a:xfrm>
          <a:custGeom>
            <a:avLst/>
            <a:gdLst>
              <a:gd name="T0" fmla="*/ 11582 w 11622"/>
              <a:gd name="T1" fmla="*/ 482 h 862"/>
              <a:gd name="T2" fmla="*/ 11414 w 11622"/>
              <a:gd name="T3" fmla="*/ 546 h 862"/>
              <a:gd name="T4" fmla="*/ 11125 w 11622"/>
              <a:gd name="T5" fmla="*/ 605 h 862"/>
              <a:gd name="T6" fmla="*/ 10728 w 11622"/>
              <a:gd name="T7" fmla="*/ 661 h 862"/>
              <a:gd name="T8" fmla="*/ 10230 w 11622"/>
              <a:gd name="T9" fmla="*/ 710 h 862"/>
              <a:gd name="T10" fmla="*/ 9643 w 11622"/>
              <a:gd name="T11" fmla="*/ 755 h 862"/>
              <a:gd name="T12" fmla="*/ 8976 w 11622"/>
              <a:gd name="T13" fmla="*/ 792 h 862"/>
              <a:gd name="T14" fmla="*/ 8239 w 11622"/>
              <a:gd name="T15" fmla="*/ 823 h 862"/>
              <a:gd name="T16" fmla="*/ 7442 w 11622"/>
              <a:gd name="T17" fmla="*/ 844 h 862"/>
              <a:gd name="T18" fmla="*/ 6596 w 11622"/>
              <a:gd name="T19" fmla="*/ 858 h 862"/>
              <a:gd name="T20" fmla="*/ 5709 w 11622"/>
              <a:gd name="T21" fmla="*/ 862 h 862"/>
              <a:gd name="T22" fmla="*/ 4826 w 11622"/>
              <a:gd name="T23" fmla="*/ 856 h 862"/>
              <a:gd name="T24" fmla="*/ 3986 w 11622"/>
              <a:gd name="T25" fmla="*/ 840 h 862"/>
              <a:gd name="T26" fmla="*/ 3201 w 11622"/>
              <a:gd name="T27" fmla="*/ 816 h 862"/>
              <a:gd name="T28" fmla="*/ 2478 w 11622"/>
              <a:gd name="T29" fmla="*/ 784 h 862"/>
              <a:gd name="T30" fmla="*/ 1829 w 11622"/>
              <a:gd name="T31" fmla="*/ 744 h 862"/>
              <a:gd name="T32" fmla="*/ 1263 w 11622"/>
              <a:gd name="T33" fmla="*/ 699 h 862"/>
              <a:gd name="T34" fmla="*/ 789 w 11622"/>
              <a:gd name="T35" fmla="*/ 648 h 862"/>
              <a:gd name="T36" fmla="*/ 418 w 11622"/>
              <a:gd name="T37" fmla="*/ 591 h 862"/>
              <a:gd name="T38" fmla="*/ 158 w 11622"/>
              <a:gd name="T39" fmla="*/ 531 h 862"/>
              <a:gd name="T40" fmla="*/ 20 w 11622"/>
              <a:gd name="T41" fmla="*/ 467 h 862"/>
              <a:gd name="T42" fmla="*/ 14 w 11622"/>
              <a:gd name="T43" fmla="*/ 401 h 862"/>
              <a:gd name="T44" fmla="*/ 139 w 11622"/>
              <a:gd name="T45" fmla="*/ 337 h 862"/>
              <a:gd name="T46" fmla="*/ 388 w 11622"/>
              <a:gd name="T47" fmla="*/ 276 h 862"/>
              <a:gd name="T48" fmla="*/ 751 w 11622"/>
              <a:gd name="T49" fmla="*/ 219 h 862"/>
              <a:gd name="T50" fmla="*/ 1215 w 11622"/>
              <a:gd name="T51" fmla="*/ 167 h 862"/>
              <a:gd name="T52" fmla="*/ 1774 w 11622"/>
              <a:gd name="T53" fmla="*/ 121 h 862"/>
              <a:gd name="T54" fmla="*/ 2416 w 11622"/>
              <a:gd name="T55" fmla="*/ 81 h 862"/>
              <a:gd name="T56" fmla="*/ 3131 w 11622"/>
              <a:gd name="T57" fmla="*/ 48 h 862"/>
              <a:gd name="T58" fmla="*/ 3909 w 11622"/>
              <a:gd name="T59" fmla="*/ 23 h 862"/>
              <a:gd name="T60" fmla="*/ 4740 w 11622"/>
              <a:gd name="T61" fmla="*/ 7 h 862"/>
              <a:gd name="T62" fmla="*/ 5614 w 11622"/>
              <a:gd name="T63" fmla="*/ 0 h 862"/>
              <a:gd name="T64" fmla="*/ 6506 w 11622"/>
              <a:gd name="T65" fmla="*/ 3 h 862"/>
              <a:gd name="T66" fmla="*/ 7362 w 11622"/>
              <a:gd name="T67" fmla="*/ 15 h 862"/>
              <a:gd name="T68" fmla="*/ 8166 w 11622"/>
              <a:gd name="T69" fmla="*/ 37 h 862"/>
              <a:gd name="T70" fmla="*/ 8911 w 11622"/>
              <a:gd name="T71" fmla="*/ 67 h 862"/>
              <a:gd name="T72" fmla="*/ 9585 w 11622"/>
              <a:gd name="T73" fmla="*/ 103 h 862"/>
              <a:gd name="T74" fmla="*/ 10180 w 11622"/>
              <a:gd name="T75" fmla="*/ 147 h 862"/>
              <a:gd name="T76" fmla="*/ 10686 w 11622"/>
              <a:gd name="T77" fmla="*/ 196 h 862"/>
              <a:gd name="T78" fmla="*/ 11092 w 11622"/>
              <a:gd name="T79" fmla="*/ 251 h 862"/>
              <a:gd name="T80" fmla="*/ 11391 w 11622"/>
              <a:gd name="T81" fmla="*/ 310 h 862"/>
              <a:gd name="T82" fmla="*/ 11570 w 11622"/>
              <a:gd name="T83" fmla="*/ 373 h 862"/>
              <a:gd name="T84" fmla="*/ 11622 w 11622"/>
              <a:gd name="T85" fmla="*/ 438 h 8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1622" h="862">
                <a:moveTo>
                  <a:pt x="11622" y="438"/>
                </a:moveTo>
                <a:lnTo>
                  <a:pt x="11608" y="460"/>
                </a:lnTo>
                <a:lnTo>
                  <a:pt x="11582" y="482"/>
                </a:lnTo>
                <a:lnTo>
                  <a:pt x="11539" y="503"/>
                </a:lnTo>
                <a:lnTo>
                  <a:pt x="11483" y="525"/>
                </a:lnTo>
                <a:lnTo>
                  <a:pt x="11414" y="546"/>
                </a:lnTo>
                <a:lnTo>
                  <a:pt x="11330" y="566"/>
                </a:lnTo>
                <a:lnTo>
                  <a:pt x="11234" y="586"/>
                </a:lnTo>
                <a:lnTo>
                  <a:pt x="11125" y="605"/>
                </a:lnTo>
                <a:lnTo>
                  <a:pt x="11004" y="624"/>
                </a:lnTo>
                <a:lnTo>
                  <a:pt x="10871" y="642"/>
                </a:lnTo>
                <a:lnTo>
                  <a:pt x="10728" y="661"/>
                </a:lnTo>
                <a:lnTo>
                  <a:pt x="10572" y="677"/>
                </a:lnTo>
                <a:lnTo>
                  <a:pt x="10407" y="694"/>
                </a:lnTo>
                <a:lnTo>
                  <a:pt x="10230" y="710"/>
                </a:lnTo>
                <a:lnTo>
                  <a:pt x="10044" y="726"/>
                </a:lnTo>
                <a:lnTo>
                  <a:pt x="9848" y="740"/>
                </a:lnTo>
                <a:lnTo>
                  <a:pt x="9643" y="755"/>
                </a:lnTo>
                <a:lnTo>
                  <a:pt x="9428" y="768"/>
                </a:lnTo>
                <a:lnTo>
                  <a:pt x="9206" y="781"/>
                </a:lnTo>
                <a:lnTo>
                  <a:pt x="8976" y="792"/>
                </a:lnTo>
                <a:lnTo>
                  <a:pt x="8737" y="803"/>
                </a:lnTo>
                <a:lnTo>
                  <a:pt x="8491" y="813"/>
                </a:lnTo>
                <a:lnTo>
                  <a:pt x="8239" y="823"/>
                </a:lnTo>
                <a:lnTo>
                  <a:pt x="7979" y="831"/>
                </a:lnTo>
                <a:lnTo>
                  <a:pt x="7713" y="838"/>
                </a:lnTo>
                <a:lnTo>
                  <a:pt x="7442" y="844"/>
                </a:lnTo>
                <a:lnTo>
                  <a:pt x="7165" y="850"/>
                </a:lnTo>
                <a:lnTo>
                  <a:pt x="6882" y="855"/>
                </a:lnTo>
                <a:lnTo>
                  <a:pt x="6596" y="858"/>
                </a:lnTo>
                <a:lnTo>
                  <a:pt x="6304" y="860"/>
                </a:lnTo>
                <a:lnTo>
                  <a:pt x="6008" y="861"/>
                </a:lnTo>
                <a:lnTo>
                  <a:pt x="5709" y="862"/>
                </a:lnTo>
                <a:lnTo>
                  <a:pt x="5411" y="861"/>
                </a:lnTo>
                <a:lnTo>
                  <a:pt x="5116" y="859"/>
                </a:lnTo>
                <a:lnTo>
                  <a:pt x="4826" y="856"/>
                </a:lnTo>
                <a:lnTo>
                  <a:pt x="4541" y="852"/>
                </a:lnTo>
                <a:lnTo>
                  <a:pt x="4260" y="846"/>
                </a:lnTo>
                <a:lnTo>
                  <a:pt x="3986" y="840"/>
                </a:lnTo>
                <a:lnTo>
                  <a:pt x="3718" y="833"/>
                </a:lnTo>
                <a:lnTo>
                  <a:pt x="3456" y="825"/>
                </a:lnTo>
                <a:lnTo>
                  <a:pt x="3201" y="816"/>
                </a:lnTo>
                <a:lnTo>
                  <a:pt x="2952" y="806"/>
                </a:lnTo>
                <a:lnTo>
                  <a:pt x="2711" y="795"/>
                </a:lnTo>
                <a:lnTo>
                  <a:pt x="2478" y="784"/>
                </a:lnTo>
                <a:lnTo>
                  <a:pt x="2253" y="771"/>
                </a:lnTo>
                <a:lnTo>
                  <a:pt x="2037" y="758"/>
                </a:lnTo>
                <a:lnTo>
                  <a:pt x="1829" y="744"/>
                </a:lnTo>
                <a:lnTo>
                  <a:pt x="1631" y="730"/>
                </a:lnTo>
                <a:lnTo>
                  <a:pt x="1442" y="715"/>
                </a:lnTo>
                <a:lnTo>
                  <a:pt x="1263" y="699"/>
                </a:lnTo>
                <a:lnTo>
                  <a:pt x="1094" y="683"/>
                </a:lnTo>
                <a:lnTo>
                  <a:pt x="936" y="665"/>
                </a:lnTo>
                <a:lnTo>
                  <a:pt x="789" y="648"/>
                </a:lnTo>
                <a:lnTo>
                  <a:pt x="654" y="629"/>
                </a:lnTo>
                <a:lnTo>
                  <a:pt x="529" y="611"/>
                </a:lnTo>
                <a:lnTo>
                  <a:pt x="418" y="591"/>
                </a:lnTo>
                <a:lnTo>
                  <a:pt x="319" y="571"/>
                </a:lnTo>
                <a:lnTo>
                  <a:pt x="231" y="552"/>
                </a:lnTo>
                <a:lnTo>
                  <a:pt x="158" y="531"/>
                </a:lnTo>
                <a:lnTo>
                  <a:pt x="98" y="511"/>
                </a:lnTo>
                <a:lnTo>
                  <a:pt x="52" y="489"/>
                </a:lnTo>
                <a:lnTo>
                  <a:pt x="20" y="467"/>
                </a:lnTo>
                <a:lnTo>
                  <a:pt x="3" y="446"/>
                </a:lnTo>
                <a:lnTo>
                  <a:pt x="0" y="423"/>
                </a:lnTo>
                <a:lnTo>
                  <a:pt x="14" y="401"/>
                </a:lnTo>
                <a:lnTo>
                  <a:pt x="40" y="379"/>
                </a:lnTo>
                <a:lnTo>
                  <a:pt x="83" y="358"/>
                </a:lnTo>
                <a:lnTo>
                  <a:pt x="139" y="337"/>
                </a:lnTo>
                <a:lnTo>
                  <a:pt x="208" y="316"/>
                </a:lnTo>
                <a:lnTo>
                  <a:pt x="292" y="295"/>
                </a:lnTo>
                <a:lnTo>
                  <a:pt x="388" y="276"/>
                </a:lnTo>
                <a:lnTo>
                  <a:pt x="497" y="256"/>
                </a:lnTo>
                <a:lnTo>
                  <a:pt x="618" y="238"/>
                </a:lnTo>
                <a:lnTo>
                  <a:pt x="751" y="219"/>
                </a:lnTo>
                <a:lnTo>
                  <a:pt x="894" y="201"/>
                </a:lnTo>
                <a:lnTo>
                  <a:pt x="1050" y="184"/>
                </a:lnTo>
                <a:lnTo>
                  <a:pt x="1215" y="167"/>
                </a:lnTo>
                <a:lnTo>
                  <a:pt x="1392" y="151"/>
                </a:lnTo>
                <a:lnTo>
                  <a:pt x="1578" y="136"/>
                </a:lnTo>
                <a:lnTo>
                  <a:pt x="1774" y="121"/>
                </a:lnTo>
                <a:lnTo>
                  <a:pt x="1979" y="107"/>
                </a:lnTo>
                <a:lnTo>
                  <a:pt x="2194" y="93"/>
                </a:lnTo>
                <a:lnTo>
                  <a:pt x="2416" y="81"/>
                </a:lnTo>
                <a:lnTo>
                  <a:pt x="2646" y="70"/>
                </a:lnTo>
                <a:lnTo>
                  <a:pt x="2885" y="58"/>
                </a:lnTo>
                <a:lnTo>
                  <a:pt x="3131" y="48"/>
                </a:lnTo>
                <a:lnTo>
                  <a:pt x="3383" y="39"/>
                </a:lnTo>
                <a:lnTo>
                  <a:pt x="3643" y="31"/>
                </a:lnTo>
                <a:lnTo>
                  <a:pt x="3909" y="23"/>
                </a:lnTo>
                <a:lnTo>
                  <a:pt x="4180" y="17"/>
                </a:lnTo>
                <a:lnTo>
                  <a:pt x="4457" y="12"/>
                </a:lnTo>
                <a:lnTo>
                  <a:pt x="4740" y="7"/>
                </a:lnTo>
                <a:lnTo>
                  <a:pt x="5026" y="4"/>
                </a:lnTo>
                <a:lnTo>
                  <a:pt x="5318" y="2"/>
                </a:lnTo>
                <a:lnTo>
                  <a:pt x="5614" y="0"/>
                </a:lnTo>
                <a:lnTo>
                  <a:pt x="5913" y="0"/>
                </a:lnTo>
                <a:lnTo>
                  <a:pt x="6211" y="1"/>
                </a:lnTo>
                <a:lnTo>
                  <a:pt x="6506" y="3"/>
                </a:lnTo>
                <a:lnTo>
                  <a:pt x="6796" y="6"/>
                </a:lnTo>
                <a:lnTo>
                  <a:pt x="7081" y="10"/>
                </a:lnTo>
                <a:lnTo>
                  <a:pt x="7362" y="15"/>
                </a:lnTo>
                <a:lnTo>
                  <a:pt x="7636" y="21"/>
                </a:lnTo>
                <a:lnTo>
                  <a:pt x="7904" y="29"/>
                </a:lnTo>
                <a:lnTo>
                  <a:pt x="8166" y="37"/>
                </a:lnTo>
                <a:lnTo>
                  <a:pt x="8421" y="46"/>
                </a:lnTo>
                <a:lnTo>
                  <a:pt x="8670" y="55"/>
                </a:lnTo>
                <a:lnTo>
                  <a:pt x="8911" y="67"/>
                </a:lnTo>
                <a:lnTo>
                  <a:pt x="9144" y="78"/>
                </a:lnTo>
                <a:lnTo>
                  <a:pt x="9369" y="90"/>
                </a:lnTo>
                <a:lnTo>
                  <a:pt x="9585" y="103"/>
                </a:lnTo>
                <a:lnTo>
                  <a:pt x="9793" y="117"/>
                </a:lnTo>
                <a:lnTo>
                  <a:pt x="9991" y="132"/>
                </a:lnTo>
                <a:lnTo>
                  <a:pt x="10180" y="147"/>
                </a:lnTo>
                <a:lnTo>
                  <a:pt x="10359" y="162"/>
                </a:lnTo>
                <a:lnTo>
                  <a:pt x="10528" y="179"/>
                </a:lnTo>
                <a:lnTo>
                  <a:pt x="10686" y="196"/>
                </a:lnTo>
                <a:lnTo>
                  <a:pt x="10833" y="214"/>
                </a:lnTo>
                <a:lnTo>
                  <a:pt x="10968" y="231"/>
                </a:lnTo>
                <a:lnTo>
                  <a:pt x="11092" y="251"/>
                </a:lnTo>
                <a:lnTo>
                  <a:pt x="11204" y="270"/>
                </a:lnTo>
                <a:lnTo>
                  <a:pt x="11303" y="289"/>
                </a:lnTo>
                <a:lnTo>
                  <a:pt x="11391" y="310"/>
                </a:lnTo>
                <a:lnTo>
                  <a:pt x="11464" y="330"/>
                </a:lnTo>
                <a:lnTo>
                  <a:pt x="11524" y="351"/>
                </a:lnTo>
                <a:lnTo>
                  <a:pt x="11570" y="373"/>
                </a:lnTo>
                <a:lnTo>
                  <a:pt x="11602" y="394"/>
                </a:lnTo>
                <a:lnTo>
                  <a:pt x="11619" y="416"/>
                </a:lnTo>
                <a:lnTo>
                  <a:pt x="11622" y="438"/>
                </a:lnTo>
                <a:close/>
              </a:path>
            </a:pathLst>
          </a:custGeom>
          <a:gradFill>
            <a:gsLst>
              <a:gs pos="0">
                <a:schemeClr val="accent1">
                  <a:lumMod val="40000"/>
                  <a:lumOff val="60000"/>
                </a:schemeClr>
              </a:gs>
              <a:gs pos="100000">
                <a:schemeClr val="accent1"/>
              </a:gs>
            </a:gsLst>
            <a:path path="circle">
              <a:fillToRect r="100000" b="100000"/>
            </a:path>
          </a:gradFill>
          <a:ln w="1270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armonyOS Sans SC"/>
              <a:cs typeface="+mn-cs"/>
            </a:endParaRPr>
          </a:p>
        </p:txBody>
      </p:sp>
      <p:sp>
        <p:nvSpPr>
          <p:cNvPr id="13" name="Freeform 13">
            <a:extLst>
              <a:ext uri="{FF2B5EF4-FFF2-40B4-BE49-F238E27FC236}">
                <a16:creationId xmlns:a16="http://schemas.microsoft.com/office/drawing/2014/main" id="{CA91EFE4-C0BE-4644-8930-373A0739FC39}"/>
              </a:ext>
            </a:extLst>
          </p:cNvPr>
          <p:cNvSpPr>
            <a:spLocks/>
          </p:cNvSpPr>
          <p:nvPr/>
        </p:nvSpPr>
        <p:spPr bwMode="auto">
          <a:xfrm flipV="1">
            <a:off x="5279348" y="3137968"/>
            <a:ext cx="1631553" cy="838535"/>
          </a:xfrm>
          <a:custGeom>
            <a:avLst/>
            <a:gdLst>
              <a:gd name="T0" fmla="*/ 5563 w 5592"/>
              <a:gd name="T1" fmla="*/ 177 h 2874"/>
              <a:gd name="T2" fmla="*/ 5491 w 5592"/>
              <a:gd name="T3" fmla="*/ 152 h 2874"/>
              <a:gd name="T4" fmla="*/ 5380 w 5592"/>
              <a:gd name="T5" fmla="*/ 128 h 2874"/>
              <a:gd name="T6" fmla="*/ 5270 w 5592"/>
              <a:gd name="T7" fmla="*/ 111 h 2874"/>
              <a:gd name="T8" fmla="*/ 5111 w 5592"/>
              <a:gd name="T9" fmla="*/ 90 h 2874"/>
              <a:gd name="T10" fmla="*/ 4958 w 5592"/>
              <a:gd name="T11" fmla="*/ 76 h 2874"/>
              <a:gd name="T12" fmla="*/ 4827 w 5592"/>
              <a:gd name="T13" fmla="*/ 65 h 2874"/>
              <a:gd name="T14" fmla="*/ 4621 w 5592"/>
              <a:gd name="T15" fmla="*/ 50 h 2874"/>
              <a:gd name="T16" fmla="*/ 4400 w 5592"/>
              <a:gd name="T17" fmla="*/ 37 h 2874"/>
              <a:gd name="T18" fmla="*/ 4182 w 5592"/>
              <a:gd name="T19" fmla="*/ 27 h 2874"/>
              <a:gd name="T20" fmla="*/ 3969 w 5592"/>
              <a:gd name="T21" fmla="*/ 19 h 2874"/>
              <a:gd name="T22" fmla="*/ 3757 w 5592"/>
              <a:gd name="T23" fmla="*/ 12 h 2874"/>
              <a:gd name="T24" fmla="*/ 3560 w 5592"/>
              <a:gd name="T25" fmla="*/ 8 h 2874"/>
              <a:gd name="T26" fmla="*/ 3419 w 5592"/>
              <a:gd name="T27" fmla="*/ 5 h 2874"/>
              <a:gd name="T28" fmla="*/ 3267 w 5592"/>
              <a:gd name="T29" fmla="*/ 3 h 2874"/>
              <a:gd name="T30" fmla="*/ 3132 w 5592"/>
              <a:gd name="T31" fmla="*/ 2 h 2874"/>
              <a:gd name="T32" fmla="*/ 2990 w 5592"/>
              <a:gd name="T33" fmla="*/ 1 h 2874"/>
              <a:gd name="T34" fmla="*/ 2857 w 5592"/>
              <a:gd name="T35" fmla="*/ 0 h 2874"/>
              <a:gd name="T36" fmla="*/ 2717 w 5592"/>
              <a:gd name="T37" fmla="*/ 0 h 2874"/>
              <a:gd name="T38" fmla="*/ 2585 w 5592"/>
              <a:gd name="T39" fmla="*/ 1 h 2874"/>
              <a:gd name="T40" fmla="*/ 2432 w 5592"/>
              <a:gd name="T41" fmla="*/ 2 h 2874"/>
              <a:gd name="T42" fmla="*/ 2281 w 5592"/>
              <a:gd name="T43" fmla="*/ 3 h 2874"/>
              <a:gd name="T44" fmla="*/ 2143 w 5592"/>
              <a:gd name="T45" fmla="*/ 6 h 2874"/>
              <a:gd name="T46" fmla="*/ 1875 w 5592"/>
              <a:gd name="T47" fmla="*/ 11 h 2874"/>
              <a:gd name="T48" fmla="*/ 1742 w 5592"/>
              <a:gd name="T49" fmla="*/ 15 h 2874"/>
              <a:gd name="T50" fmla="*/ 1620 w 5592"/>
              <a:gd name="T51" fmla="*/ 19 h 2874"/>
              <a:gd name="T52" fmla="*/ 1464 w 5592"/>
              <a:gd name="T53" fmla="*/ 25 h 2874"/>
              <a:gd name="T54" fmla="*/ 1236 w 5592"/>
              <a:gd name="T55" fmla="*/ 35 h 2874"/>
              <a:gd name="T56" fmla="*/ 1081 w 5592"/>
              <a:gd name="T57" fmla="*/ 43 h 2874"/>
              <a:gd name="T58" fmla="*/ 884 w 5592"/>
              <a:gd name="T59" fmla="*/ 55 h 2874"/>
              <a:gd name="T60" fmla="*/ 704 w 5592"/>
              <a:gd name="T61" fmla="*/ 70 h 2874"/>
              <a:gd name="T62" fmla="*/ 542 w 5592"/>
              <a:gd name="T63" fmla="*/ 84 h 2874"/>
              <a:gd name="T64" fmla="*/ 314 w 5592"/>
              <a:gd name="T65" fmla="*/ 112 h 2874"/>
              <a:gd name="T66" fmla="*/ 208 w 5592"/>
              <a:gd name="T67" fmla="*/ 129 h 2874"/>
              <a:gd name="T68" fmla="*/ 123 w 5592"/>
              <a:gd name="T69" fmla="*/ 146 h 2874"/>
              <a:gd name="T70" fmla="*/ 53 w 5592"/>
              <a:gd name="T71" fmla="*/ 167 h 2874"/>
              <a:gd name="T72" fmla="*/ 5 w 5592"/>
              <a:gd name="T73" fmla="*/ 196 h 2874"/>
              <a:gd name="T74" fmla="*/ 1356 w 5592"/>
              <a:gd name="T75" fmla="*/ 2776 h 2874"/>
              <a:gd name="T76" fmla="*/ 1378 w 5592"/>
              <a:gd name="T77" fmla="*/ 2787 h 2874"/>
              <a:gd name="T78" fmla="*/ 1424 w 5592"/>
              <a:gd name="T79" fmla="*/ 2800 h 2874"/>
              <a:gd name="T80" fmla="*/ 1503 w 5592"/>
              <a:gd name="T81" fmla="*/ 2814 h 2874"/>
              <a:gd name="T82" fmla="*/ 1639 w 5592"/>
              <a:gd name="T83" fmla="*/ 2831 h 2874"/>
              <a:gd name="T84" fmla="*/ 1721 w 5592"/>
              <a:gd name="T85" fmla="*/ 2838 h 2874"/>
              <a:gd name="T86" fmla="*/ 1964 w 5592"/>
              <a:gd name="T87" fmla="*/ 2854 h 2874"/>
              <a:gd name="T88" fmla="*/ 2120 w 5592"/>
              <a:gd name="T89" fmla="*/ 2861 h 2874"/>
              <a:gd name="T90" fmla="*/ 2310 w 5592"/>
              <a:gd name="T91" fmla="*/ 2867 h 2874"/>
              <a:gd name="T92" fmla="*/ 2478 w 5592"/>
              <a:gd name="T93" fmla="*/ 2871 h 2874"/>
              <a:gd name="T94" fmla="*/ 2707 w 5592"/>
              <a:gd name="T95" fmla="*/ 2873 h 2874"/>
              <a:gd name="T96" fmla="*/ 2934 w 5592"/>
              <a:gd name="T97" fmla="*/ 2873 h 2874"/>
              <a:gd name="T98" fmla="*/ 3211 w 5592"/>
              <a:gd name="T99" fmla="*/ 2869 h 2874"/>
              <a:gd name="T100" fmla="*/ 3370 w 5592"/>
              <a:gd name="T101" fmla="*/ 2865 h 2874"/>
              <a:gd name="T102" fmla="*/ 3505 w 5592"/>
              <a:gd name="T103" fmla="*/ 2859 h 2874"/>
              <a:gd name="T104" fmla="*/ 3595 w 5592"/>
              <a:gd name="T105" fmla="*/ 2855 h 2874"/>
              <a:gd name="T106" fmla="*/ 3726 w 5592"/>
              <a:gd name="T107" fmla="*/ 2848 h 2874"/>
              <a:gd name="T108" fmla="*/ 3818 w 5592"/>
              <a:gd name="T109" fmla="*/ 2842 h 2874"/>
              <a:gd name="T110" fmla="*/ 3945 w 5592"/>
              <a:gd name="T111" fmla="*/ 2832 h 2874"/>
              <a:gd name="T112" fmla="*/ 4066 w 5592"/>
              <a:gd name="T113" fmla="*/ 2817 h 2874"/>
              <a:gd name="T114" fmla="*/ 4126 w 5592"/>
              <a:gd name="T115" fmla="*/ 2808 h 2874"/>
              <a:gd name="T116" fmla="*/ 4173 w 5592"/>
              <a:gd name="T117" fmla="*/ 2799 h 2874"/>
              <a:gd name="T118" fmla="*/ 4208 w 5592"/>
              <a:gd name="T119" fmla="*/ 2789 h 2874"/>
              <a:gd name="T120" fmla="*/ 4231 w 5592"/>
              <a:gd name="T121" fmla="*/ 2779 h 2874"/>
              <a:gd name="T122" fmla="*/ 5592 w 5592"/>
              <a:gd name="T123" fmla="*/ 208 h 28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592" h="2874">
                <a:moveTo>
                  <a:pt x="5591" y="203"/>
                </a:moveTo>
                <a:lnTo>
                  <a:pt x="5590" y="201"/>
                </a:lnTo>
                <a:lnTo>
                  <a:pt x="5589" y="199"/>
                </a:lnTo>
                <a:lnTo>
                  <a:pt x="5589" y="198"/>
                </a:lnTo>
                <a:lnTo>
                  <a:pt x="5588" y="197"/>
                </a:lnTo>
                <a:lnTo>
                  <a:pt x="5586" y="195"/>
                </a:lnTo>
                <a:lnTo>
                  <a:pt x="5584" y="192"/>
                </a:lnTo>
                <a:lnTo>
                  <a:pt x="5584" y="191"/>
                </a:lnTo>
                <a:lnTo>
                  <a:pt x="5583" y="190"/>
                </a:lnTo>
                <a:lnTo>
                  <a:pt x="5578" y="187"/>
                </a:lnTo>
                <a:lnTo>
                  <a:pt x="5574" y="184"/>
                </a:lnTo>
                <a:lnTo>
                  <a:pt x="5574" y="184"/>
                </a:lnTo>
                <a:lnTo>
                  <a:pt x="5573" y="183"/>
                </a:lnTo>
                <a:lnTo>
                  <a:pt x="5569" y="181"/>
                </a:lnTo>
                <a:lnTo>
                  <a:pt x="5565" y="178"/>
                </a:lnTo>
                <a:lnTo>
                  <a:pt x="5563" y="177"/>
                </a:lnTo>
                <a:lnTo>
                  <a:pt x="5561" y="176"/>
                </a:lnTo>
                <a:lnTo>
                  <a:pt x="5557" y="174"/>
                </a:lnTo>
                <a:lnTo>
                  <a:pt x="5553" y="173"/>
                </a:lnTo>
                <a:lnTo>
                  <a:pt x="5550" y="171"/>
                </a:lnTo>
                <a:lnTo>
                  <a:pt x="5548" y="170"/>
                </a:lnTo>
                <a:lnTo>
                  <a:pt x="5542" y="168"/>
                </a:lnTo>
                <a:lnTo>
                  <a:pt x="5537" y="167"/>
                </a:lnTo>
                <a:lnTo>
                  <a:pt x="5534" y="166"/>
                </a:lnTo>
                <a:lnTo>
                  <a:pt x="5532" y="165"/>
                </a:lnTo>
                <a:lnTo>
                  <a:pt x="5524" y="162"/>
                </a:lnTo>
                <a:lnTo>
                  <a:pt x="5515" y="158"/>
                </a:lnTo>
                <a:lnTo>
                  <a:pt x="5513" y="158"/>
                </a:lnTo>
                <a:lnTo>
                  <a:pt x="5510" y="157"/>
                </a:lnTo>
                <a:lnTo>
                  <a:pt x="5503" y="155"/>
                </a:lnTo>
                <a:lnTo>
                  <a:pt x="5495" y="153"/>
                </a:lnTo>
                <a:lnTo>
                  <a:pt x="5491" y="152"/>
                </a:lnTo>
                <a:lnTo>
                  <a:pt x="5487" y="151"/>
                </a:lnTo>
                <a:lnTo>
                  <a:pt x="5481" y="149"/>
                </a:lnTo>
                <a:lnTo>
                  <a:pt x="5473" y="147"/>
                </a:lnTo>
                <a:lnTo>
                  <a:pt x="5469" y="146"/>
                </a:lnTo>
                <a:lnTo>
                  <a:pt x="5464" y="145"/>
                </a:lnTo>
                <a:lnTo>
                  <a:pt x="5457" y="143"/>
                </a:lnTo>
                <a:lnTo>
                  <a:pt x="5449" y="142"/>
                </a:lnTo>
                <a:lnTo>
                  <a:pt x="5443" y="141"/>
                </a:lnTo>
                <a:lnTo>
                  <a:pt x="5439" y="140"/>
                </a:lnTo>
                <a:lnTo>
                  <a:pt x="5427" y="137"/>
                </a:lnTo>
                <a:lnTo>
                  <a:pt x="5415" y="135"/>
                </a:lnTo>
                <a:lnTo>
                  <a:pt x="5409" y="134"/>
                </a:lnTo>
                <a:lnTo>
                  <a:pt x="5405" y="133"/>
                </a:lnTo>
                <a:lnTo>
                  <a:pt x="5395" y="131"/>
                </a:lnTo>
                <a:lnTo>
                  <a:pt x="5386" y="129"/>
                </a:lnTo>
                <a:lnTo>
                  <a:pt x="5380" y="128"/>
                </a:lnTo>
                <a:lnTo>
                  <a:pt x="5373" y="127"/>
                </a:lnTo>
                <a:lnTo>
                  <a:pt x="5364" y="126"/>
                </a:lnTo>
                <a:lnTo>
                  <a:pt x="5355" y="123"/>
                </a:lnTo>
                <a:lnTo>
                  <a:pt x="5349" y="122"/>
                </a:lnTo>
                <a:lnTo>
                  <a:pt x="5341" y="121"/>
                </a:lnTo>
                <a:lnTo>
                  <a:pt x="5331" y="119"/>
                </a:lnTo>
                <a:lnTo>
                  <a:pt x="5321" y="118"/>
                </a:lnTo>
                <a:lnTo>
                  <a:pt x="5315" y="117"/>
                </a:lnTo>
                <a:lnTo>
                  <a:pt x="5308" y="116"/>
                </a:lnTo>
                <a:lnTo>
                  <a:pt x="5300" y="115"/>
                </a:lnTo>
                <a:lnTo>
                  <a:pt x="5292" y="114"/>
                </a:lnTo>
                <a:lnTo>
                  <a:pt x="5284" y="112"/>
                </a:lnTo>
                <a:lnTo>
                  <a:pt x="5275" y="111"/>
                </a:lnTo>
                <a:lnTo>
                  <a:pt x="5274" y="111"/>
                </a:lnTo>
                <a:lnTo>
                  <a:pt x="5272" y="111"/>
                </a:lnTo>
                <a:lnTo>
                  <a:pt x="5270" y="111"/>
                </a:lnTo>
                <a:lnTo>
                  <a:pt x="5268" y="110"/>
                </a:lnTo>
                <a:lnTo>
                  <a:pt x="5253" y="108"/>
                </a:lnTo>
                <a:lnTo>
                  <a:pt x="5238" y="106"/>
                </a:lnTo>
                <a:lnTo>
                  <a:pt x="5223" y="104"/>
                </a:lnTo>
                <a:lnTo>
                  <a:pt x="5206" y="102"/>
                </a:lnTo>
                <a:lnTo>
                  <a:pt x="5203" y="102"/>
                </a:lnTo>
                <a:lnTo>
                  <a:pt x="5199" y="102"/>
                </a:lnTo>
                <a:lnTo>
                  <a:pt x="5184" y="100"/>
                </a:lnTo>
                <a:lnTo>
                  <a:pt x="5167" y="98"/>
                </a:lnTo>
                <a:lnTo>
                  <a:pt x="5151" y="96"/>
                </a:lnTo>
                <a:lnTo>
                  <a:pt x="5133" y="94"/>
                </a:lnTo>
                <a:lnTo>
                  <a:pt x="5132" y="94"/>
                </a:lnTo>
                <a:lnTo>
                  <a:pt x="5130" y="94"/>
                </a:lnTo>
                <a:lnTo>
                  <a:pt x="5126" y="93"/>
                </a:lnTo>
                <a:lnTo>
                  <a:pt x="5122" y="93"/>
                </a:lnTo>
                <a:lnTo>
                  <a:pt x="5111" y="90"/>
                </a:lnTo>
                <a:lnTo>
                  <a:pt x="5099" y="89"/>
                </a:lnTo>
                <a:lnTo>
                  <a:pt x="5087" y="88"/>
                </a:lnTo>
                <a:lnTo>
                  <a:pt x="5075" y="87"/>
                </a:lnTo>
                <a:lnTo>
                  <a:pt x="5070" y="86"/>
                </a:lnTo>
                <a:lnTo>
                  <a:pt x="5065" y="86"/>
                </a:lnTo>
                <a:lnTo>
                  <a:pt x="5053" y="84"/>
                </a:lnTo>
                <a:lnTo>
                  <a:pt x="5039" y="83"/>
                </a:lnTo>
                <a:lnTo>
                  <a:pt x="5026" y="82"/>
                </a:lnTo>
                <a:lnTo>
                  <a:pt x="5013" y="81"/>
                </a:lnTo>
                <a:lnTo>
                  <a:pt x="5007" y="80"/>
                </a:lnTo>
                <a:lnTo>
                  <a:pt x="5002" y="80"/>
                </a:lnTo>
                <a:lnTo>
                  <a:pt x="4997" y="79"/>
                </a:lnTo>
                <a:lnTo>
                  <a:pt x="4993" y="79"/>
                </a:lnTo>
                <a:lnTo>
                  <a:pt x="4982" y="78"/>
                </a:lnTo>
                <a:lnTo>
                  <a:pt x="4970" y="77"/>
                </a:lnTo>
                <a:lnTo>
                  <a:pt x="4958" y="76"/>
                </a:lnTo>
                <a:lnTo>
                  <a:pt x="4947" y="75"/>
                </a:lnTo>
                <a:lnTo>
                  <a:pt x="4945" y="75"/>
                </a:lnTo>
                <a:lnTo>
                  <a:pt x="4944" y="74"/>
                </a:lnTo>
                <a:lnTo>
                  <a:pt x="4930" y="73"/>
                </a:lnTo>
                <a:lnTo>
                  <a:pt x="4917" y="72"/>
                </a:lnTo>
                <a:lnTo>
                  <a:pt x="4902" y="71"/>
                </a:lnTo>
                <a:lnTo>
                  <a:pt x="4889" y="70"/>
                </a:lnTo>
                <a:lnTo>
                  <a:pt x="4886" y="70"/>
                </a:lnTo>
                <a:lnTo>
                  <a:pt x="4883" y="69"/>
                </a:lnTo>
                <a:lnTo>
                  <a:pt x="4877" y="69"/>
                </a:lnTo>
                <a:lnTo>
                  <a:pt x="4870" y="68"/>
                </a:lnTo>
                <a:lnTo>
                  <a:pt x="4862" y="68"/>
                </a:lnTo>
                <a:lnTo>
                  <a:pt x="4855" y="67"/>
                </a:lnTo>
                <a:lnTo>
                  <a:pt x="4847" y="67"/>
                </a:lnTo>
                <a:lnTo>
                  <a:pt x="4838" y="66"/>
                </a:lnTo>
                <a:lnTo>
                  <a:pt x="4827" y="65"/>
                </a:lnTo>
                <a:lnTo>
                  <a:pt x="4816" y="64"/>
                </a:lnTo>
                <a:lnTo>
                  <a:pt x="4800" y="63"/>
                </a:lnTo>
                <a:lnTo>
                  <a:pt x="4785" y="62"/>
                </a:lnTo>
                <a:lnTo>
                  <a:pt x="4776" y="61"/>
                </a:lnTo>
                <a:lnTo>
                  <a:pt x="4767" y="61"/>
                </a:lnTo>
                <a:lnTo>
                  <a:pt x="4765" y="60"/>
                </a:lnTo>
                <a:lnTo>
                  <a:pt x="4763" y="60"/>
                </a:lnTo>
                <a:lnTo>
                  <a:pt x="4737" y="59"/>
                </a:lnTo>
                <a:lnTo>
                  <a:pt x="4711" y="57"/>
                </a:lnTo>
                <a:lnTo>
                  <a:pt x="4684" y="54"/>
                </a:lnTo>
                <a:lnTo>
                  <a:pt x="4657" y="52"/>
                </a:lnTo>
                <a:lnTo>
                  <a:pt x="4655" y="52"/>
                </a:lnTo>
                <a:lnTo>
                  <a:pt x="4653" y="52"/>
                </a:lnTo>
                <a:lnTo>
                  <a:pt x="4648" y="52"/>
                </a:lnTo>
                <a:lnTo>
                  <a:pt x="4644" y="51"/>
                </a:lnTo>
                <a:lnTo>
                  <a:pt x="4621" y="50"/>
                </a:lnTo>
                <a:lnTo>
                  <a:pt x="4597" y="48"/>
                </a:lnTo>
                <a:lnTo>
                  <a:pt x="4574" y="47"/>
                </a:lnTo>
                <a:lnTo>
                  <a:pt x="4550" y="46"/>
                </a:lnTo>
                <a:lnTo>
                  <a:pt x="4547" y="45"/>
                </a:lnTo>
                <a:lnTo>
                  <a:pt x="4544" y="45"/>
                </a:lnTo>
                <a:lnTo>
                  <a:pt x="4538" y="45"/>
                </a:lnTo>
                <a:lnTo>
                  <a:pt x="4533" y="45"/>
                </a:lnTo>
                <a:lnTo>
                  <a:pt x="4510" y="43"/>
                </a:lnTo>
                <a:lnTo>
                  <a:pt x="4487" y="42"/>
                </a:lnTo>
                <a:lnTo>
                  <a:pt x="4463" y="41"/>
                </a:lnTo>
                <a:lnTo>
                  <a:pt x="4440" y="40"/>
                </a:lnTo>
                <a:lnTo>
                  <a:pt x="4436" y="39"/>
                </a:lnTo>
                <a:lnTo>
                  <a:pt x="4433" y="39"/>
                </a:lnTo>
                <a:lnTo>
                  <a:pt x="4428" y="39"/>
                </a:lnTo>
                <a:lnTo>
                  <a:pt x="4424" y="39"/>
                </a:lnTo>
                <a:lnTo>
                  <a:pt x="4400" y="37"/>
                </a:lnTo>
                <a:lnTo>
                  <a:pt x="4376" y="36"/>
                </a:lnTo>
                <a:lnTo>
                  <a:pt x="4352" y="35"/>
                </a:lnTo>
                <a:lnTo>
                  <a:pt x="4327" y="34"/>
                </a:lnTo>
                <a:lnTo>
                  <a:pt x="4325" y="34"/>
                </a:lnTo>
                <a:lnTo>
                  <a:pt x="4323" y="34"/>
                </a:lnTo>
                <a:lnTo>
                  <a:pt x="4320" y="34"/>
                </a:lnTo>
                <a:lnTo>
                  <a:pt x="4316" y="33"/>
                </a:lnTo>
                <a:lnTo>
                  <a:pt x="4292" y="32"/>
                </a:lnTo>
                <a:lnTo>
                  <a:pt x="4268" y="31"/>
                </a:lnTo>
                <a:lnTo>
                  <a:pt x="4244" y="30"/>
                </a:lnTo>
                <a:lnTo>
                  <a:pt x="4219" y="29"/>
                </a:lnTo>
                <a:lnTo>
                  <a:pt x="4217" y="29"/>
                </a:lnTo>
                <a:lnTo>
                  <a:pt x="4214" y="29"/>
                </a:lnTo>
                <a:lnTo>
                  <a:pt x="4210" y="29"/>
                </a:lnTo>
                <a:lnTo>
                  <a:pt x="4206" y="28"/>
                </a:lnTo>
                <a:lnTo>
                  <a:pt x="4182" y="27"/>
                </a:lnTo>
                <a:lnTo>
                  <a:pt x="4158" y="27"/>
                </a:lnTo>
                <a:lnTo>
                  <a:pt x="4134" y="26"/>
                </a:lnTo>
                <a:lnTo>
                  <a:pt x="4111" y="25"/>
                </a:lnTo>
                <a:lnTo>
                  <a:pt x="4108" y="25"/>
                </a:lnTo>
                <a:lnTo>
                  <a:pt x="4105" y="24"/>
                </a:lnTo>
                <a:lnTo>
                  <a:pt x="4097" y="24"/>
                </a:lnTo>
                <a:lnTo>
                  <a:pt x="4089" y="24"/>
                </a:lnTo>
                <a:lnTo>
                  <a:pt x="4068" y="23"/>
                </a:lnTo>
                <a:lnTo>
                  <a:pt x="4048" y="21"/>
                </a:lnTo>
                <a:lnTo>
                  <a:pt x="4027" y="21"/>
                </a:lnTo>
                <a:lnTo>
                  <a:pt x="4006" y="20"/>
                </a:lnTo>
                <a:lnTo>
                  <a:pt x="4001" y="20"/>
                </a:lnTo>
                <a:lnTo>
                  <a:pt x="3996" y="20"/>
                </a:lnTo>
                <a:lnTo>
                  <a:pt x="3995" y="19"/>
                </a:lnTo>
                <a:lnTo>
                  <a:pt x="3993" y="19"/>
                </a:lnTo>
                <a:lnTo>
                  <a:pt x="3969" y="19"/>
                </a:lnTo>
                <a:lnTo>
                  <a:pt x="3945" y="18"/>
                </a:lnTo>
                <a:lnTo>
                  <a:pt x="3920" y="17"/>
                </a:lnTo>
                <a:lnTo>
                  <a:pt x="3895" y="16"/>
                </a:lnTo>
                <a:lnTo>
                  <a:pt x="3892" y="16"/>
                </a:lnTo>
                <a:lnTo>
                  <a:pt x="3890" y="16"/>
                </a:lnTo>
                <a:lnTo>
                  <a:pt x="3887" y="16"/>
                </a:lnTo>
                <a:lnTo>
                  <a:pt x="3885" y="16"/>
                </a:lnTo>
                <a:lnTo>
                  <a:pt x="3861" y="15"/>
                </a:lnTo>
                <a:lnTo>
                  <a:pt x="3838" y="15"/>
                </a:lnTo>
                <a:lnTo>
                  <a:pt x="3814" y="14"/>
                </a:lnTo>
                <a:lnTo>
                  <a:pt x="3789" y="13"/>
                </a:lnTo>
                <a:lnTo>
                  <a:pt x="3788" y="13"/>
                </a:lnTo>
                <a:lnTo>
                  <a:pt x="3786" y="13"/>
                </a:lnTo>
                <a:lnTo>
                  <a:pt x="3783" y="13"/>
                </a:lnTo>
                <a:lnTo>
                  <a:pt x="3780" y="13"/>
                </a:lnTo>
                <a:lnTo>
                  <a:pt x="3757" y="12"/>
                </a:lnTo>
                <a:lnTo>
                  <a:pt x="3734" y="12"/>
                </a:lnTo>
                <a:lnTo>
                  <a:pt x="3711" y="11"/>
                </a:lnTo>
                <a:lnTo>
                  <a:pt x="3688" y="11"/>
                </a:lnTo>
                <a:lnTo>
                  <a:pt x="3688" y="11"/>
                </a:lnTo>
                <a:lnTo>
                  <a:pt x="3687" y="11"/>
                </a:lnTo>
                <a:lnTo>
                  <a:pt x="3687" y="11"/>
                </a:lnTo>
                <a:lnTo>
                  <a:pt x="3687" y="11"/>
                </a:lnTo>
                <a:lnTo>
                  <a:pt x="3666" y="10"/>
                </a:lnTo>
                <a:lnTo>
                  <a:pt x="3646" y="10"/>
                </a:lnTo>
                <a:lnTo>
                  <a:pt x="3625" y="9"/>
                </a:lnTo>
                <a:lnTo>
                  <a:pt x="3605" y="9"/>
                </a:lnTo>
                <a:lnTo>
                  <a:pt x="3600" y="8"/>
                </a:lnTo>
                <a:lnTo>
                  <a:pt x="3596" y="8"/>
                </a:lnTo>
                <a:lnTo>
                  <a:pt x="3585" y="8"/>
                </a:lnTo>
                <a:lnTo>
                  <a:pt x="3573" y="8"/>
                </a:lnTo>
                <a:lnTo>
                  <a:pt x="3560" y="8"/>
                </a:lnTo>
                <a:lnTo>
                  <a:pt x="3548" y="7"/>
                </a:lnTo>
                <a:lnTo>
                  <a:pt x="3535" y="7"/>
                </a:lnTo>
                <a:lnTo>
                  <a:pt x="3522" y="7"/>
                </a:lnTo>
                <a:lnTo>
                  <a:pt x="3514" y="7"/>
                </a:lnTo>
                <a:lnTo>
                  <a:pt x="3507" y="7"/>
                </a:lnTo>
                <a:lnTo>
                  <a:pt x="3499" y="6"/>
                </a:lnTo>
                <a:lnTo>
                  <a:pt x="3492" y="6"/>
                </a:lnTo>
                <a:lnTo>
                  <a:pt x="3480" y="6"/>
                </a:lnTo>
                <a:lnTo>
                  <a:pt x="3466" y="6"/>
                </a:lnTo>
                <a:lnTo>
                  <a:pt x="3454" y="6"/>
                </a:lnTo>
                <a:lnTo>
                  <a:pt x="3442" y="6"/>
                </a:lnTo>
                <a:lnTo>
                  <a:pt x="3438" y="5"/>
                </a:lnTo>
                <a:lnTo>
                  <a:pt x="3435" y="5"/>
                </a:lnTo>
                <a:lnTo>
                  <a:pt x="3432" y="5"/>
                </a:lnTo>
                <a:lnTo>
                  <a:pt x="3429" y="5"/>
                </a:lnTo>
                <a:lnTo>
                  <a:pt x="3419" y="5"/>
                </a:lnTo>
                <a:lnTo>
                  <a:pt x="3409" y="5"/>
                </a:lnTo>
                <a:lnTo>
                  <a:pt x="3398" y="5"/>
                </a:lnTo>
                <a:lnTo>
                  <a:pt x="3387" y="5"/>
                </a:lnTo>
                <a:lnTo>
                  <a:pt x="3375" y="4"/>
                </a:lnTo>
                <a:lnTo>
                  <a:pt x="3362" y="4"/>
                </a:lnTo>
                <a:lnTo>
                  <a:pt x="3353" y="4"/>
                </a:lnTo>
                <a:lnTo>
                  <a:pt x="3344" y="4"/>
                </a:lnTo>
                <a:lnTo>
                  <a:pt x="3335" y="4"/>
                </a:lnTo>
                <a:lnTo>
                  <a:pt x="3325" y="4"/>
                </a:lnTo>
                <a:lnTo>
                  <a:pt x="3316" y="4"/>
                </a:lnTo>
                <a:lnTo>
                  <a:pt x="3308" y="3"/>
                </a:lnTo>
                <a:lnTo>
                  <a:pt x="3300" y="3"/>
                </a:lnTo>
                <a:lnTo>
                  <a:pt x="3291" y="3"/>
                </a:lnTo>
                <a:lnTo>
                  <a:pt x="3284" y="3"/>
                </a:lnTo>
                <a:lnTo>
                  <a:pt x="3277" y="3"/>
                </a:lnTo>
                <a:lnTo>
                  <a:pt x="3267" y="3"/>
                </a:lnTo>
                <a:lnTo>
                  <a:pt x="3256" y="3"/>
                </a:lnTo>
                <a:lnTo>
                  <a:pt x="3246" y="3"/>
                </a:lnTo>
                <a:lnTo>
                  <a:pt x="3237" y="3"/>
                </a:lnTo>
                <a:lnTo>
                  <a:pt x="3228" y="2"/>
                </a:lnTo>
                <a:lnTo>
                  <a:pt x="3220" y="2"/>
                </a:lnTo>
                <a:lnTo>
                  <a:pt x="3212" y="2"/>
                </a:lnTo>
                <a:lnTo>
                  <a:pt x="3204" y="2"/>
                </a:lnTo>
                <a:lnTo>
                  <a:pt x="3195" y="2"/>
                </a:lnTo>
                <a:lnTo>
                  <a:pt x="3186" y="2"/>
                </a:lnTo>
                <a:lnTo>
                  <a:pt x="3184" y="2"/>
                </a:lnTo>
                <a:lnTo>
                  <a:pt x="3181" y="2"/>
                </a:lnTo>
                <a:lnTo>
                  <a:pt x="3171" y="2"/>
                </a:lnTo>
                <a:lnTo>
                  <a:pt x="3160" y="2"/>
                </a:lnTo>
                <a:lnTo>
                  <a:pt x="3150" y="2"/>
                </a:lnTo>
                <a:lnTo>
                  <a:pt x="3141" y="2"/>
                </a:lnTo>
                <a:lnTo>
                  <a:pt x="3132" y="2"/>
                </a:lnTo>
                <a:lnTo>
                  <a:pt x="3122" y="1"/>
                </a:lnTo>
                <a:lnTo>
                  <a:pt x="3109" y="1"/>
                </a:lnTo>
                <a:lnTo>
                  <a:pt x="3096" y="1"/>
                </a:lnTo>
                <a:lnTo>
                  <a:pt x="3083" y="1"/>
                </a:lnTo>
                <a:lnTo>
                  <a:pt x="3071" y="1"/>
                </a:lnTo>
                <a:lnTo>
                  <a:pt x="3066" y="1"/>
                </a:lnTo>
                <a:lnTo>
                  <a:pt x="3061" y="1"/>
                </a:lnTo>
                <a:lnTo>
                  <a:pt x="3054" y="1"/>
                </a:lnTo>
                <a:lnTo>
                  <a:pt x="3046" y="1"/>
                </a:lnTo>
                <a:lnTo>
                  <a:pt x="3037" y="1"/>
                </a:lnTo>
                <a:lnTo>
                  <a:pt x="3026" y="1"/>
                </a:lnTo>
                <a:lnTo>
                  <a:pt x="3020" y="1"/>
                </a:lnTo>
                <a:lnTo>
                  <a:pt x="3015" y="1"/>
                </a:lnTo>
                <a:lnTo>
                  <a:pt x="3007" y="1"/>
                </a:lnTo>
                <a:lnTo>
                  <a:pt x="2999" y="1"/>
                </a:lnTo>
                <a:lnTo>
                  <a:pt x="2990" y="1"/>
                </a:lnTo>
                <a:lnTo>
                  <a:pt x="2982" y="1"/>
                </a:lnTo>
                <a:lnTo>
                  <a:pt x="2982" y="1"/>
                </a:lnTo>
                <a:lnTo>
                  <a:pt x="2981" y="1"/>
                </a:lnTo>
                <a:lnTo>
                  <a:pt x="2971" y="0"/>
                </a:lnTo>
                <a:lnTo>
                  <a:pt x="2959" y="0"/>
                </a:lnTo>
                <a:lnTo>
                  <a:pt x="2948" y="0"/>
                </a:lnTo>
                <a:lnTo>
                  <a:pt x="2937" y="0"/>
                </a:lnTo>
                <a:lnTo>
                  <a:pt x="2931" y="0"/>
                </a:lnTo>
                <a:lnTo>
                  <a:pt x="2924" y="0"/>
                </a:lnTo>
                <a:lnTo>
                  <a:pt x="2912" y="0"/>
                </a:lnTo>
                <a:lnTo>
                  <a:pt x="2900" y="0"/>
                </a:lnTo>
                <a:lnTo>
                  <a:pt x="2895" y="0"/>
                </a:lnTo>
                <a:lnTo>
                  <a:pt x="2891" y="0"/>
                </a:lnTo>
                <a:lnTo>
                  <a:pt x="2880" y="0"/>
                </a:lnTo>
                <a:lnTo>
                  <a:pt x="2869" y="0"/>
                </a:lnTo>
                <a:lnTo>
                  <a:pt x="2857" y="0"/>
                </a:lnTo>
                <a:lnTo>
                  <a:pt x="2846" y="0"/>
                </a:lnTo>
                <a:lnTo>
                  <a:pt x="2846" y="0"/>
                </a:lnTo>
                <a:lnTo>
                  <a:pt x="2845" y="0"/>
                </a:lnTo>
                <a:lnTo>
                  <a:pt x="2835" y="0"/>
                </a:lnTo>
                <a:lnTo>
                  <a:pt x="2824" y="0"/>
                </a:lnTo>
                <a:lnTo>
                  <a:pt x="2814" y="0"/>
                </a:lnTo>
                <a:lnTo>
                  <a:pt x="2804" y="0"/>
                </a:lnTo>
                <a:lnTo>
                  <a:pt x="2793" y="0"/>
                </a:lnTo>
                <a:lnTo>
                  <a:pt x="2783" y="0"/>
                </a:lnTo>
                <a:lnTo>
                  <a:pt x="2773" y="0"/>
                </a:lnTo>
                <a:lnTo>
                  <a:pt x="2763" y="0"/>
                </a:lnTo>
                <a:lnTo>
                  <a:pt x="2751" y="0"/>
                </a:lnTo>
                <a:lnTo>
                  <a:pt x="2741" y="0"/>
                </a:lnTo>
                <a:lnTo>
                  <a:pt x="2731" y="0"/>
                </a:lnTo>
                <a:lnTo>
                  <a:pt x="2720" y="0"/>
                </a:lnTo>
                <a:lnTo>
                  <a:pt x="2717" y="0"/>
                </a:lnTo>
                <a:lnTo>
                  <a:pt x="2714" y="0"/>
                </a:lnTo>
                <a:lnTo>
                  <a:pt x="2702" y="0"/>
                </a:lnTo>
                <a:lnTo>
                  <a:pt x="2689" y="0"/>
                </a:lnTo>
                <a:lnTo>
                  <a:pt x="2684" y="0"/>
                </a:lnTo>
                <a:lnTo>
                  <a:pt x="2678" y="0"/>
                </a:lnTo>
                <a:lnTo>
                  <a:pt x="2668" y="0"/>
                </a:lnTo>
                <a:lnTo>
                  <a:pt x="2657" y="0"/>
                </a:lnTo>
                <a:lnTo>
                  <a:pt x="2647" y="0"/>
                </a:lnTo>
                <a:lnTo>
                  <a:pt x="2637" y="0"/>
                </a:lnTo>
                <a:lnTo>
                  <a:pt x="2636" y="0"/>
                </a:lnTo>
                <a:lnTo>
                  <a:pt x="2635" y="0"/>
                </a:lnTo>
                <a:lnTo>
                  <a:pt x="2622" y="0"/>
                </a:lnTo>
                <a:lnTo>
                  <a:pt x="2609" y="1"/>
                </a:lnTo>
                <a:lnTo>
                  <a:pt x="2600" y="1"/>
                </a:lnTo>
                <a:lnTo>
                  <a:pt x="2590" y="1"/>
                </a:lnTo>
                <a:lnTo>
                  <a:pt x="2585" y="1"/>
                </a:lnTo>
                <a:lnTo>
                  <a:pt x="2580" y="1"/>
                </a:lnTo>
                <a:lnTo>
                  <a:pt x="2572" y="1"/>
                </a:lnTo>
                <a:lnTo>
                  <a:pt x="2564" y="1"/>
                </a:lnTo>
                <a:lnTo>
                  <a:pt x="2555" y="1"/>
                </a:lnTo>
                <a:lnTo>
                  <a:pt x="2547" y="1"/>
                </a:lnTo>
                <a:lnTo>
                  <a:pt x="2544" y="1"/>
                </a:lnTo>
                <a:lnTo>
                  <a:pt x="2540" y="1"/>
                </a:lnTo>
                <a:lnTo>
                  <a:pt x="2527" y="1"/>
                </a:lnTo>
                <a:lnTo>
                  <a:pt x="2514" y="1"/>
                </a:lnTo>
                <a:lnTo>
                  <a:pt x="2503" y="1"/>
                </a:lnTo>
                <a:lnTo>
                  <a:pt x="2491" y="1"/>
                </a:lnTo>
                <a:lnTo>
                  <a:pt x="2481" y="1"/>
                </a:lnTo>
                <a:lnTo>
                  <a:pt x="2470" y="1"/>
                </a:lnTo>
                <a:lnTo>
                  <a:pt x="2455" y="2"/>
                </a:lnTo>
                <a:lnTo>
                  <a:pt x="2440" y="2"/>
                </a:lnTo>
                <a:lnTo>
                  <a:pt x="2432" y="2"/>
                </a:lnTo>
                <a:lnTo>
                  <a:pt x="2423" y="2"/>
                </a:lnTo>
                <a:lnTo>
                  <a:pt x="2419" y="2"/>
                </a:lnTo>
                <a:lnTo>
                  <a:pt x="2414" y="2"/>
                </a:lnTo>
                <a:lnTo>
                  <a:pt x="2402" y="2"/>
                </a:lnTo>
                <a:lnTo>
                  <a:pt x="2389" y="2"/>
                </a:lnTo>
                <a:lnTo>
                  <a:pt x="2380" y="2"/>
                </a:lnTo>
                <a:lnTo>
                  <a:pt x="2371" y="2"/>
                </a:lnTo>
                <a:lnTo>
                  <a:pt x="2353" y="3"/>
                </a:lnTo>
                <a:lnTo>
                  <a:pt x="2337" y="3"/>
                </a:lnTo>
                <a:lnTo>
                  <a:pt x="2319" y="3"/>
                </a:lnTo>
                <a:lnTo>
                  <a:pt x="2302" y="3"/>
                </a:lnTo>
                <a:lnTo>
                  <a:pt x="2294" y="3"/>
                </a:lnTo>
                <a:lnTo>
                  <a:pt x="2285" y="3"/>
                </a:lnTo>
                <a:lnTo>
                  <a:pt x="2285" y="3"/>
                </a:lnTo>
                <a:lnTo>
                  <a:pt x="2283" y="3"/>
                </a:lnTo>
                <a:lnTo>
                  <a:pt x="2281" y="3"/>
                </a:lnTo>
                <a:lnTo>
                  <a:pt x="2261" y="4"/>
                </a:lnTo>
                <a:lnTo>
                  <a:pt x="2240" y="4"/>
                </a:lnTo>
                <a:lnTo>
                  <a:pt x="2219" y="4"/>
                </a:lnTo>
                <a:lnTo>
                  <a:pt x="2199" y="5"/>
                </a:lnTo>
                <a:lnTo>
                  <a:pt x="2190" y="5"/>
                </a:lnTo>
                <a:lnTo>
                  <a:pt x="2182" y="5"/>
                </a:lnTo>
                <a:lnTo>
                  <a:pt x="2173" y="5"/>
                </a:lnTo>
                <a:lnTo>
                  <a:pt x="2164" y="5"/>
                </a:lnTo>
                <a:lnTo>
                  <a:pt x="2155" y="5"/>
                </a:lnTo>
                <a:lnTo>
                  <a:pt x="2146" y="6"/>
                </a:lnTo>
                <a:lnTo>
                  <a:pt x="2145" y="6"/>
                </a:lnTo>
                <a:lnTo>
                  <a:pt x="2144" y="6"/>
                </a:lnTo>
                <a:lnTo>
                  <a:pt x="2144" y="6"/>
                </a:lnTo>
                <a:lnTo>
                  <a:pt x="2144" y="6"/>
                </a:lnTo>
                <a:lnTo>
                  <a:pt x="2143" y="6"/>
                </a:lnTo>
                <a:lnTo>
                  <a:pt x="2143" y="6"/>
                </a:lnTo>
                <a:lnTo>
                  <a:pt x="2117" y="6"/>
                </a:lnTo>
                <a:lnTo>
                  <a:pt x="2093" y="6"/>
                </a:lnTo>
                <a:lnTo>
                  <a:pt x="2067" y="7"/>
                </a:lnTo>
                <a:lnTo>
                  <a:pt x="2041" y="7"/>
                </a:lnTo>
                <a:lnTo>
                  <a:pt x="2016" y="8"/>
                </a:lnTo>
                <a:lnTo>
                  <a:pt x="1990" y="9"/>
                </a:lnTo>
                <a:lnTo>
                  <a:pt x="1966" y="9"/>
                </a:lnTo>
                <a:lnTo>
                  <a:pt x="1941" y="10"/>
                </a:lnTo>
                <a:lnTo>
                  <a:pt x="1939" y="10"/>
                </a:lnTo>
                <a:lnTo>
                  <a:pt x="1938" y="10"/>
                </a:lnTo>
                <a:lnTo>
                  <a:pt x="1925" y="10"/>
                </a:lnTo>
                <a:lnTo>
                  <a:pt x="1910" y="10"/>
                </a:lnTo>
                <a:lnTo>
                  <a:pt x="1902" y="11"/>
                </a:lnTo>
                <a:lnTo>
                  <a:pt x="1893" y="11"/>
                </a:lnTo>
                <a:lnTo>
                  <a:pt x="1884" y="11"/>
                </a:lnTo>
                <a:lnTo>
                  <a:pt x="1875" y="11"/>
                </a:lnTo>
                <a:lnTo>
                  <a:pt x="1873" y="11"/>
                </a:lnTo>
                <a:lnTo>
                  <a:pt x="1870" y="11"/>
                </a:lnTo>
                <a:lnTo>
                  <a:pt x="1860" y="12"/>
                </a:lnTo>
                <a:lnTo>
                  <a:pt x="1849" y="12"/>
                </a:lnTo>
                <a:lnTo>
                  <a:pt x="1839" y="12"/>
                </a:lnTo>
                <a:lnTo>
                  <a:pt x="1829" y="12"/>
                </a:lnTo>
                <a:lnTo>
                  <a:pt x="1818" y="13"/>
                </a:lnTo>
                <a:lnTo>
                  <a:pt x="1808" y="13"/>
                </a:lnTo>
                <a:lnTo>
                  <a:pt x="1805" y="13"/>
                </a:lnTo>
                <a:lnTo>
                  <a:pt x="1803" y="13"/>
                </a:lnTo>
                <a:lnTo>
                  <a:pt x="1794" y="13"/>
                </a:lnTo>
                <a:lnTo>
                  <a:pt x="1785" y="14"/>
                </a:lnTo>
                <a:lnTo>
                  <a:pt x="1775" y="14"/>
                </a:lnTo>
                <a:lnTo>
                  <a:pt x="1764" y="14"/>
                </a:lnTo>
                <a:lnTo>
                  <a:pt x="1753" y="15"/>
                </a:lnTo>
                <a:lnTo>
                  <a:pt x="1742" y="15"/>
                </a:lnTo>
                <a:lnTo>
                  <a:pt x="1741" y="15"/>
                </a:lnTo>
                <a:lnTo>
                  <a:pt x="1740" y="15"/>
                </a:lnTo>
                <a:lnTo>
                  <a:pt x="1732" y="15"/>
                </a:lnTo>
                <a:lnTo>
                  <a:pt x="1722" y="15"/>
                </a:lnTo>
                <a:lnTo>
                  <a:pt x="1714" y="16"/>
                </a:lnTo>
                <a:lnTo>
                  <a:pt x="1706" y="16"/>
                </a:lnTo>
                <a:lnTo>
                  <a:pt x="1695" y="16"/>
                </a:lnTo>
                <a:lnTo>
                  <a:pt x="1682" y="17"/>
                </a:lnTo>
                <a:lnTo>
                  <a:pt x="1672" y="17"/>
                </a:lnTo>
                <a:lnTo>
                  <a:pt x="1662" y="17"/>
                </a:lnTo>
                <a:lnTo>
                  <a:pt x="1650" y="18"/>
                </a:lnTo>
                <a:lnTo>
                  <a:pt x="1640" y="18"/>
                </a:lnTo>
                <a:lnTo>
                  <a:pt x="1638" y="18"/>
                </a:lnTo>
                <a:lnTo>
                  <a:pt x="1635" y="18"/>
                </a:lnTo>
                <a:lnTo>
                  <a:pt x="1628" y="18"/>
                </a:lnTo>
                <a:lnTo>
                  <a:pt x="1620" y="19"/>
                </a:lnTo>
                <a:lnTo>
                  <a:pt x="1606" y="19"/>
                </a:lnTo>
                <a:lnTo>
                  <a:pt x="1592" y="20"/>
                </a:lnTo>
                <a:lnTo>
                  <a:pt x="1579" y="20"/>
                </a:lnTo>
                <a:lnTo>
                  <a:pt x="1566" y="21"/>
                </a:lnTo>
                <a:lnTo>
                  <a:pt x="1553" y="21"/>
                </a:lnTo>
                <a:lnTo>
                  <a:pt x="1542" y="21"/>
                </a:lnTo>
                <a:lnTo>
                  <a:pt x="1534" y="23"/>
                </a:lnTo>
                <a:lnTo>
                  <a:pt x="1526" y="23"/>
                </a:lnTo>
                <a:lnTo>
                  <a:pt x="1517" y="23"/>
                </a:lnTo>
                <a:lnTo>
                  <a:pt x="1509" y="24"/>
                </a:lnTo>
                <a:lnTo>
                  <a:pt x="1507" y="24"/>
                </a:lnTo>
                <a:lnTo>
                  <a:pt x="1505" y="24"/>
                </a:lnTo>
                <a:lnTo>
                  <a:pt x="1498" y="24"/>
                </a:lnTo>
                <a:lnTo>
                  <a:pt x="1490" y="24"/>
                </a:lnTo>
                <a:lnTo>
                  <a:pt x="1477" y="25"/>
                </a:lnTo>
                <a:lnTo>
                  <a:pt x="1464" y="25"/>
                </a:lnTo>
                <a:lnTo>
                  <a:pt x="1451" y="26"/>
                </a:lnTo>
                <a:lnTo>
                  <a:pt x="1439" y="26"/>
                </a:lnTo>
                <a:lnTo>
                  <a:pt x="1426" y="27"/>
                </a:lnTo>
                <a:lnTo>
                  <a:pt x="1413" y="27"/>
                </a:lnTo>
                <a:lnTo>
                  <a:pt x="1401" y="28"/>
                </a:lnTo>
                <a:lnTo>
                  <a:pt x="1389" y="28"/>
                </a:lnTo>
                <a:lnTo>
                  <a:pt x="1374" y="29"/>
                </a:lnTo>
                <a:lnTo>
                  <a:pt x="1360" y="30"/>
                </a:lnTo>
                <a:lnTo>
                  <a:pt x="1345" y="30"/>
                </a:lnTo>
                <a:lnTo>
                  <a:pt x="1331" y="31"/>
                </a:lnTo>
                <a:lnTo>
                  <a:pt x="1314" y="32"/>
                </a:lnTo>
                <a:lnTo>
                  <a:pt x="1299" y="32"/>
                </a:lnTo>
                <a:lnTo>
                  <a:pt x="1282" y="33"/>
                </a:lnTo>
                <a:lnTo>
                  <a:pt x="1267" y="34"/>
                </a:lnTo>
                <a:lnTo>
                  <a:pt x="1251" y="35"/>
                </a:lnTo>
                <a:lnTo>
                  <a:pt x="1236" y="35"/>
                </a:lnTo>
                <a:lnTo>
                  <a:pt x="1224" y="36"/>
                </a:lnTo>
                <a:lnTo>
                  <a:pt x="1210" y="37"/>
                </a:lnTo>
                <a:lnTo>
                  <a:pt x="1207" y="37"/>
                </a:lnTo>
                <a:lnTo>
                  <a:pt x="1204" y="37"/>
                </a:lnTo>
                <a:lnTo>
                  <a:pt x="1199" y="37"/>
                </a:lnTo>
                <a:lnTo>
                  <a:pt x="1194" y="37"/>
                </a:lnTo>
                <a:lnTo>
                  <a:pt x="1180" y="38"/>
                </a:lnTo>
                <a:lnTo>
                  <a:pt x="1167" y="39"/>
                </a:lnTo>
                <a:lnTo>
                  <a:pt x="1152" y="39"/>
                </a:lnTo>
                <a:lnTo>
                  <a:pt x="1139" y="40"/>
                </a:lnTo>
                <a:lnTo>
                  <a:pt x="1132" y="41"/>
                </a:lnTo>
                <a:lnTo>
                  <a:pt x="1126" y="41"/>
                </a:lnTo>
                <a:lnTo>
                  <a:pt x="1122" y="41"/>
                </a:lnTo>
                <a:lnTo>
                  <a:pt x="1118" y="41"/>
                </a:lnTo>
                <a:lnTo>
                  <a:pt x="1100" y="42"/>
                </a:lnTo>
                <a:lnTo>
                  <a:pt x="1081" y="43"/>
                </a:lnTo>
                <a:lnTo>
                  <a:pt x="1064" y="44"/>
                </a:lnTo>
                <a:lnTo>
                  <a:pt x="1045" y="45"/>
                </a:lnTo>
                <a:lnTo>
                  <a:pt x="1043" y="46"/>
                </a:lnTo>
                <a:lnTo>
                  <a:pt x="1041" y="46"/>
                </a:lnTo>
                <a:lnTo>
                  <a:pt x="1038" y="46"/>
                </a:lnTo>
                <a:lnTo>
                  <a:pt x="1036" y="46"/>
                </a:lnTo>
                <a:lnTo>
                  <a:pt x="1013" y="47"/>
                </a:lnTo>
                <a:lnTo>
                  <a:pt x="991" y="49"/>
                </a:lnTo>
                <a:lnTo>
                  <a:pt x="968" y="50"/>
                </a:lnTo>
                <a:lnTo>
                  <a:pt x="946" y="51"/>
                </a:lnTo>
                <a:lnTo>
                  <a:pt x="943" y="52"/>
                </a:lnTo>
                <a:lnTo>
                  <a:pt x="940" y="52"/>
                </a:lnTo>
                <a:lnTo>
                  <a:pt x="935" y="52"/>
                </a:lnTo>
                <a:lnTo>
                  <a:pt x="931" y="52"/>
                </a:lnTo>
                <a:lnTo>
                  <a:pt x="907" y="54"/>
                </a:lnTo>
                <a:lnTo>
                  <a:pt x="884" y="55"/>
                </a:lnTo>
                <a:lnTo>
                  <a:pt x="862" y="58"/>
                </a:lnTo>
                <a:lnTo>
                  <a:pt x="839" y="60"/>
                </a:lnTo>
                <a:lnTo>
                  <a:pt x="835" y="60"/>
                </a:lnTo>
                <a:lnTo>
                  <a:pt x="831" y="60"/>
                </a:lnTo>
                <a:lnTo>
                  <a:pt x="824" y="61"/>
                </a:lnTo>
                <a:lnTo>
                  <a:pt x="816" y="61"/>
                </a:lnTo>
                <a:lnTo>
                  <a:pt x="804" y="62"/>
                </a:lnTo>
                <a:lnTo>
                  <a:pt x="792" y="63"/>
                </a:lnTo>
                <a:lnTo>
                  <a:pt x="777" y="64"/>
                </a:lnTo>
                <a:lnTo>
                  <a:pt x="764" y="65"/>
                </a:lnTo>
                <a:lnTo>
                  <a:pt x="751" y="66"/>
                </a:lnTo>
                <a:lnTo>
                  <a:pt x="738" y="67"/>
                </a:lnTo>
                <a:lnTo>
                  <a:pt x="727" y="68"/>
                </a:lnTo>
                <a:lnTo>
                  <a:pt x="715" y="69"/>
                </a:lnTo>
                <a:lnTo>
                  <a:pt x="715" y="69"/>
                </a:lnTo>
                <a:lnTo>
                  <a:pt x="704" y="70"/>
                </a:lnTo>
                <a:lnTo>
                  <a:pt x="694" y="71"/>
                </a:lnTo>
                <a:lnTo>
                  <a:pt x="680" y="72"/>
                </a:lnTo>
                <a:lnTo>
                  <a:pt x="668" y="73"/>
                </a:lnTo>
                <a:lnTo>
                  <a:pt x="656" y="74"/>
                </a:lnTo>
                <a:lnTo>
                  <a:pt x="643" y="75"/>
                </a:lnTo>
                <a:lnTo>
                  <a:pt x="632" y="76"/>
                </a:lnTo>
                <a:lnTo>
                  <a:pt x="621" y="77"/>
                </a:lnTo>
                <a:lnTo>
                  <a:pt x="615" y="77"/>
                </a:lnTo>
                <a:lnTo>
                  <a:pt x="609" y="78"/>
                </a:lnTo>
                <a:lnTo>
                  <a:pt x="602" y="79"/>
                </a:lnTo>
                <a:lnTo>
                  <a:pt x="596" y="79"/>
                </a:lnTo>
                <a:lnTo>
                  <a:pt x="586" y="80"/>
                </a:lnTo>
                <a:lnTo>
                  <a:pt x="575" y="81"/>
                </a:lnTo>
                <a:lnTo>
                  <a:pt x="564" y="82"/>
                </a:lnTo>
                <a:lnTo>
                  <a:pt x="552" y="83"/>
                </a:lnTo>
                <a:lnTo>
                  <a:pt x="542" y="84"/>
                </a:lnTo>
                <a:lnTo>
                  <a:pt x="532" y="85"/>
                </a:lnTo>
                <a:lnTo>
                  <a:pt x="524" y="86"/>
                </a:lnTo>
                <a:lnTo>
                  <a:pt x="515" y="87"/>
                </a:lnTo>
                <a:lnTo>
                  <a:pt x="513" y="87"/>
                </a:lnTo>
                <a:lnTo>
                  <a:pt x="511" y="87"/>
                </a:lnTo>
                <a:lnTo>
                  <a:pt x="472" y="92"/>
                </a:lnTo>
                <a:lnTo>
                  <a:pt x="434" y="97"/>
                </a:lnTo>
                <a:lnTo>
                  <a:pt x="398" y="101"/>
                </a:lnTo>
                <a:lnTo>
                  <a:pt x="363" y="105"/>
                </a:lnTo>
                <a:lnTo>
                  <a:pt x="362" y="105"/>
                </a:lnTo>
                <a:lnTo>
                  <a:pt x="361" y="105"/>
                </a:lnTo>
                <a:lnTo>
                  <a:pt x="359" y="106"/>
                </a:lnTo>
                <a:lnTo>
                  <a:pt x="357" y="106"/>
                </a:lnTo>
                <a:lnTo>
                  <a:pt x="342" y="108"/>
                </a:lnTo>
                <a:lnTo>
                  <a:pt x="329" y="110"/>
                </a:lnTo>
                <a:lnTo>
                  <a:pt x="314" y="112"/>
                </a:lnTo>
                <a:lnTo>
                  <a:pt x="301" y="113"/>
                </a:lnTo>
                <a:lnTo>
                  <a:pt x="299" y="114"/>
                </a:lnTo>
                <a:lnTo>
                  <a:pt x="297" y="114"/>
                </a:lnTo>
                <a:lnTo>
                  <a:pt x="295" y="114"/>
                </a:lnTo>
                <a:lnTo>
                  <a:pt x="293" y="115"/>
                </a:lnTo>
                <a:lnTo>
                  <a:pt x="280" y="116"/>
                </a:lnTo>
                <a:lnTo>
                  <a:pt x="268" y="118"/>
                </a:lnTo>
                <a:lnTo>
                  <a:pt x="257" y="120"/>
                </a:lnTo>
                <a:lnTo>
                  <a:pt x="244" y="122"/>
                </a:lnTo>
                <a:lnTo>
                  <a:pt x="242" y="122"/>
                </a:lnTo>
                <a:lnTo>
                  <a:pt x="241" y="122"/>
                </a:lnTo>
                <a:lnTo>
                  <a:pt x="240" y="123"/>
                </a:lnTo>
                <a:lnTo>
                  <a:pt x="240" y="123"/>
                </a:lnTo>
                <a:lnTo>
                  <a:pt x="229" y="124"/>
                </a:lnTo>
                <a:lnTo>
                  <a:pt x="219" y="127"/>
                </a:lnTo>
                <a:lnTo>
                  <a:pt x="208" y="129"/>
                </a:lnTo>
                <a:lnTo>
                  <a:pt x="198" y="131"/>
                </a:lnTo>
                <a:lnTo>
                  <a:pt x="195" y="131"/>
                </a:lnTo>
                <a:lnTo>
                  <a:pt x="193" y="132"/>
                </a:lnTo>
                <a:lnTo>
                  <a:pt x="191" y="132"/>
                </a:lnTo>
                <a:lnTo>
                  <a:pt x="190" y="132"/>
                </a:lnTo>
                <a:lnTo>
                  <a:pt x="181" y="134"/>
                </a:lnTo>
                <a:lnTo>
                  <a:pt x="171" y="136"/>
                </a:lnTo>
                <a:lnTo>
                  <a:pt x="162" y="138"/>
                </a:lnTo>
                <a:lnTo>
                  <a:pt x="153" y="140"/>
                </a:lnTo>
                <a:lnTo>
                  <a:pt x="151" y="140"/>
                </a:lnTo>
                <a:lnTo>
                  <a:pt x="150" y="140"/>
                </a:lnTo>
                <a:lnTo>
                  <a:pt x="149" y="141"/>
                </a:lnTo>
                <a:lnTo>
                  <a:pt x="148" y="141"/>
                </a:lnTo>
                <a:lnTo>
                  <a:pt x="138" y="143"/>
                </a:lnTo>
                <a:lnTo>
                  <a:pt x="131" y="145"/>
                </a:lnTo>
                <a:lnTo>
                  <a:pt x="123" y="146"/>
                </a:lnTo>
                <a:lnTo>
                  <a:pt x="115" y="148"/>
                </a:lnTo>
                <a:lnTo>
                  <a:pt x="114" y="148"/>
                </a:lnTo>
                <a:lnTo>
                  <a:pt x="112" y="149"/>
                </a:lnTo>
                <a:lnTo>
                  <a:pt x="110" y="149"/>
                </a:lnTo>
                <a:lnTo>
                  <a:pt x="109" y="150"/>
                </a:lnTo>
                <a:lnTo>
                  <a:pt x="95" y="153"/>
                </a:lnTo>
                <a:lnTo>
                  <a:pt x="82" y="157"/>
                </a:lnTo>
                <a:lnTo>
                  <a:pt x="81" y="157"/>
                </a:lnTo>
                <a:lnTo>
                  <a:pt x="81" y="157"/>
                </a:lnTo>
                <a:lnTo>
                  <a:pt x="78" y="158"/>
                </a:lnTo>
                <a:lnTo>
                  <a:pt x="77" y="158"/>
                </a:lnTo>
                <a:lnTo>
                  <a:pt x="65" y="163"/>
                </a:lnTo>
                <a:lnTo>
                  <a:pt x="54" y="167"/>
                </a:lnTo>
                <a:lnTo>
                  <a:pt x="54" y="167"/>
                </a:lnTo>
                <a:lnTo>
                  <a:pt x="54" y="167"/>
                </a:lnTo>
                <a:lnTo>
                  <a:pt x="53" y="167"/>
                </a:lnTo>
                <a:lnTo>
                  <a:pt x="53" y="167"/>
                </a:lnTo>
                <a:lnTo>
                  <a:pt x="42" y="171"/>
                </a:lnTo>
                <a:lnTo>
                  <a:pt x="33" y="176"/>
                </a:lnTo>
                <a:lnTo>
                  <a:pt x="32" y="176"/>
                </a:lnTo>
                <a:lnTo>
                  <a:pt x="32" y="176"/>
                </a:lnTo>
                <a:lnTo>
                  <a:pt x="31" y="176"/>
                </a:lnTo>
                <a:lnTo>
                  <a:pt x="31" y="177"/>
                </a:lnTo>
                <a:lnTo>
                  <a:pt x="24" y="181"/>
                </a:lnTo>
                <a:lnTo>
                  <a:pt x="17" y="185"/>
                </a:lnTo>
                <a:lnTo>
                  <a:pt x="17" y="185"/>
                </a:lnTo>
                <a:lnTo>
                  <a:pt x="16" y="185"/>
                </a:lnTo>
                <a:lnTo>
                  <a:pt x="16" y="186"/>
                </a:lnTo>
                <a:lnTo>
                  <a:pt x="15" y="186"/>
                </a:lnTo>
                <a:lnTo>
                  <a:pt x="9" y="190"/>
                </a:lnTo>
                <a:lnTo>
                  <a:pt x="5" y="195"/>
                </a:lnTo>
                <a:lnTo>
                  <a:pt x="5" y="196"/>
                </a:lnTo>
                <a:lnTo>
                  <a:pt x="5" y="196"/>
                </a:lnTo>
                <a:lnTo>
                  <a:pt x="4" y="197"/>
                </a:lnTo>
                <a:lnTo>
                  <a:pt x="4" y="197"/>
                </a:lnTo>
                <a:lnTo>
                  <a:pt x="2" y="200"/>
                </a:lnTo>
                <a:lnTo>
                  <a:pt x="1" y="204"/>
                </a:lnTo>
                <a:lnTo>
                  <a:pt x="1" y="205"/>
                </a:lnTo>
                <a:lnTo>
                  <a:pt x="0" y="206"/>
                </a:lnTo>
                <a:lnTo>
                  <a:pt x="1" y="207"/>
                </a:lnTo>
                <a:lnTo>
                  <a:pt x="1" y="207"/>
                </a:lnTo>
                <a:lnTo>
                  <a:pt x="1" y="211"/>
                </a:lnTo>
                <a:lnTo>
                  <a:pt x="3" y="215"/>
                </a:lnTo>
                <a:lnTo>
                  <a:pt x="1351" y="2771"/>
                </a:lnTo>
                <a:lnTo>
                  <a:pt x="1351" y="2771"/>
                </a:lnTo>
                <a:lnTo>
                  <a:pt x="1352" y="2772"/>
                </a:lnTo>
                <a:lnTo>
                  <a:pt x="1353" y="2774"/>
                </a:lnTo>
                <a:lnTo>
                  <a:pt x="1356" y="2776"/>
                </a:lnTo>
                <a:lnTo>
                  <a:pt x="1356" y="2776"/>
                </a:lnTo>
                <a:lnTo>
                  <a:pt x="1357" y="2776"/>
                </a:lnTo>
                <a:lnTo>
                  <a:pt x="1358" y="2777"/>
                </a:lnTo>
                <a:lnTo>
                  <a:pt x="1359" y="2778"/>
                </a:lnTo>
                <a:lnTo>
                  <a:pt x="1359" y="2778"/>
                </a:lnTo>
                <a:lnTo>
                  <a:pt x="1360" y="2778"/>
                </a:lnTo>
                <a:lnTo>
                  <a:pt x="1362" y="2780"/>
                </a:lnTo>
                <a:lnTo>
                  <a:pt x="1365" y="2781"/>
                </a:lnTo>
                <a:lnTo>
                  <a:pt x="1365" y="2781"/>
                </a:lnTo>
                <a:lnTo>
                  <a:pt x="1365" y="2781"/>
                </a:lnTo>
                <a:lnTo>
                  <a:pt x="1367" y="2782"/>
                </a:lnTo>
                <a:lnTo>
                  <a:pt x="1368" y="2783"/>
                </a:lnTo>
                <a:lnTo>
                  <a:pt x="1373" y="2785"/>
                </a:lnTo>
                <a:lnTo>
                  <a:pt x="1378" y="2787"/>
                </a:lnTo>
                <a:lnTo>
                  <a:pt x="1378" y="2787"/>
                </a:lnTo>
                <a:lnTo>
                  <a:pt x="1378" y="2787"/>
                </a:lnTo>
                <a:lnTo>
                  <a:pt x="1381" y="2788"/>
                </a:lnTo>
                <a:lnTo>
                  <a:pt x="1384" y="2789"/>
                </a:lnTo>
                <a:lnTo>
                  <a:pt x="1384" y="2789"/>
                </a:lnTo>
                <a:lnTo>
                  <a:pt x="1384" y="2789"/>
                </a:lnTo>
                <a:lnTo>
                  <a:pt x="1391" y="2791"/>
                </a:lnTo>
                <a:lnTo>
                  <a:pt x="1398" y="2794"/>
                </a:lnTo>
                <a:lnTo>
                  <a:pt x="1400" y="2795"/>
                </a:lnTo>
                <a:lnTo>
                  <a:pt x="1402" y="2795"/>
                </a:lnTo>
                <a:lnTo>
                  <a:pt x="1403" y="2795"/>
                </a:lnTo>
                <a:lnTo>
                  <a:pt x="1403" y="2795"/>
                </a:lnTo>
                <a:lnTo>
                  <a:pt x="1411" y="2798"/>
                </a:lnTo>
                <a:lnTo>
                  <a:pt x="1420" y="2800"/>
                </a:lnTo>
                <a:lnTo>
                  <a:pt x="1423" y="2800"/>
                </a:lnTo>
                <a:lnTo>
                  <a:pt x="1424" y="2800"/>
                </a:lnTo>
                <a:lnTo>
                  <a:pt x="1424" y="2800"/>
                </a:lnTo>
                <a:lnTo>
                  <a:pt x="1424" y="2800"/>
                </a:lnTo>
                <a:lnTo>
                  <a:pt x="1432" y="2802"/>
                </a:lnTo>
                <a:lnTo>
                  <a:pt x="1440" y="2804"/>
                </a:lnTo>
                <a:lnTo>
                  <a:pt x="1444" y="2805"/>
                </a:lnTo>
                <a:lnTo>
                  <a:pt x="1448" y="2805"/>
                </a:lnTo>
                <a:lnTo>
                  <a:pt x="1449" y="2805"/>
                </a:lnTo>
                <a:lnTo>
                  <a:pt x="1450" y="2806"/>
                </a:lnTo>
                <a:lnTo>
                  <a:pt x="1459" y="2807"/>
                </a:lnTo>
                <a:lnTo>
                  <a:pt x="1467" y="2808"/>
                </a:lnTo>
                <a:lnTo>
                  <a:pt x="1468" y="2809"/>
                </a:lnTo>
                <a:lnTo>
                  <a:pt x="1469" y="2809"/>
                </a:lnTo>
                <a:lnTo>
                  <a:pt x="1473" y="2809"/>
                </a:lnTo>
                <a:lnTo>
                  <a:pt x="1477" y="2810"/>
                </a:lnTo>
                <a:lnTo>
                  <a:pt x="1477" y="2810"/>
                </a:lnTo>
                <a:lnTo>
                  <a:pt x="1478" y="2810"/>
                </a:lnTo>
                <a:lnTo>
                  <a:pt x="1491" y="2812"/>
                </a:lnTo>
                <a:lnTo>
                  <a:pt x="1503" y="2814"/>
                </a:lnTo>
                <a:lnTo>
                  <a:pt x="1505" y="2814"/>
                </a:lnTo>
                <a:lnTo>
                  <a:pt x="1507" y="2815"/>
                </a:lnTo>
                <a:lnTo>
                  <a:pt x="1508" y="2815"/>
                </a:lnTo>
                <a:lnTo>
                  <a:pt x="1509" y="2815"/>
                </a:lnTo>
                <a:lnTo>
                  <a:pt x="1530" y="2818"/>
                </a:lnTo>
                <a:lnTo>
                  <a:pt x="1551" y="2820"/>
                </a:lnTo>
                <a:lnTo>
                  <a:pt x="1574" y="2823"/>
                </a:lnTo>
                <a:lnTo>
                  <a:pt x="1598" y="2827"/>
                </a:lnTo>
                <a:lnTo>
                  <a:pt x="1599" y="2827"/>
                </a:lnTo>
                <a:lnTo>
                  <a:pt x="1599" y="2827"/>
                </a:lnTo>
                <a:lnTo>
                  <a:pt x="1600" y="2827"/>
                </a:lnTo>
                <a:lnTo>
                  <a:pt x="1601" y="2827"/>
                </a:lnTo>
                <a:lnTo>
                  <a:pt x="1610" y="2828"/>
                </a:lnTo>
                <a:lnTo>
                  <a:pt x="1619" y="2829"/>
                </a:lnTo>
                <a:lnTo>
                  <a:pt x="1629" y="2830"/>
                </a:lnTo>
                <a:lnTo>
                  <a:pt x="1639" y="2831"/>
                </a:lnTo>
                <a:lnTo>
                  <a:pt x="1640" y="2831"/>
                </a:lnTo>
                <a:lnTo>
                  <a:pt x="1641" y="2831"/>
                </a:lnTo>
                <a:lnTo>
                  <a:pt x="1643" y="2831"/>
                </a:lnTo>
                <a:lnTo>
                  <a:pt x="1644" y="2831"/>
                </a:lnTo>
                <a:lnTo>
                  <a:pt x="1654" y="2832"/>
                </a:lnTo>
                <a:lnTo>
                  <a:pt x="1664" y="2833"/>
                </a:lnTo>
                <a:lnTo>
                  <a:pt x="1674" y="2834"/>
                </a:lnTo>
                <a:lnTo>
                  <a:pt x="1683" y="2835"/>
                </a:lnTo>
                <a:lnTo>
                  <a:pt x="1685" y="2835"/>
                </a:lnTo>
                <a:lnTo>
                  <a:pt x="1686" y="2835"/>
                </a:lnTo>
                <a:lnTo>
                  <a:pt x="1688" y="2835"/>
                </a:lnTo>
                <a:lnTo>
                  <a:pt x="1691" y="2835"/>
                </a:lnTo>
                <a:lnTo>
                  <a:pt x="1698" y="2836"/>
                </a:lnTo>
                <a:lnTo>
                  <a:pt x="1706" y="2837"/>
                </a:lnTo>
                <a:lnTo>
                  <a:pt x="1714" y="2837"/>
                </a:lnTo>
                <a:lnTo>
                  <a:pt x="1721" y="2838"/>
                </a:lnTo>
                <a:lnTo>
                  <a:pt x="1728" y="2839"/>
                </a:lnTo>
                <a:lnTo>
                  <a:pt x="1734" y="2839"/>
                </a:lnTo>
                <a:lnTo>
                  <a:pt x="1739" y="2839"/>
                </a:lnTo>
                <a:lnTo>
                  <a:pt x="1744" y="2840"/>
                </a:lnTo>
                <a:lnTo>
                  <a:pt x="1775" y="2842"/>
                </a:lnTo>
                <a:lnTo>
                  <a:pt x="1807" y="2844"/>
                </a:lnTo>
                <a:lnTo>
                  <a:pt x="1840" y="2847"/>
                </a:lnTo>
                <a:lnTo>
                  <a:pt x="1873" y="2849"/>
                </a:lnTo>
                <a:lnTo>
                  <a:pt x="1880" y="2849"/>
                </a:lnTo>
                <a:lnTo>
                  <a:pt x="1886" y="2849"/>
                </a:lnTo>
                <a:lnTo>
                  <a:pt x="1890" y="2850"/>
                </a:lnTo>
                <a:lnTo>
                  <a:pt x="1894" y="2850"/>
                </a:lnTo>
                <a:lnTo>
                  <a:pt x="1898" y="2850"/>
                </a:lnTo>
                <a:lnTo>
                  <a:pt x="1901" y="2850"/>
                </a:lnTo>
                <a:lnTo>
                  <a:pt x="1932" y="2852"/>
                </a:lnTo>
                <a:lnTo>
                  <a:pt x="1964" y="2854"/>
                </a:lnTo>
                <a:lnTo>
                  <a:pt x="1996" y="2855"/>
                </a:lnTo>
                <a:lnTo>
                  <a:pt x="2028" y="2857"/>
                </a:lnTo>
                <a:lnTo>
                  <a:pt x="2029" y="2857"/>
                </a:lnTo>
                <a:lnTo>
                  <a:pt x="2030" y="2857"/>
                </a:lnTo>
                <a:lnTo>
                  <a:pt x="2036" y="2857"/>
                </a:lnTo>
                <a:lnTo>
                  <a:pt x="2041" y="2857"/>
                </a:lnTo>
                <a:lnTo>
                  <a:pt x="2052" y="2858"/>
                </a:lnTo>
                <a:lnTo>
                  <a:pt x="2064" y="2858"/>
                </a:lnTo>
                <a:lnTo>
                  <a:pt x="2065" y="2858"/>
                </a:lnTo>
                <a:lnTo>
                  <a:pt x="2066" y="2858"/>
                </a:lnTo>
                <a:lnTo>
                  <a:pt x="2081" y="2859"/>
                </a:lnTo>
                <a:lnTo>
                  <a:pt x="2097" y="2861"/>
                </a:lnTo>
                <a:lnTo>
                  <a:pt x="2098" y="2861"/>
                </a:lnTo>
                <a:lnTo>
                  <a:pt x="2099" y="2861"/>
                </a:lnTo>
                <a:lnTo>
                  <a:pt x="2110" y="2861"/>
                </a:lnTo>
                <a:lnTo>
                  <a:pt x="2120" y="2861"/>
                </a:lnTo>
                <a:lnTo>
                  <a:pt x="2134" y="2862"/>
                </a:lnTo>
                <a:lnTo>
                  <a:pt x="2147" y="2863"/>
                </a:lnTo>
                <a:lnTo>
                  <a:pt x="2150" y="2863"/>
                </a:lnTo>
                <a:lnTo>
                  <a:pt x="2153" y="2863"/>
                </a:lnTo>
                <a:lnTo>
                  <a:pt x="2177" y="2864"/>
                </a:lnTo>
                <a:lnTo>
                  <a:pt x="2201" y="2864"/>
                </a:lnTo>
                <a:lnTo>
                  <a:pt x="2224" y="2865"/>
                </a:lnTo>
                <a:lnTo>
                  <a:pt x="2249" y="2866"/>
                </a:lnTo>
                <a:lnTo>
                  <a:pt x="2250" y="2866"/>
                </a:lnTo>
                <a:lnTo>
                  <a:pt x="2250" y="2866"/>
                </a:lnTo>
                <a:lnTo>
                  <a:pt x="2254" y="2866"/>
                </a:lnTo>
                <a:lnTo>
                  <a:pt x="2258" y="2866"/>
                </a:lnTo>
                <a:lnTo>
                  <a:pt x="2260" y="2866"/>
                </a:lnTo>
                <a:lnTo>
                  <a:pt x="2262" y="2866"/>
                </a:lnTo>
                <a:lnTo>
                  <a:pt x="2286" y="2867"/>
                </a:lnTo>
                <a:lnTo>
                  <a:pt x="2310" y="2867"/>
                </a:lnTo>
                <a:lnTo>
                  <a:pt x="2335" y="2868"/>
                </a:lnTo>
                <a:lnTo>
                  <a:pt x="2359" y="2869"/>
                </a:lnTo>
                <a:lnTo>
                  <a:pt x="2362" y="2869"/>
                </a:lnTo>
                <a:lnTo>
                  <a:pt x="2364" y="2869"/>
                </a:lnTo>
                <a:lnTo>
                  <a:pt x="2366" y="2869"/>
                </a:lnTo>
                <a:lnTo>
                  <a:pt x="2367" y="2869"/>
                </a:lnTo>
                <a:lnTo>
                  <a:pt x="2371" y="2869"/>
                </a:lnTo>
                <a:lnTo>
                  <a:pt x="2374" y="2869"/>
                </a:lnTo>
                <a:lnTo>
                  <a:pt x="2399" y="2870"/>
                </a:lnTo>
                <a:lnTo>
                  <a:pt x="2423" y="2870"/>
                </a:lnTo>
                <a:lnTo>
                  <a:pt x="2447" y="2870"/>
                </a:lnTo>
                <a:lnTo>
                  <a:pt x="2472" y="2871"/>
                </a:lnTo>
                <a:lnTo>
                  <a:pt x="2475" y="2871"/>
                </a:lnTo>
                <a:lnTo>
                  <a:pt x="2477" y="2871"/>
                </a:lnTo>
                <a:lnTo>
                  <a:pt x="2477" y="2871"/>
                </a:lnTo>
                <a:lnTo>
                  <a:pt x="2478" y="2871"/>
                </a:lnTo>
                <a:lnTo>
                  <a:pt x="2502" y="2871"/>
                </a:lnTo>
                <a:lnTo>
                  <a:pt x="2526" y="2872"/>
                </a:lnTo>
                <a:lnTo>
                  <a:pt x="2552" y="2872"/>
                </a:lnTo>
                <a:lnTo>
                  <a:pt x="2577" y="2872"/>
                </a:lnTo>
                <a:lnTo>
                  <a:pt x="2578" y="2872"/>
                </a:lnTo>
                <a:lnTo>
                  <a:pt x="2579" y="2872"/>
                </a:lnTo>
                <a:lnTo>
                  <a:pt x="2585" y="2872"/>
                </a:lnTo>
                <a:lnTo>
                  <a:pt x="2590" y="2873"/>
                </a:lnTo>
                <a:lnTo>
                  <a:pt x="2594" y="2873"/>
                </a:lnTo>
                <a:lnTo>
                  <a:pt x="2599" y="2873"/>
                </a:lnTo>
                <a:lnTo>
                  <a:pt x="2625" y="2873"/>
                </a:lnTo>
                <a:lnTo>
                  <a:pt x="2653" y="2873"/>
                </a:lnTo>
                <a:lnTo>
                  <a:pt x="2680" y="2873"/>
                </a:lnTo>
                <a:lnTo>
                  <a:pt x="2707" y="2873"/>
                </a:lnTo>
                <a:lnTo>
                  <a:pt x="2707" y="2873"/>
                </a:lnTo>
                <a:lnTo>
                  <a:pt x="2707" y="2873"/>
                </a:lnTo>
                <a:lnTo>
                  <a:pt x="2710" y="2873"/>
                </a:lnTo>
                <a:lnTo>
                  <a:pt x="2714" y="2873"/>
                </a:lnTo>
                <a:lnTo>
                  <a:pt x="2727" y="2873"/>
                </a:lnTo>
                <a:lnTo>
                  <a:pt x="2742" y="2873"/>
                </a:lnTo>
                <a:lnTo>
                  <a:pt x="2756" y="2873"/>
                </a:lnTo>
                <a:lnTo>
                  <a:pt x="2771" y="2873"/>
                </a:lnTo>
                <a:lnTo>
                  <a:pt x="2790" y="2874"/>
                </a:lnTo>
                <a:lnTo>
                  <a:pt x="2809" y="2874"/>
                </a:lnTo>
                <a:lnTo>
                  <a:pt x="2827" y="2874"/>
                </a:lnTo>
                <a:lnTo>
                  <a:pt x="2847" y="2873"/>
                </a:lnTo>
                <a:lnTo>
                  <a:pt x="2849" y="2873"/>
                </a:lnTo>
                <a:lnTo>
                  <a:pt x="2851" y="2873"/>
                </a:lnTo>
                <a:lnTo>
                  <a:pt x="2854" y="2873"/>
                </a:lnTo>
                <a:lnTo>
                  <a:pt x="2857" y="2873"/>
                </a:lnTo>
                <a:lnTo>
                  <a:pt x="2895" y="2873"/>
                </a:lnTo>
                <a:lnTo>
                  <a:pt x="2934" y="2873"/>
                </a:lnTo>
                <a:lnTo>
                  <a:pt x="2971" y="2873"/>
                </a:lnTo>
                <a:lnTo>
                  <a:pt x="3008" y="2872"/>
                </a:lnTo>
                <a:lnTo>
                  <a:pt x="3008" y="2872"/>
                </a:lnTo>
                <a:lnTo>
                  <a:pt x="3009" y="2872"/>
                </a:lnTo>
                <a:lnTo>
                  <a:pt x="3010" y="2872"/>
                </a:lnTo>
                <a:lnTo>
                  <a:pt x="3012" y="2872"/>
                </a:lnTo>
                <a:lnTo>
                  <a:pt x="3015" y="2872"/>
                </a:lnTo>
                <a:lnTo>
                  <a:pt x="3018" y="2872"/>
                </a:lnTo>
                <a:lnTo>
                  <a:pt x="3021" y="2872"/>
                </a:lnTo>
                <a:lnTo>
                  <a:pt x="3023" y="2872"/>
                </a:lnTo>
                <a:lnTo>
                  <a:pt x="3055" y="2872"/>
                </a:lnTo>
                <a:lnTo>
                  <a:pt x="3087" y="2871"/>
                </a:lnTo>
                <a:lnTo>
                  <a:pt x="3118" y="2871"/>
                </a:lnTo>
                <a:lnTo>
                  <a:pt x="3150" y="2870"/>
                </a:lnTo>
                <a:lnTo>
                  <a:pt x="3181" y="2870"/>
                </a:lnTo>
                <a:lnTo>
                  <a:pt x="3211" y="2869"/>
                </a:lnTo>
                <a:lnTo>
                  <a:pt x="3242" y="2868"/>
                </a:lnTo>
                <a:lnTo>
                  <a:pt x="3272" y="2868"/>
                </a:lnTo>
                <a:lnTo>
                  <a:pt x="3273" y="2868"/>
                </a:lnTo>
                <a:lnTo>
                  <a:pt x="3273" y="2868"/>
                </a:lnTo>
                <a:lnTo>
                  <a:pt x="3280" y="2868"/>
                </a:lnTo>
                <a:lnTo>
                  <a:pt x="3287" y="2867"/>
                </a:lnTo>
                <a:lnTo>
                  <a:pt x="3290" y="2867"/>
                </a:lnTo>
                <a:lnTo>
                  <a:pt x="3293" y="2867"/>
                </a:lnTo>
                <a:lnTo>
                  <a:pt x="3308" y="2867"/>
                </a:lnTo>
                <a:lnTo>
                  <a:pt x="3322" y="2866"/>
                </a:lnTo>
                <a:lnTo>
                  <a:pt x="3337" y="2866"/>
                </a:lnTo>
                <a:lnTo>
                  <a:pt x="3351" y="2866"/>
                </a:lnTo>
                <a:lnTo>
                  <a:pt x="3355" y="2865"/>
                </a:lnTo>
                <a:lnTo>
                  <a:pt x="3359" y="2865"/>
                </a:lnTo>
                <a:lnTo>
                  <a:pt x="3364" y="2865"/>
                </a:lnTo>
                <a:lnTo>
                  <a:pt x="3370" y="2865"/>
                </a:lnTo>
                <a:lnTo>
                  <a:pt x="3381" y="2865"/>
                </a:lnTo>
                <a:lnTo>
                  <a:pt x="3393" y="2864"/>
                </a:lnTo>
                <a:lnTo>
                  <a:pt x="3405" y="2864"/>
                </a:lnTo>
                <a:lnTo>
                  <a:pt x="3416" y="2863"/>
                </a:lnTo>
                <a:lnTo>
                  <a:pt x="3422" y="2863"/>
                </a:lnTo>
                <a:lnTo>
                  <a:pt x="3429" y="2863"/>
                </a:lnTo>
                <a:lnTo>
                  <a:pt x="3434" y="2863"/>
                </a:lnTo>
                <a:lnTo>
                  <a:pt x="3439" y="2863"/>
                </a:lnTo>
                <a:lnTo>
                  <a:pt x="3449" y="2862"/>
                </a:lnTo>
                <a:lnTo>
                  <a:pt x="3459" y="2862"/>
                </a:lnTo>
                <a:lnTo>
                  <a:pt x="3469" y="2862"/>
                </a:lnTo>
                <a:lnTo>
                  <a:pt x="3479" y="2861"/>
                </a:lnTo>
                <a:lnTo>
                  <a:pt x="3488" y="2861"/>
                </a:lnTo>
                <a:lnTo>
                  <a:pt x="3496" y="2861"/>
                </a:lnTo>
                <a:lnTo>
                  <a:pt x="3501" y="2859"/>
                </a:lnTo>
                <a:lnTo>
                  <a:pt x="3505" y="2859"/>
                </a:lnTo>
                <a:lnTo>
                  <a:pt x="3514" y="2859"/>
                </a:lnTo>
                <a:lnTo>
                  <a:pt x="3523" y="2858"/>
                </a:lnTo>
                <a:lnTo>
                  <a:pt x="3531" y="2858"/>
                </a:lnTo>
                <a:lnTo>
                  <a:pt x="3541" y="2858"/>
                </a:lnTo>
                <a:lnTo>
                  <a:pt x="3542" y="2858"/>
                </a:lnTo>
                <a:lnTo>
                  <a:pt x="3543" y="2858"/>
                </a:lnTo>
                <a:lnTo>
                  <a:pt x="3549" y="2857"/>
                </a:lnTo>
                <a:lnTo>
                  <a:pt x="3555" y="2857"/>
                </a:lnTo>
                <a:lnTo>
                  <a:pt x="3559" y="2857"/>
                </a:lnTo>
                <a:lnTo>
                  <a:pt x="3563" y="2857"/>
                </a:lnTo>
                <a:lnTo>
                  <a:pt x="3565" y="2857"/>
                </a:lnTo>
                <a:lnTo>
                  <a:pt x="3568" y="2857"/>
                </a:lnTo>
                <a:lnTo>
                  <a:pt x="3581" y="2856"/>
                </a:lnTo>
                <a:lnTo>
                  <a:pt x="3594" y="2855"/>
                </a:lnTo>
                <a:lnTo>
                  <a:pt x="3595" y="2855"/>
                </a:lnTo>
                <a:lnTo>
                  <a:pt x="3595" y="2855"/>
                </a:lnTo>
                <a:lnTo>
                  <a:pt x="3608" y="2855"/>
                </a:lnTo>
                <a:lnTo>
                  <a:pt x="3620" y="2854"/>
                </a:lnTo>
                <a:lnTo>
                  <a:pt x="3625" y="2854"/>
                </a:lnTo>
                <a:lnTo>
                  <a:pt x="3630" y="2853"/>
                </a:lnTo>
                <a:lnTo>
                  <a:pt x="3640" y="2853"/>
                </a:lnTo>
                <a:lnTo>
                  <a:pt x="3649" y="2852"/>
                </a:lnTo>
                <a:lnTo>
                  <a:pt x="3650" y="2852"/>
                </a:lnTo>
                <a:lnTo>
                  <a:pt x="3652" y="2852"/>
                </a:lnTo>
                <a:lnTo>
                  <a:pt x="3662" y="2852"/>
                </a:lnTo>
                <a:lnTo>
                  <a:pt x="3674" y="2851"/>
                </a:lnTo>
                <a:lnTo>
                  <a:pt x="3677" y="2851"/>
                </a:lnTo>
                <a:lnTo>
                  <a:pt x="3679" y="2851"/>
                </a:lnTo>
                <a:lnTo>
                  <a:pt x="3694" y="2850"/>
                </a:lnTo>
                <a:lnTo>
                  <a:pt x="3710" y="2849"/>
                </a:lnTo>
                <a:lnTo>
                  <a:pt x="3718" y="2849"/>
                </a:lnTo>
                <a:lnTo>
                  <a:pt x="3726" y="2848"/>
                </a:lnTo>
                <a:lnTo>
                  <a:pt x="3728" y="2848"/>
                </a:lnTo>
                <a:lnTo>
                  <a:pt x="3729" y="2848"/>
                </a:lnTo>
                <a:lnTo>
                  <a:pt x="3745" y="2847"/>
                </a:lnTo>
                <a:lnTo>
                  <a:pt x="3759" y="2846"/>
                </a:lnTo>
                <a:lnTo>
                  <a:pt x="3764" y="2846"/>
                </a:lnTo>
                <a:lnTo>
                  <a:pt x="3769" y="2845"/>
                </a:lnTo>
                <a:lnTo>
                  <a:pt x="3773" y="2845"/>
                </a:lnTo>
                <a:lnTo>
                  <a:pt x="3777" y="2845"/>
                </a:lnTo>
                <a:lnTo>
                  <a:pt x="3780" y="2845"/>
                </a:lnTo>
                <a:lnTo>
                  <a:pt x="3783" y="2844"/>
                </a:lnTo>
                <a:lnTo>
                  <a:pt x="3791" y="2844"/>
                </a:lnTo>
                <a:lnTo>
                  <a:pt x="3799" y="2843"/>
                </a:lnTo>
                <a:lnTo>
                  <a:pt x="3808" y="2843"/>
                </a:lnTo>
                <a:lnTo>
                  <a:pt x="3816" y="2842"/>
                </a:lnTo>
                <a:lnTo>
                  <a:pt x="3817" y="2842"/>
                </a:lnTo>
                <a:lnTo>
                  <a:pt x="3818" y="2842"/>
                </a:lnTo>
                <a:lnTo>
                  <a:pt x="3825" y="2842"/>
                </a:lnTo>
                <a:lnTo>
                  <a:pt x="3832" y="2841"/>
                </a:lnTo>
                <a:lnTo>
                  <a:pt x="3834" y="2841"/>
                </a:lnTo>
                <a:lnTo>
                  <a:pt x="3837" y="2841"/>
                </a:lnTo>
                <a:lnTo>
                  <a:pt x="3846" y="2840"/>
                </a:lnTo>
                <a:lnTo>
                  <a:pt x="3855" y="2839"/>
                </a:lnTo>
                <a:lnTo>
                  <a:pt x="3864" y="2839"/>
                </a:lnTo>
                <a:lnTo>
                  <a:pt x="3874" y="2838"/>
                </a:lnTo>
                <a:lnTo>
                  <a:pt x="3879" y="2837"/>
                </a:lnTo>
                <a:lnTo>
                  <a:pt x="3885" y="2837"/>
                </a:lnTo>
                <a:lnTo>
                  <a:pt x="3885" y="2837"/>
                </a:lnTo>
                <a:lnTo>
                  <a:pt x="3886" y="2837"/>
                </a:lnTo>
                <a:lnTo>
                  <a:pt x="3889" y="2837"/>
                </a:lnTo>
                <a:lnTo>
                  <a:pt x="3891" y="2836"/>
                </a:lnTo>
                <a:lnTo>
                  <a:pt x="3919" y="2834"/>
                </a:lnTo>
                <a:lnTo>
                  <a:pt x="3945" y="2832"/>
                </a:lnTo>
                <a:lnTo>
                  <a:pt x="3969" y="2829"/>
                </a:lnTo>
                <a:lnTo>
                  <a:pt x="3994" y="2827"/>
                </a:lnTo>
                <a:lnTo>
                  <a:pt x="4000" y="2825"/>
                </a:lnTo>
                <a:lnTo>
                  <a:pt x="4007" y="2824"/>
                </a:lnTo>
                <a:lnTo>
                  <a:pt x="4011" y="2824"/>
                </a:lnTo>
                <a:lnTo>
                  <a:pt x="4014" y="2824"/>
                </a:lnTo>
                <a:lnTo>
                  <a:pt x="4020" y="2823"/>
                </a:lnTo>
                <a:lnTo>
                  <a:pt x="4027" y="2822"/>
                </a:lnTo>
                <a:lnTo>
                  <a:pt x="4032" y="2822"/>
                </a:lnTo>
                <a:lnTo>
                  <a:pt x="4038" y="2821"/>
                </a:lnTo>
                <a:lnTo>
                  <a:pt x="4040" y="2821"/>
                </a:lnTo>
                <a:lnTo>
                  <a:pt x="4042" y="2820"/>
                </a:lnTo>
                <a:lnTo>
                  <a:pt x="4045" y="2820"/>
                </a:lnTo>
                <a:lnTo>
                  <a:pt x="4049" y="2819"/>
                </a:lnTo>
                <a:lnTo>
                  <a:pt x="4058" y="2818"/>
                </a:lnTo>
                <a:lnTo>
                  <a:pt x="4066" y="2817"/>
                </a:lnTo>
                <a:lnTo>
                  <a:pt x="4069" y="2817"/>
                </a:lnTo>
                <a:lnTo>
                  <a:pt x="4074" y="2816"/>
                </a:lnTo>
                <a:lnTo>
                  <a:pt x="4078" y="2816"/>
                </a:lnTo>
                <a:lnTo>
                  <a:pt x="4082" y="2815"/>
                </a:lnTo>
                <a:lnTo>
                  <a:pt x="4086" y="2814"/>
                </a:lnTo>
                <a:lnTo>
                  <a:pt x="4090" y="2814"/>
                </a:lnTo>
                <a:lnTo>
                  <a:pt x="4091" y="2814"/>
                </a:lnTo>
                <a:lnTo>
                  <a:pt x="4093" y="2814"/>
                </a:lnTo>
                <a:lnTo>
                  <a:pt x="4097" y="2813"/>
                </a:lnTo>
                <a:lnTo>
                  <a:pt x="4102" y="2812"/>
                </a:lnTo>
                <a:lnTo>
                  <a:pt x="4108" y="2811"/>
                </a:lnTo>
                <a:lnTo>
                  <a:pt x="4113" y="2811"/>
                </a:lnTo>
                <a:lnTo>
                  <a:pt x="4113" y="2810"/>
                </a:lnTo>
                <a:lnTo>
                  <a:pt x="4114" y="2810"/>
                </a:lnTo>
                <a:lnTo>
                  <a:pt x="4120" y="2809"/>
                </a:lnTo>
                <a:lnTo>
                  <a:pt x="4126" y="2808"/>
                </a:lnTo>
                <a:lnTo>
                  <a:pt x="4128" y="2808"/>
                </a:lnTo>
                <a:lnTo>
                  <a:pt x="4130" y="2808"/>
                </a:lnTo>
                <a:lnTo>
                  <a:pt x="4134" y="2807"/>
                </a:lnTo>
                <a:lnTo>
                  <a:pt x="4139" y="2806"/>
                </a:lnTo>
                <a:lnTo>
                  <a:pt x="4139" y="2806"/>
                </a:lnTo>
                <a:lnTo>
                  <a:pt x="4140" y="2806"/>
                </a:lnTo>
                <a:lnTo>
                  <a:pt x="4141" y="2806"/>
                </a:lnTo>
                <a:lnTo>
                  <a:pt x="4143" y="2805"/>
                </a:lnTo>
                <a:lnTo>
                  <a:pt x="4148" y="2805"/>
                </a:lnTo>
                <a:lnTo>
                  <a:pt x="4152" y="2804"/>
                </a:lnTo>
                <a:lnTo>
                  <a:pt x="4156" y="2803"/>
                </a:lnTo>
                <a:lnTo>
                  <a:pt x="4160" y="2802"/>
                </a:lnTo>
                <a:lnTo>
                  <a:pt x="4162" y="2802"/>
                </a:lnTo>
                <a:lnTo>
                  <a:pt x="4165" y="2801"/>
                </a:lnTo>
                <a:lnTo>
                  <a:pt x="4168" y="2800"/>
                </a:lnTo>
                <a:lnTo>
                  <a:pt x="4173" y="2799"/>
                </a:lnTo>
                <a:lnTo>
                  <a:pt x="4176" y="2799"/>
                </a:lnTo>
                <a:lnTo>
                  <a:pt x="4178" y="2798"/>
                </a:lnTo>
                <a:lnTo>
                  <a:pt x="4179" y="2798"/>
                </a:lnTo>
                <a:lnTo>
                  <a:pt x="4181" y="2798"/>
                </a:lnTo>
                <a:lnTo>
                  <a:pt x="4183" y="2797"/>
                </a:lnTo>
                <a:lnTo>
                  <a:pt x="4185" y="2796"/>
                </a:lnTo>
                <a:lnTo>
                  <a:pt x="4191" y="2795"/>
                </a:lnTo>
                <a:lnTo>
                  <a:pt x="4195" y="2794"/>
                </a:lnTo>
                <a:lnTo>
                  <a:pt x="4197" y="2793"/>
                </a:lnTo>
                <a:lnTo>
                  <a:pt x="4198" y="2793"/>
                </a:lnTo>
                <a:lnTo>
                  <a:pt x="4201" y="2791"/>
                </a:lnTo>
                <a:lnTo>
                  <a:pt x="4205" y="2790"/>
                </a:lnTo>
                <a:lnTo>
                  <a:pt x="4205" y="2790"/>
                </a:lnTo>
                <a:lnTo>
                  <a:pt x="4205" y="2790"/>
                </a:lnTo>
                <a:lnTo>
                  <a:pt x="4207" y="2790"/>
                </a:lnTo>
                <a:lnTo>
                  <a:pt x="4208" y="2789"/>
                </a:lnTo>
                <a:lnTo>
                  <a:pt x="4209" y="2789"/>
                </a:lnTo>
                <a:lnTo>
                  <a:pt x="4209" y="2789"/>
                </a:lnTo>
                <a:lnTo>
                  <a:pt x="4211" y="2788"/>
                </a:lnTo>
                <a:lnTo>
                  <a:pt x="4213" y="2787"/>
                </a:lnTo>
                <a:lnTo>
                  <a:pt x="4216" y="2786"/>
                </a:lnTo>
                <a:lnTo>
                  <a:pt x="4219" y="2785"/>
                </a:lnTo>
                <a:lnTo>
                  <a:pt x="4222" y="2784"/>
                </a:lnTo>
                <a:lnTo>
                  <a:pt x="4225" y="2783"/>
                </a:lnTo>
                <a:lnTo>
                  <a:pt x="4225" y="2782"/>
                </a:lnTo>
                <a:lnTo>
                  <a:pt x="4225" y="2782"/>
                </a:lnTo>
                <a:lnTo>
                  <a:pt x="4227" y="2781"/>
                </a:lnTo>
                <a:lnTo>
                  <a:pt x="4229" y="2780"/>
                </a:lnTo>
                <a:lnTo>
                  <a:pt x="4230" y="2780"/>
                </a:lnTo>
                <a:lnTo>
                  <a:pt x="4231" y="2779"/>
                </a:lnTo>
                <a:lnTo>
                  <a:pt x="4231" y="2779"/>
                </a:lnTo>
                <a:lnTo>
                  <a:pt x="4231" y="2779"/>
                </a:lnTo>
                <a:lnTo>
                  <a:pt x="4232" y="2779"/>
                </a:lnTo>
                <a:lnTo>
                  <a:pt x="4232" y="2778"/>
                </a:lnTo>
                <a:lnTo>
                  <a:pt x="4233" y="2778"/>
                </a:lnTo>
                <a:lnTo>
                  <a:pt x="4234" y="2777"/>
                </a:lnTo>
                <a:lnTo>
                  <a:pt x="4235" y="2776"/>
                </a:lnTo>
                <a:lnTo>
                  <a:pt x="4236" y="2775"/>
                </a:lnTo>
                <a:lnTo>
                  <a:pt x="4237" y="2775"/>
                </a:lnTo>
                <a:lnTo>
                  <a:pt x="4237" y="2775"/>
                </a:lnTo>
                <a:lnTo>
                  <a:pt x="4239" y="2773"/>
                </a:lnTo>
                <a:lnTo>
                  <a:pt x="4240" y="2772"/>
                </a:lnTo>
                <a:lnTo>
                  <a:pt x="4241" y="2771"/>
                </a:lnTo>
                <a:lnTo>
                  <a:pt x="4241" y="2771"/>
                </a:lnTo>
                <a:lnTo>
                  <a:pt x="5590" y="215"/>
                </a:lnTo>
                <a:lnTo>
                  <a:pt x="5591" y="213"/>
                </a:lnTo>
                <a:lnTo>
                  <a:pt x="5591" y="211"/>
                </a:lnTo>
                <a:lnTo>
                  <a:pt x="5592" y="208"/>
                </a:lnTo>
                <a:lnTo>
                  <a:pt x="5591" y="205"/>
                </a:lnTo>
                <a:lnTo>
                  <a:pt x="5591" y="204"/>
                </a:lnTo>
                <a:lnTo>
                  <a:pt x="5591" y="203"/>
                </a:lnTo>
                <a:close/>
              </a:path>
            </a:pathLst>
          </a:custGeom>
          <a:gradFill flip="none" rotWithShape="1">
            <a:gsLst>
              <a:gs pos="73000">
                <a:schemeClr val="accent1"/>
              </a:gs>
              <a:gs pos="31000">
                <a:schemeClr val="accent1">
                  <a:lumMod val="60000"/>
                  <a:lumOff val="40000"/>
                </a:schemeClr>
              </a:gs>
              <a:gs pos="0">
                <a:schemeClr val="accent1">
                  <a:lumMod val="40000"/>
                  <a:lumOff val="60000"/>
                </a:schemeClr>
              </a:gs>
            </a:gsLst>
            <a:lin ang="1080000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22222"/>
              </a:solidFill>
              <a:effectLst/>
              <a:uLnTx/>
              <a:uFillTx/>
              <a:latin typeface="Inter"/>
              <a:cs typeface="+mn-cs"/>
            </a:endParaRPr>
          </a:p>
        </p:txBody>
      </p:sp>
      <p:sp>
        <p:nvSpPr>
          <p:cNvPr id="14" name="Freeform 14">
            <a:extLst>
              <a:ext uri="{FF2B5EF4-FFF2-40B4-BE49-F238E27FC236}">
                <a16:creationId xmlns:a16="http://schemas.microsoft.com/office/drawing/2014/main" id="{F306A807-2B64-49C7-A981-A2299DCDC6EA}"/>
              </a:ext>
            </a:extLst>
          </p:cNvPr>
          <p:cNvSpPr>
            <a:spLocks/>
          </p:cNvSpPr>
          <p:nvPr/>
        </p:nvSpPr>
        <p:spPr bwMode="auto">
          <a:xfrm flipV="1">
            <a:off x="5279348" y="3855711"/>
            <a:ext cx="1631553" cy="120791"/>
          </a:xfrm>
          <a:custGeom>
            <a:avLst/>
            <a:gdLst>
              <a:gd name="T0" fmla="*/ 5570 w 5590"/>
              <a:gd name="T1" fmla="*/ 232 h 414"/>
              <a:gd name="T2" fmla="*/ 5490 w 5590"/>
              <a:gd name="T3" fmla="*/ 263 h 414"/>
              <a:gd name="T4" fmla="*/ 5352 w 5590"/>
              <a:gd name="T5" fmla="*/ 291 h 414"/>
              <a:gd name="T6" fmla="*/ 5160 w 5590"/>
              <a:gd name="T7" fmla="*/ 318 h 414"/>
              <a:gd name="T8" fmla="*/ 4921 w 5590"/>
              <a:gd name="T9" fmla="*/ 342 h 414"/>
              <a:gd name="T10" fmla="*/ 4638 w 5590"/>
              <a:gd name="T11" fmla="*/ 363 h 414"/>
              <a:gd name="T12" fmla="*/ 4317 w 5590"/>
              <a:gd name="T13" fmla="*/ 381 h 414"/>
              <a:gd name="T14" fmla="*/ 3962 w 5590"/>
              <a:gd name="T15" fmla="*/ 395 h 414"/>
              <a:gd name="T16" fmla="*/ 3580 w 5590"/>
              <a:gd name="T17" fmla="*/ 406 h 414"/>
              <a:gd name="T18" fmla="*/ 3173 w 5590"/>
              <a:gd name="T19" fmla="*/ 413 h 414"/>
              <a:gd name="T20" fmla="*/ 2746 w 5590"/>
              <a:gd name="T21" fmla="*/ 414 h 414"/>
              <a:gd name="T22" fmla="*/ 2321 w 5590"/>
              <a:gd name="T23" fmla="*/ 412 h 414"/>
              <a:gd name="T24" fmla="*/ 1917 w 5590"/>
              <a:gd name="T25" fmla="*/ 404 h 414"/>
              <a:gd name="T26" fmla="*/ 1539 w 5590"/>
              <a:gd name="T27" fmla="*/ 392 h 414"/>
              <a:gd name="T28" fmla="*/ 1192 w 5590"/>
              <a:gd name="T29" fmla="*/ 377 h 414"/>
              <a:gd name="T30" fmla="*/ 879 w 5590"/>
              <a:gd name="T31" fmla="*/ 358 h 414"/>
              <a:gd name="T32" fmla="*/ 607 w 5590"/>
              <a:gd name="T33" fmla="*/ 337 h 414"/>
              <a:gd name="T34" fmla="*/ 379 w 5590"/>
              <a:gd name="T35" fmla="*/ 312 h 414"/>
              <a:gd name="T36" fmla="*/ 201 w 5590"/>
              <a:gd name="T37" fmla="*/ 284 h 414"/>
              <a:gd name="T38" fmla="*/ 75 w 5590"/>
              <a:gd name="T39" fmla="*/ 255 h 414"/>
              <a:gd name="T40" fmla="*/ 9 w 5590"/>
              <a:gd name="T41" fmla="*/ 224 h 414"/>
              <a:gd name="T42" fmla="*/ 6 w 5590"/>
              <a:gd name="T43" fmla="*/ 192 h 414"/>
              <a:gd name="T44" fmla="*/ 66 w 5590"/>
              <a:gd name="T45" fmla="*/ 162 h 414"/>
              <a:gd name="T46" fmla="*/ 187 w 5590"/>
              <a:gd name="T47" fmla="*/ 133 h 414"/>
              <a:gd name="T48" fmla="*/ 361 w 5590"/>
              <a:gd name="T49" fmla="*/ 105 h 414"/>
              <a:gd name="T50" fmla="*/ 585 w 5590"/>
              <a:gd name="T51" fmla="*/ 80 h 414"/>
              <a:gd name="T52" fmla="*/ 854 w 5590"/>
              <a:gd name="T53" fmla="*/ 59 h 414"/>
              <a:gd name="T54" fmla="*/ 1162 w 5590"/>
              <a:gd name="T55" fmla="*/ 39 h 414"/>
              <a:gd name="T56" fmla="*/ 1506 w 5590"/>
              <a:gd name="T57" fmla="*/ 24 h 414"/>
              <a:gd name="T58" fmla="*/ 1880 w 5590"/>
              <a:gd name="T59" fmla="*/ 11 h 414"/>
              <a:gd name="T60" fmla="*/ 2279 w 5590"/>
              <a:gd name="T61" fmla="*/ 3 h 414"/>
              <a:gd name="T62" fmla="*/ 2700 w 5590"/>
              <a:gd name="T63" fmla="*/ 0 h 414"/>
              <a:gd name="T64" fmla="*/ 3129 w 5590"/>
              <a:gd name="T65" fmla="*/ 1 h 414"/>
              <a:gd name="T66" fmla="*/ 3541 w 5590"/>
              <a:gd name="T67" fmla="*/ 7 h 414"/>
              <a:gd name="T68" fmla="*/ 3928 w 5590"/>
              <a:gd name="T69" fmla="*/ 17 h 414"/>
              <a:gd name="T70" fmla="*/ 4286 w 5590"/>
              <a:gd name="T71" fmla="*/ 32 h 414"/>
              <a:gd name="T72" fmla="*/ 4611 w 5590"/>
              <a:gd name="T73" fmla="*/ 49 h 414"/>
              <a:gd name="T74" fmla="*/ 4897 w 5590"/>
              <a:gd name="T75" fmla="*/ 71 h 414"/>
              <a:gd name="T76" fmla="*/ 5140 w 5590"/>
              <a:gd name="T77" fmla="*/ 95 h 414"/>
              <a:gd name="T78" fmla="*/ 5335 w 5590"/>
              <a:gd name="T79" fmla="*/ 120 h 414"/>
              <a:gd name="T80" fmla="*/ 5479 w 5590"/>
              <a:gd name="T81" fmla="*/ 149 h 414"/>
              <a:gd name="T82" fmla="*/ 5565 w 5590"/>
              <a:gd name="T83" fmla="*/ 179 h 414"/>
              <a:gd name="T84" fmla="*/ 5590 w 5590"/>
              <a:gd name="T85" fmla="*/ 211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590" h="414">
                <a:moveTo>
                  <a:pt x="5590" y="211"/>
                </a:moveTo>
                <a:lnTo>
                  <a:pt x="5584" y="221"/>
                </a:lnTo>
                <a:lnTo>
                  <a:pt x="5570" y="232"/>
                </a:lnTo>
                <a:lnTo>
                  <a:pt x="5551" y="242"/>
                </a:lnTo>
                <a:lnTo>
                  <a:pt x="5524" y="252"/>
                </a:lnTo>
                <a:lnTo>
                  <a:pt x="5490" y="263"/>
                </a:lnTo>
                <a:lnTo>
                  <a:pt x="5450" y="272"/>
                </a:lnTo>
                <a:lnTo>
                  <a:pt x="5403" y="282"/>
                </a:lnTo>
                <a:lnTo>
                  <a:pt x="5352" y="291"/>
                </a:lnTo>
                <a:lnTo>
                  <a:pt x="5293" y="301"/>
                </a:lnTo>
                <a:lnTo>
                  <a:pt x="5229" y="309"/>
                </a:lnTo>
                <a:lnTo>
                  <a:pt x="5160" y="318"/>
                </a:lnTo>
                <a:lnTo>
                  <a:pt x="5086" y="326"/>
                </a:lnTo>
                <a:lnTo>
                  <a:pt x="5005" y="334"/>
                </a:lnTo>
                <a:lnTo>
                  <a:pt x="4921" y="342"/>
                </a:lnTo>
                <a:lnTo>
                  <a:pt x="4831" y="349"/>
                </a:lnTo>
                <a:lnTo>
                  <a:pt x="4736" y="356"/>
                </a:lnTo>
                <a:lnTo>
                  <a:pt x="4638" y="363"/>
                </a:lnTo>
                <a:lnTo>
                  <a:pt x="4535" y="370"/>
                </a:lnTo>
                <a:lnTo>
                  <a:pt x="4428" y="376"/>
                </a:lnTo>
                <a:lnTo>
                  <a:pt x="4317" y="381"/>
                </a:lnTo>
                <a:lnTo>
                  <a:pt x="4202" y="386"/>
                </a:lnTo>
                <a:lnTo>
                  <a:pt x="4084" y="391"/>
                </a:lnTo>
                <a:lnTo>
                  <a:pt x="3962" y="395"/>
                </a:lnTo>
                <a:lnTo>
                  <a:pt x="3838" y="400"/>
                </a:lnTo>
                <a:lnTo>
                  <a:pt x="3710" y="403"/>
                </a:lnTo>
                <a:lnTo>
                  <a:pt x="3580" y="406"/>
                </a:lnTo>
                <a:lnTo>
                  <a:pt x="3446" y="409"/>
                </a:lnTo>
                <a:lnTo>
                  <a:pt x="3311" y="411"/>
                </a:lnTo>
                <a:lnTo>
                  <a:pt x="3173" y="413"/>
                </a:lnTo>
                <a:lnTo>
                  <a:pt x="3033" y="414"/>
                </a:lnTo>
                <a:lnTo>
                  <a:pt x="2890" y="414"/>
                </a:lnTo>
                <a:lnTo>
                  <a:pt x="2746" y="414"/>
                </a:lnTo>
                <a:lnTo>
                  <a:pt x="2603" y="414"/>
                </a:lnTo>
                <a:lnTo>
                  <a:pt x="2461" y="413"/>
                </a:lnTo>
                <a:lnTo>
                  <a:pt x="2321" y="412"/>
                </a:lnTo>
                <a:lnTo>
                  <a:pt x="2184" y="410"/>
                </a:lnTo>
                <a:lnTo>
                  <a:pt x="2049" y="407"/>
                </a:lnTo>
                <a:lnTo>
                  <a:pt x="1917" y="404"/>
                </a:lnTo>
                <a:lnTo>
                  <a:pt x="1788" y="401"/>
                </a:lnTo>
                <a:lnTo>
                  <a:pt x="1662" y="396"/>
                </a:lnTo>
                <a:lnTo>
                  <a:pt x="1539" y="392"/>
                </a:lnTo>
                <a:lnTo>
                  <a:pt x="1419" y="387"/>
                </a:lnTo>
                <a:lnTo>
                  <a:pt x="1304" y="382"/>
                </a:lnTo>
                <a:lnTo>
                  <a:pt x="1192" y="377"/>
                </a:lnTo>
                <a:lnTo>
                  <a:pt x="1083" y="371"/>
                </a:lnTo>
                <a:lnTo>
                  <a:pt x="979" y="365"/>
                </a:lnTo>
                <a:lnTo>
                  <a:pt x="879" y="358"/>
                </a:lnTo>
                <a:lnTo>
                  <a:pt x="785" y="351"/>
                </a:lnTo>
                <a:lnTo>
                  <a:pt x="693" y="344"/>
                </a:lnTo>
                <a:lnTo>
                  <a:pt x="607" y="337"/>
                </a:lnTo>
                <a:lnTo>
                  <a:pt x="526" y="328"/>
                </a:lnTo>
                <a:lnTo>
                  <a:pt x="450" y="320"/>
                </a:lnTo>
                <a:lnTo>
                  <a:pt x="379" y="312"/>
                </a:lnTo>
                <a:lnTo>
                  <a:pt x="315" y="303"/>
                </a:lnTo>
                <a:lnTo>
                  <a:pt x="255" y="293"/>
                </a:lnTo>
                <a:lnTo>
                  <a:pt x="201" y="284"/>
                </a:lnTo>
                <a:lnTo>
                  <a:pt x="153" y="275"/>
                </a:lnTo>
                <a:lnTo>
                  <a:pt x="111" y="266"/>
                </a:lnTo>
                <a:lnTo>
                  <a:pt x="75" y="255"/>
                </a:lnTo>
                <a:lnTo>
                  <a:pt x="47" y="245"/>
                </a:lnTo>
                <a:lnTo>
                  <a:pt x="25" y="235"/>
                </a:lnTo>
                <a:lnTo>
                  <a:pt x="9" y="224"/>
                </a:lnTo>
                <a:lnTo>
                  <a:pt x="1" y="214"/>
                </a:lnTo>
                <a:lnTo>
                  <a:pt x="0" y="204"/>
                </a:lnTo>
                <a:lnTo>
                  <a:pt x="6" y="192"/>
                </a:lnTo>
                <a:lnTo>
                  <a:pt x="20" y="182"/>
                </a:lnTo>
                <a:lnTo>
                  <a:pt x="39" y="172"/>
                </a:lnTo>
                <a:lnTo>
                  <a:pt x="66" y="162"/>
                </a:lnTo>
                <a:lnTo>
                  <a:pt x="100" y="152"/>
                </a:lnTo>
                <a:lnTo>
                  <a:pt x="140" y="142"/>
                </a:lnTo>
                <a:lnTo>
                  <a:pt x="187" y="133"/>
                </a:lnTo>
                <a:lnTo>
                  <a:pt x="238" y="123"/>
                </a:lnTo>
                <a:lnTo>
                  <a:pt x="297" y="114"/>
                </a:lnTo>
                <a:lnTo>
                  <a:pt x="361" y="105"/>
                </a:lnTo>
                <a:lnTo>
                  <a:pt x="430" y="97"/>
                </a:lnTo>
                <a:lnTo>
                  <a:pt x="504" y="88"/>
                </a:lnTo>
                <a:lnTo>
                  <a:pt x="585" y="80"/>
                </a:lnTo>
                <a:lnTo>
                  <a:pt x="669" y="73"/>
                </a:lnTo>
                <a:lnTo>
                  <a:pt x="759" y="65"/>
                </a:lnTo>
                <a:lnTo>
                  <a:pt x="854" y="59"/>
                </a:lnTo>
                <a:lnTo>
                  <a:pt x="952" y="51"/>
                </a:lnTo>
                <a:lnTo>
                  <a:pt x="1055" y="45"/>
                </a:lnTo>
                <a:lnTo>
                  <a:pt x="1162" y="39"/>
                </a:lnTo>
                <a:lnTo>
                  <a:pt x="1273" y="33"/>
                </a:lnTo>
                <a:lnTo>
                  <a:pt x="1388" y="28"/>
                </a:lnTo>
                <a:lnTo>
                  <a:pt x="1506" y="24"/>
                </a:lnTo>
                <a:lnTo>
                  <a:pt x="1628" y="18"/>
                </a:lnTo>
                <a:lnTo>
                  <a:pt x="1752" y="15"/>
                </a:lnTo>
                <a:lnTo>
                  <a:pt x="1880" y="11"/>
                </a:lnTo>
                <a:lnTo>
                  <a:pt x="2010" y="8"/>
                </a:lnTo>
                <a:lnTo>
                  <a:pt x="2144" y="6"/>
                </a:lnTo>
                <a:lnTo>
                  <a:pt x="2279" y="3"/>
                </a:lnTo>
                <a:lnTo>
                  <a:pt x="2417" y="2"/>
                </a:lnTo>
                <a:lnTo>
                  <a:pt x="2557" y="1"/>
                </a:lnTo>
                <a:lnTo>
                  <a:pt x="2700" y="0"/>
                </a:lnTo>
                <a:lnTo>
                  <a:pt x="2844" y="0"/>
                </a:lnTo>
                <a:lnTo>
                  <a:pt x="2987" y="1"/>
                </a:lnTo>
                <a:lnTo>
                  <a:pt x="3129" y="1"/>
                </a:lnTo>
                <a:lnTo>
                  <a:pt x="3269" y="3"/>
                </a:lnTo>
                <a:lnTo>
                  <a:pt x="3406" y="5"/>
                </a:lnTo>
                <a:lnTo>
                  <a:pt x="3541" y="7"/>
                </a:lnTo>
                <a:lnTo>
                  <a:pt x="3673" y="10"/>
                </a:lnTo>
                <a:lnTo>
                  <a:pt x="3802" y="13"/>
                </a:lnTo>
                <a:lnTo>
                  <a:pt x="3928" y="17"/>
                </a:lnTo>
                <a:lnTo>
                  <a:pt x="4051" y="21"/>
                </a:lnTo>
                <a:lnTo>
                  <a:pt x="4171" y="27"/>
                </a:lnTo>
                <a:lnTo>
                  <a:pt x="4286" y="32"/>
                </a:lnTo>
                <a:lnTo>
                  <a:pt x="4398" y="37"/>
                </a:lnTo>
                <a:lnTo>
                  <a:pt x="4507" y="43"/>
                </a:lnTo>
                <a:lnTo>
                  <a:pt x="4611" y="49"/>
                </a:lnTo>
                <a:lnTo>
                  <a:pt x="4711" y="57"/>
                </a:lnTo>
                <a:lnTo>
                  <a:pt x="4805" y="63"/>
                </a:lnTo>
                <a:lnTo>
                  <a:pt x="4897" y="71"/>
                </a:lnTo>
                <a:lnTo>
                  <a:pt x="4983" y="78"/>
                </a:lnTo>
                <a:lnTo>
                  <a:pt x="5064" y="86"/>
                </a:lnTo>
                <a:lnTo>
                  <a:pt x="5140" y="95"/>
                </a:lnTo>
                <a:lnTo>
                  <a:pt x="5211" y="103"/>
                </a:lnTo>
                <a:lnTo>
                  <a:pt x="5275" y="111"/>
                </a:lnTo>
                <a:lnTo>
                  <a:pt x="5335" y="120"/>
                </a:lnTo>
                <a:lnTo>
                  <a:pt x="5390" y="130"/>
                </a:lnTo>
                <a:lnTo>
                  <a:pt x="5437" y="139"/>
                </a:lnTo>
                <a:lnTo>
                  <a:pt x="5479" y="149"/>
                </a:lnTo>
                <a:lnTo>
                  <a:pt x="5515" y="158"/>
                </a:lnTo>
                <a:lnTo>
                  <a:pt x="5543" y="169"/>
                </a:lnTo>
                <a:lnTo>
                  <a:pt x="5565" y="179"/>
                </a:lnTo>
                <a:lnTo>
                  <a:pt x="5581" y="189"/>
                </a:lnTo>
                <a:lnTo>
                  <a:pt x="5589" y="200"/>
                </a:lnTo>
                <a:lnTo>
                  <a:pt x="5590" y="211"/>
                </a:lnTo>
                <a:close/>
              </a:path>
            </a:pathLst>
          </a:custGeom>
          <a:gradFill>
            <a:gsLst>
              <a:gs pos="0">
                <a:schemeClr val="accent1">
                  <a:lumMod val="40000"/>
                  <a:lumOff val="60000"/>
                </a:schemeClr>
              </a:gs>
              <a:gs pos="100000">
                <a:schemeClr val="accent1"/>
              </a:gs>
            </a:gsLst>
            <a:path path="circle">
              <a:fillToRect r="100000" b="100000"/>
            </a:path>
          </a:gradFill>
          <a:ln w="1270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armonyOS Sans SC"/>
              <a:cs typeface="+mn-cs"/>
            </a:endParaRPr>
          </a:p>
        </p:txBody>
      </p:sp>
      <p:sp>
        <p:nvSpPr>
          <p:cNvPr id="15" name="Freeform 9">
            <a:extLst>
              <a:ext uri="{FF2B5EF4-FFF2-40B4-BE49-F238E27FC236}">
                <a16:creationId xmlns:a16="http://schemas.microsoft.com/office/drawing/2014/main" id="{CD8EA6F6-963B-408B-88F6-BDDAD706A7D7}"/>
              </a:ext>
            </a:extLst>
          </p:cNvPr>
          <p:cNvSpPr>
            <a:spLocks/>
          </p:cNvSpPr>
          <p:nvPr/>
        </p:nvSpPr>
        <p:spPr bwMode="auto">
          <a:xfrm flipV="1">
            <a:off x="5720497" y="2089089"/>
            <a:ext cx="749254" cy="740501"/>
          </a:xfrm>
          <a:custGeom>
            <a:avLst/>
            <a:gdLst>
              <a:gd name="T0" fmla="*/ 2567 w 2574"/>
              <a:gd name="T1" fmla="*/ 84 h 2537"/>
              <a:gd name="T2" fmla="*/ 2547 w 2574"/>
              <a:gd name="T3" fmla="*/ 75 h 2537"/>
              <a:gd name="T4" fmla="*/ 2516 w 2574"/>
              <a:gd name="T5" fmla="*/ 67 h 2537"/>
              <a:gd name="T6" fmla="*/ 2478 w 2574"/>
              <a:gd name="T7" fmla="*/ 59 h 2537"/>
              <a:gd name="T8" fmla="*/ 2429 w 2574"/>
              <a:gd name="T9" fmla="*/ 51 h 2537"/>
              <a:gd name="T10" fmla="*/ 2390 w 2574"/>
              <a:gd name="T11" fmla="*/ 46 h 2537"/>
              <a:gd name="T12" fmla="*/ 2359 w 2574"/>
              <a:gd name="T13" fmla="*/ 42 h 2537"/>
              <a:gd name="T14" fmla="*/ 2307 w 2574"/>
              <a:gd name="T15" fmla="*/ 37 h 2537"/>
              <a:gd name="T16" fmla="*/ 2263 w 2574"/>
              <a:gd name="T17" fmla="*/ 33 h 2537"/>
              <a:gd name="T18" fmla="*/ 2230 w 2574"/>
              <a:gd name="T19" fmla="*/ 30 h 2537"/>
              <a:gd name="T20" fmla="*/ 2187 w 2574"/>
              <a:gd name="T21" fmla="*/ 27 h 2537"/>
              <a:gd name="T22" fmla="*/ 2137 w 2574"/>
              <a:gd name="T23" fmla="*/ 23 h 2537"/>
              <a:gd name="T24" fmla="*/ 2088 w 2574"/>
              <a:gd name="T25" fmla="*/ 20 h 2537"/>
              <a:gd name="T26" fmla="*/ 2036 w 2574"/>
              <a:gd name="T27" fmla="*/ 17 h 2537"/>
              <a:gd name="T28" fmla="*/ 1984 w 2574"/>
              <a:gd name="T29" fmla="*/ 15 h 2537"/>
              <a:gd name="T30" fmla="*/ 1933 w 2574"/>
              <a:gd name="T31" fmla="*/ 12 h 2537"/>
              <a:gd name="T32" fmla="*/ 1882 w 2574"/>
              <a:gd name="T33" fmla="*/ 10 h 2537"/>
              <a:gd name="T34" fmla="*/ 1828 w 2574"/>
              <a:gd name="T35" fmla="*/ 8 h 2537"/>
              <a:gd name="T36" fmla="*/ 1783 w 2574"/>
              <a:gd name="T37" fmla="*/ 7 h 2537"/>
              <a:gd name="T38" fmla="*/ 1745 w 2574"/>
              <a:gd name="T39" fmla="*/ 6 h 2537"/>
              <a:gd name="T40" fmla="*/ 1696 w 2574"/>
              <a:gd name="T41" fmla="*/ 5 h 2537"/>
              <a:gd name="T42" fmla="*/ 1649 w 2574"/>
              <a:gd name="T43" fmla="*/ 4 h 2537"/>
              <a:gd name="T44" fmla="*/ 1606 w 2574"/>
              <a:gd name="T45" fmla="*/ 3 h 2537"/>
              <a:gd name="T46" fmla="*/ 1567 w 2574"/>
              <a:gd name="T47" fmla="*/ 2 h 2537"/>
              <a:gd name="T48" fmla="*/ 1524 w 2574"/>
              <a:gd name="T49" fmla="*/ 1 h 2537"/>
              <a:gd name="T50" fmla="*/ 1454 w 2574"/>
              <a:gd name="T51" fmla="*/ 1 h 2537"/>
              <a:gd name="T52" fmla="*/ 1403 w 2574"/>
              <a:gd name="T53" fmla="*/ 0 h 2537"/>
              <a:gd name="T54" fmla="*/ 1362 w 2574"/>
              <a:gd name="T55" fmla="*/ 0 h 2537"/>
              <a:gd name="T56" fmla="*/ 1310 w 2574"/>
              <a:gd name="T57" fmla="*/ 0 h 2537"/>
              <a:gd name="T58" fmla="*/ 1262 w 2574"/>
              <a:gd name="T59" fmla="*/ 0 h 2537"/>
              <a:gd name="T60" fmla="*/ 1235 w 2574"/>
              <a:gd name="T61" fmla="*/ 0 h 2537"/>
              <a:gd name="T62" fmla="*/ 1190 w 2574"/>
              <a:gd name="T63" fmla="*/ 0 h 2537"/>
              <a:gd name="T64" fmla="*/ 1158 w 2574"/>
              <a:gd name="T65" fmla="*/ 0 h 2537"/>
              <a:gd name="T66" fmla="*/ 1113 w 2574"/>
              <a:gd name="T67" fmla="*/ 1 h 2537"/>
              <a:gd name="T68" fmla="*/ 1073 w 2574"/>
              <a:gd name="T69" fmla="*/ 1 h 2537"/>
              <a:gd name="T70" fmla="*/ 999 w 2574"/>
              <a:gd name="T71" fmla="*/ 2 h 2537"/>
              <a:gd name="T72" fmla="*/ 896 w 2574"/>
              <a:gd name="T73" fmla="*/ 4 h 2537"/>
              <a:gd name="T74" fmla="*/ 862 w 2574"/>
              <a:gd name="T75" fmla="*/ 5 h 2537"/>
              <a:gd name="T76" fmla="*/ 822 w 2574"/>
              <a:gd name="T77" fmla="*/ 6 h 2537"/>
              <a:gd name="T78" fmla="*/ 789 w 2574"/>
              <a:gd name="T79" fmla="*/ 7 h 2537"/>
              <a:gd name="T80" fmla="*/ 737 w 2574"/>
              <a:gd name="T81" fmla="*/ 9 h 2537"/>
              <a:gd name="T82" fmla="*/ 694 w 2574"/>
              <a:gd name="T83" fmla="*/ 10 h 2537"/>
              <a:gd name="T84" fmla="*/ 651 w 2574"/>
              <a:gd name="T85" fmla="*/ 12 h 2537"/>
              <a:gd name="T86" fmla="*/ 588 w 2574"/>
              <a:gd name="T87" fmla="*/ 15 h 2537"/>
              <a:gd name="T88" fmla="*/ 535 w 2574"/>
              <a:gd name="T89" fmla="*/ 17 h 2537"/>
              <a:gd name="T90" fmla="*/ 491 w 2574"/>
              <a:gd name="T91" fmla="*/ 20 h 2537"/>
              <a:gd name="T92" fmla="*/ 457 w 2574"/>
              <a:gd name="T93" fmla="*/ 22 h 2537"/>
              <a:gd name="T94" fmla="*/ 430 w 2574"/>
              <a:gd name="T95" fmla="*/ 23 h 2537"/>
              <a:gd name="T96" fmla="*/ 384 w 2574"/>
              <a:gd name="T97" fmla="*/ 27 h 2537"/>
              <a:gd name="T98" fmla="*/ 345 w 2574"/>
              <a:gd name="T99" fmla="*/ 30 h 2537"/>
              <a:gd name="T100" fmla="*/ 314 w 2574"/>
              <a:gd name="T101" fmla="*/ 33 h 2537"/>
              <a:gd name="T102" fmla="*/ 277 w 2574"/>
              <a:gd name="T103" fmla="*/ 36 h 2537"/>
              <a:gd name="T104" fmla="*/ 236 w 2574"/>
              <a:gd name="T105" fmla="*/ 40 h 2537"/>
              <a:gd name="T106" fmla="*/ 94 w 2574"/>
              <a:gd name="T107" fmla="*/ 60 h 2537"/>
              <a:gd name="T108" fmla="*/ 73 w 2574"/>
              <a:gd name="T109" fmla="*/ 63 h 2537"/>
              <a:gd name="T110" fmla="*/ 55 w 2574"/>
              <a:gd name="T111" fmla="*/ 68 h 2537"/>
              <a:gd name="T112" fmla="*/ 39 w 2574"/>
              <a:gd name="T113" fmla="*/ 72 h 2537"/>
              <a:gd name="T114" fmla="*/ 26 w 2574"/>
              <a:gd name="T115" fmla="*/ 76 h 2537"/>
              <a:gd name="T116" fmla="*/ 16 w 2574"/>
              <a:gd name="T117" fmla="*/ 80 h 2537"/>
              <a:gd name="T118" fmla="*/ 7 w 2574"/>
              <a:gd name="T119" fmla="*/ 84 h 2537"/>
              <a:gd name="T120" fmla="*/ 2 w 2574"/>
              <a:gd name="T121" fmla="*/ 89 h 2537"/>
              <a:gd name="T122" fmla="*/ 0 w 2574"/>
              <a:gd name="T123" fmla="*/ 97 h 2537"/>
              <a:gd name="T124" fmla="*/ 2574 w 2574"/>
              <a:gd name="T125" fmla="*/ 94 h 25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574" h="2537">
                <a:moveTo>
                  <a:pt x="2573" y="91"/>
                </a:moveTo>
                <a:lnTo>
                  <a:pt x="2573" y="90"/>
                </a:lnTo>
                <a:lnTo>
                  <a:pt x="2572" y="89"/>
                </a:lnTo>
                <a:lnTo>
                  <a:pt x="2570" y="87"/>
                </a:lnTo>
                <a:lnTo>
                  <a:pt x="2568" y="85"/>
                </a:lnTo>
                <a:lnTo>
                  <a:pt x="2567" y="84"/>
                </a:lnTo>
                <a:lnTo>
                  <a:pt x="2565" y="83"/>
                </a:lnTo>
                <a:lnTo>
                  <a:pt x="2562" y="81"/>
                </a:lnTo>
                <a:lnTo>
                  <a:pt x="2557" y="79"/>
                </a:lnTo>
                <a:lnTo>
                  <a:pt x="2555" y="79"/>
                </a:lnTo>
                <a:lnTo>
                  <a:pt x="2554" y="78"/>
                </a:lnTo>
                <a:lnTo>
                  <a:pt x="2547" y="75"/>
                </a:lnTo>
                <a:lnTo>
                  <a:pt x="2539" y="73"/>
                </a:lnTo>
                <a:lnTo>
                  <a:pt x="2538" y="72"/>
                </a:lnTo>
                <a:lnTo>
                  <a:pt x="2537" y="72"/>
                </a:lnTo>
                <a:lnTo>
                  <a:pt x="2529" y="70"/>
                </a:lnTo>
                <a:lnTo>
                  <a:pt x="2519" y="68"/>
                </a:lnTo>
                <a:lnTo>
                  <a:pt x="2516" y="67"/>
                </a:lnTo>
                <a:lnTo>
                  <a:pt x="2512" y="66"/>
                </a:lnTo>
                <a:lnTo>
                  <a:pt x="2505" y="64"/>
                </a:lnTo>
                <a:lnTo>
                  <a:pt x="2497" y="63"/>
                </a:lnTo>
                <a:lnTo>
                  <a:pt x="2492" y="62"/>
                </a:lnTo>
                <a:lnTo>
                  <a:pt x="2487" y="61"/>
                </a:lnTo>
                <a:lnTo>
                  <a:pt x="2478" y="59"/>
                </a:lnTo>
                <a:lnTo>
                  <a:pt x="2469" y="57"/>
                </a:lnTo>
                <a:lnTo>
                  <a:pt x="2464" y="56"/>
                </a:lnTo>
                <a:lnTo>
                  <a:pt x="2459" y="55"/>
                </a:lnTo>
                <a:lnTo>
                  <a:pt x="2444" y="53"/>
                </a:lnTo>
                <a:lnTo>
                  <a:pt x="2429" y="51"/>
                </a:lnTo>
                <a:lnTo>
                  <a:pt x="2429" y="51"/>
                </a:lnTo>
                <a:lnTo>
                  <a:pt x="2428" y="50"/>
                </a:lnTo>
                <a:lnTo>
                  <a:pt x="2419" y="49"/>
                </a:lnTo>
                <a:lnTo>
                  <a:pt x="2411" y="48"/>
                </a:lnTo>
                <a:lnTo>
                  <a:pt x="2405" y="47"/>
                </a:lnTo>
                <a:lnTo>
                  <a:pt x="2398" y="47"/>
                </a:lnTo>
                <a:lnTo>
                  <a:pt x="2390" y="46"/>
                </a:lnTo>
                <a:lnTo>
                  <a:pt x="2382" y="45"/>
                </a:lnTo>
                <a:lnTo>
                  <a:pt x="2373" y="44"/>
                </a:lnTo>
                <a:lnTo>
                  <a:pt x="2365" y="43"/>
                </a:lnTo>
                <a:lnTo>
                  <a:pt x="2363" y="43"/>
                </a:lnTo>
                <a:lnTo>
                  <a:pt x="2362" y="42"/>
                </a:lnTo>
                <a:lnTo>
                  <a:pt x="2359" y="42"/>
                </a:lnTo>
                <a:lnTo>
                  <a:pt x="2356" y="42"/>
                </a:lnTo>
                <a:lnTo>
                  <a:pt x="2346" y="41"/>
                </a:lnTo>
                <a:lnTo>
                  <a:pt x="2334" y="40"/>
                </a:lnTo>
                <a:lnTo>
                  <a:pt x="2322" y="38"/>
                </a:lnTo>
                <a:lnTo>
                  <a:pt x="2310" y="37"/>
                </a:lnTo>
                <a:lnTo>
                  <a:pt x="2307" y="37"/>
                </a:lnTo>
                <a:lnTo>
                  <a:pt x="2303" y="37"/>
                </a:lnTo>
                <a:lnTo>
                  <a:pt x="2301" y="36"/>
                </a:lnTo>
                <a:lnTo>
                  <a:pt x="2299" y="36"/>
                </a:lnTo>
                <a:lnTo>
                  <a:pt x="2287" y="35"/>
                </a:lnTo>
                <a:lnTo>
                  <a:pt x="2275" y="34"/>
                </a:lnTo>
                <a:lnTo>
                  <a:pt x="2263" y="33"/>
                </a:lnTo>
                <a:lnTo>
                  <a:pt x="2250" y="32"/>
                </a:lnTo>
                <a:lnTo>
                  <a:pt x="2249" y="32"/>
                </a:lnTo>
                <a:lnTo>
                  <a:pt x="2248" y="32"/>
                </a:lnTo>
                <a:lnTo>
                  <a:pt x="2243" y="31"/>
                </a:lnTo>
                <a:lnTo>
                  <a:pt x="2238" y="31"/>
                </a:lnTo>
                <a:lnTo>
                  <a:pt x="2230" y="30"/>
                </a:lnTo>
                <a:lnTo>
                  <a:pt x="2220" y="30"/>
                </a:lnTo>
                <a:lnTo>
                  <a:pt x="2212" y="29"/>
                </a:lnTo>
                <a:lnTo>
                  <a:pt x="2204" y="28"/>
                </a:lnTo>
                <a:lnTo>
                  <a:pt x="2199" y="28"/>
                </a:lnTo>
                <a:lnTo>
                  <a:pt x="2195" y="28"/>
                </a:lnTo>
                <a:lnTo>
                  <a:pt x="2187" y="27"/>
                </a:lnTo>
                <a:lnTo>
                  <a:pt x="2180" y="27"/>
                </a:lnTo>
                <a:lnTo>
                  <a:pt x="2169" y="26"/>
                </a:lnTo>
                <a:lnTo>
                  <a:pt x="2156" y="25"/>
                </a:lnTo>
                <a:lnTo>
                  <a:pt x="2149" y="25"/>
                </a:lnTo>
                <a:lnTo>
                  <a:pt x="2142" y="23"/>
                </a:lnTo>
                <a:lnTo>
                  <a:pt x="2137" y="23"/>
                </a:lnTo>
                <a:lnTo>
                  <a:pt x="2131" y="22"/>
                </a:lnTo>
                <a:lnTo>
                  <a:pt x="2118" y="22"/>
                </a:lnTo>
                <a:lnTo>
                  <a:pt x="2105" y="21"/>
                </a:lnTo>
                <a:lnTo>
                  <a:pt x="2099" y="21"/>
                </a:lnTo>
                <a:lnTo>
                  <a:pt x="2091" y="20"/>
                </a:lnTo>
                <a:lnTo>
                  <a:pt x="2088" y="20"/>
                </a:lnTo>
                <a:lnTo>
                  <a:pt x="2084" y="20"/>
                </a:lnTo>
                <a:lnTo>
                  <a:pt x="2072" y="19"/>
                </a:lnTo>
                <a:lnTo>
                  <a:pt x="2061" y="18"/>
                </a:lnTo>
                <a:lnTo>
                  <a:pt x="2050" y="18"/>
                </a:lnTo>
                <a:lnTo>
                  <a:pt x="2041" y="17"/>
                </a:lnTo>
                <a:lnTo>
                  <a:pt x="2036" y="17"/>
                </a:lnTo>
                <a:lnTo>
                  <a:pt x="2030" y="17"/>
                </a:lnTo>
                <a:lnTo>
                  <a:pt x="2021" y="16"/>
                </a:lnTo>
                <a:lnTo>
                  <a:pt x="2013" y="16"/>
                </a:lnTo>
                <a:lnTo>
                  <a:pt x="2002" y="15"/>
                </a:lnTo>
                <a:lnTo>
                  <a:pt x="1990" y="15"/>
                </a:lnTo>
                <a:lnTo>
                  <a:pt x="1984" y="15"/>
                </a:lnTo>
                <a:lnTo>
                  <a:pt x="1979" y="14"/>
                </a:lnTo>
                <a:lnTo>
                  <a:pt x="1972" y="14"/>
                </a:lnTo>
                <a:lnTo>
                  <a:pt x="1964" y="14"/>
                </a:lnTo>
                <a:lnTo>
                  <a:pt x="1952" y="13"/>
                </a:lnTo>
                <a:lnTo>
                  <a:pt x="1940" y="13"/>
                </a:lnTo>
                <a:lnTo>
                  <a:pt x="1933" y="12"/>
                </a:lnTo>
                <a:lnTo>
                  <a:pt x="1926" y="12"/>
                </a:lnTo>
                <a:lnTo>
                  <a:pt x="1917" y="12"/>
                </a:lnTo>
                <a:lnTo>
                  <a:pt x="1909" y="11"/>
                </a:lnTo>
                <a:lnTo>
                  <a:pt x="1900" y="11"/>
                </a:lnTo>
                <a:lnTo>
                  <a:pt x="1889" y="11"/>
                </a:lnTo>
                <a:lnTo>
                  <a:pt x="1882" y="10"/>
                </a:lnTo>
                <a:lnTo>
                  <a:pt x="1875" y="10"/>
                </a:lnTo>
                <a:lnTo>
                  <a:pt x="1866" y="10"/>
                </a:lnTo>
                <a:lnTo>
                  <a:pt x="1855" y="9"/>
                </a:lnTo>
                <a:lnTo>
                  <a:pt x="1847" y="9"/>
                </a:lnTo>
                <a:lnTo>
                  <a:pt x="1840" y="9"/>
                </a:lnTo>
                <a:lnTo>
                  <a:pt x="1828" y="8"/>
                </a:lnTo>
                <a:lnTo>
                  <a:pt x="1816" y="8"/>
                </a:lnTo>
                <a:lnTo>
                  <a:pt x="1810" y="8"/>
                </a:lnTo>
                <a:lnTo>
                  <a:pt x="1805" y="8"/>
                </a:lnTo>
                <a:lnTo>
                  <a:pt x="1798" y="7"/>
                </a:lnTo>
                <a:lnTo>
                  <a:pt x="1791" y="7"/>
                </a:lnTo>
                <a:lnTo>
                  <a:pt x="1783" y="7"/>
                </a:lnTo>
                <a:lnTo>
                  <a:pt x="1775" y="7"/>
                </a:lnTo>
                <a:lnTo>
                  <a:pt x="1767" y="6"/>
                </a:lnTo>
                <a:lnTo>
                  <a:pt x="1760" y="6"/>
                </a:lnTo>
                <a:lnTo>
                  <a:pt x="1753" y="6"/>
                </a:lnTo>
                <a:lnTo>
                  <a:pt x="1747" y="6"/>
                </a:lnTo>
                <a:lnTo>
                  <a:pt x="1745" y="6"/>
                </a:lnTo>
                <a:lnTo>
                  <a:pt x="1743" y="6"/>
                </a:lnTo>
                <a:lnTo>
                  <a:pt x="1732" y="5"/>
                </a:lnTo>
                <a:lnTo>
                  <a:pt x="1720" y="5"/>
                </a:lnTo>
                <a:lnTo>
                  <a:pt x="1709" y="5"/>
                </a:lnTo>
                <a:lnTo>
                  <a:pt x="1698" y="5"/>
                </a:lnTo>
                <a:lnTo>
                  <a:pt x="1696" y="5"/>
                </a:lnTo>
                <a:lnTo>
                  <a:pt x="1695" y="5"/>
                </a:lnTo>
                <a:lnTo>
                  <a:pt x="1687" y="4"/>
                </a:lnTo>
                <a:lnTo>
                  <a:pt x="1681" y="4"/>
                </a:lnTo>
                <a:lnTo>
                  <a:pt x="1669" y="4"/>
                </a:lnTo>
                <a:lnTo>
                  <a:pt x="1655" y="4"/>
                </a:lnTo>
                <a:lnTo>
                  <a:pt x="1649" y="4"/>
                </a:lnTo>
                <a:lnTo>
                  <a:pt x="1642" y="3"/>
                </a:lnTo>
                <a:lnTo>
                  <a:pt x="1632" y="3"/>
                </a:lnTo>
                <a:lnTo>
                  <a:pt x="1620" y="3"/>
                </a:lnTo>
                <a:lnTo>
                  <a:pt x="1617" y="3"/>
                </a:lnTo>
                <a:lnTo>
                  <a:pt x="1614" y="3"/>
                </a:lnTo>
                <a:lnTo>
                  <a:pt x="1606" y="3"/>
                </a:lnTo>
                <a:lnTo>
                  <a:pt x="1598" y="3"/>
                </a:lnTo>
                <a:lnTo>
                  <a:pt x="1590" y="2"/>
                </a:lnTo>
                <a:lnTo>
                  <a:pt x="1581" y="2"/>
                </a:lnTo>
                <a:lnTo>
                  <a:pt x="1576" y="2"/>
                </a:lnTo>
                <a:lnTo>
                  <a:pt x="1571" y="2"/>
                </a:lnTo>
                <a:lnTo>
                  <a:pt x="1567" y="2"/>
                </a:lnTo>
                <a:lnTo>
                  <a:pt x="1564" y="2"/>
                </a:lnTo>
                <a:lnTo>
                  <a:pt x="1556" y="2"/>
                </a:lnTo>
                <a:lnTo>
                  <a:pt x="1547" y="2"/>
                </a:lnTo>
                <a:lnTo>
                  <a:pt x="1540" y="2"/>
                </a:lnTo>
                <a:lnTo>
                  <a:pt x="1532" y="1"/>
                </a:lnTo>
                <a:lnTo>
                  <a:pt x="1524" y="1"/>
                </a:lnTo>
                <a:lnTo>
                  <a:pt x="1515" y="1"/>
                </a:lnTo>
                <a:lnTo>
                  <a:pt x="1502" y="1"/>
                </a:lnTo>
                <a:lnTo>
                  <a:pt x="1490" y="1"/>
                </a:lnTo>
                <a:lnTo>
                  <a:pt x="1477" y="1"/>
                </a:lnTo>
                <a:lnTo>
                  <a:pt x="1465" y="1"/>
                </a:lnTo>
                <a:lnTo>
                  <a:pt x="1454" y="1"/>
                </a:lnTo>
                <a:lnTo>
                  <a:pt x="1444" y="0"/>
                </a:lnTo>
                <a:lnTo>
                  <a:pt x="1440" y="0"/>
                </a:lnTo>
                <a:lnTo>
                  <a:pt x="1436" y="0"/>
                </a:lnTo>
                <a:lnTo>
                  <a:pt x="1425" y="0"/>
                </a:lnTo>
                <a:lnTo>
                  <a:pt x="1413" y="0"/>
                </a:lnTo>
                <a:lnTo>
                  <a:pt x="1403" y="0"/>
                </a:lnTo>
                <a:lnTo>
                  <a:pt x="1393" y="0"/>
                </a:lnTo>
                <a:lnTo>
                  <a:pt x="1385" y="0"/>
                </a:lnTo>
                <a:lnTo>
                  <a:pt x="1379" y="0"/>
                </a:lnTo>
                <a:lnTo>
                  <a:pt x="1375" y="0"/>
                </a:lnTo>
                <a:lnTo>
                  <a:pt x="1372" y="0"/>
                </a:lnTo>
                <a:lnTo>
                  <a:pt x="1362" y="0"/>
                </a:lnTo>
                <a:lnTo>
                  <a:pt x="1351" y="0"/>
                </a:lnTo>
                <a:lnTo>
                  <a:pt x="1341" y="0"/>
                </a:lnTo>
                <a:lnTo>
                  <a:pt x="1331" y="0"/>
                </a:lnTo>
                <a:lnTo>
                  <a:pt x="1320" y="0"/>
                </a:lnTo>
                <a:lnTo>
                  <a:pt x="1310" y="0"/>
                </a:lnTo>
                <a:lnTo>
                  <a:pt x="1310" y="0"/>
                </a:lnTo>
                <a:lnTo>
                  <a:pt x="1309" y="0"/>
                </a:lnTo>
                <a:lnTo>
                  <a:pt x="1300" y="0"/>
                </a:lnTo>
                <a:lnTo>
                  <a:pt x="1291" y="0"/>
                </a:lnTo>
                <a:lnTo>
                  <a:pt x="1281" y="0"/>
                </a:lnTo>
                <a:lnTo>
                  <a:pt x="1271" y="0"/>
                </a:lnTo>
                <a:lnTo>
                  <a:pt x="1262" y="0"/>
                </a:lnTo>
                <a:lnTo>
                  <a:pt x="1252" y="0"/>
                </a:lnTo>
                <a:lnTo>
                  <a:pt x="1250" y="0"/>
                </a:lnTo>
                <a:lnTo>
                  <a:pt x="1248" y="0"/>
                </a:lnTo>
                <a:lnTo>
                  <a:pt x="1243" y="0"/>
                </a:lnTo>
                <a:lnTo>
                  <a:pt x="1237" y="0"/>
                </a:lnTo>
                <a:lnTo>
                  <a:pt x="1235" y="0"/>
                </a:lnTo>
                <a:lnTo>
                  <a:pt x="1233" y="0"/>
                </a:lnTo>
                <a:lnTo>
                  <a:pt x="1224" y="0"/>
                </a:lnTo>
                <a:lnTo>
                  <a:pt x="1213" y="0"/>
                </a:lnTo>
                <a:lnTo>
                  <a:pt x="1203" y="0"/>
                </a:lnTo>
                <a:lnTo>
                  <a:pt x="1193" y="0"/>
                </a:lnTo>
                <a:lnTo>
                  <a:pt x="1190" y="0"/>
                </a:lnTo>
                <a:lnTo>
                  <a:pt x="1185" y="0"/>
                </a:lnTo>
                <a:lnTo>
                  <a:pt x="1180" y="0"/>
                </a:lnTo>
                <a:lnTo>
                  <a:pt x="1174" y="0"/>
                </a:lnTo>
                <a:lnTo>
                  <a:pt x="1172" y="0"/>
                </a:lnTo>
                <a:lnTo>
                  <a:pt x="1169" y="0"/>
                </a:lnTo>
                <a:lnTo>
                  <a:pt x="1158" y="0"/>
                </a:lnTo>
                <a:lnTo>
                  <a:pt x="1146" y="0"/>
                </a:lnTo>
                <a:lnTo>
                  <a:pt x="1135" y="0"/>
                </a:lnTo>
                <a:lnTo>
                  <a:pt x="1123" y="1"/>
                </a:lnTo>
                <a:lnTo>
                  <a:pt x="1120" y="1"/>
                </a:lnTo>
                <a:lnTo>
                  <a:pt x="1116" y="1"/>
                </a:lnTo>
                <a:lnTo>
                  <a:pt x="1113" y="1"/>
                </a:lnTo>
                <a:lnTo>
                  <a:pt x="1111" y="1"/>
                </a:lnTo>
                <a:lnTo>
                  <a:pt x="1105" y="1"/>
                </a:lnTo>
                <a:lnTo>
                  <a:pt x="1100" y="1"/>
                </a:lnTo>
                <a:lnTo>
                  <a:pt x="1091" y="1"/>
                </a:lnTo>
                <a:lnTo>
                  <a:pt x="1081" y="1"/>
                </a:lnTo>
                <a:lnTo>
                  <a:pt x="1073" y="1"/>
                </a:lnTo>
                <a:lnTo>
                  <a:pt x="1064" y="1"/>
                </a:lnTo>
                <a:lnTo>
                  <a:pt x="1049" y="1"/>
                </a:lnTo>
                <a:lnTo>
                  <a:pt x="1034" y="2"/>
                </a:lnTo>
                <a:lnTo>
                  <a:pt x="1020" y="2"/>
                </a:lnTo>
                <a:lnTo>
                  <a:pt x="1004" y="2"/>
                </a:lnTo>
                <a:lnTo>
                  <a:pt x="999" y="2"/>
                </a:lnTo>
                <a:lnTo>
                  <a:pt x="994" y="2"/>
                </a:lnTo>
                <a:lnTo>
                  <a:pt x="970" y="3"/>
                </a:lnTo>
                <a:lnTo>
                  <a:pt x="946" y="3"/>
                </a:lnTo>
                <a:lnTo>
                  <a:pt x="923" y="4"/>
                </a:lnTo>
                <a:lnTo>
                  <a:pt x="899" y="4"/>
                </a:lnTo>
                <a:lnTo>
                  <a:pt x="896" y="4"/>
                </a:lnTo>
                <a:lnTo>
                  <a:pt x="892" y="4"/>
                </a:lnTo>
                <a:lnTo>
                  <a:pt x="882" y="4"/>
                </a:lnTo>
                <a:lnTo>
                  <a:pt x="872" y="5"/>
                </a:lnTo>
                <a:lnTo>
                  <a:pt x="868" y="5"/>
                </a:lnTo>
                <a:lnTo>
                  <a:pt x="863" y="5"/>
                </a:lnTo>
                <a:lnTo>
                  <a:pt x="862" y="5"/>
                </a:lnTo>
                <a:lnTo>
                  <a:pt x="861" y="5"/>
                </a:lnTo>
                <a:lnTo>
                  <a:pt x="853" y="5"/>
                </a:lnTo>
                <a:lnTo>
                  <a:pt x="845" y="5"/>
                </a:lnTo>
                <a:lnTo>
                  <a:pt x="837" y="6"/>
                </a:lnTo>
                <a:lnTo>
                  <a:pt x="830" y="6"/>
                </a:lnTo>
                <a:lnTo>
                  <a:pt x="822" y="6"/>
                </a:lnTo>
                <a:lnTo>
                  <a:pt x="814" y="6"/>
                </a:lnTo>
                <a:lnTo>
                  <a:pt x="809" y="6"/>
                </a:lnTo>
                <a:lnTo>
                  <a:pt x="804" y="6"/>
                </a:lnTo>
                <a:lnTo>
                  <a:pt x="802" y="7"/>
                </a:lnTo>
                <a:lnTo>
                  <a:pt x="801" y="7"/>
                </a:lnTo>
                <a:lnTo>
                  <a:pt x="789" y="7"/>
                </a:lnTo>
                <a:lnTo>
                  <a:pt x="777" y="7"/>
                </a:lnTo>
                <a:lnTo>
                  <a:pt x="767" y="8"/>
                </a:lnTo>
                <a:lnTo>
                  <a:pt x="756" y="8"/>
                </a:lnTo>
                <a:lnTo>
                  <a:pt x="748" y="8"/>
                </a:lnTo>
                <a:lnTo>
                  <a:pt x="741" y="8"/>
                </a:lnTo>
                <a:lnTo>
                  <a:pt x="737" y="9"/>
                </a:lnTo>
                <a:lnTo>
                  <a:pt x="732" y="9"/>
                </a:lnTo>
                <a:lnTo>
                  <a:pt x="721" y="9"/>
                </a:lnTo>
                <a:lnTo>
                  <a:pt x="709" y="10"/>
                </a:lnTo>
                <a:lnTo>
                  <a:pt x="703" y="10"/>
                </a:lnTo>
                <a:lnTo>
                  <a:pt x="696" y="10"/>
                </a:lnTo>
                <a:lnTo>
                  <a:pt x="694" y="10"/>
                </a:lnTo>
                <a:lnTo>
                  <a:pt x="692" y="10"/>
                </a:lnTo>
                <a:lnTo>
                  <a:pt x="689" y="10"/>
                </a:lnTo>
                <a:lnTo>
                  <a:pt x="686" y="11"/>
                </a:lnTo>
                <a:lnTo>
                  <a:pt x="674" y="11"/>
                </a:lnTo>
                <a:lnTo>
                  <a:pt x="662" y="11"/>
                </a:lnTo>
                <a:lnTo>
                  <a:pt x="651" y="12"/>
                </a:lnTo>
                <a:lnTo>
                  <a:pt x="639" y="12"/>
                </a:lnTo>
                <a:lnTo>
                  <a:pt x="626" y="13"/>
                </a:lnTo>
                <a:lnTo>
                  <a:pt x="612" y="14"/>
                </a:lnTo>
                <a:lnTo>
                  <a:pt x="606" y="14"/>
                </a:lnTo>
                <a:lnTo>
                  <a:pt x="600" y="14"/>
                </a:lnTo>
                <a:lnTo>
                  <a:pt x="588" y="15"/>
                </a:lnTo>
                <a:lnTo>
                  <a:pt x="575" y="15"/>
                </a:lnTo>
                <a:lnTo>
                  <a:pt x="565" y="16"/>
                </a:lnTo>
                <a:lnTo>
                  <a:pt x="554" y="16"/>
                </a:lnTo>
                <a:lnTo>
                  <a:pt x="550" y="16"/>
                </a:lnTo>
                <a:lnTo>
                  <a:pt x="545" y="17"/>
                </a:lnTo>
                <a:lnTo>
                  <a:pt x="535" y="17"/>
                </a:lnTo>
                <a:lnTo>
                  <a:pt x="526" y="18"/>
                </a:lnTo>
                <a:lnTo>
                  <a:pt x="522" y="18"/>
                </a:lnTo>
                <a:lnTo>
                  <a:pt x="518" y="18"/>
                </a:lnTo>
                <a:lnTo>
                  <a:pt x="508" y="19"/>
                </a:lnTo>
                <a:lnTo>
                  <a:pt x="499" y="19"/>
                </a:lnTo>
                <a:lnTo>
                  <a:pt x="491" y="20"/>
                </a:lnTo>
                <a:lnTo>
                  <a:pt x="481" y="20"/>
                </a:lnTo>
                <a:lnTo>
                  <a:pt x="480" y="20"/>
                </a:lnTo>
                <a:lnTo>
                  <a:pt x="478" y="20"/>
                </a:lnTo>
                <a:lnTo>
                  <a:pt x="472" y="21"/>
                </a:lnTo>
                <a:lnTo>
                  <a:pt x="465" y="21"/>
                </a:lnTo>
                <a:lnTo>
                  <a:pt x="457" y="22"/>
                </a:lnTo>
                <a:lnTo>
                  <a:pt x="448" y="22"/>
                </a:lnTo>
                <a:lnTo>
                  <a:pt x="441" y="23"/>
                </a:lnTo>
                <a:lnTo>
                  <a:pt x="433" y="23"/>
                </a:lnTo>
                <a:lnTo>
                  <a:pt x="433" y="23"/>
                </a:lnTo>
                <a:lnTo>
                  <a:pt x="432" y="23"/>
                </a:lnTo>
                <a:lnTo>
                  <a:pt x="430" y="23"/>
                </a:lnTo>
                <a:lnTo>
                  <a:pt x="427" y="25"/>
                </a:lnTo>
                <a:lnTo>
                  <a:pt x="417" y="25"/>
                </a:lnTo>
                <a:lnTo>
                  <a:pt x="406" y="26"/>
                </a:lnTo>
                <a:lnTo>
                  <a:pt x="396" y="27"/>
                </a:lnTo>
                <a:lnTo>
                  <a:pt x="386" y="27"/>
                </a:lnTo>
                <a:lnTo>
                  <a:pt x="384" y="27"/>
                </a:lnTo>
                <a:lnTo>
                  <a:pt x="383" y="28"/>
                </a:lnTo>
                <a:lnTo>
                  <a:pt x="378" y="28"/>
                </a:lnTo>
                <a:lnTo>
                  <a:pt x="375" y="28"/>
                </a:lnTo>
                <a:lnTo>
                  <a:pt x="365" y="29"/>
                </a:lnTo>
                <a:lnTo>
                  <a:pt x="355" y="30"/>
                </a:lnTo>
                <a:lnTo>
                  <a:pt x="345" y="30"/>
                </a:lnTo>
                <a:lnTo>
                  <a:pt x="335" y="31"/>
                </a:lnTo>
                <a:lnTo>
                  <a:pt x="332" y="31"/>
                </a:lnTo>
                <a:lnTo>
                  <a:pt x="329" y="32"/>
                </a:lnTo>
                <a:lnTo>
                  <a:pt x="326" y="32"/>
                </a:lnTo>
                <a:lnTo>
                  <a:pt x="323" y="32"/>
                </a:lnTo>
                <a:lnTo>
                  <a:pt x="314" y="33"/>
                </a:lnTo>
                <a:lnTo>
                  <a:pt x="306" y="33"/>
                </a:lnTo>
                <a:lnTo>
                  <a:pt x="298" y="34"/>
                </a:lnTo>
                <a:lnTo>
                  <a:pt x="290" y="35"/>
                </a:lnTo>
                <a:lnTo>
                  <a:pt x="285" y="35"/>
                </a:lnTo>
                <a:lnTo>
                  <a:pt x="280" y="36"/>
                </a:lnTo>
                <a:lnTo>
                  <a:pt x="277" y="36"/>
                </a:lnTo>
                <a:lnTo>
                  <a:pt x="275" y="36"/>
                </a:lnTo>
                <a:lnTo>
                  <a:pt x="260" y="38"/>
                </a:lnTo>
                <a:lnTo>
                  <a:pt x="245" y="39"/>
                </a:lnTo>
                <a:lnTo>
                  <a:pt x="241" y="39"/>
                </a:lnTo>
                <a:lnTo>
                  <a:pt x="237" y="40"/>
                </a:lnTo>
                <a:lnTo>
                  <a:pt x="236" y="40"/>
                </a:lnTo>
                <a:lnTo>
                  <a:pt x="235" y="40"/>
                </a:lnTo>
                <a:lnTo>
                  <a:pt x="197" y="44"/>
                </a:lnTo>
                <a:lnTo>
                  <a:pt x="162" y="48"/>
                </a:lnTo>
                <a:lnTo>
                  <a:pt x="130" y="53"/>
                </a:lnTo>
                <a:lnTo>
                  <a:pt x="101" y="57"/>
                </a:lnTo>
                <a:lnTo>
                  <a:pt x="94" y="60"/>
                </a:lnTo>
                <a:lnTo>
                  <a:pt x="88" y="61"/>
                </a:lnTo>
                <a:lnTo>
                  <a:pt x="88" y="61"/>
                </a:lnTo>
                <a:lnTo>
                  <a:pt x="87" y="61"/>
                </a:lnTo>
                <a:lnTo>
                  <a:pt x="83" y="62"/>
                </a:lnTo>
                <a:lnTo>
                  <a:pt x="78" y="62"/>
                </a:lnTo>
                <a:lnTo>
                  <a:pt x="73" y="63"/>
                </a:lnTo>
                <a:lnTo>
                  <a:pt x="68" y="65"/>
                </a:lnTo>
                <a:lnTo>
                  <a:pt x="67" y="65"/>
                </a:lnTo>
                <a:lnTo>
                  <a:pt x="66" y="65"/>
                </a:lnTo>
                <a:lnTo>
                  <a:pt x="62" y="66"/>
                </a:lnTo>
                <a:lnTo>
                  <a:pt x="59" y="67"/>
                </a:lnTo>
                <a:lnTo>
                  <a:pt x="55" y="68"/>
                </a:lnTo>
                <a:lnTo>
                  <a:pt x="51" y="68"/>
                </a:lnTo>
                <a:lnTo>
                  <a:pt x="50" y="69"/>
                </a:lnTo>
                <a:lnTo>
                  <a:pt x="49" y="69"/>
                </a:lnTo>
                <a:lnTo>
                  <a:pt x="45" y="70"/>
                </a:lnTo>
                <a:lnTo>
                  <a:pt x="41" y="71"/>
                </a:lnTo>
                <a:lnTo>
                  <a:pt x="39" y="72"/>
                </a:lnTo>
                <a:lnTo>
                  <a:pt x="36" y="72"/>
                </a:lnTo>
                <a:lnTo>
                  <a:pt x="35" y="73"/>
                </a:lnTo>
                <a:lnTo>
                  <a:pt x="34" y="73"/>
                </a:lnTo>
                <a:lnTo>
                  <a:pt x="30" y="74"/>
                </a:lnTo>
                <a:lnTo>
                  <a:pt x="27" y="75"/>
                </a:lnTo>
                <a:lnTo>
                  <a:pt x="26" y="76"/>
                </a:lnTo>
                <a:lnTo>
                  <a:pt x="24" y="77"/>
                </a:lnTo>
                <a:lnTo>
                  <a:pt x="23" y="77"/>
                </a:lnTo>
                <a:lnTo>
                  <a:pt x="22" y="78"/>
                </a:lnTo>
                <a:lnTo>
                  <a:pt x="19" y="79"/>
                </a:lnTo>
                <a:lnTo>
                  <a:pt x="17" y="80"/>
                </a:lnTo>
                <a:lnTo>
                  <a:pt x="16" y="80"/>
                </a:lnTo>
                <a:lnTo>
                  <a:pt x="14" y="81"/>
                </a:lnTo>
                <a:lnTo>
                  <a:pt x="12" y="81"/>
                </a:lnTo>
                <a:lnTo>
                  <a:pt x="11" y="82"/>
                </a:lnTo>
                <a:lnTo>
                  <a:pt x="9" y="83"/>
                </a:lnTo>
                <a:lnTo>
                  <a:pt x="7" y="84"/>
                </a:lnTo>
                <a:lnTo>
                  <a:pt x="7" y="84"/>
                </a:lnTo>
                <a:lnTo>
                  <a:pt x="6" y="85"/>
                </a:lnTo>
                <a:lnTo>
                  <a:pt x="5" y="86"/>
                </a:lnTo>
                <a:lnTo>
                  <a:pt x="4" y="86"/>
                </a:lnTo>
                <a:lnTo>
                  <a:pt x="3" y="88"/>
                </a:lnTo>
                <a:lnTo>
                  <a:pt x="2" y="89"/>
                </a:lnTo>
                <a:lnTo>
                  <a:pt x="2" y="89"/>
                </a:lnTo>
                <a:lnTo>
                  <a:pt x="1" y="89"/>
                </a:lnTo>
                <a:lnTo>
                  <a:pt x="0" y="91"/>
                </a:lnTo>
                <a:lnTo>
                  <a:pt x="0" y="94"/>
                </a:lnTo>
                <a:lnTo>
                  <a:pt x="0" y="94"/>
                </a:lnTo>
                <a:lnTo>
                  <a:pt x="0" y="95"/>
                </a:lnTo>
                <a:lnTo>
                  <a:pt x="0" y="97"/>
                </a:lnTo>
                <a:lnTo>
                  <a:pt x="1" y="99"/>
                </a:lnTo>
                <a:lnTo>
                  <a:pt x="1288" y="2537"/>
                </a:lnTo>
                <a:lnTo>
                  <a:pt x="2574" y="99"/>
                </a:lnTo>
                <a:lnTo>
                  <a:pt x="2574" y="98"/>
                </a:lnTo>
                <a:lnTo>
                  <a:pt x="2574" y="97"/>
                </a:lnTo>
                <a:lnTo>
                  <a:pt x="2574" y="94"/>
                </a:lnTo>
                <a:lnTo>
                  <a:pt x="2573" y="91"/>
                </a:lnTo>
                <a:close/>
              </a:path>
            </a:pathLst>
          </a:custGeom>
          <a:gradFill flip="none" rotWithShape="1">
            <a:gsLst>
              <a:gs pos="73000">
                <a:schemeClr val="accent1"/>
              </a:gs>
              <a:gs pos="31000">
                <a:schemeClr val="accent1">
                  <a:lumMod val="60000"/>
                  <a:lumOff val="40000"/>
                </a:schemeClr>
              </a:gs>
              <a:gs pos="0">
                <a:schemeClr val="accent1">
                  <a:lumMod val="40000"/>
                  <a:lumOff val="60000"/>
                </a:schemeClr>
              </a:gs>
            </a:gsLst>
            <a:lin ang="1080000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22222"/>
              </a:solidFill>
              <a:effectLst/>
              <a:uLnTx/>
              <a:uFillTx/>
              <a:latin typeface="Inter"/>
              <a:cs typeface="+mn-cs"/>
            </a:endParaRPr>
          </a:p>
        </p:txBody>
      </p:sp>
      <p:sp>
        <p:nvSpPr>
          <p:cNvPr id="16" name="Freeform 10">
            <a:extLst>
              <a:ext uri="{FF2B5EF4-FFF2-40B4-BE49-F238E27FC236}">
                <a16:creationId xmlns:a16="http://schemas.microsoft.com/office/drawing/2014/main" id="{EB583239-D816-4A49-8085-3E4078927FE8}"/>
              </a:ext>
            </a:extLst>
          </p:cNvPr>
          <p:cNvSpPr>
            <a:spLocks/>
          </p:cNvSpPr>
          <p:nvPr/>
        </p:nvSpPr>
        <p:spPr bwMode="auto">
          <a:xfrm flipV="1">
            <a:off x="5720497" y="2773571"/>
            <a:ext cx="749254" cy="56019"/>
          </a:xfrm>
          <a:custGeom>
            <a:avLst/>
            <a:gdLst>
              <a:gd name="T0" fmla="*/ 2572 w 2574"/>
              <a:gd name="T1" fmla="*/ 102 h 190"/>
              <a:gd name="T2" fmla="*/ 2556 w 2574"/>
              <a:gd name="T3" fmla="*/ 111 h 190"/>
              <a:gd name="T4" fmla="*/ 2527 w 2574"/>
              <a:gd name="T5" fmla="*/ 120 h 190"/>
              <a:gd name="T6" fmla="*/ 2488 w 2574"/>
              <a:gd name="T7" fmla="*/ 130 h 190"/>
              <a:gd name="T8" fmla="*/ 2408 w 2574"/>
              <a:gd name="T9" fmla="*/ 142 h 190"/>
              <a:gd name="T10" fmla="*/ 2266 w 2574"/>
              <a:gd name="T11" fmla="*/ 157 h 190"/>
              <a:gd name="T12" fmla="*/ 2088 w 2574"/>
              <a:gd name="T13" fmla="*/ 170 h 190"/>
              <a:gd name="T14" fmla="*/ 1881 w 2574"/>
              <a:gd name="T15" fmla="*/ 180 h 190"/>
              <a:gd name="T16" fmla="*/ 1648 w 2574"/>
              <a:gd name="T17" fmla="*/ 186 h 190"/>
              <a:gd name="T18" fmla="*/ 1397 w 2574"/>
              <a:gd name="T19" fmla="*/ 190 h 190"/>
              <a:gd name="T20" fmla="*/ 1133 w 2574"/>
              <a:gd name="T21" fmla="*/ 189 h 190"/>
              <a:gd name="T22" fmla="*/ 882 w 2574"/>
              <a:gd name="T23" fmla="*/ 185 h 190"/>
              <a:gd name="T24" fmla="*/ 654 w 2574"/>
              <a:gd name="T25" fmla="*/ 178 h 190"/>
              <a:gd name="T26" fmla="*/ 451 w 2574"/>
              <a:gd name="T27" fmla="*/ 168 h 190"/>
              <a:gd name="T28" fmla="*/ 279 w 2574"/>
              <a:gd name="T29" fmla="*/ 154 h 190"/>
              <a:gd name="T30" fmla="*/ 144 w 2574"/>
              <a:gd name="T31" fmla="*/ 139 h 190"/>
              <a:gd name="T32" fmla="*/ 70 w 2574"/>
              <a:gd name="T33" fmla="*/ 127 h 190"/>
              <a:gd name="T34" fmla="*/ 35 w 2574"/>
              <a:gd name="T35" fmla="*/ 117 h 190"/>
              <a:gd name="T36" fmla="*/ 11 w 2574"/>
              <a:gd name="T37" fmla="*/ 108 h 190"/>
              <a:gd name="T38" fmla="*/ 0 w 2574"/>
              <a:gd name="T39" fmla="*/ 99 h 190"/>
              <a:gd name="T40" fmla="*/ 2 w 2574"/>
              <a:gd name="T41" fmla="*/ 88 h 190"/>
              <a:gd name="T42" fmla="*/ 18 w 2574"/>
              <a:gd name="T43" fmla="*/ 79 h 190"/>
              <a:gd name="T44" fmla="*/ 47 w 2574"/>
              <a:gd name="T45" fmla="*/ 70 h 190"/>
              <a:gd name="T46" fmla="*/ 86 w 2574"/>
              <a:gd name="T47" fmla="*/ 61 h 190"/>
              <a:gd name="T48" fmla="*/ 166 w 2574"/>
              <a:gd name="T49" fmla="*/ 48 h 190"/>
              <a:gd name="T50" fmla="*/ 308 w 2574"/>
              <a:gd name="T51" fmla="*/ 33 h 190"/>
              <a:gd name="T52" fmla="*/ 486 w 2574"/>
              <a:gd name="T53" fmla="*/ 20 h 190"/>
              <a:gd name="T54" fmla="*/ 693 w 2574"/>
              <a:gd name="T55" fmla="*/ 10 h 190"/>
              <a:gd name="T56" fmla="*/ 926 w 2574"/>
              <a:gd name="T57" fmla="*/ 3 h 190"/>
              <a:gd name="T58" fmla="*/ 1177 w 2574"/>
              <a:gd name="T59" fmla="*/ 0 h 190"/>
              <a:gd name="T60" fmla="*/ 1441 w 2574"/>
              <a:gd name="T61" fmla="*/ 0 h 190"/>
              <a:gd name="T62" fmla="*/ 1692 w 2574"/>
              <a:gd name="T63" fmla="*/ 4 h 190"/>
              <a:gd name="T64" fmla="*/ 1920 w 2574"/>
              <a:gd name="T65" fmla="*/ 12 h 190"/>
              <a:gd name="T66" fmla="*/ 2123 w 2574"/>
              <a:gd name="T67" fmla="*/ 22 h 190"/>
              <a:gd name="T68" fmla="*/ 2295 w 2574"/>
              <a:gd name="T69" fmla="*/ 36 h 190"/>
              <a:gd name="T70" fmla="*/ 2430 w 2574"/>
              <a:gd name="T71" fmla="*/ 51 h 190"/>
              <a:gd name="T72" fmla="*/ 2504 w 2574"/>
              <a:gd name="T73" fmla="*/ 64 h 190"/>
              <a:gd name="T74" fmla="*/ 2539 w 2574"/>
              <a:gd name="T75" fmla="*/ 73 h 190"/>
              <a:gd name="T76" fmla="*/ 2563 w 2574"/>
              <a:gd name="T77" fmla="*/ 82 h 190"/>
              <a:gd name="T78" fmla="*/ 2574 w 2574"/>
              <a:gd name="T79" fmla="*/ 91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574" h="190">
                <a:moveTo>
                  <a:pt x="2574" y="97"/>
                </a:moveTo>
                <a:lnTo>
                  <a:pt x="2572" y="102"/>
                </a:lnTo>
                <a:lnTo>
                  <a:pt x="2566" y="107"/>
                </a:lnTo>
                <a:lnTo>
                  <a:pt x="2556" y="111"/>
                </a:lnTo>
                <a:lnTo>
                  <a:pt x="2544" y="116"/>
                </a:lnTo>
                <a:lnTo>
                  <a:pt x="2527" y="120"/>
                </a:lnTo>
                <a:lnTo>
                  <a:pt x="2510" y="125"/>
                </a:lnTo>
                <a:lnTo>
                  <a:pt x="2488" y="130"/>
                </a:lnTo>
                <a:lnTo>
                  <a:pt x="2465" y="134"/>
                </a:lnTo>
                <a:lnTo>
                  <a:pt x="2408" y="142"/>
                </a:lnTo>
                <a:lnTo>
                  <a:pt x="2342" y="150"/>
                </a:lnTo>
                <a:lnTo>
                  <a:pt x="2266" y="157"/>
                </a:lnTo>
                <a:lnTo>
                  <a:pt x="2181" y="164"/>
                </a:lnTo>
                <a:lnTo>
                  <a:pt x="2088" y="170"/>
                </a:lnTo>
                <a:lnTo>
                  <a:pt x="1988" y="175"/>
                </a:lnTo>
                <a:lnTo>
                  <a:pt x="1881" y="180"/>
                </a:lnTo>
                <a:lnTo>
                  <a:pt x="1768" y="183"/>
                </a:lnTo>
                <a:lnTo>
                  <a:pt x="1648" y="186"/>
                </a:lnTo>
                <a:lnTo>
                  <a:pt x="1525" y="189"/>
                </a:lnTo>
                <a:lnTo>
                  <a:pt x="1397" y="190"/>
                </a:lnTo>
                <a:lnTo>
                  <a:pt x="1265" y="190"/>
                </a:lnTo>
                <a:lnTo>
                  <a:pt x="1133" y="189"/>
                </a:lnTo>
                <a:lnTo>
                  <a:pt x="1006" y="188"/>
                </a:lnTo>
                <a:lnTo>
                  <a:pt x="882" y="185"/>
                </a:lnTo>
                <a:lnTo>
                  <a:pt x="765" y="182"/>
                </a:lnTo>
                <a:lnTo>
                  <a:pt x="654" y="178"/>
                </a:lnTo>
                <a:lnTo>
                  <a:pt x="548" y="173"/>
                </a:lnTo>
                <a:lnTo>
                  <a:pt x="451" y="168"/>
                </a:lnTo>
                <a:lnTo>
                  <a:pt x="361" y="162"/>
                </a:lnTo>
                <a:lnTo>
                  <a:pt x="279" y="154"/>
                </a:lnTo>
                <a:lnTo>
                  <a:pt x="207" y="147"/>
                </a:lnTo>
                <a:lnTo>
                  <a:pt x="144" y="139"/>
                </a:lnTo>
                <a:lnTo>
                  <a:pt x="92" y="131"/>
                </a:lnTo>
                <a:lnTo>
                  <a:pt x="70" y="127"/>
                </a:lnTo>
                <a:lnTo>
                  <a:pt x="51" y="121"/>
                </a:lnTo>
                <a:lnTo>
                  <a:pt x="35" y="117"/>
                </a:lnTo>
                <a:lnTo>
                  <a:pt x="22" y="113"/>
                </a:lnTo>
                <a:lnTo>
                  <a:pt x="11" y="108"/>
                </a:lnTo>
                <a:lnTo>
                  <a:pt x="4" y="103"/>
                </a:lnTo>
                <a:lnTo>
                  <a:pt x="0" y="99"/>
                </a:lnTo>
                <a:lnTo>
                  <a:pt x="0" y="94"/>
                </a:lnTo>
                <a:lnTo>
                  <a:pt x="2" y="88"/>
                </a:lnTo>
                <a:lnTo>
                  <a:pt x="8" y="83"/>
                </a:lnTo>
                <a:lnTo>
                  <a:pt x="18" y="79"/>
                </a:lnTo>
                <a:lnTo>
                  <a:pt x="30" y="74"/>
                </a:lnTo>
                <a:lnTo>
                  <a:pt x="47" y="70"/>
                </a:lnTo>
                <a:lnTo>
                  <a:pt x="64" y="65"/>
                </a:lnTo>
                <a:lnTo>
                  <a:pt x="86" y="61"/>
                </a:lnTo>
                <a:lnTo>
                  <a:pt x="109" y="56"/>
                </a:lnTo>
                <a:lnTo>
                  <a:pt x="166" y="48"/>
                </a:lnTo>
                <a:lnTo>
                  <a:pt x="232" y="40"/>
                </a:lnTo>
                <a:lnTo>
                  <a:pt x="308" y="33"/>
                </a:lnTo>
                <a:lnTo>
                  <a:pt x="393" y="27"/>
                </a:lnTo>
                <a:lnTo>
                  <a:pt x="486" y="20"/>
                </a:lnTo>
                <a:lnTo>
                  <a:pt x="586" y="15"/>
                </a:lnTo>
                <a:lnTo>
                  <a:pt x="693" y="10"/>
                </a:lnTo>
                <a:lnTo>
                  <a:pt x="806" y="6"/>
                </a:lnTo>
                <a:lnTo>
                  <a:pt x="926" y="3"/>
                </a:lnTo>
                <a:lnTo>
                  <a:pt x="1049" y="1"/>
                </a:lnTo>
                <a:lnTo>
                  <a:pt x="1177" y="0"/>
                </a:lnTo>
                <a:lnTo>
                  <a:pt x="1309" y="0"/>
                </a:lnTo>
                <a:lnTo>
                  <a:pt x="1441" y="0"/>
                </a:lnTo>
                <a:lnTo>
                  <a:pt x="1568" y="2"/>
                </a:lnTo>
                <a:lnTo>
                  <a:pt x="1692" y="4"/>
                </a:lnTo>
                <a:lnTo>
                  <a:pt x="1809" y="8"/>
                </a:lnTo>
                <a:lnTo>
                  <a:pt x="1920" y="12"/>
                </a:lnTo>
                <a:lnTo>
                  <a:pt x="2026" y="17"/>
                </a:lnTo>
                <a:lnTo>
                  <a:pt x="2123" y="22"/>
                </a:lnTo>
                <a:lnTo>
                  <a:pt x="2213" y="29"/>
                </a:lnTo>
                <a:lnTo>
                  <a:pt x="2295" y="36"/>
                </a:lnTo>
                <a:lnTo>
                  <a:pt x="2367" y="43"/>
                </a:lnTo>
                <a:lnTo>
                  <a:pt x="2430" y="51"/>
                </a:lnTo>
                <a:lnTo>
                  <a:pt x="2482" y="60"/>
                </a:lnTo>
                <a:lnTo>
                  <a:pt x="2504" y="64"/>
                </a:lnTo>
                <a:lnTo>
                  <a:pt x="2523" y="68"/>
                </a:lnTo>
                <a:lnTo>
                  <a:pt x="2539" y="73"/>
                </a:lnTo>
                <a:lnTo>
                  <a:pt x="2552" y="77"/>
                </a:lnTo>
                <a:lnTo>
                  <a:pt x="2563" y="82"/>
                </a:lnTo>
                <a:lnTo>
                  <a:pt x="2570" y="87"/>
                </a:lnTo>
                <a:lnTo>
                  <a:pt x="2574" y="91"/>
                </a:lnTo>
                <a:lnTo>
                  <a:pt x="2574" y="97"/>
                </a:lnTo>
                <a:close/>
              </a:path>
            </a:pathLst>
          </a:custGeom>
          <a:gradFill>
            <a:gsLst>
              <a:gs pos="0">
                <a:schemeClr val="accent1">
                  <a:lumMod val="40000"/>
                  <a:lumOff val="60000"/>
                </a:schemeClr>
              </a:gs>
              <a:gs pos="100000">
                <a:schemeClr val="accent1"/>
              </a:gs>
            </a:gsLst>
            <a:path path="circle">
              <a:fillToRect r="100000" b="100000"/>
            </a:path>
          </a:gradFill>
          <a:ln w="1270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armonyOS Sans SC"/>
              <a:cs typeface="+mn-cs"/>
            </a:endParaRPr>
          </a:p>
        </p:txBody>
      </p:sp>
      <p:sp>
        <p:nvSpPr>
          <p:cNvPr id="17" name="Rectangle 66">
            <a:extLst>
              <a:ext uri="{FF2B5EF4-FFF2-40B4-BE49-F238E27FC236}">
                <a16:creationId xmlns:a16="http://schemas.microsoft.com/office/drawing/2014/main" id="{B5B18236-5C96-40E6-8720-DA65DB6AA071}"/>
              </a:ext>
            </a:extLst>
          </p:cNvPr>
          <p:cNvSpPr/>
          <p:nvPr/>
        </p:nvSpPr>
        <p:spPr>
          <a:xfrm>
            <a:off x="5643972" y="2221260"/>
            <a:ext cx="902305" cy="576973"/>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prstClr val="white"/>
                </a:solidFill>
                <a:effectLst/>
                <a:uLnTx/>
                <a:uFillTx/>
                <a:latin typeface="HarmonyOS Sans SC"/>
                <a:cs typeface="Segoe UI Light" panose="020B0502040204020203" pitchFamily="34" charset="0"/>
              </a:rPr>
              <a:t>1</a:t>
            </a:r>
          </a:p>
        </p:txBody>
      </p:sp>
      <p:sp>
        <p:nvSpPr>
          <p:cNvPr id="18" name="Rectangle 67">
            <a:extLst>
              <a:ext uri="{FF2B5EF4-FFF2-40B4-BE49-F238E27FC236}">
                <a16:creationId xmlns:a16="http://schemas.microsoft.com/office/drawing/2014/main" id="{4DAB7EDB-AC7E-4F62-A9FE-77C64E6A54EE}"/>
              </a:ext>
            </a:extLst>
          </p:cNvPr>
          <p:cNvSpPr/>
          <p:nvPr/>
        </p:nvSpPr>
        <p:spPr>
          <a:xfrm>
            <a:off x="5639135" y="3198292"/>
            <a:ext cx="902305" cy="576973"/>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a:ln>
                  <a:noFill/>
                </a:ln>
                <a:solidFill>
                  <a:prstClr val="white"/>
                </a:solidFill>
                <a:effectLst/>
                <a:uLnTx/>
                <a:uFillTx/>
                <a:latin typeface="HarmonyOS Sans SC"/>
                <a:cs typeface="Segoe UI Light" panose="020B0502040204020203" pitchFamily="34" charset="0"/>
              </a:rPr>
              <a:t>2</a:t>
            </a:r>
            <a:endParaRPr kumimoji="0" lang="en-US" sz="2800" b="0" i="0" u="none" strike="noStrike" kern="1200" cap="none" spc="0" normalizeH="0" baseline="0" noProof="0" dirty="0">
              <a:ln>
                <a:noFill/>
              </a:ln>
              <a:solidFill>
                <a:prstClr val="white"/>
              </a:solidFill>
              <a:effectLst/>
              <a:uLnTx/>
              <a:uFillTx/>
              <a:latin typeface="HarmonyOS Sans SC"/>
              <a:cs typeface="Segoe UI Light" panose="020B0502040204020203" pitchFamily="34" charset="0"/>
            </a:endParaRPr>
          </a:p>
        </p:txBody>
      </p:sp>
      <p:sp>
        <p:nvSpPr>
          <p:cNvPr id="19" name="Rectangle 68">
            <a:extLst>
              <a:ext uri="{FF2B5EF4-FFF2-40B4-BE49-F238E27FC236}">
                <a16:creationId xmlns:a16="http://schemas.microsoft.com/office/drawing/2014/main" id="{B048B7EB-1661-410B-9E72-271A076E9B1A}"/>
              </a:ext>
            </a:extLst>
          </p:cNvPr>
          <p:cNvSpPr/>
          <p:nvPr/>
        </p:nvSpPr>
        <p:spPr>
          <a:xfrm>
            <a:off x="5639135" y="4188197"/>
            <a:ext cx="902305" cy="576973"/>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prstClr val="white"/>
                </a:solidFill>
                <a:effectLst/>
                <a:uLnTx/>
                <a:uFillTx/>
                <a:latin typeface="HarmonyOS Sans SC"/>
                <a:cs typeface="Segoe UI Light" panose="020B0502040204020203" pitchFamily="34" charset="0"/>
              </a:rPr>
              <a:t>3</a:t>
            </a:r>
          </a:p>
        </p:txBody>
      </p:sp>
      <p:sp>
        <p:nvSpPr>
          <p:cNvPr id="20" name="Rectangle 69">
            <a:extLst>
              <a:ext uri="{FF2B5EF4-FFF2-40B4-BE49-F238E27FC236}">
                <a16:creationId xmlns:a16="http://schemas.microsoft.com/office/drawing/2014/main" id="{DE8A8B66-F7DE-407A-B69D-C7ABBBE51E6A}"/>
              </a:ext>
            </a:extLst>
          </p:cNvPr>
          <p:cNvSpPr/>
          <p:nvPr/>
        </p:nvSpPr>
        <p:spPr>
          <a:xfrm>
            <a:off x="5639135" y="5184849"/>
            <a:ext cx="902305" cy="576973"/>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prstClr val="white"/>
                </a:solidFill>
                <a:effectLst/>
                <a:uLnTx/>
                <a:uFillTx/>
                <a:latin typeface="HarmonyOS Sans SC"/>
                <a:cs typeface="Segoe UI Light" panose="020B0502040204020203" pitchFamily="34" charset="0"/>
              </a:rPr>
              <a:t>4</a:t>
            </a:r>
          </a:p>
        </p:txBody>
      </p:sp>
      <p:sp>
        <p:nvSpPr>
          <p:cNvPr id="21" name="TextBox 77">
            <a:extLst>
              <a:ext uri="{FF2B5EF4-FFF2-40B4-BE49-F238E27FC236}">
                <a16:creationId xmlns:a16="http://schemas.microsoft.com/office/drawing/2014/main" id="{3DEE7319-91C8-4510-ADCE-148CEF23396B}"/>
              </a:ext>
            </a:extLst>
          </p:cNvPr>
          <p:cNvSpPr txBox="1"/>
          <p:nvPr/>
        </p:nvSpPr>
        <p:spPr>
          <a:xfrm>
            <a:off x="961647" y="2868814"/>
            <a:ext cx="1749197"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chemeClr val="accent1"/>
                </a:solidFill>
                <a:effectLst/>
                <a:uLnTx/>
                <a:uFillTx/>
                <a:latin typeface="HarmonyOS Sans SC Black"/>
                <a:ea typeface="+mj-ea"/>
                <a:cs typeface="+mn-cs"/>
              </a:rPr>
              <a:t>Insert title here</a:t>
            </a:r>
          </a:p>
        </p:txBody>
      </p:sp>
      <p:sp>
        <p:nvSpPr>
          <p:cNvPr id="22" name="TextBox 78">
            <a:extLst>
              <a:ext uri="{FF2B5EF4-FFF2-40B4-BE49-F238E27FC236}">
                <a16:creationId xmlns:a16="http://schemas.microsoft.com/office/drawing/2014/main" id="{30BD367B-5608-4E69-8B83-48FBAB36DDBC}"/>
              </a:ext>
            </a:extLst>
          </p:cNvPr>
          <p:cNvSpPr txBox="1"/>
          <p:nvPr/>
        </p:nvSpPr>
        <p:spPr>
          <a:xfrm>
            <a:off x="961647" y="3230262"/>
            <a:ext cx="2437072" cy="498598"/>
          </a:xfrm>
          <a:prstGeom prst="rect">
            <a:avLst/>
          </a:prstGeom>
          <a:noFill/>
        </p:spPr>
        <p:txBody>
          <a:bodyPr wrap="square" rtlCol="0">
            <a:sp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50000"/>
                    <a:lumOff val="50000"/>
                  </a:prstClr>
                </a:solidFill>
                <a:effectLst/>
                <a:uLnTx/>
                <a:uFillTx/>
                <a:latin typeface="HarmonyOS Sans SC"/>
                <a:cs typeface="+mn-cs"/>
              </a:rPr>
              <a:t>Sed perspiciatis unde omnis iste natus error voluptatem rem.</a:t>
            </a:r>
          </a:p>
        </p:txBody>
      </p:sp>
      <p:sp>
        <p:nvSpPr>
          <p:cNvPr id="23" name="TextBox 79">
            <a:extLst>
              <a:ext uri="{FF2B5EF4-FFF2-40B4-BE49-F238E27FC236}">
                <a16:creationId xmlns:a16="http://schemas.microsoft.com/office/drawing/2014/main" id="{28692D03-B222-4337-8D8C-840B7C71843B}"/>
              </a:ext>
            </a:extLst>
          </p:cNvPr>
          <p:cNvSpPr txBox="1"/>
          <p:nvPr/>
        </p:nvSpPr>
        <p:spPr>
          <a:xfrm>
            <a:off x="961647" y="2143923"/>
            <a:ext cx="813043" cy="70788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dirty="0">
                <a:ln>
                  <a:noFill/>
                </a:ln>
                <a:solidFill>
                  <a:schemeClr val="accent1"/>
                </a:solidFill>
                <a:effectLst/>
                <a:uLnTx/>
                <a:uFillTx/>
                <a:latin typeface="HarmonyOS Sans SC Black"/>
                <a:ea typeface="+mj-ea"/>
                <a:cs typeface="+mn-cs"/>
              </a:rPr>
              <a:t>01</a:t>
            </a:r>
          </a:p>
        </p:txBody>
      </p:sp>
      <p:sp>
        <p:nvSpPr>
          <p:cNvPr id="24" name="TextBox 80">
            <a:extLst>
              <a:ext uri="{FF2B5EF4-FFF2-40B4-BE49-F238E27FC236}">
                <a16:creationId xmlns:a16="http://schemas.microsoft.com/office/drawing/2014/main" id="{520A707D-7D4E-477E-B136-C08853448F46}"/>
              </a:ext>
            </a:extLst>
          </p:cNvPr>
          <p:cNvSpPr txBox="1"/>
          <p:nvPr/>
        </p:nvSpPr>
        <p:spPr>
          <a:xfrm>
            <a:off x="961647" y="5180716"/>
            <a:ext cx="1749197"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chemeClr val="accent1"/>
                </a:solidFill>
                <a:effectLst/>
                <a:uLnTx/>
                <a:uFillTx/>
                <a:latin typeface="HarmonyOS Sans SC Black"/>
                <a:ea typeface="+mj-ea"/>
                <a:cs typeface="+mn-cs"/>
              </a:rPr>
              <a:t>Insert title here</a:t>
            </a:r>
          </a:p>
        </p:txBody>
      </p:sp>
      <p:sp>
        <p:nvSpPr>
          <p:cNvPr id="25" name="TextBox 81">
            <a:extLst>
              <a:ext uri="{FF2B5EF4-FFF2-40B4-BE49-F238E27FC236}">
                <a16:creationId xmlns:a16="http://schemas.microsoft.com/office/drawing/2014/main" id="{09D5B511-DC85-407F-ACF9-92C8525917EB}"/>
              </a:ext>
            </a:extLst>
          </p:cNvPr>
          <p:cNvSpPr txBox="1"/>
          <p:nvPr/>
        </p:nvSpPr>
        <p:spPr>
          <a:xfrm>
            <a:off x="961647" y="5542164"/>
            <a:ext cx="2437072" cy="498598"/>
          </a:xfrm>
          <a:prstGeom prst="rect">
            <a:avLst/>
          </a:prstGeom>
          <a:noFill/>
        </p:spPr>
        <p:txBody>
          <a:bodyPr wrap="square" rtlCol="0">
            <a:sp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50000"/>
                    <a:lumOff val="50000"/>
                  </a:prstClr>
                </a:solidFill>
                <a:effectLst/>
                <a:uLnTx/>
                <a:uFillTx/>
                <a:latin typeface="HarmonyOS Sans SC"/>
                <a:cs typeface="+mn-cs"/>
              </a:rPr>
              <a:t>Sed perspiciatis unde omnis iste natus error voluptatem rem.</a:t>
            </a:r>
          </a:p>
        </p:txBody>
      </p:sp>
      <p:sp>
        <p:nvSpPr>
          <p:cNvPr id="26" name="TextBox 82">
            <a:extLst>
              <a:ext uri="{FF2B5EF4-FFF2-40B4-BE49-F238E27FC236}">
                <a16:creationId xmlns:a16="http://schemas.microsoft.com/office/drawing/2014/main" id="{F39590A5-FB0D-4084-9CAA-18CA71BB9B87}"/>
              </a:ext>
            </a:extLst>
          </p:cNvPr>
          <p:cNvSpPr txBox="1"/>
          <p:nvPr/>
        </p:nvSpPr>
        <p:spPr>
          <a:xfrm>
            <a:off x="961647" y="4455825"/>
            <a:ext cx="813043" cy="70788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dirty="0">
                <a:ln>
                  <a:noFill/>
                </a:ln>
                <a:solidFill>
                  <a:schemeClr val="accent1"/>
                </a:solidFill>
                <a:effectLst/>
                <a:uLnTx/>
                <a:uFillTx/>
                <a:latin typeface="HarmonyOS Sans SC Black"/>
                <a:ea typeface="+mj-ea"/>
                <a:cs typeface="+mn-cs"/>
              </a:rPr>
              <a:t>02</a:t>
            </a:r>
          </a:p>
        </p:txBody>
      </p:sp>
      <p:sp>
        <p:nvSpPr>
          <p:cNvPr id="27" name="TextBox 83">
            <a:extLst>
              <a:ext uri="{FF2B5EF4-FFF2-40B4-BE49-F238E27FC236}">
                <a16:creationId xmlns:a16="http://schemas.microsoft.com/office/drawing/2014/main" id="{892E2718-BB06-486F-9EA4-795062368A8E}"/>
              </a:ext>
            </a:extLst>
          </p:cNvPr>
          <p:cNvSpPr txBox="1"/>
          <p:nvPr/>
        </p:nvSpPr>
        <p:spPr>
          <a:xfrm>
            <a:off x="9492513" y="2868814"/>
            <a:ext cx="1749197" cy="338554"/>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chemeClr val="accent1"/>
                </a:solidFill>
                <a:effectLst/>
                <a:uLnTx/>
                <a:uFillTx/>
                <a:latin typeface="HarmonyOS Sans SC Black"/>
                <a:ea typeface="+mj-ea"/>
                <a:cs typeface="+mn-cs"/>
              </a:rPr>
              <a:t>Insert title here</a:t>
            </a:r>
          </a:p>
        </p:txBody>
      </p:sp>
      <p:sp>
        <p:nvSpPr>
          <p:cNvPr id="28" name="TextBox 84">
            <a:extLst>
              <a:ext uri="{FF2B5EF4-FFF2-40B4-BE49-F238E27FC236}">
                <a16:creationId xmlns:a16="http://schemas.microsoft.com/office/drawing/2014/main" id="{772A3E89-7E58-40F3-B709-8F9A02387402}"/>
              </a:ext>
            </a:extLst>
          </p:cNvPr>
          <p:cNvSpPr txBox="1"/>
          <p:nvPr/>
        </p:nvSpPr>
        <p:spPr>
          <a:xfrm>
            <a:off x="8807159" y="3230262"/>
            <a:ext cx="2434551" cy="498598"/>
          </a:xfrm>
          <a:prstGeom prst="rect">
            <a:avLst/>
          </a:prstGeom>
          <a:noFill/>
        </p:spPr>
        <p:txBody>
          <a:bodyPr wrap="square" rtlCol="0">
            <a:spAutoFit/>
          </a:bodyPr>
          <a:lstStyle/>
          <a:p>
            <a:pPr marL="0" marR="0" lvl="0" indent="0" algn="r" defTabSz="914400" rtl="0" eaLnBrk="1" fontAlgn="auto" latinLnBrk="0" hangingPunct="1">
              <a:lnSpc>
                <a:spcPct val="11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50000"/>
                    <a:lumOff val="50000"/>
                  </a:prstClr>
                </a:solidFill>
                <a:effectLst/>
                <a:uLnTx/>
                <a:uFillTx/>
                <a:latin typeface="HarmonyOS Sans SC"/>
                <a:cs typeface="+mn-cs"/>
              </a:rPr>
              <a:t>Sed perspiciatis unde omnis iste natus error voluptatem rem.</a:t>
            </a:r>
          </a:p>
        </p:txBody>
      </p:sp>
      <p:sp>
        <p:nvSpPr>
          <p:cNvPr id="29" name="TextBox 85">
            <a:extLst>
              <a:ext uri="{FF2B5EF4-FFF2-40B4-BE49-F238E27FC236}">
                <a16:creationId xmlns:a16="http://schemas.microsoft.com/office/drawing/2014/main" id="{760A7BC0-3353-45A8-A659-236521BDA404}"/>
              </a:ext>
            </a:extLst>
          </p:cNvPr>
          <p:cNvSpPr txBox="1"/>
          <p:nvPr/>
        </p:nvSpPr>
        <p:spPr>
          <a:xfrm>
            <a:off x="10428667" y="2143923"/>
            <a:ext cx="813043" cy="707886"/>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dirty="0">
                <a:ln>
                  <a:noFill/>
                </a:ln>
                <a:solidFill>
                  <a:schemeClr val="accent1"/>
                </a:solidFill>
                <a:effectLst/>
                <a:uLnTx/>
                <a:uFillTx/>
                <a:latin typeface="HarmonyOS Sans SC Black"/>
                <a:ea typeface="+mj-ea"/>
                <a:cs typeface="+mn-cs"/>
              </a:rPr>
              <a:t>03</a:t>
            </a:r>
          </a:p>
        </p:txBody>
      </p:sp>
      <p:sp>
        <p:nvSpPr>
          <p:cNvPr id="30" name="TextBox 86">
            <a:extLst>
              <a:ext uri="{FF2B5EF4-FFF2-40B4-BE49-F238E27FC236}">
                <a16:creationId xmlns:a16="http://schemas.microsoft.com/office/drawing/2014/main" id="{A86A0686-F1B3-4C85-81A5-5A22197F2F04}"/>
              </a:ext>
            </a:extLst>
          </p:cNvPr>
          <p:cNvSpPr txBox="1"/>
          <p:nvPr/>
        </p:nvSpPr>
        <p:spPr>
          <a:xfrm>
            <a:off x="9492513" y="5180716"/>
            <a:ext cx="1749197" cy="338554"/>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chemeClr val="accent1"/>
                </a:solidFill>
                <a:effectLst/>
                <a:uLnTx/>
                <a:uFillTx/>
                <a:latin typeface="HarmonyOS Sans SC Black"/>
                <a:ea typeface="+mj-ea"/>
                <a:cs typeface="+mn-cs"/>
              </a:rPr>
              <a:t>Insert title here</a:t>
            </a:r>
          </a:p>
        </p:txBody>
      </p:sp>
      <p:sp>
        <p:nvSpPr>
          <p:cNvPr id="31" name="TextBox 87">
            <a:extLst>
              <a:ext uri="{FF2B5EF4-FFF2-40B4-BE49-F238E27FC236}">
                <a16:creationId xmlns:a16="http://schemas.microsoft.com/office/drawing/2014/main" id="{6B9777B9-C77A-48E8-AF87-475E12B57A26}"/>
              </a:ext>
            </a:extLst>
          </p:cNvPr>
          <p:cNvSpPr txBox="1"/>
          <p:nvPr/>
        </p:nvSpPr>
        <p:spPr>
          <a:xfrm>
            <a:off x="8807159" y="5542164"/>
            <a:ext cx="2434551" cy="498598"/>
          </a:xfrm>
          <a:prstGeom prst="rect">
            <a:avLst/>
          </a:prstGeom>
          <a:noFill/>
        </p:spPr>
        <p:txBody>
          <a:bodyPr wrap="square" rtlCol="0">
            <a:spAutoFit/>
          </a:bodyPr>
          <a:lstStyle/>
          <a:p>
            <a:pPr marL="0" marR="0" lvl="0" indent="0" algn="r" defTabSz="914400" rtl="0" eaLnBrk="1" fontAlgn="auto" latinLnBrk="0" hangingPunct="1">
              <a:lnSpc>
                <a:spcPct val="11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50000"/>
                    <a:lumOff val="50000"/>
                  </a:prstClr>
                </a:solidFill>
                <a:effectLst/>
                <a:uLnTx/>
                <a:uFillTx/>
                <a:latin typeface="HarmonyOS Sans SC"/>
                <a:cs typeface="+mn-cs"/>
              </a:rPr>
              <a:t>Sed perspiciatis unde omnis iste natus error voluptatem rem.</a:t>
            </a:r>
          </a:p>
        </p:txBody>
      </p:sp>
      <p:sp>
        <p:nvSpPr>
          <p:cNvPr id="32" name="TextBox 88">
            <a:extLst>
              <a:ext uri="{FF2B5EF4-FFF2-40B4-BE49-F238E27FC236}">
                <a16:creationId xmlns:a16="http://schemas.microsoft.com/office/drawing/2014/main" id="{CF0BC45E-E873-483E-9FC5-DD9B075C1E92}"/>
              </a:ext>
            </a:extLst>
          </p:cNvPr>
          <p:cNvSpPr txBox="1"/>
          <p:nvPr/>
        </p:nvSpPr>
        <p:spPr>
          <a:xfrm>
            <a:off x="10428667" y="4455825"/>
            <a:ext cx="813043" cy="707886"/>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dirty="0">
                <a:ln>
                  <a:noFill/>
                </a:ln>
                <a:solidFill>
                  <a:schemeClr val="accent1"/>
                </a:solidFill>
                <a:effectLst/>
                <a:uLnTx/>
                <a:uFillTx/>
                <a:latin typeface="HarmonyOS Sans SC Black"/>
                <a:ea typeface="+mj-ea"/>
                <a:cs typeface="+mn-cs"/>
              </a:rPr>
              <a:t>04</a:t>
            </a:r>
          </a:p>
        </p:txBody>
      </p:sp>
    </p:spTree>
    <p:extLst>
      <p:ext uri="{BB962C8B-B14F-4D97-AF65-F5344CB8AC3E}">
        <p14:creationId xmlns:p14="http://schemas.microsoft.com/office/powerpoint/2010/main" val="2279022690"/>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5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reeform 66">
            <a:extLst>
              <a:ext uri="{FF2B5EF4-FFF2-40B4-BE49-F238E27FC236}">
                <a16:creationId xmlns:a16="http://schemas.microsoft.com/office/drawing/2014/main" id="{D9B8F583-2437-491B-AC4D-4806437E356B}"/>
              </a:ext>
            </a:extLst>
          </p:cNvPr>
          <p:cNvSpPr>
            <a:spLocks/>
          </p:cNvSpPr>
          <p:nvPr/>
        </p:nvSpPr>
        <p:spPr bwMode="auto">
          <a:xfrm>
            <a:off x="6096000" y="4494011"/>
            <a:ext cx="2392187" cy="2124804"/>
          </a:xfrm>
          <a:custGeom>
            <a:avLst/>
            <a:gdLst>
              <a:gd name="T0" fmla="*/ 256 w 1197"/>
              <a:gd name="T1" fmla="*/ 0 h 1155"/>
              <a:gd name="T2" fmla="*/ 0 w 1197"/>
              <a:gd name="T3" fmla="*/ 353 h 1155"/>
              <a:gd name="T4" fmla="*/ 1197 w 1197"/>
              <a:gd name="T5" fmla="*/ 1155 h 1155"/>
              <a:gd name="T6" fmla="*/ 1197 w 1197"/>
              <a:gd name="T7" fmla="*/ 633 h 1155"/>
              <a:gd name="T8" fmla="*/ 256 w 1197"/>
              <a:gd name="T9" fmla="*/ 0 h 1155"/>
            </a:gdLst>
            <a:ahLst/>
            <a:cxnLst>
              <a:cxn ang="0">
                <a:pos x="T0" y="T1"/>
              </a:cxn>
              <a:cxn ang="0">
                <a:pos x="T2" y="T3"/>
              </a:cxn>
              <a:cxn ang="0">
                <a:pos x="T4" y="T5"/>
              </a:cxn>
              <a:cxn ang="0">
                <a:pos x="T6" y="T7"/>
              </a:cxn>
              <a:cxn ang="0">
                <a:pos x="T8" y="T9"/>
              </a:cxn>
            </a:cxnLst>
            <a:rect l="0" t="0" r="r" b="b"/>
            <a:pathLst>
              <a:path w="1197" h="1155">
                <a:moveTo>
                  <a:pt x="256" y="0"/>
                </a:moveTo>
                <a:lnTo>
                  <a:pt x="0" y="353"/>
                </a:lnTo>
                <a:lnTo>
                  <a:pt x="1197" y="1155"/>
                </a:lnTo>
                <a:lnTo>
                  <a:pt x="1197" y="633"/>
                </a:lnTo>
                <a:lnTo>
                  <a:pt x="256" y="0"/>
                </a:lnTo>
                <a:close/>
              </a:path>
            </a:pathLst>
          </a:custGeom>
          <a:gradFill>
            <a:gsLst>
              <a:gs pos="0">
                <a:schemeClr val="accent1">
                  <a:lumMod val="60000"/>
                  <a:lumOff val="40000"/>
                </a:schemeClr>
              </a:gs>
              <a:gs pos="34000">
                <a:schemeClr val="accent1"/>
              </a:gs>
              <a:gs pos="100000">
                <a:schemeClr val="accent1">
                  <a:lumMod val="81000"/>
                </a:schemeClr>
              </a:gs>
            </a:gsLst>
            <a:lin ang="5400000" scaled="1"/>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351"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 name="Freeform 68">
            <a:extLst>
              <a:ext uri="{FF2B5EF4-FFF2-40B4-BE49-F238E27FC236}">
                <a16:creationId xmlns:a16="http://schemas.microsoft.com/office/drawing/2014/main" id="{A9660708-13AF-401E-8442-38E7BAE11556}"/>
              </a:ext>
            </a:extLst>
          </p:cNvPr>
          <p:cNvSpPr>
            <a:spLocks/>
          </p:cNvSpPr>
          <p:nvPr/>
        </p:nvSpPr>
        <p:spPr bwMode="auto">
          <a:xfrm>
            <a:off x="6723525" y="3870368"/>
            <a:ext cx="1752672" cy="1560028"/>
          </a:xfrm>
          <a:custGeom>
            <a:avLst/>
            <a:gdLst>
              <a:gd name="T0" fmla="*/ 191 w 877"/>
              <a:gd name="T1" fmla="*/ 0 h 848"/>
              <a:gd name="T2" fmla="*/ 0 w 877"/>
              <a:gd name="T3" fmla="*/ 261 h 848"/>
              <a:gd name="T4" fmla="*/ 877 w 877"/>
              <a:gd name="T5" fmla="*/ 848 h 848"/>
              <a:gd name="T6" fmla="*/ 877 w 877"/>
              <a:gd name="T7" fmla="*/ 458 h 848"/>
              <a:gd name="T8" fmla="*/ 191 w 877"/>
              <a:gd name="T9" fmla="*/ 0 h 848"/>
            </a:gdLst>
            <a:ahLst/>
            <a:cxnLst>
              <a:cxn ang="0">
                <a:pos x="T0" y="T1"/>
              </a:cxn>
              <a:cxn ang="0">
                <a:pos x="T2" y="T3"/>
              </a:cxn>
              <a:cxn ang="0">
                <a:pos x="T4" y="T5"/>
              </a:cxn>
              <a:cxn ang="0">
                <a:pos x="T6" y="T7"/>
              </a:cxn>
              <a:cxn ang="0">
                <a:pos x="T8" y="T9"/>
              </a:cxn>
            </a:cxnLst>
            <a:rect l="0" t="0" r="r" b="b"/>
            <a:pathLst>
              <a:path w="877" h="848">
                <a:moveTo>
                  <a:pt x="191" y="0"/>
                </a:moveTo>
                <a:lnTo>
                  <a:pt x="0" y="261"/>
                </a:lnTo>
                <a:lnTo>
                  <a:pt x="877" y="848"/>
                </a:lnTo>
                <a:lnTo>
                  <a:pt x="877" y="458"/>
                </a:lnTo>
                <a:lnTo>
                  <a:pt x="191" y="0"/>
                </a:lnTo>
                <a:close/>
              </a:path>
            </a:pathLst>
          </a:custGeom>
          <a:gradFill>
            <a:gsLst>
              <a:gs pos="0">
                <a:schemeClr val="accent1">
                  <a:lumMod val="40000"/>
                  <a:lumOff val="60000"/>
                </a:schemeClr>
              </a:gs>
              <a:gs pos="71000">
                <a:schemeClr val="accent1"/>
              </a:gs>
            </a:gsLst>
            <a:lin ang="5400000" scaled="1"/>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351"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reeform 70">
            <a:extLst>
              <a:ext uri="{FF2B5EF4-FFF2-40B4-BE49-F238E27FC236}">
                <a16:creationId xmlns:a16="http://schemas.microsoft.com/office/drawing/2014/main" id="{2BB0F1AA-5331-4F84-9201-4E70A72AE5BA}"/>
              </a:ext>
            </a:extLst>
          </p:cNvPr>
          <p:cNvSpPr>
            <a:spLocks/>
          </p:cNvSpPr>
          <p:nvPr/>
        </p:nvSpPr>
        <p:spPr bwMode="auto">
          <a:xfrm>
            <a:off x="7225143" y="3226488"/>
            <a:ext cx="1257049" cy="1271202"/>
          </a:xfrm>
          <a:custGeom>
            <a:avLst/>
            <a:gdLst>
              <a:gd name="T0" fmla="*/ 629 w 629"/>
              <a:gd name="T1" fmla="*/ 290 h 691"/>
              <a:gd name="T2" fmla="*/ 195 w 629"/>
              <a:gd name="T3" fmla="*/ 0 h 691"/>
              <a:gd name="T4" fmla="*/ 0 w 629"/>
              <a:gd name="T5" fmla="*/ 272 h 691"/>
              <a:gd name="T6" fmla="*/ 629 w 629"/>
              <a:gd name="T7" fmla="*/ 691 h 691"/>
              <a:gd name="T8" fmla="*/ 629 w 629"/>
              <a:gd name="T9" fmla="*/ 295 h 691"/>
              <a:gd name="T10" fmla="*/ 629 w 629"/>
              <a:gd name="T11" fmla="*/ 290 h 691"/>
            </a:gdLst>
            <a:ahLst/>
            <a:cxnLst>
              <a:cxn ang="0">
                <a:pos x="T0" y="T1"/>
              </a:cxn>
              <a:cxn ang="0">
                <a:pos x="T2" y="T3"/>
              </a:cxn>
              <a:cxn ang="0">
                <a:pos x="T4" y="T5"/>
              </a:cxn>
              <a:cxn ang="0">
                <a:pos x="T6" y="T7"/>
              </a:cxn>
              <a:cxn ang="0">
                <a:pos x="T8" y="T9"/>
              </a:cxn>
              <a:cxn ang="0">
                <a:pos x="T10" y="T11"/>
              </a:cxn>
            </a:cxnLst>
            <a:rect l="0" t="0" r="r" b="b"/>
            <a:pathLst>
              <a:path w="629" h="691">
                <a:moveTo>
                  <a:pt x="629" y="290"/>
                </a:moveTo>
                <a:lnTo>
                  <a:pt x="195" y="0"/>
                </a:lnTo>
                <a:lnTo>
                  <a:pt x="0" y="272"/>
                </a:lnTo>
                <a:lnTo>
                  <a:pt x="629" y="691"/>
                </a:lnTo>
                <a:lnTo>
                  <a:pt x="629" y="295"/>
                </a:lnTo>
                <a:lnTo>
                  <a:pt x="629" y="290"/>
                </a:lnTo>
                <a:close/>
              </a:path>
            </a:pathLst>
          </a:custGeom>
          <a:gradFill>
            <a:gsLst>
              <a:gs pos="0">
                <a:schemeClr val="accent1">
                  <a:lumMod val="28000"/>
                  <a:lumOff val="72000"/>
                </a:schemeClr>
              </a:gs>
              <a:gs pos="68000">
                <a:schemeClr val="accent1">
                  <a:lumMod val="71000"/>
                  <a:lumOff val="29000"/>
                </a:schemeClr>
              </a:gs>
            </a:gsLst>
            <a:lin ang="5400000" scaled="1"/>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351"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Freeform 67">
            <a:extLst>
              <a:ext uri="{FF2B5EF4-FFF2-40B4-BE49-F238E27FC236}">
                <a16:creationId xmlns:a16="http://schemas.microsoft.com/office/drawing/2014/main" id="{BC8A5E60-276F-428E-BB63-F29F9A808EC2}"/>
              </a:ext>
            </a:extLst>
          </p:cNvPr>
          <p:cNvSpPr>
            <a:spLocks/>
          </p:cNvSpPr>
          <p:nvPr/>
        </p:nvSpPr>
        <p:spPr bwMode="auto">
          <a:xfrm>
            <a:off x="8488187" y="2702187"/>
            <a:ext cx="5589763" cy="3916628"/>
          </a:xfrm>
          <a:custGeom>
            <a:avLst/>
            <a:gdLst>
              <a:gd name="T0" fmla="*/ 0 w 2797"/>
              <a:gd name="T1" fmla="*/ 1607 h 2129"/>
              <a:gd name="T2" fmla="*/ 0 w 2797"/>
              <a:gd name="T3" fmla="*/ 2129 h 2129"/>
              <a:gd name="T4" fmla="*/ 2797 w 2797"/>
              <a:gd name="T5" fmla="*/ 543 h 2129"/>
              <a:gd name="T6" fmla="*/ 2797 w 2797"/>
              <a:gd name="T7" fmla="*/ 0 h 2129"/>
              <a:gd name="T8" fmla="*/ 0 w 2797"/>
              <a:gd name="T9" fmla="*/ 1607 h 2129"/>
            </a:gdLst>
            <a:ahLst/>
            <a:cxnLst>
              <a:cxn ang="0">
                <a:pos x="T0" y="T1"/>
              </a:cxn>
              <a:cxn ang="0">
                <a:pos x="T2" y="T3"/>
              </a:cxn>
              <a:cxn ang="0">
                <a:pos x="T4" y="T5"/>
              </a:cxn>
              <a:cxn ang="0">
                <a:pos x="T6" y="T7"/>
              </a:cxn>
              <a:cxn ang="0">
                <a:pos x="T8" y="T9"/>
              </a:cxn>
            </a:cxnLst>
            <a:rect l="0" t="0" r="r" b="b"/>
            <a:pathLst>
              <a:path w="2797" h="2129">
                <a:moveTo>
                  <a:pt x="0" y="1607"/>
                </a:moveTo>
                <a:lnTo>
                  <a:pt x="0" y="2129"/>
                </a:lnTo>
                <a:lnTo>
                  <a:pt x="2797" y="543"/>
                </a:lnTo>
                <a:lnTo>
                  <a:pt x="2797" y="0"/>
                </a:lnTo>
                <a:lnTo>
                  <a:pt x="0" y="1607"/>
                </a:lnTo>
                <a:close/>
              </a:path>
            </a:pathLst>
          </a:custGeom>
          <a:gradFill>
            <a:gsLst>
              <a:gs pos="0">
                <a:schemeClr val="accent1">
                  <a:lumMod val="63000"/>
                  <a:lumOff val="37000"/>
                </a:schemeClr>
              </a:gs>
              <a:gs pos="100000">
                <a:schemeClr val="accent1">
                  <a:lumMod val="94000"/>
                  <a:lumOff val="6000"/>
                </a:schemeClr>
              </a:gs>
            </a:gsLst>
            <a:lin ang="5400000" scaled="1"/>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351" b="0" i="0" u="none" strike="noStrike" kern="1200" cap="none" spc="0" normalizeH="0" baseline="0" noProof="0">
              <a:ln>
                <a:noFill/>
              </a:ln>
              <a:solidFill>
                <a:prstClr val="black"/>
              </a:solidFill>
              <a:effectLst/>
              <a:uLnTx/>
              <a:uFillTx/>
              <a:latin typeface="Calibri" panose="020F0502020204030204"/>
              <a:cs typeface="+mn-cs"/>
            </a:endParaRPr>
          </a:p>
        </p:txBody>
      </p:sp>
      <p:sp>
        <p:nvSpPr>
          <p:cNvPr id="8" name="Freeform 69">
            <a:extLst>
              <a:ext uri="{FF2B5EF4-FFF2-40B4-BE49-F238E27FC236}">
                <a16:creationId xmlns:a16="http://schemas.microsoft.com/office/drawing/2014/main" id="{E3839C46-18B2-4808-9D40-E1DA2E96F998}"/>
              </a:ext>
            </a:extLst>
          </p:cNvPr>
          <p:cNvSpPr>
            <a:spLocks/>
          </p:cNvSpPr>
          <p:nvPr/>
        </p:nvSpPr>
        <p:spPr bwMode="auto">
          <a:xfrm>
            <a:off x="8476195" y="1729008"/>
            <a:ext cx="5601755" cy="3701388"/>
          </a:xfrm>
          <a:custGeom>
            <a:avLst/>
            <a:gdLst>
              <a:gd name="T0" fmla="*/ 0 w 2803"/>
              <a:gd name="T1" fmla="*/ 1622 h 2012"/>
              <a:gd name="T2" fmla="*/ 0 w 2803"/>
              <a:gd name="T3" fmla="*/ 1622 h 2012"/>
              <a:gd name="T4" fmla="*/ 0 w 2803"/>
              <a:gd name="T5" fmla="*/ 2012 h 2012"/>
              <a:gd name="T6" fmla="*/ 2803 w 2803"/>
              <a:gd name="T7" fmla="*/ 405 h 2012"/>
              <a:gd name="T8" fmla="*/ 2803 w 2803"/>
              <a:gd name="T9" fmla="*/ 0 h 2012"/>
              <a:gd name="T10" fmla="*/ 0 w 2803"/>
              <a:gd name="T11" fmla="*/ 1622 h 2012"/>
            </a:gdLst>
            <a:ahLst/>
            <a:cxnLst>
              <a:cxn ang="0">
                <a:pos x="T0" y="T1"/>
              </a:cxn>
              <a:cxn ang="0">
                <a:pos x="T2" y="T3"/>
              </a:cxn>
              <a:cxn ang="0">
                <a:pos x="T4" y="T5"/>
              </a:cxn>
              <a:cxn ang="0">
                <a:pos x="T6" y="T7"/>
              </a:cxn>
              <a:cxn ang="0">
                <a:pos x="T8" y="T9"/>
              </a:cxn>
              <a:cxn ang="0">
                <a:pos x="T10" y="T11"/>
              </a:cxn>
            </a:cxnLst>
            <a:rect l="0" t="0" r="r" b="b"/>
            <a:pathLst>
              <a:path w="2803" h="2012">
                <a:moveTo>
                  <a:pt x="0" y="1622"/>
                </a:moveTo>
                <a:lnTo>
                  <a:pt x="0" y="1622"/>
                </a:lnTo>
                <a:lnTo>
                  <a:pt x="0" y="2012"/>
                </a:lnTo>
                <a:lnTo>
                  <a:pt x="2803" y="405"/>
                </a:lnTo>
                <a:lnTo>
                  <a:pt x="2803" y="0"/>
                </a:lnTo>
                <a:lnTo>
                  <a:pt x="0" y="1622"/>
                </a:lnTo>
                <a:close/>
              </a:path>
            </a:pathLst>
          </a:custGeom>
          <a:gradFill>
            <a:gsLst>
              <a:gs pos="0">
                <a:schemeClr val="accent1">
                  <a:lumMod val="22000"/>
                  <a:lumOff val="78000"/>
                </a:schemeClr>
              </a:gs>
              <a:gs pos="61000">
                <a:schemeClr val="accent1">
                  <a:lumMod val="75000"/>
                  <a:lumOff val="25000"/>
                </a:schemeClr>
              </a:gs>
            </a:gsLst>
            <a:lin ang="5400000" scaled="1"/>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351" b="0" i="0" u="none" strike="noStrike" kern="1200" cap="none" spc="0" normalizeH="0" baseline="0" noProof="0">
              <a:ln>
                <a:noFill/>
              </a:ln>
              <a:solidFill>
                <a:prstClr val="black"/>
              </a:solidFill>
              <a:effectLst/>
              <a:uLnTx/>
              <a:uFillTx/>
              <a:latin typeface="Calibri" panose="020F0502020204030204"/>
              <a:cs typeface="+mn-cs"/>
            </a:endParaRPr>
          </a:p>
        </p:txBody>
      </p:sp>
      <p:sp>
        <p:nvSpPr>
          <p:cNvPr id="9" name="Freeform 71">
            <a:extLst>
              <a:ext uri="{FF2B5EF4-FFF2-40B4-BE49-F238E27FC236}">
                <a16:creationId xmlns:a16="http://schemas.microsoft.com/office/drawing/2014/main" id="{02DF2789-184E-436C-953B-230F810A5582}"/>
              </a:ext>
            </a:extLst>
          </p:cNvPr>
          <p:cNvSpPr>
            <a:spLocks/>
          </p:cNvSpPr>
          <p:nvPr/>
        </p:nvSpPr>
        <p:spPr bwMode="auto">
          <a:xfrm>
            <a:off x="8482192" y="761348"/>
            <a:ext cx="5595758" cy="3736342"/>
          </a:xfrm>
          <a:custGeom>
            <a:avLst/>
            <a:gdLst>
              <a:gd name="T0" fmla="*/ 0 w 2800"/>
              <a:gd name="T1" fmla="*/ 1635 h 2031"/>
              <a:gd name="T2" fmla="*/ 0 w 2800"/>
              <a:gd name="T3" fmla="*/ 2031 h 2031"/>
              <a:gd name="T4" fmla="*/ 2800 w 2800"/>
              <a:gd name="T5" fmla="*/ 409 h 2031"/>
              <a:gd name="T6" fmla="*/ 2800 w 2800"/>
              <a:gd name="T7" fmla="*/ 0 h 2031"/>
              <a:gd name="T8" fmla="*/ 0 w 2800"/>
              <a:gd name="T9" fmla="*/ 1635 h 2031"/>
            </a:gdLst>
            <a:ahLst/>
            <a:cxnLst>
              <a:cxn ang="0">
                <a:pos x="T0" y="T1"/>
              </a:cxn>
              <a:cxn ang="0">
                <a:pos x="T2" y="T3"/>
              </a:cxn>
              <a:cxn ang="0">
                <a:pos x="T4" y="T5"/>
              </a:cxn>
              <a:cxn ang="0">
                <a:pos x="T6" y="T7"/>
              </a:cxn>
              <a:cxn ang="0">
                <a:pos x="T8" y="T9"/>
              </a:cxn>
            </a:cxnLst>
            <a:rect l="0" t="0" r="r" b="b"/>
            <a:pathLst>
              <a:path w="2800" h="2031">
                <a:moveTo>
                  <a:pt x="0" y="1635"/>
                </a:moveTo>
                <a:lnTo>
                  <a:pt x="0" y="2031"/>
                </a:lnTo>
                <a:lnTo>
                  <a:pt x="2800" y="409"/>
                </a:lnTo>
                <a:lnTo>
                  <a:pt x="2800" y="0"/>
                </a:lnTo>
                <a:lnTo>
                  <a:pt x="0" y="1635"/>
                </a:lnTo>
                <a:close/>
              </a:path>
            </a:pathLst>
          </a:custGeom>
          <a:gradFill>
            <a:gsLst>
              <a:gs pos="0">
                <a:schemeClr val="accent1">
                  <a:lumMod val="28000"/>
                  <a:lumOff val="72000"/>
                </a:schemeClr>
              </a:gs>
              <a:gs pos="67000">
                <a:schemeClr val="accent1">
                  <a:lumMod val="35000"/>
                  <a:lumOff val="65000"/>
                </a:schemeClr>
              </a:gs>
            </a:gsLst>
            <a:lin ang="5400000" scaled="1"/>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351" b="0" i="0" u="none" strike="noStrike" kern="1200" cap="none" spc="0" normalizeH="0" baseline="0" noProof="0">
              <a:ln>
                <a:noFill/>
              </a:ln>
              <a:solidFill>
                <a:prstClr val="black"/>
              </a:solidFill>
              <a:effectLst/>
              <a:uLnTx/>
              <a:uFillTx/>
              <a:latin typeface="Calibri" panose="020F0502020204030204"/>
              <a:cs typeface="+mn-cs"/>
            </a:endParaRPr>
          </a:p>
        </p:txBody>
      </p:sp>
      <p:sp>
        <p:nvSpPr>
          <p:cNvPr id="11" name="Freeform 53">
            <a:extLst>
              <a:ext uri="{FF2B5EF4-FFF2-40B4-BE49-F238E27FC236}">
                <a16:creationId xmlns:a16="http://schemas.microsoft.com/office/drawing/2014/main" id="{0AC603AD-DE90-47A8-904D-795185E84A9A}"/>
              </a:ext>
            </a:extLst>
          </p:cNvPr>
          <p:cNvSpPr>
            <a:spLocks/>
          </p:cNvSpPr>
          <p:nvPr/>
        </p:nvSpPr>
        <p:spPr bwMode="auto">
          <a:xfrm>
            <a:off x="8491448" y="2116848"/>
            <a:ext cx="894807" cy="1410863"/>
          </a:xfrm>
          <a:custGeom>
            <a:avLst/>
            <a:gdLst>
              <a:gd name="T0" fmla="*/ 0 w 498"/>
              <a:gd name="T1" fmla="*/ 853 h 853"/>
              <a:gd name="T2" fmla="*/ 0 w 498"/>
              <a:gd name="T3" fmla="*/ 0 h 853"/>
              <a:gd name="T4" fmla="*/ 498 w 498"/>
              <a:gd name="T5" fmla="*/ 562 h 853"/>
              <a:gd name="T6" fmla="*/ 0 w 498"/>
              <a:gd name="T7" fmla="*/ 853 h 853"/>
            </a:gdLst>
            <a:ahLst/>
            <a:cxnLst>
              <a:cxn ang="0">
                <a:pos x="T0" y="T1"/>
              </a:cxn>
              <a:cxn ang="0">
                <a:pos x="T2" y="T3"/>
              </a:cxn>
              <a:cxn ang="0">
                <a:pos x="T4" y="T5"/>
              </a:cxn>
              <a:cxn ang="0">
                <a:pos x="T6" y="T7"/>
              </a:cxn>
            </a:cxnLst>
            <a:rect l="0" t="0" r="r" b="b"/>
            <a:pathLst>
              <a:path w="498" h="853">
                <a:moveTo>
                  <a:pt x="0" y="853"/>
                </a:moveTo>
                <a:lnTo>
                  <a:pt x="0" y="0"/>
                </a:lnTo>
                <a:lnTo>
                  <a:pt x="498" y="562"/>
                </a:lnTo>
                <a:lnTo>
                  <a:pt x="0" y="853"/>
                </a:lnTo>
                <a:close/>
              </a:path>
            </a:pathLst>
          </a:custGeom>
          <a:gradFill flip="none" rotWithShape="1">
            <a:gsLst>
              <a:gs pos="0">
                <a:schemeClr val="accent1">
                  <a:lumMod val="14000"/>
                  <a:lumOff val="86000"/>
                </a:schemeClr>
              </a:gs>
              <a:gs pos="100000">
                <a:schemeClr val="accent1">
                  <a:lumMod val="33000"/>
                  <a:lumOff val="67000"/>
                </a:schemeClr>
              </a:gs>
            </a:gsLst>
            <a:lin ang="5400000" scaled="1"/>
            <a:tileRect/>
          </a:gradFill>
          <a:ln w="51262"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HarmonyOS Sans SC"/>
              <a:cs typeface="+mn-cs"/>
            </a:endParaRPr>
          </a:p>
        </p:txBody>
      </p:sp>
      <p:sp>
        <p:nvSpPr>
          <p:cNvPr id="12" name="Freeform 54">
            <a:extLst>
              <a:ext uri="{FF2B5EF4-FFF2-40B4-BE49-F238E27FC236}">
                <a16:creationId xmlns:a16="http://schemas.microsoft.com/office/drawing/2014/main" id="{FD3FE2DE-2A1D-4F82-AAAA-9188FC6E0FA8}"/>
              </a:ext>
            </a:extLst>
          </p:cNvPr>
          <p:cNvSpPr>
            <a:spLocks/>
          </p:cNvSpPr>
          <p:nvPr/>
        </p:nvSpPr>
        <p:spPr bwMode="auto">
          <a:xfrm>
            <a:off x="7743979" y="2116848"/>
            <a:ext cx="747470" cy="1410863"/>
          </a:xfrm>
          <a:custGeom>
            <a:avLst/>
            <a:gdLst>
              <a:gd name="T0" fmla="*/ 416 w 416"/>
              <a:gd name="T1" fmla="*/ 0 h 853"/>
              <a:gd name="T2" fmla="*/ 0 w 416"/>
              <a:gd name="T3" fmla="*/ 574 h 853"/>
              <a:gd name="T4" fmla="*/ 416 w 416"/>
              <a:gd name="T5" fmla="*/ 853 h 853"/>
              <a:gd name="T6" fmla="*/ 416 w 416"/>
              <a:gd name="T7" fmla="*/ 0 h 853"/>
            </a:gdLst>
            <a:ahLst/>
            <a:cxnLst>
              <a:cxn ang="0">
                <a:pos x="T0" y="T1"/>
              </a:cxn>
              <a:cxn ang="0">
                <a:pos x="T2" y="T3"/>
              </a:cxn>
              <a:cxn ang="0">
                <a:pos x="T4" y="T5"/>
              </a:cxn>
              <a:cxn ang="0">
                <a:pos x="T6" y="T7"/>
              </a:cxn>
            </a:cxnLst>
            <a:rect l="0" t="0" r="r" b="b"/>
            <a:pathLst>
              <a:path w="416" h="853">
                <a:moveTo>
                  <a:pt x="416" y="0"/>
                </a:moveTo>
                <a:lnTo>
                  <a:pt x="0" y="574"/>
                </a:lnTo>
                <a:lnTo>
                  <a:pt x="416" y="853"/>
                </a:lnTo>
                <a:lnTo>
                  <a:pt x="416" y="0"/>
                </a:lnTo>
                <a:close/>
              </a:path>
            </a:pathLst>
          </a:custGeom>
          <a:gradFill flip="none" rotWithShape="1">
            <a:gsLst>
              <a:gs pos="0">
                <a:schemeClr val="accent1">
                  <a:lumMod val="20000"/>
                  <a:lumOff val="80000"/>
                </a:schemeClr>
              </a:gs>
              <a:gs pos="100000">
                <a:schemeClr val="accent1">
                  <a:lumMod val="52000"/>
                  <a:lumOff val="48000"/>
                </a:schemeClr>
              </a:gs>
            </a:gsLst>
            <a:lin ang="5400000" scaled="1"/>
            <a:tileRect/>
          </a:gradFill>
          <a:ln w="51262"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HarmonyOS Sans SC"/>
              <a:cs typeface="+mn-cs"/>
            </a:endParaRPr>
          </a:p>
        </p:txBody>
      </p:sp>
      <p:sp>
        <p:nvSpPr>
          <p:cNvPr id="13" name="Oval 14">
            <a:extLst>
              <a:ext uri="{FF2B5EF4-FFF2-40B4-BE49-F238E27FC236}">
                <a16:creationId xmlns:a16="http://schemas.microsoft.com/office/drawing/2014/main" id="{3A1E304E-C393-47D1-BFF7-9D13479EB52F}"/>
              </a:ext>
            </a:extLst>
          </p:cNvPr>
          <p:cNvSpPr/>
          <p:nvPr/>
        </p:nvSpPr>
        <p:spPr>
          <a:xfrm>
            <a:off x="1055688" y="2253126"/>
            <a:ext cx="292430" cy="292430"/>
          </a:xfrm>
          <a:prstGeom prst="ellipse">
            <a:avLst/>
          </a:prstGeom>
          <a:gradFill flip="none" rotWithShape="1">
            <a:gsLst>
              <a:gs pos="0">
                <a:schemeClr val="accent1">
                  <a:lumMod val="20000"/>
                  <a:lumOff val="80000"/>
                </a:schemeClr>
              </a:gs>
              <a:gs pos="100000">
                <a:schemeClr val="accent1">
                  <a:lumMod val="52000"/>
                  <a:lumOff val="48000"/>
                </a:schemeClr>
              </a:gs>
            </a:gsLst>
            <a:lin ang="5400000" scaled="1"/>
            <a:tileRect/>
          </a:gradFill>
          <a:ln w="51262"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armonyOS Sans SC"/>
              <a:cs typeface="+mn-cs"/>
            </a:endParaRPr>
          </a:p>
        </p:txBody>
      </p:sp>
      <p:sp>
        <p:nvSpPr>
          <p:cNvPr id="14" name="TextBox 15">
            <a:extLst>
              <a:ext uri="{FF2B5EF4-FFF2-40B4-BE49-F238E27FC236}">
                <a16:creationId xmlns:a16="http://schemas.microsoft.com/office/drawing/2014/main" id="{A018759F-B2A8-423B-868D-6D6F9F03EEA0}"/>
              </a:ext>
            </a:extLst>
          </p:cNvPr>
          <p:cNvSpPr txBox="1"/>
          <p:nvPr/>
        </p:nvSpPr>
        <p:spPr>
          <a:xfrm>
            <a:off x="1496412" y="2179292"/>
            <a:ext cx="1945287"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600" b="1" i="0" u="none" strike="noStrike" kern="1200" cap="none" spc="0" normalizeH="0" baseline="0" noProof="0" dirty="0">
                <a:ln>
                  <a:noFill/>
                </a:ln>
                <a:solidFill>
                  <a:prstClr val="black">
                    <a:lumMod val="75000"/>
                    <a:lumOff val="25000"/>
                  </a:prstClr>
                </a:solidFill>
                <a:effectLst/>
                <a:uLnTx/>
                <a:uFillTx/>
                <a:latin typeface="HarmonyOS Sans SC Black"/>
                <a:ea typeface="+mj-ea"/>
                <a:cs typeface="Open Sans" panose="020B0606030504020204" pitchFamily="34" charset="0"/>
              </a:rPr>
              <a:t>关键词标题</a:t>
            </a:r>
            <a:endParaRPr kumimoji="0" lang="en-US" sz="1600" b="1" i="0" u="none" strike="noStrike" kern="1200" cap="none" spc="0" normalizeH="0" baseline="0" noProof="0" dirty="0">
              <a:ln>
                <a:noFill/>
              </a:ln>
              <a:solidFill>
                <a:prstClr val="black">
                  <a:lumMod val="75000"/>
                  <a:lumOff val="25000"/>
                </a:prstClr>
              </a:solidFill>
              <a:effectLst/>
              <a:uLnTx/>
              <a:uFillTx/>
              <a:latin typeface="HarmonyOS Sans SC Black"/>
              <a:ea typeface="+mj-ea"/>
              <a:cs typeface="Open Sans" panose="020B0606030504020204" pitchFamily="34" charset="0"/>
            </a:endParaRPr>
          </a:p>
        </p:txBody>
      </p:sp>
      <p:sp>
        <p:nvSpPr>
          <p:cNvPr id="15" name="Rectangle 16">
            <a:extLst>
              <a:ext uri="{FF2B5EF4-FFF2-40B4-BE49-F238E27FC236}">
                <a16:creationId xmlns:a16="http://schemas.microsoft.com/office/drawing/2014/main" id="{CFE22677-DCD3-4EFC-A3F0-196B3A19C048}"/>
              </a:ext>
            </a:extLst>
          </p:cNvPr>
          <p:cNvSpPr>
            <a:spLocks noChangeArrowheads="1"/>
          </p:cNvSpPr>
          <p:nvPr/>
        </p:nvSpPr>
        <p:spPr bwMode="auto">
          <a:xfrm>
            <a:off x="1496412" y="2546844"/>
            <a:ext cx="3884312" cy="4154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3600">
                <a:solidFill>
                  <a:schemeClr val="tx1"/>
                </a:solidFill>
                <a:latin typeface="Calibri" panose="020F0502020204030204" pitchFamily="34" charset="0"/>
              </a:defRPr>
            </a:lvl1pPr>
            <a:lvl2pPr marL="742950" indent="-285750">
              <a:defRPr sz="3600">
                <a:solidFill>
                  <a:schemeClr val="tx1"/>
                </a:solidFill>
                <a:latin typeface="Calibri" panose="020F0502020204030204" pitchFamily="34" charset="0"/>
              </a:defRPr>
            </a:lvl2pPr>
            <a:lvl3pPr marL="1143000" indent="-228600">
              <a:defRPr sz="3600">
                <a:solidFill>
                  <a:schemeClr val="tx1"/>
                </a:solidFill>
                <a:latin typeface="Calibri" panose="020F0502020204030204" pitchFamily="34" charset="0"/>
              </a:defRPr>
            </a:lvl3pPr>
            <a:lvl4pPr marL="1600200" indent="-228600">
              <a:defRPr sz="3600">
                <a:solidFill>
                  <a:schemeClr val="tx1"/>
                </a:solidFill>
                <a:latin typeface="Calibri" panose="020F0502020204030204" pitchFamily="34" charset="0"/>
              </a:defRPr>
            </a:lvl4pPr>
            <a:lvl5pPr marL="2057400" indent="-228600">
              <a:defRPr sz="3600">
                <a:solidFill>
                  <a:schemeClr val="tx1"/>
                </a:solidFill>
                <a:latin typeface="Calibri" panose="020F0502020204030204" pitchFamily="34" charset="0"/>
              </a:defRPr>
            </a:lvl5pPr>
            <a:lvl6pPr marL="2514600" indent="-228600" defTabSz="1827213" fontAlgn="base">
              <a:spcBef>
                <a:spcPct val="0"/>
              </a:spcBef>
              <a:spcAft>
                <a:spcPct val="0"/>
              </a:spcAft>
              <a:defRPr sz="3600">
                <a:solidFill>
                  <a:schemeClr val="tx1"/>
                </a:solidFill>
                <a:latin typeface="Calibri" panose="020F0502020204030204" pitchFamily="34" charset="0"/>
              </a:defRPr>
            </a:lvl6pPr>
            <a:lvl7pPr marL="2971800" indent="-228600" defTabSz="1827213" fontAlgn="base">
              <a:spcBef>
                <a:spcPct val="0"/>
              </a:spcBef>
              <a:spcAft>
                <a:spcPct val="0"/>
              </a:spcAft>
              <a:defRPr sz="3600">
                <a:solidFill>
                  <a:schemeClr val="tx1"/>
                </a:solidFill>
                <a:latin typeface="Calibri" panose="020F0502020204030204" pitchFamily="34" charset="0"/>
              </a:defRPr>
            </a:lvl7pPr>
            <a:lvl8pPr marL="3429000" indent="-228600" defTabSz="1827213" fontAlgn="base">
              <a:spcBef>
                <a:spcPct val="0"/>
              </a:spcBef>
              <a:spcAft>
                <a:spcPct val="0"/>
              </a:spcAft>
              <a:defRPr sz="3600">
                <a:solidFill>
                  <a:schemeClr val="tx1"/>
                </a:solidFill>
                <a:latin typeface="Calibri" panose="020F0502020204030204" pitchFamily="34" charset="0"/>
              </a:defRPr>
            </a:lvl8pPr>
            <a:lvl9pPr marL="3886200" indent="-228600" defTabSz="1827213" fontAlgn="base">
              <a:spcBef>
                <a:spcPct val="0"/>
              </a:spcBef>
              <a:spcAft>
                <a:spcPct val="0"/>
              </a:spcAft>
              <a:defRPr sz="3600">
                <a:solidFill>
                  <a:schemeClr val="tx1"/>
                </a:solidFill>
                <a:latin typeface="Calibri" panose="020F050202020403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lumMod val="50000"/>
                    <a:lumOff val="50000"/>
                  </a:prstClr>
                </a:solidFill>
                <a:effectLst/>
                <a:uLnTx/>
                <a:uFillTx/>
                <a:latin typeface="HarmonyOS Sans SC"/>
                <a:cs typeface="Open Sans" panose="020B0606030504020204" pitchFamily="34" charset="0"/>
              </a:rPr>
              <a:t>Lorem ipsum dolor sit </a:t>
            </a:r>
            <a:r>
              <a:rPr kumimoji="0" lang="en-US" sz="1050" b="0" i="0" u="none" strike="noStrike" kern="1200" cap="none" spc="0" normalizeH="0" baseline="0" noProof="0" dirty="0" err="1">
                <a:ln>
                  <a:noFill/>
                </a:ln>
                <a:solidFill>
                  <a:prstClr val="black">
                    <a:lumMod val="50000"/>
                    <a:lumOff val="50000"/>
                  </a:prstClr>
                </a:solidFill>
                <a:effectLst/>
                <a:uLnTx/>
                <a:uFillTx/>
                <a:latin typeface="HarmonyOS Sans SC"/>
                <a:cs typeface="Open Sans" panose="020B0606030504020204" pitchFamily="34" charset="0"/>
              </a:rPr>
              <a:t>amet</a:t>
            </a:r>
            <a:r>
              <a:rPr kumimoji="0" lang="en-US" sz="1050" b="0" i="0" u="none" strike="noStrike" kern="1200" cap="none" spc="0" normalizeH="0" baseline="0" noProof="0" dirty="0">
                <a:ln>
                  <a:noFill/>
                </a:ln>
                <a:solidFill>
                  <a:prstClr val="black">
                    <a:lumMod val="50000"/>
                    <a:lumOff val="50000"/>
                  </a:prstClr>
                </a:solidFill>
                <a:effectLst/>
                <a:uLnTx/>
                <a:uFillTx/>
                <a:latin typeface="HarmonyOS Sans SC"/>
                <a:cs typeface="Open Sans" panose="020B0606030504020204" pitchFamily="34" charset="0"/>
              </a:rPr>
              <a:t>, </a:t>
            </a:r>
            <a:r>
              <a:rPr kumimoji="0" lang="en-US" sz="1050" b="0" i="0" u="none" strike="noStrike" kern="1200" cap="none" spc="0" normalizeH="0" baseline="0" noProof="0" dirty="0" err="1">
                <a:ln>
                  <a:noFill/>
                </a:ln>
                <a:solidFill>
                  <a:prstClr val="black">
                    <a:lumMod val="50000"/>
                    <a:lumOff val="50000"/>
                  </a:prstClr>
                </a:solidFill>
                <a:effectLst/>
                <a:uLnTx/>
                <a:uFillTx/>
                <a:latin typeface="HarmonyOS Sans SC"/>
                <a:cs typeface="Open Sans" panose="020B0606030504020204" pitchFamily="34" charset="0"/>
              </a:rPr>
              <a:t>consectetur</a:t>
            </a:r>
            <a:r>
              <a:rPr kumimoji="0" lang="en-US" sz="1050" b="0" i="0" u="none" strike="noStrike" kern="1200" cap="none" spc="0" normalizeH="0" baseline="0" noProof="0" dirty="0">
                <a:ln>
                  <a:noFill/>
                </a:ln>
                <a:solidFill>
                  <a:prstClr val="black">
                    <a:lumMod val="50000"/>
                    <a:lumOff val="50000"/>
                  </a:prstClr>
                </a:solidFill>
                <a:effectLst/>
                <a:uLnTx/>
                <a:uFillTx/>
                <a:latin typeface="HarmonyOS Sans SC"/>
                <a:cs typeface="Open Sans" panose="020B0606030504020204" pitchFamily="34" charset="0"/>
              </a:rPr>
              <a:t> </a:t>
            </a:r>
            <a:r>
              <a:rPr kumimoji="0" lang="en-US" sz="1050" b="0" i="0" u="none" strike="noStrike" kern="1200" cap="none" spc="0" normalizeH="0" baseline="0" noProof="0" dirty="0" err="1">
                <a:ln>
                  <a:noFill/>
                </a:ln>
                <a:solidFill>
                  <a:prstClr val="black">
                    <a:lumMod val="50000"/>
                    <a:lumOff val="50000"/>
                  </a:prstClr>
                </a:solidFill>
                <a:effectLst/>
                <a:uLnTx/>
                <a:uFillTx/>
                <a:latin typeface="HarmonyOS Sans SC"/>
                <a:cs typeface="Open Sans" panose="020B0606030504020204" pitchFamily="34" charset="0"/>
              </a:rPr>
              <a:t>adipiscing</a:t>
            </a:r>
            <a:r>
              <a:rPr kumimoji="0" lang="en-US" sz="1050" b="0" i="0" u="none" strike="noStrike" kern="1200" cap="none" spc="0" normalizeH="0" baseline="0" noProof="0" dirty="0">
                <a:ln>
                  <a:noFill/>
                </a:ln>
                <a:solidFill>
                  <a:prstClr val="black">
                    <a:lumMod val="50000"/>
                    <a:lumOff val="50000"/>
                  </a:prstClr>
                </a:solidFill>
                <a:effectLst/>
                <a:uLnTx/>
                <a:uFillTx/>
                <a:latin typeface="HarmonyOS Sans SC"/>
                <a:cs typeface="Open Sans" panose="020B0606030504020204" pitchFamily="34" charset="0"/>
              </a:rPr>
              <a:t> </a:t>
            </a:r>
            <a:r>
              <a:rPr kumimoji="0" lang="en-US" sz="1050" b="0" i="0" u="none" strike="noStrike" kern="1200" cap="none" spc="0" normalizeH="0" baseline="0" noProof="0" dirty="0" err="1">
                <a:ln>
                  <a:noFill/>
                </a:ln>
                <a:solidFill>
                  <a:prstClr val="black">
                    <a:lumMod val="50000"/>
                    <a:lumOff val="50000"/>
                  </a:prstClr>
                </a:solidFill>
                <a:effectLst/>
                <a:uLnTx/>
                <a:uFillTx/>
                <a:latin typeface="HarmonyOS Sans SC"/>
                <a:cs typeface="Open Sans" panose="020B0606030504020204" pitchFamily="34" charset="0"/>
              </a:rPr>
              <a:t>elit</a:t>
            </a:r>
            <a:r>
              <a:rPr kumimoji="0" lang="en-US" sz="1050" b="0" i="0" u="none" strike="noStrike" kern="1200" cap="none" spc="0" normalizeH="0" baseline="0" noProof="0" dirty="0">
                <a:ln>
                  <a:noFill/>
                </a:ln>
                <a:solidFill>
                  <a:prstClr val="black">
                    <a:lumMod val="50000"/>
                    <a:lumOff val="50000"/>
                  </a:prstClr>
                </a:solidFill>
                <a:effectLst/>
                <a:uLnTx/>
                <a:uFillTx/>
                <a:latin typeface="HarmonyOS Sans SC"/>
                <a:cs typeface="Open Sans" panose="020B0606030504020204" pitchFamily="34" charset="0"/>
              </a:rPr>
              <a:t>. Nunc </a:t>
            </a:r>
            <a:r>
              <a:rPr kumimoji="0" lang="en-US" sz="1050" b="0" i="0" u="none" strike="noStrike" kern="1200" cap="none" spc="0" normalizeH="0" baseline="0" noProof="0" dirty="0" err="1">
                <a:ln>
                  <a:noFill/>
                </a:ln>
                <a:solidFill>
                  <a:prstClr val="black">
                    <a:lumMod val="50000"/>
                    <a:lumOff val="50000"/>
                  </a:prstClr>
                </a:solidFill>
                <a:effectLst/>
                <a:uLnTx/>
                <a:uFillTx/>
                <a:latin typeface="HarmonyOS Sans SC"/>
                <a:cs typeface="Open Sans" panose="020B0606030504020204" pitchFamily="34" charset="0"/>
              </a:rPr>
              <a:t>bibendum</a:t>
            </a:r>
            <a:r>
              <a:rPr kumimoji="0" lang="en-US" sz="1050" b="0" i="0" u="none" strike="noStrike" kern="1200" cap="none" spc="0" normalizeH="0" baseline="0" noProof="0" dirty="0">
                <a:ln>
                  <a:noFill/>
                </a:ln>
                <a:solidFill>
                  <a:prstClr val="black">
                    <a:lumMod val="50000"/>
                    <a:lumOff val="50000"/>
                  </a:prstClr>
                </a:solidFill>
                <a:effectLst/>
                <a:uLnTx/>
                <a:uFillTx/>
                <a:latin typeface="HarmonyOS Sans SC"/>
                <a:cs typeface="Open Sans" panose="020B0606030504020204" pitchFamily="34" charset="0"/>
              </a:rPr>
              <a:t> </a:t>
            </a:r>
            <a:r>
              <a:rPr kumimoji="0" lang="en-US" sz="1050" b="0" i="0" u="none" strike="noStrike" kern="1200" cap="none" spc="0" normalizeH="0" baseline="0" noProof="0" dirty="0" err="1">
                <a:ln>
                  <a:noFill/>
                </a:ln>
                <a:solidFill>
                  <a:prstClr val="black">
                    <a:lumMod val="50000"/>
                    <a:lumOff val="50000"/>
                  </a:prstClr>
                </a:solidFill>
                <a:effectLst/>
                <a:uLnTx/>
                <a:uFillTx/>
                <a:latin typeface="HarmonyOS Sans SC"/>
                <a:cs typeface="Open Sans" panose="020B0606030504020204" pitchFamily="34" charset="0"/>
              </a:rPr>
              <a:t>eleifend</a:t>
            </a:r>
            <a:r>
              <a:rPr kumimoji="0" lang="en-US" sz="1050" b="0" i="0" u="none" strike="noStrike" kern="1200" cap="none" spc="0" normalizeH="0" baseline="0" noProof="0" dirty="0">
                <a:ln>
                  <a:noFill/>
                </a:ln>
                <a:solidFill>
                  <a:prstClr val="black">
                    <a:lumMod val="50000"/>
                    <a:lumOff val="50000"/>
                  </a:prstClr>
                </a:solidFill>
                <a:effectLst/>
                <a:uLnTx/>
                <a:uFillTx/>
                <a:latin typeface="HarmonyOS Sans SC"/>
                <a:cs typeface="Open Sans" panose="020B0606030504020204" pitchFamily="34" charset="0"/>
              </a:rPr>
              <a:t> </a:t>
            </a:r>
            <a:r>
              <a:rPr kumimoji="0" lang="en-US" sz="1050" b="0" i="0" u="none" strike="noStrike" kern="1200" cap="none" spc="0" normalizeH="0" baseline="0" noProof="0" dirty="0" err="1">
                <a:ln>
                  <a:noFill/>
                </a:ln>
                <a:solidFill>
                  <a:prstClr val="black">
                    <a:lumMod val="50000"/>
                    <a:lumOff val="50000"/>
                  </a:prstClr>
                </a:solidFill>
                <a:effectLst/>
                <a:uLnTx/>
                <a:uFillTx/>
                <a:latin typeface="HarmonyOS Sans SC"/>
                <a:cs typeface="Open Sans" panose="020B0606030504020204" pitchFamily="34" charset="0"/>
              </a:rPr>
              <a:t>tortor</a:t>
            </a:r>
            <a:r>
              <a:rPr kumimoji="0" lang="en-US" sz="1050" b="0" i="0" u="none" strike="noStrike" kern="1200" cap="none" spc="0" normalizeH="0" baseline="0" noProof="0" dirty="0">
                <a:ln>
                  <a:noFill/>
                </a:ln>
                <a:solidFill>
                  <a:prstClr val="black">
                    <a:lumMod val="50000"/>
                    <a:lumOff val="50000"/>
                  </a:prstClr>
                </a:solidFill>
                <a:effectLst/>
                <a:uLnTx/>
                <a:uFillTx/>
                <a:latin typeface="HarmonyOS Sans SC"/>
                <a:cs typeface="Open Sans" panose="020B0606030504020204" pitchFamily="34" charset="0"/>
              </a:rPr>
              <a:t>, non porta</a:t>
            </a:r>
          </a:p>
        </p:txBody>
      </p:sp>
      <p:sp>
        <p:nvSpPr>
          <p:cNvPr id="16" name="Oval 17">
            <a:extLst>
              <a:ext uri="{FF2B5EF4-FFF2-40B4-BE49-F238E27FC236}">
                <a16:creationId xmlns:a16="http://schemas.microsoft.com/office/drawing/2014/main" id="{8F159538-0528-4436-876D-F36CF79AA22B}"/>
              </a:ext>
            </a:extLst>
          </p:cNvPr>
          <p:cNvSpPr/>
          <p:nvPr/>
        </p:nvSpPr>
        <p:spPr>
          <a:xfrm>
            <a:off x="1055688" y="3265849"/>
            <a:ext cx="292430" cy="292430"/>
          </a:xfrm>
          <a:prstGeom prst="ellipse">
            <a:avLst/>
          </a:prstGeom>
          <a:gradFill>
            <a:gsLst>
              <a:gs pos="0">
                <a:schemeClr val="accent1">
                  <a:lumMod val="28000"/>
                  <a:lumOff val="72000"/>
                </a:schemeClr>
              </a:gs>
              <a:gs pos="68000">
                <a:schemeClr val="accent1">
                  <a:lumMod val="71000"/>
                  <a:lumOff val="29000"/>
                </a:schemeClr>
              </a:gs>
            </a:gsLst>
            <a:lin ang="5400000" scaled="1"/>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prstClr val="black"/>
              </a:solidFill>
              <a:effectLst/>
              <a:uLnTx/>
              <a:uFillTx/>
              <a:latin typeface="Calibri" panose="020F0502020204030204"/>
              <a:cs typeface="+mn-cs"/>
            </a:endParaRPr>
          </a:p>
        </p:txBody>
      </p:sp>
      <p:sp>
        <p:nvSpPr>
          <p:cNvPr id="17" name="TextBox 18">
            <a:extLst>
              <a:ext uri="{FF2B5EF4-FFF2-40B4-BE49-F238E27FC236}">
                <a16:creationId xmlns:a16="http://schemas.microsoft.com/office/drawing/2014/main" id="{05C861E9-22F9-4399-BD11-1012113FFB31}"/>
              </a:ext>
            </a:extLst>
          </p:cNvPr>
          <p:cNvSpPr txBox="1"/>
          <p:nvPr/>
        </p:nvSpPr>
        <p:spPr>
          <a:xfrm>
            <a:off x="1496412" y="3192015"/>
            <a:ext cx="1945287"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600" b="1" i="0" u="none" strike="noStrike" kern="1200" cap="none" spc="0" normalizeH="0" baseline="0" noProof="0" dirty="0">
                <a:ln>
                  <a:noFill/>
                </a:ln>
                <a:solidFill>
                  <a:prstClr val="black">
                    <a:lumMod val="75000"/>
                    <a:lumOff val="25000"/>
                  </a:prstClr>
                </a:solidFill>
                <a:effectLst/>
                <a:uLnTx/>
                <a:uFillTx/>
                <a:latin typeface="HarmonyOS Sans SC Black"/>
                <a:ea typeface="+mj-ea"/>
                <a:cs typeface="Open Sans" panose="020B0606030504020204" pitchFamily="34" charset="0"/>
              </a:rPr>
              <a:t>关键词标题</a:t>
            </a:r>
            <a:endParaRPr kumimoji="0" lang="en-US" sz="1600" b="1" i="0" u="none" strike="noStrike" kern="1200" cap="none" spc="0" normalizeH="0" baseline="0" noProof="0" dirty="0">
              <a:ln>
                <a:noFill/>
              </a:ln>
              <a:solidFill>
                <a:prstClr val="black">
                  <a:lumMod val="75000"/>
                  <a:lumOff val="25000"/>
                </a:prstClr>
              </a:solidFill>
              <a:effectLst/>
              <a:uLnTx/>
              <a:uFillTx/>
              <a:latin typeface="HarmonyOS Sans SC Black"/>
              <a:ea typeface="+mj-ea"/>
              <a:cs typeface="Open Sans" panose="020B0606030504020204" pitchFamily="34" charset="0"/>
            </a:endParaRPr>
          </a:p>
        </p:txBody>
      </p:sp>
      <p:sp>
        <p:nvSpPr>
          <p:cNvPr id="18" name="Rectangle 19">
            <a:extLst>
              <a:ext uri="{FF2B5EF4-FFF2-40B4-BE49-F238E27FC236}">
                <a16:creationId xmlns:a16="http://schemas.microsoft.com/office/drawing/2014/main" id="{12102BB9-94D9-4634-BB51-13D3B1234CF4}"/>
              </a:ext>
            </a:extLst>
          </p:cNvPr>
          <p:cNvSpPr>
            <a:spLocks noChangeArrowheads="1"/>
          </p:cNvSpPr>
          <p:nvPr/>
        </p:nvSpPr>
        <p:spPr bwMode="auto">
          <a:xfrm>
            <a:off x="1496412" y="3559567"/>
            <a:ext cx="3884312" cy="4154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3600">
                <a:solidFill>
                  <a:schemeClr val="tx1"/>
                </a:solidFill>
                <a:latin typeface="Calibri" panose="020F0502020204030204" pitchFamily="34" charset="0"/>
              </a:defRPr>
            </a:lvl1pPr>
            <a:lvl2pPr marL="742950" indent="-285750">
              <a:defRPr sz="3600">
                <a:solidFill>
                  <a:schemeClr val="tx1"/>
                </a:solidFill>
                <a:latin typeface="Calibri" panose="020F0502020204030204" pitchFamily="34" charset="0"/>
              </a:defRPr>
            </a:lvl2pPr>
            <a:lvl3pPr marL="1143000" indent="-228600">
              <a:defRPr sz="3600">
                <a:solidFill>
                  <a:schemeClr val="tx1"/>
                </a:solidFill>
                <a:latin typeface="Calibri" panose="020F0502020204030204" pitchFamily="34" charset="0"/>
              </a:defRPr>
            </a:lvl3pPr>
            <a:lvl4pPr marL="1600200" indent="-228600">
              <a:defRPr sz="3600">
                <a:solidFill>
                  <a:schemeClr val="tx1"/>
                </a:solidFill>
                <a:latin typeface="Calibri" panose="020F0502020204030204" pitchFamily="34" charset="0"/>
              </a:defRPr>
            </a:lvl4pPr>
            <a:lvl5pPr marL="2057400" indent="-228600">
              <a:defRPr sz="3600">
                <a:solidFill>
                  <a:schemeClr val="tx1"/>
                </a:solidFill>
                <a:latin typeface="Calibri" panose="020F0502020204030204" pitchFamily="34" charset="0"/>
              </a:defRPr>
            </a:lvl5pPr>
            <a:lvl6pPr marL="2514600" indent="-228600" defTabSz="1827213" fontAlgn="base">
              <a:spcBef>
                <a:spcPct val="0"/>
              </a:spcBef>
              <a:spcAft>
                <a:spcPct val="0"/>
              </a:spcAft>
              <a:defRPr sz="3600">
                <a:solidFill>
                  <a:schemeClr val="tx1"/>
                </a:solidFill>
                <a:latin typeface="Calibri" panose="020F0502020204030204" pitchFamily="34" charset="0"/>
              </a:defRPr>
            </a:lvl6pPr>
            <a:lvl7pPr marL="2971800" indent="-228600" defTabSz="1827213" fontAlgn="base">
              <a:spcBef>
                <a:spcPct val="0"/>
              </a:spcBef>
              <a:spcAft>
                <a:spcPct val="0"/>
              </a:spcAft>
              <a:defRPr sz="3600">
                <a:solidFill>
                  <a:schemeClr val="tx1"/>
                </a:solidFill>
                <a:latin typeface="Calibri" panose="020F0502020204030204" pitchFamily="34" charset="0"/>
              </a:defRPr>
            </a:lvl7pPr>
            <a:lvl8pPr marL="3429000" indent="-228600" defTabSz="1827213" fontAlgn="base">
              <a:spcBef>
                <a:spcPct val="0"/>
              </a:spcBef>
              <a:spcAft>
                <a:spcPct val="0"/>
              </a:spcAft>
              <a:defRPr sz="3600">
                <a:solidFill>
                  <a:schemeClr val="tx1"/>
                </a:solidFill>
                <a:latin typeface="Calibri" panose="020F0502020204030204" pitchFamily="34" charset="0"/>
              </a:defRPr>
            </a:lvl8pPr>
            <a:lvl9pPr marL="3886200" indent="-228600" defTabSz="1827213" fontAlgn="base">
              <a:spcBef>
                <a:spcPct val="0"/>
              </a:spcBef>
              <a:spcAft>
                <a:spcPct val="0"/>
              </a:spcAft>
              <a:defRPr sz="3600">
                <a:solidFill>
                  <a:schemeClr val="tx1"/>
                </a:solidFill>
                <a:latin typeface="Calibri" panose="020F050202020403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lumMod val="50000"/>
                    <a:lumOff val="50000"/>
                  </a:prstClr>
                </a:solidFill>
                <a:effectLst/>
                <a:uLnTx/>
                <a:uFillTx/>
                <a:latin typeface="HarmonyOS Sans SC"/>
                <a:cs typeface="Open Sans" panose="020B0606030504020204" pitchFamily="34" charset="0"/>
              </a:rPr>
              <a:t>Lorem ipsum dolor sit </a:t>
            </a:r>
            <a:r>
              <a:rPr kumimoji="0" lang="en-US" sz="1050" b="0" i="0" u="none" strike="noStrike" kern="1200" cap="none" spc="0" normalizeH="0" baseline="0" noProof="0" dirty="0" err="1">
                <a:ln>
                  <a:noFill/>
                </a:ln>
                <a:solidFill>
                  <a:prstClr val="black">
                    <a:lumMod val="50000"/>
                    <a:lumOff val="50000"/>
                  </a:prstClr>
                </a:solidFill>
                <a:effectLst/>
                <a:uLnTx/>
                <a:uFillTx/>
                <a:latin typeface="HarmonyOS Sans SC"/>
                <a:cs typeface="Open Sans" panose="020B0606030504020204" pitchFamily="34" charset="0"/>
              </a:rPr>
              <a:t>amet</a:t>
            </a:r>
            <a:r>
              <a:rPr kumimoji="0" lang="en-US" sz="1050" b="0" i="0" u="none" strike="noStrike" kern="1200" cap="none" spc="0" normalizeH="0" baseline="0" noProof="0" dirty="0">
                <a:ln>
                  <a:noFill/>
                </a:ln>
                <a:solidFill>
                  <a:prstClr val="black">
                    <a:lumMod val="50000"/>
                    <a:lumOff val="50000"/>
                  </a:prstClr>
                </a:solidFill>
                <a:effectLst/>
                <a:uLnTx/>
                <a:uFillTx/>
                <a:latin typeface="HarmonyOS Sans SC"/>
                <a:cs typeface="Open Sans" panose="020B0606030504020204" pitchFamily="34" charset="0"/>
              </a:rPr>
              <a:t>, </a:t>
            </a:r>
            <a:r>
              <a:rPr kumimoji="0" lang="en-US" sz="1050" b="0" i="0" u="none" strike="noStrike" kern="1200" cap="none" spc="0" normalizeH="0" baseline="0" noProof="0" dirty="0" err="1">
                <a:ln>
                  <a:noFill/>
                </a:ln>
                <a:solidFill>
                  <a:prstClr val="black">
                    <a:lumMod val="50000"/>
                    <a:lumOff val="50000"/>
                  </a:prstClr>
                </a:solidFill>
                <a:effectLst/>
                <a:uLnTx/>
                <a:uFillTx/>
                <a:latin typeface="HarmonyOS Sans SC"/>
                <a:cs typeface="Open Sans" panose="020B0606030504020204" pitchFamily="34" charset="0"/>
              </a:rPr>
              <a:t>consectetur</a:t>
            </a:r>
            <a:r>
              <a:rPr kumimoji="0" lang="en-US" sz="1050" b="0" i="0" u="none" strike="noStrike" kern="1200" cap="none" spc="0" normalizeH="0" baseline="0" noProof="0" dirty="0">
                <a:ln>
                  <a:noFill/>
                </a:ln>
                <a:solidFill>
                  <a:prstClr val="black">
                    <a:lumMod val="50000"/>
                    <a:lumOff val="50000"/>
                  </a:prstClr>
                </a:solidFill>
                <a:effectLst/>
                <a:uLnTx/>
                <a:uFillTx/>
                <a:latin typeface="HarmonyOS Sans SC"/>
                <a:cs typeface="Open Sans" panose="020B0606030504020204" pitchFamily="34" charset="0"/>
              </a:rPr>
              <a:t> </a:t>
            </a:r>
            <a:r>
              <a:rPr kumimoji="0" lang="en-US" sz="1050" b="0" i="0" u="none" strike="noStrike" kern="1200" cap="none" spc="0" normalizeH="0" baseline="0" noProof="0" dirty="0" err="1">
                <a:ln>
                  <a:noFill/>
                </a:ln>
                <a:solidFill>
                  <a:prstClr val="black">
                    <a:lumMod val="50000"/>
                    <a:lumOff val="50000"/>
                  </a:prstClr>
                </a:solidFill>
                <a:effectLst/>
                <a:uLnTx/>
                <a:uFillTx/>
                <a:latin typeface="HarmonyOS Sans SC"/>
                <a:cs typeface="Open Sans" panose="020B0606030504020204" pitchFamily="34" charset="0"/>
              </a:rPr>
              <a:t>adipiscing</a:t>
            </a:r>
            <a:r>
              <a:rPr kumimoji="0" lang="en-US" sz="1050" b="0" i="0" u="none" strike="noStrike" kern="1200" cap="none" spc="0" normalizeH="0" baseline="0" noProof="0" dirty="0">
                <a:ln>
                  <a:noFill/>
                </a:ln>
                <a:solidFill>
                  <a:prstClr val="black">
                    <a:lumMod val="50000"/>
                    <a:lumOff val="50000"/>
                  </a:prstClr>
                </a:solidFill>
                <a:effectLst/>
                <a:uLnTx/>
                <a:uFillTx/>
                <a:latin typeface="HarmonyOS Sans SC"/>
                <a:cs typeface="Open Sans" panose="020B0606030504020204" pitchFamily="34" charset="0"/>
              </a:rPr>
              <a:t> </a:t>
            </a:r>
            <a:r>
              <a:rPr kumimoji="0" lang="en-US" sz="1050" b="0" i="0" u="none" strike="noStrike" kern="1200" cap="none" spc="0" normalizeH="0" baseline="0" noProof="0" dirty="0" err="1">
                <a:ln>
                  <a:noFill/>
                </a:ln>
                <a:solidFill>
                  <a:prstClr val="black">
                    <a:lumMod val="50000"/>
                    <a:lumOff val="50000"/>
                  </a:prstClr>
                </a:solidFill>
                <a:effectLst/>
                <a:uLnTx/>
                <a:uFillTx/>
                <a:latin typeface="HarmonyOS Sans SC"/>
                <a:cs typeface="Open Sans" panose="020B0606030504020204" pitchFamily="34" charset="0"/>
              </a:rPr>
              <a:t>elit</a:t>
            </a:r>
            <a:r>
              <a:rPr kumimoji="0" lang="en-US" sz="1050" b="0" i="0" u="none" strike="noStrike" kern="1200" cap="none" spc="0" normalizeH="0" baseline="0" noProof="0" dirty="0">
                <a:ln>
                  <a:noFill/>
                </a:ln>
                <a:solidFill>
                  <a:prstClr val="black">
                    <a:lumMod val="50000"/>
                    <a:lumOff val="50000"/>
                  </a:prstClr>
                </a:solidFill>
                <a:effectLst/>
                <a:uLnTx/>
                <a:uFillTx/>
                <a:latin typeface="HarmonyOS Sans SC"/>
                <a:cs typeface="Open Sans" panose="020B0606030504020204" pitchFamily="34" charset="0"/>
              </a:rPr>
              <a:t>. Nunc </a:t>
            </a:r>
            <a:r>
              <a:rPr kumimoji="0" lang="en-US" sz="1050" b="0" i="0" u="none" strike="noStrike" kern="1200" cap="none" spc="0" normalizeH="0" baseline="0" noProof="0" dirty="0" err="1">
                <a:ln>
                  <a:noFill/>
                </a:ln>
                <a:solidFill>
                  <a:prstClr val="black">
                    <a:lumMod val="50000"/>
                    <a:lumOff val="50000"/>
                  </a:prstClr>
                </a:solidFill>
                <a:effectLst/>
                <a:uLnTx/>
                <a:uFillTx/>
                <a:latin typeface="HarmonyOS Sans SC"/>
                <a:cs typeface="Open Sans" panose="020B0606030504020204" pitchFamily="34" charset="0"/>
              </a:rPr>
              <a:t>bibendum</a:t>
            </a:r>
            <a:r>
              <a:rPr kumimoji="0" lang="en-US" sz="1050" b="0" i="0" u="none" strike="noStrike" kern="1200" cap="none" spc="0" normalizeH="0" baseline="0" noProof="0" dirty="0">
                <a:ln>
                  <a:noFill/>
                </a:ln>
                <a:solidFill>
                  <a:prstClr val="black">
                    <a:lumMod val="50000"/>
                    <a:lumOff val="50000"/>
                  </a:prstClr>
                </a:solidFill>
                <a:effectLst/>
                <a:uLnTx/>
                <a:uFillTx/>
                <a:latin typeface="HarmonyOS Sans SC"/>
                <a:cs typeface="Open Sans" panose="020B0606030504020204" pitchFamily="34" charset="0"/>
              </a:rPr>
              <a:t> </a:t>
            </a:r>
            <a:r>
              <a:rPr kumimoji="0" lang="en-US" sz="1050" b="0" i="0" u="none" strike="noStrike" kern="1200" cap="none" spc="0" normalizeH="0" baseline="0" noProof="0" dirty="0" err="1">
                <a:ln>
                  <a:noFill/>
                </a:ln>
                <a:solidFill>
                  <a:prstClr val="black">
                    <a:lumMod val="50000"/>
                    <a:lumOff val="50000"/>
                  </a:prstClr>
                </a:solidFill>
                <a:effectLst/>
                <a:uLnTx/>
                <a:uFillTx/>
                <a:latin typeface="HarmonyOS Sans SC"/>
                <a:cs typeface="Open Sans" panose="020B0606030504020204" pitchFamily="34" charset="0"/>
              </a:rPr>
              <a:t>eleifend</a:t>
            </a:r>
            <a:r>
              <a:rPr kumimoji="0" lang="en-US" sz="1050" b="0" i="0" u="none" strike="noStrike" kern="1200" cap="none" spc="0" normalizeH="0" baseline="0" noProof="0" dirty="0">
                <a:ln>
                  <a:noFill/>
                </a:ln>
                <a:solidFill>
                  <a:prstClr val="black">
                    <a:lumMod val="50000"/>
                    <a:lumOff val="50000"/>
                  </a:prstClr>
                </a:solidFill>
                <a:effectLst/>
                <a:uLnTx/>
                <a:uFillTx/>
                <a:latin typeface="HarmonyOS Sans SC"/>
                <a:cs typeface="Open Sans" panose="020B0606030504020204" pitchFamily="34" charset="0"/>
              </a:rPr>
              <a:t> </a:t>
            </a:r>
            <a:r>
              <a:rPr kumimoji="0" lang="en-US" sz="1050" b="0" i="0" u="none" strike="noStrike" kern="1200" cap="none" spc="0" normalizeH="0" baseline="0" noProof="0" dirty="0" err="1">
                <a:ln>
                  <a:noFill/>
                </a:ln>
                <a:solidFill>
                  <a:prstClr val="black">
                    <a:lumMod val="50000"/>
                    <a:lumOff val="50000"/>
                  </a:prstClr>
                </a:solidFill>
                <a:effectLst/>
                <a:uLnTx/>
                <a:uFillTx/>
                <a:latin typeface="HarmonyOS Sans SC"/>
                <a:cs typeface="Open Sans" panose="020B0606030504020204" pitchFamily="34" charset="0"/>
              </a:rPr>
              <a:t>tortor</a:t>
            </a:r>
            <a:r>
              <a:rPr kumimoji="0" lang="en-US" sz="1050" b="0" i="0" u="none" strike="noStrike" kern="1200" cap="none" spc="0" normalizeH="0" baseline="0" noProof="0" dirty="0">
                <a:ln>
                  <a:noFill/>
                </a:ln>
                <a:solidFill>
                  <a:prstClr val="black">
                    <a:lumMod val="50000"/>
                    <a:lumOff val="50000"/>
                  </a:prstClr>
                </a:solidFill>
                <a:effectLst/>
                <a:uLnTx/>
                <a:uFillTx/>
                <a:latin typeface="HarmonyOS Sans SC"/>
                <a:cs typeface="Open Sans" panose="020B0606030504020204" pitchFamily="34" charset="0"/>
              </a:rPr>
              <a:t>, non porta</a:t>
            </a:r>
          </a:p>
        </p:txBody>
      </p:sp>
      <p:sp>
        <p:nvSpPr>
          <p:cNvPr id="19" name="Oval 32">
            <a:extLst>
              <a:ext uri="{FF2B5EF4-FFF2-40B4-BE49-F238E27FC236}">
                <a16:creationId xmlns:a16="http://schemas.microsoft.com/office/drawing/2014/main" id="{500F577D-2D0E-4091-88A2-F4D92805133F}"/>
              </a:ext>
            </a:extLst>
          </p:cNvPr>
          <p:cNvSpPr/>
          <p:nvPr/>
        </p:nvSpPr>
        <p:spPr>
          <a:xfrm>
            <a:off x="1055688" y="4324696"/>
            <a:ext cx="292430" cy="292430"/>
          </a:xfrm>
          <a:prstGeom prst="ellipse">
            <a:avLst/>
          </a:prstGeom>
          <a:gradFill>
            <a:gsLst>
              <a:gs pos="0">
                <a:schemeClr val="accent1">
                  <a:lumMod val="40000"/>
                  <a:lumOff val="60000"/>
                </a:schemeClr>
              </a:gs>
              <a:gs pos="71000">
                <a:schemeClr val="accent1"/>
              </a:gs>
            </a:gsLst>
            <a:lin ang="5400000" scaled="1"/>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prstClr val="black"/>
              </a:solidFill>
              <a:effectLst/>
              <a:uLnTx/>
              <a:uFillTx/>
              <a:latin typeface="Calibri" panose="020F0502020204030204"/>
              <a:cs typeface="+mn-cs"/>
            </a:endParaRPr>
          </a:p>
        </p:txBody>
      </p:sp>
      <p:sp>
        <p:nvSpPr>
          <p:cNvPr id="20" name="TextBox 33">
            <a:extLst>
              <a:ext uri="{FF2B5EF4-FFF2-40B4-BE49-F238E27FC236}">
                <a16:creationId xmlns:a16="http://schemas.microsoft.com/office/drawing/2014/main" id="{FEBAA34E-DEEA-4653-8DFB-030AD216DEB2}"/>
              </a:ext>
            </a:extLst>
          </p:cNvPr>
          <p:cNvSpPr txBox="1"/>
          <p:nvPr/>
        </p:nvSpPr>
        <p:spPr>
          <a:xfrm>
            <a:off x="1496412" y="4250862"/>
            <a:ext cx="1945287"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600" b="1" i="0" u="none" strike="noStrike" kern="1200" cap="none" spc="0" normalizeH="0" baseline="0" noProof="0" dirty="0">
                <a:ln>
                  <a:noFill/>
                </a:ln>
                <a:solidFill>
                  <a:prstClr val="black">
                    <a:lumMod val="75000"/>
                    <a:lumOff val="25000"/>
                  </a:prstClr>
                </a:solidFill>
                <a:effectLst/>
                <a:uLnTx/>
                <a:uFillTx/>
                <a:latin typeface="HarmonyOS Sans SC Black"/>
                <a:ea typeface="+mj-ea"/>
                <a:cs typeface="Open Sans" panose="020B0606030504020204" pitchFamily="34" charset="0"/>
              </a:rPr>
              <a:t>关键词标题</a:t>
            </a:r>
            <a:endParaRPr kumimoji="0" lang="en-US" sz="1600" b="1" i="0" u="none" strike="noStrike" kern="1200" cap="none" spc="0" normalizeH="0" baseline="0" noProof="0" dirty="0">
              <a:ln>
                <a:noFill/>
              </a:ln>
              <a:solidFill>
                <a:prstClr val="black">
                  <a:lumMod val="75000"/>
                  <a:lumOff val="25000"/>
                </a:prstClr>
              </a:solidFill>
              <a:effectLst/>
              <a:uLnTx/>
              <a:uFillTx/>
              <a:latin typeface="HarmonyOS Sans SC Black"/>
              <a:ea typeface="+mj-ea"/>
              <a:cs typeface="Open Sans" panose="020B0606030504020204" pitchFamily="34" charset="0"/>
            </a:endParaRPr>
          </a:p>
        </p:txBody>
      </p:sp>
      <p:sp>
        <p:nvSpPr>
          <p:cNvPr id="21" name="Rectangle 34">
            <a:extLst>
              <a:ext uri="{FF2B5EF4-FFF2-40B4-BE49-F238E27FC236}">
                <a16:creationId xmlns:a16="http://schemas.microsoft.com/office/drawing/2014/main" id="{EA495857-DA18-499B-AC44-BD66C6C4A34F}"/>
              </a:ext>
            </a:extLst>
          </p:cNvPr>
          <p:cNvSpPr>
            <a:spLocks noChangeArrowheads="1"/>
          </p:cNvSpPr>
          <p:nvPr/>
        </p:nvSpPr>
        <p:spPr bwMode="auto">
          <a:xfrm>
            <a:off x="1496412" y="4618414"/>
            <a:ext cx="3884312" cy="4154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3600">
                <a:solidFill>
                  <a:schemeClr val="tx1"/>
                </a:solidFill>
                <a:latin typeface="Calibri" panose="020F0502020204030204" pitchFamily="34" charset="0"/>
              </a:defRPr>
            </a:lvl1pPr>
            <a:lvl2pPr marL="742950" indent="-285750">
              <a:defRPr sz="3600">
                <a:solidFill>
                  <a:schemeClr val="tx1"/>
                </a:solidFill>
                <a:latin typeface="Calibri" panose="020F0502020204030204" pitchFamily="34" charset="0"/>
              </a:defRPr>
            </a:lvl2pPr>
            <a:lvl3pPr marL="1143000" indent="-228600">
              <a:defRPr sz="3600">
                <a:solidFill>
                  <a:schemeClr val="tx1"/>
                </a:solidFill>
                <a:latin typeface="Calibri" panose="020F0502020204030204" pitchFamily="34" charset="0"/>
              </a:defRPr>
            </a:lvl3pPr>
            <a:lvl4pPr marL="1600200" indent="-228600">
              <a:defRPr sz="3600">
                <a:solidFill>
                  <a:schemeClr val="tx1"/>
                </a:solidFill>
                <a:latin typeface="Calibri" panose="020F0502020204030204" pitchFamily="34" charset="0"/>
              </a:defRPr>
            </a:lvl4pPr>
            <a:lvl5pPr marL="2057400" indent="-228600">
              <a:defRPr sz="3600">
                <a:solidFill>
                  <a:schemeClr val="tx1"/>
                </a:solidFill>
                <a:latin typeface="Calibri" panose="020F0502020204030204" pitchFamily="34" charset="0"/>
              </a:defRPr>
            </a:lvl5pPr>
            <a:lvl6pPr marL="2514600" indent="-228600" defTabSz="1827213" fontAlgn="base">
              <a:spcBef>
                <a:spcPct val="0"/>
              </a:spcBef>
              <a:spcAft>
                <a:spcPct val="0"/>
              </a:spcAft>
              <a:defRPr sz="3600">
                <a:solidFill>
                  <a:schemeClr val="tx1"/>
                </a:solidFill>
                <a:latin typeface="Calibri" panose="020F0502020204030204" pitchFamily="34" charset="0"/>
              </a:defRPr>
            </a:lvl6pPr>
            <a:lvl7pPr marL="2971800" indent="-228600" defTabSz="1827213" fontAlgn="base">
              <a:spcBef>
                <a:spcPct val="0"/>
              </a:spcBef>
              <a:spcAft>
                <a:spcPct val="0"/>
              </a:spcAft>
              <a:defRPr sz="3600">
                <a:solidFill>
                  <a:schemeClr val="tx1"/>
                </a:solidFill>
                <a:latin typeface="Calibri" panose="020F0502020204030204" pitchFamily="34" charset="0"/>
              </a:defRPr>
            </a:lvl7pPr>
            <a:lvl8pPr marL="3429000" indent="-228600" defTabSz="1827213" fontAlgn="base">
              <a:spcBef>
                <a:spcPct val="0"/>
              </a:spcBef>
              <a:spcAft>
                <a:spcPct val="0"/>
              </a:spcAft>
              <a:defRPr sz="3600">
                <a:solidFill>
                  <a:schemeClr val="tx1"/>
                </a:solidFill>
                <a:latin typeface="Calibri" panose="020F0502020204030204" pitchFamily="34" charset="0"/>
              </a:defRPr>
            </a:lvl8pPr>
            <a:lvl9pPr marL="3886200" indent="-228600" defTabSz="1827213" fontAlgn="base">
              <a:spcBef>
                <a:spcPct val="0"/>
              </a:spcBef>
              <a:spcAft>
                <a:spcPct val="0"/>
              </a:spcAft>
              <a:defRPr sz="3600">
                <a:solidFill>
                  <a:schemeClr val="tx1"/>
                </a:solidFill>
                <a:latin typeface="Calibri" panose="020F050202020403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lumMod val="50000"/>
                    <a:lumOff val="50000"/>
                  </a:prstClr>
                </a:solidFill>
                <a:effectLst/>
                <a:uLnTx/>
                <a:uFillTx/>
                <a:latin typeface="HarmonyOS Sans SC"/>
                <a:cs typeface="Open Sans" panose="020B0606030504020204" pitchFamily="34" charset="0"/>
              </a:rPr>
              <a:t>Lorem ipsum dolor sit </a:t>
            </a:r>
            <a:r>
              <a:rPr kumimoji="0" lang="en-US" sz="1050" b="0" i="0" u="none" strike="noStrike" kern="1200" cap="none" spc="0" normalizeH="0" baseline="0" noProof="0" dirty="0" err="1">
                <a:ln>
                  <a:noFill/>
                </a:ln>
                <a:solidFill>
                  <a:prstClr val="black">
                    <a:lumMod val="50000"/>
                    <a:lumOff val="50000"/>
                  </a:prstClr>
                </a:solidFill>
                <a:effectLst/>
                <a:uLnTx/>
                <a:uFillTx/>
                <a:latin typeface="HarmonyOS Sans SC"/>
                <a:cs typeface="Open Sans" panose="020B0606030504020204" pitchFamily="34" charset="0"/>
              </a:rPr>
              <a:t>amet</a:t>
            </a:r>
            <a:r>
              <a:rPr kumimoji="0" lang="en-US" sz="1050" b="0" i="0" u="none" strike="noStrike" kern="1200" cap="none" spc="0" normalizeH="0" baseline="0" noProof="0" dirty="0">
                <a:ln>
                  <a:noFill/>
                </a:ln>
                <a:solidFill>
                  <a:prstClr val="black">
                    <a:lumMod val="50000"/>
                    <a:lumOff val="50000"/>
                  </a:prstClr>
                </a:solidFill>
                <a:effectLst/>
                <a:uLnTx/>
                <a:uFillTx/>
                <a:latin typeface="HarmonyOS Sans SC"/>
                <a:cs typeface="Open Sans" panose="020B0606030504020204" pitchFamily="34" charset="0"/>
              </a:rPr>
              <a:t>, </a:t>
            </a:r>
            <a:r>
              <a:rPr kumimoji="0" lang="en-US" sz="1050" b="0" i="0" u="none" strike="noStrike" kern="1200" cap="none" spc="0" normalizeH="0" baseline="0" noProof="0" dirty="0" err="1">
                <a:ln>
                  <a:noFill/>
                </a:ln>
                <a:solidFill>
                  <a:prstClr val="black">
                    <a:lumMod val="50000"/>
                    <a:lumOff val="50000"/>
                  </a:prstClr>
                </a:solidFill>
                <a:effectLst/>
                <a:uLnTx/>
                <a:uFillTx/>
                <a:latin typeface="HarmonyOS Sans SC"/>
                <a:cs typeface="Open Sans" panose="020B0606030504020204" pitchFamily="34" charset="0"/>
              </a:rPr>
              <a:t>consectetur</a:t>
            </a:r>
            <a:r>
              <a:rPr kumimoji="0" lang="en-US" sz="1050" b="0" i="0" u="none" strike="noStrike" kern="1200" cap="none" spc="0" normalizeH="0" baseline="0" noProof="0" dirty="0">
                <a:ln>
                  <a:noFill/>
                </a:ln>
                <a:solidFill>
                  <a:prstClr val="black">
                    <a:lumMod val="50000"/>
                    <a:lumOff val="50000"/>
                  </a:prstClr>
                </a:solidFill>
                <a:effectLst/>
                <a:uLnTx/>
                <a:uFillTx/>
                <a:latin typeface="HarmonyOS Sans SC"/>
                <a:cs typeface="Open Sans" panose="020B0606030504020204" pitchFamily="34" charset="0"/>
              </a:rPr>
              <a:t> </a:t>
            </a:r>
            <a:r>
              <a:rPr kumimoji="0" lang="en-US" sz="1050" b="0" i="0" u="none" strike="noStrike" kern="1200" cap="none" spc="0" normalizeH="0" baseline="0" noProof="0" dirty="0" err="1">
                <a:ln>
                  <a:noFill/>
                </a:ln>
                <a:solidFill>
                  <a:prstClr val="black">
                    <a:lumMod val="50000"/>
                    <a:lumOff val="50000"/>
                  </a:prstClr>
                </a:solidFill>
                <a:effectLst/>
                <a:uLnTx/>
                <a:uFillTx/>
                <a:latin typeface="HarmonyOS Sans SC"/>
                <a:cs typeface="Open Sans" panose="020B0606030504020204" pitchFamily="34" charset="0"/>
              </a:rPr>
              <a:t>adipiscing</a:t>
            </a:r>
            <a:r>
              <a:rPr kumimoji="0" lang="en-US" sz="1050" b="0" i="0" u="none" strike="noStrike" kern="1200" cap="none" spc="0" normalizeH="0" baseline="0" noProof="0" dirty="0">
                <a:ln>
                  <a:noFill/>
                </a:ln>
                <a:solidFill>
                  <a:prstClr val="black">
                    <a:lumMod val="50000"/>
                    <a:lumOff val="50000"/>
                  </a:prstClr>
                </a:solidFill>
                <a:effectLst/>
                <a:uLnTx/>
                <a:uFillTx/>
                <a:latin typeface="HarmonyOS Sans SC"/>
                <a:cs typeface="Open Sans" panose="020B0606030504020204" pitchFamily="34" charset="0"/>
              </a:rPr>
              <a:t> </a:t>
            </a:r>
            <a:r>
              <a:rPr kumimoji="0" lang="en-US" sz="1050" b="0" i="0" u="none" strike="noStrike" kern="1200" cap="none" spc="0" normalizeH="0" baseline="0" noProof="0" dirty="0" err="1">
                <a:ln>
                  <a:noFill/>
                </a:ln>
                <a:solidFill>
                  <a:prstClr val="black">
                    <a:lumMod val="50000"/>
                    <a:lumOff val="50000"/>
                  </a:prstClr>
                </a:solidFill>
                <a:effectLst/>
                <a:uLnTx/>
                <a:uFillTx/>
                <a:latin typeface="HarmonyOS Sans SC"/>
                <a:cs typeface="Open Sans" panose="020B0606030504020204" pitchFamily="34" charset="0"/>
              </a:rPr>
              <a:t>elit</a:t>
            </a:r>
            <a:r>
              <a:rPr kumimoji="0" lang="en-US" sz="1050" b="0" i="0" u="none" strike="noStrike" kern="1200" cap="none" spc="0" normalizeH="0" baseline="0" noProof="0" dirty="0">
                <a:ln>
                  <a:noFill/>
                </a:ln>
                <a:solidFill>
                  <a:prstClr val="black">
                    <a:lumMod val="50000"/>
                    <a:lumOff val="50000"/>
                  </a:prstClr>
                </a:solidFill>
                <a:effectLst/>
                <a:uLnTx/>
                <a:uFillTx/>
                <a:latin typeface="HarmonyOS Sans SC"/>
                <a:cs typeface="Open Sans" panose="020B0606030504020204" pitchFamily="34" charset="0"/>
              </a:rPr>
              <a:t>. Nunc </a:t>
            </a:r>
            <a:r>
              <a:rPr kumimoji="0" lang="en-US" sz="1050" b="0" i="0" u="none" strike="noStrike" kern="1200" cap="none" spc="0" normalizeH="0" baseline="0" noProof="0" dirty="0" err="1">
                <a:ln>
                  <a:noFill/>
                </a:ln>
                <a:solidFill>
                  <a:prstClr val="black">
                    <a:lumMod val="50000"/>
                    <a:lumOff val="50000"/>
                  </a:prstClr>
                </a:solidFill>
                <a:effectLst/>
                <a:uLnTx/>
                <a:uFillTx/>
                <a:latin typeface="HarmonyOS Sans SC"/>
                <a:cs typeface="Open Sans" panose="020B0606030504020204" pitchFamily="34" charset="0"/>
              </a:rPr>
              <a:t>bibendum</a:t>
            </a:r>
            <a:r>
              <a:rPr kumimoji="0" lang="en-US" sz="1050" b="0" i="0" u="none" strike="noStrike" kern="1200" cap="none" spc="0" normalizeH="0" baseline="0" noProof="0" dirty="0">
                <a:ln>
                  <a:noFill/>
                </a:ln>
                <a:solidFill>
                  <a:prstClr val="black">
                    <a:lumMod val="50000"/>
                    <a:lumOff val="50000"/>
                  </a:prstClr>
                </a:solidFill>
                <a:effectLst/>
                <a:uLnTx/>
                <a:uFillTx/>
                <a:latin typeface="HarmonyOS Sans SC"/>
                <a:cs typeface="Open Sans" panose="020B0606030504020204" pitchFamily="34" charset="0"/>
              </a:rPr>
              <a:t> </a:t>
            </a:r>
            <a:r>
              <a:rPr kumimoji="0" lang="en-US" sz="1050" b="0" i="0" u="none" strike="noStrike" kern="1200" cap="none" spc="0" normalizeH="0" baseline="0" noProof="0" dirty="0" err="1">
                <a:ln>
                  <a:noFill/>
                </a:ln>
                <a:solidFill>
                  <a:prstClr val="black">
                    <a:lumMod val="50000"/>
                    <a:lumOff val="50000"/>
                  </a:prstClr>
                </a:solidFill>
                <a:effectLst/>
                <a:uLnTx/>
                <a:uFillTx/>
                <a:latin typeface="HarmonyOS Sans SC"/>
                <a:cs typeface="Open Sans" panose="020B0606030504020204" pitchFamily="34" charset="0"/>
              </a:rPr>
              <a:t>eleifend</a:t>
            </a:r>
            <a:r>
              <a:rPr kumimoji="0" lang="en-US" sz="1050" b="0" i="0" u="none" strike="noStrike" kern="1200" cap="none" spc="0" normalizeH="0" baseline="0" noProof="0" dirty="0">
                <a:ln>
                  <a:noFill/>
                </a:ln>
                <a:solidFill>
                  <a:prstClr val="black">
                    <a:lumMod val="50000"/>
                    <a:lumOff val="50000"/>
                  </a:prstClr>
                </a:solidFill>
                <a:effectLst/>
                <a:uLnTx/>
                <a:uFillTx/>
                <a:latin typeface="HarmonyOS Sans SC"/>
                <a:cs typeface="Open Sans" panose="020B0606030504020204" pitchFamily="34" charset="0"/>
              </a:rPr>
              <a:t> </a:t>
            </a:r>
            <a:r>
              <a:rPr kumimoji="0" lang="en-US" sz="1050" b="0" i="0" u="none" strike="noStrike" kern="1200" cap="none" spc="0" normalizeH="0" baseline="0" noProof="0" dirty="0" err="1">
                <a:ln>
                  <a:noFill/>
                </a:ln>
                <a:solidFill>
                  <a:prstClr val="black">
                    <a:lumMod val="50000"/>
                    <a:lumOff val="50000"/>
                  </a:prstClr>
                </a:solidFill>
                <a:effectLst/>
                <a:uLnTx/>
                <a:uFillTx/>
                <a:latin typeface="HarmonyOS Sans SC"/>
                <a:cs typeface="Open Sans" panose="020B0606030504020204" pitchFamily="34" charset="0"/>
              </a:rPr>
              <a:t>tortor</a:t>
            </a:r>
            <a:r>
              <a:rPr kumimoji="0" lang="en-US" sz="1050" b="0" i="0" u="none" strike="noStrike" kern="1200" cap="none" spc="0" normalizeH="0" baseline="0" noProof="0" dirty="0">
                <a:ln>
                  <a:noFill/>
                </a:ln>
                <a:solidFill>
                  <a:prstClr val="black">
                    <a:lumMod val="50000"/>
                    <a:lumOff val="50000"/>
                  </a:prstClr>
                </a:solidFill>
                <a:effectLst/>
                <a:uLnTx/>
                <a:uFillTx/>
                <a:latin typeface="HarmonyOS Sans SC"/>
                <a:cs typeface="Open Sans" panose="020B0606030504020204" pitchFamily="34" charset="0"/>
              </a:rPr>
              <a:t>, non porta</a:t>
            </a:r>
          </a:p>
        </p:txBody>
      </p:sp>
      <p:sp>
        <p:nvSpPr>
          <p:cNvPr id="22" name="Oval 35">
            <a:extLst>
              <a:ext uri="{FF2B5EF4-FFF2-40B4-BE49-F238E27FC236}">
                <a16:creationId xmlns:a16="http://schemas.microsoft.com/office/drawing/2014/main" id="{9A6CF4ED-889E-4D45-8BCD-7CBDF934A973}"/>
              </a:ext>
            </a:extLst>
          </p:cNvPr>
          <p:cNvSpPr/>
          <p:nvPr/>
        </p:nvSpPr>
        <p:spPr>
          <a:xfrm>
            <a:off x="1055688" y="5337419"/>
            <a:ext cx="292430" cy="292430"/>
          </a:xfrm>
          <a:prstGeom prst="ellipse">
            <a:avLst/>
          </a:prstGeom>
          <a:gradFill>
            <a:gsLst>
              <a:gs pos="0">
                <a:schemeClr val="accent1">
                  <a:lumMod val="60000"/>
                  <a:lumOff val="40000"/>
                </a:schemeClr>
              </a:gs>
              <a:gs pos="34000">
                <a:schemeClr val="accent1"/>
              </a:gs>
              <a:gs pos="100000">
                <a:schemeClr val="accent1">
                  <a:lumMod val="81000"/>
                </a:schemeClr>
              </a:gs>
            </a:gsLst>
            <a:lin ang="5400000" scaled="1"/>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prstClr val="black"/>
              </a:solidFill>
              <a:effectLst/>
              <a:uLnTx/>
              <a:uFillTx/>
              <a:latin typeface="Calibri" panose="020F0502020204030204"/>
              <a:cs typeface="+mn-cs"/>
            </a:endParaRPr>
          </a:p>
        </p:txBody>
      </p:sp>
      <p:sp>
        <p:nvSpPr>
          <p:cNvPr id="23" name="TextBox 36">
            <a:extLst>
              <a:ext uri="{FF2B5EF4-FFF2-40B4-BE49-F238E27FC236}">
                <a16:creationId xmlns:a16="http://schemas.microsoft.com/office/drawing/2014/main" id="{8248E50D-064C-488F-AFF3-FDEE64B41003}"/>
              </a:ext>
            </a:extLst>
          </p:cNvPr>
          <p:cNvSpPr txBox="1"/>
          <p:nvPr/>
        </p:nvSpPr>
        <p:spPr>
          <a:xfrm>
            <a:off x="1496412" y="5263585"/>
            <a:ext cx="1945287"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600" b="1" i="0" u="none" strike="noStrike" kern="1200" cap="none" spc="0" normalizeH="0" baseline="0" noProof="0" dirty="0">
                <a:ln>
                  <a:noFill/>
                </a:ln>
                <a:solidFill>
                  <a:prstClr val="black">
                    <a:lumMod val="75000"/>
                    <a:lumOff val="25000"/>
                  </a:prstClr>
                </a:solidFill>
                <a:effectLst/>
                <a:uLnTx/>
                <a:uFillTx/>
                <a:latin typeface="HarmonyOS Sans SC Black"/>
                <a:ea typeface="+mj-ea"/>
                <a:cs typeface="Open Sans" panose="020B0606030504020204" pitchFamily="34" charset="0"/>
              </a:rPr>
              <a:t>关键词标题</a:t>
            </a:r>
            <a:endParaRPr kumimoji="0" lang="en-US" sz="1600" b="1" i="0" u="none" strike="noStrike" kern="1200" cap="none" spc="0" normalizeH="0" baseline="0" noProof="0" dirty="0">
              <a:ln>
                <a:noFill/>
              </a:ln>
              <a:solidFill>
                <a:prstClr val="black">
                  <a:lumMod val="75000"/>
                  <a:lumOff val="25000"/>
                </a:prstClr>
              </a:solidFill>
              <a:effectLst/>
              <a:uLnTx/>
              <a:uFillTx/>
              <a:latin typeface="HarmonyOS Sans SC Black"/>
              <a:ea typeface="+mj-ea"/>
              <a:cs typeface="Open Sans" panose="020B0606030504020204" pitchFamily="34" charset="0"/>
            </a:endParaRPr>
          </a:p>
        </p:txBody>
      </p:sp>
      <p:sp>
        <p:nvSpPr>
          <p:cNvPr id="24" name="Rectangle 37">
            <a:extLst>
              <a:ext uri="{FF2B5EF4-FFF2-40B4-BE49-F238E27FC236}">
                <a16:creationId xmlns:a16="http://schemas.microsoft.com/office/drawing/2014/main" id="{329B727F-CE81-4557-883E-E89E4043C937}"/>
              </a:ext>
            </a:extLst>
          </p:cNvPr>
          <p:cNvSpPr>
            <a:spLocks noChangeArrowheads="1"/>
          </p:cNvSpPr>
          <p:nvPr/>
        </p:nvSpPr>
        <p:spPr bwMode="auto">
          <a:xfrm>
            <a:off x="1496412" y="5631137"/>
            <a:ext cx="3884312" cy="4154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3600">
                <a:solidFill>
                  <a:schemeClr val="tx1"/>
                </a:solidFill>
                <a:latin typeface="Calibri" panose="020F0502020204030204" pitchFamily="34" charset="0"/>
              </a:defRPr>
            </a:lvl1pPr>
            <a:lvl2pPr marL="742950" indent="-285750">
              <a:defRPr sz="3600">
                <a:solidFill>
                  <a:schemeClr val="tx1"/>
                </a:solidFill>
                <a:latin typeface="Calibri" panose="020F0502020204030204" pitchFamily="34" charset="0"/>
              </a:defRPr>
            </a:lvl2pPr>
            <a:lvl3pPr marL="1143000" indent="-228600">
              <a:defRPr sz="3600">
                <a:solidFill>
                  <a:schemeClr val="tx1"/>
                </a:solidFill>
                <a:latin typeface="Calibri" panose="020F0502020204030204" pitchFamily="34" charset="0"/>
              </a:defRPr>
            </a:lvl3pPr>
            <a:lvl4pPr marL="1600200" indent="-228600">
              <a:defRPr sz="3600">
                <a:solidFill>
                  <a:schemeClr val="tx1"/>
                </a:solidFill>
                <a:latin typeface="Calibri" panose="020F0502020204030204" pitchFamily="34" charset="0"/>
              </a:defRPr>
            </a:lvl4pPr>
            <a:lvl5pPr marL="2057400" indent="-228600">
              <a:defRPr sz="3600">
                <a:solidFill>
                  <a:schemeClr val="tx1"/>
                </a:solidFill>
                <a:latin typeface="Calibri" panose="020F0502020204030204" pitchFamily="34" charset="0"/>
              </a:defRPr>
            </a:lvl5pPr>
            <a:lvl6pPr marL="2514600" indent="-228600" defTabSz="1827213" fontAlgn="base">
              <a:spcBef>
                <a:spcPct val="0"/>
              </a:spcBef>
              <a:spcAft>
                <a:spcPct val="0"/>
              </a:spcAft>
              <a:defRPr sz="3600">
                <a:solidFill>
                  <a:schemeClr val="tx1"/>
                </a:solidFill>
                <a:latin typeface="Calibri" panose="020F0502020204030204" pitchFamily="34" charset="0"/>
              </a:defRPr>
            </a:lvl6pPr>
            <a:lvl7pPr marL="2971800" indent="-228600" defTabSz="1827213" fontAlgn="base">
              <a:spcBef>
                <a:spcPct val="0"/>
              </a:spcBef>
              <a:spcAft>
                <a:spcPct val="0"/>
              </a:spcAft>
              <a:defRPr sz="3600">
                <a:solidFill>
                  <a:schemeClr val="tx1"/>
                </a:solidFill>
                <a:latin typeface="Calibri" panose="020F0502020204030204" pitchFamily="34" charset="0"/>
              </a:defRPr>
            </a:lvl7pPr>
            <a:lvl8pPr marL="3429000" indent="-228600" defTabSz="1827213" fontAlgn="base">
              <a:spcBef>
                <a:spcPct val="0"/>
              </a:spcBef>
              <a:spcAft>
                <a:spcPct val="0"/>
              </a:spcAft>
              <a:defRPr sz="3600">
                <a:solidFill>
                  <a:schemeClr val="tx1"/>
                </a:solidFill>
                <a:latin typeface="Calibri" panose="020F0502020204030204" pitchFamily="34" charset="0"/>
              </a:defRPr>
            </a:lvl8pPr>
            <a:lvl9pPr marL="3886200" indent="-228600" defTabSz="1827213" fontAlgn="base">
              <a:spcBef>
                <a:spcPct val="0"/>
              </a:spcBef>
              <a:spcAft>
                <a:spcPct val="0"/>
              </a:spcAft>
              <a:defRPr sz="3600">
                <a:solidFill>
                  <a:schemeClr val="tx1"/>
                </a:solidFill>
                <a:latin typeface="Calibri" panose="020F050202020403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lumMod val="50000"/>
                    <a:lumOff val="50000"/>
                  </a:prstClr>
                </a:solidFill>
                <a:effectLst/>
                <a:uLnTx/>
                <a:uFillTx/>
                <a:latin typeface="HarmonyOS Sans SC"/>
                <a:cs typeface="Open Sans" panose="020B0606030504020204" pitchFamily="34" charset="0"/>
              </a:rPr>
              <a:t>Lorem ipsum dolor sit </a:t>
            </a:r>
            <a:r>
              <a:rPr kumimoji="0" lang="en-US" sz="1050" b="0" i="0" u="none" strike="noStrike" kern="1200" cap="none" spc="0" normalizeH="0" baseline="0" noProof="0" dirty="0" err="1">
                <a:ln>
                  <a:noFill/>
                </a:ln>
                <a:solidFill>
                  <a:prstClr val="black">
                    <a:lumMod val="50000"/>
                    <a:lumOff val="50000"/>
                  </a:prstClr>
                </a:solidFill>
                <a:effectLst/>
                <a:uLnTx/>
                <a:uFillTx/>
                <a:latin typeface="HarmonyOS Sans SC"/>
                <a:cs typeface="Open Sans" panose="020B0606030504020204" pitchFamily="34" charset="0"/>
              </a:rPr>
              <a:t>amet</a:t>
            </a:r>
            <a:r>
              <a:rPr kumimoji="0" lang="en-US" sz="1050" b="0" i="0" u="none" strike="noStrike" kern="1200" cap="none" spc="0" normalizeH="0" baseline="0" noProof="0" dirty="0">
                <a:ln>
                  <a:noFill/>
                </a:ln>
                <a:solidFill>
                  <a:prstClr val="black">
                    <a:lumMod val="50000"/>
                    <a:lumOff val="50000"/>
                  </a:prstClr>
                </a:solidFill>
                <a:effectLst/>
                <a:uLnTx/>
                <a:uFillTx/>
                <a:latin typeface="HarmonyOS Sans SC"/>
                <a:cs typeface="Open Sans" panose="020B0606030504020204" pitchFamily="34" charset="0"/>
              </a:rPr>
              <a:t>, </a:t>
            </a:r>
            <a:r>
              <a:rPr kumimoji="0" lang="en-US" sz="1050" b="0" i="0" u="none" strike="noStrike" kern="1200" cap="none" spc="0" normalizeH="0" baseline="0" noProof="0" dirty="0" err="1">
                <a:ln>
                  <a:noFill/>
                </a:ln>
                <a:solidFill>
                  <a:prstClr val="black">
                    <a:lumMod val="50000"/>
                    <a:lumOff val="50000"/>
                  </a:prstClr>
                </a:solidFill>
                <a:effectLst/>
                <a:uLnTx/>
                <a:uFillTx/>
                <a:latin typeface="HarmonyOS Sans SC"/>
                <a:cs typeface="Open Sans" panose="020B0606030504020204" pitchFamily="34" charset="0"/>
              </a:rPr>
              <a:t>consectetur</a:t>
            </a:r>
            <a:r>
              <a:rPr kumimoji="0" lang="en-US" sz="1050" b="0" i="0" u="none" strike="noStrike" kern="1200" cap="none" spc="0" normalizeH="0" baseline="0" noProof="0" dirty="0">
                <a:ln>
                  <a:noFill/>
                </a:ln>
                <a:solidFill>
                  <a:prstClr val="black">
                    <a:lumMod val="50000"/>
                    <a:lumOff val="50000"/>
                  </a:prstClr>
                </a:solidFill>
                <a:effectLst/>
                <a:uLnTx/>
                <a:uFillTx/>
                <a:latin typeface="HarmonyOS Sans SC"/>
                <a:cs typeface="Open Sans" panose="020B0606030504020204" pitchFamily="34" charset="0"/>
              </a:rPr>
              <a:t> </a:t>
            </a:r>
            <a:r>
              <a:rPr kumimoji="0" lang="en-US" sz="1050" b="0" i="0" u="none" strike="noStrike" kern="1200" cap="none" spc="0" normalizeH="0" baseline="0" noProof="0" dirty="0" err="1">
                <a:ln>
                  <a:noFill/>
                </a:ln>
                <a:solidFill>
                  <a:prstClr val="black">
                    <a:lumMod val="50000"/>
                    <a:lumOff val="50000"/>
                  </a:prstClr>
                </a:solidFill>
                <a:effectLst/>
                <a:uLnTx/>
                <a:uFillTx/>
                <a:latin typeface="HarmonyOS Sans SC"/>
                <a:cs typeface="Open Sans" panose="020B0606030504020204" pitchFamily="34" charset="0"/>
              </a:rPr>
              <a:t>adipiscing</a:t>
            </a:r>
            <a:r>
              <a:rPr kumimoji="0" lang="en-US" sz="1050" b="0" i="0" u="none" strike="noStrike" kern="1200" cap="none" spc="0" normalizeH="0" baseline="0" noProof="0" dirty="0">
                <a:ln>
                  <a:noFill/>
                </a:ln>
                <a:solidFill>
                  <a:prstClr val="black">
                    <a:lumMod val="50000"/>
                    <a:lumOff val="50000"/>
                  </a:prstClr>
                </a:solidFill>
                <a:effectLst/>
                <a:uLnTx/>
                <a:uFillTx/>
                <a:latin typeface="HarmonyOS Sans SC"/>
                <a:cs typeface="Open Sans" panose="020B0606030504020204" pitchFamily="34" charset="0"/>
              </a:rPr>
              <a:t> </a:t>
            </a:r>
            <a:r>
              <a:rPr kumimoji="0" lang="en-US" sz="1050" b="0" i="0" u="none" strike="noStrike" kern="1200" cap="none" spc="0" normalizeH="0" baseline="0" noProof="0" dirty="0" err="1">
                <a:ln>
                  <a:noFill/>
                </a:ln>
                <a:solidFill>
                  <a:prstClr val="black">
                    <a:lumMod val="50000"/>
                    <a:lumOff val="50000"/>
                  </a:prstClr>
                </a:solidFill>
                <a:effectLst/>
                <a:uLnTx/>
                <a:uFillTx/>
                <a:latin typeface="HarmonyOS Sans SC"/>
                <a:cs typeface="Open Sans" panose="020B0606030504020204" pitchFamily="34" charset="0"/>
              </a:rPr>
              <a:t>elit</a:t>
            </a:r>
            <a:r>
              <a:rPr kumimoji="0" lang="en-US" sz="1050" b="0" i="0" u="none" strike="noStrike" kern="1200" cap="none" spc="0" normalizeH="0" baseline="0" noProof="0" dirty="0">
                <a:ln>
                  <a:noFill/>
                </a:ln>
                <a:solidFill>
                  <a:prstClr val="black">
                    <a:lumMod val="50000"/>
                    <a:lumOff val="50000"/>
                  </a:prstClr>
                </a:solidFill>
                <a:effectLst/>
                <a:uLnTx/>
                <a:uFillTx/>
                <a:latin typeface="HarmonyOS Sans SC"/>
                <a:cs typeface="Open Sans" panose="020B0606030504020204" pitchFamily="34" charset="0"/>
              </a:rPr>
              <a:t>. Nunc </a:t>
            </a:r>
            <a:r>
              <a:rPr kumimoji="0" lang="en-US" sz="1050" b="0" i="0" u="none" strike="noStrike" kern="1200" cap="none" spc="0" normalizeH="0" baseline="0" noProof="0" dirty="0" err="1">
                <a:ln>
                  <a:noFill/>
                </a:ln>
                <a:solidFill>
                  <a:prstClr val="black">
                    <a:lumMod val="50000"/>
                    <a:lumOff val="50000"/>
                  </a:prstClr>
                </a:solidFill>
                <a:effectLst/>
                <a:uLnTx/>
                <a:uFillTx/>
                <a:latin typeface="HarmonyOS Sans SC"/>
                <a:cs typeface="Open Sans" panose="020B0606030504020204" pitchFamily="34" charset="0"/>
              </a:rPr>
              <a:t>bibendum</a:t>
            </a:r>
            <a:r>
              <a:rPr kumimoji="0" lang="en-US" sz="1050" b="0" i="0" u="none" strike="noStrike" kern="1200" cap="none" spc="0" normalizeH="0" baseline="0" noProof="0" dirty="0">
                <a:ln>
                  <a:noFill/>
                </a:ln>
                <a:solidFill>
                  <a:prstClr val="black">
                    <a:lumMod val="50000"/>
                    <a:lumOff val="50000"/>
                  </a:prstClr>
                </a:solidFill>
                <a:effectLst/>
                <a:uLnTx/>
                <a:uFillTx/>
                <a:latin typeface="HarmonyOS Sans SC"/>
                <a:cs typeface="Open Sans" panose="020B0606030504020204" pitchFamily="34" charset="0"/>
              </a:rPr>
              <a:t> </a:t>
            </a:r>
            <a:r>
              <a:rPr kumimoji="0" lang="en-US" sz="1050" b="0" i="0" u="none" strike="noStrike" kern="1200" cap="none" spc="0" normalizeH="0" baseline="0" noProof="0" dirty="0" err="1">
                <a:ln>
                  <a:noFill/>
                </a:ln>
                <a:solidFill>
                  <a:prstClr val="black">
                    <a:lumMod val="50000"/>
                    <a:lumOff val="50000"/>
                  </a:prstClr>
                </a:solidFill>
                <a:effectLst/>
                <a:uLnTx/>
                <a:uFillTx/>
                <a:latin typeface="HarmonyOS Sans SC"/>
                <a:cs typeface="Open Sans" panose="020B0606030504020204" pitchFamily="34" charset="0"/>
              </a:rPr>
              <a:t>eleifend</a:t>
            </a:r>
            <a:r>
              <a:rPr kumimoji="0" lang="en-US" sz="1050" b="0" i="0" u="none" strike="noStrike" kern="1200" cap="none" spc="0" normalizeH="0" baseline="0" noProof="0" dirty="0">
                <a:ln>
                  <a:noFill/>
                </a:ln>
                <a:solidFill>
                  <a:prstClr val="black">
                    <a:lumMod val="50000"/>
                    <a:lumOff val="50000"/>
                  </a:prstClr>
                </a:solidFill>
                <a:effectLst/>
                <a:uLnTx/>
                <a:uFillTx/>
                <a:latin typeface="HarmonyOS Sans SC"/>
                <a:cs typeface="Open Sans" panose="020B0606030504020204" pitchFamily="34" charset="0"/>
              </a:rPr>
              <a:t> </a:t>
            </a:r>
            <a:r>
              <a:rPr kumimoji="0" lang="en-US" sz="1050" b="0" i="0" u="none" strike="noStrike" kern="1200" cap="none" spc="0" normalizeH="0" baseline="0" noProof="0" dirty="0" err="1">
                <a:ln>
                  <a:noFill/>
                </a:ln>
                <a:solidFill>
                  <a:prstClr val="black">
                    <a:lumMod val="50000"/>
                    <a:lumOff val="50000"/>
                  </a:prstClr>
                </a:solidFill>
                <a:effectLst/>
                <a:uLnTx/>
                <a:uFillTx/>
                <a:latin typeface="HarmonyOS Sans SC"/>
                <a:cs typeface="Open Sans" panose="020B0606030504020204" pitchFamily="34" charset="0"/>
              </a:rPr>
              <a:t>tortor</a:t>
            </a:r>
            <a:r>
              <a:rPr kumimoji="0" lang="en-US" sz="1050" b="0" i="0" u="none" strike="noStrike" kern="1200" cap="none" spc="0" normalizeH="0" baseline="0" noProof="0" dirty="0">
                <a:ln>
                  <a:noFill/>
                </a:ln>
                <a:solidFill>
                  <a:prstClr val="black">
                    <a:lumMod val="50000"/>
                    <a:lumOff val="50000"/>
                  </a:prstClr>
                </a:solidFill>
                <a:effectLst/>
                <a:uLnTx/>
                <a:uFillTx/>
                <a:latin typeface="HarmonyOS Sans SC"/>
                <a:cs typeface="Open Sans" panose="020B0606030504020204" pitchFamily="34" charset="0"/>
              </a:rPr>
              <a:t>, non porta</a:t>
            </a:r>
          </a:p>
        </p:txBody>
      </p:sp>
      <p:sp>
        <p:nvSpPr>
          <p:cNvPr id="27" name="文本框 26">
            <a:extLst>
              <a:ext uri="{FF2B5EF4-FFF2-40B4-BE49-F238E27FC236}">
                <a16:creationId xmlns:a16="http://schemas.microsoft.com/office/drawing/2014/main" id="{F512D309-0BDB-4C41-BE2A-EDBDD0E3F710}"/>
              </a:ext>
            </a:extLst>
          </p:cNvPr>
          <p:cNvSpPr txBox="1"/>
          <p:nvPr/>
        </p:nvSpPr>
        <p:spPr>
          <a:xfrm>
            <a:off x="3244901" y="918105"/>
            <a:ext cx="5702202" cy="52322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2800" b="0" i="0" u="none" strike="noStrike" kern="1200" cap="none" spc="0" normalizeH="0" baseline="0" noProof="0" dirty="0">
                <a:ln>
                  <a:noFill/>
                </a:ln>
                <a:solidFill>
                  <a:prstClr val="black"/>
                </a:solidFill>
                <a:effectLst/>
                <a:uLnTx/>
                <a:uFillTx/>
                <a:latin typeface="HarmonyOS Sans Black"/>
                <a:ea typeface="+mj-ea"/>
                <a:cs typeface="+mn-cs"/>
              </a:rPr>
              <a:t>Turban Fashion For </a:t>
            </a:r>
            <a:r>
              <a:rPr kumimoji="0" lang="en-US" altLang="zh-CN" sz="2800" b="0" i="0" u="none" strike="noStrike" kern="1200" cap="none" spc="0" normalizeH="0" baseline="0" noProof="0" dirty="0">
                <a:ln>
                  <a:noFill/>
                </a:ln>
                <a:solidFill>
                  <a:schemeClr val="accent1"/>
                </a:solidFill>
                <a:effectLst/>
                <a:uLnTx/>
                <a:uFillTx/>
                <a:latin typeface="HarmonyOS Sans Black"/>
                <a:ea typeface="+mj-ea"/>
                <a:cs typeface="+mn-cs"/>
              </a:rPr>
              <a:t>Infographic</a:t>
            </a:r>
          </a:p>
        </p:txBody>
      </p:sp>
    </p:spTree>
    <p:extLst>
      <p:ext uri="{BB962C8B-B14F-4D97-AF65-F5344CB8AC3E}">
        <p14:creationId xmlns:p14="http://schemas.microsoft.com/office/powerpoint/2010/main" val="4045345123"/>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5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3">
            <a:extLst>
              <a:ext uri="{FF2B5EF4-FFF2-40B4-BE49-F238E27FC236}">
                <a16:creationId xmlns:a16="http://schemas.microsoft.com/office/drawing/2014/main" id="{B4D0BBBF-E3D3-467E-96F9-311CEB3A74C2}"/>
              </a:ext>
            </a:extLst>
          </p:cNvPr>
          <p:cNvSpPr txBox="1"/>
          <p:nvPr/>
        </p:nvSpPr>
        <p:spPr>
          <a:xfrm>
            <a:off x="980028" y="3051398"/>
            <a:ext cx="1608774"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30" normalizeH="0" baseline="0" noProof="0" dirty="0">
                <a:ln>
                  <a:noFill/>
                </a:ln>
                <a:solidFill>
                  <a:prstClr val="black">
                    <a:lumMod val="75000"/>
                    <a:lumOff val="25000"/>
                  </a:prstClr>
                </a:solidFill>
                <a:effectLst/>
                <a:uLnTx/>
                <a:uFillTx/>
                <a:latin typeface="HarmonyOS Sans SC Black"/>
                <a:ea typeface="+mj-ea"/>
                <a:cs typeface="Lato" panose="020F0502020204030203" pitchFamily="34" charset="0"/>
              </a:rPr>
              <a:t>Write your title</a:t>
            </a:r>
          </a:p>
        </p:txBody>
      </p:sp>
      <p:sp>
        <p:nvSpPr>
          <p:cNvPr id="4" name="TextBox 4">
            <a:extLst>
              <a:ext uri="{FF2B5EF4-FFF2-40B4-BE49-F238E27FC236}">
                <a16:creationId xmlns:a16="http://schemas.microsoft.com/office/drawing/2014/main" id="{078E64ED-EE62-46EA-9B6A-27C85341DC64}"/>
              </a:ext>
            </a:extLst>
          </p:cNvPr>
          <p:cNvSpPr txBox="1"/>
          <p:nvPr/>
        </p:nvSpPr>
        <p:spPr>
          <a:xfrm>
            <a:off x="980028" y="3357068"/>
            <a:ext cx="1927131" cy="521168"/>
          </a:xfrm>
          <a:prstGeom prst="rect">
            <a:avLst/>
          </a:prstGeom>
          <a:noFill/>
        </p:spPr>
        <p:txBody>
          <a:bodyPr wrap="none" rtlCol="0">
            <a:spAutoFit/>
          </a:bodyPr>
          <a:lstStyle/>
          <a:p>
            <a:pPr marL="0" marR="0" lvl="0" indent="0" algn="l" defTabSz="914400" rtl="0" eaLnBrk="1" fontAlgn="auto" latinLnBrk="0" hangingPunct="1">
              <a:lnSpc>
                <a:spcPct val="140000"/>
              </a:lnSpc>
              <a:spcBef>
                <a:spcPts val="0"/>
              </a:spcBef>
              <a:spcAft>
                <a:spcPts val="0"/>
              </a:spcAft>
              <a:buClrTx/>
              <a:buSzTx/>
              <a:buFontTx/>
              <a:buNone/>
              <a:tabLst/>
              <a:defRPr/>
            </a:pPr>
            <a:r>
              <a:rPr kumimoji="0" lang="en-US" sz="1050" b="0" i="0" u="none" strike="noStrike" kern="1200" cap="none" spc="0" normalizeH="0" baseline="0" noProof="0">
                <a:ln>
                  <a:noFill/>
                </a:ln>
                <a:solidFill>
                  <a:prstClr val="black">
                    <a:lumMod val="50000"/>
                    <a:lumOff val="50000"/>
                  </a:prstClr>
                </a:solidFill>
                <a:effectLst/>
                <a:uLnTx/>
                <a:uFillTx/>
                <a:latin typeface="HarmonyOS Sans SC"/>
                <a:cs typeface="Lato" panose="020F0502020204030203" pitchFamily="34" charset="0"/>
              </a:rPr>
              <a:t>Lorem ipsum dolor, consect </a:t>
            </a:r>
          </a:p>
          <a:p>
            <a:pPr marL="0" marR="0" lvl="0" indent="0" algn="l" defTabSz="914400" rtl="0" eaLnBrk="1" fontAlgn="auto" latinLnBrk="0" hangingPunct="1">
              <a:lnSpc>
                <a:spcPct val="140000"/>
              </a:lnSpc>
              <a:spcBef>
                <a:spcPts val="0"/>
              </a:spcBef>
              <a:spcAft>
                <a:spcPts val="0"/>
              </a:spcAft>
              <a:buClrTx/>
              <a:buSzTx/>
              <a:buFontTx/>
              <a:buNone/>
              <a:tabLst/>
              <a:defRPr/>
            </a:pPr>
            <a:r>
              <a:rPr kumimoji="0" lang="en-US" sz="1050" b="0" i="0" u="none" strike="noStrike" kern="1200" cap="none" spc="0" normalizeH="0" baseline="0" noProof="0">
                <a:ln>
                  <a:noFill/>
                </a:ln>
                <a:solidFill>
                  <a:prstClr val="black">
                    <a:lumMod val="50000"/>
                    <a:lumOff val="50000"/>
                  </a:prstClr>
                </a:solidFill>
                <a:effectLst/>
                <a:uLnTx/>
                <a:uFillTx/>
                <a:latin typeface="HarmonyOS Sans SC"/>
                <a:cs typeface="Lato" panose="020F0502020204030203" pitchFamily="34" charset="0"/>
              </a:rPr>
              <a:t>adipiscing elit roin cursu.</a:t>
            </a:r>
          </a:p>
        </p:txBody>
      </p:sp>
      <p:sp>
        <p:nvSpPr>
          <p:cNvPr id="5" name="Oval 5">
            <a:extLst>
              <a:ext uri="{FF2B5EF4-FFF2-40B4-BE49-F238E27FC236}">
                <a16:creationId xmlns:a16="http://schemas.microsoft.com/office/drawing/2014/main" id="{521E00A5-E59D-4B1F-9CB6-AAEBCC363DF3}"/>
              </a:ext>
            </a:extLst>
          </p:cNvPr>
          <p:cNvSpPr/>
          <p:nvPr/>
        </p:nvSpPr>
        <p:spPr>
          <a:xfrm>
            <a:off x="1071139" y="2501420"/>
            <a:ext cx="418376" cy="418376"/>
          </a:xfrm>
          <a:prstGeom prst="ellipse">
            <a:avLst/>
          </a:prstGeom>
          <a:gradFill>
            <a:gsLst>
              <a:gs pos="73000">
                <a:schemeClr val="accent1"/>
              </a:gs>
              <a:gs pos="31000">
                <a:schemeClr val="accent1">
                  <a:lumMod val="60000"/>
                  <a:lumOff val="40000"/>
                </a:schemeClr>
              </a:gs>
              <a:gs pos="0">
                <a:schemeClr val="accent1">
                  <a:lumMod val="40000"/>
                  <a:lumOff val="60000"/>
                </a:schemeClr>
              </a:gs>
            </a:gsLst>
            <a:path path="circle">
              <a:fillToRect r="100000" b="100000"/>
            </a:path>
          </a:gradFill>
          <a:ln>
            <a:noFill/>
          </a:ln>
          <a:effectLst>
            <a:outerShdw blurRad="444500" dist="317500" dir="5400000" sx="92000" sy="92000" algn="t" rotWithShape="0">
              <a:schemeClr val="accent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HarmonyOS Sans SC Black"/>
                <a:ea typeface="+mj-ea"/>
                <a:cs typeface="+mn-cs"/>
              </a:rPr>
              <a:t>1</a:t>
            </a:r>
          </a:p>
        </p:txBody>
      </p:sp>
      <p:sp>
        <p:nvSpPr>
          <p:cNvPr id="7" name="TextBox 7">
            <a:extLst>
              <a:ext uri="{FF2B5EF4-FFF2-40B4-BE49-F238E27FC236}">
                <a16:creationId xmlns:a16="http://schemas.microsoft.com/office/drawing/2014/main" id="{6B962B48-5832-41CB-874C-84678C151B74}"/>
              </a:ext>
            </a:extLst>
          </p:cNvPr>
          <p:cNvSpPr txBox="1"/>
          <p:nvPr/>
        </p:nvSpPr>
        <p:spPr>
          <a:xfrm>
            <a:off x="980028" y="5010069"/>
            <a:ext cx="1608774"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30" normalizeH="0" baseline="0" noProof="0" dirty="0">
                <a:ln>
                  <a:noFill/>
                </a:ln>
                <a:solidFill>
                  <a:prstClr val="black">
                    <a:lumMod val="75000"/>
                    <a:lumOff val="25000"/>
                  </a:prstClr>
                </a:solidFill>
                <a:effectLst/>
                <a:uLnTx/>
                <a:uFillTx/>
                <a:latin typeface="HarmonyOS Sans SC Black"/>
                <a:ea typeface="+mj-ea"/>
                <a:cs typeface="Lato" panose="020F0502020204030203" pitchFamily="34" charset="0"/>
              </a:rPr>
              <a:t>Write your title</a:t>
            </a:r>
          </a:p>
        </p:txBody>
      </p:sp>
      <p:sp>
        <p:nvSpPr>
          <p:cNvPr id="8" name="TextBox 8">
            <a:extLst>
              <a:ext uri="{FF2B5EF4-FFF2-40B4-BE49-F238E27FC236}">
                <a16:creationId xmlns:a16="http://schemas.microsoft.com/office/drawing/2014/main" id="{22BAD29F-A25A-4918-A86E-E720766032B0}"/>
              </a:ext>
            </a:extLst>
          </p:cNvPr>
          <p:cNvSpPr txBox="1"/>
          <p:nvPr/>
        </p:nvSpPr>
        <p:spPr>
          <a:xfrm>
            <a:off x="980028" y="5315739"/>
            <a:ext cx="1927131" cy="521168"/>
          </a:xfrm>
          <a:prstGeom prst="rect">
            <a:avLst/>
          </a:prstGeom>
          <a:noFill/>
        </p:spPr>
        <p:txBody>
          <a:bodyPr wrap="none" rtlCol="0">
            <a:spAutoFit/>
          </a:bodyPr>
          <a:lstStyle/>
          <a:p>
            <a:pPr marL="0" marR="0" lvl="0" indent="0" algn="l" defTabSz="914400" rtl="0" eaLnBrk="1" fontAlgn="auto" latinLnBrk="0" hangingPunct="1">
              <a:lnSpc>
                <a:spcPct val="14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lumMod val="50000"/>
                    <a:lumOff val="50000"/>
                  </a:prstClr>
                </a:solidFill>
                <a:effectLst/>
                <a:uLnTx/>
                <a:uFillTx/>
                <a:latin typeface="HarmonyOS Sans SC"/>
                <a:cs typeface="Lato" panose="020F0502020204030203" pitchFamily="34" charset="0"/>
              </a:rPr>
              <a:t>Lorem ipsum dolor, </a:t>
            </a:r>
            <a:r>
              <a:rPr kumimoji="0" lang="en-US" sz="1050" b="0" i="0" u="none" strike="noStrike" kern="1200" cap="none" spc="0" normalizeH="0" baseline="0" noProof="0" dirty="0" err="1">
                <a:ln>
                  <a:noFill/>
                </a:ln>
                <a:solidFill>
                  <a:prstClr val="black">
                    <a:lumMod val="50000"/>
                    <a:lumOff val="50000"/>
                  </a:prstClr>
                </a:solidFill>
                <a:effectLst/>
                <a:uLnTx/>
                <a:uFillTx/>
                <a:latin typeface="HarmonyOS Sans SC"/>
                <a:cs typeface="Lato" panose="020F0502020204030203" pitchFamily="34" charset="0"/>
              </a:rPr>
              <a:t>consect</a:t>
            </a:r>
            <a:r>
              <a:rPr kumimoji="0" lang="en-US" sz="1050" b="0" i="0" u="none" strike="noStrike" kern="1200" cap="none" spc="0" normalizeH="0" baseline="0" noProof="0" dirty="0">
                <a:ln>
                  <a:noFill/>
                </a:ln>
                <a:solidFill>
                  <a:prstClr val="black">
                    <a:lumMod val="50000"/>
                    <a:lumOff val="50000"/>
                  </a:prstClr>
                </a:solidFill>
                <a:effectLst/>
                <a:uLnTx/>
                <a:uFillTx/>
                <a:latin typeface="HarmonyOS Sans SC"/>
                <a:cs typeface="Lato" panose="020F0502020204030203" pitchFamily="34" charset="0"/>
              </a:rPr>
              <a:t> </a:t>
            </a:r>
          </a:p>
          <a:p>
            <a:pPr marL="0" marR="0" lvl="0" indent="0" algn="l" defTabSz="914400" rtl="0" eaLnBrk="1" fontAlgn="auto" latinLnBrk="0" hangingPunct="1">
              <a:lnSpc>
                <a:spcPct val="140000"/>
              </a:lnSpc>
              <a:spcBef>
                <a:spcPts val="0"/>
              </a:spcBef>
              <a:spcAft>
                <a:spcPts val="0"/>
              </a:spcAft>
              <a:buClrTx/>
              <a:buSzTx/>
              <a:buFontTx/>
              <a:buNone/>
              <a:tabLst/>
              <a:defRPr/>
            </a:pPr>
            <a:r>
              <a:rPr kumimoji="0" lang="en-US" sz="1050" b="0" i="0" u="none" strike="noStrike" kern="1200" cap="none" spc="0" normalizeH="0" baseline="0" noProof="0" dirty="0" err="1">
                <a:ln>
                  <a:noFill/>
                </a:ln>
                <a:solidFill>
                  <a:prstClr val="black">
                    <a:lumMod val="50000"/>
                    <a:lumOff val="50000"/>
                  </a:prstClr>
                </a:solidFill>
                <a:effectLst/>
                <a:uLnTx/>
                <a:uFillTx/>
                <a:latin typeface="HarmonyOS Sans SC"/>
                <a:cs typeface="Lato" panose="020F0502020204030203" pitchFamily="34" charset="0"/>
              </a:rPr>
              <a:t>adipiscing</a:t>
            </a:r>
            <a:r>
              <a:rPr kumimoji="0" lang="en-US" sz="1050" b="0" i="0" u="none" strike="noStrike" kern="1200" cap="none" spc="0" normalizeH="0" baseline="0" noProof="0" dirty="0">
                <a:ln>
                  <a:noFill/>
                </a:ln>
                <a:solidFill>
                  <a:prstClr val="black">
                    <a:lumMod val="50000"/>
                    <a:lumOff val="50000"/>
                  </a:prstClr>
                </a:solidFill>
                <a:effectLst/>
                <a:uLnTx/>
                <a:uFillTx/>
                <a:latin typeface="HarmonyOS Sans SC"/>
                <a:cs typeface="Lato" panose="020F0502020204030203" pitchFamily="34" charset="0"/>
              </a:rPr>
              <a:t> </a:t>
            </a:r>
            <a:r>
              <a:rPr kumimoji="0" lang="en-US" sz="1050" b="0" i="0" u="none" strike="noStrike" kern="1200" cap="none" spc="0" normalizeH="0" baseline="0" noProof="0" dirty="0" err="1">
                <a:ln>
                  <a:noFill/>
                </a:ln>
                <a:solidFill>
                  <a:prstClr val="black">
                    <a:lumMod val="50000"/>
                    <a:lumOff val="50000"/>
                  </a:prstClr>
                </a:solidFill>
                <a:effectLst/>
                <a:uLnTx/>
                <a:uFillTx/>
                <a:latin typeface="HarmonyOS Sans SC"/>
                <a:cs typeface="Lato" panose="020F0502020204030203" pitchFamily="34" charset="0"/>
              </a:rPr>
              <a:t>elit</a:t>
            </a:r>
            <a:r>
              <a:rPr kumimoji="0" lang="en-US" sz="1050" b="0" i="0" u="none" strike="noStrike" kern="1200" cap="none" spc="0" normalizeH="0" baseline="0" noProof="0" dirty="0">
                <a:ln>
                  <a:noFill/>
                </a:ln>
                <a:solidFill>
                  <a:prstClr val="black">
                    <a:lumMod val="50000"/>
                    <a:lumOff val="50000"/>
                  </a:prstClr>
                </a:solidFill>
                <a:effectLst/>
                <a:uLnTx/>
                <a:uFillTx/>
                <a:latin typeface="HarmonyOS Sans SC"/>
                <a:cs typeface="Lato" panose="020F0502020204030203" pitchFamily="34" charset="0"/>
              </a:rPr>
              <a:t> </a:t>
            </a:r>
            <a:r>
              <a:rPr kumimoji="0" lang="en-US" sz="1050" b="0" i="0" u="none" strike="noStrike" kern="1200" cap="none" spc="0" normalizeH="0" baseline="0" noProof="0" dirty="0" err="1">
                <a:ln>
                  <a:noFill/>
                </a:ln>
                <a:solidFill>
                  <a:prstClr val="black">
                    <a:lumMod val="50000"/>
                    <a:lumOff val="50000"/>
                  </a:prstClr>
                </a:solidFill>
                <a:effectLst/>
                <a:uLnTx/>
                <a:uFillTx/>
                <a:latin typeface="HarmonyOS Sans SC"/>
                <a:cs typeface="Lato" panose="020F0502020204030203" pitchFamily="34" charset="0"/>
              </a:rPr>
              <a:t>roin</a:t>
            </a:r>
            <a:r>
              <a:rPr kumimoji="0" lang="en-US" sz="1050" b="0" i="0" u="none" strike="noStrike" kern="1200" cap="none" spc="0" normalizeH="0" baseline="0" noProof="0" dirty="0">
                <a:ln>
                  <a:noFill/>
                </a:ln>
                <a:solidFill>
                  <a:prstClr val="black">
                    <a:lumMod val="50000"/>
                    <a:lumOff val="50000"/>
                  </a:prstClr>
                </a:solidFill>
                <a:effectLst/>
                <a:uLnTx/>
                <a:uFillTx/>
                <a:latin typeface="HarmonyOS Sans SC"/>
                <a:cs typeface="Lato" panose="020F0502020204030203" pitchFamily="34" charset="0"/>
              </a:rPr>
              <a:t> </a:t>
            </a:r>
            <a:r>
              <a:rPr kumimoji="0" lang="en-US" sz="1050" b="0" i="0" u="none" strike="noStrike" kern="1200" cap="none" spc="0" normalizeH="0" baseline="0" noProof="0" dirty="0" err="1">
                <a:ln>
                  <a:noFill/>
                </a:ln>
                <a:solidFill>
                  <a:prstClr val="black">
                    <a:lumMod val="50000"/>
                    <a:lumOff val="50000"/>
                  </a:prstClr>
                </a:solidFill>
                <a:effectLst/>
                <a:uLnTx/>
                <a:uFillTx/>
                <a:latin typeface="HarmonyOS Sans SC"/>
                <a:cs typeface="Lato" panose="020F0502020204030203" pitchFamily="34" charset="0"/>
              </a:rPr>
              <a:t>cursu</a:t>
            </a:r>
            <a:r>
              <a:rPr kumimoji="0" lang="en-US" sz="1050" b="0" i="0" u="none" strike="noStrike" kern="1200" cap="none" spc="0" normalizeH="0" baseline="0" noProof="0" dirty="0">
                <a:ln>
                  <a:noFill/>
                </a:ln>
                <a:solidFill>
                  <a:prstClr val="black">
                    <a:lumMod val="50000"/>
                    <a:lumOff val="50000"/>
                  </a:prstClr>
                </a:solidFill>
                <a:effectLst/>
                <a:uLnTx/>
                <a:uFillTx/>
                <a:latin typeface="HarmonyOS Sans SC"/>
                <a:cs typeface="Lato" panose="020F0502020204030203" pitchFamily="34" charset="0"/>
              </a:rPr>
              <a:t>.</a:t>
            </a:r>
          </a:p>
        </p:txBody>
      </p:sp>
      <p:sp>
        <p:nvSpPr>
          <p:cNvPr id="9" name="Oval 9">
            <a:extLst>
              <a:ext uri="{FF2B5EF4-FFF2-40B4-BE49-F238E27FC236}">
                <a16:creationId xmlns:a16="http://schemas.microsoft.com/office/drawing/2014/main" id="{FF037CA8-1A57-4E68-B218-896C06CF9082}"/>
              </a:ext>
            </a:extLst>
          </p:cNvPr>
          <p:cNvSpPr/>
          <p:nvPr/>
        </p:nvSpPr>
        <p:spPr>
          <a:xfrm>
            <a:off x="1071139" y="4460091"/>
            <a:ext cx="418376" cy="418376"/>
          </a:xfrm>
          <a:prstGeom prst="ellipse">
            <a:avLst/>
          </a:prstGeom>
          <a:gradFill>
            <a:gsLst>
              <a:gs pos="73000">
                <a:schemeClr val="accent1"/>
              </a:gs>
              <a:gs pos="31000">
                <a:schemeClr val="accent1">
                  <a:lumMod val="60000"/>
                  <a:lumOff val="40000"/>
                </a:schemeClr>
              </a:gs>
              <a:gs pos="0">
                <a:schemeClr val="accent1">
                  <a:lumMod val="40000"/>
                  <a:lumOff val="60000"/>
                </a:schemeClr>
              </a:gs>
            </a:gsLst>
            <a:path path="circle">
              <a:fillToRect r="100000" b="100000"/>
            </a:path>
          </a:gradFill>
          <a:ln>
            <a:noFill/>
          </a:ln>
          <a:effectLst>
            <a:outerShdw blurRad="444500" dist="317500" dir="5400000" sx="92000" sy="92000" algn="t" rotWithShape="0">
              <a:schemeClr val="accent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HarmonyOS Sans SC Black"/>
                <a:ea typeface="+mj-ea"/>
                <a:cs typeface="+mn-cs"/>
              </a:rPr>
              <a:t>3</a:t>
            </a:r>
          </a:p>
        </p:txBody>
      </p:sp>
      <p:sp>
        <p:nvSpPr>
          <p:cNvPr id="11" name="TextBox 11">
            <a:extLst>
              <a:ext uri="{FF2B5EF4-FFF2-40B4-BE49-F238E27FC236}">
                <a16:creationId xmlns:a16="http://schemas.microsoft.com/office/drawing/2014/main" id="{60E52B90-B40A-408E-B921-14F86C9F5BAD}"/>
              </a:ext>
            </a:extLst>
          </p:cNvPr>
          <p:cNvSpPr txBox="1"/>
          <p:nvPr/>
        </p:nvSpPr>
        <p:spPr>
          <a:xfrm>
            <a:off x="3852828" y="3051398"/>
            <a:ext cx="1608774"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30" normalizeH="0" baseline="0" noProof="0">
                <a:ln>
                  <a:noFill/>
                </a:ln>
                <a:solidFill>
                  <a:prstClr val="black">
                    <a:lumMod val="75000"/>
                    <a:lumOff val="25000"/>
                  </a:prstClr>
                </a:solidFill>
                <a:effectLst/>
                <a:uLnTx/>
                <a:uFillTx/>
                <a:latin typeface="HarmonyOS Sans SC Black"/>
                <a:ea typeface="+mj-ea"/>
                <a:cs typeface="Lato" panose="020F0502020204030203" pitchFamily="34" charset="0"/>
              </a:rPr>
              <a:t>Write your title</a:t>
            </a:r>
          </a:p>
        </p:txBody>
      </p:sp>
      <p:sp>
        <p:nvSpPr>
          <p:cNvPr id="12" name="TextBox 12">
            <a:extLst>
              <a:ext uri="{FF2B5EF4-FFF2-40B4-BE49-F238E27FC236}">
                <a16:creationId xmlns:a16="http://schemas.microsoft.com/office/drawing/2014/main" id="{09264A3B-AD06-40D6-9CC3-2503EBC1A5C1}"/>
              </a:ext>
            </a:extLst>
          </p:cNvPr>
          <p:cNvSpPr txBox="1"/>
          <p:nvPr/>
        </p:nvSpPr>
        <p:spPr>
          <a:xfrm>
            <a:off x="3852828" y="3357068"/>
            <a:ext cx="1927131" cy="521168"/>
          </a:xfrm>
          <a:prstGeom prst="rect">
            <a:avLst/>
          </a:prstGeom>
          <a:noFill/>
        </p:spPr>
        <p:txBody>
          <a:bodyPr wrap="none" rtlCol="0">
            <a:spAutoFit/>
          </a:bodyPr>
          <a:lstStyle/>
          <a:p>
            <a:pPr marL="0" marR="0" lvl="0" indent="0" algn="l" defTabSz="914400" rtl="0" eaLnBrk="1" fontAlgn="auto" latinLnBrk="0" hangingPunct="1">
              <a:lnSpc>
                <a:spcPct val="140000"/>
              </a:lnSpc>
              <a:spcBef>
                <a:spcPts val="0"/>
              </a:spcBef>
              <a:spcAft>
                <a:spcPts val="0"/>
              </a:spcAft>
              <a:buClrTx/>
              <a:buSzTx/>
              <a:buFontTx/>
              <a:buNone/>
              <a:tabLst/>
              <a:defRPr/>
            </a:pPr>
            <a:r>
              <a:rPr kumimoji="0" lang="en-US" sz="1050" b="0" i="0" u="none" strike="noStrike" kern="1200" cap="none" spc="0" normalizeH="0" baseline="0" noProof="0">
                <a:ln>
                  <a:noFill/>
                </a:ln>
                <a:solidFill>
                  <a:prstClr val="black">
                    <a:lumMod val="50000"/>
                    <a:lumOff val="50000"/>
                  </a:prstClr>
                </a:solidFill>
                <a:effectLst/>
                <a:uLnTx/>
                <a:uFillTx/>
                <a:latin typeface="HarmonyOS Sans SC"/>
                <a:cs typeface="Lato" panose="020F0502020204030203" pitchFamily="34" charset="0"/>
              </a:rPr>
              <a:t>Lorem ipsum dolor, consect </a:t>
            </a:r>
          </a:p>
          <a:p>
            <a:pPr marL="0" marR="0" lvl="0" indent="0" algn="l" defTabSz="914400" rtl="0" eaLnBrk="1" fontAlgn="auto" latinLnBrk="0" hangingPunct="1">
              <a:lnSpc>
                <a:spcPct val="140000"/>
              </a:lnSpc>
              <a:spcBef>
                <a:spcPts val="0"/>
              </a:spcBef>
              <a:spcAft>
                <a:spcPts val="0"/>
              </a:spcAft>
              <a:buClrTx/>
              <a:buSzTx/>
              <a:buFontTx/>
              <a:buNone/>
              <a:tabLst/>
              <a:defRPr/>
            </a:pPr>
            <a:r>
              <a:rPr kumimoji="0" lang="en-US" sz="1050" b="0" i="0" u="none" strike="noStrike" kern="1200" cap="none" spc="0" normalizeH="0" baseline="0" noProof="0">
                <a:ln>
                  <a:noFill/>
                </a:ln>
                <a:solidFill>
                  <a:prstClr val="black">
                    <a:lumMod val="50000"/>
                    <a:lumOff val="50000"/>
                  </a:prstClr>
                </a:solidFill>
                <a:effectLst/>
                <a:uLnTx/>
                <a:uFillTx/>
                <a:latin typeface="HarmonyOS Sans SC"/>
                <a:cs typeface="Lato" panose="020F0502020204030203" pitchFamily="34" charset="0"/>
              </a:rPr>
              <a:t>adipiscing elit roin cursu.</a:t>
            </a:r>
          </a:p>
        </p:txBody>
      </p:sp>
      <p:sp>
        <p:nvSpPr>
          <p:cNvPr id="13" name="Oval 13">
            <a:extLst>
              <a:ext uri="{FF2B5EF4-FFF2-40B4-BE49-F238E27FC236}">
                <a16:creationId xmlns:a16="http://schemas.microsoft.com/office/drawing/2014/main" id="{911F5E92-C0EF-494C-A3E5-61E2A703C87C}"/>
              </a:ext>
            </a:extLst>
          </p:cNvPr>
          <p:cNvSpPr/>
          <p:nvPr/>
        </p:nvSpPr>
        <p:spPr>
          <a:xfrm>
            <a:off x="3943939" y="2501420"/>
            <a:ext cx="418376" cy="418376"/>
          </a:xfrm>
          <a:prstGeom prst="ellipse">
            <a:avLst/>
          </a:prstGeom>
          <a:gradFill>
            <a:gsLst>
              <a:gs pos="73000">
                <a:schemeClr val="accent1"/>
              </a:gs>
              <a:gs pos="31000">
                <a:schemeClr val="accent1">
                  <a:lumMod val="60000"/>
                  <a:lumOff val="40000"/>
                </a:schemeClr>
              </a:gs>
              <a:gs pos="0">
                <a:schemeClr val="accent1">
                  <a:lumMod val="40000"/>
                  <a:lumOff val="60000"/>
                </a:schemeClr>
              </a:gs>
            </a:gsLst>
            <a:path path="circle">
              <a:fillToRect r="100000" b="100000"/>
            </a:path>
          </a:gradFill>
          <a:ln>
            <a:noFill/>
          </a:ln>
          <a:effectLst>
            <a:outerShdw blurRad="444500" dist="317500" dir="5400000" sx="92000" sy="92000" algn="t" rotWithShape="0">
              <a:schemeClr val="accent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HarmonyOS Sans SC Black"/>
                <a:ea typeface="+mj-ea"/>
                <a:cs typeface="+mn-cs"/>
              </a:rPr>
              <a:t>2</a:t>
            </a:r>
          </a:p>
        </p:txBody>
      </p:sp>
      <p:sp>
        <p:nvSpPr>
          <p:cNvPr id="15" name="TextBox 15">
            <a:extLst>
              <a:ext uri="{FF2B5EF4-FFF2-40B4-BE49-F238E27FC236}">
                <a16:creationId xmlns:a16="http://schemas.microsoft.com/office/drawing/2014/main" id="{C2D1813E-71D7-450B-96E7-D3C7E38EA847}"/>
              </a:ext>
            </a:extLst>
          </p:cNvPr>
          <p:cNvSpPr txBox="1"/>
          <p:nvPr/>
        </p:nvSpPr>
        <p:spPr>
          <a:xfrm>
            <a:off x="3852828" y="5010069"/>
            <a:ext cx="1608774"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30" normalizeH="0" baseline="0" noProof="0">
                <a:ln>
                  <a:noFill/>
                </a:ln>
                <a:solidFill>
                  <a:prstClr val="black">
                    <a:lumMod val="75000"/>
                    <a:lumOff val="25000"/>
                  </a:prstClr>
                </a:solidFill>
                <a:effectLst/>
                <a:uLnTx/>
                <a:uFillTx/>
                <a:latin typeface="HarmonyOS Sans SC Black"/>
                <a:ea typeface="+mj-ea"/>
                <a:cs typeface="Lato" panose="020F0502020204030203" pitchFamily="34" charset="0"/>
              </a:rPr>
              <a:t>Write your title</a:t>
            </a:r>
          </a:p>
        </p:txBody>
      </p:sp>
      <p:sp>
        <p:nvSpPr>
          <p:cNvPr id="16" name="TextBox 16">
            <a:extLst>
              <a:ext uri="{FF2B5EF4-FFF2-40B4-BE49-F238E27FC236}">
                <a16:creationId xmlns:a16="http://schemas.microsoft.com/office/drawing/2014/main" id="{F7BD7249-AF3F-4EED-B2DF-0C5C5A773816}"/>
              </a:ext>
            </a:extLst>
          </p:cNvPr>
          <p:cNvSpPr txBox="1"/>
          <p:nvPr/>
        </p:nvSpPr>
        <p:spPr>
          <a:xfrm>
            <a:off x="3852828" y="5315739"/>
            <a:ext cx="1927131" cy="521168"/>
          </a:xfrm>
          <a:prstGeom prst="rect">
            <a:avLst/>
          </a:prstGeom>
          <a:noFill/>
        </p:spPr>
        <p:txBody>
          <a:bodyPr wrap="none" rtlCol="0">
            <a:spAutoFit/>
          </a:bodyPr>
          <a:lstStyle/>
          <a:p>
            <a:pPr marL="0" marR="0" lvl="0" indent="0" algn="l" defTabSz="914400" rtl="0" eaLnBrk="1" fontAlgn="auto" latinLnBrk="0" hangingPunct="1">
              <a:lnSpc>
                <a:spcPct val="140000"/>
              </a:lnSpc>
              <a:spcBef>
                <a:spcPts val="0"/>
              </a:spcBef>
              <a:spcAft>
                <a:spcPts val="0"/>
              </a:spcAft>
              <a:buClrTx/>
              <a:buSzTx/>
              <a:buFontTx/>
              <a:buNone/>
              <a:tabLst/>
              <a:defRPr/>
            </a:pPr>
            <a:r>
              <a:rPr kumimoji="0" lang="en-US" sz="1050" b="0" i="0" u="none" strike="noStrike" kern="1200" cap="none" spc="0" normalizeH="0" baseline="0" noProof="0">
                <a:ln>
                  <a:noFill/>
                </a:ln>
                <a:solidFill>
                  <a:prstClr val="black">
                    <a:lumMod val="50000"/>
                    <a:lumOff val="50000"/>
                  </a:prstClr>
                </a:solidFill>
                <a:effectLst/>
                <a:uLnTx/>
                <a:uFillTx/>
                <a:latin typeface="HarmonyOS Sans SC"/>
                <a:cs typeface="Lato" panose="020F0502020204030203" pitchFamily="34" charset="0"/>
              </a:rPr>
              <a:t>Lorem ipsum dolor, consect </a:t>
            </a:r>
          </a:p>
          <a:p>
            <a:pPr marL="0" marR="0" lvl="0" indent="0" algn="l" defTabSz="914400" rtl="0" eaLnBrk="1" fontAlgn="auto" latinLnBrk="0" hangingPunct="1">
              <a:lnSpc>
                <a:spcPct val="140000"/>
              </a:lnSpc>
              <a:spcBef>
                <a:spcPts val="0"/>
              </a:spcBef>
              <a:spcAft>
                <a:spcPts val="0"/>
              </a:spcAft>
              <a:buClrTx/>
              <a:buSzTx/>
              <a:buFontTx/>
              <a:buNone/>
              <a:tabLst/>
              <a:defRPr/>
            </a:pPr>
            <a:r>
              <a:rPr kumimoji="0" lang="en-US" sz="1050" b="0" i="0" u="none" strike="noStrike" kern="1200" cap="none" spc="0" normalizeH="0" baseline="0" noProof="0">
                <a:ln>
                  <a:noFill/>
                </a:ln>
                <a:solidFill>
                  <a:prstClr val="black">
                    <a:lumMod val="50000"/>
                    <a:lumOff val="50000"/>
                  </a:prstClr>
                </a:solidFill>
                <a:effectLst/>
                <a:uLnTx/>
                <a:uFillTx/>
                <a:latin typeface="HarmonyOS Sans SC"/>
                <a:cs typeface="Lato" panose="020F0502020204030203" pitchFamily="34" charset="0"/>
              </a:rPr>
              <a:t>adipiscing elit roin cursu.</a:t>
            </a:r>
          </a:p>
        </p:txBody>
      </p:sp>
      <p:sp>
        <p:nvSpPr>
          <p:cNvPr id="17" name="Oval 17">
            <a:extLst>
              <a:ext uri="{FF2B5EF4-FFF2-40B4-BE49-F238E27FC236}">
                <a16:creationId xmlns:a16="http://schemas.microsoft.com/office/drawing/2014/main" id="{BC551613-B470-4FFE-9D77-12C61D53060A}"/>
              </a:ext>
            </a:extLst>
          </p:cNvPr>
          <p:cNvSpPr/>
          <p:nvPr/>
        </p:nvSpPr>
        <p:spPr>
          <a:xfrm>
            <a:off x="3943939" y="4460091"/>
            <a:ext cx="418376" cy="418376"/>
          </a:xfrm>
          <a:prstGeom prst="ellipse">
            <a:avLst/>
          </a:prstGeom>
          <a:gradFill>
            <a:gsLst>
              <a:gs pos="73000">
                <a:schemeClr val="accent1"/>
              </a:gs>
              <a:gs pos="31000">
                <a:schemeClr val="accent1">
                  <a:lumMod val="60000"/>
                  <a:lumOff val="40000"/>
                </a:schemeClr>
              </a:gs>
              <a:gs pos="0">
                <a:schemeClr val="accent1">
                  <a:lumMod val="40000"/>
                  <a:lumOff val="60000"/>
                </a:schemeClr>
              </a:gs>
            </a:gsLst>
            <a:path path="circle">
              <a:fillToRect r="100000" b="100000"/>
            </a:path>
          </a:gradFill>
          <a:ln>
            <a:noFill/>
          </a:ln>
          <a:effectLst>
            <a:outerShdw blurRad="444500" dist="317500" dir="5400000" sx="92000" sy="92000" algn="t" rotWithShape="0">
              <a:schemeClr val="accent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HarmonyOS Sans SC Black"/>
                <a:ea typeface="+mj-ea"/>
                <a:cs typeface="+mn-cs"/>
              </a:rPr>
              <a:t>4</a:t>
            </a:r>
          </a:p>
        </p:txBody>
      </p:sp>
      <p:sp>
        <p:nvSpPr>
          <p:cNvPr id="19" name="Shape 5166">
            <a:extLst>
              <a:ext uri="{FF2B5EF4-FFF2-40B4-BE49-F238E27FC236}">
                <a16:creationId xmlns:a16="http://schemas.microsoft.com/office/drawing/2014/main" id="{5B2E9028-65C2-4EFB-A8F6-6D37B0E2987F}"/>
              </a:ext>
            </a:extLst>
          </p:cNvPr>
          <p:cNvSpPr/>
          <p:nvPr/>
        </p:nvSpPr>
        <p:spPr>
          <a:xfrm>
            <a:off x="7867953" y="2503148"/>
            <a:ext cx="1670364" cy="1480210"/>
          </a:xfrm>
          <a:custGeom>
            <a:avLst/>
            <a:gdLst/>
            <a:ahLst/>
            <a:cxnLst>
              <a:cxn ang="0">
                <a:pos x="wd2" y="hd2"/>
              </a:cxn>
              <a:cxn ang="5400000">
                <a:pos x="wd2" y="hd2"/>
              </a:cxn>
              <a:cxn ang="10800000">
                <a:pos x="wd2" y="hd2"/>
              </a:cxn>
              <a:cxn ang="16200000">
                <a:pos x="wd2" y="hd2"/>
              </a:cxn>
            </a:cxnLst>
            <a:rect l="0" t="0" r="r" b="b"/>
            <a:pathLst>
              <a:path w="21600" h="21600" extrusionOk="0">
                <a:moveTo>
                  <a:pt x="17131" y="0"/>
                </a:moveTo>
                <a:lnTo>
                  <a:pt x="4125" y="12945"/>
                </a:lnTo>
                <a:lnTo>
                  <a:pt x="0" y="21600"/>
                </a:lnTo>
                <a:lnTo>
                  <a:pt x="21600" y="7769"/>
                </a:lnTo>
                <a:lnTo>
                  <a:pt x="17131" y="0"/>
                </a:lnTo>
                <a:close/>
              </a:path>
            </a:pathLst>
          </a:custGeom>
          <a:gradFill flip="none" rotWithShape="1">
            <a:gsLst>
              <a:gs pos="35000">
                <a:schemeClr val="accent1">
                  <a:lumMod val="94000"/>
                </a:schemeClr>
              </a:gs>
              <a:gs pos="74000">
                <a:schemeClr val="accent1"/>
              </a:gs>
            </a:gsLst>
            <a:lin ang="16200000" scaled="1"/>
            <a:tileRect/>
          </a:gradFill>
          <a:ln w="12700" cap="flat">
            <a:noFill/>
            <a:miter lim="400000"/>
          </a:ln>
          <a:effectLst/>
        </p:spPr>
        <p:txBody>
          <a:bodyPr wrap="square" lIns="38100" tIns="38100" rIns="38100" bIns="38100" numCol="1"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lang="en-US" sz="3000" b="0" i="0" u="none" strike="noStrike" kern="1200" cap="none" spc="0" normalizeH="0" baseline="0" noProof="0" dirty="0">
              <a:ln>
                <a:noFill/>
              </a:ln>
              <a:solidFill>
                <a:srgbClr val="FFFFFF"/>
              </a:solidFill>
              <a:effectLst>
                <a:outerShdw blurRad="38100" dist="12700" dir="5400000" rotWithShape="0">
                  <a:srgbClr val="000000">
                    <a:alpha val="50000"/>
                  </a:srgbClr>
                </a:outerShdw>
              </a:effectLst>
              <a:uLnTx/>
              <a:uFillTx/>
              <a:latin typeface="Lato" panose="020F0502020204030203" pitchFamily="34" charset="0"/>
              <a:ea typeface="Lato" panose="020F0502020204030203" pitchFamily="34" charset="0"/>
              <a:cs typeface="Lato" panose="020F0502020204030203" pitchFamily="34" charset="0"/>
              <a:sym typeface="Gill Sans"/>
            </a:endParaRPr>
          </a:p>
        </p:txBody>
      </p:sp>
      <p:sp>
        <p:nvSpPr>
          <p:cNvPr id="20" name="Shape 5167">
            <a:extLst>
              <a:ext uri="{FF2B5EF4-FFF2-40B4-BE49-F238E27FC236}">
                <a16:creationId xmlns:a16="http://schemas.microsoft.com/office/drawing/2014/main" id="{601C844A-970F-4CB9-808F-159FEFD6E0C0}"/>
              </a:ext>
            </a:extLst>
          </p:cNvPr>
          <p:cNvSpPr/>
          <p:nvPr/>
        </p:nvSpPr>
        <p:spPr>
          <a:xfrm>
            <a:off x="7361396" y="3380710"/>
            <a:ext cx="2689783" cy="1540982"/>
          </a:xfrm>
          <a:custGeom>
            <a:avLst/>
            <a:gdLst/>
            <a:ahLst/>
            <a:cxnLst>
              <a:cxn ang="0">
                <a:pos x="wd2" y="hd2"/>
              </a:cxn>
              <a:cxn ang="5400000">
                <a:pos x="wd2" y="hd2"/>
              </a:cxn>
              <a:cxn ang="10800000">
                <a:pos x="wd2" y="hd2"/>
              </a:cxn>
              <a:cxn ang="16200000">
                <a:pos x="wd2" y="hd2"/>
              </a:cxn>
            </a:cxnLst>
            <a:rect l="0" t="0" r="r" b="b"/>
            <a:pathLst>
              <a:path w="21600" h="21600" extrusionOk="0">
                <a:moveTo>
                  <a:pt x="19039" y="0"/>
                </a:moveTo>
                <a:lnTo>
                  <a:pt x="2561" y="13286"/>
                </a:lnTo>
                <a:lnTo>
                  <a:pt x="0" y="21600"/>
                </a:lnTo>
                <a:lnTo>
                  <a:pt x="21600" y="8314"/>
                </a:lnTo>
                <a:cubicBezTo>
                  <a:pt x="21600" y="8314"/>
                  <a:pt x="19039" y="0"/>
                  <a:pt x="19039" y="0"/>
                </a:cubicBezTo>
                <a:close/>
              </a:path>
            </a:pathLst>
          </a:custGeom>
          <a:gradFill flip="none" rotWithShape="1">
            <a:gsLst>
              <a:gs pos="35000">
                <a:schemeClr val="accent1">
                  <a:lumMod val="94000"/>
                </a:schemeClr>
              </a:gs>
              <a:gs pos="74000">
                <a:schemeClr val="accent1"/>
              </a:gs>
            </a:gsLst>
            <a:lin ang="16200000" scaled="1"/>
            <a:tileRect/>
          </a:gradFill>
          <a:ln w="12700" cap="flat">
            <a:noFill/>
            <a:miter lim="400000"/>
          </a:ln>
          <a:effectLst/>
        </p:spPr>
        <p:txBody>
          <a:bodyPr wrap="square" lIns="38100" tIns="38100" rIns="38100" bIns="38100" numCol="1"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lang="en-US" sz="3000" b="0" i="0" u="none" strike="noStrike" kern="1200" cap="none" spc="0" normalizeH="0" baseline="0" noProof="0" dirty="0">
              <a:ln>
                <a:noFill/>
              </a:ln>
              <a:solidFill>
                <a:srgbClr val="FFFFFF"/>
              </a:solidFill>
              <a:effectLst>
                <a:outerShdw blurRad="38100" dist="12700" dir="5400000" rotWithShape="0">
                  <a:srgbClr val="000000">
                    <a:alpha val="50000"/>
                  </a:srgbClr>
                </a:outerShdw>
              </a:effectLst>
              <a:uLnTx/>
              <a:uFillTx/>
              <a:latin typeface="Lato" panose="020F0502020204030203" pitchFamily="34" charset="0"/>
              <a:ea typeface="Lato" panose="020F0502020204030203" pitchFamily="34" charset="0"/>
              <a:cs typeface="Lato" panose="020F0502020204030203" pitchFamily="34" charset="0"/>
              <a:sym typeface="Gill Sans"/>
            </a:endParaRPr>
          </a:p>
        </p:txBody>
      </p:sp>
      <p:sp>
        <p:nvSpPr>
          <p:cNvPr id="21" name="Shape 5168">
            <a:extLst>
              <a:ext uri="{FF2B5EF4-FFF2-40B4-BE49-F238E27FC236}">
                <a16:creationId xmlns:a16="http://schemas.microsoft.com/office/drawing/2014/main" id="{324937F7-519E-4ED9-9809-A04B5A02469A}"/>
              </a:ext>
            </a:extLst>
          </p:cNvPr>
          <p:cNvSpPr/>
          <p:nvPr/>
        </p:nvSpPr>
        <p:spPr>
          <a:xfrm>
            <a:off x="6854839" y="4332254"/>
            <a:ext cx="3709201" cy="1540976"/>
          </a:xfrm>
          <a:custGeom>
            <a:avLst/>
            <a:gdLst/>
            <a:ahLst/>
            <a:cxnLst>
              <a:cxn ang="0">
                <a:pos x="wd2" y="hd2"/>
              </a:cxn>
              <a:cxn ang="5400000">
                <a:pos x="wd2" y="hd2"/>
              </a:cxn>
              <a:cxn ang="10800000">
                <a:pos x="wd2" y="hd2"/>
              </a:cxn>
              <a:cxn ang="16200000">
                <a:pos x="wd2" y="hd2"/>
              </a:cxn>
            </a:cxnLst>
            <a:rect l="0" t="0" r="r" b="b"/>
            <a:pathLst>
              <a:path w="21600" h="21600" extrusionOk="0">
                <a:moveTo>
                  <a:pt x="19743" y="0"/>
                </a:moveTo>
                <a:lnTo>
                  <a:pt x="1857" y="13286"/>
                </a:lnTo>
                <a:lnTo>
                  <a:pt x="0" y="21600"/>
                </a:lnTo>
                <a:lnTo>
                  <a:pt x="21600" y="8314"/>
                </a:lnTo>
                <a:cubicBezTo>
                  <a:pt x="21600" y="8314"/>
                  <a:pt x="19743" y="0"/>
                  <a:pt x="19743" y="0"/>
                </a:cubicBezTo>
                <a:close/>
              </a:path>
            </a:pathLst>
          </a:custGeom>
          <a:gradFill flip="none" rotWithShape="1">
            <a:gsLst>
              <a:gs pos="35000">
                <a:schemeClr val="accent1">
                  <a:lumMod val="94000"/>
                </a:schemeClr>
              </a:gs>
              <a:gs pos="74000">
                <a:schemeClr val="accent1"/>
              </a:gs>
            </a:gsLst>
            <a:lin ang="16200000" scaled="1"/>
            <a:tileRect/>
          </a:gradFill>
          <a:ln w="12700" cap="flat">
            <a:noFill/>
            <a:miter lim="400000"/>
          </a:ln>
          <a:effectLst/>
        </p:spPr>
        <p:txBody>
          <a:bodyPr wrap="square" lIns="38100" tIns="38100" rIns="38100" bIns="38100" numCol="1"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lang="en-US" sz="3000" b="0" i="0" u="none" strike="noStrike" kern="1200" cap="none" spc="0" normalizeH="0" baseline="0" noProof="0" dirty="0">
              <a:ln>
                <a:noFill/>
              </a:ln>
              <a:solidFill>
                <a:srgbClr val="FFFFFF"/>
              </a:solidFill>
              <a:effectLst>
                <a:outerShdw blurRad="38100" dist="12700" dir="5400000" rotWithShape="0">
                  <a:srgbClr val="000000">
                    <a:alpha val="50000"/>
                  </a:srgbClr>
                </a:outerShdw>
              </a:effectLst>
              <a:uLnTx/>
              <a:uFillTx/>
              <a:latin typeface="Lato" panose="020F0502020204030203" pitchFamily="34" charset="0"/>
              <a:ea typeface="Lato" panose="020F0502020204030203" pitchFamily="34" charset="0"/>
              <a:cs typeface="Lato" panose="020F0502020204030203" pitchFamily="34" charset="0"/>
              <a:sym typeface="Gill Sans"/>
            </a:endParaRPr>
          </a:p>
        </p:txBody>
      </p:sp>
      <p:sp>
        <p:nvSpPr>
          <p:cNvPr id="32" name="Shape 5174">
            <a:extLst>
              <a:ext uri="{FF2B5EF4-FFF2-40B4-BE49-F238E27FC236}">
                <a16:creationId xmlns:a16="http://schemas.microsoft.com/office/drawing/2014/main" id="{AAEFDA8B-4112-43AD-8F94-C55153C7B06D}"/>
              </a:ext>
            </a:extLst>
          </p:cNvPr>
          <p:cNvSpPr/>
          <p:nvPr/>
        </p:nvSpPr>
        <p:spPr>
          <a:xfrm>
            <a:off x="6854840" y="5283796"/>
            <a:ext cx="4218898" cy="593129"/>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lnTo>
                  <a:pt x="19967" y="0"/>
                </a:lnTo>
                <a:lnTo>
                  <a:pt x="1633" y="0"/>
                </a:lnTo>
                <a:lnTo>
                  <a:pt x="0" y="21600"/>
                </a:lnTo>
                <a:cubicBezTo>
                  <a:pt x="0" y="21600"/>
                  <a:pt x="21600" y="21600"/>
                  <a:pt x="21600" y="21600"/>
                </a:cubicBezTo>
                <a:close/>
              </a:path>
            </a:pathLst>
          </a:custGeom>
          <a:gradFill flip="none" rotWithShape="1">
            <a:gsLst>
              <a:gs pos="0">
                <a:schemeClr val="accent1">
                  <a:lumMod val="59000"/>
                  <a:lumOff val="41000"/>
                </a:schemeClr>
              </a:gs>
              <a:gs pos="63000">
                <a:schemeClr val="accent1">
                  <a:lumMod val="92000"/>
                  <a:lumOff val="8000"/>
                </a:schemeClr>
              </a:gs>
            </a:gsLst>
            <a:lin ang="2700000" scaled="1"/>
            <a:tileRect/>
          </a:gradFill>
          <a:ln w="1270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HarmonyOS Sans SC"/>
              <a:cs typeface="+mn-cs"/>
            </a:endParaRPr>
          </a:p>
        </p:txBody>
      </p:sp>
      <p:sp>
        <p:nvSpPr>
          <p:cNvPr id="33" name="Shape 2368">
            <a:extLst>
              <a:ext uri="{FF2B5EF4-FFF2-40B4-BE49-F238E27FC236}">
                <a16:creationId xmlns:a16="http://schemas.microsoft.com/office/drawing/2014/main" id="{68C72358-584E-4F38-B44F-F2C96CF8A7C7}"/>
              </a:ext>
            </a:extLst>
          </p:cNvPr>
          <p:cNvSpPr/>
          <p:nvPr/>
        </p:nvSpPr>
        <p:spPr>
          <a:xfrm>
            <a:off x="8771242" y="5410882"/>
            <a:ext cx="371698" cy="371671"/>
          </a:xfrm>
          <a:custGeom>
            <a:avLst/>
            <a:gdLst/>
            <a:ahLst/>
            <a:cxnLst>
              <a:cxn ang="0">
                <a:pos x="wd2" y="hd2"/>
              </a:cxn>
              <a:cxn ang="5400000">
                <a:pos x="wd2" y="hd2"/>
              </a:cxn>
              <a:cxn ang="10800000">
                <a:pos x="wd2" y="hd2"/>
              </a:cxn>
              <a:cxn ang="16200000">
                <a:pos x="wd2" y="hd2"/>
              </a:cxn>
            </a:cxnLst>
            <a:rect l="0" t="0" r="r" b="b"/>
            <a:pathLst>
              <a:path w="21600" h="21600" extrusionOk="0">
                <a:moveTo>
                  <a:pt x="11291" y="17673"/>
                </a:moveTo>
                <a:cubicBezTo>
                  <a:pt x="11562" y="17673"/>
                  <a:pt x="11782" y="17453"/>
                  <a:pt x="11782" y="17182"/>
                </a:cubicBezTo>
                <a:cubicBezTo>
                  <a:pt x="11782" y="16911"/>
                  <a:pt x="11562" y="16691"/>
                  <a:pt x="11291" y="16691"/>
                </a:cubicBezTo>
                <a:cubicBezTo>
                  <a:pt x="11020" y="16691"/>
                  <a:pt x="10800" y="16911"/>
                  <a:pt x="10800" y="17182"/>
                </a:cubicBezTo>
                <a:cubicBezTo>
                  <a:pt x="10800" y="17453"/>
                  <a:pt x="11020" y="17673"/>
                  <a:pt x="11291" y="17673"/>
                </a:cubicBezTo>
                <a:moveTo>
                  <a:pt x="17673" y="18655"/>
                </a:moveTo>
                <a:lnTo>
                  <a:pt x="13745" y="18655"/>
                </a:lnTo>
                <a:lnTo>
                  <a:pt x="13745" y="12273"/>
                </a:lnTo>
                <a:cubicBezTo>
                  <a:pt x="13745" y="12002"/>
                  <a:pt x="13525" y="11782"/>
                  <a:pt x="13255" y="11782"/>
                </a:cubicBezTo>
                <a:lnTo>
                  <a:pt x="8345" y="11782"/>
                </a:lnTo>
                <a:cubicBezTo>
                  <a:pt x="8075" y="11782"/>
                  <a:pt x="7855" y="12002"/>
                  <a:pt x="7855" y="12273"/>
                </a:cubicBezTo>
                <a:lnTo>
                  <a:pt x="7855" y="18655"/>
                </a:lnTo>
                <a:lnTo>
                  <a:pt x="3927" y="18655"/>
                </a:lnTo>
                <a:lnTo>
                  <a:pt x="3927" y="8058"/>
                </a:lnTo>
                <a:lnTo>
                  <a:pt x="10800" y="1185"/>
                </a:lnTo>
                <a:lnTo>
                  <a:pt x="17673" y="8058"/>
                </a:lnTo>
                <a:cubicBezTo>
                  <a:pt x="17673" y="8058"/>
                  <a:pt x="17673" y="18655"/>
                  <a:pt x="17673" y="18655"/>
                </a:cubicBezTo>
                <a:close/>
                <a:moveTo>
                  <a:pt x="17673" y="20618"/>
                </a:moveTo>
                <a:lnTo>
                  <a:pt x="13745" y="20618"/>
                </a:lnTo>
                <a:lnTo>
                  <a:pt x="13745" y="19636"/>
                </a:lnTo>
                <a:lnTo>
                  <a:pt x="17673" y="19636"/>
                </a:lnTo>
                <a:cubicBezTo>
                  <a:pt x="17673" y="19636"/>
                  <a:pt x="17673" y="20618"/>
                  <a:pt x="17673" y="20618"/>
                </a:cubicBezTo>
                <a:close/>
                <a:moveTo>
                  <a:pt x="12764" y="20618"/>
                </a:moveTo>
                <a:lnTo>
                  <a:pt x="8836" y="20618"/>
                </a:lnTo>
                <a:lnTo>
                  <a:pt x="8836" y="12764"/>
                </a:lnTo>
                <a:lnTo>
                  <a:pt x="12764" y="12764"/>
                </a:lnTo>
                <a:cubicBezTo>
                  <a:pt x="12764" y="12764"/>
                  <a:pt x="12764" y="20618"/>
                  <a:pt x="12764" y="20618"/>
                </a:cubicBezTo>
                <a:close/>
                <a:moveTo>
                  <a:pt x="7855" y="20618"/>
                </a:moveTo>
                <a:lnTo>
                  <a:pt x="3927" y="20618"/>
                </a:lnTo>
                <a:lnTo>
                  <a:pt x="3927" y="19636"/>
                </a:lnTo>
                <a:lnTo>
                  <a:pt x="7855" y="19636"/>
                </a:lnTo>
                <a:cubicBezTo>
                  <a:pt x="7855" y="19636"/>
                  <a:pt x="7855" y="20618"/>
                  <a:pt x="7855" y="20618"/>
                </a:cubicBezTo>
                <a:close/>
                <a:moveTo>
                  <a:pt x="14727" y="1964"/>
                </a:moveTo>
                <a:lnTo>
                  <a:pt x="16691" y="1964"/>
                </a:lnTo>
                <a:lnTo>
                  <a:pt x="16691" y="5688"/>
                </a:lnTo>
                <a:lnTo>
                  <a:pt x="14727" y="3724"/>
                </a:lnTo>
                <a:cubicBezTo>
                  <a:pt x="14727" y="3724"/>
                  <a:pt x="14727" y="1964"/>
                  <a:pt x="14727" y="1964"/>
                </a:cubicBezTo>
                <a:close/>
                <a:moveTo>
                  <a:pt x="21456" y="10453"/>
                </a:moveTo>
                <a:lnTo>
                  <a:pt x="17673" y="6670"/>
                </a:lnTo>
                <a:lnTo>
                  <a:pt x="17673" y="1473"/>
                </a:lnTo>
                <a:cubicBezTo>
                  <a:pt x="17673" y="1202"/>
                  <a:pt x="17453" y="982"/>
                  <a:pt x="17182" y="982"/>
                </a:cubicBezTo>
                <a:lnTo>
                  <a:pt x="14236" y="982"/>
                </a:lnTo>
                <a:cubicBezTo>
                  <a:pt x="13966" y="982"/>
                  <a:pt x="13745" y="1202"/>
                  <a:pt x="13745" y="1473"/>
                </a:cubicBezTo>
                <a:lnTo>
                  <a:pt x="13745" y="2742"/>
                </a:lnTo>
                <a:lnTo>
                  <a:pt x="11147" y="144"/>
                </a:lnTo>
                <a:cubicBezTo>
                  <a:pt x="11058" y="55"/>
                  <a:pt x="10935" y="0"/>
                  <a:pt x="10800" y="0"/>
                </a:cubicBezTo>
                <a:cubicBezTo>
                  <a:pt x="10665" y="0"/>
                  <a:pt x="10542" y="55"/>
                  <a:pt x="10453" y="144"/>
                </a:cubicBezTo>
                <a:lnTo>
                  <a:pt x="144" y="10453"/>
                </a:lnTo>
                <a:cubicBezTo>
                  <a:pt x="55" y="10542"/>
                  <a:pt x="0" y="10665"/>
                  <a:pt x="0" y="10800"/>
                </a:cubicBezTo>
                <a:cubicBezTo>
                  <a:pt x="0" y="11072"/>
                  <a:pt x="220" y="11291"/>
                  <a:pt x="491" y="11291"/>
                </a:cubicBezTo>
                <a:cubicBezTo>
                  <a:pt x="626" y="11291"/>
                  <a:pt x="749" y="11236"/>
                  <a:pt x="838" y="11147"/>
                </a:cubicBezTo>
                <a:lnTo>
                  <a:pt x="2945" y="9040"/>
                </a:lnTo>
                <a:lnTo>
                  <a:pt x="2945" y="21109"/>
                </a:lnTo>
                <a:cubicBezTo>
                  <a:pt x="2945" y="21381"/>
                  <a:pt x="3166" y="21600"/>
                  <a:pt x="3436" y="21600"/>
                </a:cubicBezTo>
                <a:lnTo>
                  <a:pt x="18164" y="21600"/>
                </a:lnTo>
                <a:cubicBezTo>
                  <a:pt x="18434" y="21600"/>
                  <a:pt x="18655" y="21381"/>
                  <a:pt x="18655" y="21109"/>
                </a:cubicBezTo>
                <a:lnTo>
                  <a:pt x="18655" y="9040"/>
                </a:lnTo>
                <a:lnTo>
                  <a:pt x="20762" y="11147"/>
                </a:lnTo>
                <a:cubicBezTo>
                  <a:pt x="20851" y="11236"/>
                  <a:pt x="20974" y="11291"/>
                  <a:pt x="21109" y="11291"/>
                </a:cubicBezTo>
                <a:cubicBezTo>
                  <a:pt x="21380" y="11291"/>
                  <a:pt x="21600" y="11072"/>
                  <a:pt x="21600" y="10800"/>
                </a:cubicBezTo>
                <a:cubicBezTo>
                  <a:pt x="21600" y="10665"/>
                  <a:pt x="21545" y="10542"/>
                  <a:pt x="21456" y="10453"/>
                </a:cubicBezTo>
              </a:path>
            </a:pathLst>
          </a:custGeom>
          <a:solidFill>
            <a:schemeClr val="bg1"/>
          </a:solidFill>
          <a:ln w="12700">
            <a:noFill/>
            <a:miter lim="400000"/>
          </a:ln>
        </p:spPr>
        <p:txBody>
          <a:bodyPr lIns="19049" tIns="19049" rIns="19049" bIns="19049" anchor="ctr"/>
          <a:lstStyle/>
          <a:p>
            <a:pPr marL="0" marR="0" lvl="0" indent="0" algn="ctr" defTabSz="228580" rtl="0" eaLnBrk="1" fontAlgn="auto" latinLnBrk="0" hangingPunct="0">
              <a:lnSpc>
                <a:spcPct val="100000"/>
              </a:lnSpc>
              <a:spcBef>
                <a:spcPts val="0"/>
              </a:spcBef>
              <a:spcAft>
                <a:spcPts val="0"/>
              </a:spcAft>
              <a:buClrTx/>
              <a:buSzTx/>
              <a:buFontTx/>
              <a:buNone/>
              <a:tabLst/>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sz="120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Lato" panose="020F0502020204030203" pitchFamily="34" charset="0"/>
              <a:ea typeface="Lato" panose="020F0502020204030203" pitchFamily="34" charset="0"/>
              <a:cs typeface="Lato" panose="020F0502020204030203" pitchFamily="34" charset="0"/>
              <a:sym typeface="Gill Sans"/>
            </a:endParaRPr>
          </a:p>
        </p:txBody>
      </p:sp>
      <p:sp>
        <p:nvSpPr>
          <p:cNvPr id="30" name="Shape 5171">
            <a:extLst>
              <a:ext uri="{FF2B5EF4-FFF2-40B4-BE49-F238E27FC236}">
                <a16:creationId xmlns:a16="http://schemas.microsoft.com/office/drawing/2014/main" id="{B2297A22-A284-4F6B-BCE1-5F0DB892081F}"/>
              </a:ext>
            </a:extLst>
          </p:cNvPr>
          <p:cNvSpPr/>
          <p:nvPr/>
        </p:nvSpPr>
        <p:spPr>
          <a:xfrm>
            <a:off x="8374511" y="2093081"/>
            <a:ext cx="1165160" cy="942427"/>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21600" y="21600"/>
                </a:lnTo>
                <a:lnTo>
                  <a:pt x="0" y="21600"/>
                </a:lnTo>
                <a:close/>
              </a:path>
            </a:pathLst>
          </a:custGeom>
          <a:gradFill flip="none" rotWithShape="1">
            <a:gsLst>
              <a:gs pos="0">
                <a:schemeClr val="accent1">
                  <a:lumMod val="20000"/>
                  <a:lumOff val="80000"/>
                </a:schemeClr>
              </a:gs>
              <a:gs pos="52000">
                <a:schemeClr val="accent1">
                  <a:lumMod val="40000"/>
                  <a:lumOff val="60000"/>
                </a:schemeClr>
              </a:gs>
              <a:gs pos="100000">
                <a:schemeClr val="accent1">
                  <a:lumMod val="60000"/>
                  <a:lumOff val="40000"/>
                </a:schemeClr>
              </a:gs>
            </a:gsLst>
            <a:lin ang="2700000" scaled="1"/>
            <a:tileRect/>
          </a:gradFill>
          <a:ln w="51262"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HarmonyOS Sans SC"/>
              <a:cs typeface="+mn-cs"/>
            </a:endParaRPr>
          </a:p>
        </p:txBody>
      </p:sp>
      <p:sp>
        <p:nvSpPr>
          <p:cNvPr id="31" name="Shape 2430">
            <a:extLst>
              <a:ext uri="{FF2B5EF4-FFF2-40B4-BE49-F238E27FC236}">
                <a16:creationId xmlns:a16="http://schemas.microsoft.com/office/drawing/2014/main" id="{03F981AF-E9C9-4E62-9539-984223BF35B6}"/>
              </a:ext>
            </a:extLst>
          </p:cNvPr>
          <p:cNvSpPr/>
          <p:nvPr/>
        </p:nvSpPr>
        <p:spPr>
          <a:xfrm>
            <a:off x="8801176" y="2581275"/>
            <a:ext cx="311831" cy="311808"/>
          </a:xfrm>
          <a:custGeom>
            <a:avLst/>
            <a:gdLst/>
            <a:ahLst/>
            <a:cxnLst>
              <a:cxn ang="0">
                <a:pos x="wd2" y="hd2"/>
              </a:cxn>
              <a:cxn ang="5400000">
                <a:pos x="wd2" y="hd2"/>
              </a:cxn>
              <a:cxn ang="10800000">
                <a:pos x="wd2" y="hd2"/>
              </a:cxn>
              <a:cxn ang="16200000">
                <a:pos x="wd2" y="hd2"/>
              </a:cxn>
            </a:cxnLst>
            <a:rect l="0" t="0" r="r" b="b"/>
            <a:pathLst>
              <a:path w="21600" h="21600" extrusionOk="0">
                <a:moveTo>
                  <a:pt x="12281" y="19846"/>
                </a:moveTo>
                <a:lnTo>
                  <a:pt x="9413" y="12882"/>
                </a:lnTo>
                <a:lnTo>
                  <a:pt x="19655" y="2640"/>
                </a:lnTo>
                <a:cubicBezTo>
                  <a:pt x="19655" y="2640"/>
                  <a:pt x="12281" y="19846"/>
                  <a:pt x="12281" y="19846"/>
                </a:cubicBezTo>
                <a:close/>
                <a:moveTo>
                  <a:pt x="1755" y="9320"/>
                </a:moveTo>
                <a:lnTo>
                  <a:pt x="18960" y="1945"/>
                </a:lnTo>
                <a:lnTo>
                  <a:pt x="8719" y="12187"/>
                </a:lnTo>
                <a:cubicBezTo>
                  <a:pt x="8719" y="12187"/>
                  <a:pt x="1755" y="9320"/>
                  <a:pt x="1755" y="9320"/>
                </a:cubicBezTo>
                <a:close/>
                <a:moveTo>
                  <a:pt x="21600" y="491"/>
                </a:moveTo>
                <a:cubicBezTo>
                  <a:pt x="21600" y="220"/>
                  <a:pt x="21380" y="0"/>
                  <a:pt x="21109" y="0"/>
                </a:cubicBezTo>
                <a:cubicBezTo>
                  <a:pt x="21034" y="0"/>
                  <a:pt x="20964" y="20"/>
                  <a:pt x="20900" y="52"/>
                </a:cubicBezTo>
                <a:lnTo>
                  <a:pt x="20898" y="48"/>
                </a:lnTo>
                <a:lnTo>
                  <a:pt x="302" y="8875"/>
                </a:lnTo>
                <a:cubicBezTo>
                  <a:pt x="301" y="8875"/>
                  <a:pt x="299" y="8876"/>
                  <a:pt x="297" y="8877"/>
                </a:cubicBezTo>
                <a:lnTo>
                  <a:pt x="280" y="8885"/>
                </a:lnTo>
                <a:lnTo>
                  <a:pt x="281" y="8887"/>
                </a:lnTo>
                <a:cubicBezTo>
                  <a:pt x="116" y="8967"/>
                  <a:pt x="0" y="9132"/>
                  <a:pt x="0" y="9327"/>
                </a:cubicBezTo>
                <a:cubicBezTo>
                  <a:pt x="0" y="9550"/>
                  <a:pt x="151" y="9731"/>
                  <a:pt x="355" y="9791"/>
                </a:cubicBezTo>
                <a:lnTo>
                  <a:pt x="353" y="9799"/>
                </a:lnTo>
                <a:lnTo>
                  <a:pt x="8462" y="13138"/>
                </a:lnTo>
                <a:lnTo>
                  <a:pt x="11801" y="21248"/>
                </a:lnTo>
                <a:lnTo>
                  <a:pt x="11809" y="21245"/>
                </a:lnTo>
                <a:cubicBezTo>
                  <a:pt x="11869" y="21449"/>
                  <a:pt x="12050" y="21600"/>
                  <a:pt x="12273" y="21600"/>
                </a:cubicBezTo>
                <a:cubicBezTo>
                  <a:pt x="12468" y="21600"/>
                  <a:pt x="12634" y="21484"/>
                  <a:pt x="12713" y="21319"/>
                </a:cubicBezTo>
                <a:lnTo>
                  <a:pt x="12716" y="21320"/>
                </a:lnTo>
                <a:lnTo>
                  <a:pt x="12723" y="21303"/>
                </a:lnTo>
                <a:cubicBezTo>
                  <a:pt x="12724" y="21301"/>
                  <a:pt x="12725" y="21300"/>
                  <a:pt x="12725" y="21298"/>
                </a:cubicBezTo>
                <a:lnTo>
                  <a:pt x="21553" y="702"/>
                </a:lnTo>
                <a:lnTo>
                  <a:pt x="21547" y="699"/>
                </a:lnTo>
                <a:cubicBezTo>
                  <a:pt x="21578" y="636"/>
                  <a:pt x="21600" y="567"/>
                  <a:pt x="21600" y="491"/>
                </a:cubicBezTo>
                <a:moveTo>
                  <a:pt x="7855" y="16200"/>
                </a:moveTo>
                <a:cubicBezTo>
                  <a:pt x="7719" y="16200"/>
                  <a:pt x="7596" y="16255"/>
                  <a:pt x="7507" y="16344"/>
                </a:cubicBezTo>
                <a:lnTo>
                  <a:pt x="6035" y="17817"/>
                </a:lnTo>
                <a:cubicBezTo>
                  <a:pt x="5946" y="17905"/>
                  <a:pt x="5891" y="18029"/>
                  <a:pt x="5891" y="18164"/>
                </a:cubicBezTo>
                <a:cubicBezTo>
                  <a:pt x="5891" y="18435"/>
                  <a:pt x="6111" y="18655"/>
                  <a:pt x="6382" y="18655"/>
                </a:cubicBezTo>
                <a:cubicBezTo>
                  <a:pt x="6517" y="18655"/>
                  <a:pt x="6640" y="18600"/>
                  <a:pt x="6729" y="18511"/>
                </a:cubicBezTo>
                <a:lnTo>
                  <a:pt x="8202" y="17038"/>
                </a:lnTo>
                <a:cubicBezTo>
                  <a:pt x="8291" y="16950"/>
                  <a:pt x="8345" y="16827"/>
                  <a:pt x="8345" y="16691"/>
                </a:cubicBezTo>
                <a:cubicBezTo>
                  <a:pt x="8345" y="16420"/>
                  <a:pt x="8126" y="16200"/>
                  <a:pt x="7855" y="16200"/>
                </a:cubicBezTo>
                <a:moveTo>
                  <a:pt x="7855" y="14237"/>
                </a:moveTo>
                <a:cubicBezTo>
                  <a:pt x="7855" y="13966"/>
                  <a:pt x="7635" y="13745"/>
                  <a:pt x="7364" y="13745"/>
                </a:cubicBezTo>
                <a:cubicBezTo>
                  <a:pt x="7228" y="13745"/>
                  <a:pt x="7105" y="13801"/>
                  <a:pt x="7017" y="13889"/>
                </a:cubicBezTo>
                <a:lnTo>
                  <a:pt x="2107" y="18798"/>
                </a:lnTo>
                <a:cubicBezTo>
                  <a:pt x="2019" y="18888"/>
                  <a:pt x="1964" y="19011"/>
                  <a:pt x="1964" y="19145"/>
                </a:cubicBezTo>
                <a:cubicBezTo>
                  <a:pt x="1964" y="19417"/>
                  <a:pt x="2184" y="19636"/>
                  <a:pt x="2455" y="19636"/>
                </a:cubicBezTo>
                <a:cubicBezTo>
                  <a:pt x="2590" y="19636"/>
                  <a:pt x="2713" y="19582"/>
                  <a:pt x="2802" y="19493"/>
                </a:cubicBezTo>
                <a:lnTo>
                  <a:pt x="7711" y="14583"/>
                </a:lnTo>
                <a:cubicBezTo>
                  <a:pt x="7800" y="14495"/>
                  <a:pt x="7855" y="14372"/>
                  <a:pt x="7855" y="14237"/>
                </a:cubicBezTo>
                <a:moveTo>
                  <a:pt x="4765" y="14583"/>
                </a:moveTo>
                <a:lnTo>
                  <a:pt x="5256" y="14093"/>
                </a:lnTo>
                <a:cubicBezTo>
                  <a:pt x="5345" y="14004"/>
                  <a:pt x="5400" y="13881"/>
                  <a:pt x="5400" y="13745"/>
                </a:cubicBezTo>
                <a:cubicBezTo>
                  <a:pt x="5400" y="13475"/>
                  <a:pt x="5180" y="13255"/>
                  <a:pt x="4909" y="13255"/>
                </a:cubicBezTo>
                <a:cubicBezTo>
                  <a:pt x="4774" y="13255"/>
                  <a:pt x="4651" y="13310"/>
                  <a:pt x="4562" y="13398"/>
                </a:cubicBezTo>
                <a:lnTo>
                  <a:pt x="4071" y="13889"/>
                </a:lnTo>
                <a:cubicBezTo>
                  <a:pt x="3982" y="13979"/>
                  <a:pt x="3927" y="14101"/>
                  <a:pt x="3927" y="14237"/>
                </a:cubicBezTo>
                <a:cubicBezTo>
                  <a:pt x="3927" y="14507"/>
                  <a:pt x="4147" y="14727"/>
                  <a:pt x="4418" y="14727"/>
                </a:cubicBezTo>
                <a:cubicBezTo>
                  <a:pt x="4554" y="14727"/>
                  <a:pt x="4676" y="14673"/>
                  <a:pt x="4765" y="14583"/>
                </a:cubicBezTo>
              </a:path>
            </a:pathLst>
          </a:custGeom>
          <a:solidFill>
            <a:schemeClr val="bg1"/>
          </a:solidFill>
          <a:ln w="12700">
            <a:noFill/>
            <a:miter lim="400000"/>
          </a:ln>
        </p:spPr>
        <p:txBody>
          <a:bodyPr lIns="19049" tIns="19049" rIns="19049" bIns="19049" anchor="ctr"/>
          <a:lstStyle/>
          <a:p>
            <a:pPr marL="0" marR="0" lvl="0" indent="0" algn="ctr" defTabSz="228580" rtl="0" eaLnBrk="1" fontAlgn="auto" latinLnBrk="0" hangingPunct="0">
              <a:lnSpc>
                <a:spcPct val="100000"/>
              </a:lnSpc>
              <a:spcBef>
                <a:spcPts val="0"/>
              </a:spcBef>
              <a:spcAft>
                <a:spcPts val="0"/>
              </a:spcAft>
              <a:buClrTx/>
              <a:buSzTx/>
              <a:buFontTx/>
              <a:buNone/>
              <a:tabLst/>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sz="120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Lato" panose="020F0502020204030203" pitchFamily="34" charset="0"/>
              <a:ea typeface="Lato" panose="020F0502020204030203" pitchFamily="34" charset="0"/>
              <a:cs typeface="Lato" panose="020F0502020204030203" pitchFamily="34" charset="0"/>
              <a:sym typeface="Gill Sans"/>
            </a:endParaRPr>
          </a:p>
        </p:txBody>
      </p:sp>
      <p:sp>
        <p:nvSpPr>
          <p:cNvPr id="28" name="Shape 5173">
            <a:extLst>
              <a:ext uri="{FF2B5EF4-FFF2-40B4-BE49-F238E27FC236}">
                <a16:creationId xmlns:a16="http://schemas.microsoft.com/office/drawing/2014/main" id="{C1E0D514-6358-47D7-9AF9-78EABE6BFD3A}"/>
              </a:ext>
            </a:extLst>
          </p:cNvPr>
          <p:cNvSpPr/>
          <p:nvPr/>
        </p:nvSpPr>
        <p:spPr>
          <a:xfrm>
            <a:off x="7867954" y="3380710"/>
            <a:ext cx="2180073" cy="593135"/>
          </a:xfrm>
          <a:custGeom>
            <a:avLst/>
            <a:gdLst/>
            <a:ahLst/>
            <a:cxnLst>
              <a:cxn ang="0">
                <a:pos x="wd2" y="hd2"/>
              </a:cxn>
              <a:cxn ang="5400000">
                <a:pos x="wd2" y="hd2"/>
              </a:cxn>
              <a:cxn ang="10800000">
                <a:pos x="wd2" y="hd2"/>
              </a:cxn>
              <a:cxn ang="16200000">
                <a:pos x="wd2" y="hd2"/>
              </a:cxn>
            </a:cxnLst>
            <a:rect l="0" t="0" r="r" b="b"/>
            <a:pathLst>
              <a:path w="21600" h="21600" extrusionOk="0">
                <a:moveTo>
                  <a:pt x="3160" y="0"/>
                </a:moveTo>
                <a:lnTo>
                  <a:pt x="0" y="21600"/>
                </a:lnTo>
                <a:lnTo>
                  <a:pt x="21600" y="21600"/>
                </a:lnTo>
                <a:lnTo>
                  <a:pt x="18440" y="0"/>
                </a:lnTo>
                <a:cubicBezTo>
                  <a:pt x="18440" y="0"/>
                  <a:pt x="3160" y="0"/>
                  <a:pt x="3160" y="0"/>
                </a:cubicBezTo>
                <a:close/>
              </a:path>
            </a:pathLst>
          </a:custGeom>
          <a:gradFill flip="none" rotWithShape="1">
            <a:gsLst>
              <a:gs pos="0">
                <a:schemeClr val="accent1">
                  <a:lumMod val="51000"/>
                  <a:lumOff val="49000"/>
                </a:schemeClr>
              </a:gs>
              <a:gs pos="100000">
                <a:schemeClr val="accent1">
                  <a:lumMod val="95000"/>
                  <a:lumOff val="5000"/>
                </a:schemeClr>
              </a:gs>
            </a:gsLst>
            <a:lin ang="2700000" scaled="1"/>
            <a:tileRect/>
          </a:gradFill>
          <a:ln w="51262"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HarmonyOS Sans SC"/>
              <a:cs typeface="+mn-cs"/>
            </a:endParaRPr>
          </a:p>
        </p:txBody>
      </p:sp>
      <p:sp>
        <p:nvSpPr>
          <p:cNvPr id="29" name="Shape 2369">
            <a:extLst>
              <a:ext uri="{FF2B5EF4-FFF2-40B4-BE49-F238E27FC236}">
                <a16:creationId xmlns:a16="http://schemas.microsoft.com/office/drawing/2014/main" id="{5472AC4E-FB31-4CD6-83F1-C6031073AF15}"/>
              </a:ext>
            </a:extLst>
          </p:cNvPr>
          <p:cNvSpPr/>
          <p:nvPr/>
        </p:nvSpPr>
        <p:spPr>
          <a:xfrm>
            <a:off x="8771242" y="3491441"/>
            <a:ext cx="371698" cy="371671"/>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cubicBezTo>
                  <a:pt x="5377" y="20618"/>
                  <a:pt x="982" y="16223"/>
                  <a:pt x="982" y="10800"/>
                </a:cubicBezTo>
                <a:cubicBezTo>
                  <a:pt x="982" y="5377"/>
                  <a:pt x="5377" y="982"/>
                  <a:pt x="10800" y="982"/>
                </a:cubicBezTo>
                <a:cubicBezTo>
                  <a:pt x="16223" y="982"/>
                  <a:pt x="20618" y="5377"/>
                  <a:pt x="20618" y="10800"/>
                </a:cubicBezTo>
                <a:cubicBezTo>
                  <a:pt x="20618" y="16223"/>
                  <a:pt x="16223" y="20618"/>
                  <a:pt x="10800" y="20618"/>
                </a:cubicBezTo>
                <a:moveTo>
                  <a:pt x="10800" y="0"/>
                </a:moveTo>
                <a:cubicBezTo>
                  <a:pt x="4836" y="0"/>
                  <a:pt x="0" y="4836"/>
                  <a:pt x="0" y="10800"/>
                </a:cubicBezTo>
                <a:cubicBezTo>
                  <a:pt x="0" y="16765"/>
                  <a:pt x="4836" y="21600"/>
                  <a:pt x="10800" y="21600"/>
                </a:cubicBezTo>
                <a:cubicBezTo>
                  <a:pt x="16764" y="21600"/>
                  <a:pt x="21600" y="16765"/>
                  <a:pt x="21600" y="10800"/>
                </a:cubicBezTo>
                <a:cubicBezTo>
                  <a:pt x="21600" y="4836"/>
                  <a:pt x="16764" y="0"/>
                  <a:pt x="10800" y="0"/>
                </a:cubicBezTo>
                <a:moveTo>
                  <a:pt x="14236" y="16752"/>
                </a:moveTo>
                <a:cubicBezTo>
                  <a:pt x="14001" y="16887"/>
                  <a:pt x="13921" y="17188"/>
                  <a:pt x="14057" y="17422"/>
                </a:cubicBezTo>
                <a:cubicBezTo>
                  <a:pt x="14192" y="17658"/>
                  <a:pt x="14493" y="17738"/>
                  <a:pt x="14727" y="17602"/>
                </a:cubicBezTo>
                <a:cubicBezTo>
                  <a:pt x="14962" y="17467"/>
                  <a:pt x="15042" y="17167"/>
                  <a:pt x="14907" y="16932"/>
                </a:cubicBezTo>
                <a:cubicBezTo>
                  <a:pt x="14771" y="16697"/>
                  <a:pt x="14472" y="16617"/>
                  <a:pt x="14236" y="16752"/>
                </a:cubicBezTo>
                <a:moveTo>
                  <a:pt x="10800" y="11782"/>
                </a:moveTo>
                <a:cubicBezTo>
                  <a:pt x="10258" y="11782"/>
                  <a:pt x="9818" y="11342"/>
                  <a:pt x="9818" y="10800"/>
                </a:cubicBezTo>
                <a:cubicBezTo>
                  <a:pt x="9818" y="10258"/>
                  <a:pt x="10258" y="9818"/>
                  <a:pt x="10800" y="9818"/>
                </a:cubicBezTo>
                <a:cubicBezTo>
                  <a:pt x="11342" y="9818"/>
                  <a:pt x="11782" y="10258"/>
                  <a:pt x="11782" y="10800"/>
                </a:cubicBezTo>
                <a:cubicBezTo>
                  <a:pt x="11782" y="11342"/>
                  <a:pt x="11342" y="11782"/>
                  <a:pt x="10800" y="11782"/>
                </a:cubicBezTo>
                <a:moveTo>
                  <a:pt x="15218" y="10309"/>
                </a:moveTo>
                <a:lnTo>
                  <a:pt x="12694" y="10309"/>
                </a:lnTo>
                <a:cubicBezTo>
                  <a:pt x="12515" y="9624"/>
                  <a:pt x="11978" y="9084"/>
                  <a:pt x="11291" y="8906"/>
                </a:cubicBezTo>
                <a:lnTo>
                  <a:pt x="11291" y="3436"/>
                </a:lnTo>
                <a:cubicBezTo>
                  <a:pt x="11291" y="3166"/>
                  <a:pt x="11071" y="2945"/>
                  <a:pt x="10800" y="2945"/>
                </a:cubicBezTo>
                <a:cubicBezTo>
                  <a:pt x="10529" y="2945"/>
                  <a:pt x="10309" y="3166"/>
                  <a:pt x="10309" y="3436"/>
                </a:cubicBezTo>
                <a:lnTo>
                  <a:pt x="10309" y="8906"/>
                </a:lnTo>
                <a:cubicBezTo>
                  <a:pt x="9464" y="9125"/>
                  <a:pt x="8836" y="9886"/>
                  <a:pt x="8836" y="10800"/>
                </a:cubicBezTo>
                <a:cubicBezTo>
                  <a:pt x="8836" y="11885"/>
                  <a:pt x="9716" y="12764"/>
                  <a:pt x="10800" y="12764"/>
                </a:cubicBezTo>
                <a:cubicBezTo>
                  <a:pt x="11714" y="12764"/>
                  <a:pt x="12476" y="12137"/>
                  <a:pt x="12694" y="11291"/>
                </a:cubicBezTo>
                <a:lnTo>
                  <a:pt x="15218" y="11291"/>
                </a:lnTo>
                <a:cubicBezTo>
                  <a:pt x="15489" y="11291"/>
                  <a:pt x="15709" y="11072"/>
                  <a:pt x="15709" y="10800"/>
                </a:cubicBezTo>
                <a:cubicBezTo>
                  <a:pt x="15709" y="10529"/>
                  <a:pt x="15489" y="10309"/>
                  <a:pt x="15218" y="10309"/>
                </a:cubicBezTo>
                <a:moveTo>
                  <a:pt x="16932" y="6693"/>
                </a:moveTo>
                <a:cubicBezTo>
                  <a:pt x="16697" y="6829"/>
                  <a:pt x="16616" y="7129"/>
                  <a:pt x="16752" y="7364"/>
                </a:cubicBezTo>
                <a:cubicBezTo>
                  <a:pt x="16887" y="7599"/>
                  <a:pt x="17188" y="7679"/>
                  <a:pt x="17422" y="7543"/>
                </a:cubicBezTo>
                <a:cubicBezTo>
                  <a:pt x="17657" y="7408"/>
                  <a:pt x="17737" y="7108"/>
                  <a:pt x="17602" y="6873"/>
                </a:cubicBezTo>
                <a:cubicBezTo>
                  <a:pt x="17467" y="6638"/>
                  <a:pt x="17166" y="6557"/>
                  <a:pt x="16932" y="6693"/>
                </a:cubicBezTo>
                <a:moveTo>
                  <a:pt x="10800" y="17673"/>
                </a:moveTo>
                <a:cubicBezTo>
                  <a:pt x="10529" y="17673"/>
                  <a:pt x="10309" y="17893"/>
                  <a:pt x="10309" y="18164"/>
                </a:cubicBezTo>
                <a:cubicBezTo>
                  <a:pt x="10309" y="18435"/>
                  <a:pt x="10529" y="18655"/>
                  <a:pt x="10800" y="18655"/>
                </a:cubicBezTo>
                <a:cubicBezTo>
                  <a:pt x="11071" y="18655"/>
                  <a:pt x="11291" y="18435"/>
                  <a:pt x="11291" y="18164"/>
                </a:cubicBezTo>
                <a:cubicBezTo>
                  <a:pt x="11291" y="17893"/>
                  <a:pt x="11071" y="17673"/>
                  <a:pt x="10800" y="17673"/>
                </a:cubicBezTo>
                <a:moveTo>
                  <a:pt x="17422" y="14057"/>
                </a:moveTo>
                <a:cubicBezTo>
                  <a:pt x="17188" y="13921"/>
                  <a:pt x="16887" y="14001"/>
                  <a:pt x="16752" y="14236"/>
                </a:cubicBezTo>
                <a:cubicBezTo>
                  <a:pt x="16616" y="14472"/>
                  <a:pt x="16697" y="14772"/>
                  <a:pt x="16932" y="14907"/>
                </a:cubicBezTo>
                <a:cubicBezTo>
                  <a:pt x="17166" y="15043"/>
                  <a:pt x="17467" y="14962"/>
                  <a:pt x="17602" y="14727"/>
                </a:cubicBezTo>
                <a:cubicBezTo>
                  <a:pt x="17737" y="14492"/>
                  <a:pt x="17657" y="14192"/>
                  <a:pt x="17422" y="14057"/>
                </a:cubicBezTo>
                <a:moveTo>
                  <a:pt x="4668" y="6693"/>
                </a:moveTo>
                <a:cubicBezTo>
                  <a:pt x="4433" y="6557"/>
                  <a:pt x="4133" y="6638"/>
                  <a:pt x="3998" y="6873"/>
                </a:cubicBezTo>
                <a:cubicBezTo>
                  <a:pt x="3863" y="7108"/>
                  <a:pt x="3942" y="7408"/>
                  <a:pt x="4178" y="7543"/>
                </a:cubicBezTo>
                <a:cubicBezTo>
                  <a:pt x="4412" y="7679"/>
                  <a:pt x="4713" y="7599"/>
                  <a:pt x="4848" y="7364"/>
                </a:cubicBezTo>
                <a:cubicBezTo>
                  <a:pt x="4984" y="7129"/>
                  <a:pt x="4903" y="6829"/>
                  <a:pt x="4668" y="6693"/>
                </a:cubicBezTo>
                <a:moveTo>
                  <a:pt x="14236" y="4848"/>
                </a:moveTo>
                <a:cubicBezTo>
                  <a:pt x="14472" y="4984"/>
                  <a:pt x="14771" y="4903"/>
                  <a:pt x="14907" y="4669"/>
                </a:cubicBezTo>
                <a:cubicBezTo>
                  <a:pt x="15042" y="4434"/>
                  <a:pt x="14962" y="4134"/>
                  <a:pt x="14727" y="3998"/>
                </a:cubicBezTo>
                <a:cubicBezTo>
                  <a:pt x="14493" y="3863"/>
                  <a:pt x="14192" y="3943"/>
                  <a:pt x="14057" y="4178"/>
                </a:cubicBezTo>
                <a:cubicBezTo>
                  <a:pt x="13921" y="4412"/>
                  <a:pt x="14001" y="4713"/>
                  <a:pt x="14236" y="4848"/>
                </a:cubicBezTo>
                <a:moveTo>
                  <a:pt x="3436" y="10309"/>
                </a:moveTo>
                <a:cubicBezTo>
                  <a:pt x="3166" y="10309"/>
                  <a:pt x="2945" y="10529"/>
                  <a:pt x="2945" y="10800"/>
                </a:cubicBezTo>
                <a:cubicBezTo>
                  <a:pt x="2945" y="11072"/>
                  <a:pt x="3166" y="11291"/>
                  <a:pt x="3436" y="11291"/>
                </a:cubicBezTo>
                <a:cubicBezTo>
                  <a:pt x="3707" y="11291"/>
                  <a:pt x="3927" y="11072"/>
                  <a:pt x="3927" y="10800"/>
                </a:cubicBezTo>
                <a:cubicBezTo>
                  <a:pt x="3927" y="10529"/>
                  <a:pt x="3707" y="10309"/>
                  <a:pt x="3436" y="10309"/>
                </a:cubicBezTo>
                <a:moveTo>
                  <a:pt x="6873" y="3998"/>
                </a:moveTo>
                <a:cubicBezTo>
                  <a:pt x="6638" y="4134"/>
                  <a:pt x="6558" y="4434"/>
                  <a:pt x="6693" y="4669"/>
                </a:cubicBezTo>
                <a:cubicBezTo>
                  <a:pt x="6829" y="4903"/>
                  <a:pt x="7129" y="4984"/>
                  <a:pt x="7364" y="4848"/>
                </a:cubicBezTo>
                <a:cubicBezTo>
                  <a:pt x="7599" y="4713"/>
                  <a:pt x="7679" y="4412"/>
                  <a:pt x="7543" y="4178"/>
                </a:cubicBezTo>
                <a:cubicBezTo>
                  <a:pt x="7408" y="3943"/>
                  <a:pt x="7108" y="3863"/>
                  <a:pt x="6873" y="3998"/>
                </a:cubicBezTo>
                <a:moveTo>
                  <a:pt x="4178" y="14057"/>
                </a:moveTo>
                <a:cubicBezTo>
                  <a:pt x="3942" y="14192"/>
                  <a:pt x="3863" y="14492"/>
                  <a:pt x="3998" y="14727"/>
                </a:cubicBezTo>
                <a:cubicBezTo>
                  <a:pt x="4133" y="14962"/>
                  <a:pt x="4433" y="15043"/>
                  <a:pt x="4668" y="14907"/>
                </a:cubicBezTo>
                <a:cubicBezTo>
                  <a:pt x="4903" y="14772"/>
                  <a:pt x="4984" y="14472"/>
                  <a:pt x="4848" y="14236"/>
                </a:cubicBezTo>
                <a:cubicBezTo>
                  <a:pt x="4713" y="14001"/>
                  <a:pt x="4412" y="13921"/>
                  <a:pt x="4178" y="14057"/>
                </a:cubicBezTo>
                <a:moveTo>
                  <a:pt x="7364" y="16752"/>
                </a:moveTo>
                <a:cubicBezTo>
                  <a:pt x="7129" y="16617"/>
                  <a:pt x="6829" y="16697"/>
                  <a:pt x="6693" y="16932"/>
                </a:cubicBezTo>
                <a:cubicBezTo>
                  <a:pt x="6558" y="17167"/>
                  <a:pt x="6638" y="17467"/>
                  <a:pt x="6873" y="17602"/>
                </a:cubicBezTo>
                <a:cubicBezTo>
                  <a:pt x="7108" y="17738"/>
                  <a:pt x="7408" y="17658"/>
                  <a:pt x="7543" y="17422"/>
                </a:cubicBezTo>
                <a:cubicBezTo>
                  <a:pt x="7679" y="17188"/>
                  <a:pt x="7599" y="16887"/>
                  <a:pt x="7364" y="16752"/>
                </a:cubicBezTo>
                <a:moveTo>
                  <a:pt x="18164" y="10309"/>
                </a:moveTo>
                <a:cubicBezTo>
                  <a:pt x="17893" y="10309"/>
                  <a:pt x="17673" y="10529"/>
                  <a:pt x="17673" y="10800"/>
                </a:cubicBezTo>
                <a:cubicBezTo>
                  <a:pt x="17673" y="11072"/>
                  <a:pt x="17893" y="11291"/>
                  <a:pt x="18164" y="11291"/>
                </a:cubicBezTo>
                <a:cubicBezTo>
                  <a:pt x="18434" y="11291"/>
                  <a:pt x="18655" y="11072"/>
                  <a:pt x="18655" y="10800"/>
                </a:cubicBezTo>
                <a:cubicBezTo>
                  <a:pt x="18655" y="10529"/>
                  <a:pt x="18434" y="10309"/>
                  <a:pt x="18164" y="10309"/>
                </a:cubicBezTo>
              </a:path>
            </a:pathLst>
          </a:custGeom>
          <a:solidFill>
            <a:schemeClr val="bg1"/>
          </a:solidFill>
          <a:ln w="12700">
            <a:noFill/>
            <a:miter lim="400000"/>
          </a:ln>
        </p:spPr>
        <p:txBody>
          <a:bodyPr lIns="19049" tIns="19049" rIns="19049" bIns="19049" anchor="ctr"/>
          <a:lstStyle/>
          <a:p>
            <a:pPr marL="0" marR="0" lvl="0" indent="0" algn="ctr" defTabSz="228580" rtl="0" eaLnBrk="1" fontAlgn="auto" latinLnBrk="0" hangingPunct="0">
              <a:lnSpc>
                <a:spcPct val="100000"/>
              </a:lnSpc>
              <a:spcBef>
                <a:spcPts val="0"/>
              </a:spcBef>
              <a:spcAft>
                <a:spcPts val="0"/>
              </a:spcAft>
              <a:buClrTx/>
              <a:buSzTx/>
              <a:buFontTx/>
              <a:buNone/>
              <a:tabLst/>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sz="120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Lato" panose="020F0502020204030203" pitchFamily="34" charset="0"/>
              <a:ea typeface="Lato" panose="020F0502020204030203" pitchFamily="34" charset="0"/>
              <a:cs typeface="Lato" panose="020F0502020204030203" pitchFamily="34" charset="0"/>
              <a:sym typeface="Gill Sans"/>
            </a:endParaRPr>
          </a:p>
        </p:txBody>
      </p:sp>
      <p:sp>
        <p:nvSpPr>
          <p:cNvPr id="26" name="Shape 5172">
            <a:extLst>
              <a:ext uri="{FF2B5EF4-FFF2-40B4-BE49-F238E27FC236}">
                <a16:creationId xmlns:a16="http://schemas.microsoft.com/office/drawing/2014/main" id="{5115AB8E-D9A0-4338-9FC1-83F17B2596EF}"/>
              </a:ext>
            </a:extLst>
          </p:cNvPr>
          <p:cNvSpPr/>
          <p:nvPr/>
        </p:nvSpPr>
        <p:spPr>
          <a:xfrm>
            <a:off x="7361398" y="4332253"/>
            <a:ext cx="3199490" cy="593136"/>
          </a:xfrm>
          <a:custGeom>
            <a:avLst/>
            <a:gdLst/>
            <a:ahLst/>
            <a:cxnLst>
              <a:cxn ang="0">
                <a:pos x="wd2" y="hd2"/>
              </a:cxn>
              <a:cxn ang="5400000">
                <a:pos x="wd2" y="hd2"/>
              </a:cxn>
              <a:cxn ang="10800000">
                <a:pos x="wd2" y="hd2"/>
              </a:cxn>
              <a:cxn ang="16200000">
                <a:pos x="wd2" y="hd2"/>
              </a:cxn>
            </a:cxnLst>
            <a:rect l="0" t="0" r="r" b="b"/>
            <a:pathLst>
              <a:path w="21600" h="21600" extrusionOk="0">
                <a:moveTo>
                  <a:pt x="2153" y="0"/>
                </a:moveTo>
                <a:lnTo>
                  <a:pt x="0" y="21600"/>
                </a:lnTo>
                <a:lnTo>
                  <a:pt x="21600" y="21600"/>
                </a:lnTo>
                <a:lnTo>
                  <a:pt x="19447" y="0"/>
                </a:lnTo>
                <a:cubicBezTo>
                  <a:pt x="19447" y="0"/>
                  <a:pt x="2153" y="0"/>
                  <a:pt x="2153" y="0"/>
                </a:cubicBezTo>
                <a:close/>
              </a:path>
            </a:pathLst>
          </a:custGeom>
          <a:gradFill flip="none" rotWithShape="1">
            <a:gsLst>
              <a:gs pos="0">
                <a:schemeClr val="accent1">
                  <a:lumMod val="49000"/>
                  <a:lumOff val="51000"/>
                </a:schemeClr>
              </a:gs>
              <a:gs pos="63000">
                <a:schemeClr val="accent1">
                  <a:lumMod val="78000"/>
                  <a:lumOff val="22000"/>
                </a:schemeClr>
              </a:gs>
            </a:gsLst>
            <a:lin ang="2700000" scaled="1"/>
            <a:tileRect/>
          </a:gradFill>
          <a:ln w="1270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HarmonyOS Sans SC"/>
              <a:cs typeface="+mn-cs"/>
            </a:endParaRPr>
          </a:p>
        </p:txBody>
      </p:sp>
      <p:sp>
        <p:nvSpPr>
          <p:cNvPr id="27" name="Shape 2434">
            <a:extLst>
              <a:ext uri="{FF2B5EF4-FFF2-40B4-BE49-F238E27FC236}">
                <a16:creationId xmlns:a16="http://schemas.microsoft.com/office/drawing/2014/main" id="{DCA8E923-D8E2-49B3-B8A1-F41C0D14E6CF}"/>
              </a:ext>
            </a:extLst>
          </p:cNvPr>
          <p:cNvSpPr/>
          <p:nvPr/>
        </p:nvSpPr>
        <p:spPr>
          <a:xfrm>
            <a:off x="8771242" y="4442985"/>
            <a:ext cx="371698" cy="371671"/>
          </a:xfrm>
          <a:custGeom>
            <a:avLst/>
            <a:gdLst/>
            <a:ahLst/>
            <a:cxnLst>
              <a:cxn ang="0">
                <a:pos x="wd2" y="hd2"/>
              </a:cxn>
              <a:cxn ang="5400000">
                <a:pos x="wd2" y="hd2"/>
              </a:cxn>
              <a:cxn ang="10800000">
                <a:pos x="wd2" y="hd2"/>
              </a:cxn>
              <a:cxn ang="16200000">
                <a:pos x="wd2" y="hd2"/>
              </a:cxn>
            </a:cxnLst>
            <a:rect l="0" t="0" r="r" b="b"/>
            <a:pathLst>
              <a:path w="21600" h="21600" extrusionOk="0">
                <a:moveTo>
                  <a:pt x="10800" y="14727"/>
                </a:moveTo>
                <a:cubicBezTo>
                  <a:pt x="8631" y="14727"/>
                  <a:pt x="6873" y="12969"/>
                  <a:pt x="6873" y="10800"/>
                </a:cubicBezTo>
                <a:cubicBezTo>
                  <a:pt x="6873" y="8631"/>
                  <a:pt x="8631" y="6873"/>
                  <a:pt x="10800" y="6873"/>
                </a:cubicBezTo>
                <a:cubicBezTo>
                  <a:pt x="12969" y="6873"/>
                  <a:pt x="14727" y="8631"/>
                  <a:pt x="14727" y="10800"/>
                </a:cubicBezTo>
                <a:cubicBezTo>
                  <a:pt x="14727" y="12969"/>
                  <a:pt x="12969" y="14727"/>
                  <a:pt x="10800" y="14727"/>
                </a:cubicBezTo>
                <a:moveTo>
                  <a:pt x="10800" y="5891"/>
                </a:moveTo>
                <a:cubicBezTo>
                  <a:pt x="8088" y="5891"/>
                  <a:pt x="5891" y="8089"/>
                  <a:pt x="5891" y="10800"/>
                </a:cubicBezTo>
                <a:cubicBezTo>
                  <a:pt x="5891" y="13512"/>
                  <a:pt x="8088" y="15709"/>
                  <a:pt x="10800" y="15709"/>
                </a:cubicBezTo>
                <a:cubicBezTo>
                  <a:pt x="13512" y="15709"/>
                  <a:pt x="15709" y="13512"/>
                  <a:pt x="15709" y="10800"/>
                </a:cubicBezTo>
                <a:cubicBezTo>
                  <a:pt x="15709" y="8089"/>
                  <a:pt x="13512" y="5891"/>
                  <a:pt x="10800" y="5891"/>
                </a:cubicBezTo>
                <a:moveTo>
                  <a:pt x="20618" y="12013"/>
                </a:moveTo>
                <a:cubicBezTo>
                  <a:pt x="20614" y="12014"/>
                  <a:pt x="20611" y="12016"/>
                  <a:pt x="20607" y="12016"/>
                </a:cubicBezTo>
                <a:lnTo>
                  <a:pt x="19602" y="12268"/>
                </a:lnTo>
                <a:cubicBezTo>
                  <a:pt x="19256" y="12354"/>
                  <a:pt x="18984" y="12622"/>
                  <a:pt x="18892" y="12966"/>
                </a:cubicBezTo>
                <a:cubicBezTo>
                  <a:pt x="18703" y="13672"/>
                  <a:pt x="18421" y="14351"/>
                  <a:pt x="18053" y="14986"/>
                </a:cubicBezTo>
                <a:cubicBezTo>
                  <a:pt x="17873" y="15295"/>
                  <a:pt x="17876" y="15677"/>
                  <a:pt x="18060" y="15984"/>
                </a:cubicBezTo>
                <a:lnTo>
                  <a:pt x="18601" y="16885"/>
                </a:lnTo>
                <a:lnTo>
                  <a:pt x="16886" y="18600"/>
                </a:lnTo>
                <a:cubicBezTo>
                  <a:pt x="16882" y="18599"/>
                  <a:pt x="16878" y="18597"/>
                  <a:pt x="16875" y="18595"/>
                </a:cubicBezTo>
                <a:lnTo>
                  <a:pt x="15978" y="18057"/>
                </a:lnTo>
                <a:cubicBezTo>
                  <a:pt x="15822" y="17964"/>
                  <a:pt x="15648" y="17917"/>
                  <a:pt x="15473" y="17917"/>
                </a:cubicBezTo>
                <a:cubicBezTo>
                  <a:pt x="15304" y="17917"/>
                  <a:pt x="15134" y="17961"/>
                  <a:pt x="14982" y="18049"/>
                </a:cubicBezTo>
                <a:cubicBezTo>
                  <a:pt x="14348" y="18415"/>
                  <a:pt x="13671" y="18696"/>
                  <a:pt x="12968" y="18884"/>
                </a:cubicBezTo>
                <a:cubicBezTo>
                  <a:pt x="12624" y="18976"/>
                  <a:pt x="12356" y="19248"/>
                  <a:pt x="12269" y="19594"/>
                </a:cubicBezTo>
                <a:lnTo>
                  <a:pt x="12016" y="20607"/>
                </a:lnTo>
                <a:cubicBezTo>
                  <a:pt x="12015" y="20611"/>
                  <a:pt x="12014" y="20614"/>
                  <a:pt x="12012" y="20619"/>
                </a:cubicBezTo>
                <a:lnTo>
                  <a:pt x="9587" y="20619"/>
                </a:lnTo>
                <a:lnTo>
                  <a:pt x="9331" y="19594"/>
                </a:lnTo>
                <a:cubicBezTo>
                  <a:pt x="9244" y="19248"/>
                  <a:pt x="8976" y="18976"/>
                  <a:pt x="8632" y="18884"/>
                </a:cubicBezTo>
                <a:cubicBezTo>
                  <a:pt x="7929" y="18696"/>
                  <a:pt x="7251" y="18415"/>
                  <a:pt x="6617" y="18049"/>
                </a:cubicBezTo>
                <a:cubicBezTo>
                  <a:pt x="6465" y="17961"/>
                  <a:pt x="6296" y="17917"/>
                  <a:pt x="6127" y="17917"/>
                </a:cubicBezTo>
                <a:cubicBezTo>
                  <a:pt x="5951" y="17917"/>
                  <a:pt x="5777" y="17964"/>
                  <a:pt x="5621" y="18057"/>
                </a:cubicBezTo>
                <a:lnTo>
                  <a:pt x="4725" y="18595"/>
                </a:lnTo>
                <a:cubicBezTo>
                  <a:pt x="4722" y="18597"/>
                  <a:pt x="4718" y="18599"/>
                  <a:pt x="4714" y="18600"/>
                </a:cubicBezTo>
                <a:lnTo>
                  <a:pt x="3000" y="16885"/>
                </a:lnTo>
                <a:lnTo>
                  <a:pt x="3540" y="15984"/>
                </a:lnTo>
                <a:cubicBezTo>
                  <a:pt x="3724" y="15677"/>
                  <a:pt x="3727" y="15295"/>
                  <a:pt x="3548" y="14986"/>
                </a:cubicBezTo>
                <a:cubicBezTo>
                  <a:pt x="3179" y="14351"/>
                  <a:pt x="2897" y="13672"/>
                  <a:pt x="2708" y="12966"/>
                </a:cubicBezTo>
                <a:cubicBezTo>
                  <a:pt x="2616" y="12622"/>
                  <a:pt x="2343" y="12354"/>
                  <a:pt x="1998" y="12268"/>
                </a:cubicBezTo>
                <a:lnTo>
                  <a:pt x="993" y="12016"/>
                </a:lnTo>
                <a:cubicBezTo>
                  <a:pt x="989" y="12016"/>
                  <a:pt x="986" y="12014"/>
                  <a:pt x="982" y="12013"/>
                </a:cubicBezTo>
                <a:lnTo>
                  <a:pt x="982" y="9587"/>
                </a:lnTo>
                <a:lnTo>
                  <a:pt x="1998" y="9333"/>
                </a:lnTo>
                <a:cubicBezTo>
                  <a:pt x="2343" y="9246"/>
                  <a:pt x="2616" y="8979"/>
                  <a:pt x="2708" y="8634"/>
                </a:cubicBezTo>
                <a:cubicBezTo>
                  <a:pt x="2897" y="7928"/>
                  <a:pt x="3179" y="7249"/>
                  <a:pt x="3548" y="6615"/>
                </a:cubicBezTo>
                <a:cubicBezTo>
                  <a:pt x="3727" y="6305"/>
                  <a:pt x="3724" y="5923"/>
                  <a:pt x="3540" y="5617"/>
                </a:cubicBezTo>
                <a:lnTo>
                  <a:pt x="3005" y="4725"/>
                </a:lnTo>
                <a:cubicBezTo>
                  <a:pt x="3004" y="4722"/>
                  <a:pt x="3002" y="4718"/>
                  <a:pt x="3000" y="4715"/>
                </a:cubicBezTo>
                <a:lnTo>
                  <a:pt x="4715" y="3000"/>
                </a:lnTo>
                <a:lnTo>
                  <a:pt x="5621" y="3544"/>
                </a:lnTo>
                <a:cubicBezTo>
                  <a:pt x="5777" y="3636"/>
                  <a:pt x="5951" y="3683"/>
                  <a:pt x="6127" y="3683"/>
                </a:cubicBezTo>
                <a:cubicBezTo>
                  <a:pt x="6296" y="3683"/>
                  <a:pt x="6465" y="3639"/>
                  <a:pt x="6618" y="3551"/>
                </a:cubicBezTo>
                <a:cubicBezTo>
                  <a:pt x="7251" y="3185"/>
                  <a:pt x="7929" y="2904"/>
                  <a:pt x="8632" y="2717"/>
                </a:cubicBezTo>
                <a:cubicBezTo>
                  <a:pt x="8976" y="2624"/>
                  <a:pt x="9244" y="2353"/>
                  <a:pt x="9331" y="2007"/>
                </a:cubicBezTo>
                <a:lnTo>
                  <a:pt x="9587" y="982"/>
                </a:lnTo>
                <a:lnTo>
                  <a:pt x="12012" y="982"/>
                </a:lnTo>
                <a:cubicBezTo>
                  <a:pt x="12014" y="986"/>
                  <a:pt x="12015" y="989"/>
                  <a:pt x="12016" y="993"/>
                </a:cubicBezTo>
                <a:lnTo>
                  <a:pt x="12269" y="2007"/>
                </a:lnTo>
                <a:cubicBezTo>
                  <a:pt x="12356" y="2353"/>
                  <a:pt x="12624" y="2624"/>
                  <a:pt x="12968" y="2717"/>
                </a:cubicBezTo>
                <a:cubicBezTo>
                  <a:pt x="13671" y="2904"/>
                  <a:pt x="14348" y="3185"/>
                  <a:pt x="14982" y="3551"/>
                </a:cubicBezTo>
                <a:cubicBezTo>
                  <a:pt x="15134" y="3639"/>
                  <a:pt x="15304" y="3683"/>
                  <a:pt x="15473" y="3683"/>
                </a:cubicBezTo>
                <a:cubicBezTo>
                  <a:pt x="15648" y="3683"/>
                  <a:pt x="15822" y="3636"/>
                  <a:pt x="15978" y="3544"/>
                </a:cubicBezTo>
                <a:lnTo>
                  <a:pt x="16884" y="3000"/>
                </a:lnTo>
                <a:lnTo>
                  <a:pt x="18600" y="4715"/>
                </a:lnTo>
                <a:cubicBezTo>
                  <a:pt x="18598" y="4718"/>
                  <a:pt x="18597" y="4722"/>
                  <a:pt x="18595" y="4726"/>
                </a:cubicBezTo>
                <a:lnTo>
                  <a:pt x="18060" y="5616"/>
                </a:lnTo>
                <a:cubicBezTo>
                  <a:pt x="17876" y="5923"/>
                  <a:pt x="17873" y="6305"/>
                  <a:pt x="18053" y="6615"/>
                </a:cubicBezTo>
                <a:cubicBezTo>
                  <a:pt x="18421" y="7249"/>
                  <a:pt x="18703" y="7928"/>
                  <a:pt x="18892" y="8634"/>
                </a:cubicBezTo>
                <a:cubicBezTo>
                  <a:pt x="18984" y="8979"/>
                  <a:pt x="19256" y="9246"/>
                  <a:pt x="19602" y="9333"/>
                </a:cubicBezTo>
                <a:lnTo>
                  <a:pt x="20618" y="9587"/>
                </a:lnTo>
                <a:cubicBezTo>
                  <a:pt x="20618" y="9587"/>
                  <a:pt x="20618" y="12013"/>
                  <a:pt x="20618" y="12013"/>
                </a:cubicBezTo>
                <a:close/>
                <a:moveTo>
                  <a:pt x="20880" y="8641"/>
                </a:moveTo>
                <a:lnTo>
                  <a:pt x="19841" y="8380"/>
                </a:lnTo>
                <a:cubicBezTo>
                  <a:pt x="19626" y="7580"/>
                  <a:pt x="19308" y="6822"/>
                  <a:pt x="18902" y="6122"/>
                </a:cubicBezTo>
                <a:lnTo>
                  <a:pt x="19455" y="5200"/>
                </a:lnTo>
                <a:cubicBezTo>
                  <a:pt x="19625" y="4871"/>
                  <a:pt x="19736" y="4463"/>
                  <a:pt x="19455" y="4182"/>
                </a:cubicBezTo>
                <a:lnTo>
                  <a:pt x="17419" y="2145"/>
                </a:lnTo>
                <a:cubicBezTo>
                  <a:pt x="17292" y="2018"/>
                  <a:pt x="17136" y="1969"/>
                  <a:pt x="16975" y="1969"/>
                </a:cubicBezTo>
                <a:cubicBezTo>
                  <a:pt x="16778" y="1969"/>
                  <a:pt x="16572" y="2043"/>
                  <a:pt x="16400" y="2145"/>
                </a:cubicBezTo>
                <a:lnTo>
                  <a:pt x="15473" y="2702"/>
                </a:lnTo>
                <a:cubicBezTo>
                  <a:pt x="14775" y="2298"/>
                  <a:pt x="14020" y="1982"/>
                  <a:pt x="13222" y="1768"/>
                </a:cubicBezTo>
                <a:lnTo>
                  <a:pt x="12960" y="720"/>
                </a:lnTo>
                <a:cubicBezTo>
                  <a:pt x="12848" y="367"/>
                  <a:pt x="12638" y="0"/>
                  <a:pt x="12240" y="0"/>
                </a:cubicBezTo>
                <a:lnTo>
                  <a:pt x="9360" y="0"/>
                </a:lnTo>
                <a:cubicBezTo>
                  <a:pt x="8962" y="0"/>
                  <a:pt x="8730" y="367"/>
                  <a:pt x="8640" y="720"/>
                </a:cubicBezTo>
                <a:lnTo>
                  <a:pt x="8378" y="1768"/>
                </a:lnTo>
                <a:cubicBezTo>
                  <a:pt x="7580" y="1982"/>
                  <a:pt x="6825" y="2298"/>
                  <a:pt x="6127" y="2702"/>
                </a:cubicBezTo>
                <a:lnTo>
                  <a:pt x="5200" y="2145"/>
                </a:lnTo>
                <a:cubicBezTo>
                  <a:pt x="5028" y="2043"/>
                  <a:pt x="4822" y="1969"/>
                  <a:pt x="4625" y="1969"/>
                </a:cubicBezTo>
                <a:cubicBezTo>
                  <a:pt x="4464" y="1969"/>
                  <a:pt x="4308" y="2018"/>
                  <a:pt x="4181" y="2145"/>
                </a:cubicBezTo>
                <a:lnTo>
                  <a:pt x="2145" y="4182"/>
                </a:lnTo>
                <a:cubicBezTo>
                  <a:pt x="1864" y="4463"/>
                  <a:pt x="1975" y="4871"/>
                  <a:pt x="2145" y="5200"/>
                </a:cubicBezTo>
                <a:lnTo>
                  <a:pt x="2698" y="6122"/>
                </a:lnTo>
                <a:cubicBezTo>
                  <a:pt x="2292" y="6822"/>
                  <a:pt x="1973" y="7580"/>
                  <a:pt x="1759" y="8380"/>
                </a:cubicBezTo>
                <a:lnTo>
                  <a:pt x="720" y="8641"/>
                </a:lnTo>
                <a:cubicBezTo>
                  <a:pt x="367" y="8730"/>
                  <a:pt x="0" y="8963"/>
                  <a:pt x="0" y="9360"/>
                </a:cubicBezTo>
                <a:lnTo>
                  <a:pt x="0" y="12240"/>
                </a:lnTo>
                <a:cubicBezTo>
                  <a:pt x="0" y="12638"/>
                  <a:pt x="367" y="12848"/>
                  <a:pt x="720" y="12960"/>
                </a:cubicBezTo>
                <a:lnTo>
                  <a:pt x="1759" y="13220"/>
                </a:lnTo>
                <a:cubicBezTo>
                  <a:pt x="1973" y="14021"/>
                  <a:pt x="2292" y="14778"/>
                  <a:pt x="2698" y="15478"/>
                </a:cubicBezTo>
                <a:lnTo>
                  <a:pt x="2145" y="16400"/>
                </a:lnTo>
                <a:cubicBezTo>
                  <a:pt x="1959" y="16714"/>
                  <a:pt x="1864" y="17137"/>
                  <a:pt x="2145" y="17419"/>
                </a:cubicBezTo>
                <a:lnTo>
                  <a:pt x="4181" y="19455"/>
                </a:lnTo>
                <a:cubicBezTo>
                  <a:pt x="4305" y="19579"/>
                  <a:pt x="4454" y="19627"/>
                  <a:pt x="4610" y="19627"/>
                </a:cubicBezTo>
                <a:cubicBezTo>
                  <a:pt x="4807" y="19627"/>
                  <a:pt x="5016" y="19550"/>
                  <a:pt x="5200" y="19455"/>
                </a:cubicBezTo>
                <a:lnTo>
                  <a:pt x="6127" y="18899"/>
                </a:lnTo>
                <a:cubicBezTo>
                  <a:pt x="6825" y="19302"/>
                  <a:pt x="7580" y="19619"/>
                  <a:pt x="8378" y="19832"/>
                </a:cubicBezTo>
                <a:lnTo>
                  <a:pt x="8640" y="20880"/>
                </a:lnTo>
                <a:cubicBezTo>
                  <a:pt x="8730" y="21233"/>
                  <a:pt x="8962" y="21600"/>
                  <a:pt x="9360" y="21600"/>
                </a:cubicBezTo>
                <a:lnTo>
                  <a:pt x="12240" y="21600"/>
                </a:lnTo>
                <a:cubicBezTo>
                  <a:pt x="12638" y="21600"/>
                  <a:pt x="12848" y="21233"/>
                  <a:pt x="12960" y="20880"/>
                </a:cubicBezTo>
                <a:lnTo>
                  <a:pt x="13222" y="19832"/>
                </a:lnTo>
                <a:cubicBezTo>
                  <a:pt x="14020" y="19619"/>
                  <a:pt x="14775" y="19302"/>
                  <a:pt x="15473" y="18899"/>
                </a:cubicBezTo>
                <a:lnTo>
                  <a:pt x="16400" y="19455"/>
                </a:lnTo>
                <a:cubicBezTo>
                  <a:pt x="16584" y="19550"/>
                  <a:pt x="16793" y="19627"/>
                  <a:pt x="16990" y="19627"/>
                </a:cubicBezTo>
                <a:cubicBezTo>
                  <a:pt x="17146" y="19627"/>
                  <a:pt x="17294" y="19579"/>
                  <a:pt x="17419" y="19455"/>
                </a:cubicBezTo>
                <a:lnTo>
                  <a:pt x="19455" y="17419"/>
                </a:lnTo>
                <a:cubicBezTo>
                  <a:pt x="19736" y="17137"/>
                  <a:pt x="19641" y="16714"/>
                  <a:pt x="19455" y="16400"/>
                </a:cubicBezTo>
                <a:lnTo>
                  <a:pt x="18902" y="15478"/>
                </a:lnTo>
                <a:cubicBezTo>
                  <a:pt x="19308" y="14778"/>
                  <a:pt x="19626" y="14021"/>
                  <a:pt x="19841" y="13220"/>
                </a:cubicBezTo>
                <a:lnTo>
                  <a:pt x="20880" y="12960"/>
                </a:lnTo>
                <a:cubicBezTo>
                  <a:pt x="21233" y="12848"/>
                  <a:pt x="21600" y="12638"/>
                  <a:pt x="21600" y="12240"/>
                </a:cubicBezTo>
                <a:lnTo>
                  <a:pt x="21600" y="9360"/>
                </a:lnTo>
                <a:cubicBezTo>
                  <a:pt x="21600" y="8963"/>
                  <a:pt x="21233" y="8730"/>
                  <a:pt x="20880" y="8641"/>
                </a:cubicBezTo>
              </a:path>
            </a:pathLst>
          </a:custGeom>
          <a:solidFill>
            <a:schemeClr val="bg1"/>
          </a:solidFill>
          <a:ln w="12700">
            <a:noFill/>
            <a:miter lim="400000"/>
          </a:ln>
        </p:spPr>
        <p:txBody>
          <a:bodyPr lIns="19049" tIns="19049" rIns="19049" bIns="19049" anchor="ctr"/>
          <a:lstStyle/>
          <a:p>
            <a:pPr marL="0" marR="0" lvl="0" indent="0" algn="ctr" defTabSz="228580" rtl="0" eaLnBrk="1" fontAlgn="auto" latinLnBrk="0" hangingPunct="0">
              <a:lnSpc>
                <a:spcPct val="100000"/>
              </a:lnSpc>
              <a:spcBef>
                <a:spcPts val="0"/>
              </a:spcBef>
              <a:spcAft>
                <a:spcPts val="0"/>
              </a:spcAft>
              <a:buClrTx/>
              <a:buSzTx/>
              <a:buFontTx/>
              <a:buNone/>
              <a:tabLst/>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sz="120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Lato" panose="020F0502020204030203" pitchFamily="34" charset="0"/>
              <a:ea typeface="Lato" panose="020F0502020204030203" pitchFamily="34" charset="0"/>
              <a:cs typeface="Lato" panose="020F0502020204030203" pitchFamily="34" charset="0"/>
              <a:sym typeface="Gill Sans"/>
            </a:endParaRPr>
          </a:p>
        </p:txBody>
      </p:sp>
      <p:sp>
        <p:nvSpPr>
          <p:cNvPr id="34" name="文本框 33">
            <a:extLst>
              <a:ext uri="{FF2B5EF4-FFF2-40B4-BE49-F238E27FC236}">
                <a16:creationId xmlns:a16="http://schemas.microsoft.com/office/drawing/2014/main" id="{F7D61B63-011E-4033-ABAF-C595E115DFA5}"/>
              </a:ext>
            </a:extLst>
          </p:cNvPr>
          <p:cNvSpPr txBox="1"/>
          <p:nvPr/>
        </p:nvSpPr>
        <p:spPr>
          <a:xfrm>
            <a:off x="4608252" y="918105"/>
            <a:ext cx="2975495" cy="52322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2800" b="0" i="0" u="none" strike="noStrike" kern="1200" cap="none" spc="0" normalizeH="0" baseline="0" noProof="0" dirty="0">
                <a:ln>
                  <a:noFill/>
                </a:ln>
                <a:solidFill>
                  <a:prstClr val="black"/>
                </a:solidFill>
                <a:effectLst/>
                <a:uLnTx/>
                <a:uFillTx/>
                <a:latin typeface="HarmonyOS Sans Black"/>
                <a:ea typeface="+mj-ea"/>
                <a:cs typeface="+mn-cs"/>
              </a:rPr>
              <a:t>Our </a:t>
            </a:r>
            <a:r>
              <a:rPr kumimoji="0" lang="en-US" altLang="zh-CN" sz="2800" b="0" i="0" u="none" strike="noStrike" kern="1200" cap="none" spc="0" normalizeH="0" baseline="0" noProof="0" dirty="0">
                <a:ln>
                  <a:noFill/>
                </a:ln>
                <a:solidFill>
                  <a:schemeClr val="accent1"/>
                </a:solidFill>
                <a:effectLst/>
                <a:uLnTx/>
                <a:uFillTx/>
                <a:latin typeface="HarmonyOS Sans Black"/>
                <a:ea typeface="+mj-ea"/>
                <a:cs typeface="+mn-cs"/>
              </a:rPr>
              <a:t>Infographic</a:t>
            </a:r>
          </a:p>
        </p:txBody>
      </p:sp>
    </p:spTree>
    <p:extLst>
      <p:ext uri="{BB962C8B-B14F-4D97-AF65-F5344CB8AC3E}">
        <p14:creationId xmlns:p14="http://schemas.microsoft.com/office/powerpoint/2010/main" val="1670125302"/>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5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2F1EC0F9-7651-4EF6-9E30-AB0F3DAEA2F7}"/>
              </a:ext>
            </a:extLst>
          </p:cNvPr>
          <p:cNvSpPr/>
          <p:nvPr/>
        </p:nvSpPr>
        <p:spPr>
          <a:xfrm>
            <a:off x="980499" y="2815129"/>
            <a:ext cx="4769390" cy="314702"/>
          </a:xfrm>
          <a:prstGeom prst="rect">
            <a:avLst/>
          </a:prstGeom>
        </p:spPr>
        <p:txBody>
          <a:bodyPr wrap="square">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lumMod val="50000"/>
                    <a:lumOff val="50000"/>
                  </a:prstClr>
                </a:solidFill>
                <a:effectLst/>
                <a:uLnTx/>
                <a:uFillTx/>
                <a:latin typeface="HarmonyOS Sans SC"/>
                <a:cs typeface="Segoe UI" panose="020B0502040204020203" pitchFamily="34" charset="0"/>
              </a:rPr>
              <a:t>Quod </a:t>
            </a:r>
            <a:r>
              <a:rPr kumimoji="0" lang="en-US" sz="1100" b="0" i="0" u="none" strike="noStrike" kern="1200" cap="none" spc="0" normalizeH="0" baseline="0" noProof="0" dirty="0" err="1">
                <a:ln>
                  <a:noFill/>
                </a:ln>
                <a:solidFill>
                  <a:prstClr val="black">
                    <a:lumMod val="50000"/>
                    <a:lumOff val="50000"/>
                  </a:prstClr>
                </a:solidFill>
                <a:effectLst/>
                <a:uLnTx/>
                <a:uFillTx/>
                <a:latin typeface="HarmonyOS Sans SC"/>
                <a:cs typeface="Segoe UI" panose="020B0502040204020203" pitchFamily="34" charset="0"/>
              </a:rPr>
              <a:t>errem</a:t>
            </a:r>
            <a:r>
              <a:rPr kumimoji="0" lang="en-US" sz="1100" b="0" i="0" u="none" strike="noStrike" kern="1200" cap="none" spc="0" normalizeH="0" baseline="0" noProof="0" dirty="0">
                <a:ln>
                  <a:noFill/>
                </a:ln>
                <a:solidFill>
                  <a:prstClr val="black">
                    <a:lumMod val="50000"/>
                    <a:lumOff val="50000"/>
                  </a:prstClr>
                </a:solidFill>
                <a:effectLst/>
                <a:uLnTx/>
                <a:uFillTx/>
                <a:latin typeface="HarmonyOS Sans SC"/>
                <a:cs typeface="Segoe UI" panose="020B0502040204020203" pitchFamily="34" charset="0"/>
              </a:rPr>
              <a:t> </a:t>
            </a:r>
            <a:r>
              <a:rPr kumimoji="0" lang="en-US" sz="1100" b="0" i="0" u="none" strike="noStrike" kern="1200" cap="none" spc="0" normalizeH="0" baseline="0" noProof="0" dirty="0" err="1">
                <a:ln>
                  <a:noFill/>
                </a:ln>
                <a:solidFill>
                  <a:prstClr val="black">
                    <a:lumMod val="50000"/>
                    <a:lumOff val="50000"/>
                  </a:prstClr>
                </a:solidFill>
                <a:effectLst/>
                <a:uLnTx/>
                <a:uFillTx/>
                <a:latin typeface="HarmonyOS Sans SC"/>
                <a:cs typeface="Segoe UI" panose="020B0502040204020203" pitchFamily="34" charset="0"/>
              </a:rPr>
              <a:t>accusam</a:t>
            </a:r>
            <a:r>
              <a:rPr kumimoji="0" lang="en-US" sz="1100" b="0" i="0" u="none" strike="noStrike" kern="1200" cap="none" spc="0" normalizeH="0" baseline="0" noProof="0" dirty="0">
                <a:ln>
                  <a:noFill/>
                </a:ln>
                <a:solidFill>
                  <a:prstClr val="black">
                    <a:lumMod val="50000"/>
                    <a:lumOff val="50000"/>
                  </a:prstClr>
                </a:solidFill>
                <a:effectLst/>
                <a:uLnTx/>
                <a:uFillTx/>
                <a:latin typeface="HarmonyOS Sans SC"/>
                <a:cs typeface="Segoe UI" panose="020B0502040204020203" pitchFamily="34" charset="0"/>
              </a:rPr>
              <a:t> ne sed. </a:t>
            </a:r>
            <a:r>
              <a:rPr kumimoji="0" lang="en-US" sz="1100" b="0" i="0" u="none" strike="noStrike" kern="1200" cap="none" spc="0" normalizeH="0" baseline="0" noProof="0" dirty="0" err="1">
                <a:ln>
                  <a:noFill/>
                </a:ln>
                <a:solidFill>
                  <a:prstClr val="black">
                    <a:lumMod val="50000"/>
                    <a:lumOff val="50000"/>
                  </a:prstClr>
                </a:solidFill>
                <a:effectLst/>
                <a:uLnTx/>
                <a:uFillTx/>
                <a:latin typeface="HarmonyOS Sans SC"/>
                <a:cs typeface="Segoe UI" panose="020B0502040204020203" pitchFamily="34" charset="0"/>
              </a:rPr>
              <a:t>volumus</a:t>
            </a:r>
            <a:r>
              <a:rPr kumimoji="0" lang="en-US" sz="1100" b="0" i="0" u="none" strike="noStrike" kern="1200" cap="none" spc="0" normalizeH="0" baseline="0" noProof="0" dirty="0">
                <a:ln>
                  <a:noFill/>
                </a:ln>
                <a:solidFill>
                  <a:prstClr val="black">
                    <a:lumMod val="50000"/>
                    <a:lumOff val="50000"/>
                  </a:prstClr>
                </a:solidFill>
                <a:effectLst/>
                <a:uLnTx/>
                <a:uFillTx/>
                <a:latin typeface="HarmonyOS Sans SC"/>
                <a:cs typeface="Segoe UI" panose="020B0502040204020203" pitchFamily="34" charset="0"/>
              </a:rPr>
              <a:t> </a:t>
            </a:r>
            <a:r>
              <a:rPr kumimoji="0" lang="en-US" sz="1100" b="0" i="0" u="none" strike="noStrike" kern="1200" cap="none" spc="0" normalizeH="0" baseline="0" noProof="0" dirty="0" err="1">
                <a:ln>
                  <a:noFill/>
                </a:ln>
                <a:solidFill>
                  <a:prstClr val="black">
                    <a:lumMod val="50000"/>
                    <a:lumOff val="50000"/>
                  </a:prstClr>
                </a:solidFill>
                <a:effectLst/>
                <a:uLnTx/>
                <a:uFillTx/>
                <a:latin typeface="HarmonyOS Sans SC"/>
                <a:cs typeface="Segoe UI" panose="020B0502040204020203" pitchFamily="34" charset="0"/>
              </a:rPr>
              <a:t>sal</a:t>
            </a:r>
            <a:r>
              <a:rPr kumimoji="0" lang="id-ID" sz="1100" b="0" i="0" u="none" strike="noStrike" kern="1200" cap="none" spc="0" normalizeH="0" baseline="0" noProof="0" dirty="0">
                <a:ln>
                  <a:noFill/>
                </a:ln>
                <a:solidFill>
                  <a:prstClr val="black">
                    <a:lumMod val="50000"/>
                    <a:lumOff val="50000"/>
                  </a:prstClr>
                </a:solidFill>
                <a:effectLst/>
                <a:uLnTx/>
                <a:uFillTx/>
                <a:latin typeface="HarmonyOS Sans SC"/>
                <a:cs typeface="Segoe UI" panose="020B0502040204020203" pitchFamily="34" charset="0"/>
              </a:rPr>
              <a:t> </a:t>
            </a:r>
            <a:r>
              <a:rPr kumimoji="0" lang="en-US" sz="1100" b="0" i="0" u="none" strike="noStrike" kern="1200" cap="none" spc="0" normalizeH="0" baseline="0" noProof="0" dirty="0" err="1">
                <a:ln>
                  <a:noFill/>
                </a:ln>
                <a:solidFill>
                  <a:prstClr val="black">
                    <a:lumMod val="50000"/>
                    <a:lumOff val="50000"/>
                  </a:prstClr>
                </a:solidFill>
                <a:effectLst/>
                <a:uLnTx/>
                <a:uFillTx/>
                <a:latin typeface="HarmonyOS Sans SC"/>
                <a:cs typeface="Segoe UI" panose="020B0502040204020203" pitchFamily="34" charset="0"/>
              </a:rPr>
              <a:t>utatus</a:t>
            </a:r>
            <a:r>
              <a:rPr kumimoji="0" lang="en-US" sz="1100" b="0" i="0" u="none" strike="noStrike" kern="1200" cap="none" spc="0" normalizeH="0" baseline="0" noProof="0" dirty="0">
                <a:ln>
                  <a:noFill/>
                </a:ln>
                <a:solidFill>
                  <a:prstClr val="black">
                    <a:lumMod val="50000"/>
                    <a:lumOff val="50000"/>
                  </a:prstClr>
                </a:solidFill>
                <a:effectLst/>
                <a:uLnTx/>
                <a:uFillTx/>
                <a:latin typeface="HarmonyOS Sans SC"/>
                <a:cs typeface="Segoe UI" panose="020B0502040204020203" pitchFamily="34" charset="0"/>
              </a:rPr>
              <a:t> ne sed. </a:t>
            </a:r>
            <a:r>
              <a:rPr kumimoji="0" lang="en-US" sz="1100" b="0" i="0" u="none" strike="noStrike" kern="1200" cap="none" spc="0" normalizeH="0" baseline="0" noProof="0" dirty="0" err="1">
                <a:ln>
                  <a:noFill/>
                </a:ln>
                <a:solidFill>
                  <a:prstClr val="black">
                    <a:lumMod val="50000"/>
                    <a:lumOff val="50000"/>
                  </a:prstClr>
                </a:solidFill>
                <a:effectLst/>
                <a:uLnTx/>
                <a:uFillTx/>
                <a:latin typeface="HarmonyOS Sans SC"/>
                <a:cs typeface="Segoe UI" panose="020B0502040204020203" pitchFamily="34" charset="0"/>
              </a:rPr>
              <a:t>Atq</a:t>
            </a:r>
            <a:r>
              <a:rPr kumimoji="0" lang="en-US" sz="1100" b="0" i="0" u="none" strike="noStrike" kern="1200" cap="none" spc="0" normalizeH="0" baseline="0" noProof="0" dirty="0">
                <a:ln>
                  <a:noFill/>
                </a:ln>
                <a:solidFill>
                  <a:prstClr val="black">
                    <a:lumMod val="50000"/>
                    <a:lumOff val="50000"/>
                  </a:prstClr>
                </a:solidFill>
                <a:effectLst/>
                <a:uLnTx/>
                <a:uFillTx/>
                <a:latin typeface="HarmonyOS Sans SC"/>
                <a:cs typeface="Segoe UI" panose="020B0502040204020203" pitchFamily="34" charset="0"/>
              </a:rPr>
              <a:t> </a:t>
            </a:r>
            <a:r>
              <a:rPr kumimoji="0" lang="en-US" sz="1100" b="0" i="0" u="none" strike="noStrike" kern="1200" cap="none" spc="0" normalizeH="0" baseline="0" noProof="0" dirty="0" err="1">
                <a:ln>
                  <a:noFill/>
                </a:ln>
                <a:solidFill>
                  <a:prstClr val="black">
                    <a:lumMod val="50000"/>
                    <a:lumOff val="50000"/>
                  </a:prstClr>
                </a:solidFill>
                <a:effectLst/>
                <a:uLnTx/>
                <a:uFillTx/>
                <a:latin typeface="HarmonyOS Sans SC"/>
                <a:cs typeface="Segoe UI" panose="020B0502040204020203" pitchFamily="34" charset="0"/>
              </a:rPr>
              <a:t>Atqui</a:t>
            </a:r>
            <a:endParaRPr kumimoji="0" lang="en-US" sz="1100" b="0" i="0" u="none" strike="noStrike" kern="1200" cap="none" spc="0" normalizeH="0" baseline="0" noProof="0" dirty="0">
              <a:ln>
                <a:noFill/>
              </a:ln>
              <a:solidFill>
                <a:prstClr val="black">
                  <a:lumMod val="50000"/>
                  <a:lumOff val="50000"/>
                </a:prstClr>
              </a:solidFill>
              <a:effectLst/>
              <a:uLnTx/>
              <a:uFillTx/>
              <a:latin typeface="HarmonyOS Sans SC"/>
              <a:cs typeface="Segoe UI" panose="020B0502040204020203" pitchFamily="34" charset="0"/>
            </a:endParaRPr>
          </a:p>
        </p:txBody>
      </p:sp>
      <p:sp>
        <p:nvSpPr>
          <p:cNvPr id="19" name="TextBox 18">
            <a:extLst>
              <a:ext uri="{FF2B5EF4-FFF2-40B4-BE49-F238E27FC236}">
                <a16:creationId xmlns:a16="http://schemas.microsoft.com/office/drawing/2014/main" id="{9DC07E11-A894-4E50-B9EC-5DD2F005C5B1}"/>
              </a:ext>
            </a:extLst>
          </p:cNvPr>
          <p:cNvSpPr txBox="1"/>
          <p:nvPr/>
        </p:nvSpPr>
        <p:spPr>
          <a:xfrm>
            <a:off x="980498" y="2520648"/>
            <a:ext cx="2259870"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chemeClr val="accent1"/>
                </a:solidFill>
                <a:effectLst/>
                <a:uLnTx/>
                <a:uFillTx/>
                <a:latin typeface="HarmonyOS Sans SC Black"/>
                <a:ea typeface="+mj-ea"/>
                <a:cs typeface="Segoe UI" panose="020B0502040204020203" pitchFamily="34" charset="0"/>
              </a:rPr>
              <a:t>Subtitle Here</a:t>
            </a:r>
          </a:p>
        </p:txBody>
      </p:sp>
      <p:sp>
        <p:nvSpPr>
          <p:cNvPr id="20" name="Rectangle 21">
            <a:extLst>
              <a:ext uri="{FF2B5EF4-FFF2-40B4-BE49-F238E27FC236}">
                <a16:creationId xmlns:a16="http://schemas.microsoft.com/office/drawing/2014/main" id="{D8E65812-3661-41D0-996C-3063E7C6FBBB}"/>
              </a:ext>
            </a:extLst>
          </p:cNvPr>
          <p:cNvSpPr/>
          <p:nvPr/>
        </p:nvSpPr>
        <p:spPr>
          <a:xfrm>
            <a:off x="980499" y="3741953"/>
            <a:ext cx="4769390" cy="314702"/>
          </a:xfrm>
          <a:prstGeom prst="rect">
            <a:avLst/>
          </a:prstGeom>
        </p:spPr>
        <p:txBody>
          <a:bodyPr wrap="square">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lumMod val="50000"/>
                    <a:lumOff val="50000"/>
                  </a:prstClr>
                </a:solidFill>
                <a:effectLst/>
                <a:uLnTx/>
                <a:uFillTx/>
                <a:latin typeface="HarmonyOS Sans SC"/>
                <a:cs typeface="Segoe UI" panose="020B0502040204020203" pitchFamily="34" charset="0"/>
              </a:rPr>
              <a:t>Quod </a:t>
            </a:r>
            <a:r>
              <a:rPr kumimoji="0" lang="en-US" sz="1100" b="0" i="0" u="none" strike="noStrike" kern="1200" cap="none" spc="0" normalizeH="0" baseline="0" noProof="0" dirty="0" err="1">
                <a:ln>
                  <a:noFill/>
                </a:ln>
                <a:solidFill>
                  <a:prstClr val="black">
                    <a:lumMod val="50000"/>
                    <a:lumOff val="50000"/>
                  </a:prstClr>
                </a:solidFill>
                <a:effectLst/>
                <a:uLnTx/>
                <a:uFillTx/>
                <a:latin typeface="HarmonyOS Sans SC"/>
                <a:cs typeface="Segoe UI" panose="020B0502040204020203" pitchFamily="34" charset="0"/>
              </a:rPr>
              <a:t>errem</a:t>
            </a:r>
            <a:r>
              <a:rPr kumimoji="0" lang="en-US" sz="1100" b="0" i="0" u="none" strike="noStrike" kern="1200" cap="none" spc="0" normalizeH="0" baseline="0" noProof="0" dirty="0">
                <a:ln>
                  <a:noFill/>
                </a:ln>
                <a:solidFill>
                  <a:prstClr val="black">
                    <a:lumMod val="50000"/>
                    <a:lumOff val="50000"/>
                  </a:prstClr>
                </a:solidFill>
                <a:effectLst/>
                <a:uLnTx/>
                <a:uFillTx/>
                <a:latin typeface="HarmonyOS Sans SC"/>
                <a:cs typeface="Segoe UI" panose="020B0502040204020203" pitchFamily="34" charset="0"/>
              </a:rPr>
              <a:t> </a:t>
            </a:r>
            <a:r>
              <a:rPr kumimoji="0" lang="en-US" sz="1100" b="0" i="0" u="none" strike="noStrike" kern="1200" cap="none" spc="0" normalizeH="0" baseline="0" noProof="0" dirty="0" err="1">
                <a:ln>
                  <a:noFill/>
                </a:ln>
                <a:solidFill>
                  <a:prstClr val="black">
                    <a:lumMod val="50000"/>
                    <a:lumOff val="50000"/>
                  </a:prstClr>
                </a:solidFill>
                <a:effectLst/>
                <a:uLnTx/>
                <a:uFillTx/>
                <a:latin typeface="HarmonyOS Sans SC"/>
                <a:cs typeface="Segoe UI" panose="020B0502040204020203" pitchFamily="34" charset="0"/>
              </a:rPr>
              <a:t>accusam</a:t>
            </a:r>
            <a:r>
              <a:rPr kumimoji="0" lang="en-US" sz="1100" b="0" i="0" u="none" strike="noStrike" kern="1200" cap="none" spc="0" normalizeH="0" baseline="0" noProof="0" dirty="0">
                <a:ln>
                  <a:noFill/>
                </a:ln>
                <a:solidFill>
                  <a:prstClr val="black">
                    <a:lumMod val="50000"/>
                    <a:lumOff val="50000"/>
                  </a:prstClr>
                </a:solidFill>
                <a:effectLst/>
                <a:uLnTx/>
                <a:uFillTx/>
                <a:latin typeface="HarmonyOS Sans SC"/>
                <a:cs typeface="Segoe UI" panose="020B0502040204020203" pitchFamily="34" charset="0"/>
              </a:rPr>
              <a:t> ne sed. </a:t>
            </a:r>
            <a:r>
              <a:rPr kumimoji="0" lang="en-US" sz="1100" b="0" i="0" u="none" strike="noStrike" kern="1200" cap="none" spc="0" normalizeH="0" baseline="0" noProof="0" dirty="0" err="1">
                <a:ln>
                  <a:noFill/>
                </a:ln>
                <a:solidFill>
                  <a:prstClr val="black">
                    <a:lumMod val="50000"/>
                    <a:lumOff val="50000"/>
                  </a:prstClr>
                </a:solidFill>
                <a:effectLst/>
                <a:uLnTx/>
                <a:uFillTx/>
                <a:latin typeface="HarmonyOS Sans SC"/>
                <a:cs typeface="Segoe UI" panose="020B0502040204020203" pitchFamily="34" charset="0"/>
              </a:rPr>
              <a:t>volumus</a:t>
            </a:r>
            <a:r>
              <a:rPr kumimoji="0" lang="en-US" sz="1100" b="0" i="0" u="none" strike="noStrike" kern="1200" cap="none" spc="0" normalizeH="0" baseline="0" noProof="0" dirty="0">
                <a:ln>
                  <a:noFill/>
                </a:ln>
                <a:solidFill>
                  <a:prstClr val="black">
                    <a:lumMod val="50000"/>
                    <a:lumOff val="50000"/>
                  </a:prstClr>
                </a:solidFill>
                <a:effectLst/>
                <a:uLnTx/>
                <a:uFillTx/>
                <a:latin typeface="HarmonyOS Sans SC"/>
                <a:cs typeface="Segoe UI" panose="020B0502040204020203" pitchFamily="34" charset="0"/>
              </a:rPr>
              <a:t> </a:t>
            </a:r>
            <a:r>
              <a:rPr kumimoji="0" lang="en-US" sz="1100" b="0" i="0" u="none" strike="noStrike" kern="1200" cap="none" spc="0" normalizeH="0" baseline="0" noProof="0" dirty="0" err="1">
                <a:ln>
                  <a:noFill/>
                </a:ln>
                <a:solidFill>
                  <a:prstClr val="black">
                    <a:lumMod val="50000"/>
                    <a:lumOff val="50000"/>
                  </a:prstClr>
                </a:solidFill>
                <a:effectLst/>
                <a:uLnTx/>
                <a:uFillTx/>
                <a:latin typeface="HarmonyOS Sans SC"/>
                <a:cs typeface="Segoe UI" panose="020B0502040204020203" pitchFamily="34" charset="0"/>
              </a:rPr>
              <a:t>sal</a:t>
            </a:r>
            <a:r>
              <a:rPr kumimoji="0" lang="id-ID" sz="1100" b="0" i="0" u="none" strike="noStrike" kern="1200" cap="none" spc="0" normalizeH="0" baseline="0" noProof="0" dirty="0">
                <a:ln>
                  <a:noFill/>
                </a:ln>
                <a:solidFill>
                  <a:prstClr val="black">
                    <a:lumMod val="50000"/>
                    <a:lumOff val="50000"/>
                  </a:prstClr>
                </a:solidFill>
                <a:effectLst/>
                <a:uLnTx/>
                <a:uFillTx/>
                <a:latin typeface="HarmonyOS Sans SC"/>
                <a:cs typeface="Segoe UI" panose="020B0502040204020203" pitchFamily="34" charset="0"/>
              </a:rPr>
              <a:t> </a:t>
            </a:r>
            <a:r>
              <a:rPr kumimoji="0" lang="en-US" sz="1100" b="0" i="0" u="none" strike="noStrike" kern="1200" cap="none" spc="0" normalizeH="0" baseline="0" noProof="0" dirty="0" err="1">
                <a:ln>
                  <a:noFill/>
                </a:ln>
                <a:solidFill>
                  <a:prstClr val="black">
                    <a:lumMod val="50000"/>
                    <a:lumOff val="50000"/>
                  </a:prstClr>
                </a:solidFill>
                <a:effectLst/>
                <a:uLnTx/>
                <a:uFillTx/>
                <a:latin typeface="HarmonyOS Sans SC"/>
                <a:cs typeface="Segoe UI" panose="020B0502040204020203" pitchFamily="34" charset="0"/>
              </a:rPr>
              <a:t>utatus</a:t>
            </a:r>
            <a:r>
              <a:rPr kumimoji="0" lang="en-US" sz="1100" b="0" i="0" u="none" strike="noStrike" kern="1200" cap="none" spc="0" normalizeH="0" baseline="0" noProof="0" dirty="0">
                <a:ln>
                  <a:noFill/>
                </a:ln>
                <a:solidFill>
                  <a:prstClr val="black">
                    <a:lumMod val="50000"/>
                    <a:lumOff val="50000"/>
                  </a:prstClr>
                </a:solidFill>
                <a:effectLst/>
                <a:uLnTx/>
                <a:uFillTx/>
                <a:latin typeface="HarmonyOS Sans SC"/>
                <a:cs typeface="Segoe UI" panose="020B0502040204020203" pitchFamily="34" charset="0"/>
              </a:rPr>
              <a:t> ne sed. </a:t>
            </a:r>
            <a:r>
              <a:rPr kumimoji="0" lang="en-US" sz="1100" b="0" i="0" u="none" strike="noStrike" kern="1200" cap="none" spc="0" normalizeH="0" baseline="0" noProof="0" dirty="0" err="1">
                <a:ln>
                  <a:noFill/>
                </a:ln>
                <a:solidFill>
                  <a:prstClr val="black">
                    <a:lumMod val="50000"/>
                    <a:lumOff val="50000"/>
                  </a:prstClr>
                </a:solidFill>
                <a:effectLst/>
                <a:uLnTx/>
                <a:uFillTx/>
                <a:latin typeface="HarmonyOS Sans SC"/>
                <a:cs typeface="Segoe UI" panose="020B0502040204020203" pitchFamily="34" charset="0"/>
              </a:rPr>
              <a:t>Atq</a:t>
            </a:r>
            <a:r>
              <a:rPr kumimoji="0" lang="en-US" sz="1100" b="0" i="0" u="none" strike="noStrike" kern="1200" cap="none" spc="0" normalizeH="0" baseline="0" noProof="0" dirty="0">
                <a:ln>
                  <a:noFill/>
                </a:ln>
                <a:solidFill>
                  <a:prstClr val="black">
                    <a:lumMod val="50000"/>
                    <a:lumOff val="50000"/>
                  </a:prstClr>
                </a:solidFill>
                <a:effectLst/>
                <a:uLnTx/>
                <a:uFillTx/>
                <a:latin typeface="HarmonyOS Sans SC"/>
                <a:cs typeface="Segoe UI" panose="020B0502040204020203" pitchFamily="34" charset="0"/>
              </a:rPr>
              <a:t> </a:t>
            </a:r>
            <a:r>
              <a:rPr kumimoji="0" lang="en-US" sz="1100" b="0" i="0" u="none" strike="noStrike" kern="1200" cap="none" spc="0" normalizeH="0" baseline="0" noProof="0" dirty="0" err="1">
                <a:ln>
                  <a:noFill/>
                </a:ln>
                <a:solidFill>
                  <a:prstClr val="black">
                    <a:lumMod val="50000"/>
                    <a:lumOff val="50000"/>
                  </a:prstClr>
                </a:solidFill>
                <a:effectLst/>
                <a:uLnTx/>
                <a:uFillTx/>
                <a:latin typeface="HarmonyOS Sans SC"/>
                <a:cs typeface="Segoe UI" panose="020B0502040204020203" pitchFamily="34" charset="0"/>
              </a:rPr>
              <a:t>Atqui</a:t>
            </a:r>
            <a:endParaRPr kumimoji="0" lang="en-US" sz="1100" b="0" i="0" u="none" strike="noStrike" kern="1200" cap="none" spc="0" normalizeH="0" baseline="0" noProof="0" dirty="0">
              <a:ln>
                <a:noFill/>
              </a:ln>
              <a:solidFill>
                <a:prstClr val="black">
                  <a:lumMod val="50000"/>
                  <a:lumOff val="50000"/>
                </a:prstClr>
              </a:solidFill>
              <a:effectLst/>
              <a:uLnTx/>
              <a:uFillTx/>
              <a:latin typeface="HarmonyOS Sans SC"/>
              <a:cs typeface="Segoe UI" panose="020B0502040204020203" pitchFamily="34" charset="0"/>
            </a:endParaRPr>
          </a:p>
        </p:txBody>
      </p:sp>
      <p:sp>
        <p:nvSpPr>
          <p:cNvPr id="21" name="TextBox 22">
            <a:extLst>
              <a:ext uri="{FF2B5EF4-FFF2-40B4-BE49-F238E27FC236}">
                <a16:creationId xmlns:a16="http://schemas.microsoft.com/office/drawing/2014/main" id="{D6DDCCB1-AB4D-4655-A20B-44B22A081E95}"/>
              </a:ext>
            </a:extLst>
          </p:cNvPr>
          <p:cNvSpPr txBox="1"/>
          <p:nvPr/>
        </p:nvSpPr>
        <p:spPr>
          <a:xfrm>
            <a:off x="980498" y="3447472"/>
            <a:ext cx="2259870"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chemeClr val="accent1"/>
                </a:solidFill>
                <a:effectLst/>
                <a:uLnTx/>
                <a:uFillTx/>
                <a:latin typeface="HarmonyOS Sans SC Black"/>
                <a:ea typeface="+mj-ea"/>
                <a:cs typeface="Segoe UI" panose="020B0502040204020203" pitchFamily="34" charset="0"/>
              </a:rPr>
              <a:t>Subtitle Here</a:t>
            </a:r>
          </a:p>
        </p:txBody>
      </p:sp>
      <p:sp>
        <p:nvSpPr>
          <p:cNvPr id="22" name="Rectangle 23">
            <a:extLst>
              <a:ext uri="{FF2B5EF4-FFF2-40B4-BE49-F238E27FC236}">
                <a16:creationId xmlns:a16="http://schemas.microsoft.com/office/drawing/2014/main" id="{FC896A44-827D-4F83-8161-7D566835B2C0}"/>
              </a:ext>
            </a:extLst>
          </p:cNvPr>
          <p:cNvSpPr/>
          <p:nvPr/>
        </p:nvSpPr>
        <p:spPr>
          <a:xfrm>
            <a:off x="980499" y="4668777"/>
            <a:ext cx="4769390" cy="314702"/>
          </a:xfrm>
          <a:prstGeom prst="rect">
            <a:avLst/>
          </a:prstGeom>
        </p:spPr>
        <p:txBody>
          <a:bodyPr wrap="square">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lumMod val="50000"/>
                    <a:lumOff val="50000"/>
                  </a:prstClr>
                </a:solidFill>
                <a:effectLst/>
                <a:uLnTx/>
                <a:uFillTx/>
                <a:latin typeface="HarmonyOS Sans SC"/>
                <a:cs typeface="Segoe UI" panose="020B0502040204020203" pitchFamily="34" charset="0"/>
              </a:rPr>
              <a:t>Quod </a:t>
            </a:r>
            <a:r>
              <a:rPr kumimoji="0" lang="en-US" sz="1100" b="0" i="0" u="none" strike="noStrike" kern="1200" cap="none" spc="0" normalizeH="0" baseline="0" noProof="0" dirty="0" err="1">
                <a:ln>
                  <a:noFill/>
                </a:ln>
                <a:solidFill>
                  <a:prstClr val="black">
                    <a:lumMod val="50000"/>
                    <a:lumOff val="50000"/>
                  </a:prstClr>
                </a:solidFill>
                <a:effectLst/>
                <a:uLnTx/>
                <a:uFillTx/>
                <a:latin typeface="HarmonyOS Sans SC"/>
                <a:cs typeface="Segoe UI" panose="020B0502040204020203" pitchFamily="34" charset="0"/>
              </a:rPr>
              <a:t>errem</a:t>
            </a:r>
            <a:r>
              <a:rPr kumimoji="0" lang="en-US" sz="1100" b="0" i="0" u="none" strike="noStrike" kern="1200" cap="none" spc="0" normalizeH="0" baseline="0" noProof="0" dirty="0">
                <a:ln>
                  <a:noFill/>
                </a:ln>
                <a:solidFill>
                  <a:prstClr val="black">
                    <a:lumMod val="50000"/>
                    <a:lumOff val="50000"/>
                  </a:prstClr>
                </a:solidFill>
                <a:effectLst/>
                <a:uLnTx/>
                <a:uFillTx/>
                <a:latin typeface="HarmonyOS Sans SC"/>
                <a:cs typeface="Segoe UI" panose="020B0502040204020203" pitchFamily="34" charset="0"/>
              </a:rPr>
              <a:t> </a:t>
            </a:r>
            <a:r>
              <a:rPr kumimoji="0" lang="en-US" sz="1100" b="0" i="0" u="none" strike="noStrike" kern="1200" cap="none" spc="0" normalizeH="0" baseline="0" noProof="0" dirty="0" err="1">
                <a:ln>
                  <a:noFill/>
                </a:ln>
                <a:solidFill>
                  <a:prstClr val="black">
                    <a:lumMod val="50000"/>
                    <a:lumOff val="50000"/>
                  </a:prstClr>
                </a:solidFill>
                <a:effectLst/>
                <a:uLnTx/>
                <a:uFillTx/>
                <a:latin typeface="HarmonyOS Sans SC"/>
                <a:cs typeface="Segoe UI" panose="020B0502040204020203" pitchFamily="34" charset="0"/>
              </a:rPr>
              <a:t>accusam</a:t>
            </a:r>
            <a:r>
              <a:rPr kumimoji="0" lang="en-US" sz="1100" b="0" i="0" u="none" strike="noStrike" kern="1200" cap="none" spc="0" normalizeH="0" baseline="0" noProof="0" dirty="0">
                <a:ln>
                  <a:noFill/>
                </a:ln>
                <a:solidFill>
                  <a:prstClr val="black">
                    <a:lumMod val="50000"/>
                    <a:lumOff val="50000"/>
                  </a:prstClr>
                </a:solidFill>
                <a:effectLst/>
                <a:uLnTx/>
                <a:uFillTx/>
                <a:latin typeface="HarmonyOS Sans SC"/>
                <a:cs typeface="Segoe UI" panose="020B0502040204020203" pitchFamily="34" charset="0"/>
              </a:rPr>
              <a:t> ne sed. </a:t>
            </a:r>
            <a:r>
              <a:rPr kumimoji="0" lang="en-US" sz="1100" b="0" i="0" u="none" strike="noStrike" kern="1200" cap="none" spc="0" normalizeH="0" baseline="0" noProof="0" dirty="0" err="1">
                <a:ln>
                  <a:noFill/>
                </a:ln>
                <a:solidFill>
                  <a:prstClr val="black">
                    <a:lumMod val="50000"/>
                    <a:lumOff val="50000"/>
                  </a:prstClr>
                </a:solidFill>
                <a:effectLst/>
                <a:uLnTx/>
                <a:uFillTx/>
                <a:latin typeface="HarmonyOS Sans SC"/>
                <a:cs typeface="Segoe UI" panose="020B0502040204020203" pitchFamily="34" charset="0"/>
              </a:rPr>
              <a:t>volumus</a:t>
            </a:r>
            <a:r>
              <a:rPr kumimoji="0" lang="en-US" sz="1100" b="0" i="0" u="none" strike="noStrike" kern="1200" cap="none" spc="0" normalizeH="0" baseline="0" noProof="0" dirty="0">
                <a:ln>
                  <a:noFill/>
                </a:ln>
                <a:solidFill>
                  <a:prstClr val="black">
                    <a:lumMod val="50000"/>
                    <a:lumOff val="50000"/>
                  </a:prstClr>
                </a:solidFill>
                <a:effectLst/>
                <a:uLnTx/>
                <a:uFillTx/>
                <a:latin typeface="HarmonyOS Sans SC"/>
                <a:cs typeface="Segoe UI" panose="020B0502040204020203" pitchFamily="34" charset="0"/>
              </a:rPr>
              <a:t> </a:t>
            </a:r>
            <a:r>
              <a:rPr kumimoji="0" lang="en-US" sz="1100" b="0" i="0" u="none" strike="noStrike" kern="1200" cap="none" spc="0" normalizeH="0" baseline="0" noProof="0" dirty="0" err="1">
                <a:ln>
                  <a:noFill/>
                </a:ln>
                <a:solidFill>
                  <a:prstClr val="black">
                    <a:lumMod val="50000"/>
                    <a:lumOff val="50000"/>
                  </a:prstClr>
                </a:solidFill>
                <a:effectLst/>
                <a:uLnTx/>
                <a:uFillTx/>
                <a:latin typeface="HarmonyOS Sans SC"/>
                <a:cs typeface="Segoe UI" panose="020B0502040204020203" pitchFamily="34" charset="0"/>
              </a:rPr>
              <a:t>sal</a:t>
            </a:r>
            <a:r>
              <a:rPr kumimoji="0" lang="id-ID" sz="1100" b="0" i="0" u="none" strike="noStrike" kern="1200" cap="none" spc="0" normalizeH="0" baseline="0" noProof="0" dirty="0">
                <a:ln>
                  <a:noFill/>
                </a:ln>
                <a:solidFill>
                  <a:prstClr val="black">
                    <a:lumMod val="50000"/>
                    <a:lumOff val="50000"/>
                  </a:prstClr>
                </a:solidFill>
                <a:effectLst/>
                <a:uLnTx/>
                <a:uFillTx/>
                <a:latin typeface="HarmonyOS Sans SC"/>
                <a:cs typeface="Segoe UI" panose="020B0502040204020203" pitchFamily="34" charset="0"/>
              </a:rPr>
              <a:t> </a:t>
            </a:r>
            <a:r>
              <a:rPr kumimoji="0" lang="en-US" sz="1100" b="0" i="0" u="none" strike="noStrike" kern="1200" cap="none" spc="0" normalizeH="0" baseline="0" noProof="0" dirty="0" err="1">
                <a:ln>
                  <a:noFill/>
                </a:ln>
                <a:solidFill>
                  <a:prstClr val="black">
                    <a:lumMod val="50000"/>
                    <a:lumOff val="50000"/>
                  </a:prstClr>
                </a:solidFill>
                <a:effectLst/>
                <a:uLnTx/>
                <a:uFillTx/>
                <a:latin typeface="HarmonyOS Sans SC"/>
                <a:cs typeface="Segoe UI" panose="020B0502040204020203" pitchFamily="34" charset="0"/>
              </a:rPr>
              <a:t>utatus</a:t>
            </a:r>
            <a:r>
              <a:rPr kumimoji="0" lang="en-US" sz="1100" b="0" i="0" u="none" strike="noStrike" kern="1200" cap="none" spc="0" normalizeH="0" baseline="0" noProof="0" dirty="0">
                <a:ln>
                  <a:noFill/>
                </a:ln>
                <a:solidFill>
                  <a:prstClr val="black">
                    <a:lumMod val="50000"/>
                    <a:lumOff val="50000"/>
                  </a:prstClr>
                </a:solidFill>
                <a:effectLst/>
                <a:uLnTx/>
                <a:uFillTx/>
                <a:latin typeface="HarmonyOS Sans SC"/>
                <a:cs typeface="Segoe UI" panose="020B0502040204020203" pitchFamily="34" charset="0"/>
              </a:rPr>
              <a:t> ne sed. </a:t>
            </a:r>
            <a:r>
              <a:rPr kumimoji="0" lang="en-US" sz="1100" b="0" i="0" u="none" strike="noStrike" kern="1200" cap="none" spc="0" normalizeH="0" baseline="0" noProof="0" dirty="0" err="1">
                <a:ln>
                  <a:noFill/>
                </a:ln>
                <a:solidFill>
                  <a:prstClr val="black">
                    <a:lumMod val="50000"/>
                    <a:lumOff val="50000"/>
                  </a:prstClr>
                </a:solidFill>
                <a:effectLst/>
                <a:uLnTx/>
                <a:uFillTx/>
                <a:latin typeface="HarmonyOS Sans SC"/>
                <a:cs typeface="Segoe UI" panose="020B0502040204020203" pitchFamily="34" charset="0"/>
              </a:rPr>
              <a:t>Atq</a:t>
            </a:r>
            <a:r>
              <a:rPr kumimoji="0" lang="en-US" sz="1100" b="0" i="0" u="none" strike="noStrike" kern="1200" cap="none" spc="0" normalizeH="0" baseline="0" noProof="0" dirty="0">
                <a:ln>
                  <a:noFill/>
                </a:ln>
                <a:solidFill>
                  <a:prstClr val="black">
                    <a:lumMod val="50000"/>
                    <a:lumOff val="50000"/>
                  </a:prstClr>
                </a:solidFill>
                <a:effectLst/>
                <a:uLnTx/>
                <a:uFillTx/>
                <a:latin typeface="HarmonyOS Sans SC"/>
                <a:cs typeface="Segoe UI" panose="020B0502040204020203" pitchFamily="34" charset="0"/>
              </a:rPr>
              <a:t> </a:t>
            </a:r>
            <a:r>
              <a:rPr kumimoji="0" lang="en-US" sz="1100" b="0" i="0" u="none" strike="noStrike" kern="1200" cap="none" spc="0" normalizeH="0" baseline="0" noProof="0" dirty="0" err="1">
                <a:ln>
                  <a:noFill/>
                </a:ln>
                <a:solidFill>
                  <a:prstClr val="black">
                    <a:lumMod val="50000"/>
                    <a:lumOff val="50000"/>
                  </a:prstClr>
                </a:solidFill>
                <a:effectLst/>
                <a:uLnTx/>
                <a:uFillTx/>
                <a:latin typeface="HarmonyOS Sans SC"/>
                <a:cs typeface="Segoe UI" panose="020B0502040204020203" pitchFamily="34" charset="0"/>
              </a:rPr>
              <a:t>Atqui</a:t>
            </a:r>
            <a:endParaRPr kumimoji="0" lang="en-US" sz="1100" b="0" i="0" u="none" strike="noStrike" kern="1200" cap="none" spc="0" normalizeH="0" baseline="0" noProof="0" dirty="0">
              <a:ln>
                <a:noFill/>
              </a:ln>
              <a:solidFill>
                <a:prstClr val="black">
                  <a:lumMod val="50000"/>
                  <a:lumOff val="50000"/>
                </a:prstClr>
              </a:solidFill>
              <a:effectLst/>
              <a:uLnTx/>
              <a:uFillTx/>
              <a:latin typeface="HarmonyOS Sans SC"/>
              <a:cs typeface="Segoe UI" panose="020B0502040204020203" pitchFamily="34" charset="0"/>
            </a:endParaRPr>
          </a:p>
        </p:txBody>
      </p:sp>
      <p:sp>
        <p:nvSpPr>
          <p:cNvPr id="23" name="TextBox 24">
            <a:extLst>
              <a:ext uri="{FF2B5EF4-FFF2-40B4-BE49-F238E27FC236}">
                <a16:creationId xmlns:a16="http://schemas.microsoft.com/office/drawing/2014/main" id="{B820C17B-9E28-49B9-B573-3CCD9BBAED7C}"/>
              </a:ext>
            </a:extLst>
          </p:cNvPr>
          <p:cNvSpPr txBox="1"/>
          <p:nvPr/>
        </p:nvSpPr>
        <p:spPr>
          <a:xfrm>
            <a:off x="980498" y="4374296"/>
            <a:ext cx="2259870"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chemeClr val="accent1"/>
                </a:solidFill>
                <a:effectLst/>
                <a:uLnTx/>
                <a:uFillTx/>
                <a:latin typeface="HarmonyOS Sans SC Black"/>
                <a:ea typeface="+mj-ea"/>
                <a:cs typeface="Segoe UI" panose="020B0502040204020203" pitchFamily="34" charset="0"/>
              </a:rPr>
              <a:t>Subtitle Here</a:t>
            </a:r>
          </a:p>
        </p:txBody>
      </p:sp>
      <p:sp>
        <p:nvSpPr>
          <p:cNvPr id="24" name="Rectangle 25">
            <a:extLst>
              <a:ext uri="{FF2B5EF4-FFF2-40B4-BE49-F238E27FC236}">
                <a16:creationId xmlns:a16="http://schemas.microsoft.com/office/drawing/2014/main" id="{CE91FD28-9876-45A2-81DC-F80A54306645}"/>
              </a:ext>
            </a:extLst>
          </p:cNvPr>
          <p:cNvSpPr/>
          <p:nvPr/>
        </p:nvSpPr>
        <p:spPr>
          <a:xfrm>
            <a:off x="980499" y="5595600"/>
            <a:ext cx="4769390" cy="314702"/>
          </a:xfrm>
          <a:prstGeom prst="rect">
            <a:avLst/>
          </a:prstGeom>
        </p:spPr>
        <p:txBody>
          <a:bodyPr wrap="square">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lumMod val="50000"/>
                    <a:lumOff val="50000"/>
                  </a:prstClr>
                </a:solidFill>
                <a:effectLst/>
                <a:uLnTx/>
                <a:uFillTx/>
                <a:latin typeface="HarmonyOS Sans SC"/>
                <a:cs typeface="Segoe UI" panose="020B0502040204020203" pitchFamily="34" charset="0"/>
              </a:rPr>
              <a:t>Quod </a:t>
            </a:r>
            <a:r>
              <a:rPr kumimoji="0" lang="en-US" sz="1100" b="0" i="0" u="none" strike="noStrike" kern="1200" cap="none" spc="0" normalizeH="0" baseline="0" noProof="0" dirty="0" err="1">
                <a:ln>
                  <a:noFill/>
                </a:ln>
                <a:solidFill>
                  <a:prstClr val="black">
                    <a:lumMod val="50000"/>
                    <a:lumOff val="50000"/>
                  </a:prstClr>
                </a:solidFill>
                <a:effectLst/>
                <a:uLnTx/>
                <a:uFillTx/>
                <a:latin typeface="HarmonyOS Sans SC"/>
                <a:cs typeface="Segoe UI" panose="020B0502040204020203" pitchFamily="34" charset="0"/>
              </a:rPr>
              <a:t>errem</a:t>
            </a:r>
            <a:r>
              <a:rPr kumimoji="0" lang="en-US" sz="1100" b="0" i="0" u="none" strike="noStrike" kern="1200" cap="none" spc="0" normalizeH="0" baseline="0" noProof="0" dirty="0">
                <a:ln>
                  <a:noFill/>
                </a:ln>
                <a:solidFill>
                  <a:prstClr val="black">
                    <a:lumMod val="50000"/>
                    <a:lumOff val="50000"/>
                  </a:prstClr>
                </a:solidFill>
                <a:effectLst/>
                <a:uLnTx/>
                <a:uFillTx/>
                <a:latin typeface="HarmonyOS Sans SC"/>
                <a:cs typeface="Segoe UI" panose="020B0502040204020203" pitchFamily="34" charset="0"/>
              </a:rPr>
              <a:t> </a:t>
            </a:r>
            <a:r>
              <a:rPr kumimoji="0" lang="en-US" sz="1100" b="0" i="0" u="none" strike="noStrike" kern="1200" cap="none" spc="0" normalizeH="0" baseline="0" noProof="0" dirty="0" err="1">
                <a:ln>
                  <a:noFill/>
                </a:ln>
                <a:solidFill>
                  <a:prstClr val="black">
                    <a:lumMod val="50000"/>
                    <a:lumOff val="50000"/>
                  </a:prstClr>
                </a:solidFill>
                <a:effectLst/>
                <a:uLnTx/>
                <a:uFillTx/>
                <a:latin typeface="HarmonyOS Sans SC"/>
                <a:cs typeface="Segoe UI" panose="020B0502040204020203" pitchFamily="34" charset="0"/>
              </a:rPr>
              <a:t>accusam</a:t>
            </a:r>
            <a:r>
              <a:rPr kumimoji="0" lang="en-US" sz="1100" b="0" i="0" u="none" strike="noStrike" kern="1200" cap="none" spc="0" normalizeH="0" baseline="0" noProof="0" dirty="0">
                <a:ln>
                  <a:noFill/>
                </a:ln>
                <a:solidFill>
                  <a:prstClr val="black">
                    <a:lumMod val="50000"/>
                    <a:lumOff val="50000"/>
                  </a:prstClr>
                </a:solidFill>
                <a:effectLst/>
                <a:uLnTx/>
                <a:uFillTx/>
                <a:latin typeface="HarmonyOS Sans SC"/>
                <a:cs typeface="Segoe UI" panose="020B0502040204020203" pitchFamily="34" charset="0"/>
              </a:rPr>
              <a:t> ne sed. </a:t>
            </a:r>
            <a:r>
              <a:rPr kumimoji="0" lang="en-US" sz="1100" b="0" i="0" u="none" strike="noStrike" kern="1200" cap="none" spc="0" normalizeH="0" baseline="0" noProof="0" dirty="0" err="1">
                <a:ln>
                  <a:noFill/>
                </a:ln>
                <a:solidFill>
                  <a:prstClr val="black">
                    <a:lumMod val="50000"/>
                    <a:lumOff val="50000"/>
                  </a:prstClr>
                </a:solidFill>
                <a:effectLst/>
                <a:uLnTx/>
                <a:uFillTx/>
                <a:latin typeface="HarmonyOS Sans SC"/>
                <a:cs typeface="Segoe UI" panose="020B0502040204020203" pitchFamily="34" charset="0"/>
              </a:rPr>
              <a:t>volumus</a:t>
            </a:r>
            <a:r>
              <a:rPr kumimoji="0" lang="en-US" sz="1100" b="0" i="0" u="none" strike="noStrike" kern="1200" cap="none" spc="0" normalizeH="0" baseline="0" noProof="0" dirty="0">
                <a:ln>
                  <a:noFill/>
                </a:ln>
                <a:solidFill>
                  <a:prstClr val="black">
                    <a:lumMod val="50000"/>
                    <a:lumOff val="50000"/>
                  </a:prstClr>
                </a:solidFill>
                <a:effectLst/>
                <a:uLnTx/>
                <a:uFillTx/>
                <a:latin typeface="HarmonyOS Sans SC"/>
                <a:cs typeface="Segoe UI" panose="020B0502040204020203" pitchFamily="34" charset="0"/>
              </a:rPr>
              <a:t> </a:t>
            </a:r>
            <a:r>
              <a:rPr kumimoji="0" lang="en-US" sz="1100" b="0" i="0" u="none" strike="noStrike" kern="1200" cap="none" spc="0" normalizeH="0" baseline="0" noProof="0" dirty="0" err="1">
                <a:ln>
                  <a:noFill/>
                </a:ln>
                <a:solidFill>
                  <a:prstClr val="black">
                    <a:lumMod val="50000"/>
                    <a:lumOff val="50000"/>
                  </a:prstClr>
                </a:solidFill>
                <a:effectLst/>
                <a:uLnTx/>
                <a:uFillTx/>
                <a:latin typeface="HarmonyOS Sans SC"/>
                <a:cs typeface="Segoe UI" panose="020B0502040204020203" pitchFamily="34" charset="0"/>
              </a:rPr>
              <a:t>sal</a:t>
            </a:r>
            <a:r>
              <a:rPr kumimoji="0" lang="id-ID" sz="1100" b="0" i="0" u="none" strike="noStrike" kern="1200" cap="none" spc="0" normalizeH="0" baseline="0" noProof="0" dirty="0">
                <a:ln>
                  <a:noFill/>
                </a:ln>
                <a:solidFill>
                  <a:prstClr val="black">
                    <a:lumMod val="50000"/>
                    <a:lumOff val="50000"/>
                  </a:prstClr>
                </a:solidFill>
                <a:effectLst/>
                <a:uLnTx/>
                <a:uFillTx/>
                <a:latin typeface="HarmonyOS Sans SC"/>
                <a:cs typeface="Segoe UI" panose="020B0502040204020203" pitchFamily="34" charset="0"/>
              </a:rPr>
              <a:t> </a:t>
            </a:r>
            <a:r>
              <a:rPr kumimoji="0" lang="en-US" sz="1100" b="0" i="0" u="none" strike="noStrike" kern="1200" cap="none" spc="0" normalizeH="0" baseline="0" noProof="0" dirty="0" err="1">
                <a:ln>
                  <a:noFill/>
                </a:ln>
                <a:solidFill>
                  <a:prstClr val="black">
                    <a:lumMod val="50000"/>
                    <a:lumOff val="50000"/>
                  </a:prstClr>
                </a:solidFill>
                <a:effectLst/>
                <a:uLnTx/>
                <a:uFillTx/>
                <a:latin typeface="HarmonyOS Sans SC"/>
                <a:cs typeface="Segoe UI" panose="020B0502040204020203" pitchFamily="34" charset="0"/>
              </a:rPr>
              <a:t>utatus</a:t>
            </a:r>
            <a:r>
              <a:rPr kumimoji="0" lang="en-US" sz="1100" b="0" i="0" u="none" strike="noStrike" kern="1200" cap="none" spc="0" normalizeH="0" baseline="0" noProof="0" dirty="0">
                <a:ln>
                  <a:noFill/>
                </a:ln>
                <a:solidFill>
                  <a:prstClr val="black">
                    <a:lumMod val="50000"/>
                    <a:lumOff val="50000"/>
                  </a:prstClr>
                </a:solidFill>
                <a:effectLst/>
                <a:uLnTx/>
                <a:uFillTx/>
                <a:latin typeface="HarmonyOS Sans SC"/>
                <a:cs typeface="Segoe UI" panose="020B0502040204020203" pitchFamily="34" charset="0"/>
              </a:rPr>
              <a:t> ne sed. </a:t>
            </a:r>
            <a:r>
              <a:rPr kumimoji="0" lang="en-US" sz="1100" b="0" i="0" u="none" strike="noStrike" kern="1200" cap="none" spc="0" normalizeH="0" baseline="0" noProof="0" dirty="0" err="1">
                <a:ln>
                  <a:noFill/>
                </a:ln>
                <a:solidFill>
                  <a:prstClr val="black">
                    <a:lumMod val="50000"/>
                    <a:lumOff val="50000"/>
                  </a:prstClr>
                </a:solidFill>
                <a:effectLst/>
                <a:uLnTx/>
                <a:uFillTx/>
                <a:latin typeface="HarmonyOS Sans SC"/>
                <a:cs typeface="Segoe UI" panose="020B0502040204020203" pitchFamily="34" charset="0"/>
              </a:rPr>
              <a:t>Atq</a:t>
            </a:r>
            <a:r>
              <a:rPr kumimoji="0" lang="en-US" sz="1100" b="0" i="0" u="none" strike="noStrike" kern="1200" cap="none" spc="0" normalizeH="0" baseline="0" noProof="0" dirty="0">
                <a:ln>
                  <a:noFill/>
                </a:ln>
                <a:solidFill>
                  <a:prstClr val="black">
                    <a:lumMod val="50000"/>
                    <a:lumOff val="50000"/>
                  </a:prstClr>
                </a:solidFill>
                <a:effectLst/>
                <a:uLnTx/>
                <a:uFillTx/>
                <a:latin typeface="HarmonyOS Sans SC"/>
                <a:cs typeface="Segoe UI" panose="020B0502040204020203" pitchFamily="34" charset="0"/>
              </a:rPr>
              <a:t> </a:t>
            </a:r>
            <a:r>
              <a:rPr kumimoji="0" lang="en-US" sz="1100" b="0" i="0" u="none" strike="noStrike" kern="1200" cap="none" spc="0" normalizeH="0" baseline="0" noProof="0" dirty="0" err="1">
                <a:ln>
                  <a:noFill/>
                </a:ln>
                <a:solidFill>
                  <a:prstClr val="black">
                    <a:lumMod val="50000"/>
                    <a:lumOff val="50000"/>
                  </a:prstClr>
                </a:solidFill>
                <a:effectLst/>
                <a:uLnTx/>
                <a:uFillTx/>
                <a:latin typeface="HarmonyOS Sans SC"/>
                <a:cs typeface="Segoe UI" panose="020B0502040204020203" pitchFamily="34" charset="0"/>
              </a:rPr>
              <a:t>Atqui</a:t>
            </a:r>
            <a:endParaRPr kumimoji="0" lang="en-US" sz="1100" b="0" i="0" u="none" strike="noStrike" kern="1200" cap="none" spc="0" normalizeH="0" baseline="0" noProof="0" dirty="0">
              <a:ln>
                <a:noFill/>
              </a:ln>
              <a:solidFill>
                <a:prstClr val="black">
                  <a:lumMod val="50000"/>
                  <a:lumOff val="50000"/>
                </a:prstClr>
              </a:solidFill>
              <a:effectLst/>
              <a:uLnTx/>
              <a:uFillTx/>
              <a:latin typeface="HarmonyOS Sans SC"/>
              <a:cs typeface="Segoe UI" panose="020B0502040204020203" pitchFamily="34" charset="0"/>
            </a:endParaRPr>
          </a:p>
        </p:txBody>
      </p:sp>
      <p:sp>
        <p:nvSpPr>
          <p:cNvPr id="25" name="TextBox 26">
            <a:extLst>
              <a:ext uri="{FF2B5EF4-FFF2-40B4-BE49-F238E27FC236}">
                <a16:creationId xmlns:a16="http://schemas.microsoft.com/office/drawing/2014/main" id="{F851E8E7-E264-41BB-A0F8-5EDF851E3138}"/>
              </a:ext>
            </a:extLst>
          </p:cNvPr>
          <p:cNvSpPr txBox="1"/>
          <p:nvPr/>
        </p:nvSpPr>
        <p:spPr>
          <a:xfrm>
            <a:off x="980498" y="5301119"/>
            <a:ext cx="2259870"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chemeClr val="accent1"/>
                </a:solidFill>
                <a:effectLst/>
                <a:uLnTx/>
                <a:uFillTx/>
                <a:latin typeface="HarmonyOS Sans SC Black"/>
                <a:ea typeface="+mj-ea"/>
                <a:cs typeface="Segoe UI" panose="020B0502040204020203" pitchFamily="34" charset="0"/>
              </a:rPr>
              <a:t>Subtitle Here</a:t>
            </a:r>
          </a:p>
        </p:txBody>
      </p:sp>
      <p:sp>
        <p:nvSpPr>
          <p:cNvPr id="37" name="文本框 36">
            <a:extLst>
              <a:ext uri="{FF2B5EF4-FFF2-40B4-BE49-F238E27FC236}">
                <a16:creationId xmlns:a16="http://schemas.microsoft.com/office/drawing/2014/main" id="{79703A83-852F-42BA-80A8-C1611A70EEEC}"/>
              </a:ext>
            </a:extLst>
          </p:cNvPr>
          <p:cNvSpPr txBox="1"/>
          <p:nvPr/>
        </p:nvSpPr>
        <p:spPr>
          <a:xfrm>
            <a:off x="4608252" y="918105"/>
            <a:ext cx="2975495" cy="52322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2800" b="0" i="0" u="none" strike="noStrike" kern="1200" cap="none" spc="0" normalizeH="0" baseline="0" noProof="0" dirty="0">
                <a:ln>
                  <a:noFill/>
                </a:ln>
                <a:solidFill>
                  <a:prstClr val="black"/>
                </a:solidFill>
                <a:effectLst/>
                <a:uLnTx/>
                <a:uFillTx/>
                <a:latin typeface="HarmonyOS Sans Black"/>
                <a:ea typeface="+mj-ea"/>
                <a:cs typeface="+mn-cs"/>
              </a:rPr>
              <a:t>Our </a:t>
            </a:r>
            <a:r>
              <a:rPr kumimoji="0" lang="en-US" altLang="zh-CN" sz="2800" b="0" i="0" u="none" strike="noStrike" kern="1200" cap="none" spc="0" normalizeH="0" baseline="0" noProof="0" dirty="0">
                <a:ln>
                  <a:noFill/>
                </a:ln>
                <a:solidFill>
                  <a:schemeClr val="accent1"/>
                </a:solidFill>
                <a:effectLst/>
                <a:uLnTx/>
                <a:uFillTx/>
                <a:latin typeface="HarmonyOS Sans Black"/>
                <a:ea typeface="+mj-ea"/>
                <a:cs typeface="+mn-cs"/>
              </a:rPr>
              <a:t>Infographic</a:t>
            </a:r>
          </a:p>
        </p:txBody>
      </p:sp>
      <p:sp>
        <p:nvSpPr>
          <p:cNvPr id="38" name="TextBox 26">
            <a:extLst>
              <a:ext uri="{FF2B5EF4-FFF2-40B4-BE49-F238E27FC236}">
                <a16:creationId xmlns:a16="http://schemas.microsoft.com/office/drawing/2014/main" id="{D9FB4985-3F5E-416A-8A48-377C69F1E4B8}"/>
              </a:ext>
            </a:extLst>
          </p:cNvPr>
          <p:cNvSpPr txBox="1"/>
          <p:nvPr/>
        </p:nvSpPr>
        <p:spPr>
          <a:xfrm>
            <a:off x="3486150" y="663942"/>
            <a:ext cx="5219700" cy="254163"/>
          </a:xfrm>
          <a:prstGeom prst="rect">
            <a:avLst/>
          </a:prstGeom>
          <a:noFill/>
        </p:spPr>
        <p:txBody>
          <a:bodyPr wrap="square" lIns="0" tIns="36000" rIns="0" bIns="36000" rtlCol="0">
            <a:spAutoFit/>
          </a:bodyPr>
          <a:lstStyle/>
          <a:p>
            <a:pPr marL="0" marR="0" lvl="0" indent="0" algn="ctr" defTabSz="914400" rtl="0" eaLnBrk="1" fontAlgn="auto" latinLnBrk="0" hangingPunct="1">
              <a:lnSpc>
                <a:spcPct val="130000"/>
              </a:lnSpc>
              <a:spcBef>
                <a:spcPts val="1000"/>
              </a:spcBef>
              <a:spcAft>
                <a:spcPts val="0"/>
              </a:spcAft>
              <a:buClrTx/>
              <a:buSzTx/>
              <a:buFontTx/>
              <a:buNone/>
              <a:tabLst/>
              <a:defRPr/>
            </a:pPr>
            <a:r>
              <a:rPr kumimoji="0" lang="da-DK" sz="1000" b="0" i="0" u="none" strike="noStrike" kern="1200" cap="none" spc="0" normalizeH="0" baseline="0" noProof="0" dirty="0">
                <a:ln>
                  <a:noFill/>
                </a:ln>
                <a:solidFill>
                  <a:prstClr val="black">
                    <a:lumMod val="50000"/>
                    <a:lumOff val="50000"/>
                    <a:alpha val="70000"/>
                  </a:prstClr>
                </a:solidFill>
                <a:effectLst/>
                <a:uLnTx/>
                <a:uFillTx/>
                <a:latin typeface="HarmonyOS Sans SC"/>
                <a:cs typeface="+mn-cs"/>
              </a:rPr>
              <a:t>Lorem ipsum dolor sit amet</a:t>
            </a:r>
          </a:p>
        </p:txBody>
      </p:sp>
      <p:sp>
        <p:nvSpPr>
          <p:cNvPr id="75" name="Freeform 12">
            <a:extLst>
              <a:ext uri="{FF2B5EF4-FFF2-40B4-BE49-F238E27FC236}">
                <a16:creationId xmlns:a16="http://schemas.microsoft.com/office/drawing/2014/main" id="{EC602D73-56E1-4BCE-88C6-A9D2962BA538}"/>
              </a:ext>
            </a:extLst>
          </p:cNvPr>
          <p:cNvSpPr>
            <a:spLocks/>
          </p:cNvSpPr>
          <p:nvPr/>
        </p:nvSpPr>
        <p:spPr bwMode="auto">
          <a:xfrm>
            <a:off x="8592675" y="4257402"/>
            <a:ext cx="2382607" cy="1633084"/>
          </a:xfrm>
          <a:custGeom>
            <a:avLst/>
            <a:gdLst>
              <a:gd name="T0" fmla="*/ 1380 w 1380"/>
              <a:gd name="T1" fmla="*/ 361 h 957"/>
              <a:gd name="T2" fmla="*/ 1035 w 1380"/>
              <a:gd name="T3" fmla="*/ 0 h 957"/>
              <a:gd name="T4" fmla="*/ 0 w 1380"/>
              <a:gd name="T5" fmla="*/ 447 h 957"/>
              <a:gd name="T6" fmla="*/ 0 w 1380"/>
              <a:gd name="T7" fmla="*/ 957 h 957"/>
              <a:gd name="T8" fmla="*/ 1380 w 1380"/>
              <a:gd name="T9" fmla="*/ 361 h 957"/>
            </a:gdLst>
            <a:ahLst/>
            <a:cxnLst>
              <a:cxn ang="0">
                <a:pos x="T0" y="T1"/>
              </a:cxn>
              <a:cxn ang="0">
                <a:pos x="T2" y="T3"/>
              </a:cxn>
              <a:cxn ang="0">
                <a:pos x="T4" y="T5"/>
              </a:cxn>
              <a:cxn ang="0">
                <a:pos x="T6" y="T7"/>
              </a:cxn>
              <a:cxn ang="0">
                <a:pos x="T8" y="T9"/>
              </a:cxn>
            </a:cxnLst>
            <a:rect l="0" t="0" r="r" b="b"/>
            <a:pathLst>
              <a:path w="1380" h="957">
                <a:moveTo>
                  <a:pt x="1380" y="361"/>
                </a:moveTo>
                <a:lnTo>
                  <a:pt x="1035" y="0"/>
                </a:lnTo>
                <a:lnTo>
                  <a:pt x="0" y="447"/>
                </a:lnTo>
                <a:lnTo>
                  <a:pt x="0" y="957"/>
                </a:lnTo>
                <a:lnTo>
                  <a:pt x="1380" y="361"/>
                </a:lnTo>
                <a:close/>
              </a:path>
            </a:pathLst>
          </a:custGeom>
          <a:gradFill>
            <a:gsLst>
              <a:gs pos="0">
                <a:schemeClr val="accent1"/>
              </a:gs>
              <a:gs pos="100000">
                <a:schemeClr val="accent1">
                  <a:lumMod val="84000"/>
                </a:schemeClr>
              </a:gs>
            </a:gsLst>
            <a:lin ang="5400000" scaled="1"/>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prstClr val="black"/>
              </a:solidFill>
              <a:effectLst/>
              <a:uLnTx/>
              <a:uFillTx/>
              <a:latin typeface="Calibri" panose="020F0502020204030204"/>
              <a:cs typeface="+mn-cs"/>
            </a:endParaRPr>
          </a:p>
        </p:txBody>
      </p:sp>
      <p:sp>
        <p:nvSpPr>
          <p:cNvPr id="76" name="Freeform 16">
            <a:extLst>
              <a:ext uri="{FF2B5EF4-FFF2-40B4-BE49-F238E27FC236}">
                <a16:creationId xmlns:a16="http://schemas.microsoft.com/office/drawing/2014/main" id="{5D40A1DC-EE23-4FD1-AA39-36FBEA848E82}"/>
              </a:ext>
            </a:extLst>
          </p:cNvPr>
          <p:cNvSpPr>
            <a:spLocks/>
          </p:cNvSpPr>
          <p:nvPr/>
        </p:nvSpPr>
        <p:spPr bwMode="auto">
          <a:xfrm>
            <a:off x="6222636" y="4257402"/>
            <a:ext cx="2382607" cy="1633084"/>
          </a:xfrm>
          <a:custGeom>
            <a:avLst/>
            <a:gdLst>
              <a:gd name="T0" fmla="*/ 0 w 1380"/>
              <a:gd name="T1" fmla="*/ 361 h 957"/>
              <a:gd name="T2" fmla="*/ 345 w 1380"/>
              <a:gd name="T3" fmla="*/ 0 h 957"/>
              <a:gd name="T4" fmla="*/ 1380 w 1380"/>
              <a:gd name="T5" fmla="*/ 447 h 957"/>
              <a:gd name="T6" fmla="*/ 1380 w 1380"/>
              <a:gd name="T7" fmla="*/ 957 h 957"/>
              <a:gd name="T8" fmla="*/ 0 w 1380"/>
              <a:gd name="T9" fmla="*/ 361 h 957"/>
            </a:gdLst>
            <a:ahLst/>
            <a:cxnLst>
              <a:cxn ang="0">
                <a:pos x="T0" y="T1"/>
              </a:cxn>
              <a:cxn ang="0">
                <a:pos x="T2" y="T3"/>
              </a:cxn>
              <a:cxn ang="0">
                <a:pos x="T4" y="T5"/>
              </a:cxn>
              <a:cxn ang="0">
                <a:pos x="T6" y="T7"/>
              </a:cxn>
              <a:cxn ang="0">
                <a:pos x="T8" y="T9"/>
              </a:cxn>
            </a:cxnLst>
            <a:rect l="0" t="0" r="r" b="b"/>
            <a:pathLst>
              <a:path w="1380" h="957">
                <a:moveTo>
                  <a:pt x="0" y="361"/>
                </a:moveTo>
                <a:lnTo>
                  <a:pt x="345" y="0"/>
                </a:lnTo>
                <a:lnTo>
                  <a:pt x="1380" y="447"/>
                </a:lnTo>
                <a:lnTo>
                  <a:pt x="1380" y="957"/>
                </a:lnTo>
                <a:lnTo>
                  <a:pt x="0" y="361"/>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prstClr val="black"/>
              </a:solidFill>
              <a:effectLst/>
              <a:uLnTx/>
              <a:uFillTx/>
              <a:latin typeface="Calibri" panose="020F0502020204030204"/>
              <a:cs typeface="+mn-cs"/>
            </a:endParaRPr>
          </a:p>
        </p:txBody>
      </p:sp>
      <p:sp>
        <p:nvSpPr>
          <p:cNvPr id="77" name="Freeform 11">
            <a:extLst>
              <a:ext uri="{FF2B5EF4-FFF2-40B4-BE49-F238E27FC236}">
                <a16:creationId xmlns:a16="http://schemas.microsoft.com/office/drawing/2014/main" id="{56207FE3-DC23-447B-80E5-6042412DC8E5}"/>
              </a:ext>
            </a:extLst>
          </p:cNvPr>
          <p:cNvSpPr>
            <a:spLocks/>
          </p:cNvSpPr>
          <p:nvPr/>
        </p:nvSpPr>
        <p:spPr bwMode="auto">
          <a:xfrm>
            <a:off x="8592675" y="3645005"/>
            <a:ext cx="1786956" cy="1380527"/>
          </a:xfrm>
          <a:custGeom>
            <a:avLst/>
            <a:gdLst>
              <a:gd name="T0" fmla="*/ 689 w 1035"/>
              <a:gd name="T1" fmla="*/ 0 h 809"/>
              <a:gd name="T2" fmla="*/ 0 w 1035"/>
              <a:gd name="T3" fmla="*/ 298 h 809"/>
              <a:gd name="T4" fmla="*/ 0 w 1035"/>
              <a:gd name="T5" fmla="*/ 639 h 809"/>
              <a:gd name="T6" fmla="*/ 0 w 1035"/>
              <a:gd name="T7" fmla="*/ 809 h 809"/>
              <a:gd name="T8" fmla="*/ 1035 w 1035"/>
              <a:gd name="T9" fmla="*/ 362 h 809"/>
              <a:gd name="T10" fmla="*/ 689 w 1035"/>
              <a:gd name="T11" fmla="*/ 0 h 809"/>
            </a:gdLst>
            <a:ahLst/>
            <a:cxnLst>
              <a:cxn ang="0">
                <a:pos x="T0" y="T1"/>
              </a:cxn>
              <a:cxn ang="0">
                <a:pos x="T2" y="T3"/>
              </a:cxn>
              <a:cxn ang="0">
                <a:pos x="T4" y="T5"/>
              </a:cxn>
              <a:cxn ang="0">
                <a:pos x="T6" y="T7"/>
              </a:cxn>
              <a:cxn ang="0">
                <a:pos x="T8" y="T9"/>
              </a:cxn>
              <a:cxn ang="0">
                <a:pos x="T10" y="T11"/>
              </a:cxn>
            </a:cxnLst>
            <a:rect l="0" t="0" r="r" b="b"/>
            <a:pathLst>
              <a:path w="1035" h="809">
                <a:moveTo>
                  <a:pt x="689" y="0"/>
                </a:moveTo>
                <a:lnTo>
                  <a:pt x="0" y="298"/>
                </a:lnTo>
                <a:lnTo>
                  <a:pt x="0" y="639"/>
                </a:lnTo>
                <a:lnTo>
                  <a:pt x="0" y="809"/>
                </a:lnTo>
                <a:lnTo>
                  <a:pt x="1035" y="362"/>
                </a:lnTo>
                <a:lnTo>
                  <a:pt x="689" y="0"/>
                </a:lnTo>
                <a:close/>
              </a:path>
            </a:pathLst>
          </a:custGeom>
          <a:gradFill>
            <a:gsLst>
              <a:gs pos="0">
                <a:schemeClr val="accent1">
                  <a:lumMod val="58000"/>
                  <a:lumOff val="42000"/>
                </a:schemeClr>
              </a:gs>
              <a:gs pos="100000">
                <a:schemeClr val="accent1"/>
              </a:gs>
            </a:gsLst>
            <a:lin ang="5400000" scaled="1"/>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prstClr val="black"/>
              </a:solidFill>
              <a:effectLst/>
              <a:uLnTx/>
              <a:uFillTx/>
              <a:latin typeface="Calibri" panose="020F0502020204030204"/>
              <a:cs typeface="+mn-cs"/>
            </a:endParaRPr>
          </a:p>
        </p:txBody>
      </p:sp>
      <p:sp>
        <p:nvSpPr>
          <p:cNvPr id="78" name="Freeform 15">
            <a:extLst>
              <a:ext uri="{FF2B5EF4-FFF2-40B4-BE49-F238E27FC236}">
                <a16:creationId xmlns:a16="http://schemas.microsoft.com/office/drawing/2014/main" id="{DACD6A99-3013-4B6F-9B50-30D31A836313}"/>
              </a:ext>
            </a:extLst>
          </p:cNvPr>
          <p:cNvSpPr>
            <a:spLocks/>
          </p:cNvSpPr>
          <p:nvPr/>
        </p:nvSpPr>
        <p:spPr bwMode="auto">
          <a:xfrm>
            <a:off x="6818287" y="3645005"/>
            <a:ext cx="1786956" cy="1380527"/>
          </a:xfrm>
          <a:custGeom>
            <a:avLst/>
            <a:gdLst>
              <a:gd name="T0" fmla="*/ 346 w 1035"/>
              <a:gd name="T1" fmla="*/ 0 h 809"/>
              <a:gd name="T2" fmla="*/ 1035 w 1035"/>
              <a:gd name="T3" fmla="*/ 298 h 809"/>
              <a:gd name="T4" fmla="*/ 1035 w 1035"/>
              <a:gd name="T5" fmla="*/ 639 h 809"/>
              <a:gd name="T6" fmla="*/ 1035 w 1035"/>
              <a:gd name="T7" fmla="*/ 809 h 809"/>
              <a:gd name="T8" fmla="*/ 0 w 1035"/>
              <a:gd name="T9" fmla="*/ 362 h 809"/>
              <a:gd name="T10" fmla="*/ 346 w 1035"/>
              <a:gd name="T11" fmla="*/ 0 h 809"/>
            </a:gdLst>
            <a:ahLst/>
            <a:cxnLst>
              <a:cxn ang="0">
                <a:pos x="T0" y="T1"/>
              </a:cxn>
              <a:cxn ang="0">
                <a:pos x="T2" y="T3"/>
              </a:cxn>
              <a:cxn ang="0">
                <a:pos x="T4" y="T5"/>
              </a:cxn>
              <a:cxn ang="0">
                <a:pos x="T6" y="T7"/>
              </a:cxn>
              <a:cxn ang="0">
                <a:pos x="T8" y="T9"/>
              </a:cxn>
              <a:cxn ang="0">
                <a:pos x="T10" y="T11"/>
              </a:cxn>
            </a:cxnLst>
            <a:rect l="0" t="0" r="r" b="b"/>
            <a:pathLst>
              <a:path w="1035" h="809">
                <a:moveTo>
                  <a:pt x="346" y="0"/>
                </a:moveTo>
                <a:lnTo>
                  <a:pt x="1035" y="298"/>
                </a:lnTo>
                <a:lnTo>
                  <a:pt x="1035" y="639"/>
                </a:lnTo>
                <a:lnTo>
                  <a:pt x="1035" y="809"/>
                </a:lnTo>
                <a:lnTo>
                  <a:pt x="0" y="362"/>
                </a:lnTo>
                <a:lnTo>
                  <a:pt x="346" y="0"/>
                </a:lnTo>
                <a:close/>
              </a:path>
            </a:pathLst>
          </a:custGeom>
          <a:solidFill>
            <a:schemeClr val="accent1">
              <a:lumMod val="60000"/>
              <a:lumOff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prstClr val="black"/>
              </a:solidFill>
              <a:effectLst/>
              <a:uLnTx/>
              <a:uFillTx/>
              <a:latin typeface="Calibri" panose="020F0502020204030204"/>
              <a:cs typeface="+mn-cs"/>
            </a:endParaRPr>
          </a:p>
        </p:txBody>
      </p:sp>
      <p:sp>
        <p:nvSpPr>
          <p:cNvPr id="79" name="Freeform 9">
            <a:extLst>
              <a:ext uri="{FF2B5EF4-FFF2-40B4-BE49-F238E27FC236}">
                <a16:creationId xmlns:a16="http://schemas.microsoft.com/office/drawing/2014/main" id="{AB403C15-C2BE-47A4-B964-B850379C97A0}"/>
              </a:ext>
            </a:extLst>
          </p:cNvPr>
          <p:cNvSpPr>
            <a:spLocks/>
          </p:cNvSpPr>
          <p:nvPr/>
        </p:nvSpPr>
        <p:spPr bwMode="auto">
          <a:xfrm>
            <a:off x="8592675" y="3036484"/>
            <a:ext cx="1189578" cy="1122853"/>
          </a:xfrm>
          <a:custGeom>
            <a:avLst/>
            <a:gdLst>
              <a:gd name="T0" fmla="*/ 345 w 689"/>
              <a:gd name="T1" fmla="*/ 0 h 658"/>
              <a:gd name="T2" fmla="*/ 0 w 689"/>
              <a:gd name="T3" fmla="*/ 149 h 658"/>
              <a:gd name="T4" fmla="*/ 0 w 689"/>
              <a:gd name="T5" fmla="*/ 658 h 658"/>
              <a:gd name="T6" fmla="*/ 689 w 689"/>
              <a:gd name="T7" fmla="*/ 360 h 658"/>
              <a:gd name="T8" fmla="*/ 345 w 689"/>
              <a:gd name="T9" fmla="*/ 0 h 658"/>
            </a:gdLst>
            <a:ahLst/>
            <a:cxnLst>
              <a:cxn ang="0">
                <a:pos x="T0" y="T1"/>
              </a:cxn>
              <a:cxn ang="0">
                <a:pos x="T2" y="T3"/>
              </a:cxn>
              <a:cxn ang="0">
                <a:pos x="T4" y="T5"/>
              </a:cxn>
              <a:cxn ang="0">
                <a:pos x="T6" y="T7"/>
              </a:cxn>
              <a:cxn ang="0">
                <a:pos x="T8" y="T9"/>
              </a:cxn>
            </a:cxnLst>
            <a:rect l="0" t="0" r="r" b="b"/>
            <a:pathLst>
              <a:path w="689" h="658">
                <a:moveTo>
                  <a:pt x="345" y="0"/>
                </a:moveTo>
                <a:lnTo>
                  <a:pt x="0" y="149"/>
                </a:lnTo>
                <a:lnTo>
                  <a:pt x="0" y="658"/>
                </a:lnTo>
                <a:lnTo>
                  <a:pt x="689" y="360"/>
                </a:lnTo>
                <a:lnTo>
                  <a:pt x="345" y="0"/>
                </a:lnTo>
                <a:close/>
              </a:path>
            </a:pathLst>
          </a:custGeom>
          <a:gradFill>
            <a:gsLst>
              <a:gs pos="0">
                <a:schemeClr val="accent1">
                  <a:lumMod val="59000"/>
                  <a:lumOff val="41000"/>
                </a:schemeClr>
              </a:gs>
              <a:gs pos="100000">
                <a:schemeClr val="accent1">
                  <a:lumMod val="78000"/>
                  <a:lumOff val="22000"/>
                </a:schemeClr>
              </a:gs>
            </a:gsLst>
            <a:lin ang="5400000" scaled="1"/>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prstClr val="black"/>
              </a:solidFill>
              <a:effectLst/>
              <a:uLnTx/>
              <a:uFillTx/>
              <a:latin typeface="Calibri" panose="020F0502020204030204"/>
              <a:cs typeface="+mn-cs"/>
            </a:endParaRPr>
          </a:p>
        </p:txBody>
      </p:sp>
      <p:sp>
        <p:nvSpPr>
          <p:cNvPr id="80" name="Freeform 13">
            <a:extLst>
              <a:ext uri="{FF2B5EF4-FFF2-40B4-BE49-F238E27FC236}">
                <a16:creationId xmlns:a16="http://schemas.microsoft.com/office/drawing/2014/main" id="{95F0D090-E02F-4C71-B0EF-A03920F845F0}"/>
              </a:ext>
            </a:extLst>
          </p:cNvPr>
          <p:cNvSpPr>
            <a:spLocks/>
          </p:cNvSpPr>
          <p:nvPr/>
        </p:nvSpPr>
        <p:spPr bwMode="auto">
          <a:xfrm>
            <a:off x="7415666" y="3036484"/>
            <a:ext cx="1189577" cy="1122852"/>
          </a:xfrm>
          <a:custGeom>
            <a:avLst/>
            <a:gdLst>
              <a:gd name="T0" fmla="*/ 344 w 689"/>
              <a:gd name="T1" fmla="*/ 0 h 658"/>
              <a:gd name="T2" fmla="*/ 689 w 689"/>
              <a:gd name="T3" fmla="*/ 149 h 658"/>
              <a:gd name="T4" fmla="*/ 689 w 689"/>
              <a:gd name="T5" fmla="*/ 658 h 658"/>
              <a:gd name="T6" fmla="*/ 0 w 689"/>
              <a:gd name="T7" fmla="*/ 360 h 658"/>
              <a:gd name="T8" fmla="*/ 344 w 689"/>
              <a:gd name="T9" fmla="*/ 0 h 658"/>
            </a:gdLst>
            <a:ahLst/>
            <a:cxnLst>
              <a:cxn ang="0">
                <a:pos x="T0" y="T1"/>
              </a:cxn>
              <a:cxn ang="0">
                <a:pos x="T2" y="T3"/>
              </a:cxn>
              <a:cxn ang="0">
                <a:pos x="T4" y="T5"/>
              </a:cxn>
              <a:cxn ang="0">
                <a:pos x="T6" y="T7"/>
              </a:cxn>
              <a:cxn ang="0">
                <a:pos x="T8" y="T9"/>
              </a:cxn>
            </a:cxnLst>
            <a:rect l="0" t="0" r="r" b="b"/>
            <a:pathLst>
              <a:path w="689" h="658">
                <a:moveTo>
                  <a:pt x="344" y="0"/>
                </a:moveTo>
                <a:lnTo>
                  <a:pt x="689" y="149"/>
                </a:lnTo>
                <a:lnTo>
                  <a:pt x="689" y="658"/>
                </a:lnTo>
                <a:lnTo>
                  <a:pt x="0" y="360"/>
                </a:lnTo>
                <a:lnTo>
                  <a:pt x="344" y="0"/>
                </a:lnTo>
                <a:close/>
              </a:path>
            </a:pathLst>
          </a:custGeom>
          <a:solidFill>
            <a:schemeClr val="accent1">
              <a:lumMod val="40000"/>
              <a:lumOff val="6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prstClr val="black"/>
              </a:solidFill>
              <a:effectLst/>
              <a:uLnTx/>
              <a:uFillTx/>
              <a:latin typeface="Calibri" panose="020F0502020204030204"/>
              <a:cs typeface="+mn-cs"/>
            </a:endParaRPr>
          </a:p>
        </p:txBody>
      </p:sp>
      <p:sp>
        <p:nvSpPr>
          <p:cNvPr id="82" name="Freeform 10">
            <a:extLst>
              <a:ext uri="{FF2B5EF4-FFF2-40B4-BE49-F238E27FC236}">
                <a16:creationId xmlns:a16="http://schemas.microsoft.com/office/drawing/2014/main" id="{CDF01480-D418-4758-86BA-B5916F913E0B}"/>
              </a:ext>
            </a:extLst>
          </p:cNvPr>
          <p:cNvSpPr>
            <a:spLocks/>
          </p:cNvSpPr>
          <p:nvPr/>
        </p:nvSpPr>
        <p:spPr bwMode="auto">
          <a:xfrm>
            <a:off x="8592675" y="2425794"/>
            <a:ext cx="595653" cy="870296"/>
          </a:xfrm>
          <a:custGeom>
            <a:avLst/>
            <a:gdLst>
              <a:gd name="T0" fmla="*/ 0 w 345"/>
              <a:gd name="T1" fmla="*/ 0 h 510"/>
              <a:gd name="T2" fmla="*/ 0 w 345"/>
              <a:gd name="T3" fmla="*/ 510 h 510"/>
              <a:gd name="T4" fmla="*/ 345 w 345"/>
              <a:gd name="T5" fmla="*/ 361 h 510"/>
              <a:gd name="T6" fmla="*/ 0 w 345"/>
              <a:gd name="T7" fmla="*/ 0 h 510"/>
            </a:gdLst>
            <a:ahLst/>
            <a:cxnLst>
              <a:cxn ang="0">
                <a:pos x="T0" y="T1"/>
              </a:cxn>
              <a:cxn ang="0">
                <a:pos x="T2" y="T3"/>
              </a:cxn>
              <a:cxn ang="0">
                <a:pos x="T4" y="T5"/>
              </a:cxn>
              <a:cxn ang="0">
                <a:pos x="T6" y="T7"/>
              </a:cxn>
            </a:cxnLst>
            <a:rect l="0" t="0" r="r" b="b"/>
            <a:pathLst>
              <a:path w="345" h="510">
                <a:moveTo>
                  <a:pt x="0" y="0"/>
                </a:moveTo>
                <a:lnTo>
                  <a:pt x="0" y="510"/>
                </a:lnTo>
                <a:lnTo>
                  <a:pt x="345" y="361"/>
                </a:lnTo>
                <a:lnTo>
                  <a:pt x="0" y="0"/>
                </a:lnTo>
                <a:close/>
              </a:path>
            </a:pathLst>
          </a:custGeom>
          <a:gradFill flip="none" rotWithShape="1">
            <a:gsLst>
              <a:gs pos="27000">
                <a:schemeClr val="accent1">
                  <a:lumMod val="36000"/>
                  <a:lumOff val="64000"/>
                </a:schemeClr>
              </a:gs>
              <a:gs pos="100000">
                <a:schemeClr val="accent1">
                  <a:lumMod val="57000"/>
                  <a:lumOff val="43000"/>
                </a:schemeClr>
              </a:gs>
            </a:gsLst>
            <a:lin ang="5400000" scaled="1"/>
            <a:tileRect/>
          </a:gradFill>
          <a:ln w="51262"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armonyOS Sans SC"/>
              <a:cs typeface="+mn-cs"/>
            </a:endParaRPr>
          </a:p>
        </p:txBody>
      </p:sp>
      <p:sp>
        <p:nvSpPr>
          <p:cNvPr id="83" name="Freeform 14">
            <a:extLst>
              <a:ext uri="{FF2B5EF4-FFF2-40B4-BE49-F238E27FC236}">
                <a16:creationId xmlns:a16="http://schemas.microsoft.com/office/drawing/2014/main" id="{4854B896-5458-4546-973C-FE1BE62DDF92}"/>
              </a:ext>
            </a:extLst>
          </p:cNvPr>
          <p:cNvSpPr>
            <a:spLocks/>
          </p:cNvSpPr>
          <p:nvPr/>
        </p:nvSpPr>
        <p:spPr bwMode="auto">
          <a:xfrm>
            <a:off x="8009590" y="2425794"/>
            <a:ext cx="595653" cy="870296"/>
          </a:xfrm>
          <a:custGeom>
            <a:avLst/>
            <a:gdLst>
              <a:gd name="T0" fmla="*/ 345 w 345"/>
              <a:gd name="T1" fmla="*/ 0 h 510"/>
              <a:gd name="T2" fmla="*/ 345 w 345"/>
              <a:gd name="T3" fmla="*/ 510 h 510"/>
              <a:gd name="T4" fmla="*/ 0 w 345"/>
              <a:gd name="T5" fmla="*/ 361 h 510"/>
              <a:gd name="T6" fmla="*/ 345 w 345"/>
              <a:gd name="T7" fmla="*/ 0 h 510"/>
            </a:gdLst>
            <a:ahLst/>
            <a:cxnLst>
              <a:cxn ang="0">
                <a:pos x="T0" y="T1"/>
              </a:cxn>
              <a:cxn ang="0">
                <a:pos x="T2" y="T3"/>
              </a:cxn>
              <a:cxn ang="0">
                <a:pos x="T4" y="T5"/>
              </a:cxn>
              <a:cxn ang="0">
                <a:pos x="T6" y="T7"/>
              </a:cxn>
            </a:cxnLst>
            <a:rect l="0" t="0" r="r" b="b"/>
            <a:pathLst>
              <a:path w="345" h="510">
                <a:moveTo>
                  <a:pt x="345" y="0"/>
                </a:moveTo>
                <a:lnTo>
                  <a:pt x="345" y="510"/>
                </a:lnTo>
                <a:lnTo>
                  <a:pt x="0" y="361"/>
                </a:lnTo>
                <a:lnTo>
                  <a:pt x="345" y="0"/>
                </a:lnTo>
                <a:close/>
              </a:path>
            </a:pathLst>
          </a:custGeom>
          <a:solidFill>
            <a:schemeClr val="accent1">
              <a:lumMod val="20000"/>
              <a:lumOff val="80000"/>
            </a:schemeClr>
          </a:solidFill>
          <a:ln w="51262"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armonyOS Sans SC"/>
              <a:cs typeface="+mn-cs"/>
            </a:endParaRPr>
          </a:p>
        </p:txBody>
      </p:sp>
    </p:spTree>
    <p:extLst>
      <p:ext uri="{BB962C8B-B14F-4D97-AF65-F5344CB8AC3E}">
        <p14:creationId xmlns:p14="http://schemas.microsoft.com/office/powerpoint/2010/main" val="762959201"/>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5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val 15">
            <a:extLst>
              <a:ext uri="{FF2B5EF4-FFF2-40B4-BE49-F238E27FC236}">
                <a16:creationId xmlns:a16="http://schemas.microsoft.com/office/drawing/2014/main" id="{21AFF348-2084-4B22-9A50-1D24E6225449}"/>
              </a:ext>
            </a:extLst>
          </p:cNvPr>
          <p:cNvSpPr>
            <a:spLocks noChangeArrowheads="1"/>
          </p:cNvSpPr>
          <p:nvPr/>
        </p:nvSpPr>
        <p:spPr bwMode="auto">
          <a:xfrm>
            <a:off x="5797550" y="2009777"/>
            <a:ext cx="4103688" cy="339725"/>
          </a:xfrm>
          <a:prstGeom prst="ellipse">
            <a:avLst/>
          </a:prstGeom>
          <a:gradFill flip="none" rotWithShape="1">
            <a:gsLst>
              <a:gs pos="0">
                <a:schemeClr val="accent1">
                  <a:lumMod val="40000"/>
                  <a:lumOff val="60000"/>
                </a:schemeClr>
              </a:gs>
              <a:gs pos="100000">
                <a:schemeClr val="accent1"/>
              </a:gs>
            </a:gsLst>
            <a:path path="circle">
              <a:fillToRect l="100000" b="100000"/>
            </a:path>
            <a:tileRect t="-100000" r="-100000"/>
          </a:gradFill>
          <a:ln w="1270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armonyOS Sans SC"/>
              <a:cs typeface="+mn-cs"/>
            </a:endParaRPr>
          </a:p>
        </p:txBody>
      </p:sp>
      <p:sp>
        <p:nvSpPr>
          <p:cNvPr id="3" name="Freeform 5">
            <a:extLst>
              <a:ext uri="{FF2B5EF4-FFF2-40B4-BE49-F238E27FC236}">
                <a16:creationId xmlns:a16="http://schemas.microsoft.com/office/drawing/2014/main" id="{0A233B7A-8925-4A70-B49F-A2E9627E68B9}"/>
              </a:ext>
            </a:extLst>
          </p:cNvPr>
          <p:cNvSpPr>
            <a:spLocks/>
          </p:cNvSpPr>
          <p:nvPr/>
        </p:nvSpPr>
        <p:spPr bwMode="auto">
          <a:xfrm>
            <a:off x="3021013" y="3673476"/>
            <a:ext cx="4111625" cy="1231900"/>
          </a:xfrm>
          <a:custGeom>
            <a:avLst/>
            <a:gdLst>
              <a:gd name="T0" fmla="*/ 2590 w 2590"/>
              <a:gd name="T1" fmla="*/ 776 h 776"/>
              <a:gd name="T2" fmla="*/ 2213 w 2590"/>
              <a:gd name="T3" fmla="*/ 0 h 776"/>
              <a:gd name="T4" fmla="*/ 0 w 2590"/>
              <a:gd name="T5" fmla="*/ 0 h 776"/>
              <a:gd name="T6" fmla="*/ 0 w 2590"/>
              <a:gd name="T7" fmla="*/ 776 h 776"/>
              <a:gd name="T8" fmla="*/ 2590 w 2590"/>
              <a:gd name="T9" fmla="*/ 776 h 776"/>
            </a:gdLst>
            <a:ahLst/>
            <a:cxnLst>
              <a:cxn ang="0">
                <a:pos x="T0" y="T1"/>
              </a:cxn>
              <a:cxn ang="0">
                <a:pos x="T2" y="T3"/>
              </a:cxn>
              <a:cxn ang="0">
                <a:pos x="T4" y="T5"/>
              </a:cxn>
              <a:cxn ang="0">
                <a:pos x="T6" y="T7"/>
              </a:cxn>
              <a:cxn ang="0">
                <a:pos x="T8" y="T9"/>
              </a:cxn>
            </a:cxnLst>
            <a:rect l="0" t="0" r="r" b="b"/>
            <a:pathLst>
              <a:path w="2590" h="776">
                <a:moveTo>
                  <a:pt x="2590" y="776"/>
                </a:moveTo>
                <a:lnTo>
                  <a:pt x="2213" y="0"/>
                </a:lnTo>
                <a:lnTo>
                  <a:pt x="0" y="0"/>
                </a:lnTo>
                <a:lnTo>
                  <a:pt x="0" y="776"/>
                </a:lnTo>
                <a:lnTo>
                  <a:pt x="2590" y="776"/>
                </a:lnTo>
                <a:close/>
              </a:path>
            </a:pathLst>
          </a:custGeom>
          <a:noFill/>
          <a:ln>
            <a:gradFill>
              <a:gsLst>
                <a:gs pos="0">
                  <a:schemeClr val="accent1">
                    <a:lumMod val="60000"/>
                    <a:lumOff val="40000"/>
                  </a:schemeClr>
                </a:gs>
                <a:gs pos="100000">
                  <a:schemeClr val="accent1"/>
                </a:gs>
              </a:gsLst>
              <a:lin ang="5400000" scaled="1"/>
            </a:gradFill>
          </a:ln>
        </p:spPr>
        <p:txBody>
          <a:bodyPr vert="horz" wrap="square" lIns="457200" tIns="45720" rIns="91440" bIns="45720" numCol="1" anchor="ctr" anchorCtr="0" compatLnSpc="1">
            <a:prstTxWarp prst="textNoShape">
              <a:avLst/>
            </a:prstTxWarp>
          </a:bodyPr>
          <a:lstStyle/>
          <a:p>
            <a:pPr marL="0" marR="0" lvl="0" indent="0" algn="l" defTabSz="457200" rtl="0" eaLnBrk="1" fontAlgn="base" latinLnBrk="0" hangingPunct="1">
              <a:lnSpc>
                <a:spcPct val="130000"/>
              </a:lnSpc>
              <a:spcBef>
                <a:spcPts val="1000"/>
              </a:spcBef>
              <a:spcAft>
                <a:spcPts val="0"/>
              </a:spcAft>
              <a:buClrTx/>
              <a:buSzTx/>
              <a:buFontTx/>
              <a:buNone/>
              <a:tabLst/>
              <a:defRPr/>
            </a:pPr>
            <a:endParaRPr kumimoji="0" lang="en-US" sz="1000" b="0" i="0" u="none" strike="noStrike" kern="1200" cap="none" spc="0" normalizeH="0" baseline="0" noProof="0" dirty="0">
              <a:ln>
                <a:noFill/>
              </a:ln>
              <a:solidFill>
                <a:srgbClr val="FFFFFF">
                  <a:alpha val="70000"/>
                </a:srgbClr>
              </a:solidFill>
              <a:effectLst/>
              <a:uLnTx/>
              <a:uFillTx/>
              <a:latin typeface="Open Sans"/>
              <a:ea typeface="+mn-ea"/>
              <a:cs typeface="+mn-cs"/>
            </a:endParaRPr>
          </a:p>
        </p:txBody>
      </p:sp>
      <p:sp>
        <p:nvSpPr>
          <p:cNvPr id="4" name="Freeform 6">
            <a:extLst>
              <a:ext uri="{FF2B5EF4-FFF2-40B4-BE49-F238E27FC236}">
                <a16:creationId xmlns:a16="http://schemas.microsoft.com/office/drawing/2014/main" id="{A209E3E2-4F8D-4683-B85B-744EB222DA4E}"/>
              </a:ext>
            </a:extLst>
          </p:cNvPr>
          <p:cNvSpPr>
            <a:spLocks/>
          </p:cNvSpPr>
          <p:nvPr/>
        </p:nvSpPr>
        <p:spPr bwMode="auto">
          <a:xfrm>
            <a:off x="6524625" y="3673477"/>
            <a:ext cx="2649538" cy="1414463"/>
          </a:xfrm>
          <a:custGeom>
            <a:avLst/>
            <a:gdLst>
              <a:gd name="T0" fmla="*/ 416 w 832"/>
              <a:gd name="T1" fmla="*/ 61 h 444"/>
              <a:gd name="T2" fmla="*/ 0 w 832"/>
              <a:gd name="T3" fmla="*/ 0 h 444"/>
              <a:gd name="T4" fmla="*/ 188 w 832"/>
              <a:gd name="T5" fmla="*/ 387 h 444"/>
              <a:gd name="T6" fmla="*/ 416 w 832"/>
              <a:gd name="T7" fmla="*/ 444 h 444"/>
              <a:gd name="T8" fmla="*/ 644 w 832"/>
              <a:gd name="T9" fmla="*/ 387 h 444"/>
              <a:gd name="T10" fmla="*/ 832 w 832"/>
              <a:gd name="T11" fmla="*/ 0 h 444"/>
              <a:gd name="T12" fmla="*/ 416 w 832"/>
              <a:gd name="T13" fmla="*/ 61 h 444"/>
            </a:gdLst>
            <a:ahLst/>
            <a:cxnLst>
              <a:cxn ang="0">
                <a:pos x="T0" y="T1"/>
              </a:cxn>
              <a:cxn ang="0">
                <a:pos x="T2" y="T3"/>
              </a:cxn>
              <a:cxn ang="0">
                <a:pos x="T4" y="T5"/>
              </a:cxn>
              <a:cxn ang="0">
                <a:pos x="T6" y="T7"/>
              </a:cxn>
              <a:cxn ang="0">
                <a:pos x="T8" y="T9"/>
              </a:cxn>
              <a:cxn ang="0">
                <a:pos x="T10" y="T11"/>
              </a:cxn>
              <a:cxn ang="0">
                <a:pos x="T12" y="T13"/>
              </a:cxn>
            </a:cxnLst>
            <a:rect l="0" t="0" r="r" b="b"/>
            <a:pathLst>
              <a:path w="832" h="444">
                <a:moveTo>
                  <a:pt x="416" y="61"/>
                </a:moveTo>
                <a:cubicBezTo>
                  <a:pt x="187" y="61"/>
                  <a:pt x="0" y="0"/>
                  <a:pt x="0" y="0"/>
                </a:cubicBezTo>
                <a:cubicBezTo>
                  <a:pt x="188" y="387"/>
                  <a:pt x="188" y="387"/>
                  <a:pt x="188" y="387"/>
                </a:cubicBezTo>
                <a:cubicBezTo>
                  <a:pt x="188" y="387"/>
                  <a:pt x="290" y="444"/>
                  <a:pt x="416" y="444"/>
                </a:cubicBezTo>
                <a:cubicBezTo>
                  <a:pt x="542" y="444"/>
                  <a:pt x="644" y="387"/>
                  <a:pt x="644" y="387"/>
                </a:cubicBezTo>
                <a:cubicBezTo>
                  <a:pt x="832" y="0"/>
                  <a:pt x="832" y="0"/>
                  <a:pt x="832" y="0"/>
                </a:cubicBezTo>
                <a:cubicBezTo>
                  <a:pt x="832" y="0"/>
                  <a:pt x="646" y="61"/>
                  <a:pt x="416" y="61"/>
                </a:cubicBezTo>
              </a:path>
            </a:pathLst>
          </a:custGeom>
          <a:gradFill flip="none" rotWithShape="1">
            <a:gsLst>
              <a:gs pos="73000">
                <a:schemeClr val="accent1"/>
              </a:gs>
              <a:gs pos="31000">
                <a:schemeClr val="accent1">
                  <a:lumMod val="60000"/>
                  <a:lumOff val="40000"/>
                </a:schemeClr>
              </a:gs>
              <a:gs pos="0">
                <a:schemeClr val="accent1">
                  <a:lumMod val="40000"/>
                  <a:lumOff val="60000"/>
                </a:schemeClr>
              </a:gs>
            </a:gsLst>
            <a:lin ang="0" scaled="0"/>
            <a:tileRect/>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22222"/>
              </a:solidFill>
              <a:effectLst/>
              <a:uLnTx/>
              <a:uFillTx/>
              <a:latin typeface="HarmonyOS Sans SC"/>
              <a:cs typeface="+mn-cs"/>
            </a:endParaRPr>
          </a:p>
        </p:txBody>
      </p:sp>
      <p:sp>
        <p:nvSpPr>
          <p:cNvPr id="5" name="Freeform 8">
            <a:extLst>
              <a:ext uri="{FF2B5EF4-FFF2-40B4-BE49-F238E27FC236}">
                <a16:creationId xmlns:a16="http://schemas.microsoft.com/office/drawing/2014/main" id="{B2B98852-4EBB-43F2-AEEC-9F5228FEF6D6}"/>
              </a:ext>
            </a:extLst>
          </p:cNvPr>
          <p:cNvSpPr>
            <a:spLocks/>
          </p:cNvSpPr>
          <p:nvPr/>
        </p:nvSpPr>
        <p:spPr bwMode="auto">
          <a:xfrm>
            <a:off x="3749675" y="5173663"/>
            <a:ext cx="4108450" cy="1228725"/>
          </a:xfrm>
          <a:custGeom>
            <a:avLst/>
            <a:gdLst>
              <a:gd name="T0" fmla="*/ 0 w 2588"/>
              <a:gd name="T1" fmla="*/ 0 h 774"/>
              <a:gd name="T2" fmla="*/ 0 w 2588"/>
              <a:gd name="T3" fmla="*/ 774 h 774"/>
              <a:gd name="T4" fmla="*/ 2588 w 2588"/>
              <a:gd name="T5" fmla="*/ 774 h 774"/>
              <a:gd name="T6" fmla="*/ 2213 w 2588"/>
              <a:gd name="T7" fmla="*/ 0 h 774"/>
              <a:gd name="T8" fmla="*/ 0 w 2588"/>
              <a:gd name="T9" fmla="*/ 0 h 774"/>
            </a:gdLst>
            <a:ahLst/>
            <a:cxnLst>
              <a:cxn ang="0">
                <a:pos x="T0" y="T1"/>
              </a:cxn>
              <a:cxn ang="0">
                <a:pos x="T2" y="T3"/>
              </a:cxn>
              <a:cxn ang="0">
                <a:pos x="T4" y="T5"/>
              </a:cxn>
              <a:cxn ang="0">
                <a:pos x="T6" y="T7"/>
              </a:cxn>
              <a:cxn ang="0">
                <a:pos x="T8" y="T9"/>
              </a:cxn>
            </a:cxnLst>
            <a:rect l="0" t="0" r="r" b="b"/>
            <a:pathLst>
              <a:path w="2588" h="774">
                <a:moveTo>
                  <a:pt x="0" y="0"/>
                </a:moveTo>
                <a:lnTo>
                  <a:pt x="0" y="774"/>
                </a:lnTo>
                <a:lnTo>
                  <a:pt x="2588" y="774"/>
                </a:lnTo>
                <a:lnTo>
                  <a:pt x="2213" y="0"/>
                </a:lnTo>
                <a:lnTo>
                  <a:pt x="0" y="0"/>
                </a:lnTo>
                <a:close/>
              </a:path>
            </a:pathLst>
          </a:custGeom>
          <a:noFill/>
          <a:ln>
            <a:gradFill>
              <a:gsLst>
                <a:gs pos="0">
                  <a:schemeClr val="accent1">
                    <a:lumMod val="60000"/>
                    <a:lumOff val="40000"/>
                  </a:schemeClr>
                </a:gs>
                <a:gs pos="100000">
                  <a:schemeClr val="accent1"/>
                </a:gs>
              </a:gsLst>
              <a:lin ang="5400000" scaled="1"/>
            </a:gradFill>
          </a:ln>
        </p:spPr>
        <p:txBody>
          <a:bodyPr vert="horz" wrap="square" lIns="457200" tIns="45720" rIns="91440" bIns="45720" numCol="1" anchor="ctr" anchorCtr="0" compatLnSpc="1">
            <a:prstTxWarp prst="textNoShape">
              <a:avLst/>
            </a:prstTxWarp>
          </a:bodyPr>
          <a:lstStyle/>
          <a:p>
            <a:pPr marL="0" marR="0" lvl="0" indent="0" algn="l" defTabSz="457200" rtl="0" eaLnBrk="1" fontAlgn="base" latinLnBrk="0" hangingPunct="1">
              <a:lnSpc>
                <a:spcPct val="130000"/>
              </a:lnSpc>
              <a:spcBef>
                <a:spcPts val="1000"/>
              </a:spcBef>
              <a:spcAft>
                <a:spcPts val="0"/>
              </a:spcAft>
              <a:buClrTx/>
              <a:buSzTx/>
              <a:buFontTx/>
              <a:buNone/>
              <a:tabLst/>
              <a:defRPr/>
            </a:pPr>
            <a:endParaRPr kumimoji="0" lang="en-US" sz="1000" b="0" i="0" u="none" strike="noStrike" kern="1200" cap="none" spc="0" normalizeH="0" baseline="0" noProof="0" dirty="0">
              <a:ln>
                <a:noFill/>
              </a:ln>
              <a:solidFill>
                <a:srgbClr val="FFFFFF">
                  <a:alpha val="70000"/>
                </a:srgbClr>
              </a:solidFill>
              <a:effectLst/>
              <a:uLnTx/>
              <a:uFillTx/>
              <a:latin typeface="Open Sans"/>
              <a:ea typeface="+mn-ea"/>
              <a:cs typeface="+mn-cs"/>
            </a:endParaRPr>
          </a:p>
        </p:txBody>
      </p:sp>
      <p:sp>
        <p:nvSpPr>
          <p:cNvPr id="6" name="Oval 12">
            <a:extLst>
              <a:ext uri="{FF2B5EF4-FFF2-40B4-BE49-F238E27FC236}">
                <a16:creationId xmlns:a16="http://schemas.microsoft.com/office/drawing/2014/main" id="{AE436F35-33E9-4751-8FA7-507149AAE5C9}"/>
              </a:ext>
            </a:extLst>
          </p:cNvPr>
          <p:cNvSpPr>
            <a:spLocks noChangeArrowheads="1"/>
          </p:cNvSpPr>
          <p:nvPr/>
        </p:nvSpPr>
        <p:spPr bwMode="auto">
          <a:xfrm>
            <a:off x="6524625" y="3492502"/>
            <a:ext cx="2649538" cy="385763"/>
          </a:xfrm>
          <a:prstGeom prst="ellipse">
            <a:avLst/>
          </a:prstGeom>
          <a:gradFill flip="none" rotWithShape="1">
            <a:gsLst>
              <a:gs pos="0">
                <a:schemeClr val="accent1">
                  <a:lumMod val="40000"/>
                  <a:lumOff val="60000"/>
                </a:schemeClr>
              </a:gs>
              <a:gs pos="100000">
                <a:schemeClr val="accent1"/>
              </a:gs>
            </a:gsLst>
            <a:path path="circle">
              <a:fillToRect l="100000" b="100000"/>
            </a:path>
            <a:tileRect t="-100000" r="-100000"/>
          </a:gradFill>
          <a:ln w="1270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armonyOS Sans SC"/>
              <a:cs typeface="+mn-cs"/>
            </a:endParaRPr>
          </a:p>
        </p:txBody>
      </p:sp>
      <p:sp>
        <p:nvSpPr>
          <p:cNvPr id="7" name="Freeform 9">
            <a:extLst>
              <a:ext uri="{FF2B5EF4-FFF2-40B4-BE49-F238E27FC236}">
                <a16:creationId xmlns:a16="http://schemas.microsoft.com/office/drawing/2014/main" id="{0F9E4A7D-B1CB-49C4-A918-2C049A0BB3DA}"/>
              </a:ext>
            </a:extLst>
          </p:cNvPr>
          <p:cNvSpPr>
            <a:spLocks/>
          </p:cNvSpPr>
          <p:nvPr/>
        </p:nvSpPr>
        <p:spPr bwMode="auto">
          <a:xfrm>
            <a:off x="3740150" y="5173663"/>
            <a:ext cx="4108450" cy="1228725"/>
          </a:xfrm>
          <a:custGeom>
            <a:avLst/>
            <a:gdLst>
              <a:gd name="T0" fmla="*/ 0 w 2588"/>
              <a:gd name="T1" fmla="*/ 0 h 774"/>
              <a:gd name="T2" fmla="*/ 0 w 2588"/>
              <a:gd name="T3" fmla="*/ 774 h 774"/>
              <a:gd name="T4" fmla="*/ 2588 w 2588"/>
              <a:gd name="T5" fmla="*/ 774 h 774"/>
              <a:gd name="T6" fmla="*/ 2213 w 2588"/>
              <a:gd name="T7" fmla="*/ 0 h 774"/>
              <a:gd name="T8" fmla="*/ 0 w 2588"/>
              <a:gd name="T9" fmla="*/ 0 h 774"/>
            </a:gdLst>
            <a:ahLst/>
            <a:cxnLst>
              <a:cxn ang="0">
                <a:pos x="T0" y="T1"/>
              </a:cxn>
              <a:cxn ang="0">
                <a:pos x="T2" y="T3"/>
              </a:cxn>
              <a:cxn ang="0">
                <a:pos x="T4" y="T5"/>
              </a:cxn>
              <a:cxn ang="0">
                <a:pos x="T6" y="T7"/>
              </a:cxn>
              <a:cxn ang="0">
                <a:pos x="T8" y="T9"/>
              </a:cxn>
            </a:cxnLst>
            <a:rect l="0" t="0" r="r" b="b"/>
            <a:pathLst>
              <a:path w="2588" h="774">
                <a:moveTo>
                  <a:pt x="0" y="0"/>
                </a:moveTo>
                <a:lnTo>
                  <a:pt x="0" y="774"/>
                </a:lnTo>
                <a:lnTo>
                  <a:pt x="2588" y="774"/>
                </a:lnTo>
                <a:lnTo>
                  <a:pt x="2213"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sp>
        <p:nvSpPr>
          <p:cNvPr id="8" name="Oval 10">
            <a:extLst>
              <a:ext uri="{FF2B5EF4-FFF2-40B4-BE49-F238E27FC236}">
                <a16:creationId xmlns:a16="http://schemas.microsoft.com/office/drawing/2014/main" id="{C1D8C588-325E-451D-9EF2-205C05CE2274}"/>
              </a:ext>
            </a:extLst>
          </p:cNvPr>
          <p:cNvSpPr>
            <a:spLocks noChangeArrowheads="1"/>
          </p:cNvSpPr>
          <p:nvPr/>
        </p:nvSpPr>
        <p:spPr bwMode="auto">
          <a:xfrm>
            <a:off x="7253288" y="5062539"/>
            <a:ext cx="1195388" cy="238125"/>
          </a:xfrm>
          <a:prstGeom prst="ellipse">
            <a:avLst/>
          </a:prstGeom>
          <a:gradFill flip="none" rotWithShape="1">
            <a:gsLst>
              <a:gs pos="0">
                <a:schemeClr val="accent1">
                  <a:lumMod val="40000"/>
                  <a:lumOff val="60000"/>
                </a:schemeClr>
              </a:gs>
              <a:gs pos="100000">
                <a:schemeClr val="accent1"/>
              </a:gs>
            </a:gsLst>
            <a:path path="circle">
              <a:fillToRect l="100000" b="100000"/>
            </a:path>
            <a:tileRect t="-100000" r="-100000"/>
          </a:gradFill>
          <a:ln w="1270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armonyOS Sans SC"/>
              <a:cs typeface="+mn-cs"/>
            </a:endParaRPr>
          </a:p>
        </p:txBody>
      </p:sp>
      <p:sp>
        <p:nvSpPr>
          <p:cNvPr id="9" name="Freeform 11">
            <a:extLst>
              <a:ext uri="{FF2B5EF4-FFF2-40B4-BE49-F238E27FC236}">
                <a16:creationId xmlns:a16="http://schemas.microsoft.com/office/drawing/2014/main" id="{D1BB2733-9B3C-4E88-BB45-A582FBF4D81B}"/>
              </a:ext>
            </a:extLst>
          </p:cNvPr>
          <p:cNvSpPr>
            <a:spLocks/>
          </p:cNvSpPr>
          <p:nvPr/>
        </p:nvSpPr>
        <p:spPr bwMode="auto">
          <a:xfrm>
            <a:off x="7253288" y="5180252"/>
            <a:ext cx="1195388" cy="1228725"/>
          </a:xfrm>
          <a:custGeom>
            <a:avLst/>
            <a:gdLst>
              <a:gd name="T0" fmla="*/ 187 w 375"/>
              <a:gd name="T1" fmla="*/ 37 h 386"/>
              <a:gd name="T2" fmla="*/ 0 w 375"/>
              <a:gd name="T3" fmla="*/ 0 h 386"/>
              <a:gd name="T4" fmla="*/ 187 w 375"/>
              <a:gd name="T5" fmla="*/ 386 h 386"/>
              <a:gd name="T6" fmla="*/ 375 w 375"/>
              <a:gd name="T7" fmla="*/ 0 h 386"/>
              <a:gd name="T8" fmla="*/ 187 w 375"/>
              <a:gd name="T9" fmla="*/ 37 h 386"/>
            </a:gdLst>
            <a:ahLst/>
            <a:cxnLst>
              <a:cxn ang="0">
                <a:pos x="T0" y="T1"/>
              </a:cxn>
              <a:cxn ang="0">
                <a:pos x="T2" y="T3"/>
              </a:cxn>
              <a:cxn ang="0">
                <a:pos x="T4" y="T5"/>
              </a:cxn>
              <a:cxn ang="0">
                <a:pos x="T6" y="T7"/>
              </a:cxn>
              <a:cxn ang="0">
                <a:pos x="T8" y="T9"/>
              </a:cxn>
            </a:cxnLst>
            <a:rect l="0" t="0" r="r" b="b"/>
            <a:pathLst>
              <a:path w="375" h="386">
                <a:moveTo>
                  <a:pt x="187" y="37"/>
                </a:moveTo>
                <a:cubicBezTo>
                  <a:pt x="84" y="37"/>
                  <a:pt x="0" y="0"/>
                  <a:pt x="0" y="0"/>
                </a:cubicBezTo>
                <a:cubicBezTo>
                  <a:pt x="187" y="386"/>
                  <a:pt x="187" y="386"/>
                  <a:pt x="187" y="386"/>
                </a:cubicBezTo>
                <a:cubicBezTo>
                  <a:pt x="375" y="0"/>
                  <a:pt x="375" y="0"/>
                  <a:pt x="375" y="0"/>
                </a:cubicBezTo>
                <a:cubicBezTo>
                  <a:pt x="375" y="0"/>
                  <a:pt x="291" y="37"/>
                  <a:pt x="187" y="37"/>
                </a:cubicBezTo>
              </a:path>
            </a:pathLst>
          </a:custGeom>
          <a:gradFill flip="none" rotWithShape="1">
            <a:gsLst>
              <a:gs pos="73000">
                <a:schemeClr val="accent1"/>
              </a:gs>
              <a:gs pos="31000">
                <a:schemeClr val="accent1">
                  <a:lumMod val="60000"/>
                  <a:lumOff val="40000"/>
                </a:schemeClr>
              </a:gs>
              <a:gs pos="0">
                <a:schemeClr val="accent1">
                  <a:lumMod val="40000"/>
                  <a:lumOff val="60000"/>
                </a:schemeClr>
              </a:gs>
            </a:gsLst>
            <a:lin ang="0" scaled="0"/>
            <a:tileRect/>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22222"/>
              </a:solidFill>
              <a:effectLst/>
              <a:uLnTx/>
              <a:uFillTx/>
              <a:latin typeface="HarmonyOS Sans SC"/>
              <a:cs typeface="+mn-cs"/>
            </a:endParaRPr>
          </a:p>
        </p:txBody>
      </p:sp>
      <p:sp>
        <p:nvSpPr>
          <p:cNvPr id="10" name="Freeform 14">
            <a:extLst>
              <a:ext uri="{FF2B5EF4-FFF2-40B4-BE49-F238E27FC236}">
                <a16:creationId xmlns:a16="http://schemas.microsoft.com/office/drawing/2014/main" id="{D11E2D17-26D3-4673-A17D-171348FE67BC}"/>
              </a:ext>
            </a:extLst>
          </p:cNvPr>
          <p:cNvSpPr>
            <a:spLocks/>
          </p:cNvSpPr>
          <p:nvPr/>
        </p:nvSpPr>
        <p:spPr bwMode="auto">
          <a:xfrm>
            <a:off x="2293938" y="2178051"/>
            <a:ext cx="4113213" cy="1231900"/>
          </a:xfrm>
          <a:custGeom>
            <a:avLst/>
            <a:gdLst>
              <a:gd name="T0" fmla="*/ 0 w 2591"/>
              <a:gd name="T1" fmla="*/ 0 h 776"/>
              <a:gd name="T2" fmla="*/ 0 w 2591"/>
              <a:gd name="T3" fmla="*/ 776 h 776"/>
              <a:gd name="T4" fmla="*/ 2591 w 2591"/>
              <a:gd name="T5" fmla="*/ 776 h 776"/>
              <a:gd name="T6" fmla="*/ 2213 w 2591"/>
              <a:gd name="T7" fmla="*/ 0 h 776"/>
              <a:gd name="T8" fmla="*/ 0 w 2591"/>
              <a:gd name="T9" fmla="*/ 0 h 776"/>
            </a:gdLst>
            <a:ahLst/>
            <a:cxnLst>
              <a:cxn ang="0">
                <a:pos x="T0" y="T1"/>
              </a:cxn>
              <a:cxn ang="0">
                <a:pos x="T2" y="T3"/>
              </a:cxn>
              <a:cxn ang="0">
                <a:pos x="T4" y="T5"/>
              </a:cxn>
              <a:cxn ang="0">
                <a:pos x="T6" y="T7"/>
              </a:cxn>
              <a:cxn ang="0">
                <a:pos x="T8" y="T9"/>
              </a:cxn>
            </a:cxnLst>
            <a:rect l="0" t="0" r="r" b="b"/>
            <a:pathLst>
              <a:path w="2591" h="776">
                <a:moveTo>
                  <a:pt x="0" y="0"/>
                </a:moveTo>
                <a:lnTo>
                  <a:pt x="0" y="776"/>
                </a:lnTo>
                <a:lnTo>
                  <a:pt x="2591" y="776"/>
                </a:lnTo>
                <a:lnTo>
                  <a:pt x="2213" y="0"/>
                </a:lnTo>
                <a:lnTo>
                  <a:pt x="0" y="0"/>
                </a:lnTo>
                <a:close/>
              </a:path>
            </a:pathLst>
          </a:custGeom>
          <a:noFill/>
          <a:ln>
            <a:gradFill>
              <a:gsLst>
                <a:gs pos="0">
                  <a:schemeClr val="accent1">
                    <a:lumMod val="60000"/>
                    <a:lumOff val="40000"/>
                  </a:schemeClr>
                </a:gs>
                <a:gs pos="100000">
                  <a:schemeClr val="accent1"/>
                </a:gs>
              </a:gsLst>
              <a:lin ang="5400000" scaled="1"/>
            </a:gradFill>
          </a:ln>
        </p:spPr>
        <p:txBody>
          <a:bodyPr vert="horz" wrap="square" lIns="457200" tIns="45720" rIns="91440" bIns="45720" numCol="1" anchor="ctr" anchorCtr="0" compatLnSpc="1">
            <a:prstTxWarp prst="textNoShape">
              <a:avLst/>
            </a:prstTxWarp>
          </a:bodyPr>
          <a:lstStyle/>
          <a:p>
            <a:pPr marL="0" marR="0" lvl="0" indent="0" algn="l" defTabSz="457200" rtl="0" eaLnBrk="1" fontAlgn="base" latinLnBrk="0" hangingPunct="1">
              <a:lnSpc>
                <a:spcPct val="130000"/>
              </a:lnSpc>
              <a:spcBef>
                <a:spcPts val="1000"/>
              </a:spcBef>
              <a:spcAft>
                <a:spcPts val="0"/>
              </a:spcAft>
              <a:buClrTx/>
              <a:buSzTx/>
              <a:buFontTx/>
              <a:buNone/>
              <a:tabLst/>
              <a:defRPr/>
            </a:pPr>
            <a:endParaRPr kumimoji="0" lang="en-US" sz="1000" b="0" i="0" u="none" strike="noStrike" kern="1200" cap="none" spc="0" normalizeH="0" baseline="0" noProof="0" dirty="0">
              <a:ln>
                <a:noFill/>
              </a:ln>
              <a:solidFill>
                <a:srgbClr val="FFFFFF">
                  <a:alpha val="70000"/>
                </a:srgbClr>
              </a:solidFill>
              <a:effectLst/>
              <a:uLnTx/>
              <a:uFillTx/>
              <a:latin typeface="Open Sans"/>
              <a:ea typeface="+mn-ea"/>
              <a:cs typeface="+mn-cs"/>
            </a:endParaRPr>
          </a:p>
        </p:txBody>
      </p:sp>
      <p:sp>
        <p:nvSpPr>
          <p:cNvPr id="11" name="Freeform 16">
            <a:extLst>
              <a:ext uri="{FF2B5EF4-FFF2-40B4-BE49-F238E27FC236}">
                <a16:creationId xmlns:a16="http://schemas.microsoft.com/office/drawing/2014/main" id="{0AF6E6F8-E0D9-4381-B1E4-A2C9521069A5}"/>
              </a:ext>
            </a:extLst>
          </p:cNvPr>
          <p:cNvSpPr>
            <a:spLocks/>
          </p:cNvSpPr>
          <p:nvPr/>
        </p:nvSpPr>
        <p:spPr bwMode="auto">
          <a:xfrm>
            <a:off x="5797550" y="2178052"/>
            <a:ext cx="4103688" cy="1419225"/>
          </a:xfrm>
          <a:custGeom>
            <a:avLst/>
            <a:gdLst>
              <a:gd name="T0" fmla="*/ 644 w 1288"/>
              <a:gd name="T1" fmla="*/ 54 h 446"/>
              <a:gd name="T2" fmla="*/ 0 w 1288"/>
              <a:gd name="T3" fmla="*/ 0 h 446"/>
              <a:gd name="T4" fmla="*/ 188 w 1288"/>
              <a:gd name="T5" fmla="*/ 387 h 446"/>
              <a:gd name="T6" fmla="*/ 644 w 1288"/>
              <a:gd name="T7" fmla="*/ 446 h 446"/>
              <a:gd name="T8" fmla="*/ 1100 w 1288"/>
              <a:gd name="T9" fmla="*/ 387 h 446"/>
              <a:gd name="T10" fmla="*/ 1288 w 1288"/>
              <a:gd name="T11" fmla="*/ 0 h 446"/>
              <a:gd name="T12" fmla="*/ 644 w 1288"/>
              <a:gd name="T13" fmla="*/ 54 h 446"/>
            </a:gdLst>
            <a:ahLst/>
            <a:cxnLst>
              <a:cxn ang="0">
                <a:pos x="T0" y="T1"/>
              </a:cxn>
              <a:cxn ang="0">
                <a:pos x="T2" y="T3"/>
              </a:cxn>
              <a:cxn ang="0">
                <a:pos x="T4" y="T5"/>
              </a:cxn>
              <a:cxn ang="0">
                <a:pos x="T6" y="T7"/>
              </a:cxn>
              <a:cxn ang="0">
                <a:pos x="T8" y="T9"/>
              </a:cxn>
              <a:cxn ang="0">
                <a:pos x="T10" y="T11"/>
              </a:cxn>
              <a:cxn ang="0">
                <a:pos x="T12" y="T13"/>
              </a:cxn>
            </a:cxnLst>
            <a:rect l="0" t="0" r="r" b="b"/>
            <a:pathLst>
              <a:path w="1288" h="446">
                <a:moveTo>
                  <a:pt x="644" y="54"/>
                </a:moveTo>
                <a:cubicBezTo>
                  <a:pt x="289" y="54"/>
                  <a:pt x="0" y="0"/>
                  <a:pt x="0" y="0"/>
                </a:cubicBezTo>
                <a:cubicBezTo>
                  <a:pt x="188" y="387"/>
                  <a:pt x="188" y="387"/>
                  <a:pt x="188" y="387"/>
                </a:cubicBezTo>
                <a:cubicBezTo>
                  <a:pt x="188" y="387"/>
                  <a:pt x="392" y="446"/>
                  <a:pt x="644" y="446"/>
                </a:cubicBezTo>
                <a:cubicBezTo>
                  <a:pt x="896" y="446"/>
                  <a:pt x="1100" y="387"/>
                  <a:pt x="1100" y="387"/>
                </a:cubicBezTo>
                <a:cubicBezTo>
                  <a:pt x="1288" y="0"/>
                  <a:pt x="1288" y="0"/>
                  <a:pt x="1288" y="0"/>
                </a:cubicBezTo>
                <a:cubicBezTo>
                  <a:pt x="1288" y="0"/>
                  <a:pt x="1000" y="54"/>
                  <a:pt x="644" y="54"/>
                </a:cubicBezTo>
              </a:path>
            </a:pathLst>
          </a:custGeom>
          <a:gradFill flip="none" rotWithShape="1">
            <a:gsLst>
              <a:gs pos="73000">
                <a:schemeClr val="accent1"/>
              </a:gs>
              <a:gs pos="31000">
                <a:schemeClr val="accent1">
                  <a:lumMod val="60000"/>
                  <a:lumOff val="40000"/>
                </a:schemeClr>
              </a:gs>
              <a:gs pos="0">
                <a:schemeClr val="accent1">
                  <a:lumMod val="40000"/>
                  <a:lumOff val="60000"/>
                </a:schemeClr>
              </a:gs>
            </a:gsLst>
            <a:lin ang="0" scaled="0"/>
            <a:tileRect/>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22222"/>
              </a:solidFill>
              <a:effectLst/>
              <a:uLnTx/>
              <a:uFillTx/>
              <a:latin typeface="HarmonyOS Sans SC"/>
              <a:cs typeface="+mn-cs"/>
            </a:endParaRPr>
          </a:p>
        </p:txBody>
      </p:sp>
      <p:sp>
        <p:nvSpPr>
          <p:cNvPr id="12" name="Freeform 17">
            <a:extLst>
              <a:ext uri="{FF2B5EF4-FFF2-40B4-BE49-F238E27FC236}">
                <a16:creationId xmlns:a16="http://schemas.microsoft.com/office/drawing/2014/main" id="{EB55C73D-580D-48C5-BAE8-80A3C48AFDBA}"/>
              </a:ext>
            </a:extLst>
          </p:cNvPr>
          <p:cNvSpPr>
            <a:spLocks/>
          </p:cNvSpPr>
          <p:nvPr/>
        </p:nvSpPr>
        <p:spPr bwMode="auto">
          <a:xfrm>
            <a:off x="1568450" y="681038"/>
            <a:ext cx="4111625" cy="1231900"/>
          </a:xfrm>
          <a:custGeom>
            <a:avLst/>
            <a:gdLst>
              <a:gd name="T0" fmla="*/ 2590 w 2590"/>
              <a:gd name="T1" fmla="*/ 776 h 776"/>
              <a:gd name="T2" fmla="*/ 2213 w 2590"/>
              <a:gd name="T3" fmla="*/ 0 h 776"/>
              <a:gd name="T4" fmla="*/ 0 w 2590"/>
              <a:gd name="T5" fmla="*/ 0 h 776"/>
              <a:gd name="T6" fmla="*/ 0 w 2590"/>
              <a:gd name="T7" fmla="*/ 776 h 776"/>
              <a:gd name="T8" fmla="*/ 2590 w 2590"/>
              <a:gd name="T9" fmla="*/ 776 h 776"/>
            </a:gdLst>
            <a:ahLst/>
            <a:cxnLst>
              <a:cxn ang="0">
                <a:pos x="T0" y="T1"/>
              </a:cxn>
              <a:cxn ang="0">
                <a:pos x="T2" y="T3"/>
              </a:cxn>
              <a:cxn ang="0">
                <a:pos x="T4" y="T5"/>
              </a:cxn>
              <a:cxn ang="0">
                <a:pos x="T6" y="T7"/>
              </a:cxn>
              <a:cxn ang="0">
                <a:pos x="T8" y="T9"/>
              </a:cxn>
            </a:cxnLst>
            <a:rect l="0" t="0" r="r" b="b"/>
            <a:pathLst>
              <a:path w="2590" h="776">
                <a:moveTo>
                  <a:pt x="2590" y="776"/>
                </a:moveTo>
                <a:lnTo>
                  <a:pt x="2213" y="0"/>
                </a:lnTo>
                <a:lnTo>
                  <a:pt x="0" y="0"/>
                </a:lnTo>
                <a:lnTo>
                  <a:pt x="0" y="776"/>
                </a:lnTo>
                <a:lnTo>
                  <a:pt x="2590" y="776"/>
                </a:lnTo>
                <a:close/>
              </a:path>
            </a:pathLst>
          </a:custGeom>
          <a:noFill/>
          <a:ln>
            <a:gradFill>
              <a:gsLst>
                <a:gs pos="0">
                  <a:schemeClr val="accent1">
                    <a:lumMod val="60000"/>
                    <a:lumOff val="40000"/>
                  </a:schemeClr>
                </a:gs>
                <a:gs pos="100000">
                  <a:schemeClr val="accent1"/>
                </a:gs>
              </a:gsLst>
              <a:lin ang="5400000" scaled="1"/>
            </a:gradFill>
          </a:ln>
        </p:spPr>
        <p:txBody>
          <a:bodyPr vert="horz" wrap="square" lIns="457200" tIns="45720" rIns="91440" bIns="45720" numCol="1" anchor="ctr" anchorCtr="0" compatLnSpc="1">
            <a:prstTxWarp prst="textNoShape">
              <a:avLst/>
            </a:prstTxWarp>
          </a:bodyPr>
          <a:lstStyle/>
          <a:p>
            <a:pPr marL="0" marR="0" lvl="0" indent="0" algn="l" defTabSz="457200" rtl="0" eaLnBrk="1" fontAlgn="base" latinLnBrk="0" hangingPunct="1">
              <a:lnSpc>
                <a:spcPct val="130000"/>
              </a:lnSpc>
              <a:spcBef>
                <a:spcPts val="1000"/>
              </a:spcBef>
              <a:spcAft>
                <a:spcPts val="0"/>
              </a:spcAft>
              <a:buClrTx/>
              <a:buSzTx/>
              <a:buFontTx/>
              <a:buNone/>
              <a:tabLst/>
              <a:defRPr/>
            </a:pPr>
            <a:endParaRPr kumimoji="0" lang="en-US" sz="1000" b="0" i="0" u="none" strike="noStrike" kern="1200" cap="none" spc="0" normalizeH="0" baseline="0" noProof="0" dirty="0">
              <a:ln>
                <a:noFill/>
              </a:ln>
              <a:solidFill>
                <a:srgbClr val="FFFFFF">
                  <a:alpha val="70000"/>
                </a:srgbClr>
              </a:solidFill>
              <a:effectLst/>
              <a:uLnTx/>
              <a:uFillTx/>
              <a:latin typeface="Open Sans"/>
              <a:ea typeface="+mn-ea"/>
              <a:cs typeface="+mn-cs"/>
            </a:endParaRPr>
          </a:p>
        </p:txBody>
      </p:sp>
      <p:sp>
        <p:nvSpPr>
          <p:cNvPr id="13" name="Oval 18">
            <a:extLst>
              <a:ext uri="{FF2B5EF4-FFF2-40B4-BE49-F238E27FC236}">
                <a16:creationId xmlns:a16="http://schemas.microsoft.com/office/drawing/2014/main" id="{54AD34D9-E5DE-4B7F-900C-E84600F2529E}"/>
              </a:ext>
            </a:extLst>
          </p:cNvPr>
          <p:cNvSpPr>
            <a:spLocks noChangeArrowheads="1"/>
          </p:cNvSpPr>
          <p:nvPr/>
        </p:nvSpPr>
        <p:spPr bwMode="auto">
          <a:xfrm>
            <a:off x="5072064" y="468314"/>
            <a:ext cx="5554663" cy="449263"/>
          </a:xfrm>
          <a:prstGeom prst="ellipse">
            <a:avLst/>
          </a:prstGeom>
          <a:gradFill flip="none" rotWithShape="1">
            <a:gsLst>
              <a:gs pos="0">
                <a:schemeClr val="accent1">
                  <a:lumMod val="40000"/>
                  <a:lumOff val="60000"/>
                </a:schemeClr>
              </a:gs>
              <a:gs pos="100000">
                <a:schemeClr val="accent1"/>
              </a:gs>
            </a:gsLst>
            <a:path path="circle">
              <a:fillToRect l="100000" b="100000"/>
            </a:path>
            <a:tileRect t="-100000" r="-100000"/>
          </a:gradFill>
          <a:ln w="1270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armonyOS Sans SC"/>
              <a:cs typeface="+mn-cs"/>
            </a:endParaRPr>
          </a:p>
        </p:txBody>
      </p:sp>
      <p:sp>
        <p:nvSpPr>
          <p:cNvPr id="14" name="Freeform 19">
            <a:extLst>
              <a:ext uri="{FF2B5EF4-FFF2-40B4-BE49-F238E27FC236}">
                <a16:creationId xmlns:a16="http://schemas.microsoft.com/office/drawing/2014/main" id="{E1A5F96B-DCBD-410C-A14E-9CB75AD9898E}"/>
              </a:ext>
            </a:extLst>
          </p:cNvPr>
          <p:cNvSpPr>
            <a:spLocks/>
          </p:cNvSpPr>
          <p:nvPr/>
        </p:nvSpPr>
        <p:spPr bwMode="auto">
          <a:xfrm>
            <a:off x="5072064" y="681038"/>
            <a:ext cx="5554663" cy="1455738"/>
          </a:xfrm>
          <a:custGeom>
            <a:avLst/>
            <a:gdLst>
              <a:gd name="T0" fmla="*/ 872 w 1744"/>
              <a:gd name="T1" fmla="*/ 71 h 457"/>
              <a:gd name="T2" fmla="*/ 0 w 1744"/>
              <a:gd name="T3" fmla="*/ 0 h 457"/>
              <a:gd name="T4" fmla="*/ 188 w 1744"/>
              <a:gd name="T5" fmla="*/ 387 h 457"/>
              <a:gd name="T6" fmla="*/ 872 w 1744"/>
              <a:gd name="T7" fmla="*/ 457 h 457"/>
              <a:gd name="T8" fmla="*/ 1557 w 1744"/>
              <a:gd name="T9" fmla="*/ 387 h 457"/>
              <a:gd name="T10" fmla="*/ 1744 w 1744"/>
              <a:gd name="T11" fmla="*/ 0 h 457"/>
              <a:gd name="T12" fmla="*/ 872 w 1744"/>
              <a:gd name="T13" fmla="*/ 71 h 457"/>
            </a:gdLst>
            <a:ahLst/>
            <a:cxnLst>
              <a:cxn ang="0">
                <a:pos x="T0" y="T1"/>
              </a:cxn>
              <a:cxn ang="0">
                <a:pos x="T2" y="T3"/>
              </a:cxn>
              <a:cxn ang="0">
                <a:pos x="T4" y="T5"/>
              </a:cxn>
              <a:cxn ang="0">
                <a:pos x="T6" y="T7"/>
              </a:cxn>
              <a:cxn ang="0">
                <a:pos x="T8" y="T9"/>
              </a:cxn>
              <a:cxn ang="0">
                <a:pos x="T10" y="T11"/>
              </a:cxn>
              <a:cxn ang="0">
                <a:pos x="T12" y="T13"/>
              </a:cxn>
            </a:cxnLst>
            <a:rect l="0" t="0" r="r" b="b"/>
            <a:pathLst>
              <a:path w="1744" h="457">
                <a:moveTo>
                  <a:pt x="872" y="71"/>
                </a:moveTo>
                <a:cubicBezTo>
                  <a:pt x="391" y="71"/>
                  <a:pt x="0" y="0"/>
                  <a:pt x="0" y="0"/>
                </a:cubicBezTo>
                <a:cubicBezTo>
                  <a:pt x="188" y="387"/>
                  <a:pt x="188" y="387"/>
                  <a:pt x="188" y="387"/>
                </a:cubicBezTo>
                <a:cubicBezTo>
                  <a:pt x="188" y="387"/>
                  <a:pt x="494" y="457"/>
                  <a:pt x="872" y="457"/>
                </a:cubicBezTo>
                <a:cubicBezTo>
                  <a:pt x="1250" y="457"/>
                  <a:pt x="1557" y="387"/>
                  <a:pt x="1557" y="387"/>
                </a:cubicBezTo>
                <a:cubicBezTo>
                  <a:pt x="1744" y="0"/>
                  <a:pt x="1744" y="0"/>
                  <a:pt x="1744" y="0"/>
                </a:cubicBezTo>
                <a:cubicBezTo>
                  <a:pt x="1744" y="0"/>
                  <a:pt x="1354" y="71"/>
                  <a:pt x="872" y="71"/>
                </a:cubicBezTo>
              </a:path>
            </a:pathLst>
          </a:custGeom>
          <a:gradFill flip="none" rotWithShape="1">
            <a:gsLst>
              <a:gs pos="73000">
                <a:schemeClr val="accent1"/>
              </a:gs>
              <a:gs pos="31000">
                <a:schemeClr val="accent1">
                  <a:lumMod val="60000"/>
                  <a:lumOff val="40000"/>
                </a:schemeClr>
              </a:gs>
              <a:gs pos="0">
                <a:schemeClr val="accent1">
                  <a:lumMod val="40000"/>
                  <a:lumOff val="60000"/>
                </a:schemeClr>
              </a:gs>
            </a:gsLst>
            <a:lin ang="0" scaled="0"/>
            <a:tileRect/>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22222"/>
              </a:solidFill>
              <a:effectLst/>
              <a:uLnTx/>
              <a:uFillTx/>
              <a:latin typeface="HarmonyOS Sans SC"/>
              <a:cs typeface="+mn-cs"/>
            </a:endParaRPr>
          </a:p>
        </p:txBody>
      </p:sp>
      <p:sp>
        <p:nvSpPr>
          <p:cNvPr id="15" name="Freeform 21">
            <a:extLst>
              <a:ext uri="{FF2B5EF4-FFF2-40B4-BE49-F238E27FC236}">
                <a16:creationId xmlns:a16="http://schemas.microsoft.com/office/drawing/2014/main" id="{23573B73-5CAE-4C63-8C99-30E2C132FABD}"/>
              </a:ext>
            </a:extLst>
          </p:cNvPr>
          <p:cNvSpPr>
            <a:spLocks/>
          </p:cNvSpPr>
          <p:nvPr/>
        </p:nvSpPr>
        <p:spPr bwMode="auto">
          <a:xfrm>
            <a:off x="5461000" y="741363"/>
            <a:ext cx="782638" cy="90488"/>
          </a:xfrm>
          <a:custGeom>
            <a:avLst/>
            <a:gdLst>
              <a:gd name="T0" fmla="*/ 0 w 246"/>
              <a:gd name="T1" fmla="*/ 0 h 28"/>
              <a:gd name="T2" fmla="*/ 246 w 246"/>
              <a:gd name="T3" fmla="*/ 28 h 28"/>
              <a:gd name="T4" fmla="*/ 246 w 246"/>
              <a:gd name="T5" fmla="*/ 28 h 28"/>
              <a:gd name="T6" fmla="*/ 0 w 246"/>
              <a:gd name="T7" fmla="*/ 0 h 28"/>
            </a:gdLst>
            <a:ahLst/>
            <a:cxnLst>
              <a:cxn ang="0">
                <a:pos x="T0" y="T1"/>
              </a:cxn>
              <a:cxn ang="0">
                <a:pos x="T2" y="T3"/>
              </a:cxn>
              <a:cxn ang="0">
                <a:pos x="T4" y="T5"/>
              </a:cxn>
              <a:cxn ang="0">
                <a:pos x="T6" y="T7"/>
              </a:cxn>
            </a:cxnLst>
            <a:rect l="0" t="0" r="r" b="b"/>
            <a:pathLst>
              <a:path w="246" h="28">
                <a:moveTo>
                  <a:pt x="0" y="0"/>
                </a:moveTo>
                <a:cubicBezTo>
                  <a:pt x="63" y="9"/>
                  <a:pt x="147" y="19"/>
                  <a:pt x="246" y="28"/>
                </a:cubicBezTo>
                <a:cubicBezTo>
                  <a:pt x="246" y="28"/>
                  <a:pt x="246" y="28"/>
                  <a:pt x="246" y="28"/>
                </a:cubicBezTo>
                <a:cubicBezTo>
                  <a:pt x="147" y="19"/>
                  <a:pt x="63" y="9"/>
                  <a:pt x="0" y="0"/>
                </a:cubicBezTo>
              </a:path>
            </a:pathLst>
          </a:custGeom>
          <a:solidFill>
            <a:srgbClr val="6D4C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16" name="Rectangle 27">
            <a:extLst>
              <a:ext uri="{FF2B5EF4-FFF2-40B4-BE49-F238E27FC236}">
                <a16:creationId xmlns:a16="http://schemas.microsoft.com/office/drawing/2014/main" id="{FC03B3B6-64BE-4E83-A4DE-26F67BC78C65}"/>
              </a:ext>
            </a:extLst>
          </p:cNvPr>
          <p:cNvSpPr>
            <a:spLocks noChangeArrowheads="1"/>
          </p:cNvSpPr>
          <p:nvPr/>
        </p:nvSpPr>
        <p:spPr bwMode="auto">
          <a:xfrm>
            <a:off x="7848600" y="6402388"/>
            <a:ext cx="1588" cy="1588"/>
          </a:xfrm>
          <a:prstGeom prst="rect">
            <a:avLst/>
          </a:prstGeom>
          <a:solidFill>
            <a:srgbClr val="FAFAF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17" name="Freeform 28">
            <a:extLst>
              <a:ext uri="{FF2B5EF4-FFF2-40B4-BE49-F238E27FC236}">
                <a16:creationId xmlns:a16="http://schemas.microsoft.com/office/drawing/2014/main" id="{347520E3-8E44-4940-96A4-48E711D2047E}"/>
              </a:ext>
            </a:extLst>
          </p:cNvPr>
          <p:cNvSpPr>
            <a:spLocks/>
          </p:cNvSpPr>
          <p:nvPr/>
        </p:nvSpPr>
        <p:spPr bwMode="auto">
          <a:xfrm>
            <a:off x="7848600" y="6402388"/>
            <a:ext cx="0" cy="0"/>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18" name="Rectangle 29">
            <a:extLst>
              <a:ext uri="{FF2B5EF4-FFF2-40B4-BE49-F238E27FC236}">
                <a16:creationId xmlns:a16="http://schemas.microsoft.com/office/drawing/2014/main" id="{B0B54A78-5114-46C3-95B1-9B6DDA3ED85B}"/>
              </a:ext>
            </a:extLst>
          </p:cNvPr>
          <p:cNvSpPr>
            <a:spLocks noChangeArrowheads="1"/>
          </p:cNvSpPr>
          <p:nvPr/>
        </p:nvSpPr>
        <p:spPr bwMode="auto">
          <a:xfrm>
            <a:off x="7848600" y="6402388"/>
            <a:ext cx="1588" cy="1588"/>
          </a:xfrm>
          <a:prstGeom prst="rect">
            <a:avLst/>
          </a:prstGeom>
          <a:solidFill>
            <a:srgbClr val="89E5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19" name="Rectangle 30">
            <a:extLst>
              <a:ext uri="{FF2B5EF4-FFF2-40B4-BE49-F238E27FC236}">
                <a16:creationId xmlns:a16="http://schemas.microsoft.com/office/drawing/2014/main" id="{F838B590-380F-4F1C-941E-E7E1E5616B5D}"/>
              </a:ext>
            </a:extLst>
          </p:cNvPr>
          <p:cNvSpPr>
            <a:spLocks noChangeArrowheads="1"/>
          </p:cNvSpPr>
          <p:nvPr/>
        </p:nvSpPr>
        <p:spPr bwMode="auto">
          <a:xfrm>
            <a:off x="7848600" y="64023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20" name="Freeform 31">
            <a:extLst>
              <a:ext uri="{FF2B5EF4-FFF2-40B4-BE49-F238E27FC236}">
                <a16:creationId xmlns:a16="http://schemas.microsoft.com/office/drawing/2014/main" id="{6B5C9B40-79CA-4D4A-8ECD-A528090EBF31}"/>
              </a:ext>
            </a:extLst>
          </p:cNvPr>
          <p:cNvSpPr>
            <a:spLocks/>
          </p:cNvSpPr>
          <p:nvPr/>
        </p:nvSpPr>
        <p:spPr bwMode="auto">
          <a:xfrm>
            <a:off x="7366000" y="5214939"/>
            <a:ext cx="152400" cy="41275"/>
          </a:xfrm>
          <a:custGeom>
            <a:avLst/>
            <a:gdLst>
              <a:gd name="T0" fmla="*/ 0 w 48"/>
              <a:gd name="T1" fmla="*/ 0 h 13"/>
              <a:gd name="T2" fmla="*/ 48 w 48"/>
              <a:gd name="T3" fmla="*/ 13 h 13"/>
              <a:gd name="T4" fmla="*/ 48 w 48"/>
              <a:gd name="T5" fmla="*/ 13 h 13"/>
              <a:gd name="T6" fmla="*/ 0 w 48"/>
              <a:gd name="T7" fmla="*/ 0 h 13"/>
            </a:gdLst>
            <a:ahLst/>
            <a:cxnLst>
              <a:cxn ang="0">
                <a:pos x="T0" y="T1"/>
              </a:cxn>
              <a:cxn ang="0">
                <a:pos x="T2" y="T3"/>
              </a:cxn>
              <a:cxn ang="0">
                <a:pos x="T4" y="T5"/>
              </a:cxn>
              <a:cxn ang="0">
                <a:pos x="T6" y="T7"/>
              </a:cxn>
            </a:cxnLst>
            <a:rect l="0" t="0" r="r" b="b"/>
            <a:pathLst>
              <a:path w="48" h="13">
                <a:moveTo>
                  <a:pt x="0" y="0"/>
                </a:moveTo>
                <a:cubicBezTo>
                  <a:pt x="13" y="4"/>
                  <a:pt x="30" y="9"/>
                  <a:pt x="48" y="13"/>
                </a:cubicBezTo>
                <a:cubicBezTo>
                  <a:pt x="48" y="13"/>
                  <a:pt x="48" y="13"/>
                  <a:pt x="48" y="13"/>
                </a:cubicBezTo>
                <a:cubicBezTo>
                  <a:pt x="30" y="9"/>
                  <a:pt x="13" y="4"/>
                  <a:pt x="0" y="0"/>
                </a:cubicBezTo>
              </a:path>
            </a:pathLst>
          </a:custGeom>
          <a:solidFill>
            <a:srgbClr val="00C2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21" name="Freeform 33">
            <a:extLst>
              <a:ext uri="{FF2B5EF4-FFF2-40B4-BE49-F238E27FC236}">
                <a16:creationId xmlns:a16="http://schemas.microsoft.com/office/drawing/2014/main" id="{1F3A37D1-AD6E-4168-8C96-A501EB292614}"/>
              </a:ext>
            </a:extLst>
          </p:cNvPr>
          <p:cNvSpPr>
            <a:spLocks noEditPoints="1"/>
          </p:cNvSpPr>
          <p:nvPr/>
        </p:nvSpPr>
        <p:spPr bwMode="auto">
          <a:xfrm>
            <a:off x="7848600" y="5173664"/>
            <a:ext cx="600075" cy="1228725"/>
          </a:xfrm>
          <a:custGeom>
            <a:avLst/>
            <a:gdLst>
              <a:gd name="T0" fmla="*/ 0 w 188"/>
              <a:gd name="T1" fmla="*/ 386 h 386"/>
              <a:gd name="T2" fmla="*/ 0 w 188"/>
              <a:gd name="T3" fmla="*/ 386 h 386"/>
              <a:gd name="T4" fmla="*/ 0 w 188"/>
              <a:gd name="T5" fmla="*/ 386 h 386"/>
              <a:gd name="T6" fmla="*/ 0 w 188"/>
              <a:gd name="T7" fmla="*/ 386 h 386"/>
              <a:gd name="T8" fmla="*/ 188 w 188"/>
              <a:gd name="T9" fmla="*/ 0 h 386"/>
              <a:gd name="T10" fmla="*/ 188 w 188"/>
              <a:gd name="T11" fmla="*/ 0 h 386"/>
              <a:gd name="T12" fmla="*/ 102 w 188"/>
              <a:gd name="T13" fmla="*/ 177 h 386"/>
              <a:gd name="T14" fmla="*/ 188 w 188"/>
              <a:gd name="T15" fmla="*/ 0 h 3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8" h="386">
                <a:moveTo>
                  <a:pt x="0" y="386"/>
                </a:moveTo>
                <a:cubicBezTo>
                  <a:pt x="0" y="386"/>
                  <a:pt x="0" y="386"/>
                  <a:pt x="0" y="386"/>
                </a:cubicBezTo>
                <a:cubicBezTo>
                  <a:pt x="0" y="386"/>
                  <a:pt x="0" y="386"/>
                  <a:pt x="0" y="386"/>
                </a:cubicBezTo>
                <a:cubicBezTo>
                  <a:pt x="0" y="386"/>
                  <a:pt x="0" y="386"/>
                  <a:pt x="0" y="386"/>
                </a:cubicBezTo>
                <a:moveTo>
                  <a:pt x="188" y="0"/>
                </a:moveTo>
                <a:cubicBezTo>
                  <a:pt x="188" y="0"/>
                  <a:pt x="188" y="0"/>
                  <a:pt x="188" y="0"/>
                </a:cubicBezTo>
                <a:cubicBezTo>
                  <a:pt x="102" y="177"/>
                  <a:pt x="102" y="177"/>
                  <a:pt x="102" y="177"/>
                </a:cubicBezTo>
                <a:cubicBezTo>
                  <a:pt x="188" y="0"/>
                  <a:pt x="188" y="0"/>
                  <a:pt x="188" y="0"/>
                </a:cubicBezTo>
              </a:path>
            </a:pathLst>
          </a:custGeom>
          <a:solidFill>
            <a:srgbClr val="ADAD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22" name="Rectangle 34">
            <a:extLst>
              <a:ext uri="{FF2B5EF4-FFF2-40B4-BE49-F238E27FC236}">
                <a16:creationId xmlns:a16="http://schemas.microsoft.com/office/drawing/2014/main" id="{B39F2A51-8160-4EA0-B96D-5DC3BD3AAFD3}"/>
              </a:ext>
            </a:extLst>
          </p:cNvPr>
          <p:cNvSpPr>
            <a:spLocks noChangeArrowheads="1"/>
          </p:cNvSpPr>
          <p:nvPr/>
        </p:nvSpPr>
        <p:spPr bwMode="auto">
          <a:xfrm>
            <a:off x="7848600" y="6402388"/>
            <a:ext cx="1588" cy="1588"/>
          </a:xfrm>
          <a:prstGeom prst="rect">
            <a:avLst/>
          </a:prstGeom>
          <a:solidFill>
            <a:srgbClr val="42C8D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23" name="Rectangle 35">
            <a:extLst>
              <a:ext uri="{FF2B5EF4-FFF2-40B4-BE49-F238E27FC236}">
                <a16:creationId xmlns:a16="http://schemas.microsoft.com/office/drawing/2014/main" id="{03166823-4E03-4642-A460-9DA30AEC5108}"/>
              </a:ext>
            </a:extLst>
          </p:cNvPr>
          <p:cNvSpPr>
            <a:spLocks noChangeArrowheads="1"/>
          </p:cNvSpPr>
          <p:nvPr/>
        </p:nvSpPr>
        <p:spPr bwMode="auto">
          <a:xfrm>
            <a:off x="7848600" y="6402388"/>
            <a:ext cx="1588"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24" name="Freeform 36">
            <a:extLst>
              <a:ext uri="{FF2B5EF4-FFF2-40B4-BE49-F238E27FC236}">
                <a16:creationId xmlns:a16="http://schemas.microsoft.com/office/drawing/2014/main" id="{677151E0-CBC4-41D2-822F-678AFF88E5DA}"/>
              </a:ext>
            </a:extLst>
          </p:cNvPr>
          <p:cNvSpPr>
            <a:spLocks/>
          </p:cNvSpPr>
          <p:nvPr/>
        </p:nvSpPr>
        <p:spPr bwMode="auto">
          <a:xfrm>
            <a:off x="8174038" y="5183188"/>
            <a:ext cx="246063" cy="73025"/>
          </a:xfrm>
          <a:custGeom>
            <a:avLst/>
            <a:gdLst>
              <a:gd name="T0" fmla="*/ 77 w 77"/>
              <a:gd name="T1" fmla="*/ 0 h 23"/>
              <a:gd name="T2" fmla="*/ 0 w 77"/>
              <a:gd name="T3" fmla="*/ 23 h 23"/>
              <a:gd name="T4" fmla="*/ 0 w 77"/>
              <a:gd name="T5" fmla="*/ 23 h 23"/>
              <a:gd name="T6" fmla="*/ 77 w 77"/>
              <a:gd name="T7" fmla="*/ 0 h 23"/>
            </a:gdLst>
            <a:ahLst/>
            <a:cxnLst>
              <a:cxn ang="0">
                <a:pos x="T0" y="T1"/>
              </a:cxn>
              <a:cxn ang="0">
                <a:pos x="T2" y="T3"/>
              </a:cxn>
              <a:cxn ang="0">
                <a:pos x="T4" y="T5"/>
              </a:cxn>
              <a:cxn ang="0">
                <a:pos x="T6" y="T7"/>
              </a:cxn>
            </a:cxnLst>
            <a:rect l="0" t="0" r="r" b="b"/>
            <a:pathLst>
              <a:path w="77" h="23">
                <a:moveTo>
                  <a:pt x="77" y="0"/>
                </a:moveTo>
                <a:cubicBezTo>
                  <a:pt x="64" y="5"/>
                  <a:pt x="36" y="15"/>
                  <a:pt x="0" y="23"/>
                </a:cubicBezTo>
                <a:cubicBezTo>
                  <a:pt x="0" y="23"/>
                  <a:pt x="0" y="23"/>
                  <a:pt x="0" y="23"/>
                </a:cubicBezTo>
                <a:cubicBezTo>
                  <a:pt x="36" y="15"/>
                  <a:pt x="64" y="5"/>
                  <a:pt x="77" y="0"/>
                </a:cubicBezTo>
              </a:path>
            </a:pathLst>
          </a:custGeom>
          <a:solidFill>
            <a:srgbClr val="008A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25" name="Freeform 37">
            <a:extLst>
              <a:ext uri="{FF2B5EF4-FFF2-40B4-BE49-F238E27FC236}">
                <a16:creationId xmlns:a16="http://schemas.microsoft.com/office/drawing/2014/main" id="{0935883E-265D-40A5-9316-0F5DEF3B12C5}"/>
              </a:ext>
            </a:extLst>
          </p:cNvPr>
          <p:cNvSpPr>
            <a:spLocks/>
          </p:cNvSpPr>
          <p:nvPr/>
        </p:nvSpPr>
        <p:spPr bwMode="auto">
          <a:xfrm>
            <a:off x="7848600" y="5173664"/>
            <a:ext cx="600075" cy="1228725"/>
          </a:xfrm>
          <a:custGeom>
            <a:avLst/>
            <a:gdLst>
              <a:gd name="T0" fmla="*/ 188 w 188"/>
              <a:gd name="T1" fmla="*/ 0 h 386"/>
              <a:gd name="T2" fmla="*/ 179 w 188"/>
              <a:gd name="T3" fmla="*/ 3 h 386"/>
              <a:gd name="T4" fmla="*/ 102 w 188"/>
              <a:gd name="T5" fmla="*/ 26 h 386"/>
              <a:gd name="T6" fmla="*/ 0 w 188"/>
              <a:gd name="T7" fmla="*/ 386 h 386"/>
              <a:gd name="T8" fmla="*/ 0 w 188"/>
              <a:gd name="T9" fmla="*/ 386 h 386"/>
              <a:gd name="T10" fmla="*/ 102 w 188"/>
              <a:gd name="T11" fmla="*/ 177 h 386"/>
              <a:gd name="T12" fmla="*/ 188 w 188"/>
              <a:gd name="T13" fmla="*/ 0 h 386"/>
            </a:gdLst>
            <a:ahLst/>
            <a:cxnLst>
              <a:cxn ang="0">
                <a:pos x="T0" y="T1"/>
              </a:cxn>
              <a:cxn ang="0">
                <a:pos x="T2" y="T3"/>
              </a:cxn>
              <a:cxn ang="0">
                <a:pos x="T4" y="T5"/>
              </a:cxn>
              <a:cxn ang="0">
                <a:pos x="T6" y="T7"/>
              </a:cxn>
              <a:cxn ang="0">
                <a:pos x="T8" y="T9"/>
              </a:cxn>
              <a:cxn ang="0">
                <a:pos x="T10" y="T11"/>
              </a:cxn>
              <a:cxn ang="0">
                <a:pos x="T12" y="T13"/>
              </a:cxn>
            </a:cxnLst>
            <a:rect l="0" t="0" r="r" b="b"/>
            <a:pathLst>
              <a:path w="188" h="386">
                <a:moveTo>
                  <a:pt x="188" y="0"/>
                </a:moveTo>
                <a:cubicBezTo>
                  <a:pt x="188" y="0"/>
                  <a:pt x="185" y="1"/>
                  <a:pt x="179" y="3"/>
                </a:cubicBezTo>
                <a:cubicBezTo>
                  <a:pt x="166" y="8"/>
                  <a:pt x="138" y="18"/>
                  <a:pt x="102" y="26"/>
                </a:cubicBezTo>
                <a:cubicBezTo>
                  <a:pt x="0" y="386"/>
                  <a:pt x="0" y="386"/>
                  <a:pt x="0" y="386"/>
                </a:cubicBezTo>
                <a:cubicBezTo>
                  <a:pt x="0" y="386"/>
                  <a:pt x="0" y="386"/>
                  <a:pt x="0" y="386"/>
                </a:cubicBezTo>
                <a:cubicBezTo>
                  <a:pt x="102" y="177"/>
                  <a:pt x="102" y="177"/>
                  <a:pt x="102" y="177"/>
                </a:cubicBezTo>
                <a:cubicBezTo>
                  <a:pt x="188" y="0"/>
                  <a:pt x="188" y="0"/>
                  <a:pt x="188" y="0"/>
                </a:cubicBezTo>
              </a:path>
            </a:pathLst>
          </a:custGeom>
          <a:solidFill>
            <a:schemeClr val="accent1">
              <a:lumMod val="75000"/>
              <a:alpha val="42000"/>
            </a:schemeClr>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26" name="Freeform 38">
            <a:extLst>
              <a:ext uri="{FF2B5EF4-FFF2-40B4-BE49-F238E27FC236}">
                <a16:creationId xmlns:a16="http://schemas.microsoft.com/office/drawing/2014/main" id="{C7229094-FD85-4DE0-B377-D79332582505}"/>
              </a:ext>
            </a:extLst>
          </p:cNvPr>
          <p:cNvSpPr>
            <a:spLocks/>
          </p:cNvSpPr>
          <p:nvPr/>
        </p:nvSpPr>
        <p:spPr bwMode="auto">
          <a:xfrm>
            <a:off x="8234363" y="5008563"/>
            <a:ext cx="98425" cy="28575"/>
          </a:xfrm>
          <a:custGeom>
            <a:avLst/>
            <a:gdLst>
              <a:gd name="T0" fmla="*/ 31 w 31"/>
              <a:gd name="T1" fmla="*/ 0 h 9"/>
              <a:gd name="T2" fmla="*/ 0 w 31"/>
              <a:gd name="T3" fmla="*/ 9 h 9"/>
              <a:gd name="T4" fmla="*/ 0 w 31"/>
              <a:gd name="T5" fmla="*/ 9 h 9"/>
              <a:gd name="T6" fmla="*/ 31 w 31"/>
              <a:gd name="T7" fmla="*/ 0 h 9"/>
            </a:gdLst>
            <a:ahLst/>
            <a:cxnLst>
              <a:cxn ang="0">
                <a:pos x="T0" y="T1"/>
              </a:cxn>
              <a:cxn ang="0">
                <a:pos x="T2" y="T3"/>
              </a:cxn>
              <a:cxn ang="0">
                <a:pos x="T4" y="T5"/>
              </a:cxn>
              <a:cxn ang="0">
                <a:pos x="T6" y="T7"/>
              </a:cxn>
            </a:cxnLst>
            <a:rect l="0" t="0" r="r" b="b"/>
            <a:pathLst>
              <a:path w="31" h="9">
                <a:moveTo>
                  <a:pt x="31" y="0"/>
                </a:moveTo>
                <a:cubicBezTo>
                  <a:pt x="22" y="3"/>
                  <a:pt x="11" y="6"/>
                  <a:pt x="0" y="9"/>
                </a:cubicBezTo>
                <a:cubicBezTo>
                  <a:pt x="0" y="9"/>
                  <a:pt x="0" y="9"/>
                  <a:pt x="0" y="9"/>
                </a:cubicBezTo>
                <a:cubicBezTo>
                  <a:pt x="11" y="6"/>
                  <a:pt x="22" y="3"/>
                  <a:pt x="31" y="0"/>
                </a:cubicBezTo>
              </a:path>
            </a:pathLst>
          </a:custGeom>
          <a:solidFill>
            <a:srgbClr val="ADAD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27" name="Freeform 39">
            <a:extLst>
              <a:ext uri="{FF2B5EF4-FFF2-40B4-BE49-F238E27FC236}">
                <a16:creationId xmlns:a16="http://schemas.microsoft.com/office/drawing/2014/main" id="{85FB6BC0-8DD5-4765-86C5-2AE9703D5A14}"/>
              </a:ext>
            </a:extLst>
          </p:cNvPr>
          <p:cNvSpPr>
            <a:spLocks/>
          </p:cNvSpPr>
          <p:nvPr/>
        </p:nvSpPr>
        <p:spPr bwMode="auto">
          <a:xfrm>
            <a:off x="8234363" y="3724275"/>
            <a:ext cx="906902" cy="1312863"/>
          </a:xfrm>
          <a:custGeom>
            <a:avLst/>
            <a:gdLst>
              <a:gd name="T0" fmla="*/ 295 w 295"/>
              <a:gd name="T1" fmla="*/ 0 h 427"/>
              <a:gd name="T2" fmla="*/ 195 w 295"/>
              <a:gd name="T3" fmla="*/ 25 h 427"/>
              <a:gd name="T4" fmla="*/ 109 w 295"/>
              <a:gd name="T5" fmla="*/ 41 h 427"/>
              <a:gd name="T6" fmla="*/ 0 w 295"/>
              <a:gd name="T7" fmla="*/ 427 h 427"/>
              <a:gd name="T8" fmla="*/ 31 w 295"/>
              <a:gd name="T9" fmla="*/ 418 h 427"/>
              <a:gd name="T10" fmla="*/ 107 w 295"/>
              <a:gd name="T11" fmla="*/ 386 h 427"/>
              <a:gd name="T12" fmla="*/ 295 w 295"/>
              <a:gd name="T13" fmla="*/ 0 h 427"/>
            </a:gdLst>
            <a:ahLst/>
            <a:cxnLst>
              <a:cxn ang="0">
                <a:pos x="T0" y="T1"/>
              </a:cxn>
              <a:cxn ang="0">
                <a:pos x="T2" y="T3"/>
              </a:cxn>
              <a:cxn ang="0">
                <a:pos x="T4" y="T5"/>
              </a:cxn>
              <a:cxn ang="0">
                <a:pos x="T6" y="T7"/>
              </a:cxn>
              <a:cxn ang="0">
                <a:pos x="T8" y="T9"/>
              </a:cxn>
              <a:cxn ang="0">
                <a:pos x="T10" y="T11"/>
              </a:cxn>
              <a:cxn ang="0">
                <a:pos x="T12" y="T13"/>
              </a:cxn>
            </a:cxnLst>
            <a:rect l="0" t="0" r="r" b="b"/>
            <a:pathLst>
              <a:path w="295" h="427">
                <a:moveTo>
                  <a:pt x="295" y="0"/>
                </a:moveTo>
                <a:cubicBezTo>
                  <a:pt x="293" y="0"/>
                  <a:pt x="256" y="12"/>
                  <a:pt x="195" y="25"/>
                </a:cubicBezTo>
                <a:cubicBezTo>
                  <a:pt x="170" y="30"/>
                  <a:pt x="141" y="36"/>
                  <a:pt x="109" y="41"/>
                </a:cubicBezTo>
                <a:cubicBezTo>
                  <a:pt x="0" y="427"/>
                  <a:pt x="0" y="427"/>
                  <a:pt x="0" y="427"/>
                </a:cubicBezTo>
                <a:cubicBezTo>
                  <a:pt x="11" y="424"/>
                  <a:pt x="22" y="421"/>
                  <a:pt x="31" y="418"/>
                </a:cubicBezTo>
                <a:cubicBezTo>
                  <a:pt x="78" y="402"/>
                  <a:pt x="107" y="386"/>
                  <a:pt x="107" y="386"/>
                </a:cubicBezTo>
                <a:cubicBezTo>
                  <a:pt x="295" y="0"/>
                  <a:pt x="295" y="0"/>
                  <a:pt x="295" y="0"/>
                </a:cubicBezTo>
              </a:path>
            </a:pathLst>
          </a:custGeom>
          <a:solidFill>
            <a:schemeClr val="accent1">
              <a:lumMod val="75000"/>
              <a:alpha val="42000"/>
            </a:schemeClr>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28" name="Freeform 44">
            <a:extLst>
              <a:ext uri="{FF2B5EF4-FFF2-40B4-BE49-F238E27FC236}">
                <a16:creationId xmlns:a16="http://schemas.microsoft.com/office/drawing/2014/main" id="{101A6A8D-B20F-45F7-ADD0-88C4F60828F9}"/>
              </a:ext>
            </a:extLst>
          </p:cNvPr>
          <p:cNvSpPr>
            <a:spLocks noEditPoints="1"/>
          </p:cNvSpPr>
          <p:nvPr/>
        </p:nvSpPr>
        <p:spPr bwMode="auto">
          <a:xfrm>
            <a:off x="8658225" y="2178051"/>
            <a:ext cx="1243013" cy="1358900"/>
          </a:xfrm>
          <a:custGeom>
            <a:avLst/>
            <a:gdLst>
              <a:gd name="T0" fmla="*/ 390 w 390"/>
              <a:gd name="T1" fmla="*/ 0 h 427"/>
              <a:gd name="T2" fmla="*/ 292 w 390"/>
              <a:gd name="T3" fmla="*/ 16 h 427"/>
              <a:gd name="T4" fmla="*/ 110 w 390"/>
              <a:gd name="T5" fmla="*/ 36 h 427"/>
              <a:gd name="T6" fmla="*/ 0 w 390"/>
              <a:gd name="T7" fmla="*/ 427 h 427"/>
              <a:gd name="T8" fmla="*/ 186 w 390"/>
              <a:gd name="T9" fmla="*/ 391 h 427"/>
              <a:gd name="T10" fmla="*/ 202 w 390"/>
              <a:gd name="T11" fmla="*/ 387 h 427"/>
              <a:gd name="T12" fmla="*/ 202 w 390"/>
              <a:gd name="T13" fmla="*/ 387 h 427"/>
              <a:gd name="T14" fmla="*/ 383 w 390"/>
              <a:gd name="T15" fmla="*/ 15 h 427"/>
              <a:gd name="T16" fmla="*/ 390 w 390"/>
              <a:gd name="T17" fmla="*/ 0 h 427"/>
              <a:gd name="T18" fmla="*/ 390 w 390"/>
              <a:gd name="T19" fmla="*/ 0 h 427"/>
              <a:gd name="T20" fmla="*/ 390 w 390"/>
              <a:gd name="T21" fmla="*/ 0 h 427"/>
              <a:gd name="T22" fmla="*/ 390 w 390"/>
              <a:gd name="T23" fmla="*/ 0 h 427"/>
              <a:gd name="T24" fmla="*/ 390 w 390"/>
              <a:gd name="T25" fmla="*/ 0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0" h="427">
                <a:moveTo>
                  <a:pt x="390" y="0"/>
                </a:moveTo>
                <a:cubicBezTo>
                  <a:pt x="390" y="0"/>
                  <a:pt x="354" y="7"/>
                  <a:pt x="292" y="16"/>
                </a:cubicBezTo>
                <a:cubicBezTo>
                  <a:pt x="245" y="22"/>
                  <a:pt x="183" y="30"/>
                  <a:pt x="110" y="36"/>
                </a:cubicBezTo>
                <a:cubicBezTo>
                  <a:pt x="0" y="427"/>
                  <a:pt x="0" y="427"/>
                  <a:pt x="0" y="427"/>
                </a:cubicBezTo>
                <a:cubicBezTo>
                  <a:pt x="90" y="415"/>
                  <a:pt x="157" y="399"/>
                  <a:pt x="186" y="391"/>
                </a:cubicBezTo>
                <a:cubicBezTo>
                  <a:pt x="197" y="389"/>
                  <a:pt x="202" y="387"/>
                  <a:pt x="202" y="387"/>
                </a:cubicBezTo>
                <a:cubicBezTo>
                  <a:pt x="202" y="387"/>
                  <a:pt x="202" y="387"/>
                  <a:pt x="202" y="387"/>
                </a:cubicBezTo>
                <a:cubicBezTo>
                  <a:pt x="383" y="15"/>
                  <a:pt x="383" y="15"/>
                  <a:pt x="383" y="15"/>
                </a:cubicBezTo>
                <a:cubicBezTo>
                  <a:pt x="390" y="0"/>
                  <a:pt x="390" y="0"/>
                  <a:pt x="390" y="0"/>
                </a:cubicBezTo>
                <a:moveTo>
                  <a:pt x="390" y="0"/>
                </a:moveTo>
                <a:cubicBezTo>
                  <a:pt x="390" y="0"/>
                  <a:pt x="390" y="0"/>
                  <a:pt x="390" y="0"/>
                </a:cubicBezTo>
                <a:cubicBezTo>
                  <a:pt x="390" y="0"/>
                  <a:pt x="390" y="0"/>
                  <a:pt x="390" y="0"/>
                </a:cubicBezTo>
                <a:cubicBezTo>
                  <a:pt x="390" y="0"/>
                  <a:pt x="390" y="0"/>
                  <a:pt x="390" y="0"/>
                </a:cubicBezTo>
              </a:path>
            </a:pathLst>
          </a:custGeom>
          <a:solidFill>
            <a:schemeClr val="accent1">
              <a:lumMod val="75000"/>
              <a:alpha val="42000"/>
            </a:schemeClr>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29" name="Freeform 45">
            <a:extLst>
              <a:ext uri="{FF2B5EF4-FFF2-40B4-BE49-F238E27FC236}">
                <a16:creationId xmlns:a16="http://schemas.microsoft.com/office/drawing/2014/main" id="{2416E4B4-8058-4C76-A68C-606124216DDE}"/>
              </a:ext>
            </a:extLst>
          </p:cNvPr>
          <p:cNvSpPr>
            <a:spLocks/>
          </p:cNvSpPr>
          <p:nvPr/>
        </p:nvSpPr>
        <p:spPr bwMode="auto">
          <a:xfrm>
            <a:off x="9075738" y="681038"/>
            <a:ext cx="1550988" cy="1385888"/>
          </a:xfrm>
          <a:custGeom>
            <a:avLst/>
            <a:gdLst>
              <a:gd name="T0" fmla="*/ 487 w 487"/>
              <a:gd name="T1" fmla="*/ 0 h 435"/>
              <a:gd name="T2" fmla="*/ 487 w 487"/>
              <a:gd name="T3" fmla="*/ 0 h 435"/>
              <a:gd name="T4" fmla="*/ 487 w 487"/>
              <a:gd name="T5" fmla="*/ 0 h 435"/>
              <a:gd name="T6" fmla="*/ 487 w 487"/>
              <a:gd name="T7" fmla="*/ 0 h 435"/>
              <a:gd name="T8" fmla="*/ 487 w 487"/>
              <a:gd name="T9" fmla="*/ 0 h 435"/>
              <a:gd name="T10" fmla="*/ 487 w 487"/>
              <a:gd name="T11" fmla="*/ 0 h 435"/>
              <a:gd name="T12" fmla="*/ 487 w 487"/>
              <a:gd name="T13" fmla="*/ 0 h 435"/>
              <a:gd name="T14" fmla="*/ 300 w 487"/>
              <a:gd name="T15" fmla="*/ 387 h 435"/>
              <a:gd name="T16" fmla="*/ 0 w 487"/>
              <a:gd name="T17" fmla="*/ 434 h 435"/>
              <a:gd name="T18" fmla="*/ 0 w 487"/>
              <a:gd name="T19" fmla="*/ 435 h 435"/>
              <a:gd name="T20" fmla="*/ 300 w 487"/>
              <a:gd name="T21" fmla="*/ 387 h 435"/>
              <a:gd name="T22" fmla="*/ 487 w 487"/>
              <a:gd name="T23" fmla="*/ 0 h 4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87" h="435">
                <a:moveTo>
                  <a:pt x="487" y="0"/>
                </a:moveTo>
                <a:cubicBezTo>
                  <a:pt x="487" y="0"/>
                  <a:pt x="487" y="0"/>
                  <a:pt x="487" y="0"/>
                </a:cubicBezTo>
                <a:cubicBezTo>
                  <a:pt x="487" y="0"/>
                  <a:pt x="487" y="0"/>
                  <a:pt x="487" y="0"/>
                </a:cubicBezTo>
                <a:cubicBezTo>
                  <a:pt x="487" y="0"/>
                  <a:pt x="487" y="0"/>
                  <a:pt x="487" y="0"/>
                </a:cubicBezTo>
                <a:cubicBezTo>
                  <a:pt x="487" y="0"/>
                  <a:pt x="487" y="0"/>
                  <a:pt x="487" y="0"/>
                </a:cubicBezTo>
                <a:cubicBezTo>
                  <a:pt x="487" y="0"/>
                  <a:pt x="487" y="0"/>
                  <a:pt x="487" y="0"/>
                </a:cubicBezTo>
                <a:cubicBezTo>
                  <a:pt x="487" y="0"/>
                  <a:pt x="487" y="0"/>
                  <a:pt x="487" y="0"/>
                </a:cubicBezTo>
                <a:cubicBezTo>
                  <a:pt x="300" y="387"/>
                  <a:pt x="300" y="387"/>
                  <a:pt x="300" y="387"/>
                </a:cubicBezTo>
                <a:cubicBezTo>
                  <a:pt x="300" y="387"/>
                  <a:pt x="181" y="414"/>
                  <a:pt x="0" y="434"/>
                </a:cubicBezTo>
                <a:cubicBezTo>
                  <a:pt x="0" y="435"/>
                  <a:pt x="0" y="435"/>
                  <a:pt x="0" y="435"/>
                </a:cubicBezTo>
                <a:cubicBezTo>
                  <a:pt x="181" y="414"/>
                  <a:pt x="300" y="387"/>
                  <a:pt x="300" y="387"/>
                </a:cubicBezTo>
                <a:cubicBezTo>
                  <a:pt x="487" y="0"/>
                  <a:pt x="487" y="0"/>
                  <a:pt x="487" y="0"/>
                </a:cubicBezTo>
              </a:path>
            </a:pathLst>
          </a:custGeom>
          <a:solidFill>
            <a:srgbClr val="ADAD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31" name="Freeform 47">
            <a:extLst>
              <a:ext uri="{FF2B5EF4-FFF2-40B4-BE49-F238E27FC236}">
                <a16:creationId xmlns:a16="http://schemas.microsoft.com/office/drawing/2014/main" id="{DFF8F6D9-91A7-4F53-A460-2995F850132E}"/>
              </a:ext>
            </a:extLst>
          </p:cNvPr>
          <p:cNvSpPr>
            <a:spLocks noEditPoints="1"/>
          </p:cNvSpPr>
          <p:nvPr/>
        </p:nvSpPr>
        <p:spPr bwMode="auto">
          <a:xfrm>
            <a:off x="9075738" y="681038"/>
            <a:ext cx="1550988" cy="1382713"/>
          </a:xfrm>
          <a:custGeom>
            <a:avLst/>
            <a:gdLst>
              <a:gd name="T0" fmla="*/ 487 w 487"/>
              <a:gd name="T1" fmla="*/ 0 h 434"/>
              <a:gd name="T2" fmla="*/ 109 w 487"/>
              <a:gd name="T3" fmla="*/ 48 h 434"/>
              <a:gd name="T4" fmla="*/ 0 w 487"/>
              <a:gd name="T5" fmla="*/ 434 h 434"/>
              <a:gd name="T6" fmla="*/ 300 w 487"/>
              <a:gd name="T7" fmla="*/ 387 h 434"/>
              <a:gd name="T8" fmla="*/ 487 w 487"/>
              <a:gd name="T9" fmla="*/ 0 h 434"/>
              <a:gd name="T10" fmla="*/ 487 w 487"/>
              <a:gd name="T11" fmla="*/ 0 h 434"/>
              <a:gd name="T12" fmla="*/ 487 w 487"/>
              <a:gd name="T13" fmla="*/ 0 h 434"/>
              <a:gd name="T14" fmla="*/ 487 w 487"/>
              <a:gd name="T15" fmla="*/ 0 h 434"/>
              <a:gd name="T16" fmla="*/ 487 w 487"/>
              <a:gd name="T17" fmla="*/ 0 h 4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7" h="434">
                <a:moveTo>
                  <a:pt x="487" y="0"/>
                </a:moveTo>
                <a:cubicBezTo>
                  <a:pt x="487" y="0"/>
                  <a:pt x="337" y="27"/>
                  <a:pt x="109" y="48"/>
                </a:cubicBezTo>
                <a:cubicBezTo>
                  <a:pt x="0" y="434"/>
                  <a:pt x="0" y="434"/>
                  <a:pt x="0" y="434"/>
                </a:cubicBezTo>
                <a:cubicBezTo>
                  <a:pt x="181" y="414"/>
                  <a:pt x="300" y="387"/>
                  <a:pt x="300" y="387"/>
                </a:cubicBezTo>
                <a:cubicBezTo>
                  <a:pt x="487" y="0"/>
                  <a:pt x="487" y="0"/>
                  <a:pt x="487" y="0"/>
                </a:cubicBezTo>
                <a:moveTo>
                  <a:pt x="487" y="0"/>
                </a:moveTo>
                <a:cubicBezTo>
                  <a:pt x="487" y="0"/>
                  <a:pt x="487" y="0"/>
                  <a:pt x="487" y="0"/>
                </a:cubicBezTo>
                <a:cubicBezTo>
                  <a:pt x="487" y="0"/>
                  <a:pt x="487" y="0"/>
                  <a:pt x="487" y="0"/>
                </a:cubicBezTo>
                <a:cubicBezTo>
                  <a:pt x="487" y="0"/>
                  <a:pt x="487" y="0"/>
                  <a:pt x="487" y="0"/>
                </a:cubicBezTo>
              </a:path>
            </a:pathLst>
          </a:custGeom>
          <a:solidFill>
            <a:schemeClr val="accent1">
              <a:lumMod val="75000"/>
              <a:alpha val="42000"/>
            </a:schemeClr>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HarmonyOS Sans SC"/>
              <a:cs typeface="+mn-cs"/>
            </a:endParaRPr>
          </a:p>
        </p:txBody>
      </p:sp>
      <p:grpSp>
        <p:nvGrpSpPr>
          <p:cNvPr id="36" name="组合 35">
            <a:extLst>
              <a:ext uri="{FF2B5EF4-FFF2-40B4-BE49-F238E27FC236}">
                <a16:creationId xmlns:a16="http://schemas.microsoft.com/office/drawing/2014/main" id="{3F9B4206-B916-4B2E-B001-EB1970CA7E90}"/>
              </a:ext>
            </a:extLst>
          </p:cNvPr>
          <p:cNvGrpSpPr/>
          <p:nvPr/>
        </p:nvGrpSpPr>
        <p:grpSpPr>
          <a:xfrm>
            <a:off x="4058896" y="5356227"/>
            <a:ext cx="3307104" cy="881603"/>
            <a:chOff x="2777087" y="3678059"/>
            <a:chExt cx="3307104" cy="881603"/>
          </a:xfrm>
        </p:grpSpPr>
        <p:sp>
          <p:nvSpPr>
            <p:cNvPr id="37" name="TextBox 65">
              <a:extLst>
                <a:ext uri="{FF2B5EF4-FFF2-40B4-BE49-F238E27FC236}">
                  <a16:creationId xmlns:a16="http://schemas.microsoft.com/office/drawing/2014/main" id="{20AE4324-3196-4D2E-AF03-11C60A7713D7}"/>
                </a:ext>
              </a:extLst>
            </p:cNvPr>
            <p:cNvSpPr txBox="1"/>
            <p:nvPr/>
          </p:nvSpPr>
          <p:spPr>
            <a:xfrm flipH="1">
              <a:off x="2777089" y="3678059"/>
              <a:ext cx="2056261" cy="387598"/>
            </a:xfrm>
            <a:prstGeom prst="rect">
              <a:avLst/>
            </a:prstGeom>
            <a:noFill/>
          </p:spPr>
          <p:txBody>
            <a:bodyPr wrap="square" lIns="0" tIns="36000" rIns="0" bIns="36000" rtlCol="0">
              <a:spAutoFit/>
            </a:bodyPr>
            <a:lstStyle/>
            <a:p>
              <a:pPr marL="0" marR="0" lvl="0" indent="0" algn="l" defTabSz="914400" rtl="0" eaLnBrk="1" fontAlgn="auto" latinLnBrk="0" hangingPunct="1">
                <a:lnSpc>
                  <a:spcPct val="120000"/>
                </a:lnSpc>
                <a:spcBef>
                  <a:spcPts val="600"/>
                </a:spcBef>
                <a:spcAft>
                  <a:spcPts val="0"/>
                </a:spcAft>
                <a:buClrTx/>
                <a:buSzTx/>
                <a:buFontTx/>
                <a:buNone/>
                <a:tabLst/>
                <a:defRPr/>
              </a:pPr>
              <a:r>
                <a:rPr kumimoji="0" lang="zh-CN" altLang="en-US" sz="1800" b="0" i="0" u="none" strike="noStrike" kern="1200" cap="none" spc="0" normalizeH="0" baseline="0" noProof="0" dirty="0">
                  <a:ln>
                    <a:noFill/>
                  </a:ln>
                  <a:solidFill>
                    <a:schemeClr val="accent1"/>
                  </a:solidFill>
                  <a:effectLst/>
                  <a:uLnTx/>
                  <a:uFillTx/>
                  <a:latin typeface="HarmonyOS Sans SC Black"/>
                  <a:ea typeface="+mj-ea"/>
                  <a:cs typeface="+mn-cs"/>
                </a:rPr>
                <a:t>关键词标题</a:t>
              </a:r>
              <a:endParaRPr kumimoji="0" lang="en-US" sz="1800" b="0" i="0" u="none" strike="noStrike" kern="1200" cap="none" spc="0" normalizeH="0" baseline="0" noProof="0" dirty="0">
                <a:ln>
                  <a:noFill/>
                </a:ln>
                <a:solidFill>
                  <a:schemeClr val="accent1"/>
                </a:solidFill>
                <a:effectLst/>
                <a:uLnTx/>
                <a:uFillTx/>
                <a:latin typeface="HarmonyOS Sans SC Black"/>
                <a:ea typeface="+mj-ea"/>
                <a:cs typeface="+mn-cs"/>
              </a:endParaRPr>
            </a:p>
          </p:txBody>
        </p:sp>
        <p:sp>
          <p:nvSpPr>
            <p:cNvPr id="38" name="TextBox 65">
              <a:extLst>
                <a:ext uri="{FF2B5EF4-FFF2-40B4-BE49-F238E27FC236}">
                  <a16:creationId xmlns:a16="http://schemas.microsoft.com/office/drawing/2014/main" id="{E3EC8618-2549-406A-9AE0-2DEF9C3828E1}"/>
                </a:ext>
              </a:extLst>
            </p:cNvPr>
            <p:cNvSpPr txBox="1"/>
            <p:nvPr/>
          </p:nvSpPr>
          <p:spPr>
            <a:xfrm flipH="1">
              <a:off x="2777087" y="4061458"/>
              <a:ext cx="3307104" cy="498204"/>
            </a:xfrm>
            <a:prstGeom prst="rect">
              <a:avLst/>
            </a:prstGeom>
            <a:noFill/>
          </p:spPr>
          <p:txBody>
            <a:bodyPr wrap="square" lIns="0" tIns="36000" rIns="0" bIns="36000" rtlCol="0">
              <a:spAutoFit/>
            </a:bodyPr>
            <a:lstStyle/>
            <a:p>
              <a:pPr marL="0" marR="0" lvl="0" indent="0" algn="l" defTabSz="914400" rtl="0" eaLnBrk="1" fontAlgn="auto" latinLnBrk="0" hangingPunct="1">
                <a:lnSpc>
                  <a:spcPct val="120000"/>
                </a:lnSpc>
                <a:spcBef>
                  <a:spcPts val="600"/>
                </a:spcBef>
                <a:spcAft>
                  <a:spcPts val="0"/>
                </a:spcAft>
                <a:buClrTx/>
                <a:buSzTx/>
                <a:buFontTx/>
                <a:buNone/>
                <a:tabLst/>
                <a:defRPr/>
              </a:pPr>
              <a:r>
                <a:rPr kumimoji="0" lang="en-US" sz="1200" b="0" i="0" u="none" strike="noStrike" kern="1200" cap="none" spc="0" normalizeH="0" baseline="0" noProof="0" dirty="0">
                  <a:ln>
                    <a:noFill/>
                  </a:ln>
                  <a:solidFill>
                    <a:prstClr val="black">
                      <a:lumMod val="50000"/>
                      <a:lumOff val="50000"/>
                    </a:prstClr>
                  </a:solidFill>
                  <a:effectLst/>
                  <a:uLnTx/>
                  <a:uFillTx/>
                  <a:latin typeface="HarmonyOS Sans SC"/>
                  <a:cs typeface="+mn-cs"/>
                </a:rPr>
                <a:t>Apparently we had reached a great height in the atmosphere, for the sky was a dead black.</a:t>
              </a:r>
            </a:p>
          </p:txBody>
        </p:sp>
      </p:grpSp>
      <p:grpSp>
        <p:nvGrpSpPr>
          <p:cNvPr id="39" name="组合 38">
            <a:extLst>
              <a:ext uri="{FF2B5EF4-FFF2-40B4-BE49-F238E27FC236}">
                <a16:creationId xmlns:a16="http://schemas.microsoft.com/office/drawing/2014/main" id="{2236A6BD-68F1-4747-AF2D-96ABA132437E}"/>
              </a:ext>
            </a:extLst>
          </p:cNvPr>
          <p:cNvGrpSpPr/>
          <p:nvPr/>
        </p:nvGrpSpPr>
        <p:grpSpPr>
          <a:xfrm>
            <a:off x="3236829" y="3860802"/>
            <a:ext cx="2859171" cy="881603"/>
            <a:chOff x="2777088" y="3678059"/>
            <a:chExt cx="2859171" cy="881603"/>
          </a:xfrm>
        </p:grpSpPr>
        <p:sp>
          <p:nvSpPr>
            <p:cNvPr id="40" name="TextBox 65">
              <a:extLst>
                <a:ext uri="{FF2B5EF4-FFF2-40B4-BE49-F238E27FC236}">
                  <a16:creationId xmlns:a16="http://schemas.microsoft.com/office/drawing/2014/main" id="{2B656DD7-A4BA-4A73-9D24-9D2FB7E87A5E}"/>
                </a:ext>
              </a:extLst>
            </p:cNvPr>
            <p:cNvSpPr txBox="1"/>
            <p:nvPr/>
          </p:nvSpPr>
          <p:spPr>
            <a:xfrm flipH="1">
              <a:off x="2777089" y="3678059"/>
              <a:ext cx="2056261" cy="387598"/>
            </a:xfrm>
            <a:prstGeom prst="rect">
              <a:avLst/>
            </a:prstGeom>
            <a:noFill/>
          </p:spPr>
          <p:txBody>
            <a:bodyPr wrap="square" lIns="0" tIns="36000" rIns="0" bIns="36000" rtlCol="0">
              <a:spAutoFit/>
            </a:bodyPr>
            <a:lstStyle/>
            <a:p>
              <a:pPr marL="0" marR="0" lvl="0" indent="0" algn="l" defTabSz="914400" rtl="0" eaLnBrk="1" fontAlgn="auto" latinLnBrk="0" hangingPunct="1">
                <a:lnSpc>
                  <a:spcPct val="120000"/>
                </a:lnSpc>
                <a:spcBef>
                  <a:spcPts val="600"/>
                </a:spcBef>
                <a:spcAft>
                  <a:spcPts val="0"/>
                </a:spcAft>
                <a:buClrTx/>
                <a:buSzTx/>
                <a:buFontTx/>
                <a:buNone/>
                <a:tabLst/>
                <a:defRPr/>
              </a:pPr>
              <a:r>
                <a:rPr kumimoji="0" lang="zh-CN" altLang="en-US" sz="1800" b="0" i="0" u="none" strike="noStrike" kern="1200" cap="none" spc="0" normalizeH="0" baseline="0" noProof="0" dirty="0">
                  <a:ln>
                    <a:noFill/>
                  </a:ln>
                  <a:solidFill>
                    <a:schemeClr val="accent1"/>
                  </a:solidFill>
                  <a:effectLst/>
                  <a:uLnTx/>
                  <a:uFillTx/>
                  <a:latin typeface="HarmonyOS Sans SC Black"/>
                  <a:ea typeface="+mj-ea"/>
                  <a:cs typeface="+mn-cs"/>
                </a:rPr>
                <a:t>关键词标题</a:t>
              </a:r>
              <a:endParaRPr kumimoji="0" lang="en-US" sz="1800" b="0" i="0" u="none" strike="noStrike" kern="1200" cap="none" spc="0" normalizeH="0" baseline="0" noProof="0" dirty="0">
                <a:ln>
                  <a:noFill/>
                </a:ln>
                <a:solidFill>
                  <a:schemeClr val="accent1"/>
                </a:solidFill>
                <a:effectLst/>
                <a:uLnTx/>
                <a:uFillTx/>
                <a:latin typeface="HarmonyOS Sans SC Black"/>
                <a:ea typeface="+mj-ea"/>
                <a:cs typeface="+mn-cs"/>
              </a:endParaRPr>
            </a:p>
          </p:txBody>
        </p:sp>
        <p:sp>
          <p:nvSpPr>
            <p:cNvPr id="41" name="TextBox 65">
              <a:extLst>
                <a:ext uri="{FF2B5EF4-FFF2-40B4-BE49-F238E27FC236}">
                  <a16:creationId xmlns:a16="http://schemas.microsoft.com/office/drawing/2014/main" id="{B2F63466-AAA8-45A5-84F6-B56297FB3E34}"/>
                </a:ext>
              </a:extLst>
            </p:cNvPr>
            <p:cNvSpPr txBox="1"/>
            <p:nvPr/>
          </p:nvSpPr>
          <p:spPr>
            <a:xfrm flipH="1">
              <a:off x="2777088" y="4061458"/>
              <a:ext cx="2859171" cy="498204"/>
            </a:xfrm>
            <a:prstGeom prst="rect">
              <a:avLst/>
            </a:prstGeom>
            <a:noFill/>
          </p:spPr>
          <p:txBody>
            <a:bodyPr wrap="square" lIns="0" tIns="36000" rIns="0" bIns="36000" rtlCol="0">
              <a:spAutoFit/>
            </a:bodyPr>
            <a:lstStyle/>
            <a:p>
              <a:pPr marL="0" marR="0" lvl="0" indent="0" algn="l" defTabSz="914400" rtl="0" eaLnBrk="1" fontAlgn="auto" latinLnBrk="0" hangingPunct="1">
                <a:lnSpc>
                  <a:spcPct val="120000"/>
                </a:lnSpc>
                <a:spcBef>
                  <a:spcPts val="600"/>
                </a:spcBef>
                <a:spcAft>
                  <a:spcPts val="0"/>
                </a:spcAft>
                <a:buClrTx/>
                <a:buSzTx/>
                <a:buFontTx/>
                <a:buNone/>
                <a:tabLst/>
                <a:defRPr/>
              </a:pPr>
              <a:r>
                <a:rPr kumimoji="0" lang="en-US" sz="1200" b="0" i="0" u="none" strike="noStrike" kern="1200" cap="none" spc="0" normalizeH="0" baseline="0" noProof="0" dirty="0">
                  <a:ln>
                    <a:noFill/>
                  </a:ln>
                  <a:solidFill>
                    <a:prstClr val="black">
                      <a:lumMod val="50000"/>
                      <a:lumOff val="50000"/>
                    </a:prstClr>
                  </a:solidFill>
                  <a:effectLst/>
                  <a:uLnTx/>
                  <a:uFillTx/>
                  <a:latin typeface="HarmonyOS Sans SC"/>
                  <a:cs typeface="+mn-cs"/>
                </a:rPr>
                <a:t>Apparently we had reached a great height in the atmosphere, for the sky.</a:t>
              </a:r>
            </a:p>
          </p:txBody>
        </p:sp>
      </p:grpSp>
      <p:grpSp>
        <p:nvGrpSpPr>
          <p:cNvPr id="42" name="组合 41">
            <a:extLst>
              <a:ext uri="{FF2B5EF4-FFF2-40B4-BE49-F238E27FC236}">
                <a16:creationId xmlns:a16="http://schemas.microsoft.com/office/drawing/2014/main" id="{E05F69BE-E245-45AA-A199-9E4DD35188B1}"/>
              </a:ext>
            </a:extLst>
          </p:cNvPr>
          <p:cNvGrpSpPr/>
          <p:nvPr/>
        </p:nvGrpSpPr>
        <p:grpSpPr>
          <a:xfrm>
            <a:off x="2584806" y="2365377"/>
            <a:ext cx="3377354" cy="881603"/>
            <a:chOff x="2777087" y="3678059"/>
            <a:chExt cx="3377354" cy="881603"/>
          </a:xfrm>
        </p:grpSpPr>
        <p:sp>
          <p:nvSpPr>
            <p:cNvPr id="43" name="TextBox 65">
              <a:extLst>
                <a:ext uri="{FF2B5EF4-FFF2-40B4-BE49-F238E27FC236}">
                  <a16:creationId xmlns:a16="http://schemas.microsoft.com/office/drawing/2014/main" id="{E1C2D110-619E-4981-B543-9A746A630FA1}"/>
                </a:ext>
              </a:extLst>
            </p:cNvPr>
            <p:cNvSpPr txBox="1"/>
            <p:nvPr/>
          </p:nvSpPr>
          <p:spPr>
            <a:xfrm flipH="1">
              <a:off x="2777089" y="3678059"/>
              <a:ext cx="2056261" cy="387598"/>
            </a:xfrm>
            <a:prstGeom prst="rect">
              <a:avLst/>
            </a:prstGeom>
            <a:noFill/>
          </p:spPr>
          <p:txBody>
            <a:bodyPr wrap="square" lIns="0" tIns="36000" rIns="0" bIns="36000" rtlCol="0">
              <a:spAutoFit/>
            </a:bodyPr>
            <a:lstStyle/>
            <a:p>
              <a:pPr marL="0" marR="0" lvl="0" indent="0" algn="l" defTabSz="914400" rtl="0" eaLnBrk="1" fontAlgn="auto" latinLnBrk="0" hangingPunct="1">
                <a:lnSpc>
                  <a:spcPct val="120000"/>
                </a:lnSpc>
                <a:spcBef>
                  <a:spcPts val="600"/>
                </a:spcBef>
                <a:spcAft>
                  <a:spcPts val="0"/>
                </a:spcAft>
                <a:buClrTx/>
                <a:buSzTx/>
                <a:buFontTx/>
                <a:buNone/>
                <a:tabLst/>
                <a:defRPr/>
              </a:pPr>
              <a:r>
                <a:rPr kumimoji="0" lang="zh-CN" altLang="en-US" sz="1800" b="0" i="0" u="none" strike="noStrike" kern="1200" cap="none" spc="0" normalizeH="0" baseline="0" noProof="0" dirty="0">
                  <a:ln>
                    <a:noFill/>
                  </a:ln>
                  <a:solidFill>
                    <a:schemeClr val="accent1"/>
                  </a:solidFill>
                  <a:effectLst/>
                  <a:uLnTx/>
                  <a:uFillTx/>
                  <a:latin typeface="HarmonyOS Sans SC Black"/>
                  <a:ea typeface="+mj-ea"/>
                  <a:cs typeface="+mn-cs"/>
                </a:rPr>
                <a:t>关键词标题</a:t>
              </a:r>
              <a:endParaRPr kumimoji="0" lang="en-US" sz="1800" b="0" i="0" u="none" strike="noStrike" kern="1200" cap="none" spc="0" normalizeH="0" baseline="0" noProof="0" dirty="0">
                <a:ln>
                  <a:noFill/>
                </a:ln>
                <a:solidFill>
                  <a:schemeClr val="accent1"/>
                </a:solidFill>
                <a:effectLst/>
                <a:uLnTx/>
                <a:uFillTx/>
                <a:latin typeface="HarmonyOS Sans SC Black"/>
                <a:ea typeface="+mj-ea"/>
                <a:cs typeface="+mn-cs"/>
              </a:endParaRPr>
            </a:p>
          </p:txBody>
        </p:sp>
        <p:sp>
          <p:nvSpPr>
            <p:cNvPr id="44" name="TextBox 65">
              <a:extLst>
                <a:ext uri="{FF2B5EF4-FFF2-40B4-BE49-F238E27FC236}">
                  <a16:creationId xmlns:a16="http://schemas.microsoft.com/office/drawing/2014/main" id="{07BF731B-E1D8-47FF-9556-1764C91A6E23}"/>
                </a:ext>
              </a:extLst>
            </p:cNvPr>
            <p:cNvSpPr txBox="1"/>
            <p:nvPr/>
          </p:nvSpPr>
          <p:spPr>
            <a:xfrm flipH="1">
              <a:off x="2777087" y="4061458"/>
              <a:ext cx="3377354" cy="498204"/>
            </a:xfrm>
            <a:prstGeom prst="rect">
              <a:avLst/>
            </a:prstGeom>
            <a:noFill/>
          </p:spPr>
          <p:txBody>
            <a:bodyPr wrap="square" lIns="0" tIns="36000" rIns="0" bIns="36000" rtlCol="0">
              <a:spAutoFit/>
            </a:bodyPr>
            <a:lstStyle/>
            <a:p>
              <a:pPr marL="0" marR="0" lvl="0" indent="0" algn="l" defTabSz="914400" rtl="0" eaLnBrk="1" fontAlgn="auto" latinLnBrk="0" hangingPunct="1">
                <a:lnSpc>
                  <a:spcPct val="120000"/>
                </a:lnSpc>
                <a:spcBef>
                  <a:spcPts val="600"/>
                </a:spcBef>
                <a:spcAft>
                  <a:spcPts val="0"/>
                </a:spcAft>
                <a:buClrTx/>
                <a:buSzTx/>
                <a:buFontTx/>
                <a:buNone/>
                <a:tabLst/>
                <a:defRPr/>
              </a:pPr>
              <a:r>
                <a:rPr kumimoji="0" lang="en-US" sz="1200" b="0" i="0" u="none" strike="noStrike" kern="1200" cap="none" spc="0" normalizeH="0" baseline="0" noProof="0" dirty="0">
                  <a:ln>
                    <a:noFill/>
                  </a:ln>
                  <a:solidFill>
                    <a:prstClr val="black">
                      <a:lumMod val="50000"/>
                      <a:lumOff val="50000"/>
                    </a:prstClr>
                  </a:solidFill>
                  <a:effectLst/>
                  <a:uLnTx/>
                  <a:uFillTx/>
                  <a:latin typeface="HarmonyOS Sans SC"/>
                  <a:cs typeface="+mn-cs"/>
                </a:rPr>
                <a:t>Apparently we had reached a great height in the atmosphere, for the sky was a dead black.</a:t>
              </a:r>
            </a:p>
          </p:txBody>
        </p:sp>
      </p:grpSp>
      <p:grpSp>
        <p:nvGrpSpPr>
          <p:cNvPr id="45" name="组合 44">
            <a:extLst>
              <a:ext uri="{FF2B5EF4-FFF2-40B4-BE49-F238E27FC236}">
                <a16:creationId xmlns:a16="http://schemas.microsoft.com/office/drawing/2014/main" id="{8E1AD020-70FE-413E-8415-186A0A57B0C1}"/>
              </a:ext>
            </a:extLst>
          </p:cNvPr>
          <p:cNvGrpSpPr/>
          <p:nvPr/>
        </p:nvGrpSpPr>
        <p:grpSpPr>
          <a:xfrm>
            <a:off x="1791669" y="869952"/>
            <a:ext cx="3174354" cy="881603"/>
            <a:chOff x="2777087" y="3678059"/>
            <a:chExt cx="3174354" cy="881603"/>
          </a:xfrm>
        </p:grpSpPr>
        <p:sp>
          <p:nvSpPr>
            <p:cNvPr id="46" name="TextBox 65">
              <a:extLst>
                <a:ext uri="{FF2B5EF4-FFF2-40B4-BE49-F238E27FC236}">
                  <a16:creationId xmlns:a16="http://schemas.microsoft.com/office/drawing/2014/main" id="{DC1ECDAA-D6DF-4906-B572-DF429AC6A00A}"/>
                </a:ext>
              </a:extLst>
            </p:cNvPr>
            <p:cNvSpPr txBox="1"/>
            <p:nvPr/>
          </p:nvSpPr>
          <p:spPr>
            <a:xfrm flipH="1">
              <a:off x="2777089" y="3678059"/>
              <a:ext cx="2056261" cy="387598"/>
            </a:xfrm>
            <a:prstGeom prst="rect">
              <a:avLst/>
            </a:prstGeom>
            <a:noFill/>
          </p:spPr>
          <p:txBody>
            <a:bodyPr wrap="square" lIns="0" tIns="36000" rIns="0" bIns="36000" rtlCol="0">
              <a:spAutoFit/>
            </a:bodyPr>
            <a:lstStyle/>
            <a:p>
              <a:pPr marL="0" marR="0" lvl="0" indent="0" algn="l" defTabSz="914400" rtl="0" eaLnBrk="1" fontAlgn="auto" latinLnBrk="0" hangingPunct="1">
                <a:lnSpc>
                  <a:spcPct val="120000"/>
                </a:lnSpc>
                <a:spcBef>
                  <a:spcPts val="600"/>
                </a:spcBef>
                <a:spcAft>
                  <a:spcPts val="0"/>
                </a:spcAft>
                <a:buClrTx/>
                <a:buSzTx/>
                <a:buFontTx/>
                <a:buNone/>
                <a:tabLst/>
                <a:defRPr/>
              </a:pPr>
              <a:r>
                <a:rPr kumimoji="0" lang="zh-CN" altLang="en-US" sz="1800" b="0" i="0" u="none" strike="noStrike" kern="1200" cap="none" spc="0" normalizeH="0" baseline="0" noProof="0" dirty="0">
                  <a:ln>
                    <a:noFill/>
                  </a:ln>
                  <a:solidFill>
                    <a:schemeClr val="accent1"/>
                  </a:solidFill>
                  <a:effectLst/>
                  <a:uLnTx/>
                  <a:uFillTx/>
                  <a:latin typeface="HarmonyOS Sans SC Black"/>
                  <a:ea typeface="+mj-ea"/>
                  <a:cs typeface="+mn-cs"/>
                </a:rPr>
                <a:t>关键词标题</a:t>
              </a:r>
              <a:endParaRPr kumimoji="0" lang="en-US" sz="1800" b="0" i="0" u="none" strike="noStrike" kern="1200" cap="none" spc="0" normalizeH="0" baseline="0" noProof="0" dirty="0">
                <a:ln>
                  <a:noFill/>
                </a:ln>
                <a:solidFill>
                  <a:schemeClr val="accent1"/>
                </a:solidFill>
                <a:effectLst/>
                <a:uLnTx/>
                <a:uFillTx/>
                <a:latin typeface="HarmonyOS Sans SC Black"/>
                <a:ea typeface="+mj-ea"/>
                <a:cs typeface="+mn-cs"/>
              </a:endParaRPr>
            </a:p>
          </p:txBody>
        </p:sp>
        <p:sp>
          <p:nvSpPr>
            <p:cNvPr id="47" name="TextBox 65">
              <a:extLst>
                <a:ext uri="{FF2B5EF4-FFF2-40B4-BE49-F238E27FC236}">
                  <a16:creationId xmlns:a16="http://schemas.microsoft.com/office/drawing/2014/main" id="{0A53080E-C7F9-45B6-9F58-4BA216D3C2BA}"/>
                </a:ext>
              </a:extLst>
            </p:cNvPr>
            <p:cNvSpPr txBox="1"/>
            <p:nvPr/>
          </p:nvSpPr>
          <p:spPr>
            <a:xfrm flipH="1">
              <a:off x="2777087" y="4061458"/>
              <a:ext cx="3174354" cy="498204"/>
            </a:xfrm>
            <a:prstGeom prst="rect">
              <a:avLst/>
            </a:prstGeom>
            <a:noFill/>
          </p:spPr>
          <p:txBody>
            <a:bodyPr wrap="square" lIns="0" tIns="36000" rIns="0" bIns="36000" rtlCol="0">
              <a:spAutoFit/>
            </a:bodyPr>
            <a:lstStyle/>
            <a:p>
              <a:pPr marL="0" marR="0" lvl="0" indent="0" algn="l" defTabSz="914400" rtl="0" eaLnBrk="1" fontAlgn="auto" latinLnBrk="0" hangingPunct="1">
                <a:lnSpc>
                  <a:spcPct val="120000"/>
                </a:lnSpc>
                <a:spcBef>
                  <a:spcPts val="600"/>
                </a:spcBef>
                <a:spcAft>
                  <a:spcPts val="0"/>
                </a:spcAft>
                <a:buClrTx/>
                <a:buSzTx/>
                <a:buFontTx/>
                <a:buNone/>
                <a:tabLst/>
                <a:defRPr/>
              </a:pPr>
              <a:r>
                <a:rPr kumimoji="0" lang="en-US" sz="1200" b="0" i="0" u="none" strike="noStrike" kern="1200" cap="none" spc="0" normalizeH="0" baseline="0" noProof="0" dirty="0">
                  <a:ln>
                    <a:noFill/>
                  </a:ln>
                  <a:solidFill>
                    <a:prstClr val="black">
                      <a:lumMod val="50000"/>
                      <a:lumOff val="50000"/>
                    </a:prstClr>
                  </a:solidFill>
                  <a:effectLst/>
                  <a:uLnTx/>
                  <a:uFillTx/>
                  <a:latin typeface="HarmonyOS Sans SC"/>
                  <a:cs typeface="+mn-cs"/>
                </a:rPr>
                <a:t>Apparently we had reached a great height in the atmosphere, for the sky was.</a:t>
              </a:r>
            </a:p>
          </p:txBody>
        </p:sp>
      </p:grpSp>
    </p:spTree>
    <p:extLst>
      <p:ext uri="{BB962C8B-B14F-4D97-AF65-F5344CB8AC3E}">
        <p14:creationId xmlns:p14="http://schemas.microsoft.com/office/powerpoint/2010/main" val="2407460145"/>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5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ight Triangle 61">
            <a:extLst>
              <a:ext uri="{FF2B5EF4-FFF2-40B4-BE49-F238E27FC236}">
                <a16:creationId xmlns:a16="http://schemas.microsoft.com/office/drawing/2014/main" id="{C97E8046-5D3C-4661-9FC4-39832CBDDEE8}"/>
              </a:ext>
            </a:extLst>
          </p:cNvPr>
          <p:cNvSpPr/>
          <p:nvPr/>
        </p:nvSpPr>
        <p:spPr>
          <a:xfrm flipV="1">
            <a:off x="1055689" y="803583"/>
            <a:ext cx="72580" cy="72177"/>
          </a:xfrm>
          <a:prstGeom prst="r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HarmonyOS Sans SC"/>
              <a:cs typeface="+mn-cs"/>
            </a:endParaRPr>
          </a:p>
        </p:txBody>
      </p:sp>
      <p:sp>
        <p:nvSpPr>
          <p:cNvPr id="25" name="文本框 24">
            <a:extLst>
              <a:ext uri="{FF2B5EF4-FFF2-40B4-BE49-F238E27FC236}">
                <a16:creationId xmlns:a16="http://schemas.microsoft.com/office/drawing/2014/main" id="{3F1001DF-FDA1-4F1F-ADD4-9E6C342C12DB}"/>
              </a:ext>
            </a:extLst>
          </p:cNvPr>
          <p:cNvSpPr txBox="1"/>
          <p:nvPr/>
        </p:nvSpPr>
        <p:spPr>
          <a:xfrm>
            <a:off x="941388" y="918105"/>
            <a:ext cx="3621504"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2800" b="0" i="0" u="none" strike="noStrike" kern="1200" cap="none" spc="0" normalizeH="0" baseline="0" noProof="0" dirty="0">
                <a:ln>
                  <a:noFill/>
                </a:ln>
                <a:solidFill>
                  <a:prstClr val="black"/>
                </a:solidFill>
                <a:effectLst/>
                <a:uLnTx/>
                <a:uFillTx/>
                <a:latin typeface="HarmonyOS Sans Black"/>
                <a:ea typeface="+mj-ea"/>
                <a:cs typeface="+mn-cs"/>
              </a:rPr>
              <a:t>Layer -</a:t>
            </a:r>
            <a:r>
              <a:rPr kumimoji="0" lang="en-US" altLang="zh-CN" sz="1800" b="0" i="0" u="none" strike="noStrike" kern="1200" cap="none" spc="0" normalizeH="0" baseline="0" noProof="0" dirty="0">
                <a:ln>
                  <a:noFill/>
                </a:ln>
                <a:solidFill>
                  <a:prstClr val="black"/>
                </a:solidFill>
                <a:effectLst/>
                <a:uLnTx/>
                <a:uFillTx/>
                <a:latin typeface="HarmonyOS Sans SC"/>
                <a:cs typeface="+mn-cs"/>
              </a:rPr>
              <a:t> </a:t>
            </a:r>
            <a:r>
              <a:rPr kumimoji="0" lang="en-US" altLang="zh-CN" sz="2800" b="0" i="0" u="none" strike="noStrike" kern="1200" cap="none" spc="0" normalizeH="0" baseline="0" noProof="0" dirty="0">
                <a:ln>
                  <a:noFill/>
                </a:ln>
                <a:solidFill>
                  <a:schemeClr val="accent1"/>
                </a:solidFill>
                <a:effectLst/>
                <a:uLnTx/>
                <a:uFillTx/>
                <a:latin typeface="HarmonyOS Sans Black"/>
                <a:ea typeface="+mj-ea"/>
                <a:cs typeface="+mn-cs"/>
              </a:rPr>
              <a:t>infographic</a:t>
            </a:r>
          </a:p>
        </p:txBody>
      </p:sp>
      <p:sp>
        <p:nvSpPr>
          <p:cNvPr id="31" name="TextBox 42">
            <a:extLst>
              <a:ext uri="{FF2B5EF4-FFF2-40B4-BE49-F238E27FC236}">
                <a16:creationId xmlns:a16="http://schemas.microsoft.com/office/drawing/2014/main" id="{F6C973CB-9807-413F-AA52-8EB9CC056D16}"/>
              </a:ext>
            </a:extLst>
          </p:cNvPr>
          <p:cNvSpPr txBox="1"/>
          <p:nvPr/>
        </p:nvSpPr>
        <p:spPr>
          <a:xfrm>
            <a:off x="7491913" y="3327021"/>
            <a:ext cx="3889978" cy="454218"/>
          </a:xfrm>
          <a:prstGeom prst="rect">
            <a:avLst/>
          </a:prstGeom>
          <a:noFill/>
        </p:spPr>
        <p:txBody>
          <a:bodyPr wrap="square" lIns="0" tIns="36000" rIns="0" bIns="36000" rtlCol="0">
            <a:spAutoFit/>
          </a:bodyPr>
          <a:lstStyle/>
          <a:p>
            <a:pPr marL="0" marR="0" lvl="0" indent="0" algn="l" defTabSz="914400" rtl="0" eaLnBrk="1" fontAlgn="auto" latinLnBrk="0" hangingPunct="1">
              <a:lnSpc>
                <a:spcPct val="130000"/>
              </a:lnSpc>
              <a:spcBef>
                <a:spcPts val="100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alpha val="70000"/>
                  </a:prstClr>
                </a:solidFill>
                <a:effectLst/>
                <a:uLnTx/>
                <a:uFillTx/>
                <a:latin typeface="HarmonyOS Sans SC"/>
                <a:cs typeface="+mn-cs"/>
              </a:rPr>
              <a:t>A peep at some distant orb has power to raise and purify our thoughts like a strain of sacred music.</a:t>
            </a:r>
          </a:p>
        </p:txBody>
      </p:sp>
      <p:sp>
        <p:nvSpPr>
          <p:cNvPr id="33" name="Freeform 60">
            <a:extLst>
              <a:ext uri="{FF2B5EF4-FFF2-40B4-BE49-F238E27FC236}">
                <a16:creationId xmlns:a16="http://schemas.microsoft.com/office/drawing/2014/main" id="{5523E02E-CD5A-4170-9E0E-D16D22E52228}"/>
              </a:ext>
            </a:extLst>
          </p:cNvPr>
          <p:cNvSpPr>
            <a:spLocks noEditPoints="1"/>
          </p:cNvSpPr>
          <p:nvPr/>
        </p:nvSpPr>
        <p:spPr bwMode="auto">
          <a:xfrm>
            <a:off x="6743525" y="3332751"/>
            <a:ext cx="478074" cy="442758"/>
          </a:xfrm>
          <a:custGeom>
            <a:avLst/>
            <a:gdLst>
              <a:gd name="T0" fmla="*/ 458768 w 160"/>
              <a:gd name="T1" fmla="*/ 401800 h 147"/>
              <a:gd name="T2" fmla="*/ 518934 w 160"/>
              <a:gd name="T3" fmla="*/ 394219 h 147"/>
              <a:gd name="T4" fmla="*/ 582861 w 160"/>
              <a:gd name="T5" fmla="*/ 367685 h 147"/>
              <a:gd name="T6" fmla="*/ 515174 w 160"/>
              <a:gd name="T7" fmla="*/ 174366 h 147"/>
              <a:gd name="T8" fmla="*/ 345956 w 160"/>
              <a:gd name="T9" fmla="*/ 60649 h 147"/>
              <a:gd name="T10" fmla="*/ 229384 w 160"/>
              <a:gd name="T11" fmla="*/ 0 h 147"/>
              <a:gd name="T12" fmla="*/ 109051 w 160"/>
              <a:gd name="T13" fmla="*/ 102345 h 147"/>
              <a:gd name="T14" fmla="*/ 101531 w 160"/>
              <a:gd name="T15" fmla="*/ 181947 h 147"/>
              <a:gd name="T16" fmla="*/ 116572 w 160"/>
              <a:gd name="T17" fmla="*/ 253968 h 147"/>
              <a:gd name="T18" fmla="*/ 150416 w 160"/>
              <a:gd name="T19" fmla="*/ 360104 h 147"/>
              <a:gd name="T20" fmla="*/ 48885 w 160"/>
              <a:gd name="T21" fmla="*/ 432124 h 147"/>
              <a:gd name="T22" fmla="*/ 0 w 160"/>
              <a:gd name="T23" fmla="*/ 557213 h 147"/>
              <a:gd name="T24" fmla="*/ 462528 w 160"/>
              <a:gd name="T25" fmla="*/ 557213 h 147"/>
              <a:gd name="T26" fmla="*/ 601663 w 160"/>
              <a:gd name="T27" fmla="*/ 519307 h 147"/>
              <a:gd name="T28" fmla="*/ 439966 w 160"/>
              <a:gd name="T29" fmla="*/ 534470 h 147"/>
              <a:gd name="T30" fmla="*/ 18802 w 160"/>
              <a:gd name="T31" fmla="*/ 511726 h 147"/>
              <a:gd name="T32" fmla="*/ 146655 w 160"/>
              <a:gd name="T33" fmla="*/ 401800 h 147"/>
              <a:gd name="T34" fmla="*/ 169218 w 160"/>
              <a:gd name="T35" fmla="*/ 318407 h 147"/>
              <a:gd name="T36" fmla="*/ 135374 w 160"/>
              <a:gd name="T37" fmla="*/ 246387 h 147"/>
              <a:gd name="T38" fmla="*/ 127853 w 160"/>
              <a:gd name="T39" fmla="*/ 238806 h 147"/>
              <a:gd name="T40" fmla="*/ 120333 w 160"/>
              <a:gd name="T41" fmla="*/ 181947 h 147"/>
              <a:gd name="T42" fmla="*/ 131614 w 160"/>
              <a:gd name="T43" fmla="*/ 162994 h 147"/>
              <a:gd name="T44" fmla="*/ 131614 w 160"/>
              <a:gd name="T45" fmla="*/ 98555 h 147"/>
              <a:gd name="T46" fmla="*/ 229384 w 160"/>
              <a:gd name="T47" fmla="*/ 18953 h 147"/>
              <a:gd name="T48" fmla="*/ 330915 w 160"/>
              <a:gd name="T49" fmla="*/ 79602 h 147"/>
              <a:gd name="T50" fmla="*/ 330915 w 160"/>
              <a:gd name="T51" fmla="*/ 83392 h 147"/>
              <a:gd name="T52" fmla="*/ 330915 w 160"/>
              <a:gd name="T53" fmla="*/ 87183 h 147"/>
              <a:gd name="T54" fmla="*/ 330915 w 160"/>
              <a:gd name="T55" fmla="*/ 90974 h 147"/>
              <a:gd name="T56" fmla="*/ 330915 w 160"/>
              <a:gd name="T57" fmla="*/ 94764 h 147"/>
              <a:gd name="T58" fmla="*/ 330915 w 160"/>
              <a:gd name="T59" fmla="*/ 94764 h 147"/>
              <a:gd name="T60" fmla="*/ 330915 w 160"/>
              <a:gd name="T61" fmla="*/ 162994 h 147"/>
              <a:gd name="T62" fmla="*/ 342196 w 160"/>
              <a:gd name="T63" fmla="*/ 181947 h 147"/>
              <a:gd name="T64" fmla="*/ 327154 w 160"/>
              <a:gd name="T65" fmla="*/ 242596 h 147"/>
              <a:gd name="T66" fmla="*/ 319633 w 160"/>
              <a:gd name="T67" fmla="*/ 246387 h 147"/>
              <a:gd name="T68" fmla="*/ 282030 w 160"/>
              <a:gd name="T69" fmla="*/ 318407 h 147"/>
              <a:gd name="T70" fmla="*/ 282030 w 160"/>
              <a:gd name="T71" fmla="*/ 360104 h 147"/>
              <a:gd name="T72" fmla="*/ 282030 w 160"/>
              <a:gd name="T73" fmla="*/ 371475 h 147"/>
              <a:gd name="T74" fmla="*/ 282030 w 160"/>
              <a:gd name="T75" fmla="*/ 379056 h 147"/>
              <a:gd name="T76" fmla="*/ 285790 w 160"/>
              <a:gd name="T77" fmla="*/ 382847 h 147"/>
              <a:gd name="T78" fmla="*/ 293311 w 160"/>
              <a:gd name="T79" fmla="*/ 394219 h 147"/>
              <a:gd name="T80" fmla="*/ 308352 w 160"/>
              <a:gd name="T81" fmla="*/ 401800 h 147"/>
              <a:gd name="T82" fmla="*/ 439966 w 160"/>
              <a:gd name="T83" fmla="*/ 515517 h 147"/>
              <a:gd name="T84" fmla="*/ 582861 w 160"/>
              <a:gd name="T85" fmla="*/ 534470 h 147"/>
              <a:gd name="T86" fmla="*/ 462528 w 160"/>
              <a:gd name="T87" fmla="*/ 515517 h 147"/>
              <a:gd name="T88" fmla="*/ 342196 w 160"/>
              <a:gd name="T89" fmla="*/ 398009 h 147"/>
              <a:gd name="T90" fmla="*/ 327154 w 160"/>
              <a:gd name="T91" fmla="*/ 375266 h 147"/>
              <a:gd name="T92" fmla="*/ 304592 w 160"/>
              <a:gd name="T93" fmla="*/ 371475 h 147"/>
              <a:gd name="T94" fmla="*/ 300832 w 160"/>
              <a:gd name="T95" fmla="*/ 360104 h 147"/>
              <a:gd name="T96" fmla="*/ 308352 w 160"/>
              <a:gd name="T97" fmla="*/ 318407 h 147"/>
              <a:gd name="T98" fmla="*/ 360998 w 160"/>
              <a:gd name="T99" fmla="*/ 223643 h 147"/>
              <a:gd name="T100" fmla="*/ 349717 w 160"/>
              <a:gd name="T101" fmla="*/ 155413 h 147"/>
              <a:gd name="T102" fmla="*/ 349717 w 160"/>
              <a:gd name="T103" fmla="*/ 79602 h 147"/>
              <a:gd name="T104" fmla="*/ 496372 w 160"/>
              <a:gd name="T105" fmla="*/ 174366 h 147"/>
              <a:gd name="T106" fmla="*/ 564059 w 160"/>
              <a:gd name="T107" fmla="*/ 363894 h 147"/>
              <a:gd name="T108" fmla="*/ 518934 w 160"/>
              <a:gd name="T109" fmla="*/ 375266 h 147"/>
              <a:gd name="T110" fmla="*/ 432445 w 160"/>
              <a:gd name="T111" fmla="*/ 382847 h 147"/>
              <a:gd name="T112" fmla="*/ 451247 w 160"/>
              <a:gd name="T113" fmla="*/ 420753 h 147"/>
              <a:gd name="T114" fmla="*/ 582861 w 160"/>
              <a:gd name="T115" fmla="*/ 519307 h 147"/>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160" h="147">
                <a:moveTo>
                  <a:pt x="148" y="117"/>
                </a:moveTo>
                <a:cubicBezTo>
                  <a:pt x="122" y="106"/>
                  <a:pt x="122" y="106"/>
                  <a:pt x="122" y="106"/>
                </a:cubicBezTo>
                <a:cubicBezTo>
                  <a:pt x="121" y="106"/>
                  <a:pt x="121" y="105"/>
                  <a:pt x="120" y="104"/>
                </a:cubicBezTo>
                <a:cubicBezTo>
                  <a:pt x="138" y="104"/>
                  <a:pt x="138" y="104"/>
                  <a:pt x="138" y="104"/>
                </a:cubicBezTo>
                <a:cubicBezTo>
                  <a:pt x="138" y="104"/>
                  <a:pt x="145" y="105"/>
                  <a:pt x="151" y="102"/>
                </a:cubicBezTo>
                <a:cubicBezTo>
                  <a:pt x="153" y="101"/>
                  <a:pt x="155" y="100"/>
                  <a:pt x="155" y="97"/>
                </a:cubicBezTo>
                <a:cubicBezTo>
                  <a:pt x="156" y="95"/>
                  <a:pt x="155" y="92"/>
                  <a:pt x="154" y="91"/>
                </a:cubicBezTo>
                <a:cubicBezTo>
                  <a:pt x="149" y="83"/>
                  <a:pt x="137" y="65"/>
                  <a:pt x="137" y="46"/>
                </a:cubicBezTo>
                <a:cubicBezTo>
                  <a:pt x="137" y="46"/>
                  <a:pt x="136" y="14"/>
                  <a:pt x="105" y="14"/>
                </a:cubicBezTo>
                <a:cubicBezTo>
                  <a:pt x="100" y="14"/>
                  <a:pt x="96" y="15"/>
                  <a:pt x="92" y="16"/>
                </a:cubicBezTo>
                <a:cubicBezTo>
                  <a:pt x="91" y="14"/>
                  <a:pt x="90" y="12"/>
                  <a:pt x="88" y="9"/>
                </a:cubicBezTo>
                <a:cubicBezTo>
                  <a:pt x="82" y="3"/>
                  <a:pt x="73" y="0"/>
                  <a:pt x="61" y="0"/>
                </a:cubicBezTo>
                <a:cubicBezTo>
                  <a:pt x="49" y="0"/>
                  <a:pt x="40" y="3"/>
                  <a:pt x="35" y="9"/>
                </a:cubicBezTo>
                <a:cubicBezTo>
                  <a:pt x="29" y="17"/>
                  <a:pt x="29" y="25"/>
                  <a:pt x="29" y="27"/>
                </a:cubicBezTo>
                <a:cubicBezTo>
                  <a:pt x="29" y="41"/>
                  <a:pt x="29" y="41"/>
                  <a:pt x="29" y="41"/>
                </a:cubicBezTo>
                <a:cubicBezTo>
                  <a:pt x="28" y="43"/>
                  <a:pt x="27" y="45"/>
                  <a:pt x="27" y="48"/>
                </a:cubicBezTo>
                <a:cubicBezTo>
                  <a:pt x="27" y="59"/>
                  <a:pt x="27" y="59"/>
                  <a:pt x="27" y="59"/>
                </a:cubicBezTo>
                <a:cubicBezTo>
                  <a:pt x="27" y="62"/>
                  <a:pt x="28" y="65"/>
                  <a:pt x="31" y="67"/>
                </a:cubicBezTo>
                <a:cubicBezTo>
                  <a:pt x="33" y="77"/>
                  <a:pt x="38" y="84"/>
                  <a:pt x="40" y="86"/>
                </a:cubicBezTo>
                <a:cubicBezTo>
                  <a:pt x="40" y="95"/>
                  <a:pt x="40" y="95"/>
                  <a:pt x="40" y="95"/>
                </a:cubicBezTo>
                <a:cubicBezTo>
                  <a:pt x="40" y="98"/>
                  <a:pt x="39" y="100"/>
                  <a:pt x="36" y="101"/>
                </a:cubicBezTo>
                <a:cubicBezTo>
                  <a:pt x="13" y="114"/>
                  <a:pt x="13" y="114"/>
                  <a:pt x="13" y="114"/>
                </a:cubicBezTo>
                <a:cubicBezTo>
                  <a:pt x="5" y="118"/>
                  <a:pt x="0" y="127"/>
                  <a:pt x="0" y="135"/>
                </a:cubicBezTo>
                <a:cubicBezTo>
                  <a:pt x="0" y="147"/>
                  <a:pt x="0" y="147"/>
                  <a:pt x="0" y="147"/>
                </a:cubicBezTo>
                <a:cubicBezTo>
                  <a:pt x="117" y="147"/>
                  <a:pt x="117" y="147"/>
                  <a:pt x="117" y="147"/>
                </a:cubicBezTo>
                <a:cubicBezTo>
                  <a:pt x="123" y="147"/>
                  <a:pt x="123" y="147"/>
                  <a:pt x="123" y="147"/>
                </a:cubicBezTo>
                <a:cubicBezTo>
                  <a:pt x="160" y="147"/>
                  <a:pt x="160" y="147"/>
                  <a:pt x="160" y="147"/>
                </a:cubicBezTo>
                <a:cubicBezTo>
                  <a:pt x="160" y="137"/>
                  <a:pt x="160" y="137"/>
                  <a:pt x="160" y="137"/>
                </a:cubicBezTo>
                <a:cubicBezTo>
                  <a:pt x="160" y="129"/>
                  <a:pt x="155" y="121"/>
                  <a:pt x="148" y="117"/>
                </a:cubicBezTo>
                <a:close/>
                <a:moveTo>
                  <a:pt x="117" y="141"/>
                </a:moveTo>
                <a:cubicBezTo>
                  <a:pt x="5" y="141"/>
                  <a:pt x="5" y="141"/>
                  <a:pt x="5" y="141"/>
                </a:cubicBezTo>
                <a:cubicBezTo>
                  <a:pt x="5" y="135"/>
                  <a:pt x="5" y="135"/>
                  <a:pt x="5" y="135"/>
                </a:cubicBezTo>
                <a:cubicBezTo>
                  <a:pt x="5" y="129"/>
                  <a:pt x="9" y="122"/>
                  <a:pt x="15" y="119"/>
                </a:cubicBezTo>
                <a:cubicBezTo>
                  <a:pt x="39" y="106"/>
                  <a:pt x="39" y="106"/>
                  <a:pt x="39" y="106"/>
                </a:cubicBezTo>
                <a:cubicBezTo>
                  <a:pt x="43" y="104"/>
                  <a:pt x="45" y="100"/>
                  <a:pt x="45" y="95"/>
                </a:cubicBezTo>
                <a:cubicBezTo>
                  <a:pt x="45" y="84"/>
                  <a:pt x="45" y="84"/>
                  <a:pt x="45" y="84"/>
                </a:cubicBezTo>
                <a:cubicBezTo>
                  <a:pt x="45" y="84"/>
                  <a:pt x="45" y="84"/>
                  <a:pt x="45" y="84"/>
                </a:cubicBezTo>
                <a:cubicBezTo>
                  <a:pt x="45" y="84"/>
                  <a:pt x="38" y="76"/>
                  <a:pt x="36" y="65"/>
                </a:cubicBezTo>
                <a:cubicBezTo>
                  <a:pt x="35" y="64"/>
                  <a:pt x="35" y="64"/>
                  <a:pt x="35" y="64"/>
                </a:cubicBezTo>
                <a:cubicBezTo>
                  <a:pt x="34" y="63"/>
                  <a:pt x="34" y="63"/>
                  <a:pt x="34" y="63"/>
                </a:cubicBezTo>
                <a:cubicBezTo>
                  <a:pt x="33" y="62"/>
                  <a:pt x="32" y="60"/>
                  <a:pt x="32" y="59"/>
                </a:cubicBezTo>
                <a:cubicBezTo>
                  <a:pt x="32" y="48"/>
                  <a:pt x="32" y="48"/>
                  <a:pt x="32" y="48"/>
                </a:cubicBezTo>
                <a:cubicBezTo>
                  <a:pt x="32" y="47"/>
                  <a:pt x="33" y="45"/>
                  <a:pt x="34" y="44"/>
                </a:cubicBezTo>
                <a:cubicBezTo>
                  <a:pt x="35" y="43"/>
                  <a:pt x="35" y="43"/>
                  <a:pt x="35" y="43"/>
                </a:cubicBezTo>
                <a:cubicBezTo>
                  <a:pt x="35" y="27"/>
                  <a:pt x="35" y="27"/>
                  <a:pt x="35" y="27"/>
                </a:cubicBezTo>
                <a:cubicBezTo>
                  <a:pt x="35" y="26"/>
                  <a:pt x="35" y="26"/>
                  <a:pt x="35" y="26"/>
                </a:cubicBezTo>
                <a:cubicBezTo>
                  <a:pt x="35" y="26"/>
                  <a:pt x="34" y="19"/>
                  <a:pt x="39" y="13"/>
                </a:cubicBezTo>
                <a:cubicBezTo>
                  <a:pt x="43" y="8"/>
                  <a:pt x="51" y="5"/>
                  <a:pt x="61" y="5"/>
                </a:cubicBezTo>
                <a:cubicBezTo>
                  <a:pt x="72" y="5"/>
                  <a:pt x="79" y="8"/>
                  <a:pt x="84" y="13"/>
                </a:cubicBezTo>
                <a:cubicBezTo>
                  <a:pt x="86" y="15"/>
                  <a:pt x="87" y="18"/>
                  <a:pt x="88" y="21"/>
                </a:cubicBezTo>
                <a:cubicBezTo>
                  <a:pt x="88" y="21"/>
                  <a:pt x="88" y="21"/>
                  <a:pt x="88" y="21"/>
                </a:cubicBezTo>
                <a:cubicBezTo>
                  <a:pt x="88" y="21"/>
                  <a:pt x="88" y="21"/>
                  <a:pt x="88" y="22"/>
                </a:cubicBezTo>
                <a:cubicBezTo>
                  <a:pt x="88" y="22"/>
                  <a:pt x="88" y="22"/>
                  <a:pt x="88" y="22"/>
                </a:cubicBezTo>
                <a:cubicBezTo>
                  <a:pt x="88" y="22"/>
                  <a:pt x="88" y="23"/>
                  <a:pt x="88" y="23"/>
                </a:cubicBezTo>
                <a:cubicBezTo>
                  <a:pt x="88" y="23"/>
                  <a:pt x="88" y="23"/>
                  <a:pt x="88" y="24"/>
                </a:cubicBezTo>
                <a:cubicBezTo>
                  <a:pt x="88" y="24"/>
                  <a:pt x="88" y="24"/>
                  <a:pt x="88" y="24"/>
                </a:cubicBezTo>
                <a:cubicBezTo>
                  <a:pt x="88" y="24"/>
                  <a:pt x="88" y="24"/>
                  <a:pt x="88" y="24"/>
                </a:cubicBezTo>
                <a:cubicBezTo>
                  <a:pt x="88" y="25"/>
                  <a:pt x="88" y="25"/>
                  <a:pt x="88" y="25"/>
                </a:cubicBezTo>
                <a:cubicBezTo>
                  <a:pt x="88" y="25"/>
                  <a:pt x="88" y="25"/>
                  <a:pt x="88" y="25"/>
                </a:cubicBezTo>
                <a:cubicBezTo>
                  <a:pt x="88" y="25"/>
                  <a:pt x="88" y="25"/>
                  <a:pt x="88" y="25"/>
                </a:cubicBezTo>
                <a:cubicBezTo>
                  <a:pt x="88" y="26"/>
                  <a:pt x="88" y="26"/>
                  <a:pt x="88" y="26"/>
                </a:cubicBezTo>
                <a:cubicBezTo>
                  <a:pt x="88" y="43"/>
                  <a:pt x="88" y="43"/>
                  <a:pt x="88" y="43"/>
                </a:cubicBezTo>
                <a:cubicBezTo>
                  <a:pt x="89" y="44"/>
                  <a:pt x="89" y="44"/>
                  <a:pt x="89" y="44"/>
                </a:cubicBezTo>
                <a:cubicBezTo>
                  <a:pt x="90" y="45"/>
                  <a:pt x="91" y="47"/>
                  <a:pt x="91" y="48"/>
                </a:cubicBezTo>
                <a:cubicBezTo>
                  <a:pt x="91" y="59"/>
                  <a:pt x="91" y="59"/>
                  <a:pt x="91" y="59"/>
                </a:cubicBezTo>
                <a:cubicBezTo>
                  <a:pt x="91" y="61"/>
                  <a:pt x="89" y="63"/>
                  <a:pt x="87" y="64"/>
                </a:cubicBezTo>
                <a:cubicBezTo>
                  <a:pt x="86" y="64"/>
                  <a:pt x="86" y="64"/>
                  <a:pt x="86" y="64"/>
                </a:cubicBezTo>
                <a:cubicBezTo>
                  <a:pt x="85" y="65"/>
                  <a:pt x="85" y="65"/>
                  <a:pt x="85" y="65"/>
                </a:cubicBezTo>
                <a:cubicBezTo>
                  <a:pt x="83" y="71"/>
                  <a:pt x="81" y="76"/>
                  <a:pt x="78" y="81"/>
                </a:cubicBezTo>
                <a:cubicBezTo>
                  <a:pt x="77" y="82"/>
                  <a:pt x="76" y="83"/>
                  <a:pt x="75" y="84"/>
                </a:cubicBezTo>
                <a:cubicBezTo>
                  <a:pt x="75" y="84"/>
                  <a:pt x="75" y="84"/>
                  <a:pt x="75" y="84"/>
                </a:cubicBezTo>
                <a:cubicBezTo>
                  <a:pt x="75" y="95"/>
                  <a:pt x="75" y="95"/>
                  <a:pt x="75" y="95"/>
                </a:cubicBezTo>
                <a:cubicBezTo>
                  <a:pt x="75" y="96"/>
                  <a:pt x="75" y="97"/>
                  <a:pt x="75" y="97"/>
                </a:cubicBezTo>
                <a:cubicBezTo>
                  <a:pt x="75" y="97"/>
                  <a:pt x="75" y="98"/>
                  <a:pt x="75" y="98"/>
                </a:cubicBezTo>
                <a:cubicBezTo>
                  <a:pt x="75" y="98"/>
                  <a:pt x="75" y="99"/>
                  <a:pt x="75" y="99"/>
                </a:cubicBezTo>
                <a:cubicBezTo>
                  <a:pt x="75" y="99"/>
                  <a:pt x="75" y="100"/>
                  <a:pt x="75" y="100"/>
                </a:cubicBezTo>
                <a:cubicBezTo>
                  <a:pt x="76" y="100"/>
                  <a:pt x="76" y="101"/>
                  <a:pt x="76" y="101"/>
                </a:cubicBezTo>
                <a:cubicBezTo>
                  <a:pt x="76" y="101"/>
                  <a:pt x="76" y="101"/>
                  <a:pt x="76" y="101"/>
                </a:cubicBezTo>
                <a:cubicBezTo>
                  <a:pt x="77" y="102"/>
                  <a:pt x="77" y="103"/>
                  <a:pt x="78" y="103"/>
                </a:cubicBezTo>
                <a:cubicBezTo>
                  <a:pt x="78" y="104"/>
                  <a:pt x="78" y="104"/>
                  <a:pt x="78" y="104"/>
                </a:cubicBezTo>
                <a:cubicBezTo>
                  <a:pt x="78" y="104"/>
                  <a:pt x="78" y="104"/>
                  <a:pt x="78" y="104"/>
                </a:cubicBezTo>
                <a:cubicBezTo>
                  <a:pt x="79" y="105"/>
                  <a:pt x="80" y="106"/>
                  <a:pt x="82" y="106"/>
                </a:cubicBezTo>
                <a:cubicBezTo>
                  <a:pt x="107" y="119"/>
                  <a:pt x="107" y="119"/>
                  <a:pt x="107" y="119"/>
                </a:cubicBezTo>
                <a:cubicBezTo>
                  <a:pt x="113" y="122"/>
                  <a:pt x="117" y="129"/>
                  <a:pt x="117" y="136"/>
                </a:cubicBezTo>
                <a:lnTo>
                  <a:pt x="117" y="141"/>
                </a:lnTo>
                <a:close/>
                <a:moveTo>
                  <a:pt x="155" y="141"/>
                </a:moveTo>
                <a:cubicBezTo>
                  <a:pt x="123" y="141"/>
                  <a:pt x="123" y="141"/>
                  <a:pt x="123" y="141"/>
                </a:cubicBezTo>
                <a:cubicBezTo>
                  <a:pt x="123" y="136"/>
                  <a:pt x="123" y="136"/>
                  <a:pt x="123" y="136"/>
                </a:cubicBezTo>
                <a:cubicBezTo>
                  <a:pt x="123" y="127"/>
                  <a:pt x="118" y="118"/>
                  <a:pt x="109" y="114"/>
                </a:cubicBezTo>
                <a:cubicBezTo>
                  <a:pt x="91" y="105"/>
                  <a:pt x="91" y="105"/>
                  <a:pt x="91" y="105"/>
                </a:cubicBezTo>
                <a:cubicBezTo>
                  <a:pt x="92" y="104"/>
                  <a:pt x="92" y="103"/>
                  <a:pt x="91" y="102"/>
                </a:cubicBezTo>
                <a:cubicBezTo>
                  <a:pt x="91" y="100"/>
                  <a:pt x="89" y="99"/>
                  <a:pt x="87" y="99"/>
                </a:cubicBezTo>
                <a:cubicBezTo>
                  <a:pt x="81" y="99"/>
                  <a:pt x="81" y="99"/>
                  <a:pt x="81" y="99"/>
                </a:cubicBezTo>
                <a:cubicBezTo>
                  <a:pt x="81" y="99"/>
                  <a:pt x="81" y="98"/>
                  <a:pt x="81" y="98"/>
                </a:cubicBezTo>
                <a:cubicBezTo>
                  <a:pt x="81" y="98"/>
                  <a:pt x="80" y="97"/>
                  <a:pt x="80" y="97"/>
                </a:cubicBezTo>
                <a:cubicBezTo>
                  <a:pt x="80" y="97"/>
                  <a:pt x="80" y="96"/>
                  <a:pt x="80" y="95"/>
                </a:cubicBezTo>
                <a:cubicBezTo>
                  <a:pt x="80" y="86"/>
                  <a:pt x="80" y="86"/>
                  <a:pt x="80" y="86"/>
                </a:cubicBezTo>
                <a:cubicBezTo>
                  <a:pt x="81" y="86"/>
                  <a:pt x="81" y="85"/>
                  <a:pt x="82" y="84"/>
                </a:cubicBezTo>
                <a:cubicBezTo>
                  <a:pt x="85" y="79"/>
                  <a:pt x="88" y="74"/>
                  <a:pt x="90" y="68"/>
                </a:cubicBezTo>
                <a:cubicBezTo>
                  <a:pt x="94" y="67"/>
                  <a:pt x="96" y="63"/>
                  <a:pt x="96" y="59"/>
                </a:cubicBezTo>
                <a:cubicBezTo>
                  <a:pt x="96" y="48"/>
                  <a:pt x="96" y="48"/>
                  <a:pt x="96" y="48"/>
                </a:cubicBezTo>
                <a:cubicBezTo>
                  <a:pt x="96" y="45"/>
                  <a:pt x="95" y="43"/>
                  <a:pt x="93" y="41"/>
                </a:cubicBezTo>
                <a:cubicBezTo>
                  <a:pt x="93" y="27"/>
                  <a:pt x="93" y="27"/>
                  <a:pt x="93" y="27"/>
                </a:cubicBezTo>
                <a:cubicBezTo>
                  <a:pt x="93" y="26"/>
                  <a:pt x="94" y="24"/>
                  <a:pt x="93" y="21"/>
                </a:cubicBezTo>
                <a:cubicBezTo>
                  <a:pt x="97" y="20"/>
                  <a:pt x="100" y="19"/>
                  <a:pt x="105" y="19"/>
                </a:cubicBezTo>
                <a:cubicBezTo>
                  <a:pt x="131" y="19"/>
                  <a:pt x="132" y="45"/>
                  <a:pt x="132" y="46"/>
                </a:cubicBezTo>
                <a:cubicBezTo>
                  <a:pt x="132" y="67"/>
                  <a:pt x="144" y="86"/>
                  <a:pt x="150" y="94"/>
                </a:cubicBezTo>
                <a:cubicBezTo>
                  <a:pt x="150" y="94"/>
                  <a:pt x="150" y="95"/>
                  <a:pt x="150" y="96"/>
                </a:cubicBezTo>
                <a:cubicBezTo>
                  <a:pt x="150" y="96"/>
                  <a:pt x="150" y="97"/>
                  <a:pt x="149" y="97"/>
                </a:cubicBezTo>
                <a:cubicBezTo>
                  <a:pt x="144" y="99"/>
                  <a:pt x="138" y="99"/>
                  <a:pt x="138" y="99"/>
                </a:cubicBezTo>
                <a:cubicBezTo>
                  <a:pt x="119" y="99"/>
                  <a:pt x="119" y="99"/>
                  <a:pt x="119" y="99"/>
                </a:cubicBezTo>
                <a:cubicBezTo>
                  <a:pt x="118" y="99"/>
                  <a:pt x="116" y="100"/>
                  <a:pt x="115" y="101"/>
                </a:cubicBezTo>
                <a:cubicBezTo>
                  <a:pt x="114" y="103"/>
                  <a:pt x="114" y="104"/>
                  <a:pt x="115" y="106"/>
                </a:cubicBezTo>
                <a:cubicBezTo>
                  <a:pt x="116" y="108"/>
                  <a:pt x="117" y="110"/>
                  <a:pt x="120" y="111"/>
                </a:cubicBezTo>
                <a:cubicBezTo>
                  <a:pt x="146" y="122"/>
                  <a:pt x="146" y="122"/>
                  <a:pt x="146" y="122"/>
                </a:cubicBezTo>
                <a:cubicBezTo>
                  <a:pt x="151" y="125"/>
                  <a:pt x="155" y="131"/>
                  <a:pt x="155" y="137"/>
                </a:cubicBezTo>
                <a:lnTo>
                  <a:pt x="155" y="141"/>
                </a:lnTo>
                <a:close/>
              </a:path>
            </a:pathLst>
          </a:custGeom>
          <a:gradFill>
            <a:gsLst>
              <a:gs pos="0">
                <a:schemeClr val="accent1">
                  <a:lumMod val="60000"/>
                  <a:lumOff val="40000"/>
                </a:schemeClr>
              </a:gs>
              <a:gs pos="36000">
                <a:schemeClr val="accent1">
                  <a:alpha val="77000"/>
                </a:schemeClr>
              </a:gs>
            </a:gsLst>
            <a:lin ang="0" scaled="0"/>
          </a:gradFill>
          <a:ln>
            <a:noFill/>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HarmonyOS Sans SC"/>
              <a:cs typeface="+mn-cs"/>
            </a:endParaRPr>
          </a:p>
        </p:txBody>
      </p:sp>
      <p:sp>
        <p:nvSpPr>
          <p:cNvPr id="30" name="TextBox 41">
            <a:extLst>
              <a:ext uri="{FF2B5EF4-FFF2-40B4-BE49-F238E27FC236}">
                <a16:creationId xmlns:a16="http://schemas.microsoft.com/office/drawing/2014/main" id="{DD03C983-DBEB-4CC1-878F-9ED8DDBA9509}"/>
              </a:ext>
            </a:extLst>
          </p:cNvPr>
          <p:cNvSpPr txBox="1"/>
          <p:nvPr/>
        </p:nvSpPr>
        <p:spPr>
          <a:xfrm>
            <a:off x="7491913" y="4087492"/>
            <a:ext cx="3889978" cy="454218"/>
          </a:xfrm>
          <a:prstGeom prst="rect">
            <a:avLst/>
          </a:prstGeom>
          <a:noFill/>
        </p:spPr>
        <p:txBody>
          <a:bodyPr wrap="square" lIns="0" tIns="36000" rIns="0" bIns="36000" rtlCol="0">
            <a:spAutoFit/>
          </a:bodyPr>
          <a:lstStyle/>
          <a:p>
            <a:pPr marL="0" marR="0" lvl="0" indent="0" algn="l" defTabSz="914400" rtl="0" eaLnBrk="1" fontAlgn="auto" latinLnBrk="0" hangingPunct="1">
              <a:lnSpc>
                <a:spcPct val="130000"/>
              </a:lnSpc>
              <a:spcBef>
                <a:spcPts val="100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alpha val="70000"/>
                  </a:prstClr>
                </a:solidFill>
                <a:effectLst/>
                <a:uLnTx/>
                <a:uFillTx/>
                <a:latin typeface="HarmonyOS Sans SC"/>
                <a:cs typeface="+mn-cs"/>
              </a:rPr>
              <a:t>A peep at some distant orb has power to raise and purify our thoughts like a strain of sacred music.</a:t>
            </a:r>
          </a:p>
        </p:txBody>
      </p:sp>
      <p:sp>
        <p:nvSpPr>
          <p:cNvPr id="34" name="Freeform 1102">
            <a:extLst>
              <a:ext uri="{FF2B5EF4-FFF2-40B4-BE49-F238E27FC236}">
                <a16:creationId xmlns:a16="http://schemas.microsoft.com/office/drawing/2014/main" id="{0187AC05-3E6B-498B-B7D5-79938D98D878}"/>
              </a:ext>
            </a:extLst>
          </p:cNvPr>
          <p:cNvSpPr>
            <a:spLocks noEditPoints="1"/>
          </p:cNvSpPr>
          <p:nvPr/>
        </p:nvSpPr>
        <p:spPr bwMode="auto">
          <a:xfrm>
            <a:off x="6752948" y="4118362"/>
            <a:ext cx="459228" cy="392478"/>
          </a:xfrm>
          <a:custGeom>
            <a:avLst/>
            <a:gdLst>
              <a:gd name="T0" fmla="*/ 128 w 160"/>
              <a:gd name="T1" fmla="*/ 107 h 136"/>
              <a:gd name="T2" fmla="*/ 115 w 160"/>
              <a:gd name="T3" fmla="*/ 104 h 136"/>
              <a:gd name="T4" fmla="*/ 128 w 160"/>
              <a:gd name="T5" fmla="*/ 101 h 136"/>
              <a:gd name="T6" fmla="*/ 133 w 160"/>
              <a:gd name="T7" fmla="*/ 48 h 136"/>
              <a:gd name="T8" fmla="*/ 120 w 160"/>
              <a:gd name="T9" fmla="*/ 48 h 136"/>
              <a:gd name="T10" fmla="*/ 120 w 160"/>
              <a:gd name="T11" fmla="*/ 43 h 136"/>
              <a:gd name="T12" fmla="*/ 91 w 160"/>
              <a:gd name="T13" fmla="*/ 5 h 136"/>
              <a:gd name="T14" fmla="*/ 67 w 160"/>
              <a:gd name="T15" fmla="*/ 40 h 136"/>
              <a:gd name="T16" fmla="*/ 61 w 160"/>
              <a:gd name="T17" fmla="*/ 40 h 136"/>
              <a:gd name="T18" fmla="*/ 51 w 160"/>
              <a:gd name="T19" fmla="*/ 23 h 136"/>
              <a:gd name="T20" fmla="*/ 48 w 160"/>
              <a:gd name="T21" fmla="*/ 22 h 136"/>
              <a:gd name="T22" fmla="*/ 46 w 160"/>
              <a:gd name="T23" fmla="*/ 22 h 136"/>
              <a:gd name="T24" fmla="*/ 43 w 160"/>
              <a:gd name="T25" fmla="*/ 21 h 136"/>
              <a:gd name="T26" fmla="*/ 24 w 160"/>
              <a:gd name="T27" fmla="*/ 41 h 136"/>
              <a:gd name="T28" fmla="*/ 24 w 160"/>
              <a:gd name="T29" fmla="*/ 42 h 136"/>
              <a:gd name="T30" fmla="*/ 24 w 160"/>
              <a:gd name="T31" fmla="*/ 44 h 136"/>
              <a:gd name="T32" fmla="*/ 5 w 160"/>
              <a:gd name="T33" fmla="*/ 72 h 136"/>
              <a:gd name="T34" fmla="*/ 48 w 160"/>
              <a:gd name="T35" fmla="*/ 101 h 136"/>
              <a:gd name="T36" fmla="*/ 48 w 160"/>
              <a:gd name="T37" fmla="*/ 107 h 136"/>
              <a:gd name="T38" fmla="*/ 0 w 160"/>
              <a:gd name="T39" fmla="*/ 72 h 136"/>
              <a:gd name="T40" fmla="*/ 19 w 160"/>
              <a:gd name="T41" fmla="*/ 40 h 136"/>
              <a:gd name="T42" fmla="*/ 45 w 160"/>
              <a:gd name="T43" fmla="*/ 16 h 136"/>
              <a:gd name="T44" fmla="*/ 48 w 160"/>
              <a:gd name="T45" fmla="*/ 17 h 136"/>
              <a:gd name="T46" fmla="*/ 51 w 160"/>
              <a:gd name="T47" fmla="*/ 17 h 136"/>
              <a:gd name="T48" fmla="*/ 53 w 160"/>
              <a:gd name="T49" fmla="*/ 18 h 136"/>
              <a:gd name="T50" fmla="*/ 91 w 160"/>
              <a:gd name="T51" fmla="*/ 0 h 136"/>
              <a:gd name="T52" fmla="*/ 160 w 160"/>
              <a:gd name="T53" fmla="*/ 75 h 136"/>
              <a:gd name="T54" fmla="*/ 85 w 160"/>
              <a:gd name="T55" fmla="*/ 127 h 136"/>
              <a:gd name="T56" fmla="*/ 83 w 160"/>
              <a:gd name="T57" fmla="*/ 69 h 136"/>
              <a:gd name="T58" fmla="*/ 80 w 160"/>
              <a:gd name="T59" fmla="*/ 127 h 136"/>
              <a:gd name="T60" fmla="*/ 59 w 160"/>
              <a:gd name="T61" fmla="*/ 110 h 136"/>
              <a:gd name="T62" fmla="*/ 81 w 160"/>
              <a:gd name="T63" fmla="*/ 135 h 136"/>
              <a:gd name="T64" fmla="*/ 83 w 160"/>
              <a:gd name="T65" fmla="*/ 136 h 136"/>
              <a:gd name="T66" fmla="*/ 85 w 160"/>
              <a:gd name="T67" fmla="*/ 135 h 136"/>
              <a:gd name="T68" fmla="*/ 106 w 160"/>
              <a:gd name="T69" fmla="*/ 110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60" h="136">
                <a:moveTo>
                  <a:pt x="160" y="75"/>
                </a:moveTo>
                <a:cubicBezTo>
                  <a:pt x="160" y="92"/>
                  <a:pt x="146" y="107"/>
                  <a:pt x="128" y="107"/>
                </a:cubicBezTo>
                <a:cubicBezTo>
                  <a:pt x="117" y="107"/>
                  <a:pt x="117" y="107"/>
                  <a:pt x="117" y="107"/>
                </a:cubicBezTo>
                <a:cubicBezTo>
                  <a:pt x="116" y="107"/>
                  <a:pt x="115" y="105"/>
                  <a:pt x="115" y="104"/>
                </a:cubicBezTo>
                <a:cubicBezTo>
                  <a:pt x="115" y="103"/>
                  <a:pt x="116" y="101"/>
                  <a:pt x="117" y="101"/>
                </a:cubicBezTo>
                <a:cubicBezTo>
                  <a:pt x="128" y="101"/>
                  <a:pt x="128" y="101"/>
                  <a:pt x="128" y="101"/>
                </a:cubicBezTo>
                <a:cubicBezTo>
                  <a:pt x="143" y="101"/>
                  <a:pt x="155" y="89"/>
                  <a:pt x="155" y="75"/>
                </a:cubicBezTo>
                <a:cubicBezTo>
                  <a:pt x="155" y="62"/>
                  <a:pt x="145" y="50"/>
                  <a:pt x="133" y="48"/>
                </a:cubicBezTo>
                <a:cubicBezTo>
                  <a:pt x="133" y="48"/>
                  <a:pt x="126" y="47"/>
                  <a:pt x="120" y="48"/>
                </a:cubicBezTo>
                <a:cubicBezTo>
                  <a:pt x="120" y="48"/>
                  <a:pt x="120" y="48"/>
                  <a:pt x="120" y="48"/>
                </a:cubicBezTo>
                <a:cubicBezTo>
                  <a:pt x="119" y="48"/>
                  <a:pt x="118" y="47"/>
                  <a:pt x="117" y="46"/>
                </a:cubicBezTo>
                <a:cubicBezTo>
                  <a:pt x="117" y="44"/>
                  <a:pt x="118" y="43"/>
                  <a:pt x="120" y="43"/>
                </a:cubicBezTo>
                <a:cubicBezTo>
                  <a:pt x="124" y="42"/>
                  <a:pt x="128" y="42"/>
                  <a:pt x="130" y="42"/>
                </a:cubicBezTo>
                <a:cubicBezTo>
                  <a:pt x="129" y="22"/>
                  <a:pt x="112" y="5"/>
                  <a:pt x="91" y="5"/>
                </a:cubicBezTo>
                <a:cubicBezTo>
                  <a:pt x="78" y="5"/>
                  <a:pt x="66" y="12"/>
                  <a:pt x="58" y="22"/>
                </a:cubicBezTo>
                <a:cubicBezTo>
                  <a:pt x="63" y="26"/>
                  <a:pt x="67" y="33"/>
                  <a:pt x="67" y="40"/>
                </a:cubicBezTo>
                <a:cubicBezTo>
                  <a:pt x="67" y="41"/>
                  <a:pt x="65" y="43"/>
                  <a:pt x="64" y="43"/>
                </a:cubicBezTo>
                <a:cubicBezTo>
                  <a:pt x="63" y="43"/>
                  <a:pt x="61" y="41"/>
                  <a:pt x="61" y="40"/>
                </a:cubicBezTo>
                <a:cubicBezTo>
                  <a:pt x="61" y="33"/>
                  <a:pt x="58" y="28"/>
                  <a:pt x="53" y="24"/>
                </a:cubicBezTo>
                <a:cubicBezTo>
                  <a:pt x="52" y="24"/>
                  <a:pt x="52" y="24"/>
                  <a:pt x="51" y="23"/>
                </a:cubicBezTo>
                <a:cubicBezTo>
                  <a:pt x="51" y="23"/>
                  <a:pt x="51" y="23"/>
                  <a:pt x="50" y="23"/>
                </a:cubicBezTo>
                <a:cubicBezTo>
                  <a:pt x="50" y="23"/>
                  <a:pt x="49" y="22"/>
                  <a:pt x="48" y="22"/>
                </a:cubicBezTo>
                <a:cubicBezTo>
                  <a:pt x="48" y="22"/>
                  <a:pt x="48" y="22"/>
                  <a:pt x="48" y="22"/>
                </a:cubicBezTo>
                <a:cubicBezTo>
                  <a:pt x="47" y="22"/>
                  <a:pt x="46" y="22"/>
                  <a:pt x="46" y="22"/>
                </a:cubicBezTo>
                <a:cubicBezTo>
                  <a:pt x="46" y="22"/>
                  <a:pt x="45" y="22"/>
                  <a:pt x="45" y="22"/>
                </a:cubicBezTo>
                <a:cubicBezTo>
                  <a:pt x="44" y="21"/>
                  <a:pt x="43" y="21"/>
                  <a:pt x="43" y="21"/>
                </a:cubicBezTo>
                <a:cubicBezTo>
                  <a:pt x="32" y="21"/>
                  <a:pt x="24" y="30"/>
                  <a:pt x="24" y="40"/>
                </a:cubicBezTo>
                <a:cubicBezTo>
                  <a:pt x="24" y="40"/>
                  <a:pt x="24" y="40"/>
                  <a:pt x="24" y="41"/>
                </a:cubicBezTo>
                <a:cubicBezTo>
                  <a:pt x="24" y="41"/>
                  <a:pt x="24" y="41"/>
                  <a:pt x="24" y="41"/>
                </a:cubicBezTo>
                <a:cubicBezTo>
                  <a:pt x="24" y="42"/>
                  <a:pt x="24" y="42"/>
                  <a:pt x="24" y="42"/>
                </a:cubicBezTo>
                <a:cubicBezTo>
                  <a:pt x="24" y="42"/>
                  <a:pt x="24" y="42"/>
                  <a:pt x="24" y="43"/>
                </a:cubicBezTo>
                <a:cubicBezTo>
                  <a:pt x="24" y="44"/>
                  <a:pt x="24" y="44"/>
                  <a:pt x="24" y="44"/>
                </a:cubicBezTo>
                <a:cubicBezTo>
                  <a:pt x="22" y="45"/>
                  <a:pt x="22" y="45"/>
                  <a:pt x="22" y="45"/>
                </a:cubicBezTo>
                <a:cubicBezTo>
                  <a:pt x="13" y="50"/>
                  <a:pt x="5" y="61"/>
                  <a:pt x="5" y="72"/>
                </a:cubicBezTo>
                <a:cubicBezTo>
                  <a:pt x="5" y="88"/>
                  <a:pt x="18" y="101"/>
                  <a:pt x="34" y="101"/>
                </a:cubicBezTo>
                <a:cubicBezTo>
                  <a:pt x="48" y="101"/>
                  <a:pt x="48" y="101"/>
                  <a:pt x="48" y="101"/>
                </a:cubicBezTo>
                <a:cubicBezTo>
                  <a:pt x="49" y="101"/>
                  <a:pt x="51" y="103"/>
                  <a:pt x="51" y="104"/>
                </a:cubicBezTo>
                <a:cubicBezTo>
                  <a:pt x="51" y="105"/>
                  <a:pt x="49" y="107"/>
                  <a:pt x="48" y="107"/>
                </a:cubicBezTo>
                <a:cubicBezTo>
                  <a:pt x="34" y="107"/>
                  <a:pt x="34" y="107"/>
                  <a:pt x="34" y="107"/>
                </a:cubicBezTo>
                <a:cubicBezTo>
                  <a:pt x="15" y="107"/>
                  <a:pt x="0" y="91"/>
                  <a:pt x="0" y="72"/>
                </a:cubicBezTo>
                <a:cubicBezTo>
                  <a:pt x="0" y="60"/>
                  <a:pt x="8" y="47"/>
                  <a:pt x="19" y="41"/>
                </a:cubicBezTo>
                <a:cubicBezTo>
                  <a:pt x="19" y="41"/>
                  <a:pt x="19" y="40"/>
                  <a:pt x="19" y="40"/>
                </a:cubicBezTo>
                <a:cubicBezTo>
                  <a:pt x="19" y="27"/>
                  <a:pt x="29" y="16"/>
                  <a:pt x="43" y="16"/>
                </a:cubicBezTo>
                <a:cubicBezTo>
                  <a:pt x="44" y="16"/>
                  <a:pt x="44" y="16"/>
                  <a:pt x="45" y="16"/>
                </a:cubicBezTo>
                <a:cubicBezTo>
                  <a:pt x="46" y="16"/>
                  <a:pt x="46" y="16"/>
                  <a:pt x="46" y="16"/>
                </a:cubicBezTo>
                <a:cubicBezTo>
                  <a:pt x="47" y="16"/>
                  <a:pt x="47" y="16"/>
                  <a:pt x="48" y="17"/>
                </a:cubicBezTo>
                <a:cubicBezTo>
                  <a:pt x="48" y="17"/>
                  <a:pt x="49" y="17"/>
                  <a:pt x="49" y="17"/>
                </a:cubicBezTo>
                <a:cubicBezTo>
                  <a:pt x="49" y="17"/>
                  <a:pt x="50" y="17"/>
                  <a:pt x="51" y="17"/>
                </a:cubicBezTo>
                <a:cubicBezTo>
                  <a:pt x="51" y="17"/>
                  <a:pt x="51" y="18"/>
                  <a:pt x="51" y="18"/>
                </a:cubicBezTo>
                <a:cubicBezTo>
                  <a:pt x="52" y="18"/>
                  <a:pt x="53" y="18"/>
                  <a:pt x="53" y="18"/>
                </a:cubicBezTo>
                <a:cubicBezTo>
                  <a:pt x="53" y="19"/>
                  <a:pt x="54" y="19"/>
                  <a:pt x="54" y="19"/>
                </a:cubicBezTo>
                <a:cubicBezTo>
                  <a:pt x="62" y="7"/>
                  <a:pt x="76" y="0"/>
                  <a:pt x="91" y="0"/>
                </a:cubicBezTo>
                <a:cubicBezTo>
                  <a:pt x="115" y="0"/>
                  <a:pt x="135" y="19"/>
                  <a:pt x="136" y="43"/>
                </a:cubicBezTo>
                <a:cubicBezTo>
                  <a:pt x="150" y="47"/>
                  <a:pt x="160" y="60"/>
                  <a:pt x="160" y="75"/>
                </a:cubicBezTo>
                <a:close/>
                <a:moveTo>
                  <a:pt x="102" y="110"/>
                </a:moveTo>
                <a:cubicBezTo>
                  <a:pt x="85" y="127"/>
                  <a:pt x="85" y="127"/>
                  <a:pt x="85" y="127"/>
                </a:cubicBezTo>
                <a:cubicBezTo>
                  <a:pt x="85" y="72"/>
                  <a:pt x="85" y="72"/>
                  <a:pt x="85" y="72"/>
                </a:cubicBezTo>
                <a:cubicBezTo>
                  <a:pt x="85" y="71"/>
                  <a:pt x="84" y="69"/>
                  <a:pt x="83" y="69"/>
                </a:cubicBezTo>
                <a:cubicBezTo>
                  <a:pt x="81" y="69"/>
                  <a:pt x="80" y="71"/>
                  <a:pt x="80" y="72"/>
                </a:cubicBezTo>
                <a:cubicBezTo>
                  <a:pt x="80" y="127"/>
                  <a:pt x="80" y="127"/>
                  <a:pt x="80" y="127"/>
                </a:cubicBezTo>
                <a:cubicBezTo>
                  <a:pt x="63" y="110"/>
                  <a:pt x="63" y="110"/>
                  <a:pt x="63" y="110"/>
                </a:cubicBezTo>
                <a:cubicBezTo>
                  <a:pt x="62" y="109"/>
                  <a:pt x="60" y="109"/>
                  <a:pt x="59" y="110"/>
                </a:cubicBezTo>
                <a:cubicBezTo>
                  <a:pt x="58" y="111"/>
                  <a:pt x="58" y="113"/>
                  <a:pt x="59" y="114"/>
                </a:cubicBezTo>
                <a:cubicBezTo>
                  <a:pt x="81" y="135"/>
                  <a:pt x="81" y="135"/>
                  <a:pt x="81" y="135"/>
                </a:cubicBezTo>
                <a:cubicBezTo>
                  <a:pt x="81" y="135"/>
                  <a:pt x="81" y="136"/>
                  <a:pt x="82" y="136"/>
                </a:cubicBezTo>
                <a:cubicBezTo>
                  <a:pt x="82" y="136"/>
                  <a:pt x="82" y="136"/>
                  <a:pt x="83" y="136"/>
                </a:cubicBezTo>
                <a:cubicBezTo>
                  <a:pt x="83" y="136"/>
                  <a:pt x="83" y="136"/>
                  <a:pt x="84" y="136"/>
                </a:cubicBezTo>
                <a:cubicBezTo>
                  <a:pt x="84" y="136"/>
                  <a:pt x="84" y="135"/>
                  <a:pt x="85" y="135"/>
                </a:cubicBezTo>
                <a:cubicBezTo>
                  <a:pt x="106" y="114"/>
                  <a:pt x="106" y="114"/>
                  <a:pt x="106" y="114"/>
                </a:cubicBezTo>
                <a:cubicBezTo>
                  <a:pt x="107" y="113"/>
                  <a:pt x="107" y="111"/>
                  <a:pt x="106" y="110"/>
                </a:cubicBezTo>
                <a:cubicBezTo>
                  <a:pt x="105" y="109"/>
                  <a:pt x="103" y="109"/>
                  <a:pt x="102" y="110"/>
                </a:cubicBezTo>
                <a:close/>
              </a:path>
            </a:pathLst>
          </a:custGeom>
          <a:gradFill>
            <a:gsLst>
              <a:gs pos="0">
                <a:schemeClr val="accent1">
                  <a:lumMod val="60000"/>
                  <a:lumOff val="40000"/>
                </a:schemeClr>
              </a:gs>
              <a:gs pos="36000">
                <a:schemeClr val="accent1">
                  <a:alpha val="77000"/>
                </a:schemeClr>
              </a:gs>
            </a:gsLst>
            <a:lin ang="0" scaled="0"/>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HarmonyOS Sans SC"/>
              <a:cs typeface="+mn-cs"/>
            </a:endParaRPr>
          </a:p>
        </p:txBody>
      </p:sp>
      <p:sp>
        <p:nvSpPr>
          <p:cNvPr id="32" name="TextBox 43">
            <a:extLst>
              <a:ext uri="{FF2B5EF4-FFF2-40B4-BE49-F238E27FC236}">
                <a16:creationId xmlns:a16="http://schemas.microsoft.com/office/drawing/2014/main" id="{CAF743C1-ACCF-41F5-BEC8-CB562C418274}"/>
              </a:ext>
            </a:extLst>
          </p:cNvPr>
          <p:cNvSpPr txBox="1"/>
          <p:nvPr/>
        </p:nvSpPr>
        <p:spPr>
          <a:xfrm>
            <a:off x="7491913" y="2532683"/>
            <a:ext cx="3889976" cy="454218"/>
          </a:xfrm>
          <a:prstGeom prst="rect">
            <a:avLst/>
          </a:prstGeom>
          <a:noFill/>
        </p:spPr>
        <p:txBody>
          <a:bodyPr wrap="square" lIns="0" tIns="36000" rIns="0" bIns="36000" rtlCol="0">
            <a:spAutoFit/>
          </a:bodyPr>
          <a:lstStyle/>
          <a:p>
            <a:pPr marL="0" marR="0" lvl="0" indent="0" algn="l" defTabSz="914400" rtl="0" eaLnBrk="1" fontAlgn="auto" latinLnBrk="0" hangingPunct="1">
              <a:lnSpc>
                <a:spcPct val="130000"/>
              </a:lnSpc>
              <a:spcBef>
                <a:spcPts val="100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alpha val="70000"/>
                  </a:prstClr>
                </a:solidFill>
                <a:effectLst/>
                <a:uLnTx/>
                <a:uFillTx/>
                <a:latin typeface="HarmonyOS Sans SC"/>
                <a:cs typeface="+mn-cs"/>
              </a:rPr>
              <a:t>A peep at some distant orb has power </a:t>
            </a:r>
            <a:br>
              <a:rPr kumimoji="0" lang="en-US" sz="1000" b="0" i="0" u="none" strike="noStrike" kern="1200" cap="none" spc="0" normalizeH="0" baseline="0" noProof="0" dirty="0">
                <a:ln>
                  <a:noFill/>
                </a:ln>
                <a:solidFill>
                  <a:prstClr val="black">
                    <a:lumMod val="50000"/>
                    <a:lumOff val="50000"/>
                    <a:alpha val="70000"/>
                  </a:prstClr>
                </a:solidFill>
                <a:effectLst/>
                <a:uLnTx/>
                <a:uFillTx/>
                <a:latin typeface="HarmonyOS Sans SC"/>
                <a:cs typeface="+mn-cs"/>
              </a:rPr>
            </a:br>
            <a:r>
              <a:rPr kumimoji="0" lang="en-US" sz="1000" b="0" i="0" u="none" strike="noStrike" kern="1200" cap="none" spc="0" normalizeH="0" baseline="0" noProof="0" dirty="0">
                <a:ln>
                  <a:noFill/>
                </a:ln>
                <a:solidFill>
                  <a:prstClr val="black">
                    <a:lumMod val="50000"/>
                    <a:lumOff val="50000"/>
                    <a:alpha val="70000"/>
                  </a:prstClr>
                </a:solidFill>
                <a:effectLst/>
                <a:uLnTx/>
                <a:uFillTx/>
                <a:latin typeface="HarmonyOS Sans SC"/>
                <a:cs typeface="+mn-cs"/>
              </a:rPr>
              <a:t>to raise our thoughts like a strain of sacred music.</a:t>
            </a:r>
          </a:p>
        </p:txBody>
      </p:sp>
      <p:sp>
        <p:nvSpPr>
          <p:cNvPr id="35" name="Freeform 2130">
            <a:extLst>
              <a:ext uri="{FF2B5EF4-FFF2-40B4-BE49-F238E27FC236}">
                <a16:creationId xmlns:a16="http://schemas.microsoft.com/office/drawing/2014/main" id="{35275197-3F64-400E-94ED-4D791C543BC1}"/>
              </a:ext>
            </a:extLst>
          </p:cNvPr>
          <p:cNvSpPr>
            <a:spLocks noEditPoints="1"/>
          </p:cNvSpPr>
          <p:nvPr/>
        </p:nvSpPr>
        <p:spPr bwMode="auto">
          <a:xfrm flipH="1">
            <a:off x="6715373" y="2498816"/>
            <a:ext cx="534378" cy="521952"/>
          </a:xfrm>
          <a:custGeom>
            <a:avLst/>
            <a:gdLst>
              <a:gd name="T0" fmla="*/ 131 w 160"/>
              <a:gd name="T1" fmla="*/ 76 h 155"/>
              <a:gd name="T2" fmla="*/ 23 w 160"/>
              <a:gd name="T3" fmla="*/ 73 h 155"/>
              <a:gd name="T4" fmla="*/ 26 w 160"/>
              <a:gd name="T5" fmla="*/ 70 h 155"/>
              <a:gd name="T6" fmla="*/ 35 w 160"/>
              <a:gd name="T7" fmla="*/ 85 h 155"/>
              <a:gd name="T8" fmla="*/ 32 w 160"/>
              <a:gd name="T9" fmla="*/ 82 h 155"/>
              <a:gd name="T10" fmla="*/ 55 w 160"/>
              <a:gd name="T11" fmla="*/ 82 h 155"/>
              <a:gd name="T12" fmla="*/ 41 w 160"/>
              <a:gd name="T13" fmla="*/ 91 h 155"/>
              <a:gd name="T14" fmla="*/ 44 w 160"/>
              <a:gd name="T15" fmla="*/ 88 h 155"/>
              <a:gd name="T16" fmla="*/ 61 w 160"/>
              <a:gd name="T17" fmla="*/ 94 h 155"/>
              <a:gd name="T18" fmla="*/ 58 w 160"/>
              <a:gd name="T19" fmla="*/ 91 h 155"/>
              <a:gd name="T20" fmla="*/ 73 w 160"/>
              <a:gd name="T21" fmla="*/ 99 h 155"/>
              <a:gd name="T22" fmla="*/ 84 w 160"/>
              <a:gd name="T23" fmla="*/ 99 h 155"/>
              <a:gd name="T24" fmla="*/ 87 w 160"/>
              <a:gd name="T25" fmla="*/ 97 h 155"/>
              <a:gd name="T26" fmla="*/ 96 w 160"/>
              <a:gd name="T27" fmla="*/ 94 h 155"/>
              <a:gd name="T28" fmla="*/ 93 w 160"/>
              <a:gd name="T29" fmla="*/ 91 h 155"/>
              <a:gd name="T30" fmla="*/ 82 w 160"/>
              <a:gd name="T31" fmla="*/ 108 h 155"/>
              <a:gd name="T32" fmla="*/ 102 w 160"/>
              <a:gd name="T33" fmla="*/ 82 h 155"/>
              <a:gd name="T34" fmla="*/ 105 w 160"/>
              <a:gd name="T35" fmla="*/ 79 h 155"/>
              <a:gd name="T36" fmla="*/ 122 w 160"/>
              <a:gd name="T37" fmla="*/ 85 h 155"/>
              <a:gd name="T38" fmla="*/ 119 w 160"/>
              <a:gd name="T39" fmla="*/ 82 h 155"/>
              <a:gd name="T40" fmla="*/ 117 w 160"/>
              <a:gd name="T41" fmla="*/ 91 h 155"/>
              <a:gd name="T42" fmla="*/ 132 w 160"/>
              <a:gd name="T43" fmla="*/ 93 h 155"/>
              <a:gd name="T44" fmla="*/ 80 w 160"/>
              <a:gd name="T45" fmla="*/ 155 h 155"/>
              <a:gd name="T46" fmla="*/ 0 w 160"/>
              <a:gd name="T47" fmla="*/ 77 h 155"/>
              <a:gd name="T48" fmla="*/ 80 w 160"/>
              <a:gd name="T49" fmla="*/ 0 h 155"/>
              <a:gd name="T50" fmla="*/ 160 w 160"/>
              <a:gd name="T51" fmla="*/ 77 h 155"/>
              <a:gd name="T52" fmla="*/ 12 w 160"/>
              <a:gd name="T53" fmla="*/ 45 h 155"/>
              <a:gd name="T54" fmla="*/ 126 w 160"/>
              <a:gd name="T55" fmla="*/ 58 h 155"/>
              <a:gd name="T56" fmla="*/ 12 w 160"/>
              <a:gd name="T57" fmla="*/ 45 h 155"/>
              <a:gd name="T58" fmla="*/ 18 w 160"/>
              <a:gd name="T59" fmla="*/ 79 h 155"/>
              <a:gd name="T60" fmla="*/ 50 w 160"/>
              <a:gd name="T61" fmla="*/ 99 h 155"/>
              <a:gd name="T62" fmla="*/ 54 w 160"/>
              <a:gd name="T63" fmla="*/ 102 h 155"/>
              <a:gd name="T64" fmla="*/ 64 w 160"/>
              <a:gd name="T65" fmla="*/ 107 h 155"/>
              <a:gd name="T66" fmla="*/ 93 w 160"/>
              <a:gd name="T67" fmla="*/ 108 h 155"/>
              <a:gd name="T68" fmla="*/ 105 w 160"/>
              <a:gd name="T69" fmla="*/ 102 h 155"/>
              <a:gd name="T70" fmla="*/ 108 w 160"/>
              <a:gd name="T71" fmla="*/ 99 h 155"/>
              <a:gd name="T72" fmla="*/ 126 w 160"/>
              <a:gd name="T73" fmla="*/ 90 h 155"/>
              <a:gd name="T74" fmla="*/ 140 w 160"/>
              <a:gd name="T75" fmla="*/ 79 h 155"/>
              <a:gd name="T76" fmla="*/ 126 w 160"/>
              <a:gd name="T77" fmla="*/ 65 h 155"/>
              <a:gd name="T78" fmla="*/ 122 w 160"/>
              <a:gd name="T79" fmla="*/ 67 h 155"/>
              <a:gd name="T80" fmla="*/ 114 w 160"/>
              <a:gd name="T81" fmla="*/ 76 h 155"/>
              <a:gd name="T82" fmla="*/ 82 w 160"/>
              <a:gd name="T83" fmla="*/ 91 h 155"/>
              <a:gd name="T84" fmla="*/ 76 w 160"/>
              <a:gd name="T85" fmla="*/ 89 h 155"/>
              <a:gd name="T86" fmla="*/ 44 w 160"/>
              <a:gd name="T87" fmla="*/ 76 h 155"/>
              <a:gd name="T88" fmla="*/ 37 w 160"/>
              <a:gd name="T89" fmla="*/ 67 h 155"/>
              <a:gd name="T90" fmla="*/ 12 w 160"/>
              <a:gd name="T91" fmla="*/ 77 h 155"/>
              <a:gd name="T92" fmla="*/ 34 w 160"/>
              <a:gd name="T93" fmla="*/ 97 h 155"/>
              <a:gd name="T94" fmla="*/ 148 w 160"/>
              <a:gd name="T95" fmla="*/ 110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60" h="155">
                <a:moveTo>
                  <a:pt x="131" y="70"/>
                </a:moveTo>
                <a:cubicBezTo>
                  <a:pt x="133" y="70"/>
                  <a:pt x="134" y="72"/>
                  <a:pt x="134" y="73"/>
                </a:cubicBezTo>
                <a:cubicBezTo>
                  <a:pt x="134" y="75"/>
                  <a:pt x="133" y="76"/>
                  <a:pt x="131" y="76"/>
                </a:cubicBezTo>
                <a:cubicBezTo>
                  <a:pt x="129" y="76"/>
                  <a:pt x="128" y="75"/>
                  <a:pt x="128" y="73"/>
                </a:cubicBezTo>
                <a:cubicBezTo>
                  <a:pt x="128" y="72"/>
                  <a:pt x="129" y="70"/>
                  <a:pt x="131" y="70"/>
                </a:cubicBezTo>
                <a:close/>
                <a:moveTo>
                  <a:pt x="23" y="73"/>
                </a:moveTo>
                <a:cubicBezTo>
                  <a:pt x="23" y="75"/>
                  <a:pt x="25" y="76"/>
                  <a:pt x="26" y="76"/>
                </a:cubicBezTo>
                <a:cubicBezTo>
                  <a:pt x="28" y="76"/>
                  <a:pt x="29" y="75"/>
                  <a:pt x="29" y="73"/>
                </a:cubicBezTo>
                <a:cubicBezTo>
                  <a:pt x="29" y="72"/>
                  <a:pt x="28" y="70"/>
                  <a:pt x="26" y="70"/>
                </a:cubicBezTo>
                <a:cubicBezTo>
                  <a:pt x="25" y="70"/>
                  <a:pt x="23" y="72"/>
                  <a:pt x="23" y="73"/>
                </a:cubicBezTo>
                <a:close/>
                <a:moveTo>
                  <a:pt x="32" y="82"/>
                </a:moveTo>
                <a:cubicBezTo>
                  <a:pt x="32" y="84"/>
                  <a:pt x="33" y="85"/>
                  <a:pt x="35" y="85"/>
                </a:cubicBezTo>
                <a:cubicBezTo>
                  <a:pt x="37" y="85"/>
                  <a:pt x="38" y="84"/>
                  <a:pt x="38" y="82"/>
                </a:cubicBezTo>
                <a:cubicBezTo>
                  <a:pt x="38" y="80"/>
                  <a:pt x="37" y="79"/>
                  <a:pt x="35" y="79"/>
                </a:cubicBezTo>
                <a:cubicBezTo>
                  <a:pt x="33" y="79"/>
                  <a:pt x="32" y="80"/>
                  <a:pt x="32" y="82"/>
                </a:cubicBezTo>
                <a:close/>
                <a:moveTo>
                  <a:pt x="50" y="82"/>
                </a:moveTo>
                <a:cubicBezTo>
                  <a:pt x="50" y="84"/>
                  <a:pt x="51" y="85"/>
                  <a:pt x="52" y="85"/>
                </a:cubicBezTo>
                <a:cubicBezTo>
                  <a:pt x="54" y="85"/>
                  <a:pt x="55" y="84"/>
                  <a:pt x="55" y="82"/>
                </a:cubicBezTo>
                <a:cubicBezTo>
                  <a:pt x="55" y="80"/>
                  <a:pt x="54" y="79"/>
                  <a:pt x="52" y="79"/>
                </a:cubicBezTo>
                <a:cubicBezTo>
                  <a:pt x="51" y="79"/>
                  <a:pt x="50" y="80"/>
                  <a:pt x="50" y="82"/>
                </a:cubicBezTo>
                <a:close/>
                <a:moveTo>
                  <a:pt x="41" y="91"/>
                </a:moveTo>
                <a:cubicBezTo>
                  <a:pt x="41" y="92"/>
                  <a:pt x="42" y="94"/>
                  <a:pt x="44" y="94"/>
                </a:cubicBezTo>
                <a:cubicBezTo>
                  <a:pt x="45" y="94"/>
                  <a:pt x="47" y="92"/>
                  <a:pt x="47" y="91"/>
                </a:cubicBezTo>
                <a:cubicBezTo>
                  <a:pt x="47" y="89"/>
                  <a:pt x="45" y="88"/>
                  <a:pt x="44" y="88"/>
                </a:cubicBezTo>
                <a:cubicBezTo>
                  <a:pt x="42" y="88"/>
                  <a:pt x="41" y="89"/>
                  <a:pt x="41" y="91"/>
                </a:cubicBezTo>
                <a:close/>
                <a:moveTo>
                  <a:pt x="58" y="91"/>
                </a:moveTo>
                <a:cubicBezTo>
                  <a:pt x="58" y="92"/>
                  <a:pt x="60" y="94"/>
                  <a:pt x="61" y="94"/>
                </a:cubicBezTo>
                <a:cubicBezTo>
                  <a:pt x="63" y="94"/>
                  <a:pt x="64" y="92"/>
                  <a:pt x="64" y="91"/>
                </a:cubicBezTo>
                <a:cubicBezTo>
                  <a:pt x="64" y="89"/>
                  <a:pt x="63" y="88"/>
                  <a:pt x="61" y="88"/>
                </a:cubicBezTo>
                <a:cubicBezTo>
                  <a:pt x="60" y="88"/>
                  <a:pt x="58" y="89"/>
                  <a:pt x="58" y="91"/>
                </a:cubicBezTo>
                <a:close/>
                <a:moveTo>
                  <a:pt x="67" y="99"/>
                </a:moveTo>
                <a:cubicBezTo>
                  <a:pt x="67" y="101"/>
                  <a:pt x="68" y="102"/>
                  <a:pt x="70" y="102"/>
                </a:cubicBezTo>
                <a:cubicBezTo>
                  <a:pt x="72" y="102"/>
                  <a:pt x="73" y="101"/>
                  <a:pt x="73" y="99"/>
                </a:cubicBezTo>
                <a:cubicBezTo>
                  <a:pt x="73" y="98"/>
                  <a:pt x="72" y="97"/>
                  <a:pt x="70" y="97"/>
                </a:cubicBezTo>
                <a:cubicBezTo>
                  <a:pt x="68" y="97"/>
                  <a:pt x="67" y="98"/>
                  <a:pt x="67" y="99"/>
                </a:cubicBezTo>
                <a:close/>
                <a:moveTo>
                  <a:pt x="84" y="99"/>
                </a:moveTo>
                <a:cubicBezTo>
                  <a:pt x="84" y="101"/>
                  <a:pt x="86" y="102"/>
                  <a:pt x="87" y="102"/>
                </a:cubicBezTo>
                <a:cubicBezTo>
                  <a:pt x="89" y="102"/>
                  <a:pt x="90" y="101"/>
                  <a:pt x="90" y="99"/>
                </a:cubicBezTo>
                <a:cubicBezTo>
                  <a:pt x="90" y="98"/>
                  <a:pt x="89" y="97"/>
                  <a:pt x="87" y="97"/>
                </a:cubicBezTo>
                <a:cubicBezTo>
                  <a:pt x="86" y="97"/>
                  <a:pt x="84" y="98"/>
                  <a:pt x="84" y="99"/>
                </a:cubicBezTo>
                <a:close/>
                <a:moveTo>
                  <a:pt x="93" y="91"/>
                </a:moveTo>
                <a:cubicBezTo>
                  <a:pt x="93" y="92"/>
                  <a:pt x="95" y="94"/>
                  <a:pt x="96" y="94"/>
                </a:cubicBezTo>
                <a:cubicBezTo>
                  <a:pt x="98" y="94"/>
                  <a:pt x="99" y="92"/>
                  <a:pt x="99" y="91"/>
                </a:cubicBezTo>
                <a:cubicBezTo>
                  <a:pt x="99" y="89"/>
                  <a:pt x="98" y="88"/>
                  <a:pt x="96" y="88"/>
                </a:cubicBezTo>
                <a:cubicBezTo>
                  <a:pt x="95" y="88"/>
                  <a:pt x="93" y="89"/>
                  <a:pt x="93" y="91"/>
                </a:cubicBezTo>
                <a:close/>
                <a:moveTo>
                  <a:pt x="76" y="108"/>
                </a:moveTo>
                <a:cubicBezTo>
                  <a:pt x="76" y="110"/>
                  <a:pt x="77" y="111"/>
                  <a:pt x="79" y="111"/>
                </a:cubicBezTo>
                <a:cubicBezTo>
                  <a:pt x="80" y="111"/>
                  <a:pt x="82" y="110"/>
                  <a:pt x="82" y="108"/>
                </a:cubicBezTo>
                <a:cubicBezTo>
                  <a:pt x="82" y="107"/>
                  <a:pt x="80" y="105"/>
                  <a:pt x="79" y="105"/>
                </a:cubicBezTo>
                <a:cubicBezTo>
                  <a:pt x="77" y="105"/>
                  <a:pt x="76" y="107"/>
                  <a:pt x="76" y="108"/>
                </a:cubicBezTo>
                <a:close/>
                <a:moveTo>
                  <a:pt x="102" y="82"/>
                </a:moveTo>
                <a:cubicBezTo>
                  <a:pt x="102" y="84"/>
                  <a:pt x="103" y="85"/>
                  <a:pt x="105" y="85"/>
                </a:cubicBezTo>
                <a:cubicBezTo>
                  <a:pt x="106" y="85"/>
                  <a:pt x="108" y="84"/>
                  <a:pt x="108" y="82"/>
                </a:cubicBezTo>
                <a:cubicBezTo>
                  <a:pt x="108" y="80"/>
                  <a:pt x="106" y="79"/>
                  <a:pt x="105" y="79"/>
                </a:cubicBezTo>
                <a:cubicBezTo>
                  <a:pt x="103" y="79"/>
                  <a:pt x="102" y="80"/>
                  <a:pt x="102" y="82"/>
                </a:cubicBezTo>
                <a:close/>
                <a:moveTo>
                  <a:pt x="119" y="82"/>
                </a:moveTo>
                <a:cubicBezTo>
                  <a:pt x="119" y="84"/>
                  <a:pt x="121" y="85"/>
                  <a:pt x="122" y="85"/>
                </a:cubicBezTo>
                <a:cubicBezTo>
                  <a:pt x="124" y="85"/>
                  <a:pt x="125" y="84"/>
                  <a:pt x="125" y="82"/>
                </a:cubicBezTo>
                <a:cubicBezTo>
                  <a:pt x="125" y="80"/>
                  <a:pt x="124" y="79"/>
                  <a:pt x="122" y="79"/>
                </a:cubicBezTo>
                <a:cubicBezTo>
                  <a:pt x="121" y="79"/>
                  <a:pt x="119" y="80"/>
                  <a:pt x="119" y="82"/>
                </a:cubicBezTo>
                <a:close/>
                <a:moveTo>
                  <a:pt x="111" y="91"/>
                </a:moveTo>
                <a:cubicBezTo>
                  <a:pt x="111" y="92"/>
                  <a:pt x="112" y="94"/>
                  <a:pt x="114" y="94"/>
                </a:cubicBezTo>
                <a:cubicBezTo>
                  <a:pt x="115" y="94"/>
                  <a:pt x="117" y="92"/>
                  <a:pt x="117" y="91"/>
                </a:cubicBezTo>
                <a:cubicBezTo>
                  <a:pt x="117" y="89"/>
                  <a:pt x="115" y="88"/>
                  <a:pt x="114" y="88"/>
                </a:cubicBezTo>
                <a:cubicBezTo>
                  <a:pt x="112" y="88"/>
                  <a:pt x="111" y="89"/>
                  <a:pt x="111" y="91"/>
                </a:cubicBezTo>
                <a:close/>
                <a:moveTo>
                  <a:pt x="132" y="93"/>
                </a:moveTo>
                <a:cubicBezTo>
                  <a:pt x="132" y="94"/>
                  <a:pt x="132" y="94"/>
                  <a:pt x="132" y="94"/>
                </a:cubicBezTo>
                <a:cubicBezTo>
                  <a:pt x="160" y="109"/>
                  <a:pt x="160" y="109"/>
                  <a:pt x="160" y="109"/>
                </a:cubicBezTo>
                <a:cubicBezTo>
                  <a:pt x="80" y="155"/>
                  <a:pt x="80" y="155"/>
                  <a:pt x="80" y="155"/>
                </a:cubicBezTo>
                <a:cubicBezTo>
                  <a:pt x="0" y="109"/>
                  <a:pt x="0" y="109"/>
                  <a:pt x="0" y="109"/>
                </a:cubicBezTo>
                <a:cubicBezTo>
                  <a:pt x="28" y="94"/>
                  <a:pt x="28" y="94"/>
                  <a:pt x="28" y="94"/>
                </a:cubicBezTo>
                <a:cubicBezTo>
                  <a:pt x="0" y="77"/>
                  <a:pt x="0" y="77"/>
                  <a:pt x="0" y="77"/>
                </a:cubicBezTo>
                <a:cubicBezTo>
                  <a:pt x="28" y="61"/>
                  <a:pt x="28" y="61"/>
                  <a:pt x="28" y="61"/>
                </a:cubicBezTo>
                <a:cubicBezTo>
                  <a:pt x="0" y="45"/>
                  <a:pt x="0" y="45"/>
                  <a:pt x="0" y="45"/>
                </a:cubicBezTo>
                <a:cubicBezTo>
                  <a:pt x="80" y="0"/>
                  <a:pt x="80" y="0"/>
                  <a:pt x="80" y="0"/>
                </a:cubicBezTo>
                <a:cubicBezTo>
                  <a:pt x="160" y="45"/>
                  <a:pt x="160" y="45"/>
                  <a:pt x="160" y="45"/>
                </a:cubicBezTo>
                <a:cubicBezTo>
                  <a:pt x="132" y="61"/>
                  <a:pt x="132" y="61"/>
                  <a:pt x="132" y="61"/>
                </a:cubicBezTo>
                <a:cubicBezTo>
                  <a:pt x="160" y="77"/>
                  <a:pt x="160" y="77"/>
                  <a:pt x="160" y="77"/>
                </a:cubicBezTo>
                <a:cubicBezTo>
                  <a:pt x="133" y="93"/>
                  <a:pt x="133" y="93"/>
                  <a:pt x="133" y="93"/>
                </a:cubicBezTo>
                <a:cubicBezTo>
                  <a:pt x="132" y="93"/>
                  <a:pt x="132" y="93"/>
                  <a:pt x="132" y="93"/>
                </a:cubicBezTo>
                <a:close/>
                <a:moveTo>
                  <a:pt x="12" y="45"/>
                </a:moveTo>
                <a:cubicBezTo>
                  <a:pt x="80" y="84"/>
                  <a:pt x="80" y="84"/>
                  <a:pt x="80" y="84"/>
                </a:cubicBezTo>
                <a:cubicBezTo>
                  <a:pt x="126" y="58"/>
                  <a:pt x="126" y="58"/>
                  <a:pt x="126" y="58"/>
                </a:cubicBezTo>
                <a:cubicBezTo>
                  <a:pt x="126" y="58"/>
                  <a:pt x="126" y="58"/>
                  <a:pt x="126" y="58"/>
                </a:cubicBezTo>
                <a:cubicBezTo>
                  <a:pt x="148" y="45"/>
                  <a:pt x="148" y="45"/>
                  <a:pt x="148" y="45"/>
                </a:cubicBezTo>
                <a:cubicBezTo>
                  <a:pt x="80" y="7"/>
                  <a:pt x="80" y="7"/>
                  <a:pt x="80" y="7"/>
                </a:cubicBezTo>
                <a:lnTo>
                  <a:pt x="12" y="45"/>
                </a:lnTo>
                <a:close/>
                <a:moveTo>
                  <a:pt x="12" y="77"/>
                </a:moveTo>
                <a:cubicBezTo>
                  <a:pt x="16" y="80"/>
                  <a:pt x="16" y="80"/>
                  <a:pt x="16" y="80"/>
                </a:cubicBezTo>
                <a:cubicBezTo>
                  <a:pt x="16" y="79"/>
                  <a:pt x="17" y="79"/>
                  <a:pt x="18" y="79"/>
                </a:cubicBezTo>
                <a:cubicBezTo>
                  <a:pt x="19" y="79"/>
                  <a:pt x="20" y="80"/>
                  <a:pt x="20" y="82"/>
                </a:cubicBezTo>
                <a:cubicBezTo>
                  <a:pt x="20" y="82"/>
                  <a:pt x="20" y="82"/>
                  <a:pt x="20" y="82"/>
                </a:cubicBezTo>
                <a:cubicBezTo>
                  <a:pt x="50" y="99"/>
                  <a:pt x="50" y="99"/>
                  <a:pt x="50" y="99"/>
                </a:cubicBezTo>
                <a:cubicBezTo>
                  <a:pt x="50" y="98"/>
                  <a:pt x="51" y="97"/>
                  <a:pt x="52" y="97"/>
                </a:cubicBezTo>
                <a:cubicBezTo>
                  <a:pt x="54" y="97"/>
                  <a:pt x="55" y="98"/>
                  <a:pt x="55" y="99"/>
                </a:cubicBezTo>
                <a:cubicBezTo>
                  <a:pt x="55" y="100"/>
                  <a:pt x="55" y="101"/>
                  <a:pt x="54" y="102"/>
                </a:cubicBezTo>
                <a:cubicBezTo>
                  <a:pt x="61" y="105"/>
                  <a:pt x="61" y="105"/>
                  <a:pt x="61" y="105"/>
                </a:cubicBezTo>
                <a:cubicBezTo>
                  <a:pt x="61" y="105"/>
                  <a:pt x="61" y="105"/>
                  <a:pt x="61" y="105"/>
                </a:cubicBezTo>
                <a:cubicBezTo>
                  <a:pt x="63" y="105"/>
                  <a:pt x="64" y="106"/>
                  <a:pt x="64" y="107"/>
                </a:cubicBezTo>
                <a:cubicBezTo>
                  <a:pt x="80" y="116"/>
                  <a:pt x="80" y="116"/>
                  <a:pt x="80" y="116"/>
                </a:cubicBezTo>
                <a:cubicBezTo>
                  <a:pt x="93" y="109"/>
                  <a:pt x="93" y="109"/>
                  <a:pt x="93" y="109"/>
                </a:cubicBezTo>
                <a:cubicBezTo>
                  <a:pt x="93" y="109"/>
                  <a:pt x="93" y="108"/>
                  <a:pt x="93" y="108"/>
                </a:cubicBezTo>
                <a:cubicBezTo>
                  <a:pt x="93" y="107"/>
                  <a:pt x="95" y="105"/>
                  <a:pt x="96" y="105"/>
                </a:cubicBezTo>
                <a:cubicBezTo>
                  <a:pt x="97" y="105"/>
                  <a:pt x="98" y="106"/>
                  <a:pt x="98" y="106"/>
                </a:cubicBezTo>
                <a:cubicBezTo>
                  <a:pt x="105" y="102"/>
                  <a:pt x="105" y="102"/>
                  <a:pt x="105" y="102"/>
                </a:cubicBezTo>
                <a:cubicBezTo>
                  <a:pt x="103" y="102"/>
                  <a:pt x="102" y="101"/>
                  <a:pt x="102" y="99"/>
                </a:cubicBezTo>
                <a:cubicBezTo>
                  <a:pt x="102" y="98"/>
                  <a:pt x="103" y="97"/>
                  <a:pt x="105" y="97"/>
                </a:cubicBezTo>
                <a:cubicBezTo>
                  <a:pt x="106" y="97"/>
                  <a:pt x="108" y="98"/>
                  <a:pt x="108" y="99"/>
                </a:cubicBezTo>
                <a:cubicBezTo>
                  <a:pt x="108" y="100"/>
                  <a:pt x="108" y="100"/>
                  <a:pt x="107" y="101"/>
                </a:cubicBezTo>
                <a:cubicBezTo>
                  <a:pt x="126" y="90"/>
                  <a:pt x="126" y="90"/>
                  <a:pt x="126" y="90"/>
                </a:cubicBezTo>
                <a:cubicBezTo>
                  <a:pt x="126" y="90"/>
                  <a:pt x="126" y="90"/>
                  <a:pt x="126" y="90"/>
                </a:cubicBezTo>
                <a:cubicBezTo>
                  <a:pt x="137" y="84"/>
                  <a:pt x="137" y="84"/>
                  <a:pt x="137" y="84"/>
                </a:cubicBezTo>
                <a:cubicBezTo>
                  <a:pt x="137" y="83"/>
                  <a:pt x="137" y="83"/>
                  <a:pt x="137" y="82"/>
                </a:cubicBezTo>
                <a:cubicBezTo>
                  <a:pt x="137" y="80"/>
                  <a:pt x="138" y="79"/>
                  <a:pt x="140" y="79"/>
                </a:cubicBezTo>
                <a:cubicBezTo>
                  <a:pt x="141" y="79"/>
                  <a:pt x="142" y="80"/>
                  <a:pt x="142" y="81"/>
                </a:cubicBezTo>
                <a:cubicBezTo>
                  <a:pt x="148" y="77"/>
                  <a:pt x="148" y="77"/>
                  <a:pt x="148" y="77"/>
                </a:cubicBezTo>
                <a:cubicBezTo>
                  <a:pt x="126" y="65"/>
                  <a:pt x="126" y="65"/>
                  <a:pt x="126" y="65"/>
                </a:cubicBezTo>
                <a:cubicBezTo>
                  <a:pt x="125" y="65"/>
                  <a:pt x="125" y="65"/>
                  <a:pt x="125" y="65"/>
                </a:cubicBezTo>
                <a:cubicBezTo>
                  <a:pt x="125" y="67"/>
                  <a:pt x="124" y="67"/>
                  <a:pt x="122" y="67"/>
                </a:cubicBezTo>
                <a:cubicBezTo>
                  <a:pt x="122" y="67"/>
                  <a:pt x="122" y="67"/>
                  <a:pt x="122" y="67"/>
                </a:cubicBezTo>
                <a:cubicBezTo>
                  <a:pt x="115" y="71"/>
                  <a:pt x="115" y="71"/>
                  <a:pt x="115" y="71"/>
                </a:cubicBezTo>
                <a:cubicBezTo>
                  <a:pt x="116" y="71"/>
                  <a:pt x="117" y="72"/>
                  <a:pt x="117" y="73"/>
                </a:cubicBezTo>
                <a:cubicBezTo>
                  <a:pt x="117" y="75"/>
                  <a:pt x="115" y="76"/>
                  <a:pt x="114" y="76"/>
                </a:cubicBezTo>
                <a:cubicBezTo>
                  <a:pt x="112" y="76"/>
                  <a:pt x="111" y="75"/>
                  <a:pt x="111" y="74"/>
                </a:cubicBezTo>
                <a:cubicBezTo>
                  <a:pt x="82" y="90"/>
                  <a:pt x="82" y="90"/>
                  <a:pt x="82" y="90"/>
                </a:cubicBezTo>
                <a:cubicBezTo>
                  <a:pt x="82" y="90"/>
                  <a:pt x="82" y="91"/>
                  <a:pt x="82" y="91"/>
                </a:cubicBezTo>
                <a:cubicBezTo>
                  <a:pt x="82" y="92"/>
                  <a:pt x="80" y="94"/>
                  <a:pt x="79" y="94"/>
                </a:cubicBezTo>
                <a:cubicBezTo>
                  <a:pt x="77" y="94"/>
                  <a:pt x="76" y="92"/>
                  <a:pt x="76" y="91"/>
                </a:cubicBezTo>
                <a:cubicBezTo>
                  <a:pt x="76" y="90"/>
                  <a:pt x="76" y="90"/>
                  <a:pt x="76" y="89"/>
                </a:cubicBezTo>
                <a:cubicBezTo>
                  <a:pt x="46" y="72"/>
                  <a:pt x="46" y="72"/>
                  <a:pt x="46" y="72"/>
                </a:cubicBezTo>
                <a:cubicBezTo>
                  <a:pt x="46" y="72"/>
                  <a:pt x="47" y="73"/>
                  <a:pt x="47" y="73"/>
                </a:cubicBezTo>
                <a:cubicBezTo>
                  <a:pt x="47" y="75"/>
                  <a:pt x="45" y="76"/>
                  <a:pt x="44" y="76"/>
                </a:cubicBezTo>
                <a:cubicBezTo>
                  <a:pt x="42" y="76"/>
                  <a:pt x="41" y="75"/>
                  <a:pt x="41" y="73"/>
                </a:cubicBezTo>
                <a:cubicBezTo>
                  <a:pt x="41" y="72"/>
                  <a:pt x="42" y="70"/>
                  <a:pt x="44" y="70"/>
                </a:cubicBezTo>
                <a:cubicBezTo>
                  <a:pt x="37" y="67"/>
                  <a:pt x="37" y="67"/>
                  <a:pt x="37" y="67"/>
                </a:cubicBezTo>
                <a:cubicBezTo>
                  <a:pt x="36" y="67"/>
                  <a:pt x="36" y="67"/>
                  <a:pt x="35" y="67"/>
                </a:cubicBezTo>
                <a:cubicBezTo>
                  <a:pt x="34" y="67"/>
                  <a:pt x="33" y="67"/>
                  <a:pt x="32" y="66"/>
                </a:cubicBezTo>
                <a:lnTo>
                  <a:pt x="12" y="77"/>
                </a:lnTo>
                <a:close/>
                <a:moveTo>
                  <a:pt x="126" y="97"/>
                </a:moveTo>
                <a:cubicBezTo>
                  <a:pt x="80" y="123"/>
                  <a:pt x="80" y="123"/>
                  <a:pt x="80" y="123"/>
                </a:cubicBezTo>
                <a:cubicBezTo>
                  <a:pt x="34" y="97"/>
                  <a:pt x="34" y="97"/>
                  <a:pt x="34" y="97"/>
                </a:cubicBezTo>
                <a:cubicBezTo>
                  <a:pt x="12" y="110"/>
                  <a:pt x="12" y="110"/>
                  <a:pt x="12" y="110"/>
                </a:cubicBezTo>
                <a:cubicBezTo>
                  <a:pt x="80" y="148"/>
                  <a:pt x="80" y="148"/>
                  <a:pt x="80" y="148"/>
                </a:cubicBezTo>
                <a:cubicBezTo>
                  <a:pt x="148" y="110"/>
                  <a:pt x="148" y="110"/>
                  <a:pt x="148" y="110"/>
                </a:cubicBezTo>
                <a:lnTo>
                  <a:pt x="126" y="97"/>
                </a:lnTo>
                <a:close/>
              </a:path>
            </a:pathLst>
          </a:custGeom>
          <a:gradFill>
            <a:gsLst>
              <a:gs pos="0">
                <a:schemeClr val="accent1">
                  <a:lumMod val="60000"/>
                  <a:lumOff val="40000"/>
                </a:schemeClr>
              </a:gs>
              <a:gs pos="36000">
                <a:schemeClr val="accent1">
                  <a:alpha val="77000"/>
                </a:schemeClr>
              </a:gs>
            </a:gsLst>
            <a:lin ang="0" scaled="0"/>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HarmonyOS Sans SC"/>
              <a:cs typeface="+mn-cs"/>
            </a:endParaRPr>
          </a:p>
        </p:txBody>
      </p:sp>
      <p:sp>
        <p:nvSpPr>
          <p:cNvPr id="29" name="TextBox 40">
            <a:extLst>
              <a:ext uri="{FF2B5EF4-FFF2-40B4-BE49-F238E27FC236}">
                <a16:creationId xmlns:a16="http://schemas.microsoft.com/office/drawing/2014/main" id="{88C259EC-D17A-4AF5-B2C1-FBF2AEC3A2DF}"/>
              </a:ext>
            </a:extLst>
          </p:cNvPr>
          <p:cNvSpPr txBox="1"/>
          <p:nvPr/>
        </p:nvSpPr>
        <p:spPr>
          <a:xfrm>
            <a:off x="7491912" y="4847963"/>
            <a:ext cx="3889977" cy="454218"/>
          </a:xfrm>
          <a:prstGeom prst="rect">
            <a:avLst/>
          </a:prstGeom>
          <a:noFill/>
        </p:spPr>
        <p:txBody>
          <a:bodyPr wrap="square" lIns="0" tIns="36000" rIns="0" bIns="36000" rtlCol="0">
            <a:spAutoFit/>
          </a:bodyPr>
          <a:lstStyle/>
          <a:p>
            <a:pPr marL="0" marR="0" lvl="0" indent="0" algn="l" defTabSz="914400" rtl="0" eaLnBrk="1" fontAlgn="auto" latinLnBrk="0" hangingPunct="1">
              <a:lnSpc>
                <a:spcPct val="130000"/>
              </a:lnSpc>
              <a:spcBef>
                <a:spcPts val="100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alpha val="70000"/>
                  </a:prstClr>
                </a:solidFill>
                <a:effectLst/>
                <a:uLnTx/>
                <a:uFillTx/>
                <a:latin typeface="HarmonyOS Sans SC"/>
                <a:cs typeface="+mn-cs"/>
              </a:rPr>
              <a:t>A peep at some distant orb has power to </a:t>
            </a:r>
            <a:br>
              <a:rPr kumimoji="0" lang="en-US" sz="1000" b="0" i="0" u="none" strike="noStrike" kern="1200" cap="none" spc="0" normalizeH="0" baseline="0" noProof="0" dirty="0">
                <a:ln>
                  <a:noFill/>
                </a:ln>
                <a:solidFill>
                  <a:prstClr val="black">
                    <a:lumMod val="50000"/>
                    <a:lumOff val="50000"/>
                    <a:alpha val="70000"/>
                  </a:prstClr>
                </a:solidFill>
                <a:effectLst/>
                <a:uLnTx/>
                <a:uFillTx/>
                <a:latin typeface="HarmonyOS Sans SC"/>
                <a:cs typeface="+mn-cs"/>
              </a:rPr>
            </a:br>
            <a:r>
              <a:rPr kumimoji="0" lang="en-US" sz="1000" b="0" i="0" u="none" strike="noStrike" kern="1200" cap="none" spc="0" normalizeH="0" baseline="0" noProof="0" dirty="0">
                <a:ln>
                  <a:noFill/>
                </a:ln>
                <a:solidFill>
                  <a:prstClr val="black">
                    <a:lumMod val="50000"/>
                    <a:lumOff val="50000"/>
                    <a:alpha val="70000"/>
                  </a:prstClr>
                </a:solidFill>
                <a:effectLst/>
                <a:uLnTx/>
                <a:uFillTx/>
                <a:latin typeface="HarmonyOS Sans SC"/>
                <a:cs typeface="+mn-cs"/>
              </a:rPr>
              <a:t>raise and purify our thoughts like a strain of sacred.</a:t>
            </a:r>
          </a:p>
        </p:txBody>
      </p:sp>
      <p:sp>
        <p:nvSpPr>
          <p:cNvPr id="36" name="Freeform 848">
            <a:extLst>
              <a:ext uri="{FF2B5EF4-FFF2-40B4-BE49-F238E27FC236}">
                <a16:creationId xmlns:a16="http://schemas.microsoft.com/office/drawing/2014/main" id="{08E787AA-0A0B-483D-A721-60EA009832BF}"/>
              </a:ext>
            </a:extLst>
          </p:cNvPr>
          <p:cNvSpPr>
            <a:spLocks noEditPoints="1"/>
          </p:cNvSpPr>
          <p:nvPr/>
        </p:nvSpPr>
        <p:spPr bwMode="auto">
          <a:xfrm>
            <a:off x="6743525" y="4853406"/>
            <a:ext cx="478074" cy="443332"/>
          </a:xfrm>
          <a:custGeom>
            <a:avLst/>
            <a:gdLst>
              <a:gd name="T0" fmla="*/ 125 w 160"/>
              <a:gd name="T1" fmla="*/ 53 h 147"/>
              <a:gd name="T2" fmla="*/ 93 w 160"/>
              <a:gd name="T3" fmla="*/ 15 h 147"/>
              <a:gd name="T4" fmla="*/ 80 w 160"/>
              <a:gd name="T5" fmla="*/ 0 h 147"/>
              <a:gd name="T6" fmla="*/ 67 w 160"/>
              <a:gd name="T7" fmla="*/ 15 h 147"/>
              <a:gd name="T8" fmla="*/ 35 w 160"/>
              <a:gd name="T9" fmla="*/ 53 h 147"/>
              <a:gd name="T10" fmla="*/ 17 w 160"/>
              <a:gd name="T11" fmla="*/ 121 h 147"/>
              <a:gd name="T12" fmla="*/ 18 w 160"/>
              <a:gd name="T13" fmla="*/ 125 h 147"/>
              <a:gd name="T14" fmla="*/ 57 w 160"/>
              <a:gd name="T15" fmla="*/ 132 h 147"/>
              <a:gd name="T16" fmla="*/ 104 w 160"/>
              <a:gd name="T17" fmla="*/ 132 h 147"/>
              <a:gd name="T18" fmla="*/ 143 w 160"/>
              <a:gd name="T19" fmla="*/ 125 h 147"/>
              <a:gd name="T20" fmla="*/ 144 w 160"/>
              <a:gd name="T21" fmla="*/ 121 h 147"/>
              <a:gd name="T22" fmla="*/ 72 w 160"/>
              <a:gd name="T23" fmla="*/ 13 h 147"/>
              <a:gd name="T24" fmla="*/ 88 w 160"/>
              <a:gd name="T25" fmla="*/ 13 h 147"/>
              <a:gd name="T26" fmla="*/ 72 w 160"/>
              <a:gd name="T27" fmla="*/ 14 h 147"/>
              <a:gd name="T28" fmla="*/ 80 w 160"/>
              <a:gd name="T29" fmla="*/ 141 h 147"/>
              <a:gd name="T30" fmla="*/ 80 w 160"/>
              <a:gd name="T31" fmla="*/ 133 h 147"/>
              <a:gd name="T32" fmla="*/ 80 w 160"/>
              <a:gd name="T33" fmla="*/ 141 h 147"/>
              <a:gd name="T34" fmla="*/ 102 w 160"/>
              <a:gd name="T35" fmla="*/ 127 h 147"/>
              <a:gd name="T36" fmla="*/ 97 w 160"/>
              <a:gd name="T37" fmla="*/ 127 h 147"/>
              <a:gd name="T38" fmla="*/ 91 w 160"/>
              <a:gd name="T39" fmla="*/ 128 h 147"/>
              <a:gd name="T40" fmla="*/ 86 w 160"/>
              <a:gd name="T41" fmla="*/ 128 h 147"/>
              <a:gd name="T42" fmla="*/ 76 w 160"/>
              <a:gd name="T43" fmla="*/ 128 h 147"/>
              <a:gd name="T44" fmla="*/ 70 w 160"/>
              <a:gd name="T45" fmla="*/ 128 h 147"/>
              <a:gd name="T46" fmla="*/ 65 w 160"/>
              <a:gd name="T47" fmla="*/ 127 h 147"/>
              <a:gd name="T48" fmla="*/ 59 w 160"/>
              <a:gd name="T49" fmla="*/ 127 h 147"/>
              <a:gd name="T50" fmla="*/ 44 w 160"/>
              <a:gd name="T51" fmla="*/ 124 h 147"/>
              <a:gd name="T52" fmla="*/ 40 w 160"/>
              <a:gd name="T53" fmla="*/ 77 h 147"/>
              <a:gd name="T54" fmla="*/ 61 w 160"/>
              <a:gd name="T55" fmla="*/ 23 h 147"/>
              <a:gd name="T56" fmla="*/ 70 w 160"/>
              <a:gd name="T57" fmla="*/ 20 h 147"/>
              <a:gd name="T58" fmla="*/ 90 w 160"/>
              <a:gd name="T59" fmla="*/ 20 h 147"/>
              <a:gd name="T60" fmla="*/ 120 w 160"/>
              <a:gd name="T61" fmla="*/ 53 h 147"/>
              <a:gd name="T62" fmla="*/ 137 w 160"/>
              <a:gd name="T63" fmla="*/ 121 h 147"/>
              <a:gd name="T64" fmla="*/ 98 w 160"/>
              <a:gd name="T65" fmla="*/ 34 h 147"/>
              <a:gd name="T66" fmla="*/ 66 w 160"/>
              <a:gd name="T67" fmla="*/ 35 h 147"/>
              <a:gd name="T68" fmla="*/ 51 w 160"/>
              <a:gd name="T69" fmla="*/ 56 h 147"/>
              <a:gd name="T70" fmla="*/ 48 w 160"/>
              <a:gd name="T71" fmla="*/ 53 h 147"/>
              <a:gd name="T72" fmla="*/ 97 w 160"/>
              <a:gd name="T73" fmla="*/ 30 h 147"/>
              <a:gd name="T74" fmla="*/ 13 w 160"/>
              <a:gd name="T75" fmla="*/ 58 h 147"/>
              <a:gd name="T76" fmla="*/ 13 w 160"/>
              <a:gd name="T77" fmla="*/ 94 h 147"/>
              <a:gd name="T78" fmla="*/ 11 w 160"/>
              <a:gd name="T79" fmla="*/ 99 h 147"/>
              <a:gd name="T80" fmla="*/ 0 w 160"/>
              <a:gd name="T81" fmla="*/ 76 h 147"/>
              <a:gd name="T82" fmla="*/ 13 w 160"/>
              <a:gd name="T83" fmla="*/ 54 h 147"/>
              <a:gd name="T84" fmla="*/ 20 w 160"/>
              <a:gd name="T85" fmla="*/ 92 h 147"/>
              <a:gd name="T86" fmla="*/ 24 w 160"/>
              <a:gd name="T87" fmla="*/ 59 h 147"/>
              <a:gd name="T88" fmla="*/ 24 w 160"/>
              <a:gd name="T89" fmla="*/ 88 h 147"/>
              <a:gd name="T90" fmla="*/ 22 w 160"/>
              <a:gd name="T91" fmla="*/ 93 h 147"/>
              <a:gd name="T92" fmla="*/ 160 w 160"/>
              <a:gd name="T93" fmla="*/ 76 h 147"/>
              <a:gd name="T94" fmla="*/ 149 w 160"/>
              <a:gd name="T95" fmla="*/ 99 h 147"/>
              <a:gd name="T96" fmla="*/ 147 w 160"/>
              <a:gd name="T97" fmla="*/ 94 h 147"/>
              <a:gd name="T98" fmla="*/ 147 w 160"/>
              <a:gd name="T99" fmla="*/ 58 h 147"/>
              <a:gd name="T100" fmla="*/ 151 w 160"/>
              <a:gd name="T101" fmla="*/ 54 h 147"/>
              <a:gd name="T102" fmla="*/ 140 w 160"/>
              <a:gd name="T103" fmla="*/ 59 h 147"/>
              <a:gd name="T104" fmla="*/ 138 w 160"/>
              <a:gd name="T105" fmla="*/ 93 h 147"/>
              <a:gd name="T106" fmla="*/ 136 w 160"/>
              <a:gd name="T107" fmla="*/ 88 h 147"/>
              <a:gd name="T108" fmla="*/ 136 w 160"/>
              <a:gd name="T109" fmla="*/ 59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60" h="147">
                <a:moveTo>
                  <a:pt x="125" y="77"/>
                </a:moveTo>
                <a:cubicBezTo>
                  <a:pt x="125" y="53"/>
                  <a:pt x="125" y="53"/>
                  <a:pt x="125" y="53"/>
                </a:cubicBezTo>
                <a:cubicBezTo>
                  <a:pt x="126" y="35"/>
                  <a:pt x="113" y="23"/>
                  <a:pt x="103" y="18"/>
                </a:cubicBezTo>
                <a:cubicBezTo>
                  <a:pt x="100" y="17"/>
                  <a:pt x="97" y="16"/>
                  <a:pt x="93" y="15"/>
                </a:cubicBezTo>
                <a:cubicBezTo>
                  <a:pt x="93" y="13"/>
                  <a:pt x="93" y="13"/>
                  <a:pt x="93" y="13"/>
                </a:cubicBezTo>
                <a:cubicBezTo>
                  <a:pt x="93" y="6"/>
                  <a:pt x="87" y="0"/>
                  <a:pt x="80" y="0"/>
                </a:cubicBezTo>
                <a:cubicBezTo>
                  <a:pt x="73" y="0"/>
                  <a:pt x="67" y="6"/>
                  <a:pt x="67" y="13"/>
                </a:cubicBezTo>
                <a:cubicBezTo>
                  <a:pt x="67" y="15"/>
                  <a:pt x="67" y="15"/>
                  <a:pt x="67" y="15"/>
                </a:cubicBezTo>
                <a:cubicBezTo>
                  <a:pt x="64" y="16"/>
                  <a:pt x="61" y="17"/>
                  <a:pt x="58" y="18"/>
                </a:cubicBezTo>
                <a:cubicBezTo>
                  <a:pt x="47" y="24"/>
                  <a:pt x="35" y="36"/>
                  <a:pt x="35" y="53"/>
                </a:cubicBezTo>
                <a:cubicBezTo>
                  <a:pt x="35" y="77"/>
                  <a:pt x="35" y="77"/>
                  <a:pt x="35" y="77"/>
                </a:cubicBezTo>
                <a:cubicBezTo>
                  <a:pt x="35" y="94"/>
                  <a:pt x="29" y="109"/>
                  <a:pt x="17" y="121"/>
                </a:cubicBezTo>
                <a:cubicBezTo>
                  <a:pt x="16" y="121"/>
                  <a:pt x="16" y="123"/>
                  <a:pt x="16" y="123"/>
                </a:cubicBezTo>
                <a:cubicBezTo>
                  <a:pt x="16" y="124"/>
                  <a:pt x="17" y="125"/>
                  <a:pt x="18" y="125"/>
                </a:cubicBezTo>
                <a:cubicBezTo>
                  <a:pt x="44" y="130"/>
                  <a:pt x="44" y="130"/>
                  <a:pt x="44" y="130"/>
                </a:cubicBezTo>
                <a:cubicBezTo>
                  <a:pt x="48" y="130"/>
                  <a:pt x="53" y="131"/>
                  <a:pt x="57" y="132"/>
                </a:cubicBezTo>
                <a:cubicBezTo>
                  <a:pt x="61" y="141"/>
                  <a:pt x="71" y="147"/>
                  <a:pt x="80" y="147"/>
                </a:cubicBezTo>
                <a:cubicBezTo>
                  <a:pt x="90" y="147"/>
                  <a:pt x="100" y="141"/>
                  <a:pt x="104" y="132"/>
                </a:cubicBezTo>
                <a:cubicBezTo>
                  <a:pt x="108" y="131"/>
                  <a:pt x="113" y="130"/>
                  <a:pt x="117" y="130"/>
                </a:cubicBezTo>
                <a:cubicBezTo>
                  <a:pt x="143" y="125"/>
                  <a:pt x="143" y="125"/>
                  <a:pt x="143" y="125"/>
                </a:cubicBezTo>
                <a:cubicBezTo>
                  <a:pt x="144" y="125"/>
                  <a:pt x="144" y="124"/>
                  <a:pt x="145" y="123"/>
                </a:cubicBezTo>
                <a:cubicBezTo>
                  <a:pt x="145" y="123"/>
                  <a:pt x="145" y="121"/>
                  <a:pt x="144" y="121"/>
                </a:cubicBezTo>
                <a:cubicBezTo>
                  <a:pt x="132" y="108"/>
                  <a:pt x="125" y="94"/>
                  <a:pt x="125" y="77"/>
                </a:cubicBezTo>
                <a:close/>
                <a:moveTo>
                  <a:pt x="72" y="13"/>
                </a:moveTo>
                <a:cubicBezTo>
                  <a:pt x="72" y="9"/>
                  <a:pt x="76" y="5"/>
                  <a:pt x="80" y="5"/>
                </a:cubicBezTo>
                <a:cubicBezTo>
                  <a:pt x="84" y="5"/>
                  <a:pt x="88" y="9"/>
                  <a:pt x="88" y="13"/>
                </a:cubicBezTo>
                <a:cubicBezTo>
                  <a:pt x="88" y="14"/>
                  <a:pt x="88" y="14"/>
                  <a:pt x="88" y="14"/>
                </a:cubicBezTo>
                <a:cubicBezTo>
                  <a:pt x="83" y="13"/>
                  <a:pt x="77" y="13"/>
                  <a:pt x="72" y="14"/>
                </a:cubicBezTo>
                <a:lnTo>
                  <a:pt x="72" y="13"/>
                </a:lnTo>
                <a:close/>
                <a:moveTo>
                  <a:pt x="80" y="141"/>
                </a:moveTo>
                <a:cubicBezTo>
                  <a:pt x="74" y="141"/>
                  <a:pt x="67" y="138"/>
                  <a:pt x="63" y="132"/>
                </a:cubicBezTo>
                <a:cubicBezTo>
                  <a:pt x="69" y="133"/>
                  <a:pt x="75" y="133"/>
                  <a:pt x="80" y="133"/>
                </a:cubicBezTo>
                <a:cubicBezTo>
                  <a:pt x="86" y="133"/>
                  <a:pt x="92" y="133"/>
                  <a:pt x="98" y="132"/>
                </a:cubicBezTo>
                <a:cubicBezTo>
                  <a:pt x="94" y="138"/>
                  <a:pt x="87" y="141"/>
                  <a:pt x="80" y="141"/>
                </a:cubicBezTo>
                <a:close/>
                <a:moveTo>
                  <a:pt x="116" y="124"/>
                </a:moveTo>
                <a:cubicBezTo>
                  <a:pt x="111" y="125"/>
                  <a:pt x="107" y="126"/>
                  <a:pt x="102" y="127"/>
                </a:cubicBezTo>
                <a:cubicBezTo>
                  <a:pt x="102" y="127"/>
                  <a:pt x="102" y="127"/>
                  <a:pt x="102" y="127"/>
                </a:cubicBezTo>
                <a:cubicBezTo>
                  <a:pt x="100" y="127"/>
                  <a:pt x="98" y="127"/>
                  <a:pt x="97" y="127"/>
                </a:cubicBezTo>
                <a:cubicBezTo>
                  <a:pt x="96" y="127"/>
                  <a:pt x="96" y="127"/>
                  <a:pt x="96" y="127"/>
                </a:cubicBezTo>
                <a:cubicBezTo>
                  <a:pt x="95" y="127"/>
                  <a:pt x="93" y="128"/>
                  <a:pt x="91" y="128"/>
                </a:cubicBezTo>
                <a:cubicBezTo>
                  <a:pt x="91" y="128"/>
                  <a:pt x="91" y="128"/>
                  <a:pt x="91" y="128"/>
                </a:cubicBezTo>
                <a:cubicBezTo>
                  <a:pt x="89" y="128"/>
                  <a:pt x="88" y="128"/>
                  <a:pt x="86" y="128"/>
                </a:cubicBezTo>
                <a:cubicBezTo>
                  <a:pt x="86" y="128"/>
                  <a:pt x="86" y="128"/>
                  <a:pt x="85" y="128"/>
                </a:cubicBezTo>
                <a:cubicBezTo>
                  <a:pt x="82" y="128"/>
                  <a:pt x="79" y="128"/>
                  <a:pt x="76" y="128"/>
                </a:cubicBezTo>
                <a:cubicBezTo>
                  <a:pt x="75" y="128"/>
                  <a:pt x="75" y="128"/>
                  <a:pt x="75" y="128"/>
                </a:cubicBezTo>
                <a:cubicBezTo>
                  <a:pt x="73" y="128"/>
                  <a:pt x="72" y="128"/>
                  <a:pt x="70" y="128"/>
                </a:cubicBezTo>
                <a:cubicBezTo>
                  <a:pt x="70" y="128"/>
                  <a:pt x="70" y="128"/>
                  <a:pt x="69" y="128"/>
                </a:cubicBezTo>
                <a:cubicBezTo>
                  <a:pt x="68" y="128"/>
                  <a:pt x="66" y="127"/>
                  <a:pt x="65" y="127"/>
                </a:cubicBezTo>
                <a:cubicBezTo>
                  <a:pt x="65" y="127"/>
                  <a:pt x="64" y="127"/>
                  <a:pt x="64" y="127"/>
                </a:cubicBezTo>
                <a:cubicBezTo>
                  <a:pt x="63" y="127"/>
                  <a:pt x="61" y="127"/>
                  <a:pt x="59" y="127"/>
                </a:cubicBezTo>
                <a:cubicBezTo>
                  <a:pt x="59" y="127"/>
                  <a:pt x="59" y="127"/>
                  <a:pt x="59" y="127"/>
                </a:cubicBezTo>
                <a:cubicBezTo>
                  <a:pt x="54" y="126"/>
                  <a:pt x="50" y="125"/>
                  <a:pt x="44" y="124"/>
                </a:cubicBezTo>
                <a:cubicBezTo>
                  <a:pt x="24" y="121"/>
                  <a:pt x="24" y="121"/>
                  <a:pt x="24" y="121"/>
                </a:cubicBezTo>
                <a:cubicBezTo>
                  <a:pt x="35" y="109"/>
                  <a:pt x="40" y="94"/>
                  <a:pt x="40" y="77"/>
                </a:cubicBezTo>
                <a:cubicBezTo>
                  <a:pt x="40" y="53"/>
                  <a:pt x="40" y="53"/>
                  <a:pt x="40" y="53"/>
                </a:cubicBezTo>
                <a:cubicBezTo>
                  <a:pt x="40" y="39"/>
                  <a:pt x="50" y="28"/>
                  <a:pt x="61" y="23"/>
                </a:cubicBezTo>
                <a:cubicBezTo>
                  <a:pt x="64" y="22"/>
                  <a:pt x="67" y="21"/>
                  <a:pt x="70" y="20"/>
                </a:cubicBezTo>
                <a:cubicBezTo>
                  <a:pt x="70" y="20"/>
                  <a:pt x="70" y="20"/>
                  <a:pt x="70" y="20"/>
                </a:cubicBezTo>
                <a:cubicBezTo>
                  <a:pt x="76" y="18"/>
                  <a:pt x="83" y="18"/>
                  <a:pt x="90" y="20"/>
                </a:cubicBezTo>
                <a:cubicBezTo>
                  <a:pt x="90" y="20"/>
                  <a:pt x="90" y="20"/>
                  <a:pt x="90" y="20"/>
                </a:cubicBezTo>
                <a:cubicBezTo>
                  <a:pt x="94" y="20"/>
                  <a:pt x="97" y="21"/>
                  <a:pt x="100" y="23"/>
                </a:cubicBezTo>
                <a:cubicBezTo>
                  <a:pt x="110" y="27"/>
                  <a:pt x="120" y="39"/>
                  <a:pt x="120" y="53"/>
                </a:cubicBezTo>
                <a:cubicBezTo>
                  <a:pt x="120" y="77"/>
                  <a:pt x="120" y="77"/>
                  <a:pt x="120" y="77"/>
                </a:cubicBezTo>
                <a:cubicBezTo>
                  <a:pt x="120" y="93"/>
                  <a:pt x="126" y="108"/>
                  <a:pt x="137" y="121"/>
                </a:cubicBezTo>
                <a:lnTo>
                  <a:pt x="116" y="124"/>
                </a:lnTo>
                <a:close/>
                <a:moveTo>
                  <a:pt x="98" y="34"/>
                </a:moveTo>
                <a:cubicBezTo>
                  <a:pt x="98" y="35"/>
                  <a:pt x="96" y="36"/>
                  <a:pt x="95" y="35"/>
                </a:cubicBezTo>
                <a:cubicBezTo>
                  <a:pt x="86" y="31"/>
                  <a:pt x="75" y="31"/>
                  <a:pt x="66" y="35"/>
                </a:cubicBezTo>
                <a:cubicBezTo>
                  <a:pt x="61" y="37"/>
                  <a:pt x="53" y="44"/>
                  <a:pt x="53" y="53"/>
                </a:cubicBezTo>
                <a:cubicBezTo>
                  <a:pt x="53" y="55"/>
                  <a:pt x="52" y="56"/>
                  <a:pt x="51" y="56"/>
                </a:cubicBezTo>
                <a:cubicBezTo>
                  <a:pt x="51" y="56"/>
                  <a:pt x="51" y="56"/>
                  <a:pt x="51" y="56"/>
                </a:cubicBezTo>
                <a:cubicBezTo>
                  <a:pt x="49" y="56"/>
                  <a:pt x="48" y="55"/>
                  <a:pt x="48" y="53"/>
                </a:cubicBezTo>
                <a:cubicBezTo>
                  <a:pt x="48" y="41"/>
                  <a:pt x="58" y="33"/>
                  <a:pt x="64" y="30"/>
                </a:cubicBezTo>
                <a:cubicBezTo>
                  <a:pt x="74" y="26"/>
                  <a:pt x="87" y="26"/>
                  <a:pt x="97" y="30"/>
                </a:cubicBezTo>
                <a:cubicBezTo>
                  <a:pt x="98" y="31"/>
                  <a:pt x="99" y="32"/>
                  <a:pt x="98" y="34"/>
                </a:cubicBezTo>
                <a:close/>
                <a:moveTo>
                  <a:pt x="13" y="58"/>
                </a:moveTo>
                <a:cubicBezTo>
                  <a:pt x="8" y="63"/>
                  <a:pt x="5" y="69"/>
                  <a:pt x="5" y="76"/>
                </a:cubicBezTo>
                <a:cubicBezTo>
                  <a:pt x="5" y="83"/>
                  <a:pt x="8" y="89"/>
                  <a:pt x="13" y="94"/>
                </a:cubicBezTo>
                <a:cubicBezTo>
                  <a:pt x="14" y="95"/>
                  <a:pt x="14" y="97"/>
                  <a:pt x="13" y="98"/>
                </a:cubicBezTo>
                <a:cubicBezTo>
                  <a:pt x="12" y="98"/>
                  <a:pt x="12" y="99"/>
                  <a:pt x="11" y="99"/>
                </a:cubicBezTo>
                <a:cubicBezTo>
                  <a:pt x="10" y="99"/>
                  <a:pt x="10" y="98"/>
                  <a:pt x="9" y="98"/>
                </a:cubicBezTo>
                <a:cubicBezTo>
                  <a:pt x="3" y="92"/>
                  <a:pt x="0" y="84"/>
                  <a:pt x="0" y="76"/>
                </a:cubicBezTo>
                <a:cubicBezTo>
                  <a:pt x="0" y="68"/>
                  <a:pt x="3" y="60"/>
                  <a:pt x="9" y="54"/>
                </a:cubicBezTo>
                <a:cubicBezTo>
                  <a:pt x="10" y="53"/>
                  <a:pt x="12" y="53"/>
                  <a:pt x="13" y="54"/>
                </a:cubicBezTo>
                <a:cubicBezTo>
                  <a:pt x="14" y="55"/>
                  <a:pt x="14" y="57"/>
                  <a:pt x="13" y="58"/>
                </a:cubicBezTo>
                <a:close/>
                <a:moveTo>
                  <a:pt x="20" y="92"/>
                </a:moveTo>
                <a:cubicBezTo>
                  <a:pt x="11" y="83"/>
                  <a:pt x="11" y="68"/>
                  <a:pt x="20" y="59"/>
                </a:cubicBezTo>
                <a:cubicBezTo>
                  <a:pt x="21" y="58"/>
                  <a:pt x="23" y="58"/>
                  <a:pt x="24" y="59"/>
                </a:cubicBezTo>
                <a:cubicBezTo>
                  <a:pt x="25" y="60"/>
                  <a:pt x="25" y="62"/>
                  <a:pt x="24" y="63"/>
                </a:cubicBezTo>
                <a:cubicBezTo>
                  <a:pt x="17" y="70"/>
                  <a:pt x="17" y="81"/>
                  <a:pt x="24" y="88"/>
                </a:cubicBezTo>
                <a:cubicBezTo>
                  <a:pt x="25" y="89"/>
                  <a:pt x="25" y="91"/>
                  <a:pt x="24" y="92"/>
                </a:cubicBezTo>
                <a:cubicBezTo>
                  <a:pt x="24" y="92"/>
                  <a:pt x="23" y="93"/>
                  <a:pt x="22" y="93"/>
                </a:cubicBezTo>
                <a:cubicBezTo>
                  <a:pt x="21" y="93"/>
                  <a:pt x="21" y="92"/>
                  <a:pt x="20" y="92"/>
                </a:cubicBezTo>
                <a:close/>
                <a:moveTo>
                  <a:pt x="160" y="76"/>
                </a:moveTo>
                <a:cubicBezTo>
                  <a:pt x="160" y="84"/>
                  <a:pt x="157" y="92"/>
                  <a:pt x="151" y="98"/>
                </a:cubicBezTo>
                <a:cubicBezTo>
                  <a:pt x="150" y="98"/>
                  <a:pt x="150" y="99"/>
                  <a:pt x="149" y="99"/>
                </a:cubicBezTo>
                <a:cubicBezTo>
                  <a:pt x="148" y="99"/>
                  <a:pt x="148" y="98"/>
                  <a:pt x="147" y="98"/>
                </a:cubicBezTo>
                <a:cubicBezTo>
                  <a:pt x="146" y="97"/>
                  <a:pt x="146" y="95"/>
                  <a:pt x="147" y="94"/>
                </a:cubicBezTo>
                <a:cubicBezTo>
                  <a:pt x="152" y="89"/>
                  <a:pt x="155" y="83"/>
                  <a:pt x="155" y="76"/>
                </a:cubicBezTo>
                <a:cubicBezTo>
                  <a:pt x="155" y="69"/>
                  <a:pt x="152" y="63"/>
                  <a:pt x="147" y="58"/>
                </a:cubicBezTo>
                <a:cubicBezTo>
                  <a:pt x="146" y="57"/>
                  <a:pt x="146" y="55"/>
                  <a:pt x="147" y="54"/>
                </a:cubicBezTo>
                <a:cubicBezTo>
                  <a:pt x="148" y="53"/>
                  <a:pt x="150" y="53"/>
                  <a:pt x="151" y="54"/>
                </a:cubicBezTo>
                <a:cubicBezTo>
                  <a:pt x="157" y="60"/>
                  <a:pt x="160" y="68"/>
                  <a:pt x="160" y="76"/>
                </a:cubicBezTo>
                <a:close/>
                <a:moveTo>
                  <a:pt x="140" y="59"/>
                </a:moveTo>
                <a:cubicBezTo>
                  <a:pt x="149" y="68"/>
                  <a:pt x="149" y="83"/>
                  <a:pt x="140" y="92"/>
                </a:cubicBezTo>
                <a:cubicBezTo>
                  <a:pt x="139" y="92"/>
                  <a:pt x="139" y="93"/>
                  <a:pt x="138" y="93"/>
                </a:cubicBezTo>
                <a:cubicBezTo>
                  <a:pt x="137" y="93"/>
                  <a:pt x="136" y="92"/>
                  <a:pt x="136" y="92"/>
                </a:cubicBezTo>
                <a:cubicBezTo>
                  <a:pt x="135" y="91"/>
                  <a:pt x="135" y="89"/>
                  <a:pt x="136" y="88"/>
                </a:cubicBezTo>
                <a:cubicBezTo>
                  <a:pt x="143" y="81"/>
                  <a:pt x="143" y="70"/>
                  <a:pt x="136" y="63"/>
                </a:cubicBezTo>
                <a:cubicBezTo>
                  <a:pt x="135" y="62"/>
                  <a:pt x="135" y="60"/>
                  <a:pt x="136" y="59"/>
                </a:cubicBezTo>
                <a:cubicBezTo>
                  <a:pt x="137" y="58"/>
                  <a:pt x="139" y="58"/>
                  <a:pt x="140" y="59"/>
                </a:cubicBezTo>
                <a:close/>
              </a:path>
            </a:pathLst>
          </a:custGeom>
          <a:gradFill>
            <a:gsLst>
              <a:gs pos="0">
                <a:schemeClr val="accent1">
                  <a:lumMod val="60000"/>
                  <a:lumOff val="40000"/>
                </a:schemeClr>
              </a:gs>
              <a:gs pos="36000">
                <a:schemeClr val="accent1">
                  <a:alpha val="77000"/>
                </a:schemeClr>
              </a:gs>
            </a:gsLst>
            <a:lin ang="0" scaled="0"/>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HarmonyOS Sans SC"/>
              <a:cs typeface="+mn-cs"/>
            </a:endParaRPr>
          </a:p>
        </p:txBody>
      </p:sp>
      <p:grpSp>
        <p:nvGrpSpPr>
          <p:cNvPr id="48" name="组合 47">
            <a:extLst>
              <a:ext uri="{FF2B5EF4-FFF2-40B4-BE49-F238E27FC236}">
                <a16:creationId xmlns:a16="http://schemas.microsoft.com/office/drawing/2014/main" id="{166727AF-EE0B-4341-9C59-CCF19D257681}"/>
              </a:ext>
            </a:extLst>
          </p:cNvPr>
          <p:cNvGrpSpPr/>
          <p:nvPr/>
        </p:nvGrpSpPr>
        <p:grpSpPr>
          <a:xfrm>
            <a:off x="1793952" y="2125260"/>
            <a:ext cx="2360766" cy="3924464"/>
            <a:chOff x="1665348" y="2015063"/>
            <a:chExt cx="2617974" cy="4352038"/>
          </a:xfrm>
        </p:grpSpPr>
        <p:sp>
          <p:nvSpPr>
            <p:cNvPr id="26" name="Rectangle 37">
              <a:extLst>
                <a:ext uri="{FF2B5EF4-FFF2-40B4-BE49-F238E27FC236}">
                  <a16:creationId xmlns:a16="http://schemas.microsoft.com/office/drawing/2014/main" id="{8C6B3810-2046-49C9-BC79-1C47EC13E15A}"/>
                </a:ext>
              </a:extLst>
            </p:cNvPr>
            <p:cNvSpPr/>
            <p:nvPr/>
          </p:nvSpPr>
          <p:spPr>
            <a:xfrm>
              <a:off x="1665348" y="3591494"/>
              <a:ext cx="2617974" cy="2775607"/>
            </a:xfrm>
            <a:prstGeom prst="rect">
              <a:avLst/>
            </a:prstGeom>
            <a:gradFill>
              <a:gsLst>
                <a:gs pos="12000">
                  <a:schemeClr val="accent1">
                    <a:lumMod val="60000"/>
                    <a:lumOff val="40000"/>
                    <a:alpha val="72000"/>
                  </a:schemeClr>
                </a:gs>
                <a:gs pos="7554">
                  <a:schemeClr val="accent1">
                    <a:lumMod val="60000"/>
                    <a:lumOff val="40000"/>
                    <a:alpha val="73000"/>
                  </a:schemeClr>
                </a:gs>
                <a:gs pos="100000">
                  <a:schemeClr val="accent1">
                    <a:alpha val="60000"/>
                  </a:schemeClr>
                </a:gs>
              </a:gsLst>
              <a:lin ang="16200000" scaled="1"/>
            </a:gradFill>
            <a:ln>
              <a:solidFill>
                <a:schemeClr val="accent1">
                  <a:alpha val="39000"/>
                </a:schemeClr>
              </a:solidFill>
            </a:ln>
            <a:scene3d>
              <a:camera prst="isometricTopUp"/>
              <a:lightRig rig="contrasting" dir="t"/>
            </a:scene3d>
            <a:sp3d extrusionH="381000" prstMaterial="matte"/>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HarmonyOS Sans SC"/>
                <a:cs typeface="+mn-cs"/>
              </a:endParaRPr>
            </a:p>
          </p:txBody>
        </p:sp>
        <p:sp>
          <p:nvSpPr>
            <p:cNvPr id="27" name="Rectangle 38">
              <a:extLst>
                <a:ext uri="{FF2B5EF4-FFF2-40B4-BE49-F238E27FC236}">
                  <a16:creationId xmlns:a16="http://schemas.microsoft.com/office/drawing/2014/main" id="{FE124D7A-896A-4397-970A-62D2073562EC}"/>
                </a:ext>
              </a:extLst>
            </p:cNvPr>
            <p:cNvSpPr/>
            <p:nvPr/>
          </p:nvSpPr>
          <p:spPr>
            <a:xfrm>
              <a:off x="1985564" y="3191358"/>
              <a:ext cx="2065591" cy="2189964"/>
            </a:xfrm>
            <a:prstGeom prst="rect">
              <a:avLst/>
            </a:prstGeom>
            <a:gradFill>
              <a:gsLst>
                <a:gs pos="12000">
                  <a:schemeClr val="accent1">
                    <a:lumMod val="60000"/>
                    <a:lumOff val="40000"/>
                    <a:alpha val="72000"/>
                  </a:schemeClr>
                </a:gs>
                <a:gs pos="7554">
                  <a:schemeClr val="accent1">
                    <a:lumMod val="60000"/>
                    <a:lumOff val="40000"/>
                    <a:alpha val="73000"/>
                  </a:schemeClr>
                </a:gs>
                <a:gs pos="100000">
                  <a:schemeClr val="accent1">
                    <a:alpha val="60000"/>
                  </a:schemeClr>
                </a:gs>
              </a:gsLst>
              <a:lin ang="16200000" scaled="1"/>
            </a:gradFill>
            <a:ln>
              <a:solidFill>
                <a:schemeClr val="accent1">
                  <a:alpha val="39000"/>
                </a:schemeClr>
              </a:solidFill>
            </a:ln>
            <a:scene3d>
              <a:camera prst="isometricTopUp"/>
              <a:lightRig rig="contrasting" dir="t"/>
            </a:scene3d>
            <a:sp3d extrusionH="381000" prstMaterial="matte"/>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HarmonyOS Sans SC"/>
                <a:cs typeface="+mn-cs"/>
              </a:endParaRPr>
            </a:p>
          </p:txBody>
        </p:sp>
        <p:sp>
          <p:nvSpPr>
            <p:cNvPr id="28" name="Rectangle 39">
              <a:extLst>
                <a:ext uri="{FF2B5EF4-FFF2-40B4-BE49-F238E27FC236}">
                  <a16:creationId xmlns:a16="http://schemas.microsoft.com/office/drawing/2014/main" id="{DF5C2CA5-5082-4B73-9900-223C6BEAB864}"/>
                </a:ext>
              </a:extLst>
            </p:cNvPr>
            <p:cNvSpPr/>
            <p:nvPr/>
          </p:nvSpPr>
          <p:spPr>
            <a:xfrm>
              <a:off x="2178067" y="2553144"/>
              <a:ext cx="1733516" cy="1837895"/>
            </a:xfrm>
            <a:prstGeom prst="rect">
              <a:avLst/>
            </a:prstGeom>
            <a:gradFill>
              <a:gsLst>
                <a:gs pos="12000">
                  <a:schemeClr val="accent1">
                    <a:lumMod val="60000"/>
                    <a:lumOff val="40000"/>
                    <a:alpha val="72000"/>
                  </a:schemeClr>
                </a:gs>
                <a:gs pos="7554">
                  <a:schemeClr val="accent1">
                    <a:lumMod val="60000"/>
                    <a:lumOff val="40000"/>
                    <a:alpha val="73000"/>
                  </a:schemeClr>
                </a:gs>
                <a:gs pos="100000">
                  <a:schemeClr val="accent1">
                    <a:alpha val="60000"/>
                  </a:schemeClr>
                </a:gs>
              </a:gsLst>
              <a:lin ang="16200000" scaled="1"/>
            </a:gradFill>
            <a:ln>
              <a:solidFill>
                <a:schemeClr val="accent1">
                  <a:alpha val="39000"/>
                </a:schemeClr>
              </a:solidFill>
            </a:ln>
            <a:scene3d>
              <a:camera prst="isometricTopUp"/>
              <a:lightRig rig="contrasting" dir="t"/>
            </a:scene3d>
            <a:sp3d extrusionH="381000" prstMaterial="matte"/>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HarmonyOS Sans SC"/>
                <a:cs typeface="+mn-cs"/>
              </a:endParaRPr>
            </a:p>
          </p:txBody>
        </p:sp>
        <p:sp>
          <p:nvSpPr>
            <p:cNvPr id="37" name="Rectangle 48">
              <a:extLst>
                <a:ext uri="{FF2B5EF4-FFF2-40B4-BE49-F238E27FC236}">
                  <a16:creationId xmlns:a16="http://schemas.microsoft.com/office/drawing/2014/main" id="{9EFC7D6A-75A8-406F-8AA5-E684FB22FB72}"/>
                </a:ext>
              </a:extLst>
            </p:cNvPr>
            <p:cNvSpPr/>
            <p:nvPr/>
          </p:nvSpPr>
          <p:spPr>
            <a:xfrm>
              <a:off x="2405533" y="2015063"/>
              <a:ext cx="1341127" cy="1421880"/>
            </a:xfrm>
            <a:prstGeom prst="rect">
              <a:avLst/>
            </a:prstGeom>
            <a:gradFill>
              <a:gsLst>
                <a:gs pos="12000">
                  <a:schemeClr val="accent1">
                    <a:lumMod val="60000"/>
                    <a:lumOff val="40000"/>
                    <a:alpha val="72000"/>
                  </a:schemeClr>
                </a:gs>
                <a:gs pos="7554">
                  <a:schemeClr val="accent1">
                    <a:lumMod val="60000"/>
                    <a:lumOff val="40000"/>
                    <a:alpha val="73000"/>
                  </a:schemeClr>
                </a:gs>
                <a:gs pos="100000">
                  <a:schemeClr val="accent1">
                    <a:alpha val="60000"/>
                  </a:schemeClr>
                </a:gs>
              </a:gsLst>
              <a:lin ang="16200000" scaled="1"/>
            </a:gradFill>
            <a:ln>
              <a:solidFill>
                <a:schemeClr val="accent1">
                  <a:alpha val="39000"/>
                </a:schemeClr>
              </a:solidFill>
            </a:ln>
            <a:scene3d>
              <a:camera prst="isometricTopUp"/>
              <a:lightRig rig="contrasting" dir="t"/>
            </a:scene3d>
            <a:sp3d extrusionH="381000" prstMaterial="matte"/>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HarmonyOS Sans SC"/>
                <a:cs typeface="+mn-cs"/>
              </a:endParaRPr>
            </a:p>
          </p:txBody>
        </p:sp>
      </p:grpSp>
      <p:sp>
        <p:nvSpPr>
          <p:cNvPr id="38" name="Arrow: Right 49">
            <a:extLst>
              <a:ext uri="{FF2B5EF4-FFF2-40B4-BE49-F238E27FC236}">
                <a16:creationId xmlns:a16="http://schemas.microsoft.com/office/drawing/2014/main" id="{D4FBCDC5-2B0A-42E8-ABED-A51054AF38C7}"/>
              </a:ext>
            </a:extLst>
          </p:cNvPr>
          <p:cNvSpPr/>
          <p:nvPr/>
        </p:nvSpPr>
        <p:spPr>
          <a:xfrm flipH="1">
            <a:off x="4571541" y="2492822"/>
            <a:ext cx="2035506" cy="486399"/>
          </a:xfrm>
          <a:prstGeom prst="rightArrow">
            <a:avLst/>
          </a:prstGeom>
          <a:gradFill>
            <a:gsLst>
              <a:gs pos="0">
                <a:schemeClr val="accent1">
                  <a:lumMod val="60000"/>
                  <a:lumOff val="40000"/>
                  <a:alpha val="0"/>
                </a:schemeClr>
              </a:gs>
              <a:gs pos="100000">
                <a:schemeClr val="accent1">
                  <a:alpha val="77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HarmonyOS Sans SC"/>
              <a:cs typeface="+mn-cs"/>
            </a:endParaRPr>
          </a:p>
        </p:txBody>
      </p:sp>
      <p:sp>
        <p:nvSpPr>
          <p:cNvPr id="39" name="Arrow: Right 50">
            <a:extLst>
              <a:ext uri="{FF2B5EF4-FFF2-40B4-BE49-F238E27FC236}">
                <a16:creationId xmlns:a16="http://schemas.microsoft.com/office/drawing/2014/main" id="{CE442782-B0CB-4336-866B-73E51C21EA47}"/>
              </a:ext>
            </a:extLst>
          </p:cNvPr>
          <p:cNvSpPr/>
          <p:nvPr/>
        </p:nvSpPr>
        <p:spPr>
          <a:xfrm flipH="1">
            <a:off x="4725755" y="3283644"/>
            <a:ext cx="1881291" cy="486399"/>
          </a:xfrm>
          <a:prstGeom prst="rightArrow">
            <a:avLst/>
          </a:prstGeom>
          <a:gradFill>
            <a:gsLst>
              <a:gs pos="0">
                <a:schemeClr val="accent1">
                  <a:lumMod val="60000"/>
                  <a:lumOff val="40000"/>
                  <a:alpha val="0"/>
                </a:schemeClr>
              </a:gs>
              <a:gs pos="100000">
                <a:schemeClr val="accent1">
                  <a:alpha val="77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HarmonyOS Sans SC"/>
              <a:cs typeface="+mn-cs"/>
            </a:endParaRPr>
          </a:p>
        </p:txBody>
      </p:sp>
      <p:sp>
        <p:nvSpPr>
          <p:cNvPr id="40" name="Arrow: Right 51">
            <a:extLst>
              <a:ext uri="{FF2B5EF4-FFF2-40B4-BE49-F238E27FC236}">
                <a16:creationId xmlns:a16="http://schemas.microsoft.com/office/drawing/2014/main" id="{37F2B034-969B-4D56-9E6C-6C72376CB026}"/>
              </a:ext>
            </a:extLst>
          </p:cNvPr>
          <p:cNvSpPr/>
          <p:nvPr/>
        </p:nvSpPr>
        <p:spPr>
          <a:xfrm flipH="1">
            <a:off x="4874041" y="4061279"/>
            <a:ext cx="1733005" cy="486399"/>
          </a:xfrm>
          <a:prstGeom prst="rightArrow">
            <a:avLst/>
          </a:prstGeom>
          <a:gradFill>
            <a:gsLst>
              <a:gs pos="0">
                <a:schemeClr val="accent1">
                  <a:lumMod val="60000"/>
                  <a:lumOff val="40000"/>
                  <a:alpha val="0"/>
                </a:schemeClr>
              </a:gs>
              <a:gs pos="100000">
                <a:schemeClr val="accent1">
                  <a:alpha val="77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HarmonyOS Sans SC"/>
              <a:cs typeface="+mn-cs"/>
            </a:endParaRPr>
          </a:p>
        </p:txBody>
      </p:sp>
      <p:sp>
        <p:nvSpPr>
          <p:cNvPr id="41" name="Arrow: Right 52">
            <a:extLst>
              <a:ext uri="{FF2B5EF4-FFF2-40B4-BE49-F238E27FC236}">
                <a16:creationId xmlns:a16="http://schemas.microsoft.com/office/drawing/2014/main" id="{1BF37EFB-072E-4EEA-B852-DC500E4EC48C}"/>
              </a:ext>
            </a:extLst>
          </p:cNvPr>
          <p:cNvSpPr/>
          <p:nvPr/>
        </p:nvSpPr>
        <p:spPr>
          <a:xfrm flipH="1">
            <a:off x="5035405" y="4813001"/>
            <a:ext cx="1571641" cy="486399"/>
          </a:xfrm>
          <a:prstGeom prst="rightArrow">
            <a:avLst/>
          </a:prstGeom>
          <a:gradFill>
            <a:gsLst>
              <a:gs pos="0">
                <a:schemeClr val="accent1">
                  <a:lumMod val="60000"/>
                  <a:lumOff val="40000"/>
                  <a:alpha val="0"/>
                </a:schemeClr>
              </a:gs>
              <a:gs pos="100000">
                <a:schemeClr val="accent1">
                  <a:alpha val="77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HarmonyOS Sans SC"/>
              <a:cs typeface="+mn-cs"/>
            </a:endParaRPr>
          </a:p>
        </p:txBody>
      </p:sp>
    </p:spTree>
    <p:extLst>
      <p:ext uri="{BB962C8B-B14F-4D97-AF65-F5344CB8AC3E}">
        <p14:creationId xmlns:p14="http://schemas.microsoft.com/office/powerpoint/2010/main" val="3504528183"/>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5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1">
            <a:extLst>
              <a:ext uri="{FF2B5EF4-FFF2-40B4-BE49-F238E27FC236}">
                <a16:creationId xmlns:a16="http://schemas.microsoft.com/office/drawing/2014/main" id="{D1142383-B71A-49CD-ACF9-CBAF6161DE04}"/>
              </a:ext>
            </a:extLst>
          </p:cNvPr>
          <p:cNvSpPr/>
          <p:nvPr/>
        </p:nvSpPr>
        <p:spPr>
          <a:xfrm>
            <a:off x="1712466" y="2718522"/>
            <a:ext cx="3114611" cy="3351203"/>
          </a:xfrm>
          <a:prstGeom prst="rect">
            <a:avLst/>
          </a:prstGeom>
          <a:gradFill flip="none" rotWithShape="1">
            <a:gsLst>
              <a:gs pos="12000">
                <a:schemeClr val="accent1">
                  <a:lumMod val="60000"/>
                  <a:lumOff val="40000"/>
                </a:schemeClr>
              </a:gs>
              <a:gs pos="100000">
                <a:schemeClr val="accent1">
                  <a:alpha val="77000"/>
                </a:schemeClr>
              </a:gs>
            </a:gsLst>
            <a:lin ang="16200000" scaled="1"/>
            <a:tileRect/>
          </a:gradFill>
          <a:ln>
            <a:solidFill>
              <a:schemeClr val="accent1">
                <a:alpha val="39000"/>
              </a:schemeClr>
            </a:solidFill>
          </a:ln>
          <a:effectLst/>
          <a:scene3d>
            <a:camera prst="isometricOffAxis1Top"/>
            <a:lightRig rig="contrasting" dir="t"/>
          </a:scene3d>
          <a:sp3d prstMaterial="matte">
            <a:bevelT w="0" h="660400"/>
            <a:bevelB w="0" h="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4" name="Rectangle 2">
            <a:extLst>
              <a:ext uri="{FF2B5EF4-FFF2-40B4-BE49-F238E27FC236}">
                <a16:creationId xmlns:a16="http://schemas.microsoft.com/office/drawing/2014/main" id="{E20D6FA8-15FB-42F9-A02E-EE2B0937E2FF}"/>
              </a:ext>
            </a:extLst>
          </p:cNvPr>
          <p:cNvSpPr/>
          <p:nvPr/>
        </p:nvSpPr>
        <p:spPr>
          <a:xfrm>
            <a:off x="2048124" y="2315278"/>
            <a:ext cx="2468715" cy="2656246"/>
          </a:xfrm>
          <a:prstGeom prst="rect">
            <a:avLst/>
          </a:prstGeom>
          <a:gradFill flip="none" rotWithShape="1">
            <a:gsLst>
              <a:gs pos="12000">
                <a:schemeClr val="accent1">
                  <a:lumMod val="60000"/>
                  <a:lumOff val="40000"/>
                </a:schemeClr>
              </a:gs>
              <a:gs pos="100000">
                <a:schemeClr val="accent1">
                  <a:alpha val="77000"/>
                </a:schemeClr>
              </a:gs>
            </a:gsLst>
            <a:lin ang="16200000" scaled="1"/>
            <a:tileRect/>
          </a:gradFill>
          <a:ln>
            <a:solidFill>
              <a:schemeClr val="accent1">
                <a:alpha val="39000"/>
              </a:schemeClr>
            </a:solidFill>
          </a:ln>
          <a:effectLst/>
          <a:scene3d>
            <a:camera prst="isometricOffAxis1Top"/>
            <a:lightRig rig="contrasting" dir="t"/>
          </a:scene3d>
          <a:sp3d prstMaterial="matte">
            <a:bevelT w="0" h="660400"/>
            <a:bevelB w="0" h="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Calibri" panose="020F0502020204030204"/>
              <a:cs typeface="+mn-cs"/>
            </a:endParaRPr>
          </a:p>
        </p:txBody>
      </p:sp>
      <p:sp>
        <p:nvSpPr>
          <p:cNvPr id="5" name="Rectangle 3">
            <a:extLst>
              <a:ext uri="{FF2B5EF4-FFF2-40B4-BE49-F238E27FC236}">
                <a16:creationId xmlns:a16="http://schemas.microsoft.com/office/drawing/2014/main" id="{81FCDE97-66E2-4F5C-9C99-F2BADCF535E0}"/>
              </a:ext>
            </a:extLst>
          </p:cNvPr>
          <p:cNvSpPr/>
          <p:nvPr/>
        </p:nvSpPr>
        <p:spPr>
          <a:xfrm>
            <a:off x="2449001" y="1934485"/>
            <a:ext cx="1743224" cy="1875646"/>
          </a:xfrm>
          <a:prstGeom prst="rect">
            <a:avLst/>
          </a:prstGeom>
          <a:gradFill flip="none" rotWithShape="1">
            <a:gsLst>
              <a:gs pos="12000">
                <a:schemeClr val="accent1">
                  <a:lumMod val="60000"/>
                  <a:lumOff val="40000"/>
                </a:schemeClr>
              </a:gs>
              <a:gs pos="100000">
                <a:schemeClr val="accent1">
                  <a:alpha val="77000"/>
                </a:schemeClr>
              </a:gs>
            </a:gsLst>
            <a:lin ang="16200000" scaled="1"/>
            <a:tileRect/>
          </a:gradFill>
          <a:ln>
            <a:solidFill>
              <a:schemeClr val="accent1">
                <a:alpha val="39000"/>
              </a:schemeClr>
            </a:solidFill>
          </a:ln>
          <a:effectLst/>
          <a:scene3d>
            <a:camera prst="isometricOffAxis1Top"/>
            <a:lightRig rig="contrasting" dir="t"/>
          </a:scene3d>
          <a:sp3d prstMaterial="matte">
            <a:bevelT w="0" h="660400"/>
            <a:bevelB w="0" h="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Calibri" panose="020F0502020204030204"/>
              <a:cs typeface="+mn-cs"/>
            </a:endParaRPr>
          </a:p>
        </p:txBody>
      </p:sp>
      <p:sp>
        <p:nvSpPr>
          <p:cNvPr id="6" name="Rectangle 4">
            <a:extLst>
              <a:ext uri="{FF2B5EF4-FFF2-40B4-BE49-F238E27FC236}">
                <a16:creationId xmlns:a16="http://schemas.microsoft.com/office/drawing/2014/main" id="{5979D981-F86D-4DE7-9700-147512C791A6}"/>
              </a:ext>
            </a:extLst>
          </p:cNvPr>
          <p:cNvSpPr/>
          <p:nvPr/>
        </p:nvSpPr>
        <p:spPr>
          <a:xfrm>
            <a:off x="2777244" y="1540236"/>
            <a:ext cx="1086739" cy="1169292"/>
          </a:xfrm>
          <a:prstGeom prst="rect">
            <a:avLst/>
          </a:prstGeom>
          <a:gradFill flip="none" rotWithShape="1">
            <a:gsLst>
              <a:gs pos="12000">
                <a:schemeClr val="accent1">
                  <a:lumMod val="60000"/>
                  <a:lumOff val="40000"/>
                </a:schemeClr>
              </a:gs>
              <a:gs pos="100000">
                <a:schemeClr val="accent1">
                  <a:alpha val="77000"/>
                </a:schemeClr>
              </a:gs>
            </a:gsLst>
            <a:lin ang="16200000" scaled="1"/>
            <a:tileRect/>
          </a:gradFill>
          <a:ln>
            <a:solidFill>
              <a:schemeClr val="accent1">
                <a:alpha val="39000"/>
              </a:schemeClr>
            </a:solidFill>
          </a:ln>
          <a:effectLst/>
          <a:scene3d>
            <a:camera prst="isometricOffAxis1Top"/>
            <a:lightRig rig="contrasting" dir="t"/>
          </a:scene3d>
          <a:sp3d prstMaterial="matte">
            <a:bevelT w="0" h="660400"/>
            <a:bevelB w="0" h="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Calibri" panose="020F0502020204030204"/>
              <a:cs typeface="+mn-cs"/>
            </a:endParaRPr>
          </a:p>
        </p:txBody>
      </p:sp>
      <p:sp>
        <p:nvSpPr>
          <p:cNvPr id="11" name="Round Diagonal Corner Rectangle 17">
            <a:extLst>
              <a:ext uri="{FF2B5EF4-FFF2-40B4-BE49-F238E27FC236}">
                <a16:creationId xmlns:a16="http://schemas.microsoft.com/office/drawing/2014/main" id="{FF074FA0-876C-497D-87E2-7BA9C9C20B86}"/>
              </a:ext>
            </a:extLst>
          </p:cNvPr>
          <p:cNvSpPr/>
          <p:nvPr/>
        </p:nvSpPr>
        <p:spPr>
          <a:xfrm>
            <a:off x="6371906" y="4386763"/>
            <a:ext cx="599844" cy="599844"/>
          </a:xfrm>
          <a:prstGeom prst="round2DiagRect">
            <a:avLst/>
          </a:prstGeom>
          <a:gradFill>
            <a:gsLst>
              <a:gs pos="73000">
                <a:schemeClr val="accent1"/>
              </a:gs>
              <a:gs pos="31000">
                <a:schemeClr val="accent1">
                  <a:lumMod val="60000"/>
                  <a:lumOff val="40000"/>
                </a:schemeClr>
              </a:gs>
              <a:gs pos="0">
                <a:schemeClr val="accent1">
                  <a:lumMod val="40000"/>
                  <a:lumOff val="60000"/>
                </a:schemeClr>
              </a:gs>
            </a:gsLst>
            <a:path path="circle">
              <a:fillToRect r="100000" b="100000"/>
            </a:path>
          </a:gradFill>
          <a:ln>
            <a:noFill/>
          </a:ln>
          <a:effectLst>
            <a:outerShdw blurRad="444500" dist="317500" dir="5400000" sx="92000" sy="92000" algn="t" rotWithShape="0">
              <a:schemeClr val="accent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12" name="TextBox 18">
            <a:extLst>
              <a:ext uri="{FF2B5EF4-FFF2-40B4-BE49-F238E27FC236}">
                <a16:creationId xmlns:a16="http://schemas.microsoft.com/office/drawing/2014/main" id="{2F4B54A3-1CE6-4930-889A-86AF05A92911}"/>
              </a:ext>
            </a:extLst>
          </p:cNvPr>
          <p:cNvSpPr txBox="1"/>
          <p:nvPr/>
        </p:nvSpPr>
        <p:spPr>
          <a:xfrm>
            <a:off x="7155959" y="4413317"/>
            <a:ext cx="3424823" cy="480131"/>
          </a:xfrm>
          <a:prstGeom prst="rect">
            <a:avLst/>
          </a:prstGeom>
          <a:noFill/>
        </p:spPr>
        <p:txBody>
          <a:bodyPr wrap="square" rtlCol="0">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1050" b="0" i="0" u="none" strike="noStrike" kern="1200" cap="none" spc="100" normalizeH="0" baseline="0" noProof="0" dirty="0">
                <a:ln>
                  <a:noFill/>
                </a:ln>
                <a:solidFill>
                  <a:prstClr val="black">
                    <a:lumMod val="50000"/>
                    <a:lumOff val="50000"/>
                  </a:prstClr>
                </a:solidFill>
                <a:effectLst/>
                <a:uLnTx/>
                <a:uFillTx/>
                <a:latin typeface="HarmonyOS Sans SC"/>
                <a:cs typeface="Open Sans" panose="020B0606030504020204" pitchFamily="34" charset="0"/>
              </a:rPr>
              <a:t>A wonderful serenity</a:t>
            </a:r>
            <a:r>
              <a:rPr kumimoji="0" lang="en-US" sz="1050" b="0" i="0" u="none" strike="noStrike" kern="1200" cap="none" spc="100" normalizeH="0" baseline="0" noProof="0" dirty="0">
                <a:ln>
                  <a:noFill/>
                </a:ln>
                <a:solidFill>
                  <a:prstClr val="black">
                    <a:lumMod val="50000"/>
                    <a:lumOff val="50000"/>
                  </a:prstClr>
                </a:solidFill>
                <a:effectLst/>
                <a:uLnTx/>
                <a:uFillTx/>
                <a:latin typeface="HarmonyOS Sans SC"/>
                <a:cs typeface="Open Sans Light" panose="020B0306030504020204" pitchFamily="34" charset="0"/>
              </a:rPr>
              <a:t> has taken possession of my entire soul</a:t>
            </a:r>
          </a:p>
        </p:txBody>
      </p:sp>
      <p:sp>
        <p:nvSpPr>
          <p:cNvPr id="13" name="Freeform 24">
            <a:extLst>
              <a:ext uri="{FF2B5EF4-FFF2-40B4-BE49-F238E27FC236}">
                <a16:creationId xmlns:a16="http://schemas.microsoft.com/office/drawing/2014/main" id="{7EAD9102-D031-45AE-B40D-3505736E7A0D}"/>
              </a:ext>
            </a:extLst>
          </p:cNvPr>
          <p:cNvSpPr>
            <a:spLocks noEditPoints="1"/>
          </p:cNvSpPr>
          <p:nvPr/>
        </p:nvSpPr>
        <p:spPr bwMode="auto">
          <a:xfrm>
            <a:off x="6487678" y="4529523"/>
            <a:ext cx="354013" cy="314325"/>
          </a:xfrm>
          <a:custGeom>
            <a:avLst/>
            <a:gdLst>
              <a:gd name="T0" fmla="*/ 181 w 208"/>
              <a:gd name="T1" fmla="*/ 40 h 184"/>
              <a:gd name="T2" fmla="*/ 163 w 208"/>
              <a:gd name="T3" fmla="*/ 40 h 184"/>
              <a:gd name="T4" fmla="*/ 143 w 208"/>
              <a:gd name="T5" fmla="*/ 24 h 184"/>
              <a:gd name="T6" fmla="*/ 115 w 208"/>
              <a:gd name="T7" fmla="*/ 0 h 184"/>
              <a:gd name="T8" fmla="*/ 93 w 208"/>
              <a:gd name="T9" fmla="*/ 0 h 184"/>
              <a:gd name="T10" fmla="*/ 65 w 208"/>
              <a:gd name="T11" fmla="*/ 24 h 184"/>
              <a:gd name="T12" fmla="*/ 45 w 208"/>
              <a:gd name="T13" fmla="*/ 40 h 184"/>
              <a:gd name="T14" fmla="*/ 27 w 208"/>
              <a:gd name="T15" fmla="*/ 40 h 184"/>
              <a:gd name="T16" fmla="*/ 0 w 208"/>
              <a:gd name="T17" fmla="*/ 68 h 184"/>
              <a:gd name="T18" fmla="*/ 0 w 208"/>
              <a:gd name="T19" fmla="*/ 156 h 184"/>
              <a:gd name="T20" fmla="*/ 27 w 208"/>
              <a:gd name="T21" fmla="*/ 184 h 184"/>
              <a:gd name="T22" fmla="*/ 181 w 208"/>
              <a:gd name="T23" fmla="*/ 184 h 184"/>
              <a:gd name="T24" fmla="*/ 208 w 208"/>
              <a:gd name="T25" fmla="*/ 156 h 184"/>
              <a:gd name="T26" fmla="*/ 208 w 208"/>
              <a:gd name="T27" fmla="*/ 68 h 184"/>
              <a:gd name="T28" fmla="*/ 181 w 208"/>
              <a:gd name="T29" fmla="*/ 40 h 184"/>
              <a:gd name="T30" fmla="*/ 73 w 208"/>
              <a:gd name="T31" fmla="*/ 24 h 184"/>
              <a:gd name="T32" fmla="*/ 93 w 208"/>
              <a:gd name="T33" fmla="*/ 8 h 184"/>
              <a:gd name="T34" fmla="*/ 115 w 208"/>
              <a:gd name="T35" fmla="*/ 8 h 184"/>
              <a:gd name="T36" fmla="*/ 135 w 208"/>
              <a:gd name="T37" fmla="*/ 24 h 184"/>
              <a:gd name="T38" fmla="*/ 143 w 208"/>
              <a:gd name="T39" fmla="*/ 40 h 184"/>
              <a:gd name="T40" fmla="*/ 65 w 208"/>
              <a:gd name="T41" fmla="*/ 40 h 184"/>
              <a:gd name="T42" fmla="*/ 73 w 208"/>
              <a:gd name="T43" fmla="*/ 24 h 184"/>
              <a:gd name="T44" fmla="*/ 200 w 208"/>
              <a:gd name="T45" fmla="*/ 156 h 184"/>
              <a:gd name="T46" fmla="*/ 181 w 208"/>
              <a:gd name="T47" fmla="*/ 176 h 184"/>
              <a:gd name="T48" fmla="*/ 27 w 208"/>
              <a:gd name="T49" fmla="*/ 176 h 184"/>
              <a:gd name="T50" fmla="*/ 8 w 208"/>
              <a:gd name="T51" fmla="*/ 156 h 184"/>
              <a:gd name="T52" fmla="*/ 8 w 208"/>
              <a:gd name="T53" fmla="*/ 68 h 184"/>
              <a:gd name="T54" fmla="*/ 27 w 208"/>
              <a:gd name="T55" fmla="*/ 48 h 184"/>
              <a:gd name="T56" fmla="*/ 45 w 208"/>
              <a:gd name="T57" fmla="*/ 48 h 184"/>
              <a:gd name="T58" fmla="*/ 52 w 208"/>
              <a:gd name="T59" fmla="*/ 47 h 184"/>
              <a:gd name="T60" fmla="*/ 52 w 208"/>
              <a:gd name="T61" fmla="*/ 48 h 184"/>
              <a:gd name="T62" fmla="*/ 152 w 208"/>
              <a:gd name="T63" fmla="*/ 48 h 184"/>
              <a:gd name="T64" fmla="*/ 152 w 208"/>
              <a:gd name="T65" fmla="*/ 46 h 184"/>
              <a:gd name="T66" fmla="*/ 163 w 208"/>
              <a:gd name="T67" fmla="*/ 48 h 184"/>
              <a:gd name="T68" fmla="*/ 181 w 208"/>
              <a:gd name="T69" fmla="*/ 48 h 184"/>
              <a:gd name="T70" fmla="*/ 200 w 208"/>
              <a:gd name="T71" fmla="*/ 68 h 184"/>
              <a:gd name="T72" fmla="*/ 200 w 208"/>
              <a:gd name="T73" fmla="*/ 156 h 184"/>
              <a:gd name="T74" fmla="*/ 120 w 208"/>
              <a:gd name="T75" fmla="*/ 72 h 184"/>
              <a:gd name="T76" fmla="*/ 88 w 208"/>
              <a:gd name="T77" fmla="*/ 72 h 184"/>
              <a:gd name="T78" fmla="*/ 88 w 208"/>
              <a:gd name="T79" fmla="*/ 96 h 184"/>
              <a:gd name="T80" fmla="*/ 64 w 208"/>
              <a:gd name="T81" fmla="*/ 96 h 184"/>
              <a:gd name="T82" fmla="*/ 64 w 208"/>
              <a:gd name="T83" fmla="*/ 128 h 184"/>
              <a:gd name="T84" fmla="*/ 88 w 208"/>
              <a:gd name="T85" fmla="*/ 128 h 184"/>
              <a:gd name="T86" fmla="*/ 88 w 208"/>
              <a:gd name="T87" fmla="*/ 152 h 184"/>
              <a:gd name="T88" fmla="*/ 120 w 208"/>
              <a:gd name="T89" fmla="*/ 152 h 184"/>
              <a:gd name="T90" fmla="*/ 120 w 208"/>
              <a:gd name="T91" fmla="*/ 128 h 184"/>
              <a:gd name="T92" fmla="*/ 144 w 208"/>
              <a:gd name="T93" fmla="*/ 128 h 184"/>
              <a:gd name="T94" fmla="*/ 144 w 208"/>
              <a:gd name="T95" fmla="*/ 96 h 184"/>
              <a:gd name="T96" fmla="*/ 120 w 208"/>
              <a:gd name="T97" fmla="*/ 96 h 184"/>
              <a:gd name="T98" fmla="*/ 120 w 208"/>
              <a:gd name="T99" fmla="*/ 72 h 184"/>
              <a:gd name="T100" fmla="*/ 136 w 208"/>
              <a:gd name="T101" fmla="*/ 104 h 184"/>
              <a:gd name="T102" fmla="*/ 136 w 208"/>
              <a:gd name="T103" fmla="*/ 120 h 184"/>
              <a:gd name="T104" fmla="*/ 112 w 208"/>
              <a:gd name="T105" fmla="*/ 120 h 184"/>
              <a:gd name="T106" fmla="*/ 112 w 208"/>
              <a:gd name="T107" fmla="*/ 144 h 184"/>
              <a:gd name="T108" fmla="*/ 96 w 208"/>
              <a:gd name="T109" fmla="*/ 144 h 184"/>
              <a:gd name="T110" fmla="*/ 96 w 208"/>
              <a:gd name="T111" fmla="*/ 120 h 184"/>
              <a:gd name="T112" fmla="*/ 72 w 208"/>
              <a:gd name="T113" fmla="*/ 120 h 184"/>
              <a:gd name="T114" fmla="*/ 72 w 208"/>
              <a:gd name="T115" fmla="*/ 104 h 184"/>
              <a:gd name="T116" fmla="*/ 96 w 208"/>
              <a:gd name="T117" fmla="*/ 104 h 184"/>
              <a:gd name="T118" fmla="*/ 96 w 208"/>
              <a:gd name="T119" fmla="*/ 80 h 184"/>
              <a:gd name="T120" fmla="*/ 112 w 208"/>
              <a:gd name="T121" fmla="*/ 80 h 184"/>
              <a:gd name="T122" fmla="*/ 112 w 208"/>
              <a:gd name="T123" fmla="*/ 104 h 184"/>
              <a:gd name="T124" fmla="*/ 136 w 208"/>
              <a:gd name="T125" fmla="*/ 104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8" h="184">
                <a:moveTo>
                  <a:pt x="181" y="40"/>
                </a:moveTo>
                <a:cubicBezTo>
                  <a:pt x="163" y="40"/>
                  <a:pt x="163" y="40"/>
                  <a:pt x="163" y="40"/>
                </a:cubicBezTo>
                <a:cubicBezTo>
                  <a:pt x="152" y="40"/>
                  <a:pt x="143" y="33"/>
                  <a:pt x="143" y="24"/>
                </a:cubicBezTo>
                <a:cubicBezTo>
                  <a:pt x="143" y="11"/>
                  <a:pt x="130" y="0"/>
                  <a:pt x="115" y="0"/>
                </a:cubicBezTo>
                <a:cubicBezTo>
                  <a:pt x="93" y="0"/>
                  <a:pt x="93" y="0"/>
                  <a:pt x="93" y="0"/>
                </a:cubicBezTo>
                <a:cubicBezTo>
                  <a:pt x="78" y="0"/>
                  <a:pt x="65" y="11"/>
                  <a:pt x="65" y="24"/>
                </a:cubicBezTo>
                <a:cubicBezTo>
                  <a:pt x="65" y="33"/>
                  <a:pt x="56" y="40"/>
                  <a:pt x="45" y="40"/>
                </a:cubicBezTo>
                <a:cubicBezTo>
                  <a:pt x="27" y="40"/>
                  <a:pt x="27" y="40"/>
                  <a:pt x="27" y="40"/>
                </a:cubicBezTo>
                <a:cubicBezTo>
                  <a:pt x="12" y="40"/>
                  <a:pt x="0" y="52"/>
                  <a:pt x="0" y="68"/>
                </a:cubicBezTo>
                <a:cubicBezTo>
                  <a:pt x="0" y="156"/>
                  <a:pt x="0" y="156"/>
                  <a:pt x="0" y="156"/>
                </a:cubicBezTo>
                <a:cubicBezTo>
                  <a:pt x="0" y="172"/>
                  <a:pt x="12" y="184"/>
                  <a:pt x="27" y="184"/>
                </a:cubicBezTo>
                <a:cubicBezTo>
                  <a:pt x="181" y="184"/>
                  <a:pt x="181" y="184"/>
                  <a:pt x="181" y="184"/>
                </a:cubicBezTo>
                <a:cubicBezTo>
                  <a:pt x="196" y="184"/>
                  <a:pt x="208" y="172"/>
                  <a:pt x="208" y="156"/>
                </a:cubicBezTo>
                <a:cubicBezTo>
                  <a:pt x="208" y="68"/>
                  <a:pt x="208" y="68"/>
                  <a:pt x="208" y="68"/>
                </a:cubicBezTo>
                <a:cubicBezTo>
                  <a:pt x="208" y="52"/>
                  <a:pt x="197" y="40"/>
                  <a:pt x="181" y="40"/>
                </a:cubicBezTo>
                <a:close/>
                <a:moveTo>
                  <a:pt x="73" y="24"/>
                </a:moveTo>
                <a:cubicBezTo>
                  <a:pt x="73" y="15"/>
                  <a:pt x="82" y="8"/>
                  <a:pt x="93" y="8"/>
                </a:cubicBezTo>
                <a:cubicBezTo>
                  <a:pt x="115" y="8"/>
                  <a:pt x="115" y="8"/>
                  <a:pt x="115" y="8"/>
                </a:cubicBezTo>
                <a:cubicBezTo>
                  <a:pt x="126" y="8"/>
                  <a:pt x="135" y="15"/>
                  <a:pt x="135" y="24"/>
                </a:cubicBezTo>
                <a:cubicBezTo>
                  <a:pt x="135" y="30"/>
                  <a:pt x="138" y="36"/>
                  <a:pt x="143" y="40"/>
                </a:cubicBezTo>
                <a:cubicBezTo>
                  <a:pt x="65" y="40"/>
                  <a:pt x="65" y="40"/>
                  <a:pt x="65" y="40"/>
                </a:cubicBezTo>
                <a:cubicBezTo>
                  <a:pt x="70" y="36"/>
                  <a:pt x="73" y="30"/>
                  <a:pt x="73" y="24"/>
                </a:cubicBezTo>
                <a:close/>
                <a:moveTo>
                  <a:pt x="200" y="156"/>
                </a:moveTo>
                <a:cubicBezTo>
                  <a:pt x="200" y="167"/>
                  <a:pt x="192" y="176"/>
                  <a:pt x="181" y="176"/>
                </a:cubicBezTo>
                <a:cubicBezTo>
                  <a:pt x="27" y="176"/>
                  <a:pt x="27" y="176"/>
                  <a:pt x="27" y="176"/>
                </a:cubicBezTo>
                <a:cubicBezTo>
                  <a:pt x="16" y="176"/>
                  <a:pt x="8" y="167"/>
                  <a:pt x="8" y="156"/>
                </a:cubicBezTo>
                <a:cubicBezTo>
                  <a:pt x="8" y="68"/>
                  <a:pt x="8" y="68"/>
                  <a:pt x="8" y="68"/>
                </a:cubicBezTo>
                <a:cubicBezTo>
                  <a:pt x="8" y="56"/>
                  <a:pt x="16" y="48"/>
                  <a:pt x="27" y="48"/>
                </a:cubicBezTo>
                <a:cubicBezTo>
                  <a:pt x="45" y="48"/>
                  <a:pt x="45" y="48"/>
                  <a:pt x="45" y="48"/>
                </a:cubicBezTo>
                <a:cubicBezTo>
                  <a:pt x="47" y="48"/>
                  <a:pt x="50" y="48"/>
                  <a:pt x="52" y="47"/>
                </a:cubicBezTo>
                <a:cubicBezTo>
                  <a:pt x="52" y="48"/>
                  <a:pt x="52" y="48"/>
                  <a:pt x="52" y="48"/>
                </a:cubicBezTo>
                <a:cubicBezTo>
                  <a:pt x="152" y="48"/>
                  <a:pt x="152" y="48"/>
                  <a:pt x="152" y="48"/>
                </a:cubicBezTo>
                <a:cubicBezTo>
                  <a:pt x="152" y="46"/>
                  <a:pt x="152" y="46"/>
                  <a:pt x="152" y="46"/>
                </a:cubicBezTo>
                <a:cubicBezTo>
                  <a:pt x="155" y="47"/>
                  <a:pt x="159" y="48"/>
                  <a:pt x="163" y="48"/>
                </a:cubicBezTo>
                <a:cubicBezTo>
                  <a:pt x="181" y="48"/>
                  <a:pt x="181" y="48"/>
                  <a:pt x="181" y="48"/>
                </a:cubicBezTo>
                <a:cubicBezTo>
                  <a:pt x="192" y="48"/>
                  <a:pt x="200" y="56"/>
                  <a:pt x="200" y="68"/>
                </a:cubicBezTo>
                <a:lnTo>
                  <a:pt x="200" y="156"/>
                </a:lnTo>
                <a:close/>
                <a:moveTo>
                  <a:pt x="120" y="72"/>
                </a:moveTo>
                <a:cubicBezTo>
                  <a:pt x="88" y="72"/>
                  <a:pt x="88" y="72"/>
                  <a:pt x="88" y="72"/>
                </a:cubicBezTo>
                <a:cubicBezTo>
                  <a:pt x="88" y="96"/>
                  <a:pt x="88" y="96"/>
                  <a:pt x="88" y="96"/>
                </a:cubicBezTo>
                <a:cubicBezTo>
                  <a:pt x="64" y="96"/>
                  <a:pt x="64" y="96"/>
                  <a:pt x="64" y="96"/>
                </a:cubicBezTo>
                <a:cubicBezTo>
                  <a:pt x="64" y="128"/>
                  <a:pt x="64" y="128"/>
                  <a:pt x="64" y="128"/>
                </a:cubicBezTo>
                <a:cubicBezTo>
                  <a:pt x="88" y="128"/>
                  <a:pt x="88" y="128"/>
                  <a:pt x="88" y="128"/>
                </a:cubicBezTo>
                <a:cubicBezTo>
                  <a:pt x="88" y="152"/>
                  <a:pt x="88" y="152"/>
                  <a:pt x="88" y="152"/>
                </a:cubicBezTo>
                <a:cubicBezTo>
                  <a:pt x="120" y="152"/>
                  <a:pt x="120" y="152"/>
                  <a:pt x="120" y="152"/>
                </a:cubicBezTo>
                <a:cubicBezTo>
                  <a:pt x="120" y="128"/>
                  <a:pt x="120" y="128"/>
                  <a:pt x="120" y="128"/>
                </a:cubicBezTo>
                <a:cubicBezTo>
                  <a:pt x="144" y="128"/>
                  <a:pt x="144" y="128"/>
                  <a:pt x="144" y="128"/>
                </a:cubicBezTo>
                <a:cubicBezTo>
                  <a:pt x="144" y="96"/>
                  <a:pt x="144" y="96"/>
                  <a:pt x="144" y="96"/>
                </a:cubicBezTo>
                <a:cubicBezTo>
                  <a:pt x="120" y="96"/>
                  <a:pt x="120" y="96"/>
                  <a:pt x="120" y="96"/>
                </a:cubicBezTo>
                <a:lnTo>
                  <a:pt x="120" y="72"/>
                </a:lnTo>
                <a:close/>
                <a:moveTo>
                  <a:pt x="136" y="104"/>
                </a:moveTo>
                <a:cubicBezTo>
                  <a:pt x="136" y="120"/>
                  <a:pt x="136" y="120"/>
                  <a:pt x="136" y="120"/>
                </a:cubicBezTo>
                <a:cubicBezTo>
                  <a:pt x="112" y="120"/>
                  <a:pt x="112" y="120"/>
                  <a:pt x="112" y="120"/>
                </a:cubicBezTo>
                <a:cubicBezTo>
                  <a:pt x="112" y="144"/>
                  <a:pt x="112" y="144"/>
                  <a:pt x="112" y="144"/>
                </a:cubicBezTo>
                <a:cubicBezTo>
                  <a:pt x="96" y="144"/>
                  <a:pt x="96" y="144"/>
                  <a:pt x="96" y="144"/>
                </a:cubicBezTo>
                <a:cubicBezTo>
                  <a:pt x="96" y="120"/>
                  <a:pt x="96" y="120"/>
                  <a:pt x="96" y="120"/>
                </a:cubicBezTo>
                <a:cubicBezTo>
                  <a:pt x="72" y="120"/>
                  <a:pt x="72" y="120"/>
                  <a:pt x="72" y="120"/>
                </a:cubicBezTo>
                <a:cubicBezTo>
                  <a:pt x="72" y="104"/>
                  <a:pt x="72" y="104"/>
                  <a:pt x="72" y="104"/>
                </a:cubicBezTo>
                <a:cubicBezTo>
                  <a:pt x="96" y="104"/>
                  <a:pt x="96" y="104"/>
                  <a:pt x="96" y="104"/>
                </a:cubicBezTo>
                <a:cubicBezTo>
                  <a:pt x="96" y="80"/>
                  <a:pt x="96" y="80"/>
                  <a:pt x="96" y="80"/>
                </a:cubicBezTo>
                <a:cubicBezTo>
                  <a:pt x="112" y="80"/>
                  <a:pt x="112" y="80"/>
                  <a:pt x="112" y="80"/>
                </a:cubicBezTo>
                <a:cubicBezTo>
                  <a:pt x="112" y="104"/>
                  <a:pt x="112" y="104"/>
                  <a:pt x="112" y="104"/>
                </a:cubicBezTo>
                <a:lnTo>
                  <a:pt x="136" y="10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5" name="Round Diagonal Corner Rectangle 9">
            <a:extLst>
              <a:ext uri="{FF2B5EF4-FFF2-40B4-BE49-F238E27FC236}">
                <a16:creationId xmlns:a16="http://schemas.microsoft.com/office/drawing/2014/main" id="{A3800EA5-DB1D-4074-9BBC-E5938A84ACF0}"/>
              </a:ext>
            </a:extLst>
          </p:cNvPr>
          <p:cNvSpPr/>
          <p:nvPr/>
        </p:nvSpPr>
        <p:spPr>
          <a:xfrm>
            <a:off x="6371906" y="2782937"/>
            <a:ext cx="599844" cy="599844"/>
          </a:xfrm>
          <a:prstGeom prst="round2DiagRect">
            <a:avLst/>
          </a:prstGeom>
          <a:gradFill>
            <a:gsLst>
              <a:gs pos="73000">
                <a:schemeClr val="accent1"/>
              </a:gs>
              <a:gs pos="31000">
                <a:schemeClr val="accent1">
                  <a:lumMod val="60000"/>
                  <a:lumOff val="40000"/>
                </a:schemeClr>
              </a:gs>
              <a:gs pos="0">
                <a:schemeClr val="accent1">
                  <a:lumMod val="40000"/>
                  <a:lumOff val="60000"/>
                </a:schemeClr>
              </a:gs>
            </a:gsLst>
            <a:path path="circle">
              <a:fillToRect r="100000" b="100000"/>
            </a:path>
          </a:gradFill>
          <a:ln>
            <a:noFill/>
          </a:ln>
          <a:effectLst>
            <a:outerShdw blurRad="444500" dist="317500" dir="5400000" sx="92000" sy="92000" algn="t" rotWithShape="0">
              <a:schemeClr val="accent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16" name="TextBox 10">
            <a:extLst>
              <a:ext uri="{FF2B5EF4-FFF2-40B4-BE49-F238E27FC236}">
                <a16:creationId xmlns:a16="http://schemas.microsoft.com/office/drawing/2014/main" id="{5FA190FC-FDEB-4EC1-92F7-965F598D1A7B}"/>
              </a:ext>
            </a:extLst>
          </p:cNvPr>
          <p:cNvSpPr txBox="1"/>
          <p:nvPr/>
        </p:nvSpPr>
        <p:spPr>
          <a:xfrm>
            <a:off x="7155959" y="2809491"/>
            <a:ext cx="3424823" cy="480131"/>
          </a:xfrm>
          <a:prstGeom prst="rect">
            <a:avLst/>
          </a:prstGeom>
          <a:noFill/>
        </p:spPr>
        <p:txBody>
          <a:bodyPr wrap="square" rtlCol="0">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1050" b="0" i="0" u="none" strike="noStrike" kern="1200" cap="none" spc="100" normalizeH="0" baseline="0" noProof="0" dirty="0">
                <a:ln>
                  <a:noFill/>
                </a:ln>
                <a:solidFill>
                  <a:prstClr val="black">
                    <a:lumMod val="50000"/>
                    <a:lumOff val="50000"/>
                  </a:prstClr>
                </a:solidFill>
                <a:effectLst/>
                <a:uLnTx/>
                <a:uFillTx/>
                <a:latin typeface="HarmonyOS Sans SC"/>
                <a:cs typeface="Open Sans" panose="020B0606030504020204" pitchFamily="34" charset="0"/>
              </a:rPr>
              <a:t>A wonderful serenity</a:t>
            </a:r>
            <a:r>
              <a:rPr kumimoji="0" lang="en-US" sz="1050" b="0" i="0" u="none" strike="noStrike" kern="1200" cap="none" spc="100" normalizeH="0" baseline="0" noProof="0" dirty="0">
                <a:ln>
                  <a:noFill/>
                </a:ln>
                <a:solidFill>
                  <a:prstClr val="black">
                    <a:lumMod val="50000"/>
                    <a:lumOff val="50000"/>
                  </a:prstClr>
                </a:solidFill>
                <a:effectLst/>
                <a:uLnTx/>
                <a:uFillTx/>
                <a:latin typeface="HarmonyOS Sans SC"/>
                <a:cs typeface="Open Sans Light" panose="020B0306030504020204" pitchFamily="34" charset="0"/>
              </a:rPr>
              <a:t> has taken possession of my entire soul</a:t>
            </a:r>
          </a:p>
        </p:txBody>
      </p:sp>
      <p:sp>
        <p:nvSpPr>
          <p:cNvPr id="17" name="Freeform 44">
            <a:extLst>
              <a:ext uri="{FF2B5EF4-FFF2-40B4-BE49-F238E27FC236}">
                <a16:creationId xmlns:a16="http://schemas.microsoft.com/office/drawing/2014/main" id="{53C46032-0AB5-435D-B953-570D23B6F2E2}"/>
              </a:ext>
            </a:extLst>
          </p:cNvPr>
          <p:cNvSpPr>
            <a:spLocks noEditPoints="1"/>
          </p:cNvSpPr>
          <p:nvPr/>
        </p:nvSpPr>
        <p:spPr bwMode="auto">
          <a:xfrm>
            <a:off x="6514665" y="2902712"/>
            <a:ext cx="314325" cy="293688"/>
          </a:xfrm>
          <a:custGeom>
            <a:avLst/>
            <a:gdLst>
              <a:gd name="T0" fmla="*/ 169 w 184"/>
              <a:gd name="T1" fmla="*/ 87 h 172"/>
              <a:gd name="T2" fmla="*/ 143 w 184"/>
              <a:gd name="T3" fmla="*/ 73 h 172"/>
              <a:gd name="T4" fmla="*/ 148 w 184"/>
              <a:gd name="T5" fmla="*/ 69 h 172"/>
              <a:gd name="T6" fmla="*/ 159 w 184"/>
              <a:gd name="T7" fmla="*/ 40 h 172"/>
              <a:gd name="T8" fmla="*/ 148 w 184"/>
              <a:gd name="T9" fmla="*/ 12 h 172"/>
              <a:gd name="T10" fmla="*/ 119 w 184"/>
              <a:gd name="T11" fmla="*/ 0 h 172"/>
              <a:gd name="T12" fmla="*/ 91 w 184"/>
              <a:gd name="T13" fmla="*/ 12 h 172"/>
              <a:gd name="T14" fmla="*/ 12 w 184"/>
              <a:gd name="T15" fmla="*/ 91 h 172"/>
              <a:gd name="T16" fmla="*/ 0 w 184"/>
              <a:gd name="T17" fmla="*/ 120 h 172"/>
              <a:gd name="T18" fmla="*/ 12 w 184"/>
              <a:gd name="T19" fmla="*/ 148 h 172"/>
              <a:gd name="T20" fmla="*/ 40 w 184"/>
              <a:gd name="T21" fmla="*/ 160 h 172"/>
              <a:gd name="T22" fmla="*/ 68 w 184"/>
              <a:gd name="T23" fmla="*/ 148 h 172"/>
              <a:gd name="T24" fmla="*/ 85 w 184"/>
              <a:gd name="T25" fmla="*/ 132 h 172"/>
              <a:gd name="T26" fmla="*/ 98 w 184"/>
              <a:gd name="T27" fmla="*/ 157 h 172"/>
              <a:gd name="T28" fmla="*/ 134 w 184"/>
              <a:gd name="T29" fmla="*/ 172 h 172"/>
              <a:gd name="T30" fmla="*/ 169 w 184"/>
              <a:gd name="T31" fmla="*/ 157 h 172"/>
              <a:gd name="T32" fmla="*/ 184 w 184"/>
              <a:gd name="T33" fmla="*/ 122 h 172"/>
              <a:gd name="T34" fmla="*/ 169 w 184"/>
              <a:gd name="T35" fmla="*/ 87 h 172"/>
              <a:gd name="T36" fmla="*/ 97 w 184"/>
              <a:gd name="T37" fmla="*/ 18 h 172"/>
              <a:gd name="T38" fmla="*/ 119 w 184"/>
              <a:gd name="T39" fmla="*/ 8 h 172"/>
              <a:gd name="T40" fmla="*/ 142 w 184"/>
              <a:gd name="T41" fmla="*/ 18 h 172"/>
              <a:gd name="T42" fmla="*/ 151 w 184"/>
              <a:gd name="T43" fmla="*/ 40 h 172"/>
              <a:gd name="T44" fmla="*/ 142 w 184"/>
              <a:gd name="T45" fmla="*/ 63 h 172"/>
              <a:gd name="T46" fmla="*/ 133 w 184"/>
              <a:gd name="T47" fmla="*/ 72 h 172"/>
              <a:gd name="T48" fmla="*/ 98 w 184"/>
              <a:gd name="T49" fmla="*/ 87 h 172"/>
              <a:gd name="T50" fmla="*/ 94 w 184"/>
              <a:gd name="T51" fmla="*/ 92 h 172"/>
              <a:gd name="T52" fmla="*/ 57 w 184"/>
              <a:gd name="T53" fmla="*/ 57 h 172"/>
              <a:gd name="T54" fmla="*/ 97 w 184"/>
              <a:gd name="T55" fmla="*/ 18 h 172"/>
              <a:gd name="T56" fmla="*/ 63 w 184"/>
              <a:gd name="T57" fmla="*/ 142 h 172"/>
              <a:gd name="T58" fmla="*/ 17 w 184"/>
              <a:gd name="T59" fmla="*/ 142 h 172"/>
              <a:gd name="T60" fmla="*/ 8 w 184"/>
              <a:gd name="T61" fmla="*/ 120 h 172"/>
              <a:gd name="T62" fmla="*/ 17 w 184"/>
              <a:gd name="T63" fmla="*/ 97 h 172"/>
              <a:gd name="T64" fmla="*/ 51 w 184"/>
              <a:gd name="T65" fmla="*/ 63 h 172"/>
              <a:gd name="T66" fmla="*/ 89 w 184"/>
              <a:gd name="T67" fmla="*/ 99 h 172"/>
              <a:gd name="T68" fmla="*/ 90 w 184"/>
              <a:gd name="T69" fmla="*/ 98 h 172"/>
              <a:gd name="T70" fmla="*/ 84 w 184"/>
              <a:gd name="T71" fmla="*/ 121 h 172"/>
              <a:gd name="T72" fmla="*/ 63 w 184"/>
              <a:gd name="T73" fmla="*/ 142 h 172"/>
              <a:gd name="T74" fmla="*/ 104 w 184"/>
              <a:gd name="T75" fmla="*/ 152 h 172"/>
              <a:gd name="T76" fmla="*/ 100 w 184"/>
              <a:gd name="T77" fmla="*/ 97 h 172"/>
              <a:gd name="T78" fmla="*/ 159 w 184"/>
              <a:gd name="T79" fmla="*/ 156 h 172"/>
              <a:gd name="T80" fmla="*/ 134 w 184"/>
              <a:gd name="T81" fmla="*/ 164 h 172"/>
              <a:gd name="T82" fmla="*/ 104 w 184"/>
              <a:gd name="T83" fmla="*/ 152 h 172"/>
              <a:gd name="T84" fmla="*/ 165 w 184"/>
              <a:gd name="T85" fmla="*/ 150 h 172"/>
              <a:gd name="T86" fmla="*/ 105 w 184"/>
              <a:gd name="T87" fmla="*/ 91 h 172"/>
              <a:gd name="T88" fmla="*/ 134 w 184"/>
              <a:gd name="T89" fmla="*/ 80 h 172"/>
              <a:gd name="T90" fmla="*/ 163 w 184"/>
              <a:gd name="T91" fmla="*/ 92 h 172"/>
              <a:gd name="T92" fmla="*/ 176 w 184"/>
              <a:gd name="T93" fmla="*/ 122 h 172"/>
              <a:gd name="T94" fmla="*/ 165 w 184"/>
              <a:gd name="T95" fmla="*/ 15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4" h="172">
                <a:moveTo>
                  <a:pt x="169" y="87"/>
                </a:moveTo>
                <a:cubicBezTo>
                  <a:pt x="162" y="80"/>
                  <a:pt x="153" y="75"/>
                  <a:pt x="143" y="73"/>
                </a:cubicBezTo>
                <a:cubicBezTo>
                  <a:pt x="148" y="69"/>
                  <a:pt x="148" y="69"/>
                  <a:pt x="148" y="69"/>
                </a:cubicBezTo>
                <a:cubicBezTo>
                  <a:pt x="155" y="61"/>
                  <a:pt x="159" y="51"/>
                  <a:pt x="159" y="40"/>
                </a:cubicBezTo>
                <a:cubicBezTo>
                  <a:pt x="159" y="30"/>
                  <a:pt x="155" y="20"/>
                  <a:pt x="148" y="12"/>
                </a:cubicBezTo>
                <a:cubicBezTo>
                  <a:pt x="140" y="5"/>
                  <a:pt x="130" y="0"/>
                  <a:pt x="119" y="0"/>
                </a:cubicBezTo>
                <a:cubicBezTo>
                  <a:pt x="109" y="0"/>
                  <a:pt x="99" y="5"/>
                  <a:pt x="91" y="12"/>
                </a:cubicBezTo>
                <a:cubicBezTo>
                  <a:pt x="12" y="91"/>
                  <a:pt x="12" y="91"/>
                  <a:pt x="12" y="91"/>
                </a:cubicBezTo>
                <a:cubicBezTo>
                  <a:pt x="4" y="99"/>
                  <a:pt x="0" y="109"/>
                  <a:pt x="0" y="120"/>
                </a:cubicBezTo>
                <a:cubicBezTo>
                  <a:pt x="0" y="130"/>
                  <a:pt x="4" y="140"/>
                  <a:pt x="12" y="148"/>
                </a:cubicBezTo>
                <a:cubicBezTo>
                  <a:pt x="20" y="156"/>
                  <a:pt x="30" y="160"/>
                  <a:pt x="40" y="160"/>
                </a:cubicBezTo>
                <a:cubicBezTo>
                  <a:pt x="50" y="160"/>
                  <a:pt x="61" y="156"/>
                  <a:pt x="68" y="148"/>
                </a:cubicBezTo>
                <a:cubicBezTo>
                  <a:pt x="85" y="132"/>
                  <a:pt x="85" y="132"/>
                  <a:pt x="85" y="132"/>
                </a:cubicBezTo>
                <a:cubicBezTo>
                  <a:pt x="86" y="141"/>
                  <a:pt x="91" y="150"/>
                  <a:pt x="98" y="157"/>
                </a:cubicBezTo>
                <a:cubicBezTo>
                  <a:pt x="108" y="167"/>
                  <a:pt x="120" y="172"/>
                  <a:pt x="134" y="172"/>
                </a:cubicBezTo>
                <a:cubicBezTo>
                  <a:pt x="147" y="172"/>
                  <a:pt x="160" y="167"/>
                  <a:pt x="169" y="157"/>
                </a:cubicBezTo>
                <a:cubicBezTo>
                  <a:pt x="178" y="148"/>
                  <a:pt x="184" y="135"/>
                  <a:pt x="184" y="122"/>
                </a:cubicBezTo>
                <a:cubicBezTo>
                  <a:pt x="184" y="109"/>
                  <a:pt x="178" y="96"/>
                  <a:pt x="169" y="87"/>
                </a:cubicBezTo>
                <a:close/>
                <a:moveTo>
                  <a:pt x="97" y="18"/>
                </a:moveTo>
                <a:cubicBezTo>
                  <a:pt x="103" y="12"/>
                  <a:pt x="111" y="8"/>
                  <a:pt x="119" y="8"/>
                </a:cubicBezTo>
                <a:cubicBezTo>
                  <a:pt x="128" y="8"/>
                  <a:pt x="136" y="12"/>
                  <a:pt x="142" y="18"/>
                </a:cubicBezTo>
                <a:cubicBezTo>
                  <a:pt x="148" y="24"/>
                  <a:pt x="151" y="32"/>
                  <a:pt x="151" y="40"/>
                </a:cubicBezTo>
                <a:cubicBezTo>
                  <a:pt x="151" y="49"/>
                  <a:pt x="148" y="57"/>
                  <a:pt x="142" y="63"/>
                </a:cubicBezTo>
                <a:cubicBezTo>
                  <a:pt x="133" y="72"/>
                  <a:pt x="133" y="72"/>
                  <a:pt x="133" y="72"/>
                </a:cubicBezTo>
                <a:cubicBezTo>
                  <a:pt x="120" y="72"/>
                  <a:pt x="108" y="77"/>
                  <a:pt x="98" y="87"/>
                </a:cubicBezTo>
                <a:cubicBezTo>
                  <a:pt x="97" y="88"/>
                  <a:pt x="95" y="90"/>
                  <a:pt x="94" y="92"/>
                </a:cubicBezTo>
                <a:cubicBezTo>
                  <a:pt x="57" y="57"/>
                  <a:pt x="57" y="57"/>
                  <a:pt x="57" y="57"/>
                </a:cubicBezTo>
                <a:lnTo>
                  <a:pt x="97" y="18"/>
                </a:lnTo>
                <a:close/>
                <a:moveTo>
                  <a:pt x="63" y="142"/>
                </a:moveTo>
                <a:cubicBezTo>
                  <a:pt x="50" y="155"/>
                  <a:pt x="30" y="155"/>
                  <a:pt x="17" y="142"/>
                </a:cubicBezTo>
                <a:cubicBezTo>
                  <a:pt x="11" y="136"/>
                  <a:pt x="8" y="128"/>
                  <a:pt x="8" y="120"/>
                </a:cubicBezTo>
                <a:cubicBezTo>
                  <a:pt x="8" y="111"/>
                  <a:pt x="11" y="103"/>
                  <a:pt x="17" y="97"/>
                </a:cubicBezTo>
                <a:cubicBezTo>
                  <a:pt x="51" y="63"/>
                  <a:pt x="51" y="63"/>
                  <a:pt x="51" y="63"/>
                </a:cubicBezTo>
                <a:cubicBezTo>
                  <a:pt x="89" y="99"/>
                  <a:pt x="89" y="99"/>
                  <a:pt x="89" y="99"/>
                </a:cubicBezTo>
                <a:cubicBezTo>
                  <a:pt x="90" y="98"/>
                  <a:pt x="90" y="98"/>
                  <a:pt x="90" y="98"/>
                </a:cubicBezTo>
                <a:cubicBezTo>
                  <a:pt x="86" y="105"/>
                  <a:pt x="84" y="113"/>
                  <a:pt x="84" y="121"/>
                </a:cubicBezTo>
                <a:lnTo>
                  <a:pt x="63" y="142"/>
                </a:lnTo>
                <a:close/>
                <a:moveTo>
                  <a:pt x="104" y="152"/>
                </a:moveTo>
                <a:cubicBezTo>
                  <a:pt x="89" y="137"/>
                  <a:pt x="88" y="113"/>
                  <a:pt x="100" y="97"/>
                </a:cubicBezTo>
                <a:cubicBezTo>
                  <a:pt x="159" y="156"/>
                  <a:pt x="159" y="156"/>
                  <a:pt x="159" y="156"/>
                </a:cubicBezTo>
                <a:cubicBezTo>
                  <a:pt x="152" y="161"/>
                  <a:pt x="143" y="164"/>
                  <a:pt x="134" y="164"/>
                </a:cubicBezTo>
                <a:cubicBezTo>
                  <a:pt x="122" y="164"/>
                  <a:pt x="112" y="160"/>
                  <a:pt x="104" y="152"/>
                </a:cubicBezTo>
                <a:close/>
                <a:moveTo>
                  <a:pt x="165" y="150"/>
                </a:moveTo>
                <a:cubicBezTo>
                  <a:pt x="105" y="91"/>
                  <a:pt x="105" y="91"/>
                  <a:pt x="105" y="91"/>
                </a:cubicBezTo>
                <a:cubicBezTo>
                  <a:pt x="113" y="84"/>
                  <a:pt x="123" y="80"/>
                  <a:pt x="134" y="80"/>
                </a:cubicBezTo>
                <a:cubicBezTo>
                  <a:pt x="145" y="80"/>
                  <a:pt x="155" y="84"/>
                  <a:pt x="163" y="92"/>
                </a:cubicBezTo>
                <a:cubicBezTo>
                  <a:pt x="171" y="100"/>
                  <a:pt x="176" y="111"/>
                  <a:pt x="176" y="122"/>
                </a:cubicBezTo>
                <a:cubicBezTo>
                  <a:pt x="176" y="133"/>
                  <a:pt x="172" y="142"/>
                  <a:pt x="165" y="15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9" name="Round Diagonal Corner Rectangle 14">
            <a:extLst>
              <a:ext uri="{FF2B5EF4-FFF2-40B4-BE49-F238E27FC236}">
                <a16:creationId xmlns:a16="http://schemas.microsoft.com/office/drawing/2014/main" id="{D29D785A-17D0-4D0C-87F5-651B76E7BA89}"/>
              </a:ext>
            </a:extLst>
          </p:cNvPr>
          <p:cNvSpPr/>
          <p:nvPr/>
        </p:nvSpPr>
        <p:spPr>
          <a:xfrm>
            <a:off x="6371906" y="3584850"/>
            <a:ext cx="599844" cy="599844"/>
          </a:xfrm>
          <a:prstGeom prst="round2DiagRect">
            <a:avLst/>
          </a:prstGeom>
          <a:gradFill>
            <a:gsLst>
              <a:gs pos="73000">
                <a:schemeClr val="accent1"/>
              </a:gs>
              <a:gs pos="31000">
                <a:schemeClr val="accent1">
                  <a:lumMod val="60000"/>
                  <a:lumOff val="40000"/>
                </a:schemeClr>
              </a:gs>
              <a:gs pos="0">
                <a:schemeClr val="accent1">
                  <a:lumMod val="40000"/>
                  <a:lumOff val="60000"/>
                </a:schemeClr>
              </a:gs>
            </a:gsLst>
            <a:path path="circle">
              <a:fillToRect r="100000" b="100000"/>
            </a:path>
          </a:gradFill>
          <a:ln>
            <a:noFill/>
          </a:ln>
          <a:effectLst>
            <a:outerShdw blurRad="444500" dist="317500" dir="5400000" sx="92000" sy="92000" algn="t" rotWithShape="0">
              <a:schemeClr val="accent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20" name="TextBox 15">
            <a:extLst>
              <a:ext uri="{FF2B5EF4-FFF2-40B4-BE49-F238E27FC236}">
                <a16:creationId xmlns:a16="http://schemas.microsoft.com/office/drawing/2014/main" id="{85E06A3C-1A61-4FEA-99EF-FE536AC73779}"/>
              </a:ext>
            </a:extLst>
          </p:cNvPr>
          <p:cNvSpPr txBox="1"/>
          <p:nvPr/>
        </p:nvSpPr>
        <p:spPr>
          <a:xfrm>
            <a:off x="7155959" y="3611404"/>
            <a:ext cx="3424823" cy="480131"/>
          </a:xfrm>
          <a:prstGeom prst="rect">
            <a:avLst/>
          </a:prstGeom>
          <a:noFill/>
        </p:spPr>
        <p:txBody>
          <a:bodyPr wrap="square" rtlCol="0">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1050" b="0" i="0" u="none" strike="noStrike" kern="1200" cap="none" spc="100" normalizeH="0" baseline="0" noProof="0" dirty="0">
                <a:ln>
                  <a:noFill/>
                </a:ln>
                <a:solidFill>
                  <a:prstClr val="black">
                    <a:lumMod val="50000"/>
                    <a:lumOff val="50000"/>
                  </a:prstClr>
                </a:solidFill>
                <a:effectLst/>
                <a:uLnTx/>
                <a:uFillTx/>
                <a:latin typeface="HarmonyOS Sans SC"/>
                <a:cs typeface="Open Sans" panose="020B0606030504020204" pitchFamily="34" charset="0"/>
              </a:rPr>
              <a:t>A wonderful serenity</a:t>
            </a:r>
            <a:r>
              <a:rPr kumimoji="0" lang="en-US" sz="1050" b="0" i="0" u="none" strike="noStrike" kern="1200" cap="none" spc="100" normalizeH="0" baseline="0" noProof="0" dirty="0">
                <a:ln>
                  <a:noFill/>
                </a:ln>
                <a:solidFill>
                  <a:prstClr val="black">
                    <a:lumMod val="50000"/>
                    <a:lumOff val="50000"/>
                  </a:prstClr>
                </a:solidFill>
                <a:effectLst/>
                <a:uLnTx/>
                <a:uFillTx/>
                <a:latin typeface="HarmonyOS Sans SC"/>
                <a:cs typeface="Open Sans Light" panose="020B0306030504020204" pitchFamily="34" charset="0"/>
              </a:rPr>
              <a:t> has taken possession of my entire soul</a:t>
            </a:r>
          </a:p>
        </p:txBody>
      </p:sp>
      <p:sp>
        <p:nvSpPr>
          <p:cNvPr id="21" name="Freeform 59">
            <a:extLst>
              <a:ext uri="{FF2B5EF4-FFF2-40B4-BE49-F238E27FC236}">
                <a16:creationId xmlns:a16="http://schemas.microsoft.com/office/drawing/2014/main" id="{F65D0867-8A12-4BAF-8246-63A850FEB8D0}"/>
              </a:ext>
            </a:extLst>
          </p:cNvPr>
          <p:cNvSpPr>
            <a:spLocks noEditPoints="1"/>
          </p:cNvSpPr>
          <p:nvPr/>
        </p:nvSpPr>
        <p:spPr bwMode="auto">
          <a:xfrm>
            <a:off x="6501966" y="3710941"/>
            <a:ext cx="339725" cy="347663"/>
          </a:xfrm>
          <a:custGeom>
            <a:avLst/>
            <a:gdLst>
              <a:gd name="T0" fmla="*/ 181 w 200"/>
              <a:gd name="T1" fmla="*/ 20 h 204"/>
              <a:gd name="T2" fmla="*/ 180 w 200"/>
              <a:gd name="T3" fmla="*/ 19 h 204"/>
              <a:gd name="T4" fmla="*/ 168 w 200"/>
              <a:gd name="T5" fmla="*/ 0 h 204"/>
              <a:gd name="T6" fmla="*/ 104 w 200"/>
              <a:gd name="T7" fmla="*/ 30 h 204"/>
              <a:gd name="T8" fmla="*/ 28 w 200"/>
              <a:gd name="T9" fmla="*/ 110 h 204"/>
              <a:gd name="T10" fmla="*/ 0 w 200"/>
              <a:gd name="T11" fmla="*/ 171 h 204"/>
              <a:gd name="T12" fmla="*/ 18 w 200"/>
              <a:gd name="T13" fmla="*/ 183 h 204"/>
              <a:gd name="T14" fmla="*/ 18 w 200"/>
              <a:gd name="T15" fmla="*/ 183 h 204"/>
              <a:gd name="T16" fmla="*/ 19 w 200"/>
              <a:gd name="T17" fmla="*/ 183 h 204"/>
              <a:gd name="T18" fmla="*/ 31 w 200"/>
              <a:gd name="T19" fmla="*/ 204 h 204"/>
              <a:gd name="T20" fmla="*/ 51 w 200"/>
              <a:gd name="T21" fmla="*/ 188 h 204"/>
              <a:gd name="T22" fmla="*/ 104 w 200"/>
              <a:gd name="T23" fmla="*/ 109 h 204"/>
              <a:gd name="T24" fmla="*/ 171 w 200"/>
              <a:gd name="T25" fmla="*/ 98 h 204"/>
              <a:gd name="T26" fmla="*/ 200 w 200"/>
              <a:gd name="T27" fmla="*/ 32 h 204"/>
              <a:gd name="T28" fmla="*/ 175 w 200"/>
              <a:gd name="T29" fmla="*/ 26 h 204"/>
              <a:gd name="T30" fmla="*/ 145 w 200"/>
              <a:gd name="T31" fmla="*/ 22 h 204"/>
              <a:gd name="T32" fmla="*/ 178 w 200"/>
              <a:gd name="T33" fmla="*/ 67 h 204"/>
              <a:gd name="T34" fmla="*/ 120 w 200"/>
              <a:gd name="T35" fmla="*/ 29 h 204"/>
              <a:gd name="T36" fmla="*/ 178 w 200"/>
              <a:gd name="T37" fmla="*/ 67 h 204"/>
              <a:gd name="T38" fmla="*/ 97 w 200"/>
              <a:gd name="T39" fmla="*/ 65 h 204"/>
              <a:gd name="T40" fmla="*/ 151 w 200"/>
              <a:gd name="T41" fmla="*/ 101 h 204"/>
              <a:gd name="T42" fmla="*/ 97 w 200"/>
              <a:gd name="T43" fmla="*/ 65 h 204"/>
              <a:gd name="T44" fmla="*/ 99 w 200"/>
              <a:gd name="T45" fmla="*/ 133 h 204"/>
              <a:gd name="T46" fmla="*/ 95 w 200"/>
              <a:gd name="T47" fmla="*/ 107 h 204"/>
              <a:gd name="T48" fmla="*/ 93 w 200"/>
              <a:gd name="T49" fmla="*/ 158 h 204"/>
              <a:gd name="T50" fmla="*/ 58 w 200"/>
              <a:gd name="T51" fmla="*/ 104 h 204"/>
              <a:gd name="T52" fmla="*/ 21 w 200"/>
              <a:gd name="T53" fmla="*/ 144 h 204"/>
              <a:gd name="T54" fmla="*/ 71 w 200"/>
              <a:gd name="T55" fmla="*/ 177 h 204"/>
              <a:gd name="T56" fmla="*/ 56 w 200"/>
              <a:gd name="T57" fmla="*/ 179 h 204"/>
              <a:gd name="T58" fmla="*/ 46 w 200"/>
              <a:gd name="T59" fmla="*/ 180 h 204"/>
              <a:gd name="T60" fmla="*/ 21 w 200"/>
              <a:gd name="T61" fmla="*/ 155 h 204"/>
              <a:gd name="T62" fmla="*/ 79 w 200"/>
              <a:gd name="T63" fmla="*/ 173 h 204"/>
              <a:gd name="T64" fmla="*/ 34 w 200"/>
              <a:gd name="T65" fmla="*/ 115 h 204"/>
              <a:gd name="T66" fmla="*/ 88 w 200"/>
              <a:gd name="T67" fmla="*/ 165 h 204"/>
              <a:gd name="T68" fmla="*/ 79 w 200"/>
              <a:gd name="T69" fmla="*/ 173 h 204"/>
              <a:gd name="T70" fmla="*/ 102 w 200"/>
              <a:gd name="T71" fmla="*/ 100 h 204"/>
              <a:gd name="T72" fmla="*/ 101 w 200"/>
              <a:gd name="T73" fmla="*/ 100 h 204"/>
              <a:gd name="T74" fmla="*/ 101 w 200"/>
              <a:gd name="T75" fmla="*/ 100 h 204"/>
              <a:gd name="T76" fmla="*/ 125 w 200"/>
              <a:gd name="T77" fmla="*/ 105 h 204"/>
              <a:gd name="T78" fmla="*/ 101 w 200"/>
              <a:gd name="T79" fmla="*/ 100 h 204"/>
              <a:gd name="T80" fmla="*/ 104 w 200"/>
              <a:gd name="T81" fmla="*/ 43 h 204"/>
              <a:gd name="T82" fmla="*/ 113 w 200"/>
              <a:gd name="T83" fmla="*/ 33 h 204"/>
              <a:gd name="T84" fmla="*/ 165 w 200"/>
              <a:gd name="T85" fmla="*/ 92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00" h="204">
                <a:moveTo>
                  <a:pt x="200" y="24"/>
                </a:moveTo>
                <a:cubicBezTo>
                  <a:pt x="192" y="23"/>
                  <a:pt x="188" y="22"/>
                  <a:pt x="181" y="20"/>
                </a:cubicBezTo>
                <a:cubicBezTo>
                  <a:pt x="181" y="20"/>
                  <a:pt x="181" y="20"/>
                  <a:pt x="181" y="20"/>
                </a:cubicBezTo>
                <a:cubicBezTo>
                  <a:pt x="181" y="20"/>
                  <a:pt x="180" y="19"/>
                  <a:pt x="180" y="19"/>
                </a:cubicBezTo>
                <a:cubicBezTo>
                  <a:pt x="178" y="12"/>
                  <a:pt x="177" y="4"/>
                  <a:pt x="176" y="0"/>
                </a:cubicBezTo>
                <a:cubicBezTo>
                  <a:pt x="168" y="0"/>
                  <a:pt x="168" y="0"/>
                  <a:pt x="168" y="0"/>
                </a:cubicBezTo>
                <a:cubicBezTo>
                  <a:pt x="169" y="6"/>
                  <a:pt x="170" y="11"/>
                  <a:pt x="171" y="17"/>
                </a:cubicBezTo>
                <a:cubicBezTo>
                  <a:pt x="143" y="11"/>
                  <a:pt x="119" y="15"/>
                  <a:pt x="104" y="30"/>
                </a:cubicBezTo>
                <a:cubicBezTo>
                  <a:pt x="89" y="46"/>
                  <a:pt x="85" y="69"/>
                  <a:pt x="92" y="98"/>
                </a:cubicBezTo>
                <a:cubicBezTo>
                  <a:pt x="65" y="91"/>
                  <a:pt x="42" y="96"/>
                  <a:pt x="28" y="110"/>
                </a:cubicBezTo>
                <a:cubicBezTo>
                  <a:pt x="14" y="124"/>
                  <a:pt x="10" y="147"/>
                  <a:pt x="16" y="174"/>
                </a:cubicBezTo>
                <a:cubicBezTo>
                  <a:pt x="11" y="172"/>
                  <a:pt x="5" y="171"/>
                  <a:pt x="0" y="171"/>
                </a:cubicBezTo>
                <a:cubicBezTo>
                  <a:pt x="0" y="179"/>
                  <a:pt x="0" y="179"/>
                  <a:pt x="0" y="179"/>
                </a:cubicBezTo>
                <a:cubicBezTo>
                  <a:pt x="6" y="180"/>
                  <a:pt x="12" y="181"/>
                  <a:pt x="18" y="183"/>
                </a:cubicBezTo>
                <a:cubicBezTo>
                  <a:pt x="18" y="183"/>
                  <a:pt x="18" y="183"/>
                  <a:pt x="18" y="183"/>
                </a:cubicBezTo>
                <a:cubicBezTo>
                  <a:pt x="18" y="183"/>
                  <a:pt x="18" y="183"/>
                  <a:pt x="18" y="183"/>
                </a:cubicBezTo>
                <a:cubicBezTo>
                  <a:pt x="18" y="183"/>
                  <a:pt x="19" y="183"/>
                  <a:pt x="19" y="183"/>
                </a:cubicBezTo>
                <a:cubicBezTo>
                  <a:pt x="19" y="183"/>
                  <a:pt x="19" y="183"/>
                  <a:pt x="19" y="183"/>
                </a:cubicBezTo>
                <a:cubicBezTo>
                  <a:pt x="21" y="190"/>
                  <a:pt x="22" y="197"/>
                  <a:pt x="23" y="204"/>
                </a:cubicBezTo>
                <a:cubicBezTo>
                  <a:pt x="31" y="204"/>
                  <a:pt x="31" y="204"/>
                  <a:pt x="31" y="204"/>
                </a:cubicBezTo>
                <a:cubicBezTo>
                  <a:pt x="30" y="198"/>
                  <a:pt x="29" y="192"/>
                  <a:pt x="28" y="185"/>
                </a:cubicBezTo>
                <a:cubicBezTo>
                  <a:pt x="36" y="187"/>
                  <a:pt x="44" y="188"/>
                  <a:pt x="51" y="188"/>
                </a:cubicBezTo>
                <a:cubicBezTo>
                  <a:pt x="68" y="188"/>
                  <a:pt x="82" y="183"/>
                  <a:pt x="92" y="173"/>
                </a:cubicBezTo>
                <a:cubicBezTo>
                  <a:pt x="106" y="159"/>
                  <a:pt x="110" y="137"/>
                  <a:pt x="104" y="109"/>
                </a:cubicBezTo>
                <a:cubicBezTo>
                  <a:pt x="113" y="112"/>
                  <a:pt x="122" y="113"/>
                  <a:pt x="130" y="113"/>
                </a:cubicBezTo>
                <a:cubicBezTo>
                  <a:pt x="146" y="113"/>
                  <a:pt x="161" y="108"/>
                  <a:pt x="171" y="98"/>
                </a:cubicBezTo>
                <a:cubicBezTo>
                  <a:pt x="186" y="82"/>
                  <a:pt x="191" y="58"/>
                  <a:pt x="184" y="29"/>
                </a:cubicBezTo>
                <a:cubicBezTo>
                  <a:pt x="189" y="30"/>
                  <a:pt x="194" y="31"/>
                  <a:pt x="200" y="32"/>
                </a:cubicBezTo>
                <a:lnTo>
                  <a:pt x="200" y="24"/>
                </a:lnTo>
                <a:close/>
                <a:moveTo>
                  <a:pt x="175" y="26"/>
                </a:moveTo>
                <a:cubicBezTo>
                  <a:pt x="178" y="37"/>
                  <a:pt x="179" y="47"/>
                  <a:pt x="179" y="56"/>
                </a:cubicBezTo>
                <a:cubicBezTo>
                  <a:pt x="145" y="22"/>
                  <a:pt x="145" y="22"/>
                  <a:pt x="145" y="22"/>
                </a:cubicBezTo>
                <a:cubicBezTo>
                  <a:pt x="154" y="22"/>
                  <a:pt x="164" y="23"/>
                  <a:pt x="175" y="26"/>
                </a:cubicBezTo>
                <a:close/>
                <a:moveTo>
                  <a:pt x="178" y="67"/>
                </a:moveTo>
                <a:cubicBezTo>
                  <a:pt x="177" y="72"/>
                  <a:pt x="175" y="77"/>
                  <a:pt x="173" y="82"/>
                </a:cubicBezTo>
                <a:cubicBezTo>
                  <a:pt x="120" y="29"/>
                  <a:pt x="120" y="29"/>
                  <a:pt x="120" y="29"/>
                </a:cubicBezTo>
                <a:cubicBezTo>
                  <a:pt x="124" y="26"/>
                  <a:pt x="129" y="25"/>
                  <a:pt x="135" y="24"/>
                </a:cubicBezTo>
                <a:lnTo>
                  <a:pt x="178" y="67"/>
                </a:lnTo>
                <a:close/>
                <a:moveTo>
                  <a:pt x="97" y="65"/>
                </a:moveTo>
                <a:cubicBezTo>
                  <a:pt x="97" y="65"/>
                  <a:pt x="97" y="65"/>
                  <a:pt x="97" y="65"/>
                </a:cubicBezTo>
                <a:cubicBezTo>
                  <a:pt x="97" y="60"/>
                  <a:pt x="98" y="55"/>
                  <a:pt x="100" y="51"/>
                </a:cubicBezTo>
                <a:cubicBezTo>
                  <a:pt x="151" y="101"/>
                  <a:pt x="151" y="101"/>
                  <a:pt x="151" y="101"/>
                </a:cubicBezTo>
                <a:cubicBezTo>
                  <a:pt x="146" y="103"/>
                  <a:pt x="142" y="104"/>
                  <a:pt x="137" y="105"/>
                </a:cubicBezTo>
                <a:lnTo>
                  <a:pt x="97" y="65"/>
                </a:lnTo>
                <a:close/>
                <a:moveTo>
                  <a:pt x="95" y="107"/>
                </a:moveTo>
                <a:cubicBezTo>
                  <a:pt x="97" y="116"/>
                  <a:pt x="99" y="125"/>
                  <a:pt x="99" y="133"/>
                </a:cubicBezTo>
                <a:cubicBezTo>
                  <a:pt x="68" y="103"/>
                  <a:pt x="68" y="103"/>
                  <a:pt x="68" y="103"/>
                </a:cubicBezTo>
                <a:cubicBezTo>
                  <a:pt x="76" y="103"/>
                  <a:pt x="85" y="104"/>
                  <a:pt x="95" y="107"/>
                </a:cubicBezTo>
                <a:close/>
                <a:moveTo>
                  <a:pt x="98" y="144"/>
                </a:moveTo>
                <a:cubicBezTo>
                  <a:pt x="97" y="149"/>
                  <a:pt x="95" y="154"/>
                  <a:pt x="93" y="158"/>
                </a:cubicBezTo>
                <a:cubicBezTo>
                  <a:pt x="43" y="109"/>
                  <a:pt x="43" y="109"/>
                  <a:pt x="43" y="109"/>
                </a:cubicBezTo>
                <a:cubicBezTo>
                  <a:pt x="47" y="106"/>
                  <a:pt x="52" y="105"/>
                  <a:pt x="58" y="104"/>
                </a:cubicBezTo>
                <a:lnTo>
                  <a:pt x="98" y="144"/>
                </a:lnTo>
                <a:close/>
                <a:moveTo>
                  <a:pt x="21" y="144"/>
                </a:moveTo>
                <a:cubicBezTo>
                  <a:pt x="22" y="139"/>
                  <a:pt x="23" y="135"/>
                  <a:pt x="24" y="131"/>
                </a:cubicBezTo>
                <a:cubicBezTo>
                  <a:pt x="71" y="177"/>
                  <a:pt x="71" y="177"/>
                  <a:pt x="71" y="177"/>
                </a:cubicBezTo>
                <a:cubicBezTo>
                  <a:pt x="66" y="179"/>
                  <a:pt x="61" y="180"/>
                  <a:pt x="55" y="180"/>
                </a:cubicBezTo>
                <a:cubicBezTo>
                  <a:pt x="56" y="179"/>
                  <a:pt x="56" y="179"/>
                  <a:pt x="56" y="179"/>
                </a:cubicBezTo>
                <a:lnTo>
                  <a:pt x="21" y="144"/>
                </a:lnTo>
                <a:close/>
                <a:moveTo>
                  <a:pt x="46" y="180"/>
                </a:moveTo>
                <a:cubicBezTo>
                  <a:pt x="39" y="180"/>
                  <a:pt x="32" y="178"/>
                  <a:pt x="25" y="176"/>
                </a:cubicBezTo>
                <a:cubicBezTo>
                  <a:pt x="23" y="169"/>
                  <a:pt x="22" y="162"/>
                  <a:pt x="21" y="155"/>
                </a:cubicBezTo>
                <a:lnTo>
                  <a:pt x="46" y="180"/>
                </a:lnTo>
                <a:close/>
                <a:moveTo>
                  <a:pt x="79" y="173"/>
                </a:moveTo>
                <a:cubicBezTo>
                  <a:pt x="28" y="123"/>
                  <a:pt x="28" y="123"/>
                  <a:pt x="28" y="123"/>
                </a:cubicBezTo>
                <a:cubicBezTo>
                  <a:pt x="30" y="120"/>
                  <a:pt x="32" y="118"/>
                  <a:pt x="34" y="115"/>
                </a:cubicBezTo>
                <a:cubicBezTo>
                  <a:pt x="35" y="115"/>
                  <a:pt x="35" y="114"/>
                  <a:pt x="36" y="113"/>
                </a:cubicBezTo>
                <a:cubicBezTo>
                  <a:pt x="88" y="165"/>
                  <a:pt x="88" y="165"/>
                  <a:pt x="88" y="165"/>
                </a:cubicBezTo>
                <a:cubicBezTo>
                  <a:pt x="88" y="166"/>
                  <a:pt x="87" y="167"/>
                  <a:pt x="86" y="168"/>
                </a:cubicBezTo>
                <a:cubicBezTo>
                  <a:pt x="84" y="170"/>
                  <a:pt x="81" y="172"/>
                  <a:pt x="79" y="173"/>
                </a:cubicBezTo>
                <a:close/>
                <a:moveTo>
                  <a:pt x="101" y="100"/>
                </a:moveTo>
                <a:cubicBezTo>
                  <a:pt x="102" y="100"/>
                  <a:pt x="102" y="100"/>
                  <a:pt x="102" y="100"/>
                </a:cubicBezTo>
                <a:cubicBezTo>
                  <a:pt x="101" y="100"/>
                  <a:pt x="101" y="100"/>
                  <a:pt x="101" y="100"/>
                </a:cubicBezTo>
                <a:cubicBezTo>
                  <a:pt x="101" y="100"/>
                  <a:pt x="101" y="100"/>
                  <a:pt x="101" y="100"/>
                </a:cubicBezTo>
                <a:cubicBezTo>
                  <a:pt x="101" y="100"/>
                  <a:pt x="101" y="100"/>
                  <a:pt x="101" y="100"/>
                </a:cubicBezTo>
                <a:cubicBezTo>
                  <a:pt x="101" y="100"/>
                  <a:pt x="101" y="100"/>
                  <a:pt x="101" y="100"/>
                </a:cubicBezTo>
                <a:cubicBezTo>
                  <a:pt x="98" y="91"/>
                  <a:pt x="97" y="83"/>
                  <a:pt x="96" y="76"/>
                </a:cubicBezTo>
                <a:cubicBezTo>
                  <a:pt x="125" y="105"/>
                  <a:pt x="125" y="105"/>
                  <a:pt x="125" y="105"/>
                </a:cubicBezTo>
                <a:cubicBezTo>
                  <a:pt x="118" y="105"/>
                  <a:pt x="110" y="103"/>
                  <a:pt x="102" y="101"/>
                </a:cubicBezTo>
                <a:cubicBezTo>
                  <a:pt x="101" y="100"/>
                  <a:pt x="101" y="100"/>
                  <a:pt x="101" y="100"/>
                </a:cubicBezTo>
                <a:close/>
                <a:moveTo>
                  <a:pt x="158" y="98"/>
                </a:moveTo>
                <a:cubicBezTo>
                  <a:pt x="104" y="43"/>
                  <a:pt x="104" y="43"/>
                  <a:pt x="104" y="43"/>
                </a:cubicBezTo>
                <a:cubicBezTo>
                  <a:pt x="106" y="41"/>
                  <a:pt x="107" y="38"/>
                  <a:pt x="110" y="36"/>
                </a:cubicBezTo>
                <a:cubicBezTo>
                  <a:pt x="111" y="35"/>
                  <a:pt x="112" y="34"/>
                  <a:pt x="113" y="33"/>
                </a:cubicBezTo>
                <a:cubicBezTo>
                  <a:pt x="168" y="89"/>
                  <a:pt x="168" y="89"/>
                  <a:pt x="168" y="89"/>
                </a:cubicBezTo>
                <a:cubicBezTo>
                  <a:pt x="167" y="90"/>
                  <a:pt x="166" y="91"/>
                  <a:pt x="165" y="92"/>
                </a:cubicBezTo>
                <a:cubicBezTo>
                  <a:pt x="163" y="94"/>
                  <a:pt x="161" y="96"/>
                  <a:pt x="158" y="9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3" name="Round Diagonal Corner Rectangle 20">
            <a:extLst>
              <a:ext uri="{FF2B5EF4-FFF2-40B4-BE49-F238E27FC236}">
                <a16:creationId xmlns:a16="http://schemas.microsoft.com/office/drawing/2014/main" id="{6FBBBB63-CE57-4A10-A546-0C764E38F122}"/>
              </a:ext>
            </a:extLst>
          </p:cNvPr>
          <p:cNvSpPr/>
          <p:nvPr/>
        </p:nvSpPr>
        <p:spPr>
          <a:xfrm>
            <a:off x="6371906" y="5188677"/>
            <a:ext cx="599844" cy="599844"/>
          </a:xfrm>
          <a:prstGeom prst="round2DiagRect">
            <a:avLst/>
          </a:prstGeom>
          <a:gradFill>
            <a:gsLst>
              <a:gs pos="73000">
                <a:schemeClr val="accent1"/>
              </a:gs>
              <a:gs pos="31000">
                <a:schemeClr val="accent1">
                  <a:lumMod val="60000"/>
                  <a:lumOff val="40000"/>
                </a:schemeClr>
              </a:gs>
              <a:gs pos="0">
                <a:schemeClr val="accent1">
                  <a:lumMod val="40000"/>
                  <a:lumOff val="60000"/>
                </a:schemeClr>
              </a:gs>
            </a:gsLst>
            <a:path path="circle">
              <a:fillToRect r="100000" b="100000"/>
            </a:path>
          </a:gradFill>
          <a:ln>
            <a:noFill/>
          </a:ln>
          <a:effectLst>
            <a:outerShdw blurRad="444500" dist="317500" dir="5400000" sx="92000" sy="92000" algn="t" rotWithShape="0">
              <a:schemeClr val="accent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24" name="TextBox 21">
            <a:extLst>
              <a:ext uri="{FF2B5EF4-FFF2-40B4-BE49-F238E27FC236}">
                <a16:creationId xmlns:a16="http://schemas.microsoft.com/office/drawing/2014/main" id="{A5ED9D9B-B2CE-4683-8C21-57E10A127D6C}"/>
              </a:ext>
            </a:extLst>
          </p:cNvPr>
          <p:cNvSpPr txBox="1"/>
          <p:nvPr/>
        </p:nvSpPr>
        <p:spPr>
          <a:xfrm>
            <a:off x="7155959" y="5215231"/>
            <a:ext cx="3424823" cy="480131"/>
          </a:xfrm>
          <a:prstGeom prst="rect">
            <a:avLst/>
          </a:prstGeom>
          <a:noFill/>
        </p:spPr>
        <p:txBody>
          <a:bodyPr wrap="square" rtlCol="0">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1050" b="0" i="0" u="none" strike="noStrike" kern="1200" cap="none" spc="100" normalizeH="0" baseline="0" noProof="0" dirty="0">
                <a:ln>
                  <a:noFill/>
                </a:ln>
                <a:solidFill>
                  <a:prstClr val="black">
                    <a:lumMod val="50000"/>
                    <a:lumOff val="50000"/>
                  </a:prstClr>
                </a:solidFill>
                <a:effectLst/>
                <a:uLnTx/>
                <a:uFillTx/>
                <a:latin typeface="HarmonyOS Sans SC"/>
                <a:cs typeface="Open Sans" panose="020B0606030504020204" pitchFamily="34" charset="0"/>
              </a:rPr>
              <a:t>A wonderful serenity</a:t>
            </a:r>
            <a:r>
              <a:rPr kumimoji="0" lang="en-US" sz="1050" b="0" i="0" u="none" strike="noStrike" kern="1200" cap="none" spc="100" normalizeH="0" baseline="0" noProof="0" dirty="0">
                <a:ln>
                  <a:noFill/>
                </a:ln>
                <a:solidFill>
                  <a:prstClr val="black">
                    <a:lumMod val="50000"/>
                    <a:lumOff val="50000"/>
                  </a:prstClr>
                </a:solidFill>
                <a:effectLst/>
                <a:uLnTx/>
                <a:uFillTx/>
                <a:latin typeface="HarmonyOS Sans SC"/>
                <a:cs typeface="Open Sans Light" panose="020B0306030504020204" pitchFamily="34" charset="0"/>
              </a:rPr>
              <a:t> has taken possession of my entire soul</a:t>
            </a:r>
          </a:p>
        </p:txBody>
      </p:sp>
      <p:grpSp>
        <p:nvGrpSpPr>
          <p:cNvPr id="25" name="Gruppieren 508">
            <a:extLst>
              <a:ext uri="{FF2B5EF4-FFF2-40B4-BE49-F238E27FC236}">
                <a16:creationId xmlns:a16="http://schemas.microsoft.com/office/drawing/2014/main" id="{76FAE62D-44AC-4133-9F8B-2246936BC3B9}"/>
              </a:ext>
            </a:extLst>
          </p:cNvPr>
          <p:cNvGrpSpPr/>
          <p:nvPr/>
        </p:nvGrpSpPr>
        <p:grpSpPr>
          <a:xfrm>
            <a:off x="6519428" y="5289368"/>
            <a:ext cx="304800" cy="398463"/>
            <a:chOff x="2570956" y="4447381"/>
            <a:chExt cx="304800" cy="398463"/>
          </a:xfrm>
          <a:solidFill>
            <a:schemeClr val="bg1"/>
          </a:solidFill>
        </p:grpSpPr>
        <p:sp>
          <p:nvSpPr>
            <p:cNvPr id="26" name="Freeform 213">
              <a:extLst>
                <a:ext uri="{FF2B5EF4-FFF2-40B4-BE49-F238E27FC236}">
                  <a16:creationId xmlns:a16="http://schemas.microsoft.com/office/drawing/2014/main" id="{5ED8EDD4-C84F-4EB5-AF40-60234748F340}"/>
                </a:ext>
              </a:extLst>
            </p:cNvPr>
            <p:cNvSpPr>
              <a:spLocks noEditPoints="1"/>
            </p:cNvSpPr>
            <p:nvPr/>
          </p:nvSpPr>
          <p:spPr bwMode="auto">
            <a:xfrm>
              <a:off x="2613818" y="4580731"/>
              <a:ext cx="217488" cy="217488"/>
            </a:xfrm>
            <a:custGeom>
              <a:avLst/>
              <a:gdLst>
                <a:gd name="T0" fmla="*/ 75 w 128"/>
                <a:gd name="T1" fmla="*/ 128 h 128"/>
                <a:gd name="T2" fmla="*/ 53 w 128"/>
                <a:gd name="T3" fmla="*/ 128 h 128"/>
                <a:gd name="T4" fmla="*/ 44 w 128"/>
                <a:gd name="T5" fmla="*/ 119 h 128"/>
                <a:gd name="T6" fmla="*/ 44 w 128"/>
                <a:gd name="T7" fmla="*/ 85 h 128"/>
                <a:gd name="T8" fmla="*/ 43 w 128"/>
                <a:gd name="T9" fmla="*/ 84 h 128"/>
                <a:gd name="T10" fmla="*/ 9 w 128"/>
                <a:gd name="T11" fmla="*/ 84 h 128"/>
                <a:gd name="T12" fmla="*/ 0 w 128"/>
                <a:gd name="T13" fmla="*/ 75 h 128"/>
                <a:gd name="T14" fmla="*/ 0 w 128"/>
                <a:gd name="T15" fmla="*/ 53 h 128"/>
                <a:gd name="T16" fmla="*/ 9 w 128"/>
                <a:gd name="T17" fmla="*/ 44 h 128"/>
                <a:gd name="T18" fmla="*/ 43 w 128"/>
                <a:gd name="T19" fmla="*/ 44 h 128"/>
                <a:gd name="T20" fmla="*/ 44 w 128"/>
                <a:gd name="T21" fmla="*/ 43 h 128"/>
                <a:gd name="T22" fmla="*/ 44 w 128"/>
                <a:gd name="T23" fmla="*/ 9 h 128"/>
                <a:gd name="T24" fmla="*/ 53 w 128"/>
                <a:gd name="T25" fmla="*/ 0 h 128"/>
                <a:gd name="T26" fmla="*/ 75 w 128"/>
                <a:gd name="T27" fmla="*/ 0 h 128"/>
                <a:gd name="T28" fmla="*/ 84 w 128"/>
                <a:gd name="T29" fmla="*/ 9 h 128"/>
                <a:gd name="T30" fmla="*/ 84 w 128"/>
                <a:gd name="T31" fmla="*/ 43 h 128"/>
                <a:gd name="T32" fmla="*/ 85 w 128"/>
                <a:gd name="T33" fmla="*/ 44 h 128"/>
                <a:gd name="T34" fmla="*/ 119 w 128"/>
                <a:gd name="T35" fmla="*/ 44 h 128"/>
                <a:gd name="T36" fmla="*/ 128 w 128"/>
                <a:gd name="T37" fmla="*/ 53 h 128"/>
                <a:gd name="T38" fmla="*/ 128 w 128"/>
                <a:gd name="T39" fmla="*/ 75 h 128"/>
                <a:gd name="T40" fmla="*/ 119 w 128"/>
                <a:gd name="T41" fmla="*/ 84 h 128"/>
                <a:gd name="T42" fmla="*/ 85 w 128"/>
                <a:gd name="T43" fmla="*/ 84 h 128"/>
                <a:gd name="T44" fmla="*/ 84 w 128"/>
                <a:gd name="T45" fmla="*/ 85 h 128"/>
                <a:gd name="T46" fmla="*/ 84 w 128"/>
                <a:gd name="T47" fmla="*/ 119 h 128"/>
                <a:gd name="T48" fmla="*/ 75 w 128"/>
                <a:gd name="T49" fmla="*/ 128 h 128"/>
                <a:gd name="T50" fmla="*/ 9 w 128"/>
                <a:gd name="T51" fmla="*/ 52 h 128"/>
                <a:gd name="T52" fmla="*/ 8 w 128"/>
                <a:gd name="T53" fmla="*/ 53 h 128"/>
                <a:gd name="T54" fmla="*/ 8 w 128"/>
                <a:gd name="T55" fmla="*/ 75 h 128"/>
                <a:gd name="T56" fmla="*/ 9 w 128"/>
                <a:gd name="T57" fmla="*/ 76 h 128"/>
                <a:gd name="T58" fmla="*/ 43 w 128"/>
                <a:gd name="T59" fmla="*/ 76 h 128"/>
                <a:gd name="T60" fmla="*/ 52 w 128"/>
                <a:gd name="T61" fmla="*/ 85 h 128"/>
                <a:gd name="T62" fmla="*/ 52 w 128"/>
                <a:gd name="T63" fmla="*/ 119 h 128"/>
                <a:gd name="T64" fmla="*/ 53 w 128"/>
                <a:gd name="T65" fmla="*/ 120 h 128"/>
                <a:gd name="T66" fmla="*/ 75 w 128"/>
                <a:gd name="T67" fmla="*/ 120 h 128"/>
                <a:gd name="T68" fmla="*/ 76 w 128"/>
                <a:gd name="T69" fmla="*/ 119 h 128"/>
                <a:gd name="T70" fmla="*/ 76 w 128"/>
                <a:gd name="T71" fmla="*/ 85 h 128"/>
                <a:gd name="T72" fmla="*/ 85 w 128"/>
                <a:gd name="T73" fmla="*/ 76 h 128"/>
                <a:gd name="T74" fmla="*/ 119 w 128"/>
                <a:gd name="T75" fmla="*/ 76 h 128"/>
                <a:gd name="T76" fmla="*/ 120 w 128"/>
                <a:gd name="T77" fmla="*/ 75 h 128"/>
                <a:gd name="T78" fmla="*/ 120 w 128"/>
                <a:gd name="T79" fmla="*/ 53 h 128"/>
                <a:gd name="T80" fmla="*/ 119 w 128"/>
                <a:gd name="T81" fmla="*/ 52 h 128"/>
                <a:gd name="T82" fmla="*/ 85 w 128"/>
                <a:gd name="T83" fmla="*/ 52 h 128"/>
                <a:gd name="T84" fmla="*/ 76 w 128"/>
                <a:gd name="T85" fmla="*/ 43 h 128"/>
                <a:gd name="T86" fmla="*/ 76 w 128"/>
                <a:gd name="T87" fmla="*/ 9 h 128"/>
                <a:gd name="T88" fmla="*/ 75 w 128"/>
                <a:gd name="T89" fmla="*/ 8 h 128"/>
                <a:gd name="T90" fmla="*/ 53 w 128"/>
                <a:gd name="T91" fmla="*/ 8 h 128"/>
                <a:gd name="T92" fmla="*/ 52 w 128"/>
                <a:gd name="T93" fmla="*/ 9 h 128"/>
                <a:gd name="T94" fmla="*/ 52 w 128"/>
                <a:gd name="T95" fmla="*/ 43 h 128"/>
                <a:gd name="T96" fmla="*/ 43 w 128"/>
                <a:gd name="T97" fmla="*/ 52 h 128"/>
                <a:gd name="T98" fmla="*/ 9 w 128"/>
                <a:gd name="T99" fmla="*/ 52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28" h="128">
                  <a:moveTo>
                    <a:pt x="75" y="128"/>
                  </a:moveTo>
                  <a:cubicBezTo>
                    <a:pt x="53" y="128"/>
                    <a:pt x="53" y="128"/>
                    <a:pt x="53" y="128"/>
                  </a:cubicBezTo>
                  <a:cubicBezTo>
                    <a:pt x="48" y="128"/>
                    <a:pt x="44" y="124"/>
                    <a:pt x="44" y="119"/>
                  </a:cubicBezTo>
                  <a:cubicBezTo>
                    <a:pt x="44" y="85"/>
                    <a:pt x="44" y="85"/>
                    <a:pt x="44" y="85"/>
                  </a:cubicBezTo>
                  <a:cubicBezTo>
                    <a:pt x="44" y="84"/>
                    <a:pt x="44" y="84"/>
                    <a:pt x="43" y="84"/>
                  </a:cubicBezTo>
                  <a:cubicBezTo>
                    <a:pt x="9" y="84"/>
                    <a:pt x="9" y="84"/>
                    <a:pt x="9" y="84"/>
                  </a:cubicBezTo>
                  <a:cubicBezTo>
                    <a:pt x="4" y="84"/>
                    <a:pt x="0" y="80"/>
                    <a:pt x="0" y="75"/>
                  </a:cubicBezTo>
                  <a:cubicBezTo>
                    <a:pt x="0" y="53"/>
                    <a:pt x="0" y="53"/>
                    <a:pt x="0" y="53"/>
                  </a:cubicBezTo>
                  <a:cubicBezTo>
                    <a:pt x="0" y="48"/>
                    <a:pt x="4" y="44"/>
                    <a:pt x="9" y="44"/>
                  </a:cubicBezTo>
                  <a:cubicBezTo>
                    <a:pt x="43" y="44"/>
                    <a:pt x="43" y="44"/>
                    <a:pt x="43" y="44"/>
                  </a:cubicBezTo>
                  <a:cubicBezTo>
                    <a:pt x="44" y="44"/>
                    <a:pt x="44" y="44"/>
                    <a:pt x="44" y="43"/>
                  </a:cubicBezTo>
                  <a:cubicBezTo>
                    <a:pt x="44" y="9"/>
                    <a:pt x="44" y="9"/>
                    <a:pt x="44" y="9"/>
                  </a:cubicBezTo>
                  <a:cubicBezTo>
                    <a:pt x="44" y="4"/>
                    <a:pt x="48" y="0"/>
                    <a:pt x="53" y="0"/>
                  </a:cubicBezTo>
                  <a:cubicBezTo>
                    <a:pt x="75" y="0"/>
                    <a:pt x="75" y="0"/>
                    <a:pt x="75" y="0"/>
                  </a:cubicBezTo>
                  <a:cubicBezTo>
                    <a:pt x="80" y="0"/>
                    <a:pt x="84" y="4"/>
                    <a:pt x="84" y="9"/>
                  </a:cubicBezTo>
                  <a:cubicBezTo>
                    <a:pt x="84" y="43"/>
                    <a:pt x="84" y="43"/>
                    <a:pt x="84" y="43"/>
                  </a:cubicBezTo>
                  <a:cubicBezTo>
                    <a:pt x="84" y="44"/>
                    <a:pt x="84" y="44"/>
                    <a:pt x="85" y="44"/>
                  </a:cubicBezTo>
                  <a:cubicBezTo>
                    <a:pt x="119" y="44"/>
                    <a:pt x="119" y="44"/>
                    <a:pt x="119" y="44"/>
                  </a:cubicBezTo>
                  <a:cubicBezTo>
                    <a:pt x="124" y="44"/>
                    <a:pt x="128" y="48"/>
                    <a:pt x="128" y="53"/>
                  </a:cubicBezTo>
                  <a:cubicBezTo>
                    <a:pt x="128" y="75"/>
                    <a:pt x="128" y="75"/>
                    <a:pt x="128" y="75"/>
                  </a:cubicBezTo>
                  <a:cubicBezTo>
                    <a:pt x="128" y="80"/>
                    <a:pt x="124" y="84"/>
                    <a:pt x="119" y="84"/>
                  </a:cubicBezTo>
                  <a:cubicBezTo>
                    <a:pt x="85" y="84"/>
                    <a:pt x="85" y="84"/>
                    <a:pt x="85" y="84"/>
                  </a:cubicBezTo>
                  <a:cubicBezTo>
                    <a:pt x="84" y="84"/>
                    <a:pt x="84" y="84"/>
                    <a:pt x="84" y="85"/>
                  </a:cubicBezTo>
                  <a:cubicBezTo>
                    <a:pt x="84" y="119"/>
                    <a:pt x="84" y="119"/>
                    <a:pt x="84" y="119"/>
                  </a:cubicBezTo>
                  <a:cubicBezTo>
                    <a:pt x="84" y="124"/>
                    <a:pt x="80" y="128"/>
                    <a:pt x="75" y="128"/>
                  </a:cubicBezTo>
                  <a:close/>
                  <a:moveTo>
                    <a:pt x="9" y="52"/>
                  </a:moveTo>
                  <a:cubicBezTo>
                    <a:pt x="8" y="52"/>
                    <a:pt x="8" y="52"/>
                    <a:pt x="8" y="53"/>
                  </a:cubicBezTo>
                  <a:cubicBezTo>
                    <a:pt x="8" y="75"/>
                    <a:pt x="8" y="75"/>
                    <a:pt x="8" y="75"/>
                  </a:cubicBezTo>
                  <a:cubicBezTo>
                    <a:pt x="8" y="76"/>
                    <a:pt x="8" y="76"/>
                    <a:pt x="9" y="76"/>
                  </a:cubicBezTo>
                  <a:cubicBezTo>
                    <a:pt x="43" y="76"/>
                    <a:pt x="43" y="76"/>
                    <a:pt x="43" y="76"/>
                  </a:cubicBezTo>
                  <a:cubicBezTo>
                    <a:pt x="48" y="76"/>
                    <a:pt x="52" y="80"/>
                    <a:pt x="52" y="85"/>
                  </a:cubicBezTo>
                  <a:cubicBezTo>
                    <a:pt x="52" y="119"/>
                    <a:pt x="52" y="119"/>
                    <a:pt x="52" y="119"/>
                  </a:cubicBezTo>
                  <a:cubicBezTo>
                    <a:pt x="52" y="120"/>
                    <a:pt x="52" y="120"/>
                    <a:pt x="53" y="120"/>
                  </a:cubicBezTo>
                  <a:cubicBezTo>
                    <a:pt x="75" y="120"/>
                    <a:pt x="75" y="120"/>
                    <a:pt x="75" y="120"/>
                  </a:cubicBezTo>
                  <a:cubicBezTo>
                    <a:pt x="76" y="120"/>
                    <a:pt x="76" y="120"/>
                    <a:pt x="76" y="119"/>
                  </a:cubicBezTo>
                  <a:cubicBezTo>
                    <a:pt x="76" y="85"/>
                    <a:pt x="76" y="85"/>
                    <a:pt x="76" y="85"/>
                  </a:cubicBezTo>
                  <a:cubicBezTo>
                    <a:pt x="76" y="80"/>
                    <a:pt x="80" y="76"/>
                    <a:pt x="85" y="76"/>
                  </a:cubicBezTo>
                  <a:cubicBezTo>
                    <a:pt x="119" y="76"/>
                    <a:pt x="119" y="76"/>
                    <a:pt x="119" y="76"/>
                  </a:cubicBezTo>
                  <a:cubicBezTo>
                    <a:pt x="120" y="76"/>
                    <a:pt x="120" y="76"/>
                    <a:pt x="120" y="75"/>
                  </a:cubicBezTo>
                  <a:cubicBezTo>
                    <a:pt x="120" y="53"/>
                    <a:pt x="120" y="53"/>
                    <a:pt x="120" y="53"/>
                  </a:cubicBezTo>
                  <a:cubicBezTo>
                    <a:pt x="120" y="52"/>
                    <a:pt x="120" y="52"/>
                    <a:pt x="119" y="52"/>
                  </a:cubicBezTo>
                  <a:cubicBezTo>
                    <a:pt x="85" y="52"/>
                    <a:pt x="85" y="52"/>
                    <a:pt x="85" y="52"/>
                  </a:cubicBezTo>
                  <a:cubicBezTo>
                    <a:pt x="80" y="52"/>
                    <a:pt x="76" y="48"/>
                    <a:pt x="76" y="43"/>
                  </a:cubicBezTo>
                  <a:cubicBezTo>
                    <a:pt x="76" y="9"/>
                    <a:pt x="76" y="9"/>
                    <a:pt x="76" y="9"/>
                  </a:cubicBezTo>
                  <a:cubicBezTo>
                    <a:pt x="76" y="8"/>
                    <a:pt x="76" y="8"/>
                    <a:pt x="75" y="8"/>
                  </a:cubicBezTo>
                  <a:cubicBezTo>
                    <a:pt x="53" y="8"/>
                    <a:pt x="53" y="8"/>
                    <a:pt x="53" y="8"/>
                  </a:cubicBezTo>
                  <a:cubicBezTo>
                    <a:pt x="52" y="8"/>
                    <a:pt x="52" y="8"/>
                    <a:pt x="52" y="9"/>
                  </a:cubicBezTo>
                  <a:cubicBezTo>
                    <a:pt x="52" y="43"/>
                    <a:pt x="52" y="43"/>
                    <a:pt x="52" y="43"/>
                  </a:cubicBezTo>
                  <a:cubicBezTo>
                    <a:pt x="52" y="48"/>
                    <a:pt x="48" y="52"/>
                    <a:pt x="43" y="52"/>
                  </a:cubicBezTo>
                  <a:lnTo>
                    <a:pt x="9"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7" name="Freeform 214">
              <a:extLst>
                <a:ext uri="{FF2B5EF4-FFF2-40B4-BE49-F238E27FC236}">
                  <a16:creationId xmlns:a16="http://schemas.microsoft.com/office/drawing/2014/main" id="{C1AE4FEE-FAF7-4252-962A-DA4CB44CCD4C}"/>
                </a:ext>
              </a:extLst>
            </p:cNvPr>
            <p:cNvSpPr>
              <a:spLocks noEditPoints="1"/>
            </p:cNvSpPr>
            <p:nvPr/>
          </p:nvSpPr>
          <p:spPr bwMode="auto">
            <a:xfrm>
              <a:off x="2570956" y="4447381"/>
              <a:ext cx="304800" cy="398463"/>
            </a:xfrm>
            <a:custGeom>
              <a:avLst/>
              <a:gdLst>
                <a:gd name="T0" fmla="*/ 90 w 179"/>
                <a:gd name="T1" fmla="*/ 234 h 234"/>
                <a:gd name="T2" fmla="*/ 49 w 179"/>
                <a:gd name="T3" fmla="*/ 224 h 234"/>
                <a:gd name="T4" fmla="*/ 7 w 179"/>
                <a:gd name="T5" fmla="*/ 177 h 234"/>
                <a:gd name="T6" fmla="*/ 9 w 179"/>
                <a:gd name="T7" fmla="*/ 114 h 234"/>
                <a:gd name="T8" fmla="*/ 87 w 179"/>
                <a:gd name="T9" fmla="*/ 3 h 234"/>
                <a:gd name="T10" fmla="*/ 90 w 179"/>
                <a:gd name="T11" fmla="*/ 0 h 234"/>
                <a:gd name="T12" fmla="*/ 93 w 179"/>
                <a:gd name="T13" fmla="*/ 3 h 234"/>
                <a:gd name="T14" fmla="*/ 170 w 179"/>
                <a:gd name="T15" fmla="*/ 114 h 234"/>
                <a:gd name="T16" fmla="*/ 172 w 179"/>
                <a:gd name="T17" fmla="*/ 177 h 234"/>
                <a:gd name="T18" fmla="*/ 130 w 179"/>
                <a:gd name="T19" fmla="*/ 224 h 234"/>
                <a:gd name="T20" fmla="*/ 90 w 179"/>
                <a:gd name="T21" fmla="*/ 234 h 234"/>
                <a:gd name="T22" fmla="*/ 90 w 179"/>
                <a:gd name="T23" fmla="*/ 12 h 234"/>
                <a:gd name="T24" fmla="*/ 16 w 179"/>
                <a:gd name="T25" fmla="*/ 116 h 234"/>
                <a:gd name="T26" fmla="*/ 15 w 179"/>
                <a:gd name="T27" fmla="*/ 175 h 234"/>
                <a:gd name="T28" fmla="*/ 53 w 179"/>
                <a:gd name="T29" fmla="*/ 217 h 234"/>
                <a:gd name="T30" fmla="*/ 90 w 179"/>
                <a:gd name="T31" fmla="*/ 226 h 234"/>
                <a:gd name="T32" fmla="*/ 126 w 179"/>
                <a:gd name="T33" fmla="*/ 217 h 234"/>
                <a:gd name="T34" fmla="*/ 164 w 179"/>
                <a:gd name="T35" fmla="*/ 175 h 234"/>
                <a:gd name="T36" fmla="*/ 163 w 179"/>
                <a:gd name="T37" fmla="*/ 116 h 234"/>
                <a:gd name="T38" fmla="*/ 90 w 179"/>
                <a:gd name="T39" fmla="*/ 12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79" h="234">
                  <a:moveTo>
                    <a:pt x="90" y="234"/>
                  </a:moveTo>
                  <a:cubicBezTo>
                    <a:pt x="76" y="234"/>
                    <a:pt x="62" y="230"/>
                    <a:pt x="49" y="224"/>
                  </a:cubicBezTo>
                  <a:cubicBezTo>
                    <a:pt x="28" y="212"/>
                    <a:pt x="14" y="197"/>
                    <a:pt x="7" y="177"/>
                  </a:cubicBezTo>
                  <a:cubicBezTo>
                    <a:pt x="0" y="157"/>
                    <a:pt x="1" y="135"/>
                    <a:pt x="9" y="114"/>
                  </a:cubicBezTo>
                  <a:cubicBezTo>
                    <a:pt x="18" y="90"/>
                    <a:pt x="39" y="52"/>
                    <a:pt x="87" y="3"/>
                  </a:cubicBezTo>
                  <a:cubicBezTo>
                    <a:pt x="90" y="0"/>
                    <a:pt x="90" y="0"/>
                    <a:pt x="90" y="0"/>
                  </a:cubicBezTo>
                  <a:cubicBezTo>
                    <a:pt x="93" y="3"/>
                    <a:pt x="93" y="3"/>
                    <a:pt x="93" y="3"/>
                  </a:cubicBezTo>
                  <a:cubicBezTo>
                    <a:pt x="140" y="52"/>
                    <a:pt x="161" y="90"/>
                    <a:pt x="170" y="114"/>
                  </a:cubicBezTo>
                  <a:cubicBezTo>
                    <a:pt x="179" y="135"/>
                    <a:pt x="179" y="157"/>
                    <a:pt x="172" y="177"/>
                  </a:cubicBezTo>
                  <a:cubicBezTo>
                    <a:pt x="165" y="197"/>
                    <a:pt x="151" y="212"/>
                    <a:pt x="130" y="224"/>
                  </a:cubicBezTo>
                  <a:cubicBezTo>
                    <a:pt x="118" y="230"/>
                    <a:pt x="104" y="234"/>
                    <a:pt x="90" y="234"/>
                  </a:cubicBezTo>
                  <a:close/>
                  <a:moveTo>
                    <a:pt x="90" y="12"/>
                  </a:moveTo>
                  <a:cubicBezTo>
                    <a:pt x="45" y="58"/>
                    <a:pt x="25" y="94"/>
                    <a:pt x="16" y="116"/>
                  </a:cubicBezTo>
                  <a:cubicBezTo>
                    <a:pt x="9" y="136"/>
                    <a:pt x="8" y="156"/>
                    <a:pt x="15" y="175"/>
                  </a:cubicBezTo>
                  <a:cubicBezTo>
                    <a:pt x="21" y="192"/>
                    <a:pt x="34" y="206"/>
                    <a:pt x="53" y="217"/>
                  </a:cubicBezTo>
                  <a:cubicBezTo>
                    <a:pt x="64" y="223"/>
                    <a:pt x="77" y="226"/>
                    <a:pt x="90" y="226"/>
                  </a:cubicBezTo>
                  <a:cubicBezTo>
                    <a:pt x="103" y="226"/>
                    <a:pt x="115" y="223"/>
                    <a:pt x="126" y="217"/>
                  </a:cubicBezTo>
                  <a:cubicBezTo>
                    <a:pt x="146" y="206"/>
                    <a:pt x="158" y="193"/>
                    <a:pt x="164" y="175"/>
                  </a:cubicBezTo>
                  <a:cubicBezTo>
                    <a:pt x="171" y="157"/>
                    <a:pt x="170" y="136"/>
                    <a:pt x="163" y="116"/>
                  </a:cubicBezTo>
                  <a:cubicBezTo>
                    <a:pt x="154" y="94"/>
                    <a:pt x="135" y="58"/>
                    <a:pt x="9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grpSp>
      <p:sp>
        <p:nvSpPr>
          <p:cNvPr id="29" name="Rectangle 33">
            <a:extLst>
              <a:ext uri="{FF2B5EF4-FFF2-40B4-BE49-F238E27FC236}">
                <a16:creationId xmlns:a16="http://schemas.microsoft.com/office/drawing/2014/main" id="{B72910C7-5DA9-49A9-9817-FC800434FA14}"/>
              </a:ext>
            </a:extLst>
          </p:cNvPr>
          <p:cNvSpPr/>
          <p:nvPr/>
        </p:nvSpPr>
        <p:spPr>
          <a:xfrm>
            <a:off x="3331735" y="2408162"/>
            <a:ext cx="537327" cy="461665"/>
          </a:xfrm>
          <a:prstGeom prst="rect">
            <a:avLst/>
          </a:prstGeom>
          <a:scene3d>
            <a:camera prst="isometricOffAxis1Right"/>
            <a:lightRig rig="threePt" dir="t"/>
          </a:scene3d>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FFFFFF"/>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rPr>
              <a:t>01</a:t>
            </a:r>
          </a:p>
        </p:txBody>
      </p:sp>
      <p:sp>
        <p:nvSpPr>
          <p:cNvPr id="30" name="Rectangle 34">
            <a:extLst>
              <a:ext uri="{FF2B5EF4-FFF2-40B4-BE49-F238E27FC236}">
                <a16:creationId xmlns:a16="http://schemas.microsoft.com/office/drawing/2014/main" id="{A1F7CC5D-BCCC-4FF6-84BE-D50B612547B7}"/>
              </a:ext>
            </a:extLst>
          </p:cNvPr>
          <p:cNvSpPr/>
          <p:nvPr/>
        </p:nvSpPr>
        <p:spPr>
          <a:xfrm>
            <a:off x="3451264" y="3254715"/>
            <a:ext cx="537327" cy="461665"/>
          </a:xfrm>
          <a:prstGeom prst="rect">
            <a:avLst/>
          </a:prstGeom>
          <a:scene3d>
            <a:camera prst="isometricOffAxis1Right"/>
            <a:lightRig rig="threePt" dir="t"/>
          </a:scene3d>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FFFFFF"/>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rPr>
              <a:t>02</a:t>
            </a:r>
          </a:p>
        </p:txBody>
      </p:sp>
      <p:sp>
        <p:nvSpPr>
          <p:cNvPr id="31" name="Rectangle 35">
            <a:extLst>
              <a:ext uri="{FF2B5EF4-FFF2-40B4-BE49-F238E27FC236}">
                <a16:creationId xmlns:a16="http://schemas.microsoft.com/office/drawing/2014/main" id="{346E563F-12D6-4A46-A73B-570BF9B87CC7}"/>
              </a:ext>
            </a:extLst>
          </p:cNvPr>
          <p:cNvSpPr/>
          <p:nvPr/>
        </p:nvSpPr>
        <p:spPr>
          <a:xfrm>
            <a:off x="3654898" y="4115491"/>
            <a:ext cx="537327" cy="461665"/>
          </a:xfrm>
          <a:prstGeom prst="rect">
            <a:avLst/>
          </a:prstGeom>
          <a:scene3d>
            <a:camera prst="isometricOffAxis1Right"/>
            <a:lightRig rig="threePt" dir="t"/>
          </a:scene3d>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FFFFFF"/>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rPr>
              <a:t>03</a:t>
            </a:r>
          </a:p>
        </p:txBody>
      </p:sp>
      <p:sp>
        <p:nvSpPr>
          <p:cNvPr id="32" name="Rectangle 36">
            <a:extLst>
              <a:ext uri="{FF2B5EF4-FFF2-40B4-BE49-F238E27FC236}">
                <a16:creationId xmlns:a16="http://schemas.microsoft.com/office/drawing/2014/main" id="{3E889F57-27CA-4C51-88F9-F0839F5F5A94}"/>
              </a:ext>
            </a:extLst>
          </p:cNvPr>
          <p:cNvSpPr/>
          <p:nvPr/>
        </p:nvSpPr>
        <p:spPr>
          <a:xfrm>
            <a:off x="3923561" y="4932425"/>
            <a:ext cx="537327" cy="461665"/>
          </a:xfrm>
          <a:prstGeom prst="rect">
            <a:avLst/>
          </a:prstGeom>
          <a:scene3d>
            <a:camera prst="isometricOffAxis1Right"/>
            <a:lightRig rig="threePt" dir="t"/>
          </a:scene3d>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FFFFFF"/>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rPr>
              <a:t>04</a:t>
            </a:r>
          </a:p>
        </p:txBody>
      </p:sp>
      <p:sp>
        <p:nvSpPr>
          <p:cNvPr id="33" name="TextBox 29">
            <a:extLst>
              <a:ext uri="{FF2B5EF4-FFF2-40B4-BE49-F238E27FC236}">
                <a16:creationId xmlns:a16="http://schemas.microsoft.com/office/drawing/2014/main" id="{AF9863C0-BAAB-4A64-81E0-0052FE922D3C}"/>
              </a:ext>
            </a:extLst>
          </p:cNvPr>
          <p:cNvSpPr txBox="1"/>
          <p:nvPr/>
        </p:nvSpPr>
        <p:spPr>
          <a:xfrm>
            <a:off x="6070602" y="1526349"/>
            <a:ext cx="5029198" cy="689291"/>
          </a:xfrm>
          <a:prstGeom prst="rect">
            <a:avLst/>
          </a:prstGeom>
          <a:noFill/>
        </p:spPr>
        <p:txBody>
          <a:bodyPr wrap="square" rtlCol="0" anchor="t">
            <a:spAutoFit/>
          </a:bodyPr>
          <a:lstStyle>
            <a:defPPr>
              <a:defRPr lang="en-US"/>
            </a:defPPr>
            <a:lvl1pPr>
              <a:lnSpc>
                <a:spcPct val="80000"/>
              </a:lnSpc>
              <a:defRPr sz="5400">
                <a:solidFill>
                  <a:schemeClr val="tx1">
                    <a:lumMod val="85000"/>
                    <a:lumOff val="15000"/>
                  </a:schemeClr>
                </a:solidFill>
                <a:latin typeface="Poppins ExtraBold" panose="00000900000000000000" pitchFamily="2" charset="0"/>
                <a:ea typeface="Roboto" panose="02000000000000000000" pitchFamily="2" charset="0"/>
                <a:cs typeface="Poppins ExtraBold" panose="00000900000000000000" pitchFamily="2" charset="0"/>
              </a:defRPr>
            </a:lvl1pPr>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lang="en-US" sz="4800" b="0" i="0" u="none" strike="noStrike" kern="1200" cap="none" spc="0" normalizeH="0" baseline="0" noProof="0" dirty="0">
                <a:ln>
                  <a:noFill/>
                </a:ln>
                <a:solidFill>
                  <a:schemeClr val="accent1"/>
                </a:solidFill>
                <a:effectLst/>
                <a:uLnTx/>
                <a:uFillTx/>
                <a:latin typeface="HarmonyOS Sans SC Black"/>
                <a:ea typeface="+mj-ea"/>
                <a:cs typeface="Poppins ExtraBold" panose="00000900000000000000" pitchFamily="2" charset="0"/>
              </a:rPr>
              <a:t>INFOGRAPHIC</a:t>
            </a:r>
          </a:p>
        </p:txBody>
      </p:sp>
      <p:sp>
        <p:nvSpPr>
          <p:cNvPr id="34" name="Rectangle 30">
            <a:extLst>
              <a:ext uri="{FF2B5EF4-FFF2-40B4-BE49-F238E27FC236}">
                <a16:creationId xmlns:a16="http://schemas.microsoft.com/office/drawing/2014/main" id="{E154E00B-806D-44AE-832A-6E8FB101A9DD}"/>
              </a:ext>
            </a:extLst>
          </p:cNvPr>
          <p:cNvSpPr/>
          <p:nvPr/>
        </p:nvSpPr>
        <p:spPr>
          <a:xfrm>
            <a:off x="6070602" y="1005065"/>
            <a:ext cx="1809470" cy="338554"/>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100" normalizeH="0" baseline="0" noProof="0" dirty="0">
                <a:ln>
                  <a:noFill/>
                </a:ln>
                <a:solidFill>
                  <a:prstClr val="black">
                    <a:lumMod val="75000"/>
                    <a:lumOff val="25000"/>
                  </a:prstClr>
                </a:solidFill>
                <a:effectLst/>
                <a:uLnTx/>
                <a:uFillTx/>
                <a:latin typeface="HarmonyOS Sans SC"/>
                <a:cs typeface="Open Sans Semibold" panose="020B0706030804020204" pitchFamily="34" charset="0"/>
              </a:rPr>
              <a:t>Your Text Here</a:t>
            </a:r>
          </a:p>
        </p:txBody>
      </p:sp>
    </p:spTree>
    <p:extLst>
      <p:ext uri="{BB962C8B-B14F-4D97-AF65-F5344CB8AC3E}">
        <p14:creationId xmlns:p14="http://schemas.microsoft.com/office/powerpoint/2010/main" val="3473011545"/>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5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reeform 7">
            <a:extLst>
              <a:ext uri="{FF2B5EF4-FFF2-40B4-BE49-F238E27FC236}">
                <a16:creationId xmlns:a16="http://schemas.microsoft.com/office/drawing/2014/main" id="{3523D4FE-3450-49CE-9759-69B7DEC75A58}"/>
              </a:ext>
            </a:extLst>
          </p:cNvPr>
          <p:cNvSpPr>
            <a:spLocks/>
          </p:cNvSpPr>
          <p:nvPr/>
        </p:nvSpPr>
        <p:spPr bwMode="auto">
          <a:xfrm>
            <a:off x="4177834" y="2464869"/>
            <a:ext cx="3855698" cy="273305"/>
          </a:xfrm>
          <a:custGeom>
            <a:avLst/>
            <a:gdLst>
              <a:gd name="T0" fmla="*/ 2409 w 2751"/>
              <a:gd name="T1" fmla="*/ 0 h 195"/>
              <a:gd name="T2" fmla="*/ 0 w 2751"/>
              <a:gd name="T3" fmla="*/ 0 h 195"/>
              <a:gd name="T4" fmla="*/ 340 w 2751"/>
              <a:gd name="T5" fmla="*/ 195 h 195"/>
              <a:gd name="T6" fmla="*/ 2751 w 2751"/>
              <a:gd name="T7" fmla="*/ 195 h 195"/>
              <a:gd name="T8" fmla="*/ 2409 w 2751"/>
              <a:gd name="T9" fmla="*/ 0 h 195"/>
            </a:gdLst>
            <a:ahLst/>
            <a:cxnLst>
              <a:cxn ang="0">
                <a:pos x="T0" y="T1"/>
              </a:cxn>
              <a:cxn ang="0">
                <a:pos x="T2" y="T3"/>
              </a:cxn>
              <a:cxn ang="0">
                <a:pos x="T4" y="T5"/>
              </a:cxn>
              <a:cxn ang="0">
                <a:pos x="T6" y="T7"/>
              </a:cxn>
              <a:cxn ang="0">
                <a:pos x="T8" y="T9"/>
              </a:cxn>
            </a:cxnLst>
            <a:rect l="0" t="0" r="r" b="b"/>
            <a:pathLst>
              <a:path w="2751" h="195">
                <a:moveTo>
                  <a:pt x="2409" y="0"/>
                </a:moveTo>
                <a:lnTo>
                  <a:pt x="0" y="0"/>
                </a:lnTo>
                <a:lnTo>
                  <a:pt x="340" y="195"/>
                </a:lnTo>
                <a:lnTo>
                  <a:pt x="2751" y="195"/>
                </a:lnTo>
                <a:lnTo>
                  <a:pt x="2409" y="0"/>
                </a:lnTo>
                <a:close/>
              </a:path>
            </a:pathLst>
          </a:cu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8" name="Freeform 10">
            <a:extLst>
              <a:ext uri="{FF2B5EF4-FFF2-40B4-BE49-F238E27FC236}">
                <a16:creationId xmlns:a16="http://schemas.microsoft.com/office/drawing/2014/main" id="{AFAC3DE0-C04C-4C41-A3EB-44C184427EB4}"/>
              </a:ext>
            </a:extLst>
          </p:cNvPr>
          <p:cNvSpPr>
            <a:spLocks/>
          </p:cNvSpPr>
          <p:nvPr/>
        </p:nvSpPr>
        <p:spPr bwMode="auto">
          <a:xfrm>
            <a:off x="4177834" y="3617240"/>
            <a:ext cx="3855698" cy="273305"/>
          </a:xfrm>
          <a:custGeom>
            <a:avLst/>
            <a:gdLst>
              <a:gd name="T0" fmla="*/ 2409 w 2751"/>
              <a:gd name="T1" fmla="*/ 0 h 195"/>
              <a:gd name="T2" fmla="*/ 0 w 2751"/>
              <a:gd name="T3" fmla="*/ 0 h 195"/>
              <a:gd name="T4" fmla="*/ 340 w 2751"/>
              <a:gd name="T5" fmla="*/ 195 h 195"/>
              <a:gd name="T6" fmla="*/ 2751 w 2751"/>
              <a:gd name="T7" fmla="*/ 195 h 195"/>
              <a:gd name="T8" fmla="*/ 2409 w 2751"/>
              <a:gd name="T9" fmla="*/ 0 h 195"/>
            </a:gdLst>
            <a:ahLst/>
            <a:cxnLst>
              <a:cxn ang="0">
                <a:pos x="T0" y="T1"/>
              </a:cxn>
              <a:cxn ang="0">
                <a:pos x="T2" y="T3"/>
              </a:cxn>
              <a:cxn ang="0">
                <a:pos x="T4" y="T5"/>
              </a:cxn>
              <a:cxn ang="0">
                <a:pos x="T6" y="T7"/>
              </a:cxn>
              <a:cxn ang="0">
                <a:pos x="T8" y="T9"/>
              </a:cxn>
            </a:cxnLst>
            <a:rect l="0" t="0" r="r" b="b"/>
            <a:pathLst>
              <a:path w="2751" h="195">
                <a:moveTo>
                  <a:pt x="2409" y="0"/>
                </a:moveTo>
                <a:lnTo>
                  <a:pt x="0" y="0"/>
                </a:lnTo>
                <a:lnTo>
                  <a:pt x="340" y="195"/>
                </a:lnTo>
                <a:lnTo>
                  <a:pt x="2751" y="195"/>
                </a:lnTo>
                <a:lnTo>
                  <a:pt x="2409" y="0"/>
                </a:lnTo>
                <a:close/>
              </a:path>
            </a:pathLst>
          </a:cu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9" name="Freeform 11">
            <a:extLst>
              <a:ext uri="{FF2B5EF4-FFF2-40B4-BE49-F238E27FC236}">
                <a16:creationId xmlns:a16="http://schemas.microsoft.com/office/drawing/2014/main" id="{9C0E1612-BE8E-4878-B8E1-5EFE640667A3}"/>
              </a:ext>
            </a:extLst>
          </p:cNvPr>
          <p:cNvSpPr>
            <a:spLocks/>
          </p:cNvSpPr>
          <p:nvPr/>
        </p:nvSpPr>
        <p:spPr bwMode="auto">
          <a:xfrm>
            <a:off x="4177834" y="4769610"/>
            <a:ext cx="3855698" cy="276108"/>
          </a:xfrm>
          <a:custGeom>
            <a:avLst/>
            <a:gdLst>
              <a:gd name="T0" fmla="*/ 2409 w 2751"/>
              <a:gd name="T1" fmla="*/ 0 h 197"/>
              <a:gd name="T2" fmla="*/ 0 w 2751"/>
              <a:gd name="T3" fmla="*/ 0 h 197"/>
              <a:gd name="T4" fmla="*/ 340 w 2751"/>
              <a:gd name="T5" fmla="*/ 197 h 197"/>
              <a:gd name="T6" fmla="*/ 2751 w 2751"/>
              <a:gd name="T7" fmla="*/ 197 h 197"/>
              <a:gd name="T8" fmla="*/ 2409 w 2751"/>
              <a:gd name="T9" fmla="*/ 0 h 197"/>
            </a:gdLst>
            <a:ahLst/>
            <a:cxnLst>
              <a:cxn ang="0">
                <a:pos x="T0" y="T1"/>
              </a:cxn>
              <a:cxn ang="0">
                <a:pos x="T2" y="T3"/>
              </a:cxn>
              <a:cxn ang="0">
                <a:pos x="T4" y="T5"/>
              </a:cxn>
              <a:cxn ang="0">
                <a:pos x="T6" y="T7"/>
              </a:cxn>
              <a:cxn ang="0">
                <a:pos x="T8" y="T9"/>
              </a:cxn>
            </a:cxnLst>
            <a:rect l="0" t="0" r="r" b="b"/>
            <a:pathLst>
              <a:path w="2751" h="197">
                <a:moveTo>
                  <a:pt x="2409" y="0"/>
                </a:moveTo>
                <a:lnTo>
                  <a:pt x="0" y="0"/>
                </a:lnTo>
                <a:lnTo>
                  <a:pt x="340" y="197"/>
                </a:lnTo>
                <a:lnTo>
                  <a:pt x="2751" y="197"/>
                </a:lnTo>
                <a:lnTo>
                  <a:pt x="2409" y="0"/>
                </a:lnTo>
                <a:close/>
              </a:path>
            </a:pathLst>
          </a:cu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armonyOS Sans SC"/>
              <a:cs typeface="+mn-cs"/>
            </a:endParaRPr>
          </a:p>
        </p:txBody>
      </p:sp>
      <p:sp>
        <p:nvSpPr>
          <p:cNvPr id="2" name="AutoShape 3">
            <a:extLst>
              <a:ext uri="{FF2B5EF4-FFF2-40B4-BE49-F238E27FC236}">
                <a16:creationId xmlns:a16="http://schemas.microsoft.com/office/drawing/2014/main" id="{98AD82BD-A555-49F5-9652-E290F24B23D6}"/>
              </a:ext>
            </a:extLst>
          </p:cNvPr>
          <p:cNvSpPr>
            <a:spLocks noChangeAspect="1" noChangeArrowheads="1" noTextEdit="1"/>
          </p:cNvSpPr>
          <p:nvPr/>
        </p:nvSpPr>
        <p:spPr bwMode="auto">
          <a:xfrm>
            <a:off x="3877327" y="1576279"/>
            <a:ext cx="4434543" cy="47737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sp>
        <p:nvSpPr>
          <p:cNvPr id="3" name="Rectangle 5">
            <a:extLst>
              <a:ext uri="{FF2B5EF4-FFF2-40B4-BE49-F238E27FC236}">
                <a16:creationId xmlns:a16="http://schemas.microsoft.com/office/drawing/2014/main" id="{0391380B-79E6-42A8-942E-D40EF48DE78D}"/>
              </a:ext>
            </a:extLst>
          </p:cNvPr>
          <p:cNvSpPr>
            <a:spLocks noChangeArrowheads="1"/>
          </p:cNvSpPr>
          <p:nvPr/>
        </p:nvSpPr>
        <p:spPr bwMode="auto">
          <a:xfrm>
            <a:off x="4169553" y="1585804"/>
            <a:ext cx="3855698" cy="885787"/>
          </a:xfrm>
          <a:prstGeom prst="rect">
            <a:avLst/>
          </a:prstGeom>
          <a:gradFill flip="none" rotWithShape="1">
            <a:gsLst>
              <a:gs pos="69000">
                <a:schemeClr val="accent1"/>
              </a:gs>
              <a:gs pos="0">
                <a:schemeClr val="accent1">
                  <a:lumMod val="60000"/>
                  <a:lumOff val="40000"/>
                </a:schemeClr>
              </a:gs>
            </a:gsLst>
            <a:lin ang="5400000" scaled="1"/>
            <a:tileRect/>
          </a:gradFill>
          <a:ln>
            <a:noFill/>
          </a:ln>
        </p:spPr>
        <p:txBody>
          <a:bodyPr vert="horz" wrap="square" lIns="91440" tIns="45720" rIns="91440" bIns="45720" numCol="1" anchor="t"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HarmonyOS Sans SC"/>
              <a:cs typeface="+mn-cs"/>
            </a:endParaRPr>
          </a:p>
        </p:txBody>
      </p:sp>
      <p:sp>
        <p:nvSpPr>
          <p:cNvPr id="4" name="Rectangle 6">
            <a:extLst>
              <a:ext uri="{FF2B5EF4-FFF2-40B4-BE49-F238E27FC236}">
                <a16:creationId xmlns:a16="http://schemas.microsoft.com/office/drawing/2014/main" id="{AB8DF6ED-7406-4A39-AB64-4CECAEC80545}"/>
              </a:ext>
            </a:extLst>
          </p:cNvPr>
          <p:cNvSpPr>
            <a:spLocks noChangeArrowheads="1"/>
          </p:cNvSpPr>
          <p:nvPr/>
        </p:nvSpPr>
        <p:spPr bwMode="auto">
          <a:xfrm>
            <a:off x="4169553" y="2738174"/>
            <a:ext cx="3855698" cy="885787"/>
          </a:xfrm>
          <a:prstGeom prst="rect">
            <a:avLst/>
          </a:prstGeom>
          <a:gradFill flip="none" rotWithShape="1">
            <a:gsLst>
              <a:gs pos="69000">
                <a:schemeClr val="accent1"/>
              </a:gs>
              <a:gs pos="0">
                <a:schemeClr val="accent1">
                  <a:lumMod val="60000"/>
                  <a:lumOff val="40000"/>
                </a:schemeClr>
              </a:gs>
            </a:gsLst>
            <a:lin ang="5400000" scaled="1"/>
            <a:tileRect/>
          </a:gradFill>
          <a:ln>
            <a:noFill/>
          </a:ln>
        </p:spPr>
        <p:txBody>
          <a:bodyPr vert="horz" wrap="square" lIns="91440" tIns="45720" rIns="91440" bIns="45720" numCol="1" anchor="t"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HarmonyOS Sans SC"/>
              <a:cs typeface="+mn-cs"/>
            </a:endParaRPr>
          </a:p>
        </p:txBody>
      </p:sp>
      <p:sp>
        <p:nvSpPr>
          <p:cNvPr id="6" name="Rectangle 8">
            <a:extLst>
              <a:ext uri="{FF2B5EF4-FFF2-40B4-BE49-F238E27FC236}">
                <a16:creationId xmlns:a16="http://schemas.microsoft.com/office/drawing/2014/main" id="{E6A505E3-1F71-4400-A8B1-49B1A842AC75}"/>
              </a:ext>
            </a:extLst>
          </p:cNvPr>
          <p:cNvSpPr>
            <a:spLocks noChangeArrowheads="1"/>
          </p:cNvSpPr>
          <p:nvPr/>
        </p:nvSpPr>
        <p:spPr bwMode="auto">
          <a:xfrm>
            <a:off x="4169553" y="3883822"/>
            <a:ext cx="3855698" cy="885787"/>
          </a:xfrm>
          <a:prstGeom prst="rect">
            <a:avLst/>
          </a:prstGeom>
          <a:gradFill flip="none" rotWithShape="1">
            <a:gsLst>
              <a:gs pos="69000">
                <a:schemeClr val="accent1"/>
              </a:gs>
              <a:gs pos="0">
                <a:schemeClr val="accent1">
                  <a:lumMod val="60000"/>
                  <a:lumOff val="40000"/>
                </a:schemeClr>
              </a:gs>
            </a:gsLst>
            <a:lin ang="5400000" scaled="1"/>
            <a:tileRect/>
          </a:gradFill>
          <a:ln>
            <a:noFill/>
          </a:ln>
        </p:spPr>
        <p:txBody>
          <a:bodyPr vert="horz" wrap="square" lIns="91440" tIns="45720" rIns="91440" bIns="45720" numCol="1" anchor="t"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HarmonyOS Sans SC"/>
              <a:cs typeface="+mn-cs"/>
            </a:endParaRPr>
          </a:p>
        </p:txBody>
      </p:sp>
      <p:sp>
        <p:nvSpPr>
          <p:cNvPr id="7" name="Freeform 9">
            <a:extLst>
              <a:ext uri="{FF2B5EF4-FFF2-40B4-BE49-F238E27FC236}">
                <a16:creationId xmlns:a16="http://schemas.microsoft.com/office/drawing/2014/main" id="{0DB99A30-92B5-4892-8362-13B7CF58B4D2}"/>
              </a:ext>
            </a:extLst>
          </p:cNvPr>
          <p:cNvSpPr>
            <a:spLocks/>
          </p:cNvSpPr>
          <p:nvPr/>
        </p:nvSpPr>
        <p:spPr bwMode="auto">
          <a:xfrm>
            <a:off x="3880131" y="5045718"/>
            <a:ext cx="4434543" cy="1285233"/>
          </a:xfrm>
          <a:custGeom>
            <a:avLst/>
            <a:gdLst>
              <a:gd name="T0" fmla="*/ 3164 w 3164"/>
              <a:gd name="T1" fmla="*/ 0 h 917"/>
              <a:gd name="T2" fmla="*/ 0 w 3164"/>
              <a:gd name="T3" fmla="*/ 0 h 917"/>
              <a:gd name="T4" fmla="*/ 1582 w 3164"/>
              <a:gd name="T5" fmla="*/ 917 h 917"/>
              <a:gd name="T6" fmla="*/ 3164 w 3164"/>
              <a:gd name="T7" fmla="*/ 0 h 917"/>
            </a:gdLst>
            <a:ahLst/>
            <a:cxnLst>
              <a:cxn ang="0">
                <a:pos x="T0" y="T1"/>
              </a:cxn>
              <a:cxn ang="0">
                <a:pos x="T2" y="T3"/>
              </a:cxn>
              <a:cxn ang="0">
                <a:pos x="T4" y="T5"/>
              </a:cxn>
              <a:cxn ang="0">
                <a:pos x="T6" y="T7"/>
              </a:cxn>
            </a:cxnLst>
            <a:rect l="0" t="0" r="r" b="b"/>
            <a:pathLst>
              <a:path w="3164" h="917">
                <a:moveTo>
                  <a:pt x="3164" y="0"/>
                </a:moveTo>
                <a:lnTo>
                  <a:pt x="0" y="0"/>
                </a:lnTo>
                <a:lnTo>
                  <a:pt x="1582" y="917"/>
                </a:lnTo>
                <a:lnTo>
                  <a:pt x="3164" y="0"/>
                </a:lnTo>
                <a:close/>
              </a:path>
            </a:pathLst>
          </a:custGeom>
          <a:gradFill flip="none" rotWithShape="1">
            <a:gsLst>
              <a:gs pos="69000">
                <a:schemeClr val="accent1"/>
              </a:gs>
              <a:gs pos="0">
                <a:schemeClr val="accent1">
                  <a:lumMod val="60000"/>
                  <a:lumOff val="40000"/>
                </a:schemeClr>
              </a:gs>
            </a:gsLst>
            <a:lin ang="5400000" scaled="1"/>
            <a:tileRect/>
          </a:gradFill>
          <a:ln>
            <a:noFill/>
          </a:ln>
        </p:spPr>
        <p:txBody>
          <a:bodyPr vert="horz" wrap="square" lIns="91440" tIns="45720" rIns="91440" bIns="45720" numCol="1" anchor="t"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HarmonyOS Sans SC"/>
              <a:cs typeface="+mn-cs"/>
            </a:endParaRPr>
          </a:p>
        </p:txBody>
      </p:sp>
      <p:sp>
        <p:nvSpPr>
          <p:cNvPr id="35" name="TextBox 65">
            <a:extLst>
              <a:ext uri="{FF2B5EF4-FFF2-40B4-BE49-F238E27FC236}">
                <a16:creationId xmlns:a16="http://schemas.microsoft.com/office/drawing/2014/main" id="{86CE89AE-7B3C-4D36-B550-340CA6B5E774}"/>
              </a:ext>
            </a:extLst>
          </p:cNvPr>
          <p:cNvSpPr txBox="1"/>
          <p:nvPr/>
        </p:nvSpPr>
        <p:spPr>
          <a:xfrm>
            <a:off x="4930521" y="1787706"/>
            <a:ext cx="2330959" cy="492498"/>
          </a:xfrm>
          <a:prstGeom prst="rect">
            <a:avLst/>
          </a:prstGeom>
          <a:noFill/>
        </p:spPr>
        <p:txBody>
          <a:bodyPr wrap="square" lIns="0" tIns="36000" rIns="0" bIns="36000" rtlCol="0">
            <a:spAutoFit/>
          </a:bodyPr>
          <a:lstStyle/>
          <a:p>
            <a:pPr marL="0" marR="0" lvl="0" indent="0" algn="ctr" defTabSz="914400" rtl="0" eaLnBrk="1" fontAlgn="auto" latinLnBrk="0" hangingPunct="1">
              <a:lnSpc>
                <a:spcPct val="120000"/>
              </a:lnSpc>
              <a:spcBef>
                <a:spcPts val="600"/>
              </a:spcBef>
              <a:spcAft>
                <a:spcPts val="0"/>
              </a:spcAft>
              <a:buClrTx/>
              <a:buSzTx/>
              <a:buFontTx/>
              <a:buNone/>
              <a:tabLst/>
              <a:defRPr/>
            </a:pPr>
            <a:r>
              <a:rPr kumimoji="0" lang="zh-CN" altLang="en-US" sz="2400" b="0" i="0" u="none" strike="noStrike" kern="1200" cap="none" spc="0" normalizeH="0" baseline="0" noProof="0" dirty="0">
                <a:ln>
                  <a:noFill/>
                </a:ln>
                <a:solidFill>
                  <a:prstClr val="white"/>
                </a:solidFill>
                <a:effectLst/>
                <a:uLnTx/>
                <a:uFillTx/>
                <a:latin typeface="HarmonyOS Sans SC Black"/>
                <a:ea typeface="+mj-ea"/>
                <a:cs typeface="+mn-cs"/>
              </a:rPr>
              <a:t>关键词标题</a:t>
            </a:r>
            <a:endParaRPr kumimoji="0" lang="en-US" sz="2400" b="0" i="0" u="none" strike="noStrike" kern="1200" cap="none" spc="0" normalizeH="0" baseline="0" noProof="0" dirty="0">
              <a:ln>
                <a:noFill/>
              </a:ln>
              <a:solidFill>
                <a:prstClr val="white"/>
              </a:solidFill>
              <a:effectLst/>
              <a:uLnTx/>
              <a:uFillTx/>
              <a:latin typeface="HarmonyOS Sans SC Black"/>
              <a:ea typeface="+mj-ea"/>
              <a:cs typeface="+mn-cs"/>
            </a:endParaRPr>
          </a:p>
        </p:txBody>
      </p:sp>
      <p:sp>
        <p:nvSpPr>
          <p:cNvPr id="37" name="TextBox 65">
            <a:extLst>
              <a:ext uri="{FF2B5EF4-FFF2-40B4-BE49-F238E27FC236}">
                <a16:creationId xmlns:a16="http://schemas.microsoft.com/office/drawing/2014/main" id="{95A37E85-08BA-4A5B-AA76-33A8C9F0F54D}"/>
              </a:ext>
            </a:extLst>
          </p:cNvPr>
          <p:cNvSpPr txBox="1"/>
          <p:nvPr/>
        </p:nvSpPr>
        <p:spPr>
          <a:xfrm>
            <a:off x="4930521" y="2940076"/>
            <a:ext cx="2330959" cy="492498"/>
          </a:xfrm>
          <a:prstGeom prst="rect">
            <a:avLst/>
          </a:prstGeom>
          <a:noFill/>
        </p:spPr>
        <p:txBody>
          <a:bodyPr wrap="square" lIns="0" tIns="36000" rIns="0" bIns="36000" rtlCol="0">
            <a:spAutoFit/>
          </a:bodyPr>
          <a:lstStyle/>
          <a:p>
            <a:pPr marL="0" marR="0" lvl="0" indent="0" algn="ctr" defTabSz="914400" rtl="0" eaLnBrk="1" fontAlgn="auto" latinLnBrk="0" hangingPunct="1">
              <a:lnSpc>
                <a:spcPct val="120000"/>
              </a:lnSpc>
              <a:spcBef>
                <a:spcPts val="600"/>
              </a:spcBef>
              <a:spcAft>
                <a:spcPts val="0"/>
              </a:spcAft>
              <a:buClrTx/>
              <a:buSzTx/>
              <a:buFontTx/>
              <a:buNone/>
              <a:tabLst/>
              <a:defRPr/>
            </a:pPr>
            <a:r>
              <a:rPr kumimoji="0" lang="zh-CN" altLang="en-US" sz="2400" b="0" i="0" u="none" strike="noStrike" kern="1200" cap="none" spc="0" normalizeH="0" baseline="0" noProof="0" dirty="0">
                <a:ln>
                  <a:noFill/>
                </a:ln>
                <a:solidFill>
                  <a:prstClr val="white"/>
                </a:solidFill>
                <a:effectLst/>
                <a:uLnTx/>
                <a:uFillTx/>
                <a:latin typeface="HarmonyOS Sans SC Black"/>
                <a:ea typeface="+mj-ea"/>
                <a:cs typeface="+mn-cs"/>
              </a:rPr>
              <a:t>关键词标题</a:t>
            </a:r>
            <a:endParaRPr kumimoji="0" lang="en-US" sz="2400" b="0" i="0" u="none" strike="noStrike" kern="1200" cap="none" spc="0" normalizeH="0" baseline="0" noProof="0" dirty="0">
              <a:ln>
                <a:noFill/>
              </a:ln>
              <a:solidFill>
                <a:prstClr val="white"/>
              </a:solidFill>
              <a:effectLst/>
              <a:uLnTx/>
              <a:uFillTx/>
              <a:latin typeface="HarmonyOS Sans SC Black"/>
              <a:ea typeface="+mj-ea"/>
              <a:cs typeface="+mn-cs"/>
            </a:endParaRPr>
          </a:p>
        </p:txBody>
      </p:sp>
      <p:sp>
        <p:nvSpPr>
          <p:cNvPr id="38" name="TextBox 65">
            <a:extLst>
              <a:ext uri="{FF2B5EF4-FFF2-40B4-BE49-F238E27FC236}">
                <a16:creationId xmlns:a16="http://schemas.microsoft.com/office/drawing/2014/main" id="{CCCB1450-5539-459E-B82E-4C4EC03A0DA2}"/>
              </a:ext>
            </a:extLst>
          </p:cNvPr>
          <p:cNvSpPr txBox="1"/>
          <p:nvPr/>
        </p:nvSpPr>
        <p:spPr>
          <a:xfrm>
            <a:off x="4930521" y="4085724"/>
            <a:ext cx="2330959" cy="492498"/>
          </a:xfrm>
          <a:prstGeom prst="rect">
            <a:avLst/>
          </a:prstGeom>
          <a:noFill/>
        </p:spPr>
        <p:txBody>
          <a:bodyPr wrap="square" lIns="0" tIns="36000" rIns="0" bIns="36000" rtlCol="0">
            <a:spAutoFit/>
          </a:bodyPr>
          <a:lstStyle/>
          <a:p>
            <a:pPr marL="0" marR="0" lvl="0" indent="0" algn="ctr" defTabSz="914400" rtl="0" eaLnBrk="1" fontAlgn="auto" latinLnBrk="0" hangingPunct="1">
              <a:lnSpc>
                <a:spcPct val="120000"/>
              </a:lnSpc>
              <a:spcBef>
                <a:spcPts val="600"/>
              </a:spcBef>
              <a:spcAft>
                <a:spcPts val="0"/>
              </a:spcAft>
              <a:buClrTx/>
              <a:buSzTx/>
              <a:buFontTx/>
              <a:buNone/>
              <a:tabLst/>
              <a:defRPr/>
            </a:pPr>
            <a:r>
              <a:rPr kumimoji="0" lang="zh-CN" altLang="en-US" sz="2400" b="0" i="0" u="none" strike="noStrike" kern="1200" cap="none" spc="0" normalizeH="0" baseline="0" noProof="0" dirty="0">
                <a:ln>
                  <a:noFill/>
                </a:ln>
                <a:solidFill>
                  <a:prstClr val="white"/>
                </a:solidFill>
                <a:effectLst/>
                <a:uLnTx/>
                <a:uFillTx/>
                <a:latin typeface="HarmonyOS Sans SC Black"/>
                <a:ea typeface="+mj-ea"/>
                <a:cs typeface="+mn-cs"/>
              </a:rPr>
              <a:t>关键词标题</a:t>
            </a:r>
            <a:endParaRPr kumimoji="0" lang="en-US" sz="2400" b="0" i="0" u="none" strike="noStrike" kern="1200" cap="none" spc="0" normalizeH="0" baseline="0" noProof="0" dirty="0">
              <a:ln>
                <a:noFill/>
              </a:ln>
              <a:solidFill>
                <a:prstClr val="white"/>
              </a:solidFill>
              <a:effectLst/>
              <a:uLnTx/>
              <a:uFillTx/>
              <a:latin typeface="HarmonyOS Sans SC Black"/>
              <a:ea typeface="+mj-ea"/>
              <a:cs typeface="+mn-cs"/>
            </a:endParaRPr>
          </a:p>
        </p:txBody>
      </p:sp>
      <p:sp>
        <p:nvSpPr>
          <p:cNvPr id="39" name="TextBox 65">
            <a:extLst>
              <a:ext uri="{FF2B5EF4-FFF2-40B4-BE49-F238E27FC236}">
                <a16:creationId xmlns:a16="http://schemas.microsoft.com/office/drawing/2014/main" id="{FF094E90-5FED-4611-9BB3-05CB27CFA7E8}"/>
              </a:ext>
            </a:extLst>
          </p:cNvPr>
          <p:cNvSpPr txBox="1"/>
          <p:nvPr/>
        </p:nvSpPr>
        <p:spPr>
          <a:xfrm>
            <a:off x="4930521" y="5190746"/>
            <a:ext cx="2330959" cy="492498"/>
          </a:xfrm>
          <a:prstGeom prst="rect">
            <a:avLst/>
          </a:prstGeom>
          <a:noFill/>
        </p:spPr>
        <p:txBody>
          <a:bodyPr wrap="square" lIns="0" tIns="36000" rIns="0" bIns="36000" rtlCol="0">
            <a:spAutoFit/>
          </a:bodyPr>
          <a:lstStyle/>
          <a:p>
            <a:pPr marL="0" marR="0" lvl="0" indent="0" algn="ctr" defTabSz="914400" rtl="0" eaLnBrk="1" fontAlgn="auto" latinLnBrk="0" hangingPunct="1">
              <a:lnSpc>
                <a:spcPct val="120000"/>
              </a:lnSpc>
              <a:spcBef>
                <a:spcPts val="600"/>
              </a:spcBef>
              <a:spcAft>
                <a:spcPts val="0"/>
              </a:spcAft>
              <a:buClrTx/>
              <a:buSzTx/>
              <a:buFontTx/>
              <a:buNone/>
              <a:tabLst/>
              <a:defRPr/>
            </a:pPr>
            <a:r>
              <a:rPr kumimoji="0" lang="zh-CN" altLang="en-US" sz="2400" b="0" i="0" u="none" strike="noStrike" kern="1200" cap="none" spc="0" normalizeH="0" baseline="0" noProof="0" dirty="0">
                <a:ln>
                  <a:noFill/>
                </a:ln>
                <a:solidFill>
                  <a:prstClr val="white"/>
                </a:solidFill>
                <a:effectLst/>
                <a:uLnTx/>
                <a:uFillTx/>
                <a:latin typeface="HarmonyOS Sans SC Black"/>
                <a:ea typeface="+mj-ea"/>
                <a:cs typeface="+mn-cs"/>
              </a:rPr>
              <a:t>关键词标题</a:t>
            </a:r>
            <a:endParaRPr kumimoji="0" lang="en-US" sz="2400" b="0" i="0" u="none" strike="noStrike" kern="1200" cap="none" spc="0" normalizeH="0" baseline="0" noProof="0" dirty="0">
              <a:ln>
                <a:noFill/>
              </a:ln>
              <a:solidFill>
                <a:prstClr val="white"/>
              </a:solidFill>
              <a:effectLst/>
              <a:uLnTx/>
              <a:uFillTx/>
              <a:latin typeface="HarmonyOS Sans SC Black"/>
              <a:ea typeface="+mj-ea"/>
              <a:cs typeface="+mn-cs"/>
            </a:endParaRPr>
          </a:p>
        </p:txBody>
      </p:sp>
      <p:sp>
        <p:nvSpPr>
          <p:cNvPr id="42" name="TextBox 65">
            <a:extLst>
              <a:ext uri="{FF2B5EF4-FFF2-40B4-BE49-F238E27FC236}">
                <a16:creationId xmlns:a16="http://schemas.microsoft.com/office/drawing/2014/main" id="{CAFBF84A-A46A-420B-AE0B-A48BEC4F5380}"/>
              </a:ext>
            </a:extLst>
          </p:cNvPr>
          <p:cNvSpPr txBox="1"/>
          <p:nvPr/>
        </p:nvSpPr>
        <p:spPr>
          <a:xfrm>
            <a:off x="1821065" y="2738174"/>
            <a:ext cx="2056261" cy="387598"/>
          </a:xfrm>
          <a:prstGeom prst="rect">
            <a:avLst/>
          </a:prstGeom>
          <a:noFill/>
        </p:spPr>
        <p:txBody>
          <a:bodyPr wrap="square" lIns="0" tIns="36000" rIns="0" bIns="36000" rtlCol="0">
            <a:spAutoFit/>
          </a:bodyPr>
          <a:lstStyle/>
          <a:p>
            <a:pPr marL="0" marR="0" lvl="0" indent="0" algn="r" defTabSz="914400" rtl="0" eaLnBrk="1" fontAlgn="auto" latinLnBrk="0" hangingPunct="1">
              <a:lnSpc>
                <a:spcPct val="120000"/>
              </a:lnSpc>
              <a:spcBef>
                <a:spcPts val="600"/>
              </a:spcBef>
              <a:spcAft>
                <a:spcPts val="0"/>
              </a:spcAft>
              <a:buClrTx/>
              <a:buSzTx/>
              <a:buFontTx/>
              <a:buNone/>
              <a:tabLst/>
              <a:defRPr/>
            </a:pPr>
            <a:r>
              <a:rPr kumimoji="0" lang="zh-CN" altLang="en-US" sz="1800" b="0" i="0" u="none" strike="noStrike" kern="1200" cap="none" spc="0" normalizeH="0" baseline="0" noProof="0" dirty="0">
                <a:ln>
                  <a:noFill/>
                </a:ln>
                <a:solidFill>
                  <a:schemeClr val="accent1"/>
                </a:solidFill>
                <a:effectLst/>
                <a:uLnTx/>
                <a:uFillTx/>
                <a:latin typeface="HarmonyOS Sans SC Black"/>
                <a:ea typeface="+mj-ea"/>
                <a:cs typeface="+mn-cs"/>
              </a:rPr>
              <a:t>关键词标题</a:t>
            </a:r>
            <a:endParaRPr kumimoji="0" lang="en-US" sz="1800" b="0" i="0" u="none" strike="noStrike" kern="1200" cap="none" spc="0" normalizeH="0" baseline="0" noProof="0" dirty="0">
              <a:ln>
                <a:noFill/>
              </a:ln>
              <a:solidFill>
                <a:schemeClr val="accent1"/>
              </a:solidFill>
              <a:effectLst/>
              <a:uLnTx/>
              <a:uFillTx/>
              <a:latin typeface="HarmonyOS Sans SC Black"/>
              <a:ea typeface="+mj-ea"/>
              <a:cs typeface="+mn-cs"/>
            </a:endParaRPr>
          </a:p>
        </p:txBody>
      </p:sp>
      <p:sp>
        <p:nvSpPr>
          <p:cNvPr id="43" name="TextBox 65">
            <a:extLst>
              <a:ext uri="{FF2B5EF4-FFF2-40B4-BE49-F238E27FC236}">
                <a16:creationId xmlns:a16="http://schemas.microsoft.com/office/drawing/2014/main" id="{0DAAE4D7-8718-4F50-B3AE-A242319CE125}"/>
              </a:ext>
            </a:extLst>
          </p:cNvPr>
          <p:cNvSpPr txBox="1"/>
          <p:nvPr/>
        </p:nvSpPr>
        <p:spPr>
          <a:xfrm>
            <a:off x="1018156" y="3121573"/>
            <a:ext cx="2859171" cy="498204"/>
          </a:xfrm>
          <a:prstGeom prst="rect">
            <a:avLst/>
          </a:prstGeom>
          <a:noFill/>
        </p:spPr>
        <p:txBody>
          <a:bodyPr wrap="square" lIns="0" tIns="36000" rIns="0" bIns="36000" rtlCol="0">
            <a:spAutoFit/>
          </a:bodyPr>
          <a:lstStyle/>
          <a:p>
            <a:pPr marL="0" marR="0" lvl="0" indent="0" algn="r" defTabSz="914400" rtl="0" eaLnBrk="1" fontAlgn="auto" latinLnBrk="0" hangingPunct="1">
              <a:lnSpc>
                <a:spcPct val="120000"/>
              </a:lnSpc>
              <a:spcBef>
                <a:spcPts val="600"/>
              </a:spcBef>
              <a:spcAft>
                <a:spcPts val="0"/>
              </a:spcAft>
              <a:buClrTx/>
              <a:buSzTx/>
              <a:buFontTx/>
              <a:buNone/>
              <a:tabLst/>
              <a:defRPr/>
            </a:pPr>
            <a:r>
              <a:rPr kumimoji="0" lang="en-US" sz="1200" b="0" i="0" u="none" strike="noStrike" kern="1200" cap="none" spc="0" normalizeH="0" baseline="0" noProof="0" dirty="0">
                <a:ln>
                  <a:noFill/>
                </a:ln>
                <a:solidFill>
                  <a:prstClr val="black">
                    <a:lumMod val="50000"/>
                    <a:lumOff val="50000"/>
                  </a:prstClr>
                </a:solidFill>
                <a:effectLst/>
                <a:uLnTx/>
                <a:uFillTx/>
                <a:latin typeface="HarmonyOS Sans SC"/>
                <a:cs typeface="+mn-cs"/>
              </a:rPr>
              <a:t>Apparently we had reached a great height in the.</a:t>
            </a:r>
          </a:p>
        </p:txBody>
      </p:sp>
      <p:grpSp>
        <p:nvGrpSpPr>
          <p:cNvPr id="50" name="组合 49">
            <a:extLst>
              <a:ext uri="{FF2B5EF4-FFF2-40B4-BE49-F238E27FC236}">
                <a16:creationId xmlns:a16="http://schemas.microsoft.com/office/drawing/2014/main" id="{C714A741-0A16-4432-939A-E78DAB94174A}"/>
              </a:ext>
            </a:extLst>
          </p:cNvPr>
          <p:cNvGrpSpPr/>
          <p:nvPr/>
        </p:nvGrpSpPr>
        <p:grpSpPr>
          <a:xfrm>
            <a:off x="8482581" y="1576278"/>
            <a:ext cx="2859171" cy="881603"/>
            <a:chOff x="2777088" y="3678059"/>
            <a:chExt cx="2859171" cy="881603"/>
          </a:xfrm>
        </p:grpSpPr>
        <p:sp>
          <p:nvSpPr>
            <p:cNvPr id="51" name="TextBox 65">
              <a:extLst>
                <a:ext uri="{FF2B5EF4-FFF2-40B4-BE49-F238E27FC236}">
                  <a16:creationId xmlns:a16="http://schemas.microsoft.com/office/drawing/2014/main" id="{CEB68857-D919-4E69-AAE3-B9CF09A759F3}"/>
                </a:ext>
              </a:extLst>
            </p:cNvPr>
            <p:cNvSpPr txBox="1"/>
            <p:nvPr/>
          </p:nvSpPr>
          <p:spPr>
            <a:xfrm flipH="1">
              <a:off x="2777089" y="3678059"/>
              <a:ext cx="2056261" cy="387598"/>
            </a:xfrm>
            <a:prstGeom prst="rect">
              <a:avLst/>
            </a:prstGeom>
            <a:noFill/>
          </p:spPr>
          <p:txBody>
            <a:bodyPr wrap="square" lIns="0" tIns="36000" rIns="0" bIns="36000" rtlCol="0">
              <a:spAutoFit/>
            </a:bodyPr>
            <a:lstStyle/>
            <a:p>
              <a:pPr marL="0" marR="0" lvl="0" indent="0" algn="l" defTabSz="914400" rtl="0" eaLnBrk="1" fontAlgn="auto" latinLnBrk="0" hangingPunct="1">
                <a:lnSpc>
                  <a:spcPct val="120000"/>
                </a:lnSpc>
                <a:spcBef>
                  <a:spcPts val="600"/>
                </a:spcBef>
                <a:spcAft>
                  <a:spcPts val="0"/>
                </a:spcAft>
                <a:buClrTx/>
                <a:buSzTx/>
                <a:buFontTx/>
                <a:buNone/>
                <a:tabLst/>
                <a:defRPr/>
              </a:pPr>
              <a:r>
                <a:rPr kumimoji="0" lang="zh-CN" altLang="en-US" sz="1800" b="0" i="0" u="none" strike="noStrike" kern="1200" cap="none" spc="0" normalizeH="0" baseline="0" noProof="0" dirty="0">
                  <a:ln>
                    <a:noFill/>
                  </a:ln>
                  <a:solidFill>
                    <a:schemeClr val="accent1"/>
                  </a:solidFill>
                  <a:effectLst/>
                  <a:uLnTx/>
                  <a:uFillTx/>
                  <a:latin typeface="HarmonyOS Sans SC Black"/>
                  <a:ea typeface="+mj-ea"/>
                  <a:cs typeface="+mn-cs"/>
                </a:rPr>
                <a:t>关键词标题</a:t>
              </a:r>
              <a:endParaRPr kumimoji="0" lang="en-US" sz="1800" b="0" i="0" u="none" strike="noStrike" kern="1200" cap="none" spc="0" normalizeH="0" baseline="0" noProof="0" dirty="0">
                <a:ln>
                  <a:noFill/>
                </a:ln>
                <a:solidFill>
                  <a:schemeClr val="accent1"/>
                </a:solidFill>
                <a:effectLst/>
                <a:uLnTx/>
                <a:uFillTx/>
                <a:latin typeface="HarmonyOS Sans SC Black"/>
                <a:ea typeface="+mj-ea"/>
                <a:cs typeface="+mn-cs"/>
              </a:endParaRPr>
            </a:p>
          </p:txBody>
        </p:sp>
        <p:sp>
          <p:nvSpPr>
            <p:cNvPr id="52" name="TextBox 65">
              <a:extLst>
                <a:ext uri="{FF2B5EF4-FFF2-40B4-BE49-F238E27FC236}">
                  <a16:creationId xmlns:a16="http://schemas.microsoft.com/office/drawing/2014/main" id="{4383878C-15E0-47DA-9A6A-65C8A59DA797}"/>
                </a:ext>
              </a:extLst>
            </p:cNvPr>
            <p:cNvSpPr txBox="1"/>
            <p:nvPr/>
          </p:nvSpPr>
          <p:spPr>
            <a:xfrm flipH="1">
              <a:off x="2777088" y="4061458"/>
              <a:ext cx="2859171" cy="498204"/>
            </a:xfrm>
            <a:prstGeom prst="rect">
              <a:avLst/>
            </a:prstGeom>
            <a:noFill/>
          </p:spPr>
          <p:txBody>
            <a:bodyPr wrap="square" lIns="0" tIns="36000" rIns="0" bIns="36000" rtlCol="0">
              <a:spAutoFit/>
            </a:bodyPr>
            <a:lstStyle/>
            <a:p>
              <a:pPr marL="0" marR="0" lvl="0" indent="0" algn="l" defTabSz="914400" rtl="0" eaLnBrk="1" fontAlgn="auto" latinLnBrk="0" hangingPunct="1">
                <a:lnSpc>
                  <a:spcPct val="120000"/>
                </a:lnSpc>
                <a:spcBef>
                  <a:spcPts val="600"/>
                </a:spcBef>
                <a:spcAft>
                  <a:spcPts val="0"/>
                </a:spcAft>
                <a:buClrTx/>
                <a:buSzTx/>
                <a:buFontTx/>
                <a:buNone/>
                <a:tabLst/>
                <a:defRPr/>
              </a:pPr>
              <a:r>
                <a:rPr kumimoji="0" lang="en-US" sz="1200" b="0" i="0" u="none" strike="noStrike" kern="1200" cap="none" spc="0" normalizeH="0" baseline="0" noProof="0" dirty="0">
                  <a:ln>
                    <a:noFill/>
                  </a:ln>
                  <a:solidFill>
                    <a:prstClr val="black">
                      <a:lumMod val="50000"/>
                      <a:lumOff val="50000"/>
                    </a:prstClr>
                  </a:solidFill>
                  <a:effectLst/>
                  <a:uLnTx/>
                  <a:uFillTx/>
                  <a:latin typeface="HarmonyOS Sans SC"/>
                  <a:cs typeface="+mn-cs"/>
                </a:rPr>
                <a:t>Apparently we had reached a great height in the.</a:t>
              </a:r>
            </a:p>
          </p:txBody>
        </p:sp>
      </p:grpSp>
      <p:grpSp>
        <p:nvGrpSpPr>
          <p:cNvPr id="53" name="组合 52">
            <a:extLst>
              <a:ext uri="{FF2B5EF4-FFF2-40B4-BE49-F238E27FC236}">
                <a16:creationId xmlns:a16="http://schemas.microsoft.com/office/drawing/2014/main" id="{DC326383-4112-4ADF-AD85-EC0798E6B33C}"/>
              </a:ext>
            </a:extLst>
          </p:cNvPr>
          <p:cNvGrpSpPr/>
          <p:nvPr/>
        </p:nvGrpSpPr>
        <p:grpSpPr>
          <a:xfrm>
            <a:off x="8482581" y="3883822"/>
            <a:ext cx="2859171" cy="881603"/>
            <a:chOff x="2777088" y="3678059"/>
            <a:chExt cx="2859171" cy="881603"/>
          </a:xfrm>
        </p:grpSpPr>
        <p:sp>
          <p:nvSpPr>
            <p:cNvPr id="54" name="TextBox 65">
              <a:extLst>
                <a:ext uri="{FF2B5EF4-FFF2-40B4-BE49-F238E27FC236}">
                  <a16:creationId xmlns:a16="http://schemas.microsoft.com/office/drawing/2014/main" id="{645D00BA-60B9-47B4-8C60-51BF8037FA24}"/>
                </a:ext>
              </a:extLst>
            </p:cNvPr>
            <p:cNvSpPr txBox="1"/>
            <p:nvPr/>
          </p:nvSpPr>
          <p:spPr>
            <a:xfrm flipH="1">
              <a:off x="2777089" y="3678059"/>
              <a:ext cx="2056261" cy="387598"/>
            </a:xfrm>
            <a:prstGeom prst="rect">
              <a:avLst/>
            </a:prstGeom>
            <a:noFill/>
          </p:spPr>
          <p:txBody>
            <a:bodyPr wrap="square" lIns="0" tIns="36000" rIns="0" bIns="36000" rtlCol="0">
              <a:spAutoFit/>
            </a:bodyPr>
            <a:lstStyle/>
            <a:p>
              <a:pPr marL="0" marR="0" lvl="0" indent="0" algn="l" defTabSz="914400" rtl="0" eaLnBrk="1" fontAlgn="auto" latinLnBrk="0" hangingPunct="1">
                <a:lnSpc>
                  <a:spcPct val="120000"/>
                </a:lnSpc>
                <a:spcBef>
                  <a:spcPts val="600"/>
                </a:spcBef>
                <a:spcAft>
                  <a:spcPts val="0"/>
                </a:spcAft>
                <a:buClrTx/>
                <a:buSzTx/>
                <a:buFontTx/>
                <a:buNone/>
                <a:tabLst/>
                <a:defRPr/>
              </a:pPr>
              <a:r>
                <a:rPr kumimoji="0" lang="zh-CN" altLang="en-US" sz="1800" b="0" i="0" u="none" strike="noStrike" kern="1200" cap="none" spc="0" normalizeH="0" baseline="0" noProof="0" dirty="0">
                  <a:ln>
                    <a:noFill/>
                  </a:ln>
                  <a:solidFill>
                    <a:schemeClr val="accent1"/>
                  </a:solidFill>
                  <a:effectLst/>
                  <a:uLnTx/>
                  <a:uFillTx/>
                  <a:latin typeface="HarmonyOS Sans SC Black"/>
                  <a:ea typeface="+mj-ea"/>
                  <a:cs typeface="+mn-cs"/>
                </a:rPr>
                <a:t>关键词标题</a:t>
              </a:r>
              <a:endParaRPr kumimoji="0" lang="en-US" sz="1800" b="0" i="0" u="none" strike="noStrike" kern="1200" cap="none" spc="0" normalizeH="0" baseline="0" noProof="0" dirty="0">
                <a:ln>
                  <a:noFill/>
                </a:ln>
                <a:solidFill>
                  <a:schemeClr val="accent1"/>
                </a:solidFill>
                <a:effectLst/>
                <a:uLnTx/>
                <a:uFillTx/>
                <a:latin typeface="HarmonyOS Sans SC Black"/>
                <a:ea typeface="+mj-ea"/>
                <a:cs typeface="+mn-cs"/>
              </a:endParaRPr>
            </a:p>
          </p:txBody>
        </p:sp>
        <p:sp>
          <p:nvSpPr>
            <p:cNvPr id="55" name="TextBox 65">
              <a:extLst>
                <a:ext uri="{FF2B5EF4-FFF2-40B4-BE49-F238E27FC236}">
                  <a16:creationId xmlns:a16="http://schemas.microsoft.com/office/drawing/2014/main" id="{55F6409C-E7D9-4D61-A79B-4FAB0E6A2962}"/>
                </a:ext>
              </a:extLst>
            </p:cNvPr>
            <p:cNvSpPr txBox="1"/>
            <p:nvPr/>
          </p:nvSpPr>
          <p:spPr>
            <a:xfrm flipH="1">
              <a:off x="2777088" y="4061458"/>
              <a:ext cx="2859171" cy="498204"/>
            </a:xfrm>
            <a:prstGeom prst="rect">
              <a:avLst/>
            </a:prstGeom>
            <a:noFill/>
          </p:spPr>
          <p:txBody>
            <a:bodyPr wrap="square" lIns="0" tIns="36000" rIns="0" bIns="36000" rtlCol="0">
              <a:spAutoFit/>
            </a:bodyPr>
            <a:lstStyle/>
            <a:p>
              <a:pPr marL="0" marR="0" lvl="0" indent="0" algn="l" defTabSz="914400" rtl="0" eaLnBrk="1" fontAlgn="auto" latinLnBrk="0" hangingPunct="1">
                <a:lnSpc>
                  <a:spcPct val="120000"/>
                </a:lnSpc>
                <a:spcBef>
                  <a:spcPts val="600"/>
                </a:spcBef>
                <a:spcAft>
                  <a:spcPts val="0"/>
                </a:spcAft>
                <a:buClrTx/>
                <a:buSzTx/>
                <a:buFontTx/>
                <a:buNone/>
                <a:tabLst/>
                <a:defRPr/>
              </a:pPr>
              <a:r>
                <a:rPr kumimoji="0" lang="en-US" sz="1200" b="0" i="0" u="none" strike="noStrike" kern="1200" cap="none" spc="0" normalizeH="0" baseline="0" noProof="0" dirty="0">
                  <a:ln>
                    <a:noFill/>
                  </a:ln>
                  <a:solidFill>
                    <a:prstClr val="black">
                      <a:lumMod val="50000"/>
                      <a:lumOff val="50000"/>
                    </a:prstClr>
                  </a:solidFill>
                  <a:effectLst/>
                  <a:uLnTx/>
                  <a:uFillTx/>
                  <a:latin typeface="HarmonyOS Sans SC"/>
                  <a:cs typeface="+mn-cs"/>
                </a:rPr>
                <a:t>Apparently we had reached a great height in the.</a:t>
              </a:r>
            </a:p>
          </p:txBody>
        </p:sp>
      </p:grpSp>
    </p:spTree>
    <p:extLst>
      <p:ext uri="{BB962C8B-B14F-4D97-AF65-F5344CB8AC3E}">
        <p14:creationId xmlns:p14="http://schemas.microsoft.com/office/powerpoint/2010/main" val="3844530699"/>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5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Box 37">
            <a:extLst>
              <a:ext uri="{FF2B5EF4-FFF2-40B4-BE49-F238E27FC236}">
                <a16:creationId xmlns:a16="http://schemas.microsoft.com/office/drawing/2014/main" id="{3E1598ED-BB11-4176-BE1B-633766BAB4BD}"/>
              </a:ext>
            </a:extLst>
          </p:cNvPr>
          <p:cNvSpPr txBox="1"/>
          <p:nvPr/>
        </p:nvSpPr>
        <p:spPr>
          <a:xfrm>
            <a:off x="960846" y="3683216"/>
            <a:ext cx="6338401" cy="1722779"/>
          </a:xfrm>
          <a:prstGeom prst="rect">
            <a:avLst/>
          </a:prstGeom>
          <a:noFill/>
        </p:spPr>
        <p:txBody>
          <a:bodyPr wrap="square" rtlCol="0">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50000"/>
                    <a:lumOff val="50000"/>
                  </a:prstClr>
                </a:solidFill>
                <a:effectLst/>
                <a:uLnTx/>
                <a:uFillTx/>
                <a:latin typeface="HarmonyOS Sans SC"/>
                <a:cs typeface="Aharoni" panose="02010803020104030203" pitchFamily="2" charset="-79"/>
              </a:rPr>
              <a:t>Lorem Ipsum Dolor Sit </a:t>
            </a:r>
            <a:r>
              <a:rPr kumimoji="0" lang="en-US" sz="1200" b="0" i="0" u="none" strike="noStrike" kern="1200" cap="none" spc="0" normalizeH="0" baseline="0" noProof="0" dirty="0" err="1">
                <a:ln>
                  <a:noFill/>
                </a:ln>
                <a:solidFill>
                  <a:prstClr val="black">
                    <a:lumMod val="50000"/>
                    <a:lumOff val="50000"/>
                  </a:prstClr>
                </a:solidFill>
                <a:effectLst/>
                <a:uLnTx/>
                <a:uFillTx/>
                <a:latin typeface="HarmonyOS Sans SC"/>
                <a:cs typeface="Aharoni" panose="02010803020104030203" pitchFamily="2" charset="-79"/>
              </a:rPr>
              <a:t>Amet</a:t>
            </a:r>
            <a:r>
              <a:rPr kumimoji="0" lang="en-US" sz="1200" b="0" i="0" u="none" strike="noStrike" kern="1200" cap="none" spc="0" normalizeH="0" baseline="0" noProof="0" dirty="0">
                <a:ln>
                  <a:noFill/>
                </a:ln>
                <a:solidFill>
                  <a:prstClr val="black">
                    <a:lumMod val="50000"/>
                    <a:lumOff val="50000"/>
                  </a:prstClr>
                </a:solidFill>
                <a:effectLst/>
                <a:uLnTx/>
                <a:uFillTx/>
                <a:latin typeface="HarmonyOS Sans SC"/>
                <a:cs typeface="Aharoni" panose="02010803020104030203" pitchFamily="2" charset="-79"/>
              </a:rPr>
              <a:t>, Cons </a:t>
            </a:r>
            <a:r>
              <a:rPr kumimoji="0" lang="en-US" sz="1200" b="0" i="0" u="none" strike="noStrike" kern="1200" cap="none" spc="0" normalizeH="0" baseline="0" noProof="0" dirty="0" err="1">
                <a:ln>
                  <a:noFill/>
                </a:ln>
                <a:solidFill>
                  <a:prstClr val="black">
                    <a:lumMod val="50000"/>
                    <a:lumOff val="50000"/>
                  </a:prstClr>
                </a:solidFill>
                <a:effectLst/>
                <a:uLnTx/>
                <a:uFillTx/>
                <a:latin typeface="HarmonyOS Sans SC"/>
                <a:cs typeface="Aharoni" panose="02010803020104030203" pitchFamily="2" charset="-79"/>
              </a:rPr>
              <a:t>Ectetur</a:t>
            </a:r>
            <a:r>
              <a:rPr kumimoji="0" lang="en-US" sz="1200" b="0" i="0" u="none" strike="noStrike" kern="1200" cap="none" spc="0" normalizeH="0" baseline="0" noProof="0" dirty="0">
                <a:ln>
                  <a:noFill/>
                </a:ln>
                <a:solidFill>
                  <a:prstClr val="black">
                    <a:lumMod val="50000"/>
                    <a:lumOff val="50000"/>
                  </a:prstClr>
                </a:solidFill>
                <a:effectLst/>
                <a:uLnTx/>
                <a:uFillTx/>
                <a:latin typeface="HarmonyOS Sans SC"/>
                <a:cs typeface="Aharoni" panose="02010803020104030203" pitchFamily="2" charset="-79"/>
              </a:rPr>
              <a:t> </a:t>
            </a:r>
            <a:r>
              <a:rPr kumimoji="0" lang="en-US" sz="1200" b="0" i="0" u="none" strike="noStrike" kern="1200" cap="none" spc="0" normalizeH="0" baseline="0" noProof="0" dirty="0" err="1">
                <a:ln>
                  <a:noFill/>
                </a:ln>
                <a:solidFill>
                  <a:prstClr val="black">
                    <a:lumMod val="50000"/>
                    <a:lumOff val="50000"/>
                  </a:prstClr>
                </a:solidFill>
                <a:effectLst/>
                <a:uLnTx/>
                <a:uFillTx/>
                <a:latin typeface="HarmonyOS Sans SC"/>
                <a:cs typeface="Aharoni" panose="02010803020104030203" pitchFamily="2" charset="-79"/>
              </a:rPr>
              <a:t>Adipis</a:t>
            </a:r>
            <a:r>
              <a:rPr kumimoji="0" lang="en-US" sz="1200" b="0" i="0" u="none" strike="noStrike" kern="1200" cap="none" spc="0" normalizeH="0" baseline="0" noProof="0" dirty="0">
                <a:ln>
                  <a:noFill/>
                </a:ln>
                <a:solidFill>
                  <a:prstClr val="black">
                    <a:lumMod val="50000"/>
                    <a:lumOff val="50000"/>
                  </a:prstClr>
                </a:solidFill>
                <a:effectLst/>
                <a:uLnTx/>
                <a:uFillTx/>
                <a:latin typeface="HarmonyOS Sans SC"/>
                <a:cs typeface="Aharoni" panose="02010803020104030203" pitchFamily="2" charset="-79"/>
              </a:rPr>
              <a:t> </a:t>
            </a:r>
            <a:r>
              <a:rPr kumimoji="0" lang="en-US" sz="1200" b="0" i="0" u="none" strike="noStrike" kern="1200" cap="none" spc="0" normalizeH="0" baseline="0" noProof="0" dirty="0" err="1">
                <a:ln>
                  <a:noFill/>
                </a:ln>
                <a:solidFill>
                  <a:prstClr val="black">
                    <a:lumMod val="50000"/>
                    <a:lumOff val="50000"/>
                  </a:prstClr>
                </a:solidFill>
                <a:effectLst/>
                <a:uLnTx/>
                <a:uFillTx/>
                <a:latin typeface="HarmonyOS Sans SC"/>
                <a:cs typeface="Aharoni" panose="02010803020104030203" pitchFamily="2" charset="-79"/>
              </a:rPr>
              <a:t>Cing</a:t>
            </a:r>
            <a:r>
              <a:rPr kumimoji="0" lang="en-US" sz="1200" b="0" i="0" u="none" strike="noStrike" kern="1200" cap="none" spc="0" normalizeH="0" baseline="0" noProof="0" dirty="0">
                <a:ln>
                  <a:noFill/>
                </a:ln>
                <a:solidFill>
                  <a:prstClr val="black">
                    <a:lumMod val="50000"/>
                    <a:lumOff val="50000"/>
                  </a:prstClr>
                </a:solidFill>
                <a:effectLst/>
                <a:uLnTx/>
                <a:uFillTx/>
                <a:latin typeface="HarmonyOS Sans SC"/>
                <a:cs typeface="Aharoni" panose="02010803020104030203" pitchFamily="2" charset="-79"/>
              </a:rPr>
              <a:t> </a:t>
            </a:r>
            <a:r>
              <a:rPr kumimoji="0" lang="en-US" sz="1200" b="0" i="0" u="none" strike="noStrike" kern="1200" cap="none" spc="0" normalizeH="0" baseline="0" noProof="0" dirty="0" err="1">
                <a:ln>
                  <a:noFill/>
                </a:ln>
                <a:solidFill>
                  <a:prstClr val="black">
                    <a:lumMod val="50000"/>
                    <a:lumOff val="50000"/>
                  </a:prstClr>
                </a:solidFill>
                <a:effectLst/>
                <a:uLnTx/>
                <a:uFillTx/>
                <a:latin typeface="HarmonyOS Sans SC"/>
                <a:cs typeface="Aharoni" panose="02010803020104030203" pitchFamily="2" charset="-79"/>
              </a:rPr>
              <a:t>Elit</a:t>
            </a:r>
            <a:r>
              <a:rPr kumimoji="0" lang="en-US" sz="1200" b="0" i="0" u="none" strike="noStrike" kern="1200" cap="none" spc="0" normalizeH="0" baseline="0" noProof="0" dirty="0">
                <a:ln>
                  <a:noFill/>
                </a:ln>
                <a:solidFill>
                  <a:prstClr val="black">
                    <a:lumMod val="50000"/>
                    <a:lumOff val="50000"/>
                  </a:prstClr>
                </a:solidFill>
                <a:effectLst/>
                <a:uLnTx/>
                <a:uFillTx/>
                <a:latin typeface="HarmonyOS Sans SC"/>
                <a:cs typeface="Aharoni" panose="02010803020104030203" pitchFamily="2" charset="-79"/>
              </a:rPr>
              <a:t>, Sed Do </a:t>
            </a:r>
            <a:r>
              <a:rPr kumimoji="0" lang="en-US" sz="1200" b="0" i="0" u="none" strike="noStrike" kern="1200" cap="none" spc="0" normalizeH="0" baseline="0" noProof="0" dirty="0" err="1">
                <a:ln>
                  <a:noFill/>
                </a:ln>
                <a:solidFill>
                  <a:prstClr val="black">
                    <a:lumMod val="50000"/>
                    <a:lumOff val="50000"/>
                  </a:prstClr>
                </a:solidFill>
                <a:effectLst/>
                <a:uLnTx/>
                <a:uFillTx/>
                <a:latin typeface="HarmonyOS Sans SC"/>
                <a:cs typeface="Aharoni" panose="02010803020104030203" pitchFamily="2" charset="-79"/>
              </a:rPr>
              <a:t>Eiusmod</a:t>
            </a:r>
            <a:r>
              <a:rPr kumimoji="0" lang="en-US" sz="1200" b="0" i="0" u="none" strike="noStrike" kern="1200" cap="none" spc="0" normalizeH="0" baseline="0" noProof="0" dirty="0">
                <a:ln>
                  <a:noFill/>
                </a:ln>
                <a:solidFill>
                  <a:prstClr val="black">
                    <a:lumMod val="50000"/>
                    <a:lumOff val="50000"/>
                  </a:prstClr>
                </a:solidFill>
                <a:effectLst/>
                <a:uLnTx/>
                <a:uFillTx/>
                <a:latin typeface="HarmonyOS Sans SC"/>
                <a:cs typeface="Aharoni" panose="02010803020104030203" pitchFamily="2" charset="-79"/>
              </a:rPr>
              <a:t> </a:t>
            </a:r>
            <a:r>
              <a:rPr kumimoji="0" lang="en-US" sz="1200" b="0" i="0" u="none" strike="noStrike" kern="1200" cap="none" spc="0" normalizeH="0" baseline="0" noProof="0" dirty="0" err="1">
                <a:ln>
                  <a:noFill/>
                </a:ln>
                <a:solidFill>
                  <a:prstClr val="black">
                    <a:lumMod val="50000"/>
                    <a:lumOff val="50000"/>
                  </a:prstClr>
                </a:solidFill>
                <a:effectLst/>
                <a:uLnTx/>
                <a:uFillTx/>
                <a:latin typeface="HarmonyOS Sans SC"/>
                <a:cs typeface="Aharoni" panose="02010803020104030203" pitchFamily="2" charset="-79"/>
              </a:rPr>
              <a:t>Tempor</a:t>
            </a:r>
            <a:r>
              <a:rPr kumimoji="0" lang="en-US" sz="1200" b="0" i="0" u="none" strike="noStrike" kern="1200" cap="none" spc="0" normalizeH="0" baseline="0" noProof="0" dirty="0">
                <a:ln>
                  <a:noFill/>
                </a:ln>
                <a:solidFill>
                  <a:prstClr val="black">
                    <a:lumMod val="50000"/>
                    <a:lumOff val="50000"/>
                  </a:prstClr>
                </a:solidFill>
                <a:effectLst/>
                <a:uLnTx/>
                <a:uFillTx/>
                <a:latin typeface="HarmonyOS Sans SC"/>
                <a:cs typeface="Aharoni" panose="02010803020104030203" pitchFamily="2" charset="-79"/>
              </a:rPr>
              <a:t> </a:t>
            </a:r>
            <a:r>
              <a:rPr kumimoji="0" lang="en-US" sz="1200" b="0" i="0" u="none" strike="noStrike" kern="1200" cap="none" spc="0" normalizeH="0" baseline="0" noProof="0" dirty="0" err="1">
                <a:ln>
                  <a:noFill/>
                </a:ln>
                <a:solidFill>
                  <a:prstClr val="black">
                    <a:lumMod val="50000"/>
                    <a:lumOff val="50000"/>
                  </a:prstClr>
                </a:solidFill>
                <a:effectLst/>
                <a:uLnTx/>
                <a:uFillTx/>
                <a:latin typeface="HarmonyOS Sans SC"/>
                <a:cs typeface="Aharoni" panose="02010803020104030203" pitchFamily="2" charset="-79"/>
              </a:rPr>
              <a:t>Incidi</a:t>
            </a:r>
            <a:r>
              <a:rPr kumimoji="0" lang="en-US" sz="1200" b="0" i="0" u="none" strike="noStrike" kern="1200" cap="none" spc="0" normalizeH="0" baseline="0" noProof="0" dirty="0">
                <a:ln>
                  <a:noFill/>
                </a:ln>
                <a:solidFill>
                  <a:prstClr val="black">
                    <a:lumMod val="50000"/>
                    <a:lumOff val="50000"/>
                  </a:prstClr>
                </a:solidFill>
                <a:effectLst/>
                <a:uLnTx/>
                <a:uFillTx/>
                <a:latin typeface="HarmonyOS Sans SC"/>
                <a:cs typeface="Aharoni" panose="02010803020104030203" pitchFamily="2" charset="-79"/>
              </a:rPr>
              <a:t> </a:t>
            </a:r>
            <a:r>
              <a:rPr kumimoji="0" lang="en-US" sz="1200" b="0" i="0" u="none" strike="noStrike" kern="1200" cap="none" spc="0" normalizeH="0" baseline="0" noProof="0" dirty="0" err="1">
                <a:ln>
                  <a:noFill/>
                </a:ln>
                <a:solidFill>
                  <a:prstClr val="black">
                    <a:lumMod val="50000"/>
                    <a:lumOff val="50000"/>
                  </a:prstClr>
                </a:solidFill>
                <a:effectLst/>
                <a:uLnTx/>
                <a:uFillTx/>
                <a:latin typeface="HarmonyOS Sans SC"/>
                <a:cs typeface="Aharoni" panose="02010803020104030203" pitchFamily="2" charset="-79"/>
              </a:rPr>
              <a:t>Dunt</a:t>
            </a:r>
            <a:r>
              <a:rPr kumimoji="0" lang="en-US" sz="1200" b="0" i="0" u="none" strike="noStrike" kern="1200" cap="none" spc="0" normalizeH="0" baseline="0" noProof="0" dirty="0">
                <a:ln>
                  <a:noFill/>
                </a:ln>
                <a:solidFill>
                  <a:prstClr val="black">
                    <a:lumMod val="50000"/>
                    <a:lumOff val="50000"/>
                  </a:prstClr>
                </a:solidFill>
                <a:effectLst/>
                <a:uLnTx/>
                <a:uFillTx/>
                <a:latin typeface="HarmonyOS Sans SC"/>
                <a:cs typeface="Aharoni" panose="02010803020104030203" pitchFamily="2" charset="-79"/>
              </a:rPr>
              <a:t> </a:t>
            </a:r>
            <a:r>
              <a:rPr kumimoji="0" lang="en-US" sz="1200" b="0" i="0" u="none" strike="noStrike" kern="1200" cap="none" spc="0" normalizeH="0" baseline="0" noProof="0" dirty="0" err="1">
                <a:ln>
                  <a:noFill/>
                </a:ln>
                <a:solidFill>
                  <a:prstClr val="black">
                    <a:lumMod val="50000"/>
                    <a:lumOff val="50000"/>
                  </a:prstClr>
                </a:solidFill>
                <a:effectLst/>
                <a:uLnTx/>
                <a:uFillTx/>
                <a:latin typeface="HarmonyOS Sans SC"/>
                <a:cs typeface="Aharoni" panose="02010803020104030203" pitchFamily="2" charset="-79"/>
              </a:rPr>
              <a:t>Ectetur</a:t>
            </a:r>
            <a:r>
              <a:rPr kumimoji="0" lang="en-US" sz="1200" b="0" i="0" u="none" strike="noStrike" kern="1200" cap="none" spc="0" normalizeH="0" baseline="0" noProof="0" dirty="0">
                <a:ln>
                  <a:noFill/>
                </a:ln>
                <a:solidFill>
                  <a:prstClr val="black">
                    <a:lumMod val="50000"/>
                    <a:lumOff val="50000"/>
                  </a:prstClr>
                </a:solidFill>
                <a:effectLst/>
                <a:uLnTx/>
                <a:uFillTx/>
                <a:latin typeface="HarmonyOS Sans SC"/>
                <a:cs typeface="Aharoni" panose="02010803020104030203" pitchFamily="2" charset="-79"/>
              </a:rPr>
              <a:t> </a:t>
            </a:r>
            <a:r>
              <a:rPr kumimoji="0" lang="en-US" sz="1200" b="0" i="0" u="none" strike="noStrike" kern="1200" cap="none" spc="0" normalizeH="0" baseline="0" noProof="0" dirty="0" err="1">
                <a:ln>
                  <a:noFill/>
                </a:ln>
                <a:solidFill>
                  <a:prstClr val="black">
                    <a:lumMod val="50000"/>
                    <a:lumOff val="50000"/>
                  </a:prstClr>
                </a:solidFill>
                <a:effectLst/>
                <a:uLnTx/>
                <a:uFillTx/>
                <a:latin typeface="HarmonyOS Sans SC"/>
                <a:cs typeface="Aharoni" panose="02010803020104030203" pitchFamily="2" charset="-79"/>
              </a:rPr>
              <a:t>Adipis</a:t>
            </a:r>
            <a:r>
              <a:rPr kumimoji="0" lang="en-US" sz="1200" b="0" i="0" u="none" strike="noStrike" kern="1200" cap="none" spc="0" normalizeH="0" baseline="0" noProof="0" dirty="0">
                <a:ln>
                  <a:noFill/>
                </a:ln>
                <a:solidFill>
                  <a:prstClr val="black">
                    <a:lumMod val="50000"/>
                    <a:lumOff val="50000"/>
                  </a:prstClr>
                </a:solidFill>
                <a:effectLst/>
                <a:uLnTx/>
                <a:uFillTx/>
                <a:latin typeface="HarmonyOS Sans SC"/>
                <a:cs typeface="Aharoni" panose="02010803020104030203" pitchFamily="2" charset="-79"/>
              </a:rPr>
              <a:t> </a:t>
            </a:r>
            <a:r>
              <a:rPr kumimoji="0" lang="en-US" sz="1200" b="0" i="0" u="none" strike="noStrike" kern="1200" cap="none" spc="0" normalizeH="0" baseline="0" noProof="0" dirty="0" err="1">
                <a:ln>
                  <a:noFill/>
                </a:ln>
                <a:solidFill>
                  <a:prstClr val="black">
                    <a:lumMod val="50000"/>
                    <a:lumOff val="50000"/>
                  </a:prstClr>
                </a:solidFill>
                <a:effectLst/>
                <a:uLnTx/>
                <a:uFillTx/>
                <a:latin typeface="HarmonyOS Sans SC"/>
                <a:cs typeface="Aharoni" panose="02010803020104030203" pitchFamily="2" charset="-79"/>
              </a:rPr>
              <a:t>Cing</a:t>
            </a:r>
            <a:r>
              <a:rPr kumimoji="0" lang="en-US" sz="1200" b="0" i="0" u="none" strike="noStrike" kern="1200" cap="none" spc="0" normalizeH="0" baseline="0" noProof="0" dirty="0">
                <a:ln>
                  <a:noFill/>
                </a:ln>
                <a:solidFill>
                  <a:prstClr val="black">
                    <a:lumMod val="50000"/>
                    <a:lumOff val="50000"/>
                  </a:prstClr>
                </a:solidFill>
                <a:effectLst/>
                <a:uLnTx/>
                <a:uFillTx/>
                <a:latin typeface="HarmonyOS Sans SC"/>
                <a:cs typeface="Aharoni" panose="02010803020104030203" pitchFamily="2" charset="-79"/>
              </a:rPr>
              <a:t> </a:t>
            </a:r>
            <a:r>
              <a:rPr kumimoji="0" lang="en-US" sz="1200" b="0" i="0" u="none" strike="noStrike" kern="1200" cap="none" spc="0" normalizeH="0" baseline="0" noProof="0" dirty="0" err="1">
                <a:ln>
                  <a:noFill/>
                </a:ln>
                <a:solidFill>
                  <a:prstClr val="black">
                    <a:lumMod val="50000"/>
                    <a:lumOff val="50000"/>
                  </a:prstClr>
                </a:solidFill>
                <a:effectLst/>
                <a:uLnTx/>
                <a:uFillTx/>
                <a:latin typeface="HarmonyOS Sans SC"/>
                <a:cs typeface="Aharoni" panose="02010803020104030203" pitchFamily="2" charset="-79"/>
              </a:rPr>
              <a:t>Elit</a:t>
            </a:r>
            <a:r>
              <a:rPr kumimoji="0" lang="en-US" sz="1200" b="0" i="0" u="none" strike="noStrike" kern="1200" cap="none" spc="0" normalizeH="0" baseline="0" noProof="0" dirty="0">
                <a:ln>
                  <a:noFill/>
                </a:ln>
                <a:solidFill>
                  <a:prstClr val="black">
                    <a:lumMod val="50000"/>
                    <a:lumOff val="50000"/>
                  </a:prstClr>
                </a:solidFill>
                <a:effectLst/>
                <a:uLnTx/>
                <a:uFillTx/>
                <a:latin typeface="HarmonyOS Sans SC"/>
                <a:cs typeface="Aharoni" panose="02010803020104030203" pitchFamily="2" charset="-79"/>
              </a:rPr>
              <a:t>, Sed </a:t>
            </a:r>
            <a:r>
              <a:rPr kumimoji="0" lang="en-US" sz="1200" b="0" i="0" u="none" strike="noStrike" kern="1200" cap="none" spc="0" normalizeH="0" baseline="0" noProof="0" dirty="0" err="1">
                <a:ln>
                  <a:noFill/>
                </a:ln>
                <a:solidFill>
                  <a:prstClr val="black">
                    <a:lumMod val="50000"/>
                    <a:lumOff val="50000"/>
                  </a:prstClr>
                </a:solidFill>
                <a:effectLst/>
                <a:uLnTx/>
                <a:uFillTx/>
                <a:latin typeface="HarmonyOS Sans SC"/>
                <a:cs typeface="Aharoni" panose="02010803020104030203" pitchFamily="2" charset="-79"/>
              </a:rPr>
              <a:t>Dunt</a:t>
            </a:r>
            <a:r>
              <a:rPr kumimoji="0" lang="en-US" sz="1200" b="0" i="0" u="none" strike="noStrike" kern="1200" cap="none" spc="0" normalizeH="0" baseline="0" noProof="0" dirty="0">
                <a:ln>
                  <a:noFill/>
                </a:ln>
                <a:solidFill>
                  <a:prstClr val="black">
                    <a:lumMod val="50000"/>
                    <a:lumOff val="50000"/>
                  </a:prstClr>
                </a:solidFill>
                <a:effectLst/>
                <a:uLnTx/>
                <a:uFillTx/>
                <a:latin typeface="HarmonyOS Sans SC"/>
                <a:cs typeface="Aharoni" panose="02010803020104030203" pitchFamily="2" charset="-79"/>
              </a:rPr>
              <a:t> </a:t>
            </a:r>
            <a:r>
              <a:rPr kumimoji="0" lang="en-US" sz="1200" b="0" i="0" u="none" strike="noStrike" kern="1200" cap="none" spc="0" normalizeH="0" baseline="0" noProof="0" dirty="0" err="1">
                <a:ln>
                  <a:noFill/>
                </a:ln>
                <a:solidFill>
                  <a:prstClr val="black">
                    <a:lumMod val="50000"/>
                    <a:lumOff val="50000"/>
                  </a:prstClr>
                </a:solidFill>
                <a:effectLst/>
                <a:uLnTx/>
                <a:uFillTx/>
                <a:latin typeface="HarmonyOS Sans SC"/>
                <a:cs typeface="Aharoni" panose="02010803020104030203" pitchFamily="2" charset="-79"/>
              </a:rPr>
              <a:t>Ectetur</a:t>
            </a:r>
            <a:r>
              <a:rPr kumimoji="0" lang="en-US" sz="1200" b="0" i="0" u="none" strike="noStrike" kern="1200" cap="none" spc="0" normalizeH="0" baseline="0" noProof="0" dirty="0">
                <a:ln>
                  <a:noFill/>
                </a:ln>
                <a:solidFill>
                  <a:prstClr val="black">
                    <a:lumMod val="50000"/>
                    <a:lumOff val="50000"/>
                  </a:prstClr>
                </a:solidFill>
                <a:effectLst/>
                <a:uLnTx/>
                <a:uFillTx/>
                <a:latin typeface="HarmonyOS Sans SC"/>
                <a:cs typeface="Aharoni" panose="02010803020104030203" pitchFamily="2" charset="-79"/>
              </a:rPr>
              <a:t> </a:t>
            </a:r>
            <a:r>
              <a:rPr kumimoji="0" lang="en-US" sz="1200" b="0" i="0" u="none" strike="noStrike" kern="1200" cap="none" spc="0" normalizeH="0" baseline="0" noProof="0" dirty="0" err="1">
                <a:ln>
                  <a:noFill/>
                </a:ln>
                <a:solidFill>
                  <a:prstClr val="black">
                    <a:lumMod val="50000"/>
                    <a:lumOff val="50000"/>
                  </a:prstClr>
                </a:solidFill>
                <a:effectLst/>
                <a:uLnTx/>
                <a:uFillTx/>
                <a:latin typeface="HarmonyOS Sans SC"/>
                <a:cs typeface="Aharoni" panose="02010803020104030203" pitchFamily="2" charset="-79"/>
              </a:rPr>
              <a:t>Adipis</a:t>
            </a:r>
            <a:r>
              <a:rPr kumimoji="0" lang="en-US" sz="1200" b="0" i="0" u="none" strike="noStrike" kern="1200" cap="none" spc="0" normalizeH="0" baseline="0" noProof="0" dirty="0">
                <a:ln>
                  <a:noFill/>
                </a:ln>
                <a:solidFill>
                  <a:prstClr val="black">
                    <a:lumMod val="50000"/>
                    <a:lumOff val="50000"/>
                  </a:prstClr>
                </a:solidFill>
                <a:effectLst/>
                <a:uLnTx/>
                <a:uFillTx/>
                <a:latin typeface="HarmonyOS Sans SC"/>
                <a:cs typeface="Aharoni" panose="02010803020104030203" pitchFamily="2" charset="-79"/>
              </a:rPr>
              <a:t> </a:t>
            </a:r>
            <a:r>
              <a:rPr kumimoji="0" lang="en-US" sz="1200" b="0" i="0" u="none" strike="noStrike" kern="1200" cap="none" spc="0" normalizeH="0" baseline="0" noProof="0" dirty="0" err="1">
                <a:ln>
                  <a:noFill/>
                </a:ln>
                <a:solidFill>
                  <a:prstClr val="black">
                    <a:lumMod val="50000"/>
                    <a:lumOff val="50000"/>
                  </a:prstClr>
                </a:solidFill>
                <a:effectLst/>
                <a:uLnTx/>
                <a:uFillTx/>
                <a:latin typeface="HarmonyOS Sans SC"/>
                <a:cs typeface="Aharoni" panose="02010803020104030203" pitchFamily="2" charset="-79"/>
              </a:rPr>
              <a:t>Cing</a:t>
            </a:r>
            <a:r>
              <a:rPr kumimoji="0" lang="en-US" sz="1200" b="0" i="0" u="none" strike="noStrike" kern="1200" cap="none" spc="0" normalizeH="0" baseline="0" noProof="0" dirty="0">
                <a:ln>
                  <a:noFill/>
                </a:ln>
                <a:solidFill>
                  <a:prstClr val="black">
                    <a:lumMod val="50000"/>
                    <a:lumOff val="50000"/>
                  </a:prstClr>
                </a:solidFill>
                <a:effectLst/>
                <a:uLnTx/>
                <a:uFillTx/>
                <a:latin typeface="HarmonyOS Sans SC"/>
                <a:cs typeface="Aharoni" panose="02010803020104030203" pitchFamily="2" charset="-79"/>
              </a:rPr>
              <a:t> </a:t>
            </a:r>
            <a:r>
              <a:rPr kumimoji="0" lang="en-US" sz="1200" b="0" i="0" u="none" strike="noStrike" kern="1200" cap="none" spc="0" normalizeH="0" baseline="0" noProof="0" dirty="0" err="1">
                <a:ln>
                  <a:noFill/>
                </a:ln>
                <a:solidFill>
                  <a:prstClr val="black">
                    <a:lumMod val="50000"/>
                    <a:lumOff val="50000"/>
                  </a:prstClr>
                </a:solidFill>
                <a:effectLst/>
                <a:uLnTx/>
                <a:uFillTx/>
                <a:latin typeface="HarmonyOS Sans SC"/>
                <a:cs typeface="Aharoni" panose="02010803020104030203" pitchFamily="2" charset="-79"/>
              </a:rPr>
              <a:t>Elit</a:t>
            </a:r>
            <a:r>
              <a:rPr kumimoji="0" lang="en-US" sz="1200" b="0" i="0" u="none" strike="noStrike" kern="1200" cap="none" spc="0" normalizeH="0" baseline="0" noProof="0" dirty="0">
                <a:ln>
                  <a:noFill/>
                </a:ln>
                <a:solidFill>
                  <a:prstClr val="black">
                    <a:lumMod val="50000"/>
                    <a:lumOff val="50000"/>
                  </a:prstClr>
                </a:solidFill>
                <a:effectLst/>
                <a:uLnTx/>
                <a:uFillTx/>
                <a:latin typeface="HarmonyOS Sans SC"/>
                <a:cs typeface="Aharoni" panose="02010803020104030203" pitchFamily="2" charset="-79"/>
              </a:rPr>
              <a:t>, </a:t>
            </a:r>
            <a:r>
              <a:rPr kumimoji="0" lang="en-US" sz="1200" b="0" i="0" u="none" strike="noStrike" kern="1200" cap="none" spc="0" normalizeH="0" baseline="0" noProof="0" dirty="0" err="1">
                <a:ln>
                  <a:noFill/>
                </a:ln>
                <a:solidFill>
                  <a:prstClr val="black">
                    <a:lumMod val="50000"/>
                    <a:lumOff val="50000"/>
                  </a:prstClr>
                </a:solidFill>
                <a:effectLst/>
                <a:uLnTx/>
                <a:uFillTx/>
                <a:latin typeface="HarmonyOS Sans SC"/>
                <a:cs typeface="Aharoni" panose="02010803020104030203" pitchFamily="2" charset="-79"/>
              </a:rPr>
              <a:t>Dunt</a:t>
            </a:r>
            <a:r>
              <a:rPr kumimoji="0" lang="en-US" sz="1200" b="0" i="0" u="none" strike="noStrike" kern="1200" cap="none" spc="0" normalizeH="0" baseline="0" noProof="0" dirty="0">
                <a:ln>
                  <a:noFill/>
                </a:ln>
                <a:solidFill>
                  <a:prstClr val="black">
                    <a:lumMod val="50000"/>
                    <a:lumOff val="50000"/>
                  </a:prstClr>
                </a:solidFill>
                <a:effectLst/>
                <a:uLnTx/>
                <a:uFillTx/>
                <a:latin typeface="HarmonyOS Sans SC"/>
                <a:cs typeface="Aharoni" panose="02010803020104030203" pitchFamily="2" charset="-79"/>
              </a:rPr>
              <a:t> </a:t>
            </a:r>
            <a:r>
              <a:rPr kumimoji="0" lang="en-US" sz="1200" b="0" i="0" u="none" strike="noStrike" kern="1200" cap="none" spc="0" normalizeH="0" baseline="0" noProof="0" dirty="0" err="1">
                <a:ln>
                  <a:noFill/>
                </a:ln>
                <a:solidFill>
                  <a:prstClr val="black">
                    <a:lumMod val="50000"/>
                    <a:lumOff val="50000"/>
                  </a:prstClr>
                </a:solidFill>
                <a:effectLst/>
                <a:uLnTx/>
                <a:uFillTx/>
                <a:latin typeface="HarmonyOS Sans SC"/>
                <a:cs typeface="Aharoni" panose="02010803020104030203" pitchFamily="2" charset="-79"/>
              </a:rPr>
              <a:t>Ectetur</a:t>
            </a:r>
            <a:r>
              <a:rPr kumimoji="0" lang="en-US" sz="1200" b="0" i="0" u="none" strike="noStrike" kern="1200" cap="none" spc="0" normalizeH="0" baseline="0" noProof="0" dirty="0">
                <a:ln>
                  <a:noFill/>
                </a:ln>
                <a:solidFill>
                  <a:prstClr val="black">
                    <a:lumMod val="50000"/>
                    <a:lumOff val="50000"/>
                  </a:prstClr>
                </a:solidFill>
                <a:effectLst/>
                <a:uLnTx/>
                <a:uFillTx/>
                <a:latin typeface="HarmonyOS Sans SC"/>
                <a:cs typeface="Aharoni" panose="02010803020104030203" pitchFamily="2" charset="-79"/>
              </a:rPr>
              <a:t> </a:t>
            </a:r>
            <a:r>
              <a:rPr kumimoji="0" lang="en-US" sz="1200" b="0" i="0" u="none" strike="noStrike" kern="1200" cap="none" spc="0" normalizeH="0" baseline="0" noProof="0" dirty="0" err="1">
                <a:ln>
                  <a:noFill/>
                </a:ln>
                <a:solidFill>
                  <a:prstClr val="black">
                    <a:lumMod val="50000"/>
                    <a:lumOff val="50000"/>
                  </a:prstClr>
                </a:solidFill>
                <a:effectLst/>
                <a:uLnTx/>
                <a:uFillTx/>
                <a:latin typeface="HarmonyOS Sans SC"/>
                <a:cs typeface="Aharoni" panose="02010803020104030203" pitchFamily="2" charset="-79"/>
              </a:rPr>
              <a:t>Adipis</a:t>
            </a:r>
            <a:r>
              <a:rPr kumimoji="0" lang="en-US" sz="1200" b="0" i="0" u="none" strike="noStrike" kern="1200" cap="none" spc="0" normalizeH="0" baseline="0" noProof="0" dirty="0">
                <a:ln>
                  <a:noFill/>
                </a:ln>
                <a:solidFill>
                  <a:prstClr val="black">
                    <a:lumMod val="50000"/>
                    <a:lumOff val="50000"/>
                  </a:prstClr>
                </a:solidFill>
                <a:effectLst/>
                <a:uLnTx/>
                <a:uFillTx/>
                <a:latin typeface="HarmonyOS Sans SC"/>
                <a:cs typeface="Aharoni" panose="02010803020104030203" pitchFamily="2" charset="-79"/>
              </a:rPr>
              <a:t> </a:t>
            </a:r>
            <a:r>
              <a:rPr kumimoji="0" lang="en-US" sz="1200" b="0" i="0" u="none" strike="noStrike" kern="1200" cap="none" spc="0" normalizeH="0" baseline="0" noProof="0" dirty="0" err="1">
                <a:ln>
                  <a:noFill/>
                </a:ln>
                <a:solidFill>
                  <a:prstClr val="black">
                    <a:lumMod val="50000"/>
                    <a:lumOff val="50000"/>
                  </a:prstClr>
                </a:solidFill>
                <a:effectLst/>
                <a:uLnTx/>
                <a:uFillTx/>
                <a:latin typeface="HarmonyOS Sans SC"/>
                <a:cs typeface="Aharoni" panose="02010803020104030203" pitchFamily="2" charset="-79"/>
              </a:rPr>
              <a:t>Cing</a:t>
            </a:r>
            <a:r>
              <a:rPr kumimoji="0" lang="en-US" sz="1200" b="0" i="0" u="none" strike="noStrike" kern="1200" cap="none" spc="0" normalizeH="0" baseline="0" noProof="0" dirty="0">
                <a:ln>
                  <a:noFill/>
                </a:ln>
                <a:solidFill>
                  <a:prstClr val="black">
                    <a:lumMod val="50000"/>
                    <a:lumOff val="50000"/>
                  </a:prstClr>
                </a:solidFill>
                <a:effectLst/>
                <a:uLnTx/>
                <a:uFillTx/>
                <a:latin typeface="HarmonyOS Sans SC"/>
                <a:cs typeface="Aharoni" panose="02010803020104030203" pitchFamily="2" charset="-79"/>
              </a:rPr>
              <a:t> </a:t>
            </a:r>
            <a:r>
              <a:rPr kumimoji="0" lang="en-US" sz="1200" b="0" i="0" u="none" strike="noStrike" kern="1200" cap="none" spc="0" normalizeH="0" baseline="0" noProof="0" dirty="0" err="1">
                <a:ln>
                  <a:noFill/>
                </a:ln>
                <a:solidFill>
                  <a:prstClr val="black">
                    <a:lumMod val="50000"/>
                    <a:lumOff val="50000"/>
                  </a:prstClr>
                </a:solidFill>
                <a:effectLst/>
                <a:uLnTx/>
                <a:uFillTx/>
                <a:latin typeface="HarmonyOS Sans SC"/>
                <a:cs typeface="Aharoni" panose="02010803020104030203" pitchFamily="2" charset="-79"/>
              </a:rPr>
              <a:t>Elit</a:t>
            </a:r>
            <a:r>
              <a:rPr kumimoji="0" lang="en-US" sz="1200" b="0" i="0" u="none" strike="noStrike" kern="1200" cap="none" spc="0" normalizeH="0" baseline="0" noProof="0" dirty="0">
                <a:ln>
                  <a:noFill/>
                </a:ln>
                <a:solidFill>
                  <a:prstClr val="black">
                    <a:lumMod val="50000"/>
                    <a:lumOff val="50000"/>
                  </a:prstClr>
                </a:solidFill>
                <a:effectLst/>
                <a:uLnTx/>
                <a:uFillTx/>
                <a:latin typeface="HarmonyOS Sans SC"/>
                <a:cs typeface="Aharoni" panose="02010803020104030203" pitchFamily="2" charset="-79"/>
              </a:rPr>
              <a:t>,</a:t>
            </a:r>
            <a:r>
              <a:rPr kumimoji="0" lang="id-ID" sz="1200" b="0" i="0" u="none" strike="noStrike" kern="1200" cap="none" spc="0" normalizeH="0" baseline="0" noProof="0" dirty="0">
                <a:ln>
                  <a:noFill/>
                </a:ln>
                <a:solidFill>
                  <a:prstClr val="black">
                    <a:lumMod val="50000"/>
                    <a:lumOff val="50000"/>
                  </a:prstClr>
                </a:solidFill>
                <a:effectLst/>
                <a:uLnTx/>
                <a:uFillTx/>
                <a:latin typeface="HarmonyOS Sans SC"/>
                <a:cs typeface="Aharoni" panose="02010803020104030203" pitchFamily="2" charset="-79"/>
              </a:rPr>
              <a:t> </a:t>
            </a:r>
            <a:r>
              <a:rPr kumimoji="0" lang="en-US" sz="1200" b="0" i="0" u="none" strike="noStrike" kern="1200" cap="none" spc="0" normalizeH="0" baseline="0" noProof="0" dirty="0">
                <a:ln>
                  <a:noFill/>
                </a:ln>
                <a:solidFill>
                  <a:prstClr val="black">
                    <a:lumMod val="50000"/>
                    <a:lumOff val="50000"/>
                  </a:prstClr>
                </a:solidFill>
                <a:effectLst/>
                <a:uLnTx/>
                <a:uFillTx/>
                <a:latin typeface="HarmonyOS Sans SC"/>
                <a:cs typeface="Aharoni" panose="02010803020104030203" pitchFamily="2" charset="-79"/>
              </a:rPr>
              <a:t>Ipsum Dolor Sit </a:t>
            </a:r>
            <a:r>
              <a:rPr kumimoji="0" lang="en-US" sz="1200" b="0" i="0" u="none" strike="noStrike" kern="1200" cap="none" spc="0" normalizeH="0" baseline="0" noProof="0" dirty="0" err="1">
                <a:ln>
                  <a:noFill/>
                </a:ln>
                <a:solidFill>
                  <a:prstClr val="black">
                    <a:lumMod val="50000"/>
                    <a:lumOff val="50000"/>
                  </a:prstClr>
                </a:solidFill>
                <a:effectLst/>
                <a:uLnTx/>
                <a:uFillTx/>
                <a:latin typeface="HarmonyOS Sans SC"/>
                <a:cs typeface="Aharoni" panose="02010803020104030203" pitchFamily="2" charset="-79"/>
              </a:rPr>
              <a:t>Amet</a:t>
            </a:r>
            <a:r>
              <a:rPr kumimoji="0" lang="en-US" sz="1200" b="0" i="0" u="none" strike="noStrike" kern="1200" cap="none" spc="0" normalizeH="0" baseline="0" noProof="0" dirty="0">
                <a:ln>
                  <a:noFill/>
                </a:ln>
                <a:solidFill>
                  <a:prstClr val="black">
                    <a:lumMod val="50000"/>
                    <a:lumOff val="50000"/>
                  </a:prstClr>
                </a:solidFill>
                <a:effectLst/>
                <a:uLnTx/>
                <a:uFillTx/>
                <a:latin typeface="HarmonyOS Sans SC"/>
                <a:cs typeface="Aharoni" panose="02010803020104030203" pitchFamily="2" charset="-79"/>
              </a:rPr>
              <a:t>, Cons </a:t>
            </a:r>
            <a:r>
              <a:rPr kumimoji="0" lang="en-US" sz="1200" b="0" i="0" u="none" strike="noStrike" kern="1200" cap="none" spc="0" normalizeH="0" baseline="0" noProof="0" dirty="0" err="1">
                <a:ln>
                  <a:noFill/>
                </a:ln>
                <a:solidFill>
                  <a:prstClr val="black">
                    <a:lumMod val="50000"/>
                    <a:lumOff val="50000"/>
                  </a:prstClr>
                </a:solidFill>
                <a:effectLst/>
                <a:uLnTx/>
                <a:uFillTx/>
                <a:latin typeface="HarmonyOS Sans SC"/>
                <a:cs typeface="Aharoni" panose="02010803020104030203" pitchFamily="2" charset="-79"/>
              </a:rPr>
              <a:t>Ectetur</a:t>
            </a:r>
            <a:r>
              <a:rPr kumimoji="0" lang="en-US" sz="1200" b="0" i="0" u="none" strike="noStrike" kern="1200" cap="none" spc="0" normalizeH="0" baseline="0" noProof="0" dirty="0">
                <a:ln>
                  <a:noFill/>
                </a:ln>
                <a:solidFill>
                  <a:prstClr val="black">
                    <a:lumMod val="50000"/>
                    <a:lumOff val="50000"/>
                  </a:prstClr>
                </a:solidFill>
                <a:effectLst/>
                <a:uLnTx/>
                <a:uFillTx/>
                <a:latin typeface="HarmonyOS Sans SC"/>
                <a:cs typeface="Aharoni" panose="02010803020104030203" pitchFamily="2" charset="-79"/>
              </a:rPr>
              <a:t> </a:t>
            </a:r>
            <a:r>
              <a:rPr kumimoji="0" lang="en-US" sz="1200" b="0" i="0" u="none" strike="noStrike" kern="1200" cap="none" spc="0" normalizeH="0" baseline="0" noProof="0" dirty="0" err="1">
                <a:ln>
                  <a:noFill/>
                </a:ln>
                <a:solidFill>
                  <a:prstClr val="black">
                    <a:lumMod val="50000"/>
                    <a:lumOff val="50000"/>
                  </a:prstClr>
                </a:solidFill>
                <a:effectLst/>
                <a:uLnTx/>
                <a:uFillTx/>
                <a:latin typeface="HarmonyOS Sans SC"/>
                <a:cs typeface="Aharoni" panose="02010803020104030203" pitchFamily="2" charset="-79"/>
              </a:rPr>
              <a:t>Adipis</a:t>
            </a:r>
            <a:r>
              <a:rPr kumimoji="0" lang="en-US" sz="1200" b="0" i="0" u="none" strike="noStrike" kern="1200" cap="none" spc="0" normalizeH="0" baseline="0" noProof="0" dirty="0">
                <a:ln>
                  <a:noFill/>
                </a:ln>
                <a:solidFill>
                  <a:prstClr val="black">
                    <a:lumMod val="50000"/>
                    <a:lumOff val="50000"/>
                  </a:prstClr>
                </a:solidFill>
                <a:effectLst/>
                <a:uLnTx/>
                <a:uFillTx/>
                <a:latin typeface="HarmonyOS Sans SC"/>
                <a:cs typeface="Aharoni" panose="02010803020104030203" pitchFamily="2" charset="-79"/>
              </a:rPr>
              <a:t> </a:t>
            </a:r>
            <a:r>
              <a:rPr kumimoji="0" lang="en-US" sz="1200" b="0" i="0" u="none" strike="noStrike" kern="1200" cap="none" spc="0" normalizeH="0" baseline="0" noProof="0" dirty="0" err="1">
                <a:ln>
                  <a:noFill/>
                </a:ln>
                <a:solidFill>
                  <a:prstClr val="black">
                    <a:lumMod val="50000"/>
                    <a:lumOff val="50000"/>
                  </a:prstClr>
                </a:solidFill>
                <a:effectLst/>
                <a:uLnTx/>
                <a:uFillTx/>
                <a:latin typeface="HarmonyOS Sans SC"/>
                <a:cs typeface="Aharoni" panose="02010803020104030203" pitchFamily="2" charset="-79"/>
              </a:rPr>
              <a:t>Cing</a:t>
            </a:r>
            <a:r>
              <a:rPr kumimoji="0" lang="en-US" sz="1200" b="0" i="0" u="none" strike="noStrike" kern="1200" cap="none" spc="0" normalizeH="0" baseline="0" noProof="0" dirty="0">
                <a:ln>
                  <a:noFill/>
                </a:ln>
                <a:solidFill>
                  <a:prstClr val="black">
                    <a:lumMod val="50000"/>
                    <a:lumOff val="50000"/>
                  </a:prstClr>
                </a:solidFill>
                <a:effectLst/>
                <a:uLnTx/>
                <a:uFillTx/>
                <a:latin typeface="HarmonyOS Sans SC"/>
                <a:cs typeface="Aharoni" panose="02010803020104030203" pitchFamily="2" charset="-79"/>
              </a:rPr>
              <a:t> </a:t>
            </a:r>
            <a:r>
              <a:rPr kumimoji="0" lang="en-US" sz="1200" b="0" i="0" u="none" strike="noStrike" kern="1200" cap="none" spc="0" normalizeH="0" baseline="0" noProof="0" dirty="0" err="1">
                <a:ln>
                  <a:noFill/>
                </a:ln>
                <a:solidFill>
                  <a:prstClr val="black">
                    <a:lumMod val="50000"/>
                    <a:lumOff val="50000"/>
                  </a:prstClr>
                </a:solidFill>
                <a:effectLst/>
                <a:uLnTx/>
                <a:uFillTx/>
                <a:latin typeface="HarmonyOS Sans SC"/>
                <a:cs typeface="Aharoni" panose="02010803020104030203" pitchFamily="2" charset="-79"/>
              </a:rPr>
              <a:t>Elit</a:t>
            </a:r>
            <a:r>
              <a:rPr kumimoji="0" lang="en-US" sz="1200" b="0" i="0" u="none" strike="noStrike" kern="1200" cap="none" spc="0" normalizeH="0" baseline="0" noProof="0" dirty="0">
                <a:ln>
                  <a:noFill/>
                </a:ln>
                <a:solidFill>
                  <a:prstClr val="black">
                    <a:lumMod val="50000"/>
                    <a:lumOff val="50000"/>
                  </a:prstClr>
                </a:solidFill>
                <a:effectLst/>
                <a:uLnTx/>
                <a:uFillTx/>
                <a:latin typeface="HarmonyOS Sans SC"/>
                <a:cs typeface="Aharoni" panose="02010803020104030203" pitchFamily="2" charset="-79"/>
              </a:rPr>
              <a:t>, Sed Do </a:t>
            </a:r>
            <a:r>
              <a:rPr kumimoji="0" lang="en-US" sz="1200" b="0" i="0" u="none" strike="noStrike" kern="1200" cap="none" spc="0" normalizeH="0" baseline="0" noProof="0" dirty="0" err="1">
                <a:ln>
                  <a:noFill/>
                </a:ln>
                <a:solidFill>
                  <a:prstClr val="black">
                    <a:lumMod val="50000"/>
                    <a:lumOff val="50000"/>
                  </a:prstClr>
                </a:solidFill>
                <a:effectLst/>
                <a:uLnTx/>
                <a:uFillTx/>
                <a:latin typeface="HarmonyOS Sans SC"/>
                <a:cs typeface="Aharoni" panose="02010803020104030203" pitchFamily="2" charset="-79"/>
              </a:rPr>
              <a:t>Eiusmod</a:t>
            </a:r>
            <a:r>
              <a:rPr kumimoji="0" lang="en-US" sz="1200" b="0" i="0" u="none" strike="noStrike" kern="1200" cap="none" spc="0" normalizeH="0" baseline="0" noProof="0" dirty="0">
                <a:ln>
                  <a:noFill/>
                </a:ln>
                <a:solidFill>
                  <a:prstClr val="black">
                    <a:lumMod val="50000"/>
                    <a:lumOff val="50000"/>
                  </a:prstClr>
                </a:solidFill>
                <a:effectLst/>
                <a:uLnTx/>
                <a:uFillTx/>
                <a:latin typeface="HarmonyOS Sans SC"/>
                <a:cs typeface="Aharoni" panose="02010803020104030203" pitchFamily="2" charset="-79"/>
              </a:rPr>
              <a:t> </a:t>
            </a:r>
            <a:r>
              <a:rPr kumimoji="0" lang="en-US" sz="1200" b="0" i="0" u="none" strike="noStrike" kern="1200" cap="none" spc="0" normalizeH="0" baseline="0" noProof="0" dirty="0" err="1">
                <a:ln>
                  <a:noFill/>
                </a:ln>
                <a:solidFill>
                  <a:prstClr val="black">
                    <a:lumMod val="50000"/>
                    <a:lumOff val="50000"/>
                  </a:prstClr>
                </a:solidFill>
                <a:effectLst/>
                <a:uLnTx/>
                <a:uFillTx/>
                <a:latin typeface="HarmonyOS Sans SC"/>
                <a:cs typeface="Aharoni" panose="02010803020104030203" pitchFamily="2" charset="-79"/>
              </a:rPr>
              <a:t>Tempor</a:t>
            </a:r>
            <a:r>
              <a:rPr kumimoji="0" lang="en-US" sz="1200" b="0" i="0" u="none" strike="noStrike" kern="1200" cap="none" spc="0" normalizeH="0" baseline="0" noProof="0" dirty="0">
                <a:ln>
                  <a:noFill/>
                </a:ln>
                <a:solidFill>
                  <a:prstClr val="black">
                    <a:lumMod val="50000"/>
                    <a:lumOff val="50000"/>
                  </a:prstClr>
                </a:solidFill>
                <a:effectLst/>
                <a:uLnTx/>
                <a:uFillTx/>
                <a:latin typeface="HarmonyOS Sans SC"/>
                <a:cs typeface="Aharoni" panose="02010803020104030203" pitchFamily="2" charset="-79"/>
              </a:rPr>
              <a:t> </a:t>
            </a:r>
            <a:r>
              <a:rPr kumimoji="0" lang="en-US" sz="1200" b="0" i="0" u="none" strike="noStrike" kern="1200" cap="none" spc="0" normalizeH="0" baseline="0" noProof="0" dirty="0" err="1">
                <a:ln>
                  <a:noFill/>
                </a:ln>
                <a:solidFill>
                  <a:prstClr val="black">
                    <a:lumMod val="50000"/>
                    <a:lumOff val="50000"/>
                  </a:prstClr>
                </a:solidFill>
                <a:effectLst/>
                <a:uLnTx/>
                <a:uFillTx/>
                <a:latin typeface="HarmonyOS Sans SC"/>
                <a:cs typeface="Aharoni" panose="02010803020104030203" pitchFamily="2" charset="-79"/>
              </a:rPr>
              <a:t>Incidi</a:t>
            </a:r>
            <a:r>
              <a:rPr kumimoji="0" lang="en-US" sz="1200" b="0" i="0" u="none" strike="noStrike" kern="1200" cap="none" spc="0" normalizeH="0" baseline="0" noProof="0" dirty="0">
                <a:ln>
                  <a:noFill/>
                </a:ln>
                <a:solidFill>
                  <a:prstClr val="black">
                    <a:lumMod val="50000"/>
                    <a:lumOff val="50000"/>
                  </a:prstClr>
                </a:solidFill>
                <a:effectLst/>
                <a:uLnTx/>
                <a:uFillTx/>
                <a:latin typeface="HarmonyOS Sans SC"/>
                <a:cs typeface="Aharoni" panose="02010803020104030203" pitchFamily="2" charset="-79"/>
              </a:rPr>
              <a:t> </a:t>
            </a:r>
            <a:r>
              <a:rPr kumimoji="0" lang="en-US" sz="1200" b="0" i="0" u="none" strike="noStrike" kern="1200" cap="none" spc="0" normalizeH="0" baseline="0" noProof="0" dirty="0" err="1">
                <a:ln>
                  <a:noFill/>
                </a:ln>
                <a:solidFill>
                  <a:prstClr val="black">
                    <a:lumMod val="50000"/>
                    <a:lumOff val="50000"/>
                  </a:prstClr>
                </a:solidFill>
                <a:effectLst/>
                <a:uLnTx/>
                <a:uFillTx/>
                <a:latin typeface="HarmonyOS Sans SC"/>
                <a:cs typeface="Aharoni" panose="02010803020104030203" pitchFamily="2" charset="-79"/>
              </a:rPr>
              <a:t>Dunt</a:t>
            </a:r>
            <a:r>
              <a:rPr kumimoji="0" lang="en-US" sz="1200" b="0" i="0" u="none" strike="noStrike" kern="1200" cap="none" spc="0" normalizeH="0" baseline="0" noProof="0" dirty="0">
                <a:ln>
                  <a:noFill/>
                </a:ln>
                <a:solidFill>
                  <a:prstClr val="black">
                    <a:lumMod val="50000"/>
                    <a:lumOff val="50000"/>
                  </a:prstClr>
                </a:solidFill>
                <a:effectLst/>
                <a:uLnTx/>
                <a:uFillTx/>
                <a:latin typeface="HarmonyOS Sans SC"/>
                <a:cs typeface="Aharoni" panose="02010803020104030203" pitchFamily="2" charset="-79"/>
              </a:rPr>
              <a:t> </a:t>
            </a:r>
            <a:r>
              <a:rPr kumimoji="0" lang="en-US" sz="1200" b="0" i="0" u="none" strike="noStrike" kern="1200" cap="none" spc="0" normalizeH="0" baseline="0" noProof="0" dirty="0" err="1">
                <a:ln>
                  <a:noFill/>
                </a:ln>
                <a:solidFill>
                  <a:prstClr val="black">
                    <a:lumMod val="50000"/>
                    <a:lumOff val="50000"/>
                  </a:prstClr>
                </a:solidFill>
                <a:effectLst/>
                <a:uLnTx/>
                <a:uFillTx/>
                <a:latin typeface="HarmonyOS Sans SC"/>
                <a:cs typeface="Aharoni" panose="02010803020104030203" pitchFamily="2" charset="-79"/>
              </a:rPr>
              <a:t>Ectetur</a:t>
            </a:r>
            <a:r>
              <a:rPr kumimoji="0" lang="en-US" sz="1200" b="0" i="0" u="none" strike="noStrike" kern="1200" cap="none" spc="0" normalizeH="0" baseline="0" noProof="0" dirty="0">
                <a:ln>
                  <a:noFill/>
                </a:ln>
                <a:solidFill>
                  <a:prstClr val="black">
                    <a:lumMod val="50000"/>
                    <a:lumOff val="50000"/>
                  </a:prstClr>
                </a:solidFill>
                <a:effectLst/>
                <a:uLnTx/>
                <a:uFillTx/>
                <a:latin typeface="HarmonyOS Sans SC"/>
                <a:cs typeface="Aharoni" panose="02010803020104030203" pitchFamily="2" charset="-79"/>
              </a:rPr>
              <a:t> </a:t>
            </a:r>
            <a:r>
              <a:rPr kumimoji="0" lang="en-US" sz="1200" b="0" i="0" u="none" strike="noStrike" kern="1200" cap="none" spc="0" normalizeH="0" baseline="0" noProof="0" dirty="0" err="1">
                <a:ln>
                  <a:noFill/>
                </a:ln>
                <a:solidFill>
                  <a:prstClr val="black">
                    <a:lumMod val="50000"/>
                    <a:lumOff val="50000"/>
                  </a:prstClr>
                </a:solidFill>
                <a:effectLst/>
                <a:uLnTx/>
                <a:uFillTx/>
                <a:latin typeface="HarmonyOS Sans SC"/>
                <a:cs typeface="Aharoni" panose="02010803020104030203" pitchFamily="2" charset="-79"/>
              </a:rPr>
              <a:t>Adipis</a:t>
            </a:r>
            <a:r>
              <a:rPr kumimoji="0" lang="en-US" sz="1200" b="0" i="0" u="none" strike="noStrike" kern="1200" cap="none" spc="0" normalizeH="0" baseline="0" noProof="0" dirty="0">
                <a:ln>
                  <a:noFill/>
                </a:ln>
                <a:solidFill>
                  <a:prstClr val="black">
                    <a:lumMod val="50000"/>
                    <a:lumOff val="50000"/>
                  </a:prstClr>
                </a:solidFill>
                <a:effectLst/>
                <a:uLnTx/>
                <a:uFillTx/>
                <a:latin typeface="HarmonyOS Sans SC"/>
                <a:cs typeface="Aharoni" panose="02010803020104030203" pitchFamily="2" charset="-79"/>
              </a:rPr>
              <a:t> </a:t>
            </a:r>
            <a:r>
              <a:rPr kumimoji="0" lang="en-US" sz="1200" b="0" i="0" u="none" strike="noStrike" kern="1200" cap="none" spc="0" normalizeH="0" baseline="0" noProof="0" dirty="0" err="1">
                <a:ln>
                  <a:noFill/>
                </a:ln>
                <a:solidFill>
                  <a:prstClr val="black">
                    <a:lumMod val="50000"/>
                    <a:lumOff val="50000"/>
                  </a:prstClr>
                </a:solidFill>
                <a:effectLst/>
                <a:uLnTx/>
                <a:uFillTx/>
                <a:latin typeface="HarmonyOS Sans SC"/>
                <a:cs typeface="Aharoni" panose="02010803020104030203" pitchFamily="2" charset="-79"/>
              </a:rPr>
              <a:t>Cing</a:t>
            </a:r>
            <a:r>
              <a:rPr kumimoji="0" lang="en-US" sz="1200" b="0" i="0" u="none" strike="noStrike" kern="1200" cap="none" spc="0" normalizeH="0" baseline="0" noProof="0" dirty="0">
                <a:ln>
                  <a:noFill/>
                </a:ln>
                <a:solidFill>
                  <a:prstClr val="black">
                    <a:lumMod val="50000"/>
                    <a:lumOff val="50000"/>
                  </a:prstClr>
                </a:solidFill>
                <a:effectLst/>
                <a:uLnTx/>
                <a:uFillTx/>
                <a:latin typeface="HarmonyOS Sans SC"/>
                <a:cs typeface="Aharoni" panose="02010803020104030203" pitchFamily="2" charset="-79"/>
              </a:rPr>
              <a:t> </a:t>
            </a:r>
            <a:r>
              <a:rPr kumimoji="0" lang="en-US" sz="1200" b="0" i="0" u="none" strike="noStrike" kern="1200" cap="none" spc="0" normalizeH="0" baseline="0" noProof="0" dirty="0" err="1">
                <a:ln>
                  <a:noFill/>
                </a:ln>
                <a:solidFill>
                  <a:prstClr val="black">
                    <a:lumMod val="50000"/>
                    <a:lumOff val="50000"/>
                  </a:prstClr>
                </a:solidFill>
                <a:effectLst/>
                <a:uLnTx/>
                <a:uFillTx/>
                <a:latin typeface="HarmonyOS Sans SC"/>
                <a:cs typeface="Aharoni" panose="02010803020104030203" pitchFamily="2" charset="-79"/>
              </a:rPr>
              <a:t>Elit</a:t>
            </a:r>
            <a:r>
              <a:rPr kumimoji="0" lang="en-US" sz="1200" b="0" i="0" u="none" strike="noStrike" kern="1200" cap="none" spc="0" normalizeH="0" baseline="0" noProof="0" dirty="0">
                <a:ln>
                  <a:noFill/>
                </a:ln>
                <a:solidFill>
                  <a:prstClr val="black">
                    <a:lumMod val="50000"/>
                    <a:lumOff val="50000"/>
                  </a:prstClr>
                </a:solidFill>
                <a:effectLst/>
                <a:uLnTx/>
                <a:uFillTx/>
                <a:latin typeface="HarmonyOS Sans SC"/>
                <a:cs typeface="Aharoni" panose="02010803020104030203" pitchFamily="2" charset="-79"/>
              </a:rPr>
              <a:t>, Sed </a:t>
            </a:r>
            <a:r>
              <a:rPr kumimoji="0" lang="en-US" sz="1200" b="0" i="0" u="none" strike="noStrike" kern="1200" cap="none" spc="0" normalizeH="0" baseline="0" noProof="0" dirty="0" err="1">
                <a:ln>
                  <a:noFill/>
                </a:ln>
                <a:solidFill>
                  <a:prstClr val="black">
                    <a:lumMod val="50000"/>
                    <a:lumOff val="50000"/>
                  </a:prstClr>
                </a:solidFill>
                <a:effectLst/>
                <a:uLnTx/>
                <a:uFillTx/>
                <a:latin typeface="HarmonyOS Sans SC"/>
                <a:cs typeface="Aharoni" panose="02010803020104030203" pitchFamily="2" charset="-79"/>
              </a:rPr>
              <a:t>Dunt</a:t>
            </a:r>
            <a:r>
              <a:rPr kumimoji="0" lang="en-US" sz="1200" b="0" i="0" u="none" strike="noStrike" kern="1200" cap="none" spc="0" normalizeH="0" baseline="0" noProof="0" dirty="0">
                <a:ln>
                  <a:noFill/>
                </a:ln>
                <a:solidFill>
                  <a:prstClr val="black">
                    <a:lumMod val="50000"/>
                    <a:lumOff val="50000"/>
                  </a:prstClr>
                </a:solidFill>
                <a:effectLst/>
                <a:uLnTx/>
                <a:uFillTx/>
                <a:latin typeface="HarmonyOS Sans SC"/>
                <a:cs typeface="Aharoni" panose="02010803020104030203" pitchFamily="2" charset="-79"/>
              </a:rPr>
              <a:t> </a:t>
            </a:r>
            <a:r>
              <a:rPr kumimoji="0" lang="en-US" sz="1200" b="0" i="0" u="none" strike="noStrike" kern="1200" cap="none" spc="0" normalizeH="0" baseline="0" noProof="0" dirty="0" err="1">
                <a:ln>
                  <a:noFill/>
                </a:ln>
                <a:solidFill>
                  <a:prstClr val="black">
                    <a:lumMod val="50000"/>
                    <a:lumOff val="50000"/>
                  </a:prstClr>
                </a:solidFill>
                <a:effectLst/>
                <a:uLnTx/>
                <a:uFillTx/>
                <a:latin typeface="HarmonyOS Sans SC"/>
                <a:cs typeface="Aharoni" panose="02010803020104030203" pitchFamily="2" charset="-79"/>
              </a:rPr>
              <a:t>Ectetur</a:t>
            </a:r>
            <a:r>
              <a:rPr kumimoji="0" lang="en-US" sz="1200" b="0" i="0" u="none" strike="noStrike" kern="1200" cap="none" spc="0" normalizeH="0" baseline="0" noProof="0" dirty="0">
                <a:ln>
                  <a:noFill/>
                </a:ln>
                <a:solidFill>
                  <a:prstClr val="black">
                    <a:lumMod val="50000"/>
                    <a:lumOff val="50000"/>
                  </a:prstClr>
                </a:solidFill>
                <a:effectLst/>
                <a:uLnTx/>
                <a:uFillTx/>
                <a:latin typeface="HarmonyOS Sans SC"/>
                <a:cs typeface="Aharoni" panose="02010803020104030203" pitchFamily="2" charset="-79"/>
              </a:rPr>
              <a:t> </a:t>
            </a:r>
            <a:r>
              <a:rPr kumimoji="0" lang="en-US" sz="1200" b="0" i="0" u="none" strike="noStrike" kern="1200" cap="none" spc="0" normalizeH="0" baseline="0" noProof="0" dirty="0" err="1">
                <a:ln>
                  <a:noFill/>
                </a:ln>
                <a:solidFill>
                  <a:prstClr val="black">
                    <a:lumMod val="50000"/>
                    <a:lumOff val="50000"/>
                  </a:prstClr>
                </a:solidFill>
                <a:effectLst/>
                <a:uLnTx/>
                <a:uFillTx/>
                <a:latin typeface="HarmonyOS Sans SC"/>
                <a:cs typeface="Aharoni" panose="02010803020104030203" pitchFamily="2" charset="-79"/>
              </a:rPr>
              <a:t>Adipis</a:t>
            </a:r>
            <a:r>
              <a:rPr kumimoji="0" lang="en-US" sz="1200" b="0" i="0" u="none" strike="noStrike" kern="1200" cap="none" spc="0" normalizeH="0" baseline="0" noProof="0" dirty="0">
                <a:ln>
                  <a:noFill/>
                </a:ln>
                <a:solidFill>
                  <a:prstClr val="black">
                    <a:lumMod val="50000"/>
                    <a:lumOff val="50000"/>
                  </a:prstClr>
                </a:solidFill>
                <a:effectLst/>
                <a:uLnTx/>
                <a:uFillTx/>
                <a:latin typeface="HarmonyOS Sans SC"/>
                <a:cs typeface="Aharoni" panose="02010803020104030203" pitchFamily="2" charset="-79"/>
              </a:rPr>
              <a:t> </a:t>
            </a:r>
            <a:r>
              <a:rPr kumimoji="0" lang="en-US" sz="1200" b="0" i="0" u="none" strike="noStrike" kern="1200" cap="none" spc="0" normalizeH="0" baseline="0" noProof="0" dirty="0" err="1">
                <a:ln>
                  <a:noFill/>
                </a:ln>
                <a:solidFill>
                  <a:prstClr val="black">
                    <a:lumMod val="50000"/>
                    <a:lumOff val="50000"/>
                  </a:prstClr>
                </a:solidFill>
                <a:effectLst/>
                <a:uLnTx/>
                <a:uFillTx/>
                <a:latin typeface="HarmonyOS Sans SC"/>
                <a:cs typeface="Aharoni" panose="02010803020104030203" pitchFamily="2" charset="-79"/>
              </a:rPr>
              <a:t>Cing</a:t>
            </a:r>
            <a:r>
              <a:rPr kumimoji="0" lang="en-US" sz="1200" b="0" i="0" u="none" strike="noStrike" kern="1200" cap="none" spc="0" normalizeH="0" baseline="0" noProof="0" dirty="0">
                <a:ln>
                  <a:noFill/>
                </a:ln>
                <a:solidFill>
                  <a:prstClr val="black">
                    <a:lumMod val="50000"/>
                    <a:lumOff val="50000"/>
                  </a:prstClr>
                </a:solidFill>
                <a:effectLst/>
                <a:uLnTx/>
                <a:uFillTx/>
                <a:latin typeface="HarmonyOS Sans SC"/>
                <a:cs typeface="Aharoni" panose="02010803020104030203" pitchFamily="2" charset="-79"/>
              </a:rPr>
              <a:t> </a:t>
            </a:r>
            <a:r>
              <a:rPr kumimoji="0" lang="en-US" sz="1200" b="0" i="0" u="none" strike="noStrike" kern="1200" cap="none" spc="0" normalizeH="0" baseline="0" noProof="0" dirty="0" err="1">
                <a:ln>
                  <a:noFill/>
                </a:ln>
                <a:solidFill>
                  <a:prstClr val="black">
                    <a:lumMod val="50000"/>
                    <a:lumOff val="50000"/>
                  </a:prstClr>
                </a:solidFill>
                <a:effectLst/>
                <a:uLnTx/>
                <a:uFillTx/>
                <a:latin typeface="HarmonyOS Sans SC"/>
                <a:cs typeface="Aharoni" panose="02010803020104030203" pitchFamily="2" charset="-79"/>
              </a:rPr>
              <a:t>Elit</a:t>
            </a:r>
            <a:r>
              <a:rPr kumimoji="0" lang="en-US" sz="1200" b="0" i="0" u="none" strike="noStrike" kern="1200" cap="none" spc="0" normalizeH="0" baseline="0" noProof="0" dirty="0">
                <a:ln>
                  <a:noFill/>
                </a:ln>
                <a:solidFill>
                  <a:prstClr val="black">
                    <a:lumMod val="50000"/>
                    <a:lumOff val="50000"/>
                  </a:prstClr>
                </a:solidFill>
                <a:effectLst/>
                <a:uLnTx/>
                <a:uFillTx/>
                <a:latin typeface="HarmonyOS Sans SC"/>
                <a:cs typeface="Aharoni" panose="02010803020104030203" pitchFamily="2" charset="-79"/>
              </a:rPr>
              <a:t>, </a:t>
            </a:r>
            <a:r>
              <a:rPr kumimoji="0" lang="en-US" sz="1200" b="0" i="0" u="none" strike="noStrike" kern="1200" cap="none" spc="0" normalizeH="0" baseline="0" noProof="0" dirty="0" err="1">
                <a:ln>
                  <a:noFill/>
                </a:ln>
                <a:solidFill>
                  <a:prstClr val="black">
                    <a:lumMod val="50000"/>
                    <a:lumOff val="50000"/>
                  </a:prstClr>
                </a:solidFill>
                <a:effectLst/>
                <a:uLnTx/>
                <a:uFillTx/>
                <a:latin typeface="HarmonyOS Sans SC"/>
                <a:cs typeface="Aharoni" panose="02010803020104030203" pitchFamily="2" charset="-79"/>
              </a:rPr>
              <a:t>Dunt</a:t>
            </a:r>
            <a:r>
              <a:rPr kumimoji="0" lang="en-US" sz="1200" b="0" i="0" u="none" strike="noStrike" kern="1200" cap="none" spc="0" normalizeH="0" baseline="0" noProof="0" dirty="0">
                <a:ln>
                  <a:noFill/>
                </a:ln>
                <a:solidFill>
                  <a:prstClr val="black">
                    <a:lumMod val="50000"/>
                    <a:lumOff val="50000"/>
                  </a:prstClr>
                </a:solidFill>
                <a:effectLst/>
                <a:uLnTx/>
                <a:uFillTx/>
                <a:latin typeface="HarmonyOS Sans SC"/>
                <a:cs typeface="Aharoni" panose="02010803020104030203" pitchFamily="2" charset="-79"/>
              </a:rPr>
              <a:t> </a:t>
            </a:r>
            <a:r>
              <a:rPr kumimoji="0" lang="en-US" sz="1200" b="0" i="0" u="none" strike="noStrike" kern="1200" cap="none" spc="0" normalizeH="0" baseline="0" noProof="0" dirty="0" err="1">
                <a:ln>
                  <a:noFill/>
                </a:ln>
                <a:solidFill>
                  <a:prstClr val="black">
                    <a:lumMod val="50000"/>
                    <a:lumOff val="50000"/>
                  </a:prstClr>
                </a:solidFill>
                <a:effectLst/>
                <a:uLnTx/>
                <a:uFillTx/>
                <a:latin typeface="HarmonyOS Sans SC"/>
                <a:cs typeface="Aharoni" panose="02010803020104030203" pitchFamily="2" charset="-79"/>
              </a:rPr>
              <a:t>Ectetur</a:t>
            </a:r>
            <a:r>
              <a:rPr kumimoji="0" lang="en-US" sz="1200" b="0" i="0" u="none" strike="noStrike" kern="1200" cap="none" spc="0" normalizeH="0" baseline="0" noProof="0" dirty="0">
                <a:ln>
                  <a:noFill/>
                </a:ln>
                <a:solidFill>
                  <a:prstClr val="black">
                    <a:lumMod val="50000"/>
                    <a:lumOff val="50000"/>
                  </a:prstClr>
                </a:solidFill>
                <a:effectLst/>
                <a:uLnTx/>
                <a:uFillTx/>
                <a:latin typeface="HarmonyOS Sans SC"/>
                <a:cs typeface="Aharoni" panose="02010803020104030203" pitchFamily="2" charset="-79"/>
              </a:rPr>
              <a:t> </a:t>
            </a:r>
            <a:r>
              <a:rPr kumimoji="0" lang="en-US" sz="1200" b="0" i="0" u="none" strike="noStrike" kern="1200" cap="none" spc="0" normalizeH="0" baseline="0" noProof="0" dirty="0" err="1">
                <a:ln>
                  <a:noFill/>
                </a:ln>
                <a:solidFill>
                  <a:prstClr val="black">
                    <a:lumMod val="50000"/>
                    <a:lumOff val="50000"/>
                  </a:prstClr>
                </a:solidFill>
                <a:effectLst/>
                <a:uLnTx/>
                <a:uFillTx/>
                <a:latin typeface="HarmonyOS Sans SC"/>
                <a:cs typeface="Aharoni" panose="02010803020104030203" pitchFamily="2" charset="-79"/>
              </a:rPr>
              <a:t>Adipis</a:t>
            </a:r>
            <a:r>
              <a:rPr kumimoji="0" lang="en-US" sz="1200" b="0" i="0" u="none" strike="noStrike" kern="1200" cap="none" spc="0" normalizeH="0" baseline="0" noProof="0" dirty="0">
                <a:ln>
                  <a:noFill/>
                </a:ln>
                <a:solidFill>
                  <a:prstClr val="black">
                    <a:lumMod val="50000"/>
                    <a:lumOff val="50000"/>
                  </a:prstClr>
                </a:solidFill>
                <a:effectLst/>
                <a:uLnTx/>
                <a:uFillTx/>
                <a:latin typeface="HarmonyOS Sans SC"/>
                <a:cs typeface="Aharoni" panose="02010803020104030203" pitchFamily="2" charset="-79"/>
              </a:rPr>
              <a:t> </a:t>
            </a:r>
            <a:r>
              <a:rPr kumimoji="0" lang="en-US" sz="1200" b="0" i="0" u="none" strike="noStrike" kern="1200" cap="none" spc="0" normalizeH="0" baseline="0" noProof="0" dirty="0" err="1">
                <a:ln>
                  <a:noFill/>
                </a:ln>
                <a:solidFill>
                  <a:prstClr val="black">
                    <a:lumMod val="50000"/>
                    <a:lumOff val="50000"/>
                  </a:prstClr>
                </a:solidFill>
                <a:effectLst/>
                <a:uLnTx/>
                <a:uFillTx/>
                <a:latin typeface="HarmonyOS Sans SC"/>
                <a:cs typeface="Aharoni" panose="02010803020104030203" pitchFamily="2" charset="-79"/>
              </a:rPr>
              <a:t>Cing</a:t>
            </a:r>
            <a:r>
              <a:rPr kumimoji="0" lang="en-US" sz="1200" b="0" i="0" u="none" strike="noStrike" kern="1200" cap="none" spc="0" normalizeH="0" baseline="0" noProof="0" dirty="0">
                <a:ln>
                  <a:noFill/>
                </a:ln>
                <a:solidFill>
                  <a:prstClr val="black">
                    <a:lumMod val="50000"/>
                    <a:lumOff val="50000"/>
                  </a:prstClr>
                </a:solidFill>
                <a:effectLst/>
                <a:uLnTx/>
                <a:uFillTx/>
                <a:latin typeface="HarmonyOS Sans SC"/>
                <a:cs typeface="Aharoni" panose="02010803020104030203" pitchFamily="2" charset="-79"/>
              </a:rPr>
              <a:t> </a:t>
            </a:r>
            <a:r>
              <a:rPr kumimoji="0" lang="en-US" sz="1200" b="0" i="0" u="none" strike="noStrike" kern="1200" cap="none" spc="0" normalizeH="0" baseline="0" noProof="0" dirty="0" err="1">
                <a:ln>
                  <a:noFill/>
                </a:ln>
                <a:solidFill>
                  <a:prstClr val="black">
                    <a:lumMod val="50000"/>
                    <a:lumOff val="50000"/>
                  </a:prstClr>
                </a:solidFill>
                <a:effectLst/>
                <a:uLnTx/>
                <a:uFillTx/>
                <a:latin typeface="HarmonyOS Sans SC"/>
                <a:cs typeface="Aharoni" panose="02010803020104030203" pitchFamily="2" charset="-79"/>
              </a:rPr>
              <a:t>Elit</a:t>
            </a:r>
            <a:r>
              <a:rPr kumimoji="0" lang="en-US" sz="1200" b="0" i="0" u="none" strike="noStrike" kern="1200" cap="none" spc="0" normalizeH="0" baseline="0" noProof="0" dirty="0">
                <a:ln>
                  <a:noFill/>
                </a:ln>
                <a:solidFill>
                  <a:prstClr val="black">
                    <a:lumMod val="50000"/>
                    <a:lumOff val="50000"/>
                  </a:prstClr>
                </a:solidFill>
                <a:effectLst/>
                <a:uLnTx/>
                <a:uFillTx/>
                <a:latin typeface="HarmonyOS Sans SC"/>
                <a:cs typeface="Aharoni" panose="02010803020104030203" pitchFamily="2" charset="-79"/>
              </a:rPr>
              <a:t>, Ipsum Dolor Sit </a:t>
            </a:r>
            <a:r>
              <a:rPr kumimoji="0" lang="en-US" sz="1200" b="0" i="0" u="none" strike="noStrike" kern="1200" cap="none" spc="0" normalizeH="0" baseline="0" noProof="0" dirty="0" err="1">
                <a:ln>
                  <a:noFill/>
                </a:ln>
                <a:solidFill>
                  <a:prstClr val="black">
                    <a:lumMod val="50000"/>
                    <a:lumOff val="50000"/>
                  </a:prstClr>
                </a:solidFill>
                <a:effectLst/>
                <a:uLnTx/>
                <a:uFillTx/>
                <a:latin typeface="HarmonyOS Sans SC"/>
                <a:cs typeface="Aharoni" panose="02010803020104030203" pitchFamily="2" charset="-79"/>
              </a:rPr>
              <a:t>Amet</a:t>
            </a:r>
            <a:r>
              <a:rPr kumimoji="0" lang="en-US" sz="1200" b="0" i="0" u="none" strike="noStrike" kern="1200" cap="none" spc="0" normalizeH="0" baseline="0" noProof="0" dirty="0">
                <a:ln>
                  <a:noFill/>
                </a:ln>
                <a:solidFill>
                  <a:prstClr val="black">
                    <a:lumMod val="50000"/>
                    <a:lumOff val="50000"/>
                  </a:prstClr>
                </a:solidFill>
                <a:effectLst/>
                <a:uLnTx/>
                <a:uFillTx/>
                <a:latin typeface="HarmonyOS Sans SC"/>
                <a:cs typeface="Aharoni" panose="02010803020104030203" pitchFamily="2" charset="-79"/>
              </a:rPr>
              <a:t>, Cons </a:t>
            </a:r>
            <a:r>
              <a:rPr kumimoji="0" lang="en-US" sz="1200" b="0" i="0" u="none" strike="noStrike" kern="1200" cap="none" spc="0" normalizeH="0" baseline="0" noProof="0" dirty="0" err="1">
                <a:ln>
                  <a:noFill/>
                </a:ln>
                <a:solidFill>
                  <a:prstClr val="black">
                    <a:lumMod val="50000"/>
                    <a:lumOff val="50000"/>
                  </a:prstClr>
                </a:solidFill>
                <a:effectLst/>
                <a:uLnTx/>
                <a:uFillTx/>
                <a:latin typeface="HarmonyOS Sans SC"/>
                <a:cs typeface="Aharoni" panose="02010803020104030203" pitchFamily="2" charset="-79"/>
              </a:rPr>
              <a:t>Ectetur</a:t>
            </a:r>
            <a:r>
              <a:rPr kumimoji="0" lang="en-US" sz="1200" b="0" i="0" u="none" strike="noStrike" kern="1200" cap="none" spc="0" normalizeH="0" baseline="0" noProof="0" dirty="0">
                <a:ln>
                  <a:noFill/>
                </a:ln>
                <a:solidFill>
                  <a:prstClr val="black">
                    <a:lumMod val="50000"/>
                    <a:lumOff val="50000"/>
                  </a:prstClr>
                </a:solidFill>
                <a:effectLst/>
                <a:uLnTx/>
                <a:uFillTx/>
                <a:latin typeface="HarmonyOS Sans SC"/>
                <a:cs typeface="Aharoni" panose="02010803020104030203" pitchFamily="2" charset="-79"/>
              </a:rPr>
              <a:t> </a:t>
            </a:r>
            <a:r>
              <a:rPr kumimoji="0" lang="en-US" sz="1200" b="0" i="0" u="none" strike="noStrike" kern="1200" cap="none" spc="0" normalizeH="0" baseline="0" noProof="0" dirty="0" err="1">
                <a:ln>
                  <a:noFill/>
                </a:ln>
                <a:solidFill>
                  <a:prstClr val="black">
                    <a:lumMod val="50000"/>
                    <a:lumOff val="50000"/>
                  </a:prstClr>
                </a:solidFill>
                <a:effectLst/>
                <a:uLnTx/>
                <a:uFillTx/>
                <a:latin typeface="HarmonyOS Sans SC"/>
                <a:cs typeface="Aharoni" panose="02010803020104030203" pitchFamily="2" charset="-79"/>
              </a:rPr>
              <a:t>Adipis</a:t>
            </a:r>
            <a:r>
              <a:rPr kumimoji="0" lang="en-US" sz="1200" b="0" i="0" u="none" strike="noStrike" kern="1200" cap="none" spc="0" normalizeH="0" baseline="0" noProof="0" dirty="0">
                <a:ln>
                  <a:noFill/>
                </a:ln>
                <a:solidFill>
                  <a:prstClr val="black">
                    <a:lumMod val="50000"/>
                    <a:lumOff val="50000"/>
                  </a:prstClr>
                </a:solidFill>
                <a:effectLst/>
                <a:uLnTx/>
                <a:uFillTx/>
                <a:latin typeface="HarmonyOS Sans SC"/>
                <a:cs typeface="Aharoni" panose="02010803020104030203" pitchFamily="2" charset="-79"/>
              </a:rPr>
              <a:t> </a:t>
            </a:r>
            <a:r>
              <a:rPr kumimoji="0" lang="en-US" sz="1200" b="0" i="0" u="none" strike="noStrike" kern="1200" cap="none" spc="0" normalizeH="0" baseline="0" noProof="0" dirty="0" err="1">
                <a:ln>
                  <a:noFill/>
                </a:ln>
                <a:solidFill>
                  <a:prstClr val="black">
                    <a:lumMod val="50000"/>
                    <a:lumOff val="50000"/>
                  </a:prstClr>
                </a:solidFill>
                <a:effectLst/>
                <a:uLnTx/>
                <a:uFillTx/>
                <a:latin typeface="HarmonyOS Sans SC"/>
                <a:cs typeface="Aharoni" panose="02010803020104030203" pitchFamily="2" charset="-79"/>
              </a:rPr>
              <a:t>Cing</a:t>
            </a:r>
            <a:r>
              <a:rPr kumimoji="0" lang="en-US" sz="1200" b="0" i="0" u="none" strike="noStrike" kern="1200" cap="none" spc="0" normalizeH="0" baseline="0" noProof="0" dirty="0">
                <a:ln>
                  <a:noFill/>
                </a:ln>
                <a:solidFill>
                  <a:prstClr val="black">
                    <a:lumMod val="50000"/>
                    <a:lumOff val="50000"/>
                  </a:prstClr>
                </a:solidFill>
                <a:effectLst/>
                <a:uLnTx/>
                <a:uFillTx/>
                <a:latin typeface="HarmonyOS Sans SC"/>
                <a:cs typeface="Aharoni" panose="02010803020104030203" pitchFamily="2" charset="-79"/>
              </a:rPr>
              <a:t> </a:t>
            </a:r>
            <a:r>
              <a:rPr kumimoji="0" lang="en-US" sz="1200" b="0" i="0" u="none" strike="noStrike" kern="1200" cap="none" spc="0" normalizeH="0" baseline="0" noProof="0" dirty="0" err="1">
                <a:ln>
                  <a:noFill/>
                </a:ln>
                <a:solidFill>
                  <a:prstClr val="black">
                    <a:lumMod val="50000"/>
                    <a:lumOff val="50000"/>
                  </a:prstClr>
                </a:solidFill>
                <a:effectLst/>
                <a:uLnTx/>
                <a:uFillTx/>
                <a:latin typeface="HarmonyOS Sans SC"/>
                <a:cs typeface="Aharoni" panose="02010803020104030203" pitchFamily="2" charset="-79"/>
              </a:rPr>
              <a:t>Elit</a:t>
            </a:r>
            <a:r>
              <a:rPr kumimoji="0" lang="en-US" sz="1200" b="0" i="0" u="none" strike="noStrike" kern="1200" cap="none" spc="0" normalizeH="0" baseline="0" noProof="0" dirty="0">
                <a:ln>
                  <a:noFill/>
                </a:ln>
                <a:solidFill>
                  <a:prstClr val="black">
                    <a:lumMod val="50000"/>
                    <a:lumOff val="50000"/>
                  </a:prstClr>
                </a:solidFill>
                <a:effectLst/>
                <a:uLnTx/>
                <a:uFillTx/>
                <a:latin typeface="HarmonyOS Sans SC"/>
                <a:cs typeface="Aharoni" panose="02010803020104030203" pitchFamily="2" charset="-79"/>
              </a:rPr>
              <a:t>, Sed Do </a:t>
            </a:r>
            <a:r>
              <a:rPr kumimoji="0" lang="en-US" sz="1200" b="0" i="0" u="none" strike="noStrike" kern="1200" cap="none" spc="0" normalizeH="0" baseline="0" noProof="0" dirty="0" err="1">
                <a:ln>
                  <a:noFill/>
                </a:ln>
                <a:solidFill>
                  <a:prstClr val="black">
                    <a:lumMod val="50000"/>
                    <a:lumOff val="50000"/>
                  </a:prstClr>
                </a:solidFill>
                <a:effectLst/>
                <a:uLnTx/>
                <a:uFillTx/>
                <a:latin typeface="HarmonyOS Sans SC"/>
                <a:cs typeface="Aharoni" panose="02010803020104030203" pitchFamily="2" charset="-79"/>
              </a:rPr>
              <a:t>Eiusmod</a:t>
            </a:r>
            <a:r>
              <a:rPr kumimoji="0" lang="en-US" sz="1200" b="0" i="0" u="none" strike="noStrike" kern="1200" cap="none" spc="0" normalizeH="0" baseline="0" noProof="0" dirty="0">
                <a:ln>
                  <a:noFill/>
                </a:ln>
                <a:solidFill>
                  <a:prstClr val="black">
                    <a:lumMod val="50000"/>
                    <a:lumOff val="50000"/>
                  </a:prstClr>
                </a:solidFill>
                <a:effectLst/>
                <a:uLnTx/>
                <a:uFillTx/>
                <a:latin typeface="HarmonyOS Sans SC"/>
                <a:cs typeface="Aharoni" panose="02010803020104030203" pitchFamily="2" charset="-79"/>
              </a:rPr>
              <a:t> </a:t>
            </a:r>
            <a:r>
              <a:rPr kumimoji="0" lang="en-US" sz="1200" b="0" i="0" u="none" strike="noStrike" kern="1200" cap="none" spc="0" normalizeH="0" baseline="0" noProof="0" dirty="0" err="1">
                <a:ln>
                  <a:noFill/>
                </a:ln>
                <a:solidFill>
                  <a:prstClr val="black">
                    <a:lumMod val="50000"/>
                    <a:lumOff val="50000"/>
                  </a:prstClr>
                </a:solidFill>
                <a:effectLst/>
                <a:uLnTx/>
                <a:uFillTx/>
                <a:latin typeface="HarmonyOS Sans SC"/>
                <a:cs typeface="Aharoni" panose="02010803020104030203" pitchFamily="2" charset="-79"/>
              </a:rPr>
              <a:t>Tempor</a:t>
            </a:r>
            <a:r>
              <a:rPr kumimoji="0" lang="en-US" sz="1200" b="0" i="0" u="none" strike="noStrike" kern="1200" cap="none" spc="0" normalizeH="0" baseline="0" noProof="0" dirty="0">
                <a:ln>
                  <a:noFill/>
                </a:ln>
                <a:solidFill>
                  <a:prstClr val="black">
                    <a:lumMod val="50000"/>
                    <a:lumOff val="50000"/>
                  </a:prstClr>
                </a:solidFill>
                <a:effectLst/>
                <a:uLnTx/>
                <a:uFillTx/>
                <a:latin typeface="HarmonyOS Sans SC"/>
                <a:cs typeface="Aharoni" panose="02010803020104030203" pitchFamily="2" charset="-79"/>
              </a:rPr>
              <a:t> </a:t>
            </a:r>
            <a:r>
              <a:rPr kumimoji="0" lang="en-US" sz="1200" b="0" i="0" u="none" strike="noStrike" kern="1200" cap="none" spc="0" normalizeH="0" baseline="0" noProof="0" dirty="0" err="1">
                <a:ln>
                  <a:noFill/>
                </a:ln>
                <a:solidFill>
                  <a:prstClr val="black">
                    <a:lumMod val="50000"/>
                    <a:lumOff val="50000"/>
                  </a:prstClr>
                </a:solidFill>
                <a:effectLst/>
                <a:uLnTx/>
                <a:uFillTx/>
                <a:latin typeface="HarmonyOS Sans SC"/>
                <a:cs typeface="Aharoni" panose="02010803020104030203" pitchFamily="2" charset="-79"/>
              </a:rPr>
              <a:t>Incidi</a:t>
            </a:r>
            <a:r>
              <a:rPr kumimoji="0" lang="en-US" sz="1200" b="0" i="0" u="none" strike="noStrike" kern="1200" cap="none" spc="0" normalizeH="0" baseline="0" noProof="0" dirty="0">
                <a:ln>
                  <a:noFill/>
                </a:ln>
                <a:solidFill>
                  <a:prstClr val="black">
                    <a:lumMod val="50000"/>
                    <a:lumOff val="50000"/>
                  </a:prstClr>
                </a:solidFill>
                <a:effectLst/>
                <a:uLnTx/>
                <a:uFillTx/>
                <a:latin typeface="HarmonyOS Sans SC"/>
                <a:cs typeface="Aharoni" panose="02010803020104030203" pitchFamily="2" charset="-79"/>
              </a:rPr>
              <a:t> </a:t>
            </a:r>
            <a:r>
              <a:rPr kumimoji="0" lang="en-US" sz="1200" b="0" i="0" u="none" strike="noStrike" kern="1200" cap="none" spc="0" normalizeH="0" baseline="0" noProof="0" dirty="0" err="1">
                <a:ln>
                  <a:noFill/>
                </a:ln>
                <a:solidFill>
                  <a:prstClr val="black">
                    <a:lumMod val="50000"/>
                    <a:lumOff val="50000"/>
                  </a:prstClr>
                </a:solidFill>
                <a:effectLst/>
                <a:uLnTx/>
                <a:uFillTx/>
                <a:latin typeface="HarmonyOS Sans SC"/>
                <a:cs typeface="Aharoni" panose="02010803020104030203" pitchFamily="2" charset="-79"/>
              </a:rPr>
              <a:t>Dunt</a:t>
            </a:r>
            <a:r>
              <a:rPr kumimoji="0" lang="en-US" sz="1200" b="0" i="0" u="none" strike="noStrike" kern="1200" cap="none" spc="0" normalizeH="0" baseline="0" noProof="0" dirty="0">
                <a:ln>
                  <a:noFill/>
                </a:ln>
                <a:solidFill>
                  <a:prstClr val="black">
                    <a:lumMod val="50000"/>
                    <a:lumOff val="50000"/>
                  </a:prstClr>
                </a:solidFill>
                <a:effectLst/>
                <a:uLnTx/>
                <a:uFillTx/>
                <a:latin typeface="HarmonyOS Sans SC"/>
                <a:cs typeface="Aharoni" panose="02010803020104030203" pitchFamily="2" charset="-79"/>
              </a:rPr>
              <a:t> </a:t>
            </a:r>
            <a:r>
              <a:rPr kumimoji="0" lang="en-US" sz="1200" b="0" i="0" u="none" strike="noStrike" kern="1200" cap="none" spc="0" normalizeH="0" baseline="0" noProof="0" dirty="0" err="1">
                <a:ln>
                  <a:noFill/>
                </a:ln>
                <a:solidFill>
                  <a:prstClr val="black">
                    <a:lumMod val="50000"/>
                    <a:lumOff val="50000"/>
                  </a:prstClr>
                </a:solidFill>
                <a:effectLst/>
                <a:uLnTx/>
                <a:uFillTx/>
                <a:latin typeface="HarmonyOS Sans SC"/>
                <a:cs typeface="Aharoni" panose="02010803020104030203" pitchFamily="2" charset="-79"/>
              </a:rPr>
              <a:t>Ectetur</a:t>
            </a:r>
            <a:r>
              <a:rPr kumimoji="0" lang="en-US" sz="1200" b="0" i="0" u="none" strike="noStrike" kern="1200" cap="none" spc="0" normalizeH="0" baseline="0" noProof="0" dirty="0">
                <a:ln>
                  <a:noFill/>
                </a:ln>
                <a:solidFill>
                  <a:prstClr val="black">
                    <a:lumMod val="50000"/>
                    <a:lumOff val="50000"/>
                  </a:prstClr>
                </a:solidFill>
                <a:effectLst/>
                <a:uLnTx/>
                <a:uFillTx/>
                <a:latin typeface="HarmonyOS Sans SC"/>
                <a:cs typeface="Aharoni" panose="02010803020104030203" pitchFamily="2" charset="-79"/>
              </a:rPr>
              <a:t> </a:t>
            </a:r>
            <a:r>
              <a:rPr kumimoji="0" lang="en-US" sz="1200" b="0" i="0" u="none" strike="noStrike" kern="1200" cap="none" spc="0" normalizeH="0" baseline="0" noProof="0" dirty="0" err="1">
                <a:ln>
                  <a:noFill/>
                </a:ln>
                <a:solidFill>
                  <a:prstClr val="black">
                    <a:lumMod val="50000"/>
                    <a:lumOff val="50000"/>
                  </a:prstClr>
                </a:solidFill>
                <a:effectLst/>
                <a:uLnTx/>
                <a:uFillTx/>
                <a:latin typeface="HarmonyOS Sans SC"/>
                <a:cs typeface="Aharoni" panose="02010803020104030203" pitchFamily="2" charset="-79"/>
              </a:rPr>
              <a:t>Adipis</a:t>
            </a:r>
            <a:r>
              <a:rPr kumimoji="0" lang="en-US" sz="1200" b="0" i="0" u="none" strike="noStrike" kern="1200" cap="none" spc="0" normalizeH="0" baseline="0" noProof="0" dirty="0">
                <a:ln>
                  <a:noFill/>
                </a:ln>
                <a:solidFill>
                  <a:prstClr val="black">
                    <a:lumMod val="50000"/>
                    <a:lumOff val="50000"/>
                  </a:prstClr>
                </a:solidFill>
                <a:effectLst/>
                <a:uLnTx/>
                <a:uFillTx/>
                <a:latin typeface="HarmonyOS Sans SC"/>
                <a:cs typeface="Aharoni" panose="02010803020104030203" pitchFamily="2" charset="-79"/>
              </a:rPr>
              <a:t> </a:t>
            </a:r>
            <a:r>
              <a:rPr kumimoji="0" lang="en-US" sz="1200" b="0" i="0" u="none" strike="noStrike" kern="1200" cap="none" spc="0" normalizeH="0" baseline="0" noProof="0" dirty="0" err="1">
                <a:ln>
                  <a:noFill/>
                </a:ln>
                <a:solidFill>
                  <a:prstClr val="black">
                    <a:lumMod val="50000"/>
                    <a:lumOff val="50000"/>
                  </a:prstClr>
                </a:solidFill>
                <a:effectLst/>
                <a:uLnTx/>
                <a:uFillTx/>
                <a:latin typeface="HarmonyOS Sans SC"/>
                <a:cs typeface="Aharoni" panose="02010803020104030203" pitchFamily="2" charset="-79"/>
              </a:rPr>
              <a:t>Cing</a:t>
            </a:r>
            <a:r>
              <a:rPr kumimoji="0" lang="en-US" sz="1200" b="0" i="0" u="none" strike="noStrike" kern="1200" cap="none" spc="0" normalizeH="0" baseline="0" noProof="0" dirty="0">
                <a:ln>
                  <a:noFill/>
                </a:ln>
                <a:solidFill>
                  <a:prstClr val="black">
                    <a:lumMod val="50000"/>
                    <a:lumOff val="50000"/>
                  </a:prstClr>
                </a:solidFill>
                <a:effectLst/>
                <a:uLnTx/>
                <a:uFillTx/>
                <a:latin typeface="HarmonyOS Sans SC"/>
                <a:cs typeface="Aharoni" panose="02010803020104030203" pitchFamily="2" charset="-79"/>
              </a:rPr>
              <a:t> </a:t>
            </a:r>
            <a:r>
              <a:rPr kumimoji="0" lang="en-US" sz="1200" b="0" i="0" u="none" strike="noStrike" kern="1200" cap="none" spc="0" normalizeH="0" baseline="0" noProof="0" dirty="0" err="1">
                <a:ln>
                  <a:noFill/>
                </a:ln>
                <a:solidFill>
                  <a:prstClr val="black">
                    <a:lumMod val="50000"/>
                    <a:lumOff val="50000"/>
                  </a:prstClr>
                </a:solidFill>
                <a:effectLst/>
                <a:uLnTx/>
                <a:uFillTx/>
                <a:latin typeface="HarmonyOS Sans SC"/>
                <a:cs typeface="Aharoni" panose="02010803020104030203" pitchFamily="2" charset="-79"/>
              </a:rPr>
              <a:t>Elit</a:t>
            </a:r>
            <a:r>
              <a:rPr kumimoji="0" lang="en-US" sz="1200" b="0" i="0" u="none" strike="noStrike" kern="1200" cap="none" spc="0" normalizeH="0" baseline="0" noProof="0" dirty="0">
                <a:ln>
                  <a:noFill/>
                </a:ln>
                <a:solidFill>
                  <a:prstClr val="black">
                    <a:lumMod val="50000"/>
                    <a:lumOff val="50000"/>
                  </a:prstClr>
                </a:solidFill>
                <a:effectLst/>
                <a:uLnTx/>
                <a:uFillTx/>
                <a:latin typeface="HarmonyOS Sans SC"/>
                <a:cs typeface="Aharoni" panose="02010803020104030203" pitchFamily="2" charset="-79"/>
              </a:rPr>
              <a:t>, Sed</a:t>
            </a:r>
          </a:p>
        </p:txBody>
      </p:sp>
      <p:sp>
        <p:nvSpPr>
          <p:cNvPr id="16" name="TextBox 38">
            <a:extLst>
              <a:ext uri="{FF2B5EF4-FFF2-40B4-BE49-F238E27FC236}">
                <a16:creationId xmlns:a16="http://schemas.microsoft.com/office/drawing/2014/main" id="{B726F933-4233-4948-9D21-54D1DB56C65D}"/>
              </a:ext>
            </a:extLst>
          </p:cNvPr>
          <p:cNvSpPr txBox="1"/>
          <p:nvPr/>
        </p:nvSpPr>
        <p:spPr>
          <a:xfrm>
            <a:off x="1055688" y="2853318"/>
            <a:ext cx="2079416" cy="369332"/>
          </a:xfrm>
          <a:prstGeom prst="rect">
            <a:avLst/>
          </a:prstGeom>
          <a:solidFill>
            <a:schemeClr val="accent1"/>
          </a:solid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HarmonyOS Sans SC"/>
                <a:cs typeface="+mn-cs"/>
              </a:rPr>
              <a:t>WRITE SUBTITLE</a:t>
            </a:r>
          </a:p>
        </p:txBody>
      </p:sp>
      <p:sp>
        <p:nvSpPr>
          <p:cNvPr id="17" name="Oval 39">
            <a:extLst>
              <a:ext uri="{FF2B5EF4-FFF2-40B4-BE49-F238E27FC236}">
                <a16:creationId xmlns:a16="http://schemas.microsoft.com/office/drawing/2014/main" id="{CA475A54-975A-4B98-AAB1-0D6B33908EC6}"/>
              </a:ext>
            </a:extLst>
          </p:cNvPr>
          <p:cNvSpPr/>
          <p:nvPr/>
        </p:nvSpPr>
        <p:spPr>
          <a:xfrm>
            <a:off x="3418716" y="2623552"/>
            <a:ext cx="774915" cy="774915"/>
          </a:xfrm>
          <a:prstGeom prst="ellipse">
            <a:avLst/>
          </a:prstGeom>
          <a:gradFill>
            <a:gsLst>
              <a:gs pos="73000">
                <a:schemeClr val="accent1"/>
              </a:gs>
              <a:gs pos="31000">
                <a:schemeClr val="accent1">
                  <a:lumMod val="60000"/>
                  <a:lumOff val="40000"/>
                </a:schemeClr>
              </a:gs>
              <a:gs pos="0">
                <a:schemeClr val="accent1">
                  <a:lumMod val="40000"/>
                  <a:lumOff val="60000"/>
                </a:schemeClr>
              </a:gs>
            </a:gsLst>
            <a:path path="circle">
              <a:fillToRect r="100000" b="100000"/>
            </a:path>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HarmonyOS Sans SC Black"/>
              <a:ea typeface="+mj-ea"/>
              <a:cs typeface="+mn-cs"/>
            </a:endParaRPr>
          </a:p>
        </p:txBody>
      </p:sp>
      <p:sp>
        <p:nvSpPr>
          <p:cNvPr id="18" name="TextBox 40">
            <a:extLst>
              <a:ext uri="{FF2B5EF4-FFF2-40B4-BE49-F238E27FC236}">
                <a16:creationId xmlns:a16="http://schemas.microsoft.com/office/drawing/2014/main" id="{89A6912F-7A49-4AF2-9B34-FAD8307A742A}"/>
              </a:ext>
            </a:extLst>
          </p:cNvPr>
          <p:cNvSpPr txBox="1"/>
          <p:nvPr/>
        </p:nvSpPr>
        <p:spPr>
          <a:xfrm>
            <a:off x="3435801" y="2810954"/>
            <a:ext cx="728084" cy="4001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white"/>
                </a:solidFill>
                <a:effectLst/>
                <a:uLnTx/>
                <a:uFillTx/>
                <a:latin typeface="HarmonyOS Sans SC Black"/>
                <a:ea typeface="+mj-ea"/>
                <a:cs typeface="+mn-cs"/>
              </a:rPr>
              <a:t>32%</a:t>
            </a:r>
          </a:p>
        </p:txBody>
      </p:sp>
      <p:sp>
        <p:nvSpPr>
          <p:cNvPr id="19" name="Oval 41">
            <a:extLst>
              <a:ext uri="{FF2B5EF4-FFF2-40B4-BE49-F238E27FC236}">
                <a16:creationId xmlns:a16="http://schemas.microsoft.com/office/drawing/2014/main" id="{C346AADD-D744-4827-9FE9-5996251A1BDB}"/>
              </a:ext>
            </a:extLst>
          </p:cNvPr>
          <p:cNvSpPr/>
          <p:nvPr/>
        </p:nvSpPr>
        <p:spPr>
          <a:xfrm>
            <a:off x="4487866" y="2623552"/>
            <a:ext cx="774915" cy="774915"/>
          </a:xfrm>
          <a:prstGeom prst="ellipse">
            <a:avLst/>
          </a:prstGeom>
          <a:gradFill>
            <a:gsLst>
              <a:gs pos="73000">
                <a:schemeClr val="accent1"/>
              </a:gs>
              <a:gs pos="31000">
                <a:schemeClr val="accent1">
                  <a:lumMod val="60000"/>
                  <a:lumOff val="40000"/>
                </a:schemeClr>
              </a:gs>
              <a:gs pos="0">
                <a:schemeClr val="accent1">
                  <a:lumMod val="40000"/>
                  <a:lumOff val="60000"/>
                </a:schemeClr>
              </a:gs>
            </a:gsLst>
            <a:path path="circle">
              <a:fillToRect r="100000" b="100000"/>
            </a:path>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HarmonyOS Sans SC Black"/>
              <a:ea typeface="+mj-ea"/>
              <a:cs typeface="+mn-cs"/>
            </a:endParaRPr>
          </a:p>
        </p:txBody>
      </p:sp>
      <p:sp>
        <p:nvSpPr>
          <p:cNvPr id="20" name="TextBox 42">
            <a:extLst>
              <a:ext uri="{FF2B5EF4-FFF2-40B4-BE49-F238E27FC236}">
                <a16:creationId xmlns:a16="http://schemas.microsoft.com/office/drawing/2014/main" id="{8012CD46-7689-42D5-8C96-1AA0ADCFB58B}"/>
              </a:ext>
            </a:extLst>
          </p:cNvPr>
          <p:cNvSpPr txBox="1"/>
          <p:nvPr/>
        </p:nvSpPr>
        <p:spPr>
          <a:xfrm>
            <a:off x="4504950" y="2810954"/>
            <a:ext cx="728084" cy="4001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white"/>
                </a:solidFill>
                <a:effectLst/>
                <a:uLnTx/>
                <a:uFillTx/>
                <a:latin typeface="HarmonyOS Sans SC Black"/>
                <a:ea typeface="+mj-ea"/>
                <a:cs typeface="+mn-cs"/>
              </a:rPr>
              <a:t>23%</a:t>
            </a:r>
          </a:p>
        </p:txBody>
      </p:sp>
      <p:sp>
        <p:nvSpPr>
          <p:cNvPr id="21" name="Oval 43">
            <a:extLst>
              <a:ext uri="{FF2B5EF4-FFF2-40B4-BE49-F238E27FC236}">
                <a16:creationId xmlns:a16="http://schemas.microsoft.com/office/drawing/2014/main" id="{395B95EE-DFDA-46D9-AEA0-58E8581AD04A}"/>
              </a:ext>
            </a:extLst>
          </p:cNvPr>
          <p:cNvSpPr/>
          <p:nvPr/>
        </p:nvSpPr>
        <p:spPr>
          <a:xfrm>
            <a:off x="5557016" y="2623552"/>
            <a:ext cx="774915" cy="774915"/>
          </a:xfrm>
          <a:prstGeom prst="ellipse">
            <a:avLst/>
          </a:prstGeom>
          <a:gradFill>
            <a:gsLst>
              <a:gs pos="73000">
                <a:schemeClr val="accent1"/>
              </a:gs>
              <a:gs pos="31000">
                <a:schemeClr val="accent1">
                  <a:lumMod val="60000"/>
                  <a:lumOff val="40000"/>
                </a:schemeClr>
              </a:gs>
              <a:gs pos="0">
                <a:schemeClr val="accent1">
                  <a:lumMod val="40000"/>
                  <a:lumOff val="60000"/>
                </a:schemeClr>
              </a:gs>
            </a:gsLst>
            <a:path path="circle">
              <a:fillToRect r="100000" b="100000"/>
            </a:path>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HarmonyOS Sans SC Black"/>
              <a:ea typeface="+mj-ea"/>
              <a:cs typeface="+mn-cs"/>
            </a:endParaRPr>
          </a:p>
        </p:txBody>
      </p:sp>
      <p:sp>
        <p:nvSpPr>
          <p:cNvPr id="22" name="TextBox 44">
            <a:extLst>
              <a:ext uri="{FF2B5EF4-FFF2-40B4-BE49-F238E27FC236}">
                <a16:creationId xmlns:a16="http://schemas.microsoft.com/office/drawing/2014/main" id="{E19F4B80-B42C-4A63-B9DC-05AACCA9B762}"/>
              </a:ext>
            </a:extLst>
          </p:cNvPr>
          <p:cNvSpPr txBox="1"/>
          <p:nvPr/>
        </p:nvSpPr>
        <p:spPr>
          <a:xfrm>
            <a:off x="5574100" y="2810954"/>
            <a:ext cx="728084" cy="4001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white"/>
                </a:solidFill>
                <a:effectLst/>
                <a:uLnTx/>
                <a:uFillTx/>
                <a:latin typeface="HarmonyOS Sans SC Black"/>
                <a:ea typeface="+mj-ea"/>
                <a:cs typeface="+mn-cs"/>
              </a:rPr>
              <a:t>14%</a:t>
            </a:r>
          </a:p>
        </p:txBody>
      </p:sp>
      <p:sp>
        <p:nvSpPr>
          <p:cNvPr id="25" name="文本框 24">
            <a:extLst>
              <a:ext uri="{FF2B5EF4-FFF2-40B4-BE49-F238E27FC236}">
                <a16:creationId xmlns:a16="http://schemas.microsoft.com/office/drawing/2014/main" id="{2B5458D7-86A7-4AC4-92CF-04DDA332DDDB}"/>
              </a:ext>
            </a:extLst>
          </p:cNvPr>
          <p:cNvSpPr txBox="1"/>
          <p:nvPr/>
        </p:nvSpPr>
        <p:spPr>
          <a:xfrm>
            <a:off x="4467990" y="918105"/>
            <a:ext cx="3256020" cy="52322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2800" b="0" i="0" u="none" strike="noStrike" kern="1200" cap="none" spc="0" normalizeH="0" baseline="0" noProof="0" dirty="0">
                <a:ln>
                  <a:noFill/>
                </a:ln>
                <a:solidFill>
                  <a:prstClr val="black"/>
                </a:solidFill>
                <a:effectLst/>
                <a:uLnTx/>
                <a:uFillTx/>
                <a:latin typeface="HarmonyOS Sans Black"/>
                <a:ea typeface="+mj-ea"/>
                <a:cs typeface="+mn-cs"/>
              </a:rPr>
              <a:t>The Info Graphics</a:t>
            </a:r>
          </a:p>
        </p:txBody>
      </p:sp>
      <p:sp>
        <p:nvSpPr>
          <p:cNvPr id="26" name="TextBox 26">
            <a:extLst>
              <a:ext uri="{FF2B5EF4-FFF2-40B4-BE49-F238E27FC236}">
                <a16:creationId xmlns:a16="http://schemas.microsoft.com/office/drawing/2014/main" id="{57BBDE34-1B61-4B52-AB80-A317A7AD6766}"/>
              </a:ext>
            </a:extLst>
          </p:cNvPr>
          <p:cNvSpPr txBox="1"/>
          <p:nvPr/>
        </p:nvSpPr>
        <p:spPr>
          <a:xfrm>
            <a:off x="3486150" y="663942"/>
            <a:ext cx="5219700" cy="254163"/>
          </a:xfrm>
          <a:prstGeom prst="rect">
            <a:avLst/>
          </a:prstGeom>
          <a:noFill/>
        </p:spPr>
        <p:txBody>
          <a:bodyPr wrap="square" lIns="0" tIns="36000" rIns="0" bIns="36000" rtlCol="0">
            <a:spAutoFit/>
          </a:bodyPr>
          <a:lstStyle/>
          <a:p>
            <a:pPr marL="0" marR="0" lvl="0" indent="0" algn="ctr" defTabSz="914400" rtl="0" eaLnBrk="1" fontAlgn="auto" latinLnBrk="0" hangingPunct="1">
              <a:lnSpc>
                <a:spcPct val="130000"/>
              </a:lnSpc>
              <a:spcBef>
                <a:spcPts val="1000"/>
              </a:spcBef>
              <a:spcAft>
                <a:spcPts val="0"/>
              </a:spcAft>
              <a:buClrTx/>
              <a:buSzTx/>
              <a:buFontTx/>
              <a:buNone/>
              <a:tabLst/>
              <a:defRPr/>
            </a:pPr>
            <a:r>
              <a:rPr kumimoji="0" lang="da-DK" sz="1000" b="0" i="0" u="none" strike="noStrike" kern="1200" cap="none" spc="0" normalizeH="0" baseline="0" noProof="0" dirty="0">
                <a:ln>
                  <a:noFill/>
                </a:ln>
                <a:solidFill>
                  <a:prstClr val="black">
                    <a:lumMod val="50000"/>
                    <a:lumOff val="50000"/>
                    <a:alpha val="70000"/>
                  </a:prstClr>
                </a:solidFill>
                <a:effectLst/>
                <a:uLnTx/>
                <a:uFillTx/>
                <a:latin typeface="HarmonyOS Sans SC"/>
                <a:cs typeface="+mn-cs"/>
              </a:rPr>
              <a:t>The Warm Beach</a:t>
            </a:r>
          </a:p>
        </p:txBody>
      </p:sp>
      <p:grpSp>
        <p:nvGrpSpPr>
          <p:cNvPr id="34" name="组合 33">
            <a:extLst>
              <a:ext uri="{FF2B5EF4-FFF2-40B4-BE49-F238E27FC236}">
                <a16:creationId xmlns:a16="http://schemas.microsoft.com/office/drawing/2014/main" id="{2CD2A798-2065-4C00-8B11-E1725CDE9870}"/>
              </a:ext>
            </a:extLst>
          </p:cNvPr>
          <p:cNvGrpSpPr/>
          <p:nvPr/>
        </p:nvGrpSpPr>
        <p:grpSpPr>
          <a:xfrm>
            <a:off x="7760425" y="1690454"/>
            <a:ext cx="2745650" cy="4486742"/>
            <a:chOff x="7877949" y="1763932"/>
            <a:chExt cx="2510602" cy="4102644"/>
          </a:xfrm>
        </p:grpSpPr>
        <p:sp>
          <p:nvSpPr>
            <p:cNvPr id="3" name="Freeform 23">
              <a:extLst>
                <a:ext uri="{FF2B5EF4-FFF2-40B4-BE49-F238E27FC236}">
                  <a16:creationId xmlns:a16="http://schemas.microsoft.com/office/drawing/2014/main" id="{7C76AAA6-1692-4879-A0C3-49699D99B9A7}"/>
                </a:ext>
              </a:extLst>
            </p:cNvPr>
            <p:cNvSpPr>
              <a:spLocks noEditPoints="1"/>
            </p:cNvSpPr>
            <p:nvPr/>
          </p:nvSpPr>
          <p:spPr bwMode="auto">
            <a:xfrm>
              <a:off x="7877949" y="1928265"/>
              <a:ext cx="2510602" cy="3938311"/>
            </a:xfrm>
            <a:custGeom>
              <a:avLst/>
              <a:gdLst>
                <a:gd name="T0" fmla="*/ 905 w 2643"/>
                <a:gd name="T1" fmla="*/ 1864 h 4146"/>
                <a:gd name="T2" fmla="*/ 859 w 2643"/>
                <a:gd name="T3" fmla="*/ 1936 h 4146"/>
                <a:gd name="T4" fmla="*/ 694 w 2643"/>
                <a:gd name="T5" fmla="*/ 2179 h 4146"/>
                <a:gd name="T6" fmla="*/ 529 w 2643"/>
                <a:gd name="T7" fmla="*/ 2430 h 4146"/>
                <a:gd name="T8" fmla="*/ 374 w 2643"/>
                <a:gd name="T9" fmla="*/ 2683 h 4146"/>
                <a:gd name="T10" fmla="*/ 238 w 2643"/>
                <a:gd name="T11" fmla="*/ 2931 h 4146"/>
                <a:gd name="T12" fmla="*/ 133 w 2643"/>
                <a:gd name="T13" fmla="*/ 3169 h 4146"/>
                <a:gd name="T14" fmla="*/ 69 w 2643"/>
                <a:gd name="T15" fmla="*/ 3391 h 4146"/>
                <a:gd name="T16" fmla="*/ 55 w 2643"/>
                <a:gd name="T17" fmla="*/ 3589 h 4146"/>
                <a:gd name="T18" fmla="*/ 105 w 2643"/>
                <a:gd name="T19" fmla="*/ 3751 h 4146"/>
                <a:gd name="T20" fmla="*/ 234 w 2643"/>
                <a:gd name="T21" fmla="*/ 3875 h 4146"/>
                <a:gd name="T22" fmla="*/ 425 w 2643"/>
                <a:gd name="T23" fmla="*/ 3975 h 4146"/>
                <a:gd name="T24" fmla="*/ 676 w 2643"/>
                <a:gd name="T25" fmla="*/ 4044 h 4146"/>
                <a:gd name="T26" fmla="*/ 978 w 2643"/>
                <a:gd name="T27" fmla="*/ 4084 h 4146"/>
                <a:gd name="T28" fmla="*/ 1204 w 2643"/>
                <a:gd name="T29" fmla="*/ 4091 h 4146"/>
                <a:gd name="T30" fmla="*/ 1537 w 2643"/>
                <a:gd name="T31" fmla="*/ 4075 h 4146"/>
                <a:gd name="T32" fmla="*/ 1848 w 2643"/>
                <a:gd name="T33" fmla="*/ 4031 h 4146"/>
                <a:gd name="T34" fmla="*/ 2124 w 2643"/>
                <a:gd name="T35" fmla="*/ 3965 h 4146"/>
                <a:gd name="T36" fmla="*/ 2348 w 2643"/>
                <a:gd name="T37" fmla="*/ 3877 h 4146"/>
                <a:gd name="T38" fmla="*/ 2504 w 2643"/>
                <a:gd name="T39" fmla="*/ 3776 h 4146"/>
                <a:gd name="T40" fmla="*/ 2579 w 2643"/>
                <a:gd name="T41" fmla="*/ 3643 h 4146"/>
                <a:gd name="T42" fmla="*/ 2583 w 2643"/>
                <a:gd name="T43" fmla="*/ 3449 h 4146"/>
                <a:gd name="T44" fmla="*/ 2532 w 2643"/>
                <a:gd name="T45" fmla="*/ 3233 h 4146"/>
                <a:gd name="T46" fmla="*/ 2437 w 2643"/>
                <a:gd name="T47" fmla="*/ 3001 h 4146"/>
                <a:gd name="T48" fmla="*/ 2305 w 2643"/>
                <a:gd name="T49" fmla="*/ 2756 h 4146"/>
                <a:gd name="T50" fmla="*/ 2150 w 2643"/>
                <a:gd name="T51" fmla="*/ 2505 h 4146"/>
                <a:gd name="T52" fmla="*/ 1980 w 2643"/>
                <a:gd name="T53" fmla="*/ 2252 h 4146"/>
                <a:gd name="T54" fmla="*/ 1807 w 2643"/>
                <a:gd name="T55" fmla="*/ 2004 h 4146"/>
                <a:gd name="T56" fmla="*/ 1705 w 2643"/>
                <a:gd name="T57" fmla="*/ 1854 h 4146"/>
                <a:gd name="T58" fmla="*/ 907 w 2643"/>
                <a:gd name="T59" fmla="*/ 57 h 4146"/>
                <a:gd name="T60" fmla="*/ 1744 w 2643"/>
                <a:gd name="T61" fmla="*/ 17 h 4146"/>
                <a:gd name="T62" fmla="*/ 1757 w 2643"/>
                <a:gd name="T63" fmla="*/ 1840 h 4146"/>
                <a:gd name="T64" fmla="*/ 1968 w 2643"/>
                <a:gd name="T65" fmla="*/ 2140 h 4146"/>
                <a:gd name="T66" fmla="*/ 2144 w 2643"/>
                <a:gd name="T67" fmla="*/ 2397 h 4146"/>
                <a:gd name="T68" fmla="*/ 2308 w 2643"/>
                <a:gd name="T69" fmla="*/ 2655 h 4146"/>
                <a:gd name="T70" fmla="*/ 2450 w 2643"/>
                <a:gd name="T71" fmla="*/ 2907 h 4146"/>
                <a:gd name="T72" fmla="*/ 2560 w 2643"/>
                <a:gd name="T73" fmla="*/ 3152 h 4146"/>
                <a:gd name="T74" fmla="*/ 2627 w 2643"/>
                <a:gd name="T75" fmla="*/ 3382 h 4146"/>
                <a:gd name="T76" fmla="*/ 2640 w 2643"/>
                <a:gd name="T77" fmla="*/ 3595 h 4146"/>
                <a:gd name="T78" fmla="*/ 2611 w 2643"/>
                <a:gd name="T79" fmla="*/ 3726 h 4146"/>
                <a:gd name="T80" fmla="*/ 2514 w 2643"/>
                <a:gd name="T81" fmla="*/ 3840 h 4146"/>
                <a:gd name="T82" fmla="*/ 2366 w 2643"/>
                <a:gd name="T83" fmla="*/ 3931 h 4146"/>
                <a:gd name="T84" fmla="*/ 2198 w 2643"/>
                <a:gd name="T85" fmla="*/ 3999 h 4146"/>
                <a:gd name="T86" fmla="*/ 1988 w 2643"/>
                <a:gd name="T87" fmla="*/ 4058 h 4146"/>
                <a:gd name="T88" fmla="*/ 1664 w 2643"/>
                <a:gd name="T89" fmla="*/ 4116 h 4146"/>
                <a:gd name="T90" fmla="*/ 1319 w 2643"/>
                <a:gd name="T91" fmla="*/ 4145 h 4146"/>
                <a:gd name="T92" fmla="*/ 1087 w 2643"/>
                <a:gd name="T93" fmla="*/ 4145 h 4146"/>
                <a:gd name="T94" fmla="*/ 758 w 2643"/>
                <a:gd name="T95" fmla="*/ 4115 h 4146"/>
                <a:gd name="T96" fmla="*/ 476 w 2643"/>
                <a:gd name="T97" fmla="*/ 4051 h 4146"/>
                <a:gd name="T98" fmla="*/ 252 w 2643"/>
                <a:gd name="T99" fmla="*/ 3953 h 4146"/>
                <a:gd name="T100" fmla="*/ 95 w 2643"/>
                <a:gd name="T101" fmla="*/ 3827 h 4146"/>
                <a:gd name="T102" fmla="*/ 28 w 2643"/>
                <a:gd name="T103" fmla="*/ 3724 h 4146"/>
                <a:gd name="T104" fmla="*/ 0 w 2643"/>
                <a:gd name="T105" fmla="*/ 3545 h 4146"/>
                <a:gd name="T106" fmla="*/ 26 w 2643"/>
                <a:gd name="T107" fmla="*/ 3341 h 4146"/>
                <a:gd name="T108" fmla="*/ 98 w 2643"/>
                <a:gd name="T109" fmla="*/ 3117 h 4146"/>
                <a:gd name="T110" fmla="*/ 205 w 2643"/>
                <a:gd name="T111" fmla="*/ 2879 h 4146"/>
                <a:gd name="T112" fmla="*/ 340 w 2643"/>
                <a:gd name="T113" fmla="*/ 2634 h 4146"/>
                <a:gd name="T114" fmla="*/ 493 w 2643"/>
                <a:gd name="T115" fmla="*/ 2386 h 4146"/>
                <a:gd name="T116" fmla="*/ 655 w 2643"/>
                <a:gd name="T117" fmla="*/ 2140 h 4146"/>
                <a:gd name="T118" fmla="*/ 815 w 2643"/>
                <a:gd name="T119" fmla="*/ 1904 h 4146"/>
                <a:gd name="T120" fmla="*/ 853 w 2643"/>
                <a:gd name="T121" fmla="*/ 22 h 4146"/>
                <a:gd name="T122" fmla="*/ 864 w 2643"/>
                <a:gd name="T123" fmla="*/ 6 h 4146"/>
                <a:gd name="T124" fmla="*/ 880 w 2643"/>
                <a:gd name="T125" fmla="*/ 0 h 4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643" h="4146">
                  <a:moveTo>
                    <a:pt x="907" y="57"/>
                  </a:moveTo>
                  <a:lnTo>
                    <a:pt x="907" y="1858"/>
                  </a:lnTo>
                  <a:lnTo>
                    <a:pt x="905" y="1864"/>
                  </a:lnTo>
                  <a:lnTo>
                    <a:pt x="904" y="1868"/>
                  </a:lnTo>
                  <a:lnTo>
                    <a:pt x="901" y="1874"/>
                  </a:lnTo>
                  <a:lnTo>
                    <a:pt x="859" y="1936"/>
                  </a:lnTo>
                  <a:lnTo>
                    <a:pt x="805" y="2016"/>
                  </a:lnTo>
                  <a:lnTo>
                    <a:pt x="750" y="2097"/>
                  </a:lnTo>
                  <a:lnTo>
                    <a:pt x="694" y="2179"/>
                  </a:lnTo>
                  <a:lnTo>
                    <a:pt x="639" y="2261"/>
                  </a:lnTo>
                  <a:lnTo>
                    <a:pt x="584" y="2346"/>
                  </a:lnTo>
                  <a:lnTo>
                    <a:pt x="529" y="2430"/>
                  </a:lnTo>
                  <a:lnTo>
                    <a:pt x="476" y="2515"/>
                  </a:lnTo>
                  <a:lnTo>
                    <a:pt x="424" y="2598"/>
                  </a:lnTo>
                  <a:lnTo>
                    <a:pt x="374" y="2683"/>
                  </a:lnTo>
                  <a:lnTo>
                    <a:pt x="326" y="2767"/>
                  </a:lnTo>
                  <a:lnTo>
                    <a:pt x="281" y="2851"/>
                  </a:lnTo>
                  <a:lnTo>
                    <a:pt x="238" y="2931"/>
                  </a:lnTo>
                  <a:lnTo>
                    <a:pt x="200" y="3014"/>
                  </a:lnTo>
                  <a:lnTo>
                    <a:pt x="164" y="3093"/>
                  </a:lnTo>
                  <a:lnTo>
                    <a:pt x="133" y="3169"/>
                  </a:lnTo>
                  <a:lnTo>
                    <a:pt x="108" y="3246"/>
                  </a:lnTo>
                  <a:lnTo>
                    <a:pt x="85" y="3320"/>
                  </a:lnTo>
                  <a:lnTo>
                    <a:pt x="69" y="3391"/>
                  </a:lnTo>
                  <a:lnTo>
                    <a:pt x="58" y="3460"/>
                  </a:lnTo>
                  <a:lnTo>
                    <a:pt x="54" y="3525"/>
                  </a:lnTo>
                  <a:lnTo>
                    <a:pt x="55" y="3589"/>
                  </a:lnTo>
                  <a:lnTo>
                    <a:pt x="64" y="3647"/>
                  </a:lnTo>
                  <a:lnTo>
                    <a:pt x="78" y="3704"/>
                  </a:lnTo>
                  <a:lnTo>
                    <a:pt x="105" y="3751"/>
                  </a:lnTo>
                  <a:lnTo>
                    <a:pt x="140" y="3796"/>
                  </a:lnTo>
                  <a:lnTo>
                    <a:pt x="183" y="3837"/>
                  </a:lnTo>
                  <a:lnTo>
                    <a:pt x="234" y="3875"/>
                  </a:lnTo>
                  <a:lnTo>
                    <a:pt x="290" y="3912"/>
                  </a:lnTo>
                  <a:lnTo>
                    <a:pt x="354" y="3945"/>
                  </a:lnTo>
                  <a:lnTo>
                    <a:pt x="425" y="3975"/>
                  </a:lnTo>
                  <a:lnTo>
                    <a:pt x="503" y="4001"/>
                  </a:lnTo>
                  <a:lnTo>
                    <a:pt x="587" y="4024"/>
                  </a:lnTo>
                  <a:lnTo>
                    <a:pt x="676" y="4044"/>
                  </a:lnTo>
                  <a:lnTo>
                    <a:pt x="771" y="4061"/>
                  </a:lnTo>
                  <a:lnTo>
                    <a:pt x="871" y="4074"/>
                  </a:lnTo>
                  <a:lnTo>
                    <a:pt x="978" y="4084"/>
                  </a:lnTo>
                  <a:lnTo>
                    <a:pt x="1088" y="4089"/>
                  </a:lnTo>
                  <a:lnTo>
                    <a:pt x="1204" y="4091"/>
                  </a:lnTo>
                  <a:lnTo>
                    <a:pt x="1204" y="4091"/>
                  </a:lnTo>
                  <a:lnTo>
                    <a:pt x="1316" y="4089"/>
                  </a:lnTo>
                  <a:lnTo>
                    <a:pt x="1427" y="4084"/>
                  </a:lnTo>
                  <a:lnTo>
                    <a:pt x="1537" y="4075"/>
                  </a:lnTo>
                  <a:lnTo>
                    <a:pt x="1644" y="4064"/>
                  </a:lnTo>
                  <a:lnTo>
                    <a:pt x="1747" y="4048"/>
                  </a:lnTo>
                  <a:lnTo>
                    <a:pt x="1848" y="4031"/>
                  </a:lnTo>
                  <a:lnTo>
                    <a:pt x="1945" y="4011"/>
                  </a:lnTo>
                  <a:lnTo>
                    <a:pt x="2038" y="3989"/>
                  </a:lnTo>
                  <a:lnTo>
                    <a:pt x="2124" y="3965"/>
                  </a:lnTo>
                  <a:lnTo>
                    <a:pt x="2205" y="3938"/>
                  </a:lnTo>
                  <a:lnTo>
                    <a:pt x="2280" y="3908"/>
                  </a:lnTo>
                  <a:lnTo>
                    <a:pt x="2348" y="3877"/>
                  </a:lnTo>
                  <a:lnTo>
                    <a:pt x="2407" y="3844"/>
                  </a:lnTo>
                  <a:lnTo>
                    <a:pt x="2460" y="3812"/>
                  </a:lnTo>
                  <a:lnTo>
                    <a:pt x="2504" y="3776"/>
                  </a:lnTo>
                  <a:lnTo>
                    <a:pt x="2538" y="3739"/>
                  </a:lnTo>
                  <a:lnTo>
                    <a:pt x="2563" y="3701"/>
                  </a:lnTo>
                  <a:lnTo>
                    <a:pt x="2579" y="3643"/>
                  </a:lnTo>
                  <a:lnTo>
                    <a:pt x="2587" y="3580"/>
                  </a:lnTo>
                  <a:lnTo>
                    <a:pt x="2589" y="3517"/>
                  </a:lnTo>
                  <a:lnTo>
                    <a:pt x="2583" y="3449"/>
                  </a:lnTo>
                  <a:lnTo>
                    <a:pt x="2572" y="3379"/>
                  </a:lnTo>
                  <a:lnTo>
                    <a:pt x="2555" y="3307"/>
                  </a:lnTo>
                  <a:lnTo>
                    <a:pt x="2532" y="3233"/>
                  </a:lnTo>
                  <a:lnTo>
                    <a:pt x="2505" y="3157"/>
                  </a:lnTo>
                  <a:lnTo>
                    <a:pt x="2473" y="3079"/>
                  </a:lnTo>
                  <a:lnTo>
                    <a:pt x="2437" y="3001"/>
                  </a:lnTo>
                  <a:lnTo>
                    <a:pt x="2396" y="2920"/>
                  </a:lnTo>
                  <a:lnTo>
                    <a:pt x="2352" y="2838"/>
                  </a:lnTo>
                  <a:lnTo>
                    <a:pt x="2305" y="2756"/>
                  </a:lnTo>
                  <a:lnTo>
                    <a:pt x="2256" y="2672"/>
                  </a:lnTo>
                  <a:lnTo>
                    <a:pt x="2203" y="2588"/>
                  </a:lnTo>
                  <a:lnTo>
                    <a:pt x="2150" y="2505"/>
                  </a:lnTo>
                  <a:lnTo>
                    <a:pt x="2094" y="2421"/>
                  </a:lnTo>
                  <a:lnTo>
                    <a:pt x="2038" y="2336"/>
                  </a:lnTo>
                  <a:lnTo>
                    <a:pt x="1980" y="2252"/>
                  </a:lnTo>
                  <a:lnTo>
                    <a:pt x="1921" y="2169"/>
                  </a:lnTo>
                  <a:lnTo>
                    <a:pt x="1863" y="2087"/>
                  </a:lnTo>
                  <a:lnTo>
                    <a:pt x="1807" y="2004"/>
                  </a:lnTo>
                  <a:lnTo>
                    <a:pt x="1709" y="1866"/>
                  </a:lnTo>
                  <a:lnTo>
                    <a:pt x="1706" y="1860"/>
                  </a:lnTo>
                  <a:lnTo>
                    <a:pt x="1705" y="1854"/>
                  </a:lnTo>
                  <a:lnTo>
                    <a:pt x="1703" y="1849"/>
                  </a:lnTo>
                  <a:lnTo>
                    <a:pt x="1703" y="68"/>
                  </a:lnTo>
                  <a:lnTo>
                    <a:pt x="907" y="57"/>
                  </a:lnTo>
                  <a:close/>
                  <a:moveTo>
                    <a:pt x="880" y="0"/>
                  </a:moveTo>
                  <a:lnTo>
                    <a:pt x="1730" y="13"/>
                  </a:lnTo>
                  <a:lnTo>
                    <a:pt x="1744" y="17"/>
                  </a:lnTo>
                  <a:lnTo>
                    <a:pt x="1753" y="27"/>
                  </a:lnTo>
                  <a:lnTo>
                    <a:pt x="1757" y="41"/>
                  </a:lnTo>
                  <a:lnTo>
                    <a:pt x="1757" y="1840"/>
                  </a:lnTo>
                  <a:lnTo>
                    <a:pt x="1849" y="1972"/>
                  </a:lnTo>
                  <a:lnTo>
                    <a:pt x="1909" y="2055"/>
                  </a:lnTo>
                  <a:lnTo>
                    <a:pt x="1968" y="2140"/>
                  </a:lnTo>
                  <a:lnTo>
                    <a:pt x="2028" y="2226"/>
                  </a:lnTo>
                  <a:lnTo>
                    <a:pt x="2086" y="2311"/>
                  </a:lnTo>
                  <a:lnTo>
                    <a:pt x="2144" y="2397"/>
                  </a:lnTo>
                  <a:lnTo>
                    <a:pt x="2201" y="2482"/>
                  </a:lnTo>
                  <a:lnTo>
                    <a:pt x="2254" y="2569"/>
                  </a:lnTo>
                  <a:lnTo>
                    <a:pt x="2308" y="2655"/>
                  </a:lnTo>
                  <a:lnTo>
                    <a:pt x="2358" y="2740"/>
                  </a:lnTo>
                  <a:lnTo>
                    <a:pt x="2406" y="2824"/>
                  </a:lnTo>
                  <a:lnTo>
                    <a:pt x="2450" y="2907"/>
                  </a:lnTo>
                  <a:lnTo>
                    <a:pt x="2491" y="2991"/>
                  </a:lnTo>
                  <a:lnTo>
                    <a:pt x="2528" y="3072"/>
                  </a:lnTo>
                  <a:lnTo>
                    <a:pt x="2560" y="3152"/>
                  </a:lnTo>
                  <a:lnTo>
                    <a:pt x="2587" y="3230"/>
                  </a:lnTo>
                  <a:lnTo>
                    <a:pt x="2610" y="3308"/>
                  </a:lnTo>
                  <a:lnTo>
                    <a:pt x="2627" y="3382"/>
                  </a:lnTo>
                  <a:lnTo>
                    <a:pt x="2638" y="3456"/>
                  </a:lnTo>
                  <a:lnTo>
                    <a:pt x="2643" y="3527"/>
                  </a:lnTo>
                  <a:lnTo>
                    <a:pt x="2640" y="3595"/>
                  </a:lnTo>
                  <a:lnTo>
                    <a:pt x="2630" y="3660"/>
                  </a:lnTo>
                  <a:lnTo>
                    <a:pt x="2613" y="3722"/>
                  </a:lnTo>
                  <a:lnTo>
                    <a:pt x="2611" y="3726"/>
                  </a:lnTo>
                  <a:lnTo>
                    <a:pt x="2586" y="3766"/>
                  </a:lnTo>
                  <a:lnTo>
                    <a:pt x="2553" y="3804"/>
                  </a:lnTo>
                  <a:lnTo>
                    <a:pt x="2514" y="3840"/>
                  </a:lnTo>
                  <a:lnTo>
                    <a:pt x="2468" y="3872"/>
                  </a:lnTo>
                  <a:lnTo>
                    <a:pt x="2419" y="3902"/>
                  </a:lnTo>
                  <a:lnTo>
                    <a:pt x="2366" y="3931"/>
                  </a:lnTo>
                  <a:lnTo>
                    <a:pt x="2311" y="3956"/>
                  </a:lnTo>
                  <a:lnTo>
                    <a:pt x="2254" y="3979"/>
                  </a:lnTo>
                  <a:lnTo>
                    <a:pt x="2198" y="3999"/>
                  </a:lnTo>
                  <a:lnTo>
                    <a:pt x="2141" y="4017"/>
                  </a:lnTo>
                  <a:lnTo>
                    <a:pt x="2087" y="4033"/>
                  </a:lnTo>
                  <a:lnTo>
                    <a:pt x="1988" y="4058"/>
                  </a:lnTo>
                  <a:lnTo>
                    <a:pt x="1883" y="4081"/>
                  </a:lnTo>
                  <a:lnTo>
                    <a:pt x="1775" y="4101"/>
                  </a:lnTo>
                  <a:lnTo>
                    <a:pt x="1664" y="4116"/>
                  </a:lnTo>
                  <a:lnTo>
                    <a:pt x="1550" y="4129"/>
                  </a:lnTo>
                  <a:lnTo>
                    <a:pt x="1435" y="4139"/>
                  </a:lnTo>
                  <a:lnTo>
                    <a:pt x="1319" y="4145"/>
                  </a:lnTo>
                  <a:lnTo>
                    <a:pt x="1204" y="4146"/>
                  </a:lnTo>
                  <a:lnTo>
                    <a:pt x="1204" y="4146"/>
                  </a:lnTo>
                  <a:lnTo>
                    <a:pt x="1087" y="4145"/>
                  </a:lnTo>
                  <a:lnTo>
                    <a:pt x="973" y="4139"/>
                  </a:lnTo>
                  <a:lnTo>
                    <a:pt x="863" y="4129"/>
                  </a:lnTo>
                  <a:lnTo>
                    <a:pt x="758" y="4115"/>
                  </a:lnTo>
                  <a:lnTo>
                    <a:pt x="659" y="4096"/>
                  </a:lnTo>
                  <a:lnTo>
                    <a:pt x="565" y="4075"/>
                  </a:lnTo>
                  <a:lnTo>
                    <a:pt x="476" y="4051"/>
                  </a:lnTo>
                  <a:lnTo>
                    <a:pt x="394" y="4021"/>
                  </a:lnTo>
                  <a:lnTo>
                    <a:pt x="319" y="3989"/>
                  </a:lnTo>
                  <a:lnTo>
                    <a:pt x="252" y="3953"/>
                  </a:lnTo>
                  <a:lnTo>
                    <a:pt x="193" y="3915"/>
                  </a:lnTo>
                  <a:lnTo>
                    <a:pt x="140" y="3872"/>
                  </a:lnTo>
                  <a:lnTo>
                    <a:pt x="95" y="3827"/>
                  </a:lnTo>
                  <a:lnTo>
                    <a:pt x="58" y="3779"/>
                  </a:lnTo>
                  <a:lnTo>
                    <a:pt x="30" y="3726"/>
                  </a:lnTo>
                  <a:lnTo>
                    <a:pt x="28" y="3724"/>
                  </a:lnTo>
                  <a:lnTo>
                    <a:pt x="13" y="3667"/>
                  </a:lnTo>
                  <a:lnTo>
                    <a:pt x="3" y="3607"/>
                  </a:lnTo>
                  <a:lnTo>
                    <a:pt x="0" y="3545"/>
                  </a:lnTo>
                  <a:lnTo>
                    <a:pt x="3" y="3478"/>
                  </a:lnTo>
                  <a:lnTo>
                    <a:pt x="11" y="3410"/>
                  </a:lnTo>
                  <a:lnTo>
                    <a:pt x="26" y="3341"/>
                  </a:lnTo>
                  <a:lnTo>
                    <a:pt x="45" y="3267"/>
                  </a:lnTo>
                  <a:lnTo>
                    <a:pt x="69" y="3194"/>
                  </a:lnTo>
                  <a:lnTo>
                    <a:pt x="98" y="3117"/>
                  </a:lnTo>
                  <a:lnTo>
                    <a:pt x="130" y="3039"/>
                  </a:lnTo>
                  <a:lnTo>
                    <a:pt x="166" y="2960"/>
                  </a:lnTo>
                  <a:lnTo>
                    <a:pt x="205" y="2879"/>
                  </a:lnTo>
                  <a:lnTo>
                    <a:pt x="248" y="2798"/>
                  </a:lnTo>
                  <a:lnTo>
                    <a:pt x="293" y="2716"/>
                  </a:lnTo>
                  <a:lnTo>
                    <a:pt x="340" y="2634"/>
                  </a:lnTo>
                  <a:lnTo>
                    <a:pt x="390" y="2552"/>
                  </a:lnTo>
                  <a:lnTo>
                    <a:pt x="441" y="2468"/>
                  </a:lnTo>
                  <a:lnTo>
                    <a:pt x="493" y="2386"/>
                  </a:lnTo>
                  <a:lnTo>
                    <a:pt x="546" y="2303"/>
                  </a:lnTo>
                  <a:lnTo>
                    <a:pt x="599" y="2221"/>
                  </a:lnTo>
                  <a:lnTo>
                    <a:pt x="655" y="2140"/>
                  </a:lnTo>
                  <a:lnTo>
                    <a:pt x="708" y="2061"/>
                  </a:lnTo>
                  <a:lnTo>
                    <a:pt x="762" y="1982"/>
                  </a:lnTo>
                  <a:lnTo>
                    <a:pt x="815" y="1904"/>
                  </a:lnTo>
                  <a:lnTo>
                    <a:pt x="853" y="1849"/>
                  </a:lnTo>
                  <a:lnTo>
                    <a:pt x="853" y="29"/>
                  </a:lnTo>
                  <a:lnTo>
                    <a:pt x="853" y="22"/>
                  </a:lnTo>
                  <a:lnTo>
                    <a:pt x="856" y="15"/>
                  </a:lnTo>
                  <a:lnTo>
                    <a:pt x="860" y="9"/>
                  </a:lnTo>
                  <a:lnTo>
                    <a:pt x="864" y="6"/>
                  </a:lnTo>
                  <a:lnTo>
                    <a:pt x="870" y="3"/>
                  </a:lnTo>
                  <a:lnTo>
                    <a:pt x="874" y="2"/>
                  </a:lnTo>
                  <a:lnTo>
                    <a:pt x="880" y="0"/>
                  </a:lnTo>
                  <a:close/>
                </a:path>
              </a:pathLst>
            </a:custGeom>
            <a:gradFill flip="none" rotWithShape="1">
              <a:gsLst>
                <a:gs pos="89000">
                  <a:schemeClr val="accent1"/>
                </a:gs>
                <a:gs pos="96000">
                  <a:schemeClr val="accent1">
                    <a:lumMod val="60000"/>
                    <a:lumOff val="40000"/>
                  </a:schemeClr>
                </a:gs>
              </a:gsLst>
              <a:lin ang="13500000" scaled="1"/>
              <a:tileRect/>
            </a:gra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HarmonyOS Sans SC"/>
                <a:cs typeface="+mn-cs"/>
              </a:endParaRPr>
            </a:p>
          </p:txBody>
        </p:sp>
        <p:sp>
          <p:nvSpPr>
            <p:cNvPr id="4" name="Freeform 24">
              <a:extLst>
                <a:ext uri="{FF2B5EF4-FFF2-40B4-BE49-F238E27FC236}">
                  <a16:creationId xmlns:a16="http://schemas.microsoft.com/office/drawing/2014/main" id="{BD223DB9-40C3-4F57-9508-6CAC4CC3D42A}"/>
                </a:ext>
              </a:extLst>
            </p:cNvPr>
            <p:cNvSpPr>
              <a:spLocks/>
            </p:cNvSpPr>
            <p:nvPr/>
          </p:nvSpPr>
          <p:spPr bwMode="auto">
            <a:xfrm>
              <a:off x="8684901" y="1763932"/>
              <a:ext cx="867264" cy="430308"/>
            </a:xfrm>
            <a:custGeom>
              <a:avLst/>
              <a:gdLst>
                <a:gd name="T0" fmla="*/ 457 w 913"/>
                <a:gd name="T1" fmla="*/ 0 h 453"/>
                <a:gd name="T2" fmla="*/ 525 w 913"/>
                <a:gd name="T3" fmla="*/ 3 h 453"/>
                <a:gd name="T4" fmla="*/ 588 w 913"/>
                <a:gd name="T5" fmla="*/ 10 h 453"/>
                <a:gd name="T6" fmla="*/ 649 w 913"/>
                <a:gd name="T7" fmla="*/ 22 h 453"/>
                <a:gd name="T8" fmla="*/ 706 w 913"/>
                <a:gd name="T9" fmla="*/ 37 h 453"/>
                <a:gd name="T10" fmla="*/ 757 w 913"/>
                <a:gd name="T11" fmla="*/ 56 h 453"/>
                <a:gd name="T12" fmla="*/ 801 w 913"/>
                <a:gd name="T13" fmla="*/ 78 h 453"/>
                <a:gd name="T14" fmla="*/ 839 w 913"/>
                <a:gd name="T15" fmla="*/ 104 h 453"/>
                <a:gd name="T16" fmla="*/ 870 w 913"/>
                <a:gd name="T17" fmla="*/ 131 h 453"/>
                <a:gd name="T18" fmla="*/ 894 w 913"/>
                <a:gd name="T19" fmla="*/ 161 h 453"/>
                <a:gd name="T20" fmla="*/ 909 w 913"/>
                <a:gd name="T21" fmla="*/ 193 h 453"/>
                <a:gd name="T22" fmla="*/ 913 w 913"/>
                <a:gd name="T23" fmla="*/ 226 h 453"/>
                <a:gd name="T24" fmla="*/ 909 w 913"/>
                <a:gd name="T25" fmla="*/ 260 h 453"/>
                <a:gd name="T26" fmla="*/ 894 w 913"/>
                <a:gd name="T27" fmla="*/ 291 h 453"/>
                <a:gd name="T28" fmla="*/ 870 w 913"/>
                <a:gd name="T29" fmla="*/ 322 h 453"/>
                <a:gd name="T30" fmla="*/ 839 w 913"/>
                <a:gd name="T31" fmla="*/ 349 h 453"/>
                <a:gd name="T32" fmla="*/ 801 w 913"/>
                <a:gd name="T33" fmla="*/ 375 h 453"/>
                <a:gd name="T34" fmla="*/ 757 w 913"/>
                <a:gd name="T35" fmla="*/ 397 h 453"/>
                <a:gd name="T36" fmla="*/ 706 w 913"/>
                <a:gd name="T37" fmla="*/ 416 h 453"/>
                <a:gd name="T38" fmla="*/ 649 w 913"/>
                <a:gd name="T39" fmla="*/ 431 h 453"/>
                <a:gd name="T40" fmla="*/ 588 w 913"/>
                <a:gd name="T41" fmla="*/ 443 h 453"/>
                <a:gd name="T42" fmla="*/ 525 w 913"/>
                <a:gd name="T43" fmla="*/ 450 h 453"/>
                <a:gd name="T44" fmla="*/ 457 w 913"/>
                <a:gd name="T45" fmla="*/ 453 h 453"/>
                <a:gd name="T46" fmla="*/ 389 w 913"/>
                <a:gd name="T47" fmla="*/ 450 h 453"/>
                <a:gd name="T48" fmla="*/ 325 w 913"/>
                <a:gd name="T49" fmla="*/ 443 h 453"/>
                <a:gd name="T50" fmla="*/ 264 w 913"/>
                <a:gd name="T51" fmla="*/ 431 h 453"/>
                <a:gd name="T52" fmla="*/ 207 w 913"/>
                <a:gd name="T53" fmla="*/ 416 h 453"/>
                <a:gd name="T54" fmla="*/ 156 w 913"/>
                <a:gd name="T55" fmla="*/ 397 h 453"/>
                <a:gd name="T56" fmla="*/ 112 w 913"/>
                <a:gd name="T57" fmla="*/ 375 h 453"/>
                <a:gd name="T58" fmla="*/ 73 w 913"/>
                <a:gd name="T59" fmla="*/ 349 h 453"/>
                <a:gd name="T60" fmla="*/ 41 w 913"/>
                <a:gd name="T61" fmla="*/ 322 h 453"/>
                <a:gd name="T62" fmla="*/ 19 w 913"/>
                <a:gd name="T63" fmla="*/ 291 h 453"/>
                <a:gd name="T64" fmla="*/ 5 w 913"/>
                <a:gd name="T65" fmla="*/ 260 h 453"/>
                <a:gd name="T66" fmla="*/ 0 w 913"/>
                <a:gd name="T67" fmla="*/ 226 h 453"/>
                <a:gd name="T68" fmla="*/ 5 w 913"/>
                <a:gd name="T69" fmla="*/ 193 h 453"/>
                <a:gd name="T70" fmla="*/ 19 w 913"/>
                <a:gd name="T71" fmla="*/ 161 h 453"/>
                <a:gd name="T72" fmla="*/ 41 w 913"/>
                <a:gd name="T73" fmla="*/ 131 h 453"/>
                <a:gd name="T74" fmla="*/ 73 w 913"/>
                <a:gd name="T75" fmla="*/ 104 h 453"/>
                <a:gd name="T76" fmla="*/ 112 w 913"/>
                <a:gd name="T77" fmla="*/ 78 h 453"/>
                <a:gd name="T78" fmla="*/ 156 w 913"/>
                <a:gd name="T79" fmla="*/ 56 h 453"/>
                <a:gd name="T80" fmla="*/ 207 w 913"/>
                <a:gd name="T81" fmla="*/ 37 h 453"/>
                <a:gd name="T82" fmla="*/ 264 w 913"/>
                <a:gd name="T83" fmla="*/ 22 h 453"/>
                <a:gd name="T84" fmla="*/ 325 w 913"/>
                <a:gd name="T85" fmla="*/ 10 h 453"/>
                <a:gd name="T86" fmla="*/ 389 w 913"/>
                <a:gd name="T87" fmla="*/ 3 h 453"/>
                <a:gd name="T88" fmla="*/ 457 w 913"/>
                <a:gd name="T89" fmla="*/ 0 h 4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13" h="453">
                  <a:moveTo>
                    <a:pt x="457" y="0"/>
                  </a:moveTo>
                  <a:lnTo>
                    <a:pt x="525" y="3"/>
                  </a:lnTo>
                  <a:lnTo>
                    <a:pt x="588" y="10"/>
                  </a:lnTo>
                  <a:lnTo>
                    <a:pt x="649" y="22"/>
                  </a:lnTo>
                  <a:lnTo>
                    <a:pt x="706" y="37"/>
                  </a:lnTo>
                  <a:lnTo>
                    <a:pt x="757" y="56"/>
                  </a:lnTo>
                  <a:lnTo>
                    <a:pt x="801" y="78"/>
                  </a:lnTo>
                  <a:lnTo>
                    <a:pt x="839" y="104"/>
                  </a:lnTo>
                  <a:lnTo>
                    <a:pt x="870" y="131"/>
                  </a:lnTo>
                  <a:lnTo>
                    <a:pt x="894" y="161"/>
                  </a:lnTo>
                  <a:lnTo>
                    <a:pt x="909" y="193"/>
                  </a:lnTo>
                  <a:lnTo>
                    <a:pt x="913" y="226"/>
                  </a:lnTo>
                  <a:lnTo>
                    <a:pt x="909" y="260"/>
                  </a:lnTo>
                  <a:lnTo>
                    <a:pt x="894" y="291"/>
                  </a:lnTo>
                  <a:lnTo>
                    <a:pt x="870" y="322"/>
                  </a:lnTo>
                  <a:lnTo>
                    <a:pt x="839" y="349"/>
                  </a:lnTo>
                  <a:lnTo>
                    <a:pt x="801" y="375"/>
                  </a:lnTo>
                  <a:lnTo>
                    <a:pt x="757" y="397"/>
                  </a:lnTo>
                  <a:lnTo>
                    <a:pt x="706" y="416"/>
                  </a:lnTo>
                  <a:lnTo>
                    <a:pt x="649" y="431"/>
                  </a:lnTo>
                  <a:lnTo>
                    <a:pt x="588" y="443"/>
                  </a:lnTo>
                  <a:lnTo>
                    <a:pt x="525" y="450"/>
                  </a:lnTo>
                  <a:lnTo>
                    <a:pt x="457" y="453"/>
                  </a:lnTo>
                  <a:lnTo>
                    <a:pt x="389" y="450"/>
                  </a:lnTo>
                  <a:lnTo>
                    <a:pt x="325" y="443"/>
                  </a:lnTo>
                  <a:lnTo>
                    <a:pt x="264" y="431"/>
                  </a:lnTo>
                  <a:lnTo>
                    <a:pt x="207" y="416"/>
                  </a:lnTo>
                  <a:lnTo>
                    <a:pt x="156" y="397"/>
                  </a:lnTo>
                  <a:lnTo>
                    <a:pt x="112" y="375"/>
                  </a:lnTo>
                  <a:lnTo>
                    <a:pt x="73" y="349"/>
                  </a:lnTo>
                  <a:lnTo>
                    <a:pt x="41" y="322"/>
                  </a:lnTo>
                  <a:lnTo>
                    <a:pt x="19" y="291"/>
                  </a:lnTo>
                  <a:lnTo>
                    <a:pt x="5" y="260"/>
                  </a:lnTo>
                  <a:lnTo>
                    <a:pt x="0" y="226"/>
                  </a:lnTo>
                  <a:lnTo>
                    <a:pt x="5" y="193"/>
                  </a:lnTo>
                  <a:lnTo>
                    <a:pt x="19" y="161"/>
                  </a:lnTo>
                  <a:lnTo>
                    <a:pt x="41" y="131"/>
                  </a:lnTo>
                  <a:lnTo>
                    <a:pt x="73" y="104"/>
                  </a:lnTo>
                  <a:lnTo>
                    <a:pt x="112" y="78"/>
                  </a:lnTo>
                  <a:lnTo>
                    <a:pt x="156" y="56"/>
                  </a:lnTo>
                  <a:lnTo>
                    <a:pt x="207" y="37"/>
                  </a:lnTo>
                  <a:lnTo>
                    <a:pt x="264" y="22"/>
                  </a:lnTo>
                  <a:lnTo>
                    <a:pt x="325" y="10"/>
                  </a:lnTo>
                  <a:lnTo>
                    <a:pt x="389" y="3"/>
                  </a:lnTo>
                  <a:lnTo>
                    <a:pt x="457" y="0"/>
                  </a:lnTo>
                  <a:close/>
                </a:path>
              </a:pathLst>
            </a:custGeom>
            <a:gradFill>
              <a:gsLst>
                <a:gs pos="0">
                  <a:schemeClr val="accent1"/>
                </a:gs>
                <a:gs pos="96000">
                  <a:schemeClr val="accent1">
                    <a:lumMod val="60000"/>
                    <a:lumOff val="40000"/>
                  </a:schemeClr>
                </a:gs>
              </a:gsLst>
              <a:lin ang="13500000" scaled="1"/>
            </a:gra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HarmonyOS Sans SC"/>
                <a:cs typeface="+mn-cs"/>
              </a:endParaRPr>
            </a:p>
          </p:txBody>
        </p:sp>
        <p:sp>
          <p:nvSpPr>
            <p:cNvPr id="5" name="Freeform 25">
              <a:extLst>
                <a:ext uri="{FF2B5EF4-FFF2-40B4-BE49-F238E27FC236}">
                  <a16:creationId xmlns:a16="http://schemas.microsoft.com/office/drawing/2014/main" id="{0415BCA6-0FF4-4B7D-B68D-545759D9BEC4}"/>
                </a:ext>
              </a:extLst>
            </p:cNvPr>
            <p:cNvSpPr>
              <a:spLocks/>
            </p:cNvSpPr>
            <p:nvPr/>
          </p:nvSpPr>
          <p:spPr bwMode="auto">
            <a:xfrm>
              <a:off x="8762312" y="1803828"/>
              <a:ext cx="707680" cy="350516"/>
            </a:xfrm>
            <a:custGeom>
              <a:avLst/>
              <a:gdLst>
                <a:gd name="T0" fmla="*/ 373 w 745"/>
                <a:gd name="T1" fmla="*/ 0 h 369"/>
                <a:gd name="T2" fmla="*/ 434 w 745"/>
                <a:gd name="T3" fmla="*/ 2 h 369"/>
                <a:gd name="T4" fmla="*/ 490 w 745"/>
                <a:gd name="T5" fmla="*/ 9 h 369"/>
                <a:gd name="T6" fmla="*/ 544 w 745"/>
                <a:gd name="T7" fmla="*/ 21 h 369"/>
                <a:gd name="T8" fmla="*/ 592 w 745"/>
                <a:gd name="T9" fmla="*/ 35 h 369"/>
                <a:gd name="T10" fmla="*/ 636 w 745"/>
                <a:gd name="T11" fmla="*/ 53 h 369"/>
                <a:gd name="T12" fmla="*/ 673 w 745"/>
                <a:gd name="T13" fmla="*/ 76 h 369"/>
                <a:gd name="T14" fmla="*/ 704 w 745"/>
                <a:gd name="T15" fmla="*/ 100 h 369"/>
                <a:gd name="T16" fmla="*/ 727 w 745"/>
                <a:gd name="T17" fmla="*/ 126 h 369"/>
                <a:gd name="T18" fmla="*/ 741 w 745"/>
                <a:gd name="T19" fmla="*/ 154 h 369"/>
                <a:gd name="T20" fmla="*/ 745 w 745"/>
                <a:gd name="T21" fmla="*/ 184 h 369"/>
                <a:gd name="T22" fmla="*/ 741 w 745"/>
                <a:gd name="T23" fmla="*/ 215 h 369"/>
                <a:gd name="T24" fmla="*/ 727 w 745"/>
                <a:gd name="T25" fmla="*/ 243 h 369"/>
                <a:gd name="T26" fmla="*/ 704 w 745"/>
                <a:gd name="T27" fmla="*/ 269 h 369"/>
                <a:gd name="T28" fmla="*/ 673 w 745"/>
                <a:gd name="T29" fmla="*/ 293 h 369"/>
                <a:gd name="T30" fmla="*/ 636 w 745"/>
                <a:gd name="T31" fmla="*/ 314 h 369"/>
                <a:gd name="T32" fmla="*/ 592 w 745"/>
                <a:gd name="T33" fmla="*/ 333 h 369"/>
                <a:gd name="T34" fmla="*/ 544 w 745"/>
                <a:gd name="T35" fmla="*/ 348 h 369"/>
                <a:gd name="T36" fmla="*/ 490 w 745"/>
                <a:gd name="T37" fmla="*/ 360 h 369"/>
                <a:gd name="T38" fmla="*/ 434 w 745"/>
                <a:gd name="T39" fmla="*/ 367 h 369"/>
                <a:gd name="T40" fmla="*/ 373 w 745"/>
                <a:gd name="T41" fmla="*/ 369 h 369"/>
                <a:gd name="T42" fmla="*/ 312 w 745"/>
                <a:gd name="T43" fmla="*/ 367 h 369"/>
                <a:gd name="T44" fmla="*/ 255 w 745"/>
                <a:gd name="T45" fmla="*/ 360 h 369"/>
                <a:gd name="T46" fmla="*/ 201 w 745"/>
                <a:gd name="T47" fmla="*/ 348 h 369"/>
                <a:gd name="T48" fmla="*/ 152 w 745"/>
                <a:gd name="T49" fmla="*/ 333 h 369"/>
                <a:gd name="T50" fmla="*/ 109 w 745"/>
                <a:gd name="T51" fmla="*/ 314 h 369"/>
                <a:gd name="T52" fmla="*/ 72 w 745"/>
                <a:gd name="T53" fmla="*/ 293 h 369"/>
                <a:gd name="T54" fmla="*/ 41 w 745"/>
                <a:gd name="T55" fmla="*/ 269 h 369"/>
                <a:gd name="T56" fmla="*/ 18 w 745"/>
                <a:gd name="T57" fmla="*/ 243 h 369"/>
                <a:gd name="T58" fmla="*/ 4 w 745"/>
                <a:gd name="T59" fmla="*/ 215 h 369"/>
                <a:gd name="T60" fmla="*/ 0 w 745"/>
                <a:gd name="T61" fmla="*/ 184 h 369"/>
                <a:gd name="T62" fmla="*/ 4 w 745"/>
                <a:gd name="T63" fmla="*/ 154 h 369"/>
                <a:gd name="T64" fmla="*/ 18 w 745"/>
                <a:gd name="T65" fmla="*/ 126 h 369"/>
                <a:gd name="T66" fmla="*/ 41 w 745"/>
                <a:gd name="T67" fmla="*/ 100 h 369"/>
                <a:gd name="T68" fmla="*/ 72 w 745"/>
                <a:gd name="T69" fmla="*/ 76 h 369"/>
                <a:gd name="T70" fmla="*/ 109 w 745"/>
                <a:gd name="T71" fmla="*/ 53 h 369"/>
                <a:gd name="T72" fmla="*/ 152 w 745"/>
                <a:gd name="T73" fmla="*/ 35 h 369"/>
                <a:gd name="T74" fmla="*/ 201 w 745"/>
                <a:gd name="T75" fmla="*/ 21 h 369"/>
                <a:gd name="T76" fmla="*/ 255 w 745"/>
                <a:gd name="T77" fmla="*/ 9 h 369"/>
                <a:gd name="T78" fmla="*/ 312 w 745"/>
                <a:gd name="T79" fmla="*/ 2 h 369"/>
                <a:gd name="T80" fmla="*/ 373 w 745"/>
                <a:gd name="T81" fmla="*/ 0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745" h="369">
                  <a:moveTo>
                    <a:pt x="373" y="0"/>
                  </a:moveTo>
                  <a:lnTo>
                    <a:pt x="434" y="2"/>
                  </a:lnTo>
                  <a:lnTo>
                    <a:pt x="490" y="9"/>
                  </a:lnTo>
                  <a:lnTo>
                    <a:pt x="544" y="21"/>
                  </a:lnTo>
                  <a:lnTo>
                    <a:pt x="592" y="35"/>
                  </a:lnTo>
                  <a:lnTo>
                    <a:pt x="636" y="53"/>
                  </a:lnTo>
                  <a:lnTo>
                    <a:pt x="673" y="76"/>
                  </a:lnTo>
                  <a:lnTo>
                    <a:pt x="704" y="100"/>
                  </a:lnTo>
                  <a:lnTo>
                    <a:pt x="727" y="126"/>
                  </a:lnTo>
                  <a:lnTo>
                    <a:pt x="741" y="154"/>
                  </a:lnTo>
                  <a:lnTo>
                    <a:pt x="745" y="184"/>
                  </a:lnTo>
                  <a:lnTo>
                    <a:pt x="741" y="215"/>
                  </a:lnTo>
                  <a:lnTo>
                    <a:pt x="727" y="243"/>
                  </a:lnTo>
                  <a:lnTo>
                    <a:pt x="704" y="269"/>
                  </a:lnTo>
                  <a:lnTo>
                    <a:pt x="673" y="293"/>
                  </a:lnTo>
                  <a:lnTo>
                    <a:pt x="636" y="314"/>
                  </a:lnTo>
                  <a:lnTo>
                    <a:pt x="592" y="333"/>
                  </a:lnTo>
                  <a:lnTo>
                    <a:pt x="544" y="348"/>
                  </a:lnTo>
                  <a:lnTo>
                    <a:pt x="490" y="360"/>
                  </a:lnTo>
                  <a:lnTo>
                    <a:pt x="434" y="367"/>
                  </a:lnTo>
                  <a:lnTo>
                    <a:pt x="373" y="369"/>
                  </a:lnTo>
                  <a:lnTo>
                    <a:pt x="312" y="367"/>
                  </a:lnTo>
                  <a:lnTo>
                    <a:pt x="255" y="360"/>
                  </a:lnTo>
                  <a:lnTo>
                    <a:pt x="201" y="348"/>
                  </a:lnTo>
                  <a:lnTo>
                    <a:pt x="152" y="333"/>
                  </a:lnTo>
                  <a:lnTo>
                    <a:pt x="109" y="314"/>
                  </a:lnTo>
                  <a:lnTo>
                    <a:pt x="72" y="293"/>
                  </a:lnTo>
                  <a:lnTo>
                    <a:pt x="41" y="269"/>
                  </a:lnTo>
                  <a:lnTo>
                    <a:pt x="18" y="243"/>
                  </a:lnTo>
                  <a:lnTo>
                    <a:pt x="4" y="215"/>
                  </a:lnTo>
                  <a:lnTo>
                    <a:pt x="0" y="184"/>
                  </a:lnTo>
                  <a:lnTo>
                    <a:pt x="4" y="154"/>
                  </a:lnTo>
                  <a:lnTo>
                    <a:pt x="18" y="126"/>
                  </a:lnTo>
                  <a:lnTo>
                    <a:pt x="41" y="100"/>
                  </a:lnTo>
                  <a:lnTo>
                    <a:pt x="72" y="76"/>
                  </a:lnTo>
                  <a:lnTo>
                    <a:pt x="109" y="53"/>
                  </a:lnTo>
                  <a:lnTo>
                    <a:pt x="152" y="35"/>
                  </a:lnTo>
                  <a:lnTo>
                    <a:pt x="201" y="21"/>
                  </a:lnTo>
                  <a:lnTo>
                    <a:pt x="255" y="9"/>
                  </a:lnTo>
                  <a:lnTo>
                    <a:pt x="312" y="2"/>
                  </a:lnTo>
                  <a:lnTo>
                    <a:pt x="373"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HarmonyOS Sans SC"/>
                <a:cs typeface="+mn-cs"/>
              </a:endParaRPr>
            </a:p>
          </p:txBody>
        </p:sp>
        <p:sp>
          <p:nvSpPr>
            <p:cNvPr id="6" name="Freeform 26">
              <a:extLst>
                <a:ext uri="{FF2B5EF4-FFF2-40B4-BE49-F238E27FC236}">
                  <a16:creationId xmlns:a16="http://schemas.microsoft.com/office/drawing/2014/main" id="{04537388-72A9-4B04-A19F-51DA7D825220}"/>
                </a:ext>
              </a:extLst>
            </p:cNvPr>
            <p:cNvSpPr>
              <a:spLocks/>
            </p:cNvSpPr>
            <p:nvPr/>
          </p:nvSpPr>
          <p:spPr bwMode="auto">
            <a:xfrm>
              <a:off x="8008086" y="4950866"/>
              <a:ext cx="2236079" cy="709580"/>
            </a:xfrm>
            <a:custGeom>
              <a:avLst/>
              <a:gdLst>
                <a:gd name="T0" fmla="*/ 2278 w 2354"/>
                <a:gd name="T1" fmla="*/ 0 h 747"/>
                <a:gd name="T2" fmla="*/ 2296 w 2354"/>
                <a:gd name="T3" fmla="*/ 41 h 747"/>
                <a:gd name="T4" fmla="*/ 2313 w 2354"/>
                <a:gd name="T5" fmla="*/ 84 h 747"/>
                <a:gd name="T6" fmla="*/ 2327 w 2354"/>
                <a:gd name="T7" fmla="*/ 126 h 747"/>
                <a:gd name="T8" fmla="*/ 2340 w 2354"/>
                <a:gd name="T9" fmla="*/ 167 h 747"/>
                <a:gd name="T10" fmla="*/ 2348 w 2354"/>
                <a:gd name="T11" fmla="*/ 210 h 747"/>
                <a:gd name="T12" fmla="*/ 2353 w 2354"/>
                <a:gd name="T13" fmla="*/ 251 h 747"/>
                <a:gd name="T14" fmla="*/ 2354 w 2354"/>
                <a:gd name="T15" fmla="*/ 291 h 747"/>
                <a:gd name="T16" fmla="*/ 2351 w 2354"/>
                <a:gd name="T17" fmla="*/ 330 h 747"/>
                <a:gd name="T18" fmla="*/ 2344 w 2354"/>
                <a:gd name="T19" fmla="*/ 369 h 747"/>
                <a:gd name="T20" fmla="*/ 2331 w 2354"/>
                <a:gd name="T21" fmla="*/ 406 h 747"/>
                <a:gd name="T22" fmla="*/ 2313 w 2354"/>
                <a:gd name="T23" fmla="*/ 440 h 747"/>
                <a:gd name="T24" fmla="*/ 2287 w 2354"/>
                <a:gd name="T25" fmla="*/ 474 h 747"/>
                <a:gd name="T26" fmla="*/ 2258 w 2354"/>
                <a:gd name="T27" fmla="*/ 503 h 747"/>
                <a:gd name="T28" fmla="*/ 2219 w 2354"/>
                <a:gd name="T29" fmla="*/ 532 h 747"/>
                <a:gd name="T30" fmla="*/ 2153 w 2354"/>
                <a:gd name="T31" fmla="*/ 569 h 747"/>
                <a:gd name="T32" fmla="*/ 2082 w 2354"/>
                <a:gd name="T33" fmla="*/ 601 h 747"/>
                <a:gd name="T34" fmla="*/ 2004 w 2354"/>
                <a:gd name="T35" fmla="*/ 630 h 747"/>
                <a:gd name="T36" fmla="*/ 1920 w 2354"/>
                <a:gd name="T37" fmla="*/ 655 h 747"/>
                <a:gd name="T38" fmla="*/ 1834 w 2354"/>
                <a:gd name="T39" fmla="*/ 678 h 747"/>
                <a:gd name="T40" fmla="*/ 1743 w 2354"/>
                <a:gd name="T41" fmla="*/ 698 h 747"/>
                <a:gd name="T42" fmla="*/ 1650 w 2354"/>
                <a:gd name="T43" fmla="*/ 713 h 747"/>
                <a:gd name="T44" fmla="*/ 1553 w 2354"/>
                <a:gd name="T45" fmla="*/ 726 h 747"/>
                <a:gd name="T46" fmla="*/ 1456 w 2354"/>
                <a:gd name="T47" fmla="*/ 736 h 747"/>
                <a:gd name="T48" fmla="*/ 1356 w 2354"/>
                <a:gd name="T49" fmla="*/ 741 h 747"/>
                <a:gd name="T50" fmla="*/ 1256 w 2354"/>
                <a:gd name="T51" fmla="*/ 746 h 747"/>
                <a:gd name="T52" fmla="*/ 1157 w 2354"/>
                <a:gd name="T53" fmla="*/ 747 h 747"/>
                <a:gd name="T54" fmla="*/ 1058 w 2354"/>
                <a:gd name="T55" fmla="*/ 744 h 747"/>
                <a:gd name="T56" fmla="*/ 958 w 2354"/>
                <a:gd name="T57" fmla="*/ 740 h 747"/>
                <a:gd name="T58" fmla="*/ 862 w 2354"/>
                <a:gd name="T59" fmla="*/ 733 h 747"/>
                <a:gd name="T60" fmla="*/ 768 w 2354"/>
                <a:gd name="T61" fmla="*/ 722 h 747"/>
                <a:gd name="T62" fmla="*/ 678 w 2354"/>
                <a:gd name="T63" fmla="*/ 709 h 747"/>
                <a:gd name="T64" fmla="*/ 591 w 2354"/>
                <a:gd name="T65" fmla="*/ 695 h 747"/>
                <a:gd name="T66" fmla="*/ 509 w 2354"/>
                <a:gd name="T67" fmla="*/ 676 h 747"/>
                <a:gd name="T68" fmla="*/ 431 w 2354"/>
                <a:gd name="T69" fmla="*/ 656 h 747"/>
                <a:gd name="T70" fmla="*/ 359 w 2354"/>
                <a:gd name="T71" fmla="*/ 634 h 747"/>
                <a:gd name="T72" fmla="*/ 292 w 2354"/>
                <a:gd name="T73" fmla="*/ 608 h 747"/>
                <a:gd name="T74" fmla="*/ 234 w 2354"/>
                <a:gd name="T75" fmla="*/ 581 h 747"/>
                <a:gd name="T76" fmla="*/ 182 w 2354"/>
                <a:gd name="T77" fmla="*/ 552 h 747"/>
                <a:gd name="T78" fmla="*/ 138 w 2354"/>
                <a:gd name="T79" fmla="*/ 520 h 747"/>
                <a:gd name="T80" fmla="*/ 104 w 2354"/>
                <a:gd name="T81" fmla="*/ 486 h 747"/>
                <a:gd name="T82" fmla="*/ 77 w 2354"/>
                <a:gd name="T83" fmla="*/ 461 h 747"/>
                <a:gd name="T84" fmla="*/ 53 w 2354"/>
                <a:gd name="T85" fmla="*/ 433 h 747"/>
                <a:gd name="T86" fmla="*/ 34 w 2354"/>
                <a:gd name="T87" fmla="*/ 401 h 747"/>
                <a:gd name="T88" fmla="*/ 19 w 2354"/>
                <a:gd name="T89" fmla="*/ 367 h 747"/>
                <a:gd name="T90" fmla="*/ 8 w 2354"/>
                <a:gd name="T91" fmla="*/ 332 h 747"/>
                <a:gd name="T92" fmla="*/ 2 w 2354"/>
                <a:gd name="T93" fmla="*/ 294 h 747"/>
                <a:gd name="T94" fmla="*/ 0 w 2354"/>
                <a:gd name="T95" fmla="*/ 253 h 747"/>
                <a:gd name="T96" fmla="*/ 3 w 2354"/>
                <a:gd name="T97" fmla="*/ 209 h 747"/>
                <a:gd name="T98" fmla="*/ 13 w 2354"/>
                <a:gd name="T99" fmla="*/ 162 h 747"/>
                <a:gd name="T100" fmla="*/ 27 w 2354"/>
                <a:gd name="T101" fmla="*/ 112 h 747"/>
                <a:gd name="T102" fmla="*/ 49 w 2354"/>
                <a:gd name="T103" fmla="*/ 58 h 747"/>
                <a:gd name="T104" fmla="*/ 77 w 2354"/>
                <a:gd name="T105" fmla="*/ 3 h 747"/>
                <a:gd name="T106" fmla="*/ 2278 w 2354"/>
                <a:gd name="T107" fmla="*/ 0 h 7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354" h="747">
                  <a:moveTo>
                    <a:pt x="2278" y="0"/>
                  </a:moveTo>
                  <a:lnTo>
                    <a:pt x="2296" y="41"/>
                  </a:lnTo>
                  <a:lnTo>
                    <a:pt x="2313" y="84"/>
                  </a:lnTo>
                  <a:lnTo>
                    <a:pt x="2327" y="126"/>
                  </a:lnTo>
                  <a:lnTo>
                    <a:pt x="2340" y="167"/>
                  </a:lnTo>
                  <a:lnTo>
                    <a:pt x="2348" y="210"/>
                  </a:lnTo>
                  <a:lnTo>
                    <a:pt x="2353" y="251"/>
                  </a:lnTo>
                  <a:lnTo>
                    <a:pt x="2354" y="291"/>
                  </a:lnTo>
                  <a:lnTo>
                    <a:pt x="2351" y="330"/>
                  </a:lnTo>
                  <a:lnTo>
                    <a:pt x="2344" y="369"/>
                  </a:lnTo>
                  <a:lnTo>
                    <a:pt x="2331" y="406"/>
                  </a:lnTo>
                  <a:lnTo>
                    <a:pt x="2313" y="440"/>
                  </a:lnTo>
                  <a:lnTo>
                    <a:pt x="2287" y="474"/>
                  </a:lnTo>
                  <a:lnTo>
                    <a:pt x="2258" y="503"/>
                  </a:lnTo>
                  <a:lnTo>
                    <a:pt x="2219" y="532"/>
                  </a:lnTo>
                  <a:lnTo>
                    <a:pt x="2153" y="569"/>
                  </a:lnTo>
                  <a:lnTo>
                    <a:pt x="2082" y="601"/>
                  </a:lnTo>
                  <a:lnTo>
                    <a:pt x="2004" y="630"/>
                  </a:lnTo>
                  <a:lnTo>
                    <a:pt x="1920" y="655"/>
                  </a:lnTo>
                  <a:lnTo>
                    <a:pt x="1834" y="678"/>
                  </a:lnTo>
                  <a:lnTo>
                    <a:pt x="1743" y="698"/>
                  </a:lnTo>
                  <a:lnTo>
                    <a:pt x="1650" y="713"/>
                  </a:lnTo>
                  <a:lnTo>
                    <a:pt x="1553" y="726"/>
                  </a:lnTo>
                  <a:lnTo>
                    <a:pt x="1456" y="736"/>
                  </a:lnTo>
                  <a:lnTo>
                    <a:pt x="1356" y="741"/>
                  </a:lnTo>
                  <a:lnTo>
                    <a:pt x="1256" y="746"/>
                  </a:lnTo>
                  <a:lnTo>
                    <a:pt x="1157" y="747"/>
                  </a:lnTo>
                  <a:lnTo>
                    <a:pt x="1058" y="744"/>
                  </a:lnTo>
                  <a:lnTo>
                    <a:pt x="958" y="740"/>
                  </a:lnTo>
                  <a:lnTo>
                    <a:pt x="862" y="733"/>
                  </a:lnTo>
                  <a:lnTo>
                    <a:pt x="768" y="722"/>
                  </a:lnTo>
                  <a:lnTo>
                    <a:pt x="678" y="709"/>
                  </a:lnTo>
                  <a:lnTo>
                    <a:pt x="591" y="695"/>
                  </a:lnTo>
                  <a:lnTo>
                    <a:pt x="509" y="676"/>
                  </a:lnTo>
                  <a:lnTo>
                    <a:pt x="431" y="656"/>
                  </a:lnTo>
                  <a:lnTo>
                    <a:pt x="359" y="634"/>
                  </a:lnTo>
                  <a:lnTo>
                    <a:pt x="292" y="608"/>
                  </a:lnTo>
                  <a:lnTo>
                    <a:pt x="234" y="581"/>
                  </a:lnTo>
                  <a:lnTo>
                    <a:pt x="182" y="552"/>
                  </a:lnTo>
                  <a:lnTo>
                    <a:pt x="138" y="520"/>
                  </a:lnTo>
                  <a:lnTo>
                    <a:pt x="104" y="486"/>
                  </a:lnTo>
                  <a:lnTo>
                    <a:pt x="77" y="461"/>
                  </a:lnTo>
                  <a:lnTo>
                    <a:pt x="53" y="433"/>
                  </a:lnTo>
                  <a:lnTo>
                    <a:pt x="34" y="401"/>
                  </a:lnTo>
                  <a:lnTo>
                    <a:pt x="19" y="367"/>
                  </a:lnTo>
                  <a:lnTo>
                    <a:pt x="8" y="332"/>
                  </a:lnTo>
                  <a:lnTo>
                    <a:pt x="2" y="294"/>
                  </a:lnTo>
                  <a:lnTo>
                    <a:pt x="0" y="253"/>
                  </a:lnTo>
                  <a:lnTo>
                    <a:pt x="3" y="209"/>
                  </a:lnTo>
                  <a:lnTo>
                    <a:pt x="13" y="162"/>
                  </a:lnTo>
                  <a:lnTo>
                    <a:pt x="27" y="112"/>
                  </a:lnTo>
                  <a:lnTo>
                    <a:pt x="49" y="58"/>
                  </a:lnTo>
                  <a:lnTo>
                    <a:pt x="77" y="3"/>
                  </a:lnTo>
                  <a:lnTo>
                    <a:pt x="2278" y="0"/>
                  </a:lnTo>
                  <a:close/>
                </a:path>
              </a:pathLst>
            </a:custGeom>
            <a:gradFill flip="none" rotWithShape="1">
              <a:gsLst>
                <a:gs pos="6000">
                  <a:schemeClr val="accent1">
                    <a:lumMod val="40000"/>
                    <a:lumOff val="60000"/>
                  </a:schemeClr>
                </a:gs>
                <a:gs pos="26000">
                  <a:schemeClr val="accent1">
                    <a:lumMod val="60000"/>
                    <a:lumOff val="40000"/>
                  </a:schemeClr>
                </a:gs>
                <a:gs pos="82000">
                  <a:schemeClr val="accent1"/>
                </a:gs>
              </a:gsLst>
              <a:lin ang="540000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cs typeface="+mn-cs"/>
              </a:endParaRPr>
            </a:p>
          </p:txBody>
        </p:sp>
        <p:sp>
          <p:nvSpPr>
            <p:cNvPr id="7" name="Freeform 27">
              <a:extLst>
                <a:ext uri="{FF2B5EF4-FFF2-40B4-BE49-F238E27FC236}">
                  <a16:creationId xmlns:a16="http://schemas.microsoft.com/office/drawing/2014/main" id="{50DD2924-AA5A-4631-ACA4-3AB55FF53FF4}"/>
                </a:ext>
              </a:extLst>
            </p:cNvPr>
            <p:cNvSpPr>
              <a:spLocks/>
            </p:cNvSpPr>
            <p:nvPr/>
          </p:nvSpPr>
          <p:spPr bwMode="auto">
            <a:xfrm>
              <a:off x="8079070" y="4714860"/>
              <a:ext cx="2096012" cy="497662"/>
            </a:xfrm>
            <a:custGeom>
              <a:avLst/>
              <a:gdLst>
                <a:gd name="T0" fmla="*/ 1222 w 2228"/>
                <a:gd name="T1" fmla="*/ 2 h 529"/>
                <a:gd name="T2" fmla="*/ 1427 w 2228"/>
                <a:gd name="T3" fmla="*/ 12 h 529"/>
                <a:gd name="T4" fmla="*/ 1617 w 2228"/>
                <a:gd name="T5" fmla="*/ 29 h 529"/>
                <a:gd name="T6" fmla="*/ 1788 w 2228"/>
                <a:gd name="T7" fmla="*/ 54 h 529"/>
                <a:gd name="T8" fmla="*/ 1936 w 2228"/>
                <a:gd name="T9" fmla="*/ 87 h 529"/>
                <a:gd name="T10" fmla="*/ 2058 w 2228"/>
                <a:gd name="T11" fmla="*/ 125 h 529"/>
                <a:gd name="T12" fmla="*/ 2150 w 2228"/>
                <a:gd name="T13" fmla="*/ 168 h 529"/>
                <a:gd name="T14" fmla="*/ 2208 w 2228"/>
                <a:gd name="T15" fmla="*/ 214 h 529"/>
                <a:gd name="T16" fmla="*/ 2228 w 2228"/>
                <a:gd name="T17" fmla="*/ 265 h 529"/>
                <a:gd name="T18" fmla="*/ 2208 w 2228"/>
                <a:gd name="T19" fmla="*/ 315 h 529"/>
                <a:gd name="T20" fmla="*/ 2150 w 2228"/>
                <a:gd name="T21" fmla="*/ 362 h 529"/>
                <a:gd name="T22" fmla="*/ 2058 w 2228"/>
                <a:gd name="T23" fmla="*/ 406 h 529"/>
                <a:gd name="T24" fmla="*/ 1936 w 2228"/>
                <a:gd name="T25" fmla="*/ 444 h 529"/>
                <a:gd name="T26" fmla="*/ 1788 w 2228"/>
                <a:gd name="T27" fmla="*/ 475 h 529"/>
                <a:gd name="T28" fmla="*/ 1617 w 2228"/>
                <a:gd name="T29" fmla="*/ 501 h 529"/>
                <a:gd name="T30" fmla="*/ 1427 w 2228"/>
                <a:gd name="T31" fmla="*/ 519 h 529"/>
                <a:gd name="T32" fmla="*/ 1222 w 2228"/>
                <a:gd name="T33" fmla="*/ 529 h 529"/>
                <a:gd name="T34" fmla="*/ 1006 w 2228"/>
                <a:gd name="T35" fmla="*/ 529 h 529"/>
                <a:gd name="T36" fmla="*/ 801 w 2228"/>
                <a:gd name="T37" fmla="*/ 519 h 529"/>
                <a:gd name="T38" fmla="*/ 611 w 2228"/>
                <a:gd name="T39" fmla="*/ 501 h 529"/>
                <a:gd name="T40" fmla="*/ 439 w 2228"/>
                <a:gd name="T41" fmla="*/ 475 h 529"/>
                <a:gd name="T42" fmla="*/ 291 w 2228"/>
                <a:gd name="T43" fmla="*/ 444 h 529"/>
                <a:gd name="T44" fmla="*/ 169 w 2228"/>
                <a:gd name="T45" fmla="*/ 406 h 529"/>
                <a:gd name="T46" fmla="*/ 78 w 2228"/>
                <a:gd name="T47" fmla="*/ 362 h 529"/>
                <a:gd name="T48" fmla="*/ 20 w 2228"/>
                <a:gd name="T49" fmla="*/ 315 h 529"/>
                <a:gd name="T50" fmla="*/ 0 w 2228"/>
                <a:gd name="T51" fmla="*/ 265 h 529"/>
                <a:gd name="T52" fmla="*/ 20 w 2228"/>
                <a:gd name="T53" fmla="*/ 214 h 529"/>
                <a:gd name="T54" fmla="*/ 78 w 2228"/>
                <a:gd name="T55" fmla="*/ 168 h 529"/>
                <a:gd name="T56" fmla="*/ 170 w 2228"/>
                <a:gd name="T57" fmla="*/ 124 h 529"/>
                <a:gd name="T58" fmla="*/ 292 w 2228"/>
                <a:gd name="T59" fmla="*/ 87 h 529"/>
                <a:gd name="T60" fmla="*/ 441 w 2228"/>
                <a:gd name="T61" fmla="*/ 54 h 529"/>
                <a:gd name="T62" fmla="*/ 612 w 2228"/>
                <a:gd name="T63" fmla="*/ 29 h 529"/>
                <a:gd name="T64" fmla="*/ 802 w 2228"/>
                <a:gd name="T65" fmla="*/ 12 h 529"/>
                <a:gd name="T66" fmla="*/ 1006 w 2228"/>
                <a:gd name="T67" fmla="*/ 2 h 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228" h="529">
                  <a:moveTo>
                    <a:pt x="1114" y="0"/>
                  </a:moveTo>
                  <a:lnTo>
                    <a:pt x="1222" y="2"/>
                  </a:lnTo>
                  <a:lnTo>
                    <a:pt x="1325" y="5"/>
                  </a:lnTo>
                  <a:lnTo>
                    <a:pt x="1427" y="12"/>
                  </a:lnTo>
                  <a:lnTo>
                    <a:pt x="1523" y="19"/>
                  </a:lnTo>
                  <a:lnTo>
                    <a:pt x="1617" y="29"/>
                  </a:lnTo>
                  <a:lnTo>
                    <a:pt x="1705" y="41"/>
                  </a:lnTo>
                  <a:lnTo>
                    <a:pt x="1788" y="54"/>
                  </a:lnTo>
                  <a:lnTo>
                    <a:pt x="1865" y="70"/>
                  </a:lnTo>
                  <a:lnTo>
                    <a:pt x="1936" y="87"/>
                  </a:lnTo>
                  <a:lnTo>
                    <a:pt x="2001" y="105"/>
                  </a:lnTo>
                  <a:lnTo>
                    <a:pt x="2058" y="125"/>
                  </a:lnTo>
                  <a:lnTo>
                    <a:pt x="2109" y="146"/>
                  </a:lnTo>
                  <a:lnTo>
                    <a:pt x="2150" y="168"/>
                  </a:lnTo>
                  <a:lnTo>
                    <a:pt x="2184" y="190"/>
                  </a:lnTo>
                  <a:lnTo>
                    <a:pt x="2208" y="214"/>
                  </a:lnTo>
                  <a:lnTo>
                    <a:pt x="2223" y="240"/>
                  </a:lnTo>
                  <a:lnTo>
                    <a:pt x="2228" y="265"/>
                  </a:lnTo>
                  <a:lnTo>
                    <a:pt x="2223" y="291"/>
                  </a:lnTo>
                  <a:lnTo>
                    <a:pt x="2208" y="315"/>
                  </a:lnTo>
                  <a:lnTo>
                    <a:pt x="2184" y="339"/>
                  </a:lnTo>
                  <a:lnTo>
                    <a:pt x="2150" y="362"/>
                  </a:lnTo>
                  <a:lnTo>
                    <a:pt x="2109" y="384"/>
                  </a:lnTo>
                  <a:lnTo>
                    <a:pt x="2058" y="406"/>
                  </a:lnTo>
                  <a:lnTo>
                    <a:pt x="2001" y="426"/>
                  </a:lnTo>
                  <a:lnTo>
                    <a:pt x="1936" y="444"/>
                  </a:lnTo>
                  <a:lnTo>
                    <a:pt x="1865" y="461"/>
                  </a:lnTo>
                  <a:lnTo>
                    <a:pt x="1788" y="475"/>
                  </a:lnTo>
                  <a:lnTo>
                    <a:pt x="1705" y="489"/>
                  </a:lnTo>
                  <a:lnTo>
                    <a:pt x="1617" y="501"/>
                  </a:lnTo>
                  <a:lnTo>
                    <a:pt x="1523" y="511"/>
                  </a:lnTo>
                  <a:lnTo>
                    <a:pt x="1427" y="519"/>
                  </a:lnTo>
                  <a:lnTo>
                    <a:pt x="1325" y="525"/>
                  </a:lnTo>
                  <a:lnTo>
                    <a:pt x="1222" y="529"/>
                  </a:lnTo>
                  <a:lnTo>
                    <a:pt x="1114" y="529"/>
                  </a:lnTo>
                  <a:lnTo>
                    <a:pt x="1006" y="529"/>
                  </a:lnTo>
                  <a:lnTo>
                    <a:pt x="903" y="525"/>
                  </a:lnTo>
                  <a:lnTo>
                    <a:pt x="801" y="519"/>
                  </a:lnTo>
                  <a:lnTo>
                    <a:pt x="704" y="511"/>
                  </a:lnTo>
                  <a:lnTo>
                    <a:pt x="611" y="501"/>
                  </a:lnTo>
                  <a:lnTo>
                    <a:pt x="523" y="489"/>
                  </a:lnTo>
                  <a:lnTo>
                    <a:pt x="439" y="475"/>
                  </a:lnTo>
                  <a:lnTo>
                    <a:pt x="363" y="461"/>
                  </a:lnTo>
                  <a:lnTo>
                    <a:pt x="291" y="444"/>
                  </a:lnTo>
                  <a:lnTo>
                    <a:pt x="227" y="426"/>
                  </a:lnTo>
                  <a:lnTo>
                    <a:pt x="169" y="406"/>
                  </a:lnTo>
                  <a:lnTo>
                    <a:pt x="119" y="384"/>
                  </a:lnTo>
                  <a:lnTo>
                    <a:pt x="78" y="362"/>
                  </a:lnTo>
                  <a:lnTo>
                    <a:pt x="44" y="339"/>
                  </a:lnTo>
                  <a:lnTo>
                    <a:pt x="20" y="315"/>
                  </a:lnTo>
                  <a:lnTo>
                    <a:pt x="4" y="291"/>
                  </a:lnTo>
                  <a:lnTo>
                    <a:pt x="0" y="265"/>
                  </a:lnTo>
                  <a:lnTo>
                    <a:pt x="4" y="240"/>
                  </a:lnTo>
                  <a:lnTo>
                    <a:pt x="20" y="214"/>
                  </a:lnTo>
                  <a:lnTo>
                    <a:pt x="46" y="190"/>
                  </a:lnTo>
                  <a:lnTo>
                    <a:pt x="78" y="168"/>
                  </a:lnTo>
                  <a:lnTo>
                    <a:pt x="121" y="145"/>
                  </a:lnTo>
                  <a:lnTo>
                    <a:pt x="170" y="124"/>
                  </a:lnTo>
                  <a:lnTo>
                    <a:pt x="228" y="105"/>
                  </a:lnTo>
                  <a:lnTo>
                    <a:pt x="292" y="87"/>
                  </a:lnTo>
                  <a:lnTo>
                    <a:pt x="364" y="70"/>
                  </a:lnTo>
                  <a:lnTo>
                    <a:pt x="441" y="54"/>
                  </a:lnTo>
                  <a:lnTo>
                    <a:pt x="524" y="40"/>
                  </a:lnTo>
                  <a:lnTo>
                    <a:pt x="612" y="29"/>
                  </a:lnTo>
                  <a:lnTo>
                    <a:pt x="704" y="19"/>
                  </a:lnTo>
                  <a:lnTo>
                    <a:pt x="802" y="12"/>
                  </a:lnTo>
                  <a:lnTo>
                    <a:pt x="903" y="5"/>
                  </a:lnTo>
                  <a:lnTo>
                    <a:pt x="1006" y="2"/>
                  </a:lnTo>
                  <a:lnTo>
                    <a:pt x="1114" y="0"/>
                  </a:lnTo>
                  <a:close/>
                </a:path>
              </a:pathLst>
            </a:custGeom>
            <a:gradFill flip="none" rotWithShape="1">
              <a:gsLst>
                <a:gs pos="0">
                  <a:schemeClr val="accent1">
                    <a:lumMod val="20000"/>
                    <a:lumOff val="80000"/>
                  </a:schemeClr>
                </a:gs>
                <a:gs pos="37000">
                  <a:schemeClr val="accent1">
                    <a:lumMod val="40000"/>
                    <a:lumOff val="60000"/>
                  </a:schemeClr>
                </a:gs>
                <a:gs pos="100000">
                  <a:schemeClr val="accent1">
                    <a:lumMod val="87000"/>
                    <a:lumOff val="13000"/>
                  </a:schemeClr>
                </a:gs>
              </a:gsLst>
              <a:lin ang="5400000" scaled="1"/>
              <a:tileRect/>
            </a:gradFill>
            <a:ln w="51262"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HarmonyOS Sans SC"/>
                <a:cs typeface="+mn-cs"/>
              </a:endParaRPr>
            </a:p>
          </p:txBody>
        </p:sp>
        <p:sp>
          <p:nvSpPr>
            <p:cNvPr id="8" name="Freeform 28">
              <a:extLst>
                <a:ext uri="{FF2B5EF4-FFF2-40B4-BE49-F238E27FC236}">
                  <a16:creationId xmlns:a16="http://schemas.microsoft.com/office/drawing/2014/main" id="{B11E7687-D0CE-4CF5-B1C2-14FBECD329B1}"/>
                </a:ext>
              </a:extLst>
            </p:cNvPr>
            <p:cNvSpPr>
              <a:spLocks/>
            </p:cNvSpPr>
            <p:nvPr/>
          </p:nvSpPr>
          <p:spPr bwMode="auto">
            <a:xfrm>
              <a:off x="8130624" y="4489212"/>
              <a:ext cx="2010951" cy="571844"/>
            </a:xfrm>
            <a:custGeom>
              <a:avLst/>
              <a:gdLst>
                <a:gd name="T0" fmla="*/ 237 w 2117"/>
                <a:gd name="T1" fmla="*/ 0 h 602"/>
                <a:gd name="T2" fmla="*/ 291 w 2117"/>
                <a:gd name="T3" fmla="*/ 33 h 602"/>
                <a:gd name="T4" fmla="*/ 352 w 2117"/>
                <a:gd name="T5" fmla="*/ 61 h 602"/>
                <a:gd name="T6" fmla="*/ 418 w 2117"/>
                <a:gd name="T7" fmla="*/ 87 h 602"/>
                <a:gd name="T8" fmla="*/ 489 w 2117"/>
                <a:gd name="T9" fmla="*/ 108 h 602"/>
                <a:gd name="T10" fmla="*/ 563 w 2117"/>
                <a:gd name="T11" fmla="*/ 125 h 602"/>
                <a:gd name="T12" fmla="*/ 641 w 2117"/>
                <a:gd name="T13" fmla="*/ 139 h 602"/>
                <a:gd name="T14" fmla="*/ 722 w 2117"/>
                <a:gd name="T15" fmla="*/ 149 h 602"/>
                <a:gd name="T16" fmla="*/ 804 w 2117"/>
                <a:gd name="T17" fmla="*/ 156 h 602"/>
                <a:gd name="T18" fmla="*/ 889 w 2117"/>
                <a:gd name="T19" fmla="*/ 160 h 602"/>
                <a:gd name="T20" fmla="*/ 974 w 2117"/>
                <a:gd name="T21" fmla="*/ 162 h 602"/>
                <a:gd name="T22" fmla="*/ 1060 w 2117"/>
                <a:gd name="T23" fmla="*/ 160 h 602"/>
                <a:gd name="T24" fmla="*/ 1145 w 2117"/>
                <a:gd name="T25" fmla="*/ 156 h 602"/>
                <a:gd name="T26" fmla="*/ 1230 w 2117"/>
                <a:gd name="T27" fmla="*/ 150 h 602"/>
                <a:gd name="T28" fmla="*/ 1314 w 2117"/>
                <a:gd name="T29" fmla="*/ 140 h 602"/>
                <a:gd name="T30" fmla="*/ 1396 w 2117"/>
                <a:gd name="T31" fmla="*/ 129 h 602"/>
                <a:gd name="T32" fmla="*/ 1474 w 2117"/>
                <a:gd name="T33" fmla="*/ 116 h 602"/>
                <a:gd name="T34" fmla="*/ 1551 w 2117"/>
                <a:gd name="T35" fmla="*/ 101 h 602"/>
                <a:gd name="T36" fmla="*/ 1623 w 2117"/>
                <a:gd name="T37" fmla="*/ 84 h 602"/>
                <a:gd name="T38" fmla="*/ 1691 w 2117"/>
                <a:gd name="T39" fmla="*/ 65 h 602"/>
                <a:gd name="T40" fmla="*/ 1753 w 2117"/>
                <a:gd name="T41" fmla="*/ 45 h 602"/>
                <a:gd name="T42" fmla="*/ 1811 w 2117"/>
                <a:gd name="T43" fmla="*/ 23 h 602"/>
                <a:gd name="T44" fmla="*/ 1862 w 2117"/>
                <a:gd name="T45" fmla="*/ 0 h 602"/>
                <a:gd name="T46" fmla="*/ 2117 w 2117"/>
                <a:gd name="T47" fmla="*/ 346 h 602"/>
                <a:gd name="T48" fmla="*/ 2085 w 2117"/>
                <a:gd name="T49" fmla="*/ 379 h 602"/>
                <a:gd name="T50" fmla="*/ 2044 w 2117"/>
                <a:gd name="T51" fmla="*/ 410 h 602"/>
                <a:gd name="T52" fmla="*/ 1995 w 2117"/>
                <a:gd name="T53" fmla="*/ 439 h 602"/>
                <a:gd name="T54" fmla="*/ 1940 w 2117"/>
                <a:gd name="T55" fmla="*/ 465 h 602"/>
                <a:gd name="T56" fmla="*/ 1878 w 2117"/>
                <a:gd name="T57" fmla="*/ 489 h 602"/>
                <a:gd name="T58" fmla="*/ 1811 w 2117"/>
                <a:gd name="T59" fmla="*/ 510 h 602"/>
                <a:gd name="T60" fmla="*/ 1738 w 2117"/>
                <a:gd name="T61" fmla="*/ 530 h 602"/>
                <a:gd name="T62" fmla="*/ 1660 w 2117"/>
                <a:gd name="T63" fmla="*/ 547 h 602"/>
                <a:gd name="T64" fmla="*/ 1579 w 2117"/>
                <a:gd name="T65" fmla="*/ 561 h 602"/>
                <a:gd name="T66" fmla="*/ 1494 w 2117"/>
                <a:gd name="T67" fmla="*/ 574 h 602"/>
                <a:gd name="T68" fmla="*/ 1406 w 2117"/>
                <a:gd name="T69" fmla="*/ 584 h 602"/>
                <a:gd name="T70" fmla="*/ 1315 w 2117"/>
                <a:gd name="T71" fmla="*/ 593 h 602"/>
                <a:gd name="T72" fmla="*/ 1225 w 2117"/>
                <a:gd name="T73" fmla="*/ 598 h 602"/>
                <a:gd name="T74" fmla="*/ 1131 w 2117"/>
                <a:gd name="T75" fmla="*/ 601 h 602"/>
                <a:gd name="T76" fmla="*/ 1039 w 2117"/>
                <a:gd name="T77" fmla="*/ 602 h 602"/>
                <a:gd name="T78" fmla="*/ 946 w 2117"/>
                <a:gd name="T79" fmla="*/ 601 h 602"/>
                <a:gd name="T80" fmla="*/ 853 w 2117"/>
                <a:gd name="T81" fmla="*/ 598 h 602"/>
                <a:gd name="T82" fmla="*/ 763 w 2117"/>
                <a:gd name="T83" fmla="*/ 593 h 602"/>
                <a:gd name="T84" fmla="*/ 673 w 2117"/>
                <a:gd name="T85" fmla="*/ 584 h 602"/>
                <a:gd name="T86" fmla="*/ 587 w 2117"/>
                <a:gd name="T87" fmla="*/ 574 h 602"/>
                <a:gd name="T88" fmla="*/ 505 w 2117"/>
                <a:gd name="T89" fmla="*/ 563 h 602"/>
                <a:gd name="T90" fmla="*/ 425 w 2117"/>
                <a:gd name="T91" fmla="*/ 549 h 602"/>
                <a:gd name="T92" fmla="*/ 350 w 2117"/>
                <a:gd name="T93" fmla="*/ 532 h 602"/>
                <a:gd name="T94" fmla="*/ 281 w 2117"/>
                <a:gd name="T95" fmla="*/ 513 h 602"/>
                <a:gd name="T96" fmla="*/ 216 w 2117"/>
                <a:gd name="T97" fmla="*/ 492 h 602"/>
                <a:gd name="T98" fmla="*/ 158 w 2117"/>
                <a:gd name="T99" fmla="*/ 469 h 602"/>
                <a:gd name="T100" fmla="*/ 107 w 2117"/>
                <a:gd name="T101" fmla="*/ 444 h 602"/>
                <a:gd name="T102" fmla="*/ 63 w 2117"/>
                <a:gd name="T103" fmla="*/ 415 h 602"/>
                <a:gd name="T104" fmla="*/ 27 w 2117"/>
                <a:gd name="T105" fmla="*/ 387 h 602"/>
                <a:gd name="T106" fmla="*/ 0 w 2117"/>
                <a:gd name="T107" fmla="*/ 354 h 602"/>
                <a:gd name="T108" fmla="*/ 237 w 2117"/>
                <a:gd name="T109" fmla="*/ 0 h 6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117" h="602">
                  <a:moveTo>
                    <a:pt x="237" y="0"/>
                  </a:moveTo>
                  <a:lnTo>
                    <a:pt x="291" y="33"/>
                  </a:lnTo>
                  <a:lnTo>
                    <a:pt x="352" y="61"/>
                  </a:lnTo>
                  <a:lnTo>
                    <a:pt x="418" y="87"/>
                  </a:lnTo>
                  <a:lnTo>
                    <a:pt x="489" y="108"/>
                  </a:lnTo>
                  <a:lnTo>
                    <a:pt x="563" y="125"/>
                  </a:lnTo>
                  <a:lnTo>
                    <a:pt x="641" y="139"/>
                  </a:lnTo>
                  <a:lnTo>
                    <a:pt x="722" y="149"/>
                  </a:lnTo>
                  <a:lnTo>
                    <a:pt x="804" y="156"/>
                  </a:lnTo>
                  <a:lnTo>
                    <a:pt x="889" y="160"/>
                  </a:lnTo>
                  <a:lnTo>
                    <a:pt x="974" y="162"/>
                  </a:lnTo>
                  <a:lnTo>
                    <a:pt x="1060" y="160"/>
                  </a:lnTo>
                  <a:lnTo>
                    <a:pt x="1145" y="156"/>
                  </a:lnTo>
                  <a:lnTo>
                    <a:pt x="1230" y="150"/>
                  </a:lnTo>
                  <a:lnTo>
                    <a:pt x="1314" y="140"/>
                  </a:lnTo>
                  <a:lnTo>
                    <a:pt x="1396" y="129"/>
                  </a:lnTo>
                  <a:lnTo>
                    <a:pt x="1474" y="116"/>
                  </a:lnTo>
                  <a:lnTo>
                    <a:pt x="1551" y="101"/>
                  </a:lnTo>
                  <a:lnTo>
                    <a:pt x="1623" y="84"/>
                  </a:lnTo>
                  <a:lnTo>
                    <a:pt x="1691" y="65"/>
                  </a:lnTo>
                  <a:lnTo>
                    <a:pt x="1753" y="45"/>
                  </a:lnTo>
                  <a:lnTo>
                    <a:pt x="1811" y="23"/>
                  </a:lnTo>
                  <a:lnTo>
                    <a:pt x="1862" y="0"/>
                  </a:lnTo>
                  <a:lnTo>
                    <a:pt x="2117" y="346"/>
                  </a:lnTo>
                  <a:lnTo>
                    <a:pt x="2085" y="379"/>
                  </a:lnTo>
                  <a:lnTo>
                    <a:pt x="2044" y="410"/>
                  </a:lnTo>
                  <a:lnTo>
                    <a:pt x="1995" y="439"/>
                  </a:lnTo>
                  <a:lnTo>
                    <a:pt x="1940" y="465"/>
                  </a:lnTo>
                  <a:lnTo>
                    <a:pt x="1878" y="489"/>
                  </a:lnTo>
                  <a:lnTo>
                    <a:pt x="1811" y="510"/>
                  </a:lnTo>
                  <a:lnTo>
                    <a:pt x="1738" y="530"/>
                  </a:lnTo>
                  <a:lnTo>
                    <a:pt x="1660" y="547"/>
                  </a:lnTo>
                  <a:lnTo>
                    <a:pt x="1579" y="561"/>
                  </a:lnTo>
                  <a:lnTo>
                    <a:pt x="1494" y="574"/>
                  </a:lnTo>
                  <a:lnTo>
                    <a:pt x="1406" y="584"/>
                  </a:lnTo>
                  <a:lnTo>
                    <a:pt x="1315" y="593"/>
                  </a:lnTo>
                  <a:lnTo>
                    <a:pt x="1225" y="598"/>
                  </a:lnTo>
                  <a:lnTo>
                    <a:pt x="1131" y="601"/>
                  </a:lnTo>
                  <a:lnTo>
                    <a:pt x="1039" y="602"/>
                  </a:lnTo>
                  <a:lnTo>
                    <a:pt x="946" y="601"/>
                  </a:lnTo>
                  <a:lnTo>
                    <a:pt x="853" y="598"/>
                  </a:lnTo>
                  <a:lnTo>
                    <a:pt x="763" y="593"/>
                  </a:lnTo>
                  <a:lnTo>
                    <a:pt x="673" y="584"/>
                  </a:lnTo>
                  <a:lnTo>
                    <a:pt x="587" y="574"/>
                  </a:lnTo>
                  <a:lnTo>
                    <a:pt x="505" y="563"/>
                  </a:lnTo>
                  <a:lnTo>
                    <a:pt x="425" y="549"/>
                  </a:lnTo>
                  <a:lnTo>
                    <a:pt x="350" y="532"/>
                  </a:lnTo>
                  <a:lnTo>
                    <a:pt x="281" y="513"/>
                  </a:lnTo>
                  <a:lnTo>
                    <a:pt x="216" y="492"/>
                  </a:lnTo>
                  <a:lnTo>
                    <a:pt x="158" y="469"/>
                  </a:lnTo>
                  <a:lnTo>
                    <a:pt x="107" y="444"/>
                  </a:lnTo>
                  <a:lnTo>
                    <a:pt x="63" y="415"/>
                  </a:lnTo>
                  <a:lnTo>
                    <a:pt x="27" y="387"/>
                  </a:lnTo>
                  <a:lnTo>
                    <a:pt x="0" y="354"/>
                  </a:lnTo>
                  <a:lnTo>
                    <a:pt x="237" y="0"/>
                  </a:lnTo>
                  <a:close/>
                </a:path>
              </a:pathLst>
            </a:custGeom>
            <a:gradFill flip="none" rotWithShape="1">
              <a:gsLst>
                <a:gs pos="6000">
                  <a:schemeClr val="accent1">
                    <a:lumMod val="40000"/>
                    <a:lumOff val="60000"/>
                  </a:schemeClr>
                </a:gs>
                <a:gs pos="26000">
                  <a:schemeClr val="accent1">
                    <a:lumMod val="60000"/>
                    <a:lumOff val="40000"/>
                  </a:schemeClr>
                </a:gs>
                <a:gs pos="82000">
                  <a:schemeClr val="accent1"/>
                </a:gs>
              </a:gsLst>
              <a:lin ang="540000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cs typeface="+mn-cs"/>
              </a:endParaRPr>
            </a:p>
          </p:txBody>
        </p:sp>
        <p:sp>
          <p:nvSpPr>
            <p:cNvPr id="9" name="Freeform 29">
              <a:extLst>
                <a:ext uri="{FF2B5EF4-FFF2-40B4-BE49-F238E27FC236}">
                  <a16:creationId xmlns:a16="http://schemas.microsoft.com/office/drawing/2014/main" id="{9A483376-5CC4-4052-83D9-9E9BE55C2BD2}"/>
                </a:ext>
              </a:extLst>
            </p:cNvPr>
            <p:cNvSpPr>
              <a:spLocks/>
            </p:cNvSpPr>
            <p:nvPr/>
          </p:nvSpPr>
          <p:spPr bwMode="auto">
            <a:xfrm>
              <a:off x="8338654" y="4349576"/>
              <a:ext cx="1588243" cy="344816"/>
            </a:xfrm>
            <a:custGeom>
              <a:avLst/>
              <a:gdLst>
                <a:gd name="T0" fmla="*/ 836 w 1672"/>
                <a:gd name="T1" fmla="*/ 0 h 363"/>
                <a:gd name="T2" fmla="*/ 926 w 1672"/>
                <a:gd name="T3" fmla="*/ 0 h 363"/>
                <a:gd name="T4" fmla="*/ 1016 w 1672"/>
                <a:gd name="T5" fmla="*/ 3 h 363"/>
                <a:gd name="T6" fmla="*/ 1101 w 1672"/>
                <a:gd name="T7" fmla="*/ 8 h 363"/>
                <a:gd name="T8" fmla="*/ 1181 w 1672"/>
                <a:gd name="T9" fmla="*/ 15 h 363"/>
                <a:gd name="T10" fmla="*/ 1258 w 1672"/>
                <a:gd name="T11" fmla="*/ 24 h 363"/>
                <a:gd name="T12" fmla="*/ 1330 w 1672"/>
                <a:gd name="T13" fmla="*/ 34 h 363"/>
                <a:gd name="T14" fmla="*/ 1397 w 1672"/>
                <a:gd name="T15" fmla="*/ 46 h 363"/>
                <a:gd name="T16" fmla="*/ 1456 w 1672"/>
                <a:gd name="T17" fmla="*/ 59 h 363"/>
                <a:gd name="T18" fmla="*/ 1510 w 1672"/>
                <a:gd name="T19" fmla="*/ 73 h 363"/>
                <a:gd name="T20" fmla="*/ 1558 w 1672"/>
                <a:gd name="T21" fmla="*/ 89 h 363"/>
                <a:gd name="T22" fmla="*/ 1598 w 1672"/>
                <a:gd name="T23" fmla="*/ 106 h 363"/>
                <a:gd name="T24" fmla="*/ 1629 w 1672"/>
                <a:gd name="T25" fmla="*/ 123 h 363"/>
                <a:gd name="T26" fmla="*/ 1653 w 1672"/>
                <a:gd name="T27" fmla="*/ 141 h 363"/>
                <a:gd name="T28" fmla="*/ 1667 w 1672"/>
                <a:gd name="T29" fmla="*/ 161 h 363"/>
                <a:gd name="T30" fmla="*/ 1672 w 1672"/>
                <a:gd name="T31" fmla="*/ 181 h 363"/>
                <a:gd name="T32" fmla="*/ 1667 w 1672"/>
                <a:gd name="T33" fmla="*/ 201 h 363"/>
                <a:gd name="T34" fmla="*/ 1653 w 1672"/>
                <a:gd name="T35" fmla="*/ 219 h 363"/>
                <a:gd name="T36" fmla="*/ 1629 w 1672"/>
                <a:gd name="T37" fmla="*/ 238 h 363"/>
                <a:gd name="T38" fmla="*/ 1598 w 1672"/>
                <a:gd name="T39" fmla="*/ 256 h 363"/>
                <a:gd name="T40" fmla="*/ 1558 w 1672"/>
                <a:gd name="T41" fmla="*/ 273 h 363"/>
                <a:gd name="T42" fmla="*/ 1510 w 1672"/>
                <a:gd name="T43" fmla="*/ 289 h 363"/>
                <a:gd name="T44" fmla="*/ 1456 w 1672"/>
                <a:gd name="T45" fmla="*/ 303 h 363"/>
                <a:gd name="T46" fmla="*/ 1397 w 1672"/>
                <a:gd name="T47" fmla="*/ 316 h 363"/>
                <a:gd name="T48" fmla="*/ 1330 w 1672"/>
                <a:gd name="T49" fmla="*/ 327 h 363"/>
                <a:gd name="T50" fmla="*/ 1258 w 1672"/>
                <a:gd name="T51" fmla="*/ 338 h 363"/>
                <a:gd name="T52" fmla="*/ 1181 w 1672"/>
                <a:gd name="T53" fmla="*/ 347 h 363"/>
                <a:gd name="T54" fmla="*/ 1101 w 1672"/>
                <a:gd name="T55" fmla="*/ 354 h 363"/>
                <a:gd name="T56" fmla="*/ 1016 w 1672"/>
                <a:gd name="T57" fmla="*/ 358 h 363"/>
                <a:gd name="T58" fmla="*/ 926 w 1672"/>
                <a:gd name="T59" fmla="*/ 361 h 363"/>
                <a:gd name="T60" fmla="*/ 836 w 1672"/>
                <a:gd name="T61" fmla="*/ 363 h 363"/>
                <a:gd name="T62" fmla="*/ 745 w 1672"/>
                <a:gd name="T63" fmla="*/ 361 h 363"/>
                <a:gd name="T64" fmla="*/ 657 w 1672"/>
                <a:gd name="T65" fmla="*/ 358 h 363"/>
                <a:gd name="T66" fmla="*/ 572 w 1672"/>
                <a:gd name="T67" fmla="*/ 354 h 363"/>
                <a:gd name="T68" fmla="*/ 490 w 1672"/>
                <a:gd name="T69" fmla="*/ 347 h 363"/>
                <a:gd name="T70" fmla="*/ 413 w 1672"/>
                <a:gd name="T71" fmla="*/ 338 h 363"/>
                <a:gd name="T72" fmla="*/ 343 w 1672"/>
                <a:gd name="T73" fmla="*/ 327 h 363"/>
                <a:gd name="T74" fmla="*/ 276 w 1672"/>
                <a:gd name="T75" fmla="*/ 316 h 363"/>
                <a:gd name="T76" fmla="*/ 215 w 1672"/>
                <a:gd name="T77" fmla="*/ 303 h 363"/>
                <a:gd name="T78" fmla="*/ 161 w 1672"/>
                <a:gd name="T79" fmla="*/ 289 h 363"/>
                <a:gd name="T80" fmla="*/ 114 w 1672"/>
                <a:gd name="T81" fmla="*/ 273 h 363"/>
                <a:gd name="T82" fmla="*/ 75 w 1672"/>
                <a:gd name="T83" fmla="*/ 256 h 363"/>
                <a:gd name="T84" fmla="*/ 42 w 1672"/>
                <a:gd name="T85" fmla="*/ 238 h 363"/>
                <a:gd name="T86" fmla="*/ 19 w 1672"/>
                <a:gd name="T87" fmla="*/ 219 h 363"/>
                <a:gd name="T88" fmla="*/ 4 w 1672"/>
                <a:gd name="T89" fmla="*/ 201 h 363"/>
                <a:gd name="T90" fmla="*/ 0 w 1672"/>
                <a:gd name="T91" fmla="*/ 181 h 363"/>
                <a:gd name="T92" fmla="*/ 4 w 1672"/>
                <a:gd name="T93" fmla="*/ 161 h 363"/>
                <a:gd name="T94" fmla="*/ 19 w 1672"/>
                <a:gd name="T95" fmla="*/ 141 h 363"/>
                <a:gd name="T96" fmla="*/ 42 w 1672"/>
                <a:gd name="T97" fmla="*/ 123 h 363"/>
                <a:gd name="T98" fmla="*/ 75 w 1672"/>
                <a:gd name="T99" fmla="*/ 106 h 363"/>
                <a:gd name="T100" fmla="*/ 114 w 1672"/>
                <a:gd name="T101" fmla="*/ 89 h 363"/>
                <a:gd name="T102" fmla="*/ 161 w 1672"/>
                <a:gd name="T103" fmla="*/ 73 h 363"/>
                <a:gd name="T104" fmla="*/ 215 w 1672"/>
                <a:gd name="T105" fmla="*/ 59 h 363"/>
                <a:gd name="T106" fmla="*/ 276 w 1672"/>
                <a:gd name="T107" fmla="*/ 46 h 363"/>
                <a:gd name="T108" fmla="*/ 343 w 1672"/>
                <a:gd name="T109" fmla="*/ 34 h 363"/>
                <a:gd name="T110" fmla="*/ 413 w 1672"/>
                <a:gd name="T111" fmla="*/ 24 h 363"/>
                <a:gd name="T112" fmla="*/ 490 w 1672"/>
                <a:gd name="T113" fmla="*/ 15 h 363"/>
                <a:gd name="T114" fmla="*/ 572 w 1672"/>
                <a:gd name="T115" fmla="*/ 8 h 363"/>
                <a:gd name="T116" fmla="*/ 657 w 1672"/>
                <a:gd name="T117" fmla="*/ 3 h 363"/>
                <a:gd name="T118" fmla="*/ 745 w 1672"/>
                <a:gd name="T119" fmla="*/ 0 h 363"/>
                <a:gd name="T120" fmla="*/ 836 w 1672"/>
                <a:gd name="T121" fmla="*/ 0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72" h="363">
                  <a:moveTo>
                    <a:pt x="836" y="0"/>
                  </a:moveTo>
                  <a:lnTo>
                    <a:pt x="926" y="0"/>
                  </a:lnTo>
                  <a:lnTo>
                    <a:pt x="1016" y="3"/>
                  </a:lnTo>
                  <a:lnTo>
                    <a:pt x="1101" y="8"/>
                  </a:lnTo>
                  <a:lnTo>
                    <a:pt x="1181" y="15"/>
                  </a:lnTo>
                  <a:lnTo>
                    <a:pt x="1258" y="24"/>
                  </a:lnTo>
                  <a:lnTo>
                    <a:pt x="1330" y="34"/>
                  </a:lnTo>
                  <a:lnTo>
                    <a:pt x="1397" y="46"/>
                  </a:lnTo>
                  <a:lnTo>
                    <a:pt x="1456" y="59"/>
                  </a:lnTo>
                  <a:lnTo>
                    <a:pt x="1510" y="73"/>
                  </a:lnTo>
                  <a:lnTo>
                    <a:pt x="1558" y="89"/>
                  </a:lnTo>
                  <a:lnTo>
                    <a:pt x="1598" y="106"/>
                  </a:lnTo>
                  <a:lnTo>
                    <a:pt x="1629" y="123"/>
                  </a:lnTo>
                  <a:lnTo>
                    <a:pt x="1653" y="141"/>
                  </a:lnTo>
                  <a:lnTo>
                    <a:pt x="1667" y="161"/>
                  </a:lnTo>
                  <a:lnTo>
                    <a:pt x="1672" y="181"/>
                  </a:lnTo>
                  <a:lnTo>
                    <a:pt x="1667" y="201"/>
                  </a:lnTo>
                  <a:lnTo>
                    <a:pt x="1653" y="219"/>
                  </a:lnTo>
                  <a:lnTo>
                    <a:pt x="1629" y="238"/>
                  </a:lnTo>
                  <a:lnTo>
                    <a:pt x="1598" y="256"/>
                  </a:lnTo>
                  <a:lnTo>
                    <a:pt x="1558" y="273"/>
                  </a:lnTo>
                  <a:lnTo>
                    <a:pt x="1510" y="289"/>
                  </a:lnTo>
                  <a:lnTo>
                    <a:pt x="1456" y="303"/>
                  </a:lnTo>
                  <a:lnTo>
                    <a:pt x="1397" y="316"/>
                  </a:lnTo>
                  <a:lnTo>
                    <a:pt x="1330" y="327"/>
                  </a:lnTo>
                  <a:lnTo>
                    <a:pt x="1258" y="338"/>
                  </a:lnTo>
                  <a:lnTo>
                    <a:pt x="1181" y="347"/>
                  </a:lnTo>
                  <a:lnTo>
                    <a:pt x="1101" y="354"/>
                  </a:lnTo>
                  <a:lnTo>
                    <a:pt x="1016" y="358"/>
                  </a:lnTo>
                  <a:lnTo>
                    <a:pt x="926" y="361"/>
                  </a:lnTo>
                  <a:lnTo>
                    <a:pt x="836" y="363"/>
                  </a:lnTo>
                  <a:lnTo>
                    <a:pt x="745" y="361"/>
                  </a:lnTo>
                  <a:lnTo>
                    <a:pt x="657" y="358"/>
                  </a:lnTo>
                  <a:lnTo>
                    <a:pt x="572" y="354"/>
                  </a:lnTo>
                  <a:lnTo>
                    <a:pt x="490" y="347"/>
                  </a:lnTo>
                  <a:lnTo>
                    <a:pt x="413" y="338"/>
                  </a:lnTo>
                  <a:lnTo>
                    <a:pt x="343" y="327"/>
                  </a:lnTo>
                  <a:lnTo>
                    <a:pt x="276" y="316"/>
                  </a:lnTo>
                  <a:lnTo>
                    <a:pt x="215" y="303"/>
                  </a:lnTo>
                  <a:lnTo>
                    <a:pt x="161" y="289"/>
                  </a:lnTo>
                  <a:lnTo>
                    <a:pt x="114" y="273"/>
                  </a:lnTo>
                  <a:lnTo>
                    <a:pt x="75" y="256"/>
                  </a:lnTo>
                  <a:lnTo>
                    <a:pt x="42" y="238"/>
                  </a:lnTo>
                  <a:lnTo>
                    <a:pt x="19" y="219"/>
                  </a:lnTo>
                  <a:lnTo>
                    <a:pt x="4" y="201"/>
                  </a:lnTo>
                  <a:lnTo>
                    <a:pt x="0" y="181"/>
                  </a:lnTo>
                  <a:lnTo>
                    <a:pt x="4" y="161"/>
                  </a:lnTo>
                  <a:lnTo>
                    <a:pt x="19" y="141"/>
                  </a:lnTo>
                  <a:lnTo>
                    <a:pt x="42" y="123"/>
                  </a:lnTo>
                  <a:lnTo>
                    <a:pt x="75" y="106"/>
                  </a:lnTo>
                  <a:lnTo>
                    <a:pt x="114" y="89"/>
                  </a:lnTo>
                  <a:lnTo>
                    <a:pt x="161" y="73"/>
                  </a:lnTo>
                  <a:lnTo>
                    <a:pt x="215" y="59"/>
                  </a:lnTo>
                  <a:lnTo>
                    <a:pt x="276" y="46"/>
                  </a:lnTo>
                  <a:lnTo>
                    <a:pt x="343" y="34"/>
                  </a:lnTo>
                  <a:lnTo>
                    <a:pt x="413" y="24"/>
                  </a:lnTo>
                  <a:lnTo>
                    <a:pt x="490" y="15"/>
                  </a:lnTo>
                  <a:lnTo>
                    <a:pt x="572" y="8"/>
                  </a:lnTo>
                  <a:lnTo>
                    <a:pt x="657" y="3"/>
                  </a:lnTo>
                  <a:lnTo>
                    <a:pt x="745" y="0"/>
                  </a:lnTo>
                  <a:lnTo>
                    <a:pt x="836" y="0"/>
                  </a:lnTo>
                  <a:close/>
                </a:path>
              </a:pathLst>
            </a:custGeom>
            <a:gradFill flip="none" rotWithShape="1">
              <a:gsLst>
                <a:gs pos="0">
                  <a:schemeClr val="accent1">
                    <a:lumMod val="20000"/>
                    <a:lumOff val="80000"/>
                  </a:schemeClr>
                </a:gs>
                <a:gs pos="37000">
                  <a:schemeClr val="accent1">
                    <a:lumMod val="40000"/>
                    <a:lumOff val="60000"/>
                  </a:schemeClr>
                </a:gs>
                <a:gs pos="100000">
                  <a:schemeClr val="accent1">
                    <a:lumMod val="87000"/>
                    <a:lumOff val="13000"/>
                  </a:schemeClr>
                </a:gs>
              </a:gsLst>
              <a:lin ang="5400000" scaled="1"/>
              <a:tileRect/>
            </a:gradFill>
            <a:ln w="51262"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HarmonyOS Sans SC"/>
                <a:cs typeface="+mn-cs"/>
              </a:endParaRPr>
            </a:p>
          </p:txBody>
        </p:sp>
        <p:sp>
          <p:nvSpPr>
            <p:cNvPr id="10" name="Freeform 30">
              <a:extLst>
                <a:ext uri="{FF2B5EF4-FFF2-40B4-BE49-F238E27FC236}">
                  <a16:creationId xmlns:a16="http://schemas.microsoft.com/office/drawing/2014/main" id="{CCF04692-2ABA-44F3-9F35-47C4DE32A133}"/>
                </a:ext>
              </a:extLst>
            </p:cNvPr>
            <p:cNvSpPr>
              <a:spLocks/>
            </p:cNvSpPr>
            <p:nvPr/>
          </p:nvSpPr>
          <p:spPr bwMode="auto">
            <a:xfrm>
              <a:off x="8420346" y="4043706"/>
              <a:ext cx="1432458" cy="491101"/>
            </a:xfrm>
            <a:custGeom>
              <a:avLst/>
              <a:gdLst>
                <a:gd name="T0" fmla="*/ 167 w 1508"/>
                <a:gd name="T1" fmla="*/ 0 h 517"/>
                <a:gd name="T2" fmla="*/ 214 w 1508"/>
                <a:gd name="T3" fmla="*/ 34 h 517"/>
                <a:gd name="T4" fmla="*/ 265 w 1508"/>
                <a:gd name="T5" fmla="*/ 64 h 517"/>
                <a:gd name="T6" fmla="*/ 320 w 1508"/>
                <a:gd name="T7" fmla="*/ 89 h 517"/>
                <a:gd name="T8" fmla="*/ 381 w 1508"/>
                <a:gd name="T9" fmla="*/ 109 h 517"/>
                <a:gd name="T10" fmla="*/ 444 w 1508"/>
                <a:gd name="T11" fmla="*/ 126 h 517"/>
                <a:gd name="T12" fmla="*/ 510 w 1508"/>
                <a:gd name="T13" fmla="*/ 137 h 517"/>
                <a:gd name="T14" fmla="*/ 578 w 1508"/>
                <a:gd name="T15" fmla="*/ 146 h 517"/>
                <a:gd name="T16" fmla="*/ 649 w 1508"/>
                <a:gd name="T17" fmla="*/ 149 h 517"/>
                <a:gd name="T18" fmla="*/ 720 w 1508"/>
                <a:gd name="T19" fmla="*/ 150 h 517"/>
                <a:gd name="T20" fmla="*/ 789 w 1508"/>
                <a:gd name="T21" fmla="*/ 147 h 517"/>
                <a:gd name="T22" fmla="*/ 860 w 1508"/>
                <a:gd name="T23" fmla="*/ 140 h 517"/>
                <a:gd name="T24" fmla="*/ 930 w 1508"/>
                <a:gd name="T25" fmla="*/ 132 h 517"/>
                <a:gd name="T26" fmla="*/ 996 w 1508"/>
                <a:gd name="T27" fmla="*/ 119 h 517"/>
                <a:gd name="T28" fmla="*/ 1061 w 1508"/>
                <a:gd name="T29" fmla="*/ 105 h 517"/>
                <a:gd name="T30" fmla="*/ 1124 w 1508"/>
                <a:gd name="T31" fmla="*/ 88 h 517"/>
                <a:gd name="T32" fmla="*/ 1182 w 1508"/>
                <a:gd name="T33" fmla="*/ 68 h 517"/>
                <a:gd name="T34" fmla="*/ 1236 w 1508"/>
                <a:gd name="T35" fmla="*/ 47 h 517"/>
                <a:gd name="T36" fmla="*/ 1284 w 1508"/>
                <a:gd name="T37" fmla="*/ 24 h 517"/>
                <a:gd name="T38" fmla="*/ 1326 w 1508"/>
                <a:gd name="T39" fmla="*/ 0 h 517"/>
                <a:gd name="T40" fmla="*/ 1508 w 1508"/>
                <a:gd name="T41" fmla="*/ 320 h 517"/>
                <a:gd name="T42" fmla="*/ 1482 w 1508"/>
                <a:gd name="T43" fmla="*/ 350 h 517"/>
                <a:gd name="T44" fmla="*/ 1448 w 1508"/>
                <a:gd name="T45" fmla="*/ 377 h 517"/>
                <a:gd name="T46" fmla="*/ 1407 w 1508"/>
                <a:gd name="T47" fmla="*/ 401 h 517"/>
                <a:gd name="T48" fmla="*/ 1359 w 1508"/>
                <a:gd name="T49" fmla="*/ 424 h 517"/>
                <a:gd name="T50" fmla="*/ 1306 w 1508"/>
                <a:gd name="T51" fmla="*/ 444 h 517"/>
                <a:gd name="T52" fmla="*/ 1247 w 1508"/>
                <a:gd name="T53" fmla="*/ 461 h 517"/>
                <a:gd name="T54" fmla="*/ 1185 w 1508"/>
                <a:gd name="T55" fmla="*/ 476 h 517"/>
                <a:gd name="T56" fmla="*/ 1118 w 1508"/>
                <a:gd name="T57" fmla="*/ 489 h 517"/>
                <a:gd name="T58" fmla="*/ 1049 w 1508"/>
                <a:gd name="T59" fmla="*/ 499 h 517"/>
                <a:gd name="T60" fmla="*/ 975 w 1508"/>
                <a:gd name="T61" fmla="*/ 507 h 517"/>
                <a:gd name="T62" fmla="*/ 901 w 1508"/>
                <a:gd name="T63" fmla="*/ 513 h 517"/>
                <a:gd name="T64" fmla="*/ 825 w 1508"/>
                <a:gd name="T65" fmla="*/ 517 h 517"/>
                <a:gd name="T66" fmla="*/ 748 w 1508"/>
                <a:gd name="T67" fmla="*/ 517 h 517"/>
                <a:gd name="T68" fmla="*/ 672 w 1508"/>
                <a:gd name="T69" fmla="*/ 516 h 517"/>
                <a:gd name="T70" fmla="*/ 595 w 1508"/>
                <a:gd name="T71" fmla="*/ 512 h 517"/>
                <a:gd name="T72" fmla="*/ 520 w 1508"/>
                <a:gd name="T73" fmla="*/ 506 h 517"/>
                <a:gd name="T74" fmla="*/ 446 w 1508"/>
                <a:gd name="T75" fmla="*/ 496 h 517"/>
                <a:gd name="T76" fmla="*/ 376 w 1508"/>
                <a:gd name="T77" fmla="*/ 485 h 517"/>
                <a:gd name="T78" fmla="*/ 308 w 1508"/>
                <a:gd name="T79" fmla="*/ 470 h 517"/>
                <a:gd name="T80" fmla="*/ 244 w 1508"/>
                <a:gd name="T81" fmla="*/ 453 h 517"/>
                <a:gd name="T82" fmla="*/ 184 w 1508"/>
                <a:gd name="T83" fmla="*/ 434 h 517"/>
                <a:gd name="T84" fmla="*/ 129 w 1508"/>
                <a:gd name="T85" fmla="*/ 411 h 517"/>
                <a:gd name="T86" fmla="*/ 79 w 1508"/>
                <a:gd name="T87" fmla="*/ 387 h 517"/>
                <a:gd name="T88" fmla="*/ 35 w 1508"/>
                <a:gd name="T89" fmla="*/ 359 h 517"/>
                <a:gd name="T90" fmla="*/ 0 w 1508"/>
                <a:gd name="T91" fmla="*/ 329 h 517"/>
                <a:gd name="T92" fmla="*/ 167 w 1508"/>
                <a:gd name="T93" fmla="*/ 0 h 5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508" h="517">
                  <a:moveTo>
                    <a:pt x="167" y="0"/>
                  </a:moveTo>
                  <a:lnTo>
                    <a:pt x="214" y="34"/>
                  </a:lnTo>
                  <a:lnTo>
                    <a:pt x="265" y="64"/>
                  </a:lnTo>
                  <a:lnTo>
                    <a:pt x="320" y="89"/>
                  </a:lnTo>
                  <a:lnTo>
                    <a:pt x="381" y="109"/>
                  </a:lnTo>
                  <a:lnTo>
                    <a:pt x="444" y="126"/>
                  </a:lnTo>
                  <a:lnTo>
                    <a:pt x="510" y="137"/>
                  </a:lnTo>
                  <a:lnTo>
                    <a:pt x="578" y="146"/>
                  </a:lnTo>
                  <a:lnTo>
                    <a:pt x="649" y="149"/>
                  </a:lnTo>
                  <a:lnTo>
                    <a:pt x="720" y="150"/>
                  </a:lnTo>
                  <a:lnTo>
                    <a:pt x="789" y="147"/>
                  </a:lnTo>
                  <a:lnTo>
                    <a:pt x="860" y="140"/>
                  </a:lnTo>
                  <a:lnTo>
                    <a:pt x="930" y="132"/>
                  </a:lnTo>
                  <a:lnTo>
                    <a:pt x="996" y="119"/>
                  </a:lnTo>
                  <a:lnTo>
                    <a:pt x="1061" y="105"/>
                  </a:lnTo>
                  <a:lnTo>
                    <a:pt x="1124" y="88"/>
                  </a:lnTo>
                  <a:lnTo>
                    <a:pt x="1182" y="68"/>
                  </a:lnTo>
                  <a:lnTo>
                    <a:pt x="1236" y="47"/>
                  </a:lnTo>
                  <a:lnTo>
                    <a:pt x="1284" y="24"/>
                  </a:lnTo>
                  <a:lnTo>
                    <a:pt x="1326" y="0"/>
                  </a:lnTo>
                  <a:lnTo>
                    <a:pt x="1508" y="320"/>
                  </a:lnTo>
                  <a:lnTo>
                    <a:pt x="1482" y="350"/>
                  </a:lnTo>
                  <a:lnTo>
                    <a:pt x="1448" y="377"/>
                  </a:lnTo>
                  <a:lnTo>
                    <a:pt x="1407" y="401"/>
                  </a:lnTo>
                  <a:lnTo>
                    <a:pt x="1359" y="424"/>
                  </a:lnTo>
                  <a:lnTo>
                    <a:pt x="1306" y="444"/>
                  </a:lnTo>
                  <a:lnTo>
                    <a:pt x="1247" y="461"/>
                  </a:lnTo>
                  <a:lnTo>
                    <a:pt x="1185" y="476"/>
                  </a:lnTo>
                  <a:lnTo>
                    <a:pt x="1118" y="489"/>
                  </a:lnTo>
                  <a:lnTo>
                    <a:pt x="1049" y="499"/>
                  </a:lnTo>
                  <a:lnTo>
                    <a:pt x="975" y="507"/>
                  </a:lnTo>
                  <a:lnTo>
                    <a:pt x="901" y="513"/>
                  </a:lnTo>
                  <a:lnTo>
                    <a:pt x="825" y="517"/>
                  </a:lnTo>
                  <a:lnTo>
                    <a:pt x="748" y="517"/>
                  </a:lnTo>
                  <a:lnTo>
                    <a:pt x="672" y="516"/>
                  </a:lnTo>
                  <a:lnTo>
                    <a:pt x="595" y="512"/>
                  </a:lnTo>
                  <a:lnTo>
                    <a:pt x="520" y="506"/>
                  </a:lnTo>
                  <a:lnTo>
                    <a:pt x="446" y="496"/>
                  </a:lnTo>
                  <a:lnTo>
                    <a:pt x="376" y="485"/>
                  </a:lnTo>
                  <a:lnTo>
                    <a:pt x="308" y="470"/>
                  </a:lnTo>
                  <a:lnTo>
                    <a:pt x="244" y="453"/>
                  </a:lnTo>
                  <a:lnTo>
                    <a:pt x="184" y="434"/>
                  </a:lnTo>
                  <a:lnTo>
                    <a:pt x="129" y="411"/>
                  </a:lnTo>
                  <a:lnTo>
                    <a:pt x="79" y="387"/>
                  </a:lnTo>
                  <a:lnTo>
                    <a:pt x="35" y="359"/>
                  </a:lnTo>
                  <a:lnTo>
                    <a:pt x="0" y="329"/>
                  </a:lnTo>
                  <a:lnTo>
                    <a:pt x="167" y="0"/>
                  </a:lnTo>
                  <a:close/>
                </a:path>
              </a:pathLst>
            </a:custGeom>
            <a:gradFill flip="none" rotWithShape="1">
              <a:gsLst>
                <a:gs pos="6000">
                  <a:schemeClr val="accent1">
                    <a:lumMod val="40000"/>
                    <a:lumOff val="60000"/>
                  </a:schemeClr>
                </a:gs>
                <a:gs pos="26000">
                  <a:schemeClr val="accent1">
                    <a:lumMod val="60000"/>
                    <a:lumOff val="40000"/>
                  </a:schemeClr>
                </a:gs>
                <a:gs pos="82000">
                  <a:schemeClr val="accent1"/>
                </a:gs>
              </a:gsLst>
              <a:lin ang="540000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cs typeface="+mn-cs"/>
              </a:endParaRPr>
            </a:p>
          </p:txBody>
        </p:sp>
        <p:sp>
          <p:nvSpPr>
            <p:cNvPr id="11" name="Freeform 31">
              <a:extLst>
                <a:ext uri="{FF2B5EF4-FFF2-40B4-BE49-F238E27FC236}">
                  <a16:creationId xmlns:a16="http://schemas.microsoft.com/office/drawing/2014/main" id="{026BB403-113E-46A6-A0E3-D35107D6C7B6}"/>
                </a:ext>
              </a:extLst>
            </p:cNvPr>
            <p:cNvSpPr>
              <a:spLocks/>
            </p:cNvSpPr>
            <p:nvPr/>
          </p:nvSpPr>
          <p:spPr bwMode="auto">
            <a:xfrm>
              <a:off x="8566631" y="3937317"/>
              <a:ext cx="1134188" cy="271673"/>
            </a:xfrm>
            <a:custGeom>
              <a:avLst/>
              <a:gdLst>
                <a:gd name="T0" fmla="*/ 597 w 1194"/>
                <a:gd name="T1" fmla="*/ 0 h 286"/>
                <a:gd name="T2" fmla="*/ 672 w 1194"/>
                <a:gd name="T3" fmla="*/ 0 h 286"/>
                <a:gd name="T4" fmla="*/ 744 w 1194"/>
                <a:gd name="T5" fmla="*/ 4 h 286"/>
                <a:gd name="T6" fmla="*/ 812 w 1194"/>
                <a:gd name="T7" fmla="*/ 8 h 286"/>
                <a:gd name="T8" fmla="*/ 878 w 1194"/>
                <a:gd name="T9" fmla="*/ 17 h 286"/>
                <a:gd name="T10" fmla="*/ 937 w 1194"/>
                <a:gd name="T11" fmla="*/ 25 h 286"/>
                <a:gd name="T12" fmla="*/ 992 w 1194"/>
                <a:gd name="T13" fmla="*/ 35 h 286"/>
                <a:gd name="T14" fmla="*/ 1042 w 1194"/>
                <a:gd name="T15" fmla="*/ 48 h 286"/>
                <a:gd name="T16" fmla="*/ 1086 w 1194"/>
                <a:gd name="T17" fmla="*/ 61 h 286"/>
                <a:gd name="T18" fmla="*/ 1123 w 1194"/>
                <a:gd name="T19" fmla="*/ 75 h 286"/>
                <a:gd name="T20" fmla="*/ 1152 w 1194"/>
                <a:gd name="T21" fmla="*/ 91 h 286"/>
                <a:gd name="T22" fmla="*/ 1175 w 1194"/>
                <a:gd name="T23" fmla="*/ 108 h 286"/>
                <a:gd name="T24" fmla="*/ 1188 w 1194"/>
                <a:gd name="T25" fmla="*/ 125 h 286"/>
                <a:gd name="T26" fmla="*/ 1194 w 1194"/>
                <a:gd name="T27" fmla="*/ 143 h 286"/>
                <a:gd name="T28" fmla="*/ 1188 w 1194"/>
                <a:gd name="T29" fmla="*/ 162 h 286"/>
                <a:gd name="T30" fmla="*/ 1175 w 1194"/>
                <a:gd name="T31" fmla="*/ 179 h 286"/>
                <a:gd name="T32" fmla="*/ 1152 w 1194"/>
                <a:gd name="T33" fmla="*/ 194 h 286"/>
                <a:gd name="T34" fmla="*/ 1123 w 1194"/>
                <a:gd name="T35" fmla="*/ 210 h 286"/>
                <a:gd name="T36" fmla="*/ 1086 w 1194"/>
                <a:gd name="T37" fmla="*/ 225 h 286"/>
                <a:gd name="T38" fmla="*/ 1042 w 1194"/>
                <a:gd name="T39" fmla="*/ 238 h 286"/>
                <a:gd name="T40" fmla="*/ 992 w 1194"/>
                <a:gd name="T41" fmla="*/ 251 h 286"/>
                <a:gd name="T42" fmla="*/ 937 w 1194"/>
                <a:gd name="T43" fmla="*/ 261 h 286"/>
                <a:gd name="T44" fmla="*/ 878 w 1194"/>
                <a:gd name="T45" fmla="*/ 269 h 286"/>
                <a:gd name="T46" fmla="*/ 812 w 1194"/>
                <a:gd name="T47" fmla="*/ 276 h 286"/>
                <a:gd name="T48" fmla="*/ 744 w 1194"/>
                <a:gd name="T49" fmla="*/ 282 h 286"/>
                <a:gd name="T50" fmla="*/ 672 w 1194"/>
                <a:gd name="T51" fmla="*/ 285 h 286"/>
                <a:gd name="T52" fmla="*/ 597 w 1194"/>
                <a:gd name="T53" fmla="*/ 286 h 286"/>
                <a:gd name="T54" fmla="*/ 522 w 1194"/>
                <a:gd name="T55" fmla="*/ 285 h 286"/>
                <a:gd name="T56" fmla="*/ 450 w 1194"/>
                <a:gd name="T57" fmla="*/ 282 h 286"/>
                <a:gd name="T58" fmla="*/ 382 w 1194"/>
                <a:gd name="T59" fmla="*/ 276 h 286"/>
                <a:gd name="T60" fmla="*/ 316 w 1194"/>
                <a:gd name="T61" fmla="*/ 269 h 286"/>
                <a:gd name="T62" fmla="*/ 257 w 1194"/>
                <a:gd name="T63" fmla="*/ 261 h 286"/>
                <a:gd name="T64" fmla="*/ 202 w 1194"/>
                <a:gd name="T65" fmla="*/ 251 h 286"/>
                <a:gd name="T66" fmla="*/ 152 w 1194"/>
                <a:gd name="T67" fmla="*/ 238 h 286"/>
                <a:gd name="T68" fmla="*/ 108 w 1194"/>
                <a:gd name="T69" fmla="*/ 225 h 286"/>
                <a:gd name="T70" fmla="*/ 71 w 1194"/>
                <a:gd name="T71" fmla="*/ 210 h 286"/>
                <a:gd name="T72" fmla="*/ 42 w 1194"/>
                <a:gd name="T73" fmla="*/ 194 h 286"/>
                <a:gd name="T74" fmla="*/ 19 w 1194"/>
                <a:gd name="T75" fmla="*/ 179 h 286"/>
                <a:gd name="T76" fmla="*/ 6 w 1194"/>
                <a:gd name="T77" fmla="*/ 162 h 286"/>
                <a:gd name="T78" fmla="*/ 0 w 1194"/>
                <a:gd name="T79" fmla="*/ 143 h 286"/>
                <a:gd name="T80" fmla="*/ 6 w 1194"/>
                <a:gd name="T81" fmla="*/ 125 h 286"/>
                <a:gd name="T82" fmla="*/ 19 w 1194"/>
                <a:gd name="T83" fmla="*/ 108 h 286"/>
                <a:gd name="T84" fmla="*/ 42 w 1194"/>
                <a:gd name="T85" fmla="*/ 91 h 286"/>
                <a:gd name="T86" fmla="*/ 71 w 1194"/>
                <a:gd name="T87" fmla="*/ 75 h 286"/>
                <a:gd name="T88" fmla="*/ 108 w 1194"/>
                <a:gd name="T89" fmla="*/ 61 h 286"/>
                <a:gd name="T90" fmla="*/ 152 w 1194"/>
                <a:gd name="T91" fmla="*/ 48 h 286"/>
                <a:gd name="T92" fmla="*/ 202 w 1194"/>
                <a:gd name="T93" fmla="*/ 35 h 286"/>
                <a:gd name="T94" fmla="*/ 257 w 1194"/>
                <a:gd name="T95" fmla="*/ 25 h 286"/>
                <a:gd name="T96" fmla="*/ 316 w 1194"/>
                <a:gd name="T97" fmla="*/ 17 h 286"/>
                <a:gd name="T98" fmla="*/ 382 w 1194"/>
                <a:gd name="T99" fmla="*/ 8 h 286"/>
                <a:gd name="T100" fmla="*/ 450 w 1194"/>
                <a:gd name="T101" fmla="*/ 4 h 286"/>
                <a:gd name="T102" fmla="*/ 522 w 1194"/>
                <a:gd name="T103" fmla="*/ 0 h 286"/>
                <a:gd name="T104" fmla="*/ 597 w 1194"/>
                <a:gd name="T105" fmla="*/ 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194" h="286">
                  <a:moveTo>
                    <a:pt x="597" y="0"/>
                  </a:moveTo>
                  <a:lnTo>
                    <a:pt x="672" y="0"/>
                  </a:lnTo>
                  <a:lnTo>
                    <a:pt x="744" y="4"/>
                  </a:lnTo>
                  <a:lnTo>
                    <a:pt x="812" y="8"/>
                  </a:lnTo>
                  <a:lnTo>
                    <a:pt x="878" y="17"/>
                  </a:lnTo>
                  <a:lnTo>
                    <a:pt x="937" y="25"/>
                  </a:lnTo>
                  <a:lnTo>
                    <a:pt x="992" y="35"/>
                  </a:lnTo>
                  <a:lnTo>
                    <a:pt x="1042" y="48"/>
                  </a:lnTo>
                  <a:lnTo>
                    <a:pt x="1086" y="61"/>
                  </a:lnTo>
                  <a:lnTo>
                    <a:pt x="1123" y="75"/>
                  </a:lnTo>
                  <a:lnTo>
                    <a:pt x="1152" y="91"/>
                  </a:lnTo>
                  <a:lnTo>
                    <a:pt x="1175" y="108"/>
                  </a:lnTo>
                  <a:lnTo>
                    <a:pt x="1188" y="125"/>
                  </a:lnTo>
                  <a:lnTo>
                    <a:pt x="1194" y="143"/>
                  </a:lnTo>
                  <a:lnTo>
                    <a:pt x="1188" y="162"/>
                  </a:lnTo>
                  <a:lnTo>
                    <a:pt x="1175" y="179"/>
                  </a:lnTo>
                  <a:lnTo>
                    <a:pt x="1152" y="194"/>
                  </a:lnTo>
                  <a:lnTo>
                    <a:pt x="1123" y="210"/>
                  </a:lnTo>
                  <a:lnTo>
                    <a:pt x="1086" y="225"/>
                  </a:lnTo>
                  <a:lnTo>
                    <a:pt x="1042" y="238"/>
                  </a:lnTo>
                  <a:lnTo>
                    <a:pt x="992" y="251"/>
                  </a:lnTo>
                  <a:lnTo>
                    <a:pt x="937" y="261"/>
                  </a:lnTo>
                  <a:lnTo>
                    <a:pt x="878" y="269"/>
                  </a:lnTo>
                  <a:lnTo>
                    <a:pt x="812" y="276"/>
                  </a:lnTo>
                  <a:lnTo>
                    <a:pt x="744" y="282"/>
                  </a:lnTo>
                  <a:lnTo>
                    <a:pt x="672" y="285"/>
                  </a:lnTo>
                  <a:lnTo>
                    <a:pt x="597" y="286"/>
                  </a:lnTo>
                  <a:lnTo>
                    <a:pt x="522" y="285"/>
                  </a:lnTo>
                  <a:lnTo>
                    <a:pt x="450" y="282"/>
                  </a:lnTo>
                  <a:lnTo>
                    <a:pt x="382" y="276"/>
                  </a:lnTo>
                  <a:lnTo>
                    <a:pt x="316" y="269"/>
                  </a:lnTo>
                  <a:lnTo>
                    <a:pt x="257" y="261"/>
                  </a:lnTo>
                  <a:lnTo>
                    <a:pt x="202" y="251"/>
                  </a:lnTo>
                  <a:lnTo>
                    <a:pt x="152" y="238"/>
                  </a:lnTo>
                  <a:lnTo>
                    <a:pt x="108" y="225"/>
                  </a:lnTo>
                  <a:lnTo>
                    <a:pt x="71" y="210"/>
                  </a:lnTo>
                  <a:lnTo>
                    <a:pt x="42" y="194"/>
                  </a:lnTo>
                  <a:lnTo>
                    <a:pt x="19" y="179"/>
                  </a:lnTo>
                  <a:lnTo>
                    <a:pt x="6" y="162"/>
                  </a:lnTo>
                  <a:lnTo>
                    <a:pt x="0" y="143"/>
                  </a:lnTo>
                  <a:lnTo>
                    <a:pt x="6" y="125"/>
                  </a:lnTo>
                  <a:lnTo>
                    <a:pt x="19" y="108"/>
                  </a:lnTo>
                  <a:lnTo>
                    <a:pt x="42" y="91"/>
                  </a:lnTo>
                  <a:lnTo>
                    <a:pt x="71" y="75"/>
                  </a:lnTo>
                  <a:lnTo>
                    <a:pt x="108" y="61"/>
                  </a:lnTo>
                  <a:lnTo>
                    <a:pt x="152" y="48"/>
                  </a:lnTo>
                  <a:lnTo>
                    <a:pt x="202" y="35"/>
                  </a:lnTo>
                  <a:lnTo>
                    <a:pt x="257" y="25"/>
                  </a:lnTo>
                  <a:lnTo>
                    <a:pt x="316" y="17"/>
                  </a:lnTo>
                  <a:lnTo>
                    <a:pt x="382" y="8"/>
                  </a:lnTo>
                  <a:lnTo>
                    <a:pt x="450" y="4"/>
                  </a:lnTo>
                  <a:lnTo>
                    <a:pt x="522" y="0"/>
                  </a:lnTo>
                  <a:lnTo>
                    <a:pt x="597" y="0"/>
                  </a:lnTo>
                  <a:close/>
                </a:path>
              </a:pathLst>
            </a:custGeom>
            <a:gradFill flip="none" rotWithShape="1">
              <a:gsLst>
                <a:gs pos="0">
                  <a:schemeClr val="accent1">
                    <a:lumMod val="20000"/>
                    <a:lumOff val="80000"/>
                  </a:schemeClr>
                </a:gs>
                <a:gs pos="37000">
                  <a:schemeClr val="accent1">
                    <a:lumMod val="40000"/>
                    <a:lumOff val="60000"/>
                  </a:schemeClr>
                </a:gs>
                <a:gs pos="100000">
                  <a:schemeClr val="accent1">
                    <a:lumMod val="87000"/>
                    <a:lumOff val="13000"/>
                  </a:schemeClr>
                </a:gs>
              </a:gsLst>
              <a:lin ang="5400000" scaled="1"/>
              <a:tileRect/>
            </a:gradFill>
            <a:ln w="51262"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HarmonyOS Sans SC"/>
                <a:cs typeface="+mn-cs"/>
              </a:endParaRPr>
            </a:p>
          </p:txBody>
        </p:sp>
        <p:sp>
          <p:nvSpPr>
            <p:cNvPr id="30" name="文本框 29">
              <a:extLst>
                <a:ext uri="{FF2B5EF4-FFF2-40B4-BE49-F238E27FC236}">
                  <a16:creationId xmlns:a16="http://schemas.microsoft.com/office/drawing/2014/main" id="{B1F63E4A-816B-4F27-90BC-088122BF94E5}"/>
                </a:ext>
              </a:extLst>
            </p:cNvPr>
            <p:cNvSpPr txBox="1"/>
            <p:nvPr/>
          </p:nvSpPr>
          <p:spPr>
            <a:xfrm>
              <a:off x="9103266" y="5263862"/>
              <a:ext cx="45719"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800" b="0" i="0" u="none" strike="noStrike" kern="1200" cap="none" spc="0" normalizeH="0" baseline="0" noProof="0" dirty="0">
                  <a:ln>
                    <a:noFill/>
                  </a:ln>
                  <a:solidFill>
                    <a:prstClr val="white"/>
                  </a:solidFill>
                  <a:effectLst/>
                  <a:uLnTx/>
                  <a:uFillTx/>
                  <a:latin typeface="HarmonyOS Sans SC Black"/>
                  <a:ea typeface="+mj-ea"/>
                  <a:cs typeface="+mn-cs"/>
                </a:rPr>
                <a:t>C</a:t>
              </a:r>
              <a:endParaRPr kumimoji="0" lang="zh-CN" altLang="en-US" sz="1800" b="0" i="0" u="none" strike="noStrike" kern="1200" cap="none" spc="0" normalizeH="0" baseline="0" noProof="0" dirty="0">
                <a:ln>
                  <a:noFill/>
                </a:ln>
                <a:solidFill>
                  <a:prstClr val="white"/>
                </a:solidFill>
                <a:effectLst/>
                <a:uLnTx/>
                <a:uFillTx/>
                <a:latin typeface="HarmonyOS Sans SC Black"/>
                <a:ea typeface="+mj-ea"/>
                <a:cs typeface="+mn-cs"/>
              </a:endParaRPr>
            </a:p>
          </p:txBody>
        </p:sp>
        <p:sp>
          <p:nvSpPr>
            <p:cNvPr id="31" name="文本框 30">
              <a:extLst>
                <a:ext uri="{FF2B5EF4-FFF2-40B4-BE49-F238E27FC236}">
                  <a16:creationId xmlns:a16="http://schemas.microsoft.com/office/drawing/2014/main" id="{0B9025D7-67EB-4671-93ED-F21CBC4A28E1}"/>
                </a:ext>
              </a:extLst>
            </p:cNvPr>
            <p:cNvSpPr txBox="1"/>
            <p:nvPr/>
          </p:nvSpPr>
          <p:spPr>
            <a:xfrm>
              <a:off x="9103266" y="4700198"/>
              <a:ext cx="45719"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800" b="0" i="0" u="none" strike="noStrike" kern="1200" cap="none" spc="0" normalizeH="0" baseline="0" noProof="0" dirty="0">
                  <a:ln>
                    <a:noFill/>
                  </a:ln>
                  <a:solidFill>
                    <a:prstClr val="white"/>
                  </a:solidFill>
                  <a:effectLst/>
                  <a:uLnTx/>
                  <a:uFillTx/>
                  <a:latin typeface="HarmonyOS Sans SC Black"/>
                  <a:ea typeface="+mj-ea"/>
                  <a:cs typeface="+mn-cs"/>
                </a:rPr>
                <a:t>B</a:t>
              </a:r>
              <a:endParaRPr kumimoji="0" lang="zh-CN" altLang="en-US" sz="1800" b="0" i="0" u="none" strike="noStrike" kern="1200" cap="none" spc="0" normalizeH="0" baseline="0" noProof="0" dirty="0">
                <a:ln>
                  <a:noFill/>
                </a:ln>
                <a:solidFill>
                  <a:prstClr val="white"/>
                </a:solidFill>
                <a:effectLst/>
                <a:uLnTx/>
                <a:uFillTx/>
                <a:latin typeface="HarmonyOS Sans SC Black"/>
                <a:ea typeface="+mj-ea"/>
                <a:cs typeface="+mn-cs"/>
              </a:endParaRPr>
            </a:p>
          </p:txBody>
        </p:sp>
        <p:sp>
          <p:nvSpPr>
            <p:cNvPr id="32" name="文本框 31">
              <a:extLst>
                <a:ext uri="{FF2B5EF4-FFF2-40B4-BE49-F238E27FC236}">
                  <a16:creationId xmlns:a16="http://schemas.microsoft.com/office/drawing/2014/main" id="{CD612176-A128-4DA3-A621-8CCEFD0CC683}"/>
                </a:ext>
              </a:extLst>
            </p:cNvPr>
            <p:cNvSpPr txBox="1"/>
            <p:nvPr/>
          </p:nvSpPr>
          <p:spPr>
            <a:xfrm>
              <a:off x="9103266" y="4169878"/>
              <a:ext cx="45719"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800" b="0" i="0" u="none" strike="noStrike" kern="1200" cap="none" spc="0" normalizeH="0" baseline="0" noProof="0" dirty="0">
                  <a:ln>
                    <a:noFill/>
                  </a:ln>
                  <a:solidFill>
                    <a:prstClr val="white"/>
                  </a:solidFill>
                  <a:effectLst/>
                  <a:uLnTx/>
                  <a:uFillTx/>
                  <a:latin typeface="HarmonyOS Sans SC Black"/>
                  <a:ea typeface="+mj-ea"/>
                  <a:cs typeface="+mn-cs"/>
                </a:rPr>
                <a:t>A</a:t>
              </a:r>
              <a:endParaRPr kumimoji="0" lang="zh-CN" altLang="en-US" sz="1800" b="0" i="0" u="none" strike="noStrike" kern="1200" cap="none" spc="0" normalizeH="0" baseline="0" noProof="0" dirty="0">
                <a:ln>
                  <a:noFill/>
                </a:ln>
                <a:solidFill>
                  <a:prstClr val="white"/>
                </a:solidFill>
                <a:effectLst/>
                <a:uLnTx/>
                <a:uFillTx/>
                <a:latin typeface="HarmonyOS Sans SC Black"/>
                <a:ea typeface="+mj-ea"/>
                <a:cs typeface="+mn-cs"/>
              </a:endParaRPr>
            </a:p>
          </p:txBody>
        </p:sp>
      </p:grpSp>
    </p:spTree>
    <p:extLst>
      <p:ext uri="{BB962C8B-B14F-4D97-AF65-F5344CB8AC3E}">
        <p14:creationId xmlns:p14="http://schemas.microsoft.com/office/powerpoint/2010/main" val="3899240282"/>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5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hape">
            <a:extLst>
              <a:ext uri="{FF2B5EF4-FFF2-40B4-BE49-F238E27FC236}">
                <a16:creationId xmlns:a16="http://schemas.microsoft.com/office/drawing/2014/main" id="{A737CAF4-46BA-48E0-A7DF-F70B0A9AC3F9}"/>
              </a:ext>
            </a:extLst>
          </p:cNvPr>
          <p:cNvSpPr/>
          <p:nvPr/>
        </p:nvSpPr>
        <p:spPr>
          <a:xfrm>
            <a:off x="818766" y="1315473"/>
            <a:ext cx="772012" cy="556720"/>
          </a:xfrm>
          <a:custGeom>
            <a:avLst/>
            <a:gdLst/>
            <a:ahLst/>
            <a:cxnLst>
              <a:cxn ang="0">
                <a:pos x="wd2" y="hd2"/>
              </a:cxn>
              <a:cxn ang="5400000">
                <a:pos x="wd2" y="hd2"/>
              </a:cxn>
              <a:cxn ang="10800000">
                <a:pos x="wd2" y="hd2"/>
              </a:cxn>
              <a:cxn ang="16200000">
                <a:pos x="wd2" y="hd2"/>
              </a:cxn>
            </a:cxnLst>
            <a:rect l="0" t="0" r="r" b="b"/>
            <a:pathLst>
              <a:path w="21600" h="21600" extrusionOk="0">
                <a:moveTo>
                  <a:pt x="16771" y="0"/>
                </a:moveTo>
                <a:lnTo>
                  <a:pt x="0" y="0"/>
                </a:lnTo>
                <a:lnTo>
                  <a:pt x="0" y="21600"/>
                </a:lnTo>
                <a:lnTo>
                  <a:pt x="21600" y="21600"/>
                </a:lnTo>
                <a:lnTo>
                  <a:pt x="16771" y="0"/>
                </a:lnTo>
                <a:close/>
              </a:path>
            </a:pathLst>
          </a:custGeom>
          <a:noFill/>
          <a:ln>
            <a:gradFill>
              <a:gsLst>
                <a:gs pos="0">
                  <a:schemeClr val="accent1"/>
                </a:gs>
                <a:gs pos="100000">
                  <a:schemeClr val="accent1">
                    <a:lumMod val="60000"/>
                    <a:lumOff val="40000"/>
                  </a:schemeClr>
                </a:gs>
              </a:gsLst>
              <a:lin ang="5400000" scaled="1"/>
            </a:gra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white"/>
              </a:solidFill>
              <a:effectLst/>
              <a:uLnTx/>
              <a:uFillTx/>
              <a:latin typeface="HarmonyOS Sans SC"/>
              <a:cs typeface="+mn-cs"/>
              <a:sym typeface="Helvetica Neue Medium"/>
            </a:endParaRPr>
          </a:p>
        </p:txBody>
      </p:sp>
      <p:sp>
        <p:nvSpPr>
          <p:cNvPr id="4" name="Shape">
            <a:extLst>
              <a:ext uri="{FF2B5EF4-FFF2-40B4-BE49-F238E27FC236}">
                <a16:creationId xmlns:a16="http://schemas.microsoft.com/office/drawing/2014/main" id="{36AD01AC-BF38-4F91-8B32-C36D276EC77E}"/>
              </a:ext>
            </a:extLst>
          </p:cNvPr>
          <p:cNvSpPr/>
          <p:nvPr/>
        </p:nvSpPr>
        <p:spPr>
          <a:xfrm>
            <a:off x="816601" y="1966633"/>
            <a:ext cx="1189259" cy="1273674"/>
          </a:xfrm>
          <a:custGeom>
            <a:avLst/>
            <a:gdLst/>
            <a:ahLst/>
            <a:cxnLst>
              <a:cxn ang="0">
                <a:pos x="wd2" y="hd2"/>
              </a:cxn>
              <a:cxn ang="5400000">
                <a:pos x="wd2" y="hd2"/>
              </a:cxn>
              <a:cxn ang="10800000">
                <a:pos x="wd2" y="hd2"/>
              </a:cxn>
              <a:cxn ang="16200000">
                <a:pos x="wd2" y="hd2"/>
              </a:cxn>
            </a:cxnLst>
            <a:rect l="0" t="0" r="r" b="b"/>
            <a:pathLst>
              <a:path w="21600" h="21600" extrusionOk="0">
                <a:moveTo>
                  <a:pt x="14510" y="0"/>
                </a:moveTo>
                <a:lnTo>
                  <a:pt x="0" y="0"/>
                </a:lnTo>
                <a:lnTo>
                  <a:pt x="0" y="21600"/>
                </a:lnTo>
                <a:lnTo>
                  <a:pt x="21600" y="21600"/>
                </a:lnTo>
                <a:lnTo>
                  <a:pt x="14510" y="0"/>
                </a:lnTo>
                <a:close/>
              </a:path>
            </a:pathLst>
          </a:custGeom>
          <a:gradFill flip="none" rotWithShape="1">
            <a:gsLst>
              <a:gs pos="73000">
                <a:schemeClr val="accent1"/>
              </a:gs>
              <a:gs pos="31000">
                <a:schemeClr val="accent1">
                  <a:lumMod val="60000"/>
                  <a:lumOff val="40000"/>
                </a:schemeClr>
              </a:gs>
              <a:gs pos="0">
                <a:schemeClr val="accent1">
                  <a:lumMod val="40000"/>
                  <a:lumOff val="60000"/>
                </a:schemeClr>
              </a:gs>
            </a:gsLst>
            <a:path path="circle">
              <a:fillToRect r="100000" b="100000"/>
            </a:path>
            <a:tileRect l="-100000" t="-100000"/>
          </a:gradFill>
          <a:ln>
            <a:noFill/>
          </a:ln>
          <a:effectLst>
            <a:outerShdw blurRad="444500" dist="317500" dir="5400000" sx="92000" sy="92000" algn="t" rotWithShape="0">
              <a:schemeClr val="accent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white"/>
              </a:solidFill>
              <a:effectLst/>
              <a:uLnTx/>
              <a:uFillTx/>
              <a:latin typeface="HarmonyOS Sans SC"/>
              <a:cs typeface="+mn-cs"/>
              <a:sym typeface="Helvetica Neue Medium"/>
            </a:endParaRPr>
          </a:p>
        </p:txBody>
      </p:sp>
      <p:sp>
        <p:nvSpPr>
          <p:cNvPr id="5" name="Shape">
            <a:extLst>
              <a:ext uri="{FF2B5EF4-FFF2-40B4-BE49-F238E27FC236}">
                <a16:creationId xmlns:a16="http://schemas.microsoft.com/office/drawing/2014/main" id="{E6E239BA-A7FC-4193-8A0A-2FD581B63D30}"/>
              </a:ext>
            </a:extLst>
          </p:cNvPr>
          <p:cNvSpPr/>
          <p:nvPr/>
        </p:nvSpPr>
        <p:spPr>
          <a:xfrm>
            <a:off x="816732" y="3329613"/>
            <a:ext cx="1409440" cy="1300077"/>
          </a:xfrm>
          <a:custGeom>
            <a:avLst/>
            <a:gdLst/>
            <a:ahLst/>
            <a:cxnLst>
              <a:cxn ang="0">
                <a:pos x="wd2" y="hd2"/>
              </a:cxn>
              <a:cxn ang="5400000">
                <a:pos x="wd2" y="hd2"/>
              </a:cxn>
              <a:cxn ang="10800000">
                <a:pos x="wd2" y="hd2"/>
              </a:cxn>
              <a:cxn ang="16200000">
                <a:pos x="wd2" y="hd2"/>
              </a:cxn>
            </a:cxnLst>
            <a:rect l="0" t="0" r="r" b="b"/>
            <a:pathLst>
              <a:path w="21600" h="21600" extrusionOk="0">
                <a:moveTo>
                  <a:pt x="28" y="0"/>
                </a:moveTo>
                <a:lnTo>
                  <a:pt x="18656" y="0"/>
                </a:lnTo>
                <a:lnTo>
                  <a:pt x="21600" y="10538"/>
                </a:lnTo>
                <a:lnTo>
                  <a:pt x="18478" y="21600"/>
                </a:lnTo>
                <a:lnTo>
                  <a:pt x="0" y="21586"/>
                </a:lnTo>
                <a:lnTo>
                  <a:pt x="28" y="0"/>
                </a:lnTo>
                <a:close/>
              </a:path>
            </a:pathLst>
          </a:custGeom>
          <a:gradFill flip="none" rotWithShape="1">
            <a:gsLst>
              <a:gs pos="73000">
                <a:schemeClr val="accent1"/>
              </a:gs>
              <a:gs pos="31000">
                <a:schemeClr val="accent1">
                  <a:lumMod val="60000"/>
                  <a:lumOff val="40000"/>
                </a:schemeClr>
              </a:gs>
              <a:gs pos="0">
                <a:schemeClr val="accent1">
                  <a:lumMod val="40000"/>
                  <a:lumOff val="60000"/>
                </a:schemeClr>
              </a:gs>
            </a:gsLst>
            <a:path path="circle">
              <a:fillToRect r="100000" b="100000"/>
            </a:path>
            <a:tileRect l="-100000" t="-100000"/>
          </a:gradFill>
          <a:ln>
            <a:noFill/>
          </a:ln>
          <a:effectLst>
            <a:outerShdw blurRad="444500" dist="317500" dir="5400000" sx="92000" sy="92000" algn="t" rotWithShape="0">
              <a:schemeClr val="accent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white"/>
              </a:solidFill>
              <a:effectLst/>
              <a:uLnTx/>
              <a:uFillTx/>
              <a:latin typeface="HarmonyOS Sans SC"/>
              <a:cs typeface="+mn-cs"/>
              <a:sym typeface="Helvetica Neue Medium"/>
            </a:endParaRPr>
          </a:p>
        </p:txBody>
      </p:sp>
      <p:sp>
        <p:nvSpPr>
          <p:cNvPr id="6" name="Shape">
            <a:extLst>
              <a:ext uri="{FF2B5EF4-FFF2-40B4-BE49-F238E27FC236}">
                <a16:creationId xmlns:a16="http://schemas.microsoft.com/office/drawing/2014/main" id="{6D3F3595-1B42-46C1-A433-C6F5E6490FEB}"/>
              </a:ext>
            </a:extLst>
          </p:cNvPr>
          <p:cNvSpPr/>
          <p:nvPr/>
        </p:nvSpPr>
        <p:spPr>
          <a:xfrm>
            <a:off x="816831" y="4721901"/>
            <a:ext cx="1176574" cy="1332615"/>
          </a:xfrm>
          <a:custGeom>
            <a:avLst/>
            <a:gdLst/>
            <a:ahLst/>
            <a:cxnLst>
              <a:cxn ang="0">
                <a:pos x="wd2" y="hd2"/>
              </a:cxn>
              <a:cxn ang="5400000">
                <a:pos x="wd2" y="hd2"/>
              </a:cxn>
              <a:cxn ang="10800000">
                <a:pos x="wd2" y="hd2"/>
              </a:cxn>
              <a:cxn ang="16200000">
                <a:pos x="wd2" y="hd2"/>
              </a:cxn>
            </a:cxnLst>
            <a:rect l="0" t="0" r="r" b="b"/>
            <a:pathLst>
              <a:path w="21600" h="21600" extrusionOk="0">
                <a:moveTo>
                  <a:pt x="21600" y="1"/>
                </a:moveTo>
                <a:lnTo>
                  <a:pt x="66" y="0"/>
                </a:lnTo>
                <a:lnTo>
                  <a:pt x="0" y="21600"/>
                </a:lnTo>
                <a:lnTo>
                  <a:pt x="13912" y="21553"/>
                </a:lnTo>
                <a:lnTo>
                  <a:pt x="21600" y="1"/>
                </a:lnTo>
                <a:close/>
              </a:path>
            </a:pathLst>
          </a:custGeom>
          <a:gradFill flip="none" rotWithShape="1">
            <a:gsLst>
              <a:gs pos="73000">
                <a:schemeClr val="accent1"/>
              </a:gs>
              <a:gs pos="31000">
                <a:schemeClr val="accent1">
                  <a:lumMod val="60000"/>
                  <a:lumOff val="40000"/>
                </a:schemeClr>
              </a:gs>
              <a:gs pos="0">
                <a:schemeClr val="accent1">
                  <a:lumMod val="40000"/>
                  <a:lumOff val="60000"/>
                </a:schemeClr>
              </a:gs>
            </a:gsLst>
            <a:path path="circle">
              <a:fillToRect r="100000" b="100000"/>
            </a:path>
            <a:tileRect l="-100000" t="-100000"/>
          </a:gradFill>
          <a:ln>
            <a:noFill/>
          </a:ln>
          <a:effectLst>
            <a:outerShdw blurRad="444500" dist="317500" dir="5400000" sx="92000" sy="92000" algn="t" rotWithShape="0">
              <a:schemeClr val="accent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white"/>
              </a:solidFill>
              <a:effectLst/>
              <a:uLnTx/>
              <a:uFillTx/>
              <a:latin typeface="HarmonyOS Sans SC"/>
              <a:cs typeface="+mn-cs"/>
              <a:sym typeface="Helvetica Neue Medium"/>
            </a:endParaRPr>
          </a:p>
        </p:txBody>
      </p:sp>
      <p:sp>
        <p:nvSpPr>
          <p:cNvPr id="7" name="Shape">
            <a:extLst>
              <a:ext uri="{FF2B5EF4-FFF2-40B4-BE49-F238E27FC236}">
                <a16:creationId xmlns:a16="http://schemas.microsoft.com/office/drawing/2014/main" id="{FE2EBD7F-3C9D-4713-8B84-8345DCE8060C}"/>
              </a:ext>
            </a:extLst>
          </p:cNvPr>
          <p:cNvSpPr/>
          <p:nvPr/>
        </p:nvSpPr>
        <p:spPr>
          <a:xfrm>
            <a:off x="1520106" y="1312930"/>
            <a:ext cx="2037185" cy="558665"/>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19807" y="0"/>
                </a:lnTo>
                <a:lnTo>
                  <a:pt x="21600" y="21600"/>
                </a:lnTo>
                <a:lnTo>
                  <a:pt x="1785" y="21600"/>
                </a:lnTo>
                <a:lnTo>
                  <a:pt x="0" y="0"/>
                </a:lnTo>
                <a:close/>
              </a:path>
            </a:pathLst>
          </a:custGeom>
          <a:noFill/>
          <a:ln>
            <a:gradFill>
              <a:gsLst>
                <a:gs pos="0">
                  <a:schemeClr val="accent1"/>
                </a:gs>
                <a:gs pos="100000">
                  <a:schemeClr val="accent1">
                    <a:lumMod val="60000"/>
                    <a:lumOff val="40000"/>
                  </a:schemeClr>
                </a:gs>
              </a:gsLst>
              <a:lin ang="5400000" scaled="1"/>
            </a:gra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white"/>
              </a:solidFill>
              <a:effectLst/>
              <a:uLnTx/>
              <a:uFillTx/>
              <a:latin typeface="HarmonyOS Sans SC"/>
              <a:cs typeface="+mn-cs"/>
              <a:sym typeface="Helvetica Neue Medium"/>
            </a:endParaRPr>
          </a:p>
        </p:txBody>
      </p:sp>
      <p:sp>
        <p:nvSpPr>
          <p:cNvPr id="8" name="Shape">
            <a:extLst>
              <a:ext uri="{FF2B5EF4-FFF2-40B4-BE49-F238E27FC236}">
                <a16:creationId xmlns:a16="http://schemas.microsoft.com/office/drawing/2014/main" id="{9F075E37-5BBB-4C4A-A661-3A72FEC825F7}"/>
              </a:ext>
            </a:extLst>
          </p:cNvPr>
          <p:cNvSpPr/>
          <p:nvPr/>
        </p:nvSpPr>
        <p:spPr>
          <a:xfrm>
            <a:off x="1718172" y="1963911"/>
            <a:ext cx="2254480" cy="1272481"/>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17900" y="0"/>
                </a:lnTo>
                <a:lnTo>
                  <a:pt x="21600" y="21600"/>
                </a:lnTo>
                <a:lnTo>
                  <a:pt x="3703" y="21599"/>
                </a:lnTo>
                <a:lnTo>
                  <a:pt x="0" y="0"/>
                </a:lnTo>
                <a:close/>
              </a:path>
            </a:pathLst>
          </a:custGeom>
          <a:solidFill>
            <a:schemeClr val="accent1">
              <a:lumMod val="20000"/>
              <a:lumOff val="80000"/>
              <a:alpha val="22000"/>
            </a:schemeClr>
          </a:solidFill>
          <a:ln w="12700">
            <a:miter lim="400000"/>
          </a:ln>
        </p:spPr>
        <p:txBody>
          <a:bodyPr lIns="0" tIns="0" rIns="0" bIns="0" anchor="ctr"/>
          <a:lstStyle/>
          <a:p>
            <a:pPr marL="0" marR="0" lvl="0" indent="0" algn="ctr" defTabSz="412750" rtl="0" eaLnBrk="1" fontAlgn="auto" latinLnBrk="0" hangingPunct="0">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1600" b="0" i="0" u="none" strike="noStrike" kern="0" cap="none" spc="0" normalizeH="0" baseline="0" noProof="0">
              <a:ln>
                <a:noFill/>
              </a:ln>
              <a:solidFill>
                <a:srgbClr val="FFFFFF"/>
              </a:solidFill>
              <a:effectLst/>
              <a:uLnTx/>
              <a:uFillTx/>
              <a:latin typeface="HarmonyOS Sans SC"/>
              <a:cs typeface="+mn-cs"/>
              <a:sym typeface="Helvetica Neue Medium"/>
            </a:endParaRPr>
          </a:p>
        </p:txBody>
      </p:sp>
      <p:sp>
        <p:nvSpPr>
          <p:cNvPr id="9" name="Shape">
            <a:extLst>
              <a:ext uri="{FF2B5EF4-FFF2-40B4-BE49-F238E27FC236}">
                <a16:creationId xmlns:a16="http://schemas.microsoft.com/office/drawing/2014/main" id="{CE7C2CF9-A1BC-4801-913F-15046F0E53D3}"/>
              </a:ext>
            </a:extLst>
          </p:cNvPr>
          <p:cNvSpPr/>
          <p:nvPr/>
        </p:nvSpPr>
        <p:spPr>
          <a:xfrm>
            <a:off x="2121936" y="3329334"/>
            <a:ext cx="2074668" cy="1302160"/>
          </a:xfrm>
          <a:custGeom>
            <a:avLst/>
            <a:gdLst/>
            <a:ahLst/>
            <a:cxnLst>
              <a:cxn ang="0">
                <a:pos x="wd2" y="hd2"/>
              </a:cxn>
              <a:cxn ang="5400000">
                <a:pos x="wd2" y="hd2"/>
              </a:cxn>
              <a:cxn ang="10800000">
                <a:pos x="wd2" y="hd2"/>
              </a:cxn>
              <a:cxn ang="16200000">
                <a:pos x="wd2" y="hd2"/>
              </a:cxn>
            </a:cxnLst>
            <a:rect l="0" t="0" r="r" b="b"/>
            <a:pathLst>
              <a:path w="21600" h="21600" extrusionOk="0">
                <a:moveTo>
                  <a:pt x="19565" y="0"/>
                </a:moveTo>
                <a:lnTo>
                  <a:pt x="103" y="0"/>
                </a:lnTo>
                <a:lnTo>
                  <a:pt x="2148" y="10629"/>
                </a:lnTo>
                <a:lnTo>
                  <a:pt x="0" y="21565"/>
                </a:lnTo>
                <a:lnTo>
                  <a:pt x="19438" y="21600"/>
                </a:lnTo>
                <a:lnTo>
                  <a:pt x="21600" y="10586"/>
                </a:lnTo>
                <a:lnTo>
                  <a:pt x="19565" y="0"/>
                </a:lnTo>
                <a:close/>
              </a:path>
            </a:pathLst>
          </a:custGeom>
          <a:solidFill>
            <a:schemeClr val="accent1">
              <a:lumMod val="20000"/>
              <a:lumOff val="80000"/>
              <a:alpha val="22000"/>
            </a:schemeClr>
          </a:solidFill>
          <a:ln w="12700">
            <a:miter lim="400000"/>
          </a:ln>
        </p:spPr>
        <p:txBody>
          <a:bodyPr lIns="0" tIns="0" rIns="0" bIns="0" anchor="ctr"/>
          <a:lstStyle/>
          <a:p>
            <a:pPr marL="0" marR="0" lvl="0" indent="0" algn="ctr" defTabSz="412750" rtl="0" eaLnBrk="1" fontAlgn="auto" latinLnBrk="0" hangingPunct="0">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1600" b="0" i="0" u="none" strike="noStrike" kern="0" cap="none" spc="0" normalizeH="0" baseline="0" noProof="0">
              <a:ln>
                <a:noFill/>
              </a:ln>
              <a:solidFill>
                <a:srgbClr val="FFFFFF"/>
              </a:solidFill>
              <a:effectLst/>
              <a:uLnTx/>
              <a:uFillTx/>
              <a:latin typeface="HarmonyOS Sans SC"/>
              <a:cs typeface="+mn-cs"/>
              <a:sym typeface="Helvetica Neue Medium"/>
            </a:endParaRPr>
          </a:p>
        </p:txBody>
      </p:sp>
      <p:sp>
        <p:nvSpPr>
          <p:cNvPr id="10" name="Shape">
            <a:extLst>
              <a:ext uri="{FF2B5EF4-FFF2-40B4-BE49-F238E27FC236}">
                <a16:creationId xmlns:a16="http://schemas.microsoft.com/office/drawing/2014/main" id="{58D75504-CBEA-468D-854B-94695979A28B}"/>
              </a:ext>
            </a:extLst>
          </p:cNvPr>
          <p:cNvSpPr/>
          <p:nvPr/>
        </p:nvSpPr>
        <p:spPr>
          <a:xfrm>
            <a:off x="1673275" y="4722812"/>
            <a:ext cx="2288197" cy="1330400"/>
          </a:xfrm>
          <a:custGeom>
            <a:avLst/>
            <a:gdLst/>
            <a:ahLst/>
            <a:cxnLst>
              <a:cxn ang="0">
                <a:pos x="wd2" y="hd2"/>
              </a:cxn>
              <a:cxn ang="5400000">
                <a:pos x="wd2" y="hd2"/>
              </a:cxn>
              <a:cxn ang="10800000">
                <a:pos x="wd2" y="hd2"/>
              </a:cxn>
              <a:cxn ang="16200000">
                <a:pos x="wd2" y="hd2"/>
              </a:cxn>
            </a:cxnLst>
            <a:rect l="0" t="0" r="r" b="b"/>
            <a:pathLst>
              <a:path w="21600" h="21600" extrusionOk="0">
                <a:moveTo>
                  <a:pt x="3946" y="0"/>
                </a:moveTo>
                <a:lnTo>
                  <a:pt x="21600" y="0"/>
                </a:lnTo>
                <a:lnTo>
                  <a:pt x="17669" y="21600"/>
                </a:lnTo>
                <a:lnTo>
                  <a:pt x="0" y="21585"/>
                </a:lnTo>
                <a:lnTo>
                  <a:pt x="3946" y="0"/>
                </a:lnTo>
                <a:close/>
              </a:path>
            </a:pathLst>
          </a:custGeom>
          <a:solidFill>
            <a:schemeClr val="accent1">
              <a:lumMod val="20000"/>
              <a:lumOff val="80000"/>
              <a:alpha val="22000"/>
            </a:schemeClr>
          </a:solidFill>
          <a:ln w="12700">
            <a:miter lim="400000"/>
          </a:ln>
        </p:spPr>
        <p:txBody>
          <a:bodyPr lIns="0" tIns="0" rIns="0" bIns="0" anchor="ctr"/>
          <a:lstStyle/>
          <a:p>
            <a:pPr marL="0" marR="0" lvl="0" indent="0" algn="ctr" defTabSz="412750" rtl="0" eaLnBrk="1" fontAlgn="auto" latinLnBrk="0" hangingPunct="0">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1600" b="0" i="0" u="none" strike="noStrike" kern="0" cap="none" spc="0" normalizeH="0" baseline="0" noProof="0">
              <a:ln>
                <a:noFill/>
              </a:ln>
              <a:solidFill>
                <a:srgbClr val="FFFFFF"/>
              </a:solidFill>
              <a:effectLst/>
              <a:uLnTx/>
              <a:uFillTx/>
              <a:latin typeface="HarmonyOS Sans SC"/>
              <a:cs typeface="+mn-cs"/>
              <a:sym typeface="Helvetica Neue Medium"/>
            </a:endParaRPr>
          </a:p>
        </p:txBody>
      </p:sp>
      <p:sp>
        <p:nvSpPr>
          <p:cNvPr id="11" name="Shape">
            <a:extLst>
              <a:ext uri="{FF2B5EF4-FFF2-40B4-BE49-F238E27FC236}">
                <a16:creationId xmlns:a16="http://schemas.microsoft.com/office/drawing/2014/main" id="{AABF71C8-7740-4F6B-9400-F2C3C80E0D28}"/>
              </a:ext>
            </a:extLst>
          </p:cNvPr>
          <p:cNvSpPr/>
          <p:nvPr/>
        </p:nvSpPr>
        <p:spPr>
          <a:xfrm>
            <a:off x="3486653" y="1314282"/>
            <a:ext cx="2039194" cy="557982"/>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19817" y="0"/>
                </a:lnTo>
                <a:lnTo>
                  <a:pt x="21600" y="21571"/>
                </a:lnTo>
                <a:lnTo>
                  <a:pt x="1821" y="21600"/>
                </a:lnTo>
                <a:lnTo>
                  <a:pt x="0" y="0"/>
                </a:lnTo>
                <a:close/>
              </a:path>
            </a:pathLst>
          </a:custGeom>
          <a:noFill/>
          <a:ln>
            <a:gradFill>
              <a:gsLst>
                <a:gs pos="0">
                  <a:schemeClr val="accent1"/>
                </a:gs>
                <a:gs pos="100000">
                  <a:schemeClr val="accent1">
                    <a:lumMod val="60000"/>
                    <a:lumOff val="40000"/>
                  </a:schemeClr>
                </a:gs>
              </a:gsLst>
              <a:lin ang="5400000" scaled="1"/>
            </a:gra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white"/>
              </a:solidFill>
              <a:effectLst/>
              <a:uLnTx/>
              <a:uFillTx/>
              <a:latin typeface="HarmonyOS Sans SC"/>
              <a:cs typeface="+mn-cs"/>
              <a:sym typeface="Helvetica Neue Medium"/>
            </a:endParaRPr>
          </a:p>
        </p:txBody>
      </p:sp>
      <p:sp>
        <p:nvSpPr>
          <p:cNvPr id="12" name="Shape">
            <a:extLst>
              <a:ext uri="{FF2B5EF4-FFF2-40B4-BE49-F238E27FC236}">
                <a16:creationId xmlns:a16="http://schemas.microsoft.com/office/drawing/2014/main" id="{61C3D8CD-D85B-4B18-B70C-451EC4434342}"/>
              </a:ext>
            </a:extLst>
          </p:cNvPr>
          <p:cNvSpPr/>
          <p:nvPr/>
        </p:nvSpPr>
        <p:spPr>
          <a:xfrm>
            <a:off x="3685462" y="1963426"/>
            <a:ext cx="2256577" cy="1272049"/>
          </a:xfrm>
          <a:custGeom>
            <a:avLst/>
            <a:gdLst/>
            <a:ahLst/>
            <a:cxnLst>
              <a:cxn ang="0">
                <a:pos x="wd2" y="hd2"/>
              </a:cxn>
              <a:cxn ang="5400000">
                <a:pos x="wd2" y="hd2"/>
              </a:cxn>
              <a:cxn ang="10800000">
                <a:pos x="wd2" y="hd2"/>
              </a:cxn>
              <a:cxn ang="16200000">
                <a:pos x="wd2" y="hd2"/>
              </a:cxn>
            </a:cxnLst>
            <a:rect l="0" t="0" r="r" b="b"/>
            <a:pathLst>
              <a:path w="21600" h="21600" extrusionOk="0">
                <a:moveTo>
                  <a:pt x="0" y="23"/>
                </a:moveTo>
                <a:lnTo>
                  <a:pt x="3710" y="21600"/>
                </a:lnTo>
                <a:lnTo>
                  <a:pt x="21600" y="21600"/>
                </a:lnTo>
                <a:lnTo>
                  <a:pt x="17884" y="0"/>
                </a:lnTo>
                <a:lnTo>
                  <a:pt x="0" y="23"/>
                </a:lnTo>
                <a:close/>
              </a:path>
            </a:pathLst>
          </a:custGeom>
          <a:solidFill>
            <a:schemeClr val="accent1">
              <a:lumMod val="20000"/>
              <a:lumOff val="80000"/>
              <a:alpha val="22000"/>
            </a:schemeClr>
          </a:solidFill>
          <a:ln w="12700">
            <a:miter lim="400000"/>
          </a:ln>
        </p:spPr>
        <p:txBody>
          <a:bodyPr lIns="0" tIns="0" rIns="0" bIns="0" anchor="ctr"/>
          <a:lstStyle/>
          <a:p>
            <a:pPr marL="0" marR="0" lvl="0" indent="0" algn="ctr" defTabSz="412750" rtl="0" eaLnBrk="1" fontAlgn="auto" latinLnBrk="0" hangingPunct="0">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1600" b="0" i="0" u="none" strike="noStrike" kern="0" cap="none" spc="0" normalizeH="0" baseline="0" noProof="0">
              <a:ln>
                <a:noFill/>
              </a:ln>
              <a:solidFill>
                <a:srgbClr val="FFFFFF"/>
              </a:solidFill>
              <a:effectLst/>
              <a:uLnTx/>
              <a:uFillTx/>
              <a:latin typeface="HarmonyOS Sans SC"/>
              <a:cs typeface="+mn-cs"/>
              <a:sym typeface="Helvetica Neue Medium"/>
            </a:endParaRPr>
          </a:p>
        </p:txBody>
      </p:sp>
      <p:sp>
        <p:nvSpPr>
          <p:cNvPr id="13" name="Shape">
            <a:extLst>
              <a:ext uri="{FF2B5EF4-FFF2-40B4-BE49-F238E27FC236}">
                <a16:creationId xmlns:a16="http://schemas.microsoft.com/office/drawing/2014/main" id="{3F091B49-1D01-4168-A7DC-5CF31106DA2D}"/>
              </a:ext>
            </a:extLst>
          </p:cNvPr>
          <p:cNvSpPr/>
          <p:nvPr/>
        </p:nvSpPr>
        <p:spPr>
          <a:xfrm>
            <a:off x="4090905" y="3328977"/>
            <a:ext cx="2074417" cy="1300517"/>
          </a:xfrm>
          <a:custGeom>
            <a:avLst/>
            <a:gdLst/>
            <a:ahLst/>
            <a:cxnLst>
              <a:cxn ang="0">
                <a:pos x="wd2" y="hd2"/>
              </a:cxn>
              <a:cxn ang="5400000">
                <a:pos x="wd2" y="hd2"/>
              </a:cxn>
              <a:cxn ang="10800000">
                <a:pos x="wd2" y="hd2"/>
              </a:cxn>
              <a:cxn ang="16200000">
                <a:pos x="wd2" y="hd2"/>
              </a:cxn>
            </a:cxnLst>
            <a:rect l="0" t="0" r="r" b="b"/>
            <a:pathLst>
              <a:path w="21600" h="21600" extrusionOk="0">
                <a:moveTo>
                  <a:pt x="107" y="6"/>
                </a:moveTo>
                <a:lnTo>
                  <a:pt x="2118" y="10541"/>
                </a:lnTo>
                <a:lnTo>
                  <a:pt x="0" y="21600"/>
                </a:lnTo>
                <a:lnTo>
                  <a:pt x="19442" y="21600"/>
                </a:lnTo>
                <a:lnTo>
                  <a:pt x="21600" y="10594"/>
                </a:lnTo>
                <a:lnTo>
                  <a:pt x="19572" y="0"/>
                </a:lnTo>
                <a:lnTo>
                  <a:pt x="107" y="6"/>
                </a:lnTo>
                <a:close/>
              </a:path>
            </a:pathLst>
          </a:custGeom>
          <a:solidFill>
            <a:schemeClr val="accent1">
              <a:lumMod val="20000"/>
              <a:lumOff val="80000"/>
              <a:alpha val="22000"/>
            </a:schemeClr>
          </a:solidFill>
          <a:ln w="12700">
            <a:miter lim="400000"/>
          </a:ln>
        </p:spPr>
        <p:txBody>
          <a:bodyPr lIns="0" tIns="0" rIns="0" bIns="0" anchor="ctr"/>
          <a:lstStyle/>
          <a:p>
            <a:pPr marL="0" marR="0" lvl="0" indent="0" algn="ctr" defTabSz="412750" rtl="0" eaLnBrk="1" fontAlgn="auto" latinLnBrk="0" hangingPunct="0">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1600" b="0" i="0" u="none" strike="noStrike" kern="0" cap="none" spc="0" normalizeH="0" baseline="0" noProof="0">
              <a:ln>
                <a:noFill/>
              </a:ln>
              <a:solidFill>
                <a:srgbClr val="FFFFFF"/>
              </a:solidFill>
              <a:effectLst/>
              <a:uLnTx/>
              <a:uFillTx/>
              <a:latin typeface="HarmonyOS Sans SC"/>
              <a:cs typeface="+mn-cs"/>
              <a:sym typeface="Helvetica Neue Medium"/>
            </a:endParaRPr>
          </a:p>
        </p:txBody>
      </p:sp>
      <p:sp>
        <p:nvSpPr>
          <p:cNvPr id="14" name="Shape">
            <a:extLst>
              <a:ext uri="{FF2B5EF4-FFF2-40B4-BE49-F238E27FC236}">
                <a16:creationId xmlns:a16="http://schemas.microsoft.com/office/drawing/2014/main" id="{AA08895D-4689-4CAE-9B67-9BFE4F23E298}"/>
              </a:ext>
            </a:extLst>
          </p:cNvPr>
          <p:cNvSpPr/>
          <p:nvPr/>
        </p:nvSpPr>
        <p:spPr>
          <a:xfrm>
            <a:off x="3646730" y="4722155"/>
            <a:ext cx="2281449" cy="1330890"/>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3917" y="0"/>
                </a:lnTo>
                <a:lnTo>
                  <a:pt x="0" y="21588"/>
                </a:lnTo>
                <a:lnTo>
                  <a:pt x="17687" y="21600"/>
                </a:lnTo>
                <a:lnTo>
                  <a:pt x="21600" y="0"/>
                </a:lnTo>
                <a:close/>
              </a:path>
            </a:pathLst>
          </a:custGeom>
          <a:solidFill>
            <a:schemeClr val="accent1">
              <a:lumMod val="20000"/>
              <a:lumOff val="80000"/>
              <a:alpha val="22000"/>
            </a:schemeClr>
          </a:solidFill>
          <a:ln w="12700">
            <a:miter lim="400000"/>
          </a:ln>
        </p:spPr>
        <p:txBody>
          <a:bodyPr lIns="0" tIns="0" rIns="0" bIns="0" anchor="ctr"/>
          <a:lstStyle/>
          <a:p>
            <a:pPr marL="0" marR="0" lvl="0" indent="0" algn="ctr" defTabSz="412750" rtl="0" eaLnBrk="1" fontAlgn="auto" latinLnBrk="0" hangingPunct="0">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1600" b="0" i="0" u="none" strike="noStrike" kern="0" cap="none" spc="0" normalizeH="0" baseline="0" noProof="0">
              <a:ln>
                <a:noFill/>
              </a:ln>
              <a:solidFill>
                <a:srgbClr val="FFFFFF"/>
              </a:solidFill>
              <a:effectLst/>
              <a:uLnTx/>
              <a:uFillTx/>
              <a:latin typeface="HarmonyOS Sans SC"/>
              <a:cs typeface="+mn-cs"/>
              <a:sym typeface="Helvetica Neue Medium"/>
            </a:endParaRPr>
          </a:p>
        </p:txBody>
      </p:sp>
      <p:sp>
        <p:nvSpPr>
          <p:cNvPr id="15" name="Shape">
            <a:extLst>
              <a:ext uri="{FF2B5EF4-FFF2-40B4-BE49-F238E27FC236}">
                <a16:creationId xmlns:a16="http://schemas.microsoft.com/office/drawing/2014/main" id="{4D8B8929-869A-4139-8FF4-A427821BD556}"/>
              </a:ext>
            </a:extLst>
          </p:cNvPr>
          <p:cNvSpPr/>
          <p:nvPr/>
        </p:nvSpPr>
        <p:spPr>
          <a:xfrm>
            <a:off x="5613264" y="4723302"/>
            <a:ext cx="2284392" cy="1329705"/>
          </a:xfrm>
          <a:custGeom>
            <a:avLst/>
            <a:gdLst/>
            <a:ahLst/>
            <a:cxnLst>
              <a:cxn ang="0">
                <a:pos x="wd2" y="hd2"/>
              </a:cxn>
              <a:cxn ang="5400000">
                <a:pos x="wd2" y="hd2"/>
              </a:cxn>
              <a:cxn ang="10800000">
                <a:pos x="wd2" y="hd2"/>
              </a:cxn>
              <a:cxn ang="16200000">
                <a:pos x="wd2" y="hd2"/>
              </a:cxn>
            </a:cxnLst>
            <a:rect l="0" t="0" r="r" b="b"/>
            <a:pathLst>
              <a:path w="21600" h="21600" extrusionOk="0">
                <a:moveTo>
                  <a:pt x="3943" y="0"/>
                </a:moveTo>
                <a:lnTo>
                  <a:pt x="0" y="21588"/>
                </a:lnTo>
                <a:lnTo>
                  <a:pt x="17676" y="21600"/>
                </a:lnTo>
                <a:lnTo>
                  <a:pt x="21600" y="7"/>
                </a:lnTo>
                <a:lnTo>
                  <a:pt x="3943" y="0"/>
                </a:lnTo>
                <a:close/>
              </a:path>
            </a:pathLst>
          </a:custGeom>
          <a:solidFill>
            <a:schemeClr val="accent1">
              <a:lumMod val="20000"/>
              <a:lumOff val="80000"/>
              <a:alpha val="22000"/>
            </a:schemeClr>
          </a:solidFill>
          <a:ln w="12700">
            <a:miter lim="400000"/>
          </a:ln>
        </p:spPr>
        <p:txBody>
          <a:bodyPr lIns="0" tIns="0" rIns="0" bIns="0" anchor="ctr"/>
          <a:lstStyle/>
          <a:p>
            <a:pPr marL="0" marR="0" lvl="0" indent="0" algn="ctr" defTabSz="412750" rtl="0" eaLnBrk="1" fontAlgn="auto" latinLnBrk="0" hangingPunct="0">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1600" b="0" i="0" u="none" strike="noStrike" kern="0" cap="none" spc="0" normalizeH="0" baseline="0" noProof="0">
              <a:ln>
                <a:noFill/>
              </a:ln>
              <a:solidFill>
                <a:srgbClr val="FFFFFF"/>
              </a:solidFill>
              <a:effectLst/>
              <a:uLnTx/>
              <a:uFillTx/>
              <a:latin typeface="HarmonyOS Sans SC"/>
              <a:cs typeface="+mn-cs"/>
              <a:sym typeface="Helvetica Neue Medium"/>
            </a:endParaRPr>
          </a:p>
        </p:txBody>
      </p:sp>
      <p:sp>
        <p:nvSpPr>
          <p:cNvPr id="16" name="Shape">
            <a:extLst>
              <a:ext uri="{FF2B5EF4-FFF2-40B4-BE49-F238E27FC236}">
                <a16:creationId xmlns:a16="http://schemas.microsoft.com/office/drawing/2014/main" id="{BC23FB62-03AB-4081-AA28-91661AF800BA}"/>
              </a:ext>
            </a:extLst>
          </p:cNvPr>
          <p:cNvSpPr/>
          <p:nvPr/>
        </p:nvSpPr>
        <p:spPr>
          <a:xfrm>
            <a:off x="6057293" y="3329843"/>
            <a:ext cx="2077939" cy="1299860"/>
          </a:xfrm>
          <a:custGeom>
            <a:avLst/>
            <a:gdLst/>
            <a:ahLst/>
            <a:cxnLst>
              <a:cxn ang="0">
                <a:pos x="wd2" y="hd2"/>
              </a:cxn>
              <a:cxn ang="5400000">
                <a:pos x="wd2" y="hd2"/>
              </a:cxn>
              <a:cxn ang="10800000">
                <a:pos x="wd2" y="hd2"/>
              </a:cxn>
              <a:cxn ang="16200000">
                <a:pos x="wd2" y="hd2"/>
              </a:cxn>
            </a:cxnLst>
            <a:rect l="0" t="0" r="r" b="b"/>
            <a:pathLst>
              <a:path w="21600" h="21600" extrusionOk="0">
                <a:moveTo>
                  <a:pt x="129" y="0"/>
                </a:moveTo>
                <a:lnTo>
                  <a:pt x="19591" y="0"/>
                </a:lnTo>
                <a:lnTo>
                  <a:pt x="21600" y="10601"/>
                </a:lnTo>
                <a:lnTo>
                  <a:pt x="19436" y="21600"/>
                </a:lnTo>
                <a:lnTo>
                  <a:pt x="0" y="21596"/>
                </a:lnTo>
                <a:lnTo>
                  <a:pt x="2172" y="10613"/>
                </a:lnTo>
                <a:lnTo>
                  <a:pt x="129" y="0"/>
                </a:lnTo>
                <a:close/>
              </a:path>
            </a:pathLst>
          </a:custGeom>
          <a:solidFill>
            <a:schemeClr val="accent1">
              <a:lumMod val="20000"/>
              <a:lumOff val="80000"/>
              <a:alpha val="22000"/>
            </a:schemeClr>
          </a:solidFill>
          <a:ln w="12700">
            <a:miter lim="400000"/>
          </a:ln>
        </p:spPr>
        <p:txBody>
          <a:bodyPr lIns="0" tIns="0" rIns="0" bIns="0" anchor="ctr"/>
          <a:lstStyle/>
          <a:p>
            <a:pPr marL="0" marR="0" lvl="0" indent="0" algn="ctr" defTabSz="412750" rtl="0" eaLnBrk="1" fontAlgn="auto" latinLnBrk="0" hangingPunct="0">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1600" b="0" i="0" u="none" strike="noStrike" kern="0" cap="none" spc="0" normalizeH="0" baseline="0" noProof="0">
              <a:ln>
                <a:noFill/>
              </a:ln>
              <a:solidFill>
                <a:srgbClr val="FFFFFF"/>
              </a:solidFill>
              <a:effectLst/>
              <a:uLnTx/>
              <a:uFillTx/>
              <a:latin typeface="HarmonyOS Sans SC"/>
              <a:cs typeface="+mn-cs"/>
              <a:sym typeface="Helvetica Neue Medium"/>
            </a:endParaRPr>
          </a:p>
        </p:txBody>
      </p:sp>
      <p:sp>
        <p:nvSpPr>
          <p:cNvPr id="17" name="Shape">
            <a:extLst>
              <a:ext uri="{FF2B5EF4-FFF2-40B4-BE49-F238E27FC236}">
                <a16:creationId xmlns:a16="http://schemas.microsoft.com/office/drawing/2014/main" id="{21463214-138A-4194-9974-C9C0E7D87231}"/>
              </a:ext>
            </a:extLst>
          </p:cNvPr>
          <p:cNvSpPr/>
          <p:nvPr/>
        </p:nvSpPr>
        <p:spPr>
          <a:xfrm>
            <a:off x="5654310" y="1964537"/>
            <a:ext cx="2258312" cy="1273101"/>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17876" y="0"/>
                </a:lnTo>
                <a:lnTo>
                  <a:pt x="21600" y="21589"/>
                </a:lnTo>
                <a:lnTo>
                  <a:pt x="3712" y="21600"/>
                </a:lnTo>
                <a:lnTo>
                  <a:pt x="0" y="0"/>
                </a:lnTo>
                <a:close/>
              </a:path>
            </a:pathLst>
          </a:custGeom>
          <a:solidFill>
            <a:schemeClr val="accent1">
              <a:lumMod val="20000"/>
              <a:lumOff val="80000"/>
              <a:alpha val="22000"/>
            </a:schemeClr>
          </a:solidFill>
          <a:ln w="12700">
            <a:miter lim="400000"/>
          </a:ln>
        </p:spPr>
        <p:txBody>
          <a:bodyPr lIns="0" tIns="0" rIns="0" bIns="0" anchor="ctr"/>
          <a:lstStyle/>
          <a:p>
            <a:pPr marL="0" marR="0" lvl="0" indent="0" algn="ctr" defTabSz="412750" rtl="0" eaLnBrk="1" fontAlgn="auto" latinLnBrk="0" hangingPunct="0">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1600" b="0" i="0" u="none" strike="noStrike" kern="0" cap="none" spc="0" normalizeH="0" baseline="0" noProof="0">
              <a:ln>
                <a:noFill/>
              </a:ln>
              <a:solidFill>
                <a:srgbClr val="FFFFFF"/>
              </a:solidFill>
              <a:effectLst/>
              <a:uLnTx/>
              <a:uFillTx/>
              <a:latin typeface="HarmonyOS Sans SC"/>
              <a:cs typeface="+mn-cs"/>
              <a:sym typeface="Helvetica Neue Medium"/>
            </a:endParaRPr>
          </a:p>
        </p:txBody>
      </p:sp>
      <p:sp>
        <p:nvSpPr>
          <p:cNvPr id="18" name="Shape">
            <a:extLst>
              <a:ext uri="{FF2B5EF4-FFF2-40B4-BE49-F238E27FC236}">
                <a16:creationId xmlns:a16="http://schemas.microsoft.com/office/drawing/2014/main" id="{502F5F4E-3EFA-415C-B244-384EFAC7D861}"/>
              </a:ext>
            </a:extLst>
          </p:cNvPr>
          <p:cNvSpPr/>
          <p:nvPr/>
        </p:nvSpPr>
        <p:spPr>
          <a:xfrm>
            <a:off x="5458811" y="1315194"/>
            <a:ext cx="2037793" cy="557939"/>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19773" y="0"/>
                </a:lnTo>
                <a:lnTo>
                  <a:pt x="21600" y="21600"/>
                </a:lnTo>
                <a:lnTo>
                  <a:pt x="1784" y="21585"/>
                </a:lnTo>
                <a:lnTo>
                  <a:pt x="0" y="0"/>
                </a:lnTo>
                <a:close/>
              </a:path>
            </a:pathLst>
          </a:custGeom>
          <a:noFill/>
          <a:ln>
            <a:gradFill>
              <a:gsLst>
                <a:gs pos="0">
                  <a:schemeClr val="accent1"/>
                </a:gs>
                <a:gs pos="100000">
                  <a:schemeClr val="accent1">
                    <a:lumMod val="60000"/>
                    <a:lumOff val="40000"/>
                  </a:schemeClr>
                </a:gs>
              </a:gsLst>
              <a:lin ang="5400000" scaled="1"/>
            </a:gra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white"/>
              </a:solidFill>
              <a:effectLst/>
              <a:uLnTx/>
              <a:uFillTx/>
              <a:latin typeface="HarmonyOS Sans SC"/>
              <a:cs typeface="+mn-cs"/>
              <a:sym typeface="Helvetica Neue Medium"/>
            </a:endParaRPr>
          </a:p>
        </p:txBody>
      </p:sp>
      <p:sp>
        <p:nvSpPr>
          <p:cNvPr id="19" name="Shape">
            <a:extLst>
              <a:ext uri="{FF2B5EF4-FFF2-40B4-BE49-F238E27FC236}">
                <a16:creationId xmlns:a16="http://schemas.microsoft.com/office/drawing/2014/main" id="{4CB69F7C-322E-4237-BF08-7DDF12D9AD52}"/>
              </a:ext>
            </a:extLst>
          </p:cNvPr>
          <p:cNvSpPr/>
          <p:nvPr/>
        </p:nvSpPr>
        <p:spPr>
          <a:xfrm>
            <a:off x="7427175" y="1314493"/>
            <a:ext cx="2036868" cy="559092"/>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19815" y="0"/>
                </a:lnTo>
                <a:lnTo>
                  <a:pt x="21600" y="21545"/>
                </a:lnTo>
                <a:lnTo>
                  <a:pt x="1774" y="21600"/>
                </a:lnTo>
                <a:lnTo>
                  <a:pt x="0" y="0"/>
                </a:lnTo>
                <a:close/>
              </a:path>
            </a:pathLst>
          </a:custGeom>
          <a:noFill/>
          <a:ln>
            <a:gradFill>
              <a:gsLst>
                <a:gs pos="0">
                  <a:schemeClr val="accent1"/>
                </a:gs>
                <a:gs pos="100000">
                  <a:schemeClr val="accent1">
                    <a:lumMod val="60000"/>
                    <a:lumOff val="40000"/>
                  </a:schemeClr>
                </a:gs>
              </a:gsLst>
              <a:lin ang="5400000" scaled="1"/>
            </a:gra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white"/>
              </a:solidFill>
              <a:effectLst/>
              <a:uLnTx/>
              <a:uFillTx/>
              <a:latin typeface="HarmonyOS Sans SC"/>
              <a:cs typeface="+mn-cs"/>
              <a:sym typeface="Helvetica Neue Medium"/>
            </a:endParaRPr>
          </a:p>
        </p:txBody>
      </p:sp>
      <p:sp>
        <p:nvSpPr>
          <p:cNvPr id="20" name="Shape">
            <a:extLst>
              <a:ext uri="{FF2B5EF4-FFF2-40B4-BE49-F238E27FC236}">
                <a16:creationId xmlns:a16="http://schemas.microsoft.com/office/drawing/2014/main" id="{D1D6719B-A34B-4C99-BBF4-0E7DEFBE6F44}"/>
              </a:ext>
            </a:extLst>
          </p:cNvPr>
          <p:cNvSpPr/>
          <p:nvPr/>
        </p:nvSpPr>
        <p:spPr>
          <a:xfrm>
            <a:off x="7624118" y="1963781"/>
            <a:ext cx="2256185" cy="1273994"/>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17903" y="0"/>
                </a:lnTo>
                <a:lnTo>
                  <a:pt x="21600" y="21600"/>
                </a:lnTo>
                <a:lnTo>
                  <a:pt x="3706" y="21581"/>
                </a:lnTo>
                <a:lnTo>
                  <a:pt x="0" y="0"/>
                </a:lnTo>
                <a:close/>
              </a:path>
            </a:pathLst>
          </a:custGeom>
          <a:solidFill>
            <a:schemeClr val="accent1">
              <a:lumMod val="20000"/>
              <a:lumOff val="80000"/>
              <a:alpha val="22000"/>
            </a:schemeClr>
          </a:solidFill>
          <a:ln w="12700">
            <a:miter lim="400000"/>
          </a:ln>
        </p:spPr>
        <p:txBody>
          <a:bodyPr lIns="0" tIns="0" rIns="0" bIns="0" anchor="ctr"/>
          <a:lstStyle/>
          <a:p>
            <a:pPr marL="0" marR="0" lvl="0" indent="0" algn="ctr" defTabSz="412750" rtl="0" eaLnBrk="1" fontAlgn="auto" latinLnBrk="0" hangingPunct="0">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1600" b="0" i="0" u="none" strike="noStrike" kern="0" cap="none" spc="0" normalizeH="0" baseline="0" noProof="0">
              <a:ln>
                <a:noFill/>
              </a:ln>
              <a:solidFill>
                <a:srgbClr val="FFFFFF"/>
              </a:solidFill>
              <a:effectLst/>
              <a:uLnTx/>
              <a:uFillTx/>
              <a:latin typeface="HarmonyOS Sans SC"/>
              <a:cs typeface="+mn-cs"/>
              <a:sym typeface="Helvetica Neue Medium"/>
            </a:endParaRPr>
          </a:p>
        </p:txBody>
      </p:sp>
      <p:sp>
        <p:nvSpPr>
          <p:cNvPr id="21" name="Shape">
            <a:extLst>
              <a:ext uri="{FF2B5EF4-FFF2-40B4-BE49-F238E27FC236}">
                <a16:creationId xmlns:a16="http://schemas.microsoft.com/office/drawing/2014/main" id="{FC895BE1-9359-415A-A5B0-A0E8DA6A3F60}"/>
              </a:ext>
            </a:extLst>
          </p:cNvPr>
          <p:cNvSpPr/>
          <p:nvPr/>
        </p:nvSpPr>
        <p:spPr>
          <a:xfrm>
            <a:off x="8028934" y="3330004"/>
            <a:ext cx="2074835" cy="1299965"/>
          </a:xfrm>
          <a:custGeom>
            <a:avLst/>
            <a:gdLst/>
            <a:ahLst/>
            <a:cxnLst>
              <a:cxn ang="0">
                <a:pos x="wd2" y="hd2"/>
              </a:cxn>
              <a:cxn ang="5400000">
                <a:pos x="wd2" y="hd2"/>
              </a:cxn>
              <a:cxn ang="10800000">
                <a:pos x="wd2" y="hd2"/>
              </a:cxn>
              <a:cxn ang="16200000">
                <a:pos x="wd2" y="hd2"/>
              </a:cxn>
            </a:cxnLst>
            <a:rect l="0" t="0" r="r" b="b"/>
            <a:pathLst>
              <a:path w="21600" h="21600" extrusionOk="0">
                <a:moveTo>
                  <a:pt x="122" y="0"/>
                </a:moveTo>
                <a:lnTo>
                  <a:pt x="19589" y="0"/>
                </a:lnTo>
                <a:lnTo>
                  <a:pt x="21600" y="10640"/>
                </a:lnTo>
                <a:lnTo>
                  <a:pt x="19444" y="21600"/>
                </a:lnTo>
                <a:lnTo>
                  <a:pt x="0" y="21594"/>
                </a:lnTo>
                <a:lnTo>
                  <a:pt x="2137" y="10617"/>
                </a:lnTo>
                <a:lnTo>
                  <a:pt x="122" y="0"/>
                </a:lnTo>
                <a:close/>
              </a:path>
            </a:pathLst>
          </a:custGeom>
          <a:solidFill>
            <a:schemeClr val="accent1">
              <a:lumMod val="20000"/>
              <a:lumOff val="80000"/>
              <a:alpha val="22000"/>
            </a:schemeClr>
          </a:solidFill>
          <a:ln w="12700">
            <a:miter lim="400000"/>
          </a:ln>
        </p:spPr>
        <p:txBody>
          <a:bodyPr lIns="0" tIns="0" rIns="0" bIns="0" anchor="ctr"/>
          <a:lstStyle/>
          <a:p>
            <a:pPr marL="0" marR="0" lvl="0" indent="0" algn="ctr" defTabSz="412750" rtl="0" eaLnBrk="1" fontAlgn="auto" latinLnBrk="0" hangingPunct="0">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1600" b="0" i="0" u="none" strike="noStrike" kern="0" cap="none" spc="0" normalizeH="0" baseline="0" noProof="0">
              <a:ln>
                <a:noFill/>
              </a:ln>
              <a:solidFill>
                <a:srgbClr val="FFFFFF"/>
              </a:solidFill>
              <a:effectLst/>
              <a:uLnTx/>
              <a:uFillTx/>
              <a:latin typeface="HarmonyOS Sans SC"/>
              <a:cs typeface="+mn-cs"/>
              <a:sym typeface="Helvetica Neue Medium"/>
            </a:endParaRPr>
          </a:p>
        </p:txBody>
      </p:sp>
      <p:sp>
        <p:nvSpPr>
          <p:cNvPr id="22" name="Shape">
            <a:extLst>
              <a:ext uri="{FF2B5EF4-FFF2-40B4-BE49-F238E27FC236}">
                <a16:creationId xmlns:a16="http://schemas.microsoft.com/office/drawing/2014/main" id="{B9D1C4E1-03CA-4109-BE03-8ACF0B627DAE}"/>
              </a:ext>
            </a:extLst>
          </p:cNvPr>
          <p:cNvSpPr/>
          <p:nvPr/>
        </p:nvSpPr>
        <p:spPr>
          <a:xfrm>
            <a:off x="7583965" y="4722533"/>
            <a:ext cx="2283235" cy="1328689"/>
          </a:xfrm>
          <a:custGeom>
            <a:avLst/>
            <a:gdLst/>
            <a:ahLst/>
            <a:cxnLst>
              <a:cxn ang="0">
                <a:pos x="wd2" y="hd2"/>
              </a:cxn>
              <a:cxn ang="5400000">
                <a:pos x="wd2" y="hd2"/>
              </a:cxn>
              <a:cxn ang="10800000">
                <a:pos x="wd2" y="hd2"/>
              </a:cxn>
              <a:cxn ang="16200000">
                <a:pos x="wd2" y="hd2"/>
              </a:cxn>
            </a:cxnLst>
            <a:rect l="0" t="0" r="r" b="b"/>
            <a:pathLst>
              <a:path w="21600" h="21600" extrusionOk="0">
                <a:moveTo>
                  <a:pt x="17669" y="21600"/>
                </a:moveTo>
                <a:lnTo>
                  <a:pt x="0" y="21599"/>
                </a:lnTo>
                <a:lnTo>
                  <a:pt x="3928" y="0"/>
                </a:lnTo>
                <a:lnTo>
                  <a:pt x="21600" y="22"/>
                </a:lnTo>
                <a:lnTo>
                  <a:pt x="17669" y="21600"/>
                </a:lnTo>
                <a:close/>
              </a:path>
            </a:pathLst>
          </a:custGeom>
          <a:solidFill>
            <a:schemeClr val="accent1">
              <a:lumMod val="20000"/>
              <a:lumOff val="80000"/>
              <a:alpha val="22000"/>
            </a:schemeClr>
          </a:solidFill>
          <a:ln w="12700">
            <a:miter lim="400000"/>
          </a:ln>
        </p:spPr>
        <p:txBody>
          <a:bodyPr lIns="0" tIns="0" rIns="0" bIns="0" anchor="ctr"/>
          <a:lstStyle/>
          <a:p>
            <a:pPr marL="0" marR="0" lvl="0" indent="0" algn="ctr" defTabSz="412750" rtl="0" eaLnBrk="1" fontAlgn="auto" latinLnBrk="0" hangingPunct="0">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1600" b="0" i="0" u="none" strike="noStrike" kern="0" cap="none" spc="0" normalizeH="0" baseline="0" noProof="0">
              <a:ln>
                <a:noFill/>
              </a:ln>
              <a:solidFill>
                <a:srgbClr val="FFFFFF"/>
              </a:solidFill>
              <a:effectLst/>
              <a:uLnTx/>
              <a:uFillTx/>
              <a:latin typeface="HarmonyOS Sans SC"/>
              <a:cs typeface="+mn-cs"/>
              <a:sym typeface="Helvetica Neue Medium"/>
            </a:endParaRPr>
          </a:p>
        </p:txBody>
      </p:sp>
      <p:sp>
        <p:nvSpPr>
          <p:cNvPr id="23" name="Shape">
            <a:extLst>
              <a:ext uri="{FF2B5EF4-FFF2-40B4-BE49-F238E27FC236}">
                <a16:creationId xmlns:a16="http://schemas.microsoft.com/office/drawing/2014/main" id="{D97F35BF-1D9D-4ADD-9FB6-43C229D21D50}"/>
              </a:ext>
            </a:extLst>
          </p:cNvPr>
          <p:cNvSpPr/>
          <p:nvPr/>
        </p:nvSpPr>
        <p:spPr>
          <a:xfrm>
            <a:off x="9551475" y="4722453"/>
            <a:ext cx="1810632" cy="1330824"/>
          </a:xfrm>
          <a:custGeom>
            <a:avLst/>
            <a:gdLst/>
            <a:ahLst/>
            <a:cxnLst>
              <a:cxn ang="0">
                <a:pos x="wd2" y="hd2"/>
              </a:cxn>
              <a:cxn ang="5400000">
                <a:pos x="wd2" y="hd2"/>
              </a:cxn>
              <a:cxn ang="10800000">
                <a:pos x="wd2" y="hd2"/>
              </a:cxn>
              <a:cxn ang="16200000">
                <a:pos x="wd2" y="hd2"/>
              </a:cxn>
            </a:cxnLst>
            <a:rect l="0" t="0" r="r" b="b"/>
            <a:pathLst>
              <a:path w="21600" h="21600" extrusionOk="0">
                <a:moveTo>
                  <a:pt x="4959" y="0"/>
                </a:moveTo>
                <a:lnTo>
                  <a:pt x="21596" y="0"/>
                </a:lnTo>
                <a:lnTo>
                  <a:pt x="21600" y="21588"/>
                </a:lnTo>
                <a:lnTo>
                  <a:pt x="0" y="21600"/>
                </a:lnTo>
                <a:lnTo>
                  <a:pt x="4959" y="0"/>
                </a:lnTo>
                <a:close/>
              </a:path>
            </a:pathLst>
          </a:custGeom>
          <a:gradFill flip="none" rotWithShape="1">
            <a:gsLst>
              <a:gs pos="73000">
                <a:schemeClr val="accent1"/>
              </a:gs>
              <a:gs pos="31000">
                <a:schemeClr val="accent1">
                  <a:lumMod val="60000"/>
                  <a:lumOff val="40000"/>
                </a:schemeClr>
              </a:gs>
              <a:gs pos="0">
                <a:schemeClr val="accent1">
                  <a:lumMod val="40000"/>
                  <a:lumOff val="60000"/>
                </a:schemeClr>
              </a:gs>
            </a:gsLst>
            <a:path path="circle">
              <a:fillToRect r="100000" b="100000"/>
            </a:path>
            <a:tileRect l="-100000" t="-100000"/>
          </a:gradFill>
          <a:ln>
            <a:noFill/>
          </a:ln>
          <a:effectLst>
            <a:outerShdw blurRad="444500" dist="317500" dir="5400000" sx="92000" sy="92000" algn="t" rotWithShape="0">
              <a:schemeClr val="accent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white"/>
              </a:solidFill>
              <a:effectLst/>
              <a:uLnTx/>
              <a:uFillTx/>
              <a:latin typeface="HarmonyOS Sans SC"/>
              <a:cs typeface="+mn-cs"/>
              <a:sym typeface="Helvetica Neue Medium"/>
            </a:endParaRPr>
          </a:p>
        </p:txBody>
      </p:sp>
      <p:sp>
        <p:nvSpPr>
          <p:cNvPr id="24" name="Shape">
            <a:extLst>
              <a:ext uri="{FF2B5EF4-FFF2-40B4-BE49-F238E27FC236}">
                <a16:creationId xmlns:a16="http://schemas.microsoft.com/office/drawing/2014/main" id="{0F682EE7-C7FA-40A8-9A59-8E21F7EE75BA}"/>
              </a:ext>
            </a:extLst>
          </p:cNvPr>
          <p:cNvSpPr/>
          <p:nvPr/>
        </p:nvSpPr>
        <p:spPr>
          <a:xfrm>
            <a:off x="9996605" y="3328237"/>
            <a:ext cx="1365936" cy="1303469"/>
          </a:xfrm>
          <a:custGeom>
            <a:avLst/>
            <a:gdLst/>
            <a:ahLst/>
            <a:cxnLst>
              <a:cxn ang="0">
                <a:pos x="wd2" y="hd2"/>
              </a:cxn>
              <a:cxn ang="5400000">
                <a:pos x="wd2" y="hd2"/>
              </a:cxn>
              <a:cxn ang="10800000">
                <a:pos x="wd2" y="hd2"/>
              </a:cxn>
              <a:cxn ang="16200000">
                <a:pos x="wd2" y="hd2"/>
              </a:cxn>
            </a:cxnLst>
            <a:rect l="0" t="0" r="r" b="b"/>
            <a:pathLst>
              <a:path w="21600" h="21600" extrusionOk="0">
                <a:moveTo>
                  <a:pt x="21594" y="0"/>
                </a:moveTo>
                <a:lnTo>
                  <a:pt x="177" y="0"/>
                </a:lnTo>
                <a:lnTo>
                  <a:pt x="3292" y="10651"/>
                </a:lnTo>
                <a:lnTo>
                  <a:pt x="0" y="21600"/>
                </a:lnTo>
                <a:lnTo>
                  <a:pt x="21600" y="21600"/>
                </a:lnTo>
                <a:lnTo>
                  <a:pt x="21594" y="0"/>
                </a:lnTo>
                <a:close/>
              </a:path>
            </a:pathLst>
          </a:custGeom>
          <a:gradFill flip="none" rotWithShape="1">
            <a:gsLst>
              <a:gs pos="73000">
                <a:schemeClr val="accent1"/>
              </a:gs>
              <a:gs pos="31000">
                <a:schemeClr val="accent1">
                  <a:lumMod val="60000"/>
                  <a:lumOff val="40000"/>
                </a:schemeClr>
              </a:gs>
              <a:gs pos="0">
                <a:schemeClr val="accent1">
                  <a:lumMod val="40000"/>
                  <a:lumOff val="60000"/>
                </a:schemeClr>
              </a:gs>
            </a:gsLst>
            <a:path path="circle">
              <a:fillToRect r="100000" b="100000"/>
            </a:path>
            <a:tileRect l="-100000" t="-100000"/>
          </a:gradFill>
          <a:ln>
            <a:noFill/>
          </a:ln>
          <a:effectLst>
            <a:outerShdw blurRad="444500" dist="317500" dir="5400000" sx="92000" sy="92000" algn="t" rotWithShape="0">
              <a:schemeClr val="accent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white"/>
              </a:solidFill>
              <a:effectLst/>
              <a:uLnTx/>
              <a:uFillTx/>
              <a:latin typeface="HarmonyOS Sans SC"/>
              <a:cs typeface="+mn-cs"/>
              <a:sym typeface="Helvetica Neue Medium"/>
            </a:endParaRPr>
          </a:p>
        </p:txBody>
      </p:sp>
      <p:sp>
        <p:nvSpPr>
          <p:cNvPr id="25" name="Shape">
            <a:extLst>
              <a:ext uri="{FF2B5EF4-FFF2-40B4-BE49-F238E27FC236}">
                <a16:creationId xmlns:a16="http://schemas.microsoft.com/office/drawing/2014/main" id="{58664117-8820-4556-865D-6B0142E10C8C}"/>
              </a:ext>
            </a:extLst>
          </p:cNvPr>
          <p:cNvSpPr/>
          <p:nvPr/>
        </p:nvSpPr>
        <p:spPr>
          <a:xfrm>
            <a:off x="9593577" y="1965083"/>
            <a:ext cx="1769563" cy="1272667"/>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0" y="0"/>
                </a:lnTo>
                <a:lnTo>
                  <a:pt x="4735" y="21581"/>
                </a:lnTo>
                <a:lnTo>
                  <a:pt x="21593" y="21600"/>
                </a:lnTo>
                <a:lnTo>
                  <a:pt x="21600" y="0"/>
                </a:lnTo>
                <a:close/>
              </a:path>
            </a:pathLst>
          </a:custGeom>
          <a:gradFill flip="none" rotWithShape="1">
            <a:gsLst>
              <a:gs pos="73000">
                <a:schemeClr val="accent1"/>
              </a:gs>
              <a:gs pos="31000">
                <a:schemeClr val="accent1">
                  <a:lumMod val="60000"/>
                  <a:lumOff val="40000"/>
                </a:schemeClr>
              </a:gs>
              <a:gs pos="0">
                <a:schemeClr val="accent1">
                  <a:lumMod val="40000"/>
                  <a:lumOff val="60000"/>
                </a:schemeClr>
              </a:gs>
            </a:gsLst>
            <a:path path="circle">
              <a:fillToRect r="100000" b="100000"/>
            </a:path>
            <a:tileRect l="-100000" t="-100000"/>
          </a:gradFill>
          <a:ln>
            <a:noFill/>
          </a:ln>
          <a:effectLst>
            <a:outerShdw blurRad="444500" dist="317500" dir="5400000" sx="92000" sy="92000" algn="t" rotWithShape="0">
              <a:schemeClr val="accent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white"/>
              </a:solidFill>
              <a:effectLst/>
              <a:uLnTx/>
              <a:uFillTx/>
              <a:latin typeface="HarmonyOS Sans SC"/>
              <a:cs typeface="+mn-cs"/>
              <a:sym typeface="Helvetica Neue Medium"/>
            </a:endParaRPr>
          </a:p>
        </p:txBody>
      </p:sp>
      <p:sp>
        <p:nvSpPr>
          <p:cNvPr id="26" name="Shape">
            <a:extLst>
              <a:ext uri="{FF2B5EF4-FFF2-40B4-BE49-F238E27FC236}">
                <a16:creationId xmlns:a16="http://schemas.microsoft.com/office/drawing/2014/main" id="{82604777-F0B1-479E-9271-EDC3F4F6AAEB}"/>
              </a:ext>
            </a:extLst>
          </p:cNvPr>
          <p:cNvSpPr/>
          <p:nvPr/>
        </p:nvSpPr>
        <p:spPr>
          <a:xfrm>
            <a:off x="9394950" y="1313668"/>
            <a:ext cx="1967632" cy="559754"/>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1600" y="0"/>
                </a:lnTo>
                <a:lnTo>
                  <a:pt x="21600" y="21600"/>
                </a:lnTo>
                <a:lnTo>
                  <a:pt x="1864" y="21572"/>
                </a:lnTo>
                <a:lnTo>
                  <a:pt x="0" y="0"/>
                </a:lnTo>
                <a:close/>
              </a:path>
            </a:pathLst>
          </a:custGeom>
          <a:noFill/>
          <a:ln>
            <a:gradFill>
              <a:gsLst>
                <a:gs pos="0">
                  <a:schemeClr val="accent1"/>
                </a:gs>
                <a:gs pos="100000">
                  <a:schemeClr val="accent1">
                    <a:lumMod val="60000"/>
                    <a:lumOff val="40000"/>
                  </a:schemeClr>
                </a:gs>
              </a:gsLst>
              <a:lin ang="5400000" scaled="1"/>
            </a:gra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white"/>
              </a:solidFill>
              <a:effectLst/>
              <a:uLnTx/>
              <a:uFillTx/>
              <a:latin typeface="HarmonyOS Sans SC"/>
              <a:cs typeface="+mn-cs"/>
              <a:sym typeface="Helvetica Neue Medium"/>
            </a:endParaRPr>
          </a:p>
        </p:txBody>
      </p:sp>
      <p:sp>
        <p:nvSpPr>
          <p:cNvPr id="27" name="Project name #03">
            <a:extLst>
              <a:ext uri="{FF2B5EF4-FFF2-40B4-BE49-F238E27FC236}">
                <a16:creationId xmlns:a16="http://schemas.microsoft.com/office/drawing/2014/main" id="{56B632BF-C26F-4D4F-8FBF-828B22CAA941}"/>
              </a:ext>
            </a:extLst>
          </p:cNvPr>
          <p:cNvSpPr txBox="1"/>
          <p:nvPr/>
        </p:nvSpPr>
        <p:spPr>
          <a:xfrm>
            <a:off x="924367" y="2409980"/>
            <a:ext cx="899978" cy="436017"/>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25400" tIns="25400" rIns="25400" bIns="25400">
            <a:spAutoFit/>
          </a:bodyPr>
          <a:lstStyle>
            <a:lvl1pPr algn="l">
              <a:defRPr sz="2500" b="0">
                <a:solidFill>
                  <a:srgbClr val="F6F6F7"/>
                </a:solidFill>
                <a:latin typeface="Barlow SemiBold"/>
                <a:ea typeface="Barlow SemiBold"/>
                <a:cs typeface="Barlow SemiBold"/>
                <a:sym typeface="Barlow SemiBold"/>
              </a:defRPr>
            </a:lvl1pPr>
          </a:lstStyle>
          <a:p>
            <a:pPr marL="0" marR="0" lvl="0" indent="0" algn="l" defTabSz="412750" rtl="0" eaLnBrk="1" fontAlgn="auto" latinLnBrk="0" hangingPunct="0">
              <a:lnSpc>
                <a:spcPct val="100000"/>
              </a:lnSpc>
              <a:spcBef>
                <a:spcPts val="0"/>
              </a:spcBef>
              <a:spcAft>
                <a:spcPts val="0"/>
              </a:spcAft>
              <a:buClrTx/>
              <a:buSzTx/>
              <a:buFontTx/>
              <a:buNone/>
              <a:tabLst/>
              <a:defRPr>
                <a:latin typeface="Barlow Medium"/>
                <a:ea typeface="Barlow Medium"/>
                <a:cs typeface="Barlow Medium"/>
                <a:sym typeface="Barlow Medium"/>
              </a:defRPr>
            </a:pPr>
            <a:r>
              <a:rPr kumimoji="0" sz="1250" b="0" i="0" u="none" strike="noStrike" kern="0" cap="none" spc="0" normalizeH="0" baseline="0" noProof="0" dirty="0">
                <a:ln>
                  <a:noFill/>
                </a:ln>
                <a:solidFill>
                  <a:srgbClr val="F7F5F7"/>
                </a:solidFill>
                <a:effectLst/>
                <a:uLnTx/>
                <a:uFillTx/>
                <a:latin typeface="HarmonyOS Sans SC Black"/>
                <a:ea typeface="+mj-ea"/>
                <a:sym typeface="Barlow Medium"/>
              </a:rPr>
              <a:t>Project name #03</a:t>
            </a:r>
          </a:p>
        </p:txBody>
      </p:sp>
      <p:sp>
        <p:nvSpPr>
          <p:cNvPr id="28" name="This is a sample text. Insert your description here.">
            <a:extLst>
              <a:ext uri="{FF2B5EF4-FFF2-40B4-BE49-F238E27FC236}">
                <a16:creationId xmlns:a16="http://schemas.microsoft.com/office/drawing/2014/main" id="{5A9E611C-5154-4D44-8EB4-1CE2BEDE983C}"/>
              </a:ext>
            </a:extLst>
          </p:cNvPr>
          <p:cNvSpPr/>
          <p:nvPr/>
        </p:nvSpPr>
        <p:spPr>
          <a:xfrm>
            <a:off x="2108525" y="5237014"/>
            <a:ext cx="1410158" cy="559127"/>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5400" tIns="25400" rIns="25400" bIns="25400" numCol="1" anchor="t">
            <a:spAutoFit/>
          </a:bodyPr>
          <a:lstStyle>
            <a:lvl1pPr algn="l">
              <a:defRPr sz="2500" b="0">
                <a:solidFill>
                  <a:srgbClr val="9E9F9E"/>
                </a:solidFill>
                <a:latin typeface="Barlow Medium"/>
                <a:ea typeface="Barlow Medium"/>
                <a:cs typeface="Barlow Medium"/>
                <a:sym typeface="Barlow Medium"/>
              </a:defRPr>
            </a:lvl1pPr>
          </a:lstStyle>
          <a:p>
            <a:pPr marL="0" marR="0" lvl="0" indent="0" algn="l" defTabSz="412750" rtl="0" eaLnBrk="1" fontAlgn="auto" latinLnBrk="0" hangingPunct="0">
              <a:lnSpc>
                <a:spcPct val="100000"/>
              </a:lnSpc>
              <a:spcBef>
                <a:spcPts val="0"/>
              </a:spcBef>
              <a:spcAft>
                <a:spcPts val="0"/>
              </a:spcAft>
              <a:buClrTx/>
              <a:buSzTx/>
              <a:buFontTx/>
              <a:buNone/>
              <a:tabLst/>
              <a:defRPr/>
            </a:pPr>
            <a:r>
              <a:rPr kumimoji="0" sz="1100" b="0" i="0" u="none" strike="noStrike" kern="0" cap="none" spc="0" normalizeH="0" baseline="0" noProof="0">
                <a:ln>
                  <a:noFill/>
                </a:ln>
                <a:solidFill>
                  <a:prstClr val="black">
                    <a:lumMod val="50000"/>
                    <a:lumOff val="50000"/>
                  </a:prstClr>
                </a:solidFill>
                <a:effectLst/>
                <a:uLnTx/>
                <a:uFillTx/>
                <a:latin typeface="HarmonyOS Sans SC"/>
                <a:ea typeface="+mn-ea"/>
                <a:sym typeface="Barlow Medium"/>
              </a:rPr>
              <a:t>This is a sample text. Insert your description here.</a:t>
            </a:r>
          </a:p>
        </p:txBody>
      </p:sp>
      <p:sp>
        <p:nvSpPr>
          <p:cNvPr id="29" name="This is a sample text.">
            <a:extLst>
              <a:ext uri="{FF2B5EF4-FFF2-40B4-BE49-F238E27FC236}">
                <a16:creationId xmlns:a16="http://schemas.microsoft.com/office/drawing/2014/main" id="{08AFC7BE-29D0-4EFC-B147-995B66F5846B}"/>
              </a:ext>
            </a:extLst>
          </p:cNvPr>
          <p:cNvSpPr/>
          <p:nvPr/>
        </p:nvSpPr>
        <p:spPr>
          <a:xfrm>
            <a:off x="2111245" y="4943069"/>
            <a:ext cx="1581659" cy="220573"/>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5400" tIns="25400" rIns="25400" bIns="25400" numCol="1" anchor="t">
            <a:spAutoFit/>
          </a:bodyPr>
          <a:lstStyle>
            <a:lvl1pPr algn="l">
              <a:defRPr sz="2500" b="0">
                <a:solidFill>
                  <a:srgbClr val="545453"/>
                </a:solidFill>
                <a:latin typeface="Barlow SemiBold"/>
                <a:ea typeface="Barlow SemiBold"/>
                <a:cs typeface="Barlow SemiBold"/>
                <a:sym typeface="Barlow SemiBold"/>
              </a:defRPr>
            </a:lvl1pPr>
          </a:lstStyle>
          <a:p>
            <a:pPr marL="0" marR="0" lvl="0" indent="0" algn="l" defTabSz="412750" rtl="0" eaLnBrk="1" fontAlgn="auto" latinLnBrk="0" hangingPunct="0">
              <a:lnSpc>
                <a:spcPct val="100000"/>
              </a:lnSpc>
              <a:spcBef>
                <a:spcPts val="0"/>
              </a:spcBef>
              <a:spcAft>
                <a:spcPts val="0"/>
              </a:spcAft>
              <a:buClrTx/>
              <a:buSzTx/>
              <a:buFontTx/>
              <a:buNone/>
              <a:tabLst/>
              <a:defRPr/>
            </a:pPr>
            <a:r>
              <a:rPr kumimoji="0" sz="1100" b="0" i="0" u="none" strike="noStrike" kern="0" cap="none" spc="0" normalizeH="0" baseline="0" noProof="0">
                <a:ln>
                  <a:noFill/>
                </a:ln>
                <a:solidFill>
                  <a:prstClr val="black">
                    <a:lumMod val="75000"/>
                    <a:lumOff val="25000"/>
                  </a:prstClr>
                </a:solidFill>
                <a:effectLst/>
                <a:uLnTx/>
                <a:uFillTx/>
                <a:latin typeface="HarmonyOS Sans SC Black"/>
                <a:ea typeface="+mj-ea"/>
                <a:sym typeface="Barlow SemiBold"/>
              </a:rPr>
              <a:t>This is a sample text.</a:t>
            </a:r>
          </a:p>
        </p:txBody>
      </p:sp>
      <p:sp>
        <p:nvSpPr>
          <p:cNvPr id="30" name="Project name #03">
            <a:extLst>
              <a:ext uri="{FF2B5EF4-FFF2-40B4-BE49-F238E27FC236}">
                <a16:creationId xmlns:a16="http://schemas.microsoft.com/office/drawing/2014/main" id="{CBC2569D-8755-4BB6-9778-B3D02B23F565}"/>
              </a:ext>
            </a:extLst>
          </p:cNvPr>
          <p:cNvSpPr txBox="1"/>
          <p:nvPr/>
        </p:nvSpPr>
        <p:spPr>
          <a:xfrm>
            <a:off x="929833" y="3732967"/>
            <a:ext cx="853872" cy="436017"/>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25400" tIns="25400" rIns="25400" bIns="25400">
            <a:spAutoFit/>
          </a:bodyPr>
          <a:lstStyle>
            <a:lvl1pPr algn="l">
              <a:defRPr sz="2500" b="0">
                <a:solidFill>
                  <a:srgbClr val="F6F6F7"/>
                </a:solidFill>
                <a:latin typeface="Barlow SemiBold"/>
                <a:ea typeface="Barlow SemiBold"/>
                <a:cs typeface="Barlow SemiBold"/>
                <a:sym typeface="Barlow SemiBold"/>
              </a:defRPr>
            </a:lvl1pPr>
          </a:lstStyle>
          <a:p>
            <a:pPr marL="0" marR="0" lvl="0" indent="0" algn="l" defTabSz="412750" rtl="0" eaLnBrk="1" fontAlgn="auto" latinLnBrk="0" hangingPunct="0">
              <a:lnSpc>
                <a:spcPct val="100000"/>
              </a:lnSpc>
              <a:spcBef>
                <a:spcPts val="0"/>
              </a:spcBef>
              <a:spcAft>
                <a:spcPts val="0"/>
              </a:spcAft>
              <a:buClrTx/>
              <a:buSzTx/>
              <a:buFontTx/>
              <a:buNone/>
              <a:tabLst/>
              <a:defRPr>
                <a:latin typeface="Barlow Medium"/>
                <a:ea typeface="Barlow Medium"/>
                <a:cs typeface="Barlow Medium"/>
                <a:sym typeface="Barlow Medium"/>
              </a:defRPr>
            </a:pPr>
            <a:r>
              <a:rPr kumimoji="0" sz="1250" b="0" i="0" u="none" strike="noStrike" kern="0" cap="none" spc="0" normalizeH="0" baseline="0" noProof="0">
                <a:ln>
                  <a:noFill/>
                </a:ln>
                <a:solidFill>
                  <a:srgbClr val="F7F5F7"/>
                </a:solidFill>
                <a:effectLst/>
                <a:uLnTx/>
                <a:uFillTx/>
                <a:latin typeface="HarmonyOS Sans SC Black"/>
                <a:ea typeface="+mj-ea"/>
                <a:sym typeface="Barlow Medium"/>
              </a:rPr>
              <a:t>Project name #03</a:t>
            </a:r>
          </a:p>
        </p:txBody>
      </p:sp>
      <p:sp>
        <p:nvSpPr>
          <p:cNvPr id="31" name="Project name #03">
            <a:extLst>
              <a:ext uri="{FF2B5EF4-FFF2-40B4-BE49-F238E27FC236}">
                <a16:creationId xmlns:a16="http://schemas.microsoft.com/office/drawing/2014/main" id="{1C3188B5-7BDE-4B00-9050-C8DEECF81D8C}"/>
              </a:ext>
            </a:extLst>
          </p:cNvPr>
          <p:cNvSpPr txBox="1"/>
          <p:nvPr/>
        </p:nvSpPr>
        <p:spPr>
          <a:xfrm>
            <a:off x="924367" y="5092383"/>
            <a:ext cx="899978" cy="436017"/>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25400" tIns="25400" rIns="25400" bIns="25400">
            <a:spAutoFit/>
          </a:bodyPr>
          <a:lstStyle>
            <a:lvl1pPr algn="l">
              <a:defRPr sz="2500" b="0">
                <a:solidFill>
                  <a:srgbClr val="F6F6F7"/>
                </a:solidFill>
                <a:latin typeface="Barlow SemiBold"/>
                <a:ea typeface="Barlow SemiBold"/>
                <a:cs typeface="Barlow SemiBold"/>
                <a:sym typeface="Barlow SemiBold"/>
              </a:defRPr>
            </a:lvl1pPr>
          </a:lstStyle>
          <a:p>
            <a:pPr marL="0" marR="0" lvl="0" indent="0" algn="l" defTabSz="412750" rtl="0" eaLnBrk="1" fontAlgn="auto" latinLnBrk="0" hangingPunct="0">
              <a:lnSpc>
                <a:spcPct val="100000"/>
              </a:lnSpc>
              <a:spcBef>
                <a:spcPts val="0"/>
              </a:spcBef>
              <a:spcAft>
                <a:spcPts val="0"/>
              </a:spcAft>
              <a:buClrTx/>
              <a:buSzTx/>
              <a:buFontTx/>
              <a:buNone/>
              <a:tabLst/>
              <a:defRPr>
                <a:latin typeface="Barlow Medium"/>
                <a:ea typeface="Barlow Medium"/>
                <a:cs typeface="Barlow Medium"/>
                <a:sym typeface="Barlow Medium"/>
              </a:defRPr>
            </a:pPr>
            <a:r>
              <a:rPr kumimoji="0" sz="1250" b="0" i="0" u="none" strike="noStrike" kern="0" cap="none" spc="0" normalizeH="0" baseline="0" noProof="0">
                <a:ln>
                  <a:noFill/>
                </a:ln>
                <a:solidFill>
                  <a:srgbClr val="F7F5F7"/>
                </a:solidFill>
                <a:effectLst/>
                <a:uLnTx/>
                <a:uFillTx/>
                <a:latin typeface="HarmonyOS Sans SC Black"/>
                <a:ea typeface="+mj-ea"/>
                <a:sym typeface="Barlow Medium"/>
              </a:rPr>
              <a:t>Project name #03</a:t>
            </a:r>
          </a:p>
        </p:txBody>
      </p:sp>
      <p:sp>
        <p:nvSpPr>
          <p:cNvPr id="32" name="Sample text">
            <a:extLst>
              <a:ext uri="{FF2B5EF4-FFF2-40B4-BE49-F238E27FC236}">
                <a16:creationId xmlns:a16="http://schemas.microsoft.com/office/drawing/2014/main" id="{D8963E82-CE72-4743-9C0C-A9AA1A4F2A45}"/>
              </a:ext>
            </a:extLst>
          </p:cNvPr>
          <p:cNvSpPr txBox="1"/>
          <p:nvPr/>
        </p:nvSpPr>
        <p:spPr>
          <a:xfrm>
            <a:off x="10295669" y="2479501"/>
            <a:ext cx="988177" cy="24365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25400" tIns="25400" rIns="25400" bIns="25400">
            <a:spAutoFit/>
          </a:bodyPr>
          <a:lstStyle>
            <a:lvl1pPr algn="l">
              <a:defRPr sz="2500" b="0">
                <a:solidFill>
                  <a:srgbClr val="F6F6F7"/>
                </a:solidFill>
                <a:latin typeface="Barlow SemiBold"/>
                <a:ea typeface="Barlow SemiBold"/>
                <a:cs typeface="Barlow SemiBold"/>
                <a:sym typeface="Barlow SemiBold"/>
              </a:defRPr>
            </a:lvl1pPr>
          </a:lstStyle>
          <a:p>
            <a:pPr marL="0" marR="0" lvl="0" indent="0" algn="l" defTabSz="412750" rtl="0" eaLnBrk="1" fontAlgn="auto" latinLnBrk="0" hangingPunct="0">
              <a:lnSpc>
                <a:spcPct val="100000"/>
              </a:lnSpc>
              <a:spcBef>
                <a:spcPts val="0"/>
              </a:spcBef>
              <a:spcAft>
                <a:spcPts val="0"/>
              </a:spcAft>
              <a:buClrTx/>
              <a:buSzTx/>
              <a:buFontTx/>
              <a:buNone/>
              <a:tabLst/>
              <a:defRPr>
                <a:latin typeface="Barlow Medium"/>
                <a:ea typeface="Barlow Medium"/>
                <a:cs typeface="Barlow Medium"/>
                <a:sym typeface="Barlow Medium"/>
              </a:defRPr>
            </a:pPr>
            <a:r>
              <a:rPr kumimoji="0" sz="1250" b="0" i="0" u="none" strike="noStrike" kern="0" cap="none" spc="0" normalizeH="0" baseline="0" noProof="0" dirty="0">
                <a:ln>
                  <a:noFill/>
                </a:ln>
                <a:solidFill>
                  <a:srgbClr val="F7F5F7"/>
                </a:solidFill>
                <a:effectLst/>
                <a:uLnTx/>
                <a:uFillTx/>
                <a:latin typeface="HarmonyOS Sans SC Black"/>
                <a:ea typeface="+mj-ea"/>
                <a:sym typeface="Barlow Medium"/>
              </a:rPr>
              <a:t>Sample text</a:t>
            </a:r>
          </a:p>
        </p:txBody>
      </p:sp>
      <p:sp>
        <p:nvSpPr>
          <p:cNvPr id="33" name="Sample text">
            <a:extLst>
              <a:ext uri="{FF2B5EF4-FFF2-40B4-BE49-F238E27FC236}">
                <a16:creationId xmlns:a16="http://schemas.microsoft.com/office/drawing/2014/main" id="{43833235-5AB6-4700-BC73-AF01DD64D14A}"/>
              </a:ext>
            </a:extLst>
          </p:cNvPr>
          <p:cNvSpPr txBox="1"/>
          <p:nvPr/>
        </p:nvSpPr>
        <p:spPr>
          <a:xfrm>
            <a:off x="10295669" y="3833272"/>
            <a:ext cx="988177" cy="24365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25400" tIns="25400" rIns="25400" bIns="25400">
            <a:spAutoFit/>
          </a:bodyPr>
          <a:lstStyle>
            <a:lvl1pPr algn="l">
              <a:defRPr sz="2500" b="0">
                <a:solidFill>
                  <a:srgbClr val="F6F6F7"/>
                </a:solidFill>
                <a:latin typeface="Barlow SemiBold"/>
                <a:ea typeface="Barlow SemiBold"/>
                <a:cs typeface="Barlow SemiBold"/>
                <a:sym typeface="Barlow SemiBold"/>
              </a:defRPr>
            </a:lvl1pPr>
          </a:lstStyle>
          <a:p>
            <a:pPr marL="0" marR="0" lvl="0" indent="0" algn="l" defTabSz="412750" rtl="0" eaLnBrk="1" fontAlgn="auto" latinLnBrk="0" hangingPunct="0">
              <a:lnSpc>
                <a:spcPct val="100000"/>
              </a:lnSpc>
              <a:spcBef>
                <a:spcPts val="0"/>
              </a:spcBef>
              <a:spcAft>
                <a:spcPts val="0"/>
              </a:spcAft>
              <a:buClrTx/>
              <a:buSzTx/>
              <a:buFontTx/>
              <a:buNone/>
              <a:tabLst/>
              <a:defRPr>
                <a:latin typeface="Barlow Medium"/>
                <a:ea typeface="Barlow Medium"/>
                <a:cs typeface="Barlow Medium"/>
                <a:sym typeface="Barlow Medium"/>
              </a:defRPr>
            </a:pPr>
            <a:r>
              <a:rPr kumimoji="0" sz="1250" b="0" i="0" u="none" strike="noStrike" kern="0" cap="none" spc="0" normalizeH="0" baseline="0" noProof="0">
                <a:ln>
                  <a:noFill/>
                </a:ln>
                <a:solidFill>
                  <a:srgbClr val="F7F5F7"/>
                </a:solidFill>
                <a:effectLst/>
                <a:uLnTx/>
                <a:uFillTx/>
                <a:latin typeface="HarmonyOS Sans SC Black"/>
                <a:ea typeface="+mj-ea"/>
                <a:sym typeface="Barlow Medium"/>
              </a:rPr>
              <a:t>Sample text</a:t>
            </a:r>
          </a:p>
        </p:txBody>
      </p:sp>
      <p:sp>
        <p:nvSpPr>
          <p:cNvPr id="34" name="Sample text">
            <a:extLst>
              <a:ext uri="{FF2B5EF4-FFF2-40B4-BE49-F238E27FC236}">
                <a16:creationId xmlns:a16="http://schemas.microsoft.com/office/drawing/2014/main" id="{280A4687-5A2E-40F3-956A-A8CA607A19F6}"/>
              </a:ext>
            </a:extLst>
          </p:cNvPr>
          <p:cNvSpPr txBox="1"/>
          <p:nvPr/>
        </p:nvSpPr>
        <p:spPr>
          <a:xfrm>
            <a:off x="10295669" y="5246453"/>
            <a:ext cx="988177" cy="24365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25400" tIns="25400" rIns="25400" bIns="25400">
            <a:spAutoFit/>
          </a:bodyPr>
          <a:lstStyle>
            <a:lvl1pPr algn="l">
              <a:defRPr sz="2500" b="0">
                <a:solidFill>
                  <a:srgbClr val="F6F6F7"/>
                </a:solidFill>
                <a:latin typeface="Barlow SemiBold"/>
                <a:ea typeface="Barlow SemiBold"/>
                <a:cs typeface="Barlow SemiBold"/>
                <a:sym typeface="Barlow SemiBold"/>
              </a:defRPr>
            </a:lvl1pPr>
          </a:lstStyle>
          <a:p>
            <a:pPr marL="0" marR="0" lvl="0" indent="0" algn="l" defTabSz="412750" rtl="0" eaLnBrk="1" fontAlgn="auto" latinLnBrk="0" hangingPunct="0">
              <a:lnSpc>
                <a:spcPct val="100000"/>
              </a:lnSpc>
              <a:spcBef>
                <a:spcPts val="0"/>
              </a:spcBef>
              <a:spcAft>
                <a:spcPts val="0"/>
              </a:spcAft>
              <a:buClrTx/>
              <a:buSzTx/>
              <a:buFontTx/>
              <a:buNone/>
              <a:tabLst/>
              <a:defRPr>
                <a:latin typeface="Barlow Medium"/>
                <a:ea typeface="Barlow Medium"/>
                <a:cs typeface="Barlow Medium"/>
                <a:sym typeface="Barlow Medium"/>
              </a:defRPr>
            </a:pPr>
            <a:r>
              <a:rPr kumimoji="0" sz="1250" b="0" i="0" u="none" strike="noStrike" kern="0" cap="none" spc="0" normalizeH="0" baseline="0" noProof="0">
                <a:ln>
                  <a:noFill/>
                </a:ln>
                <a:solidFill>
                  <a:srgbClr val="F7F5F7"/>
                </a:solidFill>
                <a:effectLst/>
                <a:uLnTx/>
                <a:uFillTx/>
                <a:latin typeface="HarmonyOS Sans SC Black"/>
                <a:ea typeface="+mj-ea"/>
                <a:sym typeface="Barlow Medium"/>
              </a:rPr>
              <a:t>Sample text</a:t>
            </a:r>
          </a:p>
        </p:txBody>
      </p:sp>
      <p:sp>
        <p:nvSpPr>
          <p:cNvPr id="35" name="This is a sample text. Insert your description here.">
            <a:extLst>
              <a:ext uri="{FF2B5EF4-FFF2-40B4-BE49-F238E27FC236}">
                <a16:creationId xmlns:a16="http://schemas.microsoft.com/office/drawing/2014/main" id="{013D3ADD-2ABD-4DDB-9CED-8CBC640E68E1}"/>
              </a:ext>
            </a:extLst>
          </p:cNvPr>
          <p:cNvSpPr/>
          <p:nvPr/>
        </p:nvSpPr>
        <p:spPr>
          <a:xfrm>
            <a:off x="4115007" y="5237014"/>
            <a:ext cx="1410158" cy="559127"/>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5400" tIns="25400" rIns="25400" bIns="25400" numCol="1" anchor="t">
            <a:spAutoFit/>
          </a:bodyPr>
          <a:lstStyle>
            <a:lvl1pPr algn="l">
              <a:defRPr sz="2500" b="0">
                <a:solidFill>
                  <a:srgbClr val="9E9F9E"/>
                </a:solidFill>
                <a:latin typeface="Barlow Medium"/>
                <a:ea typeface="Barlow Medium"/>
                <a:cs typeface="Barlow Medium"/>
                <a:sym typeface="Barlow Medium"/>
              </a:defRPr>
            </a:lvl1pPr>
          </a:lstStyle>
          <a:p>
            <a:pPr marL="0" marR="0" lvl="0" indent="0" algn="l" defTabSz="412750" rtl="0" eaLnBrk="1" fontAlgn="auto" latinLnBrk="0" hangingPunct="0">
              <a:lnSpc>
                <a:spcPct val="100000"/>
              </a:lnSpc>
              <a:spcBef>
                <a:spcPts val="0"/>
              </a:spcBef>
              <a:spcAft>
                <a:spcPts val="0"/>
              </a:spcAft>
              <a:buClrTx/>
              <a:buSzTx/>
              <a:buFontTx/>
              <a:buNone/>
              <a:tabLst/>
              <a:defRPr/>
            </a:pPr>
            <a:r>
              <a:rPr kumimoji="0" sz="1100" b="0" i="0" u="none" strike="noStrike" kern="0" cap="none" spc="0" normalizeH="0" baseline="0" noProof="0">
                <a:ln>
                  <a:noFill/>
                </a:ln>
                <a:solidFill>
                  <a:prstClr val="black">
                    <a:lumMod val="50000"/>
                    <a:lumOff val="50000"/>
                  </a:prstClr>
                </a:solidFill>
                <a:effectLst/>
                <a:uLnTx/>
                <a:uFillTx/>
                <a:latin typeface="HarmonyOS Sans SC"/>
                <a:ea typeface="+mn-ea"/>
                <a:sym typeface="Barlow Medium"/>
              </a:rPr>
              <a:t>This is a sample text. Insert your description here.</a:t>
            </a:r>
          </a:p>
        </p:txBody>
      </p:sp>
      <p:sp>
        <p:nvSpPr>
          <p:cNvPr id="36" name="This is a sample text.">
            <a:extLst>
              <a:ext uri="{FF2B5EF4-FFF2-40B4-BE49-F238E27FC236}">
                <a16:creationId xmlns:a16="http://schemas.microsoft.com/office/drawing/2014/main" id="{D9F35D13-DDC6-4C1A-A278-CB3FA9599417}"/>
              </a:ext>
            </a:extLst>
          </p:cNvPr>
          <p:cNvSpPr/>
          <p:nvPr/>
        </p:nvSpPr>
        <p:spPr>
          <a:xfrm>
            <a:off x="4117727" y="4943069"/>
            <a:ext cx="1581659" cy="220573"/>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5400" tIns="25400" rIns="25400" bIns="25400" numCol="1" anchor="t">
            <a:spAutoFit/>
          </a:bodyPr>
          <a:lstStyle>
            <a:lvl1pPr algn="l">
              <a:defRPr sz="2500" b="0">
                <a:solidFill>
                  <a:srgbClr val="545453"/>
                </a:solidFill>
                <a:latin typeface="Barlow SemiBold"/>
                <a:ea typeface="Barlow SemiBold"/>
                <a:cs typeface="Barlow SemiBold"/>
                <a:sym typeface="Barlow SemiBold"/>
              </a:defRPr>
            </a:lvl1pPr>
          </a:lstStyle>
          <a:p>
            <a:pPr marL="0" marR="0" lvl="0" indent="0" algn="l" defTabSz="412750" rtl="0" eaLnBrk="1" fontAlgn="auto" latinLnBrk="0" hangingPunct="0">
              <a:lnSpc>
                <a:spcPct val="100000"/>
              </a:lnSpc>
              <a:spcBef>
                <a:spcPts val="0"/>
              </a:spcBef>
              <a:spcAft>
                <a:spcPts val="0"/>
              </a:spcAft>
              <a:buClrTx/>
              <a:buSzTx/>
              <a:buFontTx/>
              <a:buNone/>
              <a:tabLst/>
              <a:defRPr/>
            </a:pPr>
            <a:r>
              <a:rPr kumimoji="0" sz="1100" b="0" i="0" u="none" strike="noStrike" kern="0" cap="none" spc="0" normalizeH="0" baseline="0" noProof="0">
                <a:ln>
                  <a:noFill/>
                </a:ln>
                <a:solidFill>
                  <a:prstClr val="black">
                    <a:lumMod val="75000"/>
                    <a:lumOff val="25000"/>
                  </a:prstClr>
                </a:solidFill>
                <a:effectLst/>
                <a:uLnTx/>
                <a:uFillTx/>
                <a:latin typeface="HarmonyOS Sans SC Black"/>
                <a:ea typeface="+mj-ea"/>
                <a:sym typeface="Barlow SemiBold"/>
              </a:rPr>
              <a:t>This is a sample text.</a:t>
            </a:r>
          </a:p>
        </p:txBody>
      </p:sp>
      <p:sp>
        <p:nvSpPr>
          <p:cNvPr id="37" name="This is a sample text. Insert your description here.">
            <a:extLst>
              <a:ext uri="{FF2B5EF4-FFF2-40B4-BE49-F238E27FC236}">
                <a16:creationId xmlns:a16="http://schemas.microsoft.com/office/drawing/2014/main" id="{5342E041-F9ED-42A5-9674-D3084BE5D470}"/>
              </a:ext>
            </a:extLst>
          </p:cNvPr>
          <p:cNvSpPr/>
          <p:nvPr/>
        </p:nvSpPr>
        <p:spPr>
          <a:xfrm>
            <a:off x="6073141" y="5237014"/>
            <a:ext cx="1410158" cy="559127"/>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5400" tIns="25400" rIns="25400" bIns="25400" numCol="1" anchor="t">
            <a:spAutoFit/>
          </a:bodyPr>
          <a:lstStyle>
            <a:lvl1pPr algn="l">
              <a:defRPr sz="2500" b="0">
                <a:solidFill>
                  <a:srgbClr val="9E9F9E"/>
                </a:solidFill>
                <a:latin typeface="Barlow Medium"/>
                <a:ea typeface="Barlow Medium"/>
                <a:cs typeface="Barlow Medium"/>
                <a:sym typeface="Barlow Medium"/>
              </a:defRPr>
            </a:lvl1pPr>
          </a:lstStyle>
          <a:p>
            <a:pPr marL="0" marR="0" lvl="0" indent="0" algn="l" defTabSz="412750" rtl="0" eaLnBrk="1" fontAlgn="auto" latinLnBrk="0" hangingPunct="0">
              <a:lnSpc>
                <a:spcPct val="100000"/>
              </a:lnSpc>
              <a:spcBef>
                <a:spcPts val="0"/>
              </a:spcBef>
              <a:spcAft>
                <a:spcPts val="0"/>
              </a:spcAft>
              <a:buClrTx/>
              <a:buSzTx/>
              <a:buFontTx/>
              <a:buNone/>
              <a:tabLst/>
              <a:defRPr/>
            </a:pPr>
            <a:r>
              <a:rPr kumimoji="0" sz="1100" b="0" i="0" u="none" strike="noStrike" kern="0" cap="none" spc="0" normalizeH="0" baseline="0" noProof="0">
                <a:ln>
                  <a:noFill/>
                </a:ln>
                <a:solidFill>
                  <a:prstClr val="black">
                    <a:lumMod val="50000"/>
                    <a:lumOff val="50000"/>
                  </a:prstClr>
                </a:solidFill>
                <a:effectLst/>
                <a:uLnTx/>
                <a:uFillTx/>
                <a:latin typeface="HarmonyOS Sans SC"/>
                <a:ea typeface="+mn-ea"/>
                <a:sym typeface="Barlow Medium"/>
              </a:rPr>
              <a:t>This is a sample text. Insert your description here.</a:t>
            </a:r>
          </a:p>
        </p:txBody>
      </p:sp>
      <p:sp>
        <p:nvSpPr>
          <p:cNvPr id="38" name="This is a sample text.">
            <a:extLst>
              <a:ext uri="{FF2B5EF4-FFF2-40B4-BE49-F238E27FC236}">
                <a16:creationId xmlns:a16="http://schemas.microsoft.com/office/drawing/2014/main" id="{DA18696B-FBFC-4F5E-90D8-132805DF1FCC}"/>
              </a:ext>
            </a:extLst>
          </p:cNvPr>
          <p:cNvSpPr/>
          <p:nvPr/>
        </p:nvSpPr>
        <p:spPr>
          <a:xfrm>
            <a:off x="6075861" y="4943069"/>
            <a:ext cx="1581659" cy="220573"/>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5400" tIns="25400" rIns="25400" bIns="25400" numCol="1" anchor="t">
            <a:spAutoFit/>
          </a:bodyPr>
          <a:lstStyle>
            <a:lvl1pPr algn="l">
              <a:defRPr sz="2500" b="0">
                <a:solidFill>
                  <a:srgbClr val="545453"/>
                </a:solidFill>
                <a:latin typeface="Barlow SemiBold"/>
                <a:ea typeface="Barlow SemiBold"/>
                <a:cs typeface="Barlow SemiBold"/>
                <a:sym typeface="Barlow SemiBold"/>
              </a:defRPr>
            </a:lvl1pPr>
          </a:lstStyle>
          <a:p>
            <a:pPr marL="0" marR="0" lvl="0" indent="0" algn="l" defTabSz="412750" rtl="0" eaLnBrk="1" fontAlgn="auto" latinLnBrk="0" hangingPunct="0">
              <a:lnSpc>
                <a:spcPct val="100000"/>
              </a:lnSpc>
              <a:spcBef>
                <a:spcPts val="0"/>
              </a:spcBef>
              <a:spcAft>
                <a:spcPts val="0"/>
              </a:spcAft>
              <a:buClrTx/>
              <a:buSzTx/>
              <a:buFontTx/>
              <a:buNone/>
              <a:tabLst/>
              <a:defRPr/>
            </a:pPr>
            <a:r>
              <a:rPr kumimoji="0" sz="1100" b="0" i="0" u="none" strike="noStrike" kern="0" cap="none" spc="0" normalizeH="0" baseline="0" noProof="0">
                <a:ln>
                  <a:noFill/>
                </a:ln>
                <a:solidFill>
                  <a:prstClr val="black">
                    <a:lumMod val="75000"/>
                    <a:lumOff val="25000"/>
                  </a:prstClr>
                </a:solidFill>
                <a:effectLst/>
                <a:uLnTx/>
                <a:uFillTx/>
                <a:latin typeface="HarmonyOS Sans SC Black"/>
                <a:ea typeface="+mj-ea"/>
                <a:sym typeface="Barlow SemiBold"/>
              </a:rPr>
              <a:t>This is a sample text.</a:t>
            </a:r>
          </a:p>
        </p:txBody>
      </p:sp>
      <p:sp>
        <p:nvSpPr>
          <p:cNvPr id="39" name="This is a sample text. Insert your description here.">
            <a:extLst>
              <a:ext uri="{FF2B5EF4-FFF2-40B4-BE49-F238E27FC236}">
                <a16:creationId xmlns:a16="http://schemas.microsoft.com/office/drawing/2014/main" id="{F5BDBE13-CB53-4227-9FAE-82548CC11F92}"/>
              </a:ext>
            </a:extLst>
          </p:cNvPr>
          <p:cNvSpPr/>
          <p:nvPr/>
        </p:nvSpPr>
        <p:spPr>
          <a:xfrm>
            <a:off x="8031274" y="5237014"/>
            <a:ext cx="1410158" cy="559127"/>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5400" tIns="25400" rIns="25400" bIns="25400" numCol="1" anchor="t">
            <a:spAutoFit/>
          </a:bodyPr>
          <a:lstStyle>
            <a:lvl1pPr algn="l">
              <a:defRPr sz="2500" b="0">
                <a:solidFill>
                  <a:srgbClr val="9E9F9E"/>
                </a:solidFill>
                <a:latin typeface="Barlow Medium"/>
                <a:ea typeface="Barlow Medium"/>
                <a:cs typeface="Barlow Medium"/>
                <a:sym typeface="Barlow Medium"/>
              </a:defRPr>
            </a:lvl1pPr>
          </a:lstStyle>
          <a:p>
            <a:pPr marL="0" marR="0" lvl="0" indent="0" algn="l" defTabSz="412750" rtl="0" eaLnBrk="1" fontAlgn="auto" latinLnBrk="0" hangingPunct="0">
              <a:lnSpc>
                <a:spcPct val="100000"/>
              </a:lnSpc>
              <a:spcBef>
                <a:spcPts val="0"/>
              </a:spcBef>
              <a:spcAft>
                <a:spcPts val="0"/>
              </a:spcAft>
              <a:buClrTx/>
              <a:buSzTx/>
              <a:buFontTx/>
              <a:buNone/>
              <a:tabLst/>
              <a:defRPr/>
            </a:pPr>
            <a:r>
              <a:rPr kumimoji="0" sz="1100" b="0" i="0" u="none" strike="noStrike" kern="0" cap="none" spc="0" normalizeH="0" baseline="0" noProof="0">
                <a:ln>
                  <a:noFill/>
                </a:ln>
                <a:solidFill>
                  <a:prstClr val="black">
                    <a:lumMod val="50000"/>
                    <a:lumOff val="50000"/>
                  </a:prstClr>
                </a:solidFill>
                <a:effectLst/>
                <a:uLnTx/>
                <a:uFillTx/>
                <a:latin typeface="HarmonyOS Sans SC"/>
                <a:ea typeface="+mn-ea"/>
                <a:sym typeface="Barlow Medium"/>
              </a:rPr>
              <a:t>This is a sample text. Insert your description here.</a:t>
            </a:r>
          </a:p>
        </p:txBody>
      </p:sp>
      <p:sp>
        <p:nvSpPr>
          <p:cNvPr id="40" name="This is a sample text.">
            <a:extLst>
              <a:ext uri="{FF2B5EF4-FFF2-40B4-BE49-F238E27FC236}">
                <a16:creationId xmlns:a16="http://schemas.microsoft.com/office/drawing/2014/main" id="{78203788-7E40-4A91-B74F-C410E9490375}"/>
              </a:ext>
            </a:extLst>
          </p:cNvPr>
          <p:cNvSpPr/>
          <p:nvPr/>
        </p:nvSpPr>
        <p:spPr>
          <a:xfrm>
            <a:off x="8033994" y="4943069"/>
            <a:ext cx="1581659" cy="220573"/>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5400" tIns="25400" rIns="25400" bIns="25400" numCol="1" anchor="t">
            <a:spAutoFit/>
          </a:bodyPr>
          <a:lstStyle>
            <a:lvl1pPr algn="l">
              <a:defRPr sz="2500" b="0">
                <a:solidFill>
                  <a:srgbClr val="545453"/>
                </a:solidFill>
                <a:latin typeface="Barlow SemiBold"/>
                <a:ea typeface="Barlow SemiBold"/>
                <a:cs typeface="Barlow SemiBold"/>
                <a:sym typeface="Barlow SemiBold"/>
              </a:defRPr>
            </a:lvl1pPr>
          </a:lstStyle>
          <a:p>
            <a:pPr marL="0" marR="0" lvl="0" indent="0" algn="l" defTabSz="412750" rtl="0" eaLnBrk="1" fontAlgn="auto" latinLnBrk="0" hangingPunct="0">
              <a:lnSpc>
                <a:spcPct val="100000"/>
              </a:lnSpc>
              <a:spcBef>
                <a:spcPts val="0"/>
              </a:spcBef>
              <a:spcAft>
                <a:spcPts val="0"/>
              </a:spcAft>
              <a:buClrTx/>
              <a:buSzTx/>
              <a:buFontTx/>
              <a:buNone/>
              <a:tabLst/>
              <a:defRPr/>
            </a:pPr>
            <a:r>
              <a:rPr kumimoji="0" sz="1100" b="0" i="0" u="none" strike="noStrike" kern="0" cap="none" spc="0" normalizeH="0" baseline="0" noProof="0">
                <a:ln>
                  <a:noFill/>
                </a:ln>
                <a:solidFill>
                  <a:prstClr val="black">
                    <a:lumMod val="75000"/>
                    <a:lumOff val="25000"/>
                  </a:prstClr>
                </a:solidFill>
                <a:effectLst/>
                <a:uLnTx/>
                <a:uFillTx/>
                <a:latin typeface="HarmonyOS Sans SC Black"/>
                <a:ea typeface="+mj-ea"/>
                <a:sym typeface="Barlow SemiBold"/>
              </a:rPr>
              <a:t>This is a sample text.</a:t>
            </a:r>
          </a:p>
        </p:txBody>
      </p:sp>
      <p:sp>
        <p:nvSpPr>
          <p:cNvPr id="41" name="This is a sample text. Insert your description here.">
            <a:extLst>
              <a:ext uri="{FF2B5EF4-FFF2-40B4-BE49-F238E27FC236}">
                <a16:creationId xmlns:a16="http://schemas.microsoft.com/office/drawing/2014/main" id="{B15B2A46-D51F-40A9-8E16-BDD1BADB9036}"/>
              </a:ext>
            </a:extLst>
          </p:cNvPr>
          <p:cNvSpPr/>
          <p:nvPr/>
        </p:nvSpPr>
        <p:spPr>
          <a:xfrm>
            <a:off x="2107559" y="2479501"/>
            <a:ext cx="1410158" cy="559127"/>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5400" tIns="25400" rIns="25400" bIns="25400" numCol="1" anchor="t">
            <a:spAutoFit/>
          </a:bodyPr>
          <a:lstStyle>
            <a:lvl1pPr algn="l">
              <a:defRPr sz="2500" b="0">
                <a:solidFill>
                  <a:srgbClr val="9E9F9E"/>
                </a:solidFill>
                <a:latin typeface="Barlow Medium"/>
                <a:ea typeface="Barlow Medium"/>
                <a:cs typeface="Barlow Medium"/>
                <a:sym typeface="Barlow Medium"/>
              </a:defRPr>
            </a:lvl1pPr>
          </a:lstStyle>
          <a:p>
            <a:pPr marL="0" marR="0" lvl="0" indent="0" algn="l" defTabSz="412750" rtl="0" eaLnBrk="1" fontAlgn="auto" latinLnBrk="0" hangingPunct="0">
              <a:lnSpc>
                <a:spcPct val="100000"/>
              </a:lnSpc>
              <a:spcBef>
                <a:spcPts val="0"/>
              </a:spcBef>
              <a:spcAft>
                <a:spcPts val="0"/>
              </a:spcAft>
              <a:buClrTx/>
              <a:buSzTx/>
              <a:buFontTx/>
              <a:buNone/>
              <a:tabLst/>
              <a:defRPr/>
            </a:pPr>
            <a:r>
              <a:rPr kumimoji="0" sz="1100" b="0" i="0" u="none" strike="noStrike" kern="0" cap="none" spc="0" normalizeH="0" baseline="0" noProof="0" dirty="0">
                <a:ln>
                  <a:noFill/>
                </a:ln>
                <a:solidFill>
                  <a:prstClr val="black">
                    <a:lumMod val="50000"/>
                    <a:lumOff val="50000"/>
                  </a:prstClr>
                </a:solidFill>
                <a:effectLst/>
                <a:uLnTx/>
                <a:uFillTx/>
                <a:latin typeface="HarmonyOS Sans SC"/>
                <a:ea typeface="+mn-ea"/>
                <a:sym typeface="Barlow Medium"/>
              </a:rPr>
              <a:t>This is a sample text. Insert your description here.</a:t>
            </a:r>
          </a:p>
        </p:txBody>
      </p:sp>
      <p:sp>
        <p:nvSpPr>
          <p:cNvPr id="42" name="This is a sample text.">
            <a:extLst>
              <a:ext uri="{FF2B5EF4-FFF2-40B4-BE49-F238E27FC236}">
                <a16:creationId xmlns:a16="http://schemas.microsoft.com/office/drawing/2014/main" id="{2296BD12-6075-4F5F-9A6C-970D38287E2D}"/>
              </a:ext>
            </a:extLst>
          </p:cNvPr>
          <p:cNvSpPr/>
          <p:nvPr/>
        </p:nvSpPr>
        <p:spPr>
          <a:xfrm>
            <a:off x="2110279" y="2185555"/>
            <a:ext cx="1581659" cy="220573"/>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5400" tIns="25400" rIns="25400" bIns="25400" numCol="1" anchor="t">
            <a:spAutoFit/>
          </a:bodyPr>
          <a:lstStyle>
            <a:lvl1pPr algn="l">
              <a:defRPr sz="2500" b="0">
                <a:solidFill>
                  <a:srgbClr val="545453"/>
                </a:solidFill>
                <a:latin typeface="Barlow SemiBold"/>
                <a:ea typeface="Barlow SemiBold"/>
                <a:cs typeface="Barlow SemiBold"/>
                <a:sym typeface="Barlow SemiBold"/>
              </a:defRPr>
            </a:lvl1pPr>
          </a:lstStyle>
          <a:p>
            <a:pPr marL="0" marR="0" lvl="0" indent="0" algn="l" defTabSz="412750" rtl="0" eaLnBrk="1" fontAlgn="auto" latinLnBrk="0" hangingPunct="0">
              <a:lnSpc>
                <a:spcPct val="100000"/>
              </a:lnSpc>
              <a:spcBef>
                <a:spcPts val="0"/>
              </a:spcBef>
              <a:spcAft>
                <a:spcPts val="0"/>
              </a:spcAft>
              <a:buClrTx/>
              <a:buSzTx/>
              <a:buFontTx/>
              <a:buNone/>
              <a:tabLst/>
              <a:defRPr/>
            </a:pPr>
            <a:r>
              <a:rPr kumimoji="0" sz="1100" b="0" i="0" u="none" strike="noStrike" kern="0" cap="none" spc="0" normalizeH="0" baseline="0" noProof="0" dirty="0">
                <a:ln>
                  <a:noFill/>
                </a:ln>
                <a:solidFill>
                  <a:prstClr val="black">
                    <a:lumMod val="75000"/>
                    <a:lumOff val="25000"/>
                  </a:prstClr>
                </a:solidFill>
                <a:effectLst/>
                <a:uLnTx/>
                <a:uFillTx/>
                <a:latin typeface="HarmonyOS Sans SC Black"/>
                <a:ea typeface="+mj-ea"/>
                <a:sym typeface="Barlow SemiBold"/>
              </a:rPr>
              <a:t>This is a sample text.</a:t>
            </a:r>
          </a:p>
        </p:txBody>
      </p:sp>
      <p:sp>
        <p:nvSpPr>
          <p:cNvPr id="43" name="This is a sample text. Insert your description here.">
            <a:extLst>
              <a:ext uri="{FF2B5EF4-FFF2-40B4-BE49-F238E27FC236}">
                <a16:creationId xmlns:a16="http://schemas.microsoft.com/office/drawing/2014/main" id="{65332245-9FF7-4BC4-BA92-670F3323CEBA}"/>
              </a:ext>
            </a:extLst>
          </p:cNvPr>
          <p:cNvSpPr/>
          <p:nvPr/>
        </p:nvSpPr>
        <p:spPr>
          <a:xfrm>
            <a:off x="4114042" y="2479501"/>
            <a:ext cx="1410158" cy="559127"/>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5400" tIns="25400" rIns="25400" bIns="25400" numCol="1" anchor="t">
            <a:spAutoFit/>
          </a:bodyPr>
          <a:lstStyle>
            <a:lvl1pPr algn="l">
              <a:defRPr sz="2500" b="0">
                <a:solidFill>
                  <a:srgbClr val="9E9F9E"/>
                </a:solidFill>
                <a:latin typeface="Barlow Medium"/>
                <a:ea typeface="Barlow Medium"/>
                <a:cs typeface="Barlow Medium"/>
                <a:sym typeface="Barlow Medium"/>
              </a:defRPr>
            </a:lvl1pPr>
          </a:lstStyle>
          <a:p>
            <a:pPr marL="0" marR="0" lvl="0" indent="0" algn="l" defTabSz="412750" rtl="0" eaLnBrk="1" fontAlgn="auto" latinLnBrk="0" hangingPunct="0">
              <a:lnSpc>
                <a:spcPct val="100000"/>
              </a:lnSpc>
              <a:spcBef>
                <a:spcPts val="0"/>
              </a:spcBef>
              <a:spcAft>
                <a:spcPts val="0"/>
              </a:spcAft>
              <a:buClrTx/>
              <a:buSzTx/>
              <a:buFontTx/>
              <a:buNone/>
              <a:tabLst/>
              <a:defRPr/>
            </a:pPr>
            <a:r>
              <a:rPr kumimoji="0" sz="1100" b="0" i="0" u="none" strike="noStrike" kern="0" cap="none" spc="0" normalizeH="0" baseline="0" noProof="0" dirty="0">
                <a:ln>
                  <a:noFill/>
                </a:ln>
                <a:solidFill>
                  <a:prstClr val="black">
                    <a:lumMod val="50000"/>
                    <a:lumOff val="50000"/>
                  </a:prstClr>
                </a:solidFill>
                <a:effectLst/>
                <a:uLnTx/>
                <a:uFillTx/>
                <a:latin typeface="HarmonyOS Sans SC"/>
                <a:ea typeface="+mn-ea"/>
                <a:sym typeface="Barlow Medium"/>
              </a:rPr>
              <a:t>This is a sample text. Insert your description here.</a:t>
            </a:r>
          </a:p>
        </p:txBody>
      </p:sp>
      <p:sp>
        <p:nvSpPr>
          <p:cNvPr id="44" name="This is a sample text.">
            <a:extLst>
              <a:ext uri="{FF2B5EF4-FFF2-40B4-BE49-F238E27FC236}">
                <a16:creationId xmlns:a16="http://schemas.microsoft.com/office/drawing/2014/main" id="{769C3C01-5A60-42CF-9657-68DD4099D6BB}"/>
              </a:ext>
            </a:extLst>
          </p:cNvPr>
          <p:cNvSpPr/>
          <p:nvPr/>
        </p:nvSpPr>
        <p:spPr>
          <a:xfrm>
            <a:off x="4116762" y="2185555"/>
            <a:ext cx="1581659" cy="220573"/>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5400" tIns="25400" rIns="25400" bIns="25400" numCol="1" anchor="t">
            <a:spAutoFit/>
          </a:bodyPr>
          <a:lstStyle>
            <a:lvl1pPr algn="l">
              <a:defRPr sz="2500" b="0">
                <a:solidFill>
                  <a:srgbClr val="545453"/>
                </a:solidFill>
                <a:latin typeface="Barlow SemiBold"/>
                <a:ea typeface="Barlow SemiBold"/>
                <a:cs typeface="Barlow SemiBold"/>
                <a:sym typeface="Barlow SemiBold"/>
              </a:defRPr>
            </a:lvl1pPr>
          </a:lstStyle>
          <a:p>
            <a:pPr marL="0" marR="0" lvl="0" indent="0" algn="l" defTabSz="412750" rtl="0" eaLnBrk="1" fontAlgn="auto" latinLnBrk="0" hangingPunct="0">
              <a:lnSpc>
                <a:spcPct val="100000"/>
              </a:lnSpc>
              <a:spcBef>
                <a:spcPts val="0"/>
              </a:spcBef>
              <a:spcAft>
                <a:spcPts val="0"/>
              </a:spcAft>
              <a:buClrTx/>
              <a:buSzTx/>
              <a:buFontTx/>
              <a:buNone/>
              <a:tabLst/>
              <a:defRPr/>
            </a:pPr>
            <a:r>
              <a:rPr kumimoji="0" sz="1100" b="0" i="0" u="none" strike="noStrike" kern="0" cap="none" spc="0" normalizeH="0" baseline="0" noProof="0">
                <a:ln>
                  <a:noFill/>
                </a:ln>
                <a:solidFill>
                  <a:prstClr val="black">
                    <a:lumMod val="75000"/>
                    <a:lumOff val="25000"/>
                  </a:prstClr>
                </a:solidFill>
                <a:effectLst/>
                <a:uLnTx/>
                <a:uFillTx/>
                <a:latin typeface="HarmonyOS Sans SC Black"/>
                <a:ea typeface="+mj-ea"/>
                <a:sym typeface="Barlow SemiBold"/>
              </a:rPr>
              <a:t>This is a sample text.</a:t>
            </a:r>
          </a:p>
        </p:txBody>
      </p:sp>
      <p:sp>
        <p:nvSpPr>
          <p:cNvPr id="45" name="This is a sample text. Insert your description here.">
            <a:extLst>
              <a:ext uri="{FF2B5EF4-FFF2-40B4-BE49-F238E27FC236}">
                <a16:creationId xmlns:a16="http://schemas.microsoft.com/office/drawing/2014/main" id="{8F65F2CD-9988-4DE7-9648-9D2F727ED18E}"/>
              </a:ext>
            </a:extLst>
          </p:cNvPr>
          <p:cNvSpPr/>
          <p:nvPr/>
        </p:nvSpPr>
        <p:spPr>
          <a:xfrm>
            <a:off x="6072175" y="2479501"/>
            <a:ext cx="1410158" cy="559127"/>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5400" tIns="25400" rIns="25400" bIns="25400" numCol="1" anchor="t">
            <a:spAutoFit/>
          </a:bodyPr>
          <a:lstStyle>
            <a:lvl1pPr algn="l">
              <a:defRPr sz="2500" b="0">
                <a:solidFill>
                  <a:srgbClr val="9E9F9E"/>
                </a:solidFill>
                <a:latin typeface="Barlow Medium"/>
                <a:ea typeface="Barlow Medium"/>
                <a:cs typeface="Barlow Medium"/>
                <a:sym typeface="Barlow Medium"/>
              </a:defRPr>
            </a:lvl1pPr>
          </a:lstStyle>
          <a:p>
            <a:pPr marL="0" marR="0" lvl="0" indent="0" algn="l" defTabSz="412750" rtl="0" eaLnBrk="1" fontAlgn="auto" latinLnBrk="0" hangingPunct="0">
              <a:lnSpc>
                <a:spcPct val="100000"/>
              </a:lnSpc>
              <a:spcBef>
                <a:spcPts val="0"/>
              </a:spcBef>
              <a:spcAft>
                <a:spcPts val="0"/>
              </a:spcAft>
              <a:buClrTx/>
              <a:buSzTx/>
              <a:buFontTx/>
              <a:buNone/>
              <a:tabLst/>
              <a:defRPr/>
            </a:pPr>
            <a:r>
              <a:rPr kumimoji="0" sz="1100" b="0" i="0" u="none" strike="noStrike" kern="0" cap="none" spc="0" normalizeH="0" baseline="0" noProof="0">
                <a:ln>
                  <a:noFill/>
                </a:ln>
                <a:solidFill>
                  <a:prstClr val="black">
                    <a:lumMod val="50000"/>
                    <a:lumOff val="50000"/>
                  </a:prstClr>
                </a:solidFill>
                <a:effectLst/>
                <a:uLnTx/>
                <a:uFillTx/>
                <a:latin typeface="HarmonyOS Sans SC"/>
                <a:ea typeface="+mn-ea"/>
                <a:sym typeface="Barlow Medium"/>
              </a:rPr>
              <a:t>This is a sample text. Insert your description here.</a:t>
            </a:r>
          </a:p>
        </p:txBody>
      </p:sp>
      <p:sp>
        <p:nvSpPr>
          <p:cNvPr id="46" name="This is a sample text.">
            <a:extLst>
              <a:ext uri="{FF2B5EF4-FFF2-40B4-BE49-F238E27FC236}">
                <a16:creationId xmlns:a16="http://schemas.microsoft.com/office/drawing/2014/main" id="{B43094F2-F0DB-433F-9DC9-165F568D9573}"/>
              </a:ext>
            </a:extLst>
          </p:cNvPr>
          <p:cNvSpPr/>
          <p:nvPr/>
        </p:nvSpPr>
        <p:spPr>
          <a:xfrm>
            <a:off x="6074895" y="2185555"/>
            <a:ext cx="1581659" cy="220573"/>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5400" tIns="25400" rIns="25400" bIns="25400" numCol="1" anchor="t">
            <a:spAutoFit/>
          </a:bodyPr>
          <a:lstStyle>
            <a:lvl1pPr algn="l">
              <a:defRPr sz="2500" b="0">
                <a:solidFill>
                  <a:srgbClr val="545453"/>
                </a:solidFill>
                <a:latin typeface="Barlow SemiBold"/>
                <a:ea typeface="Barlow SemiBold"/>
                <a:cs typeface="Barlow SemiBold"/>
                <a:sym typeface="Barlow SemiBold"/>
              </a:defRPr>
            </a:lvl1pPr>
          </a:lstStyle>
          <a:p>
            <a:pPr marL="0" marR="0" lvl="0" indent="0" algn="l" defTabSz="412750" rtl="0" eaLnBrk="1" fontAlgn="auto" latinLnBrk="0" hangingPunct="0">
              <a:lnSpc>
                <a:spcPct val="100000"/>
              </a:lnSpc>
              <a:spcBef>
                <a:spcPts val="0"/>
              </a:spcBef>
              <a:spcAft>
                <a:spcPts val="0"/>
              </a:spcAft>
              <a:buClrTx/>
              <a:buSzTx/>
              <a:buFontTx/>
              <a:buNone/>
              <a:tabLst/>
              <a:defRPr/>
            </a:pPr>
            <a:r>
              <a:rPr kumimoji="0" sz="1100" b="0" i="0" u="none" strike="noStrike" kern="0" cap="none" spc="0" normalizeH="0" baseline="0" noProof="0">
                <a:ln>
                  <a:noFill/>
                </a:ln>
                <a:solidFill>
                  <a:prstClr val="black">
                    <a:lumMod val="75000"/>
                    <a:lumOff val="25000"/>
                  </a:prstClr>
                </a:solidFill>
                <a:effectLst/>
                <a:uLnTx/>
                <a:uFillTx/>
                <a:latin typeface="HarmonyOS Sans SC Black"/>
                <a:ea typeface="+mj-ea"/>
                <a:sym typeface="Barlow SemiBold"/>
              </a:rPr>
              <a:t>This is a sample text.</a:t>
            </a:r>
          </a:p>
        </p:txBody>
      </p:sp>
      <p:sp>
        <p:nvSpPr>
          <p:cNvPr id="47" name="This is a sample text. Insert your description here.">
            <a:extLst>
              <a:ext uri="{FF2B5EF4-FFF2-40B4-BE49-F238E27FC236}">
                <a16:creationId xmlns:a16="http://schemas.microsoft.com/office/drawing/2014/main" id="{1A767657-FEA2-401D-87CC-6611FC2C0129}"/>
              </a:ext>
            </a:extLst>
          </p:cNvPr>
          <p:cNvSpPr/>
          <p:nvPr/>
        </p:nvSpPr>
        <p:spPr>
          <a:xfrm>
            <a:off x="8030309" y="2479501"/>
            <a:ext cx="1410158" cy="559127"/>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5400" tIns="25400" rIns="25400" bIns="25400" numCol="1" anchor="t">
            <a:spAutoFit/>
          </a:bodyPr>
          <a:lstStyle>
            <a:lvl1pPr algn="l">
              <a:defRPr sz="2500" b="0">
                <a:solidFill>
                  <a:srgbClr val="9E9F9E"/>
                </a:solidFill>
                <a:latin typeface="Barlow Medium"/>
                <a:ea typeface="Barlow Medium"/>
                <a:cs typeface="Barlow Medium"/>
                <a:sym typeface="Barlow Medium"/>
              </a:defRPr>
            </a:lvl1pPr>
          </a:lstStyle>
          <a:p>
            <a:pPr marL="0" marR="0" lvl="0" indent="0" algn="l" defTabSz="412750" rtl="0" eaLnBrk="1" fontAlgn="auto" latinLnBrk="0" hangingPunct="0">
              <a:lnSpc>
                <a:spcPct val="100000"/>
              </a:lnSpc>
              <a:spcBef>
                <a:spcPts val="0"/>
              </a:spcBef>
              <a:spcAft>
                <a:spcPts val="0"/>
              </a:spcAft>
              <a:buClrTx/>
              <a:buSzTx/>
              <a:buFontTx/>
              <a:buNone/>
              <a:tabLst/>
              <a:defRPr/>
            </a:pPr>
            <a:r>
              <a:rPr kumimoji="0" sz="1100" b="0" i="0" u="none" strike="noStrike" kern="0" cap="none" spc="0" normalizeH="0" baseline="0" noProof="0">
                <a:ln>
                  <a:noFill/>
                </a:ln>
                <a:solidFill>
                  <a:prstClr val="black">
                    <a:lumMod val="50000"/>
                    <a:lumOff val="50000"/>
                  </a:prstClr>
                </a:solidFill>
                <a:effectLst/>
                <a:uLnTx/>
                <a:uFillTx/>
                <a:latin typeface="HarmonyOS Sans SC"/>
                <a:ea typeface="+mn-ea"/>
                <a:sym typeface="Barlow Medium"/>
              </a:rPr>
              <a:t>This is a sample text. Insert your description here.</a:t>
            </a:r>
          </a:p>
        </p:txBody>
      </p:sp>
      <p:sp>
        <p:nvSpPr>
          <p:cNvPr id="48" name="This is a sample text.">
            <a:extLst>
              <a:ext uri="{FF2B5EF4-FFF2-40B4-BE49-F238E27FC236}">
                <a16:creationId xmlns:a16="http://schemas.microsoft.com/office/drawing/2014/main" id="{9F12D8CC-C999-42AD-822B-E0FACE99D03E}"/>
              </a:ext>
            </a:extLst>
          </p:cNvPr>
          <p:cNvSpPr/>
          <p:nvPr/>
        </p:nvSpPr>
        <p:spPr>
          <a:xfrm>
            <a:off x="8033029" y="2185555"/>
            <a:ext cx="1581659" cy="220573"/>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5400" tIns="25400" rIns="25400" bIns="25400" numCol="1" anchor="t">
            <a:spAutoFit/>
          </a:bodyPr>
          <a:lstStyle>
            <a:lvl1pPr algn="l">
              <a:defRPr sz="2500" b="0">
                <a:solidFill>
                  <a:srgbClr val="545453"/>
                </a:solidFill>
                <a:latin typeface="Barlow SemiBold"/>
                <a:ea typeface="Barlow SemiBold"/>
                <a:cs typeface="Barlow SemiBold"/>
                <a:sym typeface="Barlow SemiBold"/>
              </a:defRPr>
            </a:lvl1pPr>
          </a:lstStyle>
          <a:p>
            <a:pPr marL="0" marR="0" lvl="0" indent="0" algn="l" defTabSz="412750" rtl="0" eaLnBrk="1" fontAlgn="auto" latinLnBrk="0" hangingPunct="0">
              <a:lnSpc>
                <a:spcPct val="100000"/>
              </a:lnSpc>
              <a:spcBef>
                <a:spcPts val="0"/>
              </a:spcBef>
              <a:spcAft>
                <a:spcPts val="0"/>
              </a:spcAft>
              <a:buClrTx/>
              <a:buSzTx/>
              <a:buFontTx/>
              <a:buNone/>
              <a:tabLst/>
              <a:defRPr/>
            </a:pPr>
            <a:r>
              <a:rPr kumimoji="0" sz="1100" b="0" i="0" u="none" strike="noStrike" kern="0" cap="none" spc="0" normalizeH="0" baseline="0" noProof="0">
                <a:ln>
                  <a:noFill/>
                </a:ln>
                <a:solidFill>
                  <a:prstClr val="black">
                    <a:lumMod val="75000"/>
                    <a:lumOff val="25000"/>
                  </a:prstClr>
                </a:solidFill>
                <a:effectLst/>
                <a:uLnTx/>
                <a:uFillTx/>
                <a:latin typeface="HarmonyOS Sans SC Black"/>
                <a:ea typeface="+mj-ea"/>
                <a:sym typeface="Barlow SemiBold"/>
              </a:rPr>
              <a:t>This is a sample text.</a:t>
            </a:r>
          </a:p>
        </p:txBody>
      </p:sp>
      <p:sp>
        <p:nvSpPr>
          <p:cNvPr id="49" name="This is a sample text. Insert your description here.">
            <a:extLst>
              <a:ext uri="{FF2B5EF4-FFF2-40B4-BE49-F238E27FC236}">
                <a16:creationId xmlns:a16="http://schemas.microsoft.com/office/drawing/2014/main" id="{3B8D4ACC-F478-4E2A-81CD-0DC95CDD73D1}"/>
              </a:ext>
            </a:extLst>
          </p:cNvPr>
          <p:cNvSpPr/>
          <p:nvPr/>
        </p:nvSpPr>
        <p:spPr>
          <a:xfrm>
            <a:off x="2488744" y="3832307"/>
            <a:ext cx="1410158" cy="559127"/>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5400" tIns="25400" rIns="25400" bIns="25400" numCol="1" anchor="t">
            <a:spAutoFit/>
          </a:bodyPr>
          <a:lstStyle>
            <a:lvl1pPr algn="l">
              <a:defRPr sz="2500" b="0">
                <a:solidFill>
                  <a:srgbClr val="9E9F9E"/>
                </a:solidFill>
                <a:latin typeface="Barlow Medium"/>
                <a:ea typeface="Barlow Medium"/>
                <a:cs typeface="Barlow Medium"/>
                <a:sym typeface="Barlow Medium"/>
              </a:defRPr>
            </a:lvl1pPr>
          </a:lstStyle>
          <a:p>
            <a:pPr marL="0" marR="0" lvl="0" indent="0" algn="l" defTabSz="412750" rtl="0" eaLnBrk="1" fontAlgn="auto" latinLnBrk="0" hangingPunct="0">
              <a:lnSpc>
                <a:spcPct val="100000"/>
              </a:lnSpc>
              <a:spcBef>
                <a:spcPts val="0"/>
              </a:spcBef>
              <a:spcAft>
                <a:spcPts val="0"/>
              </a:spcAft>
              <a:buClrTx/>
              <a:buSzTx/>
              <a:buFontTx/>
              <a:buNone/>
              <a:tabLst/>
              <a:defRPr/>
            </a:pPr>
            <a:r>
              <a:rPr kumimoji="0" sz="1100" b="0" i="0" u="none" strike="noStrike" kern="0" cap="none" spc="0" normalizeH="0" baseline="0" noProof="0">
                <a:ln>
                  <a:noFill/>
                </a:ln>
                <a:solidFill>
                  <a:prstClr val="black">
                    <a:lumMod val="50000"/>
                    <a:lumOff val="50000"/>
                  </a:prstClr>
                </a:solidFill>
                <a:effectLst/>
                <a:uLnTx/>
                <a:uFillTx/>
                <a:latin typeface="HarmonyOS Sans SC"/>
                <a:ea typeface="+mn-ea"/>
                <a:sym typeface="Barlow Medium"/>
              </a:rPr>
              <a:t>This is a sample text. Insert your description here.</a:t>
            </a:r>
          </a:p>
        </p:txBody>
      </p:sp>
      <p:sp>
        <p:nvSpPr>
          <p:cNvPr id="50" name="This is a sample text.">
            <a:extLst>
              <a:ext uri="{FF2B5EF4-FFF2-40B4-BE49-F238E27FC236}">
                <a16:creationId xmlns:a16="http://schemas.microsoft.com/office/drawing/2014/main" id="{2390295D-C557-4F2E-B7D3-26FFC7C83E67}"/>
              </a:ext>
            </a:extLst>
          </p:cNvPr>
          <p:cNvSpPr/>
          <p:nvPr/>
        </p:nvSpPr>
        <p:spPr>
          <a:xfrm>
            <a:off x="2491464" y="3538361"/>
            <a:ext cx="1581659" cy="220573"/>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5400" tIns="25400" rIns="25400" bIns="25400" numCol="1" anchor="t">
            <a:spAutoFit/>
          </a:bodyPr>
          <a:lstStyle>
            <a:lvl1pPr algn="l">
              <a:defRPr sz="2500" b="0">
                <a:solidFill>
                  <a:srgbClr val="545453"/>
                </a:solidFill>
                <a:latin typeface="Barlow SemiBold"/>
                <a:ea typeface="Barlow SemiBold"/>
                <a:cs typeface="Barlow SemiBold"/>
                <a:sym typeface="Barlow SemiBold"/>
              </a:defRPr>
            </a:lvl1pPr>
          </a:lstStyle>
          <a:p>
            <a:pPr marL="0" marR="0" lvl="0" indent="0" algn="l" defTabSz="412750" rtl="0" eaLnBrk="1" fontAlgn="auto" latinLnBrk="0" hangingPunct="0">
              <a:lnSpc>
                <a:spcPct val="100000"/>
              </a:lnSpc>
              <a:spcBef>
                <a:spcPts val="0"/>
              </a:spcBef>
              <a:spcAft>
                <a:spcPts val="0"/>
              </a:spcAft>
              <a:buClrTx/>
              <a:buSzTx/>
              <a:buFontTx/>
              <a:buNone/>
              <a:tabLst/>
              <a:defRPr/>
            </a:pPr>
            <a:r>
              <a:rPr kumimoji="0" sz="1100" b="0" i="0" u="none" strike="noStrike" kern="0" cap="none" spc="0" normalizeH="0" baseline="0" noProof="0">
                <a:ln>
                  <a:noFill/>
                </a:ln>
                <a:solidFill>
                  <a:prstClr val="black">
                    <a:lumMod val="75000"/>
                    <a:lumOff val="25000"/>
                  </a:prstClr>
                </a:solidFill>
                <a:effectLst/>
                <a:uLnTx/>
                <a:uFillTx/>
                <a:latin typeface="HarmonyOS Sans SC Black"/>
                <a:ea typeface="+mj-ea"/>
                <a:sym typeface="Barlow SemiBold"/>
              </a:rPr>
              <a:t>This is a sample text.</a:t>
            </a:r>
          </a:p>
        </p:txBody>
      </p:sp>
      <p:sp>
        <p:nvSpPr>
          <p:cNvPr id="51" name="This is a sample text. Insert your description here.">
            <a:extLst>
              <a:ext uri="{FF2B5EF4-FFF2-40B4-BE49-F238E27FC236}">
                <a16:creationId xmlns:a16="http://schemas.microsoft.com/office/drawing/2014/main" id="{33DA81C0-751E-43A0-9241-64CAFC631FDE}"/>
              </a:ext>
            </a:extLst>
          </p:cNvPr>
          <p:cNvSpPr/>
          <p:nvPr/>
        </p:nvSpPr>
        <p:spPr>
          <a:xfrm>
            <a:off x="4438819" y="3832307"/>
            <a:ext cx="1410158" cy="559127"/>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5400" tIns="25400" rIns="25400" bIns="25400" numCol="1" anchor="t">
            <a:spAutoFit/>
          </a:bodyPr>
          <a:lstStyle>
            <a:lvl1pPr algn="l">
              <a:defRPr sz="2500" b="0">
                <a:solidFill>
                  <a:srgbClr val="9E9F9E"/>
                </a:solidFill>
                <a:latin typeface="Barlow Medium"/>
                <a:ea typeface="Barlow Medium"/>
                <a:cs typeface="Barlow Medium"/>
                <a:sym typeface="Barlow Medium"/>
              </a:defRPr>
            </a:lvl1pPr>
          </a:lstStyle>
          <a:p>
            <a:pPr marL="0" marR="0" lvl="0" indent="0" algn="l" defTabSz="412750" rtl="0" eaLnBrk="1" fontAlgn="auto" latinLnBrk="0" hangingPunct="0">
              <a:lnSpc>
                <a:spcPct val="100000"/>
              </a:lnSpc>
              <a:spcBef>
                <a:spcPts val="0"/>
              </a:spcBef>
              <a:spcAft>
                <a:spcPts val="0"/>
              </a:spcAft>
              <a:buClrTx/>
              <a:buSzTx/>
              <a:buFontTx/>
              <a:buNone/>
              <a:tabLst/>
              <a:defRPr/>
            </a:pPr>
            <a:r>
              <a:rPr kumimoji="0" sz="1100" b="0" i="0" u="none" strike="noStrike" kern="0" cap="none" spc="0" normalizeH="0" baseline="0" noProof="0" dirty="0">
                <a:ln>
                  <a:noFill/>
                </a:ln>
                <a:solidFill>
                  <a:prstClr val="black">
                    <a:lumMod val="50000"/>
                    <a:lumOff val="50000"/>
                  </a:prstClr>
                </a:solidFill>
                <a:effectLst/>
                <a:uLnTx/>
                <a:uFillTx/>
                <a:latin typeface="HarmonyOS Sans SC"/>
                <a:ea typeface="+mn-ea"/>
                <a:sym typeface="Barlow Medium"/>
              </a:rPr>
              <a:t>This is a sample text. Insert your description here.</a:t>
            </a:r>
          </a:p>
        </p:txBody>
      </p:sp>
      <p:sp>
        <p:nvSpPr>
          <p:cNvPr id="52" name="This is a sample text.">
            <a:extLst>
              <a:ext uri="{FF2B5EF4-FFF2-40B4-BE49-F238E27FC236}">
                <a16:creationId xmlns:a16="http://schemas.microsoft.com/office/drawing/2014/main" id="{BFF59A62-F15E-4610-93B2-2E679431DDC0}"/>
              </a:ext>
            </a:extLst>
          </p:cNvPr>
          <p:cNvSpPr/>
          <p:nvPr/>
        </p:nvSpPr>
        <p:spPr>
          <a:xfrm>
            <a:off x="4441539" y="3538361"/>
            <a:ext cx="1581659" cy="220573"/>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5400" tIns="25400" rIns="25400" bIns="25400" numCol="1" anchor="t">
            <a:spAutoFit/>
          </a:bodyPr>
          <a:lstStyle>
            <a:lvl1pPr algn="l">
              <a:defRPr sz="2500" b="0">
                <a:solidFill>
                  <a:srgbClr val="545453"/>
                </a:solidFill>
                <a:latin typeface="Barlow SemiBold"/>
                <a:ea typeface="Barlow SemiBold"/>
                <a:cs typeface="Barlow SemiBold"/>
                <a:sym typeface="Barlow SemiBold"/>
              </a:defRPr>
            </a:lvl1pPr>
          </a:lstStyle>
          <a:p>
            <a:pPr marL="0" marR="0" lvl="0" indent="0" algn="l" defTabSz="412750" rtl="0" eaLnBrk="1" fontAlgn="auto" latinLnBrk="0" hangingPunct="0">
              <a:lnSpc>
                <a:spcPct val="100000"/>
              </a:lnSpc>
              <a:spcBef>
                <a:spcPts val="0"/>
              </a:spcBef>
              <a:spcAft>
                <a:spcPts val="0"/>
              </a:spcAft>
              <a:buClrTx/>
              <a:buSzTx/>
              <a:buFontTx/>
              <a:buNone/>
              <a:tabLst/>
              <a:defRPr/>
            </a:pPr>
            <a:r>
              <a:rPr kumimoji="0" sz="1100" b="0" i="0" u="none" strike="noStrike" kern="0" cap="none" spc="0" normalizeH="0" baseline="0" noProof="0">
                <a:ln>
                  <a:noFill/>
                </a:ln>
                <a:solidFill>
                  <a:prstClr val="black">
                    <a:lumMod val="75000"/>
                    <a:lumOff val="25000"/>
                  </a:prstClr>
                </a:solidFill>
                <a:effectLst/>
                <a:uLnTx/>
                <a:uFillTx/>
                <a:latin typeface="HarmonyOS Sans SC Black"/>
                <a:ea typeface="+mj-ea"/>
                <a:sym typeface="Barlow SemiBold"/>
              </a:rPr>
              <a:t>This is a sample text.</a:t>
            </a:r>
          </a:p>
        </p:txBody>
      </p:sp>
      <p:sp>
        <p:nvSpPr>
          <p:cNvPr id="53" name="This is a sample text. Insert your description here.">
            <a:extLst>
              <a:ext uri="{FF2B5EF4-FFF2-40B4-BE49-F238E27FC236}">
                <a16:creationId xmlns:a16="http://schemas.microsoft.com/office/drawing/2014/main" id="{A2975AE5-84E0-4FA8-B4BF-B7D5D3634DE4}"/>
              </a:ext>
            </a:extLst>
          </p:cNvPr>
          <p:cNvSpPr/>
          <p:nvPr/>
        </p:nvSpPr>
        <p:spPr>
          <a:xfrm>
            <a:off x="6396953" y="3832307"/>
            <a:ext cx="1410158" cy="559127"/>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5400" tIns="25400" rIns="25400" bIns="25400" numCol="1" anchor="t">
            <a:spAutoFit/>
          </a:bodyPr>
          <a:lstStyle>
            <a:lvl1pPr algn="l">
              <a:defRPr sz="2500" b="0">
                <a:solidFill>
                  <a:srgbClr val="9E9F9E"/>
                </a:solidFill>
                <a:latin typeface="Barlow Medium"/>
                <a:ea typeface="Barlow Medium"/>
                <a:cs typeface="Barlow Medium"/>
                <a:sym typeface="Barlow Medium"/>
              </a:defRPr>
            </a:lvl1pPr>
          </a:lstStyle>
          <a:p>
            <a:pPr marL="0" marR="0" lvl="0" indent="0" algn="l" defTabSz="412750" rtl="0" eaLnBrk="1" fontAlgn="auto" latinLnBrk="0" hangingPunct="0">
              <a:lnSpc>
                <a:spcPct val="100000"/>
              </a:lnSpc>
              <a:spcBef>
                <a:spcPts val="0"/>
              </a:spcBef>
              <a:spcAft>
                <a:spcPts val="0"/>
              </a:spcAft>
              <a:buClrTx/>
              <a:buSzTx/>
              <a:buFontTx/>
              <a:buNone/>
              <a:tabLst/>
              <a:defRPr/>
            </a:pPr>
            <a:r>
              <a:rPr kumimoji="0" sz="1100" b="0" i="0" u="none" strike="noStrike" kern="0" cap="none" spc="0" normalizeH="0" baseline="0" noProof="0">
                <a:ln>
                  <a:noFill/>
                </a:ln>
                <a:solidFill>
                  <a:prstClr val="black">
                    <a:lumMod val="50000"/>
                    <a:lumOff val="50000"/>
                  </a:prstClr>
                </a:solidFill>
                <a:effectLst/>
                <a:uLnTx/>
                <a:uFillTx/>
                <a:latin typeface="HarmonyOS Sans SC"/>
                <a:ea typeface="+mn-ea"/>
                <a:sym typeface="Barlow Medium"/>
              </a:rPr>
              <a:t>This is a sample text. Insert your description here.</a:t>
            </a:r>
          </a:p>
        </p:txBody>
      </p:sp>
      <p:sp>
        <p:nvSpPr>
          <p:cNvPr id="54" name="This is a sample text.">
            <a:extLst>
              <a:ext uri="{FF2B5EF4-FFF2-40B4-BE49-F238E27FC236}">
                <a16:creationId xmlns:a16="http://schemas.microsoft.com/office/drawing/2014/main" id="{9C7691FC-7AC3-48C9-BA73-FD244F9D10EB}"/>
              </a:ext>
            </a:extLst>
          </p:cNvPr>
          <p:cNvSpPr/>
          <p:nvPr/>
        </p:nvSpPr>
        <p:spPr>
          <a:xfrm>
            <a:off x="6399673" y="3538361"/>
            <a:ext cx="1581659" cy="220573"/>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5400" tIns="25400" rIns="25400" bIns="25400" numCol="1" anchor="t">
            <a:spAutoFit/>
          </a:bodyPr>
          <a:lstStyle>
            <a:lvl1pPr algn="l">
              <a:defRPr sz="2500" b="0">
                <a:solidFill>
                  <a:srgbClr val="545453"/>
                </a:solidFill>
                <a:latin typeface="Barlow SemiBold"/>
                <a:ea typeface="Barlow SemiBold"/>
                <a:cs typeface="Barlow SemiBold"/>
                <a:sym typeface="Barlow SemiBold"/>
              </a:defRPr>
            </a:lvl1pPr>
          </a:lstStyle>
          <a:p>
            <a:pPr marL="0" marR="0" lvl="0" indent="0" algn="l" defTabSz="412750" rtl="0" eaLnBrk="1" fontAlgn="auto" latinLnBrk="0" hangingPunct="0">
              <a:lnSpc>
                <a:spcPct val="100000"/>
              </a:lnSpc>
              <a:spcBef>
                <a:spcPts val="0"/>
              </a:spcBef>
              <a:spcAft>
                <a:spcPts val="0"/>
              </a:spcAft>
              <a:buClrTx/>
              <a:buSzTx/>
              <a:buFontTx/>
              <a:buNone/>
              <a:tabLst/>
              <a:defRPr/>
            </a:pPr>
            <a:r>
              <a:rPr kumimoji="0" sz="1100" b="0" i="0" u="none" strike="noStrike" kern="0" cap="none" spc="0" normalizeH="0" baseline="0" noProof="0">
                <a:ln>
                  <a:noFill/>
                </a:ln>
                <a:solidFill>
                  <a:prstClr val="black">
                    <a:lumMod val="75000"/>
                    <a:lumOff val="25000"/>
                  </a:prstClr>
                </a:solidFill>
                <a:effectLst/>
                <a:uLnTx/>
                <a:uFillTx/>
                <a:latin typeface="HarmonyOS Sans SC Black"/>
                <a:ea typeface="+mj-ea"/>
                <a:sym typeface="Barlow SemiBold"/>
              </a:rPr>
              <a:t>This is a sample text.</a:t>
            </a:r>
          </a:p>
        </p:txBody>
      </p:sp>
      <p:sp>
        <p:nvSpPr>
          <p:cNvPr id="55" name="This is a sample text. Insert your description here.">
            <a:extLst>
              <a:ext uri="{FF2B5EF4-FFF2-40B4-BE49-F238E27FC236}">
                <a16:creationId xmlns:a16="http://schemas.microsoft.com/office/drawing/2014/main" id="{2A598578-E17D-4C85-9DAF-46FEA709DE6F}"/>
              </a:ext>
            </a:extLst>
          </p:cNvPr>
          <p:cNvSpPr/>
          <p:nvPr/>
        </p:nvSpPr>
        <p:spPr>
          <a:xfrm>
            <a:off x="8379261" y="3832307"/>
            <a:ext cx="1410158" cy="559127"/>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5400" tIns="25400" rIns="25400" bIns="25400" numCol="1" anchor="t">
            <a:spAutoFit/>
          </a:bodyPr>
          <a:lstStyle>
            <a:lvl1pPr algn="l">
              <a:defRPr sz="2500" b="0">
                <a:solidFill>
                  <a:srgbClr val="9E9F9E"/>
                </a:solidFill>
                <a:latin typeface="Barlow Medium"/>
                <a:ea typeface="Barlow Medium"/>
                <a:cs typeface="Barlow Medium"/>
                <a:sym typeface="Barlow Medium"/>
              </a:defRPr>
            </a:lvl1pPr>
          </a:lstStyle>
          <a:p>
            <a:pPr marL="0" marR="0" lvl="0" indent="0" algn="l" defTabSz="412750" rtl="0" eaLnBrk="1" fontAlgn="auto" latinLnBrk="0" hangingPunct="0">
              <a:lnSpc>
                <a:spcPct val="100000"/>
              </a:lnSpc>
              <a:spcBef>
                <a:spcPts val="0"/>
              </a:spcBef>
              <a:spcAft>
                <a:spcPts val="0"/>
              </a:spcAft>
              <a:buClrTx/>
              <a:buSzTx/>
              <a:buFontTx/>
              <a:buNone/>
              <a:tabLst/>
              <a:defRPr/>
            </a:pPr>
            <a:r>
              <a:rPr kumimoji="0" sz="1100" b="0" i="0" u="none" strike="noStrike" kern="0" cap="none" spc="0" normalizeH="0" baseline="0" noProof="0">
                <a:ln>
                  <a:noFill/>
                </a:ln>
                <a:solidFill>
                  <a:prstClr val="black">
                    <a:lumMod val="50000"/>
                    <a:lumOff val="50000"/>
                  </a:prstClr>
                </a:solidFill>
                <a:effectLst/>
                <a:uLnTx/>
                <a:uFillTx/>
                <a:latin typeface="HarmonyOS Sans SC"/>
                <a:ea typeface="+mn-ea"/>
                <a:sym typeface="Barlow Medium"/>
              </a:rPr>
              <a:t>This is a sample text. Insert your description here.</a:t>
            </a:r>
          </a:p>
        </p:txBody>
      </p:sp>
      <p:sp>
        <p:nvSpPr>
          <p:cNvPr id="56" name="This is a sample text.">
            <a:extLst>
              <a:ext uri="{FF2B5EF4-FFF2-40B4-BE49-F238E27FC236}">
                <a16:creationId xmlns:a16="http://schemas.microsoft.com/office/drawing/2014/main" id="{39EEF602-C711-481D-B1FA-3D83410C024E}"/>
              </a:ext>
            </a:extLst>
          </p:cNvPr>
          <p:cNvSpPr/>
          <p:nvPr/>
        </p:nvSpPr>
        <p:spPr>
          <a:xfrm>
            <a:off x="8381981" y="3538361"/>
            <a:ext cx="1581659" cy="220573"/>
          </a:xfrm>
          <a:custGeom>
            <a:avLst/>
            <a:gdLst/>
            <a:ahLst/>
            <a:cxnLst>
              <a:cxn ang="0">
                <a:pos x="wd2" y="hd2"/>
              </a:cxn>
              <a:cxn ang="5400000">
                <a:pos x="wd2" y="hd2"/>
              </a:cxn>
              <a:cxn ang="10800000">
                <a:pos x="wd2" y="hd2"/>
              </a:cxn>
              <a:cxn ang="16200000">
                <a:pos x="wd2" y="hd2"/>
              </a:cxn>
            </a:cxnLst>
            <a:rect l="0" t="0" r="r" b="b"/>
            <a:pathLst>
              <a:path w="21600" extrusionOk="0">
                <a:moveTo>
                  <a:pt x="0" y="0"/>
                </a:moveTo>
                <a:lnTo>
                  <a:pt x="21600" y="0"/>
                </a:lnTo>
                <a:lnTo>
                  <a:pt x="21600" y="0"/>
                </a:lnTo>
                <a:lnTo>
                  <a:pt x="0" y="0"/>
                </a:lnTo>
                <a:close/>
              </a:path>
            </a:pathLst>
          </a:cu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5400" tIns="25400" rIns="25400" bIns="25400" numCol="1" anchor="t">
            <a:spAutoFit/>
          </a:bodyPr>
          <a:lstStyle>
            <a:lvl1pPr algn="l">
              <a:defRPr sz="2500" b="0">
                <a:solidFill>
                  <a:srgbClr val="545453"/>
                </a:solidFill>
                <a:latin typeface="Barlow SemiBold"/>
                <a:ea typeface="Barlow SemiBold"/>
                <a:cs typeface="Barlow SemiBold"/>
                <a:sym typeface="Barlow SemiBold"/>
              </a:defRPr>
            </a:lvl1pPr>
          </a:lstStyle>
          <a:p>
            <a:pPr marL="0" marR="0" lvl="0" indent="0" algn="l" defTabSz="412750" rtl="0" eaLnBrk="1" fontAlgn="auto" latinLnBrk="0" hangingPunct="0">
              <a:lnSpc>
                <a:spcPct val="100000"/>
              </a:lnSpc>
              <a:spcBef>
                <a:spcPts val="0"/>
              </a:spcBef>
              <a:spcAft>
                <a:spcPts val="0"/>
              </a:spcAft>
              <a:buClrTx/>
              <a:buSzTx/>
              <a:buFontTx/>
              <a:buNone/>
              <a:tabLst/>
              <a:defRPr/>
            </a:pPr>
            <a:r>
              <a:rPr kumimoji="0" sz="1100" b="0" i="0" u="none" strike="noStrike" kern="0" cap="none" spc="0" normalizeH="0" baseline="0" noProof="0">
                <a:ln>
                  <a:noFill/>
                </a:ln>
                <a:solidFill>
                  <a:prstClr val="black">
                    <a:lumMod val="75000"/>
                    <a:lumOff val="25000"/>
                  </a:prstClr>
                </a:solidFill>
                <a:effectLst/>
                <a:uLnTx/>
                <a:uFillTx/>
                <a:latin typeface="HarmonyOS Sans SC Black"/>
                <a:ea typeface="+mj-ea"/>
                <a:sym typeface="Barlow SemiBold"/>
              </a:rPr>
              <a:t>This is a sample text.</a:t>
            </a:r>
          </a:p>
        </p:txBody>
      </p:sp>
      <p:sp>
        <p:nvSpPr>
          <p:cNvPr id="57" name="Step 01">
            <a:extLst>
              <a:ext uri="{FF2B5EF4-FFF2-40B4-BE49-F238E27FC236}">
                <a16:creationId xmlns:a16="http://schemas.microsoft.com/office/drawing/2014/main" id="{D031EBD6-1B4A-4076-B129-B03E16FD1C3D}"/>
              </a:ext>
            </a:extLst>
          </p:cNvPr>
          <p:cNvSpPr txBox="1"/>
          <p:nvPr/>
        </p:nvSpPr>
        <p:spPr>
          <a:xfrm>
            <a:off x="1803142" y="1473182"/>
            <a:ext cx="772013" cy="24365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25400" tIns="25400" rIns="25400" bIns="25400">
            <a:spAutoFit/>
          </a:bodyPr>
          <a:lstStyle>
            <a:lvl1pPr algn="l">
              <a:defRPr sz="2500" b="0">
                <a:solidFill>
                  <a:srgbClr val="545453"/>
                </a:solidFill>
                <a:latin typeface="Barlow SemiBold"/>
                <a:ea typeface="Barlow SemiBold"/>
                <a:cs typeface="Barlow SemiBold"/>
                <a:sym typeface="Barlow SemiBold"/>
              </a:defRPr>
            </a:lvl1pPr>
          </a:lstStyle>
          <a:p>
            <a:pPr marL="0" marR="0" lvl="0" indent="0" algn="l" defTabSz="412750" rtl="0" eaLnBrk="1" fontAlgn="auto" latinLnBrk="0" hangingPunct="0">
              <a:lnSpc>
                <a:spcPct val="100000"/>
              </a:lnSpc>
              <a:spcBef>
                <a:spcPts val="0"/>
              </a:spcBef>
              <a:spcAft>
                <a:spcPts val="0"/>
              </a:spcAft>
              <a:buClrTx/>
              <a:buSzTx/>
              <a:buFontTx/>
              <a:buNone/>
              <a:tabLst/>
              <a:defRPr/>
            </a:pPr>
            <a:r>
              <a:rPr kumimoji="0" sz="1250" b="0" i="0" u="none" strike="noStrike" kern="0" cap="none" spc="0" normalizeH="0" baseline="0" noProof="0" dirty="0">
                <a:ln>
                  <a:noFill/>
                </a:ln>
                <a:solidFill>
                  <a:schemeClr val="accent1"/>
                </a:solidFill>
                <a:effectLst/>
                <a:uLnTx/>
                <a:uFillTx/>
                <a:latin typeface="HarmonyOS Sans SC Black"/>
                <a:ea typeface="+mj-ea"/>
                <a:sym typeface="Barlow SemiBold"/>
              </a:rPr>
              <a:t>Step 01</a:t>
            </a:r>
          </a:p>
        </p:txBody>
      </p:sp>
      <p:sp>
        <p:nvSpPr>
          <p:cNvPr id="58" name="Step 02">
            <a:extLst>
              <a:ext uri="{FF2B5EF4-FFF2-40B4-BE49-F238E27FC236}">
                <a16:creationId xmlns:a16="http://schemas.microsoft.com/office/drawing/2014/main" id="{8F39D803-2077-4A67-A1AD-5F4B7DB1DFDA}"/>
              </a:ext>
            </a:extLst>
          </p:cNvPr>
          <p:cNvSpPr txBox="1"/>
          <p:nvPr/>
        </p:nvSpPr>
        <p:spPr>
          <a:xfrm>
            <a:off x="3761276" y="1473182"/>
            <a:ext cx="772012" cy="24365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25400" tIns="25400" rIns="25400" bIns="25400">
            <a:spAutoFit/>
          </a:bodyPr>
          <a:lstStyle>
            <a:lvl1pPr algn="l">
              <a:defRPr sz="2500" b="0">
                <a:solidFill>
                  <a:srgbClr val="545453"/>
                </a:solidFill>
                <a:latin typeface="Barlow SemiBold"/>
                <a:ea typeface="Barlow SemiBold"/>
                <a:cs typeface="Barlow SemiBold"/>
                <a:sym typeface="Barlow SemiBold"/>
              </a:defRPr>
            </a:lvl1pPr>
          </a:lstStyle>
          <a:p>
            <a:pPr marL="0" marR="0" lvl="0" indent="0" algn="l" defTabSz="412750" rtl="0" eaLnBrk="1" fontAlgn="auto" latinLnBrk="0" hangingPunct="0">
              <a:lnSpc>
                <a:spcPct val="100000"/>
              </a:lnSpc>
              <a:spcBef>
                <a:spcPts val="0"/>
              </a:spcBef>
              <a:spcAft>
                <a:spcPts val="0"/>
              </a:spcAft>
              <a:buClrTx/>
              <a:buSzTx/>
              <a:buFontTx/>
              <a:buNone/>
              <a:tabLst/>
              <a:defRPr/>
            </a:pPr>
            <a:r>
              <a:rPr kumimoji="0" sz="1250" b="0" i="0" u="none" strike="noStrike" kern="0" cap="none" spc="0" normalizeH="0" baseline="0" noProof="0">
                <a:ln>
                  <a:noFill/>
                </a:ln>
                <a:solidFill>
                  <a:schemeClr val="accent1"/>
                </a:solidFill>
                <a:effectLst/>
                <a:uLnTx/>
                <a:uFillTx/>
                <a:latin typeface="HarmonyOS Sans SC Black"/>
                <a:ea typeface="+mj-ea"/>
                <a:sym typeface="Barlow SemiBold"/>
              </a:rPr>
              <a:t>Step 02</a:t>
            </a:r>
          </a:p>
        </p:txBody>
      </p:sp>
      <p:sp>
        <p:nvSpPr>
          <p:cNvPr id="59" name="Step 03">
            <a:extLst>
              <a:ext uri="{FF2B5EF4-FFF2-40B4-BE49-F238E27FC236}">
                <a16:creationId xmlns:a16="http://schemas.microsoft.com/office/drawing/2014/main" id="{BB2A02DE-4CC1-4DD4-A41F-B0934D0A16E5}"/>
              </a:ext>
            </a:extLst>
          </p:cNvPr>
          <p:cNvSpPr txBox="1"/>
          <p:nvPr/>
        </p:nvSpPr>
        <p:spPr>
          <a:xfrm>
            <a:off x="5749148" y="1473182"/>
            <a:ext cx="772013" cy="24365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25400" tIns="25400" rIns="25400" bIns="25400">
            <a:spAutoFit/>
          </a:bodyPr>
          <a:lstStyle>
            <a:lvl1pPr algn="l">
              <a:defRPr sz="2500" b="0">
                <a:solidFill>
                  <a:srgbClr val="545453"/>
                </a:solidFill>
                <a:latin typeface="Barlow SemiBold"/>
                <a:ea typeface="Barlow SemiBold"/>
                <a:cs typeface="Barlow SemiBold"/>
                <a:sym typeface="Barlow SemiBold"/>
              </a:defRPr>
            </a:lvl1pPr>
          </a:lstStyle>
          <a:p>
            <a:pPr marL="0" marR="0" lvl="0" indent="0" algn="l" defTabSz="412750" rtl="0" eaLnBrk="1" fontAlgn="auto" latinLnBrk="0" hangingPunct="0">
              <a:lnSpc>
                <a:spcPct val="100000"/>
              </a:lnSpc>
              <a:spcBef>
                <a:spcPts val="0"/>
              </a:spcBef>
              <a:spcAft>
                <a:spcPts val="0"/>
              </a:spcAft>
              <a:buClrTx/>
              <a:buSzTx/>
              <a:buFontTx/>
              <a:buNone/>
              <a:tabLst/>
              <a:defRPr/>
            </a:pPr>
            <a:r>
              <a:rPr kumimoji="0" sz="1250" b="0" i="0" u="none" strike="noStrike" kern="0" cap="none" spc="0" normalizeH="0" baseline="0" noProof="0">
                <a:ln>
                  <a:noFill/>
                </a:ln>
                <a:solidFill>
                  <a:schemeClr val="accent1"/>
                </a:solidFill>
                <a:effectLst/>
                <a:uLnTx/>
                <a:uFillTx/>
                <a:latin typeface="HarmonyOS Sans SC Black"/>
                <a:ea typeface="+mj-ea"/>
                <a:sym typeface="Barlow SemiBold"/>
              </a:rPr>
              <a:t>Step 03</a:t>
            </a:r>
          </a:p>
        </p:txBody>
      </p:sp>
      <p:sp>
        <p:nvSpPr>
          <p:cNvPr id="60" name="Step 04">
            <a:extLst>
              <a:ext uri="{FF2B5EF4-FFF2-40B4-BE49-F238E27FC236}">
                <a16:creationId xmlns:a16="http://schemas.microsoft.com/office/drawing/2014/main" id="{B110DD3F-CEA9-44F5-B2AE-B18011ED4941}"/>
              </a:ext>
            </a:extLst>
          </p:cNvPr>
          <p:cNvSpPr txBox="1"/>
          <p:nvPr/>
        </p:nvSpPr>
        <p:spPr>
          <a:xfrm>
            <a:off x="7701086" y="1473182"/>
            <a:ext cx="772012" cy="24365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25400" tIns="25400" rIns="25400" bIns="25400">
            <a:spAutoFit/>
          </a:bodyPr>
          <a:lstStyle>
            <a:lvl1pPr algn="l">
              <a:defRPr sz="2500" b="0">
                <a:solidFill>
                  <a:srgbClr val="545453"/>
                </a:solidFill>
                <a:latin typeface="Barlow SemiBold"/>
                <a:ea typeface="Barlow SemiBold"/>
                <a:cs typeface="Barlow SemiBold"/>
                <a:sym typeface="Barlow SemiBold"/>
              </a:defRPr>
            </a:lvl1pPr>
          </a:lstStyle>
          <a:p>
            <a:pPr marL="0" marR="0" lvl="0" indent="0" algn="l" defTabSz="412750" rtl="0" eaLnBrk="1" fontAlgn="auto" latinLnBrk="0" hangingPunct="0">
              <a:lnSpc>
                <a:spcPct val="100000"/>
              </a:lnSpc>
              <a:spcBef>
                <a:spcPts val="0"/>
              </a:spcBef>
              <a:spcAft>
                <a:spcPts val="0"/>
              </a:spcAft>
              <a:buClrTx/>
              <a:buSzTx/>
              <a:buFontTx/>
              <a:buNone/>
              <a:tabLst/>
              <a:defRPr/>
            </a:pPr>
            <a:r>
              <a:rPr kumimoji="0" sz="1250" b="0" i="0" u="none" strike="noStrike" kern="0" cap="none" spc="0" normalizeH="0" baseline="0" noProof="0">
                <a:ln>
                  <a:noFill/>
                </a:ln>
                <a:solidFill>
                  <a:schemeClr val="accent1"/>
                </a:solidFill>
                <a:effectLst/>
                <a:uLnTx/>
                <a:uFillTx/>
                <a:latin typeface="HarmonyOS Sans SC Black"/>
                <a:ea typeface="+mj-ea"/>
                <a:sym typeface="Barlow SemiBold"/>
              </a:rPr>
              <a:t>Step 04</a:t>
            </a:r>
          </a:p>
        </p:txBody>
      </p:sp>
      <p:sp>
        <p:nvSpPr>
          <p:cNvPr id="61" name="Results">
            <a:extLst>
              <a:ext uri="{FF2B5EF4-FFF2-40B4-BE49-F238E27FC236}">
                <a16:creationId xmlns:a16="http://schemas.microsoft.com/office/drawing/2014/main" id="{E042AB16-6E49-4902-9A30-24791D4BA985}"/>
              </a:ext>
            </a:extLst>
          </p:cNvPr>
          <p:cNvSpPr txBox="1"/>
          <p:nvPr/>
        </p:nvSpPr>
        <p:spPr>
          <a:xfrm>
            <a:off x="9675336" y="1473182"/>
            <a:ext cx="772012" cy="24365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25400" tIns="25400" rIns="25400" bIns="25400">
            <a:spAutoFit/>
          </a:bodyPr>
          <a:lstStyle>
            <a:lvl1pPr algn="l">
              <a:defRPr sz="2500" b="0">
                <a:solidFill>
                  <a:srgbClr val="545453"/>
                </a:solidFill>
                <a:latin typeface="Barlow SemiBold"/>
                <a:ea typeface="Barlow SemiBold"/>
                <a:cs typeface="Barlow SemiBold"/>
                <a:sym typeface="Barlow SemiBold"/>
              </a:defRPr>
            </a:lvl1pPr>
          </a:lstStyle>
          <a:p>
            <a:pPr marL="0" marR="0" lvl="0" indent="0" algn="l" defTabSz="412750" rtl="0" eaLnBrk="1" fontAlgn="auto" latinLnBrk="0" hangingPunct="0">
              <a:lnSpc>
                <a:spcPct val="100000"/>
              </a:lnSpc>
              <a:spcBef>
                <a:spcPts val="0"/>
              </a:spcBef>
              <a:spcAft>
                <a:spcPts val="0"/>
              </a:spcAft>
              <a:buClrTx/>
              <a:buSzTx/>
              <a:buFontTx/>
              <a:buNone/>
              <a:tabLst/>
              <a:defRPr/>
            </a:pPr>
            <a:r>
              <a:rPr kumimoji="0" sz="1250" b="0" i="0" u="none" strike="noStrike" kern="0" cap="none" spc="0" normalizeH="0" baseline="0" noProof="0" dirty="0">
                <a:ln>
                  <a:noFill/>
                </a:ln>
                <a:solidFill>
                  <a:schemeClr val="accent1"/>
                </a:solidFill>
                <a:effectLst/>
                <a:uLnTx/>
                <a:uFillTx/>
                <a:latin typeface="HarmonyOS Sans SC Black"/>
                <a:ea typeface="+mj-ea"/>
                <a:sym typeface="Barlow SemiBold"/>
              </a:rPr>
              <a:t>Results</a:t>
            </a:r>
          </a:p>
        </p:txBody>
      </p:sp>
      <p:sp>
        <p:nvSpPr>
          <p:cNvPr id="62" name="#">
            <a:extLst>
              <a:ext uri="{FF2B5EF4-FFF2-40B4-BE49-F238E27FC236}">
                <a16:creationId xmlns:a16="http://schemas.microsoft.com/office/drawing/2014/main" id="{0801FA76-0047-4049-8077-D311239A250E}"/>
              </a:ext>
            </a:extLst>
          </p:cNvPr>
          <p:cNvSpPr txBox="1"/>
          <p:nvPr/>
        </p:nvSpPr>
        <p:spPr>
          <a:xfrm>
            <a:off x="931789" y="1473182"/>
            <a:ext cx="291943" cy="24365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25400" tIns="25400" rIns="25400" bIns="25400">
            <a:spAutoFit/>
          </a:bodyPr>
          <a:lstStyle>
            <a:lvl1pPr algn="l">
              <a:defRPr sz="2500" b="0">
                <a:solidFill>
                  <a:srgbClr val="545453"/>
                </a:solidFill>
                <a:latin typeface="Barlow SemiBold"/>
                <a:ea typeface="Barlow SemiBold"/>
                <a:cs typeface="Barlow SemiBold"/>
                <a:sym typeface="Barlow SemiBold"/>
              </a:defRPr>
            </a:lvl1pPr>
          </a:lstStyle>
          <a:p>
            <a:pPr marL="0" marR="0" lvl="0" indent="0" algn="l" defTabSz="412750" rtl="0" eaLnBrk="1" fontAlgn="auto" latinLnBrk="0" hangingPunct="0">
              <a:lnSpc>
                <a:spcPct val="100000"/>
              </a:lnSpc>
              <a:spcBef>
                <a:spcPts val="0"/>
              </a:spcBef>
              <a:spcAft>
                <a:spcPts val="0"/>
              </a:spcAft>
              <a:buClrTx/>
              <a:buSzTx/>
              <a:buFontTx/>
              <a:buNone/>
              <a:tabLst/>
              <a:defRPr/>
            </a:pPr>
            <a:r>
              <a:rPr kumimoji="0" sz="1250" b="0" i="0" u="none" strike="noStrike" kern="0" cap="none" spc="0" normalizeH="0" baseline="0" noProof="0" dirty="0">
                <a:ln>
                  <a:noFill/>
                </a:ln>
                <a:solidFill>
                  <a:prstClr val="white"/>
                </a:solidFill>
                <a:effectLst/>
                <a:uLnTx/>
                <a:uFillTx/>
                <a:latin typeface="HarmonyOS Sans SC"/>
                <a:ea typeface="+mn-ea"/>
                <a:sym typeface="Barlow SemiBold"/>
              </a:rPr>
              <a:t>#</a:t>
            </a:r>
          </a:p>
        </p:txBody>
      </p:sp>
    </p:spTree>
    <p:extLst>
      <p:ext uri="{BB962C8B-B14F-4D97-AF65-F5344CB8AC3E}">
        <p14:creationId xmlns:p14="http://schemas.microsoft.com/office/powerpoint/2010/main" val="1079307101"/>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9" name="组合 28">
            <a:extLst>
              <a:ext uri="{FF2B5EF4-FFF2-40B4-BE49-F238E27FC236}">
                <a16:creationId xmlns:a16="http://schemas.microsoft.com/office/drawing/2014/main" id="{C885F245-96EB-41ED-86DC-A01CD3CD2575}"/>
              </a:ext>
            </a:extLst>
          </p:cNvPr>
          <p:cNvGrpSpPr/>
          <p:nvPr/>
        </p:nvGrpSpPr>
        <p:grpSpPr>
          <a:xfrm>
            <a:off x="1093004" y="2342487"/>
            <a:ext cx="2003227" cy="2003225"/>
            <a:chOff x="695325" y="1823604"/>
            <a:chExt cx="3210791" cy="3210791"/>
          </a:xfrm>
        </p:grpSpPr>
        <p:sp>
          <p:nvSpPr>
            <p:cNvPr id="2" name="矩形 1">
              <a:extLst>
                <a:ext uri="{FF2B5EF4-FFF2-40B4-BE49-F238E27FC236}">
                  <a16:creationId xmlns:a16="http://schemas.microsoft.com/office/drawing/2014/main" id="{F5192BDE-5D25-41A5-93AC-AF0761462BF1}"/>
                </a:ext>
              </a:extLst>
            </p:cNvPr>
            <p:cNvSpPr/>
            <p:nvPr/>
          </p:nvSpPr>
          <p:spPr>
            <a:xfrm>
              <a:off x="695325" y="1823604"/>
              <a:ext cx="3210791" cy="3210791"/>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p>
          </p:txBody>
        </p:sp>
        <p:sp>
          <p:nvSpPr>
            <p:cNvPr id="18" name="任意多边形: 形状 17">
              <a:extLst>
                <a:ext uri="{FF2B5EF4-FFF2-40B4-BE49-F238E27FC236}">
                  <a16:creationId xmlns:a16="http://schemas.microsoft.com/office/drawing/2014/main" id="{5A335F72-81F3-4630-8839-D2F3B4AE4BDE}"/>
                </a:ext>
              </a:extLst>
            </p:cNvPr>
            <p:cNvSpPr/>
            <p:nvPr/>
          </p:nvSpPr>
          <p:spPr>
            <a:xfrm>
              <a:off x="1634807" y="2818245"/>
              <a:ext cx="1331826" cy="1221507"/>
            </a:xfrm>
            <a:custGeom>
              <a:avLst/>
              <a:gdLst>
                <a:gd name="connsiteX0" fmla="*/ 1006264 w 1331826"/>
                <a:gd name="connsiteY0" fmla="*/ 238125 h 1221507"/>
                <a:gd name="connsiteX1" fmla="*/ 1123466 w 1331826"/>
                <a:gd name="connsiteY1" fmla="*/ 355327 h 1221507"/>
                <a:gd name="connsiteX2" fmla="*/ 1006264 w 1331826"/>
                <a:gd name="connsiteY2" fmla="*/ 472529 h 1221507"/>
                <a:gd name="connsiteX3" fmla="*/ 889062 w 1331826"/>
                <a:gd name="connsiteY3" fmla="*/ 355327 h 1221507"/>
                <a:gd name="connsiteX4" fmla="*/ 1006264 w 1331826"/>
                <a:gd name="connsiteY4" fmla="*/ 238125 h 1221507"/>
                <a:gd name="connsiteX5" fmla="*/ 172827 w 1331826"/>
                <a:gd name="connsiteY5" fmla="*/ 104180 h 1221507"/>
                <a:gd name="connsiteX6" fmla="*/ 105482 w 1331826"/>
                <a:gd name="connsiteY6" fmla="*/ 171152 h 1221507"/>
                <a:gd name="connsiteX7" fmla="*/ 105482 w 1331826"/>
                <a:gd name="connsiteY7" fmla="*/ 726281 h 1221507"/>
                <a:gd name="connsiteX8" fmla="*/ 179152 w 1331826"/>
                <a:gd name="connsiteY8" fmla="*/ 599777 h 1221507"/>
                <a:gd name="connsiteX9" fmla="*/ 303795 w 1331826"/>
                <a:gd name="connsiteY9" fmla="*/ 490761 h 1221507"/>
                <a:gd name="connsiteX10" fmla="*/ 414300 w 1331826"/>
                <a:gd name="connsiteY10" fmla="*/ 507504 h 1221507"/>
                <a:gd name="connsiteX11" fmla="*/ 731676 w 1331826"/>
                <a:gd name="connsiteY11" fmla="*/ 856878 h 1221507"/>
                <a:gd name="connsiteX12" fmla="*/ 780790 w 1331826"/>
                <a:gd name="connsiteY12" fmla="*/ 791022 h 1221507"/>
                <a:gd name="connsiteX13" fmla="*/ 988777 w 1331826"/>
                <a:gd name="connsiteY13" fmla="*/ 633264 h 1221507"/>
                <a:gd name="connsiteX14" fmla="*/ 1093329 w 1331826"/>
                <a:gd name="connsiteY14" fmla="*/ 666006 h 1221507"/>
                <a:gd name="connsiteX15" fmla="*/ 1227646 w 1331826"/>
                <a:gd name="connsiteY15" fmla="*/ 821159 h 1221507"/>
                <a:gd name="connsiteX16" fmla="*/ 1227646 w 1331826"/>
                <a:gd name="connsiteY16" fmla="*/ 171152 h 1221507"/>
                <a:gd name="connsiteX17" fmla="*/ 1160673 w 1331826"/>
                <a:gd name="connsiteY17" fmla="*/ 104180 h 1221507"/>
                <a:gd name="connsiteX18" fmla="*/ 172827 w 1331826"/>
                <a:gd name="connsiteY18" fmla="*/ 0 h 1221507"/>
                <a:gd name="connsiteX19" fmla="*/ 1160673 w 1331826"/>
                <a:gd name="connsiteY19" fmla="*/ 0 h 1221507"/>
                <a:gd name="connsiteX20" fmla="*/ 1331826 w 1331826"/>
                <a:gd name="connsiteY20" fmla="*/ 171152 h 1221507"/>
                <a:gd name="connsiteX21" fmla="*/ 1331826 w 1331826"/>
                <a:gd name="connsiteY21" fmla="*/ 1050355 h 1221507"/>
                <a:gd name="connsiteX22" fmla="*/ 1160673 w 1331826"/>
                <a:gd name="connsiteY22" fmla="*/ 1221507 h 1221507"/>
                <a:gd name="connsiteX23" fmla="*/ 172827 w 1331826"/>
                <a:gd name="connsiteY23" fmla="*/ 1221507 h 1221507"/>
                <a:gd name="connsiteX24" fmla="*/ 1674 w 1331826"/>
                <a:gd name="connsiteY24" fmla="*/ 1050355 h 1221507"/>
                <a:gd name="connsiteX25" fmla="*/ 1674 w 1331826"/>
                <a:gd name="connsiteY25" fmla="*/ 1006450 h 1221507"/>
                <a:gd name="connsiteX26" fmla="*/ 1674 w 1331826"/>
                <a:gd name="connsiteY26" fmla="*/ 980405 h 1221507"/>
                <a:gd name="connsiteX27" fmla="*/ 1674 w 1331826"/>
                <a:gd name="connsiteY27" fmla="*/ 171152 h 1221507"/>
                <a:gd name="connsiteX28" fmla="*/ 172827 w 1331826"/>
                <a:gd name="connsiteY28" fmla="*/ 0 h 1221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31826" h="1221507">
                  <a:moveTo>
                    <a:pt x="1006264" y="238125"/>
                  </a:moveTo>
                  <a:cubicBezTo>
                    <a:pt x="1070993" y="238125"/>
                    <a:pt x="1123466" y="290598"/>
                    <a:pt x="1123466" y="355327"/>
                  </a:cubicBezTo>
                  <a:cubicBezTo>
                    <a:pt x="1123466" y="420056"/>
                    <a:pt x="1070993" y="472529"/>
                    <a:pt x="1006264" y="472529"/>
                  </a:cubicBezTo>
                  <a:cubicBezTo>
                    <a:pt x="941535" y="472529"/>
                    <a:pt x="889062" y="420056"/>
                    <a:pt x="889062" y="355327"/>
                  </a:cubicBezTo>
                  <a:cubicBezTo>
                    <a:pt x="889062" y="290598"/>
                    <a:pt x="941535" y="238125"/>
                    <a:pt x="1006264" y="238125"/>
                  </a:cubicBezTo>
                  <a:close/>
                  <a:moveTo>
                    <a:pt x="172827" y="104180"/>
                  </a:moveTo>
                  <a:cubicBezTo>
                    <a:pt x="135620" y="104180"/>
                    <a:pt x="105854" y="133945"/>
                    <a:pt x="105482" y="171152"/>
                  </a:cubicBezTo>
                  <a:lnTo>
                    <a:pt x="105482" y="726281"/>
                  </a:lnTo>
                  <a:cubicBezTo>
                    <a:pt x="130411" y="676424"/>
                    <a:pt x="154967" y="634008"/>
                    <a:pt x="179152" y="599777"/>
                  </a:cubicBezTo>
                  <a:cubicBezTo>
                    <a:pt x="220824" y="540246"/>
                    <a:pt x="261751" y="504527"/>
                    <a:pt x="303795" y="490761"/>
                  </a:cubicBezTo>
                  <a:cubicBezTo>
                    <a:pt x="342491" y="478110"/>
                    <a:pt x="380442" y="483691"/>
                    <a:pt x="414300" y="507504"/>
                  </a:cubicBezTo>
                  <a:cubicBezTo>
                    <a:pt x="528526" y="587871"/>
                    <a:pt x="663215" y="762372"/>
                    <a:pt x="731676" y="856878"/>
                  </a:cubicBezTo>
                  <a:cubicBezTo>
                    <a:pt x="745443" y="837158"/>
                    <a:pt x="762186" y="814090"/>
                    <a:pt x="780790" y="791022"/>
                  </a:cubicBezTo>
                  <a:cubicBezTo>
                    <a:pt x="858552" y="693911"/>
                    <a:pt x="926641" y="642193"/>
                    <a:pt x="988777" y="633264"/>
                  </a:cubicBezTo>
                  <a:cubicBezTo>
                    <a:pt x="1028216" y="627683"/>
                    <a:pt x="1064307" y="638845"/>
                    <a:pt x="1093329" y="666006"/>
                  </a:cubicBezTo>
                  <a:cubicBezTo>
                    <a:pt x="1142070" y="711398"/>
                    <a:pt x="1188951" y="768697"/>
                    <a:pt x="1227646" y="821159"/>
                  </a:cubicBezTo>
                  <a:lnTo>
                    <a:pt x="1227646" y="171152"/>
                  </a:lnTo>
                  <a:cubicBezTo>
                    <a:pt x="1227646" y="134317"/>
                    <a:pt x="1197508" y="104180"/>
                    <a:pt x="1160673" y="104180"/>
                  </a:cubicBezTo>
                  <a:close/>
                  <a:moveTo>
                    <a:pt x="172827" y="0"/>
                  </a:moveTo>
                  <a:lnTo>
                    <a:pt x="1160673" y="0"/>
                  </a:lnTo>
                  <a:cubicBezTo>
                    <a:pt x="1255179" y="0"/>
                    <a:pt x="1331826" y="76646"/>
                    <a:pt x="1331826" y="171152"/>
                  </a:cubicBezTo>
                  <a:lnTo>
                    <a:pt x="1331826" y="1050355"/>
                  </a:lnTo>
                  <a:cubicBezTo>
                    <a:pt x="1331826" y="1144860"/>
                    <a:pt x="1255179" y="1221507"/>
                    <a:pt x="1160673" y="1221507"/>
                  </a:cubicBezTo>
                  <a:lnTo>
                    <a:pt x="172827" y="1221507"/>
                  </a:lnTo>
                  <a:cubicBezTo>
                    <a:pt x="78321" y="1221507"/>
                    <a:pt x="1674" y="1144860"/>
                    <a:pt x="1674" y="1050355"/>
                  </a:cubicBezTo>
                  <a:lnTo>
                    <a:pt x="1674" y="1006450"/>
                  </a:lnTo>
                  <a:cubicBezTo>
                    <a:pt x="-558" y="997893"/>
                    <a:pt x="-558" y="989335"/>
                    <a:pt x="1674" y="980405"/>
                  </a:cubicBezTo>
                  <a:lnTo>
                    <a:pt x="1674" y="171152"/>
                  </a:lnTo>
                  <a:cubicBezTo>
                    <a:pt x="1674" y="76646"/>
                    <a:pt x="78321" y="0"/>
                    <a:pt x="172827" y="0"/>
                  </a:cubicBezTo>
                  <a:close/>
                </a:path>
              </a:pathLst>
            </a:custGeom>
            <a:solidFill>
              <a:schemeClr val="bg1"/>
            </a:solidFill>
            <a:ln w="1860" cap="flat">
              <a:noFill/>
              <a:prstDash val="solid"/>
              <a:miter/>
            </a:ln>
          </p:spPr>
          <p:txBody>
            <a:bodyPr rtlCol="0" anchor="ctr"/>
            <a:lstStyle/>
            <a:p>
              <a:endParaRPr lang="zh-CN" altLang="en-US"/>
            </a:p>
          </p:txBody>
        </p:sp>
      </p:grpSp>
      <p:sp>
        <p:nvSpPr>
          <p:cNvPr id="19" name="文本框 18">
            <a:extLst>
              <a:ext uri="{FF2B5EF4-FFF2-40B4-BE49-F238E27FC236}">
                <a16:creationId xmlns:a16="http://schemas.microsoft.com/office/drawing/2014/main" id="{20830174-642F-4C55-8C3E-A6D31EE904D0}"/>
              </a:ext>
            </a:extLst>
          </p:cNvPr>
          <p:cNvSpPr txBox="1"/>
          <p:nvPr/>
        </p:nvSpPr>
        <p:spPr>
          <a:xfrm>
            <a:off x="4103651" y="2834612"/>
            <a:ext cx="6924973" cy="923330"/>
          </a:xfrm>
          <a:prstGeom prst="rect">
            <a:avLst/>
          </a:prstGeom>
          <a:noFill/>
        </p:spPr>
        <p:txBody>
          <a:bodyPr wrap="none" lIns="0" tIns="0" rIns="0" bIns="0" rtlCol="0" anchor="t">
            <a:spAutoFit/>
          </a:bodyPr>
          <a:lstStyle/>
          <a:p>
            <a:r>
              <a:rPr lang="zh-CN" altLang="en-US" sz="6000" dirty="0">
                <a:solidFill>
                  <a:schemeClr val="accent1">
                    <a:lumMod val="100000"/>
                  </a:schemeClr>
                </a:solidFill>
                <a:latin typeface="+mj-ea"/>
                <a:ea typeface="+mj-ea"/>
              </a:rPr>
              <a:t>输入你的封面大标题</a:t>
            </a:r>
          </a:p>
        </p:txBody>
      </p:sp>
      <p:sp>
        <p:nvSpPr>
          <p:cNvPr id="20" name="文本框 19">
            <a:extLst>
              <a:ext uri="{FF2B5EF4-FFF2-40B4-BE49-F238E27FC236}">
                <a16:creationId xmlns:a16="http://schemas.microsoft.com/office/drawing/2014/main" id="{A55169A1-55F3-45DC-B4F9-EF4E9470F210}"/>
              </a:ext>
            </a:extLst>
          </p:cNvPr>
          <p:cNvSpPr txBox="1"/>
          <p:nvPr/>
        </p:nvSpPr>
        <p:spPr>
          <a:xfrm>
            <a:off x="4103651" y="2342487"/>
            <a:ext cx="3000821" cy="276999"/>
          </a:xfrm>
          <a:prstGeom prst="rect">
            <a:avLst/>
          </a:prstGeom>
          <a:noFill/>
        </p:spPr>
        <p:txBody>
          <a:bodyPr wrap="none" lIns="0" tIns="0" rIns="0" bIns="0" rtlCol="0" anchor="t">
            <a:spAutoFit/>
          </a:bodyPr>
          <a:lstStyle/>
          <a:p>
            <a:pPr algn="ctr"/>
            <a:r>
              <a:rPr lang="zh-CN" altLang="en-US" dirty="0">
                <a:solidFill>
                  <a:schemeClr val="accent1">
                    <a:lumMod val="100000"/>
                  </a:schemeClr>
                </a:solidFill>
                <a:latin typeface="+mn-ea"/>
              </a:rPr>
              <a:t>输入你的副标题或大标题英文</a:t>
            </a:r>
          </a:p>
        </p:txBody>
      </p:sp>
      <p:cxnSp>
        <p:nvCxnSpPr>
          <p:cNvPr id="21" name="直接连接符 20">
            <a:extLst>
              <a:ext uri="{FF2B5EF4-FFF2-40B4-BE49-F238E27FC236}">
                <a16:creationId xmlns:a16="http://schemas.microsoft.com/office/drawing/2014/main" id="{7BB2F583-A319-478D-A6AD-819237AF5DAB}"/>
              </a:ext>
            </a:extLst>
          </p:cNvPr>
          <p:cNvCxnSpPr>
            <a:cxnSpLocks/>
          </p:cNvCxnSpPr>
          <p:nvPr/>
        </p:nvCxnSpPr>
        <p:spPr>
          <a:xfrm flipH="1">
            <a:off x="7210112" y="2464769"/>
            <a:ext cx="3672445" cy="0"/>
          </a:xfrm>
          <a:prstGeom prst="line">
            <a:avLst/>
          </a:prstGeom>
          <a:ln w="19050">
            <a:solidFill>
              <a:schemeClr val="accent1">
                <a:lumMod val="100000"/>
              </a:schemeClr>
            </a:solidFill>
          </a:ln>
        </p:spPr>
        <p:style>
          <a:lnRef idx="1">
            <a:schemeClr val="accent1"/>
          </a:lnRef>
          <a:fillRef idx="0">
            <a:schemeClr val="accent1"/>
          </a:fillRef>
          <a:effectRef idx="0">
            <a:schemeClr val="accent1"/>
          </a:effectRef>
          <a:fontRef idx="minor">
            <a:schemeClr val="tx1"/>
          </a:fontRef>
        </p:style>
      </p:cxnSp>
      <p:sp>
        <p:nvSpPr>
          <p:cNvPr id="23" name="矩形 22">
            <a:extLst>
              <a:ext uri="{FF2B5EF4-FFF2-40B4-BE49-F238E27FC236}">
                <a16:creationId xmlns:a16="http://schemas.microsoft.com/office/drawing/2014/main" id="{941A7A10-BEA5-455C-A084-EC7754A98138}"/>
              </a:ext>
            </a:extLst>
          </p:cNvPr>
          <p:cNvSpPr/>
          <p:nvPr/>
        </p:nvSpPr>
        <p:spPr>
          <a:xfrm>
            <a:off x="4103651" y="4103739"/>
            <a:ext cx="237725" cy="237725"/>
          </a:xfrm>
          <a:prstGeom prst="rect">
            <a:avLst/>
          </a:prstGeom>
          <a:solidFill>
            <a:schemeClr val="accent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p>
        </p:txBody>
      </p:sp>
      <p:sp>
        <p:nvSpPr>
          <p:cNvPr id="24" name="文本框 23">
            <a:extLst>
              <a:ext uri="{FF2B5EF4-FFF2-40B4-BE49-F238E27FC236}">
                <a16:creationId xmlns:a16="http://schemas.microsoft.com/office/drawing/2014/main" id="{6B7056E2-B4CD-48F5-B7D3-1EC7F02FEA91}"/>
              </a:ext>
            </a:extLst>
          </p:cNvPr>
          <p:cNvSpPr txBox="1"/>
          <p:nvPr/>
        </p:nvSpPr>
        <p:spPr>
          <a:xfrm>
            <a:off x="4555778" y="4099490"/>
            <a:ext cx="1162178" cy="246222"/>
          </a:xfrm>
          <a:prstGeom prst="rect">
            <a:avLst/>
          </a:prstGeom>
          <a:noFill/>
        </p:spPr>
        <p:txBody>
          <a:bodyPr wrap="none" lIns="0" tIns="0" rIns="0" bIns="0" rtlCol="0" anchor="t">
            <a:spAutoFit/>
          </a:bodyPr>
          <a:lstStyle/>
          <a:p>
            <a:r>
              <a:rPr lang="zh-CN" altLang="en-US" sz="1600" dirty="0">
                <a:solidFill>
                  <a:schemeClr val="accent1">
                    <a:lumMod val="100000"/>
                  </a:schemeClr>
                </a:solidFill>
                <a:latin typeface="+mn-ea"/>
              </a:rPr>
              <a:t>汇报人：</a:t>
            </a:r>
            <a:r>
              <a:rPr lang="en-US" altLang="zh-CN" sz="1600" dirty="0">
                <a:solidFill>
                  <a:schemeClr val="accent1">
                    <a:lumMod val="100000"/>
                  </a:schemeClr>
                </a:solidFill>
                <a:latin typeface="+mn-ea"/>
              </a:rPr>
              <a:t>xxx</a:t>
            </a:r>
            <a:endParaRPr lang="zh-CN" altLang="en-US" sz="1600" dirty="0">
              <a:solidFill>
                <a:schemeClr val="accent1">
                  <a:lumMod val="100000"/>
                </a:schemeClr>
              </a:solidFill>
              <a:latin typeface="+mn-ea"/>
            </a:endParaRPr>
          </a:p>
        </p:txBody>
      </p:sp>
      <p:sp>
        <p:nvSpPr>
          <p:cNvPr id="26" name="矩形 25">
            <a:extLst>
              <a:ext uri="{FF2B5EF4-FFF2-40B4-BE49-F238E27FC236}">
                <a16:creationId xmlns:a16="http://schemas.microsoft.com/office/drawing/2014/main" id="{A561B6D0-93F7-464A-9D5E-05716E022FCB}"/>
              </a:ext>
            </a:extLst>
          </p:cNvPr>
          <p:cNvSpPr/>
          <p:nvPr/>
        </p:nvSpPr>
        <p:spPr>
          <a:xfrm>
            <a:off x="5991794" y="4103739"/>
            <a:ext cx="237725" cy="237725"/>
          </a:xfrm>
          <a:prstGeom prst="rect">
            <a:avLst/>
          </a:prstGeom>
          <a:solidFill>
            <a:schemeClr val="accent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p>
        </p:txBody>
      </p:sp>
      <p:sp>
        <p:nvSpPr>
          <p:cNvPr id="27" name="文本框 26">
            <a:extLst>
              <a:ext uri="{FF2B5EF4-FFF2-40B4-BE49-F238E27FC236}">
                <a16:creationId xmlns:a16="http://schemas.microsoft.com/office/drawing/2014/main" id="{38652876-8C0D-4B2F-836B-BCC7C055A6F6}"/>
              </a:ext>
            </a:extLst>
          </p:cNvPr>
          <p:cNvSpPr txBox="1"/>
          <p:nvPr/>
        </p:nvSpPr>
        <p:spPr>
          <a:xfrm>
            <a:off x="6443920" y="4099490"/>
            <a:ext cx="956993" cy="246222"/>
          </a:xfrm>
          <a:prstGeom prst="rect">
            <a:avLst/>
          </a:prstGeom>
          <a:noFill/>
        </p:spPr>
        <p:txBody>
          <a:bodyPr wrap="none" lIns="0" tIns="0" rIns="0" bIns="0" rtlCol="0" anchor="t">
            <a:spAutoFit/>
          </a:bodyPr>
          <a:lstStyle/>
          <a:p>
            <a:r>
              <a:rPr lang="zh-CN" altLang="en-US" sz="1600" dirty="0">
                <a:solidFill>
                  <a:schemeClr val="accent1">
                    <a:lumMod val="100000"/>
                  </a:schemeClr>
                </a:solidFill>
                <a:latin typeface="+mn-ea"/>
              </a:rPr>
              <a:t>单位：</a:t>
            </a:r>
            <a:r>
              <a:rPr lang="en-US" altLang="zh-CN" sz="1600" dirty="0">
                <a:solidFill>
                  <a:schemeClr val="accent1">
                    <a:lumMod val="100000"/>
                  </a:schemeClr>
                </a:solidFill>
                <a:latin typeface="+mn-ea"/>
              </a:rPr>
              <a:t>xxx</a:t>
            </a:r>
            <a:endParaRPr lang="zh-CN" altLang="en-US" sz="1600" dirty="0">
              <a:solidFill>
                <a:schemeClr val="accent1">
                  <a:lumMod val="100000"/>
                </a:schemeClr>
              </a:solidFill>
              <a:latin typeface="+mn-ea"/>
            </a:endParaRPr>
          </a:p>
        </p:txBody>
      </p:sp>
      <p:sp>
        <p:nvSpPr>
          <p:cNvPr id="28" name="矩形 27">
            <a:extLst>
              <a:ext uri="{FF2B5EF4-FFF2-40B4-BE49-F238E27FC236}">
                <a16:creationId xmlns:a16="http://schemas.microsoft.com/office/drawing/2014/main" id="{0BE20BFF-3DE3-4CCA-BCCB-C0C5397572C8}"/>
              </a:ext>
            </a:extLst>
          </p:cNvPr>
          <p:cNvSpPr/>
          <p:nvPr/>
        </p:nvSpPr>
        <p:spPr>
          <a:xfrm flipH="1">
            <a:off x="3796442" y="2342487"/>
            <a:ext cx="70220" cy="2003225"/>
          </a:xfrm>
          <a:prstGeom prst="rect">
            <a:avLst/>
          </a:prstGeom>
          <a:solidFill>
            <a:schemeClr val="accent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p>
        </p:txBody>
      </p:sp>
    </p:spTree>
    <p:extLst>
      <p:ext uri="{BB962C8B-B14F-4D97-AF65-F5344CB8AC3E}">
        <p14:creationId xmlns:p14="http://schemas.microsoft.com/office/powerpoint/2010/main" val="3661636668"/>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5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gaoding-1">
            <a:extLst>
              <a:ext uri="{FF2B5EF4-FFF2-40B4-BE49-F238E27FC236}">
                <a16:creationId xmlns:a16="http://schemas.microsoft.com/office/drawing/2014/main" id="{54EE6E82-B6F4-468C-B02A-5A9E5AF56E56}"/>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Arial"/>
              <a:ea typeface="微软雅黑"/>
              <a:cs typeface="+mn-cs"/>
            </a:endParaRPr>
          </a:p>
        </p:txBody>
      </p:sp>
      <p:sp>
        <p:nvSpPr>
          <p:cNvPr id="50" name="gaoding-2">
            <a:extLst>
              <a:ext uri="{FF2B5EF4-FFF2-40B4-BE49-F238E27FC236}">
                <a16:creationId xmlns:a16="http://schemas.microsoft.com/office/drawing/2014/main" id="{4A10E8FA-6CCC-451A-9CAE-180CA9855AF1}"/>
              </a:ext>
            </a:extLst>
          </p:cNvPr>
          <p:cNvSpPr/>
          <p:nvPr/>
        </p:nvSpPr>
        <p:spPr>
          <a:xfrm>
            <a:off x="2571871" y="2135611"/>
            <a:ext cx="8947029" cy="116661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Arial"/>
              <a:ea typeface="微软雅黑"/>
              <a:cs typeface="+mn-cs"/>
            </a:endParaRPr>
          </a:p>
        </p:txBody>
      </p:sp>
      <p:sp>
        <p:nvSpPr>
          <p:cNvPr id="79" name="gaoding-3">
            <a:extLst>
              <a:ext uri="{FF2B5EF4-FFF2-40B4-BE49-F238E27FC236}">
                <a16:creationId xmlns:a16="http://schemas.microsoft.com/office/drawing/2014/main" id="{B5AAD010-7807-46E8-9407-6F601E02E5C5}"/>
              </a:ext>
            </a:extLst>
          </p:cNvPr>
          <p:cNvSpPr/>
          <p:nvPr/>
        </p:nvSpPr>
        <p:spPr>
          <a:xfrm>
            <a:off x="2571871" y="3375131"/>
            <a:ext cx="8947029" cy="68596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Arial"/>
              <a:ea typeface="微软雅黑"/>
              <a:cs typeface="+mn-cs"/>
            </a:endParaRPr>
          </a:p>
        </p:txBody>
      </p:sp>
      <p:sp>
        <p:nvSpPr>
          <p:cNvPr id="80" name="gaoding-4">
            <a:extLst>
              <a:ext uri="{FF2B5EF4-FFF2-40B4-BE49-F238E27FC236}">
                <a16:creationId xmlns:a16="http://schemas.microsoft.com/office/drawing/2014/main" id="{24C5CF65-88CE-47B7-8C57-BB380F924CC0}"/>
              </a:ext>
            </a:extLst>
          </p:cNvPr>
          <p:cNvSpPr/>
          <p:nvPr/>
        </p:nvSpPr>
        <p:spPr>
          <a:xfrm>
            <a:off x="2571871" y="4100555"/>
            <a:ext cx="8947029" cy="68596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Arial"/>
              <a:ea typeface="微软雅黑"/>
              <a:cs typeface="+mn-cs"/>
            </a:endParaRPr>
          </a:p>
        </p:txBody>
      </p:sp>
      <p:sp>
        <p:nvSpPr>
          <p:cNvPr id="81" name="gaoding-5">
            <a:extLst>
              <a:ext uri="{FF2B5EF4-FFF2-40B4-BE49-F238E27FC236}">
                <a16:creationId xmlns:a16="http://schemas.microsoft.com/office/drawing/2014/main" id="{3F53807A-65F6-4F2D-A95E-DFA2DF28B0E3}"/>
              </a:ext>
            </a:extLst>
          </p:cNvPr>
          <p:cNvSpPr/>
          <p:nvPr/>
        </p:nvSpPr>
        <p:spPr>
          <a:xfrm>
            <a:off x="2571871" y="4838172"/>
            <a:ext cx="8947029" cy="65183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Arial"/>
              <a:ea typeface="微软雅黑"/>
              <a:cs typeface="+mn-cs"/>
            </a:endParaRPr>
          </a:p>
        </p:txBody>
      </p:sp>
      <p:sp>
        <p:nvSpPr>
          <p:cNvPr id="82" name="gaoding-6">
            <a:extLst>
              <a:ext uri="{FF2B5EF4-FFF2-40B4-BE49-F238E27FC236}">
                <a16:creationId xmlns:a16="http://schemas.microsoft.com/office/drawing/2014/main" id="{52E00293-0EF2-4559-950C-EB0BE0B1071C}"/>
              </a:ext>
            </a:extLst>
          </p:cNvPr>
          <p:cNvSpPr/>
          <p:nvPr/>
        </p:nvSpPr>
        <p:spPr>
          <a:xfrm>
            <a:off x="2571871" y="5545307"/>
            <a:ext cx="8947029" cy="68646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Arial"/>
              <a:ea typeface="微软雅黑"/>
              <a:cs typeface="+mn-cs"/>
            </a:endParaRPr>
          </a:p>
        </p:txBody>
      </p:sp>
      <p:sp>
        <p:nvSpPr>
          <p:cNvPr id="41" name="gaoding-7">
            <a:extLst>
              <a:ext uri="{FF2B5EF4-FFF2-40B4-BE49-F238E27FC236}">
                <a16:creationId xmlns:a16="http://schemas.microsoft.com/office/drawing/2014/main" id="{9F08B858-D525-4861-89B7-79B4AAE351CA}"/>
              </a:ext>
            </a:extLst>
          </p:cNvPr>
          <p:cNvSpPr/>
          <p:nvPr/>
        </p:nvSpPr>
        <p:spPr>
          <a:xfrm>
            <a:off x="660400" y="5550277"/>
            <a:ext cx="3822942" cy="686469"/>
          </a:xfrm>
          <a:custGeom>
            <a:avLst/>
            <a:gdLst>
              <a:gd name="connsiteX0" fmla="*/ 0 w 3822942"/>
              <a:gd name="connsiteY0" fmla="*/ 678684 h 686469"/>
              <a:gd name="connsiteX1" fmla="*/ 3822943 w 3822942"/>
              <a:gd name="connsiteY1" fmla="*/ 686469 h 686469"/>
              <a:gd name="connsiteX2" fmla="*/ 3525814 w 3822942"/>
              <a:gd name="connsiteY2" fmla="*/ 0 h 686469"/>
              <a:gd name="connsiteX3" fmla="*/ 311794 w 3822942"/>
              <a:gd name="connsiteY3" fmla="*/ 1657 h 686469"/>
              <a:gd name="connsiteX4" fmla="*/ 0 w 3822942"/>
              <a:gd name="connsiteY4" fmla="*/ 678684 h 6864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22942" h="686469">
                <a:moveTo>
                  <a:pt x="0" y="678684"/>
                </a:moveTo>
                <a:lnTo>
                  <a:pt x="3822943" y="686469"/>
                </a:lnTo>
                <a:lnTo>
                  <a:pt x="3525814" y="0"/>
                </a:lnTo>
                <a:lnTo>
                  <a:pt x="311794" y="1657"/>
                </a:lnTo>
                <a:lnTo>
                  <a:pt x="0" y="678684"/>
                </a:lnTo>
                <a:close/>
              </a:path>
            </a:pathLst>
          </a:custGeom>
          <a:solidFill>
            <a:schemeClr val="accent1">
              <a:lumMod val="50000"/>
            </a:schemeClr>
          </a:solidFill>
          <a:ln w="501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black"/>
              </a:solidFill>
              <a:effectLst/>
              <a:uLnTx/>
              <a:uFillTx/>
              <a:latin typeface="Arial"/>
              <a:ea typeface="微软雅黑"/>
              <a:cs typeface="+mn-cs"/>
            </a:endParaRPr>
          </a:p>
        </p:txBody>
      </p:sp>
      <p:sp>
        <p:nvSpPr>
          <p:cNvPr id="42" name="gaoding-8">
            <a:extLst>
              <a:ext uri="{FF2B5EF4-FFF2-40B4-BE49-F238E27FC236}">
                <a16:creationId xmlns:a16="http://schemas.microsoft.com/office/drawing/2014/main" id="{47D7BD2A-44E9-43DE-BAF1-E78D7D9164E6}"/>
              </a:ext>
            </a:extLst>
          </p:cNvPr>
          <p:cNvSpPr/>
          <p:nvPr/>
        </p:nvSpPr>
        <p:spPr>
          <a:xfrm>
            <a:off x="994343" y="4837842"/>
            <a:ext cx="3164146" cy="652165"/>
          </a:xfrm>
          <a:custGeom>
            <a:avLst/>
            <a:gdLst>
              <a:gd name="connsiteX0" fmla="*/ 2865210 w 3164146"/>
              <a:gd name="connsiteY0" fmla="*/ 4972 h 652165"/>
              <a:gd name="connsiteX1" fmla="*/ 308529 w 3164146"/>
              <a:gd name="connsiteY1" fmla="*/ 0 h 652165"/>
              <a:gd name="connsiteX2" fmla="*/ 0 w 3164146"/>
              <a:gd name="connsiteY2" fmla="*/ 652166 h 652165"/>
              <a:gd name="connsiteX3" fmla="*/ 3164147 w 3164146"/>
              <a:gd name="connsiteY3" fmla="*/ 652166 h 652165"/>
              <a:gd name="connsiteX4" fmla="*/ 2865210 w 3164146"/>
              <a:gd name="connsiteY4" fmla="*/ 4972 h 6521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4146" h="652165">
                <a:moveTo>
                  <a:pt x="2865210" y="4972"/>
                </a:moveTo>
                <a:lnTo>
                  <a:pt x="308529" y="0"/>
                </a:lnTo>
                <a:lnTo>
                  <a:pt x="0" y="652166"/>
                </a:lnTo>
                <a:lnTo>
                  <a:pt x="3164147" y="652166"/>
                </a:lnTo>
                <a:lnTo>
                  <a:pt x="2865210" y="4972"/>
                </a:lnTo>
                <a:close/>
              </a:path>
            </a:pathLst>
          </a:custGeom>
          <a:solidFill>
            <a:schemeClr val="accent1">
              <a:lumMod val="75000"/>
            </a:schemeClr>
          </a:solidFill>
          <a:ln w="501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black"/>
              </a:solidFill>
              <a:effectLst/>
              <a:uLnTx/>
              <a:uFillTx/>
              <a:latin typeface="Arial"/>
              <a:ea typeface="微软雅黑"/>
              <a:cs typeface="+mn-cs"/>
            </a:endParaRPr>
          </a:p>
        </p:txBody>
      </p:sp>
      <p:sp>
        <p:nvSpPr>
          <p:cNvPr id="43" name="gaoding-9">
            <a:extLst>
              <a:ext uri="{FF2B5EF4-FFF2-40B4-BE49-F238E27FC236}">
                <a16:creationId xmlns:a16="http://schemas.microsoft.com/office/drawing/2014/main" id="{7913FBCC-C86B-4E21-AC80-B99F047FC3F8}"/>
              </a:ext>
            </a:extLst>
          </p:cNvPr>
          <p:cNvSpPr/>
          <p:nvPr/>
        </p:nvSpPr>
        <p:spPr>
          <a:xfrm>
            <a:off x="1672977" y="3377913"/>
            <a:ext cx="1806878" cy="655984"/>
          </a:xfrm>
          <a:custGeom>
            <a:avLst/>
            <a:gdLst>
              <a:gd name="connsiteX0" fmla="*/ 1807163 w 1806878"/>
              <a:gd name="connsiteY0" fmla="*/ 656373 h 655984"/>
              <a:gd name="connsiteX1" fmla="*/ 1503254 w 1806878"/>
              <a:gd name="connsiteY1" fmla="*/ 3052 h 655984"/>
              <a:gd name="connsiteX2" fmla="*/ 300024 w 1806878"/>
              <a:gd name="connsiteY2" fmla="*/ 5061 h 655984"/>
              <a:gd name="connsiteX3" fmla="*/ 284 w 1806878"/>
              <a:gd name="connsiteY3" fmla="*/ 654163 h 655984"/>
            </a:gdLst>
            <a:ahLst/>
            <a:cxnLst>
              <a:cxn ang="0">
                <a:pos x="connsiteX0" y="connsiteY0"/>
              </a:cxn>
              <a:cxn ang="0">
                <a:pos x="connsiteX1" y="connsiteY1"/>
              </a:cxn>
              <a:cxn ang="0">
                <a:pos x="connsiteX2" y="connsiteY2"/>
              </a:cxn>
              <a:cxn ang="0">
                <a:pos x="connsiteX3" y="connsiteY3"/>
              </a:cxn>
            </a:cxnLst>
            <a:rect l="l" t="t" r="r" b="b"/>
            <a:pathLst>
              <a:path w="1806878" h="655984">
                <a:moveTo>
                  <a:pt x="1807163" y="656373"/>
                </a:moveTo>
                <a:lnTo>
                  <a:pt x="1503254" y="3052"/>
                </a:lnTo>
                <a:cubicBezTo>
                  <a:pt x="1489844" y="-3829"/>
                  <a:pt x="408358" y="4760"/>
                  <a:pt x="300024" y="5061"/>
                </a:cubicBezTo>
                <a:lnTo>
                  <a:pt x="284" y="654163"/>
                </a:lnTo>
                <a:close/>
              </a:path>
            </a:pathLst>
          </a:custGeom>
          <a:solidFill>
            <a:schemeClr val="accent1"/>
          </a:solidFill>
          <a:ln w="501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black"/>
              </a:solidFill>
              <a:effectLst/>
              <a:uLnTx/>
              <a:uFillTx/>
              <a:latin typeface="Arial"/>
              <a:ea typeface="微软雅黑"/>
              <a:cs typeface="+mn-cs"/>
            </a:endParaRPr>
          </a:p>
        </p:txBody>
      </p:sp>
      <p:sp>
        <p:nvSpPr>
          <p:cNvPr id="44" name="gaoding-10">
            <a:extLst>
              <a:ext uri="{FF2B5EF4-FFF2-40B4-BE49-F238E27FC236}">
                <a16:creationId xmlns:a16="http://schemas.microsoft.com/office/drawing/2014/main" id="{3CD968BE-3AFB-4B24-8D0D-0651E891ACAC}"/>
              </a:ext>
            </a:extLst>
          </p:cNvPr>
          <p:cNvSpPr/>
          <p:nvPr/>
        </p:nvSpPr>
        <p:spPr>
          <a:xfrm>
            <a:off x="1334815" y="4108632"/>
            <a:ext cx="2484960" cy="650910"/>
          </a:xfrm>
          <a:custGeom>
            <a:avLst/>
            <a:gdLst>
              <a:gd name="connsiteX0" fmla="*/ 2182408 w 2484960"/>
              <a:gd name="connsiteY0" fmla="*/ 0 h 650910"/>
              <a:gd name="connsiteX1" fmla="*/ 300795 w 2484960"/>
              <a:gd name="connsiteY1" fmla="*/ 0 h 650910"/>
              <a:gd name="connsiteX2" fmla="*/ 0 w 2484960"/>
              <a:gd name="connsiteY2" fmla="*/ 650358 h 650910"/>
              <a:gd name="connsiteX3" fmla="*/ 2484960 w 2484960"/>
              <a:gd name="connsiteY3" fmla="*/ 650910 h 650910"/>
              <a:gd name="connsiteX4" fmla="*/ 2182408 w 2484960"/>
              <a:gd name="connsiteY4" fmla="*/ 0 h 6509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84960" h="650910">
                <a:moveTo>
                  <a:pt x="2182408" y="0"/>
                </a:moveTo>
                <a:lnTo>
                  <a:pt x="300795" y="0"/>
                </a:lnTo>
                <a:lnTo>
                  <a:pt x="0" y="650358"/>
                </a:lnTo>
                <a:lnTo>
                  <a:pt x="2484960" y="650910"/>
                </a:lnTo>
                <a:lnTo>
                  <a:pt x="2182408" y="0"/>
                </a:lnTo>
                <a:close/>
              </a:path>
            </a:pathLst>
          </a:custGeom>
          <a:solidFill>
            <a:schemeClr val="accent1"/>
          </a:solidFill>
          <a:ln w="501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black"/>
              </a:solidFill>
              <a:effectLst/>
              <a:uLnTx/>
              <a:uFillTx/>
              <a:latin typeface="Arial"/>
              <a:ea typeface="微软雅黑"/>
              <a:cs typeface="+mn-cs"/>
            </a:endParaRPr>
          </a:p>
        </p:txBody>
      </p:sp>
      <p:sp>
        <p:nvSpPr>
          <p:cNvPr id="45" name="gaoding-11">
            <a:extLst>
              <a:ext uri="{FF2B5EF4-FFF2-40B4-BE49-F238E27FC236}">
                <a16:creationId xmlns:a16="http://schemas.microsoft.com/office/drawing/2014/main" id="{D1006D87-B00E-401A-9352-FB5062F43274}"/>
              </a:ext>
            </a:extLst>
          </p:cNvPr>
          <p:cNvSpPr/>
          <p:nvPr/>
        </p:nvSpPr>
        <p:spPr>
          <a:xfrm>
            <a:off x="2015307" y="2135611"/>
            <a:ext cx="1122217" cy="1166615"/>
          </a:xfrm>
          <a:custGeom>
            <a:avLst/>
            <a:gdLst>
              <a:gd name="connsiteX0" fmla="*/ 1122218 w 1122217"/>
              <a:gd name="connsiteY0" fmla="*/ 1161594 h 1166615"/>
              <a:gd name="connsiteX1" fmla="*/ 555785 w 1122217"/>
              <a:gd name="connsiteY1" fmla="*/ 0 h 1166615"/>
              <a:gd name="connsiteX2" fmla="*/ 0 w 1122217"/>
              <a:gd name="connsiteY2" fmla="*/ 1166616 h 1166615"/>
              <a:gd name="connsiteX3" fmla="*/ 1122218 w 1122217"/>
              <a:gd name="connsiteY3" fmla="*/ 1161594 h 1166615"/>
            </a:gdLst>
            <a:ahLst/>
            <a:cxnLst>
              <a:cxn ang="0">
                <a:pos x="connsiteX0" y="connsiteY0"/>
              </a:cxn>
              <a:cxn ang="0">
                <a:pos x="connsiteX1" y="connsiteY1"/>
              </a:cxn>
              <a:cxn ang="0">
                <a:pos x="connsiteX2" y="connsiteY2"/>
              </a:cxn>
              <a:cxn ang="0">
                <a:pos x="connsiteX3" y="connsiteY3"/>
              </a:cxn>
            </a:cxnLst>
            <a:rect l="l" t="t" r="r" b="b"/>
            <a:pathLst>
              <a:path w="1122217" h="1166615">
                <a:moveTo>
                  <a:pt x="1122218" y="1161594"/>
                </a:moveTo>
                <a:lnTo>
                  <a:pt x="555785" y="0"/>
                </a:lnTo>
                <a:lnTo>
                  <a:pt x="0" y="1166616"/>
                </a:lnTo>
                <a:lnTo>
                  <a:pt x="1122218" y="1161594"/>
                </a:lnTo>
                <a:close/>
              </a:path>
            </a:pathLst>
          </a:custGeom>
          <a:solidFill>
            <a:schemeClr val="accent1"/>
          </a:solidFill>
          <a:ln w="501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black"/>
              </a:solidFill>
              <a:effectLst/>
              <a:uLnTx/>
              <a:uFillTx/>
              <a:latin typeface="Arial"/>
              <a:ea typeface="微软雅黑"/>
              <a:cs typeface="+mn-cs"/>
            </a:endParaRPr>
          </a:p>
        </p:txBody>
      </p:sp>
      <p:sp>
        <p:nvSpPr>
          <p:cNvPr id="140" name="gaoding-12">
            <a:extLst>
              <a:ext uri="{FF2B5EF4-FFF2-40B4-BE49-F238E27FC236}">
                <a16:creationId xmlns:a16="http://schemas.microsoft.com/office/drawing/2014/main" id="{218ADBB2-0C4D-47A4-9422-B850AA92B721}"/>
              </a:ext>
            </a:extLst>
          </p:cNvPr>
          <p:cNvSpPr txBox="1"/>
          <p:nvPr/>
        </p:nvSpPr>
        <p:spPr>
          <a:xfrm>
            <a:off x="385893" y="899532"/>
            <a:ext cx="4155627"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3600" b="1" i="0" u="none" strike="noStrike" kern="1200" cap="none" spc="0" normalizeH="0" baseline="0" noProof="0" dirty="0">
                <a:ln>
                  <a:noFill/>
                </a:ln>
                <a:solidFill>
                  <a:prstClr val="black"/>
                </a:solidFill>
                <a:effectLst/>
                <a:uLnTx/>
                <a:uFillTx/>
                <a:latin typeface="OPPOSans B" panose="00020600040101010101" pitchFamily="18" charset="-122"/>
                <a:ea typeface="OPPOSans B" panose="00020600040101010101" pitchFamily="18" charset="-122"/>
                <a:cs typeface="OPPOSans B" panose="00020600040101010101" pitchFamily="18" charset="-122"/>
              </a:rPr>
              <a:t>用户分级运营体系</a:t>
            </a:r>
          </a:p>
        </p:txBody>
      </p:sp>
      <p:sp>
        <p:nvSpPr>
          <p:cNvPr id="143" name="gaoding-13">
            <a:extLst>
              <a:ext uri="{FF2B5EF4-FFF2-40B4-BE49-F238E27FC236}">
                <a16:creationId xmlns:a16="http://schemas.microsoft.com/office/drawing/2014/main" id="{8155C7D9-2AB4-4537-B2FA-47EAEBBB79CA}"/>
              </a:ext>
            </a:extLst>
          </p:cNvPr>
          <p:cNvSpPr txBox="1"/>
          <p:nvPr/>
        </p:nvSpPr>
        <p:spPr>
          <a:xfrm>
            <a:off x="5582958" y="2522935"/>
            <a:ext cx="4867537" cy="391967"/>
          </a:xfrm>
          <a:prstGeom prst="rect">
            <a:avLst/>
          </a:prstGeom>
          <a:noFill/>
        </p:spPr>
        <p:txBody>
          <a:bodyPr wrap="square" rtlCol="0">
            <a:spAutoFit/>
          </a:bodyPr>
          <a:lstStyle/>
          <a:p>
            <a:pPr marL="0" marR="0" lvl="0" indent="0" algn="l" defTabSz="914400" rtl="0" eaLnBrk="1" fontAlgn="auto" latinLnBrk="0" hangingPunct="1">
              <a:lnSpc>
                <a:spcPct val="130000"/>
              </a:lnSpc>
              <a:spcBef>
                <a:spcPts val="0"/>
              </a:spcBef>
              <a:spcAft>
                <a:spcPts val="0"/>
              </a:spcAft>
              <a:buClrTx/>
              <a:buSzTx/>
              <a:buFontTx/>
              <a:buNone/>
              <a:tabLst/>
              <a:defRPr/>
            </a:pPr>
            <a:r>
              <a:rPr kumimoji="0" lang="zh-CN" altLang="en-US" sz="1600" b="0" i="0" u="none" strike="noStrike" kern="1200" cap="none" spc="0" normalizeH="0" baseline="0" noProof="0" dirty="0">
                <a:ln>
                  <a:noFill/>
                </a:ln>
                <a:solidFill>
                  <a:prstClr val="black">
                    <a:lumMod val="75000"/>
                    <a:lumOff val="25000"/>
                  </a:prstClr>
                </a:solidFill>
                <a:effectLst/>
                <a:uLnTx/>
                <a:uFillTx/>
                <a:latin typeface="OPPOSans R" panose="00020600040101010101" pitchFamily="18" charset="-122"/>
                <a:ea typeface="OPPOSans R" panose="00020600040101010101" pitchFamily="18" charset="-122"/>
                <a:cs typeface="OPPOSans R" panose="00020600040101010101" pitchFamily="18" charset="-122"/>
              </a:rPr>
              <a:t>为付款用户，需考虑方式将其留存与续费</a:t>
            </a:r>
          </a:p>
        </p:txBody>
      </p:sp>
      <p:sp>
        <p:nvSpPr>
          <p:cNvPr id="144" name="gaoding-14">
            <a:extLst>
              <a:ext uri="{FF2B5EF4-FFF2-40B4-BE49-F238E27FC236}">
                <a16:creationId xmlns:a16="http://schemas.microsoft.com/office/drawing/2014/main" id="{B8623D0F-253C-4B0F-BB78-2C0E09BF700B}"/>
              </a:ext>
            </a:extLst>
          </p:cNvPr>
          <p:cNvSpPr txBox="1"/>
          <p:nvPr/>
        </p:nvSpPr>
        <p:spPr>
          <a:xfrm>
            <a:off x="4051806" y="2518863"/>
            <a:ext cx="1297916"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2000" b="1" i="0" u="none" strike="noStrike" kern="1200" cap="none" spc="0" normalizeH="0" baseline="0" noProof="0" dirty="0">
                <a:ln>
                  <a:noFill/>
                </a:ln>
                <a:solidFill>
                  <a:prstClr val="black"/>
                </a:solidFill>
                <a:effectLst/>
                <a:uLnTx/>
                <a:uFillTx/>
                <a:latin typeface="OPPOSans B" panose="00020600040101010101" pitchFamily="18" charset="-122"/>
                <a:ea typeface="OPPOSans B" panose="00020600040101010101" pitchFamily="18" charset="-122"/>
                <a:cs typeface="OPPOSans B" panose="00020600040101010101" pitchFamily="18" charset="-122"/>
              </a:rPr>
              <a:t>购买行为</a:t>
            </a:r>
          </a:p>
        </p:txBody>
      </p:sp>
      <p:sp>
        <p:nvSpPr>
          <p:cNvPr id="12" name="gaoding-15">
            <a:extLst>
              <a:ext uri="{FF2B5EF4-FFF2-40B4-BE49-F238E27FC236}">
                <a16:creationId xmlns:a16="http://schemas.microsoft.com/office/drawing/2014/main" id="{01D74098-1649-4D5C-B064-9B80A4A65EF7}"/>
              </a:ext>
            </a:extLst>
          </p:cNvPr>
          <p:cNvSpPr txBox="1"/>
          <p:nvPr/>
        </p:nvSpPr>
        <p:spPr>
          <a:xfrm>
            <a:off x="572595" y="1404591"/>
            <a:ext cx="4867537" cy="429413"/>
          </a:xfrm>
          <a:prstGeom prst="rect">
            <a:avLst/>
          </a:prstGeom>
          <a:noFill/>
        </p:spPr>
        <p:txBody>
          <a:bodyPr wrap="square" rtlCol="0">
            <a:spAutoFit/>
          </a:bodyPr>
          <a:lstStyle/>
          <a:p>
            <a:pPr marL="0" marR="0" lvl="0" indent="0" algn="l" defTabSz="914400" rtl="0" eaLnBrk="1" fontAlgn="auto" latinLnBrk="0" hangingPunct="1">
              <a:lnSpc>
                <a:spcPct val="130000"/>
              </a:lnSpc>
              <a:spcBef>
                <a:spcPts val="0"/>
              </a:spcBef>
              <a:spcAft>
                <a:spcPts val="0"/>
              </a:spcAft>
              <a:buClrTx/>
              <a:buSzTx/>
              <a:buFontTx/>
              <a:buNone/>
              <a:tabLst/>
              <a:defRPr/>
            </a:pPr>
            <a:r>
              <a:rPr kumimoji="0" lang="en-US" altLang="zh-CN" sz="1800" b="0" i="0" u="none" strike="noStrike" kern="1200" cap="none" spc="0" normalizeH="0" baseline="0" noProof="0" dirty="0">
                <a:ln>
                  <a:noFill/>
                </a:ln>
                <a:solidFill>
                  <a:prstClr val="black">
                    <a:lumMod val="75000"/>
                    <a:lumOff val="25000"/>
                  </a:prstClr>
                </a:solidFill>
                <a:effectLst/>
                <a:uLnTx/>
                <a:uFillTx/>
                <a:latin typeface="OPPOSans R" panose="00020600040101010101" pitchFamily="18" charset="-122"/>
                <a:ea typeface="OPPOSans R" panose="00020600040101010101" pitchFamily="18" charset="-122"/>
                <a:cs typeface="OPPOSans R" panose="00020600040101010101" pitchFamily="18" charset="-122"/>
              </a:rPr>
              <a:t>Hierarchical User Operation System</a:t>
            </a:r>
            <a:endParaRPr kumimoji="0" lang="zh-CN" altLang="en-US" sz="1800" b="0" i="0" u="none" strike="noStrike" kern="1200" cap="none" spc="0" normalizeH="0" baseline="0" noProof="0" dirty="0">
              <a:ln>
                <a:noFill/>
              </a:ln>
              <a:solidFill>
                <a:prstClr val="black">
                  <a:lumMod val="75000"/>
                  <a:lumOff val="25000"/>
                </a:prstClr>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p:txBody>
      </p:sp>
      <p:sp>
        <p:nvSpPr>
          <p:cNvPr id="8" name="gaoding-16">
            <a:extLst>
              <a:ext uri="{FF2B5EF4-FFF2-40B4-BE49-F238E27FC236}">
                <a16:creationId xmlns:a16="http://schemas.microsoft.com/office/drawing/2014/main" id="{6C86E317-5CF5-40E7-BF06-E5AB87E9A1BA}"/>
              </a:ext>
            </a:extLst>
          </p:cNvPr>
          <p:cNvSpPr/>
          <p:nvPr/>
        </p:nvSpPr>
        <p:spPr>
          <a:xfrm>
            <a:off x="2399766" y="4915051"/>
            <a:ext cx="353301" cy="400001"/>
          </a:xfrm>
          <a:custGeom>
            <a:avLst/>
            <a:gdLst>
              <a:gd name="connsiteX0" fmla="*/ 96737 w 353301"/>
              <a:gd name="connsiteY0" fmla="*/ 251096 h 400001"/>
              <a:gd name="connsiteX1" fmla="*/ 96737 w 353301"/>
              <a:gd name="connsiteY1" fmla="*/ 187210 h 400001"/>
              <a:gd name="connsiteX2" fmla="*/ 99750 w 353301"/>
              <a:gd name="connsiteY2" fmla="*/ 181786 h 400001"/>
              <a:gd name="connsiteX3" fmla="*/ 114817 w 353301"/>
              <a:gd name="connsiteY3" fmla="*/ 179978 h 400001"/>
              <a:gd name="connsiteX4" fmla="*/ 116023 w 353301"/>
              <a:gd name="connsiteY4" fmla="*/ 249891 h 400001"/>
              <a:gd name="connsiteX5" fmla="*/ 101558 w 353301"/>
              <a:gd name="connsiteY5" fmla="*/ 259534 h 400001"/>
              <a:gd name="connsiteX6" fmla="*/ 96536 w 353301"/>
              <a:gd name="connsiteY6" fmla="*/ 251096 h 400001"/>
              <a:gd name="connsiteX7" fmla="*/ 197989 w 353301"/>
              <a:gd name="connsiteY7" fmla="*/ 237837 h 400001"/>
              <a:gd name="connsiteX8" fmla="*/ 170165 w 353301"/>
              <a:gd name="connsiteY8" fmla="*/ 238891 h 400001"/>
              <a:gd name="connsiteX9" fmla="*/ 153440 w 353301"/>
              <a:gd name="connsiteY9" fmla="*/ 240298 h 400001"/>
              <a:gd name="connsiteX10" fmla="*/ 139578 w 353301"/>
              <a:gd name="connsiteY10" fmla="*/ 251598 h 400001"/>
              <a:gd name="connsiteX11" fmla="*/ 132044 w 353301"/>
              <a:gd name="connsiteY11" fmla="*/ 270734 h 400001"/>
              <a:gd name="connsiteX12" fmla="*/ 122000 w 353301"/>
              <a:gd name="connsiteY12" fmla="*/ 278519 h 400001"/>
              <a:gd name="connsiteX13" fmla="*/ 115119 w 353301"/>
              <a:gd name="connsiteY13" fmla="*/ 280025 h 400001"/>
              <a:gd name="connsiteX14" fmla="*/ 95481 w 353301"/>
              <a:gd name="connsiteY14" fmla="*/ 279172 h 400001"/>
              <a:gd name="connsiteX15" fmla="*/ 87144 w 353301"/>
              <a:gd name="connsiteY15" fmla="*/ 275405 h 400001"/>
              <a:gd name="connsiteX16" fmla="*/ 75391 w 353301"/>
              <a:gd name="connsiteY16" fmla="*/ 250996 h 400001"/>
              <a:gd name="connsiteX17" fmla="*/ 69415 w 353301"/>
              <a:gd name="connsiteY17" fmla="*/ 240147 h 400001"/>
              <a:gd name="connsiteX18" fmla="*/ 33303 w 353301"/>
              <a:gd name="connsiteY18" fmla="*/ 235125 h 400001"/>
              <a:gd name="connsiteX19" fmla="*/ 22254 w 353301"/>
              <a:gd name="connsiteY19" fmla="*/ 235125 h 400001"/>
              <a:gd name="connsiteX20" fmla="*/ 27276 w 353301"/>
              <a:gd name="connsiteY20" fmla="*/ 321662 h 400001"/>
              <a:gd name="connsiteX21" fmla="*/ 30691 w 353301"/>
              <a:gd name="connsiteY21" fmla="*/ 330300 h 400001"/>
              <a:gd name="connsiteX22" fmla="*/ 35714 w 353301"/>
              <a:gd name="connsiteY22" fmla="*/ 338437 h 400001"/>
              <a:gd name="connsiteX23" fmla="*/ 53945 w 353301"/>
              <a:gd name="connsiteY23" fmla="*/ 358777 h 400001"/>
              <a:gd name="connsiteX24" fmla="*/ 75793 w 353301"/>
              <a:gd name="connsiteY24" fmla="*/ 370731 h 400001"/>
              <a:gd name="connsiteX25" fmla="*/ 89504 w 353301"/>
              <a:gd name="connsiteY25" fmla="*/ 375050 h 400001"/>
              <a:gd name="connsiteX26" fmla="*/ 140985 w 353301"/>
              <a:gd name="connsiteY26" fmla="*/ 372087 h 400001"/>
              <a:gd name="connsiteX27" fmla="*/ 158663 w 353301"/>
              <a:gd name="connsiteY27" fmla="*/ 363197 h 400001"/>
              <a:gd name="connsiteX28" fmla="*/ 178753 w 353301"/>
              <a:gd name="connsiteY28" fmla="*/ 344765 h 400001"/>
              <a:gd name="connsiteX29" fmla="*/ 190506 w 353301"/>
              <a:gd name="connsiteY29" fmla="*/ 325177 h 400001"/>
              <a:gd name="connsiteX30" fmla="*/ 198040 w 353301"/>
              <a:gd name="connsiteY30" fmla="*/ 237535 h 400001"/>
              <a:gd name="connsiteX31" fmla="*/ 71423 w 353301"/>
              <a:gd name="connsiteY31" fmla="*/ 216140 h 400001"/>
              <a:gd name="connsiteX32" fmla="*/ 83276 w 353301"/>
              <a:gd name="connsiteY32" fmla="*/ 165312 h 400001"/>
              <a:gd name="connsiteX33" fmla="*/ 113662 w 353301"/>
              <a:gd name="connsiteY33" fmla="*/ 155770 h 400001"/>
              <a:gd name="connsiteX34" fmla="*/ 127223 w 353301"/>
              <a:gd name="connsiteY34" fmla="*/ 162801 h 400001"/>
              <a:gd name="connsiteX35" fmla="*/ 135560 w 353301"/>
              <a:gd name="connsiteY35" fmla="*/ 174905 h 400001"/>
              <a:gd name="connsiteX36" fmla="*/ 140131 w 353301"/>
              <a:gd name="connsiteY36" fmla="*/ 205291 h 400001"/>
              <a:gd name="connsiteX37" fmla="*/ 141336 w 353301"/>
              <a:gd name="connsiteY37" fmla="*/ 217345 h 400001"/>
              <a:gd name="connsiteX38" fmla="*/ 187291 w 353301"/>
              <a:gd name="connsiteY38" fmla="*/ 212674 h 400001"/>
              <a:gd name="connsiteX39" fmla="*/ 197989 w 353301"/>
              <a:gd name="connsiteY39" fmla="*/ 206497 h 400001"/>
              <a:gd name="connsiteX40" fmla="*/ 194775 w 353301"/>
              <a:gd name="connsiteY40" fmla="*/ 173549 h 400001"/>
              <a:gd name="connsiteX41" fmla="*/ 193218 w 353301"/>
              <a:gd name="connsiteY41" fmla="*/ 164308 h 400001"/>
              <a:gd name="connsiteX42" fmla="*/ 187744 w 353301"/>
              <a:gd name="connsiteY42" fmla="*/ 152857 h 400001"/>
              <a:gd name="connsiteX43" fmla="*/ 177699 w 353301"/>
              <a:gd name="connsiteY43" fmla="*/ 136182 h 400001"/>
              <a:gd name="connsiteX44" fmla="*/ 154294 w 353301"/>
              <a:gd name="connsiteY44" fmla="*/ 116092 h 400001"/>
              <a:gd name="connsiteX45" fmla="*/ 139227 w 353301"/>
              <a:gd name="connsiteY45" fmla="*/ 109161 h 400001"/>
              <a:gd name="connsiteX46" fmla="*/ 111955 w 353301"/>
              <a:gd name="connsiteY46" fmla="*/ 105093 h 400001"/>
              <a:gd name="connsiteX47" fmla="*/ 79460 w 353301"/>
              <a:gd name="connsiteY47" fmla="*/ 108709 h 400001"/>
              <a:gd name="connsiteX48" fmla="*/ 71423 w 353301"/>
              <a:gd name="connsiteY48" fmla="*/ 112778 h 400001"/>
              <a:gd name="connsiteX49" fmla="*/ 63689 w 353301"/>
              <a:gd name="connsiteY49" fmla="*/ 117047 h 400001"/>
              <a:gd name="connsiteX50" fmla="*/ 59470 w 353301"/>
              <a:gd name="connsiteY50" fmla="*/ 118855 h 400001"/>
              <a:gd name="connsiteX51" fmla="*/ 37924 w 353301"/>
              <a:gd name="connsiteY51" fmla="*/ 139547 h 400001"/>
              <a:gd name="connsiteX52" fmla="*/ 35362 w 353301"/>
              <a:gd name="connsiteY52" fmla="*/ 143013 h 400001"/>
              <a:gd name="connsiteX53" fmla="*/ 29335 w 353301"/>
              <a:gd name="connsiteY53" fmla="*/ 155067 h 400001"/>
              <a:gd name="connsiteX54" fmla="*/ 27728 w 353301"/>
              <a:gd name="connsiteY54" fmla="*/ 159486 h 400001"/>
              <a:gd name="connsiteX55" fmla="*/ 21550 w 353301"/>
              <a:gd name="connsiteY55" fmla="*/ 207551 h 400001"/>
              <a:gd name="connsiteX56" fmla="*/ 70972 w 353301"/>
              <a:gd name="connsiteY56" fmla="*/ 215989 h 400001"/>
              <a:gd name="connsiteX57" fmla="*/ 306 w 353301"/>
              <a:gd name="connsiteY57" fmla="*/ 177567 h 400001"/>
              <a:gd name="connsiteX58" fmla="*/ 306 w 353301"/>
              <a:gd name="connsiteY58" fmla="*/ 308955 h 400001"/>
              <a:gd name="connsiteX59" fmla="*/ 3470 w 353301"/>
              <a:gd name="connsiteY59" fmla="*/ 319000 h 400001"/>
              <a:gd name="connsiteX60" fmla="*/ 6182 w 353301"/>
              <a:gd name="connsiteY60" fmla="*/ 329547 h 400001"/>
              <a:gd name="connsiteX61" fmla="*/ 17080 w 353301"/>
              <a:gd name="connsiteY61" fmla="*/ 351244 h 400001"/>
              <a:gd name="connsiteX62" fmla="*/ 20194 w 353301"/>
              <a:gd name="connsiteY62" fmla="*/ 355312 h 400001"/>
              <a:gd name="connsiteX63" fmla="*/ 46713 w 353301"/>
              <a:gd name="connsiteY63" fmla="*/ 381881 h 400001"/>
              <a:gd name="connsiteX64" fmla="*/ 59269 w 353301"/>
              <a:gd name="connsiteY64" fmla="*/ 388611 h 400001"/>
              <a:gd name="connsiteX65" fmla="*/ 63839 w 353301"/>
              <a:gd name="connsiteY65" fmla="*/ 391222 h 400001"/>
              <a:gd name="connsiteX66" fmla="*/ 73884 w 353301"/>
              <a:gd name="connsiteY66" fmla="*/ 394437 h 400001"/>
              <a:gd name="connsiteX67" fmla="*/ 83477 w 353301"/>
              <a:gd name="connsiteY67" fmla="*/ 398153 h 400001"/>
              <a:gd name="connsiteX68" fmla="*/ 107836 w 353301"/>
              <a:gd name="connsiteY68" fmla="*/ 400363 h 400001"/>
              <a:gd name="connsiteX69" fmla="*/ 120844 w 353301"/>
              <a:gd name="connsiteY69" fmla="*/ 399309 h 400001"/>
              <a:gd name="connsiteX70" fmla="*/ 143144 w 353301"/>
              <a:gd name="connsiteY70" fmla="*/ 395040 h 400001"/>
              <a:gd name="connsiteX71" fmla="*/ 148167 w 353301"/>
              <a:gd name="connsiteY71" fmla="*/ 393985 h 400001"/>
              <a:gd name="connsiteX72" fmla="*/ 153591 w 353301"/>
              <a:gd name="connsiteY72" fmla="*/ 392177 h 400001"/>
              <a:gd name="connsiteX73" fmla="*/ 162631 w 353301"/>
              <a:gd name="connsiteY73" fmla="*/ 387958 h 400001"/>
              <a:gd name="connsiteX74" fmla="*/ 166398 w 353301"/>
              <a:gd name="connsiteY74" fmla="*/ 385748 h 400001"/>
              <a:gd name="connsiteX75" fmla="*/ 185534 w 353301"/>
              <a:gd name="connsiteY75" fmla="*/ 371082 h 400001"/>
              <a:gd name="connsiteX76" fmla="*/ 203263 w 353301"/>
              <a:gd name="connsiteY76" fmla="*/ 349034 h 400001"/>
              <a:gd name="connsiteX77" fmla="*/ 207381 w 353301"/>
              <a:gd name="connsiteY77" fmla="*/ 339943 h 400001"/>
              <a:gd name="connsiteX78" fmla="*/ 209742 w 353301"/>
              <a:gd name="connsiteY78" fmla="*/ 336277 h 400001"/>
              <a:gd name="connsiteX79" fmla="*/ 217326 w 353301"/>
              <a:gd name="connsiteY79" fmla="*/ 310110 h 400001"/>
              <a:gd name="connsiteX80" fmla="*/ 218531 w 353301"/>
              <a:gd name="connsiteY80" fmla="*/ 283591 h 400001"/>
              <a:gd name="connsiteX81" fmla="*/ 218531 w 353301"/>
              <a:gd name="connsiteY81" fmla="*/ 187110 h 400001"/>
              <a:gd name="connsiteX82" fmla="*/ 216673 w 353301"/>
              <a:gd name="connsiteY82" fmla="*/ 162450 h 400001"/>
              <a:gd name="connsiteX83" fmla="*/ 212052 w 353301"/>
              <a:gd name="connsiteY83" fmla="*/ 152656 h 400001"/>
              <a:gd name="connsiteX84" fmla="*/ 191159 w 353301"/>
              <a:gd name="connsiteY84" fmla="*/ 118051 h 400001"/>
              <a:gd name="connsiteX85" fmla="*/ 166047 w 353301"/>
              <a:gd name="connsiteY85" fmla="*/ 96455 h 400001"/>
              <a:gd name="connsiteX86" fmla="*/ 161024 w 353301"/>
              <a:gd name="connsiteY86" fmla="*/ 94245 h 400001"/>
              <a:gd name="connsiteX87" fmla="*/ 152185 w 353301"/>
              <a:gd name="connsiteY87" fmla="*/ 89825 h 400001"/>
              <a:gd name="connsiteX88" fmla="*/ 117479 w 353301"/>
              <a:gd name="connsiteY88" fmla="*/ 82291 h 400001"/>
              <a:gd name="connsiteX89" fmla="*/ 123757 w 353301"/>
              <a:gd name="connsiteY89" fmla="*/ 58435 h 400001"/>
              <a:gd name="connsiteX90" fmla="*/ 126219 w 353301"/>
              <a:gd name="connsiteY90" fmla="*/ 53663 h 400001"/>
              <a:gd name="connsiteX91" fmla="*/ 127776 w 353301"/>
              <a:gd name="connsiteY91" fmla="*/ 51554 h 400001"/>
              <a:gd name="connsiteX92" fmla="*/ 133802 w 353301"/>
              <a:gd name="connsiteY92" fmla="*/ 44322 h 400001"/>
              <a:gd name="connsiteX93" fmla="*/ 137971 w 353301"/>
              <a:gd name="connsiteY93" fmla="*/ 40103 h 400001"/>
              <a:gd name="connsiteX94" fmla="*/ 152636 w 353301"/>
              <a:gd name="connsiteY94" fmla="*/ 30610 h 400001"/>
              <a:gd name="connsiteX95" fmla="*/ 158111 w 353301"/>
              <a:gd name="connsiteY95" fmla="*/ 27647 h 400001"/>
              <a:gd name="connsiteX96" fmla="*/ 170768 w 353301"/>
              <a:gd name="connsiteY96" fmla="*/ 24633 h 400001"/>
              <a:gd name="connsiteX97" fmla="*/ 204267 w 353301"/>
              <a:gd name="connsiteY97" fmla="*/ 24633 h 400001"/>
              <a:gd name="connsiteX98" fmla="*/ 225663 w 353301"/>
              <a:gd name="connsiteY98" fmla="*/ 33322 h 400001"/>
              <a:gd name="connsiteX99" fmla="*/ 246707 w 353301"/>
              <a:gd name="connsiteY99" fmla="*/ 53412 h 400001"/>
              <a:gd name="connsiteX100" fmla="*/ 253387 w 353301"/>
              <a:gd name="connsiteY100" fmla="*/ 65968 h 400001"/>
              <a:gd name="connsiteX101" fmla="*/ 256451 w 353301"/>
              <a:gd name="connsiteY101" fmla="*/ 73753 h 400001"/>
              <a:gd name="connsiteX102" fmla="*/ 259916 w 353301"/>
              <a:gd name="connsiteY102" fmla="*/ 90829 h 400001"/>
              <a:gd name="connsiteX103" fmla="*/ 264537 w 353301"/>
              <a:gd name="connsiteY103" fmla="*/ 131963 h 400001"/>
              <a:gd name="connsiteX104" fmla="*/ 261925 w 353301"/>
              <a:gd name="connsiteY104" fmla="*/ 153409 h 400001"/>
              <a:gd name="connsiteX105" fmla="*/ 258610 w 353301"/>
              <a:gd name="connsiteY105" fmla="*/ 175458 h 400001"/>
              <a:gd name="connsiteX106" fmla="*/ 254191 w 353301"/>
              <a:gd name="connsiteY106" fmla="*/ 195096 h 400001"/>
              <a:gd name="connsiteX107" fmla="*/ 253186 w 353301"/>
              <a:gd name="connsiteY107" fmla="*/ 206145 h 400001"/>
              <a:gd name="connsiteX108" fmla="*/ 249369 w 353301"/>
              <a:gd name="connsiteY108" fmla="*/ 215587 h 400001"/>
              <a:gd name="connsiteX109" fmla="*/ 245703 w 353301"/>
              <a:gd name="connsiteY109" fmla="*/ 236029 h 400001"/>
              <a:gd name="connsiteX110" fmla="*/ 242036 w 353301"/>
              <a:gd name="connsiteY110" fmla="*/ 257675 h 400001"/>
              <a:gd name="connsiteX111" fmla="*/ 238068 w 353301"/>
              <a:gd name="connsiteY111" fmla="*/ 277765 h 400001"/>
              <a:gd name="connsiteX112" fmla="*/ 238420 w 353301"/>
              <a:gd name="connsiteY112" fmla="*/ 330401 h 400001"/>
              <a:gd name="connsiteX113" fmla="*/ 241936 w 353301"/>
              <a:gd name="connsiteY113" fmla="*/ 335423 h 400001"/>
              <a:gd name="connsiteX114" fmla="*/ 243191 w 353301"/>
              <a:gd name="connsiteY114" fmla="*/ 342605 h 400001"/>
              <a:gd name="connsiteX115" fmla="*/ 252081 w 353301"/>
              <a:gd name="connsiteY115" fmla="*/ 361439 h 400001"/>
              <a:gd name="connsiteX116" fmla="*/ 270263 w 353301"/>
              <a:gd name="connsiteY116" fmla="*/ 380625 h 400001"/>
              <a:gd name="connsiteX117" fmla="*/ 310442 w 353301"/>
              <a:gd name="connsiteY117" fmla="*/ 388762 h 400001"/>
              <a:gd name="connsiteX118" fmla="*/ 318227 w 353301"/>
              <a:gd name="connsiteY118" fmla="*/ 385648 h 400001"/>
              <a:gd name="connsiteX119" fmla="*/ 333294 w 353301"/>
              <a:gd name="connsiteY119" fmla="*/ 376909 h 400001"/>
              <a:gd name="connsiteX120" fmla="*/ 344494 w 353301"/>
              <a:gd name="connsiteY120" fmla="*/ 363951 h 400001"/>
              <a:gd name="connsiteX121" fmla="*/ 349115 w 353301"/>
              <a:gd name="connsiteY121" fmla="*/ 356568 h 400001"/>
              <a:gd name="connsiteX122" fmla="*/ 353585 w 353301"/>
              <a:gd name="connsiteY122" fmla="*/ 336930 h 400001"/>
              <a:gd name="connsiteX123" fmla="*/ 350321 w 353301"/>
              <a:gd name="connsiteY123" fmla="*/ 325730 h 400001"/>
              <a:gd name="connsiteX124" fmla="*/ 349466 w 353301"/>
              <a:gd name="connsiteY124" fmla="*/ 319401 h 400001"/>
              <a:gd name="connsiteX125" fmla="*/ 335755 w 353301"/>
              <a:gd name="connsiteY125" fmla="*/ 304334 h 400001"/>
              <a:gd name="connsiteX126" fmla="*/ 333545 w 353301"/>
              <a:gd name="connsiteY126" fmla="*/ 302928 h 400001"/>
              <a:gd name="connsiteX127" fmla="*/ 309538 w 353301"/>
              <a:gd name="connsiteY127" fmla="*/ 294289 h 400001"/>
              <a:gd name="connsiteX128" fmla="*/ 294471 w 353301"/>
              <a:gd name="connsiteY128" fmla="*/ 299563 h 400001"/>
              <a:gd name="connsiteX129" fmla="*/ 299744 w 353301"/>
              <a:gd name="connsiteY129" fmla="*/ 316287 h 400001"/>
              <a:gd name="connsiteX130" fmla="*/ 313958 w 353301"/>
              <a:gd name="connsiteY130" fmla="*/ 317794 h 400001"/>
              <a:gd name="connsiteX131" fmla="*/ 324254 w 353301"/>
              <a:gd name="connsiteY131" fmla="*/ 323168 h 400001"/>
              <a:gd name="connsiteX132" fmla="*/ 325961 w 353301"/>
              <a:gd name="connsiteY132" fmla="*/ 352750 h 400001"/>
              <a:gd name="connsiteX133" fmla="*/ 302758 w 353301"/>
              <a:gd name="connsiteY133" fmla="*/ 365708 h 400001"/>
              <a:gd name="connsiteX134" fmla="*/ 286736 w 353301"/>
              <a:gd name="connsiteY134" fmla="*/ 364302 h 400001"/>
              <a:gd name="connsiteX135" fmla="*/ 277847 w 353301"/>
              <a:gd name="connsiteY135" fmla="*/ 357472 h 400001"/>
              <a:gd name="connsiteX136" fmla="*/ 265843 w 353301"/>
              <a:gd name="connsiteY136" fmla="*/ 340546 h 400001"/>
              <a:gd name="connsiteX137" fmla="*/ 260820 w 353301"/>
              <a:gd name="connsiteY137" fmla="*/ 317794 h 400001"/>
              <a:gd name="connsiteX138" fmla="*/ 259565 w 353301"/>
              <a:gd name="connsiteY138" fmla="*/ 300919 h 400001"/>
              <a:gd name="connsiteX139" fmla="*/ 262126 w 353301"/>
              <a:gd name="connsiteY139" fmla="*/ 267218 h 400001"/>
              <a:gd name="connsiteX140" fmla="*/ 266245 w 353301"/>
              <a:gd name="connsiteY140" fmla="*/ 253256 h 400001"/>
              <a:gd name="connsiteX141" fmla="*/ 268002 w 353301"/>
              <a:gd name="connsiteY141" fmla="*/ 236983 h 400001"/>
              <a:gd name="connsiteX142" fmla="*/ 273025 w 353301"/>
              <a:gd name="connsiteY142" fmla="*/ 215487 h 400001"/>
              <a:gd name="connsiteX143" fmla="*/ 277696 w 353301"/>
              <a:gd name="connsiteY143" fmla="*/ 191228 h 400001"/>
              <a:gd name="connsiteX144" fmla="*/ 283723 w 353301"/>
              <a:gd name="connsiteY144" fmla="*/ 161094 h 400001"/>
              <a:gd name="connsiteX145" fmla="*/ 287188 w 353301"/>
              <a:gd name="connsiteY145" fmla="*/ 128297 h 400001"/>
              <a:gd name="connsiteX146" fmla="*/ 282166 w 353301"/>
              <a:gd name="connsiteY146" fmla="*/ 79228 h 400001"/>
              <a:gd name="connsiteX147" fmla="*/ 279353 w 353301"/>
              <a:gd name="connsiteY147" fmla="*/ 73602 h 400001"/>
              <a:gd name="connsiteX148" fmla="*/ 277394 w 353301"/>
              <a:gd name="connsiteY148" fmla="*/ 65968 h 400001"/>
              <a:gd name="connsiteX149" fmla="*/ 272824 w 353301"/>
              <a:gd name="connsiteY149" fmla="*/ 57229 h 400001"/>
              <a:gd name="connsiteX150" fmla="*/ 268103 w 353301"/>
              <a:gd name="connsiteY150" fmla="*/ 48741 h 400001"/>
              <a:gd name="connsiteX151" fmla="*/ 261172 w 353301"/>
              <a:gd name="connsiteY151" fmla="*/ 37591 h 400001"/>
              <a:gd name="connsiteX152" fmla="*/ 250424 w 353301"/>
              <a:gd name="connsiteY152" fmla="*/ 25387 h 400001"/>
              <a:gd name="connsiteX153" fmla="*/ 247812 w 353301"/>
              <a:gd name="connsiteY153" fmla="*/ 23227 h 400001"/>
              <a:gd name="connsiteX154" fmla="*/ 243342 w 353301"/>
              <a:gd name="connsiteY154" fmla="*/ 19209 h 400001"/>
              <a:gd name="connsiteX155" fmla="*/ 226015 w 353301"/>
              <a:gd name="connsiteY155" fmla="*/ 8863 h 400001"/>
              <a:gd name="connsiteX156" fmla="*/ 196734 w 353301"/>
              <a:gd name="connsiteY156" fmla="*/ 727 h 400001"/>
              <a:gd name="connsiteX157" fmla="*/ 155650 w 353301"/>
              <a:gd name="connsiteY157" fmla="*/ 5397 h 400001"/>
              <a:gd name="connsiteX158" fmla="*/ 146811 w 353301"/>
              <a:gd name="connsiteY158" fmla="*/ 7457 h 400001"/>
              <a:gd name="connsiteX159" fmla="*/ 140080 w 353301"/>
              <a:gd name="connsiteY159" fmla="*/ 11575 h 400001"/>
              <a:gd name="connsiteX160" fmla="*/ 127123 w 353301"/>
              <a:gd name="connsiteY160" fmla="*/ 20314 h 400001"/>
              <a:gd name="connsiteX161" fmla="*/ 117630 w 353301"/>
              <a:gd name="connsiteY161" fmla="*/ 28199 h 400001"/>
              <a:gd name="connsiteX162" fmla="*/ 117027 w 353301"/>
              <a:gd name="connsiteY162" fmla="*/ 28802 h 400001"/>
              <a:gd name="connsiteX163" fmla="*/ 99499 w 353301"/>
              <a:gd name="connsiteY163" fmla="*/ 57079 h 400001"/>
              <a:gd name="connsiteX164" fmla="*/ 94477 w 353301"/>
              <a:gd name="connsiteY164" fmla="*/ 74004 h 400001"/>
              <a:gd name="connsiteX165" fmla="*/ 82172 w 353301"/>
              <a:gd name="connsiteY165" fmla="*/ 84602 h 400001"/>
              <a:gd name="connsiteX166" fmla="*/ 74186 w 353301"/>
              <a:gd name="connsiteY166" fmla="*/ 87464 h 400001"/>
              <a:gd name="connsiteX167" fmla="*/ 59118 w 353301"/>
              <a:gd name="connsiteY167" fmla="*/ 93943 h 400001"/>
              <a:gd name="connsiteX168" fmla="*/ 52439 w 353301"/>
              <a:gd name="connsiteY168" fmla="*/ 98112 h 400001"/>
              <a:gd name="connsiteX169" fmla="*/ 28130 w 353301"/>
              <a:gd name="connsiteY169" fmla="*/ 117248 h 400001"/>
              <a:gd name="connsiteX170" fmla="*/ 23107 w 353301"/>
              <a:gd name="connsiteY170" fmla="*/ 123174 h 400001"/>
              <a:gd name="connsiteX171" fmla="*/ 10752 w 353301"/>
              <a:gd name="connsiteY171" fmla="*/ 143264 h 400001"/>
              <a:gd name="connsiteX172" fmla="*/ 6584 w 353301"/>
              <a:gd name="connsiteY172" fmla="*/ 149944 h 400001"/>
              <a:gd name="connsiteX173" fmla="*/ 4675 w 353301"/>
              <a:gd name="connsiteY173" fmla="*/ 158934 h 400001"/>
              <a:gd name="connsiteX174" fmla="*/ 1661 w 353301"/>
              <a:gd name="connsiteY174" fmla="*/ 166719 h 400001"/>
              <a:gd name="connsiteX175" fmla="*/ 306 w 353301"/>
              <a:gd name="connsiteY175" fmla="*/ 177567 h 400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Lst>
            <a:rect l="l" t="t" r="r" b="b"/>
            <a:pathLst>
              <a:path w="353301" h="400001">
                <a:moveTo>
                  <a:pt x="96737" y="251096"/>
                </a:moveTo>
                <a:lnTo>
                  <a:pt x="96737" y="187210"/>
                </a:lnTo>
                <a:cubicBezTo>
                  <a:pt x="97058" y="185101"/>
                  <a:pt x="98128" y="183172"/>
                  <a:pt x="99750" y="181786"/>
                </a:cubicBezTo>
                <a:cubicBezTo>
                  <a:pt x="104019" y="177065"/>
                  <a:pt x="109192" y="178672"/>
                  <a:pt x="114817" y="179978"/>
                </a:cubicBezTo>
                <a:cubicBezTo>
                  <a:pt x="117580" y="191731"/>
                  <a:pt x="116023" y="234823"/>
                  <a:pt x="116023" y="249891"/>
                </a:cubicBezTo>
                <a:cubicBezTo>
                  <a:pt x="116023" y="258630"/>
                  <a:pt x="110197" y="259534"/>
                  <a:pt x="101558" y="259534"/>
                </a:cubicBezTo>
                <a:cubicBezTo>
                  <a:pt x="99750" y="251598"/>
                  <a:pt x="96536" y="256420"/>
                  <a:pt x="96536" y="251096"/>
                </a:cubicBezTo>
                <a:close/>
                <a:moveTo>
                  <a:pt x="197989" y="237837"/>
                </a:moveTo>
                <a:cubicBezTo>
                  <a:pt x="197989" y="229248"/>
                  <a:pt x="173882" y="238540"/>
                  <a:pt x="170165" y="238891"/>
                </a:cubicBezTo>
                <a:cubicBezTo>
                  <a:pt x="164540" y="239444"/>
                  <a:pt x="158111" y="240147"/>
                  <a:pt x="153440" y="240298"/>
                </a:cubicBezTo>
                <a:cubicBezTo>
                  <a:pt x="132999" y="240750"/>
                  <a:pt x="141286" y="239092"/>
                  <a:pt x="139578" y="251598"/>
                </a:cubicBezTo>
                <a:cubicBezTo>
                  <a:pt x="138308" y="258399"/>
                  <a:pt x="135751" y="264893"/>
                  <a:pt x="132044" y="270734"/>
                </a:cubicBezTo>
                <a:lnTo>
                  <a:pt x="122000" y="278519"/>
                </a:lnTo>
                <a:cubicBezTo>
                  <a:pt x="120242" y="279121"/>
                  <a:pt x="116977" y="279473"/>
                  <a:pt x="115119" y="280025"/>
                </a:cubicBezTo>
                <a:cubicBezTo>
                  <a:pt x="102362" y="283842"/>
                  <a:pt x="117128" y="284043"/>
                  <a:pt x="95481" y="279172"/>
                </a:cubicBezTo>
                <a:cubicBezTo>
                  <a:pt x="90459" y="278016"/>
                  <a:pt x="91061" y="279172"/>
                  <a:pt x="87144" y="275405"/>
                </a:cubicBezTo>
                <a:cubicBezTo>
                  <a:pt x="79871" y="269358"/>
                  <a:pt x="75582" y="260453"/>
                  <a:pt x="75391" y="250996"/>
                </a:cubicBezTo>
                <a:cubicBezTo>
                  <a:pt x="74939" y="242508"/>
                  <a:pt x="77903" y="240499"/>
                  <a:pt x="69415" y="240147"/>
                </a:cubicBezTo>
                <a:cubicBezTo>
                  <a:pt x="53393" y="239394"/>
                  <a:pt x="45508" y="239645"/>
                  <a:pt x="33303" y="235125"/>
                </a:cubicBezTo>
                <a:cubicBezTo>
                  <a:pt x="29792" y="233532"/>
                  <a:pt x="25764" y="233532"/>
                  <a:pt x="22254" y="235125"/>
                </a:cubicBezTo>
                <a:cubicBezTo>
                  <a:pt x="22254" y="248886"/>
                  <a:pt x="21199" y="310160"/>
                  <a:pt x="27276" y="321662"/>
                </a:cubicBezTo>
                <a:cubicBezTo>
                  <a:pt x="29335" y="325529"/>
                  <a:pt x="29084" y="327186"/>
                  <a:pt x="30691" y="330300"/>
                </a:cubicBezTo>
                <a:cubicBezTo>
                  <a:pt x="33002" y="334619"/>
                  <a:pt x="31846" y="329898"/>
                  <a:pt x="35714" y="338437"/>
                </a:cubicBezTo>
                <a:lnTo>
                  <a:pt x="53945" y="358777"/>
                </a:lnTo>
                <a:cubicBezTo>
                  <a:pt x="60283" y="364287"/>
                  <a:pt x="67737" y="368360"/>
                  <a:pt x="75793" y="370731"/>
                </a:cubicBezTo>
                <a:cubicBezTo>
                  <a:pt x="82523" y="372941"/>
                  <a:pt x="76948" y="373744"/>
                  <a:pt x="89504" y="375050"/>
                </a:cubicBezTo>
                <a:cubicBezTo>
                  <a:pt x="103366" y="376507"/>
                  <a:pt x="130086" y="378767"/>
                  <a:pt x="140985" y="372087"/>
                </a:cubicBezTo>
                <a:cubicBezTo>
                  <a:pt x="149020" y="367064"/>
                  <a:pt x="144601" y="373041"/>
                  <a:pt x="158663" y="363197"/>
                </a:cubicBezTo>
                <a:lnTo>
                  <a:pt x="178753" y="344765"/>
                </a:lnTo>
                <a:cubicBezTo>
                  <a:pt x="183163" y="338542"/>
                  <a:pt x="187091" y="331993"/>
                  <a:pt x="190506" y="325177"/>
                </a:cubicBezTo>
                <a:cubicBezTo>
                  <a:pt x="199346" y="310964"/>
                  <a:pt x="198040" y="252452"/>
                  <a:pt x="198040" y="237535"/>
                </a:cubicBezTo>
                <a:close/>
                <a:moveTo>
                  <a:pt x="71423" y="216140"/>
                </a:moveTo>
                <a:cubicBezTo>
                  <a:pt x="81820" y="216140"/>
                  <a:pt x="66803" y="186005"/>
                  <a:pt x="83276" y="165312"/>
                </a:cubicBezTo>
                <a:cubicBezTo>
                  <a:pt x="91006" y="156985"/>
                  <a:pt x="102558" y="153359"/>
                  <a:pt x="113662" y="155770"/>
                </a:cubicBezTo>
                <a:cubicBezTo>
                  <a:pt x="118770" y="156739"/>
                  <a:pt x="123486" y="159185"/>
                  <a:pt x="127223" y="162801"/>
                </a:cubicBezTo>
                <a:cubicBezTo>
                  <a:pt x="131432" y="165639"/>
                  <a:pt x="134410" y="169963"/>
                  <a:pt x="135560" y="174905"/>
                </a:cubicBezTo>
                <a:cubicBezTo>
                  <a:pt x="141688" y="188717"/>
                  <a:pt x="140131" y="186658"/>
                  <a:pt x="140131" y="205291"/>
                </a:cubicBezTo>
                <a:cubicBezTo>
                  <a:pt x="140131" y="213829"/>
                  <a:pt x="137017" y="209158"/>
                  <a:pt x="141336" y="217345"/>
                </a:cubicBezTo>
                <a:cubicBezTo>
                  <a:pt x="156750" y="216968"/>
                  <a:pt x="172114" y="215406"/>
                  <a:pt x="187291" y="212674"/>
                </a:cubicBezTo>
                <a:cubicBezTo>
                  <a:pt x="192314" y="211167"/>
                  <a:pt x="197989" y="211921"/>
                  <a:pt x="197989" y="206497"/>
                </a:cubicBezTo>
                <a:cubicBezTo>
                  <a:pt x="198667" y="195412"/>
                  <a:pt x="197583" y="184292"/>
                  <a:pt x="194775" y="173549"/>
                </a:cubicBezTo>
                <a:cubicBezTo>
                  <a:pt x="193730" y="170581"/>
                  <a:pt x="193203" y="167457"/>
                  <a:pt x="193218" y="164308"/>
                </a:cubicBezTo>
                <a:cubicBezTo>
                  <a:pt x="192515" y="154263"/>
                  <a:pt x="190456" y="159286"/>
                  <a:pt x="187744" y="152857"/>
                </a:cubicBezTo>
                <a:cubicBezTo>
                  <a:pt x="185830" y="146549"/>
                  <a:pt x="182380" y="140818"/>
                  <a:pt x="177699" y="136182"/>
                </a:cubicBezTo>
                <a:cubicBezTo>
                  <a:pt x="171179" y="128121"/>
                  <a:pt x="163249" y="121311"/>
                  <a:pt x="154294" y="116092"/>
                </a:cubicBezTo>
                <a:cubicBezTo>
                  <a:pt x="146459" y="110769"/>
                  <a:pt x="150226" y="115038"/>
                  <a:pt x="139227" y="109161"/>
                </a:cubicBezTo>
                <a:cubicBezTo>
                  <a:pt x="130347" y="106645"/>
                  <a:pt x="121181" y="105274"/>
                  <a:pt x="111955" y="105093"/>
                </a:cubicBezTo>
                <a:cubicBezTo>
                  <a:pt x="101041" y="105420"/>
                  <a:pt x="90177" y="106630"/>
                  <a:pt x="79460" y="108709"/>
                </a:cubicBezTo>
                <a:cubicBezTo>
                  <a:pt x="76913" y="110312"/>
                  <a:pt x="74221" y="111678"/>
                  <a:pt x="71423" y="112778"/>
                </a:cubicBezTo>
                <a:cubicBezTo>
                  <a:pt x="65396" y="114937"/>
                  <a:pt x="67757" y="114787"/>
                  <a:pt x="63689" y="117047"/>
                </a:cubicBezTo>
                <a:cubicBezTo>
                  <a:pt x="61580" y="118202"/>
                  <a:pt x="61278" y="117900"/>
                  <a:pt x="59470" y="118855"/>
                </a:cubicBezTo>
                <a:cubicBezTo>
                  <a:pt x="53795" y="121768"/>
                  <a:pt x="42444" y="134876"/>
                  <a:pt x="37924" y="139547"/>
                </a:cubicBezTo>
                <a:cubicBezTo>
                  <a:pt x="35664" y="141908"/>
                  <a:pt x="37271" y="138643"/>
                  <a:pt x="35362" y="143013"/>
                </a:cubicBezTo>
                <a:lnTo>
                  <a:pt x="29335" y="155067"/>
                </a:lnTo>
                <a:cubicBezTo>
                  <a:pt x="28873" y="156568"/>
                  <a:pt x="28336" y="158040"/>
                  <a:pt x="27728" y="159486"/>
                </a:cubicBezTo>
                <a:cubicBezTo>
                  <a:pt x="21601" y="172444"/>
                  <a:pt x="21550" y="188968"/>
                  <a:pt x="21550" y="207551"/>
                </a:cubicBezTo>
                <a:cubicBezTo>
                  <a:pt x="21550" y="215989"/>
                  <a:pt x="63237" y="215989"/>
                  <a:pt x="70972" y="215989"/>
                </a:cubicBezTo>
                <a:close/>
                <a:moveTo>
                  <a:pt x="306" y="177567"/>
                </a:moveTo>
                <a:lnTo>
                  <a:pt x="306" y="308955"/>
                </a:lnTo>
                <a:cubicBezTo>
                  <a:pt x="150" y="312571"/>
                  <a:pt x="1270" y="316127"/>
                  <a:pt x="3470" y="319000"/>
                </a:cubicBezTo>
                <a:cubicBezTo>
                  <a:pt x="5880" y="323771"/>
                  <a:pt x="4625" y="325177"/>
                  <a:pt x="6182" y="329547"/>
                </a:cubicBezTo>
                <a:cubicBezTo>
                  <a:pt x="8693" y="336679"/>
                  <a:pt x="14117" y="344614"/>
                  <a:pt x="17080" y="351244"/>
                </a:cubicBezTo>
                <a:cubicBezTo>
                  <a:pt x="18889" y="355211"/>
                  <a:pt x="17683" y="352650"/>
                  <a:pt x="20194" y="355312"/>
                </a:cubicBezTo>
                <a:lnTo>
                  <a:pt x="46713" y="381881"/>
                </a:lnTo>
                <a:lnTo>
                  <a:pt x="59269" y="388611"/>
                </a:lnTo>
                <a:cubicBezTo>
                  <a:pt x="60871" y="389339"/>
                  <a:pt x="62398" y="390213"/>
                  <a:pt x="63839" y="391222"/>
                </a:cubicBezTo>
                <a:lnTo>
                  <a:pt x="73884" y="394437"/>
                </a:lnTo>
                <a:cubicBezTo>
                  <a:pt x="80665" y="395642"/>
                  <a:pt x="78254" y="396396"/>
                  <a:pt x="83477" y="398153"/>
                </a:cubicBezTo>
                <a:cubicBezTo>
                  <a:pt x="91523" y="399560"/>
                  <a:pt x="99670" y="400298"/>
                  <a:pt x="107836" y="400363"/>
                </a:cubicBezTo>
                <a:cubicBezTo>
                  <a:pt x="112196" y="400494"/>
                  <a:pt x="116560" y="400137"/>
                  <a:pt x="120844" y="399309"/>
                </a:cubicBezTo>
                <a:cubicBezTo>
                  <a:pt x="144801" y="398053"/>
                  <a:pt x="127323" y="399911"/>
                  <a:pt x="143144" y="395040"/>
                </a:cubicBezTo>
                <a:cubicBezTo>
                  <a:pt x="144796" y="394598"/>
                  <a:pt x="146474" y="394246"/>
                  <a:pt x="148167" y="393985"/>
                </a:cubicBezTo>
                <a:cubicBezTo>
                  <a:pt x="150080" y="393754"/>
                  <a:pt x="151923" y="393136"/>
                  <a:pt x="153591" y="392177"/>
                </a:cubicBezTo>
                <a:lnTo>
                  <a:pt x="162631" y="387958"/>
                </a:lnTo>
                <a:cubicBezTo>
                  <a:pt x="164053" y="387556"/>
                  <a:pt x="165353" y="386793"/>
                  <a:pt x="166398" y="385748"/>
                </a:cubicBezTo>
                <a:lnTo>
                  <a:pt x="185534" y="371082"/>
                </a:lnTo>
                <a:cubicBezTo>
                  <a:pt x="192430" y="364583"/>
                  <a:pt x="198391" y="357160"/>
                  <a:pt x="203263" y="349034"/>
                </a:cubicBezTo>
                <a:cubicBezTo>
                  <a:pt x="207080" y="343660"/>
                  <a:pt x="205021" y="345267"/>
                  <a:pt x="207381" y="339943"/>
                </a:cubicBezTo>
                <a:cubicBezTo>
                  <a:pt x="209139" y="336076"/>
                  <a:pt x="207783" y="339441"/>
                  <a:pt x="209742" y="336277"/>
                </a:cubicBezTo>
                <a:cubicBezTo>
                  <a:pt x="214217" y="328241"/>
                  <a:pt x="216809" y="319291"/>
                  <a:pt x="217326" y="310110"/>
                </a:cubicBezTo>
                <a:cubicBezTo>
                  <a:pt x="217326" y="301371"/>
                  <a:pt x="218531" y="293938"/>
                  <a:pt x="218531" y="283591"/>
                </a:cubicBezTo>
                <a:cubicBezTo>
                  <a:pt x="218531" y="251498"/>
                  <a:pt x="219536" y="219203"/>
                  <a:pt x="218531" y="187110"/>
                </a:cubicBezTo>
                <a:lnTo>
                  <a:pt x="216673" y="162450"/>
                </a:lnTo>
                <a:cubicBezTo>
                  <a:pt x="214965" y="154966"/>
                  <a:pt x="214112" y="159235"/>
                  <a:pt x="212052" y="152656"/>
                </a:cubicBezTo>
                <a:cubicBezTo>
                  <a:pt x="207331" y="137588"/>
                  <a:pt x="201254" y="130205"/>
                  <a:pt x="191159" y="118051"/>
                </a:cubicBezTo>
                <a:lnTo>
                  <a:pt x="166047" y="96455"/>
                </a:lnTo>
                <a:cubicBezTo>
                  <a:pt x="162531" y="93692"/>
                  <a:pt x="165645" y="95551"/>
                  <a:pt x="161024" y="94245"/>
                </a:cubicBezTo>
                <a:cubicBezTo>
                  <a:pt x="154344" y="92336"/>
                  <a:pt x="156655" y="91633"/>
                  <a:pt x="152185" y="89825"/>
                </a:cubicBezTo>
                <a:cubicBezTo>
                  <a:pt x="131191" y="81287"/>
                  <a:pt x="132647" y="85807"/>
                  <a:pt x="117479" y="82291"/>
                </a:cubicBezTo>
                <a:cubicBezTo>
                  <a:pt x="117479" y="69534"/>
                  <a:pt x="120342" y="68429"/>
                  <a:pt x="123757" y="58435"/>
                </a:cubicBezTo>
                <a:cubicBezTo>
                  <a:pt x="124174" y="56667"/>
                  <a:pt x="125023" y="55029"/>
                  <a:pt x="126219" y="53663"/>
                </a:cubicBezTo>
                <a:lnTo>
                  <a:pt x="127776" y="51554"/>
                </a:lnTo>
                <a:lnTo>
                  <a:pt x="133802" y="44322"/>
                </a:lnTo>
                <a:lnTo>
                  <a:pt x="137971" y="40103"/>
                </a:lnTo>
                <a:cubicBezTo>
                  <a:pt x="142195" y="36014"/>
                  <a:pt x="147177" y="32790"/>
                  <a:pt x="152636" y="30610"/>
                </a:cubicBezTo>
                <a:cubicBezTo>
                  <a:pt x="154605" y="29922"/>
                  <a:pt x="156459" y="28923"/>
                  <a:pt x="158111" y="27647"/>
                </a:cubicBezTo>
                <a:cubicBezTo>
                  <a:pt x="162089" y="25819"/>
                  <a:pt x="166393" y="24794"/>
                  <a:pt x="170768" y="24633"/>
                </a:cubicBezTo>
                <a:cubicBezTo>
                  <a:pt x="181907" y="23554"/>
                  <a:pt x="193128" y="23554"/>
                  <a:pt x="204267" y="24633"/>
                </a:cubicBezTo>
                <a:cubicBezTo>
                  <a:pt x="211881" y="26165"/>
                  <a:pt x="219139" y="29114"/>
                  <a:pt x="225663" y="33322"/>
                </a:cubicBezTo>
                <a:lnTo>
                  <a:pt x="246707" y="53412"/>
                </a:lnTo>
                <a:lnTo>
                  <a:pt x="253387" y="65968"/>
                </a:lnTo>
                <a:cubicBezTo>
                  <a:pt x="255245" y="71694"/>
                  <a:pt x="252985" y="68379"/>
                  <a:pt x="256451" y="73753"/>
                </a:cubicBezTo>
                <a:cubicBezTo>
                  <a:pt x="258806" y="79132"/>
                  <a:pt x="259991" y="84953"/>
                  <a:pt x="259916" y="90829"/>
                </a:cubicBezTo>
                <a:cubicBezTo>
                  <a:pt x="261524" y="107102"/>
                  <a:pt x="264537" y="85154"/>
                  <a:pt x="264537" y="131963"/>
                </a:cubicBezTo>
                <a:cubicBezTo>
                  <a:pt x="264567" y="139196"/>
                  <a:pt x="263693" y="146398"/>
                  <a:pt x="261925" y="153409"/>
                </a:cubicBezTo>
                <a:cubicBezTo>
                  <a:pt x="260408" y="160692"/>
                  <a:pt x="259298" y="168050"/>
                  <a:pt x="258610" y="175458"/>
                </a:cubicBezTo>
                <a:cubicBezTo>
                  <a:pt x="257505" y="183494"/>
                  <a:pt x="255396" y="186306"/>
                  <a:pt x="254191" y="195096"/>
                </a:cubicBezTo>
                <a:cubicBezTo>
                  <a:pt x="253638" y="198862"/>
                  <a:pt x="254191" y="202880"/>
                  <a:pt x="253186" y="206145"/>
                </a:cubicBezTo>
                <a:cubicBezTo>
                  <a:pt x="251750" y="209224"/>
                  <a:pt x="250474" y="212373"/>
                  <a:pt x="249369" y="215587"/>
                </a:cubicBezTo>
                <a:cubicBezTo>
                  <a:pt x="247611" y="223975"/>
                  <a:pt x="248917" y="228545"/>
                  <a:pt x="245703" y="236029"/>
                </a:cubicBezTo>
                <a:cubicBezTo>
                  <a:pt x="242488" y="243512"/>
                  <a:pt x="243543" y="249891"/>
                  <a:pt x="242036" y="257675"/>
                </a:cubicBezTo>
                <a:cubicBezTo>
                  <a:pt x="240278" y="266716"/>
                  <a:pt x="238169" y="266967"/>
                  <a:pt x="238068" y="277765"/>
                </a:cubicBezTo>
                <a:cubicBezTo>
                  <a:pt x="237968" y="288563"/>
                  <a:pt x="234051" y="319000"/>
                  <a:pt x="238420" y="330401"/>
                </a:cubicBezTo>
                <a:cubicBezTo>
                  <a:pt x="239826" y="334067"/>
                  <a:pt x="239877" y="331053"/>
                  <a:pt x="241936" y="335423"/>
                </a:cubicBezTo>
                <a:cubicBezTo>
                  <a:pt x="243995" y="339793"/>
                  <a:pt x="242338" y="338688"/>
                  <a:pt x="243191" y="342605"/>
                </a:cubicBezTo>
                <a:lnTo>
                  <a:pt x="252081" y="361439"/>
                </a:lnTo>
                <a:lnTo>
                  <a:pt x="270263" y="380625"/>
                </a:lnTo>
                <a:cubicBezTo>
                  <a:pt x="280709" y="388611"/>
                  <a:pt x="297133" y="388762"/>
                  <a:pt x="310442" y="388762"/>
                </a:cubicBezTo>
                <a:cubicBezTo>
                  <a:pt x="314862" y="388762"/>
                  <a:pt x="315214" y="387405"/>
                  <a:pt x="318227" y="385648"/>
                </a:cubicBezTo>
                <a:cubicBezTo>
                  <a:pt x="323586" y="383357"/>
                  <a:pt x="328643" y="380424"/>
                  <a:pt x="333294" y="376909"/>
                </a:cubicBezTo>
                <a:cubicBezTo>
                  <a:pt x="337945" y="373473"/>
                  <a:pt x="341767" y="369048"/>
                  <a:pt x="344494" y="363951"/>
                </a:cubicBezTo>
                <a:cubicBezTo>
                  <a:pt x="346754" y="359280"/>
                  <a:pt x="347558" y="360284"/>
                  <a:pt x="349115" y="356568"/>
                </a:cubicBezTo>
                <a:cubicBezTo>
                  <a:pt x="349466" y="355764"/>
                  <a:pt x="353585" y="337281"/>
                  <a:pt x="353585" y="336930"/>
                </a:cubicBezTo>
                <a:cubicBezTo>
                  <a:pt x="353585" y="332761"/>
                  <a:pt x="351023" y="330049"/>
                  <a:pt x="350321" y="325730"/>
                </a:cubicBezTo>
                <a:cubicBezTo>
                  <a:pt x="350225" y="323600"/>
                  <a:pt x="349939" y="321481"/>
                  <a:pt x="349466" y="319401"/>
                </a:cubicBezTo>
                <a:cubicBezTo>
                  <a:pt x="346207" y="313329"/>
                  <a:pt x="341496" y="308151"/>
                  <a:pt x="335755" y="304334"/>
                </a:cubicBezTo>
                <a:cubicBezTo>
                  <a:pt x="333294" y="302827"/>
                  <a:pt x="336157" y="304836"/>
                  <a:pt x="333545" y="302928"/>
                </a:cubicBezTo>
                <a:cubicBezTo>
                  <a:pt x="326338" y="298187"/>
                  <a:pt x="318111" y="295228"/>
                  <a:pt x="309538" y="294289"/>
                </a:cubicBezTo>
                <a:cubicBezTo>
                  <a:pt x="303918" y="293023"/>
                  <a:pt x="298072" y="295068"/>
                  <a:pt x="294471" y="299563"/>
                </a:cubicBezTo>
                <a:cubicBezTo>
                  <a:pt x="289448" y="305389"/>
                  <a:pt x="293265" y="313123"/>
                  <a:pt x="299744" y="316287"/>
                </a:cubicBezTo>
                <a:cubicBezTo>
                  <a:pt x="305319" y="318949"/>
                  <a:pt x="307278" y="317242"/>
                  <a:pt x="313958" y="317794"/>
                </a:cubicBezTo>
                <a:cubicBezTo>
                  <a:pt x="317956" y="318181"/>
                  <a:pt x="321652" y="320110"/>
                  <a:pt x="324254" y="323168"/>
                </a:cubicBezTo>
                <a:cubicBezTo>
                  <a:pt x="333796" y="332108"/>
                  <a:pt x="332491" y="342655"/>
                  <a:pt x="325961" y="352750"/>
                </a:cubicBezTo>
                <a:cubicBezTo>
                  <a:pt x="320753" y="360540"/>
                  <a:pt x="312120" y="365357"/>
                  <a:pt x="302758" y="365708"/>
                </a:cubicBezTo>
                <a:cubicBezTo>
                  <a:pt x="302256" y="365708"/>
                  <a:pt x="287690" y="364603"/>
                  <a:pt x="286736" y="364302"/>
                </a:cubicBezTo>
                <a:cubicBezTo>
                  <a:pt x="283376" y="362594"/>
                  <a:pt x="280363" y="360279"/>
                  <a:pt x="277847" y="357472"/>
                </a:cubicBezTo>
                <a:lnTo>
                  <a:pt x="265843" y="340546"/>
                </a:lnTo>
                <a:cubicBezTo>
                  <a:pt x="262603" y="333394"/>
                  <a:pt x="260891" y="325644"/>
                  <a:pt x="260820" y="317794"/>
                </a:cubicBezTo>
                <a:cubicBezTo>
                  <a:pt x="260820" y="309959"/>
                  <a:pt x="259816" y="307448"/>
                  <a:pt x="259565" y="300919"/>
                </a:cubicBezTo>
                <a:cubicBezTo>
                  <a:pt x="259761" y="289643"/>
                  <a:pt x="260614" y="278393"/>
                  <a:pt x="262126" y="267218"/>
                </a:cubicBezTo>
                <a:cubicBezTo>
                  <a:pt x="262729" y="260438"/>
                  <a:pt x="264838" y="259634"/>
                  <a:pt x="266245" y="253256"/>
                </a:cubicBezTo>
                <a:cubicBezTo>
                  <a:pt x="267651" y="246877"/>
                  <a:pt x="266546" y="242508"/>
                  <a:pt x="268002" y="236983"/>
                </a:cubicBezTo>
                <a:lnTo>
                  <a:pt x="273025" y="215487"/>
                </a:lnTo>
                <a:cubicBezTo>
                  <a:pt x="274481" y="206045"/>
                  <a:pt x="276892" y="209661"/>
                  <a:pt x="277696" y="191228"/>
                </a:cubicBezTo>
                <a:cubicBezTo>
                  <a:pt x="278198" y="179526"/>
                  <a:pt x="283672" y="173047"/>
                  <a:pt x="283723" y="161094"/>
                </a:cubicBezTo>
                <a:cubicBezTo>
                  <a:pt x="283773" y="149140"/>
                  <a:pt x="286234" y="138894"/>
                  <a:pt x="287188" y="128297"/>
                </a:cubicBezTo>
                <a:lnTo>
                  <a:pt x="282166" y="79228"/>
                </a:lnTo>
                <a:cubicBezTo>
                  <a:pt x="281011" y="74205"/>
                  <a:pt x="281412" y="77470"/>
                  <a:pt x="279353" y="73602"/>
                </a:cubicBezTo>
                <a:cubicBezTo>
                  <a:pt x="277294" y="69735"/>
                  <a:pt x="278298" y="69735"/>
                  <a:pt x="277394" y="65968"/>
                </a:cubicBezTo>
                <a:cubicBezTo>
                  <a:pt x="276038" y="60594"/>
                  <a:pt x="274280" y="62001"/>
                  <a:pt x="272824" y="57229"/>
                </a:cubicBezTo>
                <a:lnTo>
                  <a:pt x="268103" y="48741"/>
                </a:lnTo>
                <a:cubicBezTo>
                  <a:pt x="266235" y="44768"/>
                  <a:pt x="263909" y="41027"/>
                  <a:pt x="261172" y="37591"/>
                </a:cubicBezTo>
                <a:lnTo>
                  <a:pt x="250424" y="25387"/>
                </a:lnTo>
                <a:cubicBezTo>
                  <a:pt x="249635" y="24573"/>
                  <a:pt x="248761" y="23845"/>
                  <a:pt x="247812" y="23227"/>
                </a:cubicBezTo>
                <a:lnTo>
                  <a:pt x="243342" y="19209"/>
                </a:lnTo>
                <a:cubicBezTo>
                  <a:pt x="238320" y="14689"/>
                  <a:pt x="231188" y="12580"/>
                  <a:pt x="226015" y="8863"/>
                </a:cubicBezTo>
                <a:cubicBezTo>
                  <a:pt x="216849" y="4343"/>
                  <a:pt x="206919" y="1580"/>
                  <a:pt x="196734" y="727"/>
                </a:cubicBezTo>
                <a:cubicBezTo>
                  <a:pt x="170416" y="727"/>
                  <a:pt x="175237" y="-1483"/>
                  <a:pt x="155650" y="5397"/>
                </a:cubicBezTo>
                <a:cubicBezTo>
                  <a:pt x="152636" y="6502"/>
                  <a:pt x="149221" y="6402"/>
                  <a:pt x="146811" y="7457"/>
                </a:cubicBezTo>
                <a:cubicBezTo>
                  <a:pt x="142793" y="9164"/>
                  <a:pt x="145605" y="9616"/>
                  <a:pt x="140080" y="11575"/>
                </a:cubicBezTo>
                <a:cubicBezTo>
                  <a:pt x="132798" y="14086"/>
                  <a:pt x="133049" y="15493"/>
                  <a:pt x="127123" y="20314"/>
                </a:cubicBezTo>
                <a:lnTo>
                  <a:pt x="117630" y="28199"/>
                </a:lnTo>
                <a:lnTo>
                  <a:pt x="117027" y="28802"/>
                </a:lnTo>
                <a:cubicBezTo>
                  <a:pt x="109529" y="37094"/>
                  <a:pt x="103592" y="46672"/>
                  <a:pt x="99499" y="57079"/>
                </a:cubicBezTo>
                <a:cubicBezTo>
                  <a:pt x="97209" y="62518"/>
                  <a:pt x="95526" y="68193"/>
                  <a:pt x="94477" y="74004"/>
                </a:cubicBezTo>
                <a:cubicBezTo>
                  <a:pt x="93773" y="87716"/>
                  <a:pt x="94477" y="81940"/>
                  <a:pt x="82172" y="84602"/>
                </a:cubicBezTo>
                <a:cubicBezTo>
                  <a:pt x="79384" y="85169"/>
                  <a:pt x="76697" y="86133"/>
                  <a:pt x="74186" y="87464"/>
                </a:cubicBezTo>
                <a:lnTo>
                  <a:pt x="59118" y="93943"/>
                </a:lnTo>
                <a:cubicBezTo>
                  <a:pt x="53343" y="95902"/>
                  <a:pt x="56356" y="95551"/>
                  <a:pt x="52439" y="98112"/>
                </a:cubicBezTo>
                <a:cubicBezTo>
                  <a:pt x="43288" y="103034"/>
                  <a:pt x="35061" y="109508"/>
                  <a:pt x="28130" y="117248"/>
                </a:cubicBezTo>
                <a:cubicBezTo>
                  <a:pt x="26342" y="119121"/>
                  <a:pt x="24664" y="121100"/>
                  <a:pt x="23107" y="123174"/>
                </a:cubicBezTo>
                <a:lnTo>
                  <a:pt x="10752" y="143264"/>
                </a:lnTo>
                <a:cubicBezTo>
                  <a:pt x="8743" y="147684"/>
                  <a:pt x="8090" y="146629"/>
                  <a:pt x="6584" y="149944"/>
                </a:cubicBezTo>
                <a:cubicBezTo>
                  <a:pt x="5649" y="152872"/>
                  <a:pt x="5012" y="155880"/>
                  <a:pt x="4675" y="158934"/>
                </a:cubicBezTo>
                <a:cubicBezTo>
                  <a:pt x="3419" y="163956"/>
                  <a:pt x="2967" y="162249"/>
                  <a:pt x="1661" y="166719"/>
                </a:cubicBezTo>
                <a:cubicBezTo>
                  <a:pt x="632" y="170239"/>
                  <a:pt x="175" y="173901"/>
                  <a:pt x="306" y="177567"/>
                </a:cubicBezTo>
                <a:close/>
              </a:path>
            </a:pathLst>
          </a:custGeom>
          <a:solidFill>
            <a:schemeClr val="bg1"/>
          </a:solidFill>
          <a:ln w="501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black"/>
              </a:solidFill>
              <a:effectLst/>
              <a:uLnTx/>
              <a:uFillTx/>
              <a:latin typeface="Arial"/>
              <a:ea typeface="微软雅黑"/>
              <a:cs typeface="+mn-cs"/>
            </a:endParaRPr>
          </a:p>
        </p:txBody>
      </p:sp>
      <p:sp>
        <p:nvSpPr>
          <p:cNvPr id="56" name="gaoding-17">
            <a:extLst>
              <a:ext uri="{FF2B5EF4-FFF2-40B4-BE49-F238E27FC236}">
                <a16:creationId xmlns:a16="http://schemas.microsoft.com/office/drawing/2014/main" id="{B19496C0-28A4-4EF6-ADFB-C8DAE0939EB9}"/>
              </a:ext>
            </a:extLst>
          </p:cNvPr>
          <p:cNvSpPr/>
          <p:nvPr/>
        </p:nvSpPr>
        <p:spPr>
          <a:xfrm>
            <a:off x="2412482" y="2677993"/>
            <a:ext cx="327866" cy="378921"/>
          </a:xfrm>
          <a:custGeom>
            <a:avLst/>
            <a:gdLst>
              <a:gd name="connsiteX0" fmla="*/ 118128 w 327866"/>
              <a:gd name="connsiteY0" fmla="*/ 215162 h 378921"/>
              <a:gd name="connsiteX1" fmla="*/ 96431 w 327866"/>
              <a:gd name="connsiteY1" fmla="*/ 232037 h 378921"/>
              <a:gd name="connsiteX2" fmla="*/ 96431 w 327866"/>
              <a:gd name="connsiteY2" fmla="*/ 286079 h 378921"/>
              <a:gd name="connsiteX3" fmla="*/ 100047 w 327866"/>
              <a:gd name="connsiteY3" fmla="*/ 289695 h 378921"/>
              <a:gd name="connsiteX4" fmla="*/ 139825 w 327866"/>
              <a:gd name="connsiteY4" fmla="*/ 289695 h 378921"/>
              <a:gd name="connsiteX5" fmla="*/ 139473 w 327866"/>
              <a:gd name="connsiteY5" fmla="*/ 290097 h 378921"/>
              <a:gd name="connsiteX6" fmla="*/ 140317 w 327866"/>
              <a:gd name="connsiteY6" fmla="*/ 290097 h 378921"/>
              <a:gd name="connsiteX7" fmla="*/ 144496 w 327866"/>
              <a:gd name="connsiteY7" fmla="*/ 285074 h 378921"/>
              <a:gd name="connsiteX8" fmla="*/ 144496 w 327866"/>
              <a:gd name="connsiteY8" fmla="*/ 235653 h 378921"/>
              <a:gd name="connsiteX9" fmla="*/ 138218 w 327866"/>
              <a:gd name="connsiteY9" fmla="*/ 222645 h 378921"/>
              <a:gd name="connsiteX10" fmla="*/ 118128 w 327866"/>
              <a:gd name="connsiteY10" fmla="*/ 215162 h 378921"/>
              <a:gd name="connsiteX11" fmla="*/ 124299 w 327866"/>
              <a:gd name="connsiteY11" fmla="*/ 197853 h 378921"/>
              <a:gd name="connsiteX12" fmla="*/ 137364 w 327866"/>
              <a:gd name="connsiteY12" fmla="*/ 199291 h 378921"/>
              <a:gd name="connsiteX13" fmla="*/ 153737 w 327866"/>
              <a:gd name="connsiteY13" fmla="*/ 214358 h 378921"/>
              <a:gd name="connsiteX14" fmla="*/ 159161 w 327866"/>
              <a:gd name="connsiteY14" fmla="*/ 219782 h 378921"/>
              <a:gd name="connsiteX15" fmla="*/ 162727 w 327866"/>
              <a:gd name="connsiteY15" fmla="*/ 227015 h 378921"/>
              <a:gd name="connsiteX16" fmla="*/ 161522 w 327866"/>
              <a:gd name="connsiteY16" fmla="*/ 306570 h 378921"/>
              <a:gd name="connsiteX17" fmla="*/ 79555 w 327866"/>
              <a:gd name="connsiteY17" fmla="*/ 305365 h 378921"/>
              <a:gd name="connsiteX18" fmla="*/ 78350 w 327866"/>
              <a:gd name="connsiteY18" fmla="*/ 228220 h 378921"/>
              <a:gd name="connsiteX19" fmla="*/ 91810 w 327866"/>
              <a:gd name="connsiteY19" fmla="*/ 210240 h 378921"/>
              <a:gd name="connsiteX20" fmla="*/ 109690 w 327866"/>
              <a:gd name="connsiteY20" fmla="*/ 198035 h 378921"/>
              <a:gd name="connsiteX21" fmla="*/ 124299 w 327866"/>
              <a:gd name="connsiteY21" fmla="*/ 197853 h 378921"/>
              <a:gd name="connsiteX22" fmla="*/ 209518 w 327866"/>
              <a:gd name="connsiteY22" fmla="*/ 134997 h 378921"/>
              <a:gd name="connsiteX23" fmla="*/ 201099 w 327866"/>
              <a:gd name="connsiteY23" fmla="*/ 135204 h 378921"/>
              <a:gd name="connsiteX24" fmla="*/ 206121 w 327866"/>
              <a:gd name="connsiteY24" fmla="*/ 146053 h 378921"/>
              <a:gd name="connsiteX25" fmla="*/ 205920 w 327866"/>
              <a:gd name="connsiteY25" fmla="*/ 146254 h 378921"/>
              <a:gd name="connsiteX26" fmla="*/ 214358 w 327866"/>
              <a:gd name="connsiteY26" fmla="*/ 141231 h 378921"/>
              <a:gd name="connsiteX27" fmla="*/ 209518 w 327866"/>
              <a:gd name="connsiteY27" fmla="*/ 134997 h 378921"/>
              <a:gd name="connsiteX28" fmla="*/ 70527 w 327866"/>
              <a:gd name="connsiteY28" fmla="*/ 134639 h 378921"/>
              <a:gd name="connsiteX29" fmla="*/ 61475 w 327866"/>
              <a:gd name="connsiteY29" fmla="*/ 138820 h 378921"/>
              <a:gd name="connsiteX30" fmla="*/ 71118 w 327866"/>
              <a:gd name="connsiteY30" fmla="*/ 147258 h 378921"/>
              <a:gd name="connsiteX31" fmla="*/ 74382 w 327866"/>
              <a:gd name="connsiteY31" fmla="*/ 140930 h 378921"/>
              <a:gd name="connsiteX32" fmla="*/ 70527 w 327866"/>
              <a:gd name="connsiteY32" fmla="*/ 134639 h 378921"/>
              <a:gd name="connsiteX33" fmla="*/ 265185 w 327866"/>
              <a:gd name="connsiteY33" fmla="*/ 96832 h 378921"/>
              <a:gd name="connsiteX34" fmla="*/ 261569 w 327866"/>
              <a:gd name="connsiteY34" fmla="*/ 100449 h 378921"/>
              <a:gd name="connsiteX35" fmla="*/ 261569 w 327866"/>
              <a:gd name="connsiteY35" fmla="*/ 355991 h 378921"/>
              <a:gd name="connsiteX36" fmla="*/ 262774 w 327866"/>
              <a:gd name="connsiteY36" fmla="*/ 362018 h 378921"/>
              <a:gd name="connsiteX37" fmla="*/ 262825 w 327866"/>
              <a:gd name="connsiteY37" fmla="*/ 361868 h 378921"/>
              <a:gd name="connsiteX38" fmla="*/ 277892 w 327866"/>
              <a:gd name="connsiteY38" fmla="*/ 352877 h 378921"/>
              <a:gd name="connsiteX39" fmla="*/ 280654 w 327866"/>
              <a:gd name="connsiteY39" fmla="*/ 350768 h 378921"/>
              <a:gd name="connsiteX40" fmla="*/ 309785 w 327866"/>
              <a:gd name="connsiteY40" fmla="*/ 360813 h 378921"/>
              <a:gd name="connsiteX41" fmla="*/ 309785 w 327866"/>
              <a:gd name="connsiteY41" fmla="*/ 100449 h 378921"/>
              <a:gd name="connsiteX42" fmla="*/ 306168 w 327866"/>
              <a:gd name="connsiteY42" fmla="*/ 96832 h 378921"/>
              <a:gd name="connsiteX43" fmla="*/ 136209 w 327866"/>
              <a:gd name="connsiteY43" fmla="*/ 18281 h 378921"/>
              <a:gd name="connsiteX44" fmla="*/ 115516 w 327866"/>
              <a:gd name="connsiteY44" fmla="*/ 20441 h 378921"/>
              <a:gd name="connsiteX45" fmla="*/ 90404 w 327866"/>
              <a:gd name="connsiteY45" fmla="*/ 38723 h 378921"/>
              <a:gd name="connsiteX46" fmla="*/ 86034 w 327866"/>
              <a:gd name="connsiteY46" fmla="*/ 45202 h 378921"/>
              <a:gd name="connsiteX47" fmla="*/ 81815 w 327866"/>
              <a:gd name="connsiteY47" fmla="*/ 51781 h 378921"/>
              <a:gd name="connsiteX48" fmla="*/ 78199 w 327866"/>
              <a:gd name="connsiteY48" fmla="*/ 70113 h 378921"/>
              <a:gd name="connsiteX49" fmla="*/ 110946 w 327866"/>
              <a:gd name="connsiteY49" fmla="*/ 78551 h 378921"/>
              <a:gd name="connsiteX50" fmla="*/ 129026 w 327866"/>
              <a:gd name="connsiteY50" fmla="*/ 82167 h 378921"/>
              <a:gd name="connsiteX51" fmla="*/ 127821 w 327866"/>
              <a:gd name="connsiteY51" fmla="*/ 188241 h 378921"/>
              <a:gd name="connsiteX52" fmla="*/ 121794 w 327866"/>
              <a:gd name="connsiteY52" fmla="*/ 189447 h 378921"/>
              <a:gd name="connsiteX53" fmla="*/ 110946 w 327866"/>
              <a:gd name="connsiteY53" fmla="*/ 177393 h 378921"/>
              <a:gd name="connsiteX54" fmla="*/ 110946 w 327866"/>
              <a:gd name="connsiteY54" fmla="*/ 111498 h 378921"/>
              <a:gd name="connsiteX55" fmla="*/ 108535 w 327866"/>
              <a:gd name="connsiteY55" fmla="*/ 97033 h 378921"/>
              <a:gd name="connsiteX56" fmla="*/ 77195 w 327866"/>
              <a:gd name="connsiteY56" fmla="*/ 111498 h 378921"/>
              <a:gd name="connsiteX57" fmla="*/ 91660 w 327866"/>
              <a:gd name="connsiteY57" fmla="*/ 140427 h 378921"/>
              <a:gd name="connsiteX58" fmla="*/ 63734 w 327866"/>
              <a:gd name="connsiteY58" fmla="*/ 163581 h 378921"/>
              <a:gd name="connsiteX59" fmla="*/ 51882 w 327866"/>
              <a:gd name="connsiteY59" fmla="*/ 158558 h 378921"/>
              <a:gd name="connsiteX60" fmla="*/ 44750 w 327866"/>
              <a:gd name="connsiteY60" fmla="*/ 133446 h 378921"/>
              <a:gd name="connsiteX61" fmla="*/ 52283 w 327866"/>
              <a:gd name="connsiteY61" fmla="*/ 122899 h 378921"/>
              <a:gd name="connsiteX62" fmla="*/ 60319 w 327866"/>
              <a:gd name="connsiteY62" fmla="*/ 114060 h 378921"/>
              <a:gd name="connsiteX63" fmla="*/ 56703 w 327866"/>
              <a:gd name="connsiteY63" fmla="*/ 97184 h 378921"/>
              <a:gd name="connsiteX64" fmla="*/ 21546 w 327866"/>
              <a:gd name="connsiteY64" fmla="*/ 97184 h 378921"/>
              <a:gd name="connsiteX65" fmla="*/ 17930 w 327866"/>
              <a:gd name="connsiteY65" fmla="*/ 100800 h 378921"/>
              <a:gd name="connsiteX66" fmla="*/ 17930 w 327866"/>
              <a:gd name="connsiteY66" fmla="*/ 356343 h 378921"/>
              <a:gd name="connsiteX67" fmla="*/ 25263 w 327866"/>
              <a:gd name="connsiteY67" fmla="*/ 362671 h 378921"/>
              <a:gd name="connsiteX68" fmla="*/ 242132 w 327866"/>
              <a:gd name="connsiteY68" fmla="*/ 362370 h 378921"/>
              <a:gd name="connsiteX69" fmla="*/ 243338 w 327866"/>
              <a:gd name="connsiteY69" fmla="*/ 347955 h 378921"/>
              <a:gd name="connsiteX70" fmla="*/ 243338 w 327866"/>
              <a:gd name="connsiteY70" fmla="*/ 97184 h 378921"/>
              <a:gd name="connsiteX71" fmla="*/ 216769 w 327866"/>
              <a:gd name="connsiteY71" fmla="*/ 111699 h 378921"/>
              <a:gd name="connsiteX72" fmla="*/ 221088 w 327866"/>
              <a:gd name="connsiteY72" fmla="*/ 121744 h 378921"/>
              <a:gd name="connsiteX73" fmla="*/ 228471 w 327866"/>
              <a:gd name="connsiteY73" fmla="*/ 130081 h 378921"/>
              <a:gd name="connsiteX74" fmla="*/ 224001 w 327866"/>
              <a:gd name="connsiteY74" fmla="*/ 158458 h 378921"/>
              <a:gd name="connsiteX75" fmla="*/ 190100 w 327866"/>
              <a:gd name="connsiteY75" fmla="*/ 157554 h 378921"/>
              <a:gd name="connsiteX76" fmla="*/ 186584 w 327866"/>
              <a:gd name="connsiteY76" fmla="*/ 128323 h 378921"/>
              <a:gd name="connsiteX77" fmla="*/ 188392 w 327866"/>
              <a:gd name="connsiteY77" fmla="*/ 125310 h 378921"/>
              <a:gd name="connsiteX78" fmla="*/ 198738 w 327866"/>
              <a:gd name="connsiteY78" fmla="*/ 113959 h 378921"/>
              <a:gd name="connsiteX79" fmla="*/ 167398 w 327866"/>
              <a:gd name="connsiteY79" fmla="*/ 97084 h 378921"/>
              <a:gd name="connsiteX80" fmla="*/ 138469 w 327866"/>
              <a:gd name="connsiteY80" fmla="*/ 92061 h 378921"/>
              <a:gd name="connsiteX81" fmla="*/ 151728 w 327866"/>
              <a:gd name="connsiteY81" fmla="*/ 78802 h 378921"/>
              <a:gd name="connsiteX82" fmla="*/ 185529 w 327866"/>
              <a:gd name="connsiteY82" fmla="*/ 78802 h 378921"/>
              <a:gd name="connsiteX83" fmla="*/ 195574 w 327866"/>
              <a:gd name="connsiteY83" fmla="*/ 60470 h 378921"/>
              <a:gd name="connsiteX84" fmla="*/ 179351 w 327866"/>
              <a:gd name="connsiteY84" fmla="*/ 33298 h 378921"/>
              <a:gd name="connsiteX85" fmla="*/ 170361 w 327866"/>
              <a:gd name="connsiteY85" fmla="*/ 27824 h 378921"/>
              <a:gd name="connsiteX86" fmla="*/ 149719 w 327866"/>
              <a:gd name="connsiteY86" fmla="*/ 19537 h 378921"/>
              <a:gd name="connsiteX87" fmla="*/ 136259 w 327866"/>
              <a:gd name="connsiteY87" fmla="*/ 18532 h 378921"/>
              <a:gd name="connsiteX88" fmla="*/ 198939 w 327866"/>
              <a:gd name="connsiteY88" fmla="*/ 301 h 378921"/>
              <a:gd name="connsiteX89" fmla="*/ 225507 w 327866"/>
              <a:gd name="connsiteY89" fmla="*/ 5072 h 378921"/>
              <a:gd name="connsiteX90" fmla="*/ 244542 w 327866"/>
              <a:gd name="connsiteY90" fmla="*/ 15117 h 378921"/>
              <a:gd name="connsiteX91" fmla="*/ 266742 w 327866"/>
              <a:gd name="connsiteY91" fmla="*/ 41133 h 378921"/>
              <a:gd name="connsiteX92" fmla="*/ 268349 w 327866"/>
              <a:gd name="connsiteY92" fmla="*/ 44297 h 378921"/>
              <a:gd name="connsiteX93" fmla="*/ 269805 w 327866"/>
              <a:gd name="connsiteY93" fmla="*/ 46507 h 378921"/>
              <a:gd name="connsiteX94" fmla="*/ 272367 w 327866"/>
              <a:gd name="connsiteY94" fmla="*/ 52333 h 378921"/>
              <a:gd name="connsiteX95" fmla="*/ 273673 w 327866"/>
              <a:gd name="connsiteY95" fmla="*/ 66697 h 378921"/>
              <a:gd name="connsiteX96" fmla="*/ 254738 w 327866"/>
              <a:gd name="connsiteY96" fmla="*/ 59164 h 378921"/>
              <a:gd name="connsiteX97" fmla="*/ 242182 w 327866"/>
              <a:gd name="connsiteY97" fmla="*/ 36764 h 378921"/>
              <a:gd name="connsiteX98" fmla="*/ 241629 w 327866"/>
              <a:gd name="connsiteY98" fmla="*/ 36111 h 378921"/>
              <a:gd name="connsiteX99" fmla="*/ 241027 w 327866"/>
              <a:gd name="connsiteY99" fmla="*/ 35458 h 378921"/>
              <a:gd name="connsiteX100" fmla="*/ 239169 w 327866"/>
              <a:gd name="connsiteY100" fmla="*/ 33750 h 378921"/>
              <a:gd name="connsiteX101" fmla="*/ 229676 w 327866"/>
              <a:gd name="connsiteY101" fmla="*/ 26367 h 378921"/>
              <a:gd name="connsiteX102" fmla="*/ 211545 w 327866"/>
              <a:gd name="connsiteY102" fmla="*/ 19135 h 378921"/>
              <a:gd name="connsiteX103" fmla="*/ 196478 w 327866"/>
              <a:gd name="connsiteY103" fmla="*/ 18482 h 378921"/>
              <a:gd name="connsiteX104" fmla="*/ 192861 w 327866"/>
              <a:gd name="connsiteY104" fmla="*/ 1606 h 378921"/>
              <a:gd name="connsiteX105" fmla="*/ 198939 w 327866"/>
              <a:gd name="connsiteY105" fmla="*/ 301 h 378921"/>
              <a:gd name="connsiteX106" fmla="*/ 129328 w 327866"/>
              <a:gd name="connsiteY106" fmla="*/ 0 h 378921"/>
              <a:gd name="connsiteX107" fmla="*/ 168051 w 327866"/>
              <a:gd name="connsiteY107" fmla="*/ 5876 h 378921"/>
              <a:gd name="connsiteX108" fmla="*/ 179402 w 327866"/>
              <a:gd name="connsiteY108" fmla="*/ 11401 h 378921"/>
              <a:gd name="connsiteX109" fmla="*/ 184424 w 327866"/>
              <a:gd name="connsiteY109" fmla="*/ 14715 h 378921"/>
              <a:gd name="connsiteX110" fmla="*/ 202605 w 327866"/>
              <a:gd name="connsiteY110" fmla="*/ 33901 h 378921"/>
              <a:gd name="connsiteX111" fmla="*/ 207226 w 327866"/>
              <a:gd name="connsiteY111" fmla="*/ 41334 h 378921"/>
              <a:gd name="connsiteX112" fmla="*/ 212248 w 327866"/>
              <a:gd name="connsiteY112" fmla="*/ 52987 h 378921"/>
              <a:gd name="connsiteX113" fmla="*/ 214961 w 327866"/>
              <a:gd name="connsiteY113" fmla="*/ 65995 h 378921"/>
              <a:gd name="connsiteX114" fmla="*/ 216317 w 327866"/>
              <a:gd name="connsiteY114" fmla="*/ 71971 h 378921"/>
              <a:gd name="connsiteX115" fmla="*/ 217974 w 327866"/>
              <a:gd name="connsiteY115" fmla="*/ 77295 h 378921"/>
              <a:gd name="connsiteX116" fmla="*/ 300141 w 327866"/>
              <a:gd name="connsiteY116" fmla="*/ 78350 h 378921"/>
              <a:gd name="connsiteX117" fmla="*/ 327866 w 327866"/>
              <a:gd name="connsiteY117" fmla="*/ 83372 h 378921"/>
              <a:gd name="connsiteX118" fmla="*/ 327866 w 327866"/>
              <a:gd name="connsiteY118" fmla="*/ 375077 h 378921"/>
              <a:gd name="connsiteX119" fmla="*/ 324250 w 327866"/>
              <a:gd name="connsiteY119" fmla="*/ 378693 h 378921"/>
              <a:gd name="connsiteX120" fmla="*/ 294516 w 327866"/>
              <a:gd name="connsiteY120" fmla="*/ 373670 h 378921"/>
              <a:gd name="connsiteX121" fmla="*/ 286882 w 327866"/>
              <a:gd name="connsiteY121" fmla="*/ 368045 h 378921"/>
              <a:gd name="connsiteX122" fmla="*/ 282914 w 327866"/>
              <a:gd name="connsiteY122" fmla="*/ 371310 h 378921"/>
              <a:gd name="connsiteX123" fmla="*/ 268801 w 327866"/>
              <a:gd name="connsiteY123" fmla="*/ 378894 h 378921"/>
              <a:gd name="connsiteX124" fmla="*/ 6026 w 327866"/>
              <a:gd name="connsiteY124" fmla="*/ 378894 h 378921"/>
              <a:gd name="connsiteX125" fmla="*/ 0 w 327866"/>
              <a:gd name="connsiteY125" fmla="*/ 377688 h 378921"/>
              <a:gd name="connsiteX126" fmla="*/ 351 w 327866"/>
              <a:gd name="connsiteY126" fmla="*/ 124205 h 378921"/>
              <a:gd name="connsiteX127" fmla="*/ 18432 w 327866"/>
              <a:gd name="connsiteY127" fmla="*/ 78400 h 378921"/>
              <a:gd name="connsiteX128" fmla="*/ 49822 w 327866"/>
              <a:gd name="connsiteY128" fmla="*/ 78400 h 378921"/>
              <a:gd name="connsiteX129" fmla="*/ 60771 w 327866"/>
              <a:gd name="connsiteY129" fmla="*/ 73629 h 378921"/>
              <a:gd name="connsiteX130" fmla="*/ 61123 w 327866"/>
              <a:gd name="connsiteY130" fmla="*/ 58561 h 378921"/>
              <a:gd name="connsiteX131" fmla="*/ 66145 w 327866"/>
              <a:gd name="connsiteY131" fmla="*/ 46708 h 378921"/>
              <a:gd name="connsiteX132" fmla="*/ 85733 w 327866"/>
              <a:gd name="connsiteY132" fmla="*/ 19286 h 378921"/>
              <a:gd name="connsiteX133" fmla="*/ 99997 w 327866"/>
              <a:gd name="connsiteY133" fmla="*/ 9241 h 378921"/>
              <a:gd name="connsiteX134" fmla="*/ 110996 w 327866"/>
              <a:gd name="connsiteY134" fmla="*/ 4520 h 378921"/>
              <a:gd name="connsiteX135" fmla="*/ 129328 w 327866"/>
              <a:gd name="connsiteY135" fmla="*/ 0 h 3789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Lst>
            <a:rect l="l" t="t" r="r" b="b"/>
            <a:pathLst>
              <a:path w="327866" h="378921">
                <a:moveTo>
                  <a:pt x="118128" y="215162"/>
                </a:moveTo>
                <a:cubicBezTo>
                  <a:pt x="106777" y="215162"/>
                  <a:pt x="96431" y="230330"/>
                  <a:pt x="96431" y="232037"/>
                </a:cubicBezTo>
                <a:lnTo>
                  <a:pt x="96431" y="286079"/>
                </a:lnTo>
                <a:cubicBezTo>
                  <a:pt x="96431" y="288841"/>
                  <a:pt x="97285" y="289695"/>
                  <a:pt x="100047" y="289695"/>
                </a:cubicBezTo>
                <a:lnTo>
                  <a:pt x="139825" y="289695"/>
                </a:lnTo>
                <a:lnTo>
                  <a:pt x="139473" y="290097"/>
                </a:lnTo>
                <a:cubicBezTo>
                  <a:pt x="139755" y="290122"/>
                  <a:pt x="140036" y="290122"/>
                  <a:pt x="140317" y="290097"/>
                </a:cubicBezTo>
                <a:cubicBezTo>
                  <a:pt x="142858" y="289866"/>
                  <a:pt x="144727" y="287616"/>
                  <a:pt x="144496" y="285074"/>
                </a:cubicBezTo>
                <a:lnTo>
                  <a:pt x="144496" y="235653"/>
                </a:lnTo>
                <a:cubicBezTo>
                  <a:pt x="144862" y="230510"/>
                  <a:pt x="142472" y="225558"/>
                  <a:pt x="138218" y="222645"/>
                </a:cubicBezTo>
                <a:cubicBezTo>
                  <a:pt x="129077" y="213655"/>
                  <a:pt x="129479" y="215162"/>
                  <a:pt x="118128" y="215162"/>
                </a:cubicBezTo>
                <a:close/>
                <a:moveTo>
                  <a:pt x="124299" y="197853"/>
                </a:moveTo>
                <a:cubicBezTo>
                  <a:pt x="129667" y="197897"/>
                  <a:pt x="134777" y="198211"/>
                  <a:pt x="137364" y="199291"/>
                </a:cubicBezTo>
                <a:cubicBezTo>
                  <a:pt x="142537" y="201451"/>
                  <a:pt x="149166" y="210139"/>
                  <a:pt x="153737" y="214358"/>
                </a:cubicBezTo>
                <a:lnTo>
                  <a:pt x="159161" y="219782"/>
                </a:lnTo>
                <a:cubicBezTo>
                  <a:pt x="162024" y="222947"/>
                  <a:pt x="162727" y="223097"/>
                  <a:pt x="162727" y="227015"/>
                </a:cubicBezTo>
                <a:cubicBezTo>
                  <a:pt x="162727" y="242986"/>
                  <a:pt x="164334" y="294667"/>
                  <a:pt x="161522" y="306570"/>
                </a:cubicBezTo>
                <a:cubicBezTo>
                  <a:pt x="142135" y="306570"/>
                  <a:pt x="94271" y="308780"/>
                  <a:pt x="79555" y="305365"/>
                </a:cubicBezTo>
                <a:cubicBezTo>
                  <a:pt x="76793" y="293512"/>
                  <a:pt x="78350" y="243940"/>
                  <a:pt x="78350" y="228220"/>
                </a:cubicBezTo>
                <a:cubicBezTo>
                  <a:pt x="78350" y="221540"/>
                  <a:pt x="87441" y="214810"/>
                  <a:pt x="91810" y="210240"/>
                </a:cubicBezTo>
                <a:cubicBezTo>
                  <a:pt x="99243" y="202555"/>
                  <a:pt x="100750" y="198035"/>
                  <a:pt x="109690" y="198035"/>
                </a:cubicBezTo>
                <a:cubicBezTo>
                  <a:pt x="113306" y="198035"/>
                  <a:pt x="118931" y="197809"/>
                  <a:pt x="124299" y="197853"/>
                </a:cubicBezTo>
                <a:close/>
                <a:moveTo>
                  <a:pt x="209518" y="134997"/>
                </a:moveTo>
                <a:cubicBezTo>
                  <a:pt x="207264" y="134426"/>
                  <a:pt x="204414" y="134928"/>
                  <a:pt x="201099" y="135204"/>
                </a:cubicBezTo>
                <a:cubicBezTo>
                  <a:pt x="201099" y="140779"/>
                  <a:pt x="200596" y="146053"/>
                  <a:pt x="206121" y="146053"/>
                </a:cubicBezTo>
                <a:lnTo>
                  <a:pt x="205920" y="146254"/>
                </a:lnTo>
                <a:cubicBezTo>
                  <a:pt x="209511" y="146525"/>
                  <a:pt x="212886" y="144516"/>
                  <a:pt x="214358" y="141231"/>
                </a:cubicBezTo>
                <a:cubicBezTo>
                  <a:pt x="213429" y="137213"/>
                  <a:pt x="211772" y="135568"/>
                  <a:pt x="209518" y="134997"/>
                </a:cubicBezTo>
                <a:close/>
                <a:moveTo>
                  <a:pt x="70527" y="134639"/>
                </a:moveTo>
                <a:cubicBezTo>
                  <a:pt x="67991" y="133534"/>
                  <a:pt x="64588" y="134175"/>
                  <a:pt x="61475" y="138820"/>
                </a:cubicBezTo>
                <a:cubicBezTo>
                  <a:pt x="62730" y="141532"/>
                  <a:pt x="61926" y="146505"/>
                  <a:pt x="71118" y="147258"/>
                </a:cubicBezTo>
                <a:cubicBezTo>
                  <a:pt x="72624" y="141633"/>
                  <a:pt x="73679" y="145601"/>
                  <a:pt x="74382" y="140930"/>
                </a:cubicBezTo>
                <a:cubicBezTo>
                  <a:pt x="74733" y="138595"/>
                  <a:pt x="73063" y="135744"/>
                  <a:pt x="70527" y="134639"/>
                </a:cubicBezTo>
                <a:close/>
                <a:moveTo>
                  <a:pt x="265185" y="96832"/>
                </a:moveTo>
                <a:cubicBezTo>
                  <a:pt x="262423" y="96832"/>
                  <a:pt x="261569" y="97686"/>
                  <a:pt x="261569" y="100449"/>
                </a:cubicBezTo>
                <a:lnTo>
                  <a:pt x="261569" y="355991"/>
                </a:lnTo>
                <a:cubicBezTo>
                  <a:pt x="261624" y="358055"/>
                  <a:pt x="262031" y="360095"/>
                  <a:pt x="262774" y="362018"/>
                </a:cubicBezTo>
                <a:lnTo>
                  <a:pt x="262825" y="361868"/>
                </a:lnTo>
                <a:cubicBezTo>
                  <a:pt x="268334" y="359778"/>
                  <a:pt x="273437" y="356735"/>
                  <a:pt x="277892" y="352877"/>
                </a:cubicBezTo>
                <a:cubicBezTo>
                  <a:pt x="279951" y="351471"/>
                  <a:pt x="279148" y="351772"/>
                  <a:pt x="280654" y="350768"/>
                </a:cubicBezTo>
                <a:cubicBezTo>
                  <a:pt x="292457" y="343033"/>
                  <a:pt x="296927" y="360511"/>
                  <a:pt x="309785" y="360813"/>
                </a:cubicBezTo>
                <a:lnTo>
                  <a:pt x="309785" y="100449"/>
                </a:lnTo>
                <a:cubicBezTo>
                  <a:pt x="309785" y="97686"/>
                  <a:pt x="308981" y="96832"/>
                  <a:pt x="306168" y="96832"/>
                </a:cubicBezTo>
                <a:close/>
                <a:moveTo>
                  <a:pt x="136209" y="18281"/>
                </a:moveTo>
                <a:cubicBezTo>
                  <a:pt x="129263" y="18452"/>
                  <a:pt x="122347" y="19175"/>
                  <a:pt x="115516" y="20441"/>
                </a:cubicBezTo>
                <a:cubicBezTo>
                  <a:pt x="106671" y="25860"/>
                  <a:pt x="98274" y="31972"/>
                  <a:pt x="90404" y="38723"/>
                </a:cubicBezTo>
                <a:cubicBezTo>
                  <a:pt x="88757" y="40747"/>
                  <a:pt x="87295" y="42916"/>
                  <a:pt x="86034" y="45202"/>
                </a:cubicBezTo>
                <a:cubicBezTo>
                  <a:pt x="84809" y="47507"/>
                  <a:pt x="83398" y="49707"/>
                  <a:pt x="81815" y="51781"/>
                </a:cubicBezTo>
                <a:cubicBezTo>
                  <a:pt x="78902" y="56050"/>
                  <a:pt x="78902" y="63634"/>
                  <a:pt x="78199" y="70113"/>
                </a:cubicBezTo>
                <a:cubicBezTo>
                  <a:pt x="77044" y="81564"/>
                  <a:pt x="78199" y="78551"/>
                  <a:pt x="110946" y="78551"/>
                </a:cubicBezTo>
                <a:cubicBezTo>
                  <a:pt x="116621" y="78551"/>
                  <a:pt x="129026" y="76291"/>
                  <a:pt x="129026" y="82167"/>
                </a:cubicBezTo>
                <a:cubicBezTo>
                  <a:pt x="129026" y="100750"/>
                  <a:pt x="130734" y="175886"/>
                  <a:pt x="127821" y="188241"/>
                </a:cubicBezTo>
                <a:cubicBezTo>
                  <a:pt x="125897" y="188989"/>
                  <a:pt x="123858" y="189396"/>
                  <a:pt x="121794" y="189447"/>
                </a:cubicBezTo>
                <a:cubicBezTo>
                  <a:pt x="115616" y="189447"/>
                  <a:pt x="110946" y="181511"/>
                  <a:pt x="110946" y="177393"/>
                </a:cubicBezTo>
                <a:lnTo>
                  <a:pt x="110946" y="111498"/>
                </a:lnTo>
                <a:cubicBezTo>
                  <a:pt x="110946" y="105170"/>
                  <a:pt x="114863" y="97033"/>
                  <a:pt x="108535" y="97033"/>
                </a:cubicBezTo>
                <a:cubicBezTo>
                  <a:pt x="71871" y="97033"/>
                  <a:pt x="77195" y="93015"/>
                  <a:pt x="77195" y="111498"/>
                </a:cubicBezTo>
                <a:cubicBezTo>
                  <a:pt x="77195" y="124958"/>
                  <a:pt x="91660" y="119634"/>
                  <a:pt x="91660" y="140427"/>
                </a:cubicBezTo>
                <a:cubicBezTo>
                  <a:pt x="91660" y="161220"/>
                  <a:pt x="79706" y="165540"/>
                  <a:pt x="63734" y="163581"/>
                </a:cubicBezTo>
                <a:cubicBezTo>
                  <a:pt x="55899" y="162677"/>
                  <a:pt x="56151" y="162727"/>
                  <a:pt x="51882" y="158558"/>
                </a:cubicBezTo>
                <a:cubicBezTo>
                  <a:pt x="44885" y="152250"/>
                  <a:pt x="42113" y="142492"/>
                  <a:pt x="44750" y="133446"/>
                </a:cubicBezTo>
                <a:cubicBezTo>
                  <a:pt x="46236" y="129298"/>
                  <a:pt x="48843" y="125646"/>
                  <a:pt x="52283" y="122899"/>
                </a:cubicBezTo>
                <a:cubicBezTo>
                  <a:pt x="55247" y="120639"/>
                  <a:pt x="60319" y="118479"/>
                  <a:pt x="60319" y="114060"/>
                </a:cubicBezTo>
                <a:cubicBezTo>
                  <a:pt x="60319" y="102307"/>
                  <a:pt x="61977" y="97184"/>
                  <a:pt x="56703" y="97184"/>
                </a:cubicBezTo>
                <a:lnTo>
                  <a:pt x="21546" y="97184"/>
                </a:lnTo>
                <a:cubicBezTo>
                  <a:pt x="18784" y="97184"/>
                  <a:pt x="17930" y="98038"/>
                  <a:pt x="17930" y="100800"/>
                </a:cubicBezTo>
                <a:lnTo>
                  <a:pt x="17930" y="356343"/>
                </a:lnTo>
                <a:cubicBezTo>
                  <a:pt x="17930" y="363424"/>
                  <a:pt x="20240" y="363173"/>
                  <a:pt x="25263" y="362671"/>
                </a:cubicBezTo>
                <a:cubicBezTo>
                  <a:pt x="40330" y="361164"/>
                  <a:pt x="225257" y="362370"/>
                  <a:pt x="242132" y="362370"/>
                </a:cubicBezTo>
                <a:cubicBezTo>
                  <a:pt x="244995" y="356493"/>
                  <a:pt x="243388" y="356493"/>
                  <a:pt x="243338" y="347955"/>
                </a:cubicBezTo>
                <a:cubicBezTo>
                  <a:pt x="243036" y="313401"/>
                  <a:pt x="244543" y="102257"/>
                  <a:pt x="243338" y="97184"/>
                </a:cubicBezTo>
                <a:cubicBezTo>
                  <a:pt x="210943" y="97184"/>
                  <a:pt x="216518" y="93719"/>
                  <a:pt x="216769" y="111699"/>
                </a:cubicBezTo>
                <a:cubicBezTo>
                  <a:pt x="216769" y="118429"/>
                  <a:pt x="216769" y="118630"/>
                  <a:pt x="221088" y="121744"/>
                </a:cubicBezTo>
                <a:cubicBezTo>
                  <a:pt x="224318" y="123733"/>
                  <a:pt x="226884" y="126636"/>
                  <a:pt x="228471" y="130081"/>
                </a:cubicBezTo>
                <a:cubicBezTo>
                  <a:pt x="232489" y="139272"/>
                  <a:pt x="231987" y="151778"/>
                  <a:pt x="224001" y="158458"/>
                </a:cubicBezTo>
                <a:cubicBezTo>
                  <a:pt x="214172" y="166986"/>
                  <a:pt x="199462" y="166594"/>
                  <a:pt x="190100" y="157554"/>
                </a:cubicBezTo>
                <a:cubicBezTo>
                  <a:pt x="179301" y="148463"/>
                  <a:pt x="180055" y="138770"/>
                  <a:pt x="186584" y="128323"/>
                </a:cubicBezTo>
                <a:cubicBezTo>
                  <a:pt x="186986" y="127670"/>
                  <a:pt x="187990" y="125862"/>
                  <a:pt x="188392" y="125310"/>
                </a:cubicBezTo>
                <a:cubicBezTo>
                  <a:pt x="191004" y="121844"/>
                  <a:pt x="198738" y="118479"/>
                  <a:pt x="198738" y="113959"/>
                </a:cubicBezTo>
                <a:cubicBezTo>
                  <a:pt x="198738" y="92764"/>
                  <a:pt x="203761" y="97084"/>
                  <a:pt x="167398" y="97084"/>
                </a:cubicBezTo>
                <a:cubicBezTo>
                  <a:pt x="159563" y="97084"/>
                  <a:pt x="138469" y="99947"/>
                  <a:pt x="138469" y="92061"/>
                </a:cubicBezTo>
                <a:cubicBezTo>
                  <a:pt x="138469" y="78300"/>
                  <a:pt x="137213" y="78601"/>
                  <a:pt x="151728" y="78802"/>
                </a:cubicBezTo>
                <a:lnTo>
                  <a:pt x="185529" y="78802"/>
                </a:lnTo>
                <a:cubicBezTo>
                  <a:pt x="191707" y="78802"/>
                  <a:pt x="206021" y="82267"/>
                  <a:pt x="195574" y="60470"/>
                </a:cubicBezTo>
                <a:cubicBezTo>
                  <a:pt x="193716" y="56653"/>
                  <a:pt x="192862" y="44247"/>
                  <a:pt x="179351" y="33298"/>
                </a:cubicBezTo>
                <a:cubicBezTo>
                  <a:pt x="176338" y="30888"/>
                  <a:pt x="173777" y="30235"/>
                  <a:pt x="170361" y="27824"/>
                </a:cubicBezTo>
                <a:cubicBezTo>
                  <a:pt x="154691" y="16724"/>
                  <a:pt x="161873" y="20742"/>
                  <a:pt x="149719" y="19537"/>
                </a:cubicBezTo>
                <a:cubicBezTo>
                  <a:pt x="145259" y="18904"/>
                  <a:pt x="140764" y="18573"/>
                  <a:pt x="136259" y="18532"/>
                </a:cubicBezTo>
                <a:close/>
                <a:moveTo>
                  <a:pt x="198939" y="301"/>
                </a:moveTo>
                <a:cubicBezTo>
                  <a:pt x="221690" y="301"/>
                  <a:pt x="211244" y="301"/>
                  <a:pt x="225507" y="5072"/>
                </a:cubicBezTo>
                <a:cubicBezTo>
                  <a:pt x="232338" y="7407"/>
                  <a:pt x="238761" y="10798"/>
                  <a:pt x="244542" y="15117"/>
                </a:cubicBezTo>
                <a:cubicBezTo>
                  <a:pt x="253025" y="22801"/>
                  <a:pt x="260489" y="31545"/>
                  <a:pt x="266742" y="41133"/>
                </a:cubicBezTo>
                <a:cubicBezTo>
                  <a:pt x="267947" y="43042"/>
                  <a:pt x="267244" y="42439"/>
                  <a:pt x="268349" y="44297"/>
                </a:cubicBezTo>
                <a:cubicBezTo>
                  <a:pt x="268791" y="45061"/>
                  <a:pt x="269278" y="45799"/>
                  <a:pt x="269805" y="46507"/>
                </a:cubicBezTo>
                <a:cubicBezTo>
                  <a:pt x="271764" y="49420"/>
                  <a:pt x="271664" y="48365"/>
                  <a:pt x="272367" y="52333"/>
                </a:cubicBezTo>
                <a:cubicBezTo>
                  <a:pt x="273271" y="57069"/>
                  <a:pt x="273708" y="61876"/>
                  <a:pt x="273673" y="66697"/>
                </a:cubicBezTo>
                <a:cubicBezTo>
                  <a:pt x="273673" y="68656"/>
                  <a:pt x="257902" y="76290"/>
                  <a:pt x="254738" y="59164"/>
                </a:cubicBezTo>
                <a:cubicBezTo>
                  <a:pt x="252227" y="46809"/>
                  <a:pt x="249364" y="45653"/>
                  <a:pt x="242182" y="36764"/>
                </a:cubicBezTo>
                <a:lnTo>
                  <a:pt x="241629" y="36111"/>
                </a:lnTo>
                <a:lnTo>
                  <a:pt x="241027" y="35458"/>
                </a:lnTo>
                <a:lnTo>
                  <a:pt x="239169" y="33750"/>
                </a:lnTo>
                <a:lnTo>
                  <a:pt x="229676" y="26367"/>
                </a:lnTo>
                <a:cubicBezTo>
                  <a:pt x="214006" y="17427"/>
                  <a:pt x="224503" y="20893"/>
                  <a:pt x="211545" y="19135"/>
                </a:cubicBezTo>
                <a:cubicBezTo>
                  <a:pt x="206542" y="18557"/>
                  <a:pt x="201510" y="18336"/>
                  <a:pt x="196478" y="18482"/>
                </a:cubicBezTo>
                <a:cubicBezTo>
                  <a:pt x="192695" y="13731"/>
                  <a:pt x="191360" y="7488"/>
                  <a:pt x="192861" y="1606"/>
                </a:cubicBezTo>
                <a:cubicBezTo>
                  <a:pt x="194810" y="863"/>
                  <a:pt x="196859" y="421"/>
                  <a:pt x="198939" y="301"/>
                </a:cubicBezTo>
                <a:close/>
                <a:moveTo>
                  <a:pt x="129328" y="0"/>
                </a:moveTo>
                <a:cubicBezTo>
                  <a:pt x="172420" y="0"/>
                  <a:pt x="150422" y="1406"/>
                  <a:pt x="168051" y="5876"/>
                </a:cubicBezTo>
                <a:cubicBezTo>
                  <a:pt x="176438" y="8035"/>
                  <a:pt x="167046" y="6378"/>
                  <a:pt x="179402" y="11401"/>
                </a:cubicBezTo>
                <a:cubicBezTo>
                  <a:pt x="183470" y="13058"/>
                  <a:pt x="181361" y="12154"/>
                  <a:pt x="184424" y="14715"/>
                </a:cubicBezTo>
                <a:cubicBezTo>
                  <a:pt x="191471" y="20099"/>
                  <a:pt x="197608" y="26578"/>
                  <a:pt x="202605" y="33901"/>
                </a:cubicBezTo>
                <a:lnTo>
                  <a:pt x="207226" y="41334"/>
                </a:lnTo>
                <a:cubicBezTo>
                  <a:pt x="209285" y="46307"/>
                  <a:pt x="211194" y="47010"/>
                  <a:pt x="212248" y="52987"/>
                </a:cubicBezTo>
                <a:cubicBezTo>
                  <a:pt x="212691" y="57406"/>
                  <a:pt x="213600" y="61766"/>
                  <a:pt x="214961" y="65995"/>
                </a:cubicBezTo>
                <a:cubicBezTo>
                  <a:pt x="215930" y="67833"/>
                  <a:pt x="216397" y="69897"/>
                  <a:pt x="216317" y="71971"/>
                </a:cubicBezTo>
                <a:cubicBezTo>
                  <a:pt x="216467" y="74231"/>
                  <a:pt x="215815" y="75688"/>
                  <a:pt x="217974" y="77295"/>
                </a:cubicBezTo>
                <a:cubicBezTo>
                  <a:pt x="221189" y="79706"/>
                  <a:pt x="291202" y="78350"/>
                  <a:pt x="300141" y="78350"/>
                </a:cubicBezTo>
                <a:cubicBezTo>
                  <a:pt x="312346" y="78350"/>
                  <a:pt x="327866" y="76040"/>
                  <a:pt x="327866" y="83372"/>
                </a:cubicBezTo>
                <a:lnTo>
                  <a:pt x="327866" y="375077"/>
                </a:lnTo>
                <a:cubicBezTo>
                  <a:pt x="327866" y="377839"/>
                  <a:pt x="327062" y="378693"/>
                  <a:pt x="324250" y="378693"/>
                </a:cubicBezTo>
                <a:cubicBezTo>
                  <a:pt x="294516" y="378693"/>
                  <a:pt x="305415" y="380551"/>
                  <a:pt x="294516" y="373670"/>
                </a:cubicBezTo>
                <a:lnTo>
                  <a:pt x="286882" y="368045"/>
                </a:lnTo>
                <a:cubicBezTo>
                  <a:pt x="284673" y="369552"/>
                  <a:pt x="284974" y="369753"/>
                  <a:pt x="282914" y="371310"/>
                </a:cubicBezTo>
                <a:cubicBezTo>
                  <a:pt x="279449" y="373871"/>
                  <a:pt x="272920" y="378894"/>
                  <a:pt x="268801" y="378894"/>
                </a:cubicBezTo>
                <a:lnTo>
                  <a:pt x="6026" y="378894"/>
                </a:lnTo>
                <a:cubicBezTo>
                  <a:pt x="3962" y="378833"/>
                  <a:pt x="1928" y="378427"/>
                  <a:pt x="0" y="377688"/>
                </a:cubicBezTo>
                <a:lnTo>
                  <a:pt x="351" y="124205"/>
                </a:lnTo>
                <a:cubicBezTo>
                  <a:pt x="351" y="70465"/>
                  <a:pt x="-3215" y="78400"/>
                  <a:pt x="18432" y="78400"/>
                </a:cubicBezTo>
                <a:cubicBezTo>
                  <a:pt x="28879" y="78400"/>
                  <a:pt x="39426" y="78400"/>
                  <a:pt x="49822" y="78400"/>
                </a:cubicBezTo>
                <a:cubicBezTo>
                  <a:pt x="57306" y="78651"/>
                  <a:pt x="60068" y="80158"/>
                  <a:pt x="60771" y="73629"/>
                </a:cubicBezTo>
                <a:cubicBezTo>
                  <a:pt x="60495" y="68606"/>
                  <a:pt x="60611" y="63569"/>
                  <a:pt x="61123" y="58561"/>
                </a:cubicBezTo>
                <a:cubicBezTo>
                  <a:pt x="62379" y="54091"/>
                  <a:pt x="63634" y="56251"/>
                  <a:pt x="66145" y="46708"/>
                </a:cubicBezTo>
                <a:cubicBezTo>
                  <a:pt x="70615" y="36257"/>
                  <a:pt x="77295" y="26900"/>
                  <a:pt x="85733" y="19286"/>
                </a:cubicBezTo>
                <a:lnTo>
                  <a:pt x="99997" y="9241"/>
                </a:lnTo>
                <a:cubicBezTo>
                  <a:pt x="106626" y="4922"/>
                  <a:pt x="102960" y="7031"/>
                  <a:pt x="110996" y="4520"/>
                </a:cubicBezTo>
                <a:cubicBezTo>
                  <a:pt x="116762" y="1853"/>
                  <a:pt x="122985" y="316"/>
                  <a:pt x="129328" y="0"/>
                </a:cubicBezTo>
                <a:close/>
              </a:path>
            </a:pathLst>
          </a:custGeom>
          <a:solidFill>
            <a:schemeClr val="bg1"/>
          </a:solidFill>
          <a:ln w="501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black"/>
              </a:solidFill>
              <a:effectLst/>
              <a:uLnTx/>
              <a:uFillTx/>
              <a:latin typeface="Arial"/>
              <a:ea typeface="微软雅黑"/>
              <a:cs typeface="+mn-cs"/>
            </a:endParaRPr>
          </a:p>
        </p:txBody>
      </p:sp>
      <p:sp>
        <p:nvSpPr>
          <p:cNvPr id="53" name="gaoding-18">
            <a:extLst>
              <a:ext uri="{FF2B5EF4-FFF2-40B4-BE49-F238E27FC236}">
                <a16:creationId xmlns:a16="http://schemas.microsoft.com/office/drawing/2014/main" id="{43EB2C77-1BAD-42C6-A024-EC77A8536DAF}"/>
              </a:ext>
            </a:extLst>
          </p:cNvPr>
          <p:cNvSpPr/>
          <p:nvPr/>
        </p:nvSpPr>
        <p:spPr>
          <a:xfrm>
            <a:off x="2346096" y="5616119"/>
            <a:ext cx="451550" cy="434498"/>
          </a:xfrm>
          <a:custGeom>
            <a:avLst/>
            <a:gdLst>
              <a:gd name="connsiteX0" fmla="*/ 44264 w 451550"/>
              <a:gd name="connsiteY0" fmla="*/ 341190 h 434498"/>
              <a:gd name="connsiteX1" fmla="*/ 30609 w 451550"/>
              <a:gd name="connsiteY1" fmla="*/ 341968 h 434498"/>
              <a:gd name="connsiteX2" fmla="*/ 24080 w 451550"/>
              <a:gd name="connsiteY2" fmla="*/ 348447 h 434498"/>
              <a:gd name="connsiteX3" fmla="*/ 25637 w 451550"/>
              <a:gd name="connsiteY3" fmla="*/ 354173 h 434498"/>
              <a:gd name="connsiteX4" fmla="*/ 29454 w 451550"/>
              <a:gd name="connsiteY4" fmla="*/ 364820 h 434498"/>
              <a:gd name="connsiteX5" fmla="*/ 31814 w 451550"/>
              <a:gd name="connsiteY5" fmla="*/ 376924 h 434498"/>
              <a:gd name="connsiteX6" fmla="*/ 41156 w 451550"/>
              <a:gd name="connsiteY6" fmla="*/ 353670 h 434498"/>
              <a:gd name="connsiteX7" fmla="*/ 44264 w 451550"/>
              <a:gd name="connsiteY7" fmla="*/ 341190 h 434498"/>
              <a:gd name="connsiteX8" fmla="*/ 222265 w 451550"/>
              <a:gd name="connsiteY8" fmla="*/ 329914 h 434498"/>
              <a:gd name="connsiteX9" fmla="*/ 318697 w 451550"/>
              <a:gd name="connsiteY9" fmla="*/ 329914 h 434498"/>
              <a:gd name="connsiteX10" fmla="*/ 328340 w 451550"/>
              <a:gd name="connsiteY10" fmla="*/ 332324 h 434498"/>
              <a:gd name="connsiteX11" fmla="*/ 321107 w 451550"/>
              <a:gd name="connsiteY11" fmla="*/ 350405 h 434498"/>
              <a:gd name="connsiteX12" fmla="*/ 222265 w 451550"/>
              <a:gd name="connsiteY12" fmla="*/ 350405 h 434498"/>
              <a:gd name="connsiteX13" fmla="*/ 216239 w 451550"/>
              <a:gd name="connsiteY13" fmla="*/ 338351 h 434498"/>
              <a:gd name="connsiteX14" fmla="*/ 222265 w 451550"/>
              <a:gd name="connsiteY14" fmla="*/ 329914 h 434498"/>
              <a:gd name="connsiteX15" fmla="*/ 277293 w 451550"/>
              <a:gd name="connsiteY15" fmla="*/ 292076 h 434498"/>
              <a:gd name="connsiteX16" fmla="*/ 328541 w 451550"/>
              <a:gd name="connsiteY16" fmla="*/ 293752 h 434498"/>
              <a:gd name="connsiteX17" fmla="*/ 323518 w 451550"/>
              <a:gd name="connsiteY17" fmla="*/ 311833 h 434498"/>
              <a:gd name="connsiteX18" fmla="*/ 222265 w 451550"/>
              <a:gd name="connsiteY18" fmla="*/ 311833 h 434498"/>
              <a:gd name="connsiteX19" fmla="*/ 216239 w 451550"/>
              <a:gd name="connsiteY19" fmla="*/ 299779 h 434498"/>
              <a:gd name="connsiteX20" fmla="*/ 221261 w 451550"/>
              <a:gd name="connsiteY20" fmla="*/ 292547 h 434498"/>
              <a:gd name="connsiteX21" fmla="*/ 277293 w 451550"/>
              <a:gd name="connsiteY21" fmla="*/ 292076 h 434498"/>
              <a:gd name="connsiteX22" fmla="*/ 188515 w 451550"/>
              <a:gd name="connsiteY22" fmla="*/ 282502 h 434498"/>
              <a:gd name="connsiteX23" fmla="*/ 202980 w 451550"/>
              <a:gd name="connsiteY23" fmla="*/ 292145 h 434498"/>
              <a:gd name="connsiteX24" fmla="*/ 198560 w 451550"/>
              <a:gd name="connsiteY24" fmla="*/ 302190 h 434498"/>
              <a:gd name="connsiteX25" fmla="*/ 194693 w 451550"/>
              <a:gd name="connsiteY25" fmla="*/ 312837 h 434498"/>
              <a:gd name="connsiteX26" fmla="*/ 192031 w 451550"/>
              <a:gd name="connsiteY26" fmla="*/ 317357 h 434498"/>
              <a:gd name="connsiteX27" fmla="*/ 189670 w 451550"/>
              <a:gd name="connsiteY27" fmla="*/ 322380 h 434498"/>
              <a:gd name="connsiteX28" fmla="*/ 165512 w 451550"/>
              <a:gd name="connsiteY28" fmla="*/ 315399 h 434498"/>
              <a:gd name="connsiteX29" fmla="*/ 159586 w 451550"/>
              <a:gd name="connsiteY29" fmla="*/ 309221 h 434498"/>
              <a:gd name="connsiteX30" fmla="*/ 168023 w 451550"/>
              <a:gd name="connsiteY30" fmla="*/ 294756 h 434498"/>
              <a:gd name="connsiteX31" fmla="*/ 176461 w 451550"/>
              <a:gd name="connsiteY31" fmla="*/ 299779 h 434498"/>
              <a:gd name="connsiteX32" fmla="*/ 188515 w 451550"/>
              <a:gd name="connsiteY32" fmla="*/ 282502 h 434498"/>
              <a:gd name="connsiteX33" fmla="*/ 221060 w 451550"/>
              <a:gd name="connsiteY33" fmla="*/ 253975 h 434498"/>
              <a:gd name="connsiteX34" fmla="*/ 321107 w 451550"/>
              <a:gd name="connsiteY34" fmla="*/ 253975 h 434498"/>
              <a:gd name="connsiteX35" fmla="*/ 328340 w 451550"/>
              <a:gd name="connsiteY35" fmla="*/ 272055 h 434498"/>
              <a:gd name="connsiteX36" fmla="*/ 217444 w 451550"/>
              <a:gd name="connsiteY36" fmla="*/ 272055 h 434498"/>
              <a:gd name="connsiteX37" fmla="*/ 216239 w 451550"/>
              <a:gd name="connsiteY37" fmla="*/ 261207 h 434498"/>
              <a:gd name="connsiteX38" fmla="*/ 221060 w 451550"/>
              <a:gd name="connsiteY38" fmla="*/ 253975 h 434498"/>
              <a:gd name="connsiteX39" fmla="*/ 187072 w 451550"/>
              <a:gd name="connsiteY39" fmla="*/ 237400 h 434498"/>
              <a:gd name="connsiteX40" fmla="*/ 201775 w 451550"/>
              <a:gd name="connsiteY40" fmla="*/ 239710 h 434498"/>
              <a:gd name="connsiteX41" fmla="*/ 202126 w 451550"/>
              <a:gd name="connsiteY41" fmla="*/ 250910 h 434498"/>
              <a:gd name="connsiteX42" fmla="*/ 191429 w 451550"/>
              <a:gd name="connsiteY42" fmla="*/ 272707 h 434498"/>
              <a:gd name="connsiteX43" fmla="*/ 184899 w 451550"/>
              <a:gd name="connsiteY43" fmla="*/ 279488 h 434498"/>
              <a:gd name="connsiteX44" fmla="*/ 171188 w 451550"/>
              <a:gd name="connsiteY44" fmla="*/ 275118 h 434498"/>
              <a:gd name="connsiteX45" fmla="*/ 158381 w 451550"/>
              <a:gd name="connsiteY45" fmla="*/ 258996 h 434498"/>
              <a:gd name="connsiteX46" fmla="*/ 167722 w 451550"/>
              <a:gd name="connsiteY46" fmla="*/ 250056 h 434498"/>
              <a:gd name="connsiteX47" fmla="*/ 178872 w 451550"/>
              <a:gd name="connsiteY47" fmla="*/ 254175 h 434498"/>
              <a:gd name="connsiteX48" fmla="*/ 182840 w 451550"/>
              <a:gd name="connsiteY48" fmla="*/ 244732 h 434498"/>
              <a:gd name="connsiteX49" fmla="*/ 187072 w 451550"/>
              <a:gd name="connsiteY49" fmla="*/ 237400 h 434498"/>
              <a:gd name="connsiteX50" fmla="*/ 217696 w 451550"/>
              <a:gd name="connsiteY50" fmla="*/ 129618 h 434498"/>
              <a:gd name="connsiteX51" fmla="*/ 207249 w 451550"/>
              <a:gd name="connsiteY51" fmla="*/ 133586 h 434498"/>
              <a:gd name="connsiteX52" fmla="*/ 202227 w 451550"/>
              <a:gd name="connsiteY52" fmla="*/ 167939 h 434498"/>
              <a:gd name="connsiteX53" fmla="*/ 214030 w 451550"/>
              <a:gd name="connsiteY53" fmla="*/ 182655 h 434498"/>
              <a:gd name="connsiteX54" fmla="*/ 219052 w 451550"/>
              <a:gd name="connsiteY54" fmla="*/ 187075 h 434498"/>
              <a:gd name="connsiteX55" fmla="*/ 222065 w 451550"/>
              <a:gd name="connsiteY55" fmla="*/ 188883 h 434498"/>
              <a:gd name="connsiteX56" fmla="*/ 239192 w 451550"/>
              <a:gd name="connsiteY56" fmla="*/ 200887 h 434498"/>
              <a:gd name="connsiteX57" fmla="*/ 239945 w 451550"/>
              <a:gd name="connsiteY57" fmla="*/ 201389 h 434498"/>
              <a:gd name="connsiteX58" fmla="*/ 252803 w 451550"/>
              <a:gd name="connsiteY58" fmla="*/ 200133 h 434498"/>
              <a:gd name="connsiteX59" fmla="*/ 267267 w 451550"/>
              <a:gd name="connsiteY59" fmla="*/ 190490 h 434498"/>
              <a:gd name="connsiteX60" fmla="*/ 273947 w 451550"/>
              <a:gd name="connsiteY60" fmla="*/ 185066 h 434498"/>
              <a:gd name="connsiteX61" fmla="*/ 286905 w 451550"/>
              <a:gd name="connsiteY61" fmla="*/ 173916 h 434498"/>
              <a:gd name="connsiteX62" fmla="*/ 293384 w 451550"/>
              <a:gd name="connsiteY62" fmla="*/ 144283 h 434498"/>
              <a:gd name="connsiteX63" fmla="*/ 259985 w 451550"/>
              <a:gd name="connsiteY63" fmla="*/ 136197 h 434498"/>
              <a:gd name="connsiteX64" fmla="*/ 256419 w 451550"/>
              <a:gd name="connsiteY64" fmla="*/ 143480 h 434498"/>
              <a:gd name="connsiteX65" fmla="*/ 243963 w 451550"/>
              <a:gd name="connsiteY65" fmla="*/ 151516 h 434498"/>
              <a:gd name="connsiteX66" fmla="*/ 237535 w 451550"/>
              <a:gd name="connsiteY66" fmla="*/ 145941 h 434498"/>
              <a:gd name="connsiteX67" fmla="*/ 233064 w 451550"/>
              <a:gd name="connsiteY67" fmla="*/ 138307 h 434498"/>
              <a:gd name="connsiteX68" fmla="*/ 217445 w 451550"/>
              <a:gd name="connsiteY68" fmla="*/ 129819 h 434498"/>
              <a:gd name="connsiteX69" fmla="*/ 220856 w 451550"/>
              <a:gd name="connsiteY69" fmla="*/ 110673 h 434498"/>
              <a:gd name="connsiteX70" fmla="*/ 235475 w 451550"/>
              <a:gd name="connsiteY70" fmla="*/ 115404 h 434498"/>
              <a:gd name="connsiteX71" fmla="*/ 238489 w 451550"/>
              <a:gd name="connsiteY71" fmla="*/ 117212 h 434498"/>
              <a:gd name="connsiteX72" fmla="*/ 239242 w 451550"/>
              <a:gd name="connsiteY72" fmla="*/ 117715 h 434498"/>
              <a:gd name="connsiteX73" fmla="*/ 241904 w 451550"/>
              <a:gd name="connsiteY73" fmla="*/ 119874 h 434498"/>
              <a:gd name="connsiteX74" fmla="*/ 249990 w 451550"/>
              <a:gd name="connsiteY74" fmla="*/ 121381 h 434498"/>
              <a:gd name="connsiteX75" fmla="*/ 257172 w 451550"/>
              <a:gd name="connsiteY75" fmla="*/ 115304 h 434498"/>
              <a:gd name="connsiteX76" fmla="*/ 278116 w 451550"/>
              <a:gd name="connsiteY76" fmla="*/ 111336 h 434498"/>
              <a:gd name="connsiteX77" fmla="*/ 288462 w 451550"/>
              <a:gd name="connsiteY77" fmla="*/ 114249 h 434498"/>
              <a:gd name="connsiteX78" fmla="*/ 304032 w 451550"/>
              <a:gd name="connsiteY78" fmla="*/ 125248 h 434498"/>
              <a:gd name="connsiteX79" fmla="*/ 312670 w 451550"/>
              <a:gd name="connsiteY79" fmla="*/ 141873 h 434498"/>
              <a:gd name="connsiteX80" fmla="*/ 295544 w 451550"/>
              <a:gd name="connsiteY80" fmla="*/ 193403 h 434498"/>
              <a:gd name="connsiteX81" fmla="*/ 266213 w 451550"/>
              <a:gd name="connsiteY81" fmla="*/ 214748 h 434498"/>
              <a:gd name="connsiteX82" fmla="*/ 261190 w 451550"/>
              <a:gd name="connsiteY82" fmla="*/ 218164 h 434498"/>
              <a:gd name="connsiteX83" fmla="*/ 256670 w 451550"/>
              <a:gd name="connsiteY83" fmla="*/ 222031 h 434498"/>
              <a:gd name="connsiteX84" fmla="*/ 243963 w 451550"/>
              <a:gd name="connsiteY84" fmla="*/ 228661 h 434498"/>
              <a:gd name="connsiteX85" fmla="*/ 235927 w 451550"/>
              <a:gd name="connsiteY85" fmla="*/ 222282 h 434498"/>
              <a:gd name="connsiteX86" fmla="*/ 219002 w 451550"/>
              <a:gd name="connsiteY86" fmla="*/ 210279 h 434498"/>
              <a:gd name="connsiteX87" fmla="*/ 188867 w 451550"/>
              <a:gd name="connsiteY87" fmla="*/ 183710 h 434498"/>
              <a:gd name="connsiteX88" fmla="*/ 177767 w 451550"/>
              <a:gd name="connsiteY88" fmla="*/ 152621 h 434498"/>
              <a:gd name="connsiteX89" fmla="*/ 183543 w 451550"/>
              <a:gd name="connsiteY89" fmla="*/ 130873 h 434498"/>
              <a:gd name="connsiteX90" fmla="*/ 220856 w 451550"/>
              <a:gd name="connsiteY90" fmla="*/ 110673 h 434498"/>
              <a:gd name="connsiteX91" fmla="*/ 24864 w 451550"/>
              <a:gd name="connsiteY91" fmla="*/ 95786 h 434498"/>
              <a:gd name="connsiteX92" fmla="*/ 19760 w 451550"/>
              <a:gd name="connsiteY92" fmla="*/ 99685 h 434498"/>
              <a:gd name="connsiteX93" fmla="*/ 19760 w 451550"/>
              <a:gd name="connsiteY93" fmla="*/ 317860 h 434498"/>
              <a:gd name="connsiteX94" fmla="*/ 30609 w 451550"/>
              <a:gd name="connsiteY94" fmla="*/ 321476 h 434498"/>
              <a:gd name="connsiteX95" fmla="*/ 46279 w 451550"/>
              <a:gd name="connsiteY95" fmla="*/ 317860 h 434498"/>
              <a:gd name="connsiteX96" fmla="*/ 46279 w 451550"/>
              <a:gd name="connsiteY96" fmla="*/ 97274 h 434498"/>
              <a:gd name="connsiteX97" fmla="*/ 40252 w 451550"/>
              <a:gd name="connsiteY97" fmla="*/ 96069 h 434498"/>
              <a:gd name="connsiteX98" fmla="*/ 24864 w 451550"/>
              <a:gd name="connsiteY98" fmla="*/ 95786 h 434498"/>
              <a:gd name="connsiteX99" fmla="*/ 409101 w 451550"/>
              <a:gd name="connsiteY99" fmla="*/ 61665 h 434498"/>
              <a:gd name="connsiteX100" fmla="*/ 426579 w 451550"/>
              <a:gd name="connsiteY100" fmla="*/ 68093 h 434498"/>
              <a:gd name="connsiteX101" fmla="*/ 433610 w 451550"/>
              <a:gd name="connsiteY101" fmla="*/ 73116 h 434498"/>
              <a:gd name="connsiteX102" fmla="*/ 439838 w 451550"/>
              <a:gd name="connsiteY102" fmla="*/ 78942 h 434498"/>
              <a:gd name="connsiteX103" fmla="*/ 451290 w 451550"/>
              <a:gd name="connsiteY103" fmla="*/ 103652 h 434498"/>
              <a:gd name="connsiteX104" fmla="*/ 447673 w 451550"/>
              <a:gd name="connsiteY104" fmla="*/ 127760 h 434498"/>
              <a:gd name="connsiteX105" fmla="*/ 434414 w 451550"/>
              <a:gd name="connsiteY105" fmla="*/ 126555 h 434498"/>
              <a:gd name="connsiteX106" fmla="*/ 403074 w 451550"/>
              <a:gd name="connsiteY106" fmla="*/ 126555 h 434498"/>
              <a:gd name="connsiteX107" fmla="*/ 387404 w 451550"/>
              <a:gd name="connsiteY107" fmla="*/ 121532 h 434498"/>
              <a:gd name="connsiteX108" fmla="*/ 394536 w 451550"/>
              <a:gd name="connsiteY108" fmla="*/ 106917 h 434498"/>
              <a:gd name="connsiteX109" fmla="*/ 407895 w 451550"/>
              <a:gd name="connsiteY109" fmla="*/ 106917 h 434498"/>
              <a:gd name="connsiteX110" fmla="*/ 432003 w 451550"/>
              <a:gd name="connsiteY110" fmla="*/ 103301 h 434498"/>
              <a:gd name="connsiteX111" fmla="*/ 411311 w 451550"/>
              <a:gd name="connsiteY111" fmla="*/ 81805 h 434498"/>
              <a:gd name="connsiteX112" fmla="*/ 401868 w 451550"/>
              <a:gd name="connsiteY112" fmla="*/ 79193 h 434498"/>
              <a:gd name="connsiteX113" fmla="*/ 400663 w 451550"/>
              <a:gd name="connsiteY113" fmla="*/ 65934 h 434498"/>
              <a:gd name="connsiteX114" fmla="*/ 409101 w 451550"/>
              <a:gd name="connsiteY114" fmla="*/ 61665 h 434498"/>
              <a:gd name="connsiteX115" fmla="*/ 161997 w 451550"/>
              <a:gd name="connsiteY115" fmla="*/ 61112 h 434498"/>
              <a:gd name="connsiteX116" fmla="*/ 358576 w 451550"/>
              <a:gd name="connsiteY116" fmla="*/ 61112 h 434498"/>
              <a:gd name="connsiteX117" fmla="*/ 367013 w 451550"/>
              <a:gd name="connsiteY117" fmla="*/ 62317 h 434498"/>
              <a:gd name="connsiteX118" fmla="*/ 368872 w 451550"/>
              <a:gd name="connsiteY118" fmla="*/ 76279 h 434498"/>
              <a:gd name="connsiteX119" fmla="*/ 397148 w 451550"/>
              <a:gd name="connsiteY119" fmla="*/ 81603 h 434498"/>
              <a:gd name="connsiteX120" fmla="*/ 383788 w 451550"/>
              <a:gd name="connsiteY120" fmla="*/ 89940 h 434498"/>
              <a:gd name="connsiteX121" fmla="*/ 374246 w 451550"/>
              <a:gd name="connsiteY121" fmla="*/ 114098 h 434498"/>
              <a:gd name="connsiteX122" fmla="*/ 374246 w 451550"/>
              <a:gd name="connsiteY122" fmla="*/ 169597 h 434498"/>
              <a:gd name="connsiteX123" fmla="*/ 374246 w 451550"/>
              <a:gd name="connsiteY123" fmla="*/ 279287 h 434498"/>
              <a:gd name="connsiteX124" fmla="*/ 374246 w 451550"/>
              <a:gd name="connsiteY124" fmla="*/ 390183 h 434498"/>
              <a:gd name="connsiteX125" fmla="*/ 371182 w 451550"/>
              <a:gd name="connsiteY125" fmla="*/ 405250 h 434498"/>
              <a:gd name="connsiteX126" fmla="*/ 370127 w 451550"/>
              <a:gd name="connsiteY126" fmla="*/ 406556 h 434498"/>
              <a:gd name="connsiteX127" fmla="*/ 361438 w 451550"/>
              <a:gd name="connsiteY127" fmla="*/ 419564 h 434498"/>
              <a:gd name="connsiteX128" fmla="*/ 344212 w 451550"/>
              <a:gd name="connsiteY128" fmla="*/ 430111 h 434498"/>
              <a:gd name="connsiteX129" fmla="*/ 323569 w 451550"/>
              <a:gd name="connsiteY129" fmla="*/ 420317 h 434498"/>
              <a:gd name="connsiteX130" fmla="*/ 350339 w 451550"/>
              <a:gd name="connsiteY130" fmla="*/ 401282 h 434498"/>
              <a:gd name="connsiteX131" fmla="*/ 354909 w 451550"/>
              <a:gd name="connsiteY131" fmla="*/ 379334 h 434498"/>
              <a:gd name="connsiteX132" fmla="*/ 354909 w 451550"/>
              <a:gd name="connsiteY132" fmla="*/ 116559 h 434498"/>
              <a:gd name="connsiteX133" fmla="*/ 365758 w 451550"/>
              <a:gd name="connsiteY133" fmla="*/ 80398 h 434498"/>
              <a:gd name="connsiteX134" fmla="*/ 159837 w 451550"/>
              <a:gd name="connsiteY134" fmla="*/ 80649 h 434498"/>
              <a:gd name="connsiteX135" fmla="*/ 147934 w 451550"/>
              <a:gd name="connsiteY135" fmla="*/ 86776 h 434498"/>
              <a:gd name="connsiteX136" fmla="*/ 136483 w 451550"/>
              <a:gd name="connsiteY136" fmla="*/ 109126 h 434498"/>
              <a:gd name="connsiteX137" fmla="*/ 135478 w 451550"/>
              <a:gd name="connsiteY137" fmla="*/ 124997 h 434498"/>
              <a:gd name="connsiteX138" fmla="*/ 135478 w 451550"/>
              <a:gd name="connsiteY138" fmla="*/ 373408 h 434498"/>
              <a:gd name="connsiteX139" fmla="*/ 152354 w 451550"/>
              <a:gd name="connsiteY139" fmla="*/ 377024 h 434498"/>
              <a:gd name="connsiteX140" fmla="*/ 295996 w 451550"/>
              <a:gd name="connsiteY140" fmla="*/ 377024 h 434498"/>
              <a:gd name="connsiteX141" fmla="*/ 302927 w 451550"/>
              <a:gd name="connsiteY141" fmla="*/ 401433 h 434498"/>
              <a:gd name="connsiteX142" fmla="*/ 321309 w 451550"/>
              <a:gd name="connsiteY142" fmla="*/ 414391 h 434498"/>
              <a:gd name="connsiteX143" fmla="*/ 315935 w 451550"/>
              <a:gd name="connsiteY143" fmla="*/ 417405 h 434498"/>
              <a:gd name="connsiteX144" fmla="*/ 309255 w 451550"/>
              <a:gd name="connsiteY144" fmla="*/ 418007 h 434498"/>
              <a:gd name="connsiteX145" fmla="*/ 287307 w 451550"/>
              <a:gd name="connsiteY145" fmla="*/ 413487 h 434498"/>
              <a:gd name="connsiteX146" fmla="*/ 285097 w 451550"/>
              <a:gd name="connsiteY146" fmla="*/ 410825 h 434498"/>
              <a:gd name="connsiteX147" fmla="*/ 279120 w 451550"/>
              <a:gd name="connsiteY147" fmla="*/ 396310 h 434498"/>
              <a:gd name="connsiteX148" fmla="*/ 98312 w 451550"/>
              <a:gd name="connsiteY148" fmla="*/ 395858 h 434498"/>
              <a:gd name="connsiteX149" fmla="*/ 94043 w 451550"/>
              <a:gd name="connsiteY149" fmla="*/ 401383 h 434498"/>
              <a:gd name="connsiteX150" fmla="*/ 110818 w 451550"/>
              <a:gd name="connsiteY150" fmla="*/ 413788 h 434498"/>
              <a:gd name="connsiteX151" fmla="*/ 119808 w 451550"/>
              <a:gd name="connsiteY151" fmla="*/ 430061 h 434498"/>
              <a:gd name="connsiteX152" fmla="*/ 81537 w 451550"/>
              <a:gd name="connsiteY152" fmla="*/ 416551 h 434498"/>
              <a:gd name="connsiteX153" fmla="*/ 76063 w 451550"/>
              <a:gd name="connsiteY153" fmla="*/ 407561 h 434498"/>
              <a:gd name="connsiteX154" fmla="*/ 72547 w 451550"/>
              <a:gd name="connsiteY154" fmla="*/ 391790 h 434498"/>
              <a:gd name="connsiteX155" fmla="*/ 69182 w 451550"/>
              <a:gd name="connsiteY155" fmla="*/ 381745 h 434498"/>
              <a:gd name="connsiteX156" fmla="*/ 115639 w 451550"/>
              <a:gd name="connsiteY156" fmla="*/ 376371 h 434498"/>
              <a:gd name="connsiteX157" fmla="*/ 117397 w 451550"/>
              <a:gd name="connsiteY157" fmla="*/ 351610 h 434498"/>
              <a:gd name="connsiteX158" fmla="*/ 117397 w 451550"/>
              <a:gd name="connsiteY158" fmla="*/ 119071 h 434498"/>
              <a:gd name="connsiteX159" fmla="*/ 121164 w 451550"/>
              <a:gd name="connsiteY159" fmla="*/ 88936 h 434498"/>
              <a:gd name="connsiteX160" fmla="*/ 135478 w 451550"/>
              <a:gd name="connsiteY160" fmla="*/ 71910 h 434498"/>
              <a:gd name="connsiteX161" fmla="*/ 161997 w 451550"/>
              <a:gd name="connsiteY161" fmla="*/ 61112 h 434498"/>
              <a:gd name="connsiteX162" fmla="*/ 32247 w 451550"/>
              <a:gd name="connsiteY162" fmla="*/ 57609 h 434498"/>
              <a:gd name="connsiteX163" fmla="*/ 20966 w 451550"/>
              <a:gd name="connsiteY163" fmla="*/ 58701 h 434498"/>
              <a:gd name="connsiteX164" fmla="*/ 19760 w 451550"/>
              <a:gd name="connsiteY164" fmla="*/ 73166 h 434498"/>
              <a:gd name="connsiteX165" fmla="*/ 30609 w 451550"/>
              <a:gd name="connsiteY165" fmla="*/ 76782 h 434498"/>
              <a:gd name="connsiteX166" fmla="*/ 46279 w 451550"/>
              <a:gd name="connsiteY166" fmla="*/ 76782 h 434498"/>
              <a:gd name="connsiteX167" fmla="*/ 45074 w 451550"/>
              <a:gd name="connsiteY167" fmla="*/ 58701 h 434498"/>
              <a:gd name="connsiteX168" fmla="*/ 32247 w 451550"/>
              <a:gd name="connsiteY168" fmla="*/ 57609 h 434498"/>
              <a:gd name="connsiteX169" fmla="*/ 34225 w 451550"/>
              <a:gd name="connsiteY169" fmla="*/ 20129 h 434498"/>
              <a:gd name="connsiteX170" fmla="*/ 26993 w 451550"/>
              <a:gd name="connsiteY170" fmla="*/ 37005 h 434498"/>
              <a:gd name="connsiteX171" fmla="*/ 36636 w 451550"/>
              <a:gd name="connsiteY171" fmla="*/ 39415 h 434498"/>
              <a:gd name="connsiteX172" fmla="*/ 36636 w 451550"/>
              <a:gd name="connsiteY172" fmla="*/ 39265 h 434498"/>
              <a:gd name="connsiteX173" fmla="*/ 40051 w 451550"/>
              <a:gd name="connsiteY173" fmla="*/ 30174 h 434498"/>
              <a:gd name="connsiteX174" fmla="*/ 34225 w 451550"/>
              <a:gd name="connsiteY174" fmla="*/ 20129 h 434498"/>
              <a:gd name="connsiteX175" fmla="*/ 33649 w 451550"/>
              <a:gd name="connsiteY175" fmla="*/ 0 h 434498"/>
              <a:gd name="connsiteX176" fmla="*/ 50900 w 451550"/>
              <a:gd name="connsiteY176" fmla="*/ 7071 h 434498"/>
              <a:gd name="connsiteX177" fmla="*/ 53110 w 451550"/>
              <a:gd name="connsiteY177" fmla="*/ 9682 h 434498"/>
              <a:gd name="connsiteX178" fmla="*/ 53612 w 451550"/>
              <a:gd name="connsiteY178" fmla="*/ 10385 h 434498"/>
              <a:gd name="connsiteX179" fmla="*/ 58283 w 451550"/>
              <a:gd name="connsiteY179" fmla="*/ 31028 h 434498"/>
              <a:gd name="connsiteX180" fmla="*/ 63657 w 451550"/>
              <a:gd name="connsiteY180" fmla="*/ 52172 h 434498"/>
              <a:gd name="connsiteX181" fmla="*/ 65515 w 451550"/>
              <a:gd name="connsiteY181" fmla="*/ 75627 h 434498"/>
              <a:gd name="connsiteX182" fmla="*/ 79980 w 451550"/>
              <a:gd name="connsiteY182" fmla="*/ 53930 h 434498"/>
              <a:gd name="connsiteX183" fmla="*/ 96906 w 451550"/>
              <a:gd name="connsiteY183" fmla="*/ 68345 h 434498"/>
              <a:gd name="connsiteX184" fmla="*/ 96906 w 451550"/>
              <a:gd name="connsiteY184" fmla="*/ 140668 h 434498"/>
              <a:gd name="connsiteX185" fmla="*/ 93289 w 451550"/>
              <a:gd name="connsiteY185" fmla="*/ 173214 h 434498"/>
              <a:gd name="connsiteX186" fmla="*/ 78824 w 451550"/>
              <a:gd name="connsiteY186" fmla="*/ 156338 h 434498"/>
              <a:gd name="connsiteX187" fmla="*/ 77619 w 451550"/>
              <a:gd name="connsiteY187" fmla="*/ 96069 h 434498"/>
              <a:gd name="connsiteX188" fmla="*/ 65565 w 451550"/>
              <a:gd name="connsiteY188" fmla="*/ 98479 h 434498"/>
              <a:gd name="connsiteX189" fmla="*/ 65565 w 451550"/>
              <a:gd name="connsiteY189" fmla="*/ 326197 h 434498"/>
              <a:gd name="connsiteX190" fmla="*/ 58684 w 451550"/>
              <a:gd name="connsiteY190" fmla="*/ 365071 h 434498"/>
              <a:gd name="connsiteX191" fmla="*/ 53059 w 451550"/>
              <a:gd name="connsiteY191" fmla="*/ 382349 h 434498"/>
              <a:gd name="connsiteX192" fmla="*/ 47384 w 451550"/>
              <a:gd name="connsiteY192" fmla="*/ 399626 h 434498"/>
              <a:gd name="connsiteX193" fmla="*/ 43517 w 451550"/>
              <a:gd name="connsiteY193" fmla="*/ 407762 h 434498"/>
              <a:gd name="connsiteX194" fmla="*/ 42613 w 451550"/>
              <a:gd name="connsiteY194" fmla="*/ 417807 h 434498"/>
              <a:gd name="connsiteX195" fmla="*/ 38595 w 451550"/>
              <a:gd name="connsiteY195" fmla="*/ 424638 h 434498"/>
              <a:gd name="connsiteX196" fmla="*/ 35431 w 451550"/>
              <a:gd name="connsiteY196" fmla="*/ 432372 h 434498"/>
              <a:gd name="connsiteX197" fmla="*/ 29353 w 451550"/>
              <a:gd name="connsiteY197" fmla="*/ 428856 h 434498"/>
              <a:gd name="connsiteX198" fmla="*/ 23628 w 451550"/>
              <a:gd name="connsiteY198" fmla="*/ 417656 h 434498"/>
              <a:gd name="connsiteX199" fmla="*/ 21569 w 451550"/>
              <a:gd name="connsiteY199" fmla="*/ 402840 h 434498"/>
              <a:gd name="connsiteX200" fmla="*/ 14688 w 451550"/>
              <a:gd name="connsiteY200" fmla="*/ 384408 h 434498"/>
              <a:gd name="connsiteX201" fmla="*/ 10871 w 451550"/>
              <a:gd name="connsiteY201" fmla="*/ 371349 h 434498"/>
              <a:gd name="connsiteX202" fmla="*/ 6552 w 451550"/>
              <a:gd name="connsiteY202" fmla="*/ 358793 h 434498"/>
              <a:gd name="connsiteX203" fmla="*/ 1830 w 451550"/>
              <a:gd name="connsiteY203" fmla="*/ 346639 h 434498"/>
              <a:gd name="connsiteX204" fmla="*/ 474 w 451550"/>
              <a:gd name="connsiteY204" fmla="*/ 67139 h 434498"/>
              <a:gd name="connsiteX205" fmla="*/ 6702 w 451550"/>
              <a:gd name="connsiteY205" fmla="*/ 46748 h 434498"/>
              <a:gd name="connsiteX206" fmla="*/ 7958 w 451550"/>
              <a:gd name="connsiteY206" fmla="*/ 21636 h 434498"/>
              <a:gd name="connsiteX207" fmla="*/ 12327 w 451550"/>
              <a:gd name="connsiteY207" fmla="*/ 12746 h 434498"/>
              <a:gd name="connsiteX208" fmla="*/ 16451 w 451550"/>
              <a:gd name="connsiteY208" fmla="*/ 7201 h 434498"/>
              <a:gd name="connsiteX209" fmla="*/ 33649 w 451550"/>
              <a:gd name="connsiteY209" fmla="*/ 0 h 434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Lst>
            <a:rect l="l" t="t" r="r" b="b"/>
            <a:pathLst>
              <a:path w="451550" h="434498">
                <a:moveTo>
                  <a:pt x="44264" y="341190"/>
                </a:moveTo>
                <a:cubicBezTo>
                  <a:pt x="42851" y="340474"/>
                  <a:pt x="38645" y="341968"/>
                  <a:pt x="30609" y="341968"/>
                </a:cubicBezTo>
                <a:cubicBezTo>
                  <a:pt x="21368" y="341968"/>
                  <a:pt x="19057" y="337749"/>
                  <a:pt x="24080" y="348447"/>
                </a:cubicBezTo>
                <a:cubicBezTo>
                  <a:pt x="24944" y="350245"/>
                  <a:pt x="25471" y="352184"/>
                  <a:pt x="25637" y="354173"/>
                </a:cubicBezTo>
                <a:cubicBezTo>
                  <a:pt x="26179" y="357945"/>
                  <a:pt x="27475" y="361566"/>
                  <a:pt x="29454" y="364820"/>
                </a:cubicBezTo>
                <a:cubicBezTo>
                  <a:pt x="30508" y="368798"/>
                  <a:pt x="31297" y="372841"/>
                  <a:pt x="31814" y="376924"/>
                </a:cubicBezTo>
                <a:lnTo>
                  <a:pt x="41156" y="353670"/>
                </a:lnTo>
                <a:cubicBezTo>
                  <a:pt x="44295" y="344831"/>
                  <a:pt x="45676" y="341905"/>
                  <a:pt x="44264" y="341190"/>
                </a:cubicBezTo>
                <a:close/>
                <a:moveTo>
                  <a:pt x="222265" y="329914"/>
                </a:moveTo>
                <a:lnTo>
                  <a:pt x="318697" y="329914"/>
                </a:lnTo>
                <a:cubicBezTo>
                  <a:pt x="322067" y="329864"/>
                  <a:pt x="325392" y="330697"/>
                  <a:pt x="328340" y="332324"/>
                </a:cubicBezTo>
                <a:cubicBezTo>
                  <a:pt x="329796" y="338351"/>
                  <a:pt x="331956" y="350405"/>
                  <a:pt x="321107" y="350405"/>
                </a:cubicBezTo>
                <a:lnTo>
                  <a:pt x="222265" y="350405"/>
                </a:lnTo>
                <a:cubicBezTo>
                  <a:pt x="216942" y="350405"/>
                  <a:pt x="216239" y="343374"/>
                  <a:pt x="216239" y="338351"/>
                </a:cubicBezTo>
                <a:cubicBezTo>
                  <a:pt x="216239" y="334534"/>
                  <a:pt x="218398" y="329914"/>
                  <a:pt x="222265" y="329914"/>
                </a:cubicBezTo>
                <a:close/>
                <a:moveTo>
                  <a:pt x="277293" y="292076"/>
                </a:moveTo>
                <a:cubicBezTo>
                  <a:pt x="300227" y="292019"/>
                  <a:pt x="322363" y="292321"/>
                  <a:pt x="328541" y="293752"/>
                </a:cubicBezTo>
                <a:cubicBezTo>
                  <a:pt x="329646" y="299327"/>
                  <a:pt x="331303" y="311833"/>
                  <a:pt x="323518" y="311833"/>
                </a:cubicBezTo>
                <a:lnTo>
                  <a:pt x="222265" y="311833"/>
                </a:lnTo>
                <a:cubicBezTo>
                  <a:pt x="216942" y="311833"/>
                  <a:pt x="216239" y="304801"/>
                  <a:pt x="216239" y="299779"/>
                </a:cubicBezTo>
                <a:cubicBezTo>
                  <a:pt x="216239" y="296062"/>
                  <a:pt x="217394" y="292547"/>
                  <a:pt x="221261" y="292547"/>
                </a:cubicBezTo>
                <a:cubicBezTo>
                  <a:pt x="230628" y="292547"/>
                  <a:pt x="254359" y="292133"/>
                  <a:pt x="277293" y="292076"/>
                </a:cubicBezTo>
                <a:close/>
                <a:moveTo>
                  <a:pt x="188515" y="282502"/>
                </a:moveTo>
                <a:cubicBezTo>
                  <a:pt x="194341" y="282502"/>
                  <a:pt x="202980" y="282100"/>
                  <a:pt x="202980" y="292145"/>
                </a:cubicBezTo>
                <a:cubicBezTo>
                  <a:pt x="202980" y="297418"/>
                  <a:pt x="200569" y="298071"/>
                  <a:pt x="198560" y="302190"/>
                </a:cubicBezTo>
                <a:cubicBezTo>
                  <a:pt x="196551" y="306308"/>
                  <a:pt x="196953" y="308920"/>
                  <a:pt x="194693" y="312837"/>
                </a:cubicBezTo>
                <a:cubicBezTo>
                  <a:pt x="193648" y="314249"/>
                  <a:pt x="192759" y="315760"/>
                  <a:pt x="192031" y="317357"/>
                </a:cubicBezTo>
                <a:cubicBezTo>
                  <a:pt x="191438" y="319115"/>
                  <a:pt x="190650" y="320803"/>
                  <a:pt x="189670" y="322380"/>
                </a:cubicBezTo>
                <a:cubicBezTo>
                  <a:pt x="181182" y="333731"/>
                  <a:pt x="172845" y="322581"/>
                  <a:pt x="165512" y="315399"/>
                </a:cubicBezTo>
                <a:cubicBezTo>
                  <a:pt x="163553" y="313490"/>
                  <a:pt x="159586" y="310728"/>
                  <a:pt x="159586" y="309221"/>
                </a:cubicBezTo>
                <a:cubicBezTo>
                  <a:pt x="159586" y="298523"/>
                  <a:pt x="166266" y="301487"/>
                  <a:pt x="168023" y="294756"/>
                </a:cubicBezTo>
                <a:cubicBezTo>
                  <a:pt x="176461" y="295158"/>
                  <a:pt x="171439" y="296012"/>
                  <a:pt x="176461" y="299779"/>
                </a:cubicBezTo>
                <a:cubicBezTo>
                  <a:pt x="186305" y="293199"/>
                  <a:pt x="180831" y="282903"/>
                  <a:pt x="188515" y="282502"/>
                </a:cubicBezTo>
                <a:close/>
                <a:moveTo>
                  <a:pt x="221060" y="253975"/>
                </a:moveTo>
                <a:lnTo>
                  <a:pt x="321107" y="253975"/>
                </a:lnTo>
                <a:cubicBezTo>
                  <a:pt x="333362" y="253975"/>
                  <a:pt x="328842" y="265978"/>
                  <a:pt x="328340" y="272055"/>
                </a:cubicBezTo>
                <a:cubicBezTo>
                  <a:pt x="318295" y="274416"/>
                  <a:pt x="227489" y="274416"/>
                  <a:pt x="217444" y="272055"/>
                </a:cubicBezTo>
                <a:cubicBezTo>
                  <a:pt x="217344" y="266581"/>
                  <a:pt x="216239" y="267234"/>
                  <a:pt x="216239" y="261207"/>
                </a:cubicBezTo>
                <a:cubicBezTo>
                  <a:pt x="216239" y="257490"/>
                  <a:pt x="217394" y="254175"/>
                  <a:pt x="221060" y="253975"/>
                </a:cubicBezTo>
                <a:close/>
                <a:moveTo>
                  <a:pt x="187072" y="237400"/>
                </a:moveTo>
                <a:cubicBezTo>
                  <a:pt x="189093" y="236709"/>
                  <a:pt x="192860" y="237626"/>
                  <a:pt x="201775" y="239710"/>
                </a:cubicBezTo>
                <a:cubicBezTo>
                  <a:pt x="203402" y="243241"/>
                  <a:pt x="203533" y="247284"/>
                  <a:pt x="202126" y="250910"/>
                </a:cubicBezTo>
                <a:lnTo>
                  <a:pt x="191429" y="272707"/>
                </a:lnTo>
                <a:cubicBezTo>
                  <a:pt x="189922" y="276173"/>
                  <a:pt x="189018" y="279488"/>
                  <a:pt x="184899" y="279488"/>
                </a:cubicBezTo>
                <a:cubicBezTo>
                  <a:pt x="169932" y="279488"/>
                  <a:pt x="175758" y="279839"/>
                  <a:pt x="171188" y="275118"/>
                </a:cubicBezTo>
                <a:cubicBezTo>
                  <a:pt x="165111" y="269041"/>
                  <a:pt x="160641" y="267384"/>
                  <a:pt x="158381" y="258996"/>
                </a:cubicBezTo>
                <a:cubicBezTo>
                  <a:pt x="160751" y="255330"/>
                  <a:pt x="163956" y="252266"/>
                  <a:pt x="167722" y="250056"/>
                </a:cubicBezTo>
                <a:cubicBezTo>
                  <a:pt x="174905" y="247495"/>
                  <a:pt x="170686" y="253471"/>
                  <a:pt x="178872" y="254175"/>
                </a:cubicBezTo>
                <a:cubicBezTo>
                  <a:pt x="179324" y="249152"/>
                  <a:pt x="180831" y="249152"/>
                  <a:pt x="182840" y="244732"/>
                </a:cubicBezTo>
                <a:cubicBezTo>
                  <a:pt x="184774" y="240388"/>
                  <a:pt x="185050" y="238091"/>
                  <a:pt x="187072" y="237400"/>
                </a:cubicBezTo>
                <a:close/>
                <a:moveTo>
                  <a:pt x="217696" y="129618"/>
                </a:moveTo>
                <a:cubicBezTo>
                  <a:pt x="213834" y="129553"/>
                  <a:pt x="210092" y="130974"/>
                  <a:pt x="207249" y="133586"/>
                </a:cubicBezTo>
                <a:cubicBezTo>
                  <a:pt x="191378" y="146544"/>
                  <a:pt x="200167" y="160707"/>
                  <a:pt x="202227" y="167939"/>
                </a:cubicBezTo>
                <a:cubicBezTo>
                  <a:pt x="204286" y="175171"/>
                  <a:pt x="206998" y="177181"/>
                  <a:pt x="214030" y="182655"/>
                </a:cubicBezTo>
                <a:cubicBezTo>
                  <a:pt x="215988" y="184312"/>
                  <a:pt x="216440" y="185267"/>
                  <a:pt x="219052" y="187075"/>
                </a:cubicBezTo>
                <a:cubicBezTo>
                  <a:pt x="221663" y="188883"/>
                  <a:pt x="219655" y="187477"/>
                  <a:pt x="222065" y="188883"/>
                </a:cubicBezTo>
                <a:lnTo>
                  <a:pt x="239192" y="200887"/>
                </a:lnTo>
                <a:lnTo>
                  <a:pt x="239945" y="201389"/>
                </a:lnTo>
                <a:cubicBezTo>
                  <a:pt x="247077" y="206411"/>
                  <a:pt x="243461" y="206060"/>
                  <a:pt x="252803" y="200133"/>
                </a:cubicBezTo>
                <a:lnTo>
                  <a:pt x="267267" y="190490"/>
                </a:lnTo>
                <a:cubicBezTo>
                  <a:pt x="269628" y="188632"/>
                  <a:pt x="271888" y="186623"/>
                  <a:pt x="273947" y="185066"/>
                </a:cubicBezTo>
                <a:cubicBezTo>
                  <a:pt x="279000" y="182293"/>
                  <a:pt x="283410" y="178496"/>
                  <a:pt x="286905" y="173916"/>
                </a:cubicBezTo>
                <a:cubicBezTo>
                  <a:pt x="294288" y="163067"/>
                  <a:pt x="293384" y="156438"/>
                  <a:pt x="293384" y="144283"/>
                </a:cubicBezTo>
                <a:cubicBezTo>
                  <a:pt x="293384" y="138357"/>
                  <a:pt x="273646" y="121632"/>
                  <a:pt x="259985" y="136197"/>
                </a:cubicBezTo>
                <a:cubicBezTo>
                  <a:pt x="257423" y="138909"/>
                  <a:pt x="257875" y="139813"/>
                  <a:pt x="256419" y="143480"/>
                </a:cubicBezTo>
                <a:cubicBezTo>
                  <a:pt x="254631" y="148718"/>
                  <a:pt x="249473" y="152043"/>
                  <a:pt x="243963" y="151516"/>
                </a:cubicBezTo>
                <a:cubicBezTo>
                  <a:pt x="241402" y="151516"/>
                  <a:pt x="239041" y="147799"/>
                  <a:pt x="237535" y="145941"/>
                </a:cubicBezTo>
                <a:cubicBezTo>
                  <a:pt x="233064" y="140316"/>
                  <a:pt x="235124" y="141421"/>
                  <a:pt x="233064" y="138307"/>
                </a:cubicBezTo>
                <a:cubicBezTo>
                  <a:pt x="229001" y="133746"/>
                  <a:pt x="223482" y="130748"/>
                  <a:pt x="217445" y="129819"/>
                </a:cubicBezTo>
                <a:close/>
                <a:moveTo>
                  <a:pt x="220856" y="110673"/>
                </a:moveTo>
                <a:cubicBezTo>
                  <a:pt x="225958" y="111000"/>
                  <a:pt x="230968" y="112478"/>
                  <a:pt x="235475" y="115404"/>
                </a:cubicBezTo>
                <a:lnTo>
                  <a:pt x="238489" y="117212"/>
                </a:lnTo>
                <a:lnTo>
                  <a:pt x="239242" y="117715"/>
                </a:lnTo>
                <a:cubicBezTo>
                  <a:pt x="240347" y="118468"/>
                  <a:pt x="241201" y="119422"/>
                  <a:pt x="241904" y="119874"/>
                </a:cubicBezTo>
                <a:cubicBezTo>
                  <a:pt x="245520" y="122185"/>
                  <a:pt x="244516" y="121381"/>
                  <a:pt x="249990" y="121381"/>
                </a:cubicBezTo>
                <a:cubicBezTo>
                  <a:pt x="251497" y="115907"/>
                  <a:pt x="252501" y="117463"/>
                  <a:pt x="257172" y="115304"/>
                </a:cubicBezTo>
                <a:cubicBezTo>
                  <a:pt x="263360" y="111286"/>
                  <a:pt x="270883" y="109859"/>
                  <a:pt x="278116" y="111336"/>
                </a:cubicBezTo>
                <a:cubicBezTo>
                  <a:pt x="286604" y="112441"/>
                  <a:pt x="282686" y="110532"/>
                  <a:pt x="288462" y="114249"/>
                </a:cubicBezTo>
                <a:cubicBezTo>
                  <a:pt x="294238" y="117006"/>
                  <a:pt x="299501" y="120728"/>
                  <a:pt x="304032" y="125248"/>
                </a:cubicBezTo>
                <a:cubicBezTo>
                  <a:pt x="307954" y="130180"/>
                  <a:pt x="310887" y="135826"/>
                  <a:pt x="312670" y="141873"/>
                </a:cubicBezTo>
                <a:cubicBezTo>
                  <a:pt x="312670" y="161360"/>
                  <a:pt x="314177" y="176477"/>
                  <a:pt x="295544" y="193403"/>
                </a:cubicBezTo>
                <a:lnTo>
                  <a:pt x="266213" y="214748"/>
                </a:lnTo>
                <a:lnTo>
                  <a:pt x="261190" y="218164"/>
                </a:lnTo>
                <a:cubicBezTo>
                  <a:pt x="257122" y="220826"/>
                  <a:pt x="259834" y="218766"/>
                  <a:pt x="256670" y="222031"/>
                </a:cubicBezTo>
                <a:cubicBezTo>
                  <a:pt x="250241" y="228661"/>
                  <a:pt x="249739" y="228661"/>
                  <a:pt x="243963" y="228661"/>
                </a:cubicBezTo>
                <a:cubicBezTo>
                  <a:pt x="240598" y="228661"/>
                  <a:pt x="238037" y="224442"/>
                  <a:pt x="235927" y="222282"/>
                </a:cubicBezTo>
                <a:lnTo>
                  <a:pt x="219002" y="210279"/>
                </a:lnTo>
                <a:cubicBezTo>
                  <a:pt x="207801" y="201640"/>
                  <a:pt x="195697" y="196969"/>
                  <a:pt x="188867" y="183710"/>
                </a:cubicBezTo>
                <a:cubicBezTo>
                  <a:pt x="184447" y="175171"/>
                  <a:pt x="178320" y="173012"/>
                  <a:pt x="177767" y="152621"/>
                </a:cubicBezTo>
                <a:cubicBezTo>
                  <a:pt x="177396" y="144946"/>
                  <a:pt x="179415" y="137352"/>
                  <a:pt x="183543" y="130873"/>
                </a:cubicBezTo>
                <a:cubicBezTo>
                  <a:pt x="189420" y="119083"/>
                  <a:pt x="205551" y="109694"/>
                  <a:pt x="220856" y="110673"/>
                </a:cubicBezTo>
                <a:close/>
                <a:moveTo>
                  <a:pt x="24864" y="95786"/>
                </a:moveTo>
                <a:cubicBezTo>
                  <a:pt x="21455" y="95993"/>
                  <a:pt x="19760" y="96897"/>
                  <a:pt x="19760" y="99685"/>
                </a:cubicBezTo>
                <a:lnTo>
                  <a:pt x="19760" y="317860"/>
                </a:lnTo>
                <a:cubicBezTo>
                  <a:pt x="19760" y="324691"/>
                  <a:pt x="25587" y="321476"/>
                  <a:pt x="30609" y="321476"/>
                </a:cubicBezTo>
                <a:cubicBezTo>
                  <a:pt x="43065" y="321476"/>
                  <a:pt x="44973" y="324289"/>
                  <a:pt x="46279" y="317860"/>
                </a:cubicBezTo>
                <a:lnTo>
                  <a:pt x="46279" y="97274"/>
                </a:lnTo>
                <a:cubicBezTo>
                  <a:pt x="44360" y="96500"/>
                  <a:pt x="42316" y="96094"/>
                  <a:pt x="40252" y="96069"/>
                </a:cubicBezTo>
                <a:cubicBezTo>
                  <a:pt x="33396" y="96069"/>
                  <a:pt x="28273" y="95579"/>
                  <a:pt x="24864" y="95786"/>
                </a:cubicBezTo>
                <a:close/>
                <a:moveTo>
                  <a:pt x="409101" y="61665"/>
                </a:moveTo>
                <a:cubicBezTo>
                  <a:pt x="415253" y="62779"/>
                  <a:pt x="421170" y="64954"/>
                  <a:pt x="426579" y="68093"/>
                </a:cubicBezTo>
                <a:cubicBezTo>
                  <a:pt x="429592" y="69851"/>
                  <a:pt x="429894" y="70856"/>
                  <a:pt x="433610" y="73116"/>
                </a:cubicBezTo>
                <a:cubicBezTo>
                  <a:pt x="436252" y="74346"/>
                  <a:pt x="438432" y="76385"/>
                  <a:pt x="439838" y="78942"/>
                </a:cubicBezTo>
                <a:cubicBezTo>
                  <a:pt x="445011" y="87078"/>
                  <a:pt x="451290" y="92301"/>
                  <a:pt x="451290" y="103652"/>
                </a:cubicBezTo>
                <a:cubicBezTo>
                  <a:pt x="451290" y="125349"/>
                  <a:pt x="452997" y="119774"/>
                  <a:pt x="447673" y="127760"/>
                </a:cubicBezTo>
                <a:cubicBezTo>
                  <a:pt x="441596" y="127760"/>
                  <a:pt x="441144" y="126555"/>
                  <a:pt x="434414" y="126555"/>
                </a:cubicBezTo>
                <a:lnTo>
                  <a:pt x="403074" y="126555"/>
                </a:lnTo>
                <a:cubicBezTo>
                  <a:pt x="397449" y="126555"/>
                  <a:pt x="387404" y="129668"/>
                  <a:pt x="387404" y="121532"/>
                </a:cubicBezTo>
                <a:cubicBezTo>
                  <a:pt x="387404" y="111939"/>
                  <a:pt x="386098" y="107319"/>
                  <a:pt x="394536" y="106917"/>
                </a:cubicBezTo>
                <a:cubicBezTo>
                  <a:pt x="398503" y="106615"/>
                  <a:pt x="403777" y="106917"/>
                  <a:pt x="407895" y="106917"/>
                </a:cubicBezTo>
                <a:cubicBezTo>
                  <a:pt x="419698" y="106917"/>
                  <a:pt x="432003" y="109177"/>
                  <a:pt x="432003" y="103301"/>
                </a:cubicBezTo>
                <a:cubicBezTo>
                  <a:pt x="432003" y="94361"/>
                  <a:pt x="420150" y="85622"/>
                  <a:pt x="411311" y="81805"/>
                </a:cubicBezTo>
                <a:cubicBezTo>
                  <a:pt x="408242" y="80670"/>
                  <a:pt x="405083" y="79796"/>
                  <a:pt x="401868" y="79193"/>
                </a:cubicBezTo>
                <a:lnTo>
                  <a:pt x="400663" y="65934"/>
                </a:lnTo>
                <a:cubicBezTo>
                  <a:pt x="400663" y="63322"/>
                  <a:pt x="406439" y="61313"/>
                  <a:pt x="409101" y="61665"/>
                </a:cubicBezTo>
                <a:close/>
                <a:moveTo>
                  <a:pt x="161997" y="61112"/>
                </a:moveTo>
                <a:lnTo>
                  <a:pt x="358576" y="61112"/>
                </a:lnTo>
                <a:cubicBezTo>
                  <a:pt x="361408" y="61338"/>
                  <a:pt x="364231" y="61739"/>
                  <a:pt x="367013" y="62317"/>
                </a:cubicBezTo>
                <a:cubicBezTo>
                  <a:pt x="367415" y="63974"/>
                  <a:pt x="368872" y="75928"/>
                  <a:pt x="368872" y="76279"/>
                </a:cubicBezTo>
                <a:cubicBezTo>
                  <a:pt x="371383" y="80548"/>
                  <a:pt x="390267" y="72161"/>
                  <a:pt x="397148" y="81603"/>
                </a:cubicBezTo>
                <a:cubicBezTo>
                  <a:pt x="392377" y="88132"/>
                  <a:pt x="390719" y="82105"/>
                  <a:pt x="383788" y="89940"/>
                </a:cubicBezTo>
                <a:lnTo>
                  <a:pt x="374246" y="114098"/>
                </a:lnTo>
                <a:cubicBezTo>
                  <a:pt x="373442" y="131778"/>
                  <a:pt x="374246" y="151666"/>
                  <a:pt x="374246" y="169597"/>
                </a:cubicBezTo>
                <a:lnTo>
                  <a:pt x="374246" y="279287"/>
                </a:lnTo>
                <a:cubicBezTo>
                  <a:pt x="374246" y="314846"/>
                  <a:pt x="376004" y="355026"/>
                  <a:pt x="374246" y="390183"/>
                </a:cubicBezTo>
                <a:cubicBezTo>
                  <a:pt x="374221" y="395356"/>
                  <a:pt x="373181" y="400474"/>
                  <a:pt x="371182" y="405250"/>
                </a:cubicBezTo>
                <a:cubicBezTo>
                  <a:pt x="370981" y="405552"/>
                  <a:pt x="370127" y="406556"/>
                  <a:pt x="370127" y="406556"/>
                </a:cubicBezTo>
                <a:lnTo>
                  <a:pt x="361438" y="419564"/>
                </a:lnTo>
                <a:cubicBezTo>
                  <a:pt x="356391" y="424109"/>
                  <a:pt x="350555" y="427685"/>
                  <a:pt x="344212" y="430111"/>
                </a:cubicBezTo>
                <a:cubicBezTo>
                  <a:pt x="339189" y="431618"/>
                  <a:pt x="323569" y="443371"/>
                  <a:pt x="323569" y="420317"/>
                </a:cubicBezTo>
                <a:cubicBezTo>
                  <a:pt x="323569" y="413336"/>
                  <a:pt x="341449" y="415898"/>
                  <a:pt x="350339" y="401282"/>
                </a:cubicBezTo>
                <a:cubicBezTo>
                  <a:pt x="356617" y="391037"/>
                  <a:pt x="354909" y="393648"/>
                  <a:pt x="354909" y="379334"/>
                </a:cubicBezTo>
                <a:lnTo>
                  <a:pt x="354909" y="116559"/>
                </a:lnTo>
                <a:cubicBezTo>
                  <a:pt x="354759" y="88383"/>
                  <a:pt x="364000" y="88082"/>
                  <a:pt x="365758" y="80398"/>
                </a:cubicBezTo>
                <a:cubicBezTo>
                  <a:pt x="347426" y="80398"/>
                  <a:pt x="168727" y="79142"/>
                  <a:pt x="159837" y="80649"/>
                </a:cubicBezTo>
                <a:lnTo>
                  <a:pt x="147934" y="86776"/>
                </a:lnTo>
                <a:cubicBezTo>
                  <a:pt x="140240" y="91502"/>
                  <a:pt x="135825" y="100121"/>
                  <a:pt x="136483" y="109126"/>
                </a:cubicBezTo>
                <a:cubicBezTo>
                  <a:pt x="135840" y="114395"/>
                  <a:pt x="135503" y="119693"/>
                  <a:pt x="135478" y="124997"/>
                </a:cubicBezTo>
                <a:lnTo>
                  <a:pt x="135478" y="373408"/>
                </a:lnTo>
                <a:cubicBezTo>
                  <a:pt x="135478" y="379184"/>
                  <a:pt x="146879" y="377024"/>
                  <a:pt x="152354" y="377024"/>
                </a:cubicBezTo>
                <a:lnTo>
                  <a:pt x="295996" y="377024"/>
                </a:lnTo>
                <a:cubicBezTo>
                  <a:pt x="297442" y="385381"/>
                  <a:pt x="299768" y="393563"/>
                  <a:pt x="302927" y="401433"/>
                </a:cubicBezTo>
                <a:cubicBezTo>
                  <a:pt x="309958" y="413487"/>
                  <a:pt x="316839" y="408214"/>
                  <a:pt x="321309" y="414391"/>
                </a:cubicBezTo>
                <a:cubicBezTo>
                  <a:pt x="318748" y="417907"/>
                  <a:pt x="321610" y="416099"/>
                  <a:pt x="315935" y="417405"/>
                </a:cubicBezTo>
                <a:cubicBezTo>
                  <a:pt x="313755" y="417967"/>
                  <a:pt x="311500" y="418168"/>
                  <a:pt x="309255" y="418007"/>
                </a:cubicBezTo>
                <a:cubicBezTo>
                  <a:pt x="285800" y="418007"/>
                  <a:pt x="291777" y="419213"/>
                  <a:pt x="287307" y="413487"/>
                </a:cubicBezTo>
                <a:lnTo>
                  <a:pt x="285097" y="410825"/>
                </a:lnTo>
                <a:cubicBezTo>
                  <a:pt x="280878" y="404748"/>
                  <a:pt x="284595" y="404447"/>
                  <a:pt x="279120" y="396310"/>
                </a:cubicBezTo>
                <a:cubicBezTo>
                  <a:pt x="258327" y="396310"/>
                  <a:pt x="111420" y="397415"/>
                  <a:pt x="98312" y="395858"/>
                </a:cubicBezTo>
                <a:cubicBezTo>
                  <a:pt x="94043" y="395306"/>
                  <a:pt x="88719" y="394703"/>
                  <a:pt x="94043" y="401383"/>
                </a:cubicBezTo>
                <a:cubicBezTo>
                  <a:pt x="98081" y="407289"/>
                  <a:pt x="103987" y="411659"/>
                  <a:pt x="110818" y="413788"/>
                </a:cubicBezTo>
                <a:cubicBezTo>
                  <a:pt x="120411" y="418158"/>
                  <a:pt x="119808" y="410825"/>
                  <a:pt x="119808" y="430061"/>
                </a:cubicBezTo>
                <a:cubicBezTo>
                  <a:pt x="119808" y="441362"/>
                  <a:pt x="92134" y="428956"/>
                  <a:pt x="81537" y="416551"/>
                </a:cubicBezTo>
                <a:cubicBezTo>
                  <a:pt x="77168" y="411428"/>
                  <a:pt x="79779" y="412231"/>
                  <a:pt x="76063" y="407561"/>
                </a:cubicBezTo>
                <a:cubicBezTo>
                  <a:pt x="69835" y="399726"/>
                  <a:pt x="74254" y="400328"/>
                  <a:pt x="72547" y="391790"/>
                </a:cubicBezTo>
                <a:cubicBezTo>
                  <a:pt x="71693" y="387571"/>
                  <a:pt x="69182" y="386768"/>
                  <a:pt x="69182" y="381745"/>
                </a:cubicBezTo>
                <a:cubicBezTo>
                  <a:pt x="69182" y="371097"/>
                  <a:pt x="108457" y="380791"/>
                  <a:pt x="115639" y="376371"/>
                </a:cubicBezTo>
                <a:cubicBezTo>
                  <a:pt x="119657" y="373910"/>
                  <a:pt x="117397" y="357135"/>
                  <a:pt x="117397" y="351610"/>
                </a:cubicBezTo>
                <a:lnTo>
                  <a:pt x="117397" y="119071"/>
                </a:lnTo>
                <a:cubicBezTo>
                  <a:pt x="117397" y="104656"/>
                  <a:pt x="115790" y="96922"/>
                  <a:pt x="121164" y="88936"/>
                </a:cubicBezTo>
                <a:cubicBezTo>
                  <a:pt x="126538" y="80950"/>
                  <a:pt x="129150" y="75476"/>
                  <a:pt x="135478" y="71910"/>
                </a:cubicBezTo>
                <a:cubicBezTo>
                  <a:pt x="143514" y="67390"/>
                  <a:pt x="150897" y="61112"/>
                  <a:pt x="161997" y="61112"/>
                </a:cubicBezTo>
                <a:close/>
                <a:moveTo>
                  <a:pt x="32247" y="57609"/>
                </a:moveTo>
                <a:cubicBezTo>
                  <a:pt x="29089" y="57973"/>
                  <a:pt x="26189" y="58701"/>
                  <a:pt x="20966" y="58701"/>
                </a:cubicBezTo>
                <a:cubicBezTo>
                  <a:pt x="20097" y="63473"/>
                  <a:pt x="19695" y="68320"/>
                  <a:pt x="19760" y="73166"/>
                </a:cubicBezTo>
                <a:cubicBezTo>
                  <a:pt x="19760" y="79997"/>
                  <a:pt x="25587" y="76782"/>
                  <a:pt x="30609" y="76782"/>
                </a:cubicBezTo>
                <a:cubicBezTo>
                  <a:pt x="39248" y="76782"/>
                  <a:pt x="40553" y="78138"/>
                  <a:pt x="46279" y="76782"/>
                </a:cubicBezTo>
                <a:cubicBezTo>
                  <a:pt x="46681" y="70730"/>
                  <a:pt x="46279" y="64648"/>
                  <a:pt x="45074" y="58701"/>
                </a:cubicBezTo>
                <a:cubicBezTo>
                  <a:pt x="38821" y="57245"/>
                  <a:pt x="35405" y="57245"/>
                  <a:pt x="32247" y="57609"/>
                </a:cubicBezTo>
                <a:close/>
                <a:moveTo>
                  <a:pt x="34225" y="20129"/>
                </a:moveTo>
                <a:cubicBezTo>
                  <a:pt x="27796" y="20129"/>
                  <a:pt x="27947" y="25704"/>
                  <a:pt x="26993" y="37005"/>
                </a:cubicBezTo>
                <a:cubicBezTo>
                  <a:pt x="29941" y="38632"/>
                  <a:pt x="33266" y="39466"/>
                  <a:pt x="36636" y="39415"/>
                </a:cubicBezTo>
                <a:lnTo>
                  <a:pt x="36636" y="39265"/>
                </a:lnTo>
                <a:cubicBezTo>
                  <a:pt x="40503" y="39265"/>
                  <a:pt x="40051" y="32786"/>
                  <a:pt x="40051" y="30174"/>
                </a:cubicBezTo>
                <a:cubicBezTo>
                  <a:pt x="39951" y="26106"/>
                  <a:pt x="39248" y="20129"/>
                  <a:pt x="34225" y="20129"/>
                </a:cubicBezTo>
                <a:close/>
                <a:moveTo>
                  <a:pt x="33649" y="0"/>
                </a:moveTo>
                <a:cubicBezTo>
                  <a:pt x="39883" y="-24"/>
                  <a:pt x="46126" y="2332"/>
                  <a:pt x="50900" y="7071"/>
                </a:cubicBezTo>
                <a:lnTo>
                  <a:pt x="53110" y="9682"/>
                </a:lnTo>
                <a:lnTo>
                  <a:pt x="53612" y="10385"/>
                </a:lnTo>
                <a:cubicBezTo>
                  <a:pt x="59187" y="18421"/>
                  <a:pt x="58283" y="17618"/>
                  <a:pt x="58283" y="31028"/>
                </a:cubicBezTo>
                <a:cubicBezTo>
                  <a:pt x="58182" y="53277"/>
                  <a:pt x="60643" y="44789"/>
                  <a:pt x="63657" y="52172"/>
                </a:cubicBezTo>
                <a:cubicBezTo>
                  <a:pt x="65274" y="59877"/>
                  <a:pt x="65902" y="67762"/>
                  <a:pt x="65515" y="75627"/>
                </a:cubicBezTo>
                <a:cubicBezTo>
                  <a:pt x="84249" y="84567"/>
                  <a:pt x="77016" y="66788"/>
                  <a:pt x="79980" y="53930"/>
                </a:cubicBezTo>
                <a:cubicBezTo>
                  <a:pt x="99316" y="52323"/>
                  <a:pt x="97709" y="55236"/>
                  <a:pt x="96906" y="68345"/>
                </a:cubicBezTo>
                <a:lnTo>
                  <a:pt x="96906" y="140668"/>
                </a:lnTo>
                <a:cubicBezTo>
                  <a:pt x="96906" y="151818"/>
                  <a:pt x="99366" y="173214"/>
                  <a:pt x="93289" y="173214"/>
                </a:cubicBezTo>
                <a:cubicBezTo>
                  <a:pt x="75711" y="173214"/>
                  <a:pt x="78824" y="174871"/>
                  <a:pt x="78824" y="156338"/>
                </a:cubicBezTo>
                <a:cubicBezTo>
                  <a:pt x="78875" y="141572"/>
                  <a:pt x="79980" y="106113"/>
                  <a:pt x="77619" y="96069"/>
                </a:cubicBezTo>
                <a:cubicBezTo>
                  <a:pt x="73456" y="95767"/>
                  <a:pt x="69292" y="96601"/>
                  <a:pt x="65565" y="98479"/>
                </a:cubicBezTo>
                <a:lnTo>
                  <a:pt x="65565" y="326197"/>
                </a:lnTo>
                <a:cubicBezTo>
                  <a:pt x="65615" y="361053"/>
                  <a:pt x="61949" y="348748"/>
                  <a:pt x="58684" y="365071"/>
                </a:cubicBezTo>
                <a:cubicBezTo>
                  <a:pt x="56274" y="377326"/>
                  <a:pt x="56223" y="365523"/>
                  <a:pt x="53059" y="382349"/>
                </a:cubicBezTo>
                <a:cubicBezTo>
                  <a:pt x="50950" y="393498"/>
                  <a:pt x="51050" y="381294"/>
                  <a:pt x="47384" y="399626"/>
                </a:cubicBezTo>
                <a:cubicBezTo>
                  <a:pt x="46128" y="405803"/>
                  <a:pt x="45124" y="403543"/>
                  <a:pt x="43517" y="407762"/>
                </a:cubicBezTo>
                <a:cubicBezTo>
                  <a:pt x="41910" y="411981"/>
                  <a:pt x="43165" y="413438"/>
                  <a:pt x="42613" y="417807"/>
                </a:cubicBezTo>
                <a:cubicBezTo>
                  <a:pt x="41859" y="423482"/>
                  <a:pt x="41006" y="421725"/>
                  <a:pt x="38595" y="424638"/>
                </a:cubicBezTo>
                <a:cubicBezTo>
                  <a:pt x="36852" y="426878"/>
                  <a:pt x="35757" y="429555"/>
                  <a:pt x="35431" y="432372"/>
                </a:cubicBezTo>
                <a:cubicBezTo>
                  <a:pt x="29102" y="432222"/>
                  <a:pt x="31212" y="433578"/>
                  <a:pt x="29353" y="428856"/>
                </a:cubicBezTo>
                <a:cubicBezTo>
                  <a:pt x="24381" y="416099"/>
                  <a:pt x="25185" y="424788"/>
                  <a:pt x="23628" y="417656"/>
                </a:cubicBezTo>
                <a:cubicBezTo>
                  <a:pt x="22573" y="412885"/>
                  <a:pt x="24733" y="408566"/>
                  <a:pt x="21569" y="402840"/>
                </a:cubicBezTo>
                <a:cubicBezTo>
                  <a:pt x="14236" y="389430"/>
                  <a:pt x="20313" y="393950"/>
                  <a:pt x="14688" y="384408"/>
                </a:cubicBezTo>
                <a:cubicBezTo>
                  <a:pt x="11423" y="378783"/>
                  <a:pt x="13382" y="377175"/>
                  <a:pt x="10871" y="371349"/>
                </a:cubicBezTo>
                <a:cubicBezTo>
                  <a:pt x="7405" y="363364"/>
                  <a:pt x="8912" y="370747"/>
                  <a:pt x="6552" y="358793"/>
                </a:cubicBezTo>
                <a:cubicBezTo>
                  <a:pt x="4844" y="350155"/>
                  <a:pt x="3237" y="354625"/>
                  <a:pt x="1830" y="346639"/>
                </a:cubicBezTo>
                <a:cubicBezTo>
                  <a:pt x="-1233" y="329261"/>
                  <a:pt x="474" y="103954"/>
                  <a:pt x="474" y="67139"/>
                </a:cubicBezTo>
                <a:cubicBezTo>
                  <a:pt x="474" y="51771"/>
                  <a:pt x="4593" y="52926"/>
                  <a:pt x="6702" y="46748"/>
                </a:cubicBezTo>
                <a:cubicBezTo>
                  <a:pt x="8811" y="40570"/>
                  <a:pt x="6200" y="29722"/>
                  <a:pt x="7958" y="21636"/>
                </a:cubicBezTo>
                <a:lnTo>
                  <a:pt x="12327" y="12746"/>
                </a:lnTo>
                <a:cubicBezTo>
                  <a:pt x="13432" y="10712"/>
                  <a:pt x="14819" y="8844"/>
                  <a:pt x="16451" y="7201"/>
                </a:cubicBezTo>
                <a:cubicBezTo>
                  <a:pt x="21189" y="2425"/>
                  <a:pt x="27415" y="23"/>
                  <a:pt x="33649" y="0"/>
                </a:cubicBezTo>
                <a:close/>
              </a:path>
            </a:pathLst>
          </a:custGeom>
          <a:solidFill>
            <a:schemeClr val="bg1"/>
          </a:solidFill>
          <a:ln w="501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black"/>
              </a:solidFill>
              <a:effectLst/>
              <a:uLnTx/>
              <a:uFillTx/>
              <a:latin typeface="Arial"/>
              <a:ea typeface="微软雅黑"/>
              <a:cs typeface="+mn-cs"/>
            </a:endParaRPr>
          </a:p>
        </p:txBody>
      </p:sp>
      <p:sp>
        <p:nvSpPr>
          <p:cNvPr id="54" name="gaoding-19">
            <a:extLst>
              <a:ext uri="{FF2B5EF4-FFF2-40B4-BE49-F238E27FC236}">
                <a16:creationId xmlns:a16="http://schemas.microsoft.com/office/drawing/2014/main" id="{9C696A8F-4E0E-4C67-90FE-79ED2EE0635A}"/>
              </a:ext>
            </a:extLst>
          </p:cNvPr>
          <p:cNvSpPr/>
          <p:nvPr/>
        </p:nvSpPr>
        <p:spPr>
          <a:xfrm>
            <a:off x="2374644" y="4203036"/>
            <a:ext cx="405303" cy="368529"/>
          </a:xfrm>
          <a:custGeom>
            <a:avLst/>
            <a:gdLst>
              <a:gd name="connsiteX0" fmla="*/ 163284 w 405303"/>
              <a:gd name="connsiteY0" fmla="*/ 231954 h 368529"/>
              <a:gd name="connsiteX1" fmla="*/ 210030 w 405303"/>
              <a:gd name="connsiteY1" fmla="*/ 233649 h 368529"/>
              <a:gd name="connsiteX2" fmla="*/ 201592 w 405303"/>
              <a:gd name="connsiteY2" fmla="*/ 250525 h 368529"/>
              <a:gd name="connsiteX3" fmla="*/ 114804 w 405303"/>
              <a:gd name="connsiteY3" fmla="*/ 250525 h 368529"/>
              <a:gd name="connsiteX4" fmla="*/ 106367 w 405303"/>
              <a:gd name="connsiteY4" fmla="*/ 240882 h 368529"/>
              <a:gd name="connsiteX5" fmla="*/ 112394 w 405303"/>
              <a:gd name="connsiteY5" fmla="*/ 232444 h 368529"/>
              <a:gd name="connsiteX6" fmla="*/ 163284 w 405303"/>
              <a:gd name="connsiteY6" fmla="*/ 231954 h 368529"/>
              <a:gd name="connsiteX7" fmla="*/ 164226 w 405303"/>
              <a:gd name="connsiteY7" fmla="*/ 186841 h 368529"/>
              <a:gd name="connsiteX8" fmla="*/ 204004 w 405303"/>
              <a:gd name="connsiteY8" fmla="*/ 186841 h 368529"/>
              <a:gd name="connsiteX9" fmla="*/ 202799 w 405303"/>
              <a:gd name="connsiteY9" fmla="*/ 204921 h 368529"/>
              <a:gd name="connsiteX10" fmla="*/ 156994 w 405303"/>
              <a:gd name="connsiteY10" fmla="*/ 191662 h 368529"/>
              <a:gd name="connsiteX11" fmla="*/ 164226 w 405303"/>
              <a:gd name="connsiteY11" fmla="*/ 186841 h 368529"/>
              <a:gd name="connsiteX12" fmla="*/ 117065 w 405303"/>
              <a:gd name="connsiteY12" fmla="*/ 186483 h 368529"/>
              <a:gd name="connsiteX13" fmla="*/ 136502 w 405303"/>
              <a:gd name="connsiteY13" fmla="*/ 186840 h 368529"/>
              <a:gd name="connsiteX14" fmla="*/ 135296 w 405303"/>
              <a:gd name="connsiteY14" fmla="*/ 204921 h 368529"/>
              <a:gd name="connsiteX15" fmla="*/ 106367 w 405303"/>
              <a:gd name="connsiteY15" fmla="*/ 191662 h 368529"/>
              <a:gd name="connsiteX16" fmla="*/ 117065 w 405303"/>
              <a:gd name="connsiteY16" fmla="*/ 186483 h 368529"/>
              <a:gd name="connsiteX17" fmla="*/ 112394 w 405303"/>
              <a:gd name="connsiteY17" fmla="*/ 138625 h 368529"/>
              <a:gd name="connsiteX18" fmla="*/ 248603 w 405303"/>
              <a:gd name="connsiteY18" fmla="*/ 138625 h 368529"/>
              <a:gd name="connsiteX19" fmla="*/ 247398 w 405303"/>
              <a:gd name="connsiteY19" fmla="*/ 156705 h 368529"/>
              <a:gd name="connsiteX20" fmla="*/ 113600 w 405303"/>
              <a:gd name="connsiteY20" fmla="*/ 156705 h 368529"/>
              <a:gd name="connsiteX21" fmla="*/ 106367 w 405303"/>
              <a:gd name="connsiteY21" fmla="*/ 147062 h 368529"/>
              <a:gd name="connsiteX22" fmla="*/ 112394 w 405303"/>
              <a:gd name="connsiteY22" fmla="*/ 138625 h 368529"/>
              <a:gd name="connsiteX23" fmla="*/ 398071 w 405303"/>
              <a:gd name="connsiteY23" fmla="*/ 125115 h 368529"/>
              <a:gd name="connsiteX24" fmla="*/ 405303 w 405303"/>
              <a:gd name="connsiteY24" fmla="*/ 132347 h 368529"/>
              <a:gd name="connsiteX25" fmla="*/ 400583 w 405303"/>
              <a:gd name="connsiteY25" fmla="*/ 142040 h 368529"/>
              <a:gd name="connsiteX26" fmla="*/ 399980 w 405303"/>
              <a:gd name="connsiteY26" fmla="*/ 142693 h 368529"/>
              <a:gd name="connsiteX27" fmla="*/ 396263 w 405303"/>
              <a:gd name="connsiteY27" fmla="*/ 146209 h 368529"/>
              <a:gd name="connsiteX28" fmla="*/ 393300 w 405303"/>
              <a:gd name="connsiteY28" fmla="*/ 149222 h 368529"/>
              <a:gd name="connsiteX29" fmla="*/ 380041 w 405303"/>
              <a:gd name="connsiteY29" fmla="*/ 162532 h 368529"/>
              <a:gd name="connsiteX30" fmla="*/ 374566 w 405303"/>
              <a:gd name="connsiteY30" fmla="*/ 167856 h 368529"/>
              <a:gd name="connsiteX31" fmla="*/ 369242 w 405303"/>
              <a:gd name="connsiteY31" fmla="*/ 173380 h 368529"/>
              <a:gd name="connsiteX32" fmla="*/ 363115 w 405303"/>
              <a:gd name="connsiteY32" fmla="*/ 178403 h 368529"/>
              <a:gd name="connsiteX33" fmla="*/ 354275 w 405303"/>
              <a:gd name="connsiteY33" fmla="*/ 163335 h 368529"/>
              <a:gd name="connsiteX34" fmla="*/ 385415 w 405303"/>
              <a:gd name="connsiteY34" fmla="*/ 131744 h 368529"/>
              <a:gd name="connsiteX35" fmla="*/ 393350 w 405303"/>
              <a:gd name="connsiteY35" fmla="*/ 126420 h 368529"/>
              <a:gd name="connsiteX36" fmla="*/ 398071 w 405303"/>
              <a:gd name="connsiteY36" fmla="*/ 125115 h 368529"/>
              <a:gd name="connsiteX37" fmla="*/ 358293 w 405303"/>
              <a:gd name="connsiteY37" fmla="*/ 115923 h 368529"/>
              <a:gd name="connsiteX38" fmla="*/ 319419 w 405303"/>
              <a:gd name="connsiteY38" fmla="*/ 154194 h 368529"/>
              <a:gd name="connsiteX39" fmla="*/ 306311 w 405303"/>
              <a:gd name="connsiteY39" fmla="*/ 166399 h 368529"/>
              <a:gd name="connsiteX40" fmla="*/ 305758 w 405303"/>
              <a:gd name="connsiteY40" fmla="*/ 167001 h 368529"/>
              <a:gd name="connsiteX41" fmla="*/ 267387 w 405303"/>
              <a:gd name="connsiteY41" fmla="*/ 204569 h 368529"/>
              <a:gd name="connsiteX42" fmla="*/ 258607 w 405303"/>
              <a:gd name="connsiteY42" fmla="*/ 220151 h 368529"/>
              <a:gd name="connsiteX43" fmla="*/ 258045 w 405303"/>
              <a:gd name="connsiteY43" fmla="*/ 220390 h 368529"/>
              <a:gd name="connsiteX44" fmla="*/ 258246 w 405303"/>
              <a:gd name="connsiteY44" fmla="*/ 220792 h 368529"/>
              <a:gd name="connsiteX45" fmla="*/ 258607 w 405303"/>
              <a:gd name="connsiteY45" fmla="*/ 220151 h 368529"/>
              <a:gd name="connsiteX46" fmla="*/ 272755 w 405303"/>
              <a:gd name="connsiteY46" fmla="*/ 214137 h 368529"/>
              <a:gd name="connsiteX47" fmla="*/ 288481 w 405303"/>
              <a:gd name="connsiteY47" fmla="*/ 197789 h 368529"/>
              <a:gd name="connsiteX48" fmla="*/ 301740 w 405303"/>
              <a:gd name="connsiteY48" fmla="*/ 184480 h 368529"/>
              <a:gd name="connsiteX49" fmla="*/ 318364 w 405303"/>
              <a:gd name="connsiteY49" fmla="*/ 168558 h 368529"/>
              <a:gd name="connsiteX50" fmla="*/ 321328 w 405303"/>
              <a:gd name="connsiteY50" fmla="*/ 165545 h 368529"/>
              <a:gd name="connsiteX51" fmla="*/ 328359 w 405303"/>
              <a:gd name="connsiteY51" fmla="*/ 159518 h 368529"/>
              <a:gd name="connsiteX52" fmla="*/ 341719 w 405303"/>
              <a:gd name="connsiteY52" fmla="*/ 146359 h 368529"/>
              <a:gd name="connsiteX53" fmla="*/ 365525 w 405303"/>
              <a:gd name="connsiteY53" fmla="*/ 118334 h 368529"/>
              <a:gd name="connsiteX54" fmla="*/ 358293 w 405303"/>
              <a:gd name="connsiteY54" fmla="*/ 115923 h 368529"/>
              <a:gd name="connsiteX55" fmla="*/ 373762 w 405303"/>
              <a:gd name="connsiteY55" fmla="*/ 100253 h 368529"/>
              <a:gd name="connsiteX56" fmla="*/ 380995 w 405303"/>
              <a:gd name="connsiteY56" fmla="*/ 106280 h 368529"/>
              <a:gd name="connsiteX57" fmla="*/ 373762 w 405303"/>
              <a:gd name="connsiteY57" fmla="*/ 100253 h 368529"/>
              <a:gd name="connsiteX58" fmla="*/ 190142 w 405303"/>
              <a:gd name="connsiteY58" fmla="*/ 92820 h 368529"/>
              <a:gd name="connsiteX59" fmla="*/ 275524 w 405303"/>
              <a:gd name="connsiteY59" fmla="*/ 92820 h 368529"/>
              <a:gd name="connsiteX60" fmla="*/ 283961 w 405303"/>
              <a:gd name="connsiteY60" fmla="*/ 94025 h 368529"/>
              <a:gd name="connsiteX61" fmla="*/ 278939 w 405303"/>
              <a:gd name="connsiteY61" fmla="*/ 110900 h 368529"/>
              <a:gd name="connsiteX62" fmla="*/ 183512 w 405303"/>
              <a:gd name="connsiteY62" fmla="*/ 110900 h 368529"/>
              <a:gd name="connsiteX63" fmla="*/ 177485 w 405303"/>
              <a:gd name="connsiteY63" fmla="*/ 97641 h 368529"/>
              <a:gd name="connsiteX64" fmla="*/ 190142 w 405303"/>
              <a:gd name="connsiteY64" fmla="*/ 92820 h 368529"/>
              <a:gd name="connsiteX65" fmla="*/ 123211 w 405303"/>
              <a:gd name="connsiteY65" fmla="*/ 92461 h 368529"/>
              <a:gd name="connsiteX66" fmla="*/ 148756 w 405303"/>
              <a:gd name="connsiteY66" fmla="*/ 92819 h 368529"/>
              <a:gd name="connsiteX67" fmla="*/ 157194 w 405303"/>
              <a:gd name="connsiteY67" fmla="*/ 94025 h 368529"/>
              <a:gd name="connsiteX68" fmla="*/ 152172 w 405303"/>
              <a:gd name="connsiteY68" fmla="*/ 110900 h 368529"/>
              <a:gd name="connsiteX69" fmla="*/ 106367 w 405303"/>
              <a:gd name="connsiteY69" fmla="*/ 98846 h 368529"/>
              <a:gd name="connsiteX70" fmla="*/ 123211 w 405303"/>
              <a:gd name="connsiteY70" fmla="*/ 92461 h 368529"/>
              <a:gd name="connsiteX71" fmla="*/ 374541 w 405303"/>
              <a:gd name="connsiteY71" fmla="*/ 75957 h 368529"/>
              <a:gd name="connsiteX72" fmla="*/ 387524 w 405303"/>
              <a:gd name="connsiteY72" fmla="*/ 84332 h 368529"/>
              <a:gd name="connsiteX73" fmla="*/ 397569 w 405303"/>
              <a:gd name="connsiteY73" fmla="*/ 94377 h 368529"/>
              <a:gd name="connsiteX74" fmla="*/ 405303 w 405303"/>
              <a:gd name="connsiteY74" fmla="*/ 99851 h 368529"/>
              <a:gd name="connsiteX75" fmla="*/ 398925 w 405303"/>
              <a:gd name="connsiteY75" fmla="*/ 113964 h 368529"/>
              <a:gd name="connsiteX76" fmla="*/ 371000 w 405303"/>
              <a:gd name="connsiteY76" fmla="*/ 141437 h 368529"/>
              <a:gd name="connsiteX77" fmla="*/ 368489 w 405303"/>
              <a:gd name="connsiteY77" fmla="*/ 143747 h 368529"/>
              <a:gd name="connsiteX78" fmla="*/ 363115 w 405303"/>
              <a:gd name="connsiteY78" fmla="*/ 149222 h 368529"/>
              <a:gd name="connsiteX79" fmla="*/ 287477 w 405303"/>
              <a:gd name="connsiteY79" fmla="*/ 224308 h 368529"/>
              <a:gd name="connsiteX80" fmla="*/ 269546 w 405303"/>
              <a:gd name="connsiteY80" fmla="*/ 236462 h 368529"/>
              <a:gd name="connsiteX81" fmla="*/ 262565 w 405303"/>
              <a:gd name="connsiteY81" fmla="*/ 239174 h 368529"/>
              <a:gd name="connsiteX82" fmla="*/ 253474 w 405303"/>
              <a:gd name="connsiteY82" fmla="*/ 240882 h 368529"/>
              <a:gd name="connsiteX83" fmla="*/ 230673 w 405303"/>
              <a:gd name="connsiteY83" fmla="*/ 246808 h 368529"/>
              <a:gd name="connsiteX84" fmla="*/ 226906 w 405303"/>
              <a:gd name="connsiteY84" fmla="*/ 240882 h 368529"/>
              <a:gd name="connsiteX85" fmla="*/ 229367 w 405303"/>
              <a:gd name="connsiteY85" fmla="*/ 237567 h 368529"/>
              <a:gd name="connsiteX86" fmla="*/ 238508 w 405303"/>
              <a:gd name="connsiteY86" fmla="*/ 222500 h 368529"/>
              <a:gd name="connsiteX87" fmla="*/ 245991 w 405303"/>
              <a:gd name="connsiteY87" fmla="*/ 201054 h 368529"/>
              <a:gd name="connsiteX88" fmla="*/ 352367 w 405303"/>
              <a:gd name="connsiteY88" fmla="*/ 95231 h 368529"/>
              <a:gd name="connsiteX89" fmla="*/ 374541 w 405303"/>
              <a:gd name="connsiteY89" fmla="*/ 75957 h 368529"/>
              <a:gd name="connsiteX90" fmla="*/ 278737 w 405303"/>
              <a:gd name="connsiteY90" fmla="*/ 29938 h 368529"/>
              <a:gd name="connsiteX91" fmla="*/ 279943 w 405303"/>
              <a:gd name="connsiteY91" fmla="*/ 63840 h 368529"/>
              <a:gd name="connsiteX92" fmla="*/ 310077 w 405303"/>
              <a:gd name="connsiteY92" fmla="*/ 63840 h 368529"/>
              <a:gd name="connsiteX93" fmla="*/ 304251 w 405303"/>
              <a:gd name="connsiteY93" fmla="*/ 53795 h 368529"/>
              <a:gd name="connsiteX94" fmla="*/ 290339 w 405303"/>
              <a:gd name="connsiteY94" fmla="*/ 39983 h 368529"/>
              <a:gd name="connsiteX95" fmla="*/ 282353 w 405303"/>
              <a:gd name="connsiteY95" fmla="*/ 29938 h 368529"/>
              <a:gd name="connsiteX96" fmla="*/ 65182 w 405303"/>
              <a:gd name="connsiteY96" fmla="*/ 4 h 368529"/>
              <a:gd name="connsiteX97" fmla="*/ 271505 w 405303"/>
              <a:gd name="connsiteY97" fmla="*/ 4 h 368529"/>
              <a:gd name="connsiteX98" fmla="*/ 278637 w 405303"/>
              <a:gd name="connsiteY98" fmla="*/ 3721 h 368529"/>
              <a:gd name="connsiteX99" fmla="*/ 332678 w 405303"/>
              <a:gd name="connsiteY99" fmla="*/ 58164 h 368529"/>
              <a:gd name="connsiteX100" fmla="*/ 343828 w 405303"/>
              <a:gd name="connsiteY100" fmla="*/ 84382 h 368529"/>
              <a:gd name="connsiteX101" fmla="*/ 342623 w 405303"/>
              <a:gd name="connsiteY101" fmla="*/ 98846 h 368529"/>
              <a:gd name="connsiteX102" fmla="*/ 324693 w 405303"/>
              <a:gd name="connsiteY102" fmla="*/ 81820 h 368529"/>
              <a:gd name="connsiteX103" fmla="*/ 301640 w 405303"/>
              <a:gd name="connsiteY103" fmla="*/ 80765 h 368529"/>
              <a:gd name="connsiteX104" fmla="*/ 260656 w 405303"/>
              <a:gd name="connsiteY104" fmla="*/ 31344 h 368529"/>
              <a:gd name="connsiteX105" fmla="*/ 257040 w 405303"/>
              <a:gd name="connsiteY105" fmla="*/ 18085 h 368529"/>
              <a:gd name="connsiteX106" fmla="*/ 83464 w 405303"/>
              <a:gd name="connsiteY106" fmla="*/ 18085 h 368529"/>
              <a:gd name="connsiteX107" fmla="*/ 76232 w 405303"/>
              <a:gd name="connsiteY107" fmla="*/ 20496 h 368529"/>
              <a:gd name="connsiteX108" fmla="*/ 77437 w 405303"/>
              <a:gd name="connsiteY108" fmla="*/ 31344 h 368529"/>
              <a:gd name="connsiteX109" fmla="*/ 77437 w 405303"/>
              <a:gd name="connsiteY109" fmla="*/ 274381 h 368529"/>
              <a:gd name="connsiteX110" fmla="*/ 78643 w 405303"/>
              <a:gd name="connsiteY110" fmla="*/ 290051 h 368529"/>
              <a:gd name="connsiteX111" fmla="*/ 84670 w 405303"/>
              <a:gd name="connsiteY111" fmla="*/ 291256 h 368529"/>
              <a:gd name="connsiteX112" fmla="*/ 252821 w 405303"/>
              <a:gd name="connsiteY112" fmla="*/ 290654 h 368529"/>
              <a:gd name="connsiteX113" fmla="*/ 263268 w 405303"/>
              <a:gd name="connsiteY113" fmla="*/ 310392 h 368529"/>
              <a:gd name="connsiteX114" fmla="*/ 267889 w 405303"/>
              <a:gd name="connsiteY114" fmla="*/ 321391 h 368529"/>
              <a:gd name="connsiteX115" fmla="*/ 260656 w 405303"/>
              <a:gd name="connsiteY115" fmla="*/ 344294 h 368529"/>
              <a:gd name="connsiteX116" fmla="*/ 248552 w 405303"/>
              <a:gd name="connsiteY116" fmla="*/ 320236 h 368529"/>
              <a:gd name="connsiteX117" fmla="*/ 242174 w 405303"/>
              <a:gd name="connsiteY117" fmla="*/ 308534 h 368529"/>
              <a:gd name="connsiteX118" fmla="*/ 48508 w 405303"/>
              <a:gd name="connsiteY118" fmla="*/ 308132 h 368529"/>
              <a:gd name="connsiteX119" fmla="*/ 21738 w 405303"/>
              <a:gd name="connsiteY119" fmla="*/ 318177 h 368529"/>
              <a:gd name="connsiteX120" fmla="*/ 30929 w 405303"/>
              <a:gd name="connsiteY120" fmla="*/ 333244 h 368529"/>
              <a:gd name="connsiteX121" fmla="*/ 49211 w 405303"/>
              <a:gd name="connsiteY121" fmla="*/ 346353 h 368529"/>
              <a:gd name="connsiteX122" fmla="*/ 111188 w 405303"/>
              <a:gd name="connsiteY122" fmla="*/ 348211 h 368529"/>
              <a:gd name="connsiteX123" fmla="*/ 283659 w 405303"/>
              <a:gd name="connsiteY123" fmla="*/ 348211 h 368529"/>
              <a:gd name="connsiteX124" fmla="*/ 300936 w 405303"/>
              <a:gd name="connsiteY124" fmla="*/ 341431 h 368529"/>
              <a:gd name="connsiteX125" fmla="*/ 323236 w 405303"/>
              <a:gd name="connsiteY125" fmla="*/ 313104 h 368529"/>
              <a:gd name="connsiteX126" fmla="*/ 324542 w 405303"/>
              <a:gd name="connsiteY126" fmla="*/ 310744 h 368529"/>
              <a:gd name="connsiteX127" fmla="*/ 325747 w 405303"/>
              <a:gd name="connsiteY127" fmla="*/ 216773 h 368529"/>
              <a:gd name="connsiteX128" fmla="*/ 332980 w 405303"/>
              <a:gd name="connsiteY128" fmla="*/ 192666 h 368529"/>
              <a:gd name="connsiteX129" fmla="*/ 343828 w 405303"/>
              <a:gd name="connsiteY129" fmla="*/ 210747 h 368529"/>
              <a:gd name="connsiteX130" fmla="*/ 344481 w 405303"/>
              <a:gd name="connsiteY130" fmla="*/ 302105 h 368529"/>
              <a:gd name="connsiteX131" fmla="*/ 340865 w 405303"/>
              <a:gd name="connsiteY131" fmla="*/ 317825 h 368529"/>
              <a:gd name="connsiteX132" fmla="*/ 331373 w 405303"/>
              <a:gd name="connsiteY132" fmla="*/ 338417 h 368529"/>
              <a:gd name="connsiteX133" fmla="*/ 316305 w 405303"/>
              <a:gd name="connsiteY133" fmla="*/ 353485 h 368529"/>
              <a:gd name="connsiteX134" fmla="*/ 289686 w 405303"/>
              <a:gd name="connsiteY134" fmla="*/ 366644 h 368529"/>
              <a:gd name="connsiteX135" fmla="*/ 262063 w 405303"/>
              <a:gd name="connsiteY135" fmla="*/ 367949 h 368529"/>
              <a:gd name="connsiteX136" fmla="*/ 48006 w 405303"/>
              <a:gd name="connsiteY136" fmla="*/ 365036 h 368529"/>
              <a:gd name="connsiteX137" fmla="*/ 36002 w 405303"/>
              <a:gd name="connsiteY137" fmla="*/ 360014 h 368529"/>
              <a:gd name="connsiteX138" fmla="*/ 10890 w 405303"/>
              <a:gd name="connsiteY138" fmla="*/ 335504 h 368529"/>
              <a:gd name="connsiteX139" fmla="*/ 10437 w 405303"/>
              <a:gd name="connsiteY139" fmla="*/ 334801 h 368529"/>
              <a:gd name="connsiteX140" fmla="*/ 9885 w 405303"/>
              <a:gd name="connsiteY140" fmla="*/ 334098 h 368529"/>
              <a:gd name="connsiteX141" fmla="*/ 6420 w 405303"/>
              <a:gd name="connsiteY141" fmla="*/ 329076 h 368529"/>
              <a:gd name="connsiteX142" fmla="*/ 292 w 405303"/>
              <a:gd name="connsiteY142" fmla="*/ 309890 h 368529"/>
              <a:gd name="connsiteX143" fmla="*/ 1498 w 405303"/>
              <a:gd name="connsiteY143" fmla="*/ 291809 h 368529"/>
              <a:gd name="connsiteX144" fmla="*/ 7374 w 405303"/>
              <a:gd name="connsiteY144" fmla="*/ 291106 h 368529"/>
              <a:gd name="connsiteX145" fmla="*/ 48508 w 405303"/>
              <a:gd name="connsiteY145" fmla="*/ 291709 h 368529"/>
              <a:gd name="connsiteX146" fmla="*/ 59356 w 405303"/>
              <a:gd name="connsiteY146" fmla="*/ 290503 h 368529"/>
              <a:gd name="connsiteX147" fmla="*/ 59356 w 405303"/>
              <a:gd name="connsiteY147" fmla="*/ 10853 h 368529"/>
              <a:gd name="connsiteX148" fmla="*/ 65182 w 405303"/>
              <a:gd name="connsiteY148" fmla="*/ 4 h 368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Lst>
            <a:rect l="l" t="t" r="r" b="b"/>
            <a:pathLst>
              <a:path w="405303" h="368529">
                <a:moveTo>
                  <a:pt x="163284" y="231954"/>
                </a:moveTo>
                <a:cubicBezTo>
                  <a:pt x="183914" y="231892"/>
                  <a:pt x="203853" y="232193"/>
                  <a:pt x="210030" y="233649"/>
                </a:cubicBezTo>
                <a:cubicBezTo>
                  <a:pt x="212792" y="245502"/>
                  <a:pt x="212792" y="250525"/>
                  <a:pt x="201592" y="250525"/>
                </a:cubicBezTo>
                <a:lnTo>
                  <a:pt x="114804" y="250525"/>
                </a:lnTo>
                <a:cubicBezTo>
                  <a:pt x="105965" y="250525"/>
                  <a:pt x="106367" y="244849"/>
                  <a:pt x="106367" y="240882"/>
                </a:cubicBezTo>
                <a:cubicBezTo>
                  <a:pt x="106367" y="237014"/>
                  <a:pt x="108526" y="232645"/>
                  <a:pt x="112394" y="232444"/>
                </a:cubicBezTo>
                <a:cubicBezTo>
                  <a:pt x="121334" y="232444"/>
                  <a:pt x="142655" y="232017"/>
                  <a:pt x="163284" y="231954"/>
                </a:cubicBezTo>
                <a:close/>
                <a:moveTo>
                  <a:pt x="164226" y="186841"/>
                </a:moveTo>
                <a:lnTo>
                  <a:pt x="204004" y="186841"/>
                </a:lnTo>
                <a:cubicBezTo>
                  <a:pt x="217363" y="186841"/>
                  <a:pt x="210232" y="204921"/>
                  <a:pt x="202799" y="204921"/>
                </a:cubicBezTo>
                <a:cubicBezTo>
                  <a:pt x="165934" y="204921"/>
                  <a:pt x="156994" y="209391"/>
                  <a:pt x="156994" y="191662"/>
                </a:cubicBezTo>
                <a:cubicBezTo>
                  <a:pt x="156994" y="187945"/>
                  <a:pt x="160610" y="186841"/>
                  <a:pt x="164226" y="186841"/>
                </a:cubicBezTo>
                <a:close/>
                <a:moveTo>
                  <a:pt x="117065" y="186483"/>
                </a:moveTo>
                <a:cubicBezTo>
                  <a:pt x="123142" y="186200"/>
                  <a:pt x="130676" y="186840"/>
                  <a:pt x="136502" y="186840"/>
                </a:cubicBezTo>
                <a:cubicBezTo>
                  <a:pt x="144387" y="186840"/>
                  <a:pt x="142428" y="204921"/>
                  <a:pt x="135296" y="204921"/>
                </a:cubicBezTo>
                <a:cubicBezTo>
                  <a:pt x="111088" y="204921"/>
                  <a:pt x="106367" y="207181"/>
                  <a:pt x="106367" y="191662"/>
                </a:cubicBezTo>
                <a:cubicBezTo>
                  <a:pt x="106367" y="187971"/>
                  <a:pt x="110988" y="186765"/>
                  <a:pt x="117065" y="186483"/>
                </a:cubicBezTo>
                <a:close/>
                <a:moveTo>
                  <a:pt x="112394" y="138625"/>
                </a:moveTo>
                <a:lnTo>
                  <a:pt x="248603" y="138625"/>
                </a:lnTo>
                <a:cubicBezTo>
                  <a:pt x="255634" y="138625"/>
                  <a:pt x="261109" y="156705"/>
                  <a:pt x="247398" y="156705"/>
                </a:cubicBezTo>
                <a:lnTo>
                  <a:pt x="113600" y="156705"/>
                </a:lnTo>
                <a:cubicBezTo>
                  <a:pt x="105312" y="156705"/>
                  <a:pt x="106367" y="152085"/>
                  <a:pt x="106367" y="147062"/>
                </a:cubicBezTo>
                <a:cubicBezTo>
                  <a:pt x="106367" y="142994"/>
                  <a:pt x="108527" y="138625"/>
                  <a:pt x="112394" y="138625"/>
                </a:cubicBezTo>
                <a:close/>
                <a:moveTo>
                  <a:pt x="398071" y="125115"/>
                </a:moveTo>
                <a:cubicBezTo>
                  <a:pt x="401838" y="130689"/>
                  <a:pt x="401738" y="131393"/>
                  <a:pt x="405303" y="132347"/>
                </a:cubicBezTo>
                <a:cubicBezTo>
                  <a:pt x="405303" y="139730"/>
                  <a:pt x="404500" y="137972"/>
                  <a:pt x="400583" y="142040"/>
                </a:cubicBezTo>
                <a:lnTo>
                  <a:pt x="399980" y="142693"/>
                </a:lnTo>
                <a:lnTo>
                  <a:pt x="396263" y="146209"/>
                </a:lnTo>
                <a:cubicBezTo>
                  <a:pt x="394305" y="148067"/>
                  <a:pt x="394857" y="147665"/>
                  <a:pt x="393300" y="149222"/>
                </a:cubicBezTo>
                <a:lnTo>
                  <a:pt x="380041" y="162532"/>
                </a:lnTo>
                <a:cubicBezTo>
                  <a:pt x="378233" y="164189"/>
                  <a:pt x="376776" y="165595"/>
                  <a:pt x="374566" y="167856"/>
                </a:cubicBezTo>
                <a:cubicBezTo>
                  <a:pt x="372356" y="170116"/>
                  <a:pt x="371251" y="171472"/>
                  <a:pt x="369242" y="173380"/>
                </a:cubicBezTo>
                <a:cubicBezTo>
                  <a:pt x="362864" y="179608"/>
                  <a:pt x="367233" y="178403"/>
                  <a:pt x="363115" y="178403"/>
                </a:cubicBezTo>
                <a:cubicBezTo>
                  <a:pt x="362512" y="178403"/>
                  <a:pt x="349303" y="173380"/>
                  <a:pt x="354275" y="163335"/>
                </a:cubicBezTo>
                <a:lnTo>
                  <a:pt x="385415" y="131744"/>
                </a:lnTo>
                <a:cubicBezTo>
                  <a:pt x="388729" y="128379"/>
                  <a:pt x="388328" y="127977"/>
                  <a:pt x="393350" y="126420"/>
                </a:cubicBezTo>
                <a:cubicBezTo>
                  <a:pt x="394892" y="125876"/>
                  <a:pt x="396469" y="125439"/>
                  <a:pt x="398071" y="125115"/>
                </a:cubicBezTo>
                <a:close/>
                <a:moveTo>
                  <a:pt x="358293" y="115923"/>
                </a:moveTo>
                <a:lnTo>
                  <a:pt x="319419" y="154194"/>
                </a:lnTo>
                <a:cubicBezTo>
                  <a:pt x="314799" y="158815"/>
                  <a:pt x="310680" y="162029"/>
                  <a:pt x="306311" y="166399"/>
                </a:cubicBezTo>
                <a:lnTo>
                  <a:pt x="305758" y="167001"/>
                </a:lnTo>
                <a:lnTo>
                  <a:pt x="267387" y="204569"/>
                </a:lnTo>
                <a:lnTo>
                  <a:pt x="258607" y="220151"/>
                </a:lnTo>
                <a:lnTo>
                  <a:pt x="258045" y="220390"/>
                </a:lnTo>
                <a:lnTo>
                  <a:pt x="258246" y="220792"/>
                </a:lnTo>
                <a:lnTo>
                  <a:pt x="258607" y="220151"/>
                </a:lnTo>
                <a:lnTo>
                  <a:pt x="272755" y="214137"/>
                </a:lnTo>
                <a:cubicBezTo>
                  <a:pt x="277168" y="210170"/>
                  <a:pt x="281751" y="204519"/>
                  <a:pt x="288481" y="197789"/>
                </a:cubicBezTo>
                <a:cubicBezTo>
                  <a:pt x="293202" y="193068"/>
                  <a:pt x="297019" y="189150"/>
                  <a:pt x="301740" y="184480"/>
                </a:cubicBezTo>
                <a:lnTo>
                  <a:pt x="318364" y="168558"/>
                </a:lnTo>
                <a:cubicBezTo>
                  <a:pt x="319921" y="166951"/>
                  <a:pt x="319369" y="167403"/>
                  <a:pt x="321328" y="165545"/>
                </a:cubicBezTo>
                <a:lnTo>
                  <a:pt x="328359" y="159518"/>
                </a:lnTo>
                <a:cubicBezTo>
                  <a:pt x="333231" y="155098"/>
                  <a:pt x="337048" y="151080"/>
                  <a:pt x="341719" y="146359"/>
                </a:cubicBezTo>
                <a:cubicBezTo>
                  <a:pt x="347746" y="140382"/>
                  <a:pt x="364872" y="126269"/>
                  <a:pt x="365525" y="118334"/>
                </a:cubicBezTo>
                <a:cubicBezTo>
                  <a:pt x="363436" y="116775"/>
                  <a:pt x="360900" y="115930"/>
                  <a:pt x="358293" y="115923"/>
                </a:cubicBezTo>
                <a:close/>
                <a:moveTo>
                  <a:pt x="373762" y="100253"/>
                </a:moveTo>
                <a:cubicBezTo>
                  <a:pt x="374466" y="105476"/>
                  <a:pt x="375068" y="105778"/>
                  <a:pt x="380995" y="106280"/>
                </a:cubicBezTo>
                <a:cubicBezTo>
                  <a:pt x="380593" y="100906"/>
                  <a:pt x="378785" y="100705"/>
                  <a:pt x="373762" y="100253"/>
                </a:cubicBezTo>
                <a:close/>
                <a:moveTo>
                  <a:pt x="190142" y="92820"/>
                </a:moveTo>
                <a:lnTo>
                  <a:pt x="275524" y="92820"/>
                </a:lnTo>
                <a:cubicBezTo>
                  <a:pt x="278356" y="93045"/>
                  <a:pt x="281179" y="93448"/>
                  <a:pt x="283961" y="94025"/>
                </a:cubicBezTo>
                <a:cubicBezTo>
                  <a:pt x="284916" y="98997"/>
                  <a:pt x="286573" y="110900"/>
                  <a:pt x="278939" y="110900"/>
                </a:cubicBezTo>
                <a:lnTo>
                  <a:pt x="183512" y="110900"/>
                </a:lnTo>
                <a:cubicBezTo>
                  <a:pt x="176330" y="110900"/>
                  <a:pt x="177485" y="101307"/>
                  <a:pt x="177485" y="97641"/>
                </a:cubicBezTo>
                <a:cubicBezTo>
                  <a:pt x="177485" y="93071"/>
                  <a:pt x="184818" y="92820"/>
                  <a:pt x="190142" y="92820"/>
                </a:cubicBezTo>
                <a:close/>
                <a:moveTo>
                  <a:pt x="123211" y="92461"/>
                </a:moveTo>
                <a:cubicBezTo>
                  <a:pt x="132358" y="92078"/>
                  <a:pt x="142955" y="92819"/>
                  <a:pt x="148756" y="92819"/>
                </a:cubicBezTo>
                <a:cubicBezTo>
                  <a:pt x="151589" y="93045"/>
                  <a:pt x="154411" y="93448"/>
                  <a:pt x="157194" y="94025"/>
                </a:cubicBezTo>
                <a:cubicBezTo>
                  <a:pt x="157194" y="99047"/>
                  <a:pt x="159705" y="110900"/>
                  <a:pt x="152172" y="110900"/>
                </a:cubicBezTo>
                <a:cubicBezTo>
                  <a:pt x="118822" y="110900"/>
                  <a:pt x="106367" y="115471"/>
                  <a:pt x="106367" y="98846"/>
                </a:cubicBezTo>
                <a:cubicBezTo>
                  <a:pt x="106367" y="94351"/>
                  <a:pt x="114064" y="92844"/>
                  <a:pt x="123211" y="92461"/>
                </a:cubicBezTo>
                <a:close/>
                <a:moveTo>
                  <a:pt x="374541" y="75957"/>
                </a:moveTo>
                <a:cubicBezTo>
                  <a:pt x="379287" y="75329"/>
                  <a:pt x="382502" y="79309"/>
                  <a:pt x="387524" y="84332"/>
                </a:cubicBezTo>
                <a:lnTo>
                  <a:pt x="397569" y="94377"/>
                </a:lnTo>
                <a:cubicBezTo>
                  <a:pt x="400884" y="97440"/>
                  <a:pt x="400281" y="98696"/>
                  <a:pt x="405303" y="99851"/>
                </a:cubicBezTo>
                <a:cubicBezTo>
                  <a:pt x="405303" y="108590"/>
                  <a:pt x="403947" y="109796"/>
                  <a:pt x="398925" y="113964"/>
                </a:cubicBezTo>
                <a:lnTo>
                  <a:pt x="371000" y="141437"/>
                </a:lnTo>
                <a:cubicBezTo>
                  <a:pt x="369142" y="143295"/>
                  <a:pt x="369995" y="142341"/>
                  <a:pt x="368489" y="143747"/>
                </a:cubicBezTo>
                <a:cubicBezTo>
                  <a:pt x="365626" y="146359"/>
                  <a:pt x="365676" y="146861"/>
                  <a:pt x="363115" y="149222"/>
                </a:cubicBezTo>
                <a:cubicBezTo>
                  <a:pt x="340916" y="169663"/>
                  <a:pt x="308973" y="202862"/>
                  <a:pt x="287477" y="224308"/>
                </a:cubicBezTo>
                <a:cubicBezTo>
                  <a:pt x="273414" y="238370"/>
                  <a:pt x="281450" y="231440"/>
                  <a:pt x="269546" y="236462"/>
                </a:cubicBezTo>
                <a:cubicBezTo>
                  <a:pt x="267357" y="237686"/>
                  <a:pt x="265006" y="238599"/>
                  <a:pt x="262565" y="239174"/>
                </a:cubicBezTo>
                <a:cubicBezTo>
                  <a:pt x="257693" y="240179"/>
                  <a:pt x="257593" y="239023"/>
                  <a:pt x="253474" y="240882"/>
                </a:cubicBezTo>
                <a:cubicBezTo>
                  <a:pt x="240466" y="246808"/>
                  <a:pt x="240466" y="259063"/>
                  <a:pt x="230673" y="246808"/>
                </a:cubicBezTo>
                <a:cubicBezTo>
                  <a:pt x="228915" y="244649"/>
                  <a:pt x="226906" y="243694"/>
                  <a:pt x="226906" y="240882"/>
                </a:cubicBezTo>
                <a:cubicBezTo>
                  <a:pt x="226906" y="237115"/>
                  <a:pt x="227609" y="239224"/>
                  <a:pt x="229367" y="237567"/>
                </a:cubicBezTo>
                <a:cubicBezTo>
                  <a:pt x="237704" y="228878"/>
                  <a:pt x="235996" y="234955"/>
                  <a:pt x="238508" y="222500"/>
                </a:cubicBezTo>
                <a:lnTo>
                  <a:pt x="245991" y="201054"/>
                </a:lnTo>
                <a:lnTo>
                  <a:pt x="352367" y="95231"/>
                </a:lnTo>
                <a:cubicBezTo>
                  <a:pt x="363517" y="81821"/>
                  <a:pt x="369795" y="76585"/>
                  <a:pt x="374541" y="75957"/>
                </a:cubicBezTo>
                <a:close/>
                <a:moveTo>
                  <a:pt x="278737" y="29938"/>
                </a:moveTo>
                <a:lnTo>
                  <a:pt x="279943" y="63840"/>
                </a:lnTo>
                <a:lnTo>
                  <a:pt x="310077" y="63840"/>
                </a:lnTo>
                <a:cubicBezTo>
                  <a:pt x="309977" y="58064"/>
                  <a:pt x="311484" y="60575"/>
                  <a:pt x="304251" y="53795"/>
                </a:cubicBezTo>
                <a:lnTo>
                  <a:pt x="290339" y="39983"/>
                </a:lnTo>
                <a:cubicBezTo>
                  <a:pt x="286868" y="37366"/>
                  <a:pt x="284121" y="33910"/>
                  <a:pt x="282353" y="29938"/>
                </a:cubicBezTo>
                <a:close/>
                <a:moveTo>
                  <a:pt x="65182" y="4"/>
                </a:moveTo>
                <a:lnTo>
                  <a:pt x="271505" y="4"/>
                </a:lnTo>
                <a:cubicBezTo>
                  <a:pt x="276628" y="4"/>
                  <a:pt x="276477" y="1310"/>
                  <a:pt x="278637" y="3721"/>
                </a:cubicBezTo>
                <a:lnTo>
                  <a:pt x="332678" y="58164"/>
                </a:lnTo>
                <a:cubicBezTo>
                  <a:pt x="347394" y="72729"/>
                  <a:pt x="343828" y="71172"/>
                  <a:pt x="343828" y="84382"/>
                </a:cubicBezTo>
                <a:cubicBezTo>
                  <a:pt x="343828" y="92769"/>
                  <a:pt x="346691" y="81569"/>
                  <a:pt x="342623" y="98846"/>
                </a:cubicBezTo>
                <a:cubicBezTo>
                  <a:pt x="316506" y="104923"/>
                  <a:pt x="330268" y="87495"/>
                  <a:pt x="324693" y="81820"/>
                </a:cubicBezTo>
                <a:cubicBezTo>
                  <a:pt x="321730" y="78706"/>
                  <a:pt x="307014" y="80765"/>
                  <a:pt x="301640" y="80765"/>
                </a:cubicBezTo>
                <a:cubicBezTo>
                  <a:pt x="253273" y="80765"/>
                  <a:pt x="260656" y="89354"/>
                  <a:pt x="260656" y="31344"/>
                </a:cubicBezTo>
                <a:cubicBezTo>
                  <a:pt x="260656" y="25769"/>
                  <a:pt x="264373" y="18085"/>
                  <a:pt x="257040" y="18085"/>
                </a:cubicBezTo>
                <a:lnTo>
                  <a:pt x="83464" y="18085"/>
                </a:lnTo>
                <a:cubicBezTo>
                  <a:pt x="80863" y="18110"/>
                  <a:pt x="78331" y="18953"/>
                  <a:pt x="76232" y="20496"/>
                </a:cubicBezTo>
                <a:cubicBezTo>
                  <a:pt x="76382" y="25920"/>
                  <a:pt x="77437" y="25267"/>
                  <a:pt x="77437" y="31344"/>
                </a:cubicBezTo>
                <a:lnTo>
                  <a:pt x="77437" y="274381"/>
                </a:lnTo>
                <a:cubicBezTo>
                  <a:pt x="77437" y="283371"/>
                  <a:pt x="74775" y="281915"/>
                  <a:pt x="78643" y="290051"/>
                </a:cubicBezTo>
                <a:cubicBezTo>
                  <a:pt x="80571" y="290789"/>
                  <a:pt x="82605" y="291197"/>
                  <a:pt x="84670" y="291256"/>
                </a:cubicBezTo>
                <a:lnTo>
                  <a:pt x="252821" y="290654"/>
                </a:lnTo>
                <a:cubicBezTo>
                  <a:pt x="265830" y="292060"/>
                  <a:pt x="260255" y="293366"/>
                  <a:pt x="263268" y="310392"/>
                </a:cubicBezTo>
                <a:lnTo>
                  <a:pt x="267889" y="321391"/>
                </a:lnTo>
                <a:cubicBezTo>
                  <a:pt x="269094" y="324505"/>
                  <a:pt x="286522" y="344294"/>
                  <a:pt x="260656" y="344294"/>
                </a:cubicBezTo>
                <a:cubicBezTo>
                  <a:pt x="258597" y="336207"/>
                  <a:pt x="250210" y="332190"/>
                  <a:pt x="248552" y="320236"/>
                </a:cubicBezTo>
                <a:cubicBezTo>
                  <a:pt x="248025" y="315656"/>
                  <a:pt x="245735" y="311460"/>
                  <a:pt x="242174" y="308534"/>
                </a:cubicBezTo>
                <a:cubicBezTo>
                  <a:pt x="239713" y="306927"/>
                  <a:pt x="72164" y="308132"/>
                  <a:pt x="48508" y="308132"/>
                </a:cubicBezTo>
                <a:cubicBezTo>
                  <a:pt x="24852" y="308132"/>
                  <a:pt x="13752" y="304214"/>
                  <a:pt x="21738" y="318177"/>
                </a:cubicBezTo>
                <a:cubicBezTo>
                  <a:pt x="26158" y="326062"/>
                  <a:pt x="23848" y="324907"/>
                  <a:pt x="30929" y="333244"/>
                </a:cubicBezTo>
                <a:lnTo>
                  <a:pt x="49211" y="346353"/>
                </a:lnTo>
                <a:cubicBezTo>
                  <a:pt x="56745" y="349869"/>
                  <a:pt x="98532" y="348211"/>
                  <a:pt x="111188" y="348211"/>
                </a:cubicBezTo>
                <a:cubicBezTo>
                  <a:pt x="166435" y="348211"/>
                  <a:pt x="229216" y="349115"/>
                  <a:pt x="283659" y="348211"/>
                </a:cubicBezTo>
                <a:cubicBezTo>
                  <a:pt x="292599" y="348060"/>
                  <a:pt x="290188" y="346905"/>
                  <a:pt x="300936" y="341431"/>
                </a:cubicBezTo>
                <a:cubicBezTo>
                  <a:pt x="313744" y="334902"/>
                  <a:pt x="318565" y="323149"/>
                  <a:pt x="323236" y="313104"/>
                </a:cubicBezTo>
                <a:cubicBezTo>
                  <a:pt x="324542" y="310392"/>
                  <a:pt x="323286" y="313556"/>
                  <a:pt x="324542" y="310744"/>
                </a:cubicBezTo>
                <a:cubicBezTo>
                  <a:pt x="327555" y="303963"/>
                  <a:pt x="325747" y="234503"/>
                  <a:pt x="325747" y="216773"/>
                </a:cubicBezTo>
                <a:cubicBezTo>
                  <a:pt x="325747" y="207030"/>
                  <a:pt x="323236" y="192666"/>
                  <a:pt x="332980" y="192666"/>
                </a:cubicBezTo>
                <a:cubicBezTo>
                  <a:pt x="348851" y="192666"/>
                  <a:pt x="343828" y="205473"/>
                  <a:pt x="343828" y="210747"/>
                </a:cubicBezTo>
                <a:lnTo>
                  <a:pt x="344481" y="302105"/>
                </a:lnTo>
                <a:lnTo>
                  <a:pt x="340865" y="317825"/>
                </a:lnTo>
                <a:cubicBezTo>
                  <a:pt x="338911" y="325185"/>
                  <a:pt x="335697" y="332151"/>
                  <a:pt x="331373" y="338417"/>
                </a:cubicBezTo>
                <a:lnTo>
                  <a:pt x="316305" y="353485"/>
                </a:lnTo>
                <a:cubicBezTo>
                  <a:pt x="308093" y="359097"/>
                  <a:pt x="299133" y="363527"/>
                  <a:pt x="289686" y="366644"/>
                </a:cubicBezTo>
                <a:lnTo>
                  <a:pt x="262063" y="367949"/>
                </a:lnTo>
                <a:cubicBezTo>
                  <a:pt x="239713" y="367949"/>
                  <a:pt x="56895" y="370461"/>
                  <a:pt x="48006" y="365036"/>
                </a:cubicBezTo>
                <a:cubicBezTo>
                  <a:pt x="37308" y="358306"/>
                  <a:pt x="41928" y="363982"/>
                  <a:pt x="36002" y="360014"/>
                </a:cubicBezTo>
                <a:lnTo>
                  <a:pt x="10890" y="335504"/>
                </a:lnTo>
                <a:lnTo>
                  <a:pt x="10437" y="334801"/>
                </a:lnTo>
                <a:lnTo>
                  <a:pt x="9885" y="334098"/>
                </a:lnTo>
                <a:cubicBezTo>
                  <a:pt x="6821" y="330181"/>
                  <a:pt x="8629" y="335705"/>
                  <a:pt x="6420" y="329076"/>
                </a:cubicBezTo>
                <a:cubicBezTo>
                  <a:pt x="3306" y="319633"/>
                  <a:pt x="292" y="315465"/>
                  <a:pt x="292" y="309890"/>
                </a:cubicBezTo>
                <a:cubicBezTo>
                  <a:pt x="-346" y="303838"/>
                  <a:pt x="61" y="297722"/>
                  <a:pt x="1498" y="291809"/>
                </a:cubicBezTo>
                <a:cubicBezTo>
                  <a:pt x="5767" y="291457"/>
                  <a:pt x="4210" y="291106"/>
                  <a:pt x="7374" y="291106"/>
                </a:cubicBezTo>
                <a:lnTo>
                  <a:pt x="48508" y="291709"/>
                </a:lnTo>
                <a:cubicBezTo>
                  <a:pt x="54334" y="291709"/>
                  <a:pt x="53932" y="290503"/>
                  <a:pt x="59356" y="290503"/>
                </a:cubicBezTo>
                <a:lnTo>
                  <a:pt x="59356" y="10853"/>
                </a:lnTo>
                <a:cubicBezTo>
                  <a:pt x="59356" y="5981"/>
                  <a:pt x="60662" y="-197"/>
                  <a:pt x="65182" y="4"/>
                </a:cubicBezTo>
                <a:close/>
              </a:path>
            </a:pathLst>
          </a:custGeom>
          <a:solidFill>
            <a:schemeClr val="bg1"/>
          </a:solidFill>
          <a:ln w="501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black"/>
              </a:solidFill>
              <a:effectLst/>
              <a:uLnTx/>
              <a:uFillTx/>
              <a:latin typeface="Arial"/>
              <a:ea typeface="微软雅黑"/>
              <a:cs typeface="+mn-cs"/>
            </a:endParaRPr>
          </a:p>
        </p:txBody>
      </p:sp>
      <p:sp>
        <p:nvSpPr>
          <p:cNvPr id="55" name="gaoding-20">
            <a:extLst>
              <a:ext uri="{FF2B5EF4-FFF2-40B4-BE49-F238E27FC236}">
                <a16:creationId xmlns:a16="http://schemas.microsoft.com/office/drawing/2014/main" id="{16232046-6E3D-4E13-B0E2-AB022D700602}"/>
              </a:ext>
            </a:extLst>
          </p:cNvPr>
          <p:cNvSpPr/>
          <p:nvPr/>
        </p:nvSpPr>
        <p:spPr>
          <a:xfrm>
            <a:off x="2382210" y="3467754"/>
            <a:ext cx="388413" cy="408563"/>
          </a:xfrm>
          <a:custGeom>
            <a:avLst/>
            <a:gdLst>
              <a:gd name="connsiteX0" fmla="*/ 314628 w 388413"/>
              <a:gd name="connsiteY0" fmla="*/ 369394 h 408563"/>
              <a:gd name="connsiteX1" fmla="*/ 307169 w 388413"/>
              <a:gd name="connsiteY1" fmla="*/ 371233 h 408563"/>
              <a:gd name="connsiteX2" fmla="*/ 303837 w 388413"/>
              <a:gd name="connsiteY2" fmla="*/ 379552 h 408563"/>
              <a:gd name="connsiteX3" fmla="*/ 303779 w 388413"/>
              <a:gd name="connsiteY3" fmla="*/ 379395 h 408563"/>
              <a:gd name="connsiteX4" fmla="*/ 303779 w 388413"/>
              <a:gd name="connsiteY4" fmla="*/ 379696 h 408563"/>
              <a:gd name="connsiteX5" fmla="*/ 303837 w 388413"/>
              <a:gd name="connsiteY5" fmla="*/ 379552 h 408563"/>
              <a:gd name="connsiteX6" fmla="*/ 306692 w 388413"/>
              <a:gd name="connsiteY6" fmla="*/ 387331 h 408563"/>
              <a:gd name="connsiteX7" fmla="*/ 321257 w 388413"/>
              <a:gd name="connsiteY7" fmla="*/ 387331 h 408563"/>
              <a:gd name="connsiteX8" fmla="*/ 325476 w 388413"/>
              <a:gd name="connsiteY8" fmla="*/ 377286 h 408563"/>
              <a:gd name="connsiteX9" fmla="*/ 314628 w 388413"/>
              <a:gd name="connsiteY9" fmla="*/ 369394 h 408563"/>
              <a:gd name="connsiteX10" fmla="*/ 156721 w 388413"/>
              <a:gd name="connsiteY10" fmla="*/ 369049 h 408563"/>
              <a:gd name="connsiteX11" fmla="*/ 150695 w 388413"/>
              <a:gd name="connsiteY11" fmla="*/ 383514 h 408563"/>
              <a:gd name="connsiteX12" fmla="*/ 150695 w 388413"/>
              <a:gd name="connsiteY12" fmla="*/ 383765 h 408563"/>
              <a:gd name="connsiteX13" fmla="*/ 153035 w 388413"/>
              <a:gd name="connsiteY13" fmla="*/ 388007 h 408563"/>
              <a:gd name="connsiteX14" fmla="*/ 168072 w 388413"/>
              <a:gd name="connsiteY14" fmla="*/ 388787 h 408563"/>
              <a:gd name="connsiteX15" fmla="*/ 171186 w 388413"/>
              <a:gd name="connsiteY15" fmla="*/ 382308 h 408563"/>
              <a:gd name="connsiteX16" fmla="*/ 164707 w 388413"/>
              <a:gd name="connsiteY16" fmla="*/ 370706 h 408563"/>
              <a:gd name="connsiteX17" fmla="*/ 161191 w 388413"/>
              <a:gd name="connsiteY17" fmla="*/ 369401 h 408563"/>
              <a:gd name="connsiteX18" fmla="*/ 156721 w 388413"/>
              <a:gd name="connsiteY18" fmla="*/ 369049 h 408563"/>
              <a:gd name="connsiteX19" fmla="*/ 314803 w 388413"/>
              <a:gd name="connsiteY19" fmla="*/ 352556 h 408563"/>
              <a:gd name="connsiteX20" fmla="*/ 332005 w 388413"/>
              <a:gd name="connsiteY20" fmla="*/ 358602 h 408563"/>
              <a:gd name="connsiteX21" fmla="*/ 332608 w 388413"/>
              <a:gd name="connsiteY21" fmla="*/ 359205 h 408563"/>
              <a:gd name="connsiteX22" fmla="*/ 343557 w 388413"/>
              <a:gd name="connsiteY22" fmla="*/ 378391 h 408563"/>
              <a:gd name="connsiteX23" fmla="*/ 335822 w 388413"/>
              <a:gd name="connsiteY23" fmla="*/ 398480 h 408563"/>
              <a:gd name="connsiteX24" fmla="*/ 308249 w 388413"/>
              <a:gd name="connsiteY24" fmla="*/ 406617 h 408563"/>
              <a:gd name="connsiteX25" fmla="*/ 298656 w 388413"/>
              <a:gd name="connsiteY25" fmla="*/ 402950 h 408563"/>
              <a:gd name="connsiteX26" fmla="*/ 286903 w 388413"/>
              <a:gd name="connsiteY26" fmla="*/ 372464 h 408563"/>
              <a:gd name="connsiteX27" fmla="*/ 290972 w 388413"/>
              <a:gd name="connsiteY27" fmla="*/ 364328 h 408563"/>
              <a:gd name="connsiteX28" fmla="*/ 291524 w 388413"/>
              <a:gd name="connsiteY28" fmla="*/ 363675 h 408563"/>
              <a:gd name="connsiteX29" fmla="*/ 298053 w 388413"/>
              <a:gd name="connsiteY29" fmla="*/ 356945 h 408563"/>
              <a:gd name="connsiteX30" fmla="*/ 314803 w 388413"/>
              <a:gd name="connsiteY30" fmla="*/ 352556 h 408563"/>
              <a:gd name="connsiteX31" fmla="*/ 160765 w 388413"/>
              <a:gd name="connsiteY31" fmla="*/ 352149 h 408563"/>
              <a:gd name="connsiteX32" fmla="*/ 179674 w 388413"/>
              <a:gd name="connsiteY32" fmla="*/ 359305 h 408563"/>
              <a:gd name="connsiteX33" fmla="*/ 189166 w 388413"/>
              <a:gd name="connsiteY33" fmla="*/ 375076 h 408563"/>
              <a:gd name="connsiteX34" fmla="*/ 187308 w 388413"/>
              <a:gd name="connsiteY34" fmla="*/ 392454 h 408563"/>
              <a:gd name="connsiteX35" fmla="*/ 185550 w 388413"/>
              <a:gd name="connsiteY35" fmla="*/ 394362 h 408563"/>
              <a:gd name="connsiteX36" fmla="*/ 184998 w 388413"/>
              <a:gd name="connsiteY36" fmla="*/ 395015 h 408563"/>
              <a:gd name="connsiteX37" fmla="*/ 178067 w 388413"/>
              <a:gd name="connsiteY37" fmla="*/ 402499 h 408563"/>
              <a:gd name="connsiteX38" fmla="*/ 141001 w 388413"/>
              <a:gd name="connsiteY38" fmla="*/ 400389 h 408563"/>
              <a:gd name="connsiteX39" fmla="*/ 135978 w 388413"/>
              <a:gd name="connsiteY39" fmla="*/ 392203 h 408563"/>
              <a:gd name="connsiteX40" fmla="*/ 132613 w 388413"/>
              <a:gd name="connsiteY40" fmla="*/ 377487 h 408563"/>
              <a:gd name="connsiteX41" fmla="*/ 132613 w 388413"/>
              <a:gd name="connsiteY41" fmla="*/ 377286 h 408563"/>
              <a:gd name="connsiteX42" fmla="*/ 142307 w 388413"/>
              <a:gd name="connsiteY42" fmla="*/ 359305 h 408563"/>
              <a:gd name="connsiteX43" fmla="*/ 160765 w 388413"/>
              <a:gd name="connsiteY43" fmla="*/ 352149 h 408563"/>
              <a:gd name="connsiteX44" fmla="*/ 46604 w 388413"/>
              <a:gd name="connsiteY44" fmla="*/ 270829 h 408563"/>
              <a:gd name="connsiteX45" fmla="*/ 82188 w 388413"/>
              <a:gd name="connsiteY45" fmla="*/ 271212 h 408563"/>
              <a:gd name="connsiteX46" fmla="*/ 85804 w 388413"/>
              <a:gd name="connsiteY46" fmla="*/ 289293 h 408563"/>
              <a:gd name="connsiteX47" fmla="*/ 20512 w 388413"/>
              <a:gd name="connsiteY47" fmla="*/ 289293 h 408563"/>
              <a:gd name="connsiteX48" fmla="*/ 20170 w 388413"/>
              <a:gd name="connsiteY48" fmla="*/ 289270 h 408563"/>
              <a:gd name="connsiteX49" fmla="*/ 12074 w 388413"/>
              <a:gd name="connsiteY49" fmla="*/ 279650 h 408563"/>
              <a:gd name="connsiteX50" fmla="*/ 15238 w 388413"/>
              <a:gd name="connsiteY50" fmla="*/ 272970 h 408563"/>
              <a:gd name="connsiteX51" fmla="*/ 46604 w 388413"/>
              <a:gd name="connsiteY51" fmla="*/ 270829 h 408563"/>
              <a:gd name="connsiteX52" fmla="*/ 253087 w 388413"/>
              <a:gd name="connsiteY52" fmla="*/ 210789 h 408563"/>
              <a:gd name="connsiteX53" fmla="*/ 243510 w 388413"/>
              <a:gd name="connsiteY53" fmla="*/ 231434 h 408563"/>
              <a:gd name="connsiteX54" fmla="*/ 278667 w 388413"/>
              <a:gd name="connsiteY54" fmla="*/ 230228 h 408563"/>
              <a:gd name="connsiteX55" fmla="*/ 277461 w 388413"/>
              <a:gd name="connsiteY55" fmla="*/ 220585 h 408563"/>
              <a:gd name="connsiteX56" fmla="*/ 277260 w 388413"/>
              <a:gd name="connsiteY56" fmla="*/ 220585 h 408563"/>
              <a:gd name="connsiteX57" fmla="*/ 277260 w 388413"/>
              <a:gd name="connsiteY57" fmla="*/ 212147 h 408563"/>
              <a:gd name="connsiteX58" fmla="*/ 271234 w 388413"/>
              <a:gd name="connsiteY58" fmla="*/ 210942 h 408563"/>
              <a:gd name="connsiteX59" fmla="*/ 253087 w 388413"/>
              <a:gd name="connsiteY59" fmla="*/ 210789 h 408563"/>
              <a:gd name="connsiteX60" fmla="*/ 211655 w 388413"/>
              <a:gd name="connsiteY60" fmla="*/ 210614 h 408563"/>
              <a:gd name="connsiteX61" fmla="*/ 190673 w 388413"/>
              <a:gd name="connsiteY61" fmla="*/ 210942 h 408563"/>
              <a:gd name="connsiteX62" fmla="*/ 189468 w 388413"/>
              <a:gd name="connsiteY62" fmla="*/ 226612 h 408563"/>
              <a:gd name="connsiteX63" fmla="*/ 190673 w 388413"/>
              <a:gd name="connsiteY63" fmla="*/ 232639 h 408563"/>
              <a:gd name="connsiteX64" fmla="*/ 225830 w 388413"/>
              <a:gd name="connsiteY64" fmla="*/ 219330 h 408563"/>
              <a:gd name="connsiteX65" fmla="*/ 211655 w 388413"/>
              <a:gd name="connsiteY65" fmla="*/ 210614 h 408563"/>
              <a:gd name="connsiteX66" fmla="*/ 7052 w 388413"/>
              <a:gd name="connsiteY66" fmla="*/ 192862 h 408563"/>
              <a:gd name="connsiteX67" fmla="*/ 12075 w 388413"/>
              <a:gd name="connsiteY67" fmla="*/ 210943 h 408563"/>
              <a:gd name="connsiteX68" fmla="*/ 21 w 388413"/>
              <a:gd name="connsiteY68" fmla="*/ 197683 h 408563"/>
              <a:gd name="connsiteX69" fmla="*/ 7052 w 388413"/>
              <a:gd name="connsiteY69" fmla="*/ 192862 h 408563"/>
              <a:gd name="connsiteX70" fmla="*/ 50930 w 388413"/>
              <a:gd name="connsiteY70" fmla="*/ 192429 h 408563"/>
              <a:gd name="connsiteX71" fmla="*/ 77166 w 388413"/>
              <a:gd name="connsiteY71" fmla="*/ 195273 h 408563"/>
              <a:gd name="connsiteX72" fmla="*/ 68728 w 388413"/>
              <a:gd name="connsiteY72" fmla="*/ 210943 h 408563"/>
              <a:gd name="connsiteX73" fmla="*/ 27745 w 388413"/>
              <a:gd name="connsiteY73" fmla="*/ 194067 h 408563"/>
              <a:gd name="connsiteX74" fmla="*/ 50930 w 388413"/>
              <a:gd name="connsiteY74" fmla="*/ 192429 h 408563"/>
              <a:gd name="connsiteX75" fmla="*/ 231807 w 388413"/>
              <a:gd name="connsiteY75" fmla="*/ 172420 h 408563"/>
              <a:gd name="connsiteX76" fmla="*/ 247477 w 388413"/>
              <a:gd name="connsiteY76" fmla="*/ 192911 h 408563"/>
              <a:gd name="connsiteX77" fmla="*/ 277612 w 388413"/>
              <a:gd name="connsiteY77" fmla="*/ 183268 h 408563"/>
              <a:gd name="connsiteX78" fmla="*/ 284844 w 388413"/>
              <a:gd name="connsiteY78" fmla="*/ 172420 h 408563"/>
              <a:gd name="connsiteX79" fmla="*/ 295693 w 388413"/>
              <a:gd name="connsiteY79" fmla="*/ 192911 h 408563"/>
              <a:gd name="connsiteX80" fmla="*/ 334265 w 388413"/>
              <a:gd name="connsiteY80" fmla="*/ 194117 h 408563"/>
              <a:gd name="connsiteX81" fmla="*/ 331854 w 388413"/>
              <a:gd name="connsiteY81" fmla="*/ 210992 h 408563"/>
              <a:gd name="connsiteX82" fmla="*/ 311363 w 388413"/>
              <a:gd name="connsiteY82" fmla="*/ 210992 h 408563"/>
              <a:gd name="connsiteX83" fmla="*/ 295693 w 388413"/>
              <a:gd name="connsiteY83" fmla="*/ 214608 h 408563"/>
              <a:gd name="connsiteX84" fmla="*/ 320805 w 388413"/>
              <a:gd name="connsiteY84" fmla="*/ 232689 h 408563"/>
              <a:gd name="connsiteX85" fmla="*/ 295693 w 388413"/>
              <a:gd name="connsiteY85" fmla="*/ 250770 h 408563"/>
              <a:gd name="connsiteX86" fmla="*/ 295693 w 388413"/>
              <a:gd name="connsiteY86" fmla="*/ 264029 h 408563"/>
              <a:gd name="connsiteX87" fmla="*/ 280626 w 388413"/>
              <a:gd name="connsiteY87" fmla="*/ 267244 h 408563"/>
              <a:gd name="connsiteX88" fmla="*/ 274197 w 388413"/>
              <a:gd name="connsiteY88" fmla="*/ 250770 h 408563"/>
              <a:gd name="connsiteX89" fmla="*/ 244062 w 388413"/>
              <a:gd name="connsiteY89" fmla="*/ 266440 h 408563"/>
              <a:gd name="connsiteX90" fmla="*/ 225981 w 388413"/>
              <a:gd name="connsiteY90" fmla="*/ 250770 h 408563"/>
              <a:gd name="connsiteX91" fmla="*/ 196951 w 388413"/>
              <a:gd name="connsiteY91" fmla="*/ 250770 h 408563"/>
              <a:gd name="connsiteX92" fmla="*/ 189820 w 388413"/>
              <a:gd name="connsiteY92" fmla="*/ 259308 h 408563"/>
              <a:gd name="connsiteX93" fmla="*/ 184797 w 388413"/>
              <a:gd name="connsiteY93" fmla="*/ 270207 h 408563"/>
              <a:gd name="connsiteX94" fmla="*/ 171538 w 388413"/>
              <a:gd name="connsiteY94" fmla="*/ 250921 h 408563"/>
              <a:gd name="connsiteX95" fmla="*/ 159484 w 388413"/>
              <a:gd name="connsiteY95" fmla="*/ 250921 h 408563"/>
              <a:gd name="connsiteX96" fmla="*/ 154462 w 388413"/>
              <a:gd name="connsiteY96" fmla="*/ 232840 h 408563"/>
              <a:gd name="connsiteX97" fmla="*/ 171437 w 388413"/>
              <a:gd name="connsiteY97" fmla="*/ 230630 h 408563"/>
              <a:gd name="connsiteX98" fmla="*/ 171437 w 388413"/>
              <a:gd name="connsiteY98" fmla="*/ 214759 h 408563"/>
              <a:gd name="connsiteX99" fmla="*/ 140047 w 388413"/>
              <a:gd name="connsiteY99" fmla="*/ 209737 h 408563"/>
              <a:gd name="connsiteX100" fmla="*/ 171387 w 388413"/>
              <a:gd name="connsiteY100" fmla="*/ 192861 h 408563"/>
              <a:gd name="connsiteX101" fmla="*/ 171387 w 388413"/>
              <a:gd name="connsiteY101" fmla="*/ 182013 h 408563"/>
              <a:gd name="connsiteX102" fmla="*/ 171186 w 388413"/>
              <a:gd name="connsiteY102" fmla="*/ 182013 h 408563"/>
              <a:gd name="connsiteX103" fmla="*/ 188212 w 388413"/>
              <a:gd name="connsiteY103" fmla="*/ 173374 h 408563"/>
              <a:gd name="connsiteX104" fmla="*/ 189317 w 388413"/>
              <a:gd name="connsiteY104" fmla="*/ 187939 h 408563"/>
              <a:gd name="connsiteX105" fmla="*/ 200266 w 388413"/>
              <a:gd name="connsiteY105" fmla="*/ 192962 h 408563"/>
              <a:gd name="connsiteX106" fmla="*/ 226785 w 388413"/>
              <a:gd name="connsiteY106" fmla="*/ 191706 h 408563"/>
              <a:gd name="connsiteX107" fmla="*/ 231807 w 388413"/>
              <a:gd name="connsiteY107" fmla="*/ 172420 h 408563"/>
              <a:gd name="connsiteX108" fmla="*/ 115989 w 388413"/>
              <a:gd name="connsiteY108" fmla="*/ 146906 h 408563"/>
              <a:gd name="connsiteX109" fmla="*/ 363094 w 388413"/>
              <a:gd name="connsiteY109" fmla="*/ 146906 h 408563"/>
              <a:gd name="connsiteX110" fmla="*/ 380371 w 388413"/>
              <a:gd name="connsiteY110" fmla="*/ 152531 h 408563"/>
              <a:gd name="connsiteX111" fmla="*/ 384791 w 388413"/>
              <a:gd name="connsiteY111" fmla="*/ 178246 h 408563"/>
              <a:gd name="connsiteX112" fmla="*/ 382230 w 388413"/>
              <a:gd name="connsiteY112" fmla="*/ 188894 h 408563"/>
              <a:gd name="connsiteX113" fmla="*/ 378111 w 388413"/>
              <a:gd name="connsiteY113" fmla="*/ 198035 h 408563"/>
              <a:gd name="connsiteX114" fmla="*/ 368970 w 388413"/>
              <a:gd name="connsiteY114" fmla="*/ 226261 h 408563"/>
              <a:gd name="connsiteX115" fmla="*/ 366258 w 388413"/>
              <a:gd name="connsiteY115" fmla="*/ 236808 h 408563"/>
              <a:gd name="connsiteX116" fmla="*/ 362491 w 388413"/>
              <a:gd name="connsiteY116" fmla="*/ 245095 h 408563"/>
              <a:gd name="connsiteX117" fmla="*/ 359829 w 388413"/>
              <a:gd name="connsiteY117" fmla="*/ 255693 h 408563"/>
              <a:gd name="connsiteX118" fmla="*/ 356012 w 388413"/>
              <a:gd name="connsiteY118" fmla="*/ 265185 h 408563"/>
              <a:gd name="connsiteX119" fmla="*/ 335922 w 388413"/>
              <a:gd name="connsiteY119" fmla="*/ 295320 h 408563"/>
              <a:gd name="connsiteX120" fmla="*/ 327385 w 388413"/>
              <a:gd name="connsiteY120" fmla="*/ 300342 h 408563"/>
              <a:gd name="connsiteX121" fmla="*/ 164205 w 388413"/>
              <a:gd name="connsiteY121" fmla="*/ 302301 h 408563"/>
              <a:gd name="connsiteX122" fmla="*/ 159182 w 388413"/>
              <a:gd name="connsiteY122" fmla="*/ 315862 h 408563"/>
              <a:gd name="connsiteX123" fmla="*/ 161543 w 388413"/>
              <a:gd name="connsiteY123" fmla="*/ 320884 h 408563"/>
              <a:gd name="connsiteX124" fmla="*/ 168976 w 388413"/>
              <a:gd name="connsiteY124" fmla="*/ 331532 h 408563"/>
              <a:gd name="connsiteX125" fmla="*/ 328087 w 388413"/>
              <a:gd name="connsiteY125" fmla="*/ 332737 h 408563"/>
              <a:gd name="connsiteX126" fmla="*/ 254559 w 388413"/>
              <a:gd name="connsiteY126" fmla="*/ 349612 h 408563"/>
              <a:gd name="connsiteX127" fmla="*/ 163602 w 388413"/>
              <a:gd name="connsiteY127" fmla="*/ 346549 h 408563"/>
              <a:gd name="connsiteX128" fmla="*/ 156420 w 388413"/>
              <a:gd name="connsiteY128" fmla="*/ 342882 h 408563"/>
              <a:gd name="connsiteX129" fmla="*/ 145371 w 388413"/>
              <a:gd name="connsiteY129" fmla="*/ 327463 h 408563"/>
              <a:gd name="connsiteX130" fmla="*/ 143111 w 388413"/>
              <a:gd name="connsiteY130" fmla="*/ 320030 h 408563"/>
              <a:gd name="connsiteX131" fmla="*/ 139695 w 388413"/>
              <a:gd name="connsiteY131" fmla="*/ 315008 h 408563"/>
              <a:gd name="connsiteX132" fmla="*/ 134221 w 388413"/>
              <a:gd name="connsiteY132" fmla="*/ 301146 h 408563"/>
              <a:gd name="connsiteX133" fmla="*/ 132162 w 388413"/>
              <a:gd name="connsiteY133" fmla="*/ 293311 h 408563"/>
              <a:gd name="connsiteX134" fmla="*/ 128897 w 388413"/>
              <a:gd name="connsiteY134" fmla="*/ 288288 h 408563"/>
              <a:gd name="connsiteX135" fmla="*/ 126436 w 388413"/>
              <a:gd name="connsiteY135" fmla="*/ 281106 h 408563"/>
              <a:gd name="connsiteX136" fmla="*/ 121765 w 388413"/>
              <a:gd name="connsiteY136" fmla="*/ 260464 h 408563"/>
              <a:gd name="connsiteX137" fmla="*/ 132614 w 388413"/>
              <a:gd name="connsiteY137" fmla="*/ 259258 h 408563"/>
              <a:gd name="connsiteX138" fmla="*/ 150695 w 388413"/>
              <a:gd name="connsiteY138" fmla="*/ 285777 h 408563"/>
              <a:gd name="connsiteX139" fmla="*/ 311011 w 388413"/>
              <a:gd name="connsiteY139" fmla="*/ 285777 h 408563"/>
              <a:gd name="connsiteX140" fmla="*/ 335119 w 388413"/>
              <a:gd name="connsiteY140" fmla="*/ 272468 h 408563"/>
              <a:gd name="connsiteX141" fmla="*/ 337881 w 388413"/>
              <a:gd name="connsiteY141" fmla="*/ 263176 h 408563"/>
              <a:gd name="connsiteX142" fmla="*/ 341849 w 388413"/>
              <a:gd name="connsiteY142" fmla="*/ 253935 h 408563"/>
              <a:gd name="connsiteX143" fmla="*/ 344360 w 388413"/>
              <a:gd name="connsiteY143" fmla="*/ 244342 h 408563"/>
              <a:gd name="connsiteX144" fmla="*/ 353551 w 388413"/>
              <a:gd name="connsiteY144" fmla="*/ 216216 h 408563"/>
              <a:gd name="connsiteX145" fmla="*/ 357218 w 388413"/>
              <a:gd name="connsiteY145" fmla="*/ 207778 h 408563"/>
              <a:gd name="connsiteX146" fmla="*/ 359528 w 388413"/>
              <a:gd name="connsiteY146" fmla="*/ 198085 h 408563"/>
              <a:gd name="connsiteX147" fmla="*/ 363345 w 388413"/>
              <a:gd name="connsiteY147" fmla="*/ 189798 h 408563"/>
              <a:gd name="connsiteX148" fmla="*/ 365505 w 388413"/>
              <a:gd name="connsiteY148" fmla="*/ 178698 h 408563"/>
              <a:gd name="connsiteX149" fmla="*/ 369523 w 388413"/>
              <a:gd name="connsiteY149" fmla="*/ 170813 h 408563"/>
              <a:gd name="connsiteX150" fmla="*/ 365254 w 388413"/>
              <a:gd name="connsiteY150" fmla="*/ 163932 h 408563"/>
              <a:gd name="connsiteX151" fmla="*/ 120560 w 388413"/>
              <a:gd name="connsiteY151" fmla="*/ 163932 h 408563"/>
              <a:gd name="connsiteX152" fmla="*/ 106095 w 388413"/>
              <a:gd name="connsiteY152" fmla="*/ 149468 h 408563"/>
              <a:gd name="connsiteX153" fmla="*/ 115989 w 388413"/>
              <a:gd name="connsiteY153" fmla="*/ 146906 h 408563"/>
              <a:gd name="connsiteX154" fmla="*/ 9664 w 388413"/>
              <a:gd name="connsiteY154" fmla="*/ 121040 h 408563"/>
              <a:gd name="connsiteX155" fmla="*/ 67673 w 388413"/>
              <a:gd name="connsiteY155" fmla="*/ 121040 h 408563"/>
              <a:gd name="connsiteX156" fmla="*/ 78873 w 388413"/>
              <a:gd name="connsiteY156" fmla="*/ 131537 h 408563"/>
              <a:gd name="connsiteX157" fmla="*/ 80430 w 388413"/>
              <a:gd name="connsiteY157" fmla="*/ 136007 h 408563"/>
              <a:gd name="connsiteX158" fmla="*/ 85452 w 388413"/>
              <a:gd name="connsiteY158" fmla="*/ 146504 h 408563"/>
              <a:gd name="connsiteX159" fmla="*/ 94342 w 388413"/>
              <a:gd name="connsiteY159" fmla="*/ 165338 h 408563"/>
              <a:gd name="connsiteX160" fmla="*/ 98662 w 388413"/>
              <a:gd name="connsiteY160" fmla="*/ 175383 h 408563"/>
              <a:gd name="connsiteX161" fmla="*/ 101625 w 388413"/>
              <a:gd name="connsiteY161" fmla="*/ 183318 h 408563"/>
              <a:gd name="connsiteX162" fmla="*/ 107049 w 388413"/>
              <a:gd name="connsiteY162" fmla="*/ 194719 h 408563"/>
              <a:gd name="connsiteX163" fmla="*/ 112072 w 388413"/>
              <a:gd name="connsiteY163" fmla="*/ 204212 h 408563"/>
              <a:gd name="connsiteX164" fmla="*/ 114884 w 388413"/>
              <a:gd name="connsiteY164" fmla="*/ 212198 h 408563"/>
              <a:gd name="connsiteX165" fmla="*/ 122117 w 388413"/>
              <a:gd name="connsiteY165" fmla="*/ 226712 h 408563"/>
              <a:gd name="connsiteX166" fmla="*/ 125381 w 388413"/>
              <a:gd name="connsiteY166" fmla="*/ 233041 h 408563"/>
              <a:gd name="connsiteX167" fmla="*/ 143914 w 388413"/>
              <a:gd name="connsiteY167" fmla="*/ 238666 h 408563"/>
              <a:gd name="connsiteX168" fmla="*/ 135024 w 388413"/>
              <a:gd name="connsiteY168" fmla="*/ 251122 h 408563"/>
              <a:gd name="connsiteX169" fmla="*/ 34977 w 388413"/>
              <a:gd name="connsiteY169" fmla="*/ 249916 h 408563"/>
              <a:gd name="connsiteX170" fmla="*/ 43364 w 388413"/>
              <a:gd name="connsiteY170" fmla="*/ 232990 h 408563"/>
              <a:gd name="connsiteX171" fmla="*/ 95347 w 388413"/>
              <a:gd name="connsiteY171" fmla="*/ 232990 h 408563"/>
              <a:gd name="connsiteX172" fmla="*/ 99767 w 388413"/>
              <a:gd name="connsiteY172" fmla="*/ 221238 h 408563"/>
              <a:gd name="connsiteX173" fmla="*/ 98210 w 388413"/>
              <a:gd name="connsiteY173" fmla="*/ 214357 h 408563"/>
              <a:gd name="connsiteX174" fmla="*/ 94242 w 388413"/>
              <a:gd name="connsiteY174" fmla="*/ 208632 h 408563"/>
              <a:gd name="connsiteX175" fmla="*/ 92183 w 388413"/>
              <a:gd name="connsiteY175" fmla="*/ 202253 h 408563"/>
              <a:gd name="connsiteX176" fmla="*/ 88717 w 388413"/>
              <a:gd name="connsiteY176" fmla="*/ 197231 h 408563"/>
              <a:gd name="connsiteX177" fmla="*/ 86809 w 388413"/>
              <a:gd name="connsiteY177" fmla="*/ 190701 h 408563"/>
              <a:gd name="connsiteX178" fmla="*/ 83444 w 388413"/>
              <a:gd name="connsiteY178" fmla="*/ 184423 h 408563"/>
              <a:gd name="connsiteX179" fmla="*/ 80932 w 388413"/>
              <a:gd name="connsiteY179" fmla="*/ 178497 h 408563"/>
              <a:gd name="connsiteX180" fmla="*/ 76161 w 388413"/>
              <a:gd name="connsiteY180" fmla="*/ 166443 h 408563"/>
              <a:gd name="connsiteX181" fmla="*/ 72545 w 388413"/>
              <a:gd name="connsiteY181" fmla="*/ 160366 h 408563"/>
              <a:gd name="connsiteX182" fmla="*/ 70787 w 388413"/>
              <a:gd name="connsiteY182" fmla="*/ 153736 h 408563"/>
              <a:gd name="connsiteX183" fmla="*/ 67321 w 388413"/>
              <a:gd name="connsiteY183" fmla="*/ 148714 h 408563"/>
              <a:gd name="connsiteX184" fmla="*/ 65162 w 388413"/>
              <a:gd name="connsiteY184" fmla="*/ 142436 h 408563"/>
              <a:gd name="connsiteX185" fmla="*/ 1226 w 388413"/>
              <a:gd name="connsiteY185" fmla="*/ 137413 h 408563"/>
              <a:gd name="connsiteX186" fmla="*/ 21 w 388413"/>
              <a:gd name="connsiteY186" fmla="*/ 125359 h 408563"/>
              <a:gd name="connsiteX187" fmla="*/ 9664 w 388413"/>
              <a:gd name="connsiteY187" fmla="*/ 121040 h 408563"/>
              <a:gd name="connsiteX188" fmla="*/ 216990 w 388413"/>
              <a:gd name="connsiteY188" fmla="*/ 39577 h 408563"/>
              <a:gd name="connsiteX189" fmla="*/ 343556 w 388413"/>
              <a:gd name="connsiteY189" fmla="*/ 39577 h 408563"/>
              <a:gd name="connsiteX190" fmla="*/ 355610 w 388413"/>
              <a:gd name="connsiteY190" fmla="*/ 49220 h 408563"/>
              <a:gd name="connsiteX191" fmla="*/ 355610 w 388413"/>
              <a:gd name="connsiteY191" fmla="*/ 129981 h 408563"/>
              <a:gd name="connsiteX192" fmla="*/ 337529 w 388413"/>
              <a:gd name="connsiteY192" fmla="*/ 135003 h 408563"/>
              <a:gd name="connsiteX193" fmla="*/ 337529 w 388413"/>
              <a:gd name="connsiteY193" fmla="*/ 73528 h 408563"/>
              <a:gd name="connsiteX194" fmla="*/ 333913 w 388413"/>
              <a:gd name="connsiteY194" fmla="*/ 57858 h 408563"/>
              <a:gd name="connsiteX195" fmla="*/ 223017 w 388413"/>
              <a:gd name="connsiteY195" fmla="*/ 57858 h 408563"/>
              <a:gd name="connsiteX196" fmla="*/ 231455 w 388413"/>
              <a:gd name="connsiteY196" fmla="*/ 80761 h 408563"/>
              <a:gd name="connsiteX197" fmla="*/ 283287 w 388413"/>
              <a:gd name="connsiteY197" fmla="*/ 86788 h 408563"/>
              <a:gd name="connsiteX198" fmla="*/ 282082 w 388413"/>
              <a:gd name="connsiteY198" fmla="*/ 136209 h 408563"/>
              <a:gd name="connsiteX199" fmla="*/ 266412 w 388413"/>
              <a:gd name="connsiteY199" fmla="*/ 137414 h 408563"/>
              <a:gd name="connsiteX200" fmla="*/ 264001 w 388413"/>
              <a:gd name="connsiteY200" fmla="*/ 97636 h 408563"/>
              <a:gd name="connsiteX201" fmla="*/ 167570 w 388413"/>
              <a:gd name="connsiteY201" fmla="*/ 97636 h 408563"/>
              <a:gd name="connsiteX202" fmla="*/ 150895 w 388413"/>
              <a:gd name="connsiteY202" fmla="*/ 100248 h 408563"/>
              <a:gd name="connsiteX203" fmla="*/ 149489 w 388413"/>
              <a:gd name="connsiteY203" fmla="*/ 136209 h 408563"/>
              <a:gd name="connsiteX204" fmla="*/ 133819 w 388413"/>
              <a:gd name="connsiteY204" fmla="*/ 137414 h 408563"/>
              <a:gd name="connsiteX205" fmla="*/ 132613 w 388413"/>
              <a:gd name="connsiteY205" fmla="*/ 131387 h 408563"/>
              <a:gd name="connsiteX206" fmla="*/ 147078 w 388413"/>
              <a:gd name="connsiteY206" fmla="*/ 80761 h 408563"/>
              <a:gd name="connsiteX207" fmla="*/ 203731 w 388413"/>
              <a:gd name="connsiteY207" fmla="*/ 80761 h 408563"/>
              <a:gd name="connsiteX208" fmla="*/ 204937 w 388413"/>
              <a:gd name="connsiteY208" fmla="*/ 44599 h 408563"/>
              <a:gd name="connsiteX209" fmla="*/ 216990 w 388413"/>
              <a:gd name="connsiteY209" fmla="*/ 39577 h 408563"/>
              <a:gd name="connsiteX210" fmla="*/ 165159 w 388413"/>
              <a:gd name="connsiteY210" fmla="*/ 0 h 408563"/>
              <a:gd name="connsiteX211" fmla="*/ 302975 w 388413"/>
              <a:gd name="connsiteY211" fmla="*/ 0 h 408563"/>
              <a:gd name="connsiteX212" fmla="*/ 316234 w 388413"/>
              <a:gd name="connsiteY212" fmla="*/ 6026 h 408563"/>
              <a:gd name="connsiteX213" fmla="*/ 299359 w 388413"/>
              <a:gd name="connsiteY213" fmla="*/ 30134 h 408563"/>
              <a:gd name="connsiteX214" fmla="*/ 294336 w 388413"/>
              <a:gd name="connsiteY214" fmla="*/ 18080 h 408563"/>
              <a:gd name="connsiteX215" fmla="*/ 177413 w 388413"/>
              <a:gd name="connsiteY215" fmla="*/ 19286 h 408563"/>
              <a:gd name="connsiteX216" fmla="*/ 175505 w 388413"/>
              <a:gd name="connsiteY216" fmla="*/ 69159 h 408563"/>
              <a:gd name="connsiteX217" fmla="*/ 161743 w 388413"/>
              <a:gd name="connsiteY217" fmla="*/ 72323 h 408563"/>
              <a:gd name="connsiteX218" fmla="*/ 159333 w 388413"/>
              <a:gd name="connsiteY218" fmla="*/ 61474 h 408563"/>
              <a:gd name="connsiteX219" fmla="*/ 159333 w 388413"/>
              <a:gd name="connsiteY219" fmla="*/ 10848 h 408563"/>
              <a:gd name="connsiteX220" fmla="*/ 165159 w 388413"/>
              <a:gd name="connsiteY220" fmla="*/ 0 h 4085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Lst>
            <a:rect l="l" t="t" r="r" b="b"/>
            <a:pathLst>
              <a:path w="388413" h="408563">
                <a:moveTo>
                  <a:pt x="314628" y="369394"/>
                </a:moveTo>
                <a:cubicBezTo>
                  <a:pt x="311916" y="369134"/>
                  <a:pt x="309204" y="369631"/>
                  <a:pt x="307169" y="371233"/>
                </a:cubicBezTo>
                <a:lnTo>
                  <a:pt x="303837" y="379552"/>
                </a:lnTo>
                <a:lnTo>
                  <a:pt x="303779" y="379395"/>
                </a:lnTo>
                <a:lnTo>
                  <a:pt x="303779" y="379696"/>
                </a:lnTo>
                <a:lnTo>
                  <a:pt x="303837" y="379552"/>
                </a:lnTo>
                <a:lnTo>
                  <a:pt x="306692" y="387331"/>
                </a:lnTo>
                <a:cubicBezTo>
                  <a:pt x="313070" y="395869"/>
                  <a:pt x="318896" y="389189"/>
                  <a:pt x="321257" y="387331"/>
                </a:cubicBezTo>
                <a:cubicBezTo>
                  <a:pt x="325827" y="383915"/>
                  <a:pt x="325476" y="386075"/>
                  <a:pt x="325476" y="377286"/>
                </a:cubicBezTo>
                <a:cubicBezTo>
                  <a:pt x="325476" y="373469"/>
                  <a:pt x="320052" y="369916"/>
                  <a:pt x="314628" y="369394"/>
                </a:cubicBezTo>
                <a:close/>
                <a:moveTo>
                  <a:pt x="156721" y="369049"/>
                </a:moveTo>
                <a:cubicBezTo>
                  <a:pt x="153858" y="376985"/>
                  <a:pt x="150695" y="368446"/>
                  <a:pt x="150695" y="383514"/>
                </a:cubicBezTo>
                <a:lnTo>
                  <a:pt x="150695" y="383765"/>
                </a:lnTo>
                <a:cubicBezTo>
                  <a:pt x="151136" y="385340"/>
                  <a:pt x="151940" y="386792"/>
                  <a:pt x="153035" y="388007"/>
                </a:cubicBezTo>
                <a:cubicBezTo>
                  <a:pt x="156973" y="392375"/>
                  <a:pt x="163703" y="392724"/>
                  <a:pt x="168072" y="388787"/>
                </a:cubicBezTo>
                <a:cubicBezTo>
                  <a:pt x="170583" y="386979"/>
                  <a:pt x="171186" y="386276"/>
                  <a:pt x="171186" y="382308"/>
                </a:cubicBezTo>
                <a:cubicBezTo>
                  <a:pt x="171186" y="372364"/>
                  <a:pt x="172040" y="373871"/>
                  <a:pt x="164707" y="370706"/>
                </a:cubicBezTo>
                <a:lnTo>
                  <a:pt x="161191" y="369401"/>
                </a:lnTo>
                <a:cubicBezTo>
                  <a:pt x="159730" y="369056"/>
                  <a:pt x="158223" y="368937"/>
                  <a:pt x="156721" y="369049"/>
                </a:cubicBezTo>
                <a:close/>
                <a:moveTo>
                  <a:pt x="314803" y="352556"/>
                </a:moveTo>
                <a:cubicBezTo>
                  <a:pt x="321207" y="352650"/>
                  <a:pt x="327686" y="354484"/>
                  <a:pt x="332005" y="358602"/>
                </a:cubicBezTo>
                <a:cubicBezTo>
                  <a:pt x="332216" y="358790"/>
                  <a:pt x="332422" y="358991"/>
                  <a:pt x="332608" y="359205"/>
                </a:cubicBezTo>
                <a:cubicBezTo>
                  <a:pt x="336776" y="363323"/>
                  <a:pt x="343557" y="371861"/>
                  <a:pt x="343557" y="378391"/>
                </a:cubicBezTo>
                <a:cubicBezTo>
                  <a:pt x="342557" y="385593"/>
                  <a:pt x="339910" y="392467"/>
                  <a:pt x="335822" y="398480"/>
                </a:cubicBezTo>
                <a:cubicBezTo>
                  <a:pt x="326380" y="407320"/>
                  <a:pt x="319901" y="409379"/>
                  <a:pt x="308249" y="406617"/>
                </a:cubicBezTo>
                <a:cubicBezTo>
                  <a:pt x="301719" y="405110"/>
                  <a:pt x="303678" y="406968"/>
                  <a:pt x="298656" y="402950"/>
                </a:cubicBezTo>
                <a:cubicBezTo>
                  <a:pt x="284241" y="390947"/>
                  <a:pt x="286903" y="391399"/>
                  <a:pt x="286903" y="372464"/>
                </a:cubicBezTo>
                <a:cubicBezTo>
                  <a:pt x="286903" y="367542"/>
                  <a:pt x="289063" y="366688"/>
                  <a:pt x="290972" y="364328"/>
                </a:cubicBezTo>
                <a:lnTo>
                  <a:pt x="291524" y="363675"/>
                </a:lnTo>
                <a:cubicBezTo>
                  <a:pt x="294638" y="359808"/>
                  <a:pt x="293483" y="360159"/>
                  <a:pt x="298053" y="356945"/>
                </a:cubicBezTo>
                <a:cubicBezTo>
                  <a:pt x="302071" y="354107"/>
                  <a:pt x="308399" y="352462"/>
                  <a:pt x="314803" y="352556"/>
                </a:cubicBezTo>
                <a:close/>
                <a:moveTo>
                  <a:pt x="160765" y="352149"/>
                </a:moveTo>
                <a:cubicBezTo>
                  <a:pt x="166967" y="352274"/>
                  <a:pt x="173245" y="354785"/>
                  <a:pt x="179674" y="359305"/>
                </a:cubicBezTo>
                <a:cubicBezTo>
                  <a:pt x="184822" y="363081"/>
                  <a:pt x="188237" y="368761"/>
                  <a:pt x="189166" y="375076"/>
                </a:cubicBezTo>
                <a:cubicBezTo>
                  <a:pt x="189166" y="384016"/>
                  <a:pt x="190372" y="388235"/>
                  <a:pt x="187308" y="392454"/>
                </a:cubicBezTo>
                <a:cubicBezTo>
                  <a:pt x="186354" y="393810"/>
                  <a:pt x="187157" y="392454"/>
                  <a:pt x="185550" y="394362"/>
                </a:cubicBezTo>
                <a:lnTo>
                  <a:pt x="184998" y="395015"/>
                </a:lnTo>
                <a:cubicBezTo>
                  <a:pt x="181030" y="400088"/>
                  <a:pt x="183893" y="398330"/>
                  <a:pt x="178067" y="402499"/>
                </a:cubicBezTo>
                <a:cubicBezTo>
                  <a:pt x="164506" y="412292"/>
                  <a:pt x="153005" y="409229"/>
                  <a:pt x="141001" y="400389"/>
                </a:cubicBezTo>
                <a:cubicBezTo>
                  <a:pt x="138389" y="398380"/>
                  <a:pt x="137736" y="395467"/>
                  <a:pt x="135978" y="392203"/>
                </a:cubicBezTo>
                <a:cubicBezTo>
                  <a:pt x="132011" y="384970"/>
                  <a:pt x="132613" y="387532"/>
                  <a:pt x="132613" y="377487"/>
                </a:cubicBezTo>
                <a:lnTo>
                  <a:pt x="132613" y="377286"/>
                </a:lnTo>
                <a:cubicBezTo>
                  <a:pt x="132980" y="370140"/>
                  <a:pt x="136536" y="363538"/>
                  <a:pt x="142307" y="359305"/>
                </a:cubicBezTo>
                <a:cubicBezTo>
                  <a:pt x="148435" y="354283"/>
                  <a:pt x="154562" y="352023"/>
                  <a:pt x="160765" y="352149"/>
                </a:cubicBezTo>
                <a:close/>
                <a:moveTo>
                  <a:pt x="46604" y="270829"/>
                </a:moveTo>
                <a:cubicBezTo>
                  <a:pt x="61533" y="270810"/>
                  <a:pt x="77166" y="271212"/>
                  <a:pt x="82188" y="271212"/>
                </a:cubicBezTo>
                <a:cubicBezTo>
                  <a:pt x="93739" y="271212"/>
                  <a:pt x="92785" y="289293"/>
                  <a:pt x="85804" y="289293"/>
                </a:cubicBezTo>
                <a:lnTo>
                  <a:pt x="20512" y="289293"/>
                </a:lnTo>
                <a:cubicBezTo>
                  <a:pt x="20396" y="289287"/>
                  <a:pt x="20281" y="289280"/>
                  <a:pt x="20170" y="289270"/>
                </a:cubicBezTo>
                <a:cubicBezTo>
                  <a:pt x="15278" y="288848"/>
                  <a:pt x="11652" y="284541"/>
                  <a:pt x="12074" y="279650"/>
                </a:cubicBezTo>
                <a:cubicBezTo>
                  <a:pt x="12169" y="277084"/>
                  <a:pt x="13315" y="274671"/>
                  <a:pt x="15238" y="272970"/>
                </a:cubicBezTo>
                <a:cubicBezTo>
                  <a:pt x="17448" y="271288"/>
                  <a:pt x="31675" y="270848"/>
                  <a:pt x="46604" y="270829"/>
                </a:cubicBezTo>
                <a:close/>
                <a:moveTo>
                  <a:pt x="253087" y="210789"/>
                </a:moveTo>
                <a:cubicBezTo>
                  <a:pt x="240685" y="210961"/>
                  <a:pt x="243510" y="213541"/>
                  <a:pt x="243510" y="231434"/>
                </a:cubicBezTo>
                <a:cubicBezTo>
                  <a:pt x="252449" y="233443"/>
                  <a:pt x="270932" y="234347"/>
                  <a:pt x="278667" y="230228"/>
                </a:cubicBezTo>
                <a:cubicBezTo>
                  <a:pt x="277979" y="227056"/>
                  <a:pt x="277577" y="223829"/>
                  <a:pt x="277461" y="220585"/>
                </a:cubicBezTo>
                <a:lnTo>
                  <a:pt x="277260" y="220585"/>
                </a:lnTo>
                <a:cubicBezTo>
                  <a:pt x="277260" y="214257"/>
                  <a:pt x="278968" y="219430"/>
                  <a:pt x="277260" y="212147"/>
                </a:cubicBezTo>
                <a:cubicBezTo>
                  <a:pt x="275342" y="211376"/>
                  <a:pt x="273298" y="210967"/>
                  <a:pt x="271234" y="210942"/>
                </a:cubicBezTo>
                <a:cubicBezTo>
                  <a:pt x="263047" y="210942"/>
                  <a:pt x="257221" y="210732"/>
                  <a:pt x="253087" y="210789"/>
                </a:cubicBezTo>
                <a:close/>
                <a:moveTo>
                  <a:pt x="211655" y="210614"/>
                </a:moveTo>
                <a:cubicBezTo>
                  <a:pt x="206638" y="210738"/>
                  <a:pt x="199852" y="210942"/>
                  <a:pt x="190673" y="210942"/>
                </a:cubicBezTo>
                <a:cubicBezTo>
                  <a:pt x="189287" y="216042"/>
                  <a:pt x="188875" y="221360"/>
                  <a:pt x="189468" y="226612"/>
                </a:cubicBezTo>
                <a:cubicBezTo>
                  <a:pt x="189523" y="228675"/>
                  <a:pt x="189930" y="230713"/>
                  <a:pt x="190673" y="232639"/>
                </a:cubicBezTo>
                <a:cubicBezTo>
                  <a:pt x="232761" y="232639"/>
                  <a:pt x="225830" y="236707"/>
                  <a:pt x="225830" y="219330"/>
                </a:cubicBezTo>
                <a:cubicBezTo>
                  <a:pt x="225830" y="210590"/>
                  <a:pt x="226706" y="210242"/>
                  <a:pt x="211655" y="210614"/>
                </a:cubicBezTo>
                <a:close/>
                <a:moveTo>
                  <a:pt x="7052" y="192862"/>
                </a:moveTo>
                <a:cubicBezTo>
                  <a:pt x="24681" y="192862"/>
                  <a:pt x="18001" y="210943"/>
                  <a:pt x="12075" y="210943"/>
                </a:cubicBezTo>
                <a:cubicBezTo>
                  <a:pt x="-1034" y="210943"/>
                  <a:pt x="21" y="211495"/>
                  <a:pt x="21" y="197683"/>
                </a:cubicBezTo>
                <a:cubicBezTo>
                  <a:pt x="21" y="192661"/>
                  <a:pt x="4491" y="192661"/>
                  <a:pt x="7052" y="192862"/>
                </a:cubicBezTo>
                <a:close/>
                <a:moveTo>
                  <a:pt x="50930" y="192429"/>
                </a:moveTo>
                <a:cubicBezTo>
                  <a:pt x="61622" y="192435"/>
                  <a:pt x="72822" y="193189"/>
                  <a:pt x="77166" y="195273"/>
                </a:cubicBezTo>
                <a:cubicBezTo>
                  <a:pt x="78773" y="201500"/>
                  <a:pt x="79225" y="210943"/>
                  <a:pt x="68728" y="210943"/>
                </a:cubicBezTo>
                <a:cubicBezTo>
                  <a:pt x="30959" y="210943"/>
                  <a:pt x="22722" y="216116"/>
                  <a:pt x="27745" y="194067"/>
                </a:cubicBezTo>
                <a:cubicBezTo>
                  <a:pt x="30055" y="193163"/>
                  <a:pt x="40238" y="192422"/>
                  <a:pt x="50930" y="192429"/>
                </a:cubicBezTo>
                <a:close/>
                <a:moveTo>
                  <a:pt x="231807" y="172420"/>
                </a:moveTo>
                <a:cubicBezTo>
                  <a:pt x="254459" y="172420"/>
                  <a:pt x="236779" y="192911"/>
                  <a:pt x="247477" y="192911"/>
                </a:cubicBezTo>
                <a:cubicBezTo>
                  <a:pt x="287657" y="192911"/>
                  <a:pt x="277612" y="194669"/>
                  <a:pt x="277612" y="183268"/>
                </a:cubicBezTo>
                <a:cubicBezTo>
                  <a:pt x="277612" y="178597"/>
                  <a:pt x="280425" y="172420"/>
                  <a:pt x="284844" y="172420"/>
                </a:cubicBezTo>
                <a:cubicBezTo>
                  <a:pt x="296949" y="172420"/>
                  <a:pt x="295693" y="171666"/>
                  <a:pt x="295693" y="192911"/>
                </a:cubicBezTo>
                <a:cubicBezTo>
                  <a:pt x="307395" y="192911"/>
                  <a:pt x="323417" y="191555"/>
                  <a:pt x="334265" y="194117"/>
                </a:cubicBezTo>
                <a:cubicBezTo>
                  <a:pt x="336877" y="205970"/>
                  <a:pt x="335571" y="205518"/>
                  <a:pt x="331854" y="210992"/>
                </a:cubicBezTo>
                <a:lnTo>
                  <a:pt x="311363" y="210992"/>
                </a:lnTo>
                <a:cubicBezTo>
                  <a:pt x="305336" y="210942"/>
                  <a:pt x="295693" y="209034"/>
                  <a:pt x="295693" y="214608"/>
                </a:cubicBezTo>
                <a:cubicBezTo>
                  <a:pt x="295693" y="237059"/>
                  <a:pt x="291072" y="232689"/>
                  <a:pt x="320805" y="232689"/>
                </a:cubicBezTo>
                <a:cubicBezTo>
                  <a:pt x="326380" y="255793"/>
                  <a:pt x="318645" y="250770"/>
                  <a:pt x="295693" y="250770"/>
                </a:cubicBezTo>
                <a:lnTo>
                  <a:pt x="295693" y="264029"/>
                </a:lnTo>
                <a:cubicBezTo>
                  <a:pt x="295693" y="269906"/>
                  <a:pt x="286954" y="272618"/>
                  <a:pt x="280626" y="267244"/>
                </a:cubicBezTo>
                <a:cubicBezTo>
                  <a:pt x="272991" y="260815"/>
                  <a:pt x="283740" y="250770"/>
                  <a:pt x="274197" y="250770"/>
                </a:cubicBezTo>
                <a:cubicBezTo>
                  <a:pt x="238588" y="250770"/>
                  <a:pt x="244062" y="247506"/>
                  <a:pt x="244062" y="266440"/>
                </a:cubicBezTo>
                <a:cubicBezTo>
                  <a:pt x="220959" y="278745"/>
                  <a:pt x="227940" y="259007"/>
                  <a:pt x="225981" y="250770"/>
                </a:cubicBezTo>
                <a:cubicBezTo>
                  <a:pt x="216313" y="250127"/>
                  <a:pt x="206619" y="250127"/>
                  <a:pt x="196951" y="250770"/>
                </a:cubicBezTo>
                <a:cubicBezTo>
                  <a:pt x="189066" y="250820"/>
                  <a:pt x="189820" y="251574"/>
                  <a:pt x="189820" y="259308"/>
                </a:cubicBezTo>
                <a:cubicBezTo>
                  <a:pt x="189820" y="264883"/>
                  <a:pt x="190372" y="270207"/>
                  <a:pt x="184797" y="270207"/>
                </a:cubicBezTo>
                <a:cubicBezTo>
                  <a:pt x="168926" y="270207"/>
                  <a:pt x="171538" y="262824"/>
                  <a:pt x="171538" y="250921"/>
                </a:cubicBezTo>
                <a:lnTo>
                  <a:pt x="159484" y="250921"/>
                </a:lnTo>
                <a:cubicBezTo>
                  <a:pt x="153557" y="250921"/>
                  <a:pt x="150845" y="240424"/>
                  <a:pt x="154462" y="232840"/>
                </a:cubicBezTo>
                <a:cubicBezTo>
                  <a:pt x="159986" y="232840"/>
                  <a:pt x="169278" y="234296"/>
                  <a:pt x="171437" y="230630"/>
                </a:cubicBezTo>
                <a:cubicBezTo>
                  <a:pt x="172201" y="225368"/>
                  <a:pt x="172201" y="220022"/>
                  <a:pt x="171437" y="214759"/>
                </a:cubicBezTo>
                <a:cubicBezTo>
                  <a:pt x="169830" y="206673"/>
                  <a:pt x="156571" y="213554"/>
                  <a:pt x="140047" y="209737"/>
                </a:cubicBezTo>
                <a:cubicBezTo>
                  <a:pt x="135075" y="188241"/>
                  <a:pt x="143764" y="192861"/>
                  <a:pt x="171387" y="192861"/>
                </a:cubicBezTo>
                <a:cubicBezTo>
                  <a:pt x="172994" y="185980"/>
                  <a:pt x="171387" y="191254"/>
                  <a:pt x="171387" y="182013"/>
                </a:cubicBezTo>
                <a:lnTo>
                  <a:pt x="171186" y="182013"/>
                </a:lnTo>
                <a:cubicBezTo>
                  <a:pt x="171186" y="170109"/>
                  <a:pt x="182236" y="172219"/>
                  <a:pt x="188212" y="173374"/>
                </a:cubicBezTo>
                <a:cubicBezTo>
                  <a:pt x="189036" y="178184"/>
                  <a:pt x="189403" y="183060"/>
                  <a:pt x="189317" y="187939"/>
                </a:cubicBezTo>
                <a:cubicBezTo>
                  <a:pt x="190221" y="194720"/>
                  <a:pt x="192783" y="192962"/>
                  <a:pt x="200266" y="192962"/>
                </a:cubicBezTo>
                <a:cubicBezTo>
                  <a:pt x="212220" y="192761"/>
                  <a:pt x="221762" y="194519"/>
                  <a:pt x="226785" y="191706"/>
                </a:cubicBezTo>
                <a:cubicBezTo>
                  <a:pt x="226785" y="190149"/>
                  <a:pt x="222717" y="172420"/>
                  <a:pt x="231807" y="172420"/>
                </a:cubicBezTo>
                <a:close/>
                <a:moveTo>
                  <a:pt x="115989" y="146906"/>
                </a:moveTo>
                <a:lnTo>
                  <a:pt x="363094" y="146906"/>
                </a:lnTo>
                <a:cubicBezTo>
                  <a:pt x="369372" y="146395"/>
                  <a:pt x="375595" y="148421"/>
                  <a:pt x="380371" y="152531"/>
                </a:cubicBezTo>
                <a:cubicBezTo>
                  <a:pt x="393681" y="165891"/>
                  <a:pt x="386951" y="172822"/>
                  <a:pt x="384791" y="178246"/>
                </a:cubicBezTo>
                <a:cubicBezTo>
                  <a:pt x="383184" y="182214"/>
                  <a:pt x="383937" y="184826"/>
                  <a:pt x="382230" y="188894"/>
                </a:cubicBezTo>
                <a:cubicBezTo>
                  <a:pt x="380422" y="191727"/>
                  <a:pt x="379035" y="194805"/>
                  <a:pt x="378111" y="198035"/>
                </a:cubicBezTo>
                <a:lnTo>
                  <a:pt x="368970" y="226261"/>
                </a:lnTo>
                <a:cubicBezTo>
                  <a:pt x="366258" y="231283"/>
                  <a:pt x="367664" y="231083"/>
                  <a:pt x="366258" y="236808"/>
                </a:cubicBezTo>
                <a:cubicBezTo>
                  <a:pt x="364852" y="242534"/>
                  <a:pt x="364099" y="240073"/>
                  <a:pt x="362491" y="245095"/>
                </a:cubicBezTo>
                <a:cubicBezTo>
                  <a:pt x="361186" y="248962"/>
                  <a:pt x="361386" y="252127"/>
                  <a:pt x="359829" y="255693"/>
                </a:cubicBezTo>
                <a:cubicBezTo>
                  <a:pt x="357821" y="260163"/>
                  <a:pt x="357067" y="258907"/>
                  <a:pt x="356012" y="265185"/>
                </a:cubicBezTo>
                <a:cubicBezTo>
                  <a:pt x="354023" y="277675"/>
                  <a:pt x="346686" y="288678"/>
                  <a:pt x="335922" y="295320"/>
                </a:cubicBezTo>
                <a:cubicBezTo>
                  <a:pt x="331151" y="298233"/>
                  <a:pt x="332407" y="298886"/>
                  <a:pt x="327385" y="300342"/>
                </a:cubicBezTo>
                <a:cubicBezTo>
                  <a:pt x="311865" y="304661"/>
                  <a:pt x="195545" y="302301"/>
                  <a:pt x="164205" y="302301"/>
                </a:cubicBezTo>
                <a:cubicBezTo>
                  <a:pt x="159182" y="302251"/>
                  <a:pt x="151096" y="300141"/>
                  <a:pt x="159182" y="315862"/>
                </a:cubicBezTo>
                <a:cubicBezTo>
                  <a:pt x="160237" y="318172"/>
                  <a:pt x="160589" y="318674"/>
                  <a:pt x="161543" y="320884"/>
                </a:cubicBezTo>
                <a:lnTo>
                  <a:pt x="168976" y="331532"/>
                </a:lnTo>
                <a:cubicBezTo>
                  <a:pt x="192481" y="331532"/>
                  <a:pt x="315381" y="329774"/>
                  <a:pt x="328087" y="332737"/>
                </a:cubicBezTo>
                <a:cubicBezTo>
                  <a:pt x="328087" y="356041"/>
                  <a:pt x="335822" y="349612"/>
                  <a:pt x="254559" y="349612"/>
                </a:cubicBezTo>
                <a:cubicBezTo>
                  <a:pt x="235273" y="349612"/>
                  <a:pt x="178921" y="352375"/>
                  <a:pt x="163602" y="346549"/>
                </a:cubicBezTo>
                <a:lnTo>
                  <a:pt x="156420" y="342882"/>
                </a:lnTo>
                <a:lnTo>
                  <a:pt x="145371" y="327463"/>
                </a:lnTo>
                <a:cubicBezTo>
                  <a:pt x="143111" y="323044"/>
                  <a:pt x="144768" y="325053"/>
                  <a:pt x="143111" y="320030"/>
                </a:cubicBezTo>
                <a:cubicBezTo>
                  <a:pt x="141453" y="315008"/>
                  <a:pt x="141302" y="317368"/>
                  <a:pt x="139695" y="315008"/>
                </a:cubicBezTo>
                <a:lnTo>
                  <a:pt x="134221" y="301146"/>
                </a:lnTo>
                <a:cubicBezTo>
                  <a:pt x="133307" y="298599"/>
                  <a:pt x="132619" y="295978"/>
                  <a:pt x="132162" y="293311"/>
                </a:cubicBezTo>
                <a:cubicBezTo>
                  <a:pt x="130002" y="286028"/>
                  <a:pt x="132111" y="292507"/>
                  <a:pt x="128897" y="288288"/>
                </a:cubicBezTo>
                <a:cubicBezTo>
                  <a:pt x="125683" y="284069"/>
                  <a:pt x="127491" y="286129"/>
                  <a:pt x="126436" y="281106"/>
                </a:cubicBezTo>
                <a:cubicBezTo>
                  <a:pt x="124829" y="273070"/>
                  <a:pt x="119003" y="272317"/>
                  <a:pt x="121765" y="260464"/>
                </a:cubicBezTo>
                <a:lnTo>
                  <a:pt x="132614" y="259258"/>
                </a:lnTo>
                <a:cubicBezTo>
                  <a:pt x="141754" y="259258"/>
                  <a:pt x="142156" y="285777"/>
                  <a:pt x="150695" y="285777"/>
                </a:cubicBezTo>
                <a:lnTo>
                  <a:pt x="311011" y="285777"/>
                </a:lnTo>
                <a:cubicBezTo>
                  <a:pt x="320830" y="285887"/>
                  <a:pt x="329981" y="280833"/>
                  <a:pt x="335119" y="272468"/>
                </a:cubicBezTo>
                <a:cubicBezTo>
                  <a:pt x="336239" y="269432"/>
                  <a:pt x="337158" y="266329"/>
                  <a:pt x="337881" y="263176"/>
                </a:cubicBezTo>
                <a:cubicBezTo>
                  <a:pt x="339574" y="260268"/>
                  <a:pt x="340905" y="257165"/>
                  <a:pt x="341849" y="253935"/>
                </a:cubicBezTo>
                <a:cubicBezTo>
                  <a:pt x="343155" y="248058"/>
                  <a:pt x="341849" y="249364"/>
                  <a:pt x="344360" y="244342"/>
                </a:cubicBezTo>
                <a:lnTo>
                  <a:pt x="353551" y="216216"/>
                </a:lnTo>
                <a:cubicBezTo>
                  <a:pt x="354516" y="213298"/>
                  <a:pt x="355741" y="210474"/>
                  <a:pt x="357218" y="207778"/>
                </a:cubicBezTo>
                <a:cubicBezTo>
                  <a:pt x="358574" y="204263"/>
                  <a:pt x="358474" y="201751"/>
                  <a:pt x="359528" y="198085"/>
                </a:cubicBezTo>
                <a:cubicBezTo>
                  <a:pt x="360884" y="193314"/>
                  <a:pt x="361839" y="194820"/>
                  <a:pt x="363345" y="189798"/>
                </a:cubicBezTo>
                <a:cubicBezTo>
                  <a:pt x="364500" y="185880"/>
                  <a:pt x="364299" y="182465"/>
                  <a:pt x="365505" y="178698"/>
                </a:cubicBezTo>
                <a:cubicBezTo>
                  <a:pt x="366710" y="174931"/>
                  <a:pt x="368920" y="173626"/>
                  <a:pt x="369523" y="170813"/>
                </a:cubicBezTo>
                <a:cubicBezTo>
                  <a:pt x="370276" y="167046"/>
                  <a:pt x="368820" y="165087"/>
                  <a:pt x="365254" y="163932"/>
                </a:cubicBezTo>
                <a:lnTo>
                  <a:pt x="120560" y="163932"/>
                </a:lnTo>
                <a:cubicBezTo>
                  <a:pt x="102981" y="163932"/>
                  <a:pt x="103734" y="159513"/>
                  <a:pt x="106095" y="149468"/>
                </a:cubicBezTo>
                <a:cubicBezTo>
                  <a:pt x="109109" y="147751"/>
                  <a:pt x="112524" y="146867"/>
                  <a:pt x="115989" y="146906"/>
                </a:cubicBezTo>
                <a:close/>
                <a:moveTo>
                  <a:pt x="9664" y="121040"/>
                </a:moveTo>
                <a:lnTo>
                  <a:pt x="67673" y="121040"/>
                </a:lnTo>
                <a:cubicBezTo>
                  <a:pt x="73851" y="121040"/>
                  <a:pt x="76814" y="126163"/>
                  <a:pt x="78873" y="131537"/>
                </a:cubicBezTo>
                <a:cubicBezTo>
                  <a:pt x="79476" y="133194"/>
                  <a:pt x="79727" y="134500"/>
                  <a:pt x="80430" y="136007"/>
                </a:cubicBezTo>
                <a:cubicBezTo>
                  <a:pt x="82740" y="141130"/>
                  <a:pt x="81836" y="136459"/>
                  <a:pt x="85452" y="146504"/>
                </a:cubicBezTo>
                <a:lnTo>
                  <a:pt x="94342" y="165338"/>
                </a:lnTo>
                <a:cubicBezTo>
                  <a:pt x="96351" y="168804"/>
                  <a:pt x="95698" y="170411"/>
                  <a:pt x="98662" y="175383"/>
                </a:cubicBezTo>
                <a:cubicBezTo>
                  <a:pt x="101625" y="180355"/>
                  <a:pt x="99967" y="177593"/>
                  <a:pt x="101625" y="183318"/>
                </a:cubicBezTo>
                <a:cubicBezTo>
                  <a:pt x="103634" y="190350"/>
                  <a:pt x="103734" y="184373"/>
                  <a:pt x="107049" y="194719"/>
                </a:cubicBezTo>
                <a:cubicBezTo>
                  <a:pt x="109812" y="203258"/>
                  <a:pt x="110012" y="197180"/>
                  <a:pt x="112072" y="204212"/>
                </a:cubicBezTo>
                <a:cubicBezTo>
                  <a:pt x="113428" y="208832"/>
                  <a:pt x="112273" y="207979"/>
                  <a:pt x="114884" y="212198"/>
                </a:cubicBezTo>
                <a:lnTo>
                  <a:pt x="122117" y="226712"/>
                </a:lnTo>
                <a:cubicBezTo>
                  <a:pt x="123046" y="228901"/>
                  <a:pt x="124136" y="231017"/>
                  <a:pt x="125381" y="233041"/>
                </a:cubicBezTo>
                <a:cubicBezTo>
                  <a:pt x="134924" y="233041"/>
                  <a:pt x="142156" y="230479"/>
                  <a:pt x="143914" y="238666"/>
                </a:cubicBezTo>
                <a:cubicBezTo>
                  <a:pt x="145069" y="244391"/>
                  <a:pt x="143010" y="251122"/>
                  <a:pt x="135024" y="251122"/>
                </a:cubicBezTo>
                <a:cubicBezTo>
                  <a:pt x="116943" y="251122"/>
                  <a:pt x="47432" y="252829"/>
                  <a:pt x="34977" y="249916"/>
                </a:cubicBezTo>
                <a:cubicBezTo>
                  <a:pt x="29653" y="238766"/>
                  <a:pt x="31060" y="232990"/>
                  <a:pt x="43364" y="232990"/>
                </a:cubicBezTo>
                <a:lnTo>
                  <a:pt x="95347" y="232990"/>
                </a:lnTo>
                <a:cubicBezTo>
                  <a:pt x="113227" y="233292"/>
                  <a:pt x="101826" y="226512"/>
                  <a:pt x="99767" y="221238"/>
                </a:cubicBezTo>
                <a:cubicBezTo>
                  <a:pt x="98210" y="217823"/>
                  <a:pt x="99516" y="217521"/>
                  <a:pt x="98210" y="214357"/>
                </a:cubicBezTo>
                <a:cubicBezTo>
                  <a:pt x="96904" y="211193"/>
                  <a:pt x="95899" y="212147"/>
                  <a:pt x="94242" y="208632"/>
                </a:cubicBezTo>
                <a:cubicBezTo>
                  <a:pt x="93238" y="206422"/>
                  <a:pt x="93137" y="204212"/>
                  <a:pt x="92183" y="202253"/>
                </a:cubicBezTo>
                <a:cubicBezTo>
                  <a:pt x="90676" y="199189"/>
                  <a:pt x="89722" y="199491"/>
                  <a:pt x="88717" y="197231"/>
                </a:cubicBezTo>
                <a:cubicBezTo>
                  <a:pt x="87713" y="194970"/>
                  <a:pt x="87863" y="193414"/>
                  <a:pt x="86809" y="190701"/>
                </a:cubicBezTo>
                <a:cubicBezTo>
                  <a:pt x="85754" y="187989"/>
                  <a:pt x="84498" y="186834"/>
                  <a:pt x="83444" y="184423"/>
                </a:cubicBezTo>
                <a:cubicBezTo>
                  <a:pt x="82771" y="182383"/>
                  <a:pt x="81927" y="180401"/>
                  <a:pt x="80932" y="178497"/>
                </a:cubicBezTo>
                <a:cubicBezTo>
                  <a:pt x="74253" y="167548"/>
                  <a:pt x="78873" y="173675"/>
                  <a:pt x="76161" y="166443"/>
                </a:cubicBezTo>
                <a:cubicBezTo>
                  <a:pt x="74453" y="161923"/>
                  <a:pt x="74253" y="164183"/>
                  <a:pt x="72545" y="160366"/>
                </a:cubicBezTo>
                <a:cubicBezTo>
                  <a:pt x="71390" y="157704"/>
                  <a:pt x="71641" y="155846"/>
                  <a:pt x="70787" y="153736"/>
                </a:cubicBezTo>
                <a:lnTo>
                  <a:pt x="67321" y="148714"/>
                </a:lnTo>
                <a:cubicBezTo>
                  <a:pt x="65765" y="145801"/>
                  <a:pt x="66719" y="145198"/>
                  <a:pt x="65162" y="142436"/>
                </a:cubicBezTo>
                <a:cubicBezTo>
                  <a:pt x="60390" y="133646"/>
                  <a:pt x="20512" y="141883"/>
                  <a:pt x="1226" y="137413"/>
                </a:cubicBezTo>
                <a:lnTo>
                  <a:pt x="21" y="125359"/>
                </a:lnTo>
                <a:cubicBezTo>
                  <a:pt x="21" y="121140"/>
                  <a:pt x="5395" y="120538"/>
                  <a:pt x="9664" y="121040"/>
                </a:cubicBezTo>
                <a:close/>
                <a:moveTo>
                  <a:pt x="216990" y="39577"/>
                </a:moveTo>
                <a:lnTo>
                  <a:pt x="343556" y="39577"/>
                </a:lnTo>
                <a:cubicBezTo>
                  <a:pt x="350588" y="39577"/>
                  <a:pt x="355610" y="42038"/>
                  <a:pt x="355610" y="49220"/>
                </a:cubicBezTo>
                <a:lnTo>
                  <a:pt x="355610" y="129981"/>
                </a:lnTo>
                <a:cubicBezTo>
                  <a:pt x="355610" y="140026"/>
                  <a:pt x="346620" y="141080"/>
                  <a:pt x="337529" y="135003"/>
                </a:cubicBezTo>
                <a:lnTo>
                  <a:pt x="337529" y="73528"/>
                </a:lnTo>
                <a:cubicBezTo>
                  <a:pt x="337580" y="67501"/>
                  <a:pt x="339538" y="57858"/>
                  <a:pt x="333913" y="57858"/>
                </a:cubicBezTo>
                <a:lnTo>
                  <a:pt x="223017" y="57858"/>
                </a:lnTo>
                <a:cubicBezTo>
                  <a:pt x="223017" y="86587"/>
                  <a:pt x="221812" y="80761"/>
                  <a:pt x="231455" y="80761"/>
                </a:cubicBezTo>
                <a:cubicBezTo>
                  <a:pt x="243961" y="80761"/>
                  <a:pt x="283287" y="77345"/>
                  <a:pt x="283287" y="86788"/>
                </a:cubicBezTo>
                <a:cubicBezTo>
                  <a:pt x="283287" y="99645"/>
                  <a:pt x="284693" y="125008"/>
                  <a:pt x="282082" y="136209"/>
                </a:cubicBezTo>
                <a:cubicBezTo>
                  <a:pt x="277330" y="139023"/>
                  <a:pt x="271539" y="139468"/>
                  <a:pt x="266412" y="137414"/>
                </a:cubicBezTo>
                <a:cubicBezTo>
                  <a:pt x="263700" y="125712"/>
                  <a:pt x="266763" y="109338"/>
                  <a:pt x="264001" y="97636"/>
                </a:cubicBezTo>
                <a:lnTo>
                  <a:pt x="167570" y="97636"/>
                </a:lnTo>
                <a:cubicBezTo>
                  <a:pt x="156269" y="97636"/>
                  <a:pt x="152553" y="95778"/>
                  <a:pt x="150895" y="100248"/>
                </a:cubicBezTo>
                <a:cubicBezTo>
                  <a:pt x="148685" y="106425"/>
                  <a:pt x="151397" y="128072"/>
                  <a:pt x="149489" y="136209"/>
                </a:cubicBezTo>
                <a:cubicBezTo>
                  <a:pt x="144737" y="139023"/>
                  <a:pt x="138946" y="139468"/>
                  <a:pt x="133819" y="137414"/>
                </a:cubicBezTo>
                <a:cubicBezTo>
                  <a:pt x="133075" y="135488"/>
                  <a:pt x="132668" y="133450"/>
                  <a:pt x="132613" y="131387"/>
                </a:cubicBezTo>
                <a:cubicBezTo>
                  <a:pt x="132613" y="75387"/>
                  <a:pt x="128495" y="80761"/>
                  <a:pt x="147078" y="80761"/>
                </a:cubicBezTo>
                <a:lnTo>
                  <a:pt x="203731" y="80761"/>
                </a:lnTo>
                <a:cubicBezTo>
                  <a:pt x="206042" y="70967"/>
                  <a:pt x="204937" y="56352"/>
                  <a:pt x="204937" y="44599"/>
                </a:cubicBezTo>
                <a:cubicBezTo>
                  <a:pt x="209155" y="41987"/>
                  <a:pt x="209557" y="39777"/>
                  <a:pt x="216990" y="39577"/>
                </a:cubicBezTo>
                <a:close/>
                <a:moveTo>
                  <a:pt x="165159" y="0"/>
                </a:moveTo>
                <a:lnTo>
                  <a:pt x="302975" y="0"/>
                </a:lnTo>
                <a:cubicBezTo>
                  <a:pt x="308500" y="0"/>
                  <a:pt x="316234" y="703"/>
                  <a:pt x="316234" y="6026"/>
                </a:cubicBezTo>
                <a:cubicBezTo>
                  <a:pt x="316234" y="28226"/>
                  <a:pt x="320553" y="35157"/>
                  <a:pt x="299359" y="30134"/>
                </a:cubicBezTo>
                <a:cubicBezTo>
                  <a:pt x="298003" y="25011"/>
                  <a:pt x="299359" y="18080"/>
                  <a:pt x="294336" y="18080"/>
                </a:cubicBezTo>
                <a:cubicBezTo>
                  <a:pt x="274698" y="18080"/>
                  <a:pt x="189970" y="16373"/>
                  <a:pt x="177413" y="19286"/>
                </a:cubicBezTo>
                <a:cubicBezTo>
                  <a:pt x="177413" y="26619"/>
                  <a:pt x="178920" y="64940"/>
                  <a:pt x="175505" y="69159"/>
                </a:cubicBezTo>
                <a:cubicBezTo>
                  <a:pt x="172090" y="73378"/>
                  <a:pt x="168524" y="72323"/>
                  <a:pt x="161743" y="72323"/>
                </a:cubicBezTo>
                <a:cubicBezTo>
                  <a:pt x="160372" y="68857"/>
                  <a:pt x="159559" y="65196"/>
                  <a:pt x="159333" y="61474"/>
                </a:cubicBezTo>
                <a:lnTo>
                  <a:pt x="159333" y="10848"/>
                </a:lnTo>
                <a:cubicBezTo>
                  <a:pt x="159333" y="5976"/>
                  <a:pt x="160438" y="0"/>
                  <a:pt x="165159" y="0"/>
                </a:cubicBezTo>
                <a:close/>
              </a:path>
            </a:pathLst>
          </a:custGeom>
          <a:solidFill>
            <a:schemeClr val="bg1"/>
          </a:solidFill>
          <a:ln w="501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black"/>
              </a:solidFill>
              <a:effectLst/>
              <a:uLnTx/>
              <a:uFillTx/>
              <a:latin typeface="Arial"/>
              <a:ea typeface="微软雅黑"/>
              <a:cs typeface="+mn-cs"/>
            </a:endParaRPr>
          </a:p>
        </p:txBody>
      </p:sp>
      <p:sp>
        <p:nvSpPr>
          <p:cNvPr id="77" name="gaoding-21">
            <a:extLst>
              <a:ext uri="{FF2B5EF4-FFF2-40B4-BE49-F238E27FC236}">
                <a16:creationId xmlns:a16="http://schemas.microsoft.com/office/drawing/2014/main" id="{90C94A1E-DA95-4F8E-9606-976B123255D6}"/>
              </a:ext>
            </a:extLst>
          </p:cNvPr>
          <p:cNvSpPr/>
          <p:nvPr/>
        </p:nvSpPr>
        <p:spPr>
          <a:xfrm>
            <a:off x="2587259" y="2162814"/>
            <a:ext cx="1898986" cy="4073932"/>
          </a:xfrm>
          <a:custGeom>
            <a:avLst/>
            <a:gdLst>
              <a:gd name="connsiteX0" fmla="*/ 1601857 w 1898986"/>
              <a:gd name="connsiteY0" fmla="*/ 3387463 h 4073932"/>
              <a:gd name="connsiteX1" fmla="*/ 1898986 w 1898986"/>
              <a:gd name="connsiteY1" fmla="*/ 4073932 h 4073932"/>
              <a:gd name="connsiteX2" fmla="*/ 1721158 w 1898986"/>
              <a:gd name="connsiteY2" fmla="*/ 4073570 h 4073932"/>
              <a:gd name="connsiteX3" fmla="*/ 1677017 w 1898986"/>
              <a:gd name="connsiteY3" fmla="*/ 3972457 h 4073932"/>
              <a:gd name="connsiteX4" fmla="*/ 1492049 w 1898986"/>
              <a:gd name="connsiteY4" fmla="*/ 3547711 h 4073932"/>
              <a:gd name="connsiteX5" fmla="*/ 1422487 w 1898986"/>
              <a:gd name="connsiteY5" fmla="*/ 3387556 h 4073932"/>
              <a:gd name="connsiteX6" fmla="*/ 1116401 w 1898986"/>
              <a:gd name="connsiteY6" fmla="*/ 2679691 h 4073932"/>
              <a:gd name="connsiteX7" fmla="*/ 1275196 w 1898986"/>
              <a:gd name="connsiteY7" fmla="*/ 2680000 h 4073932"/>
              <a:gd name="connsiteX8" fmla="*/ 1574133 w 1898986"/>
              <a:gd name="connsiteY8" fmla="*/ 3327194 h 4073932"/>
              <a:gd name="connsiteX9" fmla="*/ 1396308 w 1898986"/>
              <a:gd name="connsiteY9" fmla="*/ 3327194 h 4073932"/>
              <a:gd name="connsiteX10" fmla="*/ 1347235 w 1898986"/>
              <a:gd name="connsiteY10" fmla="*/ 3214037 h 4073932"/>
              <a:gd name="connsiteX11" fmla="*/ 1190352 w 1898986"/>
              <a:gd name="connsiteY11" fmla="*/ 2851341 h 4073932"/>
              <a:gd name="connsiteX12" fmla="*/ 801670 w 1898986"/>
              <a:gd name="connsiteY12" fmla="*/ 1945818 h 4073932"/>
              <a:gd name="connsiteX13" fmla="*/ 932866 w 1898986"/>
              <a:gd name="connsiteY13" fmla="*/ 1945818 h 4073932"/>
              <a:gd name="connsiteX14" fmla="*/ 1235418 w 1898986"/>
              <a:gd name="connsiteY14" fmla="*/ 2596728 h 4073932"/>
              <a:gd name="connsiteX15" fmla="*/ 1080644 w 1898986"/>
              <a:gd name="connsiteY15" fmla="*/ 2596694 h 4073932"/>
              <a:gd name="connsiteX16" fmla="*/ 1025796 w 1898986"/>
              <a:gd name="connsiteY16" fmla="*/ 2469384 h 4073932"/>
              <a:gd name="connsiteX17" fmla="*/ 857967 w 1898986"/>
              <a:gd name="connsiteY17" fmla="*/ 2077926 h 4073932"/>
              <a:gd name="connsiteX18" fmla="*/ 492535 w 1898986"/>
              <a:gd name="connsiteY18" fmla="*/ 1215855 h 4073932"/>
              <a:gd name="connsiteX19" fmla="*/ 515147 w 1898986"/>
              <a:gd name="connsiteY19" fmla="*/ 1215968 h 4073932"/>
              <a:gd name="connsiteX20" fmla="*/ 591874 w 1898986"/>
              <a:gd name="connsiteY20" fmla="*/ 1218151 h 4073932"/>
              <a:gd name="connsiteX21" fmla="*/ 895783 w 1898986"/>
              <a:gd name="connsiteY21" fmla="*/ 1871472 h 4073932"/>
              <a:gd name="connsiteX22" fmla="*/ 769922 w 1898986"/>
              <a:gd name="connsiteY22" fmla="*/ 1871318 h 4073932"/>
              <a:gd name="connsiteX23" fmla="*/ 691260 w 1898986"/>
              <a:gd name="connsiteY23" fmla="*/ 1686727 h 4073932"/>
              <a:gd name="connsiteX24" fmla="*/ 530076 w 1898986"/>
              <a:gd name="connsiteY24" fmla="*/ 1305547 h 4073932"/>
              <a:gd name="connsiteX25" fmla="*/ 0 w 1898986"/>
              <a:gd name="connsiteY25" fmla="*/ 0 h 4073932"/>
              <a:gd name="connsiteX26" fmla="*/ 553168 w 1898986"/>
              <a:gd name="connsiteY26" fmla="*/ 1134391 h 4073932"/>
              <a:gd name="connsiteX27" fmla="*/ 458615 w 1898986"/>
              <a:gd name="connsiteY27" fmla="*/ 1134814 h 4073932"/>
              <a:gd name="connsiteX28" fmla="*/ 378811 w 1898986"/>
              <a:gd name="connsiteY28" fmla="*/ 944146 h 4073932"/>
              <a:gd name="connsiteX29" fmla="*/ 28510 w 1898986"/>
              <a:gd name="connsiteY29" fmla="*/ 76221 h 4073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898986" h="4073932">
                <a:moveTo>
                  <a:pt x="1601857" y="3387463"/>
                </a:moveTo>
                <a:lnTo>
                  <a:pt x="1898986" y="4073932"/>
                </a:lnTo>
                <a:lnTo>
                  <a:pt x="1721158" y="4073570"/>
                </a:lnTo>
                <a:lnTo>
                  <a:pt x="1677017" y="3972457"/>
                </a:lnTo>
                <a:cubicBezTo>
                  <a:pt x="1623186" y="3849078"/>
                  <a:pt x="1560705" y="3705666"/>
                  <a:pt x="1492049" y="3547711"/>
                </a:cubicBezTo>
                <a:lnTo>
                  <a:pt x="1422487" y="3387556"/>
                </a:lnTo>
                <a:close/>
                <a:moveTo>
                  <a:pt x="1116401" y="2679691"/>
                </a:moveTo>
                <a:lnTo>
                  <a:pt x="1275196" y="2680000"/>
                </a:lnTo>
                <a:lnTo>
                  <a:pt x="1574133" y="3327194"/>
                </a:lnTo>
                <a:lnTo>
                  <a:pt x="1396308" y="3327194"/>
                </a:lnTo>
                <a:lnTo>
                  <a:pt x="1347235" y="3214037"/>
                </a:lnTo>
                <a:cubicBezTo>
                  <a:pt x="1296708" y="3097433"/>
                  <a:pt x="1244169" y="2975992"/>
                  <a:pt x="1190352" y="2851341"/>
                </a:cubicBezTo>
                <a:close/>
                <a:moveTo>
                  <a:pt x="801670" y="1945818"/>
                </a:moveTo>
                <a:lnTo>
                  <a:pt x="932866" y="1945818"/>
                </a:lnTo>
                <a:lnTo>
                  <a:pt x="1235418" y="2596728"/>
                </a:lnTo>
                <a:lnTo>
                  <a:pt x="1080644" y="2596694"/>
                </a:lnTo>
                <a:lnTo>
                  <a:pt x="1025796" y="2469384"/>
                </a:lnTo>
                <a:cubicBezTo>
                  <a:pt x="970154" y="2339940"/>
                  <a:pt x="913967" y="2208911"/>
                  <a:pt x="857967" y="2077926"/>
                </a:cubicBezTo>
                <a:close/>
                <a:moveTo>
                  <a:pt x="492535" y="1215855"/>
                </a:moveTo>
                <a:lnTo>
                  <a:pt x="515147" y="1215968"/>
                </a:lnTo>
                <a:cubicBezTo>
                  <a:pt x="561608" y="1216379"/>
                  <a:pt x="589779" y="1217076"/>
                  <a:pt x="591874" y="1218151"/>
                </a:cubicBezTo>
                <a:lnTo>
                  <a:pt x="895783" y="1871472"/>
                </a:lnTo>
                <a:lnTo>
                  <a:pt x="769922" y="1871318"/>
                </a:lnTo>
                <a:lnTo>
                  <a:pt x="691260" y="1686727"/>
                </a:lnTo>
                <a:cubicBezTo>
                  <a:pt x="636368" y="1557455"/>
                  <a:pt x="582395" y="1429852"/>
                  <a:pt x="530076" y="1305547"/>
                </a:cubicBezTo>
                <a:close/>
                <a:moveTo>
                  <a:pt x="0" y="0"/>
                </a:moveTo>
                <a:lnTo>
                  <a:pt x="553168" y="1134391"/>
                </a:lnTo>
                <a:lnTo>
                  <a:pt x="458615" y="1134814"/>
                </a:lnTo>
                <a:lnTo>
                  <a:pt x="378811" y="944146"/>
                </a:lnTo>
                <a:cubicBezTo>
                  <a:pt x="233971" y="595888"/>
                  <a:pt x="110608" y="291939"/>
                  <a:pt x="28510" y="76221"/>
                </a:cubicBezTo>
                <a:close/>
              </a:path>
            </a:pathLst>
          </a:custGeom>
          <a:solidFill>
            <a:schemeClr val="accent1">
              <a:lumMod val="60000"/>
              <a:lumOff val="40000"/>
              <a:alpha val="50000"/>
            </a:schemeClr>
          </a:solidFill>
          <a:ln w="501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black"/>
              </a:solidFill>
              <a:effectLst/>
              <a:uLnTx/>
              <a:uFillTx/>
              <a:latin typeface="Arial"/>
              <a:ea typeface="微软雅黑"/>
              <a:cs typeface="+mn-cs"/>
            </a:endParaRPr>
          </a:p>
        </p:txBody>
      </p:sp>
      <p:sp>
        <p:nvSpPr>
          <p:cNvPr id="83" name="gaoding-22">
            <a:extLst>
              <a:ext uri="{FF2B5EF4-FFF2-40B4-BE49-F238E27FC236}">
                <a16:creationId xmlns:a16="http://schemas.microsoft.com/office/drawing/2014/main" id="{D830C5C2-7D23-47C3-9B3D-CEFB19E7F32B}"/>
              </a:ext>
            </a:extLst>
          </p:cNvPr>
          <p:cNvSpPr txBox="1"/>
          <p:nvPr/>
        </p:nvSpPr>
        <p:spPr>
          <a:xfrm>
            <a:off x="5833830" y="3522132"/>
            <a:ext cx="4867537" cy="391967"/>
          </a:xfrm>
          <a:prstGeom prst="rect">
            <a:avLst/>
          </a:prstGeom>
          <a:noFill/>
        </p:spPr>
        <p:txBody>
          <a:bodyPr wrap="square" rtlCol="0">
            <a:spAutoFit/>
          </a:bodyPr>
          <a:lstStyle/>
          <a:p>
            <a:pPr marL="0" marR="0" lvl="0" indent="0" algn="l" defTabSz="914400" rtl="0" eaLnBrk="1" fontAlgn="auto" latinLnBrk="0" hangingPunct="1">
              <a:lnSpc>
                <a:spcPct val="130000"/>
              </a:lnSpc>
              <a:spcBef>
                <a:spcPts val="0"/>
              </a:spcBef>
              <a:spcAft>
                <a:spcPts val="0"/>
              </a:spcAft>
              <a:buClrTx/>
              <a:buSzTx/>
              <a:buFontTx/>
              <a:buNone/>
              <a:tabLst/>
              <a:defRPr/>
            </a:pPr>
            <a:r>
              <a:rPr kumimoji="0" lang="zh-CN" altLang="en-US" sz="1600" b="0" i="0" u="none" strike="noStrike" kern="1200" cap="none" spc="0" normalizeH="0" baseline="0" noProof="0" dirty="0">
                <a:ln>
                  <a:noFill/>
                </a:ln>
                <a:solidFill>
                  <a:prstClr val="black">
                    <a:lumMod val="75000"/>
                    <a:lumOff val="25000"/>
                  </a:prstClr>
                </a:solidFill>
                <a:effectLst/>
                <a:uLnTx/>
                <a:uFillTx/>
                <a:latin typeface="OPPOSans R" panose="00020600040101010101" pitchFamily="18" charset="-122"/>
                <a:ea typeface="OPPOSans R" panose="00020600040101010101" pitchFamily="18" charset="-122"/>
                <a:cs typeface="OPPOSans R" panose="00020600040101010101" pitchFamily="18" charset="-122"/>
              </a:rPr>
              <a:t>为兴趣用户，需引导其进行转化购买会员</a:t>
            </a:r>
          </a:p>
        </p:txBody>
      </p:sp>
      <p:sp>
        <p:nvSpPr>
          <p:cNvPr id="84" name="gaoding-23">
            <a:extLst>
              <a:ext uri="{FF2B5EF4-FFF2-40B4-BE49-F238E27FC236}">
                <a16:creationId xmlns:a16="http://schemas.microsoft.com/office/drawing/2014/main" id="{EF78022D-ECC7-4539-B9E4-EBB5E734CB0E}"/>
              </a:ext>
            </a:extLst>
          </p:cNvPr>
          <p:cNvSpPr txBox="1"/>
          <p:nvPr/>
        </p:nvSpPr>
        <p:spPr>
          <a:xfrm>
            <a:off x="4302678" y="3518060"/>
            <a:ext cx="1297916"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2000" b="1" i="0" u="none" strike="noStrike" kern="1200" cap="none" spc="0" normalizeH="0" baseline="0" noProof="0" dirty="0">
                <a:ln>
                  <a:noFill/>
                </a:ln>
                <a:solidFill>
                  <a:prstClr val="black"/>
                </a:solidFill>
                <a:effectLst/>
                <a:uLnTx/>
                <a:uFillTx/>
                <a:latin typeface="OPPOSans B" panose="00020600040101010101" pitchFamily="18" charset="-122"/>
                <a:ea typeface="OPPOSans B" panose="00020600040101010101" pitchFamily="18" charset="-122"/>
                <a:cs typeface="OPPOSans B" panose="00020600040101010101" pitchFamily="18" charset="-122"/>
              </a:rPr>
              <a:t>下单行为</a:t>
            </a:r>
          </a:p>
        </p:txBody>
      </p:sp>
      <p:sp>
        <p:nvSpPr>
          <p:cNvPr id="85" name="gaoding-24">
            <a:extLst>
              <a:ext uri="{FF2B5EF4-FFF2-40B4-BE49-F238E27FC236}">
                <a16:creationId xmlns:a16="http://schemas.microsoft.com/office/drawing/2014/main" id="{0B7DBAC3-79F1-4E9E-A36F-A3198D450E3D}"/>
              </a:ext>
            </a:extLst>
          </p:cNvPr>
          <p:cNvSpPr txBox="1"/>
          <p:nvPr/>
        </p:nvSpPr>
        <p:spPr>
          <a:xfrm>
            <a:off x="6084702" y="4247556"/>
            <a:ext cx="4867537" cy="391967"/>
          </a:xfrm>
          <a:prstGeom prst="rect">
            <a:avLst/>
          </a:prstGeom>
          <a:noFill/>
        </p:spPr>
        <p:txBody>
          <a:bodyPr wrap="square" rtlCol="0">
            <a:spAutoFit/>
          </a:bodyPr>
          <a:lstStyle/>
          <a:p>
            <a:pPr marL="0" marR="0" lvl="0" indent="0" algn="l" defTabSz="914400" rtl="0" eaLnBrk="1" fontAlgn="auto" latinLnBrk="0" hangingPunct="1">
              <a:lnSpc>
                <a:spcPct val="130000"/>
              </a:lnSpc>
              <a:spcBef>
                <a:spcPts val="0"/>
              </a:spcBef>
              <a:spcAft>
                <a:spcPts val="0"/>
              </a:spcAft>
              <a:buClrTx/>
              <a:buSzTx/>
              <a:buFontTx/>
              <a:buNone/>
              <a:tabLst/>
              <a:defRPr/>
            </a:pPr>
            <a:r>
              <a:rPr kumimoji="0" lang="zh-CN" altLang="en-US" sz="1600" b="0" i="0" u="none" strike="noStrike" kern="1200" cap="none" spc="0" normalizeH="0" baseline="0" noProof="0" dirty="0">
                <a:ln>
                  <a:noFill/>
                </a:ln>
                <a:solidFill>
                  <a:prstClr val="black">
                    <a:lumMod val="75000"/>
                    <a:lumOff val="25000"/>
                  </a:prstClr>
                </a:solidFill>
                <a:effectLst/>
                <a:uLnTx/>
                <a:uFillTx/>
                <a:latin typeface="OPPOSans R" panose="00020600040101010101" pitchFamily="18" charset="-122"/>
                <a:ea typeface="OPPOSans R" panose="00020600040101010101" pitchFamily="18" charset="-122"/>
                <a:cs typeface="OPPOSans R" panose="00020600040101010101" pitchFamily="18" charset="-122"/>
              </a:rPr>
              <a:t>为活跃用户，需重点对待，争取下单与转化购买</a:t>
            </a:r>
          </a:p>
        </p:txBody>
      </p:sp>
      <p:sp>
        <p:nvSpPr>
          <p:cNvPr id="86" name="gaoding-25">
            <a:extLst>
              <a:ext uri="{FF2B5EF4-FFF2-40B4-BE49-F238E27FC236}">
                <a16:creationId xmlns:a16="http://schemas.microsoft.com/office/drawing/2014/main" id="{C45B080A-8AD9-4662-9335-947AF899BDC9}"/>
              </a:ext>
            </a:extLst>
          </p:cNvPr>
          <p:cNvSpPr txBox="1"/>
          <p:nvPr/>
        </p:nvSpPr>
        <p:spPr>
          <a:xfrm>
            <a:off x="4553550" y="4243484"/>
            <a:ext cx="1297916"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2000" b="1" i="0" u="none" strike="noStrike" kern="1200" cap="none" spc="0" normalizeH="0" baseline="0" noProof="0" dirty="0">
                <a:ln>
                  <a:noFill/>
                </a:ln>
                <a:solidFill>
                  <a:prstClr val="black"/>
                </a:solidFill>
                <a:effectLst/>
                <a:uLnTx/>
                <a:uFillTx/>
                <a:latin typeface="OPPOSans B" panose="00020600040101010101" pitchFamily="18" charset="-122"/>
                <a:ea typeface="OPPOSans B" panose="00020600040101010101" pitchFamily="18" charset="-122"/>
                <a:cs typeface="OPPOSans B" panose="00020600040101010101" pitchFamily="18" charset="-122"/>
              </a:rPr>
              <a:t>使用行为</a:t>
            </a:r>
          </a:p>
        </p:txBody>
      </p:sp>
      <p:sp>
        <p:nvSpPr>
          <p:cNvPr id="87" name="gaoding-26">
            <a:extLst>
              <a:ext uri="{FF2B5EF4-FFF2-40B4-BE49-F238E27FC236}">
                <a16:creationId xmlns:a16="http://schemas.microsoft.com/office/drawing/2014/main" id="{DEF88999-5179-4A50-86A5-2D3EDE507CB2}"/>
              </a:ext>
            </a:extLst>
          </p:cNvPr>
          <p:cNvSpPr txBox="1"/>
          <p:nvPr/>
        </p:nvSpPr>
        <p:spPr>
          <a:xfrm>
            <a:off x="6335574" y="4968107"/>
            <a:ext cx="4867537" cy="391967"/>
          </a:xfrm>
          <a:prstGeom prst="rect">
            <a:avLst/>
          </a:prstGeom>
          <a:noFill/>
        </p:spPr>
        <p:txBody>
          <a:bodyPr wrap="square" rtlCol="0">
            <a:spAutoFit/>
          </a:bodyPr>
          <a:lstStyle/>
          <a:p>
            <a:pPr marL="0" marR="0" lvl="0" indent="0" algn="l" defTabSz="914400" rtl="0" eaLnBrk="1" fontAlgn="auto" latinLnBrk="0" hangingPunct="1">
              <a:lnSpc>
                <a:spcPct val="130000"/>
              </a:lnSpc>
              <a:spcBef>
                <a:spcPts val="0"/>
              </a:spcBef>
              <a:spcAft>
                <a:spcPts val="0"/>
              </a:spcAft>
              <a:buClrTx/>
              <a:buSzTx/>
              <a:buFontTx/>
              <a:buNone/>
              <a:tabLst/>
              <a:defRPr/>
            </a:pPr>
            <a:r>
              <a:rPr kumimoji="0" lang="zh-CN" altLang="en-US" sz="1600" b="0" i="0" u="none" strike="noStrike" kern="1200" cap="none" spc="0" normalizeH="0" baseline="0" noProof="0" dirty="0">
                <a:ln>
                  <a:noFill/>
                </a:ln>
                <a:solidFill>
                  <a:prstClr val="black">
                    <a:lumMod val="75000"/>
                    <a:lumOff val="25000"/>
                  </a:prstClr>
                </a:solidFill>
                <a:effectLst/>
                <a:uLnTx/>
                <a:uFillTx/>
                <a:latin typeface="OPPOSans R" panose="00020600040101010101" pitchFamily="18" charset="-122"/>
                <a:ea typeface="OPPOSans R" panose="00020600040101010101" pitchFamily="18" charset="-122"/>
                <a:cs typeface="OPPOSans R" panose="00020600040101010101" pitchFamily="18" charset="-122"/>
              </a:rPr>
              <a:t>为下载用户，在下载之余应引导进行活跃使用</a:t>
            </a:r>
          </a:p>
        </p:txBody>
      </p:sp>
      <p:sp>
        <p:nvSpPr>
          <p:cNvPr id="88" name="gaoding-27">
            <a:extLst>
              <a:ext uri="{FF2B5EF4-FFF2-40B4-BE49-F238E27FC236}">
                <a16:creationId xmlns:a16="http://schemas.microsoft.com/office/drawing/2014/main" id="{907677A1-3E82-47FD-874E-2C594DB85B23}"/>
              </a:ext>
            </a:extLst>
          </p:cNvPr>
          <p:cNvSpPr txBox="1"/>
          <p:nvPr/>
        </p:nvSpPr>
        <p:spPr>
          <a:xfrm>
            <a:off x="4804422" y="4964035"/>
            <a:ext cx="1297916"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2000" b="1" i="0" u="none" strike="noStrike" kern="1200" cap="none" spc="0" normalizeH="0" baseline="0" noProof="0" dirty="0">
                <a:ln>
                  <a:noFill/>
                </a:ln>
                <a:solidFill>
                  <a:prstClr val="black"/>
                </a:solidFill>
                <a:effectLst/>
                <a:uLnTx/>
                <a:uFillTx/>
                <a:latin typeface="OPPOSans B" panose="00020600040101010101" pitchFamily="18" charset="-122"/>
                <a:ea typeface="OPPOSans B" panose="00020600040101010101" pitchFamily="18" charset="-122"/>
                <a:cs typeface="OPPOSans B" panose="00020600040101010101" pitchFamily="18" charset="-122"/>
              </a:rPr>
              <a:t>下载行为</a:t>
            </a:r>
          </a:p>
        </p:txBody>
      </p:sp>
      <p:sp>
        <p:nvSpPr>
          <p:cNvPr id="89" name="gaoding-28">
            <a:extLst>
              <a:ext uri="{FF2B5EF4-FFF2-40B4-BE49-F238E27FC236}">
                <a16:creationId xmlns:a16="http://schemas.microsoft.com/office/drawing/2014/main" id="{9B5BE847-0136-49A8-A592-8FC4041694F2}"/>
              </a:ext>
            </a:extLst>
          </p:cNvPr>
          <p:cNvSpPr txBox="1"/>
          <p:nvPr/>
        </p:nvSpPr>
        <p:spPr>
          <a:xfrm>
            <a:off x="6586446" y="5692558"/>
            <a:ext cx="4932454" cy="391967"/>
          </a:xfrm>
          <a:prstGeom prst="rect">
            <a:avLst/>
          </a:prstGeom>
          <a:noFill/>
        </p:spPr>
        <p:txBody>
          <a:bodyPr wrap="square" rtlCol="0">
            <a:spAutoFit/>
          </a:bodyPr>
          <a:lstStyle/>
          <a:p>
            <a:pPr marL="0" marR="0" lvl="0" indent="0" algn="l" defTabSz="914400" rtl="0" eaLnBrk="1" fontAlgn="auto" latinLnBrk="0" hangingPunct="1">
              <a:lnSpc>
                <a:spcPct val="130000"/>
              </a:lnSpc>
              <a:spcBef>
                <a:spcPts val="0"/>
              </a:spcBef>
              <a:spcAft>
                <a:spcPts val="0"/>
              </a:spcAft>
              <a:buClrTx/>
              <a:buSzTx/>
              <a:buFontTx/>
              <a:buNone/>
              <a:tabLst/>
              <a:defRPr/>
            </a:pPr>
            <a:r>
              <a:rPr kumimoji="0" lang="zh-CN" altLang="en-US" sz="1600" b="0" i="0" u="none" strike="noStrike" kern="1200" cap="none" spc="0" normalizeH="0" baseline="0" noProof="0" dirty="0">
                <a:ln>
                  <a:noFill/>
                </a:ln>
                <a:solidFill>
                  <a:prstClr val="black">
                    <a:lumMod val="75000"/>
                    <a:lumOff val="25000"/>
                  </a:prstClr>
                </a:solidFill>
                <a:effectLst/>
                <a:uLnTx/>
                <a:uFillTx/>
                <a:latin typeface="OPPOSans R" panose="00020600040101010101" pitchFamily="18" charset="-122"/>
                <a:ea typeface="OPPOSans R" panose="00020600040101010101" pitchFamily="18" charset="-122"/>
                <a:cs typeface="OPPOSans R" panose="00020600040101010101" pitchFamily="18" charset="-122"/>
              </a:rPr>
              <a:t>为为新用户，引导其进行活跃与下载</a:t>
            </a:r>
          </a:p>
        </p:txBody>
      </p:sp>
      <p:sp>
        <p:nvSpPr>
          <p:cNvPr id="90" name="gaoding-29">
            <a:extLst>
              <a:ext uri="{FF2B5EF4-FFF2-40B4-BE49-F238E27FC236}">
                <a16:creationId xmlns:a16="http://schemas.microsoft.com/office/drawing/2014/main" id="{051FF307-70B6-4DC3-9BA7-E57664639B18}"/>
              </a:ext>
            </a:extLst>
          </p:cNvPr>
          <p:cNvSpPr txBox="1"/>
          <p:nvPr/>
        </p:nvSpPr>
        <p:spPr>
          <a:xfrm>
            <a:off x="5055294" y="5688486"/>
            <a:ext cx="1297916"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2000" b="1" i="0" u="none" strike="noStrike" kern="1200" cap="none" spc="0" normalizeH="0" baseline="0" noProof="0" dirty="0">
                <a:ln>
                  <a:noFill/>
                </a:ln>
                <a:solidFill>
                  <a:prstClr val="black"/>
                </a:solidFill>
                <a:effectLst/>
                <a:uLnTx/>
                <a:uFillTx/>
                <a:latin typeface="OPPOSans B" panose="00020600040101010101" pitchFamily="18" charset="-122"/>
                <a:ea typeface="OPPOSans B" panose="00020600040101010101" pitchFamily="18" charset="-122"/>
                <a:cs typeface="OPPOSans B" panose="00020600040101010101" pitchFamily="18" charset="-122"/>
              </a:rPr>
              <a:t>注册行为</a:t>
            </a:r>
          </a:p>
        </p:txBody>
      </p:sp>
    </p:spTree>
    <p:extLst>
      <p:ext uri="{BB962C8B-B14F-4D97-AF65-F5344CB8AC3E}">
        <p14:creationId xmlns:p14="http://schemas.microsoft.com/office/powerpoint/2010/main" val="2177516700"/>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5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8" name="gaoding-1">
            <a:extLst>
              <a:ext uri="{FF2B5EF4-FFF2-40B4-BE49-F238E27FC236}">
                <a16:creationId xmlns:a16="http://schemas.microsoft.com/office/drawing/2014/main" id="{FE537441-9B8F-4758-B24B-40E37063F510}"/>
              </a:ext>
            </a:extLst>
          </p:cNvPr>
          <p:cNvCxnSpPr>
            <a:cxnSpLocks/>
          </p:cNvCxnSpPr>
          <p:nvPr/>
        </p:nvCxnSpPr>
        <p:spPr>
          <a:xfrm flipH="1">
            <a:off x="5574870" y="2495964"/>
            <a:ext cx="1650697"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59" name="gaoding-2">
            <a:extLst>
              <a:ext uri="{FF2B5EF4-FFF2-40B4-BE49-F238E27FC236}">
                <a16:creationId xmlns:a16="http://schemas.microsoft.com/office/drawing/2014/main" id="{D64148B2-DEC3-4992-8AAE-B5AB63268699}"/>
              </a:ext>
            </a:extLst>
          </p:cNvPr>
          <p:cNvSpPr/>
          <p:nvPr/>
        </p:nvSpPr>
        <p:spPr>
          <a:xfrm rot="10800000">
            <a:off x="7150440" y="2419991"/>
            <a:ext cx="151945" cy="151945"/>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POSans R" panose="00020600040101010101" pitchFamily="18" charset="-122"/>
              <a:ea typeface="微软雅黑"/>
              <a:cs typeface="+mn-cs"/>
            </a:endParaRPr>
          </a:p>
        </p:txBody>
      </p:sp>
      <p:sp>
        <p:nvSpPr>
          <p:cNvPr id="53" name="gaoding-3">
            <a:extLst>
              <a:ext uri="{FF2B5EF4-FFF2-40B4-BE49-F238E27FC236}">
                <a16:creationId xmlns:a16="http://schemas.microsoft.com/office/drawing/2014/main" id="{A4C1435C-491E-445F-8E4C-52B9CD18D9AC}"/>
              </a:ext>
            </a:extLst>
          </p:cNvPr>
          <p:cNvSpPr/>
          <p:nvPr/>
        </p:nvSpPr>
        <p:spPr>
          <a:xfrm>
            <a:off x="7480517" y="2009006"/>
            <a:ext cx="448103" cy="973913"/>
          </a:xfrm>
          <a:prstGeom prst="chevron">
            <a:avLst/>
          </a:prstGeom>
          <a:solidFill>
            <a:schemeClr val="bg1">
              <a:lumMod val="85000"/>
            </a:schemeClr>
          </a:solidFill>
          <a:ln w="19050" algn="ctr">
            <a:noFill/>
            <a:round/>
            <a:headEnd/>
            <a:tailEnd/>
          </a:ln>
          <a:effectLst>
            <a:outerShdw blurRad="177800" dir="6540000" sx="86000" sy="86000" algn="ctr">
              <a:srgbClr val="000000">
                <a:alpha val="19000"/>
              </a:srgbClr>
            </a:outerShdw>
          </a:effectLst>
        </p:spPr>
        <p:txBody>
          <a:bodyPr wrap="none" lIns="72000" tIns="0" rIns="72000" b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dirty="0">
              <a:ln>
                <a:noFill/>
              </a:ln>
              <a:solidFill>
                <a:prstClr val="white"/>
              </a:solidFill>
              <a:effectLst/>
              <a:uLnTx/>
              <a:uFillTx/>
              <a:latin typeface="Times New Roman" pitchFamily="18" charset="0"/>
              <a:ea typeface="굴림"/>
              <a:cs typeface="Times New Roman" pitchFamily="18" charset="0"/>
            </a:endParaRPr>
          </a:p>
        </p:txBody>
      </p:sp>
      <p:sp>
        <p:nvSpPr>
          <p:cNvPr id="56" name="gaoding-4">
            <a:extLst>
              <a:ext uri="{FF2B5EF4-FFF2-40B4-BE49-F238E27FC236}">
                <a16:creationId xmlns:a16="http://schemas.microsoft.com/office/drawing/2014/main" id="{35E2AE09-0EBE-4DF0-AFDD-C5C57EE92140}"/>
              </a:ext>
            </a:extLst>
          </p:cNvPr>
          <p:cNvSpPr>
            <a:spLocks noChangeAspect="1"/>
          </p:cNvSpPr>
          <p:nvPr/>
        </p:nvSpPr>
        <p:spPr>
          <a:xfrm>
            <a:off x="7415152" y="2284947"/>
            <a:ext cx="421677" cy="422031"/>
          </a:xfrm>
          <a:prstGeom prst="ellipse">
            <a:avLst/>
          </a:prstGeom>
          <a:solidFill>
            <a:schemeClr val="accent1"/>
          </a:solidFill>
          <a:ln w="19050">
            <a:noFill/>
          </a:ln>
          <a:effectLst>
            <a:outerShdw blurRad="127000"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500" b="1" i="0" u="none" strike="noStrike" kern="1200" cap="none" spc="0" normalizeH="0" baseline="0" noProof="0" dirty="0">
              <a:ln>
                <a:noFill/>
              </a:ln>
              <a:solidFill>
                <a:srgbClr val="FFFFFF"/>
              </a:solidFill>
              <a:effectLst/>
              <a:uLnTx/>
              <a:uFillTx/>
              <a:latin typeface="Segoe UI" panose="020B0502040204020203" pitchFamily="34" charset="0"/>
              <a:ea typeface="微软雅黑"/>
              <a:cs typeface="Segoe UI" panose="020B0502040204020203" pitchFamily="34" charset="0"/>
            </a:endParaRPr>
          </a:p>
        </p:txBody>
      </p:sp>
      <p:sp>
        <p:nvSpPr>
          <p:cNvPr id="57" name="gaoding-5">
            <a:extLst>
              <a:ext uri="{FF2B5EF4-FFF2-40B4-BE49-F238E27FC236}">
                <a16:creationId xmlns:a16="http://schemas.microsoft.com/office/drawing/2014/main" id="{5D98A719-EA48-4E68-8208-492A8067F5A0}"/>
              </a:ext>
            </a:extLst>
          </p:cNvPr>
          <p:cNvSpPr/>
          <p:nvPr/>
        </p:nvSpPr>
        <p:spPr>
          <a:xfrm>
            <a:off x="7439732" y="2324509"/>
            <a:ext cx="392184" cy="338298"/>
          </a:xfrm>
          <a:prstGeom prst="rect">
            <a:avLst/>
          </a:prstGeom>
        </p:spPr>
        <p:txBody>
          <a:bodyPr wrap="square">
            <a:spAutoFit/>
          </a:body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OPPOSans R" panose="00020600040101010101" pitchFamily="18" charset="-122"/>
                <a:ea typeface="OPPOSans R" panose="00020600040101010101" pitchFamily="18" charset="-122"/>
                <a:cs typeface="OPPOSans R" panose="00020600040101010101" pitchFamily="18" charset="-122"/>
              </a:rPr>
              <a:t>01</a:t>
            </a:r>
          </a:p>
        </p:txBody>
      </p:sp>
      <p:cxnSp>
        <p:nvCxnSpPr>
          <p:cNvPr id="49" name="gaoding-6">
            <a:extLst>
              <a:ext uri="{FF2B5EF4-FFF2-40B4-BE49-F238E27FC236}">
                <a16:creationId xmlns:a16="http://schemas.microsoft.com/office/drawing/2014/main" id="{4B08D5E5-2DC6-46E0-AE89-9AC7244E875D}"/>
              </a:ext>
            </a:extLst>
          </p:cNvPr>
          <p:cNvCxnSpPr>
            <a:cxnSpLocks/>
          </p:cNvCxnSpPr>
          <p:nvPr/>
        </p:nvCxnSpPr>
        <p:spPr>
          <a:xfrm flipH="1">
            <a:off x="5031660" y="5410785"/>
            <a:ext cx="1650697"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50" name="gaoding-7">
            <a:extLst>
              <a:ext uri="{FF2B5EF4-FFF2-40B4-BE49-F238E27FC236}">
                <a16:creationId xmlns:a16="http://schemas.microsoft.com/office/drawing/2014/main" id="{66A7CEBA-18C1-4477-9C65-0A5833C779F9}"/>
              </a:ext>
            </a:extLst>
          </p:cNvPr>
          <p:cNvSpPr/>
          <p:nvPr/>
        </p:nvSpPr>
        <p:spPr>
          <a:xfrm rot="10800000">
            <a:off x="6607230" y="5334812"/>
            <a:ext cx="151945" cy="151945"/>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POSans R" panose="00020600040101010101" pitchFamily="18" charset="-122"/>
              <a:ea typeface="微软雅黑"/>
              <a:cs typeface="+mn-cs"/>
            </a:endParaRPr>
          </a:p>
        </p:txBody>
      </p:sp>
      <p:sp>
        <p:nvSpPr>
          <p:cNvPr id="44" name="gaoding-8">
            <a:extLst>
              <a:ext uri="{FF2B5EF4-FFF2-40B4-BE49-F238E27FC236}">
                <a16:creationId xmlns:a16="http://schemas.microsoft.com/office/drawing/2014/main" id="{6031A455-12DC-4D46-975C-C980EF6E092D}"/>
              </a:ext>
            </a:extLst>
          </p:cNvPr>
          <p:cNvSpPr/>
          <p:nvPr/>
        </p:nvSpPr>
        <p:spPr>
          <a:xfrm>
            <a:off x="6949249" y="4918324"/>
            <a:ext cx="448103" cy="973913"/>
          </a:xfrm>
          <a:prstGeom prst="chevron">
            <a:avLst/>
          </a:prstGeom>
          <a:solidFill>
            <a:schemeClr val="bg1">
              <a:lumMod val="85000"/>
            </a:schemeClr>
          </a:solidFill>
          <a:ln w="19050" algn="ctr">
            <a:noFill/>
            <a:round/>
            <a:headEnd/>
            <a:tailEnd/>
          </a:ln>
          <a:effectLst>
            <a:outerShdw blurRad="177800" dir="6540000" sx="86000" sy="86000" algn="ctr">
              <a:srgbClr val="000000">
                <a:alpha val="19000"/>
              </a:srgbClr>
            </a:outerShdw>
          </a:effectLst>
        </p:spPr>
        <p:txBody>
          <a:bodyPr wrap="none" lIns="72000" tIns="0" rIns="72000" b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dirty="0">
              <a:ln>
                <a:noFill/>
              </a:ln>
              <a:solidFill>
                <a:prstClr val="white"/>
              </a:solidFill>
              <a:effectLst/>
              <a:uLnTx/>
              <a:uFillTx/>
              <a:latin typeface="Times New Roman" pitchFamily="18" charset="0"/>
              <a:ea typeface="굴림"/>
              <a:cs typeface="Times New Roman" pitchFamily="18" charset="0"/>
            </a:endParaRPr>
          </a:p>
        </p:txBody>
      </p:sp>
      <p:sp>
        <p:nvSpPr>
          <p:cNvPr id="47" name="gaoding-9">
            <a:extLst>
              <a:ext uri="{FF2B5EF4-FFF2-40B4-BE49-F238E27FC236}">
                <a16:creationId xmlns:a16="http://schemas.microsoft.com/office/drawing/2014/main" id="{592C6D6C-212E-4289-934E-7987D4FF9E22}"/>
              </a:ext>
            </a:extLst>
          </p:cNvPr>
          <p:cNvSpPr>
            <a:spLocks noChangeAspect="1"/>
          </p:cNvSpPr>
          <p:nvPr/>
        </p:nvSpPr>
        <p:spPr>
          <a:xfrm>
            <a:off x="6883884" y="5194265"/>
            <a:ext cx="421678" cy="422031"/>
          </a:xfrm>
          <a:prstGeom prst="ellipse">
            <a:avLst/>
          </a:prstGeom>
          <a:solidFill>
            <a:schemeClr val="accent1"/>
          </a:solidFill>
          <a:ln w="19050">
            <a:noFill/>
          </a:ln>
          <a:effectLst>
            <a:outerShdw blurRad="127000"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500" b="1" i="0" u="none" strike="noStrike" kern="1200" cap="none" spc="0" normalizeH="0" baseline="0" noProof="0" dirty="0">
              <a:ln>
                <a:noFill/>
              </a:ln>
              <a:solidFill>
                <a:srgbClr val="FFFFFF"/>
              </a:solidFill>
              <a:effectLst/>
              <a:uLnTx/>
              <a:uFillTx/>
              <a:latin typeface="Segoe UI" panose="020B0502040204020203" pitchFamily="34" charset="0"/>
              <a:ea typeface="微软雅黑"/>
              <a:cs typeface="Segoe UI" panose="020B0502040204020203" pitchFamily="34" charset="0"/>
            </a:endParaRPr>
          </a:p>
        </p:txBody>
      </p:sp>
      <p:sp>
        <p:nvSpPr>
          <p:cNvPr id="48" name="gaoding-10">
            <a:extLst>
              <a:ext uri="{FF2B5EF4-FFF2-40B4-BE49-F238E27FC236}">
                <a16:creationId xmlns:a16="http://schemas.microsoft.com/office/drawing/2014/main" id="{9F5263CB-8579-4F2E-99E3-AE5CE4C21F32}"/>
              </a:ext>
            </a:extLst>
          </p:cNvPr>
          <p:cNvSpPr/>
          <p:nvPr/>
        </p:nvSpPr>
        <p:spPr>
          <a:xfrm>
            <a:off x="6889165" y="5230195"/>
            <a:ext cx="418259" cy="338298"/>
          </a:xfrm>
          <a:prstGeom prst="rect">
            <a:avLst/>
          </a:prstGeom>
        </p:spPr>
        <p:txBody>
          <a:bodyPr wrap="square">
            <a:spAutoFit/>
          </a:body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OPPOSans R" panose="00020600040101010101" pitchFamily="18" charset="-122"/>
                <a:ea typeface="OPPOSans R" panose="00020600040101010101" pitchFamily="18" charset="-122"/>
                <a:cs typeface="OPPOSans R" panose="00020600040101010101" pitchFamily="18" charset="-122"/>
              </a:rPr>
              <a:t>03</a:t>
            </a:r>
          </a:p>
        </p:txBody>
      </p:sp>
      <p:cxnSp>
        <p:nvCxnSpPr>
          <p:cNvPr id="40" name="gaoding-11">
            <a:extLst>
              <a:ext uri="{FF2B5EF4-FFF2-40B4-BE49-F238E27FC236}">
                <a16:creationId xmlns:a16="http://schemas.microsoft.com/office/drawing/2014/main" id="{2D5026B4-442D-4D73-B2B1-619872B16C0A}"/>
              </a:ext>
            </a:extLst>
          </p:cNvPr>
          <p:cNvCxnSpPr>
            <a:cxnSpLocks/>
          </p:cNvCxnSpPr>
          <p:nvPr/>
        </p:nvCxnSpPr>
        <p:spPr>
          <a:xfrm flipH="1">
            <a:off x="5269960" y="4022793"/>
            <a:ext cx="1650697"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41" name="gaoding-12">
            <a:extLst>
              <a:ext uri="{FF2B5EF4-FFF2-40B4-BE49-F238E27FC236}">
                <a16:creationId xmlns:a16="http://schemas.microsoft.com/office/drawing/2014/main" id="{CFFADEB5-D130-4E1F-A301-350FEBC3E780}"/>
              </a:ext>
            </a:extLst>
          </p:cNvPr>
          <p:cNvSpPr/>
          <p:nvPr/>
        </p:nvSpPr>
        <p:spPr>
          <a:xfrm rot="10800000">
            <a:off x="6845530" y="3946820"/>
            <a:ext cx="151945" cy="151945"/>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POSans R" panose="00020600040101010101" pitchFamily="18" charset="-122"/>
              <a:ea typeface="微软雅黑"/>
              <a:cs typeface="+mn-cs"/>
            </a:endParaRPr>
          </a:p>
        </p:txBody>
      </p:sp>
      <p:sp>
        <p:nvSpPr>
          <p:cNvPr id="35" name="gaoding-13">
            <a:extLst>
              <a:ext uri="{FF2B5EF4-FFF2-40B4-BE49-F238E27FC236}">
                <a16:creationId xmlns:a16="http://schemas.microsoft.com/office/drawing/2014/main" id="{0F5BD486-C000-4DC6-B9BA-76D7B7F896A4}"/>
              </a:ext>
            </a:extLst>
          </p:cNvPr>
          <p:cNvSpPr/>
          <p:nvPr/>
        </p:nvSpPr>
        <p:spPr>
          <a:xfrm>
            <a:off x="7188646" y="3535836"/>
            <a:ext cx="448103" cy="973913"/>
          </a:xfrm>
          <a:prstGeom prst="chevron">
            <a:avLst/>
          </a:prstGeom>
          <a:solidFill>
            <a:schemeClr val="bg1">
              <a:lumMod val="85000"/>
            </a:schemeClr>
          </a:solidFill>
          <a:ln w="19050" algn="ctr">
            <a:noFill/>
            <a:round/>
            <a:headEnd/>
            <a:tailEnd/>
          </a:ln>
          <a:effectLst>
            <a:outerShdw blurRad="177800" dir="6540000" sx="86000" sy="86000" algn="ctr">
              <a:srgbClr val="000000">
                <a:alpha val="19000"/>
              </a:srgbClr>
            </a:outerShdw>
          </a:effectLst>
        </p:spPr>
        <p:txBody>
          <a:bodyPr wrap="none" lIns="72000" tIns="0" rIns="72000" b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dirty="0">
              <a:ln>
                <a:noFill/>
              </a:ln>
              <a:solidFill>
                <a:prstClr val="white"/>
              </a:solidFill>
              <a:effectLst/>
              <a:uLnTx/>
              <a:uFillTx/>
              <a:latin typeface="Times New Roman" pitchFamily="18" charset="0"/>
              <a:ea typeface="굴림"/>
              <a:cs typeface="Times New Roman" pitchFamily="18" charset="0"/>
            </a:endParaRPr>
          </a:p>
        </p:txBody>
      </p:sp>
      <p:sp>
        <p:nvSpPr>
          <p:cNvPr id="38" name="gaoding-14">
            <a:extLst>
              <a:ext uri="{FF2B5EF4-FFF2-40B4-BE49-F238E27FC236}">
                <a16:creationId xmlns:a16="http://schemas.microsoft.com/office/drawing/2014/main" id="{C24397F8-610B-45E8-A2AE-01A4D429D00D}"/>
              </a:ext>
            </a:extLst>
          </p:cNvPr>
          <p:cNvSpPr>
            <a:spLocks noChangeAspect="1"/>
          </p:cNvSpPr>
          <p:nvPr/>
        </p:nvSpPr>
        <p:spPr>
          <a:xfrm>
            <a:off x="7123281" y="3811779"/>
            <a:ext cx="421677" cy="422031"/>
          </a:xfrm>
          <a:prstGeom prst="ellipse">
            <a:avLst/>
          </a:prstGeom>
          <a:solidFill>
            <a:schemeClr val="accent1"/>
          </a:solidFill>
          <a:ln w="19050">
            <a:noFill/>
          </a:ln>
          <a:effectLst>
            <a:outerShdw blurRad="127000"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500" b="1" i="0" u="none" strike="noStrike" kern="1200" cap="none" spc="0" normalizeH="0" baseline="0" noProof="0" dirty="0">
              <a:ln>
                <a:noFill/>
              </a:ln>
              <a:solidFill>
                <a:srgbClr val="FFFFFF"/>
              </a:solidFill>
              <a:effectLst/>
              <a:uLnTx/>
              <a:uFillTx/>
              <a:latin typeface="Segoe UI" panose="020B0502040204020203" pitchFamily="34" charset="0"/>
              <a:ea typeface="微软雅黑"/>
              <a:cs typeface="Segoe UI" panose="020B0502040204020203" pitchFamily="34" charset="0"/>
            </a:endParaRPr>
          </a:p>
        </p:txBody>
      </p:sp>
      <p:sp>
        <p:nvSpPr>
          <p:cNvPr id="39" name="gaoding-15">
            <a:extLst>
              <a:ext uri="{FF2B5EF4-FFF2-40B4-BE49-F238E27FC236}">
                <a16:creationId xmlns:a16="http://schemas.microsoft.com/office/drawing/2014/main" id="{5008D677-E279-401E-B3E5-58E5EA041541}"/>
              </a:ext>
            </a:extLst>
          </p:cNvPr>
          <p:cNvSpPr/>
          <p:nvPr/>
        </p:nvSpPr>
        <p:spPr>
          <a:xfrm>
            <a:off x="7094786" y="3833148"/>
            <a:ext cx="478665" cy="338298"/>
          </a:xfrm>
          <a:prstGeom prst="rect">
            <a:avLst/>
          </a:prstGeom>
          <a:noFill/>
        </p:spPr>
        <p:txBody>
          <a:bodyPr wrap="square">
            <a:spAutoFit/>
          </a:body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OPPOSans R" panose="00020600040101010101" pitchFamily="18" charset="-122"/>
                <a:ea typeface="OPPOSans R" panose="00020600040101010101" pitchFamily="18" charset="-122"/>
                <a:cs typeface="OPPOSans R" panose="00020600040101010101" pitchFamily="18" charset="-122"/>
              </a:rPr>
              <a:t>02</a:t>
            </a:r>
          </a:p>
        </p:txBody>
      </p:sp>
      <p:sp>
        <p:nvSpPr>
          <p:cNvPr id="23" name="gaoding-16">
            <a:extLst>
              <a:ext uri="{FF2B5EF4-FFF2-40B4-BE49-F238E27FC236}">
                <a16:creationId xmlns:a16="http://schemas.microsoft.com/office/drawing/2014/main" id="{F43C77EC-CBBD-4F19-994F-97D1A8EFEB7F}"/>
              </a:ext>
            </a:extLst>
          </p:cNvPr>
          <p:cNvSpPr/>
          <p:nvPr/>
        </p:nvSpPr>
        <p:spPr>
          <a:xfrm>
            <a:off x="2054025" y="1659896"/>
            <a:ext cx="2149711" cy="1434979"/>
          </a:xfrm>
          <a:custGeom>
            <a:avLst/>
            <a:gdLst>
              <a:gd name="connsiteX0" fmla="*/ 1808300 w 1808300"/>
              <a:gd name="connsiteY0" fmla="*/ 0 h 1235881"/>
              <a:gd name="connsiteX1" fmla="*/ 1808300 w 1808300"/>
              <a:gd name="connsiteY1" fmla="*/ 1079230 h 1235881"/>
              <a:gd name="connsiteX2" fmla="*/ 0 w 1808300"/>
              <a:gd name="connsiteY2" fmla="*/ 1235881 h 1235881"/>
              <a:gd name="connsiteX3" fmla="*/ 0 w 1808300"/>
              <a:gd name="connsiteY3" fmla="*/ 350509 h 1235881"/>
            </a:gdLst>
            <a:ahLst/>
            <a:cxnLst>
              <a:cxn ang="0">
                <a:pos x="connsiteX0" y="connsiteY0"/>
              </a:cxn>
              <a:cxn ang="0">
                <a:pos x="connsiteX1" y="connsiteY1"/>
              </a:cxn>
              <a:cxn ang="0">
                <a:pos x="connsiteX2" y="connsiteY2"/>
              </a:cxn>
              <a:cxn ang="0">
                <a:pos x="connsiteX3" y="connsiteY3"/>
              </a:cxn>
            </a:cxnLst>
            <a:rect l="l" t="t" r="r" b="b"/>
            <a:pathLst>
              <a:path w="1808300" h="1235881">
                <a:moveTo>
                  <a:pt x="1808300" y="0"/>
                </a:moveTo>
                <a:lnTo>
                  <a:pt x="1808300" y="1079230"/>
                </a:lnTo>
                <a:lnTo>
                  <a:pt x="0" y="1235881"/>
                </a:lnTo>
                <a:lnTo>
                  <a:pt x="0" y="350509"/>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dirty="0">
              <a:ln>
                <a:noFill/>
              </a:ln>
              <a:solidFill>
                <a:srgbClr val="FFFFFF"/>
              </a:solidFill>
              <a:effectLst/>
              <a:uLnTx/>
              <a:uFillTx/>
              <a:latin typeface="OPPOSans R" panose="00020600040101010101" pitchFamily="18" charset="-122"/>
              <a:ea typeface="微软雅黑"/>
              <a:cs typeface="+mn-cs"/>
            </a:endParaRPr>
          </a:p>
        </p:txBody>
      </p:sp>
      <p:sp>
        <p:nvSpPr>
          <p:cNvPr id="24" name="gaoding-17">
            <a:extLst>
              <a:ext uri="{FF2B5EF4-FFF2-40B4-BE49-F238E27FC236}">
                <a16:creationId xmlns:a16="http://schemas.microsoft.com/office/drawing/2014/main" id="{D547141F-12EA-484A-8E5D-9E2469805299}"/>
              </a:ext>
            </a:extLst>
          </p:cNvPr>
          <p:cNvSpPr/>
          <p:nvPr/>
        </p:nvSpPr>
        <p:spPr>
          <a:xfrm flipH="1">
            <a:off x="4203736" y="1659896"/>
            <a:ext cx="2149711" cy="1434979"/>
          </a:xfrm>
          <a:custGeom>
            <a:avLst/>
            <a:gdLst>
              <a:gd name="connsiteX0" fmla="*/ 1808300 w 1808300"/>
              <a:gd name="connsiteY0" fmla="*/ 0 h 1235881"/>
              <a:gd name="connsiteX1" fmla="*/ 1808300 w 1808300"/>
              <a:gd name="connsiteY1" fmla="*/ 1079230 h 1235881"/>
              <a:gd name="connsiteX2" fmla="*/ 0 w 1808300"/>
              <a:gd name="connsiteY2" fmla="*/ 1235881 h 1235881"/>
              <a:gd name="connsiteX3" fmla="*/ 0 w 1808300"/>
              <a:gd name="connsiteY3" fmla="*/ 350509 h 1235881"/>
            </a:gdLst>
            <a:ahLst/>
            <a:cxnLst>
              <a:cxn ang="0">
                <a:pos x="connsiteX0" y="connsiteY0"/>
              </a:cxn>
              <a:cxn ang="0">
                <a:pos x="connsiteX1" y="connsiteY1"/>
              </a:cxn>
              <a:cxn ang="0">
                <a:pos x="connsiteX2" y="connsiteY2"/>
              </a:cxn>
              <a:cxn ang="0">
                <a:pos x="connsiteX3" y="connsiteY3"/>
              </a:cxn>
            </a:cxnLst>
            <a:rect l="l" t="t" r="r" b="b"/>
            <a:pathLst>
              <a:path w="1808300" h="1235881">
                <a:moveTo>
                  <a:pt x="1808300" y="0"/>
                </a:moveTo>
                <a:lnTo>
                  <a:pt x="1808300" y="1079230"/>
                </a:lnTo>
                <a:lnTo>
                  <a:pt x="0" y="1235881"/>
                </a:lnTo>
                <a:lnTo>
                  <a:pt x="0" y="350509"/>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dirty="0">
              <a:ln>
                <a:noFill/>
              </a:ln>
              <a:solidFill>
                <a:srgbClr val="FFFFFF"/>
              </a:solidFill>
              <a:effectLst/>
              <a:uLnTx/>
              <a:uFillTx/>
              <a:latin typeface="OPPOSans R" panose="00020600040101010101" pitchFamily="18" charset="-122"/>
              <a:ea typeface="微软雅黑"/>
              <a:cs typeface="+mn-cs"/>
            </a:endParaRPr>
          </a:p>
        </p:txBody>
      </p:sp>
      <p:sp>
        <p:nvSpPr>
          <p:cNvPr id="25" name="gaoding-18">
            <a:extLst>
              <a:ext uri="{FF2B5EF4-FFF2-40B4-BE49-F238E27FC236}">
                <a16:creationId xmlns:a16="http://schemas.microsoft.com/office/drawing/2014/main" id="{28E32E11-F0B0-48A2-8BAB-9C80FB9E0A73}"/>
              </a:ext>
            </a:extLst>
          </p:cNvPr>
          <p:cNvSpPr/>
          <p:nvPr/>
        </p:nvSpPr>
        <p:spPr>
          <a:xfrm>
            <a:off x="2416022" y="3239730"/>
            <a:ext cx="1787714" cy="1193338"/>
          </a:xfrm>
          <a:custGeom>
            <a:avLst/>
            <a:gdLst>
              <a:gd name="connsiteX0" fmla="*/ 1808300 w 1808300"/>
              <a:gd name="connsiteY0" fmla="*/ 0 h 1235881"/>
              <a:gd name="connsiteX1" fmla="*/ 1808300 w 1808300"/>
              <a:gd name="connsiteY1" fmla="*/ 1079230 h 1235881"/>
              <a:gd name="connsiteX2" fmla="*/ 0 w 1808300"/>
              <a:gd name="connsiteY2" fmla="*/ 1235881 h 1235881"/>
              <a:gd name="connsiteX3" fmla="*/ 0 w 1808300"/>
              <a:gd name="connsiteY3" fmla="*/ 350509 h 1235881"/>
            </a:gdLst>
            <a:ahLst/>
            <a:cxnLst>
              <a:cxn ang="0">
                <a:pos x="connsiteX0" y="connsiteY0"/>
              </a:cxn>
              <a:cxn ang="0">
                <a:pos x="connsiteX1" y="connsiteY1"/>
              </a:cxn>
              <a:cxn ang="0">
                <a:pos x="connsiteX2" y="connsiteY2"/>
              </a:cxn>
              <a:cxn ang="0">
                <a:pos x="connsiteX3" y="connsiteY3"/>
              </a:cxn>
            </a:cxnLst>
            <a:rect l="l" t="t" r="r" b="b"/>
            <a:pathLst>
              <a:path w="1808300" h="1235881">
                <a:moveTo>
                  <a:pt x="1808300" y="0"/>
                </a:moveTo>
                <a:lnTo>
                  <a:pt x="1808300" y="1079230"/>
                </a:lnTo>
                <a:lnTo>
                  <a:pt x="0" y="1235881"/>
                </a:lnTo>
                <a:lnTo>
                  <a:pt x="0" y="350509"/>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dirty="0">
              <a:ln>
                <a:noFill/>
              </a:ln>
              <a:solidFill>
                <a:srgbClr val="FFFFFF"/>
              </a:solidFill>
              <a:effectLst/>
              <a:uLnTx/>
              <a:uFillTx/>
              <a:latin typeface="OPPOSans R" panose="00020600040101010101" pitchFamily="18" charset="-122"/>
              <a:ea typeface="微软雅黑"/>
              <a:cs typeface="+mn-cs"/>
            </a:endParaRPr>
          </a:p>
        </p:txBody>
      </p:sp>
      <p:sp>
        <p:nvSpPr>
          <p:cNvPr id="26" name="gaoding-19">
            <a:extLst>
              <a:ext uri="{FF2B5EF4-FFF2-40B4-BE49-F238E27FC236}">
                <a16:creationId xmlns:a16="http://schemas.microsoft.com/office/drawing/2014/main" id="{37FFC067-D16F-4AE7-8E3B-AF49A724F5A8}"/>
              </a:ext>
            </a:extLst>
          </p:cNvPr>
          <p:cNvSpPr/>
          <p:nvPr/>
        </p:nvSpPr>
        <p:spPr>
          <a:xfrm flipH="1">
            <a:off x="4203736" y="3239730"/>
            <a:ext cx="1787714" cy="1193338"/>
          </a:xfrm>
          <a:custGeom>
            <a:avLst/>
            <a:gdLst>
              <a:gd name="connsiteX0" fmla="*/ 1808300 w 1808300"/>
              <a:gd name="connsiteY0" fmla="*/ 0 h 1235881"/>
              <a:gd name="connsiteX1" fmla="*/ 1808300 w 1808300"/>
              <a:gd name="connsiteY1" fmla="*/ 1079230 h 1235881"/>
              <a:gd name="connsiteX2" fmla="*/ 0 w 1808300"/>
              <a:gd name="connsiteY2" fmla="*/ 1235881 h 1235881"/>
              <a:gd name="connsiteX3" fmla="*/ 0 w 1808300"/>
              <a:gd name="connsiteY3" fmla="*/ 350509 h 1235881"/>
            </a:gdLst>
            <a:ahLst/>
            <a:cxnLst>
              <a:cxn ang="0">
                <a:pos x="connsiteX0" y="connsiteY0"/>
              </a:cxn>
              <a:cxn ang="0">
                <a:pos x="connsiteX1" y="connsiteY1"/>
              </a:cxn>
              <a:cxn ang="0">
                <a:pos x="connsiteX2" y="connsiteY2"/>
              </a:cxn>
              <a:cxn ang="0">
                <a:pos x="connsiteX3" y="connsiteY3"/>
              </a:cxn>
            </a:cxnLst>
            <a:rect l="l" t="t" r="r" b="b"/>
            <a:pathLst>
              <a:path w="1808300" h="1235881">
                <a:moveTo>
                  <a:pt x="1808300" y="0"/>
                </a:moveTo>
                <a:lnTo>
                  <a:pt x="1808300" y="1079230"/>
                </a:lnTo>
                <a:lnTo>
                  <a:pt x="0" y="1235881"/>
                </a:lnTo>
                <a:lnTo>
                  <a:pt x="0" y="350509"/>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dirty="0">
              <a:ln>
                <a:noFill/>
              </a:ln>
              <a:solidFill>
                <a:srgbClr val="FFFFFF"/>
              </a:solidFill>
              <a:effectLst/>
              <a:uLnTx/>
              <a:uFillTx/>
              <a:latin typeface="OPPOSans R" panose="00020600040101010101" pitchFamily="18" charset="-122"/>
              <a:ea typeface="微软雅黑"/>
              <a:cs typeface="+mn-cs"/>
            </a:endParaRPr>
          </a:p>
        </p:txBody>
      </p:sp>
      <p:sp>
        <p:nvSpPr>
          <p:cNvPr id="27" name="gaoding-20">
            <a:extLst>
              <a:ext uri="{FF2B5EF4-FFF2-40B4-BE49-F238E27FC236}">
                <a16:creationId xmlns:a16="http://schemas.microsoft.com/office/drawing/2014/main" id="{64210093-621D-405A-BFF1-5FC1284EE63B}"/>
              </a:ext>
            </a:extLst>
          </p:cNvPr>
          <p:cNvSpPr/>
          <p:nvPr/>
        </p:nvSpPr>
        <p:spPr>
          <a:xfrm>
            <a:off x="2907900" y="4577924"/>
            <a:ext cx="1295836" cy="843754"/>
          </a:xfrm>
          <a:custGeom>
            <a:avLst/>
            <a:gdLst>
              <a:gd name="connsiteX0" fmla="*/ 1808300 w 1808300"/>
              <a:gd name="connsiteY0" fmla="*/ 0 h 1235881"/>
              <a:gd name="connsiteX1" fmla="*/ 1808300 w 1808300"/>
              <a:gd name="connsiteY1" fmla="*/ 1079230 h 1235881"/>
              <a:gd name="connsiteX2" fmla="*/ 0 w 1808300"/>
              <a:gd name="connsiteY2" fmla="*/ 1235881 h 1235881"/>
              <a:gd name="connsiteX3" fmla="*/ 0 w 1808300"/>
              <a:gd name="connsiteY3" fmla="*/ 350509 h 1235881"/>
            </a:gdLst>
            <a:ahLst/>
            <a:cxnLst>
              <a:cxn ang="0">
                <a:pos x="connsiteX0" y="connsiteY0"/>
              </a:cxn>
              <a:cxn ang="0">
                <a:pos x="connsiteX1" y="connsiteY1"/>
              </a:cxn>
              <a:cxn ang="0">
                <a:pos x="connsiteX2" y="connsiteY2"/>
              </a:cxn>
              <a:cxn ang="0">
                <a:pos x="connsiteX3" y="connsiteY3"/>
              </a:cxn>
            </a:cxnLst>
            <a:rect l="l" t="t" r="r" b="b"/>
            <a:pathLst>
              <a:path w="1808300" h="1235881">
                <a:moveTo>
                  <a:pt x="1808300" y="0"/>
                </a:moveTo>
                <a:lnTo>
                  <a:pt x="1808300" y="1079230"/>
                </a:lnTo>
                <a:lnTo>
                  <a:pt x="0" y="1235881"/>
                </a:lnTo>
                <a:lnTo>
                  <a:pt x="0" y="350509"/>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dirty="0">
              <a:ln>
                <a:noFill/>
              </a:ln>
              <a:solidFill>
                <a:srgbClr val="FFFFFF"/>
              </a:solidFill>
              <a:effectLst/>
              <a:uLnTx/>
              <a:uFillTx/>
              <a:latin typeface="OPPOSans R" panose="00020600040101010101" pitchFamily="18" charset="-122"/>
              <a:ea typeface="微软雅黑"/>
              <a:cs typeface="+mn-cs"/>
            </a:endParaRPr>
          </a:p>
        </p:txBody>
      </p:sp>
      <p:sp>
        <p:nvSpPr>
          <p:cNvPr id="28" name="gaoding-21">
            <a:extLst>
              <a:ext uri="{FF2B5EF4-FFF2-40B4-BE49-F238E27FC236}">
                <a16:creationId xmlns:a16="http://schemas.microsoft.com/office/drawing/2014/main" id="{3E39D44B-A97C-4D7B-BFA8-ED7370D6AB6D}"/>
              </a:ext>
            </a:extLst>
          </p:cNvPr>
          <p:cNvSpPr/>
          <p:nvPr/>
        </p:nvSpPr>
        <p:spPr>
          <a:xfrm flipH="1">
            <a:off x="4203736" y="4577924"/>
            <a:ext cx="1295836" cy="843754"/>
          </a:xfrm>
          <a:custGeom>
            <a:avLst/>
            <a:gdLst>
              <a:gd name="connsiteX0" fmla="*/ 1808300 w 1808300"/>
              <a:gd name="connsiteY0" fmla="*/ 0 h 1235881"/>
              <a:gd name="connsiteX1" fmla="*/ 1808300 w 1808300"/>
              <a:gd name="connsiteY1" fmla="*/ 1079230 h 1235881"/>
              <a:gd name="connsiteX2" fmla="*/ 0 w 1808300"/>
              <a:gd name="connsiteY2" fmla="*/ 1235881 h 1235881"/>
              <a:gd name="connsiteX3" fmla="*/ 0 w 1808300"/>
              <a:gd name="connsiteY3" fmla="*/ 350509 h 1235881"/>
            </a:gdLst>
            <a:ahLst/>
            <a:cxnLst>
              <a:cxn ang="0">
                <a:pos x="connsiteX0" y="connsiteY0"/>
              </a:cxn>
              <a:cxn ang="0">
                <a:pos x="connsiteX1" y="connsiteY1"/>
              </a:cxn>
              <a:cxn ang="0">
                <a:pos x="connsiteX2" y="connsiteY2"/>
              </a:cxn>
              <a:cxn ang="0">
                <a:pos x="connsiteX3" y="connsiteY3"/>
              </a:cxn>
            </a:cxnLst>
            <a:rect l="l" t="t" r="r" b="b"/>
            <a:pathLst>
              <a:path w="1808300" h="1235881">
                <a:moveTo>
                  <a:pt x="1808300" y="0"/>
                </a:moveTo>
                <a:lnTo>
                  <a:pt x="1808300" y="1079230"/>
                </a:lnTo>
                <a:lnTo>
                  <a:pt x="0" y="1235881"/>
                </a:lnTo>
                <a:lnTo>
                  <a:pt x="0" y="350509"/>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dirty="0">
              <a:ln>
                <a:noFill/>
              </a:ln>
              <a:solidFill>
                <a:srgbClr val="FFFFFF"/>
              </a:solidFill>
              <a:effectLst/>
              <a:uLnTx/>
              <a:uFillTx/>
              <a:latin typeface="OPPOSans R" panose="00020600040101010101" pitchFamily="18" charset="-122"/>
              <a:ea typeface="微软雅黑"/>
              <a:cs typeface="+mn-cs"/>
            </a:endParaRPr>
          </a:p>
        </p:txBody>
      </p:sp>
      <p:sp>
        <p:nvSpPr>
          <p:cNvPr id="29" name="gaoding-22">
            <a:extLst>
              <a:ext uri="{FF2B5EF4-FFF2-40B4-BE49-F238E27FC236}">
                <a16:creationId xmlns:a16="http://schemas.microsoft.com/office/drawing/2014/main" id="{166F8602-F591-48B4-B4D3-FDD9424DBD1A}"/>
              </a:ext>
            </a:extLst>
          </p:cNvPr>
          <p:cNvSpPr/>
          <p:nvPr/>
        </p:nvSpPr>
        <p:spPr>
          <a:xfrm rot="21295839">
            <a:off x="2068638" y="2996897"/>
            <a:ext cx="2158914" cy="416391"/>
          </a:xfrm>
          <a:custGeom>
            <a:avLst/>
            <a:gdLst>
              <a:gd name="connsiteX0" fmla="*/ 0 w 1808300"/>
              <a:gd name="connsiteY0" fmla="*/ 0 h 836207"/>
              <a:gd name="connsiteX1" fmla="*/ 1808300 w 1808300"/>
              <a:gd name="connsiteY1" fmla="*/ 0 h 836207"/>
              <a:gd name="connsiteX2" fmla="*/ 1808300 w 1808300"/>
              <a:gd name="connsiteY2" fmla="*/ 836207 h 836207"/>
              <a:gd name="connsiteX3" fmla="*/ 0 w 1808300"/>
              <a:gd name="connsiteY3" fmla="*/ 836207 h 836207"/>
              <a:gd name="connsiteX4" fmla="*/ 0 w 1808300"/>
              <a:gd name="connsiteY4" fmla="*/ 0 h 836207"/>
              <a:gd name="connsiteX0" fmla="*/ 0 w 1826855"/>
              <a:gd name="connsiteY0" fmla="*/ 0 h 842635"/>
              <a:gd name="connsiteX1" fmla="*/ 1826855 w 1826855"/>
              <a:gd name="connsiteY1" fmla="*/ 6428 h 842635"/>
              <a:gd name="connsiteX2" fmla="*/ 1826855 w 1826855"/>
              <a:gd name="connsiteY2" fmla="*/ 842635 h 842635"/>
              <a:gd name="connsiteX3" fmla="*/ 18555 w 1826855"/>
              <a:gd name="connsiteY3" fmla="*/ 842635 h 842635"/>
              <a:gd name="connsiteX4" fmla="*/ 0 w 1826855"/>
              <a:gd name="connsiteY4" fmla="*/ 0 h 842635"/>
              <a:gd name="connsiteX0" fmla="*/ 0 w 1826855"/>
              <a:gd name="connsiteY0" fmla="*/ 0 h 842635"/>
              <a:gd name="connsiteX1" fmla="*/ 1826855 w 1826855"/>
              <a:gd name="connsiteY1" fmla="*/ 6428 h 842635"/>
              <a:gd name="connsiteX2" fmla="*/ 1805437 w 1826855"/>
              <a:gd name="connsiteY2" fmla="*/ 278473 h 842635"/>
              <a:gd name="connsiteX3" fmla="*/ 18555 w 1826855"/>
              <a:gd name="connsiteY3" fmla="*/ 842635 h 842635"/>
              <a:gd name="connsiteX4" fmla="*/ 0 w 1826855"/>
              <a:gd name="connsiteY4" fmla="*/ 0 h 842635"/>
              <a:gd name="connsiteX0" fmla="*/ 0 w 1826855"/>
              <a:gd name="connsiteY0" fmla="*/ 0 h 842635"/>
              <a:gd name="connsiteX1" fmla="*/ 1826855 w 1826855"/>
              <a:gd name="connsiteY1" fmla="*/ 6428 h 842635"/>
              <a:gd name="connsiteX2" fmla="*/ 1774996 w 1826855"/>
              <a:gd name="connsiteY2" fmla="*/ 242594 h 842635"/>
              <a:gd name="connsiteX3" fmla="*/ 18555 w 1826855"/>
              <a:gd name="connsiteY3" fmla="*/ 842635 h 842635"/>
              <a:gd name="connsiteX4" fmla="*/ 0 w 1826855"/>
              <a:gd name="connsiteY4" fmla="*/ 0 h 842635"/>
              <a:gd name="connsiteX0" fmla="*/ 0 w 1826855"/>
              <a:gd name="connsiteY0" fmla="*/ 0 h 842635"/>
              <a:gd name="connsiteX1" fmla="*/ 1826855 w 1826855"/>
              <a:gd name="connsiteY1" fmla="*/ 6428 h 842635"/>
              <a:gd name="connsiteX2" fmla="*/ 1802204 w 1826855"/>
              <a:gd name="connsiteY2" fmla="*/ 287682 h 842635"/>
              <a:gd name="connsiteX3" fmla="*/ 18555 w 1826855"/>
              <a:gd name="connsiteY3" fmla="*/ 842635 h 842635"/>
              <a:gd name="connsiteX4" fmla="*/ 0 w 1826855"/>
              <a:gd name="connsiteY4" fmla="*/ 0 h 842635"/>
              <a:gd name="connsiteX0" fmla="*/ 0 w 1826855"/>
              <a:gd name="connsiteY0" fmla="*/ 0 h 350476"/>
              <a:gd name="connsiteX1" fmla="*/ 1826855 w 1826855"/>
              <a:gd name="connsiteY1" fmla="*/ 6428 h 350476"/>
              <a:gd name="connsiteX2" fmla="*/ 1802204 w 1826855"/>
              <a:gd name="connsiteY2" fmla="*/ 287682 h 350476"/>
              <a:gd name="connsiteX3" fmla="*/ 1036767 w 1826855"/>
              <a:gd name="connsiteY3" fmla="*/ 350476 h 350476"/>
              <a:gd name="connsiteX4" fmla="*/ 0 w 1826855"/>
              <a:gd name="connsiteY4" fmla="*/ 0 h 350476"/>
              <a:gd name="connsiteX0" fmla="*/ 0 w 1826855"/>
              <a:gd name="connsiteY0" fmla="*/ 0 h 355906"/>
              <a:gd name="connsiteX1" fmla="*/ 1826855 w 1826855"/>
              <a:gd name="connsiteY1" fmla="*/ 6428 h 355906"/>
              <a:gd name="connsiteX2" fmla="*/ 1802204 w 1826855"/>
              <a:gd name="connsiteY2" fmla="*/ 287682 h 355906"/>
              <a:gd name="connsiteX3" fmla="*/ 1098804 w 1826855"/>
              <a:gd name="connsiteY3" fmla="*/ 355906 h 355906"/>
              <a:gd name="connsiteX4" fmla="*/ 0 w 1826855"/>
              <a:gd name="connsiteY4" fmla="*/ 0 h 3559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6855" h="355906">
                <a:moveTo>
                  <a:pt x="0" y="0"/>
                </a:moveTo>
                <a:lnTo>
                  <a:pt x="1826855" y="6428"/>
                </a:lnTo>
                <a:lnTo>
                  <a:pt x="1802204" y="287682"/>
                </a:lnTo>
                <a:lnTo>
                  <a:pt x="1098804" y="355906"/>
                </a:lnTo>
                <a:lnTo>
                  <a:pt x="0" y="0"/>
                </a:lnTo>
                <a:close/>
              </a:path>
            </a:pathLst>
          </a:cu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dirty="0">
              <a:ln>
                <a:noFill/>
              </a:ln>
              <a:solidFill>
                <a:srgbClr val="FFFFFF"/>
              </a:solidFill>
              <a:effectLst/>
              <a:uLnTx/>
              <a:uFillTx/>
              <a:latin typeface="OPPOSans R" panose="00020600040101010101" pitchFamily="18" charset="-122"/>
              <a:ea typeface="微软雅黑"/>
              <a:cs typeface="+mn-cs"/>
            </a:endParaRPr>
          </a:p>
        </p:txBody>
      </p:sp>
      <p:sp>
        <p:nvSpPr>
          <p:cNvPr id="30" name="gaoding-23">
            <a:extLst>
              <a:ext uri="{FF2B5EF4-FFF2-40B4-BE49-F238E27FC236}">
                <a16:creationId xmlns:a16="http://schemas.microsoft.com/office/drawing/2014/main" id="{23934785-0C46-4716-BD8A-9648B3E812DD}"/>
              </a:ext>
            </a:extLst>
          </p:cNvPr>
          <p:cNvSpPr/>
          <p:nvPr/>
        </p:nvSpPr>
        <p:spPr>
          <a:xfrm rot="304161" flipH="1">
            <a:off x="4183700" y="4354602"/>
            <a:ext cx="1790625" cy="372464"/>
          </a:xfrm>
          <a:custGeom>
            <a:avLst/>
            <a:gdLst>
              <a:gd name="connsiteX0" fmla="*/ 0 w 1808300"/>
              <a:gd name="connsiteY0" fmla="*/ 0 h 836207"/>
              <a:gd name="connsiteX1" fmla="*/ 1808300 w 1808300"/>
              <a:gd name="connsiteY1" fmla="*/ 0 h 836207"/>
              <a:gd name="connsiteX2" fmla="*/ 1808300 w 1808300"/>
              <a:gd name="connsiteY2" fmla="*/ 836207 h 836207"/>
              <a:gd name="connsiteX3" fmla="*/ 0 w 1808300"/>
              <a:gd name="connsiteY3" fmla="*/ 836207 h 836207"/>
              <a:gd name="connsiteX4" fmla="*/ 0 w 1808300"/>
              <a:gd name="connsiteY4" fmla="*/ 0 h 836207"/>
              <a:gd name="connsiteX0" fmla="*/ 0 w 1826855"/>
              <a:gd name="connsiteY0" fmla="*/ 0 h 842635"/>
              <a:gd name="connsiteX1" fmla="*/ 1826855 w 1826855"/>
              <a:gd name="connsiteY1" fmla="*/ 6428 h 842635"/>
              <a:gd name="connsiteX2" fmla="*/ 1826855 w 1826855"/>
              <a:gd name="connsiteY2" fmla="*/ 842635 h 842635"/>
              <a:gd name="connsiteX3" fmla="*/ 18555 w 1826855"/>
              <a:gd name="connsiteY3" fmla="*/ 842635 h 842635"/>
              <a:gd name="connsiteX4" fmla="*/ 0 w 1826855"/>
              <a:gd name="connsiteY4" fmla="*/ 0 h 842635"/>
              <a:gd name="connsiteX0" fmla="*/ 0 w 1826855"/>
              <a:gd name="connsiteY0" fmla="*/ 0 h 842635"/>
              <a:gd name="connsiteX1" fmla="*/ 1826855 w 1826855"/>
              <a:gd name="connsiteY1" fmla="*/ 6428 h 842635"/>
              <a:gd name="connsiteX2" fmla="*/ 1805437 w 1826855"/>
              <a:gd name="connsiteY2" fmla="*/ 278473 h 842635"/>
              <a:gd name="connsiteX3" fmla="*/ 18555 w 1826855"/>
              <a:gd name="connsiteY3" fmla="*/ 842635 h 842635"/>
              <a:gd name="connsiteX4" fmla="*/ 0 w 1826855"/>
              <a:gd name="connsiteY4" fmla="*/ 0 h 842635"/>
              <a:gd name="connsiteX0" fmla="*/ 0 w 1826855"/>
              <a:gd name="connsiteY0" fmla="*/ 0 h 842635"/>
              <a:gd name="connsiteX1" fmla="*/ 1826855 w 1826855"/>
              <a:gd name="connsiteY1" fmla="*/ 6428 h 842635"/>
              <a:gd name="connsiteX2" fmla="*/ 1774996 w 1826855"/>
              <a:gd name="connsiteY2" fmla="*/ 242594 h 842635"/>
              <a:gd name="connsiteX3" fmla="*/ 18555 w 1826855"/>
              <a:gd name="connsiteY3" fmla="*/ 842635 h 842635"/>
              <a:gd name="connsiteX4" fmla="*/ 0 w 1826855"/>
              <a:gd name="connsiteY4" fmla="*/ 0 h 842635"/>
              <a:gd name="connsiteX0" fmla="*/ 0 w 1826855"/>
              <a:gd name="connsiteY0" fmla="*/ 0 h 842635"/>
              <a:gd name="connsiteX1" fmla="*/ 1826855 w 1826855"/>
              <a:gd name="connsiteY1" fmla="*/ 6428 h 842635"/>
              <a:gd name="connsiteX2" fmla="*/ 1802204 w 1826855"/>
              <a:gd name="connsiteY2" fmla="*/ 287682 h 842635"/>
              <a:gd name="connsiteX3" fmla="*/ 18555 w 1826855"/>
              <a:gd name="connsiteY3" fmla="*/ 842635 h 842635"/>
              <a:gd name="connsiteX4" fmla="*/ 0 w 1826855"/>
              <a:gd name="connsiteY4" fmla="*/ 0 h 842635"/>
              <a:gd name="connsiteX0" fmla="*/ 0 w 1826855"/>
              <a:gd name="connsiteY0" fmla="*/ 0 h 350476"/>
              <a:gd name="connsiteX1" fmla="*/ 1826855 w 1826855"/>
              <a:gd name="connsiteY1" fmla="*/ 6428 h 350476"/>
              <a:gd name="connsiteX2" fmla="*/ 1802204 w 1826855"/>
              <a:gd name="connsiteY2" fmla="*/ 287682 h 350476"/>
              <a:gd name="connsiteX3" fmla="*/ 1036767 w 1826855"/>
              <a:gd name="connsiteY3" fmla="*/ 350476 h 350476"/>
              <a:gd name="connsiteX4" fmla="*/ 0 w 1826855"/>
              <a:gd name="connsiteY4" fmla="*/ 0 h 350476"/>
              <a:gd name="connsiteX0" fmla="*/ 0 w 1826855"/>
              <a:gd name="connsiteY0" fmla="*/ 0 h 355906"/>
              <a:gd name="connsiteX1" fmla="*/ 1826855 w 1826855"/>
              <a:gd name="connsiteY1" fmla="*/ 6428 h 355906"/>
              <a:gd name="connsiteX2" fmla="*/ 1802204 w 1826855"/>
              <a:gd name="connsiteY2" fmla="*/ 287682 h 355906"/>
              <a:gd name="connsiteX3" fmla="*/ 1098804 w 1826855"/>
              <a:gd name="connsiteY3" fmla="*/ 355906 h 355906"/>
              <a:gd name="connsiteX4" fmla="*/ 0 w 1826855"/>
              <a:gd name="connsiteY4" fmla="*/ 0 h 355906"/>
              <a:gd name="connsiteX0" fmla="*/ 0 w 1826855"/>
              <a:gd name="connsiteY0" fmla="*/ 0 h 343621"/>
              <a:gd name="connsiteX1" fmla="*/ 1826855 w 1826855"/>
              <a:gd name="connsiteY1" fmla="*/ 6428 h 343621"/>
              <a:gd name="connsiteX2" fmla="*/ 1802204 w 1826855"/>
              <a:gd name="connsiteY2" fmla="*/ 287682 h 343621"/>
              <a:gd name="connsiteX3" fmla="*/ 1071111 w 1826855"/>
              <a:gd name="connsiteY3" fmla="*/ 343621 h 343621"/>
              <a:gd name="connsiteX4" fmla="*/ 0 w 1826855"/>
              <a:gd name="connsiteY4" fmla="*/ 0 h 343621"/>
              <a:gd name="connsiteX0" fmla="*/ 0 w 1826855"/>
              <a:gd name="connsiteY0" fmla="*/ 0 h 343621"/>
              <a:gd name="connsiteX1" fmla="*/ 1826855 w 1826855"/>
              <a:gd name="connsiteY1" fmla="*/ 6428 h 343621"/>
              <a:gd name="connsiteX2" fmla="*/ 1800351 w 1826855"/>
              <a:gd name="connsiteY2" fmla="*/ 277404 h 343621"/>
              <a:gd name="connsiteX3" fmla="*/ 1071111 w 1826855"/>
              <a:gd name="connsiteY3" fmla="*/ 343621 h 343621"/>
              <a:gd name="connsiteX4" fmla="*/ 0 w 1826855"/>
              <a:gd name="connsiteY4" fmla="*/ 0 h 343621"/>
              <a:gd name="connsiteX0" fmla="*/ 0 w 1826855"/>
              <a:gd name="connsiteY0" fmla="*/ 0 h 343621"/>
              <a:gd name="connsiteX1" fmla="*/ 1826855 w 1826855"/>
              <a:gd name="connsiteY1" fmla="*/ 6428 h 343621"/>
              <a:gd name="connsiteX2" fmla="*/ 1799842 w 1826855"/>
              <a:gd name="connsiteY2" fmla="*/ 282432 h 343621"/>
              <a:gd name="connsiteX3" fmla="*/ 1071111 w 1826855"/>
              <a:gd name="connsiteY3" fmla="*/ 343621 h 343621"/>
              <a:gd name="connsiteX4" fmla="*/ 0 w 1826855"/>
              <a:gd name="connsiteY4" fmla="*/ 0 h 343621"/>
              <a:gd name="connsiteX0" fmla="*/ 0 w 1827534"/>
              <a:gd name="connsiteY0" fmla="*/ 275 h 337193"/>
              <a:gd name="connsiteX1" fmla="*/ 1827534 w 1827534"/>
              <a:gd name="connsiteY1" fmla="*/ 0 h 337193"/>
              <a:gd name="connsiteX2" fmla="*/ 1800521 w 1827534"/>
              <a:gd name="connsiteY2" fmla="*/ 276004 h 337193"/>
              <a:gd name="connsiteX3" fmla="*/ 1071790 w 1827534"/>
              <a:gd name="connsiteY3" fmla="*/ 337193 h 337193"/>
              <a:gd name="connsiteX4" fmla="*/ 0 w 1827534"/>
              <a:gd name="connsiteY4" fmla="*/ 275 h 337193"/>
              <a:gd name="connsiteX0" fmla="*/ 0 w 1823366"/>
              <a:gd name="connsiteY0" fmla="*/ 0 h 339973"/>
              <a:gd name="connsiteX1" fmla="*/ 1823366 w 1823366"/>
              <a:gd name="connsiteY1" fmla="*/ 2780 h 339973"/>
              <a:gd name="connsiteX2" fmla="*/ 1796353 w 1823366"/>
              <a:gd name="connsiteY2" fmla="*/ 278784 h 339973"/>
              <a:gd name="connsiteX3" fmla="*/ 1067622 w 1823366"/>
              <a:gd name="connsiteY3" fmla="*/ 339973 h 339973"/>
              <a:gd name="connsiteX4" fmla="*/ 0 w 1823366"/>
              <a:gd name="connsiteY4" fmla="*/ 0 h 3399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3366" h="339973">
                <a:moveTo>
                  <a:pt x="0" y="0"/>
                </a:moveTo>
                <a:lnTo>
                  <a:pt x="1823366" y="2780"/>
                </a:lnTo>
                <a:lnTo>
                  <a:pt x="1796353" y="278784"/>
                </a:lnTo>
                <a:lnTo>
                  <a:pt x="1067622" y="339973"/>
                </a:lnTo>
                <a:lnTo>
                  <a:pt x="0" y="0"/>
                </a:lnTo>
                <a:close/>
              </a:path>
            </a:pathLst>
          </a:custGeom>
          <a:solidFill>
            <a:schemeClr val="bg2">
              <a:lumMod val="90000"/>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dirty="0">
              <a:ln>
                <a:noFill/>
              </a:ln>
              <a:solidFill>
                <a:srgbClr val="FFFFFF"/>
              </a:solidFill>
              <a:effectLst/>
              <a:uLnTx/>
              <a:uFillTx/>
              <a:latin typeface="OPPOSans R" panose="00020600040101010101" pitchFamily="18" charset="-122"/>
              <a:ea typeface="微软雅黑"/>
              <a:cs typeface="+mn-cs"/>
            </a:endParaRPr>
          </a:p>
        </p:txBody>
      </p:sp>
      <p:sp>
        <p:nvSpPr>
          <p:cNvPr id="31" name="gaoding-24">
            <a:extLst>
              <a:ext uri="{FF2B5EF4-FFF2-40B4-BE49-F238E27FC236}">
                <a16:creationId xmlns:a16="http://schemas.microsoft.com/office/drawing/2014/main" id="{268ABBB3-B0AF-4EED-B0BB-FD499E0468F3}"/>
              </a:ext>
            </a:extLst>
          </p:cNvPr>
          <p:cNvSpPr/>
          <p:nvPr/>
        </p:nvSpPr>
        <p:spPr>
          <a:xfrm>
            <a:off x="2907215" y="5313458"/>
            <a:ext cx="1296522" cy="1044714"/>
          </a:xfrm>
          <a:custGeom>
            <a:avLst/>
            <a:gdLst>
              <a:gd name="connsiteX0" fmla="*/ 0 w 1294388"/>
              <a:gd name="connsiteY0" fmla="*/ 1306958 h 1306958"/>
              <a:gd name="connsiteX1" fmla="*/ 0 w 1294388"/>
              <a:gd name="connsiteY1" fmla="*/ 0 h 1306958"/>
              <a:gd name="connsiteX2" fmla="*/ 1294388 w 1294388"/>
              <a:gd name="connsiteY2" fmla="*/ 1306958 h 1306958"/>
              <a:gd name="connsiteX3" fmla="*/ 0 w 1294388"/>
              <a:gd name="connsiteY3" fmla="*/ 1306958 h 1306958"/>
              <a:gd name="connsiteX0" fmla="*/ 0 w 2399288"/>
              <a:gd name="connsiteY0" fmla="*/ 87758 h 1306958"/>
              <a:gd name="connsiteX1" fmla="*/ 1104900 w 2399288"/>
              <a:gd name="connsiteY1" fmla="*/ 0 h 1306958"/>
              <a:gd name="connsiteX2" fmla="*/ 2399288 w 2399288"/>
              <a:gd name="connsiteY2" fmla="*/ 1306958 h 1306958"/>
              <a:gd name="connsiteX3" fmla="*/ 0 w 2399288"/>
              <a:gd name="connsiteY3" fmla="*/ 87758 h 1306958"/>
              <a:gd name="connsiteX0" fmla="*/ 0 w 1104900"/>
              <a:gd name="connsiteY0" fmla="*/ 87758 h 897383"/>
              <a:gd name="connsiteX1" fmla="*/ 1104900 w 1104900"/>
              <a:gd name="connsiteY1" fmla="*/ 0 h 897383"/>
              <a:gd name="connsiteX2" fmla="*/ 1099126 w 1104900"/>
              <a:gd name="connsiteY2" fmla="*/ 897383 h 897383"/>
              <a:gd name="connsiteX3" fmla="*/ 0 w 1104900"/>
              <a:gd name="connsiteY3" fmla="*/ 87758 h 897383"/>
              <a:gd name="connsiteX0" fmla="*/ 0 w 1095375"/>
              <a:gd name="connsiteY0" fmla="*/ 99665 h 897383"/>
              <a:gd name="connsiteX1" fmla="*/ 1095375 w 1095375"/>
              <a:gd name="connsiteY1" fmla="*/ 0 h 897383"/>
              <a:gd name="connsiteX2" fmla="*/ 1089601 w 1095375"/>
              <a:gd name="connsiteY2" fmla="*/ 897383 h 897383"/>
              <a:gd name="connsiteX3" fmla="*/ 0 w 1095375"/>
              <a:gd name="connsiteY3" fmla="*/ 99665 h 897383"/>
              <a:gd name="connsiteX0" fmla="*/ 0 w 1090612"/>
              <a:gd name="connsiteY0" fmla="*/ 92522 h 897383"/>
              <a:gd name="connsiteX1" fmla="*/ 1090612 w 1090612"/>
              <a:gd name="connsiteY1" fmla="*/ 0 h 897383"/>
              <a:gd name="connsiteX2" fmla="*/ 1084838 w 1090612"/>
              <a:gd name="connsiteY2" fmla="*/ 897383 h 897383"/>
              <a:gd name="connsiteX3" fmla="*/ 0 w 1090612"/>
              <a:gd name="connsiteY3" fmla="*/ 92522 h 897383"/>
              <a:gd name="connsiteX0" fmla="*/ 0 w 1090612"/>
              <a:gd name="connsiteY0" fmla="*/ 92522 h 899764"/>
              <a:gd name="connsiteX1" fmla="*/ 1090612 w 1090612"/>
              <a:gd name="connsiteY1" fmla="*/ 0 h 899764"/>
              <a:gd name="connsiteX2" fmla="*/ 1089601 w 1090612"/>
              <a:gd name="connsiteY2" fmla="*/ 899764 h 899764"/>
              <a:gd name="connsiteX3" fmla="*/ 0 w 1090612"/>
              <a:gd name="connsiteY3" fmla="*/ 92522 h 899764"/>
            </a:gdLst>
            <a:ahLst/>
            <a:cxnLst>
              <a:cxn ang="0">
                <a:pos x="connsiteX0" y="connsiteY0"/>
              </a:cxn>
              <a:cxn ang="0">
                <a:pos x="connsiteX1" y="connsiteY1"/>
              </a:cxn>
              <a:cxn ang="0">
                <a:pos x="connsiteX2" y="connsiteY2"/>
              </a:cxn>
              <a:cxn ang="0">
                <a:pos x="connsiteX3" y="connsiteY3"/>
              </a:cxn>
            </a:cxnLst>
            <a:rect l="l" t="t" r="r" b="b"/>
            <a:pathLst>
              <a:path w="1090612" h="899764">
                <a:moveTo>
                  <a:pt x="0" y="92522"/>
                </a:moveTo>
                <a:lnTo>
                  <a:pt x="1090612" y="0"/>
                </a:lnTo>
                <a:cubicBezTo>
                  <a:pt x="1088687" y="299128"/>
                  <a:pt x="1091526" y="600636"/>
                  <a:pt x="1089601" y="899764"/>
                </a:cubicBezTo>
                <a:lnTo>
                  <a:pt x="0" y="92522"/>
                </a:lnTo>
                <a:close/>
              </a:path>
            </a:pathLst>
          </a:cu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dirty="0">
              <a:ln>
                <a:noFill/>
              </a:ln>
              <a:solidFill>
                <a:srgbClr val="FFFFFF"/>
              </a:solidFill>
              <a:effectLst/>
              <a:uLnTx/>
              <a:uFillTx/>
              <a:latin typeface="OPPOSans R" panose="00020600040101010101" pitchFamily="18" charset="-122"/>
              <a:ea typeface="微软雅黑"/>
              <a:cs typeface="+mn-cs"/>
            </a:endParaRPr>
          </a:p>
        </p:txBody>
      </p:sp>
      <p:sp>
        <p:nvSpPr>
          <p:cNvPr id="32" name="gaoding-25">
            <a:extLst>
              <a:ext uri="{FF2B5EF4-FFF2-40B4-BE49-F238E27FC236}">
                <a16:creationId xmlns:a16="http://schemas.microsoft.com/office/drawing/2014/main" id="{49599E0D-6C11-4132-9B12-2A7A5D70A8D8}"/>
              </a:ext>
            </a:extLst>
          </p:cNvPr>
          <p:cNvSpPr/>
          <p:nvPr/>
        </p:nvSpPr>
        <p:spPr>
          <a:xfrm flipH="1">
            <a:off x="4203050" y="5313458"/>
            <a:ext cx="1296522" cy="1044714"/>
          </a:xfrm>
          <a:custGeom>
            <a:avLst/>
            <a:gdLst>
              <a:gd name="connsiteX0" fmla="*/ 0 w 1294388"/>
              <a:gd name="connsiteY0" fmla="*/ 1306958 h 1306958"/>
              <a:gd name="connsiteX1" fmla="*/ 0 w 1294388"/>
              <a:gd name="connsiteY1" fmla="*/ 0 h 1306958"/>
              <a:gd name="connsiteX2" fmla="*/ 1294388 w 1294388"/>
              <a:gd name="connsiteY2" fmla="*/ 1306958 h 1306958"/>
              <a:gd name="connsiteX3" fmla="*/ 0 w 1294388"/>
              <a:gd name="connsiteY3" fmla="*/ 1306958 h 1306958"/>
              <a:gd name="connsiteX0" fmla="*/ 0 w 2399288"/>
              <a:gd name="connsiteY0" fmla="*/ 87758 h 1306958"/>
              <a:gd name="connsiteX1" fmla="*/ 1104900 w 2399288"/>
              <a:gd name="connsiteY1" fmla="*/ 0 h 1306958"/>
              <a:gd name="connsiteX2" fmla="*/ 2399288 w 2399288"/>
              <a:gd name="connsiteY2" fmla="*/ 1306958 h 1306958"/>
              <a:gd name="connsiteX3" fmla="*/ 0 w 2399288"/>
              <a:gd name="connsiteY3" fmla="*/ 87758 h 1306958"/>
              <a:gd name="connsiteX0" fmla="*/ 0 w 1104900"/>
              <a:gd name="connsiteY0" fmla="*/ 87758 h 897383"/>
              <a:gd name="connsiteX1" fmla="*/ 1104900 w 1104900"/>
              <a:gd name="connsiteY1" fmla="*/ 0 h 897383"/>
              <a:gd name="connsiteX2" fmla="*/ 1099126 w 1104900"/>
              <a:gd name="connsiteY2" fmla="*/ 897383 h 897383"/>
              <a:gd name="connsiteX3" fmla="*/ 0 w 1104900"/>
              <a:gd name="connsiteY3" fmla="*/ 87758 h 897383"/>
              <a:gd name="connsiteX0" fmla="*/ 0 w 1095375"/>
              <a:gd name="connsiteY0" fmla="*/ 99665 h 897383"/>
              <a:gd name="connsiteX1" fmla="*/ 1095375 w 1095375"/>
              <a:gd name="connsiteY1" fmla="*/ 0 h 897383"/>
              <a:gd name="connsiteX2" fmla="*/ 1089601 w 1095375"/>
              <a:gd name="connsiteY2" fmla="*/ 897383 h 897383"/>
              <a:gd name="connsiteX3" fmla="*/ 0 w 1095375"/>
              <a:gd name="connsiteY3" fmla="*/ 99665 h 897383"/>
              <a:gd name="connsiteX0" fmla="*/ 0 w 1090612"/>
              <a:gd name="connsiteY0" fmla="*/ 92522 h 897383"/>
              <a:gd name="connsiteX1" fmla="*/ 1090612 w 1090612"/>
              <a:gd name="connsiteY1" fmla="*/ 0 h 897383"/>
              <a:gd name="connsiteX2" fmla="*/ 1084838 w 1090612"/>
              <a:gd name="connsiteY2" fmla="*/ 897383 h 897383"/>
              <a:gd name="connsiteX3" fmla="*/ 0 w 1090612"/>
              <a:gd name="connsiteY3" fmla="*/ 92522 h 897383"/>
              <a:gd name="connsiteX0" fmla="*/ 0 w 1090612"/>
              <a:gd name="connsiteY0" fmla="*/ 92522 h 899764"/>
              <a:gd name="connsiteX1" fmla="*/ 1090612 w 1090612"/>
              <a:gd name="connsiteY1" fmla="*/ 0 h 899764"/>
              <a:gd name="connsiteX2" fmla="*/ 1089601 w 1090612"/>
              <a:gd name="connsiteY2" fmla="*/ 899764 h 899764"/>
              <a:gd name="connsiteX3" fmla="*/ 0 w 1090612"/>
              <a:gd name="connsiteY3" fmla="*/ 92522 h 899764"/>
            </a:gdLst>
            <a:ahLst/>
            <a:cxnLst>
              <a:cxn ang="0">
                <a:pos x="connsiteX0" y="connsiteY0"/>
              </a:cxn>
              <a:cxn ang="0">
                <a:pos x="connsiteX1" y="connsiteY1"/>
              </a:cxn>
              <a:cxn ang="0">
                <a:pos x="connsiteX2" y="connsiteY2"/>
              </a:cxn>
              <a:cxn ang="0">
                <a:pos x="connsiteX3" y="connsiteY3"/>
              </a:cxn>
            </a:cxnLst>
            <a:rect l="l" t="t" r="r" b="b"/>
            <a:pathLst>
              <a:path w="1090612" h="899764">
                <a:moveTo>
                  <a:pt x="0" y="92522"/>
                </a:moveTo>
                <a:lnTo>
                  <a:pt x="1090612" y="0"/>
                </a:lnTo>
                <a:cubicBezTo>
                  <a:pt x="1088687" y="299128"/>
                  <a:pt x="1091526" y="600636"/>
                  <a:pt x="1089601" y="899764"/>
                </a:cubicBezTo>
                <a:lnTo>
                  <a:pt x="0" y="92522"/>
                </a:lnTo>
                <a:close/>
              </a:path>
            </a:pathLst>
          </a:custGeom>
          <a:solidFill>
            <a:schemeClr val="bg2">
              <a:lumMod val="90000"/>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dirty="0">
              <a:ln>
                <a:noFill/>
              </a:ln>
              <a:solidFill>
                <a:srgbClr val="FFFFFF"/>
              </a:solidFill>
              <a:effectLst/>
              <a:uLnTx/>
              <a:uFillTx/>
              <a:latin typeface="OPPOSans R" panose="00020600040101010101" pitchFamily="18" charset="-122"/>
              <a:ea typeface="微软雅黑"/>
              <a:cs typeface="+mn-cs"/>
            </a:endParaRPr>
          </a:p>
        </p:txBody>
      </p:sp>
      <p:sp>
        <p:nvSpPr>
          <p:cNvPr id="20" name="gaoding-26">
            <a:extLst>
              <a:ext uri="{FF2B5EF4-FFF2-40B4-BE49-F238E27FC236}">
                <a16:creationId xmlns:a16="http://schemas.microsoft.com/office/drawing/2014/main" id="{7E184A9D-6B4E-406F-8BCC-69C710A1CECE}"/>
              </a:ext>
            </a:extLst>
          </p:cNvPr>
          <p:cNvSpPr txBox="1"/>
          <p:nvPr/>
        </p:nvSpPr>
        <p:spPr>
          <a:xfrm>
            <a:off x="4795200" y="2144538"/>
            <a:ext cx="1199684"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FFFFFF"/>
                </a:solidFill>
                <a:effectLst/>
                <a:uLnTx/>
                <a:uFillTx/>
                <a:latin typeface="OPPOSans B" panose="00020600040101010101" pitchFamily="18" charset="-122"/>
                <a:ea typeface="OPPOSans B" panose="00020600040101010101" pitchFamily="18" charset="-122"/>
                <a:cs typeface="OPPOSans B" panose="00020600040101010101" pitchFamily="18" charset="-122"/>
              </a:rPr>
              <a:t>40%</a:t>
            </a:r>
            <a:endParaRPr kumimoji="0" lang="id-ID" sz="2800" b="1" i="0" u="none" strike="noStrike" kern="1200" cap="none" spc="0" normalizeH="0" baseline="0" noProof="0" dirty="0">
              <a:ln>
                <a:noFill/>
              </a:ln>
              <a:solidFill>
                <a:srgbClr val="FFFFFF"/>
              </a:solidFill>
              <a:effectLst/>
              <a:uLnTx/>
              <a:uFillTx/>
              <a:latin typeface="OPPOSans B" panose="00020600040101010101" pitchFamily="18" charset="-122"/>
              <a:ea typeface="OPPOSans B" panose="00020600040101010101" pitchFamily="18" charset="-122"/>
              <a:cs typeface="OPPOSans B" panose="00020600040101010101" pitchFamily="18" charset="-122"/>
            </a:endParaRPr>
          </a:p>
        </p:txBody>
      </p:sp>
      <p:sp>
        <p:nvSpPr>
          <p:cNvPr id="21" name="gaoding-27">
            <a:extLst>
              <a:ext uri="{FF2B5EF4-FFF2-40B4-BE49-F238E27FC236}">
                <a16:creationId xmlns:a16="http://schemas.microsoft.com/office/drawing/2014/main" id="{EB47192E-26B8-4A49-9D45-5CE6176A4B1C}"/>
              </a:ext>
            </a:extLst>
          </p:cNvPr>
          <p:cNvSpPr txBox="1"/>
          <p:nvPr/>
        </p:nvSpPr>
        <p:spPr>
          <a:xfrm>
            <a:off x="4565295" y="3661206"/>
            <a:ext cx="1199684"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FFFFFF"/>
                </a:solidFill>
                <a:effectLst/>
                <a:uLnTx/>
                <a:uFillTx/>
                <a:latin typeface="OPPOSans B" panose="00020600040101010101" pitchFamily="18" charset="-122"/>
                <a:ea typeface="OPPOSans B" panose="00020600040101010101" pitchFamily="18" charset="-122"/>
                <a:cs typeface="OPPOSans B" panose="00020600040101010101" pitchFamily="18" charset="-122"/>
              </a:rPr>
              <a:t>80%</a:t>
            </a:r>
            <a:endParaRPr kumimoji="0" lang="id-ID" sz="2400" b="1" i="0" u="none" strike="noStrike" kern="1200" cap="none" spc="0" normalizeH="0" baseline="0" noProof="0" dirty="0">
              <a:ln>
                <a:noFill/>
              </a:ln>
              <a:solidFill>
                <a:srgbClr val="FFFFFF"/>
              </a:solidFill>
              <a:effectLst/>
              <a:uLnTx/>
              <a:uFillTx/>
              <a:latin typeface="OPPOSans B" panose="00020600040101010101" pitchFamily="18" charset="-122"/>
              <a:ea typeface="OPPOSans B" panose="00020600040101010101" pitchFamily="18" charset="-122"/>
              <a:cs typeface="OPPOSans B" panose="00020600040101010101" pitchFamily="18" charset="-122"/>
            </a:endParaRPr>
          </a:p>
        </p:txBody>
      </p:sp>
      <p:sp>
        <p:nvSpPr>
          <p:cNvPr id="22" name="gaoding-28">
            <a:extLst>
              <a:ext uri="{FF2B5EF4-FFF2-40B4-BE49-F238E27FC236}">
                <a16:creationId xmlns:a16="http://schemas.microsoft.com/office/drawing/2014/main" id="{BF6CAEAD-21D5-41AA-8190-198AE369CD4C}"/>
              </a:ext>
            </a:extLst>
          </p:cNvPr>
          <p:cNvSpPr txBox="1"/>
          <p:nvPr/>
        </p:nvSpPr>
        <p:spPr>
          <a:xfrm>
            <a:off x="4416523" y="4817902"/>
            <a:ext cx="1199684"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FFFFFF"/>
                </a:solidFill>
                <a:effectLst/>
                <a:uLnTx/>
                <a:uFillTx/>
                <a:latin typeface="OPPOSans B" panose="00020600040101010101" pitchFamily="18" charset="-122"/>
                <a:ea typeface="OPPOSans B" panose="00020600040101010101" pitchFamily="18" charset="-122"/>
                <a:cs typeface="OPPOSans B" panose="00020600040101010101" pitchFamily="18" charset="-122"/>
              </a:rPr>
              <a:t>30%</a:t>
            </a:r>
            <a:endParaRPr kumimoji="0" lang="id-ID" sz="2000" b="1" i="0" u="none" strike="noStrike" kern="1200" cap="none" spc="0" normalizeH="0" baseline="0" noProof="0" dirty="0">
              <a:ln>
                <a:noFill/>
              </a:ln>
              <a:solidFill>
                <a:srgbClr val="FFFFFF"/>
              </a:solidFill>
              <a:effectLst/>
              <a:uLnTx/>
              <a:uFillTx/>
              <a:latin typeface="OPPOSans B" panose="00020600040101010101" pitchFamily="18" charset="-122"/>
              <a:ea typeface="OPPOSans B" panose="00020600040101010101" pitchFamily="18" charset="-122"/>
              <a:cs typeface="OPPOSans B" panose="00020600040101010101" pitchFamily="18" charset="-122"/>
            </a:endParaRPr>
          </a:p>
        </p:txBody>
      </p:sp>
      <p:sp>
        <p:nvSpPr>
          <p:cNvPr id="64" name="gaoding-29">
            <a:extLst>
              <a:ext uri="{FF2B5EF4-FFF2-40B4-BE49-F238E27FC236}">
                <a16:creationId xmlns:a16="http://schemas.microsoft.com/office/drawing/2014/main" id="{F0880BB2-BC70-4A20-B802-3501BB9F8760}"/>
              </a:ext>
            </a:extLst>
          </p:cNvPr>
          <p:cNvSpPr/>
          <p:nvPr/>
        </p:nvSpPr>
        <p:spPr>
          <a:xfrm>
            <a:off x="3050115" y="2191002"/>
            <a:ext cx="389103" cy="372766"/>
          </a:xfrm>
          <a:custGeom>
            <a:avLst/>
            <a:gdLst>
              <a:gd name="connsiteX0" fmla="*/ 196501 w 467362"/>
              <a:gd name="connsiteY0" fmla="*/ 222283 h 447740"/>
              <a:gd name="connsiteX1" fmla="*/ 227171 w 467362"/>
              <a:gd name="connsiteY1" fmla="*/ 249334 h 447740"/>
              <a:gd name="connsiteX2" fmla="*/ 204216 w 467362"/>
              <a:gd name="connsiteY2" fmla="*/ 278671 h 447740"/>
              <a:gd name="connsiteX3" fmla="*/ 196501 w 467362"/>
              <a:gd name="connsiteY3" fmla="*/ 278671 h 447740"/>
              <a:gd name="connsiteX4" fmla="*/ 181356 w 467362"/>
              <a:gd name="connsiteY4" fmla="*/ 263526 h 447740"/>
              <a:gd name="connsiteX5" fmla="*/ 181356 w 467362"/>
              <a:gd name="connsiteY5" fmla="*/ 237523 h 447740"/>
              <a:gd name="connsiteX6" fmla="*/ 181356 w 467362"/>
              <a:gd name="connsiteY6" fmla="*/ 237428 h 447740"/>
              <a:gd name="connsiteX7" fmla="*/ 196501 w 467362"/>
              <a:gd name="connsiteY7" fmla="*/ 222283 h 447740"/>
              <a:gd name="connsiteX8" fmla="*/ 139827 w 467362"/>
              <a:gd name="connsiteY8" fmla="*/ 182183 h 447740"/>
              <a:gd name="connsiteX9" fmla="*/ 124777 w 467362"/>
              <a:gd name="connsiteY9" fmla="*/ 197233 h 447740"/>
              <a:gd name="connsiteX10" fmla="*/ 124777 w 467362"/>
              <a:gd name="connsiteY10" fmla="*/ 368683 h 447740"/>
              <a:gd name="connsiteX11" fmla="*/ 124777 w 467362"/>
              <a:gd name="connsiteY11" fmla="*/ 368686 h 447740"/>
              <a:gd name="connsiteX12" fmla="*/ 139636 w 467362"/>
              <a:gd name="connsiteY12" fmla="*/ 383923 h 447740"/>
              <a:gd name="connsiteX13" fmla="*/ 166497 w 467362"/>
              <a:gd name="connsiteY13" fmla="*/ 383923 h 447740"/>
              <a:gd name="connsiteX14" fmla="*/ 181547 w 467362"/>
              <a:gd name="connsiteY14" fmla="*/ 368873 h 447740"/>
              <a:gd name="connsiteX15" fmla="*/ 181547 w 467362"/>
              <a:gd name="connsiteY15" fmla="*/ 334202 h 447740"/>
              <a:gd name="connsiteX16" fmla="*/ 196691 w 467362"/>
              <a:gd name="connsiteY16" fmla="*/ 319058 h 447740"/>
              <a:gd name="connsiteX17" fmla="*/ 209836 w 467362"/>
              <a:gd name="connsiteY17" fmla="*/ 319058 h 447740"/>
              <a:gd name="connsiteX18" fmla="*/ 247936 w 467362"/>
              <a:gd name="connsiteY18" fmla="*/ 309533 h 447740"/>
              <a:gd name="connsiteX19" fmla="*/ 272986 w 467362"/>
              <a:gd name="connsiteY19" fmla="*/ 284101 h 447740"/>
              <a:gd name="connsiteX20" fmla="*/ 281273 w 467362"/>
              <a:gd name="connsiteY20" fmla="*/ 251049 h 447740"/>
              <a:gd name="connsiteX21" fmla="*/ 272606 w 467362"/>
              <a:gd name="connsiteY21" fmla="*/ 217235 h 447740"/>
              <a:gd name="connsiteX22" fmla="*/ 247650 w 467362"/>
              <a:gd name="connsiteY22" fmla="*/ 191899 h 447740"/>
              <a:gd name="connsiteX23" fmla="*/ 207550 w 467362"/>
              <a:gd name="connsiteY23" fmla="*/ 182183 h 447740"/>
              <a:gd name="connsiteX24" fmla="*/ 15049 w 467362"/>
              <a:gd name="connsiteY24" fmla="*/ 73884 h 447740"/>
              <a:gd name="connsiteX25" fmla="*/ 183451 w 467362"/>
              <a:gd name="connsiteY25" fmla="*/ 73884 h 447740"/>
              <a:gd name="connsiteX26" fmla="*/ 198215 w 467362"/>
              <a:gd name="connsiteY26" fmla="*/ 85314 h 447740"/>
              <a:gd name="connsiteX27" fmla="*/ 202978 w 467362"/>
              <a:gd name="connsiteY27" fmla="*/ 105983 h 447740"/>
              <a:gd name="connsiteX28" fmla="*/ 217742 w 467362"/>
              <a:gd name="connsiteY28" fmla="*/ 117699 h 447740"/>
              <a:gd name="connsiteX29" fmla="*/ 354140 w 467362"/>
              <a:gd name="connsiteY29" fmla="*/ 117699 h 447740"/>
              <a:gd name="connsiteX30" fmla="*/ 354235 w 467362"/>
              <a:gd name="connsiteY30" fmla="*/ 117699 h 447740"/>
              <a:gd name="connsiteX31" fmla="*/ 369284 w 467362"/>
              <a:gd name="connsiteY31" fmla="*/ 132749 h 447740"/>
              <a:gd name="connsiteX32" fmla="*/ 369284 w 467362"/>
              <a:gd name="connsiteY32" fmla="*/ 432596 h 447740"/>
              <a:gd name="connsiteX33" fmla="*/ 354140 w 467362"/>
              <a:gd name="connsiteY33" fmla="*/ 447740 h 447740"/>
              <a:gd name="connsiteX34" fmla="*/ 15049 w 467362"/>
              <a:gd name="connsiteY34" fmla="*/ 447740 h 447740"/>
              <a:gd name="connsiteX35" fmla="*/ 0 w 467362"/>
              <a:gd name="connsiteY35" fmla="*/ 432596 h 447740"/>
              <a:gd name="connsiteX36" fmla="*/ 0 w 467362"/>
              <a:gd name="connsiteY36" fmla="*/ 88934 h 447740"/>
              <a:gd name="connsiteX37" fmla="*/ 15049 w 467362"/>
              <a:gd name="connsiteY37" fmla="*/ 73884 h 447740"/>
              <a:gd name="connsiteX38" fmla="*/ 124778 w 467362"/>
              <a:gd name="connsiteY38" fmla="*/ 351 h 447740"/>
              <a:gd name="connsiteX39" fmla="*/ 455581 w 467362"/>
              <a:gd name="connsiteY39" fmla="*/ 74075 h 447740"/>
              <a:gd name="connsiteX40" fmla="*/ 467011 w 467362"/>
              <a:gd name="connsiteY40" fmla="*/ 91982 h 447740"/>
              <a:gd name="connsiteX41" fmla="*/ 400336 w 467362"/>
              <a:gd name="connsiteY41" fmla="*/ 399449 h 447740"/>
              <a:gd name="connsiteX42" fmla="*/ 399193 w 467362"/>
              <a:gd name="connsiteY42" fmla="*/ 399449 h 447740"/>
              <a:gd name="connsiteX43" fmla="*/ 387573 w 467362"/>
              <a:gd name="connsiteY43" fmla="*/ 384780 h 447740"/>
              <a:gd name="connsiteX44" fmla="*/ 387573 w 467362"/>
              <a:gd name="connsiteY44" fmla="*/ 114556 h 447740"/>
              <a:gd name="connsiteX45" fmla="*/ 372428 w 467362"/>
              <a:gd name="connsiteY45" fmla="*/ 99411 h 447740"/>
              <a:gd name="connsiteX46" fmla="*/ 235839 w 467362"/>
              <a:gd name="connsiteY46" fmla="*/ 99411 h 447740"/>
              <a:gd name="connsiteX47" fmla="*/ 221171 w 467362"/>
              <a:gd name="connsiteY47" fmla="*/ 87791 h 447740"/>
              <a:gd name="connsiteX48" fmla="*/ 216408 w 467362"/>
              <a:gd name="connsiteY48" fmla="*/ 67121 h 447740"/>
              <a:gd name="connsiteX49" fmla="*/ 201645 w 467362"/>
              <a:gd name="connsiteY49" fmla="*/ 55501 h 447740"/>
              <a:gd name="connsiteX50" fmla="*/ 115920 w 467362"/>
              <a:gd name="connsiteY50" fmla="*/ 55501 h 447740"/>
              <a:gd name="connsiteX51" fmla="*/ 112872 w 467362"/>
              <a:gd name="connsiteY51" fmla="*/ 55171 h 447740"/>
              <a:gd name="connsiteX52" fmla="*/ 101156 w 467362"/>
              <a:gd name="connsiteY52" fmla="*/ 37213 h 447740"/>
              <a:gd name="connsiteX53" fmla="*/ 106680 w 467362"/>
              <a:gd name="connsiteY53" fmla="*/ 11876 h 447740"/>
              <a:gd name="connsiteX54" fmla="*/ 124778 w 467362"/>
              <a:gd name="connsiteY54" fmla="*/ 351 h 447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467362" h="447740">
                <a:moveTo>
                  <a:pt x="196501" y="222283"/>
                </a:moveTo>
                <a:cubicBezTo>
                  <a:pt x="216123" y="222791"/>
                  <a:pt x="226343" y="231808"/>
                  <a:pt x="227171" y="249334"/>
                </a:cubicBezTo>
                <a:cubicBezTo>
                  <a:pt x="226981" y="267813"/>
                  <a:pt x="219361" y="277528"/>
                  <a:pt x="204216" y="278671"/>
                </a:cubicBezTo>
                <a:lnTo>
                  <a:pt x="196501" y="278671"/>
                </a:lnTo>
                <a:cubicBezTo>
                  <a:pt x="188138" y="278671"/>
                  <a:pt x="181356" y="271890"/>
                  <a:pt x="181356" y="263526"/>
                </a:cubicBezTo>
                <a:lnTo>
                  <a:pt x="181356" y="237523"/>
                </a:lnTo>
                <a:cubicBezTo>
                  <a:pt x="181356" y="237492"/>
                  <a:pt x="181356" y="237459"/>
                  <a:pt x="181356" y="237428"/>
                </a:cubicBezTo>
                <a:cubicBezTo>
                  <a:pt x="181356" y="229063"/>
                  <a:pt x="188138" y="222283"/>
                  <a:pt x="196501" y="222283"/>
                </a:cubicBezTo>
                <a:close/>
                <a:moveTo>
                  <a:pt x="139827" y="182183"/>
                </a:moveTo>
                <a:cubicBezTo>
                  <a:pt x="131511" y="182183"/>
                  <a:pt x="124777" y="188921"/>
                  <a:pt x="124777" y="197233"/>
                </a:cubicBezTo>
                <a:lnTo>
                  <a:pt x="124777" y="368683"/>
                </a:lnTo>
                <a:cubicBezTo>
                  <a:pt x="124777" y="368684"/>
                  <a:pt x="124777" y="368685"/>
                  <a:pt x="124777" y="368686"/>
                </a:cubicBezTo>
                <a:cubicBezTo>
                  <a:pt x="124673" y="376996"/>
                  <a:pt x="131321" y="383818"/>
                  <a:pt x="139636" y="383923"/>
                </a:cubicBezTo>
                <a:lnTo>
                  <a:pt x="166497" y="383923"/>
                </a:lnTo>
                <a:cubicBezTo>
                  <a:pt x="174812" y="383923"/>
                  <a:pt x="181547" y="377185"/>
                  <a:pt x="181547" y="368873"/>
                </a:cubicBezTo>
                <a:lnTo>
                  <a:pt x="181547" y="334202"/>
                </a:lnTo>
                <a:cubicBezTo>
                  <a:pt x="181547" y="325838"/>
                  <a:pt x="188328" y="319058"/>
                  <a:pt x="196691" y="319058"/>
                </a:cubicBezTo>
                <a:lnTo>
                  <a:pt x="209836" y="319058"/>
                </a:lnTo>
                <a:cubicBezTo>
                  <a:pt x="223152" y="319298"/>
                  <a:pt x="236296" y="316011"/>
                  <a:pt x="247936" y="309533"/>
                </a:cubicBezTo>
                <a:cubicBezTo>
                  <a:pt x="258584" y="303672"/>
                  <a:pt x="267290" y="294834"/>
                  <a:pt x="272986" y="284101"/>
                </a:cubicBezTo>
                <a:cubicBezTo>
                  <a:pt x="278501" y="273963"/>
                  <a:pt x="281359" y="262590"/>
                  <a:pt x="281273" y="251049"/>
                </a:cubicBezTo>
                <a:cubicBezTo>
                  <a:pt x="281321" y="239223"/>
                  <a:pt x="278340" y="227581"/>
                  <a:pt x="272606" y="217235"/>
                </a:cubicBezTo>
                <a:cubicBezTo>
                  <a:pt x="266738" y="206686"/>
                  <a:pt x="258108" y="197929"/>
                  <a:pt x="247650" y="191899"/>
                </a:cubicBezTo>
                <a:cubicBezTo>
                  <a:pt x="235325" y="185300"/>
                  <a:pt x="221523" y="181956"/>
                  <a:pt x="207550" y="182183"/>
                </a:cubicBezTo>
                <a:close/>
                <a:moveTo>
                  <a:pt x="15049" y="73884"/>
                </a:moveTo>
                <a:lnTo>
                  <a:pt x="183451" y="73884"/>
                </a:lnTo>
                <a:cubicBezTo>
                  <a:pt x="190405" y="73880"/>
                  <a:pt x="196482" y="78582"/>
                  <a:pt x="198215" y="85314"/>
                </a:cubicBezTo>
                <a:lnTo>
                  <a:pt x="202978" y="105983"/>
                </a:lnTo>
                <a:cubicBezTo>
                  <a:pt x="204578" y="112848"/>
                  <a:pt x="210693" y="117705"/>
                  <a:pt x="217742" y="117699"/>
                </a:cubicBezTo>
                <a:lnTo>
                  <a:pt x="354140" y="117699"/>
                </a:lnTo>
                <a:cubicBezTo>
                  <a:pt x="354168" y="117699"/>
                  <a:pt x="354206" y="117699"/>
                  <a:pt x="354235" y="117699"/>
                </a:cubicBezTo>
                <a:cubicBezTo>
                  <a:pt x="362550" y="117699"/>
                  <a:pt x="369284" y="124437"/>
                  <a:pt x="369284" y="132749"/>
                </a:cubicBezTo>
                <a:lnTo>
                  <a:pt x="369284" y="432596"/>
                </a:lnTo>
                <a:cubicBezTo>
                  <a:pt x="369284" y="440959"/>
                  <a:pt x="362502" y="447740"/>
                  <a:pt x="354140" y="447740"/>
                </a:cubicBezTo>
                <a:lnTo>
                  <a:pt x="15049" y="447740"/>
                </a:lnTo>
                <a:cubicBezTo>
                  <a:pt x="6763" y="447688"/>
                  <a:pt x="0" y="440922"/>
                  <a:pt x="0" y="432596"/>
                </a:cubicBezTo>
                <a:lnTo>
                  <a:pt x="0" y="88934"/>
                </a:lnTo>
                <a:cubicBezTo>
                  <a:pt x="0" y="80622"/>
                  <a:pt x="6763" y="73884"/>
                  <a:pt x="15049" y="73884"/>
                </a:cubicBezTo>
                <a:close/>
                <a:moveTo>
                  <a:pt x="124778" y="351"/>
                </a:moveTo>
                <a:lnTo>
                  <a:pt x="455581" y="74075"/>
                </a:lnTo>
                <a:cubicBezTo>
                  <a:pt x="463678" y="75877"/>
                  <a:pt x="468783" y="83883"/>
                  <a:pt x="467011" y="91982"/>
                </a:cubicBezTo>
                <a:lnTo>
                  <a:pt x="400336" y="399449"/>
                </a:lnTo>
                <a:lnTo>
                  <a:pt x="399193" y="399449"/>
                </a:lnTo>
                <a:cubicBezTo>
                  <a:pt x="392364" y="397887"/>
                  <a:pt x="387535" y="391789"/>
                  <a:pt x="387573" y="384780"/>
                </a:cubicBezTo>
                <a:lnTo>
                  <a:pt x="387573" y="114556"/>
                </a:lnTo>
                <a:cubicBezTo>
                  <a:pt x="387573" y="106192"/>
                  <a:pt x="380791" y="99411"/>
                  <a:pt x="372428" y="99411"/>
                </a:cubicBezTo>
                <a:lnTo>
                  <a:pt x="235839" y="99411"/>
                </a:lnTo>
                <a:cubicBezTo>
                  <a:pt x="228838" y="99418"/>
                  <a:pt x="222762" y="94603"/>
                  <a:pt x="221171" y="87791"/>
                </a:cubicBezTo>
                <a:lnTo>
                  <a:pt x="216408" y="67121"/>
                </a:lnTo>
                <a:cubicBezTo>
                  <a:pt x="214742" y="60314"/>
                  <a:pt x="208655" y="55519"/>
                  <a:pt x="201645" y="55501"/>
                </a:cubicBezTo>
                <a:lnTo>
                  <a:pt x="115920" y="55501"/>
                </a:lnTo>
                <a:cubicBezTo>
                  <a:pt x="114872" y="55497"/>
                  <a:pt x="113824" y="55387"/>
                  <a:pt x="112872" y="55171"/>
                </a:cubicBezTo>
                <a:cubicBezTo>
                  <a:pt x="104680" y="53435"/>
                  <a:pt x="99442" y="45395"/>
                  <a:pt x="101156" y="37213"/>
                </a:cubicBezTo>
                <a:lnTo>
                  <a:pt x="106680" y="11876"/>
                </a:lnTo>
                <a:cubicBezTo>
                  <a:pt x="108490" y="3720"/>
                  <a:pt x="116606" y="-1424"/>
                  <a:pt x="124778" y="351"/>
                </a:cubicBezTo>
                <a:close/>
              </a:path>
            </a:pathLst>
          </a:custGeom>
          <a:solidFill>
            <a:schemeClr val="bg1"/>
          </a:solidFill>
          <a:ln w="819" cap="flat">
            <a:noFill/>
            <a:prstDash val="solid"/>
            <a:miter/>
          </a:ln>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POSans R" panose="00020600040101010101" pitchFamily="18" charset="-122"/>
              <a:ea typeface="微软雅黑"/>
              <a:cs typeface="+mn-cs"/>
            </a:endParaRPr>
          </a:p>
        </p:txBody>
      </p:sp>
      <p:sp>
        <p:nvSpPr>
          <p:cNvPr id="66" name="gaoding-30">
            <a:extLst>
              <a:ext uri="{FF2B5EF4-FFF2-40B4-BE49-F238E27FC236}">
                <a16:creationId xmlns:a16="http://schemas.microsoft.com/office/drawing/2014/main" id="{617F3096-11B9-41E9-B375-FEB14F6EC4BA}"/>
              </a:ext>
            </a:extLst>
          </p:cNvPr>
          <p:cNvSpPr/>
          <p:nvPr/>
        </p:nvSpPr>
        <p:spPr>
          <a:xfrm>
            <a:off x="3139863" y="3728379"/>
            <a:ext cx="340694" cy="327982"/>
          </a:xfrm>
          <a:custGeom>
            <a:avLst/>
            <a:gdLst>
              <a:gd name="connsiteX0" fmla="*/ 194024 w 465677"/>
              <a:gd name="connsiteY0" fmla="*/ 157258 h 448304"/>
              <a:gd name="connsiteX1" fmla="*/ 196023 w 465677"/>
              <a:gd name="connsiteY1" fmla="*/ 157258 h 448304"/>
              <a:gd name="connsiteX2" fmla="*/ 238410 w 465677"/>
              <a:gd name="connsiteY2" fmla="*/ 198691 h 448304"/>
              <a:gd name="connsiteX3" fmla="*/ 238410 w 465677"/>
              <a:gd name="connsiteY3" fmla="*/ 198791 h 448304"/>
              <a:gd name="connsiteX4" fmla="*/ 196023 w 465677"/>
              <a:gd name="connsiteY4" fmla="*/ 240220 h 448304"/>
              <a:gd name="connsiteX5" fmla="*/ 194024 w 465677"/>
              <a:gd name="connsiteY5" fmla="*/ 240220 h 448304"/>
              <a:gd name="connsiteX6" fmla="*/ 151733 w 465677"/>
              <a:gd name="connsiteY6" fmla="*/ 198691 h 448304"/>
              <a:gd name="connsiteX7" fmla="*/ 194024 w 465677"/>
              <a:gd name="connsiteY7" fmla="*/ 157258 h 448304"/>
              <a:gd name="connsiteX8" fmla="*/ 195263 w 465677"/>
              <a:gd name="connsiteY8" fmla="*/ 123824 h 448304"/>
              <a:gd name="connsiteX9" fmla="*/ 179737 w 465677"/>
              <a:gd name="connsiteY9" fmla="*/ 125062 h 448304"/>
              <a:gd name="connsiteX10" fmla="*/ 119729 w 465677"/>
              <a:gd name="connsiteY10" fmla="*/ 179831 h 448304"/>
              <a:gd name="connsiteX11" fmla="*/ 151734 w 465677"/>
              <a:gd name="connsiteY11" fmla="*/ 261937 h 448304"/>
              <a:gd name="connsiteX12" fmla="*/ 88488 w 465677"/>
              <a:gd name="connsiteY12" fmla="*/ 309562 h 448304"/>
              <a:gd name="connsiteX13" fmla="*/ 86582 w 465677"/>
              <a:gd name="connsiteY13" fmla="*/ 313303 h 448304"/>
              <a:gd name="connsiteX14" fmla="*/ 96107 w 465677"/>
              <a:gd name="connsiteY14" fmla="*/ 333374 h 448304"/>
              <a:gd name="connsiteX15" fmla="*/ 98298 w 465677"/>
              <a:gd name="connsiteY15" fmla="*/ 334231 h 448304"/>
              <a:gd name="connsiteX16" fmla="*/ 117348 w 465677"/>
              <a:gd name="connsiteY16" fmla="*/ 328135 h 448304"/>
              <a:gd name="connsiteX17" fmla="*/ 195167 w 465677"/>
              <a:gd name="connsiteY17" fmla="*/ 288892 h 448304"/>
              <a:gd name="connsiteX18" fmla="*/ 272987 w 465677"/>
              <a:gd name="connsiteY18" fmla="*/ 328135 h 448304"/>
              <a:gd name="connsiteX19" fmla="*/ 292037 w 465677"/>
              <a:gd name="connsiteY19" fmla="*/ 334231 h 448304"/>
              <a:gd name="connsiteX20" fmla="*/ 294228 w 465677"/>
              <a:gd name="connsiteY20" fmla="*/ 333374 h 448304"/>
              <a:gd name="connsiteX21" fmla="*/ 298038 w 465677"/>
              <a:gd name="connsiteY21" fmla="*/ 331430 h 448304"/>
              <a:gd name="connsiteX22" fmla="*/ 302038 w 465677"/>
              <a:gd name="connsiteY22" fmla="*/ 309562 h 448304"/>
              <a:gd name="connsiteX23" fmla="*/ 238791 w 465677"/>
              <a:gd name="connsiteY23" fmla="*/ 261937 h 448304"/>
              <a:gd name="connsiteX24" fmla="*/ 270796 w 465677"/>
              <a:gd name="connsiteY24" fmla="*/ 179831 h 448304"/>
              <a:gd name="connsiteX25" fmla="*/ 210788 w 465677"/>
              <a:gd name="connsiteY25" fmla="*/ 125062 h 448304"/>
              <a:gd name="connsiteX26" fmla="*/ 195263 w 465677"/>
              <a:gd name="connsiteY26" fmla="*/ 123824 h 448304"/>
              <a:gd name="connsiteX27" fmla="*/ 369285 w 465677"/>
              <a:gd name="connsiteY27" fmla="*/ 69717 h 448304"/>
              <a:gd name="connsiteX28" fmla="*/ 392811 w 465677"/>
              <a:gd name="connsiteY28" fmla="*/ 92677 h 448304"/>
              <a:gd name="connsiteX29" fmla="*/ 392811 w 465677"/>
              <a:gd name="connsiteY29" fmla="*/ 370903 h 448304"/>
              <a:gd name="connsiteX30" fmla="*/ 392811 w 465677"/>
              <a:gd name="connsiteY30" fmla="*/ 370906 h 448304"/>
              <a:gd name="connsiteX31" fmla="*/ 369380 w 465677"/>
              <a:gd name="connsiteY31" fmla="*/ 393763 h 448304"/>
              <a:gd name="connsiteX32" fmla="*/ 277559 w 465677"/>
              <a:gd name="connsiteY32" fmla="*/ 393763 h 448304"/>
              <a:gd name="connsiteX33" fmla="*/ 261461 w 465677"/>
              <a:gd name="connsiteY33" fmla="*/ 400049 h 448304"/>
              <a:gd name="connsiteX34" fmla="*/ 216217 w 465677"/>
              <a:gd name="connsiteY34" fmla="*/ 442054 h 448304"/>
              <a:gd name="connsiteX35" fmla="*/ 183356 w 465677"/>
              <a:gd name="connsiteY35" fmla="*/ 441388 h 448304"/>
              <a:gd name="connsiteX36" fmla="*/ 142684 w 465677"/>
              <a:gd name="connsiteY36" fmla="*/ 400621 h 448304"/>
              <a:gd name="connsiteX37" fmla="*/ 125920 w 465677"/>
              <a:gd name="connsiteY37" fmla="*/ 393763 h 448304"/>
              <a:gd name="connsiteX38" fmla="*/ 23336 w 465677"/>
              <a:gd name="connsiteY38" fmla="*/ 393763 h 448304"/>
              <a:gd name="connsiteX39" fmla="*/ 0 w 465677"/>
              <a:gd name="connsiteY39" fmla="*/ 370903 h 448304"/>
              <a:gd name="connsiteX40" fmla="*/ 0 w 465677"/>
              <a:gd name="connsiteY40" fmla="*/ 92677 h 448304"/>
              <a:gd name="connsiteX41" fmla="*/ 22956 w 465677"/>
              <a:gd name="connsiteY41" fmla="*/ 69722 h 448304"/>
              <a:gd name="connsiteX42" fmla="*/ 368999 w 465677"/>
              <a:gd name="connsiteY42" fmla="*/ 69722 h 448304"/>
              <a:gd name="connsiteX43" fmla="*/ 369285 w 465677"/>
              <a:gd name="connsiteY43" fmla="*/ 69717 h 448304"/>
              <a:gd name="connsiteX44" fmla="*/ 123825 w 465677"/>
              <a:gd name="connsiteY44" fmla="*/ 0 h 448304"/>
              <a:gd name="connsiteX45" fmla="*/ 445484 w 465677"/>
              <a:gd name="connsiteY45" fmla="*/ 0 h 448304"/>
              <a:gd name="connsiteX46" fmla="*/ 465677 w 465677"/>
              <a:gd name="connsiteY46" fmla="*/ 19810 h 448304"/>
              <a:gd name="connsiteX47" fmla="*/ 465677 w 465677"/>
              <a:gd name="connsiteY47" fmla="*/ 19812 h 448304"/>
              <a:gd name="connsiteX48" fmla="*/ 465677 w 465677"/>
              <a:gd name="connsiteY48" fmla="*/ 307753 h 448304"/>
              <a:gd name="connsiteX49" fmla="*/ 445866 w 465677"/>
              <a:gd name="connsiteY49" fmla="*/ 327565 h 448304"/>
              <a:gd name="connsiteX50" fmla="*/ 411384 w 465677"/>
              <a:gd name="connsiteY50" fmla="*/ 327565 h 448304"/>
              <a:gd name="connsiteX51" fmla="*/ 411384 w 465677"/>
              <a:gd name="connsiteY51" fmla="*/ 288512 h 448304"/>
              <a:gd name="connsiteX52" fmla="*/ 426244 w 465677"/>
              <a:gd name="connsiteY52" fmla="*/ 274037 h 448304"/>
              <a:gd name="connsiteX53" fmla="*/ 426244 w 465677"/>
              <a:gd name="connsiteY53" fmla="*/ 274034 h 448304"/>
              <a:gd name="connsiteX54" fmla="*/ 426244 w 465677"/>
              <a:gd name="connsiteY54" fmla="*/ 53626 h 448304"/>
              <a:gd name="connsiteX55" fmla="*/ 411479 w 465677"/>
              <a:gd name="connsiteY55" fmla="*/ 39051 h 448304"/>
              <a:gd name="connsiteX56" fmla="*/ 411384 w 465677"/>
              <a:gd name="connsiteY56" fmla="*/ 39052 h 448304"/>
              <a:gd name="connsiteX57" fmla="*/ 158782 w 465677"/>
              <a:gd name="connsiteY57" fmla="*/ 39052 h 448304"/>
              <a:gd name="connsiteX58" fmla="*/ 143922 w 465677"/>
              <a:gd name="connsiteY58" fmla="*/ 53529 h 448304"/>
              <a:gd name="connsiteX59" fmla="*/ 143922 w 465677"/>
              <a:gd name="connsiteY59" fmla="*/ 53626 h 448304"/>
              <a:gd name="connsiteX60" fmla="*/ 143922 w 465677"/>
              <a:gd name="connsiteY60" fmla="*/ 58007 h 448304"/>
              <a:gd name="connsiteX61" fmla="*/ 104013 w 465677"/>
              <a:gd name="connsiteY61" fmla="*/ 58007 h 448304"/>
              <a:gd name="connsiteX62" fmla="*/ 104013 w 465677"/>
              <a:gd name="connsiteY62" fmla="*/ 19907 h 448304"/>
              <a:gd name="connsiteX63" fmla="*/ 123825 w 465677"/>
              <a:gd name="connsiteY63" fmla="*/ 0 h 448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465677" h="448304">
                <a:moveTo>
                  <a:pt x="194024" y="157258"/>
                </a:moveTo>
                <a:lnTo>
                  <a:pt x="196023" y="157258"/>
                </a:lnTo>
                <a:cubicBezTo>
                  <a:pt x="219170" y="156996"/>
                  <a:pt x="238124" y="175547"/>
                  <a:pt x="238410" y="198691"/>
                </a:cubicBezTo>
                <a:cubicBezTo>
                  <a:pt x="238410" y="198725"/>
                  <a:pt x="238410" y="198758"/>
                  <a:pt x="238410" y="198791"/>
                </a:cubicBezTo>
                <a:cubicBezTo>
                  <a:pt x="238124" y="221936"/>
                  <a:pt x="219170" y="240484"/>
                  <a:pt x="196023" y="240220"/>
                </a:cubicBezTo>
                <a:lnTo>
                  <a:pt x="194024" y="240220"/>
                </a:lnTo>
                <a:cubicBezTo>
                  <a:pt x="170877" y="240430"/>
                  <a:pt x="151923" y="221837"/>
                  <a:pt x="151733" y="198691"/>
                </a:cubicBezTo>
                <a:cubicBezTo>
                  <a:pt x="152018" y="175582"/>
                  <a:pt x="170877" y="157046"/>
                  <a:pt x="194024" y="157258"/>
                </a:cubicBezTo>
                <a:close/>
                <a:moveTo>
                  <a:pt x="195263" y="123824"/>
                </a:moveTo>
                <a:cubicBezTo>
                  <a:pt x="190023" y="123723"/>
                  <a:pt x="184881" y="124138"/>
                  <a:pt x="179737" y="125062"/>
                </a:cubicBezTo>
                <a:cubicBezTo>
                  <a:pt x="150685" y="129889"/>
                  <a:pt x="127159" y="151339"/>
                  <a:pt x="119729" y="179831"/>
                </a:cubicBezTo>
                <a:cubicBezTo>
                  <a:pt x="111442" y="211245"/>
                  <a:pt x="124397" y="244410"/>
                  <a:pt x="151734" y="261937"/>
                </a:cubicBezTo>
                <a:cubicBezTo>
                  <a:pt x="126111" y="270647"/>
                  <a:pt x="103918" y="287337"/>
                  <a:pt x="88488" y="309562"/>
                </a:cubicBezTo>
                <a:cubicBezTo>
                  <a:pt x="87725" y="310717"/>
                  <a:pt x="87059" y="311975"/>
                  <a:pt x="86582" y="313303"/>
                </a:cubicBezTo>
                <a:cubicBezTo>
                  <a:pt x="83630" y="321482"/>
                  <a:pt x="87916" y="330468"/>
                  <a:pt x="96107" y="333374"/>
                </a:cubicBezTo>
                <a:lnTo>
                  <a:pt x="98298" y="334231"/>
                </a:lnTo>
                <a:cubicBezTo>
                  <a:pt x="105252" y="336658"/>
                  <a:pt x="113062" y="334175"/>
                  <a:pt x="117348" y="328135"/>
                </a:cubicBezTo>
                <a:cubicBezTo>
                  <a:pt x="135255" y="303068"/>
                  <a:pt x="164402" y="288401"/>
                  <a:pt x="195167" y="288892"/>
                </a:cubicBezTo>
                <a:cubicBezTo>
                  <a:pt x="225933" y="288401"/>
                  <a:pt x="255080" y="303068"/>
                  <a:pt x="272987" y="328135"/>
                </a:cubicBezTo>
                <a:cubicBezTo>
                  <a:pt x="277273" y="334175"/>
                  <a:pt x="285084" y="336658"/>
                  <a:pt x="292037" y="334231"/>
                </a:cubicBezTo>
                <a:lnTo>
                  <a:pt x="294228" y="333374"/>
                </a:lnTo>
                <a:cubicBezTo>
                  <a:pt x="295561" y="332906"/>
                  <a:pt x="296895" y="332251"/>
                  <a:pt x="298038" y="331430"/>
                </a:cubicBezTo>
                <a:cubicBezTo>
                  <a:pt x="305182" y="326488"/>
                  <a:pt x="306991" y="316697"/>
                  <a:pt x="302038" y="309562"/>
                </a:cubicBezTo>
                <a:cubicBezTo>
                  <a:pt x="286607" y="287337"/>
                  <a:pt x="264414" y="270647"/>
                  <a:pt x="238791" y="261937"/>
                </a:cubicBezTo>
                <a:cubicBezTo>
                  <a:pt x="266128" y="244410"/>
                  <a:pt x="279083" y="211245"/>
                  <a:pt x="270796" y="179831"/>
                </a:cubicBezTo>
                <a:cubicBezTo>
                  <a:pt x="263367" y="151339"/>
                  <a:pt x="239840" y="129889"/>
                  <a:pt x="210788" y="125062"/>
                </a:cubicBezTo>
                <a:cubicBezTo>
                  <a:pt x="205645" y="124138"/>
                  <a:pt x="200502" y="123723"/>
                  <a:pt x="195263" y="123824"/>
                </a:cubicBezTo>
                <a:close/>
                <a:moveTo>
                  <a:pt x="369285" y="69717"/>
                </a:moveTo>
                <a:cubicBezTo>
                  <a:pt x="382143" y="69563"/>
                  <a:pt x="392620" y="79843"/>
                  <a:pt x="392811" y="92677"/>
                </a:cubicBezTo>
                <a:lnTo>
                  <a:pt x="392811" y="370903"/>
                </a:lnTo>
                <a:cubicBezTo>
                  <a:pt x="392811" y="370904"/>
                  <a:pt x="392811" y="370905"/>
                  <a:pt x="392811" y="370906"/>
                </a:cubicBezTo>
                <a:cubicBezTo>
                  <a:pt x="392620" y="383688"/>
                  <a:pt x="382143" y="393922"/>
                  <a:pt x="369380" y="393763"/>
                </a:cubicBezTo>
                <a:lnTo>
                  <a:pt x="277559" y="393763"/>
                </a:lnTo>
                <a:cubicBezTo>
                  <a:pt x="271558" y="393778"/>
                  <a:pt x="265843" y="396020"/>
                  <a:pt x="261461" y="400049"/>
                </a:cubicBezTo>
                <a:lnTo>
                  <a:pt x="216217" y="442054"/>
                </a:lnTo>
                <a:cubicBezTo>
                  <a:pt x="206883" y="450639"/>
                  <a:pt x="192405" y="450346"/>
                  <a:pt x="183356" y="441388"/>
                </a:cubicBezTo>
                <a:lnTo>
                  <a:pt x="142684" y="400621"/>
                </a:lnTo>
                <a:cubicBezTo>
                  <a:pt x="138208" y="396215"/>
                  <a:pt x="132207" y="393751"/>
                  <a:pt x="125920" y="393763"/>
                </a:cubicBezTo>
                <a:lnTo>
                  <a:pt x="23336" y="393763"/>
                </a:lnTo>
                <a:cubicBezTo>
                  <a:pt x="10573" y="393868"/>
                  <a:pt x="191" y="383648"/>
                  <a:pt x="0" y="370903"/>
                </a:cubicBezTo>
                <a:lnTo>
                  <a:pt x="0" y="92677"/>
                </a:lnTo>
                <a:cubicBezTo>
                  <a:pt x="96" y="80043"/>
                  <a:pt x="10287" y="69826"/>
                  <a:pt x="22956" y="69722"/>
                </a:cubicBezTo>
                <a:lnTo>
                  <a:pt x="368999" y="69722"/>
                </a:lnTo>
                <a:cubicBezTo>
                  <a:pt x="369094" y="69720"/>
                  <a:pt x="369189" y="69718"/>
                  <a:pt x="369285" y="69717"/>
                </a:cubicBezTo>
                <a:close/>
                <a:moveTo>
                  <a:pt x="123825" y="0"/>
                </a:moveTo>
                <a:lnTo>
                  <a:pt x="445484" y="0"/>
                </a:lnTo>
                <a:cubicBezTo>
                  <a:pt x="456534" y="-106"/>
                  <a:pt x="465582" y="8764"/>
                  <a:pt x="465677" y="19810"/>
                </a:cubicBezTo>
                <a:cubicBezTo>
                  <a:pt x="465677" y="19811"/>
                  <a:pt x="465677" y="19811"/>
                  <a:pt x="465677" y="19812"/>
                </a:cubicBezTo>
                <a:lnTo>
                  <a:pt x="465677" y="307753"/>
                </a:lnTo>
                <a:cubicBezTo>
                  <a:pt x="465582" y="318651"/>
                  <a:pt x="456723" y="327462"/>
                  <a:pt x="445866" y="327565"/>
                </a:cubicBezTo>
                <a:lnTo>
                  <a:pt x="411384" y="327565"/>
                </a:lnTo>
                <a:lnTo>
                  <a:pt x="411384" y="288512"/>
                </a:lnTo>
                <a:cubicBezTo>
                  <a:pt x="419481" y="288618"/>
                  <a:pt x="426148" y="282137"/>
                  <a:pt x="426244" y="274037"/>
                </a:cubicBezTo>
                <a:cubicBezTo>
                  <a:pt x="426244" y="274036"/>
                  <a:pt x="426244" y="274035"/>
                  <a:pt x="426244" y="274034"/>
                </a:cubicBezTo>
                <a:lnTo>
                  <a:pt x="426244" y="53626"/>
                </a:lnTo>
                <a:cubicBezTo>
                  <a:pt x="426148" y="45525"/>
                  <a:pt x="419576" y="39000"/>
                  <a:pt x="411479" y="39051"/>
                </a:cubicBezTo>
                <a:cubicBezTo>
                  <a:pt x="411479" y="39052"/>
                  <a:pt x="411384" y="39052"/>
                  <a:pt x="411384" y="39052"/>
                </a:cubicBezTo>
                <a:lnTo>
                  <a:pt x="158782" y="39052"/>
                </a:lnTo>
                <a:cubicBezTo>
                  <a:pt x="150685" y="38947"/>
                  <a:pt x="144018" y="45428"/>
                  <a:pt x="143922" y="53529"/>
                </a:cubicBezTo>
                <a:cubicBezTo>
                  <a:pt x="143922" y="53561"/>
                  <a:pt x="143922" y="53593"/>
                  <a:pt x="143922" y="53626"/>
                </a:cubicBezTo>
                <a:lnTo>
                  <a:pt x="143922" y="58007"/>
                </a:lnTo>
                <a:lnTo>
                  <a:pt x="104013" y="58007"/>
                </a:lnTo>
                <a:lnTo>
                  <a:pt x="104013" y="19907"/>
                </a:lnTo>
                <a:cubicBezTo>
                  <a:pt x="104109" y="8971"/>
                  <a:pt x="112871" y="104"/>
                  <a:pt x="123825" y="0"/>
                </a:cubicBezTo>
                <a:close/>
              </a:path>
            </a:pathLst>
          </a:custGeom>
          <a:solidFill>
            <a:schemeClr val="bg1"/>
          </a:solidFill>
          <a:ln w="819" cap="flat">
            <a:noFill/>
            <a:prstDash val="solid"/>
            <a:miter/>
          </a:ln>
        </p:spPr>
        <p:txBody>
          <a:bodyPr wrap="square" rtlCol="0" anchor="ctr">
            <a:no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POSans R" panose="00020600040101010101" pitchFamily="18" charset="-122"/>
              <a:ea typeface="微软雅黑"/>
              <a:cs typeface="+mn-cs"/>
            </a:endParaRPr>
          </a:p>
        </p:txBody>
      </p:sp>
      <p:sp>
        <p:nvSpPr>
          <p:cNvPr id="68" name="gaoding-31">
            <a:extLst>
              <a:ext uri="{FF2B5EF4-FFF2-40B4-BE49-F238E27FC236}">
                <a16:creationId xmlns:a16="http://schemas.microsoft.com/office/drawing/2014/main" id="{116D90A0-D989-4D3A-8E4D-55B8AFE7AD77}"/>
              </a:ext>
            </a:extLst>
          </p:cNvPr>
          <p:cNvSpPr/>
          <p:nvPr/>
        </p:nvSpPr>
        <p:spPr>
          <a:xfrm>
            <a:off x="3366909" y="4846767"/>
            <a:ext cx="377132" cy="353545"/>
          </a:xfrm>
          <a:custGeom>
            <a:avLst/>
            <a:gdLst>
              <a:gd name="connsiteX0" fmla="*/ 466630 w 466894"/>
              <a:gd name="connsiteY0" fmla="*/ 198045 h 437694"/>
              <a:gd name="connsiteX1" fmla="*/ 453962 w 466894"/>
              <a:gd name="connsiteY1" fmla="*/ 282627 h 437694"/>
              <a:gd name="connsiteX2" fmla="*/ 453867 w 466894"/>
              <a:gd name="connsiteY2" fmla="*/ 282922 h 437694"/>
              <a:gd name="connsiteX3" fmla="*/ 438055 w 466894"/>
              <a:gd name="connsiteY3" fmla="*/ 290152 h 437694"/>
              <a:gd name="connsiteX4" fmla="*/ 299276 w 466894"/>
              <a:gd name="connsiteY4" fmla="*/ 177281 h 437694"/>
              <a:gd name="connsiteX5" fmla="*/ 288608 w 466894"/>
              <a:gd name="connsiteY5" fmla="*/ 211095 h 437694"/>
              <a:gd name="connsiteX6" fmla="*/ 285559 w 466894"/>
              <a:gd name="connsiteY6" fmla="*/ 208944 h 437694"/>
              <a:gd name="connsiteX7" fmla="*/ 285368 w 466894"/>
              <a:gd name="connsiteY7" fmla="*/ 191569 h 437694"/>
              <a:gd name="connsiteX8" fmla="*/ 455581 w 466894"/>
              <a:gd name="connsiteY8" fmla="*/ 143181 h 437694"/>
              <a:gd name="connsiteX9" fmla="*/ 464725 w 466894"/>
              <a:gd name="connsiteY9" fmla="*/ 181948 h 437694"/>
              <a:gd name="connsiteX10" fmla="*/ 431673 w 466894"/>
              <a:gd name="connsiteY10" fmla="*/ 287199 h 437694"/>
              <a:gd name="connsiteX11" fmla="*/ 413290 w 466894"/>
              <a:gd name="connsiteY11" fmla="*/ 277674 h 437694"/>
              <a:gd name="connsiteX12" fmla="*/ 339471 w 466894"/>
              <a:gd name="connsiteY12" fmla="*/ 135363 h 437694"/>
              <a:gd name="connsiteX13" fmla="*/ 311562 w 466894"/>
              <a:gd name="connsiteY13" fmla="*/ 223850 h 437694"/>
              <a:gd name="connsiteX14" fmla="*/ 302228 w 466894"/>
              <a:gd name="connsiteY14" fmla="*/ 218897 h 437694"/>
              <a:gd name="connsiteX15" fmla="*/ 293179 w 466894"/>
              <a:gd name="connsiteY15" fmla="*/ 214135 h 437694"/>
              <a:gd name="connsiteX16" fmla="*/ 307848 w 466894"/>
              <a:gd name="connsiteY16" fmla="*/ 167748 h 437694"/>
              <a:gd name="connsiteX17" fmla="*/ 439197 w 466894"/>
              <a:gd name="connsiteY17" fmla="*/ 107081 h 437694"/>
              <a:gd name="connsiteX18" fmla="*/ 452151 w 466894"/>
              <a:gd name="connsiteY18" fmla="*/ 133846 h 437694"/>
              <a:gd name="connsiteX19" fmla="*/ 407860 w 466894"/>
              <a:gd name="connsiteY19" fmla="*/ 274721 h 437694"/>
              <a:gd name="connsiteX20" fmla="*/ 402812 w 466894"/>
              <a:gd name="connsiteY20" fmla="*/ 272054 h 437694"/>
              <a:gd name="connsiteX21" fmla="*/ 389477 w 466894"/>
              <a:gd name="connsiteY21" fmla="*/ 264910 h 437694"/>
              <a:gd name="connsiteX22" fmla="*/ 380429 w 466894"/>
              <a:gd name="connsiteY22" fmla="*/ 93263 h 437694"/>
              <a:gd name="connsiteX23" fmla="*/ 335375 w 466894"/>
              <a:gd name="connsiteY23" fmla="*/ 236614 h 437694"/>
              <a:gd name="connsiteX24" fmla="*/ 327374 w 466894"/>
              <a:gd name="connsiteY24" fmla="*/ 232328 h 437694"/>
              <a:gd name="connsiteX25" fmla="*/ 316992 w 466894"/>
              <a:gd name="connsiteY25" fmla="*/ 226803 h 437694"/>
              <a:gd name="connsiteX26" fmla="*/ 348806 w 466894"/>
              <a:gd name="connsiteY26" fmla="*/ 125743 h 437694"/>
              <a:gd name="connsiteX27" fmla="*/ 354425 w 466894"/>
              <a:gd name="connsiteY27" fmla="*/ 120028 h 437694"/>
              <a:gd name="connsiteX28" fmla="*/ 420434 w 466894"/>
              <a:gd name="connsiteY28" fmla="*/ 79745 h 437694"/>
              <a:gd name="connsiteX29" fmla="*/ 428148 w 466894"/>
              <a:gd name="connsiteY29" fmla="*/ 89270 h 437694"/>
              <a:gd name="connsiteX30" fmla="*/ 428148 w 466894"/>
              <a:gd name="connsiteY30" fmla="*/ 89937 h 437694"/>
              <a:gd name="connsiteX31" fmla="*/ 433197 w 466894"/>
              <a:gd name="connsiteY31" fmla="*/ 97271 h 437694"/>
              <a:gd name="connsiteX32" fmla="*/ 435007 w 466894"/>
              <a:gd name="connsiteY32" fmla="*/ 100128 h 437694"/>
              <a:gd name="connsiteX33" fmla="*/ 384048 w 466894"/>
              <a:gd name="connsiteY33" fmla="*/ 262054 h 437694"/>
              <a:gd name="connsiteX34" fmla="*/ 366045 w 466894"/>
              <a:gd name="connsiteY34" fmla="*/ 252433 h 437694"/>
              <a:gd name="connsiteX35" fmla="*/ 415290 w 466894"/>
              <a:gd name="connsiteY35" fmla="*/ 74506 h 437694"/>
              <a:gd name="connsiteX36" fmla="*/ 360235 w 466894"/>
              <a:gd name="connsiteY36" fmla="*/ 249289 h 437694"/>
              <a:gd name="connsiteX37" fmla="*/ 349758 w 466894"/>
              <a:gd name="connsiteY37" fmla="*/ 243670 h 437694"/>
              <a:gd name="connsiteX38" fmla="*/ 341948 w 466894"/>
              <a:gd name="connsiteY38" fmla="*/ 239479 h 437694"/>
              <a:gd name="connsiteX39" fmla="*/ 390907 w 466894"/>
              <a:gd name="connsiteY39" fmla="*/ 83745 h 437694"/>
              <a:gd name="connsiteX40" fmla="*/ 399003 w 466894"/>
              <a:gd name="connsiteY40" fmla="*/ 75363 h 437694"/>
              <a:gd name="connsiteX41" fmla="*/ 415290 w 466894"/>
              <a:gd name="connsiteY41" fmla="*/ 74506 h 437694"/>
              <a:gd name="connsiteX42" fmla="*/ 256223 w 466894"/>
              <a:gd name="connsiteY42" fmla="*/ 1449 h 437694"/>
              <a:gd name="connsiteX43" fmla="*/ 352902 w 466894"/>
              <a:gd name="connsiteY43" fmla="*/ 38597 h 437694"/>
              <a:gd name="connsiteX44" fmla="*/ 353854 w 466894"/>
              <a:gd name="connsiteY44" fmla="*/ 39400 h 437694"/>
              <a:gd name="connsiteX45" fmla="*/ 354139 w 466894"/>
              <a:gd name="connsiteY45" fmla="*/ 56504 h 437694"/>
              <a:gd name="connsiteX46" fmla="*/ 262794 w 466894"/>
              <a:gd name="connsiteY46" fmla="*/ 150230 h 437694"/>
              <a:gd name="connsiteX47" fmla="*/ 254222 w 466894"/>
              <a:gd name="connsiteY47" fmla="*/ 153832 h 437694"/>
              <a:gd name="connsiteX48" fmla="*/ 242220 w 466894"/>
              <a:gd name="connsiteY48" fmla="*/ 141848 h 437694"/>
              <a:gd name="connsiteX49" fmla="*/ 243078 w 466894"/>
              <a:gd name="connsiteY49" fmla="*/ 13260 h 437694"/>
              <a:gd name="connsiteX50" fmla="*/ 243174 w 466894"/>
              <a:gd name="connsiteY50" fmla="*/ 12253 h 437694"/>
              <a:gd name="connsiteX51" fmla="*/ 256223 w 466894"/>
              <a:gd name="connsiteY51" fmla="*/ 1449 h 437694"/>
              <a:gd name="connsiteX52" fmla="*/ 203645 w 466894"/>
              <a:gd name="connsiteY52" fmla="*/ 2 h 437694"/>
              <a:gd name="connsiteX53" fmla="*/ 215360 w 466894"/>
              <a:gd name="connsiteY53" fmla="*/ 11355 h 437694"/>
              <a:gd name="connsiteX54" fmla="*/ 215360 w 466894"/>
              <a:gd name="connsiteY54" fmla="*/ 200236 h 437694"/>
              <a:gd name="connsiteX55" fmla="*/ 231648 w 466894"/>
              <a:gd name="connsiteY55" fmla="*/ 227192 h 437694"/>
              <a:gd name="connsiteX56" fmla="*/ 397669 w 466894"/>
              <a:gd name="connsiteY56" fmla="*/ 314822 h 437694"/>
              <a:gd name="connsiteX57" fmla="*/ 398335 w 466894"/>
              <a:gd name="connsiteY57" fmla="*/ 315165 h 437694"/>
              <a:gd name="connsiteX58" fmla="*/ 404717 w 466894"/>
              <a:gd name="connsiteY58" fmla="*/ 338825 h 437694"/>
              <a:gd name="connsiteX59" fmla="*/ 219646 w 466894"/>
              <a:gd name="connsiteY59" fmla="*/ 437694 h 437694"/>
              <a:gd name="connsiteX60" fmla="*/ 219075 w 466894"/>
              <a:gd name="connsiteY60" fmla="*/ 437694 h 437694"/>
              <a:gd name="connsiteX61" fmla="*/ 0 w 466894"/>
              <a:gd name="connsiteY61" fmla="*/ 218619 h 437694"/>
              <a:gd name="connsiteX62" fmla="*/ 130588 w 466894"/>
              <a:gd name="connsiteY62" fmla="*/ 15165 h 437694"/>
              <a:gd name="connsiteX63" fmla="*/ 203168 w 466894"/>
              <a:gd name="connsiteY63" fmla="*/ 20 h 437694"/>
              <a:gd name="connsiteX64" fmla="*/ 203645 w 466894"/>
              <a:gd name="connsiteY64" fmla="*/ 2 h 4376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466894" h="437694">
                <a:moveTo>
                  <a:pt x="466630" y="198045"/>
                </a:moveTo>
                <a:cubicBezTo>
                  <a:pt x="468059" y="226798"/>
                  <a:pt x="463677" y="255545"/>
                  <a:pt x="453962" y="282627"/>
                </a:cubicBezTo>
                <a:cubicBezTo>
                  <a:pt x="453962" y="282726"/>
                  <a:pt x="453867" y="282824"/>
                  <a:pt x="453867" y="282922"/>
                </a:cubicBezTo>
                <a:cubicBezTo>
                  <a:pt x="451486" y="289282"/>
                  <a:pt x="444437" y="292519"/>
                  <a:pt x="438055" y="290152"/>
                </a:cubicBezTo>
                <a:close/>
                <a:moveTo>
                  <a:pt x="299276" y="177281"/>
                </a:moveTo>
                <a:lnTo>
                  <a:pt x="288608" y="211095"/>
                </a:lnTo>
                <a:cubicBezTo>
                  <a:pt x="287463" y="210534"/>
                  <a:pt x="286511" y="209808"/>
                  <a:pt x="285559" y="208944"/>
                </a:cubicBezTo>
                <a:cubicBezTo>
                  <a:pt x="280701" y="204210"/>
                  <a:pt x="280606" y="196431"/>
                  <a:pt x="285368" y="191569"/>
                </a:cubicBezTo>
                <a:close/>
                <a:moveTo>
                  <a:pt x="455581" y="143181"/>
                </a:moveTo>
                <a:cubicBezTo>
                  <a:pt x="459963" y="155755"/>
                  <a:pt x="463010" y="168746"/>
                  <a:pt x="464725" y="181948"/>
                </a:cubicBezTo>
                <a:lnTo>
                  <a:pt x="431673" y="287199"/>
                </a:lnTo>
                <a:lnTo>
                  <a:pt x="413290" y="277674"/>
                </a:lnTo>
                <a:close/>
                <a:moveTo>
                  <a:pt x="339471" y="135363"/>
                </a:moveTo>
                <a:lnTo>
                  <a:pt x="311562" y="223850"/>
                </a:lnTo>
                <a:lnTo>
                  <a:pt x="302228" y="218897"/>
                </a:lnTo>
                <a:lnTo>
                  <a:pt x="293179" y="214135"/>
                </a:lnTo>
                <a:lnTo>
                  <a:pt x="307848" y="167748"/>
                </a:lnTo>
                <a:close/>
                <a:moveTo>
                  <a:pt x="439197" y="107081"/>
                </a:moveTo>
                <a:cubicBezTo>
                  <a:pt x="444055" y="115710"/>
                  <a:pt x="448436" y="124651"/>
                  <a:pt x="452151" y="133846"/>
                </a:cubicBezTo>
                <a:lnTo>
                  <a:pt x="407860" y="274721"/>
                </a:lnTo>
                <a:lnTo>
                  <a:pt x="402812" y="272054"/>
                </a:lnTo>
                <a:lnTo>
                  <a:pt x="389477" y="264910"/>
                </a:lnTo>
                <a:close/>
                <a:moveTo>
                  <a:pt x="380429" y="93263"/>
                </a:moveTo>
                <a:lnTo>
                  <a:pt x="335375" y="236614"/>
                </a:lnTo>
                <a:lnTo>
                  <a:pt x="327374" y="232328"/>
                </a:lnTo>
                <a:lnTo>
                  <a:pt x="316992" y="226803"/>
                </a:lnTo>
                <a:lnTo>
                  <a:pt x="348806" y="125743"/>
                </a:lnTo>
                <a:lnTo>
                  <a:pt x="354425" y="120028"/>
                </a:lnTo>
                <a:close/>
                <a:moveTo>
                  <a:pt x="420434" y="79745"/>
                </a:moveTo>
                <a:cubicBezTo>
                  <a:pt x="423101" y="82602"/>
                  <a:pt x="425672" y="85936"/>
                  <a:pt x="428148" y="89270"/>
                </a:cubicBezTo>
                <a:lnTo>
                  <a:pt x="428148" y="89937"/>
                </a:lnTo>
                <a:cubicBezTo>
                  <a:pt x="429863" y="92318"/>
                  <a:pt x="431577" y="94794"/>
                  <a:pt x="433197" y="97271"/>
                </a:cubicBezTo>
                <a:cubicBezTo>
                  <a:pt x="433769" y="98128"/>
                  <a:pt x="434340" y="99176"/>
                  <a:pt x="435007" y="100128"/>
                </a:cubicBezTo>
                <a:lnTo>
                  <a:pt x="384048" y="262054"/>
                </a:lnTo>
                <a:lnTo>
                  <a:pt x="366045" y="252433"/>
                </a:lnTo>
                <a:close/>
                <a:moveTo>
                  <a:pt x="415290" y="74506"/>
                </a:moveTo>
                <a:lnTo>
                  <a:pt x="360235" y="249289"/>
                </a:lnTo>
                <a:lnTo>
                  <a:pt x="349758" y="243670"/>
                </a:lnTo>
                <a:lnTo>
                  <a:pt x="341948" y="239479"/>
                </a:lnTo>
                <a:lnTo>
                  <a:pt x="390907" y="83745"/>
                </a:lnTo>
                <a:lnTo>
                  <a:pt x="399003" y="75363"/>
                </a:lnTo>
                <a:cubicBezTo>
                  <a:pt x="403384" y="70996"/>
                  <a:pt x="410432" y="70627"/>
                  <a:pt x="415290" y="74506"/>
                </a:cubicBezTo>
                <a:close/>
                <a:moveTo>
                  <a:pt x="256223" y="1449"/>
                </a:moveTo>
                <a:cubicBezTo>
                  <a:pt x="291274" y="4487"/>
                  <a:pt x="324802" y="17363"/>
                  <a:pt x="352902" y="38597"/>
                </a:cubicBezTo>
                <a:cubicBezTo>
                  <a:pt x="353187" y="38848"/>
                  <a:pt x="353568" y="39117"/>
                  <a:pt x="353854" y="39400"/>
                </a:cubicBezTo>
                <a:cubicBezTo>
                  <a:pt x="358617" y="44036"/>
                  <a:pt x="358807" y="51693"/>
                  <a:pt x="354139" y="56504"/>
                </a:cubicBezTo>
                <a:lnTo>
                  <a:pt x="262794" y="150230"/>
                </a:lnTo>
                <a:cubicBezTo>
                  <a:pt x="260509" y="152529"/>
                  <a:pt x="257461" y="153828"/>
                  <a:pt x="254222" y="153832"/>
                </a:cubicBezTo>
                <a:cubicBezTo>
                  <a:pt x="247650" y="153842"/>
                  <a:pt x="242220" y="148476"/>
                  <a:pt x="242220" y="141848"/>
                </a:cubicBezTo>
                <a:cubicBezTo>
                  <a:pt x="242506" y="104034"/>
                  <a:pt x="243078" y="40216"/>
                  <a:pt x="243078" y="13260"/>
                </a:cubicBezTo>
                <a:cubicBezTo>
                  <a:pt x="243078" y="12924"/>
                  <a:pt x="243078" y="12588"/>
                  <a:pt x="243174" y="12253"/>
                </a:cubicBezTo>
                <a:cubicBezTo>
                  <a:pt x="243744" y="5655"/>
                  <a:pt x="249650" y="818"/>
                  <a:pt x="256223" y="1449"/>
                </a:cubicBezTo>
                <a:close/>
                <a:moveTo>
                  <a:pt x="203645" y="2"/>
                </a:moveTo>
                <a:cubicBezTo>
                  <a:pt x="210027" y="-92"/>
                  <a:pt x="215265" y="4991"/>
                  <a:pt x="215360" y="11355"/>
                </a:cubicBezTo>
                <a:lnTo>
                  <a:pt x="215360" y="200236"/>
                </a:lnTo>
                <a:cubicBezTo>
                  <a:pt x="215360" y="211553"/>
                  <a:pt x="221647" y="221940"/>
                  <a:pt x="231648" y="227192"/>
                </a:cubicBezTo>
                <a:lnTo>
                  <a:pt x="397669" y="314822"/>
                </a:lnTo>
                <a:cubicBezTo>
                  <a:pt x="397860" y="314931"/>
                  <a:pt x="398050" y="315046"/>
                  <a:pt x="398335" y="315165"/>
                </a:cubicBezTo>
                <a:cubicBezTo>
                  <a:pt x="406622" y="319925"/>
                  <a:pt x="409480" y="330518"/>
                  <a:pt x="404717" y="338825"/>
                </a:cubicBezTo>
                <a:cubicBezTo>
                  <a:pt x="370618" y="395594"/>
                  <a:pt x="297656" y="437694"/>
                  <a:pt x="219646" y="437694"/>
                </a:cubicBezTo>
                <a:cubicBezTo>
                  <a:pt x="219457" y="437694"/>
                  <a:pt x="219266" y="437694"/>
                  <a:pt x="219075" y="437694"/>
                </a:cubicBezTo>
                <a:cubicBezTo>
                  <a:pt x="98108" y="437694"/>
                  <a:pt x="0" y="339611"/>
                  <a:pt x="0" y="218619"/>
                </a:cubicBezTo>
                <a:cubicBezTo>
                  <a:pt x="0" y="126417"/>
                  <a:pt x="52102" y="47455"/>
                  <a:pt x="130588" y="15165"/>
                </a:cubicBezTo>
                <a:cubicBezTo>
                  <a:pt x="153829" y="6276"/>
                  <a:pt x="178308" y="1163"/>
                  <a:pt x="203168" y="20"/>
                </a:cubicBezTo>
                <a:cubicBezTo>
                  <a:pt x="203359" y="11"/>
                  <a:pt x="203454" y="5"/>
                  <a:pt x="203645" y="2"/>
                </a:cubicBezTo>
                <a:close/>
              </a:path>
            </a:pathLst>
          </a:custGeom>
          <a:solidFill>
            <a:schemeClr val="bg1"/>
          </a:solidFill>
          <a:ln w="819" cap="flat">
            <a:noFill/>
            <a:prstDash val="solid"/>
            <a:miter/>
          </a:ln>
        </p:spPr>
        <p:txBody>
          <a:bodyPr wrap="square" rtlCol="0" anchor="ctr">
            <a:no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POSans R" panose="00020600040101010101" pitchFamily="18" charset="-122"/>
              <a:ea typeface="微软雅黑"/>
              <a:cs typeface="+mn-cs"/>
            </a:endParaRPr>
          </a:p>
        </p:txBody>
      </p:sp>
      <p:grpSp>
        <p:nvGrpSpPr>
          <p:cNvPr id="60" name="gaoding-32">
            <a:extLst>
              <a:ext uri="{FF2B5EF4-FFF2-40B4-BE49-F238E27FC236}">
                <a16:creationId xmlns:a16="http://schemas.microsoft.com/office/drawing/2014/main" id="{A3749B38-F400-4ECF-93BD-C4E4E35451DC}"/>
              </a:ext>
            </a:extLst>
          </p:cNvPr>
          <p:cNvGrpSpPr/>
          <p:nvPr/>
        </p:nvGrpSpPr>
        <p:grpSpPr>
          <a:xfrm>
            <a:off x="891548" y="519423"/>
            <a:ext cx="2954655" cy="786117"/>
            <a:chOff x="891548" y="488943"/>
            <a:chExt cx="2954655" cy="786117"/>
          </a:xfrm>
        </p:grpSpPr>
        <p:sp>
          <p:nvSpPr>
            <p:cNvPr id="61" name="gaoding-32-1">
              <a:extLst>
                <a:ext uri="{FF2B5EF4-FFF2-40B4-BE49-F238E27FC236}">
                  <a16:creationId xmlns:a16="http://schemas.microsoft.com/office/drawing/2014/main" id="{F816FE2F-A019-4B39-97EF-ED4CBF58A2FB}"/>
                </a:ext>
              </a:extLst>
            </p:cNvPr>
            <p:cNvSpPr txBox="1"/>
            <p:nvPr/>
          </p:nvSpPr>
          <p:spPr>
            <a:xfrm>
              <a:off x="891548" y="488943"/>
              <a:ext cx="2954655"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2400" b="1" i="0" u="none" strike="noStrike" kern="1200" cap="none" spc="0" normalizeH="0" baseline="0" noProof="0" dirty="0">
                  <a:ln>
                    <a:noFill/>
                  </a:ln>
                  <a:solidFill>
                    <a:srgbClr val="000000">
                      <a:lumMod val="85000"/>
                      <a:lumOff val="15000"/>
                    </a:srgbClr>
                  </a:solidFill>
                  <a:effectLst/>
                  <a:uLnTx/>
                  <a:uFillTx/>
                  <a:latin typeface="OPPOSans B" panose="00020600040101010101" pitchFamily="18" charset="-122"/>
                  <a:ea typeface="OPPOSans B" panose="00020600040101010101" pitchFamily="18" charset="-122"/>
                  <a:cs typeface="OPPOSans B" panose="00020600040101010101" pitchFamily="18" charset="-122"/>
                  <a:sym typeface="+mn-lt"/>
                </a:rPr>
                <a:t>秋叶</a:t>
              </a:r>
              <a:r>
                <a:rPr kumimoji="0" lang="en-US" altLang="zh-CN" sz="2400" b="1" i="0" u="none" strike="noStrike" kern="1200" cap="none" spc="0" normalizeH="0" baseline="0" noProof="0" dirty="0">
                  <a:ln>
                    <a:noFill/>
                  </a:ln>
                  <a:solidFill>
                    <a:srgbClr val="000000">
                      <a:lumMod val="85000"/>
                      <a:lumOff val="15000"/>
                    </a:srgbClr>
                  </a:solidFill>
                  <a:effectLst/>
                  <a:uLnTx/>
                  <a:uFillTx/>
                  <a:latin typeface="OPPOSans B" panose="00020600040101010101" pitchFamily="18" charset="-122"/>
                  <a:ea typeface="OPPOSans B" panose="00020600040101010101" pitchFamily="18" charset="-122"/>
                  <a:cs typeface="OPPOSans B" panose="00020600040101010101" pitchFamily="18" charset="-122"/>
                  <a:sym typeface="+mn-lt"/>
                </a:rPr>
                <a:t>PPT</a:t>
              </a:r>
              <a:r>
                <a:rPr kumimoji="0" lang="zh-CN" altLang="en-US" sz="2400" b="1" i="0" u="none" strike="noStrike" kern="1200" cap="none" spc="0" normalizeH="0" baseline="0" noProof="0" dirty="0">
                  <a:ln>
                    <a:noFill/>
                  </a:ln>
                  <a:solidFill>
                    <a:srgbClr val="000000">
                      <a:lumMod val="85000"/>
                      <a:lumOff val="15000"/>
                    </a:srgbClr>
                  </a:solidFill>
                  <a:effectLst/>
                  <a:uLnTx/>
                  <a:uFillTx/>
                  <a:latin typeface="OPPOSans B" panose="00020600040101010101" pitchFamily="18" charset="-122"/>
                  <a:ea typeface="OPPOSans B" panose="00020600040101010101" pitchFamily="18" charset="-122"/>
                  <a:cs typeface="OPPOSans B" panose="00020600040101010101" pitchFamily="18" charset="-122"/>
                  <a:sym typeface="+mn-lt"/>
                </a:rPr>
                <a:t>更快更轻松</a:t>
              </a:r>
            </a:p>
          </p:txBody>
        </p:sp>
        <p:sp>
          <p:nvSpPr>
            <p:cNvPr id="62" name="gaoding-32-2">
              <a:extLst>
                <a:ext uri="{FF2B5EF4-FFF2-40B4-BE49-F238E27FC236}">
                  <a16:creationId xmlns:a16="http://schemas.microsoft.com/office/drawing/2014/main" id="{1CE2BC0A-2743-4979-A2DA-8376DDCC7C45}"/>
                </a:ext>
              </a:extLst>
            </p:cNvPr>
            <p:cNvSpPr txBox="1"/>
            <p:nvPr/>
          </p:nvSpPr>
          <p:spPr>
            <a:xfrm>
              <a:off x="917798" y="895464"/>
              <a:ext cx="1202573"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100" b="0" i="0" u="none" strike="noStrike" kern="1200" cap="none" spc="0" normalizeH="0" baseline="0" noProof="0" dirty="0">
                  <a:ln>
                    <a:noFill/>
                  </a:ln>
                  <a:solidFill>
                    <a:srgbClr val="000000">
                      <a:lumMod val="85000"/>
                      <a:lumOff val="1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sym typeface="+mn-lt"/>
                </a:rPr>
                <a:t>Add </a:t>
              </a:r>
              <a:r>
                <a:rPr kumimoji="0" lang="zh-CN" altLang="en-US" sz="1100" b="0" i="0" u="none" strike="noStrike" kern="1200" cap="none" spc="0" normalizeH="0" baseline="0" noProof="0" dirty="0">
                  <a:ln>
                    <a:noFill/>
                  </a:ln>
                  <a:solidFill>
                    <a:srgbClr val="000000">
                      <a:lumMod val="85000"/>
                      <a:lumOff val="1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sym typeface="+mn-lt"/>
                </a:rPr>
                <a:t>关键词标题</a:t>
              </a:r>
              <a:endParaRPr kumimoji="0" lang="en-US" altLang="zh-CN" sz="1100" b="0" i="0" u="none" strike="noStrike" kern="1200" cap="none" spc="0" normalizeH="0" baseline="0" noProof="0" dirty="0">
                <a:ln>
                  <a:noFill/>
                </a:ln>
                <a:solidFill>
                  <a:srgbClr val="000000">
                    <a:lumMod val="85000"/>
                    <a:lumOff val="1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sym typeface="+mn-lt"/>
              </a:endParaRPr>
            </a:p>
          </p:txBody>
        </p:sp>
        <p:sp>
          <p:nvSpPr>
            <p:cNvPr id="63" name="gaoding-32-3">
              <a:extLst>
                <a:ext uri="{FF2B5EF4-FFF2-40B4-BE49-F238E27FC236}">
                  <a16:creationId xmlns:a16="http://schemas.microsoft.com/office/drawing/2014/main" id="{67CBB57F-EC1A-48B9-A68F-38139291DD91}"/>
                </a:ext>
              </a:extLst>
            </p:cNvPr>
            <p:cNvSpPr/>
            <p:nvPr/>
          </p:nvSpPr>
          <p:spPr>
            <a:xfrm>
              <a:off x="1014806" y="1195562"/>
              <a:ext cx="811658" cy="79498"/>
            </a:xfrm>
            <a:prstGeom prst="rect">
              <a:avLst/>
            </a:prstGeom>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srgbClr val="FFFFFF"/>
                </a:solidFill>
                <a:effectLst/>
                <a:uLnTx/>
                <a:uFillTx/>
                <a:latin typeface="OPPOSans R" panose="00020600040101010101" pitchFamily="18" charset="-122"/>
                <a:ea typeface="微软雅黑"/>
                <a:cs typeface="+mn-ea"/>
                <a:sym typeface="+mn-lt"/>
              </a:endParaRPr>
            </a:p>
          </p:txBody>
        </p:sp>
      </p:grpSp>
      <p:sp>
        <p:nvSpPr>
          <p:cNvPr id="69" name="gaoding-33">
            <a:extLst>
              <a:ext uri="{FF2B5EF4-FFF2-40B4-BE49-F238E27FC236}">
                <a16:creationId xmlns:a16="http://schemas.microsoft.com/office/drawing/2014/main" id="{1E9539E4-AC60-48CF-A57B-A622293F4B40}"/>
              </a:ext>
            </a:extLst>
          </p:cNvPr>
          <p:cNvSpPr txBox="1"/>
          <p:nvPr/>
        </p:nvSpPr>
        <p:spPr>
          <a:xfrm>
            <a:off x="7844991" y="3749662"/>
            <a:ext cx="2331690" cy="542200"/>
          </a:xfrm>
          <a:prstGeom prst="rect">
            <a:avLst/>
          </a:prstGeom>
          <a:noFill/>
        </p:spPr>
        <p:txBody>
          <a:bodyPr wrap="square" lIns="0" tIns="0" rIns="0" bIns="0" rtlCol="0">
            <a:spAutoFit/>
          </a:bodyPr>
          <a:lstStyle/>
          <a:p>
            <a:pPr marL="0" marR="0" lvl="0" indent="0" algn="l" defTabSz="914400" rtl="0" eaLnBrk="1" fontAlgn="auto" latinLnBrk="0" hangingPunct="1">
              <a:lnSpc>
                <a:spcPct val="130000"/>
              </a:lnSpc>
              <a:spcBef>
                <a:spcPts val="0"/>
              </a:spcBef>
              <a:spcAft>
                <a:spcPts val="0"/>
              </a:spcAft>
              <a:buClrTx/>
              <a:buSzTx/>
              <a:buFontTx/>
              <a:buNone/>
              <a:tabLst/>
              <a:defRPr/>
            </a:pPr>
            <a:r>
              <a:rPr kumimoji="0" lang="zh-CN" altLang="en-US" sz="1400" b="0" i="0" u="none" strike="noStrike" kern="1200" cap="none" spc="0" normalizeH="0" baseline="0" noProof="0" dirty="0">
                <a:ln>
                  <a:noFill/>
                </a:ln>
                <a:solidFill>
                  <a:srgbClr val="000000"/>
                </a:solidFill>
                <a:effectLst/>
                <a:uLnTx/>
                <a:uFillTx/>
                <a:latin typeface="OPPOSans R" panose="00020600040101010101" pitchFamily="18" charset="-122"/>
                <a:ea typeface="OPPOSans R" panose="00020600040101010101" pitchFamily="18" charset="-122"/>
                <a:cs typeface="OPPOSans R" panose="00020600040101010101" pitchFamily="18" charset="-122"/>
              </a:rPr>
              <a:t>秋叶</a:t>
            </a:r>
            <a:r>
              <a:rPr kumimoji="0" lang="en-US" altLang="zh-CN" sz="1400" b="0" i="0" u="none" strike="noStrike" kern="1200" cap="none" spc="0" normalizeH="0" baseline="0" noProof="0" dirty="0">
                <a:ln>
                  <a:noFill/>
                </a:ln>
                <a:solidFill>
                  <a:srgbClr val="000000"/>
                </a:solidFill>
                <a:effectLst/>
                <a:uLnTx/>
                <a:uFillTx/>
                <a:latin typeface="OPPOSans R" panose="00020600040101010101" pitchFamily="18" charset="-122"/>
                <a:ea typeface="OPPOSans R" panose="00020600040101010101" pitchFamily="18" charset="-122"/>
                <a:cs typeface="OPPOSans R" panose="00020600040101010101" pitchFamily="18" charset="-122"/>
              </a:rPr>
              <a:t>PPT</a:t>
            </a:r>
            <a:r>
              <a:rPr kumimoji="0" lang="zh-CN" altLang="en-US" sz="1400" b="0" i="0" u="none" strike="noStrike" kern="1200" cap="none" spc="0" normalizeH="0" baseline="0" noProof="0" dirty="0">
                <a:ln>
                  <a:noFill/>
                </a:ln>
                <a:solidFill>
                  <a:srgbClr val="000000"/>
                </a:solidFill>
                <a:effectLst/>
                <a:uLnTx/>
                <a:uFillTx/>
                <a:latin typeface="OPPOSans R" panose="00020600040101010101" pitchFamily="18" charset="-122"/>
                <a:ea typeface="OPPOSans R" panose="00020600040101010101" pitchFamily="18" charset="-122"/>
                <a:cs typeface="OPPOSans R" panose="00020600040101010101" pitchFamily="18" charset="-122"/>
              </a:rPr>
              <a:t>拥有千余款模板线上到插件同步上新</a:t>
            </a:r>
          </a:p>
        </p:txBody>
      </p:sp>
      <p:sp>
        <p:nvSpPr>
          <p:cNvPr id="70" name="gaoding-34">
            <a:extLst>
              <a:ext uri="{FF2B5EF4-FFF2-40B4-BE49-F238E27FC236}">
                <a16:creationId xmlns:a16="http://schemas.microsoft.com/office/drawing/2014/main" id="{5E5518A1-6F60-4B39-AA17-0686C0372F17}"/>
              </a:ext>
            </a:extLst>
          </p:cNvPr>
          <p:cNvSpPr txBox="1"/>
          <p:nvPr/>
        </p:nvSpPr>
        <p:spPr>
          <a:xfrm>
            <a:off x="8125372" y="2224864"/>
            <a:ext cx="2445107" cy="542200"/>
          </a:xfrm>
          <a:prstGeom prst="rect">
            <a:avLst/>
          </a:prstGeom>
          <a:noFill/>
        </p:spPr>
        <p:txBody>
          <a:bodyPr wrap="square" lIns="0" tIns="0" rIns="0" bIns="0" rtlCol="0">
            <a:spAutoFit/>
          </a:bodyPr>
          <a:lstStyle/>
          <a:p>
            <a:pPr marL="0" marR="0" lvl="0" indent="0" algn="l" defTabSz="914400" rtl="0" eaLnBrk="1" fontAlgn="auto" latinLnBrk="0" hangingPunct="1">
              <a:lnSpc>
                <a:spcPct val="130000"/>
              </a:lnSpc>
              <a:spcBef>
                <a:spcPts val="0"/>
              </a:spcBef>
              <a:spcAft>
                <a:spcPts val="0"/>
              </a:spcAft>
              <a:buClrTx/>
              <a:buSzTx/>
              <a:buFontTx/>
              <a:buNone/>
              <a:tabLst/>
              <a:defRPr/>
            </a:pPr>
            <a:r>
              <a:rPr kumimoji="0" lang="zh-CN" altLang="en-US" sz="1400" b="0" i="0" u="none" strike="noStrike" kern="1200" cap="none" spc="0" normalizeH="0" baseline="0" noProof="0" dirty="0">
                <a:ln>
                  <a:noFill/>
                </a:ln>
                <a:solidFill>
                  <a:srgbClr val="000000"/>
                </a:solidFill>
                <a:effectLst/>
                <a:uLnTx/>
                <a:uFillTx/>
                <a:latin typeface="OPPOSans R" panose="00020600040101010101" pitchFamily="18" charset="-122"/>
                <a:ea typeface="OPPOSans R" panose="00020600040101010101" pitchFamily="18" charset="-122"/>
                <a:cs typeface="OPPOSans R" panose="00020600040101010101" pitchFamily="18" charset="-122"/>
              </a:rPr>
              <a:t>借助秋叶</a:t>
            </a:r>
            <a:r>
              <a:rPr kumimoji="0" lang="en-US" altLang="zh-CN" sz="1400" b="0" i="0" u="none" strike="noStrike" kern="1200" cap="none" spc="0" normalizeH="0" baseline="0" noProof="0" dirty="0">
                <a:ln>
                  <a:noFill/>
                </a:ln>
                <a:solidFill>
                  <a:srgbClr val="000000"/>
                </a:solidFill>
                <a:effectLst/>
                <a:uLnTx/>
                <a:uFillTx/>
                <a:latin typeface="OPPOSans R" panose="00020600040101010101" pitchFamily="18" charset="-122"/>
                <a:ea typeface="OPPOSans R" panose="00020600040101010101" pitchFamily="18" charset="-122"/>
                <a:cs typeface="OPPOSans R" panose="00020600040101010101" pitchFamily="18" charset="-122"/>
              </a:rPr>
              <a:t>PPT</a:t>
            </a:r>
            <a:r>
              <a:rPr kumimoji="0" lang="zh-CN" altLang="en-US" sz="1400" b="0" i="0" u="none" strike="noStrike" kern="1200" cap="none" spc="0" normalizeH="0" baseline="0" noProof="0" dirty="0">
                <a:ln>
                  <a:noFill/>
                </a:ln>
                <a:solidFill>
                  <a:srgbClr val="000000"/>
                </a:solidFill>
                <a:effectLst/>
                <a:uLnTx/>
                <a:uFillTx/>
                <a:latin typeface="OPPOSans R" panose="00020600040101010101" pitchFamily="18" charset="-122"/>
                <a:ea typeface="OPPOSans R" panose="00020600040101010101" pitchFamily="18" charset="-122"/>
                <a:cs typeface="OPPOSans R" panose="00020600040101010101" pitchFamily="18" charset="-122"/>
              </a:rPr>
              <a:t>插件，用强大视觉表现力打动听众</a:t>
            </a:r>
          </a:p>
        </p:txBody>
      </p:sp>
      <p:sp>
        <p:nvSpPr>
          <p:cNvPr id="71" name="gaoding-35">
            <a:extLst>
              <a:ext uri="{FF2B5EF4-FFF2-40B4-BE49-F238E27FC236}">
                <a16:creationId xmlns:a16="http://schemas.microsoft.com/office/drawing/2014/main" id="{B0CE3916-3A1C-4CF6-B5B1-0A77805F603A}"/>
              </a:ext>
            </a:extLst>
          </p:cNvPr>
          <p:cNvSpPr txBox="1"/>
          <p:nvPr/>
        </p:nvSpPr>
        <p:spPr>
          <a:xfrm>
            <a:off x="7616774" y="5150578"/>
            <a:ext cx="2531160" cy="542200"/>
          </a:xfrm>
          <a:prstGeom prst="rect">
            <a:avLst/>
          </a:prstGeom>
          <a:noFill/>
        </p:spPr>
        <p:txBody>
          <a:bodyPr wrap="square" lIns="0" tIns="0" rIns="0" bIns="0" rtlCol="0">
            <a:spAutoFit/>
          </a:bodyPr>
          <a:lstStyle/>
          <a:p>
            <a:pPr marL="0" marR="0" lvl="0" indent="0" algn="l" defTabSz="914400" rtl="0" eaLnBrk="1" fontAlgn="auto" latinLnBrk="0" hangingPunct="1">
              <a:lnSpc>
                <a:spcPct val="130000"/>
              </a:lnSpc>
              <a:spcBef>
                <a:spcPts val="0"/>
              </a:spcBef>
              <a:spcAft>
                <a:spcPts val="0"/>
              </a:spcAft>
              <a:buClrTx/>
              <a:buSzTx/>
              <a:buFontTx/>
              <a:buNone/>
              <a:tabLst/>
              <a:defRPr/>
            </a:pPr>
            <a:r>
              <a:rPr kumimoji="0" lang="zh-CN" altLang="en-US" sz="1400" b="0" i="0" u="none" strike="noStrike" kern="1200" cap="none" spc="0" normalizeH="0" baseline="0" noProof="0" dirty="0">
                <a:ln>
                  <a:noFill/>
                </a:ln>
                <a:solidFill>
                  <a:srgbClr val="000000"/>
                </a:solidFill>
                <a:effectLst/>
                <a:uLnTx/>
                <a:uFillTx/>
                <a:latin typeface="OPPOSans R" panose="00020600040101010101" pitchFamily="18" charset="-122"/>
                <a:ea typeface="OPPOSans R" panose="00020600040101010101" pitchFamily="18" charset="-122"/>
                <a:cs typeface="OPPOSans R" panose="00020600040101010101" pitchFamily="18" charset="-122"/>
              </a:rPr>
              <a:t>秋叶</a:t>
            </a:r>
            <a:r>
              <a:rPr kumimoji="0" lang="en-US" altLang="zh-CN" sz="1400" b="0" i="0" u="none" strike="noStrike" kern="1200" cap="none" spc="0" normalizeH="0" baseline="0" noProof="0" dirty="0">
                <a:ln>
                  <a:noFill/>
                </a:ln>
                <a:solidFill>
                  <a:srgbClr val="000000"/>
                </a:solidFill>
                <a:effectLst/>
                <a:uLnTx/>
                <a:uFillTx/>
                <a:latin typeface="OPPOSans R" panose="00020600040101010101" pitchFamily="18" charset="-122"/>
                <a:ea typeface="OPPOSans R" panose="00020600040101010101" pitchFamily="18" charset="-122"/>
                <a:cs typeface="OPPOSans R" panose="00020600040101010101" pitchFamily="18" charset="-122"/>
              </a:rPr>
              <a:t>PPT</a:t>
            </a:r>
            <a:r>
              <a:rPr kumimoji="0" lang="zh-CN" altLang="en-US" sz="1400" b="0" i="0" u="none" strike="noStrike" kern="1200" cap="none" spc="0" normalizeH="0" baseline="0" noProof="0" dirty="0">
                <a:ln>
                  <a:noFill/>
                </a:ln>
                <a:solidFill>
                  <a:srgbClr val="000000"/>
                </a:solidFill>
                <a:effectLst/>
                <a:uLnTx/>
                <a:uFillTx/>
                <a:latin typeface="OPPOSans R" panose="00020600040101010101" pitchFamily="18" charset="-122"/>
                <a:ea typeface="OPPOSans R" panose="00020600040101010101" pitchFamily="18" charset="-122"/>
                <a:cs typeface="OPPOSans R" panose="00020600040101010101" pitchFamily="18" charset="-122"/>
              </a:rPr>
              <a:t>，科技为创作赋能，更多时间留给演示创作</a:t>
            </a:r>
          </a:p>
        </p:txBody>
      </p:sp>
      <p:sp>
        <p:nvSpPr>
          <p:cNvPr id="42" name="gaoding-36">
            <a:extLst>
              <a:ext uri="{FF2B5EF4-FFF2-40B4-BE49-F238E27FC236}">
                <a16:creationId xmlns:a16="http://schemas.microsoft.com/office/drawing/2014/main" id="{D0C22B44-4607-4DE6-B739-69916043D6E3}"/>
              </a:ext>
            </a:extLst>
          </p:cNvPr>
          <p:cNvSpPr/>
          <p:nvPr/>
        </p:nvSpPr>
        <p:spPr>
          <a:xfrm rot="304161" flipH="1">
            <a:off x="4180978" y="2996897"/>
            <a:ext cx="2158914" cy="416391"/>
          </a:xfrm>
          <a:custGeom>
            <a:avLst/>
            <a:gdLst>
              <a:gd name="connsiteX0" fmla="*/ 0 w 1808300"/>
              <a:gd name="connsiteY0" fmla="*/ 0 h 836207"/>
              <a:gd name="connsiteX1" fmla="*/ 1808300 w 1808300"/>
              <a:gd name="connsiteY1" fmla="*/ 0 h 836207"/>
              <a:gd name="connsiteX2" fmla="*/ 1808300 w 1808300"/>
              <a:gd name="connsiteY2" fmla="*/ 836207 h 836207"/>
              <a:gd name="connsiteX3" fmla="*/ 0 w 1808300"/>
              <a:gd name="connsiteY3" fmla="*/ 836207 h 836207"/>
              <a:gd name="connsiteX4" fmla="*/ 0 w 1808300"/>
              <a:gd name="connsiteY4" fmla="*/ 0 h 836207"/>
              <a:gd name="connsiteX0" fmla="*/ 0 w 1826855"/>
              <a:gd name="connsiteY0" fmla="*/ 0 h 842635"/>
              <a:gd name="connsiteX1" fmla="*/ 1826855 w 1826855"/>
              <a:gd name="connsiteY1" fmla="*/ 6428 h 842635"/>
              <a:gd name="connsiteX2" fmla="*/ 1826855 w 1826855"/>
              <a:gd name="connsiteY2" fmla="*/ 842635 h 842635"/>
              <a:gd name="connsiteX3" fmla="*/ 18555 w 1826855"/>
              <a:gd name="connsiteY3" fmla="*/ 842635 h 842635"/>
              <a:gd name="connsiteX4" fmla="*/ 0 w 1826855"/>
              <a:gd name="connsiteY4" fmla="*/ 0 h 842635"/>
              <a:gd name="connsiteX0" fmla="*/ 0 w 1826855"/>
              <a:gd name="connsiteY0" fmla="*/ 0 h 842635"/>
              <a:gd name="connsiteX1" fmla="*/ 1826855 w 1826855"/>
              <a:gd name="connsiteY1" fmla="*/ 6428 h 842635"/>
              <a:gd name="connsiteX2" fmla="*/ 1805437 w 1826855"/>
              <a:gd name="connsiteY2" fmla="*/ 278473 h 842635"/>
              <a:gd name="connsiteX3" fmla="*/ 18555 w 1826855"/>
              <a:gd name="connsiteY3" fmla="*/ 842635 h 842635"/>
              <a:gd name="connsiteX4" fmla="*/ 0 w 1826855"/>
              <a:gd name="connsiteY4" fmla="*/ 0 h 842635"/>
              <a:gd name="connsiteX0" fmla="*/ 0 w 1826855"/>
              <a:gd name="connsiteY0" fmla="*/ 0 h 842635"/>
              <a:gd name="connsiteX1" fmla="*/ 1826855 w 1826855"/>
              <a:gd name="connsiteY1" fmla="*/ 6428 h 842635"/>
              <a:gd name="connsiteX2" fmla="*/ 1774996 w 1826855"/>
              <a:gd name="connsiteY2" fmla="*/ 242594 h 842635"/>
              <a:gd name="connsiteX3" fmla="*/ 18555 w 1826855"/>
              <a:gd name="connsiteY3" fmla="*/ 842635 h 842635"/>
              <a:gd name="connsiteX4" fmla="*/ 0 w 1826855"/>
              <a:gd name="connsiteY4" fmla="*/ 0 h 842635"/>
              <a:gd name="connsiteX0" fmla="*/ 0 w 1826855"/>
              <a:gd name="connsiteY0" fmla="*/ 0 h 842635"/>
              <a:gd name="connsiteX1" fmla="*/ 1826855 w 1826855"/>
              <a:gd name="connsiteY1" fmla="*/ 6428 h 842635"/>
              <a:gd name="connsiteX2" fmla="*/ 1802204 w 1826855"/>
              <a:gd name="connsiteY2" fmla="*/ 287682 h 842635"/>
              <a:gd name="connsiteX3" fmla="*/ 18555 w 1826855"/>
              <a:gd name="connsiteY3" fmla="*/ 842635 h 842635"/>
              <a:gd name="connsiteX4" fmla="*/ 0 w 1826855"/>
              <a:gd name="connsiteY4" fmla="*/ 0 h 842635"/>
              <a:gd name="connsiteX0" fmla="*/ 0 w 1826855"/>
              <a:gd name="connsiteY0" fmla="*/ 0 h 350476"/>
              <a:gd name="connsiteX1" fmla="*/ 1826855 w 1826855"/>
              <a:gd name="connsiteY1" fmla="*/ 6428 h 350476"/>
              <a:gd name="connsiteX2" fmla="*/ 1802204 w 1826855"/>
              <a:gd name="connsiteY2" fmla="*/ 287682 h 350476"/>
              <a:gd name="connsiteX3" fmla="*/ 1036767 w 1826855"/>
              <a:gd name="connsiteY3" fmla="*/ 350476 h 350476"/>
              <a:gd name="connsiteX4" fmla="*/ 0 w 1826855"/>
              <a:gd name="connsiteY4" fmla="*/ 0 h 350476"/>
              <a:gd name="connsiteX0" fmla="*/ 0 w 1826855"/>
              <a:gd name="connsiteY0" fmla="*/ 0 h 355906"/>
              <a:gd name="connsiteX1" fmla="*/ 1826855 w 1826855"/>
              <a:gd name="connsiteY1" fmla="*/ 6428 h 355906"/>
              <a:gd name="connsiteX2" fmla="*/ 1802204 w 1826855"/>
              <a:gd name="connsiteY2" fmla="*/ 287682 h 355906"/>
              <a:gd name="connsiteX3" fmla="*/ 1098804 w 1826855"/>
              <a:gd name="connsiteY3" fmla="*/ 355906 h 355906"/>
              <a:gd name="connsiteX4" fmla="*/ 0 w 1826855"/>
              <a:gd name="connsiteY4" fmla="*/ 0 h 3559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6855" h="355906">
                <a:moveTo>
                  <a:pt x="0" y="0"/>
                </a:moveTo>
                <a:lnTo>
                  <a:pt x="1826855" y="6428"/>
                </a:lnTo>
                <a:lnTo>
                  <a:pt x="1802204" y="287682"/>
                </a:lnTo>
                <a:lnTo>
                  <a:pt x="1098804" y="355906"/>
                </a:lnTo>
                <a:lnTo>
                  <a:pt x="0" y="0"/>
                </a:lnTo>
                <a:close/>
              </a:path>
            </a:pathLst>
          </a:custGeom>
          <a:solidFill>
            <a:schemeClr val="bg2">
              <a:lumMod val="90000"/>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dirty="0">
              <a:ln>
                <a:noFill/>
              </a:ln>
              <a:solidFill>
                <a:srgbClr val="FFFFFF"/>
              </a:solidFill>
              <a:effectLst/>
              <a:uLnTx/>
              <a:uFillTx/>
              <a:latin typeface="OPPOSans R" panose="00020600040101010101" pitchFamily="18" charset="-122"/>
              <a:ea typeface="微软雅黑"/>
              <a:cs typeface="+mn-cs"/>
            </a:endParaRPr>
          </a:p>
        </p:txBody>
      </p:sp>
      <p:sp>
        <p:nvSpPr>
          <p:cNvPr id="43" name="gaoding-37">
            <a:extLst>
              <a:ext uri="{FF2B5EF4-FFF2-40B4-BE49-F238E27FC236}">
                <a16:creationId xmlns:a16="http://schemas.microsoft.com/office/drawing/2014/main" id="{FE0662C8-9E75-4710-A46D-C50CA6202B0C}"/>
              </a:ext>
            </a:extLst>
          </p:cNvPr>
          <p:cNvSpPr/>
          <p:nvPr/>
        </p:nvSpPr>
        <p:spPr>
          <a:xfrm rot="21295839">
            <a:off x="2436291" y="4354602"/>
            <a:ext cx="1790625" cy="372464"/>
          </a:xfrm>
          <a:custGeom>
            <a:avLst/>
            <a:gdLst>
              <a:gd name="connsiteX0" fmla="*/ 0 w 1808300"/>
              <a:gd name="connsiteY0" fmla="*/ 0 h 836207"/>
              <a:gd name="connsiteX1" fmla="*/ 1808300 w 1808300"/>
              <a:gd name="connsiteY1" fmla="*/ 0 h 836207"/>
              <a:gd name="connsiteX2" fmla="*/ 1808300 w 1808300"/>
              <a:gd name="connsiteY2" fmla="*/ 836207 h 836207"/>
              <a:gd name="connsiteX3" fmla="*/ 0 w 1808300"/>
              <a:gd name="connsiteY3" fmla="*/ 836207 h 836207"/>
              <a:gd name="connsiteX4" fmla="*/ 0 w 1808300"/>
              <a:gd name="connsiteY4" fmla="*/ 0 h 836207"/>
              <a:gd name="connsiteX0" fmla="*/ 0 w 1826855"/>
              <a:gd name="connsiteY0" fmla="*/ 0 h 842635"/>
              <a:gd name="connsiteX1" fmla="*/ 1826855 w 1826855"/>
              <a:gd name="connsiteY1" fmla="*/ 6428 h 842635"/>
              <a:gd name="connsiteX2" fmla="*/ 1826855 w 1826855"/>
              <a:gd name="connsiteY2" fmla="*/ 842635 h 842635"/>
              <a:gd name="connsiteX3" fmla="*/ 18555 w 1826855"/>
              <a:gd name="connsiteY3" fmla="*/ 842635 h 842635"/>
              <a:gd name="connsiteX4" fmla="*/ 0 w 1826855"/>
              <a:gd name="connsiteY4" fmla="*/ 0 h 842635"/>
              <a:gd name="connsiteX0" fmla="*/ 0 w 1826855"/>
              <a:gd name="connsiteY0" fmla="*/ 0 h 842635"/>
              <a:gd name="connsiteX1" fmla="*/ 1826855 w 1826855"/>
              <a:gd name="connsiteY1" fmla="*/ 6428 h 842635"/>
              <a:gd name="connsiteX2" fmla="*/ 1805437 w 1826855"/>
              <a:gd name="connsiteY2" fmla="*/ 278473 h 842635"/>
              <a:gd name="connsiteX3" fmla="*/ 18555 w 1826855"/>
              <a:gd name="connsiteY3" fmla="*/ 842635 h 842635"/>
              <a:gd name="connsiteX4" fmla="*/ 0 w 1826855"/>
              <a:gd name="connsiteY4" fmla="*/ 0 h 842635"/>
              <a:gd name="connsiteX0" fmla="*/ 0 w 1826855"/>
              <a:gd name="connsiteY0" fmla="*/ 0 h 842635"/>
              <a:gd name="connsiteX1" fmla="*/ 1826855 w 1826855"/>
              <a:gd name="connsiteY1" fmla="*/ 6428 h 842635"/>
              <a:gd name="connsiteX2" fmla="*/ 1774996 w 1826855"/>
              <a:gd name="connsiteY2" fmla="*/ 242594 h 842635"/>
              <a:gd name="connsiteX3" fmla="*/ 18555 w 1826855"/>
              <a:gd name="connsiteY3" fmla="*/ 842635 h 842635"/>
              <a:gd name="connsiteX4" fmla="*/ 0 w 1826855"/>
              <a:gd name="connsiteY4" fmla="*/ 0 h 842635"/>
              <a:gd name="connsiteX0" fmla="*/ 0 w 1826855"/>
              <a:gd name="connsiteY0" fmla="*/ 0 h 842635"/>
              <a:gd name="connsiteX1" fmla="*/ 1826855 w 1826855"/>
              <a:gd name="connsiteY1" fmla="*/ 6428 h 842635"/>
              <a:gd name="connsiteX2" fmla="*/ 1802204 w 1826855"/>
              <a:gd name="connsiteY2" fmla="*/ 287682 h 842635"/>
              <a:gd name="connsiteX3" fmla="*/ 18555 w 1826855"/>
              <a:gd name="connsiteY3" fmla="*/ 842635 h 842635"/>
              <a:gd name="connsiteX4" fmla="*/ 0 w 1826855"/>
              <a:gd name="connsiteY4" fmla="*/ 0 h 842635"/>
              <a:gd name="connsiteX0" fmla="*/ 0 w 1826855"/>
              <a:gd name="connsiteY0" fmla="*/ 0 h 350476"/>
              <a:gd name="connsiteX1" fmla="*/ 1826855 w 1826855"/>
              <a:gd name="connsiteY1" fmla="*/ 6428 h 350476"/>
              <a:gd name="connsiteX2" fmla="*/ 1802204 w 1826855"/>
              <a:gd name="connsiteY2" fmla="*/ 287682 h 350476"/>
              <a:gd name="connsiteX3" fmla="*/ 1036767 w 1826855"/>
              <a:gd name="connsiteY3" fmla="*/ 350476 h 350476"/>
              <a:gd name="connsiteX4" fmla="*/ 0 w 1826855"/>
              <a:gd name="connsiteY4" fmla="*/ 0 h 350476"/>
              <a:gd name="connsiteX0" fmla="*/ 0 w 1826855"/>
              <a:gd name="connsiteY0" fmla="*/ 0 h 355906"/>
              <a:gd name="connsiteX1" fmla="*/ 1826855 w 1826855"/>
              <a:gd name="connsiteY1" fmla="*/ 6428 h 355906"/>
              <a:gd name="connsiteX2" fmla="*/ 1802204 w 1826855"/>
              <a:gd name="connsiteY2" fmla="*/ 287682 h 355906"/>
              <a:gd name="connsiteX3" fmla="*/ 1098804 w 1826855"/>
              <a:gd name="connsiteY3" fmla="*/ 355906 h 355906"/>
              <a:gd name="connsiteX4" fmla="*/ 0 w 1826855"/>
              <a:gd name="connsiteY4" fmla="*/ 0 h 355906"/>
              <a:gd name="connsiteX0" fmla="*/ 0 w 1826855"/>
              <a:gd name="connsiteY0" fmla="*/ 0 h 343621"/>
              <a:gd name="connsiteX1" fmla="*/ 1826855 w 1826855"/>
              <a:gd name="connsiteY1" fmla="*/ 6428 h 343621"/>
              <a:gd name="connsiteX2" fmla="*/ 1802204 w 1826855"/>
              <a:gd name="connsiteY2" fmla="*/ 287682 h 343621"/>
              <a:gd name="connsiteX3" fmla="*/ 1071111 w 1826855"/>
              <a:gd name="connsiteY3" fmla="*/ 343621 h 343621"/>
              <a:gd name="connsiteX4" fmla="*/ 0 w 1826855"/>
              <a:gd name="connsiteY4" fmla="*/ 0 h 343621"/>
              <a:gd name="connsiteX0" fmla="*/ 0 w 1826855"/>
              <a:gd name="connsiteY0" fmla="*/ 0 h 343621"/>
              <a:gd name="connsiteX1" fmla="*/ 1826855 w 1826855"/>
              <a:gd name="connsiteY1" fmla="*/ 6428 h 343621"/>
              <a:gd name="connsiteX2" fmla="*/ 1800351 w 1826855"/>
              <a:gd name="connsiteY2" fmla="*/ 277404 h 343621"/>
              <a:gd name="connsiteX3" fmla="*/ 1071111 w 1826855"/>
              <a:gd name="connsiteY3" fmla="*/ 343621 h 343621"/>
              <a:gd name="connsiteX4" fmla="*/ 0 w 1826855"/>
              <a:gd name="connsiteY4" fmla="*/ 0 h 343621"/>
              <a:gd name="connsiteX0" fmla="*/ 0 w 1826855"/>
              <a:gd name="connsiteY0" fmla="*/ 0 h 343621"/>
              <a:gd name="connsiteX1" fmla="*/ 1826855 w 1826855"/>
              <a:gd name="connsiteY1" fmla="*/ 6428 h 343621"/>
              <a:gd name="connsiteX2" fmla="*/ 1799842 w 1826855"/>
              <a:gd name="connsiteY2" fmla="*/ 282432 h 343621"/>
              <a:gd name="connsiteX3" fmla="*/ 1071111 w 1826855"/>
              <a:gd name="connsiteY3" fmla="*/ 343621 h 343621"/>
              <a:gd name="connsiteX4" fmla="*/ 0 w 1826855"/>
              <a:gd name="connsiteY4" fmla="*/ 0 h 343621"/>
              <a:gd name="connsiteX0" fmla="*/ 0 w 1827534"/>
              <a:gd name="connsiteY0" fmla="*/ 275 h 337193"/>
              <a:gd name="connsiteX1" fmla="*/ 1827534 w 1827534"/>
              <a:gd name="connsiteY1" fmla="*/ 0 h 337193"/>
              <a:gd name="connsiteX2" fmla="*/ 1800521 w 1827534"/>
              <a:gd name="connsiteY2" fmla="*/ 276004 h 337193"/>
              <a:gd name="connsiteX3" fmla="*/ 1071790 w 1827534"/>
              <a:gd name="connsiteY3" fmla="*/ 337193 h 337193"/>
              <a:gd name="connsiteX4" fmla="*/ 0 w 1827534"/>
              <a:gd name="connsiteY4" fmla="*/ 275 h 337193"/>
              <a:gd name="connsiteX0" fmla="*/ 0 w 1823366"/>
              <a:gd name="connsiteY0" fmla="*/ 0 h 339973"/>
              <a:gd name="connsiteX1" fmla="*/ 1823366 w 1823366"/>
              <a:gd name="connsiteY1" fmla="*/ 2780 h 339973"/>
              <a:gd name="connsiteX2" fmla="*/ 1796353 w 1823366"/>
              <a:gd name="connsiteY2" fmla="*/ 278784 h 339973"/>
              <a:gd name="connsiteX3" fmla="*/ 1067622 w 1823366"/>
              <a:gd name="connsiteY3" fmla="*/ 339973 h 339973"/>
              <a:gd name="connsiteX4" fmla="*/ 0 w 1823366"/>
              <a:gd name="connsiteY4" fmla="*/ 0 h 3399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3366" h="339973">
                <a:moveTo>
                  <a:pt x="0" y="0"/>
                </a:moveTo>
                <a:lnTo>
                  <a:pt x="1823366" y="2780"/>
                </a:lnTo>
                <a:lnTo>
                  <a:pt x="1796353" y="278784"/>
                </a:lnTo>
                <a:lnTo>
                  <a:pt x="1067622" y="339973"/>
                </a:lnTo>
                <a:lnTo>
                  <a:pt x="0" y="0"/>
                </a:lnTo>
                <a:close/>
              </a:path>
            </a:pathLst>
          </a:cu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dirty="0">
              <a:ln>
                <a:noFill/>
              </a:ln>
              <a:solidFill>
                <a:srgbClr val="FFFFFF"/>
              </a:solidFill>
              <a:effectLst/>
              <a:uLnTx/>
              <a:uFillTx/>
              <a:latin typeface="OPPOSans R" panose="00020600040101010101" pitchFamily="18" charset="-122"/>
              <a:ea typeface="微软雅黑"/>
              <a:cs typeface="+mn-cs"/>
            </a:endParaRPr>
          </a:p>
        </p:txBody>
      </p:sp>
    </p:spTree>
    <p:custDataLst>
      <p:tags r:id="rId2"/>
    </p:custDataLst>
    <p:extLst>
      <p:ext uri="{BB962C8B-B14F-4D97-AF65-F5344CB8AC3E}">
        <p14:creationId xmlns:p14="http://schemas.microsoft.com/office/powerpoint/2010/main" val="1619804268"/>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5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1" name="gaoding-21">
            <a:extLst>
              <a:ext uri="{FF2B5EF4-FFF2-40B4-BE49-F238E27FC236}">
                <a16:creationId xmlns:a16="http://schemas.microsoft.com/office/drawing/2014/main" id="{C96A1187-2476-C80A-A8D0-D4625B8431B4}"/>
              </a:ext>
            </a:extLst>
          </p:cNvPr>
          <p:cNvGrpSpPr/>
          <p:nvPr/>
        </p:nvGrpSpPr>
        <p:grpSpPr>
          <a:xfrm>
            <a:off x="962024" y="1540561"/>
            <a:ext cx="4714240" cy="4583544"/>
            <a:chOff x="689662" y="1552065"/>
            <a:chExt cx="4800920" cy="4583544"/>
          </a:xfrm>
        </p:grpSpPr>
        <p:grpSp>
          <p:nvGrpSpPr>
            <p:cNvPr id="42" name="组合 41">
              <a:extLst>
                <a:ext uri="{FF2B5EF4-FFF2-40B4-BE49-F238E27FC236}">
                  <a16:creationId xmlns:a16="http://schemas.microsoft.com/office/drawing/2014/main" id="{B02364AF-96D6-B12C-E590-95C8B3D15B04}"/>
                </a:ext>
              </a:extLst>
            </p:cNvPr>
            <p:cNvGrpSpPr/>
            <p:nvPr/>
          </p:nvGrpSpPr>
          <p:grpSpPr>
            <a:xfrm>
              <a:off x="689662" y="1552065"/>
              <a:ext cx="4800920" cy="4583544"/>
              <a:chOff x="2454014" y="1687049"/>
              <a:chExt cx="4800920" cy="4583544"/>
            </a:xfrm>
          </p:grpSpPr>
          <p:sp>
            <p:nvSpPr>
              <p:cNvPr id="75" name="gaoding-21-1">
                <a:extLst>
                  <a:ext uri="{FF2B5EF4-FFF2-40B4-BE49-F238E27FC236}">
                    <a16:creationId xmlns:a16="http://schemas.microsoft.com/office/drawing/2014/main" id="{DC9F5DE2-7145-0FB3-1EF4-B770A820F018}"/>
                  </a:ext>
                </a:extLst>
              </p:cNvPr>
              <p:cNvSpPr/>
              <p:nvPr/>
            </p:nvSpPr>
            <p:spPr>
              <a:xfrm>
                <a:off x="2454014" y="1687049"/>
                <a:ext cx="4800920" cy="4583544"/>
              </a:xfrm>
              <a:custGeom>
                <a:avLst/>
                <a:gdLst>
                  <a:gd name="connsiteX0" fmla="*/ 342139 w 3230880"/>
                  <a:gd name="connsiteY0" fmla="*/ 2294657 h 3084592"/>
                  <a:gd name="connsiteX1" fmla="*/ 2888741 w 3230880"/>
                  <a:gd name="connsiteY1" fmla="*/ 2294657 h 3084592"/>
                  <a:gd name="connsiteX2" fmla="*/ 3220088 w 3230880"/>
                  <a:gd name="connsiteY2" fmla="*/ 2891788 h 3084592"/>
                  <a:gd name="connsiteX3" fmla="*/ 3222540 w 3230880"/>
                  <a:gd name="connsiteY3" fmla="*/ 2893512 h 3084592"/>
                  <a:gd name="connsiteX4" fmla="*/ 3230880 w 3230880"/>
                  <a:gd name="connsiteY4" fmla="*/ 2911236 h 3084592"/>
                  <a:gd name="connsiteX5" fmla="*/ 1615440 w 3230880"/>
                  <a:gd name="connsiteY5" fmla="*/ 3084592 h 3084592"/>
                  <a:gd name="connsiteX6" fmla="*/ 0 w 3230880"/>
                  <a:gd name="connsiteY6" fmla="*/ 2911236 h 3084592"/>
                  <a:gd name="connsiteX7" fmla="*/ 8341 w 3230880"/>
                  <a:gd name="connsiteY7" fmla="*/ 2893512 h 3084592"/>
                  <a:gd name="connsiteX8" fmla="*/ 10792 w 3230880"/>
                  <a:gd name="connsiteY8" fmla="*/ 2891788 h 3084592"/>
                  <a:gd name="connsiteX9" fmla="*/ 734332 w 3230880"/>
                  <a:gd name="connsiteY9" fmla="*/ 1587873 h 3084592"/>
                  <a:gd name="connsiteX10" fmla="*/ 2496548 w 3230880"/>
                  <a:gd name="connsiteY10" fmla="*/ 1587873 h 3084592"/>
                  <a:gd name="connsiteX11" fmla="*/ 2741965 w 3230880"/>
                  <a:gd name="connsiteY11" fmla="*/ 2030147 h 3084592"/>
                  <a:gd name="connsiteX12" fmla="*/ 488915 w 3230880"/>
                  <a:gd name="connsiteY12" fmla="*/ 2030147 h 3084592"/>
                  <a:gd name="connsiteX13" fmla="*/ 1089560 w 3230880"/>
                  <a:gd name="connsiteY13" fmla="*/ 947706 h 3084592"/>
                  <a:gd name="connsiteX14" fmla="*/ 2141321 w 3230880"/>
                  <a:gd name="connsiteY14" fmla="*/ 947706 h 3084592"/>
                  <a:gd name="connsiteX15" fmla="*/ 2349772 w 3230880"/>
                  <a:gd name="connsiteY15" fmla="*/ 1323363 h 3084592"/>
                  <a:gd name="connsiteX16" fmla="*/ 881108 w 3230880"/>
                  <a:gd name="connsiteY16" fmla="*/ 1323363 h 3084592"/>
                  <a:gd name="connsiteX17" fmla="*/ 1615440 w 3230880"/>
                  <a:gd name="connsiteY17" fmla="*/ 0 h 3084592"/>
                  <a:gd name="connsiteX18" fmla="*/ 1994545 w 3230880"/>
                  <a:gd name="connsiteY18" fmla="*/ 683196 h 3084592"/>
                  <a:gd name="connsiteX19" fmla="*/ 1236336 w 3230880"/>
                  <a:gd name="connsiteY19" fmla="*/ 683196 h 30845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230880" h="3084592">
                    <a:moveTo>
                      <a:pt x="342139" y="2294657"/>
                    </a:moveTo>
                    <a:lnTo>
                      <a:pt x="2888741" y="2294657"/>
                    </a:lnTo>
                    <a:lnTo>
                      <a:pt x="3220088" y="2891788"/>
                    </a:lnTo>
                    <a:lnTo>
                      <a:pt x="3222540" y="2893512"/>
                    </a:lnTo>
                    <a:cubicBezTo>
                      <a:pt x="3228055" y="2899339"/>
                      <a:pt x="3230880" y="2905252"/>
                      <a:pt x="3230880" y="2911236"/>
                    </a:cubicBezTo>
                    <a:cubicBezTo>
                      <a:pt x="3230880" y="3006978"/>
                      <a:pt x="2507623" y="3084592"/>
                      <a:pt x="1615440" y="3084592"/>
                    </a:cubicBezTo>
                    <a:cubicBezTo>
                      <a:pt x="723257" y="3084592"/>
                      <a:pt x="0" y="3006978"/>
                      <a:pt x="0" y="2911236"/>
                    </a:cubicBezTo>
                    <a:cubicBezTo>
                      <a:pt x="0" y="2905252"/>
                      <a:pt x="2826" y="2899339"/>
                      <a:pt x="8341" y="2893512"/>
                    </a:cubicBezTo>
                    <a:lnTo>
                      <a:pt x="10792" y="2891788"/>
                    </a:lnTo>
                    <a:close/>
                    <a:moveTo>
                      <a:pt x="734332" y="1587873"/>
                    </a:moveTo>
                    <a:lnTo>
                      <a:pt x="2496548" y="1587873"/>
                    </a:lnTo>
                    <a:lnTo>
                      <a:pt x="2741965" y="2030147"/>
                    </a:lnTo>
                    <a:lnTo>
                      <a:pt x="488915" y="2030147"/>
                    </a:lnTo>
                    <a:close/>
                    <a:moveTo>
                      <a:pt x="1089560" y="947706"/>
                    </a:moveTo>
                    <a:lnTo>
                      <a:pt x="2141321" y="947706"/>
                    </a:lnTo>
                    <a:lnTo>
                      <a:pt x="2349772" y="1323363"/>
                    </a:lnTo>
                    <a:lnTo>
                      <a:pt x="881108" y="1323363"/>
                    </a:lnTo>
                    <a:close/>
                    <a:moveTo>
                      <a:pt x="1615440" y="0"/>
                    </a:moveTo>
                    <a:lnTo>
                      <a:pt x="1994545" y="683196"/>
                    </a:lnTo>
                    <a:lnTo>
                      <a:pt x="1236336" y="683196"/>
                    </a:lnTo>
                    <a:close/>
                  </a:path>
                </a:pathLst>
              </a:cu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Bahnschrift"/>
                  <a:ea typeface="OPPOSans M"/>
                  <a:cs typeface="+mn-cs"/>
                </a:endParaRPr>
              </a:p>
            </p:txBody>
          </p:sp>
          <p:sp>
            <p:nvSpPr>
              <p:cNvPr id="76" name="gaoding-21-2">
                <a:extLst>
                  <a:ext uri="{FF2B5EF4-FFF2-40B4-BE49-F238E27FC236}">
                    <a16:creationId xmlns:a16="http://schemas.microsoft.com/office/drawing/2014/main" id="{603CF477-23B0-17BE-C709-F6C36F4785B4}"/>
                  </a:ext>
                </a:extLst>
              </p:cNvPr>
              <p:cNvSpPr/>
              <p:nvPr/>
            </p:nvSpPr>
            <p:spPr>
              <a:xfrm>
                <a:off x="4288326" y="2609122"/>
                <a:ext cx="1132291" cy="17789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Bahnschrift"/>
                  <a:ea typeface="OPPOSans M"/>
                  <a:cs typeface="+mn-cs"/>
                </a:endParaRPr>
              </a:p>
            </p:txBody>
          </p:sp>
          <p:sp>
            <p:nvSpPr>
              <p:cNvPr id="77" name="gaoding-21-3">
                <a:extLst>
                  <a:ext uri="{FF2B5EF4-FFF2-40B4-BE49-F238E27FC236}">
                    <a16:creationId xmlns:a16="http://schemas.microsoft.com/office/drawing/2014/main" id="{94C911C2-72F2-2765-F8C4-8DDBF57732FF}"/>
                  </a:ext>
                </a:extLst>
              </p:cNvPr>
              <p:cNvSpPr/>
              <p:nvPr/>
            </p:nvSpPr>
            <p:spPr>
              <a:xfrm>
                <a:off x="3760470" y="3538220"/>
                <a:ext cx="2194560" cy="254918"/>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Bahnschrift"/>
                  <a:ea typeface="OPPOSans M"/>
                  <a:cs typeface="+mn-cs"/>
                </a:endParaRPr>
              </a:p>
            </p:txBody>
          </p:sp>
          <p:sp>
            <p:nvSpPr>
              <p:cNvPr id="78" name="gaoding-21-4">
                <a:extLst>
                  <a:ext uri="{FF2B5EF4-FFF2-40B4-BE49-F238E27FC236}">
                    <a16:creationId xmlns:a16="http://schemas.microsoft.com/office/drawing/2014/main" id="{85C1E800-5986-35C8-E112-5F360AD5E3C6}"/>
                  </a:ext>
                </a:extLst>
              </p:cNvPr>
              <p:cNvSpPr/>
              <p:nvPr/>
            </p:nvSpPr>
            <p:spPr>
              <a:xfrm>
                <a:off x="3181604" y="4584715"/>
                <a:ext cx="3344671" cy="25491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Bahnschrift"/>
                  <a:ea typeface="OPPOSans M"/>
                  <a:cs typeface="+mn-cs"/>
                </a:endParaRPr>
              </a:p>
            </p:txBody>
          </p:sp>
          <p:sp>
            <p:nvSpPr>
              <p:cNvPr id="79" name="gaoding-21-5">
                <a:extLst>
                  <a:ext uri="{FF2B5EF4-FFF2-40B4-BE49-F238E27FC236}">
                    <a16:creationId xmlns:a16="http://schemas.microsoft.com/office/drawing/2014/main" id="{2EF34E7A-D975-A547-1666-C1991A29967E}"/>
                  </a:ext>
                </a:extLst>
              </p:cNvPr>
              <p:cNvSpPr/>
              <p:nvPr/>
            </p:nvSpPr>
            <p:spPr>
              <a:xfrm>
                <a:off x="2963543" y="4962374"/>
                <a:ext cx="3781859" cy="25491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Bahnschrift"/>
                  <a:ea typeface="OPPOSans M"/>
                  <a:cs typeface="+mn-cs"/>
                </a:endParaRPr>
              </a:p>
            </p:txBody>
          </p:sp>
        </p:grpSp>
        <p:sp>
          <p:nvSpPr>
            <p:cNvPr id="43" name="gaoding-21-6">
              <a:extLst>
                <a:ext uri="{FF2B5EF4-FFF2-40B4-BE49-F238E27FC236}">
                  <a16:creationId xmlns:a16="http://schemas.microsoft.com/office/drawing/2014/main" id="{72196A75-E26B-6F54-A86D-02BA74150898}"/>
                </a:ext>
              </a:extLst>
            </p:cNvPr>
            <p:cNvSpPr txBox="1"/>
            <p:nvPr/>
          </p:nvSpPr>
          <p:spPr>
            <a:xfrm>
              <a:off x="2689413" y="2935399"/>
              <a:ext cx="903732"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200" b="1" i="0" u="none" strike="noStrike" kern="1200" cap="none" spc="0" normalizeH="0" baseline="0" noProof="0" dirty="0">
                  <a:ln>
                    <a:noFill/>
                  </a:ln>
                  <a:solidFill>
                    <a:srgbClr val="FFFFFF"/>
                  </a:solidFill>
                  <a:effectLst/>
                  <a:uLnTx/>
                  <a:uFillTx/>
                  <a:latin typeface="Bahnschrift"/>
                  <a:ea typeface="OPPOSans M"/>
                  <a:cs typeface="+mn-cs"/>
                </a:rPr>
                <a:t>秋叶设计</a:t>
              </a:r>
            </a:p>
          </p:txBody>
        </p:sp>
        <p:sp>
          <p:nvSpPr>
            <p:cNvPr id="44" name="gaoding-21-7">
              <a:extLst>
                <a:ext uri="{FF2B5EF4-FFF2-40B4-BE49-F238E27FC236}">
                  <a16:creationId xmlns:a16="http://schemas.microsoft.com/office/drawing/2014/main" id="{4342091D-D32C-E694-32AA-6D1A28C3B69D}"/>
                </a:ext>
              </a:extLst>
            </p:cNvPr>
            <p:cNvSpPr txBox="1"/>
            <p:nvPr/>
          </p:nvSpPr>
          <p:spPr>
            <a:xfrm>
              <a:off x="2404299" y="3148428"/>
              <a:ext cx="1473959"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050" b="0" i="0" u="none" strike="noStrike" kern="1200" cap="none" spc="0" normalizeH="0" baseline="0" noProof="0" dirty="0" err="1">
                  <a:ln>
                    <a:noFill/>
                  </a:ln>
                  <a:solidFill>
                    <a:srgbClr val="FFFFFF">
                      <a:lumMod val="85000"/>
                    </a:srgbClr>
                  </a:solidFill>
                  <a:effectLst/>
                  <a:uLnTx/>
                  <a:uFillTx/>
                  <a:latin typeface="Bahnschrift"/>
                  <a:ea typeface="OPPOSans M"/>
                  <a:cs typeface="+mn-cs"/>
                </a:rPr>
                <a:t>Qiuye</a:t>
              </a:r>
              <a:r>
                <a:rPr kumimoji="0" lang="en-US" altLang="zh-CN" sz="1050" b="0" i="0" u="none" strike="noStrike" kern="1200" cap="none" spc="0" normalizeH="0" baseline="0" noProof="0" dirty="0">
                  <a:ln>
                    <a:noFill/>
                  </a:ln>
                  <a:solidFill>
                    <a:srgbClr val="FFFFFF">
                      <a:lumMod val="85000"/>
                    </a:srgbClr>
                  </a:solidFill>
                  <a:effectLst/>
                  <a:uLnTx/>
                  <a:uFillTx/>
                  <a:latin typeface="Bahnschrift"/>
                  <a:ea typeface="OPPOSans M"/>
                  <a:cs typeface="+mn-cs"/>
                </a:rPr>
                <a:t> Design</a:t>
              </a:r>
              <a:endParaRPr kumimoji="0" lang="zh-CN" altLang="en-US" sz="1050" b="0" i="0" u="none" strike="noStrike" kern="1200" cap="none" spc="0" normalizeH="0" baseline="0" noProof="0" dirty="0">
                <a:ln>
                  <a:noFill/>
                </a:ln>
                <a:solidFill>
                  <a:srgbClr val="FFFFFF">
                    <a:lumMod val="85000"/>
                  </a:srgbClr>
                </a:solidFill>
                <a:effectLst/>
                <a:uLnTx/>
                <a:uFillTx/>
                <a:latin typeface="Bahnschrift"/>
                <a:ea typeface="OPPOSans M"/>
                <a:cs typeface="+mn-cs"/>
              </a:endParaRPr>
            </a:p>
          </p:txBody>
        </p:sp>
        <p:sp>
          <p:nvSpPr>
            <p:cNvPr id="63" name="gaoding-21-8">
              <a:extLst>
                <a:ext uri="{FF2B5EF4-FFF2-40B4-BE49-F238E27FC236}">
                  <a16:creationId xmlns:a16="http://schemas.microsoft.com/office/drawing/2014/main" id="{0548BA03-B614-06E7-4D43-DFB0AA127832}"/>
                </a:ext>
              </a:extLst>
            </p:cNvPr>
            <p:cNvSpPr txBox="1"/>
            <p:nvPr/>
          </p:nvSpPr>
          <p:spPr>
            <a:xfrm>
              <a:off x="2757676" y="1989787"/>
              <a:ext cx="697355"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200" b="1" i="0" u="none" strike="noStrike" kern="1200" cap="none" spc="0" normalizeH="0" baseline="0" noProof="0" dirty="0">
                  <a:ln>
                    <a:noFill/>
                  </a:ln>
                  <a:solidFill>
                    <a:srgbClr val="FFFFFF"/>
                  </a:solidFill>
                  <a:effectLst/>
                  <a:uLnTx/>
                  <a:uFillTx/>
                  <a:latin typeface="Bahnschrift"/>
                  <a:ea typeface="OPPOSans M"/>
                  <a:cs typeface="+mn-cs"/>
                </a:rPr>
                <a:t>秋叶</a:t>
              </a:r>
            </a:p>
          </p:txBody>
        </p:sp>
        <p:sp>
          <p:nvSpPr>
            <p:cNvPr id="70" name="gaoding-21-9">
              <a:extLst>
                <a:ext uri="{FF2B5EF4-FFF2-40B4-BE49-F238E27FC236}">
                  <a16:creationId xmlns:a16="http://schemas.microsoft.com/office/drawing/2014/main" id="{10C9136B-F360-9CE7-19FB-7774A3F35091}"/>
                </a:ext>
              </a:extLst>
            </p:cNvPr>
            <p:cNvSpPr txBox="1"/>
            <p:nvPr/>
          </p:nvSpPr>
          <p:spPr>
            <a:xfrm>
              <a:off x="2689413" y="2202043"/>
              <a:ext cx="833879"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050" b="0" i="0" u="none" strike="noStrike" kern="1200" cap="none" spc="0" normalizeH="0" baseline="0" noProof="0" dirty="0" err="1">
                  <a:ln>
                    <a:noFill/>
                  </a:ln>
                  <a:solidFill>
                    <a:srgbClr val="FFFFFF">
                      <a:lumMod val="85000"/>
                    </a:srgbClr>
                  </a:solidFill>
                  <a:effectLst/>
                  <a:uLnTx/>
                  <a:uFillTx/>
                  <a:latin typeface="Bahnschrift"/>
                  <a:ea typeface="OPPOSans M"/>
                  <a:cs typeface="+mn-cs"/>
                </a:rPr>
                <a:t>Qiuye</a:t>
              </a:r>
              <a:endParaRPr kumimoji="0" lang="zh-CN" altLang="en-US" sz="1050" b="0" i="0" u="none" strike="noStrike" kern="1200" cap="none" spc="0" normalizeH="0" baseline="0" noProof="0" dirty="0">
                <a:ln>
                  <a:noFill/>
                </a:ln>
                <a:solidFill>
                  <a:srgbClr val="FFFFFF">
                    <a:lumMod val="85000"/>
                  </a:srgbClr>
                </a:solidFill>
                <a:effectLst/>
                <a:uLnTx/>
                <a:uFillTx/>
                <a:latin typeface="Bahnschrift"/>
                <a:ea typeface="OPPOSans M"/>
                <a:cs typeface="+mn-cs"/>
              </a:endParaRPr>
            </a:p>
          </p:txBody>
        </p:sp>
        <p:sp>
          <p:nvSpPr>
            <p:cNvPr id="71" name="gaoding-21-10">
              <a:extLst>
                <a:ext uri="{FF2B5EF4-FFF2-40B4-BE49-F238E27FC236}">
                  <a16:creationId xmlns:a16="http://schemas.microsoft.com/office/drawing/2014/main" id="{6F345198-93B7-A95F-3D17-30EAF9A3FC27}"/>
                </a:ext>
              </a:extLst>
            </p:cNvPr>
            <p:cNvSpPr txBox="1"/>
            <p:nvPr/>
          </p:nvSpPr>
          <p:spPr>
            <a:xfrm>
              <a:off x="2757676" y="3962042"/>
              <a:ext cx="697355"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200" b="1" i="0" u="none" strike="noStrike" kern="1200" cap="none" spc="0" normalizeH="0" baseline="0" noProof="0" dirty="0">
                  <a:ln>
                    <a:noFill/>
                  </a:ln>
                  <a:solidFill>
                    <a:srgbClr val="FFFFFF"/>
                  </a:solidFill>
                  <a:effectLst/>
                  <a:uLnTx/>
                  <a:uFillTx/>
                  <a:latin typeface="Bahnschrift"/>
                  <a:ea typeface="OPPOSans M"/>
                  <a:cs typeface="+mn-cs"/>
                </a:rPr>
                <a:t>更快</a:t>
              </a:r>
            </a:p>
          </p:txBody>
        </p:sp>
        <p:sp>
          <p:nvSpPr>
            <p:cNvPr id="72" name="gaoding-21-11">
              <a:extLst>
                <a:ext uri="{FF2B5EF4-FFF2-40B4-BE49-F238E27FC236}">
                  <a16:creationId xmlns:a16="http://schemas.microsoft.com/office/drawing/2014/main" id="{F83FE4BA-FD7A-006C-03AF-91238DAEB254}"/>
                </a:ext>
              </a:extLst>
            </p:cNvPr>
            <p:cNvSpPr txBox="1"/>
            <p:nvPr/>
          </p:nvSpPr>
          <p:spPr>
            <a:xfrm>
              <a:off x="2398307" y="4174298"/>
              <a:ext cx="1416091" cy="25391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050" b="0" i="0" u="none" strike="noStrike" kern="1200" cap="none" spc="0" normalizeH="0" baseline="0" noProof="0" dirty="0" err="1">
                  <a:ln>
                    <a:noFill/>
                  </a:ln>
                  <a:solidFill>
                    <a:srgbClr val="FFFFFF">
                      <a:lumMod val="85000"/>
                    </a:srgbClr>
                  </a:solidFill>
                  <a:effectLst/>
                  <a:uLnTx/>
                  <a:uFillTx/>
                  <a:latin typeface="Bahnschrift"/>
                  <a:ea typeface="OPPOSans M"/>
                  <a:cs typeface="+mn-cs"/>
                </a:rPr>
                <a:t>Qiuye</a:t>
              </a:r>
              <a:r>
                <a:rPr kumimoji="0" lang="en-US" altLang="zh-CN" sz="1050" b="0" i="0" u="none" strike="noStrike" kern="1200" cap="none" spc="0" normalizeH="0" baseline="0" noProof="0" dirty="0">
                  <a:ln>
                    <a:noFill/>
                  </a:ln>
                  <a:solidFill>
                    <a:srgbClr val="FFFFFF">
                      <a:lumMod val="85000"/>
                    </a:srgbClr>
                  </a:solidFill>
                  <a:effectLst/>
                  <a:uLnTx/>
                  <a:uFillTx/>
                  <a:latin typeface="Bahnschrift"/>
                  <a:ea typeface="OPPOSans M"/>
                  <a:cs typeface="+mn-cs"/>
                </a:rPr>
                <a:t> Design</a:t>
              </a:r>
              <a:endParaRPr kumimoji="0" lang="zh-CN" altLang="en-US" sz="1050" b="0" i="0" u="none" strike="noStrike" kern="1200" cap="none" spc="0" normalizeH="0" baseline="0" noProof="0" dirty="0">
                <a:ln>
                  <a:noFill/>
                </a:ln>
                <a:solidFill>
                  <a:srgbClr val="FFFFFF">
                    <a:lumMod val="85000"/>
                  </a:srgbClr>
                </a:solidFill>
                <a:effectLst/>
                <a:uLnTx/>
                <a:uFillTx/>
                <a:latin typeface="Bahnschrift"/>
                <a:ea typeface="OPPOSans M"/>
                <a:cs typeface="+mn-cs"/>
              </a:endParaRPr>
            </a:p>
          </p:txBody>
        </p:sp>
        <p:sp>
          <p:nvSpPr>
            <p:cNvPr id="73" name="gaoding-21-12">
              <a:extLst>
                <a:ext uri="{FF2B5EF4-FFF2-40B4-BE49-F238E27FC236}">
                  <a16:creationId xmlns:a16="http://schemas.microsoft.com/office/drawing/2014/main" id="{E71A4594-8499-141A-2562-9422BC998393}"/>
                </a:ext>
              </a:extLst>
            </p:cNvPr>
            <p:cNvSpPr txBox="1"/>
            <p:nvPr/>
          </p:nvSpPr>
          <p:spPr>
            <a:xfrm>
              <a:off x="2689413" y="5383015"/>
              <a:ext cx="898589"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200" b="1" i="0" u="none" strike="noStrike" kern="1200" cap="none" spc="0" normalizeH="0" baseline="0" noProof="0" dirty="0">
                  <a:ln>
                    <a:noFill/>
                  </a:ln>
                  <a:solidFill>
                    <a:srgbClr val="FFFFFF"/>
                  </a:solidFill>
                  <a:effectLst/>
                  <a:uLnTx/>
                  <a:uFillTx/>
                  <a:latin typeface="Bahnschrift"/>
                  <a:ea typeface="OPPOSans M"/>
                  <a:cs typeface="+mn-cs"/>
                </a:rPr>
                <a:t>更轻松</a:t>
              </a:r>
            </a:p>
          </p:txBody>
        </p:sp>
        <p:sp>
          <p:nvSpPr>
            <p:cNvPr id="74" name="gaoding-21-13">
              <a:extLst>
                <a:ext uri="{FF2B5EF4-FFF2-40B4-BE49-F238E27FC236}">
                  <a16:creationId xmlns:a16="http://schemas.microsoft.com/office/drawing/2014/main" id="{B8433417-D6A8-F610-F9AA-0A42B66458B0}"/>
                </a:ext>
              </a:extLst>
            </p:cNvPr>
            <p:cNvSpPr txBox="1"/>
            <p:nvPr/>
          </p:nvSpPr>
          <p:spPr>
            <a:xfrm>
              <a:off x="2459104" y="5610477"/>
              <a:ext cx="1359206" cy="25391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050" b="0" i="0" u="none" strike="noStrike" kern="1200" cap="none" spc="0" normalizeH="0" baseline="0" noProof="0" dirty="0" err="1">
                  <a:ln>
                    <a:noFill/>
                  </a:ln>
                  <a:solidFill>
                    <a:srgbClr val="FFFFFF">
                      <a:lumMod val="85000"/>
                    </a:srgbClr>
                  </a:solidFill>
                  <a:effectLst/>
                  <a:uLnTx/>
                  <a:uFillTx/>
                  <a:latin typeface="Bahnschrift"/>
                  <a:ea typeface="OPPOSans M"/>
                  <a:cs typeface="+mn-cs"/>
                </a:rPr>
                <a:t>Qiuye</a:t>
              </a:r>
              <a:r>
                <a:rPr kumimoji="0" lang="en-US" altLang="zh-CN" sz="1050" b="0" i="0" u="none" strike="noStrike" kern="1200" cap="none" spc="0" normalizeH="0" baseline="0" noProof="0" dirty="0">
                  <a:ln>
                    <a:noFill/>
                  </a:ln>
                  <a:solidFill>
                    <a:srgbClr val="FFFFFF">
                      <a:lumMod val="85000"/>
                    </a:srgbClr>
                  </a:solidFill>
                  <a:effectLst/>
                  <a:uLnTx/>
                  <a:uFillTx/>
                  <a:latin typeface="Bahnschrift"/>
                  <a:ea typeface="OPPOSans M"/>
                  <a:cs typeface="+mn-cs"/>
                </a:rPr>
                <a:t>  Design</a:t>
              </a:r>
              <a:endParaRPr kumimoji="0" lang="zh-CN" altLang="en-US" sz="1050" b="0" i="0" u="none" strike="noStrike" kern="1200" cap="none" spc="0" normalizeH="0" baseline="0" noProof="0" dirty="0">
                <a:ln>
                  <a:noFill/>
                </a:ln>
                <a:solidFill>
                  <a:srgbClr val="FFFFFF">
                    <a:lumMod val="85000"/>
                  </a:srgbClr>
                </a:solidFill>
                <a:effectLst/>
                <a:uLnTx/>
                <a:uFillTx/>
                <a:latin typeface="Bahnschrift"/>
                <a:ea typeface="OPPOSans M"/>
                <a:cs typeface="+mn-cs"/>
              </a:endParaRPr>
            </a:p>
          </p:txBody>
        </p:sp>
      </p:grpSp>
      <p:sp>
        <p:nvSpPr>
          <p:cNvPr id="16" name="gaoding-1">
            <a:extLst>
              <a:ext uri="{FF2B5EF4-FFF2-40B4-BE49-F238E27FC236}">
                <a16:creationId xmlns:a16="http://schemas.microsoft.com/office/drawing/2014/main" id="{4879812A-EE3A-61FD-AF21-8FB22E6CAA0A}"/>
              </a:ext>
            </a:extLst>
          </p:cNvPr>
          <p:cNvSpPr/>
          <p:nvPr/>
        </p:nvSpPr>
        <p:spPr>
          <a:xfrm rot="16200000">
            <a:off x="7180468" y="-245675"/>
            <a:ext cx="638237" cy="5192922"/>
          </a:xfrm>
          <a:prstGeom prst="roundRect">
            <a:avLst>
              <a:gd name="adj" fmla="val 7328"/>
            </a:avLst>
          </a:prstGeom>
          <a:solidFill>
            <a:schemeClr val="bg1"/>
          </a:solidFill>
          <a:ln w="6350">
            <a:solidFill>
              <a:schemeClr val="accent1">
                <a:alpha val="6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srgbClr val="FFFFFF"/>
              </a:solidFill>
              <a:effectLst/>
              <a:uLnTx/>
              <a:uFillTx/>
              <a:latin typeface="OPPOSans R"/>
              <a:ea typeface="OPPOSans R"/>
              <a:cs typeface="+mn-cs"/>
            </a:endParaRPr>
          </a:p>
        </p:txBody>
      </p:sp>
      <p:sp>
        <p:nvSpPr>
          <p:cNvPr id="17" name="gaoding-2">
            <a:extLst>
              <a:ext uri="{FF2B5EF4-FFF2-40B4-BE49-F238E27FC236}">
                <a16:creationId xmlns:a16="http://schemas.microsoft.com/office/drawing/2014/main" id="{32C240CB-8FEA-8F2C-7FBA-5BBEEE02D790}"/>
              </a:ext>
            </a:extLst>
          </p:cNvPr>
          <p:cNvSpPr>
            <a:spLocks/>
          </p:cNvSpPr>
          <p:nvPr/>
        </p:nvSpPr>
        <p:spPr>
          <a:xfrm>
            <a:off x="4761923" y="1770377"/>
            <a:ext cx="2834883" cy="452206"/>
          </a:xfrm>
          <a:prstGeom prst="roundRect">
            <a:avLst>
              <a:gd name="adj" fmla="val 9927"/>
            </a:avLst>
          </a:prstGeom>
          <a:gradFill flip="none" rotWithShape="1">
            <a:gsLst>
              <a:gs pos="1000">
                <a:schemeClr val="accent1"/>
              </a:gs>
              <a:gs pos="100000">
                <a:schemeClr val="accent1">
                  <a:lumMod val="60000"/>
                  <a:lumOff val="40000"/>
                </a:schemeClr>
              </a:gs>
            </a:gsLst>
            <a:lin ang="27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srgbClr val="FFFFFF"/>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p:txBody>
      </p:sp>
      <p:sp>
        <p:nvSpPr>
          <p:cNvPr id="18" name="gaoding-3">
            <a:extLst>
              <a:ext uri="{FF2B5EF4-FFF2-40B4-BE49-F238E27FC236}">
                <a16:creationId xmlns:a16="http://schemas.microsoft.com/office/drawing/2014/main" id="{56B0C398-CA69-80E8-F6AB-5AA24A0D2FA4}"/>
              </a:ext>
            </a:extLst>
          </p:cNvPr>
          <p:cNvSpPr txBox="1"/>
          <p:nvPr/>
        </p:nvSpPr>
        <p:spPr>
          <a:xfrm>
            <a:off x="5240111" y="2300213"/>
            <a:ext cx="4518950" cy="262123"/>
          </a:xfrm>
          <a:prstGeom prst="rect">
            <a:avLst/>
          </a:prstGeom>
          <a:noFill/>
        </p:spPr>
        <p:txBody>
          <a:bodyPr wrap="square" lIns="0" tIns="0" rIns="0" bIns="0" rtlCol="0">
            <a:noAutofit/>
          </a:bodyPr>
          <a:lstStyle/>
          <a:p>
            <a:pPr marL="0" marR="0" lvl="0" indent="0" algn="ctr" defTabSz="914400" rtl="0" eaLnBrk="1" fontAlgn="auto" latinLnBrk="0" hangingPunct="1">
              <a:lnSpc>
                <a:spcPct val="130000"/>
              </a:lnSpc>
              <a:spcBef>
                <a:spcPts val="0"/>
              </a:spcBef>
              <a:spcAft>
                <a:spcPts val="0"/>
              </a:spcAft>
              <a:buClrTx/>
              <a:buSzTx/>
              <a:buFontTx/>
              <a:buNone/>
              <a:tabLst/>
              <a:defRPr/>
            </a:pPr>
            <a:r>
              <a:rPr kumimoji="0" lang="zh-CN" altLang="en-US" sz="1400" b="0" i="0" u="none" strike="noStrike" kern="1200" cap="none" spc="0" normalizeH="0" baseline="0" noProof="0" dirty="0">
                <a:ln>
                  <a:noFill/>
                </a:ln>
                <a:solidFill>
                  <a:srgbClr val="000000">
                    <a:lumMod val="85000"/>
                    <a:lumOff val="15000"/>
                  </a:srgbClr>
                </a:solidFill>
                <a:effectLst/>
                <a:uLnTx/>
                <a:uFillTx/>
                <a:latin typeface="OPPOSans R"/>
                <a:ea typeface="OPPOSans R"/>
                <a:cs typeface="+mn-cs"/>
              </a:rPr>
              <a:t>结束工作后及时复盘回顾和总结，避免再犯同样的错误</a:t>
            </a:r>
          </a:p>
        </p:txBody>
      </p:sp>
      <p:grpSp>
        <p:nvGrpSpPr>
          <p:cNvPr id="19" name="gaoding-4">
            <a:extLst>
              <a:ext uri="{FF2B5EF4-FFF2-40B4-BE49-F238E27FC236}">
                <a16:creationId xmlns:a16="http://schemas.microsoft.com/office/drawing/2014/main" id="{44AD61C2-847B-7EE3-88BF-45F3DE9E94E9}"/>
              </a:ext>
            </a:extLst>
          </p:cNvPr>
          <p:cNvGrpSpPr/>
          <p:nvPr/>
        </p:nvGrpSpPr>
        <p:grpSpPr>
          <a:xfrm>
            <a:off x="4991710" y="1812700"/>
            <a:ext cx="2451508" cy="337080"/>
            <a:chOff x="5158453" y="1914637"/>
            <a:chExt cx="2451508" cy="337080"/>
          </a:xfrm>
        </p:grpSpPr>
        <p:sp>
          <p:nvSpPr>
            <p:cNvPr id="20" name="gaoding-4-1">
              <a:extLst>
                <a:ext uri="{FF2B5EF4-FFF2-40B4-BE49-F238E27FC236}">
                  <a16:creationId xmlns:a16="http://schemas.microsoft.com/office/drawing/2014/main" id="{752E83F8-07E1-E616-0538-DE155163615B}"/>
                </a:ext>
              </a:extLst>
            </p:cNvPr>
            <p:cNvSpPr txBox="1"/>
            <p:nvPr/>
          </p:nvSpPr>
          <p:spPr>
            <a:xfrm>
              <a:off x="5417684" y="1914637"/>
              <a:ext cx="2192277" cy="337080"/>
            </a:xfrm>
            <a:prstGeom prst="rect">
              <a:avLst/>
            </a:prstGeom>
            <a:noFill/>
          </p:spPr>
          <p:txBody>
            <a:bodyPr wrap="square" lIns="0" tIns="0" rIns="0" bIns="0" rtlCol="0">
              <a:noAutofit/>
            </a:bodyPr>
            <a:lstStyle/>
            <a:p>
              <a:pPr marL="0" marR="0" lvl="0" indent="0" algn="ctr" defTabSz="914400" rtl="0" eaLnBrk="1" fontAlgn="auto" latinLnBrk="0" hangingPunct="1">
                <a:lnSpc>
                  <a:spcPct val="130000"/>
                </a:lnSpc>
                <a:spcBef>
                  <a:spcPts val="0"/>
                </a:spcBef>
                <a:spcAft>
                  <a:spcPts val="0"/>
                </a:spcAft>
                <a:buClrTx/>
                <a:buSzTx/>
                <a:buFontTx/>
                <a:buNone/>
                <a:tabLst/>
                <a:defRPr/>
              </a:pPr>
              <a:r>
                <a:rPr kumimoji="0" lang="zh-CN" altLang="en-US" sz="1800" b="1" i="0" u="none" strike="noStrike" kern="1200" cap="none" spc="0" normalizeH="0" baseline="0" noProof="0" dirty="0">
                  <a:ln>
                    <a:noFill/>
                  </a:ln>
                  <a:solidFill>
                    <a:srgbClr val="FFFFFF"/>
                  </a:solidFill>
                  <a:effectLst/>
                  <a:uLnTx/>
                  <a:uFillTx/>
                  <a:latin typeface="OPPOSans M"/>
                  <a:ea typeface="OPPOSans M"/>
                  <a:cs typeface="+mn-cs"/>
                </a:rPr>
                <a:t>及时对工作进行复盘</a:t>
              </a:r>
            </a:p>
          </p:txBody>
        </p:sp>
        <p:sp>
          <p:nvSpPr>
            <p:cNvPr id="21" name="gaoding-4-2">
              <a:extLst>
                <a:ext uri="{FF2B5EF4-FFF2-40B4-BE49-F238E27FC236}">
                  <a16:creationId xmlns:a16="http://schemas.microsoft.com/office/drawing/2014/main" id="{BFB60EE4-FA1C-68CB-E0C1-87DE9CCE4415}"/>
                </a:ext>
              </a:extLst>
            </p:cNvPr>
            <p:cNvSpPr/>
            <p:nvPr/>
          </p:nvSpPr>
          <p:spPr>
            <a:xfrm>
              <a:off x="5158453" y="1955974"/>
              <a:ext cx="252914" cy="254406"/>
            </a:xfrm>
            <a:custGeom>
              <a:avLst/>
              <a:gdLst>
                <a:gd name="connsiteX0" fmla="*/ 344717 w 447682"/>
                <a:gd name="connsiteY0" fmla="*/ 95257 h 433673"/>
                <a:gd name="connsiteX1" fmla="*/ 366529 w 447682"/>
                <a:gd name="connsiteY1" fmla="*/ 73445 h 433673"/>
                <a:gd name="connsiteX2" fmla="*/ 366529 w 447682"/>
                <a:gd name="connsiteY2" fmla="*/ 21819 h 433673"/>
                <a:gd name="connsiteX3" fmla="*/ 344717 w 447682"/>
                <a:gd name="connsiteY3" fmla="*/ 7 h 433673"/>
                <a:gd name="connsiteX4" fmla="*/ 323000 w 447682"/>
                <a:gd name="connsiteY4" fmla="*/ 21724 h 433673"/>
                <a:gd name="connsiteX5" fmla="*/ 323000 w 447682"/>
                <a:gd name="connsiteY5" fmla="*/ 21819 h 433673"/>
                <a:gd name="connsiteX6" fmla="*/ 323000 w 447682"/>
                <a:gd name="connsiteY6" fmla="*/ 73445 h 433673"/>
                <a:gd name="connsiteX7" fmla="*/ 344622 w 447682"/>
                <a:gd name="connsiteY7" fmla="*/ 95257 h 433673"/>
                <a:gd name="connsiteX8" fmla="*/ 344717 w 447682"/>
                <a:gd name="connsiteY8" fmla="*/ 95257 h 433673"/>
                <a:gd name="connsiteX9" fmla="*/ 105258 w 447682"/>
                <a:gd name="connsiteY9" fmla="*/ 95257 h 433673"/>
                <a:gd name="connsiteX10" fmla="*/ 126976 w 447682"/>
                <a:gd name="connsiteY10" fmla="*/ 73540 h 433673"/>
                <a:gd name="connsiteX11" fmla="*/ 126976 w 447682"/>
                <a:gd name="connsiteY11" fmla="*/ 73445 h 433673"/>
                <a:gd name="connsiteX12" fmla="*/ 126976 w 447682"/>
                <a:gd name="connsiteY12" fmla="*/ 21819 h 433673"/>
                <a:gd name="connsiteX13" fmla="*/ 105354 w 447682"/>
                <a:gd name="connsiteY13" fmla="*/ 7 h 433673"/>
                <a:gd name="connsiteX14" fmla="*/ 105258 w 447682"/>
                <a:gd name="connsiteY14" fmla="*/ 7 h 433673"/>
                <a:gd name="connsiteX15" fmla="*/ 83446 w 447682"/>
                <a:gd name="connsiteY15" fmla="*/ 21819 h 433673"/>
                <a:gd name="connsiteX16" fmla="*/ 83446 w 447682"/>
                <a:gd name="connsiteY16" fmla="*/ 73445 h 433673"/>
                <a:gd name="connsiteX17" fmla="*/ 105258 w 447682"/>
                <a:gd name="connsiteY17" fmla="*/ 95257 h 433673"/>
                <a:gd name="connsiteX18" fmla="*/ 436347 w 447682"/>
                <a:gd name="connsiteY18" fmla="*/ 33059 h 433673"/>
                <a:gd name="connsiteX19" fmla="*/ 384151 w 447682"/>
                <a:gd name="connsiteY19" fmla="*/ 33059 h 433673"/>
                <a:gd name="connsiteX20" fmla="*/ 379578 w 447682"/>
                <a:gd name="connsiteY20" fmla="*/ 37631 h 433673"/>
                <a:gd name="connsiteX21" fmla="*/ 379578 w 447682"/>
                <a:gd name="connsiteY21" fmla="*/ 65158 h 433673"/>
                <a:gd name="connsiteX22" fmla="*/ 391961 w 447682"/>
                <a:gd name="connsiteY22" fmla="*/ 77636 h 433673"/>
                <a:gd name="connsiteX23" fmla="*/ 404439 w 447682"/>
                <a:gd name="connsiteY23" fmla="*/ 90113 h 433673"/>
                <a:gd name="connsiteX24" fmla="*/ 404439 w 447682"/>
                <a:gd name="connsiteY24" fmla="*/ 90209 h 433673"/>
                <a:gd name="connsiteX25" fmla="*/ 404439 w 447682"/>
                <a:gd name="connsiteY25" fmla="*/ 134976 h 433673"/>
                <a:gd name="connsiteX26" fmla="*/ 391866 w 447682"/>
                <a:gd name="connsiteY26" fmla="*/ 147362 h 433673"/>
                <a:gd name="connsiteX27" fmla="*/ 391675 w 447682"/>
                <a:gd name="connsiteY27" fmla="*/ 147359 h 433673"/>
                <a:gd name="connsiteX28" fmla="*/ 58300 w 447682"/>
                <a:gd name="connsiteY28" fmla="*/ 147359 h 433673"/>
                <a:gd name="connsiteX29" fmla="*/ 45822 w 447682"/>
                <a:gd name="connsiteY29" fmla="*/ 134881 h 433673"/>
                <a:gd name="connsiteX30" fmla="*/ 45822 w 447682"/>
                <a:gd name="connsiteY30" fmla="*/ 90209 h 433673"/>
                <a:gd name="connsiteX31" fmla="*/ 58205 w 447682"/>
                <a:gd name="connsiteY31" fmla="*/ 77636 h 433673"/>
                <a:gd name="connsiteX32" fmla="*/ 58300 w 447682"/>
                <a:gd name="connsiteY32" fmla="*/ 77636 h 433673"/>
                <a:gd name="connsiteX33" fmla="*/ 58300 w 447682"/>
                <a:gd name="connsiteY33" fmla="*/ 77636 h 433673"/>
                <a:gd name="connsiteX34" fmla="*/ 70683 w 447682"/>
                <a:gd name="connsiteY34" fmla="*/ 65158 h 433673"/>
                <a:gd name="connsiteX35" fmla="*/ 70683 w 447682"/>
                <a:gd name="connsiteY35" fmla="*/ 36583 h 433673"/>
                <a:gd name="connsiteX36" fmla="*/ 66873 w 447682"/>
                <a:gd name="connsiteY36" fmla="*/ 32773 h 433673"/>
                <a:gd name="connsiteX37" fmla="*/ 13914 w 447682"/>
                <a:gd name="connsiteY37" fmla="*/ 32773 h 433673"/>
                <a:gd name="connsiteX38" fmla="*/ 1150 w 447682"/>
                <a:gd name="connsiteY38" fmla="*/ 44762 h 433673"/>
                <a:gd name="connsiteX39" fmla="*/ 1150 w 447682"/>
                <a:gd name="connsiteY39" fmla="*/ 45536 h 433673"/>
                <a:gd name="connsiteX40" fmla="*/ 1150 w 447682"/>
                <a:gd name="connsiteY40" fmla="*/ 402057 h 433673"/>
                <a:gd name="connsiteX41" fmla="*/ 32773 w 447682"/>
                <a:gd name="connsiteY41" fmla="*/ 433680 h 433673"/>
                <a:gd name="connsiteX42" fmla="*/ 417202 w 447682"/>
                <a:gd name="connsiteY42" fmla="*/ 433680 h 433673"/>
                <a:gd name="connsiteX43" fmla="*/ 448825 w 447682"/>
                <a:gd name="connsiteY43" fmla="*/ 402057 h 433673"/>
                <a:gd name="connsiteX44" fmla="*/ 448825 w 447682"/>
                <a:gd name="connsiteY44" fmla="*/ 45536 h 433673"/>
                <a:gd name="connsiteX45" fmla="*/ 436538 w 447682"/>
                <a:gd name="connsiteY45" fmla="*/ 33059 h 433673"/>
                <a:gd name="connsiteX46" fmla="*/ 436347 w 447682"/>
                <a:gd name="connsiteY46" fmla="*/ 33059 h 433673"/>
                <a:gd name="connsiteX47" fmla="*/ 337383 w 447682"/>
                <a:gd name="connsiteY47" fmla="*/ 240894 h 433673"/>
                <a:gd name="connsiteX48" fmla="*/ 206414 w 447682"/>
                <a:gd name="connsiteY48" fmla="*/ 344145 h 433673"/>
                <a:gd name="connsiteX49" fmla="*/ 182697 w 447682"/>
                <a:gd name="connsiteY49" fmla="*/ 342336 h 433673"/>
                <a:gd name="connsiteX50" fmla="*/ 128880 w 447682"/>
                <a:gd name="connsiteY50" fmla="*/ 285186 h 433673"/>
                <a:gd name="connsiteX51" fmla="*/ 129738 w 447682"/>
                <a:gd name="connsiteY51" fmla="*/ 260325 h 433673"/>
                <a:gd name="connsiteX52" fmla="*/ 154502 w 447682"/>
                <a:gd name="connsiteY52" fmla="*/ 261182 h 433673"/>
                <a:gd name="connsiteX53" fmla="*/ 186316 w 447682"/>
                <a:gd name="connsiteY53" fmla="*/ 294996 h 433673"/>
                <a:gd name="connsiteX54" fmla="*/ 209938 w 447682"/>
                <a:gd name="connsiteY54" fmla="*/ 296806 h 433673"/>
                <a:gd name="connsiteX55" fmla="*/ 315666 w 447682"/>
                <a:gd name="connsiteY55" fmla="*/ 213557 h 433673"/>
                <a:gd name="connsiteX56" fmla="*/ 340288 w 447682"/>
                <a:gd name="connsiteY56" fmla="*/ 216361 h 433673"/>
                <a:gd name="connsiteX57" fmla="*/ 340335 w 447682"/>
                <a:gd name="connsiteY57" fmla="*/ 216415 h 433673"/>
                <a:gd name="connsiteX58" fmla="*/ 340335 w 447682"/>
                <a:gd name="connsiteY58" fmla="*/ 216415 h 433673"/>
                <a:gd name="connsiteX59" fmla="*/ 337383 w 447682"/>
                <a:gd name="connsiteY59" fmla="*/ 240894 h 433673"/>
                <a:gd name="connsiteX60" fmla="*/ 148597 w 447682"/>
                <a:gd name="connsiteY60" fmla="*/ 77636 h 433673"/>
                <a:gd name="connsiteX61" fmla="*/ 300997 w 447682"/>
                <a:gd name="connsiteY61" fmla="*/ 77636 h 433673"/>
                <a:gd name="connsiteX62" fmla="*/ 305664 w 447682"/>
                <a:gd name="connsiteY62" fmla="*/ 72969 h 433673"/>
                <a:gd name="connsiteX63" fmla="*/ 305664 w 447682"/>
                <a:gd name="connsiteY63" fmla="*/ 37726 h 433673"/>
                <a:gd name="connsiteX64" fmla="*/ 300997 w 447682"/>
                <a:gd name="connsiteY64" fmla="*/ 33059 h 433673"/>
                <a:gd name="connsiteX65" fmla="*/ 148597 w 447682"/>
                <a:gd name="connsiteY65" fmla="*/ 33059 h 433673"/>
                <a:gd name="connsiteX66" fmla="*/ 143930 w 447682"/>
                <a:gd name="connsiteY66" fmla="*/ 37726 h 433673"/>
                <a:gd name="connsiteX67" fmla="*/ 143930 w 447682"/>
                <a:gd name="connsiteY67" fmla="*/ 72969 h 433673"/>
                <a:gd name="connsiteX68" fmla="*/ 148597 w 447682"/>
                <a:gd name="connsiteY68" fmla="*/ 77636 h 4336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447682" h="433673">
                  <a:moveTo>
                    <a:pt x="344717" y="95257"/>
                  </a:moveTo>
                  <a:cubicBezTo>
                    <a:pt x="356766" y="95257"/>
                    <a:pt x="366529" y="85491"/>
                    <a:pt x="366529" y="73445"/>
                  </a:cubicBezTo>
                  <a:lnTo>
                    <a:pt x="366529" y="21819"/>
                  </a:lnTo>
                  <a:cubicBezTo>
                    <a:pt x="366529" y="9773"/>
                    <a:pt x="356766" y="7"/>
                    <a:pt x="344717" y="7"/>
                  </a:cubicBezTo>
                  <a:cubicBezTo>
                    <a:pt x="332725" y="7"/>
                    <a:pt x="323000" y="9730"/>
                    <a:pt x="323000" y="21724"/>
                  </a:cubicBezTo>
                  <a:cubicBezTo>
                    <a:pt x="323000" y="21755"/>
                    <a:pt x="323000" y="21788"/>
                    <a:pt x="323000" y="21819"/>
                  </a:cubicBezTo>
                  <a:lnTo>
                    <a:pt x="323000" y="73445"/>
                  </a:lnTo>
                  <a:cubicBezTo>
                    <a:pt x="322943" y="85439"/>
                    <a:pt x="332630" y="95205"/>
                    <a:pt x="344622" y="95257"/>
                  </a:cubicBezTo>
                  <a:cubicBezTo>
                    <a:pt x="344650" y="95257"/>
                    <a:pt x="344688" y="95257"/>
                    <a:pt x="344717" y="95257"/>
                  </a:cubicBezTo>
                  <a:close/>
                  <a:moveTo>
                    <a:pt x="105258" y="95257"/>
                  </a:moveTo>
                  <a:cubicBezTo>
                    <a:pt x="117251" y="95257"/>
                    <a:pt x="126976" y="85534"/>
                    <a:pt x="126976" y="73540"/>
                  </a:cubicBezTo>
                  <a:cubicBezTo>
                    <a:pt x="126976" y="73509"/>
                    <a:pt x="126976" y="73476"/>
                    <a:pt x="126976" y="73445"/>
                  </a:cubicBezTo>
                  <a:lnTo>
                    <a:pt x="126976" y="21819"/>
                  </a:lnTo>
                  <a:cubicBezTo>
                    <a:pt x="127033" y="9825"/>
                    <a:pt x="117345" y="59"/>
                    <a:pt x="105354" y="7"/>
                  </a:cubicBezTo>
                  <a:cubicBezTo>
                    <a:pt x="105325" y="7"/>
                    <a:pt x="105287" y="7"/>
                    <a:pt x="105258" y="7"/>
                  </a:cubicBezTo>
                  <a:cubicBezTo>
                    <a:pt x="93209" y="7"/>
                    <a:pt x="83446" y="9773"/>
                    <a:pt x="83446" y="21819"/>
                  </a:cubicBezTo>
                  <a:lnTo>
                    <a:pt x="83446" y="73445"/>
                  </a:lnTo>
                  <a:cubicBezTo>
                    <a:pt x="83446" y="85491"/>
                    <a:pt x="93209" y="95257"/>
                    <a:pt x="105258" y="95257"/>
                  </a:cubicBezTo>
                  <a:close/>
                  <a:moveTo>
                    <a:pt x="436347" y="33059"/>
                  </a:moveTo>
                  <a:lnTo>
                    <a:pt x="384151" y="33059"/>
                  </a:lnTo>
                  <a:cubicBezTo>
                    <a:pt x="381626" y="33059"/>
                    <a:pt x="379578" y="35106"/>
                    <a:pt x="379578" y="37631"/>
                  </a:cubicBezTo>
                  <a:lnTo>
                    <a:pt x="379578" y="65158"/>
                  </a:lnTo>
                  <a:cubicBezTo>
                    <a:pt x="379578" y="72012"/>
                    <a:pt x="385103" y="77583"/>
                    <a:pt x="391961" y="77636"/>
                  </a:cubicBezTo>
                  <a:cubicBezTo>
                    <a:pt x="398847" y="77636"/>
                    <a:pt x="404439" y="83222"/>
                    <a:pt x="404439" y="90113"/>
                  </a:cubicBezTo>
                  <a:cubicBezTo>
                    <a:pt x="404439" y="90145"/>
                    <a:pt x="404439" y="90177"/>
                    <a:pt x="404439" y="90209"/>
                  </a:cubicBezTo>
                  <a:lnTo>
                    <a:pt x="404439" y="134976"/>
                  </a:lnTo>
                  <a:cubicBezTo>
                    <a:pt x="404391" y="141868"/>
                    <a:pt x="398762" y="147412"/>
                    <a:pt x="391866" y="147362"/>
                  </a:cubicBezTo>
                  <a:cubicBezTo>
                    <a:pt x="391808" y="147362"/>
                    <a:pt x="391742" y="147361"/>
                    <a:pt x="391675" y="147359"/>
                  </a:cubicBezTo>
                  <a:lnTo>
                    <a:pt x="58300" y="147359"/>
                  </a:lnTo>
                  <a:cubicBezTo>
                    <a:pt x="51404" y="147359"/>
                    <a:pt x="45822" y="141772"/>
                    <a:pt x="45822" y="134881"/>
                  </a:cubicBezTo>
                  <a:lnTo>
                    <a:pt x="45822" y="90209"/>
                  </a:lnTo>
                  <a:cubicBezTo>
                    <a:pt x="45775" y="83317"/>
                    <a:pt x="51309" y="77689"/>
                    <a:pt x="58205" y="77636"/>
                  </a:cubicBezTo>
                  <a:cubicBezTo>
                    <a:pt x="58233" y="77636"/>
                    <a:pt x="58272" y="77636"/>
                    <a:pt x="58300" y="77636"/>
                  </a:cubicBezTo>
                  <a:lnTo>
                    <a:pt x="58300" y="77636"/>
                  </a:lnTo>
                  <a:cubicBezTo>
                    <a:pt x="65158" y="77583"/>
                    <a:pt x="70683" y="72012"/>
                    <a:pt x="70683" y="65158"/>
                  </a:cubicBezTo>
                  <a:lnTo>
                    <a:pt x="70683" y="36583"/>
                  </a:lnTo>
                  <a:cubicBezTo>
                    <a:pt x="70683" y="34479"/>
                    <a:pt x="68977" y="32773"/>
                    <a:pt x="66873" y="32773"/>
                  </a:cubicBezTo>
                  <a:lnTo>
                    <a:pt x="13914" y="32773"/>
                  </a:lnTo>
                  <a:cubicBezTo>
                    <a:pt x="7075" y="32560"/>
                    <a:pt x="1359" y="37927"/>
                    <a:pt x="1150" y="44762"/>
                  </a:cubicBezTo>
                  <a:cubicBezTo>
                    <a:pt x="1141" y="45020"/>
                    <a:pt x="1141" y="45278"/>
                    <a:pt x="1150" y="45536"/>
                  </a:cubicBezTo>
                  <a:lnTo>
                    <a:pt x="1150" y="402057"/>
                  </a:lnTo>
                  <a:cubicBezTo>
                    <a:pt x="1150" y="419526"/>
                    <a:pt x="15305" y="433680"/>
                    <a:pt x="32773" y="433680"/>
                  </a:cubicBezTo>
                  <a:lnTo>
                    <a:pt x="417202" y="433680"/>
                  </a:lnTo>
                  <a:cubicBezTo>
                    <a:pt x="434671" y="433680"/>
                    <a:pt x="448825" y="419526"/>
                    <a:pt x="448825" y="402057"/>
                  </a:cubicBezTo>
                  <a:lnTo>
                    <a:pt x="448825" y="45536"/>
                  </a:lnTo>
                  <a:cubicBezTo>
                    <a:pt x="448882" y="38698"/>
                    <a:pt x="443377" y="33111"/>
                    <a:pt x="436538" y="33059"/>
                  </a:cubicBezTo>
                  <a:cubicBezTo>
                    <a:pt x="436471" y="33058"/>
                    <a:pt x="436414" y="33058"/>
                    <a:pt x="436347" y="33059"/>
                  </a:cubicBezTo>
                  <a:close/>
                  <a:moveTo>
                    <a:pt x="337383" y="240894"/>
                  </a:moveTo>
                  <a:lnTo>
                    <a:pt x="206414" y="344145"/>
                  </a:lnTo>
                  <a:cubicBezTo>
                    <a:pt x="199232" y="349774"/>
                    <a:pt x="188945" y="348989"/>
                    <a:pt x="182697" y="342336"/>
                  </a:cubicBezTo>
                  <a:lnTo>
                    <a:pt x="128880" y="285186"/>
                  </a:lnTo>
                  <a:cubicBezTo>
                    <a:pt x="122270" y="278077"/>
                    <a:pt x="122651" y="266961"/>
                    <a:pt x="129738" y="260325"/>
                  </a:cubicBezTo>
                  <a:cubicBezTo>
                    <a:pt x="136815" y="253725"/>
                    <a:pt x="147902" y="254109"/>
                    <a:pt x="154502" y="261182"/>
                  </a:cubicBezTo>
                  <a:lnTo>
                    <a:pt x="186316" y="294996"/>
                  </a:lnTo>
                  <a:cubicBezTo>
                    <a:pt x="192526" y="301636"/>
                    <a:pt x="202785" y="302422"/>
                    <a:pt x="209938" y="296806"/>
                  </a:cubicBezTo>
                  <a:lnTo>
                    <a:pt x="315666" y="213557"/>
                  </a:lnTo>
                  <a:cubicBezTo>
                    <a:pt x="323238" y="207531"/>
                    <a:pt x="334268" y="208786"/>
                    <a:pt x="340288" y="216361"/>
                  </a:cubicBezTo>
                  <a:cubicBezTo>
                    <a:pt x="340307" y="216379"/>
                    <a:pt x="340326" y="216397"/>
                    <a:pt x="340335" y="216415"/>
                  </a:cubicBezTo>
                  <a:lnTo>
                    <a:pt x="340335" y="216415"/>
                  </a:lnTo>
                  <a:cubicBezTo>
                    <a:pt x="346231" y="224005"/>
                    <a:pt x="344908" y="234923"/>
                    <a:pt x="337383" y="240894"/>
                  </a:cubicBezTo>
                  <a:close/>
                  <a:moveTo>
                    <a:pt x="148597" y="77636"/>
                  </a:moveTo>
                  <a:lnTo>
                    <a:pt x="300997" y="77636"/>
                  </a:lnTo>
                  <a:cubicBezTo>
                    <a:pt x="303578" y="77636"/>
                    <a:pt x="305664" y="75546"/>
                    <a:pt x="305664" y="72969"/>
                  </a:cubicBezTo>
                  <a:lnTo>
                    <a:pt x="305664" y="37726"/>
                  </a:lnTo>
                  <a:cubicBezTo>
                    <a:pt x="305664" y="35149"/>
                    <a:pt x="303578" y="33059"/>
                    <a:pt x="300997" y="33059"/>
                  </a:cubicBezTo>
                  <a:lnTo>
                    <a:pt x="148597" y="33059"/>
                  </a:lnTo>
                  <a:cubicBezTo>
                    <a:pt x="146016" y="33059"/>
                    <a:pt x="143930" y="35149"/>
                    <a:pt x="143930" y="37726"/>
                  </a:cubicBezTo>
                  <a:lnTo>
                    <a:pt x="143930" y="72969"/>
                  </a:lnTo>
                  <a:cubicBezTo>
                    <a:pt x="143930" y="75546"/>
                    <a:pt x="146016" y="77636"/>
                    <a:pt x="148597" y="77636"/>
                  </a:cubicBezTo>
                  <a:close/>
                </a:path>
              </a:pathLst>
            </a:custGeom>
            <a:solidFill>
              <a:schemeClr val="bg1"/>
            </a:solidFill>
            <a:ln w="9525" cap="flat">
              <a:noFill/>
              <a:prstDash val="solid"/>
              <a:miter/>
            </a:ln>
          </p:spPr>
          <p:txBody>
            <a:bodyPr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srgbClr val="000000"/>
                </a:solidFill>
                <a:effectLst/>
                <a:uLnTx/>
                <a:uFillTx/>
                <a:latin typeface="Arial" panose="020F0502020204030204"/>
                <a:ea typeface="微软雅黑"/>
                <a:cs typeface="+mn-cs"/>
              </a:endParaRPr>
            </a:p>
          </p:txBody>
        </p:sp>
      </p:grpSp>
      <p:sp>
        <p:nvSpPr>
          <p:cNvPr id="23" name="gaoding-5">
            <a:extLst>
              <a:ext uri="{FF2B5EF4-FFF2-40B4-BE49-F238E27FC236}">
                <a16:creationId xmlns:a16="http://schemas.microsoft.com/office/drawing/2014/main" id="{5D35EA71-688B-13CF-D5D5-8131CBE35B9C}"/>
              </a:ext>
            </a:extLst>
          </p:cNvPr>
          <p:cNvSpPr/>
          <p:nvPr/>
        </p:nvSpPr>
        <p:spPr>
          <a:xfrm rot="16200000">
            <a:off x="7939825" y="1102724"/>
            <a:ext cx="638237" cy="5192922"/>
          </a:xfrm>
          <a:prstGeom prst="roundRect">
            <a:avLst>
              <a:gd name="adj" fmla="val 7328"/>
            </a:avLst>
          </a:prstGeom>
          <a:solidFill>
            <a:schemeClr val="bg1"/>
          </a:solidFill>
          <a:ln w="6350">
            <a:solidFill>
              <a:schemeClr val="accent1">
                <a:lumMod val="100000"/>
                <a:alpha val="6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srgbClr val="FFFFFF"/>
              </a:solidFill>
              <a:effectLst/>
              <a:uLnTx/>
              <a:uFillTx/>
              <a:latin typeface="OPPOSans R"/>
              <a:ea typeface="OPPOSans R"/>
              <a:cs typeface="+mn-cs"/>
            </a:endParaRPr>
          </a:p>
        </p:txBody>
      </p:sp>
      <p:sp>
        <p:nvSpPr>
          <p:cNvPr id="24" name="gaoding-6">
            <a:extLst>
              <a:ext uri="{FF2B5EF4-FFF2-40B4-BE49-F238E27FC236}">
                <a16:creationId xmlns:a16="http://schemas.microsoft.com/office/drawing/2014/main" id="{7D351E75-B584-CE91-807D-8D79A9877B25}"/>
              </a:ext>
            </a:extLst>
          </p:cNvPr>
          <p:cNvSpPr>
            <a:spLocks/>
          </p:cNvSpPr>
          <p:nvPr/>
        </p:nvSpPr>
        <p:spPr>
          <a:xfrm>
            <a:off x="5521281" y="3118777"/>
            <a:ext cx="2834883" cy="452206"/>
          </a:xfrm>
          <a:prstGeom prst="roundRect">
            <a:avLst>
              <a:gd name="adj" fmla="val 9927"/>
            </a:avLst>
          </a:prstGeom>
          <a:gradFill flip="none" rotWithShape="1">
            <a:gsLst>
              <a:gs pos="1000">
                <a:schemeClr val="accent1">
                  <a:lumMod val="100000"/>
                </a:schemeClr>
              </a:gs>
              <a:gs pos="100000">
                <a:schemeClr val="accent1">
                  <a:lumMod val="60000"/>
                  <a:lumOff val="40000"/>
                </a:schemeClr>
              </a:gs>
            </a:gsLst>
            <a:lin ang="27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srgbClr val="FFFFFF"/>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p:txBody>
      </p:sp>
      <p:sp>
        <p:nvSpPr>
          <p:cNvPr id="25" name="gaoding-7">
            <a:extLst>
              <a:ext uri="{FF2B5EF4-FFF2-40B4-BE49-F238E27FC236}">
                <a16:creationId xmlns:a16="http://schemas.microsoft.com/office/drawing/2014/main" id="{B3351689-A553-8E78-CFA0-8872396343F0}"/>
              </a:ext>
            </a:extLst>
          </p:cNvPr>
          <p:cNvSpPr txBox="1"/>
          <p:nvPr/>
        </p:nvSpPr>
        <p:spPr>
          <a:xfrm>
            <a:off x="5999468" y="3647525"/>
            <a:ext cx="4518950" cy="262123"/>
          </a:xfrm>
          <a:prstGeom prst="rect">
            <a:avLst/>
          </a:prstGeom>
          <a:noFill/>
        </p:spPr>
        <p:txBody>
          <a:bodyPr wrap="square" lIns="0" tIns="0" rIns="0" bIns="0" rtlCol="0">
            <a:noAutofit/>
          </a:bodyPr>
          <a:lstStyle/>
          <a:p>
            <a:pPr marL="0" marR="0" lvl="0" indent="0" algn="ctr" defTabSz="914400" rtl="0" eaLnBrk="1" fontAlgn="auto" latinLnBrk="0" hangingPunct="1">
              <a:lnSpc>
                <a:spcPct val="130000"/>
              </a:lnSpc>
              <a:spcBef>
                <a:spcPts val="0"/>
              </a:spcBef>
              <a:spcAft>
                <a:spcPts val="0"/>
              </a:spcAft>
              <a:buClrTx/>
              <a:buSzTx/>
              <a:buFontTx/>
              <a:buNone/>
              <a:tabLst/>
              <a:defRPr/>
            </a:pPr>
            <a:r>
              <a:rPr kumimoji="0" lang="zh-CN" altLang="en-US" sz="1400" b="0" i="0" u="none" strike="noStrike" kern="1200" cap="none" spc="0" normalizeH="0" baseline="0" noProof="0" dirty="0">
                <a:ln>
                  <a:noFill/>
                </a:ln>
                <a:solidFill>
                  <a:srgbClr val="000000">
                    <a:lumMod val="85000"/>
                    <a:lumOff val="15000"/>
                  </a:srgbClr>
                </a:solidFill>
                <a:effectLst/>
                <a:uLnTx/>
                <a:uFillTx/>
                <a:latin typeface="OPPOSans R"/>
                <a:ea typeface="OPPOSans R"/>
                <a:cs typeface="+mn-cs"/>
              </a:rPr>
              <a:t>多与同事、伙伴交流沟通，加强自身亲和力</a:t>
            </a:r>
          </a:p>
        </p:txBody>
      </p:sp>
      <p:grpSp>
        <p:nvGrpSpPr>
          <p:cNvPr id="33" name="gaoding-8">
            <a:extLst>
              <a:ext uri="{FF2B5EF4-FFF2-40B4-BE49-F238E27FC236}">
                <a16:creationId xmlns:a16="http://schemas.microsoft.com/office/drawing/2014/main" id="{C1605B0B-F2FE-F1BE-517D-7BD169E97498}"/>
              </a:ext>
            </a:extLst>
          </p:cNvPr>
          <p:cNvGrpSpPr/>
          <p:nvPr/>
        </p:nvGrpSpPr>
        <p:grpSpPr>
          <a:xfrm>
            <a:off x="5746865" y="3176340"/>
            <a:ext cx="1594018" cy="337080"/>
            <a:chOff x="5918723" y="3289180"/>
            <a:chExt cx="1594018" cy="337080"/>
          </a:xfrm>
        </p:grpSpPr>
        <p:sp>
          <p:nvSpPr>
            <p:cNvPr id="34" name="gaoding-8-1">
              <a:extLst>
                <a:ext uri="{FF2B5EF4-FFF2-40B4-BE49-F238E27FC236}">
                  <a16:creationId xmlns:a16="http://schemas.microsoft.com/office/drawing/2014/main" id="{B6855FC2-B120-8481-F05E-F5E9D95FE780}"/>
                </a:ext>
              </a:extLst>
            </p:cNvPr>
            <p:cNvSpPr txBox="1"/>
            <p:nvPr/>
          </p:nvSpPr>
          <p:spPr>
            <a:xfrm>
              <a:off x="6142004" y="3289180"/>
              <a:ext cx="1370737" cy="337080"/>
            </a:xfrm>
            <a:prstGeom prst="rect">
              <a:avLst/>
            </a:prstGeom>
            <a:noFill/>
          </p:spPr>
          <p:txBody>
            <a:bodyPr wrap="square" lIns="0" tIns="0" rIns="0" bIns="0" rtlCol="0">
              <a:noAutofit/>
            </a:bodyPr>
            <a:lstStyle/>
            <a:p>
              <a:pPr marL="0" marR="0" lvl="0" indent="0" algn="ctr" defTabSz="914400" rtl="0" eaLnBrk="1" fontAlgn="auto" latinLnBrk="0" hangingPunct="1">
                <a:lnSpc>
                  <a:spcPct val="130000"/>
                </a:lnSpc>
                <a:spcBef>
                  <a:spcPts val="0"/>
                </a:spcBef>
                <a:spcAft>
                  <a:spcPts val="0"/>
                </a:spcAft>
                <a:buClrTx/>
                <a:buSzTx/>
                <a:buFontTx/>
                <a:buNone/>
                <a:tabLst/>
                <a:defRPr/>
              </a:pPr>
              <a:r>
                <a:rPr kumimoji="0" lang="zh-CN" altLang="en-US" sz="1800" b="1" i="0" u="none" strike="noStrike" kern="1200" cap="none" spc="0" normalizeH="0" baseline="0" noProof="0" dirty="0">
                  <a:ln>
                    <a:noFill/>
                  </a:ln>
                  <a:solidFill>
                    <a:srgbClr val="FFFFFF"/>
                  </a:solidFill>
                  <a:effectLst/>
                  <a:uLnTx/>
                  <a:uFillTx/>
                  <a:latin typeface="OPPOSans M"/>
                  <a:ea typeface="OPPOSans M"/>
                  <a:cs typeface="+mn-cs"/>
                </a:rPr>
                <a:t>加强亲和力</a:t>
              </a:r>
            </a:p>
          </p:txBody>
        </p:sp>
        <p:sp>
          <p:nvSpPr>
            <p:cNvPr id="35" name="gaoding-8-2">
              <a:extLst>
                <a:ext uri="{FF2B5EF4-FFF2-40B4-BE49-F238E27FC236}">
                  <a16:creationId xmlns:a16="http://schemas.microsoft.com/office/drawing/2014/main" id="{03750C3F-89AD-0B64-0C67-E5894FC43AB7}"/>
                </a:ext>
              </a:extLst>
            </p:cNvPr>
            <p:cNvSpPr/>
            <p:nvPr/>
          </p:nvSpPr>
          <p:spPr>
            <a:xfrm>
              <a:off x="5918723" y="3334372"/>
              <a:ext cx="266193" cy="256261"/>
            </a:xfrm>
            <a:custGeom>
              <a:avLst/>
              <a:gdLst>
                <a:gd name="connsiteX0" fmla="*/ 194024 w 465677"/>
                <a:gd name="connsiteY0" fmla="*/ 157258 h 448304"/>
                <a:gd name="connsiteX1" fmla="*/ 196023 w 465677"/>
                <a:gd name="connsiteY1" fmla="*/ 157258 h 448304"/>
                <a:gd name="connsiteX2" fmla="*/ 238410 w 465677"/>
                <a:gd name="connsiteY2" fmla="*/ 198691 h 448304"/>
                <a:gd name="connsiteX3" fmla="*/ 238410 w 465677"/>
                <a:gd name="connsiteY3" fmla="*/ 198791 h 448304"/>
                <a:gd name="connsiteX4" fmla="*/ 196023 w 465677"/>
                <a:gd name="connsiteY4" fmla="*/ 240220 h 448304"/>
                <a:gd name="connsiteX5" fmla="*/ 194024 w 465677"/>
                <a:gd name="connsiteY5" fmla="*/ 240220 h 448304"/>
                <a:gd name="connsiteX6" fmla="*/ 151733 w 465677"/>
                <a:gd name="connsiteY6" fmla="*/ 198691 h 448304"/>
                <a:gd name="connsiteX7" fmla="*/ 194024 w 465677"/>
                <a:gd name="connsiteY7" fmla="*/ 157258 h 448304"/>
                <a:gd name="connsiteX8" fmla="*/ 195263 w 465677"/>
                <a:gd name="connsiteY8" fmla="*/ 123824 h 448304"/>
                <a:gd name="connsiteX9" fmla="*/ 179737 w 465677"/>
                <a:gd name="connsiteY9" fmla="*/ 125062 h 448304"/>
                <a:gd name="connsiteX10" fmla="*/ 119729 w 465677"/>
                <a:gd name="connsiteY10" fmla="*/ 179831 h 448304"/>
                <a:gd name="connsiteX11" fmla="*/ 151734 w 465677"/>
                <a:gd name="connsiteY11" fmla="*/ 261937 h 448304"/>
                <a:gd name="connsiteX12" fmla="*/ 88488 w 465677"/>
                <a:gd name="connsiteY12" fmla="*/ 309562 h 448304"/>
                <a:gd name="connsiteX13" fmla="*/ 86582 w 465677"/>
                <a:gd name="connsiteY13" fmla="*/ 313303 h 448304"/>
                <a:gd name="connsiteX14" fmla="*/ 96107 w 465677"/>
                <a:gd name="connsiteY14" fmla="*/ 333374 h 448304"/>
                <a:gd name="connsiteX15" fmla="*/ 98298 w 465677"/>
                <a:gd name="connsiteY15" fmla="*/ 334231 h 448304"/>
                <a:gd name="connsiteX16" fmla="*/ 117348 w 465677"/>
                <a:gd name="connsiteY16" fmla="*/ 328135 h 448304"/>
                <a:gd name="connsiteX17" fmla="*/ 195167 w 465677"/>
                <a:gd name="connsiteY17" fmla="*/ 288892 h 448304"/>
                <a:gd name="connsiteX18" fmla="*/ 272987 w 465677"/>
                <a:gd name="connsiteY18" fmla="*/ 328135 h 448304"/>
                <a:gd name="connsiteX19" fmla="*/ 292037 w 465677"/>
                <a:gd name="connsiteY19" fmla="*/ 334231 h 448304"/>
                <a:gd name="connsiteX20" fmla="*/ 294228 w 465677"/>
                <a:gd name="connsiteY20" fmla="*/ 333374 h 448304"/>
                <a:gd name="connsiteX21" fmla="*/ 298038 w 465677"/>
                <a:gd name="connsiteY21" fmla="*/ 331430 h 448304"/>
                <a:gd name="connsiteX22" fmla="*/ 302038 w 465677"/>
                <a:gd name="connsiteY22" fmla="*/ 309562 h 448304"/>
                <a:gd name="connsiteX23" fmla="*/ 238791 w 465677"/>
                <a:gd name="connsiteY23" fmla="*/ 261937 h 448304"/>
                <a:gd name="connsiteX24" fmla="*/ 270796 w 465677"/>
                <a:gd name="connsiteY24" fmla="*/ 179831 h 448304"/>
                <a:gd name="connsiteX25" fmla="*/ 210788 w 465677"/>
                <a:gd name="connsiteY25" fmla="*/ 125062 h 448304"/>
                <a:gd name="connsiteX26" fmla="*/ 195263 w 465677"/>
                <a:gd name="connsiteY26" fmla="*/ 123824 h 448304"/>
                <a:gd name="connsiteX27" fmla="*/ 369285 w 465677"/>
                <a:gd name="connsiteY27" fmla="*/ 69717 h 448304"/>
                <a:gd name="connsiteX28" fmla="*/ 392811 w 465677"/>
                <a:gd name="connsiteY28" fmla="*/ 92677 h 448304"/>
                <a:gd name="connsiteX29" fmla="*/ 392811 w 465677"/>
                <a:gd name="connsiteY29" fmla="*/ 370903 h 448304"/>
                <a:gd name="connsiteX30" fmla="*/ 392811 w 465677"/>
                <a:gd name="connsiteY30" fmla="*/ 370906 h 448304"/>
                <a:gd name="connsiteX31" fmla="*/ 369380 w 465677"/>
                <a:gd name="connsiteY31" fmla="*/ 393763 h 448304"/>
                <a:gd name="connsiteX32" fmla="*/ 277559 w 465677"/>
                <a:gd name="connsiteY32" fmla="*/ 393763 h 448304"/>
                <a:gd name="connsiteX33" fmla="*/ 261461 w 465677"/>
                <a:gd name="connsiteY33" fmla="*/ 400049 h 448304"/>
                <a:gd name="connsiteX34" fmla="*/ 216217 w 465677"/>
                <a:gd name="connsiteY34" fmla="*/ 442054 h 448304"/>
                <a:gd name="connsiteX35" fmla="*/ 183356 w 465677"/>
                <a:gd name="connsiteY35" fmla="*/ 441388 h 448304"/>
                <a:gd name="connsiteX36" fmla="*/ 142684 w 465677"/>
                <a:gd name="connsiteY36" fmla="*/ 400621 h 448304"/>
                <a:gd name="connsiteX37" fmla="*/ 125920 w 465677"/>
                <a:gd name="connsiteY37" fmla="*/ 393763 h 448304"/>
                <a:gd name="connsiteX38" fmla="*/ 23336 w 465677"/>
                <a:gd name="connsiteY38" fmla="*/ 393763 h 448304"/>
                <a:gd name="connsiteX39" fmla="*/ 0 w 465677"/>
                <a:gd name="connsiteY39" fmla="*/ 370903 h 448304"/>
                <a:gd name="connsiteX40" fmla="*/ 0 w 465677"/>
                <a:gd name="connsiteY40" fmla="*/ 92677 h 448304"/>
                <a:gd name="connsiteX41" fmla="*/ 22956 w 465677"/>
                <a:gd name="connsiteY41" fmla="*/ 69722 h 448304"/>
                <a:gd name="connsiteX42" fmla="*/ 368999 w 465677"/>
                <a:gd name="connsiteY42" fmla="*/ 69722 h 448304"/>
                <a:gd name="connsiteX43" fmla="*/ 369285 w 465677"/>
                <a:gd name="connsiteY43" fmla="*/ 69717 h 448304"/>
                <a:gd name="connsiteX44" fmla="*/ 123825 w 465677"/>
                <a:gd name="connsiteY44" fmla="*/ 0 h 448304"/>
                <a:gd name="connsiteX45" fmla="*/ 445484 w 465677"/>
                <a:gd name="connsiteY45" fmla="*/ 0 h 448304"/>
                <a:gd name="connsiteX46" fmla="*/ 465677 w 465677"/>
                <a:gd name="connsiteY46" fmla="*/ 19810 h 448304"/>
                <a:gd name="connsiteX47" fmla="*/ 465677 w 465677"/>
                <a:gd name="connsiteY47" fmla="*/ 19812 h 448304"/>
                <a:gd name="connsiteX48" fmla="*/ 465677 w 465677"/>
                <a:gd name="connsiteY48" fmla="*/ 307753 h 448304"/>
                <a:gd name="connsiteX49" fmla="*/ 445866 w 465677"/>
                <a:gd name="connsiteY49" fmla="*/ 327565 h 448304"/>
                <a:gd name="connsiteX50" fmla="*/ 411384 w 465677"/>
                <a:gd name="connsiteY50" fmla="*/ 327565 h 448304"/>
                <a:gd name="connsiteX51" fmla="*/ 411384 w 465677"/>
                <a:gd name="connsiteY51" fmla="*/ 288512 h 448304"/>
                <a:gd name="connsiteX52" fmla="*/ 426244 w 465677"/>
                <a:gd name="connsiteY52" fmla="*/ 274037 h 448304"/>
                <a:gd name="connsiteX53" fmla="*/ 426244 w 465677"/>
                <a:gd name="connsiteY53" fmla="*/ 274034 h 448304"/>
                <a:gd name="connsiteX54" fmla="*/ 426244 w 465677"/>
                <a:gd name="connsiteY54" fmla="*/ 53626 h 448304"/>
                <a:gd name="connsiteX55" fmla="*/ 411479 w 465677"/>
                <a:gd name="connsiteY55" fmla="*/ 39051 h 448304"/>
                <a:gd name="connsiteX56" fmla="*/ 411384 w 465677"/>
                <a:gd name="connsiteY56" fmla="*/ 39052 h 448304"/>
                <a:gd name="connsiteX57" fmla="*/ 158782 w 465677"/>
                <a:gd name="connsiteY57" fmla="*/ 39052 h 448304"/>
                <a:gd name="connsiteX58" fmla="*/ 143922 w 465677"/>
                <a:gd name="connsiteY58" fmla="*/ 53529 h 448304"/>
                <a:gd name="connsiteX59" fmla="*/ 143922 w 465677"/>
                <a:gd name="connsiteY59" fmla="*/ 53626 h 448304"/>
                <a:gd name="connsiteX60" fmla="*/ 143922 w 465677"/>
                <a:gd name="connsiteY60" fmla="*/ 58007 h 448304"/>
                <a:gd name="connsiteX61" fmla="*/ 104013 w 465677"/>
                <a:gd name="connsiteY61" fmla="*/ 58007 h 448304"/>
                <a:gd name="connsiteX62" fmla="*/ 104013 w 465677"/>
                <a:gd name="connsiteY62" fmla="*/ 19907 h 448304"/>
                <a:gd name="connsiteX63" fmla="*/ 123825 w 465677"/>
                <a:gd name="connsiteY63" fmla="*/ 0 h 448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465677" h="448304">
                  <a:moveTo>
                    <a:pt x="194024" y="157258"/>
                  </a:moveTo>
                  <a:lnTo>
                    <a:pt x="196023" y="157258"/>
                  </a:lnTo>
                  <a:cubicBezTo>
                    <a:pt x="219170" y="156996"/>
                    <a:pt x="238124" y="175547"/>
                    <a:pt x="238410" y="198691"/>
                  </a:cubicBezTo>
                  <a:cubicBezTo>
                    <a:pt x="238410" y="198725"/>
                    <a:pt x="238410" y="198758"/>
                    <a:pt x="238410" y="198791"/>
                  </a:cubicBezTo>
                  <a:cubicBezTo>
                    <a:pt x="238124" y="221936"/>
                    <a:pt x="219170" y="240484"/>
                    <a:pt x="196023" y="240220"/>
                  </a:cubicBezTo>
                  <a:lnTo>
                    <a:pt x="194024" y="240220"/>
                  </a:lnTo>
                  <a:cubicBezTo>
                    <a:pt x="170877" y="240430"/>
                    <a:pt x="151923" y="221837"/>
                    <a:pt x="151733" y="198691"/>
                  </a:cubicBezTo>
                  <a:cubicBezTo>
                    <a:pt x="152018" y="175582"/>
                    <a:pt x="170877" y="157046"/>
                    <a:pt x="194024" y="157258"/>
                  </a:cubicBezTo>
                  <a:close/>
                  <a:moveTo>
                    <a:pt x="195263" y="123824"/>
                  </a:moveTo>
                  <a:cubicBezTo>
                    <a:pt x="190023" y="123723"/>
                    <a:pt x="184881" y="124138"/>
                    <a:pt x="179737" y="125062"/>
                  </a:cubicBezTo>
                  <a:cubicBezTo>
                    <a:pt x="150685" y="129889"/>
                    <a:pt x="127159" y="151339"/>
                    <a:pt x="119729" y="179831"/>
                  </a:cubicBezTo>
                  <a:cubicBezTo>
                    <a:pt x="111442" y="211245"/>
                    <a:pt x="124397" y="244410"/>
                    <a:pt x="151734" y="261937"/>
                  </a:cubicBezTo>
                  <a:cubicBezTo>
                    <a:pt x="126111" y="270647"/>
                    <a:pt x="103918" y="287337"/>
                    <a:pt x="88488" y="309562"/>
                  </a:cubicBezTo>
                  <a:cubicBezTo>
                    <a:pt x="87725" y="310717"/>
                    <a:pt x="87059" y="311975"/>
                    <a:pt x="86582" y="313303"/>
                  </a:cubicBezTo>
                  <a:cubicBezTo>
                    <a:pt x="83630" y="321482"/>
                    <a:pt x="87916" y="330468"/>
                    <a:pt x="96107" y="333374"/>
                  </a:cubicBezTo>
                  <a:lnTo>
                    <a:pt x="98298" y="334231"/>
                  </a:lnTo>
                  <a:cubicBezTo>
                    <a:pt x="105252" y="336658"/>
                    <a:pt x="113062" y="334175"/>
                    <a:pt x="117348" y="328135"/>
                  </a:cubicBezTo>
                  <a:cubicBezTo>
                    <a:pt x="135255" y="303068"/>
                    <a:pt x="164402" y="288401"/>
                    <a:pt x="195167" y="288892"/>
                  </a:cubicBezTo>
                  <a:cubicBezTo>
                    <a:pt x="225933" y="288401"/>
                    <a:pt x="255080" y="303068"/>
                    <a:pt x="272987" y="328135"/>
                  </a:cubicBezTo>
                  <a:cubicBezTo>
                    <a:pt x="277273" y="334175"/>
                    <a:pt x="285084" y="336658"/>
                    <a:pt x="292037" y="334231"/>
                  </a:cubicBezTo>
                  <a:lnTo>
                    <a:pt x="294228" y="333374"/>
                  </a:lnTo>
                  <a:cubicBezTo>
                    <a:pt x="295561" y="332906"/>
                    <a:pt x="296895" y="332251"/>
                    <a:pt x="298038" y="331430"/>
                  </a:cubicBezTo>
                  <a:cubicBezTo>
                    <a:pt x="305182" y="326488"/>
                    <a:pt x="306991" y="316697"/>
                    <a:pt x="302038" y="309562"/>
                  </a:cubicBezTo>
                  <a:cubicBezTo>
                    <a:pt x="286607" y="287337"/>
                    <a:pt x="264414" y="270647"/>
                    <a:pt x="238791" y="261937"/>
                  </a:cubicBezTo>
                  <a:cubicBezTo>
                    <a:pt x="266128" y="244410"/>
                    <a:pt x="279083" y="211245"/>
                    <a:pt x="270796" y="179831"/>
                  </a:cubicBezTo>
                  <a:cubicBezTo>
                    <a:pt x="263367" y="151339"/>
                    <a:pt x="239840" y="129889"/>
                    <a:pt x="210788" y="125062"/>
                  </a:cubicBezTo>
                  <a:cubicBezTo>
                    <a:pt x="205645" y="124138"/>
                    <a:pt x="200502" y="123723"/>
                    <a:pt x="195263" y="123824"/>
                  </a:cubicBezTo>
                  <a:close/>
                  <a:moveTo>
                    <a:pt x="369285" y="69717"/>
                  </a:moveTo>
                  <a:cubicBezTo>
                    <a:pt x="382143" y="69563"/>
                    <a:pt x="392620" y="79843"/>
                    <a:pt x="392811" y="92677"/>
                  </a:cubicBezTo>
                  <a:lnTo>
                    <a:pt x="392811" y="370903"/>
                  </a:lnTo>
                  <a:cubicBezTo>
                    <a:pt x="392811" y="370904"/>
                    <a:pt x="392811" y="370905"/>
                    <a:pt x="392811" y="370906"/>
                  </a:cubicBezTo>
                  <a:cubicBezTo>
                    <a:pt x="392620" y="383688"/>
                    <a:pt x="382143" y="393922"/>
                    <a:pt x="369380" y="393763"/>
                  </a:cubicBezTo>
                  <a:lnTo>
                    <a:pt x="277559" y="393763"/>
                  </a:lnTo>
                  <a:cubicBezTo>
                    <a:pt x="271558" y="393778"/>
                    <a:pt x="265843" y="396020"/>
                    <a:pt x="261461" y="400049"/>
                  </a:cubicBezTo>
                  <a:lnTo>
                    <a:pt x="216217" y="442054"/>
                  </a:lnTo>
                  <a:cubicBezTo>
                    <a:pt x="206883" y="450639"/>
                    <a:pt x="192405" y="450346"/>
                    <a:pt x="183356" y="441388"/>
                  </a:cubicBezTo>
                  <a:lnTo>
                    <a:pt x="142684" y="400621"/>
                  </a:lnTo>
                  <a:cubicBezTo>
                    <a:pt x="138208" y="396215"/>
                    <a:pt x="132207" y="393751"/>
                    <a:pt x="125920" y="393763"/>
                  </a:cubicBezTo>
                  <a:lnTo>
                    <a:pt x="23336" y="393763"/>
                  </a:lnTo>
                  <a:cubicBezTo>
                    <a:pt x="10573" y="393868"/>
                    <a:pt x="191" y="383648"/>
                    <a:pt x="0" y="370903"/>
                  </a:cubicBezTo>
                  <a:lnTo>
                    <a:pt x="0" y="92677"/>
                  </a:lnTo>
                  <a:cubicBezTo>
                    <a:pt x="96" y="80043"/>
                    <a:pt x="10287" y="69826"/>
                    <a:pt x="22956" y="69722"/>
                  </a:cubicBezTo>
                  <a:lnTo>
                    <a:pt x="368999" y="69722"/>
                  </a:lnTo>
                  <a:cubicBezTo>
                    <a:pt x="369094" y="69720"/>
                    <a:pt x="369189" y="69718"/>
                    <a:pt x="369285" y="69717"/>
                  </a:cubicBezTo>
                  <a:close/>
                  <a:moveTo>
                    <a:pt x="123825" y="0"/>
                  </a:moveTo>
                  <a:lnTo>
                    <a:pt x="445484" y="0"/>
                  </a:lnTo>
                  <a:cubicBezTo>
                    <a:pt x="456534" y="-106"/>
                    <a:pt x="465582" y="8764"/>
                    <a:pt x="465677" y="19810"/>
                  </a:cubicBezTo>
                  <a:cubicBezTo>
                    <a:pt x="465677" y="19811"/>
                    <a:pt x="465677" y="19811"/>
                    <a:pt x="465677" y="19812"/>
                  </a:cubicBezTo>
                  <a:lnTo>
                    <a:pt x="465677" y="307753"/>
                  </a:lnTo>
                  <a:cubicBezTo>
                    <a:pt x="465582" y="318651"/>
                    <a:pt x="456723" y="327462"/>
                    <a:pt x="445866" y="327565"/>
                  </a:cubicBezTo>
                  <a:lnTo>
                    <a:pt x="411384" y="327565"/>
                  </a:lnTo>
                  <a:lnTo>
                    <a:pt x="411384" y="288512"/>
                  </a:lnTo>
                  <a:cubicBezTo>
                    <a:pt x="419481" y="288618"/>
                    <a:pt x="426148" y="282137"/>
                    <a:pt x="426244" y="274037"/>
                  </a:cubicBezTo>
                  <a:cubicBezTo>
                    <a:pt x="426244" y="274036"/>
                    <a:pt x="426244" y="274035"/>
                    <a:pt x="426244" y="274034"/>
                  </a:cubicBezTo>
                  <a:lnTo>
                    <a:pt x="426244" y="53626"/>
                  </a:lnTo>
                  <a:cubicBezTo>
                    <a:pt x="426148" y="45525"/>
                    <a:pt x="419576" y="39000"/>
                    <a:pt x="411479" y="39051"/>
                  </a:cubicBezTo>
                  <a:cubicBezTo>
                    <a:pt x="411479" y="39052"/>
                    <a:pt x="411384" y="39052"/>
                    <a:pt x="411384" y="39052"/>
                  </a:cubicBezTo>
                  <a:lnTo>
                    <a:pt x="158782" y="39052"/>
                  </a:lnTo>
                  <a:cubicBezTo>
                    <a:pt x="150685" y="38947"/>
                    <a:pt x="144018" y="45428"/>
                    <a:pt x="143922" y="53529"/>
                  </a:cubicBezTo>
                  <a:cubicBezTo>
                    <a:pt x="143922" y="53561"/>
                    <a:pt x="143922" y="53593"/>
                    <a:pt x="143922" y="53626"/>
                  </a:cubicBezTo>
                  <a:lnTo>
                    <a:pt x="143922" y="58007"/>
                  </a:lnTo>
                  <a:lnTo>
                    <a:pt x="104013" y="58007"/>
                  </a:lnTo>
                  <a:lnTo>
                    <a:pt x="104013" y="19907"/>
                  </a:lnTo>
                  <a:cubicBezTo>
                    <a:pt x="104109" y="8971"/>
                    <a:pt x="112871" y="104"/>
                    <a:pt x="123825" y="0"/>
                  </a:cubicBezTo>
                  <a:close/>
                </a:path>
              </a:pathLst>
            </a:custGeom>
            <a:solidFill>
              <a:schemeClr val="bg1"/>
            </a:solidFill>
            <a:ln w="9525" cap="flat">
              <a:noFill/>
              <a:prstDash val="solid"/>
              <a:miter/>
            </a:ln>
          </p:spPr>
          <p:txBody>
            <a:bodyPr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panose="020F0502020204030204"/>
                <a:ea typeface="微软雅黑"/>
                <a:cs typeface="+mn-cs"/>
              </a:endParaRPr>
            </a:p>
          </p:txBody>
        </p:sp>
      </p:grpSp>
      <p:grpSp>
        <p:nvGrpSpPr>
          <p:cNvPr id="47" name="组合 46">
            <a:extLst>
              <a:ext uri="{FF2B5EF4-FFF2-40B4-BE49-F238E27FC236}">
                <a16:creationId xmlns:a16="http://schemas.microsoft.com/office/drawing/2014/main" id="{23796F31-9A2D-DA2B-672C-3AC070EE11A7}"/>
              </a:ext>
            </a:extLst>
          </p:cNvPr>
          <p:cNvGrpSpPr/>
          <p:nvPr/>
        </p:nvGrpSpPr>
        <p:grpSpPr>
          <a:xfrm>
            <a:off x="10168548" y="6199574"/>
            <a:ext cx="1351871" cy="69351"/>
            <a:chOff x="10168548" y="6199574"/>
            <a:chExt cx="1351871" cy="69351"/>
          </a:xfrm>
        </p:grpSpPr>
        <p:cxnSp>
          <p:nvCxnSpPr>
            <p:cNvPr id="48" name="gaoding-9-4">
              <a:extLst>
                <a:ext uri="{FF2B5EF4-FFF2-40B4-BE49-F238E27FC236}">
                  <a16:creationId xmlns:a16="http://schemas.microsoft.com/office/drawing/2014/main" id="{4D68AF17-E680-E170-9640-41FB17DC433D}"/>
                </a:ext>
              </a:extLst>
            </p:cNvPr>
            <p:cNvCxnSpPr>
              <a:cxnSpLocks/>
            </p:cNvCxnSpPr>
            <p:nvPr/>
          </p:nvCxnSpPr>
          <p:spPr>
            <a:xfrm>
              <a:off x="10168548" y="6236279"/>
              <a:ext cx="334911"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49" name="gaoding-9-5">
              <a:extLst>
                <a:ext uri="{FF2B5EF4-FFF2-40B4-BE49-F238E27FC236}">
                  <a16:creationId xmlns:a16="http://schemas.microsoft.com/office/drawing/2014/main" id="{DA6FE0A9-9BE9-F4C6-5BC9-42DE4E17F24A}"/>
                </a:ext>
              </a:extLst>
            </p:cNvPr>
            <p:cNvSpPr txBox="1"/>
            <p:nvPr/>
          </p:nvSpPr>
          <p:spPr>
            <a:xfrm>
              <a:off x="10659444" y="6199574"/>
              <a:ext cx="860975" cy="69351"/>
            </a:xfrm>
            <a:custGeom>
              <a:avLst/>
              <a:gdLst/>
              <a:ahLst/>
              <a:cxnLst/>
              <a:rect l="l" t="t" r="r" b="b"/>
              <a:pathLst>
                <a:path w="860975" h="69351">
                  <a:moveTo>
                    <a:pt x="157868" y="7458"/>
                  </a:moveTo>
                  <a:lnTo>
                    <a:pt x="146038" y="41662"/>
                  </a:lnTo>
                  <a:lnTo>
                    <a:pt x="169698" y="41662"/>
                  </a:lnTo>
                  <a:close/>
                  <a:moveTo>
                    <a:pt x="427244" y="6601"/>
                  </a:moveTo>
                  <a:lnTo>
                    <a:pt x="427244" y="62751"/>
                  </a:lnTo>
                  <a:lnTo>
                    <a:pt x="441474" y="62751"/>
                  </a:lnTo>
                  <a:cubicBezTo>
                    <a:pt x="446561" y="62751"/>
                    <a:pt x="450904" y="61593"/>
                    <a:pt x="454505" y="59279"/>
                  </a:cubicBezTo>
                  <a:cubicBezTo>
                    <a:pt x="458105" y="56964"/>
                    <a:pt x="460834" y="53692"/>
                    <a:pt x="462691" y="49463"/>
                  </a:cubicBezTo>
                  <a:cubicBezTo>
                    <a:pt x="464549" y="45234"/>
                    <a:pt x="465478" y="40319"/>
                    <a:pt x="465478" y="34718"/>
                  </a:cubicBezTo>
                  <a:cubicBezTo>
                    <a:pt x="465478" y="29061"/>
                    <a:pt x="464549" y="24117"/>
                    <a:pt x="462691" y="19888"/>
                  </a:cubicBezTo>
                  <a:cubicBezTo>
                    <a:pt x="460834" y="15659"/>
                    <a:pt x="458105" y="12387"/>
                    <a:pt x="454505" y="10073"/>
                  </a:cubicBezTo>
                  <a:cubicBezTo>
                    <a:pt x="450904" y="7758"/>
                    <a:pt x="446561" y="6601"/>
                    <a:pt x="441474" y="6601"/>
                  </a:cubicBezTo>
                  <a:close/>
                  <a:moveTo>
                    <a:pt x="303914" y="5572"/>
                  </a:moveTo>
                  <a:cubicBezTo>
                    <a:pt x="299685" y="5572"/>
                    <a:pt x="295928" y="6786"/>
                    <a:pt x="292642" y="9215"/>
                  </a:cubicBezTo>
                  <a:cubicBezTo>
                    <a:pt x="289356" y="11644"/>
                    <a:pt x="286812" y="15073"/>
                    <a:pt x="285012" y="19502"/>
                  </a:cubicBezTo>
                  <a:cubicBezTo>
                    <a:pt x="283212" y="23931"/>
                    <a:pt x="282312" y="29003"/>
                    <a:pt x="282312" y="34718"/>
                  </a:cubicBezTo>
                  <a:cubicBezTo>
                    <a:pt x="282312" y="40433"/>
                    <a:pt x="283212" y="45491"/>
                    <a:pt x="285012" y="49892"/>
                  </a:cubicBezTo>
                  <a:cubicBezTo>
                    <a:pt x="286812" y="54292"/>
                    <a:pt x="289356" y="57721"/>
                    <a:pt x="292642" y="60179"/>
                  </a:cubicBezTo>
                  <a:cubicBezTo>
                    <a:pt x="295928" y="62636"/>
                    <a:pt x="299685" y="63865"/>
                    <a:pt x="303914" y="63865"/>
                  </a:cubicBezTo>
                  <a:cubicBezTo>
                    <a:pt x="308144" y="63865"/>
                    <a:pt x="311901" y="62636"/>
                    <a:pt x="315187" y="60179"/>
                  </a:cubicBezTo>
                  <a:cubicBezTo>
                    <a:pt x="318473" y="57721"/>
                    <a:pt x="321031" y="54292"/>
                    <a:pt x="322860" y="49892"/>
                  </a:cubicBezTo>
                  <a:cubicBezTo>
                    <a:pt x="324688" y="45491"/>
                    <a:pt x="325603" y="40433"/>
                    <a:pt x="325603" y="34718"/>
                  </a:cubicBezTo>
                  <a:cubicBezTo>
                    <a:pt x="325603" y="29003"/>
                    <a:pt x="324689" y="23931"/>
                    <a:pt x="322860" y="19502"/>
                  </a:cubicBezTo>
                  <a:cubicBezTo>
                    <a:pt x="321031" y="15073"/>
                    <a:pt x="318473" y="11644"/>
                    <a:pt x="315187" y="9215"/>
                  </a:cubicBezTo>
                  <a:cubicBezTo>
                    <a:pt x="311901" y="6786"/>
                    <a:pt x="308144" y="5572"/>
                    <a:pt x="303914" y="5572"/>
                  </a:cubicBezTo>
                  <a:close/>
                  <a:moveTo>
                    <a:pt x="659111" y="943"/>
                  </a:moveTo>
                  <a:lnTo>
                    <a:pt x="666055" y="943"/>
                  </a:lnTo>
                  <a:lnTo>
                    <a:pt x="702488" y="55635"/>
                  </a:lnTo>
                  <a:lnTo>
                    <a:pt x="702488" y="943"/>
                  </a:lnTo>
                  <a:lnTo>
                    <a:pt x="708318" y="943"/>
                  </a:lnTo>
                  <a:lnTo>
                    <a:pt x="708318" y="68408"/>
                  </a:lnTo>
                  <a:lnTo>
                    <a:pt x="703431" y="68408"/>
                  </a:lnTo>
                  <a:lnTo>
                    <a:pt x="664941" y="10801"/>
                  </a:lnTo>
                  <a:lnTo>
                    <a:pt x="664941" y="68408"/>
                  </a:lnTo>
                  <a:lnTo>
                    <a:pt x="659111" y="68408"/>
                  </a:lnTo>
                  <a:close/>
                  <a:moveTo>
                    <a:pt x="564547" y="943"/>
                  </a:moveTo>
                  <a:lnTo>
                    <a:pt x="570891" y="943"/>
                  </a:lnTo>
                  <a:lnTo>
                    <a:pt x="570891" y="68408"/>
                  </a:lnTo>
                  <a:lnTo>
                    <a:pt x="564547" y="68408"/>
                  </a:lnTo>
                  <a:close/>
                  <a:moveTo>
                    <a:pt x="420986" y="943"/>
                  </a:moveTo>
                  <a:lnTo>
                    <a:pt x="442246" y="943"/>
                  </a:lnTo>
                  <a:cubicBezTo>
                    <a:pt x="448304" y="943"/>
                    <a:pt x="453562" y="2329"/>
                    <a:pt x="458019" y="5100"/>
                  </a:cubicBezTo>
                  <a:cubicBezTo>
                    <a:pt x="462477" y="7872"/>
                    <a:pt x="465892" y="11801"/>
                    <a:pt x="468264" y="16888"/>
                  </a:cubicBezTo>
                  <a:cubicBezTo>
                    <a:pt x="470635" y="21974"/>
                    <a:pt x="471821" y="27918"/>
                    <a:pt x="471821" y="34718"/>
                  </a:cubicBezTo>
                  <a:cubicBezTo>
                    <a:pt x="471821" y="41462"/>
                    <a:pt x="470635" y="47377"/>
                    <a:pt x="468264" y="52464"/>
                  </a:cubicBezTo>
                  <a:cubicBezTo>
                    <a:pt x="465892" y="57550"/>
                    <a:pt x="462477" y="61479"/>
                    <a:pt x="458019" y="64251"/>
                  </a:cubicBezTo>
                  <a:cubicBezTo>
                    <a:pt x="453562" y="67023"/>
                    <a:pt x="448304" y="68408"/>
                    <a:pt x="442246" y="68408"/>
                  </a:cubicBezTo>
                  <a:lnTo>
                    <a:pt x="420986" y="68408"/>
                  </a:lnTo>
                  <a:close/>
                  <a:moveTo>
                    <a:pt x="154696" y="943"/>
                  </a:moveTo>
                  <a:lnTo>
                    <a:pt x="161382" y="943"/>
                  </a:lnTo>
                  <a:lnTo>
                    <a:pt x="185814" y="68408"/>
                  </a:lnTo>
                  <a:lnTo>
                    <a:pt x="178956" y="68408"/>
                  </a:lnTo>
                  <a:lnTo>
                    <a:pt x="171669" y="47406"/>
                  </a:lnTo>
                  <a:lnTo>
                    <a:pt x="143980" y="47406"/>
                  </a:lnTo>
                  <a:lnTo>
                    <a:pt x="136694" y="68408"/>
                  </a:lnTo>
                  <a:lnTo>
                    <a:pt x="130264" y="68408"/>
                  </a:lnTo>
                  <a:close/>
                  <a:moveTo>
                    <a:pt x="837400" y="0"/>
                  </a:moveTo>
                  <a:cubicBezTo>
                    <a:pt x="843115" y="0"/>
                    <a:pt x="847859" y="1357"/>
                    <a:pt x="851630" y="4072"/>
                  </a:cubicBezTo>
                  <a:cubicBezTo>
                    <a:pt x="855402" y="6786"/>
                    <a:pt x="857974" y="10373"/>
                    <a:pt x="859346" y="14830"/>
                  </a:cubicBezTo>
                  <a:lnTo>
                    <a:pt x="854202" y="17402"/>
                  </a:lnTo>
                  <a:cubicBezTo>
                    <a:pt x="851802" y="9515"/>
                    <a:pt x="846173" y="5572"/>
                    <a:pt x="837314" y="5572"/>
                  </a:cubicBezTo>
                  <a:cubicBezTo>
                    <a:pt x="833085" y="5572"/>
                    <a:pt x="829356" y="6786"/>
                    <a:pt x="826127" y="9215"/>
                  </a:cubicBezTo>
                  <a:cubicBezTo>
                    <a:pt x="822898" y="11644"/>
                    <a:pt x="820398" y="15059"/>
                    <a:pt x="818626" y="19459"/>
                  </a:cubicBezTo>
                  <a:cubicBezTo>
                    <a:pt x="816855" y="23860"/>
                    <a:pt x="815969" y="28946"/>
                    <a:pt x="815969" y="34718"/>
                  </a:cubicBezTo>
                  <a:cubicBezTo>
                    <a:pt x="815969" y="40491"/>
                    <a:pt x="816855" y="45577"/>
                    <a:pt x="818626" y="49978"/>
                  </a:cubicBezTo>
                  <a:cubicBezTo>
                    <a:pt x="820398" y="54378"/>
                    <a:pt x="822898" y="57793"/>
                    <a:pt x="826127" y="60222"/>
                  </a:cubicBezTo>
                  <a:cubicBezTo>
                    <a:pt x="829356" y="62651"/>
                    <a:pt x="833114" y="63865"/>
                    <a:pt x="837400" y="63865"/>
                  </a:cubicBezTo>
                  <a:cubicBezTo>
                    <a:pt x="843287" y="63865"/>
                    <a:pt x="847687" y="62050"/>
                    <a:pt x="850602" y="58421"/>
                  </a:cubicBezTo>
                  <a:cubicBezTo>
                    <a:pt x="853517" y="54792"/>
                    <a:pt x="854974" y="49606"/>
                    <a:pt x="854974" y="42862"/>
                  </a:cubicBezTo>
                  <a:lnTo>
                    <a:pt x="854974" y="40119"/>
                  </a:lnTo>
                  <a:lnTo>
                    <a:pt x="840143" y="40119"/>
                  </a:lnTo>
                  <a:lnTo>
                    <a:pt x="840143" y="34547"/>
                  </a:lnTo>
                  <a:lnTo>
                    <a:pt x="860975" y="34547"/>
                  </a:lnTo>
                  <a:lnTo>
                    <a:pt x="860975" y="43377"/>
                  </a:lnTo>
                  <a:cubicBezTo>
                    <a:pt x="860975" y="48349"/>
                    <a:pt x="860132" y="52792"/>
                    <a:pt x="858446" y="56707"/>
                  </a:cubicBezTo>
                  <a:cubicBezTo>
                    <a:pt x="856760" y="60622"/>
                    <a:pt x="854145" y="63708"/>
                    <a:pt x="850602" y="65965"/>
                  </a:cubicBezTo>
                  <a:cubicBezTo>
                    <a:pt x="847059" y="68223"/>
                    <a:pt x="842658" y="69351"/>
                    <a:pt x="837400" y="69351"/>
                  </a:cubicBezTo>
                  <a:cubicBezTo>
                    <a:pt x="831971" y="69351"/>
                    <a:pt x="827142" y="67908"/>
                    <a:pt x="822913" y="65022"/>
                  </a:cubicBezTo>
                  <a:cubicBezTo>
                    <a:pt x="818684" y="62136"/>
                    <a:pt x="815412" y="58064"/>
                    <a:pt x="813097" y="52806"/>
                  </a:cubicBezTo>
                  <a:cubicBezTo>
                    <a:pt x="810783" y="47549"/>
                    <a:pt x="809625" y="41519"/>
                    <a:pt x="809625" y="34718"/>
                  </a:cubicBezTo>
                  <a:cubicBezTo>
                    <a:pt x="809625" y="27918"/>
                    <a:pt x="810783" y="21888"/>
                    <a:pt x="813097" y="16630"/>
                  </a:cubicBezTo>
                  <a:cubicBezTo>
                    <a:pt x="815412" y="11373"/>
                    <a:pt x="818684" y="7286"/>
                    <a:pt x="822913" y="4372"/>
                  </a:cubicBezTo>
                  <a:cubicBezTo>
                    <a:pt x="827142" y="1457"/>
                    <a:pt x="831971" y="0"/>
                    <a:pt x="837400" y="0"/>
                  </a:cubicBezTo>
                  <a:close/>
                  <a:moveTo>
                    <a:pt x="303914" y="0"/>
                  </a:moveTo>
                  <a:cubicBezTo>
                    <a:pt x="309344" y="0"/>
                    <a:pt x="314173" y="1486"/>
                    <a:pt x="318402" y="4458"/>
                  </a:cubicBezTo>
                  <a:cubicBezTo>
                    <a:pt x="322631" y="7429"/>
                    <a:pt x="325932" y="11558"/>
                    <a:pt x="328303" y="16845"/>
                  </a:cubicBezTo>
                  <a:cubicBezTo>
                    <a:pt x="330675" y="22131"/>
                    <a:pt x="331861" y="28089"/>
                    <a:pt x="331861" y="34718"/>
                  </a:cubicBezTo>
                  <a:cubicBezTo>
                    <a:pt x="331861" y="41348"/>
                    <a:pt x="330675" y="47291"/>
                    <a:pt x="328303" y="52549"/>
                  </a:cubicBezTo>
                  <a:cubicBezTo>
                    <a:pt x="325932" y="57807"/>
                    <a:pt x="322631" y="61922"/>
                    <a:pt x="318402" y="64894"/>
                  </a:cubicBezTo>
                  <a:cubicBezTo>
                    <a:pt x="314173" y="67865"/>
                    <a:pt x="309344" y="69351"/>
                    <a:pt x="303914" y="69351"/>
                  </a:cubicBezTo>
                  <a:cubicBezTo>
                    <a:pt x="298485" y="69351"/>
                    <a:pt x="293656" y="67865"/>
                    <a:pt x="289427" y="64894"/>
                  </a:cubicBezTo>
                  <a:cubicBezTo>
                    <a:pt x="285198" y="61922"/>
                    <a:pt x="281912" y="57807"/>
                    <a:pt x="279569" y="52549"/>
                  </a:cubicBezTo>
                  <a:cubicBezTo>
                    <a:pt x="277225" y="47291"/>
                    <a:pt x="276054" y="41348"/>
                    <a:pt x="276054" y="34718"/>
                  </a:cubicBezTo>
                  <a:cubicBezTo>
                    <a:pt x="276054" y="28089"/>
                    <a:pt x="277225" y="22131"/>
                    <a:pt x="279569" y="16845"/>
                  </a:cubicBezTo>
                  <a:cubicBezTo>
                    <a:pt x="281912" y="11558"/>
                    <a:pt x="285198" y="7429"/>
                    <a:pt x="289427" y="4458"/>
                  </a:cubicBezTo>
                  <a:cubicBezTo>
                    <a:pt x="293656" y="1486"/>
                    <a:pt x="298485" y="0"/>
                    <a:pt x="303914" y="0"/>
                  </a:cubicBezTo>
                  <a:close/>
                  <a:moveTo>
                    <a:pt x="27775" y="0"/>
                  </a:moveTo>
                  <a:cubicBezTo>
                    <a:pt x="33490" y="0"/>
                    <a:pt x="38234" y="1357"/>
                    <a:pt x="42006" y="4072"/>
                  </a:cubicBezTo>
                  <a:cubicBezTo>
                    <a:pt x="45777" y="6786"/>
                    <a:pt x="48349" y="10373"/>
                    <a:pt x="49721" y="14830"/>
                  </a:cubicBezTo>
                  <a:lnTo>
                    <a:pt x="44577" y="17402"/>
                  </a:lnTo>
                  <a:cubicBezTo>
                    <a:pt x="42177" y="9515"/>
                    <a:pt x="36548" y="5572"/>
                    <a:pt x="27690" y="5572"/>
                  </a:cubicBezTo>
                  <a:cubicBezTo>
                    <a:pt x="23460" y="5572"/>
                    <a:pt x="19731" y="6786"/>
                    <a:pt x="16502" y="9215"/>
                  </a:cubicBezTo>
                  <a:cubicBezTo>
                    <a:pt x="13273" y="11644"/>
                    <a:pt x="10773" y="15059"/>
                    <a:pt x="9001" y="19459"/>
                  </a:cubicBezTo>
                  <a:cubicBezTo>
                    <a:pt x="7230" y="23860"/>
                    <a:pt x="6344" y="28946"/>
                    <a:pt x="6344" y="34718"/>
                  </a:cubicBezTo>
                  <a:cubicBezTo>
                    <a:pt x="6344" y="40491"/>
                    <a:pt x="7230" y="45577"/>
                    <a:pt x="9001" y="49978"/>
                  </a:cubicBezTo>
                  <a:cubicBezTo>
                    <a:pt x="10773" y="54378"/>
                    <a:pt x="13273" y="57793"/>
                    <a:pt x="16502" y="60222"/>
                  </a:cubicBezTo>
                  <a:cubicBezTo>
                    <a:pt x="19731" y="62651"/>
                    <a:pt x="23489" y="63865"/>
                    <a:pt x="27775" y="63865"/>
                  </a:cubicBezTo>
                  <a:cubicBezTo>
                    <a:pt x="33662" y="63865"/>
                    <a:pt x="38062" y="62050"/>
                    <a:pt x="40977" y="58421"/>
                  </a:cubicBezTo>
                  <a:cubicBezTo>
                    <a:pt x="43892" y="54792"/>
                    <a:pt x="45349" y="49606"/>
                    <a:pt x="45349" y="42862"/>
                  </a:cubicBezTo>
                  <a:lnTo>
                    <a:pt x="45349" y="40119"/>
                  </a:lnTo>
                  <a:lnTo>
                    <a:pt x="30518" y="40119"/>
                  </a:lnTo>
                  <a:lnTo>
                    <a:pt x="30518" y="34547"/>
                  </a:lnTo>
                  <a:lnTo>
                    <a:pt x="51350" y="34547"/>
                  </a:lnTo>
                  <a:lnTo>
                    <a:pt x="51350" y="43377"/>
                  </a:lnTo>
                  <a:cubicBezTo>
                    <a:pt x="51350" y="48349"/>
                    <a:pt x="50507" y="52792"/>
                    <a:pt x="48821" y="56707"/>
                  </a:cubicBezTo>
                  <a:cubicBezTo>
                    <a:pt x="47135" y="60622"/>
                    <a:pt x="44520" y="63708"/>
                    <a:pt x="40977" y="65965"/>
                  </a:cubicBezTo>
                  <a:cubicBezTo>
                    <a:pt x="37434" y="68223"/>
                    <a:pt x="33033" y="69351"/>
                    <a:pt x="27775" y="69351"/>
                  </a:cubicBezTo>
                  <a:cubicBezTo>
                    <a:pt x="22346" y="69351"/>
                    <a:pt x="17517" y="67908"/>
                    <a:pt x="13288" y="65022"/>
                  </a:cubicBezTo>
                  <a:cubicBezTo>
                    <a:pt x="9059" y="62136"/>
                    <a:pt x="5787" y="58064"/>
                    <a:pt x="3472" y="52806"/>
                  </a:cubicBezTo>
                  <a:cubicBezTo>
                    <a:pt x="1158" y="47549"/>
                    <a:pt x="0" y="41519"/>
                    <a:pt x="0" y="34718"/>
                  </a:cubicBezTo>
                  <a:cubicBezTo>
                    <a:pt x="0" y="27918"/>
                    <a:pt x="1158" y="21888"/>
                    <a:pt x="3472" y="16630"/>
                  </a:cubicBezTo>
                  <a:cubicBezTo>
                    <a:pt x="5787" y="11373"/>
                    <a:pt x="9059" y="7286"/>
                    <a:pt x="13288" y="4372"/>
                  </a:cubicBezTo>
                  <a:cubicBezTo>
                    <a:pt x="17517" y="1457"/>
                    <a:pt x="22346" y="0"/>
                    <a:pt x="27775" y="0"/>
                  </a:cubicBezTo>
                  <a:close/>
                </a:path>
              </a:pathLst>
            </a:custGeom>
            <a:solidFill>
              <a:schemeClr val="bg1">
                <a:lumMod val="65000"/>
              </a:schemeClr>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dist" defTabSz="914400" rtl="0" eaLnBrk="1" fontAlgn="auto" latinLnBrk="0" hangingPunct="1">
                <a:lnSpc>
                  <a:spcPct val="123333"/>
                </a:lnSpc>
                <a:spcBef>
                  <a:spcPts val="0"/>
                </a:spcBef>
                <a:spcAft>
                  <a:spcPts val="0"/>
                </a:spcAft>
                <a:buClrTx/>
                <a:buSzTx/>
                <a:buFontTx/>
                <a:buNone/>
                <a:tabLst/>
                <a:defRPr/>
              </a:pPr>
              <a:endParaRPr kumimoji="0" lang="zh-CN" altLang="en-US" sz="600" b="0" i="0" u="none" strike="noStrike" kern="1200" cap="none" spc="0" normalizeH="0" baseline="0" noProof="0" dirty="0">
                <a:ln>
                  <a:noFill/>
                </a:ln>
                <a:solidFill>
                  <a:srgbClr val="FFFFFF">
                    <a:lumMod val="50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p:txBody>
        </p:sp>
      </p:grpSp>
      <p:sp>
        <p:nvSpPr>
          <p:cNvPr id="64" name="gaoding-19">
            <a:extLst>
              <a:ext uri="{FF2B5EF4-FFF2-40B4-BE49-F238E27FC236}">
                <a16:creationId xmlns:a16="http://schemas.microsoft.com/office/drawing/2014/main" id="{2D10CD39-42D5-EE43-B685-DEC6C5685132}"/>
              </a:ext>
            </a:extLst>
          </p:cNvPr>
          <p:cNvSpPr/>
          <p:nvPr/>
        </p:nvSpPr>
        <p:spPr>
          <a:xfrm rot="16200000">
            <a:off x="8636718" y="2485848"/>
            <a:ext cx="638236" cy="5192922"/>
          </a:xfrm>
          <a:prstGeom prst="roundRect">
            <a:avLst>
              <a:gd name="adj" fmla="val 7328"/>
            </a:avLst>
          </a:prstGeom>
          <a:solidFill>
            <a:schemeClr val="bg1"/>
          </a:solidFill>
          <a:ln w="6350">
            <a:solidFill>
              <a:schemeClr val="accent1">
                <a:alpha val="6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srgbClr val="FFFFFF"/>
              </a:solidFill>
              <a:effectLst/>
              <a:uLnTx/>
              <a:uFillTx/>
              <a:latin typeface="OPPOSans R"/>
              <a:ea typeface="OPPOSans R"/>
              <a:cs typeface="+mn-cs"/>
            </a:endParaRPr>
          </a:p>
        </p:txBody>
      </p:sp>
      <p:sp>
        <p:nvSpPr>
          <p:cNvPr id="65" name="gaoding-20">
            <a:extLst>
              <a:ext uri="{FF2B5EF4-FFF2-40B4-BE49-F238E27FC236}">
                <a16:creationId xmlns:a16="http://schemas.microsoft.com/office/drawing/2014/main" id="{6F7C1D6B-2585-D985-F354-BC6115C6DB66}"/>
              </a:ext>
            </a:extLst>
          </p:cNvPr>
          <p:cNvSpPr>
            <a:spLocks/>
          </p:cNvSpPr>
          <p:nvPr/>
        </p:nvSpPr>
        <p:spPr>
          <a:xfrm>
            <a:off x="6218172" y="4501900"/>
            <a:ext cx="2834883" cy="452206"/>
          </a:xfrm>
          <a:prstGeom prst="roundRect">
            <a:avLst>
              <a:gd name="adj" fmla="val 9927"/>
            </a:avLst>
          </a:prstGeom>
          <a:gradFill flip="none" rotWithShape="1">
            <a:gsLst>
              <a:gs pos="1000">
                <a:schemeClr val="accent1"/>
              </a:gs>
              <a:gs pos="100000">
                <a:schemeClr val="accent1">
                  <a:lumMod val="60000"/>
                  <a:lumOff val="40000"/>
                </a:schemeClr>
              </a:gs>
            </a:gsLst>
            <a:lin ang="27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srgbClr val="FFFFFF"/>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p:txBody>
      </p:sp>
      <p:sp>
        <p:nvSpPr>
          <p:cNvPr id="66" name="gaoding-21">
            <a:extLst>
              <a:ext uri="{FF2B5EF4-FFF2-40B4-BE49-F238E27FC236}">
                <a16:creationId xmlns:a16="http://schemas.microsoft.com/office/drawing/2014/main" id="{AA75C5DA-C63D-1B55-6491-83A50C686873}"/>
              </a:ext>
            </a:extLst>
          </p:cNvPr>
          <p:cNvSpPr txBox="1"/>
          <p:nvPr/>
        </p:nvSpPr>
        <p:spPr>
          <a:xfrm>
            <a:off x="6696360" y="5031736"/>
            <a:ext cx="4518950" cy="262123"/>
          </a:xfrm>
          <a:prstGeom prst="rect">
            <a:avLst/>
          </a:prstGeom>
          <a:noFill/>
        </p:spPr>
        <p:txBody>
          <a:bodyPr wrap="square" lIns="0" tIns="0" rIns="0" bIns="0" rtlCol="0">
            <a:noAutofit/>
          </a:bodyPr>
          <a:lstStyle/>
          <a:p>
            <a:pPr marL="0" marR="0" lvl="0" indent="0" algn="ctr" defTabSz="914400" rtl="0" eaLnBrk="1" fontAlgn="auto" latinLnBrk="0" hangingPunct="1">
              <a:lnSpc>
                <a:spcPct val="130000"/>
              </a:lnSpc>
              <a:spcBef>
                <a:spcPts val="0"/>
              </a:spcBef>
              <a:spcAft>
                <a:spcPts val="0"/>
              </a:spcAft>
              <a:buClrTx/>
              <a:buSzTx/>
              <a:buFontTx/>
              <a:buNone/>
              <a:tabLst/>
              <a:defRPr/>
            </a:pPr>
            <a:r>
              <a:rPr kumimoji="0" lang="zh-CN" altLang="en-US" sz="1400" b="0" i="0" u="none" strike="noStrike" kern="1200" cap="none" spc="0" normalizeH="0" baseline="0" noProof="0" dirty="0">
                <a:ln>
                  <a:noFill/>
                </a:ln>
                <a:solidFill>
                  <a:srgbClr val="000000">
                    <a:lumMod val="85000"/>
                    <a:lumOff val="15000"/>
                  </a:srgbClr>
                </a:solidFill>
                <a:effectLst/>
                <a:uLnTx/>
                <a:uFillTx/>
                <a:latin typeface="OPPOSans R"/>
                <a:ea typeface="OPPOSans R"/>
                <a:cs typeface="+mn-cs"/>
              </a:rPr>
              <a:t>结束工作后及时复盘回顾和总结，避免再犯同样的错误</a:t>
            </a:r>
          </a:p>
        </p:txBody>
      </p:sp>
      <p:grpSp>
        <p:nvGrpSpPr>
          <p:cNvPr id="67" name="gaoding-22">
            <a:extLst>
              <a:ext uri="{FF2B5EF4-FFF2-40B4-BE49-F238E27FC236}">
                <a16:creationId xmlns:a16="http://schemas.microsoft.com/office/drawing/2014/main" id="{A0620A64-7357-3F02-1750-7CE59CC634FF}"/>
              </a:ext>
            </a:extLst>
          </p:cNvPr>
          <p:cNvGrpSpPr/>
          <p:nvPr/>
        </p:nvGrpSpPr>
        <p:grpSpPr>
          <a:xfrm>
            <a:off x="6447959" y="4544223"/>
            <a:ext cx="2451508" cy="337080"/>
            <a:chOff x="5158453" y="1914637"/>
            <a:chExt cx="2451508" cy="337080"/>
          </a:xfrm>
        </p:grpSpPr>
        <p:sp>
          <p:nvSpPr>
            <p:cNvPr id="68" name="gaoding-22-1">
              <a:extLst>
                <a:ext uri="{FF2B5EF4-FFF2-40B4-BE49-F238E27FC236}">
                  <a16:creationId xmlns:a16="http://schemas.microsoft.com/office/drawing/2014/main" id="{B8F094F0-423A-53F6-41CC-21BE7FDB2589}"/>
                </a:ext>
              </a:extLst>
            </p:cNvPr>
            <p:cNvSpPr txBox="1"/>
            <p:nvPr/>
          </p:nvSpPr>
          <p:spPr>
            <a:xfrm>
              <a:off x="5417684" y="1914637"/>
              <a:ext cx="2192277" cy="337080"/>
            </a:xfrm>
            <a:prstGeom prst="rect">
              <a:avLst/>
            </a:prstGeom>
            <a:noFill/>
          </p:spPr>
          <p:txBody>
            <a:bodyPr wrap="square" lIns="0" tIns="0" rIns="0" bIns="0" rtlCol="0">
              <a:noAutofit/>
            </a:bodyPr>
            <a:lstStyle/>
            <a:p>
              <a:pPr marL="0" marR="0" lvl="0" indent="0" algn="ctr" defTabSz="914400" rtl="0" eaLnBrk="1" fontAlgn="auto" latinLnBrk="0" hangingPunct="1">
                <a:lnSpc>
                  <a:spcPct val="130000"/>
                </a:lnSpc>
                <a:spcBef>
                  <a:spcPts val="0"/>
                </a:spcBef>
                <a:spcAft>
                  <a:spcPts val="0"/>
                </a:spcAft>
                <a:buClrTx/>
                <a:buSzTx/>
                <a:buFontTx/>
                <a:buNone/>
                <a:tabLst/>
                <a:defRPr/>
              </a:pPr>
              <a:r>
                <a:rPr kumimoji="0" lang="zh-CN" altLang="en-US" sz="1800" b="1" i="0" u="none" strike="noStrike" kern="1200" cap="none" spc="0" normalizeH="0" baseline="0" noProof="0" dirty="0">
                  <a:ln>
                    <a:noFill/>
                  </a:ln>
                  <a:solidFill>
                    <a:srgbClr val="FFFFFF"/>
                  </a:solidFill>
                  <a:effectLst/>
                  <a:uLnTx/>
                  <a:uFillTx/>
                  <a:latin typeface="OPPOSans M"/>
                  <a:ea typeface="OPPOSans M"/>
                  <a:cs typeface="+mn-cs"/>
                </a:rPr>
                <a:t>及时对工作进行复盘</a:t>
              </a:r>
            </a:p>
          </p:txBody>
        </p:sp>
        <p:sp>
          <p:nvSpPr>
            <p:cNvPr id="69" name="gaoding-22-2">
              <a:extLst>
                <a:ext uri="{FF2B5EF4-FFF2-40B4-BE49-F238E27FC236}">
                  <a16:creationId xmlns:a16="http://schemas.microsoft.com/office/drawing/2014/main" id="{04C233B3-2E9A-C7EF-B6CC-6D209BF3DAA7}"/>
                </a:ext>
              </a:extLst>
            </p:cNvPr>
            <p:cNvSpPr/>
            <p:nvPr/>
          </p:nvSpPr>
          <p:spPr>
            <a:xfrm>
              <a:off x="5158453" y="1955974"/>
              <a:ext cx="252914" cy="254406"/>
            </a:xfrm>
            <a:custGeom>
              <a:avLst/>
              <a:gdLst>
                <a:gd name="connsiteX0" fmla="*/ 344717 w 447682"/>
                <a:gd name="connsiteY0" fmla="*/ 95257 h 433673"/>
                <a:gd name="connsiteX1" fmla="*/ 366529 w 447682"/>
                <a:gd name="connsiteY1" fmla="*/ 73445 h 433673"/>
                <a:gd name="connsiteX2" fmla="*/ 366529 w 447682"/>
                <a:gd name="connsiteY2" fmla="*/ 21819 h 433673"/>
                <a:gd name="connsiteX3" fmla="*/ 344717 w 447682"/>
                <a:gd name="connsiteY3" fmla="*/ 7 h 433673"/>
                <a:gd name="connsiteX4" fmla="*/ 323000 w 447682"/>
                <a:gd name="connsiteY4" fmla="*/ 21724 h 433673"/>
                <a:gd name="connsiteX5" fmla="*/ 323000 w 447682"/>
                <a:gd name="connsiteY5" fmla="*/ 21819 h 433673"/>
                <a:gd name="connsiteX6" fmla="*/ 323000 w 447682"/>
                <a:gd name="connsiteY6" fmla="*/ 73445 h 433673"/>
                <a:gd name="connsiteX7" fmla="*/ 344622 w 447682"/>
                <a:gd name="connsiteY7" fmla="*/ 95257 h 433673"/>
                <a:gd name="connsiteX8" fmla="*/ 344717 w 447682"/>
                <a:gd name="connsiteY8" fmla="*/ 95257 h 433673"/>
                <a:gd name="connsiteX9" fmla="*/ 105258 w 447682"/>
                <a:gd name="connsiteY9" fmla="*/ 95257 h 433673"/>
                <a:gd name="connsiteX10" fmla="*/ 126976 w 447682"/>
                <a:gd name="connsiteY10" fmla="*/ 73540 h 433673"/>
                <a:gd name="connsiteX11" fmla="*/ 126976 w 447682"/>
                <a:gd name="connsiteY11" fmla="*/ 73445 h 433673"/>
                <a:gd name="connsiteX12" fmla="*/ 126976 w 447682"/>
                <a:gd name="connsiteY12" fmla="*/ 21819 h 433673"/>
                <a:gd name="connsiteX13" fmla="*/ 105354 w 447682"/>
                <a:gd name="connsiteY13" fmla="*/ 7 h 433673"/>
                <a:gd name="connsiteX14" fmla="*/ 105258 w 447682"/>
                <a:gd name="connsiteY14" fmla="*/ 7 h 433673"/>
                <a:gd name="connsiteX15" fmla="*/ 83446 w 447682"/>
                <a:gd name="connsiteY15" fmla="*/ 21819 h 433673"/>
                <a:gd name="connsiteX16" fmla="*/ 83446 w 447682"/>
                <a:gd name="connsiteY16" fmla="*/ 73445 h 433673"/>
                <a:gd name="connsiteX17" fmla="*/ 105258 w 447682"/>
                <a:gd name="connsiteY17" fmla="*/ 95257 h 433673"/>
                <a:gd name="connsiteX18" fmla="*/ 436347 w 447682"/>
                <a:gd name="connsiteY18" fmla="*/ 33059 h 433673"/>
                <a:gd name="connsiteX19" fmla="*/ 384151 w 447682"/>
                <a:gd name="connsiteY19" fmla="*/ 33059 h 433673"/>
                <a:gd name="connsiteX20" fmla="*/ 379578 w 447682"/>
                <a:gd name="connsiteY20" fmla="*/ 37631 h 433673"/>
                <a:gd name="connsiteX21" fmla="*/ 379578 w 447682"/>
                <a:gd name="connsiteY21" fmla="*/ 65158 h 433673"/>
                <a:gd name="connsiteX22" fmla="*/ 391961 w 447682"/>
                <a:gd name="connsiteY22" fmla="*/ 77636 h 433673"/>
                <a:gd name="connsiteX23" fmla="*/ 404439 w 447682"/>
                <a:gd name="connsiteY23" fmla="*/ 90113 h 433673"/>
                <a:gd name="connsiteX24" fmla="*/ 404439 w 447682"/>
                <a:gd name="connsiteY24" fmla="*/ 90209 h 433673"/>
                <a:gd name="connsiteX25" fmla="*/ 404439 w 447682"/>
                <a:gd name="connsiteY25" fmla="*/ 134976 h 433673"/>
                <a:gd name="connsiteX26" fmla="*/ 391866 w 447682"/>
                <a:gd name="connsiteY26" fmla="*/ 147362 h 433673"/>
                <a:gd name="connsiteX27" fmla="*/ 391675 w 447682"/>
                <a:gd name="connsiteY27" fmla="*/ 147359 h 433673"/>
                <a:gd name="connsiteX28" fmla="*/ 58300 w 447682"/>
                <a:gd name="connsiteY28" fmla="*/ 147359 h 433673"/>
                <a:gd name="connsiteX29" fmla="*/ 45822 w 447682"/>
                <a:gd name="connsiteY29" fmla="*/ 134881 h 433673"/>
                <a:gd name="connsiteX30" fmla="*/ 45822 w 447682"/>
                <a:gd name="connsiteY30" fmla="*/ 90209 h 433673"/>
                <a:gd name="connsiteX31" fmla="*/ 58205 w 447682"/>
                <a:gd name="connsiteY31" fmla="*/ 77636 h 433673"/>
                <a:gd name="connsiteX32" fmla="*/ 58300 w 447682"/>
                <a:gd name="connsiteY32" fmla="*/ 77636 h 433673"/>
                <a:gd name="connsiteX33" fmla="*/ 58300 w 447682"/>
                <a:gd name="connsiteY33" fmla="*/ 77636 h 433673"/>
                <a:gd name="connsiteX34" fmla="*/ 70683 w 447682"/>
                <a:gd name="connsiteY34" fmla="*/ 65158 h 433673"/>
                <a:gd name="connsiteX35" fmla="*/ 70683 w 447682"/>
                <a:gd name="connsiteY35" fmla="*/ 36583 h 433673"/>
                <a:gd name="connsiteX36" fmla="*/ 66873 w 447682"/>
                <a:gd name="connsiteY36" fmla="*/ 32773 h 433673"/>
                <a:gd name="connsiteX37" fmla="*/ 13914 w 447682"/>
                <a:gd name="connsiteY37" fmla="*/ 32773 h 433673"/>
                <a:gd name="connsiteX38" fmla="*/ 1150 w 447682"/>
                <a:gd name="connsiteY38" fmla="*/ 44762 h 433673"/>
                <a:gd name="connsiteX39" fmla="*/ 1150 w 447682"/>
                <a:gd name="connsiteY39" fmla="*/ 45536 h 433673"/>
                <a:gd name="connsiteX40" fmla="*/ 1150 w 447682"/>
                <a:gd name="connsiteY40" fmla="*/ 402057 h 433673"/>
                <a:gd name="connsiteX41" fmla="*/ 32773 w 447682"/>
                <a:gd name="connsiteY41" fmla="*/ 433680 h 433673"/>
                <a:gd name="connsiteX42" fmla="*/ 417202 w 447682"/>
                <a:gd name="connsiteY42" fmla="*/ 433680 h 433673"/>
                <a:gd name="connsiteX43" fmla="*/ 448825 w 447682"/>
                <a:gd name="connsiteY43" fmla="*/ 402057 h 433673"/>
                <a:gd name="connsiteX44" fmla="*/ 448825 w 447682"/>
                <a:gd name="connsiteY44" fmla="*/ 45536 h 433673"/>
                <a:gd name="connsiteX45" fmla="*/ 436538 w 447682"/>
                <a:gd name="connsiteY45" fmla="*/ 33059 h 433673"/>
                <a:gd name="connsiteX46" fmla="*/ 436347 w 447682"/>
                <a:gd name="connsiteY46" fmla="*/ 33059 h 433673"/>
                <a:gd name="connsiteX47" fmla="*/ 337383 w 447682"/>
                <a:gd name="connsiteY47" fmla="*/ 240894 h 433673"/>
                <a:gd name="connsiteX48" fmla="*/ 206414 w 447682"/>
                <a:gd name="connsiteY48" fmla="*/ 344145 h 433673"/>
                <a:gd name="connsiteX49" fmla="*/ 182697 w 447682"/>
                <a:gd name="connsiteY49" fmla="*/ 342336 h 433673"/>
                <a:gd name="connsiteX50" fmla="*/ 128880 w 447682"/>
                <a:gd name="connsiteY50" fmla="*/ 285186 h 433673"/>
                <a:gd name="connsiteX51" fmla="*/ 129738 w 447682"/>
                <a:gd name="connsiteY51" fmla="*/ 260325 h 433673"/>
                <a:gd name="connsiteX52" fmla="*/ 154502 w 447682"/>
                <a:gd name="connsiteY52" fmla="*/ 261182 h 433673"/>
                <a:gd name="connsiteX53" fmla="*/ 186316 w 447682"/>
                <a:gd name="connsiteY53" fmla="*/ 294996 h 433673"/>
                <a:gd name="connsiteX54" fmla="*/ 209938 w 447682"/>
                <a:gd name="connsiteY54" fmla="*/ 296806 h 433673"/>
                <a:gd name="connsiteX55" fmla="*/ 315666 w 447682"/>
                <a:gd name="connsiteY55" fmla="*/ 213557 h 433673"/>
                <a:gd name="connsiteX56" fmla="*/ 340288 w 447682"/>
                <a:gd name="connsiteY56" fmla="*/ 216361 h 433673"/>
                <a:gd name="connsiteX57" fmla="*/ 340335 w 447682"/>
                <a:gd name="connsiteY57" fmla="*/ 216415 h 433673"/>
                <a:gd name="connsiteX58" fmla="*/ 340335 w 447682"/>
                <a:gd name="connsiteY58" fmla="*/ 216415 h 433673"/>
                <a:gd name="connsiteX59" fmla="*/ 337383 w 447682"/>
                <a:gd name="connsiteY59" fmla="*/ 240894 h 433673"/>
                <a:gd name="connsiteX60" fmla="*/ 148597 w 447682"/>
                <a:gd name="connsiteY60" fmla="*/ 77636 h 433673"/>
                <a:gd name="connsiteX61" fmla="*/ 300997 w 447682"/>
                <a:gd name="connsiteY61" fmla="*/ 77636 h 433673"/>
                <a:gd name="connsiteX62" fmla="*/ 305664 w 447682"/>
                <a:gd name="connsiteY62" fmla="*/ 72969 h 433673"/>
                <a:gd name="connsiteX63" fmla="*/ 305664 w 447682"/>
                <a:gd name="connsiteY63" fmla="*/ 37726 h 433673"/>
                <a:gd name="connsiteX64" fmla="*/ 300997 w 447682"/>
                <a:gd name="connsiteY64" fmla="*/ 33059 h 433673"/>
                <a:gd name="connsiteX65" fmla="*/ 148597 w 447682"/>
                <a:gd name="connsiteY65" fmla="*/ 33059 h 433673"/>
                <a:gd name="connsiteX66" fmla="*/ 143930 w 447682"/>
                <a:gd name="connsiteY66" fmla="*/ 37726 h 433673"/>
                <a:gd name="connsiteX67" fmla="*/ 143930 w 447682"/>
                <a:gd name="connsiteY67" fmla="*/ 72969 h 433673"/>
                <a:gd name="connsiteX68" fmla="*/ 148597 w 447682"/>
                <a:gd name="connsiteY68" fmla="*/ 77636 h 4336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447682" h="433673">
                  <a:moveTo>
                    <a:pt x="344717" y="95257"/>
                  </a:moveTo>
                  <a:cubicBezTo>
                    <a:pt x="356766" y="95257"/>
                    <a:pt x="366529" y="85491"/>
                    <a:pt x="366529" y="73445"/>
                  </a:cubicBezTo>
                  <a:lnTo>
                    <a:pt x="366529" y="21819"/>
                  </a:lnTo>
                  <a:cubicBezTo>
                    <a:pt x="366529" y="9773"/>
                    <a:pt x="356766" y="7"/>
                    <a:pt x="344717" y="7"/>
                  </a:cubicBezTo>
                  <a:cubicBezTo>
                    <a:pt x="332725" y="7"/>
                    <a:pt x="323000" y="9730"/>
                    <a:pt x="323000" y="21724"/>
                  </a:cubicBezTo>
                  <a:cubicBezTo>
                    <a:pt x="323000" y="21755"/>
                    <a:pt x="323000" y="21788"/>
                    <a:pt x="323000" y="21819"/>
                  </a:cubicBezTo>
                  <a:lnTo>
                    <a:pt x="323000" y="73445"/>
                  </a:lnTo>
                  <a:cubicBezTo>
                    <a:pt x="322943" y="85439"/>
                    <a:pt x="332630" y="95205"/>
                    <a:pt x="344622" y="95257"/>
                  </a:cubicBezTo>
                  <a:cubicBezTo>
                    <a:pt x="344650" y="95257"/>
                    <a:pt x="344688" y="95257"/>
                    <a:pt x="344717" y="95257"/>
                  </a:cubicBezTo>
                  <a:close/>
                  <a:moveTo>
                    <a:pt x="105258" y="95257"/>
                  </a:moveTo>
                  <a:cubicBezTo>
                    <a:pt x="117251" y="95257"/>
                    <a:pt x="126976" y="85534"/>
                    <a:pt x="126976" y="73540"/>
                  </a:cubicBezTo>
                  <a:cubicBezTo>
                    <a:pt x="126976" y="73509"/>
                    <a:pt x="126976" y="73476"/>
                    <a:pt x="126976" y="73445"/>
                  </a:cubicBezTo>
                  <a:lnTo>
                    <a:pt x="126976" y="21819"/>
                  </a:lnTo>
                  <a:cubicBezTo>
                    <a:pt x="127033" y="9825"/>
                    <a:pt x="117345" y="59"/>
                    <a:pt x="105354" y="7"/>
                  </a:cubicBezTo>
                  <a:cubicBezTo>
                    <a:pt x="105325" y="7"/>
                    <a:pt x="105287" y="7"/>
                    <a:pt x="105258" y="7"/>
                  </a:cubicBezTo>
                  <a:cubicBezTo>
                    <a:pt x="93209" y="7"/>
                    <a:pt x="83446" y="9773"/>
                    <a:pt x="83446" y="21819"/>
                  </a:cubicBezTo>
                  <a:lnTo>
                    <a:pt x="83446" y="73445"/>
                  </a:lnTo>
                  <a:cubicBezTo>
                    <a:pt x="83446" y="85491"/>
                    <a:pt x="93209" y="95257"/>
                    <a:pt x="105258" y="95257"/>
                  </a:cubicBezTo>
                  <a:close/>
                  <a:moveTo>
                    <a:pt x="436347" y="33059"/>
                  </a:moveTo>
                  <a:lnTo>
                    <a:pt x="384151" y="33059"/>
                  </a:lnTo>
                  <a:cubicBezTo>
                    <a:pt x="381626" y="33059"/>
                    <a:pt x="379578" y="35106"/>
                    <a:pt x="379578" y="37631"/>
                  </a:cubicBezTo>
                  <a:lnTo>
                    <a:pt x="379578" y="65158"/>
                  </a:lnTo>
                  <a:cubicBezTo>
                    <a:pt x="379578" y="72012"/>
                    <a:pt x="385103" y="77583"/>
                    <a:pt x="391961" y="77636"/>
                  </a:cubicBezTo>
                  <a:cubicBezTo>
                    <a:pt x="398847" y="77636"/>
                    <a:pt x="404439" y="83222"/>
                    <a:pt x="404439" y="90113"/>
                  </a:cubicBezTo>
                  <a:cubicBezTo>
                    <a:pt x="404439" y="90145"/>
                    <a:pt x="404439" y="90177"/>
                    <a:pt x="404439" y="90209"/>
                  </a:cubicBezTo>
                  <a:lnTo>
                    <a:pt x="404439" y="134976"/>
                  </a:lnTo>
                  <a:cubicBezTo>
                    <a:pt x="404391" y="141868"/>
                    <a:pt x="398762" y="147412"/>
                    <a:pt x="391866" y="147362"/>
                  </a:cubicBezTo>
                  <a:cubicBezTo>
                    <a:pt x="391808" y="147362"/>
                    <a:pt x="391742" y="147361"/>
                    <a:pt x="391675" y="147359"/>
                  </a:cubicBezTo>
                  <a:lnTo>
                    <a:pt x="58300" y="147359"/>
                  </a:lnTo>
                  <a:cubicBezTo>
                    <a:pt x="51404" y="147359"/>
                    <a:pt x="45822" y="141772"/>
                    <a:pt x="45822" y="134881"/>
                  </a:cubicBezTo>
                  <a:lnTo>
                    <a:pt x="45822" y="90209"/>
                  </a:lnTo>
                  <a:cubicBezTo>
                    <a:pt x="45775" y="83317"/>
                    <a:pt x="51309" y="77689"/>
                    <a:pt x="58205" y="77636"/>
                  </a:cubicBezTo>
                  <a:cubicBezTo>
                    <a:pt x="58233" y="77636"/>
                    <a:pt x="58272" y="77636"/>
                    <a:pt x="58300" y="77636"/>
                  </a:cubicBezTo>
                  <a:lnTo>
                    <a:pt x="58300" y="77636"/>
                  </a:lnTo>
                  <a:cubicBezTo>
                    <a:pt x="65158" y="77583"/>
                    <a:pt x="70683" y="72012"/>
                    <a:pt x="70683" y="65158"/>
                  </a:cubicBezTo>
                  <a:lnTo>
                    <a:pt x="70683" y="36583"/>
                  </a:lnTo>
                  <a:cubicBezTo>
                    <a:pt x="70683" y="34479"/>
                    <a:pt x="68977" y="32773"/>
                    <a:pt x="66873" y="32773"/>
                  </a:cubicBezTo>
                  <a:lnTo>
                    <a:pt x="13914" y="32773"/>
                  </a:lnTo>
                  <a:cubicBezTo>
                    <a:pt x="7075" y="32560"/>
                    <a:pt x="1359" y="37927"/>
                    <a:pt x="1150" y="44762"/>
                  </a:cubicBezTo>
                  <a:cubicBezTo>
                    <a:pt x="1141" y="45020"/>
                    <a:pt x="1141" y="45278"/>
                    <a:pt x="1150" y="45536"/>
                  </a:cubicBezTo>
                  <a:lnTo>
                    <a:pt x="1150" y="402057"/>
                  </a:lnTo>
                  <a:cubicBezTo>
                    <a:pt x="1150" y="419526"/>
                    <a:pt x="15305" y="433680"/>
                    <a:pt x="32773" y="433680"/>
                  </a:cubicBezTo>
                  <a:lnTo>
                    <a:pt x="417202" y="433680"/>
                  </a:lnTo>
                  <a:cubicBezTo>
                    <a:pt x="434671" y="433680"/>
                    <a:pt x="448825" y="419526"/>
                    <a:pt x="448825" y="402057"/>
                  </a:cubicBezTo>
                  <a:lnTo>
                    <a:pt x="448825" y="45536"/>
                  </a:lnTo>
                  <a:cubicBezTo>
                    <a:pt x="448882" y="38698"/>
                    <a:pt x="443377" y="33111"/>
                    <a:pt x="436538" y="33059"/>
                  </a:cubicBezTo>
                  <a:cubicBezTo>
                    <a:pt x="436471" y="33058"/>
                    <a:pt x="436414" y="33058"/>
                    <a:pt x="436347" y="33059"/>
                  </a:cubicBezTo>
                  <a:close/>
                  <a:moveTo>
                    <a:pt x="337383" y="240894"/>
                  </a:moveTo>
                  <a:lnTo>
                    <a:pt x="206414" y="344145"/>
                  </a:lnTo>
                  <a:cubicBezTo>
                    <a:pt x="199232" y="349774"/>
                    <a:pt x="188945" y="348989"/>
                    <a:pt x="182697" y="342336"/>
                  </a:cubicBezTo>
                  <a:lnTo>
                    <a:pt x="128880" y="285186"/>
                  </a:lnTo>
                  <a:cubicBezTo>
                    <a:pt x="122270" y="278077"/>
                    <a:pt x="122651" y="266961"/>
                    <a:pt x="129738" y="260325"/>
                  </a:cubicBezTo>
                  <a:cubicBezTo>
                    <a:pt x="136815" y="253725"/>
                    <a:pt x="147902" y="254109"/>
                    <a:pt x="154502" y="261182"/>
                  </a:cubicBezTo>
                  <a:lnTo>
                    <a:pt x="186316" y="294996"/>
                  </a:lnTo>
                  <a:cubicBezTo>
                    <a:pt x="192526" y="301636"/>
                    <a:pt x="202785" y="302422"/>
                    <a:pt x="209938" y="296806"/>
                  </a:cubicBezTo>
                  <a:lnTo>
                    <a:pt x="315666" y="213557"/>
                  </a:lnTo>
                  <a:cubicBezTo>
                    <a:pt x="323238" y="207531"/>
                    <a:pt x="334268" y="208786"/>
                    <a:pt x="340288" y="216361"/>
                  </a:cubicBezTo>
                  <a:cubicBezTo>
                    <a:pt x="340307" y="216379"/>
                    <a:pt x="340326" y="216397"/>
                    <a:pt x="340335" y="216415"/>
                  </a:cubicBezTo>
                  <a:lnTo>
                    <a:pt x="340335" y="216415"/>
                  </a:lnTo>
                  <a:cubicBezTo>
                    <a:pt x="346231" y="224005"/>
                    <a:pt x="344908" y="234923"/>
                    <a:pt x="337383" y="240894"/>
                  </a:cubicBezTo>
                  <a:close/>
                  <a:moveTo>
                    <a:pt x="148597" y="77636"/>
                  </a:moveTo>
                  <a:lnTo>
                    <a:pt x="300997" y="77636"/>
                  </a:lnTo>
                  <a:cubicBezTo>
                    <a:pt x="303578" y="77636"/>
                    <a:pt x="305664" y="75546"/>
                    <a:pt x="305664" y="72969"/>
                  </a:cubicBezTo>
                  <a:lnTo>
                    <a:pt x="305664" y="37726"/>
                  </a:lnTo>
                  <a:cubicBezTo>
                    <a:pt x="305664" y="35149"/>
                    <a:pt x="303578" y="33059"/>
                    <a:pt x="300997" y="33059"/>
                  </a:cubicBezTo>
                  <a:lnTo>
                    <a:pt x="148597" y="33059"/>
                  </a:lnTo>
                  <a:cubicBezTo>
                    <a:pt x="146016" y="33059"/>
                    <a:pt x="143930" y="35149"/>
                    <a:pt x="143930" y="37726"/>
                  </a:cubicBezTo>
                  <a:lnTo>
                    <a:pt x="143930" y="72969"/>
                  </a:lnTo>
                  <a:cubicBezTo>
                    <a:pt x="143930" y="75546"/>
                    <a:pt x="146016" y="77636"/>
                    <a:pt x="148597" y="77636"/>
                  </a:cubicBezTo>
                  <a:close/>
                </a:path>
              </a:pathLst>
            </a:custGeom>
            <a:solidFill>
              <a:schemeClr val="bg1"/>
            </a:solidFill>
            <a:ln w="9525" cap="flat">
              <a:noFill/>
              <a:prstDash val="solid"/>
              <a:miter/>
            </a:ln>
          </p:spPr>
          <p:txBody>
            <a:bodyPr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srgbClr val="000000"/>
                </a:solidFill>
                <a:effectLst/>
                <a:uLnTx/>
                <a:uFillTx/>
                <a:latin typeface="Arial" panose="020F0502020204030204"/>
                <a:ea typeface="微软雅黑"/>
                <a:cs typeface="+mn-cs"/>
              </a:endParaRPr>
            </a:p>
          </p:txBody>
        </p:sp>
      </p:grpSp>
    </p:spTree>
    <p:extLst>
      <p:ext uri="{BB962C8B-B14F-4D97-AF65-F5344CB8AC3E}">
        <p14:creationId xmlns:p14="http://schemas.microsoft.com/office/powerpoint/2010/main" val="3553342879"/>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5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任意多边形: 形状 1">
            <a:extLst>
              <a:ext uri="{FF2B5EF4-FFF2-40B4-BE49-F238E27FC236}">
                <a16:creationId xmlns:a16="http://schemas.microsoft.com/office/drawing/2014/main" id="{97247015-2331-45BB-9EC0-D3D9F2AE2C8F}"/>
              </a:ext>
            </a:extLst>
          </p:cNvPr>
          <p:cNvSpPr/>
          <p:nvPr/>
        </p:nvSpPr>
        <p:spPr>
          <a:xfrm>
            <a:off x="5644247" y="1918536"/>
            <a:ext cx="847050" cy="633750"/>
          </a:xfrm>
          <a:custGeom>
            <a:avLst/>
            <a:gdLst>
              <a:gd name="connsiteX0" fmla="*/ 847050 w 1694100"/>
              <a:gd name="connsiteY0" fmla="*/ 0 h 1267500"/>
              <a:gd name="connsiteX1" fmla="*/ 1694100 w 1694100"/>
              <a:gd name="connsiteY1" fmla="*/ 1267500 h 1267500"/>
              <a:gd name="connsiteX2" fmla="*/ 0 w 1694100"/>
              <a:gd name="connsiteY2" fmla="*/ 1267500 h 1267500"/>
              <a:gd name="connsiteX3" fmla="*/ 847050 w 1694100"/>
              <a:gd name="connsiteY3" fmla="*/ 0 h 1267500"/>
            </a:gdLst>
            <a:ahLst/>
            <a:cxnLst>
              <a:cxn ang="0">
                <a:pos x="connsiteX0" y="connsiteY0"/>
              </a:cxn>
              <a:cxn ang="0">
                <a:pos x="connsiteX1" y="connsiteY1"/>
              </a:cxn>
              <a:cxn ang="0">
                <a:pos x="connsiteX2" y="connsiteY2"/>
              </a:cxn>
              <a:cxn ang="0">
                <a:pos x="connsiteX3" y="connsiteY3"/>
              </a:cxn>
            </a:cxnLst>
            <a:rect l="l" t="t" r="r" b="b"/>
            <a:pathLst>
              <a:path w="1694100" h="1267500">
                <a:moveTo>
                  <a:pt x="847050" y="0"/>
                </a:moveTo>
                <a:lnTo>
                  <a:pt x="1694100" y="1267500"/>
                </a:lnTo>
                <a:lnTo>
                  <a:pt x="0" y="1267500"/>
                </a:lnTo>
                <a:lnTo>
                  <a:pt x="847050" y="0"/>
                </a:lnTo>
                <a:close/>
              </a:path>
            </a:pathLst>
          </a:custGeom>
          <a:gradFill flip="none" rotWithShape="1">
            <a:gsLst>
              <a:gs pos="0">
                <a:schemeClr val="accent1">
                  <a:lumMod val="75000"/>
                </a:schemeClr>
              </a:gs>
              <a:gs pos="100000">
                <a:schemeClr val="accent1">
                  <a:lumMod val="100000"/>
                </a:schemeClr>
              </a:gs>
            </a:gsLst>
            <a:lin ang="16200000" scaled="1"/>
            <a:tileRect/>
          </a:gradFill>
          <a:ln>
            <a:noFill/>
          </a:ln>
          <a:effectLst>
            <a:outerShdw blurRad="330200" dist="381000" dir="5400000" sx="90000" sy="90000" algn="t" rotWithShape="0">
              <a:schemeClr val="accent1">
                <a:lumMod val="50000"/>
                <a:alpha val="2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22860" tIns="11430" rIns="22860" bIns="1143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zh-CN" altLang="en-US" sz="700" b="0" i="0" u="none" strike="noStrike" kern="1200" cap="none" spc="0" normalizeH="0" baseline="0" noProof="0">
              <a:ln>
                <a:noFill/>
              </a:ln>
              <a:solidFill>
                <a:srgbClr val="FFFFFF"/>
              </a:solidFill>
              <a:effectLst/>
              <a:uLnTx/>
              <a:uFillTx/>
              <a:latin typeface="Arial"/>
              <a:ea typeface="微软雅黑 Light"/>
              <a:cs typeface="+mn-cs"/>
            </a:endParaRPr>
          </a:p>
        </p:txBody>
      </p:sp>
      <p:sp>
        <p:nvSpPr>
          <p:cNvPr id="3" name="任意多边形: 形状 2">
            <a:extLst>
              <a:ext uri="{FF2B5EF4-FFF2-40B4-BE49-F238E27FC236}">
                <a16:creationId xmlns:a16="http://schemas.microsoft.com/office/drawing/2014/main" id="{C033F08D-0B2D-4FC7-BE6C-F549C785B789}"/>
              </a:ext>
            </a:extLst>
          </p:cNvPr>
          <p:cNvSpPr/>
          <p:nvPr/>
        </p:nvSpPr>
        <p:spPr>
          <a:xfrm>
            <a:off x="5186028" y="2672666"/>
            <a:ext cx="1763488" cy="565285"/>
          </a:xfrm>
          <a:custGeom>
            <a:avLst/>
            <a:gdLst>
              <a:gd name="connsiteX0" fmla="*/ 755542 w 3526976"/>
              <a:gd name="connsiteY0" fmla="*/ 0 h 1130570"/>
              <a:gd name="connsiteX1" fmla="*/ 2771434 w 3526976"/>
              <a:gd name="connsiteY1" fmla="*/ 0 h 1130570"/>
              <a:gd name="connsiteX2" fmla="*/ 3526976 w 3526976"/>
              <a:gd name="connsiteY2" fmla="*/ 1130570 h 1130570"/>
              <a:gd name="connsiteX3" fmla="*/ 0 w 3526976"/>
              <a:gd name="connsiteY3" fmla="*/ 1130570 h 1130570"/>
              <a:gd name="connsiteX4" fmla="*/ 755542 w 3526976"/>
              <a:gd name="connsiteY4" fmla="*/ 0 h 11305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26976" h="1130570">
                <a:moveTo>
                  <a:pt x="755542" y="0"/>
                </a:moveTo>
                <a:lnTo>
                  <a:pt x="2771434" y="0"/>
                </a:lnTo>
                <a:lnTo>
                  <a:pt x="3526976" y="1130570"/>
                </a:lnTo>
                <a:lnTo>
                  <a:pt x="0" y="1130570"/>
                </a:lnTo>
                <a:lnTo>
                  <a:pt x="755542" y="0"/>
                </a:lnTo>
                <a:close/>
              </a:path>
            </a:pathLst>
          </a:custGeom>
          <a:gradFill flip="none" rotWithShape="1">
            <a:gsLst>
              <a:gs pos="0">
                <a:schemeClr val="accent1">
                  <a:lumMod val="75000"/>
                </a:schemeClr>
              </a:gs>
              <a:gs pos="100000">
                <a:schemeClr val="accent1">
                  <a:lumMod val="100000"/>
                </a:schemeClr>
              </a:gs>
            </a:gsLst>
            <a:lin ang="16200000" scaled="1"/>
            <a:tileRect/>
          </a:gradFill>
          <a:ln>
            <a:noFill/>
          </a:ln>
          <a:effectLst>
            <a:outerShdw blurRad="330200" dist="381000" dir="5400000" sx="90000" sy="90000" algn="t" rotWithShape="0">
              <a:schemeClr val="accent1">
                <a:lumMod val="50000"/>
                <a:alpha val="2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22860" tIns="11430" rIns="22860" bIns="1143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zh-CN" altLang="en-US" sz="900" b="0" i="0" u="none" strike="noStrike" kern="1200" cap="none" spc="0" normalizeH="0" baseline="0" noProof="0">
              <a:ln>
                <a:noFill/>
              </a:ln>
              <a:solidFill>
                <a:srgbClr val="FFFFFF"/>
              </a:solidFill>
              <a:effectLst/>
              <a:uLnTx/>
              <a:uFillTx/>
              <a:latin typeface="Arial"/>
              <a:ea typeface="微软雅黑 Light"/>
              <a:cs typeface="+mn-cs"/>
            </a:endParaRPr>
          </a:p>
        </p:txBody>
      </p:sp>
      <p:sp>
        <p:nvSpPr>
          <p:cNvPr id="4" name="任意多边形: 形状 3">
            <a:extLst>
              <a:ext uri="{FF2B5EF4-FFF2-40B4-BE49-F238E27FC236}">
                <a16:creationId xmlns:a16="http://schemas.microsoft.com/office/drawing/2014/main" id="{A3F9DD1A-BDE4-41D4-9D64-DCCDB71F8882}"/>
              </a:ext>
            </a:extLst>
          </p:cNvPr>
          <p:cNvSpPr/>
          <p:nvPr/>
        </p:nvSpPr>
        <p:spPr>
          <a:xfrm>
            <a:off x="4727809" y="3358331"/>
            <a:ext cx="2679926" cy="565285"/>
          </a:xfrm>
          <a:custGeom>
            <a:avLst/>
            <a:gdLst>
              <a:gd name="connsiteX0" fmla="*/ 755542 w 5359851"/>
              <a:gd name="connsiteY0" fmla="*/ 0 h 1130570"/>
              <a:gd name="connsiteX1" fmla="*/ 4604310 w 5359851"/>
              <a:gd name="connsiteY1" fmla="*/ 0 h 1130570"/>
              <a:gd name="connsiteX2" fmla="*/ 5359851 w 5359851"/>
              <a:gd name="connsiteY2" fmla="*/ 1130570 h 1130570"/>
              <a:gd name="connsiteX3" fmla="*/ 0 w 5359851"/>
              <a:gd name="connsiteY3" fmla="*/ 1130570 h 1130570"/>
              <a:gd name="connsiteX4" fmla="*/ 755542 w 5359851"/>
              <a:gd name="connsiteY4" fmla="*/ 0 h 11305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59851" h="1130570">
                <a:moveTo>
                  <a:pt x="755542" y="0"/>
                </a:moveTo>
                <a:lnTo>
                  <a:pt x="4604310" y="0"/>
                </a:lnTo>
                <a:lnTo>
                  <a:pt x="5359851" y="1130570"/>
                </a:lnTo>
                <a:lnTo>
                  <a:pt x="0" y="1130570"/>
                </a:lnTo>
                <a:lnTo>
                  <a:pt x="755542" y="0"/>
                </a:lnTo>
                <a:close/>
              </a:path>
            </a:pathLst>
          </a:custGeom>
          <a:gradFill flip="none" rotWithShape="1">
            <a:gsLst>
              <a:gs pos="0">
                <a:schemeClr val="accent1">
                  <a:lumMod val="100000"/>
                </a:schemeClr>
              </a:gs>
              <a:gs pos="100000">
                <a:schemeClr val="accent1">
                  <a:lumMod val="60000"/>
                  <a:lumOff val="40000"/>
                </a:schemeClr>
              </a:gs>
            </a:gsLst>
            <a:lin ang="16200000" scaled="1"/>
            <a:tileRect/>
          </a:gradFill>
          <a:ln>
            <a:noFill/>
          </a:ln>
          <a:effectLst>
            <a:outerShdw blurRad="330200" dist="381000" dir="5400000" sx="90000" sy="90000" algn="t" rotWithShape="0">
              <a:schemeClr val="accent1">
                <a:lumMod val="50000"/>
                <a:alpha val="2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22860" tIns="11430" rIns="22860" bIns="1143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zh-CN" altLang="en-US" sz="900" b="0" i="0" u="none" strike="noStrike" kern="1200" cap="none" spc="0" normalizeH="0" baseline="0" noProof="0">
              <a:ln>
                <a:noFill/>
              </a:ln>
              <a:solidFill>
                <a:srgbClr val="FFFFFF"/>
              </a:solidFill>
              <a:effectLst/>
              <a:uLnTx/>
              <a:uFillTx/>
              <a:latin typeface="Arial"/>
              <a:ea typeface="微软雅黑 Light"/>
              <a:cs typeface="+mn-cs"/>
            </a:endParaRPr>
          </a:p>
        </p:txBody>
      </p:sp>
      <p:sp>
        <p:nvSpPr>
          <p:cNvPr id="5" name="任意多边形: 形状 4">
            <a:extLst>
              <a:ext uri="{FF2B5EF4-FFF2-40B4-BE49-F238E27FC236}">
                <a16:creationId xmlns:a16="http://schemas.microsoft.com/office/drawing/2014/main" id="{63FE8B21-CD18-4CED-84FD-02E490DC46D5}"/>
              </a:ext>
            </a:extLst>
          </p:cNvPr>
          <p:cNvSpPr/>
          <p:nvPr/>
        </p:nvSpPr>
        <p:spPr>
          <a:xfrm>
            <a:off x="4269590" y="4043996"/>
            <a:ext cx="3596364" cy="565285"/>
          </a:xfrm>
          <a:custGeom>
            <a:avLst/>
            <a:gdLst>
              <a:gd name="connsiteX0" fmla="*/ 755542 w 7192727"/>
              <a:gd name="connsiteY0" fmla="*/ 0 h 1130570"/>
              <a:gd name="connsiteX1" fmla="*/ 6437185 w 7192727"/>
              <a:gd name="connsiteY1" fmla="*/ 0 h 1130570"/>
              <a:gd name="connsiteX2" fmla="*/ 7192727 w 7192727"/>
              <a:gd name="connsiteY2" fmla="*/ 1130570 h 1130570"/>
              <a:gd name="connsiteX3" fmla="*/ 0 w 7192727"/>
              <a:gd name="connsiteY3" fmla="*/ 1130570 h 1130570"/>
              <a:gd name="connsiteX4" fmla="*/ 755542 w 7192727"/>
              <a:gd name="connsiteY4" fmla="*/ 0 h 11305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92727" h="1130570">
                <a:moveTo>
                  <a:pt x="755542" y="0"/>
                </a:moveTo>
                <a:lnTo>
                  <a:pt x="6437185" y="0"/>
                </a:lnTo>
                <a:lnTo>
                  <a:pt x="7192727" y="1130570"/>
                </a:lnTo>
                <a:lnTo>
                  <a:pt x="0" y="1130570"/>
                </a:lnTo>
                <a:lnTo>
                  <a:pt x="755542" y="0"/>
                </a:lnTo>
                <a:close/>
              </a:path>
            </a:pathLst>
          </a:custGeom>
          <a:gradFill flip="none" rotWithShape="1">
            <a:gsLst>
              <a:gs pos="0">
                <a:schemeClr val="accent1">
                  <a:lumMod val="100000"/>
                </a:schemeClr>
              </a:gs>
              <a:gs pos="100000">
                <a:schemeClr val="accent1">
                  <a:lumMod val="60000"/>
                  <a:lumOff val="40000"/>
                </a:schemeClr>
              </a:gs>
            </a:gsLst>
            <a:lin ang="16200000" scaled="1"/>
            <a:tileRect/>
          </a:gradFill>
          <a:ln>
            <a:noFill/>
          </a:ln>
          <a:effectLst>
            <a:outerShdw blurRad="330200" dist="381000" dir="5400000" sx="90000" sy="90000" algn="t" rotWithShape="0">
              <a:schemeClr val="accent1">
                <a:lumMod val="75000"/>
                <a:alpha val="2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22860" tIns="11430" rIns="22860" bIns="1143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zh-CN" altLang="en-US" sz="900" b="0" i="0" u="none" strike="noStrike" kern="1200" cap="none" spc="0" normalizeH="0" baseline="0" noProof="0">
              <a:ln>
                <a:noFill/>
              </a:ln>
              <a:solidFill>
                <a:srgbClr val="FFFFFF"/>
              </a:solidFill>
              <a:effectLst/>
              <a:uLnTx/>
              <a:uFillTx/>
              <a:latin typeface="Arial"/>
              <a:ea typeface="微软雅黑 Light"/>
              <a:cs typeface="+mn-cs"/>
            </a:endParaRPr>
          </a:p>
        </p:txBody>
      </p:sp>
      <p:sp>
        <p:nvSpPr>
          <p:cNvPr id="6" name="任意多边形: 形状 5">
            <a:extLst>
              <a:ext uri="{FF2B5EF4-FFF2-40B4-BE49-F238E27FC236}">
                <a16:creationId xmlns:a16="http://schemas.microsoft.com/office/drawing/2014/main" id="{AEFEEC8A-6EF0-48BD-AE6D-219205D9A0F1}"/>
              </a:ext>
            </a:extLst>
          </p:cNvPr>
          <p:cNvSpPr/>
          <p:nvPr/>
        </p:nvSpPr>
        <p:spPr>
          <a:xfrm>
            <a:off x="3765617" y="4729661"/>
            <a:ext cx="4604310" cy="633750"/>
          </a:xfrm>
          <a:custGeom>
            <a:avLst/>
            <a:gdLst>
              <a:gd name="connsiteX0" fmla="*/ 847050 w 9208619"/>
              <a:gd name="connsiteY0" fmla="*/ 0 h 1267500"/>
              <a:gd name="connsiteX1" fmla="*/ 8361569 w 9208619"/>
              <a:gd name="connsiteY1" fmla="*/ 0 h 1267500"/>
              <a:gd name="connsiteX2" fmla="*/ 9208619 w 9208619"/>
              <a:gd name="connsiteY2" fmla="*/ 1267500 h 1267500"/>
              <a:gd name="connsiteX3" fmla="*/ 0 w 9208619"/>
              <a:gd name="connsiteY3" fmla="*/ 1267500 h 1267500"/>
              <a:gd name="connsiteX4" fmla="*/ 847050 w 9208619"/>
              <a:gd name="connsiteY4" fmla="*/ 0 h 1267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08619" h="1267500">
                <a:moveTo>
                  <a:pt x="847050" y="0"/>
                </a:moveTo>
                <a:lnTo>
                  <a:pt x="8361569" y="0"/>
                </a:lnTo>
                <a:lnTo>
                  <a:pt x="9208619" y="1267500"/>
                </a:lnTo>
                <a:lnTo>
                  <a:pt x="0" y="1267500"/>
                </a:lnTo>
                <a:lnTo>
                  <a:pt x="847050" y="0"/>
                </a:lnTo>
                <a:close/>
              </a:path>
            </a:pathLst>
          </a:custGeom>
          <a:gradFill flip="none" rotWithShape="1">
            <a:gsLst>
              <a:gs pos="0">
                <a:schemeClr val="accent1">
                  <a:lumMod val="100000"/>
                </a:schemeClr>
              </a:gs>
              <a:gs pos="100000">
                <a:schemeClr val="accent1">
                  <a:lumMod val="60000"/>
                  <a:lumOff val="40000"/>
                </a:schemeClr>
              </a:gs>
            </a:gsLst>
            <a:lin ang="16200000" scaled="1"/>
            <a:tileRect/>
          </a:gradFill>
          <a:ln>
            <a:noFill/>
          </a:ln>
          <a:effectLst>
            <a:outerShdw blurRad="330200" dist="381000" dir="5400000" sx="90000" sy="90000" algn="t" rotWithShape="0">
              <a:schemeClr val="accent1">
                <a:lumMod val="75000"/>
                <a:alpha val="2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22860" tIns="11430" rIns="22860" bIns="1143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zh-CN" altLang="en-US" sz="900" b="0" i="0" u="none" strike="noStrike" kern="1200" cap="none" spc="0" normalizeH="0" baseline="0" noProof="0">
              <a:ln>
                <a:noFill/>
              </a:ln>
              <a:solidFill>
                <a:srgbClr val="FFFFFF"/>
              </a:solidFill>
              <a:effectLst/>
              <a:uLnTx/>
              <a:uFillTx/>
              <a:latin typeface="Arial"/>
              <a:ea typeface="微软雅黑 Light"/>
              <a:cs typeface="+mn-cs"/>
            </a:endParaRPr>
          </a:p>
        </p:txBody>
      </p:sp>
      <p:sp>
        <p:nvSpPr>
          <p:cNvPr id="7" name="Object 1028">
            <a:extLst>
              <a:ext uri="{FF2B5EF4-FFF2-40B4-BE49-F238E27FC236}">
                <a16:creationId xmlns:a16="http://schemas.microsoft.com/office/drawing/2014/main" id="{2AC667C5-0A98-48AB-AA3E-272D2DE6FC17}"/>
              </a:ext>
            </a:extLst>
          </p:cNvPr>
          <p:cNvSpPr txBox="1"/>
          <p:nvPr/>
        </p:nvSpPr>
        <p:spPr>
          <a:xfrm>
            <a:off x="5757534" y="2164463"/>
            <a:ext cx="683163" cy="343170"/>
          </a:xfrm>
          <a:prstGeom prst="rect">
            <a:avLst/>
          </a:prstGeom>
        </p:spPr>
        <p:txBody>
          <a:bodyPr vert="horz" lIns="0" tIns="0" rIns="0" bIns="0" rtlCol="0" anchor="t" anchorCtr="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altLang="zh-CN" sz="1600" b="0" i="0" u="none" strike="noStrike" kern="1200" cap="none" spc="0" normalizeH="0" baseline="0" noProof="0" dirty="0">
                <a:ln>
                  <a:noFill/>
                </a:ln>
                <a:solidFill>
                  <a:srgbClr val="FFFFFF"/>
                </a:solidFill>
                <a:effectLst/>
                <a:uLnTx/>
                <a:uFillTx/>
                <a:latin typeface="OPPOSans B" panose="00020600040101010101" pitchFamily="18" charset="-122"/>
                <a:ea typeface="OPPOSans B" panose="00020600040101010101" pitchFamily="18" charset="-122"/>
                <a:cs typeface="OPPOSans B" panose="00020600040101010101" pitchFamily="18" charset="-122"/>
              </a:rPr>
              <a:t>01</a:t>
            </a:r>
            <a:endParaRPr kumimoji="0" lang="zh-CN" altLang="en-US" sz="550" b="0" i="0" u="none" strike="noStrike" kern="1200" cap="none" spc="0" normalizeH="0" baseline="0" noProof="0" dirty="0">
              <a:ln>
                <a:noFill/>
              </a:ln>
              <a:solidFill>
                <a:srgbClr val="000000"/>
              </a:solidFill>
              <a:effectLst/>
              <a:uLnTx/>
              <a:uFillTx/>
              <a:latin typeface="OPPOSans B" panose="00020600040101010101" pitchFamily="18" charset="-122"/>
              <a:ea typeface="OPPOSans B" panose="00020600040101010101" pitchFamily="18" charset="-122"/>
              <a:cs typeface="OPPOSans B" panose="00020600040101010101" pitchFamily="18" charset="-122"/>
            </a:endParaRPr>
          </a:p>
        </p:txBody>
      </p:sp>
      <p:sp>
        <p:nvSpPr>
          <p:cNvPr id="8" name="Object 1029">
            <a:extLst>
              <a:ext uri="{FF2B5EF4-FFF2-40B4-BE49-F238E27FC236}">
                <a16:creationId xmlns:a16="http://schemas.microsoft.com/office/drawing/2014/main" id="{C8659CB6-6191-4EC1-BF00-5C6FB77E6ED6}"/>
              </a:ext>
            </a:extLst>
          </p:cNvPr>
          <p:cNvSpPr txBox="1"/>
          <p:nvPr/>
        </p:nvSpPr>
        <p:spPr>
          <a:xfrm>
            <a:off x="5741659" y="2808988"/>
            <a:ext cx="714938" cy="343170"/>
          </a:xfrm>
          <a:prstGeom prst="rect">
            <a:avLst/>
          </a:prstGeom>
        </p:spPr>
        <p:txBody>
          <a:bodyPr vert="horz" lIns="0" tIns="0" rIns="0" bIns="0" rtlCol="0" anchor="t" anchorCtr="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altLang="zh-CN" sz="1600" b="0" i="0" u="none" strike="noStrike" kern="1200" cap="none" spc="0" normalizeH="0" baseline="0" noProof="0" dirty="0">
                <a:ln>
                  <a:noFill/>
                </a:ln>
                <a:solidFill>
                  <a:srgbClr val="FFFFFF"/>
                </a:solidFill>
                <a:effectLst/>
                <a:uLnTx/>
                <a:uFillTx/>
                <a:latin typeface="OPPOSans B" panose="00020600040101010101" pitchFamily="18" charset="-122"/>
                <a:ea typeface="OPPOSans B" panose="00020600040101010101" pitchFamily="18" charset="-122"/>
                <a:cs typeface="OPPOSans B" panose="00020600040101010101" pitchFamily="18" charset="-122"/>
              </a:rPr>
              <a:t>02</a:t>
            </a:r>
            <a:endParaRPr kumimoji="0" lang="zh-CN" altLang="en-US" sz="550" b="0" i="0" u="none" strike="noStrike" kern="1200" cap="none" spc="0" normalizeH="0" baseline="0" noProof="0" dirty="0">
              <a:ln>
                <a:noFill/>
              </a:ln>
              <a:solidFill>
                <a:srgbClr val="000000"/>
              </a:solidFill>
              <a:effectLst/>
              <a:uLnTx/>
              <a:uFillTx/>
              <a:latin typeface="OPPOSans B" panose="00020600040101010101" pitchFamily="18" charset="-122"/>
              <a:ea typeface="OPPOSans B" panose="00020600040101010101" pitchFamily="18" charset="-122"/>
              <a:cs typeface="OPPOSans B" panose="00020600040101010101" pitchFamily="18" charset="-122"/>
            </a:endParaRPr>
          </a:p>
        </p:txBody>
      </p:sp>
      <p:sp>
        <p:nvSpPr>
          <p:cNvPr id="9" name="Object 1030">
            <a:extLst>
              <a:ext uri="{FF2B5EF4-FFF2-40B4-BE49-F238E27FC236}">
                <a16:creationId xmlns:a16="http://schemas.microsoft.com/office/drawing/2014/main" id="{7F51F660-F53A-48C7-B166-6C4B2A6CA940}"/>
              </a:ext>
            </a:extLst>
          </p:cNvPr>
          <p:cNvSpPr txBox="1"/>
          <p:nvPr/>
        </p:nvSpPr>
        <p:spPr>
          <a:xfrm>
            <a:off x="5711311" y="3497106"/>
            <a:ext cx="775681" cy="343170"/>
          </a:xfrm>
          <a:prstGeom prst="rect">
            <a:avLst/>
          </a:prstGeom>
        </p:spPr>
        <p:txBody>
          <a:bodyPr vert="horz" lIns="0" tIns="0" rIns="0" bIns="0" rtlCol="0" anchor="t" anchorCtr="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altLang="zh-CN" sz="1600" b="0" i="0" u="none" strike="noStrike" kern="1200" cap="none" spc="0" normalizeH="0" baseline="0" noProof="0" dirty="0">
                <a:ln>
                  <a:noFill/>
                </a:ln>
                <a:solidFill>
                  <a:srgbClr val="FFFFFF"/>
                </a:solidFill>
                <a:effectLst/>
                <a:uLnTx/>
                <a:uFillTx/>
                <a:latin typeface="OPPOSans B" panose="00020600040101010101" pitchFamily="18" charset="-122"/>
                <a:ea typeface="OPPOSans B" panose="00020600040101010101" pitchFamily="18" charset="-122"/>
                <a:cs typeface="OPPOSans B" panose="00020600040101010101" pitchFamily="18" charset="-122"/>
              </a:rPr>
              <a:t>03</a:t>
            </a:r>
            <a:endParaRPr kumimoji="0" lang="zh-CN" altLang="en-US" sz="550" b="0" i="0" u="none" strike="noStrike" kern="1200" cap="none" spc="0" normalizeH="0" baseline="0" noProof="0" dirty="0">
              <a:ln>
                <a:noFill/>
              </a:ln>
              <a:solidFill>
                <a:srgbClr val="000000"/>
              </a:solidFill>
              <a:effectLst/>
              <a:uLnTx/>
              <a:uFillTx/>
              <a:latin typeface="OPPOSans B" panose="00020600040101010101" pitchFamily="18" charset="-122"/>
              <a:ea typeface="OPPOSans B" panose="00020600040101010101" pitchFamily="18" charset="-122"/>
              <a:cs typeface="OPPOSans B" panose="00020600040101010101" pitchFamily="18" charset="-122"/>
            </a:endParaRPr>
          </a:p>
        </p:txBody>
      </p:sp>
      <p:sp>
        <p:nvSpPr>
          <p:cNvPr id="10" name="Object 1031">
            <a:extLst>
              <a:ext uri="{FF2B5EF4-FFF2-40B4-BE49-F238E27FC236}">
                <a16:creationId xmlns:a16="http://schemas.microsoft.com/office/drawing/2014/main" id="{456A9E03-D8AF-47B3-815A-EBCD55665214}"/>
              </a:ext>
            </a:extLst>
          </p:cNvPr>
          <p:cNvSpPr txBox="1"/>
          <p:nvPr/>
        </p:nvSpPr>
        <p:spPr>
          <a:xfrm>
            <a:off x="5667047" y="4177826"/>
            <a:ext cx="864280" cy="343170"/>
          </a:xfrm>
          <a:prstGeom prst="rect">
            <a:avLst/>
          </a:prstGeom>
        </p:spPr>
        <p:txBody>
          <a:bodyPr vert="horz" lIns="0" tIns="0" rIns="0" bIns="0" rtlCol="0" anchor="t" anchorCtr="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altLang="zh-CN" sz="1600" b="0" i="0" u="none" strike="noStrike" kern="1200" cap="none" spc="0" normalizeH="0" baseline="0" noProof="0" dirty="0">
                <a:ln>
                  <a:noFill/>
                </a:ln>
                <a:solidFill>
                  <a:srgbClr val="FFFFFF"/>
                </a:solidFill>
                <a:effectLst/>
                <a:uLnTx/>
                <a:uFillTx/>
                <a:latin typeface="OPPOSans B" panose="00020600040101010101" pitchFamily="18" charset="-122"/>
                <a:ea typeface="OPPOSans B" panose="00020600040101010101" pitchFamily="18" charset="-122"/>
                <a:cs typeface="OPPOSans B" panose="00020600040101010101" pitchFamily="18" charset="-122"/>
              </a:rPr>
              <a:t>04</a:t>
            </a:r>
            <a:endParaRPr kumimoji="0" lang="zh-CN" altLang="en-US" sz="550" b="0" i="0" u="none" strike="noStrike" kern="1200" cap="none" spc="0" normalizeH="0" baseline="0" noProof="0">
              <a:ln>
                <a:noFill/>
              </a:ln>
              <a:solidFill>
                <a:srgbClr val="000000"/>
              </a:solidFill>
              <a:effectLst/>
              <a:uLnTx/>
              <a:uFillTx/>
              <a:latin typeface="OPPOSans B" panose="00020600040101010101" pitchFamily="18" charset="-122"/>
              <a:ea typeface="OPPOSans B" panose="00020600040101010101" pitchFamily="18" charset="-122"/>
              <a:cs typeface="OPPOSans B" panose="00020600040101010101" pitchFamily="18" charset="-122"/>
            </a:endParaRPr>
          </a:p>
        </p:txBody>
      </p:sp>
      <p:sp>
        <p:nvSpPr>
          <p:cNvPr id="11" name="Object 1032">
            <a:extLst>
              <a:ext uri="{FF2B5EF4-FFF2-40B4-BE49-F238E27FC236}">
                <a16:creationId xmlns:a16="http://schemas.microsoft.com/office/drawing/2014/main" id="{5D9E43DD-8CB1-4BB6-B8CF-E21C560DE45F}"/>
              </a:ext>
            </a:extLst>
          </p:cNvPr>
          <p:cNvSpPr txBox="1"/>
          <p:nvPr/>
        </p:nvSpPr>
        <p:spPr>
          <a:xfrm>
            <a:off x="5667047" y="4883533"/>
            <a:ext cx="864280" cy="343170"/>
          </a:xfrm>
          <a:prstGeom prst="rect">
            <a:avLst/>
          </a:prstGeom>
        </p:spPr>
        <p:txBody>
          <a:bodyPr vert="horz" lIns="0" tIns="0" rIns="0" bIns="0" rtlCol="0" anchor="t" anchorCtr="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altLang="zh-CN" sz="1600" b="0" i="0" u="none" strike="noStrike" kern="1200" cap="none" spc="0" normalizeH="0" baseline="0" noProof="0" dirty="0">
                <a:ln>
                  <a:noFill/>
                </a:ln>
                <a:solidFill>
                  <a:srgbClr val="FFFFFF"/>
                </a:solidFill>
                <a:effectLst/>
                <a:uLnTx/>
                <a:uFillTx/>
                <a:latin typeface="OPPOSans B" panose="00020600040101010101" pitchFamily="18" charset="-122"/>
                <a:ea typeface="OPPOSans B" panose="00020600040101010101" pitchFamily="18" charset="-122"/>
                <a:cs typeface="OPPOSans B" panose="00020600040101010101" pitchFamily="18" charset="-122"/>
              </a:rPr>
              <a:t>05</a:t>
            </a:r>
            <a:endParaRPr kumimoji="0" lang="zh-CN" altLang="en-US" sz="550" b="0" i="0" u="none" strike="noStrike" kern="1200" cap="none" spc="0" normalizeH="0" baseline="0" noProof="0" dirty="0">
              <a:ln>
                <a:noFill/>
              </a:ln>
              <a:solidFill>
                <a:srgbClr val="000000"/>
              </a:solidFill>
              <a:effectLst/>
              <a:uLnTx/>
              <a:uFillTx/>
              <a:latin typeface="OPPOSans B" panose="00020600040101010101" pitchFamily="18" charset="-122"/>
              <a:ea typeface="OPPOSans B" panose="00020600040101010101" pitchFamily="18" charset="-122"/>
              <a:cs typeface="OPPOSans B" panose="00020600040101010101" pitchFamily="18" charset="-122"/>
            </a:endParaRPr>
          </a:p>
        </p:txBody>
      </p:sp>
      <p:sp>
        <p:nvSpPr>
          <p:cNvPr id="12" name="任意多边形: 形状 11">
            <a:extLst>
              <a:ext uri="{FF2B5EF4-FFF2-40B4-BE49-F238E27FC236}">
                <a16:creationId xmlns:a16="http://schemas.microsoft.com/office/drawing/2014/main" id="{E9C2A52E-E690-4D3D-91EB-3CF78DE37BF3}"/>
              </a:ext>
            </a:extLst>
          </p:cNvPr>
          <p:cNvSpPr/>
          <p:nvPr/>
        </p:nvSpPr>
        <p:spPr>
          <a:xfrm>
            <a:off x="6389580" y="2040718"/>
            <a:ext cx="1247966" cy="281354"/>
          </a:xfrm>
          <a:custGeom>
            <a:avLst/>
            <a:gdLst>
              <a:gd name="connsiteX0" fmla="*/ 0 w 2977661"/>
              <a:gd name="connsiteY0" fmla="*/ 562707 h 562707"/>
              <a:gd name="connsiteX1" fmla="*/ 422031 w 2977661"/>
              <a:gd name="connsiteY1" fmla="*/ 0 h 562707"/>
              <a:gd name="connsiteX2" fmla="*/ 2977661 w 2977661"/>
              <a:gd name="connsiteY2" fmla="*/ 0 h 562707"/>
            </a:gdLst>
            <a:ahLst/>
            <a:cxnLst>
              <a:cxn ang="0">
                <a:pos x="connsiteX0" y="connsiteY0"/>
              </a:cxn>
              <a:cxn ang="0">
                <a:pos x="connsiteX1" y="connsiteY1"/>
              </a:cxn>
              <a:cxn ang="0">
                <a:pos x="connsiteX2" y="connsiteY2"/>
              </a:cxn>
            </a:cxnLst>
            <a:rect l="l" t="t" r="r" b="b"/>
            <a:pathLst>
              <a:path w="2977661" h="562707">
                <a:moveTo>
                  <a:pt x="0" y="562707"/>
                </a:moveTo>
                <a:lnTo>
                  <a:pt x="422031" y="0"/>
                </a:lnTo>
                <a:lnTo>
                  <a:pt x="2977661" y="0"/>
                </a:lnTo>
              </a:path>
            </a:pathLst>
          </a:custGeom>
          <a:noFill/>
          <a:ln>
            <a:solidFill>
              <a:schemeClr val="bg1">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zh-CN" altLang="en-US" sz="900" b="0" i="0" u="none" strike="noStrike" kern="1200" cap="none" spc="0" normalizeH="0" baseline="0" noProof="0">
              <a:ln>
                <a:noFill/>
              </a:ln>
              <a:solidFill>
                <a:srgbClr val="FFFFFF"/>
              </a:solidFill>
              <a:effectLst/>
              <a:uLnTx/>
              <a:uFillTx/>
              <a:latin typeface="Arial"/>
              <a:ea typeface="微软雅黑 Light"/>
              <a:cs typeface="+mn-cs"/>
            </a:endParaRPr>
          </a:p>
        </p:txBody>
      </p:sp>
      <p:sp>
        <p:nvSpPr>
          <p:cNvPr id="13" name="任意多边形: 形状 12">
            <a:extLst>
              <a:ext uri="{FF2B5EF4-FFF2-40B4-BE49-F238E27FC236}">
                <a16:creationId xmlns:a16="http://schemas.microsoft.com/office/drawing/2014/main" id="{FA950F22-9C8E-4231-BFFB-238AF7B156FC}"/>
              </a:ext>
            </a:extLst>
          </p:cNvPr>
          <p:cNvSpPr/>
          <p:nvPr/>
        </p:nvSpPr>
        <p:spPr>
          <a:xfrm>
            <a:off x="7212335" y="3365293"/>
            <a:ext cx="1247966" cy="281354"/>
          </a:xfrm>
          <a:custGeom>
            <a:avLst/>
            <a:gdLst>
              <a:gd name="connsiteX0" fmla="*/ 0 w 2977661"/>
              <a:gd name="connsiteY0" fmla="*/ 562707 h 562707"/>
              <a:gd name="connsiteX1" fmla="*/ 422031 w 2977661"/>
              <a:gd name="connsiteY1" fmla="*/ 0 h 562707"/>
              <a:gd name="connsiteX2" fmla="*/ 2977661 w 2977661"/>
              <a:gd name="connsiteY2" fmla="*/ 0 h 562707"/>
            </a:gdLst>
            <a:ahLst/>
            <a:cxnLst>
              <a:cxn ang="0">
                <a:pos x="connsiteX0" y="connsiteY0"/>
              </a:cxn>
              <a:cxn ang="0">
                <a:pos x="connsiteX1" y="connsiteY1"/>
              </a:cxn>
              <a:cxn ang="0">
                <a:pos x="connsiteX2" y="connsiteY2"/>
              </a:cxn>
            </a:cxnLst>
            <a:rect l="l" t="t" r="r" b="b"/>
            <a:pathLst>
              <a:path w="2977661" h="562707">
                <a:moveTo>
                  <a:pt x="0" y="562707"/>
                </a:moveTo>
                <a:lnTo>
                  <a:pt x="422031" y="0"/>
                </a:lnTo>
                <a:lnTo>
                  <a:pt x="2977661" y="0"/>
                </a:lnTo>
              </a:path>
            </a:pathLst>
          </a:custGeom>
          <a:noFill/>
          <a:ln>
            <a:solidFill>
              <a:schemeClr val="bg1">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zh-CN" altLang="en-US" sz="900" b="0" i="0" u="none" strike="noStrike" kern="1200" cap="none" spc="0" normalizeH="0" baseline="0" noProof="0">
              <a:ln>
                <a:noFill/>
              </a:ln>
              <a:solidFill>
                <a:srgbClr val="FFFFFF"/>
              </a:solidFill>
              <a:effectLst/>
              <a:uLnTx/>
              <a:uFillTx/>
              <a:latin typeface="Arial"/>
              <a:ea typeface="微软雅黑 Light"/>
              <a:cs typeface="+mn-cs"/>
            </a:endParaRPr>
          </a:p>
        </p:txBody>
      </p:sp>
      <p:sp>
        <p:nvSpPr>
          <p:cNvPr id="14" name="任意多边形: 形状 13">
            <a:extLst>
              <a:ext uri="{FF2B5EF4-FFF2-40B4-BE49-F238E27FC236}">
                <a16:creationId xmlns:a16="http://schemas.microsoft.com/office/drawing/2014/main" id="{1C6BCD1A-0910-4D00-AC6C-2EB8275A8E0C}"/>
              </a:ext>
            </a:extLst>
          </p:cNvPr>
          <p:cNvSpPr/>
          <p:nvPr/>
        </p:nvSpPr>
        <p:spPr>
          <a:xfrm>
            <a:off x="8182603" y="4799482"/>
            <a:ext cx="1247966" cy="281354"/>
          </a:xfrm>
          <a:custGeom>
            <a:avLst/>
            <a:gdLst>
              <a:gd name="connsiteX0" fmla="*/ 0 w 2977661"/>
              <a:gd name="connsiteY0" fmla="*/ 562707 h 562707"/>
              <a:gd name="connsiteX1" fmla="*/ 422031 w 2977661"/>
              <a:gd name="connsiteY1" fmla="*/ 0 h 562707"/>
              <a:gd name="connsiteX2" fmla="*/ 2977661 w 2977661"/>
              <a:gd name="connsiteY2" fmla="*/ 0 h 562707"/>
            </a:gdLst>
            <a:ahLst/>
            <a:cxnLst>
              <a:cxn ang="0">
                <a:pos x="connsiteX0" y="connsiteY0"/>
              </a:cxn>
              <a:cxn ang="0">
                <a:pos x="connsiteX1" y="connsiteY1"/>
              </a:cxn>
              <a:cxn ang="0">
                <a:pos x="connsiteX2" y="connsiteY2"/>
              </a:cxn>
            </a:cxnLst>
            <a:rect l="l" t="t" r="r" b="b"/>
            <a:pathLst>
              <a:path w="2977661" h="562707">
                <a:moveTo>
                  <a:pt x="0" y="562707"/>
                </a:moveTo>
                <a:lnTo>
                  <a:pt x="422031" y="0"/>
                </a:lnTo>
                <a:lnTo>
                  <a:pt x="2977661" y="0"/>
                </a:lnTo>
              </a:path>
            </a:pathLst>
          </a:custGeom>
          <a:noFill/>
          <a:ln>
            <a:solidFill>
              <a:schemeClr val="bg1">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zh-CN" altLang="en-US" sz="900" b="0" i="0" u="none" strike="noStrike" kern="1200" cap="none" spc="0" normalizeH="0" baseline="0" noProof="0">
              <a:ln>
                <a:noFill/>
              </a:ln>
              <a:solidFill>
                <a:srgbClr val="FFFFFF"/>
              </a:solidFill>
              <a:effectLst/>
              <a:uLnTx/>
              <a:uFillTx/>
              <a:latin typeface="Arial"/>
              <a:ea typeface="微软雅黑 Light"/>
              <a:cs typeface="+mn-cs"/>
            </a:endParaRPr>
          </a:p>
        </p:txBody>
      </p:sp>
      <p:sp>
        <p:nvSpPr>
          <p:cNvPr id="18" name="椭圆 17">
            <a:extLst>
              <a:ext uri="{FF2B5EF4-FFF2-40B4-BE49-F238E27FC236}">
                <a16:creationId xmlns:a16="http://schemas.microsoft.com/office/drawing/2014/main" id="{756AB2E5-31B6-4F6E-B274-CE7BEA9B2D12}"/>
              </a:ext>
            </a:extLst>
          </p:cNvPr>
          <p:cNvSpPr/>
          <p:nvPr/>
        </p:nvSpPr>
        <p:spPr>
          <a:xfrm>
            <a:off x="6333528" y="2268691"/>
            <a:ext cx="82459" cy="82458"/>
          </a:xfrm>
          <a:prstGeom prst="ellipse">
            <a:avLst/>
          </a:prstGeom>
          <a:solidFill>
            <a:schemeClr val="accent1">
              <a:lumMod val="100000"/>
            </a:schemeClr>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zh-CN" altLang="en-US" sz="900" b="0" i="0" u="none" strike="noStrike" kern="1200" cap="none" spc="0" normalizeH="0" baseline="0" noProof="0">
              <a:ln>
                <a:noFill/>
              </a:ln>
              <a:solidFill>
                <a:srgbClr val="FFFFFF"/>
              </a:solidFill>
              <a:effectLst/>
              <a:uLnTx/>
              <a:uFillTx/>
              <a:latin typeface="Arial"/>
              <a:ea typeface="微软雅黑 Light"/>
              <a:cs typeface="+mn-cs"/>
            </a:endParaRPr>
          </a:p>
        </p:txBody>
      </p:sp>
      <p:sp>
        <p:nvSpPr>
          <p:cNvPr id="19" name="椭圆 18">
            <a:extLst>
              <a:ext uri="{FF2B5EF4-FFF2-40B4-BE49-F238E27FC236}">
                <a16:creationId xmlns:a16="http://schemas.microsoft.com/office/drawing/2014/main" id="{158D8F2E-E99C-4E6F-A875-8E997AED24F5}"/>
              </a:ext>
            </a:extLst>
          </p:cNvPr>
          <p:cNvSpPr/>
          <p:nvPr/>
        </p:nvSpPr>
        <p:spPr>
          <a:xfrm>
            <a:off x="7629892" y="1999489"/>
            <a:ext cx="82459" cy="82458"/>
          </a:xfrm>
          <a:prstGeom prst="ellipse">
            <a:avLst/>
          </a:prstGeom>
          <a:solidFill>
            <a:schemeClr val="accent1">
              <a:lumMod val="100000"/>
            </a:schemeClr>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zh-CN" altLang="en-US" sz="900" b="0" i="0" u="none" strike="noStrike" kern="1200" cap="none" spc="0" normalizeH="0" baseline="0" noProof="0">
              <a:ln>
                <a:noFill/>
              </a:ln>
              <a:solidFill>
                <a:srgbClr val="FFFFFF"/>
              </a:solidFill>
              <a:effectLst/>
              <a:uLnTx/>
              <a:uFillTx/>
              <a:latin typeface="Arial"/>
              <a:ea typeface="微软雅黑 Light"/>
              <a:cs typeface="+mn-cs"/>
            </a:endParaRPr>
          </a:p>
        </p:txBody>
      </p:sp>
      <p:sp>
        <p:nvSpPr>
          <p:cNvPr id="21" name="任意多边形: 形状 20">
            <a:extLst>
              <a:ext uri="{FF2B5EF4-FFF2-40B4-BE49-F238E27FC236}">
                <a16:creationId xmlns:a16="http://schemas.microsoft.com/office/drawing/2014/main" id="{E8A6292C-C7F7-4E3A-8702-CA4B897FEF13}"/>
              </a:ext>
            </a:extLst>
          </p:cNvPr>
          <p:cNvSpPr/>
          <p:nvPr/>
        </p:nvSpPr>
        <p:spPr>
          <a:xfrm flipH="1">
            <a:off x="3152346" y="4037149"/>
            <a:ext cx="1247966" cy="281354"/>
          </a:xfrm>
          <a:custGeom>
            <a:avLst/>
            <a:gdLst>
              <a:gd name="connsiteX0" fmla="*/ 0 w 2977661"/>
              <a:gd name="connsiteY0" fmla="*/ 562707 h 562707"/>
              <a:gd name="connsiteX1" fmla="*/ 422031 w 2977661"/>
              <a:gd name="connsiteY1" fmla="*/ 0 h 562707"/>
              <a:gd name="connsiteX2" fmla="*/ 2977661 w 2977661"/>
              <a:gd name="connsiteY2" fmla="*/ 0 h 562707"/>
            </a:gdLst>
            <a:ahLst/>
            <a:cxnLst>
              <a:cxn ang="0">
                <a:pos x="connsiteX0" y="connsiteY0"/>
              </a:cxn>
              <a:cxn ang="0">
                <a:pos x="connsiteX1" y="connsiteY1"/>
              </a:cxn>
              <a:cxn ang="0">
                <a:pos x="connsiteX2" y="connsiteY2"/>
              </a:cxn>
            </a:cxnLst>
            <a:rect l="l" t="t" r="r" b="b"/>
            <a:pathLst>
              <a:path w="2977661" h="562707">
                <a:moveTo>
                  <a:pt x="0" y="562707"/>
                </a:moveTo>
                <a:lnTo>
                  <a:pt x="422031" y="0"/>
                </a:lnTo>
                <a:lnTo>
                  <a:pt x="2977661" y="0"/>
                </a:lnTo>
              </a:path>
            </a:pathLst>
          </a:custGeom>
          <a:noFill/>
          <a:ln>
            <a:solidFill>
              <a:schemeClr val="bg1">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zh-CN" altLang="en-US" sz="900" b="0" i="0" u="none" strike="noStrike" kern="1200" cap="none" spc="0" normalizeH="0" baseline="0" noProof="0">
              <a:ln>
                <a:noFill/>
              </a:ln>
              <a:solidFill>
                <a:srgbClr val="FFFFFF"/>
              </a:solidFill>
              <a:effectLst/>
              <a:uLnTx/>
              <a:uFillTx/>
              <a:latin typeface="Arial"/>
              <a:ea typeface="微软雅黑 Light"/>
              <a:cs typeface="+mn-cs"/>
            </a:endParaRPr>
          </a:p>
        </p:txBody>
      </p:sp>
      <p:sp>
        <p:nvSpPr>
          <p:cNvPr id="22" name="任意多边形: 形状 21">
            <a:extLst>
              <a:ext uri="{FF2B5EF4-FFF2-40B4-BE49-F238E27FC236}">
                <a16:creationId xmlns:a16="http://schemas.microsoft.com/office/drawing/2014/main" id="{D78DAE3F-9235-4795-B6F6-138DE6891815}"/>
              </a:ext>
            </a:extLst>
          </p:cNvPr>
          <p:cNvSpPr/>
          <p:nvPr/>
        </p:nvSpPr>
        <p:spPr>
          <a:xfrm flipH="1">
            <a:off x="4103826" y="2673328"/>
            <a:ext cx="1247966" cy="281354"/>
          </a:xfrm>
          <a:custGeom>
            <a:avLst/>
            <a:gdLst>
              <a:gd name="connsiteX0" fmla="*/ 0 w 2977661"/>
              <a:gd name="connsiteY0" fmla="*/ 562707 h 562707"/>
              <a:gd name="connsiteX1" fmla="*/ 422031 w 2977661"/>
              <a:gd name="connsiteY1" fmla="*/ 0 h 562707"/>
              <a:gd name="connsiteX2" fmla="*/ 2977661 w 2977661"/>
              <a:gd name="connsiteY2" fmla="*/ 0 h 562707"/>
            </a:gdLst>
            <a:ahLst/>
            <a:cxnLst>
              <a:cxn ang="0">
                <a:pos x="connsiteX0" y="connsiteY0"/>
              </a:cxn>
              <a:cxn ang="0">
                <a:pos x="connsiteX1" y="connsiteY1"/>
              </a:cxn>
              <a:cxn ang="0">
                <a:pos x="connsiteX2" y="connsiteY2"/>
              </a:cxn>
            </a:cxnLst>
            <a:rect l="l" t="t" r="r" b="b"/>
            <a:pathLst>
              <a:path w="2977661" h="562707">
                <a:moveTo>
                  <a:pt x="0" y="562707"/>
                </a:moveTo>
                <a:lnTo>
                  <a:pt x="422031" y="0"/>
                </a:lnTo>
                <a:lnTo>
                  <a:pt x="2977661" y="0"/>
                </a:lnTo>
              </a:path>
            </a:pathLst>
          </a:custGeom>
          <a:noFill/>
          <a:ln>
            <a:solidFill>
              <a:schemeClr val="bg1">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zh-CN" altLang="en-US" sz="900" b="0" i="0" u="none" strike="noStrike" kern="1200" cap="none" spc="0" normalizeH="0" baseline="0" noProof="0">
              <a:ln>
                <a:noFill/>
              </a:ln>
              <a:solidFill>
                <a:srgbClr val="FFFFFF"/>
              </a:solidFill>
              <a:effectLst/>
              <a:uLnTx/>
              <a:uFillTx/>
              <a:latin typeface="Arial"/>
              <a:ea typeface="微软雅黑 Light"/>
              <a:cs typeface="+mn-cs"/>
            </a:endParaRPr>
          </a:p>
        </p:txBody>
      </p:sp>
      <p:sp>
        <p:nvSpPr>
          <p:cNvPr id="23" name="椭圆 22">
            <a:extLst>
              <a:ext uri="{FF2B5EF4-FFF2-40B4-BE49-F238E27FC236}">
                <a16:creationId xmlns:a16="http://schemas.microsoft.com/office/drawing/2014/main" id="{6936BDF8-C7F0-4CCD-BC9C-9E2A4336D0C6}"/>
              </a:ext>
            </a:extLst>
          </p:cNvPr>
          <p:cNvSpPr/>
          <p:nvPr/>
        </p:nvSpPr>
        <p:spPr>
          <a:xfrm>
            <a:off x="7198326" y="3588265"/>
            <a:ext cx="82459" cy="82458"/>
          </a:xfrm>
          <a:prstGeom prst="ellipse">
            <a:avLst/>
          </a:prstGeom>
          <a:solidFill>
            <a:schemeClr val="accent1">
              <a:lumMod val="100000"/>
            </a:schemeClr>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zh-CN" altLang="en-US" sz="900" b="0" i="0" u="none" strike="noStrike" kern="1200" cap="none" spc="0" normalizeH="0" baseline="0" noProof="0">
              <a:ln>
                <a:noFill/>
              </a:ln>
              <a:solidFill>
                <a:srgbClr val="FFFFFF"/>
              </a:solidFill>
              <a:effectLst/>
              <a:uLnTx/>
              <a:uFillTx/>
              <a:latin typeface="Arial"/>
              <a:ea typeface="微软雅黑 Light"/>
              <a:cs typeface="+mn-cs"/>
            </a:endParaRPr>
          </a:p>
        </p:txBody>
      </p:sp>
      <p:sp>
        <p:nvSpPr>
          <p:cNvPr id="24" name="椭圆 23">
            <a:extLst>
              <a:ext uri="{FF2B5EF4-FFF2-40B4-BE49-F238E27FC236}">
                <a16:creationId xmlns:a16="http://schemas.microsoft.com/office/drawing/2014/main" id="{7B995A0D-AD31-46DB-BBDE-1C9273C96FB6}"/>
              </a:ext>
            </a:extLst>
          </p:cNvPr>
          <p:cNvSpPr/>
          <p:nvPr/>
        </p:nvSpPr>
        <p:spPr>
          <a:xfrm>
            <a:off x="8422349" y="3328913"/>
            <a:ext cx="82459" cy="82458"/>
          </a:xfrm>
          <a:prstGeom prst="ellipse">
            <a:avLst/>
          </a:prstGeom>
          <a:solidFill>
            <a:schemeClr val="accent1">
              <a:lumMod val="100000"/>
            </a:schemeClr>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zh-CN" altLang="en-US" sz="900" b="0" i="0" u="none" strike="noStrike" kern="1200" cap="none" spc="0" normalizeH="0" baseline="0" noProof="0">
              <a:ln>
                <a:noFill/>
              </a:ln>
              <a:solidFill>
                <a:srgbClr val="FFFFFF"/>
              </a:solidFill>
              <a:effectLst/>
              <a:uLnTx/>
              <a:uFillTx/>
              <a:latin typeface="Arial"/>
              <a:ea typeface="微软雅黑 Light"/>
              <a:cs typeface="+mn-cs"/>
            </a:endParaRPr>
          </a:p>
        </p:txBody>
      </p:sp>
      <p:sp>
        <p:nvSpPr>
          <p:cNvPr id="25" name="椭圆 24">
            <a:extLst>
              <a:ext uri="{FF2B5EF4-FFF2-40B4-BE49-F238E27FC236}">
                <a16:creationId xmlns:a16="http://schemas.microsoft.com/office/drawing/2014/main" id="{DD1B9685-A38A-4BC1-B5CD-BA02F9A91A8B}"/>
              </a:ext>
            </a:extLst>
          </p:cNvPr>
          <p:cNvSpPr/>
          <p:nvPr/>
        </p:nvSpPr>
        <p:spPr>
          <a:xfrm>
            <a:off x="8141373" y="5034757"/>
            <a:ext cx="82459" cy="82458"/>
          </a:xfrm>
          <a:prstGeom prst="ellipse">
            <a:avLst/>
          </a:prstGeom>
          <a:solidFill>
            <a:schemeClr val="accent1">
              <a:lumMod val="100000"/>
            </a:schemeClr>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zh-CN" altLang="en-US" sz="900" b="0" i="0" u="none" strike="noStrike" kern="1200" cap="none" spc="0" normalizeH="0" baseline="0" noProof="0">
              <a:ln>
                <a:noFill/>
              </a:ln>
              <a:solidFill>
                <a:srgbClr val="FFFFFF"/>
              </a:solidFill>
              <a:effectLst/>
              <a:uLnTx/>
              <a:uFillTx/>
              <a:latin typeface="Arial"/>
              <a:ea typeface="微软雅黑 Light"/>
              <a:cs typeface="+mn-cs"/>
            </a:endParaRPr>
          </a:p>
        </p:txBody>
      </p:sp>
      <p:sp>
        <p:nvSpPr>
          <p:cNvPr id="26" name="椭圆 25">
            <a:extLst>
              <a:ext uri="{FF2B5EF4-FFF2-40B4-BE49-F238E27FC236}">
                <a16:creationId xmlns:a16="http://schemas.microsoft.com/office/drawing/2014/main" id="{0CCB7C55-BC64-40AC-B6DD-F187CE41A108}"/>
              </a:ext>
            </a:extLst>
          </p:cNvPr>
          <p:cNvSpPr/>
          <p:nvPr/>
        </p:nvSpPr>
        <p:spPr>
          <a:xfrm>
            <a:off x="9433101" y="4758253"/>
            <a:ext cx="82459" cy="82458"/>
          </a:xfrm>
          <a:prstGeom prst="ellipse">
            <a:avLst/>
          </a:prstGeom>
          <a:solidFill>
            <a:schemeClr val="accent1">
              <a:lumMod val="100000"/>
            </a:schemeClr>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zh-CN" altLang="en-US" sz="900" b="0" i="0" u="none" strike="noStrike" kern="1200" cap="none" spc="0" normalizeH="0" baseline="0" noProof="0">
              <a:ln>
                <a:noFill/>
              </a:ln>
              <a:solidFill>
                <a:srgbClr val="FFFFFF"/>
              </a:solidFill>
              <a:effectLst/>
              <a:uLnTx/>
              <a:uFillTx/>
              <a:latin typeface="Arial"/>
              <a:ea typeface="微软雅黑 Light"/>
              <a:cs typeface="+mn-cs"/>
            </a:endParaRPr>
          </a:p>
        </p:txBody>
      </p:sp>
      <p:sp>
        <p:nvSpPr>
          <p:cNvPr id="27" name="椭圆 26">
            <a:extLst>
              <a:ext uri="{FF2B5EF4-FFF2-40B4-BE49-F238E27FC236}">
                <a16:creationId xmlns:a16="http://schemas.microsoft.com/office/drawing/2014/main" id="{FAA3ECD0-E771-460B-987D-5EEA4097C241}"/>
              </a:ext>
            </a:extLst>
          </p:cNvPr>
          <p:cNvSpPr/>
          <p:nvPr/>
        </p:nvSpPr>
        <p:spPr>
          <a:xfrm>
            <a:off x="4379992" y="4296234"/>
            <a:ext cx="82459" cy="82458"/>
          </a:xfrm>
          <a:prstGeom prst="ellipse">
            <a:avLst/>
          </a:prstGeom>
          <a:solidFill>
            <a:schemeClr val="accent1">
              <a:lumMod val="100000"/>
            </a:schemeClr>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zh-CN" altLang="en-US" sz="900" b="0" i="0" u="none" strike="noStrike" kern="1200" cap="none" spc="0" normalizeH="0" baseline="0" noProof="0">
              <a:ln>
                <a:noFill/>
              </a:ln>
              <a:solidFill>
                <a:srgbClr val="FFFFFF"/>
              </a:solidFill>
              <a:effectLst/>
              <a:uLnTx/>
              <a:uFillTx/>
              <a:latin typeface="Arial"/>
              <a:ea typeface="微软雅黑 Light"/>
              <a:cs typeface="+mn-cs"/>
            </a:endParaRPr>
          </a:p>
        </p:txBody>
      </p:sp>
      <p:sp>
        <p:nvSpPr>
          <p:cNvPr id="28" name="椭圆 27">
            <a:extLst>
              <a:ext uri="{FF2B5EF4-FFF2-40B4-BE49-F238E27FC236}">
                <a16:creationId xmlns:a16="http://schemas.microsoft.com/office/drawing/2014/main" id="{6D373413-3483-4CCD-B4AC-E31A26F2842F}"/>
              </a:ext>
            </a:extLst>
          </p:cNvPr>
          <p:cNvSpPr/>
          <p:nvPr/>
        </p:nvSpPr>
        <p:spPr>
          <a:xfrm>
            <a:off x="3069887" y="3995920"/>
            <a:ext cx="82459" cy="82458"/>
          </a:xfrm>
          <a:prstGeom prst="ellipse">
            <a:avLst/>
          </a:prstGeom>
          <a:solidFill>
            <a:schemeClr val="accent1">
              <a:lumMod val="100000"/>
            </a:schemeClr>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zh-CN" altLang="en-US" sz="900" b="0" i="0" u="none" strike="noStrike" kern="1200" cap="none" spc="0" normalizeH="0" baseline="0" noProof="0">
              <a:ln>
                <a:noFill/>
              </a:ln>
              <a:solidFill>
                <a:srgbClr val="FFFFFF"/>
              </a:solidFill>
              <a:effectLst/>
              <a:uLnTx/>
              <a:uFillTx/>
              <a:latin typeface="Arial"/>
              <a:ea typeface="微软雅黑 Light"/>
              <a:cs typeface="+mn-cs"/>
            </a:endParaRPr>
          </a:p>
        </p:txBody>
      </p:sp>
      <p:sp>
        <p:nvSpPr>
          <p:cNvPr id="29" name="椭圆 28">
            <a:extLst>
              <a:ext uri="{FF2B5EF4-FFF2-40B4-BE49-F238E27FC236}">
                <a16:creationId xmlns:a16="http://schemas.microsoft.com/office/drawing/2014/main" id="{4F222BB1-7034-4400-B6AE-D51886B3B723}"/>
              </a:ext>
            </a:extLst>
          </p:cNvPr>
          <p:cNvSpPr/>
          <p:nvPr/>
        </p:nvSpPr>
        <p:spPr>
          <a:xfrm>
            <a:off x="5331472" y="2932413"/>
            <a:ext cx="82459" cy="82458"/>
          </a:xfrm>
          <a:prstGeom prst="ellipse">
            <a:avLst/>
          </a:prstGeom>
          <a:solidFill>
            <a:schemeClr val="accent1">
              <a:lumMod val="100000"/>
            </a:schemeClr>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zh-CN" altLang="en-US" sz="900" b="0" i="0" u="none" strike="noStrike" kern="1200" cap="none" spc="0" normalizeH="0" baseline="0" noProof="0">
              <a:ln>
                <a:noFill/>
              </a:ln>
              <a:solidFill>
                <a:srgbClr val="FFFFFF"/>
              </a:solidFill>
              <a:effectLst/>
              <a:uLnTx/>
              <a:uFillTx/>
              <a:latin typeface="Arial"/>
              <a:ea typeface="微软雅黑 Light"/>
              <a:cs typeface="+mn-cs"/>
            </a:endParaRPr>
          </a:p>
        </p:txBody>
      </p:sp>
      <p:sp>
        <p:nvSpPr>
          <p:cNvPr id="30" name="椭圆 29">
            <a:extLst>
              <a:ext uri="{FF2B5EF4-FFF2-40B4-BE49-F238E27FC236}">
                <a16:creationId xmlns:a16="http://schemas.microsoft.com/office/drawing/2014/main" id="{6A52F75F-5451-4B85-8349-0018518782E6}"/>
              </a:ext>
            </a:extLst>
          </p:cNvPr>
          <p:cNvSpPr/>
          <p:nvPr/>
        </p:nvSpPr>
        <p:spPr>
          <a:xfrm>
            <a:off x="4021367" y="2632099"/>
            <a:ext cx="82459" cy="82458"/>
          </a:xfrm>
          <a:prstGeom prst="ellipse">
            <a:avLst/>
          </a:prstGeom>
          <a:solidFill>
            <a:schemeClr val="accent1">
              <a:lumMod val="100000"/>
            </a:schemeClr>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zh-CN" altLang="en-US" sz="900" b="0" i="0" u="none" strike="noStrike" kern="1200" cap="none" spc="0" normalizeH="0" baseline="0" noProof="0">
              <a:ln>
                <a:noFill/>
              </a:ln>
              <a:solidFill>
                <a:srgbClr val="FFFFFF"/>
              </a:solidFill>
              <a:effectLst/>
              <a:uLnTx/>
              <a:uFillTx/>
              <a:latin typeface="Arial"/>
              <a:ea typeface="微软雅黑 Light"/>
              <a:cs typeface="+mn-cs"/>
            </a:endParaRPr>
          </a:p>
        </p:txBody>
      </p:sp>
      <p:sp>
        <p:nvSpPr>
          <p:cNvPr id="31" name="Object 1033">
            <a:extLst>
              <a:ext uri="{FF2B5EF4-FFF2-40B4-BE49-F238E27FC236}">
                <a16:creationId xmlns:a16="http://schemas.microsoft.com/office/drawing/2014/main" id="{58F24AE9-4AAE-43B2-B1C3-9C5E0C8E9C73}"/>
              </a:ext>
            </a:extLst>
          </p:cNvPr>
          <p:cNvSpPr txBox="1"/>
          <p:nvPr/>
        </p:nvSpPr>
        <p:spPr>
          <a:xfrm>
            <a:off x="7850561" y="2121274"/>
            <a:ext cx="2236960" cy="419430"/>
          </a:xfrm>
          <a:prstGeom prst="rect">
            <a:avLst/>
          </a:prstGeom>
        </p:spPr>
        <p:txBody>
          <a:bodyPr vert="horz" lIns="0" tIns="0" rIns="0" bIns="0" rtlCol="0" anchor="t" anchorCtr="0">
            <a:noAutofit/>
          </a:bodyPr>
          <a:lstStyle/>
          <a:p>
            <a:pPr marL="0" marR="0" lvl="0" indent="0" algn="l" defTabSz="457200" rtl="0" eaLnBrk="1" fontAlgn="auto" latinLnBrk="0" hangingPunct="1">
              <a:lnSpc>
                <a:spcPct val="150000"/>
              </a:lnSpc>
              <a:spcBef>
                <a:spcPts val="0"/>
              </a:spcBef>
              <a:spcAft>
                <a:spcPts val="0"/>
              </a:spcAft>
              <a:buClrTx/>
              <a:buSzTx/>
              <a:buFontTx/>
              <a:buNone/>
              <a:tabLst/>
              <a:defRPr/>
            </a:pPr>
            <a:r>
              <a:rPr kumimoji="0" lang="zh-CN" altLang="en-US" sz="1200" b="0" i="0" u="none" strike="noStrike" kern="1200" cap="none" spc="0" normalizeH="0" baseline="0" noProof="0" dirty="0">
                <a:ln>
                  <a:noFill/>
                </a:ln>
                <a:solidFill>
                  <a:srgbClr val="777777"/>
                </a:solidFill>
                <a:effectLst/>
                <a:uLnTx/>
                <a:uFillTx/>
                <a:latin typeface="OPPOSans R" panose="00020600040101010101" pitchFamily="18" charset="-122"/>
                <a:ea typeface="OPPOSans R" panose="00020600040101010101" pitchFamily="18" charset="-122"/>
                <a:cs typeface="OPPOSans R" panose="00020600040101010101" pitchFamily="18" charset="-122"/>
              </a:rPr>
              <a:t>相信自己，足够自信</a:t>
            </a:r>
            <a:endParaRPr kumimoji="0" lang="zh-CN" altLang="en-US" sz="550" b="0" i="0" u="none" strike="noStrike" kern="1200" cap="none" spc="0" normalizeH="0" baseline="0" noProof="0">
              <a:ln>
                <a:noFill/>
              </a:ln>
              <a:solidFill>
                <a:srgbClr val="000000"/>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p:txBody>
      </p:sp>
      <p:sp>
        <p:nvSpPr>
          <p:cNvPr id="32" name="Object 1034">
            <a:extLst>
              <a:ext uri="{FF2B5EF4-FFF2-40B4-BE49-F238E27FC236}">
                <a16:creationId xmlns:a16="http://schemas.microsoft.com/office/drawing/2014/main" id="{21977B1C-9569-4BA1-A641-02E695EB8E65}"/>
              </a:ext>
            </a:extLst>
          </p:cNvPr>
          <p:cNvSpPr txBox="1"/>
          <p:nvPr/>
        </p:nvSpPr>
        <p:spPr>
          <a:xfrm>
            <a:off x="7842941" y="1827904"/>
            <a:ext cx="2236960" cy="343170"/>
          </a:xfrm>
          <a:prstGeom prst="rect">
            <a:avLst/>
          </a:prstGeom>
        </p:spPr>
        <p:txBody>
          <a:bodyPr vert="horz" lIns="0" tIns="0" rIns="0" bIns="0" rtlCol="0" anchor="t" anchorCtr="0">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zh-CN" altLang="en-US" sz="2260" b="0" i="0" u="none" strike="noStrike" kern="1200" cap="none" spc="0" normalizeH="0" baseline="0" noProof="0" dirty="0">
                <a:ln>
                  <a:noFill/>
                </a:ln>
                <a:solidFill>
                  <a:srgbClr val="333333"/>
                </a:solidFill>
                <a:effectLst/>
                <a:uLnTx/>
                <a:uFillTx/>
                <a:latin typeface="OPPOSans B" panose="00020600040101010101" pitchFamily="18" charset="-122"/>
                <a:ea typeface="OPPOSans B" panose="00020600040101010101" pitchFamily="18" charset="-122"/>
                <a:cs typeface="OPPOSans B" panose="00020600040101010101" pitchFamily="18" charset="-122"/>
              </a:rPr>
              <a:t>自信</a:t>
            </a:r>
            <a:endParaRPr kumimoji="0" lang="zh-CN" altLang="en-US" sz="900" b="0" i="0" u="none" strike="noStrike" kern="1200" cap="none" spc="0" normalizeH="0" baseline="0" noProof="0" dirty="0">
              <a:ln>
                <a:noFill/>
              </a:ln>
              <a:solidFill>
                <a:srgbClr val="000000"/>
              </a:solidFill>
              <a:effectLst/>
              <a:uLnTx/>
              <a:uFillTx/>
              <a:latin typeface="OPPOSans B" panose="00020600040101010101" pitchFamily="18" charset="-122"/>
              <a:ea typeface="OPPOSans B" panose="00020600040101010101" pitchFamily="18" charset="-122"/>
              <a:cs typeface="OPPOSans B" panose="00020600040101010101" pitchFamily="18" charset="-122"/>
            </a:endParaRPr>
          </a:p>
        </p:txBody>
      </p:sp>
      <p:sp>
        <p:nvSpPr>
          <p:cNvPr id="33" name="Object 1035">
            <a:extLst>
              <a:ext uri="{FF2B5EF4-FFF2-40B4-BE49-F238E27FC236}">
                <a16:creationId xmlns:a16="http://schemas.microsoft.com/office/drawing/2014/main" id="{F859C0F1-07B5-40AB-80A9-3F10D96B7773}"/>
              </a:ext>
            </a:extLst>
          </p:cNvPr>
          <p:cNvSpPr txBox="1"/>
          <p:nvPr/>
        </p:nvSpPr>
        <p:spPr>
          <a:xfrm>
            <a:off x="8721526" y="3551281"/>
            <a:ext cx="2236960" cy="419430"/>
          </a:xfrm>
          <a:prstGeom prst="rect">
            <a:avLst/>
          </a:prstGeom>
        </p:spPr>
        <p:txBody>
          <a:bodyPr vert="horz" lIns="0" tIns="0" rIns="0" bIns="0" rtlCol="0" anchor="t" anchorCtr="0">
            <a:noAutofit/>
          </a:bodyPr>
          <a:lstStyle/>
          <a:p>
            <a:pPr marL="0" marR="0" lvl="0" indent="0" algn="l" defTabSz="457200" rtl="0" eaLnBrk="1" fontAlgn="auto" latinLnBrk="0" hangingPunct="1">
              <a:lnSpc>
                <a:spcPct val="150000"/>
              </a:lnSpc>
              <a:spcBef>
                <a:spcPts val="0"/>
              </a:spcBef>
              <a:spcAft>
                <a:spcPts val="0"/>
              </a:spcAft>
              <a:buClrTx/>
              <a:buSzTx/>
              <a:buFontTx/>
              <a:buNone/>
              <a:tabLst/>
              <a:defRPr/>
            </a:pPr>
            <a:r>
              <a:rPr kumimoji="0" lang="zh-CN" altLang="en-US" sz="1200" b="0" i="0" u="none" strike="noStrike" kern="1200" cap="none" spc="0" normalizeH="0" baseline="0" noProof="0" dirty="0">
                <a:ln>
                  <a:noFill/>
                </a:ln>
                <a:solidFill>
                  <a:srgbClr val="777777"/>
                </a:solidFill>
                <a:effectLst/>
                <a:uLnTx/>
                <a:uFillTx/>
                <a:latin typeface="OPPOSans R" panose="00020600040101010101" pitchFamily="18" charset="-122"/>
                <a:ea typeface="OPPOSans R" panose="00020600040101010101" pitchFamily="18" charset="-122"/>
                <a:cs typeface="OPPOSans R" panose="00020600040101010101" pitchFamily="18" charset="-122"/>
              </a:rPr>
              <a:t>始终保持积极和热忱</a:t>
            </a:r>
            <a:endParaRPr kumimoji="0" lang="zh-CN" altLang="en-US" sz="550" b="0" i="0" u="none" strike="noStrike" kern="1200" cap="none" spc="0" normalizeH="0" baseline="0" noProof="0">
              <a:ln>
                <a:noFill/>
              </a:ln>
              <a:solidFill>
                <a:srgbClr val="000000"/>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p:txBody>
      </p:sp>
      <p:sp>
        <p:nvSpPr>
          <p:cNvPr id="34" name="Object 1036">
            <a:extLst>
              <a:ext uri="{FF2B5EF4-FFF2-40B4-BE49-F238E27FC236}">
                <a16:creationId xmlns:a16="http://schemas.microsoft.com/office/drawing/2014/main" id="{9511D9A6-041D-4660-BAB3-8E383375C797}"/>
              </a:ext>
            </a:extLst>
          </p:cNvPr>
          <p:cNvSpPr txBox="1"/>
          <p:nvPr/>
        </p:nvSpPr>
        <p:spPr>
          <a:xfrm>
            <a:off x="8713906" y="3221729"/>
            <a:ext cx="2236960" cy="343170"/>
          </a:xfrm>
          <a:prstGeom prst="rect">
            <a:avLst/>
          </a:prstGeom>
        </p:spPr>
        <p:txBody>
          <a:bodyPr vert="horz" lIns="0" tIns="0" rIns="0" bIns="0" rtlCol="0" anchor="t" anchorCtr="0">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zh-CN" altLang="en-US" sz="2260" b="0" i="0" u="none" strike="noStrike" kern="1200" cap="none" spc="0" normalizeH="0" baseline="0" noProof="0" dirty="0">
                <a:ln>
                  <a:noFill/>
                </a:ln>
                <a:solidFill>
                  <a:srgbClr val="333333"/>
                </a:solidFill>
                <a:effectLst/>
                <a:uLnTx/>
                <a:uFillTx/>
                <a:latin typeface="OPPOSans B" panose="00020600040101010101" pitchFamily="18" charset="-122"/>
                <a:ea typeface="OPPOSans B" panose="00020600040101010101" pitchFamily="18" charset="-122"/>
                <a:cs typeface="OPPOSans B" panose="00020600040101010101" pitchFamily="18" charset="-122"/>
              </a:rPr>
              <a:t>积极</a:t>
            </a:r>
            <a:endParaRPr kumimoji="0" lang="zh-CN" altLang="en-US" sz="900" b="0" i="0" u="none" strike="noStrike" kern="1200" cap="none" spc="0" normalizeH="0" baseline="0" noProof="0">
              <a:ln>
                <a:noFill/>
              </a:ln>
              <a:solidFill>
                <a:srgbClr val="000000"/>
              </a:solidFill>
              <a:effectLst/>
              <a:uLnTx/>
              <a:uFillTx/>
              <a:latin typeface="OPPOSans B" panose="00020600040101010101" pitchFamily="18" charset="-122"/>
              <a:ea typeface="OPPOSans B" panose="00020600040101010101" pitchFamily="18" charset="-122"/>
              <a:cs typeface="OPPOSans B" panose="00020600040101010101" pitchFamily="18" charset="-122"/>
            </a:endParaRPr>
          </a:p>
        </p:txBody>
      </p:sp>
      <p:sp>
        <p:nvSpPr>
          <p:cNvPr id="35" name="Object 1037">
            <a:extLst>
              <a:ext uri="{FF2B5EF4-FFF2-40B4-BE49-F238E27FC236}">
                <a16:creationId xmlns:a16="http://schemas.microsoft.com/office/drawing/2014/main" id="{8E3FFD1D-9212-4C0E-82B2-999C16246857}"/>
              </a:ext>
            </a:extLst>
          </p:cNvPr>
          <p:cNvSpPr txBox="1"/>
          <p:nvPr/>
        </p:nvSpPr>
        <p:spPr>
          <a:xfrm>
            <a:off x="9665326" y="4981288"/>
            <a:ext cx="2008180" cy="635500"/>
          </a:xfrm>
          <a:prstGeom prst="rect">
            <a:avLst/>
          </a:prstGeom>
        </p:spPr>
        <p:txBody>
          <a:bodyPr vert="horz" lIns="0" tIns="0" rIns="0" bIns="0" rtlCol="0" anchor="t" anchorCtr="0">
            <a:noAutofit/>
          </a:bodyPr>
          <a:lstStyle/>
          <a:p>
            <a:pPr marL="0" marR="0" lvl="0" indent="0" algn="l" defTabSz="457200" rtl="0" eaLnBrk="1" fontAlgn="auto" latinLnBrk="0" hangingPunct="1">
              <a:lnSpc>
                <a:spcPct val="114166"/>
              </a:lnSpc>
              <a:spcBef>
                <a:spcPts val="0"/>
              </a:spcBef>
              <a:spcAft>
                <a:spcPts val="0"/>
              </a:spcAft>
              <a:buClrTx/>
              <a:buSzTx/>
              <a:buFontTx/>
              <a:buNone/>
              <a:tabLst/>
              <a:defRPr/>
            </a:pPr>
            <a:r>
              <a:rPr kumimoji="0" lang="zh-CN" altLang="en-US" sz="1200" b="0" i="0" u="none" strike="noStrike" kern="1200" cap="none" spc="0" normalizeH="0" baseline="0" noProof="0" dirty="0">
                <a:ln>
                  <a:noFill/>
                </a:ln>
                <a:solidFill>
                  <a:srgbClr val="777777"/>
                </a:solidFill>
                <a:effectLst/>
                <a:uLnTx/>
                <a:uFillTx/>
                <a:latin typeface="OPPOSans R" panose="00020600040101010101" pitchFamily="18" charset="-122"/>
                <a:ea typeface="OPPOSans R" panose="00020600040101010101" pitchFamily="18" charset="-122"/>
                <a:cs typeface="OPPOSans R" panose="00020600040101010101" pitchFamily="18" charset="-122"/>
              </a:rPr>
              <a:t>尊重您的客户，也</a:t>
            </a:r>
            <a:endParaRPr kumimoji="0" lang="zh-CN" altLang="en-US" sz="1200" b="0" i="0" u="none" strike="noStrike" kern="1200" cap="none" spc="0" normalizeH="0" baseline="0" noProof="0" dirty="0">
              <a:ln>
                <a:noFill/>
              </a:ln>
              <a:solidFill>
                <a:srgbClr val="000000"/>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a:p>
            <a:pPr marL="0" marR="0" lvl="0" indent="0" algn="l" defTabSz="457200" rtl="0" eaLnBrk="1" fontAlgn="auto" latinLnBrk="0" hangingPunct="1">
              <a:lnSpc>
                <a:spcPct val="114166"/>
              </a:lnSpc>
              <a:spcBef>
                <a:spcPts val="0"/>
              </a:spcBef>
              <a:spcAft>
                <a:spcPts val="0"/>
              </a:spcAft>
              <a:buClrTx/>
              <a:buSzTx/>
              <a:buFontTx/>
              <a:buNone/>
              <a:tabLst/>
              <a:defRPr/>
            </a:pPr>
            <a:r>
              <a:rPr kumimoji="0" lang="zh-CN" altLang="en-US" sz="1200" b="0" i="0" u="none" strike="noStrike" kern="1200" cap="none" spc="0" normalizeH="0" baseline="0" noProof="0" dirty="0">
                <a:ln>
                  <a:noFill/>
                </a:ln>
                <a:solidFill>
                  <a:srgbClr val="777777"/>
                </a:solidFill>
                <a:effectLst/>
                <a:uLnTx/>
                <a:uFillTx/>
                <a:latin typeface="OPPOSans R" panose="00020600040101010101" pitchFamily="18" charset="-122"/>
                <a:ea typeface="OPPOSans R" panose="00020600040101010101" pitchFamily="18" charset="-122"/>
                <a:cs typeface="OPPOSans R" panose="00020600040101010101" pitchFamily="18" charset="-122"/>
              </a:rPr>
              <a:t>能赢得客户尊重</a:t>
            </a:r>
            <a:endParaRPr kumimoji="0" lang="zh-CN" altLang="en-US" sz="550" b="0" i="0" u="none" strike="noStrike" kern="1200" cap="none" spc="0" normalizeH="0" baseline="0" noProof="0" dirty="0">
              <a:ln>
                <a:noFill/>
              </a:ln>
              <a:solidFill>
                <a:srgbClr val="000000"/>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p:txBody>
      </p:sp>
      <p:sp>
        <p:nvSpPr>
          <p:cNvPr id="36" name="Object 1038">
            <a:extLst>
              <a:ext uri="{FF2B5EF4-FFF2-40B4-BE49-F238E27FC236}">
                <a16:creationId xmlns:a16="http://schemas.microsoft.com/office/drawing/2014/main" id="{DBE04337-0982-432F-BF7A-B9446852DBE4}"/>
              </a:ext>
            </a:extLst>
          </p:cNvPr>
          <p:cNvSpPr txBox="1"/>
          <p:nvPr/>
        </p:nvSpPr>
        <p:spPr>
          <a:xfrm>
            <a:off x="9657706" y="4615554"/>
            <a:ext cx="2008180" cy="343170"/>
          </a:xfrm>
          <a:prstGeom prst="rect">
            <a:avLst/>
          </a:prstGeom>
        </p:spPr>
        <p:txBody>
          <a:bodyPr vert="horz" lIns="0" tIns="0" rIns="0" bIns="0" rtlCol="0" anchor="t" anchorCtr="0">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zh-CN" altLang="en-US" sz="2260" b="0" i="0" u="none" strike="noStrike" kern="1200" cap="none" spc="0" normalizeH="0" baseline="0" noProof="0" dirty="0">
                <a:ln>
                  <a:noFill/>
                </a:ln>
                <a:solidFill>
                  <a:srgbClr val="333333"/>
                </a:solidFill>
                <a:effectLst/>
                <a:uLnTx/>
                <a:uFillTx/>
                <a:latin typeface="OPPOSans B" panose="00020600040101010101" pitchFamily="18" charset="-122"/>
                <a:ea typeface="OPPOSans B" panose="00020600040101010101" pitchFamily="18" charset="-122"/>
                <a:cs typeface="OPPOSans B" panose="00020600040101010101" pitchFamily="18" charset="-122"/>
              </a:rPr>
              <a:t>尊重</a:t>
            </a:r>
            <a:endParaRPr kumimoji="0" lang="zh-CN" altLang="en-US" sz="900" b="0" i="0" u="none" strike="noStrike" kern="1200" cap="none" spc="0" normalizeH="0" baseline="0" noProof="0">
              <a:ln>
                <a:noFill/>
              </a:ln>
              <a:solidFill>
                <a:srgbClr val="000000"/>
              </a:solidFill>
              <a:effectLst/>
              <a:uLnTx/>
              <a:uFillTx/>
              <a:latin typeface="OPPOSans B" panose="00020600040101010101" pitchFamily="18" charset="-122"/>
              <a:ea typeface="OPPOSans B" panose="00020600040101010101" pitchFamily="18" charset="-122"/>
              <a:cs typeface="OPPOSans B" panose="00020600040101010101" pitchFamily="18" charset="-122"/>
            </a:endParaRPr>
          </a:p>
        </p:txBody>
      </p:sp>
      <p:sp>
        <p:nvSpPr>
          <p:cNvPr id="37" name="Object 1039">
            <a:extLst>
              <a:ext uri="{FF2B5EF4-FFF2-40B4-BE49-F238E27FC236}">
                <a16:creationId xmlns:a16="http://schemas.microsoft.com/office/drawing/2014/main" id="{BCF7D818-6DC0-4A59-9711-75E725BDC718}"/>
              </a:ext>
            </a:extLst>
          </p:cNvPr>
          <p:cNvSpPr txBox="1"/>
          <p:nvPr/>
        </p:nvSpPr>
        <p:spPr>
          <a:xfrm>
            <a:off x="1208647" y="2812542"/>
            <a:ext cx="2700875" cy="419430"/>
          </a:xfrm>
          <a:prstGeom prst="rect">
            <a:avLst/>
          </a:prstGeom>
        </p:spPr>
        <p:txBody>
          <a:bodyPr vert="horz" lIns="0" tIns="0" rIns="0" bIns="0" rtlCol="0" anchor="t" anchorCtr="0">
            <a:noAutofit/>
          </a:bodyPr>
          <a:lstStyle/>
          <a:p>
            <a:pPr marL="0" marR="0" lvl="0" indent="0" algn="r" defTabSz="457200" rtl="0" eaLnBrk="1" fontAlgn="auto" latinLnBrk="0" hangingPunct="1">
              <a:lnSpc>
                <a:spcPct val="150000"/>
              </a:lnSpc>
              <a:spcBef>
                <a:spcPts val="0"/>
              </a:spcBef>
              <a:spcAft>
                <a:spcPts val="0"/>
              </a:spcAft>
              <a:buClrTx/>
              <a:buSzTx/>
              <a:buFontTx/>
              <a:buNone/>
              <a:tabLst/>
              <a:defRPr/>
            </a:pPr>
            <a:r>
              <a:rPr kumimoji="0" lang="zh-CN" altLang="en-US" sz="1200" b="0" i="0" u="none" strike="noStrike" kern="1200" cap="none" spc="0" normalizeH="0" baseline="0" noProof="0" dirty="0">
                <a:ln>
                  <a:noFill/>
                </a:ln>
                <a:solidFill>
                  <a:srgbClr val="777777"/>
                </a:solidFill>
                <a:effectLst/>
                <a:uLnTx/>
                <a:uFillTx/>
                <a:latin typeface="OPPOSans R" panose="00020600040101010101" pitchFamily="18" charset="-122"/>
                <a:ea typeface="OPPOSans R" panose="00020600040101010101" pitchFamily="18" charset="-122"/>
                <a:cs typeface="OPPOSans R" panose="00020600040101010101" pitchFamily="18" charset="-122"/>
              </a:rPr>
              <a:t>真心诚意地关心您的客户</a:t>
            </a:r>
            <a:endParaRPr kumimoji="0" lang="zh-CN" altLang="en-US" sz="550" b="0" i="0" u="none" strike="noStrike" kern="1200" cap="none" spc="0" normalizeH="0" baseline="0" noProof="0" dirty="0">
              <a:ln>
                <a:noFill/>
              </a:ln>
              <a:solidFill>
                <a:srgbClr val="000000"/>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p:txBody>
      </p:sp>
      <p:sp>
        <p:nvSpPr>
          <p:cNvPr id="38" name="Object 1040">
            <a:extLst>
              <a:ext uri="{FF2B5EF4-FFF2-40B4-BE49-F238E27FC236}">
                <a16:creationId xmlns:a16="http://schemas.microsoft.com/office/drawing/2014/main" id="{0DDDBA6A-D42D-42CA-8EB9-A6AE22817EE3}"/>
              </a:ext>
            </a:extLst>
          </p:cNvPr>
          <p:cNvSpPr txBox="1"/>
          <p:nvPr/>
        </p:nvSpPr>
        <p:spPr>
          <a:xfrm>
            <a:off x="1207791" y="2501081"/>
            <a:ext cx="2716984" cy="343170"/>
          </a:xfrm>
          <a:prstGeom prst="rect">
            <a:avLst/>
          </a:prstGeom>
        </p:spPr>
        <p:txBody>
          <a:bodyPr vert="horz" lIns="0" tIns="0" rIns="0" bIns="0" rtlCol="0" anchor="t" anchorCtr="0">
            <a:no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zh-CN" altLang="en-US" sz="2260" b="0" i="0" u="none" strike="noStrike" kern="1200" cap="none" spc="0" normalizeH="0" baseline="0" noProof="0" dirty="0">
                <a:ln>
                  <a:noFill/>
                </a:ln>
                <a:solidFill>
                  <a:srgbClr val="333333"/>
                </a:solidFill>
                <a:effectLst/>
                <a:uLnTx/>
                <a:uFillTx/>
                <a:latin typeface="OPPOSans B" panose="00020600040101010101" pitchFamily="18" charset="-122"/>
                <a:ea typeface="OPPOSans B" panose="00020600040101010101" pitchFamily="18" charset="-122"/>
                <a:cs typeface="OPPOSans B" panose="00020600040101010101" pitchFamily="18" charset="-122"/>
              </a:rPr>
              <a:t>诚信</a:t>
            </a:r>
            <a:endParaRPr kumimoji="0" lang="zh-CN" altLang="en-US" sz="900" b="0" i="0" u="none" strike="noStrike" kern="1200" cap="none" spc="0" normalizeH="0" baseline="0" noProof="0">
              <a:ln>
                <a:noFill/>
              </a:ln>
              <a:solidFill>
                <a:srgbClr val="000000"/>
              </a:solidFill>
              <a:effectLst/>
              <a:uLnTx/>
              <a:uFillTx/>
              <a:latin typeface="OPPOSans B" panose="00020600040101010101" pitchFamily="18" charset="-122"/>
              <a:ea typeface="OPPOSans B" panose="00020600040101010101" pitchFamily="18" charset="-122"/>
              <a:cs typeface="OPPOSans B" panose="00020600040101010101" pitchFamily="18" charset="-122"/>
            </a:endParaRPr>
          </a:p>
        </p:txBody>
      </p:sp>
      <p:sp>
        <p:nvSpPr>
          <p:cNvPr id="39" name="Object 1041">
            <a:extLst>
              <a:ext uri="{FF2B5EF4-FFF2-40B4-BE49-F238E27FC236}">
                <a16:creationId xmlns:a16="http://schemas.microsoft.com/office/drawing/2014/main" id="{E42B6EF1-8895-4D5F-A3A4-2689A0B7B463}"/>
              </a:ext>
            </a:extLst>
          </p:cNvPr>
          <p:cNvSpPr txBox="1"/>
          <p:nvPr/>
        </p:nvSpPr>
        <p:spPr>
          <a:xfrm>
            <a:off x="928551" y="4242549"/>
            <a:ext cx="2008180" cy="419430"/>
          </a:xfrm>
          <a:prstGeom prst="rect">
            <a:avLst/>
          </a:prstGeom>
        </p:spPr>
        <p:txBody>
          <a:bodyPr vert="horz" lIns="0" tIns="0" rIns="0" bIns="0" rtlCol="0" anchor="t" anchorCtr="0">
            <a:noAutofit/>
          </a:bodyPr>
          <a:lstStyle/>
          <a:p>
            <a:pPr marL="0" marR="0" lvl="0" indent="0" algn="r" defTabSz="457200" rtl="0" eaLnBrk="1" fontAlgn="auto" latinLnBrk="0" hangingPunct="1">
              <a:lnSpc>
                <a:spcPct val="150000"/>
              </a:lnSpc>
              <a:spcBef>
                <a:spcPts val="0"/>
              </a:spcBef>
              <a:spcAft>
                <a:spcPts val="0"/>
              </a:spcAft>
              <a:buClrTx/>
              <a:buSzTx/>
              <a:buFontTx/>
              <a:buNone/>
              <a:tabLst/>
              <a:defRPr/>
            </a:pPr>
            <a:r>
              <a:rPr kumimoji="0" lang="zh-CN" altLang="en-US" sz="1200" b="0" i="0" u="none" strike="noStrike" kern="1200" cap="none" spc="0" normalizeH="0" baseline="0" noProof="0" dirty="0">
                <a:ln>
                  <a:noFill/>
                </a:ln>
                <a:solidFill>
                  <a:srgbClr val="777777"/>
                </a:solidFill>
                <a:effectLst/>
                <a:uLnTx/>
                <a:uFillTx/>
                <a:latin typeface="OPPOSans R" panose="00020600040101010101" pitchFamily="18" charset="-122"/>
                <a:ea typeface="OPPOSans R" panose="00020600040101010101" pitchFamily="18" charset="-122"/>
                <a:cs typeface="OPPOSans R" panose="00020600040101010101" pitchFamily="18" charset="-122"/>
              </a:rPr>
              <a:t>鞭策自己的意志力</a:t>
            </a:r>
            <a:endParaRPr kumimoji="0" lang="zh-CN" altLang="en-US" sz="550" b="0" i="0" u="none" strike="noStrike" kern="1200" cap="none" spc="0" normalizeH="0" baseline="0" noProof="0">
              <a:ln>
                <a:noFill/>
              </a:ln>
              <a:solidFill>
                <a:srgbClr val="000000"/>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p:txBody>
      </p:sp>
      <p:sp>
        <p:nvSpPr>
          <p:cNvPr id="40" name="Object 1042">
            <a:extLst>
              <a:ext uri="{FF2B5EF4-FFF2-40B4-BE49-F238E27FC236}">
                <a16:creationId xmlns:a16="http://schemas.microsoft.com/office/drawing/2014/main" id="{F881D56A-A9C5-4879-89D6-25E5D223AFE1}"/>
              </a:ext>
            </a:extLst>
          </p:cNvPr>
          <p:cNvSpPr txBox="1"/>
          <p:nvPr/>
        </p:nvSpPr>
        <p:spPr>
          <a:xfrm>
            <a:off x="1092584" y="3894906"/>
            <a:ext cx="1859270" cy="343170"/>
          </a:xfrm>
          <a:prstGeom prst="rect">
            <a:avLst/>
          </a:prstGeom>
        </p:spPr>
        <p:txBody>
          <a:bodyPr vert="horz" lIns="0" tIns="0" rIns="0" bIns="0" rtlCol="0" anchor="t" anchorCtr="0">
            <a:no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zh-CN" altLang="en-US" sz="2260" b="0" i="0" u="none" strike="noStrike" kern="1200" cap="none" spc="0" normalizeH="0" baseline="0" noProof="0" dirty="0">
                <a:ln>
                  <a:noFill/>
                </a:ln>
                <a:solidFill>
                  <a:srgbClr val="333333"/>
                </a:solidFill>
                <a:effectLst/>
                <a:uLnTx/>
                <a:uFillTx/>
                <a:latin typeface="OPPOSans B" panose="00020600040101010101" pitchFamily="18" charset="-122"/>
                <a:ea typeface="OPPOSans B" panose="00020600040101010101" pitchFamily="18" charset="-122"/>
                <a:cs typeface="OPPOSans B" panose="00020600040101010101" pitchFamily="18" charset="-122"/>
              </a:rPr>
              <a:t>忍耐</a:t>
            </a:r>
            <a:endParaRPr kumimoji="0" lang="zh-CN" altLang="en-US" sz="900" b="0" i="0" u="none" strike="noStrike" kern="1200" cap="none" spc="0" normalizeH="0" baseline="0" noProof="0">
              <a:ln>
                <a:noFill/>
              </a:ln>
              <a:solidFill>
                <a:srgbClr val="000000"/>
              </a:solidFill>
              <a:effectLst/>
              <a:uLnTx/>
              <a:uFillTx/>
              <a:latin typeface="OPPOSans B" panose="00020600040101010101" pitchFamily="18" charset="-122"/>
              <a:ea typeface="OPPOSans B" panose="00020600040101010101" pitchFamily="18" charset="-122"/>
              <a:cs typeface="OPPOSans B" panose="00020600040101010101" pitchFamily="18" charset="-122"/>
            </a:endParaRPr>
          </a:p>
        </p:txBody>
      </p:sp>
      <p:sp>
        <p:nvSpPr>
          <p:cNvPr id="43" name="Object 101">
            <a:extLst>
              <a:ext uri="{FF2B5EF4-FFF2-40B4-BE49-F238E27FC236}">
                <a16:creationId xmlns:a16="http://schemas.microsoft.com/office/drawing/2014/main" id="{3F9AEA76-AE3D-4E58-99AC-33111C9AABC2}"/>
              </a:ext>
            </a:extLst>
          </p:cNvPr>
          <p:cNvSpPr txBox="1"/>
          <p:nvPr/>
        </p:nvSpPr>
        <p:spPr>
          <a:xfrm>
            <a:off x="738584" y="1010094"/>
            <a:ext cx="3350712" cy="260555"/>
          </a:xfrm>
          <a:prstGeom prst="rect">
            <a:avLst/>
          </a:prstGeom>
        </p:spPr>
        <p:txBody>
          <a:bodyPr vert="horz" lIns="0" tIns="0" rIns="0" bIns="0" rtlCol="0" anchor="t" anchorCtr="0">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altLang="zh-CN" sz="1700" b="0" i="0" u="none" strike="noStrike" kern="1200" cap="none" spc="0" normalizeH="0" baseline="0" noProof="0" dirty="0">
                <a:ln>
                  <a:noFill/>
                </a:ln>
                <a:solidFill>
                  <a:srgbClr val="535353"/>
                </a:solidFill>
                <a:effectLst/>
                <a:uLnTx/>
                <a:uFillTx/>
                <a:latin typeface="OPPOSans R" panose="00020600040101010101" pitchFamily="18" charset="-122"/>
                <a:ea typeface="OPPOSans R" panose="00020600040101010101" pitchFamily="18" charset="-122"/>
                <a:cs typeface="OPPOSans R" panose="00020600040101010101" pitchFamily="18" charset="-122"/>
              </a:rPr>
              <a:t>Enter a title here</a:t>
            </a:r>
            <a:endParaRPr kumimoji="0" lang="zh-CN" altLang="en-US" sz="900" b="0" i="0" u="none" strike="noStrike" kern="1200" cap="none" spc="0" normalizeH="0" baseline="0" noProof="0">
              <a:ln>
                <a:noFill/>
              </a:ln>
              <a:solidFill>
                <a:srgbClr val="000000"/>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p:txBody>
      </p:sp>
      <p:sp>
        <p:nvSpPr>
          <p:cNvPr id="44" name="Object 102">
            <a:extLst>
              <a:ext uri="{FF2B5EF4-FFF2-40B4-BE49-F238E27FC236}">
                <a16:creationId xmlns:a16="http://schemas.microsoft.com/office/drawing/2014/main" id="{F9513C15-1FF3-4B85-84FC-43FD3CBADE77}"/>
              </a:ext>
            </a:extLst>
          </p:cNvPr>
          <p:cNvSpPr txBox="1"/>
          <p:nvPr/>
        </p:nvSpPr>
        <p:spPr>
          <a:xfrm>
            <a:off x="723007" y="554780"/>
            <a:ext cx="3366301" cy="457560"/>
          </a:xfrm>
          <a:prstGeom prst="rect">
            <a:avLst/>
          </a:prstGeom>
        </p:spPr>
        <p:txBody>
          <a:bodyPr vert="horz" lIns="0" tIns="0" rIns="0" bIns="0" rtlCol="0" anchor="t" anchorCtr="0">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zh-CN" altLang="en-US" sz="3000" b="0" i="0" u="none" strike="noStrike" kern="1200" cap="none" spc="0" normalizeH="0" baseline="0" noProof="0" dirty="0">
                <a:ln>
                  <a:noFill/>
                </a:ln>
                <a:solidFill>
                  <a:srgbClr val="1B1B1B"/>
                </a:solidFill>
                <a:effectLst/>
                <a:uLnTx/>
                <a:uFillTx/>
                <a:latin typeface="OPPOSans B" panose="00020600040101010101" pitchFamily="18" charset="-122"/>
                <a:ea typeface="OPPOSans B" panose="00020600040101010101" pitchFamily="18" charset="-122"/>
                <a:cs typeface="OPPOSans B" panose="00020600040101010101" pitchFamily="18" charset="-122"/>
              </a:rPr>
              <a:t>在此输入标题</a:t>
            </a:r>
            <a:endParaRPr kumimoji="0" lang="zh-CN" altLang="en-US" sz="900" b="0" i="0" u="none" strike="noStrike" kern="1200" cap="none" spc="0" normalizeH="0" baseline="0" noProof="0" dirty="0">
              <a:ln>
                <a:noFill/>
              </a:ln>
              <a:solidFill>
                <a:srgbClr val="000000"/>
              </a:solidFill>
              <a:effectLst/>
              <a:uLnTx/>
              <a:uFillTx/>
              <a:latin typeface="OPPOSans B" panose="00020600040101010101" pitchFamily="18" charset="-122"/>
              <a:ea typeface="OPPOSans B" panose="00020600040101010101" pitchFamily="18" charset="-122"/>
              <a:cs typeface="OPPOSans B" panose="00020600040101010101" pitchFamily="18" charset="-122"/>
            </a:endParaRPr>
          </a:p>
        </p:txBody>
      </p:sp>
    </p:spTree>
    <p:extLst>
      <p:ext uri="{BB962C8B-B14F-4D97-AF65-F5344CB8AC3E}">
        <p14:creationId xmlns:p14="http://schemas.microsoft.com/office/powerpoint/2010/main" val="3018110723"/>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5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 name="gaoding-1">
            <a:extLst>
              <a:ext uri="{FF2B5EF4-FFF2-40B4-BE49-F238E27FC236}">
                <a16:creationId xmlns:a16="http://schemas.microsoft.com/office/drawing/2014/main" id="{B1A95BEA-AB6D-1B8C-33AA-8166D32CA2DB}"/>
              </a:ext>
            </a:extLst>
          </p:cNvPr>
          <p:cNvSpPr/>
          <p:nvPr/>
        </p:nvSpPr>
        <p:spPr>
          <a:xfrm>
            <a:off x="7734111" y="2366535"/>
            <a:ext cx="3786280" cy="1246041"/>
          </a:xfrm>
          <a:prstGeom prst="roundRect">
            <a:avLst>
              <a:gd name="adj" fmla="val 5006"/>
            </a:avLst>
          </a:prstGeom>
          <a:solidFill>
            <a:schemeClr val="bg1"/>
          </a:solidFill>
          <a:ln w="6350">
            <a:gradFill>
              <a:gsLst>
                <a:gs pos="0">
                  <a:schemeClr val="accent1">
                    <a:lumMod val="40000"/>
                    <a:lumOff val="60000"/>
                  </a:schemeClr>
                </a:gs>
                <a:gs pos="100000">
                  <a:schemeClr val="accent1">
                    <a:lumMod val="40000"/>
                    <a:lumOff val="60000"/>
                    <a:alpha val="0"/>
                  </a:schemeClr>
                </a:gs>
              </a:gsLst>
              <a:lin ang="10800000" scaled="0"/>
            </a:grad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200" b="0" i="0" u="none" strike="noStrike" kern="1200" cap="none" spc="0" normalizeH="0" baseline="0" noProof="0" dirty="0">
              <a:ln>
                <a:noFill/>
              </a:ln>
              <a:solidFill>
                <a:srgbClr val="FFFFFF"/>
              </a:solidFill>
              <a:effectLst/>
              <a:uLnTx/>
              <a:uFillTx/>
              <a:latin typeface="OPPOSans R"/>
              <a:ea typeface="OPPOSans R"/>
              <a:cs typeface="+mn-cs"/>
            </a:endParaRPr>
          </a:p>
        </p:txBody>
      </p:sp>
      <p:sp>
        <p:nvSpPr>
          <p:cNvPr id="59" name="gaoding-2">
            <a:extLst>
              <a:ext uri="{FF2B5EF4-FFF2-40B4-BE49-F238E27FC236}">
                <a16:creationId xmlns:a16="http://schemas.microsoft.com/office/drawing/2014/main" id="{F2F18E7C-61AF-43F8-0A07-402B437E821C}"/>
              </a:ext>
            </a:extLst>
          </p:cNvPr>
          <p:cNvSpPr/>
          <p:nvPr/>
        </p:nvSpPr>
        <p:spPr>
          <a:xfrm>
            <a:off x="7736576" y="2339573"/>
            <a:ext cx="3786280" cy="507573"/>
          </a:xfrm>
          <a:prstGeom prst="round2SameRect">
            <a:avLst>
              <a:gd name="adj1" fmla="val 17249"/>
              <a:gd name="adj2" fmla="val 0"/>
            </a:avLst>
          </a:prstGeom>
          <a:gradFill flip="none" rotWithShape="1">
            <a:gsLst>
              <a:gs pos="1000">
                <a:schemeClr val="accent1"/>
              </a:gs>
              <a:gs pos="100000">
                <a:schemeClr val="accent1">
                  <a:lumMod val="60000"/>
                  <a:lumOff val="40000"/>
                  <a:alpha val="0"/>
                </a:schemeClr>
              </a:gs>
            </a:gsLst>
            <a:lin ang="108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200" b="0" i="0" u="none" strike="noStrike" kern="1200" cap="none" spc="0" normalizeH="0" baseline="0" noProof="0" dirty="0">
              <a:ln>
                <a:noFill/>
              </a:ln>
              <a:solidFill>
                <a:srgbClr val="FFFFFF"/>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p:txBody>
      </p:sp>
      <p:sp>
        <p:nvSpPr>
          <p:cNvPr id="60" name="gaoding-3">
            <a:extLst>
              <a:ext uri="{FF2B5EF4-FFF2-40B4-BE49-F238E27FC236}">
                <a16:creationId xmlns:a16="http://schemas.microsoft.com/office/drawing/2014/main" id="{B1A13FF0-311E-310F-DED5-413F3A429808}"/>
              </a:ext>
            </a:extLst>
          </p:cNvPr>
          <p:cNvSpPr/>
          <p:nvPr/>
        </p:nvSpPr>
        <p:spPr>
          <a:xfrm>
            <a:off x="7734111" y="3965432"/>
            <a:ext cx="3786280" cy="1246041"/>
          </a:xfrm>
          <a:prstGeom prst="roundRect">
            <a:avLst>
              <a:gd name="adj" fmla="val 5006"/>
            </a:avLst>
          </a:prstGeom>
          <a:solidFill>
            <a:schemeClr val="bg1"/>
          </a:solidFill>
          <a:ln w="6350">
            <a:gradFill>
              <a:gsLst>
                <a:gs pos="0">
                  <a:schemeClr val="accent1">
                    <a:lumMod val="40000"/>
                    <a:lumOff val="60000"/>
                  </a:schemeClr>
                </a:gs>
                <a:gs pos="100000">
                  <a:schemeClr val="accent1">
                    <a:lumMod val="40000"/>
                    <a:lumOff val="60000"/>
                    <a:alpha val="0"/>
                  </a:schemeClr>
                </a:gs>
              </a:gsLst>
              <a:lin ang="10800000" scaled="0"/>
            </a:grad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200" b="0" i="0" u="none" strike="noStrike" kern="1200" cap="none" spc="0" normalizeH="0" baseline="0" noProof="0" dirty="0">
              <a:ln>
                <a:noFill/>
              </a:ln>
              <a:solidFill>
                <a:srgbClr val="FFFFFF"/>
              </a:solidFill>
              <a:effectLst/>
              <a:uLnTx/>
              <a:uFillTx/>
              <a:latin typeface="OPPOSans R"/>
              <a:ea typeface="OPPOSans R"/>
              <a:cs typeface="+mn-cs"/>
            </a:endParaRPr>
          </a:p>
        </p:txBody>
      </p:sp>
      <p:sp>
        <p:nvSpPr>
          <p:cNvPr id="61" name="gaoding-4">
            <a:extLst>
              <a:ext uri="{FF2B5EF4-FFF2-40B4-BE49-F238E27FC236}">
                <a16:creationId xmlns:a16="http://schemas.microsoft.com/office/drawing/2014/main" id="{18536C75-A242-578B-3FCF-D2837A43DB26}"/>
              </a:ext>
            </a:extLst>
          </p:cNvPr>
          <p:cNvSpPr/>
          <p:nvPr/>
        </p:nvSpPr>
        <p:spPr>
          <a:xfrm>
            <a:off x="7736576" y="3949002"/>
            <a:ext cx="3786280" cy="507573"/>
          </a:xfrm>
          <a:prstGeom prst="round2SameRect">
            <a:avLst>
              <a:gd name="adj1" fmla="val 17249"/>
              <a:gd name="adj2" fmla="val 0"/>
            </a:avLst>
          </a:prstGeom>
          <a:gradFill flip="none" rotWithShape="1">
            <a:gsLst>
              <a:gs pos="1000">
                <a:schemeClr val="accent1"/>
              </a:gs>
              <a:gs pos="100000">
                <a:schemeClr val="accent1">
                  <a:lumMod val="60000"/>
                  <a:lumOff val="40000"/>
                  <a:alpha val="0"/>
                </a:schemeClr>
              </a:gs>
            </a:gsLst>
            <a:lin ang="108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200" b="0" i="0" u="none" strike="noStrike" kern="1200" cap="none" spc="0" normalizeH="0" baseline="0" noProof="0" dirty="0">
              <a:ln>
                <a:noFill/>
              </a:ln>
              <a:solidFill>
                <a:srgbClr val="FFFFFF"/>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p:txBody>
      </p:sp>
      <p:sp>
        <p:nvSpPr>
          <p:cNvPr id="62" name="gaoding-5">
            <a:extLst>
              <a:ext uri="{FF2B5EF4-FFF2-40B4-BE49-F238E27FC236}">
                <a16:creationId xmlns:a16="http://schemas.microsoft.com/office/drawing/2014/main" id="{C5924F7B-5163-2913-1A3A-1A5BB820829F}"/>
              </a:ext>
            </a:extLst>
          </p:cNvPr>
          <p:cNvSpPr/>
          <p:nvPr/>
        </p:nvSpPr>
        <p:spPr>
          <a:xfrm>
            <a:off x="660401" y="3965263"/>
            <a:ext cx="3786280" cy="1246041"/>
          </a:xfrm>
          <a:prstGeom prst="roundRect">
            <a:avLst>
              <a:gd name="adj" fmla="val 5006"/>
            </a:avLst>
          </a:prstGeom>
          <a:solidFill>
            <a:schemeClr val="bg1"/>
          </a:solidFill>
          <a:ln w="6350">
            <a:gradFill>
              <a:gsLst>
                <a:gs pos="0">
                  <a:schemeClr val="accent1">
                    <a:lumMod val="40000"/>
                    <a:lumOff val="60000"/>
                  </a:schemeClr>
                </a:gs>
                <a:gs pos="100000">
                  <a:schemeClr val="accent1">
                    <a:lumMod val="40000"/>
                    <a:lumOff val="60000"/>
                    <a:alpha val="0"/>
                  </a:schemeClr>
                </a:gs>
              </a:gsLst>
              <a:lin ang="0" scaled="0"/>
            </a:grad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200" b="0" i="0" u="none" strike="noStrike" kern="1200" cap="none" spc="0" normalizeH="0" baseline="0" noProof="0" dirty="0">
              <a:ln>
                <a:noFill/>
              </a:ln>
              <a:solidFill>
                <a:srgbClr val="FFFFFF"/>
              </a:solidFill>
              <a:effectLst/>
              <a:uLnTx/>
              <a:uFillTx/>
              <a:latin typeface="OPPOSans R"/>
              <a:ea typeface="OPPOSans R"/>
              <a:cs typeface="+mn-cs"/>
            </a:endParaRPr>
          </a:p>
        </p:txBody>
      </p:sp>
      <p:sp>
        <p:nvSpPr>
          <p:cNvPr id="63" name="gaoding-6">
            <a:extLst>
              <a:ext uri="{FF2B5EF4-FFF2-40B4-BE49-F238E27FC236}">
                <a16:creationId xmlns:a16="http://schemas.microsoft.com/office/drawing/2014/main" id="{F16E0E93-C510-0AF3-19B7-7A1DC5A14115}"/>
              </a:ext>
            </a:extLst>
          </p:cNvPr>
          <p:cNvSpPr/>
          <p:nvPr/>
        </p:nvSpPr>
        <p:spPr>
          <a:xfrm>
            <a:off x="666205" y="3948833"/>
            <a:ext cx="3786280" cy="507573"/>
          </a:xfrm>
          <a:prstGeom prst="round2SameRect">
            <a:avLst>
              <a:gd name="adj1" fmla="val 17249"/>
              <a:gd name="adj2" fmla="val 0"/>
            </a:avLst>
          </a:prstGeom>
          <a:gradFill flip="none" rotWithShape="1">
            <a:gsLst>
              <a:gs pos="1000">
                <a:schemeClr val="accent1"/>
              </a:gs>
              <a:gs pos="100000">
                <a:schemeClr val="accent1">
                  <a:lumMod val="60000"/>
                  <a:lumOff val="40000"/>
                  <a:alpha val="0"/>
                </a:schemeClr>
              </a:gs>
            </a:gsLst>
            <a:lin ang="27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200" b="0" i="0" u="none" strike="noStrike" kern="1200" cap="none" spc="0" normalizeH="0" baseline="0" noProof="0" dirty="0">
              <a:ln>
                <a:noFill/>
              </a:ln>
              <a:solidFill>
                <a:srgbClr val="FFFFFF"/>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p:txBody>
      </p:sp>
      <p:sp>
        <p:nvSpPr>
          <p:cNvPr id="64" name="gaoding-7">
            <a:extLst>
              <a:ext uri="{FF2B5EF4-FFF2-40B4-BE49-F238E27FC236}">
                <a16:creationId xmlns:a16="http://schemas.microsoft.com/office/drawing/2014/main" id="{C1BA4F60-DD20-E5E0-BE96-95AB4B299EAD}"/>
              </a:ext>
            </a:extLst>
          </p:cNvPr>
          <p:cNvSpPr/>
          <p:nvPr/>
        </p:nvSpPr>
        <p:spPr>
          <a:xfrm>
            <a:off x="669139" y="2370586"/>
            <a:ext cx="3786280" cy="1246041"/>
          </a:xfrm>
          <a:prstGeom prst="roundRect">
            <a:avLst>
              <a:gd name="adj" fmla="val 5006"/>
            </a:avLst>
          </a:prstGeom>
          <a:solidFill>
            <a:schemeClr val="bg1"/>
          </a:solidFill>
          <a:ln w="6350">
            <a:gradFill>
              <a:gsLst>
                <a:gs pos="0">
                  <a:schemeClr val="accent1">
                    <a:lumMod val="40000"/>
                    <a:lumOff val="60000"/>
                  </a:schemeClr>
                </a:gs>
                <a:gs pos="100000">
                  <a:schemeClr val="accent1">
                    <a:lumMod val="40000"/>
                    <a:lumOff val="60000"/>
                    <a:alpha val="0"/>
                  </a:schemeClr>
                </a:gs>
              </a:gsLst>
              <a:lin ang="0" scaled="0"/>
            </a:grad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200" b="0" i="0" u="none" strike="noStrike" kern="1200" cap="none" spc="0" normalizeH="0" baseline="0" noProof="0" dirty="0">
              <a:ln>
                <a:noFill/>
              </a:ln>
              <a:solidFill>
                <a:srgbClr val="FFFFFF"/>
              </a:solidFill>
              <a:effectLst/>
              <a:uLnTx/>
              <a:uFillTx/>
              <a:latin typeface="OPPOSans R"/>
              <a:ea typeface="OPPOSans R"/>
              <a:cs typeface="+mn-cs"/>
            </a:endParaRPr>
          </a:p>
        </p:txBody>
      </p:sp>
      <p:sp>
        <p:nvSpPr>
          <p:cNvPr id="65" name="gaoding-8">
            <a:extLst>
              <a:ext uri="{FF2B5EF4-FFF2-40B4-BE49-F238E27FC236}">
                <a16:creationId xmlns:a16="http://schemas.microsoft.com/office/drawing/2014/main" id="{50F0C646-9A2B-4B28-9F11-EC08E9F5F01D}"/>
              </a:ext>
            </a:extLst>
          </p:cNvPr>
          <p:cNvSpPr/>
          <p:nvPr/>
        </p:nvSpPr>
        <p:spPr>
          <a:xfrm>
            <a:off x="669139" y="2342061"/>
            <a:ext cx="3786280" cy="507573"/>
          </a:xfrm>
          <a:prstGeom prst="round2SameRect">
            <a:avLst>
              <a:gd name="adj1" fmla="val 17249"/>
              <a:gd name="adj2" fmla="val 0"/>
            </a:avLst>
          </a:prstGeom>
          <a:gradFill flip="none" rotWithShape="1">
            <a:gsLst>
              <a:gs pos="1000">
                <a:schemeClr val="accent1"/>
              </a:gs>
              <a:gs pos="100000">
                <a:schemeClr val="accent1">
                  <a:lumMod val="60000"/>
                  <a:lumOff val="40000"/>
                  <a:alpha val="0"/>
                </a:schemeClr>
              </a:gs>
            </a:gsLst>
            <a:lin ang="27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200" b="0" i="0" u="none" strike="noStrike" kern="1200" cap="none" spc="0" normalizeH="0" baseline="0" noProof="0" dirty="0">
              <a:ln>
                <a:noFill/>
              </a:ln>
              <a:solidFill>
                <a:srgbClr val="FFFFFF"/>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p:txBody>
      </p:sp>
      <p:sp>
        <p:nvSpPr>
          <p:cNvPr id="73" name="gaoding-9">
            <a:extLst>
              <a:ext uri="{FF2B5EF4-FFF2-40B4-BE49-F238E27FC236}">
                <a16:creationId xmlns:a16="http://schemas.microsoft.com/office/drawing/2014/main" id="{E979D544-11E7-C500-B58A-A0FFF698B348}"/>
              </a:ext>
            </a:extLst>
          </p:cNvPr>
          <p:cNvSpPr txBox="1"/>
          <p:nvPr/>
        </p:nvSpPr>
        <p:spPr>
          <a:xfrm>
            <a:off x="987272" y="2971207"/>
            <a:ext cx="3083847" cy="397664"/>
          </a:xfrm>
          <a:prstGeom prst="rect">
            <a:avLst/>
          </a:prstGeom>
          <a:noFill/>
        </p:spPr>
        <p:txBody>
          <a:bodyPr wrap="square" lIns="0" tIns="0" rIns="0" bIns="0" rtlCol="0">
            <a:noAutofit/>
          </a:bodyPr>
          <a:lstStyle/>
          <a:p>
            <a:pPr marL="0" marR="0" lvl="0" indent="0" algn="l" defTabSz="914400" rtl="0" eaLnBrk="1" fontAlgn="auto" latinLnBrk="0" hangingPunct="1">
              <a:lnSpc>
                <a:spcPct val="130000"/>
              </a:lnSpc>
              <a:spcBef>
                <a:spcPts val="0"/>
              </a:spcBef>
              <a:spcAft>
                <a:spcPts val="0"/>
              </a:spcAft>
              <a:buClrTx/>
              <a:buSzTx/>
              <a:buFontTx/>
              <a:buNone/>
              <a:tabLst/>
              <a:defRPr/>
            </a:pPr>
            <a:r>
              <a:rPr kumimoji="0" lang="zh-CN" altLang="en-US" sz="1050" b="0" i="0" u="none" strike="noStrike" kern="1200" cap="none" spc="0" normalizeH="0" baseline="0" noProof="0" dirty="0">
                <a:ln>
                  <a:noFill/>
                </a:ln>
                <a:solidFill>
                  <a:srgbClr val="000000">
                    <a:lumMod val="85000"/>
                    <a:lumOff val="15000"/>
                  </a:srgbClr>
                </a:solidFill>
                <a:effectLst/>
                <a:uLnTx/>
                <a:uFillTx/>
                <a:latin typeface="OPPOSans R"/>
                <a:ea typeface="OPPOSans R"/>
                <a:cs typeface="+mn-cs"/>
              </a:rPr>
              <a:t>参与公司本月活动的策划以及落地执行，熟悉了活动落地的整体流程</a:t>
            </a:r>
          </a:p>
        </p:txBody>
      </p:sp>
      <p:sp>
        <p:nvSpPr>
          <p:cNvPr id="74" name="gaoding-10">
            <a:extLst>
              <a:ext uri="{FF2B5EF4-FFF2-40B4-BE49-F238E27FC236}">
                <a16:creationId xmlns:a16="http://schemas.microsoft.com/office/drawing/2014/main" id="{A517F109-1ED8-62E4-5AEA-E0B7B5221D52}"/>
              </a:ext>
            </a:extLst>
          </p:cNvPr>
          <p:cNvSpPr txBox="1"/>
          <p:nvPr/>
        </p:nvSpPr>
        <p:spPr>
          <a:xfrm>
            <a:off x="1488232" y="2529168"/>
            <a:ext cx="743534" cy="406317"/>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200" b="0" i="0" u="none" strike="noStrike" kern="1200" cap="none" spc="0" normalizeH="0" baseline="0" noProof="0" dirty="0">
                <a:ln>
                  <a:noFill/>
                </a:ln>
                <a:solidFill>
                  <a:srgbClr val="FFFFFF"/>
                </a:solidFill>
                <a:effectLst/>
                <a:uLnTx/>
                <a:uFillTx/>
                <a:latin typeface="OPPOSans B" panose="00020600040101010101" pitchFamily="18" charset="-122"/>
                <a:ea typeface="OPPOSans B" panose="00020600040101010101" pitchFamily="18" charset="-122"/>
                <a:cs typeface="OPPOSans B" panose="00020600040101010101" pitchFamily="18" charset="-122"/>
              </a:rPr>
              <a:t>宣传推广 </a:t>
            </a:r>
          </a:p>
        </p:txBody>
      </p:sp>
      <p:sp>
        <p:nvSpPr>
          <p:cNvPr id="76" name="gaoding-11">
            <a:extLst>
              <a:ext uri="{FF2B5EF4-FFF2-40B4-BE49-F238E27FC236}">
                <a16:creationId xmlns:a16="http://schemas.microsoft.com/office/drawing/2014/main" id="{D38CE94F-2855-7BA5-04AB-3A6FE6830FA6}"/>
              </a:ext>
            </a:extLst>
          </p:cNvPr>
          <p:cNvSpPr txBox="1"/>
          <p:nvPr/>
        </p:nvSpPr>
        <p:spPr>
          <a:xfrm>
            <a:off x="984337" y="4577980"/>
            <a:ext cx="3083847" cy="397664"/>
          </a:xfrm>
          <a:prstGeom prst="rect">
            <a:avLst/>
          </a:prstGeom>
          <a:noFill/>
        </p:spPr>
        <p:txBody>
          <a:bodyPr wrap="square" lIns="0" tIns="0" rIns="0" bIns="0" rtlCol="0">
            <a:noAutofit/>
          </a:bodyPr>
          <a:lstStyle/>
          <a:p>
            <a:pPr marL="0" marR="0" lvl="0" indent="0" algn="l" defTabSz="914400" rtl="0" eaLnBrk="1" fontAlgn="auto" latinLnBrk="0" hangingPunct="1">
              <a:lnSpc>
                <a:spcPct val="130000"/>
              </a:lnSpc>
              <a:spcBef>
                <a:spcPts val="0"/>
              </a:spcBef>
              <a:spcAft>
                <a:spcPts val="0"/>
              </a:spcAft>
              <a:buClrTx/>
              <a:buSzTx/>
              <a:buFontTx/>
              <a:buNone/>
              <a:tabLst/>
              <a:defRPr/>
            </a:pPr>
            <a:r>
              <a:rPr kumimoji="0" lang="zh-CN" altLang="en-US" sz="1050" b="0" i="0" u="none" strike="noStrike" kern="1200" cap="none" spc="0" normalizeH="0" baseline="0" noProof="0" dirty="0">
                <a:ln>
                  <a:noFill/>
                </a:ln>
                <a:solidFill>
                  <a:srgbClr val="000000">
                    <a:lumMod val="85000"/>
                    <a:lumOff val="15000"/>
                  </a:srgbClr>
                </a:solidFill>
                <a:effectLst/>
                <a:uLnTx/>
                <a:uFillTx/>
                <a:latin typeface="OPPOSans R"/>
                <a:ea typeface="OPPOSans R"/>
                <a:cs typeface="+mn-cs"/>
              </a:rPr>
              <a:t>对多次合作的媒体进行了维护，新开拓媒体资源</a:t>
            </a:r>
          </a:p>
        </p:txBody>
      </p:sp>
      <p:sp>
        <p:nvSpPr>
          <p:cNvPr id="77" name="gaoding-12">
            <a:extLst>
              <a:ext uri="{FF2B5EF4-FFF2-40B4-BE49-F238E27FC236}">
                <a16:creationId xmlns:a16="http://schemas.microsoft.com/office/drawing/2014/main" id="{D787CD32-7836-7A1B-7A6C-DD39EA1A5E42}"/>
              </a:ext>
            </a:extLst>
          </p:cNvPr>
          <p:cNvSpPr txBox="1"/>
          <p:nvPr/>
        </p:nvSpPr>
        <p:spPr>
          <a:xfrm>
            <a:off x="1488232" y="4136067"/>
            <a:ext cx="743534" cy="406317"/>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200" b="0" i="0" u="none" strike="noStrike" kern="1200" cap="none" spc="0" normalizeH="0" baseline="0" noProof="0" dirty="0">
                <a:ln>
                  <a:noFill/>
                </a:ln>
                <a:solidFill>
                  <a:srgbClr val="FFFFFF"/>
                </a:solidFill>
                <a:effectLst/>
                <a:uLnTx/>
                <a:uFillTx/>
                <a:latin typeface="OPPOSans B" panose="00020600040101010101" pitchFamily="18" charset="-122"/>
                <a:ea typeface="OPPOSans B" panose="00020600040101010101" pitchFamily="18" charset="-122"/>
                <a:cs typeface="OPPOSans B" panose="00020600040101010101" pitchFamily="18" charset="-122"/>
              </a:rPr>
              <a:t>媒体维护</a:t>
            </a:r>
          </a:p>
        </p:txBody>
      </p:sp>
      <p:sp>
        <p:nvSpPr>
          <p:cNvPr id="79" name="gaoding-13">
            <a:extLst>
              <a:ext uri="{FF2B5EF4-FFF2-40B4-BE49-F238E27FC236}">
                <a16:creationId xmlns:a16="http://schemas.microsoft.com/office/drawing/2014/main" id="{5D1E6F6F-CC54-D1C0-C648-29B1AD400F0F}"/>
              </a:ext>
            </a:extLst>
          </p:cNvPr>
          <p:cNvSpPr txBox="1"/>
          <p:nvPr/>
        </p:nvSpPr>
        <p:spPr>
          <a:xfrm>
            <a:off x="8453118" y="4578149"/>
            <a:ext cx="2685438" cy="397664"/>
          </a:xfrm>
          <a:prstGeom prst="rect">
            <a:avLst/>
          </a:prstGeom>
          <a:noFill/>
        </p:spPr>
        <p:txBody>
          <a:bodyPr wrap="square" lIns="0" tIns="0" rIns="0" bIns="0" rtlCol="0">
            <a:noAutofit/>
          </a:bodyPr>
          <a:lstStyle/>
          <a:p>
            <a:pPr marL="0" marR="0" lvl="0" indent="0" algn="l" defTabSz="914400" rtl="0" eaLnBrk="1" fontAlgn="auto" latinLnBrk="0" hangingPunct="1">
              <a:lnSpc>
                <a:spcPct val="130000"/>
              </a:lnSpc>
              <a:spcBef>
                <a:spcPts val="0"/>
              </a:spcBef>
              <a:spcAft>
                <a:spcPts val="0"/>
              </a:spcAft>
              <a:buClrTx/>
              <a:buSzTx/>
              <a:buFontTx/>
              <a:buNone/>
              <a:tabLst/>
              <a:defRPr/>
            </a:pPr>
            <a:r>
              <a:rPr kumimoji="0" lang="zh-CN" altLang="en-US" sz="1050" b="0" i="0" u="none" strike="noStrike" kern="1200" cap="none" spc="0" normalizeH="0" baseline="0" noProof="0" dirty="0">
                <a:ln>
                  <a:noFill/>
                </a:ln>
                <a:solidFill>
                  <a:srgbClr val="000000">
                    <a:lumMod val="85000"/>
                    <a:lumOff val="15000"/>
                  </a:srgbClr>
                </a:solidFill>
                <a:effectLst/>
                <a:uLnTx/>
                <a:uFillTx/>
                <a:latin typeface="OPPOSans R"/>
                <a:ea typeface="OPPOSans R"/>
                <a:cs typeface="+mn-cs"/>
              </a:rPr>
              <a:t>时刻关注竞品数据，产出趋势的收集和分析，对内定期输出分析报告</a:t>
            </a:r>
          </a:p>
        </p:txBody>
      </p:sp>
      <p:sp>
        <p:nvSpPr>
          <p:cNvPr id="80" name="gaoding-14">
            <a:extLst>
              <a:ext uri="{FF2B5EF4-FFF2-40B4-BE49-F238E27FC236}">
                <a16:creationId xmlns:a16="http://schemas.microsoft.com/office/drawing/2014/main" id="{78E1859F-D8CF-3514-9D17-7BC76D661682}"/>
              </a:ext>
            </a:extLst>
          </p:cNvPr>
          <p:cNvSpPr txBox="1"/>
          <p:nvPr/>
        </p:nvSpPr>
        <p:spPr>
          <a:xfrm>
            <a:off x="10063395" y="4142118"/>
            <a:ext cx="743534" cy="406317"/>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200" b="0" i="0" u="none" strike="noStrike" kern="1200" cap="none" spc="0" normalizeH="0" baseline="0" noProof="0" dirty="0">
                <a:ln>
                  <a:noFill/>
                </a:ln>
                <a:solidFill>
                  <a:srgbClr val="FFFFFF"/>
                </a:solidFill>
                <a:effectLst/>
                <a:uLnTx/>
                <a:uFillTx/>
                <a:latin typeface="OPPOSans B" panose="00020600040101010101" pitchFamily="18" charset="-122"/>
                <a:ea typeface="OPPOSans B" panose="00020600040101010101" pitchFamily="18" charset="-122"/>
                <a:cs typeface="OPPOSans B" panose="00020600040101010101" pitchFamily="18" charset="-122"/>
              </a:rPr>
              <a:t>竞品分析</a:t>
            </a:r>
          </a:p>
        </p:txBody>
      </p:sp>
      <p:sp>
        <p:nvSpPr>
          <p:cNvPr id="82" name="gaoding-15">
            <a:extLst>
              <a:ext uri="{FF2B5EF4-FFF2-40B4-BE49-F238E27FC236}">
                <a16:creationId xmlns:a16="http://schemas.microsoft.com/office/drawing/2014/main" id="{28443F70-6773-023D-8BC0-178BC42C9942}"/>
              </a:ext>
            </a:extLst>
          </p:cNvPr>
          <p:cNvSpPr txBox="1"/>
          <p:nvPr/>
        </p:nvSpPr>
        <p:spPr>
          <a:xfrm>
            <a:off x="8054709" y="2968719"/>
            <a:ext cx="3083847" cy="397664"/>
          </a:xfrm>
          <a:prstGeom prst="rect">
            <a:avLst/>
          </a:prstGeom>
          <a:noFill/>
        </p:spPr>
        <p:txBody>
          <a:bodyPr wrap="square" lIns="0" tIns="0" rIns="0" bIns="0" rtlCol="0">
            <a:noAutofit/>
          </a:bodyPr>
          <a:lstStyle/>
          <a:p>
            <a:pPr marL="0" marR="0" lvl="0" indent="0" algn="l" defTabSz="914400" rtl="0" eaLnBrk="1" fontAlgn="auto" latinLnBrk="0" hangingPunct="1">
              <a:lnSpc>
                <a:spcPct val="130000"/>
              </a:lnSpc>
              <a:spcBef>
                <a:spcPts val="0"/>
              </a:spcBef>
              <a:spcAft>
                <a:spcPts val="0"/>
              </a:spcAft>
              <a:buClrTx/>
              <a:buSzTx/>
              <a:buFontTx/>
              <a:buNone/>
              <a:tabLst/>
              <a:defRPr/>
            </a:pPr>
            <a:r>
              <a:rPr kumimoji="0" lang="zh-CN" altLang="en-US" sz="1050" b="0" i="0" u="none" strike="noStrike" kern="1200" cap="none" spc="0" normalizeH="0" baseline="0" noProof="0" dirty="0">
                <a:ln>
                  <a:noFill/>
                </a:ln>
                <a:solidFill>
                  <a:srgbClr val="000000">
                    <a:lumMod val="85000"/>
                    <a:lumOff val="15000"/>
                  </a:srgbClr>
                </a:solidFill>
                <a:effectLst/>
                <a:uLnTx/>
                <a:uFillTx/>
                <a:latin typeface="OPPOSans R"/>
                <a:ea typeface="OPPOSans R"/>
                <a:cs typeface="+mn-cs"/>
              </a:rPr>
              <a:t>针对本月公司规划，制定了详细的推广方案，获取了具体用户需求</a:t>
            </a:r>
          </a:p>
        </p:txBody>
      </p:sp>
      <p:sp>
        <p:nvSpPr>
          <p:cNvPr id="83" name="gaoding-16">
            <a:extLst>
              <a:ext uri="{FF2B5EF4-FFF2-40B4-BE49-F238E27FC236}">
                <a16:creationId xmlns:a16="http://schemas.microsoft.com/office/drawing/2014/main" id="{F07216D5-DAF3-9762-5DF4-EC9A4796A0E1}"/>
              </a:ext>
            </a:extLst>
          </p:cNvPr>
          <p:cNvSpPr txBox="1"/>
          <p:nvPr/>
        </p:nvSpPr>
        <p:spPr>
          <a:xfrm>
            <a:off x="10063395" y="2525117"/>
            <a:ext cx="743534" cy="406317"/>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200" b="0" i="0" u="none" strike="noStrike" kern="1200" cap="none" spc="0" normalizeH="0" baseline="0" noProof="0" dirty="0">
                <a:ln>
                  <a:noFill/>
                </a:ln>
                <a:solidFill>
                  <a:srgbClr val="FFFFFF"/>
                </a:solidFill>
                <a:effectLst/>
                <a:uLnTx/>
                <a:uFillTx/>
                <a:latin typeface="OPPOSans B" panose="00020600040101010101" pitchFamily="18" charset="-122"/>
                <a:ea typeface="OPPOSans B" panose="00020600040101010101" pitchFamily="18" charset="-122"/>
                <a:cs typeface="OPPOSans B" panose="00020600040101010101" pitchFamily="18" charset="-122"/>
              </a:rPr>
              <a:t>方案策划 </a:t>
            </a:r>
          </a:p>
        </p:txBody>
      </p:sp>
      <p:sp>
        <p:nvSpPr>
          <p:cNvPr id="85" name="gaoding-17">
            <a:extLst>
              <a:ext uri="{FF2B5EF4-FFF2-40B4-BE49-F238E27FC236}">
                <a16:creationId xmlns:a16="http://schemas.microsoft.com/office/drawing/2014/main" id="{F6F4391B-935B-77F0-37C8-BADCAD6D8E05}"/>
              </a:ext>
            </a:extLst>
          </p:cNvPr>
          <p:cNvSpPr/>
          <p:nvPr/>
        </p:nvSpPr>
        <p:spPr>
          <a:xfrm>
            <a:off x="978417" y="2467913"/>
            <a:ext cx="345648" cy="332752"/>
          </a:xfrm>
          <a:custGeom>
            <a:avLst/>
            <a:gdLst>
              <a:gd name="connsiteX0" fmla="*/ 194024 w 465677"/>
              <a:gd name="connsiteY0" fmla="*/ 157258 h 448304"/>
              <a:gd name="connsiteX1" fmla="*/ 196023 w 465677"/>
              <a:gd name="connsiteY1" fmla="*/ 157258 h 448304"/>
              <a:gd name="connsiteX2" fmla="*/ 238410 w 465677"/>
              <a:gd name="connsiteY2" fmla="*/ 198691 h 448304"/>
              <a:gd name="connsiteX3" fmla="*/ 238410 w 465677"/>
              <a:gd name="connsiteY3" fmla="*/ 198791 h 448304"/>
              <a:gd name="connsiteX4" fmla="*/ 196023 w 465677"/>
              <a:gd name="connsiteY4" fmla="*/ 240220 h 448304"/>
              <a:gd name="connsiteX5" fmla="*/ 194024 w 465677"/>
              <a:gd name="connsiteY5" fmla="*/ 240220 h 448304"/>
              <a:gd name="connsiteX6" fmla="*/ 151733 w 465677"/>
              <a:gd name="connsiteY6" fmla="*/ 198691 h 448304"/>
              <a:gd name="connsiteX7" fmla="*/ 194024 w 465677"/>
              <a:gd name="connsiteY7" fmla="*/ 157258 h 448304"/>
              <a:gd name="connsiteX8" fmla="*/ 195263 w 465677"/>
              <a:gd name="connsiteY8" fmla="*/ 123824 h 448304"/>
              <a:gd name="connsiteX9" fmla="*/ 179737 w 465677"/>
              <a:gd name="connsiteY9" fmla="*/ 125062 h 448304"/>
              <a:gd name="connsiteX10" fmla="*/ 119729 w 465677"/>
              <a:gd name="connsiteY10" fmla="*/ 179831 h 448304"/>
              <a:gd name="connsiteX11" fmla="*/ 151734 w 465677"/>
              <a:gd name="connsiteY11" fmla="*/ 261937 h 448304"/>
              <a:gd name="connsiteX12" fmla="*/ 88488 w 465677"/>
              <a:gd name="connsiteY12" fmla="*/ 309562 h 448304"/>
              <a:gd name="connsiteX13" fmla="*/ 86582 w 465677"/>
              <a:gd name="connsiteY13" fmla="*/ 313303 h 448304"/>
              <a:gd name="connsiteX14" fmla="*/ 96107 w 465677"/>
              <a:gd name="connsiteY14" fmla="*/ 333374 h 448304"/>
              <a:gd name="connsiteX15" fmla="*/ 98298 w 465677"/>
              <a:gd name="connsiteY15" fmla="*/ 334231 h 448304"/>
              <a:gd name="connsiteX16" fmla="*/ 117348 w 465677"/>
              <a:gd name="connsiteY16" fmla="*/ 328135 h 448304"/>
              <a:gd name="connsiteX17" fmla="*/ 195167 w 465677"/>
              <a:gd name="connsiteY17" fmla="*/ 288892 h 448304"/>
              <a:gd name="connsiteX18" fmla="*/ 272987 w 465677"/>
              <a:gd name="connsiteY18" fmla="*/ 328135 h 448304"/>
              <a:gd name="connsiteX19" fmla="*/ 292037 w 465677"/>
              <a:gd name="connsiteY19" fmla="*/ 334231 h 448304"/>
              <a:gd name="connsiteX20" fmla="*/ 294228 w 465677"/>
              <a:gd name="connsiteY20" fmla="*/ 333374 h 448304"/>
              <a:gd name="connsiteX21" fmla="*/ 298038 w 465677"/>
              <a:gd name="connsiteY21" fmla="*/ 331430 h 448304"/>
              <a:gd name="connsiteX22" fmla="*/ 302038 w 465677"/>
              <a:gd name="connsiteY22" fmla="*/ 309562 h 448304"/>
              <a:gd name="connsiteX23" fmla="*/ 238791 w 465677"/>
              <a:gd name="connsiteY23" fmla="*/ 261937 h 448304"/>
              <a:gd name="connsiteX24" fmla="*/ 270796 w 465677"/>
              <a:gd name="connsiteY24" fmla="*/ 179831 h 448304"/>
              <a:gd name="connsiteX25" fmla="*/ 210788 w 465677"/>
              <a:gd name="connsiteY25" fmla="*/ 125062 h 448304"/>
              <a:gd name="connsiteX26" fmla="*/ 195263 w 465677"/>
              <a:gd name="connsiteY26" fmla="*/ 123824 h 448304"/>
              <a:gd name="connsiteX27" fmla="*/ 369285 w 465677"/>
              <a:gd name="connsiteY27" fmla="*/ 69717 h 448304"/>
              <a:gd name="connsiteX28" fmla="*/ 392811 w 465677"/>
              <a:gd name="connsiteY28" fmla="*/ 92677 h 448304"/>
              <a:gd name="connsiteX29" fmla="*/ 392811 w 465677"/>
              <a:gd name="connsiteY29" fmla="*/ 370903 h 448304"/>
              <a:gd name="connsiteX30" fmla="*/ 392811 w 465677"/>
              <a:gd name="connsiteY30" fmla="*/ 370906 h 448304"/>
              <a:gd name="connsiteX31" fmla="*/ 369380 w 465677"/>
              <a:gd name="connsiteY31" fmla="*/ 393763 h 448304"/>
              <a:gd name="connsiteX32" fmla="*/ 277559 w 465677"/>
              <a:gd name="connsiteY32" fmla="*/ 393763 h 448304"/>
              <a:gd name="connsiteX33" fmla="*/ 261461 w 465677"/>
              <a:gd name="connsiteY33" fmla="*/ 400049 h 448304"/>
              <a:gd name="connsiteX34" fmla="*/ 216217 w 465677"/>
              <a:gd name="connsiteY34" fmla="*/ 442054 h 448304"/>
              <a:gd name="connsiteX35" fmla="*/ 183356 w 465677"/>
              <a:gd name="connsiteY35" fmla="*/ 441388 h 448304"/>
              <a:gd name="connsiteX36" fmla="*/ 142684 w 465677"/>
              <a:gd name="connsiteY36" fmla="*/ 400621 h 448304"/>
              <a:gd name="connsiteX37" fmla="*/ 125920 w 465677"/>
              <a:gd name="connsiteY37" fmla="*/ 393763 h 448304"/>
              <a:gd name="connsiteX38" fmla="*/ 23336 w 465677"/>
              <a:gd name="connsiteY38" fmla="*/ 393763 h 448304"/>
              <a:gd name="connsiteX39" fmla="*/ 0 w 465677"/>
              <a:gd name="connsiteY39" fmla="*/ 370903 h 448304"/>
              <a:gd name="connsiteX40" fmla="*/ 0 w 465677"/>
              <a:gd name="connsiteY40" fmla="*/ 92677 h 448304"/>
              <a:gd name="connsiteX41" fmla="*/ 22956 w 465677"/>
              <a:gd name="connsiteY41" fmla="*/ 69722 h 448304"/>
              <a:gd name="connsiteX42" fmla="*/ 368999 w 465677"/>
              <a:gd name="connsiteY42" fmla="*/ 69722 h 448304"/>
              <a:gd name="connsiteX43" fmla="*/ 369285 w 465677"/>
              <a:gd name="connsiteY43" fmla="*/ 69717 h 448304"/>
              <a:gd name="connsiteX44" fmla="*/ 123825 w 465677"/>
              <a:gd name="connsiteY44" fmla="*/ 0 h 448304"/>
              <a:gd name="connsiteX45" fmla="*/ 445484 w 465677"/>
              <a:gd name="connsiteY45" fmla="*/ 0 h 448304"/>
              <a:gd name="connsiteX46" fmla="*/ 465677 w 465677"/>
              <a:gd name="connsiteY46" fmla="*/ 19810 h 448304"/>
              <a:gd name="connsiteX47" fmla="*/ 465677 w 465677"/>
              <a:gd name="connsiteY47" fmla="*/ 19812 h 448304"/>
              <a:gd name="connsiteX48" fmla="*/ 465677 w 465677"/>
              <a:gd name="connsiteY48" fmla="*/ 307753 h 448304"/>
              <a:gd name="connsiteX49" fmla="*/ 445866 w 465677"/>
              <a:gd name="connsiteY49" fmla="*/ 327565 h 448304"/>
              <a:gd name="connsiteX50" fmla="*/ 411384 w 465677"/>
              <a:gd name="connsiteY50" fmla="*/ 327565 h 448304"/>
              <a:gd name="connsiteX51" fmla="*/ 411384 w 465677"/>
              <a:gd name="connsiteY51" fmla="*/ 288512 h 448304"/>
              <a:gd name="connsiteX52" fmla="*/ 426244 w 465677"/>
              <a:gd name="connsiteY52" fmla="*/ 274037 h 448304"/>
              <a:gd name="connsiteX53" fmla="*/ 426244 w 465677"/>
              <a:gd name="connsiteY53" fmla="*/ 274034 h 448304"/>
              <a:gd name="connsiteX54" fmla="*/ 426244 w 465677"/>
              <a:gd name="connsiteY54" fmla="*/ 53626 h 448304"/>
              <a:gd name="connsiteX55" fmla="*/ 411479 w 465677"/>
              <a:gd name="connsiteY55" fmla="*/ 39051 h 448304"/>
              <a:gd name="connsiteX56" fmla="*/ 411384 w 465677"/>
              <a:gd name="connsiteY56" fmla="*/ 39052 h 448304"/>
              <a:gd name="connsiteX57" fmla="*/ 158782 w 465677"/>
              <a:gd name="connsiteY57" fmla="*/ 39052 h 448304"/>
              <a:gd name="connsiteX58" fmla="*/ 143922 w 465677"/>
              <a:gd name="connsiteY58" fmla="*/ 53529 h 448304"/>
              <a:gd name="connsiteX59" fmla="*/ 143922 w 465677"/>
              <a:gd name="connsiteY59" fmla="*/ 53626 h 448304"/>
              <a:gd name="connsiteX60" fmla="*/ 143922 w 465677"/>
              <a:gd name="connsiteY60" fmla="*/ 58007 h 448304"/>
              <a:gd name="connsiteX61" fmla="*/ 104013 w 465677"/>
              <a:gd name="connsiteY61" fmla="*/ 58007 h 448304"/>
              <a:gd name="connsiteX62" fmla="*/ 104013 w 465677"/>
              <a:gd name="connsiteY62" fmla="*/ 19907 h 448304"/>
              <a:gd name="connsiteX63" fmla="*/ 123825 w 465677"/>
              <a:gd name="connsiteY63" fmla="*/ 0 h 448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465677" h="448304">
                <a:moveTo>
                  <a:pt x="194024" y="157258"/>
                </a:moveTo>
                <a:lnTo>
                  <a:pt x="196023" y="157258"/>
                </a:lnTo>
                <a:cubicBezTo>
                  <a:pt x="219170" y="156996"/>
                  <a:pt x="238124" y="175547"/>
                  <a:pt x="238410" y="198691"/>
                </a:cubicBezTo>
                <a:cubicBezTo>
                  <a:pt x="238410" y="198725"/>
                  <a:pt x="238410" y="198758"/>
                  <a:pt x="238410" y="198791"/>
                </a:cubicBezTo>
                <a:cubicBezTo>
                  <a:pt x="238124" y="221936"/>
                  <a:pt x="219170" y="240484"/>
                  <a:pt x="196023" y="240220"/>
                </a:cubicBezTo>
                <a:lnTo>
                  <a:pt x="194024" y="240220"/>
                </a:lnTo>
                <a:cubicBezTo>
                  <a:pt x="170877" y="240430"/>
                  <a:pt x="151923" y="221837"/>
                  <a:pt x="151733" y="198691"/>
                </a:cubicBezTo>
                <a:cubicBezTo>
                  <a:pt x="152018" y="175582"/>
                  <a:pt x="170877" y="157046"/>
                  <a:pt x="194024" y="157258"/>
                </a:cubicBezTo>
                <a:close/>
                <a:moveTo>
                  <a:pt x="195263" y="123824"/>
                </a:moveTo>
                <a:cubicBezTo>
                  <a:pt x="190023" y="123723"/>
                  <a:pt x="184881" y="124138"/>
                  <a:pt x="179737" y="125062"/>
                </a:cubicBezTo>
                <a:cubicBezTo>
                  <a:pt x="150685" y="129889"/>
                  <a:pt x="127159" y="151339"/>
                  <a:pt x="119729" y="179831"/>
                </a:cubicBezTo>
                <a:cubicBezTo>
                  <a:pt x="111442" y="211245"/>
                  <a:pt x="124397" y="244410"/>
                  <a:pt x="151734" y="261937"/>
                </a:cubicBezTo>
                <a:cubicBezTo>
                  <a:pt x="126111" y="270647"/>
                  <a:pt x="103918" y="287337"/>
                  <a:pt x="88488" y="309562"/>
                </a:cubicBezTo>
                <a:cubicBezTo>
                  <a:pt x="87725" y="310717"/>
                  <a:pt x="87059" y="311975"/>
                  <a:pt x="86582" y="313303"/>
                </a:cubicBezTo>
                <a:cubicBezTo>
                  <a:pt x="83630" y="321482"/>
                  <a:pt x="87916" y="330468"/>
                  <a:pt x="96107" y="333374"/>
                </a:cubicBezTo>
                <a:lnTo>
                  <a:pt x="98298" y="334231"/>
                </a:lnTo>
                <a:cubicBezTo>
                  <a:pt x="105252" y="336658"/>
                  <a:pt x="113062" y="334175"/>
                  <a:pt x="117348" y="328135"/>
                </a:cubicBezTo>
                <a:cubicBezTo>
                  <a:pt x="135255" y="303068"/>
                  <a:pt x="164402" y="288401"/>
                  <a:pt x="195167" y="288892"/>
                </a:cubicBezTo>
                <a:cubicBezTo>
                  <a:pt x="225933" y="288401"/>
                  <a:pt x="255080" y="303068"/>
                  <a:pt x="272987" y="328135"/>
                </a:cubicBezTo>
                <a:cubicBezTo>
                  <a:pt x="277273" y="334175"/>
                  <a:pt x="285084" y="336658"/>
                  <a:pt x="292037" y="334231"/>
                </a:cubicBezTo>
                <a:lnTo>
                  <a:pt x="294228" y="333374"/>
                </a:lnTo>
                <a:cubicBezTo>
                  <a:pt x="295561" y="332906"/>
                  <a:pt x="296895" y="332251"/>
                  <a:pt x="298038" y="331430"/>
                </a:cubicBezTo>
                <a:cubicBezTo>
                  <a:pt x="305182" y="326488"/>
                  <a:pt x="306991" y="316697"/>
                  <a:pt x="302038" y="309562"/>
                </a:cubicBezTo>
                <a:cubicBezTo>
                  <a:pt x="286607" y="287337"/>
                  <a:pt x="264414" y="270647"/>
                  <a:pt x="238791" y="261937"/>
                </a:cubicBezTo>
                <a:cubicBezTo>
                  <a:pt x="266128" y="244410"/>
                  <a:pt x="279083" y="211245"/>
                  <a:pt x="270796" y="179831"/>
                </a:cubicBezTo>
                <a:cubicBezTo>
                  <a:pt x="263367" y="151339"/>
                  <a:pt x="239840" y="129889"/>
                  <a:pt x="210788" y="125062"/>
                </a:cubicBezTo>
                <a:cubicBezTo>
                  <a:pt x="205645" y="124138"/>
                  <a:pt x="200502" y="123723"/>
                  <a:pt x="195263" y="123824"/>
                </a:cubicBezTo>
                <a:close/>
                <a:moveTo>
                  <a:pt x="369285" y="69717"/>
                </a:moveTo>
                <a:cubicBezTo>
                  <a:pt x="382143" y="69563"/>
                  <a:pt x="392620" y="79843"/>
                  <a:pt x="392811" y="92677"/>
                </a:cubicBezTo>
                <a:lnTo>
                  <a:pt x="392811" y="370903"/>
                </a:lnTo>
                <a:cubicBezTo>
                  <a:pt x="392811" y="370904"/>
                  <a:pt x="392811" y="370905"/>
                  <a:pt x="392811" y="370906"/>
                </a:cubicBezTo>
                <a:cubicBezTo>
                  <a:pt x="392620" y="383688"/>
                  <a:pt x="382143" y="393922"/>
                  <a:pt x="369380" y="393763"/>
                </a:cubicBezTo>
                <a:lnTo>
                  <a:pt x="277559" y="393763"/>
                </a:lnTo>
                <a:cubicBezTo>
                  <a:pt x="271558" y="393778"/>
                  <a:pt x="265843" y="396020"/>
                  <a:pt x="261461" y="400049"/>
                </a:cubicBezTo>
                <a:lnTo>
                  <a:pt x="216217" y="442054"/>
                </a:lnTo>
                <a:cubicBezTo>
                  <a:pt x="206883" y="450639"/>
                  <a:pt x="192405" y="450346"/>
                  <a:pt x="183356" y="441388"/>
                </a:cubicBezTo>
                <a:lnTo>
                  <a:pt x="142684" y="400621"/>
                </a:lnTo>
                <a:cubicBezTo>
                  <a:pt x="138208" y="396215"/>
                  <a:pt x="132207" y="393751"/>
                  <a:pt x="125920" y="393763"/>
                </a:cubicBezTo>
                <a:lnTo>
                  <a:pt x="23336" y="393763"/>
                </a:lnTo>
                <a:cubicBezTo>
                  <a:pt x="10573" y="393868"/>
                  <a:pt x="191" y="383648"/>
                  <a:pt x="0" y="370903"/>
                </a:cubicBezTo>
                <a:lnTo>
                  <a:pt x="0" y="92677"/>
                </a:lnTo>
                <a:cubicBezTo>
                  <a:pt x="96" y="80043"/>
                  <a:pt x="10287" y="69826"/>
                  <a:pt x="22956" y="69722"/>
                </a:cubicBezTo>
                <a:lnTo>
                  <a:pt x="368999" y="69722"/>
                </a:lnTo>
                <a:cubicBezTo>
                  <a:pt x="369094" y="69720"/>
                  <a:pt x="369189" y="69718"/>
                  <a:pt x="369285" y="69717"/>
                </a:cubicBezTo>
                <a:close/>
                <a:moveTo>
                  <a:pt x="123825" y="0"/>
                </a:moveTo>
                <a:lnTo>
                  <a:pt x="445484" y="0"/>
                </a:lnTo>
                <a:cubicBezTo>
                  <a:pt x="456534" y="-106"/>
                  <a:pt x="465582" y="8764"/>
                  <a:pt x="465677" y="19810"/>
                </a:cubicBezTo>
                <a:cubicBezTo>
                  <a:pt x="465677" y="19811"/>
                  <a:pt x="465677" y="19811"/>
                  <a:pt x="465677" y="19812"/>
                </a:cubicBezTo>
                <a:lnTo>
                  <a:pt x="465677" y="307753"/>
                </a:lnTo>
                <a:cubicBezTo>
                  <a:pt x="465582" y="318651"/>
                  <a:pt x="456723" y="327462"/>
                  <a:pt x="445866" y="327565"/>
                </a:cubicBezTo>
                <a:lnTo>
                  <a:pt x="411384" y="327565"/>
                </a:lnTo>
                <a:lnTo>
                  <a:pt x="411384" y="288512"/>
                </a:lnTo>
                <a:cubicBezTo>
                  <a:pt x="419481" y="288618"/>
                  <a:pt x="426148" y="282137"/>
                  <a:pt x="426244" y="274037"/>
                </a:cubicBezTo>
                <a:cubicBezTo>
                  <a:pt x="426244" y="274036"/>
                  <a:pt x="426244" y="274035"/>
                  <a:pt x="426244" y="274034"/>
                </a:cubicBezTo>
                <a:lnTo>
                  <a:pt x="426244" y="53626"/>
                </a:lnTo>
                <a:cubicBezTo>
                  <a:pt x="426148" y="45525"/>
                  <a:pt x="419576" y="39000"/>
                  <a:pt x="411479" y="39051"/>
                </a:cubicBezTo>
                <a:cubicBezTo>
                  <a:pt x="411479" y="39052"/>
                  <a:pt x="411384" y="39052"/>
                  <a:pt x="411384" y="39052"/>
                </a:cubicBezTo>
                <a:lnTo>
                  <a:pt x="158782" y="39052"/>
                </a:lnTo>
                <a:cubicBezTo>
                  <a:pt x="150685" y="38947"/>
                  <a:pt x="144018" y="45428"/>
                  <a:pt x="143922" y="53529"/>
                </a:cubicBezTo>
                <a:cubicBezTo>
                  <a:pt x="143922" y="53561"/>
                  <a:pt x="143922" y="53593"/>
                  <a:pt x="143922" y="53626"/>
                </a:cubicBezTo>
                <a:lnTo>
                  <a:pt x="143922" y="58007"/>
                </a:lnTo>
                <a:lnTo>
                  <a:pt x="104013" y="58007"/>
                </a:lnTo>
                <a:lnTo>
                  <a:pt x="104013" y="19907"/>
                </a:lnTo>
                <a:cubicBezTo>
                  <a:pt x="104109" y="8971"/>
                  <a:pt x="112871" y="104"/>
                  <a:pt x="123825" y="0"/>
                </a:cubicBezTo>
                <a:close/>
              </a:path>
            </a:pathLst>
          </a:custGeom>
          <a:solidFill>
            <a:schemeClr val="bg1"/>
          </a:solidFill>
          <a:ln w="9525" cap="flat">
            <a:noFill/>
            <a:prstDash val="solid"/>
            <a:miter/>
          </a:ln>
        </p:spPr>
        <p:txBody>
          <a:bodyPr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200" b="0" i="0" u="none" strike="noStrike" kern="1200" cap="none" spc="0" normalizeH="0" baseline="0" noProof="0">
              <a:ln>
                <a:noFill/>
              </a:ln>
              <a:solidFill>
                <a:srgbClr val="000000"/>
              </a:solidFill>
              <a:effectLst/>
              <a:uLnTx/>
              <a:uFillTx/>
              <a:latin typeface="Arial" panose="020F0502020204030204"/>
              <a:ea typeface="微软雅黑"/>
              <a:cs typeface="+mn-cs"/>
            </a:endParaRPr>
          </a:p>
        </p:txBody>
      </p:sp>
      <p:sp>
        <p:nvSpPr>
          <p:cNvPr id="86" name="gaoding-18">
            <a:extLst>
              <a:ext uri="{FF2B5EF4-FFF2-40B4-BE49-F238E27FC236}">
                <a16:creationId xmlns:a16="http://schemas.microsoft.com/office/drawing/2014/main" id="{066CA749-A9DD-D0F6-6244-84F5734EE117}"/>
              </a:ext>
            </a:extLst>
          </p:cNvPr>
          <p:cNvSpPr/>
          <p:nvPr/>
        </p:nvSpPr>
        <p:spPr>
          <a:xfrm>
            <a:off x="10816997" y="4080721"/>
            <a:ext cx="321559" cy="292173"/>
          </a:xfrm>
          <a:custGeom>
            <a:avLst/>
            <a:gdLst>
              <a:gd name="connsiteX0" fmla="*/ 196501 w 467362"/>
              <a:gd name="connsiteY0" fmla="*/ 222283 h 447740"/>
              <a:gd name="connsiteX1" fmla="*/ 227171 w 467362"/>
              <a:gd name="connsiteY1" fmla="*/ 249334 h 447740"/>
              <a:gd name="connsiteX2" fmla="*/ 204216 w 467362"/>
              <a:gd name="connsiteY2" fmla="*/ 278671 h 447740"/>
              <a:gd name="connsiteX3" fmla="*/ 196501 w 467362"/>
              <a:gd name="connsiteY3" fmla="*/ 278671 h 447740"/>
              <a:gd name="connsiteX4" fmla="*/ 181356 w 467362"/>
              <a:gd name="connsiteY4" fmla="*/ 263526 h 447740"/>
              <a:gd name="connsiteX5" fmla="*/ 181356 w 467362"/>
              <a:gd name="connsiteY5" fmla="*/ 237523 h 447740"/>
              <a:gd name="connsiteX6" fmla="*/ 181356 w 467362"/>
              <a:gd name="connsiteY6" fmla="*/ 237428 h 447740"/>
              <a:gd name="connsiteX7" fmla="*/ 196501 w 467362"/>
              <a:gd name="connsiteY7" fmla="*/ 222283 h 447740"/>
              <a:gd name="connsiteX8" fmla="*/ 139827 w 467362"/>
              <a:gd name="connsiteY8" fmla="*/ 182183 h 447740"/>
              <a:gd name="connsiteX9" fmla="*/ 124777 w 467362"/>
              <a:gd name="connsiteY9" fmla="*/ 197233 h 447740"/>
              <a:gd name="connsiteX10" fmla="*/ 124777 w 467362"/>
              <a:gd name="connsiteY10" fmla="*/ 368683 h 447740"/>
              <a:gd name="connsiteX11" fmla="*/ 124777 w 467362"/>
              <a:gd name="connsiteY11" fmla="*/ 368686 h 447740"/>
              <a:gd name="connsiteX12" fmla="*/ 139636 w 467362"/>
              <a:gd name="connsiteY12" fmla="*/ 383923 h 447740"/>
              <a:gd name="connsiteX13" fmla="*/ 166497 w 467362"/>
              <a:gd name="connsiteY13" fmla="*/ 383923 h 447740"/>
              <a:gd name="connsiteX14" fmla="*/ 181547 w 467362"/>
              <a:gd name="connsiteY14" fmla="*/ 368873 h 447740"/>
              <a:gd name="connsiteX15" fmla="*/ 181547 w 467362"/>
              <a:gd name="connsiteY15" fmla="*/ 334202 h 447740"/>
              <a:gd name="connsiteX16" fmla="*/ 196691 w 467362"/>
              <a:gd name="connsiteY16" fmla="*/ 319058 h 447740"/>
              <a:gd name="connsiteX17" fmla="*/ 209836 w 467362"/>
              <a:gd name="connsiteY17" fmla="*/ 319058 h 447740"/>
              <a:gd name="connsiteX18" fmla="*/ 247936 w 467362"/>
              <a:gd name="connsiteY18" fmla="*/ 309533 h 447740"/>
              <a:gd name="connsiteX19" fmla="*/ 272986 w 467362"/>
              <a:gd name="connsiteY19" fmla="*/ 284101 h 447740"/>
              <a:gd name="connsiteX20" fmla="*/ 281273 w 467362"/>
              <a:gd name="connsiteY20" fmla="*/ 251049 h 447740"/>
              <a:gd name="connsiteX21" fmla="*/ 272606 w 467362"/>
              <a:gd name="connsiteY21" fmla="*/ 217235 h 447740"/>
              <a:gd name="connsiteX22" fmla="*/ 247650 w 467362"/>
              <a:gd name="connsiteY22" fmla="*/ 191899 h 447740"/>
              <a:gd name="connsiteX23" fmla="*/ 207550 w 467362"/>
              <a:gd name="connsiteY23" fmla="*/ 182183 h 447740"/>
              <a:gd name="connsiteX24" fmla="*/ 15049 w 467362"/>
              <a:gd name="connsiteY24" fmla="*/ 73884 h 447740"/>
              <a:gd name="connsiteX25" fmla="*/ 183451 w 467362"/>
              <a:gd name="connsiteY25" fmla="*/ 73884 h 447740"/>
              <a:gd name="connsiteX26" fmla="*/ 198215 w 467362"/>
              <a:gd name="connsiteY26" fmla="*/ 85314 h 447740"/>
              <a:gd name="connsiteX27" fmla="*/ 202978 w 467362"/>
              <a:gd name="connsiteY27" fmla="*/ 105983 h 447740"/>
              <a:gd name="connsiteX28" fmla="*/ 217742 w 467362"/>
              <a:gd name="connsiteY28" fmla="*/ 117699 h 447740"/>
              <a:gd name="connsiteX29" fmla="*/ 354140 w 467362"/>
              <a:gd name="connsiteY29" fmla="*/ 117699 h 447740"/>
              <a:gd name="connsiteX30" fmla="*/ 354235 w 467362"/>
              <a:gd name="connsiteY30" fmla="*/ 117699 h 447740"/>
              <a:gd name="connsiteX31" fmla="*/ 369284 w 467362"/>
              <a:gd name="connsiteY31" fmla="*/ 132749 h 447740"/>
              <a:gd name="connsiteX32" fmla="*/ 369284 w 467362"/>
              <a:gd name="connsiteY32" fmla="*/ 432596 h 447740"/>
              <a:gd name="connsiteX33" fmla="*/ 354140 w 467362"/>
              <a:gd name="connsiteY33" fmla="*/ 447740 h 447740"/>
              <a:gd name="connsiteX34" fmla="*/ 15049 w 467362"/>
              <a:gd name="connsiteY34" fmla="*/ 447740 h 447740"/>
              <a:gd name="connsiteX35" fmla="*/ 0 w 467362"/>
              <a:gd name="connsiteY35" fmla="*/ 432596 h 447740"/>
              <a:gd name="connsiteX36" fmla="*/ 0 w 467362"/>
              <a:gd name="connsiteY36" fmla="*/ 88934 h 447740"/>
              <a:gd name="connsiteX37" fmla="*/ 15049 w 467362"/>
              <a:gd name="connsiteY37" fmla="*/ 73884 h 447740"/>
              <a:gd name="connsiteX38" fmla="*/ 124778 w 467362"/>
              <a:gd name="connsiteY38" fmla="*/ 351 h 447740"/>
              <a:gd name="connsiteX39" fmla="*/ 455581 w 467362"/>
              <a:gd name="connsiteY39" fmla="*/ 74075 h 447740"/>
              <a:gd name="connsiteX40" fmla="*/ 467011 w 467362"/>
              <a:gd name="connsiteY40" fmla="*/ 91982 h 447740"/>
              <a:gd name="connsiteX41" fmla="*/ 400336 w 467362"/>
              <a:gd name="connsiteY41" fmla="*/ 399449 h 447740"/>
              <a:gd name="connsiteX42" fmla="*/ 399193 w 467362"/>
              <a:gd name="connsiteY42" fmla="*/ 399449 h 447740"/>
              <a:gd name="connsiteX43" fmla="*/ 387573 w 467362"/>
              <a:gd name="connsiteY43" fmla="*/ 384780 h 447740"/>
              <a:gd name="connsiteX44" fmla="*/ 387573 w 467362"/>
              <a:gd name="connsiteY44" fmla="*/ 114556 h 447740"/>
              <a:gd name="connsiteX45" fmla="*/ 372428 w 467362"/>
              <a:gd name="connsiteY45" fmla="*/ 99411 h 447740"/>
              <a:gd name="connsiteX46" fmla="*/ 235839 w 467362"/>
              <a:gd name="connsiteY46" fmla="*/ 99411 h 447740"/>
              <a:gd name="connsiteX47" fmla="*/ 221171 w 467362"/>
              <a:gd name="connsiteY47" fmla="*/ 87791 h 447740"/>
              <a:gd name="connsiteX48" fmla="*/ 216408 w 467362"/>
              <a:gd name="connsiteY48" fmla="*/ 67121 h 447740"/>
              <a:gd name="connsiteX49" fmla="*/ 201645 w 467362"/>
              <a:gd name="connsiteY49" fmla="*/ 55501 h 447740"/>
              <a:gd name="connsiteX50" fmla="*/ 115920 w 467362"/>
              <a:gd name="connsiteY50" fmla="*/ 55501 h 447740"/>
              <a:gd name="connsiteX51" fmla="*/ 112872 w 467362"/>
              <a:gd name="connsiteY51" fmla="*/ 55171 h 447740"/>
              <a:gd name="connsiteX52" fmla="*/ 101156 w 467362"/>
              <a:gd name="connsiteY52" fmla="*/ 37213 h 447740"/>
              <a:gd name="connsiteX53" fmla="*/ 106680 w 467362"/>
              <a:gd name="connsiteY53" fmla="*/ 11876 h 447740"/>
              <a:gd name="connsiteX54" fmla="*/ 124778 w 467362"/>
              <a:gd name="connsiteY54" fmla="*/ 351 h 447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467362" h="447740">
                <a:moveTo>
                  <a:pt x="196501" y="222283"/>
                </a:moveTo>
                <a:cubicBezTo>
                  <a:pt x="216123" y="222791"/>
                  <a:pt x="226343" y="231808"/>
                  <a:pt x="227171" y="249334"/>
                </a:cubicBezTo>
                <a:cubicBezTo>
                  <a:pt x="226981" y="267813"/>
                  <a:pt x="219361" y="277528"/>
                  <a:pt x="204216" y="278671"/>
                </a:cubicBezTo>
                <a:lnTo>
                  <a:pt x="196501" y="278671"/>
                </a:lnTo>
                <a:cubicBezTo>
                  <a:pt x="188138" y="278671"/>
                  <a:pt x="181356" y="271890"/>
                  <a:pt x="181356" y="263526"/>
                </a:cubicBezTo>
                <a:lnTo>
                  <a:pt x="181356" y="237523"/>
                </a:lnTo>
                <a:cubicBezTo>
                  <a:pt x="181356" y="237492"/>
                  <a:pt x="181356" y="237459"/>
                  <a:pt x="181356" y="237428"/>
                </a:cubicBezTo>
                <a:cubicBezTo>
                  <a:pt x="181356" y="229063"/>
                  <a:pt x="188138" y="222283"/>
                  <a:pt x="196501" y="222283"/>
                </a:cubicBezTo>
                <a:close/>
                <a:moveTo>
                  <a:pt x="139827" y="182183"/>
                </a:moveTo>
                <a:cubicBezTo>
                  <a:pt x="131511" y="182183"/>
                  <a:pt x="124777" y="188921"/>
                  <a:pt x="124777" y="197233"/>
                </a:cubicBezTo>
                <a:lnTo>
                  <a:pt x="124777" y="368683"/>
                </a:lnTo>
                <a:cubicBezTo>
                  <a:pt x="124777" y="368684"/>
                  <a:pt x="124777" y="368685"/>
                  <a:pt x="124777" y="368686"/>
                </a:cubicBezTo>
                <a:cubicBezTo>
                  <a:pt x="124673" y="376996"/>
                  <a:pt x="131321" y="383818"/>
                  <a:pt x="139636" y="383923"/>
                </a:cubicBezTo>
                <a:lnTo>
                  <a:pt x="166497" y="383923"/>
                </a:lnTo>
                <a:cubicBezTo>
                  <a:pt x="174812" y="383923"/>
                  <a:pt x="181547" y="377185"/>
                  <a:pt x="181547" y="368873"/>
                </a:cubicBezTo>
                <a:lnTo>
                  <a:pt x="181547" y="334202"/>
                </a:lnTo>
                <a:cubicBezTo>
                  <a:pt x="181547" y="325838"/>
                  <a:pt x="188328" y="319058"/>
                  <a:pt x="196691" y="319058"/>
                </a:cubicBezTo>
                <a:lnTo>
                  <a:pt x="209836" y="319058"/>
                </a:lnTo>
                <a:cubicBezTo>
                  <a:pt x="223152" y="319298"/>
                  <a:pt x="236296" y="316011"/>
                  <a:pt x="247936" y="309533"/>
                </a:cubicBezTo>
                <a:cubicBezTo>
                  <a:pt x="258584" y="303672"/>
                  <a:pt x="267290" y="294834"/>
                  <a:pt x="272986" y="284101"/>
                </a:cubicBezTo>
                <a:cubicBezTo>
                  <a:pt x="278501" y="273963"/>
                  <a:pt x="281359" y="262590"/>
                  <a:pt x="281273" y="251049"/>
                </a:cubicBezTo>
                <a:cubicBezTo>
                  <a:pt x="281321" y="239223"/>
                  <a:pt x="278340" y="227581"/>
                  <a:pt x="272606" y="217235"/>
                </a:cubicBezTo>
                <a:cubicBezTo>
                  <a:pt x="266738" y="206686"/>
                  <a:pt x="258108" y="197929"/>
                  <a:pt x="247650" y="191899"/>
                </a:cubicBezTo>
                <a:cubicBezTo>
                  <a:pt x="235325" y="185300"/>
                  <a:pt x="221523" y="181956"/>
                  <a:pt x="207550" y="182183"/>
                </a:cubicBezTo>
                <a:close/>
                <a:moveTo>
                  <a:pt x="15049" y="73884"/>
                </a:moveTo>
                <a:lnTo>
                  <a:pt x="183451" y="73884"/>
                </a:lnTo>
                <a:cubicBezTo>
                  <a:pt x="190405" y="73880"/>
                  <a:pt x="196482" y="78582"/>
                  <a:pt x="198215" y="85314"/>
                </a:cubicBezTo>
                <a:lnTo>
                  <a:pt x="202978" y="105983"/>
                </a:lnTo>
                <a:cubicBezTo>
                  <a:pt x="204578" y="112848"/>
                  <a:pt x="210693" y="117705"/>
                  <a:pt x="217742" y="117699"/>
                </a:cubicBezTo>
                <a:lnTo>
                  <a:pt x="354140" y="117699"/>
                </a:lnTo>
                <a:cubicBezTo>
                  <a:pt x="354168" y="117699"/>
                  <a:pt x="354206" y="117699"/>
                  <a:pt x="354235" y="117699"/>
                </a:cubicBezTo>
                <a:cubicBezTo>
                  <a:pt x="362550" y="117699"/>
                  <a:pt x="369284" y="124437"/>
                  <a:pt x="369284" y="132749"/>
                </a:cubicBezTo>
                <a:lnTo>
                  <a:pt x="369284" y="432596"/>
                </a:lnTo>
                <a:cubicBezTo>
                  <a:pt x="369284" y="440959"/>
                  <a:pt x="362502" y="447740"/>
                  <a:pt x="354140" y="447740"/>
                </a:cubicBezTo>
                <a:lnTo>
                  <a:pt x="15049" y="447740"/>
                </a:lnTo>
                <a:cubicBezTo>
                  <a:pt x="6763" y="447688"/>
                  <a:pt x="0" y="440922"/>
                  <a:pt x="0" y="432596"/>
                </a:cubicBezTo>
                <a:lnTo>
                  <a:pt x="0" y="88934"/>
                </a:lnTo>
                <a:cubicBezTo>
                  <a:pt x="0" y="80622"/>
                  <a:pt x="6763" y="73884"/>
                  <a:pt x="15049" y="73884"/>
                </a:cubicBezTo>
                <a:close/>
                <a:moveTo>
                  <a:pt x="124778" y="351"/>
                </a:moveTo>
                <a:lnTo>
                  <a:pt x="455581" y="74075"/>
                </a:lnTo>
                <a:cubicBezTo>
                  <a:pt x="463678" y="75877"/>
                  <a:pt x="468783" y="83883"/>
                  <a:pt x="467011" y="91982"/>
                </a:cubicBezTo>
                <a:lnTo>
                  <a:pt x="400336" y="399449"/>
                </a:lnTo>
                <a:lnTo>
                  <a:pt x="399193" y="399449"/>
                </a:lnTo>
                <a:cubicBezTo>
                  <a:pt x="392364" y="397887"/>
                  <a:pt x="387535" y="391789"/>
                  <a:pt x="387573" y="384780"/>
                </a:cubicBezTo>
                <a:lnTo>
                  <a:pt x="387573" y="114556"/>
                </a:lnTo>
                <a:cubicBezTo>
                  <a:pt x="387573" y="106192"/>
                  <a:pt x="380791" y="99411"/>
                  <a:pt x="372428" y="99411"/>
                </a:cubicBezTo>
                <a:lnTo>
                  <a:pt x="235839" y="99411"/>
                </a:lnTo>
                <a:cubicBezTo>
                  <a:pt x="228838" y="99418"/>
                  <a:pt x="222762" y="94603"/>
                  <a:pt x="221171" y="87791"/>
                </a:cubicBezTo>
                <a:lnTo>
                  <a:pt x="216408" y="67121"/>
                </a:lnTo>
                <a:cubicBezTo>
                  <a:pt x="214742" y="60314"/>
                  <a:pt x="208655" y="55519"/>
                  <a:pt x="201645" y="55501"/>
                </a:cubicBezTo>
                <a:lnTo>
                  <a:pt x="115920" y="55501"/>
                </a:lnTo>
                <a:cubicBezTo>
                  <a:pt x="114872" y="55497"/>
                  <a:pt x="113824" y="55387"/>
                  <a:pt x="112872" y="55171"/>
                </a:cubicBezTo>
                <a:cubicBezTo>
                  <a:pt x="104680" y="53435"/>
                  <a:pt x="99442" y="45395"/>
                  <a:pt x="101156" y="37213"/>
                </a:cubicBezTo>
                <a:lnTo>
                  <a:pt x="106680" y="11876"/>
                </a:lnTo>
                <a:cubicBezTo>
                  <a:pt x="108490" y="3720"/>
                  <a:pt x="116606" y="-1424"/>
                  <a:pt x="124778" y="351"/>
                </a:cubicBezTo>
                <a:close/>
              </a:path>
            </a:pathLst>
          </a:custGeom>
          <a:solidFill>
            <a:schemeClr val="bg1"/>
          </a:solidFill>
          <a:ln w="9525" cap="flat">
            <a:noFill/>
            <a:prstDash val="solid"/>
            <a:miter/>
          </a:ln>
        </p:spPr>
        <p:txBody>
          <a:bodyPr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200" b="0" i="0" u="none" strike="noStrike" kern="1200" cap="none" spc="0" normalizeH="0" baseline="0" noProof="0">
              <a:ln>
                <a:noFill/>
              </a:ln>
              <a:solidFill>
                <a:srgbClr val="000000"/>
              </a:solidFill>
              <a:effectLst/>
              <a:uLnTx/>
              <a:uFillTx/>
              <a:latin typeface="Arial" panose="020F0502020204030204"/>
              <a:ea typeface="微软雅黑"/>
              <a:cs typeface="+mn-cs"/>
            </a:endParaRPr>
          </a:p>
        </p:txBody>
      </p:sp>
      <p:sp>
        <p:nvSpPr>
          <p:cNvPr id="87" name="gaoding-19">
            <a:extLst>
              <a:ext uri="{FF2B5EF4-FFF2-40B4-BE49-F238E27FC236}">
                <a16:creationId xmlns:a16="http://schemas.microsoft.com/office/drawing/2014/main" id="{B92BE0F7-18E2-5F36-DE63-9ADF0B46DB62}"/>
              </a:ext>
            </a:extLst>
          </p:cNvPr>
          <p:cNvSpPr/>
          <p:nvPr/>
        </p:nvSpPr>
        <p:spPr>
          <a:xfrm>
            <a:off x="10813130" y="2449735"/>
            <a:ext cx="321559" cy="323455"/>
          </a:xfrm>
          <a:custGeom>
            <a:avLst/>
            <a:gdLst>
              <a:gd name="connsiteX0" fmla="*/ 344717 w 447682"/>
              <a:gd name="connsiteY0" fmla="*/ 95257 h 433673"/>
              <a:gd name="connsiteX1" fmla="*/ 366529 w 447682"/>
              <a:gd name="connsiteY1" fmla="*/ 73445 h 433673"/>
              <a:gd name="connsiteX2" fmla="*/ 366529 w 447682"/>
              <a:gd name="connsiteY2" fmla="*/ 21819 h 433673"/>
              <a:gd name="connsiteX3" fmla="*/ 344717 w 447682"/>
              <a:gd name="connsiteY3" fmla="*/ 7 h 433673"/>
              <a:gd name="connsiteX4" fmla="*/ 323000 w 447682"/>
              <a:gd name="connsiteY4" fmla="*/ 21724 h 433673"/>
              <a:gd name="connsiteX5" fmla="*/ 323000 w 447682"/>
              <a:gd name="connsiteY5" fmla="*/ 21819 h 433673"/>
              <a:gd name="connsiteX6" fmla="*/ 323000 w 447682"/>
              <a:gd name="connsiteY6" fmla="*/ 73445 h 433673"/>
              <a:gd name="connsiteX7" fmla="*/ 344622 w 447682"/>
              <a:gd name="connsiteY7" fmla="*/ 95257 h 433673"/>
              <a:gd name="connsiteX8" fmla="*/ 344717 w 447682"/>
              <a:gd name="connsiteY8" fmla="*/ 95257 h 433673"/>
              <a:gd name="connsiteX9" fmla="*/ 105258 w 447682"/>
              <a:gd name="connsiteY9" fmla="*/ 95257 h 433673"/>
              <a:gd name="connsiteX10" fmla="*/ 126976 w 447682"/>
              <a:gd name="connsiteY10" fmla="*/ 73540 h 433673"/>
              <a:gd name="connsiteX11" fmla="*/ 126976 w 447682"/>
              <a:gd name="connsiteY11" fmla="*/ 73445 h 433673"/>
              <a:gd name="connsiteX12" fmla="*/ 126976 w 447682"/>
              <a:gd name="connsiteY12" fmla="*/ 21819 h 433673"/>
              <a:gd name="connsiteX13" fmla="*/ 105354 w 447682"/>
              <a:gd name="connsiteY13" fmla="*/ 7 h 433673"/>
              <a:gd name="connsiteX14" fmla="*/ 105258 w 447682"/>
              <a:gd name="connsiteY14" fmla="*/ 7 h 433673"/>
              <a:gd name="connsiteX15" fmla="*/ 83446 w 447682"/>
              <a:gd name="connsiteY15" fmla="*/ 21819 h 433673"/>
              <a:gd name="connsiteX16" fmla="*/ 83446 w 447682"/>
              <a:gd name="connsiteY16" fmla="*/ 73445 h 433673"/>
              <a:gd name="connsiteX17" fmla="*/ 105258 w 447682"/>
              <a:gd name="connsiteY17" fmla="*/ 95257 h 433673"/>
              <a:gd name="connsiteX18" fmla="*/ 436347 w 447682"/>
              <a:gd name="connsiteY18" fmla="*/ 33059 h 433673"/>
              <a:gd name="connsiteX19" fmla="*/ 384151 w 447682"/>
              <a:gd name="connsiteY19" fmla="*/ 33059 h 433673"/>
              <a:gd name="connsiteX20" fmla="*/ 379578 w 447682"/>
              <a:gd name="connsiteY20" fmla="*/ 37631 h 433673"/>
              <a:gd name="connsiteX21" fmla="*/ 379578 w 447682"/>
              <a:gd name="connsiteY21" fmla="*/ 65158 h 433673"/>
              <a:gd name="connsiteX22" fmla="*/ 391961 w 447682"/>
              <a:gd name="connsiteY22" fmla="*/ 77636 h 433673"/>
              <a:gd name="connsiteX23" fmla="*/ 404439 w 447682"/>
              <a:gd name="connsiteY23" fmla="*/ 90113 h 433673"/>
              <a:gd name="connsiteX24" fmla="*/ 404439 w 447682"/>
              <a:gd name="connsiteY24" fmla="*/ 90209 h 433673"/>
              <a:gd name="connsiteX25" fmla="*/ 404439 w 447682"/>
              <a:gd name="connsiteY25" fmla="*/ 134976 h 433673"/>
              <a:gd name="connsiteX26" fmla="*/ 391866 w 447682"/>
              <a:gd name="connsiteY26" fmla="*/ 147362 h 433673"/>
              <a:gd name="connsiteX27" fmla="*/ 391675 w 447682"/>
              <a:gd name="connsiteY27" fmla="*/ 147359 h 433673"/>
              <a:gd name="connsiteX28" fmla="*/ 58300 w 447682"/>
              <a:gd name="connsiteY28" fmla="*/ 147359 h 433673"/>
              <a:gd name="connsiteX29" fmla="*/ 45822 w 447682"/>
              <a:gd name="connsiteY29" fmla="*/ 134881 h 433673"/>
              <a:gd name="connsiteX30" fmla="*/ 45822 w 447682"/>
              <a:gd name="connsiteY30" fmla="*/ 90209 h 433673"/>
              <a:gd name="connsiteX31" fmla="*/ 58205 w 447682"/>
              <a:gd name="connsiteY31" fmla="*/ 77636 h 433673"/>
              <a:gd name="connsiteX32" fmla="*/ 58300 w 447682"/>
              <a:gd name="connsiteY32" fmla="*/ 77636 h 433673"/>
              <a:gd name="connsiteX33" fmla="*/ 58300 w 447682"/>
              <a:gd name="connsiteY33" fmla="*/ 77636 h 433673"/>
              <a:gd name="connsiteX34" fmla="*/ 70683 w 447682"/>
              <a:gd name="connsiteY34" fmla="*/ 65158 h 433673"/>
              <a:gd name="connsiteX35" fmla="*/ 70683 w 447682"/>
              <a:gd name="connsiteY35" fmla="*/ 36583 h 433673"/>
              <a:gd name="connsiteX36" fmla="*/ 66873 w 447682"/>
              <a:gd name="connsiteY36" fmla="*/ 32773 h 433673"/>
              <a:gd name="connsiteX37" fmla="*/ 13914 w 447682"/>
              <a:gd name="connsiteY37" fmla="*/ 32773 h 433673"/>
              <a:gd name="connsiteX38" fmla="*/ 1150 w 447682"/>
              <a:gd name="connsiteY38" fmla="*/ 44762 h 433673"/>
              <a:gd name="connsiteX39" fmla="*/ 1150 w 447682"/>
              <a:gd name="connsiteY39" fmla="*/ 45536 h 433673"/>
              <a:gd name="connsiteX40" fmla="*/ 1150 w 447682"/>
              <a:gd name="connsiteY40" fmla="*/ 402057 h 433673"/>
              <a:gd name="connsiteX41" fmla="*/ 32773 w 447682"/>
              <a:gd name="connsiteY41" fmla="*/ 433680 h 433673"/>
              <a:gd name="connsiteX42" fmla="*/ 417202 w 447682"/>
              <a:gd name="connsiteY42" fmla="*/ 433680 h 433673"/>
              <a:gd name="connsiteX43" fmla="*/ 448825 w 447682"/>
              <a:gd name="connsiteY43" fmla="*/ 402057 h 433673"/>
              <a:gd name="connsiteX44" fmla="*/ 448825 w 447682"/>
              <a:gd name="connsiteY44" fmla="*/ 45536 h 433673"/>
              <a:gd name="connsiteX45" fmla="*/ 436538 w 447682"/>
              <a:gd name="connsiteY45" fmla="*/ 33059 h 433673"/>
              <a:gd name="connsiteX46" fmla="*/ 436347 w 447682"/>
              <a:gd name="connsiteY46" fmla="*/ 33059 h 433673"/>
              <a:gd name="connsiteX47" fmla="*/ 337383 w 447682"/>
              <a:gd name="connsiteY47" fmla="*/ 240894 h 433673"/>
              <a:gd name="connsiteX48" fmla="*/ 206414 w 447682"/>
              <a:gd name="connsiteY48" fmla="*/ 344145 h 433673"/>
              <a:gd name="connsiteX49" fmla="*/ 182697 w 447682"/>
              <a:gd name="connsiteY49" fmla="*/ 342336 h 433673"/>
              <a:gd name="connsiteX50" fmla="*/ 128880 w 447682"/>
              <a:gd name="connsiteY50" fmla="*/ 285186 h 433673"/>
              <a:gd name="connsiteX51" fmla="*/ 129738 w 447682"/>
              <a:gd name="connsiteY51" fmla="*/ 260325 h 433673"/>
              <a:gd name="connsiteX52" fmla="*/ 154502 w 447682"/>
              <a:gd name="connsiteY52" fmla="*/ 261182 h 433673"/>
              <a:gd name="connsiteX53" fmla="*/ 186316 w 447682"/>
              <a:gd name="connsiteY53" fmla="*/ 294996 h 433673"/>
              <a:gd name="connsiteX54" fmla="*/ 209938 w 447682"/>
              <a:gd name="connsiteY54" fmla="*/ 296806 h 433673"/>
              <a:gd name="connsiteX55" fmla="*/ 315666 w 447682"/>
              <a:gd name="connsiteY55" fmla="*/ 213557 h 433673"/>
              <a:gd name="connsiteX56" fmla="*/ 340288 w 447682"/>
              <a:gd name="connsiteY56" fmla="*/ 216361 h 433673"/>
              <a:gd name="connsiteX57" fmla="*/ 340335 w 447682"/>
              <a:gd name="connsiteY57" fmla="*/ 216415 h 433673"/>
              <a:gd name="connsiteX58" fmla="*/ 340335 w 447682"/>
              <a:gd name="connsiteY58" fmla="*/ 216415 h 433673"/>
              <a:gd name="connsiteX59" fmla="*/ 337383 w 447682"/>
              <a:gd name="connsiteY59" fmla="*/ 240894 h 433673"/>
              <a:gd name="connsiteX60" fmla="*/ 148597 w 447682"/>
              <a:gd name="connsiteY60" fmla="*/ 77636 h 433673"/>
              <a:gd name="connsiteX61" fmla="*/ 300997 w 447682"/>
              <a:gd name="connsiteY61" fmla="*/ 77636 h 433673"/>
              <a:gd name="connsiteX62" fmla="*/ 305664 w 447682"/>
              <a:gd name="connsiteY62" fmla="*/ 72969 h 433673"/>
              <a:gd name="connsiteX63" fmla="*/ 305664 w 447682"/>
              <a:gd name="connsiteY63" fmla="*/ 37726 h 433673"/>
              <a:gd name="connsiteX64" fmla="*/ 300997 w 447682"/>
              <a:gd name="connsiteY64" fmla="*/ 33059 h 433673"/>
              <a:gd name="connsiteX65" fmla="*/ 148597 w 447682"/>
              <a:gd name="connsiteY65" fmla="*/ 33059 h 433673"/>
              <a:gd name="connsiteX66" fmla="*/ 143930 w 447682"/>
              <a:gd name="connsiteY66" fmla="*/ 37726 h 433673"/>
              <a:gd name="connsiteX67" fmla="*/ 143930 w 447682"/>
              <a:gd name="connsiteY67" fmla="*/ 72969 h 433673"/>
              <a:gd name="connsiteX68" fmla="*/ 148597 w 447682"/>
              <a:gd name="connsiteY68" fmla="*/ 77636 h 4336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447682" h="433673">
                <a:moveTo>
                  <a:pt x="344717" y="95257"/>
                </a:moveTo>
                <a:cubicBezTo>
                  <a:pt x="356766" y="95257"/>
                  <a:pt x="366529" y="85491"/>
                  <a:pt x="366529" y="73445"/>
                </a:cubicBezTo>
                <a:lnTo>
                  <a:pt x="366529" y="21819"/>
                </a:lnTo>
                <a:cubicBezTo>
                  <a:pt x="366529" y="9773"/>
                  <a:pt x="356766" y="7"/>
                  <a:pt x="344717" y="7"/>
                </a:cubicBezTo>
                <a:cubicBezTo>
                  <a:pt x="332725" y="7"/>
                  <a:pt x="323000" y="9730"/>
                  <a:pt x="323000" y="21724"/>
                </a:cubicBezTo>
                <a:cubicBezTo>
                  <a:pt x="323000" y="21755"/>
                  <a:pt x="323000" y="21788"/>
                  <a:pt x="323000" y="21819"/>
                </a:cubicBezTo>
                <a:lnTo>
                  <a:pt x="323000" y="73445"/>
                </a:lnTo>
                <a:cubicBezTo>
                  <a:pt x="322943" y="85439"/>
                  <a:pt x="332630" y="95205"/>
                  <a:pt x="344622" y="95257"/>
                </a:cubicBezTo>
                <a:cubicBezTo>
                  <a:pt x="344650" y="95257"/>
                  <a:pt x="344688" y="95257"/>
                  <a:pt x="344717" y="95257"/>
                </a:cubicBezTo>
                <a:close/>
                <a:moveTo>
                  <a:pt x="105258" y="95257"/>
                </a:moveTo>
                <a:cubicBezTo>
                  <a:pt x="117251" y="95257"/>
                  <a:pt x="126976" y="85534"/>
                  <a:pt x="126976" y="73540"/>
                </a:cubicBezTo>
                <a:cubicBezTo>
                  <a:pt x="126976" y="73509"/>
                  <a:pt x="126976" y="73476"/>
                  <a:pt x="126976" y="73445"/>
                </a:cubicBezTo>
                <a:lnTo>
                  <a:pt x="126976" y="21819"/>
                </a:lnTo>
                <a:cubicBezTo>
                  <a:pt x="127033" y="9825"/>
                  <a:pt x="117345" y="59"/>
                  <a:pt x="105354" y="7"/>
                </a:cubicBezTo>
                <a:cubicBezTo>
                  <a:pt x="105325" y="7"/>
                  <a:pt x="105287" y="7"/>
                  <a:pt x="105258" y="7"/>
                </a:cubicBezTo>
                <a:cubicBezTo>
                  <a:pt x="93209" y="7"/>
                  <a:pt x="83446" y="9773"/>
                  <a:pt x="83446" y="21819"/>
                </a:cubicBezTo>
                <a:lnTo>
                  <a:pt x="83446" y="73445"/>
                </a:lnTo>
                <a:cubicBezTo>
                  <a:pt x="83446" y="85491"/>
                  <a:pt x="93209" y="95257"/>
                  <a:pt x="105258" y="95257"/>
                </a:cubicBezTo>
                <a:close/>
                <a:moveTo>
                  <a:pt x="436347" y="33059"/>
                </a:moveTo>
                <a:lnTo>
                  <a:pt x="384151" y="33059"/>
                </a:lnTo>
                <a:cubicBezTo>
                  <a:pt x="381626" y="33059"/>
                  <a:pt x="379578" y="35106"/>
                  <a:pt x="379578" y="37631"/>
                </a:cubicBezTo>
                <a:lnTo>
                  <a:pt x="379578" y="65158"/>
                </a:lnTo>
                <a:cubicBezTo>
                  <a:pt x="379578" y="72012"/>
                  <a:pt x="385103" y="77583"/>
                  <a:pt x="391961" y="77636"/>
                </a:cubicBezTo>
                <a:cubicBezTo>
                  <a:pt x="398847" y="77636"/>
                  <a:pt x="404439" y="83222"/>
                  <a:pt x="404439" y="90113"/>
                </a:cubicBezTo>
                <a:cubicBezTo>
                  <a:pt x="404439" y="90145"/>
                  <a:pt x="404439" y="90177"/>
                  <a:pt x="404439" y="90209"/>
                </a:cubicBezTo>
                <a:lnTo>
                  <a:pt x="404439" y="134976"/>
                </a:lnTo>
                <a:cubicBezTo>
                  <a:pt x="404391" y="141868"/>
                  <a:pt x="398762" y="147412"/>
                  <a:pt x="391866" y="147362"/>
                </a:cubicBezTo>
                <a:cubicBezTo>
                  <a:pt x="391808" y="147362"/>
                  <a:pt x="391742" y="147361"/>
                  <a:pt x="391675" y="147359"/>
                </a:cubicBezTo>
                <a:lnTo>
                  <a:pt x="58300" y="147359"/>
                </a:lnTo>
                <a:cubicBezTo>
                  <a:pt x="51404" y="147359"/>
                  <a:pt x="45822" y="141772"/>
                  <a:pt x="45822" y="134881"/>
                </a:cubicBezTo>
                <a:lnTo>
                  <a:pt x="45822" y="90209"/>
                </a:lnTo>
                <a:cubicBezTo>
                  <a:pt x="45775" y="83317"/>
                  <a:pt x="51309" y="77689"/>
                  <a:pt x="58205" y="77636"/>
                </a:cubicBezTo>
                <a:cubicBezTo>
                  <a:pt x="58233" y="77636"/>
                  <a:pt x="58272" y="77636"/>
                  <a:pt x="58300" y="77636"/>
                </a:cubicBezTo>
                <a:lnTo>
                  <a:pt x="58300" y="77636"/>
                </a:lnTo>
                <a:cubicBezTo>
                  <a:pt x="65158" y="77583"/>
                  <a:pt x="70683" y="72012"/>
                  <a:pt x="70683" y="65158"/>
                </a:cubicBezTo>
                <a:lnTo>
                  <a:pt x="70683" y="36583"/>
                </a:lnTo>
                <a:cubicBezTo>
                  <a:pt x="70683" y="34479"/>
                  <a:pt x="68977" y="32773"/>
                  <a:pt x="66873" y="32773"/>
                </a:cubicBezTo>
                <a:lnTo>
                  <a:pt x="13914" y="32773"/>
                </a:lnTo>
                <a:cubicBezTo>
                  <a:pt x="7075" y="32560"/>
                  <a:pt x="1359" y="37927"/>
                  <a:pt x="1150" y="44762"/>
                </a:cubicBezTo>
                <a:cubicBezTo>
                  <a:pt x="1141" y="45020"/>
                  <a:pt x="1141" y="45278"/>
                  <a:pt x="1150" y="45536"/>
                </a:cubicBezTo>
                <a:lnTo>
                  <a:pt x="1150" y="402057"/>
                </a:lnTo>
                <a:cubicBezTo>
                  <a:pt x="1150" y="419526"/>
                  <a:pt x="15305" y="433680"/>
                  <a:pt x="32773" y="433680"/>
                </a:cubicBezTo>
                <a:lnTo>
                  <a:pt x="417202" y="433680"/>
                </a:lnTo>
                <a:cubicBezTo>
                  <a:pt x="434671" y="433680"/>
                  <a:pt x="448825" y="419526"/>
                  <a:pt x="448825" y="402057"/>
                </a:cubicBezTo>
                <a:lnTo>
                  <a:pt x="448825" y="45536"/>
                </a:lnTo>
                <a:cubicBezTo>
                  <a:pt x="448882" y="38698"/>
                  <a:pt x="443377" y="33111"/>
                  <a:pt x="436538" y="33059"/>
                </a:cubicBezTo>
                <a:cubicBezTo>
                  <a:pt x="436471" y="33058"/>
                  <a:pt x="436414" y="33058"/>
                  <a:pt x="436347" y="33059"/>
                </a:cubicBezTo>
                <a:close/>
                <a:moveTo>
                  <a:pt x="337383" y="240894"/>
                </a:moveTo>
                <a:lnTo>
                  <a:pt x="206414" y="344145"/>
                </a:lnTo>
                <a:cubicBezTo>
                  <a:pt x="199232" y="349774"/>
                  <a:pt x="188945" y="348989"/>
                  <a:pt x="182697" y="342336"/>
                </a:cubicBezTo>
                <a:lnTo>
                  <a:pt x="128880" y="285186"/>
                </a:lnTo>
                <a:cubicBezTo>
                  <a:pt x="122270" y="278077"/>
                  <a:pt x="122651" y="266961"/>
                  <a:pt x="129738" y="260325"/>
                </a:cubicBezTo>
                <a:cubicBezTo>
                  <a:pt x="136815" y="253725"/>
                  <a:pt x="147902" y="254109"/>
                  <a:pt x="154502" y="261182"/>
                </a:cubicBezTo>
                <a:lnTo>
                  <a:pt x="186316" y="294996"/>
                </a:lnTo>
                <a:cubicBezTo>
                  <a:pt x="192526" y="301636"/>
                  <a:pt x="202785" y="302422"/>
                  <a:pt x="209938" y="296806"/>
                </a:cubicBezTo>
                <a:lnTo>
                  <a:pt x="315666" y="213557"/>
                </a:lnTo>
                <a:cubicBezTo>
                  <a:pt x="323238" y="207531"/>
                  <a:pt x="334268" y="208786"/>
                  <a:pt x="340288" y="216361"/>
                </a:cubicBezTo>
                <a:cubicBezTo>
                  <a:pt x="340307" y="216379"/>
                  <a:pt x="340326" y="216397"/>
                  <a:pt x="340335" y="216415"/>
                </a:cubicBezTo>
                <a:lnTo>
                  <a:pt x="340335" y="216415"/>
                </a:lnTo>
                <a:cubicBezTo>
                  <a:pt x="346231" y="224005"/>
                  <a:pt x="344908" y="234923"/>
                  <a:pt x="337383" y="240894"/>
                </a:cubicBezTo>
                <a:close/>
                <a:moveTo>
                  <a:pt x="148597" y="77636"/>
                </a:moveTo>
                <a:lnTo>
                  <a:pt x="300997" y="77636"/>
                </a:lnTo>
                <a:cubicBezTo>
                  <a:pt x="303578" y="77636"/>
                  <a:pt x="305664" y="75546"/>
                  <a:pt x="305664" y="72969"/>
                </a:cubicBezTo>
                <a:lnTo>
                  <a:pt x="305664" y="37726"/>
                </a:lnTo>
                <a:cubicBezTo>
                  <a:pt x="305664" y="35149"/>
                  <a:pt x="303578" y="33059"/>
                  <a:pt x="300997" y="33059"/>
                </a:cubicBezTo>
                <a:lnTo>
                  <a:pt x="148597" y="33059"/>
                </a:lnTo>
                <a:cubicBezTo>
                  <a:pt x="146016" y="33059"/>
                  <a:pt x="143930" y="35149"/>
                  <a:pt x="143930" y="37726"/>
                </a:cubicBezTo>
                <a:lnTo>
                  <a:pt x="143930" y="72969"/>
                </a:lnTo>
                <a:cubicBezTo>
                  <a:pt x="143930" y="75546"/>
                  <a:pt x="146016" y="77636"/>
                  <a:pt x="148597" y="77636"/>
                </a:cubicBezTo>
                <a:close/>
              </a:path>
            </a:pathLst>
          </a:custGeom>
          <a:solidFill>
            <a:schemeClr val="bg1"/>
          </a:solidFill>
          <a:ln w="9525" cap="flat">
            <a:noFill/>
            <a:prstDash val="solid"/>
            <a:miter/>
          </a:ln>
        </p:spPr>
        <p:txBody>
          <a:bodyPr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200" b="0" i="0" u="none" strike="noStrike" kern="1200" cap="none" spc="0" normalizeH="0" baseline="0" noProof="0" dirty="0">
              <a:ln>
                <a:noFill/>
              </a:ln>
              <a:solidFill>
                <a:srgbClr val="000000"/>
              </a:solidFill>
              <a:effectLst/>
              <a:uLnTx/>
              <a:uFillTx/>
              <a:latin typeface="Arial" panose="020F0502020204030204"/>
              <a:ea typeface="微软雅黑"/>
              <a:cs typeface="+mn-cs"/>
            </a:endParaRPr>
          </a:p>
        </p:txBody>
      </p:sp>
      <p:sp>
        <p:nvSpPr>
          <p:cNvPr id="88" name="gaoding-20">
            <a:extLst>
              <a:ext uri="{FF2B5EF4-FFF2-40B4-BE49-F238E27FC236}">
                <a16:creationId xmlns:a16="http://schemas.microsoft.com/office/drawing/2014/main" id="{5DBBFAD8-89CE-559B-C483-B40E52B22A57}"/>
              </a:ext>
            </a:extLst>
          </p:cNvPr>
          <p:cNvSpPr/>
          <p:nvPr/>
        </p:nvSpPr>
        <p:spPr>
          <a:xfrm>
            <a:off x="970589" y="4067309"/>
            <a:ext cx="333706" cy="307004"/>
          </a:xfrm>
          <a:custGeom>
            <a:avLst/>
            <a:gdLst>
              <a:gd name="connsiteX0" fmla="*/ 341095 w 461968"/>
              <a:gd name="connsiteY0" fmla="*/ 172695 h 425005"/>
              <a:gd name="connsiteX1" fmla="*/ 171074 w 461968"/>
              <a:gd name="connsiteY1" fmla="*/ 7 h 425005"/>
              <a:gd name="connsiteX2" fmla="*/ 1148 w 461968"/>
              <a:gd name="connsiteY2" fmla="*/ 172695 h 425005"/>
              <a:gd name="connsiteX3" fmla="*/ 32009 w 461968"/>
              <a:gd name="connsiteY3" fmla="*/ 272041 h 425005"/>
              <a:gd name="connsiteX4" fmla="*/ 25818 w 461968"/>
              <a:gd name="connsiteY4" fmla="*/ 297378 h 425005"/>
              <a:gd name="connsiteX5" fmla="*/ 38124 w 461968"/>
              <a:gd name="connsiteY5" fmla="*/ 317956 h 425005"/>
              <a:gd name="connsiteX6" fmla="*/ 43439 w 461968"/>
              <a:gd name="connsiteY6" fmla="*/ 318428 h 425005"/>
              <a:gd name="connsiteX7" fmla="*/ 76300 w 461968"/>
              <a:gd name="connsiteY7" fmla="*/ 316237 h 425005"/>
              <a:gd name="connsiteX8" fmla="*/ 171550 w 461968"/>
              <a:gd name="connsiteY8" fmla="*/ 345574 h 425005"/>
              <a:gd name="connsiteX9" fmla="*/ 341095 w 461968"/>
              <a:gd name="connsiteY9" fmla="*/ 172695 h 425005"/>
              <a:gd name="connsiteX10" fmla="*/ 249560 w 461968"/>
              <a:gd name="connsiteY10" fmla="*/ 150502 h 425005"/>
              <a:gd name="connsiteX11" fmla="*/ 271372 w 461968"/>
              <a:gd name="connsiteY11" fmla="*/ 172693 h 425005"/>
              <a:gd name="connsiteX12" fmla="*/ 271372 w 461968"/>
              <a:gd name="connsiteY12" fmla="*/ 172695 h 425005"/>
              <a:gd name="connsiteX13" fmla="*/ 249560 w 461968"/>
              <a:gd name="connsiteY13" fmla="*/ 194793 h 425005"/>
              <a:gd name="connsiteX14" fmla="*/ 227367 w 461968"/>
              <a:gd name="connsiteY14" fmla="*/ 172982 h 425005"/>
              <a:gd name="connsiteX15" fmla="*/ 227367 w 461968"/>
              <a:gd name="connsiteY15" fmla="*/ 172695 h 425005"/>
              <a:gd name="connsiteX16" fmla="*/ 249179 w 461968"/>
              <a:gd name="connsiteY16" fmla="*/ 150502 h 425005"/>
              <a:gd name="connsiteX17" fmla="*/ 249560 w 461968"/>
              <a:gd name="connsiteY17" fmla="*/ 150502 h 425005"/>
              <a:gd name="connsiteX18" fmla="*/ 92683 w 461968"/>
              <a:gd name="connsiteY18" fmla="*/ 194793 h 425005"/>
              <a:gd name="connsiteX19" fmla="*/ 70871 w 461968"/>
              <a:gd name="connsiteY19" fmla="*/ 172791 h 425005"/>
              <a:gd name="connsiteX20" fmla="*/ 70871 w 461968"/>
              <a:gd name="connsiteY20" fmla="*/ 172695 h 425005"/>
              <a:gd name="connsiteX21" fmla="*/ 92493 w 461968"/>
              <a:gd name="connsiteY21" fmla="*/ 150504 h 425005"/>
              <a:gd name="connsiteX22" fmla="*/ 92683 w 461968"/>
              <a:gd name="connsiteY22" fmla="*/ 150502 h 425005"/>
              <a:gd name="connsiteX23" fmla="*/ 114496 w 461968"/>
              <a:gd name="connsiteY23" fmla="*/ 172693 h 425005"/>
              <a:gd name="connsiteX24" fmla="*/ 114496 w 461968"/>
              <a:gd name="connsiteY24" fmla="*/ 172695 h 425005"/>
              <a:gd name="connsiteX25" fmla="*/ 92683 w 461968"/>
              <a:gd name="connsiteY25" fmla="*/ 194793 h 425005"/>
              <a:gd name="connsiteX26" fmla="*/ 149357 w 461968"/>
              <a:gd name="connsiteY26" fmla="*/ 172695 h 425005"/>
              <a:gd name="connsiteX27" fmla="*/ 170979 w 461968"/>
              <a:gd name="connsiteY27" fmla="*/ 150503 h 425005"/>
              <a:gd name="connsiteX28" fmla="*/ 171074 w 461968"/>
              <a:gd name="connsiteY28" fmla="*/ 150502 h 425005"/>
              <a:gd name="connsiteX29" fmla="*/ 192886 w 461968"/>
              <a:gd name="connsiteY29" fmla="*/ 172503 h 425005"/>
              <a:gd name="connsiteX30" fmla="*/ 192886 w 461968"/>
              <a:gd name="connsiteY30" fmla="*/ 172695 h 425005"/>
              <a:gd name="connsiteX31" fmla="*/ 171169 w 461968"/>
              <a:gd name="connsiteY31" fmla="*/ 194792 h 425005"/>
              <a:gd name="connsiteX32" fmla="*/ 171074 w 461968"/>
              <a:gd name="connsiteY32" fmla="*/ 194793 h 425005"/>
              <a:gd name="connsiteX33" fmla="*/ 149357 w 461968"/>
              <a:gd name="connsiteY33" fmla="*/ 172697 h 425005"/>
              <a:gd name="connsiteX34" fmla="*/ 149357 w 461968"/>
              <a:gd name="connsiteY34" fmla="*/ 172695 h 425005"/>
              <a:gd name="connsiteX35" fmla="*/ 463110 w 461968"/>
              <a:gd name="connsiteY35" fmla="*/ 252324 h 425005"/>
              <a:gd name="connsiteX36" fmla="*/ 349382 w 461968"/>
              <a:gd name="connsiteY36" fmla="*/ 89542 h 425005"/>
              <a:gd name="connsiteX37" fmla="*/ 367193 w 461968"/>
              <a:gd name="connsiteY37" fmla="*/ 172695 h 425005"/>
              <a:gd name="connsiteX38" fmla="*/ 171083 w 461968"/>
              <a:gd name="connsiteY38" fmla="*/ 371863 h 425005"/>
              <a:gd name="connsiteX39" fmla="*/ 171074 w 461968"/>
              <a:gd name="connsiteY39" fmla="*/ 371863 h 425005"/>
              <a:gd name="connsiteX40" fmla="*/ 171074 w 461968"/>
              <a:gd name="connsiteY40" fmla="*/ 371863 h 425005"/>
              <a:gd name="connsiteX41" fmla="*/ 293565 w 461968"/>
              <a:gd name="connsiteY41" fmla="*/ 425013 h 425005"/>
              <a:gd name="connsiteX42" fmla="*/ 386053 w 461968"/>
              <a:gd name="connsiteY42" fmla="*/ 397104 h 425005"/>
              <a:gd name="connsiteX43" fmla="*/ 417486 w 461968"/>
              <a:gd name="connsiteY43" fmla="*/ 401962 h 425005"/>
              <a:gd name="connsiteX44" fmla="*/ 434916 w 461968"/>
              <a:gd name="connsiteY44" fmla="*/ 389065 h 425005"/>
              <a:gd name="connsiteX45" fmla="*/ 434726 w 461968"/>
              <a:gd name="connsiteY45" fmla="*/ 383483 h 425005"/>
              <a:gd name="connsiteX46" fmla="*/ 428725 w 461968"/>
              <a:gd name="connsiteY46" fmla="*/ 356718 h 425005"/>
              <a:gd name="connsiteX47" fmla="*/ 463110 w 461968"/>
              <a:gd name="connsiteY47" fmla="*/ 252324 h 4250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461968" h="425005">
                <a:moveTo>
                  <a:pt x="341095" y="172695"/>
                </a:moveTo>
                <a:cubicBezTo>
                  <a:pt x="341781" y="78079"/>
                  <a:pt x="265686" y="793"/>
                  <a:pt x="171074" y="7"/>
                </a:cubicBezTo>
                <a:cubicBezTo>
                  <a:pt x="76500" y="845"/>
                  <a:pt x="462" y="78116"/>
                  <a:pt x="1148" y="172695"/>
                </a:cubicBezTo>
                <a:cubicBezTo>
                  <a:pt x="1081" y="208181"/>
                  <a:pt x="11844" y="242842"/>
                  <a:pt x="32009" y="272041"/>
                </a:cubicBezTo>
                <a:lnTo>
                  <a:pt x="25818" y="297378"/>
                </a:lnTo>
                <a:cubicBezTo>
                  <a:pt x="23531" y="306459"/>
                  <a:pt x="29047" y="315672"/>
                  <a:pt x="38124" y="317956"/>
                </a:cubicBezTo>
                <a:cubicBezTo>
                  <a:pt x="39858" y="318394"/>
                  <a:pt x="41658" y="318553"/>
                  <a:pt x="43439" y="318428"/>
                </a:cubicBezTo>
                <a:lnTo>
                  <a:pt x="76300" y="316237"/>
                </a:lnTo>
                <a:cubicBezTo>
                  <a:pt x="104322" y="335490"/>
                  <a:pt x="137555" y="345725"/>
                  <a:pt x="171550" y="345574"/>
                </a:cubicBezTo>
                <a:cubicBezTo>
                  <a:pt x="266057" y="344527"/>
                  <a:pt x="341886" y="267201"/>
                  <a:pt x="341095" y="172695"/>
                </a:cubicBezTo>
                <a:close/>
                <a:moveTo>
                  <a:pt x="249560" y="150502"/>
                </a:moveTo>
                <a:cubicBezTo>
                  <a:pt x="261714" y="150607"/>
                  <a:pt x="271477" y="160542"/>
                  <a:pt x="271372" y="172693"/>
                </a:cubicBezTo>
                <a:cubicBezTo>
                  <a:pt x="271372" y="172694"/>
                  <a:pt x="271372" y="172694"/>
                  <a:pt x="271372" y="172695"/>
                </a:cubicBezTo>
                <a:cubicBezTo>
                  <a:pt x="271429" y="184810"/>
                  <a:pt x="261675" y="194688"/>
                  <a:pt x="249560" y="194793"/>
                </a:cubicBezTo>
                <a:cubicBezTo>
                  <a:pt x="237406" y="194899"/>
                  <a:pt x="227471" y="185133"/>
                  <a:pt x="227367" y="172982"/>
                </a:cubicBezTo>
                <a:cubicBezTo>
                  <a:pt x="227367" y="172887"/>
                  <a:pt x="227367" y="172791"/>
                  <a:pt x="227367" y="172695"/>
                </a:cubicBezTo>
                <a:cubicBezTo>
                  <a:pt x="227262" y="160544"/>
                  <a:pt x="237025" y="150608"/>
                  <a:pt x="249179" y="150502"/>
                </a:cubicBezTo>
                <a:cubicBezTo>
                  <a:pt x="249302" y="150501"/>
                  <a:pt x="249436" y="150501"/>
                  <a:pt x="249560" y="150502"/>
                </a:cubicBezTo>
                <a:close/>
                <a:moveTo>
                  <a:pt x="92683" y="194793"/>
                </a:moveTo>
                <a:cubicBezTo>
                  <a:pt x="80587" y="194741"/>
                  <a:pt x="70814" y="184890"/>
                  <a:pt x="70871" y="172791"/>
                </a:cubicBezTo>
                <a:cubicBezTo>
                  <a:pt x="70871" y="172759"/>
                  <a:pt x="70871" y="172728"/>
                  <a:pt x="70871" y="172695"/>
                </a:cubicBezTo>
                <a:cubicBezTo>
                  <a:pt x="70709" y="160598"/>
                  <a:pt x="80396" y="150662"/>
                  <a:pt x="92493" y="150504"/>
                </a:cubicBezTo>
                <a:cubicBezTo>
                  <a:pt x="92550" y="150503"/>
                  <a:pt x="92617" y="150502"/>
                  <a:pt x="92683" y="150502"/>
                </a:cubicBezTo>
                <a:cubicBezTo>
                  <a:pt x="104837" y="150607"/>
                  <a:pt x="114600" y="160542"/>
                  <a:pt x="114496" y="172693"/>
                </a:cubicBezTo>
                <a:cubicBezTo>
                  <a:pt x="114496" y="172694"/>
                  <a:pt x="114496" y="172694"/>
                  <a:pt x="114496" y="172695"/>
                </a:cubicBezTo>
                <a:cubicBezTo>
                  <a:pt x="114552" y="184810"/>
                  <a:pt x="104799" y="194688"/>
                  <a:pt x="92683" y="194793"/>
                </a:cubicBezTo>
                <a:close/>
                <a:moveTo>
                  <a:pt x="149357" y="172695"/>
                </a:moveTo>
                <a:cubicBezTo>
                  <a:pt x="149195" y="160598"/>
                  <a:pt x="158882" y="150661"/>
                  <a:pt x="170979" y="150503"/>
                </a:cubicBezTo>
                <a:cubicBezTo>
                  <a:pt x="171007" y="150503"/>
                  <a:pt x="171045" y="150502"/>
                  <a:pt x="171074" y="150502"/>
                </a:cubicBezTo>
                <a:cubicBezTo>
                  <a:pt x="183170" y="150553"/>
                  <a:pt x="192943" y="160403"/>
                  <a:pt x="192886" y="172503"/>
                </a:cubicBezTo>
                <a:cubicBezTo>
                  <a:pt x="192886" y="172567"/>
                  <a:pt x="192886" y="172631"/>
                  <a:pt x="192886" y="172695"/>
                </a:cubicBezTo>
                <a:cubicBezTo>
                  <a:pt x="192991" y="184794"/>
                  <a:pt x="183266" y="194688"/>
                  <a:pt x="171169" y="194792"/>
                </a:cubicBezTo>
                <a:cubicBezTo>
                  <a:pt x="171140" y="194793"/>
                  <a:pt x="171103" y="194793"/>
                  <a:pt x="171074" y="194793"/>
                </a:cubicBezTo>
                <a:cubicBezTo>
                  <a:pt x="158977" y="194688"/>
                  <a:pt x="149252" y="184796"/>
                  <a:pt x="149357" y="172697"/>
                </a:cubicBezTo>
                <a:cubicBezTo>
                  <a:pt x="149357" y="172696"/>
                  <a:pt x="149357" y="172696"/>
                  <a:pt x="149357" y="172695"/>
                </a:cubicBezTo>
                <a:close/>
                <a:moveTo>
                  <a:pt x="463110" y="252324"/>
                </a:moveTo>
                <a:cubicBezTo>
                  <a:pt x="463367" y="179496"/>
                  <a:pt x="417857" y="114354"/>
                  <a:pt x="349382" y="89542"/>
                </a:cubicBezTo>
                <a:cubicBezTo>
                  <a:pt x="361164" y="115678"/>
                  <a:pt x="367241" y="144026"/>
                  <a:pt x="367193" y="172695"/>
                </a:cubicBezTo>
                <a:cubicBezTo>
                  <a:pt x="368041" y="281848"/>
                  <a:pt x="280240" y="371018"/>
                  <a:pt x="171083" y="371863"/>
                </a:cubicBezTo>
                <a:cubicBezTo>
                  <a:pt x="171083" y="371863"/>
                  <a:pt x="171074" y="371863"/>
                  <a:pt x="171074" y="371863"/>
                </a:cubicBezTo>
                <a:lnTo>
                  <a:pt x="171074" y="371863"/>
                </a:lnTo>
                <a:cubicBezTo>
                  <a:pt x="202792" y="405772"/>
                  <a:pt x="247140" y="425013"/>
                  <a:pt x="293565" y="425013"/>
                </a:cubicBezTo>
                <a:cubicBezTo>
                  <a:pt x="326465" y="425013"/>
                  <a:pt x="358640" y="415307"/>
                  <a:pt x="386053" y="397104"/>
                </a:cubicBezTo>
                <a:lnTo>
                  <a:pt x="417486" y="401962"/>
                </a:lnTo>
                <a:cubicBezTo>
                  <a:pt x="425858" y="403210"/>
                  <a:pt x="433668" y="397438"/>
                  <a:pt x="434916" y="389065"/>
                </a:cubicBezTo>
                <a:cubicBezTo>
                  <a:pt x="435192" y="387208"/>
                  <a:pt x="435135" y="385312"/>
                  <a:pt x="434726" y="383483"/>
                </a:cubicBezTo>
                <a:lnTo>
                  <a:pt x="428725" y="356718"/>
                </a:lnTo>
                <a:cubicBezTo>
                  <a:pt x="451204" y="326571"/>
                  <a:pt x="463272" y="289931"/>
                  <a:pt x="463110" y="252324"/>
                </a:cubicBezTo>
                <a:close/>
              </a:path>
            </a:pathLst>
          </a:custGeom>
          <a:solidFill>
            <a:schemeClr val="bg1"/>
          </a:solidFill>
          <a:ln w="9525" cap="flat">
            <a:noFill/>
            <a:prstDash val="solid"/>
            <a:miter/>
          </a:ln>
        </p:spPr>
        <p:txBody>
          <a:bodyPr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200" b="0" i="0" u="none" strike="noStrike" kern="1200" cap="none" spc="0" normalizeH="0" baseline="0" noProof="0">
              <a:ln>
                <a:noFill/>
              </a:ln>
              <a:solidFill>
                <a:srgbClr val="000000"/>
              </a:solidFill>
              <a:effectLst/>
              <a:uLnTx/>
              <a:uFillTx/>
              <a:latin typeface="Arial" panose="020F0502020204030204"/>
              <a:ea typeface="微软雅黑"/>
              <a:cs typeface="+mn-cs"/>
            </a:endParaRPr>
          </a:p>
        </p:txBody>
      </p:sp>
      <p:grpSp>
        <p:nvGrpSpPr>
          <p:cNvPr id="42" name="组合 41">
            <a:extLst>
              <a:ext uri="{FF2B5EF4-FFF2-40B4-BE49-F238E27FC236}">
                <a16:creationId xmlns:a16="http://schemas.microsoft.com/office/drawing/2014/main" id="{9CE4D127-AC0E-6D0A-5D40-F9D2D5430235}"/>
              </a:ext>
            </a:extLst>
          </p:cNvPr>
          <p:cNvGrpSpPr/>
          <p:nvPr/>
        </p:nvGrpSpPr>
        <p:grpSpPr>
          <a:xfrm>
            <a:off x="3738880" y="1422300"/>
            <a:ext cx="4714240" cy="4583544"/>
            <a:chOff x="2454014" y="1687049"/>
            <a:chExt cx="4800920" cy="4583544"/>
          </a:xfrm>
        </p:grpSpPr>
        <p:sp>
          <p:nvSpPr>
            <p:cNvPr id="43" name="gaoding-21-1">
              <a:extLst>
                <a:ext uri="{FF2B5EF4-FFF2-40B4-BE49-F238E27FC236}">
                  <a16:creationId xmlns:a16="http://schemas.microsoft.com/office/drawing/2014/main" id="{52A2B5F1-7ABC-1679-77D4-078234E489D7}"/>
                </a:ext>
              </a:extLst>
            </p:cNvPr>
            <p:cNvSpPr/>
            <p:nvPr/>
          </p:nvSpPr>
          <p:spPr>
            <a:xfrm>
              <a:off x="2454014" y="1687049"/>
              <a:ext cx="4800920" cy="4583544"/>
            </a:xfrm>
            <a:custGeom>
              <a:avLst/>
              <a:gdLst>
                <a:gd name="connsiteX0" fmla="*/ 342139 w 3230880"/>
                <a:gd name="connsiteY0" fmla="*/ 2294657 h 3084592"/>
                <a:gd name="connsiteX1" fmla="*/ 2888741 w 3230880"/>
                <a:gd name="connsiteY1" fmla="*/ 2294657 h 3084592"/>
                <a:gd name="connsiteX2" fmla="*/ 3220088 w 3230880"/>
                <a:gd name="connsiteY2" fmla="*/ 2891788 h 3084592"/>
                <a:gd name="connsiteX3" fmla="*/ 3222540 w 3230880"/>
                <a:gd name="connsiteY3" fmla="*/ 2893512 h 3084592"/>
                <a:gd name="connsiteX4" fmla="*/ 3230880 w 3230880"/>
                <a:gd name="connsiteY4" fmla="*/ 2911236 h 3084592"/>
                <a:gd name="connsiteX5" fmla="*/ 1615440 w 3230880"/>
                <a:gd name="connsiteY5" fmla="*/ 3084592 h 3084592"/>
                <a:gd name="connsiteX6" fmla="*/ 0 w 3230880"/>
                <a:gd name="connsiteY6" fmla="*/ 2911236 h 3084592"/>
                <a:gd name="connsiteX7" fmla="*/ 8341 w 3230880"/>
                <a:gd name="connsiteY7" fmla="*/ 2893512 h 3084592"/>
                <a:gd name="connsiteX8" fmla="*/ 10792 w 3230880"/>
                <a:gd name="connsiteY8" fmla="*/ 2891788 h 3084592"/>
                <a:gd name="connsiteX9" fmla="*/ 734332 w 3230880"/>
                <a:gd name="connsiteY9" fmla="*/ 1587873 h 3084592"/>
                <a:gd name="connsiteX10" fmla="*/ 2496548 w 3230880"/>
                <a:gd name="connsiteY10" fmla="*/ 1587873 h 3084592"/>
                <a:gd name="connsiteX11" fmla="*/ 2741965 w 3230880"/>
                <a:gd name="connsiteY11" fmla="*/ 2030147 h 3084592"/>
                <a:gd name="connsiteX12" fmla="*/ 488915 w 3230880"/>
                <a:gd name="connsiteY12" fmla="*/ 2030147 h 3084592"/>
                <a:gd name="connsiteX13" fmla="*/ 1089560 w 3230880"/>
                <a:gd name="connsiteY13" fmla="*/ 947706 h 3084592"/>
                <a:gd name="connsiteX14" fmla="*/ 2141321 w 3230880"/>
                <a:gd name="connsiteY14" fmla="*/ 947706 h 3084592"/>
                <a:gd name="connsiteX15" fmla="*/ 2349772 w 3230880"/>
                <a:gd name="connsiteY15" fmla="*/ 1323363 h 3084592"/>
                <a:gd name="connsiteX16" fmla="*/ 881108 w 3230880"/>
                <a:gd name="connsiteY16" fmla="*/ 1323363 h 3084592"/>
                <a:gd name="connsiteX17" fmla="*/ 1615440 w 3230880"/>
                <a:gd name="connsiteY17" fmla="*/ 0 h 3084592"/>
                <a:gd name="connsiteX18" fmla="*/ 1994545 w 3230880"/>
                <a:gd name="connsiteY18" fmla="*/ 683196 h 3084592"/>
                <a:gd name="connsiteX19" fmla="*/ 1236336 w 3230880"/>
                <a:gd name="connsiteY19" fmla="*/ 683196 h 30845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230880" h="3084592">
                  <a:moveTo>
                    <a:pt x="342139" y="2294657"/>
                  </a:moveTo>
                  <a:lnTo>
                    <a:pt x="2888741" y="2294657"/>
                  </a:lnTo>
                  <a:lnTo>
                    <a:pt x="3220088" y="2891788"/>
                  </a:lnTo>
                  <a:lnTo>
                    <a:pt x="3222540" y="2893512"/>
                  </a:lnTo>
                  <a:cubicBezTo>
                    <a:pt x="3228055" y="2899339"/>
                    <a:pt x="3230880" y="2905252"/>
                    <a:pt x="3230880" y="2911236"/>
                  </a:cubicBezTo>
                  <a:cubicBezTo>
                    <a:pt x="3230880" y="3006978"/>
                    <a:pt x="2507623" y="3084592"/>
                    <a:pt x="1615440" y="3084592"/>
                  </a:cubicBezTo>
                  <a:cubicBezTo>
                    <a:pt x="723257" y="3084592"/>
                    <a:pt x="0" y="3006978"/>
                    <a:pt x="0" y="2911236"/>
                  </a:cubicBezTo>
                  <a:cubicBezTo>
                    <a:pt x="0" y="2905252"/>
                    <a:pt x="2826" y="2899339"/>
                    <a:pt x="8341" y="2893512"/>
                  </a:cubicBezTo>
                  <a:lnTo>
                    <a:pt x="10792" y="2891788"/>
                  </a:lnTo>
                  <a:close/>
                  <a:moveTo>
                    <a:pt x="734332" y="1587873"/>
                  </a:moveTo>
                  <a:lnTo>
                    <a:pt x="2496548" y="1587873"/>
                  </a:lnTo>
                  <a:lnTo>
                    <a:pt x="2741965" y="2030147"/>
                  </a:lnTo>
                  <a:lnTo>
                    <a:pt x="488915" y="2030147"/>
                  </a:lnTo>
                  <a:close/>
                  <a:moveTo>
                    <a:pt x="1089560" y="947706"/>
                  </a:moveTo>
                  <a:lnTo>
                    <a:pt x="2141321" y="947706"/>
                  </a:lnTo>
                  <a:lnTo>
                    <a:pt x="2349772" y="1323363"/>
                  </a:lnTo>
                  <a:lnTo>
                    <a:pt x="881108" y="1323363"/>
                  </a:lnTo>
                  <a:close/>
                  <a:moveTo>
                    <a:pt x="1615440" y="0"/>
                  </a:moveTo>
                  <a:lnTo>
                    <a:pt x="1994545" y="683196"/>
                  </a:lnTo>
                  <a:lnTo>
                    <a:pt x="1236336" y="683196"/>
                  </a:lnTo>
                  <a:close/>
                </a:path>
              </a:pathLst>
            </a:cu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Bahnschrift"/>
                <a:ea typeface="OPPOSans M"/>
                <a:cs typeface="+mn-cs"/>
              </a:endParaRPr>
            </a:p>
          </p:txBody>
        </p:sp>
        <p:sp>
          <p:nvSpPr>
            <p:cNvPr id="44" name="gaoding-21-2">
              <a:extLst>
                <a:ext uri="{FF2B5EF4-FFF2-40B4-BE49-F238E27FC236}">
                  <a16:creationId xmlns:a16="http://schemas.microsoft.com/office/drawing/2014/main" id="{444EF68F-D2C4-241E-A5D7-5BEEF5C6B1E4}"/>
                </a:ext>
              </a:extLst>
            </p:cNvPr>
            <p:cNvSpPr/>
            <p:nvPr/>
          </p:nvSpPr>
          <p:spPr>
            <a:xfrm>
              <a:off x="4288326" y="2609122"/>
              <a:ext cx="1132291" cy="17789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Bahnschrift"/>
                <a:ea typeface="OPPOSans M"/>
                <a:cs typeface="+mn-cs"/>
              </a:endParaRPr>
            </a:p>
          </p:txBody>
        </p:sp>
        <p:sp>
          <p:nvSpPr>
            <p:cNvPr id="45" name="gaoding-21-3">
              <a:extLst>
                <a:ext uri="{FF2B5EF4-FFF2-40B4-BE49-F238E27FC236}">
                  <a16:creationId xmlns:a16="http://schemas.microsoft.com/office/drawing/2014/main" id="{DC2FE686-68FE-B98D-B41E-D14D76C47B65}"/>
                </a:ext>
              </a:extLst>
            </p:cNvPr>
            <p:cNvSpPr/>
            <p:nvPr/>
          </p:nvSpPr>
          <p:spPr>
            <a:xfrm>
              <a:off x="3760470" y="3538220"/>
              <a:ext cx="2194560" cy="254918"/>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Bahnschrift"/>
                <a:ea typeface="OPPOSans M"/>
                <a:cs typeface="+mn-cs"/>
              </a:endParaRPr>
            </a:p>
          </p:txBody>
        </p:sp>
        <p:sp>
          <p:nvSpPr>
            <p:cNvPr id="46" name="gaoding-21-4">
              <a:extLst>
                <a:ext uri="{FF2B5EF4-FFF2-40B4-BE49-F238E27FC236}">
                  <a16:creationId xmlns:a16="http://schemas.microsoft.com/office/drawing/2014/main" id="{B75A167A-AE20-2219-31CC-456C6DA1C100}"/>
                </a:ext>
              </a:extLst>
            </p:cNvPr>
            <p:cNvSpPr/>
            <p:nvPr/>
          </p:nvSpPr>
          <p:spPr>
            <a:xfrm>
              <a:off x="3181604" y="4584715"/>
              <a:ext cx="3344671" cy="25491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Bahnschrift"/>
                <a:ea typeface="OPPOSans M"/>
                <a:cs typeface="+mn-cs"/>
              </a:endParaRPr>
            </a:p>
          </p:txBody>
        </p:sp>
        <p:sp>
          <p:nvSpPr>
            <p:cNvPr id="47" name="gaoding-21-5">
              <a:extLst>
                <a:ext uri="{FF2B5EF4-FFF2-40B4-BE49-F238E27FC236}">
                  <a16:creationId xmlns:a16="http://schemas.microsoft.com/office/drawing/2014/main" id="{ABB7C58C-B4E8-9738-8A4C-B703EA6E8381}"/>
                </a:ext>
              </a:extLst>
            </p:cNvPr>
            <p:cNvSpPr/>
            <p:nvPr/>
          </p:nvSpPr>
          <p:spPr>
            <a:xfrm>
              <a:off x="2963543" y="4962374"/>
              <a:ext cx="3781859" cy="25491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Bahnschrift"/>
                <a:ea typeface="OPPOSans M"/>
                <a:cs typeface="+mn-cs"/>
              </a:endParaRPr>
            </a:p>
          </p:txBody>
        </p:sp>
      </p:grpSp>
      <p:sp>
        <p:nvSpPr>
          <p:cNvPr id="48" name="gaoding-21-6">
            <a:extLst>
              <a:ext uri="{FF2B5EF4-FFF2-40B4-BE49-F238E27FC236}">
                <a16:creationId xmlns:a16="http://schemas.microsoft.com/office/drawing/2014/main" id="{68638376-3341-51F1-FD2D-7FA4480B8B70}"/>
              </a:ext>
            </a:extLst>
          </p:cNvPr>
          <p:cNvSpPr txBox="1"/>
          <p:nvPr/>
        </p:nvSpPr>
        <p:spPr>
          <a:xfrm>
            <a:off x="5702526" y="2805634"/>
            <a:ext cx="887415"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200" b="1" i="0" u="none" strike="noStrike" kern="1200" cap="none" spc="0" normalizeH="0" baseline="0" noProof="0" dirty="0">
                <a:ln>
                  <a:noFill/>
                </a:ln>
                <a:solidFill>
                  <a:srgbClr val="FFFFFF"/>
                </a:solidFill>
                <a:effectLst/>
                <a:uLnTx/>
                <a:uFillTx/>
                <a:latin typeface="Bahnschrift"/>
                <a:ea typeface="OPPOSans M"/>
                <a:cs typeface="+mn-cs"/>
              </a:rPr>
              <a:t>秋叶设计</a:t>
            </a:r>
          </a:p>
        </p:txBody>
      </p:sp>
      <p:sp>
        <p:nvSpPr>
          <p:cNvPr id="49" name="gaoding-21-7">
            <a:extLst>
              <a:ext uri="{FF2B5EF4-FFF2-40B4-BE49-F238E27FC236}">
                <a16:creationId xmlns:a16="http://schemas.microsoft.com/office/drawing/2014/main" id="{06D2A2CA-1B69-7DBE-1E72-3FE0EF147088}"/>
              </a:ext>
            </a:extLst>
          </p:cNvPr>
          <p:cNvSpPr txBox="1"/>
          <p:nvPr/>
        </p:nvSpPr>
        <p:spPr>
          <a:xfrm>
            <a:off x="5422559" y="3011861"/>
            <a:ext cx="1447347" cy="2308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900" b="0" i="0" u="none" strike="noStrike" kern="1200" cap="none" spc="0" normalizeH="0" baseline="0" noProof="0" dirty="0" err="1">
                <a:ln>
                  <a:noFill/>
                </a:ln>
                <a:solidFill>
                  <a:srgbClr val="2254F4">
                    <a:lumMod val="20000"/>
                    <a:lumOff val="80000"/>
                  </a:srgbClr>
                </a:solidFill>
                <a:effectLst/>
                <a:uLnTx/>
                <a:uFillTx/>
                <a:latin typeface="OPPOSans M"/>
                <a:ea typeface="OPPOSans M"/>
                <a:cs typeface="+mn-cs"/>
              </a:rPr>
              <a:t>Qiuye</a:t>
            </a:r>
            <a:r>
              <a:rPr kumimoji="0" lang="en-US" altLang="zh-CN" sz="900" b="0" i="0" u="none" strike="noStrike" kern="1200" cap="none" spc="0" normalizeH="0" baseline="0" noProof="0" dirty="0">
                <a:ln>
                  <a:noFill/>
                </a:ln>
                <a:solidFill>
                  <a:srgbClr val="2254F4">
                    <a:lumMod val="20000"/>
                    <a:lumOff val="80000"/>
                  </a:srgbClr>
                </a:solidFill>
                <a:effectLst/>
                <a:uLnTx/>
                <a:uFillTx/>
                <a:latin typeface="OPPOSans M"/>
                <a:ea typeface="OPPOSans M"/>
                <a:cs typeface="+mn-cs"/>
              </a:rPr>
              <a:t> Design</a:t>
            </a:r>
            <a:endParaRPr kumimoji="0" lang="zh-CN" altLang="en-US" sz="900" b="0" i="0" u="none" strike="noStrike" kern="1200" cap="none" spc="0" normalizeH="0" baseline="0" noProof="0" dirty="0">
              <a:ln>
                <a:noFill/>
              </a:ln>
              <a:solidFill>
                <a:srgbClr val="2254F4">
                  <a:lumMod val="20000"/>
                  <a:lumOff val="80000"/>
                </a:srgbClr>
              </a:solidFill>
              <a:effectLst/>
              <a:uLnTx/>
              <a:uFillTx/>
              <a:latin typeface="OPPOSans M"/>
              <a:ea typeface="OPPOSans M"/>
              <a:cs typeface="+mn-cs"/>
            </a:endParaRPr>
          </a:p>
        </p:txBody>
      </p:sp>
      <p:sp>
        <p:nvSpPr>
          <p:cNvPr id="50" name="gaoding-21-8">
            <a:extLst>
              <a:ext uri="{FF2B5EF4-FFF2-40B4-BE49-F238E27FC236}">
                <a16:creationId xmlns:a16="http://schemas.microsoft.com/office/drawing/2014/main" id="{FB8AE783-1EAD-CE75-6BCD-77393B9BEC9D}"/>
              </a:ext>
            </a:extLst>
          </p:cNvPr>
          <p:cNvSpPr txBox="1"/>
          <p:nvPr/>
        </p:nvSpPr>
        <p:spPr>
          <a:xfrm>
            <a:off x="5769556" y="1860022"/>
            <a:ext cx="684764"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200" b="1" i="0" u="none" strike="noStrike" kern="1200" cap="none" spc="0" normalizeH="0" baseline="0" noProof="0" dirty="0">
                <a:ln>
                  <a:noFill/>
                </a:ln>
                <a:solidFill>
                  <a:srgbClr val="FFFFFF"/>
                </a:solidFill>
                <a:effectLst/>
                <a:uLnTx/>
                <a:uFillTx/>
                <a:latin typeface="Bahnschrift"/>
                <a:ea typeface="OPPOSans M"/>
                <a:cs typeface="+mn-cs"/>
              </a:rPr>
              <a:t>秋叶</a:t>
            </a:r>
          </a:p>
        </p:txBody>
      </p:sp>
      <p:sp>
        <p:nvSpPr>
          <p:cNvPr id="51" name="gaoding-21-9">
            <a:extLst>
              <a:ext uri="{FF2B5EF4-FFF2-40B4-BE49-F238E27FC236}">
                <a16:creationId xmlns:a16="http://schemas.microsoft.com/office/drawing/2014/main" id="{3DF5570B-C1B9-E916-3C3B-8E78280AA2FD}"/>
              </a:ext>
            </a:extLst>
          </p:cNvPr>
          <p:cNvSpPr txBox="1"/>
          <p:nvPr/>
        </p:nvSpPr>
        <p:spPr>
          <a:xfrm>
            <a:off x="5702526" y="2065476"/>
            <a:ext cx="818823" cy="2308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900" b="0" i="0" u="none" strike="noStrike" kern="1200" cap="none" spc="0" normalizeH="0" baseline="0" noProof="0" dirty="0" err="1">
                <a:ln>
                  <a:noFill/>
                </a:ln>
                <a:solidFill>
                  <a:srgbClr val="2254F4">
                    <a:lumMod val="20000"/>
                    <a:lumOff val="80000"/>
                  </a:srgbClr>
                </a:solidFill>
                <a:effectLst/>
                <a:uLnTx/>
                <a:uFillTx/>
                <a:latin typeface="OPPOSans M"/>
                <a:ea typeface="OPPOSans M"/>
                <a:cs typeface="+mn-cs"/>
              </a:rPr>
              <a:t>Qiuye</a:t>
            </a:r>
            <a:endParaRPr kumimoji="0" lang="zh-CN" altLang="en-US" sz="900" b="0" i="0" u="none" strike="noStrike" kern="1200" cap="none" spc="0" normalizeH="0" baseline="0" noProof="0" dirty="0">
              <a:ln>
                <a:noFill/>
              </a:ln>
              <a:solidFill>
                <a:srgbClr val="2254F4">
                  <a:lumMod val="20000"/>
                  <a:lumOff val="80000"/>
                </a:srgbClr>
              </a:solidFill>
              <a:effectLst/>
              <a:uLnTx/>
              <a:uFillTx/>
              <a:latin typeface="OPPOSans M"/>
              <a:ea typeface="OPPOSans M"/>
              <a:cs typeface="+mn-cs"/>
            </a:endParaRPr>
          </a:p>
        </p:txBody>
      </p:sp>
      <p:sp>
        <p:nvSpPr>
          <p:cNvPr id="52" name="gaoding-21-10">
            <a:extLst>
              <a:ext uri="{FF2B5EF4-FFF2-40B4-BE49-F238E27FC236}">
                <a16:creationId xmlns:a16="http://schemas.microsoft.com/office/drawing/2014/main" id="{DCE79712-DC60-28E8-62C4-0A0B79354519}"/>
              </a:ext>
            </a:extLst>
          </p:cNvPr>
          <p:cNvSpPr txBox="1"/>
          <p:nvPr/>
        </p:nvSpPr>
        <p:spPr>
          <a:xfrm>
            <a:off x="5769556" y="3832277"/>
            <a:ext cx="684764"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200" b="1" i="0" u="none" strike="noStrike" kern="1200" cap="none" spc="0" normalizeH="0" baseline="0" noProof="0" dirty="0">
                <a:ln>
                  <a:noFill/>
                </a:ln>
                <a:solidFill>
                  <a:srgbClr val="FFFFFF"/>
                </a:solidFill>
                <a:effectLst/>
                <a:uLnTx/>
                <a:uFillTx/>
                <a:latin typeface="Bahnschrift"/>
                <a:ea typeface="OPPOSans M"/>
                <a:cs typeface="+mn-cs"/>
              </a:rPr>
              <a:t>更快</a:t>
            </a:r>
          </a:p>
        </p:txBody>
      </p:sp>
      <p:sp>
        <p:nvSpPr>
          <p:cNvPr id="53" name="gaoding-21-11">
            <a:extLst>
              <a:ext uri="{FF2B5EF4-FFF2-40B4-BE49-F238E27FC236}">
                <a16:creationId xmlns:a16="http://schemas.microsoft.com/office/drawing/2014/main" id="{87F4F97A-7B1F-AE92-A82B-94C1115E8AA8}"/>
              </a:ext>
            </a:extLst>
          </p:cNvPr>
          <p:cNvSpPr txBox="1"/>
          <p:nvPr/>
        </p:nvSpPr>
        <p:spPr>
          <a:xfrm>
            <a:off x="5416676" y="4044533"/>
            <a:ext cx="1390524" cy="2308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900" b="0" i="0" u="none" strike="noStrike" kern="1200" cap="none" spc="0" normalizeH="0" baseline="0" noProof="0" dirty="0" err="1">
                <a:ln>
                  <a:noFill/>
                </a:ln>
                <a:solidFill>
                  <a:srgbClr val="2254F4">
                    <a:lumMod val="20000"/>
                    <a:lumOff val="80000"/>
                  </a:srgbClr>
                </a:solidFill>
                <a:effectLst/>
                <a:uLnTx/>
                <a:uFillTx/>
                <a:latin typeface="OPPOSans M"/>
                <a:ea typeface="OPPOSans M"/>
                <a:cs typeface="+mn-cs"/>
              </a:rPr>
              <a:t>Qiuye</a:t>
            </a:r>
            <a:r>
              <a:rPr kumimoji="0" lang="en-US" altLang="zh-CN" sz="900" b="0" i="0" u="none" strike="noStrike" kern="1200" cap="none" spc="0" normalizeH="0" baseline="0" noProof="0" dirty="0">
                <a:ln>
                  <a:noFill/>
                </a:ln>
                <a:solidFill>
                  <a:srgbClr val="2254F4">
                    <a:lumMod val="20000"/>
                    <a:lumOff val="80000"/>
                  </a:srgbClr>
                </a:solidFill>
                <a:effectLst/>
                <a:uLnTx/>
                <a:uFillTx/>
                <a:latin typeface="OPPOSans M"/>
                <a:ea typeface="OPPOSans M"/>
                <a:cs typeface="+mn-cs"/>
              </a:rPr>
              <a:t> Design</a:t>
            </a:r>
            <a:endParaRPr kumimoji="0" lang="zh-CN" altLang="en-US" sz="900" b="0" i="0" u="none" strike="noStrike" kern="1200" cap="none" spc="0" normalizeH="0" baseline="0" noProof="0" dirty="0">
              <a:ln>
                <a:noFill/>
              </a:ln>
              <a:solidFill>
                <a:srgbClr val="2254F4">
                  <a:lumMod val="20000"/>
                  <a:lumOff val="80000"/>
                </a:srgbClr>
              </a:solidFill>
              <a:effectLst/>
              <a:uLnTx/>
              <a:uFillTx/>
              <a:latin typeface="OPPOSans M"/>
              <a:ea typeface="OPPOSans M"/>
              <a:cs typeface="+mn-cs"/>
            </a:endParaRPr>
          </a:p>
        </p:txBody>
      </p:sp>
      <p:sp>
        <p:nvSpPr>
          <p:cNvPr id="54" name="gaoding-21-12">
            <a:extLst>
              <a:ext uri="{FF2B5EF4-FFF2-40B4-BE49-F238E27FC236}">
                <a16:creationId xmlns:a16="http://schemas.microsoft.com/office/drawing/2014/main" id="{06A7918D-DDA8-F35B-59CF-66EABCF45469}"/>
              </a:ext>
            </a:extLst>
          </p:cNvPr>
          <p:cNvSpPr txBox="1"/>
          <p:nvPr/>
        </p:nvSpPr>
        <p:spPr>
          <a:xfrm>
            <a:off x="5702526" y="5253250"/>
            <a:ext cx="882365"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200" b="1" i="0" u="none" strike="noStrike" kern="1200" cap="none" spc="0" normalizeH="0" baseline="0" noProof="0" dirty="0">
                <a:ln>
                  <a:noFill/>
                </a:ln>
                <a:solidFill>
                  <a:srgbClr val="FFFFFF"/>
                </a:solidFill>
                <a:effectLst/>
                <a:uLnTx/>
                <a:uFillTx/>
                <a:latin typeface="Bahnschrift"/>
                <a:ea typeface="OPPOSans M"/>
                <a:cs typeface="+mn-cs"/>
              </a:rPr>
              <a:t>更轻松</a:t>
            </a:r>
          </a:p>
        </p:txBody>
      </p:sp>
      <p:sp>
        <p:nvSpPr>
          <p:cNvPr id="55" name="gaoding-21-13">
            <a:extLst>
              <a:ext uri="{FF2B5EF4-FFF2-40B4-BE49-F238E27FC236}">
                <a16:creationId xmlns:a16="http://schemas.microsoft.com/office/drawing/2014/main" id="{D3414C1B-A39B-E149-14ED-AF0CD2347F17}"/>
              </a:ext>
            </a:extLst>
          </p:cNvPr>
          <p:cNvSpPr txBox="1"/>
          <p:nvPr/>
        </p:nvSpPr>
        <p:spPr>
          <a:xfrm>
            <a:off x="5476375" y="5480712"/>
            <a:ext cx="1334666" cy="2308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900" b="0" i="0" u="none" strike="noStrike" kern="1200" cap="none" spc="0" normalizeH="0" baseline="0" noProof="0" dirty="0" err="1">
                <a:ln>
                  <a:noFill/>
                </a:ln>
                <a:solidFill>
                  <a:srgbClr val="2254F4">
                    <a:lumMod val="20000"/>
                    <a:lumOff val="80000"/>
                  </a:srgbClr>
                </a:solidFill>
                <a:effectLst/>
                <a:uLnTx/>
                <a:uFillTx/>
                <a:latin typeface="OPPOSans M"/>
                <a:ea typeface="OPPOSans M"/>
                <a:cs typeface="+mn-cs"/>
              </a:rPr>
              <a:t>Qiuye</a:t>
            </a:r>
            <a:r>
              <a:rPr kumimoji="0" lang="en-US" altLang="zh-CN" sz="900" b="0" i="0" u="none" strike="noStrike" kern="1200" cap="none" spc="0" normalizeH="0" baseline="0" noProof="0" dirty="0">
                <a:ln>
                  <a:noFill/>
                </a:ln>
                <a:solidFill>
                  <a:srgbClr val="2254F4">
                    <a:lumMod val="20000"/>
                    <a:lumOff val="80000"/>
                  </a:srgbClr>
                </a:solidFill>
                <a:effectLst/>
                <a:uLnTx/>
                <a:uFillTx/>
                <a:latin typeface="OPPOSans M"/>
                <a:ea typeface="OPPOSans M"/>
                <a:cs typeface="+mn-cs"/>
              </a:rPr>
              <a:t>  Design</a:t>
            </a:r>
            <a:endParaRPr kumimoji="0" lang="zh-CN" altLang="en-US" sz="900" b="0" i="0" u="none" strike="noStrike" kern="1200" cap="none" spc="0" normalizeH="0" baseline="0" noProof="0" dirty="0">
              <a:ln>
                <a:noFill/>
              </a:ln>
              <a:solidFill>
                <a:srgbClr val="2254F4">
                  <a:lumMod val="20000"/>
                  <a:lumOff val="80000"/>
                </a:srgbClr>
              </a:solidFill>
              <a:effectLst/>
              <a:uLnTx/>
              <a:uFillTx/>
              <a:latin typeface="OPPOSans M"/>
              <a:ea typeface="OPPOSans M"/>
              <a:cs typeface="+mn-cs"/>
            </a:endParaRPr>
          </a:p>
        </p:txBody>
      </p:sp>
      <p:grpSp>
        <p:nvGrpSpPr>
          <p:cNvPr id="94" name="组合 93">
            <a:extLst>
              <a:ext uri="{FF2B5EF4-FFF2-40B4-BE49-F238E27FC236}">
                <a16:creationId xmlns:a16="http://schemas.microsoft.com/office/drawing/2014/main" id="{850E9D08-DDB8-D206-76CD-BEEAA4D50931}"/>
              </a:ext>
            </a:extLst>
          </p:cNvPr>
          <p:cNvGrpSpPr/>
          <p:nvPr/>
        </p:nvGrpSpPr>
        <p:grpSpPr>
          <a:xfrm>
            <a:off x="10185332" y="6206047"/>
            <a:ext cx="1351871" cy="69351"/>
            <a:chOff x="10168548" y="6199574"/>
            <a:chExt cx="1351871" cy="69351"/>
          </a:xfrm>
        </p:grpSpPr>
        <p:cxnSp>
          <p:nvCxnSpPr>
            <p:cNvPr id="95" name="gaoding-22-4">
              <a:extLst>
                <a:ext uri="{FF2B5EF4-FFF2-40B4-BE49-F238E27FC236}">
                  <a16:creationId xmlns:a16="http://schemas.microsoft.com/office/drawing/2014/main" id="{E65A2CD1-71C8-1F55-2E47-4C4603DABC82}"/>
                </a:ext>
              </a:extLst>
            </p:cNvPr>
            <p:cNvCxnSpPr>
              <a:cxnSpLocks/>
            </p:cNvCxnSpPr>
            <p:nvPr/>
          </p:nvCxnSpPr>
          <p:spPr>
            <a:xfrm>
              <a:off x="10168548" y="6236279"/>
              <a:ext cx="334911"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96" name="gaoding-22-5">
              <a:extLst>
                <a:ext uri="{FF2B5EF4-FFF2-40B4-BE49-F238E27FC236}">
                  <a16:creationId xmlns:a16="http://schemas.microsoft.com/office/drawing/2014/main" id="{039E3A6A-F3DE-7117-B0FA-D71D0DC6950F}"/>
                </a:ext>
              </a:extLst>
            </p:cNvPr>
            <p:cNvSpPr txBox="1"/>
            <p:nvPr/>
          </p:nvSpPr>
          <p:spPr>
            <a:xfrm>
              <a:off x="10659444" y="6199574"/>
              <a:ext cx="860975" cy="69351"/>
            </a:xfrm>
            <a:custGeom>
              <a:avLst/>
              <a:gdLst/>
              <a:ahLst/>
              <a:cxnLst/>
              <a:rect l="l" t="t" r="r" b="b"/>
              <a:pathLst>
                <a:path w="860975" h="69351">
                  <a:moveTo>
                    <a:pt x="157868" y="7458"/>
                  </a:moveTo>
                  <a:lnTo>
                    <a:pt x="146038" y="41662"/>
                  </a:lnTo>
                  <a:lnTo>
                    <a:pt x="169698" y="41662"/>
                  </a:lnTo>
                  <a:close/>
                  <a:moveTo>
                    <a:pt x="427244" y="6601"/>
                  </a:moveTo>
                  <a:lnTo>
                    <a:pt x="427244" y="62751"/>
                  </a:lnTo>
                  <a:lnTo>
                    <a:pt x="441474" y="62751"/>
                  </a:lnTo>
                  <a:cubicBezTo>
                    <a:pt x="446561" y="62751"/>
                    <a:pt x="450904" y="61593"/>
                    <a:pt x="454505" y="59279"/>
                  </a:cubicBezTo>
                  <a:cubicBezTo>
                    <a:pt x="458105" y="56964"/>
                    <a:pt x="460834" y="53692"/>
                    <a:pt x="462691" y="49463"/>
                  </a:cubicBezTo>
                  <a:cubicBezTo>
                    <a:pt x="464549" y="45234"/>
                    <a:pt x="465478" y="40319"/>
                    <a:pt x="465478" y="34718"/>
                  </a:cubicBezTo>
                  <a:cubicBezTo>
                    <a:pt x="465478" y="29061"/>
                    <a:pt x="464549" y="24117"/>
                    <a:pt x="462691" y="19888"/>
                  </a:cubicBezTo>
                  <a:cubicBezTo>
                    <a:pt x="460834" y="15659"/>
                    <a:pt x="458105" y="12387"/>
                    <a:pt x="454505" y="10073"/>
                  </a:cubicBezTo>
                  <a:cubicBezTo>
                    <a:pt x="450904" y="7758"/>
                    <a:pt x="446561" y="6601"/>
                    <a:pt x="441474" y="6601"/>
                  </a:cubicBezTo>
                  <a:close/>
                  <a:moveTo>
                    <a:pt x="303914" y="5572"/>
                  </a:moveTo>
                  <a:cubicBezTo>
                    <a:pt x="299685" y="5572"/>
                    <a:pt x="295928" y="6786"/>
                    <a:pt x="292642" y="9215"/>
                  </a:cubicBezTo>
                  <a:cubicBezTo>
                    <a:pt x="289356" y="11644"/>
                    <a:pt x="286812" y="15073"/>
                    <a:pt x="285012" y="19502"/>
                  </a:cubicBezTo>
                  <a:cubicBezTo>
                    <a:pt x="283212" y="23931"/>
                    <a:pt x="282312" y="29003"/>
                    <a:pt x="282312" y="34718"/>
                  </a:cubicBezTo>
                  <a:cubicBezTo>
                    <a:pt x="282312" y="40433"/>
                    <a:pt x="283212" y="45491"/>
                    <a:pt x="285012" y="49892"/>
                  </a:cubicBezTo>
                  <a:cubicBezTo>
                    <a:pt x="286812" y="54292"/>
                    <a:pt x="289356" y="57721"/>
                    <a:pt x="292642" y="60179"/>
                  </a:cubicBezTo>
                  <a:cubicBezTo>
                    <a:pt x="295928" y="62636"/>
                    <a:pt x="299685" y="63865"/>
                    <a:pt x="303914" y="63865"/>
                  </a:cubicBezTo>
                  <a:cubicBezTo>
                    <a:pt x="308144" y="63865"/>
                    <a:pt x="311901" y="62636"/>
                    <a:pt x="315187" y="60179"/>
                  </a:cubicBezTo>
                  <a:cubicBezTo>
                    <a:pt x="318473" y="57721"/>
                    <a:pt x="321031" y="54292"/>
                    <a:pt x="322860" y="49892"/>
                  </a:cubicBezTo>
                  <a:cubicBezTo>
                    <a:pt x="324688" y="45491"/>
                    <a:pt x="325603" y="40433"/>
                    <a:pt x="325603" y="34718"/>
                  </a:cubicBezTo>
                  <a:cubicBezTo>
                    <a:pt x="325603" y="29003"/>
                    <a:pt x="324689" y="23931"/>
                    <a:pt x="322860" y="19502"/>
                  </a:cubicBezTo>
                  <a:cubicBezTo>
                    <a:pt x="321031" y="15073"/>
                    <a:pt x="318473" y="11644"/>
                    <a:pt x="315187" y="9215"/>
                  </a:cubicBezTo>
                  <a:cubicBezTo>
                    <a:pt x="311901" y="6786"/>
                    <a:pt x="308144" y="5572"/>
                    <a:pt x="303914" y="5572"/>
                  </a:cubicBezTo>
                  <a:close/>
                  <a:moveTo>
                    <a:pt x="659111" y="943"/>
                  </a:moveTo>
                  <a:lnTo>
                    <a:pt x="666055" y="943"/>
                  </a:lnTo>
                  <a:lnTo>
                    <a:pt x="702488" y="55635"/>
                  </a:lnTo>
                  <a:lnTo>
                    <a:pt x="702488" y="943"/>
                  </a:lnTo>
                  <a:lnTo>
                    <a:pt x="708318" y="943"/>
                  </a:lnTo>
                  <a:lnTo>
                    <a:pt x="708318" y="68408"/>
                  </a:lnTo>
                  <a:lnTo>
                    <a:pt x="703431" y="68408"/>
                  </a:lnTo>
                  <a:lnTo>
                    <a:pt x="664941" y="10801"/>
                  </a:lnTo>
                  <a:lnTo>
                    <a:pt x="664941" y="68408"/>
                  </a:lnTo>
                  <a:lnTo>
                    <a:pt x="659111" y="68408"/>
                  </a:lnTo>
                  <a:close/>
                  <a:moveTo>
                    <a:pt x="564547" y="943"/>
                  </a:moveTo>
                  <a:lnTo>
                    <a:pt x="570891" y="943"/>
                  </a:lnTo>
                  <a:lnTo>
                    <a:pt x="570891" y="68408"/>
                  </a:lnTo>
                  <a:lnTo>
                    <a:pt x="564547" y="68408"/>
                  </a:lnTo>
                  <a:close/>
                  <a:moveTo>
                    <a:pt x="420986" y="943"/>
                  </a:moveTo>
                  <a:lnTo>
                    <a:pt x="442246" y="943"/>
                  </a:lnTo>
                  <a:cubicBezTo>
                    <a:pt x="448304" y="943"/>
                    <a:pt x="453562" y="2329"/>
                    <a:pt x="458019" y="5100"/>
                  </a:cubicBezTo>
                  <a:cubicBezTo>
                    <a:pt x="462477" y="7872"/>
                    <a:pt x="465892" y="11801"/>
                    <a:pt x="468264" y="16888"/>
                  </a:cubicBezTo>
                  <a:cubicBezTo>
                    <a:pt x="470635" y="21974"/>
                    <a:pt x="471821" y="27918"/>
                    <a:pt x="471821" y="34718"/>
                  </a:cubicBezTo>
                  <a:cubicBezTo>
                    <a:pt x="471821" y="41462"/>
                    <a:pt x="470635" y="47377"/>
                    <a:pt x="468264" y="52464"/>
                  </a:cubicBezTo>
                  <a:cubicBezTo>
                    <a:pt x="465892" y="57550"/>
                    <a:pt x="462477" y="61479"/>
                    <a:pt x="458019" y="64251"/>
                  </a:cubicBezTo>
                  <a:cubicBezTo>
                    <a:pt x="453562" y="67023"/>
                    <a:pt x="448304" y="68408"/>
                    <a:pt x="442246" y="68408"/>
                  </a:cubicBezTo>
                  <a:lnTo>
                    <a:pt x="420986" y="68408"/>
                  </a:lnTo>
                  <a:close/>
                  <a:moveTo>
                    <a:pt x="154696" y="943"/>
                  </a:moveTo>
                  <a:lnTo>
                    <a:pt x="161382" y="943"/>
                  </a:lnTo>
                  <a:lnTo>
                    <a:pt x="185814" y="68408"/>
                  </a:lnTo>
                  <a:lnTo>
                    <a:pt x="178956" y="68408"/>
                  </a:lnTo>
                  <a:lnTo>
                    <a:pt x="171669" y="47406"/>
                  </a:lnTo>
                  <a:lnTo>
                    <a:pt x="143980" y="47406"/>
                  </a:lnTo>
                  <a:lnTo>
                    <a:pt x="136694" y="68408"/>
                  </a:lnTo>
                  <a:lnTo>
                    <a:pt x="130264" y="68408"/>
                  </a:lnTo>
                  <a:close/>
                  <a:moveTo>
                    <a:pt x="837400" y="0"/>
                  </a:moveTo>
                  <a:cubicBezTo>
                    <a:pt x="843115" y="0"/>
                    <a:pt x="847859" y="1357"/>
                    <a:pt x="851630" y="4072"/>
                  </a:cubicBezTo>
                  <a:cubicBezTo>
                    <a:pt x="855402" y="6786"/>
                    <a:pt x="857974" y="10373"/>
                    <a:pt x="859346" y="14830"/>
                  </a:cubicBezTo>
                  <a:lnTo>
                    <a:pt x="854202" y="17402"/>
                  </a:lnTo>
                  <a:cubicBezTo>
                    <a:pt x="851802" y="9515"/>
                    <a:pt x="846173" y="5572"/>
                    <a:pt x="837314" y="5572"/>
                  </a:cubicBezTo>
                  <a:cubicBezTo>
                    <a:pt x="833085" y="5572"/>
                    <a:pt x="829356" y="6786"/>
                    <a:pt x="826127" y="9215"/>
                  </a:cubicBezTo>
                  <a:cubicBezTo>
                    <a:pt x="822898" y="11644"/>
                    <a:pt x="820398" y="15059"/>
                    <a:pt x="818626" y="19459"/>
                  </a:cubicBezTo>
                  <a:cubicBezTo>
                    <a:pt x="816855" y="23860"/>
                    <a:pt x="815969" y="28946"/>
                    <a:pt x="815969" y="34718"/>
                  </a:cubicBezTo>
                  <a:cubicBezTo>
                    <a:pt x="815969" y="40491"/>
                    <a:pt x="816855" y="45577"/>
                    <a:pt x="818626" y="49978"/>
                  </a:cubicBezTo>
                  <a:cubicBezTo>
                    <a:pt x="820398" y="54378"/>
                    <a:pt x="822898" y="57793"/>
                    <a:pt x="826127" y="60222"/>
                  </a:cubicBezTo>
                  <a:cubicBezTo>
                    <a:pt x="829356" y="62651"/>
                    <a:pt x="833114" y="63865"/>
                    <a:pt x="837400" y="63865"/>
                  </a:cubicBezTo>
                  <a:cubicBezTo>
                    <a:pt x="843287" y="63865"/>
                    <a:pt x="847687" y="62050"/>
                    <a:pt x="850602" y="58421"/>
                  </a:cubicBezTo>
                  <a:cubicBezTo>
                    <a:pt x="853517" y="54792"/>
                    <a:pt x="854974" y="49606"/>
                    <a:pt x="854974" y="42862"/>
                  </a:cubicBezTo>
                  <a:lnTo>
                    <a:pt x="854974" y="40119"/>
                  </a:lnTo>
                  <a:lnTo>
                    <a:pt x="840143" y="40119"/>
                  </a:lnTo>
                  <a:lnTo>
                    <a:pt x="840143" y="34547"/>
                  </a:lnTo>
                  <a:lnTo>
                    <a:pt x="860975" y="34547"/>
                  </a:lnTo>
                  <a:lnTo>
                    <a:pt x="860975" y="43377"/>
                  </a:lnTo>
                  <a:cubicBezTo>
                    <a:pt x="860975" y="48349"/>
                    <a:pt x="860132" y="52792"/>
                    <a:pt x="858446" y="56707"/>
                  </a:cubicBezTo>
                  <a:cubicBezTo>
                    <a:pt x="856760" y="60622"/>
                    <a:pt x="854145" y="63708"/>
                    <a:pt x="850602" y="65965"/>
                  </a:cubicBezTo>
                  <a:cubicBezTo>
                    <a:pt x="847059" y="68223"/>
                    <a:pt x="842658" y="69351"/>
                    <a:pt x="837400" y="69351"/>
                  </a:cubicBezTo>
                  <a:cubicBezTo>
                    <a:pt x="831971" y="69351"/>
                    <a:pt x="827142" y="67908"/>
                    <a:pt x="822913" y="65022"/>
                  </a:cubicBezTo>
                  <a:cubicBezTo>
                    <a:pt x="818684" y="62136"/>
                    <a:pt x="815412" y="58064"/>
                    <a:pt x="813097" y="52806"/>
                  </a:cubicBezTo>
                  <a:cubicBezTo>
                    <a:pt x="810783" y="47549"/>
                    <a:pt x="809625" y="41519"/>
                    <a:pt x="809625" y="34718"/>
                  </a:cubicBezTo>
                  <a:cubicBezTo>
                    <a:pt x="809625" y="27918"/>
                    <a:pt x="810783" y="21888"/>
                    <a:pt x="813097" y="16630"/>
                  </a:cubicBezTo>
                  <a:cubicBezTo>
                    <a:pt x="815412" y="11373"/>
                    <a:pt x="818684" y="7286"/>
                    <a:pt x="822913" y="4372"/>
                  </a:cubicBezTo>
                  <a:cubicBezTo>
                    <a:pt x="827142" y="1457"/>
                    <a:pt x="831971" y="0"/>
                    <a:pt x="837400" y="0"/>
                  </a:cubicBezTo>
                  <a:close/>
                  <a:moveTo>
                    <a:pt x="303914" y="0"/>
                  </a:moveTo>
                  <a:cubicBezTo>
                    <a:pt x="309344" y="0"/>
                    <a:pt x="314173" y="1486"/>
                    <a:pt x="318402" y="4458"/>
                  </a:cubicBezTo>
                  <a:cubicBezTo>
                    <a:pt x="322631" y="7429"/>
                    <a:pt x="325932" y="11558"/>
                    <a:pt x="328303" y="16845"/>
                  </a:cubicBezTo>
                  <a:cubicBezTo>
                    <a:pt x="330675" y="22131"/>
                    <a:pt x="331861" y="28089"/>
                    <a:pt x="331861" y="34718"/>
                  </a:cubicBezTo>
                  <a:cubicBezTo>
                    <a:pt x="331861" y="41348"/>
                    <a:pt x="330675" y="47291"/>
                    <a:pt x="328303" y="52549"/>
                  </a:cubicBezTo>
                  <a:cubicBezTo>
                    <a:pt x="325932" y="57807"/>
                    <a:pt x="322631" y="61922"/>
                    <a:pt x="318402" y="64894"/>
                  </a:cubicBezTo>
                  <a:cubicBezTo>
                    <a:pt x="314173" y="67865"/>
                    <a:pt x="309344" y="69351"/>
                    <a:pt x="303914" y="69351"/>
                  </a:cubicBezTo>
                  <a:cubicBezTo>
                    <a:pt x="298485" y="69351"/>
                    <a:pt x="293656" y="67865"/>
                    <a:pt x="289427" y="64894"/>
                  </a:cubicBezTo>
                  <a:cubicBezTo>
                    <a:pt x="285198" y="61922"/>
                    <a:pt x="281912" y="57807"/>
                    <a:pt x="279569" y="52549"/>
                  </a:cubicBezTo>
                  <a:cubicBezTo>
                    <a:pt x="277225" y="47291"/>
                    <a:pt x="276054" y="41348"/>
                    <a:pt x="276054" y="34718"/>
                  </a:cubicBezTo>
                  <a:cubicBezTo>
                    <a:pt x="276054" y="28089"/>
                    <a:pt x="277225" y="22131"/>
                    <a:pt x="279569" y="16845"/>
                  </a:cubicBezTo>
                  <a:cubicBezTo>
                    <a:pt x="281912" y="11558"/>
                    <a:pt x="285198" y="7429"/>
                    <a:pt x="289427" y="4458"/>
                  </a:cubicBezTo>
                  <a:cubicBezTo>
                    <a:pt x="293656" y="1486"/>
                    <a:pt x="298485" y="0"/>
                    <a:pt x="303914" y="0"/>
                  </a:cubicBezTo>
                  <a:close/>
                  <a:moveTo>
                    <a:pt x="27775" y="0"/>
                  </a:moveTo>
                  <a:cubicBezTo>
                    <a:pt x="33490" y="0"/>
                    <a:pt x="38234" y="1357"/>
                    <a:pt x="42006" y="4072"/>
                  </a:cubicBezTo>
                  <a:cubicBezTo>
                    <a:pt x="45777" y="6786"/>
                    <a:pt x="48349" y="10373"/>
                    <a:pt x="49721" y="14830"/>
                  </a:cubicBezTo>
                  <a:lnTo>
                    <a:pt x="44577" y="17402"/>
                  </a:lnTo>
                  <a:cubicBezTo>
                    <a:pt x="42177" y="9515"/>
                    <a:pt x="36548" y="5572"/>
                    <a:pt x="27690" y="5572"/>
                  </a:cubicBezTo>
                  <a:cubicBezTo>
                    <a:pt x="23460" y="5572"/>
                    <a:pt x="19731" y="6786"/>
                    <a:pt x="16502" y="9215"/>
                  </a:cubicBezTo>
                  <a:cubicBezTo>
                    <a:pt x="13273" y="11644"/>
                    <a:pt x="10773" y="15059"/>
                    <a:pt x="9001" y="19459"/>
                  </a:cubicBezTo>
                  <a:cubicBezTo>
                    <a:pt x="7230" y="23860"/>
                    <a:pt x="6344" y="28946"/>
                    <a:pt x="6344" y="34718"/>
                  </a:cubicBezTo>
                  <a:cubicBezTo>
                    <a:pt x="6344" y="40491"/>
                    <a:pt x="7230" y="45577"/>
                    <a:pt x="9001" y="49978"/>
                  </a:cubicBezTo>
                  <a:cubicBezTo>
                    <a:pt x="10773" y="54378"/>
                    <a:pt x="13273" y="57793"/>
                    <a:pt x="16502" y="60222"/>
                  </a:cubicBezTo>
                  <a:cubicBezTo>
                    <a:pt x="19731" y="62651"/>
                    <a:pt x="23489" y="63865"/>
                    <a:pt x="27775" y="63865"/>
                  </a:cubicBezTo>
                  <a:cubicBezTo>
                    <a:pt x="33662" y="63865"/>
                    <a:pt x="38062" y="62050"/>
                    <a:pt x="40977" y="58421"/>
                  </a:cubicBezTo>
                  <a:cubicBezTo>
                    <a:pt x="43892" y="54792"/>
                    <a:pt x="45349" y="49606"/>
                    <a:pt x="45349" y="42862"/>
                  </a:cubicBezTo>
                  <a:lnTo>
                    <a:pt x="45349" y="40119"/>
                  </a:lnTo>
                  <a:lnTo>
                    <a:pt x="30518" y="40119"/>
                  </a:lnTo>
                  <a:lnTo>
                    <a:pt x="30518" y="34547"/>
                  </a:lnTo>
                  <a:lnTo>
                    <a:pt x="51350" y="34547"/>
                  </a:lnTo>
                  <a:lnTo>
                    <a:pt x="51350" y="43377"/>
                  </a:lnTo>
                  <a:cubicBezTo>
                    <a:pt x="51350" y="48349"/>
                    <a:pt x="50507" y="52792"/>
                    <a:pt x="48821" y="56707"/>
                  </a:cubicBezTo>
                  <a:cubicBezTo>
                    <a:pt x="47135" y="60622"/>
                    <a:pt x="44520" y="63708"/>
                    <a:pt x="40977" y="65965"/>
                  </a:cubicBezTo>
                  <a:cubicBezTo>
                    <a:pt x="37434" y="68223"/>
                    <a:pt x="33033" y="69351"/>
                    <a:pt x="27775" y="69351"/>
                  </a:cubicBezTo>
                  <a:cubicBezTo>
                    <a:pt x="22346" y="69351"/>
                    <a:pt x="17517" y="67908"/>
                    <a:pt x="13288" y="65022"/>
                  </a:cubicBezTo>
                  <a:cubicBezTo>
                    <a:pt x="9059" y="62136"/>
                    <a:pt x="5787" y="58064"/>
                    <a:pt x="3472" y="52806"/>
                  </a:cubicBezTo>
                  <a:cubicBezTo>
                    <a:pt x="1158" y="47549"/>
                    <a:pt x="0" y="41519"/>
                    <a:pt x="0" y="34718"/>
                  </a:cubicBezTo>
                  <a:cubicBezTo>
                    <a:pt x="0" y="27918"/>
                    <a:pt x="1158" y="21888"/>
                    <a:pt x="3472" y="16630"/>
                  </a:cubicBezTo>
                  <a:cubicBezTo>
                    <a:pt x="5787" y="11373"/>
                    <a:pt x="9059" y="7286"/>
                    <a:pt x="13288" y="4372"/>
                  </a:cubicBezTo>
                  <a:cubicBezTo>
                    <a:pt x="17517" y="1457"/>
                    <a:pt x="22346" y="0"/>
                    <a:pt x="27775" y="0"/>
                  </a:cubicBezTo>
                  <a:close/>
                </a:path>
              </a:pathLst>
            </a:custGeom>
            <a:solidFill>
              <a:schemeClr val="bg1">
                <a:lumMod val="65000"/>
              </a:schemeClr>
            </a:solidFill>
            <a:ln>
              <a:noFill/>
            </a:ln>
            <a:effectLst/>
          </p:spPr>
          <p:txBody>
            <a:bodyPr rot="0" spcFirstLastPara="0" vert="horz" wrap="square" lIns="91440" tIns="45720" rIns="91440" bIns="45720" numCol="1" spcCol="0" rtlCol="0" fromWordArt="0" anchor="t" anchorCtr="0" forceAA="0" compatLnSpc="1">
              <a:prstTxWarp prst="textNoShape">
                <a:avLst/>
              </a:prstTxWarp>
              <a:no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dist" defTabSz="914400" rtl="0" eaLnBrk="1" fontAlgn="auto" latinLnBrk="0" hangingPunct="1">
                <a:lnSpc>
                  <a:spcPct val="123333"/>
                </a:lnSpc>
                <a:spcBef>
                  <a:spcPts val="0"/>
                </a:spcBef>
                <a:spcAft>
                  <a:spcPts val="0"/>
                </a:spcAft>
                <a:buClrTx/>
                <a:buSzTx/>
                <a:buFontTx/>
                <a:buNone/>
                <a:tabLst/>
                <a:defRPr/>
              </a:pPr>
              <a:endParaRPr kumimoji="0" lang="zh-CN" altLang="en-US" sz="600" b="0" i="0" u="none" strike="noStrike" kern="1200" cap="none" spc="0" normalizeH="0" baseline="0" noProof="0" dirty="0">
                <a:ln>
                  <a:noFill/>
                </a:ln>
                <a:solidFill>
                  <a:srgbClr val="FFFFFF">
                    <a:lumMod val="50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p:txBody>
        </p:sp>
      </p:grpSp>
    </p:spTree>
    <p:extLst>
      <p:ext uri="{BB962C8B-B14F-4D97-AF65-F5344CB8AC3E}">
        <p14:creationId xmlns:p14="http://schemas.microsoft.com/office/powerpoint/2010/main" val="1046855650"/>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5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椭圆 5">
            <a:extLst>
              <a:ext uri="{FF2B5EF4-FFF2-40B4-BE49-F238E27FC236}">
                <a16:creationId xmlns:a16="http://schemas.microsoft.com/office/drawing/2014/main" id="{1A95231C-6311-7D9D-AA3E-7637D3391F30}"/>
              </a:ext>
            </a:extLst>
          </p:cNvPr>
          <p:cNvSpPr/>
          <p:nvPr/>
        </p:nvSpPr>
        <p:spPr>
          <a:xfrm>
            <a:off x="3749742" y="1825200"/>
            <a:ext cx="4692404" cy="4692404"/>
          </a:xfrm>
          <a:prstGeom prst="ellipse">
            <a:avLst/>
          </a:prstGeom>
          <a:gradFill flip="none" rotWithShape="1">
            <a:gsLst>
              <a:gs pos="0">
                <a:schemeClr val="tx2">
                  <a:alpha val="11000"/>
                </a:schemeClr>
              </a:gs>
              <a:gs pos="100000">
                <a:schemeClr val="tx2">
                  <a:alpha val="0"/>
                </a:schemeClr>
              </a:gs>
            </a:gsLst>
            <a:lin ang="5400000" scaled="1"/>
            <a:tileRect/>
          </a:gra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思源黑体 CN Light" panose="020B0300000000000000" pitchFamily="34" charset="-122"/>
              <a:ea typeface="思源黑体 CN Light" panose="020B0300000000000000" pitchFamily="34" charset="-122"/>
              <a:sym typeface="思源黑体 CN Light" panose="020B0300000000000000" pitchFamily="34" charset="-122"/>
            </a:endParaRPr>
          </a:p>
        </p:txBody>
      </p:sp>
      <p:sp>
        <p:nvSpPr>
          <p:cNvPr id="8" name="任意多边形: 形状 7">
            <a:extLst>
              <a:ext uri="{FF2B5EF4-FFF2-40B4-BE49-F238E27FC236}">
                <a16:creationId xmlns:a16="http://schemas.microsoft.com/office/drawing/2014/main" id="{82B220D8-8FAE-9812-258D-9B9D73D22076}"/>
              </a:ext>
            </a:extLst>
          </p:cNvPr>
          <p:cNvSpPr/>
          <p:nvPr/>
        </p:nvSpPr>
        <p:spPr>
          <a:xfrm>
            <a:off x="5457776" y="1409700"/>
            <a:ext cx="1276336" cy="1100290"/>
          </a:xfrm>
          <a:custGeom>
            <a:avLst/>
            <a:gdLst>
              <a:gd name="connsiteX0" fmla="*/ 638168 w 1276336"/>
              <a:gd name="connsiteY0" fmla="*/ 0 h 1100290"/>
              <a:gd name="connsiteX1" fmla="*/ 1276336 w 1276336"/>
              <a:gd name="connsiteY1" fmla="*/ 1100290 h 1100290"/>
              <a:gd name="connsiteX2" fmla="*/ 0 w 1276336"/>
              <a:gd name="connsiteY2" fmla="*/ 1100290 h 1100290"/>
              <a:gd name="connsiteX3" fmla="*/ 638168 w 1276336"/>
              <a:gd name="connsiteY3" fmla="*/ 0 h 1100290"/>
            </a:gdLst>
            <a:ahLst/>
            <a:cxnLst>
              <a:cxn ang="0">
                <a:pos x="connsiteX0" y="connsiteY0"/>
              </a:cxn>
              <a:cxn ang="0">
                <a:pos x="connsiteX1" y="connsiteY1"/>
              </a:cxn>
              <a:cxn ang="0">
                <a:pos x="connsiteX2" y="connsiteY2"/>
              </a:cxn>
              <a:cxn ang="0">
                <a:pos x="connsiteX3" y="connsiteY3"/>
              </a:cxn>
            </a:cxnLst>
            <a:rect l="l" t="t" r="r" b="b"/>
            <a:pathLst>
              <a:path w="1276336" h="1100290">
                <a:moveTo>
                  <a:pt x="638168" y="0"/>
                </a:moveTo>
                <a:lnTo>
                  <a:pt x="1276336" y="1100290"/>
                </a:lnTo>
                <a:lnTo>
                  <a:pt x="0" y="1100290"/>
                </a:lnTo>
                <a:lnTo>
                  <a:pt x="638168" y="0"/>
                </a:lnTo>
                <a:close/>
              </a:path>
            </a:pathLst>
          </a:custGeom>
          <a:gradFill>
            <a:gsLst>
              <a:gs pos="0">
                <a:schemeClr val="accent1">
                  <a:alpha val="79000"/>
                </a:schemeClr>
              </a:gs>
              <a:gs pos="100000">
                <a:schemeClr val="accent1">
                  <a:lumMod val="75000"/>
                </a:schemeClr>
              </a:gs>
            </a:gsLst>
            <a:lin ang="5400000" scaled="1"/>
          </a:gradFill>
          <a:ln>
            <a:solidFill>
              <a:schemeClr val="lt1">
                <a:hueOff val="0"/>
                <a:satOff val="0"/>
                <a:lumOff val="0"/>
              </a:schemeClr>
            </a:solidFill>
          </a:ln>
          <a:effectLst>
            <a:outerShdw blurRad="419100" dist="50800" dir="5400000" algn="ctr" rotWithShape="0">
              <a:schemeClr val="accent1">
                <a:alpha val="12000"/>
              </a:schemeClr>
            </a:outerShdw>
          </a:effectLst>
        </p:spPr>
        <p:style>
          <a:lnRef idx="2">
            <a:scrgbClr r="0" g="0" b="0"/>
          </a:lnRef>
          <a:fillRef idx="1">
            <a:scrgbClr r="0" g="0" b="0"/>
          </a:fillRef>
          <a:effectRef idx="0">
            <a:schemeClr val="accent1">
              <a:hueOff val="0"/>
              <a:satOff val="0"/>
              <a:lumOff val="0"/>
              <a:alphaOff val="0"/>
            </a:schemeClr>
          </a:effectRef>
          <a:fontRef idx="minor">
            <a:schemeClr val="lt1"/>
          </a:fontRef>
        </p:style>
        <p:txBody>
          <a:bodyPr wrap="square" rtlCol="0" anchor="ctr">
            <a:noAutofit/>
          </a:bodyPr>
          <a:lstStyle/>
          <a:p>
            <a:pPr algn="ctr"/>
            <a:endParaRPr lang="zh-CN" altLang="en-US" sz="1600">
              <a:solidFill>
                <a:schemeClr val="bg1"/>
              </a:solidFill>
              <a:latin typeface="+mn-ea"/>
              <a:sym typeface="思源黑体 CN Light" panose="020B0300000000000000" pitchFamily="34" charset="-122"/>
            </a:endParaRPr>
          </a:p>
        </p:txBody>
      </p:sp>
      <p:sp>
        <p:nvSpPr>
          <p:cNvPr id="9" name="梯形 8">
            <a:extLst>
              <a:ext uri="{FF2B5EF4-FFF2-40B4-BE49-F238E27FC236}">
                <a16:creationId xmlns:a16="http://schemas.microsoft.com/office/drawing/2014/main" id="{DAF9DC01-17A6-274C-3619-DCB782EC34D8}"/>
              </a:ext>
            </a:extLst>
          </p:cNvPr>
          <p:cNvSpPr/>
          <p:nvPr/>
        </p:nvSpPr>
        <p:spPr>
          <a:xfrm flipV="1">
            <a:off x="5457776" y="2509987"/>
            <a:ext cx="1276336" cy="236559"/>
          </a:xfrm>
          <a:prstGeom prst="trapezoid">
            <a:avLst>
              <a:gd name="adj" fmla="val 112080"/>
            </a:avLst>
          </a:prstGeom>
          <a:gradFill>
            <a:gsLst>
              <a:gs pos="0">
                <a:schemeClr val="accent1">
                  <a:alpha val="50000"/>
                </a:schemeClr>
              </a:gs>
              <a:gs pos="100000">
                <a:schemeClr val="accent1">
                  <a:alpha val="0"/>
                </a:schemeClr>
              </a:gs>
            </a:gsLst>
            <a:lin ang="16200000" scaled="1"/>
          </a:gradFill>
          <a:ln w="12700" cap="flat" cmpd="sng" algn="ctr">
            <a:noFill/>
            <a:prstDash val="solid"/>
            <a:miter lim="800000"/>
          </a:ln>
          <a:effectLst/>
        </p:spPr>
        <p:txBody>
          <a:bodyPr wrap="square" rtlCol="0" anchor="ctr">
            <a:noAutofit/>
          </a:bodyPr>
          <a:lstStyle/>
          <a:p>
            <a:pPr algn="ctr"/>
            <a:endParaRPr lang="zh-CN" altLang="en-US" kern="0">
              <a:solidFill>
                <a:prstClr val="white"/>
              </a:solidFill>
              <a:latin typeface="思源黑体 CN Light" panose="020B0300000000000000" pitchFamily="34" charset="-122"/>
              <a:ea typeface="思源黑体 CN Light" panose="020B0300000000000000" pitchFamily="34" charset="-122"/>
              <a:sym typeface="思源黑体 CN Light" panose="020B0300000000000000" pitchFamily="34" charset="-122"/>
            </a:endParaRPr>
          </a:p>
        </p:txBody>
      </p:sp>
      <p:sp>
        <p:nvSpPr>
          <p:cNvPr id="10" name="任意多边形: 形状 9">
            <a:extLst>
              <a:ext uri="{FF2B5EF4-FFF2-40B4-BE49-F238E27FC236}">
                <a16:creationId xmlns:a16="http://schemas.microsoft.com/office/drawing/2014/main" id="{B0DCD5B8-62B7-C0B9-8C11-62375AC2D9DD}"/>
              </a:ext>
            </a:extLst>
          </p:cNvPr>
          <p:cNvSpPr/>
          <p:nvPr/>
        </p:nvSpPr>
        <p:spPr>
          <a:xfrm>
            <a:off x="4535435" y="2997509"/>
            <a:ext cx="3121018" cy="1102725"/>
          </a:xfrm>
          <a:custGeom>
            <a:avLst/>
            <a:gdLst>
              <a:gd name="connsiteX0" fmla="*/ 639581 w 3121018"/>
              <a:gd name="connsiteY0" fmla="*/ 0 h 1102725"/>
              <a:gd name="connsiteX1" fmla="*/ 2481438 w 3121018"/>
              <a:gd name="connsiteY1" fmla="*/ 0 h 1102725"/>
              <a:gd name="connsiteX2" fmla="*/ 3121018 w 3121018"/>
              <a:gd name="connsiteY2" fmla="*/ 1102725 h 1102725"/>
              <a:gd name="connsiteX3" fmla="*/ 0 w 3121018"/>
              <a:gd name="connsiteY3" fmla="*/ 1102725 h 1102725"/>
              <a:gd name="connsiteX4" fmla="*/ 639581 w 3121018"/>
              <a:gd name="connsiteY4" fmla="*/ 0 h 11027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21018" h="1102725">
                <a:moveTo>
                  <a:pt x="639581" y="0"/>
                </a:moveTo>
                <a:lnTo>
                  <a:pt x="2481438" y="0"/>
                </a:lnTo>
                <a:lnTo>
                  <a:pt x="3121018" y="1102725"/>
                </a:lnTo>
                <a:lnTo>
                  <a:pt x="0" y="1102725"/>
                </a:lnTo>
                <a:lnTo>
                  <a:pt x="639581" y="0"/>
                </a:lnTo>
                <a:close/>
              </a:path>
            </a:pathLst>
          </a:custGeom>
          <a:gradFill>
            <a:gsLst>
              <a:gs pos="0">
                <a:schemeClr val="accent1">
                  <a:alpha val="79000"/>
                </a:schemeClr>
              </a:gs>
              <a:gs pos="100000">
                <a:schemeClr val="accent1">
                  <a:lumMod val="75000"/>
                </a:schemeClr>
              </a:gs>
            </a:gsLst>
            <a:lin ang="5400000" scaled="1"/>
          </a:gradFill>
          <a:ln>
            <a:solidFill>
              <a:schemeClr val="lt1">
                <a:hueOff val="0"/>
                <a:satOff val="0"/>
                <a:lumOff val="0"/>
              </a:schemeClr>
            </a:solidFill>
          </a:ln>
          <a:effectLst>
            <a:outerShdw blurRad="419100" dist="50800" dir="5400000" algn="ctr" rotWithShape="0">
              <a:schemeClr val="accent1">
                <a:alpha val="12000"/>
              </a:schemeClr>
            </a:outerShdw>
          </a:effectLst>
        </p:spPr>
        <p:style>
          <a:lnRef idx="2">
            <a:scrgbClr r="0" g="0" b="0"/>
          </a:lnRef>
          <a:fillRef idx="1">
            <a:scrgbClr r="0" g="0" b="0"/>
          </a:fillRef>
          <a:effectRef idx="0">
            <a:schemeClr val="accent1">
              <a:hueOff val="0"/>
              <a:satOff val="0"/>
              <a:lumOff val="0"/>
              <a:alphaOff val="0"/>
            </a:schemeClr>
          </a:effectRef>
          <a:fontRef idx="minor">
            <a:schemeClr val="lt1"/>
          </a:fontRef>
        </p:style>
        <p:txBody>
          <a:bodyPr wrap="square" rtlCol="0" anchor="ctr">
            <a:noAutofit/>
          </a:bodyPr>
          <a:lstStyle/>
          <a:p>
            <a:pPr algn="ctr"/>
            <a:endParaRPr lang="zh-CN" altLang="en-US" sz="1600">
              <a:solidFill>
                <a:schemeClr val="bg1"/>
              </a:solidFill>
              <a:latin typeface="+mn-ea"/>
              <a:sym typeface="思源黑体 CN Light" panose="020B0300000000000000" pitchFamily="34" charset="-122"/>
            </a:endParaRPr>
          </a:p>
        </p:txBody>
      </p:sp>
      <p:sp>
        <p:nvSpPr>
          <p:cNvPr id="11" name="梯形 10">
            <a:extLst>
              <a:ext uri="{FF2B5EF4-FFF2-40B4-BE49-F238E27FC236}">
                <a16:creationId xmlns:a16="http://schemas.microsoft.com/office/drawing/2014/main" id="{777BC65A-F7D6-3956-6495-8FBE1C5A6F99}"/>
              </a:ext>
            </a:extLst>
          </p:cNvPr>
          <p:cNvSpPr/>
          <p:nvPr/>
        </p:nvSpPr>
        <p:spPr>
          <a:xfrm flipV="1">
            <a:off x="4535435" y="4100232"/>
            <a:ext cx="3121018" cy="236559"/>
          </a:xfrm>
          <a:prstGeom prst="trapezoid">
            <a:avLst>
              <a:gd name="adj" fmla="val 112080"/>
            </a:avLst>
          </a:prstGeom>
          <a:gradFill>
            <a:gsLst>
              <a:gs pos="0">
                <a:schemeClr val="accent1">
                  <a:alpha val="50000"/>
                </a:schemeClr>
              </a:gs>
              <a:gs pos="100000">
                <a:schemeClr val="accent1">
                  <a:alpha val="0"/>
                </a:schemeClr>
              </a:gs>
            </a:gsLst>
            <a:lin ang="16200000" scaled="1"/>
          </a:gradFill>
          <a:ln w="12700" cap="flat" cmpd="sng" algn="ctr">
            <a:noFill/>
            <a:prstDash val="solid"/>
            <a:miter lim="800000"/>
          </a:ln>
          <a:effectLst/>
        </p:spPr>
        <p:txBody>
          <a:bodyPr wrap="square" rtlCol="0" anchor="ctr">
            <a:noAutofit/>
          </a:bodyPr>
          <a:lstStyle/>
          <a:p>
            <a:pPr algn="ctr"/>
            <a:endParaRPr lang="zh-CN" altLang="en-US" kern="0" dirty="0">
              <a:solidFill>
                <a:prstClr val="white"/>
              </a:solidFill>
              <a:latin typeface="思源黑体 CN Light" panose="020B0300000000000000" pitchFamily="34" charset="-122"/>
              <a:ea typeface="思源黑体 CN Light" panose="020B0300000000000000" pitchFamily="34" charset="-122"/>
              <a:sym typeface="思源黑体 CN Light" panose="020B0300000000000000" pitchFamily="34" charset="-122"/>
            </a:endParaRPr>
          </a:p>
        </p:txBody>
      </p:sp>
      <p:sp>
        <p:nvSpPr>
          <p:cNvPr id="12" name="任意多边形: 形状 11">
            <a:extLst>
              <a:ext uri="{FF2B5EF4-FFF2-40B4-BE49-F238E27FC236}">
                <a16:creationId xmlns:a16="http://schemas.microsoft.com/office/drawing/2014/main" id="{C6E3B415-7ADA-204F-2841-0F4555870EA0}"/>
              </a:ext>
            </a:extLst>
          </p:cNvPr>
          <p:cNvSpPr/>
          <p:nvPr/>
        </p:nvSpPr>
        <p:spPr>
          <a:xfrm>
            <a:off x="3613094" y="4587752"/>
            <a:ext cx="4965700" cy="1102725"/>
          </a:xfrm>
          <a:custGeom>
            <a:avLst/>
            <a:gdLst>
              <a:gd name="connsiteX0" fmla="*/ 639581 w 4965700"/>
              <a:gd name="connsiteY0" fmla="*/ 0 h 1102725"/>
              <a:gd name="connsiteX1" fmla="*/ 4326120 w 4965700"/>
              <a:gd name="connsiteY1" fmla="*/ 0 h 1102725"/>
              <a:gd name="connsiteX2" fmla="*/ 4965700 w 4965700"/>
              <a:gd name="connsiteY2" fmla="*/ 1102725 h 1102725"/>
              <a:gd name="connsiteX3" fmla="*/ 0 w 4965700"/>
              <a:gd name="connsiteY3" fmla="*/ 1102725 h 1102725"/>
              <a:gd name="connsiteX4" fmla="*/ 639581 w 4965700"/>
              <a:gd name="connsiteY4" fmla="*/ 0 h 11027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65700" h="1102725">
                <a:moveTo>
                  <a:pt x="639581" y="0"/>
                </a:moveTo>
                <a:lnTo>
                  <a:pt x="4326120" y="0"/>
                </a:lnTo>
                <a:lnTo>
                  <a:pt x="4965700" y="1102725"/>
                </a:lnTo>
                <a:lnTo>
                  <a:pt x="0" y="1102725"/>
                </a:lnTo>
                <a:lnTo>
                  <a:pt x="639581" y="0"/>
                </a:lnTo>
                <a:close/>
              </a:path>
            </a:pathLst>
          </a:custGeom>
          <a:gradFill>
            <a:gsLst>
              <a:gs pos="0">
                <a:schemeClr val="accent1">
                  <a:alpha val="79000"/>
                </a:schemeClr>
              </a:gs>
              <a:gs pos="100000">
                <a:schemeClr val="accent1">
                  <a:lumMod val="75000"/>
                </a:schemeClr>
              </a:gs>
            </a:gsLst>
            <a:lin ang="5400000" scaled="1"/>
          </a:gradFill>
          <a:ln>
            <a:solidFill>
              <a:schemeClr val="lt1">
                <a:hueOff val="0"/>
                <a:satOff val="0"/>
                <a:lumOff val="0"/>
              </a:schemeClr>
            </a:solidFill>
          </a:ln>
          <a:effectLst>
            <a:outerShdw blurRad="419100" dist="50800" dir="5400000" algn="ctr" rotWithShape="0">
              <a:schemeClr val="accent1">
                <a:alpha val="12000"/>
              </a:schemeClr>
            </a:outerShdw>
          </a:effectLst>
        </p:spPr>
        <p:style>
          <a:lnRef idx="2">
            <a:scrgbClr r="0" g="0" b="0"/>
          </a:lnRef>
          <a:fillRef idx="1">
            <a:scrgbClr r="0" g="0" b="0"/>
          </a:fillRef>
          <a:effectRef idx="0">
            <a:schemeClr val="accent1">
              <a:hueOff val="0"/>
              <a:satOff val="0"/>
              <a:lumOff val="0"/>
              <a:alphaOff val="0"/>
            </a:schemeClr>
          </a:effectRef>
          <a:fontRef idx="minor">
            <a:schemeClr val="lt1"/>
          </a:fontRef>
        </p:style>
        <p:txBody>
          <a:bodyPr wrap="square" rtlCol="0" anchor="ctr">
            <a:noAutofit/>
          </a:bodyPr>
          <a:lstStyle/>
          <a:p>
            <a:pPr algn="ctr"/>
            <a:endParaRPr lang="zh-CN" altLang="en-US" sz="1600">
              <a:solidFill>
                <a:schemeClr val="bg1"/>
              </a:solidFill>
              <a:latin typeface="+mn-ea"/>
              <a:sym typeface="思源黑体 CN Light" panose="020B0300000000000000" pitchFamily="34" charset="-122"/>
            </a:endParaRPr>
          </a:p>
        </p:txBody>
      </p:sp>
      <p:sp>
        <p:nvSpPr>
          <p:cNvPr id="13" name="梯形 12">
            <a:extLst>
              <a:ext uri="{FF2B5EF4-FFF2-40B4-BE49-F238E27FC236}">
                <a16:creationId xmlns:a16="http://schemas.microsoft.com/office/drawing/2014/main" id="{6C7BF2D0-69B7-0C69-3DBC-EA3E3486C9E0}"/>
              </a:ext>
            </a:extLst>
          </p:cNvPr>
          <p:cNvSpPr/>
          <p:nvPr/>
        </p:nvSpPr>
        <p:spPr>
          <a:xfrm flipV="1">
            <a:off x="3613094" y="5690475"/>
            <a:ext cx="4965700" cy="236559"/>
          </a:xfrm>
          <a:prstGeom prst="trapezoid">
            <a:avLst>
              <a:gd name="adj" fmla="val 112080"/>
            </a:avLst>
          </a:prstGeom>
          <a:gradFill>
            <a:gsLst>
              <a:gs pos="0">
                <a:schemeClr val="accent3">
                  <a:alpha val="50000"/>
                </a:schemeClr>
              </a:gs>
              <a:gs pos="100000">
                <a:schemeClr val="accent3">
                  <a:alpha val="0"/>
                </a:schemeClr>
              </a:gs>
            </a:gsLst>
            <a:lin ang="16200000" scaled="1"/>
          </a:gradFill>
          <a:ln w="12700" cap="flat" cmpd="sng" algn="ctr">
            <a:noFill/>
            <a:prstDash val="solid"/>
            <a:miter lim="800000"/>
          </a:ln>
          <a:effectLst/>
        </p:spPr>
        <p:txBody>
          <a:bodyPr wrap="square" rtlCol="0" anchor="ctr">
            <a:noAutofit/>
          </a:bodyPr>
          <a:lstStyle/>
          <a:p>
            <a:pPr algn="ctr"/>
            <a:endParaRPr lang="zh-CN" altLang="en-US" kern="0">
              <a:solidFill>
                <a:prstClr val="white"/>
              </a:solidFill>
              <a:latin typeface="思源黑体 CN Light" panose="020B0300000000000000" pitchFamily="34" charset="-122"/>
              <a:ea typeface="思源黑体 CN Light" panose="020B0300000000000000" pitchFamily="34" charset="-122"/>
              <a:sym typeface="思源黑体 CN Light" panose="020B0300000000000000" pitchFamily="34" charset="-122"/>
            </a:endParaRPr>
          </a:p>
        </p:txBody>
      </p:sp>
      <p:grpSp>
        <p:nvGrpSpPr>
          <p:cNvPr id="14" name="图形 6">
            <a:extLst>
              <a:ext uri="{FF2B5EF4-FFF2-40B4-BE49-F238E27FC236}">
                <a16:creationId xmlns:a16="http://schemas.microsoft.com/office/drawing/2014/main" id="{7F8FC86E-D501-0A5F-6AFC-4166370DACF2}"/>
              </a:ext>
            </a:extLst>
          </p:cNvPr>
          <p:cNvGrpSpPr>
            <a:grpSpLocks/>
          </p:cNvGrpSpPr>
          <p:nvPr/>
        </p:nvGrpSpPr>
        <p:grpSpPr>
          <a:xfrm>
            <a:off x="5800418" y="4876424"/>
            <a:ext cx="525380" cy="525380"/>
            <a:chOff x="0" y="0"/>
            <a:chExt cx="1905000" cy="1905000"/>
          </a:xfrm>
          <a:solidFill>
            <a:schemeClr val="bg1"/>
          </a:solidFill>
        </p:grpSpPr>
        <p:sp>
          <p:nvSpPr>
            <p:cNvPr id="26" name="任意多边形: 形状 25">
              <a:extLst>
                <a:ext uri="{FF2B5EF4-FFF2-40B4-BE49-F238E27FC236}">
                  <a16:creationId xmlns:a16="http://schemas.microsoft.com/office/drawing/2014/main" id="{29955E7E-8644-83A3-DD51-587FCDD636B5}"/>
                </a:ext>
              </a:extLst>
            </p:cNvPr>
            <p:cNvSpPr/>
            <p:nvPr/>
          </p:nvSpPr>
          <p:spPr>
            <a:xfrm>
              <a:off x="555624" y="635000"/>
              <a:ext cx="635000" cy="119062"/>
            </a:xfrm>
            <a:custGeom>
              <a:avLst/>
              <a:gdLst>
                <a:gd name="connsiteX0" fmla="*/ 59531 w 635000"/>
                <a:gd name="connsiteY0" fmla="*/ 0 h 119062"/>
                <a:gd name="connsiteX1" fmla="*/ 575469 w 635000"/>
                <a:gd name="connsiteY1" fmla="*/ 0 h 119062"/>
                <a:gd name="connsiteX2" fmla="*/ 635000 w 635000"/>
                <a:gd name="connsiteY2" fmla="*/ 59531 h 119062"/>
                <a:gd name="connsiteX3" fmla="*/ 635000 w 635000"/>
                <a:gd name="connsiteY3" fmla="*/ 59531 h 119062"/>
                <a:gd name="connsiteX4" fmla="*/ 575469 w 635000"/>
                <a:gd name="connsiteY4" fmla="*/ 119063 h 119062"/>
                <a:gd name="connsiteX5" fmla="*/ 59531 w 635000"/>
                <a:gd name="connsiteY5" fmla="*/ 119063 h 119062"/>
                <a:gd name="connsiteX6" fmla="*/ 0 w 635000"/>
                <a:gd name="connsiteY6" fmla="*/ 59531 h 119062"/>
                <a:gd name="connsiteX7" fmla="*/ 0 w 635000"/>
                <a:gd name="connsiteY7" fmla="*/ 59531 h 119062"/>
                <a:gd name="connsiteX8" fmla="*/ 59531 w 635000"/>
                <a:gd name="connsiteY8" fmla="*/ 0 h 119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35000" h="119062">
                  <a:moveTo>
                    <a:pt x="59531" y="0"/>
                  </a:moveTo>
                  <a:lnTo>
                    <a:pt x="575469" y="0"/>
                  </a:lnTo>
                  <a:cubicBezTo>
                    <a:pt x="615156" y="0"/>
                    <a:pt x="635000" y="19844"/>
                    <a:pt x="635000" y="59531"/>
                  </a:cubicBezTo>
                  <a:lnTo>
                    <a:pt x="635000" y="59531"/>
                  </a:lnTo>
                  <a:cubicBezTo>
                    <a:pt x="635000" y="99219"/>
                    <a:pt x="615156" y="119063"/>
                    <a:pt x="575469" y="119063"/>
                  </a:cubicBezTo>
                  <a:lnTo>
                    <a:pt x="59531" y="119063"/>
                  </a:lnTo>
                  <a:cubicBezTo>
                    <a:pt x="19844" y="119063"/>
                    <a:pt x="0" y="99219"/>
                    <a:pt x="0" y="59531"/>
                  </a:cubicBezTo>
                  <a:lnTo>
                    <a:pt x="0" y="59531"/>
                  </a:lnTo>
                  <a:cubicBezTo>
                    <a:pt x="0" y="19844"/>
                    <a:pt x="19844" y="0"/>
                    <a:pt x="59531" y="0"/>
                  </a:cubicBezTo>
                  <a:close/>
                </a:path>
              </a:pathLst>
            </a:custGeom>
            <a:grpFill/>
            <a:ln w="1860" cap="flat">
              <a:noFill/>
              <a:prstDash val="solid"/>
              <a:miter/>
            </a:ln>
          </p:spPr>
          <p:txBody>
            <a:bodyPr rtlCol="0" anchor="ctr"/>
            <a:lstStyle/>
            <a:p>
              <a:endParaRPr lang="zh-CN" altLang="en-US"/>
            </a:p>
          </p:txBody>
        </p:sp>
        <p:sp>
          <p:nvSpPr>
            <p:cNvPr id="27" name="任意多边形: 形状 26">
              <a:extLst>
                <a:ext uri="{FF2B5EF4-FFF2-40B4-BE49-F238E27FC236}">
                  <a16:creationId xmlns:a16="http://schemas.microsoft.com/office/drawing/2014/main" id="{84B6AAF0-4BEF-A677-A01D-4A2EB7ED5752}"/>
                </a:ext>
              </a:extLst>
            </p:cNvPr>
            <p:cNvSpPr/>
            <p:nvPr/>
          </p:nvSpPr>
          <p:spPr>
            <a:xfrm>
              <a:off x="555624" y="532604"/>
              <a:ext cx="1188703" cy="943770"/>
            </a:xfrm>
            <a:custGeom>
              <a:avLst/>
              <a:gdLst>
                <a:gd name="connsiteX0" fmla="*/ 242094 w 1188703"/>
                <a:gd name="connsiteY0" fmla="*/ 419895 h 943770"/>
                <a:gd name="connsiteX1" fmla="*/ 59531 w 1188703"/>
                <a:gd name="connsiteY1" fmla="*/ 419895 h 943770"/>
                <a:gd name="connsiteX2" fmla="*/ 0 w 1188703"/>
                <a:gd name="connsiteY2" fmla="*/ 479426 h 943770"/>
                <a:gd name="connsiteX3" fmla="*/ 59531 w 1188703"/>
                <a:gd name="connsiteY3" fmla="*/ 538958 h 943770"/>
                <a:gd name="connsiteX4" fmla="*/ 242094 w 1188703"/>
                <a:gd name="connsiteY4" fmla="*/ 538958 h 943770"/>
                <a:gd name="connsiteX5" fmla="*/ 301625 w 1188703"/>
                <a:gd name="connsiteY5" fmla="*/ 479426 h 943770"/>
                <a:gd name="connsiteX6" fmla="*/ 242094 w 1188703"/>
                <a:gd name="connsiteY6" fmla="*/ 419895 h 943770"/>
                <a:gd name="connsiteX7" fmla="*/ 942975 w 1188703"/>
                <a:gd name="connsiteY7" fmla="*/ 134939 h 943770"/>
                <a:gd name="connsiteX8" fmla="*/ 1054894 w 1188703"/>
                <a:gd name="connsiteY8" fmla="*/ 246858 h 943770"/>
                <a:gd name="connsiteX9" fmla="*/ 499269 w 1188703"/>
                <a:gd name="connsiteY9" fmla="*/ 802483 h 943770"/>
                <a:gd name="connsiteX10" fmla="*/ 373063 w 1188703"/>
                <a:gd name="connsiteY10" fmla="*/ 816770 h 943770"/>
                <a:gd name="connsiteX11" fmla="*/ 384175 w 1188703"/>
                <a:gd name="connsiteY11" fmla="*/ 693739 h 943770"/>
                <a:gd name="connsiteX12" fmla="*/ 939800 w 1188703"/>
                <a:gd name="connsiteY12" fmla="*/ 138114 h 943770"/>
                <a:gd name="connsiteX13" fmla="*/ 939800 w 1188703"/>
                <a:gd name="connsiteY13" fmla="*/ 2383 h 943770"/>
                <a:gd name="connsiteX14" fmla="*/ 883444 w 1188703"/>
                <a:gd name="connsiteY14" fmla="*/ 25401 h 943770"/>
                <a:gd name="connsiteX15" fmla="*/ 286544 w 1188703"/>
                <a:gd name="connsiteY15" fmla="*/ 623095 h 943770"/>
                <a:gd name="connsiteX16" fmla="*/ 263525 w 1188703"/>
                <a:gd name="connsiteY16" fmla="*/ 671514 h 943770"/>
                <a:gd name="connsiteX17" fmla="*/ 246856 w 1188703"/>
                <a:gd name="connsiteY17" fmla="*/ 857251 h 943770"/>
                <a:gd name="connsiteX18" fmla="*/ 318765 w 1188703"/>
                <a:gd name="connsiteY18" fmla="*/ 943449 h 943770"/>
                <a:gd name="connsiteX19" fmla="*/ 326231 w 1188703"/>
                <a:gd name="connsiteY19" fmla="*/ 943770 h 943770"/>
                <a:gd name="connsiteX20" fmla="*/ 333375 w 1188703"/>
                <a:gd name="connsiteY20" fmla="*/ 943770 h 943770"/>
                <a:gd name="connsiteX21" fmla="*/ 519113 w 1188703"/>
                <a:gd name="connsiteY21" fmla="*/ 927101 h 943770"/>
                <a:gd name="connsiteX22" fmla="*/ 567531 w 1188703"/>
                <a:gd name="connsiteY22" fmla="*/ 904083 h 943770"/>
                <a:gd name="connsiteX23" fmla="*/ 1165225 w 1188703"/>
                <a:gd name="connsiteY23" fmla="*/ 307183 h 943770"/>
                <a:gd name="connsiteX24" fmla="*/ 1165685 w 1188703"/>
                <a:gd name="connsiteY24" fmla="*/ 194930 h 943770"/>
                <a:gd name="connsiteX25" fmla="*/ 1165225 w 1188703"/>
                <a:gd name="connsiteY25" fmla="*/ 194470 h 943770"/>
                <a:gd name="connsiteX26" fmla="*/ 999331 w 1188703"/>
                <a:gd name="connsiteY26" fmla="*/ 23020 h 943770"/>
                <a:gd name="connsiteX27" fmla="*/ 942975 w 1188703"/>
                <a:gd name="connsiteY27" fmla="*/ 1 h 9437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188703" h="943770">
                  <a:moveTo>
                    <a:pt x="242094" y="419895"/>
                  </a:moveTo>
                  <a:lnTo>
                    <a:pt x="59531" y="419895"/>
                  </a:lnTo>
                  <a:cubicBezTo>
                    <a:pt x="26653" y="419895"/>
                    <a:pt x="0" y="446548"/>
                    <a:pt x="0" y="479426"/>
                  </a:cubicBezTo>
                  <a:cubicBezTo>
                    <a:pt x="0" y="512305"/>
                    <a:pt x="26653" y="538958"/>
                    <a:pt x="59531" y="538958"/>
                  </a:cubicBezTo>
                  <a:lnTo>
                    <a:pt x="242094" y="538958"/>
                  </a:lnTo>
                  <a:cubicBezTo>
                    <a:pt x="274972" y="538958"/>
                    <a:pt x="301625" y="512305"/>
                    <a:pt x="301625" y="479426"/>
                  </a:cubicBezTo>
                  <a:cubicBezTo>
                    <a:pt x="301625" y="446548"/>
                    <a:pt x="274972" y="419895"/>
                    <a:pt x="242094" y="419895"/>
                  </a:cubicBezTo>
                  <a:close/>
                  <a:moveTo>
                    <a:pt x="942975" y="134939"/>
                  </a:moveTo>
                  <a:lnTo>
                    <a:pt x="1054894" y="246858"/>
                  </a:lnTo>
                  <a:lnTo>
                    <a:pt x="499269" y="802483"/>
                  </a:lnTo>
                  <a:lnTo>
                    <a:pt x="373063" y="816770"/>
                  </a:lnTo>
                  <a:lnTo>
                    <a:pt x="384175" y="693739"/>
                  </a:lnTo>
                  <a:lnTo>
                    <a:pt x="939800" y="138114"/>
                  </a:lnTo>
                  <a:moveTo>
                    <a:pt x="939800" y="2383"/>
                  </a:moveTo>
                  <a:cubicBezTo>
                    <a:pt x="918702" y="2261"/>
                    <a:pt x="898423" y="10543"/>
                    <a:pt x="883444" y="25401"/>
                  </a:cubicBezTo>
                  <a:lnTo>
                    <a:pt x="286544" y="623095"/>
                  </a:lnTo>
                  <a:cubicBezTo>
                    <a:pt x="273488" y="636077"/>
                    <a:pt x="265350" y="653193"/>
                    <a:pt x="263525" y="671514"/>
                  </a:cubicBezTo>
                  <a:lnTo>
                    <a:pt x="246856" y="857251"/>
                  </a:lnTo>
                  <a:cubicBezTo>
                    <a:pt x="242910" y="900911"/>
                    <a:pt x="275105" y="939503"/>
                    <a:pt x="318765" y="943449"/>
                  </a:cubicBezTo>
                  <a:cubicBezTo>
                    <a:pt x="321247" y="943673"/>
                    <a:pt x="323739" y="943780"/>
                    <a:pt x="326231" y="943770"/>
                  </a:cubicBezTo>
                  <a:lnTo>
                    <a:pt x="333375" y="943770"/>
                  </a:lnTo>
                  <a:lnTo>
                    <a:pt x="519113" y="927101"/>
                  </a:lnTo>
                  <a:cubicBezTo>
                    <a:pt x="537433" y="925276"/>
                    <a:pt x="554550" y="917139"/>
                    <a:pt x="567531" y="904083"/>
                  </a:cubicBezTo>
                  <a:lnTo>
                    <a:pt x="1165225" y="307183"/>
                  </a:lnTo>
                  <a:cubicBezTo>
                    <a:pt x="1196350" y="276312"/>
                    <a:pt x="1196556" y="226055"/>
                    <a:pt x="1165685" y="194930"/>
                  </a:cubicBezTo>
                  <a:cubicBezTo>
                    <a:pt x="1165532" y="194776"/>
                    <a:pt x="1165379" y="194623"/>
                    <a:pt x="1165225" y="194470"/>
                  </a:cubicBezTo>
                  <a:lnTo>
                    <a:pt x="999331" y="23020"/>
                  </a:lnTo>
                  <a:cubicBezTo>
                    <a:pt x="984352" y="8162"/>
                    <a:pt x="964073" y="-121"/>
                    <a:pt x="942975" y="1"/>
                  </a:cubicBezTo>
                  <a:close/>
                </a:path>
              </a:pathLst>
            </a:custGeom>
            <a:grpFill/>
            <a:ln w="1860" cap="flat">
              <a:noFill/>
              <a:prstDash val="solid"/>
              <a:miter/>
            </a:ln>
          </p:spPr>
          <p:txBody>
            <a:bodyPr rtlCol="0" anchor="ctr"/>
            <a:lstStyle/>
            <a:p>
              <a:endParaRPr lang="zh-CN" altLang="en-US"/>
            </a:p>
          </p:txBody>
        </p:sp>
        <p:sp>
          <p:nvSpPr>
            <p:cNvPr id="28" name="任意多边形: 形状 27">
              <a:extLst>
                <a:ext uri="{FF2B5EF4-FFF2-40B4-BE49-F238E27FC236}">
                  <a16:creationId xmlns:a16="http://schemas.microsoft.com/office/drawing/2014/main" id="{126DACB9-ED84-A332-C17B-15E40F07F08A}"/>
                </a:ext>
              </a:extLst>
            </p:cNvPr>
            <p:cNvSpPr/>
            <p:nvPr/>
          </p:nvSpPr>
          <p:spPr>
            <a:xfrm>
              <a:off x="317499" y="238125"/>
              <a:ext cx="1270000" cy="1428750"/>
            </a:xfrm>
            <a:custGeom>
              <a:avLst/>
              <a:gdLst>
                <a:gd name="connsiteX0" fmla="*/ 1150938 w 1270000"/>
                <a:gd name="connsiteY0" fmla="*/ 972344 h 1428750"/>
                <a:gd name="connsiteX1" fmla="*/ 1150938 w 1270000"/>
                <a:gd name="connsiteY1" fmla="*/ 1309688 h 1428750"/>
                <a:gd name="connsiteX2" fmla="*/ 119063 w 1270000"/>
                <a:gd name="connsiteY2" fmla="*/ 1309688 h 1428750"/>
                <a:gd name="connsiteX3" fmla="*/ 119063 w 1270000"/>
                <a:gd name="connsiteY3" fmla="*/ 119063 h 1428750"/>
                <a:gd name="connsiteX4" fmla="*/ 1150938 w 1270000"/>
                <a:gd name="connsiteY4" fmla="*/ 119063 h 1428750"/>
                <a:gd name="connsiteX5" fmla="*/ 1150938 w 1270000"/>
                <a:gd name="connsiteY5" fmla="*/ 178594 h 1428750"/>
                <a:gd name="connsiteX6" fmla="*/ 1210469 w 1270000"/>
                <a:gd name="connsiteY6" fmla="*/ 238125 h 1428750"/>
                <a:gd name="connsiteX7" fmla="*/ 1270000 w 1270000"/>
                <a:gd name="connsiteY7" fmla="*/ 178594 h 1428750"/>
                <a:gd name="connsiteX8" fmla="*/ 1270000 w 1270000"/>
                <a:gd name="connsiteY8" fmla="*/ 79375 h 1428750"/>
                <a:gd name="connsiteX9" fmla="*/ 1190625 w 1270000"/>
                <a:gd name="connsiteY9" fmla="*/ 0 h 1428750"/>
                <a:gd name="connsiteX10" fmla="*/ 79375 w 1270000"/>
                <a:gd name="connsiteY10" fmla="*/ 0 h 1428750"/>
                <a:gd name="connsiteX11" fmla="*/ 0 w 1270000"/>
                <a:gd name="connsiteY11" fmla="*/ 79375 h 1428750"/>
                <a:gd name="connsiteX12" fmla="*/ 0 w 1270000"/>
                <a:gd name="connsiteY12" fmla="*/ 1349375 h 1428750"/>
                <a:gd name="connsiteX13" fmla="*/ 79375 w 1270000"/>
                <a:gd name="connsiteY13" fmla="*/ 1428750 h 1428750"/>
                <a:gd name="connsiteX14" fmla="*/ 1190625 w 1270000"/>
                <a:gd name="connsiteY14" fmla="*/ 1428750 h 1428750"/>
                <a:gd name="connsiteX15" fmla="*/ 1270000 w 1270000"/>
                <a:gd name="connsiteY15" fmla="*/ 1349375 h 1428750"/>
                <a:gd name="connsiteX16" fmla="*/ 1270000 w 1270000"/>
                <a:gd name="connsiteY16" fmla="*/ 972344 h 1428750"/>
                <a:gd name="connsiteX17" fmla="*/ 1210469 w 1270000"/>
                <a:gd name="connsiteY17" fmla="*/ 912813 h 1428750"/>
                <a:gd name="connsiteX18" fmla="*/ 1150938 w 1270000"/>
                <a:gd name="connsiteY18" fmla="*/ 972344 h 1428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270000" h="1428750">
                  <a:moveTo>
                    <a:pt x="1150938" y="972344"/>
                  </a:moveTo>
                  <a:lnTo>
                    <a:pt x="1150938" y="1309688"/>
                  </a:lnTo>
                  <a:lnTo>
                    <a:pt x="119063" y="1309688"/>
                  </a:lnTo>
                  <a:lnTo>
                    <a:pt x="119063" y="119063"/>
                  </a:lnTo>
                  <a:lnTo>
                    <a:pt x="1150938" y="119063"/>
                  </a:lnTo>
                  <a:lnTo>
                    <a:pt x="1150938" y="178594"/>
                  </a:lnTo>
                  <a:cubicBezTo>
                    <a:pt x="1151365" y="211293"/>
                    <a:pt x="1177769" y="237698"/>
                    <a:pt x="1210469" y="238125"/>
                  </a:cubicBezTo>
                  <a:cubicBezTo>
                    <a:pt x="1243168" y="237698"/>
                    <a:pt x="1269573" y="211293"/>
                    <a:pt x="1270000" y="178594"/>
                  </a:cubicBezTo>
                  <a:lnTo>
                    <a:pt x="1270000" y="79375"/>
                  </a:lnTo>
                  <a:cubicBezTo>
                    <a:pt x="1270000" y="35537"/>
                    <a:pt x="1234463" y="0"/>
                    <a:pt x="1190625" y="0"/>
                  </a:cubicBezTo>
                  <a:lnTo>
                    <a:pt x="79375" y="0"/>
                  </a:lnTo>
                  <a:cubicBezTo>
                    <a:pt x="35537" y="0"/>
                    <a:pt x="0" y="35537"/>
                    <a:pt x="0" y="79375"/>
                  </a:cubicBezTo>
                  <a:lnTo>
                    <a:pt x="0" y="1349375"/>
                  </a:lnTo>
                  <a:cubicBezTo>
                    <a:pt x="0" y="1393213"/>
                    <a:pt x="35537" y="1428750"/>
                    <a:pt x="79375" y="1428750"/>
                  </a:cubicBezTo>
                  <a:lnTo>
                    <a:pt x="1190625" y="1428750"/>
                  </a:lnTo>
                  <a:cubicBezTo>
                    <a:pt x="1234463" y="1428750"/>
                    <a:pt x="1270000" y="1393213"/>
                    <a:pt x="1270000" y="1349375"/>
                  </a:cubicBezTo>
                  <a:lnTo>
                    <a:pt x="1270000" y="972344"/>
                  </a:lnTo>
                  <a:cubicBezTo>
                    <a:pt x="1269573" y="939644"/>
                    <a:pt x="1243168" y="913240"/>
                    <a:pt x="1210469" y="912813"/>
                  </a:cubicBezTo>
                  <a:cubicBezTo>
                    <a:pt x="1177769" y="913240"/>
                    <a:pt x="1151365" y="939644"/>
                    <a:pt x="1150938" y="972344"/>
                  </a:cubicBezTo>
                  <a:close/>
                </a:path>
              </a:pathLst>
            </a:custGeom>
            <a:grpFill/>
            <a:ln w="1860" cap="flat">
              <a:noFill/>
              <a:prstDash val="solid"/>
              <a:miter/>
            </a:ln>
          </p:spPr>
          <p:txBody>
            <a:bodyPr rtlCol="0" anchor="ctr"/>
            <a:lstStyle/>
            <a:p>
              <a:endParaRPr lang="zh-CN" altLang="en-US"/>
            </a:p>
          </p:txBody>
        </p:sp>
      </p:grpSp>
      <p:grpSp>
        <p:nvGrpSpPr>
          <p:cNvPr id="15" name="图形 37">
            <a:extLst>
              <a:ext uri="{FF2B5EF4-FFF2-40B4-BE49-F238E27FC236}">
                <a16:creationId xmlns:a16="http://schemas.microsoft.com/office/drawing/2014/main" id="{8ECB25D5-35B3-83BB-8C22-7149C8F999AF}"/>
              </a:ext>
            </a:extLst>
          </p:cNvPr>
          <p:cNvGrpSpPr>
            <a:grpSpLocks/>
          </p:cNvGrpSpPr>
          <p:nvPr/>
        </p:nvGrpSpPr>
        <p:grpSpPr>
          <a:xfrm>
            <a:off x="5833254" y="1859126"/>
            <a:ext cx="525380" cy="525380"/>
            <a:chOff x="0" y="0"/>
            <a:chExt cx="1905000" cy="1905000"/>
          </a:xfrm>
          <a:solidFill>
            <a:schemeClr val="bg1"/>
          </a:solidFill>
        </p:grpSpPr>
        <p:sp>
          <p:nvSpPr>
            <p:cNvPr id="22" name="任意多边形: 形状 21">
              <a:extLst>
                <a:ext uri="{FF2B5EF4-FFF2-40B4-BE49-F238E27FC236}">
                  <a16:creationId xmlns:a16="http://schemas.microsoft.com/office/drawing/2014/main" id="{92C5DC00-068C-8B38-F8A1-12AEB3B509B2}"/>
                </a:ext>
              </a:extLst>
            </p:cNvPr>
            <p:cNvSpPr/>
            <p:nvPr/>
          </p:nvSpPr>
          <p:spPr>
            <a:xfrm>
              <a:off x="476250" y="635000"/>
              <a:ext cx="714375" cy="119062"/>
            </a:xfrm>
            <a:custGeom>
              <a:avLst/>
              <a:gdLst>
                <a:gd name="connsiteX0" fmla="*/ 56356 w 714375"/>
                <a:gd name="connsiteY0" fmla="*/ 0 h 119062"/>
                <a:gd name="connsiteX1" fmla="*/ 658019 w 714375"/>
                <a:gd name="connsiteY1" fmla="*/ 0 h 119062"/>
                <a:gd name="connsiteX2" fmla="*/ 714375 w 714375"/>
                <a:gd name="connsiteY2" fmla="*/ 56356 h 119062"/>
                <a:gd name="connsiteX3" fmla="*/ 714375 w 714375"/>
                <a:gd name="connsiteY3" fmla="*/ 62706 h 119062"/>
                <a:gd name="connsiteX4" fmla="*/ 658019 w 714375"/>
                <a:gd name="connsiteY4" fmla="*/ 119063 h 119062"/>
                <a:gd name="connsiteX5" fmla="*/ 56356 w 714375"/>
                <a:gd name="connsiteY5" fmla="*/ 119063 h 119062"/>
                <a:gd name="connsiteX6" fmla="*/ 0 w 714375"/>
                <a:gd name="connsiteY6" fmla="*/ 62706 h 119062"/>
                <a:gd name="connsiteX7" fmla="*/ 0 w 714375"/>
                <a:gd name="connsiteY7" fmla="*/ 56356 h 119062"/>
                <a:gd name="connsiteX8" fmla="*/ 56356 w 714375"/>
                <a:gd name="connsiteY8" fmla="*/ 0 h 119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4375" h="119062">
                  <a:moveTo>
                    <a:pt x="56356" y="0"/>
                  </a:moveTo>
                  <a:lnTo>
                    <a:pt x="658019" y="0"/>
                  </a:lnTo>
                  <a:cubicBezTo>
                    <a:pt x="695590" y="0"/>
                    <a:pt x="714375" y="18785"/>
                    <a:pt x="714375" y="56356"/>
                  </a:cubicBezTo>
                  <a:lnTo>
                    <a:pt x="714375" y="62706"/>
                  </a:lnTo>
                  <a:cubicBezTo>
                    <a:pt x="714375" y="100277"/>
                    <a:pt x="695590" y="119063"/>
                    <a:pt x="658019" y="119063"/>
                  </a:cubicBezTo>
                  <a:lnTo>
                    <a:pt x="56356" y="119063"/>
                  </a:lnTo>
                  <a:cubicBezTo>
                    <a:pt x="18785" y="119063"/>
                    <a:pt x="0" y="100277"/>
                    <a:pt x="0" y="62706"/>
                  </a:cubicBezTo>
                  <a:lnTo>
                    <a:pt x="0" y="56356"/>
                  </a:lnTo>
                  <a:cubicBezTo>
                    <a:pt x="0" y="18785"/>
                    <a:pt x="18785" y="0"/>
                    <a:pt x="56356" y="0"/>
                  </a:cubicBezTo>
                  <a:close/>
                </a:path>
              </a:pathLst>
            </a:custGeom>
            <a:grpFill/>
            <a:ln w="1860" cap="flat">
              <a:noFill/>
              <a:prstDash val="solid"/>
              <a:miter/>
            </a:ln>
          </p:spPr>
          <p:txBody>
            <a:bodyPr rtlCol="0" anchor="ctr"/>
            <a:lstStyle/>
            <a:p>
              <a:endParaRPr lang="zh-CN" altLang="en-US"/>
            </a:p>
          </p:txBody>
        </p:sp>
        <p:sp>
          <p:nvSpPr>
            <p:cNvPr id="23" name="任意多边形: 形状 22">
              <a:extLst>
                <a:ext uri="{FF2B5EF4-FFF2-40B4-BE49-F238E27FC236}">
                  <a16:creationId xmlns:a16="http://schemas.microsoft.com/office/drawing/2014/main" id="{B957C8A2-2DA1-6D3C-CB9C-20DCD7AB9034}"/>
                </a:ext>
              </a:extLst>
            </p:cNvPr>
            <p:cNvSpPr/>
            <p:nvPr/>
          </p:nvSpPr>
          <p:spPr>
            <a:xfrm>
              <a:off x="476250" y="952500"/>
              <a:ext cx="476250" cy="119062"/>
            </a:xfrm>
            <a:custGeom>
              <a:avLst/>
              <a:gdLst>
                <a:gd name="connsiteX0" fmla="*/ 421481 w 476250"/>
                <a:gd name="connsiteY0" fmla="*/ 0 h 119062"/>
                <a:gd name="connsiteX1" fmla="*/ 54769 w 476250"/>
                <a:gd name="connsiteY1" fmla="*/ 0 h 119062"/>
                <a:gd name="connsiteX2" fmla="*/ 0 w 476250"/>
                <a:gd name="connsiteY2" fmla="*/ 54769 h 119062"/>
                <a:gd name="connsiteX3" fmla="*/ 0 w 476250"/>
                <a:gd name="connsiteY3" fmla="*/ 64294 h 119062"/>
                <a:gd name="connsiteX4" fmla="*/ 54769 w 476250"/>
                <a:gd name="connsiteY4" fmla="*/ 119063 h 119062"/>
                <a:gd name="connsiteX5" fmla="*/ 421481 w 476250"/>
                <a:gd name="connsiteY5" fmla="*/ 119063 h 119062"/>
                <a:gd name="connsiteX6" fmla="*/ 476250 w 476250"/>
                <a:gd name="connsiteY6" fmla="*/ 64294 h 119062"/>
                <a:gd name="connsiteX7" fmla="*/ 476250 w 476250"/>
                <a:gd name="connsiteY7" fmla="*/ 54769 h 119062"/>
                <a:gd name="connsiteX8" fmla="*/ 421481 w 476250"/>
                <a:gd name="connsiteY8" fmla="*/ 0 h 119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0" h="119062">
                  <a:moveTo>
                    <a:pt x="421481" y="0"/>
                  </a:moveTo>
                  <a:lnTo>
                    <a:pt x="54769" y="0"/>
                  </a:lnTo>
                  <a:cubicBezTo>
                    <a:pt x="24521" y="0"/>
                    <a:pt x="0" y="24521"/>
                    <a:pt x="0" y="54769"/>
                  </a:cubicBezTo>
                  <a:lnTo>
                    <a:pt x="0" y="64294"/>
                  </a:lnTo>
                  <a:cubicBezTo>
                    <a:pt x="0" y="94542"/>
                    <a:pt x="24521" y="119063"/>
                    <a:pt x="54769" y="119063"/>
                  </a:cubicBezTo>
                  <a:lnTo>
                    <a:pt x="421481" y="119063"/>
                  </a:lnTo>
                  <a:cubicBezTo>
                    <a:pt x="451729" y="119063"/>
                    <a:pt x="476250" y="94542"/>
                    <a:pt x="476250" y="64294"/>
                  </a:cubicBezTo>
                  <a:lnTo>
                    <a:pt x="476250" y="54769"/>
                  </a:lnTo>
                  <a:cubicBezTo>
                    <a:pt x="476250" y="24521"/>
                    <a:pt x="451729" y="0"/>
                    <a:pt x="421481" y="0"/>
                  </a:cubicBezTo>
                  <a:close/>
                </a:path>
              </a:pathLst>
            </a:custGeom>
            <a:grpFill/>
            <a:ln w="1860" cap="flat">
              <a:noFill/>
              <a:prstDash val="solid"/>
              <a:miter/>
            </a:ln>
          </p:spPr>
          <p:txBody>
            <a:bodyPr rtlCol="0" anchor="ctr"/>
            <a:lstStyle/>
            <a:p>
              <a:endParaRPr lang="zh-CN" altLang="en-US"/>
            </a:p>
          </p:txBody>
        </p:sp>
        <p:sp>
          <p:nvSpPr>
            <p:cNvPr id="24" name="任意多边形: 形状 23">
              <a:extLst>
                <a:ext uri="{FF2B5EF4-FFF2-40B4-BE49-F238E27FC236}">
                  <a16:creationId xmlns:a16="http://schemas.microsoft.com/office/drawing/2014/main" id="{4D1FD68A-1E62-A43B-EEAC-AAD7FAA28CE1}"/>
                </a:ext>
              </a:extLst>
            </p:cNvPr>
            <p:cNvSpPr/>
            <p:nvPr/>
          </p:nvSpPr>
          <p:spPr>
            <a:xfrm>
              <a:off x="238125" y="238125"/>
              <a:ext cx="1190625" cy="1428750"/>
            </a:xfrm>
            <a:custGeom>
              <a:avLst/>
              <a:gdLst>
                <a:gd name="connsiteX0" fmla="*/ 119063 w 1190625"/>
                <a:gd name="connsiteY0" fmla="*/ 1309688 h 1428750"/>
                <a:gd name="connsiteX1" fmla="*/ 119063 w 1190625"/>
                <a:gd name="connsiteY1" fmla="*/ 119063 h 1428750"/>
                <a:gd name="connsiteX2" fmla="*/ 1071563 w 1190625"/>
                <a:gd name="connsiteY2" fmla="*/ 119063 h 1428750"/>
                <a:gd name="connsiteX3" fmla="*/ 1071563 w 1190625"/>
                <a:gd name="connsiteY3" fmla="*/ 575469 h 1428750"/>
                <a:gd name="connsiteX4" fmla="*/ 1131094 w 1190625"/>
                <a:gd name="connsiteY4" fmla="*/ 635000 h 1428750"/>
                <a:gd name="connsiteX5" fmla="*/ 1190625 w 1190625"/>
                <a:gd name="connsiteY5" fmla="*/ 575469 h 1428750"/>
                <a:gd name="connsiteX6" fmla="*/ 1190625 w 1190625"/>
                <a:gd name="connsiteY6" fmla="*/ 79375 h 1428750"/>
                <a:gd name="connsiteX7" fmla="*/ 1111250 w 1190625"/>
                <a:gd name="connsiteY7" fmla="*/ 0 h 1428750"/>
                <a:gd name="connsiteX8" fmla="*/ 79375 w 1190625"/>
                <a:gd name="connsiteY8" fmla="*/ 0 h 1428750"/>
                <a:gd name="connsiteX9" fmla="*/ 0 w 1190625"/>
                <a:gd name="connsiteY9" fmla="*/ 79375 h 1428750"/>
                <a:gd name="connsiteX10" fmla="*/ 0 w 1190625"/>
                <a:gd name="connsiteY10" fmla="*/ 1349375 h 1428750"/>
                <a:gd name="connsiteX11" fmla="*/ 79375 w 1190625"/>
                <a:gd name="connsiteY11" fmla="*/ 1428750 h 1428750"/>
                <a:gd name="connsiteX12" fmla="*/ 654844 w 1190625"/>
                <a:gd name="connsiteY12" fmla="*/ 1428750 h 1428750"/>
                <a:gd name="connsiteX13" fmla="*/ 714375 w 1190625"/>
                <a:gd name="connsiteY13" fmla="*/ 1369219 h 1428750"/>
                <a:gd name="connsiteX14" fmla="*/ 654844 w 1190625"/>
                <a:gd name="connsiteY14" fmla="*/ 1309688 h 1428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190625" h="1428750">
                  <a:moveTo>
                    <a:pt x="119063" y="1309688"/>
                  </a:moveTo>
                  <a:lnTo>
                    <a:pt x="119063" y="119063"/>
                  </a:lnTo>
                  <a:lnTo>
                    <a:pt x="1071563" y="119063"/>
                  </a:lnTo>
                  <a:lnTo>
                    <a:pt x="1071563" y="575469"/>
                  </a:lnTo>
                  <a:cubicBezTo>
                    <a:pt x="1071990" y="608168"/>
                    <a:pt x="1098394" y="634573"/>
                    <a:pt x="1131094" y="635000"/>
                  </a:cubicBezTo>
                  <a:cubicBezTo>
                    <a:pt x="1163793" y="634573"/>
                    <a:pt x="1190198" y="608168"/>
                    <a:pt x="1190625" y="575469"/>
                  </a:cubicBezTo>
                  <a:lnTo>
                    <a:pt x="1190625" y="79375"/>
                  </a:lnTo>
                  <a:cubicBezTo>
                    <a:pt x="1190625" y="35537"/>
                    <a:pt x="1155088" y="0"/>
                    <a:pt x="1111250" y="0"/>
                  </a:cubicBezTo>
                  <a:lnTo>
                    <a:pt x="79375" y="0"/>
                  </a:lnTo>
                  <a:cubicBezTo>
                    <a:pt x="35537" y="0"/>
                    <a:pt x="0" y="35537"/>
                    <a:pt x="0" y="79375"/>
                  </a:cubicBezTo>
                  <a:lnTo>
                    <a:pt x="0" y="1349375"/>
                  </a:lnTo>
                  <a:cubicBezTo>
                    <a:pt x="0" y="1393213"/>
                    <a:pt x="35537" y="1428750"/>
                    <a:pt x="79375" y="1428750"/>
                  </a:cubicBezTo>
                  <a:lnTo>
                    <a:pt x="654844" y="1428750"/>
                  </a:lnTo>
                  <a:cubicBezTo>
                    <a:pt x="687543" y="1428323"/>
                    <a:pt x="713948" y="1401918"/>
                    <a:pt x="714375" y="1369219"/>
                  </a:cubicBezTo>
                  <a:cubicBezTo>
                    <a:pt x="713948" y="1336519"/>
                    <a:pt x="687543" y="1310115"/>
                    <a:pt x="654844" y="1309688"/>
                  </a:cubicBezTo>
                  <a:close/>
                </a:path>
              </a:pathLst>
            </a:custGeom>
            <a:grpFill/>
            <a:ln w="1860" cap="flat">
              <a:noFill/>
              <a:prstDash val="solid"/>
              <a:miter/>
            </a:ln>
          </p:spPr>
          <p:txBody>
            <a:bodyPr rtlCol="0" anchor="ctr"/>
            <a:lstStyle/>
            <a:p>
              <a:endParaRPr lang="zh-CN" altLang="en-US"/>
            </a:p>
          </p:txBody>
        </p:sp>
        <p:sp>
          <p:nvSpPr>
            <p:cNvPr id="25" name="任意多边形: 形状 24">
              <a:extLst>
                <a:ext uri="{FF2B5EF4-FFF2-40B4-BE49-F238E27FC236}">
                  <a16:creationId xmlns:a16="http://schemas.microsoft.com/office/drawing/2014/main" id="{C4AA5590-EA0D-A81F-0310-6B8E3FF88A09}"/>
                </a:ext>
              </a:extLst>
            </p:cNvPr>
            <p:cNvSpPr/>
            <p:nvPr/>
          </p:nvSpPr>
          <p:spPr>
            <a:xfrm>
              <a:off x="1038739" y="951729"/>
              <a:ext cx="621260" cy="715154"/>
            </a:xfrm>
            <a:custGeom>
              <a:avLst/>
              <a:gdLst>
                <a:gd name="connsiteX0" fmla="*/ 450336 w 621260"/>
                <a:gd name="connsiteY0" fmla="*/ 430983 h 715154"/>
                <a:gd name="connsiteX1" fmla="*/ 503476 w 621260"/>
                <a:gd name="connsiteY1" fmla="*/ 98442 h 715154"/>
                <a:gd name="connsiteX2" fmla="*/ 170936 w 621260"/>
                <a:gd name="connsiteY2" fmla="*/ 45302 h 715154"/>
                <a:gd name="connsiteX3" fmla="*/ 117796 w 621260"/>
                <a:gd name="connsiteY3" fmla="*/ 377842 h 715154"/>
                <a:gd name="connsiteX4" fmla="*/ 170936 w 621260"/>
                <a:gd name="connsiteY4" fmla="*/ 430983 h 715154"/>
                <a:gd name="connsiteX5" fmla="*/ 1073 w 621260"/>
                <a:gd name="connsiteY5" fmla="*/ 645295 h 715154"/>
                <a:gd name="connsiteX6" fmla="*/ 47626 w 621260"/>
                <a:gd name="connsiteY6" fmla="*/ 714092 h 715154"/>
                <a:gd name="connsiteX7" fmla="*/ 59811 w 621260"/>
                <a:gd name="connsiteY7" fmla="*/ 715145 h 715154"/>
                <a:gd name="connsiteX8" fmla="*/ 117755 w 621260"/>
                <a:gd name="connsiteY8" fmla="*/ 669108 h 715154"/>
                <a:gd name="connsiteX9" fmla="*/ 357265 w 621260"/>
                <a:gd name="connsiteY9" fmla="*/ 522856 h 715154"/>
                <a:gd name="connsiteX10" fmla="*/ 503517 w 621260"/>
                <a:gd name="connsiteY10" fmla="*/ 669108 h 715154"/>
                <a:gd name="connsiteX11" fmla="*/ 561461 w 621260"/>
                <a:gd name="connsiteY11" fmla="*/ 715145 h 715154"/>
                <a:gd name="connsiteX12" fmla="*/ 621251 w 621260"/>
                <a:gd name="connsiteY12" fmla="*/ 657480 h 715154"/>
                <a:gd name="connsiteX13" fmla="*/ 620198 w 621260"/>
                <a:gd name="connsiteY13" fmla="*/ 645295 h 715154"/>
                <a:gd name="connsiteX14" fmla="*/ 450336 w 621260"/>
                <a:gd name="connsiteY14" fmla="*/ 430983 h 715154"/>
                <a:gd name="connsiteX15" fmla="*/ 310636 w 621260"/>
                <a:gd name="connsiteY15" fmla="*/ 119833 h 715154"/>
                <a:gd name="connsiteX16" fmla="*/ 429698 w 621260"/>
                <a:gd name="connsiteY16" fmla="*/ 238895 h 715154"/>
                <a:gd name="connsiteX17" fmla="*/ 310636 w 621260"/>
                <a:gd name="connsiteY17" fmla="*/ 357958 h 715154"/>
                <a:gd name="connsiteX18" fmla="*/ 191573 w 621260"/>
                <a:gd name="connsiteY18" fmla="*/ 238895 h 715154"/>
                <a:gd name="connsiteX19" fmla="*/ 310636 w 621260"/>
                <a:gd name="connsiteY19" fmla="*/ 119833 h 7151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21260" h="715154">
                  <a:moveTo>
                    <a:pt x="450336" y="430983"/>
                  </a:moveTo>
                  <a:cubicBezTo>
                    <a:pt x="556839" y="353828"/>
                    <a:pt x="580631" y="204945"/>
                    <a:pt x="503476" y="98442"/>
                  </a:cubicBezTo>
                  <a:cubicBezTo>
                    <a:pt x="426322" y="-8061"/>
                    <a:pt x="277439" y="-31852"/>
                    <a:pt x="170936" y="45302"/>
                  </a:cubicBezTo>
                  <a:cubicBezTo>
                    <a:pt x="64433" y="122456"/>
                    <a:pt x="40641" y="271339"/>
                    <a:pt x="117796" y="377842"/>
                  </a:cubicBezTo>
                  <a:cubicBezTo>
                    <a:pt x="132585" y="398257"/>
                    <a:pt x="150521" y="416194"/>
                    <a:pt x="170936" y="430983"/>
                  </a:cubicBezTo>
                  <a:cubicBezTo>
                    <a:pt x="84875" y="473126"/>
                    <a:pt x="22452" y="551885"/>
                    <a:pt x="1073" y="645295"/>
                  </a:cubicBezTo>
                  <a:cubicBezTo>
                    <a:pt x="-5069" y="677148"/>
                    <a:pt x="15773" y="707950"/>
                    <a:pt x="47626" y="714092"/>
                  </a:cubicBezTo>
                  <a:cubicBezTo>
                    <a:pt x="51640" y="714866"/>
                    <a:pt x="55724" y="715219"/>
                    <a:pt x="59811" y="715145"/>
                  </a:cubicBezTo>
                  <a:cubicBezTo>
                    <a:pt x="87477" y="715127"/>
                    <a:pt x="111484" y="696053"/>
                    <a:pt x="117755" y="669108"/>
                  </a:cubicBezTo>
                  <a:cubicBezTo>
                    <a:pt x="143507" y="562582"/>
                    <a:pt x="250740" y="497103"/>
                    <a:pt x="357265" y="522856"/>
                  </a:cubicBezTo>
                  <a:cubicBezTo>
                    <a:pt x="429577" y="540337"/>
                    <a:pt x="486036" y="596796"/>
                    <a:pt x="503517" y="669108"/>
                  </a:cubicBezTo>
                  <a:cubicBezTo>
                    <a:pt x="509788" y="696053"/>
                    <a:pt x="533795" y="715128"/>
                    <a:pt x="561461" y="715145"/>
                  </a:cubicBezTo>
                  <a:cubicBezTo>
                    <a:pt x="593895" y="715732"/>
                    <a:pt x="620665" y="689914"/>
                    <a:pt x="621251" y="657480"/>
                  </a:cubicBezTo>
                  <a:cubicBezTo>
                    <a:pt x="621325" y="653393"/>
                    <a:pt x="620972" y="649309"/>
                    <a:pt x="620198" y="645295"/>
                  </a:cubicBezTo>
                  <a:cubicBezTo>
                    <a:pt x="598820" y="551885"/>
                    <a:pt x="536397" y="473127"/>
                    <a:pt x="450336" y="430983"/>
                  </a:cubicBezTo>
                  <a:close/>
                  <a:moveTo>
                    <a:pt x="310636" y="119833"/>
                  </a:moveTo>
                  <a:cubicBezTo>
                    <a:pt x="376392" y="119833"/>
                    <a:pt x="429698" y="173139"/>
                    <a:pt x="429698" y="238895"/>
                  </a:cubicBezTo>
                  <a:cubicBezTo>
                    <a:pt x="429698" y="304652"/>
                    <a:pt x="376392" y="357958"/>
                    <a:pt x="310636" y="357958"/>
                  </a:cubicBezTo>
                  <a:cubicBezTo>
                    <a:pt x="244879" y="357958"/>
                    <a:pt x="191573" y="304652"/>
                    <a:pt x="191573" y="238895"/>
                  </a:cubicBezTo>
                  <a:cubicBezTo>
                    <a:pt x="191573" y="173139"/>
                    <a:pt x="244879" y="119833"/>
                    <a:pt x="310636" y="119833"/>
                  </a:cubicBezTo>
                  <a:close/>
                </a:path>
              </a:pathLst>
            </a:custGeom>
            <a:grpFill/>
            <a:ln w="1860" cap="flat">
              <a:noFill/>
              <a:prstDash val="solid"/>
              <a:miter/>
            </a:ln>
          </p:spPr>
          <p:txBody>
            <a:bodyPr rtlCol="0" anchor="ctr"/>
            <a:lstStyle/>
            <a:p>
              <a:endParaRPr lang="zh-CN" altLang="en-US"/>
            </a:p>
          </p:txBody>
        </p:sp>
      </p:grpSp>
      <p:grpSp>
        <p:nvGrpSpPr>
          <p:cNvPr id="16" name="图形 23">
            <a:extLst>
              <a:ext uri="{FF2B5EF4-FFF2-40B4-BE49-F238E27FC236}">
                <a16:creationId xmlns:a16="http://schemas.microsoft.com/office/drawing/2014/main" id="{8CC24D80-CCE1-E6AB-0BF7-23C3CD3BB381}"/>
              </a:ext>
            </a:extLst>
          </p:cNvPr>
          <p:cNvGrpSpPr>
            <a:grpSpLocks/>
          </p:cNvGrpSpPr>
          <p:nvPr/>
        </p:nvGrpSpPr>
        <p:grpSpPr>
          <a:xfrm>
            <a:off x="5800418" y="3252078"/>
            <a:ext cx="525380" cy="525380"/>
            <a:chOff x="0" y="0"/>
            <a:chExt cx="1905000" cy="1905000"/>
          </a:xfrm>
          <a:solidFill>
            <a:schemeClr val="bg1"/>
          </a:solidFill>
        </p:grpSpPr>
        <p:sp>
          <p:nvSpPr>
            <p:cNvPr id="17" name="任意多边形: 形状 16">
              <a:extLst>
                <a:ext uri="{FF2B5EF4-FFF2-40B4-BE49-F238E27FC236}">
                  <a16:creationId xmlns:a16="http://schemas.microsoft.com/office/drawing/2014/main" id="{D9870C7E-BAED-92DE-2D81-B704BBE4BF69}"/>
                </a:ext>
              </a:extLst>
            </p:cNvPr>
            <p:cNvSpPr/>
            <p:nvPr/>
          </p:nvSpPr>
          <p:spPr>
            <a:xfrm>
              <a:off x="238125" y="396874"/>
              <a:ext cx="1428750" cy="1270000"/>
            </a:xfrm>
            <a:custGeom>
              <a:avLst/>
              <a:gdLst>
                <a:gd name="connsiteX0" fmla="*/ 1309688 w 1428750"/>
                <a:gd name="connsiteY0" fmla="*/ 119063 h 1270000"/>
                <a:gd name="connsiteX1" fmla="*/ 1309688 w 1428750"/>
                <a:gd name="connsiteY1" fmla="*/ 1150938 h 1270000"/>
                <a:gd name="connsiteX2" fmla="*/ 119063 w 1428750"/>
                <a:gd name="connsiteY2" fmla="*/ 1150938 h 1270000"/>
                <a:gd name="connsiteX3" fmla="*/ 119063 w 1428750"/>
                <a:gd name="connsiteY3" fmla="*/ 119063 h 1270000"/>
                <a:gd name="connsiteX4" fmla="*/ 1309688 w 1428750"/>
                <a:gd name="connsiteY4" fmla="*/ 119063 h 1270000"/>
                <a:gd name="connsiteX5" fmla="*/ 1349375 w 1428750"/>
                <a:gd name="connsiteY5" fmla="*/ 0 h 1270000"/>
                <a:gd name="connsiteX6" fmla="*/ 79375 w 1428750"/>
                <a:gd name="connsiteY6" fmla="*/ 0 h 1270000"/>
                <a:gd name="connsiteX7" fmla="*/ 0 w 1428750"/>
                <a:gd name="connsiteY7" fmla="*/ 79375 h 1270000"/>
                <a:gd name="connsiteX8" fmla="*/ 0 w 1428750"/>
                <a:gd name="connsiteY8" fmla="*/ 1190625 h 1270000"/>
                <a:gd name="connsiteX9" fmla="*/ 79375 w 1428750"/>
                <a:gd name="connsiteY9" fmla="*/ 1270000 h 1270000"/>
                <a:gd name="connsiteX10" fmla="*/ 1349375 w 1428750"/>
                <a:gd name="connsiteY10" fmla="*/ 1270000 h 1270000"/>
                <a:gd name="connsiteX11" fmla="*/ 1428750 w 1428750"/>
                <a:gd name="connsiteY11" fmla="*/ 1190625 h 1270000"/>
                <a:gd name="connsiteX12" fmla="*/ 1428750 w 1428750"/>
                <a:gd name="connsiteY12" fmla="*/ 79375 h 1270000"/>
                <a:gd name="connsiteX13" fmla="*/ 1349375 w 1428750"/>
                <a:gd name="connsiteY13" fmla="*/ 0 h 127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28750" h="1270000">
                  <a:moveTo>
                    <a:pt x="1309688" y="119063"/>
                  </a:moveTo>
                  <a:lnTo>
                    <a:pt x="1309688" y="1150938"/>
                  </a:lnTo>
                  <a:lnTo>
                    <a:pt x="119063" y="1150938"/>
                  </a:lnTo>
                  <a:lnTo>
                    <a:pt x="119063" y="119063"/>
                  </a:lnTo>
                  <a:lnTo>
                    <a:pt x="1309688" y="119063"/>
                  </a:lnTo>
                  <a:moveTo>
                    <a:pt x="1349375" y="0"/>
                  </a:moveTo>
                  <a:lnTo>
                    <a:pt x="79375" y="0"/>
                  </a:lnTo>
                  <a:cubicBezTo>
                    <a:pt x="35537" y="0"/>
                    <a:pt x="0" y="35537"/>
                    <a:pt x="0" y="79375"/>
                  </a:cubicBezTo>
                  <a:lnTo>
                    <a:pt x="0" y="1190625"/>
                  </a:lnTo>
                  <a:cubicBezTo>
                    <a:pt x="0" y="1234463"/>
                    <a:pt x="35537" y="1270000"/>
                    <a:pt x="79375" y="1270000"/>
                  </a:cubicBezTo>
                  <a:lnTo>
                    <a:pt x="1349375" y="1270000"/>
                  </a:lnTo>
                  <a:cubicBezTo>
                    <a:pt x="1393213" y="1270000"/>
                    <a:pt x="1428750" y="1234463"/>
                    <a:pt x="1428750" y="1190625"/>
                  </a:cubicBezTo>
                  <a:lnTo>
                    <a:pt x="1428750" y="79375"/>
                  </a:lnTo>
                  <a:cubicBezTo>
                    <a:pt x="1428750" y="35537"/>
                    <a:pt x="1393213" y="0"/>
                    <a:pt x="1349375" y="0"/>
                  </a:cubicBezTo>
                  <a:close/>
                </a:path>
              </a:pathLst>
            </a:custGeom>
            <a:grpFill/>
            <a:ln w="1860" cap="flat">
              <a:noFill/>
              <a:prstDash val="solid"/>
              <a:miter/>
            </a:ln>
          </p:spPr>
          <p:txBody>
            <a:bodyPr rtlCol="0" anchor="ctr"/>
            <a:lstStyle/>
            <a:p>
              <a:endParaRPr lang="zh-CN" altLang="en-US"/>
            </a:p>
          </p:txBody>
        </p:sp>
        <p:sp>
          <p:nvSpPr>
            <p:cNvPr id="18" name="任意多边形: 形状 17">
              <a:extLst>
                <a:ext uri="{FF2B5EF4-FFF2-40B4-BE49-F238E27FC236}">
                  <a16:creationId xmlns:a16="http://schemas.microsoft.com/office/drawing/2014/main" id="{F6C805A7-A717-76C0-3280-B9F67166CB7A}"/>
                </a:ext>
              </a:extLst>
            </p:cNvPr>
            <p:cNvSpPr/>
            <p:nvPr/>
          </p:nvSpPr>
          <p:spPr>
            <a:xfrm>
              <a:off x="476250" y="238125"/>
              <a:ext cx="119062" cy="396875"/>
            </a:xfrm>
            <a:custGeom>
              <a:avLst/>
              <a:gdLst>
                <a:gd name="connsiteX0" fmla="*/ 59531 w 119062"/>
                <a:gd name="connsiteY0" fmla="*/ 0 h 396875"/>
                <a:gd name="connsiteX1" fmla="*/ 59531 w 119062"/>
                <a:gd name="connsiteY1" fmla="*/ 0 h 396875"/>
                <a:gd name="connsiteX2" fmla="*/ 119063 w 119062"/>
                <a:gd name="connsiteY2" fmla="*/ 59531 h 396875"/>
                <a:gd name="connsiteX3" fmla="*/ 119063 w 119062"/>
                <a:gd name="connsiteY3" fmla="*/ 337344 h 396875"/>
                <a:gd name="connsiteX4" fmla="*/ 59531 w 119062"/>
                <a:gd name="connsiteY4" fmla="*/ 396875 h 396875"/>
                <a:gd name="connsiteX5" fmla="*/ 59531 w 119062"/>
                <a:gd name="connsiteY5" fmla="*/ 396875 h 396875"/>
                <a:gd name="connsiteX6" fmla="*/ 0 w 119062"/>
                <a:gd name="connsiteY6" fmla="*/ 337344 h 396875"/>
                <a:gd name="connsiteX7" fmla="*/ 0 w 119062"/>
                <a:gd name="connsiteY7" fmla="*/ 59531 h 396875"/>
                <a:gd name="connsiteX8" fmla="*/ 59531 w 119062"/>
                <a:gd name="connsiteY8" fmla="*/ 0 h 396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9062" h="396875">
                  <a:moveTo>
                    <a:pt x="59531" y="0"/>
                  </a:moveTo>
                  <a:lnTo>
                    <a:pt x="59531" y="0"/>
                  </a:lnTo>
                  <a:cubicBezTo>
                    <a:pt x="99219" y="0"/>
                    <a:pt x="119063" y="19844"/>
                    <a:pt x="119063" y="59531"/>
                  </a:cubicBezTo>
                  <a:lnTo>
                    <a:pt x="119063" y="337344"/>
                  </a:lnTo>
                  <a:cubicBezTo>
                    <a:pt x="119063" y="377031"/>
                    <a:pt x="99219" y="396875"/>
                    <a:pt x="59531" y="396875"/>
                  </a:cubicBezTo>
                  <a:lnTo>
                    <a:pt x="59531" y="396875"/>
                  </a:lnTo>
                  <a:cubicBezTo>
                    <a:pt x="19844" y="396875"/>
                    <a:pt x="0" y="377031"/>
                    <a:pt x="0" y="337344"/>
                  </a:cubicBezTo>
                  <a:lnTo>
                    <a:pt x="0" y="59531"/>
                  </a:lnTo>
                  <a:cubicBezTo>
                    <a:pt x="0" y="19844"/>
                    <a:pt x="19844" y="0"/>
                    <a:pt x="59531" y="0"/>
                  </a:cubicBezTo>
                  <a:close/>
                </a:path>
              </a:pathLst>
            </a:custGeom>
            <a:grpFill/>
            <a:ln w="1860" cap="flat">
              <a:noFill/>
              <a:prstDash val="solid"/>
              <a:miter/>
            </a:ln>
          </p:spPr>
          <p:txBody>
            <a:bodyPr rtlCol="0" anchor="ctr"/>
            <a:lstStyle/>
            <a:p>
              <a:endParaRPr lang="zh-CN" altLang="en-US"/>
            </a:p>
          </p:txBody>
        </p:sp>
        <p:sp>
          <p:nvSpPr>
            <p:cNvPr id="19" name="任意多边形: 形状 18">
              <a:extLst>
                <a:ext uri="{FF2B5EF4-FFF2-40B4-BE49-F238E27FC236}">
                  <a16:creationId xmlns:a16="http://schemas.microsoft.com/office/drawing/2014/main" id="{365E1FC1-F962-DE91-8F69-4591EB614845}"/>
                </a:ext>
              </a:extLst>
            </p:cNvPr>
            <p:cNvSpPr/>
            <p:nvPr/>
          </p:nvSpPr>
          <p:spPr>
            <a:xfrm>
              <a:off x="1309687" y="238125"/>
              <a:ext cx="119062" cy="396875"/>
            </a:xfrm>
            <a:custGeom>
              <a:avLst/>
              <a:gdLst>
                <a:gd name="connsiteX0" fmla="*/ 59531 w 119062"/>
                <a:gd name="connsiteY0" fmla="*/ 0 h 396875"/>
                <a:gd name="connsiteX1" fmla="*/ 59531 w 119062"/>
                <a:gd name="connsiteY1" fmla="*/ 0 h 396875"/>
                <a:gd name="connsiteX2" fmla="*/ 119063 w 119062"/>
                <a:gd name="connsiteY2" fmla="*/ 59531 h 396875"/>
                <a:gd name="connsiteX3" fmla="*/ 119063 w 119062"/>
                <a:gd name="connsiteY3" fmla="*/ 337344 h 396875"/>
                <a:gd name="connsiteX4" fmla="*/ 59531 w 119062"/>
                <a:gd name="connsiteY4" fmla="*/ 396875 h 396875"/>
                <a:gd name="connsiteX5" fmla="*/ 59531 w 119062"/>
                <a:gd name="connsiteY5" fmla="*/ 396875 h 396875"/>
                <a:gd name="connsiteX6" fmla="*/ 0 w 119062"/>
                <a:gd name="connsiteY6" fmla="*/ 337344 h 396875"/>
                <a:gd name="connsiteX7" fmla="*/ 0 w 119062"/>
                <a:gd name="connsiteY7" fmla="*/ 59531 h 396875"/>
                <a:gd name="connsiteX8" fmla="*/ 59531 w 119062"/>
                <a:gd name="connsiteY8" fmla="*/ 0 h 396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9062" h="396875">
                  <a:moveTo>
                    <a:pt x="59531" y="0"/>
                  </a:moveTo>
                  <a:lnTo>
                    <a:pt x="59531" y="0"/>
                  </a:lnTo>
                  <a:cubicBezTo>
                    <a:pt x="99219" y="0"/>
                    <a:pt x="119063" y="19844"/>
                    <a:pt x="119063" y="59531"/>
                  </a:cubicBezTo>
                  <a:lnTo>
                    <a:pt x="119063" y="337344"/>
                  </a:lnTo>
                  <a:cubicBezTo>
                    <a:pt x="119063" y="377031"/>
                    <a:pt x="99219" y="396875"/>
                    <a:pt x="59531" y="396875"/>
                  </a:cubicBezTo>
                  <a:lnTo>
                    <a:pt x="59531" y="396875"/>
                  </a:lnTo>
                  <a:cubicBezTo>
                    <a:pt x="19844" y="396875"/>
                    <a:pt x="0" y="377031"/>
                    <a:pt x="0" y="337344"/>
                  </a:cubicBezTo>
                  <a:lnTo>
                    <a:pt x="0" y="59531"/>
                  </a:lnTo>
                  <a:cubicBezTo>
                    <a:pt x="0" y="19844"/>
                    <a:pt x="19844" y="0"/>
                    <a:pt x="59531" y="0"/>
                  </a:cubicBezTo>
                  <a:close/>
                </a:path>
              </a:pathLst>
            </a:custGeom>
            <a:grpFill/>
            <a:ln w="1860" cap="flat">
              <a:noFill/>
              <a:prstDash val="solid"/>
              <a:miter/>
            </a:ln>
          </p:spPr>
          <p:txBody>
            <a:bodyPr rtlCol="0" anchor="ctr"/>
            <a:lstStyle/>
            <a:p>
              <a:endParaRPr lang="zh-CN" altLang="en-US"/>
            </a:p>
          </p:txBody>
        </p:sp>
        <p:sp>
          <p:nvSpPr>
            <p:cNvPr id="20" name="任意多边形: 形状 19">
              <a:extLst>
                <a:ext uri="{FF2B5EF4-FFF2-40B4-BE49-F238E27FC236}">
                  <a16:creationId xmlns:a16="http://schemas.microsoft.com/office/drawing/2014/main" id="{F05D92A9-0ACB-C42D-29C0-2F46C0A0388D}"/>
                </a:ext>
              </a:extLst>
            </p:cNvPr>
            <p:cNvSpPr/>
            <p:nvPr/>
          </p:nvSpPr>
          <p:spPr>
            <a:xfrm>
              <a:off x="238125" y="793749"/>
              <a:ext cx="1428750" cy="119062"/>
            </a:xfrm>
            <a:custGeom>
              <a:avLst/>
              <a:gdLst>
                <a:gd name="connsiteX0" fmla="*/ 0 w 1428750"/>
                <a:gd name="connsiteY0" fmla="*/ 0 h 119062"/>
                <a:gd name="connsiteX1" fmla="*/ 1428750 w 1428750"/>
                <a:gd name="connsiteY1" fmla="*/ 0 h 119062"/>
                <a:gd name="connsiteX2" fmla="*/ 1428750 w 1428750"/>
                <a:gd name="connsiteY2" fmla="*/ 119063 h 119062"/>
                <a:gd name="connsiteX3" fmla="*/ 0 w 1428750"/>
                <a:gd name="connsiteY3" fmla="*/ 119063 h 119062"/>
              </a:gdLst>
              <a:ahLst/>
              <a:cxnLst>
                <a:cxn ang="0">
                  <a:pos x="connsiteX0" y="connsiteY0"/>
                </a:cxn>
                <a:cxn ang="0">
                  <a:pos x="connsiteX1" y="connsiteY1"/>
                </a:cxn>
                <a:cxn ang="0">
                  <a:pos x="connsiteX2" y="connsiteY2"/>
                </a:cxn>
                <a:cxn ang="0">
                  <a:pos x="connsiteX3" y="connsiteY3"/>
                </a:cxn>
              </a:cxnLst>
              <a:rect l="l" t="t" r="r" b="b"/>
              <a:pathLst>
                <a:path w="1428750" h="119062">
                  <a:moveTo>
                    <a:pt x="0" y="0"/>
                  </a:moveTo>
                  <a:lnTo>
                    <a:pt x="1428750" y="0"/>
                  </a:lnTo>
                  <a:lnTo>
                    <a:pt x="1428750" y="119063"/>
                  </a:lnTo>
                  <a:lnTo>
                    <a:pt x="0" y="119063"/>
                  </a:lnTo>
                  <a:close/>
                </a:path>
              </a:pathLst>
            </a:custGeom>
            <a:grpFill/>
            <a:ln w="1860" cap="flat">
              <a:noFill/>
              <a:prstDash val="solid"/>
              <a:miter/>
            </a:ln>
          </p:spPr>
          <p:txBody>
            <a:bodyPr rtlCol="0" anchor="ctr"/>
            <a:lstStyle/>
            <a:p>
              <a:endParaRPr lang="zh-CN" altLang="en-US"/>
            </a:p>
          </p:txBody>
        </p:sp>
        <p:sp>
          <p:nvSpPr>
            <p:cNvPr id="21" name="任意多边形: 形状 20">
              <a:extLst>
                <a:ext uri="{FF2B5EF4-FFF2-40B4-BE49-F238E27FC236}">
                  <a16:creationId xmlns:a16="http://schemas.microsoft.com/office/drawing/2014/main" id="{5F9D4BF1-91D3-CA95-4E97-A86F9A04F02B}"/>
                </a:ext>
              </a:extLst>
            </p:cNvPr>
            <p:cNvSpPr/>
            <p:nvPr/>
          </p:nvSpPr>
          <p:spPr>
            <a:xfrm>
              <a:off x="704682" y="1031927"/>
              <a:ext cx="557270" cy="401074"/>
            </a:xfrm>
            <a:custGeom>
              <a:avLst/>
              <a:gdLst>
                <a:gd name="connsiteX0" fmla="*/ 540712 w 557270"/>
                <a:gd name="connsiteY0" fmla="*/ 17410 h 401074"/>
                <a:gd name="connsiteX1" fmla="*/ 456574 w 557270"/>
                <a:gd name="connsiteY1" fmla="*/ 17410 h 401074"/>
                <a:gd name="connsiteX2" fmla="*/ 214480 w 557270"/>
                <a:gd name="connsiteY2" fmla="*/ 255535 h 401074"/>
                <a:gd name="connsiteX3" fmla="*/ 111293 w 557270"/>
                <a:gd name="connsiteY3" fmla="*/ 158698 h 401074"/>
                <a:gd name="connsiteX4" fmla="*/ 30118 w 557270"/>
                <a:gd name="connsiteY4" fmla="*/ 136370 h 401074"/>
                <a:gd name="connsiteX5" fmla="*/ 7790 w 557270"/>
                <a:gd name="connsiteY5" fmla="*/ 217546 h 401074"/>
                <a:gd name="connsiteX6" fmla="*/ 27155 w 557270"/>
                <a:gd name="connsiteY6" fmla="*/ 238073 h 401074"/>
                <a:gd name="connsiteX7" fmla="*/ 172412 w 557270"/>
                <a:gd name="connsiteY7" fmla="*/ 383329 h 401074"/>
                <a:gd name="connsiteX8" fmla="*/ 255472 w 557270"/>
                <a:gd name="connsiteY8" fmla="*/ 384406 h 401074"/>
                <a:gd name="connsiteX9" fmla="*/ 256549 w 557270"/>
                <a:gd name="connsiteY9" fmla="*/ 383329 h 401074"/>
                <a:gd name="connsiteX10" fmla="*/ 540712 w 557270"/>
                <a:gd name="connsiteY10" fmla="*/ 99166 h 401074"/>
                <a:gd name="connsiteX11" fmla="*/ 540712 w 557270"/>
                <a:gd name="connsiteY11" fmla="*/ 17410 h 401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57270" h="401074">
                  <a:moveTo>
                    <a:pt x="540712" y="17410"/>
                  </a:moveTo>
                  <a:cubicBezTo>
                    <a:pt x="517469" y="-5803"/>
                    <a:pt x="479817" y="-5803"/>
                    <a:pt x="456574" y="17410"/>
                  </a:cubicBezTo>
                  <a:lnTo>
                    <a:pt x="214480" y="255535"/>
                  </a:lnTo>
                  <a:lnTo>
                    <a:pt x="111293" y="158698"/>
                  </a:lnTo>
                  <a:cubicBezTo>
                    <a:pt x="95042" y="130116"/>
                    <a:pt x="58699" y="120120"/>
                    <a:pt x="30118" y="136370"/>
                  </a:cubicBezTo>
                  <a:cubicBezTo>
                    <a:pt x="1536" y="152621"/>
                    <a:pt x="-8460" y="188964"/>
                    <a:pt x="7790" y="217546"/>
                  </a:cubicBezTo>
                  <a:cubicBezTo>
                    <a:pt x="12507" y="225841"/>
                    <a:pt x="19148" y="232881"/>
                    <a:pt x="27155" y="238073"/>
                  </a:cubicBezTo>
                  <a:lnTo>
                    <a:pt x="172412" y="383329"/>
                  </a:lnTo>
                  <a:cubicBezTo>
                    <a:pt x="195051" y="406563"/>
                    <a:pt x="232238" y="407045"/>
                    <a:pt x="255472" y="384406"/>
                  </a:cubicBezTo>
                  <a:cubicBezTo>
                    <a:pt x="255836" y="384052"/>
                    <a:pt x="256195" y="383693"/>
                    <a:pt x="256549" y="383329"/>
                  </a:cubicBezTo>
                  <a:lnTo>
                    <a:pt x="540712" y="99166"/>
                  </a:lnTo>
                  <a:cubicBezTo>
                    <a:pt x="562790" y="76386"/>
                    <a:pt x="562790" y="40191"/>
                    <a:pt x="540712" y="17410"/>
                  </a:cubicBezTo>
                  <a:close/>
                </a:path>
              </a:pathLst>
            </a:custGeom>
            <a:grpFill/>
            <a:ln w="1860" cap="flat">
              <a:noFill/>
              <a:prstDash val="solid"/>
              <a:miter/>
            </a:ln>
          </p:spPr>
          <p:txBody>
            <a:bodyPr rtlCol="0" anchor="ctr"/>
            <a:lstStyle/>
            <a:p>
              <a:endParaRPr lang="zh-CN" altLang="en-US"/>
            </a:p>
          </p:txBody>
        </p:sp>
      </p:grpSp>
    </p:spTree>
    <p:extLst>
      <p:ext uri="{BB962C8B-B14F-4D97-AF65-F5344CB8AC3E}">
        <p14:creationId xmlns:p14="http://schemas.microsoft.com/office/powerpoint/2010/main" val="34077489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3" presetClass="entr" presetSubtype="16" accel="50000" decel="5000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Scale>
                                      <p:cBhvr>
                                        <p:cTn id="7" dur="273" fill="hold">
                                          <p:stCondLst>
                                            <p:cond delay="0"/>
                                          </p:stCondLst>
                                        </p:cTn>
                                        <p:tgtEl>
                                          <p:spTgt spid="6"/>
                                        </p:tgtEl>
                                      </p:cBhvr>
                                      <p:from x="0" y="0"/>
                                      <p:to x="115000" y="115000"/>
                                    </p:animScale>
                                    <p:animScale>
                                      <p:cBhvr>
                                        <p:cTn id="8" dur="727" fill="hold">
                                          <p:stCondLst>
                                            <p:cond delay="273"/>
                                          </p:stCondLst>
                                        </p:cTn>
                                        <p:tgtEl>
                                          <p:spTgt spid="6"/>
                                        </p:tgtEl>
                                      </p:cBhvr>
                                      <p:from x="115000" y="115000"/>
                                      <p:to x="100000" y="10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5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 name="椭圆 98">
            <a:extLst>
              <a:ext uri="{FF2B5EF4-FFF2-40B4-BE49-F238E27FC236}">
                <a16:creationId xmlns:a16="http://schemas.microsoft.com/office/drawing/2014/main" id="{1743C26E-6705-8799-E6E9-283135835D3B}"/>
              </a:ext>
            </a:extLst>
          </p:cNvPr>
          <p:cNvSpPr/>
          <p:nvPr/>
        </p:nvSpPr>
        <p:spPr>
          <a:xfrm>
            <a:off x="1900635" y="4845414"/>
            <a:ext cx="8390730" cy="2181620"/>
          </a:xfrm>
          <a:prstGeom prst="ellipse">
            <a:avLst/>
          </a:prstGeom>
          <a:noFill/>
          <a:ln w="19050">
            <a:gradFill>
              <a:gsLst>
                <a:gs pos="0">
                  <a:schemeClr val="accent1">
                    <a:alpha val="0"/>
                  </a:schemeClr>
                </a:gs>
                <a:gs pos="100000">
                  <a:schemeClr val="accent1">
                    <a:alpha val="3000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350">
              <a:defRPr/>
            </a:pPr>
            <a:endParaRPr lang="zh-CN" altLang="en-US" sz="1013" dirty="0">
              <a:solidFill>
                <a:prstClr val="white"/>
              </a:solidFill>
              <a:latin typeface="等线" panose="020F0502020204030204"/>
              <a:ea typeface="等线" panose="02010600030101010101" pitchFamily="2" charset="-122"/>
            </a:endParaRPr>
          </a:p>
        </p:txBody>
      </p:sp>
      <p:sp>
        <p:nvSpPr>
          <p:cNvPr id="95" name="椭圆 94">
            <a:extLst>
              <a:ext uri="{FF2B5EF4-FFF2-40B4-BE49-F238E27FC236}">
                <a16:creationId xmlns:a16="http://schemas.microsoft.com/office/drawing/2014/main" id="{A721D048-36C5-C3E9-313C-F37FF143DA14}"/>
              </a:ext>
            </a:extLst>
          </p:cNvPr>
          <p:cNvSpPr/>
          <p:nvPr/>
        </p:nvSpPr>
        <p:spPr>
          <a:xfrm>
            <a:off x="3677713" y="5491728"/>
            <a:ext cx="4813186" cy="993936"/>
          </a:xfrm>
          <a:prstGeom prst="ellipse">
            <a:avLst/>
          </a:prstGeom>
          <a:gradFill>
            <a:gsLst>
              <a:gs pos="15000">
                <a:schemeClr val="accent1">
                  <a:alpha val="0"/>
                </a:schemeClr>
              </a:gs>
              <a:gs pos="90000">
                <a:schemeClr val="accent1">
                  <a:alpha val="15000"/>
                </a:schemeClr>
              </a:gs>
            </a:gsLst>
            <a:lin ang="5400000" scaled="1"/>
          </a:gradFill>
          <a:ln w="317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350">
              <a:defRPr/>
            </a:pPr>
            <a:endParaRPr lang="zh-CN" altLang="en-US" sz="1013">
              <a:solidFill>
                <a:prstClr val="white"/>
              </a:solidFill>
              <a:latin typeface="等线" panose="020F0502020204030204"/>
              <a:ea typeface="等线" panose="02010600030101010101" pitchFamily="2" charset="-122"/>
            </a:endParaRPr>
          </a:p>
        </p:txBody>
      </p:sp>
      <p:sp>
        <p:nvSpPr>
          <p:cNvPr id="161" name="任意多边形: 形状 160">
            <a:extLst>
              <a:ext uri="{FF2B5EF4-FFF2-40B4-BE49-F238E27FC236}">
                <a16:creationId xmlns:a16="http://schemas.microsoft.com/office/drawing/2014/main" id="{26717759-F355-97BE-796E-13855DC3108F}"/>
              </a:ext>
            </a:extLst>
          </p:cNvPr>
          <p:cNvSpPr/>
          <p:nvPr/>
        </p:nvSpPr>
        <p:spPr>
          <a:xfrm>
            <a:off x="5368932" y="4251144"/>
            <a:ext cx="1454139" cy="439480"/>
          </a:xfrm>
          <a:custGeom>
            <a:avLst/>
            <a:gdLst>
              <a:gd name="connsiteX0" fmla="*/ 1454139 w 1454139"/>
              <a:gd name="connsiteY0" fmla="*/ 0 h 439480"/>
              <a:gd name="connsiteX1" fmla="*/ 1288540 w 1454139"/>
              <a:gd name="connsiteY1" fmla="*/ 439480 h 439480"/>
              <a:gd name="connsiteX2" fmla="*/ 1278194 w 1454139"/>
              <a:gd name="connsiteY2" fmla="*/ 406128 h 439480"/>
              <a:gd name="connsiteX3" fmla="*/ 727069 w 1454139"/>
              <a:gd name="connsiteY3" fmla="*/ 260149 h 439480"/>
              <a:gd name="connsiteX4" fmla="*/ 175944 w 1454139"/>
              <a:gd name="connsiteY4" fmla="*/ 406128 h 439480"/>
              <a:gd name="connsiteX5" fmla="*/ 165599 w 1454139"/>
              <a:gd name="connsiteY5" fmla="*/ 439480 h 439480"/>
              <a:gd name="connsiteX6" fmla="*/ 0 w 1454139"/>
              <a:gd name="connsiteY6" fmla="*/ 4 h 439480"/>
              <a:gd name="connsiteX7" fmla="*/ 4669 w 1454139"/>
              <a:gd name="connsiteY7" fmla="*/ 5124 h 439480"/>
              <a:gd name="connsiteX8" fmla="*/ 727068 w 1454139"/>
              <a:gd name="connsiteY8" fmla="*/ 168112 h 439480"/>
              <a:gd name="connsiteX9" fmla="*/ 1449467 w 1454139"/>
              <a:gd name="connsiteY9" fmla="*/ 5124 h 439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54139" h="439480">
                <a:moveTo>
                  <a:pt x="1454139" y="0"/>
                </a:moveTo>
                <a:lnTo>
                  <a:pt x="1288540" y="439480"/>
                </a:lnTo>
                <a:lnTo>
                  <a:pt x="1278194" y="406128"/>
                </a:lnTo>
                <a:cubicBezTo>
                  <a:pt x="1225738" y="322818"/>
                  <a:pt x="998923" y="260149"/>
                  <a:pt x="727069" y="260149"/>
                </a:cubicBezTo>
                <a:cubicBezTo>
                  <a:pt x="455215" y="260149"/>
                  <a:pt x="228400" y="322818"/>
                  <a:pt x="175944" y="406128"/>
                </a:cubicBezTo>
                <a:lnTo>
                  <a:pt x="165599" y="439480"/>
                </a:lnTo>
                <a:lnTo>
                  <a:pt x="0" y="4"/>
                </a:lnTo>
                <a:lnTo>
                  <a:pt x="4669" y="5124"/>
                </a:lnTo>
                <a:cubicBezTo>
                  <a:pt x="123688" y="100905"/>
                  <a:pt x="402320" y="168112"/>
                  <a:pt x="727068" y="168112"/>
                </a:cubicBezTo>
                <a:cubicBezTo>
                  <a:pt x="1051816" y="168112"/>
                  <a:pt x="1330448" y="100905"/>
                  <a:pt x="1449467" y="5124"/>
                </a:cubicBezTo>
                <a:close/>
              </a:path>
            </a:pathLst>
          </a:custGeom>
          <a:solidFill>
            <a:schemeClr val="accent1">
              <a:lumMod val="60000"/>
              <a:lumOff val="40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solidFill>
                <a:srgbClr val="FFFFFF"/>
              </a:solidFill>
              <a:latin typeface="Arial"/>
            </a:endParaRPr>
          </a:p>
        </p:txBody>
      </p:sp>
      <p:sp>
        <p:nvSpPr>
          <p:cNvPr id="165" name="任意多边形: 形状 164">
            <a:extLst>
              <a:ext uri="{FF2B5EF4-FFF2-40B4-BE49-F238E27FC236}">
                <a16:creationId xmlns:a16="http://schemas.microsoft.com/office/drawing/2014/main" id="{50DF7F72-7089-41DE-8B09-C56E17E0BFCA}"/>
              </a:ext>
            </a:extLst>
          </p:cNvPr>
          <p:cNvSpPr/>
          <p:nvPr/>
        </p:nvSpPr>
        <p:spPr>
          <a:xfrm>
            <a:off x="5552895" y="4739354"/>
            <a:ext cx="1086215" cy="1311170"/>
          </a:xfrm>
          <a:custGeom>
            <a:avLst/>
            <a:gdLst>
              <a:gd name="connsiteX0" fmla="*/ 0 w 1086215"/>
              <a:gd name="connsiteY0" fmla="*/ 0 h 1311170"/>
              <a:gd name="connsiteX1" fmla="*/ 24761 w 1086215"/>
              <a:gd name="connsiteY1" fmla="*/ 25924 h 1311170"/>
              <a:gd name="connsiteX2" fmla="*/ 543107 w 1086215"/>
              <a:gd name="connsiteY2" fmla="*/ 137585 h 1311170"/>
              <a:gd name="connsiteX3" fmla="*/ 1061453 w 1086215"/>
              <a:gd name="connsiteY3" fmla="*/ 25924 h 1311170"/>
              <a:gd name="connsiteX4" fmla="*/ 1086215 w 1086215"/>
              <a:gd name="connsiteY4" fmla="*/ 0 h 1311170"/>
              <a:gd name="connsiteX5" fmla="*/ 609694 w 1086215"/>
              <a:gd name="connsiteY5" fmla="*/ 1264620 h 1311170"/>
              <a:gd name="connsiteX6" fmla="*/ 609693 w 1086215"/>
              <a:gd name="connsiteY6" fmla="*/ 1264620 h 1311170"/>
              <a:gd name="connsiteX7" fmla="*/ 608026 w 1086215"/>
              <a:gd name="connsiteY7" fmla="*/ 1269044 h 1311170"/>
              <a:gd name="connsiteX8" fmla="*/ 593773 w 1086215"/>
              <a:gd name="connsiteY8" fmla="*/ 1290182 h 1311170"/>
              <a:gd name="connsiteX9" fmla="*/ 543104 w 1086215"/>
              <a:gd name="connsiteY9" fmla="*/ 1311170 h 1311170"/>
              <a:gd name="connsiteX10" fmla="*/ 492435 w 1086215"/>
              <a:gd name="connsiteY10" fmla="*/ 1290182 h 1311170"/>
              <a:gd name="connsiteX11" fmla="*/ 478192 w 1086215"/>
              <a:gd name="connsiteY11" fmla="*/ 1269057 h 1311170"/>
              <a:gd name="connsiteX12" fmla="*/ 476511 w 1086215"/>
              <a:gd name="connsiteY12" fmla="*/ 1264596 h 1311170"/>
              <a:gd name="connsiteX13" fmla="*/ 476510 w 1086215"/>
              <a:gd name="connsiteY13" fmla="*/ 1264591 h 13111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86215" h="1311170">
                <a:moveTo>
                  <a:pt x="0" y="0"/>
                </a:moveTo>
                <a:lnTo>
                  <a:pt x="24761" y="25924"/>
                </a:lnTo>
                <a:cubicBezTo>
                  <a:pt x="110162" y="91543"/>
                  <a:pt x="310090" y="137585"/>
                  <a:pt x="543107" y="137585"/>
                </a:cubicBezTo>
                <a:cubicBezTo>
                  <a:pt x="776125" y="137585"/>
                  <a:pt x="976053" y="91543"/>
                  <a:pt x="1061453" y="25924"/>
                </a:cubicBezTo>
                <a:lnTo>
                  <a:pt x="1086215" y="0"/>
                </a:lnTo>
                <a:lnTo>
                  <a:pt x="609694" y="1264620"/>
                </a:lnTo>
                <a:lnTo>
                  <a:pt x="609693" y="1264620"/>
                </a:lnTo>
                <a:lnTo>
                  <a:pt x="608026" y="1269044"/>
                </a:lnTo>
                <a:lnTo>
                  <a:pt x="593773" y="1290182"/>
                </a:lnTo>
                <a:cubicBezTo>
                  <a:pt x="580806" y="1303150"/>
                  <a:pt x="562892" y="1311170"/>
                  <a:pt x="543104" y="1311170"/>
                </a:cubicBezTo>
                <a:cubicBezTo>
                  <a:pt x="523317" y="1311170"/>
                  <a:pt x="505402" y="1303150"/>
                  <a:pt x="492435" y="1290182"/>
                </a:cubicBezTo>
                <a:lnTo>
                  <a:pt x="478192" y="1269057"/>
                </a:lnTo>
                <a:lnTo>
                  <a:pt x="476511" y="1264596"/>
                </a:lnTo>
                <a:cubicBezTo>
                  <a:pt x="476511" y="1264594"/>
                  <a:pt x="476510" y="1264593"/>
                  <a:pt x="476510" y="1264591"/>
                </a:cubicBezTo>
                <a:close/>
              </a:path>
            </a:pathLst>
          </a:custGeom>
          <a:gradFill flip="none" rotWithShape="1">
            <a:gsLst>
              <a:gs pos="0">
                <a:schemeClr val="accent1">
                  <a:lumMod val="75000"/>
                  <a:lumOff val="25000"/>
                </a:schemeClr>
              </a:gs>
              <a:gs pos="100000">
                <a:schemeClr val="accent1">
                  <a:lumMod val="80000"/>
                </a:schemeClr>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solidFill>
                <a:srgbClr val="FFFFFF"/>
              </a:solidFill>
              <a:latin typeface="Arial"/>
            </a:endParaRPr>
          </a:p>
        </p:txBody>
      </p:sp>
      <p:sp>
        <p:nvSpPr>
          <p:cNvPr id="163" name="任意多边形: 形状 162">
            <a:extLst>
              <a:ext uri="{FF2B5EF4-FFF2-40B4-BE49-F238E27FC236}">
                <a16:creationId xmlns:a16="http://schemas.microsoft.com/office/drawing/2014/main" id="{A58C39E8-10AA-227B-E80D-98B30FD8414D}"/>
              </a:ext>
            </a:extLst>
          </p:cNvPr>
          <p:cNvSpPr/>
          <p:nvPr/>
        </p:nvSpPr>
        <p:spPr>
          <a:xfrm>
            <a:off x="5534532" y="4511293"/>
            <a:ext cx="1122941" cy="365648"/>
          </a:xfrm>
          <a:custGeom>
            <a:avLst/>
            <a:gdLst>
              <a:gd name="connsiteX0" fmla="*/ 561470 w 1122941"/>
              <a:gd name="connsiteY0" fmla="*/ 0 h 365648"/>
              <a:gd name="connsiteX1" fmla="*/ 1112595 w 1122941"/>
              <a:gd name="connsiteY1" fmla="*/ 145979 h 365648"/>
              <a:gd name="connsiteX2" fmla="*/ 1122941 w 1122941"/>
              <a:gd name="connsiteY2" fmla="*/ 179331 h 365648"/>
              <a:gd name="connsiteX3" fmla="*/ 1104578 w 1122941"/>
              <a:gd name="connsiteY3" fmla="*/ 228063 h 365648"/>
              <a:gd name="connsiteX4" fmla="*/ 1079816 w 1122941"/>
              <a:gd name="connsiteY4" fmla="*/ 253987 h 365648"/>
              <a:gd name="connsiteX5" fmla="*/ 561470 w 1122941"/>
              <a:gd name="connsiteY5" fmla="*/ 365648 h 365648"/>
              <a:gd name="connsiteX6" fmla="*/ 43124 w 1122941"/>
              <a:gd name="connsiteY6" fmla="*/ 253987 h 365648"/>
              <a:gd name="connsiteX7" fmla="*/ 18363 w 1122941"/>
              <a:gd name="connsiteY7" fmla="*/ 228063 h 365648"/>
              <a:gd name="connsiteX8" fmla="*/ 0 w 1122941"/>
              <a:gd name="connsiteY8" fmla="*/ 179331 h 365648"/>
              <a:gd name="connsiteX9" fmla="*/ 10345 w 1122941"/>
              <a:gd name="connsiteY9" fmla="*/ 145979 h 365648"/>
              <a:gd name="connsiteX10" fmla="*/ 561470 w 1122941"/>
              <a:gd name="connsiteY10" fmla="*/ 0 h 365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22941" h="365648">
                <a:moveTo>
                  <a:pt x="561470" y="0"/>
                </a:moveTo>
                <a:cubicBezTo>
                  <a:pt x="833324" y="0"/>
                  <a:pt x="1060139" y="62669"/>
                  <a:pt x="1112595" y="145979"/>
                </a:cubicBezTo>
                <a:lnTo>
                  <a:pt x="1122941" y="179331"/>
                </a:lnTo>
                <a:lnTo>
                  <a:pt x="1104578" y="228063"/>
                </a:lnTo>
                <a:lnTo>
                  <a:pt x="1079816" y="253987"/>
                </a:lnTo>
                <a:cubicBezTo>
                  <a:pt x="994416" y="319606"/>
                  <a:pt x="794488" y="365648"/>
                  <a:pt x="561470" y="365648"/>
                </a:cubicBezTo>
                <a:cubicBezTo>
                  <a:pt x="328453" y="365648"/>
                  <a:pt x="128525" y="319606"/>
                  <a:pt x="43124" y="253987"/>
                </a:cubicBezTo>
                <a:lnTo>
                  <a:pt x="18363" y="228063"/>
                </a:lnTo>
                <a:lnTo>
                  <a:pt x="0" y="179331"/>
                </a:lnTo>
                <a:lnTo>
                  <a:pt x="10345" y="145979"/>
                </a:lnTo>
                <a:cubicBezTo>
                  <a:pt x="62801" y="62669"/>
                  <a:pt x="289616" y="0"/>
                  <a:pt x="561470" y="0"/>
                </a:cubicBezTo>
                <a:close/>
              </a:path>
            </a:pathLst>
          </a:custGeom>
          <a:gradFill flip="none" rotWithShape="1">
            <a:gsLst>
              <a:gs pos="100000">
                <a:schemeClr val="accent1">
                  <a:lumMod val="100000"/>
                </a:schemeClr>
              </a:gs>
              <a:gs pos="0">
                <a:schemeClr val="accent1">
                  <a:lumMod val="55000"/>
                  <a:lumOff val="45000"/>
                </a:schemeClr>
              </a:gs>
            </a:gsLst>
            <a:lin ang="2700000" scaled="1"/>
            <a:tileRect/>
          </a:gradFill>
          <a:ln w="25400">
            <a:noFill/>
          </a:ln>
          <a:effectLst>
            <a:outerShdw blurRad="254000" dist="177800" dir="2700000" algn="tl" rotWithShape="0">
              <a:schemeClr val="accent1">
                <a:alpha val="20000"/>
              </a:schemeClr>
            </a:outerShdw>
          </a:effectLst>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485899" tIns="63500" rIns="1485901" bIns="63500" numCol="1" spcCol="1270" anchor="ctr" anchorCtr="0">
            <a:noAutofit/>
          </a:bodyPr>
          <a:lstStyle/>
          <a:p>
            <a:pPr algn="ctr" defTabSz="2222500">
              <a:lnSpc>
                <a:spcPct val="90000"/>
              </a:lnSpc>
              <a:spcBef>
                <a:spcPct val="0"/>
              </a:spcBef>
              <a:spcAft>
                <a:spcPct val="35000"/>
              </a:spcAft>
            </a:pPr>
            <a:endParaRPr lang="en-US" sz="3200">
              <a:solidFill>
                <a:prstClr val="white"/>
              </a:solidFill>
              <a:latin typeface="等线" panose="020F0502020204030204"/>
              <a:ea typeface="等线" panose="02010600030101010101" pitchFamily="2" charset="-122"/>
            </a:endParaRPr>
          </a:p>
        </p:txBody>
      </p:sp>
      <p:sp>
        <p:nvSpPr>
          <p:cNvPr id="178" name="任意多边形: 形状 177">
            <a:extLst>
              <a:ext uri="{FF2B5EF4-FFF2-40B4-BE49-F238E27FC236}">
                <a16:creationId xmlns:a16="http://schemas.microsoft.com/office/drawing/2014/main" id="{BECD2540-FAD6-5FAF-A903-118CEDE3A235}"/>
              </a:ext>
            </a:extLst>
          </p:cNvPr>
          <p:cNvSpPr/>
          <p:nvPr/>
        </p:nvSpPr>
        <p:spPr>
          <a:xfrm>
            <a:off x="4640583" y="4419255"/>
            <a:ext cx="2910838" cy="654843"/>
          </a:xfrm>
          <a:custGeom>
            <a:avLst/>
            <a:gdLst>
              <a:gd name="connsiteX0" fmla="*/ 561470 w 1122941"/>
              <a:gd name="connsiteY0" fmla="*/ 0 h 365648"/>
              <a:gd name="connsiteX1" fmla="*/ 1112595 w 1122941"/>
              <a:gd name="connsiteY1" fmla="*/ 145979 h 365648"/>
              <a:gd name="connsiteX2" fmla="*/ 1122941 w 1122941"/>
              <a:gd name="connsiteY2" fmla="*/ 179331 h 365648"/>
              <a:gd name="connsiteX3" fmla="*/ 1104578 w 1122941"/>
              <a:gd name="connsiteY3" fmla="*/ 228063 h 365648"/>
              <a:gd name="connsiteX4" fmla="*/ 1079816 w 1122941"/>
              <a:gd name="connsiteY4" fmla="*/ 253987 h 365648"/>
              <a:gd name="connsiteX5" fmla="*/ 561470 w 1122941"/>
              <a:gd name="connsiteY5" fmla="*/ 365648 h 365648"/>
              <a:gd name="connsiteX6" fmla="*/ 43124 w 1122941"/>
              <a:gd name="connsiteY6" fmla="*/ 253987 h 365648"/>
              <a:gd name="connsiteX7" fmla="*/ 18363 w 1122941"/>
              <a:gd name="connsiteY7" fmla="*/ 228063 h 365648"/>
              <a:gd name="connsiteX8" fmla="*/ 0 w 1122941"/>
              <a:gd name="connsiteY8" fmla="*/ 179331 h 365648"/>
              <a:gd name="connsiteX9" fmla="*/ 10345 w 1122941"/>
              <a:gd name="connsiteY9" fmla="*/ 145979 h 365648"/>
              <a:gd name="connsiteX10" fmla="*/ 561470 w 1122941"/>
              <a:gd name="connsiteY10" fmla="*/ 0 h 365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22941" h="365648">
                <a:moveTo>
                  <a:pt x="561470" y="0"/>
                </a:moveTo>
                <a:cubicBezTo>
                  <a:pt x="833324" y="0"/>
                  <a:pt x="1060139" y="62669"/>
                  <a:pt x="1112595" y="145979"/>
                </a:cubicBezTo>
                <a:lnTo>
                  <a:pt x="1122941" y="179331"/>
                </a:lnTo>
                <a:lnTo>
                  <a:pt x="1104578" y="228063"/>
                </a:lnTo>
                <a:lnTo>
                  <a:pt x="1079816" y="253987"/>
                </a:lnTo>
                <a:cubicBezTo>
                  <a:pt x="994416" y="319606"/>
                  <a:pt x="794488" y="365648"/>
                  <a:pt x="561470" y="365648"/>
                </a:cubicBezTo>
                <a:cubicBezTo>
                  <a:pt x="328453" y="365648"/>
                  <a:pt x="128525" y="319606"/>
                  <a:pt x="43124" y="253987"/>
                </a:cubicBezTo>
                <a:lnTo>
                  <a:pt x="18363" y="228063"/>
                </a:lnTo>
                <a:lnTo>
                  <a:pt x="0" y="179331"/>
                </a:lnTo>
                <a:lnTo>
                  <a:pt x="10345" y="145979"/>
                </a:lnTo>
                <a:cubicBezTo>
                  <a:pt x="62801" y="62669"/>
                  <a:pt x="289616" y="0"/>
                  <a:pt x="561470" y="0"/>
                </a:cubicBezTo>
                <a:close/>
              </a:path>
            </a:pathLst>
          </a:custGeom>
          <a:gradFill flip="none" rotWithShape="1">
            <a:gsLst>
              <a:gs pos="50000">
                <a:schemeClr val="accent1">
                  <a:alpha val="0"/>
                  <a:lumMod val="0"/>
                  <a:lumOff val="100000"/>
                </a:schemeClr>
              </a:gs>
              <a:gs pos="100000">
                <a:schemeClr val="accent1">
                  <a:alpha val="70000"/>
                  <a:lumMod val="0"/>
                  <a:lumOff val="100000"/>
                </a:schemeClr>
              </a:gs>
            </a:gsLst>
            <a:path path="circle">
              <a:fillToRect l="50222" t="-263272" r="49778" b="363272"/>
            </a:path>
            <a:tileRect/>
          </a:gradFill>
          <a:ln w="19050">
            <a:gradFill>
              <a:gsLst>
                <a:gs pos="30000">
                  <a:schemeClr val="accent1">
                    <a:lumMod val="0"/>
                    <a:lumOff val="100000"/>
                    <a:alpha val="0"/>
                  </a:schemeClr>
                </a:gs>
                <a:gs pos="95000">
                  <a:schemeClr val="accent1">
                    <a:alpha val="50000"/>
                    <a:lumMod val="0"/>
                    <a:lumOff val="10000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latin typeface="Arial"/>
            </a:endParaRPr>
          </a:p>
        </p:txBody>
      </p:sp>
      <p:sp>
        <p:nvSpPr>
          <p:cNvPr id="159" name="任意多边形: 形状 158">
            <a:extLst>
              <a:ext uri="{FF2B5EF4-FFF2-40B4-BE49-F238E27FC236}">
                <a16:creationId xmlns:a16="http://schemas.microsoft.com/office/drawing/2014/main" id="{EA12C925-C760-2909-6698-44293AFB0743}"/>
              </a:ext>
            </a:extLst>
          </p:cNvPr>
          <p:cNvSpPr/>
          <p:nvPr/>
        </p:nvSpPr>
        <p:spPr>
          <a:xfrm>
            <a:off x="4923003" y="3067713"/>
            <a:ext cx="2345997" cy="1351543"/>
          </a:xfrm>
          <a:custGeom>
            <a:avLst/>
            <a:gdLst>
              <a:gd name="connsiteX0" fmla="*/ 2345997 w 2345997"/>
              <a:gd name="connsiteY0" fmla="*/ 0 h 1351543"/>
              <a:gd name="connsiteX1" fmla="*/ 1950026 w 2345997"/>
              <a:gd name="connsiteY1" fmla="*/ 1050852 h 1351543"/>
              <a:gd name="connsiteX2" fmla="*/ 1900068 w 2345997"/>
              <a:gd name="connsiteY2" fmla="*/ 1183432 h 1351543"/>
              <a:gd name="connsiteX3" fmla="*/ 1895396 w 2345997"/>
              <a:gd name="connsiteY3" fmla="*/ 1188555 h 1351543"/>
              <a:gd name="connsiteX4" fmla="*/ 1172997 w 2345997"/>
              <a:gd name="connsiteY4" fmla="*/ 1351543 h 1351543"/>
              <a:gd name="connsiteX5" fmla="*/ 450598 w 2345997"/>
              <a:gd name="connsiteY5" fmla="*/ 1188555 h 1351543"/>
              <a:gd name="connsiteX6" fmla="*/ 445929 w 2345997"/>
              <a:gd name="connsiteY6" fmla="*/ 1183436 h 1351543"/>
              <a:gd name="connsiteX7" fmla="*/ 395970 w 2345997"/>
              <a:gd name="connsiteY7" fmla="*/ 1050850 h 1351543"/>
              <a:gd name="connsiteX8" fmla="*/ 0 w 2345997"/>
              <a:gd name="connsiteY8" fmla="*/ 4 h 1351543"/>
              <a:gd name="connsiteX9" fmla="*/ 17060 w 2345997"/>
              <a:gd name="connsiteY9" fmla="*/ 20610 h 1351543"/>
              <a:gd name="connsiteX10" fmla="*/ 1172997 w 2345997"/>
              <a:gd name="connsiteY10" fmla="*/ 194278 h 1351543"/>
              <a:gd name="connsiteX11" fmla="*/ 2328934 w 2345997"/>
              <a:gd name="connsiteY11" fmla="*/ 20610 h 13515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45997" h="1351543">
                <a:moveTo>
                  <a:pt x="2345997" y="0"/>
                </a:moveTo>
                <a:lnTo>
                  <a:pt x="1950026" y="1050852"/>
                </a:lnTo>
                <a:lnTo>
                  <a:pt x="1900068" y="1183432"/>
                </a:lnTo>
                <a:lnTo>
                  <a:pt x="1895396" y="1188555"/>
                </a:lnTo>
                <a:cubicBezTo>
                  <a:pt x="1776377" y="1284336"/>
                  <a:pt x="1497745" y="1351543"/>
                  <a:pt x="1172997" y="1351543"/>
                </a:cubicBezTo>
                <a:cubicBezTo>
                  <a:pt x="848249" y="1351543"/>
                  <a:pt x="569618" y="1284336"/>
                  <a:pt x="450598" y="1188555"/>
                </a:cubicBezTo>
                <a:lnTo>
                  <a:pt x="445929" y="1183436"/>
                </a:lnTo>
                <a:lnTo>
                  <a:pt x="395970" y="1050850"/>
                </a:lnTo>
                <a:lnTo>
                  <a:pt x="0" y="4"/>
                </a:lnTo>
                <a:lnTo>
                  <a:pt x="17060" y="20610"/>
                </a:lnTo>
                <a:cubicBezTo>
                  <a:pt x="127081" y="119722"/>
                  <a:pt x="602807" y="194278"/>
                  <a:pt x="1172997" y="194278"/>
                </a:cubicBezTo>
                <a:cubicBezTo>
                  <a:pt x="1743187" y="194278"/>
                  <a:pt x="2218913" y="119722"/>
                  <a:pt x="2328934" y="20610"/>
                </a:cubicBezTo>
                <a:close/>
              </a:path>
            </a:pathLst>
          </a:custGeom>
          <a:gradFill flip="none" rotWithShape="1">
            <a:gsLst>
              <a:gs pos="0">
                <a:schemeClr val="accent1">
                  <a:lumMod val="55000"/>
                  <a:lumOff val="45000"/>
                </a:schemeClr>
              </a:gs>
              <a:gs pos="100000">
                <a:schemeClr val="accent1">
                  <a:lumMod val="90000"/>
                </a:schemeClr>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solidFill>
                <a:srgbClr val="FFFFFF"/>
              </a:solidFill>
              <a:latin typeface="Arial"/>
            </a:endParaRPr>
          </a:p>
        </p:txBody>
      </p:sp>
      <p:sp>
        <p:nvSpPr>
          <p:cNvPr id="175" name="任意多边形: 形状 174">
            <a:extLst>
              <a:ext uri="{FF2B5EF4-FFF2-40B4-BE49-F238E27FC236}">
                <a16:creationId xmlns:a16="http://schemas.microsoft.com/office/drawing/2014/main" id="{8B099FE3-66E9-A8E2-2CFF-A042D94E65B4}"/>
              </a:ext>
            </a:extLst>
          </p:cNvPr>
          <p:cNvSpPr/>
          <p:nvPr/>
        </p:nvSpPr>
        <p:spPr>
          <a:xfrm>
            <a:off x="3990973" y="2667347"/>
            <a:ext cx="4210052" cy="829947"/>
          </a:xfrm>
          <a:custGeom>
            <a:avLst/>
            <a:gdLst>
              <a:gd name="connsiteX0" fmla="*/ 1179909 w 2359818"/>
              <a:gd name="connsiteY0" fmla="*/ 0 h 435006"/>
              <a:gd name="connsiteX1" fmla="*/ 2359818 w 2359818"/>
              <a:gd name="connsiteY1" fmla="*/ 217503 h 435006"/>
              <a:gd name="connsiteX2" fmla="*/ 2354912 w 2359818"/>
              <a:gd name="connsiteY2" fmla="*/ 235414 h 435006"/>
              <a:gd name="connsiteX3" fmla="*/ 2352909 w 2359818"/>
              <a:gd name="connsiteY3" fmla="*/ 240728 h 435006"/>
              <a:gd name="connsiteX4" fmla="*/ 2335846 w 2359818"/>
              <a:gd name="connsiteY4" fmla="*/ 261338 h 435006"/>
              <a:gd name="connsiteX5" fmla="*/ 1179909 w 2359818"/>
              <a:gd name="connsiteY5" fmla="*/ 435006 h 435006"/>
              <a:gd name="connsiteX6" fmla="*/ 23972 w 2359818"/>
              <a:gd name="connsiteY6" fmla="*/ 261338 h 435006"/>
              <a:gd name="connsiteX7" fmla="*/ 6913 w 2359818"/>
              <a:gd name="connsiteY7" fmla="*/ 240732 h 435006"/>
              <a:gd name="connsiteX8" fmla="*/ 4902 w 2359818"/>
              <a:gd name="connsiteY8" fmla="*/ 235395 h 435006"/>
              <a:gd name="connsiteX9" fmla="*/ 0 w 2359818"/>
              <a:gd name="connsiteY9" fmla="*/ 217503 h 435006"/>
              <a:gd name="connsiteX10" fmla="*/ 1179909 w 2359818"/>
              <a:gd name="connsiteY10" fmla="*/ 0 h 435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359818" h="435006">
                <a:moveTo>
                  <a:pt x="1179909" y="0"/>
                </a:moveTo>
                <a:cubicBezTo>
                  <a:pt x="1831555" y="0"/>
                  <a:pt x="2359818" y="97379"/>
                  <a:pt x="2359818" y="217503"/>
                </a:cubicBezTo>
                <a:lnTo>
                  <a:pt x="2354912" y="235414"/>
                </a:lnTo>
                <a:lnTo>
                  <a:pt x="2352909" y="240728"/>
                </a:lnTo>
                <a:lnTo>
                  <a:pt x="2335846" y="261338"/>
                </a:lnTo>
                <a:cubicBezTo>
                  <a:pt x="2225825" y="360450"/>
                  <a:pt x="1750099" y="435006"/>
                  <a:pt x="1179909" y="435006"/>
                </a:cubicBezTo>
                <a:cubicBezTo>
                  <a:pt x="609719" y="435006"/>
                  <a:pt x="133994" y="360450"/>
                  <a:pt x="23972" y="261338"/>
                </a:cubicBezTo>
                <a:lnTo>
                  <a:pt x="6913" y="240732"/>
                </a:lnTo>
                <a:lnTo>
                  <a:pt x="4902" y="235395"/>
                </a:lnTo>
                <a:lnTo>
                  <a:pt x="0" y="217503"/>
                </a:lnTo>
                <a:cubicBezTo>
                  <a:pt x="0" y="97379"/>
                  <a:pt x="528263" y="0"/>
                  <a:pt x="1179909" y="0"/>
                </a:cubicBezTo>
                <a:close/>
              </a:path>
            </a:pathLst>
          </a:custGeom>
          <a:gradFill flip="none" rotWithShape="1">
            <a:gsLst>
              <a:gs pos="50000">
                <a:schemeClr val="accent1">
                  <a:alpha val="0"/>
                  <a:lumMod val="0"/>
                  <a:lumOff val="100000"/>
                </a:schemeClr>
              </a:gs>
              <a:gs pos="100000">
                <a:schemeClr val="accent1">
                  <a:alpha val="70000"/>
                  <a:lumMod val="0"/>
                  <a:lumOff val="100000"/>
                </a:schemeClr>
              </a:gs>
            </a:gsLst>
            <a:path path="circle">
              <a:fillToRect l="50222" t="-263272" r="49778" b="363272"/>
            </a:path>
            <a:tileRect/>
          </a:gradFill>
          <a:ln w="19050">
            <a:gradFill>
              <a:gsLst>
                <a:gs pos="30000">
                  <a:schemeClr val="accent1">
                    <a:lumMod val="0"/>
                    <a:lumOff val="100000"/>
                    <a:alpha val="0"/>
                  </a:schemeClr>
                </a:gs>
                <a:gs pos="95000">
                  <a:schemeClr val="accent1">
                    <a:alpha val="50000"/>
                    <a:lumMod val="0"/>
                    <a:lumOff val="10000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latin typeface="Arial"/>
            </a:endParaRPr>
          </a:p>
        </p:txBody>
      </p:sp>
      <p:sp>
        <p:nvSpPr>
          <p:cNvPr id="147" name="任意多边形: 形状 146">
            <a:extLst>
              <a:ext uri="{FF2B5EF4-FFF2-40B4-BE49-F238E27FC236}">
                <a16:creationId xmlns:a16="http://schemas.microsoft.com/office/drawing/2014/main" id="{C2DF9BE2-03D2-42F6-ADE8-74B2076AE9D0}"/>
              </a:ext>
            </a:extLst>
          </p:cNvPr>
          <p:cNvSpPr/>
          <p:nvPr/>
        </p:nvSpPr>
        <p:spPr>
          <a:xfrm>
            <a:off x="4240567" y="1036077"/>
            <a:ext cx="3710867" cy="1699885"/>
          </a:xfrm>
          <a:custGeom>
            <a:avLst/>
            <a:gdLst>
              <a:gd name="connsiteX0" fmla="*/ 1855433 w 3710867"/>
              <a:gd name="connsiteY0" fmla="*/ 0 h 1699885"/>
              <a:gd name="connsiteX1" fmla="*/ 3710866 w 3710867"/>
              <a:gd name="connsiteY1" fmla="*/ 217503 h 1699885"/>
              <a:gd name="connsiteX2" fmla="*/ 3709552 w 3710867"/>
              <a:gd name="connsiteY2" fmla="*/ 220554 h 1699885"/>
              <a:gd name="connsiteX3" fmla="*/ 3710867 w 3710867"/>
              <a:gd name="connsiteY3" fmla="*/ 220554 h 1699885"/>
              <a:gd name="connsiteX4" fmla="*/ 3338217 w 3710867"/>
              <a:gd name="connsiteY4" fmla="*/ 1209515 h 1699885"/>
              <a:gd name="connsiteX5" fmla="*/ 3248005 w 3710867"/>
              <a:gd name="connsiteY5" fmla="*/ 1448923 h 1699885"/>
              <a:gd name="connsiteX6" fmla="*/ 3184516 w 3710867"/>
              <a:gd name="connsiteY6" fmla="*/ 1484764 h 1699885"/>
              <a:gd name="connsiteX7" fmla="*/ 1855433 w 3710867"/>
              <a:gd name="connsiteY7" fmla="*/ 1699885 h 1699885"/>
              <a:gd name="connsiteX8" fmla="*/ 526350 w 3710867"/>
              <a:gd name="connsiteY8" fmla="*/ 1484764 h 1699885"/>
              <a:gd name="connsiteX9" fmla="*/ 462864 w 3710867"/>
              <a:gd name="connsiteY9" fmla="*/ 1448924 h 1699885"/>
              <a:gd name="connsiteX10" fmla="*/ 372652 w 3710867"/>
              <a:gd name="connsiteY10" fmla="*/ 1209512 h 1699885"/>
              <a:gd name="connsiteX11" fmla="*/ 372651 w 3710867"/>
              <a:gd name="connsiteY11" fmla="*/ 1209512 h 1699885"/>
              <a:gd name="connsiteX12" fmla="*/ 1 w 3710867"/>
              <a:gd name="connsiteY12" fmla="*/ 220554 h 1699885"/>
              <a:gd name="connsiteX13" fmla="*/ 1314 w 3710867"/>
              <a:gd name="connsiteY13" fmla="*/ 220554 h 1699885"/>
              <a:gd name="connsiteX14" fmla="*/ 0 w 3710867"/>
              <a:gd name="connsiteY14" fmla="*/ 217503 h 1699885"/>
              <a:gd name="connsiteX15" fmla="*/ 1855433 w 3710867"/>
              <a:gd name="connsiteY15" fmla="*/ 0 h 1699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710867" h="1699885">
                <a:moveTo>
                  <a:pt x="1855433" y="0"/>
                </a:moveTo>
                <a:cubicBezTo>
                  <a:pt x="2880160" y="0"/>
                  <a:pt x="3710866" y="97379"/>
                  <a:pt x="3710866" y="217503"/>
                </a:cubicBezTo>
                <a:lnTo>
                  <a:pt x="3709552" y="220554"/>
                </a:lnTo>
                <a:lnTo>
                  <a:pt x="3710867" y="220554"/>
                </a:lnTo>
                <a:lnTo>
                  <a:pt x="3338217" y="1209515"/>
                </a:lnTo>
                <a:lnTo>
                  <a:pt x="3248005" y="1448923"/>
                </a:lnTo>
                <a:lnTo>
                  <a:pt x="3184516" y="1484764"/>
                </a:lnTo>
                <a:cubicBezTo>
                  <a:pt x="2928558" y="1612900"/>
                  <a:pt x="2429349" y="1699885"/>
                  <a:pt x="1855433" y="1699885"/>
                </a:cubicBezTo>
                <a:cubicBezTo>
                  <a:pt x="1281517" y="1699885"/>
                  <a:pt x="782309" y="1612900"/>
                  <a:pt x="526350" y="1484764"/>
                </a:cubicBezTo>
                <a:lnTo>
                  <a:pt x="462864" y="1448924"/>
                </a:lnTo>
                <a:lnTo>
                  <a:pt x="372652" y="1209512"/>
                </a:lnTo>
                <a:lnTo>
                  <a:pt x="372651" y="1209512"/>
                </a:lnTo>
                <a:lnTo>
                  <a:pt x="1" y="220554"/>
                </a:lnTo>
                <a:lnTo>
                  <a:pt x="1314" y="220554"/>
                </a:lnTo>
                <a:lnTo>
                  <a:pt x="0" y="217503"/>
                </a:lnTo>
                <a:cubicBezTo>
                  <a:pt x="0" y="97379"/>
                  <a:pt x="830706" y="0"/>
                  <a:pt x="1855433" y="0"/>
                </a:cubicBezTo>
                <a:close/>
              </a:path>
            </a:pathLst>
          </a:custGeom>
          <a:gradFill flip="none" rotWithShape="1">
            <a:gsLst>
              <a:gs pos="0">
                <a:schemeClr val="accent1">
                  <a:lumMod val="35000"/>
                  <a:lumOff val="65000"/>
                </a:schemeClr>
              </a:gs>
              <a:gs pos="100000">
                <a:schemeClr val="accent1">
                  <a:lumMod val="100000"/>
                </a:schemeClr>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solidFill>
                <a:srgbClr val="FFFFFF"/>
              </a:solidFill>
              <a:latin typeface="Arial"/>
            </a:endParaRPr>
          </a:p>
        </p:txBody>
      </p:sp>
      <p:sp>
        <p:nvSpPr>
          <p:cNvPr id="151" name="任意多边形: 形状 150">
            <a:extLst>
              <a:ext uri="{FF2B5EF4-FFF2-40B4-BE49-F238E27FC236}">
                <a16:creationId xmlns:a16="http://schemas.microsoft.com/office/drawing/2014/main" id="{6F120E23-DDE5-EAD2-9A44-3942FF6F45BF}"/>
              </a:ext>
            </a:extLst>
          </p:cNvPr>
          <p:cNvSpPr/>
          <p:nvPr/>
        </p:nvSpPr>
        <p:spPr>
          <a:xfrm>
            <a:off x="4240567" y="1256631"/>
            <a:ext cx="3710866" cy="1479331"/>
          </a:xfrm>
          <a:custGeom>
            <a:avLst/>
            <a:gdLst>
              <a:gd name="connsiteX0" fmla="*/ 0 w 3710866"/>
              <a:gd name="connsiteY0" fmla="*/ 0 h 1479331"/>
              <a:gd name="connsiteX1" fmla="*/ 1313 w 3710866"/>
              <a:gd name="connsiteY1" fmla="*/ 0 h 1479331"/>
              <a:gd name="connsiteX2" fmla="*/ 9578 w 3710866"/>
              <a:gd name="connsiteY2" fmla="*/ 19187 h 1479331"/>
              <a:gd name="connsiteX3" fmla="*/ 1855432 w 3710866"/>
              <a:gd name="connsiteY3" fmla="*/ 214452 h 1479331"/>
              <a:gd name="connsiteX4" fmla="*/ 3701286 w 3710866"/>
              <a:gd name="connsiteY4" fmla="*/ 19187 h 1479331"/>
              <a:gd name="connsiteX5" fmla="*/ 3709551 w 3710866"/>
              <a:gd name="connsiteY5" fmla="*/ 0 h 1479331"/>
              <a:gd name="connsiteX6" fmla="*/ 3710866 w 3710866"/>
              <a:gd name="connsiteY6" fmla="*/ 0 h 1479331"/>
              <a:gd name="connsiteX7" fmla="*/ 3338216 w 3710866"/>
              <a:gd name="connsiteY7" fmla="*/ 988961 h 1479331"/>
              <a:gd name="connsiteX8" fmla="*/ 3248004 w 3710866"/>
              <a:gd name="connsiteY8" fmla="*/ 1228369 h 1479331"/>
              <a:gd name="connsiteX9" fmla="*/ 3184515 w 3710866"/>
              <a:gd name="connsiteY9" fmla="*/ 1264210 h 1479331"/>
              <a:gd name="connsiteX10" fmla="*/ 1855432 w 3710866"/>
              <a:gd name="connsiteY10" fmla="*/ 1479331 h 1479331"/>
              <a:gd name="connsiteX11" fmla="*/ 526349 w 3710866"/>
              <a:gd name="connsiteY11" fmla="*/ 1264210 h 1479331"/>
              <a:gd name="connsiteX12" fmla="*/ 462863 w 3710866"/>
              <a:gd name="connsiteY12" fmla="*/ 1228370 h 1479331"/>
              <a:gd name="connsiteX13" fmla="*/ 372651 w 3710866"/>
              <a:gd name="connsiteY13" fmla="*/ 988958 h 1479331"/>
              <a:gd name="connsiteX14" fmla="*/ 372650 w 3710866"/>
              <a:gd name="connsiteY14" fmla="*/ 988958 h 147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710866" h="1479331">
                <a:moveTo>
                  <a:pt x="0" y="0"/>
                </a:moveTo>
                <a:lnTo>
                  <a:pt x="1313" y="0"/>
                </a:lnTo>
                <a:lnTo>
                  <a:pt x="9578" y="19187"/>
                </a:lnTo>
                <a:cubicBezTo>
                  <a:pt x="104595" y="128865"/>
                  <a:pt x="894751" y="214452"/>
                  <a:pt x="1855432" y="214452"/>
                </a:cubicBezTo>
                <a:cubicBezTo>
                  <a:pt x="2816114" y="214452"/>
                  <a:pt x="3606269" y="128865"/>
                  <a:pt x="3701286" y="19187"/>
                </a:cubicBezTo>
                <a:lnTo>
                  <a:pt x="3709551" y="0"/>
                </a:lnTo>
                <a:lnTo>
                  <a:pt x="3710866" y="0"/>
                </a:lnTo>
                <a:lnTo>
                  <a:pt x="3338216" y="988961"/>
                </a:lnTo>
                <a:lnTo>
                  <a:pt x="3248004" y="1228369"/>
                </a:lnTo>
                <a:lnTo>
                  <a:pt x="3184515" y="1264210"/>
                </a:lnTo>
                <a:cubicBezTo>
                  <a:pt x="2928557" y="1392346"/>
                  <a:pt x="2429348" y="1479331"/>
                  <a:pt x="1855432" y="1479331"/>
                </a:cubicBezTo>
                <a:cubicBezTo>
                  <a:pt x="1281516" y="1479331"/>
                  <a:pt x="782308" y="1392346"/>
                  <a:pt x="526349" y="1264210"/>
                </a:cubicBezTo>
                <a:lnTo>
                  <a:pt x="462863" y="1228370"/>
                </a:lnTo>
                <a:lnTo>
                  <a:pt x="372651" y="988958"/>
                </a:lnTo>
                <a:lnTo>
                  <a:pt x="372650" y="988958"/>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solidFill>
                <a:prstClr val="white"/>
              </a:solidFill>
              <a:latin typeface="等线" panose="020F0502020204030204"/>
              <a:ea typeface="等线" panose="02010600030101010101" pitchFamily="2" charset="-122"/>
            </a:endParaRPr>
          </a:p>
        </p:txBody>
      </p:sp>
      <p:sp>
        <p:nvSpPr>
          <p:cNvPr id="153" name="任意多边形: 形状 152">
            <a:extLst>
              <a:ext uri="{FF2B5EF4-FFF2-40B4-BE49-F238E27FC236}">
                <a16:creationId xmlns:a16="http://schemas.microsoft.com/office/drawing/2014/main" id="{674F9EA4-C305-24F1-ECFB-905712E6D4EB}"/>
              </a:ext>
            </a:extLst>
          </p:cNvPr>
          <p:cNvSpPr/>
          <p:nvPr/>
        </p:nvSpPr>
        <p:spPr>
          <a:xfrm>
            <a:off x="4240566" y="1036076"/>
            <a:ext cx="3710866" cy="435006"/>
          </a:xfrm>
          <a:custGeom>
            <a:avLst/>
            <a:gdLst>
              <a:gd name="connsiteX0" fmla="*/ 1855433 w 3710866"/>
              <a:gd name="connsiteY0" fmla="*/ 0 h 435006"/>
              <a:gd name="connsiteX1" fmla="*/ 3710866 w 3710866"/>
              <a:gd name="connsiteY1" fmla="*/ 217503 h 435006"/>
              <a:gd name="connsiteX2" fmla="*/ 3709552 w 3710866"/>
              <a:gd name="connsiteY2" fmla="*/ 220554 h 435006"/>
              <a:gd name="connsiteX3" fmla="*/ 3701287 w 3710866"/>
              <a:gd name="connsiteY3" fmla="*/ 239741 h 435006"/>
              <a:gd name="connsiteX4" fmla="*/ 1855433 w 3710866"/>
              <a:gd name="connsiteY4" fmla="*/ 435006 h 435006"/>
              <a:gd name="connsiteX5" fmla="*/ 9579 w 3710866"/>
              <a:gd name="connsiteY5" fmla="*/ 239741 h 435006"/>
              <a:gd name="connsiteX6" fmla="*/ 1314 w 3710866"/>
              <a:gd name="connsiteY6" fmla="*/ 220554 h 435006"/>
              <a:gd name="connsiteX7" fmla="*/ 0 w 3710866"/>
              <a:gd name="connsiteY7" fmla="*/ 217503 h 435006"/>
              <a:gd name="connsiteX8" fmla="*/ 1855433 w 3710866"/>
              <a:gd name="connsiteY8" fmla="*/ 0 h 435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10866" h="435006">
                <a:moveTo>
                  <a:pt x="1855433" y="0"/>
                </a:moveTo>
                <a:cubicBezTo>
                  <a:pt x="2880160" y="0"/>
                  <a:pt x="3710866" y="97379"/>
                  <a:pt x="3710866" y="217503"/>
                </a:cubicBezTo>
                <a:lnTo>
                  <a:pt x="3709552" y="220554"/>
                </a:lnTo>
                <a:lnTo>
                  <a:pt x="3701287" y="239741"/>
                </a:lnTo>
                <a:cubicBezTo>
                  <a:pt x="3606270" y="349419"/>
                  <a:pt x="2816115" y="435006"/>
                  <a:pt x="1855433" y="435006"/>
                </a:cubicBezTo>
                <a:cubicBezTo>
                  <a:pt x="894752" y="435006"/>
                  <a:pt x="104596" y="349419"/>
                  <a:pt x="9579" y="239741"/>
                </a:cubicBezTo>
                <a:lnTo>
                  <a:pt x="1314" y="220554"/>
                </a:lnTo>
                <a:lnTo>
                  <a:pt x="0" y="217503"/>
                </a:lnTo>
                <a:cubicBezTo>
                  <a:pt x="0" y="97379"/>
                  <a:pt x="830706" y="0"/>
                  <a:pt x="1855433" y="0"/>
                </a:cubicBezTo>
                <a:close/>
              </a:path>
            </a:pathLst>
          </a:custGeom>
          <a:gradFill flip="none" rotWithShape="1">
            <a:gsLst>
              <a:gs pos="100000">
                <a:schemeClr val="accent1">
                  <a:lumMod val="60000"/>
                  <a:lumOff val="40000"/>
                </a:schemeClr>
              </a:gs>
              <a:gs pos="0">
                <a:schemeClr val="accent1">
                  <a:lumMod val="15000"/>
                  <a:lumOff val="85000"/>
                </a:schemeClr>
              </a:gs>
            </a:gsLst>
            <a:lin ang="2700000" scaled="1"/>
            <a:tileRect/>
          </a:gradFill>
          <a:ln w="25400">
            <a:noFill/>
          </a:ln>
          <a:effectLst>
            <a:outerShdw blurRad="254000" dist="177800" dir="2700000" algn="tl" rotWithShape="0">
              <a:schemeClr val="accent1">
                <a:alpha val="20000"/>
              </a:schemeClr>
            </a:outerShdw>
          </a:effectLst>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485899" tIns="63500" rIns="1485901" bIns="63500" numCol="1" spcCol="1270" anchor="ctr" anchorCtr="0">
            <a:noAutofit/>
          </a:bodyPr>
          <a:lstStyle/>
          <a:p>
            <a:pPr algn="ctr" defTabSz="2222500">
              <a:lnSpc>
                <a:spcPct val="90000"/>
              </a:lnSpc>
              <a:spcBef>
                <a:spcPct val="0"/>
              </a:spcBef>
              <a:spcAft>
                <a:spcPct val="35000"/>
              </a:spcAft>
            </a:pPr>
            <a:endParaRPr lang="en-US" sz="3200">
              <a:solidFill>
                <a:prstClr val="white"/>
              </a:solidFill>
              <a:latin typeface="等线" panose="020F0502020204030204"/>
              <a:ea typeface="等线" panose="02010600030101010101" pitchFamily="2" charset="-122"/>
            </a:endParaRPr>
          </a:p>
        </p:txBody>
      </p:sp>
      <p:sp>
        <p:nvSpPr>
          <p:cNvPr id="185" name="任意多边形: 形状 184">
            <a:extLst>
              <a:ext uri="{FF2B5EF4-FFF2-40B4-BE49-F238E27FC236}">
                <a16:creationId xmlns:a16="http://schemas.microsoft.com/office/drawing/2014/main" id="{32F1905D-EB64-C9CA-8C16-DDF7FF9872FA}"/>
              </a:ext>
            </a:extLst>
          </p:cNvPr>
          <p:cNvSpPr/>
          <p:nvPr/>
        </p:nvSpPr>
        <p:spPr>
          <a:xfrm>
            <a:off x="3306442" y="783490"/>
            <a:ext cx="5579114" cy="940178"/>
          </a:xfrm>
          <a:custGeom>
            <a:avLst/>
            <a:gdLst>
              <a:gd name="connsiteX0" fmla="*/ 1855433 w 3710866"/>
              <a:gd name="connsiteY0" fmla="*/ 0 h 435006"/>
              <a:gd name="connsiteX1" fmla="*/ 3710866 w 3710866"/>
              <a:gd name="connsiteY1" fmla="*/ 217503 h 435006"/>
              <a:gd name="connsiteX2" fmla="*/ 3709552 w 3710866"/>
              <a:gd name="connsiteY2" fmla="*/ 220554 h 435006"/>
              <a:gd name="connsiteX3" fmla="*/ 3701287 w 3710866"/>
              <a:gd name="connsiteY3" fmla="*/ 239741 h 435006"/>
              <a:gd name="connsiteX4" fmla="*/ 1855433 w 3710866"/>
              <a:gd name="connsiteY4" fmla="*/ 435006 h 435006"/>
              <a:gd name="connsiteX5" fmla="*/ 9579 w 3710866"/>
              <a:gd name="connsiteY5" fmla="*/ 239741 h 435006"/>
              <a:gd name="connsiteX6" fmla="*/ 1314 w 3710866"/>
              <a:gd name="connsiteY6" fmla="*/ 220554 h 435006"/>
              <a:gd name="connsiteX7" fmla="*/ 0 w 3710866"/>
              <a:gd name="connsiteY7" fmla="*/ 217503 h 435006"/>
              <a:gd name="connsiteX8" fmla="*/ 1855433 w 3710866"/>
              <a:gd name="connsiteY8" fmla="*/ 0 h 435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10866" h="435006">
                <a:moveTo>
                  <a:pt x="1855433" y="0"/>
                </a:moveTo>
                <a:cubicBezTo>
                  <a:pt x="2880160" y="0"/>
                  <a:pt x="3710866" y="97379"/>
                  <a:pt x="3710866" y="217503"/>
                </a:cubicBezTo>
                <a:lnTo>
                  <a:pt x="3709552" y="220554"/>
                </a:lnTo>
                <a:lnTo>
                  <a:pt x="3701287" y="239741"/>
                </a:lnTo>
                <a:cubicBezTo>
                  <a:pt x="3606270" y="349419"/>
                  <a:pt x="2816115" y="435006"/>
                  <a:pt x="1855433" y="435006"/>
                </a:cubicBezTo>
                <a:cubicBezTo>
                  <a:pt x="894752" y="435006"/>
                  <a:pt x="104596" y="349419"/>
                  <a:pt x="9579" y="239741"/>
                </a:cubicBezTo>
                <a:lnTo>
                  <a:pt x="1314" y="220554"/>
                </a:lnTo>
                <a:lnTo>
                  <a:pt x="0" y="217503"/>
                </a:lnTo>
                <a:cubicBezTo>
                  <a:pt x="0" y="97379"/>
                  <a:pt x="830706" y="0"/>
                  <a:pt x="1855433" y="0"/>
                </a:cubicBezTo>
                <a:close/>
              </a:path>
            </a:pathLst>
          </a:custGeom>
          <a:gradFill flip="none" rotWithShape="1">
            <a:gsLst>
              <a:gs pos="50000">
                <a:schemeClr val="accent1">
                  <a:alpha val="0"/>
                  <a:lumMod val="0"/>
                  <a:lumOff val="100000"/>
                </a:schemeClr>
              </a:gs>
              <a:gs pos="100000">
                <a:schemeClr val="accent1">
                  <a:alpha val="70000"/>
                  <a:lumMod val="0"/>
                  <a:lumOff val="100000"/>
                </a:schemeClr>
              </a:gs>
            </a:gsLst>
            <a:path path="circle">
              <a:fillToRect l="50222" t="-263272" r="49778" b="363272"/>
            </a:path>
            <a:tileRect/>
          </a:gradFill>
          <a:ln w="19050">
            <a:gradFill>
              <a:gsLst>
                <a:gs pos="30000">
                  <a:schemeClr val="accent1">
                    <a:lumMod val="0"/>
                    <a:lumOff val="100000"/>
                    <a:alpha val="0"/>
                  </a:schemeClr>
                </a:gs>
                <a:gs pos="95000">
                  <a:schemeClr val="accent1">
                    <a:alpha val="50000"/>
                    <a:lumMod val="0"/>
                    <a:lumOff val="10000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latin typeface="Arial"/>
            </a:endParaRPr>
          </a:p>
        </p:txBody>
      </p:sp>
      <p:sp>
        <p:nvSpPr>
          <p:cNvPr id="155" name="任意多边形: 形状 154">
            <a:extLst>
              <a:ext uri="{FF2B5EF4-FFF2-40B4-BE49-F238E27FC236}">
                <a16:creationId xmlns:a16="http://schemas.microsoft.com/office/drawing/2014/main" id="{89F2920E-65BC-6753-C3B5-40F7804E9A83}"/>
              </a:ext>
            </a:extLst>
          </p:cNvPr>
          <p:cNvSpPr/>
          <p:nvPr/>
        </p:nvSpPr>
        <p:spPr>
          <a:xfrm>
            <a:off x="4703432" y="2485001"/>
            <a:ext cx="2785141" cy="577399"/>
          </a:xfrm>
          <a:custGeom>
            <a:avLst/>
            <a:gdLst>
              <a:gd name="connsiteX0" fmla="*/ 2785141 w 2785141"/>
              <a:gd name="connsiteY0" fmla="*/ 0 h 577399"/>
              <a:gd name="connsiteX1" fmla="*/ 2567572 w 2785141"/>
              <a:gd name="connsiteY1" fmla="*/ 577399 h 577399"/>
              <a:gd name="connsiteX2" fmla="*/ 2572478 w 2785141"/>
              <a:gd name="connsiteY2" fmla="*/ 559488 h 577399"/>
              <a:gd name="connsiteX3" fmla="*/ 1392569 w 2785141"/>
              <a:gd name="connsiteY3" fmla="*/ 341985 h 577399"/>
              <a:gd name="connsiteX4" fmla="*/ 212660 w 2785141"/>
              <a:gd name="connsiteY4" fmla="*/ 559488 h 577399"/>
              <a:gd name="connsiteX5" fmla="*/ 217562 w 2785141"/>
              <a:gd name="connsiteY5" fmla="*/ 577380 h 577399"/>
              <a:gd name="connsiteX6" fmla="*/ 0 w 2785141"/>
              <a:gd name="connsiteY6" fmla="*/ 1 h 577399"/>
              <a:gd name="connsiteX7" fmla="*/ 63486 w 2785141"/>
              <a:gd name="connsiteY7" fmla="*/ 35841 h 577399"/>
              <a:gd name="connsiteX8" fmla="*/ 1392569 w 2785141"/>
              <a:gd name="connsiteY8" fmla="*/ 250962 h 577399"/>
              <a:gd name="connsiteX9" fmla="*/ 2721652 w 2785141"/>
              <a:gd name="connsiteY9" fmla="*/ 35841 h 577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85141" h="577399">
                <a:moveTo>
                  <a:pt x="2785141" y="0"/>
                </a:moveTo>
                <a:lnTo>
                  <a:pt x="2567572" y="577399"/>
                </a:lnTo>
                <a:lnTo>
                  <a:pt x="2572478" y="559488"/>
                </a:lnTo>
                <a:cubicBezTo>
                  <a:pt x="2572478" y="439364"/>
                  <a:pt x="2044215" y="341985"/>
                  <a:pt x="1392569" y="341985"/>
                </a:cubicBezTo>
                <a:cubicBezTo>
                  <a:pt x="740923" y="341985"/>
                  <a:pt x="212660" y="439364"/>
                  <a:pt x="212660" y="559488"/>
                </a:cubicBezTo>
                <a:lnTo>
                  <a:pt x="217562" y="577380"/>
                </a:lnTo>
                <a:lnTo>
                  <a:pt x="0" y="1"/>
                </a:lnTo>
                <a:lnTo>
                  <a:pt x="63486" y="35841"/>
                </a:lnTo>
                <a:cubicBezTo>
                  <a:pt x="319445" y="163977"/>
                  <a:pt x="818653" y="250962"/>
                  <a:pt x="1392569" y="250962"/>
                </a:cubicBezTo>
                <a:cubicBezTo>
                  <a:pt x="1966485" y="250962"/>
                  <a:pt x="2465694" y="163977"/>
                  <a:pt x="2721652" y="35841"/>
                </a:cubicBezTo>
                <a:close/>
              </a:path>
            </a:pathLst>
          </a:custGeom>
          <a:solidFill>
            <a:schemeClr val="accent1">
              <a:lumMod val="60000"/>
              <a:lumOff val="40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solidFill>
                <a:srgbClr val="FFFFFF"/>
              </a:solidFill>
              <a:latin typeface="Arial"/>
            </a:endParaRPr>
          </a:p>
        </p:txBody>
      </p:sp>
      <p:sp>
        <p:nvSpPr>
          <p:cNvPr id="157" name="任意多边形: 形状 156">
            <a:extLst>
              <a:ext uri="{FF2B5EF4-FFF2-40B4-BE49-F238E27FC236}">
                <a16:creationId xmlns:a16="http://schemas.microsoft.com/office/drawing/2014/main" id="{1B5907DF-47BA-9970-E704-8FBC350A7246}"/>
              </a:ext>
            </a:extLst>
          </p:cNvPr>
          <p:cNvSpPr/>
          <p:nvPr/>
        </p:nvSpPr>
        <p:spPr>
          <a:xfrm>
            <a:off x="4916090" y="2826985"/>
            <a:ext cx="2359818" cy="435006"/>
          </a:xfrm>
          <a:custGeom>
            <a:avLst/>
            <a:gdLst>
              <a:gd name="connsiteX0" fmla="*/ 1179909 w 2359818"/>
              <a:gd name="connsiteY0" fmla="*/ 0 h 435006"/>
              <a:gd name="connsiteX1" fmla="*/ 2359818 w 2359818"/>
              <a:gd name="connsiteY1" fmla="*/ 217503 h 435006"/>
              <a:gd name="connsiteX2" fmla="*/ 2354912 w 2359818"/>
              <a:gd name="connsiteY2" fmla="*/ 235414 h 435006"/>
              <a:gd name="connsiteX3" fmla="*/ 2352909 w 2359818"/>
              <a:gd name="connsiteY3" fmla="*/ 240728 h 435006"/>
              <a:gd name="connsiteX4" fmla="*/ 2335846 w 2359818"/>
              <a:gd name="connsiteY4" fmla="*/ 261338 h 435006"/>
              <a:gd name="connsiteX5" fmla="*/ 1179909 w 2359818"/>
              <a:gd name="connsiteY5" fmla="*/ 435006 h 435006"/>
              <a:gd name="connsiteX6" fmla="*/ 23972 w 2359818"/>
              <a:gd name="connsiteY6" fmla="*/ 261338 h 435006"/>
              <a:gd name="connsiteX7" fmla="*/ 6913 w 2359818"/>
              <a:gd name="connsiteY7" fmla="*/ 240732 h 435006"/>
              <a:gd name="connsiteX8" fmla="*/ 4902 w 2359818"/>
              <a:gd name="connsiteY8" fmla="*/ 235395 h 435006"/>
              <a:gd name="connsiteX9" fmla="*/ 0 w 2359818"/>
              <a:gd name="connsiteY9" fmla="*/ 217503 h 435006"/>
              <a:gd name="connsiteX10" fmla="*/ 1179909 w 2359818"/>
              <a:gd name="connsiteY10" fmla="*/ 0 h 435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359818" h="435006">
                <a:moveTo>
                  <a:pt x="1179909" y="0"/>
                </a:moveTo>
                <a:cubicBezTo>
                  <a:pt x="1831555" y="0"/>
                  <a:pt x="2359818" y="97379"/>
                  <a:pt x="2359818" y="217503"/>
                </a:cubicBezTo>
                <a:lnTo>
                  <a:pt x="2354912" y="235414"/>
                </a:lnTo>
                <a:lnTo>
                  <a:pt x="2352909" y="240728"/>
                </a:lnTo>
                <a:lnTo>
                  <a:pt x="2335846" y="261338"/>
                </a:lnTo>
                <a:cubicBezTo>
                  <a:pt x="2225825" y="360450"/>
                  <a:pt x="1750099" y="435006"/>
                  <a:pt x="1179909" y="435006"/>
                </a:cubicBezTo>
                <a:cubicBezTo>
                  <a:pt x="609719" y="435006"/>
                  <a:pt x="133994" y="360450"/>
                  <a:pt x="23972" y="261338"/>
                </a:cubicBezTo>
                <a:lnTo>
                  <a:pt x="6913" y="240732"/>
                </a:lnTo>
                <a:lnTo>
                  <a:pt x="4902" y="235395"/>
                </a:lnTo>
                <a:lnTo>
                  <a:pt x="0" y="217503"/>
                </a:lnTo>
                <a:cubicBezTo>
                  <a:pt x="0" y="97379"/>
                  <a:pt x="528263" y="0"/>
                  <a:pt x="1179909" y="0"/>
                </a:cubicBezTo>
                <a:close/>
              </a:path>
            </a:pathLst>
          </a:custGeom>
          <a:gradFill flip="none" rotWithShape="1">
            <a:gsLst>
              <a:gs pos="100000">
                <a:schemeClr val="accent1">
                  <a:lumMod val="80000"/>
                  <a:lumOff val="20000"/>
                </a:schemeClr>
              </a:gs>
              <a:gs pos="0">
                <a:schemeClr val="accent1">
                  <a:lumMod val="35000"/>
                  <a:lumOff val="65000"/>
                </a:schemeClr>
              </a:gs>
            </a:gsLst>
            <a:lin ang="2700000" scaled="1"/>
            <a:tileRect/>
          </a:gradFill>
          <a:ln w="25400">
            <a:noFill/>
          </a:ln>
          <a:effectLst>
            <a:outerShdw blurRad="254000" dist="177800" dir="2700000" algn="tl" rotWithShape="0">
              <a:schemeClr val="accent1">
                <a:alpha val="20000"/>
              </a:schemeClr>
            </a:outerShdw>
          </a:effectLst>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485899" tIns="63500" rIns="1485901" bIns="63500" numCol="1" spcCol="1270" anchor="ctr" anchorCtr="0">
            <a:noAutofit/>
          </a:bodyPr>
          <a:lstStyle/>
          <a:p>
            <a:pPr algn="ctr" defTabSz="2222500">
              <a:lnSpc>
                <a:spcPct val="90000"/>
              </a:lnSpc>
              <a:spcBef>
                <a:spcPct val="0"/>
              </a:spcBef>
              <a:spcAft>
                <a:spcPct val="35000"/>
              </a:spcAft>
            </a:pPr>
            <a:endParaRPr lang="en-US" sz="3200">
              <a:solidFill>
                <a:prstClr val="white"/>
              </a:solidFill>
              <a:latin typeface="等线" panose="020F0502020204030204"/>
              <a:ea typeface="等线" panose="02010600030101010101" pitchFamily="2" charset="-122"/>
            </a:endParaRPr>
          </a:p>
        </p:txBody>
      </p:sp>
    </p:spTree>
    <p:extLst>
      <p:ext uri="{BB962C8B-B14F-4D97-AF65-F5344CB8AC3E}">
        <p14:creationId xmlns:p14="http://schemas.microsoft.com/office/powerpoint/2010/main" val="3162172193"/>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5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 name="椭圆 98">
            <a:extLst>
              <a:ext uri="{FF2B5EF4-FFF2-40B4-BE49-F238E27FC236}">
                <a16:creationId xmlns:a16="http://schemas.microsoft.com/office/drawing/2014/main" id="{1743C26E-6705-8799-E6E9-283135835D3B}"/>
              </a:ext>
            </a:extLst>
          </p:cNvPr>
          <p:cNvSpPr/>
          <p:nvPr/>
        </p:nvSpPr>
        <p:spPr>
          <a:xfrm>
            <a:off x="1900635" y="4845414"/>
            <a:ext cx="8390730" cy="2181620"/>
          </a:xfrm>
          <a:prstGeom prst="ellipse">
            <a:avLst/>
          </a:prstGeom>
          <a:noFill/>
          <a:ln w="19050">
            <a:gradFill>
              <a:gsLst>
                <a:gs pos="0">
                  <a:schemeClr val="accent1">
                    <a:alpha val="0"/>
                  </a:schemeClr>
                </a:gs>
                <a:gs pos="100000">
                  <a:schemeClr val="accent1">
                    <a:alpha val="3000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350">
              <a:defRPr/>
            </a:pPr>
            <a:endParaRPr lang="zh-CN" altLang="en-US" sz="1013" dirty="0">
              <a:solidFill>
                <a:prstClr val="white"/>
              </a:solidFill>
              <a:latin typeface="等线" panose="020F0502020204030204"/>
              <a:ea typeface="等线" panose="02010600030101010101" pitchFamily="2" charset="-122"/>
            </a:endParaRPr>
          </a:p>
        </p:txBody>
      </p:sp>
      <p:sp>
        <p:nvSpPr>
          <p:cNvPr id="95" name="椭圆 94">
            <a:extLst>
              <a:ext uri="{FF2B5EF4-FFF2-40B4-BE49-F238E27FC236}">
                <a16:creationId xmlns:a16="http://schemas.microsoft.com/office/drawing/2014/main" id="{A721D048-36C5-C3E9-313C-F37FF143DA14}"/>
              </a:ext>
            </a:extLst>
          </p:cNvPr>
          <p:cNvSpPr/>
          <p:nvPr/>
        </p:nvSpPr>
        <p:spPr>
          <a:xfrm>
            <a:off x="3677713" y="5491728"/>
            <a:ext cx="4813186" cy="993936"/>
          </a:xfrm>
          <a:prstGeom prst="ellipse">
            <a:avLst/>
          </a:prstGeom>
          <a:gradFill>
            <a:gsLst>
              <a:gs pos="15000">
                <a:schemeClr val="accent1">
                  <a:alpha val="0"/>
                </a:schemeClr>
              </a:gs>
              <a:gs pos="90000">
                <a:schemeClr val="accent1">
                  <a:alpha val="15000"/>
                </a:schemeClr>
              </a:gs>
            </a:gsLst>
            <a:lin ang="5400000" scaled="1"/>
          </a:gradFill>
          <a:ln w="317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350">
              <a:defRPr/>
            </a:pPr>
            <a:endParaRPr lang="zh-CN" altLang="en-US" sz="1013">
              <a:solidFill>
                <a:prstClr val="white"/>
              </a:solidFill>
              <a:latin typeface="等线" panose="020F0502020204030204"/>
              <a:ea typeface="等线" panose="02010600030101010101" pitchFamily="2" charset="-122"/>
            </a:endParaRPr>
          </a:p>
        </p:txBody>
      </p:sp>
      <p:sp>
        <p:nvSpPr>
          <p:cNvPr id="44" name="任意多边形: 形状 43">
            <a:extLst>
              <a:ext uri="{FF2B5EF4-FFF2-40B4-BE49-F238E27FC236}">
                <a16:creationId xmlns:a16="http://schemas.microsoft.com/office/drawing/2014/main" id="{A789EA31-E8C2-6189-D1B0-DEA43EC55B18}"/>
              </a:ext>
            </a:extLst>
          </p:cNvPr>
          <p:cNvSpPr/>
          <p:nvPr/>
        </p:nvSpPr>
        <p:spPr>
          <a:xfrm>
            <a:off x="5635996" y="4772783"/>
            <a:ext cx="920008" cy="435005"/>
          </a:xfrm>
          <a:custGeom>
            <a:avLst/>
            <a:gdLst>
              <a:gd name="connsiteX0" fmla="*/ 460003 w 920008"/>
              <a:gd name="connsiteY0" fmla="*/ 0 h 435005"/>
              <a:gd name="connsiteX1" fmla="*/ 717332 w 920008"/>
              <a:gd name="connsiteY1" fmla="*/ 37146 h 435005"/>
              <a:gd name="connsiteX2" fmla="*/ 738965 w 920008"/>
              <a:gd name="connsiteY2" fmla="*/ 45582 h 435005"/>
              <a:gd name="connsiteX3" fmla="*/ 738967 w 920008"/>
              <a:gd name="connsiteY3" fmla="*/ 45581 h 435005"/>
              <a:gd name="connsiteX4" fmla="*/ 785447 w 920008"/>
              <a:gd name="connsiteY4" fmla="*/ 63704 h 435005"/>
              <a:gd name="connsiteX5" fmla="*/ 910899 w 920008"/>
              <a:gd name="connsiteY5" fmla="*/ 173667 h 435005"/>
              <a:gd name="connsiteX6" fmla="*/ 920008 w 920008"/>
              <a:gd name="connsiteY6" fmla="*/ 216365 h 435005"/>
              <a:gd name="connsiteX7" fmla="*/ 892517 w 920008"/>
              <a:gd name="connsiteY7" fmla="*/ 289322 h 435005"/>
              <a:gd name="connsiteX8" fmla="*/ 884081 w 920008"/>
              <a:gd name="connsiteY8" fmla="*/ 302164 h 435005"/>
              <a:gd name="connsiteX9" fmla="*/ 460003 w 920008"/>
              <a:gd name="connsiteY9" fmla="*/ 435005 h 435005"/>
              <a:gd name="connsiteX10" fmla="*/ 35925 w 920008"/>
              <a:gd name="connsiteY10" fmla="*/ 302164 h 435005"/>
              <a:gd name="connsiteX11" fmla="*/ 27494 w 920008"/>
              <a:gd name="connsiteY11" fmla="*/ 289329 h 435005"/>
              <a:gd name="connsiteX12" fmla="*/ 0 w 920008"/>
              <a:gd name="connsiteY12" fmla="*/ 216362 h 435005"/>
              <a:gd name="connsiteX13" fmla="*/ 9107 w 920008"/>
              <a:gd name="connsiteY13" fmla="*/ 173667 h 435005"/>
              <a:gd name="connsiteX14" fmla="*/ 134559 w 920008"/>
              <a:gd name="connsiteY14" fmla="*/ 63704 h 435005"/>
              <a:gd name="connsiteX15" fmla="*/ 181040 w 920008"/>
              <a:gd name="connsiteY15" fmla="*/ 45581 h 435005"/>
              <a:gd name="connsiteX16" fmla="*/ 181042 w 920008"/>
              <a:gd name="connsiteY16" fmla="*/ 45582 h 435005"/>
              <a:gd name="connsiteX17" fmla="*/ 202675 w 920008"/>
              <a:gd name="connsiteY17" fmla="*/ 37146 h 435005"/>
              <a:gd name="connsiteX18" fmla="*/ 460003 w 920008"/>
              <a:gd name="connsiteY18" fmla="*/ 0 h 4350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20008" h="435005">
                <a:moveTo>
                  <a:pt x="460003" y="0"/>
                </a:moveTo>
                <a:cubicBezTo>
                  <a:pt x="555323" y="0"/>
                  <a:pt x="643876" y="13694"/>
                  <a:pt x="717332" y="37146"/>
                </a:cubicBezTo>
                <a:lnTo>
                  <a:pt x="738965" y="45582"/>
                </a:lnTo>
                <a:lnTo>
                  <a:pt x="738967" y="45581"/>
                </a:lnTo>
                <a:lnTo>
                  <a:pt x="785447" y="63704"/>
                </a:lnTo>
                <a:cubicBezTo>
                  <a:pt x="847913" y="93224"/>
                  <a:pt x="892507" y="131191"/>
                  <a:pt x="910899" y="173667"/>
                </a:cubicBezTo>
                <a:lnTo>
                  <a:pt x="920008" y="216365"/>
                </a:lnTo>
                <a:lnTo>
                  <a:pt x="892517" y="289322"/>
                </a:lnTo>
                <a:lnTo>
                  <a:pt x="884081" y="302164"/>
                </a:lnTo>
                <a:cubicBezTo>
                  <a:pt x="814212" y="380230"/>
                  <a:pt x="650643" y="435005"/>
                  <a:pt x="460003" y="435005"/>
                </a:cubicBezTo>
                <a:cubicBezTo>
                  <a:pt x="269363" y="435005"/>
                  <a:pt x="105794" y="380230"/>
                  <a:pt x="35925" y="302164"/>
                </a:cubicBezTo>
                <a:lnTo>
                  <a:pt x="27494" y="289329"/>
                </a:lnTo>
                <a:lnTo>
                  <a:pt x="0" y="216362"/>
                </a:lnTo>
                <a:lnTo>
                  <a:pt x="9107" y="173667"/>
                </a:lnTo>
                <a:cubicBezTo>
                  <a:pt x="27500" y="131191"/>
                  <a:pt x="72093" y="93224"/>
                  <a:pt x="134559" y="63704"/>
                </a:cubicBezTo>
                <a:lnTo>
                  <a:pt x="181040" y="45581"/>
                </a:lnTo>
                <a:lnTo>
                  <a:pt x="181042" y="45582"/>
                </a:lnTo>
                <a:lnTo>
                  <a:pt x="202675" y="37146"/>
                </a:lnTo>
                <a:cubicBezTo>
                  <a:pt x="276131" y="13694"/>
                  <a:pt x="364683" y="0"/>
                  <a:pt x="460003" y="0"/>
                </a:cubicBezTo>
                <a:close/>
              </a:path>
            </a:pathLst>
          </a:custGeom>
          <a:gradFill flip="none" rotWithShape="1">
            <a:gsLst>
              <a:gs pos="100000">
                <a:schemeClr val="accent1">
                  <a:lumMod val="90000"/>
                </a:schemeClr>
              </a:gs>
              <a:gs pos="0">
                <a:schemeClr val="accent1">
                  <a:lumMod val="75000"/>
                  <a:lumOff val="25000"/>
                </a:schemeClr>
              </a:gs>
            </a:gsLst>
            <a:lin ang="2700000" scaled="1"/>
            <a:tileRect/>
          </a:gradFill>
          <a:ln w="25400">
            <a:noFill/>
          </a:ln>
          <a:effectLst>
            <a:outerShdw blurRad="254000" dist="177800" dir="2700000" algn="tl" rotWithShape="0">
              <a:schemeClr val="accent1">
                <a:alpha val="20000"/>
              </a:schemeClr>
            </a:outerShdw>
          </a:effectLst>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485899" tIns="63500" rIns="1485901" bIns="63500" numCol="1" spcCol="1270" anchor="ctr" anchorCtr="0">
            <a:noAutofit/>
          </a:bodyPr>
          <a:lstStyle/>
          <a:p>
            <a:pPr algn="ctr" defTabSz="2222500">
              <a:lnSpc>
                <a:spcPct val="90000"/>
              </a:lnSpc>
              <a:spcBef>
                <a:spcPct val="0"/>
              </a:spcBef>
              <a:spcAft>
                <a:spcPct val="35000"/>
              </a:spcAft>
            </a:pPr>
            <a:endParaRPr lang="en-US" sz="3200">
              <a:solidFill>
                <a:prstClr val="white"/>
              </a:solidFill>
              <a:latin typeface="等线" panose="020F0502020204030204"/>
              <a:ea typeface="等线" panose="02010600030101010101" pitchFamily="2" charset="-122"/>
            </a:endParaRPr>
          </a:p>
        </p:txBody>
      </p:sp>
      <p:sp>
        <p:nvSpPr>
          <p:cNvPr id="40" name="任意多边形: 形状 39">
            <a:extLst>
              <a:ext uri="{FF2B5EF4-FFF2-40B4-BE49-F238E27FC236}">
                <a16:creationId xmlns:a16="http://schemas.microsoft.com/office/drawing/2014/main" id="{240B516A-F35C-7BCC-D566-6819576F19A2}"/>
              </a:ext>
            </a:extLst>
          </p:cNvPr>
          <p:cNvSpPr/>
          <p:nvPr/>
        </p:nvSpPr>
        <p:spPr>
          <a:xfrm>
            <a:off x="5663492" y="5062105"/>
            <a:ext cx="865023" cy="1017665"/>
          </a:xfrm>
          <a:custGeom>
            <a:avLst/>
            <a:gdLst>
              <a:gd name="connsiteX0" fmla="*/ 865023 w 865023"/>
              <a:gd name="connsiteY0" fmla="*/ 0 h 1017665"/>
              <a:gd name="connsiteX1" fmla="*/ 560821 w 865023"/>
              <a:gd name="connsiteY1" fmla="*/ 807308 h 1017665"/>
              <a:gd name="connsiteX2" fmla="*/ 499097 w 865023"/>
              <a:gd name="connsiteY2" fmla="*/ 971115 h 1017665"/>
              <a:gd name="connsiteX3" fmla="*/ 499096 w 865023"/>
              <a:gd name="connsiteY3" fmla="*/ 971115 h 1017665"/>
              <a:gd name="connsiteX4" fmla="*/ 497429 w 865023"/>
              <a:gd name="connsiteY4" fmla="*/ 975539 h 1017665"/>
              <a:gd name="connsiteX5" fmla="*/ 483176 w 865023"/>
              <a:gd name="connsiteY5" fmla="*/ 996677 h 1017665"/>
              <a:gd name="connsiteX6" fmla="*/ 432507 w 865023"/>
              <a:gd name="connsiteY6" fmla="*/ 1017665 h 1017665"/>
              <a:gd name="connsiteX7" fmla="*/ 381838 w 865023"/>
              <a:gd name="connsiteY7" fmla="*/ 996677 h 1017665"/>
              <a:gd name="connsiteX8" fmla="*/ 367595 w 865023"/>
              <a:gd name="connsiteY8" fmla="*/ 975552 h 1017665"/>
              <a:gd name="connsiteX9" fmla="*/ 365914 w 865023"/>
              <a:gd name="connsiteY9" fmla="*/ 971091 h 1017665"/>
              <a:gd name="connsiteX10" fmla="*/ 0 w 865023"/>
              <a:gd name="connsiteY10" fmla="*/ 7 h 1017665"/>
              <a:gd name="connsiteX11" fmla="*/ 3 w 865023"/>
              <a:gd name="connsiteY11" fmla="*/ 11 h 1017665"/>
              <a:gd name="connsiteX12" fmla="*/ 8431 w 865023"/>
              <a:gd name="connsiteY12" fmla="*/ 12842 h 1017665"/>
              <a:gd name="connsiteX13" fmla="*/ 432509 w 865023"/>
              <a:gd name="connsiteY13" fmla="*/ 145683 h 1017665"/>
              <a:gd name="connsiteX14" fmla="*/ 856587 w 865023"/>
              <a:gd name="connsiteY14" fmla="*/ 12842 h 1017665"/>
              <a:gd name="connsiteX15" fmla="*/ 865022 w 865023"/>
              <a:gd name="connsiteY15" fmla="*/ 2 h 10176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65023" h="1017665">
                <a:moveTo>
                  <a:pt x="865023" y="0"/>
                </a:moveTo>
                <a:lnTo>
                  <a:pt x="560821" y="807308"/>
                </a:lnTo>
                <a:lnTo>
                  <a:pt x="499097" y="971115"/>
                </a:lnTo>
                <a:lnTo>
                  <a:pt x="499096" y="971115"/>
                </a:lnTo>
                <a:lnTo>
                  <a:pt x="497429" y="975539"/>
                </a:lnTo>
                <a:lnTo>
                  <a:pt x="483176" y="996677"/>
                </a:lnTo>
                <a:cubicBezTo>
                  <a:pt x="470209" y="1009645"/>
                  <a:pt x="452295" y="1017665"/>
                  <a:pt x="432507" y="1017665"/>
                </a:cubicBezTo>
                <a:cubicBezTo>
                  <a:pt x="412720" y="1017665"/>
                  <a:pt x="394805" y="1009645"/>
                  <a:pt x="381838" y="996677"/>
                </a:cubicBezTo>
                <a:lnTo>
                  <a:pt x="367595" y="975552"/>
                </a:lnTo>
                <a:lnTo>
                  <a:pt x="365914" y="971091"/>
                </a:lnTo>
                <a:lnTo>
                  <a:pt x="0" y="7"/>
                </a:lnTo>
                <a:lnTo>
                  <a:pt x="3" y="11"/>
                </a:lnTo>
                <a:lnTo>
                  <a:pt x="8431" y="12842"/>
                </a:lnTo>
                <a:cubicBezTo>
                  <a:pt x="78300" y="90908"/>
                  <a:pt x="241869" y="145683"/>
                  <a:pt x="432509" y="145683"/>
                </a:cubicBezTo>
                <a:cubicBezTo>
                  <a:pt x="623149" y="145683"/>
                  <a:pt x="786718" y="90908"/>
                  <a:pt x="856587" y="12842"/>
                </a:cubicBezTo>
                <a:lnTo>
                  <a:pt x="865022" y="2"/>
                </a:lnTo>
                <a:close/>
              </a:path>
            </a:pathLst>
          </a:custGeom>
          <a:gradFill flip="none" rotWithShape="1">
            <a:gsLst>
              <a:gs pos="0">
                <a:schemeClr val="accent1">
                  <a:lumMod val="100000"/>
                </a:schemeClr>
              </a:gs>
              <a:gs pos="100000">
                <a:schemeClr val="accent1">
                  <a:lumMod val="60000"/>
                </a:schemeClr>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solidFill>
                <a:srgbClr val="FFFFFF"/>
              </a:solidFill>
              <a:latin typeface="Arial"/>
            </a:endParaRPr>
          </a:p>
        </p:txBody>
      </p:sp>
      <p:sp>
        <p:nvSpPr>
          <p:cNvPr id="38" name="任意多边形: 形状 37">
            <a:extLst>
              <a:ext uri="{FF2B5EF4-FFF2-40B4-BE49-F238E27FC236}">
                <a16:creationId xmlns:a16="http://schemas.microsoft.com/office/drawing/2014/main" id="{627BCB42-BD52-0FA0-6FED-D8D66BBABBD4}"/>
              </a:ext>
            </a:extLst>
          </p:cNvPr>
          <p:cNvSpPr/>
          <p:nvPr/>
        </p:nvSpPr>
        <p:spPr>
          <a:xfrm>
            <a:off x="5160680" y="3534373"/>
            <a:ext cx="1870640" cy="435006"/>
          </a:xfrm>
          <a:custGeom>
            <a:avLst/>
            <a:gdLst>
              <a:gd name="connsiteX0" fmla="*/ 935320 w 1870640"/>
              <a:gd name="connsiteY0" fmla="*/ 0 h 435006"/>
              <a:gd name="connsiteX1" fmla="*/ 1461691 w 1870640"/>
              <a:gd name="connsiteY1" fmla="*/ 37146 h 435006"/>
              <a:gd name="connsiteX2" fmla="*/ 1486139 w 1870640"/>
              <a:gd name="connsiteY2" fmla="*/ 41806 h 435006"/>
              <a:gd name="connsiteX3" fmla="*/ 1601022 w 1870640"/>
              <a:gd name="connsiteY3" fmla="*/ 63705 h 435006"/>
              <a:gd name="connsiteX4" fmla="*/ 1857638 w 1870640"/>
              <a:gd name="connsiteY4" fmla="*/ 173668 h 435006"/>
              <a:gd name="connsiteX5" fmla="*/ 1870640 w 1870640"/>
              <a:gd name="connsiteY5" fmla="*/ 193351 h 435006"/>
              <a:gd name="connsiteX6" fmla="*/ 1838564 w 1870640"/>
              <a:gd name="connsiteY6" fmla="*/ 278476 h 435006"/>
              <a:gd name="connsiteX7" fmla="*/ 1834440 w 1870640"/>
              <a:gd name="connsiteY7" fmla="*/ 282182 h 435006"/>
              <a:gd name="connsiteX8" fmla="*/ 935320 w 1870640"/>
              <a:gd name="connsiteY8" fmla="*/ 435006 h 435006"/>
              <a:gd name="connsiteX9" fmla="*/ 36200 w 1870640"/>
              <a:gd name="connsiteY9" fmla="*/ 282182 h 435006"/>
              <a:gd name="connsiteX10" fmla="*/ 32076 w 1870640"/>
              <a:gd name="connsiteY10" fmla="*/ 278476 h 435006"/>
              <a:gd name="connsiteX11" fmla="*/ 0 w 1870640"/>
              <a:gd name="connsiteY11" fmla="*/ 193351 h 435006"/>
              <a:gd name="connsiteX12" fmla="*/ 13002 w 1870640"/>
              <a:gd name="connsiteY12" fmla="*/ 173668 h 435006"/>
              <a:gd name="connsiteX13" fmla="*/ 269618 w 1870640"/>
              <a:gd name="connsiteY13" fmla="*/ 63705 h 435006"/>
              <a:gd name="connsiteX14" fmla="*/ 384501 w 1870640"/>
              <a:gd name="connsiteY14" fmla="*/ 41806 h 435006"/>
              <a:gd name="connsiteX15" fmla="*/ 408949 w 1870640"/>
              <a:gd name="connsiteY15" fmla="*/ 37146 h 435006"/>
              <a:gd name="connsiteX16" fmla="*/ 935320 w 1870640"/>
              <a:gd name="connsiteY16" fmla="*/ 0 h 435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870640" h="435006">
                <a:moveTo>
                  <a:pt x="935320" y="0"/>
                </a:moveTo>
                <a:cubicBezTo>
                  <a:pt x="1130300" y="0"/>
                  <a:pt x="1311436" y="13694"/>
                  <a:pt x="1461691" y="37146"/>
                </a:cubicBezTo>
                <a:lnTo>
                  <a:pt x="1486139" y="41806"/>
                </a:lnTo>
                <a:lnTo>
                  <a:pt x="1601022" y="63705"/>
                </a:lnTo>
                <a:cubicBezTo>
                  <a:pt x="1728798" y="93225"/>
                  <a:pt x="1820016" y="131191"/>
                  <a:pt x="1857638" y="173668"/>
                </a:cubicBezTo>
                <a:lnTo>
                  <a:pt x="1870640" y="193351"/>
                </a:lnTo>
                <a:lnTo>
                  <a:pt x="1838564" y="278476"/>
                </a:lnTo>
                <a:lnTo>
                  <a:pt x="1834440" y="282182"/>
                </a:lnTo>
                <a:cubicBezTo>
                  <a:pt x="1715242" y="370721"/>
                  <a:pt x="1357776" y="435006"/>
                  <a:pt x="935320" y="435006"/>
                </a:cubicBezTo>
                <a:cubicBezTo>
                  <a:pt x="512864" y="435006"/>
                  <a:pt x="155398" y="370721"/>
                  <a:pt x="36200" y="282182"/>
                </a:cubicBezTo>
                <a:lnTo>
                  <a:pt x="32076" y="278476"/>
                </a:lnTo>
                <a:lnTo>
                  <a:pt x="0" y="193351"/>
                </a:lnTo>
                <a:lnTo>
                  <a:pt x="13002" y="173668"/>
                </a:lnTo>
                <a:cubicBezTo>
                  <a:pt x="50624" y="131191"/>
                  <a:pt x="141842" y="93225"/>
                  <a:pt x="269618" y="63705"/>
                </a:cubicBezTo>
                <a:lnTo>
                  <a:pt x="384501" y="41806"/>
                </a:lnTo>
                <a:lnTo>
                  <a:pt x="408949" y="37146"/>
                </a:lnTo>
                <a:cubicBezTo>
                  <a:pt x="559205" y="13694"/>
                  <a:pt x="740340" y="0"/>
                  <a:pt x="935320" y="0"/>
                </a:cubicBezTo>
                <a:close/>
              </a:path>
            </a:pathLst>
          </a:custGeom>
          <a:gradFill flip="none" rotWithShape="1">
            <a:gsLst>
              <a:gs pos="100000">
                <a:schemeClr val="accent1">
                  <a:lumMod val="100000"/>
                </a:schemeClr>
              </a:gs>
              <a:gs pos="0">
                <a:schemeClr val="accent1">
                  <a:lumMod val="55000"/>
                  <a:lumOff val="45000"/>
                </a:schemeClr>
              </a:gs>
            </a:gsLst>
            <a:lin ang="2700000" scaled="1"/>
            <a:tileRect/>
          </a:gradFill>
          <a:ln w="25400">
            <a:noFill/>
          </a:ln>
          <a:effectLst>
            <a:outerShdw blurRad="254000" dist="177800" dir="2700000" algn="tl" rotWithShape="0">
              <a:schemeClr val="accent1">
                <a:alpha val="20000"/>
              </a:schemeClr>
            </a:outerShdw>
          </a:effectLst>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485899" tIns="63500" rIns="1485901" bIns="63500" numCol="1" spcCol="1270" anchor="ctr" anchorCtr="0">
            <a:noAutofit/>
          </a:bodyPr>
          <a:lstStyle/>
          <a:p>
            <a:pPr algn="ctr" defTabSz="2222500">
              <a:lnSpc>
                <a:spcPct val="90000"/>
              </a:lnSpc>
              <a:spcBef>
                <a:spcPct val="0"/>
              </a:spcBef>
              <a:spcAft>
                <a:spcPct val="35000"/>
              </a:spcAft>
            </a:pPr>
            <a:endParaRPr lang="en-US" sz="3200">
              <a:solidFill>
                <a:prstClr val="white"/>
              </a:solidFill>
              <a:latin typeface="等线" panose="020F0502020204030204"/>
              <a:ea typeface="等线" panose="02010600030101010101" pitchFamily="2" charset="-122"/>
            </a:endParaRPr>
          </a:p>
        </p:txBody>
      </p:sp>
      <p:sp>
        <p:nvSpPr>
          <p:cNvPr id="34" name="任意多边形: 形状 33">
            <a:extLst>
              <a:ext uri="{FF2B5EF4-FFF2-40B4-BE49-F238E27FC236}">
                <a16:creationId xmlns:a16="http://schemas.microsoft.com/office/drawing/2014/main" id="{CDCA6427-7844-EF1C-1585-71B870DA8AEA}"/>
              </a:ext>
            </a:extLst>
          </p:cNvPr>
          <p:cNvSpPr/>
          <p:nvPr/>
        </p:nvSpPr>
        <p:spPr>
          <a:xfrm>
            <a:off x="5192755" y="3812848"/>
            <a:ext cx="1806488" cy="1031410"/>
          </a:xfrm>
          <a:custGeom>
            <a:avLst/>
            <a:gdLst>
              <a:gd name="connsiteX0" fmla="*/ 903243 w 1806488"/>
              <a:gd name="connsiteY0" fmla="*/ 596404 h 1031410"/>
              <a:gd name="connsiteX1" fmla="*/ 1492483 w 1806488"/>
              <a:gd name="connsiteY1" fmla="*/ 770072 h 1031410"/>
              <a:gd name="connsiteX2" fmla="*/ 1502618 w 1806488"/>
              <a:gd name="connsiteY2" fmla="*/ 806430 h 1031410"/>
              <a:gd name="connsiteX3" fmla="*/ 1476085 w 1806488"/>
              <a:gd name="connsiteY3" fmla="*/ 876844 h 1031410"/>
              <a:gd name="connsiteX4" fmla="*/ 1457436 w 1806488"/>
              <a:gd name="connsiteY4" fmla="*/ 898569 h 1031410"/>
              <a:gd name="connsiteX5" fmla="*/ 1239525 w 1806488"/>
              <a:gd name="connsiteY5" fmla="*/ 994264 h 1031410"/>
              <a:gd name="connsiteX6" fmla="*/ 1182208 w 1806488"/>
              <a:gd name="connsiteY6" fmla="*/ 1005515 h 1031410"/>
              <a:gd name="connsiteX7" fmla="*/ 1137359 w 1806488"/>
              <a:gd name="connsiteY7" fmla="*/ 1014318 h 1031410"/>
              <a:gd name="connsiteX8" fmla="*/ 903244 w 1806488"/>
              <a:gd name="connsiteY8" fmla="*/ 1031410 h 1031410"/>
              <a:gd name="connsiteX9" fmla="*/ 669129 w 1806488"/>
              <a:gd name="connsiteY9" fmla="*/ 1014318 h 1031410"/>
              <a:gd name="connsiteX10" fmla="*/ 624281 w 1806488"/>
              <a:gd name="connsiteY10" fmla="*/ 1005515 h 1031410"/>
              <a:gd name="connsiteX11" fmla="*/ 645916 w 1806488"/>
              <a:gd name="connsiteY11" fmla="*/ 997079 h 1031410"/>
              <a:gd name="connsiteX12" fmla="*/ 645915 w 1806488"/>
              <a:gd name="connsiteY12" fmla="*/ 997079 h 1031410"/>
              <a:gd name="connsiteX13" fmla="*/ 624280 w 1806488"/>
              <a:gd name="connsiteY13" fmla="*/ 1005515 h 1031410"/>
              <a:gd name="connsiteX14" fmla="*/ 566961 w 1806488"/>
              <a:gd name="connsiteY14" fmla="*/ 994264 h 1031410"/>
              <a:gd name="connsiteX15" fmla="*/ 349050 w 1806488"/>
              <a:gd name="connsiteY15" fmla="*/ 898569 h 1031410"/>
              <a:gd name="connsiteX16" fmla="*/ 330404 w 1806488"/>
              <a:gd name="connsiteY16" fmla="*/ 876848 h 1031410"/>
              <a:gd name="connsiteX17" fmla="*/ 303869 w 1806488"/>
              <a:gd name="connsiteY17" fmla="*/ 806427 h 1031410"/>
              <a:gd name="connsiteX18" fmla="*/ 314003 w 1806488"/>
              <a:gd name="connsiteY18" fmla="*/ 770072 h 1031410"/>
              <a:gd name="connsiteX19" fmla="*/ 903243 w 1806488"/>
              <a:gd name="connsiteY19" fmla="*/ 596404 h 1031410"/>
              <a:gd name="connsiteX20" fmla="*/ 0 w 1806488"/>
              <a:gd name="connsiteY20" fmla="*/ 0 h 1031410"/>
              <a:gd name="connsiteX21" fmla="*/ 4124 w 1806488"/>
              <a:gd name="connsiteY21" fmla="*/ 3706 h 1031410"/>
              <a:gd name="connsiteX22" fmla="*/ 903244 w 1806488"/>
              <a:gd name="connsiteY22" fmla="*/ 156530 h 1031410"/>
              <a:gd name="connsiteX23" fmla="*/ 1802364 w 1806488"/>
              <a:gd name="connsiteY23" fmla="*/ 3706 h 1031410"/>
              <a:gd name="connsiteX24" fmla="*/ 1806488 w 1806488"/>
              <a:gd name="connsiteY24" fmla="*/ 0 h 1031410"/>
              <a:gd name="connsiteX25" fmla="*/ 1502618 w 1806488"/>
              <a:gd name="connsiteY25" fmla="*/ 806429 h 1031410"/>
              <a:gd name="connsiteX26" fmla="*/ 1492483 w 1806488"/>
              <a:gd name="connsiteY26" fmla="*/ 770071 h 1031410"/>
              <a:gd name="connsiteX27" fmla="*/ 903243 w 1806488"/>
              <a:gd name="connsiteY27" fmla="*/ 596403 h 1031410"/>
              <a:gd name="connsiteX28" fmla="*/ 314003 w 1806488"/>
              <a:gd name="connsiteY28" fmla="*/ 770071 h 1031410"/>
              <a:gd name="connsiteX29" fmla="*/ 303869 w 1806488"/>
              <a:gd name="connsiteY29" fmla="*/ 806426 h 1031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806488" h="1031410">
                <a:moveTo>
                  <a:pt x="903243" y="596404"/>
                </a:moveTo>
                <a:cubicBezTo>
                  <a:pt x="1193898" y="596404"/>
                  <a:pt x="1436399" y="670960"/>
                  <a:pt x="1492483" y="770072"/>
                </a:cubicBezTo>
                <a:lnTo>
                  <a:pt x="1502618" y="806430"/>
                </a:lnTo>
                <a:lnTo>
                  <a:pt x="1476085" y="876844"/>
                </a:lnTo>
                <a:lnTo>
                  <a:pt x="1457436" y="898569"/>
                </a:lnTo>
                <a:cubicBezTo>
                  <a:pt x="1411783" y="937601"/>
                  <a:pt x="1335518" y="970812"/>
                  <a:pt x="1239525" y="994264"/>
                </a:cubicBezTo>
                <a:lnTo>
                  <a:pt x="1182208" y="1005515"/>
                </a:lnTo>
                <a:lnTo>
                  <a:pt x="1137359" y="1014318"/>
                </a:lnTo>
                <a:cubicBezTo>
                  <a:pt x="1065402" y="1025324"/>
                  <a:pt x="986288" y="1031410"/>
                  <a:pt x="903244" y="1031410"/>
                </a:cubicBezTo>
                <a:cubicBezTo>
                  <a:pt x="820200" y="1031410"/>
                  <a:pt x="741087" y="1025324"/>
                  <a:pt x="669129" y="1014318"/>
                </a:cubicBezTo>
                <a:lnTo>
                  <a:pt x="624281" y="1005515"/>
                </a:lnTo>
                <a:lnTo>
                  <a:pt x="645916" y="997079"/>
                </a:lnTo>
                <a:cubicBezTo>
                  <a:pt x="649522" y="995673"/>
                  <a:pt x="649521" y="995673"/>
                  <a:pt x="645915" y="997079"/>
                </a:cubicBezTo>
                <a:lnTo>
                  <a:pt x="624280" y="1005515"/>
                </a:lnTo>
                <a:lnTo>
                  <a:pt x="566961" y="994264"/>
                </a:lnTo>
                <a:cubicBezTo>
                  <a:pt x="470968" y="970812"/>
                  <a:pt x="394703" y="937601"/>
                  <a:pt x="349050" y="898569"/>
                </a:cubicBezTo>
                <a:lnTo>
                  <a:pt x="330404" y="876848"/>
                </a:lnTo>
                <a:lnTo>
                  <a:pt x="303869" y="806427"/>
                </a:lnTo>
                <a:lnTo>
                  <a:pt x="314003" y="770072"/>
                </a:lnTo>
                <a:cubicBezTo>
                  <a:pt x="370087" y="670960"/>
                  <a:pt x="612588" y="596404"/>
                  <a:pt x="903243" y="596404"/>
                </a:cubicBezTo>
                <a:close/>
                <a:moveTo>
                  <a:pt x="0" y="0"/>
                </a:moveTo>
                <a:lnTo>
                  <a:pt x="4124" y="3706"/>
                </a:lnTo>
                <a:cubicBezTo>
                  <a:pt x="123322" y="92245"/>
                  <a:pt x="480788" y="156530"/>
                  <a:pt x="903244" y="156530"/>
                </a:cubicBezTo>
                <a:cubicBezTo>
                  <a:pt x="1325700" y="156530"/>
                  <a:pt x="1683166" y="92245"/>
                  <a:pt x="1802364" y="3706"/>
                </a:cubicBezTo>
                <a:lnTo>
                  <a:pt x="1806488" y="0"/>
                </a:lnTo>
                <a:lnTo>
                  <a:pt x="1502618" y="806429"/>
                </a:lnTo>
                <a:lnTo>
                  <a:pt x="1492483" y="770071"/>
                </a:lnTo>
                <a:cubicBezTo>
                  <a:pt x="1436399" y="670959"/>
                  <a:pt x="1193898" y="596403"/>
                  <a:pt x="903243" y="596403"/>
                </a:cubicBezTo>
                <a:cubicBezTo>
                  <a:pt x="612588" y="596403"/>
                  <a:pt x="370087" y="670959"/>
                  <a:pt x="314003" y="770071"/>
                </a:cubicBezTo>
                <a:lnTo>
                  <a:pt x="303869" y="806426"/>
                </a:lnTo>
                <a:close/>
              </a:path>
            </a:pathLst>
          </a:custGeom>
          <a:gradFill flip="none" rotWithShape="1">
            <a:gsLst>
              <a:gs pos="0">
                <a:schemeClr val="accent1">
                  <a:lumMod val="75000"/>
                  <a:lumOff val="25000"/>
                </a:schemeClr>
              </a:gs>
              <a:gs pos="100000">
                <a:schemeClr val="accent1">
                  <a:lumMod val="80000"/>
                </a:schemeClr>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solidFill>
                <a:srgbClr val="FFFFFF"/>
              </a:solidFill>
              <a:latin typeface="Arial"/>
            </a:endParaRPr>
          </a:p>
        </p:txBody>
      </p:sp>
      <p:sp>
        <p:nvSpPr>
          <p:cNvPr id="30" name="任意多边形: 形状 29">
            <a:extLst>
              <a:ext uri="{FF2B5EF4-FFF2-40B4-BE49-F238E27FC236}">
                <a16:creationId xmlns:a16="http://schemas.microsoft.com/office/drawing/2014/main" id="{6FD7A0FA-2DCA-018D-B8AF-815EE79CD1A7}"/>
              </a:ext>
            </a:extLst>
          </p:cNvPr>
          <p:cNvSpPr/>
          <p:nvPr/>
        </p:nvSpPr>
        <p:spPr>
          <a:xfrm>
            <a:off x="4698553" y="2299848"/>
            <a:ext cx="2794895" cy="435007"/>
          </a:xfrm>
          <a:custGeom>
            <a:avLst/>
            <a:gdLst>
              <a:gd name="connsiteX0" fmla="*/ 674350 w 2794895"/>
              <a:gd name="connsiteY0" fmla="*/ 31386 h 435007"/>
              <a:gd name="connsiteX1" fmla="*/ 765075 w 2794895"/>
              <a:gd name="connsiteY1" fmla="*/ 42444 h 435007"/>
              <a:gd name="connsiteX2" fmla="*/ 1397448 w 2794895"/>
              <a:gd name="connsiteY2" fmla="*/ 74747 h 435007"/>
              <a:gd name="connsiteX3" fmla="*/ 2029821 w 2794895"/>
              <a:gd name="connsiteY3" fmla="*/ 42444 h 435007"/>
              <a:gd name="connsiteX4" fmla="*/ 2120546 w 2794895"/>
              <a:gd name="connsiteY4" fmla="*/ 31386 h 435007"/>
              <a:gd name="connsiteX5" fmla="*/ 2181694 w 2794895"/>
              <a:gd name="connsiteY5" fmla="*/ 37147 h 435007"/>
              <a:gd name="connsiteX6" fmla="*/ 2792877 w 2794895"/>
              <a:gd name="connsiteY6" fmla="*/ 195266 h 435007"/>
              <a:gd name="connsiteX7" fmla="*/ 2794895 w 2794895"/>
              <a:gd name="connsiteY7" fmla="*/ 201461 h 435007"/>
              <a:gd name="connsiteX8" fmla="*/ 2772772 w 2794895"/>
              <a:gd name="connsiteY8" fmla="*/ 260171 h 435007"/>
              <a:gd name="connsiteX9" fmla="*/ 2771622 w 2794895"/>
              <a:gd name="connsiteY9" fmla="*/ 261339 h 435007"/>
              <a:gd name="connsiteX10" fmla="*/ 1397447 w 2794895"/>
              <a:gd name="connsiteY10" fmla="*/ 435007 h 435007"/>
              <a:gd name="connsiteX11" fmla="*/ 23272 w 2794895"/>
              <a:gd name="connsiteY11" fmla="*/ 261339 h 435007"/>
              <a:gd name="connsiteX12" fmla="*/ 22125 w 2794895"/>
              <a:gd name="connsiteY12" fmla="*/ 260174 h 435007"/>
              <a:gd name="connsiteX13" fmla="*/ 0 w 2794895"/>
              <a:gd name="connsiteY13" fmla="*/ 201458 h 435007"/>
              <a:gd name="connsiteX14" fmla="*/ 2017 w 2794895"/>
              <a:gd name="connsiteY14" fmla="*/ 195266 h 435007"/>
              <a:gd name="connsiteX15" fmla="*/ 613200 w 2794895"/>
              <a:gd name="connsiteY15" fmla="*/ 37147 h 435007"/>
              <a:gd name="connsiteX16" fmla="*/ 1397447 w 2794895"/>
              <a:gd name="connsiteY16" fmla="*/ 0 h 435007"/>
              <a:gd name="connsiteX17" fmla="*/ 2066044 w 2794895"/>
              <a:gd name="connsiteY17" fmla="*/ 26251 h 435007"/>
              <a:gd name="connsiteX18" fmla="*/ 2120546 w 2794895"/>
              <a:gd name="connsiteY18" fmla="*/ 31385 h 435007"/>
              <a:gd name="connsiteX19" fmla="*/ 2029821 w 2794895"/>
              <a:gd name="connsiteY19" fmla="*/ 42443 h 435007"/>
              <a:gd name="connsiteX20" fmla="*/ 1397448 w 2794895"/>
              <a:gd name="connsiteY20" fmla="*/ 74746 h 435007"/>
              <a:gd name="connsiteX21" fmla="*/ 765075 w 2794895"/>
              <a:gd name="connsiteY21" fmla="*/ 42443 h 435007"/>
              <a:gd name="connsiteX22" fmla="*/ 674350 w 2794895"/>
              <a:gd name="connsiteY22" fmla="*/ 31385 h 435007"/>
              <a:gd name="connsiteX23" fmla="*/ 728850 w 2794895"/>
              <a:gd name="connsiteY23" fmla="*/ 26251 h 435007"/>
              <a:gd name="connsiteX24" fmla="*/ 1397447 w 2794895"/>
              <a:gd name="connsiteY24" fmla="*/ 0 h 435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794895" h="435007">
                <a:moveTo>
                  <a:pt x="674350" y="31386"/>
                </a:moveTo>
                <a:lnTo>
                  <a:pt x="765075" y="42444"/>
                </a:lnTo>
                <a:cubicBezTo>
                  <a:pt x="959441" y="63245"/>
                  <a:pt x="1173136" y="74747"/>
                  <a:pt x="1397448" y="74747"/>
                </a:cubicBezTo>
                <a:cubicBezTo>
                  <a:pt x="1621761" y="74747"/>
                  <a:pt x="1835455" y="63245"/>
                  <a:pt x="2029821" y="42444"/>
                </a:cubicBezTo>
                <a:lnTo>
                  <a:pt x="2120546" y="31386"/>
                </a:lnTo>
                <a:lnTo>
                  <a:pt x="2181694" y="37147"/>
                </a:lnTo>
                <a:cubicBezTo>
                  <a:pt x="2517496" y="72325"/>
                  <a:pt x="2749779" y="129459"/>
                  <a:pt x="2792877" y="195266"/>
                </a:cubicBezTo>
                <a:lnTo>
                  <a:pt x="2794895" y="201461"/>
                </a:lnTo>
                <a:lnTo>
                  <a:pt x="2772772" y="260171"/>
                </a:lnTo>
                <a:lnTo>
                  <a:pt x="2771622" y="261339"/>
                </a:lnTo>
                <a:cubicBezTo>
                  <a:pt x="2640828" y="360451"/>
                  <a:pt x="2075287" y="435007"/>
                  <a:pt x="1397447" y="435007"/>
                </a:cubicBezTo>
                <a:cubicBezTo>
                  <a:pt x="719607" y="435007"/>
                  <a:pt x="154066" y="360451"/>
                  <a:pt x="23272" y="261339"/>
                </a:cubicBezTo>
                <a:lnTo>
                  <a:pt x="22125" y="260174"/>
                </a:lnTo>
                <a:lnTo>
                  <a:pt x="0" y="201458"/>
                </a:lnTo>
                <a:lnTo>
                  <a:pt x="2017" y="195266"/>
                </a:lnTo>
                <a:cubicBezTo>
                  <a:pt x="45115" y="129459"/>
                  <a:pt x="277398" y="72325"/>
                  <a:pt x="613200" y="37147"/>
                </a:cubicBezTo>
                <a:close/>
                <a:moveTo>
                  <a:pt x="1397447" y="0"/>
                </a:moveTo>
                <a:cubicBezTo>
                  <a:pt x="1639533" y="0"/>
                  <a:pt x="1867295" y="9510"/>
                  <a:pt x="2066044" y="26251"/>
                </a:cubicBezTo>
                <a:lnTo>
                  <a:pt x="2120546" y="31385"/>
                </a:lnTo>
                <a:lnTo>
                  <a:pt x="2029821" y="42443"/>
                </a:lnTo>
                <a:cubicBezTo>
                  <a:pt x="1835455" y="63244"/>
                  <a:pt x="1621761" y="74746"/>
                  <a:pt x="1397448" y="74746"/>
                </a:cubicBezTo>
                <a:cubicBezTo>
                  <a:pt x="1173136" y="74746"/>
                  <a:pt x="959441" y="63244"/>
                  <a:pt x="765075" y="42443"/>
                </a:cubicBezTo>
                <a:lnTo>
                  <a:pt x="674350" y="31385"/>
                </a:lnTo>
                <a:lnTo>
                  <a:pt x="728850" y="26251"/>
                </a:lnTo>
                <a:cubicBezTo>
                  <a:pt x="927599" y="9510"/>
                  <a:pt x="1155362" y="0"/>
                  <a:pt x="1397447" y="0"/>
                </a:cubicBezTo>
                <a:close/>
              </a:path>
            </a:pathLst>
          </a:custGeom>
          <a:gradFill flip="none" rotWithShape="1">
            <a:gsLst>
              <a:gs pos="100000">
                <a:schemeClr val="accent1">
                  <a:lumMod val="80000"/>
                  <a:lumOff val="20000"/>
                </a:schemeClr>
              </a:gs>
              <a:gs pos="0">
                <a:schemeClr val="accent1">
                  <a:lumMod val="35000"/>
                  <a:lumOff val="65000"/>
                </a:schemeClr>
              </a:gs>
            </a:gsLst>
            <a:lin ang="2700000" scaled="1"/>
            <a:tileRect/>
          </a:gradFill>
          <a:ln w="25400">
            <a:noFill/>
          </a:ln>
          <a:effectLst>
            <a:outerShdw blurRad="254000" dist="177800" dir="2700000" algn="tl" rotWithShape="0">
              <a:schemeClr val="accent1">
                <a:alpha val="20000"/>
              </a:schemeClr>
            </a:outerShdw>
          </a:effectLst>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485899" tIns="63500" rIns="1485901" bIns="63500" numCol="1" spcCol="1270" anchor="ctr" anchorCtr="0">
            <a:noAutofit/>
          </a:bodyPr>
          <a:lstStyle/>
          <a:p>
            <a:pPr algn="ctr" defTabSz="2222500">
              <a:lnSpc>
                <a:spcPct val="90000"/>
              </a:lnSpc>
              <a:spcBef>
                <a:spcPct val="0"/>
              </a:spcBef>
              <a:spcAft>
                <a:spcPct val="35000"/>
              </a:spcAft>
            </a:pPr>
            <a:endParaRPr lang="en-US" sz="3200">
              <a:solidFill>
                <a:prstClr val="white"/>
              </a:solidFill>
              <a:latin typeface="等线" panose="020F0502020204030204"/>
              <a:ea typeface="等线" panose="02010600030101010101" pitchFamily="2" charset="-122"/>
            </a:endParaRPr>
          </a:p>
        </p:txBody>
      </p:sp>
      <p:sp>
        <p:nvSpPr>
          <p:cNvPr id="32" name="任意多边形: 形状 31">
            <a:extLst>
              <a:ext uri="{FF2B5EF4-FFF2-40B4-BE49-F238E27FC236}">
                <a16:creationId xmlns:a16="http://schemas.microsoft.com/office/drawing/2014/main" id="{551D30C2-4FD1-423D-7D41-BEE40056CBF1}"/>
              </a:ext>
            </a:extLst>
          </p:cNvPr>
          <p:cNvSpPr/>
          <p:nvPr/>
        </p:nvSpPr>
        <p:spPr>
          <a:xfrm>
            <a:off x="4720678" y="2560017"/>
            <a:ext cx="2750647" cy="1048343"/>
          </a:xfrm>
          <a:custGeom>
            <a:avLst/>
            <a:gdLst>
              <a:gd name="connsiteX0" fmla="*/ 1375323 w 2750647"/>
              <a:gd name="connsiteY0" fmla="*/ 974357 h 1048343"/>
              <a:gd name="connsiteX1" fmla="*/ 1901694 w 2750647"/>
              <a:gd name="connsiteY1" fmla="*/ 1011503 h 1048343"/>
              <a:gd name="connsiteX2" fmla="*/ 1926142 w 2750647"/>
              <a:gd name="connsiteY2" fmla="*/ 1016163 h 1048343"/>
              <a:gd name="connsiteX3" fmla="*/ 1789994 w 2750647"/>
              <a:gd name="connsiteY3" fmla="*/ 1031251 h 1048343"/>
              <a:gd name="connsiteX4" fmla="*/ 1375323 w 2750647"/>
              <a:gd name="connsiteY4" fmla="*/ 1048343 h 1048343"/>
              <a:gd name="connsiteX5" fmla="*/ 960652 w 2750647"/>
              <a:gd name="connsiteY5" fmla="*/ 1031251 h 1048343"/>
              <a:gd name="connsiteX6" fmla="*/ 824505 w 2750647"/>
              <a:gd name="connsiteY6" fmla="*/ 1016163 h 1048343"/>
              <a:gd name="connsiteX7" fmla="*/ 848952 w 2750647"/>
              <a:gd name="connsiteY7" fmla="*/ 1011503 h 1048343"/>
              <a:gd name="connsiteX8" fmla="*/ 1375323 w 2750647"/>
              <a:gd name="connsiteY8" fmla="*/ 974357 h 1048343"/>
              <a:gd name="connsiteX9" fmla="*/ 2750647 w 2750647"/>
              <a:gd name="connsiteY9" fmla="*/ 0 h 1048343"/>
              <a:gd name="connsiteX10" fmla="*/ 2439429 w 2750647"/>
              <a:gd name="connsiteY10" fmla="*/ 825927 h 1048343"/>
              <a:gd name="connsiteX11" fmla="*/ 2423156 w 2750647"/>
              <a:gd name="connsiteY11" fmla="*/ 869114 h 1048343"/>
              <a:gd name="connsiteX12" fmla="*/ 2419000 w 2750647"/>
              <a:gd name="connsiteY12" fmla="*/ 874674 h 1048343"/>
              <a:gd name="connsiteX13" fmla="*/ 1970954 w 2750647"/>
              <a:gd name="connsiteY13" fmla="*/ 1011196 h 1048343"/>
              <a:gd name="connsiteX14" fmla="*/ 1926142 w 2750647"/>
              <a:gd name="connsiteY14" fmla="*/ 1016162 h 1048343"/>
              <a:gd name="connsiteX15" fmla="*/ 1901694 w 2750647"/>
              <a:gd name="connsiteY15" fmla="*/ 1011502 h 1048343"/>
              <a:gd name="connsiteX16" fmla="*/ 1375323 w 2750647"/>
              <a:gd name="connsiteY16" fmla="*/ 974356 h 1048343"/>
              <a:gd name="connsiteX17" fmla="*/ 848952 w 2750647"/>
              <a:gd name="connsiteY17" fmla="*/ 1011502 h 1048343"/>
              <a:gd name="connsiteX18" fmla="*/ 824504 w 2750647"/>
              <a:gd name="connsiteY18" fmla="*/ 1016162 h 1048343"/>
              <a:gd name="connsiteX19" fmla="*/ 779692 w 2750647"/>
              <a:gd name="connsiteY19" fmla="*/ 1011196 h 1048343"/>
              <a:gd name="connsiteX20" fmla="*/ 331646 w 2750647"/>
              <a:gd name="connsiteY20" fmla="*/ 874674 h 1048343"/>
              <a:gd name="connsiteX21" fmla="*/ 327490 w 2750647"/>
              <a:gd name="connsiteY21" fmla="*/ 869114 h 1048343"/>
              <a:gd name="connsiteX22" fmla="*/ 311217 w 2750647"/>
              <a:gd name="connsiteY22" fmla="*/ 825927 h 1048343"/>
              <a:gd name="connsiteX23" fmla="*/ 0 w 2750647"/>
              <a:gd name="connsiteY23" fmla="*/ 3 h 1048343"/>
              <a:gd name="connsiteX24" fmla="*/ 1147 w 2750647"/>
              <a:gd name="connsiteY24" fmla="*/ 1168 h 1048343"/>
              <a:gd name="connsiteX25" fmla="*/ 1375322 w 2750647"/>
              <a:gd name="connsiteY25" fmla="*/ 174836 h 1048343"/>
              <a:gd name="connsiteX26" fmla="*/ 2749497 w 2750647"/>
              <a:gd name="connsiteY26" fmla="*/ 1168 h 1048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750647" h="1048343">
                <a:moveTo>
                  <a:pt x="1375323" y="974357"/>
                </a:moveTo>
                <a:cubicBezTo>
                  <a:pt x="1570303" y="974357"/>
                  <a:pt x="1751439" y="988051"/>
                  <a:pt x="1901694" y="1011503"/>
                </a:cubicBezTo>
                <a:lnTo>
                  <a:pt x="1926142" y="1016163"/>
                </a:lnTo>
                <a:lnTo>
                  <a:pt x="1789994" y="1031251"/>
                </a:lnTo>
                <a:cubicBezTo>
                  <a:pt x="1662541" y="1042257"/>
                  <a:pt x="1522414" y="1048343"/>
                  <a:pt x="1375323" y="1048343"/>
                </a:cubicBezTo>
                <a:cubicBezTo>
                  <a:pt x="1228233" y="1048343"/>
                  <a:pt x="1088105" y="1042257"/>
                  <a:pt x="960652" y="1031251"/>
                </a:cubicBezTo>
                <a:lnTo>
                  <a:pt x="824505" y="1016163"/>
                </a:lnTo>
                <a:lnTo>
                  <a:pt x="848952" y="1011503"/>
                </a:lnTo>
                <a:cubicBezTo>
                  <a:pt x="999208" y="988051"/>
                  <a:pt x="1180344" y="974357"/>
                  <a:pt x="1375323" y="974357"/>
                </a:cubicBezTo>
                <a:close/>
                <a:moveTo>
                  <a:pt x="2750647" y="0"/>
                </a:moveTo>
                <a:lnTo>
                  <a:pt x="2439429" y="825927"/>
                </a:lnTo>
                <a:lnTo>
                  <a:pt x="2423156" y="869114"/>
                </a:lnTo>
                <a:lnTo>
                  <a:pt x="2419000" y="874674"/>
                </a:lnTo>
                <a:cubicBezTo>
                  <a:pt x="2362237" y="931309"/>
                  <a:pt x="2197656" y="979926"/>
                  <a:pt x="1970954" y="1011196"/>
                </a:cubicBezTo>
                <a:lnTo>
                  <a:pt x="1926142" y="1016162"/>
                </a:lnTo>
                <a:lnTo>
                  <a:pt x="1901694" y="1011502"/>
                </a:lnTo>
                <a:cubicBezTo>
                  <a:pt x="1751439" y="988050"/>
                  <a:pt x="1570303" y="974356"/>
                  <a:pt x="1375323" y="974356"/>
                </a:cubicBezTo>
                <a:cubicBezTo>
                  <a:pt x="1180343" y="974356"/>
                  <a:pt x="999208" y="988050"/>
                  <a:pt x="848952" y="1011502"/>
                </a:cubicBezTo>
                <a:lnTo>
                  <a:pt x="824504" y="1016162"/>
                </a:lnTo>
                <a:lnTo>
                  <a:pt x="779692" y="1011196"/>
                </a:lnTo>
                <a:cubicBezTo>
                  <a:pt x="552990" y="979926"/>
                  <a:pt x="388409" y="931309"/>
                  <a:pt x="331646" y="874674"/>
                </a:cubicBezTo>
                <a:lnTo>
                  <a:pt x="327490" y="869114"/>
                </a:lnTo>
                <a:lnTo>
                  <a:pt x="311217" y="825927"/>
                </a:lnTo>
                <a:lnTo>
                  <a:pt x="0" y="3"/>
                </a:lnTo>
                <a:lnTo>
                  <a:pt x="1147" y="1168"/>
                </a:lnTo>
                <a:cubicBezTo>
                  <a:pt x="131941" y="100280"/>
                  <a:pt x="697482" y="174836"/>
                  <a:pt x="1375322" y="174836"/>
                </a:cubicBezTo>
                <a:cubicBezTo>
                  <a:pt x="2053162" y="174836"/>
                  <a:pt x="2618703" y="100280"/>
                  <a:pt x="2749497" y="1168"/>
                </a:cubicBezTo>
                <a:close/>
              </a:path>
            </a:pathLst>
          </a:custGeom>
          <a:gradFill flip="none" rotWithShape="1">
            <a:gsLst>
              <a:gs pos="0">
                <a:schemeClr val="accent1">
                  <a:lumMod val="55000"/>
                  <a:lumOff val="45000"/>
                </a:schemeClr>
              </a:gs>
              <a:gs pos="100000">
                <a:schemeClr val="accent1">
                  <a:lumMod val="90000"/>
                </a:schemeClr>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solidFill>
                <a:srgbClr val="FFFFFF"/>
              </a:solidFill>
              <a:latin typeface="Arial"/>
            </a:endParaRPr>
          </a:p>
        </p:txBody>
      </p:sp>
      <p:sp>
        <p:nvSpPr>
          <p:cNvPr id="36" name="任意多边形: 形状 35">
            <a:extLst>
              <a:ext uri="{FF2B5EF4-FFF2-40B4-BE49-F238E27FC236}">
                <a16:creationId xmlns:a16="http://schemas.microsoft.com/office/drawing/2014/main" id="{92BDE08B-C663-DCF1-28BA-FA025FEB3CBD}"/>
              </a:ext>
            </a:extLst>
          </p:cNvPr>
          <p:cNvSpPr/>
          <p:nvPr/>
        </p:nvSpPr>
        <p:spPr>
          <a:xfrm>
            <a:off x="4240566" y="1065321"/>
            <a:ext cx="3710866" cy="435006"/>
          </a:xfrm>
          <a:custGeom>
            <a:avLst/>
            <a:gdLst>
              <a:gd name="connsiteX0" fmla="*/ 1855433 w 3710866"/>
              <a:gd name="connsiteY0" fmla="*/ 0 h 435006"/>
              <a:gd name="connsiteX1" fmla="*/ 3710866 w 3710866"/>
              <a:gd name="connsiteY1" fmla="*/ 217503 h 435006"/>
              <a:gd name="connsiteX2" fmla="*/ 3709552 w 3710866"/>
              <a:gd name="connsiteY2" fmla="*/ 220554 h 435006"/>
              <a:gd name="connsiteX3" fmla="*/ 3701287 w 3710866"/>
              <a:gd name="connsiteY3" fmla="*/ 239741 h 435006"/>
              <a:gd name="connsiteX4" fmla="*/ 1855433 w 3710866"/>
              <a:gd name="connsiteY4" fmla="*/ 435006 h 435006"/>
              <a:gd name="connsiteX5" fmla="*/ 9579 w 3710866"/>
              <a:gd name="connsiteY5" fmla="*/ 239741 h 435006"/>
              <a:gd name="connsiteX6" fmla="*/ 1314 w 3710866"/>
              <a:gd name="connsiteY6" fmla="*/ 220554 h 435006"/>
              <a:gd name="connsiteX7" fmla="*/ 0 w 3710866"/>
              <a:gd name="connsiteY7" fmla="*/ 217503 h 435006"/>
              <a:gd name="connsiteX8" fmla="*/ 1855433 w 3710866"/>
              <a:gd name="connsiteY8" fmla="*/ 0 h 435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10866" h="435006">
                <a:moveTo>
                  <a:pt x="1855433" y="0"/>
                </a:moveTo>
                <a:cubicBezTo>
                  <a:pt x="2880160" y="0"/>
                  <a:pt x="3710866" y="97379"/>
                  <a:pt x="3710866" y="217503"/>
                </a:cubicBezTo>
                <a:lnTo>
                  <a:pt x="3709552" y="220554"/>
                </a:lnTo>
                <a:lnTo>
                  <a:pt x="3701287" y="239741"/>
                </a:lnTo>
                <a:cubicBezTo>
                  <a:pt x="3606270" y="349419"/>
                  <a:pt x="2816115" y="435006"/>
                  <a:pt x="1855433" y="435006"/>
                </a:cubicBezTo>
                <a:cubicBezTo>
                  <a:pt x="894751" y="435006"/>
                  <a:pt x="104596" y="349419"/>
                  <a:pt x="9579" y="239741"/>
                </a:cubicBezTo>
                <a:lnTo>
                  <a:pt x="1314" y="220554"/>
                </a:lnTo>
                <a:lnTo>
                  <a:pt x="0" y="217503"/>
                </a:lnTo>
                <a:cubicBezTo>
                  <a:pt x="0" y="97379"/>
                  <a:pt x="830706" y="0"/>
                  <a:pt x="1855433" y="0"/>
                </a:cubicBezTo>
                <a:close/>
              </a:path>
            </a:pathLst>
          </a:custGeom>
          <a:gradFill flip="none" rotWithShape="1">
            <a:gsLst>
              <a:gs pos="100000">
                <a:schemeClr val="accent1">
                  <a:lumMod val="60000"/>
                  <a:lumOff val="40000"/>
                </a:schemeClr>
              </a:gs>
              <a:gs pos="0">
                <a:schemeClr val="accent1">
                  <a:lumMod val="15000"/>
                  <a:lumOff val="85000"/>
                </a:schemeClr>
              </a:gs>
            </a:gsLst>
            <a:lin ang="2700000" scaled="1"/>
            <a:tileRect/>
          </a:gradFill>
          <a:ln w="25400">
            <a:noFill/>
          </a:ln>
          <a:effectLst>
            <a:outerShdw blurRad="254000" dist="177800" dir="2700000" algn="tl" rotWithShape="0">
              <a:schemeClr val="accent1">
                <a:alpha val="20000"/>
              </a:schemeClr>
            </a:outerShdw>
          </a:effectLst>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485899" tIns="63500" rIns="1485901" bIns="63500" numCol="1" spcCol="1270" anchor="ctr" anchorCtr="0">
            <a:noAutofit/>
          </a:bodyPr>
          <a:lstStyle/>
          <a:p>
            <a:pPr algn="ctr" defTabSz="2222500">
              <a:lnSpc>
                <a:spcPct val="90000"/>
              </a:lnSpc>
              <a:spcBef>
                <a:spcPct val="0"/>
              </a:spcBef>
              <a:spcAft>
                <a:spcPct val="35000"/>
              </a:spcAft>
            </a:pPr>
            <a:endParaRPr lang="en-US" sz="3200">
              <a:solidFill>
                <a:prstClr val="white"/>
              </a:solidFill>
              <a:latin typeface="等线" panose="020F0502020204030204"/>
              <a:ea typeface="等线" panose="02010600030101010101" pitchFamily="2" charset="-122"/>
            </a:endParaRPr>
          </a:p>
        </p:txBody>
      </p:sp>
      <p:sp>
        <p:nvSpPr>
          <p:cNvPr id="42" name="任意多边形: 形状 41">
            <a:extLst>
              <a:ext uri="{FF2B5EF4-FFF2-40B4-BE49-F238E27FC236}">
                <a16:creationId xmlns:a16="http://schemas.microsoft.com/office/drawing/2014/main" id="{C36B071A-9821-1328-6EB4-94664EE951A7}"/>
              </a:ext>
            </a:extLst>
          </p:cNvPr>
          <p:cNvSpPr/>
          <p:nvPr/>
        </p:nvSpPr>
        <p:spPr>
          <a:xfrm>
            <a:off x="4240567" y="1285875"/>
            <a:ext cx="3710866" cy="1088718"/>
          </a:xfrm>
          <a:custGeom>
            <a:avLst/>
            <a:gdLst>
              <a:gd name="connsiteX0" fmla="*/ 2176687 w 3710866"/>
              <a:gd name="connsiteY0" fmla="*/ 1020247 h 1088718"/>
              <a:gd name="connsiteX1" fmla="*/ 2271081 w 3710866"/>
              <a:gd name="connsiteY1" fmla="*/ 1024791 h 1088718"/>
              <a:gd name="connsiteX2" fmla="*/ 2205982 w 3710866"/>
              <a:gd name="connsiteY2" fmla="*/ 1020820 h 1088718"/>
              <a:gd name="connsiteX3" fmla="*/ 1534179 w 3710866"/>
              <a:gd name="connsiteY3" fmla="*/ 1020247 h 1088718"/>
              <a:gd name="connsiteX4" fmla="*/ 1504883 w 3710866"/>
              <a:gd name="connsiteY4" fmla="*/ 1020820 h 1088718"/>
              <a:gd name="connsiteX5" fmla="*/ 1439783 w 3710866"/>
              <a:gd name="connsiteY5" fmla="*/ 1024791 h 1088718"/>
              <a:gd name="connsiteX6" fmla="*/ 0 w 3710866"/>
              <a:gd name="connsiteY6" fmla="*/ 0 h 1088718"/>
              <a:gd name="connsiteX7" fmla="*/ 1313 w 3710866"/>
              <a:gd name="connsiteY7" fmla="*/ 0 h 1088718"/>
              <a:gd name="connsiteX8" fmla="*/ 9578 w 3710866"/>
              <a:gd name="connsiteY8" fmla="*/ 19187 h 1088718"/>
              <a:gd name="connsiteX9" fmla="*/ 1855432 w 3710866"/>
              <a:gd name="connsiteY9" fmla="*/ 214452 h 1088718"/>
              <a:gd name="connsiteX10" fmla="*/ 3701286 w 3710866"/>
              <a:gd name="connsiteY10" fmla="*/ 19187 h 1088718"/>
              <a:gd name="connsiteX11" fmla="*/ 3709551 w 3710866"/>
              <a:gd name="connsiteY11" fmla="*/ 0 h 1088718"/>
              <a:gd name="connsiteX12" fmla="*/ 3710866 w 3710866"/>
              <a:gd name="connsiteY12" fmla="*/ 0 h 1088718"/>
              <a:gd name="connsiteX13" fmla="*/ 3471470 w 3710866"/>
              <a:gd name="connsiteY13" fmla="*/ 635323 h 1088718"/>
              <a:gd name="connsiteX14" fmla="*/ 3410899 w 3710866"/>
              <a:gd name="connsiteY14" fmla="*/ 796070 h 1088718"/>
              <a:gd name="connsiteX15" fmla="*/ 3407008 w 3710866"/>
              <a:gd name="connsiteY15" fmla="*/ 799899 h 1088718"/>
              <a:gd name="connsiteX16" fmla="*/ 2629821 w 3710866"/>
              <a:gd name="connsiteY16" fmla="*/ 1039106 h 1088718"/>
              <a:gd name="connsiteX17" fmla="*/ 2578531 w 3710866"/>
              <a:gd name="connsiteY17" fmla="*/ 1045357 h 1088718"/>
              <a:gd name="connsiteX18" fmla="*/ 2524029 w 3710866"/>
              <a:gd name="connsiteY18" fmla="*/ 1040223 h 1088718"/>
              <a:gd name="connsiteX19" fmla="*/ 2473862 w 3710866"/>
              <a:gd name="connsiteY19" fmla="*/ 1037163 h 1088718"/>
              <a:gd name="connsiteX20" fmla="*/ 2569432 w 3710866"/>
              <a:gd name="connsiteY20" fmla="*/ 1045206 h 1088718"/>
              <a:gd name="connsiteX21" fmla="*/ 2487807 w 3710866"/>
              <a:gd name="connsiteY21" fmla="*/ 1056415 h 1088718"/>
              <a:gd name="connsiteX22" fmla="*/ 1855433 w 3710866"/>
              <a:gd name="connsiteY22" fmla="*/ 1088718 h 1088718"/>
              <a:gd name="connsiteX23" fmla="*/ 1223060 w 3710866"/>
              <a:gd name="connsiteY23" fmla="*/ 1056415 h 1088718"/>
              <a:gd name="connsiteX24" fmla="*/ 1141434 w 3710866"/>
              <a:gd name="connsiteY24" fmla="*/ 1045206 h 1088718"/>
              <a:gd name="connsiteX25" fmla="*/ 1237006 w 3710866"/>
              <a:gd name="connsiteY25" fmla="*/ 1037162 h 1088718"/>
              <a:gd name="connsiteX26" fmla="*/ 1186835 w 3710866"/>
              <a:gd name="connsiteY26" fmla="*/ 1040223 h 1088718"/>
              <a:gd name="connsiteX27" fmla="*/ 1132335 w 3710866"/>
              <a:gd name="connsiteY27" fmla="*/ 1045357 h 1088718"/>
              <a:gd name="connsiteX28" fmla="*/ 1081045 w 3710866"/>
              <a:gd name="connsiteY28" fmla="*/ 1039106 h 1088718"/>
              <a:gd name="connsiteX29" fmla="*/ 303858 w 3710866"/>
              <a:gd name="connsiteY29" fmla="*/ 799899 h 1088718"/>
              <a:gd name="connsiteX30" fmla="*/ 299967 w 3710866"/>
              <a:gd name="connsiteY30" fmla="*/ 796070 h 1088718"/>
              <a:gd name="connsiteX31" fmla="*/ 239396 w 3710866"/>
              <a:gd name="connsiteY31" fmla="*/ 635323 h 10887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710866" h="1088718">
                <a:moveTo>
                  <a:pt x="2176687" y="1020247"/>
                </a:moveTo>
                <a:lnTo>
                  <a:pt x="2271081" y="1024791"/>
                </a:lnTo>
                <a:lnTo>
                  <a:pt x="2205982" y="1020820"/>
                </a:lnTo>
                <a:close/>
                <a:moveTo>
                  <a:pt x="1534179" y="1020247"/>
                </a:moveTo>
                <a:lnTo>
                  <a:pt x="1504883" y="1020820"/>
                </a:lnTo>
                <a:lnTo>
                  <a:pt x="1439783" y="1024791"/>
                </a:lnTo>
                <a:close/>
                <a:moveTo>
                  <a:pt x="0" y="0"/>
                </a:moveTo>
                <a:lnTo>
                  <a:pt x="1313" y="0"/>
                </a:lnTo>
                <a:lnTo>
                  <a:pt x="9578" y="19187"/>
                </a:lnTo>
                <a:cubicBezTo>
                  <a:pt x="104595" y="128865"/>
                  <a:pt x="894750" y="214452"/>
                  <a:pt x="1855432" y="214452"/>
                </a:cubicBezTo>
                <a:cubicBezTo>
                  <a:pt x="2816114" y="214452"/>
                  <a:pt x="3606269" y="128865"/>
                  <a:pt x="3701286" y="19187"/>
                </a:cubicBezTo>
                <a:lnTo>
                  <a:pt x="3709551" y="0"/>
                </a:lnTo>
                <a:lnTo>
                  <a:pt x="3710866" y="0"/>
                </a:lnTo>
                <a:lnTo>
                  <a:pt x="3471470" y="635323"/>
                </a:lnTo>
                <a:lnTo>
                  <a:pt x="3410899" y="796070"/>
                </a:lnTo>
                <a:lnTo>
                  <a:pt x="3407008" y="799899"/>
                </a:lnTo>
                <a:cubicBezTo>
                  <a:pt x="3280427" y="902869"/>
                  <a:pt x="2998136" y="988482"/>
                  <a:pt x="2629821" y="1039106"/>
                </a:cubicBezTo>
                <a:lnTo>
                  <a:pt x="2578531" y="1045357"/>
                </a:lnTo>
                <a:lnTo>
                  <a:pt x="2524029" y="1040223"/>
                </a:lnTo>
                <a:lnTo>
                  <a:pt x="2473862" y="1037163"/>
                </a:lnTo>
                <a:lnTo>
                  <a:pt x="2569432" y="1045206"/>
                </a:lnTo>
                <a:lnTo>
                  <a:pt x="2487807" y="1056415"/>
                </a:lnTo>
                <a:cubicBezTo>
                  <a:pt x="2293440" y="1077216"/>
                  <a:pt x="2079746" y="1088718"/>
                  <a:pt x="1855433" y="1088718"/>
                </a:cubicBezTo>
                <a:cubicBezTo>
                  <a:pt x="1631121" y="1088718"/>
                  <a:pt x="1417426" y="1077216"/>
                  <a:pt x="1223060" y="1056415"/>
                </a:cubicBezTo>
                <a:lnTo>
                  <a:pt x="1141434" y="1045206"/>
                </a:lnTo>
                <a:lnTo>
                  <a:pt x="1237006" y="1037162"/>
                </a:lnTo>
                <a:lnTo>
                  <a:pt x="1186835" y="1040223"/>
                </a:lnTo>
                <a:lnTo>
                  <a:pt x="1132335" y="1045357"/>
                </a:lnTo>
                <a:lnTo>
                  <a:pt x="1081045" y="1039106"/>
                </a:lnTo>
                <a:cubicBezTo>
                  <a:pt x="712730" y="988482"/>
                  <a:pt x="430439" y="902869"/>
                  <a:pt x="303858" y="799899"/>
                </a:cubicBezTo>
                <a:lnTo>
                  <a:pt x="299967" y="796070"/>
                </a:lnTo>
                <a:lnTo>
                  <a:pt x="239396" y="635323"/>
                </a:lnTo>
                <a:close/>
              </a:path>
            </a:pathLst>
          </a:custGeom>
          <a:gradFill flip="none" rotWithShape="1">
            <a:gsLst>
              <a:gs pos="0">
                <a:schemeClr val="accent1">
                  <a:lumMod val="35000"/>
                  <a:lumOff val="65000"/>
                </a:schemeClr>
              </a:gs>
              <a:gs pos="100000">
                <a:schemeClr val="accent1">
                  <a:lumMod val="100000"/>
                </a:schemeClr>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solidFill>
                <a:srgbClr val="FFFFFF"/>
              </a:solidFill>
              <a:latin typeface="Arial"/>
            </a:endParaRPr>
          </a:p>
        </p:txBody>
      </p:sp>
      <p:grpSp>
        <p:nvGrpSpPr>
          <p:cNvPr id="31" name="组合 30">
            <a:extLst>
              <a:ext uri="{FF2B5EF4-FFF2-40B4-BE49-F238E27FC236}">
                <a16:creationId xmlns:a16="http://schemas.microsoft.com/office/drawing/2014/main" id="{CC62B1CF-E8D2-A3D8-1F75-14F36AAA4CA0}"/>
              </a:ext>
            </a:extLst>
          </p:cNvPr>
          <p:cNvGrpSpPr/>
          <p:nvPr/>
        </p:nvGrpSpPr>
        <p:grpSpPr>
          <a:xfrm>
            <a:off x="4540534" y="2081945"/>
            <a:ext cx="3110932" cy="419362"/>
            <a:chOff x="1873534" y="2081945"/>
            <a:chExt cx="3110932" cy="419362"/>
          </a:xfrm>
        </p:grpSpPr>
        <p:sp>
          <p:nvSpPr>
            <p:cNvPr id="11" name="Freeform: Shape 68">
              <a:extLst>
                <a:ext uri="{FF2B5EF4-FFF2-40B4-BE49-F238E27FC236}">
                  <a16:creationId xmlns:a16="http://schemas.microsoft.com/office/drawing/2014/main" id="{EFD5BB25-962D-9AD2-D138-4FFD18BBB7A1}"/>
                </a:ext>
              </a:extLst>
            </p:cNvPr>
            <p:cNvSpPr/>
            <p:nvPr/>
          </p:nvSpPr>
          <p:spPr>
            <a:xfrm>
              <a:off x="1873534" y="2081946"/>
              <a:ext cx="832368" cy="419359"/>
            </a:xfrm>
            <a:custGeom>
              <a:avLst/>
              <a:gdLst>
                <a:gd name="connsiteX0" fmla="*/ 0 w 832368"/>
                <a:gd name="connsiteY0" fmla="*/ 0 h 419359"/>
                <a:gd name="connsiteX1" fmla="*/ 3891 w 832368"/>
                <a:gd name="connsiteY1" fmla="*/ 3829 h 419359"/>
                <a:gd name="connsiteX2" fmla="*/ 781078 w 832368"/>
                <a:gd name="connsiteY2" fmla="*/ 243036 h 419359"/>
                <a:gd name="connsiteX3" fmla="*/ 832368 w 832368"/>
                <a:gd name="connsiteY3" fmla="*/ 249287 h 419359"/>
                <a:gd name="connsiteX4" fmla="*/ 771218 w 832368"/>
                <a:gd name="connsiteY4" fmla="*/ 255048 h 419359"/>
                <a:gd name="connsiteX5" fmla="*/ 160035 w 832368"/>
                <a:gd name="connsiteY5" fmla="*/ 413167 h 419359"/>
                <a:gd name="connsiteX6" fmla="*/ 158018 w 832368"/>
                <a:gd name="connsiteY6" fmla="*/ 419359 h 419359"/>
                <a:gd name="connsiteX7" fmla="*/ 0 w 832368"/>
                <a:gd name="connsiteY7" fmla="*/ 0 h 4193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32368" h="419359">
                  <a:moveTo>
                    <a:pt x="0" y="0"/>
                  </a:moveTo>
                  <a:lnTo>
                    <a:pt x="3891" y="3829"/>
                  </a:lnTo>
                  <a:cubicBezTo>
                    <a:pt x="130472" y="106799"/>
                    <a:pt x="412763" y="192412"/>
                    <a:pt x="781078" y="243036"/>
                  </a:cubicBezTo>
                  <a:lnTo>
                    <a:pt x="832368" y="249287"/>
                  </a:lnTo>
                  <a:lnTo>
                    <a:pt x="771218" y="255048"/>
                  </a:lnTo>
                  <a:cubicBezTo>
                    <a:pt x="435416" y="290226"/>
                    <a:pt x="203133" y="347360"/>
                    <a:pt x="160035" y="413167"/>
                  </a:cubicBezTo>
                  <a:lnTo>
                    <a:pt x="158018" y="419359"/>
                  </a:lnTo>
                  <a:lnTo>
                    <a:pt x="0" y="0"/>
                  </a:lnTo>
                  <a:close/>
                </a:path>
              </a:pathLst>
            </a:custGeom>
            <a:solidFill>
              <a:schemeClr val="accent1">
                <a:lumMod val="60000"/>
                <a:lumOff val="40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solidFill>
                  <a:srgbClr val="FFFFFF"/>
                </a:solidFill>
                <a:latin typeface="Arial"/>
              </a:endParaRPr>
            </a:p>
          </p:txBody>
        </p:sp>
        <p:sp>
          <p:nvSpPr>
            <p:cNvPr id="12" name="Freeform: Shape 69">
              <a:extLst>
                <a:ext uri="{FF2B5EF4-FFF2-40B4-BE49-F238E27FC236}">
                  <a16:creationId xmlns:a16="http://schemas.microsoft.com/office/drawing/2014/main" id="{89D552C4-5B00-469F-91D5-63709521B2C1}"/>
                </a:ext>
              </a:extLst>
            </p:cNvPr>
            <p:cNvSpPr/>
            <p:nvPr/>
          </p:nvSpPr>
          <p:spPr>
            <a:xfrm>
              <a:off x="4152098" y="2081945"/>
              <a:ext cx="832368" cy="419362"/>
            </a:xfrm>
            <a:custGeom>
              <a:avLst/>
              <a:gdLst>
                <a:gd name="connsiteX0" fmla="*/ 832368 w 832368"/>
                <a:gd name="connsiteY0" fmla="*/ 0 h 419362"/>
                <a:gd name="connsiteX1" fmla="*/ 674349 w 832368"/>
                <a:gd name="connsiteY1" fmla="*/ 419362 h 419362"/>
                <a:gd name="connsiteX2" fmla="*/ 672331 w 832368"/>
                <a:gd name="connsiteY2" fmla="*/ 413167 h 419362"/>
                <a:gd name="connsiteX3" fmla="*/ 61148 w 832368"/>
                <a:gd name="connsiteY3" fmla="*/ 255048 h 419362"/>
                <a:gd name="connsiteX4" fmla="*/ 0 w 832368"/>
                <a:gd name="connsiteY4" fmla="*/ 249287 h 419362"/>
                <a:gd name="connsiteX5" fmla="*/ 51290 w 832368"/>
                <a:gd name="connsiteY5" fmla="*/ 243036 h 419362"/>
                <a:gd name="connsiteX6" fmla="*/ 828477 w 832368"/>
                <a:gd name="connsiteY6" fmla="*/ 3829 h 419362"/>
                <a:gd name="connsiteX7" fmla="*/ 832368 w 832368"/>
                <a:gd name="connsiteY7" fmla="*/ 0 h 4193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32368" h="419362">
                  <a:moveTo>
                    <a:pt x="832368" y="0"/>
                  </a:moveTo>
                  <a:lnTo>
                    <a:pt x="674349" y="419362"/>
                  </a:lnTo>
                  <a:lnTo>
                    <a:pt x="672331" y="413167"/>
                  </a:lnTo>
                  <a:cubicBezTo>
                    <a:pt x="629233" y="347360"/>
                    <a:pt x="396950" y="290226"/>
                    <a:pt x="61148" y="255048"/>
                  </a:cubicBezTo>
                  <a:lnTo>
                    <a:pt x="0" y="249287"/>
                  </a:lnTo>
                  <a:lnTo>
                    <a:pt x="51290" y="243036"/>
                  </a:lnTo>
                  <a:cubicBezTo>
                    <a:pt x="419605" y="192412"/>
                    <a:pt x="701896" y="106799"/>
                    <a:pt x="828477" y="3829"/>
                  </a:cubicBezTo>
                  <a:lnTo>
                    <a:pt x="832368" y="0"/>
                  </a:lnTo>
                  <a:close/>
                </a:path>
              </a:pathLst>
            </a:custGeom>
            <a:solidFill>
              <a:schemeClr val="accent1">
                <a:lumMod val="60000"/>
                <a:lumOff val="40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solidFill>
                  <a:srgbClr val="FFFFFF"/>
                </a:solidFill>
                <a:latin typeface="Arial"/>
              </a:endParaRPr>
            </a:p>
          </p:txBody>
        </p:sp>
      </p:grpSp>
      <p:grpSp>
        <p:nvGrpSpPr>
          <p:cNvPr id="33" name="组合 32">
            <a:extLst>
              <a:ext uri="{FF2B5EF4-FFF2-40B4-BE49-F238E27FC236}">
                <a16:creationId xmlns:a16="http://schemas.microsoft.com/office/drawing/2014/main" id="{8BF78EE3-5B4B-F592-8A8B-C9CA45449A94}"/>
              </a:ext>
            </a:extLst>
          </p:cNvPr>
          <p:cNvGrpSpPr/>
          <p:nvPr/>
        </p:nvGrpSpPr>
        <p:grpSpPr>
          <a:xfrm>
            <a:off x="5048167" y="3429133"/>
            <a:ext cx="2095666" cy="298593"/>
            <a:chOff x="2381167" y="3429132"/>
            <a:chExt cx="2095666" cy="298593"/>
          </a:xfrm>
        </p:grpSpPr>
        <p:sp>
          <p:nvSpPr>
            <p:cNvPr id="13" name="Freeform: Shape 75">
              <a:extLst>
                <a:ext uri="{FF2B5EF4-FFF2-40B4-BE49-F238E27FC236}">
                  <a16:creationId xmlns:a16="http://schemas.microsoft.com/office/drawing/2014/main" id="{55AA169D-50E4-99FD-6EC4-D2433D273F58}"/>
                </a:ext>
              </a:extLst>
            </p:cNvPr>
            <p:cNvSpPr/>
            <p:nvPr/>
          </p:nvSpPr>
          <p:spPr>
            <a:xfrm>
              <a:off x="2381167" y="3429132"/>
              <a:ext cx="497014" cy="298593"/>
            </a:xfrm>
            <a:custGeom>
              <a:avLst/>
              <a:gdLst>
                <a:gd name="connsiteX0" fmla="*/ 0 w 497014"/>
                <a:gd name="connsiteY0" fmla="*/ 0 h 298593"/>
                <a:gd name="connsiteX1" fmla="*/ 4156 w 497014"/>
                <a:gd name="connsiteY1" fmla="*/ 5560 h 298593"/>
                <a:gd name="connsiteX2" fmla="*/ 452202 w 497014"/>
                <a:gd name="connsiteY2" fmla="*/ 142082 h 298593"/>
                <a:gd name="connsiteX3" fmla="*/ 497014 w 497014"/>
                <a:gd name="connsiteY3" fmla="*/ 147048 h 298593"/>
                <a:gd name="connsiteX4" fmla="*/ 382131 w 497014"/>
                <a:gd name="connsiteY4" fmla="*/ 168947 h 298593"/>
                <a:gd name="connsiteX5" fmla="*/ 125515 w 497014"/>
                <a:gd name="connsiteY5" fmla="*/ 278910 h 298593"/>
                <a:gd name="connsiteX6" fmla="*/ 112513 w 497014"/>
                <a:gd name="connsiteY6" fmla="*/ 298593 h 298593"/>
                <a:gd name="connsiteX7" fmla="*/ 0 w 497014"/>
                <a:gd name="connsiteY7" fmla="*/ 0 h 2985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7014" h="298593">
                  <a:moveTo>
                    <a:pt x="0" y="0"/>
                  </a:moveTo>
                  <a:lnTo>
                    <a:pt x="4156" y="5560"/>
                  </a:lnTo>
                  <a:cubicBezTo>
                    <a:pt x="60919" y="62195"/>
                    <a:pt x="225500" y="110812"/>
                    <a:pt x="452202" y="142082"/>
                  </a:cubicBezTo>
                  <a:lnTo>
                    <a:pt x="497014" y="147048"/>
                  </a:lnTo>
                  <a:lnTo>
                    <a:pt x="382131" y="168947"/>
                  </a:lnTo>
                  <a:cubicBezTo>
                    <a:pt x="254355" y="198467"/>
                    <a:pt x="163137" y="236433"/>
                    <a:pt x="125515" y="278910"/>
                  </a:cubicBezTo>
                  <a:lnTo>
                    <a:pt x="112513" y="298593"/>
                  </a:lnTo>
                  <a:lnTo>
                    <a:pt x="0" y="0"/>
                  </a:lnTo>
                  <a:close/>
                </a:path>
              </a:pathLst>
            </a:custGeom>
            <a:solidFill>
              <a:schemeClr val="accent1">
                <a:lumMod val="60000"/>
                <a:lumOff val="40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solidFill>
                  <a:srgbClr val="FFFFFF"/>
                </a:solidFill>
                <a:latin typeface="Arial"/>
              </a:endParaRPr>
            </a:p>
          </p:txBody>
        </p:sp>
        <p:sp>
          <p:nvSpPr>
            <p:cNvPr id="14" name="Freeform: Shape 77">
              <a:extLst>
                <a:ext uri="{FF2B5EF4-FFF2-40B4-BE49-F238E27FC236}">
                  <a16:creationId xmlns:a16="http://schemas.microsoft.com/office/drawing/2014/main" id="{056E4D96-5EE0-E7FD-BBB9-49C0F27F54E1}"/>
                </a:ext>
              </a:extLst>
            </p:cNvPr>
            <p:cNvSpPr/>
            <p:nvPr/>
          </p:nvSpPr>
          <p:spPr>
            <a:xfrm>
              <a:off x="3979819" y="3429132"/>
              <a:ext cx="497014" cy="298593"/>
            </a:xfrm>
            <a:custGeom>
              <a:avLst/>
              <a:gdLst>
                <a:gd name="connsiteX0" fmla="*/ 497014 w 497014"/>
                <a:gd name="connsiteY0" fmla="*/ 0 h 298593"/>
                <a:gd name="connsiteX1" fmla="*/ 384501 w 497014"/>
                <a:gd name="connsiteY1" fmla="*/ 298593 h 298593"/>
                <a:gd name="connsiteX2" fmla="*/ 371499 w 497014"/>
                <a:gd name="connsiteY2" fmla="*/ 278910 h 298593"/>
                <a:gd name="connsiteX3" fmla="*/ 114883 w 497014"/>
                <a:gd name="connsiteY3" fmla="*/ 168947 h 298593"/>
                <a:gd name="connsiteX4" fmla="*/ 0 w 497014"/>
                <a:gd name="connsiteY4" fmla="*/ 147048 h 298593"/>
                <a:gd name="connsiteX5" fmla="*/ 44812 w 497014"/>
                <a:gd name="connsiteY5" fmla="*/ 142082 h 298593"/>
                <a:gd name="connsiteX6" fmla="*/ 492858 w 497014"/>
                <a:gd name="connsiteY6" fmla="*/ 5560 h 298593"/>
                <a:gd name="connsiteX7" fmla="*/ 497014 w 497014"/>
                <a:gd name="connsiteY7" fmla="*/ 0 h 2985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7014" h="298593">
                  <a:moveTo>
                    <a:pt x="497014" y="0"/>
                  </a:moveTo>
                  <a:lnTo>
                    <a:pt x="384501" y="298593"/>
                  </a:lnTo>
                  <a:lnTo>
                    <a:pt x="371499" y="278910"/>
                  </a:lnTo>
                  <a:cubicBezTo>
                    <a:pt x="333877" y="236433"/>
                    <a:pt x="242659" y="198467"/>
                    <a:pt x="114883" y="168947"/>
                  </a:cubicBezTo>
                  <a:lnTo>
                    <a:pt x="0" y="147048"/>
                  </a:lnTo>
                  <a:lnTo>
                    <a:pt x="44812" y="142082"/>
                  </a:lnTo>
                  <a:cubicBezTo>
                    <a:pt x="271514" y="110812"/>
                    <a:pt x="436095" y="62195"/>
                    <a:pt x="492858" y="5560"/>
                  </a:cubicBezTo>
                  <a:lnTo>
                    <a:pt x="497014" y="0"/>
                  </a:lnTo>
                  <a:close/>
                </a:path>
              </a:pathLst>
            </a:custGeom>
            <a:solidFill>
              <a:schemeClr val="accent1">
                <a:lumMod val="60000"/>
                <a:lumOff val="40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solidFill>
                  <a:srgbClr val="FFFFFF"/>
                </a:solidFill>
                <a:latin typeface="Arial"/>
              </a:endParaRPr>
            </a:p>
          </p:txBody>
        </p:sp>
      </p:grpSp>
      <p:grpSp>
        <p:nvGrpSpPr>
          <p:cNvPr id="35" name="组合 34">
            <a:extLst>
              <a:ext uri="{FF2B5EF4-FFF2-40B4-BE49-F238E27FC236}">
                <a16:creationId xmlns:a16="http://schemas.microsoft.com/office/drawing/2014/main" id="{F57F27F7-CC11-3187-1EC1-D5F8444897D4}"/>
              </a:ext>
            </a:extLst>
          </p:cNvPr>
          <p:cNvGrpSpPr/>
          <p:nvPr/>
        </p:nvGrpSpPr>
        <p:grpSpPr>
          <a:xfrm>
            <a:off x="5523161" y="4689694"/>
            <a:ext cx="1145681" cy="299455"/>
            <a:chOff x="2856160" y="4689693"/>
            <a:chExt cx="1145681" cy="299455"/>
          </a:xfrm>
        </p:grpSpPr>
        <p:sp>
          <p:nvSpPr>
            <p:cNvPr id="15" name="Freeform: Shape 78">
              <a:extLst>
                <a:ext uri="{FF2B5EF4-FFF2-40B4-BE49-F238E27FC236}">
                  <a16:creationId xmlns:a16="http://schemas.microsoft.com/office/drawing/2014/main" id="{7230AC0B-DF35-87EB-F58D-E63143707FCA}"/>
                </a:ext>
              </a:extLst>
            </p:cNvPr>
            <p:cNvSpPr/>
            <p:nvPr/>
          </p:nvSpPr>
          <p:spPr>
            <a:xfrm>
              <a:off x="3707963" y="4689693"/>
              <a:ext cx="293878" cy="299455"/>
            </a:xfrm>
            <a:custGeom>
              <a:avLst/>
              <a:gdLst>
                <a:gd name="connsiteX0" fmla="*/ 293878 w 293878"/>
                <a:gd name="connsiteY0" fmla="*/ 0 h 299455"/>
                <a:gd name="connsiteX1" fmla="*/ 181041 w 293878"/>
                <a:gd name="connsiteY1" fmla="*/ 299455 h 299455"/>
                <a:gd name="connsiteX2" fmla="*/ 171932 w 293878"/>
                <a:gd name="connsiteY2" fmla="*/ 256757 h 299455"/>
                <a:gd name="connsiteX3" fmla="*/ 46480 w 293878"/>
                <a:gd name="connsiteY3" fmla="*/ 146794 h 299455"/>
                <a:gd name="connsiteX4" fmla="*/ 0 w 293878"/>
                <a:gd name="connsiteY4" fmla="*/ 128671 h 299455"/>
                <a:gd name="connsiteX5" fmla="*/ 57318 w 293878"/>
                <a:gd name="connsiteY5" fmla="*/ 117420 h 299455"/>
                <a:gd name="connsiteX6" fmla="*/ 275229 w 293878"/>
                <a:gd name="connsiteY6" fmla="*/ 21725 h 299455"/>
                <a:gd name="connsiteX7" fmla="*/ 293878 w 293878"/>
                <a:gd name="connsiteY7" fmla="*/ 0 h 2994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3878" h="299455">
                  <a:moveTo>
                    <a:pt x="293878" y="0"/>
                  </a:moveTo>
                  <a:lnTo>
                    <a:pt x="181041" y="299455"/>
                  </a:lnTo>
                  <a:lnTo>
                    <a:pt x="171932" y="256757"/>
                  </a:lnTo>
                  <a:cubicBezTo>
                    <a:pt x="153540" y="214281"/>
                    <a:pt x="108946" y="176314"/>
                    <a:pt x="46480" y="146794"/>
                  </a:cubicBezTo>
                  <a:lnTo>
                    <a:pt x="0" y="128671"/>
                  </a:lnTo>
                  <a:lnTo>
                    <a:pt x="57318" y="117420"/>
                  </a:lnTo>
                  <a:cubicBezTo>
                    <a:pt x="153311" y="93968"/>
                    <a:pt x="229576" y="60757"/>
                    <a:pt x="275229" y="21725"/>
                  </a:cubicBezTo>
                  <a:lnTo>
                    <a:pt x="293878" y="0"/>
                  </a:lnTo>
                  <a:close/>
                </a:path>
              </a:pathLst>
            </a:custGeom>
            <a:solidFill>
              <a:schemeClr val="accent1">
                <a:lumMod val="60000"/>
                <a:lumOff val="40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solidFill>
                  <a:srgbClr val="FFFFFF"/>
                </a:solidFill>
                <a:latin typeface="Arial"/>
              </a:endParaRPr>
            </a:p>
          </p:txBody>
        </p:sp>
        <p:sp>
          <p:nvSpPr>
            <p:cNvPr id="28" name="Freeform: Shape 88">
              <a:extLst>
                <a:ext uri="{FF2B5EF4-FFF2-40B4-BE49-F238E27FC236}">
                  <a16:creationId xmlns:a16="http://schemas.microsoft.com/office/drawing/2014/main" id="{FEAF7E0E-F773-7282-E8B2-B1B6B57C977E}"/>
                </a:ext>
              </a:extLst>
            </p:cNvPr>
            <p:cNvSpPr/>
            <p:nvPr/>
          </p:nvSpPr>
          <p:spPr>
            <a:xfrm>
              <a:off x="2856160" y="4689696"/>
              <a:ext cx="293876" cy="299448"/>
            </a:xfrm>
            <a:custGeom>
              <a:avLst/>
              <a:gdLst>
                <a:gd name="connsiteX0" fmla="*/ 0 w 293876"/>
                <a:gd name="connsiteY0" fmla="*/ 0 h 299448"/>
                <a:gd name="connsiteX1" fmla="*/ 18646 w 293876"/>
                <a:gd name="connsiteY1" fmla="*/ 21721 h 299448"/>
                <a:gd name="connsiteX2" fmla="*/ 236557 w 293876"/>
                <a:gd name="connsiteY2" fmla="*/ 117416 h 299448"/>
                <a:gd name="connsiteX3" fmla="*/ 293876 w 293876"/>
                <a:gd name="connsiteY3" fmla="*/ 128667 h 299448"/>
                <a:gd name="connsiteX4" fmla="*/ 247395 w 293876"/>
                <a:gd name="connsiteY4" fmla="*/ 146790 h 299448"/>
                <a:gd name="connsiteX5" fmla="*/ 121943 w 293876"/>
                <a:gd name="connsiteY5" fmla="*/ 256753 h 299448"/>
                <a:gd name="connsiteX6" fmla="*/ 112836 w 293876"/>
                <a:gd name="connsiteY6" fmla="*/ 299448 h 299448"/>
                <a:gd name="connsiteX7" fmla="*/ 0 w 293876"/>
                <a:gd name="connsiteY7" fmla="*/ 0 h 299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3876" h="299448">
                  <a:moveTo>
                    <a:pt x="0" y="0"/>
                  </a:moveTo>
                  <a:lnTo>
                    <a:pt x="18646" y="21721"/>
                  </a:lnTo>
                  <a:cubicBezTo>
                    <a:pt x="64299" y="60753"/>
                    <a:pt x="140564" y="93964"/>
                    <a:pt x="236557" y="117416"/>
                  </a:cubicBezTo>
                  <a:lnTo>
                    <a:pt x="293876" y="128667"/>
                  </a:lnTo>
                  <a:lnTo>
                    <a:pt x="247395" y="146790"/>
                  </a:lnTo>
                  <a:cubicBezTo>
                    <a:pt x="184929" y="176310"/>
                    <a:pt x="140336" y="214277"/>
                    <a:pt x="121943" y="256753"/>
                  </a:cubicBezTo>
                  <a:lnTo>
                    <a:pt x="112836" y="299448"/>
                  </a:lnTo>
                  <a:lnTo>
                    <a:pt x="0" y="0"/>
                  </a:lnTo>
                  <a:close/>
                </a:path>
              </a:pathLst>
            </a:custGeom>
            <a:solidFill>
              <a:schemeClr val="accent1">
                <a:lumMod val="60000"/>
                <a:lumOff val="40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solidFill>
                  <a:srgbClr val="FFFFFF"/>
                </a:solidFill>
                <a:latin typeface="Arial"/>
              </a:endParaRPr>
            </a:p>
          </p:txBody>
        </p:sp>
      </p:grpSp>
      <p:sp>
        <p:nvSpPr>
          <p:cNvPr id="59" name="任意多边形: 形状 58">
            <a:extLst>
              <a:ext uri="{FF2B5EF4-FFF2-40B4-BE49-F238E27FC236}">
                <a16:creationId xmlns:a16="http://schemas.microsoft.com/office/drawing/2014/main" id="{3D1D24E0-F647-C95B-0696-2C44D1A611D9}"/>
              </a:ext>
            </a:extLst>
          </p:cNvPr>
          <p:cNvSpPr/>
          <p:nvPr/>
        </p:nvSpPr>
        <p:spPr>
          <a:xfrm>
            <a:off x="6387291" y="1278294"/>
            <a:ext cx="1803432" cy="4795936"/>
          </a:xfrm>
          <a:custGeom>
            <a:avLst/>
            <a:gdLst/>
            <a:ahLst/>
            <a:cxnLst/>
            <a:rect l="0" t="0" r="0" b="0"/>
            <a:pathLst>
              <a:path w="1803432" h="4795936">
                <a:moveTo>
                  <a:pt x="1803431" y="0"/>
                </a:moveTo>
                <a:lnTo>
                  <a:pt x="6265" y="4761566"/>
                </a:lnTo>
                <a:cubicBezTo>
                  <a:pt x="0" y="4778166"/>
                  <a:pt x="12285" y="4795935"/>
                  <a:pt x="30029" y="4795935"/>
                </a:cubicBezTo>
                <a:lnTo>
                  <a:pt x="235889" y="4795935"/>
                </a:lnTo>
              </a:path>
            </a:pathLst>
          </a:custGeom>
          <a:noFill/>
          <a:ln w="19050" cap="rnd">
            <a:gradFill>
              <a:gsLst>
                <a:gs pos="0">
                  <a:schemeClr val="accent1">
                    <a:alpha val="0"/>
                  </a:schemeClr>
                </a:gs>
                <a:gs pos="100000">
                  <a:schemeClr val="accent1"/>
                </a:gs>
              </a:gsLst>
              <a:lin ang="5400000" scaled="1"/>
            </a:gra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prstClr val="white"/>
              </a:solidFill>
              <a:latin typeface="等线" panose="020F0502020204030204"/>
              <a:ea typeface="等线" panose="02010600030101010101" pitchFamily="2" charset="-122"/>
            </a:endParaRPr>
          </a:p>
        </p:txBody>
      </p:sp>
      <p:sp>
        <p:nvSpPr>
          <p:cNvPr id="81" name="任意多边形: 形状 80">
            <a:extLst>
              <a:ext uri="{FF2B5EF4-FFF2-40B4-BE49-F238E27FC236}">
                <a16:creationId xmlns:a16="http://schemas.microsoft.com/office/drawing/2014/main" id="{1EF01BBD-A59F-C134-3144-6AFAD84BF48D}"/>
              </a:ext>
            </a:extLst>
          </p:cNvPr>
          <p:cNvSpPr/>
          <p:nvPr/>
        </p:nvSpPr>
        <p:spPr>
          <a:xfrm flipH="1">
            <a:off x="4000840" y="1278294"/>
            <a:ext cx="1803432" cy="4795936"/>
          </a:xfrm>
          <a:custGeom>
            <a:avLst/>
            <a:gdLst/>
            <a:ahLst/>
            <a:cxnLst/>
            <a:rect l="0" t="0" r="0" b="0"/>
            <a:pathLst>
              <a:path w="1803432" h="4795936">
                <a:moveTo>
                  <a:pt x="1803431" y="0"/>
                </a:moveTo>
                <a:lnTo>
                  <a:pt x="6265" y="4761566"/>
                </a:lnTo>
                <a:cubicBezTo>
                  <a:pt x="0" y="4778166"/>
                  <a:pt x="12285" y="4795935"/>
                  <a:pt x="30029" y="4795935"/>
                </a:cubicBezTo>
                <a:lnTo>
                  <a:pt x="235889" y="4795935"/>
                </a:lnTo>
              </a:path>
            </a:pathLst>
          </a:custGeom>
          <a:noFill/>
          <a:ln w="19050" cap="rnd">
            <a:gradFill>
              <a:gsLst>
                <a:gs pos="0">
                  <a:schemeClr val="accent1">
                    <a:alpha val="0"/>
                  </a:schemeClr>
                </a:gs>
                <a:gs pos="100000">
                  <a:schemeClr val="accent1"/>
                </a:gs>
              </a:gsLst>
              <a:lin ang="5400000" scaled="1"/>
            </a:gra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prstClr val="white"/>
              </a:solidFill>
              <a:latin typeface="等线" panose="020F0502020204030204"/>
              <a:ea typeface="等线" panose="02010600030101010101" pitchFamily="2" charset="-122"/>
            </a:endParaRPr>
          </a:p>
        </p:txBody>
      </p:sp>
      <p:sp>
        <p:nvSpPr>
          <p:cNvPr id="60" name="矩形: 圆角 59">
            <a:extLst>
              <a:ext uri="{FF2B5EF4-FFF2-40B4-BE49-F238E27FC236}">
                <a16:creationId xmlns:a16="http://schemas.microsoft.com/office/drawing/2014/main" id="{1424CA7B-C7C8-E8B5-7957-60A8ED22681D}"/>
              </a:ext>
            </a:extLst>
          </p:cNvPr>
          <p:cNvSpPr/>
          <p:nvPr/>
        </p:nvSpPr>
        <p:spPr>
          <a:xfrm>
            <a:off x="5120461" y="544255"/>
            <a:ext cx="1951078" cy="486833"/>
          </a:xfrm>
          <a:prstGeom prst="roundRect">
            <a:avLst>
              <a:gd name="adj" fmla="val 50000"/>
            </a:avLst>
          </a:prstGeom>
          <a:gradFill>
            <a:gsLst>
              <a:gs pos="0">
                <a:schemeClr val="accent1">
                  <a:lumMod val="0"/>
                  <a:lumOff val="100000"/>
                  <a:alpha val="40000"/>
                </a:schemeClr>
              </a:gs>
              <a:gs pos="100000">
                <a:schemeClr val="accent1">
                  <a:lumMod val="0"/>
                  <a:lumOff val="100000"/>
                  <a:alpha val="60000"/>
                </a:schemeClr>
              </a:gs>
            </a:gsLst>
            <a:lin ang="5400000" scaled="1"/>
          </a:gradFill>
          <a:ln w="19050" cap="flat" cmpd="sng" algn="ctr">
            <a:gradFill>
              <a:gsLst>
                <a:gs pos="0">
                  <a:schemeClr val="accent1">
                    <a:lumMod val="0"/>
                    <a:lumOff val="100000"/>
                    <a:alpha val="70000"/>
                  </a:schemeClr>
                </a:gs>
                <a:gs pos="100000">
                  <a:schemeClr val="accent1">
                    <a:lumMod val="0"/>
                    <a:lumOff val="100000"/>
                    <a:alpha val="70000"/>
                  </a:schemeClr>
                </a:gs>
              </a:gsLst>
              <a:lin ang="5400000" scaled="1"/>
            </a:gradFill>
            <a:prstDash val="solid"/>
            <a:miter lim="800000"/>
          </a:ln>
          <a:effectLst>
            <a:outerShdw blurRad="304800" dist="101600" dir="2700000" algn="tl" rotWithShape="0">
              <a:schemeClr val="accent1">
                <a:lumMod val="50000"/>
                <a:alpha val="10000"/>
              </a:schemeClr>
            </a:outerShdw>
            <a:reflection blurRad="63500" endPos="50000" dist="508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latin typeface="Arial"/>
            </a:endParaRPr>
          </a:p>
        </p:txBody>
      </p:sp>
    </p:spTree>
    <p:extLst>
      <p:ext uri="{BB962C8B-B14F-4D97-AF65-F5344CB8AC3E}">
        <p14:creationId xmlns:p14="http://schemas.microsoft.com/office/powerpoint/2010/main" val="3294188423"/>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5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椭圆 1">
            <a:extLst>
              <a:ext uri="{FF2B5EF4-FFF2-40B4-BE49-F238E27FC236}">
                <a16:creationId xmlns:a16="http://schemas.microsoft.com/office/drawing/2014/main" id="{2E39A306-FA2C-6889-DC5C-25A30294492C}"/>
              </a:ext>
            </a:extLst>
          </p:cNvPr>
          <p:cNvSpPr/>
          <p:nvPr/>
        </p:nvSpPr>
        <p:spPr>
          <a:xfrm>
            <a:off x="1900635" y="4845414"/>
            <a:ext cx="8390730" cy="2181620"/>
          </a:xfrm>
          <a:prstGeom prst="ellipse">
            <a:avLst/>
          </a:prstGeom>
          <a:noFill/>
          <a:ln w="19050">
            <a:gradFill>
              <a:gsLst>
                <a:gs pos="0">
                  <a:schemeClr val="accent1">
                    <a:alpha val="0"/>
                  </a:schemeClr>
                </a:gs>
                <a:gs pos="100000">
                  <a:schemeClr val="accent1">
                    <a:alpha val="3000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350">
              <a:defRPr/>
            </a:pPr>
            <a:endParaRPr lang="zh-CN" altLang="en-US" sz="1013" dirty="0">
              <a:solidFill>
                <a:prstClr val="white"/>
              </a:solidFill>
              <a:latin typeface="等线" panose="020F0502020204030204"/>
              <a:ea typeface="等线" panose="02010600030101010101" pitchFamily="2" charset="-122"/>
            </a:endParaRPr>
          </a:p>
        </p:txBody>
      </p:sp>
      <p:sp>
        <p:nvSpPr>
          <p:cNvPr id="4" name="椭圆 3">
            <a:extLst>
              <a:ext uri="{FF2B5EF4-FFF2-40B4-BE49-F238E27FC236}">
                <a16:creationId xmlns:a16="http://schemas.microsoft.com/office/drawing/2014/main" id="{C9DF107B-421C-5A05-830E-9AB9CD4D51A8}"/>
              </a:ext>
            </a:extLst>
          </p:cNvPr>
          <p:cNvSpPr/>
          <p:nvPr/>
        </p:nvSpPr>
        <p:spPr>
          <a:xfrm>
            <a:off x="3677713" y="5491728"/>
            <a:ext cx="4813186" cy="993936"/>
          </a:xfrm>
          <a:prstGeom prst="ellipse">
            <a:avLst/>
          </a:prstGeom>
          <a:gradFill>
            <a:gsLst>
              <a:gs pos="15000">
                <a:schemeClr val="accent1">
                  <a:alpha val="0"/>
                </a:schemeClr>
              </a:gs>
              <a:gs pos="90000">
                <a:schemeClr val="accent1">
                  <a:alpha val="15000"/>
                </a:schemeClr>
              </a:gs>
            </a:gsLst>
            <a:lin ang="5400000" scaled="1"/>
          </a:gradFill>
          <a:ln w="317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350">
              <a:defRPr/>
            </a:pPr>
            <a:endParaRPr lang="zh-CN" altLang="en-US" sz="1013">
              <a:solidFill>
                <a:prstClr val="white"/>
              </a:solidFill>
              <a:latin typeface="等线" panose="020F0502020204030204"/>
              <a:ea typeface="等线" panose="02010600030101010101" pitchFamily="2" charset="-122"/>
            </a:endParaRPr>
          </a:p>
        </p:txBody>
      </p:sp>
      <p:sp>
        <p:nvSpPr>
          <p:cNvPr id="82" name="任意多边形: 形状 81">
            <a:extLst>
              <a:ext uri="{FF2B5EF4-FFF2-40B4-BE49-F238E27FC236}">
                <a16:creationId xmlns:a16="http://schemas.microsoft.com/office/drawing/2014/main" id="{11D59F0E-1292-672C-A15D-DEA62FCE8A3B}"/>
              </a:ext>
            </a:extLst>
          </p:cNvPr>
          <p:cNvSpPr>
            <a:spLocks/>
          </p:cNvSpPr>
          <p:nvPr/>
        </p:nvSpPr>
        <p:spPr bwMode="auto">
          <a:xfrm rot="16110804">
            <a:off x="5684746" y="4854431"/>
            <a:ext cx="851362" cy="673143"/>
          </a:xfrm>
          <a:custGeom>
            <a:avLst/>
            <a:gdLst>
              <a:gd name="connsiteX0" fmla="*/ 842708 w 851362"/>
              <a:gd name="connsiteY0" fmla="*/ 653487 h 673143"/>
              <a:gd name="connsiteX1" fmla="*/ 821217 w 851362"/>
              <a:gd name="connsiteY1" fmla="*/ 673143 h 673143"/>
              <a:gd name="connsiteX2" fmla="*/ 0 w 851362"/>
              <a:gd name="connsiteY2" fmla="*/ 337581 h 673143"/>
              <a:gd name="connsiteX3" fmla="*/ 821217 w 851362"/>
              <a:gd name="connsiteY3" fmla="*/ 0 h 673143"/>
              <a:gd name="connsiteX4" fmla="*/ 851362 w 851362"/>
              <a:gd name="connsiteY4" fmla="*/ 6193 h 673143"/>
              <a:gd name="connsiteX5" fmla="*/ 842708 w 851362"/>
              <a:gd name="connsiteY5" fmla="*/ 653487 h 673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51362" h="673143">
                <a:moveTo>
                  <a:pt x="842708" y="653487"/>
                </a:moveTo>
                <a:cubicBezTo>
                  <a:pt x="835511" y="660017"/>
                  <a:pt x="828413" y="666613"/>
                  <a:pt x="821217" y="673143"/>
                </a:cubicBezTo>
                <a:lnTo>
                  <a:pt x="0" y="337581"/>
                </a:lnTo>
                <a:lnTo>
                  <a:pt x="821217" y="0"/>
                </a:lnTo>
                <a:lnTo>
                  <a:pt x="851362" y="6193"/>
                </a:lnTo>
                <a:cubicBezTo>
                  <a:pt x="848445" y="221935"/>
                  <a:pt x="845625" y="437745"/>
                  <a:pt x="842708" y="653487"/>
                </a:cubicBezTo>
                <a:close/>
              </a:path>
            </a:pathLst>
          </a:custGeom>
          <a:gradFill flip="none" rotWithShape="1">
            <a:gsLst>
              <a:gs pos="0">
                <a:schemeClr val="accent1">
                  <a:lumMod val="100000"/>
                </a:schemeClr>
              </a:gs>
              <a:gs pos="100000">
                <a:schemeClr val="accent1">
                  <a:lumMod val="60000"/>
                </a:schemeClr>
              </a:gs>
            </a:gsLst>
            <a:path path="circle">
              <a:fillToRect l="100000" b="100000"/>
            </a:path>
            <a:tileRect t="-100000" r="-100000"/>
          </a:gradFill>
          <a:ln w="6350">
            <a:gradFill>
              <a:gsLst>
                <a:gs pos="0">
                  <a:schemeClr val="accent1">
                    <a:lumMod val="0"/>
                    <a:lumOff val="100000"/>
                    <a:alpha val="70000"/>
                  </a:schemeClr>
                </a:gs>
                <a:gs pos="100000">
                  <a:schemeClr val="accent1">
                    <a:lumMod val="0"/>
                    <a:lumOff val="100000"/>
                    <a:alpha val="70000"/>
                  </a:schemeClr>
                </a:gs>
              </a:gsLst>
              <a:lin ang="5400000" scaled="1"/>
            </a:gradFill>
          </a:ln>
          <a:extLst>
            <a:ext uri="{91240B29-F687-4f45-9708-019B960494DF}">
              <a14:hiddenLine xmlns=""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id-ID">
              <a:solidFill>
                <a:srgbClr val="FFFFFF"/>
              </a:solidFill>
              <a:latin typeface="Arial"/>
            </a:endParaRPr>
          </a:p>
        </p:txBody>
      </p:sp>
      <p:sp>
        <p:nvSpPr>
          <p:cNvPr id="83" name="任意多边形: 形状 82">
            <a:extLst>
              <a:ext uri="{FF2B5EF4-FFF2-40B4-BE49-F238E27FC236}">
                <a16:creationId xmlns:a16="http://schemas.microsoft.com/office/drawing/2014/main" id="{E9F1BF01-00DE-611E-9173-C75FC688B225}"/>
              </a:ext>
            </a:extLst>
          </p:cNvPr>
          <p:cNvSpPr>
            <a:spLocks/>
          </p:cNvSpPr>
          <p:nvPr/>
        </p:nvSpPr>
        <p:spPr bwMode="auto">
          <a:xfrm rot="16110804">
            <a:off x="5989182" y="5375878"/>
            <a:ext cx="259394" cy="201752"/>
          </a:xfrm>
          <a:custGeom>
            <a:avLst/>
            <a:gdLst>
              <a:gd name="connsiteX0" fmla="*/ 259394 w 259394"/>
              <a:gd name="connsiteY0" fmla="*/ 112339 h 201752"/>
              <a:gd name="connsiteX1" fmla="*/ 248017 w 259394"/>
              <a:gd name="connsiteY1" fmla="*/ 201752 h 201752"/>
              <a:gd name="connsiteX2" fmla="*/ 0 w 259394"/>
              <a:gd name="connsiteY2" fmla="*/ 100876 h 201752"/>
              <a:gd name="connsiteX3" fmla="*/ 243466 w 259394"/>
              <a:gd name="connsiteY3" fmla="*/ 0 h 201752"/>
              <a:gd name="connsiteX4" fmla="*/ 259394 w 259394"/>
              <a:gd name="connsiteY4" fmla="*/ 112339 h 2017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9394" h="201752">
                <a:moveTo>
                  <a:pt x="259394" y="112339"/>
                </a:moveTo>
                <a:cubicBezTo>
                  <a:pt x="259394" y="144436"/>
                  <a:pt x="254843" y="174240"/>
                  <a:pt x="248017" y="201752"/>
                </a:cubicBezTo>
                <a:cubicBezTo>
                  <a:pt x="248017" y="201752"/>
                  <a:pt x="248017" y="201752"/>
                  <a:pt x="0" y="100876"/>
                </a:cubicBezTo>
                <a:cubicBezTo>
                  <a:pt x="0" y="100876"/>
                  <a:pt x="0" y="100876"/>
                  <a:pt x="243466" y="0"/>
                </a:cubicBezTo>
                <a:cubicBezTo>
                  <a:pt x="252568" y="34390"/>
                  <a:pt x="259394" y="73364"/>
                  <a:pt x="259394" y="112339"/>
                </a:cubicBezTo>
                <a:close/>
              </a:path>
            </a:pathLst>
          </a:custGeom>
          <a:gradFill flip="none" rotWithShape="1">
            <a:gsLst>
              <a:gs pos="0">
                <a:schemeClr val="accent1">
                  <a:lumMod val="55000"/>
                </a:schemeClr>
              </a:gs>
              <a:gs pos="100000">
                <a:schemeClr val="accent1">
                  <a:lumMod val="50000"/>
                </a:schemeClr>
              </a:gs>
            </a:gsLst>
            <a:path path="circle">
              <a:fillToRect l="100000" b="100000"/>
            </a:path>
            <a:tileRect t="-100000" r="-100000"/>
          </a:grad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id-ID">
              <a:solidFill>
                <a:srgbClr val="FFFFFF"/>
              </a:solidFill>
              <a:latin typeface="Arial"/>
            </a:endParaRPr>
          </a:p>
        </p:txBody>
      </p:sp>
      <p:sp>
        <p:nvSpPr>
          <p:cNvPr id="84" name="任意多边形: 形状 83">
            <a:extLst>
              <a:ext uri="{FF2B5EF4-FFF2-40B4-BE49-F238E27FC236}">
                <a16:creationId xmlns:a16="http://schemas.microsoft.com/office/drawing/2014/main" id="{A1B8817F-F914-B909-66C2-924DA0F6CC43}"/>
              </a:ext>
            </a:extLst>
          </p:cNvPr>
          <p:cNvSpPr>
            <a:spLocks noChangeArrowheads="1"/>
          </p:cNvSpPr>
          <p:nvPr/>
        </p:nvSpPr>
        <p:spPr bwMode="auto">
          <a:xfrm>
            <a:off x="5769185" y="4735461"/>
            <a:ext cx="505670" cy="95932"/>
          </a:xfrm>
          <a:custGeom>
            <a:avLst/>
            <a:gdLst>
              <a:gd name="connsiteX0" fmla="*/ 252835 w 505670"/>
              <a:gd name="connsiteY0" fmla="*/ 0 h 95932"/>
              <a:gd name="connsiteX1" fmla="*/ 505670 w 505670"/>
              <a:gd name="connsiteY1" fmla="*/ 47966 h 95932"/>
              <a:gd name="connsiteX2" fmla="*/ 252835 w 505670"/>
              <a:gd name="connsiteY2" fmla="*/ 95932 h 95932"/>
              <a:gd name="connsiteX3" fmla="*/ 0 w 505670"/>
              <a:gd name="connsiteY3" fmla="*/ 47966 h 95932"/>
              <a:gd name="connsiteX4" fmla="*/ 252835 w 505670"/>
              <a:gd name="connsiteY4" fmla="*/ 0 h 959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5670" h="95932">
                <a:moveTo>
                  <a:pt x="252835" y="0"/>
                </a:moveTo>
                <a:cubicBezTo>
                  <a:pt x="392472" y="0"/>
                  <a:pt x="505670" y="21475"/>
                  <a:pt x="505670" y="47966"/>
                </a:cubicBezTo>
                <a:cubicBezTo>
                  <a:pt x="505670" y="74457"/>
                  <a:pt x="392472" y="95932"/>
                  <a:pt x="252835" y="95932"/>
                </a:cubicBezTo>
                <a:cubicBezTo>
                  <a:pt x="113198" y="95932"/>
                  <a:pt x="0" y="74457"/>
                  <a:pt x="0" y="47966"/>
                </a:cubicBezTo>
                <a:cubicBezTo>
                  <a:pt x="0" y="21475"/>
                  <a:pt x="113198" y="0"/>
                  <a:pt x="252835" y="0"/>
                </a:cubicBezTo>
                <a:close/>
              </a:path>
            </a:pathLst>
          </a:custGeom>
          <a:gradFill flip="none" rotWithShape="1">
            <a:gsLst>
              <a:gs pos="0">
                <a:schemeClr val="accent1">
                  <a:lumMod val="75000"/>
                  <a:lumOff val="25000"/>
                </a:schemeClr>
              </a:gs>
              <a:gs pos="100000">
                <a:schemeClr val="accent1">
                  <a:lumMod val="80000"/>
                </a:schemeClr>
              </a:gs>
            </a:gsLst>
            <a:path path="circle">
              <a:fillToRect r="100000" b="100000"/>
            </a:path>
            <a:tileRect l="-100000" t="-100000"/>
          </a:gradFill>
          <a:ln w="6350">
            <a:gradFill>
              <a:gsLst>
                <a:gs pos="0">
                  <a:schemeClr val="accent1">
                    <a:lumMod val="0"/>
                    <a:lumOff val="100000"/>
                    <a:alpha val="70000"/>
                  </a:schemeClr>
                </a:gs>
                <a:gs pos="100000">
                  <a:schemeClr val="accent1">
                    <a:lumMod val="0"/>
                    <a:lumOff val="100000"/>
                    <a:alpha val="7000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id-ID">
              <a:solidFill>
                <a:srgbClr val="FFFFFF"/>
              </a:solidFill>
              <a:latin typeface="Arial"/>
            </a:endParaRPr>
          </a:p>
        </p:txBody>
      </p:sp>
      <p:sp>
        <p:nvSpPr>
          <p:cNvPr id="76" name="w76">
            <a:extLst>
              <a:ext uri="{FF2B5EF4-FFF2-40B4-BE49-F238E27FC236}">
                <a16:creationId xmlns:a16="http://schemas.microsoft.com/office/drawing/2014/main" id="{8D1BC8E5-C559-9819-2404-BBF64EF7EC3F}"/>
              </a:ext>
            </a:extLst>
          </p:cNvPr>
          <p:cNvSpPr>
            <a:spLocks noEditPoints="1"/>
          </p:cNvSpPr>
          <p:nvPr/>
        </p:nvSpPr>
        <p:spPr bwMode="auto">
          <a:xfrm>
            <a:off x="5757804" y="4691562"/>
            <a:ext cx="684524" cy="183732"/>
          </a:xfrm>
          <a:custGeom>
            <a:avLst/>
            <a:gdLst>
              <a:gd name="T0" fmla="*/ 163 w 323"/>
              <a:gd name="T1" fmla="*/ 87 h 87"/>
              <a:gd name="T2" fmla="*/ 19 w 323"/>
              <a:gd name="T3" fmla="*/ 64 h 87"/>
              <a:gd name="T4" fmla="*/ 1 w 323"/>
              <a:gd name="T5" fmla="*/ 40 h 87"/>
              <a:gd name="T6" fmla="*/ 92 w 323"/>
              <a:gd name="T7" fmla="*/ 4 h 87"/>
              <a:gd name="T8" fmla="*/ 161 w 323"/>
              <a:gd name="T9" fmla="*/ 0 h 87"/>
              <a:gd name="T10" fmla="*/ 304 w 323"/>
              <a:gd name="T11" fmla="*/ 23 h 87"/>
              <a:gd name="T12" fmla="*/ 322 w 323"/>
              <a:gd name="T13" fmla="*/ 46 h 87"/>
              <a:gd name="T14" fmla="*/ 231 w 323"/>
              <a:gd name="T15" fmla="*/ 83 h 87"/>
              <a:gd name="T16" fmla="*/ 163 w 323"/>
              <a:gd name="T17" fmla="*/ 87 h 87"/>
              <a:gd name="T18" fmla="*/ 161 w 323"/>
              <a:gd name="T19" fmla="*/ 27 h 87"/>
              <a:gd name="T20" fmla="*/ 128 w 323"/>
              <a:gd name="T21" fmla="*/ 29 h 87"/>
              <a:gd name="T22" fmla="*/ 88 w 323"/>
              <a:gd name="T23" fmla="*/ 43 h 87"/>
              <a:gd name="T24" fmla="*/ 94 w 323"/>
              <a:gd name="T25" fmla="*/ 49 h 87"/>
              <a:gd name="T26" fmla="*/ 162 w 323"/>
              <a:gd name="T27" fmla="*/ 60 h 87"/>
              <a:gd name="T28" fmla="*/ 195 w 323"/>
              <a:gd name="T29" fmla="*/ 58 h 87"/>
              <a:gd name="T30" fmla="*/ 235 w 323"/>
              <a:gd name="T31" fmla="*/ 44 h 87"/>
              <a:gd name="T32" fmla="*/ 229 w 323"/>
              <a:gd name="T33" fmla="*/ 38 h 87"/>
              <a:gd name="T34" fmla="*/ 161 w 323"/>
              <a:gd name="T35" fmla="*/ 2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23" h="87">
                <a:moveTo>
                  <a:pt x="163" y="87"/>
                </a:moveTo>
                <a:cubicBezTo>
                  <a:pt x="101" y="87"/>
                  <a:pt x="46" y="78"/>
                  <a:pt x="19" y="64"/>
                </a:cubicBezTo>
                <a:cubicBezTo>
                  <a:pt x="2" y="55"/>
                  <a:pt x="0" y="46"/>
                  <a:pt x="1" y="40"/>
                </a:cubicBezTo>
                <a:cubicBezTo>
                  <a:pt x="5" y="24"/>
                  <a:pt x="39" y="11"/>
                  <a:pt x="92" y="4"/>
                </a:cubicBezTo>
                <a:cubicBezTo>
                  <a:pt x="114" y="1"/>
                  <a:pt x="137" y="0"/>
                  <a:pt x="161" y="0"/>
                </a:cubicBezTo>
                <a:cubicBezTo>
                  <a:pt x="222" y="0"/>
                  <a:pt x="277" y="9"/>
                  <a:pt x="304" y="23"/>
                </a:cubicBezTo>
                <a:cubicBezTo>
                  <a:pt x="321" y="32"/>
                  <a:pt x="323" y="41"/>
                  <a:pt x="322" y="46"/>
                </a:cubicBezTo>
                <a:cubicBezTo>
                  <a:pt x="318" y="63"/>
                  <a:pt x="284" y="76"/>
                  <a:pt x="231" y="83"/>
                </a:cubicBezTo>
                <a:cubicBezTo>
                  <a:pt x="209" y="85"/>
                  <a:pt x="186" y="87"/>
                  <a:pt x="163" y="87"/>
                </a:cubicBezTo>
                <a:close/>
                <a:moveTo>
                  <a:pt x="161" y="27"/>
                </a:moveTo>
                <a:cubicBezTo>
                  <a:pt x="149" y="27"/>
                  <a:pt x="138" y="28"/>
                  <a:pt x="128" y="29"/>
                </a:cubicBezTo>
                <a:cubicBezTo>
                  <a:pt x="100" y="32"/>
                  <a:pt x="89" y="39"/>
                  <a:pt x="88" y="43"/>
                </a:cubicBezTo>
                <a:cubicBezTo>
                  <a:pt x="87" y="45"/>
                  <a:pt x="90" y="47"/>
                  <a:pt x="94" y="49"/>
                </a:cubicBezTo>
                <a:cubicBezTo>
                  <a:pt x="106" y="55"/>
                  <a:pt x="133" y="60"/>
                  <a:pt x="162" y="60"/>
                </a:cubicBezTo>
                <a:cubicBezTo>
                  <a:pt x="174" y="60"/>
                  <a:pt x="185" y="59"/>
                  <a:pt x="195" y="58"/>
                </a:cubicBezTo>
                <a:cubicBezTo>
                  <a:pt x="223" y="54"/>
                  <a:pt x="235" y="48"/>
                  <a:pt x="235" y="44"/>
                </a:cubicBezTo>
                <a:cubicBezTo>
                  <a:pt x="236" y="42"/>
                  <a:pt x="234" y="40"/>
                  <a:pt x="229" y="38"/>
                </a:cubicBezTo>
                <a:cubicBezTo>
                  <a:pt x="217" y="31"/>
                  <a:pt x="190" y="27"/>
                  <a:pt x="161" y="27"/>
                </a:cubicBezTo>
                <a:close/>
              </a:path>
            </a:pathLst>
          </a:custGeom>
          <a:gradFill flip="none" rotWithShape="1">
            <a:gsLst>
              <a:gs pos="100000">
                <a:schemeClr val="accent1">
                  <a:lumMod val="90000"/>
                </a:schemeClr>
              </a:gs>
              <a:gs pos="0">
                <a:schemeClr val="accent1">
                  <a:lumMod val="75000"/>
                  <a:lumOff val="25000"/>
                </a:schemeClr>
              </a:gs>
            </a:gsLst>
            <a:lin ang="2700000" scaled="1"/>
            <a:tileRect/>
          </a:gradFill>
          <a:ln w="6350">
            <a:gradFill>
              <a:gsLst>
                <a:gs pos="0">
                  <a:schemeClr val="accent1">
                    <a:lumMod val="0"/>
                    <a:lumOff val="100000"/>
                    <a:alpha val="70000"/>
                  </a:schemeClr>
                </a:gs>
                <a:gs pos="100000">
                  <a:schemeClr val="accent1">
                    <a:lumMod val="0"/>
                    <a:lumOff val="100000"/>
                    <a:alpha val="70000"/>
                  </a:schemeClr>
                </a:gs>
              </a:gsLst>
              <a:lin ang="5400000" scaled="1"/>
            </a:gradFill>
          </a:ln>
          <a:effectLst>
            <a:outerShdw blurRad="254000" dist="177800" dir="2700000" algn="tl" rotWithShape="0">
              <a:schemeClr val="accent1">
                <a:alpha val="20000"/>
              </a:schemeClr>
            </a:outerShdw>
          </a:effectLst>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485899" tIns="63500" rIns="1485901" bIns="63500" numCol="1" spcCol="1270" anchor="ctr" anchorCtr="0">
            <a:noAutofit/>
          </a:bodyPr>
          <a:lstStyle/>
          <a:p>
            <a:pPr algn="ctr" defTabSz="2222500">
              <a:lnSpc>
                <a:spcPct val="90000"/>
              </a:lnSpc>
              <a:spcBef>
                <a:spcPct val="0"/>
              </a:spcBef>
              <a:spcAft>
                <a:spcPct val="35000"/>
              </a:spcAft>
            </a:pPr>
            <a:endParaRPr lang="id-ID" sz="3200">
              <a:solidFill>
                <a:prstClr val="white"/>
              </a:solidFill>
              <a:latin typeface="等线" panose="020F0502020204030204"/>
              <a:ea typeface="等线" panose="02010600030101010101" pitchFamily="2" charset="-122"/>
            </a:endParaRPr>
          </a:p>
        </p:txBody>
      </p:sp>
      <p:sp>
        <p:nvSpPr>
          <p:cNvPr id="85" name="任意多边形: 形状 84">
            <a:extLst>
              <a:ext uri="{FF2B5EF4-FFF2-40B4-BE49-F238E27FC236}">
                <a16:creationId xmlns:a16="http://schemas.microsoft.com/office/drawing/2014/main" id="{E80F18A1-9489-0313-10E5-02F9E84F242F}"/>
              </a:ext>
            </a:extLst>
          </p:cNvPr>
          <p:cNvSpPr>
            <a:spLocks/>
          </p:cNvSpPr>
          <p:nvPr/>
        </p:nvSpPr>
        <p:spPr bwMode="auto">
          <a:xfrm>
            <a:off x="5304165" y="4023192"/>
            <a:ext cx="1573917" cy="670611"/>
          </a:xfrm>
          <a:custGeom>
            <a:avLst/>
            <a:gdLst>
              <a:gd name="connsiteX0" fmla="*/ 0 w 1573917"/>
              <a:gd name="connsiteY0" fmla="*/ 0 h 670611"/>
              <a:gd name="connsiteX1" fmla="*/ 74042 w 1573917"/>
              <a:gd name="connsiteY1" fmla="*/ 59255 h 670611"/>
              <a:gd name="connsiteX2" fmla="*/ 1136013 w 1573917"/>
              <a:gd name="connsiteY2" fmla="*/ 152369 h 670611"/>
              <a:gd name="connsiteX3" fmla="*/ 1573917 w 1573917"/>
              <a:gd name="connsiteY3" fmla="*/ 2116 h 670611"/>
              <a:gd name="connsiteX4" fmla="*/ 1246018 w 1573917"/>
              <a:gd name="connsiteY4" fmla="*/ 571383 h 670611"/>
              <a:gd name="connsiteX5" fmla="*/ 990045 w 1573917"/>
              <a:gd name="connsiteY5" fmla="*/ 658149 h 670611"/>
              <a:gd name="connsiteX6" fmla="*/ 368094 w 1573917"/>
              <a:gd name="connsiteY6" fmla="*/ 605243 h 670611"/>
              <a:gd name="connsiteX7" fmla="*/ 323669 w 1573917"/>
              <a:gd name="connsiteY7" fmla="*/ 569267 h 670611"/>
              <a:gd name="connsiteX8" fmla="*/ 0 w 1573917"/>
              <a:gd name="connsiteY8" fmla="*/ 0 h 6706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73917" h="670611">
                <a:moveTo>
                  <a:pt x="0" y="0"/>
                </a:moveTo>
                <a:cubicBezTo>
                  <a:pt x="12693" y="21162"/>
                  <a:pt x="35963" y="40209"/>
                  <a:pt x="74042" y="59255"/>
                </a:cubicBezTo>
                <a:cubicBezTo>
                  <a:pt x="266551" y="158718"/>
                  <a:pt x="742534" y="201042"/>
                  <a:pt x="1136013" y="152369"/>
                </a:cubicBezTo>
                <a:cubicBezTo>
                  <a:pt x="1381409" y="122742"/>
                  <a:pt x="1537954" y="65603"/>
                  <a:pt x="1573917" y="2116"/>
                </a:cubicBezTo>
                <a:cubicBezTo>
                  <a:pt x="1246018" y="571383"/>
                  <a:pt x="1246018" y="571383"/>
                  <a:pt x="1246018" y="571383"/>
                </a:cubicBezTo>
                <a:cubicBezTo>
                  <a:pt x="1224863" y="607359"/>
                  <a:pt x="1133897" y="641219"/>
                  <a:pt x="990045" y="658149"/>
                </a:cubicBezTo>
                <a:cubicBezTo>
                  <a:pt x="759457" y="687776"/>
                  <a:pt x="480214" y="662381"/>
                  <a:pt x="368094" y="605243"/>
                </a:cubicBezTo>
                <a:cubicBezTo>
                  <a:pt x="344823" y="592546"/>
                  <a:pt x="330015" y="581965"/>
                  <a:pt x="323669" y="569267"/>
                </a:cubicBezTo>
                <a:cubicBezTo>
                  <a:pt x="0" y="0"/>
                  <a:pt x="0" y="0"/>
                  <a:pt x="0" y="0"/>
                </a:cubicBezTo>
                <a:close/>
              </a:path>
            </a:pathLst>
          </a:custGeom>
          <a:gradFill flip="none" rotWithShape="1">
            <a:gsLst>
              <a:gs pos="0">
                <a:schemeClr val="accent1">
                  <a:lumMod val="75000"/>
                  <a:lumOff val="25000"/>
                </a:schemeClr>
              </a:gs>
              <a:gs pos="100000">
                <a:schemeClr val="accent1">
                  <a:lumMod val="80000"/>
                </a:schemeClr>
              </a:gs>
            </a:gsLst>
            <a:path path="circle">
              <a:fillToRect r="100000" b="100000"/>
            </a:path>
            <a:tileRect l="-100000" t="-100000"/>
          </a:gradFill>
          <a:ln w="6350">
            <a:gradFill>
              <a:gsLst>
                <a:gs pos="0">
                  <a:schemeClr val="accent1">
                    <a:lumMod val="0"/>
                    <a:lumOff val="100000"/>
                    <a:alpha val="70000"/>
                  </a:schemeClr>
                </a:gs>
                <a:gs pos="100000">
                  <a:schemeClr val="accent1">
                    <a:lumMod val="0"/>
                    <a:lumOff val="100000"/>
                    <a:alpha val="7000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id-ID">
              <a:solidFill>
                <a:srgbClr val="FFFFFF"/>
              </a:solidFill>
              <a:latin typeface="Arial"/>
            </a:endParaRPr>
          </a:p>
        </p:txBody>
      </p:sp>
      <p:sp>
        <p:nvSpPr>
          <p:cNvPr id="86" name="任意多边形: 形状 85">
            <a:extLst>
              <a:ext uri="{FF2B5EF4-FFF2-40B4-BE49-F238E27FC236}">
                <a16:creationId xmlns:a16="http://schemas.microsoft.com/office/drawing/2014/main" id="{9021F33E-E2F3-B00F-C956-FC8510E42A21}"/>
              </a:ext>
            </a:extLst>
          </p:cNvPr>
          <p:cNvSpPr>
            <a:spLocks/>
          </p:cNvSpPr>
          <p:nvPr/>
        </p:nvSpPr>
        <p:spPr bwMode="auto">
          <a:xfrm>
            <a:off x="5278100" y="3780924"/>
            <a:ext cx="1624174" cy="430876"/>
          </a:xfrm>
          <a:custGeom>
            <a:avLst/>
            <a:gdLst>
              <a:gd name="connsiteX0" fmla="*/ 806104 w 1624174"/>
              <a:gd name="connsiteY0" fmla="*/ 0 h 430876"/>
              <a:gd name="connsiteX1" fmla="*/ 1534461 w 1624174"/>
              <a:gd name="connsiteY1" fmla="*/ 114617 h 430876"/>
              <a:gd name="connsiteX2" fmla="*/ 1623389 w 1624174"/>
              <a:gd name="connsiteY2" fmla="*/ 229235 h 430876"/>
              <a:gd name="connsiteX3" fmla="*/ 1163931 w 1624174"/>
              <a:gd name="connsiteY3" fmla="*/ 409651 h 430876"/>
              <a:gd name="connsiteX4" fmla="*/ 818808 w 1624174"/>
              <a:gd name="connsiteY4" fmla="*/ 430876 h 430876"/>
              <a:gd name="connsiteX5" fmla="*/ 90450 w 1624174"/>
              <a:gd name="connsiteY5" fmla="*/ 314136 h 430876"/>
              <a:gd name="connsiteX6" fmla="*/ 1523 w 1624174"/>
              <a:gd name="connsiteY6" fmla="*/ 201642 h 430876"/>
              <a:gd name="connsiteX7" fmla="*/ 460981 w 1624174"/>
              <a:gd name="connsiteY7" fmla="*/ 21226 h 430876"/>
              <a:gd name="connsiteX8" fmla="*/ 806104 w 1624174"/>
              <a:gd name="connsiteY8" fmla="*/ 0 h 4308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24174" h="430876">
                <a:moveTo>
                  <a:pt x="806104" y="0"/>
                </a:moveTo>
                <a:cubicBezTo>
                  <a:pt x="1117350" y="0"/>
                  <a:pt x="1396836" y="44574"/>
                  <a:pt x="1534461" y="114617"/>
                </a:cubicBezTo>
                <a:cubicBezTo>
                  <a:pt x="1617037" y="159191"/>
                  <a:pt x="1627623" y="201642"/>
                  <a:pt x="1623389" y="229235"/>
                </a:cubicBezTo>
                <a:cubicBezTo>
                  <a:pt x="1604333" y="309891"/>
                  <a:pt x="1434947" y="377813"/>
                  <a:pt x="1163931" y="409651"/>
                </a:cubicBezTo>
                <a:cubicBezTo>
                  <a:pt x="1055947" y="424509"/>
                  <a:pt x="939495" y="430876"/>
                  <a:pt x="818808" y="430876"/>
                </a:cubicBezTo>
                <a:cubicBezTo>
                  <a:pt x="507562" y="430876"/>
                  <a:pt x="228076" y="386303"/>
                  <a:pt x="90450" y="314136"/>
                </a:cubicBezTo>
                <a:cubicBezTo>
                  <a:pt x="5758" y="271686"/>
                  <a:pt x="-4829" y="229235"/>
                  <a:pt x="1523" y="201642"/>
                </a:cubicBezTo>
                <a:cubicBezTo>
                  <a:pt x="18462" y="120985"/>
                  <a:pt x="189964" y="53064"/>
                  <a:pt x="460981" y="21226"/>
                </a:cubicBezTo>
                <a:cubicBezTo>
                  <a:pt x="568964" y="6368"/>
                  <a:pt x="685417" y="0"/>
                  <a:pt x="806104" y="0"/>
                </a:cubicBezTo>
                <a:close/>
              </a:path>
            </a:pathLst>
          </a:custGeom>
          <a:gradFill flip="none" rotWithShape="1">
            <a:gsLst>
              <a:gs pos="100000">
                <a:schemeClr val="accent1">
                  <a:lumMod val="100000"/>
                </a:schemeClr>
              </a:gs>
              <a:gs pos="0">
                <a:schemeClr val="accent1">
                  <a:lumMod val="55000"/>
                  <a:lumOff val="45000"/>
                </a:schemeClr>
              </a:gs>
            </a:gsLst>
            <a:lin ang="2700000" scaled="1"/>
            <a:tileRect/>
          </a:gradFill>
          <a:ln w="6350">
            <a:gradFill>
              <a:gsLst>
                <a:gs pos="0">
                  <a:schemeClr val="accent1">
                    <a:lumMod val="0"/>
                    <a:lumOff val="100000"/>
                    <a:alpha val="70000"/>
                  </a:schemeClr>
                </a:gs>
                <a:gs pos="100000">
                  <a:schemeClr val="accent1">
                    <a:lumMod val="0"/>
                    <a:lumOff val="100000"/>
                    <a:alpha val="70000"/>
                  </a:schemeClr>
                </a:gs>
              </a:gsLst>
              <a:lin ang="5400000" scaled="1"/>
            </a:gradFill>
          </a:ln>
          <a:effectLst>
            <a:outerShdw blurRad="254000" dist="177800" dir="2700000" algn="tl" rotWithShape="0">
              <a:schemeClr val="accent1">
                <a:alpha val="20000"/>
              </a:schemeClr>
            </a:outerShdw>
          </a:effectLst>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485899" tIns="63500" rIns="1485901" bIns="63500" numCol="1" spcCol="1270" anchor="ctr" anchorCtr="0">
            <a:noAutofit/>
          </a:bodyPr>
          <a:lstStyle/>
          <a:p>
            <a:pPr algn="ctr" defTabSz="2222500">
              <a:lnSpc>
                <a:spcPct val="90000"/>
              </a:lnSpc>
              <a:spcBef>
                <a:spcPct val="0"/>
              </a:spcBef>
              <a:spcAft>
                <a:spcPct val="35000"/>
              </a:spcAft>
            </a:pPr>
            <a:endParaRPr lang="id-ID" sz="3200">
              <a:solidFill>
                <a:prstClr val="white"/>
              </a:solidFill>
              <a:latin typeface="等线" panose="020F0502020204030204"/>
              <a:ea typeface="等线" panose="02010600030101010101" pitchFamily="2" charset="-122"/>
            </a:endParaRPr>
          </a:p>
        </p:txBody>
      </p:sp>
      <p:sp>
        <p:nvSpPr>
          <p:cNvPr id="87" name="任意多边形: 形状 86">
            <a:extLst>
              <a:ext uri="{FF2B5EF4-FFF2-40B4-BE49-F238E27FC236}">
                <a16:creationId xmlns:a16="http://schemas.microsoft.com/office/drawing/2014/main" id="{ABD11801-BD97-1628-550C-6641CCF702BA}"/>
              </a:ext>
            </a:extLst>
          </p:cNvPr>
          <p:cNvSpPr>
            <a:spLocks/>
          </p:cNvSpPr>
          <p:nvPr/>
        </p:nvSpPr>
        <p:spPr bwMode="auto">
          <a:xfrm>
            <a:off x="4850526" y="3333787"/>
            <a:ext cx="2482821" cy="770070"/>
          </a:xfrm>
          <a:custGeom>
            <a:avLst/>
            <a:gdLst>
              <a:gd name="connsiteX0" fmla="*/ 0 w 2482821"/>
              <a:gd name="connsiteY0" fmla="*/ 0 h 770070"/>
              <a:gd name="connsiteX1" fmla="*/ 116415 w 2482821"/>
              <a:gd name="connsiteY1" fmla="*/ 95118 h 770070"/>
              <a:gd name="connsiteX2" fmla="*/ 1794913 w 2482821"/>
              <a:gd name="connsiteY2" fmla="*/ 240966 h 770070"/>
              <a:gd name="connsiteX3" fmla="*/ 2482821 w 2482821"/>
              <a:gd name="connsiteY3" fmla="*/ 4228 h 770070"/>
              <a:gd name="connsiteX4" fmla="*/ 2156858 w 2482821"/>
              <a:gd name="connsiteY4" fmla="*/ 572821 h 770070"/>
              <a:gd name="connsiteX5" fmla="*/ 1648864 w 2482821"/>
              <a:gd name="connsiteY5" fmla="*/ 746147 h 770070"/>
              <a:gd name="connsiteX6" fmla="*/ 410629 w 2482821"/>
              <a:gd name="connsiteY6" fmla="*/ 638347 h 770070"/>
              <a:gd name="connsiteX7" fmla="*/ 323846 w 2482821"/>
              <a:gd name="connsiteY7" fmla="*/ 568594 h 770070"/>
              <a:gd name="connsiteX8" fmla="*/ 0 w 2482821"/>
              <a:gd name="connsiteY8" fmla="*/ 0 h 770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82821" h="770070">
                <a:moveTo>
                  <a:pt x="0" y="0"/>
                </a:moveTo>
                <a:cubicBezTo>
                  <a:pt x="19050" y="33820"/>
                  <a:pt x="57149" y="65526"/>
                  <a:pt x="116415" y="95118"/>
                </a:cubicBezTo>
                <a:cubicBezTo>
                  <a:pt x="421212" y="251534"/>
                  <a:pt x="1172620" y="317060"/>
                  <a:pt x="1794913" y="240966"/>
                </a:cubicBezTo>
                <a:cubicBezTo>
                  <a:pt x="2180141" y="194463"/>
                  <a:pt x="2425672" y="103573"/>
                  <a:pt x="2482821" y="4228"/>
                </a:cubicBezTo>
                <a:cubicBezTo>
                  <a:pt x="2156858" y="572821"/>
                  <a:pt x="2156858" y="572821"/>
                  <a:pt x="2156858" y="572821"/>
                </a:cubicBezTo>
                <a:cubicBezTo>
                  <a:pt x="2114525" y="644688"/>
                  <a:pt x="1932494" y="712328"/>
                  <a:pt x="1648864" y="746147"/>
                </a:cubicBezTo>
                <a:cubicBezTo>
                  <a:pt x="1189553" y="803218"/>
                  <a:pt x="634993" y="754602"/>
                  <a:pt x="410629" y="638347"/>
                </a:cubicBezTo>
                <a:cubicBezTo>
                  <a:pt x="366179" y="617210"/>
                  <a:pt x="338663" y="593959"/>
                  <a:pt x="323846" y="568594"/>
                </a:cubicBezTo>
                <a:cubicBezTo>
                  <a:pt x="215898" y="380472"/>
                  <a:pt x="107949" y="190236"/>
                  <a:pt x="0" y="0"/>
                </a:cubicBezTo>
                <a:close/>
              </a:path>
            </a:pathLst>
          </a:custGeom>
          <a:gradFill flip="none" rotWithShape="1">
            <a:gsLst>
              <a:gs pos="0">
                <a:schemeClr val="accent1">
                  <a:lumMod val="55000"/>
                  <a:lumOff val="45000"/>
                </a:schemeClr>
              </a:gs>
              <a:gs pos="100000">
                <a:schemeClr val="accent1">
                  <a:lumMod val="90000"/>
                </a:schemeClr>
              </a:gs>
            </a:gsLst>
            <a:path path="circle">
              <a:fillToRect r="100000" b="100000"/>
            </a:path>
            <a:tileRect l="-100000" t="-100000"/>
          </a:gradFill>
          <a:ln w="6350">
            <a:gradFill>
              <a:gsLst>
                <a:gs pos="0">
                  <a:schemeClr val="accent1">
                    <a:lumMod val="0"/>
                    <a:lumOff val="100000"/>
                    <a:alpha val="70000"/>
                  </a:schemeClr>
                </a:gs>
                <a:gs pos="100000">
                  <a:schemeClr val="accent1">
                    <a:lumMod val="0"/>
                    <a:lumOff val="100000"/>
                    <a:alpha val="7000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id-ID">
              <a:solidFill>
                <a:srgbClr val="FFFFFF"/>
              </a:solidFill>
              <a:latin typeface="Arial"/>
            </a:endParaRPr>
          </a:p>
        </p:txBody>
      </p:sp>
      <p:sp>
        <p:nvSpPr>
          <p:cNvPr id="71" name="w71">
            <a:extLst>
              <a:ext uri="{FF2B5EF4-FFF2-40B4-BE49-F238E27FC236}">
                <a16:creationId xmlns:a16="http://schemas.microsoft.com/office/drawing/2014/main" id="{71A98302-5AE0-FA08-C833-9E3791BF7639}"/>
              </a:ext>
            </a:extLst>
          </p:cNvPr>
          <p:cNvSpPr>
            <a:spLocks noEditPoints="1"/>
          </p:cNvSpPr>
          <p:nvPr/>
        </p:nvSpPr>
        <p:spPr bwMode="auto">
          <a:xfrm>
            <a:off x="4814755" y="2961446"/>
            <a:ext cx="2554363" cy="660134"/>
          </a:xfrm>
          <a:custGeom>
            <a:avLst/>
            <a:gdLst>
              <a:gd name="T0" fmla="*/ 608 w 1207"/>
              <a:gd name="T1" fmla="*/ 312 h 312"/>
              <a:gd name="T2" fmla="*/ 68 w 1207"/>
              <a:gd name="T3" fmla="*/ 227 h 312"/>
              <a:gd name="T4" fmla="*/ 5 w 1207"/>
              <a:gd name="T5" fmla="*/ 146 h 312"/>
              <a:gd name="T6" fmla="*/ 342 w 1207"/>
              <a:gd name="T7" fmla="*/ 15 h 312"/>
              <a:gd name="T8" fmla="*/ 600 w 1207"/>
              <a:gd name="T9" fmla="*/ 0 h 312"/>
              <a:gd name="T10" fmla="*/ 1139 w 1207"/>
              <a:gd name="T11" fmla="*/ 86 h 312"/>
              <a:gd name="T12" fmla="*/ 1203 w 1207"/>
              <a:gd name="T13" fmla="*/ 166 h 312"/>
              <a:gd name="T14" fmla="*/ 866 w 1207"/>
              <a:gd name="T15" fmla="*/ 297 h 312"/>
              <a:gd name="T16" fmla="*/ 608 w 1207"/>
              <a:gd name="T17" fmla="*/ 312 h 312"/>
              <a:gd name="T18" fmla="*/ 603 w 1207"/>
              <a:gd name="T19" fmla="*/ 124 h 312"/>
              <a:gd name="T20" fmla="*/ 536 w 1207"/>
              <a:gd name="T21" fmla="*/ 128 h 312"/>
              <a:gd name="T22" fmla="*/ 456 w 1207"/>
              <a:gd name="T23" fmla="*/ 155 h 312"/>
              <a:gd name="T24" fmla="*/ 468 w 1207"/>
              <a:gd name="T25" fmla="*/ 167 h 312"/>
              <a:gd name="T26" fmla="*/ 605 w 1207"/>
              <a:gd name="T27" fmla="*/ 188 h 312"/>
              <a:gd name="T28" fmla="*/ 671 w 1207"/>
              <a:gd name="T29" fmla="*/ 185 h 312"/>
              <a:gd name="T30" fmla="*/ 752 w 1207"/>
              <a:gd name="T31" fmla="*/ 157 h 312"/>
              <a:gd name="T32" fmla="*/ 740 w 1207"/>
              <a:gd name="T33" fmla="*/ 145 h 312"/>
              <a:gd name="T34" fmla="*/ 603 w 1207"/>
              <a:gd name="T35" fmla="*/ 124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07" h="312">
                <a:moveTo>
                  <a:pt x="608" y="312"/>
                </a:moveTo>
                <a:cubicBezTo>
                  <a:pt x="377" y="312"/>
                  <a:pt x="170" y="280"/>
                  <a:pt x="68" y="227"/>
                </a:cubicBezTo>
                <a:cubicBezTo>
                  <a:pt x="8" y="196"/>
                  <a:pt x="0" y="166"/>
                  <a:pt x="5" y="146"/>
                </a:cubicBezTo>
                <a:cubicBezTo>
                  <a:pt x="17" y="88"/>
                  <a:pt x="143" y="40"/>
                  <a:pt x="342" y="15"/>
                </a:cubicBezTo>
                <a:cubicBezTo>
                  <a:pt x="423" y="5"/>
                  <a:pt x="510" y="0"/>
                  <a:pt x="600" y="0"/>
                </a:cubicBezTo>
                <a:cubicBezTo>
                  <a:pt x="830" y="0"/>
                  <a:pt x="1037" y="33"/>
                  <a:pt x="1139" y="86"/>
                </a:cubicBezTo>
                <a:cubicBezTo>
                  <a:pt x="1200" y="116"/>
                  <a:pt x="1207" y="147"/>
                  <a:pt x="1203" y="166"/>
                </a:cubicBezTo>
                <a:cubicBezTo>
                  <a:pt x="1191" y="224"/>
                  <a:pt x="1064" y="273"/>
                  <a:pt x="866" y="297"/>
                </a:cubicBezTo>
                <a:cubicBezTo>
                  <a:pt x="784" y="307"/>
                  <a:pt x="698" y="312"/>
                  <a:pt x="608" y="312"/>
                </a:cubicBezTo>
                <a:moveTo>
                  <a:pt x="603" y="124"/>
                </a:moveTo>
                <a:cubicBezTo>
                  <a:pt x="579" y="124"/>
                  <a:pt x="557" y="125"/>
                  <a:pt x="536" y="128"/>
                </a:cubicBezTo>
                <a:cubicBezTo>
                  <a:pt x="480" y="135"/>
                  <a:pt x="457" y="148"/>
                  <a:pt x="456" y="155"/>
                </a:cubicBezTo>
                <a:cubicBezTo>
                  <a:pt x="455" y="159"/>
                  <a:pt x="460" y="163"/>
                  <a:pt x="468" y="167"/>
                </a:cubicBezTo>
                <a:cubicBezTo>
                  <a:pt x="493" y="180"/>
                  <a:pt x="547" y="188"/>
                  <a:pt x="605" y="188"/>
                </a:cubicBezTo>
                <a:cubicBezTo>
                  <a:pt x="628" y="188"/>
                  <a:pt x="650" y="187"/>
                  <a:pt x="671" y="185"/>
                </a:cubicBezTo>
                <a:cubicBezTo>
                  <a:pt x="727" y="178"/>
                  <a:pt x="750" y="165"/>
                  <a:pt x="752" y="157"/>
                </a:cubicBezTo>
                <a:cubicBezTo>
                  <a:pt x="752" y="154"/>
                  <a:pt x="748" y="150"/>
                  <a:pt x="740" y="145"/>
                </a:cubicBezTo>
                <a:cubicBezTo>
                  <a:pt x="715" y="132"/>
                  <a:pt x="661" y="124"/>
                  <a:pt x="603" y="124"/>
                </a:cubicBezTo>
              </a:path>
            </a:pathLst>
          </a:custGeom>
          <a:gradFill flip="none" rotWithShape="1">
            <a:gsLst>
              <a:gs pos="100000">
                <a:schemeClr val="accent1">
                  <a:lumMod val="80000"/>
                  <a:lumOff val="20000"/>
                </a:schemeClr>
              </a:gs>
              <a:gs pos="0">
                <a:schemeClr val="accent1">
                  <a:lumMod val="35000"/>
                  <a:lumOff val="65000"/>
                </a:schemeClr>
              </a:gs>
            </a:gsLst>
            <a:lin ang="2700000" scaled="1"/>
            <a:tileRect/>
          </a:gradFill>
          <a:ln w="6350">
            <a:gradFill>
              <a:gsLst>
                <a:gs pos="0">
                  <a:schemeClr val="accent1">
                    <a:lumMod val="0"/>
                    <a:lumOff val="100000"/>
                    <a:alpha val="70000"/>
                  </a:schemeClr>
                </a:gs>
                <a:gs pos="100000">
                  <a:schemeClr val="accent1">
                    <a:lumMod val="0"/>
                    <a:lumOff val="100000"/>
                    <a:alpha val="70000"/>
                  </a:schemeClr>
                </a:gs>
              </a:gsLst>
              <a:lin ang="5400000" scaled="1"/>
            </a:gradFill>
          </a:ln>
          <a:effectLst>
            <a:outerShdw blurRad="254000" dist="177800" dir="2700000" algn="tl" rotWithShape="0">
              <a:schemeClr val="accent1">
                <a:alpha val="20000"/>
              </a:schemeClr>
            </a:outerShdw>
          </a:effectLst>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485899" tIns="63500" rIns="1485901" bIns="63500" numCol="1" spcCol="1270" anchor="ctr" anchorCtr="0">
            <a:noAutofit/>
          </a:bodyPr>
          <a:lstStyle/>
          <a:p>
            <a:pPr algn="ctr" defTabSz="2222500">
              <a:lnSpc>
                <a:spcPct val="90000"/>
              </a:lnSpc>
              <a:spcBef>
                <a:spcPct val="0"/>
              </a:spcBef>
              <a:spcAft>
                <a:spcPct val="35000"/>
              </a:spcAft>
            </a:pPr>
            <a:endParaRPr lang="id-ID" sz="3200">
              <a:solidFill>
                <a:prstClr val="white"/>
              </a:solidFill>
              <a:latin typeface="等线" panose="020F0502020204030204"/>
              <a:ea typeface="等线" panose="02010600030101010101" pitchFamily="2" charset="-122"/>
            </a:endParaRPr>
          </a:p>
        </p:txBody>
      </p:sp>
      <p:sp>
        <p:nvSpPr>
          <p:cNvPr id="88" name="任意多边形: 形状 87">
            <a:extLst>
              <a:ext uri="{FF2B5EF4-FFF2-40B4-BE49-F238E27FC236}">
                <a16:creationId xmlns:a16="http://schemas.microsoft.com/office/drawing/2014/main" id="{C2C7ECDD-5340-46C7-4914-E67FB12E7C29}"/>
              </a:ext>
            </a:extLst>
          </p:cNvPr>
          <p:cNvSpPr>
            <a:spLocks/>
          </p:cNvSpPr>
          <p:nvPr/>
        </p:nvSpPr>
        <p:spPr bwMode="auto">
          <a:xfrm>
            <a:off x="4405017" y="2553332"/>
            <a:ext cx="3372215" cy="859692"/>
          </a:xfrm>
          <a:custGeom>
            <a:avLst/>
            <a:gdLst>
              <a:gd name="connsiteX0" fmla="*/ 0 w 3372215"/>
              <a:gd name="connsiteY0" fmla="*/ 0 h 859692"/>
              <a:gd name="connsiteX1" fmla="*/ 78276 w 3372215"/>
              <a:gd name="connsiteY1" fmla="*/ 71908 h 859692"/>
              <a:gd name="connsiteX2" fmla="*/ 192517 w 3372215"/>
              <a:gd name="connsiteY2" fmla="*/ 139585 h 859692"/>
              <a:gd name="connsiteX3" fmla="*/ 317335 w 3372215"/>
              <a:gd name="connsiteY3" fmla="*/ 186113 h 859692"/>
              <a:gd name="connsiteX4" fmla="*/ 624093 w 3372215"/>
              <a:gd name="connsiteY4" fmla="*/ 268596 h 859692"/>
              <a:gd name="connsiteX5" fmla="*/ 657942 w 3372215"/>
              <a:gd name="connsiteY5" fmla="*/ 274940 h 859692"/>
              <a:gd name="connsiteX6" fmla="*/ 660057 w 3372215"/>
              <a:gd name="connsiteY6" fmla="*/ 277055 h 859692"/>
              <a:gd name="connsiteX7" fmla="*/ 662173 w 3372215"/>
              <a:gd name="connsiteY7" fmla="*/ 277055 h 859692"/>
              <a:gd name="connsiteX8" fmla="*/ 706600 w 3372215"/>
              <a:gd name="connsiteY8" fmla="*/ 285515 h 859692"/>
              <a:gd name="connsiteX9" fmla="*/ 803916 w 3372215"/>
              <a:gd name="connsiteY9" fmla="*/ 300319 h 859692"/>
              <a:gd name="connsiteX10" fmla="*/ 960468 w 3372215"/>
              <a:gd name="connsiteY10" fmla="*/ 321469 h 859692"/>
              <a:gd name="connsiteX11" fmla="*/ 1343386 w 3372215"/>
              <a:gd name="connsiteY11" fmla="*/ 355307 h 859692"/>
              <a:gd name="connsiteX12" fmla="*/ 1447049 w 3372215"/>
              <a:gd name="connsiteY12" fmla="*/ 359537 h 859692"/>
              <a:gd name="connsiteX13" fmla="*/ 1453395 w 3372215"/>
              <a:gd name="connsiteY13" fmla="*/ 359537 h 859692"/>
              <a:gd name="connsiteX14" fmla="*/ 2511179 w 3372215"/>
              <a:gd name="connsiteY14" fmla="*/ 313009 h 859692"/>
              <a:gd name="connsiteX15" fmla="*/ 2716389 w 3372215"/>
              <a:gd name="connsiteY15" fmla="*/ 279170 h 859692"/>
              <a:gd name="connsiteX16" fmla="*/ 2959679 w 3372215"/>
              <a:gd name="connsiteY16" fmla="*/ 219952 h 859692"/>
              <a:gd name="connsiteX17" fmla="*/ 3158543 w 3372215"/>
              <a:gd name="connsiteY17" fmla="*/ 154390 h 859692"/>
              <a:gd name="connsiteX18" fmla="*/ 3365868 w 3372215"/>
              <a:gd name="connsiteY18" fmla="*/ 19034 h 859692"/>
              <a:gd name="connsiteX19" fmla="*/ 3372215 w 3372215"/>
              <a:gd name="connsiteY19" fmla="*/ 10575 h 859692"/>
              <a:gd name="connsiteX20" fmla="*/ 3367984 w 3372215"/>
              <a:gd name="connsiteY20" fmla="*/ 19034 h 859692"/>
              <a:gd name="connsiteX21" fmla="*/ 3266437 w 3372215"/>
              <a:gd name="connsiteY21" fmla="*/ 200918 h 859692"/>
              <a:gd name="connsiteX22" fmla="*/ 3143734 w 3372215"/>
              <a:gd name="connsiteY22" fmla="*/ 414525 h 859692"/>
              <a:gd name="connsiteX23" fmla="*/ 2999875 w 3372215"/>
              <a:gd name="connsiteY23" fmla="*/ 613328 h 859692"/>
              <a:gd name="connsiteX24" fmla="*/ 2733314 w 3372215"/>
              <a:gd name="connsiteY24" fmla="*/ 740224 h 859692"/>
              <a:gd name="connsiteX25" fmla="*/ 2600033 w 3372215"/>
              <a:gd name="connsiteY25" fmla="*/ 769833 h 859692"/>
              <a:gd name="connsiteX26" fmla="*/ 2441365 w 3372215"/>
              <a:gd name="connsiteY26" fmla="*/ 805786 h 859692"/>
              <a:gd name="connsiteX27" fmla="*/ 2286929 w 3372215"/>
              <a:gd name="connsiteY27" fmla="*/ 824821 h 859692"/>
              <a:gd name="connsiteX28" fmla="*/ 1959016 w 3372215"/>
              <a:gd name="connsiteY28" fmla="*/ 852315 h 859692"/>
              <a:gd name="connsiteX29" fmla="*/ 1301074 w 3372215"/>
              <a:gd name="connsiteY29" fmla="*/ 843855 h 859692"/>
              <a:gd name="connsiteX30" fmla="*/ 994317 w 3372215"/>
              <a:gd name="connsiteY30" fmla="*/ 814246 h 859692"/>
              <a:gd name="connsiteX31" fmla="*/ 461194 w 3372215"/>
              <a:gd name="connsiteY31" fmla="*/ 670431 h 859692"/>
              <a:gd name="connsiteX32" fmla="*/ 281371 w 3372215"/>
              <a:gd name="connsiteY32" fmla="*/ 505467 h 859692"/>
              <a:gd name="connsiteX33" fmla="*/ 116356 w 3372215"/>
              <a:gd name="connsiteY33" fmla="*/ 211493 h 859692"/>
              <a:gd name="connsiteX34" fmla="*/ 0 w 3372215"/>
              <a:gd name="connsiteY34" fmla="*/ 0 h 859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372215" h="859692">
                <a:moveTo>
                  <a:pt x="0" y="0"/>
                </a:moveTo>
                <a:cubicBezTo>
                  <a:pt x="19040" y="27494"/>
                  <a:pt x="50774" y="50758"/>
                  <a:pt x="78276" y="71908"/>
                </a:cubicBezTo>
                <a:cubicBezTo>
                  <a:pt x="114241" y="97287"/>
                  <a:pt x="152321" y="120551"/>
                  <a:pt x="192517" y="139585"/>
                </a:cubicBezTo>
                <a:cubicBezTo>
                  <a:pt x="232713" y="158619"/>
                  <a:pt x="275024" y="171309"/>
                  <a:pt x="317335" y="186113"/>
                </a:cubicBezTo>
                <a:cubicBezTo>
                  <a:pt x="414651" y="224182"/>
                  <a:pt x="520430" y="247446"/>
                  <a:pt x="624093" y="268596"/>
                </a:cubicBezTo>
                <a:cubicBezTo>
                  <a:pt x="634670" y="270710"/>
                  <a:pt x="647364" y="272825"/>
                  <a:pt x="657942" y="274940"/>
                </a:cubicBezTo>
                <a:cubicBezTo>
                  <a:pt x="657942" y="274940"/>
                  <a:pt x="657942" y="274940"/>
                  <a:pt x="660057" y="277055"/>
                </a:cubicBezTo>
                <a:cubicBezTo>
                  <a:pt x="660057" y="277055"/>
                  <a:pt x="662173" y="277055"/>
                  <a:pt x="662173" y="277055"/>
                </a:cubicBezTo>
                <a:cubicBezTo>
                  <a:pt x="676982" y="279170"/>
                  <a:pt x="691791" y="281285"/>
                  <a:pt x="706600" y="285515"/>
                </a:cubicBezTo>
                <a:cubicBezTo>
                  <a:pt x="738333" y="291860"/>
                  <a:pt x="772182" y="296090"/>
                  <a:pt x="803916" y="300319"/>
                </a:cubicBezTo>
                <a:cubicBezTo>
                  <a:pt x="854690" y="308779"/>
                  <a:pt x="907579" y="317239"/>
                  <a:pt x="960468" y="321469"/>
                </a:cubicBezTo>
                <a:cubicBezTo>
                  <a:pt x="1087402" y="338388"/>
                  <a:pt x="1214336" y="344733"/>
                  <a:pt x="1343386" y="355307"/>
                </a:cubicBezTo>
                <a:cubicBezTo>
                  <a:pt x="1377235" y="357422"/>
                  <a:pt x="1413199" y="359537"/>
                  <a:pt x="1447049" y="359537"/>
                </a:cubicBezTo>
                <a:cubicBezTo>
                  <a:pt x="1447049" y="359537"/>
                  <a:pt x="1447049" y="359537"/>
                  <a:pt x="1453395" y="359537"/>
                </a:cubicBezTo>
                <a:cubicBezTo>
                  <a:pt x="1806695" y="374342"/>
                  <a:pt x="2162110" y="361652"/>
                  <a:pt x="2511179" y="313009"/>
                </a:cubicBezTo>
                <a:cubicBezTo>
                  <a:pt x="2578877" y="306664"/>
                  <a:pt x="2648691" y="291860"/>
                  <a:pt x="2716389" y="279170"/>
                </a:cubicBezTo>
                <a:cubicBezTo>
                  <a:pt x="2729083" y="277055"/>
                  <a:pt x="2925830" y="230527"/>
                  <a:pt x="2959679" y="219952"/>
                </a:cubicBezTo>
                <a:cubicBezTo>
                  <a:pt x="3027378" y="200918"/>
                  <a:pt x="3095076" y="181884"/>
                  <a:pt x="3158543" y="154390"/>
                </a:cubicBezTo>
                <a:cubicBezTo>
                  <a:pt x="3234703" y="120551"/>
                  <a:pt x="3312979" y="78252"/>
                  <a:pt x="3365868" y="19034"/>
                </a:cubicBezTo>
                <a:cubicBezTo>
                  <a:pt x="3367984" y="14805"/>
                  <a:pt x="3370100" y="12690"/>
                  <a:pt x="3372215" y="10575"/>
                </a:cubicBezTo>
                <a:cubicBezTo>
                  <a:pt x="3370100" y="12690"/>
                  <a:pt x="3370100" y="16920"/>
                  <a:pt x="3367984" y="19034"/>
                </a:cubicBezTo>
                <a:cubicBezTo>
                  <a:pt x="3336250" y="80367"/>
                  <a:pt x="3300286" y="141700"/>
                  <a:pt x="3266437" y="200918"/>
                </a:cubicBezTo>
                <a:cubicBezTo>
                  <a:pt x="3224125" y="272825"/>
                  <a:pt x="3181814" y="342618"/>
                  <a:pt x="3143734" y="414525"/>
                </a:cubicBezTo>
                <a:cubicBezTo>
                  <a:pt x="3105654" y="486433"/>
                  <a:pt x="3065458" y="558340"/>
                  <a:pt x="2999875" y="613328"/>
                </a:cubicBezTo>
                <a:cubicBezTo>
                  <a:pt x="2927946" y="676776"/>
                  <a:pt x="2830630" y="714845"/>
                  <a:pt x="2733314" y="740224"/>
                </a:cubicBezTo>
                <a:cubicBezTo>
                  <a:pt x="2691002" y="752913"/>
                  <a:pt x="2644460" y="761373"/>
                  <a:pt x="2600033" y="769833"/>
                </a:cubicBezTo>
                <a:cubicBezTo>
                  <a:pt x="2549259" y="780407"/>
                  <a:pt x="2494255" y="797327"/>
                  <a:pt x="2441365" y="805786"/>
                </a:cubicBezTo>
                <a:cubicBezTo>
                  <a:pt x="2390592" y="812131"/>
                  <a:pt x="2339818" y="818476"/>
                  <a:pt x="2286929" y="824821"/>
                </a:cubicBezTo>
                <a:cubicBezTo>
                  <a:pt x="2179035" y="837510"/>
                  <a:pt x="2069025" y="848085"/>
                  <a:pt x="1959016" y="852315"/>
                </a:cubicBezTo>
                <a:cubicBezTo>
                  <a:pt x="1741112" y="865004"/>
                  <a:pt x="1521093" y="860774"/>
                  <a:pt x="1301074" y="843855"/>
                </a:cubicBezTo>
                <a:cubicBezTo>
                  <a:pt x="1199527" y="835395"/>
                  <a:pt x="1095864" y="829050"/>
                  <a:pt x="994317" y="814246"/>
                </a:cubicBezTo>
                <a:cubicBezTo>
                  <a:pt x="808147" y="790982"/>
                  <a:pt x="628324" y="750798"/>
                  <a:pt x="461194" y="670431"/>
                </a:cubicBezTo>
                <a:cubicBezTo>
                  <a:pt x="382918" y="634477"/>
                  <a:pt x="319451" y="575260"/>
                  <a:pt x="281371" y="505467"/>
                </a:cubicBezTo>
                <a:cubicBezTo>
                  <a:pt x="226366" y="408181"/>
                  <a:pt x="169246" y="310894"/>
                  <a:pt x="116356" y="211493"/>
                </a:cubicBezTo>
                <a:cubicBezTo>
                  <a:pt x="78276" y="141700"/>
                  <a:pt x="46543" y="67678"/>
                  <a:pt x="0" y="0"/>
                </a:cubicBezTo>
                <a:close/>
              </a:path>
            </a:pathLst>
          </a:custGeom>
          <a:gradFill flip="none" rotWithShape="1">
            <a:gsLst>
              <a:gs pos="0">
                <a:schemeClr val="accent1">
                  <a:lumMod val="35000"/>
                  <a:lumOff val="65000"/>
                </a:schemeClr>
              </a:gs>
              <a:gs pos="100000">
                <a:schemeClr val="accent1">
                  <a:lumMod val="100000"/>
                </a:schemeClr>
              </a:gs>
            </a:gsLst>
            <a:path path="circle">
              <a:fillToRect r="100000" b="100000"/>
            </a:path>
            <a:tileRect l="-100000" t="-100000"/>
          </a:gradFill>
          <a:ln w="6350">
            <a:gradFill>
              <a:gsLst>
                <a:gs pos="0">
                  <a:schemeClr val="accent1">
                    <a:lumMod val="0"/>
                    <a:lumOff val="100000"/>
                    <a:alpha val="70000"/>
                  </a:schemeClr>
                </a:gs>
                <a:gs pos="100000">
                  <a:schemeClr val="accent1">
                    <a:lumMod val="0"/>
                    <a:lumOff val="100000"/>
                    <a:alpha val="7000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id-ID" dirty="0">
              <a:solidFill>
                <a:srgbClr val="FFFFFF"/>
              </a:solidFill>
              <a:latin typeface="Arial"/>
            </a:endParaRPr>
          </a:p>
        </p:txBody>
      </p:sp>
      <p:sp>
        <p:nvSpPr>
          <p:cNvPr id="89" name="任意多边形: 形状 88">
            <a:extLst>
              <a:ext uri="{FF2B5EF4-FFF2-40B4-BE49-F238E27FC236}">
                <a16:creationId xmlns:a16="http://schemas.microsoft.com/office/drawing/2014/main" id="{15292058-DE12-0819-8568-66D2B5A2C3D0}"/>
              </a:ext>
            </a:extLst>
          </p:cNvPr>
          <p:cNvSpPr>
            <a:spLocks/>
          </p:cNvSpPr>
          <p:nvPr/>
        </p:nvSpPr>
        <p:spPr bwMode="auto">
          <a:xfrm>
            <a:off x="4366576" y="2408624"/>
            <a:ext cx="3455019" cy="525181"/>
          </a:xfrm>
          <a:custGeom>
            <a:avLst/>
            <a:gdLst>
              <a:gd name="connsiteX0" fmla="*/ 21551 w 3455019"/>
              <a:gd name="connsiteY0" fmla="*/ 0 h 525181"/>
              <a:gd name="connsiteX1" fmla="*/ 38474 w 3455019"/>
              <a:gd name="connsiteY1" fmla="*/ 10588 h 525181"/>
              <a:gd name="connsiteX2" fmla="*/ 49050 w 3455019"/>
              <a:gd name="connsiteY2" fmla="*/ 16941 h 525181"/>
              <a:gd name="connsiteX3" fmla="*/ 61742 w 3455019"/>
              <a:gd name="connsiteY3" fmla="*/ 25412 h 525181"/>
              <a:gd name="connsiteX4" fmla="*/ 967099 w 3455019"/>
              <a:gd name="connsiteY4" fmla="*/ 252002 h 525181"/>
              <a:gd name="connsiteX5" fmla="*/ 1747652 w 3455019"/>
              <a:gd name="connsiteY5" fmla="*/ 294356 h 525181"/>
              <a:gd name="connsiteX6" fmla="*/ 1885148 w 3455019"/>
              <a:gd name="connsiteY6" fmla="*/ 294356 h 525181"/>
              <a:gd name="connsiteX7" fmla="*/ 1891494 w 3455019"/>
              <a:gd name="connsiteY7" fmla="*/ 294356 h 525181"/>
              <a:gd name="connsiteX8" fmla="*/ 2073411 w 3455019"/>
              <a:gd name="connsiteY8" fmla="*/ 283767 h 525181"/>
              <a:gd name="connsiteX9" fmla="*/ 2191869 w 3455019"/>
              <a:gd name="connsiteY9" fmla="*/ 281650 h 525181"/>
              <a:gd name="connsiteX10" fmla="*/ 2485899 w 3455019"/>
              <a:gd name="connsiteY10" fmla="*/ 254120 h 525181"/>
              <a:gd name="connsiteX11" fmla="*/ 3126841 w 3455019"/>
              <a:gd name="connsiteY11" fmla="*/ 135531 h 525181"/>
              <a:gd name="connsiteX12" fmla="*/ 3128956 w 3455019"/>
              <a:gd name="connsiteY12" fmla="*/ 133413 h 525181"/>
              <a:gd name="connsiteX13" fmla="*/ 3406063 w 3455019"/>
              <a:gd name="connsiteY13" fmla="*/ 23294 h 525181"/>
              <a:gd name="connsiteX14" fmla="*/ 3412409 w 3455019"/>
              <a:gd name="connsiteY14" fmla="*/ 19059 h 525181"/>
              <a:gd name="connsiteX15" fmla="*/ 3418755 w 3455019"/>
              <a:gd name="connsiteY15" fmla="*/ 14824 h 525181"/>
              <a:gd name="connsiteX16" fmla="*/ 3435677 w 3455019"/>
              <a:gd name="connsiteY16" fmla="*/ 6353 h 525181"/>
              <a:gd name="connsiteX17" fmla="*/ 3444139 w 3455019"/>
              <a:gd name="connsiteY17" fmla="*/ 21177 h 525181"/>
              <a:gd name="connsiteX18" fmla="*/ 3446254 w 3455019"/>
              <a:gd name="connsiteY18" fmla="*/ 29647 h 525181"/>
              <a:gd name="connsiteX19" fmla="*/ 3435677 w 3455019"/>
              <a:gd name="connsiteY19" fmla="*/ 148237 h 525181"/>
              <a:gd name="connsiteX20" fmla="*/ 3431447 w 3455019"/>
              <a:gd name="connsiteY20" fmla="*/ 154590 h 525181"/>
              <a:gd name="connsiteX21" fmla="*/ 3427216 w 3455019"/>
              <a:gd name="connsiteY21" fmla="*/ 158825 h 525181"/>
              <a:gd name="connsiteX22" fmla="*/ 3124725 w 3455019"/>
              <a:gd name="connsiteY22" fmla="*/ 340944 h 525181"/>
              <a:gd name="connsiteX23" fmla="*/ 2756660 w 3455019"/>
              <a:gd name="connsiteY23" fmla="*/ 438357 h 525181"/>
              <a:gd name="connsiteX24" fmla="*/ 2551474 w 3455019"/>
              <a:gd name="connsiteY24" fmla="*/ 472240 h 525181"/>
              <a:gd name="connsiteX25" fmla="*/ 1758229 w 3455019"/>
              <a:gd name="connsiteY25" fmla="*/ 525181 h 525181"/>
              <a:gd name="connsiteX26" fmla="*/ 1491698 w 3455019"/>
              <a:gd name="connsiteY26" fmla="*/ 518828 h 525181"/>
              <a:gd name="connsiteX27" fmla="*/ 1485352 w 3455019"/>
              <a:gd name="connsiteY27" fmla="*/ 518828 h 525181"/>
              <a:gd name="connsiteX28" fmla="*/ 1381702 w 3455019"/>
              <a:gd name="connsiteY28" fmla="*/ 514593 h 525181"/>
              <a:gd name="connsiteX29" fmla="*/ 1252667 w 3455019"/>
              <a:gd name="connsiteY29" fmla="*/ 504004 h 525181"/>
              <a:gd name="connsiteX30" fmla="*/ 996713 w 3455019"/>
              <a:gd name="connsiteY30" fmla="*/ 480710 h 525181"/>
              <a:gd name="connsiteX31" fmla="*/ 869794 w 3455019"/>
              <a:gd name="connsiteY31" fmla="*/ 463769 h 525181"/>
              <a:gd name="connsiteX32" fmla="*/ 840180 w 3455019"/>
              <a:gd name="connsiteY32" fmla="*/ 459534 h 525181"/>
              <a:gd name="connsiteX33" fmla="*/ 821142 w 3455019"/>
              <a:gd name="connsiteY33" fmla="*/ 457416 h 525181"/>
              <a:gd name="connsiteX34" fmla="*/ 816911 w 3455019"/>
              <a:gd name="connsiteY34" fmla="*/ 457416 h 525181"/>
              <a:gd name="connsiteX35" fmla="*/ 514421 w 3455019"/>
              <a:gd name="connsiteY35" fmla="*/ 396004 h 525181"/>
              <a:gd name="connsiteX36" fmla="*/ 220391 w 3455019"/>
              <a:gd name="connsiteY36" fmla="*/ 294356 h 525181"/>
              <a:gd name="connsiteX37" fmla="*/ 85011 w 3455019"/>
              <a:gd name="connsiteY37" fmla="*/ 213884 h 525181"/>
              <a:gd name="connsiteX38" fmla="*/ 398 w 3455019"/>
              <a:gd name="connsiteY38" fmla="*/ 61412 h 525181"/>
              <a:gd name="connsiteX39" fmla="*/ 398 w 3455019"/>
              <a:gd name="connsiteY39" fmla="*/ 57177 h 525181"/>
              <a:gd name="connsiteX40" fmla="*/ 10974 w 3455019"/>
              <a:gd name="connsiteY40" fmla="*/ 19059 h 525181"/>
              <a:gd name="connsiteX41" fmla="*/ 13090 w 3455019"/>
              <a:gd name="connsiteY41" fmla="*/ 14824 h 525181"/>
              <a:gd name="connsiteX42" fmla="*/ 21551 w 3455019"/>
              <a:gd name="connsiteY42" fmla="*/ 0 h 5251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3455019" h="525181">
                <a:moveTo>
                  <a:pt x="21551" y="0"/>
                </a:moveTo>
                <a:cubicBezTo>
                  <a:pt x="38474" y="10588"/>
                  <a:pt x="38474" y="10588"/>
                  <a:pt x="38474" y="10588"/>
                </a:cubicBezTo>
                <a:cubicBezTo>
                  <a:pt x="42704" y="12706"/>
                  <a:pt x="44820" y="14824"/>
                  <a:pt x="49050" y="16941"/>
                </a:cubicBezTo>
                <a:cubicBezTo>
                  <a:pt x="61742" y="25412"/>
                  <a:pt x="61742" y="25412"/>
                  <a:pt x="61742" y="25412"/>
                </a:cubicBezTo>
                <a:cubicBezTo>
                  <a:pt x="345195" y="165178"/>
                  <a:pt x="679415" y="218120"/>
                  <a:pt x="967099" y="252002"/>
                </a:cubicBezTo>
                <a:cubicBezTo>
                  <a:pt x="1214591" y="281650"/>
                  <a:pt x="1468430" y="294356"/>
                  <a:pt x="1747652" y="294356"/>
                </a:cubicBezTo>
                <a:cubicBezTo>
                  <a:pt x="1792074" y="294356"/>
                  <a:pt x="1838611" y="294356"/>
                  <a:pt x="1885148" y="294356"/>
                </a:cubicBezTo>
                <a:cubicBezTo>
                  <a:pt x="1887263" y="294356"/>
                  <a:pt x="1889379" y="294356"/>
                  <a:pt x="1891494" y="294356"/>
                </a:cubicBezTo>
                <a:cubicBezTo>
                  <a:pt x="1950723" y="285885"/>
                  <a:pt x="2012067" y="285885"/>
                  <a:pt x="2073411" y="283767"/>
                </a:cubicBezTo>
                <a:cubicBezTo>
                  <a:pt x="2113602" y="283767"/>
                  <a:pt x="2153793" y="283767"/>
                  <a:pt x="2191869" y="281650"/>
                </a:cubicBezTo>
                <a:cubicBezTo>
                  <a:pt x="2293405" y="275297"/>
                  <a:pt x="2390709" y="264708"/>
                  <a:pt x="2485899" y="254120"/>
                </a:cubicBezTo>
                <a:cubicBezTo>
                  <a:pt x="2724930" y="228708"/>
                  <a:pt x="2934346" y="190590"/>
                  <a:pt x="3126841" y="135531"/>
                </a:cubicBezTo>
                <a:cubicBezTo>
                  <a:pt x="3128956" y="133413"/>
                  <a:pt x="3128956" y="133413"/>
                  <a:pt x="3128956" y="133413"/>
                </a:cubicBezTo>
                <a:cubicBezTo>
                  <a:pt x="3219915" y="105883"/>
                  <a:pt x="3308758" y="69883"/>
                  <a:pt x="3406063" y="23294"/>
                </a:cubicBezTo>
                <a:cubicBezTo>
                  <a:pt x="3408178" y="21177"/>
                  <a:pt x="3410293" y="21177"/>
                  <a:pt x="3412409" y="19059"/>
                </a:cubicBezTo>
                <a:cubicBezTo>
                  <a:pt x="3418755" y="14824"/>
                  <a:pt x="3418755" y="14824"/>
                  <a:pt x="3418755" y="14824"/>
                </a:cubicBezTo>
                <a:cubicBezTo>
                  <a:pt x="3435677" y="6353"/>
                  <a:pt x="3435677" y="6353"/>
                  <a:pt x="3435677" y="6353"/>
                </a:cubicBezTo>
                <a:cubicBezTo>
                  <a:pt x="3444139" y="21177"/>
                  <a:pt x="3444139" y="21177"/>
                  <a:pt x="3444139" y="21177"/>
                </a:cubicBezTo>
                <a:cubicBezTo>
                  <a:pt x="3444139" y="25412"/>
                  <a:pt x="3446254" y="27530"/>
                  <a:pt x="3446254" y="29647"/>
                </a:cubicBezTo>
                <a:cubicBezTo>
                  <a:pt x="3461061" y="69883"/>
                  <a:pt x="3456830" y="112236"/>
                  <a:pt x="3435677" y="148237"/>
                </a:cubicBezTo>
                <a:cubicBezTo>
                  <a:pt x="3431447" y="154590"/>
                  <a:pt x="3431447" y="154590"/>
                  <a:pt x="3431447" y="154590"/>
                </a:cubicBezTo>
                <a:cubicBezTo>
                  <a:pt x="3429331" y="156707"/>
                  <a:pt x="3429331" y="156707"/>
                  <a:pt x="3427216" y="158825"/>
                </a:cubicBezTo>
                <a:cubicBezTo>
                  <a:pt x="3351064" y="254120"/>
                  <a:pt x="3226261" y="307062"/>
                  <a:pt x="3124725" y="340944"/>
                </a:cubicBezTo>
                <a:cubicBezTo>
                  <a:pt x="3002037" y="383298"/>
                  <a:pt x="2788389" y="432004"/>
                  <a:pt x="2756660" y="438357"/>
                </a:cubicBezTo>
                <a:cubicBezTo>
                  <a:pt x="2684739" y="453181"/>
                  <a:pt x="2617048" y="465887"/>
                  <a:pt x="2551474" y="472240"/>
                </a:cubicBezTo>
                <a:cubicBezTo>
                  <a:pt x="2301866" y="506122"/>
                  <a:pt x="2033220" y="525181"/>
                  <a:pt x="1758229" y="525181"/>
                </a:cubicBezTo>
                <a:cubicBezTo>
                  <a:pt x="1671501" y="525181"/>
                  <a:pt x="1580542" y="523063"/>
                  <a:pt x="1491698" y="518828"/>
                </a:cubicBezTo>
                <a:cubicBezTo>
                  <a:pt x="1485352" y="518828"/>
                  <a:pt x="1485352" y="518828"/>
                  <a:pt x="1485352" y="518828"/>
                </a:cubicBezTo>
                <a:cubicBezTo>
                  <a:pt x="1449392" y="518828"/>
                  <a:pt x="1415547" y="516710"/>
                  <a:pt x="1381702" y="514593"/>
                </a:cubicBezTo>
                <a:cubicBezTo>
                  <a:pt x="1337280" y="510357"/>
                  <a:pt x="1294974" y="508240"/>
                  <a:pt x="1252667" y="504004"/>
                </a:cubicBezTo>
                <a:cubicBezTo>
                  <a:pt x="1168054" y="497651"/>
                  <a:pt x="1081326" y="491298"/>
                  <a:pt x="996713" y="480710"/>
                </a:cubicBezTo>
                <a:cubicBezTo>
                  <a:pt x="954407" y="478593"/>
                  <a:pt x="909985" y="470122"/>
                  <a:pt x="869794" y="463769"/>
                </a:cubicBezTo>
                <a:cubicBezTo>
                  <a:pt x="859218" y="463769"/>
                  <a:pt x="850756" y="461651"/>
                  <a:pt x="840180" y="459534"/>
                </a:cubicBezTo>
                <a:cubicBezTo>
                  <a:pt x="833834" y="459534"/>
                  <a:pt x="827488" y="457416"/>
                  <a:pt x="821142" y="457416"/>
                </a:cubicBezTo>
                <a:cubicBezTo>
                  <a:pt x="816911" y="457416"/>
                  <a:pt x="816911" y="457416"/>
                  <a:pt x="816911" y="457416"/>
                </a:cubicBezTo>
                <a:cubicBezTo>
                  <a:pt x="711145" y="440475"/>
                  <a:pt x="609610" y="419298"/>
                  <a:pt x="514421" y="396004"/>
                </a:cubicBezTo>
                <a:cubicBezTo>
                  <a:pt x="421346" y="370592"/>
                  <a:pt x="311350" y="338827"/>
                  <a:pt x="220391" y="294356"/>
                </a:cubicBezTo>
                <a:cubicBezTo>
                  <a:pt x="173854" y="271061"/>
                  <a:pt x="125202" y="247767"/>
                  <a:pt x="85011" y="213884"/>
                </a:cubicBezTo>
                <a:cubicBezTo>
                  <a:pt x="25782" y="167296"/>
                  <a:pt x="-3833" y="112236"/>
                  <a:pt x="398" y="61412"/>
                </a:cubicBezTo>
                <a:cubicBezTo>
                  <a:pt x="398" y="59295"/>
                  <a:pt x="398" y="57177"/>
                  <a:pt x="398" y="57177"/>
                </a:cubicBezTo>
                <a:cubicBezTo>
                  <a:pt x="398" y="44471"/>
                  <a:pt x="4628" y="31765"/>
                  <a:pt x="10974" y="19059"/>
                </a:cubicBezTo>
                <a:cubicBezTo>
                  <a:pt x="10974" y="16941"/>
                  <a:pt x="10974" y="16941"/>
                  <a:pt x="13090" y="14824"/>
                </a:cubicBezTo>
                <a:cubicBezTo>
                  <a:pt x="21551" y="0"/>
                  <a:pt x="21551" y="0"/>
                  <a:pt x="21551" y="0"/>
                </a:cubicBezTo>
                <a:close/>
              </a:path>
            </a:pathLst>
          </a:custGeom>
          <a:gradFill flip="none" rotWithShape="1">
            <a:gsLst>
              <a:gs pos="100000">
                <a:schemeClr val="accent1">
                  <a:lumMod val="65000"/>
                  <a:lumOff val="35000"/>
                </a:schemeClr>
              </a:gs>
              <a:gs pos="0">
                <a:schemeClr val="accent1">
                  <a:lumMod val="25000"/>
                  <a:lumOff val="75000"/>
                </a:schemeClr>
              </a:gs>
            </a:gsLst>
            <a:lin ang="2700000" scaled="1"/>
            <a:tileRect/>
          </a:gradFill>
          <a:ln w="6350">
            <a:gradFill>
              <a:gsLst>
                <a:gs pos="0">
                  <a:schemeClr val="accent1">
                    <a:lumMod val="0"/>
                    <a:lumOff val="100000"/>
                    <a:alpha val="70000"/>
                  </a:schemeClr>
                </a:gs>
                <a:gs pos="100000">
                  <a:schemeClr val="accent1">
                    <a:lumMod val="0"/>
                    <a:lumOff val="100000"/>
                    <a:alpha val="70000"/>
                  </a:schemeClr>
                </a:gs>
              </a:gsLst>
              <a:lin ang="5400000" scaled="1"/>
            </a:gradFill>
          </a:ln>
          <a:effectLst>
            <a:outerShdw blurRad="254000" dist="177800" dir="2700000" algn="tl" rotWithShape="0">
              <a:schemeClr val="accent1">
                <a:alpha val="20000"/>
              </a:schemeClr>
            </a:outerShdw>
          </a:effectLst>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485899" tIns="63500" rIns="1485901" bIns="63500" numCol="1" spcCol="1270" anchor="ctr" anchorCtr="0">
            <a:noAutofit/>
          </a:bodyPr>
          <a:lstStyle/>
          <a:p>
            <a:pPr algn="ctr" defTabSz="2222500">
              <a:lnSpc>
                <a:spcPct val="90000"/>
              </a:lnSpc>
              <a:spcBef>
                <a:spcPct val="0"/>
              </a:spcBef>
              <a:spcAft>
                <a:spcPct val="35000"/>
              </a:spcAft>
            </a:pPr>
            <a:endParaRPr lang="id-ID" sz="3200">
              <a:solidFill>
                <a:prstClr val="white"/>
              </a:solidFill>
              <a:latin typeface="等线" panose="020F0502020204030204"/>
              <a:ea typeface="等线" panose="02010600030101010101" pitchFamily="2" charset="-122"/>
            </a:endParaRPr>
          </a:p>
        </p:txBody>
      </p:sp>
      <p:sp>
        <p:nvSpPr>
          <p:cNvPr id="90" name="任意多边形: 形状 89">
            <a:extLst>
              <a:ext uri="{FF2B5EF4-FFF2-40B4-BE49-F238E27FC236}">
                <a16:creationId xmlns:a16="http://schemas.microsoft.com/office/drawing/2014/main" id="{D34B625D-A080-90CF-5839-78DDEE46EDF1}"/>
              </a:ext>
            </a:extLst>
          </p:cNvPr>
          <p:cNvSpPr>
            <a:spLocks/>
          </p:cNvSpPr>
          <p:nvPr/>
        </p:nvSpPr>
        <p:spPr bwMode="auto">
          <a:xfrm>
            <a:off x="5144821" y="1435787"/>
            <a:ext cx="1902358" cy="528955"/>
          </a:xfrm>
          <a:custGeom>
            <a:avLst/>
            <a:gdLst>
              <a:gd name="connsiteX0" fmla="*/ 896822 w 1902358"/>
              <a:gd name="connsiteY0" fmla="*/ 249 h 528955"/>
              <a:gd name="connsiteX1" fmla="*/ 1805018 w 1902358"/>
              <a:gd name="connsiteY1" fmla="*/ 135573 h 528955"/>
              <a:gd name="connsiteX2" fmla="*/ 1815599 w 1902358"/>
              <a:gd name="connsiteY2" fmla="*/ 141918 h 528955"/>
              <a:gd name="connsiteX3" fmla="*/ 1819831 w 1902358"/>
              <a:gd name="connsiteY3" fmla="*/ 144033 h 528955"/>
              <a:gd name="connsiteX4" fmla="*/ 1826179 w 1902358"/>
              <a:gd name="connsiteY4" fmla="*/ 148263 h 528955"/>
              <a:gd name="connsiteX5" fmla="*/ 1830411 w 1902358"/>
              <a:gd name="connsiteY5" fmla="*/ 150378 h 528955"/>
              <a:gd name="connsiteX6" fmla="*/ 1836760 w 1902358"/>
              <a:gd name="connsiteY6" fmla="*/ 154608 h 528955"/>
              <a:gd name="connsiteX7" fmla="*/ 1840992 w 1902358"/>
              <a:gd name="connsiteY7" fmla="*/ 156723 h 528955"/>
              <a:gd name="connsiteX8" fmla="*/ 1845224 w 1902358"/>
              <a:gd name="connsiteY8" fmla="*/ 160953 h 528955"/>
              <a:gd name="connsiteX9" fmla="*/ 1849456 w 1902358"/>
              <a:gd name="connsiteY9" fmla="*/ 163068 h 528955"/>
              <a:gd name="connsiteX10" fmla="*/ 1853688 w 1902358"/>
              <a:gd name="connsiteY10" fmla="*/ 167298 h 528955"/>
              <a:gd name="connsiteX11" fmla="*/ 1857920 w 1902358"/>
              <a:gd name="connsiteY11" fmla="*/ 169413 h 528955"/>
              <a:gd name="connsiteX12" fmla="*/ 1862153 w 1902358"/>
              <a:gd name="connsiteY12" fmla="*/ 173643 h 528955"/>
              <a:gd name="connsiteX13" fmla="*/ 1864269 w 1902358"/>
              <a:gd name="connsiteY13" fmla="*/ 175758 h 528955"/>
              <a:gd name="connsiteX14" fmla="*/ 1872733 w 1902358"/>
              <a:gd name="connsiteY14" fmla="*/ 182102 h 528955"/>
              <a:gd name="connsiteX15" fmla="*/ 1879081 w 1902358"/>
              <a:gd name="connsiteY15" fmla="*/ 188447 h 528955"/>
              <a:gd name="connsiteX16" fmla="*/ 1879081 w 1902358"/>
              <a:gd name="connsiteY16" fmla="*/ 190562 h 528955"/>
              <a:gd name="connsiteX17" fmla="*/ 1883313 w 1902358"/>
              <a:gd name="connsiteY17" fmla="*/ 192677 h 528955"/>
              <a:gd name="connsiteX18" fmla="*/ 1885430 w 1902358"/>
              <a:gd name="connsiteY18" fmla="*/ 196907 h 528955"/>
              <a:gd name="connsiteX19" fmla="*/ 1887546 w 1902358"/>
              <a:gd name="connsiteY19" fmla="*/ 199022 h 528955"/>
              <a:gd name="connsiteX20" fmla="*/ 1889662 w 1902358"/>
              <a:gd name="connsiteY20" fmla="*/ 203252 h 528955"/>
              <a:gd name="connsiteX21" fmla="*/ 1891778 w 1902358"/>
              <a:gd name="connsiteY21" fmla="*/ 205367 h 528955"/>
              <a:gd name="connsiteX22" fmla="*/ 1893894 w 1902358"/>
              <a:gd name="connsiteY22" fmla="*/ 209597 h 528955"/>
              <a:gd name="connsiteX23" fmla="*/ 1896010 w 1902358"/>
              <a:gd name="connsiteY23" fmla="*/ 211712 h 528955"/>
              <a:gd name="connsiteX24" fmla="*/ 1896010 w 1902358"/>
              <a:gd name="connsiteY24" fmla="*/ 215942 h 528955"/>
              <a:gd name="connsiteX25" fmla="*/ 1898126 w 1902358"/>
              <a:gd name="connsiteY25" fmla="*/ 220172 h 528955"/>
              <a:gd name="connsiteX26" fmla="*/ 1898126 w 1902358"/>
              <a:gd name="connsiteY26" fmla="*/ 222287 h 528955"/>
              <a:gd name="connsiteX27" fmla="*/ 1900242 w 1902358"/>
              <a:gd name="connsiteY27" fmla="*/ 228631 h 528955"/>
              <a:gd name="connsiteX28" fmla="*/ 1902358 w 1902358"/>
              <a:gd name="connsiteY28" fmla="*/ 234976 h 528955"/>
              <a:gd name="connsiteX29" fmla="*/ 1902358 w 1902358"/>
              <a:gd name="connsiteY29" fmla="*/ 239206 h 528955"/>
              <a:gd name="connsiteX30" fmla="*/ 1902358 w 1902358"/>
              <a:gd name="connsiteY30" fmla="*/ 241321 h 528955"/>
              <a:gd name="connsiteX31" fmla="*/ 1902358 w 1902358"/>
              <a:gd name="connsiteY31" fmla="*/ 243436 h 528955"/>
              <a:gd name="connsiteX32" fmla="*/ 1902358 w 1902358"/>
              <a:gd name="connsiteY32" fmla="*/ 247666 h 528955"/>
              <a:gd name="connsiteX33" fmla="*/ 1902358 w 1902358"/>
              <a:gd name="connsiteY33" fmla="*/ 249781 h 528955"/>
              <a:gd name="connsiteX34" fmla="*/ 1900242 w 1902358"/>
              <a:gd name="connsiteY34" fmla="*/ 256126 h 528955"/>
              <a:gd name="connsiteX35" fmla="*/ 1900242 w 1902358"/>
              <a:gd name="connsiteY35" fmla="*/ 258241 h 528955"/>
              <a:gd name="connsiteX36" fmla="*/ 1898126 w 1902358"/>
              <a:gd name="connsiteY36" fmla="*/ 264586 h 528955"/>
              <a:gd name="connsiteX37" fmla="*/ 1896010 w 1902358"/>
              <a:gd name="connsiteY37" fmla="*/ 266701 h 528955"/>
              <a:gd name="connsiteX38" fmla="*/ 1893894 w 1902358"/>
              <a:gd name="connsiteY38" fmla="*/ 273046 h 528955"/>
              <a:gd name="connsiteX39" fmla="*/ 1889662 w 1902358"/>
              <a:gd name="connsiteY39" fmla="*/ 281505 h 528955"/>
              <a:gd name="connsiteX40" fmla="*/ 1887546 w 1902358"/>
              <a:gd name="connsiteY40" fmla="*/ 283620 h 528955"/>
              <a:gd name="connsiteX41" fmla="*/ 1883313 w 1902358"/>
              <a:gd name="connsiteY41" fmla="*/ 289965 h 528955"/>
              <a:gd name="connsiteX42" fmla="*/ 1881197 w 1902358"/>
              <a:gd name="connsiteY42" fmla="*/ 289965 h 528955"/>
              <a:gd name="connsiteX43" fmla="*/ 1874849 w 1902358"/>
              <a:gd name="connsiteY43" fmla="*/ 296310 h 528955"/>
              <a:gd name="connsiteX44" fmla="*/ 1872733 w 1902358"/>
              <a:gd name="connsiteY44" fmla="*/ 298425 h 528955"/>
              <a:gd name="connsiteX45" fmla="*/ 1868501 w 1902358"/>
              <a:gd name="connsiteY45" fmla="*/ 304770 h 528955"/>
              <a:gd name="connsiteX46" fmla="*/ 1866385 w 1902358"/>
              <a:gd name="connsiteY46" fmla="*/ 306885 h 528955"/>
              <a:gd name="connsiteX47" fmla="*/ 1857920 w 1902358"/>
              <a:gd name="connsiteY47" fmla="*/ 313230 h 528955"/>
              <a:gd name="connsiteX48" fmla="*/ 1855804 w 1902358"/>
              <a:gd name="connsiteY48" fmla="*/ 315345 h 528955"/>
              <a:gd name="connsiteX49" fmla="*/ 1847340 w 1902358"/>
              <a:gd name="connsiteY49" fmla="*/ 319575 h 528955"/>
              <a:gd name="connsiteX50" fmla="*/ 1845224 w 1902358"/>
              <a:gd name="connsiteY50" fmla="*/ 321689 h 528955"/>
              <a:gd name="connsiteX51" fmla="*/ 1834644 w 1902358"/>
              <a:gd name="connsiteY51" fmla="*/ 330149 h 528955"/>
              <a:gd name="connsiteX52" fmla="*/ 1824063 w 1902358"/>
              <a:gd name="connsiteY52" fmla="*/ 336494 h 528955"/>
              <a:gd name="connsiteX53" fmla="*/ 1819831 w 1902358"/>
              <a:gd name="connsiteY53" fmla="*/ 338609 h 528955"/>
              <a:gd name="connsiteX54" fmla="*/ 1811367 w 1902358"/>
              <a:gd name="connsiteY54" fmla="*/ 342839 h 528955"/>
              <a:gd name="connsiteX55" fmla="*/ 1807134 w 1902358"/>
              <a:gd name="connsiteY55" fmla="*/ 480311 h 528955"/>
              <a:gd name="connsiteX56" fmla="*/ 1794438 w 1902358"/>
              <a:gd name="connsiteY56" fmla="*/ 486656 h 528955"/>
              <a:gd name="connsiteX57" fmla="*/ 1790206 w 1902358"/>
              <a:gd name="connsiteY57" fmla="*/ 486656 h 528955"/>
              <a:gd name="connsiteX58" fmla="*/ 1779625 w 1902358"/>
              <a:gd name="connsiteY58" fmla="*/ 493001 h 528955"/>
              <a:gd name="connsiteX59" fmla="*/ 1775393 w 1902358"/>
              <a:gd name="connsiteY59" fmla="*/ 495116 h 528955"/>
              <a:gd name="connsiteX60" fmla="*/ 1760581 w 1902358"/>
              <a:gd name="connsiteY60" fmla="*/ 499346 h 528955"/>
              <a:gd name="connsiteX61" fmla="*/ 1758465 w 1902358"/>
              <a:gd name="connsiteY61" fmla="*/ 501461 h 528955"/>
              <a:gd name="connsiteX62" fmla="*/ 1745768 w 1902358"/>
              <a:gd name="connsiteY62" fmla="*/ 505691 h 528955"/>
              <a:gd name="connsiteX63" fmla="*/ 1741536 w 1902358"/>
              <a:gd name="connsiteY63" fmla="*/ 507806 h 528955"/>
              <a:gd name="connsiteX64" fmla="*/ 1724607 w 1902358"/>
              <a:gd name="connsiteY64" fmla="*/ 514150 h 528955"/>
              <a:gd name="connsiteX65" fmla="*/ 1707679 w 1902358"/>
              <a:gd name="connsiteY65" fmla="*/ 520495 h 528955"/>
              <a:gd name="connsiteX66" fmla="*/ 1701330 w 1902358"/>
              <a:gd name="connsiteY66" fmla="*/ 522610 h 528955"/>
              <a:gd name="connsiteX67" fmla="*/ 1686518 w 1902358"/>
              <a:gd name="connsiteY67" fmla="*/ 526840 h 528955"/>
              <a:gd name="connsiteX68" fmla="*/ 1684402 w 1902358"/>
              <a:gd name="connsiteY68" fmla="*/ 526840 h 528955"/>
              <a:gd name="connsiteX69" fmla="*/ 1678053 w 1902358"/>
              <a:gd name="connsiteY69" fmla="*/ 528955 h 528955"/>
              <a:gd name="connsiteX70" fmla="*/ 1675937 w 1902358"/>
              <a:gd name="connsiteY70" fmla="*/ 528955 h 528955"/>
              <a:gd name="connsiteX71" fmla="*/ 1661125 w 1902358"/>
              <a:gd name="connsiteY71" fmla="*/ 526840 h 528955"/>
              <a:gd name="connsiteX72" fmla="*/ 1659009 w 1902358"/>
              <a:gd name="connsiteY72" fmla="*/ 526840 h 528955"/>
              <a:gd name="connsiteX73" fmla="*/ 1648428 w 1902358"/>
              <a:gd name="connsiteY73" fmla="*/ 526840 h 528955"/>
              <a:gd name="connsiteX74" fmla="*/ 1601874 w 1902358"/>
              <a:gd name="connsiteY74" fmla="*/ 522610 h 528955"/>
              <a:gd name="connsiteX75" fmla="*/ 1587062 w 1902358"/>
              <a:gd name="connsiteY75" fmla="*/ 520495 h 528955"/>
              <a:gd name="connsiteX76" fmla="*/ 1580714 w 1902358"/>
              <a:gd name="connsiteY76" fmla="*/ 520495 h 528955"/>
              <a:gd name="connsiteX77" fmla="*/ 1576482 w 1902358"/>
              <a:gd name="connsiteY77" fmla="*/ 518380 h 528955"/>
              <a:gd name="connsiteX78" fmla="*/ 1559553 w 1902358"/>
              <a:gd name="connsiteY78" fmla="*/ 518380 h 528955"/>
              <a:gd name="connsiteX79" fmla="*/ 1553205 w 1902358"/>
              <a:gd name="connsiteY79" fmla="*/ 516265 h 528955"/>
              <a:gd name="connsiteX80" fmla="*/ 1546856 w 1902358"/>
              <a:gd name="connsiteY80" fmla="*/ 516265 h 528955"/>
              <a:gd name="connsiteX81" fmla="*/ 1544740 w 1902358"/>
              <a:gd name="connsiteY81" fmla="*/ 516265 h 528955"/>
              <a:gd name="connsiteX82" fmla="*/ 1532044 w 1902358"/>
              <a:gd name="connsiteY82" fmla="*/ 514150 h 528955"/>
              <a:gd name="connsiteX83" fmla="*/ 1529928 w 1902358"/>
              <a:gd name="connsiteY83" fmla="*/ 514150 h 528955"/>
              <a:gd name="connsiteX84" fmla="*/ 1519347 w 1902358"/>
              <a:gd name="connsiteY84" fmla="*/ 514150 h 528955"/>
              <a:gd name="connsiteX85" fmla="*/ 1506651 w 1902358"/>
              <a:gd name="connsiteY85" fmla="*/ 514150 h 528955"/>
              <a:gd name="connsiteX86" fmla="*/ 1481258 w 1902358"/>
              <a:gd name="connsiteY86" fmla="*/ 512035 h 528955"/>
              <a:gd name="connsiteX87" fmla="*/ 1468561 w 1902358"/>
              <a:gd name="connsiteY87" fmla="*/ 509920 h 528955"/>
              <a:gd name="connsiteX88" fmla="*/ 1464329 w 1902358"/>
              <a:gd name="connsiteY88" fmla="*/ 509920 h 528955"/>
              <a:gd name="connsiteX89" fmla="*/ 1443168 w 1902358"/>
              <a:gd name="connsiteY89" fmla="*/ 507806 h 528955"/>
              <a:gd name="connsiteX90" fmla="*/ 1428356 w 1902358"/>
              <a:gd name="connsiteY90" fmla="*/ 507806 h 528955"/>
              <a:gd name="connsiteX91" fmla="*/ 1424124 w 1902358"/>
              <a:gd name="connsiteY91" fmla="*/ 507806 h 528955"/>
              <a:gd name="connsiteX92" fmla="*/ 1417775 w 1902358"/>
              <a:gd name="connsiteY92" fmla="*/ 505691 h 528955"/>
              <a:gd name="connsiteX93" fmla="*/ 1413543 w 1902358"/>
              <a:gd name="connsiteY93" fmla="*/ 505691 h 528955"/>
              <a:gd name="connsiteX94" fmla="*/ 1407195 w 1902358"/>
              <a:gd name="connsiteY94" fmla="*/ 505691 h 528955"/>
              <a:gd name="connsiteX95" fmla="*/ 1405079 w 1902358"/>
              <a:gd name="connsiteY95" fmla="*/ 505691 h 528955"/>
              <a:gd name="connsiteX96" fmla="*/ 1386034 w 1902358"/>
              <a:gd name="connsiteY96" fmla="*/ 503576 h 528955"/>
              <a:gd name="connsiteX97" fmla="*/ 1381802 w 1902358"/>
              <a:gd name="connsiteY97" fmla="*/ 503576 h 528955"/>
              <a:gd name="connsiteX98" fmla="*/ 1364873 w 1902358"/>
              <a:gd name="connsiteY98" fmla="*/ 503576 h 528955"/>
              <a:gd name="connsiteX99" fmla="*/ 1347945 w 1902358"/>
              <a:gd name="connsiteY99" fmla="*/ 501461 h 528955"/>
              <a:gd name="connsiteX100" fmla="*/ 1345829 w 1902358"/>
              <a:gd name="connsiteY100" fmla="*/ 501461 h 528955"/>
              <a:gd name="connsiteX101" fmla="*/ 1339480 w 1902358"/>
              <a:gd name="connsiteY101" fmla="*/ 501461 h 528955"/>
              <a:gd name="connsiteX102" fmla="*/ 1326784 w 1902358"/>
              <a:gd name="connsiteY102" fmla="*/ 501461 h 528955"/>
              <a:gd name="connsiteX103" fmla="*/ 1322552 w 1902358"/>
              <a:gd name="connsiteY103" fmla="*/ 501461 h 528955"/>
              <a:gd name="connsiteX104" fmla="*/ 1305623 w 1902358"/>
              <a:gd name="connsiteY104" fmla="*/ 499346 h 528955"/>
              <a:gd name="connsiteX105" fmla="*/ 1297159 w 1902358"/>
              <a:gd name="connsiteY105" fmla="*/ 499346 h 528955"/>
              <a:gd name="connsiteX106" fmla="*/ 1284462 w 1902358"/>
              <a:gd name="connsiteY106" fmla="*/ 499346 h 528955"/>
              <a:gd name="connsiteX107" fmla="*/ 1282346 w 1902358"/>
              <a:gd name="connsiteY107" fmla="*/ 499346 h 528955"/>
              <a:gd name="connsiteX108" fmla="*/ 1271766 w 1902358"/>
              <a:gd name="connsiteY108" fmla="*/ 497231 h 528955"/>
              <a:gd name="connsiteX109" fmla="*/ 1267533 w 1902358"/>
              <a:gd name="connsiteY109" fmla="*/ 497231 h 528955"/>
              <a:gd name="connsiteX110" fmla="*/ 1250605 w 1902358"/>
              <a:gd name="connsiteY110" fmla="*/ 497231 h 528955"/>
              <a:gd name="connsiteX111" fmla="*/ 1242141 w 1902358"/>
              <a:gd name="connsiteY111" fmla="*/ 497231 h 528955"/>
              <a:gd name="connsiteX112" fmla="*/ 1220980 w 1902358"/>
              <a:gd name="connsiteY112" fmla="*/ 495116 h 528955"/>
              <a:gd name="connsiteX113" fmla="*/ 1214631 w 1902358"/>
              <a:gd name="connsiteY113" fmla="*/ 495116 h 528955"/>
              <a:gd name="connsiteX114" fmla="*/ 1201935 w 1902358"/>
              <a:gd name="connsiteY114" fmla="*/ 495116 h 528955"/>
              <a:gd name="connsiteX115" fmla="*/ 1191355 w 1902358"/>
              <a:gd name="connsiteY115" fmla="*/ 495116 h 528955"/>
              <a:gd name="connsiteX116" fmla="*/ 1185006 w 1902358"/>
              <a:gd name="connsiteY116" fmla="*/ 495116 h 528955"/>
              <a:gd name="connsiteX117" fmla="*/ 1180774 w 1902358"/>
              <a:gd name="connsiteY117" fmla="*/ 495116 h 528955"/>
              <a:gd name="connsiteX118" fmla="*/ 1170194 w 1902358"/>
              <a:gd name="connsiteY118" fmla="*/ 493001 h 528955"/>
              <a:gd name="connsiteX119" fmla="*/ 1161729 w 1902358"/>
              <a:gd name="connsiteY119" fmla="*/ 493001 h 528955"/>
              <a:gd name="connsiteX120" fmla="*/ 1138452 w 1902358"/>
              <a:gd name="connsiteY120" fmla="*/ 493001 h 528955"/>
              <a:gd name="connsiteX121" fmla="*/ 1119408 w 1902358"/>
              <a:gd name="connsiteY121" fmla="*/ 493001 h 528955"/>
              <a:gd name="connsiteX122" fmla="*/ 1108827 w 1902358"/>
              <a:gd name="connsiteY122" fmla="*/ 493001 h 528955"/>
              <a:gd name="connsiteX123" fmla="*/ 1098247 w 1902358"/>
              <a:gd name="connsiteY123" fmla="*/ 493001 h 528955"/>
              <a:gd name="connsiteX124" fmla="*/ 1096131 w 1902358"/>
              <a:gd name="connsiteY124" fmla="*/ 493001 h 528955"/>
              <a:gd name="connsiteX125" fmla="*/ 1077086 w 1902358"/>
              <a:gd name="connsiteY125" fmla="*/ 490886 h 528955"/>
              <a:gd name="connsiteX126" fmla="*/ 1066506 w 1902358"/>
              <a:gd name="connsiteY126" fmla="*/ 490886 h 528955"/>
              <a:gd name="connsiteX127" fmla="*/ 1055925 w 1902358"/>
              <a:gd name="connsiteY127" fmla="*/ 490886 h 528955"/>
              <a:gd name="connsiteX128" fmla="*/ 1034764 w 1902358"/>
              <a:gd name="connsiteY128" fmla="*/ 490886 h 528955"/>
              <a:gd name="connsiteX129" fmla="*/ 1022068 w 1902358"/>
              <a:gd name="connsiteY129" fmla="*/ 490886 h 528955"/>
              <a:gd name="connsiteX130" fmla="*/ 1013604 w 1902358"/>
              <a:gd name="connsiteY130" fmla="*/ 490886 h 528955"/>
              <a:gd name="connsiteX131" fmla="*/ 992443 w 1902358"/>
              <a:gd name="connsiteY131" fmla="*/ 490886 h 528955"/>
              <a:gd name="connsiteX132" fmla="*/ 977630 w 1902358"/>
              <a:gd name="connsiteY132" fmla="*/ 490886 h 528955"/>
              <a:gd name="connsiteX133" fmla="*/ 973398 w 1902358"/>
              <a:gd name="connsiteY133" fmla="*/ 490886 h 528955"/>
              <a:gd name="connsiteX134" fmla="*/ 948005 w 1902358"/>
              <a:gd name="connsiteY134" fmla="*/ 490886 h 528955"/>
              <a:gd name="connsiteX135" fmla="*/ 928960 w 1902358"/>
              <a:gd name="connsiteY135" fmla="*/ 490886 h 528955"/>
              <a:gd name="connsiteX136" fmla="*/ 905683 w 1902358"/>
              <a:gd name="connsiteY136" fmla="*/ 490886 h 528955"/>
              <a:gd name="connsiteX137" fmla="*/ 901451 w 1902358"/>
              <a:gd name="connsiteY137" fmla="*/ 490886 h 528955"/>
              <a:gd name="connsiteX138" fmla="*/ 895103 w 1902358"/>
              <a:gd name="connsiteY138" fmla="*/ 490886 h 528955"/>
              <a:gd name="connsiteX139" fmla="*/ 888755 w 1902358"/>
              <a:gd name="connsiteY139" fmla="*/ 490886 h 528955"/>
              <a:gd name="connsiteX140" fmla="*/ 884523 w 1902358"/>
              <a:gd name="connsiteY140" fmla="*/ 490886 h 528955"/>
              <a:gd name="connsiteX141" fmla="*/ 871826 w 1902358"/>
              <a:gd name="connsiteY141" fmla="*/ 490886 h 528955"/>
              <a:gd name="connsiteX142" fmla="*/ 846433 w 1902358"/>
              <a:gd name="connsiteY142" fmla="*/ 490886 h 528955"/>
              <a:gd name="connsiteX143" fmla="*/ 829504 w 1902358"/>
              <a:gd name="connsiteY143" fmla="*/ 490886 h 528955"/>
              <a:gd name="connsiteX144" fmla="*/ 827388 w 1902358"/>
              <a:gd name="connsiteY144" fmla="*/ 490886 h 528955"/>
              <a:gd name="connsiteX145" fmla="*/ 804111 w 1902358"/>
              <a:gd name="connsiteY145" fmla="*/ 490886 h 528955"/>
              <a:gd name="connsiteX146" fmla="*/ 787183 w 1902358"/>
              <a:gd name="connsiteY146" fmla="*/ 490886 h 528955"/>
              <a:gd name="connsiteX147" fmla="*/ 785067 w 1902358"/>
              <a:gd name="connsiteY147" fmla="*/ 490886 h 528955"/>
              <a:gd name="connsiteX148" fmla="*/ 772370 w 1902358"/>
              <a:gd name="connsiteY148" fmla="*/ 493001 h 528955"/>
              <a:gd name="connsiteX149" fmla="*/ 761790 w 1902358"/>
              <a:gd name="connsiteY149" fmla="*/ 493001 h 528955"/>
              <a:gd name="connsiteX150" fmla="*/ 751209 w 1902358"/>
              <a:gd name="connsiteY150" fmla="*/ 493001 h 528955"/>
              <a:gd name="connsiteX151" fmla="*/ 749093 w 1902358"/>
              <a:gd name="connsiteY151" fmla="*/ 493001 h 528955"/>
              <a:gd name="connsiteX152" fmla="*/ 742745 w 1902358"/>
              <a:gd name="connsiteY152" fmla="*/ 493001 h 528955"/>
              <a:gd name="connsiteX153" fmla="*/ 719468 w 1902358"/>
              <a:gd name="connsiteY153" fmla="*/ 493001 h 528955"/>
              <a:gd name="connsiteX154" fmla="*/ 700423 w 1902358"/>
              <a:gd name="connsiteY154" fmla="*/ 493001 h 528955"/>
              <a:gd name="connsiteX155" fmla="*/ 681379 w 1902358"/>
              <a:gd name="connsiteY155" fmla="*/ 495116 h 528955"/>
              <a:gd name="connsiteX156" fmla="*/ 675030 w 1902358"/>
              <a:gd name="connsiteY156" fmla="*/ 495116 h 528955"/>
              <a:gd name="connsiteX157" fmla="*/ 658102 w 1902358"/>
              <a:gd name="connsiteY157" fmla="*/ 495116 h 528955"/>
              <a:gd name="connsiteX158" fmla="*/ 634825 w 1902358"/>
              <a:gd name="connsiteY158" fmla="*/ 497231 h 528955"/>
              <a:gd name="connsiteX159" fmla="*/ 632709 w 1902358"/>
              <a:gd name="connsiteY159" fmla="*/ 497231 h 528955"/>
              <a:gd name="connsiteX160" fmla="*/ 615780 w 1902358"/>
              <a:gd name="connsiteY160" fmla="*/ 497231 h 528955"/>
              <a:gd name="connsiteX161" fmla="*/ 590387 w 1902358"/>
              <a:gd name="connsiteY161" fmla="*/ 499346 h 528955"/>
              <a:gd name="connsiteX162" fmla="*/ 581923 w 1902358"/>
              <a:gd name="connsiteY162" fmla="*/ 499346 h 528955"/>
              <a:gd name="connsiteX163" fmla="*/ 573458 w 1902358"/>
              <a:gd name="connsiteY163" fmla="*/ 499346 h 528955"/>
              <a:gd name="connsiteX164" fmla="*/ 541717 w 1902358"/>
              <a:gd name="connsiteY164" fmla="*/ 501461 h 528955"/>
              <a:gd name="connsiteX165" fmla="*/ 531137 w 1902358"/>
              <a:gd name="connsiteY165" fmla="*/ 501461 h 528955"/>
              <a:gd name="connsiteX166" fmla="*/ 488815 w 1902358"/>
              <a:gd name="connsiteY166" fmla="*/ 503576 h 528955"/>
              <a:gd name="connsiteX167" fmla="*/ 482467 w 1902358"/>
              <a:gd name="connsiteY167" fmla="*/ 505691 h 528955"/>
              <a:gd name="connsiteX168" fmla="*/ 476119 w 1902358"/>
              <a:gd name="connsiteY168" fmla="*/ 505691 h 528955"/>
              <a:gd name="connsiteX169" fmla="*/ 463422 w 1902358"/>
              <a:gd name="connsiteY169" fmla="*/ 505691 h 528955"/>
              <a:gd name="connsiteX170" fmla="*/ 446494 w 1902358"/>
              <a:gd name="connsiteY170" fmla="*/ 507806 h 528955"/>
              <a:gd name="connsiteX171" fmla="*/ 435913 w 1902358"/>
              <a:gd name="connsiteY171" fmla="*/ 507806 h 528955"/>
              <a:gd name="connsiteX172" fmla="*/ 433797 w 1902358"/>
              <a:gd name="connsiteY172" fmla="*/ 507806 h 528955"/>
              <a:gd name="connsiteX173" fmla="*/ 406288 w 1902358"/>
              <a:gd name="connsiteY173" fmla="*/ 509920 h 528955"/>
              <a:gd name="connsiteX174" fmla="*/ 395708 w 1902358"/>
              <a:gd name="connsiteY174" fmla="*/ 509920 h 528955"/>
              <a:gd name="connsiteX175" fmla="*/ 387243 w 1902358"/>
              <a:gd name="connsiteY175" fmla="*/ 512035 h 528955"/>
              <a:gd name="connsiteX176" fmla="*/ 380895 w 1902358"/>
              <a:gd name="connsiteY176" fmla="*/ 512035 h 528955"/>
              <a:gd name="connsiteX177" fmla="*/ 363966 w 1902358"/>
              <a:gd name="connsiteY177" fmla="*/ 514150 h 528955"/>
              <a:gd name="connsiteX178" fmla="*/ 344922 w 1902358"/>
              <a:gd name="connsiteY178" fmla="*/ 514150 h 528955"/>
              <a:gd name="connsiteX179" fmla="*/ 336457 w 1902358"/>
              <a:gd name="connsiteY179" fmla="*/ 516265 h 528955"/>
              <a:gd name="connsiteX180" fmla="*/ 321645 w 1902358"/>
              <a:gd name="connsiteY180" fmla="*/ 516265 h 528955"/>
              <a:gd name="connsiteX181" fmla="*/ 311064 w 1902358"/>
              <a:gd name="connsiteY181" fmla="*/ 518380 h 528955"/>
              <a:gd name="connsiteX182" fmla="*/ 304716 w 1902358"/>
              <a:gd name="connsiteY182" fmla="*/ 518380 h 528955"/>
              <a:gd name="connsiteX183" fmla="*/ 279323 w 1902358"/>
              <a:gd name="connsiteY183" fmla="*/ 520495 h 528955"/>
              <a:gd name="connsiteX184" fmla="*/ 262394 w 1902358"/>
              <a:gd name="connsiteY184" fmla="*/ 522610 h 528955"/>
              <a:gd name="connsiteX185" fmla="*/ 237001 w 1902358"/>
              <a:gd name="connsiteY185" fmla="*/ 524725 h 528955"/>
              <a:gd name="connsiteX186" fmla="*/ 220073 w 1902358"/>
              <a:gd name="connsiteY186" fmla="*/ 526840 h 528955"/>
              <a:gd name="connsiteX187" fmla="*/ 95224 w 1902358"/>
              <a:gd name="connsiteY187" fmla="*/ 478196 h 528955"/>
              <a:gd name="connsiteX188" fmla="*/ 84643 w 1902358"/>
              <a:gd name="connsiteY188" fmla="*/ 336494 h 528955"/>
              <a:gd name="connsiteX189" fmla="*/ 82527 w 1902358"/>
              <a:gd name="connsiteY189" fmla="*/ 336494 h 528955"/>
              <a:gd name="connsiteX190" fmla="*/ 74063 w 1902358"/>
              <a:gd name="connsiteY190" fmla="*/ 332264 h 528955"/>
              <a:gd name="connsiteX191" fmla="*/ 69831 w 1902358"/>
              <a:gd name="connsiteY191" fmla="*/ 328034 h 528955"/>
              <a:gd name="connsiteX192" fmla="*/ 65599 w 1902358"/>
              <a:gd name="connsiteY192" fmla="*/ 325919 h 528955"/>
              <a:gd name="connsiteX193" fmla="*/ 61367 w 1902358"/>
              <a:gd name="connsiteY193" fmla="*/ 323804 h 528955"/>
              <a:gd name="connsiteX194" fmla="*/ 55018 w 1902358"/>
              <a:gd name="connsiteY194" fmla="*/ 319575 h 528955"/>
              <a:gd name="connsiteX195" fmla="*/ 52902 w 1902358"/>
              <a:gd name="connsiteY195" fmla="*/ 317460 h 528955"/>
              <a:gd name="connsiteX196" fmla="*/ 46554 w 1902358"/>
              <a:gd name="connsiteY196" fmla="*/ 313230 h 528955"/>
              <a:gd name="connsiteX197" fmla="*/ 44438 w 1902358"/>
              <a:gd name="connsiteY197" fmla="*/ 311115 h 528955"/>
              <a:gd name="connsiteX198" fmla="*/ 38090 w 1902358"/>
              <a:gd name="connsiteY198" fmla="*/ 306885 h 528955"/>
              <a:gd name="connsiteX199" fmla="*/ 35974 w 1902358"/>
              <a:gd name="connsiteY199" fmla="*/ 304770 h 528955"/>
              <a:gd name="connsiteX200" fmla="*/ 29625 w 1902358"/>
              <a:gd name="connsiteY200" fmla="*/ 298425 h 528955"/>
              <a:gd name="connsiteX201" fmla="*/ 23277 w 1902358"/>
              <a:gd name="connsiteY201" fmla="*/ 292080 h 528955"/>
              <a:gd name="connsiteX202" fmla="*/ 21161 w 1902358"/>
              <a:gd name="connsiteY202" fmla="*/ 289965 h 528955"/>
              <a:gd name="connsiteX203" fmla="*/ 19045 w 1902358"/>
              <a:gd name="connsiteY203" fmla="*/ 285735 h 528955"/>
              <a:gd name="connsiteX204" fmla="*/ 16929 w 1902358"/>
              <a:gd name="connsiteY204" fmla="*/ 283620 h 528955"/>
              <a:gd name="connsiteX205" fmla="*/ 12697 w 1902358"/>
              <a:gd name="connsiteY205" fmla="*/ 279390 h 528955"/>
              <a:gd name="connsiteX206" fmla="*/ 10581 w 1902358"/>
              <a:gd name="connsiteY206" fmla="*/ 277275 h 528955"/>
              <a:gd name="connsiteX207" fmla="*/ 8464 w 1902358"/>
              <a:gd name="connsiteY207" fmla="*/ 273046 h 528955"/>
              <a:gd name="connsiteX208" fmla="*/ 8464 w 1902358"/>
              <a:gd name="connsiteY208" fmla="*/ 270931 h 528955"/>
              <a:gd name="connsiteX209" fmla="*/ 6348 w 1902358"/>
              <a:gd name="connsiteY209" fmla="*/ 266701 h 528955"/>
              <a:gd name="connsiteX210" fmla="*/ 4232 w 1902358"/>
              <a:gd name="connsiteY210" fmla="*/ 264586 h 528955"/>
              <a:gd name="connsiteX211" fmla="*/ 2116 w 1902358"/>
              <a:gd name="connsiteY211" fmla="*/ 260356 h 528955"/>
              <a:gd name="connsiteX212" fmla="*/ 2116 w 1902358"/>
              <a:gd name="connsiteY212" fmla="*/ 258241 h 528955"/>
              <a:gd name="connsiteX213" fmla="*/ 0 w 1902358"/>
              <a:gd name="connsiteY213" fmla="*/ 251896 h 528955"/>
              <a:gd name="connsiteX214" fmla="*/ 0 w 1902358"/>
              <a:gd name="connsiteY214" fmla="*/ 245551 h 528955"/>
              <a:gd name="connsiteX215" fmla="*/ 0 w 1902358"/>
              <a:gd name="connsiteY215" fmla="*/ 243436 h 528955"/>
              <a:gd name="connsiteX216" fmla="*/ 0 w 1902358"/>
              <a:gd name="connsiteY216" fmla="*/ 241321 h 528955"/>
              <a:gd name="connsiteX217" fmla="*/ 0 w 1902358"/>
              <a:gd name="connsiteY217" fmla="*/ 239206 h 528955"/>
              <a:gd name="connsiteX218" fmla="*/ 0 w 1902358"/>
              <a:gd name="connsiteY218" fmla="*/ 237091 h 528955"/>
              <a:gd name="connsiteX219" fmla="*/ 0 w 1902358"/>
              <a:gd name="connsiteY219" fmla="*/ 230746 h 528955"/>
              <a:gd name="connsiteX220" fmla="*/ 0 w 1902358"/>
              <a:gd name="connsiteY220" fmla="*/ 228631 h 528955"/>
              <a:gd name="connsiteX221" fmla="*/ 2116 w 1902358"/>
              <a:gd name="connsiteY221" fmla="*/ 222287 h 528955"/>
              <a:gd name="connsiteX222" fmla="*/ 2116 w 1902358"/>
              <a:gd name="connsiteY222" fmla="*/ 220172 h 528955"/>
              <a:gd name="connsiteX223" fmla="*/ 4232 w 1902358"/>
              <a:gd name="connsiteY223" fmla="*/ 213827 h 528955"/>
              <a:gd name="connsiteX224" fmla="*/ 4232 w 1902358"/>
              <a:gd name="connsiteY224" fmla="*/ 211712 h 528955"/>
              <a:gd name="connsiteX225" fmla="*/ 8464 w 1902358"/>
              <a:gd name="connsiteY225" fmla="*/ 205367 h 528955"/>
              <a:gd name="connsiteX226" fmla="*/ 12697 w 1902358"/>
              <a:gd name="connsiteY226" fmla="*/ 199022 h 528955"/>
              <a:gd name="connsiteX227" fmla="*/ 14813 w 1902358"/>
              <a:gd name="connsiteY227" fmla="*/ 196907 h 528955"/>
              <a:gd name="connsiteX228" fmla="*/ 19045 w 1902358"/>
              <a:gd name="connsiteY228" fmla="*/ 190562 h 528955"/>
              <a:gd name="connsiteX229" fmla="*/ 19045 w 1902358"/>
              <a:gd name="connsiteY229" fmla="*/ 188447 h 528955"/>
              <a:gd name="connsiteX230" fmla="*/ 25393 w 1902358"/>
              <a:gd name="connsiteY230" fmla="*/ 182102 h 528955"/>
              <a:gd name="connsiteX231" fmla="*/ 27509 w 1902358"/>
              <a:gd name="connsiteY231" fmla="*/ 179988 h 528955"/>
              <a:gd name="connsiteX232" fmla="*/ 33857 w 1902358"/>
              <a:gd name="connsiteY232" fmla="*/ 173643 h 528955"/>
              <a:gd name="connsiteX233" fmla="*/ 35974 w 1902358"/>
              <a:gd name="connsiteY233" fmla="*/ 173643 h 528955"/>
              <a:gd name="connsiteX234" fmla="*/ 44438 w 1902358"/>
              <a:gd name="connsiteY234" fmla="*/ 165183 h 528955"/>
              <a:gd name="connsiteX235" fmla="*/ 46554 w 1902358"/>
              <a:gd name="connsiteY235" fmla="*/ 165183 h 528955"/>
              <a:gd name="connsiteX236" fmla="*/ 52902 w 1902358"/>
              <a:gd name="connsiteY236" fmla="*/ 158838 h 528955"/>
              <a:gd name="connsiteX237" fmla="*/ 57134 w 1902358"/>
              <a:gd name="connsiteY237" fmla="*/ 156723 h 528955"/>
              <a:gd name="connsiteX238" fmla="*/ 65599 w 1902358"/>
              <a:gd name="connsiteY238" fmla="*/ 150378 h 528955"/>
              <a:gd name="connsiteX239" fmla="*/ 78295 w 1902358"/>
              <a:gd name="connsiteY239" fmla="*/ 144033 h 528955"/>
              <a:gd name="connsiteX240" fmla="*/ 80411 w 1902358"/>
              <a:gd name="connsiteY240" fmla="*/ 141918 h 528955"/>
              <a:gd name="connsiteX241" fmla="*/ 90992 w 1902358"/>
              <a:gd name="connsiteY241" fmla="*/ 135573 h 528955"/>
              <a:gd name="connsiteX242" fmla="*/ 93108 w 1902358"/>
              <a:gd name="connsiteY242" fmla="*/ 135573 h 528955"/>
              <a:gd name="connsiteX243" fmla="*/ 105804 w 1902358"/>
              <a:gd name="connsiteY243" fmla="*/ 129229 h 528955"/>
              <a:gd name="connsiteX244" fmla="*/ 110036 w 1902358"/>
              <a:gd name="connsiteY244" fmla="*/ 127114 h 528955"/>
              <a:gd name="connsiteX245" fmla="*/ 120617 w 1902358"/>
              <a:gd name="connsiteY245" fmla="*/ 120769 h 528955"/>
              <a:gd name="connsiteX246" fmla="*/ 124849 w 1902358"/>
              <a:gd name="connsiteY246" fmla="*/ 120769 h 528955"/>
              <a:gd name="connsiteX247" fmla="*/ 137545 w 1902358"/>
              <a:gd name="connsiteY247" fmla="*/ 114424 h 528955"/>
              <a:gd name="connsiteX248" fmla="*/ 141778 w 1902358"/>
              <a:gd name="connsiteY248" fmla="*/ 112309 h 528955"/>
              <a:gd name="connsiteX249" fmla="*/ 154474 w 1902358"/>
              <a:gd name="connsiteY249" fmla="*/ 108079 h 528955"/>
              <a:gd name="connsiteX250" fmla="*/ 158706 w 1902358"/>
              <a:gd name="connsiteY250" fmla="*/ 105964 h 528955"/>
              <a:gd name="connsiteX251" fmla="*/ 175635 w 1902358"/>
              <a:gd name="connsiteY251" fmla="*/ 99619 h 528955"/>
              <a:gd name="connsiteX252" fmla="*/ 192564 w 1902358"/>
              <a:gd name="connsiteY252" fmla="*/ 93274 h 528955"/>
              <a:gd name="connsiteX253" fmla="*/ 196796 w 1902358"/>
              <a:gd name="connsiteY253" fmla="*/ 93274 h 528955"/>
              <a:gd name="connsiteX254" fmla="*/ 213724 w 1902358"/>
              <a:gd name="connsiteY254" fmla="*/ 86929 h 528955"/>
              <a:gd name="connsiteX255" fmla="*/ 215841 w 1902358"/>
              <a:gd name="connsiteY255" fmla="*/ 86929 h 528955"/>
              <a:gd name="connsiteX256" fmla="*/ 234885 w 1902358"/>
              <a:gd name="connsiteY256" fmla="*/ 80585 h 528955"/>
              <a:gd name="connsiteX257" fmla="*/ 239117 w 1902358"/>
              <a:gd name="connsiteY257" fmla="*/ 80585 h 528955"/>
              <a:gd name="connsiteX258" fmla="*/ 256046 w 1902358"/>
              <a:gd name="connsiteY258" fmla="*/ 74240 h 528955"/>
              <a:gd name="connsiteX259" fmla="*/ 260278 w 1902358"/>
              <a:gd name="connsiteY259" fmla="*/ 74240 h 528955"/>
              <a:gd name="connsiteX260" fmla="*/ 281439 w 1902358"/>
              <a:gd name="connsiteY260" fmla="*/ 67895 h 528955"/>
              <a:gd name="connsiteX261" fmla="*/ 285671 w 1902358"/>
              <a:gd name="connsiteY261" fmla="*/ 67895 h 528955"/>
              <a:gd name="connsiteX262" fmla="*/ 302600 w 1902358"/>
              <a:gd name="connsiteY262" fmla="*/ 63665 h 528955"/>
              <a:gd name="connsiteX263" fmla="*/ 308948 w 1902358"/>
              <a:gd name="connsiteY263" fmla="*/ 61550 h 528955"/>
              <a:gd name="connsiteX264" fmla="*/ 332225 w 1902358"/>
              <a:gd name="connsiteY264" fmla="*/ 57320 h 528955"/>
              <a:gd name="connsiteX265" fmla="*/ 355502 w 1902358"/>
              <a:gd name="connsiteY265" fmla="*/ 53090 h 528955"/>
              <a:gd name="connsiteX266" fmla="*/ 361850 w 1902358"/>
              <a:gd name="connsiteY266" fmla="*/ 50975 h 528955"/>
              <a:gd name="connsiteX267" fmla="*/ 380895 w 1902358"/>
              <a:gd name="connsiteY267" fmla="*/ 46745 h 528955"/>
              <a:gd name="connsiteX268" fmla="*/ 385127 w 1902358"/>
              <a:gd name="connsiteY268" fmla="*/ 46745 h 528955"/>
              <a:gd name="connsiteX269" fmla="*/ 410520 w 1902358"/>
              <a:gd name="connsiteY269" fmla="*/ 42515 h 528955"/>
              <a:gd name="connsiteX270" fmla="*/ 416868 w 1902358"/>
              <a:gd name="connsiteY270" fmla="*/ 40400 h 528955"/>
              <a:gd name="connsiteX271" fmla="*/ 435913 w 1902358"/>
              <a:gd name="connsiteY271" fmla="*/ 38286 h 528955"/>
              <a:gd name="connsiteX272" fmla="*/ 442261 w 1902358"/>
              <a:gd name="connsiteY272" fmla="*/ 36171 h 528955"/>
              <a:gd name="connsiteX273" fmla="*/ 469770 w 1902358"/>
              <a:gd name="connsiteY273" fmla="*/ 31941 h 528955"/>
              <a:gd name="connsiteX274" fmla="*/ 474003 w 1902358"/>
              <a:gd name="connsiteY274" fmla="*/ 31941 h 528955"/>
              <a:gd name="connsiteX275" fmla="*/ 497279 w 1902358"/>
              <a:gd name="connsiteY275" fmla="*/ 29826 h 528955"/>
              <a:gd name="connsiteX276" fmla="*/ 503628 w 1902358"/>
              <a:gd name="connsiteY276" fmla="*/ 27711 h 528955"/>
              <a:gd name="connsiteX277" fmla="*/ 531137 w 1902358"/>
              <a:gd name="connsiteY277" fmla="*/ 23481 h 528955"/>
              <a:gd name="connsiteX278" fmla="*/ 896822 w 1902358"/>
              <a:gd name="connsiteY278" fmla="*/ 249 h 528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Lst>
            <a:rect l="l" t="t" r="r" b="b"/>
            <a:pathLst>
              <a:path w="1902358" h="528955">
                <a:moveTo>
                  <a:pt x="896822" y="249"/>
                </a:moveTo>
                <a:cubicBezTo>
                  <a:pt x="1267401" y="-4014"/>
                  <a:pt x="1632029" y="46745"/>
                  <a:pt x="1805018" y="135573"/>
                </a:cubicBezTo>
                <a:cubicBezTo>
                  <a:pt x="1809251" y="137688"/>
                  <a:pt x="1813483" y="139803"/>
                  <a:pt x="1815599" y="141918"/>
                </a:cubicBezTo>
                <a:cubicBezTo>
                  <a:pt x="1817715" y="141918"/>
                  <a:pt x="1817715" y="144033"/>
                  <a:pt x="1819831" y="144033"/>
                </a:cubicBezTo>
                <a:cubicBezTo>
                  <a:pt x="1821947" y="144033"/>
                  <a:pt x="1824063" y="146148"/>
                  <a:pt x="1826179" y="148263"/>
                </a:cubicBezTo>
                <a:cubicBezTo>
                  <a:pt x="1828295" y="148263"/>
                  <a:pt x="1830411" y="150378"/>
                  <a:pt x="1830411" y="150378"/>
                </a:cubicBezTo>
                <a:cubicBezTo>
                  <a:pt x="1832527" y="150378"/>
                  <a:pt x="1834644" y="152493"/>
                  <a:pt x="1836760" y="154608"/>
                </a:cubicBezTo>
                <a:cubicBezTo>
                  <a:pt x="1838876" y="154608"/>
                  <a:pt x="1838876" y="154608"/>
                  <a:pt x="1840992" y="156723"/>
                </a:cubicBezTo>
                <a:cubicBezTo>
                  <a:pt x="1843108" y="156723"/>
                  <a:pt x="1845224" y="158838"/>
                  <a:pt x="1845224" y="160953"/>
                </a:cubicBezTo>
                <a:cubicBezTo>
                  <a:pt x="1847340" y="160953"/>
                  <a:pt x="1847340" y="160953"/>
                  <a:pt x="1849456" y="163068"/>
                </a:cubicBezTo>
                <a:cubicBezTo>
                  <a:pt x="1851572" y="163068"/>
                  <a:pt x="1853688" y="165183"/>
                  <a:pt x="1853688" y="167298"/>
                </a:cubicBezTo>
                <a:cubicBezTo>
                  <a:pt x="1855804" y="167298"/>
                  <a:pt x="1855804" y="167298"/>
                  <a:pt x="1857920" y="169413"/>
                </a:cubicBezTo>
                <a:cubicBezTo>
                  <a:pt x="1860037" y="169413"/>
                  <a:pt x="1862153" y="171528"/>
                  <a:pt x="1862153" y="173643"/>
                </a:cubicBezTo>
                <a:cubicBezTo>
                  <a:pt x="1864269" y="175758"/>
                  <a:pt x="1864269" y="175758"/>
                  <a:pt x="1864269" y="175758"/>
                </a:cubicBezTo>
                <a:cubicBezTo>
                  <a:pt x="1868501" y="177873"/>
                  <a:pt x="1870617" y="179988"/>
                  <a:pt x="1872733" y="182102"/>
                </a:cubicBezTo>
                <a:cubicBezTo>
                  <a:pt x="1874849" y="184217"/>
                  <a:pt x="1876965" y="186332"/>
                  <a:pt x="1879081" y="188447"/>
                </a:cubicBezTo>
                <a:cubicBezTo>
                  <a:pt x="1879081" y="190562"/>
                  <a:pt x="1879081" y="190562"/>
                  <a:pt x="1879081" y="190562"/>
                </a:cubicBezTo>
                <a:cubicBezTo>
                  <a:pt x="1881197" y="190562"/>
                  <a:pt x="1883313" y="192677"/>
                  <a:pt x="1883313" y="192677"/>
                </a:cubicBezTo>
                <a:cubicBezTo>
                  <a:pt x="1883313" y="194792"/>
                  <a:pt x="1885430" y="194792"/>
                  <a:pt x="1885430" y="196907"/>
                </a:cubicBezTo>
                <a:cubicBezTo>
                  <a:pt x="1885430" y="196907"/>
                  <a:pt x="1887546" y="199022"/>
                  <a:pt x="1887546" y="199022"/>
                </a:cubicBezTo>
                <a:cubicBezTo>
                  <a:pt x="1889662" y="201137"/>
                  <a:pt x="1889662" y="201137"/>
                  <a:pt x="1889662" y="203252"/>
                </a:cubicBezTo>
                <a:cubicBezTo>
                  <a:pt x="1889662" y="203252"/>
                  <a:pt x="1891778" y="205367"/>
                  <a:pt x="1891778" y="205367"/>
                </a:cubicBezTo>
                <a:cubicBezTo>
                  <a:pt x="1891778" y="207482"/>
                  <a:pt x="1893894" y="207482"/>
                  <a:pt x="1893894" y="209597"/>
                </a:cubicBezTo>
                <a:cubicBezTo>
                  <a:pt x="1893894" y="209597"/>
                  <a:pt x="1896010" y="211712"/>
                  <a:pt x="1896010" y="211712"/>
                </a:cubicBezTo>
                <a:cubicBezTo>
                  <a:pt x="1896010" y="213827"/>
                  <a:pt x="1896010" y="213827"/>
                  <a:pt x="1896010" y="215942"/>
                </a:cubicBezTo>
                <a:cubicBezTo>
                  <a:pt x="1898126" y="215942"/>
                  <a:pt x="1898126" y="218057"/>
                  <a:pt x="1898126" y="220172"/>
                </a:cubicBezTo>
                <a:cubicBezTo>
                  <a:pt x="1898126" y="222287"/>
                  <a:pt x="1898126" y="222287"/>
                  <a:pt x="1898126" y="222287"/>
                </a:cubicBezTo>
                <a:cubicBezTo>
                  <a:pt x="1900242" y="224402"/>
                  <a:pt x="1900242" y="226517"/>
                  <a:pt x="1900242" y="228631"/>
                </a:cubicBezTo>
                <a:cubicBezTo>
                  <a:pt x="1902358" y="230746"/>
                  <a:pt x="1902358" y="232861"/>
                  <a:pt x="1902358" y="234976"/>
                </a:cubicBezTo>
                <a:cubicBezTo>
                  <a:pt x="1902358" y="237091"/>
                  <a:pt x="1902358" y="239206"/>
                  <a:pt x="1902358" y="239206"/>
                </a:cubicBezTo>
                <a:cubicBezTo>
                  <a:pt x="1902358" y="241321"/>
                  <a:pt x="1902358" y="241321"/>
                  <a:pt x="1902358" y="241321"/>
                </a:cubicBezTo>
                <a:cubicBezTo>
                  <a:pt x="1902358" y="243436"/>
                  <a:pt x="1902358" y="243436"/>
                  <a:pt x="1902358" y="243436"/>
                </a:cubicBezTo>
                <a:cubicBezTo>
                  <a:pt x="1902358" y="245551"/>
                  <a:pt x="1902358" y="247666"/>
                  <a:pt x="1902358" y="247666"/>
                </a:cubicBezTo>
                <a:cubicBezTo>
                  <a:pt x="1902358" y="249781"/>
                  <a:pt x="1902358" y="249781"/>
                  <a:pt x="1902358" y="249781"/>
                </a:cubicBezTo>
                <a:cubicBezTo>
                  <a:pt x="1900242" y="251896"/>
                  <a:pt x="1900242" y="254011"/>
                  <a:pt x="1900242" y="256126"/>
                </a:cubicBezTo>
                <a:cubicBezTo>
                  <a:pt x="1900242" y="258241"/>
                  <a:pt x="1900242" y="258241"/>
                  <a:pt x="1900242" y="258241"/>
                </a:cubicBezTo>
                <a:cubicBezTo>
                  <a:pt x="1898126" y="260356"/>
                  <a:pt x="1898126" y="262471"/>
                  <a:pt x="1898126" y="264586"/>
                </a:cubicBezTo>
                <a:cubicBezTo>
                  <a:pt x="1896010" y="266701"/>
                  <a:pt x="1896010" y="266701"/>
                  <a:pt x="1896010" y="266701"/>
                </a:cubicBezTo>
                <a:cubicBezTo>
                  <a:pt x="1896010" y="268816"/>
                  <a:pt x="1893894" y="270931"/>
                  <a:pt x="1893894" y="273046"/>
                </a:cubicBezTo>
                <a:cubicBezTo>
                  <a:pt x="1891778" y="277275"/>
                  <a:pt x="1889662" y="279390"/>
                  <a:pt x="1889662" y="281505"/>
                </a:cubicBezTo>
                <a:cubicBezTo>
                  <a:pt x="1887546" y="283620"/>
                  <a:pt x="1887546" y="283620"/>
                  <a:pt x="1887546" y="283620"/>
                </a:cubicBezTo>
                <a:cubicBezTo>
                  <a:pt x="1885430" y="285735"/>
                  <a:pt x="1883313" y="287850"/>
                  <a:pt x="1883313" y="289965"/>
                </a:cubicBezTo>
                <a:cubicBezTo>
                  <a:pt x="1881197" y="289965"/>
                  <a:pt x="1881197" y="289965"/>
                  <a:pt x="1881197" y="289965"/>
                </a:cubicBezTo>
                <a:cubicBezTo>
                  <a:pt x="1879081" y="292080"/>
                  <a:pt x="1876965" y="294195"/>
                  <a:pt x="1874849" y="296310"/>
                </a:cubicBezTo>
                <a:cubicBezTo>
                  <a:pt x="1872733" y="298425"/>
                  <a:pt x="1872733" y="298425"/>
                  <a:pt x="1872733" y="298425"/>
                </a:cubicBezTo>
                <a:cubicBezTo>
                  <a:pt x="1870617" y="300540"/>
                  <a:pt x="1870617" y="302655"/>
                  <a:pt x="1868501" y="304770"/>
                </a:cubicBezTo>
                <a:cubicBezTo>
                  <a:pt x="1866385" y="306885"/>
                  <a:pt x="1866385" y="306885"/>
                  <a:pt x="1866385" y="306885"/>
                </a:cubicBezTo>
                <a:cubicBezTo>
                  <a:pt x="1862153" y="309000"/>
                  <a:pt x="1860037" y="311115"/>
                  <a:pt x="1857920" y="313230"/>
                </a:cubicBezTo>
                <a:cubicBezTo>
                  <a:pt x="1855804" y="315345"/>
                  <a:pt x="1855804" y="315345"/>
                  <a:pt x="1855804" y="315345"/>
                </a:cubicBezTo>
                <a:cubicBezTo>
                  <a:pt x="1853688" y="317460"/>
                  <a:pt x="1851572" y="319575"/>
                  <a:pt x="1847340" y="319575"/>
                </a:cubicBezTo>
                <a:cubicBezTo>
                  <a:pt x="1847340" y="321689"/>
                  <a:pt x="1845224" y="321689"/>
                  <a:pt x="1845224" y="321689"/>
                </a:cubicBezTo>
                <a:cubicBezTo>
                  <a:pt x="1840992" y="323804"/>
                  <a:pt x="1838876" y="325919"/>
                  <a:pt x="1834644" y="330149"/>
                </a:cubicBezTo>
                <a:cubicBezTo>
                  <a:pt x="1830411" y="332264"/>
                  <a:pt x="1828295" y="334379"/>
                  <a:pt x="1824063" y="336494"/>
                </a:cubicBezTo>
                <a:cubicBezTo>
                  <a:pt x="1821947" y="336494"/>
                  <a:pt x="1821947" y="336494"/>
                  <a:pt x="1819831" y="338609"/>
                </a:cubicBezTo>
                <a:cubicBezTo>
                  <a:pt x="1817715" y="338609"/>
                  <a:pt x="1813483" y="340724"/>
                  <a:pt x="1811367" y="342839"/>
                </a:cubicBezTo>
                <a:cubicBezTo>
                  <a:pt x="1807134" y="480311"/>
                  <a:pt x="1807134" y="480311"/>
                  <a:pt x="1807134" y="480311"/>
                </a:cubicBezTo>
                <a:cubicBezTo>
                  <a:pt x="1802902" y="482426"/>
                  <a:pt x="1798670" y="484541"/>
                  <a:pt x="1794438" y="486656"/>
                </a:cubicBezTo>
                <a:cubicBezTo>
                  <a:pt x="1792322" y="486656"/>
                  <a:pt x="1792322" y="486656"/>
                  <a:pt x="1790206" y="486656"/>
                </a:cubicBezTo>
                <a:cubicBezTo>
                  <a:pt x="1785974" y="488771"/>
                  <a:pt x="1783858" y="490886"/>
                  <a:pt x="1779625" y="493001"/>
                </a:cubicBezTo>
                <a:cubicBezTo>
                  <a:pt x="1777509" y="493001"/>
                  <a:pt x="1777509" y="493001"/>
                  <a:pt x="1775393" y="495116"/>
                </a:cubicBezTo>
                <a:cubicBezTo>
                  <a:pt x="1771161" y="497231"/>
                  <a:pt x="1766929" y="497231"/>
                  <a:pt x="1760581" y="499346"/>
                </a:cubicBezTo>
                <a:cubicBezTo>
                  <a:pt x="1760581" y="501461"/>
                  <a:pt x="1758465" y="501461"/>
                  <a:pt x="1758465" y="501461"/>
                </a:cubicBezTo>
                <a:cubicBezTo>
                  <a:pt x="1754232" y="503576"/>
                  <a:pt x="1750000" y="505691"/>
                  <a:pt x="1745768" y="505691"/>
                </a:cubicBezTo>
                <a:cubicBezTo>
                  <a:pt x="1743652" y="507806"/>
                  <a:pt x="1741536" y="507806"/>
                  <a:pt x="1741536" y="507806"/>
                </a:cubicBezTo>
                <a:cubicBezTo>
                  <a:pt x="1735188" y="509920"/>
                  <a:pt x="1730956" y="512035"/>
                  <a:pt x="1724607" y="514150"/>
                </a:cubicBezTo>
                <a:cubicBezTo>
                  <a:pt x="1718259" y="516265"/>
                  <a:pt x="1711911" y="518380"/>
                  <a:pt x="1707679" y="520495"/>
                </a:cubicBezTo>
                <a:cubicBezTo>
                  <a:pt x="1705563" y="520495"/>
                  <a:pt x="1703446" y="520495"/>
                  <a:pt x="1701330" y="522610"/>
                </a:cubicBezTo>
                <a:cubicBezTo>
                  <a:pt x="1697098" y="522610"/>
                  <a:pt x="1692866" y="524725"/>
                  <a:pt x="1686518" y="526840"/>
                </a:cubicBezTo>
                <a:cubicBezTo>
                  <a:pt x="1686518" y="526840"/>
                  <a:pt x="1684402" y="526840"/>
                  <a:pt x="1684402" y="526840"/>
                </a:cubicBezTo>
                <a:cubicBezTo>
                  <a:pt x="1682286" y="528955"/>
                  <a:pt x="1680170" y="528955"/>
                  <a:pt x="1678053" y="528955"/>
                </a:cubicBezTo>
                <a:cubicBezTo>
                  <a:pt x="1675937" y="528955"/>
                  <a:pt x="1675937" y="528955"/>
                  <a:pt x="1675937" y="528955"/>
                </a:cubicBezTo>
                <a:cubicBezTo>
                  <a:pt x="1671705" y="528955"/>
                  <a:pt x="1665357" y="528955"/>
                  <a:pt x="1661125" y="526840"/>
                </a:cubicBezTo>
                <a:cubicBezTo>
                  <a:pt x="1661125" y="526840"/>
                  <a:pt x="1659009" y="526840"/>
                  <a:pt x="1659009" y="526840"/>
                </a:cubicBezTo>
                <a:cubicBezTo>
                  <a:pt x="1654777" y="526840"/>
                  <a:pt x="1652660" y="526840"/>
                  <a:pt x="1648428" y="526840"/>
                </a:cubicBezTo>
                <a:cubicBezTo>
                  <a:pt x="1633616" y="524725"/>
                  <a:pt x="1618803" y="522610"/>
                  <a:pt x="1601874" y="522610"/>
                </a:cubicBezTo>
                <a:cubicBezTo>
                  <a:pt x="1597642" y="520495"/>
                  <a:pt x="1593410" y="520495"/>
                  <a:pt x="1587062" y="520495"/>
                </a:cubicBezTo>
                <a:cubicBezTo>
                  <a:pt x="1584946" y="520495"/>
                  <a:pt x="1582830" y="520495"/>
                  <a:pt x="1580714" y="520495"/>
                </a:cubicBezTo>
                <a:cubicBezTo>
                  <a:pt x="1578598" y="518380"/>
                  <a:pt x="1578598" y="518380"/>
                  <a:pt x="1576482" y="518380"/>
                </a:cubicBezTo>
                <a:cubicBezTo>
                  <a:pt x="1570133" y="518380"/>
                  <a:pt x="1565901" y="518380"/>
                  <a:pt x="1559553" y="518380"/>
                </a:cubicBezTo>
                <a:cubicBezTo>
                  <a:pt x="1557437" y="518380"/>
                  <a:pt x="1555321" y="516265"/>
                  <a:pt x="1553205" y="516265"/>
                </a:cubicBezTo>
                <a:cubicBezTo>
                  <a:pt x="1551089" y="516265"/>
                  <a:pt x="1548972" y="516265"/>
                  <a:pt x="1546856" y="516265"/>
                </a:cubicBezTo>
                <a:cubicBezTo>
                  <a:pt x="1544740" y="516265"/>
                  <a:pt x="1544740" y="516265"/>
                  <a:pt x="1544740" y="516265"/>
                </a:cubicBezTo>
                <a:cubicBezTo>
                  <a:pt x="1540508" y="516265"/>
                  <a:pt x="1536276" y="516265"/>
                  <a:pt x="1532044" y="514150"/>
                </a:cubicBezTo>
                <a:cubicBezTo>
                  <a:pt x="1529928" y="514150"/>
                  <a:pt x="1529928" y="514150"/>
                  <a:pt x="1529928" y="514150"/>
                </a:cubicBezTo>
                <a:cubicBezTo>
                  <a:pt x="1527812" y="514150"/>
                  <a:pt x="1523579" y="514150"/>
                  <a:pt x="1519347" y="514150"/>
                </a:cubicBezTo>
                <a:cubicBezTo>
                  <a:pt x="1515115" y="514150"/>
                  <a:pt x="1510883" y="514150"/>
                  <a:pt x="1506651" y="514150"/>
                </a:cubicBezTo>
                <a:cubicBezTo>
                  <a:pt x="1498186" y="512035"/>
                  <a:pt x="1489722" y="512035"/>
                  <a:pt x="1481258" y="512035"/>
                </a:cubicBezTo>
                <a:cubicBezTo>
                  <a:pt x="1477026" y="509920"/>
                  <a:pt x="1472793" y="509920"/>
                  <a:pt x="1468561" y="509920"/>
                </a:cubicBezTo>
                <a:cubicBezTo>
                  <a:pt x="1466445" y="509920"/>
                  <a:pt x="1464329" y="509920"/>
                  <a:pt x="1464329" y="509920"/>
                </a:cubicBezTo>
                <a:cubicBezTo>
                  <a:pt x="1457981" y="509920"/>
                  <a:pt x="1451633" y="507806"/>
                  <a:pt x="1443168" y="507806"/>
                </a:cubicBezTo>
                <a:cubicBezTo>
                  <a:pt x="1438936" y="507806"/>
                  <a:pt x="1432588" y="507806"/>
                  <a:pt x="1428356" y="507806"/>
                </a:cubicBezTo>
                <a:cubicBezTo>
                  <a:pt x="1426240" y="507806"/>
                  <a:pt x="1424124" y="507806"/>
                  <a:pt x="1424124" y="507806"/>
                </a:cubicBezTo>
                <a:cubicBezTo>
                  <a:pt x="1422008" y="505691"/>
                  <a:pt x="1419891" y="505691"/>
                  <a:pt x="1417775" y="505691"/>
                </a:cubicBezTo>
                <a:cubicBezTo>
                  <a:pt x="1417775" y="505691"/>
                  <a:pt x="1415659" y="505691"/>
                  <a:pt x="1413543" y="505691"/>
                </a:cubicBezTo>
                <a:cubicBezTo>
                  <a:pt x="1411427" y="505691"/>
                  <a:pt x="1409311" y="505691"/>
                  <a:pt x="1407195" y="505691"/>
                </a:cubicBezTo>
                <a:cubicBezTo>
                  <a:pt x="1405079" y="505691"/>
                  <a:pt x="1405079" y="505691"/>
                  <a:pt x="1405079" y="505691"/>
                </a:cubicBezTo>
                <a:cubicBezTo>
                  <a:pt x="1398731" y="505691"/>
                  <a:pt x="1392382" y="505691"/>
                  <a:pt x="1386034" y="503576"/>
                </a:cubicBezTo>
                <a:cubicBezTo>
                  <a:pt x="1383918" y="503576"/>
                  <a:pt x="1383918" y="503576"/>
                  <a:pt x="1381802" y="503576"/>
                </a:cubicBezTo>
                <a:cubicBezTo>
                  <a:pt x="1377570" y="503576"/>
                  <a:pt x="1371222" y="503576"/>
                  <a:pt x="1364873" y="503576"/>
                </a:cubicBezTo>
                <a:cubicBezTo>
                  <a:pt x="1358525" y="503576"/>
                  <a:pt x="1352177" y="501461"/>
                  <a:pt x="1347945" y="501461"/>
                </a:cubicBezTo>
                <a:cubicBezTo>
                  <a:pt x="1345829" y="501461"/>
                  <a:pt x="1345829" y="501461"/>
                  <a:pt x="1345829" y="501461"/>
                </a:cubicBezTo>
                <a:cubicBezTo>
                  <a:pt x="1343712" y="501461"/>
                  <a:pt x="1341596" y="501461"/>
                  <a:pt x="1339480" y="501461"/>
                </a:cubicBezTo>
                <a:cubicBezTo>
                  <a:pt x="1335248" y="501461"/>
                  <a:pt x="1331016" y="501461"/>
                  <a:pt x="1326784" y="501461"/>
                </a:cubicBezTo>
                <a:cubicBezTo>
                  <a:pt x="1324668" y="501461"/>
                  <a:pt x="1324668" y="501461"/>
                  <a:pt x="1322552" y="501461"/>
                </a:cubicBezTo>
                <a:cubicBezTo>
                  <a:pt x="1318319" y="499346"/>
                  <a:pt x="1311971" y="499346"/>
                  <a:pt x="1305623" y="499346"/>
                </a:cubicBezTo>
                <a:cubicBezTo>
                  <a:pt x="1303507" y="499346"/>
                  <a:pt x="1301391" y="499346"/>
                  <a:pt x="1297159" y="499346"/>
                </a:cubicBezTo>
                <a:cubicBezTo>
                  <a:pt x="1292926" y="499346"/>
                  <a:pt x="1288694" y="499346"/>
                  <a:pt x="1284462" y="499346"/>
                </a:cubicBezTo>
                <a:cubicBezTo>
                  <a:pt x="1282346" y="499346"/>
                  <a:pt x="1282346" y="499346"/>
                  <a:pt x="1282346" y="499346"/>
                </a:cubicBezTo>
                <a:cubicBezTo>
                  <a:pt x="1278114" y="499346"/>
                  <a:pt x="1273882" y="497231"/>
                  <a:pt x="1271766" y="497231"/>
                </a:cubicBezTo>
                <a:cubicBezTo>
                  <a:pt x="1269650" y="497231"/>
                  <a:pt x="1267533" y="497231"/>
                  <a:pt x="1267533" y="497231"/>
                </a:cubicBezTo>
                <a:cubicBezTo>
                  <a:pt x="1261185" y="497231"/>
                  <a:pt x="1256953" y="497231"/>
                  <a:pt x="1250605" y="497231"/>
                </a:cubicBezTo>
                <a:cubicBezTo>
                  <a:pt x="1248489" y="497231"/>
                  <a:pt x="1244257" y="497231"/>
                  <a:pt x="1242141" y="497231"/>
                </a:cubicBezTo>
                <a:cubicBezTo>
                  <a:pt x="1235792" y="497231"/>
                  <a:pt x="1227328" y="495116"/>
                  <a:pt x="1220980" y="495116"/>
                </a:cubicBezTo>
                <a:cubicBezTo>
                  <a:pt x="1218864" y="495116"/>
                  <a:pt x="1216748" y="495116"/>
                  <a:pt x="1214631" y="495116"/>
                </a:cubicBezTo>
                <a:cubicBezTo>
                  <a:pt x="1210399" y="495116"/>
                  <a:pt x="1206167" y="495116"/>
                  <a:pt x="1201935" y="495116"/>
                </a:cubicBezTo>
                <a:cubicBezTo>
                  <a:pt x="1199819" y="495116"/>
                  <a:pt x="1195587" y="495116"/>
                  <a:pt x="1191355" y="495116"/>
                </a:cubicBezTo>
                <a:cubicBezTo>
                  <a:pt x="1189238" y="495116"/>
                  <a:pt x="1187122" y="495116"/>
                  <a:pt x="1185006" y="495116"/>
                </a:cubicBezTo>
                <a:cubicBezTo>
                  <a:pt x="1182890" y="495116"/>
                  <a:pt x="1182890" y="495116"/>
                  <a:pt x="1180774" y="495116"/>
                </a:cubicBezTo>
                <a:cubicBezTo>
                  <a:pt x="1176542" y="495116"/>
                  <a:pt x="1172310" y="495116"/>
                  <a:pt x="1170194" y="493001"/>
                </a:cubicBezTo>
                <a:cubicBezTo>
                  <a:pt x="1165962" y="493001"/>
                  <a:pt x="1163845" y="493001"/>
                  <a:pt x="1161729" y="493001"/>
                </a:cubicBezTo>
                <a:cubicBezTo>
                  <a:pt x="1153265" y="493001"/>
                  <a:pt x="1146917" y="493001"/>
                  <a:pt x="1138452" y="493001"/>
                </a:cubicBezTo>
                <a:cubicBezTo>
                  <a:pt x="1132104" y="493001"/>
                  <a:pt x="1125756" y="493001"/>
                  <a:pt x="1119408" y="493001"/>
                </a:cubicBezTo>
                <a:cubicBezTo>
                  <a:pt x="1115176" y="493001"/>
                  <a:pt x="1110943" y="493001"/>
                  <a:pt x="1108827" y="493001"/>
                </a:cubicBezTo>
                <a:cubicBezTo>
                  <a:pt x="1104595" y="493001"/>
                  <a:pt x="1102479" y="493001"/>
                  <a:pt x="1098247" y="493001"/>
                </a:cubicBezTo>
                <a:cubicBezTo>
                  <a:pt x="1096131" y="493001"/>
                  <a:pt x="1096131" y="493001"/>
                  <a:pt x="1096131" y="493001"/>
                </a:cubicBezTo>
                <a:cubicBezTo>
                  <a:pt x="1089783" y="490886"/>
                  <a:pt x="1083434" y="490886"/>
                  <a:pt x="1077086" y="490886"/>
                </a:cubicBezTo>
                <a:cubicBezTo>
                  <a:pt x="1072854" y="490886"/>
                  <a:pt x="1068622" y="490886"/>
                  <a:pt x="1066506" y="490886"/>
                </a:cubicBezTo>
                <a:cubicBezTo>
                  <a:pt x="1062274" y="490886"/>
                  <a:pt x="1060157" y="490886"/>
                  <a:pt x="1055925" y="490886"/>
                </a:cubicBezTo>
                <a:cubicBezTo>
                  <a:pt x="1049577" y="490886"/>
                  <a:pt x="1041113" y="490886"/>
                  <a:pt x="1034764" y="490886"/>
                </a:cubicBezTo>
                <a:cubicBezTo>
                  <a:pt x="1028416" y="490886"/>
                  <a:pt x="1024184" y="490886"/>
                  <a:pt x="1022068" y="490886"/>
                </a:cubicBezTo>
                <a:cubicBezTo>
                  <a:pt x="1019952" y="490886"/>
                  <a:pt x="1015720" y="490886"/>
                  <a:pt x="1013604" y="490886"/>
                </a:cubicBezTo>
                <a:cubicBezTo>
                  <a:pt x="1005139" y="490886"/>
                  <a:pt x="998791" y="490886"/>
                  <a:pt x="992443" y="490886"/>
                </a:cubicBezTo>
                <a:cubicBezTo>
                  <a:pt x="986095" y="490886"/>
                  <a:pt x="981862" y="490886"/>
                  <a:pt x="977630" y="490886"/>
                </a:cubicBezTo>
                <a:cubicBezTo>
                  <a:pt x="973398" y="490886"/>
                  <a:pt x="973398" y="490886"/>
                  <a:pt x="973398" y="490886"/>
                </a:cubicBezTo>
                <a:cubicBezTo>
                  <a:pt x="964934" y="490886"/>
                  <a:pt x="956469" y="490886"/>
                  <a:pt x="948005" y="490886"/>
                </a:cubicBezTo>
                <a:cubicBezTo>
                  <a:pt x="941657" y="490886"/>
                  <a:pt x="935309" y="490886"/>
                  <a:pt x="928960" y="490886"/>
                </a:cubicBezTo>
                <a:cubicBezTo>
                  <a:pt x="922612" y="490886"/>
                  <a:pt x="914148" y="490886"/>
                  <a:pt x="905683" y="490886"/>
                </a:cubicBezTo>
                <a:cubicBezTo>
                  <a:pt x="901451" y="490886"/>
                  <a:pt x="901451" y="490886"/>
                  <a:pt x="901451" y="490886"/>
                </a:cubicBezTo>
                <a:cubicBezTo>
                  <a:pt x="899335" y="490886"/>
                  <a:pt x="897219" y="490886"/>
                  <a:pt x="895103" y="490886"/>
                </a:cubicBezTo>
                <a:cubicBezTo>
                  <a:pt x="888755" y="490886"/>
                  <a:pt x="888755" y="490886"/>
                  <a:pt x="888755" y="490886"/>
                </a:cubicBezTo>
                <a:cubicBezTo>
                  <a:pt x="886639" y="490886"/>
                  <a:pt x="884523" y="490886"/>
                  <a:pt x="884523" y="490886"/>
                </a:cubicBezTo>
                <a:cubicBezTo>
                  <a:pt x="880290" y="490886"/>
                  <a:pt x="876058" y="490886"/>
                  <a:pt x="871826" y="490886"/>
                </a:cubicBezTo>
                <a:cubicBezTo>
                  <a:pt x="863362" y="490886"/>
                  <a:pt x="854897" y="490886"/>
                  <a:pt x="846433" y="490886"/>
                </a:cubicBezTo>
                <a:cubicBezTo>
                  <a:pt x="842201" y="490886"/>
                  <a:pt x="835853" y="490886"/>
                  <a:pt x="829504" y="490886"/>
                </a:cubicBezTo>
                <a:cubicBezTo>
                  <a:pt x="827388" y="490886"/>
                  <a:pt x="827388" y="490886"/>
                  <a:pt x="827388" y="490886"/>
                </a:cubicBezTo>
                <a:cubicBezTo>
                  <a:pt x="821040" y="490886"/>
                  <a:pt x="812576" y="490886"/>
                  <a:pt x="804111" y="490886"/>
                </a:cubicBezTo>
                <a:cubicBezTo>
                  <a:pt x="799879" y="490886"/>
                  <a:pt x="793531" y="490886"/>
                  <a:pt x="787183" y="490886"/>
                </a:cubicBezTo>
                <a:cubicBezTo>
                  <a:pt x="785067" y="490886"/>
                  <a:pt x="785067" y="490886"/>
                  <a:pt x="785067" y="490886"/>
                </a:cubicBezTo>
                <a:cubicBezTo>
                  <a:pt x="780835" y="490886"/>
                  <a:pt x="776602" y="493001"/>
                  <a:pt x="772370" y="493001"/>
                </a:cubicBezTo>
                <a:cubicBezTo>
                  <a:pt x="770254" y="493001"/>
                  <a:pt x="766022" y="493001"/>
                  <a:pt x="761790" y="493001"/>
                </a:cubicBezTo>
                <a:cubicBezTo>
                  <a:pt x="759674" y="493001"/>
                  <a:pt x="755442" y="493001"/>
                  <a:pt x="751209" y="493001"/>
                </a:cubicBezTo>
                <a:cubicBezTo>
                  <a:pt x="749093" y="493001"/>
                  <a:pt x="749093" y="493001"/>
                  <a:pt x="749093" y="493001"/>
                </a:cubicBezTo>
                <a:cubicBezTo>
                  <a:pt x="746977" y="493001"/>
                  <a:pt x="744861" y="493001"/>
                  <a:pt x="742745" y="493001"/>
                </a:cubicBezTo>
                <a:cubicBezTo>
                  <a:pt x="734281" y="493001"/>
                  <a:pt x="727932" y="493001"/>
                  <a:pt x="719468" y="493001"/>
                </a:cubicBezTo>
                <a:cubicBezTo>
                  <a:pt x="713120" y="493001"/>
                  <a:pt x="706772" y="493001"/>
                  <a:pt x="700423" y="493001"/>
                </a:cubicBezTo>
                <a:cubicBezTo>
                  <a:pt x="694075" y="495116"/>
                  <a:pt x="687727" y="495116"/>
                  <a:pt x="681379" y="495116"/>
                </a:cubicBezTo>
                <a:cubicBezTo>
                  <a:pt x="679263" y="495116"/>
                  <a:pt x="677146" y="495116"/>
                  <a:pt x="675030" y="495116"/>
                </a:cubicBezTo>
                <a:cubicBezTo>
                  <a:pt x="668682" y="495116"/>
                  <a:pt x="664450" y="495116"/>
                  <a:pt x="658102" y="495116"/>
                </a:cubicBezTo>
                <a:cubicBezTo>
                  <a:pt x="649637" y="495116"/>
                  <a:pt x="641173" y="497231"/>
                  <a:pt x="634825" y="497231"/>
                </a:cubicBezTo>
                <a:cubicBezTo>
                  <a:pt x="632709" y="497231"/>
                  <a:pt x="632709" y="497231"/>
                  <a:pt x="632709" y="497231"/>
                </a:cubicBezTo>
                <a:cubicBezTo>
                  <a:pt x="626361" y="497231"/>
                  <a:pt x="620012" y="497231"/>
                  <a:pt x="615780" y="497231"/>
                </a:cubicBezTo>
                <a:cubicBezTo>
                  <a:pt x="607316" y="497231"/>
                  <a:pt x="598851" y="497231"/>
                  <a:pt x="590387" y="499346"/>
                </a:cubicBezTo>
                <a:cubicBezTo>
                  <a:pt x="586155" y="499346"/>
                  <a:pt x="584039" y="499346"/>
                  <a:pt x="581923" y="499346"/>
                </a:cubicBezTo>
                <a:cubicBezTo>
                  <a:pt x="579807" y="499346"/>
                  <a:pt x="575575" y="499346"/>
                  <a:pt x="573458" y="499346"/>
                </a:cubicBezTo>
                <a:cubicBezTo>
                  <a:pt x="562878" y="499346"/>
                  <a:pt x="552298" y="499346"/>
                  <a:pt x="541717" y="501461"/>
                </a:cubicBezTo>
                <a:cubicBezTo>
                  <a:pt x="539601" y="501461"/>
                  <a:pt x="535369" y="501461"/>
                  <a:pt x="531137" y="501461"/>
                </a:cubicBezTo>
                <a:cubicBezTo>
                  <a:pt x="516324" y="501461"/>
                  <a:pt x="503628" y="503576"/>
                  <a:pt x="488815" y="503576"/>
                </a:cubicBezTo>
                <a:cubicBezTo>
                  <a:pt x="486699" y="503576"/>
                  <a:pt x="484583" y="503576"/>
                  <a:pt x="482467" y="505691"/>
                </a:cubicBezTo>
                <a:cubicBezTo>
                  <a:pt x="480351" y="505691"/>
                  <a:pt x="478235" y="505691"/>
                  <a:pt x="476119" y="505691"/>
                </a:cubicBezTo>
                <a:cubicBezTo>
                  <a:pt x="471886" y="505691"/>
                  <a:pt x="467654" y="505691"/>
                  <a:pt x="463422" y="505691"/>
                </a:cubicBezTo>
                <a:cubicBezTo>
                  <a:pt x="459190" y="505691"/>
                  <a:pt x="452842" y="505691"/>
                  <a:pt x="446494" y="507806"/>
                </a:cubicBezTo>
                <a:cubicBezTo>
                  <a:pt x="442261" y="507806"/>
                  <a:pt x="440145" y="507806"/>
                  <a:pt x="435913" y="507806"/>
                </a:cubicBezTo>
                <a:cubicBezTo>
                  <a:pt x="435913" y="507806"/>
                  <a:pt x="433797" y="507806"/>
                  <a:pt x="433797" y="507806"/>
                </a:cubicBezTo>
                <a:cubicBezTo>
                  <a:pt x="423217" y="507806"/>
                  <a:pt x="414752" y="509920"/>
                  <a:pt x="406288" y="509920"/>
                </a:cubicBezTo>
                <a:cubicBezTo>
                  <a:pt x="402056" y="509920"/>
                  <a:pt x="399940" y="509920"/>
                  <a:pt x="395708" y="509920"/>
                </a:cubicBezTo>
                <a:cubicBezTo>
                  <a:pt x="393591" y="509920"/>
                  <a:pt x="391475" y="512035"/>
                  <a:pt x="387243" y="512035"/>
                </a:cubicBezTo>
                <a:cubicBezTo>
                  <a:pt x="385127" y="512035"/>
                  <a:pt x="383011" y="512035"/>
                  <a:pt x="380895" y="512035"/>
                </a:cubicBezTo>
                <a:cubicBezTo>
                  <a:pt x="374547" y="512035"/>
                  <a:pt x="368198" y="512035"/>
                  <a:pt x="363966" y="514150"/>
                </a:cubicBezTo>
                <a:cubicBezTo>
                  <a:pt x="344922" y="514150"/>
                  <a:pt x="344922" y="514150"/>
                  <a:pt x="344922" y="514150"/>
                </a:cubicBezTo>
                <a:cubicBezTo>
                  <a:pt x="342805" y="514150"/>
                  <a:pt x="338573" y="516265"/>
                  <a:pt x="336457" y="516265"/>
                </a:cubicBezTo>
                <a:cubicBezTo>
                  <a:pt x="330109" y="516265"/>
                  <a:pt x="325877" y="516265"/>
                  <a:pt x="321645" y="516265"/>
                </a:cubicBezTo>
                <a:cubicBezTo>
                  <a:pt x="317412" y="516265"/>
                  <a:pt x="315296" y="518380"/>
                  <a:pt x="311064" y="518380"/>
                </a:cubicBezTo>
                <a:cubicBezTo>
                  <a:pt x="308948" y="518380"/>
                  <a:pt x="306832" y="518380"/>
                  <a:pt x="304716" y="518380"/>
                </a:cubicBezTo>
                <a:cubicBezTo>
                  <a:pt x="296252" y="518380"/>
                  <a:pt x="287787" y="520495"/>
                  <a:pt x="279323" y="520495"/>
                </a:cubicBezTo>
                <a:cubicBezTo>
                  <a:pt x="272975" y="520495"/>
                  <a:pt x="268743" y="522610"/>
                  <a:pt x="262394" y="522610"/>
                </a:cubicBezTo>
                <a:cubicBezTo>
                  <a:pt x="253930" y="522610"/>
                  <a:pt x="245466" y="524725"/>
                  <a:pt x="237001" y="524725"/>
                </a:cubicBezTo>
                <a:cubicBezTo>
                  <a:pt x="232769" y="524725"/>
                  <a:pt x="226421" y="526840"/>
                  <a:pt x="220073" y="526840"/>
                </a:cubicBezTo>
                <a:cubicBezTo>
                  <a:pt x="171403" y="512035"/>
                  <a:pt x="129081" y="497231"/>
                  <a:pt x="95224" y="478196"/>
                </a:cubicBezTo>
                <a:cubicBezTo>
                  <a:pt x="90992" y="476081"/>
                  <a:pt x="88876" y="338609"/>
                  <a:pt x="84643" y="336494"/>
                </a:cubicBezTo>
                <a:cubicBezTo>
                  <a:pt x="84643" y="336494"/>
                  <a:pt x="82527" y="336494"/>
                  <a:pt x="82527" y="336494"/>
                </a:cubicBezTo>
                <a:cubicBezTo>
                  <a:pt x="78295" y="334379"/>
                  <a:pt x="76179" y="332264"/>
                  <a:pt x="74063" y="332264"/>
                </a:cubicBezTo>
                <a:cubicBezTo>
                  <a:pt x="74063" y="330149"/>
                  <a:pt x="71947" y="330149"/>
                  <a:pt x="69831" y="328034"/>
                </a:cubicBezTo>
                <a:cubicBezTo>
                  <a:pt x="67715" y="328034"/>
                  <a:pt x="67715" y="325919"/>
                  <a:pt x="65599" y="325919"/>
                </a:cubicBezTo>
                <a:cubicBezTo>
                  <a:pt x="63483" y="323804"/>
                  <a:pt x="61367" y="323804"/>
                  <a:pt x="61367" y="323804"/>
                </a:cubicBezTo>
                <a:cubicBezTo>
                  <a:pt x="59250" y="321689"/>
                  <a:pt x="57134" y="319575"/>
                  <a:pt x="55018" y="319575"/>
                </a:cubicBezTo>
                <a:cubicBezTo>
                  <a:pt x="55018" y="317460"/>
                  <a:pt x="52902" y="317460"/>
                  <a:pt x="52902" y="317460"/>
                </a:cubicBezTo>
                <a:cubicBezTo>
                  <a:pt x="50786" y="315345"/>
                  <a:pt x="48670" y="313230"/>
                  <a:pt x="46554" y="313230"/>
                </a:cubicBezTo>
                <a:cubicBezTo>
                  <a:pt x="46554" y="311115"/>
                  <a:pt x="44438" y="311115"/>
                  <a:pt x="44438" y="311115"/>
                </a:cubicBezTo>
                <a:cubicBezTo>
                  <a:pt x="42322" y="309000"/>
                  <a:pt x="40206" y="306885"/>
                  <a:pt x="38090" y="306885"/>
                </a:cubicBezTo>
                <a:cubicBezTo>
                  <a:pt x="38090" y="304770"/>
                  <a:pt x="35974" y="304770"/>
                  <a:pt x="35974" y="304770"/>
                </a:cubicBezTo>
                <a:cubicBezTo>
                  <a:pt x="33857" y="302655"/>
                  <a:pt x="31741" y="300540"/>
                  <a:pt x="29625" y="298425"/>
                </a:cubicBezTo>
                <a:cubicBezTo>
                  <a:pt x="27509" y="296310"/>
                  <a:pt x="25393" y="294195"/>
                  <a:pt x="23277" y="292080"/>
                </a:cubicBezTo>
                <a:cubicBezTo>
                  <a:pt x="21161" y="289965"/>
                  <a:pt x="21161" y="289965"/>
                  <a:pt x="21161" y="289965"/>
                </a:cubicBezTo>
                <a:cubicBezTo>
                  <a:pt x="21161" y="287850"/>
                  <a:pt x="19045" y="287850"/>
                  <a:pt x="19045" y="285735"/>
                </a:cubicBezTo>
                <a:cubicBezTo>
                  <a:pt x="16929" y="283620"/>
                  <a:pt x="16929" y="283620"/>
                  <a:pt x="16929" y="283620"/>
                </a:cubicBezTo>
                <a:cubicBezTo>
                  <a:pt x="14813" y="281505"/>
                  <a:pt x="14813" y="281505"/>
                  <a:pt x="12697" y="279390"/>
                </a:cubicBezTo>
                <a:cubicBezTo>
                  <a:pt x="12697" y="279390"/>
                  <a:pt x="12697" y="277275"/>
                  <a:pt x="10581" y="277275"/>
                </a:cubicBezTo>
                <a:cubicBezTo>
                  <a:pt x="10581" y="275160"/>
                  <a:pt x="10581" y="273046"/>
                  <a:pt x="8464" y="273046"/>
                </a:cubicBezTo>
                <a:cubicBezTo>
                  <a:pt x="8464" y="273046"/>
                  <a:pt x="8464" y="270931"/>
                  <a:pt x="8464" y="270931"/>
                </a:cubicBezTo>
                <a:cubicBezTo>
                  <a:pt x="6348" y="268816"/>
                  <a:pt x="6348" y="266701"/>
                  <a:pt x="6348" y="266701"/>
                </a:cubicBezTo>
                <a:cubicBezTo>
                  <a:pt x="6348" y="264586"/>
                  <a:pt x="4232" y="264586"/>
                  <a:pt x="4232" y="264586"/>
                </a:cubicBezTo>
                <a:cubicBezTo>
                  <a:pt x="4232" y="262471"/>
                  <a:pt x="4232" y="260356"/>
                  <a:pt x="2116" y="260356"/>
                </a:cubicBezTo>
                <a:cubicBezTo>
                  <a:pt x="2116" y="258241"/>
                  <a:pt x="2116" y="258241"/>
                  <a:pt x="2116" y="258241"/>
                </a:cubicBezTo>
                <a:cubicBezTo>
                  <a:pt x="2116" y="256126"/>
                  <a:pt x="0" y="254011"/>
                  <a:pt x="0" y="251896"/>
                </a:cubicBezTo>
                <a:cubicBezTo>
                  <a:pt x="0" y="249781"/>
                  <a:pt x="0" y="247666"/>
                  <a:pt x="0" y="245551"/>
                </a:cubicBezTo>
                <a:cubicBezTo>
                  <a:pt x="0" y="243436"/>
                  <a:pt x="0" y="243436"/>
                  <a:pt x="0" y="243436"/>
                </a:cubicBezTo>
                <a:cubicBezTo>
                  <a:pt x="0" y="241321"/>
                  <a:pt x="0" y="241321"/>
                  <a:pt x="0" y="241321"/>
                </a:cubicBezTo>
                <a:cubicBezTo>
                  <a:pt x="0" y="239206"/>
                  <a:pt x="0" y="239206"/>
                  <a:pt x="0" y="239206"/>
                </a:cubicBezTo>
                <a:cubicBezTo>
                  <a:pt x="0" y="237091"/>
                  <a:pt x="0" y="237091"/>
                  <a:pt x="0" y="237091"/>
                </a:cubicBezTo>
                <a:cubicBezTo>
                  <a:pt x="0" y="234976"/>
                  <a:pt x="0" y="232861"/>
                  <a:pt x="0" y="230746"/>
                </a:cubicBezTo>
                <a:cubicBezTo>
                  <a:pt x="0" y="228631"/>
                  <a:pt x="0" y="228631"/>
                  <a:pt x="0" y="228631"/>
                </a:cubicBezTo>
                <a:cubicBezTo>
                  <a:pt x="0" y="226517"/>
                  <a:pt x="0" y="224402"/>
                  <a:pt x="2116" y="222287"/>
                </a:cubicBezTo>
                <a:cubicBezTo>
                  <a:pt x="2116" y="220172"/>
                  <a:pt x="2116" y="220172"/>
                  <a:pt x="2116" y="220172"/>
                </a:cubicBezTo>
                <a:cubicBezTo>
                  <a:pt x="2116" y="218057"/>
                  <a:pt x="2116" y="215942"/>
                  <a:pt x="4232" y="213827"/>
                </a:cubicBezTo>
                <a:cubicBezTo>
                  <a:pt x="4232" y="211712"/>
                  <a:pt x="4232" y="211712"/>
                  <a:pt x="4232" y="211712"/>
                </a:cubicBezTo>
                <a:cubicBezTo>
                  <a:pt x="6348" y="209597"/>
                  <a:pt x="6348" y="207482"/>
                  <a:pt x="8464" y="205367"/>
                </a:cubicBezTo>
                <a:cubicBezTo>
                  <a:pt x="10581" y="203252"/>
                  <a:pt x="10581" y="201137"/>
                  <a:pt x="12697" y="199022"/>
                </a:cubicBezTo>
                <a:cubicBezTo>
                  <a:pt x="14813" y="196907"/>
                  <a:pt x="14813" y="196907"/>
                  <a:pt x="14813" y="196907"/>
                </a:cubicBezTo>
                <a:cubicBezTo>
                  <a:pt x="14813" y="194792"/>
                  <a:pt x="16929" y="192677"/>
                  <a:pt x="19045" y="190562"/>
                </a:cubicBezTo>
                <a:cubicBezTo>
                  <a:pt x="19045" y="188447"/>
                  <a:pt x="19045" y="188447"/>
                  <a:pt x="19045" y="188447"/>
                </a:cubicBezTo>
                <a:cubicBezTo>
                  <a:pt x="21161" y="186332"/>
                  <a:pt x="23277" y="184217"/>
                  <a:pt x="25393" y="182102"/>
                </a:cubicBezTo>
                <a:cubicBezTo>
                  <a:pt x="27509" y="179988"/>
                  <a:pt x="27509" y="179988"/>
                  <a:pt x="27509" y="179988"/>
                </a:cubicBezTo>
                <a:cubicBezTo>
                  <a:pt x="29625" y="177873"/>
                  <a:pt x="31741" y="175758"/>
                  <a:pt x="33857" y="173643"/>
                </a:cubicBezTo>
                <a:cubicBezTo>
                  <a:pt x="35974" y="173643"/>
                  <a:pt x="35974" y="173643"/>
                  <a:pt x="35974" y="173643"/>
                </a:cubicBezTo>
                <a:cubicBezTo>
                  <a:pt x="38090" y="169413"/>
                  <a:pt x="40206" y="167298"/>
                  <a:pt x="44438" y="165183"/>
                </a:cubicBezTo>
                <a:cubicBezTo>
                  <a:pt x="46554" y="165183"/>
                  <a:pt x="46554" y="165183"/>
                  <a:pt x="46554" y="165183"/>
                </a:cubicBezTo>
                <a:cubicBezTo>
                  <a:pt x="48670" y="163068"/>
                  <a:pt x="50786" y="160953"/>
                  <a:pt x="52902" y="158838"/>
                </a:cubicBezTo>
                <a:cubicBezTo>
                  <a:pt x="55018" y="158838"/>
                  <a:pt x="55018" y="156723"/>
                  <a:pt x="57134" y="156723"/>
                </a:cubicBezTo>
                <a:cubicBezTo>
                  <a:pt x="59250" y="154608"/>
                  <a:pt x="63483" y="152493"/>
                  <a:pt x="65599" y="150378"/>
                </a:cubicBezTo>
                <a:cubicBezTo>
                  <a:pt x="69831" y="148263"/>
                  <a:pt x="74063" y="146148"/>
                  <a:pt x="78295" y="144033"/>
                </a:cubicBezTo>
                <a:cubicBezTo>
                  <a:pt x="78295" y="141918"/>
                  <a:pt x="80411" y="141918"/>
                  <a:pt x="80411" y="141918"/>
                </a:cubicBezTo>
                <a:cubicBezTo>
                  <a:pt x="84643" y="139803"/>
                  <a:pt x="86760" y="137688"/>
                  <a:pt x="90992" y="135573"/>
                </a:cubicBezTo>
                <a:cubicBezTo>
                  <a:pt x="93108" y="135573"/>
                  <a:pt x="93108" y="135573"/>
                  <a:pt x="93108" y="135573"/>
                </a:cubicBezTo>
                <a:cubicBezTo>
                  <a:pt x="97340" y="133459"/>
                  <a:pt x="101572" y="131344"/>
                  <a:pt x="105804" y="129229"/>
                </a:cubicBezTo>
                <a:cubicBezTo>
                  <a:pt x="107920" y="127114"/>
                  <a:pt x="107920" y="127114"/>
                  <a:pt x="110036" y="127114"/>
                </a:cubicBezTo>
                <a:cubicBezTo>
                  <a:pt x="112152" y="124999"/>
                  <a:pt x="116385" y="122884"/>
                  <a:pt x="120617" y="120769"/>
                </a:cubicBezTo>
                <a:cubicBezTo>
                  <a:pt x="120617" y="120769"/>
                  <a:pt x="122733" y="120769"/>
                  <a:pt x="124849" y="120769"/>
                </a:cubicBezTo>
                <a:cubicBezTo>
                  <a:pt x="129081" y="118654"/>
                  <a:pt x="133313" y="116539"/>
                  <a:pt x="137545" y="114424"/>
                </a:cubicBezTo>
                <a:cubicBezTo>
                  <a:pt x="139662" y="114424"/>
                  <a:pt x="139662" y="112309"/>
                  <a:pt x="141778" y="112309"/>
                </a:cubicBezTo>
                <a:cubicBezTo>
                  <a:pt x="146010" y="110194"/>
                  <a:pt x="150242" y="110194"/>
                  <a:pt x="154474" y="108079"/>
                </a:cubicBezTo>
                <a:cubicBezTo>
                  <a:pt x="156590" y="105964"/>
                  <a:pt x="156590" y="105964"/>
                  <a:pt x="158706" y="105964"/>
                </a:cubicBezTo>
                <a:cubicBezTo>
                  <a:pt x="165055" y="103849"/>
                  <a:pt x="169287" y="101734"/>
                  <a:pt x="175635" y="99619"/>
                </a:cubicBezTo>
                <a:cubicBezTo>
                  <a:pt x="181983" y="97504"/>
                  <a:pt x="186215" y="95389"/>
                  <a:pt x="192564" y="93274"/>
                </a:cubicBezTo>
                <a:cubicBezTo>
                  <a:pt x="194680" y="93274"/>
                  <a:pt x="196796" y="93274"/>
                  <a:pt x="196796" y="93274"/>
                </a:cubicBezTo>
                <a:cubicBezTo>
                  <a:pt x="203144" y="91159"/>
                  <a:pt x="207376" y="89044"/>
                  <a:pt x="213724" y="86929"/>
                </a:cubicBezTo>
                <a:cubicBezTo>
                  <a:pt x="213724" y="86929"/>
                  <a:pt x="215841" y="86929"/>
                  <a:pt x="215841" y="86929"/>
                </a:cubicBezTo>
                <a:cubicBezTo>
                  <a:pt x="222189" y="84815"/>
                  <a:pt x="228537" y="82700"/>
                  <a:pt x="234885" y="80585"/>
                </a:cubicBezTo>
                <a:cubicBezTo>
                  <a:pt x="237001" y="80585"/>
                  <a:pt x="239117" y="80585"/>
                  <a:pt x="239117" y="80585"/>
                </a:cubicBezTo>
                <a:cubicBezTo>
                  <a:pt x="245466" y="78470"/>
                  <a:pt x="249698" y="76355"/>
                  <a:pt x="256046" y="74240"/>
                </a:cubicBezTo>
                <a:cubicBezTo>
                  <a:pt x="260278" y="74240"/>
                  <a:pt x="260278" y="74240"/>
                  <a:pt x="260278" y="74240"/>
                </a:cubicBezTo>
                <a:cubicBezTo>
                  <a:pt x="266627" y="72125"/>
                  <a:pt x="275091" y="70010"/>
                  <a:pt x="281439" y="67895"/>
                </a:cubicBezTo>
                <a:cubicBezTo>
                  <a:pt x="283555" y="67895"/>
                  <a:pt x="283555" y="67895"/>
                  <a:pt x="285671" y="67895"/>
                </a:cubicBezTo>
                <a:cubicBezTo>
                  <a:pt x="292019" y="65780"/>
                  <a:pt x="296252" y="65780"/>
                  <a:pt x="302600" y="63665"/>
                </a:cubicBezTo>
                <a:cubicBezTo>
                  <a:pt x="304716" y="63665"/>
                  <a:pt x="306832" y="61550"/>
                  <a:pt x="308948" y="61550"/>
                </a:cubicBezTo>
                <a:cubicBezTo>
                  <a:pt x="317412" y="59435"/>
                  <a:pt x="323761" y="59435"/>
                  <a:pt x="332225" y="57320"/>
                </a:cubicBezTo>
                <a:cubicBezTo>
                  <a:pt x="338573" y="55205"/>
                  <a:pt x="347038" y="53090"/>
                  <a:pt x="355502" y="53090"/>
                </a:cubicBezTo>
                <a:cubicBezTo>
                  <a:pt x="357618" y="50975"/>
                  <a:pt x="359734" y="50975"/>
                  <a:pt x="361850" y="50975"/>
                </a:cubicBezTo>
                <a:cubicBezTo>
                  <a:pt x="368198" y="48860"/>
                  <a:pt x="374547" y="48860"/>
                  <a:pt x="380895" y="46745"/>
                </a:cubicBezTo>
                <a:cubicBezTo>
                  <a:pt x="383011" y="46745"/>
                  <a:pt x="385127" y="46745"/>
                  <a:pt x="385127" y="46745"/>
                </a:cubicBezTo>
                <a:cubicBezTo>
                  <a:pt x="393591" y="44630"/>
                  <a:pt x="402056" y="42515"/>
                  <a:pt x="410520" y="42515"/>
                </a:cubicBezTo>
                <a:cubicBezTo>
                  <a:pt x="412636" y="42515"/>
                  <a:pt x="414752" y="40400"/>
                  <a:pt x="416868" y="40400"/>
                </a:cubicBezTo>
                <a:cubicBezTo>
                  <a:pt x="423217" y="40400"/>
                  <a:pt x="429565" y="38286"/>
                  <a:pt x="435913" y="38286"/>
                </a:cubicBezTo>
                <a:cubicBezTo>
                  <a:pt x="438029" y="38286"/>
                  <a:pt x="440145" y="36171"/>
                  <a:pt x="442261" y="36171"/>
                </a:cubicBezTo>
                <a:cubicBezTo>
                  <a:pt x="450726" y="36171"/>
                  <a:pt x="461306" y="34056"/>
                  <a:pt x="469770" y="31941"/>
                </a:cubicBezTo>
                <a:cubicBezTo>
                  <a:pt x="469770" y="31941"/>
                  <a:pt x="471886" y="31941"/>
                  <a:pt x="474003" y="31941"/>
                </a:cubicBezTo>
                <a:cubicBezTo>
                  <a:pt x="482467" y="31941"/>
                  <a:pt x="488815" y="29826"/>
                  <a:pt x="497279" y="29826"/>
                </a:cubicBezTo>
                <a:cubicBezTo>
                  <a:pt x="499396" y="27711"/>
                  <a:pt x="501512" y="27711"/>
                  <a:pt x="503628" y="27711"/>
                </a:cubicBezTo>
                <a:cubicBezTo>
                  <a:pt x="514208" y="27711"/>
                  <a:pt x="522672" y="25596"/>
                  <a:pt x="531137" y="23481"/>
                </a:cubicBezTo>
                <a:cubicBezTo>
                  <a:pt x="649108" y="9205"/>
                  <a:pt x="773296" y="1670"/>
                  <a:pt x="896822" y="249"/>
                </a:cubicBezTo>
                <a:close/>
              </a:path>
            </a:pathLst>
          </a:custGeom>
          <a:solidFill>
            <a:srgbClr val="0094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id-ID" sz="1200">
              <a:solidFill>
                <a:srgbClr val="000000"/>
              </a:solidFill>
              <a:latin typeface="Arial"/>
            </a:endParaRPr>
          </a:p>
        </p:txBody>
      </p:sp>
      <p:sp>
        <p:nvSpPr>
          <p:cNvPr id="91" name="任意多边形: 形状 90">
            <a:extLst>
              <a:ext uri="{FF2B5EF4-FFF2-40B4-BE49-F238E27FC236}">
                <a16:creationId xmlns:a16="http://schemas.microsoft.com/office/drawing/2014/main" id="{55549D41-D4E6-9024-69E7-97AE073B9DA5}"/>
              </a:ext>
            </a:extLst>
          </p:cNvPr>
          <p:cNvSpPr>
            <a:spLocks/>
          </p:cNvSpPr>
          <p:nvPr/>
        </p:nvSpPr>
        <p:spPr bwMode="auto">
          <a:xfrm>
            <a:off x="5144821" y="1434682"/>
            <a:ext cx="1902358" cy="530059"/>
          </a:xfrm>
          <a:custGeom>
            <a:avLst/>
            <a:gdLst>
              <a:gd name="connsiteX0" fmla="*/ 943773 w 1902358"/>
              <a:gd name="connsiteY0" fmla="*/ 0 h 530059"/>
              <a:gd name="connsiteX1" fmla="*/ 1805018 w 1902358"/>
              <a:gd name="connsiteY1" fmla="*/ 135695 h 530059"/>
              <a:gd name="connsiteX2" fmla="*/ 1815599 w 1902358"/>
              <a:gd name="connsiteY2" fmla="*/ 142056 h 530059"/>
              <a:gd name="connsiteX3" fmla="*/ 1819831 w 1902358"/>
              <a:gd name="connsiteY3" fmla="*/ 144176 h 530059"/>
              <a:gd name="connsiteX4" fmla="*/ 1826179 w 1902358"/>
              <a:gd name="connsiteY4" fmla="*/ 148417 h 530059"/>
              <a:gd name="connsiteX5" fmla="*/ 1830411 w 1902358"/>
              <a:gd name="connsiteY5" fmla="*/ 150537 h 530059"/>
              <a:gd name="connsiteX6" fmla="*/ 1836760 w 1902358"/>
              <a:gd name="connsiteY6" fmla="*/ 154777 h 530059"/>
              <a:gd name="connsiteX7" fmla="*/ 1840992 w 1902358"/>
              <a:gd name="connsiteY7" fmla="*/ 156898 h 530059"/>
              <a:gd name="connsiteX8" fmla="*/ 1845224 w 1902358"/>
              <a:gd name="connsiteY8" fmla="*/ 161138 h 530059"/>
              <a:gd name="connsiteX9" fmla="*/ 1849456 w 1902358"/>
              <a:gd name="connsiteY9" fmla="*/ 163258 h 530059"/>
              <a:gd name="connsiteX10" fmla="*/ 1853688 w 1902358"/>
              <a:gd name="connsiteY10" fmla="*/ 167499 h 530059"/>
              <a:gd name="connsiteX11" fmla="*/ 1857920 w 1902358"/>
              <a:gd name="connsiteY11" fmla="*/ 169619 h 530059"/>
              <a:gd name="connsiteX12" fmla="*/ 1862153 w 1902358"/>
              <a:gd name="connsiteY12" fmla="*/ 173859 h 530059"/>
              <a:gd name="connsiteX13" fmla="*/ 1864269 w 1902358"/>
              <a:gd name="connsiteY13" fmla="*/ 175980 h 530059"/>
              <a:gd name="connsiteX14" fmla="*/ 1872733 w 1902358"/>
              <a:gd name="connsiteY14" fmla="*/ 182340 h 530059"/>
              <a:gd name="connsiteX15" fmla="*/ 1879081 w 1902358"/>
              <a:gd name="connsiteY15" fmla="*/ 188701 h 530059"/>
              <a:gd name="connsiteX16" fmla="*/ 1879081 w 1902358"/>
              <a:gd name="connsiteY16" fmla="*/ 190821 h 530059"/>
              <a:gd name="connsiteX17" fmla="*/ 1883313 w 1902358"/>
              <a:gd name="connsiteY17" fmla="*/ 192942 h 530059"/>
              <a:gd name="connsiteX18" fmla="*/ 1885430 w 1902358"/>
              <a:gd name="connsiteY18" fmla="*/ 197182 h 530059"/>
              <a:gd name="connsiteX19" fmla="*/ 1887546 w 1902358"/>
              <a:gd name="connsiteY19" fmla="*/ 199302 h 530059"/>
              <a:gd name="connsiteX20" fmla="*/ 1889662 w 1902358"/>
              <a:gd name="connsiteY20" fmla="*/ 203543 h 530059"/>
              <a:gd name="connsiteX21" fmla="*/ 1891778 w 1902358"/>
              <a:gd name="connsiteY21" fmla="*/ 205663 h 530059"/>
              <a:gd name="connsiteX22" fmla="*/ 1893894 w 1902358"/>
              <a:gd name="connsiteY22" fmla="*/ 209903 h 530059"/>
              <a:gd name="connsiteX23" fmla="*/ 1896010 w 1902358"/>
              <a:gd name="connsiteY23" fmla="*/ 212024 h 530059"/>
              <a:gd name="connsiteX24" fmla="*/ 1896010 w 1902358"/>
              <a:gd name="connsiteY24" fmla="*/ 216264 h 530059"/>
              <a:gd name="connsiteX25" fmla="*/ 1898126 w 1902358"/>
              <a:gd name="connsiteY25" fmla="*/ 220505 h 530059"/>
              <a:gd name="connsiteX26" fmla="*/ 1898126 w 1902358"/>
              <a:gd name="connsiteY26" fmla="*/ 222625 h 530059"/>
              <a:gd name="connsiteX27" fmla="*/ 1900242 w 1902358"/>
              <a:gd name="connsiteY27" fmla="*/ 228986 h 530059"/>
              <a:gd name="connsiteX28" fmla="*/ 1902358 w 1902358"/>
              <a:gd name="connsiteY28" fmla="*/ 235346 h 530059"/>
              <a:gd name="connsiteX29" fmla="*/ 1902358 w 1902358"/>
              <a:gd name="connsiteY29" fmla="*/ 239587 h 530059"/>
              <a:gd name="connsiteX30" fmla="*/ 1902358 w 1902358"/>
              <a:gd name="connsiteY30" fmla="*/ 241707 h 530059"/>
              <a:gd name="connsiteX31" fmla="*/ 1902358 w 1902358"/>
              <a:gd name="connsiteY31" fmla="*/ 243827 h 530059"/>
              <a:gd name="connsiteX32" fmla="*/ 1902358 w 1902358"/>
              <a:gd name="connsiteY32" fmla="*/ 248068 h 530059"/>
              <a:gd name="connsiteX33" fmla="*/ 1902358 w 1902358"/>
              <a:gd name="connsiteY33" fmla="*/ 250188 h 530059"/>
              <a:gd name="connsiteX34" fmla="*/ 1900242 w 1902358"/>
              <a:gd name="connsiteY34" fmla="*/ 256549 h 530059"/>
              <a:gd name="connsiteX35" fmla="*/ 1900242 w 1902358"/>
              <a:gd name="connsiteY35" fmla="*/ 258669 h 530059"/>
              <a:gd name="connsiteX36" fmla="*/ 1898126 w 1902358"/>
              <a:gd name="connsiteY36" fmla="*/ 265030 h 530059"/>
              <a:gd name="connsiteX37" fmla="*/ 1896010 w 1902358"/>
              <a:gd name="connsiteY37" fmla="*/ 267150 h 530059"/>
              <a:gd name="connsiteX38" fmla="*/ 1893894 w 1902358"/>
              <a:gd name="connsiteY38" fmla="*/ 273511 h 530059"/>
              <a:gd name="connsiteX39" fmla="*/ 1889662 w 1902358"/>
              <a:gd name="connsiteY39" fmla="*/ 281991 h 530059"/>
              <a:gd name="connsiteX40" fmla="*/ 1887546 w 1902358"/>
              <a:gd name="connsiteY40" fmla="*/ 284112 h 530059"/>
              <a:gd name="connsiteX41" fmla="*/ 1883313 w 1902358"/>
              <a:gd name="connsiteY41" fmla="*/ 290472 h 530059"/>
              <a:gd name="connsiteX42" fmla="*/ 1881197 w 1902358"/>
              <a:gd name="connsiteY42" fmla="*/ 290472 h 530059"/>
              <a:gd name="connsiteX43" fmla="*/ 1874849 w 1902358"/>
              <a:gd name="connsiteY43" fmla="*/ 296833 h 530059"/>
              <a:gd name="connsiteX44" fmla="*/ 1872733 w 1902358"/>
              <a:gd name="connsiteY44" fmla="*/ 298953 h 530059"/>
              <a:gd name="connsiteX45" fmla="*/ 1868501 w 1902358"/>
              <a:gd name="connsiteY45" fmla="*/ 305314 h 530059"/>
              <a:gd name="connsiteX46" fmla="*/ 1866385 w 1902358"/>
              <a:gd name="connsiteY46" fmla="*/ 307434 h 530059"/>
              <a:gd name="connsiteX47" fmla="*/ 1857920 w 1902358"/>
              <a:gd name="connsiteY47" fmla="*/ 313795 h 530059"/>
              <a:gd name="connsiteX48" fmla="*/ 1855804 w 1902358"/>
              <a:gd name="connsiteY48" fmla="*/ 315915 h 530059"/>
              <a:gd name="connsiteX49" fmla="*/ 1847340 w 1902358"/>
              <a:gd name="connsiteY49" fmla="*/ 320156 h 530059"/>
              <a:gd name="connsiteX50" fmla="*/ 1845224 w 1902358"/>
              <a:gd name="connsiteY50" fmla="*/ 322276 h 530059"/>
              <a:gd name="connsiteX51" fmla="*/ 1834644 w 1902358"/>
              <a:gd name="connsiteY51" fmla="*/ 330757 h 530059"/>
              <a:gd name="connsiteX52" fmla="*/ 1824063 w 1902358"/>
              <a:gd name="connsiteY52" fmla="*/ 337118 h 530059"/>
              <a:gd name="connsiteX53" fmla="*/ 1819831 w 1902358"/>
              <a:gd name="connsiteY53" fmla="*/ 339238 h 530059"/>
              <a:gd name="connsiteX54" fmla="*/ 1811367 w 1902358"/>
              <a:gd name="connsiteY54" fmla="*/ 343478 h 530059"/>
              <a:gd name="connsiteX55" fmla="*/ 1807134 w 1902358"/>
              <a:gd name="connsiteY55" fmla="*/ 481294 h 530059"/>
              <a:gd name="connsiteX56" fmla="*/ 1794438 w 1902358"/>
              <a:gd name="connsiteY56" fmla="*/ 487654 h 530059"/>
              <a:gd name="connsiteX57" fmla="*/ 1790206 w 1902358"/>
              <a:gd name="connsiteY57" fmla="*/ 487654 h 530059"/>
              <a:gd name="connsiteX58" fmla="*/ 1779625 w 1902358"/>
              <a:gd name="connsiteY58" fmla="*/ 494015 h 530059"/>
              <a:gd name="connsiteX59" fmla="*/ 1775393 w 1902358"/>
              <a:gd name="connsiteY59" fmla="*/ 496135 h 530059"/>
              <a:gd name="connsiteX60" fmla="*/ 1760581 w 1902358"/>
              <a:gd name="connsiteY60" fmla="*/ 500376 h 530059"/>
              <a:gd name="connsiteX61" fmla="*/ 1758465 w 1902358"/>
              <a:gd name="connsiteY61" fmla="*/ 502496 h 530059"/>
              <a:gd name="connsiteX62" fmla="*/ 1745768 w 1902358"/>
              <a:gd name="connsiteY62" fmla="*/ 506736 h 530059"/>
              <a:gd name="connsiteX63" fmla="*/ 1741536 w 1902358"/>
              <a:gd name="connsiteY63" fmla="*/ 508857 h 530059"/>
              <a:gd name="connsiteX64" fmla="*/ 1724607 w 1902358"/>
              <a:gd name="connsiteY64" fmla="*/ 515217 h 530059"/>
              <a:gd name="connsiteX65" fmla="*/ 1707679 w 1902358"/>
              <a:gd name="connsiteY65" fmla="*/ 521578 h 530059"/>
              <a:gd name="connsiteX66" fmla="*/ 1701330 w 1902358"/>
              <a:gd name="connsiteY66" fmla="*/ 523698 h 530059"/>
              <a:gd name="connsiteX67" fmla="*/ 1686518 w 1902358"/>
              <a:gd name="connsiteY67" fmla="*/ 527939 h 530059"/>
              <a:gd name="connsiteX68" fmla="*/ 1684402 w 1902358"/>
              <a:gd name="connsiteY68" fmla="*/ 527939 h 530059"/>
              <a:gd name="connsiteX69" fmla="*/ 1678053 w 1902358"/>
              <a:gd name="connsiteY69" fmla="*/ 530059 h 530059"/>
              <a:gd name="connsiteX70" fmla="*/ 1675937 w 1902358"/>
              <a:gd name="connsiteY70" fmla="*/ 530059 h 530059"/>
              <a:gd name="connsiteX71" fmla="*/ 1661125 w 1902358"/>
              <a:gd name="connsiteY71" fmla="*/ 527939 h 530059"/>
              <a:gd name="connsiteX72" fmla="*/ 1659009 w 1902358"/>
              <a:gd name="connsiteY72" fmla="*/ 527939 h 530059"/>
              <a:gd name="connsiteX73" fmla="*/ 1648428 w 1902358"/>
              <a:gd name="connsiteY73" fmla="*/ 527939 h 530059"/>
              <a:gd name="connsiteX74" fmla="*/ 1601874 w 1902358"/>
              <a:gd name="connsiteY74" fmla="*/ 523698 h 530059"/>
              <a:gd name="connsiteX75" fmla="*/ 1587062 w 1902358"/>
              <a:gd name="connsiteY75" fmla="*/ 521578 h 530059"/>
              <a:gd name="connsiteX76" fmla="*/ 1580714 w 1902358"/>
              <a:gd name="connsiteY76" fmla="*/ 521578 h 530059"/>
              <a:gd name="connsiteX77" fmla="*/ 1576482 w 1902358"/>
              <a:gd name="connsiteY77" fmla="*/ 519458 h 530059"/>
              <a:gd name="connsiteX78" fmla="*/ 1559553 w 1902358"/>
              <a:gd name="connsiteY78" fmla="*/ 519458 h 530059"/>
              <a:gd name="connsiteX79" fmla="*/ 1553205 w 1902358"/>
              <a:gd name="connsiteY79" fmla="*/ 517338 h 530059"/>
              <a:gd name="connsiteX80" fmla="*/ 1546856 w 1902358"/>
              <a:gd name="connsiteY80" fmla="*/ 517338 h 530059"/>
              <a:gd name="connsiteX81" fmla="*/ 1544740 w 1902358"/>
              <a:gd name="connsiteY81" fmla="*/ 517338 h 530059"/>
              <a:gd name="connsiteX82" fmla="*/ 1532044 w 1902358"/>
              <a:gd name="connsiteY82" fmla="*/ 515217 h 530059"/>
              <a:gd name="connsiteX83" fmla="*/ 1529928 w 1902358"/>
              <a:gd name="connsiteY83" fmla="*/ 515217 h 530059"/>
              <a:gd name="connsiteX84" fmla="*/ 1519347 w 1902358"/>
              <a:gd name="connsiteY84" fmla="*/ 515217 h 530059"/>
              <a:gd name="connsiteX85" fmla="*/ 1506651 w 1902358"/>
              <a:gd name="connsiteY85" fmla="*/ 515217 h 530059"/>
              <a:gd name="connsiteX86" fmla="*/ 1481258 w 1902358"/>
              <a:gd name="connsiteY86" fmla="*/ 513097 h 530059"/>
              <a:gd name="connsiteX87" fmla="*/ 1468561 w 1902358"/>
              <a:gd name="connsiteY87" fmla="*/ 510977 h 530059"/>
              <a:gd name="connsiteX88" fmla="*/ 1464329 w 1902358"/>
              <a:gd name="connsiteY88" fmla="*/ 510977 h 530059"/>
              <a:gd name="connsiteX89" fmla="*/ 1443168 w 1902358"/>
              <a:gd name="connsiteY89" fmla="*/ 508857 h 530059"/>
              <a:gd name="connsiteX90" fmla="*/ 1428356 w 1902358"/>
              <a:gd name="connsiteY90" fmla="*/ 508857 h 530059"/>
              <a:gd name="connsiteX91" fmla="*/ 1424124 w 1902358"/>
              <a:gd name="connsiteY91" fmla="*/ 508857 h 530059"/>
              <a:gd name="connsiteX92" fmla="*/ 1417775 w 1902358"/>
              <a:gd name="connsiteY92" fmla="*/ 506736 h 530059"/>
              <a:gd name="connsiteX93" fmla="*/ 1413543 w 1902358"/>
              <a:gd name="connsiteY93" fmla="*/ 506736 h 530059"/>
              <a:gd name="connsiteX94" fmla="*/ 1407195 w 1902358"/>
              <a:gd name="connsiteY94" fmla="*/ 506736 h 530059"/>
              <a:gd name="connsiteX95" fmla="*/ 1405079 w 1902358"/>
              <a:gd name="connsiteY95" fmla="*/ 506736 h 530059"/>
              <a:gd name="connsiteX96" fmla="*/ 1386034 w 1902358"/>
              <a:gd name="connsiteY96" fmla="*/ 504616 h 530059"/>
              <a:gd name="connsiteX97" fmla="*/ 1381802 w 1902358"/>
              <a:gd name="connsiteY97" fmla="*/ 504616 h 530059"/>
              <a:gd name="connsiteX98" fmla="*/ 1364873 w 1902358"/>
              <a:gd name="connsiteY98" fmla="*/ 504616 h 530059"/>
              <a:gd name="connsiteX99" fmla="*/ 1347945 w 1902358"/>
              <a:gd name="connsiteY99" fmla="*/ 502496 h 530059"/>
              <a:gd name="connsiteX100" fmla="*/ 1345829 w 1902358"/>
              <a:gd name="connsiteY100" fmla="*/ 502496 h 530059"/>
              <a:gd name="connsiteX101" fmla="*/ 1339480 w 1902358"/>
              <a:gd name="connsiteY101" fmla="*/ 502496 h 530059"/>
              <a:gd name="connsiteX102" fmla="*/ 1326784 w 1902358"/>
              <a:gd name="connsiteY102" fmla="*/ 502496 h 530059"/>
              <a:gd name="connsiteX103" fmla="*/ 1322552 w 1902358"/>
              <a:gd name="connsiteY103" fmla="*/ 502496 h 530059"/>
              <a:gd name="connsiteX104" fmla="*/ 1305623 w 1902358"/>
              <a:gd name="connsiteY104" fmla="*/ 500376 h 530059"/>
              <a:gd name="connsiteX105" fmla="*/ 1297159 w 1902358"/>
              <a:gd name="connsiteY105" fmla="*/ 500376 h 530059"/>
              <a:gd name="connsiteX106" fmla="*/ 1284462 w 1902358"/>
              <a:gd name="connsiteY106" fmla="*/ 500376 h 530059"/>
              <a:gd name="connsiteX107" fmla="*/ 1282346 w 1902358"/>
              <a:gd name="connsiteY107" fmla="*/ 500376 h 530059"/>
              <a:gd name="connsiteX108" fmla="*/ 1271766 w 1902358"/>
              <a:gd name="connsiteY108" fmla="*/ 498256 h 530059"/>
              <a:gd name="connsiteX109" fmla="*/ 1267533 w 1902358"/>
              <a:gd name="connsiteY109" fmla="*/ 498256 h 530059"/>
              <a:gd name="connsiteX110" fmla="*/ 1250605 w 1902358"/>
              <a:gd name="connsiteY110" fmla="*/ 498256 h 530059"/>
              <a:gd name="connsiteX111" fmla="*/ 1242141 w 1902358"/>
              <a:gd name="connsiteY111" fmla="*/ 498256 h 530059"/>
              <a:gd name="connsiteX112" fmla="*/ 1220980 w 1902358"/>
              <a:gd name="connsiteY112" fmla="*/ 496135 h 530059"/>
              <a:gd name="connsiteX113" fmla="*/ 1214631 w 1902358"/>
              <a:gd name="connsiteY113" fmla="*/ 496135 h 530059"/>
              <a:gd name="connsiteX114" fmla="*/ 1201935 w 1902358"/>
              <a:gd name="connsiteY114" fmla="*/ 496135 h 530059"/>
              <a:gd name="connsiteX115" fmla="*/ 1191355 w 1902358"/>
              <a:gd name="connsiteY115" fmla="*/ 496135 h 530059"/>
              <a:gd name="connsiteX116" fmla="*/ 1185006 w 1902358"/>
              <a:gd name="connsiteY116" fmla="*/ 496135 h 530059"/>
              <a:gd name="connsiteX117" fmla="*/ 1180774 w 1902358"/>
              <a:gd name="connsiteY117" fmla="*/ 496135 h 530059"/>
              <a:gd name="connsiteX118" fmla="*/ 1170194 w 1902358"/>
              <a:gd name="connsiteY118" fmla="*/ 494015 h 530059"/>
              <a:gd name="connsiteX119" fmla="*/ 1161729 w 1902358"/>
              <a:gd name="connsiteY119" fmla="*/ 494015 h 530059"/>
              <a:gd name="connsiteX120" fmla="*/ 1138452 w 1902358"/>
              <a:gd name="connsiteY120" fmla="*/ 494015 h 530059"/>
              <a:gd name="connsiteX121" fmla="*/ 1119408 w 1902358"/>
              <a:gd name="connsiteY121" fmla="*/ 494015 h 530059"/>
              <a:gd name="connsiteX122" fmla="*/ 1108827 w 1902358"/>
              <a:gd name="connsiteY122" fmla="*/ 494015 h 530059"/>
              <a:gd name="connsiteX123" fmla="*/ 1098247 w 1902358"/>
              <a:gd name="connsiteY123" fmla="*/ 494015 h 530059"/>
              <a:gd name="connsiteX124" fmla="*/ 1096131 w 1902358"/>
              <a:gd name="connsiteY124" fmla="*/ 494015 h 530059"/>
              <a:gd name="connsiteX125" fmla="*/ 1077086 w 1902358"/>
              <a:gd name="connsiteY125" fmla="*/ 491895 h 530059"/>
              <a:gd name="connsiteX126" fmla="*/ 1066506 w 1902358"/>
              <a:gd name="connsiteY126" fmla="*/ 491895 h 530059"/>
              <a:gd name="connsiteX127" fmla="*/ 1055925 w 1902358"/>
              <a:gd name="connsiteY127" fmla="*/ 491895 h 530059"/>
              <a:gd name="connsiteX128" fmla="*/ 1034764 w 1902358"/>
              <a:gd name="connsiteY128" fmla="*/ 491895 h 530059"/>
              <a:gd name="connsiteX129" fmla="*/ 1022068 w 1902358"/>
              <a:gd name="connsiteY129" fmla="*/ 491895 h 530059"/>
              <a:gd name="connsiteX130" fmla="*/ 1013604 w 1902358"/>
              <a:gd name="connsiteY130" fmla="*/ 491895 h 530059"/>
              <a:gd name="connsiteX131" fmla="*/ 992443 w 1902358"/>
              <a:gd name="connsiteY131" fmla="*/ 491895 h 530059"/>
              <a:gd name="connsiteX132" fmla="*/ 977630 w 1902358"/>
              <a:gd name="connsiteY132" fmla="*/ 491895 h 530059"/>
              <a:gd name="connsiteX133" fmla="*/ 973398 w 1902358"/>
              <a:gd name="connsiteY133" fmla="*/ 491895 h 530059"/>
              <a:gd name="connsiteX134" fmla="*/ 948005 w 1902358"/>
              <a:gd name="connsiteY134" fmla="*/ 491895 h 530059"/>
              <a:gd name="connsiteX135" fmla="*/ 928960 w 1902358"/>
              <a:gd name="connsiteY135" fmla="*/ 491895 h 530059"/>
              <a:gd name="connsiteX136" fmla="*/ 905683 w 1902358"/>
              <a:gd name="connsiteY136" fmla="*/ 491895 h 530059"/>
              <a:gd name="connsiteX137" fmla="*/ 901451 w 1902358"/>
              <a:gd name="connsiteY137" fmla="*/ 491895 h 530059"/>
              <a:gd name="connsiteX138" fmla="*/ 895103 w 1902358"/>
              <a:gd name="connsiteY138" fmla="*/ 491895 h 530059"/>
              <a:gd name="connsiteX139" fmla="*/ 888755 w 1902358"/>
              <a:gd name="connsiteY139" fmla="*/ 491895 h 530059"/>
              <a:gd name="connsiteX140" fmla="*/ 884523 w 1902358"/>
              <a:gd name="connsiteY140" fmla="*/ 491895 h 530059"/>
              <a:gd name="connsiteX141" fmla="*/ 871826 w 1902358"/>
              <a:gd name="connsiteY141" fmla="*/ 491895 h 530059"/>
              <a:gd name="connsiteX142" fmla="*/ 846433 w 1902358"/>
              <a:gd name="connsiteY142" fmla="*/ 491895 h 530059"/>
              <a:gd name="connsiteX143" fmla="*/ 829504 w 1902358"/>
              <a:gd name="connsiteY143" fmla="*/ 491895 h 530059"/>
              <a:gd name="connsiteX144" fmla="*/ 827388 w 1902358"/>
              <a:gd name="connsiteY144" fmla="*/ 491895 h 530059"/>
              <a:gd name="connsiteX145" fmla="*/ 804111 w 1902358"/>
              <a:gd name="connsiteY145" fmla="*/ 491895 h 530059"/>
              <a:gd name="connsiteX146" fmla="*/ 787183 w 1902358"/>
              <a:gd name="connsiteY146" fmla="*/ 491895 h 530059"/>
              <a:gd name="connsiteX147" fmla="*/ 785067 w 1902358"/>
              <a:gd name="connsiteY147" fmla="*/ 491895 h 530059"/>
              <a:gd name="connsiteX148" fmla="*/ 772370 w 1902358"/>
              <a:gd name="connsiteY148" fmla="*/ 494015 h 530059"/>
              <a:gd name="connsiteX149" fmla="*/ 761790 w 1902358"/>
              <a:gd name="connsiteY149" fmla="*/ 494015 h 530059"/>
              <a:gd name="connsiteX150" fmla="*/ 751209 w 1902358"/>
              <a:gd name="connsiteY150" fmla="*/ 494015 h 530059"/>
              <a:gd name="connsiteX151" fmla="*/ 749093 w 1902358"/>
              <a:gd name="connsiteY151" fmla="*/ 494015 h 530059"/>
              <a:gd name="connsiteX152" fmla="*/ 742745 w 1902358"/>
              <a:gd name="connsiteY152" fmla="*/ 494015 h 530059"/>
              <a:gd name="connsiteX153" fmla="*/ 719468 w 1902358"/>
              <a:gd name="connsiteY153" fmla="*/ 494015 h 530059"/>
              <a:gd name="connsiteX154" fmla="*/ 700423 w 1902358"/>
              <a:gd name="connsiteY154" fmla="*/ 494015 h 530059"/>
              <a:gd name="connsiteX155" fmla="*/ 681379 w 1902358"/>
              <a:gd name="connsiteY155" fmla="*/ 496135 h 530059"/>
              <a:gd name="connsiteX156" fmla="*/ 675030 w 1902358"/>
              <a:gd name="connsiteY156" fmla="*/ 496135 h 530059"/>
              <a:gd name="connsiteX157" fmla="*/ 658102 w 1902358"/>
              <a:gd name="connsiteY157" fmla="*/ 496135 h 530059"/>
              <a:gd name="connsiteX158" fmla="*/ 634825 w 1902358"/>
              <a:gd name="connsiteY158" fmla="*/ 498256 h 530059"/>
              <a:gd name="connsiteX159" fmla="*/ 632709 w 1902358"/>
              <a:gd name="connsiteY159" fmla="*/ 498256 h 530059"/>
              <a:gd name="connsiteX160" fmla="*/ 615780 w 1902358"/>
              <a:gd name="connsiteY160" fmla="*/ 498256 h 530059"/>
              <a:gd name="connsiteX161" fmla="*/ 590387 w 1902358"/>
              <a:gd name="connsiteY161" fmla="*/ 500376 h 530059"/>
              <a:gd name="connsiteX162" fmla="*/ 581923 w 1902358"/>
              <a:gd name="connsiteY162" fmla="*/ 500376 h 530059"/>
              <a:gd name="connsiteX163" fmla="*/ 573458 w 1902358"/>
              <a:gd name="connsiteY163" fmla="*/ 500376 h 530059"/>
              <a:gd name="connsiteX164" fmla="*/ 541717 w 1902358"/>
              <a:gd name="connsiteY164" fmla="*/ 502496 h 530059"/>
              <a:gd name="connsiteX165" fmla="*/ 531137 w 1902358"/>
              <a:gd name="connsiteY165" fmla="*/ 502496 h 530059"/>
              <a:gd name="connsiteX166" fmla="*/ 488815 w 1902358"/>
              <a:gd name="connsiteY166" fmla="*/ 504616 h 530059"/>
              <a:gd name="connsiteX167" fmla="*/ 482467 w 1902358"/>
              <a:gd name="connsiteY167" fmla="*/ 506736 h 530059"/>
              <a:gd name="connsiteX168" fmla="*/ 476119 w 1902358"/>
              <a:gd name="connsiteY168" fmla="*/ 506736 h 530059"/>
              <a:gd name="connsiteX169" fmla="*/ 463422 w 1902358"/>
              <a:gd name="connsiteY169" fmla="*/ 506736 h 530059"/>
              <a:gd name="connsiteX170" fmla="*/ 446494 w 1902358"/>
              <a:gd name="connsiteY170" fmla="*/ 508857 h 530059"/>
              <a:gd name="connsiteX171" fmla="*/ 435913 w 1902358"/>
              <a:gd name="connsiteY171" fmla="*/ 508857 h 530059"/>
              <a:gd name="connsiteX172" fmla="*/ 433797 w 1902358"/>
              <a:gd name="connsiteY172" fmla="*/ 508857 h 530059"/>
              <a:gd name="connsiteX173" fmla="*/ 406288 w 1902358"/>
              <a:gd name="connsiteY173" fmla="*/ 510977 h 530059"/>
              <a:gd name="connsiteX174" fmla="*/ 395708 w 1902358"/>
              <a:gd name="connsiteY174" fmla="*/ 510977 h 530059"/>
              <a:gd name="connsiteX175" fmla="*/ 387243 w 1902358"/>
              <a:gd name="connsiteY175" fmla="*/ 513097 h 530059"/>
              <a:gd name="connsiteX176" fmla="*/ 380895 w 1902358"/>
              <a:gd name="connsiteY176" fmla="*/ 513097 h 530059"/>
              <a:gd name="connsiteX177" fmla="*/ 363966 w 1902358"/>
              <a:gd name="connsiteY177" fmla="*/ 515217 h 530059"/>
              <a:gd name="connsiteX178" fmla="*/ 344922 w 1902358"/>
              <a:gd name="connsiteY178" fmla="*/ 515217 h 530059"/>
              <a:gd name="connsiteX179" fmla="*/ 336457 w 1902358"/>
              <a:gd name="connsiteY179" fmla="*/ 517338 h 530059"/>
              <a:gd name="connsiteX180" fmla="*/ 321645 w 1902358"/>
              <a:gd name="connsiteY180" fmla="*/ 517338 h 530059"/>
              <a:gd name="connsiteX181" fmla="*/ 311064 w 1902358"/>
              <a:gd name="connsiteY181" fmla="*/ 519458 h 530059"/>
              <a:gd name="connsiteX182" fmla="*/ 304716 w 1902358"/>
              <a:gd name="connsiteY182" fmla="*/ 519458 h 530059"/>
              <a:gd name="connsiteX183" fmla="*/ 279323 w 1902358"/>
              <a:gd name="connsiteY183" fmla="*/ 521578 h 530059"/>
              <a:gd name="connsiteX184" fmla="*/ 262394 w 1902358"/>
              <a:gd name="connsiteY184" fmla="*/ 523698 h 530059"/>
              <a:gd name="connsiteX185" fmla="*/ 237001 w 1902358"/>
              <a:gd name="connsiteY185" fmla="*/ 525819 h 530059"/>
              <a:gd name="connsiteX186" fmla="*/ 220073 w 1902358"/>
              <a:gd name="connsiteY186" fmla="*/ 527939 h 530059"/>
              <a:gd name="connsiteX187" fmla="*/ 95224 w 1902358"/>
              <a:gd name="connsiteY187" fmla="*/ 479173 h 530059"/>
              <a:gd name="connsiteX188" fmla="*/ 84643 w 1902358"/>
              <a:gd name="connsiteY188" fmla="*/ 337118 h 530059"/>
              <a:gd name="connsiteX189" fmla="*/ 82527 w 1902358"/>
              <a:gd name="connsiteY189" fmla="*/ 337118 h 530059"/>
              <a:gd name="connsiteX190" fmla="*/ 74063 w 1902358"/>
              <a:gd name="connsiteY190" fmla="*/ 332877 h 530059"/>
              <a:gd name="connsiteX191" fmla="*/ 69831 w 1902358"/>
              <a:gd name="connsiteY191" fmla="*/ 328637 h 530059"/>
              <a:gd name="connsiteX192" fmla="*/ 65599 w 1902358"/>
              <a:gd name="connsiteY192" fmla="*/ 326516 h 530059"/>
              <a:gd name="connsiteX193" fmla="*/ 61367 w 1902358"/>
              <a:gd name="connsiteY193" fmla="*/ 324396 h 530059"/>
              <a:gd name="connsiteX194" fmla="*/ 55018 w 1902358"/>
              <a:gd name="connsiteY194" fmla="*/ 320156 h 530059"/>
              <a:gd name="connsiteX195" fmla="*/ 52902 w 1902358"/>
              <a:gd name="connsiteY195" fmla="*/ 318035 h 530059"/>
              <a:gd name="connsiteX196" fmla="*/ 46554 w 1902358"/>
              <a:gd name="connsiteY196" fmla="*/ 313795 h 530059"/>
              <a:gd name="connsiteX197" fmla="*/ 44438 w 1902358"/>
              <a:gd name="connsiteY197" fmla="*/ 311675 h 530059"/>
              <a:gd name="connsiteX198" fmla="*/ 38090 w 1902358"/>
              <a:gd name="connsiteY198" fmla="*/ 307434 h 530059"/>
              <a:gd name="connsiteX199" fmla="*/ 35974 w 1902358"/>
              <a:gd name="connsiteY199" fmla="*/ 305314 h 530059"/>
              <a:gd name="connsiteX200" fmla="*/ 29625 w 1902358"/>
              <a:gd name="connsiteY200" fmla="*/ 298953 h 530059"/>
              <a:gd name="connsiteX201" fmla="*/ 23277 w 1902358"/>
              <a:gd name="connsiteY201" fmla="*/ 292593 h 530059"/>
              <a:gd name="connsiteX202" fmla="*/ 21161 w 1902358"/>
              <a:gd name="connsiteY202" fmla="*/ 290472 h 530059"/>
              <a:gd name="connsiteX203" fmla="*/ 19045 w 1902358"/>
              <a:gd name="connsiteY203" fmla="*/ 286232 h 530059"/>
              <a:gd name="connsiteX204" fmla="*/ 16929 w 1902358"/>
              <a:gd name="connsiteY204" fmla="*/ 284112 h 530059"/>
              <a:gd name="connsiteX205" fmla="*/ 12697 w 1902358"/>
              <a:gd name="connsiteY205" fmla="*/ 279871 h 530059"/>
              <a:gd name="connsiteX206" fmla="*/ 10581 w 1902358"/>
              <a:gd name="connsiteY206" fmla="*/ 277751 h 530059"/>
              <a:gd name="connsiteX207" fmla="*/ 8464 w 1902358"/>
              <a:gd name="connsiteY207" fmla="*/ 273511 h 530059"/>
              <a:gd name="connsiteX208" fmla="*/ 8464 w 1902358"/>
              <a:gd name="connsiteY208" fmla="*/ 271390 h 530059"/>
              <a:gd name="connsiteX209" fmla="*/ 6348 w 1902358"/>
              <a:gd name="connsiteY209" fmla="*/ 267150 h 530059"/>
              <a:gd name="connsiteX210" fmla="*/ 4232 w 1902358"/>
              <a:gd name="connsiteY210" fmla="*/ 265030 h 530059"/>
              <a:gd name="connsiteX211" fmla="*/ 2116 w 1902358"/>
              <a:gd name="connsiteY211" fmla="*/ 260789 h 530059"/>
              <a:gd name="connsiteX212" fmla="*/ 2116 w 1902358"/>
              <a:gd name="connsiteY212" fmla="*/ 258669 h 530059"/>
              <a:gd name="connsiteX213" fmla="*/ 0 w 1902358"/>
              <a:gd name="connsiteY213" fmla="*/ 252308 h 530059"/>
              <a:gd name="connsiteX214" fmla="*/ 0 w 1902358"/>
              <a:gd name="connsiteY214" fmla="*/ 245947 h 530059"/>
              <a:gd name="connsiteX215" fmla="*/ 0 w 1902358"/>
              <a:gd name="connsiteY215" fmla="*/ 243827 h 530059"/>
              <a:gd name="connsiteX216" fmla="*/ 0 w 1902358"/>
              <a:gd name="connsiteY216" fmla="*/ 241707 h 530059"/>
              <a:gd name="connsiteX217" fmla="*/ 0 w 1902358"/>
              <a:gd name="connsiteY217" fmla="*/ 239587 h 530059"/>
              <a:gd name="connsiteX218" fmla="*/ 0 w 1902358"/>
              <a:gd name="connsiteY218" fmla="*/ 237467 h 530059"/>
              <a:gd name="connsiteX219" fmla="*/ 0 w 1902358"/>
              <a:gd name="connsiteY219" fmla="*/ 231106 h 530059"/>
              <a:gd name="connsiteX220" fmla="*/ 0 w 1902358"/>
              <a:gd name="connsiteY220" fmla="*/ 228986 h 530059"/>
              <a:gd name="connsiteX221" fmla="*/ 2116 w 1902358"/>
              <a:gd name="connsiteY221" fmla="*/ 222625 h 530059"/>
              <a:gd name="connsiteX222" fmla="*/ 2116 w 1902358"/>
              <a:gd name="connsiteY222" fmla="*/ 220505 h 530059"/>
              <a:gd name="connsiteX223" fmla="*/ 4232 w 1902358"/>
              <a:gd name="connsiteY223" fmla="*/ 214144 h 530059"/>
              <a:gd name="connsiteX224" fmla="*/ 4232 w 1902358"/>
              <a:gd name="connsiteY224" fmla="*/ 212024 h 530059"/>
              <a:gd name="connsiteX225" fmla="*/ 8464 w 1902358"/>
              <a:gd name="connsiteY225" fmla="*/ 205663 h 530059"/>
              <a:gd name="connsiteX226" fmla="*/ 12697 w 1902358"/>
              <a:gd name="connsiteY226" fmla="*/ 199302 h 530059"/>
              <a:gd name="connsiteX227" fmla="*/ 14813 w 1902358"/>
              <a:gd name="connsiteY227" fmla="*/ 197182 h 530059"/>
              <a:gd name="connsiteX228" fmla="*/ 19045 w 1902358"/>
              <a:gd name="connsiteY228" fmla="*/ 190821 h 530059"/>
              <a:gd name="connsiteX229" fmla="*/ 19045 w 1902358"/>
              <a:gd name="connsiteY229" fmla="*/ 188701 h 530059"/>
              <a:gd name="connsiteX230" fmla="*/ 25393 w 1902358"/>
              <a:gd name="connsiteY230" fmla="*/ 182340 h 530059"/>
              <a:gd name="connsiteX231" fmla="*/ 27509 w 1902358"/>
              <a:gd name="connsiteY231" fmla="*/ 180220 h 530059"/>
              <a:gd name="connsiteX232" fmla="*/ 33857 w 1902358"/>
              <a:gd name="connsiteY232" fmla="*/ 173859 h 530059"/>
              <a:gd name="connsiteX233" fmla="*/ 35974 w 1902358"/>
              <a:gd name="connsiteY233" fmla="*/ 173859 h 530059"/>
              <a:gd name="connsiteX234" fmla="*/ 44438 w 1902358"/>
              <a:gd name="connsiteY234" fmla="*/ 165378 h 530059"/>
              <a:gd name="connsiteX235" fmla="*/ 46554 w 1902358"/>
              <a:gd name="connsiteY235" fmla="*/ 165378 h 530059"/>
              <a:gd name="connsiteX236" fmla="*/ 52902 w 1902358"/>
              <a:gd name="connsiteY236" fmla="*/ 159018 h 530059"/>
              <a:gd name="connsiteX237" fmla="*/ 57134 w 1902358"/>
              <a:gd name="connsiteY237" fmla="*/ 156898 h 530059"/>
              <a:gd name="connsiteX238" fmla="*/ 65599 w 1902358"/>
              <a:gd name="connsiteY238" fmla="*/ 150537 h 530059"/>
              <a:gd name="connsiteX239" fmla="*/ 78295 w 1902358"/>
              <a:gd name="connsiteY239" fmla="*/ 144176 h 530059"/>
              <a:gd name="connsiteX240" fmla="*/ 80411 w 1902358"/>
              <a:gd name="connsiteY240" fmla="*/ 142056 h 530059"/>
              <a:gd name="connsiteX241" fmla="*/ 90992 w 1902358"/>
              <a:gd name="connsiteY241" fmla="*/ 135695 h 530059"/>
              <a:gd name="connsiteX242" fmla="*/ 93108 w 1902358"/>
              <a:gd name="connsiteY242" fmla="*/ 135695 h 530059"/>
              <a:gd name="connsiteX243" fmla="*/ 105804 w 1902358"/>
              <a:gd name="connsiteY243" fmla="*/ 129334 h 530059"/>
              <a:gd name="connsiteX244" fmla="*/ 110036 w 1902358"/>
              <a:gd name="connsiteY244" fmla="*/ 127214 h 530059"/>
              <a:gd name="connsiteX245" fmla="*/ 120617 w 1902358"/>
              <a:gd name="connsiteY245" fmla="*/ 120854 h 530059"/>
              <a:gd name="connsiteX246" fmla="*/ 124849 w 1902358"/>
              <a:gd name="connsiteY246" fmla="*/ 120854 h 530059"/>
              <a:gd name="connsiteX247" fmla="*/ 137545 w 1902358"/>
              <a:gd name="connsiteY247" fmla="*/ 114493 h 530059"/>
              <a:gd name="connsiteX248" fmla="*/ 141778 w 1902358"/>
              <a:gd name="connsiteY248" fmla="*/ 112373 h 530059"/>
              <a:gd name="connsiteX249" fmla="*/ 154474 w 1902358"/>
              <a:gd name="connsiteY249" fmla="*/ 108132 h 530059"/>
              <a:gd name="connsiteX250" fmla="*/ 158706 w 1902358"/>
              <a:gd name="connsiteY250" fmla="*/ 106012 h 530059"/>
              <a:gd name="connsiteX251" fmla="*/ 175635 w 1902358"/>
              <a:gd name="connsiteY251" fmla="*/ 99651 h 530059"/>
              <a:gd name="connsiteX252" fmla="*/ 192564 w 1902358"/>
              <a:gd name="connsiteY252" fmla="*/ 93290 h 530059"/>
              <a:gd name="connsiteX253" fmla="*/ 196796 w 1902358"/>
              <a:gd name="connsiteY253" fmla="*/ 93290 h 530059"/>
              <a:gd name="connsiteX254" fmla="*/ 213724 w 1902358"/>
              <a:gd name="connsiteY254" fmla="*/ 86930 h 530059"/>
              <a:gd name="connsiteX255" fmla="*/ 215841 w 1902358"/>
              <a:gd name="connsiteY255" fmla="*/ 86930 h 530059"/>
              <a:gd name="connsiteX256" fmla="*/ 234885 w 1902358"/>
              <a:gd name="connsiteY256" fmla="*/ 80569 h 530059"/>
              <a:gd name="connsiteX257" fmla="*/ 239117 w 1902358"/>
              <a:gd name="connsiteY257" fmla="*/ 80569 h 530059"/>
              <a:gd name="connsiteX258" fmla="*/ 256046 w 1902358"/>
              <a:gd name="connsiteY258" fmla="*/ 74208 h 530059"/>
              <a:gd name="connsiteX259" fmla="*/ 260278 w 1902358"/>
              <a:gd name="connsiteY259" fmla="*/ 74208 h 530059"/>
              <a:gd name="connsiteX260" fmla="*/ 281439 w 1902358"/>
              <a:gd name="connsiteY260" fmla="*/ 67848 h 530059"/>
              <a:gd name="connsiteX261" fmla="*/ 285671 w 1902358"/>
              <a:gd name="connsiteY261" fmla="*/ 67848 h 530059"/>
              <a:gd name="connsiteX262" fmla="*/ 302600 w 1902358"/>
              <a:gd name="connsiteY262" fmla="*/ 63607 h 530059"/>
              <a:gd name="connsiteX263" fmla="*/ 308948 w 1902358"/>
              <a:gd name="connsiteY263" fmla="*/ 61487 h 530059"/>
              <a:gd name="connsiteX264" fmla="*/ 332225 w 1902358"/>
              <a:gd name="connsiteY264" fmla="*/ 57246 h 530059"/>
              <a:gd name="connsiteX265" fmla="*/ 355502 w 1902358"/>
              <a:gd name="connsiteY265" fmla="*/ 53006 h 530059"/>
              <a:gd name="connsiteX266" fmla="*/ 361850 w 1902358"/>
              <a:gd name="connsiteY266" fmla="*/ 50886 h 530059"/>
              <a:gd name="connsiteX267" fmla="*/ 380895 w 1902358"/>
              <a:gd name="connsiteY267" fmla="*/ 46645 h 530059"/>
              <a:gd name="connsiteX268" fmla="*/ 385127 w 1902358"/>
              <a:gd name="connsiteY268" fmla="*/ 46645 h 530059"/>
              <a:gd name="connsiteX269" fmla="*/ 410520 w 1902358"/>
              <a:gd name="connsiteY269" fmla="*/ 42405 h 530059"/>
              <a:gd name="connsiteX270" fmla="*/ 416868 w 1902358"/>
              <a:gd name="connsiteY270" fmla="*/ 40285 h 530059"/>
              <a:gd name="connsiteX271" fmla="*/ 435913 w 1902358"/>
              <a:gd name="connsiteY271" fmla="*/ 38164 h 530059"/>
              <a:gd name="connsiteX272" fmla="*/ 442261 w 1902358"/>
              <a:gd name="connsiteY272" fmla="*/ 36044 h 530059"/>
              <a:gd name="connsiteX273" fmla="*/ 469770 w 1902358"/>
              <a:gd name="connsiteY273" fmla="*/ 31804 h 530059"/>
              <a:gd name="connsiteX274" fmla="*/ 474003 w 1902358"/>
              <a:gd name="connsiteY274" fmla="*/ 31804 h 530059"/>
              <a:gd name="connsiteX275" fmla="*/ 497279 w 1902358"/>
              <a:gd name="connsiteY275" fmla="*/ 29683 h 530059"/>
              <a:gd name="connsiteX276" fmla="*/ 503628 w 1902358"/>
              <a:gd name="connsiteY276" fmla="*/ 27563 h 530059"/>
              <a:gd name="connsiteX277" fmla="*/ 531137 w 1902358"/>
              <a:gd name="connsiteY277" fmla="*/ 23323 h 530059"/>
              <a:gd name="connsiteX278" fmla="*/ 943773 w 1902358"/>
              <a:gd name="connsiteY278" fmla="*/ 0 h 530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Lst>
            <a:rect l="l" t="t" r="r" b="b"/>
            <a:pathLst>
              <a:path w="1902358" h="530059">
                <a:moveTo>
                  <a:pt x="943773" y="0"/>
                </a:moveTo>
                <a:cubicBezTo>
                  <a:pt x="1297159" y="0"/>
                  <a:pt x="1637848" y="50886"/>
                  <a:pt x="1805018" y="135695"/>
                </a:cubicBezTo>
                <a:cubicBezTo>
                  <a:pt x="1809251" y="137815"/>
                  <a:pt x="1813483" y="139936"/>
                  <a:pt x="1815599" y="142056"/>
                </a:cubicBezTo>
                <a:cubicBezTo>
                  <a:pt x="1817715" y="142056"/>
                  <a:pt x="1817715" y="144176"/>
                  <a:pt x="1819831" y="144176"/>
                </a:cubicBezTo>
                <a:cubicBezTo>
                  <a:pt x="1821947" y="144176"/>
                  <a:pt x="1824063" y="146296"/>
                  <a:pt x="1826179" y="148417"/>
                </a:cubicBezTo>
                <a:cubicBezTo>
                  <a:pt x="1828295" y="148417"/>
                  <a:pt x="1830411" y="150537"/>
                  <a:pt x="1830411" y="150537"/>
                </a:cubicBezTo>
                <a:cubicBezTo>
                  <a:pt x="1832527" y="150537"/>
                  <a:pt x="1834644" y="152657"/>
                  <a:pt x="1836760" y="154777"/>
                </a:cubicBezTo>
                <a:cubicBezTo>
                  <a:pt x="1838876" y="154777"/>
                  <a:pt x="1838876" y="154777"/>
                  <a:pt x="1840992" y="156898"/>
                </a:cubicBezTo>
                <a:cubicBezTo>
                  <a:pt x="1843108" y="156898"/>
                  <a:pt x="1845224" y="159018"/>
                  <a:pt x="1845224" y="161138"/>
                </a:cubicBezTo>
                <a:cubicBezTo>
                  <a:pt x="1847340" y="161138"/>
                  <a:pt x="1847340" y="161138"/>
                  <a:pt x="1849456" y="163258"/>
                </a:cubicBezTo>
                <a:cubicBezTo>
                  <a:pt x="1851572" y="163258"/>
                  <a:pt x="1853688" y="165378"/>
                  <a:pt x="1853688" y="167499"/>
                </a:cubicBezTo>
                <a:cubicBezTo>
                  <a:pt x="1855804" y="167499"/>
                  <a:pt x="1855804" y="167499"/>
                  <a:pt x="1857920" y="169619"/>
                </a:cubicBezTo>
                <a:cubicBezTo>
                  <a:pt x="1860037" y="169619"/>
                  <a:pt x="1862153" y="171739"/>
                  <a:pt x="1862153" y="173859"/>
                </a:cubicBezTo>
                <a:cubicBezTo>
                  <a:pt x="1862153" y="173859"/>
                  <a:pt x="1862153" y="173859"/>
                  <a:pt x="1864269" y="175980"/>
                </a:cubicBezTo>
                <a:cubicBezTo>
                  <a:pt x="1868501" y="178100"/>
                  <a:pt x="1870617" y="180220"/>
                  <a:pt x="1872733" y="182340"/>
                </a:cubicBezTo>
                <a:cubicBezTo>
                  <a:pt x="1874849" y="184461"/>
                  <a:pt x="1876965" y="186581"/>
                  <a:pt x="1879081" y="188701"/>
                </a:cubicBezTo>
                <a:cubicBezTo>
                  <a:pt x="1879081" y="188701"/>
                  <a:pt x="1879081" y="188701"/>
                  <a:pt x="1879081" y="190821"/>
                </a:cubicBezTo>
                <a:cubicBezTo>
                  <a:pt x="1881197" y="190821"/>
                  <a:pt x="1883313" y="192942"/>
                  <a:pt x="1883313" y="192942"/>
                </a:cubicBezTo>
                <a:cubicBezTo>
                  <a:pt x="1883313" y="195062"/>
                  <a:pt x="1885430" y="195062"/>
                  <a:pt x="1885430" y="197182"/>
                </a:cubicBezTo>
                <a:cubicBezTo>
                  <a:pt x="1885430" y="197182"/>
                  <a:pt x="1887546" y="199302"/>
                  <a:pt x="1887546" y="199302"/>
                </a:cubicBezTo>
                <a:cubicBezTo>
                  <a:pt x="1889662" y="201422"/>
                  <a:pt x="1889662" y="201422"/>
                  <a:pt x="1889662" y="203543"/>
                </a:cubicBezTo>
                <a:cubicBezTo>
                  <a:pt x="1889662" y="203543"/>
                  <a:pt x="1891778" y="205663"/>
                  <a:pt x="1891778" y="205663"/>
                </a:cubicBezTo>
                <a:cubicBezTo>
                  <a:pt x="1891778" y="207783"/>
                  <a:pt x="1893894" y="207783"/>
                  <a:pt x="1893894" y="209903"/>
                </a:cubicBezTo>
                <a:cubicBezTo>
                  <a:pt x="1893894" y="209903"/>
                  <a:pt x="1896010" y="212024"/>
                  <a:pt x="1896010" y="212024"/>
                </a:cubicBezTo>
                <a:cubicBezTo>
                  <a:pt x="1896010" y="214144"/>
                  <a:pt x="1896010" y="214144"/>
                  <a:pt x="1896010" y="216264"/>
                </a:cubicBezTo>
                <a:cubicBezTo>
                  <a:pt x="1898126" y="216264"/>
                  <a:pt x="1898126" y="218384"/>
                  <a:pt x="1898126" y="220505"/>
                </a:cubicBezTo>
                <a:cubicBezTo>
                  <a:pt x="1898126" y="220505"/>
                  <a:pt x="1898126" y="220505"/>
                  <a:pt x="1898126" y="222625"/>
                </a:cubicBezTo>
                <a:cubicBezTo>
                  <a:pt x="1900242" y="224745"/>
                  <a:pt x="1900242" y="226865"/>
                  <a:pt x="1900242" y="228986"/>
                </a:cubicBezTo>
                <a:cubicBezTo>
                  <a:pt x="1902358" y="231106"/>
                  <a:pt x="1902358" y="233226"/>
                  <a:pt x="1902358" y="235346"/>
                </a:cubicBezTo>
                <a:cubicBezTo>
                  <a:pt x="1902358" y="237467"/>
                  <a:pt x="1902358" y="239587"/>
                  <a:pt x="1902358" y="239587"/>
                </a:cubicBezTo>
                <a:cubicBezTo>
                  <a:pt x="1902358" y="239587"/>
                  <a:pt x="1902358" y="239587"/>
                  <a:pt x="1902358" y="241707"/>
                </a:cubicBezTo>
                <a:cubicBezTo>
                  <a:pt x="1902358" y="241707"/>
                  <a:pt x="1902358" y="241707"/>
                  <a:pt x="1902358" y="243827"/>
                </a:cubicBezTo>
                <a:cubicBezTo>
                  <a:pt x="1902358" y="245947"/>
                  <a:pt x="1902358" y="248068"/>
                  <a:pt x="1902358" y="248068"/>
                </a:cubicBezTo>
                <a:cubicBezTo>
                  <a:pt x="1902358" y="248068"/>
                  <a:pt x="1902358" y="248068"/>
                  <a:pt x="1902358" y="250188"/>
                </a:cubicBezTo>
                <a:cubicBezTo>
                  <a:pt x="1900242" y="252308"/>
                  <a:pt x="1900242" y="254428"/>
                  <a:pt x="1900242" y="256549"/>
                </a:cubicBezTo>
                <a:cubicBezTo>
                  <a:pt x="1900242" y="256549"/>
                  <a:pt x="1900242" y="256549"/>
                  <a:pt x="1900242" y="258669"/>
                </a:cubicBezTo>
                <a:cubicBezTo>
                  <a:pt x="1898126" y="260789"/>
                  <a:pt x="1898126" y="262909"/>
                  <a:pt x="1898126" y="265030"/>
                </a:cubicBezTo>
                <a:cubicBezTo>
                  <a:pt x="1898126" y="265030"/>
                  <a:pt x="1898126" y="265030"/>
                  <a:pt x="1896010" y="267150"/>
                </a:cubicBezTo>
                <a:cubicBezTo>
                  <a:pt x="1896010" y="269270"/>
                  <a:pt x="1893894" y="271390"/>
                  <a:pt x="1893894" y="273511"/>
                </a:cubicBezTo>
                <a:cubicBezTo>
                  <a:pt x="1891778" y="277751"/>
                  <a:pt x="1889662" y="279871"/>
                  <a:pt x="1889662" y="281991"/>
                </a:cubicBezTo>
                <a:cubicBezTo>
                  <a:pt x="1889662" y="281991"/>
                  <a:pt x="1889662" y="281991"/>
                  <a:pt x="1887546" y="284112"/>
                </a:cubicBezTo>
                <a:cubicBezTo>
                  <a:pt x="1885430" y="286232"/>
                  <a:pt x="1883313" y="288352"/>
                  <a:pt x="1883313" y="290472"/>
                </a:cubicBezTo>
                <a:cubicBezTo>
                  <a:pt x="1883313" y="290472"/>
                  <a:pt x="1883313" y="290472"/>
                  <a:pt x="1881197" y="290472"/>
                </a:cubicBezTo>
                <a:cubicBezTo>
                  <a:pt x="1879081" y="292593"/>
                  <a:pt x="1876965" y="294713"/>
                  <a:pt x="1874849" y="296833"/>
                </a:cubicBezTo>
                <a:cubicBezTo>
                  <a:pt x="1874849" y="296833"/>
                  <a:pt x="1874849" y="296833"/>
                  <a:pt x="1872733" y="298953"/>
                </a:cubicBezTo>
                <a:cubicBezTo>
                  <a:pt x="1870617" y="301074"/>
                  <a:pt x="1870617" y="303194"/>
                  <a:pt x="1868501" y="305314"/>
                </a:cubicBezTo>
                <a:cubicBezTo>
                  <a:pt x="1868501" y="305314"/>
                  <a:pt x="1868501" y="305314"/>
                  <a:pt x="1866385" y="307434"/>
                </a:cubicBezTo>
                <a:cubicBezTo>
                  <a:pt x="1862153" y="309555"/>
                  <a:pt x="1860037" y="311675"/>
                  <a:pt x="1857920" y="313795"/>
                </a:cubicBezTo>
                <a:cubicBezTo>
                  <a:pt x="1857920" y="313795"/>
                  <a:pt x="1857920" y="313795"/>
                  <a:pt x="1855804" y="315915"/>
                </a:cubicBezTo>
                <a:cubicBezTo>
                  <a:pt x="1853688" y="318035"/>
                  <a:pt x="1851572" y="320156"/>
                  <a:pt x="1847340" y="320156"/>
                </a:cubicBezTo>
                <a:cubicBezTo>
                  <a:pt x="1847340" y="322276"/>
                  <a:pt x="1845224" y="322276"/>
                  <a:pt x="1845224" y="322276"/>
                </a:cubicBezTo>
                <a:cubicBezTo>
                  <a:pt x="1840992" y="324396"/>
                  <a:pt x="1838876" y="326516"/>
                  <a:pt x="1834644" y="330757"/>
                </a:cubicBezTo>
                <a:cubicBezTo>
                  <a:pt x="1830411" y="332877"/>
                  <a:pt x="1828295" y="334997"/>
                  <a:pt x="1824063" y="337118"/>
                </a:cubicBezTo>
                <a:cubicBezTo>
                  <a:pt x="1821947" y="337118"/>
                  <a:pt x="1821947" y="337118"/>
                  <a:pt x="1819831" y="339238"/>
                </a:cubicBezTo>
                <a:cubicBezTo>
                  <a:pt x="1817715" y="339238"/>
                  <a:pt x="1813483" y="341358"/>
                  <a:pt x="1811367" y="343478"/>
                </a:cubicBezTo>
                <a:cubicBezTo>
                  <a:pt x="1811367" y="343478"/>
                  <a:pt x="1811367" y="343478"/>
                  <a:pt x="1807134" y="481294"/>
                </a:cubicBezTo>
                <a:cubicBezTo>
                  <a:pt x="1802902" y="483414"/>
                  <a:pt x="1798670" y="485534"/>
                  <a:pt x="1794438" y="487654"/>
                </a:cubicBezTo>
                <a:cubicBezTo>
                  <a:pt x="1792322" y="487654"/>
                  <a:pt x="1792322" y="487654"/>
                  <a:pt x="1790206" y="487654"/>
                </a:cubicBezTo>
                <a:cubicBezTo>
                  <a:pt x="1785974" y="489775"/>
                  <a:pt x="1783858" y="491895"/>
                  <a:pt x="1779625" y="494015"/>
                </a:cubicBezTo>
                <a:cubicBezTo>
                  <a:pt x="1777509" y="494015"/>
                  <a:pt x="1777509" y="494015"/>
                  <a:pt x="1775393" y="496135"/>
                </a:cubicBezTo>
                <a:cubicBezTo>
                  <a:pt x="1771161" y="498256"/>
                  <a:pt x="1766929" y="498256"/>
                  <a:pt x="1760581" y="500376"/>
                </a:cubicBezTo>
                <a:cubicBezTo>
                  <a:pt x="1760581" y="502496"/>
                  <a:pt x="1758465" y="502496"/>
                  <a:pt x="1758465" y="502496"/>
                </a:cubicBezTo>
                <a:cubicBezTo>
                  <a:pt x="1754232" y="504616"/>
                  <a:pt x="1750000" y="506736"/>
                  <a:pt x="1745768" y="506736"/>
                </a:cubicBezTo>
                <a:cubicBezTo>
                  <a:pt x="1743652" y="508857"/>
                  <a:pt x="1741536" y="508857"/>
                  <a:pt x="1741536" y="508857"/>
                </a:cubicBezTo>
                <a:cubicBezTo>
                  <a:pt x="1735188" y="510977"/>
                  <a:pt x="1730956" y="513097"/>
                  <a:pt x="1724607" y="515217"/>
                </a:cubicBezTo>
                <a:cubicBezTo>
                  <a:pt x="1718259" y="517338"/>
                  <a:pt x="1711911" y="519458"/>
                  <a:pt x="1707679" y="521578"/>
                </a:cubicBezTo>
                <a:cubicBezTo>
                  <a:pt x="1705563" y="521578"/>
                  <a:pt x="1703446" y="521578"/>
                  <a:pt x="1701330" y="523698"/>
                </a:cubicBezTo>
                <a:cubicBezTo>
                  <a:pt x="1697098" y="523698"/>
                  <a:pt x="1692866" y="525819"/>
                  <a:pt x="1686518" y="527939"/>
                </a:cubicBezTo>
                <a:cubicBezTo>
                  <a:pt x="1686518" y="527939"/>
                  <a:pt x="1684402" y="527939"/>
                  <a:pt x="1684402" y="527939"/>
                </a:cubicBezTo>
                <a:cubicBezTo>
                  <a:pt x="1682286" y="530059"/>
                  <a:pt x="1680170" y="530059"/>
                  <a:pt x="1678053" y="530059"/>
                </a:cubicBezTo>
                <a:cubicBezTo>
                  <a:pt x="1678053" y="530059"/>
                  <a:pt x="1678053" y="530059"/>
                  <a:pt x="1675937" y="530059"/>
                </a:cubicBezTo>
                <a:cubicBezTo>
                  <a:pt x="1671705" y="530059"/>
                  <a:pt x="1665357" y="530059"/>
                  <a:pt x="1661125" y="527939"/>
                </a:cubicBezTo>
                <a:cubicBezTo>
                  <a:pt x="1661125" y="527939"/>
                  <a:pt x="1659009" y="527939"/>
                  <a:pt x="1659009" y="527939"/>
                </a:cubicBezTo>
                <a:cubicBezTo>
                  <a:pt x="1654777" y="527939"/>
                  <a:pt x="1652660" y="527939"/>
                  <a:pt x="1648428" y="527939"/>
                </a:cubicBezTo>
                <a:cubicBezTo>
                  <a:pt x="1633616" y="525819"/>
                  <a:pt x="1618803" y="523698"/>
                  <a:pt x="1601874" y="523698"/>
                </a:cubicBezTo>
                <a:cubicBezTo>
                  <a:pt x="1597642" y="521578"/>
                  <a:pt x="1593410" y="521578"/>
                  <a:pt x="1587062" y="521578"/>
                </a:cubicBezTo>
                <a:cubicBezTo>
                  <a:pt x="1584946" y="521578"/>
                  <a:pt x="1582830" y="521578"/>
                  <a:pt x="1580714" y="521578"/>
                </a:cubicBezTo>
                <a:cubicBezTo>
                  <a:pt x="1578598" y="519458"/>
                  <a:pt x="1578598" y="519458"/>
                  <a:pt x="1576482" y="519458"/>
                </a:cubicBezTo>
                <a:cubicBezTo>
                  <a:pt x="1570133" y="519458"/>
                  <a:pt x="1565901" y="519458"/>
                  <a:pt x="1559553" y="519458"/>
                </a:cubicBezTo>
                <a:cubicBezTo>
                  <a:pt x="1557437" y="519458"/>
                  <a:pt x="1555321" y="517338"/>
                  <a:pt x="1553205" y="517338"/>
                </a:cubicBezTo>
                <a:cubicBezTo>
                  <a:pt x="1551089" y="517338"/>
                  <a:pt x="1548972" y="517338"/>
                  <a:pt x="1546856" y="517338"/>
                </a:cubicBezTo>
                <a:cubicBezTo>
                  <a:pt x="1546856" y="517338"/>
                  <a:pt x="1546856" y="517338"/>
                  <a:pt x="1544740" y="517338"/>
                </a:cubicBezTo>
                <a:cubicBezTo>
                  <a:pt x="1540508" y="517338"/>
                  <a:pt x="1536276" y="517338"/>
                  <a:pt x="1532044" y="515217"/>
                </a:cubicBezTo>
                <a:cubicBezTo>
                  <a:pt x="1532044" y="515217"/>
                  <a:pt x="1532044" y="515217"/>
                  <a:pt x="1529928" y="515217"/>
                </a:cubicBezTo>
                <a:cubicBezTo>
                  <a:pt x="1527812" y="515217"/>
                  <a:pt x="1523579" y="515217"/>
                  <a:pt x="1519347" y="515217"/>
                </a:cubicBezTo>
                <a:cubicBezTo>
                  <a:pt x="1515115" y="515217"/>
                  <a:pt x="1510883" y="515217"/>
                  <a:pt x="1506651" y="515217"/>
                </a:cubicBezTo>
                <a:cubicBezTo>
                  <a:pt x="1498186" y="513097"/>
                  <a:pt x="1489722" y="513097"/>
                  <a:pt x="1481258" y="513097"/>
                </a:cubicBezTo>
                <a:cubicBezTo>
                  <a:pt x="1477026" y="510977"/>
                  <a:pt x="1472793" y="510977"/>
                  <a:pt x="1468561" y="510977"/>
                </a:cubicBezTo>
                <a:cubicBezTo>
                  <a:pt x="1466445" y="510977"/>
                  <a:pt x="1464329" y="510977"/>
                  <a:pt x="1464329" y="510977"/>
                </a:cubicBezTo>
                <a:cubicBezTo>
                  <a:pt x="1457981" y="510977"/>
                  <a:pt x="1451633" y="508857"/>
                  <a:pt x="1443168" y="508857"/>
                </a:cubicBezTo>
                <a:cubicBezTo>
                  <a:pt x="1438936" y="508857"/>
                  <a:pt x="1432588" y="508857"/>
                  <a:pt x="1428356" y="508857"/>
                </a:cubicBezTo>
                <a:cubicBezTo>
                  <a:pt x="1426240" y="508857"/>
                  <a:pt x="1424124" y="508857"/>
                  <a:pt x="1424124" y="508857"/>
                </a:cubicBezTo>
                <a:cubicBezTo>
                  <a:pt x="1422008" y="506736"/>
                  <a:pt x="1419891" y="506736"/>
                  <a:pt x="1417775" y="506736"/>
                </a:cubicBezTo>
                <a:cubicBezTo>
                  <a:pt x="1417775" y="506736"/>
                  <a:pt x="1415659" y="506736"/>
                  <a:pt x="1413543" y="506736"/>
                </a:cubicBezTo>
                <a:cubicBezTo>
                  <a:pt x="1411427" y="506736"/>
                  <a:pt x="1409311" y="506736"/>
                  <a:pt x="1407195" y="506736"/>
                </a:cubicBezTo>
                <a:cubicBezTo>
                  <a:pt x="1407195" y="506736"/>
                  <a:pt x="1407195" y="506736"/>
                  <a:pt x="1405079" y="506736"/>
                </a:cubicBezTo>
                <a:cubicBezTo>
                  <a:pt x="1398731" y="506736"/>
                  <a:pt x="1392382" y="506736"/>
                  <a:pt x="1386034" y="504616"/>
                </a:cubicBezTo>
                <a:cubicBezTo>
                  <a:pt x="1383918" y="504616"/>
                  <a:pt x="1383918" y="504616"/>
                  <a:pt x="1381802" y="504616"/>
                </a:cubicBezTo>
                <a:cubicBezTo>
                  <a:pt x="1377570" y="504616"/>
                  <a:pt x="1371222" y="504616"/>
                  <a:pt x="1364873" y="504616"/>
                </a:cubicBezTo>
                <a:cubicBezTo>
                  <a:pt x="1358525" y="504616"/>
                  <a:pt x="1352177" y="502496"/>
                  <a:pt x="1347945" y="502496"/>
                </a:cubicBezTo>
                <a:cubicBezTo>
                  <a:pt x="1347945" y="502496"/>
                  <a:pt x="1347945" y="502496"/>
                  <a:pt x="1345829" y="502496"/>
                </a:cubicBezTo>
                <a:cubicBezTo>
                  <a:pt x="1343712" y="502496"/>
                  <a:pt x="1341596" y="502496"/>
                  <a:pt x="1339480" y="502496"/>
                </a:cubicBezTo>
                <a:cubicBezTo>
                  <a:pt x="1335248" y="502496"/>
                  <a:pt x="1331016" y="502496"/>
                  <a:pt x="1326784" y="502496"/>
                </a:cubicBezTo>
                <a:cubicBezTo>
                  <a:pt x="1324668" y="502496"/>
                  <a:pt x="1324668" y="502496"/>
                  <a:pt x="1322552" y="502496"/>
                </a:cubicBezTo>
                <a:cubicBezTo>
                  <a:pt x="1318319" y="500376"/>
                  <a:pt x="1311971" y="500376"/>
                  <a:pt x="1305623" y="500376"/>
                </a:cubicBezTo>
                <a:cubicBezTo>
                  <a:pt x="1303507" y="500376"/>
                  <a:pt x="1301391" y="500376"/>
                  <a:pt x="1297159" y="500376"/>
                </a:cubicBezTo>
                <a:cubicBezTo>
                  <a:pt x="1292926" y="500376"/>
                  <a:pt x="1288694" y="500376"/>
                  <a:pt x="1284462" y="500376"/>
                </a:cubicBezTo>
                <a:cubicBezTo>
                  <a:pt x="1284462" y="500376"/>
                  <a:pt x="1284462" y="500376"/>
                  <a:pt x="1282346" y="500376"/>
                </a:cubicBezTo>
                <a:cubicBezTo>
                  <a:pt x="1278114" y="500376"/>
                  <a:pt x="1273882" y="498256"/>
                  <a:pt x="1271766" y="498256"/>
                </a:cubicBezTo>
                <a:cubicBezTo>
                  <a:pt x="1269650" y="498256"/>
                  <a:pt x="1267533" y="498256"/>
                  <a:pt x="1267533" y="498256"/>
                </a:cubicBezTo>
                <a:cubicBezTo>
                  <a:pt x="1261185" y="498256"/>
                  <a:pt x="1256953" y="498256"/>
                  <a:pt x="1250605" y="498256"/>
                </a:cubicBezTo>
                <a:cubicBezTo>
                  <a:pt x="1248489" y="498256"/>
                  <a:pt x="1244257" y="498256"/>
                  <a:pt x="1242141" y="498256"/>
                </a:cubicBezTo>
                <a:cubicBezTo>
                  <a:pt x="1235792" y="498256"/>
                  <a:pt x="1227328" y="496135"/>
                  <a:pt x="1220980" y="496135"/>
                </a:cubicBezTo>
                <a:cubicBezTo>
                  <a:pt x="1218864" y="496135"/>
                  <a:pt x="1216748" y="496135"/>
                  <a:pt x="1214631" y="496135"/>
                </a:cubicBezTo>
                <a:cubicBezTo>
                  <a:pt x="1210399" y="496135"/>
                  <a:pt x="1206167" y="496135"/>
                  <a:pt x="1201935" y="496135"/>
                </a:cubicBezTo>
                <a:cubicBezTo>
                  <a:pt x="1199819" y="496135"/>
                  <a:pt x="1195587" y="496135"/>
                  <a:pt x="1191355" y="496135"/>
                </a:cubicBezTo>
                <a:cubicBezTo>
                  <a:pt x="1189238" y="496135"/>
                  <a:pt x="1187122" y="496135"/>
                  <a:pt x="1185006" y="496135"/>
                </a:cubicBezTo>
                <a:cubicBezTo>
                  <a:pt x="1182890" y="496135"/>
                  <a:pt x="1182890" y="496135"/>
                  <a:pt x="1180774" y="496135"/>
                </a:cubicBezTo>
                <a:cubicBezTo>
                  <a:pt x="1176542" y="496135"/>
                  <a:pt x="1172310" y="496135"/>
                  <a:pt x="1170194" y="494015"/>
                </a:cubicBezTo>
                <a:cubicBezTo>
                  <a:pt x="1165962" y="494015"/>
                  <a:pt x="1163845" y="494015"/>
                  <a:pt x="1161729" y="494015"/>
                </a:cubicBezTo>
                <a:cubicBezTo>
                  <a:pt x="1153265" y="494015"/>
                  <a:pt x="1146917" y="494015"/>
                  <a:pt x="1138452" y="494015"/>
                </a:cubicBezTo>
                <a:cubicBezTo>
                  <a:pt x="1132104" y="494015"/>
                  <a:pt x="1125756" y="494015"/>
                  <a:pt x="1119408" y="494015"/>
                </a:cubicBezTo>
                <a:cubicBezTo>
                  <a:pt x="1115176" y="494015"/>
                  <a:pt x="1110943" y="494015"/>
                  <a:pt x="1108827" y="494015"/>
                </a:cubicBezTo>
                <a:cubicBezTo>
                  <a:pt x="1104595" y="494015"/>
                  <a:pt x="1102479" y="494015"/>
                  <a:pt x="1098247" y="494015"/>
                </a:cubicBezTo>
                <a:cubicBezTo>
                  <a:pt x="1098247" y="494015"/>
                  <a:pt x="1098247" y="494015"/>
                  <a:pt x="1096131" y="494015"/>
                </a:cubicBezTo>
                <a:cubicBezTo>
                  <a:pt x="1089783" y="491895"/>
                  <a:pt x="1083434" y="491895"/>
                  <a:pt x="1077086" y="491895"/>
                </a:cubicBezTo>
                <a:cubicBezTo>
                  <a:pt x="1072854" y="491895"/>
                  <a:pt x="1068622" y="491895"/>
                  <a:pt x="1066506" y="491895"/>
                </a:cubicBezTo>
                <a:cubicBezTo>
                  <a:pt x="1062274" y="491895"/>
                  <a:pt x="1060157" y="491895"/>
                  <a:pt x="1055925" y="491895"/>
                </a:cubicBezTo>
                <a:cubicBezTo>
                  <a:pt x="1049577" y="491895"/>
                  <a:pt x="1041113" y="491895"/>
                  <a:pt x="1034764" y="491895"/>
                </a:cubicBezTo>
                <a:cubicBezTo>
                  <a:pt x="1028416" y="491895"/>
                  <a:pt x="1024184" y="491895"/>
                  <a:pt x="1022068" y="491895"/>
                </a:cubicBezTo>
                <a:cubicBezTo>
                  <a:pt x="1019952" y="491895"/>
                  <a:pt x="1015720" y="491895"/>
                  <a:pt x="1013604" y="491895"/>
                </a:cubicBezTo>
                <a:cubicBezTo>
                  <a:pt x="1005139" y="491895"/>
                  <a:pt x="998791" y="491895"/>
                  <a:pt x="992443" y="491895"/>
                </a:cubicBezTo>
                <a:cubicBezTo>
                  <a:pt x="986095" y="491895"/>
                  <a:pt x="981862" y="491895"/>
                  <a:pt x="977630" y="491895"/>
                </a:cubicBezTo>
                <a:cubicBezTo>
                  <a:pt x="977630" y="491895"/>
                  <a:pt x="977630" y="491895"/>
                  <a:pt x="973398" y="491895"/>
                </a:cubicBezTo>
                <a:cubicBezTo>
                  <a:pt x="964934" y="491895"/>
                  <a:pt x="956469" y="491895"/>
                  <a:pt x="948005" y="491895"/>
                </a:cubicBezTo>
                <a:cubicBezTo>
                  <a:pt x="941657" y="491895"/>
                  <a:pt x="935309" y="491895"/>
                  <a:pt x="928960" y="491895"/>
                </a:cubicBezTo>
                <a:cubicBezTo>
                  <a:pt x="922612" y="491895"/>
                  <a:pt x="914148" y="491895"/>
                  <a:pt x="905683" y="491895"/>
                </a:cubicBezTo>
                <a:cubicBezTo>
                  <a:pt x="905683" y="491895"/>
                  <a:pt x="905683" y="491895"/>
                  <a:pt x="901451" y="491895"/>
                </a:cubicBezTo>
                <a:cubicBezTo>
                  <a:pt x="899335" y="491895"/>
                  <a:pt x="897219" y="491895"/>
                  <a:pt x="895103" y="491895"/>
                </a:cubicBezTo>
                <a:cubicBezTo>
                  <a:pt x="895103" y="491895"/>
                  <a:pt x="895103" y="491895"/>
                  <a:pt x="888755" y="491895"/>
                </a:cubicBezTo>
                <a:cubicBezTo>
                  <a:pt x="886639" y="491895"/>
                  <a:pt x="884523" y="491895"/>
                  <a:pt x="884523" y="491895"/>
                </a:cubicBezTo>
                <a:cubicBezTo>
                  <a:pt x="880290" y="491895"/>
                  <a:pt x="876058" y="491895"/>
                  <a:pt x="871826" y="491895"/>
                </a:cubicBezTo>
                <a:cubicBezTo>
                  <a:pt x="863362" y="491895"/>
                  <a:pt x="854897" y="491895"/>
                  <a:pt x="846433" y="491895"/>
                </a:cubicBezTo>
                <a:cubicBezTo>
                  <a:pt x="842201" y="491895"/>
                  <a:pt x="835853" y="491895"/>
                  <a:pt x="829504" y="491895"/>
                </a:cubicBezTo>
                <a:cubicBezTo>
                  <a:pt x="829504" y="491895"/>
                  <a:pt x="829504" y="491895"/>
                  <a:pt x="827388" y="491895"/>
                </a:cubicBezTo>
                <a:cubicBezTo>
                  <a:pt x="821040" y="491895"/>
                  <a:pt x="812576" y="491895"/>
                  <a:pt x="804111" y="491895"/>
                </a:cubicBezTo>
                <a:cubicBezTo>
                  <a:pt x="799879" y="491895"/>
                  <a:pt x="793531" y="491895"/>
                  <a:pt x="787183" y="491895"/>
                </a:cubicBezTo>
                <a:cubicBezTo>
                  <a:pt x="787183" y="491895"/>
                  <a:pt x="787183" y="491895"/>
                  <a:pt x="785067" y="491895"/>
                </a:cubicBezTo>
                <a:cubicBezTo>
                  <a:pt x="780835" y="491895"/>
                  <a:pt x="776602" y="494015"/>
                  <a:pt x="772370" y="494015"/>
                </a:cubicBezTo>
                <a:cubicBezTo>
                  <a:pt x="770254" y="494015"/>
                  <a:pt x="766022" y="494015"/>
                  <a:pt x="761790" y="494015"/>
                </a:cubicBezTo>
                <a:cubicBezTo>
                  <a:pt x="759674" y="494015"/>
                  <a:pt x="755442" y="494015"/>
                  <a:pt x="751209" y="494015"/>
                </a:cubicBezTo>
                <a:cubicBezTo>
                  <a:pt x="751209" y="494015"/>
                  <a:pt x="751209" y="494015"/>
                  <a:pt x="749093" y="494015"/>
                </a:cubicBezTo>
                <a:cubicBezTo>
                  <a:pt x="746977" y="494015"/>
                  <a:pt x="744861" y="494015"/>
                  <a:pt x="742745" y="494015"/>
                </a:cubicBezTo>
                <a:cubicBezTo>
                  <a:pt x="734281" y="494015"/>
                  <a:pt x="727932" y="494015"/>
                  <a:pt x="719468" y="494015"/>
                </a:cubicBezTo>
                <a:cubicBezTo>
                  <a:pt x="713120" y="494015"/>
                  <a:pt x="706772" y="494015"/>
                  <a:pt x="700423" y="494015"/>
                </a:cubicBezTo>
                <a:cubicBezTo>
                  <a:pt x="694075" y="496135"/>
                  <a:pt x="687727" y="496135"/>
                  <a:pt x="681379" y="496135"/>
                </a:cubicBezTo>
                <a:cubicBezTo>
                  <a:pt x="679263" y="496135"/>
                  <a:pt x="677146" y="496135"/>
                  <a:pt x="675030" y="496135"/>
                </a:cubicBezTo>
                <a:cubicBezTo>
                  <a:pt x="668682" y="496135"/>
                  <a:pt x="664450" y="496135"/>
                  <a:pt x="658102" y="496135"/>
                </a:cubicBezTo>
                <a:cubicBezTo>
                  <a:pt x="649637" y="496135"/>
                  <a:pt x="641173" y="498256"/>
                  <a:pt x="634825" y="498256"/>
                </a:cubicBezTo>
                <a:cubicBezTo>
                  <a:pt x="634825" y="498256"/>
                  <a:pt x="634825" y="498256"/>
                  <a:pt x="632709" y="498256"/>
                </a:cubicBezTo>
                <a:cubicBezTo>
                  <a:pt x="626361" y="498256"/>
                  <a:pt x="620012" y="498256"/>
                  <a:pt x="615780" y="498256"/>
                </a:cubicBezTo>
                <a:cubicBezTo>
                  <a:pt x="607316" y="498256"/>
                  <a:pt x="598851" y="498256"/>
                  <a:pt x="590387" y="500376"/>
                </a:cubicBezTo>
                <a:cubicBezTo>
                  <a:pt x="586155" y="500376"/>
                  <a:pt x="584039" y="500376"/>
                  <a:pt x="581923" y="500376"/>
                </a:cubicBezTo>
                <a:cubicBezTo>
                  <a:pt x="579807" y="500376"/>
                  <a:pt x="575575" y="500376"/>
                  <a:pt x="573458" y="500376"/>
                </a:cubicBezTo>
                <a:cubicBezTo>
                  <a:pt x="562878" y="500376"/>
                  <a:pt x="552298" y="500376"/>
                  <a:pt x="541717" y="502496"/>
                </a:cubicBezTo>
                <a:cubicBezTo>
                  <a:pt x="539601" y="502496"/>
                  <a:pt x="535369" y="502496"/>
                  <a:pt x="531137" y="502496"/>
                </a:cubicBezTo>
                <a:cubicBezTo>
                  <a:pt x="516324" y="502496"/>
                  <a:pt x="503628" y="504616"/>
                  <a:pt x="488815" y="504616"/>
                </a:cubicBezTo>
                <a:cubicBezTo>
                  <a:pt x="486699" y="504616"/>
                  <a:pt x="484583" y="504616"/>
                  <a:pt x="482467" y="506736"/>
                </a:cubicBezTo>
                <a:cubicBezTo>
                  <a:pt x="480351" y="506736"/>
                  <a:pt x="478235" y="506736"/>
                  <a:pt x="476119" y="506736"/>
                </a:cubicBezTo>
                <a:cubicBezTo>
                  <a:pt x="471886" y="506736"/>
                  <a:pt x="467654" y="506736"/>
                  <a:pt x="463422" y="506736"/>
                </a:cubicBezTo>
                <a:cubicBezTo>
                  <a:pt x="459190" y="506736"/>
                  <a:pt x="452842" y="506736"/>
                  <a:pt x="446494" y="508857"/>
                </a:cubicBezTo>
                <a:cubicBezTo>
                  <a:pt x="442261" y="508857"/>
                  <a:pt x="440145" y="508857"/>
                  <a:pt x="435913" y="508857"/>
                </a:cubicBezTo>
                <a:cubicBezTo>
                  <a:pt x="435913" y="508857"/>
                  <a:pt x="433797" y="508857"/>
                  <a:pt x="433797" y="508857"/>
                </a:cubicBezTo>
                <a:cubicBezTo>
                  <a:pt x="423217" y="508857"/>
                  <a:pt x="414752" y="510977"/>
                  <a:pt x="406288" y="510977"/>
                </a:cubicBezTo>
                <a:cubicBezTo>
                  <a:pt x="402056" y="510977"/>
                  <a:pt x="399940" y="510977"/>
                  <a:pt x="395708" y="510977"/>
                </a:cubicBezTo>
                <a:cubicBezTo>
                  <a:pt x="393591" y="510977"/>
                  <a:pt x="391475" y="513097"/>
                  <a:pt x="387243" y="513097"/>
                </a:cubicBezTo>
                <a:cubicBezTo>
                  <a:pt x="385127" y="513097"/>
                  <a:pt x="383011" y="513097"/>
                  <a:pt x="380895" y="513097"/>
                </a:cubicBezTo>
                <a:cubicBezTo>
                  <a:pt x="374547" y="513097"/>
                  <a:pt x="368198" y="513097"/>
                  <a:pt x="363966" y="515217"/>
                </a:cubicBezTo>
                <a:cubicBezTo>
                  <a:pt x="363966" y="515217"/>
                  <a:pt x="363966" y="515217"/>
                  <a:pt x="344922" y="515217"/>
                </a:cubicBezTo>
                <a:cubicBezTo>
                  <a:pt x="342805" y="515217"/>
                  <a:pt x="338573" y="517338"/>
                  <a:pt x="336457" y="517338"/>
                </a:cubicBezTo>
                <a:cubicBezTo>
                  <a:pt x="330109" y="517338"/>
                  <a:pt x="325877" y="517338"/>
                  <a:pt x="321645" y="517338"/>
                </a:cubicBezTo>
                <a:cubicBezTo>
                  <a:pt x="317412" y="517338"/>
                  <a:pt x="315296" y="519458"/>
                  <a:pt x="311064" y="519458"/>
                </a:cubicBezTo>
                <a:cubicBezTo>
                  <a:pt x="308948" y="519458"/>
                  <a:pt x="306832" y="519458"/>
                  <a:pt x="304716" y="519458"/>
                </a:cubicBezTo>
                <a:cubicBezTo>
                  <a:pt x="296252" y="519458"/>
                  <a:pt x="287787" y="521578"/>
                  <a:pt x="279323" y="521578"/>
                </a:cubicBezTo>
                <a:cubicBezTo>
                  <a:pt x="272975" y="521578"/>
                  <a:pt x="268743" y="523698"/>
                  <a:pt x="262394" y="523698"/>
                </a:cubicBezTo>
                <a:cubicBezTo>
                  <a:pt x="253930" y="523698"/>
                  <a:pt x="245466" y="525819"/>
                  <a:pt x="237001" y="525819"/>
                </a:cubicBezTo>
                <a:cubicBezTo>
                  <a:pt x="232769" y="525819"/>
                  <a:pt x="226421" y="527939"/>
                  <a:pt x="220073" y="527939"/>
                </a:cubicBezTo>
                <a:cubicBezTo>
                  <a:pt x="171403" y="513097"/>
                  <a:pt x="129081" y="498256"/>
                  <a:pt x="95224" y="479173"/>
                </a:cubicBezTo>
                <a:cubicBezTo>
                  <a:pt x="90992" y="477053"/>
                  <a:pt x="88876" y="339238"/>
                  <a:pt x="84643" y="337118"/>
                </a:cubicBezTo>
                <a:cubicBezTo>
                  <a:pt x="84643" y="337118"/>
                  <a:pt x="82527" y="337118"/>
                  <a:pt x="82527" y="337118"/>
                </a:cubicBezTo>
                <a:cubicBezTo>
                  <a:pt x="78295" y="334997"/>
                  <a:pt x="76179" y="332877"/>
                  <a:pt x="74063" y="332877"/>
                </a:cubicBezTo>
                <a:cubicBezTo>
                  <a:pt x="74063" y="330757"/>
                  <a:pt x="71947" y="330757"/>
                  <a:pt x="69831" y="328637"/>
                </a:cubicBezTo>
                <a:cubicBezTo>
                  <a:pt x="67715" y="328637"/>
                  <a:pt x="67715" y="326516"/>
                  <a:pt x="65599" y="326516"/>
                </a:cubicBezTo>
                <a:cubicBezTo>
                  <a:pt x="63483" y="324396"/>
                  <a:pt x="61367" y="324396"/>
                  <a:pt x="61367" y="324396"/>
                </a:cubicBezTo>
                <a:cubicBezTo>
                  <a:pt x="59250" y="322276"/>
                  <a:pt x="57134" y="320156"/>
                  <a:pt x="55018" y="320156"/>
                </a:cubicBezTo>
                <a:cubicBezTo>
                  <a:pt x="55018" y="318035"/>
                  <a:pt x="52902" y="318035"/>
                  <a:pt x="52902" y="318035"/>
                </a:cubicBezTo>
                <a:cubicBezTo>
                  <a:pt x="50786" y="315915"/>
                  <a:pt x="48670" y="313795"/>
                  <a:pt x="46554" y="313795"/>
                </a:cubicBezTo>
                <a:cubicBezTo>
                  <a:pt x="46554" y="311675"/>
                  <a:pt x="44438" y="311675"/>
                  <a:pt x="44438" y="311675"/>
                </a:cubicBezTo>
                <a:cubicBezTo>
                  <a:pt x="42322" y="309555"/>
                  <a:pt x="40206" y="307434"/>
                  <a:pt x="38090" y="307434"/>
                </a:cubicBezTo>
                <a:cubicBezTo>
                  <a:pt x="38090" y="305314"/>
                  <a:pt x="35974" y="305314"/>
                  <a:pt x="35974" y="305314"/>
                </a:cubicBezTo>
                <a:cubicBezTo>
                  <a:pt x="33857" y="303194"/>
                  <a:pt x="31741" y="301074"/>
                  <a:pt x="29625" y="298953"/>
                </a:cubicBezTo>
                <a:cubicBezTo>
                  <a:pt x="27509" y="296833"/>
                  <a:pt x="25393" y="294713"/>
                  <a:pt x="23277" y="292593"/>
                </a:cubicBezTo>
                <a:cubicBezTo>
                  <a:pt x="23277" y="292593"/>
                  <a:pt x="23277" y="292593"/>
                  <a:pt x="21161" y="290472"/>
                </a:cubicBezTo>
                <a:cubicBezTo>
                  <a:pt x="21161" y="288352"/>
                  <a:pt x="19045" y="288352"/>
                  <a:pt x="19045" y="286232"/>
                </a:cubicBezTo>
                <a:cubicBezTo>
                  <a:pt x="16929" y="284112"/>
                  <a:pt x="16929" y="284112"/>
                  <a:pt x="16929" y="284112"/>
                </a:cubicBezTo>
                <a:cubicBezTo>
                  <a:pt x="14813" y="281991"/>
                  <a:pt x="14813" y="281991"/>
                  <a:pt x="12697" y="279871"/>
                </a:cubicBezTo>
                <a:cubicBezTo>
                  <a:pt x="12697" y="279871"/>
                  <a:pt x="12697" y="277751"/>
                  <a:pt x="10581" y="277751"/>
                </a:cubicBezTo>
                <a:cubicBezTo>
                  <a:pt x="10581" y="275631"/>
                  <a:pt x="10581" y="273511"/>
                  <a:pt x="8464" y="273511"/>
                </a:cubicBezTo>
                <a:cubicBezTo>
                  <a:pt x="8464" y="273511"/>
                  <a:pt x="8464" y="271390"/>
                  <a:pt x="8464" y="271390"/>
                </a:cubicBezTo>
                <a:cubicBezTo>
                  <a:pt x="6348" y="269270"/>
                  <a:pt x="6348" y="267150"/>
                  <a:pt x="6348" y="267150"/>
                </a:cubicBezTo>
                <a:cubicBezTo>
                  <a:pt x="6348" y="265030"/>
                  <a:pt x="4232" y="265030"/>
                  <a:pt x="4232" y="265030"/>
                </a:cubicBezTo>
                <a:cubicBezTo>
                  <a:pt x="4232" y="262909"/>
                  <a:pt x="4232" y="260789"/>
                  <a:pt x="2116" y="260789"/>
                </a:cubicBezTo>
                <a:cubicBezTo>
                  <a:pt x="2116" y="260789"/>
                  <a:pt x="2116" y="260789"/>
                  <a:pt x="2116" y="258669"/>
                </a:cubicBezTo>
                <a:cubicBezTo>
                  <a:pt x="2116" y="256549"/>
                  <a:pt x="0" y="254428"/>
                  <a:pt x="0" y="252308"/>
                </a:cubicBezTo>
                <a:cubicBezTo>
                  <a:pt x="0" y="250188"/>
                  <a:pt x="0" y="248068"/>
                  <a:pt x="0" y="245947"/>
                </a:cubicBezTo>
                <a:cubicBezTo>
                  <a:pt x="0" y="245947"/>
                  <a:pt x="0" y="245947"/>
                  <a:pt x="0" y="243827"/>
                </a:cubicBezTo>
                <a:cubicBezTo>
                  <a:pt x="0" y="243827"/>
                  <a:pt x="0" y="243827"/>
                  <a:pt x="0" y="241707"/>
                </a:cubicBezTo>
                <a:cubicBezTo>
                  <a:pt x="0" y="241707"/>
                  <a:pt x="0" y="241707"/>
                  <a:pt x="0" y="239587"/>
                </a:cubicBezTo>
                <a:cubicBezTo>
                  <a:pt x="0" y="239587"/>
                  <a:pt x="0" y="239587"/>
                  <a:pt x="0" y="237467"/>
                </a:cubicBezTo>
                <a:cubicBezTo>
                  <a:pt x="0" y="235346"/>
                  <a:pt x="0" y="233226"/>
                  <a:pt x="0" y="231106"/>
                </a:cubicBezTo>
                <a:cubicBezTo>
                  <a:pt x="0" y="231106"/>
                  <a:pt x="0" y="231106"/>
                  <a:pt x="0" y="228986"/>
                </a:cubicBezTo>
                <a:cubicBezTo>
                  <a:pt x="0" y="226865"/>
                  <a:pt x="0" y="224745"/>
                  <a:pt x="2116" y="222625"/>
                </a:cubicBezTo>
                <a:cubicBezTo>
                  <a:pt x="2116" y="222625"/>
                  <a:pt x="2116" y="222625"/>
                  <a:pt x="2116" y="220505"/>
                </a:cubicBezTo>
                <a:cubicBezTo>
                  <a:pt x="2116" y="218384"/>
                  <a:pt x="2116" y="216264"/>
                  <a:pt x="4232" y="214144"/>
                </a:cubicBezTo>
                <a:cubicBezTo>
                  <a:pt x="4232" y="214144"/>
                  <a:pt x="4232" y="214144"/>
                  <a:pt x="4232" y="212024"/>
                </a:cubicBezTo>
                <a:cubicBezTo>
                  <a:pt x="6348" y="209903"/>
                  <a:pt x="6348" y="207783"/>
                  <a:pt x="8464" y="205663"/>
                </a:cubicBezTo>
                <a:cubicBezTo>
                  <a:pt x="10581" y="203543"/>
                  <a:pt x="10581" y="201422"/>
                  <a:pt x="12697" y="199302"/>
                </a:cubicBezTo>
                <a:cubicBezTo>
                  <a:pt x="12697" y="199302"/>
                  <a:pt x="12697" y="199302"/>
                  <a:pt x="14813" y="197182"/>
                </a:cubicBezTo>
                <a:cubicBezTo>
                  <a:pt x="14813" y="195062"/>
                  <a:pt x="16929" y="192942"/>
                  <a:pt x="19045" y="190821"/>
                </a:cubicBezTo>
                <a:cubicBezTo>
                  <a:pt x="19045" y="190821"/>
                  <a:pt x="19045" y="190821"/>
                  <a:pt x="19045" y="188701"/>
                </a:cubicBezTo>
                <a:cubicBezTo>
                  <a:pt x="21161" y="186581"/>
                  <a:pt x="23277" y="184461"/>
                  <a:pt x="25393" y="182340"/>
                </a:cubicBezTo>
                <a:cubicBezTo>
                  <a:pt x="25393" y="182340"/>
                  <a:pt x="25393" y="182340"/>
                  <a:pt x="27509" y="180220"/>
                </a:cubicBezTo>
                <a:cubicBezTo>
                  <a:pt x="29625" y="178100"/>
                  <a:pt x="31741" y="175980"/>
                  <a:pt x="33857" y="173859"/>
                </a:cubicBezTo>
                <a:cubicBezTo>
                  <a:pt x="33857" y="173859"/>
                  <a:pt x="33857" y="173859"/>
                  <a:pt x="35974" y="173859"/>
                </a:cubicBezTo>
                <a:cubicBezTo>
                  <a:pt x="38090" y="169619"/>
                  <a:pt x="40206" y="167499"/>
                  <a:pt x="44438" y="165378"/>
                </a:cubicBezTo>
                <a:cubicBezTo>
                  <a:pt x="44438" y="165378"/>
                  <a:pt x="44438" y="165378"/>
                  <a:pt x="46554" y="165378"/>
                </a:cubicBezTo>
                <a:cubicBezTo>
                  <a:pt x="48670" y="163258"/>
                  <a:pt x="50786" y="161138"/>
                  <a:pt x="52902" y="159018"/>
                </a:cubicBezTo>
                <a:cubicBezTo>
                  <a:pt x="55018" y="159018"/>
                  <a:pt x="55018" y="156898"/>
                  <a:pt x="57134" y="156898"/>
                </a:cubicBezTo>
                <a:cubicBezTo>
                  <a:pt x="59250" y="154777"/>
                  <a:pt x="63483" y="152657"/>
                  <a:pt x="65599" y="150537"/>
                </a:cubicBezTo>
                <a:cubicBezTo>
                  <a:pt x="69831" y="148417"/>
                  <a:pt x="74063" y="146296"/>
                  <a:pt x="78295" y="144176"/>
                </a:cubicBezTo>
                <a:cubicBezTo>
                  <a:pt x="78295" y="142056"/>
                  <a:pt x="80411" y="142056"/>
                  <a:pt x="80411" y="142056"/>
                </a:cubicBezTo>
                <a:cubicBezTo>
                  <a:pt x="84643" y="139936"/>
                  <a:pt x="86760" y="137815"/>
                  <a:pt x="90992" y="135695"/>
                </a:cubicBezTo>
                <a:cubicBezTo>
                  <a:pt x="90992" y="135695"/>
                  <a:pt x="90992" y="135695"/>
                  <a:pt x="93108" y="135695"/>
                </a:cubicBezTo>
                <a:cubicBezTo>
                  <a:pt x="97340" y="133575"/>
                  <a:pt x="101572" y="131455"/>
                  <a:pt x="105804" y="129334"/>
                </a:cubicBezTo>
                <a:cubicBezTo>
                  <a:pt x="107920" y="127214"/>
                  <a:pt x="107920" y="127214"/>
                  <a:pt x="110036" y="127214"/>
                </a:cubicBezTo>
                <a:cubicBezTo>
                  <a:pt x="112152" y="125094"/>
                  <a:pt x="116385" y="122974"/>
                  <a:pt x="120617" y="120854"/>
                </a:cubicBezTo>
                <a:cubicBezTo>
                  <a:pt x="120617" y="120854"/>
                  <a:pt x="122733" y="120854"/>
                  <a:pt x="124849" y="120854"/>
                </a:cubicBezTo>
                <a:cubicBezTo>
                  <a:pt x="129081" y="118733"/>
                  <a:pt x="133313" y="116613"/>
                  <a:pt x="137545" y="114493"/>
                </a:cubicBezTo>
                <a:cubicBezTo>
                  <a:pt x="139662" y="114493"/>
                  <a:pt x="139662" y="112373"/>
                  <a:pt x="141778" y="112373"/>
                </a:cubicBezTo>
                <a:cubicBezTo>
                  <a:pt x="146010" y="110252"/>
                  <a:pt x="150242" y="110252"/>
                  <a:pt x="154474" y="108132"/>
                </a:cubicBezTo>
                <a:cubicBezTo>
                  <a:pt x="156590" y="106012"/>
                  <a:pt x="156590" y="106012"/>
                  <a:pt x="158706" y="106012"/>
                </a:cubicBezTo>
                <a:cubicBezTo>
                  <a:pt x="165055" y="103892"/>
                  <a:pt x="169287" y="101771"/>
                  <a:pt x="175635" y="99651"/>
                </a:cubicBezTo>
                <a:cubicBezTo>
                  <a:pt x="181983" y="97531"/>
                  <a:pt x="186215" y="95411"/>
                  <a:pt x="192564" y="93290"/>
                </a:cubicBezTo>
                <a:cubicBezTo>
                  <a:pt x="194680" y="93290"/>
                  <a:pt x="196796" y="93290"/>
                  <a:pt x="196796" y="93290"/>
                </a:cubicBezTo>
                <a:cubicBezTo>
                  <a:pt x="203144" y="91170"/>
                  <a:pt x="207376" y="89050"/>
                  <a:pt x="213724" y="86930"/>
                </a:cubicBezTo>
                <a:cubicBezTo>
                  <a:pt x="213724" y="86930"/>
                  <a:pt x="215841" y="86930"/>
                  <a:pt x="215841" y="86930"/>
                </a:cubicBezTo>
                <a:cubicBezTo>
                  <a:pt x="222189" y="84810"/>
                  <a:pt x="228537" y="82689"/>
                  <a:pt x="234885" y="80569"/>
                </a:cubicBezTo>
                <a:cubicBezTo>
                  <a:pt x="237001" y="80569"/>
                  <a:pt x="239117" y="80569"/>
                  <a:pt x="239117" y="80569"/>
                </a:cubicBezTo>
                <a:cubicBezTo>
                  <a:pt x="245466" y="78449"/>
                  <a:pt x="249698" y="76329"/>
                  <a:pt x="256046" y="74208"/>
                </a:cubicBezTo>
                <a:cubicBezTo>
                  <a:pt x="256046" y="74208"/>
                  <a:pt x="256046" y="74208"/>
                  <a:pt x="260278" y="74208"/>
                </a:cubicBezTo>
                <a:cubicBezTo>
                  <a:pt x="266627" y="72088"/>
                  <a:pt x="275091" y="69968"/>
                  <a:pt x="281439" y="67848"/>
                </a:cubicBezTo>
                <a:cubicBezTo>
                  <a:pt x="283555" y="67848"/>
                  <a:pt x="283555" y="67848"/>
                  <a:pt x="285671" y="67848"/>
                </a:cubicBezTo>
                <a:cubicBezTo>
                  <a:pt x="292019" y="65727"/>
                  <a:pt x="296252" y="65727"/>
                  <a:pt x="302600" y="63607"/>
                </a:cubicBezTo>
                <a:cubicBezTo>
                  <a:pt x="304716" y="63607"/>
                  <a:pt x="306832" y="61487"/>
                  <a:pt x="308948" y="61487"/>
                </a:cubicBezTo>
                <a:cubicBezTo>
                  <a:pt x="317412" y="59367"/>
                  <a:pt x="323761" y="59367"/>
                  <a:pt x="332225" y="57246"/>
                </a:cubicBezTo>
                <a:cubicBezTo>
                  <a:pt x="338573" y="55126"/>
                  <a:pt x="347038" y="53006"/>
                  <a:pt x="355502" y="53006"/>
                </a:cubicBezTo>
                <a:cubicBezTo>
                  <a:pt x="357618" y="50886"/>
                  <a:pt x="359734" y="50886"/>
                  <a:pt x="361850" y="50886"/>
                </a:cubicBezTo>
                <a:cubicBezTo>
                  <a:pt x="368198" y="48765"/>
                  <a:pt x="374547" y="48765"/>
                  <a:pt x="380895" y="46645"/>
                </a:cubicBezTo>
                <a:cubicBezTo>
                  <a:pt x="383011" y="46645"/>
                  <a:pt x="385127" y="46645"/>
                  <a:pt x="385127" y="46645"/>
                </a:cubicBezTo>
                <a:cubicBezTo>
                  <a:pt x="393591" y="44525"/>
                  <a:pt x="402056" y="42405"/>
                  <a:pt x="410520" y="42405"/>
                </a:cubicBezTo>
                <a:cubicBezTo>
                  <a:pt x="412636" y="42405"/>
                  <a:pt x="414752" y="40285"/>
                  <a:pt x="416868" y="40285"/>
                </a:cubicBezTo>
                <a:cubicBezTo>
                  <a:pt x="423217" y="40285"/>
                  <a:pt x="429565" y="38164"/>
                  <a:pt x="435913" y="38164"/>
                </a:cubicBezTo>
                <a:cubicBezTo>
                  <a:pt x="438029" y="38164"/>
                  <a:pt x="440145" y="36044"/>
                  <a:pt x="442261" y="36044"/>
                </a:cubicBezTo>
                <a:cubicBezTo>
                  <a:pt x="450726" y="36044"/>
                  <a:pt x="461306" y="33924"/>
                  <a:pt x="469770" y="31804"/>
                </a:cubicBezTo>
                <a:cubicBezTo>
                  <a:pt x="469770" y="31804"/>
                  <a:pt x="471886" y="31804"/>
                  <a:pt x="474003" y="31804"/>
                </a:cubicBezTo>
                <a:cubicBezTo>
                  <a:pt x="482467" y="31804"/>
                  <a:pt x="488815" y="29683"/>
                  <a:pt x="497279" y="29683"/>
                </a:cubicBezTo>
                <a:cubicBezTo>
                  <a:pt x="499396" y="27563"/>
                  <a:pt x="501512" y="27563"/>
                  <a:pt x="503628" y="27563"/>
                </a:cubicBezTo>
                <a:cubicBezTo>
                  <a:pt x="514208" y="27563"/>
                  <a:pt x="522672" y="25443"/>
                  <a:pt x="531137" y="23323"/>
                </a:cubicBezTo>
                <a:cubicBezTo>
                  <a:pt x="664450" y="8481"/>
                  <a:pt x="806228" y="0"/>
                  <a:pt x="943773" y="0"/>
                </a:cubicBezTo>
                <a:close/>
              </a:path>
            </a:pathLst>
          </a:custGeom>
          <a:gradFill flip="none" rotWithShape="1">
            <a:gsLst>
              <a:gs pos="0">
                <a:schemeClr val="accent1">
                  <a:lumMod val="75000"/>
                  <a:lumOff val="25000"/>
                </a:schemeClr>
              </a:gs>
              <a:gs pos="100000">
                <a:schemeClr val="accent1">
                  <a:lumMod val="80000"/>
                </a:schemeClr>
              </a:gs>
            </a:gsLst>
            <a:path path="circle">
              <a:fillToRect r="100000" b="100000"/>
            </a:path>
            <a:tileRect l="-100000" t="-100000"/>
          </a:gradFill>
          <a:ln w="6350">
            <a:gradFill>
              <a:gsLst>
                <a:gs pos="0">
                  <a:schemeClr val="accent1">
                    <a:lumMod val="0"/>
                    <a:lumOff val="100000"/>
                    <a:alpha val="70000"/>
                  </a:schemeClr>
                </a:gs>
                <a:gs pos="100000">
                  <a:schemeClr val="accent1">
                    <a:lumMod val="0"/>
                    <a:lumOff val="100000"/>
                    <a:alpha val="7000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id-ID">
              <a:solidFill>
                <a:srgbClr val="FFFFFF"/>
              </a:solidFill>
              <a:latin typeface="Arial"/>
            </a:endParaRPr>
          </a:p>
        </p:txBody>
      </p:sp>
      <p:sp>
        <p:nvSpPr>
          <p:cNvPr id="92" name="任意多边形: 形状 91">
            <a:extLst>
              <a:ext uri="{FF2B5EF4-FFF2-40B4-BE49-F238E27FC236}">
                <a16:creationId xmlns:a16="http://schemas.microsoft.com/office/drawing/2014/main" id="{DBB3DA34-515E-6DC7-3B15-664A018E864B}"/>
              </a:ext>
            </a:extLst>
          </p:cNvPr>
          <p:cNvSpPr>
            <a:spLocks/>
          </p:cNvSpPr>
          <p:nvPr/>
        </p:nvSpPr>
        <p:spPr bwMode="auto">
          <a:xfrm>
            <a:off x="3944872" y="1748489"/>
            <a:ext cx="4299004" cy="969516"/>
          </a:xfrm>
          <a:custGeom>
            <a:avLst/>
            <a:gdLst>
              <a:gd name="connsiteX0" fmla="*/ 4292657 w 4299004"/>
              <a:gd name="connsiteY0" fmla="*/ 17416 h 969516"/>
              <a:gd name="connsiteX1" fmla="*/ 4292657 w 4299004"/>
              <a:gd name="connsiteY1" fmla="*/ 19033 h 969516"/>
              <a:gd name="connsiteX2" fmla="*/ 4289389 w 4299004"/>
              <a:gd name="connsiteY2" fmla="*/ 23116 h 969516"/>
              <a:gd name="connsiteX3" fmla="*/ 6265 w 4299004"/>
              <a:gd name="connsiteY3" fmla="*/ 11000 h 969516"/>
              <a:gd name="connsiteX4" fmla="*/ 12694 w 4299004"/>
              <a:gd name="connsiteY4" fmla="*/ 19033 h 969516"/>
              <a:gd name="connsiteX5" fmla="*/ 12694 w 4299004"/>
              <a:gd name="connsiteY5" fmla="*/ 21148 h 969516"/>
              <a:gd name="connsiteX6" fmla="*/ 23272 w 4299004"/>
              <a:gd name="connsiteY6" fmla="*/ 31722 h 969516"/>
              <a:gd name="connsiteX7" fmla="*/ 25388 w 4299004"/>
              <a:gd name="connsiteY7" fmla="*/ 35952 h 969516"/>
              <a:gd name="connsiteX8" fmla="*/ 33851 w 4299004"/>
              <a:gd name="connsiteY8" fmla="*/ 44411 h 969516"/>
              <a:gd name="connsiteX9" fmla="*/ 38082 w 4299004"/>
              <a:gd name="connsiteY9" fmla="*/ 48640 h 969516"/>
              <a:gd name="connsiteX10" fmla="*/ 44429 w 4299004"/>
              <a:gd name="connsiteY10" fmla="*/ 57100 h 969516"/>
              <a:gd name="connsiteX11" fmla="*/ 48660 w 4299004"/>
              <a:gd name="connsiteY11" fmla="*/ 61329 h 969516"/>
              <a:gd name="connsiteX12" fmla="*/ 61354 w 4299004"/>
              <a:gd name="connsiteY12" fmla="*/ 71903 h 969516"/>
              <a:gd name="connsiteX13" fmla="*/ 63470 w 4299004"/>
              <a:gd name="connsiteY13" fmla="*/ 74018 h 969516"/>
              <a:gd name="connsiteX14" fmla="*/ 76164 w 4299004"/>
              <a:gd name="connsiteY14" fmla="*/ 84592 h 969516"/>
              <a:gd name="connsiteX15" fmla="*/ 80395 w 4299004"/>
              <a:gd name="connsiteY15" fmla="*/ 88821 h 969516"/>
              <a:gd name="connsiteX16" fmla="*/ 90973 w 4299004"/>
              <a:gd name="connsiteY16" fmla="*/ 97281 h 969516"/>
              <a:gd name="connsiteX17" fmla="*/ 97320 w 4299004"/>
              <a:gd name="connsiteY17" fmla="*/ 101510 h 969516"/>
              <a:gd name="connsiteX18" fmla="*/ 110014 w 4299004"/>
              <a:gd name="connsiteY18" fmla="*/ 109969 h 969516"/>
              <a:gd name="connsiteX19" fmla="*/ 114245 w 4299004"/>
              <a:gd name="connsiteY19" fmla="*/ 112084 h 969516"/>
              <a:gd name="connsiteX20" fmla="*/ 131171 w 4299004"/>
              <a:gd name="connsiteY20" fmla="*/ 124773 h 969516"/>
              <a:gd name="connsiteX21" fmla="*/ 137518 w 4299004"/>
              <a:gd name="connsiteY21" fmla="*/ 126888 h 969516"/>
              <a:gd name="connsiteX22" fmla="*/ 150211 w 4299004"/>
              <a:gd name="connsiteY22" fmla="*/ 135347 h 969516"/>
              <a:gd name="connsiteX23" fmla="*/ 158674 w 4299004"/>
              <a:gd name="connsiteY23" fmla="*/ 139577 h 969516"/>
              <a:gd name="connsiteX24" fmla="*/ 173484 w 4299004"/>
              <a:gd name="connsiteY24" fmla="*/ 148036 h 969516"/>
              <a:gd name="connsiteX25" fmla="*/ 179831 w 4299004"/>
              <a:gd name="connsiteY25" fmla="*/ 152265 h 969516"/>
              <a:gd name="connsiteX26" fmla="*/ 200987 w 4299004"/>
              <a:gd name="connsiteY26" fmla="*/ 162839 h 969516"/>
              <a:gd name="connsiteX27" fmla="*/ 222143 w 4299004"/>
              <a:gd name="connsiteY27" fmla="*/ 173413 h 969516"/>
              <a:gd name="connsiteX28" fmla="*/ 232722 w 4299004"/>
              <a:gd name="connsiteY28" fmla="*/ 179758 h 969516"/>
              <a:gd name="connsiteX29" fmla="*/ 520450 w 4299004"/>
              <a:gd name="connsiteY29" fmla="*/ 287612 h 969516"/>
              <a:gd name="connsiteX30" fmla="*/ 522566 w 4299004"/>
              <a:gd name="connsiteY30" fmla="*/ 287612 h 969516"/>
              <a:gd name="connsiteX31" fmla="*/ 1062057 w 4299004"/>
              <a:gd name="connsiteY31" fmla="*/ 399696 h 969516"/>
              <a:gd name="connsiteX32" fmla="*/ 1095908 w 4299004"/>
              <a:gd name="connsiteY32" fmla="*/ 403926 h 969516"/>
              <a:gd name="connsiteX33" fmla="*/ 3099430 w 4299004"/>
              <a:gd name="connsiteY33" fmla="*/ 420844 h 969516"/>
              <a:gd name="connsiteX34" fmla="*/ 3143858 w 4299004"/>
              <a:gd name="connsiteY34" fmla="*/ 416615 h 969516"/>
              <a:gd name="connsiteX35" fmla="*/ 3154437 w 4299004"/>
              <a:gd name="connsiteY35" fmla="*/ 414500 h 969516"/>
              <a:gd name="connsiteX36" fmla="*/ 3196750 w 4299004"/>
              <a:gd name="connsiteY36" fmla="*/ 408156 h 969516"/>
              <a:gd name="connsiteX37" fmla="*/ 3203097 w 4299004"/>
              <a:gd name="connsiteY37" fmla="*/ 408156 h 969516"/>
              <a:gd name="connsiteX38" fmla="*/ 3234831 w 4299004"/>
              <a:gd name="connsiteY38" fmla="*/ 403926 h 969516"/>
              <a:gd name="connsiteX39" fmla="*/ 3241178 w 4299004"/>
              <a:gd name="connsiteY39" fmla="*/ 401811 h 969516"/>
              <a:gd name="connsiteX40" fmla="*/ 3247525 w 4299004"/>
              <a:gd name="connsiteY40" fmla="*/ 401811 h 969516"/>
              <a:gd name="connsiteX41" fmla="*/ 3289838 w 4299004"/>
              <a:gd name="connsiteY41" fmla="*/ 395467 h 969516"/>
              <a:gd name="connsiteX42" fmla="*/ 3298301 w 4299004"/>
              <a:gd name="connsiteY42" fmla="*/ 393352 h 969516"/>
              <a:gd name="connsiteX43" fmla="*/ 3338498 w 4299004"/>
              <a:gd name="connsiteY43" fmla="*/ 387008 h 969516"/>
              <a:gd name="connsiteX44" fmla="*/ 3340614 w 4299004"/>
              <a:gd name="connsiteY44" fmla="*/ 387008 h 969516"/>
              <a:gd name="connsiteX45" fmla="*/ 3378696 w 4299004"/>
              <a:gd name="connsiteY45" fmla="*/ 380663 h 969516"/>
              <a:gd name="connsiteX46" fmla="*/ 3387158 w 4299004"/>
              <a:gd name="connsiteY46" fmla="*/ 378548 h 969516"/>
              <a:gd name="connsiteX47" fmla="*/ 3425240 w 4299004"/>
              <a:gd name="connsiteY47" fmla="*/ 372204 h 969516"/>
              <a:gd name="connsiteX48" fmla="*/ 3433703 w 4299004"/>
              <a:gd name="connsiteY48" fmla="*/ 372204 h 969516"/>
              <a:gd name="connsiteX49" fmla="*/ 3467553 w 4299004"/>
              <a:gd name="connsiteY49" fmla="*/ 365860 h 969516"/>
              <a:gd name="connsiteX50" fmla="*/ 3471784 w 4299004"/>
              <a:gd name="connsiteY50" fmla="*/ 363745 h 969516"/>
              <a:gd name="connsiteX51" fmla="*/ 3509866 w 4299004"/>
              <a:gd name="connsiteY51" fmla="*/ 357401 h 969516"/>
              <a:gd name="connsiteX52" fmla="*/ 3518329 w 4299004"/>
              <a:gd name="connsiteY52" fmla="*/ 355286 h 969516"/>
              <a:gd name="connsiteX53" fmla="*/ 3554295 w 4299004"/>
              <a:gd name="connsiteY53" fmla="*/ 346826 h 969516"/>
              <a:gd name="connsiteX54" fmla="*/ 3556410 w 4299004"/>
              <a:gd name="connsiteY54" fmla="*/ 346826 h 969516"/>
              <a:gd name="connsiteX55" fmla="*/ 3590261 w 4299004"/>
              <a:gd name="connsiteY55" fmla="*/ 340482 h 969516"/>
              <a:gd name="connsiteX56" fmla="*/ 3596608 w 4299004"/>
              <a:gd name="connsiteY56" fmla="*/ 338367 h 969516"/>
              <a:gd name="connsiteX57" fmla="*/ 3630458 w 4299004"/>
              <a:gd name="connsiteY57" fmla="*/ 329908 h 969516"/>
              <a:gd name="connsiteX58" fmla="*/ 3636805 w 4299004"/>
              <a:gd name="connsiteY58" fmla="*/ 327793 h 969516"/>
              <a:gd name="connsiteX59" fmla="*/ 3668540 w 4299004"/>
              <a:gd name="connsiteY59" fmla="*/ 321449 h 969516"/>
              <a:gd name="connsiteX60" fmla="*/ 3672771 w 4299004"/>
              <a:gd name="connsiteY60" fmla="*/ 319334 h 969516"/>
              <a:gd name="connsiteX61" fmla="*/ 3704506 w 4299004"/>
              <a:gd name="connsiteY61" fmla="*/ 310875 h 969516"/>
              <a:gd name="connsiteX62" fmla="*/ 3712969 w 4299004"/>
              <a:gd name="connsiteY62" fmla="*/ 310875 h 969516"/>
              <a:gd name="connsiteX63" fmla="*/ 3744703 w 4299004"/>
              <a:gd name="connsiteY63" fmla="*/ 302416 h 969516"/>
              <a:gd name="connsiteX64" fmla="*/ 3746819 w 4299004"/>
              <a:gd name="connsiteY64" fmla="*/ 300301 h 969516"/>
              <a:gd name="connsiteX65" fmla="*/ 3776438 w 4299004"/>
              <a:gd name="connsiteY65" fmla="*/ 291842 h 969516"/>
              <a:gd name="connsiteX66" fmla="*/ 3780669 w 4299004"/>
              <a:gd name="connsiteY66" fmla="*/ 291842 h 969516"/>
              <a:gd name="connsiteX67" fmla="*/ 3806057 w 4299004"/>
              <a:gd name="connsiteY67" fmla="*/ 283383 h 969516"/>
              <a:gd name="connsiteX68" fmla="*/ 3810289 w 4299004"/>
              <a:gd name="connsiteY68" fmla="*/ 281268 h 969516"/>
              <a:gd name="connsiteX69" fmla="*/ 3814520 w 4299004"/>
              <a:gd name="connsiteY69" fmla="*/ 281268 h 969516"/>
              <a:gd name="connsiteX70" fmla="*/ 3816636 w 4299004"/>
              <a:gd name="connsiteY70" fmla="*/ 281268 h 969516"/>
              <a:gd name="connsiteX71" fmla="*/ 3846255 w 4299004"/>
              <a:gd name="connsiteY71" fmla="*/ 270694 h 969516"/>
              <a:gd name="connsiteX72" fmla="*/ 3875874 w 4299004"/>
              <a:gd name="connsiteY72" fmla="*/ 262235 h 969516"/>
              <a:gd name="connsiteX73" fmla="*/ 3880105 w 4299004"/>
              <a:gd name="connsiteY73" fmla="*/ 260120 h 969516"/>
              <a:gd name="connsiteX74" fmla="*/ 3907609 w 4299004"/>
              <a:gd name="connsiteY74" fmla="*/ 251661 h 969516"/>
              <a:gd name="connsiteX75" fmla="*/ 3911840 w 4299004"/>
              <a:gd name="connsiteY75" fmla="*/ 249546 h 969516"/>
              <a:gd name="connsiteX76" fmla="*/ 3935112 w 4299004"/>
              <a:gd name="connsiteY76" fmla="*/ 241087 h 969516"/>
              <a:gd name="connsiteX77" fmla="*/ 3939343 w 4299004"/>
              <a:gd name="connsiteY77" fmla="*/ 238972 h 969516"/>
              <a:gd name="connsiteX78" fmla="*/ 3964731 w 4299004"/>
              <a:gd name="connsiteY78" fmla="*/ 230513 h 969516"/>
              <a:gd name="connsiteX79" fmla="*/ 3971078 w 4299004"/>
              <a:gd name="connsiteY79" fmla="*/ 228398 h 969516"/>
              <a:gd name="connsiteX80" fmla="*/ 3994350 w 4299004"/>
              <a:gd name="connsiteY80" fmla="*/ 217824 h 969516"/>
              <a:gd name="connsiteX81" fmla="*/ 4017622 w 4299004"/>
              <a:gd name="connsiteY81" fmla="*/ 207250 h 969516"/>
              <a:gd name="connsiteX82" fmla="*/ 4023969 w 4299004"/>
              <a:gd name="connsiteY82" fmla="*/ 205135 h 969516"/>
              <a:gd name="connsiteX83" fmla="*/ 4045126 w 4299004"/>
              <a:gd name="connsiteY83" fmla="*/ 196676 h 969516"/>
              <a:gd name="connsiteX84" fmla="*/ 4049357 w 4299004"/>
              <a:gd name="connsiteY84" fmla="*/ 194561 h 969516"/>
              <a:gd name="connsiteX85" fmla="*/ 4059935 w 4299004"/>
              <a:gd name="connsiteY85" fmla="*/ 188217 h 969516"/>
              <a:gd name="connsiteX86" fmla="*/ 4066282 w 4299004"/>
              <a:gd name="connsiteY86" fmla="*/ 186102 h 969516"/>
              <a:gd name="connsiteX87" fmla="*/ 4068398 w 4299004"/>
              <a:gd name="connsiteY87" fmla="*/ 183987 h 969516"/>
              <a:gd name="connsiteX88" fmla="*/ 4070514 w 4299004"/>
              <a:gd name="connsiteY88" fmla="*/ 183987 h 969516"/>
              <a:gd name="connsiteX89" fmla="*/ 4072629 w 4299004"/>
              <a:gd name="connsiteY89" fmla="*/ 181872 h 969516"/>
              <a:gd name="connsiteX90" fmla="*/ 4078976 w 4299004"/>
              <a:gd name="connsiteY90" fmla="*/ 179758 h 969516"/>
              <a:gd name="connsiteX91" fmla="*/ 4083208 w 4299004"/>
              <a:gd name="connsiteY91" fmla="*/ 177643 h 969516"/>
              <a:gd name="connsiteX92" fmla="*/ 4104364 w 4299004"/>
              <a:gd name="connsiteY92" fmla="*/ 167069 h 969516"/>
              <a:gd name="connsiteX93" fmla="*/ 4108595 w 4299004"/>
              <a:gd name="connsiteY93" fmla="*/ 164954 h 969516"/>
              <a:gd name="connsiteX94" fmla="*/ 4127636 w 4299004"/>
              <a:gd name="connsiteY94" fmla="*/ 154380 h 969516"/>
              <a:gd name="connsiteX95" fmla="*/ 4146677 w 4299004"/>
              <a:gd name="connsiteY95" fmla="*/ 143806 h 969516"/>
              <a:gd name="connsiteX96" fmla="*/ 4150909 w 4299004"/>
              <a:gd name="connsiteY96" fmla="*/ 141691 h 969516"/>
              <a:gd name="connsiteX97" fmla="*/ 4167834 w 4299004"/>
              <a:gd name="connsiteY97" fmla="*/ 131117 h 969516"/>
              <a:gd name="connsiteX98" fmla="*/ 4169949 w 4299004"/>
              <a:gd name="connsiteY98" fmla="*/ 129003 h 969516"/>
              <a:gd name="connsiteX99" fmla="*/ 4184759 w 4299004"/>
              <a:gd name="connsiteY99" fmla="*/ 118429 h 969516"/>
              <a:gd name="connsiteX100" fmla="*/ 4186875 w 4299004"/>
              <a:gd name="connsiteY100" fmla="*/ 118429 h 969516"/>
              <a:gd name="connsiteX101" fmla="*/ 4201684 w 4299004"/>
              <a:gd name="connsiteY101" fmla="*/ 107855 h 969516"/>
              <a:gd name="connsiteX102" fmla="*/ 4205916 w 4299004"/>
              <a:gd name="connsiteY102" fmla="*/ 105740 h 969516"/>
              <a:gd name="connsiteX103" fmla="*/ 4220725 w 4299004"/>
              <a:gd name="connsiteY103" fmla="*/ 93051 h 969516"/>
              <a:gd name="connsiteX104" fmla="*/ 4233419 w 4299004"/>
              <a:gd name="connsiteY104" fmla="*/ 82477 h 969516"/>
              <a:gd name="connsiteX105" fmla="*/ 4237650 w 4299004"/>
              <a:gd name="connsiteY105" fmla="*/ 80362 h 969516"/>
              <a:gd name="connsiteX106" fmla="*/ 4248229 w 4299004"/>
              <a:gd name="connsiteY106" fmla="*/ 69788 h 969516"/>
              <a:gd name="connsiteX107" fmla="*/ 4250344 w 4299004"/>
              <a:gd name="connsiteY107" fmla="*/ 67674 h 969516"/>
              <a:gd name="connsiteX108" fmla="*/ 4260923 w 4299004"/>
              <a:gd name="connsiteY108" fmla="*/ 57100 h 969516"/>
              <a:gd name="connsiteX109" fmla="*/ 4263038 w 4299004"/>
              <a:gd name="connsiteY109" fmla="*/ 54985 h 969516"/>
              <a:gd name="connsiteX110" fmla="*/ 4273616 w 4299004"/>
              <a:gd name="connsiteY110" fmla="*/ 44411 h 969516"/>
              <a:gd name="connsiteX111" fmla="*/ 4275732 w 4299004"/>
              <a:gd name="connsiteY111" fmla="*/ 42296 h 969516"/>
              <a:gd name="connsiteX112" fmla="*/ 4284195 w 4299004"/>
              <a:gd name="connsiteY112" fmla="*/ 29607 h 969516"/>
              <a:gd name="connsiteX113" fmla="*/ 4289389 w 4299004"/>
              <a:gd name="connsiteY113" fmla="*/ 23116 h 969516"/>
              <a:gd name="connsiteX114" fmla="*/ 3975309 w 4299004"/>
              <a:gd name="connsiteY114" fmla="*/ 570995 h 969516"/>
              <a:gd name="connsiteX115" fmla="*/ 3973194 w 4299004"/>
              <a:gd name="connsiteY115" fmla="*/ 573110 h 969516"/>
              <a:gd name="connsiteX116" fmla="*/ 3973194 w 4299004"/>
              <a:gd name="connsiteY116" fmla="*/ 575224 h 969516"/>
              <a:gd name="connsiteX117" fmla="*/ 3971078 w 4299004"/>
              <a:gd name="connsiteY117" fmla="*/ 577339 h 969516"/>
              <a:gd name="connsiteX118" fmla="*/ 3966847 w 4299004"/>
              <a:gd name="connsiteY118" fmla="*/ 585798 h 969516"/>
              <a:gd name="connsiteX119" fmla="*/ 3962616 w 4299004"/>
              <a:gd name="connsiteY119" fmla="*/ 590028 h 969516"/>
              <a:gd name="connsiteX120" fmla="*/ 3956269 w 4299004"/>
              <a:gd name="connsiteY120" fmla="*/ 598487 h 969516"/>
              <a:gd name="connsiteX121" fmla="*/ 3952037 w 4299004"/>
              <a:gd name="connsiteY121" fmla="*/ 602717 h 969516"/>
              <a:gd name="connsiteX122" fmla="*/ 3943575 w 4299004"/>
              <a:gd name="connsiteY122" fmla="*/ 613291 h 969516"/>
              <a:gd name="connsiteX123" fmla="*/ 3941459 w 4299004"/>
              <a:gd name="connsiteY123" fmla="*/ 615406 h 969516"/>
              <a:gd name="connsiteX124" fmla="*/ 3928765 w 4299004"/>
              <a:gd name="connsiteY124" fmla="*/ 628094 h 969516"/>
              <a:gd name="connsiteX125" fmla="*/ 3926649 w 4299004"/>
              <a:gd name="connsiteY125" fmla="*/ 632324 h 969516"/>
              <a:gd name="connsiteX126" fmla="*/ 3916071 w 4299004"/>
              <a:gd name="connsiteY126" fmla="*/ 640783 h 969516"/>
              <a:gd name="connsiteX127" fmla="*/ 3911840 w 4299004"/>
              <a:gd name="connsiteY127" fmla="*/ 645013 h 969516"/>
              <a:gd name="connsiteX128" fmla="*/ 3901262 w 4299004"/>
              <a:gd name="connsiteY128" fmla="*/ 653472 h 969516"/>
              <a:gd name="connsiteX129" fmla="*/ 3894915 w 4299004"/>
              <a:gd name="connsiteY129" fmla="*/ 657701 h 969516"/>
              <a:gd name="connsiteX130" fmla="*/ 3882221 w 4299004"/>
              <a:gd name="connsiteY130" fmla="*/ 666161 h 969516"/>
              <a:gd name="connsiteX131" fmla="*/ 3877989 w 4299004"/>
              <a:gd name="connsiteY131" fmla="*/ 668275 h 969516"/>
              <a:gd name="connsiteX132" fmla="*/ 3861064 w 4299004"/>
              <a:gd name="connsiteY132" fmla="*/ 680964 h 969516"/>
              <a:gd name="connsiteX133" fmla="*/ 3854717 w 4299004"/>
              <a:gd name="connsiteY133" fmla="*/ 683079 h 969516"/>
              <a:gd name="connsiteX134" fmla="*/ 3850486 w 4299004"/>
              <a:gd name="connsiteY134" fmla="*/ 687309 h 969516"/>
              <a:gd name="connsiteX135" fmla="*/ 3842023 w 4299004"/>
              <a:gd name="connsiteY135" fmla="*/ 691538 h 969516"/>
              <a:gd name="connsiteX136" fmla="*/ 3835676 w 4299004"/>
              <a:gd name="connsiteY136" fmla="*/ 695768 h 969516"/>
              <a:gd name="connsiteX137" fmla="*/ 3833561 w 4299004"/>
              <a:gd name="connsiteY137" fmla="*/ 695768 h 969516"/>
              <a:gd name="connsiteX138" fmla="*/ 3820867 w 4299004"/>
              <a:gd name="connsiteY138" fmla="*/ 704227 h 969516"/>
              <a:gd name="connsiteX139" fmla="*/ 3812404 w 4299004"/>
              <a:gd name="connsiteY139" fmla="*/ 708457 h 969516"/>
              <a:gd name="connsiteX140" fmla="*/ 3795479 w 4299004"/>
              <a:gd name="connsiteY140" fmla="*/ 716916 h 969516"/>
              <a:gd name="connsiteX141" fmla="*/ 3791248 w 4299004"/>
              <a:gd name="connsiteY141" fmla="*/ 719031 h 969516"/>
              <a:gd name="connsiteX142" fmla="*/ 3765860 w 4299004"/>
              <a:gd name="connsiteY142" fmla="*/ 729605 h 969516"/>
              <a:gd name="connsiteX143" fmla="*/ 3761629 w 4299004"/>
              <a:gd name="connsiteY143" fmla="*/ 733834 h 969516"/>
              <a:gd name="connsiteX144" fmla="*/ 3742588 w 4299004"/>
              <a:gd name="connsiteY144" fmla="*/ 742293 h 969516"/>
              <a:gd name="connsiteX145" fmla="*/ 3732010 w 4299004"/>
              <a:gd name="connsiteY145" fmla="*/ 744408 h 969516"/>
              <a:gd name="connsiteX146" fmla="*/ 3715084 w 4299004"/>
              <a:gd name="connsiteY146" fmla="*/ 752867 h 969516"/>
              <a:gd name="connsiteX147" fmla="*/ 3706622 w 4299004"/>
              <a:gd name="connsiteY147" fmla="*/ 757097 h 969516"/>
              <a:gd name="connsiteX148" fmla="*/ 3685465 w 4299004"/>
              <a:gd name="connsiteY148" fmla="*/ 763441 h 969516"/>
              <a:gd name="connsiteX149" fmla="*/ 3679118 w 4299004"/>
              <a:gd name="connsiteY149" fmla="*/ 767671 h 969516"/>
              <a:gd name="connsiteX150" fmla="*/ 3649499 w 4299004"/>
              <a:gd name="connsiteY150" fmla="*/ 778245 h 969516"/>
              <a:gd name="connsiteX151" fmla="*/ 3643152 w 4299004"/>
              <a:gd name="connsiteY151" fmla="*/ 780360 h 969516"/>
              <a:gd name="connsiteX152" fmla="*/ 3619880 w 4299004"/>
              <a:gd name="connsiteY152" fmla="*/ 786704 h 969516"/>
              <a:gd name="connsiteX153" fmla="*/ 3609302 w 4299004"/>
              <a:gd name="connsiteY153" fmla="*/ 790934 h 969516"/>
              <a:gd name="connsiteX154" fmla="*/ 3588145 w 4299004"/>
              <a:gd name="connsiteY154" fmla="*/ 797278 h 969516"/>
              <a:gd name="connsiteX155" fmla="*/ 3575451 w 4299004"/>
              <a:gd name="connsiteY155" fmla="*/ 801508 h 969516"/>
              <a:gd name="connsiteX156" fmla="*/ 3560642 w 4299004"/>
              <a:gd name="connsiteY156" fmla="*/ 805737 h 969516"/>
              <a:gd name="connsiteX157" fmla="*/ 3552179 w 4299004"/>
              <a:gd name="connsiteY157" fmla="*/ 807852 h 969516"/>
              <a:gd name="connsiteX158" fmla="*/ 3543717 w 4299004"/>
              <a:gd name="connsiteY158" fmla="*/ 812082 h 969516"/>
              <a:gd name="connsiteX159" fmla="*/ 3509866 w 4299004"/>
              <a:gd name="connsiteY159" fmla="*/ 820541 h 969516"/>
              <a:gd name="connsiteX160" fmla="*/ 3503519 w 4299004"/>
              <a:gd name="connsiteY160" fmla="*/ 822655 h 969516"/>
              <a:gd name="connsiteX161" fmla="*/ 3473900 w 4299004"/>
              <a:gd name="connsiteY161" fmla="*/ 831115 h 969516"/>
              <a:gd name="connsiteX162" fmla="*/ 3461206 w 4299004"/>
              <a:gd name="connsiteY162" fmla="*/ 833229 h 969516"/>
              <a:gd name="connsiteX163" fmla="*/ 3437934 w 4299004"/>
              <a:gd name="connsiteY163" fmla="*/ 839574 h 969516"/>
              <a:gd name="connsiteX164" fmla="*/ 3423124 w 4299004"/>
              <a:gd name="connsiteY164" fmla="*/ 841689 h 969516"/>
              <a:gd name="connsiteX165" fmla="*/ 3397737 w 4299004"/>
              <a:gd name="connsiteY165" fmla="*/ 848033 h 969516"/>
              <a:gd name="connsiteX166" fmla="*/ 3385043 w 4299004"/>
              <a:gd name="connsiteY166" fmla="*/ 852263 h 969516"/>
              <a:gd name="connsiteX167" fmla="*/ 3346961 w 4299004"/>
              <a:gd name="connsiteY167" fmla="*/ 860722 h 969516"/>
              <a:gd name="connsiteX168" fmla="*/ 3340614 w 4299004"/>
              <a:gd name="connsiteY168" fmla="*/ 860722 h 969516"/>
              <a:gd name="connsiteX169" fmla="*/ 3306764 w 4299004"/>
              <a:gd name="connsiteY169" fmla="*/ 869181 h 969516"/>
              <a:gd name="connsiteX170" fmla="*/ 3294070 w 4299004"/>
              <a:gd name="connsiteY170" fmla="*/ 871296 h 969516"/>
              <a:gd name="connsiteX171" fmla="*/ 3264451 w 4299004"/>
              <a:gd name="connsiteY171" fmla="*/ 875525 h 969516"/>
              <a:gd name="connsiteX172" fmla="*/ 3249641 w 4299004"/>
              <a:gd name="connsiteY172" fmla="*/ 879755 h 969516"/>
              <a:gd name="connsiteX173" fmla="*/ 3220022 w 4299004"/>
              <a:gd name="connsiteY173" fmla="*/ 883985 h 969516"/>
              <a:gd name="connsiteX174" fmla="*/ 3207328 w 4299004"/>
              <a:gd name="connsiteY174" fmla="*/ 886099 h 969516"/>
              <a:gd name="connsiteX175" fmla="*/ 3162899 w 4299004"/>
              <a:gd name="connsiteY175" fmla="*/ 894559 h 969516"/>
              <a:gd name="connsiteX176" fmla="*/ 3160784 w 4299004"/>
              <a:gd name="connsiteY176" fmla="*/ 894559 h 969516"/>
              <a:gd name="connsiteX177" fmla="*/ 3118471 w 4299004"/>
              <a:gd name="connsiteY177" fmla="*/ 900903 h 969516"/>
              <a:gd name="connsiteX178" fmla="*/ 3103661 w 4299004"/>
              <a:gd name="connsiteY178" fmla="*/ 903018 h 969516"/>
              <a:gd name="connsiteX179" fmla="*/ 3071926 w 4299004"/>
              <a:gd name="connsiteY179" fmla="*/ 907247 h 969516"/>
              <a:gd name="connsiteX180" fmla="*/ 3057117 w 4299004"/>
              <a:gd name="connsiteY180" fmla="*/ 911477 h 969516"/>
              <a:gd name="connsiteX181" fmla="*/ 3023266 w 4299004"/>
              <a:gd name="connsiteY181" fmla="*/ 915706 h 969516"/>
              <a:gd name="connsiteX182" fmla="*/ 3008457 w 4299004"/>
              <a:gd name="connsiteY182" fmla="*/ 917821 h 969516"/>
              <a:gd name="connsiteX183" fmla="*/ 2959797 w 4299004"/>
              <a:gd name="connsiteY183" fmla="*/ 924166 h 969516"/>
              <a:gd name="connsiteX184" fmla="*/ 2909021 w 4299004"/>
              <a:gd name="connsiteY184" fmla="*/ 928395 h 969516"/>
              <a:gd name="connsiteX185" fmla="*/ 2314523 w 4299004"/>
              <a:gd name="connsiteY185" fmla="*/ 968576 h 969516"/>
              <a:gd name="connsiteX186" fmla="*/ 2312407 w 4299004"/>
              <a:gd name="connsiteY186" fmla="*/ 968576 h 969516"/>
              <a:gd name="connsiteX187" fmla="*/ 2306060 w 4299004"/>
              <a:gd name="connsiteY187" fmla="*/ 968576 h 969516"/>
              <a:gd name="connsiteX188" fmla="*/ 2278557 w 4299004"/>
              <a:gd name="connsiteY188" fmla="*/ 968576 h 969516"/>
              <a:gd name="connsiteX189" fmla="*/ 2016216 w 4299004"/>
              <a:gd name="connsiteY189" fmla="*/ 968576 h 969516"/>
              <a:gd name="connsiteX190" fmla="*/ 1990828 w 4299004"/>
              <a:gd name="connsiteY190" fmla="*/ 966462 h 969516"/>
              <a:gd name="connsiteX191" fmla="*/ 1982366 w 4299004"/>
              <a:gd name="connsiteY191" fmla="*/ 966462 h 969516"/>
              <a:gd name="connsiteX192" fmla="*/ 1385752 w 4299004"/>
              <a:gd name="connsiteY192" fmla="*/ 926280 h 969516"/>
              <a:gd name="connsiteX193" fmla="*/ 495063 w 4299004"/>
              <a:gd name="connsiteY193" fmla="*/ 708457 h 969516"/>
              <a:gd name="connsiteX194" fmla="*/ 478137 w 4299004"/>
              <a:gd name="connsiteY194" fmla="*/ 699997 h 969516"/>
              <a:gd name="connsiteX195" fmla="*/ 473906 w 4299004"/>
              <a:gd name="connsiteY195" fmla="*/ 697883 h 969516"/>
              <a:gd name="connsiteX196" fmla="*/ 465444 w 4299004"/>
              <a:gd name="connsiteY196" fmla="*/ 691538 h 969516"/>
              <a:gd name="connsiteX197" fmla="*/ 461212 w 4299004"/>
              <a:gd name="connsiteY197" fmla="*/ 689423 h 969516"/>
              <a:gd name="connsiteX198" fmla="*/ 459096 w 4299004"/>
              <a:gd name="connsiteY198" fmla="*/ 687309 h 969516"/>
              <a:gd name="connsiteX199" fmla="*/ 450634 w 4299004"/>
              <a:gd name="connsiteY199" fmla="*/ 683079 h 969516"/>
              <a:gd name="connsiteX200" fmla="*/ 448518 w 4299004"/>
              <a:gd name="connsiteY200" fmla="*/ 680964 h 969516"/>
              <a:gd name="connsiteX201" fmla="*/ 444287 w 4299004"/>
              <a:gd name="connsiteY201" fmla="*/ 680964 h 969516"/>
              <a:gd name="connsiteX202" fmla="*/ 437940 w 4299004"/>
              <a:gd name="connsiteY202" fmla="*/ 674620 h 969516"/>
              <a:gd name="connsiteX203" fmla="*/ 431593 w 4299004"/>
              <a:gd name="connsiteY203" fmla="*/ 672505 h 969516"/>
              <a:gd name="connsiteX204" fmla="*/ 425246 w 4299004"/>
              <a:gd name="connsiteY204" fmla="*/ 666161 h 969516"/>
              <a:gd name="connsiteX205" fmla="*/ 418899 w 4299004"/>
              <a:gd name="connsiteY205" fmla="*/ 664046 h 969516"/>
              <a:gd name="connsiteX206" fmla="*/ 412552 w 4299004"/>
              <a:gd name="connsiteY206" fmla="*/ 657701 h 969516"/>
              <a:gd name="connsiteX207" fmla="*/ 408321 w 4299004"/>
              <a:gd name="connsiteY207" fmla="*/ 655587 h 969516"/>
              <a:gd name="connsiteX208" fmla="*/ 399858 w 4299004"/>
              <a:gd name="connsiteY208" fmla="*/ 649242 h 969516"/>
              <a:gd name="connsiteX209" fmla="*/ 397743 w 4299004"/>
              <a:gd name="connsiteY209" fmla="*/ 647127 h 969516"/>
              <a:gd name="connsiteX210" fmla="*/ 387164 w 4299004"/>
              <a:gd name="connsiteY210" fmla="*/ 640783 h 969516"/>
              <a:gd name="connsiteX211" fmla="*/ 387164 w 4299004"/>
              <a:gd name="connsiteY211" fmla="*/ 638668 h 969516"/>
              <a:gd name="connsiteX212" fmla="*/ 376586 w 4299004"/>
              <a:gd name="connsiteY212" fmla="*/ 630209 h 969516"/>
              <a:gd name="connsiteX213" fmla="*/ 374470 w 4299004"/>
              <a:gd name="connsiteY213" fmla="*/ 628094 h 969516"/>
              <a:gd name="connsiteX214" fmla="*/ 368124 w 4299004"/>
              <a:gd name="connsiteY214" fmla="*/ 621750 h 969516"/>
              <a:gd name="connsiteX215" fmla="*/ 363892 w 4299004"/>
              <a:gd name="connsiteY215" fmla="*/ 619635 h 969516"/>
              <a:gd name="connsiteX216" fmla="*/ 359661 w 4299004"/>
              <a:gd name="connsiteY216" fmla="*/ 613291 h 969516"/>
              <a:gd name="connsiteX217" fmla="*/ 355430 w 4299004"/>
              <a:gd name="connsiteY217" fmla="*/ 611176 h 969516"/>
              <a:gd name="connsiteX218" fmla="*/ 351198 w 4299004"/>
              <a:gd name="connsiteY218" fmla="*/ 604832 h 969516"/>
              <a:gd name="connsiteX219" fmla="*/ 349083 w 4299004"/>
              <a:gd name="connsiteY219" fmla="*/ 602717 h 969516"/>
              <a:gd name="connsiteX220" fmla="*/ 344851 w 4299004"/>
              <a:gd name="connsiteY220" fmla="*/ 596372 h 969516"/>
              <a:gd name="connsiteX221" fmla="*/ 340620 w 4299004"/>
              <a:gd name="connsiteY221" fmla="*/ 594258 h 969516"/>
              <a:gd name="connsiteX222" fmla="*/ 336389 w 4299004"/>
              <a:gd name="connsiteY222" fmla="*/ 587913 h 969516"/>
              <a:gd name="connsiteX223" fmla="*/ 334273 w 4299004"/>
              <a:gd name="connsiteY223" fmla="*/ 585798 h 969516"/>
              <a:gd name="connsiteX224" fmla="*/ 332157 w 4299004"/>
              <a:gd name="connsiteY224" fmla="*/ 579454 h 969516"/>
              <a:gd name="connsiteX225" fmla="*/ 330042 w 4299004"/>
              <a:gd name="connsiteY225" fmla="*/ 577339 h 969516"/>
              <a:gd name="connsiteX226" fmla="*/ 325811 w 4299004"/>
              <a:gd name="connsiteY226" fmla="*/ 570995 h 969516"/>
              <a:gd name="connsiteX227" fmla="*/ 323695 w 4299004"/>
              <a:gd name="connsiteY227" fmla="*/ 568880 h 969516"/>
              <a:gd name="connsiteX228" fmla="*/ 323695 w 4299004"/>
              <a:gd name="connsiteY228" fmla="*/ 566765 h 969516"/>
              <a:gd name="connsiteX229" fmla="*/ 321579 w 4299004"/>
              <a:gd name="connsiteY229" fmla="*/ 564650 h 969516"/>
              <a:gd name="connsiteX230" fmla="*/ 4299004 w 4299004"/>
              <a:gd name="connsiteY230" fmla="*/ 6344 h 969516"/>
              <a:gd name="connsiteX231" fmla="*/ 4292657 w 4299004"/>
              <a:gd name="connsiteY231" fmla="*/ 17416 h 969516"/>
              <a:gd name="connsiteX232" fmla="*/ 4292657 w 4299004"/>
              <a:gd name="connsiteY232" fmla="*/ 16918 h 969516"/>
              <a:gd name="connsiteX233" fmla="*/ 4299004 w 4299004"/>
              <a:gd name="connsiteY233" fmla="*/ 6344 h 969516"/>
              <a:gd name="connsiteX234" fmla="*/ 0 w 4299004"/>
              <a:gd name="connsiteY234" fmla="*/ 0 h 969516"/>
              <a:gd name="connsiteX235" fmla="*/ 6265 w 4299004"/>
              <a:gd name="connsiteY235" fmla="*/ 11000 h 969516"/>
              <a:gd name="connsiteX236" fmla="*/ 4231 w 4299004"/>
              <a:gd name="connsiteY236" fmla="*/ 8459 h 969516"/>
              <a:gd name="connsiteX237" fmla="*/ 2116 w 4299004"/>
              <a:gd name="connsiteY237" fmla="*/ 4230 h 969516"/>
              <a:gd name="connsiteX238" fmla="*/ 0 w 4299004"/>
              <a:gd name="connsiteY238" fmla="*/ 0 h 9695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Lst>
            <a:rect l="l" t="t" r="r" b="b"/>
            <a:pathLst>
              <a:path w="4299004" h="969516">
                <a:moveTo>
                  <a:pt x="4292657" y="17416"/>
                </a:moveTo>
                <a:lnTo>
                  <a:pt x="4292657" y="19033"/>
                </a:lnTo>
                <a:lnTo>
                  <a:pt x="4289389" y="23116"/>
                </a:lnTo>
                <a:close/>
                <a:moveTo>
                  <a:pt x="6265" y="11000"/>
                </a:moveTo>
                <a:lnTo>
                  <a:pt x="12694" y="19033"/>
                </a:lnTo>
                <a:cubicBezTo>
                  <a:pt x="12694" y="19033"/>
                  <a:pt x="12694" y="19033"/>
                  <a:pt x="12694" y="21148"/>
                </a:cubicBezTo>
                <a:cubicBezTo>
                  <a:pt x="16925" y="25378"/>
                  <a:pt x="19041" y="27492"/>
                  <a:pt x="23272" y="31722"/>
                </a:cubicBezTo>
                <a:cubicBezTo>
                  <a:pt x="23272" y="33837"/>
                  <a:pt x="25388" y="33837"/>
                  <a:pt x="25388" y="35952"/>
                </a:cubicBezTo>
                <a:cubicBezTo>
                  <a:pt x="27504" y="38066"/>
                  <a:pt x="29619" y="42296"/>
                  <a:pt x="33851" y="44411"/>
                </a:cubicBezTo>
                <a:cubicBezTo>
                  <a:pt x="33851" y="46526"/>
                  <a:pt x="35966" y="46526"/>
                  <a:pt x="38082" y="48640"/>
                </a:cubicBezTo>
                <a:cubicBezTo>
                  <a:pt x="40198" y="50755"/>
                  <a:pt x="42313" y="54985"/>
                  <a:pt x="44429" y="57100"/>
                </a:cubicBezTo>
                <a:cubicBezTo>
                  <a:pt x="46545" y="59214"/>
                  <a:pt x="48660" y="59214"/>
                  <a:pt x="48660" y="61329"/>
                </a:cubicBezTo>
                <a:cubicBezTo>
                  <a:pt x="52891" y="65559"/>
                  <a:pt x="57123" y="67674"/>
                  <a:pt x="61354" y="71903"/>
                </a:cubicBezTo>
                <a:cubicBezTo>
                  <a:pt x="61354" y="71903"/>
                  <a:pt x="61354" y="71903"/>
                  <a:pt x="63470" y="74018"/>
                </a:cubicBezTo>
                <a:cubicBezTo>
                  <a:pt x="67701" y="78247"/>
                  <a:pt x="71932" y="80362"/>
                  <a:pt x="76164" y="84592"/>
                </a:cubicBezTo>
                <a:cubicBezTo>
                  <a:pt x="78279" y="86707"/>
                  <a:pt x="78279" y="86707"/>
                  <a:pt x="80395" y="88821"/>
                </a:cubicBezTo>
                <a:cubicBezTo>
                  <a:pt x="84626" y="90936"/>
                  <a:pt x="88858" y="93051"/>
                  <a:pt x="90973" y="97281"/>
                </a:cubicBezTo>
                <a:cubicBezTo>
                  <a:pt x="93089" y="97281"/>
                  <a:pt x="95205" y="99395"/>
                  <a:pt x="97320" y="101510"/>
                </a:cubicBezTo>
                <a:cubicBezTo>
                  <a:pt x="101551" y="103625"/>
                  <a:pt x="105783" y="107855"/>
                  <a:pt x="110014" y="109969"/>
                </a:cubicBezTo>
                <a:cubicBezTo>
                  <a:pt x="112130" y="109969"/>
                  <a:pt x="112130" y="112084"/>
                  <a:pt x="114245" y="112084"/>
                </a:cubicBezTo>
                <a:cubicBezTo>
                  <a:pt x="120592" y="116314"/>
                  <a:pt x="124824" y="120543"/>
                  <a:pt x="131171" y="124773"/>
                </a:cubicBezTo>
                <a:cubicBezTo>
                  <a:pt x="133286" y="124773"/>
                  <a:pt x="135402" y="126888"/>
                  <a:pt x="137518" y="126888"/>
                </a:cubicBezTo>
                <a:cubicBezTo>
                  <a:pt x="141749" y="131117"/>
                  <a:pt x="145980" y="133232"/>
                  <a:pt x="150211" y="135347"/>
                </a:cubicBezTo>
                <a:cubicBezTo>
                  <a:pt x="154443" y="137462"/>
                  <a:pt x="156558" y="139577"/>
                  <a:pt x="158674" y="139577"/>
                </a:cubicBezTo>
                <a:cubicBezTo>
                  <a:pt x="162905" y="141691"/>
                  <a:pt x="167137" y="145921"/>
                  <a:pt x="173484" y="148036"/>
                </a:cubicBezTo>
                <a:cubicBezTo>
                  <a:pt x="175599" y="150151"/>
                  <a:pt x="177715" y="150151"/>
                  <a:pt x="179831" y="152265"/>
                </a:cubicBezTo>
                <a:cubicBezTo>
                  <a:pt x="186178" y="156495"/>
                  <a:pt x="192524" y="158610"/>
                  <a:pt x="200987" y="162839"/>
                </a:cubicBezTo>
                <a:cubicBezTo>
                  <a:pt x="207334" y="167069"/>
                  <a:pt x="215797" y="171298"/>
                  <a:pt x="222143" y="173413"/>
                </a:cubicBezTo>
                <a:cubicBezTo>
                  <a:pt x="226375" y="175528"/>
                  <a:pt x="228491" y="177643"/>
                  <a:pt x="232722" y="179758"/>
                </a:cubicBezTo>
                <a:cubicBezTo>
                  <a:pt x="313117" y="217824"/>
                  <a:pt x="410437" y="253775"/>
                  <a:pt x="520450" y="287612"/>
                </a:cubicBezTo>
                <a:cubicBezTo>
                  <a:pt x="520450" y="287612"/>
                  <a:pt x="520450" y="287612"/>
                  <a:pt x="522566" y="287612"/>
                </a:cubicBezTo>
                <a:cubicBezTo>
                  <a:pt x="679124" y="332023"/>
                  <a:pt x="861070" y="370089"/>
                  <a:pt x="1062057" y="399696"/>
                </a:cubicBezTo>
                <a:cubicBezTo>
                  <a:pt x="1072636" y="401811"/>
                  <a:pt x="1085329" y="403926"/>
                  <a:pt x="1095908" y="403926"/>
                </a:cubicBezTo>
                <a:cubicBezTo>
                  <a:pt x="1692521" y="490633"/>
                  <a:pt x="2439346" y="501207"/>
                  <a:pt x="3099430" y="420844"/>
                </a:cubicBezTo>
                <a:cubicBezTo>
                  <a:pt x="3114239" y="420844"/>
                  <a:pt x="3129049" y="418730"/>
                  <a:pt x="3143858" y="416615"/>
                </a:cubicBezTo>
                <a:cubicBezTo>
                  <a:pt x="3148090" y="416615"/>
                  <a:pt x="3150205" y="414500"/>
                  <a:pt x="3154437" y="414500"/>
                </a:cubicBezTo>
                <a:cubicBezTo>
                  <a:pt x="3167131" y="412385"/>
                  <a:pt x="3181940" y="410270"/>
                  <a:pt x="3196750" y="408156"/>
                </a:cubicBezTo>
                <a:cubicBezTo>
                  <a:pt x="3198865" y="408156"/>
                  <a:pt x="3200981" y="408156"/>
                  <a:pt x="3203097" y="408156"/>
                </a:cubicBezTo>
                <a:cubicBezTo>
                  <a:pt x="3213675" y="406041"/>
                  <a:pt x="3224253" y="406041"/>
                  <a:pt x="3234831" y="403926"/>
                </a:cubicBezTo>
                <a:cubicBezTo>
                  <a:pt x="3236947" y="403926"/>
                  <a:pt x="3239063" y="403926"/>
                  <a:pt x="3241178" y="401811"/>
                </a:cubicBezTo>
                <a:cubicBezTo>
                  <a:pt x="3243294" y="401811"/>
                  <a:pt x="3245410" y="401811"/>
                  <a:pt x="3247525" y="401811"/>
                </a:cubicBezTo>
                <a:cubicBezTo>
                  <a:pt x="3262335" y="399696"/>
                  <a:pt x="3275029" y="397582"/>
                  <a:pt x="3289838" y="395467"/>
                </a:cubicBezTo>
                <a:cubicBezTo>
                  <a:pt x="3291954" y="395467"/>
                  <a:pt x="3296185" y="395467"/>
                  <a:pt x="3298301" y="393352"/>
                </a:cubicBezTo>
                <a:cubicBezTo>
                  <a:pt x="3310995" y="391237"/>
                  <a:pt x="3325804" y="389122"/>
                  <a:pt x="3338498" y="387008"/>
                </a:cubicBezTo>
                <a:cubicBezTo>
                  <a:pt x="3338498" y="387008"/>
                  <a:pt x="3338498" y="387008"/>
                  <a:pt x="3340614" y="387008"/>
                </a:cubicBezTo>
                <a:cubicBezTo>
                  <a:pt x="3353308" y="384893"/>
                  <a:pt x="3366002" y="382778"/>
                  <a:pt x="3378696" y="380663"/>
                </a:cubicBezTo>
                <a:cubicBezTo>
                  <a:pt x="3382927" y="380663"/>
                  <a:pt x="3385043" y="380663"/>
                  <a:pt x="3387158" y="378548"/>
                </a:cubicBezTo>
                <a:cubicBezTo>
                  <a:pt x="3399852" y="376434"/>
                  <a:pt x="3412546" y="374319"/>
                  <a:pt x="3425240" y="372204"/>
                </a:cubicBezTo>
                <a:cubicBezTo>
                  <a:pt x="3427356" y="372204"/>
                  <a:pt x="3431587" y="372204"/>
                  <a:pt x="3433703" y="372204"/>
                </a:cubicBezTo>
                <a:cubicBezTo>
                  <a:pt x="3444281" y="370089"/>
                  <a:pt x="3456975" y="367975"/>
                  <a:pt x="3467553" y="365860"/>
                </a:cubicBezTo>
                <a:cubicBezTo>
                  <a:pt x="3469669" y="363745"/>
                  <a:pt x="3471784" y="363745"/>
                  <a:pt x="3471784" y="363745"/>
                </a:cubicBezTo>
                <a:cubicBezTo>
                  <a:pt x="3484478" y="361630"/>
                  <a:pt x="3497172" y="359515"/>
                  <a:pt x="3509866" y="357401"/>
                </a:cubicBezTo>
                <a:cubicBezTo>
                  <a:pt x="3511982" y="355286"/>
                  <a:pt x="3514097" y="355286"/>
                  <a:pt x="3518329" y="355286"/>
                </a:cubicBezTo>
                <a:cubicBezTo>
                  <a:pt x="3528907" y="353171"/>
                  <a:pt x="3541601" y="351056"/>
                  <a:pt x="3554295" y="346826"/>
                </a:cubicBezTo>
                <a:cubicBezTo>
                  <a:pt x="3554295" y="346826"/>
                  <a:pt x="3556410" y="346826"/>
                  <a:pt x="3556410" y="346826"/>
                </a:cubicBezTo>
                <a:cubicBezTo>
                  <a:pt x="3569104" y="344712"/>
                  <a:pt x="3579683" y="342597"/>
                  <a:pt x="3590261" y="340482"/>
                </a:cubicBezTo>
                <a:cubicBezTo>
                  <a:pt x="3592376" y="338367"/>
                  <a:pt x="3594492" y="338367"/>
                  <a:pt x="3596608" y="338367"/>
                </a:cubicBezTo>
                <a:cubicBezTo>
                  <a:pt x="3609302" y="336253"/>
                  <a:pt x="3619880" y="332023"/>
                  <a:pt x="3630458" y="329908"/>
                </a:cubicBezTo>
                <a:cubicBezTo>
                  <a:pt x="3632574" y="329908"/>
                  <a:pt x="3634690" y="329908"/>
                  <a:pt x="3636805" y="327793"/>
                </a:cubicBezTo>
                <a:cubicBezTo>
                  <a:pt x="3647383" y="325679"/>
                  <a:pt x="3657962" y="323564"/>
                  <a:pt x="3668540" y="321449"/>
                </a:cubicBezTo>
                <a:cubicBezTo>
                  <a:pt x="3670656" y="321449"/>
                  <a:pt x="3670656" y="321449"/>
                  <a:pt x="3672771" y="319334"/>
                </a:cubicBezTo>
                <a:cubicBezTo>
                  <a:pt x="3683350" y="317219"/>
                  <a:pt x="3693928" y="315105"/>
                  <a:pt x="3704506" y="310875"/>
                </a:cubicBezTo>
                <a:cubicBezTo>
                  <a:pt x="3706622" y="310875"/>
                  <a:pt x="3710853" y="310875"/>
                  <a:pt x="3712969" y="310875"/>
                </a:cubicBezTo>
                <a:cubicBezTo>
                  <a:pt x="3723547" y="306645"/>
                  <a:pt x="3734125" y="304531"/>
                  <a:pt x="3744703" y="302416"/>
                </a:cubicBezTo>
                <a:cubicBezTo>
                  <a:pt x="3744703" y="300301"/>
                  <a:pt x="3746819" y="300301"/>
                  <a:pt x="3746819" y="300301"/>
                </a:cubicBezTo>
                <a:cubicBezTo>
                  <a:pt x="3757397" y="298186"/>
                  <a:pt x="3765860" y="296071"/>
                  <a:pt x="3776438" y="291842"/>
                </a:cubicBezTo>
                <a:cubicBezTo>
                  <a:pt x="3778554" y="291842"/>
                  <a:pt x="3780669" y="291842"/>
                  <a:pt x="3780669" y="291842"/>
                </a:cubicBezTo>
                <a:cubicBezTo>
                  <a:pt x="3789132" y="287612"/>
                  <a:pt x="3797595" y="285497"/>
                  <a:pt x="3806057" y="283383"/>
                </a:cubicBezTo>
                <a:cubicBezTo>
                  <a:pt x="3808173" y="283383"/>
                  <a:pt x="3810289" y="283383"/>
                  <a:pt x="3810289" y="281268"/>
                </a:cubicBezTo>
                <a:cubicBezTo>
                  <a:pt x="3812404" y="281268"/>
                  <a:pt x="3814520" y="281268"/>
                  <a:pt x="3814520" y="281268"/>
                </a:cubicBezTo>
                <a:cubicBezTo>
                  <a:pt x="3814520" y="281268"/>
                  <a:pt x="3814520" y="281268"/>
                  <a:pt x="3816636" y="281268"/>
                </a:cubicBezTo>
                <a:cubicBezTo>
                  <a:pt x="3827214" y="277038"/>
                  <a:pt x="3835676" y="274923"/>
                  <a:pt x="3846255" y="270694"/>
                </a:cubicBezTo>
                <a:cubicBezTo>
                  <a:pt x="3856833" y="268579"/>
                  <a:pt x="3865296" y="264349"/>
                  <a:pt x="3875874" y="262235"/>
                </a:cubicBezTo>
                <a:cubicBezTo>
                  <a:pt x="3877989" y="262235"/>
                  <a:pt x="3880105" y="260120"/>
                  <a:pt x="3880105" y="260120"/>
                </a:cubicBezTo>
                <a:cubicBezTo>
                  <a:pt x="3890683" y="258005"/>
                  <a:pt x="3899146" y="253775"/>
                  <a:pt x="3907609" y="251661"/>
                </a:cubicBezTo>
                <a:cubicBezTo>
                  <a:pt x="3909724" y="249546"/>
                  <a:pt x="3909724" y="249546"/>
                  <a:pt x="3911840" y="249546"/>
                </a:cubicBezTo>
                <a:cubicBezTo>
                  <a:pt x="3920302" y="247431"/>
                  <a:pt x="3928765" y="243202"/>
                  <a:pt x="3935112" y="241087"/>
                </a:cubicBezTo>
                <a:cubicBezTo>
                  <a:pt x="3937228" y="241087"/>
                  <a:pt x="3939343" y="238972"/>
                  <a:pt x="3939343" y="238972"/>
                </a:cubicBezTo>
                <a:cubicBezTo>
                  <a:pt x="3947806" y="236857"/>
                  <a:pt x="3956269" y="232628"/>
                  <a:pt x="3964731" y="230513"/>
                </a:cubicBezTo>
                <a:cubicBezTo>
                  <a:pt x="3966847" y="228398"/>
                  <a:pt x="3968962" y="228398"/>
                  <a:pt x="3971078" y="228398"/>
                </a:cubicBezTo>
                <a:cubicBezTo>
                  <a:pt x="3979541" y="224168"/>
                  <a:pt x="3985888" y="222054"/>
                  <a:pt x="3994350" y="217824"/>
                </a:cubicBezTo>
                <a:cubicBezTo>
                  <a:pt x="4002813" y="213594"/>
                  <a:pt x="4011276" y="211480"/>
                  <a:pt x="4017622" y="207250"/>
                </a:cubicBezTo>
                <a:cubicBezTo>
                  <a:pt x="4019738" y="207250"/>
                  <a:pt x="4021854" y="207250"/>
                  <a:pt x="4023969" y="205135"/>
                </a:cubicBezTo>
                <a:cubicBezTo>
                  <a:pt x="4030316" y="203020"/>
                  <a:pt x="4038779" y="198791"/>
                  <a:pt x="4045126" y="196676"/>
                </a:cubicBezTo>
                <a:cubicBezTo>
                  <a:pt x="4047242" y="194561"/>
                  <a:pt x="4047242" y="194561"/>
                  <a:pt x="4049357" y="194561"/>
                </a:cubicBezTo>
                <a:cubicBezTo>
                  <a:pt x="4053589" y="192446"/>
                  <a:pt x="4055704" y="190332"/>
                  <a:pt x="4059935" y="188217"/>
                </a:cubicBezTo>
                <a:cubicBezTo>
                  <a:pt x="4062051" y="188217"/>
                  <a:pt x="4064167" y="186102"/>
                  <a:pt x="4066282" y="186102"/>
                </a:cubicBezTo>
                <a:cubicBezTo>
                  <a:pt x="4066282" y="186102"/>
                  <a:pt x="4068398" y="186102"/>
                  <a:pt x="4068398" y="183987"/>
                </a:cubicBezTo>
                <a:cubicBezTo>
                  <a:pt x="4068398" y="183987"/>
                  <a:pt x="4068398" y="183987"/>
                  <a:pt x="4070514" y="183987"/>
                </a:cubicBezTo>
                <a:cubicBezTo>
                  <a:pt x="4070514" y="183987"/>
                  <a:pt x="4072629" y="183987"/>
                  <a:pt x="4072629" y="181872"/>
                </a:cubicBezTo>
                <a:cubicBezTo>
                  <a:pt x="4074745" y="181872"/>
                  <a:pt x="4076861" y="179758"/>
                  <a:pt x="4078976" y="179758"/>
                </a:cubicBezTo>
                <a:cubicBezTo>
                  <a:pt x="4081092" y="177643"/>
                  <a:pt x="4083208" y="177643"/>
                  <a:pt x="4083208" y="177643"/>
                </a:cubicBezTo>
                <a:cubicBezTo>
                  <a:pt x="4089555" y="173413"/>
                  <a:pt x="4095902" y="171298"/>
                  <a:pt x="4104364" y="167069"/>
                </a:cubicBezTo>
                <a:cubicBezTo>
                  <a:pt x="4104364" y="167069"/>
                  <a:pt x="4106480" y="164954"/>
                  <a:pt x="4108595" y="164954"/>
                </a:cubicBezTo>
                <a:cubicBezTo>
                  <a:pt x="4114942" y="160725"/>
                  <a:pt x="4121289" y="158610"/>
                  <a:pt x="4127636" y="154380"/>
                </a:cubicBezTo>
                <a:cubicBezTo>
                  <a:pt x="4133983" y="150151"/>
                  <a:pt x="4140330" y="148036"/>
                  <a:pt x="4146677" y="143806"/>
                </a:cubicBezTo>
                <a:cubicBezTo>
                  <a:pt x="4146677" y="143806"/>
                  <a:pt x="4148793" y="141691"/>
                  <a:pt x="4150909" y="141691"/>
                </a:cubicBezTo>
                <a:cubicBezTo>
                  <a:pt x="4155140" y="137462"/>
                  <a:pt x="4161487" y="135347"/>
                  <a:pt x="4167834" y="131117"/>
                </a:cubicBezTo>
                <a:cubicBezTo>
                  <a:pt x="4167834" y="131117"/>
                  <a:pt x="4169949" y="129003"/>
                  <a:pt x="4169949" y="129003"/>
                </a:cubicBezTo>
                <a:cubicBezTo>
                  <a:pt x="4176296" y="126888"/>
                  <a:pt x="4180528" y="122658"/>
                  <a:pt x="4184759" y="118429"/>
                </a:cubicBezTo>
                <a:cubicBezTo>
                  <a:pt x="4184759" y="118429"/>
                  <a:pt x="4184759" y="118429"/>
                  <a:pt x="4186875" y="118429"/>
                </a:cubicBezTo>
                <a:cubicBezTo>
                  <a:pt x="4193222" y="114199"/>
                  <a:pt x="4197453" y="109969"/>
                  <a:pt x="4201684" y="107855"/>
                </a:cubicBezTo>
                <a:cubicBezTo>
                  <a:pt x="4203800" y="105740"/>
                  <a:pt x="4205916" y="105740"/>
                  <a:pt x="4205916" y="105740"/>
                </a:cubicBezTo>
                <a:cubicBezTo>
                  <a:pt x="4210147" y="101510"/>
                  <a:pt x="4216494" y="97281"/>
                  <a:pt x="4220725" y="93051"/>
                </a:cubicBezTo>
                <a:cubicBezTo>
                  <a:pt x="4224956" y="88821"/>
                  <a:pt x="4229188" y="86707"/>
                  <a:pt x="4233419" y="82477"/>
                </a:cubicBezTo>
                <a:cubicBezTo>
                  <a:pt x="4235535" y="82477"/>
                  <a:pt x="4235535" y="80362"/>
                  <a:pt x="4237650" y="80362"/>
                </a:cubicBezTo>
                <a:cubicBezTo>
                  <a:pt x="4241882" y="76133"/>
                  <a:pt x="4243997" y="71903"/>
                  <a:pt x="4248229" y="69788"/>
                </a:cubicBezTo>
                <a:cubicBezTo>
                  <a:pt x="4250344" y="67674"/>
                  <a:pt x="4250344" y="67674"/>
                  <a:pt x="4250344" y="67674"/>
                </a:cubicBezTo>
                <a:cubicBezTo>
                  <a:pt x="4254576" y="63444"/>
                  <a:pt x="4258807" y="59214"/>
                  <a:pt x="4260923" y="57100"/>
                </a:cubicBezTo>
                <a:cubicBezTo>
                  <a:pt x="4260923" y="57100"/>
                  <a:pt x="4260923" y="57100"/>
                  <a:pt x="4263038" y="54985"/>
                </a:cubicBezTo>
                <a:cubicBezTo>
                  <a:pt x="4265154" y="50755"/>
                  <a:pt x="4269385" y="48640"/>
                  <a:pt x="4273616" y="44411"/>
                </a:cubicBezTo>
                <a:cubicBezTo>
                  <a:pt x="4273616" y="44411"/>
                  <a:pt x="4273616" y="42296"/>
                  <a:pt x="4275732" y="42296"/>
                </a:cubicBezTo>
                <a:cubicBezTo>
                  <a:pt x="4277848" y="38066"/>
                  <a:pt x="4279963" y="33837"/>
                  <a:pt x="4284195" y="29607"/>
                </a:cubicBezTo>
                <a:lnTo>
                  <a:pt x="4289389" y="23116"/>
                </a:lnTo>
                <a:lnTo>
                  <a:pt x="3975309" y="570995"/>
                </a:lnTo>
                <a:cubicBezTo>
                  <a:pt x="3975309" y="570995"/>
                  <a:pt x="3975309" y="573110"/>
                  <a:pt x="3973194" y="573110"/>
                </a:cubicBezTo>
                <a:cubicBezTo>
                  <a:pt x="3973194" y="575224"/>
                  <a:pt x="3973194" y="575224"/>
                  <a:pt x="3973194" y="575224"/>
                </a:cubicBezTo>
                <a:cubicBezTo>
                  <a:pt x="3973194" y="575224"/>
                  <a:pt x="3973194" y="575224"/>
                  <a:pt x="3971078" y="577339"/>
                </a:cubicBezTo>
                <a:cubicBezTo>
                  <a:pt x="3968962" y="579454"/>
                  <a:pt x="3966847" y="583684"/>
                  <a:pt x="3966847" y="585798"/>
                </a:cubicBezTo>
                <a:cubicBezTo>
                  <a:pt x="3964731" y="587913"/>
                  <a:pt x="3964731" y="590028"/>
                  <a:pt x="3962616" y="590028"/>
                </a:cubicBezTo>
                <a:cubicBezTo>
                  <a:pt x="3960500" y="594258"/>
                  <a:pt x="3958384" y="596372"/>
                  <a:pt x="3956269" y="598487"/>
                </a:cubicBezTo>
                <a:cubicBezTo>
                  <a:pt x="3954153" y="600602"/>
                  <a:pt x="3954153" y="602717"/>
                  <a:pt x="3952037" y="602717"/>
                </a:cubicBezTo>
                <a:cubicBezTo>
                  <a:pt x="3949922" y="606946"/>
                  <a:pt x="3947806" y="611176"/>
                  <a:pt x="3943575" y="613291"/>
                </a:cubicBezTo>
                <a:cubicBezTo>
                  <a:pt x="3943575" y="613291"/>
                  <a:pt x="3943575" y="613291"/>
                  <a:pt x="3941459" y="615406"/>
                </a:cubicBezTo>
                <a:cubicBezTo>
                  <a:pt x="3937228" y="619635"/>
                  <a:pt x="3935112" y="623865"/>
                  <a:pt x="3928765" y="628094"/>
                </a:cubicBezTo>
                <a:cubicBezTo>
                  <a:pt x="3928765" y="630209"/>
                  <a:pt x="3926649" y="630209"/>
                  <a:pt x="3926649" y="632324"/>
                </a:cubicBezTo>
                <a:cubicBezTo>
                  <a:pt x="3922418" y="634439"/>
                  <a:pt x="3920302" y="636554"/>
                  <a:pt x="3916071" y="640783"/>
                </a:cubicBezTo>
                <a:cubicBezTo>
                  <a:pt x="3913956" y="640783"/>
                  <a:pt x="3911840" y="642898"/>
                  <a:pt x="3911840" y="645013"/>
                </a:cubicBezTo>
                <a:cubicBezTo>
                  <a:pt x="3907609" y="647127"/>
                  <a:pt x="3903377" y="649242"/>
                  <a:pt x="3901262" y="653472"/>
                </a:cubicBezTo>
                <a:cubicBezTo>
                  <a:pt x="3899146" y="653472"/>
                  <a:pt x="3897030" y="655587"/>
                  <a:pt x="3894915" y="657701"/>
                </a:cubicBezTo>
                <a:cubicBezTo>
                  <a:pt x="3890683" y="659816"/>
                  <a:pt x="3886452" y="664046"/>
                  <a:pt x="3882221" y="666161"/>
                </a:cubicBezTo>
                <a:cubicBezTo>
                  <a:pt x="3880105" y="666161"/>
                  <a:pt x="3880105" y="668275"/>
                  <a:pt x="3877989" y="668275"/>
                </a:cubicBezTo>
                <a:cubicBezTo>
                  <a:pt x="3871643" y="672505"/>
                  <a:pt x="3867411" y="676735"/>
                  <a:pt x="3861064" y="680964"/>
                </a:cubicBezTo>
                <a:cubicBezTo>
                  <a:pt x="3858949" y="680964"/>
                  <a:pt x="3856833" y="683079"/>
                  <a:pt x="3854717" y="683079"/>
                </a:cubicBezTo>
                <a:cubicBezTo>
                  <a:pt x="3852602" y="685194"/>
                  <a:pt x="3850486" y="685194"/>
                  <a:pt x="3850486" y="687309"/>
                </a:cubicBezTo>
                <a:cubicBezTo>
                  <a:pt x="3846255" y="689423"/>
                  <a:pt x="3844139" y="691538"/>
                  <a:pt x="3842023" y="691538"/>
                </a:cubicBezTo>
                <a:cubicBezTo>
                  <a:pt x="3839908" y="693653"/>
                  <a:pt x="3837792" y="693653"/>
                  <a:pt x="3835676" y="695768"/>
                </a:cubicBezTo>
                <a:cubicBezTo>
                  <a:pt x="3835676" y="695768"/>
                  <a:pt x="3835676" y="695768"/>
                  <a:pt x="3833561" y="695768"/>
                </a:cubicBezTo>
                <a:cubicBezTo>
                  <a:pt x="3829329" y="697883"/>
                  <a:pt x="3825098" y="702112"/>
                  <a:pt x="3820867" y="704227"/>
                </a:cubicBezTo>
                <a:cubicBezTo>
                  <a:pt x="3816636" y="706342"/>
                  <a:pt x="3814520" y="706342"/>
                  <a:pt x="3812404" y="708457"/>
                </a:cubicBezTo>
                <a:cubicBezTo>
                  <a:pt x="3806057" y="710571"/>
                  <a:pt x="3801826" y="714801"/>
                  <a:pt x="3795479" y="716916"/>
                </a:cubicBezTo>
                <a:cubicBezTo>
                  <a:pt x="3793363" y="716916"/>
                  <a:pt x="3791248" y="719031"/>
                  <a:pt x="3791248" y="719031"/>
                </a:cubicBezTo>
                <a:cubicBezTo>
                  <a:pt x="3782785" y="723260"/>
                  <a:pt x="3774323" y="727490"/>
                  <a:pt x="3765860" y="729605"/>
                </a:cubicBezTo>
                <a:cubicBezTo>
                  <a:pt x="3765860" y="731719"/>
                  <a:pt x="3763744" y="731719"/>
                  <a:pt x="3761629" y="733834"/>
                </a:cubicBezTo>
                <a:cubicBezTo>
                  <a:pt x="3755282" y="735949"/>
                  <a:pt x="3748935" y="738064"/>
                  <a:pt x="3742588" y="742293"/>
                </a:cubicBezTo>
                <a:cubicBezTo>
                  <a:pt x="3738356" y="742293"/>
                  <a:pt x="3736241" y="744408"/>
                  <a:pt x="3732010" y="744408"/>
                </a:cubicBezTo>
                <a:cubicBezTo>
                  <a:pt x="3727778" y="748638"/>
                  <a:pt x="3721431" y="750752"/>
                  <a:pt x="3715084" y="752867"/>
                </a:cubicBezTo>
                <a:cubicBezTo>
                  <a:pt x="3712969" y="752867"/>
                  <a:pt x="3708737" y="754982"/>
                  <a:pt x="3706622" y="757097"/>
                </a:cubicBezTo>
                <a:cubicBezTo>
                  <a:pt x="3698159" y="759212"/>
                  <a:pt x="3691812" y="761326"/>
                  <a:pt x="3685465" y="763441"/>
                </a:cubicBezTo>
                <a:cubicBezTo>
                  <a:pt x="3683350" y="765556"/>
                  <a:pt x="3681234" y="765556"/>
                  <a:pt x="3679118" y="767671"/>
                </a:cubicBezTo>
                <a:cubicBezTo>
                  <a:pt x="3668540" y="769786"/>
                  <a:pt x="3660077" y="774015"/>
                  <a:pt x="3649499" y="778245"/>
                </a:cubicBezTo>
                <a:cubicBezTo>
                  <a:pt x="3647383" y="778245"/>
                  <a:pt x="3645268" y="778245"/>
                  <a:pt x="3643152" y="780360"/>
                </a:cubicBezTo>
                <a:cubicBezTo>
                  <a:pt x="3634690" y="782474"/>
                  <a:pt x="3626227" y="784589"/>
                  <a:pt x="3619880" y="786704"/>
                </a:cubicBezTo>
                <a:cubicBezTo>
                  <a:pt x="3615649" y="788819"/>
                  <a:pt x="3611417" y="790934"/>
                  <a:pt x="3609302" y="790934"/>
                </a:cubicBezTo>
                <a:cubicBezTo>
                  <a:pt x="3600839" y="793048"/>
                  <a:pt x="3594492" y="795163"/>
                  <a:pt x="3588145" y="797278"/>
                </a:cubicBezTo>
                <a:cubicBezTo>
                  <a:pt x="3583914" y="799393"/>
                  <a:pt x="3579683" y="799393"/>
                  <a:pt x="3575451" y="801508"/>
                </a:cubicBezTo>
                <a:cubicBezTo>
                  <a:pt x="3571220" y="803622"/>
                  <a:pt x="3566989" y="803622"/>
                  <a:pt x="3560642" y="805737"/>
                </a:cubicBezTo>
                <a:cubicBezTo>
                  <a:pt x="3558526" y="807852"/>
                  <a:pt x="3556410" y="807852"/>
                  <a:pt x="3552179" y="807852"/>
                </a:cubicBezTo>
                <a:cubicBezTo>
                  <a:pt x="3550063" y="809967"/>
                  <a:pt x="3545832" y="809967"/>
                  <a:pt x="3543717" y="812082"/>
                </a:cubicBezTo>
                <a:cubicBezTo>
                  <a:pt x="3531023" y="814196"/>
                  <a:pt x="3520444" y="818426"/>
                  <a:pt x="3509866" y="820541"/>
                </a:cubicBezTo>
                <a:cubicBezTo>
                  <a:pt x="3507750" y="820541"/>
                  <a:pt x="3505635" y="822655"/>
                  <a:pt x="3503519" y="822655"/>
                </a:cubicBezTo>
                <a:cubicBezTo>
                  <a:pt x="3492941" y="824770"/>
                  <a:pt x="3484478" y="826885"/>
                  <a:pt x="3473900" y="831115"/>
                </a:cubicBezTo>
                <a:cubicBezTo>
                  <a:pt x="3469669" y="831115"/>
                  <a:pt x="3465437" y="833229"/>
                  <a:pt x="3461206" y="833229"/>
                </a:cubicBezTo>
                <a:cubicBezTo>
                  <a:pt x="3452743" y="835344"/>
                  <a:pt x="3446397" y="837459"/>
                  <a:pt x="3437934" y="839574"/>
                </a:cubicBezTo>
                <a:cubicBezTo>
                  <a:pt x="3433703" y="839574"/>
                  <a:pt x="3429471" y="841689"/>
                  <a:pt x="3423124" y="841689"/>
                </a:cubicBezTo>
                <a:cubicBezTo>
                  <a:pt x="3414662" y="843803"/>
                  <a:pt x="3406199" y="845918"/>
                  <a:pt x="3397737" y="848033"/>
                </a:cubicBezTo>
                <a:cubicBezTo>
                  <a:pt x="3393505" y="850148"/>
                  <a:pt x="3389274" y="850148"/>
                  <a:pt x="3385043" y="852263"/>
                </a:cubicBezTo>
                <a:cubicBezTo>
                  <a:pt x="3372349" y="854377"/>
                  <a:pt x="3359655" y="856492"/>
                  <a:pt x="3346961" y="860722"/>
                </a:cubicBezTo>
                <a:cubicBezTo>
                  <a:pt x="3344845" y="860722"/>
                  <a:pt x="3342730" y="860722"/>
                  <a:pt x="3340614" y="860722"/>
                </a:cubicBezTo>
                <a:cubicBezTo>
                  <a:pt x="3330036" y="862837"/>
                  <a:pt x="3319457" y="864951"/>
                  <a:pt x="3306764" y="869181"/>
                </a:cubicBezTo>
                <a:cubicBezTo>
                  <a:pt x="3302532" y="869181"/>
                  <a:pt x="3298301" y="869181"/>
                  <a:pt x="3294070" y="871296"/>
                </a:cubicBezTo>
                <a:cubicBezTo>
                  <a:pt x="3283491" y="873411"/>
                  <a:pt x="3275029" y="875525"/>
                  <a:pt x="3264451" y="875525"/>
                </a:cubicBezTo>
                <a:cubicBezTo>
                  <a:pt x="3260219" y="877640"/>
                  <a:pt x="3255988" y="877640"/>
                  <a:pt x="3249641" y="879755"/>
                </a:cubicBezTo>
                <a:cubicBezTo>
                  <a:pt x="3241178" y="881870"/>
                  <a:pt x="3230600" y="881870"/>
                  <a:pt x="3220022" y="883985"/>
                </a:cubicBezTo>
                <a:cubicBezTo>
                  <a:pt x="3215791" y="886099"/>
                  <a:pt x="3211559" y="886099"/>
                  <a:pt x="3207328" y="886099"/>
                </a:cubicBezTo>
                <a:cubicBezTo>
                  <a:pt x="3192518" y="890329"/>
                  <a:pt x="3177709" y="892444"/>
                  <a:pt x="3162899" y="894559"/>
                </a:cubicBezTo>
                <a:cubicBezTo>
                  <a:pt x="3162899" y="894559"/>
                  <a:pt x="3160784" y="894559"/>
                  <a:pt x="3160784" y="894559"/>
                </a:cubicBezTo>
                <a:cubicBezTo>
                  <a:pt x="3145974" y="896673"/>
                  <a:pt x="3133280" y="898788"/>
                  <a:pt x="3118471" y="900903"/>
                </a:cubicBezTo>
                <a:cubicBezTo>
                  <a:pt x="3114239" y="903018"/>
                  <a:pt x="3110008" y="903018"/>
                  <a:pt x="3103661" y="903018"/>
                </a:cubicBezTo>
                <a:cubicBezTo>
                  <a:pt x="3093083" y="905133"/>
                  <a:pt x="3082504" y="907247"/>
                  <a:pt x="3071926" y="907247"/>
                </a:cubicBezTo>
                <a:cubicBezTo>
                  <a:pt x="3067695" y="909362"/>
                  <a:pt x="3061348" y="909362"/>
                  <a:pt x="3057117" y="911477"/>
                </a:cubicBezTo>
                <a:cubicBezTo>
                  <a:pt x="3044423" y="911477"/>
                  <a:pt x="3033844" y="913592"/>
                  <a:pt x="3023266" y="915706"/>
                </a:cubicBezTo>
                <a:cubicBezTo>
                  <a:pt x="3019035" y="915706"/>
                  <a:pt x="3012688" y="915706"/>
                  <a:pt x="3008457" y="917821"/>
                </a:cubicBezTo>
                <a:cubicBezTo>
                  <a:pt x="2991531" y="919936"/>
                  <a:pt x="2976722" y="922051"/>
                  <a:pt x="2959797" y="924166"/>
                </a:cubicBezTo>
                <a:cubicBezTo>
                  <a:pt x="2942871" y="926280"/>
                  <a:pt x="2925946" y="926280"/>
                  <a:pt x="2909021" y="928395"/>
                </a:cubicBezTo>
                <a:cubicBezTo>
                  <a:pt x="2716497" y="951658"/>
                  <a:pt x="2515510" y="964347"/>
                  <a:pt x="2314523" y="968576"/>
                </a:cubicBezTo>
                <a:cubicBezTo>
                  <a:pt x="2314523" y="968576"/>
                  <a:pt x="2314523" y="968576"/>
                  <a:pt x="2312407" y="968576"/>
                </a:cubicBezTo>
                <a:cubicBezTo>
                  <a:pt x="2310292" y="968576"/>
                  <a:pt x="2308176" y="968576"/>
                  <a:pt x="2306060" y="968576"/>
                </a:cubicBezTo>
                <a:cubicBezTo>
                  <a:pt x="2297598" y="968576"/>
                  <a:pt x="2287019" y="968576"/>
                  <a:pt x="2278557" y="968576"/>
                </a:cubicBezTo>
                <a:cubicBezTo>
                  <a:pt x="2191815" y="970691"/>
                  <a:pt x="2102958" y="968576"/>
                  <a:pt x="2016216" y="968576"/>
                </a:cubicBezTo>
                <a:cubicBezTo>
                  <a:pt x="2007754" y="968576"/>
                  <a:pt x="1999291" y="968576"/>
                  <a:pt x="1990828" y="966462"/>
                </a:cubicBezTo>
                <a:cubicBezTo>
                  <a:pt x="1988713" y="966462"/>
                  <a:pt x="1984481" y="966462"/>
                  <a:pt x="1982366" y="966462"/>
                </a:cubicBezTo>
                <a:cubicBezTo>
                  <a:pt x="1775032" y="962232"/>
                  <a:pt x="1574045" y="947428"/>
                  <a:pt x="1385752" y="926280"/>
                </a:cubicBezTo>
                <a:cubicBezTo>
                  <a:pt x="1011282" y="883985"/>
                  <a:pt x="689703" y="807852"/>
                  <a:pt x="495063" y="708457"/>
                </a:cubicBezTo>
                <a:cubicBezTo>
                  <a:pt x="488716" y="704227"/>
                  <a:pt x="484484" y="702112"/>
                  <a:pt x="478137" y="699997"/>
                </a:cubicBezTo>
                <a:cubicBezTo>
                  <a:pt x="478137" y="697883"/>
                  <a:pt x="476022" y="697883"/>
                  <a:pt x="473906" y="697883"/>
                </a:cubicBezTo>
                <a:cubicBezTo>
                  <a:pt x="471790" y="695768"/>
                  <a:pt x="467559" y="693653"/>
                  <a:pt x="465444" y="691538"/>
                </a:cubicBezTo>
                <a:cubicBezTo>
                  <a:pt x="463328" y="691538"/>
                  <a:pt x="461212" y="689423"/>
                  <a:pt x="461212" y="689423"/>
                </a:cubicBezTo>
                <a:cubicBezTo>
                  <a:pt x="461212" y="689423"/>
                  <a:pt x="461212" y="689423"/>
                  <a:pt x="459096" y="687309"/>
                </a:cubicBezTo>
                <a:cubicBezTo>
                  <a:pt x="456981" y="687309"/>
                  <a:pt x="452750" y="685194"/>
                  <a:pt x="450634" y="683079"/>
                </a:cubicBezTo>
                <a:cubicBezTo>
                  <a:pt x="450634" y="683079"/>
                  <a:pt x="448518" y="683079"/>
                  <a:pt x="448518" y="680964"/>
                </a:cubicBezTo>
                <a:cubicBezTo>
                  <a:pt x="446403" y="680964"/>
                  <a:pt x="446403" y="680964"/>
                  <a:pt x="444287" y="680964"/>
                </a:cubicBezTo>
                <a:cubicBezTo>
                  <a:pt x="442171" y="678849"/>
                  <a:pt x="440056" y="676735"/>
                  <a:pt x="437940" y="674620"/>
                </a:cubicBezTo>
                <a:cubicBezTo>
                  <a:pt x="435824" y="674620"/>
                  <a:pt x="433709" y="672505"/>
                  <a:pt x="431593" y="672505"/>
                </a:cubicBezTo>
                <a:cubicBezTo>
                  <a:pt x="429477" y="670390"/>
                  <a:pt x="427362" y="668275"/>
                  <a:pt x="425246" y="666161"/>
                </a:cubicBezTo>
                <a:cubicBezTo>
                  <a:pt x="423130" y="666161"/>
                  <a:pt x="421015" y="664046"/>
                  <a:pt x="418899" y="664046"/>
                </a:cubicBezTo>
                <a:cubicBezTo>
                  <a:pt x="416783" y="661931"/>
                  <a:pt x="414668" y="659816"/>
                  <a:pt x="412552" y="657701"/>
                </a:cubicBezTo>
                <a:cubicBezTo>
                  <a:pt x="410437" y="657701"/>
                  <a:pt x="408321" y="655587"/>
                  <a:pt x="408321" y="655587"/>
                </a:cubicBezTo>
                <a:cubicBezTo>
                  <a:pt x="406205" y="653472"/>
                  <a:pt x="401974" y="651357"/>
                  <a:pt x="399858" y="649242"/>
                </a:cubicBezTo>
                <a:cubicBezTo>
                  <a:pt x="399858" y="649242"/>
                  <a:pt x="397743" y="647127"/>
                  <a:pt x="397743" y="647127"/>
                </a:cubicBezTo>
                <a:cubicBezTo>
                  <a:pt x="393511" y="645013"/>
                  <a:pt x="391396" y="642898"/>
                  <a:pt x="387164" y="640783"/>
                </a:cubicBezTo>
                <a:cubicBezTo>
                  <a:pt x="387164" y="640783"/>
                  <a:pt x="387164" y="640783"/>
                  <a:pt x="387164" y="638668"/>
                </a:cubicBezTo>
                <a:cubicBezTo>
                  <a:pt x="382933" y="636554"/>
                  <a:pt x="378702" y="632324"/>
                  <a:pt x="376586" y="630209"/>
                </a:cubicBezTo>
                <a:cubicBezTo>
                  <a:pt x="376586" y="630209"/>
                  <a:pt x="374470" y="628094"/>
                  <a:pt x="374470" y="628094"/>
                </a:cubicBezTo>
                <a:cubicBezTo>
                  <a:pt x="372355" y="625980"/>
                  <a:pt x="370239" y="623865"/>
                  <a:pt x="368124" y="621750"/>
                </a:cubicBezTo>
                <a:cubicBezTo>
                  <a:pt x="366008" y="621750"/>
                  <a:pt x="366008" y="619635"/>
                  <a:pt x="363892" y="619635"/>
                </a:cubicBezTo>
                <a:cubicBezTo>
                  <a:pt x="361776" y="617520"/>
                  <a:pt x="361776" y="615406"/>
                  <a:pt x="359661" y="613291"/>
                </a:cubicBezTo>
                <a:cubicBezTo>
                  <a:pt x="357545" y="613291"/>
                  <a:pt x="357545" y="611176"/>
                  <a:pt x="355430" y="611176"/>
                </a:cubicBezTo>
                <a:cubicBezTo>
                  <a:pt x="353314" y="609061"/>
                  <a:pt x="353314" y="606946"/>
                  <a:pt x="351198" y="604832"/>
                </a:cubicBezTo>
                <a:cubicBezTo>
                  <a:pt x="349083" y="604832"/>
                  <a:pt x="349083" y="602717"/>
                  <a:pt x="349083" y="602717"/>
                </a:cubicBezTo>
                <a:cubicBezTo>
                  <a:pt x="346967" y="600602"/>
                  <a:pt x="344851" y="598487"/>
                  <a:pt x="344851" y="596372"/>
                </a:cubicBezTo>
                <a:cubicBezTo>
                  <a:pt x="342736" y="596372"/>
                  <a:pt x="342736" y="594258"/>
                  <a:pt x="340620" y="594258"/>
                </a:cubicBezTo>
                <a:cubicBezTo>
                  <a:pt x="340620" y="592143"/>
                  <a:pt x="338504" y="590028"/>
                  <a:pt x="336389" y="587913"/>
                </a:cubicBezTo>
                <a:cubicBezTo>
                  <a:pt x="336389" y="587913"/>
                  <a:pt x="336389" y="585798"/>
                  <a:pt x="334273" y="585798"/>
                </a:cubicBezTo>
                <a:cubicBezTo>
                  <a:pt x="334273" y="583684"/>
                  <a:pt x="332157" y="581569"/>
                  <a:pt x="332157" y="579454"/>
                </a:cubicBezTo>
                <a:cubicBezTo>
                  <a:pt x="330042" y="579454"/>
                  <a:pt x="330042" y="577339"/>
                  <a:pt x="330042" y="577339"/>
                </a:cubicBezTo>
                <a:cubicBezTo>
                  <a:pt x="327926" y="575224"/>
                  <a:pt x="325811" y="573110"/>
                  <a:pt x="325811" y="570995"/>
                </a:cubicBezTo>
                <a:cubicBezTo>
                  <a:pt x="325811" y="570995"/>
                  <a:pt x="323695" y="568880"/>
                  <a:pt x="323695" y="568880"/>
                </a:cubicBezTo>
                <a:cubicBezTo>
                  <a:pt x="323695" y="568880"/>
                  <a:pt x="323695" y="568880"/>
                  <a:pt x="323695" y="566765"/>
                </a:cubicBezTo>
                <a:cubicBezTo>
                  <a:pt x="323695" y="566765"/>
                  <a:pt x="323695" y="566765"/>
                  <a:pt x="321579" y="564650"/>
                </a:cubicBezTo>
                <a:close/>
                <a:moveTo>
                  <a:pt x="4299004" y="6344"/>
                </a:moveTo>
                <a:lnTo>
                  <a:pt x="4292657" y="17416"/>
                </a:lnTo>
                <a:lnTo>
                  <a:pt x="4292657" y="16918"/>
                </a:lnTo>
                <a:cubicBezTo>
                  <a:pt x="4294773" y="12689"/>
                  <a:pt x="4296889" y="10574"/>
                  <a:pt x="4299004" y="6344"/>
                </a:cubicBezTo>
                <a:close/>
                <a:moveTo>
                  <a:pt x="0" y="0"/>
                </a:moveTo>
                <a:lnTo>
                  <a:pt x="6265" y="11000"/>
                </a:lnTo>
                <a:lnTo>
                  <a:pt x="4231" y="8459"/>
                </a:lnTo>
                <a:cubicBezTo>
                  <a:pt x="4231" y="6344"/>
                  <a:pt x="4231" y="6344"/>
                  <a:pt x="2116" y="4230"/>
                </a:cubicBezTo>
                <a:cubicBezTo>
                  <a:pt x="2116" y="2115"/>
                  <a:pt x="2116" y="2115"/>
                  <a:pt x="0" y="0"/>
                </a:cubicBezTo>
                <a:close/>
              </a:path>
            </a:pathLst>
          </a:custGeom>
          <a:gradFill flip="none" rotWithShape="1">
            <a:gsLst>
              <a:gs pos="0">
                <a:schemeClr val="accent1">
                  <a:lumMod val="15000"/>
                  <a:lumOff val="85000"/>
                </a:schemeClr>
              </a:gs>
              <a:gs pos="100000">
                <a:schemeClr val="accent1">
                  <a:lumMod val="80000"/>
                  <a:lumOff val="20000"/>
                </a:schemeClr>
              </a:gs>
            </a:gsLst>
            <a:path path="circle">
              <a:fillToRect r="100000" b="100000"/>
            </a:path>
            <a:tileRect l="-100000" t="-100000"/>
          </a:gradFill>
          <a:ln w="6350">
            <a:gradFill>
              <a:gsLst>
                <a:gs pos="0">
                  <a:schemeClr val="accent1">
                    <a:lumMod val="0"/>
                    <a:lumOff val="100000"/>
                    <a:alpha val="70000"/>
                  </a:schemeClr>
                </a:gs>
                <a:gs pos="100000">
                  <a:schemeClr val="accent1">
                    <a:lumMod val="0"/>
                    <a:lumOff val="100000"/>
                    <a:alpha val="7000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id-ID">
              <a:solidFill>
                <a:srgbClr val="FFFFFF"/>
              </a:solidFill>
              <a:latin typeface="Arial"/>
            </a:endParaRPr>
          </a:p>
        </p:txBody>
      </p:sp>
      <p:sp>
        <p:nvSpPr>
          <p:cNvPr id="67" name="w67">
            <a:extLst>
              <a:ext uri="{FF2B5EF4-FFF2-40B4-BE49-F238E27FC236}">
                <a16:creationId xmlns:a16="http://schemas.microsoft.com/office/drawing/2014/main" id="{18F4D397-A3CA-3309-9300-4EF0AFCC24D8}"/>
              </a:ext>
            </a:extLst>
          </p:cNvPr>
          <p:cNvSpPr>
            <a:spLocks noEditPoints="1"/>
          </p:cNvSpPr>
          <p:nvPr/>
        </p:nvSpPr>
        <p:spPr bwMode="auto">
          <a:xfrm>
            <a:off x="3915605" y="1129004"/>
            <a:ext cx="4360790" cy="1110523"/>
          </a:xfrm>
          <a:custGeom>
            <a:avLst/>
            <a:gdLst>
              <a:gd name="T0" fmla="*/ 117 w 2061"/>
              <a:gd name="T1" fmla="*/ 382 h 525"/>
              <a:gd name="T2" fmla="*/ 74 w 2061"/>
              <a:gd name="T3" fmla="*/ 358 h 525"/>
              <a:gd name="T4" fmla="*/ 34 w 2061"/>
              <a:gd name="T5" fmla="*/ 328 h 525"/>
              <a:gd name="T6" fmla="*/ 12 w 2061"/>
              <a:gd name="T7" fmla="*/ 301 h 525"/>
              <a:gd name="T8" fmla="*/ 2 w 2061"/>
              <a:gd name="T9" fmla="*/ 276 h 525"/>
              <a:gd name="T10" fmla="*/ 1 w 2061"/>
              <a:gd name="T11" fmla="*/ 248 h 525"/>
              <a:gd name="T12" fmla="*/ 7 w 2061"/>
              <a:gd name="T13" fmla="*/ 229 h 525"/>
              <a:gd name="T14" fmla="*/ 28 w 2061"/>
              <a:gd name="T15" fmla="*/ 199 h 525"/>
              <a:gd name="T16" fmla="*/ 59 w 2061"/>
              <a:gd name="T17" fmla="*/ 173 h 525"/>
              <a:gd name="T18" fmla="*/ 96 w 2061"/>
              <a:gd name="T19" fmla="*/ 150 h 525"/>
              <a:gd name="T20" fmla="*/ 138 w 2061"/>
              <a:gd name="T21" fmla="*/ 129 h 525"/>
              <a:gd name="T22" fmla="*/ 192 w 2061"/>
              <a:gd name="T23" fmla="*/ 108 h 525"/>
              <a:gd name="T24" fmla="*/ 242 w 2061"/>
              <a:gd name="T25" fmla="*/ 92 h 525"/>
              <a:gd name="T26" fmla="*/ 302 w 2061"/>
              <a:gd name="T27" fmla="*/ 75 h 525"/>
              <a:gd name="T28" fmla="*/ 405 w 2061"/>
              <a:gd name="T29" fmla="*/ 53 h 525"/>
              <a:gd name="T30" fmla="*/ 513 w 2061"/>
              <a:gd name="T31" fmla="*/ 35 h 525"/>
              <a:gd name="T32" fmla="*/ 1954 w 2061"/>
              <a:gd name="T33" fmla="*/ 147 h 525"/>
              <a:gd name="T34" fmla="*/ 2003 w 2061"/>
              <a:gd name="T35" fmla="*/ 176 h 525"/>
              <a:gd name="T36" fmla="*/ 2032 w 2061"/>
              <a:gd name="T37" fmla="*/ 202 h 525"/>
              <a:gd name="T38" fmla="*/ 2051 w 2061"/>
              <a:gd name="T39" fmla="*/ 228 h 525"/>
              <a:gd name="T40" fmla="*/ 2060 w 2061"/>
              <a:gd name="T41" fmla="*/ 254 h 525"/>
              <a:gd name="T42" fmla="*/ 2058 w 2061"/>
              <a:gd name="T43" fmla="*/ 281 h 525"/>
              <a:gd name="T44" fmla="*/ 2046 w 2061"/>
              <a:gd name="T45" fmla="*/ 307 h 525"/>
              <a:gd name="T46" fmla="*/ 2025 w 2061"/>
              <a:gd name="T47" fmla="*/ 332 h 525"/>
              <a:gd name="T48" fmla="*/ 1995 w 2061"/>
              <a:gd name="T49" fmla="*/ 356 h 525"/>
              <a:gd name="T50" fmla="*/ 1946 w 2061"/>
              <a:gd name="T51" fmla="*/ 384 h 525"/>
              <a:gd name="T52" fmla="*/ 1910 w 2061"/>
              <a:gd name="T53" fmla="*/ 400 h 525"/>
              <a:gd name="T54" fmla="*/ 1867 w 2061"/>
              <a:gd name="T55" fmla="*/ 416 h 525"/>
              <a:gd name="T56" fmla="*/ 1807 w 2061"/>
              <a:gd name="T57" fmla="*/ 435 h 525"/>
              <a:gd name="T58" fmla="*/ 1766 w 2061"/>
              <a:gd name="T59" fmla="*/ 447 h 525"/>
              <a:gd name="T60" fmla="*/ 1677 w 2061"/>
              <a:gd name="T61" fmla="*/ 468 h 525"/>
              <a:gd name="T62" fmla="*/ 1594 w 2061"/>
              <a:gd name="T63" fmla="*/ 483 h 525"/>
              <a:gd name="T64" fmla="*/ 1525 w 2061"/>
              <a:gd name="T65" fmla="*/ 493 h 525"/>
              <a:gd name="T66" fmla="*/ 1241 w 2061"/>
              <a:gd name="T67" fmla="*/ 358 h 525"/>
              <a:gd name="T68" fmla="*/ 1297 w 2061"/>
              <a:gd name="T69" fmla="*/ 350 h 525"/>
              <a:gd name="T70" fmla="*/ 1344 w 2061"/>
              <a:gd name="T71" fmla="*/ 340 h 525"/>
              <a:gd name="T72" fmla="*/ 1378 w 2061"/>
              <a:gd name="T73" fmla="*/ 330 h 525"/>
              <a:gd name="T74" fmla="*/ 1411 w 2061"/>
              <a:gd name="T75" fmla="*/ 319 h 525"/>
              <a:gd name="T76" fmla="*/ 1441 w 2061"/>
              <a:gd name="T77" fmla="*/ 304 h 525"/>
              <a:gd name="T78" fmla="*/ 1461 w 2061"/>
              <a:gd name="T79" fmla="*/ 290 h 525"/>
              <a:gd name="T80" fmla="*/ 1474 w 2061"/>
              <a:gd name="T81" fmla="*/ 273 h 525"/>
              <a:gd name="T82" fmla="*/ 1476 w 2061"/>
              <a:gd name="T83" fmla="*/ 260 h 525"/>
              <a:gd name="T84" fmla="*/ 1472 w 2061"/>
              <a:gd name="T85" fmla="*/ 248 h 525"/>
              <a:gd name="T86" fmla="*/ 1460 w 2061"/>
              <a:gd name="T87" fmla="*/ 234 h 525"/>
              <a:gd name="T88" fmla="*/ 1442 w 2061"/>
              <a:gd name="T89" fmla="*/ 221 h 525"/>
              <a:gd name="T90" fmla="*/ 806 w 2061"/>
              <a:gd name="T91" fmla="*/ 167 h 525"/>
              <a:gd name="T92" fmla="*/ 739 w 2061"/>
              <a:gd name="T93" fmla="*/ 179 h 525"/>
              <a:gd name="T94" fmla="*/ 703 w 2061"/>
              <a:gd name="T95" fmla="*/ 187 h 525"/>
              <a:gd name="T96" fmla="*/ 665 w 2061"/>
              <a:gd name="T97" fmla="*/ 199 h 525"/>
              <a:gd name="T98" fmla="*/ 634 w 2061"/>
              <a:gd name="T99" fmla="*/ 211 h 525"/>
              <a:gd name="T100" fmla="*/ 610 w 2061"/>
              <a:gd name="T101" fmla="*/ 225 h 525"/>
              <a:gd name="T102" fmla="*/ 593 w 2061"/>
              <a:gd name="T103" fmla="*/ 240 h 525"/>
              <a:gd name="T104" fmla="*/ 585 w 2061"/>
              <a:gd name="T105" fmla="*/ 257 h 525"/>
              <a:gd name="T106" fmla="*/ 586 w 2061"/>
              <a:gd name="T107" fmla="*/ 270 h 525"/>
              <a:gd name="T108" fmla="*/ 594 w 2061"/>
              <a:gd name="T109" fmla="*/ 283 h 525"/>
              <a:gd name="T110" fmla="*/ 606 w 2061"/>
              <a:gd name="T111" fmla="*/ 294 h 525"/>
              <a:gd name="T112" fmla="*/ 628 w 2061"/>
              <a:gd name="T113" fmla="*/ 308 h 5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061" h="525">
                <a:moveTo>
                  <a:pt x="1037" y="525"/>
                </a:moveTo>
                <a:cubicBezTo>
                  <a:pt x="861" y="525"/>
                  <a:pt x="686" y="513"/>
                  <a:pt x="531" y="491"/>
                </a:cubicBezTo>
                <a:cubicBezTo>
                  <a:pt x="528" y="491"/>
                  <a:pt x="528" y="491"/>
                  <a:pt x="528" y="491"/>
                </a:cubicBezTo>
                <a:cubicBezTo>
                  <a:pt x="524" y="490"/>
                  <a:pt x="520" y="490"/>
                  <a:pt x="516" y="489"/>
                </a:cubicBezTo>
                <a:cubicBezTo>
                  <a:pt x="419" y="475"/>
                  <a:pt x="333" y="457"/>
                  <a:pt x="260" y="436"/>
                </a:cubicBezTo>
                <a:cubicBezTo>
                  <a:pt x="260" y="435"/>
                  <a:pt x="259" y="435"/>
                  <a:pt x="259" y="435"/>
                </a:cubicBezTo>
                <a:cubicBezTo>
                  <a:pt x="206" y="420"/>
                  <a:pt x="160" y="403"/>
                  <a:pt x="122" y="384"/>
                </a:cubicBezTo>
                <a:cubicBezTo>
                  <a:pt x="120" y="383"/>
                  <a:pt x="120" y="383"/>
                  <a:pt x="120" y="383"/>
                </a:cubicBezTo>
                <a:cubicBezTo>
                  <a:pt x="119" y="383"/>
                  <a:pt x="118" y="382"/>
                  <a:pt x="117" y="382"/>
                </a:cubicBezTo>
                <a:cubicBezTo>
                  <a:pt x="114" y="380"/>
                  <a:pt x="110" y="379"/>
                  <a:pt x="107" y="377"/>
                </a:cubicBezTo>
                <a:cubicBezTo>
                  <a:pt x="103" y="375"/>
                  <a:pt x="100" y="373"/>
                  <a:pt x="97" y="371"/>
                </a:cubicBezTo>
                <a:cubicBezTo>
                  <a:pt x="95" y="371"/>
                  <a:pt x="94" y="370"/>
                  <a:pt x="93" y="369"/>
                </a:cubicBezTo>
                <a:cubicBezTo>
                  <a:pt x="92" y="368"/>
                  <a:pt x="90" y="367"/>
                  <a:pt x="88" y="366"/>
                </a:cubicBezTo>
                <a:cubicBezTo>
                  <a:pt x="87" y="366"/>
                  <a:pt x="87" y="366"/>
                  <a:pt x="87" y="366"/>
                </a:cubicBezTo>
                <a:cubicBezTo>
                  <a:pt x="85" y="365"/>
                  <a:pt x="84" y="364"/>
                  <a:pt x="83" y="364"/>
                </a:cubicBezTo>
                <a:cubicBezTo>
                  <a:pt x="76" y="360"/>
                  <a:pt x="76" y="360"/>
                  <a:pt x="76" y="360"/>
                </a:cubicBezTo>
                <a:cubicBezTo>
                  <a:pt x="76" y="359"/>
                  <a:pt x="75" y="359"/>
                  <a:pt x="75" y="359"/>
                </a:cubicBezTo>
                <a:cubicBezTo>
                  <a:pt x="74" y="358"/>
                  <a:pt x="74" y="358"/>
                  <a:pt x="74" y="358"/>
                </a:cubicBezTo>
                <a:cubicBezTo>
                  <a:pt x="71" y="356"/>
                  <a:pt x="68" y="354"/>
                  <a:pt x="66" y="352"/>
                </a:cubicBezTo>
                <a:cubicBezTo>
                  <a:pt x="65" y="352"/>
                  <a:pt x="64" y="352"/>
                  <a:pt x="64" y="351"/>
                </a:cubicBezTo>
                <a:cubicBezTo>
                  <a:pt x="62" y="350"/>
                  <a:pt x="59" y="348"/>
                  <a:pt x="57" y="347"/>
                </a:cubicBezTo>
                <a:cubicBezTo>
                  <a:pt x="55" y="345"/>
                  <a:pt x="55" y="345"/>
                  <a:pt x="55" y="345"/>
                </a:cubicBezTo>
                <a:cubicBezTo>
                  <a:pt x="53" y="344"/>
                  <a:pt x="51" y="342"/>
                  <a:pt x="50" y="341"/>
                </a:cubicBezTo>
                <a:cubicBezTo>
                  <a:pt x="47" y="339"/>
                  <a:pt x="47" y="339"/>
                  <a:pt x="47" y="339"/>
                </a:cubicBezTo>
                <a:cubicBezTo>
                  <a:pt x="45" y="337"/>
                  <a:pt x="43" y="336"/>
                  <a:pt x="41" y="334"/>
                </a:cubicBezTo>
                <a:cubicBezTo>
                  <a:pt x="41" y="333"/>
                  <a:pt x="41" y="333"/>
                  <a:pt x="41" y="333"/>
                </a:cubicBezTo>
                <a:cubicBezTo>
                  <a:pt x="38" y="331"/>
                  <a:pt x="36" y="329"/>
                  <a:pt x="34" y="328"/>
                </a:cubicBezTo>
                <a:cubicBezTo>
                  <a:pt x="33" y="326"/>
                  <a:pt x="33" y="326"/>
                  <a:pt x="33" y="326"/>
                </a:cubicBezTo>
                <a:cubicBezTo>
                  <a:pt x="31" y="325"/>
                  <a:pt x="30" y="323"/>
                  <a:pt x="29" y="322"/>
                </a:cubicBezTo>
                <a:cubicBezTo>
                  <a:pt x="27" y="320"/>
                  <a:pt x="27" y="320"/>
                  <a:pt x="27" y="320"/>
                </a:cubicBezTo>
                <a:cubicBezTo>
                  <a:pt x="25" y="318"/>
                  <a:pt x="24" y="317"/>
                  <a:pt x="23" y="315"/>
                </a:cubicBezTo>
                <a:cubicBezTo>
                  <a:pt x="22" y="314"/>
                  <a:pt x="22" y="314"/>
                  <a:pt x="22" y="314"/>
                </a:cubicBezTo>
                <a:cubicBezTo>
                  <a:pt x="20" y="312"/>
                  <a:pt x="19" y="310"/>
                  <a:pt x="17" y="308"/>
                </a:cubicBezTo>
                <a:cubicBezTo>
                  <a:pt x="16" y="307"/>
                  <a:pt x="16" y="307"/>
                  <a:pt x="16" y="307"/>
                </a:cubicBezTo>
                <a:cubicBezTo>
                  <a:pt x="15" y="305"/>
                  <a:pt x="14" y="304"/>
                  <a:pt x="13" y="302"/>
                </a:cubicBezTo>
                <a:cubicBezTo>
                  <a:pt x="13" y="302"/>
                  <a:pt x="13" y="301"/>
                  <a:pt x="12" y="301"/>
                </a:cubicBezTo>
                <a:cubicBezTo>
                  <a:pt x="11" y="298"/>
                  <a:pt x="11" y="298"/>
                  <a:pt x="11" y="298"/>
                </a:cubicBezTo>
                <a:cubicBezTo>
                  <a:pt x="10" y="298"/>
                  <a:pt x="10" y="296"/>
                  <a:pt x="10" y="296"/>
                </a:cubicBezTo>
                <a:cubicBezTo>
                  <a:pt x="9" y="295"/>
                  <a:pt x="9" y="295"/>
                  <a:pt x="9" y="294"/>
                </a:cubicBezTo>
                <a:cubicBezTo>
                  <a:pt x="8" y="293"/>
                  <a:pt x="7" y="291"/>
                  <a:pt x="6" y="289"/>
                </a:cubicBezTo>
                <a:cubicBezTo>
                  <a:pt x="6" y="289"/>
                  <a:pt x="6" y="289"/>
                  <a:pt x="6" y="289"/>
                </a:cubicBezTo>
                <a:cubicBezTo>
                  <a:pt x="6" y="288"/>
                  <a:pt x="6" y="288"/>
                  <a:pt x="6" y="288"/>
                </a:cubicBezTo>
                <a:cubicBezTo>
                  <a:pt x="5" y="286"/>
                  <a:pt x="4" y="284"/>
                  <a:pt x="4" y="282"/>
                </a:cubicBezTo>
                <a:cubicBezTo>
                  <a:pt x="3" y="281"/>
                  <a:pt x="3" y="281"/>
                  <a:pt x="3" y="281"/>
                </a:cubicBezTo>
                <a:cubicBezTo>
                  <a:pt x="3" y="279"/>
                  <a:pt x="2" y="278"/>
                  <a:pt x="2" y="276"/>
                </a:cubicBezTo>
                <a:cubicBezTo>
                  <a:pt x="1" y="274"/>
                  <a:pt x="1" y="274"/>
                  <a:pt x="1" y="274"/>
                </a:cubicBezTo>
                <a:cubicBezTo>
                  <a:pt x="1" y="273"/>
                  <a:pt x="1" y="271"/>
                  <a:pt x="1" y="270"/>
                </a:cubicBezTo>
                <a:cubicBezTo>
                  <a:pt x="1" y="268"/>
                  <a:pt x="1" y="268"/>
                  <a:pt x="1" y="268"/>
                </a:cubicBezTo>
                <a:cubicBezTo>
                  <a:pt x="0" y="266"/>
                  <a:pt x="0" y="265"/>
                  <a:pt x="0" y="263"/>
                </a:cubicBezTo>
                <a:cubicBezTo>
                  <a:pt x="0" y="263"/>
                  <a:pt x="0" y="262"/>
                  <a:pt x="0" y="262"/>
                </a:cubicBezTo>
                <a:cubicBezTo>
                  <a:pt x="0" y="260"/>
                  <a:pt x="0" y="258"/>
                  <a:pt x="0" y="256"/>
                </a:cubicBezTo>
                <a:cubicBezTo>
                  <a:pt x="0" y="255"/>
                  <a:pt x="0" y="255"/>
                  <a:pt x="0" y="255"/>
                </a:cubicBezTo>
                <a:cubicBezTo>
                  <a:pt x="0" y="253"/>
                  <a:pt x="1" y="251"/>
                  <a:pt x="1" y="250"/>
                </a:cubicBezTo>
                <a:cubicBezTo>
                  <a:pt x="1" y="248"/>
                  <a:pt x="1" y="248"/>
                  <a:pt x="1" y="248"/>
                </a:cubicBezTo>
                <a:cubicBezTo>
                  <a:pt x="1" y="246"/>
                  <a:pt x="2" y="245"/>
                  <a:pt x="2" y="244"/>
                </a:cubicBezTo>
                <a:cubicBezTo>
                  <a:pt x="2" y="243"/>
                  <a:pt x="2" y="243"/>
                  <a:pt x="2" y="243"/>
                </a:cubicBezTo>
                <a:cubicBezTo>
                  <a:pt x="2" y="243"/>
                  <a:pt x="2" y="242"/>
                  <a:pt x="3" y="242"/>
                </a:cubicBezTo>
                <a:cubicBezTo>
                  <a:pt x="3" y="240"/>
                  <a:pt x="3" y="239"/>
                  <a:pt x="4" y="238"/>
                </a:cubicBezTo>
                <a:cubicBezTo>
                  <a:pt x="4" y="237"/>
                  <a:pt x="4" y="237"/>
                  <a:pt x="4" y="237"/>
                </a:cubicBezTo>
                <a:cubicBezTo>
                  <a:pt x="4" y="237"/>
                  <a:pt x="4" y="236"/>
                  <a:pt x="4" y="236"/>
                </a:cubicBezTo>
                <a:cubicBezTo>
                  <a:pt x="5" y="236"/>
                  <a:pt x="5" y="236"/>
                  <a:pt x="5" y="236"/>
                </a:cubicBezTo>
                <a:cubicBezTo>
                  <a:pt x="5" y="234"/>
                  <a:pt x="6" y="232"/>
                  <a:pt x="7" y="230"/>
                </a:cubicBezTo>
                <a:cubicBezTo>
                  <a:pt x="7" y="229"/>
                  <a:pt x="7" y="229"/>
                  <a:pt x="7" y="229"/>
                </a:cubicBezTo>
                <a:cubicBezTo>
                  <a:pt x="8" y="227"/>
                  <a:pt x="9" y="226"/>
                  <a:pt x="10" y="224"/>
                </a:cubicBezTo>
                <a:cubicBezTo>
                  <a:pt x="10" y="223"/>
                  <a:pt x="11" y="223"/>
                  <a:pt x="11" y="222"/>
                </a:cubicBezTo>
                <a:cubicBezTo>
                  <a:pt x="12" y="221"/>
                  <a:pt x="13" y="219"/>
                  <a:pt x="13" y="218"/>
                </a:cubicBezTo>
                <a:cubicBezTo>
                  <a:pt x="14" y="218"/>
                  <a:pt x="15" y="216"/>
                  <a:pt x="15" y="216"/>
                </a:cubicBezTo>
                <a:cubicBezTo>
                  <a:pt x="16" y="215"/>
                  <a:pt x="17" y="213"/>
                  <a:pt x="18" y="212"/>
                </a:cubicBezTo>
                <a:cubicBezTo>
                  <a:pt x="18" y="211"/>
                  <a:pt x="18" y="211"/>
                  <a:pt x="19" y="210"/>
                </a:cubicBezTo>
                <a:cubicBezTo>
                  <a:pt x="20" y="208"/>
                  <a:pt x="22" y="206"/>
                  <a:pt x="23" y="205"/>
                </a:cubicBezTo>
                <a:cubicBezTo>
                  <a:pt x="24" y="204"/>
                  <a:pt x="24" y="204"/>
                  <a:pt x="24" y="204"/>
                </a:cubicBezTo>
                <a:cubicBezTo>
                  <a:pt x="25" y="202"/>
                  <a:pt x="27" y="200"/>
                  <a:pt x="28" y="199"/>
                </a:cubicBezTo>
                <a:cubicBezTo>
                  <a:pt x="29" y="198"/>
                  <a:pt x="29" y="198"/>
                  <a:pt x="29" y="198"/>
                </a:cubicBezTo>
                <a:cubicBezTo>
                  <a:pt x="30" y="197"/>
                  <a:pt x="30" y="197"/>
                  <a:pt x="30" y="197"/>
                </a:cubicBezTo>
                <a:cubicBezTo>
                  <a:pt x="31" y="196"/>
                  <a:pt x="33" y="194"/>
                  <a:pt x="34" y="193"/>
                </a:cubicBezTo>
                <a:cubicBezTo>
                  <a:pt x="35" y="192"/>
                  <a:pt x="36" y="192"/>
                  <a:pt x="36" y="191"/>
                </a:cubicBezTo>
                <a:cubicBezTo>
                  <a:pt x="38" y="190"/>
                  <a:pt x="39" y="188"/>
                  <a:pt x="41" y="187"/>
                </a:cubicBezTo>
                <a:cubicBezTo>
                  <a:pt x="41" y="187"/>
                  <a:pt x="42" y="186"/>
                  <a:pt x="42" y="186"/>
                </a:cubicBezTo>
                <a:cubicBezTo>
                  <a:pt x="47" y="182"/>
                  <a:pt x="51" y="178"/>
                  <a:pt x="56" y="174"/>
                </a:cubicBezTo>
                <a:cubicBezTo>
                  <a:pt x="57" y="174"/>
                  <a:pt x="57" y="174"/>
                  <a:pt x="57" y="174"/>
                </a:cubicBezTo>
                <a:cubicBezTo>
                  <a:pt x="57" y="174"/>
                  <a:pt x="58" y="173"/>
                  <a:pt x="59" y="173"/>
                </a:cubicBezTo>
                <a:cubicBezTo>
                  <a:pt x="60" y="172"/>
                  <a:pt x="62" y="170"/>
                  <a:pt x="64" y="169"/>
                </a:cubicBezTo>
                <a:cubicBezTo>
                  <a:pt x="65" y="169"/>
                  <a:pt x="65" y="168"/>
                  <a:pt x="66" y="168"/>
                </a:cubicBezTo>
                <a:cubicBezTo>
                  <a:pt x="67" y="167"/>
                  <a:pt x="67" y="167"/>
                  <a:pt x="67" y="167"/>
                </a:cubicBezTo>
                <a:cubicBezTo>
                  <a:pt x="69" y="166"/>
                  <a:pt x="70" y="165"/>
                  <a:pt x="72" y="163"/>
                </a:cubicBezTo>
                <a:cubicBezTo>
                  <a:pt x="75" y="162"/>
                  <a:pt x="75" y="162"/>
                  <a:pt x="75" y="162"/>
                </a:cubicBezTo>
                <a:cubicBezTo>
                  <a:pt x="78" y="160"/>
                  <a:pt x="80" y="159"/>
                  <a:pt x="83" y="157"/>
                </a:cubicBezTo>
                <a:cubicBezTo>
                  <a:pt x="84" y="156"/>
                  <a:pt x="84" y="156"/>
                  <a:pt x="84" y="156"/>
                </a:cubicBezTo>
                <a:cubicBezTo>
                  <a:pt x="87" y="155"/>
                  <a:pt x="90" y="153"/>
                  <a:pt x="93" y="151"/>
                </a:cubicBezTo>
                <a:cubicBezTo>
                  <a:pt x="94" y="151"/>
                  <a:pt x="95" y="150"/>
                  <a:pt x="96" y="150"/>
                </a:cubicBezTo>
                <a:cubicBezTo>
                  <a:pt x="98" y="148"/>
                  <a:pt x="100" y="147"/>
                  <a:pt x="103" y="146"/>
                </a:cubicBezTo>
                <a:cubicBezTo>
                  <a:pt x="103" y="146"/>
                  <a:pt x="105" y="145"/>
                  <a:pt x="106" y="144"/>
                </a:cubicBezTo>
                <a:cubicBezTo>
                  <a:pt x="108" y="143"/>
                  <a:pt x="108" y="143"/>
                  <a:pt x="108" y="143"/>
                </a:cubicBezTo>
                <a:cubicBezTo>
                  <a:pt x="109" y="142"/>
                  <a:pt x="111" y="142"/>
                  <a:pt x="113" y="141"/>
                </a:cubicBezTo>
                <a:cubicBezTo>
                  <a:pt x="114" y="140"/>
                  <a:pt x="115" y="139"/>
                  <a:pt x="116" y="139"/>
                </a:cubicBezTo>
                <a:cubicBezTo>
                  <a:pt x="119" y="138"/>
                  <a:pt x="122" y="136"/>
                  <a:pt x="125" y="135"/>
                </a:cubicBezTo>
                <a:cubicBezTo>
                  <a:pt x="126" y="134"/>
                  <a:pt x="126" y="134"/>
                  <a:pt x="127" y="134"/>
                </a:cubicBezTo>
                <a:cubicBezTo>
                  <a:pt x="130" y="133"/>
                  <a:pt x="133" y="131"/>
                  <a:pt x="136" y="130"/>
                </a:cubicBezTo>
                <a:cubicBezTo>
                  <a:pt x="138" y="129"/>
                  <a:pt x="138" y="129"/>
                  <a:pt x="138" y="129"/>
                </a:cubicBezTo>
                <a:cubicBezTo>
                  <a:pt x="139" y="129"/>
                  <a:pt x="139" y="129"/>
                  <a:pt x="139" y="129"/>
                </a:cubicBezTo>
                <a:cubicBezTo>
                  <a:pt x="140" y="128"/>
                  <a:pt x="140" y="128"/>
                  <a:pt x="141" y="128"/>
                </a:cubicBezTo>
                <a:cubicBezTo>
                  <a:pt x="144" y="126"/>
                  <a:pt x="147" y="125"/>
                  <a:pt x="150" y="124"/>
                </a:cubicBezTo>
                <a:cubicBezTo>
                  <a:pt x="151" y="123"/>
                  <a:pt x="152" y="123"/>
                  <a:pt x="154" y="122"/>
                </a:cubicBezTo>
                <a:cubicBezTo>
                  <a:pt x="157" y="121"/>
                  <a:pt x="159" y="120"/>
                  <a:pt x="162" y="119"/>
                </a:cubicBezTo>
                <a:cubicBezTo>
                  <a:pt x="166" y="117"/>
                  <a:pt x="166" y="117"/>
                  <a:pt x="166" y="117"/>
                </a:cubicBezTo>
                <a:cubicBezTo>
                  <a:pt x="169" y="116"/>
                  <a:pt x="173" y="115"/>
                  <a:pt x="176" y="114"/>
                </a:cubicBezTo>
                <a:cubicBezTo>
                  <a:pt x="177" y="113"/>
                  <a:pt x="178" y="113"/>
                  <a:pt x="179" y="113"/>
                </a:cubicBezTo>
                <a:cubicBezTo>
                  <a:pt x="183" y="111"/>
                  <a:pt x="187" y="109"/>
                  <a:pt x="192" y="108"/>
                </a:cubicBezTo>
                <a:cubicBezTo>
                  <a:pt x="193" y="107"/>
                  <a:pt x="194" y="107"/>
                  <a:pt x="195" y="107"/>
                </a:cubicBezTo>
                <a:cubicBezTo>
                  <a:pt x="198" y="106"/>
                  <a:pt x="198" y="106"/>
                  <a:pt x="198" y="106"/>
                </a:cubicBezTo>
                <a:cubicBezTo>
                  <a:pt x="201" y="105"/>
                  <a:pt x="203" y="104"/>
                  <a:pt x="205" y="103"/>
                </a:cubicBezTo>
                <a:cubicBezTo>
                  <a:pt x="210" y="102"/>
                  <a:pt x="210" y="102"/>
                  <a:pt x="210" y="102"/>
                </a:cubicBezTo>
                <a:cubicBezTo>
                  <a:pt x="213" y="101"/>
                  <a:pt x="216" y="100"/>
                  <a:pt x="219" y="99"/>
                </a:cubicBezTo>
                <a:cubicBezTo>
                  <a:pt x="221" y="98"/>
                  <a:pt x="222" y="98"/>
                  <a:pt x="224" y="97"/>
                </a:cubicBezTo>
                <a:cubicBezTo>
                  <a:pt x="228" y="96"/>
                  <a:pt x="231" y="95"/>
                  <a:pt x="235" y="94"/>
                </a:cubicBezTo>
                <a:cubicBezTo>
                  <a:pt x="239" y="93"/>
                  <a:pt x="239" y="93"/>
                  <a:pt x="239" y="93"/>
                </a:cubicBezTo>
                <a:cubicBezTo>
                  <a:pt x="242" y="92"/>
                  <a:pt x="242" y="92"/>
                  <a:pt x="242" y="92"/>
                </a:cubicBezTo>
                <a:cubicBezTo>
                  <a:pt x="246" y="91"/>
                  <a:pt x="249" y="89"/>
                  <a:pt x="253" y="88"/>
                </a:cubicBezTo>
                <a:cubicBezTo>
                  <a:pt x="257" y="87"/>
                  <a:pt x="257" y="87"/>
                  <a:pt x="257" y="87"/>
                </a:cubicBezTo>
                <a:cubicBezTo>
                  <a:pt x="260" y="86"/>
                  <a:pt x="262" y="86"/>
                  <a:pt x="264" y="85"/>
                </a:cubicBezTo>
                <a:cubicBezTo>
                  <a:pt x="269" y="84"/>
                  <a:pt x="269" y="84"/>
                  <a:pt x="269" y="84"/>
                </a:cubicBezTo>
                <a:cubicBezTo>
                  <a:pt x="269" y="84"/>
                  <a:pt x="273" y="83"/>
                  <a:pt x="274" y="82"/>
                </a:cubicBezTo>
                <a:cubicBezTo>
                  <a:pt x="277" y="82"/>
                  <a:pt x="279" y="81"/>
                  <a:pt x="281" y="81"/>
                </a:cubicBezTo>
                <a:cubicBezTo>
                  <a:pt x="285" y="80"/>
                  <a:pt x="285" y="80"/>
                  <a:pt x="285" y="80"/>
                </a:cubicBezTo>
                <a:cubicBezTo>
                  <a:pt x="291" y="78"/>
                  <a:pt x="291" y="78"/>
                  <a:pt x="291" y="78"/>
                </a:cubicBezTo>
                <a:cubicBezTo>
                  <a:pt x="294" y="77"/>
                  <a:pt x="298" y="76"/>
                  <a:pt x="302" y="75"/>
                </a:cubicBezTo>
                <a:cubicBezTo>
                  <a:pt x="307" y="74"/>
                  <a:pt x="307" y="74"/>
                  <a:pt x="307" y="74"/>
                </a:cubicBezTo>
                <a:cubicBezTo>
                  <a:pt x="312" y="73"/>
                  <a:pt x="318" y="71"/>
                  <a:pt x="323" y="70"/>
                </a:cubicBezTo>
                <a:cubicBezTo>
                  <a:pt x="327" y="69"/>
                  <a:pt x="327" y="69"/>
                  <a:pt x="327" y="69"/>
                </a:cubicBezTo>
                <a:cubicBezTo>
                  <a:pt x="332" y="68"/>
                  <a:pt x="336" y="67"/>
                  <a:pt x="340" y="66"/>
                </a:cubicBezTo>
                <a:cubicBezTo>
                  <a:pt x="358" y="62"/>
                  <a:pt x="358" y="62"/>
                  <a:pt x="358" y="62"/>
                </a:cubicBezTo>
                <a:cubicBezTo>
                  <a:pt x="360" y="62"/>
                  <a:pt x="362" y="61"/>
                  <a:pt x="363" y="61"/>
                </a:cubicBezTo>
                <a:cubicBezTo>
                  <a:pt x="383" y="57"/>
                  <a:pt x="383" y="57"/>
                  <a:pt x="383" y="57"/>
                </a:cubicBezTo>
                <a:cubicBezTo>
                  <a:pt x="388" y="56"/>
                  <a:pt x="395" y="55"/>
                  <a:pt x="401" y="53"/>
                </a:cubicBezTo>
                <a:cubicBezTo>
                  <a:pt x="402" y="53"/>
                  <a:pt x="403" y="53"/>
                  <a:pt x="405" y="53"/>
                </a:cubicBezTo>
                <a:cubicBezTo>
                  <a:pt x="410" y="52"/>
                  <a:pt x="414" y="51"/>
                  <a:pt x="419" y="50"/>
                </a:cubicBezTo>
                <a:cubicBezTo>
                  <a:pt x="426" y="49"/>
                  <a:pt x="426" y="49"/>
                  <a:pt x="426" y="49"/>
                </a:cubicBezTo>
                <a:cubicBezTo>
                  <a:pt x="439" y="46"/>
                  <a:pt x="439" y="46"/>
                  <a:pt x="439" y="46"/>
                </a:cubicBezTo>
                <a:cubicBezTo>
                  <a:pt x="441" y="46"/>
                  <a:pt x="444" y="46"/>
                  <a:pt x="446" y="45"/>
                </a:cubicBezTo>
                <a:cubicBezTo>
                  <a:pt x="450" y="44"/>
                  <a:pt x="455" y="44"/>
                  <a:pt x="459" y="43"/>
                </a:cubicBezTo>
                <a:cubicBezTo>
                  <a:pt x="466" y="42"/>
                  <a:pt x="466" y="42"/>
                  <a:pt x="466" y="42"/>
                </a:cubicBezTo>
                <a:cubicBezTo>
                  <a:pt x="472" y="41"/>
                  <a:pt x="479" y="40"/>
                  <a:pt x="486" y="39"/>
                </a:cubicBezTo>
                <a:cubicBezTo>
                  <a:pt x="489" y="38"/>
                  <a:pt x="489" y="38"/>
                  <a:pt x="489" y="38"/>
                </a:cubicBezTo>
                <a:cubicBezTo>
                  <a:pt x="513" y="35"/>
                  <a:pt x="513" y="35"/>
                  <a:pt x="513" y="35"/>
                </a:cubicBezTo>
                <a:cubicBezTo>
                  <a:pt x="535" y="31"/>
                  <a:pt x="535" y="31"/>
                  <a:pt x="535" y="31"/>
                </a:cubicBezTo>
                <a:cubicBezTo>
                  <a:pt x="538" y="31"/>
                  <a:pt x="549" y="30"/>
                  <a:pt x="549" y="30"/>
                </a:cubicBezTo>
                <a:cubicBezTo>
                  <a:pt x="551" y="29"/>
                  <a:pt x="553" y="29"/>
                  <a:pt x="555" y="29"/>
                </a:cubicBezTo>
                <a:cubicBezTo>
                  <a:pt x="557" y="29"/>
                  <a:pt x="557" y="29"/>
                  <a:pt x="557" y="29"/>
                </a:cubicBezTo>
                <a:cubicBezTo>
                  <a:pt x="563" y="28"/>
                  <a:pt x="569" y="27"/>
                  <a:pt x="576" y="26"/>
                </a:cubicBezTo>
                <a:cubicBezTo>
                  <a:pt x="578" y="26"/>
                  <a:pt x="578" y="26"/>
                  <a:pt x="578" y="26"/>
                </a:cubicBezTo>
                <a:cubicBezTo>
                  <a:pt x="718" y="9"/>
                  <a:pt x="868" y="0"/>
                  <a:pt x="1023" y="0"/>
                </a:cubicBezTo>
                <a:cubicBezTo>
                  <a:pt x="1214" y="0"/>
                  <a:pt x="1401" y="14"/>
                  <a:pt x="1564" y="39"/>
                </a:cubicBezTo>
                <a:cubicBezTo>
                  <a:pt x="1732" y="64"/>
                  <a:pt x="1867" y="102"/>
                  <a:pt x="1954" y="147"/>
                </a:cubicBezTo>
                <a:cubicBezTo>
                  <a:pt x="1957" y="148"/>
                  <a:pt x="1961" y="150"/>
                  <a:pt x="1964" y="152"/>
                </a:cubicBezTo>
                <a:cubicBezTo>
                  <a:pt x="1968" y="154"/>
                  <a:pt x="1968" y="154"/>
                  <a:pt x="1968" y="154"/>
                </a:cubicBezTo>
                <a:cubicBezTo>
                  <a:pt x="1970" y="155"/>
                  <a:pt x="1972" y="157"/>
                  <a:pt x="1974" y="158"/>
                </a:cubicBezTo>
                <a:cubicBezTo>
                  <a:pt x="1975" y="158"/>
                  <a:pt x="1976" y="159"/>
                  <a:pt x="1977" y="159"/>
                </a:cubicBezTo>
                <a:cubicBezTo>
                  <a:pt x="1980" y="161"/>
                  <a:pt x="1983" y="163"/>
                  <a:pt x="1985" y="165"/>
                </a:cubicBezTo>
                <a:cubicBezTo>
                  <a:pt x="1986" y="165"/>
                  <a:pt x="1986" y="165"/>
                  <a:pt x="1986" y="165"/>
                </a:cubicBezTo>
                <a:cubicBezTo>
                  <a:pt x="1989" y="167"/>
                  <a:pt x="1992" y="169"/>
                  <a:pt x="1995" y="171"/>
                </a:cubicBezTo>
                <a:cubicBezTo>
                  <a:pt x="1995" y="171"/>
                  <a:pt x="1996" y="172"/>
                  <a:pt x="1997" y="172"/>
                </a:cubicBezTo>
                <a:cubicBezTo>
                  <a:pt x="1999" y="174"/>
                  <a:pt x="2001" y="175"/>
                  <a:pt x="2003" y="176"/>
                </a:cubicBezTo>
                <a:cubicBezTo>
                  <a:pt x="2005" y="178"/>
                  <a:pt x="2005" y="178"/>
                  <a:pt x="2005" y="178"/>
                </a:cubicBezTo>
                <a:cubicBezTo>
                  <a:pt x="2007" y="180"/>
                  <a:pt x="2009" y="181"/>
                  <a:pt x="2012" y="183"/>
                </a:cubicBezTo>
                <a:cubicBezTo>
                  <a:pt x="2012" y="183"/>
                  <a:pt x="2012" y="183"/>
                  <a:pt x="2012" y="184"/>
                </a:cubicBezTo>
                <a:cubicBezTo>
                  <a:pt x="2015" y="186"/>
                  <a:pt x="2017" y="188"/>
                  <a:pt x="2019" y="189"/>
                </a:cubicBezTo>
                <a:cubicBezTo>
                  <a:pt x="2020" y="190"/>
                  <a:pt x="2020" y="190"/>
                  <a:pt x="2021" y="191"/>
                </a:cubicBezTo>
                <a:cubicBezTo>
                  <a:pt x="2021" y="191"/>
                  <a:pt x="2021" y="191"/>
                  <a:pt x="2021" y="191"/>
                </a:cubicBezTo>
                <a:cubicBezTo>
                  <a:pt x="2023" y="192"/>
                  <a:pt x="2024" y="194"/>
                  <a:pt x="2026" y="195"/>
                </a:cubicBezTo>
                <a:cubicBezTo>
                  <a:pt x="2028" y="197"/>
                  <a:pt x="2028" y="197"/>
                  <a:pt x="2028" y="197"/>
                </a:cubicBezTo>
                <a:cubicBezTo>
                  <a:pt x="2029" y="199"/>
                  <a:pt x="2031" y="200"/>
                  <a:pt x="2032" y="202"/>
                </a:cubicBezTo>
                <a:cubicBezTo>
                  <a:pt x="2033" y="203"/>
                  <a:pt x="2033" y="203"/>
                  <a:pt x="2033" y="203"/>
                </a:cubicBezTo>
                <a:cubicBezTo>
                  <a:pt x="2035" y="205"/>
                  <a:pt x="2037" y="207"/>
                  <a:pt x="2038" y="209"/>
                </a:cubicBezTo>
                <a:cubicBezTo>
                  <a:pt x="2039" y="210"/>
                  <a:pt x="2039" y="210"/>
                  <a:pt x="2039" y="210"/>
                </a:cubicBezTo>
                <a:cubicBezTo>
                  <a:pt x="2041" y="212"/>
                  <a:pt x="2042" y="213"/>
                  <a:pt x="2043" y="214"/>
                </a:cubicBezTo>
                <a:cubicBezTo>
                  <a:pt x="2043" y="215"/>
                  <a:pt x="2043" y="215"/>
                  <a:pt x="2044" y="216"/>
                </a:cubicBezTo>
                <a:cubicBezTo>
                  <a:pt x="2044" y="216"/>
                  <a:pt x="2044" y="216"/>
                  <a:pt x="2044" y="216"/>
                </a:cubicBezTo>
                <a:cubicBezTo>
                  <a:pt x="2045" y="218"/>
                  <a:pt x="2046" y="219"/>
                  <a:pt x="2047" y="221"/>
                </a:cubicBezTo>
                <a:cubicBezTo>
                  <a:pt x="2048" y="221"/>
                  <a:pt x="2048" y="222"/>
                  <a:pt x="2048" y="222"/>
                </a:cubicBezTo>
                <a:cubicBezTo>
                  <a:pt x="2049" y="224"/>
                  <a:pt x="2050" y="226"/>
                  <a:pt x="2051" y="228"/>
                </a:cubicBezTo>
                <a:cubicBezTo>
                  <a:pt x="2052" y="230"/>
                  <a:pt x="2052" y="230"/>
                  <a:pt x="2052" y="230"/>
                </a:cubicBezTo>
                <a:cubicBezTo>
                  <a:pt x="2053" y="231"/>
                  <a:pt x="2054" y="232"/>
                  <a:pt x="2054" y="234"/>
                </a:cubicBezTo>
                <a:cubicBezTo>
                  <a:pt x="2055" y="235"/>
                  <a:pt x="2055" y="235"/>
                  <a:pt x="2055" y="236"/>
                </a:cubicBezTo>
                <a:cubicBezTo>
                  <a:pt x="2056" y="237"/>
                  <a:pt x="2056" y="239"/>
                  <a:pt x="2057" y="240"/>
                </a:cubicBezTo>
                <a:cubicBezTo>
                  <a:pt x="2057" y="241"/>
                  <a:pt x="2057" y="241"/>
                  <a:pt x="2057" y="241"/>
                </a:cubicBezTo>
                <a:cubicBezTo>
                  <a:pt x="2057" y="242"/>
                  <a:pt x="2057" y="242"/>
                  <a:pt x="2057" y="242"/>
                </a:cubicBezTo>
                <a:cubicBezTo>
                  <a:pt x="2058" y="244"/>
                  <a:pt x="2058" y="246"/>
                  <a:pt x="2059" y="248"/>
                </a:cubicBezTo>
                <a:cubicBezTo>
                  <a:pt x="2059" y="248"/>
                  <a:pt x="2059" y="249"/>
                  <a:pt x="2059" y="249"/>
                </a:cubicBezTo>
                <a:cubicBezTo>
                  <a:pt x="2059" y="251"/>
                  <a:pt x="2060" y="252"/>
                  <a:pt x="2060" y="254"/>
                </a:cubicBezTo>
                <a:cubicBezTo>
                  <a:pt x="2060" y="256"/>
                  <a:pt x="2060" y="256"/>
                  <a:pt x="2060" y="256"/>
                </a:cubicBezTo>
                <a:cubicBezTo>
                  <a:pt x="2060" y="257"/>
                  <a:pt x="2060" y="259"/>
                  <a:pt x="2060" y="260"/>
                </a:cubicBezTo>
                <a:cubicBezTo>
                  <a:pt x="2060" y="261"/>
                  <a:pt x="2061" y="261"/>
                  <a:pt x="2061" y="262"/>
                </a:cubicBezTo>
                <a:cubicBezTo>
                  <a:pt x="2061" y="264"/>
                  <a:pt x="2061" y="266"/>
                  <a:pt x="2060" y="267"/>
                </a:cubicBezTo>
                <a:cubicBezTo>
                  <a:pt x="2060" y="269"/>
                  <a:pt x="2060" y="269"/>
                  <a:pt x="2060" y="269"/>
                </a:cubicBezTo>
                <a:cubicBezTo>
                  <a:pt x="2060" y="270"/>
                  <a:pt x="2060" y="272"/>
                  <a:pt x="2060" y="273"/>
                </a:cubicBezTo>
                <a:cubicBezTo>
                  <a:pt x="2060" y="274"/>
                  <a:pt x="2059" y="275"/>
                  <a:pt x="2059" y="275"/>
                </a:cubicBezTo>
                <a:cubicBezTo>
                  <a:pt x="2059" y="277"/>
                  <a:pt x="2059" y="278"/>
                  <a:pt x="2058" y="280"/>
                </a:cubicBezTo>
                <a:cubicBezTo>
                  <a:pt x="2058" y="280"/>
                  <a:pt x="2058" y="281"/>
                  <a:pt x="2058" y="281"/>
                </a:cubicBezTo>
                <a:cubicBezTo>
                  <a:pt x="2058" y="283"/>
                  <a:pt x="2057" y="285"/>
                  <a:pt x="2056" y="287"/>
                </a:cubicBezTo>
                <a:cubicBezTo>
                  <a:pt x="2056" y="287"/>
                  <a:pt x="2056" y="288"/>
                  <a:pt x="2056" y="288"/>
                </a:cubicBezTo>
                <a:cubicBezTo>
                  <a:pt x="2055" y="290"/>
                  <a:pt x="2055" y="291"/>
                  <a:pt x="2054" y="293"/>
                </a:cubicBezTo>
                <a:cubicBezTo>
                  <a:pt x="2053" y="295"/>
                  <a:pt x="2053" y="295"/>
                  <a:pt x="2053" y="295"/>
                </a:cubicBezTo>
                <a:cubicBezTo>
                  <a:pt x="2052" y="296"/>
                  <a:pt x="2052" y="298"/>
                  <a:pt x="2051" y="299"/>
                </a:cubicBezTo>
                <a:cubicBezTo>
                  <a:pt x="2051" y="300"/>
                  <a:pt x="2050" y="300"/>
                  <a:pt x="2050" y="300"/>
                </a:cubicBezTo>
                <a:cubicBezTo>
                  <a:pt x="2050" y="301"/>
                  <a:pt x="2050" y="301"/>
                  <a:pt x="2050" y="301"/>
                </a:cubicBezTo>
                <a:cubicBezTo>
                  <a:pt x="2049" y="303"/>
                  <a:pt x="2048" y="304"/>
                  <a:pt x="2047" y="306"/>
                </a:cubicBezTo>
                <a:cubicBezTo>
                  <a:pt x="2046" y="307"/>
                  <a:pt x="2046" y="307"/>
                  <a:pt x="2046" y="307"/>
                </a:cubicBezTo>
                <a:cubicBezTo>
                  <a:pt x="2045" y="309"/>
                  <a:pt x="2044" y="311"/>
                  <a:pt x="2042" y="312"/>
                </a:cubicBezTo>
                <a:cubicBezTo>
                  <a:pt x="2042" y="313"/>
                  <a:pt x="2042" y="313"/>
                  <a:pt x="2042" y="313"/>
                </a:cubicBezTo>
                <a:cubicBezTo>
                  <a:pt x="2041" y="315"/>
                  <a:pt x="2039" y="317"/>
                  <a:pt x="2038" y="318"/>
                </a:cubicBezTo>
                <a:cubicBezTo>
                  <a:pt x="2037" y="319"/>
                  <a:pt x="2037" y="319"/>
                  <a:pt x="2037" y="319"/>
                </a:cubicBezTo>
                <a:cubicBezTo>
                  <a:pt x="2035" y="321"/>
                  <a:pt x="2034" y="323"/>
                  <a:pt x="2032" y="325"/>
                </a:cubicBezTo>
                <a:cubicBezTo>
                  <a:pt x="2032" y="325"/>
                  <a:pt x="2032" y="325"/>
                  <a:pt x="2032" y="325"/>
                </a:cubicBezTo>
                <a:cubicBezTo>
                  <a:pt x="2031" y="326"/>
                  <a:pt x="2031" y="326"/>
                  <a:pt x="2031" y="326"/>
                </a:cubicBezTo>
                <a:cubicBezTo>
                  <a:pt x="2029" y="327"/>
                  <a:pt x="2028" y="329"/>
                  <a:pt x="2026" y="331"/>
                </a:cubicBezTo>
                <a:cubicBezTo>
                  <a:pt x="2026" y="331"/>
                  <a:pt x="2025" y="331"/>
                  <a:pt x="2025" y="332"/>
                </a:cubicBezTo>
                <a:cubicBezTo>
                  <a:pt x="2023" y="333"/>
                  <a:pt x="2021" y="335"/>
                  <a:pt x="2019" y="337"/>
                </a:cubicBezTo>
                <a:cubicBezTo>
                  <a:pt x="2018" y="338"/>
                  <a:pt x="2018" y="338"/>
                  <a:pt x="2018" y="338"/>
                </a:cubicBezTo>
                <a:cubicBezTo>
                  <a:pt x="2016" y="340"/>
                  <a:pt x="2014" y="341"/>
                  <a:pt x="2012" y="343"/>
                </a:cubicBezTo>
                <a:cubicBezTo>
                  <a:pt x="2009" y="341"/>
                  <a:pt x="2009" y="341"/>
                  <a:pt x="2009" y="341"/>
                </a:cubicBezTo>
                <a:cubicBezTo>
                  <a:pt x="2012" y="343"/>
                  <a:pt x="2012" y="343"/>
                  <a:pt x="2012" y="343"/>
                </a:cubicBezTo>
                <a:cubicBezTo>
                  <a:pt x="2009" y="345"/>
                  <a:pt x="2007" y="347"/>
                  <a:pt x="2004" y="349"/>
                </a:cubicBezTo>
                <a:cubicBezTo>
                  <a:pt x="2003" y="350"/>
                  <a:pt x="2003" y="350"/>
                  <a:pt x="2003" y="350"/>
                </a:cubicBezTo>
                <a:cubicBezTo>
                  <a:pt x="2001" y="352"/>
                  <a:pt x="1998" y="353"/>
                  <a:pt x="1996" y="355"/>
                </a:cubicBezTo>
                <a:cubicBezTo>
                  <a:pt x="1995" y="356"/>
                  <a:pt x="1995" y="356"/>
                  <a:pt x="1995" y="356"/>
                </a:cubicBezTo>
                <a:cubicBezTo>
                  <a:pt x="1992" y="357"/>
                  <a:pt x="1990" y="359"/>
                  <a:pt x="1987" y="360"/>
                </a:cubicBezTo>
                <a:cubicBezTo>
                  <a:pt x="1986" y="361"/>
                  <a:pt x="1986" y="361"/>
                  <a:pt x="1986" y="361"/>
                </a:cubicBezTo>
                <a:cubicBezTo>
                  <a:pt x="1984" y="363"/>
                  <a:pt x="1981" y="364"/>
                  <a:pt x="1979" y="366"/>
                </a:cubicBezTo>
                <a:cubicBezTo>
                  <a:pt x="1976" y="367"/>
                  <a:pt x="1976" y="367"/>
                  <a:pt x="1976" y="367"/>
                </a:cubicBezTo>
                <a:cubicBezTo>
                  <a:pt x="1973" y="369"/>
                  <a:pt x="1970" y="371"/>
                  <a:pt x="1967" y="372"/>
                </a:cubicBezTo>
                <a:cubicBezTo>
                  <a:pt x="1964" y="374"/>
                  <a:pt x="1961" y="376"/>
                  <a:pt x="1958" y="378"/>
                </a:cubicBezTo>
                <a:cubicBezTo>
                  <a:pt x="1956" y="379"/>
                  <a:pt x="1956" y="379"/>
                  <a:pt x="1956" y="379"/>
                </a:cubicBezTo>
                <a:cubicBezTo>
                  <a:pt x="1953" y="380"/>
                  <a:pt x="1953" y="380"/>
                  <a:pt x="1953" y="380"/>
                </a:cubicBezTo>
                <a:cubicBezTo>
                  <a:pt x="1951" y="381"/>
                  <a:pt x="1948" y="382"/>
                  <a:pt x="1946" y="384"/>
                </a:cubicBezTo>
                <a:cubicBezTo>
                  <a:pt x="1945" y="384"/>
                  <a:pt x="1945" y="384"/>
                  <a:pt x="1944" y="384"/>
                </a:cubicBezTo>
                <a:cubicBezTo>
                  <a:pt x="1943" y="385"/>
                  <a:pt x="1942" y="385"/>
                  <a:pt x="1941" y="386"/>
                </a:cubicBezTo>
                <a:cubicBezTo>
                  <a:pt x="1940" y="386"/>
                  <a:pt x="1940" y="386"/>
                  <a:pt x="1939" y="387"/>
                </a:cubicBezTo>
                <a:cubicBezTo>
                  <a:pt x="1937" y="388"/>
                  <a:pt x="1937" y="388"/>
                  <a:pt x="1937" y="388"/>
                </a:cubicBezTo>
                <a:cubicBezTo>
                  <a:pt x="1936" y="388"/>
                  <a:pt x="1936" y="388"/>
                  <a:pt x="1935" y="389"/>
                </a:cubicBezTo>
                <a:cubicBezTo>
                  <a:pt x="1933" y="389"/>
                  <a:pt x="1933" y="389"/>
                  <a:pt x="1933" y="389"/>
                </a:cubicBezTo>
                <a:cubicBezTo>
                  <a:pt x="1930" y="391"/>
                  <a:pt x="1926" y="393"/>
                  <a:pt x="1923" y="394"/>
                </a:cubicBezTo>
                <a:cubicBezTo>
                  <a:pt x="1920" y="395"/>
                  <a:pt x="1920" y="395"/>
                  <a:pt x="1920" y="395"/>
                </a:cubicBezTo>
                <a:cubicBezTo>
                  <a:pt x="1917" y="397"/>
                  <a:pt x="1913" y="398"/>
                  <a:pt x="1910" y="400"/>
                </a:cubicBezTo>
                <a:cubicBezTo>
                  <a:pt x="1909" y="400"/>
                  <a:pt x="1909" y="400"/>
                  <a:pt x="1909" y="400"/>
                </a:cubicBezTo>
                <a:cubicBezTo>
                  <a:pt x="1908" y="400"/>
                  <a:pt x="1908" y="400"/>
                  <a:pt x="1908" y="400"/>
                </a:cubicBezTo>
                <a:cubicBezTo>
                  <a:pt x="1905" y="402"/>
                  <a:pt x="1902" y="403"/>
                  <a:pt x="1899" y="404"/>
                </a:cubicBezTo>
                <a:cubicBezTo>
                  <a:pt x="1895" y="406"/>
                  <a:pt x="1895" y="406"/>
                  <a:pt x="1895" y="406"/>
                </a:cubicBezTo>
                <a:cubicBezTo>
                  <a:pt x="1891" y="407"/>
                  <a:pt x="1887" y="409"/>
                  <a:pt x="1883" y="410"/>
                </a:cubicBezTo>
                <a:cubicBezTo>
                  <a:pt x="1882" y="411"/>
                  <a:pt x="1882" y="411"/>
                  <a:pt x="1881" y="411"/>
                </a:cubicBezTo>
                <a:cubicBezTo>
                  <a:pt x="1877" y="412"/>
                  <a:pt x="1873" y="414"/>
                  <a:pt x="1869" y="415"/>
                </a:cubicBezTo>
                <a:cubicBezTo>
                  <a:pt x="1869" y="415"/>
                  <a:pt x="1869" y="415"/>
                  <a:pt x="1869" y="415"/>
                </a:cubicBezTo>
                <a:cubicBezTo>
                  <a:pt x="1869" y="416"/>
                  <a:pt x="1868" y="416"/>
                  <a:pt x="1867" y="416"/>
                </a:cubicBezTo>
                <a:cubicBezTo>
                  <a:pt x="1863" y="417"/>
                  <a:pt x="1859" y="419"/>
                  <a:pt x="1855" y="420"/>
                </a:cubicBezTo>
                <a:cubicBezTo>
                  <a:pt x="1854" y="420"/>
                  <a:pt x="1854" y="420"/>
                  <a:pt x="1854" y="420"/>
                </a:cubicBezTo>
                <a:cubicBezTo>
                  <a:pt x="1853" y="421"/>
                  <a:pt x="1853" y="421"/>
                  <a:pt x="1852" y="421"/>
                </a:cubicBezTo>
                <a:cubicBezTo>
                  <a:pt x="1847" y="423"/>
                  <a:pt x="1843" y="424"/>
                  <a:pt x="1838" y="426"/>
                </a:cubicBezTo>
                <a:cubicBezTo>
                  <a:pt x="1838" y="426"/>
                  <a:pt x="1838" y="426"/>
                  <a:pt x="1837" y="426"/>
                </a:cubicBezTo>
                <a:cubicBezTo>
                  <a:pt x="1835" y="427"/>
                  <a:pt x="1832" y="428"/>
                  <a:pt x="1829" y="429"/>
                </a:cubicBezTo>
                <a:cubicBezTo>
                  <a:pt x="1824" y="430"/>
                  <a:pt x="1824" y="430"/>
                  <a:pt x="1824" y="430"/>
                </a:cubicBezTo>
                <a:cubicBezTo>
                  <a:pt x="1824" y="430"/>
                  <a:pt x="1816" y="432"/>
                  <a:pt x="1815" y="433"/>
                </a:cubicBezTo>
                <a:cubicBezTo>
                  <a:pt x="1807" y="435"/>
                  <a:pt x="1807" y="435"/>
                  <a:pt x="1807" y="435"/>
                </a:cubicBezTo>
                <a:cubicBezTo>
                  <a:pt x="1806" y="435"/>
                  <a:pt x="1806" y="436"/>
                  <a:pt x="1805" y="436"/>
                </a:cubicBezTo>
                <a:cubicBezTo>
                  <a:pt x="1801" y="437"/>
                  <a:pt x="1801" y="437"/>
                  <a:pt x="1801" y="437"/>
                </a:cubicBezTo>
                <a:cubicBezTo>
                  <a:pt x="1802" y="437"/>
                  <a:pt x="1802" y="437"/>
                  <a:pt x="1802" y="437"/>
                </a:cubicBezTo>
                <a:cubicBezTo>
                  <a:pt x="1801" y="438"/>
                  <a:pt x="1801" y="438"/>
                  <a:pt x="1801" y="438"/>
                </a:cubicBezTo>
                <a:cubicBezTo>
                  <a:pt x="1795" y="440"/>
                  <a:pt x="1795" y="440"/>
                  <a:pt x="1795" y="440"/>
                </a:cubicBezTo>
                <a:cubicBezTo>
                  <a:pt x="1792" y="440"/>
                  <a:pt x="1789" y="441"/>
                  <a:pt x="1786" y="442"/>
                </a:cubicBezTo>
                <a:cubicBezTo>
                  <a:pt x="1785" y="442"/>
                  <a:pt x="1785" y="442"/>
                  <a:pt x="1785" y="442"/>
                </a:cubicBezTo>
                <a:cubicBezTo>
                  <a:pt x="1780" y="444"/>
                  <a:pt x="1775" y="445"/>
                  <a:pt x="1770" y="446"/>
                </a:cubicBezTo>
                <a:cubicBezTo>
                  <a:pt x="1770" y="446"/>
                  <a:pt x="1767" y="447"/>
                  <a:pt x="1766" y="447"/>
                </a:cubicBezTo>
                <a:cubicBezTo>
                  <a:pt x="1761" y="449"/>
                  <a:pt x="1756" y="450"/>
                  <a:pt x="1751" y="451"/>
                </a:cubicBezTo>
                <a:cubicBezTo>
                  <a:pt x="1750" y="451"/>
                  <a:pt x="1750" y="451"/>
                  <a:pt x="1749" y="452"/>
                </a:cubicBezTo>
                <a:cubicBezTo>
                  <a:pt x="1744" y="453"/>
                  <a:pt x="1739" y="454"/>
                  <a:pt x="1734" y="455"/>
                </a:cubicBezTo>
                <a:cubicBezTo>
                  <a:pt x="1733" y="455"/>
                  <a:pt x="1732" y="456"/>
                  <a:pt x="1731" y="456"/>
                </a:cubicBezTo>
                <a:cubicBezTo>
                  <a:pt x="1726" y="457"/>
                  <a:pt x="1721" y="458"/>
                  <a:pt x="1715" y="460"/>
                </a:cubicBezTo>
                <a:cubicBezTo>
                  <a:pt x="1712" y="460"/>
                  <a:pt x="1712" y="460"/>
                  <a:pt x="1712" y="460"/>
                </a:cubicBezTo>
                <a:cubicBezTo>
                  <a:pt x="1707" y="462"/>
                  <a:pt x="1701" y="463"/>
                  <a:pt x="1696" y="464"/>
                </a:cubicBezTo>
                <a:cubicBezTo>
                  <a:pt x="1696" y="464"/>
                  <a:pt x="1695" y="464"/>
                  <a:pt x="1695" y="464"/>
                </a:cubicBezTo>
                <a:cubicBezTo>
                  <a:pt x="1689" y="465"/>
                  <a:pt x="1683" y="467"/>
                  <a:pt x="1677" y="468"/>
                </a:cubicBezTo>
                <a:cubicBezTo>
                  <a:pt x="1674" y="469"/>
                  <a:pt x="1674" y="469"/>
                  <a:pt x="1674" y="469"/>
                </a:cubicBezTo>
                <a:cubicBezTo>
                  <a:pt x="1668" y="470"/>
                  <a:pt x="1662" y="471"/>
                  <a:pt x="1656" y="472"/>
                </a:cubicBezTo>
                <a:cubicBezTo>
                  <a:pt x="1654" y="472"/>
                  <a:pt x="1654" y="472"/>
                  <a:pt x="1654" y="472"/>
                </a:cubicBezTo>
                <a:cubicBezTo>
                  <a:pt x="1648" y="473"/>
                  <a:pt x="1643" y="474"/>
                  <a:pt x="1637" y="476"/>
                </a:cubicBezTo>
                <a:cubicBezTo>
                  <a:pt x="1634" y="476"/>
                  <a:pt x="1634" y="476"/>
                  <a:pt x="1634" y="476"/>
                </a:cubicBezTo>
                <a:cubicBezTo>
                  <a:pt x="1628" y="477"/>
                  <a:pt x="1622" y="478"/>
                  <a:pt x="1616" y="479"/>
                </a:cubicBezTo>
                <a:cubicBezTo>
                  <a:pt x="1615" y="480"/>
                  <a:pt x="1613" y="480"/>
                  <a:pt x="1612" y="480"/>
                </a:cubicBezTo>
                <a:cubicBezTo>
                  <a:pt x="1605" y="481"/>
                  <a:pt x="1605" y="481"/>
                  <a:pt x="1605" y="481"/>
                </a:cubicBezTo>
                <a:cubicBezTo>
                  <a:pt x="1601" y="482"/>
                  <a:pt x="1598" y="482"/>
                  <a:pt x="1594" y="483"/>
                </a:cubicBezTo>
                <a:cubicBezTo>
                  <a:pt x="1593" y="483"/>
                  <a:pt x="1593" y="483"/>
                  <a:pt x="1593" y="483"/>
                </a:cubicBezTo>
                <a:cubicBezTo>
                  <a:pt x="1587" y="484"/>
                  <a:pt x="1580" y="485"/>
                  <a:pt x="1574" y="486"/>
                </a:cubicBezTo>
                <a:cubicBezTo>
                  <a:pt x="1569" y="487"/>
                  <a:pt x="1569" y="487"/>
                  <a:pt x="1569" y="487"/>
                </a:cubicBezTo>
                <a:cubicBezTo>
                  <a:pt x="1563" y="488"/>
                  <a:pt x="1557" y="489"/>
                  <a:pt x="1550" y="490"/>
                </a:cubicBezTo>
                <a:cubicBezTo>
                  <a:pt x="1544" y="491"/>
                  <a:pt x="1544" y="491"/>
                  <a:pt x="1544" y="491"/>
                </a:cubicBezTo>
                <a:cubicBezTo>
                  <a:pt x="1530" y="493"/>
                  <a:pt x="1530" y="493"/>
                  <a:pt x="1530" y="493"/>
                </a:cubicBezTo>
                <a:cubicBezTo>
                  <a:pt x="1528" y="493"/>
                  <a:pt x="1528" y="493"/>
                  <a:pt x="1528" y="493"/>
                </a:cubicBezTo>
                <a:cubicBezTo>
                  <a:pt x="1528" y="493"/>
                  <a:pt x="1527" y="493"/>
                  <a:pt x="1526" y="493"/>
                </a:cubicBezTo>
                <a:cubicBezTo>
                  <a:pt x="1525" y="493"/>
                  <a:pt x="1525" y="493"/>
                  <a:pt x="1525" y="493"/>
                </a:cubicBezTo>
                <a:cubicBezTo>
                  <a:pt x="1520" y="494"/>
                  <a:pt x="1515" y="495"/>
                  <a:pt x="1510" y="495"/>
                </a:cubicBezTo>
                <a:cubicBezTo>
                  <a:pt x="1505" y="496"/>
                  <a:pt x="1505" y="496"/>
                  <a:pt x="1505" y="496"/>
                </a:cubicBezTo>
                <a:cubicBezTo>
                  <a:pt x="1504" y="496"/>
                  <a:pt x="1502" y="496"/>
                  <a:pt x="1501" y="497"/>
                </a:cubicBezTo>
                <a:cubicBezTo>
                  <a:pt x="1494" y="498"/>
                  <a:pt x="1487" y="498"/>
                  <a:pt x="1480" y="499"/>
                </a:cubicBezTo>
                <a:cubicBezTo>
                  <a:pt x="1340" y="516"/>
                  <a:pt x="1192" y="525"/>
                  <a:pt x="1037" y="525"/>
                </a:cubicBezTo>
                <a:close/>
                <a:moveTo>
                  <a:pt x="689" y="331"/>
                </a:moveTo>
                <a:cubicBezTo>
                  <a:pt x="775" y="357"/>
                  <a:pt x="900" y="371"/>
                  <a:pt x="1033" y="371"/>
                </a:cubicBezTo>
                <a:cubicBezTo>
                  <a:pt x="1101" y="371"/>
                  <a:pt x="1166" y="367"/>
                  <a:pt x="1228" y="360"/>
                </a:cubicBezTo>
                <a:cubicBezTo>
                  <a:pt x="1232" y="359"/>
                  <a:pt x="1236" y="359"/>
                  <a:pt x="1241" y="358"/>
                </a:cubicBezTo>
                <a:cubicBezTo>
                  <a:pt x="1244" y="358"/>
                  <a:pt x="1244" y="358"/>
                  <a:pt x="1244" y="358"/>
                </a:cubicBezTo>
                <a:cubicBezTo>
                  <a:pt x="1248" y="357"/>
                  <a:pt x="1251" y="357"/>
                  <a:pt x="1255" y="356"/>
                </a:cubicBezTo>
                <a:cubicBezTo>
                  <a:pt x="1257" y="356"/>
                  <a:pt x="1257" y="356"/>
                  <a:pt x="1257" y="356"/>
                </a:cubicBezTo>
                <a:cubicBezTo>
                  <a:pt x="1261" y="355"/>
                  <a:pt x="1265" y="355"/>
                  <a:pt x="1269" y="354"/>
                </a:cubicBezTo>
                <a:cubicBezTo>
                  <a:pt x="1273" y="354"/>
                  <a:pt x="1273" y="354"/>
                  <a:pt x="1273" y="354"/>
                </a:cubicBezTo>
                <a:cubicBezTo>
                  <a:pt x="1276" y="353"/>
                  <a:pt x="1279" y="353"/>
                  <a:pt x="1282" y="352"/>
                </a:cubicBezTo>
                <a:cubicBezTo>
                  <a:pt x="1285" y="352"/>
                  <a:pt x="1285" y="352"/>
                  <a:pt x="1285" y="352"/>
                </a:cubicBezTo>
                <a:cubicBezTo>
                  <a:pt x="1289" y="351"/>
                  <a:pt x="1289" y="351"/>
                  <a:pt x="1289" y="351"/>
                </a:cubicBezTo>
                <a:cubicBezTo>
                  <a:pt x="1292" y="350"/>
                  <a:pt x="1294" y="350"/>
                  <a:pt x="1297" y="350"/>
                </a:cubicBezTo>
                <a:cubicBezTo>
                  <a:pt x="1297" y="349"/>
                  <a:pt x="1298" y="349"/>
                  <a:pt x="1299" y="349"/>
                </a:cubicBezTo>
                <a:cubicBezTo>
                  <a:pt x="1302" y="349"/>
                  <a:pt x="1305" y="348"/>
                  <a:pt x="1308" y="347"/>
                </a:cubicBezTo>
                <a:cubicBezTo>
                  <a:pt x="1309" y="347"/>
                  <a:pt x="1310" y="347"/>
                  <a:pt x="1311" y="347"/>
                </a:cubicBezTo>
                <a:cubicBezTo>
                  <a:pt x="1315" y="346"/>
                  <a:pt x="1318" y="345"/>
                  <a:pt x="1322" y="345"/>
                </a:cubicBezTo>
                <a:cubicBezTo>
                  <a:pt x="1322" y="345"/>
                  <a:pt x="1322" y="345"/>
                  <a:pt x="1322" y="345"/>
                </a:cubicBezTo>
                <a:cubicBezTo>
                  <a:pt x="1326" y="344"/>
                  <a:pt x="1329" y="343"/>
                  <a:pt x="1332" y="342"/>
                </a:cubicBezTo>
                <a:cubicBezTo>
                  <a:pt x="1333" y="342"/>
                  <a:pt x="1333" y="342"/>
                  <a:pt x="1333" y="342"/>
                </a:cubicBezTo>
                <a:cubicBezTo>
                  <a:pt x="1334" y="342"/>
                  <a:pt x="1334" y="342"/>
                  <a:pt x="1335" y="342"/>
                </a:cubicBezTo>
                <a:cubicBezTo>
                  <a:pt x="1338" y="341"/>
                  <a:pt x="1341" y="340"/>
                  <a:pt x="1344" y="340"/>
                </a:cubicBezTo>
                <a:cubicBezTo>
                  <a:pt x="1344" y="339"/>
                  <a:pt x="1345" y="339"/>
                  <a:pt x="1345" y="339"/>
                </a:cubicBezTo>
                <a:cubicBezTo>
                  <a:pt x="1349" y="338"/>
                  <a:pt x="1352" y="337"/>
                  <a:pt x="1355" y="337"/>
                </a:cubicBezTo>
                <a:cubicBezTo>
                  <a:pt x="1359" y="336"/>
                  <a:pt x="1359" y="336"/>
                  <a:pt x="1359" y="336"/>
                </a:cubicBezTo>
                <a:cubicBezTo>
                  <a:pt x="1361" y="335"/>
                  <a:pt x="1363" y="335"/>
                  <a:pt x="1365" y="334"/>
                </a:cubicBezTo>
                <a:cubicBezTo>
                  <a:pt x="1367" y="333"/>
                  <a:pt x="1367" y="333"/>
                  <a:pt x="1367" y="333"/>
                </a:cubicBezTo>
                <a:cubicBezTo>
                  <a:pt x="1368" y="333"/>
                  <a:pt x="1373" y="332"/>
                  <a:pt x="1373" y="332"/>
                </a:cubicBezTo>
                <a:cubicBezTo>
                  <a:pt x="1373" y="332"/>
                  <a:pt x="1373" y="332"/>
                  <a:pt x="1373" y="332"/>
                </a:cubicBezTo>
                <a:cubicBezTo>
                  <a:pt x="1374" y="331"/>
                  <a:pt x="1375" y="331"/>
                  <a:pt x="1376" y="331"/>
                </a:cubicBezTo>
                <a:cubicBezTo>
                  <a:pt x="1377" y="331"/>
                  <a:pt x="1377" y="330"/>
                  <a:pt x="1378" y="330"/>
                </a:cubicBezTo>
                <a:cubicBezTo>
                  <a:pt x="1380" y="330"/>
                  <a:pt x="1383" y="329"/>
                  <a:pt x="1385" y="328"/>
                </a:cubicBezTo>
                <a:cubicBezTo>
                  <a:pt x="1386" y="328"/>
                  <a:pt x="1386" y="328"/>
                  <a:pt x="1387" y="327"/>
                </a:cubicBezTo>
                <a:cubicBezTo>
                  <a:pt x="1390" y="326"/>
                  <a:pt x="1392" y="326"/>
                  <a:pt x="1394" y="325"/>
                </a:cubicBezTo>
                <a:cubicBezTo>
                  <a:pt x="1395" y="324"/>
                  <a:pt x="1395" y="324"/>
                  <a:pt x="1395" y="324"/>
                </a:cubicBezTo>
                <a:cubicBezTo>
                  <a:pt x="1396" y="324"/>
                  <a:pt x="1396" y="324"/>
                  <a:pt x="1396" y="324"/>
                </a:cubicBezTo>
                <a:cubicBezTo>
                  <a:pt x="1396" y="324"/>
                  <a:pt x="1396" y="324"/>
                  <a:pt x="1396" y="324"/>
                </a:cubicBezTo>
                <a:cubicBezTo>
                  <a:pt x="1399" y="323"/>
                  <a:pt x="1401" y="322"/>
                  <a:pt x="1403" y="322"/>
                </a:cubicBezTo>
                <a:cubicBezTo>
                  <a:pt x="1405" y="321"/>
                  <a:pt x="1405" y="321"/>
                  <a:pt x="1405" y="321"/>
                </a:cubicBezTo>
                <a:cubicBezTo>
                  <a:pt x="1407" y="320"/>
                  <a:pt x="1409" y="319"/>
                  <a:pt x="1411" y="319"/>
                </a:cubicBezTo>
                <a:cubicBezTo>
                  <a:pt x="1413" y="318"/>
                  <a:pt x="1413" y="318"/>
                  <a:pt x="1413" y="318"/>
                </a:cubicBezTo>
                <a:cubicBezTo>
                  <a:pt x="1415" y="317"/>
                  <a:pt x="1417" y="316"/>
                  <a:pt x="1419" y="315"/>
                </a:cubicBezTo>
                <a:cubicBezTo>
                  <a:pt x="1420" y="315"/>
                  <a:pt x="1420" y="315"/>
                  <a:pt x="1421" y="314"/>
                </a:cubicBezTo>
                <a:cubicBezTo>
                  <a:pt x="1423" y="314"/>
                  <a:pt x="1424" y="313"/>
                  <a:pt x="1426" y="312"/>
                </a:cubicBezTo>
                <a:cubicBezTo>
                  <a:pt x="1427" y="312"/>
                  <a:pt x="1427" y="311"/>
                  <a:pt x="1428" y="311"/>
                </a:cubicBezTo>
                <a:cubicBezTo>
                  <a:pt x="1430" y="310"/>
                  <a:pt x="1432" y="309"/>
                  <a:pt x="1434" y="308"/>
                </a:cubicBezTo>
                <a:cubicBezTo>
                  <a:pt x="1435" y="308"/>
                  <a:pt x="1435" y="308"/>
                  <a:pt x="1435" y="308"/>
                </a:cubicBezTo>
                <a:cubicBezTo>
                  <a:pt x="1436" y="307"/>
                  <a:pt x="1437" y="306"/>
                  <a:pt x="1439" y="305"/>
                </a:cubicBezTo>
                <a:cubicBezTo>
                  <a:pt x="1441" y="304"/>
                  <a:pt x="1441" y="304"/>
                  <a:pt x="1441" y="304"/>
                </a:cubicBezTo>
                <a:cubicBezTo>
                  <a:pt x="1442" y="303"/>
                  <a:pt x="1444" y="302"/>
                  <a:pt x="1446" y="301"/>
                </a:cubicBezTo>
                <a:cubicBezTo>
                  <a:pt x="1446" y="301"/>
                  <a:pt x="1446" y="301"/>
                  <a:pt x="1446" y="301"/>
                </a:cubicBezTo>
                <a:cubicBezTo>
                  <a:pt x="1447" y="301"/>
                  <a:pt x="1447" y="301"/>
                  <a:pt x="1447" y="301"/>
                </a:cubicBezTo>
                <a:cubicBezTo>
                  <a:pt x="1448" y="300"/>
                  <a:pt x="1449" y="299"/>
                  <a:pt x="1451" y="298"/>
                </a:cubicBezTo>
                <a:cubicBezTo>
                  <a:pt x="1451" y="298"/>
                  <a:pt x="1451" y="297"/>
                  <a:pt x="1452" y="297"/>
                </a:cubicBezTo>
                <a:cubicBezTo>
                  <a:pt x="1453" y="296"/>
                  <a:pt x="1454" y="295"/>
                  <a:pt x="1455" y="295"/>
                </a:cubicBezTo>
                <a:cubicBezTo>
                  <a:pt x="1456" y="294"/>
                  <a:pt x="1456" y="294"/>
                  <a:pt x="1456" y="294"/>
                </a:cubicBezTo>
                <a:cubicBezTo>
                  <a:pt x="1458" y="293"/>
                  <a:pt x="1459" y="292"/>
                  <a:pt x="1460" y="291"/>
                </a:cubicBezTo>
                <a:cubicBezTo>
                  <a:pt x="1461" y="290"/>
                  <a:pt x="1461" y="290"/>
                  <a:pt x="1461" y="290"/>
                </a:cubicBezTo>
                <a:cubicBezTo>
                  <a:pt x="1462" y="289"/>
                  <a:pt x="1463" y="288"/>
                  <a:pt x="1464" y="287"/>
                </a:cubicBezTo>
                <a:cubicBezTo>
                  <a:pt x="1464" y="287"/>
                  <a:pt x="1464" y="287"/>
                  <a:pt x="1465" y="287"/>
                </a:cubicBezTo>
                <a:cubicBezTo>
                  <a:pt x="1465" y="286"/>
                  <a:pt x="1466" y="285"/>
                  <a:pt x="1467" y="284"/>
                </a:cubicBezTo>
                <a:cubicBezTo>
                  <a:pt x="1467" y="283"/>
                  <a:pt x="1467" y="283"/>
                  <a:pt x="1467" y="283"/>
                </a:cubicBezTo>
                <a:cubicBezTo>
                  <a:pt x="1468" y="282"/>
                  <a:pt x="1469" y="281"/>
                  <a:pt x="1470" y="280"/>
                </a:cubicBezTo>
                <a:cubicBezTo>
                  <a:pt x="1470" y="280"/>
                  <a:pt x="1470" y="280"/>
                  <a:pt x="1470" y="279"/>
                </a:cubicBezTo>
                <a:cubicBezTo>
                  <a:pt x="1471" y="279"/>
                  <a:pt x="1471" y="278"/>
                  <a:pt x="1472" y="277"/>
                </a:cubicBezTo>
                <a:cubicBezTo>
                  <a:pt x="1472" y="276"/>
                  <a:pt x="1472" y="276"/>
                  <a:pt x="1472" y="276"/>
                </a:cubicBezTo>
                <a:cubicBezTo>
                  <a:pt x="1473" y="275"/>
                  <a:pt x="1473" y="274"/>
                  <a:pt x="1474" y="273"/>
                </a:cubicBezTo>
                <a:cubicBezTo>
                  <a:pt x="1474" y="272"/>
                  <a:pt x="1474" y="272"/>
                  <a:pt x="1474" y="272"/>
                </a:cubicBezTo>
                <a:cubicBezTo>
                  <a:pt x="1474" y="271"/>
                  <a:pt x="1475" y="271"/>
                  <a:pt x="1475" y="270"/>
                </a:cubicBezTo>
                <a:cubicBezTo>
                  <a:pt x="1475" y="269"/>
                  <a:pt x="1475" y="269"/>
                  <a:pt x="1475" y="269"/>
                </a:cubicBezTo>
                <a:cubicBezTo>
                  <a:pt x="1475" y="268"/>
                  <a:pt x="1476" y="267"/>
                  <a:pt x="1476" y="266"/>
                </a:cubicBezTo>
                <a:cubicBezTo>
                  <a:pt x="1476" y="265"/>
                  <a:pt x="1476" y="265"/>
                  <a:pt x="1476" y="265"/>
                </a:cubicBezTo>
                <a:cubicBezTo>
                  <a:pt x="1476" y="265"/>
                  <a:pt x="1476" y="264"/>
                  <a:pt x="1476" y="264"/>
                </a:cubicBezTo>
                <a:cubicBezTo>
                  <a:pt x="1476" y="262"/>
                  <a:pt x="1476" y="262"/>
                  <a:pt x="1476" y="262"/>
                </a:cubicBezTo>
                <a:cubicBezTo>
                  <a:pt x="1476" y="262"/>
                  <a:pt x="1476" y="261"/>
                  <a:pt x="1476" y="261"/>
                </a:cubicBezTo>
                <a:cubicBezTo>
                  <a:pt x="1476" y="260"/>
                  <a:pt x="1476" y="260"/>
                  <a:pt x="1476" y="260"/>
                </a:cubicBezTo>
                <a:cubicBezTo>
                  <a:pt x="1480" y="259"/>
                  <a:pt x="1480" y="259"/>
                  <a:pt x="1480" y="259"/>
                </a:cubicBezTo>
                <a:cubicBezTo>
                  <a:pt x="1476" y="259"/>
                  <a:pt x="1476" y="259"/>
                  <a:pt x="1476" y="259"/>
                </a:cubicBezTo>
                <a:cubicBezTo>
                  <a:pt x="1476" y="259"/>
                  <a:pt x="1476" y="258"/>
                  <a:pt x="1476" y="257"/>
                </a:cubicBezTo>
                <a:cubicBezTo>
                  <a:pt x="1475" y="256"/>
                  <a:pt x="1475" y="255"/>
                  <a:pt x="1475" y="254"/>
                </a:cubicBezTo>
                <a:cubicBezTo>
                  <a:pt x="1474" y="253"/>
                  <a:pt x="1474" y="253"/>
                  <a:pt x="1474" y="253"/>
                </a:cubicBezTo>
                <a:cubicBezTo>
                  <a:pt x="1474" y="253"/>
                  <a:pt x="1474" y="252"/>
                  <a:pt x="1474" y="251"/>
                </a:cubicBezTo>
                <a:cubicBezTo>
                  <a:pt x="1473" y="250"/>
                  <a:pt x="1473" y="250"/>
                  <a:pt x="1473" y="250"/>
                </a:cubicBezTo>
                <a:cubicBezTo>
                  <a:pt x="1473" y="250"/>
                  <a:pt x="1473" y="249"/>
                  <a:pt x="1472" y="249"/>
                </a:cubicBezTo>
                <a:cubicBezTo>
                  <a:pt x="1472" y="248"/>
                  <a:pt x="1472" y="248"/>
                  <a:pt x="1472" y="248"/>
                </a:cubicBezTo>
                <a:cubicBezTo>
                  <a:pt x="1471" y="247"/>
                  <a:pt x="1471" y="246"/>
                  <a:pt x="1471" y="246"/>
                </a:cubicBezTo>
                <a:cubicBezTo>
                  <a:pt x="1470" y="245"/>
                  <a:pt x="1470" y="245"/>
                  <a:pt x="1470" y="245"/>
                </a:cubicBezTo>
                <a:cubicBezTo>
                  <a:pt x="1470" y="244"/>
                  <a:pt x="1469" y="244"/>
                  <a:pt x="1469" y="243"/>
                </a:cubicBezTo>
                <a:cubicBezTo>
                  <a:pt x="1468" y="242"/>
                  <a:pt x="1468" y="242"/>
                  <a:pt x="1468" y="242"/>
                </a:cubicBezTo>
                <a:cubicBezTo>
                  <a:pt x="1467" y="241"/>
                  <a:pt x="1467" y="241"/>
                  <a:pt x="1466" y="240"/>
                </a:cubicBezTo>
                <a:cubicBezTo>
                  <a:pt x="1466" y="240"/>
                  <a:pt x="1466" y="240"/>
                  <a:pt x="1466" y="239"/>
                </a:cubicBezTo>
                <a:cubicBezTo>
                  <a:pt x="1465" y="238"/>
                  <a:pt x="1464" y="238"/>
                  <a:pt x="1463" y="237"/>
                </a:cubicBezTo>
                <a:cubicBezTo>
                  <a:pt x="1463" y="236"/>
                  <a:pt x="1463" y="236"/>
                  <a:pt x="1463" y="236"/>
                </a:cubicBezTo>
                <a:cubicBezTo>
                  <a:pt x="1462" y="235"/>
                  <a:pt x="1461" y="235"/>
                  <a:pt x="1460" y="234"/>
                </a:cubicBezTo>
                <a:cubicBezTo>
                  <a:pt x="1459" y="233"/>
                  <a:pt x="1459" y="233"/>
                  <a:pt x="1459" y="233"/>
                </a:cubicBezTo>
                <a:cubicBezTo>
                  <a:pt x="1456" y="231"/>
                  <a:pt x="1456" y="231"/>
                  <a:pt x="1456" y="231"/>
                </a:cubicBezTo>
                <a:cubicBezTo>
                  <a:pt x="1455" y="230"/>
                  <a:pt x="1455" y="230"/>
                  <a:pt x="1455" y="230"/>
                </a:cubicBezTo>
                <a:cubicBezTo>
                  <a:pt x="1454" y="229"/>
                  <a:pt x="1453" y="229"/>
                  <a:pt x="1453" y="228"/>
                </a:cubicBezTo>
                <a:cubicBezTo>
                  <a:pt x="1452" y="228"/>
                  <a:pt x="1452" y="227"/>
                  <a:pt x="1451" y="227"/>
                </a:cubicBezTo>
                <a:cubicBezTo>
                  <a:pt x="1450" y="226"/>
                  <a:pt x="1449" y="226"/>
                  <a:pt x="1448" y="225"/>
                </a:cubicBezTo>
                <a:cubicBezTo>
                  <a:pt x="1447" y="224"/>
                  <a:pt x="1447" y="224"/>
                  <a:pt x="1447" y="224"/>
                </a:cubicBezTo>
                <a:cubicBezTo>
                  <a:pt x="1446" y="223"/>
                  <a:pt x="1445" y="223"/>
                  <a:pt x="1444" y="222"/>
                </a:cubicBezTo>
                <a:cubicBezTo>
                  <a:pt x="1443" y="222"/>
                  <a:pt x="1443" y="222"/>
                  <a:pt x="1442" y="221"/>
                </a:cubicBezTo>
                <a:cubicBezTo>
                  <a:pt x="1442" y="221"/>
                  <a:pt x="1441" y="220"/>
                  <a:pt x="1440" y="220"/>
                </a:cubicBezTo>
                <a:cubicBezTo>
                  <a:pt x="1439" y="219"/>
                  <a:pt x="1439" y="219"/>
                  <a:pt x="1439" y="219"/>
                </a:cubicBezTo>
                <a:cubicBezTo>
                  <a:pt x="1438" y="219"/>
                  <a:pt x="1438" y="219"/>
                  <a:pt x="1437" y="218"/>
                </a:cubicBezTo>
                <a:cubicBezTo>
                  <a:pt x="1436" y="217"/>
                  <a:pt x="1434" y="216"/>
                  <a:pt x="1432" y="216"/>
                </a:cubicBezTo>
                <a:cubicBezTo>
                  <a:pt x="1357" y="177"/>
                  <a:pt x="1198" y="152"/>
                  <a:pt x="1027" y="152"/>
                </a:cubicBezTo>
                <a:cubicBezTo>
                  <a:pt x="960" y="152"/>
                  <a:pt x="894" y="156"/>
                  <a:pt x="833" y="163"/>
                </a:cubicBezTo>
                <a:cubicBezTo>
                  <a:pt x="830" y="164"/>
                  <a:pt x="827" y="164"/>
                  <a:pt x="824" y="165"/>
                </a:cubicBezTo>
                <a:cubicBezTo>
                  <a:pt x="824" y="165"/>
                  <a:pt x="817" y="165"/>
                  <a:pt x="816" y="165"/>
                </a:cubicBezTo>
                <a:cubicBezTo>
                  <a:pt x="813" y="166"/>
                  <a:pt x="809" y="166"/>
                  <a:pt x="806" y="167"/>
                </a:cubicBezTo>
                <a:cubicBezTo>
                  <a:pt x="803" y="167"/>
                  <a:pt x="803" y="167"/>
                  <a:pt x="803" y="167"/>
                </a:cubicBezTo>
                <a:cubicBezTo>
                  <a:pt x="799" y="168"/>
                  <a:pt x="795" y="168"/>
                  <a:pt x="791" y="169"/>
                </a:cubicBezTo>
                <a:cubicBezTo>
                  <a:pt x="790" y="169"/>
                  <a:pt x="789" y="169"/>
                  <a:pt x="788" y="170"/>
                </a:cubicBezTo>
                <a:cubicBezTo>
                  <a:pt x="785" y="170"/>
                  <a:pt x="782" y="171"/>
                  <a:pt x="778" y="171"/>
                </a:cubicBezTo>
                <a:cubicBezTo>
                  <a:pt x="777" y="171"/>
                  <a:pt x="776" y="172"/>
                  <a:pt x="776" y="172"/>
                </a:cubicBezTo>
                <a:cubicBezTo>
                  <a:pt x="772" y="172"/>
                  <a:pt x="768" y="173"/>
                  <a:pt x="764" y="174"/>
                </a:cubicBezTo>
                <a:cubicBezTo>
                  <a:pt x="752" y="176"/>
                  <a:pt x="752" y="176"/>
                  <a:pt x="752" y="176"/>
                </a:cubicBezTo>
                <a:cubicBezTo>
                  <a:pt x="750" y="177"/>
                  <a:pt x="750" y="177"/>
                  <a:pt x="750" y="177"/>
                </a:cubicBezTo>
                <a:cubicBezTo>
                  <a:pt x="746" y="177"/>
                  <a:pt x="742" y="178"/>
                  <a:pt x="739" y="179"/>
                </a:cubicBezTo>
                <a:cubicBezTo>
                  <a:pt x="738" y="179"/>
                  <a:pt x="738" y="179"/>
                  <a:pt x="738" y="179"/>
                </a:cubicBezTo>
                <a:cubicBezTo>
                  <a:pt x="738" y="179"/>
                  <a:pt x="730" y="181"/>
                  <a:pt x="728" y="181"/>
                </a:cubicBezTo>
                <a:cubicBezTo>
                  <a:pt x="725" y="182"/>
                  <a:pt x="725" y="182"/>
                  <a:pt x="725" y="182"/>
                </a:cubicBezTo>
                <a:cubicBezTo>
                  <a:pt x="723" y="182"/>
                  <a:pt x="723" y="182"/>
                  <a:pt x="723" y="182"/>
                </a:cubicBezTo>
                <a:cubicBezTo>
                  <a:pt x="721" y="183"/>
                  <a:pt x="719" y="183"/>
                  <a:pt x="717" y="184"/>
                </a:cubicBezTo>
                <a:cubicBezTo>
                  <a:pt x="716" y="184"/>
                  <a:pt x="716" y="184"/>
                  <a:pt x="716" y="184"/>
                </a:cubicBezTo>
                <a:cubicBezTo>
                  <a:pt x="716" y="184"/>
                  <a:pt x="716" y="184"/>
                  <a:pt x="715" y="184"/>
                </a:cubicBezTo>
                <a:cubicBezTo>
                  <a:pt x="712" y="185"/>
                  <a:pt x="708" y="186"/>
                  <a:pt x="705" y="187"/>
                </a:cubicBezTo>
                <a:cubicBezTo>
                  <a:pt x="703" y="187"/>
                  <a:pt x="703" y="187"/>
                  <a:pt x="703" y="187"/>
                </a:cubicBezTo>
                <a:cubicBezTo>
                  <a:pt x="701" y="188"/>
                  <a:pt x="698" y="189"/>
                  <a:pt x="696" y="189"/>
                </a:cubicBezTo>
                <a:cubicBezTo>
                  <a:pt x="695" y="190"/>
                  <a:pt x="694" y="190"/>
                  <a:pt x="693" y="190"/>
                </a:cubicBezTo>
                <a:cubicBezTo>
                  <a:pt x="690" y="191"/>
                  <a:pt x="687" y="192"/>
                  <a:pt x="684" y="193"/>
                </a:cubicBezTo>
                <a:cubicBezTo>
                  <a:pt x="684" y="193"/>
                  <a:pt x="683" y="193"/>
                  <a:pt x="683" y="193"/>
                </a:cubicBezTo>
                <a:cubicBezTo>
                  <a:pt x="680" y="194"/>
                  <a:pt x="678" y="195"/>
                  <a:pt x="676" y="195"/>
                </a:cubicBezTo>
                <a:cubicBezTo>
                  <a:pt x="675" y="195"/>
                  <a:pt x="675" y="196"/>
                  <a:pt x="674" y="196"/>
                </a:cubicBezTo>
                <a:cubicBezTo>
                  <a:pt x="673" y="196"/>
                  <a:pt x="673" y="196"/>
                  <a:pt x="673" y="196"/>
                </a:cubicBezTo>
                <a:cubicBezTo>
                  <a:pt x="671" y="197"/>
                  <a:pt x="668" y="198"/>
                  <a:pt x="665" y="199"/>
                </a:cubicBezTo>
                <a:cubicBezTo>
                  <a:pt x="665" y="199"/>
                  <a:pt x="665" y="199"/>
                  <a:pt x="665" y="199"/>
                </a:cubicBezTo>
                <a:cubicBezTo>
                  <a:pt x="663" y="200"/>
                  <a:pt x="661" y="200"/>
                  <a:pt x="660" y="201"/>
                </a:cubicBezTo>
                <a:cubicBezTo>
                  <a:pt x="657" y="202"/>
                  <a:pt x="657" y="202"/>
                  <a:pt x="657" y="202"/>
                </a:cubicBezTo>
                <a:cubicBezTo>
                  <a:pt x="656" y="202"/>
                  <a:pt x="656" y="202"/>
                  <a:pt x="656" y="202"/>
                </a:cubicBezTo>
                <a:cubicBezTo>
                  <a:pt x="653" y="203"/>
                  <a:pt x="651" y="204"/>
                  <a:pt x="649" y="205"/>
                </a:cubicBezTo>
                <a:cubicBezTo>
                  <a:pt x="649" y="205"/>
                  <a:pt x="649" y="205"/>
                  <a:pt x="648" y="205"/>
                </a:cubicBezTo>
                <a:cubicBezTo>
                  <a:pt x="646" y="206"/>
                  <a:pt x="643" y="207"/>
                  <a:pt x="641" y="208"/>
                </a:cubicBezTo>
                <a:cubicBezTo>
                  <a:pt x="640" y="209"/>
                  <a:pt x="640" y="209"/>
                  <a:pt x="640" y="209"/>
                </a:cubicBezTo>
                <a:cubicBezTo>
                  <a:pt x="640" y="209"/>
                  <a:pt x="640" y="209"/>
                  <a:pt x="640" y="209"/>
                </a:cubicBezTo>
                <a:cubicBezTo>
                  <a:pt x="638" y="210"/>
                  <a:pt x="636" y="211"/>
                  <a:pt x="634" y="211"/>
                </a:cubicBezTo>
                <a:cubicBezTo>
                  <a:pt x="634" y="212"/>
                  <a:pt x="633" y="212"/>
                  <a:pt x="633" y="212"/>
                </a:cubicBezTo>
                <a:cubicBezTo>
                  <a:pt x="631" y="213"/>
                  <a:pt x="629" y="214"/>
                  <a:pt x="627" y="215"/>
                </a:cubicBezTo>
                <a:cubicBezTo>
                  <a:pt x="627" y="215"/>
                  <a:pt x="626" y="215"/>
                  <a:pt x="626" y="216"/>
                </a:cubicBezTo>
                <a:cubicBezTo>
                  <a:pt x="624" y="217"/>
                  <a:pt x="623" y="217"/>
                  <a:pt x="621" y="218"/>
                </a:cubicBezTo>
                <a:cubicBezTo>
                  <a:pt x="621" y="219"/>
                  <a:pt x="620" y="219"/>
                  <a:pt x="620" y="219"/>
                </a:cubicBezTo>
                <a:cubicBezTo>
                  <a:pt x="618" y="220"/>
                  <a:pt x="617" y="221"/>
                  <a:pt x="615" y="222"/>
                </a:cubicBezTo>
                <a:cubicBezTo>
                  <a:pt x="614" y="223"/>
                  <a:pt x="614" y="223"/>
                  <a:pt x="614" y="223"/>
                </a:cubicBezTo>
                <a:cubicBezTo>
                  <a:pt x="614" y="223"/>
                  <a:pt x="614" y="223"/>
                  <a:pt x="614" y="223"/>
                </a:cubicBezTo>
                <a:cubicBezTo>
                  <a:pt x="612" y="224"/>
                  <a:pt x="611" y="224"/>
                  <a:pt x="610" y="225"/>
                </a:cubicBezTo>
                <a:cubicBezTo>
                  <a:pt x="609" y="226"/>
                  <a:pt x="609" y="226"/>
                  <a:pt x="609" y="226"/>
                </a:cubicBezTo>
                <a:cubicBezTo>
                  <a:pt x="607" y="227"/>
                  <a:pt x="606" y="228"/>
                  <a:pt x="605" y="229"/>
                </a:cubicBezTo>
                <a:cubicBezTo>
                  <a:pt x="604" y="229"/>
                  <a:pt x="604" y="229"/>
                  <a:pt x="604" y="229"/>
                </a:cubicBezTo>
                <a:cubicBezTo>
                  <a:pt x="603" y="230"/>
                  <a:pt x="602" y="231"/>
                  <a:pt x="601" y="233"/>
                </a:cubicBezTo>
                <a:cubicBezTo>
                  <a:pt x="600" y="233"/>
                  <a:pt x="600" y="233"/>
                  <a:pt x="600" y="233"/>
                </a:cubicBezTo>
                <a:cubicBezTo>
                  <a:pt x="599" y="234"/>
                  <a:pt x="598" y="235"/>
                  <a:pt x="597" y="236"/>
                </a:cubicBezTo>
                <a:cubicBezTo>
                  <a:pt x="597" y="236"/>
                  <a:pt x="596" y="236"/>
                  <a:pt x="596" y="237"/>
                </a:cubicBezTo>
                <a:cubicBezTo>
                  <a:pt x="595" y="238"/>
                  <a:pt x="594" y="239"/>
                  <a:pt x="593" y="240"/>
                </a:cubicBezTo>
                <a:cubicBezTo>
                  <a:pt x="593" y="240"/>
                  <a:pt x="593" y="240"/>
                  <a:pt x="593" y="240"/>
                </a:cubicBezTo>
                <a:cubicBezTo>
                  <a:pt x="592" y="241"/>
                  <a:pt x="592" y="242"/>
                  <a:pt x="591" y="243"/>
                </a:cubicBezTo>
                <a:cubicBezTo>
                  <a:pt x="590" y="244"/>
                  <a:pt x="590" y="244"/>
                  <a:pt x="590" y="244"/>
                </a:cubicBezTo>
                <a:cubicBezTo>
                  <a:pt x="590" y="245"/>
                  <a:pt x="589" y="246"/>
                  <a:pt x="588" y="247"/>
                </a:cubicBezTo>
                <a:cubicBezTo>
                  <a:pt x="588" y="247"/>
                  <a:pt x="588" y="247"/>
                  <a:pt x="588" y="247"/>
                </a:cubicBezTo>
                <a:cubicBezTo>
                  <a:pt x="588" y="248"/>
                  <a:pt x="587" y="249"/>
                  <a:pt x="587" y="250"/>
                </a:cubicBezTo>
                <a:cubicBezTo>
                  <a:pt x="587" y="251"/>
                  <a:pt x="587" y="251"/>
                  <a:pt x="587" y="251"/>
                </a:cubicBezTo>
                <a:cubicBezTo>
                  <a:pt x="586" y="252"/>
                  <a:pt x="586" y="253"/>
                  <a:pt x="586" y="254"/>
                </a:cubicBezTo>
                <a:cubicBezTo>
                  <a:pt x="585" y="254"/>
                  <a:pt x="585" y="254"/>
                  <a:pt x="585" y="254"/>
                </a:cubicBezTo>
                <a:cubicBezTo>
                  <a:pt x="585" y="255"/>
                  <a:pt x="585" y="256"/>
                  <a:pt x="585" y="257"/>
                </a:cubicBezTo>
                <a:cubicBezTo>
                  <a:pt x="585" y="258"/>
                  <a:pt x="585" y="258"/>
                  <a:pt x="585" y="258"/>
                </a:cubicBezTo>
                <a:cubicBezTo>
                  <a:pt x="585" y="259"/>
                  <a:pt x="584" y="260"/>
                  <a:pt x="584" y="260"/>
                </a:cubicBezTo>
                <a:cubicBezTo>
                  <a:pt x="584" y="261"/>
                  <a:pt x="584" y="261"/>
                  <a:pt x="584" y="261"/>
                </a:cubicBezTo>
                <a:cubicBezTo>
                  <a:pt x="584" y="263"/>
                  <a:pt x="584" y="263"/>
                  <a:pt x="584" y="263"/>
                </a:cubicBezTo>
                <a:cubicBezTo>
                  <a:pt x="585" y="264"/>
                  <a:pt x="585" y="264"/>
                  <a:pt x="585" y="264"/>
                </a:cubicBezTo>
                <a:cubicBezTo>
                  <a:pt x="585" y="265"/>
                  <a:pt x="585" y="266"/>
                  <a:pt x="585" y="266"/>
                </a:cubicBezTo>
                <a:cubicBezTo>
                  <a:pt x="585" y="267"/>
                  <a:pt x="585" y="267"/>
                  <a:pt x="585" y="267"/>
                </a:cubicBezTo>
                <a:cubicBezTo>
                  <a:pt x="585" y="268"/>
                  <a:pt x="585" y="268"/>
                  <a:pt x="586" y="269"/>
                </a:cubicBezTo>
                <a:cubicBezTo>
                  <a:pt x="586" y="270"/>
                  <a:pt x="586" y="270"/>
                  <a:pt x="586" y="270"/>
                </a:cubicBezTo>
                <a:cubicBezTo>
                  <a:pt x="586" y="271"/>
                  <a:pt x="587" y="271"/>
                  <a:pt x="587" y="272"/>
                </a:cubicBezTo>
                <a:cubicBezTo>
                  <a:pt x="587" y="273"/>
                  <a:pt x="587" y="273"/>
                  <a:pt x="587" y="273"/>
                </a:cubicBezTo>
                <a:cubicBezTo>
                  <a:pt x="587" y="273"/>
                  <a:pt x="588" y="274"/>
                  <a:pt x="588" y="275"/>
                </a:cubicBezTo>
                <a:cubicBezTo>
                  <a:pt x="588" y="275"/>
                  <a:pt x="589" y="275"/>
                  <a:pt x="589" y="276"/>
                </a:cubicBezTo>
                <a:cubicBezTo>
                  <a:pt x="589" y="276"/>
                  <a:pt x="589" y="277"/>
                  <a:pt x="590" y="277"/>
                </a:cubicBezTo>
                <a:cubicBezTo>
                  <a:pt x="590" y="278"/>
                  <a:pt x="590" y="278"/>
                  <a:pt x="590" y="278"/>
                </a:cubicBezTo>
                <a:cubicBezTo>
                  <a:pt x="591" y="279"/>
                  <a:pt x="591" y="280"/>
                  <a:pt x="592" y="280"/>
                </a:cubicBezTo>
                <a:cubicBezTo>
                  <a:pt x="593" y="281"/>
                  <a:pt x="593" y="281"/>
                  <a:pt x="593" y="281"/>
                </a:cubicBezTo>
                <a:cubicBezTo>
                  <a:pt x="593" y="282"/>
                  <a:pt x="594" y="283"/>
                  <a:pt x="594" y="283"/>
                </a:cubicBezTo>
                <a:cubicBezTo>
                  <a:pt x="595" y="284"/>
                  <a:pt x="595" y="284"/>
                  <a:pt x="595" y="284"/>
                </a:cubicBezTo>
                <a:cubicBezTo>
                  <a:pt x="595" y="284"/>
                  <a:pt x="595" y="284"/>
                  <a:pt x="595" y="284"/>
                </a:cubicBezTo>
                <a:cubicBezTo>
                  <a:pt x="596" y="285"/>
                  <a:pt x="596" y="286"/>
                  <a:pt x="597" y="286"/>
                </a:cubicBezTo>
                <a:cubicBezTo>
                  <a:pt x="598" y="287"/>
                  <a:pt x="598" y="287"/>
                  <a:pt x="598" y="287"/>
                </a:cubicBezTo>
                <a:cubicBezTo>
                  <a:pt x="599" y="288"/>
                  <a:pt x="600" y="289"/>
                  <a:pt x="601" y="290"/>
                </a:cubicBezTo>
                <a:cubicBezTo>
                  <a:pt x="601" y="290"/>
                  <a:pt x="602" y="290"/>
                  <a:pt x="602" y="291"/>
                </a:cubicBezTo>
                <a:cubicBezTo>
                  <a:pt x="604" y="293"/>
                  <a:pt x="604" y="293"/>
                  <a:pt x="604" y="293"/>
                </a:cubicBezTo>
                <a:cubicBezTo>
                  <a:pt x="605" y="293"/>
                  <a:pt x="605" y="293"/>
                  <a:pt x="605" y="293"/>
                </a:cubicBezTo>
                <a:cubicBezTo>
                  <a:pt x="605" y="293"/>
                  <a:pt x="605" y="293"/>
                  <a:pt x="606" y="294"/>
                </a:cubicBezTo>
                <a:cubicBezTo>
                  <a:pt x="606" y="294"/>
                  <a:pt x="607" y="295"/>
                  <a:pt x="608" y="295"/>
                </a:cubicBezTo>
                <a:cubicBezTo>
                  <a:pt x="609" y="296"/>
                  <a:pt x="609" y="296"/>
                  <a:pt x="609" y="296"/>
                </a:cubicBezTo>
                <a:cubicBezTo>
                  <a:pt x="610" y="297"/>
                  <a:pt x="611" y="298"/>
                  <a:pt x="612" y="298"/>
                </a:cubicBezTo>
                <a:cubicBezTo>
                  <a:pt x="613" y="299"/>
                  <a:pt x="613" y="299"/>
                  <a:pt x="614" y="299"/>
                </a:cubicBezTo>
                <a:cubicBezTo>
                  <a:pt x="615" y="300"/>
                  <a:pt x="616" y="301"/>
                  <a:pt x="617" y="301"/>
                </a:cubicBezTo>
                <a:cubicBezTo>
                  <a:pt x="617" y="301"/>
                  <a:pt x="618" y="302"/>
                  <a:pt x="618" y="302"/>
                </a:cubicBezTo>
                <a:cubicBezTo>
                  <a:pt x="622" y="304"/>
                  <a:pt x="622" y="304"/>
                  <a:pt x="622" y="304"/>
                </a:cubicBezTo>
                <a:cubicBezTo>
                  <a:pt x="622" y="304"/>
                  <a:pt x="623" y="305"/>
                  <a:pt x="623" y="305"/>
                </a:cubicBezTo>
                <a:cubicBezTo>
                  <a:pt x="625" y="306"/>
                  <a:pt x="627" y="307"/>
                  <a:pt x="628" y="308"/>
                </a:cubicBezTo>
                <a:cubicBezTo>
                  <a:pt x="644" y="316"/>
                  <a:pt x="664" y="324"/>
                  <a:pt x="687" y="330"/>
                </a:cubicBezTo>
                <a:cubicBezTo>
                  <a:pt x="687" y="331"/>
                  <a:pt x="687" y="331"/>
                  <a:pt x="687" y="331"/>
                </a:cubicBezTo>
                <a:cubicBezTo>
                  <a:pt x="688" y="331"/>
                  <a:pt x="688" y="331"/>
                  <a:pt x="688" y="331"/>
                </a:cubicBezTo>
                <a:lnTo>
                  <a:pt x="689" y="331"/>
                </a:lnTo>
                <a:close/>
              </a:path>
            </a:pathLst>
          </a:custGeom>
          <a:gradFill flip="none" rotWithShape="1">
            <a:gsLst>
              <a:gs pos="100000">
                <a:schemeClr val="accent1">
                  <a:lumMod val="50000"/>
                  <a:lumOff val="50000"/>
                </a:schemeClr>
              </a:gs>
              <a:gs pos="0">
                <a:schemeClr val="accent1">
                  <a:lumMod val="25000"/>
                  <a:lumOff val="75000"/>
                </a:schemeClr>
              </a:gs>
            </a:gsLst>
            <a:lin ang="2700000" scaled="1"/>
            <a:tileRect/>
          </a:gradFill>
          <a:ln w="6350">
            <a:gradFill>
              <a:gsLst>
                <a:gs pos="0">
                  <a:schemeClr val="accent1">
                    <a:lumMod val="0"/>
                    <a:lumOff val="100000"/>
                    <a:alpha val="70000"/>
                  </a:schemeClr>
                </a:gs>
                <a:gs pos="100000">
                  <a:schemeClr val="accent1">
                    <a:lumMod val="0"/>
                    <a:lumOff val="100000"/>
                    <a:alpha val="70000"/>
                  </a:schemeClr>
                </a:gs>
              </a:gsLst>
              <a:lin ang="5400000" scaled="1"/>
            </a:gradFill>
          </a:ln>
          <a:effectLst>
            <a:outerShdw blurRad="190500" dist="101600" dir="2700000" algn="tl" rotWithShape="0">
              <a:schemeClr val="accent1">
                <a:alpha val="12000"/>
              </a:schemeClr>
            </a:outerShdw>
          </a:effectLst>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485899" tIns="63500" rIns="1485901" bIns="63500" numCol="1" spcCol="1270" anchor="ctr" anchorCtr="0">
            <a:noAutofit/>
          </a:bodyPr>
          <a:lstStyle/>
          <a:p>
            <a:pPr algn="ctr" defTabSz="2222500">
              <a:lnSpc>
                <a:spcPct val="90000"/>
              </a:lnSpc>
              <a:spcBef>
                <a:spcPct val="0"/>
              </a:spcBef>
              <a:spcAft>
                <a:spcPct val="35000"/>
              </a:spcAft>
            </a:pPr>
            <a:endParaRPr lang="id-ID" sz="3200">
              <a:solidFill>
                <a:prstClr val="white"/>
              </a:solidFill>
              <a:latin typeface="等线" panose="020F0502020204030204"/>
              <a:ea typeface="等线" panose="02010600030101010101" pitchFamily="2" charset="-122"/>
            </a:endParaRPr>
          </a:p>
        </p:txBody>
      </p:sp>
    </p:spTree>
    <p:extLst>
      <p:ext uri="{BB962C8B-B14F-4D97-AF65-F5344CB8AC3E}">
        <p14:creationId xmlns:p14="http://schemas.microsoft.com/office/powerpoint/2010/main" val="2963261751"/>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5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椭圆 7">
            <a:extLst>
              <a:ext uri="{FF2B5EF4-FFF2-40B4-BE49-F238E27FC236}">
                <a16:creationId xmlns:a16="http://schemas.microsoft.com/office/drawing/2014/main" id="{50B3E211-FF94-A95E-7775-5433B06B22D9}"/>
              </a:ext>
            </a:extLst>
          </p:cNvPr>
          <p:cNvSpPr/>
          <p:nvPr/>
        </p:nvSpPr>
        <p:spPr>
          <a:xfrm>
            <a:off x="1900635" y="4845414"/>
            <a:ext cx="8390730" cy="2181620"/>
          </a:xfrm>
          <a:prstGeom prst="ellipse">
            <a:avLst/>
          </a:prstGeom>
          <a:noFill/>
          <a:ln w="19050">
            <a:gradFill>
              <a:gsLst>
                <a:gs pos="0">
                  <a:schemeClr val="accent1">
                    <a:alpha val="0"/>
                  </a:schemeClr>
                </a:gs>
                <a:gs pos="100000">
                  <a:schemeClr val="accent1">
                    <a:alpha val="3000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350">
              <a:defRPr/>
            </a:pPr>
            <a:endParaRPr lang="zh-CN" altLang="en-US" sz="1013" dirty="0">
              <a:solidFill>
                <a:prstClr val="white"/>
              </a:solidFill>
              <a:latin typeface="等线" panose="020F0502020204030204"/>
              <a:ea typeface="等线" panose="02010600030101010101" pitchFamily="2" charset="-122"/>
            </a:endParaRPr>
          </a:p>
        </p:txBody>
      </p:sp>
      <p:sp>
        <p:nvSpPr>
          <p:cNvPr id="9" name="椭圆 8">
            <a:extLst>
              <a:ext uri="{FF2B5EF4-FFF2-40B4-BE49-F238E27FC236}">
                <a16:creationId xmlns:a16="http://schemas.microsoft.com/office/drawing/2014/main" id="{5738D5BE-14B8-B631-1EC7-A559BE4B9A30}"/>
              </a:ext>
            </a:extLst>
          </p:cNvPr>
          <p:cNvSpPr/>
          <p:nvPr/>
        </p:nvSpPr>
        <p:spPr>
          <a:xfrm>
            <a:off x="3677713" y="5491728"/>
            <a:ext cx="4813186" cy="993936"/>
          </a:xfrm>
          <a:prstGeom prst="ellipse">
            <a:avLst/>
          </a:prstGeom>
          <a:gradFill>
            <a:gsLst>
              <a:gs pos="15000">
                <a:schemeClr val="accent1">
                  <a:alpha val="0"/>
                </a:schemeClr>
              </a:gs>
              <a:gs pos="90000">
                <a:schemeClr val="accent1">
                  <a:alpha val="15000"/>
                </a:schemeClr>
              </a:gs>
            </a:gsLst>
            <a:lin ang="5400000" scaled="1"/>
          </a:gradFill>
          <a:ln w="317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350">
              <a:defRPr/>
            </a:pPr>
            <a:endParaRPr lang="zh-CN" altLang="en-US" sz="1013">
              <a:solidFill>
                <a:prstClr val="white"/>
              </a:solidFill>
              <a:latin typeface="等线" panose="020F0502020204030204"/>
              <a:ea typeface="等线" panose="02010600030101010101" pitchFamily="2" charset="-122"/>
            </a:endParaRPr>
          </a:p>
        </p:txBody>
      </p:sp>
      <p:sp>
        <p:nvSpPr>
          <p:cNvPr id="2" name="不完整圆 1">
            <a:extLst>
              <a:ext uri="{FF2B5EF4-FFF2-40B4-BE49-F238E27FC236}">
                <a16:creationId xmlns:a16="http://schemas.microsoft.com/office/drawing/2014/main" id="{F0548128-C22D-5206-A8E1-25B327ED91AF}"/>
              </a:ext>
            </a:extLst>
          </p:cNvPr>
          <p:cNvSpPr/>
          <p:nvPr/>
        </p:nvSpPr>
        <p:spPr>
          <a:xfrm>
            <a:off x="1208084" y="736600"/>
            <a:ext cx="9747630" cy="9747630"/>
          </a:xfrm>
          <a:prstGeom prst="pie">
            <a:avLst>
              <a:gd name="adj1" fmla="val 14714689"/>
              <a:gd name="adj2" fmla="val 17717350"/>
            </a:avLst>
          </a:prstGeom>
          <a:gradFill flip="none" rotWithShape="1">
            <a:gsLst>
              <a:gs pos="100000">
                <a:schemeClr val="accent1">
                  <a:lumMod val="0"/>
                  <a:lumOff val="100000"/>
                  <a:alpha val="30000"/>
                </a:schemeClr>
              </a:gs>
              <a:gs pos="0">
                <a:schemeClr val="accent1">
                  <a:lumMod val="15000"/>
                  <a:lumOff val="85000"/>
                </a:schemeClr>
              </a:gs>
            </a:gsLst>
            <a:lin ang="2700000" scaled="0"/>
            <a:tileRect/>
          </a:gradFill>
          <a:ln w="6350" cap="flat" cmpd="sng" algn="ctr">
            <a:gradFill>
              <a:gsLst>
                <a:gs pos="0">
                  <a:schemeClr val="accent1">
                    <a:lumMod val="0"/>
                    <a:lumOff val="100000"/>
                  </a:schemeClr>
                </a:gs>
                <a:gs pos="100000">
                  <a:schemeClr val="accent1">
                    <a:lumMod val="0"/>
                    <a:lumOff val="100000"/>
                  </a:schemeClr>
                </a:gs>
              </a:gsLst>
              <a:lin ang="5400000" scaled="1"/>
            </a:gradFill>
            <a:prstDash val="solid"/>
            <a:miter lim="800000"/>
          </a:ln>
          <a:effectLst>
            <a:outerShdw blurRad="317500" dist="101600" dir="2700000" sx="99000" sy="99000" algn="tl" rotWithShape="0">
              <a:schemeClr val="accent1">
                <a:lumMod val="50000"/>
                <a:alpha val="1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latin typeface="Arial"/>
            </a:endParaRPr>
          </a:p>
        </p:txBody>
      </p:sp>
      <p:sp>
        <p:nvSpPr>
          <p:cNvPr id="51" name="任意多边形: 形状 50">
            <a:extLst>
              <a:ext uri="{FF2B5EF4-FFF2-40B4-BE49-F238E27FC236}">
                <a16:creationId xmlns:a16="http://schemas.microsoft.com/office/drawing/2014/main" id="{E1D417B0-435E-E355-AD87-6791F18FD771}"/>
              </a:ext>
            </a:extLst>
          </p:cNvPr>
          <p:cNvSpPr/>
          <p:nvPr/>
        </p:nvSpPr>
        <p:spPr>
          <a:xfrm>
            <a:off x="5578536" y="4584385"/>
            <a:ext cx="531567" cy="1026643"/>
          </a:xfrm>
          <a:custGeom>
            <a:avLst/>
            <a:gdLst>
              <a:gd name="connsiteX0" fmla="*/ 517793 w 531567"/>
              <a:gd name="connsiteY0" fmla="*/ 0 h 1026643"/>
              <a:gd name="connsiteX1" fmla="*/ 531567 w 531567"/>
              <a:gd name="connsiteY1" fmla="*/ 962 h 1026643"/>
              <a:gd name="connsiteX2" fmla="*/ 531567 w 531567"/>
              <a:gd name="connsiteY2" fmla="*/ 1001257 h 1026643"/>
              <a:gd name="connsiteX3" fmla="*/ 517793 w 531567"/>
              <a:gd name="connsiteY3" fmla="*/ 1026643 h 1026643"/>
              <a:gd name="connsiteX4" fmla="*/ 0 w 531567"/>
              <a:gd name="connsiteY4" fmla="*/ 72382 h 1026643"/>
              <a:gd name="connsiteX5" fmla="*/ 517793 w 531567"/>
              <a:gd name="connsiteY5" fmla="*/ 0 h 10266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31567" h="1026643">
                <a:moveTo>
                  <a:pt x="517793" y="0"/>
                </a:moveTo>
                <a:lnTo>
                  <a:pt x="531567" y="962"/>
                </a:lnTo>
                <a:lnTo>
                  <a:pt x="531567" y="1001257"/>
                </a:lnTo>
                <a:lnTo>
                  <a:pt x="517793" y="1026643"/>
                </a:lnTo>
                <a:lnTo>
                  <a:pt x="0" y="72382"/>
                </a:lnTo>
                <a:cubicBezTo>
                  <a:pt x="159152" y="25725"/>
                  <a:pt x="334003" y="0"/>
                  <a:pt x="517793" y="0"/>
                </a:cubicBezTo>
                <a:close/>
              </a:path>
            </a:pathLst>
          </a:custGeom>
          <a:gradFill flip="none" rotWithShape="1">
            <a:gsLst>
              <a:gs pos="0">
                <a:schemeClr val="accent1">
                  <a:lumMod val="100000"/>
                </a:schemeClr>
              </a:gs>
              <a:gs pos="100000">
                <a:schemeClr val="accent1">
                  <a:lumMod val="60000"/>
                </a:schemeClr>
              </a:gs>
            </a:gsLst>
            <a:path path="circle">
              <a:fillToRect r="100000" b="100000"/>
            </a:path>
            <a:tileRect l="-100000" t="-100000"/>
          </a:gradFill>
          <a:ln>
            <a:noFill/>
          </a:ln>
          <a:effectLst>
            <a:outerShdw blurRad="254000" dist="508000" dir="5400000" sx="90000" sy="-19000" rotWithShape="0">
              <a:schemeClr val="accent1">
                <a:lumMod val="50000"/>
                <a:alpha val="1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a:solidFill>
                <a:srgbClr val="FFFFFF"/>
              </a:solidFill>
              <a:latin typeface="Arial"/>
              <a:sym typeface="Calibri"/>
            </a:endParaRPr>
          </a:p>
        </p:txBody>
      </p:sp>
      <p:sp>
        <p:nvSpPr>
          <p:cNvPr id="52" name="任意多边形: 形状 51">
            <a:extLst>
              <a:ext uri="{FF2B5EF4-FFF2-40B4-BE49-F238E27FC236}">
                <a16:creationId xmlns:a16="http://schemas.microsoft.com/office/drawing/2014/main" id="{A1B2FFE1-231D-F577-2B6B-B489AE12283F}"/>
              </a:ext>
            </a:extLst>
          </p:cNvPr>
          <p:cNvSpPr/>
          <p:nvPr/>
        </p:nvSpPr>
        <p:spPr>
          <a:xfrm>
            <a:off x="5061398" y="3515662"/>
            <a:ext cx="1048702" cy="1024026"/>
          </a:xfrm>
          <a:custGeom>
            <a:avLst/>
            <a:gdLst>
              <a:gd name="connsiteX0" fmla="*/ 1034708 w 1048702"/>
              <a:gd name="connsiteY0" fmla="*/ 0 h 1024026"/>
              <a:gd name="connsiteX1" fmla="*/ 1048702 w 1048702"/>
              <a:gd name="connsiteY1" fmla="*/ 531 h 1024026"/>
              <a:gd name="connsiteX2" fmla="*/ 1048702 w 1048702"/>
              <a:gd name="connsiteY2" fmla="*/ 940793 h 1024026"/>
              <a:gd name="connsiteX3" fmla="*/ 1046814 w 1048702"/>
              <a:gd name="connsiteY3" fmla="*/ 940777 h 1024026"/>
              <a:gd name="connsiteX4" fmla="*/ 1034708 w 1048702"/>
              <a:gd name="connsiteY4" fmla="*/ 940962 h 1024026"/>
              <a:gd name="connsiteX5" fmla="*/ 440177 w 1048702"/>
              <a:gd name="connsiteY5" fmla="*/ 1024026 h 1024026"/>
              <a:gd name="connsiteX6" fmla="*/ 0 w 1048702"/>
              <a:gd name="connsiteY6" fmla="*/ 221723 h 1024026"/>
              <a:gd name="connsiteX7" fmla="*/ 1034708 w 1048702"/>
              <a:gd name="connsiteY7" fmla="*/ 0 h 1024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48702" h="1024026">
                <a:moveTo>
                  <a:pt x="1034708" y="0"/>
                </a:moveTo>
                <a:lnTo>
                  <a:pt x="1048702" y="531"/>
                </a:lnTo>
                <a:lnTo>
                  <a:pt x="1048702" y="940793"/>
                </a:lnTo>
                <a:lnTo>
                  <a:pt x="1046814" y="940777"/>
                </a:lnTo>
                <a:cubicBezTo>
                  <a:pt x="1038878" y="940829"/>
                  <a:pt x="1034708" y="940962"/>
                  <a:pt x="1034708" y="940962"/>
                </a:cubicBezTo>
                <a:cubicBezTo>
                  <a:pt x="1034708" y="940962"/>
                  <a:pt x="767857" y="932459"/>
                  <a:pt x="440177" y="1024026"/>
                </a:cubicBezTo>
                <a:lnTo>
                  <a:pt x="0" y="221723"/>
                </a:lnTo>
                <a:cubicBezTo>
                  <a:pt x="0" y="221723"/>
                  <a:pt x="315252" y="0"/>
                  <a:pt x="1034708" y="0"/>
                </a:cubicBezTo>
                <a:close/>
              </a:path>
            </a:pathLst>
          </a:custGeom>
          <a:gradFill flip="none" rotWithShape="1">
            <a:gsLst>
              <a:gs pos="0">
                <a:schemeClr val="accent1">
                  <a:lumMod val="75000"/>
                  <a:lumOff val="25000"/>
                </a:schemeClr>
              </a:gs>
              <a:gs pos="100000">
                <a:schemeClr val="accent1">
                  <a:lumMod val="80000"/>
                </a:schemeClr>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a:solidFill>
                <a:srgbClr val="FFFFFF"/>
              </a:solidFill>
              <a:latin typeface="Arial"/>
              <a:sym typeface="Calibri"/>
            </a:endParaRPr>
          </a:p>
        </p:txBody>
      </p:sp>
      <p:sp>
        <p:nvSpPr>
          <p:cNvPr id="54" name="任意多边形: 形状 53">
            <a:extLst>
              <a:ext uri="{FF2B5EF4-FFF2-40B4-BE49-F238E27FC236}">
                <a16:creationId xmlns:a16="http://schemas.microsoft.com/office/drawing/2014/main" id="{156E487B-F5B7-8325-4FD9-FE5E8F35A56F}"/>
              </a:ext>
            </a:extLst>
          </p:cNvPr>
          <p:cNvSpPr/>
          <p:nvPr/>
        </p:nvSpPr>
        <p:spPr>
          <a:xfrm>
            <a:off x="4549496" y="2417076"/>
            <a:ext cx="1560607" cy="1189720"/>
          </a:xfrm>
          <a:custGeom>
            <a:avLst/>
            <a:gdLst>
              <a:gd name="connsiteX0" fmla="*/ 1546615 w 1560607"/>
              <a:gd name="connsiteY0" fmla="*/ 0 h 1189720"/>
              <a:gd name="connsiteX1" fmla="*/ 1560607 w 1560607"/>
              <a:gd name="connsiteY1" fmla="*/ 714 h 1189720"/>
              <a:gd name="connsiteX2" fmla="*/ 1560607 w 1560607"/>
              <a:gd name="connsiteY2" fmla="*/ 957516 h 1189720"/>
              <a:gd name="connsiteX3" fmla="*/ 1546833 w 1560607"/>
              <a:gd name="connsiteY3" fmla="*/ 957315 h 1189720"/>
              <a:gd name="connsiteX4" fmla="*/ 462197 w 1560607"/>
              <a:gd name="connsiteY4" fmla="*/ 1189720 h 1189720"/>
              <a:gd name="connsiteX5" fmla="*/ 0 w 1560607"/>
              <a:gd name="connsiteY5" fmla="*/ 400935 h 1189720"/>
              <a:gd name="connsiteX6" fmla="*/ 1546615 w 1560607"/>
              <a:gd name="connsiteY6" fmla="*/ 0 h 1189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60607" h="1189720">
                <a:moveTo>
                  <a:pt x="1546615" y="0"/>
                </a:moveTo>
                <a:lnTo>
                  <a:pt x="1560607" y="714"/>
                </a:lnTo>
                <a:lnTo>
                  <a:pt x="1560607" y="957516"/>
                </a:lnTo>
                <a:lnTo>
                  <a:pt x="1546833" y="957315"/>
                </a:lnTo>
                <a:cubicBezTo>
                  <a:pt x="1353451" y="957315"/>
                  <a:pt x="905645" y="976063"/>
                  <a:pt x="462197" y="1189720"/>
                </a:cubicBezTo>
                <a:lnTo>
                  <a:pt x="0" y="400935"/>
                </a:lnTo>
                <a:cubicBezTo>
                  <a:pt x="0" y="400935"/>
                  <a:pt x="603254" y="0"/>
                  <a:pt x="1546615" y="0"/>
                </a:cubicBezTo>
                <a:close/>
              </a:path>
            </a:pathLst>
          </a:custGeom>
          <a:gradFill flip="none" rotWithShape="1">
            <a:gsLst>
              <a:gs pos="0">
                <a:schemeClr val="accent1">
                  <a:lumMod val="55000"/>
                  <a:lumOff val="45000"/>
                </a:schemeClr>
              </a:gs>
              <a:gs pos="100000">
                <a:schemeClr val="accent1">
                  <a:lumMod val="90000"/>
                </a:schemeClr>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a:solidFill>
                <a:srgbClr val="FFFFFF"/>
              </a:solidFill>
              <a:latin typeface="Arial"/>
              <a:sym typeface="Calibri"/>
            </a:endParaRPr>
          </a:p>
        </p:txBody>
      </p:sp>
      <p:sp>
        <p:nvSpPr>
          <p:cNvPr id="56" name="任意多边形: 形状 55">
            <a:extLst>
              <a:ext uri="{FF2B5EF4-FFF2-40B4-BE49-F238E27FC236}">
                <a16:creationId xmlns:a16="http://schemas.microsoft.com/office/drawing/2014/main" id="{B3A2E6D6-DB69-FEEB-0C4C-3C234ACD6645}"/>
              </a:ext>
            </a:extLst>
          </p:cNvPr>
          <p:cNvSpPr/>
          <p:nvPr/>
        </p:nvSpPr>
        <p:spPr>
          <a:xfrm>
            <a:off x="3928364" y="1246974"/>
            <a:ext cx="2181738" cy="1429104"/>
          </a:xfrm>
          <a:custGeom>
            <a:avLst/>
            <a:gdLst>
              <a:gd name="connsiteX0" fmla="*/ 2167529 w 2181738"/>
              <a:gd name="connsiteY0" fmla="*/ 0 h 1429104"/>
              <a:gd name="connsiteX1" fmla="*/ 2167964 w 2181738"/>
              <a:gd name="connsiteY1" fmla="*/ 0 h 1429104"/>
              <a:gd name="connsiteX2" fmla="*/ 2181738 w 2181738"/>
              <a:gd name="connsiteY2" fmla="*/ 609 h 1429104"/>
              <a:gd name="connsiteX3" fmla="*/ 2181738 w 2181738"/>
              <a:gd name="connsiteY3" fmla="*/ 1008897 h 1429104"/>
              <a:gd name="connsiteX4" fmla="*/ 2180546 w 2181738"/>
              <a:gd name="connsiteY4" fmla="*/ 1008911 h 1429104"/>
              <a:gd name="connsiteX5" fmla="*/ 2167964 w 2181738"/>
              <a:gd name="connsiteY5" fmla="*/ 1009202 h 1429104"/>
              <a:gd name="connsiteX6" fmla="*/ 2167529 w 2181738"/>
              <a:gd name="connsiteY6" fmla="*/ 1009202 h 1429104"/>
              <a:gd name="connsiteX7" fmla="*/ 548314 w 2181738"/>
              <a:gd name="connsiteY7" fmla="*/ 1429104 h 1429104"/>
              <a:gd name="connsiteX8" fmla="*/ 0 w 2181738"/>
              <a:gd name="connsiteY8" fmla="*/ 494463 h 1429104"/>
              <a:gd name="connsiteX9" fmla="*/ 2167529 w 2181738"/>
              <a:gd name="connsiteY9" fmla="*/ 0 h 1429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81738" h="1429104">
                <a:moveTo>
                  <a:pt x="2167529" y="0"/>
                </a:moveTo>
                <a:cubicBezTo>
                  <a:pt x="2167746" y="0"/>
                  <a:pt x="2167746" y="0"/>
                  <a:pt x="2167964" y="0"/>
                </a:cubicBezTo>
                <a:lnTo>
                  <a:pt x="2181738" y="609"/>
                </a:lnTo>
                <a:lnTo>
                  <a:pt x="2181738" y="1008897"/>
                </a:lnTo>
                <a:lnTo>
                  <a:pt x="2180546" y="1008911"/>
                </a:lnTo>
                <a:cubicBezTo>
                  <a:pt x="2173141" y="1009062"/>
                  <a:pt x="2168863" y="1009202"/>
                  <a:pt x="2167964" y="1009202"/>
                </a:cubicBezTo>
                <a:cubicBezTo>
                  <a:pt x="2167964" y="1009202"/>
                  <a:pt x="2167746" y="1009202"/>
                  <a:pt x="2167529" y="1009202"/>
                </a:cubicBezTo>
                <a:cubicBezTo>
                  <a:pt x="2153138" y="1009202"/>
                  <a:pt x="1251202" y="998085"/>
                  <a:pt x="548314" y="1429104"/>
                </a:cubicBezTo>
                <a:lnTo>
                  <a:pt x="0" y="494463"/>
                </a:lnTo>
                <a:cubicBezTo>
                  <a:pt x="0" y="494463"/>
                  <a:pt x="809280" y="0"/>
                  <a:pt x="2167529" y="0"/>
                </a:cubicBezTo>
                <a:close/>
              </a:path>
            </a:pathLst>
          </a:custGeom>
          <a:gradFill flip="none" rotWithShape="1">
            <a:gsLst>
              <a:gs pos="0">
                <a:schemeClr val="accent1">
                  <a:lumMod val="15000"/>
                  <a:lumOff val="85000"/>
                </a:schemeClr>
              </a:gs>
              <a:gs pos="100000">
                <a:schemeClr val="accent1">
                  <a:lumMod val="100000"/>
                </a:schemeClr>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a:solidFill>
                <a:srgbClr val="FFFFFF"/>
              </a:solidFill>
              <a:latin typeface="Arial"/>
              <a:sym typeface="Calibri"/>
            </a:endParaRPr>
          </a:p>
        </p:txBody>
      </p:sp>
      <p:sp>
        <p:nvSpPr>
          <p:cNvPr id="58" name="任意多边形: 形状 57">
            <a:extLst>
              <a:ext uri="{FF2B5EF4-FFF2-40B4-BE49-F238E27FC236}">
                <a16:creationId xmlns:a16="http://schemas.microsoft.com/office/drawing/2014/main" id="{A75BD915-DDE2-52EF-4812-437105D0661E}"/>
              </a:ext>
            </a:extLst>
          </p:cNvPr>
          <p:cNvSpPr/>
          <p:nvPr/>
        </p:nvSpPr>
        <p:spPr>
          <a:xfrm>
            <a:off x="6110103" y="4584432"/>
            <a:ext cx="504017" cy="1000295"/>
          </a:xfrm>
          <a:custGeom>
            <a:avLst/>
            <a:gdLst>
              <a:gd name="connsiteX0" fmla="*/ 0 w 504017"/>
              <a:gd name="connsiteY0" fmla="*/ 0 h 1000295"/>
              <a:gd name="connsiteX1" fmla="*/ 254278 w 504017"/>
              <a:gd name="connsiteY1" fmla="*/ 17735 h 1000295"/>
              <a:gd name="connsiteX2" fmla="*/ 504017 w 504017"/>
              <a:gd name="connsiteY2" fmla="*/ 71421 h 1000295"/>
              <a:gd name="connsiteX3" fmla="*/ 0 w 504017"/>
              <a:gd name="connsiteY3" fmla="*/ 1000295 h 1000295"/>
            </a:gdLst>
            <a:ahLst/>
            <a:cxnLst>
              <a:cxn ang="0">
                <a:pos x="connsiteX0" y="connsiteY0"/>
              </a:cxn>
              <a:cxn ang="0">
                <a:pos x="connsiteX1" y="connsiteY1"/>
              </a:cxn>
              <a:cxn ang="0">
                <a:pos x="connsiteX2" y="connsiteY2"/>
              </a:cxn>
              <a:cxn ang="0">
                <a:pos x="connsiteX3" y="connsiteY3"/>
              </a:cxn>
            </a:cxnLst>
            <a:rect l="l" t="t" r="r" b="b"/>
            <a:pathLst>
              <a:path w="504017" h="1000295">
                <a:moveTo>
                  <a:pt x="0" y="0"/>
                </a:moveTo>
                <a:lnTo>
                  <a:pt x="254278" y="17735"/>
                </a:lnTo>
                <a:cubicBezTo>
                  <a:pt x="340885" y="29996"/>
                  <a:pt x="424441" y="48092"/>
                  <a:pt x="504017" y="71421"/>
                </a:cubicBezTo>
                <a:lnTo>
                  <a:pt x="0" y="1000295"/>
                </a:lnTo>
                <a:close/>
              </a:path>
            </a:pathLst>
          </a:custGeom>
          <a:gradFill flip="none" rotWithShape="1">
            <a:gsLst>
              <a:gs pos="0">
                <a:schemeClr val="accent1">
                  <a:lumMod val="100000"/>
                </a:schemeClr>
              </a:gs>
              <a:gs pos="100000">
                <a:schemeClr val="accent1">
                  <a:lumMod val="60000"/>
                </a:schemeClr>
              </a:gs>
            </a:gsLst>
            <a:path path="circle">
              <a:fillToRect r="100000" b="100000"/>
            </a:path>
            <a:tileRect l="-100000" t="-100000"/>
          </a:gradFill>
          <a:ln>
            <a:noFill/>
          </a:ln>
          <a:effectLst>
            <a:outerShdw blurRad="254000" dist="508000" dir="5400000" sx="90000" sy="-19000" rotWithShape="0">
              <a:schemeClr val="accent1">
                <a:lumMod val="50000"/>
                <a:alpha val="1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a:solidFill>
                <a:srgbClr val="FFFFFF"/>
              </a:solidFill>
              <a:latin typeface="Arial"/>
              <a:sym typeface="Calibri"/>
            </a:endParaRPr>
          </a:p>
        </p:txBody>
      </p:sp>
      <p:sp>
        <p:nvSpPr>
          <p:cNvPr id="60" name="任意多边形: 形状 59">
            <a:extLst>
              <a:ext uri="{FF2B5EF4-FFF2-40B4-BE49-F238E27FC236}">
                <a16:creationId xmlns:a16="http://schemas.microsoft.com/office/drawing/2014/main" id="{7AB86006-CEA1-6986-9377-A05B4A08CB73}"/>
              </a:ext>
            </a:extLst>
          </p:cNvPr>
          <p:cNvSpPr/>
          <p:nvPr/>
        </p:nvSpPr>
        <p:spPr>
          <a:xfrm>
            <a:off x="6110102" y="3516194"/>
            <a:ext cx="1020934" cy="1023496"/>
          </a:xfrm>
          <a:custGeom>
            <a:avLst/>
            <a:gdLst>
              <a:gd name="connsiteX0" fmla="*/ 0 w 1020934"/>
              <a:gd name="connsiteY0" fmla="*/ 0 h 1023496"/>
              <a:gd name="connsiteX1" fmla="*/ 237038 w 1020934"/>
              <a:gd name="connsiteY1" fmla="*/ 8995 h 1023496"/>
              <a:gd name="connsiteX2" fmla="*/ 1020934 w 1020934"/>
              <a:gd name="connsiteY2" fmla="*/ 221192 h 1023496"/>
              <a:gd name="connsiteX3" fmla="*/ 580539 w 1020934"/>
              <a:gd name="connsiteY3" fmla="*/ 1023496 h 1023496"/>
              <a:gd name="connsiteX4" fmla="*/ 32823 w 1020934"/>
              <a:gd name="connsiteY4" fmla="*/ 940535 h 1023496"/>
              <a:gd name="connsiteX5" fmla="*/ 0 w 1020934"/>
              <a:gd name="connsiteY5" fmla="*/ 940263 h 10234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20934" h="1023496">
                <a:moveTo>
                  <a:pt x="0" y="0"/>
                </a:moveTo>
                <a:lnTo>
                  <a:pt x="237038" y="8995"/>
                </a:lnTo>
                <a:cubicBezTo>
                  <a:pt x="779401" y="51436"/>
                  <a:pt x="1020934" y="221192"/>
                  <a:pt x="1020934" y="221192"/>
                </a:cubicBezTo>
                <a:lnTo>
                  <a:pt x="580539" y="1023496"/>
                </a:lnTo>
                <a:cubicBezTo>
                  <a:pt x="334781" y="954820"/>
                  <a:pt x="123237" y="942435"/>
                  <a:pt x="32823" y="940535"/>
                </a:cubicBezTo>
                <a:lnTo>
                  <a:pt x="0" y="940263"/>
                </a:lnTo>
                <a:close/>
              </a:path>
            </a:pathLst>
          </a:custGeom>
          <a:gradFill flip="none" rotWithShape="1">
            <a:gsLst>
              <a:gs pos="0">
                <a:schemeClr val="accent1">
                  <a:lumMod val="75000"/>
                  <a:lumOff val="25000"/>
                </a:schemeClr>
              </a:gs>
              <a:gs pos="100000">
                <a:schemeClr val="accent1">
                  <a:lumMod val="80000"/>
                </a:schemeClr>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a:solidFill>
                <a:srgbClr val="FFFFFF"/>
              </a:solidFill>
              <a:latin typeface="Arial"/>
              <a:sym typeface="Calibri"/>
            </a:endParaRPr>
          </a:p>
        </p:txBody>
      </p:sp>
      <p:sp>
        <p:nvSpPr>
          <p:cNvPr id="62" name="任意多边形: 形状 61">
            <a:extLst>
              <a:ext uri="{FF2B5EF4-FFF2-40B4-BE49-F238E27FC236}">
                <a16:creationId xmlns:a16="http://schemas.microsoft.com/office/drawing/2014/main" id="{E9BFD6EE-ADF8-2D45-4040-EFC2B4E1FE8F}"/>
              </a:ext>
            </a:extLst>
          </p:cNvPr>
          <p:cNvSpPr/>
          <p:nvPr/>
        </p:nvSpPr>
        <p:spPr>
          <a:xfrm>
            <a:off x="6110102" y="1247586"/>
            <a:ext cx="2153534" cy="1428495"/>
          </a:xfrm>
          <a:custGeom>
            <a:avLst/>
            <a:gdLst>
              <a:gd name="connsiteX0" fmla="*/ 0 w 2153534"/>
              <a:gd name="connsiteY0" fmla="*/ 0 h 1428495"/>
              <a:gd name="connsiteX1" fmla="*/ 469327 w 2153534"/>
              <a:gd name="connsiteY1" fmla="*/ 20701 h 1428495"/>
              <a:gd name="connsiteX2" fmla="*/ 2153534 w 2153534"/>
              <a:gd name="connsiteY2" fmla="*/ 493854 h 1428495"/>
              <a:gd name="connsiteX3" fmla="*/ 1605440 w 2153534"/>
              <a:gd name="connsiteY3" fmla="*/ 1428495 h 1428495"/>
              <a:gd name="connsiteX4" fmla="*/ 30163 w 2153534"/>
              <a:gd name="connsiteY4" fmla="*/ 1007947 h 1428495"/>
              <a:gd name="connsiteX5" fmla="*/ 0 w 2153534"/>
              <a:gd name="connsiteY5" fmla="*/ 1008288 h 1428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53534" h="1428495">
                <a:moveTo>
                  <a:pt x="0" y="0"/>
                </a:moveTo>
                <a:lnTo>
                  <a:pt x="469327" y="20701"/>
                </a:lnTo>
                <a:cubicBezTo>
                  <a:pt x="1534143" y="115447"/>
                  <a:pt x="2153724" y="493854"/>
                  <a:pt x="2153534" y="493854"/>
                </a:cubicBezTo>
                <a:lnTo>
                  <a:pt x="1605440" y="1428495"/>
                </a:lnTo>
                <a:cubicBezTo>
                  <a:pt x="970382" y="1029795"/>
                  <a:pt x="217981" y="1007332"/>
                  <a:pt x="30163" y="1007947"/>
                </a:cubicBezTo>
                <a:lnTo>
                  <a:pt x="0" y="1008288"/>
                </a:lnTo>
                <a:close/>
              </a:path>
            </a:pathLst>
          </a:custGeom>
          <a:gradFill flip="none" rotWithShape="1">
            <a:gsLst>
              <a:gs pos="0">
                <a:schemeClr val="accent1">
                  <a:lumMod val="15000"/>
                  <a:lumOff val="85000"/>
                </a:schemeClr>
              </a:gs>
              <a:gs pos="100000">
                <a:schemeClr val="accent1">
                  <a:lumMod val="100000"/>
                </a:schemeClr>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a:solidFill>
                <a:srgbClr val="FFFFFF"/>
              </a:solidFill>
              <a:latin typeface="Arial"/>
              <a:sym typeface="Calibri"/>
            </a:endParaRPr>
          </a:p>
        </p:txBody>
      </p:sp>
      <p:sp>
        <p:nvSpPr>
          <p:cNvPr id="64" name="任意多边形: 形状 63">
            <a:extLst>
              <a:ext uri="{FF2B5EF4-FFF2-40B4-BE49-F238E27FC236}">
                <a16:creationId xmlns:a16="http://schemas.microsoft.com/office/drawing/2014/main" id="{82746C88-9F0B-71F4-76B7-D83E15E43B6A}"/>
              </a:ext>
            </a:extLst>
          </p:cNvPr>
          <p:cNvSpPr/>
          <p:nvPr/>
        </p:nvSpPr>
        <p:spPr>
          <a:xfrm>
            <a:off x="6110102" y="2417790"/>
            <a:ext cx="1532838" cy="1189005"/>
          </a:xfrm>
          <a:custGeom>
            <a:avLst/>
            <a:gdLst>
              <a:gd name="connsiteX0" fmla="*/ 0 w 1532838"/>
              <a:gd name="connsiteY0" fmla="*/ 0 h 1189005"/>
              <a:gd name="connsiteX1" fmla="*/ 323313 w 1532838"/>
              <a:gd name="connsiteY1" fmla="*/ 16514 h 1189005"/>
              <a:gd name="connsiteX2" fmla="*/ 1532838 w 1532838"/>
              <a:gd name="connsiteY2" fmla="*/ 400220 h 1189005"/>
              <a:gd name="connsiteX3" fmla="*/ 1070642 w 1532838"/>
              <a:gd name="connsiteY3" fmla="*/ 1189005 h 1189005"/>
              <a:gd name="connsiteX4" fmla="*/ 70155 w 1532838"/>
              <a:gd name="connsiteY4" fmla="*/ 957822 h 1189005"/>
              <a:gd name="connsiteX5" fmla="*/ 0 w 1532838"/>
              <a:gd name="connsiteY5" fmla="*/ 956801 h 11890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32838" h="1189005">
                <a:moveTo>
                  <a:pt x="0" y="0"/>
                </a:moveTo>
                <a:lnTo>
                  <a:pt x="323313" y="16514"/>
                </a:lnTo>
                <a:cubicBezTo>
                  <a:pt x="1070761" y="93254"/>
                  <a:pt x="1532648" y="400220"/>
                  <a:pt x="1532838" y="400220"/>
                </a:cubicBezTo>
                <a:lnTo>
                  <a:pt x="1070642" y="1189005"/>
                </a:lnTo>
                <a:cubicBezTo>
                  <a:pt x="682626" y="1002055"/>
                  <a:pt x="291440" y="964332"/>
                  <a:pt x="70155" y="957822"/>
                </a:cubicBezTo>
                <a:lnTo>
                  <a:pt x="0" y="956801"/>
                </a:lnTo>
                <a:close/>
              </a:path>
            </a:pathLst>
          </a:custGeom>
          <a:gradFill flip="none" rotWithShape="1">
            <a:gsLst>
              <a:gs pos="0">
                <a:schemeClr val="accent1">
                  <a:lumMod val="55000"/>
                  <a:lumOff val="45000"/>
                </a:schemeClr>
              </a:gs>
              <a:gs pos="100000">
                <a:schemeClr val="accent1">
                  <a:lumMod val="90000"/>
                </a:schemeClr>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a:solidFill>
                <a:srgbClr val="FFFFFF"/>
              </a:solidFill>
              <a:latin typeface="Arial"/>
              <a:sym typeface="Calibri"/>
            </a:endParaRPr>
          </a:p>
        </p:txBody>
      </p:sp>
    </p:spTree>
    <p:extLst>
      <p:ext uri="{BB962C8B-B14F-4D97-AF65-F5344CB8AC3E}">
        <p14:creationId xmlns:p14="http://schemas.microsoft.com/office/powerpoint/2010/main" val="3839856299"/>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直角三角形 2">
            <a:extLst>
              <a:ext uri="{FF2B5EF4-FFF2-40B4-BE49-F238E27FC236}">
                <a16:creationId xmlns:a16="http://schemas.microsoft.com/office/drawing/2014/main" id="{3F115F19-ED93-4469-BF17-DB32F95C14BA}"/>
              </a:ext>
            </a:extLst>
          </p:cNvPr>
          <p:cNvSpPr/>
          <p:nvPr/>
        </p:nvSpPr>
        <p:spPr>
          <a:xfrm rot="10800000" flipH="1" flipV="1">
            <a:off x="0" y="2715768"/>
            <a:ext cx="6455664" cy="4142232"/>
          </a:xfrm>
          <a:prstGeom prst="rtTriangl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2" name="直角三角形 1">
            <a:extLst>
              <a:ext uri="{FF2B5EF4-FFF2-40B4-BE49-F238E27FC236}">
                <a16:creationId xmlns:a16="http://schemas.microsoft.com/office/drawing/2014/main" id="{F601E6D4-7B32-4AE3-B25D-2274E8B8DEFD}"/>
              </a:ext>
            </a:extLst>
          </p:cNvPr>
          <p:cNvSpPr/>
          <p:nvPr/>
        </p:nvSpPr>
        <p:spPr>
          <a:xfrm rot="10800000" flipH="1">
            <a:off x="0" y="0"/>
            <a:ext cx="8058937" cy="5349240"/>
          </a:xfrm>
          <a:prstGeom prst="r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12" name="文本框 11">
            <a:extLst>
              <a:ext uri="{FF2B5EF4-FFF2-40B4-BE49-F238E27FC236}">
                <a16:creationId xmlns:a16="http://schemas.microsoft.com/office/drawing/2014/main" id="{35093458-6133-4464-A5F3-912125B6D156}"/>
              </a:ext>
            </a:extLst>
          </p:cNvPr>
          <p:cNvSpPr txBox="1"/>
          <p:nvPr/>
        </p:nvSpPr>
        <p:spPr>
          <a:xfrm>
            <a:off x="4871747" y="3035780"/>
            <a:ext cx="6924973" cy="923330"/>
          </a:xfrm>
          <a:prstGeom prst="rect">
            <a:avLst/>
          </a:prstGeom>
          <a:noFill/>
        </p:spPr>
        <p:txBody>
          <a:bodyPr wrap="none" lIns="0" tIns="0" rIns="0" bIns="0" rtlCol="0" anchor="t">
            <a:spAutoFit/>
          </a:bodyPr>
          <a:lstStyle/>
          <a:p>
            <a:r>
              <a:rPr lang="zh-CN" altLang="en-US" sz="6000" dirty="0">
                <a:solidFill>
                  <a:schemeClr val="accent1">
                    <a:lumMod val="100000"/>
                  </a:schemeClr>
                </a:solidFill>
                <a:latin typeface="+mj-ea"/>
                <a:ea typeface="+mj-ea"/>
              </a:rPr>
              <a:t>输入你的封面大标题</a:t>
            </a:r>
          </a:p>
        </p:txBody>
      </p:sp>
      <p:sp>
        <p:nvSpPr>
          <p:cNvPr id="13" name="文本框 12">
            <a:extLst>
              <a:ext uri="{FF2B5EF4-FFF2-40B4-BE49-F238E27FC236}">
                <a16:creationId xmlns:a16="http://schemas.microsoft.com/office/drawing/2014/main" id="{978C8ED0-3A3E-450C-BB0D-A9C1CE11A911}"/>
              </a:ext>
            </a:extLst>
          </p:cNvPr>
          <p:cNvSpPr txBox="1"/>
          <p:nvPr/>
        </p:nvSpPr>
        <p:spPr>
          <a:xfrm>
            <a:off x="9526043" y="2103092"/>
            <a:ext cx="2151230" cy="923330"/>
          </a:xfrm>
          <a:prstGeom prst="rect">
            <a:avLst/>
          </a:prstGeom>
          <a:noFill/>
        </p:spPr>
        <p:txBody>
          <a:bodyPr wrap="none" lIns="0" tIns="0" rIns="0" bIns="0" rtlCol="0" anchor="t">
            <a:spAutoFit/>
          </a:bodyPr>
          <a:lstStyle/>
          <a:p>
            <a:r>
              <a:rPr lang="en-US" altLang="zh-CN" sz="6000" dirty="0">
                <a:solidFill>
                  <a:schemeClr val="accent1">
                    <a:lumMod val="100000"/>
                  </a:schemeClr>
                </a:solidFill>
                <a:latin typeface="+mj-ea"/>
                <a:ea typeface="+mj-ea"/>
              </a:rPr>
              <a:t>20XX</a:t>
            </a:r>
            <a:endParaRPr lang="zh-CN" altLang="en-US" sz="6000" dirty="0">
              <a:solidFill>
                <a:schemeClr val="accent1">
                  <a:lumMod val="100000"/>
                </a:schemeClr>
              </a:solidFill>
              <a:latin typeface="+mj-ea"/>
              <a:ea typeface="+mj-ea"/>
            </a:endParaRPr>
          </a:p>
        </p:txBody>
      </p:sp>
      <p:sp>
        <p:nvSpPr>
          <p:cNvPr id="18" name="矩形: 圆角 17">
            <a:extLst>
              <a:ext uri="{FF2B5EF4-FFF2-40B4-BE49-F238E27FC236}">
                <a16:creationId xmlns:a16="http://schemas.microsoft.com/office/drawing/2014/main" id="{A05300B8-1F19-44D1-846B-4238B2EB2304}"/>
              </a:ext>
            </a:extLst>
          </p:cNvPr>
          <p:cNvSpPr/>
          <p:nvPr/>
        </p:nvSpPr>
        <p:spPr>
          <a:xfrm>
            <a:off x="7872503" y="4122420"/>
            <a:ext cx="1653540" cy="411480"/>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a:solidFill>
                  <a:schemeClr val="bg1"/>
                </a:solidFill>
                <a:latin typeface="+mn-ea"/>
              </a:rPr>
              <a:t>汇报人：</a:t>
            </a:r>
            <a:r>
              <a:rPr lang="en-US" altLang="zh-CN" sz="1600" dirty="0">
                <a:solidFill>
                  <a:schemeClr val="bg1"/>
                </a:solidFill>
                <a:latin typeface="+mn-ea"/>
              </a:rPr>
              <a:t>xxx</a:t>
            </a:r>
            <a:endParaRPr lang="zh-CN" altLang="en-US" sz="1600" dirty="0">
              <a:solidFill>
                <a:schemeClr val="bg1"/>
              </a:solidFill>
              <a:latin typeface="+mn-ea"/>
            </a:endParaRPr>
          </a:p>
        </p:txBody>
      </p:sp>
      <p:sp>
        <p:nvSpPr>
          <p:cNvPr id="19" name="矩形: 圆角 18">
            <a:extLst>
              <a:ext uri="{FF2B5EF4-FFF2-40B4-BE49-F238E27FC236}">
                <a16:creationId xmlns:a16="http://schemas.microsoft.com/office/drawing/2014/main" id="{5869E259-B32D-4BCD-A24C-D364A70CEF9E}"/>
              </a:ext>
            </a:extLst>
          </p:cNvPr>
          <p:cNvSpPr/>
          <p:nvPr/>
        </p:nvSpPr>
        <p:spPr>
          <a:xfrm>
            <a:off x="10059443" y="4122420"/>
            <a:ext cx="1653540" cy="411480"/>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a:solidFill>
                  <a:schemeClr val="bg1"/>
                </a:solidFill>
                <a:latin typeface="+mn-ea"/>
              </a:rPr>
              <a:t>单位：</a:t>
            </a:r>
            <a:r>
              <a:rPr lang="en-US" altLang="zh-CN" sz="1600" dirty="0">
                <a:solidFill>
                  <a:schemeClr val="bg1"/>
                </a:solidFill>
                <a:latin typeface="+mn-ea"/>
              </a:rPr>
              <a:t>xxx</a:t>
            </a:r>
          </a:p>
        </p:txBody>
      </p:sp>
    </p:spTree>
    <p:extLst>
      <p:ext uri="{BB962C8B-B14F-4D97-AF65-F5344CB8AC3E}">
        <p14:creationId xmlns:p14="http://schemas.microsoft.com/office/powerpoint/2010/main" val="4061060383"/>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5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6" name="组合 85">
            <a:extLst>
              <a:ext uri="{FF2B5EF4-FFF2-40B4-BE49-F238E27FC236}">
                <a16:creationId xmlns:a16="http://schemas.microsoft.com/office/drawing/2014/main" id="{86452B19-4E44-0688-B12D-9279E1ED271F}"/>
              </a:ext>
            </a:extLst>
          </p:cNvPr>
          <p:cNvGrpSpPr/>
          <p:nvPr/>
        </p:nvGrpSpPr>
        <p:grpSpPr>
          <a:xfrm>
            <a:off x="5293754" y="581026"/>
            <a:ext cx="1603051" cy="5692775"/>
            <a:chOff x="2626753" y="581025"/>
            <a:chExt cx="1603051" cy="5692775"/>
          </a:xfrm>
        </p:grpSpPr>
        <p:sp>
          <p:nvSpPr>
            <p:cNvPr id="79" name="任意多边形: 形状 78">
              <a:extLst>
                <a:ext uri="{FF2B5EF4-FFF2-40B4-BE49-F238E27FC236}">
                  <a16:creationId xmlns:a16="http://schemas.microsoft.com/office/drawing/2014/main" id="{13E82A9E-6879-D3EB-EF7B-EFC8EBBF928D}"/>
                </a:ext>
              </a:extLst>
            </p:cNvPr>
            <p:cNvSpPr/>
            <p:nvPr/>
          </p:nvSpPr>
          <p:spPr>
            <a:xfrm>
              <a:off x="3815662" y="584200"/>
              <a:ext cx="414142" cy="5689600"/>
            </a:xfrm>
            <a:custGeom>
              <a:avLst/>
              <a:gdLst>
                <a:gd name="connsiteX0" fmla="*/ 0 w 898046"/>
                <a:gd name="connsiteY0" fmla="*/ 0 h 5689600"/>
                <a:gd name="connsiteX1" fmla="*/ 898046 w 898046"/>
                <a:gd name="connsiteY1" fmla="*/ 0 h 5689600"/>
                <a:gd name="connsiteX2" fmla="*/ 898046 w 898046"/>
                <a:gd name="connsiteY2" fmla="*/ 5689600 h 5689600"/>
                <a:gd name="connsiteX3" fmla="*/ 414142 w 898046"/>
                <a:gd name="connsiteY3" fmla="*/ 5689600 h 5689600"/>
                <a:gd name="connsiteX4" fmla="*/ 305224 w 898046"/>
                <a:gd name="connsiteY4" fmla="*/ 5510314 h 5689600"/>
                <a:gd name="connsiteX5" fmla="*/ 0 w 898046"/>
                <a:gd name="connsiteY5" fmla="*/ 4304896 h 5689600"/>
                <a:gd name="connsiteX0" fmla="*/ 898046 w 989486"/>
                <a:gd name="connsiteY0" fmla="*/ 0 h 5689600"/>
                <a:gd name="connsiteX1" fmla="*/ 898046 w 989486"/>
                <a:gd name="connsiteY1" fmla="*/ 5689600 h 5689600"/>
                <a:gd name="connsiteX2" fmla="*/ 414142 w 989486"/>
                <a:gd name="connsiteY2" fmla="*/ 5689600 h 5689600"/>
                <a:gd name="connsiteX3" fmla="*/ 305224 w 989486"/>
                <a:gd name="connsiteY3" fmla="*/ 5510314 h 5689600"/>
                <a:gd name="connsiteX4" fmla="*/ 0 w 989486"/>
                <a:gd name="connsiteY4" fmla="*/ 4304896 h 5689600"/>
                <a:gd name="connsiteX5" fmla="*/ 0 w 989486"/>
                <a:gd name="connsiteY5" fmla="*/ 0 h 5689600"/>
                <a:gd name="connsiteX6" fmla="*/ 989486 w 989486"/>
                <a:gd name="connsiteY6" fmla="*/ 91440 h 5689600"/>
                <a:gd name="connsiteX0" fmla="*/ 898046 w 898046"/>
                <a:gd name="connsiteY0" fmla="*/ 0 h 5689600"/>
                <a:gd name="connsiteX1" fmla="*/ 898046 w 898046"/>
                <a:gd name="connsiteY1" fmla="*/ 5689600 h 5689600"/>
                <a:gd name="connsiteX2" fmla="*/ 414142 w 898046"/>
                <a:gd name="connsiteY2" fmla="*/ 5689600 h 5689600"/>
                <a:gd name="connsiteX3" fmla="*/ 305224 w 898046"/>
                <a:gd name="connsiteY3" fmla="*/ 5510314 h 5689600"/>
                <a:gd name="connsiteX4" fmla="*/ 0 w 898046"/>
                <a:gd name="connsiteY4" fmla="*/ 4304896 h 5689600"/>
                <a:gd name="connsiteX5" fmla="*/ 0 w 898046"/>
                <a:gd name="connsiteY5" fmla="*/ 0 h 5689600"/>
                <a:gd name="connsiteX0" fmla="*/ 898046 w 898046"/>
                <a:gd name="connsiteY0" fmla="*/ 5689600 h 5689600"/>
                <a:gd name="connsiteX1" fmla="*/ 414142 w 898046"/>
                <a:gd name="connsiteY1" fmla="*/ 5689600 h 5689600"/>
                <a:gd name="connsiteX2" fmla="*/ 305224 w 898046"/>
                <a:gd name="connsiteY2" fmla="*/ 5510314 h 5689600"/>
                <a:gd name="connsiteX3" fmla="*/ 0 w 898046"/>
                <a:gd name="connsiteY3" fmla="*/ 4304896 h 5689600"/>
                <a:gd name="connsiteX4" fmla="*/ 0 w 898046"/>
                <a:gd name="connsiteY4" fmla="*/ 0 h 5689600"/>
                <a:gd name="connsiteX0" fmla="*/ 414142 w 414142"/>
                <a:gd name="connsiteY0" fmla="*/ 5689600 h 5689600"/>
                <a:gd name="connsiteX1" fmla="*/ 305224 w 414142"/>
                <a:gd name="connsiteY1" fmla="*/ 5510314 h 5689600"/>
                <a:gd name="connsiteX2" fmla="*/ 0 w 414142"/>
                <a:gd name="connsiteY2" fmla="*/ 4304896 h 5689600"/>
                <a:gd name="connsiteX3" fmla="*/ 0 w 414142"/>
                <a:gd name="connsiteY3" fmla="*/ 0 h 5689600"/>
              </a:gdLst>
              <a:ahLst/>
              <a:cxnLst>
                <a:cxn ang="0">
                  <a:pos x="connsiteX0" y="connsiteY0"/>
                </a:cxn>
                <a:cxn ang="0">
                  <a:pos x="connsiteX1" y="connsiteY1"/>
                </a:cxn>
                <a:cxn ang="0">
                  <a:pos x="connsiteX2" y="connsiteY2"/>
                </a:cxn>
                <a:cxn ang="0">
                  <a:pos x="connsiteX3" y="connsiteY3"/>
                </a:cxn>
              </a:cxnLst>
              <a:rect l="l" t="t" r="r" b="b"/>
              <a:pathLst>
                <a:path w="414142" h="5689600">
                  <a:moveTo>
                    <a:pt x="414142" y="5689600"/>
                  </a:moveTo>
                  <a:lnTo>
                    <a:pt x="305224" y="5510314"/>
                  </a:lnTo>
                  <a:cubicBezTo>
                    <a:pt x="110569" y="5151988"/>
                    <a:pt x="0" y="4741354"/>
                    <a:pt x="0" y="4304896"/>
                  </a:cubicBezTo>
                  <a:lnTo>
                    <a:pt x="0" y="0"/>
                  </a:lnTo>
                </a:path>
              </a:pathLst>
            </a:custGeom>
            <a:noFill/>
            <a:ln w="15875" cap="rnd">
              <a:gradFill>
                <a:gsLst>
                  <a:gs pos="0">
                    <a:schemeClr val="accent1">
                      <a:alpha val="20000"/>
                    </a:schemeClr>
                  </a:gs>
                  <a:gs pos="100000">
                    <a:schemeClr val="accent1">
                      <a:alpha val="70000"/>
                    </a:schemeClr>
                  </a:gs>
                </a:gsLst>
                <a:lin ang="5400000" scaled="1"/>
              </a:gradFill>
              <a:prstDash val="solid"/>
              <a:round/>
              <a:headEnd type="arrow"/>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prstClr val="white"/>
                </a:solidFill>
                <a:latin typeface="等线" panose="020F0502020204030204"/>
                <a:ea typeface="等线" panose="02010600030101010101" pitchFamily="2" charset="-122"/>
              </a:endParaRPr>
            </a:p>
          </p:txBody>
        </p:sp>
        <p:cxnSp>
          <p:nvCxnSpPr>
            <p:cNvPr id="85" name="直接连接符 84">
              <a:extLst>
                <a:ext uri="{FF2B5EF4-FFF2-40B4-BE49-F238E27FC236}">
                  <a16:creationId xmlns:a16="http://schemas.microsoft.com/office/drawing/2014/main" id="{32E06718-3EC9-397D-D3DD-CCB87DF5B051}"/>
                </a:ext>
              </a:extLst>
            </p:cNvPr>
            <p:cNvCxnSpPr/>
            <p:nvPr/>
          </p:nvCxnSpPr>
          <p:spPr>
            <a:xfrm>
              <a:off x="3429000" y="581025"/>
              <a:ext cx="0" cy="5667375"/>
            </a:xfrm>
            <a:prstGeom prst="line">
              <a:avLst/>
            </a:prstGeom>
            <a:noFill/>
            <a:ln w="15875" cap="rnd">
              <a:gradFill>
                <a:gsLst>
                  <a:gs pos="0">
                    <a:schemeClr val="accent1">
                      <a:alpha val="20000"/>
                    </a:schemeClr>
                  </a:gs>
                  <a:gs pos="100000">
                    <a:schemeClr val="accent1">
                      <a:alpha val="70000"/>
                    </a:schemeClr>
                  </a:gs>
                </a:gsLst>
                <a:lin ang="5400000" scaled="1"/>
              </a:gradFill>
              <a:prstDash val="solid"/>
              <a:round/>
              <a:headEnd type="none"/>
              <a:tailEnd type="arrow"/>
            </a:ln>
          </p:spPr>
          <p:style>
            <a:lnRef idx="2">
              <a:schemeClr val="accent1">
                <a:shade val="50000"/>
              </a:schemeClr>
            </a:lnRef>
            <a:fillRef idx="1">
              <a:schemeClr val="accent1"/>
            </a:fillRef>
            <a:effectRef idx="0">
              <a:schemeClr val="accent1"/>
            </a:effectRef>
            <a:fontRef idx="minor">
              <a:schemeClr val="lt1"/>
            </a:fontRef>
          </p:style>
        </p:cxnSp>
        <p:sp>
          <p:nvSpPr>
            <p:cNvPr id="88" name="任意多边形: 形状 87">
              <a:extLst>
                <a:ext uri="{FF2B5EF4-FFF2-40B4-BE49-F238E27FC236}">
                  <a16:creationId xmlns:a16="http://schemas.microsoft.com/office/drawing/2014/main" id="{E2F0E4E2-0988-4DDB-CB1B-396C74C81F90}"/>
                </a:ext>
              </a:extLst>
            </p:cNvPr>
            <p:cNvSpPr/>
            <p:nvPr/>
          </p:nvSpPr>
          <p:spPr>
            <a:xfrm flipH="1">
              <a:off x="2626753" y="584200"/>
              <a:ext cx="414142" cy="5689600"/>
            </a:xfrm>
            <a:custGeom>
              <a:avLst/>
              <a:gdLst>
                <a:gd name="connsiteX0" fmla="*/ 0 w 898046"/>
                <a:gd name="connsiteY0" fmla="*/ 0 h 5689600"/>
                <a:gd name="connsiteX1" fmla="*/ 898046 w 898046"/>
                <a:gd name="connsiteY1" fmla="*/ 0 h 5689600"/>
                <a:gd name="connsiteX2" fmla="*/ 898046 w 898046"/>
                <a:gd name="connsiteY2" fmla="*/ 5689600 h 5689600"/>
                <a:gd name="connsiteX3" fmla="*/ 414142 w 898046"/>
                <a:gd name="connsiteY3" fmla="*/ 5689600 h 5689600"/>
                <a:gd name="connsiteX4" fmla="*/ 305224 w 898046"/>
                <a:gd name="connsiteY4" fmla="*/ 5510314 h 5689600"/>
                <a:gd name="connsiteX5" fmla="*/ 0 w 898046"/>
                <a:gd name="connsiteY5" fmla="*/ 4304896 h 5689600"/>
                <a:gd name="connsiteX0" fmla="*/ 898046 w 989486"/>
                <a:gd name="connsiteY0" fmla="*/ 0 h 5689600"/>
                <a:gd name="connsiteX1" fmla="*/ 898046 w 989486"/>
                <a:gd name="connsiteY1" fmla="*/ 5689600 h 5689600"/>
                <a:gd name="connsiteX2" fmla="*/ 414142 w 989486"/>
                <a:gd name="connsiteY2" fmla="*/ 5689600 h 5689600"/>
                <a:gd name="connsiteX3" fmla="*/ 305224 w 989486"/>
                <a:gd name="connsiteY3" fmla="*/ 5510314 h 5689600"/>
                <a:gd name="connsiteX4" fmla="*/ 0 w 989486"/>
                <a:gd name="connsiteY4" fmla="*/ 4304896 h 5689600"/>
                <a:gd name="connsiteX5" fmla="*/ 0 w 989486"/>
                <a:gd name="connsiteY5" fmla="*/ 0 h 5689600"/>
                <a:gd name="connsiteX6" fmla="*/ 989486 w 989486"/>
                <a:gd name="connsiteY6" fmla="*/ 91440 h 5689600"/>
                <a:gd name="connsiteX0" fmla="*/ 898046 w 898046"/>
                <a:gd name="connsiteY0" fmla="*/ 0 h 5689600"/>
                <a:gd name="connsiteX1" fmla="*/ 898046 w 898046"/>
                <a:gd name="connsiteY1" fmla="*/ 5689600 h 5689600"/>
                <a:gd name="connsiteX2" fmla="*/ 414142 w 898046"/>
                <a:gd name="connsiteY2" fmla="*/ 5689600 h 5689600"/>
                <a:gd name="connsiteX3" fmla="*/ 305224 w 898046"/>
                <a:gd name="connsiteY3" fmla="*/ 5510314 h 5689600"/>
                <a:gd name="connsiteX4" fmla="*/ 0 w 898046"/>
                <a:gd name="connsiteY4" fmla="*/ 4304896 h 5689600"/>
                <a:gd name="connsiteX5" fmla="*/ 0 w 898046"/>
                <a:gd name="connsiteY5" fmla="*/ 0 h 5689600"/>
                <a:gd name="connsiteX0" fmla="*/ 898046 w 898046"/>
                <a:gd name="connsiteY0" fmla="*/ 5689600 h 5689600"/>
                <a:gd name="connsiteX1" fmla="*/ 414142 w 898046"/>
                <a:gd name="connsiteY1" fmla="*/ 5689600 h 5689600"/>
                <a:gd name="connsiteX2" fmla="*/ 305224 w 898046"/>
                <a:gd name="connsiteY2" fmla="*/ 5510314 h 5689600"/>
                <a:gd name="connsiteX3" fmla="*/ 0 w 898046"/>
                <a:gd name="connsiteY3" fmla="*/ 4304896 h 5689600"/>
                <a:gd name="connsiteX4" fmla="*/ 0 w 898046"/>
                <a:gd name="connsiteY4" fmla="*/ 0 h 5689600"/>
                <a:gd name="connsiteX0" fmla="*/ 414142 w 414142"/>
                <a:gd name="connsiteY0" fmla="*/ 5689600 h 5689600"/>
                <a:gd name="connsiteX1" fmla="*/ 305224 w 414142"/>
                <a:gd name="connsiteY1" fmla="*/ 5510314 h 5689600"/>
                <a:gd name="connsiteX2" fmla="*/ 0 w 414142"/>
                <a:gd name="connsiteY2" fmla="*/ 4304896 h 5689600"/>
                <a:gd name="connsiteX3" fmla="*/ 0 w 414142"/>
                <a:gd name="connsiteY3" fmla="*/ 0 h 5689600"/>
              </a:gdLst>
              <a:ahLst/>
              <a:cxnLst>
                <a:cxn ang="0">
                  <a:pos x="connsiteX0" y="connsiteY0"/>
                </a:cxn>
                <a:cxn ang="0">
                  <a:pos x="connsiteX1" y="connsiteY1"/>
                </a:cxn>
                <a:cxn ang="0">
                  <a:pos x="connsiteX2" y="connsiteY2"/>
                </a:cxn>
                <a:cxn ang="0">
                  <a:pos x="connsiteX3" y="connsiteY3"/>
                </a:cxn>
              </a:cxnLst>
              <a:rect l="l" t="t" r="r" b="b"/>
              <a:pathLst>
                <a:path w="414142" h="5689600">
                  <a:moveTo>
                    <a:pt x="414142" y="5689600"/>
                  </a:moveTo>
                  <a:lnTo>
                    <a:pt x="305224" y="5510314"/>
                  </a:lnTo>
                  <a:cubicBezTo>
                    <a:pt x="110569" y="5151988"/>
                    <a:pt x="0" y="4741354"/>
                    <a:pt x="0" y="4304896"/>
                  </a:cubicBezTo>
                  <a:lnTo>
                    <a:pt x="0" y="0"/>
                  </a:lnTo>
                </a:path>
              </a:pathLst>
            </a:custGeom>
            <a:noFill/>
            <a:ln w="15875" cap="rnd">
              <a:gradFill>
                <a:gsLst>
                  <a:gs pos="0">
                    <a:schemeClr val="accent1">
                      <a:alpha val="20000"/>
                    </a:schemeClr>
                  </a:gs>
                  <a:gs pos="100000">
                    <a:schemeClr val="accent1">
                      <a:alpha val="70000"/>
                    </a:schemeClr>
                  </a:gs>
                </a:gsLst>
                <a:lin ang="5400000" scaled="1"/>
              </a:gradFill>
              <a:prstDash val="solid"/>
              <a:round/>
              <a:headEnd type="arrow"/>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prstClr val="white"/>
                </a:solidFill>
                <a:latin typeface="等线" panose="020F0502020204030204"/>
                <a:ea typeface="等线" panose="02010600030101010101" pitchFamily="2" charset="-122"/>
              </a:endParaRPr>
            </a:p>
          </p:txBody>
        </p:sp>
      </p:grpSp>
      <p:grpSp>
        <p:nvGrpSpPr>
          <p:cNvPr id="91" name="组合 90">
            <a:extLst>
              <a:ext uri="{FF2B5EF4-FFF2-40B4-BE49-F238E27FC236}">
                <a16:creationId xmlns:a16="http://schemas.microsoft.com/office/drawing/2014/main" id="{DA0AC4D1-CC0E-CBDD-DE6A-736BEB759C5A}"/>
              </a:ext>
            </a:extLst>
          </p:cNvPr>
          <p:cNvGrpSpPr/>
          <p:nvPr/>
        </p:nvGrpSpPr>
        <p:grpSpPr>
          <a:xfrm>
            <a:off x="-1228445" y="-3707216"/>
            <a:ext cx="14648890" cy="11125200"/>
            <a:chOff x="-3932283" y="-3707216"/>
            <a:chExt cx="14648890" cy="11125200"/>
          </a:xfrm>
        </p:grpSpPr>
        <p:sp>
          <p:nvSpPr>
            <p:cNvPr id="21" name="矩形: 圆角 20">
              <a:extLst>
                <a:ext uri="{FF2B5EF4-FFF2-40B4-BE49-F238E27FC236}">
                  <a16:creationId xmlns:a16="http://schemas.microsoft.com/office/drawing/2014/main" id="{51D822B5-3233-4CE7-7E64-EC9255659741}"/>
                </a:ext>
              </a:extLst>
            </p:cNvPr>
            <p:cNvSpPr/>
            <p:nvPr/>
          </p:nvSpPr>
          <p:spPr>
            <a:xfrm flipH="1">
              <a:off x="4258657" y="-3707216"/>
              <a:ext cx="6457950" cy="11125200"/>
            </a:xfrm>
            <a:prstGeom prst="roundRect">
              <a:avLst>
                <a:gd name="adj" fmla="val 50000"/>
              </a:avLst>
            </a:prstGeom>
            <a:gradFill flip="none" rotWithShape="1">
              <a:gsLst>
                <a:gs pos="100000">
                  <a:schemeClr val="accent1">
                    <a:lumMod val="0"/>
                    <a:lumOff val="100000"/>
                    <a:alpha val="20000"/>
                  </a:schemeClr>
                </a:gs>
                <a:gs pos="0">
                  <a:schemeClr val="accent1">
                    <a:lumMod val="15000"/>
                    <a:lumOff val="85000"/>
                  </a:schemeClr>
                </a:gs>
              </a:gsLst>
              <a:lin ang="2700000" scaled="0"/>
              <a:tileRect/>
            </a:gradFill>
            <a:ln w="6350" cap="flat" cmpd="sng" algn="ctr">
              <a:gradFill>
                <a:gsLst>
                  <a:gs pos="0">
                    <a:schemeClr val="accent1">
                      <a:lumMod val="0"/>
                      <a:lumOff val="100000"/>
                    </a:schemeClr>
                  </a:gs>
                  <a:gs pos="100000">
                    <a:schemeClr val="accent1">
                      <a:lumMod val="0"/>
                      <a:lumOff val="100000"/>
                    </a:schemeClr>
                  </a:gs>
                </a:gsLst>
                <a:lin ang="5400000" scaled="1"/>
              </a:gradFill>
              <a:prstDash val="solid"/>
              <a:miter lim="800000"/>
            </a:ln>
            <a:effectLst>
              <a:outerShdw blurRad="317500" dist="127000" dir="2700000" algn="tl" rotWithShape="0">
                <a:schemeClr val="accent1">
                  <a:lumMod val="50000"/>
                  <a:alpha val="1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latin typeface="Arial"/>
              </a:endParaRPr>
            </a:p>
          </p:txBody>
        </p:sp>
        <p:sp>
          <p:nvSpPr>
            <p:cNvPr id="51" name="矩形: 圆角 50">
              <a:extLst>
                <a:ext uri="{FF2B5EF4-FFF2-40B4-BE49-F238E27FC236}">
                  <a16:creationId xmlns:a16="http://schemas.microsoft.com/office/drawing/2014/main" id="{955F0F05-835A-B0E8-8F4F-1CA590D33D85}"/>
                </a:ext>
              </a:extLst>
            </p:cNvPr>
            <p:cNvSpPr/>
            <p:nvPr/>
          </p:nvSpPr>
          <p:spPr>
            <a:xfrm>
              <a:off x="-3932283" y="-3707216"/>
              <a:ext cx="6457950" cy="11125200"/>
            </a:xfrm>
            <a:prstGeom prst="roundRect">
              <a:avLst>
                <a:gd name="adj" fmla="val 50000"/>
              </a:avLst>
            </a:prstGeom>
            <a:gradFill flip="none" rotWithShape="1">
              <a:gsLst>
                <a:gs pos="100000">
                  <a:schemeClr val="accent1">
                    <a:lumMod val="0"/>
                    <a:lumOff val="100000"/>
                    <a:alpha val="20000"/>
                  </a:schemeClr>
                </a:gs>
                <a:gs pos="0">
                  <a:schemeClr val="accent1">
                    <a:lumMod val="15000"/>
                    <a:lumOff val="85000"/>
                  </a:schemeClr>
                </a:gs>
              </a:gsLst>
              <a:lin ang="2700000" scaled="0"/>
              <a:tileRect/>
            </a:gradFill>
            <a:ln w="6350" cap="flat" cmpd="sng" algn="ctr">
              <a:gradFill>
                <a:gsLst>
                  <a:gs pos="0">
                    <a:schemeClr val="accent1">
                      <a:lumMod val="0"/>
                      <a:lumOff val="100000"/>
                    </a:schemeClr>
                  </a:gs>
                  <a:gs pos="100000">
                    <a:schemeClr val="accent1">
                      <a:lumMod val="0"/>
                      <a:lumOff val="100000"/>
                    </a:schemeClr>
                  </a:gs>
                </a:gsLst>
                <a:lin ang="5400000" scaled="1"/>
              </a:gradFill>
              <a:prstDash val="solid"/>
              <a:miter lim="800000"/>
            </a:ln>
            <a:effectLst>
              <a:outerShdw blurRad="317500" dist="127000" dir="2700000" algn="tl" rotWithShape="0">
                <a:schemeClr val="accent1">
                  <a:lumMod val="50000"/>
                  <a:alpha val="1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latin typeface="Arial"/>
              </a:endParaRPr>
            </a:p>
          </p:txBody>
        </p:sp>
      </p:grpSp>
      <p:sp>
        <p:nvSpPr>
          <p:cNvPr id="54" name="任意多边形: 形状 53">
            <a:extLst>
              <a:ext uri="{FF2B5EF4-FFF2-40B4-BE49-F238E27FC236}">
                <a16:creationId xmlns:a16="http://schemas.microsoft.com/office/drawing/2014/main" id="{5AB64EF7-5552-686F-0E7F-692A03B4296A}"/>
              </a:ext>
            </a:extLst>
          </p:cNvPr>
          <p:cNvSpPr/>
          <p:nvPr/>
        </p:nvSpPr>
        <p:spPr>
          <a:xfrm>
            <a:off x="4658750" y="4409535"/>
            <a:ext cx="2871613" cy="1079381"/>
          </a:xfrm>
          <a:custGeom>
            <a:avLst/>
            <a:gdLst>
              <a:gd name="connsiteX0" fmla="*/ 0 w 2871613"/>
              <a:gd name="connsiteY0" fmla="*/ 0 h 1079381"/>
              <a:gd name="connsiteX1" fmla="*/ 2871613 w 2871613"/>
              <a:gd name="connsiteY1" fmla="*/ 0 h 1079381"/>
              <a:gd name="connsiteX2" fmla="*/ 2717211 w 2871613"/>
              <a:gd name="connsiteY2" fmla="*/ 868700 h 1079381"/>
              <a:gd name="connsiteX3" fmla="*/ 1437250 w 2871613"/>
              <a:gd name="connsiteY3" fmla="*/ 1079381 h 1079381"/>
              <a:gd name="connsiteX4" fmla="*/ 157290 w 2871613"/>
              <a:gd name="connsiteY4" fmla="*/ 868700 h 10793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71613" h="1079381">
                <a:moveTo>
                  <a:pt x="0" y="0"/>
                </a:moveTo>
                <a:lnTo>
                  <a:pt x="2871613" y="0"/>
                </a:lnTo>
                <a:lnTo>
                  <a:pt x="2717211" y="868700"/>
                </a:lnTo>
                <a:cubicBezTo>
                  <a:pt x="2717211" y="985585"/>
                  <a:pt x="2144330" y="1079381"/>
                  <a:pt x="1437250" y="1079381"/>
                </a:cubicBezTo>
                <a:cubicBezTo>
                  <a:pt x="730169" y="1079381"/>
                  <a:pt x="157290" y="985585"/>
                  <a:pt x="157290" y="868700"/>
                </a:cubicBezTo>
                <a:close/>
              </a:path>
            </a:pathLst>
          </a:custGeom>
          <a:gradFill flip="none" rotWithShape="1">
            <a:gsLst>
              <a:gs pos="0">
                <a:schemeClr val="accent1">
                  <a:lumMod val="75000"/>
                  <a:lumOff val="25000"/>
                </a:schemeClr>
              </a:gs>
              <a:gs pos="100000">
                <a:schemeClr val="accent1">
                  <a:lumMod val="80000"/>
                </a:schemeClr>
              </a:gs>
            </a:gsLst>
            <a:path path="circle">
              <a:fillToRect r="100000" b="100000"/>
            </a:path>
            <a:tileRect l="-100000" t="-100000"/>
          </a:gradFill>
          <a:ln w="9525">
            <a:gradFill>
              <a:gsLst>
                <a:gs pos="0">
                  <a:schemeClr val="accent1">
                    <a:lumMod val="0"/>
                    <a:lumOff val="100000"/>
                    <a:alpha val="50000"/>
                  </a:schemeClr>
                </a:gs>
                <a:gs pos="100000">
                  <a:schemeClr val="accent1">
                    <a:lumMod val="0"/>
                    <a:lumOff val="100000"/>
                    <a:alpha val="2000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a:solidFill>
                <a:srgbClr val="FFFFFF"/>
              </a:solidFill>
              <a:latin typeface="Arial"/>
              <a:sym typeface="Calibri"/>
            </a:endParaRPr>
          </a:p>
        </p:txBody>
      </p:sp>
      <p:sp>
        <p:nvSpPr>
          <p:cNvPr id="56" name="任意多边形: 形状 55">
            <a:extLst>
              <a:ext uri="{FF2B5EF4-FFF2-40B4-BE49-F238E27FC236}">
                <a16:creationId xmlns:a16="http://schemas.microsoft.com/office/drawing/2014/main" id="{E36A6AF4-A1AA-E7D4-5CB8-B41323AD2861}"/>
              </a:ext>
            </a:extLst>
          </p:cNvPr>
          <p:cNvSpPr/>
          <p:nvPr/>
        </p:nvSpPr>
        <p:spPr>
          <a:xfrm>
            <a:off x="4660194" y="4275334"/>
            <a:ext cx="2871613" cy="268402"/>
          </a:xfrm>
          <a:custGeom>
            <a:avLst/>
            <a:gdLst>
              <a:gd name="connsiteX0" fmla="*/ 1435807 w 2871613"/>
              <a:gd name="connsiteY0" fmla="*/ 0 h 268402"/>
              <a:gd name="connsiteX1" fmla="*/ 2871613 w 2871613"/>
              <a:gd name="connsiteY1" fmla="*/ 134200 h 268402"/>
              <a:gd name="connsiteX2" fmla="*/ 1435807 w 2871613"/>
              <a:gd name="connsiteY2" fmla="*/ 268402 h 268402"/>
              <a:gd name="connsiteX3" fmla="*/ 0 w 2871613"/>
              <a:gd name="connsiteY3" fmla="*/ 134200 h 268402"/>
              <a:gd name="connsiteX4" fmla="*/ 1435807 w 2871613"/>
              <a:gd name="connsiteY4" fmla="*/ 0 h 2684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71613" h="268402">
                <a:moveTo>
                  <a:pt x="1435807" y="0"/>
                </a:moveTo>
                <a:cubicBezTo>
                  <a:pt x="2228781" y="0"/>
                  <a:pt x="2871613" y="60084"/>
                  <a:pt x="2871613" y="134200"/>
                </a:cubicBezTo>
                <a:cubicBezTo>
                  <a:pt x="2871613" y="208318"/>
                  <a:pt x="2228781" y="268402"/>
                  <a:pt x="1435807" y="268402"/>
                </a:cubicBezTo>
                <a:cubicBezTo>
                  <a:pt x="642833" y="268402"/>
                  <a:pt x="0" y="208318"/>
                  <a:pt x="0" y="134200"/>
                </a:cubicBezTo>
                <a:cubicBezTo>
                  <a:pt x="0" y="60083"/>
                  <a:pt x="642833" y="0"/>
                  <a:pt x="1435807" y="0"/>
                </a:cubicBezTo>
                <a:close/>
              </a:path>
            </a:pathLst>
          </a:custGeom>
          <a:gradFill flip="none" rotWithShape="1">
            <a:gsLst>
              <a:gs pos="100000">
                <a:schemeClr val="accent1">
                  <a:lumMod val="100000"/>
                </a:schemeClr>
              </a:gs>
              <a:gs pos="0">
                <a:schemeClr val="accent1">
                  <a:lumMod val="55000"/>
                  <a:lumOff val="45000"/>
                </a:schemeClr>
              </a:gs>
            </a:gsLst>
            <a:lin ang="2700000" scaled="1"/>
            <a:tileRect/>
          </a:gradFill>
          <a:ln w="9525">
            <a:gradFill>
              <a:gsLst>
                <a:gs pos="0">
                  <a:schemeClr val="accent1">
                    <a:lumMod val="0"/>
                    <a:lumOff val="100000"/>
                    <a:alpha val="50000"/>
                  </a:schemeClr>
                </a:gs>
                <a:gs pos="100000">
                  <a:schemeClr val="accent1">
                    <a:lumMod val="0"/>
                    <a:lumOff val="100000"/>
                    <a:alpha val="20000"/>
                  </a:schemeClr>
                </a:gs>
              </a:gsLst>
              <a:lin ang="5400000" scaled="1"/>
            </a:gradFill>
          </a:ln>
          <a:effectLst>
            <a:outerShdw blurRad="254000" dist="177800" dir="2700000" algn="tl" rotWithShape="0">
              <a:schemeClr val="accent1">
                <a:alpha val="20000"/>
              </a:schemeClr>
            </a:outerShdw>
          </a:effectLst>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485899" tIns="63500" rIns="1485901" bIns="63500" numCol="1" spcCol="1270" anchor="ctr" anchorCtr="0">
            <a:noAutofit/>
          </a:bodyPr>
          <a:lstStyle/>
          <a:p>
            <a:pPr algn="ctr" defTabSz="2222500">
              <a:lnSpc>
                <a:spcPct val="90000"/>
              </a:lnSpc>
              <a:spcBef>
                <a:spcPct val="0"/>
              </a:spcBef>
              <a:spcAft>
                <a:spcPct val="35000"/>
              </a:spcAft>
            </a:pPr>
            <a:endParaRPr sz="3200">
              <a:solidFill>
                <a:prstClr val="white"/>
              </a:solidFill>
              <a:latin typeface="等线" panose="020F0502020204030204"/>
              <a:ea typeface="等线" panose="02010600030101010101" pitchFamily="2" charset="-122"/>
              <a:sym typeface="Calibri"/>
            </a:endParaRPr>
          </a:p>
        </p:txBody>
      </p:sp>
      <p:sp>
        <p:nvSpPr>
          <p:cNvPr id="58" name="任意多边形: 形状 57">
            <a:extLst>
              <a:ext uri="{FF2B5EF4-FFF2-40B4-BE49-F238E27FC236}">
                <a16:creationId xmlns:a16="http://schemas.microsoft.com/office/drawing/2014/main" id="{DC856F80-F5B4-42D1-78E2-594D0527ABCD}"/>
              </a:ext>
            </a:extLst>
          </p:cNvPr>
          <p:cNvSpPr/>
          <p:nvPr/>
        </p:nvSpPr>
        <p:spPr>
          <a:xfrm>
            <a:off x="4660194" y="4409534"/>
            <a:ext cx="2871613" cy="212126"/>
          </a:xfrm>
          <a:custGeom>
            <a:avLst/>
            <a:gdLst>
              <a:gd name="connsiteX0" fmla="*/ 0 w 2871613"/>
              <a:gd name="connsiteY0" fmla="*/ 0 h 212126"/>
              <a:gd name="connsiteX1" fmla="*/ 1435807 w 2871613"/>
              <a:gd name="connsiteY1" fmla="*/ 134202 h 212126"/>
              <a:gd name="connsiteX2" fmla="*/ 2871613 w 2871613"/>
              <a:gd name="connsiteY2" fmla="*/ 0 h 212126"/>
              <a:gd name="connsiteX3" fmla="*/ 2854297 w 2871613"/>
              <a:gd name="connsiteY3" fmla="*/ 98126 h 212126"/>
              <a:gd name="connsiteX4" fmla="*/ 1435807 w 2871613"/>
              <a:gd name="connsiteY4" fmla="*/ 212126 h 212126"/>
              <a:gd name="connsiteX5" fmla="*/ 17316 w 2871613"/>
              <a:gd name="connsiteY5" fmla="*/ 98126 h 212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71613" h="212126">
                <a:moveTo>
                  <a:pt x="0" y="0"/>
                </a:moveTo>
                <a:cubicBezTo>
                  <a:pt x="0" y="73595"/>
                  <a:pt x="642146" y="134202"/>
                  <a:pt x="1435807" y="134202"/>
                </a:cubicBezTo>
                <a:cubicBezTo>
                  <a:pt x="2228025" y="134202"/>
                  <a:pt x="2871613" y="75038"/>
                  <a:pt x="2871613" y="0"/>
                </a:cubicBezTo>
                <a:lnTo>
                  <a:pt x="2854297" y="98126"/>
                </a:lnTo>
                <a:cubicBezTo>
                  <a:pt x="2746069" y="163063"/>
                  <a:pt x="2152988" y="212126"/>
                  <a:pt x="1435807" y="212126"/>
                </a:cubicBezTo>
                <a:cubicBezTo>
                  <a:pt x="720067" y="212126"/>
                  <a:pt x="125542" y="163063"/>
                  <a:pt x="17316" y="98126"/>
                </a:cubicBezTo>
                <a:close/>
              </a:path>
            </a:pathLst>
          </a:custGeom>
          <a:gradFill flip="none" rotWithShape="1">
            <a:gsLst>
              <a:gs pos="0">
                <a:schemeClr val="accent1">
                  <a:lumMod val="0"/>
                  <a:lumOff val="100000"/>
                  <a:alpha val="60000"/>
                </a:schemeClr>
              </a:gs>
              <a:gs pos="100000">
                <a:schemeClr val="accent1">
                  <a:lumMod val="0"/>
                  <a:lumOff val="100000"/>
                  <a:alpha val="75000"/>
                </a:schemeClr>
              </a:gs>
            </a:gsLst>
            <a:lin ang="0" scaled="1"/>
            <a:tileRect/>
          </a:gradFill>
          <a:ln w="9525">
            <a:gradFill>
              <a:gsLst>
                <a:gs pos="0">
                  <a:schemeClr val="accent1">
                    <a:lumMod val="0"/>
                    <a:lumOff val="100000"/>
                    <a:alpha val="50000"/>
                  </a:schemeClr>
                </a:gs>
                <a:gs pos="100000">
                  <a:schemeClr val="accent1">
                    <a:lumMod val="0"/>
                    <a:lumOff val="100000"/>
                    <a:alpha val="2000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a:solidFill>
                <a:srgbClr val="FFFFFF"/>
              </a:solidFill>
              <a:latin typeface="Arial"/>
              <a:sym typeface="Calibri"/>
            </a:endParaRPr>
          </a:p>
        </p:txBody>
      </p:sp>
      <p:sp>
        <p:nvSpPr>
          <p:cNvPr id="61" name="任意多边形: 形状 60">
            <a:extLst>
              <a:ext uri="{FF2B5EF4-FFF2-40B4-BE49-F238E27FC236}">
                <a16:creationId xmlns:a16="http://schemas.microsoft.com/office/drawing/2014/main" id="{58E78B45-D5D5-52FA-7CF8-E6356844BAAE}"/>
              </a:ext>
            </a:extLst>
          </p:cNvPr>
          <p:cNvSpPr/>
          <p:nvPr/>
        </p:nvSpPr>
        <p:spPr>
          <a:xfrm>
            <a:off x="4390350" y="3210384"/>
            <a:ext cx="3409861" cy="1095253"/>
          </a:xfrm>
          <a:custGeom>
            <a:avLst/>
            <a:gdLst>
              <a:gd name="connsiteX0" fmla="*/ 0 w 3409861"/>
              <a:gd name="connsiteY0" fmla="*/ 0 h 1095253"/>
              <a:gd name="connsiteX1" fmla="*/ 3409861 w 3409861"/>
              <a:gd name="connsiteY1" fmla="*/ 0 h 1095253"/>
              <a:gd name="connsiteX2" fmla="*/ 3251128 w 3409861"/>
              <a:gd name="connsiteY2" fmla="*/ 884572 h 1095253"/>
              <a:gd name="connsiteX3" fmla="*/ 1705652 w 3409861"/>
              <a:gd name="connsiteY3" fmla="*/ 1095253 h 1095253"/>
              <a:gd name="connsiteX4" fmla="*/ 160175 w 3409861"/>
              <a:gd name="connsiteY4" fmla="*/ 884572 h 10952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09861" h="1095253">
                <a:moveTo>
                  <a:pt x="0" y="0"/>
                </a:moveTo>
                <a:lnTo>
                  <a:pt x="3409861" y="0"/>
                </a:lnTo>
                <a:lnTo>
                  <a:pt x="3251128" y="884572"/>
                </a:lnTo>
                <a:cubicBezTo>
                  <a:pt x="3251128" y="1001457"/>
                  <a:pt x="2559920" y="1095253"/>
                  <a:pt x="1705652" y="1095253"/>
                </a:cubicBezTo>
                <a:cubicBezTo>
                  <a:pt x="851383" y="1095253"/>
                  <a:pt x="160175" y="1001457"/>
                  <a:pt x="160175" y="884572"/>
                </a:cubicBezTo>
                <a:close/>
              </a:path>
            </a:pathLst>
          </a:custGeom>
          <a:gradFill flip="none" rotWithShape="1">
            <a:gsLst>
              <a:gs pos="0">
                <a:schemeClr val="accent1">
                  <a:lumMod val="55000"/>
                  <a:lumOff val="45000"/>
                </a:schemeClr>
              </a:gs>
              <a:gs pos="100000">
                <a:schemeClr val="accent1">
                  <a:lumMod val="90000"/>
                </a:schemeClr>
              </a:gs>
            </a:gsLst>
            <a:path path="circle">
              <a:fillToRect r="100000" b="100000"/>
            </a:path>
            <a:tileRect l="-100000" t="-100000"/>
          </a:gradFill>
          <a:ln w="9525">
            <a:gradFill>
              <a:gsLst>
                <a:gs pos="0">
                  <a:schemeClr val="accent1">
                    <a:lumMod val="0"/>
                    <a:lumOff val="100000"/>
                    <a:alpha val="50000"/>
                  </a:schemeClr>
                </a:gs>
                <a:gs pos="100000">
                  <a:schemeClr val="accent1">
                    <a:lumMod val="0"/>
                    <a:lumOff val="100000"/>
                    <a:alpha val="2000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a:solidFill>
                <a:srgbClr val="FFFFFF"/>
              </a:solidFill>
              <a:latin typeface="Arial"/>
              <a:sym typeface="Calibri"/>
            </a:endParaRPr>
          </a:p>
        </p:txBody>
      </p:sp>
      <p:sp>
        <p:nvSpPr>
          <p:cNvPr id="62" name="任意多边形: 形状 61">
            <a:extLst>
              <a:ext uri="{FF2B5EF4-FFF2-40B4-BE49-F238E27FC236}">
                <a16:creationId xmlns:a16="http://schemas.microsoft.com/office/drawing/2014/main" id="{5ED84A76-3E1E-C8D3-8F81-FA53B1B8C0F9}"/>
              </a:ext>
            </a:extLst>
          </p:cNvPr>
          <p:cNvSpPr/>
          <p:nvPr/>
        </p:nvSpPr>
        <p:spPr>
          <a:xfrm>
            <a:off x="4390350" y="3076181"/>
            <a:ext cx="3411303" cy="268402"/>
          </a:xfrm>
          <a:custGeom>
            <a:avLst/>
            <a:gdLst>
              <a:gd name="connsiteX0" fmla="*/ 1705652 w 3411303"/>
              <a:gd name="connsiteY0" fmla="*/ 0 h 268402"/>
              <a:gd name="connsiteX1" fmla="*/ 3411303 w 3411303"/>
              <a:gd name="connsiteY1" fmla="*/ 134202 h 268402"/>
              <a:gd name="connsiteX2" fmla="*/ 1705652 w 3411303"/>
              <a:gd name="connsiteY2" fmla="*/ 268402 h 268402"/>
              <a:gd name="connsiteX3" fmla="*/ 0 w 3411303"/>
              <a:gd name="connsiteY3" fmla="*/ 134202 h 268402"/>
              <a:gd name="connsiteX4" fmla="*/ 1705652 w 3411303"/>
              <a:gd name="connsiteY4" fmla="*/ 0 h 2684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11303" h="268402">
                <a:moveTo>
                  <a:pt x="1705652" y="0"/>
                </a:moveTo>
                <a:cubicBezTo>
                  <a:pt x="2647658" y="0"/>
                  <a:pt x="3411303" y="60084"/>
                  <a:pt x="3411303" y="134202"/>
                </a:cubicBezTo>
                <a:cubicBezTo>
                  <a:pt x="3411303" y="208319"/>
                  <a:pt x="2647658" y="268402"/>
                  <a:pt x="1705652" y="268402"/>
                </a:cubicBezTo>
                <a:cubicBezTo>
                  <a:pt x="763646" y="268402"/>
                  <a:pt x="0" y="208318"/>
                  <a:pt x="0" y="134202"/>
                </a:cubicBezTo>
                <a:cubicBezTo>
                  <a:pt x="0" y="60084"/>
                  <a:pt x="763646" y="0"/>
                  <a:pt x="1705652" y="0"/>
                </a:cubicBezTo>
                <a:close/>
              </a:path>
            </a:pathLst>
          </a:custGeom>
          <a:gradFill flip="none" rotWithShape="1">
            <a:gsLst>
              <a:gs pos="100000">
                <a:schemeClr val="accent1">
                  <a:lumMod val="80000"/>
                  <a:lumOff val="20000"/>
                </a:schemeClr>
              </a:gs>
              <a:gs pos="0">
                <a:schemeClr val="accent1">
                  <a:lumMod val="35000"/>
                  <a:lumOff val="65000"/>
                </a:schemeClr>
              </a:gs>
            </a:gsLst>
            <a:lin ang="2700000" scaled="1"/>
            <a:tileRect/>
          </a:gradFill>
          <a:ln w="9525">
            <a:gradFill>
              <a:gsLst>
                <a:gs pos="0">
                  <a:schemeClr val="accent1">
                    <a:lumMod val="0"/>
                    <a:lumOff val="100000"/>
                    <a:alpha val="50000"/>
                  </a:schemeClr>
                </a:gs>
                <a:gs pos="100000">
                  <a:schemeClr val="accent1">
                    <a:lumMod val="0"/>
                    <a:lumOff val="100000"/>
                    <a:alpha val="20000"/>
                  </a:schemeClr>
                </a:gs>
              </a:gsLst>
              <a:lin ang="5400000" scaled="1"/>
            </a:gradFill>
          </a:ln>
          <a:effectLst>
            <a:outerShdw blurRad="254000" dist="177800" dir="2700000" algn="tl" rotWithShape="0">
              <a:schemeClr val="accent1">
                <a:alpha val="20000"/>
              </a:schemeClr>
            </a:outerShdw>
          </a:effectLst>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485899" tIns="63500" rIns="1485901" bIns="63500" numCol="1" spcCol="1270" anchor="ctr" anchorCtr="0">
            <a:noAutofit/>
          </a:bodyPr>
          <a:lstStyle/>
          <a:p>
            <a:pPr algn="ctr" defTabSz="2222500">
              <a:lnSpc>
                <a:spcPct val="90000"/>
              </a:lnSpc>
              <a:spcBef>
                <a:spcPct val="0"/>
              </a:spcBef>
              <a:spcAft>
                <a:spcPct val="35000"/>
              </a:spcAft>
            </a:pPr>
            <a:endParaRPr sz="3200">
              <a:solidFill>
                <a:prstClr val="white"/>
              </a:solidFill>
              <a:latin typeface="等线" panose="020F0502020204030204"/>
              <a:ea typeface="等线" panose="02010600030101010101" pitchFamily="2" charset="-122"/>
              <a:sym typeface="Calibri"/>
            </a:endParaRPr>
          </a:p>
        </p:txBody>
      </p:sp>
      <p:sp>
        <p:nvSpPr>
          <p:cNvPr id="64" name="任意多边形: 形状 63">
            <a:extLst>
              <a:ext uri="{FF2B5EF4-FFF2-40B4-BE49-F238E27FC236}">
                <a16:creationId xmlns:a16="http://schemas.microsoft.com/office/drawing/2014/main" id="{34A55682-C7CC-4DFC-3D47-8482C6A9A9D0}"/>
              </a:ext>
            </a:extLst>
          </p:cNvPr>
          <p:cNvSpPr/>
          <p:nvPr/>
        </p:nvSpPr>
        <p:spPr>
          <a:xfrm>
            <a:off x="4390350" y="3211826"/>
            <a:ext cx="3411303" cy="210681"/>
          </a:xfrm>
          <a:custGeom>
            <a:avLst/>
            <a:gdLst>
              <a:gd name="connsiteX0" fmla="*/ 0 w 3411303"/>
              <a:gd name="connsiteY0" fmla="*/ 0 h 210681"/>
              <a:gd name="connsiteX1" fmla="*/ 1705652 w 3411303"/>
              <a:gd name="connsiteY1" fmla="*/ 134202 h 210681"/>
              <a:gd name="connsiteX2" fmla="*/ 3411303 w 3411303"/>
              <a:gd name="connsiteY2" fmla="*/ 0 h 210681"/>
              <a:gd name="connsiteX3" fmla="*/ 3393987 w 3411303"/>
              <a:gd name="connsiteY3" fmla="*/ 95239 h 210681"/>
              <a:gd name="connsiteX4" fmla="*/ 1705652 w 3411303"/>
              <a:gd name="connsiteY4" fmla="*/ 210681 h 210681"/>
              <a:gd name="connsiteX5" fmla="*/ 17316 w 3411303"/>
              <a:gd name="connsiteY5" fmla="*/ 95239 h 210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11303" h="210681">
                <a:moveTo>
                  <a:pt x="0" y="0"/>
                </a:moveTo>
                <a:cubicBezTo>
                  <a:pt x="0" y="73595"/>
                  <a:pt x="763358" y="134202"/>
                  <a:pt x="1705652" y="134202"/>
                </a:cubicBezTo>
                <a:cubicBezTo>
                  <a:pt x="2647944" y="134202"/>
                  <a:pt x="3411303" y="75037"/>
                  <a:pt x="3411303" y="0"/>
                </a:cubicBezTo>
                <a:lnTo>
                  <a:pt x="3393987" y="95239"/>
                </a:lnTo>
                <a:cubicBezTo>
                  <a:pt x="3277103" y="160176"/>
                  <a:pt x="2565692" y="210681"/>
                  <a:pt x="1705652" y="210681"/>
                </a:cubicBezTo>
                <a:cubicBezTo>
                  <a:pt x="845611" y="210681"/>
                  <a:pt x="135644" y="160176"/>
                  <a:pt x="17316" y="95239"/>
                </a:cubicBezTo>
                <a:close/>
              </a:path>
            </a:pathLst>
          </a:custGeom>
          <a:gradFill flip="none" rotWithShape="1">
            <a:gsLst>
              <a:gs pos="0">
                <a:schemeClr val="accent1">
                  <a:lumMod val="0"/>
                  <a:lumOff val="100000"/>
                  <a:alpha val="60000"/>
                </a:schemeClr>
              </a:gs>
              <a:gs pos="100000">
                <a:schemeClr val="accent1">
                  <a:lumMod val="0"/>
                  <a:lumOff val="100000"/>
                  <a:alpha val="75000"/>
                </a:schemeClr>
              </a:gs>
            </a:gsLst>
            <a:lin ang="0" scaled="1"/>
            <a:tileRect/>
          </a:gradFill>
          <a:ln w="9525">
            <a:gradFill>
              <a:gsLst>
                <a:gs pos="0">
                  <a:schemeClr val="accent1">
                    <a:lumMod val="0"/>
                    <a:lumOff val="100000"/>
                    <a:alpha val="50000"/>
                  </a:schemeClr>
                </a:gs>
                <a:gs pos="100000">
                  <a:schemeClr val="accent1">
                    <a:lumMod val="0"/>
                    <a:lumOff val="100000"/>
                    <a:alpha val="2000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a:solidFill>
                <a:srgbClr val="FFFFFF"/>
              </a:solidFill>
              <a:latin typeface="Arial"/>
              <a:sym typeface="Calibri"/>
            </a:endParaRPr>
          </a:p>
        </p:txBody>
      </p:sp>
      <p:sp>
        <p:nvSpPr>
          <p:cNvPr id="66" name="任意多边形: 形状 65">
            <a:extLst>
              <a:ext uri="{FF2B5EF4-FFF2-40B4-BE49-F238E27FC236}">
                <a16:creationId xmlns:a16="http://schemas.microsoft.com/office/drawing/2014/main" id="{D060E78D-07E3-0164-3D4A-FCF508809B49}"/>
              </a:ext>
            </a:extLst>
          </p:cNvPr>
          <p:cNvSpPr/>
          <p:nvPr/>
        </p:nvSpPr>
        <p:spPr>
          <a:xfrm>
            <a:off x="4061341" y="1989586"/>
            <a:ext cx="4070765" cy="1111128"/>
          </a:xfrm>
          <a:custGeom>
            <a:avLst/>
            <a:gdLst>
              <a:gd name="connsiteX0" fmla="*/ 0 w 4070765"/>
              <a:gd name="connsiteY0" fmla="*/ 0 h 1111128"/>
              <a:gd name="connsiteX1" fmla="*/ 4070765 w 4070765"/>
              <a:gd name="connsiteY1" fmla="*/ 0 h 1111128"/>
              <a:gd name="connsiteX2" fmla="*/ 3826893 w 4070765"/>
              <a:gd name="connsiteY2" fmla="*/ 900447 h 1111128"/>
              <a:gd name="connsiteX3" fmla="*/ 2034661 w 4070765"/>
              <a:gd name="connsiteY3" fmla="*/ 1111128 h 1111128"/>
              <a:gd name="connsiteX4" fmla="*/ 242428 w 4070765"/>
              <a:gd name="connsiteY4" fmla="*/ 900447 h 11111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70765" h="1111128">
                <a:moveTo>
                  <a:pt x="0" y="0"/>
                </a:moveTo>
                <a:lnTo>
                  <a:pt x="4070765" y="0"/>
                </a:lnTo>
                <a:lnTo>
                  <a:pt x="3826893" y="900447"/>
                </a:lnTo>
                <a:cubicBezTo>
                  <a:pt x="3826893" y="1017332"/>
                  <a:pt x="3024573" y="1111128"/>
                  <a:pt x="2034661" y="1111128"/>
                </a:cubicBezTo>
                <a:cubicBezTo>
                  <a:pt x="1044748" y="1111128"/>
                  <a:pt x="242428" y="1017332"/>
                  <a:pt x="242428" y="900447"/>
                </a:cubicBezTo>
                <a:close/>
              </a:path>
            </a:pathLst>
          </a:custGeom>
          <a:gradFill flip="none" rotWithShape="1">
            <a:gsLst>
              <a:gs pos="0">
                <a:schemeClr val="accent1">
                  <a:lumMod val="35000"/>
                  <a:lumOff val="65000"/>
                </a:schemeClr>
              </a:gs>
              <a:gs pos="100000">
                <a:schemeClr val="accent1">
                  <a:lumMod val="100000"/>
                </a:schemeClr>
              </a:gs>
            </a:gsLst>
            <a:path path="circle">
              <a:fillToRect r="100000" b="100000"/>
            </a:path>
            <a:tileRect l="-100000" t="-100000"/>
          </a:gradFill>
          <a:ln w="9525">
            <a:gradFill>
              <a:gsLst>
                <a:gs pos="0">
                  <a:schemeClr val="accent1">
                    <a:lumMod val="0"/>
                    <a:lumOff val="100000"/>
                    <a:alpha val="50000"/>
                  </a:schemeClr>
                </a:gs>
                <a:gs pos="100000">
                  <a:schemeClr val="accent1">
                    <a:lumMod val="0"/>
                    <a:lumOff val="100000"/>
                    <a:alpha val="2000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dirty="0">
              <a:solidFill>
                <a:srgbClr val="FFFFFF"/>
              </a:solidFill>
              <a:latin typeface="Arial"/>
              <a:sym typeface="Calibri"/>
            </a:endParaRPr>
          </a:p>
        </p:txBody>
      </p:sp>
      <p:sp>
        <p:nvSpPr>
          <p:cNvPr id="68" name="任意多边形: 形状 67">
            <a:extLst>
              <a:ext uri="{FF2B5EF4-FFF2-40B4-BE49-F238E27FC236}">
                <a16:creationId xmlns:a16="http://schemas.microsoft.com/office/drawing/2014/main" id="{745F8712-FEFE-A896-F56B-93C1DA3B3D54}"/>
              </a:ext>
            </a:extLst>
          </p:cNvPr>
          <p:cNvSpPr/>
          <p:nvPr/>
        </p:nvSpPr>
        <p:spPr>
          <a:xfrm>
            <a:off x="4059897" y="1855385"/>
            <a:ext cx="4072207" cy="268403"/>
          </a:xfrm>
          <a:custGeom>
            <a:avLst/>
            <a:gdLst>
              <a:gd name="connsiteX0" fmla="*/ 2036104 w 4072207"/>
              <a:gd name="connsiteY0" fmla="*/ 0 h 268403"/>
              <a:gd name="connsiteX1" fmla="*/ 4072207 w 4072207"/>
              <a:gd name="connsiteY1" fmla="*/ 134202 h 268403"/>
              <a:gd name="connsiteX2" fmla="*/ 2036104 w 4072207"/>
              <a:gd name="connsiteY2" fmla="*/ 268403 h 268403"/>
              <a:gd name="connsiteX3" fmla="*/ 0 w 4072207"/>
              <a:gd name="connsiteY3" fmla="*/ 134201 h 268403"/>
              <a:gd name="connsiteX4" fmla="*/ 2036104 w 4072207"/>
              <a:gd name="connsiteY4" fmla="*/ 0 h 2684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72207" h="268403">
                <a:moveTo>
                  <a:pt x="2036104" y="0"/>
                </a:moveTo>
                <a:cubicBezTo>
                  <a:pt x="3160613" y="0"/>
                  <a:pt x="4072207" y="60084"/>
                  <a:pt x="4072207" y="134202"/>
                </a:cubicBezTo>
                <a:cubicBezTo>
                  <a:pt x="4072207" y="208318"/>
                  <a:pt x="3160613" y="268403"/>
                  <a:pt x="2036104" y="268403"/>
                </a:cubicBezTo>
                <a:cubicBezTo>
                  <a:pt x="911594" y="268403"/>
                  <a:pt x="0" y="208318"/>
                  <a:pt x="0" y="134201"/>
                </a:cubicBezTo>
                <a:cubicBezTo>
                  <a:pt x="0" y="60084"/>
                  <a:pt x="911594" y="0"/>
                  <a:pt x="2036104" y="0"/>
                </a:cubicBezTo>
                <a:close/>
              </a:path>
            </a:pathLst>
          </a:custGeom>
          <a:gradFill flip="none" rotWithShape="1">
            <a:gsLst>
              <a:gs pos="100000">
                <a:schemeClr val="accent1">
                  <a:lumMod val="60000"/>
                  <a:lumOff val="40000"/>
                </a:schemeClr>
              </a:gs>
              <a:gs pos="0">
                <a:schemeClr val="accent1">
                  <a:lumMod val="15000"/>
                  <a:lumOff val="85000"/>
                </a:schemeClr>
              </a:gs>
            </a:gsLst>
            <a:lin ang="2700000" scaled="1"/>
            <a:tileRect/>
          </a:gradFill>
          <a:ln w="9525">
            <a:gradFill>
              <a:gsLst>
                <a:gs pos="0">
                  <a:schemeClr val="accent1">
                    <a:lumMod val="0"/>
                    <a:lumOff val="100000"/>
                    <a:alpha val="50000"/>
                  </a:schemeClr>
                </a:gs>
                <a:gs pos="100000">
                  <a:schemeClr val="accent1">
                    <a:lumMod val="0"/>
                    <a:lumOff val="100000"/>
                    <a:alpha val="20000"/>
                  </a:schemeClr>
                </a:gs>
              </a:gsLst>
              <a:lin ang="5400000" scaled="1"/>
            </a:gradFill>
          </a:ln>
          <a:effectLst>
            <a:outerShdw blurRad="254000" dist="177800" dir="2700000" algn="tl" rotWithShape="0">
              <a:schemeClr val="accent1">
                <a:alpha val="20000"/>
              </a:schemeClr>
            </a:outerShdw>
          </a:effectLst>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485899" tIns="63500" rIns="1485901" bIns="63500" numCol="1" spcCol="1270" anchor="ctr" anchorCtr="0">
            <a:noAutofit/>
          </a:bodyPr>
          <a:lstStyle/>
          <a:p>
            <a:pPr algn="ctr" defTabSz="2222500">
              <a:lnSpc>
                <a:spcPct val="90000"/>
              </a:lnSpc>
              <a:spcBef>
                <a:spcPct val="0"/>
              </a:spcBef>
              <a:spcAft>
                <a:spcPct val="35000"/>
              </a:spcAft>
            </a:pPr>
            <a:endParaRPr sz="3200">
              <a:solidFill>
                <a:prstClr val="white"/>
              </a:solidFill>
              <a:latin typeface="等线" panose="020F0502020204030204"/>
              <a:ea typeface="等线" panose="02010600030101010101" pitchFamily="2" charset="-122"/>
              <a:sym typeface="Calibri"/>
            </a:endParaRPr>
          </a:p>
        </p:txBody>
      </p:sp>
      <p:sp>
        <p:nvSpPr>
          <p:cNvPr id="70" name="任意多边形: 形状 69">
            <a:extLst>
              <a:ext uri="{FF2B5EF4-FFF2-40B4-BE49-F238E27FC236}">
                <a16:creationId xmlns:a16="http://schemas.microsoft.com/office/drawing/2014/main" id="{6FE0DD4A-8267-C8B5-5832-960D7F25902F}"/>
              </a:ext>
            </a:extLst>
          </p:cNvPr>
          <p:cNvSpPr/>
          <p:nvPr/>
        </p:nvSpPr>
        <p:spPr>
          <a:xfrm>
            <a:off x="4061341" y="1995358"/>
            <a:ext cx="4069321" cy="206352"/>
          </a:xfrm>
          <a:custGeom>
            <a:avLst/>
            <a:gdLst>
              <a:gd name="connsiteX0" fmla="*/ 0 w 4069321"/>
              <a:gd name="connsiteY0" fmla="*/ 0 h 206352"/>
              <a:gd name="connsiteX1" fmla="*/ 2034661 w 4069321"/>
              <a:gd name="connsiteY1" fmla="*/ 129872 h 206352"/>
              <a:gd name="connsiteX2" fmla="*/ 4069321 w 4069321"/>
              <a:gd name="connsiteY2" fmla="*/ 0 h 206352"/>
              <a:gd name="connsiteX3" fmla="*/ 4043347 w 4069321"/>
              <a:gd name="connsiteY3" fmla="*/ 93798 h 206352"/>
              <a:gd name="connsiteX4" fmla="*/ 2034661 w 4069321"/>
              <a:gd name="connsiteY4" fmla="*/ 206352 h 206352"/>
              <a:gd name="connsiteX5" fmla="*/ 25974 w 4069321"/>
              <a:gd name="connsiteY5" fmla="*/ 93798 h 206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69321" h="206352">
                <a:moveTo>
                  <a:pt x="0" y="0"/>
                </a:moveTo>
                <a:cubicBezTo>
                  <a:pt x="34633" y="72151"/>
                  <a:pt x="932192" y="129872"/>
                  <a:pt x="2034661" y="129872"/>
                </a:cubicBezTo>
                <a:cubicBezTo>
                  <a:pt x="3137129" y="129872"/>
                  <a:pt x="4034689" y="72151"/>
                  <a:pt x="4069321" y="0"/>
                </a:cubicBezTo>
                <a:lnTo>
                  <a:pt x="4043347" y="93798"/>
                </a:lnTo>
                <a:cubicBezTo>
                  <a:pt x="3887500" y="157289"/>
                  <a:pt x="3047662" y="206352"/>
                  <a:pt x="2034661" y="206352"/>
                </a:cubicBezTo>
                <a:cubicBezTo>
                  <a:pt x="1023102" y="206352"/>
                  <a:pt x="183263" y="157289"/>
                  <a:pt x="25974" y="93798"/>
                </a:cubicBezTo>
                <a:close/>
              </a:path>
            </a:pathLst>
          </a:custGeom>
          <a:gradFill flip="none" rotWithShape="1">
            <a:gsLst>
              <a:gs pos="0">
                <a:schemeClr val="accent1">
                  <a:lumMod val="0"/>
                  <a:lumOff val="100000"/>
                  <a:alpha val="60000"/>
                </a:schemeClr>
              </a:gs>
              <a:gs pos="100000">
                <a:schemeClr val="accent1">
                  <a:lumMod val="0"/>
                  <a:lumOff val="100000"/>
                  <a:alpha val="75000"/>
                </a:schemeClr>
              </a:gs>
            </a:gsLst>
            <a:lin ang="0" scaled="1"/>
            <a:tileRect/>
          </a:gradFill>
          <a:ln w="9525">
            <a:gradFill>
              <a:gsLst>
                <a:gs pos="0">
                  <a:schemeClr val="accent1">
                    <a:lumMod val="0"/>
                    <a:lumOff val="100000"/>
                    <a:alpha val="50000"/>
                  </a:schemeClr>
                </a:gs>
                <a:gs pos="100000">
                  <a:schemeClr val="accent1">
                    <a:lumMod val="0"/>
                    <a:lumOff val="100000"/>
                    <a:alpha val="2000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a:solidFill>
                <a:srgbClr val="FFFFFF"/>
              </a:solidFill>
              <a:latin typeface="Arial"/>
              <a:sym typeface="Calibri"/>
            </a:endParaRPr>
          </a:p>
        </p:txBody>
      </p:sp>
      <p:cxnSp>
        <p:nvCxnSpPr>
          <p:cNvPr id="65" name="直接连接符 64">
            <a:extLst>
              <a:ext uri="{FF2B5EF4-FFF2-40B4-BE49-F238E27FC236}">
                <a16:creationId xmlns:a16="http://schemas.microsoft.com/office/drawing/2014/main" id="{DDD744C5-37AB-D16A-7FF4-8ACAE170A67F}"/>
              </a:ext>
            </a:extLst>
          </p:cNvPr>
          <p:cNvCxnSpPr>
            <a:cxnSpLocks/>
          </p:cNvCxnSpPr>
          <p:nvPr/>
        </p:nvCxnSpPr>
        <p:spPr>
          <a:xfrm flipV="1">
            <a:off x="8125538" y="3588390"/>
            <a:ext cx="0" cy="1606178"/>
          </a:xfrm>
          <a:prstGeom prst="line">
            <a:avLst/>
          </a:prstGeom>
          <a:ln w="82550" cap="rnd">
            <a:gradFill>
              <a:gsLst>
                <a:gs pos="0">
                  <a:schemeClr val="accent1">
                    <a:alpha val="70000"/>
                  </a:schemeClr>
                </a:gs>
                <a:gs pos="80000">
                  <a:schemeClr val="accent1">
                    <a:lumMod val="30000"/>
                    <a:lumOff val="70000"/>
                    <a:alpha val="0"/>
                  </a:schemeClr>
                </a:gs>
              </a:gsLst>
              <a:lin ang="5400000" scaled="1"/>
            </a:gradFill>
          </a:ln>
          <a:effectLst>
            <a:softEdge rad="38100"/>
          </a:effectLst>
        </p:spPr>
        <p:style>
          <a:lnRef idx="1">
            <a:schemeClr val="accent1"/>
          </a:lnRef>
          <a:fillRef idx="0">
            <a:schemeClr val="accent1"/>
          </a:fillRef>
          <a:effectRef idx="0">
            <a:schemeClr val="accent1"/>
          </a:effectRef>
          <a:fontRef idx="minor">
            <a:schemeClr val="tx1"/>
          </a:fontRef>
        </p:style>
      </p:cxnSp>
      <p:cxnSp>
        <p:nvCxnSpPr>
          <p:cNvPr id="74" name="直接连接符 73">
            <a:extLst>
              <a:ext uri="{FF2B5EF4-FFF2-40B4-BE49-F238E27FC236}">
                <a16:creationId xmlns:a16="http://schemas.microsoft.com/office/drawing/2014/main" id="{CB7842E6-3179-ED48-EBD2-6A0F74C38755}"/>
              </a:ext>
            </a:extLst>
          </p:cNvPr>
          <p:cNvCxnSpPr>
            <a:cxnSpLocks/>
          </p:cNvCxnSpPr>
          <p:nvPr/>
        </p:nvCxnSpPr>
        <p:spPr>
          <a:xfrm flipV="1">
            <a:off x="3947238" y="2273092"/>
            <a:ext cx="0" cy="1606178"/>
          </a:xfrm>
          <a:prstGeom prst="line">
            <a:avLst/>
          </a:prstGeom>
          <a:ln w="82550" cap="rnd">
            <a:gradFill>
              <a:gsLst>
                <a:gs pos="0">
                  <a:schemeClr val="accent1">
                    <a:alpha val="70000"/>
                  </a:schemeClr>
                </a:gs>
                <a:gs pos="80000">
                  <a:schemeClr val="accent1">
                    <a:lumMod val="30000"/>
                    <a:lumOff val="70000"/>
                    <a:alpha val="0"/>
                  </a:schemeClr>
                </a:gs>
              </a:gsLst>
              <a:lin ang="5400000" scaled="1"/>
            </a:gradFill>
          </a:ln>
          <a:effectLst>
            <a:softEdge rad="38100"/>
          </a:effectLst>
        </p:spPr>
        <p:style>
          <a:lnRef idx="1">
            <a:schemeClr val="accent1"/>
          </a:lnRef>
          <a:fillRef idx="0">
            <a:schemeClr val="accent1"/>
          </a:fillRef>
          <a:effectRef idx="0">
            <a:schemeClr val="accent1"/>
          </a:effectRef>
          <a:fontRef idx="minor">
            <a:schemeClr val="tx1"/>
          </a:fontRef>
        </p:style>
      </p:cxnSp>
      <p:sp>
        <p:nvSpPr>
          <p:cNvPr id="96" name="文本框 95">
            <a:extLst>
              <a:ext uri="{FF2B5EF4-FFF2-40B4-BE49-F238E27FC236}">
                <a16:creationId xmlns:a16="http://schemas.microsoft.com/office/drawing/2014/main" id="{B9098572-44E5-905D-0443-1FB3D308EA47}"/>
              </a:ext>
            </a:extLst>
          </p:cNvPr>
          <p:cNvSpPr txBox="1"/>
          <p:nvPr/>
        </p:nvSpPr>
        <p:spPr>
          <a:xfrm>
            <a:off x="4661641" y="1013457"/>
            <a:ext cx="2868718" cy="587698"/>
          </a:xfrm>
          <a:prstGeom prst="roundRect">
            <a:avLst>
              <a:gd name="adj" fmla="val 50000"/>
            </a:avLst>
          </a:prstGeom>
          <a:gradFill>
            <a:gsLst>
              <a:gs pos="25000">
                <a:schemeClr val="accent1"/>
              </a:gs>
              <a:gs pos="100000">
                <a:schemeClr val="accent1">
                  <a:lumMod val="75000"/>
                </a:schemeClr>
              </a:gs>
            </a:gsLst>
            <a:path path="circle">
              <a:fillToRect l="15122" t="-108484" r="84878" b="208484"/>
            </a:path>
          </a:gradFill>
          <a:ln w="19050">
            <a:noFill/>
          </a:ln>
          <a:effectLst>
            <a:outerShdw blurRad="254000" dist="317500" dir="5400000" sx="76000" sy="76000" algn="t" rotWithShape="0">
              <a:schemeClr val="accent1">
                <a:lumMod val="50000"/>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22006" tIns="11003" rIns="22006" bIns="11003" numCol="1" spcCol="0" rtlCol="0" fromWordArt="0" anchor="ctr" anchorCtr="0" forceAA="0" compatLnSpc="1">
            <a:prstTxWarp prst="textNoShape">
              <a:avLst/>
            </a:prstTxWarp>
            <a:noAutofit/>
          </a:bodyPr>
          <a:lstStyle>
            <a:defPPr>
              <a:defRPr lang="zh-CN"/>
            </a:defPPr>
            <a:lvl1pPr marR="0" lvl="0" indent="0" algn="ctr" defTabSz="110025" fontAlgn="auto">
              <a:lnSpc>
                <a:spcPct val="100000"/>
              </a:lnSpc>
              <a:spcBef>
                <a:spcPts val="0"/>
              </a:spcBef>
              <a:spcAft>
                <a:spcPts val="0"/>
              </a:spcAft>
              <a:buClrTx/>
              <a:buSzTx/>
              <a:buFontTx/>
              <a:buNone/>
              <a:tabLst/>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endParaRPr lang="zh-CN" altLang="en-US" dirty="0">
              <a:solidFill>
                <a:srgbClr val="FFFFFF"/>
              </a:solidFill>
              <a:latin typeface="Arial"/>
              <a:sym typeface="OPPOSans B" panose="00020600040101010101" pitchFamily="18" charset="-122"/>
            </a:endParaRPr>
          </a:p>
        </p:txBody>
      </p:sp>
    </p:spTree>
    <p:extLst>
      <p:ext uri="{BB962C8B-B14F-4D97-AF65-F5344CB8AC3E}">
        <p14:creationId xmlns:p14="http://schemas.microsoft.com/office/powerpoint/2010/main" val="3681935697"/>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5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 name="任意多边形: 形状 64">
            <a:extLst>
              <a:ext uri="{FF2B5EF4-FFF2-40B4-BE49-F238E27FC236}">
                <a16:creationId xmlns:a16="http://schemas.microsoft.com/office/drawing/2014/main" id="{24250B99-1F61-2408-1224-C77FB8E8B56E}"/>
              </a:ext>
            </a:extLst>
          </p:cNvPr>
          <p:cNvSpPr/>
          <p:nvPr/>
        </p:nvSpPr>
        <p:spPr>
          <a:xfrm>
            <a:off x="5262542" y="4827718"/>
            <a:ext cx="1666933" cy="1033046"/>
          </a:xfrm>
          <a:custGeom>
            <a:avLst/>
            <a:gdLst>
              <a:gd name="connsiteX0" fmla="*/ 1666933 w 1666933"/>
              <a:gd name="connsiteY0" fmla="*/ 0 h 1033046"/>
              <a:gd name="connsiteX1" fmla="*/ 1305188 w 1666933"/>
              <a:gd name="connsiteY1" fmla="*/ 864527 h 1033046"/>
              <a:gd name="connsiteX2" fmla="*/ 834589 w 1666933"/>
              <a:gd name="connsiteY2" fmla="*/ 1033046 h 1033046"/>
              <a:gd name="connsiteX3" fmla="*/ 370085 w 1666933"/>
              <a:gd name="connsiteY3" fmla="*/ 879123 h 1033046"/>
              <a:gd name="connsiteX4" fmla="*/ 370074 w 1666933"/>
              <a:gd name="connsiteY4" fmla="*/ 879123 h 1033046"/>
              <a:gd name="connsiteX5" fmla="*/ 370068 w 1666933"/>
              <a:gd name="connsiteY5" fmla="*/ 879106 h 1033046"/>
              <a:gd name="connsiteX6" fmla="*/ 364150 w 1666933"/>
              <a:gd name="connsiteY6" fmla="*/ 865035 h 1033046"/>
              <a:gd name="connsiteX7" fmla="*/ 0 w 1666933"/>
              <a:gd name="connsiteY7" fmla="*/ 22 h 1033046"/>
              <a:gd name="connsiteX8" fmla="*/ 833464 w 1666933"/>
              <a:gd name="connsiteY8" fmla="*/ 280768 h 1033046"/>
              <a:gd name="connsiteX9" fmla="*/ 1666933 w 1666933"/>
              <a:gd name="connsiteY9" fmla="*/ 0 h 1033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66933" h="1033046">
                <a:moveTo>
                  <a:pt x="1666933" y="0"/>
                </a:moveTo>
                <a:lnTo>
                  <a:pt x="1305188" y="864527"/>
                </a:lnTo>
                <a:cubicBezTo>
                  <a:pt x="1274510" y="959637"/>
                  <a:pt x="1075525" y="1033046"/>
                  <a:pt x="834589" y="1033046"/>
                </a:cubicBezTo>
                <a:cubicBezTo>
                  <a:pt x="606118" y="1033046"/>
                  <a:pt x="415378" y="967051"/>
                  <a:pt x="370085" y="879123"/>
                </a:cubicBezTo>
                <a:lnTo>
                  <a:pt x="370074" y="879123"/>
                </a:lnTo>
                <a:lnTo>
                  <a:pt x="370068" y="879106"/>
                </a:lnTo>
                <a:cubicBezTo>
                  <a:pt x="367686" y="874478"/>
                  <a:pt x="365711" y="869789"/>
                  <a:pt x="364150" y="865035"/>
                </a:cubicBezTo>
                <a:lnTo>
                  <a:pt x="0" y="22"/>
                </a:lnTo>
                <a:cubicBezTo>
                  <a:pt x="75059" y="159930"/>
                  <a:pt x="419641" y="280768"/>
                  <a:pt x="833464" y="280768"/>
                </a:cubicBezTo>
                <a:cubicBezTo>
                  <a:pt x="1247303" y="280768"/>
                  <a:pt x="1591901" y="159919"/>
                  <a:pt x="1666933" y="0"/>
                </a:cubicBezTo>
                <a:close/>
              </a:path>
            </a:pathLst>
          </a:custGeom>
          <a:gradFill flip="none" rotWithShape="1">
            <a:gsLst>
              <a:gs pos="0">
                <a:schemeClr val="accent1">
                  <a:lumMod val="100000"/>
                </a:schemeClr>
              </a:gs>
              <a:gs pos="100000">
                <a:schemeClr val="accent1">
                  <a:lumMod val="60000"/>
                </a:schemeClr>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solidFill>
                <a:srgbClr val="FFFFFF"/>
              </a:solidFill>
              <a:latin typeface="Arial"/>
            </a:endParaRPr>
          </a:p>
        </p:txBody>
      </p:sp>
      <p:sp>
        <p:nvSpPr>
          <p:cNvPr id="66" name="任意多边形: 形状 65">
            <a:extLst>
              <a:ext uri="{FF2B5EF4-FFF2-40B4-BE49-F238E27FC236}">
                <a16:creationId xmlns:a16="http://schemas.microsoft.com/office/drawing/2014/main" id="{AD868FF0-C6EA-A049-7CE7-8F6C56A39AF8}"/>
              </a:ext>
            </a:extLst>
          </p:cNvPr>
          <p:cNvSpPr/>
          <p:nvPr/>
        </p:nvSpPr>
        <p:spPr>
          <a:xfrm>
            <a:off x="5622393" y="5472485"/>
            <a:ext cx="949469" cy="388278"/>
          </a:xfrm>
          <a:custGeom>
            <a:avLst/>
            <a:gdLst>
              <a:gd name="connsiteX0" fmla="*/ 474740 w 949469"/>
              <a:gd name="connsiteY0" fmla="*/ 0 h 388278"/>
              <a:gd name="connsiteX1" fmla="*/ 949469 w 949469"/>
              <a:gd name="connsiteY1" fmla="*/ 194125 h 388278"/>
              <a:gd name="connsiteX2" fmla="*/ 474740 w 949469"/>
              <a:gd name="connsiteY2" fmla="*/ 388278 h 388278"/>
              <a:gd name="connsiteX3" fmla="*/ 0 w 949469"/>
              <a:gd name="connsiteY3" fmla="*/ 194125 h 388278"/>
              <a:gd name="connsiteX4" fmla="*/ 474740 w 949469"/>
              <a:gd name="connsiteY4" fmla="*/ 0 h 3882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9469" h="388278">
                <a:moveTo>
                  <a:pt x="474740" y="0"/>
                </a:moveTo>
                <a:cubicBezTo>
                  <a:pt x="736932" y="0"/>
                  <a:pt x="949469" y="86913"/>
                  <a:pt x="949469" y="194125"/>
                </a:cubicBezTo>
                <a:cubicBezTo>
                  <a:pt x="949469" y="301354"/>
                  <a:pt x="736932" y="388278"/>
                  <a:pt x="474740" y="388278"/>
                </a:cubicBezTo>
                <a:cubicBezTo>
                  <a:pt x="212537" y="388278"/>
                  <a:pt x="0" y="301354"/>
                  <a:pt x="0" y="194125"/>
                </a:cubicBezTo>
                <a:cubicBezTo>
                  <a:pt x="0" y="86913"/>
                  <a:pt x="212537" y="0"/>
                  <a:pt x="474740" y="0"/>
                </a:cubicBezTo>
                <a:close/>
              </a:path>
            </a:pathLst>
          </a:custGeom>
          <a:gradFill flip="none" rotWithShape="1">
            <a:gsLst>
              <a:gs pos="100000">
                <a:schemeClr val="accent1">
                  <a:lumMod val="50000"/>
                  <a:alpha val="10000"/>
                </a:schemeClr>
              </a:gs>
              <a:gs pos="0">
                <a:schemeClr val="accent1">
                  <a:lumMod val="50000"/>
                  <a:alpha val="10000"/>
                </a:schemeClr>
              </a:gs>
            </a:gsLst>
            <a:lin ang="0" scaled="1"/>
            <a:tileRect/>
          </a:gradFill>
          <a:ln w="12700" cap="flat" cmpd="sng">
            <a:noFill/>
            <a:prstDash val="solid"/>
            <a:miter lim="800000"/>
          </a:ln>
          <a:effectLst/>
        </p:spPr>
        <p:txBody>
          <a:bodyPr wrap="square" anchor="ctr">
            <a:noAutofit/>
          </a:bodyPr>
          <a:lstStyle/>
          <a:p>
            <a:pPr algn="ctr"/>
            <a:endParaRPr lang="en-US" sz="622">
              <a:solidFill>
                <a:srgbClr val="000000"/>
              </a:solidFill>
              <a:latin typeface="Arial"/>
            </a:endParaRPr>
          </a:p>
        </p:txBody>
      </p:sp>
      <p:sp>
        <p:nvSpPr>
          <p:cNvPr id="67" name="任意多边形: 形状 66">
            <a:extLst>
              <a:ext uri="{FF2B5EF4-FFF2-40B4-BE49-F238E27FC236}">
                <a16:creationId xmlns:a16="http://schemas.microsoft.com/office/drawing/2014/main" id="{5B52BF27-A30B-5A9B-1CBE-4D944E80C87B}"/>
              </a:ext>
            </a:extLst>
          </p:cNvPr>
          <p:cNvSpPr/>
          <p:nvPr/>
        </p:nvSpPr>
        <p:spPr>
          <a:xfrm>
            <a:off x="4906196" y="3971160"/>
            <a:ext cx="2379608" cy="1137324"/>
          </a:xfrm>
          <a:custGeom>
            <a:avLst/>
            <a:gdLst>
              <a:gd name="connsiteX0" fmla="*/ 0 w 2379608"/>
              <a:gd name="connsiteY0" fmla="*/ 0 h 1137324"/>
              <a:gd name="connsiteX1" fmla="*/ 1189809 w 2379608"/>
              <a:gd name="connsiteY1" fmla="*/ 385062 h 1137324"/>
              <a:gd name="connsiteX2" fmla="*/ 2379608 w 2379608"/>
              <a:gd name="connsiteY2" fmla="*/ 0 h 1137324"/>
              <a:gd name="connsiteX3" fmla="*/ 2029373 w 2379608"/>
              <a:gd name="connsiteY3" fmla="*/ 841922 h 1137324"/>
              <a:gd name="connsiteX4" fmla="*/ 2023290 w 2379608"/>
              <a:gd name="connsiteY4" fmla="*/ 856546 h 1137324"/>
              <a:gd name="connsiteX5" fmla="*/ 2023279 w 2379608"/>
              <a:gd name="connsiteY5" fmla="*/ 856556 h 1137324"/>
              <a:gd name="connsiteX6" fmla="*/ 1189809 w 2379608"/>
              <a:gd name="connsiteY6" fmla="*/ 1137324 h 1137324"/>
              <a:gd name="connsiteX7" fmla="*/ 350235 w 2379608"/>
              <a:gd name="connsiteY7" fmla="*/ 841895 h 11373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79608" h="1137324">
                <a:moveTo>
                  <a:pt x="0" y="0"/>
                </a:moveTo>
                <a:cubicBezTo>
                  <a:pt x="125730" y="220658"/>
                  <a:pt x="610701" y="385062"/>
                  <a:pt x="1189809" y="385062"/>
                </a:cubicBezTo>
                <a:cubicBezTo>
                  <a:pt x="1768913" y="385062"/>
                  <a:pt x="2253889" y="220658"/>
                  <a:pt x="2379608" y="0"/>
                </a:cubicBezTo>
                <a:lnTo>
                  <a:pt x="2029373" y="841922"/>
                </a:lnTo>
                <a:cubicBezTo>
                  <a:pt x="2027597" y="846821"/>
                  <a:pt x="2025551" y="851702"/>
                  <a:pt x="2023290" y="856546"/>
                </a:cubicBezTo>
                <a:lnTo>
                  <a:pt x="2023279" y="856556"/>
                </a:lnTo>
                <a:cubicBezTo>
                  <a:pt x="1948247" y="1016476"/>
                  <a:pt x="1603648" y="1137324"/>
                  <a:pt x="1189809" y="1137324"/>
                </a:cubicBezTo>
                <a:cubicBezTo>
                  <a:pt x="763395" y="1137324"/>
                  <a:pt x="410475" y="1009029"/>
                  <a:pt x="350235" y="841895"/>
                </a:cubicBezTo>
                <a:close/>
              </a:path>
            </a:pathLst>
          </a:custGeom>
          <a:gradFill flip="none" rotWithShape="1">
            <a:gsLst>
              <a:gs pos="0">
                <a:schemeClr val="accent1">
                  <a:lumMod val="75000"/>
                  <a:lumOff val="25000"/>
                </a:schemeClr>
              </a:gs>
              <a:gs pos="100000">
                <a:schemeClr val="accent1">
                  <a:lumMod val="80000"/>
                </a:schemeClr>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solidFill>
                <a:srgbClr val="FFFFFF"/>
              </a:solidFill>
              <a:latin typeface="Arial"/>
            </a:endParaRPr>
          </a:p>
        </p:txBody>
      </p:sp>
      <p:sp>
        <p:nvSpPr>
          <p:cNvPr id="68" name="任意多边形: 形状 67">
            <a:extLst>
              <a:ext uri="{FF2B5EF4-FFF2-40B4-BE49-F238E27FC236}">
                <a16:creationId xmlns:a16="http://schemas.microsoft.com/office/drawing/2014/main" id="{12BE7ADB-F6E5-ED8B-B360-0A487EC224EB}"/>
              </a:ext>
            </a:extLst>
          </p:cNvPr>
          <p:cNvSpPr/>
          <p:nvPr/>
        </p:nvSpPr>
        <p:spPr>
          <a:xfrm>
            <a:off x="5247310" y="4415987"/>
            <a:ext cx="1697378" cy="692500"/>
          </a:xfrm>
          <a:custGeom>
            <a:avLst/>
            <a:gdLst>
              <a:gd name="connsiteX0" fmla="*/ 848692 w 1697378"/>
              <a:gd name="connsiteY0" fmla="*/ 0 h 692500"/>
              <a:gd name="connsiteX1" fmla="*/ 1697378 w 1697378"/>
              <a:gd name="connsiteY1" fmla="*/ 346256 h 692500"/>
              <a:gd name="connsiteX2" fmla="*/ 848692 w 1697378"/>
              <a:gd name="connsiteY2" fmla="*/ 692500 h 692500"/>
              <a:gd name="connsiteX3" fmla="*/ 0 w 1697378"/>
              <a:gd name="connsiteY3" fmla="*/ 346256 h 692500"/>
              <a:gd name="connsiteX4" fmla="*/ 848692 w 1697378"/>
              <a:gd name="connsiteY4" fmla="*/ 0 h 692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97378" h="692500">
                <a:moveTo>
                  <a:pt x="848692" y="0"/>
                </a:moveTo>
                <a:cubicBezTo>
                  <a:pt x="1317410" y="0"/>
                  <a:pt x="1697378" y="155021"/>
                  <a:pt x="1697378" y="346256"/>
                </a:cubicBezTo>
                <a:cubicBezTo>
                  <a:pt x="1697378" y="537485"/>
                  <a:pt x="1317410" y="692500"/>
                  <a:pt x="848692" y="692500"/>
                </a:cubicBezTo>
                <a:cubicBezTo>
                  <a:pt x="379980" y="692500"/>
                  <a:pt x="0" y="537485"/>
                  <a:pt x="0" y="346256"/>
                </a:cubicBezTo>
                <a:cubicBezTo>
                  <a:pt x="0" y="155021"/>
                  <a:pt x="379980" y="0"/>
                  <a:pt x="848692" y="0"/>
                </a:cubicBezTo>
                <a:close/>
              </a:path>
            </a:pathLst>
          </a:custGeom>
          <a:gradFill flip="none" rotWithShape="1">
            <a:gsLst>
              <a:gs pos="100000">
                <a:schemeClr val="accent1">
                  <a:lumMod val="50000"/>
                  <a:alpha val="10000"/>
                </a:schemeClr>
              </a:gs>
              <a:gs pos="0">
                <a:schemeClr val="accent1">
                  <a:lumMod val="50000"/>
                  <a:alpha val="10000"/>
                </a:schemeClr>
              </a:gs>
            </a:gsLst>
            <a:lin ang="0" scaled="1"/>
            <a:tileRect/>
          </a:gradFill>
          <a:ln w="12700" cap="flat" cmpd="sng">
            <a:noFill/>
            <a:prstDash val="solid"/>
            <a:miter lim="800000"/>
          </a:ln>
          <a:effectLst/>
        </p:spPr>
        <p:txBody>
          <a:bodyPr wrap="square" anchor="ctr">
            <a:noAutofit/>
          </a:bodyPr>
          <a:lstStyle/>
          <a:p>
            <a:pPr algn="ctr"/>
            <a:endParaRPr lang="en-US" sz="622">
              <a:solidFill>
                <a:srgbClr val="000000"/>
              </a:solidFill>
              <a:latin typeface="Arial"/>
            </a:endParaRPr>
          </a:p>
        </p:txBody>
      </p:sp>
      <p:sp>
        <p:nvSpPr>
          <p:cNvPr id="69" name="任意多边形: 形状 68">
            <a:extLst>
              <a:ext uri="{FF2B5EF4-FFF2-40B4-BE49-F238E27FC236}">
                <a16:creationId xmlns:a16="http://schemas.microsoft.com/office/drawing/2014/main" id="{06122281-B8D1-BE26-6FEE-6ED335D2B3DC}"/>
              </a:ext>
            </a:extLst>
          </p:cNvPr>
          <p:cNvSpPr/>
          <p:nvPr/>
        </p:nvSpPr>
        <p:spPr>
          <a:xfrm>
            <a:off x="4529751" y="3075678"/>
            <a:ext cx="3132502" cy="1280546"/>
          </a:xfrm>
          <a:custGeom>
            <a:avLst/>
            <a:gdLst>
              <a:gd name="connsiteX0" fmla="*/ 93 w 3132502"/>
              <a:gd name="connsiteY0" fmla="*/ 0 h 1280546"/>
              <a:gd name="connsiteX1" fmla="*/ 1566254 w 3132502"/>
              <a:gd name="connsiteY1" fmla="*/ 528278 h 1280546"/>
              <a:gd name="connsiteX2" fmla="*/ 3132403 w 3132502"/>
              <a:gd name="connsiteY2" fmla="*/ 0 h 1280546"/>
              <a:gd name="connsiteX3" fmla="*/ 3132502 w 3132502"/>
              <a:gd name="connsiteY3" fmla="*/ 38 h 1280546"/>
              <a:gd name="connsiteX4" fmla="*/ 2779895 w 3132502"/>
              <a:gd name="connsiteY4" fmla="*/ 838772 h 1280546"/>
              <a:gd name="connsiteX5" fmla="*/ 1566254 w 3132502"/>
              <a:gd name="connsiteY5" fmla="*/ 1280546 h 1280546"/>
              <a:gd name="connsiteX6" fmla="*/ 352612 w 3132502"/>
              <a:gd name="connsiteY6" fmla="*/ 838772 h 1280546"/>
              <a:gd name="connsiteX7" fmla="*/ 0 w 3132502"/>
              <a:gd name="connsiteY7" fmla="*/ 38 h 12805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32502" h="1280546">
                <a:moveTo>
                  <a:pt x="93" y="0"/>
                </a:moveTo>
                <a:cubicBezTo>
                  <a:pt x="140252" y="300835"/>
                  <a:pt x="788104" y="528278"/>
                  <a:pt x="1566254" y="528278"/>
                </a:cubicBezTo>
                <a:cubicBezTo>
                  <a:pt x="2344403" y="528278"/>
                  <a:pt x="2992245" y="300835"/>
                  <a:pt x="3132403" y="0"/>
                </a:cubicBezTo>
                <a:lnTo>
                  <a:pt x="3132502" y="38"/>
                </a:lnTo>
                <a:lnTo>
                  <a:pt x="2779895" y="838772"/>
                </a:lnTo>
                <a:cubicBezTo>
                  <a:pt x="2711019" y="1087365"/>
                  <a:pt x="2193975" y="1280546"/>
                  <a:pt x="1566254" y="1280546"/>
                </a:cubicBezTo>
                <a:cubicBezTo>
                  <a:pt x="938527" y="1280546"/>
                  <a:pt x="421478" y="1087365"/>
                  <a:pt x="352612" y="838772"/>
                </a:cubicBezTo>
                <a:lnTo>
                  <a:pt x="0" y="38"/>
                </a:lnTo>
                <a:close/>
              </a:path>
            </a:pathLst>
          </a:custGeom>
          <a:gradFill flip="none" rotWithShape="1">
            <a:gsLst>
              <a:gs pos="0">
                <a:schemeClr val="accent1">
                  <a:lumMod val="55000"/>
                  <a:lumOff val="45000"/>
                </a:schemeClr>
              </a:gs>
              <a:gs pos="100000">
                <a:schemeClr val="accent1">
                  <a:lumMod val="90000"/>
                </a:schemeClr>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solidFill>
                <a:srgbClr val="FFFFFF"/>
              </a:solidFill>
              <a:latin typeface="Arial"/>
            </a:endParaRPr>
          </a:p>
        </p:txBody>
      </p:sp>
      <p:sp>
        <p:nvSpPr>
          <p:cNvPr id="70" name="任意多边形: 形状 69">
            <a:extLst>
              <a:ext uri="{FF2B5EF4-FFF2-40B4-BE49-F238E27FC236}">
                <a16:creationId xmlns:a16="http://schemas.microsoft.com/office/drawing/2014/main" id="{ED1832A7-2EF9-A47D-554E-B34F171B0AF7}"/>
              </a:ext>
            </a:extLst>
          </p:cNvPr>
          <p:cNvSpPr/>
          <p:nvPr/>
        </p:nvSpPr>
        <p:spPr>
          <a:xfrm>
            <a:off x="4165330" y="2210303"/>
            <a:ext cx="3861360" cy="1393654"/>
          </a:xfrm>
          <a:custGeom>
            <a:avLst/>
            <a:gdLst>
              <a:gd name="connsiteX0" fmla="*/ 3861360 w 3861360"/>
              <a:gd name="connsiteY0" fmla="*/ 0 h 1393654"/>
              <a:gd name="connsiteX1" fmla="*/ 3507127 w 3861360"/>
              <a:gd name="connsiteY1" fmla="*/ 840896 h 1393654"/>
              <a:gd name="connsiteX2" fmla="*/ 1930674 w 3861360"/>
              <a:gd name="connsiteY2" fmla="*/ 1393654 h 1393654"/>
              <a:gd name="connsiteX3" fmla="*/ 364575 w 3861360"/>
              <a:gd name="connsiteY3" fmla="*/ 865492 h 1393654"/>
              <a:gd name="connsiteX4" fmla="*/ 364459 w 3861360"/>
              <a:gd name="connsiteY4" fmla="*/ 865492 h 1393654"/>
              <a:gd name="connsiteX5" fmla="*/ 363472 w 3861360"/>
              <a:gd name="connsiteY5" fmla="*/ 863148 h 1393654"/>
              <a:gd name="connsiteX6" fmla="*/ 354896 w 3861360"/>
              <a:gd name="connsiteY6" fmla="*/ 842782 h 1393654"/>
              <a:gd name="connsiteX7" fmla="*/ 0 w 3861360"/>
              <a:gd name="connsiteY7" fmla="*/ 11 h 1393654"/>
              <a:gd name="connsiteX8" fmla="*/ 1930674 w 3861360"/>
              <a:gd name="connsiteY8" fmla="*/ 642655 h 1393654"/>
              <a:gd name="connsiteX9" fmla="*/ 3861360 w 3861360"/>
              <a:gd name="connsiteY9" fmla="*/ 0 h 13936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861360" h="1393654">
                <a:moveTo>
                  <a:pt x="3861360" y="0"/>
                </a:moveTo>
                <a:lnTo>
                  <a:pt x="3507127" y="840896"/>
                </a:lnTo>
                <a:cubicBezTo>
                  <a:pt x="3391589" y="1153789"/>
                  <a:pt x="2729804" y="1393654"/>
                  <a:pt x="1930674" y="1393654"/>
                </a:cubicBezTo>
                <a:cubicBezTo>
                  <a:pt x="1152625" y="1393654"/>
                  <a:pt x="504849" y="1166266"/>
                  <a:pt x="364575" y="865492"/>
                </a:cubicBezTo>
                <a:lnTo>
                  <a:pt x="364459" y="865492"/>
                </a:lnTo>
                <a:lnTo>
                  <a:pt x="363472" y="863148"/>
                </a:lnTo>
                <a:cubicBezTo>
                  <a:pt x="360383" y="856390"/>
                  <a:pt x="357471" y="849611"/>
                  <a:pt x="354896" y="842782"/>
                </a:cubicBezTo>
                <a:lnTo>
                  <a:pt x="0" y="11"/>
                </a:lnTo>
                <a:cubicBezTo>
                  <a:pt x="182963" y="366726"/>
                  <a:pt x="977835" y="642655"/>
                  <a:pt x="1930674" y="642655"/>
                </a:cubicBezTo>
                <a:cubicBezTo>
                  <a:pt x="2883525" y="642655"/>
                  <a:pt x="3678397" y="366715"/>
                  <a:pt x="3861360" y="0"/>
                </a:cubicBezTo>
                <a:close/>
              </a:path>
            </a:pathLst>
          </a:custGeom>
          <a:gradFill flip="none" rotWithShape="1">
            <a:gsLst>
              <a:gs pos="0">
                <a:schemeClr val="accent1">
                  <a:lumMod val="35000"/>
                  <a:lumOff val="65000"/>
                </a:schemeClr>
              </a:gs>
              <a:gs pos="100000">
                <a:schemeClr val="accent1">
                  <a:lumMod val="100000"/>
                </a:schemeClr>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solidFill>
                <a:srgbClr val="FFFFFF"/>
              </a:solidFill>
              <a:latin typeface="Arial"/>
            </a:endParaRPr>
          </a:p>
        </p:txBody>
      </p:sp>
      <p:sp>
        <p:nvSpPr>
          <p:cNvPr id="71" name="任意多边形: 形状 70">
            <a:extLst>
              <a:ext uri="{FF2B5EF4-FFF2-40B4-BE49-F238E27FC236}">
                <a16:creationId xmlns:a16="http://schemas.microsoft.com/office/drawing/2014/main" id="{EA1EFBC4-0640-916F-7327-48A4B5F9C0B9}"/>
              </a:ext>
            </a:extLst>
          </p:cNvPr>
          <p:cNvSpPr/>
          <p:nvPr/>
        </p:nvSpPr>
        <p:spPr>
          <a:xfrm>
            <a:off x="4874473" y="3359502"/>
            <a:ext cx="2443058" cy="996722"/>
          </a:xfrm>
          <a:custGeom>
            <a:avLst/>
            <a:gdLst>
              <a:gd name="connsiteX0" fmla="*/ 1221535 w 2443058"/>
              <a:gd name="connsiteY0" fmla="*/ 0 h 996722"/>
              <a:gd name="connsiteX1" fmla="*/ 2443058 w 2443058"/>
              <a:gd name="connsiteY1" fmla="*/ 498364 h 996722"/>
              <a:gd name="connsiteX2" fmla="*/ 1221535 w 2443058"/>
              <a:gd name="connsiteY2" fmla="*/ 996722 h 996722"/>
              <a:gd name="connsiteX3" fmla="*/ 0 w 2443058"/>
              <a:gd name="connsiteY3" fmla="*/ 498364 h 996722"/>
              <a:gd name="connsiteX4" fmla="*/ 1221535 w 2443058"/>
              <a:gd name="connsiteY4" fmla="*/ 0 h 9967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43058" h="996722">
                <a:moveTo>
                  <a:pt x="1221535" y="0"/>
                </a:moveTo>
                <a:cubicBezTo>
                  <a:pt x="1896154" y="0"/>
                  <a:pt x="2443058" y="223118"/>
                  <a:pt x="2443058" y="498364"/>
                </a:cubicBezTo>
                <a:cubicBezTo>
                  <a:pt x="2443058" y="773604"/>
                  <a:pt x="1896154" y="996722"/>
                  <a:pt x="1221535" y="996722"/>
                </a:cubicBezTo>
                <a:cubicBezTo>
                  <a:pt x="546909" y="996722"/>
                  <a:pt x="0" y="773604"/>
                  <a:pt x="0" y="498364"/>
                </a:cubicBezTo>
                <a:cubicBezTo>
                  <a:pt x="0" y="223118"/>
                  <a:pt x="546909" y="0"/>
                  <a:pt x="1221535" y="0"/>
                </a:cubicBezTo>
                <a:close/>
              </a:path>
            </a:pathLst>
          </a:custGeom>
          <a:gradFill flip="none" rotWithShape="1">
            <a:gsLst>
              <a:gs pos="100000">
                <a:schemeClr val="accent1">
                  <a:lumMod val="50000"/>
                  <a:alpha val="10000"/>
                </a:schemeClr>
              </a:gs>
              <a:gs pos="0">
                <a:schemeClr val="accent1">
                  <a:lumMod val="50000"/>
                  <a:alpha val="10000"/>
                </a:schemeClr>
              </a:gs>
            </a:gsLst>
            <a:lin ang="0" scaled="1"/>
            <a:tileRect/>
          </a:gradFill>
          <a:ln w="12700" cap="flat" cmpd="sng">
            <a:noFill/>
            <a:prstDash val="solid"/>
            <a:miter lim="800000"/>
          </a:ln>
          <a:effectLst/>
        </p:spPr>
        <p:txBody>
          <a:bodyPr wrap="square" anchor="ctr">
            <a:noAutofit/>
          </a:bodyPr>
          <a:lstStyle/>
          <a:p>
            <a:pPr algn="ctr"/>
            <a:endParaRPr lang="en-US" sz="622">
              <a:solidFill>
                <a:srgbClr val="000000"/>
              </a:solidFill>
              <a:latin typeface="Arial"/>
            </a:endParaRPr>
          </a:p>
        </p:txBody>
      </p:sp>
      <p:sp>
        <p:nvSpPr>
          <p:cNvPr id="72" name="任意多边形: 形状 71">
            <a:extLst>
              <a:ext uri="{FF2B5EF4-FFF2-40B4-BE49-F238E27FC236}">
                <a16:creationId xmlns:a16="http://schemas.microsoft.com/office/drawing/2014/main" id="{F7D7797B-59A5-4809-C073-D1038DAEE09B}"/>
              </a:ext>
            </a:extLst>
          </p:cNvPr>
          <p:cNvSpPr/>
          <p:nvPr/>
        </p:nvSpPr>
        <p:spPr>
          <a:xfrm>
            <a:off x="4125686" y="1245264"/>
            <a:ext cx="3940628" cy="1607699"/>
          </a:xfrm>
          <a:custGeom>
            <a:avLst/>
            <a:gdLst>
              <a:gd name="connsiteX0" fmla="*/ 1970320 w 3940628"/>
              <a:gd name="connsiteY0" fmla="*/ 0 h 1607699"/>
              <a:gd name="connsiteX1" fmla="*/ 3940628 w 3940628"/>
              <a:gd name="connsiteY1" fmla="*/ 803844 h 1607699"/>
              <a:gd name="connsiteX2" fmla="*/ 1970320 w 3940628"/>
              <a:gd name="connsiteY2" fmla="*/ 1607699 h 1607699"/>
              <a:gd name="connsiteX3" fmla="*/ 0 w 3940628"/>
              <a:gd name="connsiteY3" fmla="*/ 803844 h 1607699"/>
              <a:gd name="connsiteX4" fmla="*/ 1970320 w 3940628"/>
              <a:gd name="connsiteY4" fmla="*/ 0 h 16076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40628" h="1607699">
                <a:moveTo>
                  <a:pt x="1970320" y="0"/>
                </a:moveTo>
                <a:cubicBezTo>
                  <a:pt x="3058486" y="0"/>
                  <a:pt x="3940628" y="359886"/>
                  <a:pt x="3940628" y="803844"/>
                </a:cubicBezTo>
                <a:cubicBezTo>
                  <a:pt x="3940628" y="1247813"/>
                  <a:pt x="3058486" y="1607699"/>
                  <a:pt x="1970320" y="1607699"/>
                </a:cubicBezTo>
                <a:cubicBezTo>
                  <a:pt x="882154" y="1607699"/>
                  <a:pt x="0" y="1247813"/>
                  <a:pt x="0" y="803844"/>
                </a:cubicBezTo>
                <a:cubicBezTo>
                  <a:pt x="0" y="359886"/>
                  <a:pt x="882154" y="0"/>
                  <a:pt x="1970320" y="0"/>
                </a:cubicBezTo>
                <a:close/>
              </a:path>
            </a:pathLst>
          </a:custGeom>
          <a:gradFill flip="none" rotWithShape="1">
            <a:gsLst>
              <a:gs pos="100000">
                <a:schemeClr val="accent1">
                  <a:lumMod val="60000"/>
                  <a:lumOff val="40000"/>
                </a:schemeClr>
              </a:gs>
              <a:gs pos="0">
                <a:schemeClr val="accent1">
                  <a:lumMod val="15000"/>
                  <a:lumOff val="85000"/>
                </a:schemeClr>
              </a:gs>
            </a:gsLst>
            <a:lin ang="2700000" scaled="1"/>
            <a:tileRect/>
          </a:gradFill>
          <a:ln w="25400">
            <a:noFill/>
          </a:ln>
          <a:effectLst>
            <a:outerShdw blurRad="254000" dist="177800" dir="2700000" algn="tl" rotWithShape="0">
              <a:schemeClr val="accent1">
                <a:alpha val="20000"/>
              </a:schemeClr>
            </a:outerShdw>
          </a:effectLst>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485899" tIns="63500" rIns="1485901" bIns="63500" numCol="1" spcCol="1270" anchor="ctr" anchorCtr="0">
            <a:noAutofit/>
          </a:bodyPr>
          <a:lstStyle/>
          <a:p>
            <a:pPr algn="ctr" defTabSz="2222500">
              <a:lnSpc>
                <a:spcPct val="90000"/>
              </a:lnSpc>
              <a:spcBef>
                <a:spcPct val="0"/>
              </a:spcBef>
              <a:spcAft>
                <a:spcPct val="35000"/>
              </a:spcAft>
            </a:pPr>
            <a:endParaRPr lang="en-US" sz="3200">
              <a:solidFill>
                <a:prstClr val="white"/>
              </a:solidFill>
              <a:latin typeface="等线" panose="020F0502020204030204"/>
              <a:ea typeface="等线" panose="02010600030101010101" pitchFamily="2" charset="-122"/>
            </a:endParaRPr>
          </a:p>
        </p:txBody>
      </p:sp>
      <p:sp>
        <p:nvSpPr>
          <p:cNvPr id="73" name="任意多边形: 形状 72">
            <a:extLst>
              <a:ext uri="{FF2B5EF4-FFF2-40B4-BE49-F238E27FC236}">
                <a16:creationId xmlns:a16="http://schemas.microsoft.com/office/drawing/2014/main" id="{FFD89720-A6F3-3214-D8EA-6A4D5AAF719C}"/>
              </a:ext>
            </a:extLst>
          </p:cNvPr>
          <p:cNvSpPr/>
          <p:nvPr/>
        </p:nvSpPr>
        <p:spPr>
          <a:xfrm>
            <a:off x="6092899" y="1245265"/>
            <a:ext cx="1973414" cy="1294000"/>
          </a:xfrm>
          <a:custGeom>
            <a:avLst/>
            <a:gdLst>
              <a:gd name="connsiteX0" fmla="*/ 3105 w 1973414"/>
              <a:gd name="connsiteY0" fmla="*/ 0 h 1294000"/>
              <a:gd name="connsiteX1" fmla="*/ 1973414 w 1973414"/>
              <a:gd name="connsiteY1" fmla="*/ 803844 h 1294000"/>
              <a:gd name="connsiteX2" fmla="*/ 1564715 w 1973414"/>
              <a:gd name="connsiteY2" fmla="*/ 1294000 h 1294000"/>
              <a:gd name="connsiteX3" fmla="*/ 0 w 1973414"/>
              <a:gd name="connsiteY3" fmla="*/ 17 h 1294000"/>
              <a:gd name="connsiteX4" fmla="*/ 3105 w 1973414"/>
              <a:gd name="connsiteY4" fmla="*/ 0 h 1294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73414" h="1294000">
                <a:moveTo>
                  <a:pt x="3105" y="0"/>
                </a:moveTo>
                <a:cubicBezTo>
                  <a:pt x="1091271" y="0"/>
                  <a:pt x="1973414" y="359880"/>
                  <a:pt x="1973414" y="803844"/>
                </a:cubicBezTo>
                <a:cubicBezTo>
                  <a:pt x="1973414" y="988366"/>
                  <a:pt x="1820929" y="1158330"/>
                  <a:pt x="1564715" y="1294000"/>
                </a:cubicBezTo>
                <a:cubicBezTo>
                  <a:pt x="790184" y="1286928"/>
                  <a:pt x="146291" y="733298"/>
                  <a:pt x="0" y="17"/>
                </a:cubicBezTo>
                <a:cubicBezTo>
                  <a:pt x="1037" y="17"/>
                  <a:pt x="2068" y="0"/>
                  <a:pt x="3105" y="0"/>
                </a:cubicBezTo>
                <a:close/>
              </a:path>
            </a:pathLst>
          </a:custGeom>
          <a:gradFill>
            <a:gsLst>
              <a:gs pos="0">
                <a:schemeClr val="accent1">
                  <a:alpha val="0"/>
                  <a:lumMod val="60000"/>
                  <a:lumOff val="40000"/>
                </a:schemeClr>
              </a:gs>
              <a:gs pos="100000">
                <a:schemeClr val="accent1">
                  <a:lumMod val="75000"/>
                  <a:lumOff val="25000"/>
                </a:schemeClr>
              </a:gs>
            </a:gsLst>
            <a:lin ang="0" scaled="1"/>
          </a:gradFill>
          <a:ln w="12700" cap="flat" cmpd="sng">
            <a:noFill/>
            <a:prstDash val="solid"/>
            <a:miter lim="800000"/>
          </a:ln>
        </p:spPr>
        <p:txBody>
          <a:bodyPr wrap="square" anchor="ctr">
            <a:noAutofit/>
          </a:bodyPr>
          <a:lstStyle/>
          <a:p>
            <a:pPr algn="ctr"/>
            <a:endParaRPr lang="en-US" sz="622">
              <a:solidFill>
                <a:srgbClr val="000000"/>
              </a:solidFill>
              <a:latin typeface="Arial"/>
            </a:endParaRPr>
          </a:p>
        </p:txBody>
      </p:sp>
      <p:sp>
        <p:nvSpPr>
          <p:cNvPr id="74" name="任意多边形: 形状 73">
            <a:extLst>
              <a:ext uri="{FF2B5EF4-FFF2-40B4-BE49-F238E27FC236}">
                <a16:creationId xmlns:a16="http://schemas.microsoft.com/office/drawing/2014/main" id="{0F18B76B-7629-D1FA-A8EE-C6E74BBFB71B}"/>
              </a:ext>
            </a:extLst>
          </p:cNvPr>
          <p:cNvSpPr/>
          <p:nvPr/>
        </p:nvSpPr>
        <p:spPr>
          <a:xfrm>
            <a:off x="4501641" y="2303025"/>
            <a:ext cx="3188721" cy="1300928"/>
          </a:xfrm>
          <a:custGeom>
            <a:avLst/>
            <a:gdLst>
              <a:gd name="connsiteX0" fmla="*/ 1594366 w 3188721"/>
              <a:gd name="connsiteY0" fmla="*/ 0 h 1300928"/>
              <a:gd name="connsiteX1" fmla="*/ 3188721 w 3188721"/>
              <a:gd name="connsiteY1" fmla="*/ 650461 h 1300928"/>
              <a:gd name="connsiteX2" fmla="*/ 1594366 w 3188721"/>
              <a:gd name="connsiteY2" fmla="*/ 1300928 h 1300928"/>
              <a:gd name="connsiteX3" fmla="*/ 0 w 3188721"/>
              <a:gd name="connsiteY3" fmla="*/ 650461 h 1300928"/>
              <a:gd name="connsiteX4" fmla="*/ 1594366 w 3188721"/>
              <a:gd name="connsiteY4" fmla="*/ 0 h 13009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88721" h="1300928">
                <a:moveTo>
                  <a:pt x="1594366" y="0"/>
                </a:moveTo>
                <a:cubicBezTo>
                  <a:pt x="2474893" y="0"/>
                  <a:pt x="3188721" y="291210"/>
                  <a:pt x="3188721" y="650461"/>
                </a:cubicBezTo>
                <a:cubicBezTo>
                  <a:pt x="3188721" y="1009718"/>
                  <a:pt x="2474893" y="1300928"/>
                  <a:pt x="1594366" y="1300928"/>
                </a:cubicBezTo>
                <a:cubicBezTo>
                  <a:pt x="713834" y="1300928"/>
                  <a:pt x="0" y="1009718"/>
                  <a:pt x="0" y="650461"/>
                </a:cubicBezTo>
                <a:cubicBezTo>
                  <a:pt x="0" y="291210"/>
                  <a:pt x="713834" y="0"/>
                  <a:pt x="1594366" y="0"/>
                </a:cubicBezTo>
                <a:close/>
              </a:path>
            </a:pathLst>
          </a:custGeom>
          <a:gradFill flip="none" rotWithShape="1">
            <a:gsLst>
              <a:gs pos="100000">
                <a:schemeClr val="accent1">
                  <a:lumMod val="50000"/>
                  <a:alpha val="10000"/>
                </a:schemeClr>
              </a:gs>
              <a:gs pos="0">
                <a:schemeClr val="accent1">
                  <a:lumMod val="50000"/>
                  <a:alpha val="10000"/>
                </a:schemeClr>
              </a:gs>
            </a:gsLst>
            <a:lin ang="0" scaled="1"/>
            <a:tileRect/>
          </a:gradFill>
          <a:ln w="12700" cap="flat" cmpd="sng">
            <a:noFill/>
            <a:prstDash val="solid"/>
            <a:miter lim="800000"/>
          </a:ln>
          <a:effectLst/>
        </p:spPr>
        <p:txBody>
          <a:bodyPr wrap="square" anchor="ctr">
            <a:noAutofit/>
          </a:bodyPr>
          <a:lstStyle/>
          <a:p>
            <a:pPr algn="ctr"/>
            <a:endParaRPr lang="en-US" sz="622">
              <a:solidFill>
                <a:srgbClr val="000000"/>
              </a:solidFill>
              <a:latin typeface="Arial"/>
            </a:endParaRPr>
          </a:p>
        </p:txBody>
      </p:sp>
      <p:sp>
        <p:nvSpPr>
          <p:cNvPr id="76" name="任意多边形: 形状 75">
            <a:extLst>
              <a:ext uri="{FF2B5EF4-FFF2-40B4-BE49-F238E27FC236}">
                <a16:creationId xmlns:a16="http://schemas.microsoft.com/office/drawing/2014/main" id="{CDAC6EB0-A65F-F725-0AAB-2B77B4B8A75D}"/>
              </a:ext>
            </a:extLst>
          </p:cNvPr>
          <p:cNvSpPr/>
          <p:nvPr/>
        </p:nvSpPr>
        <p:spPr>
          <a:xfrm>
            <a:off x="4720315" y="2303027"/>
            <a:ext cx="2751376" cy="549935"/>
          </a:xfrm>
          <a:custGeom>
            <a:avLst/>
            <a:gdLst>
              <a:gd name="connsiteX0" fmla="*/ 1375691 w 2751376"/>
              <a:gd name="connsiteY0" fmla="*/ 0 h 549935"/>
              <a:gd name="connsiteX1" fmla="*/ 2751376 w 2751376"/>
              <a:gd name="connsiteY1" fmla="*/ 321549 h 549935"/>
              <a:gd name="connsiteX2" fmla="*/ 1375691 w 2751376"/>
              <a:gd name="connsiteY2" fmla="*/ 549935 h 549935"/>
              <a:gd name="connsiteX3" fmla="*/ 0 w 2751376"/>
              <a:gd name="connsiteY3" fmla="*/ 321549 h 549935"/>
              <a:gd name="connsiteX4" fmla="*/ 1375691 w 2751376"/>
              <a:gd name="connsiteY4" fmla="*/ 0 h 5499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51376" h="549935">
                <a:moveTo>
                  <a:pt x="1375691" y="0"/>
                </a:moveTo>
                <a:cubicBezTo>
                  <a:pt x="1962069" y="0"/>
                  <a:pt x="2474430" y="129167"/>
                  <a:pt x="2751376" y="321549"/>
                </a:cubicBezTo>
                <a:cubicBezTo>
                  <a:pt x="2396288" y="462863"/>
                  <a:pt x="1910919" y="549935"/>
                  <a:pt x="1375691" y="549935"/>
                </a:cubicBezTo>
                <a:cubicBezTo>
                  <a:pt x="840457" y="549935"/>
                  <a:pt x="355083" y="462863"/>
                  <a:pt x="0" y="321549"/>
                </a:cubicBezTo>
                <a:cubicBezTo>
                  <a:pt x="276946" y="129167"/>
                  <a:pt x="789307" y="0"/>
                  <a:pt x="1375691" y="0"/>
                </a:cubicBezTo>
                <a:close/>
              </a:path>
            </a:pathLst>
          </a:custGeom>
          <a:gradFill flip="none" rotWithShape="1">
            <a:gsLst>
              <a:gs pos="100000">
                <a:schemeClr val="accent1">
                  <a:lumMod val="80000"/>
                  <a:lumOff val="20000"/>
                </a:schemeClr>
              </a:gs>
              <a:gs pos="0">
                <a:schemeClr val="accent1">
                  <a:lumMod val="35000"/>
                  <a:lumOff val="65000"/>
                </a:schemeClr>
              </a:gs>
            </a:gsLst>
            <a:lin ang="2700000" scaled="1"/>
            <a:tileRect/>
          </a:gradFill>
          <a:ln w="25400">
            <a:noFill/>
          </a:ln>
          <a:effectLst>
            <a:outerShdw blurRad="254000" dist="177800" dir="2700000" algn="tl" rotWithShape="0">
              <a:schemeClr val="accent1">
                <a:alpha val="20000"/>
              </a:schemeClr>
            </a:outerShdw>
          </a:effectLst>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485899" tIns="63500" rIns="1485901" bIns="63500" numCol="1" spcCol="1270" anchor="ctr" anchorCtr="0">
            <a:noAutofit/>
          </a:bodyPr>
          <a:lstStyle/>
          <a:p>
            <a:pPr algn="ctr" defTabSz="2222500">
              <a:lnSpc>
                <a:spcPct val="90000"/>
              </a:lnSpc>
              <a:spcBef>
                <a:spcPct val="0"/>
              </a:spcBef>
              <a:spcAft>
                <a:spcPct val="35000"/>
              </a:spcAft>
            </a:pPr>
            <a:endParaRPr lang="en-US" sz="3200">
              <a:solidFill>
                <a:prstClr val="white"/>
              </a:solidFill>
              <a:latin typeface="等线" panose="020F0502020204030204"/>
              <a:ea typeface="等线" panose="02010600030101010101" pitchFamily="2" charset="-122"/>
            </a:endParaRPr>
          </a:p>
        </p:txBody>
      </p:sp>
      <p:sp>
        <p:nvSpPr>
          <p:cNvPr id="80" name="任意多边形: 形状 79">
            <a:extLst>
              <a:ext uri="{FF2B5EF4-FFF2-40B4-BE49-F238E27FC236}">
                <a16:creationId xmlns:a16="http://schemas.microsoft.com/office/drawing/2014/main" id="{1E932645-0532-86CF-9EF9-ABF6EC29544E}"/>
              </a:ext>
            </a:extLst>
          </p:cNvPr>
          <p:cNvSpPr/>
          <p:nvPr/>
        </p:nvSpPr>
        <p:spPr>
          <a:xfrm>
            <a:off x="6803054" y="2340349"/>
            <a:ext cx="1393727" cy="3423581"/>
          </a:xfrm>
          <a:custGeom>
            <a:avLst/>
            <a:gdLst>
              <a:gd name="connsiteX0" fmla="*/ 1941823 w 1941823"/>
              <a:gd name="connsiteY0" fmla="*/ 0 h 4769935"/>
              <a:gd name="connsiteX1" fmla="*/ 1657 w 1941823"/>
              <a:gd name="connsiteY1" fmla="*/ 4735566 h 4769935"/>
              <a:gd name="connsiteX2" fmla="*/ 25421 w 1941823"/>
              <a:gd name="connsiteY2" fmla="*/ 4769935 h 4769935"/>
              <a:gd name="connsiteX3" fmla="*/ 231281 w 1941823"/>
              <a:gd name="connsiteY3" fmla="*/ 4769935 h 4769935"/>
            </a:gdLst>
            <a:ahLst/>
            <a:cxnLst>
              <a:cxn ang="0">
                <a:pos x="connsiteX0" y="connsiteY0"/>
              </a:cxn>
              <a:cxn ang="0">
                <a:pos x="connsiteX1" y="connsiteY1"/>
              </a:cxn>
              <a:cxn ang="0">
                <a:pos x="connsiteX2" y="connsiteY2"/>
              </a:cxn>
              <a:cxn ang="0">
                <a:pos x="connsiteX3" y="connsiteY3"/>
              </a:cxn>
            </a:cxnLst>
            <a:rect l="l" t="t" r="r" b="b"/>
            <a:pathLst>
              <a:path w="1941823" h="4769935">
                <a:moveTo>
                  <a:pt x="1941823" y="0"/>
                </a:moveTo>
                <a:cubicBezTo>
                  <a:pt x="1342768" y="1587189"/>
                  <a:pt x="600712" y="3148377"/>
                  <a:pt x="1657" y="4735566"/>
                </a:cubicBezTo>
                <a:cubicBezTo>
                  <a:pt x="-4608" y="4752166"/>
                  <a:pt x="7677" y="4769935"/>
                  <a:pt x="25421" y="4769935"/>
                </a:cubicBezTo>
                <a:lnTo>
                  <a:pt x="231281" y="4769935"/>
                </a:lnTo>
              </a:path>
            </a:pathLst>
          </a:custGeom>
          <a:noFill/>
          <a:ln w="19050" cap="rnd">
            <a:gradFill>
              <a:gsLst>
                <a:gs pos="0">
                  <a:schemeClr val="accent1">
                    <a:alpha val="0"/>
                  </a:schemeClr>
                </a:gs>
                <a:gs pos="100000">
                  <a:schemeClr val="accent1"/>
                </a:gs>
              </a:gsLst>
              <a:lin ang="5400000" scaled="1"/>
            </a:gra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prstClr val="white"/>
              </a:solidFill>
              <a:latin typeface="等线" panose="020F0502020204030204"/>
              <a:ea typeface="等线" panose="02010600030101010101" pitchFamily="2" charset="-122"/>
            </a:endParaRPr>
          </a:p>
        </p:txBody>
      </p:sp>
      <p:sp>
        <p:nvSpPr>
          <p:cNvPr id="81" name="任意多边形: 形状 80">
            <a:extLst>
              <a:ext uri="{FF2B5EF4-FFF2-40B4-BE49-F238E27FC236}">
                <a16:creationId xmlns:a16="http://schemas.microsoft.com/office/drawing/2014/main" id="{BE2743F8-0549-9EAC-BBDB-D1CDCE46F7C9}"/>
              </a:ext>
            </a:extLst>
          </p:cNvPr>
          <p:cNvSpPr/>
          <p:nvPr/>
        </p:nvSpPr>
        <p:spPr>
          <a:xfrm flipH="1">
            <a:off x="3994694" y="2340349"/>
            <a:ext cx="1393727" cy="3423581"/>
          </a:xfrm>
          <a:custGeom>
            <a:avLst/>
            <a:gdLst>
              <a:gd name="connsiteX0" fmla="*/ 1941823 w 1941823"/>
              <a:gd name="connsiteY0" fmla="*/ 0 h 4769935"/>
              <a:gd name="connsiteX1" fmla="*/ 1657 w 1941823"/>
              <a:gd name="connsiteY1" fmla="*/ 4735566 h 4769935"/>
              <a:gd name="connsiteX2" fmla="*/ 25421 w 1941823"/>
              <a:gd name="connsiteY2" fmla="*/ 4769935 h 4769935"/>
              <a:gd name="connsiteX3" fmla="*/ 231281 w 1941823"/>
              <a:gd name="connsiteY3" fmla="*/ 4769935 h 4769935"/>
            </a:gdLst>
            <a:ahLst/>
            <a:cxnLst>
              <a:cxn ang="0">
                <a:pos x="connsiteX0" y="connsiteY0"/>
              </a:cxn>
              <a:cxn ang="0">
                <a:pos x="connsiteX1" y="connsiteY1"/>
              </a:cxn>
              <a:cxn ang="0">
                <a:pos x="connsiteX2" y="connsiteY2"/>
              </a:cxn>
              <a:cxn ang="0">
                <a:pos x="connsiteX3" y="connsiteY3"/>
              </a:cxn>
            </a:cxnLst>
            <a:rect l="l" t="t" r="r" b="b"/>
            <a:pathLst>
              <a:path w="1941823" h="4769935">
                <a:moveTo>
                  <a:pt x="1941823" y="0"/>
                </a:moveTo>
                <a:cubicBezTo>
                  <a:pt x="1342768" y="1587189"/>
                  <a:pt x="600712" y="3148377"/>
                  <a:pt x="1657" y="4735566"/>
                </a:cubicBezTo>
                <a:cubicBezTo>
                  <a:pt x="-4608" y="4752166"/>
                  <a:pt x="7677" y="4769935"/>
                  <a:pt x="25421" y="4769935"/>
                </a:cubicBezTo>
                <a:lnTo>
                  <a:pt x="231281" y="4769935"/>
                </a:lnTo>
              </a:path>
            </a:pathLst>
          </a:custGeom>
          <a:noFill/>
          <a:ln w="19050" cap="rnd">
            <a:gradFill>
              <a:gsLst>
                <a:gs pos="0">
                  <a:schemeClr val="accent1">
                    <a:alpha val="0"/>
                  </a:schemeClr>
                </a:gs>
                <a:gs pos="100000">
                  <a:schemeClr val="accent1"/>
                </a:gs>
              </a:gsLst>
              <a:lin ang="5400000" scaled="1"/>
            </a:gra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prstClr val="white"/>
              </a:solidFill>
              <a:latin typeface="等线" panose="020F0502020204030204"/>
              <a:ea typeface="等线" panose="02010600030101010101" pitchFamily="2" charset="-122"/>
            </a:endParaRPr>
          </a:p>
        </p:txBody>
      </p:sp>
      <p:cxnSp>
        <p:nvCxnSpPr>
          <p:cNvPr id="83" name="w30">
            <a:extLst>
              <a:ext uri="{FF2B5EF4-FFF2-40B4-BE49-F238E27FC236}">
                <a16:creationId xmlns:a16="http://schemas.microsoft.com/office/drawing/2014/main" id="{2DEC07F6-6B8C-D213-C53A-C835A6FA3AF0}"/>
              </a:ext>
            </a:extLst>
          </p:cNvPr>
          <p:cNvCxnSpPr>
            <a:cxnSpLocks/>
          </p:cNvCxnSpPr>
          <p:nvPr/>
        </p:nvCxnSpPr>
        <p:spPr>
          <a:xfrm>
            <a:off x="6095999" y="438475"/>
            <a:ext cx="0" cy="2100790"/>
          </a:xfrm>
          <a:prstGeom prst="line">
            <a:avLst/>
          </a:prstGeom>
          <a:noFill/>
          <a:ln w="22225" cap="rnd">
            <a:gradFill>
              <a:gsLst>
                <a:gs pos="0">
                  <a:schemeClr val="accent1">
                    <a:alpha val="0"/>
                  </a:schemeClr>
                </a:gs>
                <a:gs pos="100000">
                  <a:schemeClr val="accent1">
                    <a:alpha val="70000"/>
                  </a:schemeClr>
                </a:gs>
              </a:gsLst>
              <a:lin ang="5400000" scaled="1"/>
            </a:gradFill>
            <a:prstDash val="solid"/>
            <a:round/>
            <a:headEnd type="none"/>
            <a:tailEnd type="arrow"/>
          </a:ln>
        </p:spPr>
        <p:style>
          <a:lnRef idx="2">
            <a:schemeClr val="accent1">
              <a:shade val="50000"/>
            </a:schemeClr>
          </a:lnRef>
          <a:fillRef idx="1">
            <a:schemeClr val="accent1"/>
          </a:fillRef>
          <a:effectRef idx="0">
            <a:schemeClr val="accent1"/>
          </a:effectRef>
          <a:fontRef idx="minor">
            <a:schemeClr val="lt1"/>
          </a:fontRef>
        </p:style>
      </p:cxnSp>
    </p:spTree>
    <p:extLst>
      <p:ext uri="{BB962C8B-B14F-4D97-AF65-F5344CB8AC3E}">
        <p14:creationId xmlns:p14="http://schemas.microsoft.com/office/powerpoint/2010/main" val="3501211127"/>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5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 name="任意多边形: 形状 60">
            <a:extLst>
              <a:ext uri="{FF2B5EF4-FFF2-40B4-BE49-F238E27FC236}">
                <a16:creationId xmlns:a16="http://schemas.microsoft.com/office/drawing/2014/main" id="{91123051-E861-FCF1-79FA-447A07E8C617}"/>
              </a:ext>
            </a:extLst>
          </p:cNvPr>
          <p:cNvSpPr/>
          <p:nvPr/>
        </p:nvSpPr>
        <p:spPr>
          <a:xfrm>
            <a:off x="5215903" y="4646116"/>
            <a:ext cx="799903" cy="160850"/>
          </a:xfrm>
          <a:custGeom>
            <a:avLst/>
            <a:gdLst>
              <a:gd name="connsiteX0" fmla="*/ 379474 w 799903"/>
              <a:gd name="connsiteY0" fmla="*/ 0 h 160850"/>
              <a:gd name="connsiteX1" fmla="*/ 399770 w 799903"/>
              <a:gd name="connsiteY1" fmla="*/ 0 h 160850"/>
              <a:gd name="connsiteX2" fmla="*/ 420792 w 799903"/>
              <a:gd name="connsiteY2" fmla="*/ 0 h 160850"/>
              <a:gd name="connsiteX3" fmla="*/ 441088 w 799903"/>
              <a:gd name="connsiteY3" fmla="*/ 723 h 160850"/>
              <a:gd name="connsiteX4" fmla="*/ 461023 w 799903"/>
              <a:gd name="connsiteY4" fmla="*/ 1808 h 160850"/>
              <a:gd name="connsiteX5" fmla="*/ 480594 w 799903"/>
              <a:gd name="connsiteY5" fmla="*/ 3253 h 160850"/>
              <a:gd name="connsiteX6" fmla="*/ 500166 w 799903"/>
              <a:gd name="connsiteY6" fmla="*/ 5422 h 160850"/>
              <a:gd name="connsiteX7" fmla="*/ 519013 w 799903"/>
              <a:gd name="connsiteY7" fmla="*/ 7229 h 160850"/>
              <a:gd name="connsiteX8" fmla="*/ 537860 w 799903"/>
              <a:gd name="connsiteY8" fmla="*/ 9760 h 160850"/>
              <a:gd name="connsiteX9" fmla="*/ 555982 w 799903"/>
              <a:gd name="connsiteY9" fmla="*/ 12651 h 160850"/>
              <a:gd name="connsiteX10" fmla="*/ 573379 w 799903"/>
              <a:gd name="connsiteY10" fmla="*/ 15543 h 160850"/>
              <a:gd name="connsiteX11" fmla="*/ 590776 w 799903"/>
              <a:gd name="connsiteY11" fmla="*/ 18435 h 160850"/>
              <a:gd name="connsiteX12" fmla="*/ 607448 w 799903"/>
              <a:gd name="connsiteY12" fmla="*/ 22049 h 160850"/>
              <a:gd name="connsiteX13" fmla="*/ 623758 w 799903"/>
              <a:gd name="connsiteY13" fmla="*/ 25302 h 160850"/>
              <a:gd name="connsiteX14" fmla="*/ 639343 w 799903"/>
              <a:gd name="connsiteY14" fmla="*/ 29279 h 160850"/>
              <a:gd name="connsiteX15" fmla="*/ 654565 w 799903"/>
              <a:gd name="connsiteY15" fmla="*/ 32532 h 160850"/>
              <a:gd name="connsiteX16" fmla="*/ 669063 w 799903"/>
              <a:gd name="connsiteY16" fmla="*/ 36508 h 160850"/>
              <a:gd name="connsiteX17" fmla="*/ 683198 w 799903"/>
              <a:gd name="connsiteY17" fmla="*/ 40122 h 160850"/>
              <a:gd name="connsiteX18" fmla="*/ 708931 w 799903"/>
              <a:gd name="connsiteY18" fmla="*/ 47713 h 160850"/>
              <a:gd name="connsiteX19" fmla="*/ 731765 w 799903"/>
              <a:gd name="connsiteY19" fmla="*/ 54942 h 160850"/>
              <a:gd name="connsiteX20" fmla="*/ 751699 w 799903"/>
              <a:gd name="connsiteY20" fmla="*/ 61810 h 160850"/>
              <a:gd name="connsiteX21" fmla="*/ 768371 w 799903"/>
              <a:gd name="connsiteY21" fmla="*/ 67955 h 160850"/>
              <a:gd name="connsiteX22" fmla="*/ 782144 w 799903"/>
              <a:gd name="connsiteY22" fmla="*/ 73015 h 160850"/>
              <a:gd name="connsiteX23" fmla="*/ 791929 w 799903"/>
              <a:gd name="connsiteY23" fmla="*/ 76991 h 160850"/>
              <a:gd name="connsiteX24" fmla="*/ 798091 w 799903"/>
              <a:gd name="connsiteY24" fmla="*/ 79522 h 160850"/>
              <a:gd name="connsiteX25" fmla="*/ 799903 w 799903"/>
              <a:gd name="connsiteY25" fmla="*/ 80245 h 160850"/>
              <a:gd name="connsiteX26" fmla="*/ 798091 w 799903"/>
              <a:gd name="connsiteY26" fmla="*/ 81329 h 160850"/>
              <a:gd name="connsiteX27" fmla="*/ 791929 w 799903"/>
              <a:gd name="connsiteY27" fmla="*/ 84221 h 160850"/>
              <a:gd name="connsiteX28" fmla="*/ 782144 w 799903"/>
              <a:gd name="connsiteY28" fmla="*/ 87835 h 160850"/>
              <a:gd name="connsiteX29" fmla="*/ 768371 w 799903"/>
              <a:gd name="connsiteY29" fmla="*/ 93257 h 160850"/>
              <a:gd name="connsiteX30" fmla="*/ 751699 w 799903"/>
              <a:gd name="connsiteY30" fmla="*/ 99040 h 160850"/>
              <a:gd name="connsiteX31" fmla="*/ 731765 w 799903"/>
              <a:gd name="connsiteY31" fmla="*/ 105908 h 160850"/>
              <a:gd name="connsiteX32" fmla="*/ 708931 w 799903"/>
              <a:gd name="connsiteY32" fmla="*/ 113137 h 160850"/>
              <a:gd name="connsiteX33" fmla="*/ 683198 w 799903"/>
              <a:gd name="connsiteY33" fmla="*/ 120728 h 160850"/>
              <a:gd name="connsiteX34" fmla="*/ 669063 w 799903"/>
              <a:gd name="connsiteY34" fmla="*/ 124704 h 160850"/>
              <a:gd name="connsiteX35" fmla="*/ 654565 w 799903"/>
              <a:gd name="connsiteY35" fmla="*/ 127957 h 160850"/>
              <a:gd name="connsiteX36" fmla="*/ 639343 w 799903"/>
              <a:gd name="connsiteY36" fmla="*/ 131933 h 160850"/>
              <a:gd name="connsiteX37" fmla="*/ 623758 w 799903"/>
              <a:gd name="connsiteY37" fmla="*/ 135548 h 160850"/>
              <a:gd name="connsiteX38" fmla="*/ 607448 w 799903"/>
              <a:gd name="connsiteY38" fmla="*/ 138801 h 160850"/>
              <a:gd name="connsiteX39" fmla="*/ 590776 w 799903"/>
              <a:gd name="connsiteY39" fmla="*/ 142416 h 160850"/>
              <a:gd name="connsiteX40" fmla="*/ 573379 w 799903"/>
              <a:gd name="connsiteY40" fmla="*/ 145307 h 160850"/>
              <a:gd name="connsiteX41" fmla="*/ 555982 w 799903"/>
              <a:gd name="connsiteY41" fmla="*/ 148561 h 160850"/>
              <a:gd name="connsiteX42" fmla="*/ 537860 w 799903"/>
              <a:gd name="connsiteY42" fmla="*/ 151091 h 160850"/>
              <a:gd name="connsiteX43" fmla="*/ 519013 w 799903"/>
              <a:gd name="connsiteY43" fmla="*/ 153260 h 160850"/>
              <a:gd name="connsiteX44" fmla="*/ 500166 w 799903"/>
              <a:gd name="connsiteY44" fmla="*/ 155790 h 160850"/>
              <a:gd name="connsiteX45" fmla="*/ 480594 w 799903"/>
              <a:gd name="connsiteY45" fmla="*/ 157597 h 160850"/>
              <a:gd name="connsiteX46" fmla="*/ 461023 w 799903"/>
              <a:gd name="connsiteY46" fmla="*/ 159043 h 160850"/>
              <a:gd name="connsiteX47" fmla="*/ 441088 w 799903"/>
              <a:gd name="connsiteY47" fmla="*/ 160127 h 160850"/>
              <a:gd name="connsiteX48" fmla="*/ 420792 w 799903"/>
              <a:gd name="connsiteY48" fmla="*/ 160489 h 160850"/>
              <a:gd name="connsiteX49" fmla="*/ 399770 w 799903"/>
              <a:gd name="connsiteY49" fmla="*/ 160850 h 160850"/>
              <a:gd name="connsiteX50" fmla="*/ 379474 w 799903"/>
              <a:gd name="connsiteY50" fmla="*/ 160489 h 160850"/>
              <a:gd name="connsiteX51" fmla="*/ 359177 w 799903"/>
              <a:gd name="connsiteY51" fmla="*/ 160127 h 160850"/>
              <a:gd name="connsiteX52" fmla="*/ 339243 w 799903"/>
              <a:gd name="connsiteY52" fmla="*/ 159043 h 160850"/>
              <a:gd name="connsiteX53" fmla="*/ 319309 w 799903"/>
              <a:gd name="connsiteY53" fmla="*/ 157597 h 160850"/>
              <a:gd name="connsiteX54" fmla="*/ 300100 w 799903"/>
              <a:gd name="connsiteY54" fmla="*/ 155790 h 160850"/>
              <a:gd name="connsiteX55" fmla="*/ 281253 w 799903"/>
              <a:gd name="connsiteY55" fmla="*/ 153260 h 160850"/>
              <a:gd name="connsiteX56" fmla="*/ 262406 w 799903"/>
              <a:gd name="connsiteY56" fmla="*/ 151091 h 160850"/>
              <a:gd name="connsiteX57" fmla="*/ 244284 w 799903"/>
              <a:gd name="connsiteY57" fmla="*/ 148561 h 160850"/>
              <a:gd name="connsiteX58" fmla="*/ 226525 w 799903"/>
              <a:gd name="connsiteY58" fmla="*/ 145307 h 160850"/>
              <a:gd name="connsiteX59" fmla="*/ 209490 w 799903"/>
              <a:gd name="connsiteY59" fmla="*/ 142416 h 160850"/>
              <a:gd name="connsiteX60" fmla="*/ 192818 w 799903"/>
              <a:gd name="connsiteY60" fmla="*/ 138801 h 160850"/>
              <a:gd name="connsiteX61" fmla="*/ 176508 w 799903"/>
              <a:gd name="connsiteY61" fmla="*/ 135548 h 160850"/>
              <a:gd name="connsiteX62" fmla="*/ 160923 w 799903"/>
              <a:gd name="connsiteY62" fmla="*/ 131933 h 160850"/>
              <a:gd name="connsiteX63" fmla="*/ 145701 w 799903"/>
              <a:gd name="connsiteY63" fmla="*/ 127957 h 160850"/>
              <a:gd name="connsiteX64" fmla="*/ 131203 w 799903"/>
              <a:gd name="connsiteY64" fmla="*/ 124704 h 160850"/>
              <a:gd name="connsiteX65" fmla="*/ 117068 w 799903"/>
              <a:gd name="connsiteY65" fmla="*/ 120728 h 160850"/>
              <a:gd name="connsiteX66" fmla="*/ 91335 w 799903"/>
              <a:gd name="connsiteY66" fmla="*/ 113137 h 160850"/>
              <a:gd name="connsiteX67" fmla="*/ 68139 w 799903"/>
              <a:gd name="connsiteY67" fmla="*/ 105908 h 160850"/>
              <a:gd name="connsiteX68" fmla="*/ 48567 w 799903"/>
              <a:gd name="connsiteY68" fmla="*/ 99040 h 160850"/>
              <a:gd name="connsiteX69" fmla="*/ 31532 w 799903"/>
              <a:gd name="connsiteY69" fmla="*/ 93257 h 160850"/>
              <a:gd name="connsiteX70" fmla="*/ 18122 w 799903"/>
              <a:gd name="connsiteY70" fmla="*/ 87835 h 160850"/>
              <a:gd name="connsiteX71" fmla="*/ 8336 w 799903"/>
              <a:gd name="connsiteY71" fmla="*/ 84221 h 160850"/>
              <a:gd name="connsiteX72" fmla="*/ 2175 w 799903"/>
              <a:gd name="connsiteY72" fmla="*/ 81329 h 160850"/>
              <a:gd name="connsiteX73" fmla="*/ 0 w 799903"/>
              <a:gd name="connsiteY73" fmla="*/ 80245 h 160850"/>
              <a:gd name="connsiteX74" fmla="*/ 2175 w 799903"/>
              <a:gd name="connsiteY74" fmla="*/ 79522 h 160850"/>
              <a:gd name="connsiteX75" fmla="*/ 8336 w 799903"/>
              <a:gd name="connsiteY75" fmla="*/ 76991 h 160850"/>
              <a:gd name="connsiteX76" fmla="*/ 18122 w 799903"/>
              <a:gd name="connsiteY76" fmla="*/ 73015 h 160850"/>
              <a:gd name="connsiteX77" fmla="*/ 31532 w 799903"/>
              <a:gd name="connsiteY77" fmla="*/ 67955 h 160850"/>
              <a:gd name="connsiteX78" fmla="*/ 48567 w 799903"/>
              <a:gd name="connsiteY78" fmla="*/ 61810 h 160850"/>
              <a:gd name="connsiteX79" fmla="*/ 68139 w 799903"/>
              <a:gd name="connsiteY79" fmla="*/ 54942 h 160850"/>
              <a:gd name="connsiteX80" fmla="*/ 91335 w 799903"/>
              <a:gd name="connsiteY80" fmla="*/ 47713 h 160850"/>
              <a:gd name="connsiteX81" fmla="*/ 117068 w 799903"/>
              <a:gd name="connsiteY81" fmla="*/ 40122 h 160850"/>
              <a:gd name="connsiteX82" fmla="*/ 131203 w 799903"/>
              <a:gd name="connsiteY82" fmla="*/ 36508 h 160850"/>
              <a:gd name="connsiteX83" fmla="*/ 145701 w 799903"/>
              <a:gd name="connsiteY83" fmla="*/ 32532 h 160850"/>
              <a:gd name="connsiteX84" fmla="*/ 160923 w 799903"/>
              <a:gd name="connsiteY84" fmla="*/ 29279 h 160850"/>
              <a:gd name="connsiteX85" fmla="*/ 176508 w 799903"/>
              <a:gd name="connsiteY85" fmla="*/ 25302 h 160850"/>
              <a:gd name="connsiteX86" fmla="*/ 192818 w 799903"/>
              <a:gd name="connsiteY86" fmla="*/ 22049 h 160850"/>
              <a:gd name="connsiteX87" fmla="*/ 209490 w 799903"/>
              <a:gd name="connsiteY87" fmla="*/ 18435 h 160850"/>
              <a:gd name="connsiteX88" fmla="*/ 226525 w 799903"/>
              <a:gd name="connsiteY88" fmla="*/ 15543 h 160850"/>
              <a:gd name="connsiteX89" fmla="*/ 244284 w 799903"/>
              <a:gd name="connsiteY89" fmla="*/ 12651 h 160850"/>
              <a:gd name="connsiteX90" fmla="*/ 262406 w 799903"/>
              <a:gd name="connsiteY90" fmla="*/ 9760 h 160850"/>
              <a:gd name="connsiteX91" fmla="*/ 281253 w 799903"/>
              <a:gd name="connsiteY91" fmla="*/ 7229 h 160850"/>
              <a:gd name="connsiteX92" fmla="*/ 300100 w 799903"/>
              <a:gd name="connsiteY92" fmla="*/ 5422 h 160850"/>
              <a:gd name="connsiteX93" fmla="*/ 319309 w 799903"/>
              <a:gd name="connsiteY93" fmla="*/ 3253 h 160850"/>
              <a:gd name="connsiteX94" fmla="*/ 339243 w 799903"/>
              <a:gd name="connsiteY94" fmla="*/ 1808 h 160850"/>
              <a:gd name="connsiteX95" fmla="*/ 359177 w 799903"/>
              <a:gd name="connsiteY95" fmla="*/ 723 h 160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Lst>
            <a:rect l="l" t="t" r="r" b="b"/>
            <a:pathLst>
              <a:path w="799903" h="160850">
                <a:moveTo>
                  <a:pt x="379474" y="0"/>
                </a:moveTo>
                <a:lnTo>
                  <a:pt x="399770" y="0"/>
                </a:lnTo>
                <a:lnTo>
                  <a:pt x="420792" y="0"/>
                </a:lnTo>
                <a:lnTo>
                  <a:pt x="441088" y="723"/>
                </a:lnTo>
                <a:lnTo>
                  <a:pt x="461023" y="1808"/>
                </a:lnTo>
                <a:lnTo>
                  <a:pt x="480594" y="3253"/>
                </a:lnTo>
                <a:lnTo>
                  <a:pt x="500166" y="5422"/>
                </a:lnTo>
                <a:lnTo>
                  <a:pt x="519013" y="7229"/>
                </a:lnTo>
                <a:lnTo>
                  <a:pt x="537860" y="9760"/>
                </a:lnTo>
                <a:lnTo>
                  <a:pt x="555982" y="12651"/>
                </a:lnTo>
                <a:lnTo>
                  <a:pt x="573379" y="15543"/>
                </a:lnTo>
                <a:lnTo>
                  <a:pt x="590776" y="18435"/>
                </a:lnTo>
                <a:lnTo>
                  <a:pt x="607448" y="22049"/>
                </a:lnTo>
                <a:lnTo>
                  <a:pt x="623758" y="25302"/>
                </a:lnTo>
                <a:lnTo>
                  <a:pt x="639343" y="29279"/>
                </a:lnTo>
                <a:lnTo>
                  <a:pt x="654565" y="32532"/>
                </a:lnTo>
                <a:lnTo>
                  <a:pt x="669063" y="36508"/>
                </a:lnTo>
                <a:lnTo>
                  <a:pt x="683198" y="40122"/>
                </a:lnTo>
                <a:lnTo>
                  <a:pt x="708931" y="47713"/>
                </a:lnTo>
                <a:lnTo>
                  <a:pt x="731765" y="54942"/>
                </a:lnTo>
                <a:lnTo>
                  <a:pt x="751699" y="61810"/>
                </a:lnTo>
                <a:lnTo>
                  <a:pt x="768371" y="67955"/>
                </a:lnTo>
                <a:lnTo>
                  <a:pt x="782144" y="73015"/>
                </a:lnTo>
                <a:lnTo>
                  <a:pt x="791929" y="76991"/>
                </a:lnTo>
                <a:lnTo>
                  <a:pt x="798091" y="79522"/>
                </a:lnTo>
                <a:lnTo>
                  <a:pt x="799903" y="80245"/>
                </a:lnTo>
                <a:lnTo>
                  <a:pt x="798091" y="81329"/>
                </a:lnTo>
                <a:lnTo>
                  <a:pt x="791929" y="84221"/>
                </a:lnTo>
                <a:lnTo>
                  <a:pt x="782144" y="87835"/>
                </a:lnTo>
                <a:lnTo>
                  <a:pt x="768371" y="93257"/>
                </a:lnTo>
                <a:lnTo>
                  <a:pt x="751699" y="99040"/>
                </a:lnTo>
                <a:lnTo>
                  <a:pt x="731765" y="105908"/>
                </a:lnTo>
                <a:lnTo>
                  <a:pt x="708931" y="113137"/>
                </a:lnTo>
                <a:lnTo>
                  <a:pt x="683198" y="120728"/>
                </a:lnTo>
                <a:lnTo>
                  <a:pt x="669063" y="124704"/>
                </a:lnTo>
                <a:lnTo>
                  <a:pt x="654565" y="127957"/>
                </a:lnTo>
                <a:lnTo>
                  <a:pt x="639343" y="131933"/>
                </a:lnTo>
                <a:lnTo>
                  <a:pt x="623758" y="135548"/>
                </a:lnTo>
                <a:lnTo>
                  <a:pt x="607448" y="138801"/>
                </a:lnTo>
                <a:lnTo>
                  <a:pt x="590776" y="142416"/>
                </a:lnTo>
                <a:lnTo>
                  <a:pt x="573379" y="145307"/>
                </a:lnTo>
                <a:lnTo>
                  <a:pt x="555982" y="148561"/>
                </a:lnTo>
                <a:lnTo>
                  <a:pt x="537860" y="151091"/>
                </a:lnTo>
                <a:lnTo>
                  <a:pt x="519013" y="153260"/>
                </a:lnTo>
                <a:lnTo>
                  <a:pt x="500166" y="155790"/>
                </a:lnTo>
                <a:lnTo>
                  <a:pt x="480594" y="157597"/>
                </a:lnTo>
                <a:lnTo>
                  <a:pt x="461023" y="159043"/>
                </a:lnTo>
                <a:lnTo>
                  <a:pt x="441088" y="160127"/>
                </a:lnTo>
                <a:lnTo>
                  <a:pt x="420792" y="160489"/>
                </a:lnTo>
                <a:lnTo>
                  <a:pt x="399770" y="160850"/>
                </a:lnTo>
                <a:lnTo>
                  <a:pt x="379474" y="160489"/>
                </a:lnTo>
                <a:lnTo>
                  <a:pt x="359177" y="160127"/>
                </a:lnTo>
                <a:lnTo>
                  <a:pt x="339243" y="159043"/>
                </a:lnTo>
                <a:lnTo>
                  <a:pt x="319309" y="157597"/>
                </a:lnTo>
                <a:lnTo>
                  <a:pt x="300100" y="155790"/>
                </a:lnTo>
                <a:lnTo>
                  <a:pt x="281253" y="153260"/>
                </a:lnTo>
                <a:lnTo>
                  <a:pt x="262406" y="151091"/>
                </a:lnTo>
                <a:lnTo>
                  <a:pt x="244284" y="148561"/>
                </a:lnTo>
                <a:lnTo>
                  <a:pt x="226525" y="145307"/>
                </a:lnTo>
                <a:lnTo>
                  <a:pt x="209490" y="142416"/>
                </a:lnTo>
                <a:lnTo>
                  <a:pt x="192818" y="138801"/>
                </a:lnTo>
                <a:lnTo>
                  <a:pt x="176508" y="135548"/>
                </a:lnTo>
                <a:lnTo>
                  <a:pt x="160923" y="131933"/>
                </a:lnTo>
                <a:lnTo>
                  <a:pt x="145701" y="127957"/>
                </a:lnTo>
                <a:lnTo>
                  <a:pt x="131203" y="124704"/>
                </a:lnTo>
                <a:lnTo>
                  <a:pt x="117068" y="120728"/>
                </a:lnTo>
                <a:lnTo>
                  <a:pt x="91335" y="113137"/>
                </a:lnTo>
                <a:lnTo>
                  <a:pt x="68139" y="105908"/>
                </a:lnTo>
                <a:lnTo>
                  <a:pt x="48567" y="99040"/>
                </a:lnTo>
                <a:lnTo>
                  <a:pt x="31532" y="93257"/>
                </a:lnTo>
                <a:lnTo>
                  <a:pt x="18122" y="87835"/>
                </a:lnTo>
                <a:lnTo>
                  <a:pt x="8336" y="84221"/>
                </a:lnTo>
                <a:lnTo>
                  <a:pt x="2175" y="81329"/>
                </a:lnTo>
                <a:lnTo>
                  <a:pt x="0" y="80245"/>
                </a:lnTo>
                <a:lnTo>
                  <a:pt x="2175" y="79522"/>
                </a:lnTo>
                <a:lnTo>
                  <a:pt x="8336" y="76991"/>
                </a:lnTo>
                <a:lnTo>
                  <a:pt x="18122" y="73015"/>
                </a:lnTo>
                <a:lnTo>
                  <a:pt x="31532" y="67955"/>
                </a:lnTo>
                <a:lnTo>
                  <a:pt x="48567" y="61810"/>
                </a:lnTo>
                <a:lnTo>
                  <a:pt x="68139" y="54942"/>
                </a:lnTo>
                <a:lnTo>
                  <a:pt x="91335" y="47713"/>
                </a:lnTo>
                <a:lnTo>
                  <a:pt x="117068" y="40122"/>
                </a:lnTo>
                <a:lnTo>
                  <a:pt x="131203" y="36508"/>
                </a:lnTo>
                <a:lnTo>
                  <a:pt x="145701" y="32532"/>
                </a:lnTo>
                <a:lnTo>
                  <a:pt x="160923" y="29279"/>
                </a:lnTo>
                <a:lnTo>
                  <a:pt x="176508" y="25302"/>
                </a:lnTo>
                <a:lnTo>
                  <a:pt x="192818" y="22049"/>
                </a:lnTo>
                <a:lnTo>
                  <a:pt x="209490" y="18435"/>
                </a:lnTo>
                <a:lnTo>
                  <a:pt x="226525" y="15543"/>
                </a:lnTo>
                <a:lnTo>
                  <a:pt x="244284" y="12651"/>
                </a:lnTo>
                <a:lnTo>
                  <a:pt x="262406" y="9760"/>
                </a:lnTo>
                <a:lnTo>
                  <a:pt x="281253" y="7229"/>
                </a:lnTo>
                <a:lnTo>
                  <a:pt x="300100" y="5422"/>
                </a:lnTo>
                <a:lnTo>
                  <a:pt x="319309" y="3253"/>
                </a:lnTo>
                <a:lnTo>
                  <a:pt x="339243" y="1808"/>
                </a:lnTo>
                <a:lnTo>
                  <a:pt x="359177" y="723"/>
                </a:lnTo>
                <a:close/>
              </a:path>
            </a:pathLst>
          </a:custGeom>
          <a:gradFill flip="none" rotWithShape="1">
            <a:gsLst>
              <a:gs pos="100000">
                <a:schemeClr val="accent1">
                  <a:lumMod val="90000"/>
                </a:schemeClr>
              </a:gs>
              <a:gs pos="0">
                <a:schemeClr val="accent1">
                  <a:lumMod val="75000"/>
                  <a:lumOff val="25000"/>
                </a:schemeClr>
              </a:gs>
            </a:gsLst>
            <a:lin ang="2700000" scaled="1"/>
            <a:tileRect/>
          </a:gradFill>
          <a:ln w="25400">
            <a:noFill/>
          </a:ln>
          <a:effectLst>
            <a:outerShdw blurRad="254000" dist="177800" dir="2700000" algn="tl" rotWithShape="0">
              <a:schemeClr val="accent1">
                <a:alpha val="20000"/>
              </a:schemeClr>
            </a:outerShdw>
          </a:effectLst>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485899" tIns="63500" rIns="1485901" bIns="63500" numCol="1" spcCol="1270" anchor="ctr" anchorCtr="0">
            <a:noAutofit/>
          </a:bodyPr>
          <a:lstStyle/>
          <a:p>
            <a:pPr algn="ctr" defTabSz="2222500">
              <a:lnSpc>
                <a:spcPct val="90000"/>
              </a:lnSpc>
              <a:spcBef>
                <a:spcPct val="0"/>
              </a:spcBef>
              <a:spcAft>
                <a:spcPct val="35000"/>
              </a:spcAft>
            </a:pPr>
            <a:endParaRPr sz="3200">
              <a:solidFill>
                <a:prstClr val="white"/>
              </a:solidFill>
              <a:latin typeface="等线" panose="020F0502020204030204"/>
              <a:ea typeface="等线" panose="02010600030101010101" pitchFamily="2" charset="-122"/>
              <a:sym typeface="Calibri"/>
            </a:endParaRPr>
          </a:p>
        </p:txBody>
      </p:sp>
      <p:sp>
        <p:nvSpPr>
          <p:cNvPr id="63" name="任意多边形: 形状 62">
            <a:extLst>
              <a:ext uri="{FF2B5EF4-FFF2-40B4-BE49-F238E27FC236}">
                <a16:creationId xmlns:a16="http://schemas.microsoft.com/office/drawing/2014/main" id="{CF0D47C8-46C1-9CB1-9234-D17BBE682EBC}"/>
              </a:ext>
            </a:extLst>
          </p:cNvPr>
          <p:cNvSpPr/>
          <p:nvPr/>
        </p:nvSpPr>
        <p:spPr>
          <a:xfrm>
            <a:off x="4729005" y="3718501"/>
            <a:ext cx="1772249" cy="946262"/>
          </a:xfrm>
          <a:custGeom>
            <a:avLst/>
            <a:gdLst>
              <a:gd name="connsiteX0" fmla="*/ 0 w 1772249"/>
              <a:gd name="connsiteY0" fmla="*/ 0 h 946262"/>
              <a:gd name="connsiteX1" fmla="*/ 4709 w 1772249"/>
              <a:gd name="connsiteY1" fmla="*/ 1087 h 946262"/>
              <a:gd name="connsiteX2" fmla="*/ 18110 w 1772249"/>
              <a:gd name="connsiteY2" fmla="*/ 5434 h 946262"/>
              <a:gd name="connsiteX3" fmla="*/ 39842 w 1772249"/>
              <a:gd name="connsiteY3" fmla="*/ 11593 h 946262"/>
              <a:gd name="connsiteX4" fmla="*/ 69905 w 1772249"/>
              <a:gd name="connsiteY4" fmla="*/ 20288 h 946262"/>
              <a:gd name="connsiteX5" fmla="*/ 106849 w 1772249"/>
              <a:gd name="connsiteY5" fmla="*/ 29707 h 946262"/>
              <a:gd name="connsiteX6" fmla="*/ 151400 w 1772249"/>
              <a:gd name="connsiteY6" fmla="*/ 40575 h 946262"/>
              <a:gd name="connsiteX7" fmla="*/ 176030 w 1772249"/>
              <a:gd name="connsiteY7" fmla="*/ 46371 h 946262"/>
              <a:gd name="connsiteX8" fmla="*/ 202470 w 1772249"/>
              <a:gd name="connsiteY8" fmla="*/ 51805 h 946262"/>
              <a:gd name="connsiteX9" fmla="*/ 230360 w 1772249"/>
              <a:gd name="connsiteY9" fmla="*/ 57964 h 946262"/>
              <a:gd name="connsiteX10" fmla="*/ 259336 w 1772249"/>
              <a:gd name="connsiteY10" fmla="*/ 64123 h 946262"/>
              <a:gd name="connsiteX11" fmla="*/ 290123 w 1772249"/>
              <a:gd name="connsiteY11" fmla="*/ 70281 h 946262"/>
              <a:gd name="connsiteX12" fmla="*/ 322359 w 1772249"/>
              <a:gd name="connsiteY12" fmla="*/ 75716 h 946262"/>
              <a:gd name="connsiteX13" fmla="*/ 355681 w 1772249"/>
              <a:gd name="connsiteY13" fmla="*/ 81874 h 946262"/>
              <a:gd name="connsiteX14" fmla="*/ 390815 w 1772249"/>
              <a:gd name="connsiteY14" fmla="*/ 87671 h 946262"/>
              <a:gd name="connsiteX15" fmla="*/ 426673 w 1772249"/>
              <a:gd name="connsiteY15" fmla="*/ 93467 h 946262"/>
              <a:gd name="connsiteX16" fmla="*/ 463979 w 1772249"/>
              <a:gd name="connsiteY16" fmla="*/ 98539 h 946262"/>
              <a:gd name="connsiteX17" fmla="*/ 502011 w 1772249"/>
              <a:gd name="connsiteY17" fmla="*/ 103611 h 946262"/>
              <a:gd name="connsiteX18" fmla="*/ 541128 w 1772249"/>
              <a:gd name="connsiteY18" fmla="*/ 107958 h 946262"/>
              <a:gd name="connsiteX19" fmla="*/ 581333 w 1772249"/>
              <a:gd name="connsiteY19" fmla="*/ 112668 h 946262"/>
              <a:gd name="connsiteX20" fmla="*/ 622986 w 1772249"/>
              <a:gd name="connsiteY20" fmla="*/ 116653 h 946262"/>
              <a:gd name="connsiteX21" fmla="*/ 664639 w 1772249"/>
              <a:gd name="connsiteY21" fmla="*/ 119913 h 946262"/>
              <a:gd name="connsiteX22" fmla="*/ 707379 w 1772249"/>
              <a:gd name="connsiteY22" fmla="*/ 122811 h 946262"/>
              <a:gd name="connsiteX23" fmla="*/ 751567 w 1772249"/>
              <a:gd name="connsiteY23" fmla="*/ 125347 h 946262"/>
              <a:gd name="connsiteX24" fmla="*/ 795393 w 1772249"/>
              <a:gd name="connsiteY24" fmla="*/ 126796 h 946262"/>
              <a:gd name="connsiteX25" fmla="*/ 840668 w 1772249"/>
              <a:gd name="connsiteY25" fmla="*/ 127883 h 946262"/>
              <a:gd name="connsiteX26" fmla="*/ 885944 w 1772249"/>
              <a:gd name="connsiteY26" fmla="*/ 128245 h 946262"/>
              <a:gd name="connsiteX27" fmla="*/ 931943 w 1772249"/>
              <a:gd name="connsiteY27" fmla="*/ 127883 h 946262"/>
              <a:gd name="connsiteX28" fmla="*/ 976856 w 1772249"/>
              <a:gd name="connsiteY28" fmla="*/ 126796 h 946262"/>
              <a:gd name="connsiteX29" fmla="*/ 1021044 w 1772249"/>
              <a:gd name="connsiteY29" fmla="*/ 125347 h 946262"/>
              <a:gd name="connsiteX30" fmla="*/ 1064871 w 1772249"/>
              <a:gd name="connsiteY30" fmla="*/ 122811 h 946262"/>
              <a:gd name="connsiteX31" fmla="*/ 1107611 w 1772249"/>
              <a:gd name="connsiteY31" fmla="*/ 119913 h 946262"/>
              <a:gd name="connsiteX32" fmla="*/ 1149626 w 1772249"/>
              <a:gd name="connsiteY32" fmla="*/ 116653 h 946262"/>
              <a:gd name="connsiteX33" fmla="*/ 1190917 w 1772249"/>
              <a:gd name="connsiteY33" fmla="*/ 112668 h 946262"/>
              <a:gd name="connsiteX34" fmla="*/ 1231121 w 1772249"/>
              <a:gd name="connsiteY34" fmla="*/ 107958 h 946262"/>
              <a:gd name="connsiteX35" fmla="*/ 1270239 w 1772249"/>
              <a:gd name="connsiteY35" fmla="*/ 103611 h 946262"/>
              <a:gd name="connsiteX36" fmla="*/ 1308632 w 1772249"/>
              <a:gd name="connsiteY36" fmla="*/ 98539 h 946262"/>
              <a:gd name="connsiteX37" fmla="*/ 1345939 w 1772249"/>
              <a:gd name="connsiteY37" fmla="*/ 93467 h 946262"/>
              <a:gd name="connsiteX38" fmla="*/ 1381434 w 1772249"/>
              <a:gd name="connsiteY38" fmla="*/ 87671 h 946262"/>
              <a:gd name="connsiteX39" fmla="*/ 1416206 w 1772249"/>
              <a:gd name="connsiteY39" fmla="*/ 81874 h 946262"/>
              <a:gd name="connsiteX40" fmla="*/ 1449890 w 1772249"/>
              <a:gd name="connsiteY40" fmla="*/ 75716 h 946262"/>
              <a:gd name="connsiteX41" fmla="*/ 1482126 w 1772249"/>
              <a:gd name="connsiteY41" fmla="*/ 70281 h 946262"/>
              <a:gd name="connsiteX42" fmla="*/ 1512551 w 1772249"/>
              <a:gd name="connsiteY42" fmla="*/ 64123 h 946262"/>
              <a:gd name="connsiteX43" fmla="*/ 1542252 w 1772249"/>
              <a:gd name="connsiteY43" fmla="*/ 57964 h 946262"/>
              <a:gd name="connsiteX44" fmla="*/ 1570141 w 1772249"/>
              <a:gd name="connsiteY44" fmla="*/ 51805 h 946262"/>
              <a:gd name="connsiteX45" fmla="*/ 1596220 w 1772249"/>
              <a:gd name="connsiteY45" fmla="*/ 46371 h 946262"/>
              <a:gd name="connsiteX46" fmla="*/ 1621211 w 1772249"/>
              <a:gd name="connsiteY46" fmla="*/ 40575 h 946262"/>
              <a:gd name="connsiteX47" fmla="*/ 1665762 w 1772249"/>
              <a:gd name="connsiteY47" fmla="*/ 29707 h 946262"/>
              <a:gd name="connsiteX48" fmla="*/ 1702707 w 1772249"/>
              <a:gd name="connsiteY48" fmla="*/ 20288 h 946262"/>
              <a:gd name="connsiteX49" fmla="*/ 1732407 w 1772249"/>
              <a:gd name="connsiteY49" fmla="*/ 11593 h 946262"/>
              <a:gd name="connsiteX50" fmla="*/ 1754501 w 1772249"/>
              <a:gd name="connsiteY50" fmla="*/ 5434 h 946262"/>
              <a:gd name="connsiteX51" fmla="*/ 1767541 w 1772249"/>
              <a:gd name="connsiteY51" fmla="*/ 1087 h 946262"/>
              <a:gd name="connsiteX52" fmla="*/ 1772249 w 1772249"/>
              <a:gd name="connsiteY52" fmla="*/ 0 h 946262"/>
              <a:gd name="connsiteX53" fmla="*/ 1372379 w 1772249"/>
              <a:gd name="connsiteY53" fmla="*/ 823813 h 946262"/>
              <a:gd name="connsiteX54" fmla="*/ 1370206 w 1772249"/>
              <a:gd name="connsiteY54" fmla="*/ 825262 h 946262"/>
              <a:gd name="connsiteX55" fmla="*/ 1362600 w 1772249"/>
              <a:gd name="connsiteY55" fmla="*/ 829247 h 946262"/>
              <a:gd name="connsiteX56" fmla="*/ 1350647 w 1772249"/>
              <a:gd name="connsiteY56" fmla="*/ 835044 h 946262"/>
              <a:gd name="connsiteX57" fmla="*/ 1334348 w 1772249"/>
              <a:gd name="connsiteY57" fmla="*/ 843014 h 946262"/>
              <a:gd name="connsiteX58" fmla="*/ 1314065 w 1772249"/>
              <a:gd name="connsiteY58" fmla="*/ 852071 h 946262"/>
              <a:gd name="connsiteX59" fmla="*/ 1289798 w 1772249"/>
              <a:gd name="connsiteY59" fmla="*/ 862577 h 946262"/>
              <a:gd name="connsiteX60" fmla="*/ 1276034 w 1772249"/>
              <a:gd name="connsiteY60" fmla="*/ 868011 h 946262"/>
              <a:gd name="connsiteX61" fmla="*/ 1261546 w 1772249"/>
              <a:gd name="connsiteY61" fmla="*/ 873807 h 946262"/>
              <a:gd name="connsiteX62" fmla="*/ 1245971 w 1772249"/>
              <a:gd name="connsiteY62" fmla="*/ 879241 h 946262"/>
              <a:gd name="connsiteX63" fmla="*/ 1230034 w 1772249"/>
              <a:gd name="connsiteY63" fmla="*/ 885400 h 946262"/>
              <a:gd name="connsiteX64" fmla="*/ 1213011 w 1772249"/>
              <a:gd name="connsiteY64" fmla="*/ 890834 h 946262"/>
              <a:gd name="connsiteX65" fmla="*/ 1195625 w 1772249"/>
              <a:gd name="connsiteY65" fmla="*/ 896631 h 946262"/>
              <a:gd name="connsiteX66" fmla="*/ 1177153 w 1772249"/>
              <a:gd name="connsiteY66" fmla="*/ 902065 h 946262"/>
              <a:gd name="connsiteX67" fmla="*/ 1157956 w 1772249"/>
              <a:gd name="connsiteY67" fmla="*/ 907499 h 946262"/>
              <a:gd name="connsiteX68" fmla="*/ 1138398 w 1772249"/>
              <a:gd name="connsiteY68" fmla="*/ 912933 h 946262"/>
              <a:gd name="connsiteX69" fmla="*/ 1117752 w 1772249"/>
              <a:gd name="connsiteY69" fmla="*/ 918005 h 946262"/>
              <a:gd name="connsiteX70" fmla="*/ 1097107 w 1772249"/>
              <a:gd name="connsiteY70" fmla="*/ 922714 h 946262"/>
              <a:gd name="connsiteX71" fmla="*/ 1075375 w 1772249"/>
              <a:gd name="connsiteY71" fmla="*/ 927424 h 946262"/>
              <a:gd name="connsiteX72" fmla="*/ 1053280 w 1772249"/>
              <a:gd name="connsiteY72" fmla="*/ 931047 h 946262"/>
              <a:gd name="connsiteX73" fmla="*/ 1030824 w 1772249"/>
              <a:gd name="connsiteY73" fmla="*/ 935032 h 946262"/>
              <a:gd name="connsiteX74" fmla="*/ 1008005 w 1772249"/>
              <a:gd name="connsiteY74" fmla="*/ 938292 h 946262"/>
              <a:gd name="connsiteX75" fmla="*/ 984462 w 1772249"/>
              <a:gd name="connsiteY75" fmla="*/ 940828 h 946262"/>
              <a:gd name="connsiteX76" fmla="*/ 960557 w 1772249"/>
              <a:gd name="connsiteY76" fmla="*/ 943364 h 946262"/>
              <a:gd name="connsiteX77" fmla="*/ 935927 w 1772249"/>
              <a:gd name="connsiteY77" fmla="*/ 944813 h 946262"/>
              <a:gd name="connsiteX78" fmla="*/ 911298 w 1772249"/>
              <a:gd name="connsiteY78" fmla="*/ 945900 h 946262"/>
              <a:gd name="connsiteX79" fmla="*/ 885944 w 1772249"/>
              <a:gd name="connsiteY79" fmla="*/ 946262 h 946262"/>
              <a:gd name="connsiteX80" fmla="*/ 860952 w 1772249"/>
              <a:gd name="connsiteY80" fmla="*/ 945900 h 946262"/>
              <a:gd name="connsiteX81" fmla="*/ 836322 w 1772249"/>
              <a:gd name="connsiteY81" fmla="*/ 944813 h 946262"/>
              <a:gd name="connsiteX82" fmla="*/ 812055 w 1772249"/>
              <a:gd name="connsiteY82" fmla="*/ 943364 h 946262"/>
              <a:gd name="connsiteX83" fmla="*/ 788149 w 1772249"/>
              <a:gd name="connsiteY83" fmla="*/ 940828 h 946262"/>
              <a:gd name="connsiteX84" fmla="*/ 764606 w 1772249"/>
              <a:gd name="connsiteY84" fmla="*/ 938292 h 946262"/>
              <a:gd name="connsiteX85" fmla="*/ 741425 w 1772249"/>
              <a:gd name="connsiteY85" fmla="*/ 935032 h 946262"/>
              <a:gd name="connsiteX86" fmla="*/ 718969 w 1772249"/>
              <a:gd name="connsiteY86" fmla="*/ 931047 h 946262"/>
              <a:gd name="connsiteX87" fmla="*/ 696875 w 1772249"/>
              <a:gd name="connsiteY87" fmla="*/ 927424 h 946262"/>
              <a:gd name="connsiteX88" fmla="*/ 675143 w 1772249"/>
              <a:gd name="connsiteY88" fmla="*/ 922714 h 946262"/>
              <a:gd name="connsiteX89" fmla="*/ 654497 w 1772249"/>
              <a:gd name="connsiteY89" fmla="*/ 918005 h 946262"/>
              <a:gd name="connsiteX90" fmla="*/ 633852 w 1772249"/>
              <a:gd name="connsiteY90" fmla="*/ 912933 h 946262"/>
              <a:gd name="connsiteX91" fmla="*/ 614293 w 1772249"/>
              <a:gd name="connsiteY91" fmla="*/ 907499 h 946262"/>
              <a:gd name="connsiteX92" fmla="*/ 595096 w 1772249"/>
              <a:gd name="connsiteY92" fmla="*/ 902065 h 946262"/>
              <a:gd name="connsiteX93" fmla="*/ 576986 w 1772249"/>
              <a:gd name="connsiteY93" fmla="*/ 896631 h 946262"/>
              <a:gd name="connsiteX94" fmla="*/ 559238 w 1772249"/>
              <a:gd name="connsiteY94" fmla="*/ 890834 h 946262"/>
              <a:gd name="connsiteX95" fmla="*/ 542577 w 1772249"/>
              <a:gd name="connsiteY95" fmla="*/ 885400 h 946262"/>
              <a:gd name="connsiteX96" fmla="*/ 526278 w 1772249"/>
              <a:gd name="connsiteY96" fmla="*/ 879241 h 946262"/>
              <a:gd name="connsiteX97" fmla="*/ 511066 w 1772249"/>
              <a:gd name="connsiteY97" fmla="*/ 873807 h 946262"/>
              <a:gd name="connsiteX98" fmla="*/ 496578 w 1772249"/>
              <a:gd name="connsiteY98" fmla="*/ 868011 h 946262"/>
              <a:gd name="connsiteX99" fmla="*/ 482814 w 1772249"/>
              <a:gd name="connsiteY99" fmla="*/ 862577 h 946262"/>
              <a:gd name="connsiteX100" fmla="*/ 458546 w 1772249"/>
              <a:gd name="connsiteY100" fmla="*/ 852071 h 946262"/>
              <a:gd name="connsiteX101" fmla="*/ 438263 w 1772249"/>
              <a:gd name="connsiteY101" fmla="*/ 843014 h 946262"/>
              <a:gd name="connsiteX102" fmla="*/ 421964 w 1772249"/>
              <a:gd name="connsiteY102" fmla="*/ 835044 h 946262"/>
              <a:gd name="connsiteX103" fmla="*/ 409649 w 1772249"/>
              <a:gd name="connsiteY103" fmla="*/ 829247 h 946262"/>
              <a:gd name="connsiteX104" fmla="*/ 402405 w 1772249"/>
              <a:gd name="connsiteY104" fmla="*/ 825262 h 946262"/>
              <a:gd name="connsiteX105" fmla="*/ 399870 w 1772249"/>
              <a:gd name="connsiteY105" fmla="*/ 823813 h 946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Lst>
            <a:rect l="l" t="t" r="r" b="b"/>
            <a:pathLst>
              <a:path w="1772249" h="946262">
                <a:moveTo>
                  <a:pt x="0" y="0"/>
                </a:moveTo>
                <a:lnTo>
                  <a:pt x="4709" y="1087"/>
                </a:lnTo>
                <a:lnTo>
                  <a:pt x="18110" y="5434"/>
                </a:lnTo>
                <a:lnTo>
                  <a:pt x="39842" y="11593"/>
                </a:lnTo>
                <a:lnTo>
                  <a:pt x="69905" y="20288"/>
                </a:lnTo>
                <a:lnTo>
                  <a:pt x="106849" y="29707"/>
                </a:lnTo>
                <a:lnTo>
                  <a:pt x="151400" y="40575"/>
                </a:lnTo>
                <a:lnTo>
                  <a:pt x="176030" y="46371"/>
                </a:lnTo>
                <a:lnTo>
                  <a:pt x="202470" y="51805"/>
                </a:lnTo>
                <a:lnTo>
                  <a:pt x="230360" y="57964"/>
                </a:lnTo>
                <a:lnTo>
                  <a:pt x="259336" y="64123"/>
                </a:lnTo>
                <a:lnTo>
                  <a:pt x="290123" y="70281"/>
                </a:lnTo>
                <a:lnTo>
                  <a:pt x="322359" y="75716"/>
                </a:lnTo>
                <a:lnTo>
                  <a:pt x="355681" y="81874"/>
                </a:lnTo>
                <a:lnTo>
                  <a:pt x="390815" y="87671"/>
                </a:lnTo>
                <a:lnTo>
                  <a:pt x="426673" y="93467"/>
                </a:lnTo>
                <a:lnTo>
                  <a:pt x="463979" y="98539"/>
                </a:lnTo>
                <a:lnTo>
                  <a:pt x="502011" y="103611"/>
                </a:lnTo>
                <a:lnTo>
                  <a:pt x="541128" y="107958"/>
                </a:lnTo>
                <a:lnTo>
                  <a:pt x="581333" y="112668"/>
                </a:lnTo>
                <a:lnTo>
                  <a:pt x="622986" y="116653"/>
                </a:lnTo>
                <a:lnTo>
                  <a:pt x="664639" y="119913"/>
                </a:lnTo>
                <a:lnTo>
                  <a:pt x="707379" y="122811"/>
                </a:lnTo>
                <a:lnTo>
                  <a:pt x="751567" y="125347"/>
                </a:lnTo>
                <a:lnTo>
                  <a:pt x="795393" y="126796"/>
                </a:lnTo>
                <a:lnTo>
                  <a:pt x="840668" y="127883"/>
                </a:lnTo>
                <a:lnTo>
                  <a:pt x="885944" y="128245"/>
                </a:lnTo>
                <a:lnTo>
                  <a:pt x="931943" y="127883"/>
                </a:lnTo>
                <a:lnTo>
                  <a:pt x="976856" y="126796"/>
                </a:lnTo>
                <a:lnTo>
                  <a:pt x="1021044" y="125347"/>
                </a:lnTo>
                <a:lnTo>
                  <a:pt x="1064871" y="122811"/>
                </a:lnTo>
                <a:lnTo>
                  <a:pt x="1107611" y="119913"/>
                </a:lnTo>
                <a:lnTo>
                  <a:pt x="1149626" y="116653"/>
                </a:lnTo>
                <a:lnTo>
                  <a:pt x="1190917" y="112668"/>
                </a:lnTo>
                <a:lnTo>
                  <a:pt x="1231121" y="107958"/>
                </a:lnTo>
                <a:lnTo>
                  <a:pt x="1270239" y="103611"/>
                </a:lnTo>
                <a:lnTo>
                  <a:pt x="1308632" y="98539"/>
                </a:lnTo>
                <a:lnTo>
                  <a:pt x="1345939" y="93467"/>
                </a:lnTo>
                <a:lnTo>
                  <a:pt x="1381434" y="87671"/>
                </a:lnTo>
                <a:lnTo>
                  <a:pt x="1416206" y="81874"/>
                </a:lnTo>
                <a:lnTo>
                  <a:pt x="1449890" y="75716"/>
                </a:lnTo>
                <a:lnTo>
                  <a:pt x="1482126" y="70281"/>
                </a:lnTo>
                <a:lnTo>
                  <a:pt x="1512551" y="64123"/>
                </a:lnTo>
                <a:lnTo>
                  <a:pt x="1542252" y="57964"/>
                </a:lnTo>
                <a:lnTo>
                  <a:pt x="1570141" y="51805"/>
                </a:lnTo>
                <a:lnTo>
                  <a:pt x="1596220" y="46371"/>
                </a:lnTo>
                <a:lnTo>
                  <a:pt x="1621211" y="40575"/>
                </a:lnTo>
                <a:lnTo>
                  <a:pt x="1665762" y="29707"/>
                </a:lnTo>
                <a:lnTo>
                  <a:pt x="1702707" y="20288"/>
                </a:lnTo>
                <a:lnTo>
                  <a:pt x="1732407" y="11593"/>
                </a:lnTo>
                <a:lnTo>
                  <a:pt x="1754501" y="5434"/>
                </a:lnTo>
                <a:lnTo>
                  <a:pt x="1767541" y="1087"/>
                </a:lnTo>
                <a:lnTo>
                  <a:pt x="1772249" y="0"/>
                </a:lnTo>
                <a:lnTo>
                  <a:pt x="1372379" y="823813"/>
                </a:lnTo>
                <a:lnTo>
                  <a:pt x="1370206" y="825262"/>
                </a:lnTo>
                <a:lnTo>
                  <a:pt x="1362600" y="829247"/>
                </a:lnTo>
                <a:lnTo>
                  <a:pt x="1350647" y="835044"/>
                </a:lnTo>
                <a:lnTo>
                  <a:pt x="1334348" y="843014"/>
                </a:lnTo>
                <a:lnTo>
                  <a:pt x="1314065" y="852071"/>
                </a:lnTo>
                <a:lnTo>
                  <a:pt x="1289798" y="862577"/>
                </a:lnTo>
                <a:lnTo>
                  <a:pt x="1276034" y="868011"/>
                </a:lnTo>
                <a:lnTo>
                  <a:pt x="1261546" y="873807"/>
                </a:lnTo>
                <a:lnTo>
                  <a:pt x="1245971" y="879241"/>
                </a:lnTo>
                <a:lnTo>
                  <a:pt x="1230034" y="885400"/>
                </a:lnTo>
                <a:lnTo>
                  <a:pt x="1213011" y="890834"/>
                </a:lnTo>
                <a:lnTo>
                  <a:pt x="1195625" y="896631"/>
                </a:lnTo>
                <a:lnTo>
                  <a:pt x="1177153" y="902065"/>
                </a:lnTo>
                <a:lnTo>
                  <a:pt x="1157956" y="907499"/>
                </a:lnTo>
                <a:lnTo>
                  <a:pt x="1138398" y="912933"/>
                </a:lnTo>
                <a:lnTo>
                  <a:pt x="1117752" y="918005"/>
                </a:lnTo>
                <a:lnTo>
                  <a:pt x="1097107" y="922714"/>
                </a:lnTo>
                <a:lnTo>
                  <a:pt x="1075375" y="927424"/>
                </a:lnTo>
                <a:lnTo>
                  <a:pt x="1053280" y="931047"/>
                </a:lnTo>
                <a:lnTo>
                  <a:pt x="1030824" y="935032"/>
                </a:lnTo>
                <a:lnTo>
                  <a:pt x="1008005" y="938292"/>
                </a:lnTo>
                <a:lnTo>
                  <a:pt x="984462" y="940828"/>
                </a:lnTo>
                <a:lnTo>
                  <a:pt x="960557" y="943364"/>
                </a:lnTo>
                <a:lnTo>
                  <a:pt x="935927" y="944813"/>
                </a:lnTo>
                <a:lnTo>
                  <a:pt x="911298" y="945900"/>
                </a:lnTo>
                <a:lnTo>
                  <a:pt x="885944" y="946262"/>
                </a:lnTo>
                <a:lnTo>
                  <a:pt x="860952" y="945900"/>
                </a:lnTo>
                <a:lnTo>
                  <a:pt x="836322" y="944813"/>
                </a:lnTo>
                <a:lnTo>
                  <a:pt x="812055" y="943364"/>
                </a:lnTo>
                <a:lnTo>
                  <a:pt x="788149" y="940828"/>
                </a:lnTo>
                <a:lnTo>
                  <a:pt x="764606" y="938292"/>
                </a:lnTo>
                <a:lnTo>
                  <a:pt x="741425" y="935032"/>
                </a:lnTo>
                <a:lnTo>
                  <a:pt x="718969" y="931047"/>
                </a:lnTo>
                <a:lnTo>
                  <a:pt x="696875" y="927424"/>
                </a:lnTo>
                <a:lnTo>
                  <a:pt x="675143" y="922714"/>
                </a:lnTo>
                <a:lnTo>
                  <a:pt x="654497" y="918005"/>
                </a:lnTo>
                <a:lnTo>
                  <a:pt x="633852" y="912933"/>
                </a:lnTo>
                <a:lnTo>
                  <a:pt x="614293" y="907499"/>
                </a:lnTo>
                <a:lnTo>
                  <a:pt x="595096" y="902065"/>
                </a:lnTo>
                <a:lnTo>
                  <a:pt x="576986" y="896631"/>
                </a:lnTo>
                <a:lnTo>
                  <a:pt x="559238" y="890834"/>
                </a:lnTo>
                <a:lnTo>
                  <a:pt x="542577" y="885400"/>
                </a:lnTo>
                <a:lnTo>
                  <a:pt x="526278" y="879241"/>
                </a:lnTo>
                <a:lnTo>
                  <a:pt x="511066" y="873807"/>
                </a:lnTo>
                <a:lnTo>
                  <a:pt x="496578" y="868011"/>
                </a:lnTo>
                <a:lnTo>
                  <a:pt x="482814" y="862577"/>
                </a:lnTo>
                <a:lnTo>
                  <a:pt x="458546" y="852071"/>
                </a:lnTo>
                <a:lnTo>
                  <a:pt x="438263" y="843014"/>
                </a:lnTo>
                <a:lnTo>
                  <a:pt x="421964" y="835044"/>
                </a:lnTo>
                <a:lnTo>
                  <a:pt x="409649" y="829247"/>
                </a:lnTo>
                <a:lnTo>
                  <a:pt x="402405" y="825262"/>
                </a:lnTo>
                <a:lnTo>
                  <a:pt x="399870" y="823813"/>
                </a:lnTo>
                <a:close/>
              </a:path>
            </a:pathLst>
          </a:custGeom>
          <a:gradFill flip="none" rotWithShape="1">
            <a:gsLst>
              <a:gs pos="0">
                <a:schemeClr val="accent1">
                  <a:lumMod val="75000"/>
                  <a:lumOff val="25000"/>
                </a:schemeClr>
              </a:gs>
              <a:gs pos="100000">
                <a:schemeClr val="accent1">
                  <a:lumMod val="80000"/>
                </a:schemeClr>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a:solidFill>
                <a:srgbClr val="FFFFFF"/>
              </a:solidFill>
              <a:latin typeface="Arial"/>
              <a:sym typeface="Calibri"/>
            </a:endParaRPr>
          </a:p>
        </p:txBody>
      </p:sp>
      <p:sp>
        <p:nvSpPr>
          <p:cNvPr id="66" name="任意多边形: 形状 65">
            <a:extLst>
              <a:ext uri="{FF2B5EF4-FFF2-40B4-BE49-F238E27FC236}">
                <a16:creationId xmlns:a16="http://schemas.microsoft.com/office/drawing/2014/main" id="{113480D1-5B90-83DE-32A1-087285B27A29}"/>
              </a:ext>
            </a:extLst>
          </p:cNvPr>
          <p:cNvSpPr/>
          <p:nvPr/>
        </p:nvSpPr>
        <p:spPr>
          <a:xfrm>
            <a:off x="5215903" y="4719828"/>
            <a:ext cx="799903" cy="824538"/>
          </a:xfrm>
          <a:custGeom>
            <a:avLst/>
            <a:gdLst>
              <a:gd name="connsiteX0" fmla="*/ 0 w 799903"/>
              <a:gd name="connsiteY0" fmla="*/ 0 h 824538"/>
              <a:gd name="connsiteX1" fmla="*/ 2175 w 799903"/>
              <a:gd name="connsiteY1" fmla="*/ 1088 h 824538"/>
              <a:gd name="connsiteX2" fmla="*/ 8336 w 799903"/>
              <a:gd name="connsiteY2" fmla="*/ 3987 h 824538"/>
              <a:gd name="connsiteX3" fmla="*/ 18122 w 799903"/>
              <a:gd name="connsiteY3" fmla="*/ 7611 h 824538"/>
              <a:gd name="connsiteX4" fmla="*/ 31532 w 799903"/>
              <a:gd name="connsiteY4" fmla="*/ 13048 h 824538"/>
              <a:gd name="connsiteX5" fmla="*/ 48567 w 799903"/>
              <a:gd name="connsiteY5" fmla="*/ 18847 h 824538"/>
              <a:gd name="connsiteX6" fmla="*/ 68139 w 799903"/>
              <a:gd name="connsiteY6" fmla="*/ 25733 h 824538"/>
              <a:gd name="connsiteX7" fmla="*/ 91335 w 799903"/>
              <a:gd name="connsiteY7" fmla="*/ 32982 h 824538"/>
              <a:gd name="connsiteX8" fmla="*/ 117068 w 799903"/>
              <a:gd name="connsiteY8" fmla="*/ 40593 h 824538"/>
              <a:gd name="connsiteX9" fmla="*/ 131203 w 799903"/>
              <a:gd name="connsiteY9" fmla="*/ 44580 h 824538"/>
              <a:gd name="connsiteX10" fmla="*/ 145701 w 799903"/>
              <a:gd name="connsiteY10" fmla="*/ 47842 h 824538"/>
              <a:gd name="connsiteX11" fmla="*/ 160923 w 799903"/>
              <a:gd name="connsiteY11" fmla="*/ 51828 h 824538"/>
              <a:gd name="connsiteX12" fmla="*/ 176508 w 799903"/>
              <a:gd name="connsiteY12" fmla="*/ 55453 h 824538"/>
              <a:gd name="connsiteX13" fmla="*/ 192818 w 799903"/>
              <a:gd name="connsiteY13" fmla="*/ 58715 h 824538"/>
              <a:gd name="connsiteX14" fmla="*/ 209490 w 799903"/>
              <a:gd name="connsiteY14" fmla="*/ 62339 h 824538"/>
              <a:gd name="connsiteX15" fmla="*/ 226525 w 799903"/>
              <a:gd name="connsiteY15" fmla="*/ 65238 h 824538"/>
              <a:gd name="connsiteX16" fmla="*/ 244284 w 799903"/>
              <a:gd name="connsiteY16" fmla="*/ 68500 h 824538"/>
              <a:gd name="connsiteX17" fmla="*/ 262406 w 799903"/>
              <a:gd name="connsiteY17" fmla="*/ 71037 h 824538"/>
              <a:gd name="connsiteX18" fmla="*/ 281253 w 799903"/>
              <a:gd name="connsiteY18" fmla="*/ 73212 h 824538"/>
              <a:gd name="connsiteX19" fmla="*/ 300100 w 799903"/>
              <a:gd name="connsiteY19" fmla="*/ 75749 h 824538"/>
              <a:gd name="connsiteX20" fmla="*/ 319309 w 799903"/>
              <a:gd name="connsiteY20" fmla="*/ 77561 h 824538"/>
              <a:gd name="connsiteX21" fmla="*/ 339243 w 799903"/>
              <a:gd name="connsiteY21" fmla="*/ 79011 h 824538"/>
              <a:gd name="connsiteX22" fmla="*/ 359177 w 799903"/>
              <a:gd name="connsiteY22" fmla="*/ 80098 h 824538"/>
              <a:gd name="connsiteX23" fmla="*/ 379474 w 799903"/>
              <a:gd name="connsiteY23" fmla="*/ 80461 h 824538"/>
              <a:gd name="connsiteX24" fmla="*/ 399770 w 799903"/>
              <a:gd name="connsiteY24" fmla="*/ 80823 h 824538"/>
              <a:gd name="connsiteX25" fmla="*/ 420792 w 799903"/>
              <a:gd name="connsiteY25" fmla="*/ 80461 h 824538"/>
              <a:gd name="connsiteX26" fmla="*/ 441088 w 799903"/>
              <a:gd name="connsiteY26" fmla="*/ 80098 h 824538"/>
              <a:gd name="connsiteX27" fmla="*/ 461023 w 799903"/>
              <a:gd name="connsiteY27" fmla="*/ 79011 h 824538"/>
              <a:gd name="connsiteX28" fmla="*/ 480594 w 799903"/>
              <a:gd name="connsiteY28" fmla="*/ 77561 h 824538"/>
              <a:gd name="connsiteX29" fmla="*/ 500166 w 799903"/>
              <a:gd name="connsiteY29" fmla="*/ 75749 h 824538"/>
              <a:gd name="connsiteX30" fmla="*/ 519013 w 799903"/>
              <a:gd name="connsiteY30" fmla="*/ 73212 h 824538"/>
              <a:gd name="connsiteX31" fmla="*/ 537860 w 799903"/>
              <a:gd name="connsiteY31" fmla="*/ 71037 h 824538"/>
              <a:gd name="connsiteX32" fmla="*/ 555982 w 799903"/>
              <a:gd name="connsiteY32" fmla="*/ 68500 h 824538"/>
              <a:gd name="connsiteX33" fmla="*/ 573379 w 799903"/>
              <a:gd name="connsiteY33" fmla="*/ 65238 h 824538"/>
              <a:gd name="connsiteX34" fmla="*/ 590776 w 799903"/>
              <a:gd name="connsiteY34" fmla="*/ 62339 h 824538"/>
              <a:gd name="connsiteX35" fmla="*/ 607448 w 799903"/>
              <a:gd name="connsiteY35" fmla="*/ 58715 h 824538"/>
              <a:gd name="connsiteX36" fmla="*/ 623758 w 799903"/>
              <a:gd name="connsiteY36" fmla="*/ 55453 h 824538"/>
              <a:gd name="connsiteX37" fmla="*/ 639343 w 799903"/>
              <a:gd name="connsiteY37" fmla="*/ 51828 h 824538"/>
              <a:gd name="connsiteX38" fmla="*/ 654565 w 799903"/>
              <a:gd name="connsiteY38" fmla="*/ 47842 h 824538"/>
              <a:gd name="connsiteX39" fmla="*/ 669063 w 799903"/>
              <a:gd name="connsiteY39" fmla="*/ 44580 h 824538"/>
              <a:gd name="connsiteX40" fmla="*/ 683198 w 799903"/>
              <a:gd name="connsiteY40" fmla="*/ 40593 h 824538"/>
              <a:gd name="connsiteX41" fmla="*/ 708931 w 799903"/>
              <a:gd name="connsiteY41" fmla="*/ 32982 h 824538"/>
              <a:gd name="connsiteX42" fmla="*/ 731765 w 799903"/>
              <a:gd name="connsiteY42" fmla="*/ 25733 h 824538"/>
              <a:gd name="connsiteX43" fmla="*/ 751699 w 799903"/>
              <a:gd name="connsiteY43" fmla="*/ 18847 h 824538"/>
              <a:gd name="connsiteX44" fmla="*/ 768371 w 799903"/>
              <a:gd name="connsiteY44" fmla="*/ 13048 h 824538"/>
              <a:gd name="connsiteX45" fmla="*/ 782144 w 799903"/>
              <a:gd name="connsiteY45" fmla="*/ 7611 h 824538"/>
              <a:gd name="connsiteX46" fmla="*/ 791929 w 799903"/>
              <a:gd name="connsiteY46" fmla="*/ 3987 h 824538"/>
              <a:gd name="connsiteX47" fmla="*/ 798091 w 799903"/>
              <a:gd name="connsiteY47" fmla="*/ 1088 h 824538"/>
              <a:gd name="connsiteX48" fmla="*/ 799903 w 799903"/>
              <a:gd name="connsiteY48" fmla="*/ 0 h 824538"/>
              <a:gd name="connsiteX49" fmla="*/ 399770 w 799903"/>
              <a:gd name="connsiteY49" fmla="*/ 824538 h 824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799903" h="824538">
                <a:moveTo>
                  <a:pt x="0" y="0"/>
                </a:moveTo>
                <a:lnTo>
                  <a:pt x="2175" y="1088"/>
                </a:lnTo>
                <a:lnTo>
                  <a:pt x="8336" y="3987"/>
                </a:lnTo>
                <a:lnTo>
                  <a:pt x="18122" y="7611"/>
                </a:lnTo>
                <a:lnTo>
                  <a:pt x="31532" y="13048"/>
                </a:lnTo>
                <a:lnTo>
                  <a:pt x="48567" y="18847"/>
                </a:lnTo>
                <a:lnTo>
                  <a:pt x="68139" y="25733"/>
                </a:lnTo>
                <a:lnTo>
                  <a:pt x="91335" y="32982"/>
                </a:lnTo>
                <a:lnTo>
                  <a:pt x="117068" y="40593"/>
                </a:lnTo>
                <a:lnTo>
                  <a:pt x="131203" y="44580"/>
                </a:lnTo>
                <a:lnTo>
                  <a:pt x="145701" y="47842"/>
                </a:lnTo>
                <a:lnTo>
                  <a:pt x="160923" y="51828"/>
                </a:lnTo>
                <a:lnTo>
                  <a:pt x="176508" y="55453"/>
                </a:lnTo>
                <a:lnTo>
                  <a:pt x="192818" y="58715"/>
                </a:lnTo>
                <a:lnTo>
                  <a:pt x="209490" y="62339"/>
                </a:lnTo>
                <a:lnTo>
                  <a:pt x="226525" y="65238"/>
                </a:lnTo>
                <a:lnTo>
                  <a:pt x="244284" y="68500"/>
                </a:lnTo>
                <a:lnTo>
                  <a:pt x="262406" y="71037"/>
                </a:lnTo>
                <a:lnTo>
                  <a:pt x="281253" y="73212"/>
                </a:lnTo>
                <a:lnTo>
                  <a:pt x="300100" y="75749"/>
                </a:lnTo>
                <a:lnTo>
                  <a:pt x="319309" y="77561"/>
                </a:lnTo>
                <a:lnTo>
                  <a:pt x="339243" y="79011"/>
                </a:lnTo>
                <a:lnTo>
                  <a:pt x="359177" y="80098"/>
                </a:lnTo>
                <a:lnTo>
                  <a:pt x="379474" y="80461"/>
                </a:lnTo>
                <a:lnTo>
                  <a:pt x="399770" y="80823"/>
                </a:lnTo>
                <a:lnTo>
                  <a:pt x="420792" y="80461"/>
                </a:lnTo>
                <a:lnTo>
                  <a:pt x="441088" y="80098"/>
                </a:lnTo>
                <a:lnTo>
                  <a:pt x="461023" y="79011"/>
                </a:lnTo>
                <a:lnTo>
                  <a:pt x="480594" y="77561"/>
                </a:lnTo>
                <a:lnTo>
                  <a:pt x="500166" y="75749"/>
                </a:lnTo>
                <a:lnTo>
                  <a:pt x="519013" y="73212"/>
                </a:lnTo>
                <a:lnTo>
                  <a:pt x="537860" y="71037"/>
                </a:lnTo>
                <a:lnTo>
                  <a:pt x="555982" y="68500"/>
                </a:lnTo>
                <a:lnTo>
                  <a:pt x="573379" y="65238"/>
                </a:lnTo>
                <a:lnTo>
                  <a:pt x="590776" y="62339"/>
                </a:lnTo>
                <a:lnTo>
                  <a:pt x="607448" y="58715"/>
                </a:lnTo>
                <a:lnTo>
                  <a:pt x="623758" y="55453"/>
                </a:lnTo>
                <a:lnTo>
                  <a:pt x="639343" y="51828"/>
                </a:lnTo>
                <a:lnTo>
                  <a:pt x="654565" y="47842"/>
                </a:lnTo>
                <a:lnTo>
                  <a:pt x="669063" y="44580"/>
                </a:lnTo>
                <a:lnTo>
                  <a:pt x="683198" y="40593"/>
                </a:lnTo>
                <a:lnTo>
                  <a:pt x="708931" y="32982"/>
                </a:lnTo>
                <a:lnTo>
                  <a:pt x="731765" y="25733"/>
                </a:lnTo>
                <a:lnTo>
                  <a:pt x="751699" y="18847"/>
                </a:lnTo>
                <a:lnTo>
                  <a:pt x="768371" y="13048"/>
                </a:lnTo>
                <a:lnTo>
                  <a:pt x="782144" y="7611"/>
                </a:lnTo>
                <a:lnTo>
                  <a:pt x="791929" y="3987"/>
                </a:lnTo>
                <a:lnTo>
                  <a:pt x="798091" y="1088"/>
                </a:lnTo>
                <a:lnTo>
                  <a:pt x="799903" y="0"/>
                </a:lnTo>
                <a:lnTo>
                  <a:pt x="399770" y="824538"/>
                </a:lnTo>
                <a:close/>
              </a:path>
            </a:pathLst>
          </a:custGeom>
          <a:gradFill flip="none" rotWithShape="1">
            <a:gsLst>
              <a:gs pos="0">
                <a:schemeClr val="accent1">
                  <a:lumMod val="100000"/>
                </a:schemeClr>
              </a:gs>
              <a:gs pos="100000">
                <a:schemeClr val="accent1">
                  <a:lumMod val="60000"/>
                </a:schemeClr>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a:solidFill>
                <a:srgbClr val="FFFFFF"/>
              </a:solidFill>
              <a:latin typeface="Arial"/>
              <a:sym typeface="Calibri"/>
            </a:endParaRPr>
          </a:p>
        </p:txBody>
      </p:sp>
      <p:sp>
        <p:nvSpPr>
          <p:cNvPr id="65" name="任意多边形: 形状 64">
            <a:extLst>
              <a:ext uri="{FF2B5EF4-FFF2-40B4-BE49-F238E27FC236}">
                <a16:creationId xmlns:a16="http://schemas.microsoft.com/office/drawing/2014/main" id="{78CC62B1-91BF-3C51-3A50-D6B43DEFDFC7}"/>
              </a:ext>
            </a:extLst>
          </p:cNvPr>
          <p:cNvSpPr/>
          <p:nvPr/>
        </p:nvSpPr>
        <p:spPr>
          <a:xfrm flipH="1">
            <a:off x="5604377" y="4718378"/>
            <a:ext cx="1394896" cy="815236"/>
          </a:xfrm>
          <a:custGeom>
            <a:avLst/>
            <a:gdLst>
              <a:gd name="connsiteX0" fmla="*/ 994944 w 1394896"/>
              <a:gd name="connsiteY0" fmla="*/ 0 h 815236"/>
              <a:gd name="connsiteX1" fmla="*/ 0 w 1394896"/>
              <a:gd name="connsiteY1" fmla="*/ 0 h 815236"/>
              <a:gd name="connsiteX2" fmla="*/ 0 w 1394896"/>
              <a:gd name="connsiteY2" fmla="*/ 815236 h 815236"/>
              <a:gd name="connsiteX3" fmla="*/ 1394896 w 1394896"/>
              <a:gd name="connsiteY3" fmla="*/ 815236 h 815236"/>
            </a:gdLst>
            <a:ahLst/>
            <a:cxnLst>
              <a:cxn ang="0">
                <a:pos x="connsiteX0" y="connsiteY0"/>
              </a:cxn>
              <a:cxn ang="0">
                <a:pos x="connsiteX1" y="connsiteY1"/>
              </a:cxn>
              <a:cxn ang="0">
                <a:pos x="connsiteX2" y="connsiteY2"/>
              </a:cxn>
              <a:cxn ang="0">
                <a:pos x="connsiteX3" y="connsiteY3"/>
              </a:cxn>
            </a:cxnLst>
            <a:rect l="l" t="t" r="r" b="b"/>
            <a:pathLst>
              <a:path w="1394896" h="815236">
                <a:moveTo>
                  <a:pt x="994944" y="0"/>
                </a:moveTo>
                <a:lnTo>
                  <a:pt x="0" y="0"/>
                </a:lnTo>
                <a:lnTo>
                  <a:pt x="0" y="815236"/>
                </a:lnTo>
                <a:lnTo>
                  <a:pt x="1394896" y="815236"/>
                </a:lnTo>
                <a:close/>
              </a:path>
            </a:pathLst>
          </a:custGeom>
          <a:gradFill flip="none" rotWithShape="1">
            <a:gsLst>
              <a:gs pos="100000">
                <a:schemeClr val="accent1">
                  <a:alpha val="90000"/>
                  <a:lumMod val="25000"/>
                  <a:lumOff val="75000"/>
                </a:schemeClr>
              </a:gs>
              <a:gs pos="0">
                <a:schemeClr val="accent1">
                  <a:alpha val="90000"/>
                  <a:lumMod val="5000"/>
                  <a:lumOff val="95000"/>
                </a:schemeClr>
              </a:gs>
            </a:gsLst>
            <a:lin ang="2700000" scaled="0"/>
            <a:tileRect/>
          </a:gradFill>
          <a:ln w="12700" cap="rnd" cmpd="sng" algn="ctr">
            <a:gradFill flip="none" rotWithShape="1">
              <a:gsLst>
                <a:gs pos="0">
                  <a:schemeClr val="accent1">
                    <a:lumMod val="0"/>
                    <a:lumOff val="100000"/>
                    <a:alpha val="0"/>
                  </a:schemeClr>
                </a:gs>
                <a:gs pos="100000">
                  <a:schemeClr val="accent1">
                    <a:lumMod val="0"/>
                    <a:lumOff val="100000"/>
                    <a:alpha val="90000"/>
                  </a:schemeClr>
                </a:gs>
              </a:gsLst>
              <a:lin ang="10800000" scaled="1"/>
              <a:tileRect/>
            </a:gradFill>
            <a:prstDash val="solid"/>
            <a:round/>
          </a:ln>
          <a:effectLst>
            <a:outerShdw blurRad="266700" dist="50800" dir="2700000" algn="tl" rotWithShape="0">
              <a:schemeClr val="accent1">
                <a:lumMod val="50000"/>
                <a:alpha val="1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a:solidFill>
                <a:srgbClr val="FFFFFF"/>
              </a:solidFill>
              <a:latin typeface="Arial"/>
              <a:sym typeface="Calibri"/>
            </a:endParaRPr>
          </a:p>
        </p:txBody>
      </p:sp>
      <p:sp>
        <p:nvSpPr>
          <p:cNvPr id="68" name="任意多边形: 形状 67">
            <a:extLst>
              <a:ext uri="{FF2B5EF4-FFF2-40B4-BE49-F238E27FC236}">
                <a16:creationId xmlns:a16="http://schemas.microsoft.com/office/drawing/2014/main" id="{2317FB1F-04AB-E179-5D02-7AE45294F9A6}"/>
              </a:ext>
            </a:extLst>
          </p:cNvPr>
          <p:cNvSpPr/>
          <p:nvPr/>
        </p:nvSpPr>
        <p:spPr>
          <a:xfrm>
            <a:off x="4728405" y="3594006"/>
            <a:ext cx="1772249" cy="256491"/>
          </a:xfrm>
          <a:custGeom>
            <a:avLst/>
            <a:gdLst>
              <a:gd name="connsiteX0" fmla="*/ 885944 w 1772249"/>
              <a:gd name="connsiteY0" fmla="*/ 0 h 256491"/>
              <a:gd name="connsiteX1" fmla="*/ 931943 w 1772249"/>
              <a:gd name="connsiteY1" fmla="*/ 362 h 256491"/>
              <a:gd name="connsiteX2" fmla="*/ 976856 w 1772249"/>
              <a:gd name="connsiteY2" fmla="*/ 1447 h 256491"/>
              <a:gd name="connsiteX3" fmla="*/ 1021044 w 1772249"/>
              <a:gd name="connsiteY3" fmla="*/ 3256 h 256491"/>
              <a:gd name="connsiteX4" fmla="*/ 1064871 w 1772249"/>
              <a:gd name="connsiteY4" fmla="*/ 5788 h 256491"/>
              <a:gd name="connsiteX5" fmla="*/ 1107611 w 1772249"/>
              <a:gd name="connsiteY5" fmla="*/ 8321 h 256491"/>
              <a:gd name="connsiteX6" fmla="*/ 1149626 w 1772249"/>
              <a:gd name="connsiteY6" fmla="*/ 11577 h 256491"/>
              <a:gd name="connsiteX7" fmla="*/ 1190917 w 1772249"/>
              <a:gd name="connsiteY7" fmla="*/ 15918 h 256491"/>
              <a:gd name="connsiteX8" fmla="*/ 1231121 w 1772249"/>
              <a:gd name="connsiteY8" fmla="*/ 19897 h 256491"/>
              <a:gd name="connsiteX9" fmla="*/ 1270239 w 1772249"/>
              <a:gd name="connsiteY9" fmla="*/ 24962 h 256491"/>
              <a:gd name="connsiteX10" fmla="*/ 1308632 w 1772249"/>
              <a:gd name="connsiteY10" fmla="*/ 30027 h 256491"/>
              <a:gd name="connsiteX11" fmla="*/ 1345939 w 1772249"/>
              <a:gd name="connsiteY11" fmla="*/ 35091 h 256491"/>
              <a:gd name="connsiteX12" fmla="*/ 1381434 w 1772249"/>
              <a:gd name="connsiteY12" fmla="*/ 40518 h 256491"/>
              <a:gd name="connsiteX13" fmla="*/ 1416206 w 1772249"/>
              <a:gd name="connsiteY13" fmla="*/ 46306 h 256491"/>
              <a:gd name="connsiteX14" fmla="*/ 1449890 w 1772249"/>
              <a:gd name="connsiteY14" fmla="*/ 52094 h 256491"/>
              <a:gd name="connsiteX15" fmla="*/ 1482126 w 1772249"/>
              <a:gd name="connsiteY15" fmla="*/ 58244 h 256491"/>
              <a:gd name="connsiteX16" fmla="*/ 1512551 w 1772249"/>
              <a:gd name="connsiteY16" fmla="*/ 64032 h 256491"/>
              <a:gd name="connsiteX17" fmla="*/ 1542252 w 1772249"/>
              <a:gd name="connsiteY17" fmla="*/ 70182 h 256491"/>
              <a:gd name="connsiteX18" fmla="*/ 1570141 w 1772249"/>
              <a:gd name="connsiteY18" fmla="*/ 75971 h 256491"/>
              <a:gd name="connsiteX19" fmla="*/ 1596220 w 1772249"/>
              <a:gd name="connsiteY19" fmla="*/ 82121 h 256491"/>
              <a:gd name="connsiteX20" fmla="*/ 1621211 w 1772249"/>
              <a:gd name="connsiteY20" fmla="*/ 87909 h 256491"/>
              <a:gd name="connsiteX21" fmla="*/ 1665762 w 1772249"/>
              <a:gd name="connsiteY21" fmla="*/ 98400 h 256491"/>
              <a:gd name="connsiteX22" fmla="*/ 1702707 w 1772249"/>
              <a:gd name="connsiteY22" fmla="*/ 108168 h 256491"/>
              <a:gd name="connsiteX23" fmla="*/ 1732407 w 1772249"/>
              <a:gd name="connsiteY23" fmla="*/ 116127 h 256491"/>
              <a:gd name="connsiteX24" fmla="*/ 1754501 w 1772249"/>
              <a:gd name="connsiteY24" fmla="*/ 122638 h 256491"/>
              <a:gd name="connsiteX25" fmla="*/ 1767541 w 1772249"/>
              <a:gd name="connsiteY25" fmla="*/ 126979 h 256491"/>
              <a:gd name="connsiteX26" fmla="*/ 1772249 w 1772249"/>
              <a:gd name="connsiteY26" fmla="*/ 128427 h 256491"/>
              <a:gd name="connsiteX27" fmla="*/ 1767541 w 1772249"/>
              <a:gd name="connsiteY27" fmla="*/ 129512 h 256491"/>
              <a:gd name="connsiteX28" fmla="*/ 1754501 w 1772249"/>
              <a:gd name="connsiteY28" fmla="*/ 133853 h 256491"/>
              <a:gd name="connsiteX29" fmla="*/ 1732407 w 1772249"/>
              <a:gd name="connsiteY29" fmla="*/ 140003 h 256491"/>
              <a:gd name="connsiteX30" fmla="*/ 1702707 w 1772249"/>
              <a:gd name="connsiteY30" fmla="*/ 148685 h 256491"/>
              <a:gd name="connsiteX31" fmla="*/ 1665762 w 1772249"/>
              <a:gd name="connsiteY31" fmla="*/ 158091 h 256491"/>
              <a:gd name="connsiteX32" fmla="*/ 1621211 w 1772249"/>
              <a:gd name="connsiteY32" fmla="*/ 168944 h 256491"/>
              <a:gd name="connsiteX33" fmla="*/ 1596220 w 1772249"/>
              <a:gd name="connsiteY33" fmla="*/ 174732 h 256491"/>
              <a:gd name="connsiteX34" fmla="*/ 1570141 w 1772249"/>
              <a:gd name="connsiteY34" fmla="*/ 180159 h 256491"/>
              <a:gd name="connsiteX35" fmla="*/ 1542252 w 1772249"/>
              <a:gd name="connsiteY35" fmla="*/ 186309 h 256491"/>
              <a:gd name="connsiteX36" fmla="*/ 1512551 w 1772249"/>
              <a:gd name="connsiteY36" fmla="*/ 192459 h 256491"/>
              <a:gd name="connsiteX37" fmla="*/ 1482126 w 1772249"/>
              <a:gd name="connsiteY37" fmla="*/ 198609 h 256491"/>
              <a:gd name="connsiteX38" fmla="*/ 1449890 w 1772249"/>
              <a:gd name="connsiteY38" fmla="*/ 204035 h 256491"/>
              <a:gd name="connsiteX39" fmla="*/ 1416206 w 1772249"/>
              <a:gd name="connsiteY39" fmla="*/ 210185 h 256491"/>
              <a:gd name="connsiteX40" fmla="*/ 1381434 w 1772249"/>
              <a:gd name="connsiteY40" fmla="*/ 215974 h 256491"/>
              <a:gd name="connsiteX41" fmla="*/ 1345939 w 1772249"/>
              <a:gd name="connsiteY41" fmla="*/ 221762 h 256491"/>
              <a:gd name="connsiteX42" fmla="*/ 1308632 w 1772249"/>
              <a:gd name="connsiteY42" fmla="*/ 226826 h 256491"/>
              <a:gd name="connsiteX43" fmla="*/ 1270239 w 1772249"/>
              <a:gd name="connsiteY43" fmla="*/ 231891 h 256491"/>
              <a:gd name="connsiteX44" fmla="*/ 1231121 w 1772249"/>
              <a:gd name="connsiteY44" fmla="*/ 236232 h 256491"/>
              <a:gd name="connsiteX45" fmla="*/ 1190917 w 1772249"/>
              <a:gd name="connsiteY45" fmla="*/ 240935 h 256491"/>
              <a:gd name="connsiteX46" fmla="*/ 1149626 w 1772249"/>
              <a:gd name="connsiteY46" fmla="*/ 244915 h 256491"/>
              <a:gd name="connsiteX47" fmla="*/ 1107611 w 1772249"/>
              <a:gd name="connsiteY47" fmla="*/ 248171 h 256491"/>
              <a:gd name="connsiteX48" fmla="*/ 1064871 w 1772249"/>
              <a:gd name="connsiteY48" fmla="*/ 251065 h 256491"/>
              <a:gd name="connsiteX49" fmla="*/ 1021044 w 1772249"/>
              <a:gd name="connsiteY49" fmla="*/ 253597 h 256491"/>
              <a:gd name="connsiteX50" fmla="*/ 976856 w 1772249"/>
              <a:gd name="connsiteY50" fmla="*/ 255044 h 256491"/>
              <a:gd name="connsiteX51" fmla="*/ 931943 w 1772249"/>
              <a:gd name="connsiteY51" fmla="*/ 256129 h 256491"/>
              <a:gd name="connsiteX52" fmla="*/ 885944 w 1772249"/>
              <a:gd name="connsiteY52" fmla="*/ 256491 h 256491"/>
              <a:gd name="connsiteX53" fmla="*/ 840668 w 1772249"/>
              <a:gd name="connsiteY53" fmla="*/ 256129 h 256491"/>
              <a:gd name="connsiteX54" fmla="*/ 795393 w 1772249"/>
              <a:gd name="connsiteY54" fmla="*/ 255044 h 256491"/>
              <a:gd name="connsiteX55" fmla="*/ 751567 w 1772249"/>
              <a:gd name="connsiteY55" fmla="*/ 253597 h 256491"/>
              <a:gd name="connsiteX56" fmla="*/ 707379 w 1772249"/>
              <a:gd name="connsiteY56" fmla="*/ 251065 h 256491"/>
              <a:gd name="connsiteX57" fmla="*/ 664639 w 1772249"/>
              <a:gd name="connsiteY57" fmla="*/ 248171 h 256491"/>
              <a:gd name="connsiteX58" fmla="*/ 622986 w 1772249"/>
              <a:gd name="connsiteY58" fmla="*/ 244915 h 256491"/>
              <a:gd name="connsiteX59" fmla="*/ 581333 w 1772249"/>
              <a:gd name="connsiteY59" fmla="*/ 240935 h 256491"/>
              <a:gd name="connsiteX60" fmla="*/ 541128 w 1772249"/>
              <a:gd name="connsiteY60" fmla="*/ 236232 h 256491"/>
              <a:gd name="connsiteX61" fmla="*/ 502011 w 1772249"/>
              <a:gd name="connsiteY61" fmla="*/ 231891 h 256491"/>
              <a:gd name="connsiteX62" fmla="*/ 463979 w 1772249"/>
              <a:gd name="connsiteY62" fmla="*/ 226826 h 256491"/>
              <a:gd name="connsiteX63" fmla="*/ 426673 w 1772249"/>
              <a:gd name="connsiteY63" fmla="*/ 221762 h 256491"/>
              <a:gd name="connsiteX64" fmla="*/ 390815 w 1772249"/>
              <a:gd name="connsiteY64" fmla="*/ 215974 h 256491"/>
              <a:gd name="connsiteX65" fmla="*/ 355681 w 1772249"/>
              <a:gd name="connsiteY65" fmla="*/ 210185 h 256491"/>
              <a:gd name="connsiteX66" fmla="*/ 322359 w 1772249"/>
              <a:gd name="connsiteY66" fmla="*/ 204035 h 256491"/>
              <a:gd name="connsiteX67" fmla="*/ 290123 w 1772249"/>
              <a:gd name="connsiteY67" fmla="*/ 198609 h 256491"/>
              <a:gd name="connsiteX68" fmla="*/ 259336 w 1772249"/>
              <a:gd name="connsiteY68" fmla="*/ 192459 h 256491"/>
              <a:gd name="connsiteX69" fmla="*/ 230360 w 1772249"/>
              <a:gd name="connsiteY69" fmla="*/ 186309 h 256491"/>
              <a:gd name="connsiteX70" fmla="*/ 202470 w 1772249"/>
              <a:gd name="connsiteY70" fmla="*/ 180159 h 256491"/>
              <a:gd name="connsiteX71" fmla="*/ 176030 w 1772249"/>
              <a:gd name="connsiteY71" fmla="*/ 174732 h 256491"/>
              <a:gd name="connsiteX72" fmla="*/ 151400 w 1772249"/>
              <a:gd name="connsiteY72" fmla="*/ 168944 h 256491"/>
              <a:gd name="connsiteX73" fmla="*/ 106849 w 1772249"/>
              <a:gd name="connsiteY73" fmla="*/ 158091 h 256491"/>
              <a:gd name="connsiteX74" fmla="*/ 69905 w 1772249"/>
              <a:gd name="connsiteY74" fmla="*/ 148685 h 256491"/>
              <a:gd name="connsiteX75" fmla="*/ 39842 w 1772249"/>
              <a:gd name="connsiteY75" fmla="*/ 140003 h 256491"/>
              <a:gd name="connsiteX76" fmla="*/ 18110 w 1772249"/>
              <a:gd name="connsiteY76" fmla="*/ 133853 h 256491"/>
              <a:gd name="connsiteX77" fmla="*/ 4709 w 1772249"/>
              <a:gd name="connsiteY77" fmla="*/ 129512 h 256491"/>
              <a:gd name="connsiteX78" fmla="*/ 0 w 1772249"/>
              <a:gd name="connsiteY78" fmla="*/ 128427 h 256491"/>
              <a:gd name="connsiteX79" fmla="*/ 4709 w 1772249"/>
              <a:gd name="connsiteY79" fmla="*/ 126979 h 256491"/>
              <a:gd name="connsiteX80" fmla="*/ 18110 w 1772249"/>
              <a:gd name="connsiteY80" fmla="*/ 122638 h 256491"/>
              <a:gd name="connsiteX81" fmla="*/ 39842 w 1772249"/>
              <a:gd name="connsiteY81" fmla="*/ 116127 h 256491"/>
              <a:gd name="connsiteX82" fmla="*/ 69905 w 1772249"/>
              <a:gd name="connsiteY82" fmla="*/ 108168 h 256491"/>
              <a:gd name="connsiteX83" fmla="*/ 106849 w 1772249"/>
              <a:gd name="connsiteY83" fmla="*/ 98400 h 256491"/>
              <a:gd name="connsiteX84" fmla="*/ 151400 w 1772249"/>
              <a:gd name="connsiteY84" fmla="*/ 87909 h 256491"/>
              <a:gd name="connsiteX85" fmla="*/ 176030 w 1772249"/>
              <a:gd name="connsiteY85" fmla="*/ 82121 h 256491"/>
              <a:gd name="connsiteX86" fmla="*/ 202470 w 1772249"/>
              <a:gd name="connsiteY86" fmla="*/ 75971 h 256491"/>
              <a:gd name="connsiteX87" fmla="*/ 230360 w 1772249"/>
              <a:gd name="connsiteY87" fmla="*/ 70182 h 256491"/>
              <a:gd name="connsiteX88" fmla="*/ 259336 w 1772249"/>
              <a:gd name="connsiteY88" fmla="*/ 64032 h 256491"/>
              <a:gd name="connsiteX89" fmla="*/ 290123 w 1772249"/>
              <a:gd name="connsiteY89" fmla="*/ 58244 h 256491"/>
              <a:gd name="connsiteX90" fmla="*/ 322359 w 1772249"/>
              <a:gd name="connsiteY90" fmla="*/ 52094 h 256491"/>
              <a:gd name="connsiteX91" fmla="*/ 355681 w 1772249"/>
              <a:gd name="connsiteY91" fmla="*/ 46306 h 256491"/>
              <a:gd name="connsiteX92" fmla="*/ 390815 w 1772249"/>
              <a:gd name="connsiteY92" fmla="*/ 40518 h 256491"/>
              <a:gd name="connsiteX93" fmla="*/ 426673 w 1772249"/>
              <a:gd name="connsiteY93" fmla="*/ 35091 h 256491"/>
              <a:gd name="connsiteX94" fmla="*/ 463979 w 1772249"/>
              <a:gd name="connsiteY94" fmla="*/ 30027 h 256491"/>
              <a:gd name="connsiteX95" fmla="*/ 502011 w 1772249"/>
              <a:gd name="connsiteY95" fmla="*/ 24962 h 256491"/>
              <a:gd name="connsiteX96" fmla="*/ 541128 w 1772249"/>
              <a:gd name="connsiteY96" fmla="*/ 19897 h 256491"/>
              <a:gd name="connsiteX97" fmla="*/ 581333 w 1772249"/>
              <a:gd name="connsiteY97" fmla="*/ 15918 h 256491"/>
              <a:gd name="connsiteX98" fmla="*/ 622986 w 1772249"/>
              <a:gd name="connsiteY98" fmla="*/ 11577 h 256491"/>
              <a:gd name="connsiteX99" fmla="*/ 664639 w 1772249"/>
              <a:gd name="connsiteY99" fmla="*/ 8321 h 256491"/>
              <a:gd name="connsiteX100" fmla="*/ 707379 w 1772249"/>
              <a:gd name="connsiteY100" fmla="*/ 5788 h 256491"/>
              <a:gd name="connsiteX101" fmla="*/ 751567 w 1772249"/>
              <a:gd name="connsiteY101" fmla="*/ 3256 h 256491"/>
              <a:gd name="connsiteX102" fmla="*/ 795393 w 1772249"/>
              <a:gd name="connsiteY102" fmla="*/ 1447 h 256491"/>
              <a:gd name="connsiteX103" fmla="*/ 840668 w 1772249"/>
              <a:gd name="connsiteY103" fmla="*/ 362 h 2564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Lst>
            <a:rect l="l" t="t" r="r" b="b"/>
            <a:pathLst>
              <a:path w="1772249" h="256491">
                <a:moveTo>
                  <a:pt x="885944" y="0"/>
                </a:moveTo>
                <a:lnTo>
                  <a:pt x="931943" y="362"/>
                </a:lnTo>
                <a:lnTo>
                  <a:pt x="976856" y="1447"/>
                </a:lnTo>
                <a:lnTo>
                  <a:pt x="1021044" y="3256"/>
                </a:lnTo>
                <a:lnTo>
                  <a:pt x="1064871" y="5788"/>
                </a:lnTo>
                <a:lnTo>
                  <a:pt x="1107611" y="8321"/>
                </a:lnTo>
                <a:lnTo>
                  <a:pt x="1149626" y="11577"/>
                </a:lnTo>
                <a:lnTo>
                  <a:pt x="1190917" y="15918"/>
                </a:lnTo>
                <a:lnTo>
                  <a:pt x="1231121" y="19897"/>
                </a:lnTo>
                <a:lnTo>
                  <a:pt x="1270239" y="24962"/>
                </a:lnTo>
                <a:lnTo>
                  <a:pt x="1308632" y="30027"/>
                </a:lnTo>
                <a:lnTo>
                  <a:pt x="1345939" y="35091"/>
                </a:lnTo>
                <a:lnTo>
                  <a:pt x="1381434" y="40518"/>
                </a:lnTo>
                <a:lnTo>
                  <a:pt x="1416206" y="46306"/>
                </a:lnTo>
                <a:lnTo>
                  <a:pt x="1449890" y="52094"/>
                </a:lnTo>
                <a:lnTo>
                  <a:pt x="1482126" y="58244"/>
                </a:lnTo>
                <a:lnTo>
                  <a:pt x="1512551" y="64032"/>
                </a:lnTo>
                <a:lnTo>
                  <a:pt x="1542252" y="70182"/>
                </a:lnTo>
                <a:lnTo>
                  <a:pt x="1570141" y="75971"/>
                </a:lnTo>
                <a:lnTo>
                  <a:pt x="1596220" y="82121"/>
                </a:lnTo>
                <a:lnTo>
                  <a:pt x="1621211" y="87909"/>
                </a:lnTo>
                <a:lnTo>
                  <a:pt x="1665762" y="98400"/>
                </a:lnTo>
                <a:lnTo>
                  <a:pt x="1702707" y="108168"/>
                </a:lnTo>
                <a:lnTo>
                  <a:pt x="1732407" y="116127"/>
                </a:lnTo>
                <a:lnTo>
                  <a:pt x="1754501" y="122638"/>
                </a:lnTo>
                <a:lnTo>
                  <a:pt x="1767541" y="126979"/>
                </a:lnTo>
                <a:lnTo>
                  <a:pt x="1772249" y="128427"/>
                </a:lnTo>
                <a:lnTo>
                  <a:pt x="1767541" y="129512"/>
                </a:lnTo>
                <a:lnTo>
                  <a:pt x="1754501" y="133853"/>
                </a:lnTo>
                <a:lnTo>
                  <a:pt x="1732407" y="140003"/>
                </a:lnTo>
                <a:lnTo>
                  <a:pt x="1702707" y="148685"/>
                </a:lnTo>
                <a:lnTo>
                  <a:pt x="1665762" y="158091"/>
                </a:lnTo>
                <a:lnTo>
                  <a:pt x="1621211" y="168944"/>
                </a:lnTo>
                <a:lnTo>
                  <a:pt x="1596220" y="174732"/>
                </a:lnTo>
                <a:lnTo>
                  <a:pt x="1570141" y="180159"/>
                </a:lnTo>
                <a:lnTo>
                  <a:pt x="1542252" y="186309"/>
                </a:lnTo>
                <a:lnTo>
                  <a:pt x="1512551" y="192459"/>
                </a:lnTo>
                <a:lnTo>
                  <a:pt x="1482126" y="198609"/>
                </a:lnTo>
                <a:lnTo>
                  <a:pt x="1449890" y="204035"/>
                </a:lnTo>
                <a:lnTo>
                  <a:pt x="1416206" y="210185"/>
                </a:lnTo>
                <a:lnTo>
                  <a:pt x="1381434" y="215974"/>
                </a:lnTo>
                <a:lnTo>
                  <a:pt x="1345939" y="221762"/>
                </a:lnTo>
                <a:lnTo>
                  <a:pt x="1308632" y="226826"/>
                </a:lnTo>
                <a:lnTo>
                  <a:pt x="1270239" y="231891"/>
                </a:lnTo>
                <a:lnTo>
                  <a:pt x="1231121" y="236232"/>
                </a:lnTo>
                <a:lnTo>
                  <a:pt x="1190917" y="240935"/>
                </a:lnTo>
                <a:lnTo>
                  <a:pt x="1149626" y="244915"/>
                </a:lnTo>
                <a:lnTo>
                  <a:pt x="1107611" y="248171"/>
                </a:lnTo>
                <a:lnTo>
                  <a:pt x="1064871" y="251065"/>
                </a:lnTo>
                <a:lnTo>
                  <a:pt x="1021044" y="253597"/>
                </a:lnTo>
                <a:lnTo>
                  <a:pt x="976856" y="255044"/>
                </a:lnTo>
                <a:lnTo>
                  <a:pt x="931943" y="256129"/>
                </a:lnTo>
                <a:lnTo>
                  <a:pt x="885944" y="256491"/>
                </a:lnTo>
                <a:lnTo>
                  <a:pt x="840668" y="256129"/>
                </a:lnTo>
                <a:lnTo>
                  <a:pt x="795393" y="255044"/>
                </a:lnTo>
                <a:lnTo>
                  <a:pt x="751567" y="253597"/>
                </a:lnTo>
                <a:lnTo>
                  <a:pt x="707379" y="251065"/>
                </a:lnTo>
                <a:lnTo>
                  <a:pt x="664639" y="248171"/>
                </a:lnTo>
                <a:lnTo>
                  <a:pt x="622986" y="244915"/>
                </a:lnTo>
                <a:lnTo>
                  <a:pt x="581333" y="240935"/>
                </a:lnTo>
                <a:lnTo>
                  <a:pt x="541128" y="236232"/>
                </a:lnTo>
                <a:lnTo>
                  <a:pt x="502011" y="231891"/>
                </a:lnTo>
                <a:lnTo>
                  <a:pt x="463979" y="226826"/>
                </a:lnTo>
                <a:lnTo>
                  <a:pt x="426673" y="221762"/>
                </a:lnTo>
                <a:lnTo>
                  <a:pt x="390815" y="215974"/>
                </a:lnTo>
                <a:lnTo>
                  <a:pt x="355681" y="210185"/>
                </a:lnTo>
                <a:lnTo>
                  <a:pt x="322359" y="204035"/>
                </a:lnTo>
                <a:lnTo>
                  <a:pt x="290123" y="198609"/>
                </a:lnTo>
                <a:lnTo>
                  <a:pt x="259336" y="192459"/>
                </a:lnTo>
                <a:lnTo>
                  <a:pt x="230360" y="186309"/>
                </a:lnTo>
                <a:lnTo>
                  <a:pt x="202470" y="180159"/>
                </a:lnTo>
                <a:lnTo>
                  <a:pt x="176030" y="174732"/>
                </a:lnTo>
                <a:lnTo>
                  <a:pt x="151400" y="168944"/>
                </a:lnTo>
                <a:lnTo>
                  <a:pt x="106849" y="158091"/>
                </a:lnTo>
                <a:lnTo>
                  <a:pt x="69905" y="148685"/>
                </a:lnTo>
                <a:lnTo>
                  <a:pt x="39842" y="140003"/>
                </a:lnTo>
                <a:lnTo>
                  <a:pt x="18110" y="133853"/>
                </a:lnTo>
                <a:lnTo>
                  <a:pt x="4709" y="129512"/>
                </a:lnTo>
                <a:lnTo>
                  <a:pt x="0" y="128427"/>
                </a:lnTo>
                <a:lnTo>
                  <a:pt x="4709" y="126979"/>
                </a:lnTo>
                <a:lnTo>
                  <a:pt x="18110" y="122638"/>
                </a:lnTo>
                <a:lnTo>
                  <a:pt x="39842" y="116127"/>
                </a:lnTo>
                <a:lnTo>
                  <a:pt x="69905" y="108168"/>
                </a:lnTo>
                <a:lnTo>
                  <a:pt x="106849" y="98400"/>
                </a:lnTo>
                <a:lnTo>
                  <a:pt x="151400" y="87909"/>
                </a:lnTo>
                <a:lnTo>
                  <a:pt x="176030" y="82121"/>
                </a:lnTo>
                <a:lnTo>
                  <a:pt x="202470" y="75971"/>
                </a:lnTo>
                <a:lnTo>
                  <a:pt x="230360" y="70182"/>
                </a:lnTo>
                <a:lnTo>
                  <a:pt x="259336" y="64032"/>
                </a:lnTo>
                <a:lnTo>
                  <a:pt x="290123" y="58244"/>
                </a:lnTo>
                <a:lnTo>
                  <a:pt x="322359" y="52094"/>
                </a:lnTo>
                <a:lnTo>
                  <a:pt x="355681" y="46306"/>
                </a:lnTo>
                <a:lnTo>
                  <a:pt x="390815" y="40518"/>
                </a:lnTo>
                <a:lnTo>
                  <a:pt x="426673" y="35091"/>
                </a:lnTo>
                <a:lnTo>
                  <a:pt x="463979" y="30027"/>
                </a:lnTo>
                <a:lnTo>
                  <a:pt x="502011" y="24962"/>
                </a:lnTo>
                <a:lnTo>
                  <a:pt x="541128" y="19897"/>
                </a:lnTo>
                <a:lnTo>
                  <a:pt x="581333" y="15918"/>
                </a:lnTo>
                <a:lnTo>
                  <a:pt x="622986" y="11577"/>
                </a:lnTo>
                <a:lnTo>
                  <a:pt x="664639" y="8321"/>
                </a:lnTo>
                <a:lnTo>
                  <a:pt x="707379" y="5788"/>
                </a:lnTo>
                <a:lnTo>
                  <a:pt x="751567" y="3256"/>
                </a:lnTo>
                <a:lnTo>
                  <a:pt x="795393" y="1447"/>
                </a:lnTo>
                <a:lnTo>
                  <a:pt x="840668" y="362"/>
                </a:lnTo>
                <a:close/>
              </a:path>
            </a:pathLst>
          </a:custGeom>
          <a:gradFill flip="none" rotWithShape="1">
            <a:gsLst>
              <a:gs pos="100000">
                <a:schemeClr val="accent1">
                  <a:lumMod val="100000"/>
                </a:schemeClr>
              </a:gs>
              <a:gs pos="0">
                <a:schemeClr val="accent1">
                  <a:lumMod val="55000"/>
                  <a:lumOff val="45000"/>
                </a:schemeClr>
              </a:gs>
            </a:gsLst>
            <a:lin ang="2700000" scaled="1"/>
            <a:tileRect/>
          </a:gradFill>
          <a:ln w="25400">
            <a:noFill/>
          </a:ln>
          <a:effectLst>
            <a:outerShdw blurRad="254000" dist="177800" dir="2700000" algn="tl" rotWithShape="0">
              <a:schemeClr val="accent1">
                <a:alpha val="20000"/>
              </a:schemeClr>
            </a:outerShdw>
          </a:effectLst>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485899" tIns="63500" rIns="1485901" bIns="63500" numCol="1" spcCol="1270" anchor="ctr" anchorCtr="0">
            <a:noAutofit/>
          </a:bodyPr>
          <a:lstStyle/>
          <a:p>
            <a:pPr algn="ctr" defTabSz="2222500">
              <a:lnSpc>
                <a:spcPct val="90000"/>
              </a:lnSpc>
              <a:spcBef>
                <a:spcPct val="0"/>
              </a:spcBef>
              <a:spcAft>
                <a:spcPct val="35000"/>
              </a:spcAft>
            </a:pPr>
            <a:endParaRPr sz="3200" dirty="0">
              <a:solidFill>
                <a:prstClr val="white"/>
              </a:solidFill>
              <a:latin typeface="等线" panose="020F0502020204030204"/>
              <a:ea typeface="等线" panose="02010600030101010101" pitchFamily="2" charset="-122"/>
              <a:sym typeface="Calibri"/>
            </a:endParaRPr>
          </a:p>
        </p:txBody>
      </p:sp>
      <p:sp>
        <p:nvSpPr>
          <p:cNvPr id="67" name="任意多边形: 形状 66">
            <a:extLst>
              <a:ext uri="{FF2B5EF4-FFF2-40B4-BE49-F238E27FC236}">
                <a16:creationId xmlns:a16="http://schemas.microsoft.com/office/drawing/2014/main" id="{F8BFD530-629D-E80A-04B5-77E8CD7AD818}"/>
              </a:ext>
            </a:extLst>
          </p:cNvPr>
          <p:cNvSpPr/>
          <p:nvPr/>
        </p:nvSpPr>
        <p:spPr>
          <a:xfrm>
            <a:off x="4236703" y="2606645"/>
            <a:ext cx="2744594" cy="226060"/>
          </a:xfrm>
          <a:custGeom>
            <a:avLst/>
            <a:gdLst>
              <a:gd name="connsiteX0" fmla="*/ 1372116 w 2744594"/>
              <a:gd name="connsiteY0" fmla="*/ 0 h 226060"/>
              <a:gd name="connsiteX1" fmla="*/ 1442732 w 2744594"/>
              <a:gd name="connsiteY1" fmla="*/ 361 h 226060"/>
              <a:gd name="connsiteX2" fmla="*/ 1512623 w 2744594"/>
              <a:gd name="connsiteY2" fmla="*/ 1083 h 226060"/>
              <a:gd name="connsiteX3" fmla="*/ 1581066 w 2744594"/>
              <a:gd name="connsiteY3" fmla="*/ 2528 h 226060"/>
              <a:gd name="connsiteX4" fmla="*/ 1649147 w 2744594"/>
              <a:gd name="connsiteY4" fmla="*/ 4695 h 226060"/>
              <a:gd name="connsiteX5" fmla="*/ 1715417 w 2744594"/>
              <a:gd name="connsiteY5" fmla="*/ 7222 h 226060"/>
              <a:gd name="connsiteX6" fmla="*/ 1780238 w 2744594"/>
              <a:gd name="connsiteY6" fmla="*/ 10111 h 226060"/>
              <a:gd name="connsiteX7" fmla="*/ 1843973 w 2744594"/>
              <a:gd name="connsiteY7" fmla="*/ 13361 h 226060"/>
              <a:gd name="connsiteX8" fmla="*/ 1906622 w 2744594"/>
              <a:gd name="connsiteY8" fmla="*/ 17334 h 226060"/>
              <a:gd name="connsiteX9" fmla="*/ 1967460 w 2744594"/>
              <a:gd name="connsiteY9" fmla="*/ 21306 h 226060"/>
              <a:gd name="connsiteX10" fmla="*/ 2026488 w 2744594"/>
              <a:gd name="connsiteY10" fmla="*/ 26001 h 226060"/>
              <a:gd name="connsiteX11" fmla="*/ 2084066 w 2744594"/>
              <a:gd name="connsiteY11" fmla="*/ 30334 h 226060"/>
              <a:gd name="connsiteX12" fmla="*/ 2139473 w 2744594"/>
              <a:gd name="connsiteY12" fmla="*/ 35390 h 226060"/>
              <a:gd name="connsiteX13" fmla="*/ 2193430 w 2744594"/>
              <a:gd name="connsiteY13" fmla="*/ 40806 h 226060"/>
              <a:gd name="connsiteX14" fmla="*/ 2245215 w 2744594"/>
              <a:gd name="connsiteY14" fmla="*/ 45501 h 226060"/>
              <a:gd name="connsiteX15" fmla="*/ 2294827 w 2744594"/>
              <a:gd name="connsiteY15" fmla="*/ 50918 h 226060"/>
              <a:gd name="connsiteX16" fmla="*/ 2342628 w 2744594"/>
              <a:gd name="connsiteY16" fmla="*/ 56335 h 226060"/>
              <a:gd name="connsiteX17" fmla="*/ 2388257 w 2744594"/>
              <a:gd name="connsiteY17" fmla="*/ 61390 h 226060"/>
              <a:gd name="connsiteX18" fmla="*/ 2430988 w 2744594"/>
              <a:gd name="connsiteY18" fmla="*/ 66807 h 226060"/>
              <a:gd name="connsiteX19" fmla="*/ 2471909 w 2744594"/>
              <a:gd name="connsiteY19" fmla="*/ 72224 h 226060"/>
              <a:gd name="connsiteX20" fmla="*/ 2510295 w 2744594"/>
              <a:gd name="connsiteY20" fmla="*/ 76918 h 226060"/>
              <a:gd name="connsiteX21" fmla="*/ 2579100 w 2744594"/>
              <a:gd name="connsiteY21" fmla="*/ 87030 h 226060"/>
              <a:gd name="connsiteX22" fmla="*/ 2636679 w 2744594"/>
              <a:gd name="connsiteY22" fmla="*/ 95335 h 226060"/>
              <a:gd name="connsiteX23" fmla="*/ 2683032 w 2744594"/>
              <a:gd name="connsiteY23" fmla="*/ 102558 h 226060"/>
              <a:gd name="connsiteX24" fmla="*/ 2716710 w 2744594"/>
              <a:gd name="connsiteY24" fmla="*/ 107974 h 226060"/>
              <a:gd name="connsiteX25" fmla="*/ 2737714 w 2744594"/>
              <a:gd name="connsiteY25" fmla="*/ 111947 h 226060"/>
              <a:gd name="connsiteX26" fmla="*/ 2744594 w 2744594"/>
              <a:gd name="connsiteY26" fmla="*/ 113030 h 226060"/>
              <a:gd name="connsiteX27" fmla="*/ 2737714 w 2744594"/>
              <a:gd name="connsiteY27" fmla="*/ 114113 h 226060"/>
              <a:gd name="connsiteX28" fmla="*/ 2716710 w 2744594"/>
              <a:gd name="connsiteY28" fmla="*/ 117725 h 226060"/>
              <a:gd name="connsiteX29" fmla="*/ 2683032 w 2744594"/>
              <a:gd name="connsiteY29" fmla="*/ 123503 h 226060"/>
              <a:gd name="connsiteX30" fmla="*/ 2636679 w 2744594"/>
              <a:gd name="connsiteY30" fmla="*/ 130725 h 226060"/>
              <a:gd name="connsiteX31" fmla="*/ 2579100 w 2744594"/>
              <a:gd name="connsiteY31" fmla="*/ 139031 h 226060"/>
              <a:gd name="connsiteX32" fmla="*/ 2510295 w 2744594"/>
              <a:gd name="connsiteY32" fmla="*/ 148781 h 226060"/>
              <a:gd name="connsiteX33" fmla="*/ 2471909 w 2744594"/>
              <a:gd name="connsiteY33" fmla="*/ 153836 h 226060"/>
              <a:gd name="connsiteX34" fmla="*/ 2430988 w 2744594"/>
              <a:gd name="connsiteY34" fmla="*/ 159253 h 226060"/>
              <a:gd name="connsiteX35" fmla="*/ 2388257 w 2744594"/>
              <a:gd name="connsiteY35" fmla="*/ 164309 h 226060"/>
              <a:gd name="connsiteX36" fmla="*/ 2342628 w 2744594"/>
              <a:gd name="connsiteY36" fmla="*/ 169726 h 226060"/>
              <a:gd name="connsiteX37" fmla="*/ 2294827 w 2744594"/>
              <a:gd name="connsiteY37" fmla="*/ 175142 h 226060"/>
              <a:gd name="connsiteX38" fmla="*/ 2245215 w 2744594"/>
              <a:gd name="connsiteY38" fmla="*/ 180198 h 226060"/>
              <a:gd name="connsiteX39" fmla="*/ 2193430 w 2744594"/>
              <a:gd name="connsiteY39" fmla="*/ 185254 h 226060"/>
              <a:gd name="connsiteX40" fmla="*/ 2139473 w 2744594"/>
              <a:gd name="connsiteY40" fmla="*/ 190671 h 226060"/>
              <a:gd name="connsiteX41" fmla="*/ 2084066 w 2744594"/>
              <a:gd name="connsiteY41" fmla="*/ 195365 h 226060"/>
              <a:gd name="connsiteX42" fmla="*/ 2026488 w 2744594"/>
              <a:gd name="connsiteY42" fmla="*/ 200060 h 226060"/>
              <a:gd name="connsiteX43" fmla="*/ 1967460 w 2744594"/>
              <a:gd name="connsiteY43" fmla="*/ 204393 h 226060"/>
              <a:gd name="connsiteX44" fmla="*/ 1906622 w 2744594"/>
              <a:gd name="connsiteY44" fmla="*/ 208726 h 226060"/>
              <a:gd name="connsiteX45" fmla="*/ 1843973 w 2744594"/>
              <a:gd name="connsiteY45" fmla="*/ 212338 h 226060"/>
              <a:gd name="connsiteX46" fmla="*/ 1780238 w 2744594"/>
              <a:gd name="connsiteY46" fmla="*/ 215949 h 226060"/>
              <a:gd name="connsiteX47" fmla="*/ 1715417 w 2744594"/>
              <a:gd name="connsiteY47" fmla="*/ 218838 h 226060"/>
              <a:gd name="connsiteX48" fmla="*/ 1649147 w 2744594"/>
              <a:gd name="connsiteY48" fmla="*/ 221004 h 226060"/>
              <a:gd name="connsiteX49" fmla="*/ 1581066 w 2744594"/>
              <a:gd name="connsiteY49" fmla="*/ 223532 h 226060"/>
              <a:gd name="connsiteX50" fmla="*/ 1512623 w 2744594"/>
              <a:gd name="connsiteY50" fmla="*/ 224977 h 226060"/>
              <a:gd name="connsiteX51" fmla="*/ 1442732 w 2744594"/>
              <a:gd name="connsiteY51" fmla="*/ 225699 h 226060"/>
              <a:gd name="connsiteX52" fmla="*/ 1372116 w 2744594"/>
              <a:gd name="connsiteY52" fmla="*/ 226060 h 226060"/>
              <a:gd name="connsiteX53" fmla="*/ 1301863 w 2744594"/>
              <a:gd name="connsiteY53" fmla="*/ 225699 h 226060"/>
              <a:gd name="connsiteX54" fmla="*/ 1231971 w 2744594"/>
              <a:gd name="connsiteY54" fmla="*/ 224977 h 226060"/>
              <a:gd name="connsiteX55" fmla="*/ 1163166 w 2744594"/>
              <a:gd name="connsiteY55" fmla="*/ 223532 h 226060"/>
              <a:gd name="connsiteX56" fmla="*/ 1095810 w 2744594"/>
              <a:gd name="connsiteY56" fmla="*/ 221004 h 226060"/>
              <a:gd name="connsiteX57" fmla="*/ 1029540 w 2744594"/>
              <a:gd name="connsiteY57" fmla="*/ 218838 h 226060"/>
              <a:gd name="connsiteX58" fmla="*/ 964356 w 2744594"/>
              <a:gd name="connsiteY58" fmla="*/ 215949 h 226060"/>
              <a:gd name="connsiteX59" fmla="*/ 900621 w 2744594"/>
              <a:gd name="connsiteY59" fmla="*/ 212338 h 226060"/>
              <a:gd name="connsiteX60" fmla="*/ 838334 w 2744594"/>
              <a:gd name="connsiteY60" fmla="*/ 208726 h 226060"/>
              <a:gd name="connsiteX61" fmla="*/ 777496 w 2744594"/>
              <a:gd name="connsiteY61" fmla="*/ 204393 h 226060"/>
              <a:gd name="connsiteX62" fmla="*/ 718469 w 2744594"/>
              <a:gd name="connsiteY62" fmla="*/ 200060 h 226060"/>
              <a:gd name="connsiteX63" fmla="*/ 660890 w 2744594"/>
              <a:gd name="connsiteY63" fmla="*/ 195365 h 226060"/>
              <a:gd name="connsiteX64" fmla="*/ 605122 w 2744594"/>
              <a:gd name="connsiteY64" fmla="*/ 190671 h 226060"/>
              <a:gd name="connsiteX65" fmla="*/ 551164 w 2744594"/>
              <a:gd name="connsiteY65" fmla="*/ 185254 h 226060"/>
              <a:gd name="connsiteX66" fmla="*/ 499742 w 2744594"/>
              <a:gd name="connsiteY66" fmla="*/ 180198 h 226060"/>
              <a:gd name="connsiteX67" fmla="*/ 449405 w 2744594"/>
              <a:gd name="connsiteY67" fmla="*/ 175142 h 226060"/>
              <a:gd name="connsiteX68" fmla="*/ 402328 w 2744594"/>
              <a:gd name="connsiteY68" fmla="*/ 169726 h 226060"/>
              <a:gd name="connsiteX69" fmla="*/ 356700 w 2744594"/>
              <a:gd name="connsiteY69" fmla="*/ 164309 h 226060"/>
              <a:gd name="connsiteX70" fmla="*/ 313606 w 2744594"/>
              <a:gd name="connsiteY70" fmla="*/ 159253 h 226060"/>
              <a:gd name="connsiteX71" fmla="*/ 272685 w 2744594"/>
              <a:gd name="connsiteY71" fmla="*/ 153836 h 226060"/>
              <a:gd name="connsiteX72" fmla="*/ 234661 w 2744594"/>
              <a:gd name="connsiteY72" fmla="*/ 148781 h 226060"/>
              <a:gd name="connsiteX73" fmla="*/ 165856 w 2744594"/>
              <a:gd name="connsiteY73" fmla="*/ 139031 h 226060"/>
              <a:gd name="connsiteX74" fmla="*/ 107915 w 2744594"/>
              <a:gd name="connsiteY74" fmla="*/ 130725 h 226060"/>
              <a:gd name="connsiteX75" fmla="*/ 61925 w 2744594"/>
              <a:gd name="connsiteY75" fmla="*/ 123503 h 226060"/>
              <a:gd name="connsiteX76" fmla="*/ 27884 w 2744594"/>
              <a:gd name="connsiteY76" fmla="*/ 117725 h 226060"/>
              <a:gd name="connsiteX77" fmla="*/ 7243 w 2744594"/>
              <a:gd name="connsiteY77" fmla="*/ 114113 h 226060"/>
              <a:gd name="connsiteX78" fmla="*/ 0 w 2744594"/>
              <a:gd name="connsiteY78" fmla="*/ 113030 h 226060"/>
              <a:gd name="connsiteX79" fmla="*/ 7243 w 2744594"/>
              <a:gd name="connsiteY79" fmla="*/ 111947 h 226060"/>
              <a:gd name="connsiteX80" fmla="*/ 27884 w 2744594"/>
              <a:gd name="connsiteY80" fmla="*/ 107974 h 226060"/>
              <a:gd name="connsiteX81" fmla="*/ 61925 w 2744594"/>
              <a:gd name="connsiteY81" fmla="*/ 102558 h 226060"/>
              <a:gd name="connsiteX82" fmla="*/ 107915 w 2744594"/>
              <a:gd name="connsiteY82" fmla="*/ 95335 h 226060"/>
              <a:gd name="connsiteX83" fmla="*/ 165856 w 2744594"/>
              <a:gd name="connsiteY83" fmla="*/ 87030 h 226060"/>
              <a:gd name="connsiteX84" fmla="*/ 234661 w 2744594"/>
              <a:gd name="connsiteY84" fmla="*/ 76918 h 226060"/>
              <a:gd name="connsiteX85" fmla="*/ 272685 w 2744594"/>
              <a:gd name="connsiteY85" fmla="*/ 72224 h 226060"/>
              <a:gd name="connsiteX86" fmla="*/ 313606 w 2744594"/>
              <a:gd name="connsiteY86" fmla="*/ 66807 h 226060"/>
              <a:gd name="connsiteX87" fmla="*/ 356700 w 2744594"/>
              <a:gd name="connsiteY87" fmla="*/ 61390 h 226060"/>
              <a:gd name="connsiteX88" fmla="*/ 402328 w 2744594"/>
              <a:gd name="connsiteY88" fmla="*/ 56335 h 226060"/>
              <a:gd name="connsiteX89" fmla="*/ 449405 w 2744594"/>
              <a:gd name="connsiteY89" fmla="*/ 50918 h 226060"/>
              <a:gd name="connsiteX90" fmla="*/ 499742 w 2744594"/>
              <a:gd name="connsiteY90" fmla="*/ 45501 h 226060"/>
              <a:gd name="connsiteX91" fmla="*/ 551164 w 2744594"/>
              <a:gd name="connsiteY91" fmla="*/ 40806 h 226060"/>
              <a:gd name="connsiteX92" fmla="*/ 605122 w 2744594"/>
              <a:gd name="connsiteY92" fmla="*/ 35390 h 226060"/>
              <a:gd name="connsiteX93" fmla="*/ 660890 w 2744594"/>
              <a:gd name="connsiteY93" fmla="*/ 30334 h 226060"/>
              <a:gd name="connsiteX94" fmla="*/ 718469 w 2744594"/>
              <a:gd name="connsiteY94" fmla="*/ 26001 h 226060"/>
              <a:gd name="connsiteX95" fmla="*/ 777496 w 2744594"/>
              <a:gd name="connsiteY95" fmla="*/ 21306 h 226060"/>
              <a:gd name="connsiteX96" fmla="*/ 838334 w 2744594"/>
              <a:gd name="connsiteY96" fmla="*/ 17334 h 226060"/>
              <a:gd name="connsiteX97" fmla="*/ 900621 w 2744594"/>
              <a:gd name="connsiteY97" fmla="*/ 13361 h 226060"/>
              <a:gd name="connsiteX98" fmla="*/ 964356 w 2744594"/>
              <a:gd name="connsiteY98" fmla="*/ 10111 h 226060"/>
              <a:gd name="connsiteX99" fmla="*/ 1029540 w 2744594"/>
              <a:gd name="connsiteY99" fmla="*/ 7222 h 226060"/>
              <a:gd name="connsiteX100" fmla="*/ 1095810 w 2744594"/>
              <a:gd name="connsiteY100" fmla="*/ 4695 h 226060"/>
              <a:gd name="connsiteX101" fmla="*/ 1163166 w 2744594"/>
              <a:gd name="connsiteY101" fmla="*/ 2528 h 226060"/>
              <a:gd name="connsiteX102" fmla="*/ 1231971 w 2744594"/>
              <a:gd name="connsiteY102" fmla="*/ 1083 h 226060"/>
              <a:gd name="connsiteX103" fmla="*/ 1301863 w 2744594"/>
              <a:gd name="connsiteY103" fmla="*/ 361 h 226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Lst>
            <a:rect l="l" t="t" r="r" b="b"/>
            <a:pathLst>
              <a:path w="2744594" h="226060">
                <a:moveTo>
                  <a:pt x="1372116" y="0"/>
                </a:moveTo>
                <a:lnTo>
                  <a:pt x="1442732" y="361"/>
                </a:lnTo>
                <a:lnTo>
                  <a:pt x="1512623" y="1083"/>
                </a:lnTo>
                <a:lnTo>
                  <a:pt x="1581066" y="2528"/>
                </a:lnTo>
                <a:lnTo>
                  <a:pt x="1649147" y="4695"/>
                </a:lnTo>
                <a:lnTo>
                  <a:pt x="1715417" y="7222"/>
                </a:lnTo>
                <a:lnTo>
                  <a:pt x="1780238" y="10111"/>
                </a:lnTo>
                <a:lnTo>
                  <a:pt x="1843973" y="13361"/>
                </a:lnTo>
                <a:lnTo>
                  <a:pt x="1906622" y="17334"/>
                </a:lnTo>
                <a:lnTo>
                  <a:pt x="1967460" y="21306"/>
                </a:lnTo>
                <a:lnTo>
                  <a:pt x="2026488" y="26001"/>
                </a:lnTo>
                <a:lnTo>
                  <a:pt x="2084066" y="30334"/>
                </a:lnTo>
                <a:lnTo>
                  <a:pt x="2139473" y="35390"/>
                </a:lnTo>
                <a:lnTo>
                  <a:pt x="2193430" y="40806"/>
                </a:lnTo>
                <a:lnTo>
                  <a:pt x="2245215" y="45501"/>
                </a:lnTo>
                <a:lnTo>
                  <a:pt x="2294827" y="50918"/>
                </a:lnTo>
                <a:lnTo>
                  <a:pt x="2342628" y="56335"/>
                </a:lnTo>
                <a:lnTo>
                  <a:pt x="2388257" y="61390"/>
                </a:lnTo>
                <a:lnTo>
                  <a:pt x="2430988" y="66807"/>
                </a:lnTo>
                <a:lnTo>
                  <a:pt x="2471909" y="72224"/>
                </a:lnTo>
                <a:lnTo>
                  <a:pt x="2510295" y="76918"/>
                </a:lnTo>
                <a:lnTo>
                  <a:pt x="2579100" y="87030"/>
                </a:lnTo>
                <a:lnTo>
                  <a:pt x="2636679" y="95335"/>
                </a:lnTo>
                <a:lnTo>
                  <a:pt x="2683032" y="102558"/>
                </a:lnTo>
                <a:lnTo>
                  <a:pt x="2716710" y="107974"/>
                </a:lnTo>
                <a:lnTo>
                  <a:pt x="2737714" y="111947"/>
                </a:lnTo>
                <a:lnTo>
                  <a:pt x="2744594" y="113030"/>
                </a:lnTo>
                <a:lnTo>
                  <a:pt x="2737714" y="114113"/>
                </a:lnTo>
                <a:lnTo>
                  <a:pt x="2716710" y="117725"/>
                </a:lnTo>
                <a:lnTo>
                  <a:pt x="2683032" y="123503"/>
                </a:lnTo>
                <a:lnTo>
                  <a:pt x="2636679" y="130725"/>
                </a:lnTo>
                <a:lnTo>
                  <a:pt x="2579100" y="139031"/>
                </a:lnTo>
                <a:lnTo>
                  <a:pt x="2510295" y="148781"/>
                </a:lnTo>
                <a:lnTo>
                  <a:pt x="2471909" y="153836"/>
                </a:lnTo>
                <a:lnTo>
                  <a:pt x="2430988" y="159253"/>
                </a:lnTo>
                <a:lnTo>
                  <a:pt x="2388257" y="164309"/>
                </a:lnTo>
                <a:lnTo>
                  <a:pt x="2342628" y="169726"/>
                </a:lnTo>
                <a:lnTo>
                  <a:pt x="2294827" y="175142"/>
                </a:lnTo>
                <a:lnTo>
                  <a:pt x="2245215" y="180198"/>
                </a:lnTo>
                <a:lnTo>
                  <a:pt x="2193430" y="185254"/>
                </a:lnTo>
                <a:lnTo>
                  <a:pt x="2139473" y="190671"/>
                </a:lnTo>
                <a:lnTo>
                  <a:pt x="2084066" y="195365"/>
                </a:lnTo>
                <a:lnTo>
                  <a:pt x="2026488" y="200060"/>
                </a:lnTo>
                <a:lnTo>
                  <a:pt x="1967460" y="204393"/>
                </a:lnTo>
                <a:lnTo>
                  <a:pt x="1906622" y="208726"/>
                </a:lnTo>
                <a:lnTo>
                  <a:pt x="1843973" y="212338"/>
                </a:lnTo>
                <a:lnTo>
                  <a:pt x="1780238" y="215949"/>
                </a:lnTo>
                <a:lnTo>
                  <a:pt x="1715417" y="218838"/>
                </a:lnTo>
                <a:lnTo>
                  <a:pt x="1649147" y="221004"/>
                </a:lnTo>
                <a:lnTo>
                  <a:pt x="1581066" y="223532"/>
                </a:lnTo>
                <a:lnTo>
                  <a:pt x="1512623" y="224977"/>
                </a:lnTo>
                <a:lnTo>
                  <a:pt x="1442732" y="225699"/>
                </a:lnTo>
                <a:lnTo>
                  <a:pt x="1372116" y="226060"/>
                </a:lnTo>
                <a:lnTo>
                  <a:pt x="1301863" y="225699"/>
                </a:lnTo>
                <a:lnTo>
                  <a:pt x="1231971" y="224977"/>
                </a:lnTo>
                <a:lnTo>
                  <a:pt x="1163166" y="223532"/>
                </a:lnTo>
                <a:lnTo>
                  <a:pt x="1095810" y="221004"/>
                </a:lnTo>
                <a:lnTo>
                  <a:pt x="1029540" y="218838"/>
                </a:lnTo>
                <a:lnTo>
                  <a:pt x="964356" y="215949"/>
                </a:lnTo>
                <a:lnTo>
                  <a:pt x="900621" y="212338"/>
                </a:lnTo>
                <a:lnTo>
                  <a:pt x="838334" y="208726"/>
                </a:lnTo>
                <a:lnTo>
                  <a:pt x="777496" y="204393"/>
                </a:lnTo>
                <a:lnTo>
                  <a:pt x="718469" y="200060"/>
                </a:lnTo>
                <a:lnTo>
                  <a:pt x="660890" y="195365"/>
                </a:lnTo>
                <a:lnTo>
                  <a:pt x="605122" y="190671"/>
                </a:lnTo>
                <a:lnTo>
                  <a:pt x="551164" y="185254"/>
                </a:lnTo>
                <a:lnTo>
                  <a:pt x="499742" y="180198"/>
                </a:lnTo>
                <a:lnTo>
                  <a:pt x="449405" y="175142"/>
                </a:lnTo>
                <a:lnTo>
                  <a:pt x="402328" y="169726"/>
                </a:lnTo>
                <a:lnTo>
                  <a:pt x="356700" y="164309"/>
                </a:lnTo>
                <a:lnTo>
                  <a:pt x="313606" y="159253"/>
                </a:lnTo>
                <a:lnTo>
                  <a:pt x="272685" y="153836"/>
                </a:lnTo>
                <a:lnTo>
                  <a:pt x="234661" y="148781"/>
                </a:lnTo>
                <a:lnTo>
                  <a:pt x="165856" y="139031"/>
                </a:lnTo>
                <a:lnTo>
                  <a:pt x="107915" y="130725"/>
                </a:lnTo>
                <a:lnTo>
                  <a:pt x="61925" y="123503"/>
                </a:lnTo>
                <a:lnTo>
                  <a:pt x="27884" y="117725"/>
                </a:lnTo>
                <a:lnTo>
                  <a:pt x="7243" y="114113"/>
                </a:lnTo>
                <a:lnTo>
                  <a:pt x="0" y="113030"/>
                </a:lnTo>
                <a:lnTo>
                  <a:pt x="7243" y="111947"/>
                </a:lnTo>
                <a:lnTo>
                  <a:pt x="27884" y="107974"/>
                </a:lnTo>
                <a:lnTo>
                  <a:pt x="61925" y="102558"/>
                </a:lnTo>
                <a:lnTo>
                  <a:pt x="107915" y="95335"/>
                </a:lnTo>
                <a:lnTo>
                  <a:pt x="165856" y="87030"/>
                </a:lnTo>
                <a:lnTo>
                  <a:pt x="234661" y="76918"/>
                </a:lnTo>
                <a:lnTo>
                  <a:pt x="272685" y="72224"/>
                </a:lnTo>
                <a:lnTo>
                  <a:pt x="313606" y="66807"/>
                </a:lnTo>
                <a:lnTo>
                  <a:pt x="356700" y="61390"/>
                </a:lnTo>
                <a:lnTo>
                  <a:pt x="402328" y="56335"/>
                </a:lnTo>
                <a:lnTo>
                  <a:pt x="449405" y="50918"/>
                </a:lnTo>
                <a:lnTo>
                  <a:pt x="499742" y="45501"/>
                </a:lnTo>
                <a:lnTo>
                  <a:pt x="551164" y="40806"/>
                </a:lnTo>
                <a:lnTo>
                  <a:pt x="605122" y="35390"/>
                </a:lnTo>
                <a:lnTo>
                  <a:pt x="660890" y="30334"/>
                </a:lnTo>
                <a:lnTo>
                  <a:pt x="718469" y="26001"/>
                </a:lnTo>
                <a:lnTo>
                  <a:pt x="777496" y="21306"/>
                </a:lnTo>
                <a:lnTo>
                  <a:pt x="838334" y="17334"/>
                </a:lnTo>
                <a:lnTo>
                  <a:pt x="900621" y="13361"/>
                </a:lnTo>
                <a:lnTo>
                  <a:pt x="964356" y="10111"/>
                </a:lnTo>
                <a:lnTo>
                  <a:pt x="1029540" y="7222"/>
                </a:lnTo>
                <a:lnTo>
                  <a:pt x="1095810" y="4695"/>
                </a:lnTo>
                <a:lnTo>
                  <a:pt x="1163166" y="2528"/>
                </a:lnTo>
                <a:lnTo>
                  <a:pt x="1231971" y="1083"/>
                </a:lnTo>
                <a:lnTo>
                  <a:pt x="1301863" y="361"/>
                </a:lnTo>
                <a:close/>
              </a:path>
            </a:pathLst>
          </a:custGeom>
          <a:gradFill flip="none" rotWithShape="1">
            <a:gsLst>
              <a:gs pos="100000">
                <a:schemeClr val="accent1">
                  <a:lumMod val="80000"/>
                  <a:lumOff val="20000"/>
                </a:schemeClr>
              </a:gs>
              <a:gs pos="0">
                <a:schemeClr val="accent1">
                  <a:lumMod val="35000"/>
                  <a:lumOff val="65000"/>
                </a:schemeClr>
              </a:gs>
            </a:gsLst>
            <a:lin ang="2700000" scaled="1"/>
            <a:tileRect/>
          </a:gradFill>
          <a:ln w="25400">
            <a:noFill/>
          </a:ln>
          <a:effectLst>
            <a:outerShdw blurRad="254000" dist="177800" dir="2700000" algn="tl" rotWithShape="0">
              <a:schemeClr val="accent1">
                <a:alpha val="20000"/>
              </a:schemeClr>
            </a:outerShdw>
          </a:effectLst>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485899" tIns="63500" rIns="1485901" bIns="63500" numCol="1" spcCol="1270" anchor="ctr" anchorCtr="0">
            <a:noAutofit/>
          </a:bodyPr>
          <a:lstStyle/>
          <a:p>
            <a:pPr algn="ctr" defTabSz="2222500">
              <a:lnSpc>
                <a:spcPct val="90000"/>
              </a:lnSpc>
              <a:spcBef>
                <a:spcPct val="0"/>
              </a:spcBef>
              <a:spcAft>
                <a:spcPct val="35000"/>
              </a:spcAft>
            </a:pPr>
            <a:endParaRPr sz="3200" dirty="0">
              <a:solidFill>
                <a:prstClr val="white"/>
              </a:solidFill>
              <a:latin typeface="等线" panose="020F0502020204030204"/>
              <a:ea typeface="等线" panose="02010600030101010101" pitchFamily="2" charset="-122"/>
              <a:sym typeface="Calibri"/>
            </a:endParaRPr>
          </a:p>
        </p:txBody>
      </p:sp>
      <p:sp>
        <p:nvSpPr>
          <p:cNvPr id="59" name="任意多边形: 形状 58">
            <a:extLst>
              <a:ext uri="{FF2B5EF4-FFF2-40B4-BE49-F238E27FC236}">
                <a16:creationId xmlns:a16="http://schemas.microsoft.com/office/drawing/2014/main" id="{58E08C64-70E4-A95D-AEFB-9656E7219765}"/>
              </a:ext>
            </a:extLst>
          </p:cNvPr>
          <p:cNvSpPr/>
          <p:nvPr/>
        </p:nvSpPr>
        <p:spPr>
          <a:xfrm>
            <a:off x="4243556" y="2715724"/>
            <a:ext cx="2744594" cy="950609"/>
          </a:xfrm>
          <a:custGeom>
            <a:avLst/>
            <a:gdLst>
              <a:gd name="connsiteX0" fmla="*/ 0 w 2744594"/>
              <a:gd name="connsiteY0" fmla="*/ 0 h 950609"/>
              <a:gd name="connsiteX1" fmla="*/ 7243 w 2744594"/>
              <a:gd name="connsiteY1" fmla="*/ 1088 h 950609"/>
              <a:gd name="connsiteX2" fmla="*/ 27884 w 2744594"/>
              <a:gd name="connsiteY2" fmla="*/ 4713 h 950609"/>
              <a:gd name="connsiteX3" fmla="*/ 61925 w 2744594"/>
              <a:gd name="connsiteY3" fmla="*/ 10514 h 950609"/>
              <a:gd name="connsiteX4" fmla="*/ 107915 w 2744594"/>
              <a:gd name="connsiteY4" fmla="*/ 17765 h 950609"/>
              <a:gd name="connsiteX5" fmla="*/ 165856 w 2744594"/>
              <a:gd name="connsiteY5" fmla="*/ 26104 h 950609"/>
              <a:gd name="connsiteX6" fmla="*/ 234661 w 2744594"/>
              <a:gd name="connsiteY6" fmla="*/ 35893 h 950609"/>
              <a:gd name="connsiteX7" fmla="*/ 272685 w 2744594"/>
              <a:gd name="connsiteY7" fmla="*/ 40968 h 950609"/>
              <a:gd name="connsiteX8" fmla="*/ 313606 w 2744594"/>
              <a:gd name="connsiteY8" fmla="*/ 46407 h 950609"/>
              <a:gd name="connsiteX9" fmla="*/ 356700 w 2744594"/>
              <a:gd name="connsiteY9" fmla="*/ 51482 h 950609"/>
              <a:gd name="connsiteX10" fmla="*/ 402328 w 2744594"/>
              <a:gd name="connsiteY10" fmla="*/ 56921 h 950609"/>
              <a:gd name="connsiteX11" fmla="*/ 449405 w 2744594"/>
              <a:gd name="connsiteY11" fmla="*/ 62359 h 950609"/>
              <a:gd name="connsiteX12" fmla="*/ 499741 w 2744594"/>
              <a:gd name="connsiteY12" fmla="*/ 67435 h 950609"/>
              <a:gd name="connsiteX13" fmla="*/ 551164 w 2744594"/>
              <a:gd name="connsiteY13" fmla="*/ 72510 h 950609"/>
              <a:gd name="connsiteX14" fmla="*/ 605122 w 2744594"/>
              <a:gd name="connsiteY14" fmla="*/ 77949 h 950609"/>
              <a:gd name="connsiteX15" fmla="*/ 660890 w 2744594"/>
              <a:gd name="connsiteY15" fmla="*/ 82662 h 950609"/>
              <a:gd name="connsiteX16" fmla="*/ 718469 w 2744594"/>
              <a:gd name="connsiteY16" fmla="*/ 87375 h 950609"/>
              <a:gd name="connsiteX17" fmla="*/ 777496 w 2744594"/>
              <a:gd name="connsiteY17" fmla="*/ 91726 h 950609"/>
              <a:gd name="connsiteX18" fmla="*/ 838334 w 2744594"/>
              <a:gd name="connsiteY18" fmla="*/ 96076 h 950609"/>
              <a:gd name="connsiteX19" fmla="*/ 900621 w 2744594"/>
              <a:gd name="connsiteY19" fmla="*/ 99702 h 950609"/>
              <a:gd name="connsiteX20" fmla="*/ 964356 w 2744594"/>
              <a:gd name="connsiteY20" fmla="*/ 103327 h 950609"/>
              <a:gd name="connsiteX21" fmla="*/ 1029540 w 2744594"/>
              <a:gd name="connsiteY21" fmla="*/ 106228 h 950609"/>
              <a:gd name="connsiteX22" fmla="*/ 1095810 w 2744594"/>
              <a:gd name="connsiteY22" fmla="*/ 108403 h 950609"/>
              <a:gd name="connsiteX23" fmla="*/ 1163166 w 2744594"/>
              <a:gd name="connsiteY23" fmla="*/ 110941 h 950609"/>
              <a:gd name="connsiteX24" fmla="*/ 1231971 w 2744594"/>
              <a:gd name="connsiteY24" fmla="*/ 112391 h 950609"/>
              <a:gd name="connsiteX25" fmla="*/ 1301863 w 2744594"/>
              <a:gd name="connsiteY25" fmla="*/ 113116 h 950609"/>
              <a:gd name="connsiteX26" fmla="*/ 1372116 w 2744594"/>
              <a:gd name="connsiteY26" fmla="*/ 113479 h 950609"/>
              <a:gd name="connsiteX27" fmla="*/ 1442732 w 2744594"/>
              <a:gd name="connsiteY27" fmla="*/ 113116 h 950609"/>
              <a:gd name="connsiteX28" fmla="*/ 1512623 w 2744594"/>
              <a:gd name="connsiteY28" fmla="*/ 112391 h 950609"/>
              <a:gd name="connsiteX29" fmla="*/ 1581066 w 2744594"/>
              <a:gd name="connsiteY29" fmla="*/ 110941 h 950609"/>
              <a:gd name="connsiteX30" fmla="*/ 1649147 w 2744594"/>
              <a:gd name="connsiteY30" fmla="*/ 108403 h 950609"/>
              <a:gd name="connsiteX31" fmla="*/ 1715417 w 2744594"/>
              <a:gd name="connsiteY31" fmla="*/ 106228 h 950609"/>
              <a:gd name="connsiteX32" fmla="*/ 1780238 w 2744594"/>
              <a:gd name="connsiteY32" fmla="*/ 103327 h 950609"/>
              <a:gd name="connsiteX33" fmla="*/ 1843973 w 2744594"/>
              <a:gd name="connsiteY33" fmla="*/ 99702 h 950609"/>
              <a:gd name="connsiteX34" fmla="*/ 1906622 w 2744594"/>
              <a:gd name="connsiteY34" fmla="*/ 96076 h 950609"/>
              <a:gd name="connsiteX35" fmla="*/ 1967460 w 2744594"/>
              <a:gd name="connsiteY35" fmla="*/ 91726 h 950609"/>
              <a:gd name="connsiteX36" fmla="*/ 2026488 w 2744594"/>
              <a:gd name="connsiteY36" fmla="*/ 87375 h 950609"/>
              <a:gd name="connsiteX37" fmla="*/ 2084066 w 2744594"/>
              <a:gd name="connsiteY37" fmla="*/ 82662 h 950609"/>
              <a:gd name="connsiteX38" fmla="*/ 2139473 w 2744594"/>
              <a:gd name="connsiteY38" fmla="*/ 77949 h 950609"/>
              <a:gd name="connsiteX39" fmla="*/ 2193430 w 2744594"/>
              <a:gd name="connsiteY39" fmla="*/ 72510 h 950609"/>
              <a:gd name="connsiteX40" fmla="*/ 2245215 w 2744594"/>
              <a:gd name="connsiteY40" fmla="*/ 67435 h 950609"/>
              <a:gd name="connsiteX41" fmla="*/ 2294827 w 2744594"/>
              <a:gd name="connsiteY41" fmla="*/ 62359 h 950609"/>
              <a:gd name="connsiteX42" fmla="*/ 2342628 w 2744594"/>
              <a:gd name="connsiteY42" fmla="*/ 56921 h 950609"/>
              <a:gd name="connsiteX43" fmla="*/ 2388257 w 2744594"/>
              <a:gd name="connsiteY43" fmla="*/ 51482 h 950609"/>
              <a:gd name="connsiteX44" fmla="*/ 2430988 w 2744594"/>
              <a:gd name="connsiteY44" fmla="*/ 46407 h 950609"/>
              <a:gd name="connsiteX45" fmla="*/ 2471909 w 2744594"/>
              <a:gd name="connsiteY45" fmla="*/ 40968 h 950609"/>
              <a:gd name="connsiteX46" fmla="*/ 2510295 w 2744594"/>
              <a:gd name="connsiteY46" fmla="*/ 35893 h 950609"/>
              <a:gd name="connsiteX47" fmla="*/ 2579100 w 2744594"/>
              <a:gd name="connsiteY47" fmla="*/ 26104 h 950609"/>
              <a:gd name="connsiteX48" fmla="*/ 2636679 w 2744594"/>
              <a:gd name="connsiteY48" fmla="*/ 17765 h 950609"/>
              <a:gd name="connsiteX49" fmla="*/ 2683032 w 2744594"/>
              <a:gd name="connsiteY49" fmla="*/ 10514 h 950609"/>
              <a:gd name="connsiteX50" fmla="*/ 2716710 w 2744594"/>
              <a:gd name="connsiteY50" fmla="*/ 4713 h 950609"/>
              <a:gd name="connsiteX51" fmla="*/ 2737714 w 2744594"/>
              <a:gd name="connsiteY51" fmla="*/ 1088 h 950609"/>
              <a:gd name="connsiteX52" fmla="*/ 2744594 w 2744594"/>
              <a:gd name="connsiteY52" fmla="*/ 0 h 950609"/>
              <a:gd name="connsiteX53" fmla="*/ 2345163 w 2744594"/>
              <a:gd name="connsiteY53" fmla="*/ 824804 h 950609"/>
              <a:gd name="connsiteX54" fmla="*/ 2339731 w 2744594"/>
              <a:gd name="connsiteY54" fmla="*/ 825892 h 950609"/>
              <a:gd name="connsiteX55" fmla="*/ 2325246 w 2744594"/>
              <a:gd name="connsiteY55" fmla="*/ 829880 h 950609"/>
              <a:gd name="connsiteX56" fmla="*/ 2300983 w 2744594"/>
              <a:gd name="connsiteY56" fmla="*/ 836043 h 950609"/>
              <a:gd name="connsiteX57" fmla="*/ 2268391 w 2744594"/>
              <a:gd name="connsiteY57" fmla="*/ 844019 h 950609"/>
              <a:gd name="connsiteX58" fmla="*/ 2227470 w 2744594"/>
              <a:gd name="connsiteY58" fmla="*/ 853808 h 950609"/>
              <a:gd name="connsiteX59" fmla="*/ 2178945 w 2744594"/>
              <a:gd name="connsiteY59" fmla="*/ 864685 h 950609"/>
              <a:gd name="connsiteX60" fmla="*/ 2151785 w 2744594"/>
              <a:gd name="connsiteY60" fmla="*/ 870123 h 950609"/>
              <a:gd name="connsiteX61" fmla="*/ 2122814 w 2744594"/>
              <a:gd name="connsiteY61" fmla="*/ 875924 h 950609"/>
              <a:gd name="connsiteX62" fmla="*/ 2092396 w 2744594"/>
              <a:gd name="connsiteY62" fmla="*/ 881724 h 950609"/>
              <a:gd name="connsiteX63" fmla="*/ 2060166 w 2744594"/>
              <a:gd name="connsiteY63" fmla="*/ 887888 h 950609"/>
              <a:gd name="connsiteX64" fmla="*/ 2026488 w 2744594"/>
              <a:gd name="connsiteY64" fmla="*/ 893326 h 950609"/>
              <a:gd name="connsiteX65" fmla="*/ 1991361 w 2744594"/>
              <a:gd name="connsiteY65" fmla="*/ 899489 h 950609"/>
              <a:gd name="connsiteX66" fmla="*/ 1954423 w 2744594"/>
              <a:gd name="connsiteY66" fmla="*/ 905290 h 950609"/>
              <a:gd name="connsiteX67" fmla="*/ 1916038 w 2744594"/>
              <a:gd name="connsiteY67" fmla="*/ 910729 h 950609"/>
              <a:gd name="connsiteX68" fmla="*/ 1876565 w 2744594"/>
              <a:gd name="connsiteY68" fmla="*/ 916167 h 950609"/>
              <a:gd name="connsiteX69" fmla="*/ 1836006 w 2744594"/>
              <a:gd name="connsiteY69" fmla="*/ 921605 h 950609"/>
              <a:gd name="connsiteX70" fmla="*/ 1793999 w 2744594"/>
              <a:gd name="connsiteY70" fmla="*/ 926318 h 950609"/>
              <a:gd name="connsiteX71" fmla="*/ 1750906 w 2744594"/>
              <a:gd name="connsiteY71" fmla="*/ 931031 h 950609"/>
              <a:gd name="connsiteX72" fmla="*/ 1706726 w 2744594"/>
              <a:gd name="connsiteY72" fmla="*/ 935382 h 950609"/>
              <a:gd name="connsiteX73" fmla="*/ 1661459 w 2744594"/>
              <a:gd name="connsiteY73" fmla="*/ 939008 h 950609"/>
              <a:gd name="connsiteX74" fmla="*/ 1615468 w 2744594"/>
              <a:gd name="connsiteY74" fmla="*/ 942270 h 950609"/>
              <a:gd name="connsiteX75" fmla="*/ 1568391 w 2744594"/>
              <a:gd name="connsiteY75" fmla="*/ 945533 h 950609"/>
              <a:gd name="connsiteX76" fmla="*/ 1520590 w 2744594"/>
              <a:gd name="connsiteY76" fmla="*/ 947709 h 950609"/>
              <a:gd name="connsiteX77" fmla="*/ 1471702 w 2744594"/>
              <a:gd name="connsiteY77" fmla="*/ 949159 h 950609"/>
              <a:gd name="connsiteX78" fmla="*/ 1422452 w 2744594"/>
              <a:gd name="connsiteY78" fmla="*/ 950247 h 950609"/>
              <a:gd name="connsiteX79" fmla="*/ 1372116 w 2744594"/>
              <a:gd name="connsiteY79" fmla="*/ 950609 h 950609"/>
              <a:gd name="connsiteX80" fmla="*/ 1322142 w 2744594"/>
              <a:gd name="connsiteY80" fmla="*/ 950247 h 950609"/>
              <a:gd name="connsiteX81" fmla="*/ 1272892 w 2744594"/>
              <a:gd name="connsiteY81" fmla="*/ 949159 h 950609"/>
              <a:gd name="connsiteX82" fmla="*/ 1224367 w 2744594"/>
              <a:gd name="connsiteY82" fmla="*/ 947709 h 950609"/>
              <a:gd name="connsiteX83" fmla="*/ 1176203 w 2744594"/>
              <a:gd name="connsiteY83" fmla="*/ 945533 h 950609"/>
              <a:gd name="connsiteX84" fmla="*/ 1129126 w 2744594"/>
              <a:gd name="connsiteY84" fmla="*/ 942270 h 950609"/>
              <a:gd name="connsiteX85" fmla="*/ 1083135 w 2744594"/>
              <a:gd name="connsiteY85" fmla="*/ 939008 h 950609"/>
              <a:gd name="connsiteX86" fmla="*/ 1038231 w 2744594"/>
              <a:gd name="connsiteY86" fmla="*/ 935382 h 950609"/>
              <a:gd name="connsiteX87" fmla="*/ 993689 w 2744594"/>
              <a:gd name="connsiteY87" fmla="*/ 931031 h 950609"/>
              <a:gd name="connsiteX88" fmla="*/ 950595 w 2744594"/>
              <a:gd name="connsiteY88" fmla="*/ 926318 h 950609"/>
              <a:gd name="connsiteX89" fmla="*/ 908950 w 2744594"/>
              <a:gd name="connsiteY89" fmla="*/ 921605 h 950609"/>
              <a:gd name="connsiteX90" fmla="*/ 868391 w 2744594"/>
              <a:gd name="connsiteY90" fmla="*/ 916167 h 950609"/>
              <a:gd name="connsiteX91" fmla="*/ 828557 w 2744594"/>
              <a:gd name="connsiteY91" fmla="*/ 910729 h 950609"/>
              <a:gd name="connsiteX92" fmla="*/ 790533 w 2744594"/>
              <a:gd name="connsiteY92" fmla="*/ 905290 h 950609"/>
              <a:gd name="connsiteX93" fmla="*/ 753596 w 2744594"/>
              <a:gd name="connsiteY93" fmla="*/ 899489 h 950609"/>
              <a:gd name="connsiteX94" fmla="*/ 718469 w 2744594"/>
              <a:gd name="connsiteY94" fmla="*/ 893326 h 950609"/>
              <a:gd name="connsiteX95" fmla="*/ 684791 w 2744594"/>
              <a:gd name="connsiteY95" fmla="*/ 887888 h 950609"/>
              <a:gd name="connsiteX96" fmla="*/ 652561 w 2744594"/>
              <a:gd name="connsiteY96" fmla="*/ 881724 h 950609"/>
              <a:gd name="connsiteX97" fmla="*/ 621780 w 2744594"/>
              <a:gd name="connsiteY97" fmla="*/ 875924 h 950609"/>
              <a:gd name="connsiteX98" fmla="*/ 592809 w 2744594"/>
              <a:gd name="connsiteY98" fmla="*/ 870123 h 950609"/>
              <a:gd name="connsiteX99" fmla="*/ 566012 w 2744594"/>
              <a:gd name="connsiteY99" fmla="*/ 864685 h 950609"/>
              <a:gd name="connsiteX100" fmla="*/ 517124 w 2744594"/>
              <a:gd name="connsiteY100" fmla="*/ 853808 h 950609"/>
              <a:gd name="connsiteX101" fmla="*/ 476203 w 2744594"/>
              <a:gd name="connsiteY101" fmla="*/ 844019 h 950609"/>
              <a:gd name="connsiteX102" fmla="*/ 443611 w 2744594"/>
              <a:gd name="connsiteY102" fmla="*/ 836043 h 950609"/>
              <a:gd name="connsiteX103" fmla="*/ 419710 w 2744594"/>
              <a:gd name="connsiteY103" fmla="*/ 829880 h 950609"/>
              <a:gd name="connsiteX104" fmla="*/ 404863 w 2744594"/>
              <a:gd name="connsiteY104" fmla="*/ 825892 h 950609"/>
              <a:gd name="connsiteX105" fmla="*/ 399793 w 2744594"/>
              <a:gd name="connsiteY105" fmla="*/ 824804 h 95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Lst>
            <a:rect l="l" t="t" r="r" b="b"/>
            <a:pathLst>
              <a:path w="2744594" h="950609">
                <a:moveTo>
                  <a:pt x="0" y="0"/>
                </a:moveTo>
                <a:lnTo>
                  <a:pt x="7243" y="1088"/>
                </a:lnTo>
                <a:lnTo>
                  <a:pt x="27884" y="4713"/>
                </a:lnTo>
                <a:lnTo>
                  <a:pt x="61925" y="10514"/>
                </a:lnTo>
                <a:lnTo>
                  <a:pt x="107915" y="17765"/>
                </a:lnTo>
                <a:lnTo>
                  <a:pt x="165856" y="26104"/>
                </a:lnTo>
                <a:lnTo>
                  <a:pt x="234661" y="35893"/>
                </a:lnTo>
                <a:lnTo>
                  <a:pt x="272685" y="40968"/>
                </a:lnTo>
                <a:lnTo>
                  <a:pt x="313606" y="46407"/>
                </a:lnTo>
                <a:lnTo>
                  <a:pt x="356700" y="51482"/>
                </a:lnTo>
                <a:lnTo>
                  <a:pt x="402328" y="56921"/>
                </a:lnTo>
                <a:lnTo>
                  <a:pt x="449405" y="62359"/>
                </a:lnTo>
                <a:lnTo>
                  <a:pt x="499741" y="67435"/>
                </a:lnTo>
                <a:lnTo>
                  <a:pt x="551164" y="72510"/>
                </a:lnTo>
                <a:lnTo>
                  <a:pt x="605122" y="77949"/>
                </a:lnTo>
                <a:lnTo>
                  <a:pt x="660890" y="82662"/>
                </a:lnTo>
                <a:lnTo>
                  <a:pt x="718469" y="87375"/>
                </a:lnTo>
                <a:lnTo>
                  <a:pt x="777496" y="91726"/>
                </a:lnTo>
                <a:lnTo>
                  <a:pt x="838334" y="96076"/>
                </a:lnTo>
                <a:lnTo>
                  <a:pt x="900621" y="99702"/>
                </a:lnTo>
                <a:lnTo>
                  <a:pt x="964356" y="103327"/>
                </a:lnTo>
                <a:lnTo>
                  <a:pt x="1029540" y="106228"/>
                </a:lnTo>
                <a:lnTo>
                  <a:pt x="1095810" y="108403"/>
                </a:lnTo>
                <a:lnTo>
                  <a:pt x="1163166" y="110941"/>
                </a:lnTo>
                <a:lnTo>
                  <a:pt x="1231971" y="112391"/>
                </a:lnTo>
                <a:lnTo>
                  <a:pt x="1301863" y="113116"/>
                </a:lnTo>
                <a:lnTo>
                  <a:pt x="1372116" y="113479"/>
                </a:lnTo>
                <a:lnTo>
                  <a:pt x="1442732" y="113116"/>
                </a:lnTo>
                <a:lnTo>
                  <a:pt x="1512623" y="112391"/>
                </a:lnTo>
                <a:lnTo>
                  <a:pt x="1581066" y="110941"/>
                </a:lnTo>
                <a:lnTo>
                  <a:pt x="1649147" y="108403"/>
                </a:lnTo>
                <a:lnTo>
                  <a:pt x="1715417" y="106228"/>
                </a:lnTo>
                <a:lnTo>
                  <a:pt x="1780238" y="103327"/>
                </a:lnTo>
                <a:lnTo>
                  <a:pt x="1843973" y="99702"/>
                </a:lnTo>
                <a:lnTo>
                  <a:pt x="1906622" y="96076"/>
                </a:lnTo>
                <a:lnTo>
                  <a:pt x="1967460" y="91726"/>
                </a:lnTo>
                <a:lnTo>
                  <a:pt x="2026488" y="87375"/>
                </a:lnTo>
                <a:lnTo>
                  <a:pt x="2084066" y="82662"/>
                </a:lnTo>
                <a:lnTo>
                  <a:pt x="2139473" y="77949"/>
                </a:lnTo>
                <a:lnTo>
                  <a:pt x="2193430" y="72510"/>
                </a:lnTo>
                <a:lnTo>
                  <a:pt x="2245215" y="67435"/>
                </a:lnTo>
                <a:lnTo>
                  <a:pt x="2294827" y="62359"/>
                </a:lnTo>
                <a:lnTo>
                  <a:pt x="2342628" y="56921"/>
                </a:lnTo>
                <a:lnTo>
                  <a:pt x="2388257" y="51482"/>
                </a:lnTo>
                <a:lnTo>
                  <a:pt x="2430988" y="46407"/>
                </a:lnTo>
                <a:lnTo>
                  <a:pt x="2471909" y="40968"/>
                </a:lnTo>
                <a:lnTo>
                  <a:pt x="2510295" y="35893"/>
                </a:lnTo>
                <a:lnTo>
                  <a:pt x="2579100" y="26104"/>
                </a:lnTo>
                <a:lnTo>
                  <a:pt x="2636679" y="17765"/>
                </a:lnTo>
                <a:lnTo>
                  <a:pt x="2683032" y="10514"/>
                </a:lnTo>
                <a:lnTo>
                  <a:pt x="2716710" y="4713"/>
                </a:lnTo>
                <a:lnTo>
                  <a:pt x="2737714" y="1088"/>
                </a:lnTo>
                <a:lnTo>
                  <a:pt x="2744594" y="0"/>
                </a:lnTo>
                <a:lnTo>
                  <a:pt x="2345163" y="824804"/>
                </a:lnTo>
                <a:lnTo>
                  <a:pt x="2339731" y="825892"/>
                </a:lnTo>
                <a:lnTo>
                  <a:pt x="2325246" y="829880"/>
                </a:lnTo>
                <a:lnTo>
                  <a:pt x="2300983" y="836043"/>
                </a:lnTo>
                <a:lnTo>
                  <a:pt x="2268391" y="844019"/>
                </a:lnTo>
                <a:lnTo>
                  <a:pt x="2227470" y="853808"/>
                </a:lnTo>
                <a:lnTo>
                  <a:pt x="2178945" y="864685"/>
                </a:lnTo>
                <a:lnTo>
                  <a:pt x="2151785" y="870123"/>
                </a:lnTo>
                <a:lnTo>
                  <a:pt x="2122814" y="875924"/>
                </a:lnTo>
                <a:lnTo>
                  <a:pt x="2092396" y="881724"/>
                </a:lnTo>
                <a:lnTo>
                  <a:pt x="2060166" y="887888"/>
                </a:lnTo>
                <a:lnTo>
                  <a:pt x="2026488" y="893326"/>
                </a:lnTo>
                <a:lnTo>
                  <a:pt x="1991361" y="899489"/>
                </a:lnTo>
                <a:lnTo>
                  <a:pt x="1954423" y="905290"/>
                </a:lnTo>
                <a:lnTo>
                  <a:pt x="1916038" y="910729"/>
                </a:lnTo>
                <a:lnTo>
                  <a:pt x="1876565" y="916167"/>
                </a:lnTo>
                <a:lnTo>
                  <a:pt x="1836006" y="921605"/>
                </a:lnTo>
                <a:lnTo>
                  <a:pt x="1793999" y="926318"/>
                </a:lnTo>
                <a:lnTo>
                  <a:pt x="1750906" y="931031"/>
                </a:lnTo>
                <a:lnTo>
                  <a:pt x="1706726" y="935382"/>
                </a:lnTo>
                <a:lnTo>
                  <a:pt x="1661459" y="939008"/>
                </a:lnTo>
                <a:lnTo>
                  <a:pt x="1615468" y="942270"/>
                </a:lnTo>
                <a:lnTo>
                  <a:pt x="1568391" y="945533"/>
                </a:lnTo>
                <a:lnTo>
                  <a:pt x="1520590" y="947709"/>
                </a:lnTo>
                <a:lnTo>
                  <a:pt x="1471702" y="949159"/>
                </a:lnTo>
                <a:lnTo>
                  <a:pt x="1422452" y="950247"/>
                </a:lnTo>
                <a:lnTo>
                  <a:pt x="1372116" y="950609"/>
                </a:lnTo>
                <a:lnTo>
                  <a:pt x="1322142" y="950247"/>
                </a:lnTo>
                <a:lnTo>
                  <a:pt x="1272892" y="949159"/>
                </a:lnTo>
                <a:lnTo>
                  <a:pt x="1224367" y="947709"/>
                </a:lnTo>
                <a:lnTo>
                  <a:pt x="1176203" y="945533"/>
                </a:lnTo>
                <a:lnTo>
                  <a:pt x="1129126" y="942270"/>
                </a:lnTo>
                <a:lnTo>
                  <a:pt x="1083135" y="939008"/>
                </a:lnTo>
                <a:lnTo>
                  <a:pt x="1038231" y="935382"/>
                </a:lnTo>
                <a:lnTo>
                  <a:pt x="993689" y="931031"/>
                </a:lnTo>
                <a:lnTo>
                  <a:pt x="950595" y="926318"/>
                </a:lnTo>
                <a:lnTo>
                  <a:pt x="908950" y="921605"/>
                </a:lnTo>
                <a:lnTo>
                  <a:pt x="868391" y="916167"/>
                </a:lnTo>
                <a:lnTo>
                  <a:pt x="828557" y="910729"/>
                </a:lnTo>
                <a:lnTo>
                  <a:pt x="790533" y="905290"/>
                </a:lnTo>
                <a:lnTo>
                  <a:pt x="753596" y="899489"/>
                </a:lnTo>
                <a:lnTo>
                  <a:pt x="718469" y="893326"/>
                </a:lnTo>
                <a:lnTo>
                  <a:pt x="684791" y="887888"/>
                </a:lnTo>
                <a:lnTo>
                  <a:pt x="652561" y="881724"/>
                </a:lnTo>
                <a:lnTo>
                  <a:pt x="621780" y="875924"/>
                </a:lnTo>
                <a:lnTo>
                  <a:pt x="592809" y="870123"/>
                </a:lnTo>
                <a:lnTo>
                  <a:pt x="566012" y="864685"/>
                </a:lnTo>
                <a:lnTo>
                  <a:pt x="517124" y="853808"/>
                </a:lnTo>
                <a:lnTo>
                  <a:pt x="476203" y="844019"/>
                </a:lnTo>
                <a:lnTo>
                  <a:pt x="443611" y="836043"/>
                </a:lnTo>
                <a:lnTo>
                  <a:pt x="419710" y="829880"/>
                </a:lnTo>
                <a:lnTo>
                  <a:pt x="404863" y="825892"/>
                </a:lnTo>
                <a:lnTo>
                  <a:pt x="399793" y="824804"/>
                </a:lnTo>
                <a:close/>
              </a:path>
            </a:pathLst>
          </a:custGeom>
          <a:gradFill flip="none" rotWithShape="1">
            <a:gsLst>
              <a:gs pos="0">
                <a:schemeClr val="accent1">
                  <a:lumMod val="55000"/>
                  <a:lumOff val="45000"/>
                </a:schemeClr>
              </a:gs>
              <a:gs pos="100000">
                <a:schemeClr val="accent1">
                  <a:lumMod val="90000"/>
                </a:schemeClr>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dirty="0">
              <a:solidFill>
                <a:srgbClr val="FFFFFF"/>
              </a:solidFill>
              <a:latin typeface="Arial"/>
              <a:sym typeface="Calibri"/>
            </a:endParaRPr>
          </a:p>
        </p:txBody>
      </p:sp>
      <p:sp>
        <p:nvSpPr>
          <p:cNvPr id="60" name="任意多边形: 形状 59">
            <a:extLst>
              <a:ext uri="{FF2B5EF4-FFF2-40B4-BE49-F238E27FC236}">
                <a16:creationId xmlns:a16="http://schemas.microsoft.com/office/drawing/2014/main" id="{5B8EFE0F-7E47-C5A4-1762-788766B53713}"/>
              </a:ext>
            </a:extLst>
          </p:cNvPr>
          <p:cNvSpPr/>
          <p:nvPr/>
        </p:nvSpPr>
        <p:spPr>
          <a:xfrm>
            <a:off x="3754209" y="1564915"/>
            <a:ext cx="3718388" cy="299965"/>
          </a:xfrm>
          <a:custGeom>
            <a:avLst/>
            <a:gdLst>
              <a:gd name="connsiteX0" fmla="*/ 1858832 w 3718388"/>
              <a:gd name="connsiteY0" fmla="*/ 0 h 299965"/>
              <a:gd name="connsiteX1" fmla="*/ 1954472 w 3718388"/>
              <a:gd name="connsiteY1" fmla="*/ 363 h 299965"/>
              <a:gd name="connsiteX2" fmla="*/ 2049026 w 3718388"/>
              <a:gd name="connsiteY2" fmla="*/ 1453 h 299965"/>
              <a:gd name="connsiteX3" fmla="*/ 2142493 w 3718388"/>
              <a:gd name="connsiteY3" fmla="*/ 3632 h 299965"/>
              <a:gd name="connsiteX4" fmla="*/ 2233786 w 3718388"/>
              <a:gd name="connsiteY4" fmla="*/ 6537 h 299965"/>
              <a:gd name="connsiteX5" fmla="*/ 2323630 w 3718388"/>
              <a:gd name="connsiteY5" fmla="*/ 9805 h 299965"/>
              <a:gd name="connsiteX6" fmla="*/ 2412025 w 3718388"/>
              <a:gd name="connsiteY6" fmla="*/ 13800 h 299965"/>
              <a:gd name="connsiteX7" fmla="*/ 2498247 w 3718388"/>
              <a:gd name="connsiteY7" fmla="*/ 18158 h 299965"/>
              <a:gd name="connsiteX8" fmla="*/ 2583019 w 3718388"/>
              <a:gd name="connsiteY8" fmla="*/ 23605 h 299965"/>
              <a:gd name="connsiteX9" fmla="*/ 2665255 w 3718388"/>
              <a:gd name="connsiteY9" fmla="*/ 29052 h 299965"/>
              <a:gd name="connsiteX10" fmla="*/ 2745318 w 3718388"/>
              <a:gd name="connsiteY10" fmla="*/ 34500 h 299965"/>
              <a:gd name="connsiteX11" fmla="*/ 2822845 w 3718388"/>
              <a:gd name="connsiteY11" fmla="*/ 41036 h 299965"/>
              <a:gd name="connsiteX12" fmla="*/ 2898560 w 3718388"/>
              <a:gd name="connsiteY12" fmla="*/ 47573 h 299965"/>
              <a:gd name="connsiteX13" fmla="*/ 2971378 w 3718388"/>
              <a:gd name="connsiteY13" fmla="*/ 54110 h 299965"/>
              <a:gd name="connsiteX14" fmla="*/ 3042021 w 3718388"/>
              <a:gd name="connsiteY14" fmla="*/ 61010 h 299965"/>
              <a:gd name="connsiteX15" fmla="*/ 3109042 w 3718388"/>
              <a:gd name="connsiteY15" fmla="*/ 67910 h 299965"/>
              <a:gd name="connsiteX16" fmla="*/ 3173889 w 3718388"/>
              <a:gd name="connsiteY16" fmla="*/ 74810 h 299965"/>
              <a:gd name="connsiteX17" fmla="*/ 3235476 w 3718388"/>
              <a:gd name="connsiteY17" fmla="*/ 82073 h 299965"/>
              <a:gd name="connsiteX18" fmla="*/ 3293802 w 3718388"/>
              <a:gd name="connsiteY18" fmla="*/ 88973 h 299965"/>
              <a:gd name="connsiteX19" fmla="*/ 3348868 w 3718388"/>
              <a:gd name="connsiteY19" fmla="*/ 95873 h 299965"/>
              <a:gd name="connsiteX20" fmla="*/ 3400673 w 3718388"/>
              <a:gd name="connsiteY20" fmla="*/ 102773 h 299965"/>
              <a:gd name="connsiteX21" fmla="*/ 3493778 w 3718388"/>
              <a:gd name="connsiteY21" fmla="*/ 115120 h 299965"/>
              <a:gd name="connsiteX22" fmla="*/ 3572391 w 3718388"/>
              <a:gd name="connsiteY22" fmla="*/ 126741 h 299965"/>
              <a:gd name="connsiteX23" fmla="*/ 3635065 w 3718388"/>
              <a:gd name="connsiteY23" fmla="*/ 136183 h 299965"/>
              <a:gd name="connsiteX24" fmla="*/ 3680349 w 3718388"/>
              <a:gd name="connsiteY24" fmla="*/ 143446 h 299965"/>
              <a:gd name="connsiteX25" fmla="*/ 3708969 w 3718388"/>
              <a:gd name="connsiteY25" fmla="*/ 148167 h 299965"/>
              <a:gd name="connsiteX26" fmla="*/ 3718388 w 3718388"/>
              <a:gd name="connsiteY26" fmla="*/ 149983 h 299965"/>
              <a:gd name="connsiteX27" fmla="*/ 3708969 w 3718388"/>
              <a:gd name="connsiteY27" fmla="*/ 151798 h 299965"/>
              <a:gd name="connsiteX28" fmla="*/ 3680349 w 3718388"/>
              <a:gd name="connsiteY28" fmla="*/ 156156 h 299965"/>
              <a:gd name="connsiteX29" fmla="*/ 3635065 w 3718388"/>
              <a:gd name="connsiteY29" fmla="*/ 163782 h 299965"/>
              <a:gd name="connsiteX30" fmla="*/ 3572391 w 3718388"/>
              <a:gd name="connsiteY30" fmla="*/ 173588 h 299965"/>
              <a:gd name="connsiteX31" fmla="*/ 3493778 w 3718388"/>
              <a:gd name="connsiteY31" fmla="*/ 184845 h 299965"/>
              <a:gd name="connsiteX32" fmla="*/ 3400673 w 3718388"/>
              <a:gd name="connsiteY32" fmla="*/ 197556 h 299965"/>
              <a:gd name="connsiteX33" fmla="*/ 3348868 w 3718388"/>
              <a:gd name="connsiteY33" fmla="*/ 204092 h 299965"/>
              <a:gd name="connsiteX34" fmla="*/ 3293802 w 3718388"/>
              <a:gd name="connsiteY34" fmla="*/ 210992 h 299965"/>
              <a:gd name="connsiteX35" fmla="*/ 3235476 w 3718388"/>
              <a:gd name="connsiteY35" fmla="*/ 217892 h 299965"/>
              <a:gd name="connsiteX36" fmla="*/ 3173889 w 3718388"/>
              <a:gd name="connsiteY36" fmla="*/ 224792 h 299965"/>
              <a:gd name="connsiteX37" fmla="*/ 3109042 w 3718388"/>
              <a:gd name="connsiteY37" fmla="*/ 232055 h 299965"/>
              <a:gd name="connsiteX38" fmla="*/ 3042021 w 3718388"/>
              <a:gd name="connsiteY38" fmla="*/ 238955 h 299965"/>
              <a:gd name="connsiteX39" fmla="*/ 2971378 w 3718388"/>
              <a:gd name="connsiteY39" fmla="*/ 245855 h 299965"/>
              <a:gd name="connsiteX40" fmla="*/ 2898560 w 3718388"/>
              <a:gd name="connsiteY40" fmla="*/ 252392 h 299965"/>
              <a:gd name="connsiteX41" fmla="*/ 2822845 w 3718388"/>
              <a:gd name="connsiteY41" fmla="*/ 258929 h 299965"/>
              <a:gd name="connsiteX42" fmla="*/ 2745318 w 3718388"/>
              <a:gd name="connsiteY42" fmla="*/ 265102 h 299965"/>
              <a:gd name="connsiteX43" fmla="*/ 2665255 w 3718388"/>
              <a:gd name="connsiteY43" fmla="*/ 271276 h 299965"/>
              <a:gd name="connsiteX44" fmla="*/ 2583019 w 3718388"/>
              <a:gd name="connsiteY44" fmla="*/ 276360 h 299965"/>
              <a:gd name="connsiteX45" fmla="*/ 2498247 w 3718388"/>
              <a:gd name="connsiteY45" fmla="*/ 281444 h 299965"/>
              <a:gd name="connsiteX46" fmla="*/ 2412025 w 3718388"/>
              <a:gd name="connsiteY46" fmla="*/ 286165 h 299965"/>
              <a:gd name="connsiteX47" fmla="*/ 2323630 w 3718388"/>
              <a:gd name="connsiteY47" fmla="*/ 290160 h 299965"/>
              <a:gd name="connsiteX48" fmla="*/ 2233786 w 3718388"/>
              <a:gd name="connsiteY48" fmla="*/ 293791 h 299965"/>
              <a:gd name="connsiteX49" fmla="*/ 2142493 w 3718388"/>
              <a:gd name="connsiteY49" fmla="*/ 296334 h 299965"/>
              <a:gd name="connsiteX50" fmla="*/ 2049026 w 3718388"/>
              <a:gd name="connsiteY50" fmla="*/ 298149 h 299965"/>
              <a:gd name="connsiteX51" fmla="*/ 1954472 w 3718388"/>
              <a:gd name="connsiteY51" fmla="*/ 299239 h 299965"/>
              <a:gd name="connsiteX52" fmla="*/ 1858832 w 3718388"/>
              <a:gd name="connsiteY52" fmla="*/ 299965 h 299965"/>
              <a:gd name="connsiteX53" fmla="*/ 1763554 w 3718388"/>
              <a:gd name="connsiteY53" fmla="*/ 299239 h 299965"/>
              <a:gd name="connsiteX54" fmla="*/ 1669000 w 3718388"/>
              <a:gd name="connsiteY54" fmla="*/ 298149 h 299965"/>
              <a:gd name="connsiteX55" fmla="*/ 1575895 w 3718388"/>
              <a:gd name="connsiteY55" fmla="*/ 296334 h 299965"/>
              <a:gd name="connsiteX56" fmla="*/ 1484602 w 3718388"/>
              <a:gd name="connsiteY56" fmla="*/ 293791 h 299965"/>
              <a:gd name="connsiteX57" fmla="*/ 1394758 w 3718388"/>
              <a:gd name="connsiteY57" fmla="*/ 290160 h 299965"/>
              <a:gd name="connsiteX58" fmla="*/ 1306363 w 3718388"/>
              <a:gd name="connsiteY58" fmla="*/ 286165 h 299965"/>
              <a:gd name="connsiteX59" fmla="*/ 1219779 w 3718388"/>
              <a:gd name="connsiteY59" fmla="*/ 281444 h 299965"/>
              <a:gd name="connsiteX60" fmla="*/ 1135369 w 3718388"/>
              <a:gd name="connsiteY60" fmla="*/ 276360 h 299965"/>
              <a:gd name="connsiteX61" fmla="*/ 1053133 w 3718388"/>
              <a:gd name="connsiteY61" fmla="*/ 271276 h 299965"/>
              <a:gd name="connsiteX62" fmla="*/ 972708 w 3718388"/>
              <a:gd name="connsiteY62" fmla="*/ 265102 h 299965"/>
              <a:gd name="connsiteX63" fmla="*/ 894819 w 3718388"/>
              <a:gd name="connsiteY63" fmla="*/ 258929 h 299965"/>
              <a:gd name="connsiteX64" fmla="*/ 819466 w 3718388"/>
              <a:gd name="connsiteY64" fmla="*/ 252392 h 299965"/>
              <a:gd name="connsiteX65" fmla="*/ 746648 w 3718388"/>
              <a:gd name="connsiteY65" fmla="*/ 245855 h 299965"/>
              <a:gd name="connsiteX66" fmla="*/ 676367 w 3718388"/>
              <a:gd name="connsiteY66" fmla="*/ 238955 h 299965"/>
              <a:gd name="connsiteX67" fmla="*/ 608984 w 3718388"/>
              <a:gd name="connsiteY67" fmla="*/ 232055 h 299965"/>
              <a:gd name="connsiteX68" fmla="*/ 544499 w 3718388"/>
              <a:gd name="connsiteY68" fmla="*/ 224792 h 299965"/>
              <a:gd name="connsiteX69" fmla="*/ 482912 w 3718388"/>
              <a:gd name="connsiteY69" fmla="*/ 217892 h 299965"/>
              <a:gd name="connsiteX70" fmla="*/ 424586 w 3718388"/>
              <a:gd name="connsiteY70" fmla="*/ 210992 h 299965"/>
              <a:gd name="connsiteX71" fmla="*/ 369158 w 3718388"/>
              <a:gd name="connsiteY71" fmla="*/ 204092 h 299965"/>
              <a:gd name="connsiteX72" fmla="*/ 317353 w 3718388"/>
              <a:gd name="connsiteY72" fmla="*/ 197556 h 299965"/>
              <a:gd name="connsiteX73" fmla="*/ 224248 w 3718388"/>
              <a:gd name="connsiteY73" fmla="*/ 184845 h 299965"/>
              <a:gd name="connsiteX74" fmla="*/ 145997 w 3718388"/>
              <a:gd name="connsiteY74" fmla="*/ 173588 h 299965"/>
              <a:gd name="connsiteX75" fmla="*/ 83323 w 3718388"/>
              <a:gd name="connsiteY75" fmla="*/ 163782 h 299965"/>
              <a:gd name="connsiteX76" fmla="*/ 37677 w 3718388"/>
              <a:gd name="connsiteY76" fmla="*/ 156156 h 299965"/>
              <a:gd name="connsiteX77" fmla="*/ 9419 w 3718388"/>
              <a:gd name="connsiteY77" fmla="*/ 151798 h 299965"/>
              <a:gd name="connsiteX78" fmla="*/ 0 w 3718388"/>
              <a:gd name="connsiteY78" fmla="*/ 149983 h 299965"/>
              <a:gd name="connsiteX79" fmla="*/ 9419 w 3718388"/>
              <a:gd name="connsiteY79" fmla="*/ 148167 h 299965"/>
              <a:gd name="connsiteX80" fmla="*/ 37677 w 3718388"/>
              <a:gd name="connsiteY80" fmla="*/ 143446 h 299965"/>
              <a:gd name="connsiteX81" fmla="*/ 83323 w 3718388"/>
              <a:gd name="connsiteY81" fmla="*/ 136183 h 299965"/>
              <a:gd name="connsiteX82" fmla="*/ 145997 w 3718388"/>
              <a:gd name="connsiteY82" fmla="*/ 126741 h 299965"/>
              <a:gd name="connsiteX83" fmla="*/ 224248 w 3718388"/>
              <a:gd name="connsiteY83" fmla="*/ 115120 h 299965"/>
              <a:gd name="connsiteX84" fmla="*/ 317353 w 3718388"/>
              <a:gd name="connsiteY84" fmla="*/ 102773 h 299965"/>
              <a:gd name="connsiteX85" fmla="*/ 369158 w 3718388"/>
              <a:gd name="connsiteY85" fmla="*/ 95873 h 299965"/>
              <a:gd name="connsiteX86" fmla="*/ 424586 w 3718388"/>
              <a:gd name="connsiteY86" fmla="*/ 88973 h 299965"/>
              <a:gd name="connsiteX87" fmla="*/ 482912 w 3718388"/>
              <a:gd name="connsiteY87" fmla="*/ 82073 h 299965"/>
              <a:gd name="connsiteX88" fmla="*/ 544499 w 3718388"/>
              <a:gd name="connsiteY88" fmla="*/ 74810 h 299965"/>
              <a:gd name="connsiteX89" fmla="*/ 608984 w 3718388"/>
              <a:gd name="connsiteY89" fmla="*/ 67910 h 299965"/>
              <a:gd name="connsiteX90" fmla="*/ 676367 w 3718388"/>
              <a:gd name="connsiteY90" fmla="*/ 61010 h 299965"/>
              <a:gd name="connsiteX91" fmla="*/ 746648 w 3718388"/>
              <a:gd name="connsiteY91" fmla="*/ 54110 h 299965"/>
              <a:gd name="connsiteX92" fmla="*/ 819466 w 3718388"/>
              <a:gd name="connsiteY92" fmla="*/ 47573 h 299965"/>
              <a:gd name="connsiteX93" fmla="*/ 894819 w 3718388"/>
              <a:gd name="connsiteY93" fmla="*/ 41036 h 299965"/>
              <a:gd name="connsiteX94" fmla="*/ 972708 w 3718388"/>
              <a:gd name="connsiteY94" fmla="*/ 34500 h 299965"/>
              <a:gd name="connsiteX95" fmla="*/ 1053133 w 3718388"/>
              <a:gd name="connsiteY95" fmla="*/ 29052 h 299965"/>
              <a:gd name="connsiteX96" fmla="*/ 1135369 w 3718388"/>
              <a:gd name="connsiteY96" fmla="*/ 23605 h 299965"/>
              <a:gd name="connsiteX97" fmla="*/ 1219779 w 3718388"/>
              <a:gd name="connsiteY97" fmla="*/ 18158 h 299965"/>
              <a:gd name="connsiteX98" fmla="*/ 1306363 w 3718388"/>
              <a:gd name="connsiteY98" fmla="*/ 13800 h 299965"/>
              <a:gd name="connsiteX99" fmla="*/ 1394758 w 3718388"/>
              <a:gd name="connsiteY99" fmla="*/ 9805 h 299965"/>
              <a:gd name="connsiteX100" fmla="*/ 1484602 w 3718388"/>
              <a:gd name="connsiteY100" fmla="*/ 6537 h 299965"/>
              <a:gd name="connsiteX101" fmla="*/ 1575895 w 3718388"/>
              <a:gd name="connsiteY101" fmla="*/ 3632 h 299965"/>
              <a:gd name="connsiteX102" fmla="*/ 1669000 w 3718388"/>
              <a:gd name="connsiteY102" fmla="*/ 1453 h 299965"/>
              <a:gd name="connsiteX103" fmla="*/ 1763554 w 3718388"/>
              <a:gd name="connsiteY103" fmla="*/ 363 h 29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Lst>
            <a:rect l="l" t="t" r="r" b="b"/>
            <a:pathLst>
              <a:path w="3718388" h="299965">
                <a:moveTo>
                  <a:pt x="1858832" y="0"/>
                </a:moveTo>
                <a:lnTo>
                  <a:pt x="1954472" y="363"/>
                </a:lnTo>
                <a:lnTo>
                  <a:pt x="2049026" y="1453"/>
                </a:lnTo>
                <a:lnTo>
                  <a:pt x="2142493" y="3632"/>
                </a:lnTo>
                <a:lnTo>
                  <a:pt x="2233786" y="6537"/>
                </a:lnTo>
                <a:lnTo>
                  <a:pt x="2323630" y="9805"/>
                </a:lnTo>
                <a:lnTo>
                  <a:pt x="2412025" y="13800"/>
                </a:lnTo>
                <a:lnTo>
                  <a:pt x="2498247" y="18158"/>
                </a:lnTo>
                <a:lnTo>
                  <a:pt x="2583019" y="23605"/>
                </a:lnTo>
                <a:lnTo>
                  <a:pt x="2665255" y="29052"/>
                </a:lnTo>
                <a:lnTo>
                  <a:pt x="2745318" y="34500"/>
                </a:lnTo>
                <a:lnTo>
                  <a:pt x="2822845" y="41036"/>
                </a:lnTo>
                <a:lnTo>
                  <a:pt x="2898560" y="47573"/>
                </a:lnTo>
                <a:lnTo>
                  <a:pt x="2971378" y="54110"/>
                </a:lnTo>
                <a:lnTo>
                  <a:pt x="3042021" y="61010"/>
                </a:lnTo>
                <a:lnTo>
                  <a:pt x="3109042" y="67910"/>
                </a:lnTo>
                <a:lnTo>
                  <a:pt x="3173889" y="74810"/>
                </a:lnTo>
                <a:lnTo>
                  <a:pt x="3235476" y="82073"/>
                </a:lnTo>
                <a:lnTo>
                  <a:pt x="3293802" y="88973"/>
                </a:lnTo>
                <a:lnTo>
                  <a:pt x="3348868" y="95873"/>
                </a:lnTo>
                <a:lnTo>
                  <a:pt x="3400673" y="102773"/>
                </a:lnTo>
                <a:lnTo>
                  <a:pt x="3493778" y="115120"/>
                </a:lnTo>
                <a:lnTo>
                  <a:pt x="3572391" y="126741"/>
                </a:lnTo>
                <a:lnTo>
                  <a:pt x="3635065" y="136183"/>
                </a:lnTo>
                <a:lnTo>
                  <a:pt x="3680349" y="143446"/>
                </a:lnTo>
                <a:lnTo>
                  <a:pt x="3708969" y="148167"/>
                </a:lnTo>
                <a:lnTo>
                  <a:pt x="3718388" y="149983"/>
                </a:lnTo>
                <a:lnTo>
                  <a:pt x="3708969" y="151798"/>
                </a:lnTo>
                <a:lnTo>
                  <a:pt x="3680349" y="156156"/>
                </a:lnTo>
                <a:lnTo>
                  <a:pt x="3635065" y="163782"/>
                </a:lnTo>
                <a:lnTo>
                  <a:pt x="3572391" y="173588"/>
                </a:lnTo>
                <a:lnTo>
                  <a:pt x="3493778" y="184845"/>
                </a:lnTo>
                <a:lnTo>
                  <a:pt x="3400673" y="197556"/>
                </a:lnTo>
                <a:lnTo>
                  <a:pt x="3348868" y="204092"/>
                </a:lnTo>
                <a:lnTo>
                  <a:pt x="3293802" y="210992"/>
                </a:lnTo>
                <a:lnTo>
                  <a:pt x="3235476" y="217892"/>
                </a:lnTo>
                <a:lnTo>
                  <a:pt x="3173889" y="224792"/>
                </a:lnTo>
                <a:lnTo>
                  <a:pt x="3109042" y="232055"/>
                </a:lnTo>
                <a:lnTo>
                  <a:pt x="3042021" y="238955"/>
                </a:lnTo>
                <a:lnTo>
                  <a:pt x="2971378" y="245855"/>
                </a:lnTo>
                <a:lnTo>
                  <a:pt x="2898560" y="252392"/>
                </a:lnTo>
                <a:lnTo>
                  <a:pt x="2822845" y="258929"/>
                </a:lnTo>
                <a:lnTo>
                  <a:pt x="2745318" y="265102"/>
                </a:lnTo>
                <a:lnTo>
                  <a:pt x="2665255" y="271276"/>
                </a:lnTo>
                <a:lnTo>
                  <a:pt x="2583019" y="276360"/>
                </a:lnTo>
                <a:lnTo>
                  <a:pt x="2498247" y="281444"/>
                </a:lnTo>
                <a:lnTo>
                  <a:pt x="2412025" y="286165"/>
                </a:lnTo>
                <a:lnTo>
                  <a:pt x="2323630" y="290160"/>
                </a:lnTo>
                <a:lnTo>
                  <a:pt x="2233786" y="293791"/>
                </a:lnTo>
                <a:lnTo>
                  <a:pt x="2142493" y="296334"/>
                </a:lnTo>
                <a:lnTo>
                  <a:pt x="2049026" y="298149"/>
                </a:lnTo>
                <a:lnTo>
                  <a:pt x="1954472" y="299239"/>
                </a:lnTo>
                <a:lnTo>
                  <a:pt x="1858832" y="299965"/>
                </a:lnTo>
                <a:lnTo>
                  <a:pt x="1763554" y="299239"/>
                </a:lnTo>
                <a:lnTo>
                  <a:pt x="1669000" y="298149"/>
                </a:lnTo>
                <a:lnTo>
                  <a:pt x="1575895" y="296334"/>
                </a:lnTo>
                <a:lnTo>
                  <a:pt x="1484602" y="293791"/>
                </a:lnTo>
                <a:lnTo>
                  <a:pt x="1394758" y="290160"/>
                </a:lnTo>
                <a:lnTo>
                  <a:pt x="1306363" y="286165"/>
                </a:lnTo>
                <a:lnTo>
                  <a:pt x="1219779" y="281444"/>
                </a:lnTo>
                <a:lnTo>
                  <a:pt x="1135369" y="276360"/>
                </a:lnTo>
                <a:lnTo>
                  <a:pt x="1053133" y="271276"/>
                </a:lnTo>
                <a:lnTo>
                  <a:pt x="972708" y="265102"/>
                </a:lnTo>
                <a:lnTo>
                  <a:pt x="894819" y="258929"/>
                </a:lnTo>
                <a:lnTo>
                  <a:pt x="819466" y="252392"/>
                </a:lnTo>
                <a:lnTo>
                  <a:pt x="746648" y="245855"/>
                </a:lnTo>
                <a:lnTo>
                  <a:pt x="676367" y="238955"/>
                </a:lnTo>
                <a:lnTo>
                  <a:pt x="608984" y="232055"/>
                </a:lnTo>
                <a:lnTo>
                  <a:pt x="544499" y="224792"/>
                </a:lnTo>
                <a:lnTo>
                  <a:pt x="482912" y="217892"/>
                </a:lnTo>
                <a:lnTo>
                  <a:pt x="424586" y="210992"/>
                </a:lnTo>
                <a:lnTo>
                  <a:pt x="369158" y="204092"/>
                </a:lnTo>
                <a:lnTo>
                  <a:pt x="317353" y="197556"/>
                </a:lnTo>
                <a:lnTo>
                  <a:pt x="224248" y="184845"/>
                </a:lnTo>
                <a:lnTo>
                  <a:pt x="145997" y="173588"/>
                </a:lnTo>
                <a:lnTo>
                  <a:pt x="83323" y="163782"/>
                </a:lnTo>
                <a:lnTo>
                  <a:pt x="37677" y="156156"/>
                </a:lnTo>
                <a:lnTo>
                  <a:pt x="9419" y="151798"/>
                </a:lnTo>
                <a:lnTo>
                  <a:pt x="0" y="149983"/>
                </a:lnTo>
                <a:lnTo>
                  <a:pt x="9419" y="148167"/>
                </a:lnTo>
                <a:lnTo>
                  <a:pt x="37677" y="143446"/>
                </a:lnTo>
                <a:lnTo>
                  <a:pt x="83323" y="136183"/>
                </a:lnTo>
                <a:lnTo>
                  <a:pt x="145997" y="126741"/>
                </a:lnTo>
                <a:lnTo>
                  <a:pt x="224248" y="115120"/>
                </a:lnTo>
                <a:lnTo>
                  <a:pt x="317353" y="102773"/>
                </a:lnTo>
                <a:lnTo>
                  <a:pt x="369158" y="95873"/>
                </a:lnTo>
                <a:lnTo>
                  <a:pt x="424586" y="88973"/>
                </a:lnTo>
                <a:lnTo>
                  <a:pt x="482912" y="82073"/>
                </a:lnTo>
                <a:lnTo>
                  <a:pt x="544499" y="74810"/>
                </a:lnTo>
                <a:lnTo>
                  <a:pt x="608984" y="67910"/>
                </a:lnTo>
                <a:lnTo>
                  <a:pt x="676367" y="61010"/>
                </a:lnTo>
                <a:lnTo>
                  <a:pt x="746648" y="54110"/>
                </a:lnTo>
                <a:lnTo>
                  <a:pt x="819466" y="47573"/>
                </a:lnTo>
                <a:lnTo>
                  <a:pt x="894819" y="41036"/>
                </a:lnTo>
                <a:lnTo>
                  <a:pt x="972708" y="34500"/>
                </a:lnTo>
                <a:lnTo>
                  <a:pt x="1053133" y="29052"/>
                </a:lnTo>
                <a:lnTo>
                  <a:pt x="1135369" y="23605"/>
                </a:lnTo>
                <a:lnTo>
                  <a:pt x="1219779" y="18158"/>
                </a:lnTo>
                <a:lnTo>
                  <a:pt x="1306363" y="13800"/>
                </a:lnTo>
                <a:lnTo>
                  <a:pt x="1394758" y="9805"/>
                </a:lnTo>
                <a:lnTo>
                  <a:pt x="1484602" y="6537"/>
                </a:lnTo>
                <a:lnTo>
                  <a:pt x="1575895" y="3632"/>
                </a:lnTo>
                <a:lnTo>
                  <a:pt x="1669000" y="1453"/>
                </a:lnTo>
                <a:lnTo>
                  <a:pt x="1763554" y="363"/>
                </a:lnTo>
                <a:close/>
              </a:path>
            </a:pathLst>
          </a:custGeom>
          <a:gradFill flip="none" rotWithShape="1">
            <a:gsLst>
              <a:gs pos="100000">
                <a:schemeClr val="accent1">
                  <a:lumMod val="60000"/>
                  <a:lumOff val="40000"/>
                </a:schemeClr>
              </a:gs>
              <a:gs pos="0">
                <a:schemeClr val="accent1">
                  <a:lumMod val="15000"/>
                  <a:lumOff val="85000"/>
                </a:schemeClr>
              </a:gs>
            </a:gsLst>
            <a:lin ang="2700000" scaled="1"/>
            <a:tileRect/>
          </a:gradFill>
          <a:ln w="25400">
            <a:noFill/>
          </a:ln>
          <a:effectLst>
            <a:outerShdw blurRad="254000" dist="177800" dir="2700000" algn="tl" rotWithShape="0">
              <a:schemeClr val="accent1">
                <a:alpha val="20000"/>
              </a:schemeClr>
            </a:outerShdw>
          </a:effectLst>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485899" tIns="63500" rIns="1485901" bIns="63500" numCol="1" spcCol="1270" anchor="ctr" anchorCtr="0">
            <a:noAutofit/>
          </a:bodyPr>
          <a:lstStyle/>
          <a:p>
            <a:pPr algn="ctr" defTabSz="2222500">
              <a:lnSpc>
                <a:spcPct val="90000"/>
              </a:lnSpc>
              <a:spcBef>
                <a:spcPct val="0"/>
              </a:spcBef>
              <a:spcAft>
                <a:spcPct val="35000"/>
              </a:spcAft>
            </a:pPr>
            <a:endParaRPr sz="3200">
              <a:solidFill>
                <a:prstClr val="white"/>
              </a:solidFill>
              <a:latin typeface="等线" panose="020F0502020204030204"/>
              <a:ea typeface="等线" panose="02010600030101010101" pitchFamily="2" charset="-122"/>
              <a:sym typeface="Calibri"/>
            </a:endParaRPr>
          </a:p>
        </p:txBody>
      </p:sp>
      <p:sp>
        <p:nvSpPr>
          <p:cNvPr id="62" name="任意多边形: 形状 61">
            <a:extLst>
              <a:ext uri="{FF2B5EF4-FFF2-40B4-BE49-F238E27FC236}">
                <a16:creationId xmlns:a16="http://schemas.microsoft.com/office/drawing/2014/main" id="{81EA3BAE-5792-E2FE-AAED-CAA2E63DA599}"/>
              </a:ext>
            </a:extLst>
          </p:cNvPr>
          <p:cNvSpPr/>
          <p:nvPr/>
        </p:nvSpPr>
        <p:spPr>
          <a:xfrm>
            <a:off x="3756659" y="1712948"/>
            <a:ext cx="3718388" cy="973795"/>
          </a:xfrm>
          <a:custGeom>
            <a:avLst/>
            <a:gdLst>
              <a:gd name="connsiteX0" fmla="*/ 0 w 3718388"/>
              <a:gd name="connsiteY0" fmla="*/ 0 h 973795"/>
              <a:gd name="connsiteX1" fmla="*/ 9419 w 3718388"/>
              <a:gd name="connsiteY1" fmla="*/ 1812 h 973795"/>
              <a:gd name="connsiteX2" fmla="*/ 37677 w 3718388"/>
              <a:gd name="connsiteY2" fmla="*/ 6161 h 973795"/>
              <a:gd name="connsiteX3" fmla="*/ 83323 w 3718388"/>
              <a:gd name="connsiteY3" fmla="*/ 13772 h 973795"/>
              <a:gd name="connsiteX4" fmla="*/ 145997 w 3718388"/>
              <a:gd name="connsiteY4" fmla="*/ 23557 h 973795"/>
              <a:gd name="connsiteX5" fmla="*/ 224248 w 3718388"/>
              <a:gd name="connsiteY5" fmla="*/ 34791 h 973795"/>
              <a:gd name="connsiteX6" fmla="*/ 317353 w 3718388"/>
              <a:gd name="connsiteY6" fmla="*/ 47476 h 973795"/>
              <a:gd name="connsiteX7" fmla="*/ 369158 w 3718388"/>
              <a:gd name="connsiteY7" fmla="*/ 53999 h 973795"/>
              <a:gd name="connsiteX8" fmla="*/ 424586 w 3718388"/>
              <a:gd name="connsiteY8" fmla="*/ 60885 h 973795"/>
              <a:gd name="connsiteX9" fmla="*/ 482912 w 3718388"/>
              <a:gd name="connsiteY9" fmla="*/ 67771 h 973795"/>
              <a:gd name="connsiteX10" fmla="*/ 544499 w 3718388"/>
              <a:gd name="connsiteY10" fmla="*/ 74656 h 973795"/>
              <a:gd name="connsiteX11" fmla="*/ 608984 w 3718388"/>
              <a:gd name="connsiteY11" fmla="*/ 81905 h 973795"/>
              <a:gd name="connsiteX12" fmla="*/ 676367 w 3718388"/>
              <a:gd name="connsiteY12" fmla="*/ 88790 h 973795"/>
              <a:gd name="connsiteX13" fmla="*/ 746648 w 3718388"/>
              <a:gd name="connsiteY13" fmla="*/ 95676 h 973795"/>
              <a:gd name="connsiteX14" fmla="*/ 819466 w 3718388"/>
              <a:gd name="connsiteY14" fmla="*/ 102200 h 973795"/>
              <a:gd name="connsiteX15" fmla="*/ 894819 w 3718388"/>
              <a:gd name="connsiteY15" fmla="*/ 108723 h 973795"/>
              <a:gd name="connsiteX16" fmla="*/ 972708 w 3718388"/>
              <a:gd name="connsiteY16" fmla="*/ 114884 h 973795"/>
              <a:gd name="connsiteX17" fmla="*/ 1053133 w 3718388"/>
              <a:gd name="connsiteY17" fmla="*/ 121045 h 973795"/>
              <a:gd name="connsiteX18" fmla="*/ 1135369 w 3718388"/>
              <a:gd name="connsiteY18" fmla="*/ 126119 h 973795"/>
              <a:gd name="connsiteX19" fmla="*/ 1219779 w 3718388"/>
              <a:gd name="connsiteY19" fmla="*/ 131192 h 973795"/>
              <a:gd name="connsiteX20" fmla="*/ 1306363 w 3718388"/>
              <a:gd name="connsiteY20" fmla="*/ 135904 h 973795"/>
              <a:gd name="connsiteX21" fmla="*/ 1394758 w 3718388"/>
              <a:gd name="connsiteY21" fmla="*/ 139890 h 973795"/>
              <a:gd name="connsiteX22" fmla="*/ 1484602 w 3718388"/>
              <a:gd name="connsiteY22" fmla="*/ 143514 h 973795"/>
              <a:gd name="connsiteX23" fmla="*/ 1575895 w 3718388"/>
              <a:gd name="connsiteY23" fmla="*/ 146051 h 973795"/>
              <a:gd name="connsiteX24" fmla="*/ 1669000 w 3718388"/>
              <a:gd name="connsiteY24" fmla="*/ 147863 h 973795"/>
              <a:gd name="connsiteX25" fmla="*/ 1763554 w 3718388"/>
              <a:gd name="connsiteY25" fmla="*/ 148950 h 973795"/>
              <a:gd name="connsiteX26" fmla="*/ 1858832 w 3718388"/>
              <a:gd name="connsiteY26" fmla="*/ 149675 h 973795"/>
              <a:gd name="connsiteX27" fmla="*/ 1954472 w 3718388"/>
              <a:gd name="connsiteY27" fmla="*/ 148950 h 973795"/>
              <a:gd name="connsiteX28" fmla="*/ 2049026 w 3718388"/>
              <a:gd name="connsiteY28" fmla="*/ 147863 h 973795"/>
              <a:gd name="connsiteX29" fmla="*/ 2142493 w 3718388"/>
              <a:gd name="connsiteY29" fmla="*/ 146051 h 973795"/>
              <a:gd name="connsiteX30" fmla="*/ 2233786 w 3718388"/>
              <a:gd name="connsiteY30" fmla="*/ 143514 h 973795"/>
              <a:gd name="connsiteX31" fmla="*/ 2323630 w 3718388"/>
              <a:gd name="connsiteY31" fmla="*/ 139890 h 973795"/>
              <a:gd name="connsiteX32" fmla="*/ 2412025 w 3718388"/>
              <a:gd name="connsiteY32" fmla="*/ 135904 h 973795"/>
              <a:gd name="connsiteX33" fmla="*/ 2498247 w 3718388"/>
              <a:gd name="connsiteY33" fmla="*/ 131192 h 973795"/>
              <a:gd name="connsiteX34" fmla="*/ 2583019 w 3718388"/>
              <a:gd name="connsiteY34" fmla="*/ 126119 h 973795"/>
              <a:gd name="connsiteX35" fmla="*/ 2665255 w 3718388"/>
              <a:gd name="connsiteY35" fmla="*/ 121045 h 973795"/>
              <a:gd name="connsiteX36" fmla="*/ 2745318 w 3718388"/>
              <a:gd name="connsiteY36" fmla="*/ 114884 h 973795"/>
              <a:gd name="connsiteX37" fmla="*/ 2822845 w 3718388"/>
              <a:gd name="connsiteY37" fmla="*/ 108723 h 973795"/>
              <a:gd name="connsiteX38" fmla="*/ 2898560 w 3718388"/>
              <a:gd name="connsiteY38" fmla="*/ 102200 h 973795"/>
              <a:gd name="connsiteX39" fmla="*/ 2971378 w 3718388"/>
              <a:gd name="connsiteY39" fmla="*/ 95676 h 973795"/>
              <a:gd name="connsiteX40" fmla="*/ 3042021 w 3718388"/>
              <a:gd name="connsiteY40" fmla="*/ 88790 h 973795"/>
              <a:gd name="connsiteX41" fmla="*/ 3109042 w 3718388"/>
              <a:gd name="connsiteY41" fmla="*/ 81905 h 973795"/>
              <a:gd name="connsiteX42" fmla="*/ 3173889 w 3718388"/>
              <a:gd name="connsiteY42" fmla="*/ 74656 h 973795"/>
              <a:gd name="connsiteX43" fmla="*/ 3235476 w 3718388"/>
              <a:gd name="connsiteY43" fmla="*/ 67771 h 973795"/>
              <a:gd name="connsiteX44" fmla="*/ 3293802 w 3718388"/>
              <a:gd name="connsiteY44" fmla="*/ 60885 h 973795"/>
              <a:gd name="connsiteX45" fmla="*/ 3348868 w 3718388"/>
              <a:gd name="connsiteY45" fmla="*/ 53999 h 973795"/>
              <a:gd name="connsiteX46" fmla="*/ 3400673 w 3718388"/>
              <a:gd name="connsiteY46" fmla="*/ 47476 h 973795"/>
              <a:gd name="connsiteX47" fmla="*/ 3493778 w 3718388"/>
              <a:gd name="connsiteY47" fmla="*/ 34791 h 973795"/>
              <a:gd name="connsiteX48" fmla="*/ 3572391 w 3718388"/>
              <a:gd name="connsiteY48" fmla="*/ 23557 h 973795"/>
              <a:gd name="connsiteX49" fmla="*/ 3635065 w 3718388"/>
              <a:gd name="connsiteY49" fmla="*/ 13772 h 973795"/>
              <a:gd name="connsiteX50" fmla="*/ 3680349 w 3718388"/>
              <a:gd name="connsiteY50" fmla="*/ 6161 h 973795"/>
              <a:gd name="connsiteX51" fmla="*/ 3708969 w 3718388"/>
              <a:gd name="connsiteY51" fmla="*/ 1812 h 973795"/>
              <a:gd name="connsiteX52" fmla="*/ 3718388 w 3718388"/>
              <a:gd name="connsiteY52" fmla="*/ 0 h 973795"/>
              <a:gd name="connsiteX53" fmla="*/ 3318437 w 3718388"/>
              <a:gd name="connsiteY53" fmla="*/ 824482 h 973795"/>
              <a:gd name="connsiteX54" fmla="*/ 3310829 w 3718388"/>
              <a:gd name="connsiteY54" fmla="*/ 825932 h 973795"/>
              <a:gd name="connsiteX55" fmla="*/ 3289093 w 3718388"/>
              <a:gd name="connsiteY55" fmla="*/ 830643 h 973795"/>
              <a:gd name="connsiteX56" fmla="*/ 3252865 w 3718388"/>
              <a:gd name="connsiteY56" fmla="*/ 837891 h 973795"/>
              <a:gd name="connsiteX57" fmla="*/ 3203958 w 3718388"/>
              <a:gd name="connsiteY57" fmla="*/ 847314 h 973795"/>
              <a:gd name="connsiteX58" fmla="*/ 3142371 w 3718388"/>
              <a:gd name="connsiteY58" fmla="*/ 858911 h 973795"/>
              <a:gd name="connsiteX59" fmla="*/ 3069192 w 3718388"/>
              <a:gd name="connsiteY59" fmla="*/ 871596 h 973795"/>
              <a:gd name="connsiteX60" fmla="*/ 3028617 w 3718388"/>
              <a:gd name="connsiteY60" fmla="*/ 878119 h 973795"/>
              <a:gd name="connsiteX61" fmla="*/ 2985506 w 3718388"/>
              <a:gd name="connsiteY61" fmla="*/ 885005 h 973795"/>
              <a:gd name="connsiteX62" fmla="*/ 2939497 w 3718388"/>
              <a:gd name="connsiteY62" fmla="*/ 892253 h 973795"/>
              <a:gd name="connsiteX63" fmla="*/ 2890953 w 3718388"/>
              <a:gd name="connsiteY63" fmla="*/ 899139 h 973795"/>
              <a:gd name="connsiteX64" fmla="*/ 2840596 w 3718388"/>
              <a:gd name="connsiteY64" fmla="*/ 906025 h 973795"/>
              <a:gd name="connsiteX65" fmla="*/ 2787342 w 3718388"/>
              <a:gd name="connsiteY65" fmla="*/ 913273 h 973795"/>
              <a:gd name="connsiteX66" fmla="*/ 2732276 w 3718388"/>
              <a:gd name="connsiteY66" fmla="*/ 919796 h 973795"/>
              <a:gd name="connsiteX67" fmla="*/ 2675037 w 3718388"/>
              <a:gd name="connsiteY67" fmla="*/ 926319 h 973795"/>
              <a:gd name="connsiteX68" fmla="*/ 2615986 w 3718388"/>
              <a:gd name="connsiteY68" fmla="*/ 932843 h 973795"/>
              <a:gd name="connsiteX69" fmla="*/ 2554762 w 3718388"/>
              <a:gd name="connsiteY69" fmla="*/ 939366 h 973795"/>
              <a:gd name="connsiteX70" fmla="*/ 2491726 w 3718388"/>
              <a:gd name="connsiteY70" fmla="*/ 945165 h 973795"/>
              <a:gd name="connsiteX71" fmla="*/ 2427241 w 3718388"/>
              <a:gd name="connsiteY71" fmla="*/ 950601 h 973795"/>
              <a:gd name="connsiteX72" fmla="*/ 2360945 w 3718388"/>
              <a:gd name="connsiteY72" fmla="*/ 955675 h 973795"/>
              <a:gd name="connsiteX73" fmla="*/ 2292837 w 3718388"/>
              <a:gd name="connsiteY73" fmla="*/ 960386 h 973795"/>
              <a:gd name="connsiteX74" fmla="*/ 2224005 w 3718388"/>
              <a:gd name="connsiteY74" fmla="*/ 964010 h 973795"/>
              <a:gd name="connsiteX75" fmla="*/ 2153361 w 3718388"/>
              <a:gd name="connsiteY75" fmla="*/ 967272 h 973795"/>
              <a:gd name="connsiteX76" fmla="*/ 2081269 w 3718388"/>
              <a:gd name="connsiteY76" fmla="*/ 970171 h 973795"/>
              <a:gd name="connsiteX77" fmla="*/ 2008451 w 3718388"/>
              <a:gd name="connsiteY77" fmla="*/ 972346 h 973795"/>
              <a:gd name="connsiteX78" fmla="*/ 1934185 w 3718388"/>
              <a:gd name="connsiteY78" fmla="*/ 973433 h 973795"/>
              <a:gd name="connsiteX79" fmla="*/ 1858832 w 3718388"/>
              <a:gd name="connsiteY79" fmla="*/ 973795 h 973795"/>
              <a:gd name="connsiteX80" fmla="*/ 1783841 w 3718388"/>
              <a:gd name="connsiteY80" fmla="*/ 973433 h 973795"/>
              <a:gd name="connsiteX81" fmla="*/ 1709937 w 3718388"/>
              <a:gd name="connsiteY81" fmla="*/ 972346 h 973795"/>
              <a:gd name="connsiteX82" fmla="*/ 1636757 w 3718388"/>
              <a:gd name="connsiteY82" fmla="*/ 970171 h 973795"/>
              <a:gd name="connsiteX83" fmla="*/ 1565027 w 3718388"/>
              <a:gd name="connsiteY83" fmla="*/ 967272 h 973795"/>
              <a:gd name="connsiteX84" fmla="*/ 1494384 w 3718388"/>
              <a:gd name="connsiteY84" fmla="*/ 964010 h 973795"/>
              <a:gd name="connsiteX85" fmla="*/ 1424827 w 3718388"/>
              <a:gd name="connsiteY85" fmla="*/ 960386 h 973795"/>
              <a:gd name="connsiteX86" fmla="*/ 1357444 w 3718388"/>
              <a:gd name="connsiteY86" fmla="*/ 955675 h 973795"/>
              <a:gd name="connsiteX87" fmla="*/ 1291147 w 3718388"/>
              <a:gd name="connsiteY87" fmla="*/ 950601 h 973795"/>
              <a:gd name="connsiteX88" fmla="*/ 1226662 w 3718388"/>
              <a:gd name="connsiteY88" fmla="*/ 945165 h 973795"/>
              <a:gd name="connsiteX89" fmla="*/ 1163627 w 3718388"/>
              <a:gd name="connsiteY89" fmla="*/ 939366 h 973795"/>
              <a:gd name="connsiteX90" fmla="*/ 1102402 w 3718388"/>
              <a:gd name="connsiteY90" fmla="*/ 932843 h 973795"/>
              <a:gd name="connsiteX91" fmla="*/ 1043351 w 3718388"/>
              <a:gd name="connsiteY91" fmla="*/ 926319 h 973795"/>
              <a:gd name="connsiteX92" fmla="*/ 986112 w 3718388"/>
              <a:gd name="connsiteY92" fmla="*/ 919796 h 973795"/>
              <a:gd name="connsiteX93" fmla="*/ 930684 w 3718388"/>
              <a:gd name="connsiteY93" fmla="*/ 913273 h 973795"/>
              <a:gd name="connsiteX94" fmla="*/ 877792 w 3718388"/>
              <a:gd name="connsiteY94" fmla="*/ 906025 h 973795"/>
              <a:gd name="connsiteX95" fmla="*/ 827073 w 3718388"/>
              <a:gd name="connsiteY95" fmla="*/ 899139 h 973795"/>
              <a:gd name="connsiteX96" fmla="*/ 778891 w 3718388"/>
              <a:gd name="connsiteY96" fmla="*/ 892253 h 973795"/>
              <a:gd name="connsiteX97" fmla="*/ 732882 w 3718388"/>
              <a:gd name="connsiteY97" fmla="*/ 885005 h 973795"/>
              <a:gd name="connsiteX98" fmla="*/ 689771 w 3718388"/>
              <a:gd name="connsiteY98" fmla="*/ 878119 h 973795"/>
              <a:gd name="connsiteX99" fmla="*/ 649197 w 3718388"/>
              <a:gd name="connsiteY99" fmla="*/ 871596 h 973795"/>
              <a:gd name="connsiteX100" fmla="*/ 576017 w 3718388"/>
              <a:gd name="connsiteY100" fmla="*/ 858911 h 973795"/>
              <a:gd name="connsiteX101" fmla="*/ 514430 w 3718388"/>
              <a:gd name="connsiteY101" fmla="*/ 847314 h 973795"/>
              <a:gd name="connsiteX102" fmla="*/ 465523 w 3718388"/>
              <a:gd name="connsiteY102" fmla="*/ 837891 h 973795"/>
              <a:gd name="connsiteX103" fmla="*/ 429296 w 3718388"/>
              <a:gd name="connsiteY103" fmla="*/ 830643 h 973795"/>
              <a:gd name="connsiteX104" fmla="*/ 407559 w 3718388"/>
              <a:gd name="connsiteY104" fmla="*/ 825932 h 973795"/>
              <a:gd name="connsiteX105" fmla="*/ 399951 w 3718388"/>
              <a:gd name="connsiteY105" fmla="*/ 824482 h 973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Lst>
            <a:rect l="l" t="t" r="r" b="b"/>
            <a:pathLst>
              <a:path w="3718388" h="973795">
                <a:moveTo>
                  <a:pt x="0" y="0"/>
                </a:moveTo>
                <a:lnTo>
                  <a:pt x="9419" y="1812"/>
                </a:lnTo>
                <a:lnTo>
                  <a:pt x="37677" y="6161"/>
                </a:lnTo>
                <a:lnTo>
                  <a:pt x="83323" y="13772"/>
                </a:lnTo>
                <a:lnTo>
                  <a:pt x="145997" y="23557"/>
                </a:lnTo>
                <a:lnTo>
                  <a:pt x="224248" y="34791"/>
                </a:lnTo>
                <a:lnTo>
                  <a:pt x="317353" y="47476"/>
                </a:lnTo>
                <a:lnTo>
                  <a:pt x="369158" y="53999"/>
                </a:lnTo>
                <a:lnTo>
                  <a:pt x="424586" y="60885"/>
                </a:lnTo>
                <a:lnTo>
                  <a:pt x="482912" y="67771"/>
                </a:lnTo>
                <a:lnTo>
                  <a:pt x="544499" y="74656"/>
                </a:lnTo>
                <a:lnTo>
                  <a:pt x="608984" y="81905"/>
                </a:lnTo>
                <a:lnTo>
                  <a:pt x="676367" y="88790"/>
                </a:lnTo>
                <a:lnTo>
                  <a:pt x="746648" y="95676"/>
                </a:lnTo>
                <a:lnTo>
                  <a:pt x="819466" y="102200"/>
                </a:lnTo>
                <a:lnTo>
                  <a:pt x="894819" y="108723"/>
                </a:lnTo>
                <a:lnTo>
                  <a:pt x="972708" y="114884"/>
                </a:lnTo>
                <a:lnTo>
                  <a:pt x="1053133" y="121045"/>
                </a:lnTo>
                <a:lnTo>
                  <a:pt x="1135369" y="126119"/>
                </a:lnTo>
                <a:lnTo>
                  <a:pt x="1219779" y="131192"/>
                </a:lnTo>
                <a:lnTo>
                  <a:pt x="1306363" y="135904"/>
                </a:lnTo>
                <a:lnTo>
                  <a:pt x="1394758" y="139890"/>
                </a:lnTo>
                <a:lnTo>
                  <a:pt x="1484602" y="143514"/>
                </a:lnTo>
                <a:lnTo>
                  <a:pt x="1575895" y="146051"/>
                </a:lnTo>
                <a:lnTo>
                  <a:pt x="1669000" y="147863"/>
                </a:lnTo>
                <a:lnTo>
                  <a:pt x="1763554" y="148950"/>
                </a:lnTo>
                <a:lnTo>
                  <a:pt x="1858832" y="149675"/>
                </a:lnTo>
                <a:lnTo>
                  <a:pt x="1954472" y="148950"/>
                </a:lnTo>
                <a:lnTo>
                  <a:pt x="2049026" y="147863"/>
                </a:lnTo>
                <a:lnTo>
                  <a:pt x="2142493" y="146051"/>
                </a:lnTo>
                <a:lnTo>
                  <a:pt x="2233786" y="143514"/>
                </a:lnTo>
                <a:lnTo>
                  <a:pt x="2323630" y="139890"/>
                </a:lnTo>
                <a:lnTo>
                  <a:pt x="2412025" y="135904"/>
                </a:lnTo>
                <a:lnTo>
                  <a:pt x="2498247" y="131192"/>
                </a:lnTo>
                <a:lnTo>
                  <a:pt x="2583019" y="126119"/>
                </a:lnTo>
                <a:lnTo>
                  <a:pt x="2665255" y="121045"/>
                </a:lnTo>
                <a:lnTo>
                  <a:pt x="2745318" y="114884"/>
                </a:lnTo>
                <a:lnTo>
                  <a:pt x="2822845" y="108723"/>
                </a:lnTo>
                <a:lnTo>
                  <a:pt x="2898560" y="102200"/>
                </a:lnTo>
                <a:lnTo>
                  <a:pt x="2971378" y="95676"/>
                </a:lnTo>
                <a:lnTo>
                  <a:pt x="3042021" y="88790"/>
                </a:lnTo>
                <a:lnTo>
                  <a:pt x="3109042" y="81905"/>
                </a:lnTo>
                <a:lnTo>
                  <a:pt x="3173889" y="74656"/>
                </a:lnTo>
                <a:lnTo>
                  <a:pt x="3235476" y="67771"/>
                </a:lnTo>
                <a:lnTo>
                  <a:pt x="3293802" y="60885"/>
                </a:lnTo>
                <a:lnTo>
                  <a:pt x="3348868" y="53999"/>
                </a:lnTo>
                <a:lnTo>
                  <a:pt x="3400673" y="47476"/>
                </a:lnTo>
                <a:lnTo>
                  <a:pt x="3493778" y="34791"/>
                </a:lnTo>
                <a:lnTo>
                  <a:pt x="3572391" y="23557"/>
                </a:lnTo>
                <a:lnTo>
                  <a:pt x="3635065" y="13772"/>
                </a:lnTo>
                <a:lnTo>
                  <a:pt x="3680349" y="6161"/>
                </a:lnTo>
                <a:lnTo>
                  <a:pt x="3708969" y="1812"/>
                </a:lnTo>
                <a:lnTo>
                  <a:pt x="3718388" y="0"/>
                </a:lnTo>
                <a:lnTo>
                  <a:pt x="3318437" y="824482"/>
                </a:lnTo>
                <a:lnTo>
                  <a:pt x="3310829" y="825932"/>
                </a:lnTo>
                <a:lnTo>
                  <a:pt x="3289093" y="830643"/>
                </a:lnTo>
                <a:lnTo>
                  <a:pt x="3252865" y="837891"/>
                </a:lnTo>
                <a:lnTo>
                  <a:pt x="3203958" y="847314"/>
                </a:lnTo>
                <a:lnTo>
                  <a:pt x="3142371" y="858911"/>
                </a:lnTo>
                <a:lnTo>
                  <a:pt x="3069192" y="871596"/>
                </a:lnTo>
                <a:lnTo>
                  <a:pt x="3028617" y="878119"/>
                </a:lnTo>
                <a:lnTo>
                  <a:pt x="2985506" y="885005"/>
                </a:lnTo>
                <a:lnTo>
                  <a:pt x="2939497" y="892253"/>
                </a:lnTo>
                <a:lnTo>
                  <a:pt x="2890953" y="899139"/>
                </a:lnTo>
                <a:lnTo>
                  <a:pt x="2840596" y="906025"/>
                </a:lnTo>
                <a:lnTo>
                  <a:pt x="2787342" y="913273"/>
                </a:lnTo>
                <a:lnTo>
                  <a:pt x="2732276" y="919796"/>
                </a:lnTo>
                <a:lnTo>
                  <a:pt x="2675037" y="926319"/>
                </a:lnTo>
                <a:lnTo>
                  <a:pt x="2615986" y="932843"/>
                </a:lnTo>
                <a:lnTo>
                  <a:pt x="2554762" y="939366"/>
                </a:lnTo>
                <a:lnTo>
                  <a:pt x="2491726" y="945165"/>
                </a:lnTo>
                <a:lnTo>
                  <a:pt x="2427241" y="950601"/>
                </a:lnTo>
                <a:lnTo>
                  <a:pt x="2360945" y="955675"/>
                </a:lnTo>
                <a:lnTo>
                  <a:pt x="2292837" y="960386"/>
                </a:lnTo>
                <a:lnTo>
                  <a:pt x="2224005" y="964010"/>
                </a:lnTo>
                <a:lnTo>
                  <a:pt x="2153361" y="967272"/>
                </a:lnTo>
                <a:lnTo>
                  <a:pt x="2081269" y="970171"/>
                </a:lnTo>
                <a:lnTo>
                  <a:pt x="2008451" y="972346"/>
                </a:lnTo>
                <a:lnTo>
                  <a:pt x="1934185" y="973433"/>
                </a:lnTo>
                <a:lnTo>
                  <a:pt x="1858832" y="973795"/>
                </a:lnTo>
                <a:lnTo>
                  <a:pt x="1783841" y="973433"/>
                </a:lnTo>
                <a:lnTo>
                  <a:pt x="1709937" y="972346"/>
                </a:lnTo>
                <a:lnTo>
                  <a:pt x="1636757" y="970171"/>
                </a:lnTo>
                <a:lnTo>
                  <a:pt x="1565027" y="967272"/>
                </a:lnTo>
                <a:lnTo>
                  <a:pt x="1494384" y="964010"/>
                </a:lnTo>
                <a:lnTo>
                  <a:pt x="1424827" y="960386"/>
                </a:lnTo>
                <a:lnTo>
                  <a:pt x="1357444" y="955675"/>
                </a:lnTo>
                <a:lnTo>
                  <a:pt x="1291147" y="950601"/>
                </a:lnTo>
                <a:lnTo>
                  <a:pt x="1226662" y="945165"/>
                </a:lnTo>
                <a:lnTo>
                  <a:pt x="1163627" y="939366"/>
                </a:lnTo>
                <a:lnTo>
                  <a:pt x="1102402" y="932843"/>
                </a:lnTo>
                <a:lnTo>
                  <a:pt x="1043351" y="926319"/>
                </a:lnTo>
                <a:lnTo>
                  <a:pt x="986112" y="919796"/>
                </a:lnTo>
                <a:lnTo>
                  <a:pt x="930684" y="913273"/>
                </a:lnTo>
                <a:lnTo>
                  <a:pt x="877792" y="906025"/>
                </a:lnTo>
                <a:lnTo>
                  <a:pt x="827073" y="899139"/>
                </a:lnTo>
                <a:lnTo>
                  <a:pt x="778891" y="892253"/>
                </a:lnTo>
                <a:lnTo>
                  <a:pt x="732882" y="885005"/>
                </a:lnTo>
                <a:lnTo>
                  <a:pt x="689771" y="878119"/>
                </a:lnTo>
                <a:lnTo>
                  <a:pt x="649197" y="871596"/>
                </a:lnTo>
                <a:lnTo>
                  <a:pt x="576017" y="858911"/>
                </a:lnTo>
                <a:lnTo>
                  <a:pt x="514430" y="847314"/>
                </a:lnTo>
                <a:lnTo>
                  <a:pt x="465523" y="837891"/>
                </a:lnTo>
                <a:lnTo>
                  <a:pt x="429296" y="830643"/>
                </a:lnTo>
                <a:lnTo>
                  <a:pt x="407559" y="825932"/>
                </a:lnTo>
                <a:lnTo>
                  <a:pt x="399951" y="824482"/>
                </a:lnTo>
                <a:close/>
              </a:path>
            </a:pathLst>
          </a:custGeom>
          <a:gradFill flip="none" rotWithShape="1">
            <a:gsLst>
              <a:gs pos="0">
                <a:schemeClr val="accent1">
                  <a:lumMod val="35000"/>
                  <a:lumOff val="65000"/>
                </a:schemeClr>
              </a:gs>
              <a:gs pos="100000">
                <a:schemeClr val="accent1">
                  <a:lumMod val="100000"/>
                </a:schemeClr>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a:solidFill>
                <a:srgbClr val="FFFFFF"/>
              </a:solidFill>
              <a:latin typeface="Arial"/>
              <a:sym typeface="Calibri"/>
            </a:endParaRPr>
          </a:p>
        </p:txBody>
      </p:sp>
      <p:sp>
        <p:nvSpPr>
          <p:cNvPr id="64" name="任意多边形: 形状 63">
            <a:extLst>
              <a:ext uri="{FF2B5EF4-FFF2-40B4-BE49-F238E27FC236}">
                <a16:creationId xmlns:a16="http://schemas.microsoft.com/office/drawing/2014/main" id="{BCFF9274-5298-0DF5-AB91-BA861A85412D}"/>
              </a:ext>
            </a:extLst>
          </p:cNvPr>
          <p:cNvSpPr/>
          <p:nvPr/>
        </p:nvSpPr>
        <p:spPr>
          <a:xfrm flipH="1">
            <a:off x="7061948" y="1712947"/>
            <a:ext cx="1394896" cy="824538"/>
          </a:xfrm>
          <a:custGeom>
            <a:avLst/>
            <a:gdLst>
              <a:gd name="connsiteX0" fmla="*/ 994944 w 1394896"/>
              <a:gd name="connsiteY0" fmla="*/ 0 h 824538"/>
              <a:gd name="connsiteX1" fmla="*/ 0 w 1394896"/>
              <a:gd name="connsiteY1" fmla="*/ 0 h 824538"/>
              <a:gd name="connsiteX2" fmla="*/ 0 w 1394896"/>
              <a:gd name="connsiteY2" fmla="*/ 824538 h 824538"/>
              <a:gd name="connsiteX3" fmla="*/ 1394896 w 1394896"/>
              <a:gd name="connsiteY3" fmla="*/ 824538 h 824538"/>
            </a:gdLst>
            <a:ahLst/>
            <a:cxnLst>
              <a:cxn ang="0">
                <a:pos x="connsiteX0" y="connsiteY0"/>
              </a:cxn>
              <a:cxn ang="0">
                <a:pos x="connsiteX1" y="connsiteY1"/>
              </a:cxn>
              <a:cxn ang="0">
                <a:pos x="connsiteX2" y="connsiteY2"/>
              </a:cxn>
              <a:cxn ang="0">
                <a:pos x="connsiteX3" y="connsiteY3"/>
              </a:cxn>
            </a:cxnLst>
            <a:rect l="l" t="t" r="r" b="b"/>
            <a:pathLst>
              <a:path w="1394896" h="824538">
                <a:moveTo>
                  <a:pt x="994944" y="0"/>
                </a:moveTo>
                <a:lnTo>
                  <a:pt x="0" y="0"/>
                </a:lnTo>
                <a:lnTo>
                  <a:pt x="0" y="824538"/>
                </a:lnTo>
                <a:lnTo>
                  <a:pt x="1394896" y="824538"/>
                </a:lnTo>
                <a:close/>
              </a:path>
            </a:pathLst>
          </a:custGeom>
          <a:gradFill flip="none" rotWithShape="1">
            <a:gsLst>
              <a:gs pos="100000">
                <a:schemeClr val="accent1">
                  <a:alpha val="90000"/>
                  <a:lumMod val="25000"/>
                  <a:lumOff val="75000"/>
                </a:schemeClr>
              </a:gs>
              <a:gs pos="0">
                <a:schemeClr val="accent1">
                  <a:alpha val="90000"/>
                  <a:lumMod val="5000"/>
                  <a:lumOff val="95000"/>
                </a:schemeClr>
              </a:gs>
            </a:gsLst>
            <a:lin ang="2700000" scaled="0"/>
            <a:tileRect/>
          </a:gradFill>
          <a:ln w="12700" cap="rnd" cmpd="sng" algn="ctr">
            <a:gradFill flip="none" rotWithShape="1">
              <a:gsLst>
                <a:gs pos="0">
                  <a:schemeClr val="accent1">
                    <a:lumMod val="0"/>
                    <a:lumOff val="100000"/>
                    <a:alpha val="0"/>
                  </a:schemeClr>
                </a:gs>
                <a:gs pos="100000">
                  <a:schemeClr val="accent1">
                    <a:lumMod val="0"/>
                    <a:lumOff val="100000"/>
                    <a:alpha val="90000"/>
                  </a:schemeClr>
                </a:gs>
              </a:gsLst>
              <a:lin ang="10800000" scaled="1"/>
              <a:tileRect/>
            </a:gradFill>
            <a:prstDash val="solid"/>
            <a:round/>
          </a:ln>
          <a:effectLst>
            <a:outerShdw blurRad="266700" dist="50800" dir="2700000" algn="tl" rotWithShape="0">
              <a:schemeClr val="accent1">
                <a:lumMod val="50000"/>
                <a:alpha val="1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a:solidFill>
                <a:srgbClr val="FFFFFF"/>
              </a:solidFill>
              <a:latin typeface="Arial"/>
              <a:sym typeface="Calibri"/>
            </a:endParaRPr>
          </a:p>
        </p:txBody>
      </p:sp>
      <p:sp>
        <p:nvSpPr>
          <p:cNvPr id="72" name="任意多边形: 形状 71">
            <a:extLst>
              <a:ext uri="{FF2B5EF4-FFF2-40B4-BE49-F238E27FC236}">
                <a16:creationId xmlns:a16="http://schemas.microsoft.com/office/drawing/2014/main" id="{486DCD4B-4179-EE33-A925-A283C1A7C33D}"/>
              </a:ext>
            </a:extLst>
          </p:cNvPr>
          <p:cNvSpPr/>
          <p:nvPr/>
        </p:nvSpPr>
        <p:spPr>
          <a:xfrm flipH="1">
            <a:off x="6572259" y="2715723"/>
            <a:ext cx="1394896" cy="824538"/>
          </a:xfrm>
          <a:custGeom>
            <a:avLst/>
            <a:gdLst>
              <a:gd name="connsiteX0" fmla="*/ 994944 w 1394896"/>
              <a:gd name="connsiteY0" fmla="*/ 0 h 824538"/>
              <a:gd name="connsiteX1" fmla="*/ 0 w 1394896"/>
              <a:gd name="connsiteY1" fmla="*/ 0 h 824538"/>
              <a:gd name="connsiteX2" fmla="*/ 0 w 1394896"/>
              <a:gd name="connsiteY2" fmla="*/ 824538 h 824538"/>
              <a:gd name="connsiteX3" fmla="*/ 1394896 w 1394896"/>
              <a:gd name="connsiteY3" fmla="*/ 824538 h 824538"/>
            </a:gdLst>
            <a:ahLst/>
            <a:cxnLst>
              <a:cxn ang="0">
                <a:pos x="connsiteX0" y="connsiteY0"/>
              </a:cxn>
              <a:cxn ang="0">
                <a:pos x="connsiteX1" y="connsiteY1"/>
              </a:cxn>
              <a:cxn ang="0">
                <a:pos x="connsiteX2" y="connsiteY2"/>
              </a:cxn>
              <a:cxn ang="0">
                <a:pos x="connsiteX3" y="connsiteY3"/>
              </a:cxn>
            </a:cxnLst>
            <a:rect l="l" t="t" r="r" b="b"/>
            <a:pathLst>
              <a:path w="1394896" h="824538">
                <a:moveTo>
                  <a:pt x="994944" y="0"/>
                </a:moveTo>
                <a:lnTo>
                  <a:pt x="0" y="0"/>
                </a:lnTo>
                <a:lnTo>
                  <a:pt x="0" y="824538"/>
                </a:lnTo>
                <a:lnTo>
                  <a:pt x="1394896" y="824538"/>
                </a:lnTo>
                <a:close/>
              </a:path>
            </a:pathLst>
          </a:custGeom>
          <a:gradFill flip="none" rotWithShape="1">
            <a:gsLst>
              <a:gs pos="100000">
                <a:schemeClr val="accent1">
                  <a:alpha val="90000"/>
                  <a:lumMod val="25000"/>
                  <a:lumOff val="75000"/>
                </a:schemeClr>
              </a:gs>
              <a:gs pos="0">
                <a:schemeClr val="accent1">
                  <a:alpha val="90000"/>
                  <a:lumMod val="5000"/>
                  <a:lumOff val="95000"/>
                </a:schemeClr>
              </a:gs>
            </a:gsLst>
            <a:lin ang="2700000" scaled="0"/>
            <a:tileRect/>
          </a:gradFill>
          <a:ln w="12700" cap="rnd" cmpd="sng" algn="ctr">
            <a:gradFill flip="none" rotWithShape="1">
              <a:gsLst>
                <a:gs pos="0">
                  <a:schemeClr val="accent1">
                    <a:lumMod val="0"/>
                    <a:lumOff val="100000"/>
                    <a:alpha val="0"/>
                  </a:schemeClr>
                </a:gs>
                <a:gs pos="100000">
                  <a:schemeClr val="accent1">
                    <a:lumMod val="0"/>
                    <a:lumOff val="100000"/>
                    <a:alpha val="90000"/>
                  </a:schemeClr>
                </a:gs>
              </a:gsLst>
              <a:lin ang="10800000" scaled="1"/>
              <a:tileRect/>
            </a:gradFill>
            <a:prstDash val="solid"/>
            <a:round/>
          </a:ln>
          <a:effectLst>
            <a:outerShdw blurRad="266700" dist="50800" dir="2700000" algn="tl" rotWithShape="0">
              <a:schemeClr val="accent1">
                <a:lumMod val="50000"/>
                <a:alpha val="1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a:solidFill>
                <a:srgbClr val="FFFFFF"/>
              </a:solidFill>
              <a:latin typeface="Arial"/>
              <a:sym typeface="Calibri"/>
            </a:endParaRPr>
          </a:p>
        </p:txBody>
      </p:sp>
      <p:sp>
        <p:nvSpPr>
          <p:cNvPr id="70" name="任意多边形: 形状 69">
            <a:extLst>
              <a:ext uri="{FF2B5EF4-FFF2-40B4-BE49-F238E27FC236}">
                <a16:creationId xmlns:a16="http://schemas.microsoft.com/office/drawing/2014/main" id="{FAB4B48C-ED5D-863A-F7F6-C10863D2C087}"/>
              </a:ext>
            </a:extLst>
          </p:cNvPr>
          <p:cNvSpPr/>
          <p:nvPr/>
        </p:nvSpPr>
        <p:spPr>
          <a:xfrm flipH="1">
            <a:off x="6098693" y="3717775"/>
            <a:ext cx="1394896" cy="824538"/>
          </a:xfrm>
          <a:custGeom>
            <a:avLst/>
            <a:gdLst>
              <a:gd name="connsiteX0" fmla="*/ 994944 w 1394896"/>
              <a:gd name="connsiteY0" fmla="*/ 0 h 824538"/>
              <a:gd name="connsiteX1" fmla="*/ 0 w 1394896"/>
              <a:gd name="connsiteY1" fmla="*/ 0 h 824538"/>
              <a:gd name="connsiteX2" fmla="*/ 0 w 1394896"/>
              <a:gd name="connsiteY2" fmla="*/ 824538 h 824538"/>
              <a:gd name="connsiteX3" fmla="*/ 1394896 w 1394896"/>
              <a:gd name="connsiteY3" fmla="*/ 824538 h 824538"/>
            </a:gdLst>
            <a:ahLst/>
            <a:cxnLst>
              <a:cxn ang="0">
                <a:pos x="connsiteX0" y="connsiteY0"/>
              </a:cxn>
              <a:cxn ang="0">
                <a:pos x="connsiteX1" y="connsiteY1"/>
              </a:cxn>
              <a:cxn ang="0">
                <a:pos x="connsiteX2" y="connsiteY2"/>
              </a:cxn>
              <a:cxn ang="0">
                <a:pos x="connsiteX3" y="connsiteY3"/>
              </a:cxn>
            </a:cxnLst>
            <a:rect l="l" t="t" r="r" b="b"/>
            <a:pathLst>
              <a:path w="1394896" h="824538">
                <a:moveTo>
                  <a:pt x="994944" y="0"/>
                </a:moveTo>
                <a:lnTo>
                  <a:pt x="0" y="0"/>
                </a:lnTo>
                <a:lnTo>
                  <a:pt x="0" y="824538"/>
                </a:lnTo>
                <a:lnTo>
                  <a:pt x="1394896" y="824538"/>
                </a:lnTo>
                <a:close/>
              </a:path>
            </a:pathLst>
          </a:custGeom>
          <a:gradFill flip="none" rotWithShape="1">
            <a:gsLst>
              <a:gs pos="100000">
                <a:schemeClr val="accent1">
                  <a:alpha val="90000"/>
                  <a:lumMod val="25000"/>
                  <a:lumOff val="75000"/>
                </a:schemeClr>
              </a:gs>
              <a:gs pos="0">
                <a:schemeClr val="accent1">
                  <a:alpha val="90000"/>
                  <a:lumMod val="5000"/>
                  <a:lumOff val="95000"/>
                </a:schemeClr>
              </a:gs>
            </a:gsLst>
            <a:lin ang="2700000" scaled="0"/>
            <a:tileRect/>
          </a:gradFill>
          <a:ln w="12700" cap="rnd" cmpd="sng" algn="ctr">
            <a:gradFill flip="none" rotWithShape="1">
              <a:gsLst>
                <a:gs pos="0">
                  <a:schemeClr val="accent1">
                    <a:lumMod val="0"/>
                    <a:lumOff val="100000"/>
                    <a:alpha val="0"/>
                  </a:schemeClr>
                </a:gs>
                <a:gs pos="100000">
                  <a:schemeClr val="accent1">
                    <a:lumMod val="0"/>
                    <a:lumOff val="100000"/>
                    <a:alpha val="90000"/>
                  </a:schemeClr>
                </a:gs>
              </a:gsLst>
              <a:lin ang="10800000" scaled="1"/>
              <a:tileRect/>
            </a:gradFill>
            <a:prstDash val="solid"/>
            <a:round/>
          </a:ln>
          <a:effectLst>
            <a:outerShdw blurRad="266700" dist="50800" dir="2700000" algn="tl" rotWithShape="0">
              <a:schemeClr val="accent1">
                <a:lumMod val="50000"/>
                <a:alpha val="1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a:solidFill>
                <a:srgbClr val="FFFFFF"/>
              </a:solidFill>
              <a:latin typeface="Arial"/>
              <a:sym typeface="Calibri"/>
            </a:endParaRPr>
          </a:p>
        </p:txBody>
      </p:sp>
    </p:spTree>
    <p:extLst>
      <p:ext uri="{BB962C8B-B14F-4D97-AF65-F5344CB8AC3E}">
        <p14:creationId xmlns:p14="http://schemas.microsoft.com/office/powerpoint/2010/main" val="4273773955"/>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5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任意多边形: 形状 34">
            <a:extLst>
              <a:ext uri="{FF2B5EF4-FFF2-40B4-BE49-F238E27FC236}">
                <a16:creationId xmlns:a16="http://schemas.microsoft.com/office/drawing/2014/main" id="{355549B3-1B41-8C20-9066-E673AB526A42}"/>
              </a:ext>
            </a:extLst>
          </p:cNvPr>
          <p:cNvSpPr/>
          <p:nvPr/>
        </p:nvSpPr>
        <p:spPr>
          <a:xfrm>
            <a:off x="4223288" y="1583071"/>
            <a:ext cx="3745424" cy="4362910"/>
          </a:xfrm>
          <a:custGeom>
            <a:avLst/>
            <a:gdLst>
              <a:gd name="connsiteX0" fmla="*/ 1872713 w 3745424"/>
              <a:gd name="connsiteY0" fmla="*/ 0 h 4362910"/>
              <a:gd name="connsiteX1" fmla="*/ 3745424 w 3745424"/>
              <a:gd name="connsiteY1" fmla="*/ 440366 h 4362910"/>
              <a:gd name="connsiteX2" fmla="*/ 3741443 w 3745424"/>
              <a:gd name="connsiteY2" fmla="*/ 458906 h 4362910"/>
              <a:gd name="connsiteX3" fmla="*/ 3745422 w 3745424"/>
              <a:gd name="connsiteY3" fmla="*/ 458906 h 4362910"/>
              <a:gd name="connsiteX4" fmla="*/ 3738513 w 3745424"/>
              <a:gd name="connsiteY4" fmla="*/ 472554 h 4362910"/>
              <a:gd name="connsiteX5" fmla="*/ 3735756 w 3745424"/>
              <a:gd name="connsiteY5" fmla="*/ 485391 h 4362910"/>
              <a:gd name="connsiteX6" fmla="*/ 3718744 w 3745424"/>
              <a:gd name="connsiteY6" fmla="*/ 511602 h 4362910"/>
              <a:gd name="connsiteX7" fmla="*/ 3390567 w 3745424"/>
              <a:gd name="connsiteY7" fmla="*/ 1159832 h 4362910"/>
              <a:gd name="connsiteX8" fmla="*/ 2132387 w 3745424"/>
              <a:gd name="connsiteY8" fmla="*/ 3645049 h 4362910"/>
              <a:gd name="connsiteX9" fmla="*/ 2129108 w 3745424"/>
              <a:gd name="connsiteY9" fmla="*/ 3645471 h 4362910"/>
              <a:gd name="connsiteX10" fmla="*/ 2129108 w 3745424"/>
              <a:gd name="connsiteY10" fmla="*/ 4250631 h 4362910"/>
              <a:gd name="connsiteX11" fmla="*/ 1872710 w 3745424"/>
              <a:gd name="connsiteY11" fmla="*/ 4362910 h 4362910"/>
              <a:gd name="connsiteX12" fmla="*/ 1616313 w 3745424"/>
              <a:gd name="connsiteY12" fmla="*/ 4250631 h 4362910"/>
              <a:gd name="connsiteX13" fmla="*/ 1616313 w 3745424"/>
              <a:gd name="connsiteY13" fmla="*/ 3645471 h 4362910"/>
              <a:gd name="connsiteX14" fmla="*/ 1613035 w 3745424"/>
              <a:gd name="connsiteY14" fmla="*/ 3645049 h 4362910"/>
              <a:gd name="connsiteX15" fmla="*/ 354855 w 3745424"/>
              <a:gd name="connsiteY15" fmla="*/ 1159832 h 4362910"/>
              <a:gd name="connsiteX16" fmla="*/ 26666 w 3745424"/>
              <a:gd name="connsiteY16" fmla="*/ 511577 h 4362910"/>
              <a:gd name="connsiteX17" fmla="*/ 9670 w 3745424"/>
              <a:gd name="connsiteY17" fmla="*/ 485391 h 4362910"/>
              <a:gd name="connsiteX18" fmla="*/ 6916 w 3745424"/>
              <a:gd name="connsiteY18" fmla="*/ 472567 h 4362910"/>
              <a:gd name="connsiteX19" fmla="*/ 0 w 3745424"/>
              <a:gd name="connsiteY19" fmla="*/ 458906 h 4362910"/>
              <a:gd name="connsiteX20" fmla="*/ 3983 w 3745424"/>
              <a:gd name="connsiteY20" fmla="*/ 458906 h 4362910"/>
              <a:gd name="connsiteX21" fmla="*/ 1 w 3745424"/>
              <a:gd name="connsiteY21" fmla="*/ 440366 h 4362910"/>
              <a:gd name="connsiteX22" fmla="*/ 1872713 w 3745424"/>
              <a:gd name="connsiteY22" fmla="*/ 0 h 4362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745424" h="4362910">
                <a:moveTo>
                  <a:pt x="1872713" y="0"/>
                </a:moveTo>
                <a:cubicBezTo>
                  <a:pt x="2906982" y="0"/>
                  <a:pt x="3745424" y="197158"/>
                  <a:pt x="3745424" y="440366"/>
                </a:cubicBezTo>
                <a:lnTo>
                  <a:pt x="3741443" y="458906"/>
                </a:lnTo>
                <a:lnTo>
                  <a:pt x="3745422" y="458906"/>
                </a:lnTo>
                <a:lnTo>
                  <a:pt x="3738513" y="472554"/>
                </a:lnTo>
                <a:lnTo>
                  <a:pt x="3735756" y="485391"/>
                </a:lnTo>
                <a:lnTo>
                  <a:pt x="3718744" y="511602"/>
                </a:lnTo>
                <a:lnTo>
                  <a:pt x="3390567" y="1159832"/>
                </a:lnTo>
                <a:lnTo>
                  <a:pt x="2132387" y="3645049"/>
                </a:lnTo>
                <a:lnTo>
                  <a:pt x="2129108" y="3645471"/>
                </a:lnTo>
                <a:lnTo>
                  <a:pt x="2129108" y="4250631"/>
                </a:lnTo>
                <a:cubicBezTo>
                  <a:pt x="2129108" y="4312641"/>
                  <a:pt x="2014315" y="4362910"/>
                  <a:pt x="1872710" y="4362910"/>
                </a:cubicBezTo>
                <a:cubicBezTo>
                  <a:pt x="1731106" y="4362910"/>
                  <a:pt x="1616313" y="4312641"/>
                  <a:pt x="1616313" y="4250631"/>
                </a:cubicBezTo>
                <a:lnTo>
                  <a:pt x="1616313" y="3645471"/>
                </a:lnTo>
                <a:lnTo>
                  <a:pt x="1613035" y="3645049"/>
                </a:lnTo>
                <a:lnTo>
                  <a:pt x="354855" y="1159832"/>
                </a:lnTo>
                <a:lnTo>
                  <a:pt x="26666" y="511577"/>
                </a:lnTo>
                <a:lnTo>
                  <a:pt x="9670" y="485391"/>
                </a:lnTo>
                <a:lnTo>
                  <a:pt x="6916" y="472567"/>
                </a:lnTo>
                <a:lnTo>
                  <a:pt x="0" y="458906"/>
                </a:lnTo>
                <a:lnTo>
                  <a:pt x="3983" y="458906"/>
                </a:lnTo>
                <a:lnTo>
                  <a:pt x="1" y="440366"/>
                </a:lnTo>
                <a:cubicBezTo>
                  <a:pt x="1" y="197158"/>
                  <a:pt x="838443" y="0"/>
                  <a:pt x="1872713" y="0"/>
                </a:cubicBezTo>
                <a:close/>
              </a:path>
            </a:pathLst>
          </a:custGeom>
          <a:gradFill flip="none" rotWithShape="1">
            <a:gsLst>
              <a:gs pos="100000">
                <a:schemeClr val="accent1">
                  <a:lumMod val="0"/>
                  <a:lumOff val="100000"/>
                  <a:alpha val="30000"/>
                </a:schemeClr>
              </a:gs>
              <a:gs pos="0">
                <a:schemeClr val="accent1">
                  <a:lumMod val="15000"/>
                  <a:lumOff val="85000"/>
                </a:schemeClr>
              </a:gs>
            </a:gsLst>
            <a:lin ang="2700000" scaled="0"/>
            <a:tileRect/>
          </a:gradFill>
          <a:ln w="6350" cap="flat" cmpd="sng" algn="ctr">
            <a:gradFill>
              <a:gsLst>
                <a:gs pos="0">
                  <a:schemeClr val="accent1">
                    <a:lumMod val="0"/>
                    <a:lumOff val="100000"/>
                  </a:schemeClr>
                </a:gs>
                <a:gs pos="100000">
                  <a:schemeClr val="accent1">
                    <a:lumMod val="0"/>
                    <a:lumOff val="100000"/>
                  </a:schemeClr>
                </a:gs>
              </a:gsLst>
              <a:lin ang="5400000" scaled="1"/>
            </a:gradFill>
            <a:prstDash val="solid"/>
            <a:miter lim="800000"/>
          </a:ln>
          <a:effectLst>
            <a:outerShdw blurRad="317500" dist="101600" dir="2700000" sx="99000" sy="99000" algn="tl" rotWithShape="0">
              <a:schemeClr val="accent1">
                <a:lumMod val="50000"/>
                <a:alpha val="1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latin typeface="Arial"/>
            </a:endParaRPr>
          </a:p>
        </p:txBody>
      </p:sp>
      <p:sp>
        <p:nvSpPr>
          <p:cNvPr id="37" name="任意多边形: 形状 36">
            <a:extLst>
              <a:ext uri="{FF2B5EF4-FFF2-40B4-BE49-F238E27FC236}">
                <a16:creationId xmlns:a16="http://schemas.microsoft.com/office/drawing/2014/main" id="{C48C044B-996F-F7A8-1598-095DC6DB838B}"/>
              </a:ext>
            </a:extLst>
          </p:cNvPr>
          <p:cNvSpPr/>
          <p:nvPr/>
        </p:nvSpPr>
        <p:spPr>
          <a:xfrm>
            <a:off x="4794585" y="2302950"/>
            <a:ext cx="2602827" cy="2225933"/>
          </a:xfrm>
          <a:custGeom>
            <a:avLst/>
            <a:gdLst>
              <a:gd name="connsiteX0" fmla="*/ 0 w 2602827"/>
              <a:gd name="connsiteY0" fmla="*/ 0 h 2225933"/>
              <a:gd name="connsiteX1" fmla="*/ 2602827 w 2602827"/>
              <a:gd name="connsiteY1" fmla="*/ 0 h 2225933"/>
              <a:gd name="connsiteX2" fmla="*/ 2356226 w 2602827"/>
              <a:gd name="connsiteY2" fmla="*/ 487099 h 2225933"/>
              <a:gd name="connsiteX3" fmla="*/ 1481872 w 2602827"/>
              <a:gd name="connsiteY3" fmla="*/ 2214165 h 2225933"/>
              <a:gd name="connsiteX4" fmla="*/ 1434475 w 2602827"/>
              <a:gd name="connsiteY4" fmla="*/ 2220266 h 2225933"/>
              <a:gd name="connsiteX5" fmla="*/ 1301413 w 2602827"/>
              <a:gd name="connsiteY5" fmla="*/ 2225933 h 2225933"/>
              <a:gd name="connsiteX6" fmla="*/ 1168351 w 2602827"/>
              <a:gd name="connsiteY6" fmla="*/ 2220266 h 2225933"/>
              <a:gd name="connsiteX7" fmla="*/ 1120955 w 2602827"/>
              <a:gd name="connsiteY7" fmla="*/ 2214165 h 2225933"/>
              <a:gd name="connsiteX8" fmla="*/ 246602 w 2602827"/>
              <a:gd name="connsiteY8" fmla="*/ 487099 h 22259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02827" h="2225933">
                <a:moveTo>
                  <a:pt x="0" y="0"/>
                </a:moveTo>
                <a:lnTo>
                  <a:pt x="2602827" y="0"/>
                </a:lnTo>
                <a:lnTo>
                  <a:pt x="2356226" y="487099"/>
                </a:lnTo>
                <a:lnTo>
                  <a:pt x="1481872" y="2214165"/>
                </a:lnTo>
                <a:lnTo>
                  <a:pt x="1434475" y="2220266"/>
                </a:lnTo>
                <a:cubicBezTo>
                  <a:pt x="1390726" y="2224013"/>
                  <a:pt x="1346335" y="2225933"/>
                  <a:pt x="1301413" y="2225933"/>
                </a:cubicBezTo>
                <a:cubicBezTo>
                  <a:pt x="1256492" y="2225933"/>
                  <a:pt x="1212101" y="2224013"/>
                  <a:pt x="1168351" y="2220266"/>
                </a:cubicBezTo>
                <a:lnTo>
                  <a:pt x="1120955" y="2214165"/>
                </a:lnTo>
                <a:lnTo>
                  <a:pt x="246602" y="487099"/>
                </a:lnTo>
                <a:close/>
              </a:path>
            </a:pathLst>
          </a:custGeom>
          <a:gradFill flip="none" rotWithShape="1">
            <a:gsLst>
              <a:gs pos="0">
                <a:schemeClr val="accent1">
                  <a:lumMod val="15000"/>
                  <a:lumOff val="85000"/>
                </a:schemeClr>
              </a:gs>
              <a:gs pos="100000">
                <a:schemeClr val="accent1">
                  <a:lumMod val="80000"/>
                  <a:lumOff val="20000"/>
                </a:schemeClr>
              </a:gs>
            </a:gsLst>
            <a:path path="circle">
              <a:fillToRect r="100000" b="100000"/>
            </a:path>
            <a:tileRect l="-100000" t="-100000"/>
          </a:gradFill>
          <a:ln w="6350">
            <a:gradFill>
              <a:gsLst>
                <a:gs pos="0">
                  <a:schemeClr val="accent1">
                    <a:lumMod val="0"/>
                    <a:lumOff val="100000"/>
                    <a:alpha val="70000"/>
                  </a:schemeClr>
                </a:gs>
                <a:gs pos="100000">
                  <a:schemeClr val="accent1">
                    <a:lumMod val="0"/>
                    <a:lumOff val="100000"/>
                    <a:alpha val="7000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solidFill>
                <a:srgbClr val="FFFFFF"/>
              </a:solidFill>
              <a:latin typeface="Arial"/>
            </a:endParaRPr>
          </a:p>
        </p:txBody>
      </p:sp>
      <p:sp>
        <p:nvSpPr>
          <p:cNvPr id="39" name="任意多边形: 形状 38">
            <a:extLst>
              <a:ext uri="{FF2B5EF4-FFF2-40B4-BE49-F238E27FC236}">
                <a16:creationId xmlns:a16="http://schemas.microsoft.com/office/drawing/2014/main" id="{5CFE7628-6C22-5C89-A13F-D706815847D3}"/>
              </a:ext>
            </a:extLst>
          </p:cNvPr>
          <p:cNvSpPr/>
          <p:nvPr/>
        </p:nvSpPr>
        <p:spPr>
          <a:xfrm>
            <a:off x="4794585" y="1984038"/>
            <a:ext cx="2602828" cy="612052"/>
          </a:xfrm>
          <a:custGeom>
            <a:avLst/>
            <a:gdLst>
              <a:gd name="connsiteX0" fmla="*/ 1301414 w 2602828"/>
              <a:gd name="connsiteY0" fmla="*/ 0 h 612052"/>
              <a:gd name="connsiteX1" fmla="*/ 2602828 w 2602828"/>
              <a:gd name="connsiteY1" fmla="*/ 306026 h 612052"/>
              <a:gd name="connsiteX2" fmla="*/ 1301414 w 2602828"/>
              <a:gd name="connsiteY2" fmla="*/ 612052 h 612052"/>
              <a:gd name="connsiteX3" fmla="*/ 0 w 2602828"/>
              <a:gd name="connsiteY3" fmla="*/ 306026 h 612052"/>
              <a:gd name="connsiteX4" fmla="*/ 1301414 w 2602828"/>
              <a:gd name="connsiteY4" fmla="*/ 0 h 612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02828" h="612052">
                <a:moveTo>
                  <a:pt x="1301414" y="0"/>
                </a:moveTo>
                <a:cubicBezTo>
                  <a:pt x="2020165" y="0"/>
                  <a:pt x="2602828" y="137013"/>
                  <a:pt x="2602828" y="306026"/>
                </a:cubicBezTo>
                <a:cubicBezTo>
                  <a:pt x="2602828" y="475039"/>
                  <a:pt x="2020165" y="612052"/>
                  <a:pt x="1301414" y="612052"/>
                </a:cubicBezTo>
                <a:cubicBezTo>
                  <a:pt x="582663" y="612052"/>
                  <a:pt x="0" y="475039"/>
                  <a:pt x="0" y="306026"/>
                </a:cubicBezTo>
                <a:cubicBezTo>
                  <a:pt x="0" y="137013"/>
                  <a:pt x="582663" y="0"/>
                  <a:pt x="1301414" y="0"/>
                </a:cubicBezTo>
                <a:close/>
              </a:path>
            </a:pathLst>
          </a:custGeom>
          <a:gradFill flip="none" rotWithShape="1">
            <a:gsLst>
              <a:gs pos="100000">
                <a:schemeClr val="accent1">
                  <a:lumMod val="50000"/>
                  <a:lumOff val="50000"/>
                </a:schemeClr>
              </a:gs>
              <a:gs pos="0">
                <a:schemeClr val="accent1">
                  <a:lumMod val="25000"/>
                  <a:lumOff val="75000"/>
                </a:schemeClr>
              </a:gs>
            </a:gsLst>
            <a:lin ang="2700000" scaled="1"/>
            <a:tileRect/>
          </a:gradFill>
          <a:ln w="6350">
            <a:gradFill>
              <a:gsLst>
                <a:gs pos="0">
                  <a:schemeClr val="accent1">
                    <a:lumMod val="0"/>
                    <a:lumOff val="100000"/>
                    <a:alpha val="70000"/>
                  </a:schemeClr>
                </a:gs>
                <a:gs pos="100000">
                  <a:schemeClr val="accent1">
                    <a:lumMod val="0"/>
                    <a:lumOff val="100000"/>
                    <a:alpha val="70000"/>
                  </a:schemeClr>
                </a:gs>
              </a:gsLst>
              <a:lin ang="5400000" scaled="1"/>
            </a:gradFill>
          </a:ln>
          <a:effectLst>
            <a:outerShdw blurRad="190500" dist="101600" dir="2700000" algn="tl" rotWithShape="0">
              <a:schemeClr val="accent1">
                <a:alpha val="12000"/>
              </a:schemeClr>
            </a:outerShdw>
          </a:effectLst>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485899" tIns="63500" rIns="1485901" bIns="63500" numCol="1" spcCol="1270" anchor="ctr" anchorCtr="0">
            <a:noAutofit/>
          </a:bodyPr>
          <a:lstStyle/>
          <a:p>
            <a:pPr algn="ctr" defTabSz="2222500">
              <a:lnSpc>
                <a:spcPct val="90000"/>
              </a:lnSpc>
              <a:spcBef>
                <a:spcPct val="0"/>
              </a:spcBef>
              <a:spcAft>
                <a:spcPct val="35000"/>
              </a:spcAft>
            </a:pPr>
            <a:endParaRPr lang="en-US" sz="3200">
              <a:solidFill>
                <a:prstClr val="white"/>
              </a:solidFill>
              <a:latin typeface="等线" panose="020F0502020204030204"/>
              <a:ea typeface="等线" panose="02010600030101010101" pitchFamily="2" charset="-122"/>
            </a:endParaRPr>
          </a:p>
        </p:txBody>
      </p:sp>
      <p:sp>
        <p:nvSpPr>
          <p:cNvPr id="41" name="任意多边形: 形状 40">
            <a:extLst>
              <a:ext uri="{FF2B5EF4-FFF2-40B4-BE49-F238E27FC236}">
                <a16:creationId xmlns:a16="http://schemas.microsoft.com/office/drawing/2014/main" id="{7B5F0770-46BC-22CF-37EC-B72376E3CD2D}"/>
              </a:ext>
            </a:extLst>
          </p:cNvPr>
          <p:cNvSpPr/>
          <p:nvPr/>
        </p:nvSpPr>
        <p:spPr>
          <a:xfrm>
            <a:off x="5839600" y="5721423"/>
            <a:ext cx="512796" cy="224558"/>
          </a:xfrm>
          <a:custGeom>
            <a:avLst/>
            <a:gdLst>
              <a:gd name="connsiteX0" fmla="*/ 256398 w 512796"/>
              <a:gd name="connsiteY0" fmla="*/ 0 h 224558"/>
              <a:gd name="connsiteX1" fmla="*/ 512796 w 512796"/>
              <a:gd name="connsiteY1" fmla="*/ 112279 h 224558"/>
              <a:gd name="connsiteX2" fmla="*/ 256398 w 512796"/>
              <a:gd name="connsiteY2" fmla="*/ 224558 h 224558"/>
              <a:gd name="connsiteX3" fmla="*/ 0 w 512796"/>
              <a:gd name="connsiteY3" fmla="*/ 112279 h 224558"/>
              <a:gd name="connsiteX4" fmla="*/ 256398 w 512796"/>
              <a:gd name="connsiteY4" fmla="*/ 0 h 2245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2796" h="224558">
                <a:moveTo>
                  <a:pt x="256398" y="0"/>
                </a:moveTo>
                <a:cubicBezTo>
                  <a:pt x="398003" y="0"/>
                  <a:pt x="512796" y="50269"/>
                  <a:pt x="512796" y="112279"/>
                </a:cubicBezTo>
                <a:cubicBezTo>
                  <a:pt x="512796" y="174289"/>
                  <a:pt x="398003" y="224558"/>
                  <a:pt x="256398" y="224558"/>
                </a:cubicBezTo>
                <a:cubicBezTo>
                  <a:pt x="114793" y="224558"/>
                  <a:pt x="0" y="174289"/>
                  <a:pt x="0" y="112279"/>
                </a:cubicBezTo>
                <a:cubicBezTo>
                  <a:pt x="0" y="50269"/>
                  <a:pt x="114793" y="0"/>
                  <a:pt x="256398" y="0"/>
                </a:cubicBezTo>
                <a:close/>
              </a:path>
            </a:pathLst>
          </a:custGeom>
          <a:gradFill flip="none" rotWithShape="1">
            <a:gsLst>
              <a:gs pos="100000">
                <a:schemeClr val="accent1">
                  <a:lumMod val="0"/>
                  <a:lumOff val="100000"/>
                  <a:alpha val="20000"/>
                </a:schemeClr>
              </a:gs>
              <a:gs pos="0">
                <a:schemeClr val="accent1">
                  <a:lumMod val="15000"/>
                  <a:lumOff val="85000"/>
                </a:schemeClr>
              </a:gs>
            </a:gsLst>
            <a:lin ang="2700000" scaled="0"/>
            <a:tileRect/>
          </a:gradFill>
          <a:ln w="6350" cap="flat" cmpd="sng" algn="ctr">
            <a:gradFill>
              <a:gsLst>
                <a:gs pos="0">
                  <a:schemeClr val="accent1">
                    <a:lumMod val="0"/>
                    <a:lumOff val="100000"/>
                  </a:schemeClr>
                </a:gs>
                <a:gs pos="100000">
                  <a:schemeClr val="accent1">
                    <a:lumMod val="0"/>
                    <a:lumOff val="100000"/>
                  </a:schemeClr>
                </a:gs>
              </a:gsLst>
              <a:lin ang="5400000" scaled="1"/>
            </a:gradFill>
            <a:prstDash val="solid"/>
            <a:miter lim="800000"/>
          </a:ln>
          <a:effectLst>
            <a:outerShdw blurRad="317500" dist="127000" dir="2700000" algn="tl" rotWithShape="0">
              <a:schemeClr val="accent1">
                <a:lumMod val="50000"/>
                <a:alpha val="1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latin typeface="Arial"/>
            </a:endParaRPr>
          </a:p>
        </p:txBody>
      </p:sp>
      <p:cxnSp>
        <p:nvCxnSpPr>
          <p:cNvPr id="27" name="w27">
            <a:extLst>
              <a:ext uri="{FF2B5EF4-FFF2-40B4-BE49-F238E27FC236}">
                <a16:creationId xmlns:a16="http://schemas.microsoft.com/office/drawing/2014/main" id="{F98A269D-802A-293F-E184-8AD32B1C4C67}"/>
              </a:ext>
            </a:extLst>
          </p:cNvPr>
          <p:cNvCxnSpPr>
            <a:cxnSpLocks/>
          </p:cNvCxnSpPr>
          <p:nvPr/>
        </p:nvCxnSpPr>
        <p:spPr>
          <a:xfrm>
            <a:off x="6095998" y="4528883"/>
            <a:ext cx="1" cy="1867867"/>
          </a:xfrm>
          <a:prstGeom prst="line">
            <a:avLst/>
          </a:prstGeom>
          <a:noFill/>
          <a:ln w="22225" cap="rnd">
            <a:gradFill>
              <a:gsLst>
                <a:gs pos="0">
                  <a:schemeClr val="accent1">
                    <a:alpha val="20000"/>
                  </a:schemeClr>
                </a:gs>
                <a:gs pos="100000">
                  <a:schemeClr val="accent1">
                    <a:alpha val="70000"/>
                  </a:schemeClr>
                </a:gs>
              </a:gsLst>
              <a:lin ang="5400000" scaled="1"/>
            </a:gradFill>
            <a:prstDash val="solid"/>
            <a:round/>
            <a:headEnd type="none"/>
            <a:tailEnd type="arrow"/>
          </a:ln>
        </p:spPr>
        <p:style>
          <a:lnRef idx="2">
            <a:schemeClr val="accent1">
              <a:shade val="50000"/>
            </a:schemeClr>
          </a:lnRef>
          <a:fillRef idx="1">
            <a:schemeClr val="accent1"/>
          </a:fillRef>
          <a:effectRef idx="0">
            <a:schemeClr val="accent1"/>
          </a:effectRef>
          <a:fontRef idx="minor">
            <a:schemeClr val="lt1"/>
          </a:fontRef>
        </p:style>
      </p:cxnSp>
      <p:cxnSp>
        <p:nvCxnSpPr>
          <p:cNvPr id="29" name="w29">
            <a:extLst>
              <a:ext uri="{FF2B5EF4-FFF2-40B4-BE49-F238E27FC236}">
                <a16:creationId xmlns:a16="http://schemas.microsoft.com/office/drawing/2014/main" id="{B39A1BBE-6C87-3A09-7A63-017E24AE6643}"/>
              </a:ext>
            </a:extLst>
          </p:cNvPr>
          <p:cNvCxnSpPr>
            <a:cxnSpLocks/>
          </p:cNvCxnSpPr>
          <p:nvPr/>
        </p:nvCxnSpPr>
        <p:spPr>
          <a:xfrm>
            <a:off x="6095997" y="2915001"/>
            <a:ext cx="0" cy="956913"/>
          </a:xfrm>
          <a:prstGeom prst="line">
            <a:avLst/>
          </a:prstGeom>
          <a:noFill/>
          <a:ln w="22225" cap="rnd">
            <a:gradFill>
              <a:gsLst>
                <a:gs pos="0">
                  <a:schemeClr val="accent1">
                    <a:alpha val="20000"/>
                  </a:schemeClr>
                </a:gs>
                <a:gs pos="100000">
                  <a:schemeClr val="accent1">
                    <a:alpha val="70000"/>
                  </a:schemeClr>
                </a:gs>
              </a:gsLst>
              <a:lin ang="5400000" scaled="1"/>
            </a:gradFill>
            <a:prstDash val="solid"/>
            <a:round/>
            <a:headEnd type="none"/>
            <a:tailEnd type="arrow"/>
          </a:ln>
        </p:spPr>
        <p:style>
          <a:lnRef idx="2">
            <a:schemeClr val="accent1">
              <a:shade val="50000"/>
            </a:schemeClr>
          </a:lnRef>
          <a:fillRef idx="1">
            <a:schemeClr val="accent1"/>
          </a:fillRef>
          <a:effectRef idx="0">
            <a:schemeClr val="accent1"/>
          </a:effectRef>
          <a:fontRef idx="minor">
            <a:schemeClr val="lt1"/>
          </a:fontRef>
        </p:style>
      </p:cxnSp>
      <p:cxnSp>
        <p:nvCxnSpPr>
          <p:cNvPr id="30" name="w30">
            <a:extLst>
              <a:ext uri="{FF2B5EF4-FFF2-40B4-BE49-F238E27FC236}">
                <a16:creationId xmlns:a16="http://schemas.microsoft.com/office/drawing/2014/main" id="{F8C1B027-C424-813D-8070-3C813ADB1487}"/>
              </a:ext>
            </a:extLst>
          </p:cNvPr>
          <p:cNvCxnSpPr>
            <a:cxnSpLocks/>
          </p:cNvCxnSpPr>
          <p:nvPr/>
        </p:nvCxnSpPr>
        <p:spPr>
          <a:xfrm>
            <a:off x="6095999" y="495300"/>
            <a:ext cx="0" cy="2100790"/>
          </a:xfrm>
          <a:prstGeom prst="line">
            <a:avLst/>
          </a:prstGeom>
          <a:noFill/>
          <a:ln w="22225" cap="rnd">
            <a:gradFill>
              <a:gsLst>
                <a:gs pos="0">
                  <a:schemeClr val="accent1">
                    <a:alpha val="20000"/>
                  </a:schemeClr>
                </a:gs>
                <a:gs pos="100000">
                  <a:schemeClr val="accent1">
                    <a:alpha val="70000"/>
                  </a:schemeClr>
                </a:gs>
              </a:gsLst>
              <a:lin ang="5400000" scaled="1"/>
            </a:gradFill>
            <a:prstDash val="solid"/>
            <a:round/>
            <a:headEnd type="none"/>
            <a:tailEnd type="none"/>
          </a:ln>
        </p:spPr>
        <p:style>
          <a:lnRef idx="2">
            <a:schemeClr val="accent1">
              <a:shade val="50000"/>
            </a:schemeClr>
          </a:lnRef>
          <a:fillRef idx="1">
            <a:schemeClr val="accent1"/>
          </a:fillRef>
          <a:effectRef idx="0">
            <a:schemeClr val="accent1"/>
          </a:effectRef>
          <a:fontRef idx="minor">
            <a:schemeClr val="lt1"/>
          </a:fontRef>
        </p:style>
      </p:cxnSp>
      <p:cxnSp>
        <p:nvCxnSpPr>
          <p:cNvPr id="31" name="w31">
            <a:extLst>
              <a:ext uri="{FF2B5EF4-FFF2-40B4-BE49-F238E27FC236}">
                <a16:creationId xmlns:a16="http://schemas.microsoft.com/office/drawing/2014/main" id="{87CE84A0-F40B-1BC3-9B33-9DB697AAEC46}"/>
              </a:ext>
            </a:extLst>
          </p:cNvPr>
          <p:cNvCxnSpPr>
            <a:cxnSpLocks/>
          </p:cNvCxnSpPr>
          <p:nvPr/>
        </p:nvCxnSpPr>
        <p:spPr>
          <a:xfrm>
            <a:off x="5136445" y="2694788"/>
            <a:ext cx="874354" cy="1727066"/>
          </a:xfrm>
          <a:prstGeom prst="line">
            <a:avLst/>
          </a:prstGeom>
          <a:noFill/>
          <a:ln w="22225" cap="rnd">
            <a:gradFill>
              <a:gsLst>
                <a:gs pos="0">
                  <a:schemeClr val="accent1">
                    <a:alpha val="20000"/>
                    <a:lumMod val="0"/>
                    <a:lumOff val="100000"/>
                  </a:schemeClr>
                </a:gs>
                <a:gs pos="100000">
                  <a:schemeClr val="accent1">
                    <a:alpha val="70000"/>
                    <a:lumMod val="20000"/>
                    <a:lumOff val="80000"/>
                  </a:schemeClr>
                </a:gs>
              </a:gsLst>
              <a:lin ang="5400000" scaled="1"/>
            </a:gradFill>
            <a:prstDash val="solid"/>
            <a:round/>
            <a:headEnd type="none"/>
            <a:tailEnd type="arrow"/>
          </a:ln>
        </p:spPr>
        <p:style>
          <a:lnRef idx="2">
            <a:schemeClr val="accent1">
              <a:shade val="50000"/>
            </a:schemeClr>
          </a:lnRef>
          <a:fillRef idx="1">
            <a:schemeClr val="accent1"/>
          </a:fillRef>
          <a:effectRef idx="0">
            <a:schemeClr val="accent1"/>
          </a:effectRef>
          <a:fontRef idx="minor">
            <a:schemeClr val="lt1"/>
          </a:fontRef>
        </p:style>
      </p:cxnSp>
      <p:cxnSp>
        <p:nvCxnSpPr>
          <p:cNvPr id="32" name="w32">
            <a:extLst>
              <a:ext uri="{FF2B5EF4-FFF2-40B4-BE49-F238E27FC236}">
                <a16:creationId xmlns:a16="http://schemas.microsoft.com/office/drawing/2014/main" id="{AEE9696F-9012-6544-F877-DD6810B468E8}"/>
              </a:ext>
            </a:extLst>
          </p:cNvPr>
          <p:cNvCxnSpPr>
            <a:cxnSpLocks/>
          </p:cNvCxnSpPr>
          <p:nvPr/>
        </p:nvCxnSpPr>
        <p:spPr>
          <a:xfrm flipH="1">
            <a:off x="6181196" y="2694788"/>
            <a:ext cx="874354" cy="1727066"/>
          </a:xfrm>
          <a:prstGeom prst="line">
            <a:avLst/>
          </a:prstGeom>
          <a:noFill/>
          <a:ln w="22225" cap="rnd">
            <a:gradFill>
              <a:gsLst>
                <a:gs pos="0">
                  <a:schemeClr val="accent1">
                    <a:alpha val="20000"/>
                    <a:lumMod val="0"/>
                    <a:lumOff val="100000"/>
                  </a:schemeClr>
                </a:gs>
                <a:gs pos="100000">
                  <a:schemeClr val="accent1">
                    <a:alpha val="70000"/>
                    <a:lumMod val="20000"/>
                    <a:lumOff val="80000"/>
                  </a:schemeClr>
                </a:gs>
              </a:gsLst>
              <a:lin ang="5400000" scaled="1"/>
            </a:gradFill>
            <a:prstDash val="solid"/>
            <a:round/>
            <a:headEnd type="none"/>
            <a:tailEnd type="arrow"/>
          </a:ln>
        </p:spPr>
        <p:style>
          <a:lnRef idx="2">
            <a:schemeClr val="accent1">
              <a:shade val="50000"/>
            </a:schemeClr>
          </a:lnRef>
          <a:fillRef idx="1">
            <a:schemeClr val="accent1"/>
          </a:fillRef>
          <a:effectRef idx="0">
            <a:schemeClr val="accent1"/>
          </a:effectRef>
          <a:fontRef idx="minor">
            <a:schemeClr val="lt1"/>
          </a:fontRef>
        </p:style>
      </p:cxnSp>
      <p:sp>
        <p:nvSpPr>
          <p:cNvPr id="57" name="弧形 56">
            <a:extLst>
              <a:ext uri="{FF2B5EF4-FFF2-40B4-BE49-F238E27FC236}">
                <a16:creationId xmlns:a16="http://schemas.microsoft.com/office/drawing/2014/main" id="{20DAE5C9-CAA3-9A86-416E-6AB640F5D004}"/>
              </a:ext>
            </a:extLst>
          </p:cNvPr>
          <p:cNvSpPr/>
          <p:nvPr/>
        </p:nvSpPr>
        <p:spPr>
          <a:xfrm flipV="1">
            <a:off x="5303044" y="955251"/>
            <a:ext cx="1585912" cy="354104"/>
          </a:xfrm>
          <a:prstGeom prst="arc">
            <a:avLst>
              <a:gd name="adj1" fmla="val 9702657"/>
              <a:gd name="adj2" fmla="val 11845202"/>
            </a:avLst>
          </a:prstGeom>
          <a:ln w="6350" cap="rnd">
            <a:gradFill>
              <a:gsLst>
                <a:gs pos="0">
                  <a:schemeClr val="accent1">
                    <a:lumMod val="60000"/>
                    <a:lumOff val="40000"/>
                    <a:alpha val="0"/>
                  </a:schemeClr>
                </a:gs>
                <a:gs pos="90000">
                  <a:schemeClr val="accent1">
                    <a:lumMod val="60000"/>
                    <a:lumOff val="40000"/>
                  </a:schemeClr>
                </a:gs>
              </a:gsLst>
              <a:lin ang="5400000" scaled="1"/>
            </a:gradFill>
            <a:round/>
          </a:ln>
        </p:spPr>
        <p:style>
          <a:lnRef idx="1">
            <a:schemeClr val="accent1"/>
          </a:lnRef>
          <a:fillRef idx="0">
            <a:schemeClr val="accent1"/>
          </a:fillRef>
          <a:effectRef idx="0">
            <a:schemeClr val="accent1"/>
          </a:effectRef>
          <a:fontRef idx="minor">
            <a:schemeClr val="tx1"/>
          </a:fontRef>
        </p:style>
        <p:txBody>
          <a:bodyPr rtlCol="0" anchor="ctr"/>
          <a:lstStyle/>
          <a:p>
            <a:pPr algn="ctr">
              <a:defRPr/>
            </a:pPr>
            <a:endParaRPr lang="zh-CN" altLang="en-US" dirty="0">
              <a:solidFill>
                <a:prstClr val="black"/>
              </a:solidFill>
              <a:latin typeface="等线" panose="020F0502020204030204"/>
              <a:ea typeface="等线" panose="02010600030101010101" pitchFamily="2" charset="-122"/>
            </a:endParaRPr>
          </a:p>
        </p:txBody>
      </p:sp>
      <p:sp>
        <p:nvSpPr>
          <p:cNvPr id="52" name="弧形 51">
            <a:extLst>
              <a:ext uri="{FF2B5EF4-FFF2-40B4-BE49-F238E27FC236}">
                <a16:creationId xmlns:a16="http://schemas.microsoft.com/office/drawing/2014/main" id="{0B21164D-CB3E-8BBA-43F4-A99D2EE89F7F}"/>
              </a:ext>
            </a:extLst>
          </p:cNvPr>
          <p:cNvSpPr/>
          <p:nvPr/>
        </p:nvSpPr>
        <p:spPr>
          <a:xfrm flipH="1">
            <a:off x="5303044" y="955251"/>
            <a:ext cx="1585912" cy="354104"/>
          </a:xfrm>
          <a:prstGeom prst="arc">
            <a:avLst>
              <a:gd name="adj1" fmla="val 9702657"/>
              <a:gd name="adj2" fmla="val 11845202"/>
            </a:avLst>
          </a:prstGeom>
          <a:ln w="6350" cap="rnd">
            <a:gradFill>
              <a:gsLst>
                <a:gs pos="0">
                  <a:schemeClr val="accent1">
                    <a:lumMod val="60000"/>
                    <a:lumOff val="40000"/>
                    <a:alpha val="0"/>
                  </a:schemeClr>
                </a:gs>
                <a:gs pos="90000">
                  <a:schemeClr val="accent1">
                    <a:lumMod val="60000"/>
                    <a:lumOff val="40000"/>
                  </a:schemeClr>
                </a:gs>
              </a:gsLst>
              <a:lin ang="5400000" scaled="1"/>
            </a:gradFill>
            <a:round/>
          </a:ln>
        </p:spPr>
        <p:style>
          <a:lnRef idx="1">
            <a:schemeClr val="accent1"/>
          </a:lnRef>
          <a:fillRef idx="0">
            <a:schemeClr val="accent1"/>
          </a:fillRef>
          <a:effectRef idx="0">
            <a:schemeClr val="accent1"/>
          </a:effectRef>
          <a:fontRef idx="minor">
            <a:schemeClr val="tx1"/>
          </a:fontRef>
        </p:style>
        <p:txBody>
          <a:bodyPr rtlCol="0" anchor="ctr"/>
          <a:lstStyle/>
          <a:p>
            <a:pPr algn="ctr">
              <a:defRPr/>
            </a:pPr>
            <a:endParaRPr lang="zh-CN" altLang="en-US" dirty="0">
              <a:solidFill>
                <a:prstClr val="black"/>
              </a:solidFill>
              <a:latin typeface="等线" panose="020F0502020204030204"/>
              <a:ea typeface="等线" panose="02010600030101010101" pitchFamily="2" charset="-122"/>
            </a:endParaRPr>
          </a:p>
        </p:txBody>
      </p:sp>
    </p:spTree>
    <p:extLst>
      <p:ext uri="{BB962C8B-B14F-4D97-AF65-F5344CB8AC3E}">
        <p14:creationId xmlns:p14="http://schemas.microsoft.com/office/powerpoint/2010/main" val="888081825"/>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5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任意多边形: 形状 46">
            <a:extLst>
              <a:ext uri="{FF2B5EF4-FFF2-40B4-BE49-F238E27FC236}">
                <a16:creationId xmlns:a16="http://schemas.microsoft.com/office/drawing/2014/main" id="{44F58E91-9A26-CB70-A0E9-F6462FAAD3BD}"/>
              </a:ext>
            </a:extLst>
          </p:cNvPr>
          <p:cNvSpPr/>
          <p:nvPr/>
        </p:nvSpPr>
        <p:spPr>
          <a:xfrm>
            <a:off x="5841645" y="4513587"/>
            <a:ext cx="729615" cy="497218"/>
          </a:xfrm>
          <a:custGeom>
            <a:avLst/>
            <a:gdLst>
              <a:gd name="connsiteX0" fmla="*/ 729615 w 729615"/>
              <a:gd name="connsiteY0" fmla="*/ 0 h 497218"/>
              <a:gd name="connsiteX1" fmla="*/ 660082 w 729615"/>
              <a:gd name="connsiteY1" fmla="*/ 386715 h 497218"/>
              <a:gd name="connsiteX2" fmla="*/ 364807 w 729615"/>
              <a:gd name="connsiteY2" fmla="*/ 497205 h 497218"/>
              <a:gd name="connsiteX3" fmla="*/ 67627 w 729615"/>
              <a:gd name="connsiteY3" fmla="*/ 383857 h 497218"/>
              <a:gd name="connsiteX4" fmla="*/ 0 w 729615"/>
              <a:gd name="connsiteY4" fmla="*/ 8572 h 497218"/>
              <a:gd name="connsiteX5" fmla="*/ 362902 w 729615"/>
              <a:gd name="connsiteY5" fmla="*/ 132397 h 497218"/>
              <a:gd name="connsiteX6" fmla="*/ 729615 w 729615"/>
              <a:gd name="connsiteY6" fmla="*/ 0 h 497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29615" h="497218">
                <a:moveTo>
                  <a:pt x="729615" y="0"/>
                </a:moveTo>
                <a:cubicBezTo>
                  <a:pt x="686752" y="130492"/>
                  <a:pt x="666750" y="260985"/>
                  <a:pt x="660082" y="386715"/>
                </a:cubicBezTo>
                <a:cubicBezTo>
                  <a:pt x="663893" y="449580"/>
                  <a:pt x="534352" y="498157"/>
                  <a:pt x="364807" y="497205"/>
                </a:cubicBezTo>
                <a:cubicBezTo>
                  <a:pt x="195263" y="496253"/>
                  <a:pt x="65722" y="445770"/>
                  <a:pt x="67627" y="383857"/>
                </a:cubicBezTo>
                <a:cubicBezTo>
                  <a:pt x="60007" y="260985"/>
                  <a:pt x="40005" y="135255"/>
                  <a:pt x="0" y="8572"/>
                </a:cubicBezTo>
                <a:cubicBezTo>
                  <a:pt x="28575" y="78105"/>
                  <a:pt x="181927" y="132397"/>
                  <a:pt x="362902" y="132397"/>
                </a:cubicBezTo>
                <a:cubicBezTo>
                  <a:pt x="550545" y="132397"/>
                  <a:pt x="708660" y="73342"/>
                  <a:pt x="729615" y="0"/>
                </a:cubicBezTo>
                <a:close/>
              </a:path>
            </a:pathLst>
          </a:custGeom>
          <a:gradFill flip="none" rotWithShape="1">
            <a:gsLst>
              <a:gs pos="0">
                <a:schemeClr val="accent1">
                  <a:lumMod val="75000"/>
                  <a:lumOff val="25000"/>
                </a:schemeClr>
              </a:gs>
              <a:gs pos="100000">
                <a:schemeClr val="accent1">
                  <a:lumMod val="80000"/>
                </a:schemeClr>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solidFill>
                <a:srgbClr val="FFFFFF"/>
              </a:solidFill>
              <a:latin typeface="Arial"/>
            </a:endParaRPr>
          </a:p>
        </p:txBody>
      </p:sp>
      <p:sp>
        <p:nvSpPr>
          <p:cNvPr id="48" name="任意多边形: 形状 47">
            <a:extLst>
              <a:ext uri="{FF2B5EF4-FFF2-40B4-BE49-F238E27FC236}">
                <a16:creationId xmlns:a16="http://schemas.microsoft.com/office/drawing/2014/main" id="{AE7E841C-AAFE-DF4F-1722-89402B11F968}"/>
              </a:ext>
            </a:extLst>
          </p:cNvPr>
          <p:cNvSpPr/>
          <p:nvPr/>
        </p:nvSpPr>
        <p:spPr>
          <a:xfrm>
            <a:off x="5838052" y="4379907"/>
            <a:ext cx="734902" cy="267664"/>
          </a:xfrm>
          <a:custGeom>
            <a:avLst/>
            <a:gdLst>
              <a:gd name="connsiteX0" fmla="*/ 368399 w 734902"/>
              <a:gd name="connsiteY0" fmla="*/ 11 h 267664"/>
              <a:gd name="connsiteX1" fmla="*/ 733207 w 734902"/>
              <a:gd name="connsiteY1" fmla="*/ 133361 h 267664"/>
              <a:gd name="connsiteX2" fmla="*/ 732254 w 734902"/>
              <a:gd name="connsiteY2" fmla="*/ 135266 h 267664"/>
              <a:gd name="connsiteX3" fmla="*/ 366494 w 734902"/>
              <a:gd name="connsiteY3" fmla="*/ 267664 h 267664"/>
              <a:gd name="connsiteX4" fmla="*/ 4544 w 734902"/>
              <a:gd name="connsiteY4" fmla="*/ 143839 h 267664"/>
              <a:gd name="connsiteX5" fmla="*/ 2639 w 734902"/>
              <a:gd name="connsiteY5" fmla="*/ 138124 h 267664"/>
              <a:gd name="connsiteX6" fmla="*/ 2639 w 734902"/>
              <a:gd name="connsiteY6" fmla="*/ 137171 h 267664"/>
              <a:gd name="connsiteX7" fmla="*/ 1687 w 734902"/>
              <a:gd name="connsiteY7" fmla="*/ 135266 h 267664"/>
              <a:gd name="connsiteX8" fmla="*/ 368399 w 734902"/>
              <a:gd name="connsiteY8" fmla="*/ 11 h 2676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34902" h="267664">
                <a:moveTo>
                  <a:pt x="368399" y="11"/>
                </a:moveTo>
                <a:cubicBezTo>
                  <a:pt x="594142" y="-941"/>
                  <a:pt x="753209" y="59066"/>
                  <a:pt x="733207" y="133361"/>
                </a:cubicBezTo>
                <a:cubicBezTo>
                  <a:pt x="732254" y="134314"/>
                  <a:pt x="732254" y="134314"/>
                  <a:pt x="732254" y="135266"/>
                </a:cubicBezTo>
                <a:cubicBezTo>
                  <a:pt x="711299" y="208609"/>
                  <a:pt x="553184" y="267664"/>
                  <a:pt x="366494" y="267664"/>
                </a:cubicBezTo>
                <a:cubicBezTo>
                  <a:pt x="185519" y="267664"/>
                  <a:pt x="32167" y="213371"/>
                  <a:pt x="4544" y="143839"/>
                </a:cubicBezTo>
                <a:cubicBezTo>
                  <a:pt x="3592" y="141934"/>
                  <a:pt x="3592" y="140029"/>
                  <a:pt x="2639" y="138124"/>
                </a:cubicBezTo>
                <a:cubicBezTo>
                  <a:pt x="2639" y="138124"/>
                  <a:pt x="2639" y="137171"/>
                  <a:pt x="2639" y="137171"/>
                </a:cubicBezTo>
                <a:cubicBezTo>
                  <a:pt x="1687" y="136219"/>
                  <a:pt x="1687" y="136219"/>
                  <a:pt x="1687" y="135266"/>
                </a:cubicBezTo>
                <a:cubicBezTo>
                  <a:pt x="-18316" y="61924"/>
                  <a:pt x="141704" y="964"/>
                  <a:pt x="368399" y="11"/>
                </a:cubicBezTo>
                <a:close/>
              </a:path>
            </a:pathLst>
          </a:custGeom>
          <a:gradFill flip="none" rotWithShape="1">
            <a:gsLst>
              <a:gs pos="100000">
                <a:schemeClr val="accent1">
                  <a:lumMod val="100000"/>
                </a:schemeClr>
              </a:gs>
              <a:gs pos="0">
                <a:schemeClr val="accent1">
                  <a:lumMod val="55000"/>
                  <a:lumOff val="45000"/>
                </a:schemeClr>
              </a:gs>
            </a:gsLst>
            <a:lin ang="2700000" scaled="1"/>
            <a:tileRect/>
          </a:gradFill>
          <a:ln w="25400">
            <a:noFill/>
          </a:ln>
          <a:effectLst>
            <a:outerShdw blurRad="254000" dist="177800" dir="2700000" algn="tl" rotWithShape="0">
              <a:schemeClr val="accent1">
                <a:alpha val="20000"/>
              </a:schemeClr>
            </a:outerShdw>
          </a:effectLst>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485899" tIns="63500" rIns="1485901" bIns="63500" numCol="1" spcCol="1270" anchor="ctr" anchorCtr="0">
            <a:noAutofit/>
          </a:bodyPr>
          <a:lstStyle/>
          <a:p>
            <a:pPr algn="ctr" defTabSz="2222500">
              <a:lnSpc>
                <a:spcPct val="90000"/>
              </a:lnSpc>
              <a:spcBef>
                <a:spcPct val="0"/>
              </a:spcBef>
              <a:spcAft>
                <a:spcPct val="35000"/>
              </a:spcAft>
            </a:pPr>
            <a:endParaRPr lang="en-US" sz="3200">
              <a:solidFill>
                <a:prstClr val="white"/>
              </a:solidFill>
              <a:latin typeface="等线" panose="020F0502020204030204"/>
              <a:ea typeface="等线" panose="02010600030101010101" pitchFamily="2" charset="-122"/>
            </a:endParaRPr>
          </a:p>
        </p:txBody>
      </p:sp>
      <p:sp>
        <p:nvSpPr>
          <p:cNvPr id="50" name="任意多边形: 形状 49">
            <a:extLst>
              <a:ext uri="{FF2B5EF4-FFF2-40B4-BE49-F238E27FC236}">
                <a16:creationId xmlns:a16="http://schemas.microsoft.com/office/drawing/2014/main" id="{3A001B34-50E5-4B91-6B70-144DAC9914A0}"/>
              </a:ext>
            </a:extLst>
          </p:cNvPr>
          <p:cNvSpPr/>
          <p:nvPr/>
        </p:nvSpPr>
        <p:spPr>
          <a:xfrm>
            <a:off x="5426353" y="3694650"/>
            <a:ext cx="1561148" cy="857257"/>
          </a:xfrm>
          <a:custGeom>
            <a:avLst/>
            <a:gdLst>
              <a:gd name="connsiteX0" fmla="*/ 1560195 w 1561148"/>
              <a:gd name="connsiteY0" fmla="*/ 0 h 857257"/>
              <a:gd name="connsiteX1" fmla="*/ 1561148 w 1561148"/>
              <a:gd name="connsiteY1" fmla="*/ 0 h 857257"/>
              <a:gd name="connsiteX2" fmla="*/ 1205865 w 1561148"/>
              <a:gd name="connsiteY2" fmla="*/ 655320 h 857257"/>
              <a:gd name="connsiteX3" fmla="*/ 773430 w 1561148"/>
              <a:gd name="connsiteY3" fmla="*/ 857250 h 857257"/>
              <a:gd name="connsiteX4" fmla="*/ 340995 w 1561148"/>
              <a:gd name="connsiteY4" fmla="*/ 661988 h 857257"/>
              <a:gd name="connsiteX5" fmla="*/ 0 w 1561148"/>
              <a:gd name="connsiteY5" fmla="*/ 30480 h 857257"/>
              <a:gd name="connsiteX6" fmla="*/ 774383 w 1561148"/>
              <a:gd name="connsiteY6" fmla="*/ 226695 h 857257"/>
              <a:gd name="connsiteX7" fmla="*/ 1560195 w 1561148"/>
              <a:gd name="connsiteY7" fmla="*/ 0 h 8572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61148" h="857257">
                <a:moveTo>
                  <a:pt x="1560195" y="0"/>
                </a:moveTo>
                <a:cubicBezTo>
                  <a:pt x="1560195" y="0"/>
                  <a:pt x="1561148" y="0"/>
                  <a:pt x="1561148" y="0"/>
                </a:cubicBezTo>
                <a:cubicBezTo>
                  <a:pt x="1394460" y="212408"/>
                  <a:pt x="1281113" y="433388"/>
                  <a:pt x="1205865" y="655320"/>
                </a:cubicBezTo>
                <a:cubicBezTo>
                  <a:pt x="1171575" y="766763"/>
                  <a:pt x="983933" y="856297"/>
                  <a:pt x="773430" y="857250"/>
                </a:cubicBezTo>
                <a:cubicBezTo>
                  <a:pt x="562928" y="858202"/>
                  <a:pt x="375285" y="770572"/>
                  <a:pt x="340995" y="661988"/>
                </a:cubicBezTo>
                <a:cubicBezTo>
                  <a:pt x="267653" y="447675"/>
                  <a:pt x="159067" y="235267"/>
                  <a:pt x="0" y="30480"/>
                </a:cubicBezTo>
                <a:cubicBezTo>
                  <a:pt x="107633" y="142875"/>
                  <a:pt x="433388" y="230505"/>
                  <a:pt x="774383" y="226695"/>
                </a:cubicBezTo>
                <a:cubicBezTo>
                  <a:pt x="1125855" y="222885"/>
                  <a:pt x="1465898" y="120015"/>
                  <a:pt x="1560195" y="0"/>
                </a:cubicBezTo>
                <a:close/>
              </a:path>
            </a:pathLst>
          </a:custGeom>
          <a:gradFill flip="none" rotWithShape="1">
            <a:gsLst>
              <a:gs pos="0">
                <a:schemeClr val="accent1">
                  <a:lumMod val="55000"/>
                  <a:lumOff val="45000"/>
                </a:schemeClr>
              </a:gs>
              <a:gs pos="100000">
                <a:schemeClr val="accent1">
                  <a:lumMod val="90000"/>
                </a:schemeClr>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solidFill>
                <a:srgbClr val="FFFFFF"/>
              </a:solidFill>
              <a:latin typeface="Arial"/>
            </a:endParaRPr>
          </a:p>
        </p:txBody>
      </p:sp>
      <p:sp>
        <p:nvSpPr>
          <p:cNvPr id="52" name="任意多边形: 形状 51">
            <a:extLst>
              <a:ext uri="{FF2B5EF4-FFF2-40B4-BE49-F238E27FC236}">
                <a16:creationId xmlns:a16="http://schemas.microsoft.com/office/drawing/2014/main" id="{A6B1220A-0AFC-3C75-4DA7-851EF26557B8}"/>
              </a:ext>
            </a:extLst>
          </p:cNvPr>
          <p:cNvSpPr/>
          <p:nvPr/>
        </p:nvSpPr>
        <p:spPr>
          <a:xfrm>
            <a:off x="5400223" y="3491841"/>
            <a:ext cx="1603554" cy="433855"/>
          </a:xfrm>
          <a:custGeom>
            <a:avLst/>
            <a:gdLst>
              <a:gd name="connsiteX0" fmla="*/ 803371 w 1603554"/>
              <a:gd name="connsiteY0" fmla="*/ 349 h 433855"/>
              <a:gd name="connsiteX1" fmla="*/ 1588231 w 1603554"/>
              <a:gd name="connsiteY1" fmla="*/ 204184 h 433855"/>
              <a:gd name="connsiteX2" fmla="*/ 1586326 w 1603554"/>
              <a:gd name="connsiteY2" fmla="*/ 207042 h 433855"/>
              <a:gd name="connsiteX3" fmla="*/ 800513 w 1603554"/>
              <a:gd name="connsiteY3" fmla="*/ 433737 h 433855"/>
              <a:gd name="connsiteX4" fmla="*/ 25178 w 1603554"/>
              <a:gd name="connsiteY4" fmla="*/ 238474 h 433855"/>
              <a:gd name="connsiteX5" fmla="*/ 17558 w 1603554"/>
              <a:gd name="connsiteY5" fmla="*/ 228949 h 433855"/>
              <a:gd name="connsiteX6" fmla="*/ 16606 w 1603554"/>
              <a:gd name="connsiteY6" fmla="*/ 227044 h 433855"/>
              <a:gd name="connsiteX7" fmla="*/ 14701 w 1603554"/>
              <a:gd name="connsiteY7" fmla="*/ 224187 h 433855"/>
              <a:gd name="connsiteX8" fmla="*/ 803371 w 1603554"/>
              <a:gd name="connsiteY8" fmla="*/ 349 h 433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03554" h="433855">
                <a:moveTo>
                  <a:pt x="803371" y="349"/>
                </a:moveTo>
                <a:cubicBezTo>
                  <a:pt x="1339628" y="-6318"/>
                  <a:pt x="1681576" y="83217"/>
                  <a:pt x="1588231" y="204184"/>
                </a:cubicBezTo>
                <a:cubicBezTo>
                  <a:pt x="1588231" y="205137"/>
                  <a:pt x="1587278" y="206089"/>
                  <a:pt x="1586326" y="207042"/>
                </a:cubicBezTo>
                <a:cubicBezTo>
                  <a:pt x="1492028" y="327057"/>
                  <a:pt x="1151986" y="429927"/>
                  <a:pt x="800513" y="433737"/>
                </a:cubicBezTo>
                <a:cubicBezTo>
                  <a:pt x="459518" y="437547"/>
                  <a:pt x="132811" y="348964"/>
                  <a:pt x="25178" y="238474"/>
                </a:cubicBezTo>
                <a:cubicBezTo>
                  <a:pt x="22321" y="235617"/>
                  <a:pt x="19463" y="231807"/>
                  <a:pt x="17558" y="228949"/>
                </a:cubicBezTo>
                <a:cubicBezTo>
                  <a:pt x="17558" y="227997"/>
                  <a:pt x="16606" y="227997"/>
                  <a:pt x="16606" y="227044"/>
                </a:cubicBezTo>
                <a:cubicBezTo>
                  <a:pt x="15653" y="226092"/>
                  <a:pt x="15653" y="225139"/>
                  <a:pt x="14701" y="224187"/>
                </a:cubicBezTo>
                <a:cubicBezTo>
                  <a:pt x="-76739" y="105124"/>
                  <a:pt x="267113" y="7017"/>
                  <a:pt x="803371" y="349"/>
                </a:cubicBezTo>
                <a:close/>
              </a:path>
            </a:pathLst>
          </a:custGeom>
          <a:gradFill flip="none" rotWithShape="1">
            <a:gsLst>
              <a:gs pos="100000">
                <a:schemeClr val="accent1">
                  <a:lumMod val="80000"/>
                  <a:lumOff val="20000"/>
                </a:schemeClr>
              </a:gs>
              <a:gs pos="0">
                <a:schemeClr val="accent1">
                  <a:lumMod val="35000"/>
                  <a:lumOff val="65000"/>
                </a:schemeClr>
              </a:gs>
            </a:gsLst>
            <a:lin ang="2700000" scaled="1"/>
            <a:tileRect/>
          </a:gradFill>
          <a:ln w="25400">
            <a:noFill/>
          </a:ln>
          <a:effectLst>
            <a:outerShdw blurRad="254000" dist="177800" dir="2700000" algn="tl" rotWithShape="0">
              <a:schemeClr val="accent1">
                <a:alpha val="20000"/>
              </a:schemeClr>
            </a:outerShdw>
          </a:effectLst>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485899" tIns="63500" rIns="1485901" bIns="63500" numCol="1" spcCol="1270" anchor="ctr" anchorCtr="0">
            <a:noAutofit/>
          </a:bodyPr>
          <a:lstStyle/>
          <a:p>
            <a:pPr algn="ctr" defTabSz="2222500">
              <a:lnSpc>
                <a:spcPct val="90000"/>
              </a:lnSpc>
              <a:spcBef>
                <a:spcPct val="0"/>
              </a:spcBef>
              <a:spcAft>
                <a:spcPct val="35000"/>
              </a:spcAft>
            </a:pPr>
            <a:endParaRPr lang="en-US" sz="3200">
              <a:solidFill>
                <a:prstClr val="white"/>
              </a:solidFill>
              <a:latin typeface="等线" panose="020F0502020204030204"/>
              <a:ea typeface="等线" panose="02010600030101010101" pitchFamily="2" charset="-122"/>
            </a:endParaRPr>
          </a:p>
        </p:txBody>
      </p:sp>
      <p:sp>
        <p:nvSpPr>
          <p:cNvPr id="54" name="任意多边形: 形状 53">
            <a:extLst>
              <a:ext uri="{FF2B5EF4-FFF2-40B4-BE49-F238E27FC236}">
                <a16:creationId xmlns:a16="http://schemas.microsoft.com/office/drawing/2014/main" id="{4C57A7B1-1741-66CC-9EAE-3455EF41B932}"/>
              </a:ext>
            </a:extLst>
          </p:cNvPr>
          <p:cNvSpPr/>
          <p:nvPr/>
        </p:nvSpPr>
        <p:spPr>
          <a:xfrm>
            <a:off x="4210964" y="2608268"/>
            <a:ext cx="3989070" cy="1129062"/>
          </a:xfrm>
          <a:custGeom>
            <a:avLst/>
            <a:gdLst>
              <a:gd name="connsiteX0" fmla="*/ 3986213 w 3989070"/>
              <a:gd name="connsiteY0" fmla="*/ 0 h 1129062"/>
              <a:gd name="connsiteX1" fmla="*/ 3989070 w 3989070"/>
              <a:gd name="connsiteY1" fmla="*/ 0 h 1129062"/>
              <a:gd name="connsiteX2" fmla="*/ 2975610 w 3989070"/>
              <a:gd name="connsiteY2" fmla="*/ 839153 h 1129062"/>
              <a:gd name="connsiteX3" fmla="*/ 1986915 w 3989070"/>
              <a:gd name="connsiteY3" fmla="*/ 1128713 h 1129062"/>
              <a:gd name="connsiteX4" fmla="*/ 1001078 w 3989070"/>
              <a:gd name="connsiteY4" fmla="*/ 871538 h 1129062"/>
              <a:gd name="connsiteX5" fmla="*/ 1000125 w 3989070"/>
              <a:gd name="connsiteY5" fmla="*/ 871538 h 1129062"/>
              <a:gd name="connsiteX6" fmla="*/ 0 w 3989070"/>
              <a:gd name="connsiteY6" fmla="*/ 60008 h 1129062"/>
              <a:gd name="connsiteX7" fmla="*/ 1990725 w 3989070"/>
              <a:gd name="connsiteY7" fmla="*/ 291465 h 1129062"/>
              <a:gd name="connsiteX8" fmla="*/ 3986213 w 3989070"/>
              <a:gd name="connsiteY8" fmla="*/ 0 h 1129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89070" h="1129062">
                <a:moveTo>
                  <a:pt x="3986213" y="0"/>
                </a:moveTo>
                <a:cubicBezTo>
                  <a:pt x="3987165" y="0"/>
                  <a:pt x="3988118" y="0"/>
                  <a:pt x="3989070" y="0"/>
                </a:cubicBezTo>
                <a:cubicBezTo>
                  <a:pt x="3547110" y="252413"/>
                  <a:pt x="3220403" y="537210"/>
                  <a:pt x="2975610" y="839153"/>
                </a:cubicBezTo>
                <a:cubicBezTo>
                  <a:pt x="2854643" y="989648"/>
                  <a:pt x="2424113" y="1122045"/>
                  <a:pt x="1986915" y="1128713"/>
                </a:cubicBezTo>
                <a:cubicBezTo>
                  <a:pt x="1549718" y="1136333"/>
                  <a:pt x="1120140" y="1018223"/>
                  <a:pt x="1001078" y="871538"/>
                </a:cubicBezTo>
                <a:cubicBezTo>
                  <a:pt x="1000125" y="871538"/>
                  <a:pt x="1000125" y="871538"/>
                  <a:pt x="1000125" y="871538"/>
                </a:cubicBezTo>
                <a:cubicBezTo>
                  <a:pt x="759143" y="577215"/>
                  <a:pt x="436245" y="301943"/>
                  <a:pt x="0" y="60008"/>
                </a:cubicBezTo>
                <a:cubicBezTo>
                  <a:pt x="248603" y="197168"/>
                  <a:pt x="1118235" y="306705"/>
                  <a:pt x="1990725" y="291465"/>
                </a:cubicBezTo>
                <a:cubicBezTo>
                  <a:pt x="2864168" y="278130"/>
                  <a:pt x="3735705" y="141923"/>
                  <a:pt x="3986213" y="0"/>
                </a:cubicBezTo>
                <a:close/>
              </a:path>
            </a:pathLst>
          </a:custGeom>
          <a:gradFill flip="none" rotWithShape="1">
            <a:gsLst>
              <a:gs pos="0">
                <a:schemeClr val="accent1">
                  <a:lumMod val="15000"/>
                  <a:lumOff val="85000"/>
                </a:schemeClr>
              </a:gs>
              <a:gs pos="100000">
                <a:schemeClr val="accent1">
                  <a:lumMod val="80000"/>
                  <a:lumOff val="20000"/>
                </a:schemeClr>
              </a:gs>
            </a:gsLst>
            <a:path path="circle">
              <a:fillToRect r="100000" b="100000"/>
            </a:path>
            <a:tileRect l="-100000" t="-100000"/>
          </a:gradFill>
          <a:ln w="6350">
            <a:gradFill>
              <a:gsLst>
                <a:gs pos="0">
                  <a:schemeClr val="accent1">
                    <a:lumMod val="0"/>
                    <a:lumOff val="100000"/>
                    <a:alpha val="70000"/>
                  </a:schemeClr>
                </a:gs>
                <a:gs pos="100000">
                  <a:schemeClr val="accent1">
                    <a:lumMod val="0"/>
                    <a:lumOff val="100000"/>
                    <a:alpha val="7000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solidFill>
                <a:srgbClr val="FFFFFF"/>
              </a:solidFill>
              <a:latin typeface="Arial"/>
            </a:endParaRPr>
          </a:p>
        </p:txBody>
      </p:sp>
      <p:sp>
        <p:nvSpPr>
          <p:cNvPr id="56" name="任意多边形: 形状 55">
            <a:extLst>
              <a:ext uri="{FF2B5EF4-FFF2-40B4-BE49-F238E27FC236}">
                <a16:creationId xmlns:a16="http://schemas.microsoft.com/office/drawing/2014/main" id="{CC5818B9-3163-AA60-28DA-DFFC2E78B23C}"/>
              </a:ext>
            </a:extLst>
          </p:cNvPr>
          <p:cNvSpPr/>
          <p:nvPr/>
        </p:nvSpPr>
        <p:spPr>
          <a:xfrm>
            <a:off x="4164083" y="2394544"/>
            <a:ext cx="4080910" cy="510564"/>
          </a:xfrm>
          <a:custGeom>
            <a:avLst/>
            <a:gdLst>
              <a:gd name="connsiteX0" fmla="*/ 2531329 w 4080910"/>
              <a:gd name="connsiteY0" fmla="*/ 346 h 510564"/>
              <a:gd name="connsiteX1" fmla="*/ 4038809 w 4080910"/>
              <a:gd name="connsiteY1" fmla="*/ 214996 h 510564"/>
              <a:gd name="connsiteX2" fmla="*/ 4033094 w 4080910"/>
              <a:gd name="connsiteY2" fmla="*/ 217853 h 510564"/>
              <a:gd name="connsiteX3" fmla="*/ 2037606 w 4080910"/>
              <a:gd name="connsiteY3" fmla="*/ 509318 h 510564"/>
              <a:gd name="connsiteX4" fmla="*/ 46881 w 4080910"/>
              <a:gd name="connsiteY4" fmla="*/ 276908 h 510564"/>
              <a:gd name="connsiteX5" fmla="*/ 41166 w 4080910"/>
              <a:gd name="connsiteY5" fmla="*/ 274051 h 510564"/>
              <a:gd name="connsiteX6" fmla="*/ 2042369 w 4080910"/>
              <a:gd name="connsiteY6" fmla="*/ 2588 h 510564"/>
              <a:gd name="connsiteX7" fmla="*/ 2531329 w 4080910"/>
              <a:gd name="connsiteY7" fmla="*/ 346 h 5105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80910" h="510564">
                <a:moveTo>
                  <a:pt x="2531329" y="346"/>
                </a:moveTo>
                <a:cubicBezTo>
                  <a:pt x="3612611" y="6324"/>
                  <a:pt x="4256337" y="89147"/>
                  <a:pt x="4038809" y="214996"/>
                </a:cubicBezTo>
                <a:cubicBezTo>
                  <a:pt x="4036904" y="215948"/>
                  <a:pt x="4034999" y="216901"/>
                  <a:pt x="4033094" y="217853"/>
                </a:cubicBezTo>
                <a:cubicBezTo>
                  <a:pt x="3782587" y="359776"/>
                  <a:pt x="2910096" y="495983"/>
                  <a:pt x="2037606" y="509318"/>
                </a:cubicBezTo>
                <a:cubicBezTo>
                  <a:pt x="1165116" y="523606"/>
                  <a:pt x="294531" y="413116"/>
                  <a:pt x="46881" y="276908"/>
                </a:cubicBezTo>
                <a:cubicBezTo>
                  <a:pt x="44976" y="275956"/>
                  <a:pt x="43071" y="275003"/>
                  <a:pt x="41166" y="274051"/>
                </a:cubicBezTo>
                <a:cubicBezTo>
                  <a:pt x="-204579" y="135938"/>
                  <a:pt x="673626" y="21638"/>
                  <a:pt x="2042369" y="2588"/>
                </a:cubicBezTo>
                <a:cubicBezTo>
                  <a:pt x="2213462" y="207"/>
                  <a:pt x="2376860" y="-508"/>
                  <a:pt x="2531329" y="346"/>
                </a:cubicBezTo>
                <a:close/>
              </a:path>
            </a:pathLst>
          </a:custGeom>
          <a:gradFill flip="none" rotWithShape="1">
            <a:gsLst>
              <a:gs pos="100000">
                <a:schemeClr val="accent1">
                  <a:lumMod val="50000"/>
                  <a:lumOff val="50000"/>
                </a:schemeClr>
              </a:gs>
              <a:gs pos="0">
                <a:schemeClr val="accent1">
                  <a:lumMod val="25000"/>
                  <a:lumOff val="75000"/>
                </a:schemeClr>
              </a:gs>
            </a:gsLst>
            <a:lin ang="2700000" scaled="1"/>
            <a:tileRect/>
          </a:gradFill>
          <a:ln w="6350">
            <a:gradFill>
              <a:gsLst>
                <a:gs pos="0">
                  <a:schemeClr val="accent1">
                    <a:lumMod val="0"/>
                    <a:lumOff val="100000"/>
                    <a:alpha val="70000"/>
                  </a:schemeClr>
                </a:gs>
                <a:gs pos="100000">
                  <a:schemeClr val="accent1">
                    <a:lumMod val="0"/>
                    <a:lumOff val="100000"/>
                    <a:alpha val="70000"/>
                  </a:schemeClr>
                </a:gs>
              </a:gsLst>
              <a:lin ang="5400000" scaled="1"/>
            </a:gradFill>
          </a:ln>
          <a:effectLst>
            <a:outerShdw blurRad="190500" dist="101600" dir="2700000" algn="tl" rotWithShape="0">
              <a:schemeClr val="accent1">
                <a:alpha val="12000"/>
              </a:schemeClr>
            </a:outerShdw>
          </a:effectLst>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485899" tIns="63500" rIns="1485901" bIns="63500" numCol="1" spcCol="1270" anchor="ctr" anchorCtr="0">
            <a:noAutofit/>
          </a:bodyPr>
          <a:lstStyle/>
          <a:p>
            <a:pPr algn="ctr" defTabSz="2222500">
              <a:lnSpc>
                <a:spcPct val="90000"/>
              </a:lnSpc>
              <a:spcBef>
                <a:spcPct val="0"/>
              </a:spcBef>
              <a:spcAft>
                <a:spcPct val="35000"/>
              </a:spcAft>
            </a:pPr>
            <a:endParaRPr lang="en-US" sz="3200">
              <a:solidFill>
                <a:prstClr val="white"/>
              </a:solidFill>
              <a:latin typeface="等线" panose="020F0502020204030204"/>
              <a:ea typeface="等线" panose="02010600030101010101" pitchFamily="2" charset="-122"/>
            </a:endParaRPr>
          </a:p>
        </p:txBody>
      </p:sp>
      <p:sp>
        <p:nvSpPr>
          <p:cNvPr id="58" name="任意多边形: 形状 57">
            <a:extLst>
              <a:ext uri="{FF2B5EF4-FFF2-40B4-BE49-F238E27FC236}">
                <a16:creationId xmlns:a16="http://schemas.microsoft.com/office/drawing/2014/main" id="{33015478-DBA5-AF7B-932C-548B7EBCCD5E}"/>
              </a:ext>
            </a:extLst>
          </p:cNvPr>
          <p:cNvSpPr/>
          <p:nvPr/>
        </p:nvSpPr>
        <p:spPr>
          <a:xfrm>
            <a:off x="4659949" y="1563744"/>
            <a:ext cx="1717578" cy="1337411"/>
          </a:xfrm>
          <a:custGeom>
            <a:avLst/>
            <a:gdLst>
              <a:gd name="connsiteX0" fmla="*/ 858789 w 1717578"/>
              <a:gd name="connsiteY0" fmla="*/ 0 h 1337411"/>
              <a:gd name="connsiteX1" fmla="*/ 1717578 w 1717578"/>
              <a:gd name="connsiteY1" fmla="*/ 858789 h 1337411"/>
              <a:gd name="connsiteX2" fmla="*/ 1650090 w 1717578"/>
              <a:gd name="connsiteY2" fmla="*/ 1193069 h 1337411"/>
              <a:gd name="connsiteX3" fmla="*/ 1573063 w 1717578"/>
              <a:gd name="connsiteY3" fmla="*/ 1334981 h 1337411"/>
              <a:gd name="connsiteX4" fmla="*/ 1541740 w 1717578"/>
              <a:gd name="connsiteY4" fmla="*/ 1335992 h 1337411"/>
              <a:gd name="connsiteX5" fmla="*/ 312420 w 1717578"/>
              <a:gd name="connsiteY5" fmla="*/ 1277414 h 1337411"/>
              <a:gd name="connsiteX6" fmla="*/ 96879 w 1717578"/>
              <a:gd name="connsiteY6" fmla="*/ 1247217 h 1337411"/>
              <a:gd name="connsiteX7" fmla="*/ 67488 w 1717578"/>
              <a:gd name="connsiteY7" fmla="*/ 1193069 h 1337411"/>
              <a:gd name="connsiteX8" fmla="*/ 0 w 1717578"/>
              <a:gd name="connsiteY8" fmla="*/ 858789 h 1337411"/>
              <a:gd name="connsiteX9" fmla="*/ 858789 w 1717578"/>
              <a:gd name="connsiteY9" fmla="*/ 0 h 13374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17578" h="1337411">
                <a:moveTo>
                  <a:pt x="858789" y="0"/>
                </a:moveTo>
                <a:cubicBezTo>
                  <a:pt x="1333085" y="0"/>
                  <a:pt x="1717578" y="384493"/>
                  <a:pt x="1717578" y="858789"/>
                </a:cubicBezTo>
                <a:cubicBezTo>
                  <a:pt x="1717578" y="977363"/>
                  <a:pt x="1693547" y="1090324"/>
                  <a:pt x="1650090" y="1193069"/>
                </a:cubicBezTo>
                <a:lnTo>
                  <a:pt x="1573063" y="1334981"/>
                </a:lnTo>
                <a:lnTo>
                  <a:pt x="1541740" y="1335992"/>
                </a:lnTo>
                <a:cubicBezTo>
                  <a:pt x="1105495" y="1343612"/>
                  <a:pt x="669965" y="1320038"/>
                  <a:pt x="312420" y="1277414"/>
                </a:cubicBezTo>
                <a:lnTo>
                  <a:pt x="96879" y="1247217"/>
                </a:lnTo>
                <a:lnTo>
                  <a:pt x="67488" y="1193069"/>
                </a:lnTo>
                <a:cubicBezTo>
                  <a:pt x="24031" y="1090324"/>
                  <a:pt x="0" y="977363"/>
                  <a:pt x="0" y="858789"/>
                </a:cubicBezTo>
                <a:cubicBezTo>
                  <a:pt x="0" y="384493"/>
                  <a:pt x="384493" y="0"/>
                  <a:pt x="858789" y="0"/>
                </a:cubicBezTo>
                <a:close/>
              </a:path>
            </a:pathLst>
          </a:custGeom>
          <a:gradFill>
            <a:gsLst>
              <a:gs pos="0">
                <a:schemeClr val="accent1">
                  <a:lumMod val="10000"/>
                  <a:lumOff val="90000"/>
                </a:schemeClr>
              </a:gs>
              <a:gs pos="100000">
                <a:schemeClr val="accent1">
                  <a:lumMod val="58000"/>
                  <a:lumOff val="42000"/>
                </a:schemeClr>
              </a:gs>
              <a:gs pos="80000">
                <a:schemeClr val="accent1">
                  <a:lumMod val="60000"/>
                  <a:lumOff val="40000"/>
                </a:schemeClr>
              </a:gs>
              <a:gs pos="40000">
                <a:schemeClr val="accent1">
                  <a:lumMod val="30000"/>
                  <a:lumOff val="70000"/>
                </a:schemeClr>
              </a:gs>
            </a:gsLst>
            <a:path path="circle">
              <a:fillToRect l="10760" t="9529" r="89240" b="90471"/>
            </a:path>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D">
              <a:solidFill>
                <a:srgbClr val="FFFFFF"/>
              </a:solidFill>
              <a:latin typeface="Arial"/>
            </a:endParaRPr>
          </a:p>
        </p:txBody>
      </p:sp>
      <p:sp>
        <p:nvSpPr>
          <p:cNvPr id="60" name="任意多边形: 形状 59">
            <a:extLst>
              <a:ext uri="{FF2B5EF4-FFF2-40B4-BE49-F238E27FC236}">
                <a16:creationId xmlns:a16="http://schemas.microsoft.com/office/drawing/2014/main" id="{0BAE2B4A-B140-EB23-4A0A-34A451C255E5}"/>
              </a:ext>
            </a:extLst>
          </p:cNvPr>
          <p:cNvSpPr/>
          <p:nvPr/>
        </p:nvSpPr>
        <p:spPr>
          <a:xfrm>
            <a:off x="6614845" y="1384517"/>
            <a:ext cx="1367600" cy="1367600"/>
          </a:xfrm>
          <a:custGeom>
            <a:avLst/>
            <a:gdLst>
              <a:gd name="connsiteX0" fmla="*/ 683800 w 1367600"/>
              <a:gd name="connsiteY0" fmla="*/ 0 h 1367600"/>
              <a:gd name="connsiteX1" fmla="*/ 1367600 w 1367600"/>
              <a:gd name="connsiteY1" fmla="*/ 683800 h 1367600"/>
              <a:gd name="connsiteX2" fmla="*/ 683800 w 1367600"/>
              <a:gd name="connsiteY2" fmla="*/ 1367600 h 1367600"/>
              <a:gd name="connsiteX3" fmla="*/ 0 w 1367600"/>
              <a:gd name="connsiteY3" fmla="*/ 683800 h 1367600"/>
              <a:gd name="connsiteX4" fmla="*/ 683800 w 1367600"/>
              <a:gd name="connsiteY4" fmla="*/ 0 h 1367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67600" h="1367600">
                <a:moveTo>
                  <a:pt x="683800" y="0"/>
                </a:moveTo>
                <a:cubicBezTo>
                  <a:pt x="1061452" y="0"/>
                  <a:pt x="1367600" y="306148"/>
                  <a:pt x="1367600" y="683800"/>
                </a:cubicBezTo>
                <a:cubicBezTo>
                  <a:pt x="1367600" y="1061452"/>
                  <a:pt x="1061452" y="1367600"/>
                  <a:pt x="683800" y="1367600"/>
                </a:cubicBezTo>
                <a:cubicBezTo>
                  <a:pt x="306148" y="1367600"/>
                  <a:pt x="0" y="1061452"/>
                  <a:pt x="0" y="683800"/>
                </a:cubicBezTo>
                <a:cubicBezTo>
                  <a:pt x="0" y="306148"/>
                  <a:pt x="306148" y="0"/>
                  <a:pt x="683800" y="0"/>
                </a:cubicBezTo>
                <a:close/>
              </a:path>
            </a:pathLst>
          </a:custGeom>
          <a:gradFill>
            <a:gsLst>
              <a:gs pos="0">
                <a:schemeClr val="accent1">
                  <a:lumMod val="10000"/>
                  <a:lumOff val="90000"/>
                </a:schemeClr>
              </a:gs>
              <a:gs pos="100000">
                <a:schemeClr val="accent1">
                  <a:lumMod val="58000"/>
                  <a:lumOff val="42000"/>
                </a:schemeClr>
              </a:gs>
              <a:gs pos="80000">
                <a:schemeClr val="accent1">
                  <a:lumMod val="60000"/>
                  <a:lumOff val="40000"/>
                </a:schemeClr>
              </a:gs>
              <a:gs pos="40000">
                <a:schemeClr val="accent1">
                  <a:lumMod val="30000"/>
                  <a:lumOff val="70000"/>
                </a:schemeClr>
              </a:gs>
            </a:gsLst>
            <a:path path="circle">
              <a:fillToRect l="10760" t="9529" r="89240" b="90471"/>
            </a:path>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D">
              <a:solidFill>
                <a:srgbClr val="FFFFFF"/>
              </a:solidFill>
              <a:latin typeface="Arial"/>
            </a:endParaRPr>
          </a:p>
        </p:txBody>
      </p:sp>
      <p:sp>
        <p:nvSpPr>
          <p:cNvPr id="23" name="Arc 19">
            <a:extLst>
              <a:ext uri="{FF2B5EF4-FFF2-40B4-BE49-F238E27FC236}">
                <a16:creationId xmlns:a16="http://schemas.microsoft.com/office/drawing/2014/main" id="{06918EEC-1FD2-64DE-A1DE-010F36B033A3}"/>
              </a:ext>
            </a:extLst>
          </p:cNvPr>
          <p:cNvSpPr/>
          <p:nvPr/>
        </p:nvSpPr>
        <p:spPr>
          <a:xfrm>
            <a:off x="4349100" y="1858670"/>
            <a:ext cx="3614813" cy="3614813"/>
          </a:xfrm>
          <a:prstGeom prst="arc">
            <a:avLst>
              <a:gd name="adj1" fmla="val 19227351"/>
              <a:gd name="adj2" fmla="val 2828094"/>
            </a:avLst>
          </a:prstGeom>
          <a:ln w="12700" cap="rnd">
            <a:solidFill>
              <a:schemeClr val="accent1">
                <a:lumMod val="50000"/>
              </a:schemeClr>
            </a:solidFill>
            <a:prstDash val="lgDash"/>
            <a:head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D">
              <a:solidFill>
                <a:srgbClr val="000000"/>
              </a:solidFill>
              <a:latin typeface="Arial"/>
            </a:endParaRPr>
          </a:p>
        </p:txBody>
      </p:sp>
      <p:sp>
        <p:nvSpPr>
          <p:cNvPr id="24" name="Left Brace 20">
            <a:extLst>
              <a:ext uri="{FF2B5EF4-FFF2-40B4-BE49-F238E27FC236}">
                <a16:creationId xmlns:a16="http://schemas.microsoft.com/office/drawing/2014/main" id="{FAE5416A-49CC-A766-6DBF-5F35006944A3}"/>
              </a:ext>
            </a:extLst>
          </p:cNvPr>
          <p:cNvSpPr/>
          <p:nvPr/>
        </p:nvSpPr>
        <p:spPr>
          <a:xfrm>
            <a:off x="3947008" y="1417316"/>
            <a:ext cx="206694" cy="3593490"/>
          </a:xfrm>
          <a:prstGeom prst="leftBrace">
            <a:avLst>
              <a:gd name="adj1" fmla="val 60560"/>
              <a:gd name="adj2" fmla="val 50000"/>
            </a:avLst>
          </a:prstGeom>
          <a:ln w="12700">
            <a:prstDash val="lg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ID" dirty="0">
              <a:solidFill>
                <a:srgbClr val="000000"/>
              </a:solidFill>
              <a:latin typeface="Arial"/>
            </a:endParaRPr>
          </a:p>
        </p:txBody>
      </p:sp>
    </p:spTree>
    <p:extLst>
      <p:ext uri="{BB962C8B-B14F-4D97-AF65-F5344CB8AC3E}">
        <p14:creationId xmlns:p14="http://schemas.microsoft.com/office/powerpoint/2010/main" val="3114533242"/>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5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椭圆 3">
            <a:extLst>
              <a:ext uri="{FF2B5EF4-FFF2-40B4-BE49-F238E27FC236}">
                <a16:creationId xmlns:a16="http://schemas.microsoft.com/office/drawing/2014/main" id="{F5E97C57-8462-9758-1FF4-E002187F7020}"/>
              </a:ext>
            </a:extLst>
          </p:cNvPr>
          <p:cNvSpPr/>
          <p:nvPr/>
        </p:nvSpPr>
        <p:spPr>
          <a:xfrm>
            <a:off x="2383971" y="2333"/>
            <a:ext cx="7424058" cy="7424058"/>
          </a:xfrm>
          <a:prstGeom prst="ellipse">
            <a:avLst/>
          </a:prstGeom>
          <a:gradFill>
            <a:gsLst>
              <a:gs pos="0">
                <a:schemeClr val="accent1">
                  <a:alpha val="0"/>
                </a:schemeClr>
              </a:gs>
              <a:gs pos="30000">
                <a:schemeClr val="accent1">
                  <a:alpha val="20000"/>
                </a:schemeClr>
              </a:gs>
              <a:gs pos="75000">
                <a:schemeClr val="accent1">
                  <a:alpha val="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solidFill>
                <a:srgbClr val="FFFFFF"/>
              </a:solidFill>
              <a:latin typeface="Arial"/>
            </a:endParaRPr>
          </a:p>
        </p:txBody>
      </p:sp>
      <p:sp>
        <p:nvSpPr>
          <p:cNvPr id="93" name="椭圆 92">
            <a:extLst>
              <a:ext uri="{FF2B5EF4-FFF2-40B4-BE49-F238E27FC236}">
                <a16:creationId xmlns:a16="http://schemas.microsoft.com/office/drawing/2014/main" id="{3591FAA1-7282-B93E-93E5-294019EBBECC}"/>
              </a:ext>
            </a:extLst>
          </p:cNvPr>
          <p:cNvSpPr/>
          <p:nvPr/>
        </p:nvSpPr>
        <p:spPr>
          <a:xfrm rot="10800000">
            <a:off x="3603171" y="1519185"/>
            <a:ext cx="4985658" cy="4985658"/>
          </a:xfrm>
          <a:prstGeom prst="ellipse">
            <a:avLst/>
          </a:prstGeom>
          <a:gradFill>
            <a:gsLst>
              <a:gs pos="0">
                <a:schemeClr val="accent1">
                  <a:alpha val="50000"/>
                  <a:lumMod val="40000"/>
                  <a:lumOff val="60000"/>
                </a:schemeClr>
              </a:gs>
              <a:gs pos="80000">
                <a:schemeClr val="accent1">
                  <a:lumMod val="10000"/>
                  <a:lumOff val="90000"/>
                  <a:alpha val="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solidFill>
                <a:srgbClr val="FFFFFF"/>
              </a:solidFill>
              <a:latin typeface="Arial"/>
            </a:endParaRPr>
          </a:p>
        </p:txBody>
      </p:sp>
      <p:sp>
        <p:nvSpPr>
          <p:cNvPr id="94" name="任意多边形: 形状 93">
            <a:extLst>
              <a:ext uri="{FF2B5EF4-FFF2-40B4-BE49-F238E27FC236}">
                <a16:creationId xmlns:a16="http://schemas.microsoft.com/office/drawing/2014/main" id="{456BD53F-1D2F-C9CD-C466-6DE3837C995F}"/>
              </a:ext>
            </a:extLst>
          </p:cNvPr>
          <p:cNvSpPr>
            <a:spLocks/>
          </p:cNvSpPr>
          <p:nvPr/>
        </p:nvSpPr>
        <p:spPr bwMode="auto">
          <a:xfrm>
            <a:off x="4130728" y="1528393"/>
            <a:ext cx="3523567" cy="965954"/>
          </a:xfrm>
          <a:custGeom>
            <a:avLst/>
            <a:gdLst>
              <a:gd name="connsiteX0" fmla="*/ 0 w 3523567"/>
              <a:gd name="connsiteY0" fmla="*/ 0 h 965954"/>
              <a:gd name="connsiteX1" fmla="*/ 3523567 w 3523567"/>
              <a:gd name="connsiteY1" fmla="*/ 593623 h 965954"/>
              <a:gd name="connsiteX2" fmla="*/ 3149656 w 3523567"/>
              <a:gd name="connsiteY2" fmla="*/ 965954 h 965954"/>
              <a:gd name="connsiteX3" fmla="*/ 376844 w 3523567"/>
              <a:gd name="connsiteY3" fmla="*/ 376722 h 965954"/>
            </a:gdLst>
            <a:ahLst/>
            <a:cxnLst>
              <a:cxn ang="0">
                <a:pos x="connsiteX0" y="connsiteY0"/>
              </a:cxn>
              <a:cxn ang="0">
                <a:pos x="connsiteX1" y="connsiteY1"/>
              </a:cxn>
              <a:cxn ang="0">
                <a:pos x="connsiteX2" y="connsiteY2"/>
              </a:cxn>
              <a:cxn ang="0">
                <a:pos x="connsiteX3" y="connsiteY3"/>
              </a:cxn>
            </a:cxnLst>
            <a:rect l="l" t="t" r="r" b="b"/>
            <a:pathLst>
              <a:path w="3523567" h="965954">
                <a:moveTo>
                  <a:pt x="0" y="0"/>
                </a:moveTo>
                <a:lnTo>
                  <a:pt x="3523567" y="593623"/>
                </a:lnTo>
                <a:lnTo>
                  <a:pt x="3149656" y="965954"/>
                </a:lnTo>
                <a:lnTo>
                  <a:pt x="376844" y="376722"/>
                </a:lnTo>
                <a:close/>
              </a:path>
            </a:pathLst>
          </a:custGeom>
          <a:solidFill>
            <a:schemeClr val="accent1">
              <a:lumMod val="60000"/>
              <a:lumOff val="40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solidFill>
                <a:srgbClr val="FFFFFF"/>
              </a:solidFill>
              <a:latin typeface="Arial"/>
            </a:endParaRPr>
          </a:p>
        </p:txBody>
      </p:sp>
      <p:sp>
        <p:nvSpPr>
          <p:cNvPr id="95" name="任意多边形: 形状 94">
            <a:extLst>
              <a:ext uri="{FF2B5EF4-FFF2-40B4-BE49-F238E27FC236}">
                <a16:creationId xmlns:a16="http://schemas.microsoft.com/office/drawing/2014/main" id="{C9A9DFD9-F00B-B6C3-E18F-DB7257EEFC1E}"/>
              </a:ext>
            </a:extLst>
          </p:cNvPr>
          <p:cNvSpPr>
            <a:spLocks/>
          </p:cNvSpPr>
          <p:nvPr/>
        </p:nvSpPr>
        <p:spPr bwMode="auto">
          <a:xfrm>
            <a:off x="4139527" y="1530147"/>
            <a:ext cx="3803634" cy="374966"/>
          </a:xfrm>
          <a:custGeom>
            <a:avLst/>
            <a:gdLst>
              <a:gd name="connsiteX0" fmla="*/ 0 w 3803634"/>
              <a:gd name="connsiteY0" fmla="*/ 0 h 374966"/>
              <a:gd name="connsiteX1" fmla="*/ 1900351 w 3803634"/>
              <a:gd name="connsiteY1" fmla="*/ 0 h 374966"/>
              <a:gd name="connsiteX2" fmla="*/ 3803634 w 3803634"/>
              <a:gd name="connsiteY2" fmla="*/ 0 h 374966"/>
              <a:gd name="connsiteX3" fmla="*/ 3432655 w 3803634"/>
              <a:gd name="connsiteY3" fmla="*/ 374966 h 374966"/>
              <a:gd name="connsiteX4" fmla="*/ 1900351 w 3803634"/>
              <a:gd name="connsiteY4" fmla="*/ 374966 h 374966"/>
              <a:gd name="connsiteX5" fmla="*/ 368046 w 3803634"/>
              <a:gd name="connsiteY5" fmla="*/ 374966 h 374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03634" h="374966">
                <a:moveTo>
                  <a:pt x="0" y="0"/>
                </a:moveTo>
                <a:lnTo>
                  <a:pt x="1900351" y="0"/>
                </a:lnTo>
                <a:lnTo>
                  <a:pt x="3803634" y="0"/>
                </a:lnTo>
                <a:lnTo>
                  <a:pt x="3432655" y="374966"/>
                </a:lnTo>
                <a:lnTo>
                  <a:pt x="1900351" y="374966"/>
                </a:lnTo>
                <a:lnTo>
                  <a:pt x="368046" y="374966"/>
                </a:lnTo>
                <a:close/>
              </a:path>
            </a:pathLst>
          </a:custGeom>
          <a:gradFill flip="none" rotWithShape="1">
            <a:gsLst>
              <a:gs pos="0">
                <a:schemeClr val="accent1">
                  <a:lumMod val="15000"/>
                  <a:lumOff val="85000"/>
                </a:schemeClr>
              </a:gs>
              <a:gs pos="100000">
                <a:schemeClr val="accent1">
                  <a:lumMod val="80000"/>
                  <a:lumOff val="20000"/>
                </a:schemeClr>
              </a:gs>
            </a:gsLst>
            <a:path path="circle">
              <a:fillToRect r="100000" b="100000"/>
            </a:path>
            <a:tileRect l="-100000" t="-100000"/>
          </a:gradFill>
          <a:ln w="6350">
            <a:gradFill>
              <a:gsLst>
                <a:gs pos="0">
                  <a:schemeClr val="accent1">
                    <a:lumMod val="0"/>
                    <a:lumOff val="100000"/>
                    <a:alpha val="70000"/>
                  </a:schemeClr>
                </a:gs>
                <a:gs pos="100000">
                  <a:schemeClr val="accent1">
                    <a:lumMod val="0"/>
                    <a:lumOff val="100000"/>
                    <a:alpha val="7000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solidFill>
                <a:srgbClr val="FFFFFF"/>
              </a:solidFill>
              <a:latin typeface="Arial"/>
            </a:endParaRPr>
          </a:p>
        </p:txBody>
      </p:sp>
      <p:sp>
        <p:nvSpPr>
          <p:cNvPr id="96" name="任意多边形: 形状 95">
            <a:extLst>
              <a:ext uri="{FF2B5EF4-FFF2-40B4-BE49-F238E27FC236}">
                <a16:creationId xmlns:a16="http://schemas.microsoft.com/office/drawing/2014/main" id="{C09EAA6C-8D1A-EF60-06A6-D19C3BF9044D}"/>
              </a:ext>
            </a:extLst>
          </p:cNvPr>
          <p:cNvSpPr>
            <a:spLocks/>
          </p:cNvSpPr>
          <p:nvPr/>
        </p:nvSpPr>
        <p:spPr bwMode="auto">
          <a:xfrm>
            <a:off x="4403251" y="2113038"/>
            <a:ext cx="3019822" cy="965954"/>
          </a:xfrm>
          <a:custGeom>
            <a:avLst/>
            <a:gdLst>
              <a:gd name="connsiteX0" fmla="*/ 0 w 3019822"/>
              <a:gd name="connsiteY0" fmla="*/ 0 h 965954"/>
              <a:gd name="connsiteX1" fmla="*/ 3019822 w 3019822"/>
              <a:gd name="connsiteY1" fmla="*/ 593623 h 965954"/>
              <a:gd name="connsiteX2" fmla="*/ 2699367 w 3019822"/>
              <a:gd name="connsiteY2" fmla="*/ 965954 h 965954"/>
              <a:gd name="connsiteX3" fmla="*/ 322969 w 3019822"/>
              <a:gd name="connsiteY3" fmla="*/ 376722 h 965954"/>
            </a:gdLst>
            <a:ahLst/>
            <a:cxnLst>
              <a:cxn ang="0">
                <a:pos x="connsiteX0" y="connsiteY0"/>
              </a:cxn>
              <a:cxn ang="0">
                <a:pos x="connsiteX1" y="connsiteY1"/>
              </a:cxn>
              <a:cxn ang="0">
                <a:pos x="connsiteX2" y="connsiteY2"/>
              </a:cxn>
              <a:cxn ang="0">
                <a:pos x="connsiteX3" y="connsiteY3"/>
              </a:cxn>
            </a:cxnLst>
            <a:rect l="l" t="t" r="r" b="b"/>
            <a:pathLst>
              <a:path w="3019822" h="965954">
                <a:moveTo>
                  <a:pt x="0" y="0"/>
                </a:moveTo>
                <a:lnTo>
                  <a:pt x="3019822" y="593623"/>
                </a:lnTo>
                <a:lnTo>
                  <a:pt x="2699367" y="965954"/>
                </a:lnTo>
                <a:lnTo>
                  <a:pt x="322969" y="376722"/>
                </a:lnTo>
                <a:close/>
              </a:path>
            </a:pathLst>
          </a:custGeom>
          <a:solidFill>
            <a:schemeClr val="accent1">
              <a:lumMod val="60000"/>
              <a:lumOff val="40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solidFill>
                <a:srgbClr val="FFFFFF"/>
              </a:solidFill>
              <a:latin typeface="Arial"/>
            </a:endParaRPr>
          </a:p>
        </p:txBody>
      </p:sp>
      <p:sp>
        <p:nvSpPr>
          <p:cNvPr id="97" name="任意多边形: 形状 96">
            <a:extLst>
              <a:ext uri="{FF2B5EF4-FFF2-40B4-BE49-F238E27FC236}">
                <a16:creationId xmlns:a16="http://schemas.microsoft.com/office/drawing/2014/main" id="{46700EF4-8A02-D1EE-87A8-88548DB7D8E0}"/>
              </a:ext>
            </a:extLst>
          </p:cNvPr>
          <p:cNvSpPr>
            <a:spLocks/>
          </p:cNvSpPr>
          <p:nvPr/>
        </p:nvSpPr>
        <p:spPr bwMode="auto">
          <a:xfrm>
            <a:off x="4410792" y="2114795"/>
            <a:ext cx="3259849" cy="374966"/>
          </a:xfrm>
          <a:custGeom>
            <a:avLst/>
            <a:gdLst>
              <a:gd name="connsiteX0" fmla="*/ 0 w 3259849"/>
              <a:gd name="connsiteY0" fmla="*/ 0 h 374966"/>
              <a:gd name="connsiteX1" fmla="*/ 1628668 w 3259849"/>
              <a:gd name="connsiteY1" fmla="*/ 0 h 374966"/>
              <a:gd name="connsiteX2" fmla="*/ 3259849 w 3259849"/>
              <a:gd name="connsiteY2" fmla="*/ 0 h 374966"/>
              <a:gd name="connsiteX3" fmla="*/ 2941907 w 3259849"/>
              <a:gd name="connsiteY3" fmla="*/ 374966 h 374966"/>
              <a:gd name="connsiteX4" fmla="*/ 1628668 w 3259849"/>
              <a:gd name="connsiteY4" fmla="*/ 374966 h 374966"/>
              <a:gd name="connsiteX5" fmla="*/ 315429 w 3259849"/>
              <a:gd name="connsiteY5" fmla="*/ 374966 h 374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59849" h="374966">
                <a:moveTo>
                  <a:pt x="0" y="0"/>
                </a:moveTo>
                <a:lnTo>
                  <a:pt x="1628668" y="0"/>
                </a:lnTo>
                <a:lnTo>
                  <a:pt x="3259849" y="0"/>
                </a:lnTo>
                <a:lnTo>
                  <a:pt x="2941907" y="374966"/>
                </a:lnTo>
                <a:lnTo>
                  <a:pt x="1628668" y="374966"/>
                </a:lnTo>
                <a:lnTo>
                  <a:pt x="315429" y="374966"/>
                </a:lnTo>
                <a:close/>
              </a:path>
            </a:pathLst>
          </a:custGeom>
          <a:gradFill flip="none" rotWithShape="1">
            <a:gsLst>
              <a:gs pos="0">
                <a:schemeClr val="accent1">
                  <a:lumMod val="15000"/>
                  <a:lumOff val="85000"/>
                </a:schemeClr>
              </a:gs>
              <a:gs pos="100000">
                <a:schemeClr val="accent1">
                  <a:lumMod val="80000"/>
                  <a:lumOff val="20000"/>
                </a:schemeClr>
              </a:gs>
            </a:gsLst>
            <a:path path="circle">
              <a:fillToRect r="100000" b="100000"/>
            </a:path>
            <a:tileRect l="-100000" t="-100000"/>
          </a:gradFill>
          <a:ln w="6350">
            <a:gradFill>
              <a:gsLst>
                <a:gs pos="0">
                  <a:schemeClr val="accent1">
                    <a:lumMod val="0"/>
                    <a:lumOff val="100000"/>
                    <a:alpha val="70000"/>
                  </a:schemeClr>
                </a:gs>
                <a:gs pos="100000">
                  <a:schemeClr val="accent1">
                    <a:lumMod val="0"/>
                    <a:lumOff val="100000"/>
                    <a:alpha val="7000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solidFill>
                <a:srgbClr val="FFFFFF"/>
              </a:solidFill>
              <a:latin typeface="Arial"/>
            </a:endParaRPr>
          </a:p>
        </p:txBody>
      </p:sp>
      <p:sp>
        <p:nvSpPr>
          <p:cNvPr id="98" name="任意多边形: 形状 97">
            <a:extLst>
              <a:ext uri="{FF2B5EF4-FFF2-40B4-BE49-F238E27FC236}">
                <a16:creationId xmlns:a16="http://schemas.microsoft.com/office/drawing/2014/main" id="{9F6F2DFD-EB80-BCC5-2EBE-4BA2AB37FFBC}"/>
              </a:ext>
            </a:extLst>
          </p:cNvPr>
          <p:cNvSpPr>
            <a:spLocks noChangeAspect="1" noChangeArrowheads="1" noTextEdit="1"/>
          </p:cNvSpPr>
          <p:nvPr/>
        </p:nvSpPr>
        <p:spPr bwMode="auto">
          <a:xfrm>
            <a:off x="4625652" y="2702709"/>
            <a:ext cx="2822584" cy="2618613"/>
          </a:xfrm>
          <a:custGeom>
            <a:avLst/>
            <a:gdLst>
              <a:gd name="connsiteX0" fmla="*/ 0 w 2822584"/>
              <a:gd name="connsiteY0" fmla="*/ 0 h 2618613"/>
              <a:gd name="connsiteX1" fmla="*/ 2822584 w 2822584"/>
              <a:gd name="connsiteY1" fmla="*/ 0 h 2618613"/>
              <a:gd name="connsiteX2" fmla="*/ 2822584 w 2822584"/>
              <a:gd name="connsiteY2" fmla="*/ 2618613 h 2618613"/>
              <a:gd name="connsiteX3" fmla="*/ 0 w 2822584"/>
              <a:gd name="connsiteY3" fmla="*/ 2618613 h 2618613"/>
            </a:gdLst>
            <a:ahLst/>
            <a:cxnLst>
              <a:cxn ang="0">
                <a:pos x="connsiteX0" y="connsiteY0"/>
              </a:cxn>
              <a:cxn ang="0">
                <a:pos x="connsiteX1" y="connsiteY1"/>
              </a:cxn>
              <a:cxn ang="0">
                <a:pos x="connsiteX2" y="connsiteY2"/>
              </a:cxn>
              <a:cxn ang="0">
                <a:pos x="connsiteX3" y="connsiteY3"/>
              </a:cxn>
            </a:cxnLst>
            <a:rect l="l" t="t" r="r" b="b"/>
            <a:pathLst>
              <a:path w="2822584" h="2618613">
                <a:moveTo>
                  <a:pt x="0" y="0"/>
                </a:moveTo>
                <a:lnTo>
                  <a:pt x="2822584" y="0"/>
                </a:lnTo>
                <a:lnTo>
                  <a:pt x="2822584" y="2618613"/>
                </a:lnTo>
                <a:lnTo>
                  <a:pt x="0" y="2618613"/>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Autofit/>
          </a:bodyPr>
          <a:lstStyle/>
          <a:p>
            <a:endParaRPr lang="en-US">
              <a:solidFill>
                <a:srgbClr val="000000"/>
              </a:solidFill>
              <a:latin typeface="Arial"/>
            </a:endParaRPr>
          </a:p>
        </p:txBody>
      </p:sp>
      <p:sp>
        <p:nvSpPr>
          <p:cNvPr id="99" name="任意多边形: 形状 98">
            <a:extLst>
              <a:ext uri="{FF2B5EF4-FFF2-40B4-BE49-F238E27FC236}">
                <a16:creationId xmlns:a16="http://schemas.microsoft.com/office/drawing/2014/main" id="{4B0AC143-32B9-D5FC-924D-1D7DD1795913}"/>
              </a:ext>
            </a:extLst>
          </p:cNvPr>
          <p:cNvSpPr>
            <a:spLocks/>
          </p:cNvSpPr>
          <p:nvPr/>
        </p:nvSpPr>
        <p:spPr bwMode="auto">
          <a:xfrm>
            <a:off x="4843861" y="3296331"/>
            <a:ext cx="2174475" cy="925559"/>
          </a:xfrm>
          <a:custGeom>
            <a:avLst/>
            <a:gdLst>
              <a:gd name="connsiteX0" fmla="*/ 0 w 2174475"/>
              <a:gd name="connsiteY0" fmla="*/ 0 h 925559"/>
              <a:gd name="connsiteX1" fmla="*/ 2174475 w 2174475"/>
              <a:gd name="connsiteY1" fmla="*/ 549715 h 925559"/>
              <a:gd name="connsiteX2" fmla="*/ 1901987 w 2174475"/>
              <a:gd name="connsiteY2" fmla="*/ 925559 h 925559"/>
              <a:gd name="connsiteX3" fmla="*/ 276830 w 2174475"/>
              <a:gd name="connsiteY3" fmla="*/ 377600 h 925559"/>
            </a:gdLst>
            <a:ahLst/>
            <a:cxnLst>
              <a:cxn ang="0">
                <a:pos x="connsiteX0" y="connsiteY0"/>
              </a:cxn>
              <a:cxn ang="0">
                <a:pos x="connsiteX1" y="connsiteY1"/>
              </a:cxn>
              <a:cxn ang="0">
                <a:pos x="connsiteX2" y="connsiteY2"/>
              </a:cxn>
              <a:cxn ang="0">
                <a:pos x="connsiteX3" y="connsiteY3"/>
              </a:cxn>
            </a:cxnLst>
            <a:rect l="l" t="t" r="r" b="b"/>
            <a:pathLst>
              <a:path w="2174475" h="925559">
                <a:moveTo>
                  <a:pt x="0" y="0"/>
                </a:moveTo>
                <a:lnTo>
                  <a:pt x="2174475" y="549715"/>
                </a:lnTo>
                <a:lnTo>
                  <a:pt x="1901987" y="925559"/>
                </a:lnTo>
                <a:lnTo>
                  <a:pt x="276830" y="377600"/>
                </a:lnTo>
                <a:close/>
              </a:path>
            </a:pathLst>
          </a:custGeom>
          <a:solidFill>
            <a:schemeClr val="accent1">
              <a:lumMod val="60000"/>
              <a:lumOff val="40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solidFill>
                <a:srgbClr val="FFFFFF"/>
              </a:solidFill>
              <a:latin typeface="Arial"/>
            </a:endParaRPr>
          </a:p>
        </p:txBody>
      </p:sp>
      <p:sp>
        <p:nvSpPr>
          <p:cNvPr id="100" name="任意多边形: 形状 99">
            <a:extLst>
              <a:ext uri="{FF2B5EF4-FFF2-40B4-BE49-F238E27FC236}">
                <a16:creationId xmlns:a16="http://schemas.microsoft.com/office/drawing/2014/main" id="{51DDD2CF-19A5-8B49-80D6-62F1F8F8FAA3}"/>
              </a:ext>
            </a:extLst>
          </p:cNvPr>
          <p:cNvSpPr>
            <a:spLocks/>
          </p:cNvSpPr>
          <p:nvPr/>
        </p:nvSpPr>
        <p:spPr bwMode="auto">
          <a:xfrm>
            <a:off x="5055554" y="3844291"/>
            <a:ext cx="1751087" cy="922047"/>
          </a:xfrm>
          <a:custGeom>
            <a:avLst/>
            <a:gdLst>
              <a:gd name="connsiteX0" fmla="*/ 0 w 1751087"/>
              <a:gd name="connsiteY0" fmla="*/ 0 h 922047"/>
              <a:gd name="connsiteX1" fmla="*/ 1751087 w 1751087"/>
              <a:gd name="connsiteY1" fmla="*/ 540934 h 922047"/>
              <a:gd name="connsiteX2" fmla="*/ 1472086 w 1751087"/>
              <a:gd name="connsiteY2" fmla="*/ 922047 h 922047"/>
              <a:gd name="connsiteX3" fmla="*/ 276830 w 1751087"/>
              <a:gd name="connsiteY3" fmla="*/ 377600 h 922047"/>
            </a:gdLst>
            <a:ahLst/>
            <a:cxnLst>
              <a:cxn ang="0">
                <a:pos x="connsiteX0" y="connsiteY0"/>
              </a:cxn>
              <a:cxn ang="0">
                <a:pos x="connsiteX1" y="connsiteY1"/>
              </a:cxn>
              <a:cxn ang="0">
                <a:pos x="connsiteX2" y="connsiteY2"/>
              </a:cxn>
              <a:cxn ang="0">
                <a:pos x="connsiteX3" y="connsiteY3"/>
              </a:cxn>
            </a:cxnLst>
            <a:rect l="l" t="t" r="r" b="b"/>
            <a:pathLst>
              <a:path w="1751087" h="922047">
                <a:moveTo>
                  <a:pt x="0" y="0"/>
                </a:moveTo>
                <a:lnTo>
                  <a:pt x="1751087" y="540934"/>
                </a:lnTo>
                <a:lnTo>
                  <a:pt x="1472086" y="922047"/>
                </a:lnTo>
                <a:lnTo>
                  <a:pt x="276830" y="377600"/>
                </a:lnTo>
                <a:close/>
              </a:path>
            </a:pathLst>
          </a:custGeom>
          <a:solidFill>
            <a:schemeClr val="accent1">
              <a:lumMod val="60000"/>
              <a:lumOff val="40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solidFill>
                <a:srgbClr val="FFFFFF"/>
              </a:solidFill>
              <a:latin typeface="Arial"/>
            </a:endParaRPr>
          </a:p>
        </p:txBody>
      </p:sp>
      <p:sp>
        <p:nvSpPr>
          <p:cNvPr id="102" name="任意多边形: 形状 101">
            <a:extLst>
              <a:ext uri="{FF2B5EF4-FFF2-40B4-BE49-F238E27FC236}">
                <a16:creationId xmlns:a16="http://schemas.microsoft.com/office/drawing/2014/main" id="{98297D6C-4907-AA00-7B58-D29A5A980FA0}"/>
              </a:ext>
            </a:extLst>
          </p:cNvPr>
          <p:cNvSpPr>
            <a:spLocks/>
          </p:cNvSpPr>
          <p:nvPr/>
        </p:nvSpPr>
        <p:spPr bwMode="auto">
          <a:xfrm>
            <a:off x="5273761" y="4388736"/>
            <a:ext cx="1319015" cy="932584"/>
          </a:xfrm>
          <a:custGeom>
            <a:avLst/>
            <a:gdLst>
              <a:gd name="connsiteX0" fmla="*/ 0 w 1319015"/>
              <a:gd name="connsiteY0" fmla="*/ 0 h 932584"/>
              <a:gd name="connsiteX1" fmla="*/ 1319015 w 1319015"/>
              <a:gd name="connsiteY1" fmla="*/ 555862 h 932584"/>
              <a:gd name="connsiteX2" fmla="*/ 1042185 w 1319015"/>
              <a:gd name="connsiteY2" fmla="*/ 932584 h 932584"/>
              <a:gd name="connsiteX3" fmla="*/ 270317 w 1319015"/>
              <a:gd name="connsiteY3" fmla="*/ 372331 h 932584"/>
            </a:gdLst>
            <a:ahLst/>
            <a:cxnLst>
              <a:cxn ang="0">
                <a:pos x="connsiteX0" y="connsiteY0"/>
              </a:cxn>
              <a:cxn ang="0">
                <a:pos x="connsiteX1" y="connsiteY1"/>
              </a:cxn>
              <a:cxn ang="0">
                <a:pos x="connsiteX2" y="connsiteY2"/>
              </a:cxn>
              <a:cxn ang="0">
                <a:pos x="connsiteX3" y="connsiteY3"/>
              </a:cxn>
            </a:cxnLst>
            <a:rect l="l" t="t" r="r" b="b"/>
            <a:pathLst>
              <a:path w="1319015" h="932584">
                <a:moveTo>
                  <a:pt x="0" y="0"/>
                </a:moveTo>
                <a:lnTo>
                  <a:pt x="1319015" y="555862"/>
                </a:lnTo>
                <a:lnTo>
                  <a:pt x="1042185" y="932584"/>
                </a:lnTo>
                <a:lnTo>
                  <a:pt x="270317" y="372331"/>
                </a:lnTo>
                <a:close/>
              </a:path>
            </a:pathLst>
          </a:custGeom>
          <a:solidFill>
            <a:schemeClr val="accent1">
              <a:lumMod val="60000"/>
              <a:lumOff val="40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solidFill>
                <a:srgbClr val="FFFFFF"/>
              </a:solidFill>
              <a:latin typeface="Arial"/>
            </a:endParaRPr>
          </a:p>
        </p:txBody>
      </p:sp>
      <p:sp>
        <p:nvSpPr>
          <p:cNvPr id="104" name="任意多边形: 形状 103">
            <a:extLst>
              <a:ext uri="{FF2B5EF4-FFF2-40B4-BE49-F238E27FC236}">
                <a16:creationId xmlns:a16="http://schemas.microsoft.com/office/drawing/2014/main" id="{DED2469D-E989-02E0-316D-17845E186F3B}"/>
              </a:ext>
            </a:extLst>
          </p:cNvPr>
          <p:cNvSpPr>
            <a:spLocks/>
          </p:cNvSpPr>
          <p:nvPr/>
        </p:nvSpPr>
        <p:spPr bwMode="auto">
          <a:xfrm>
            <a:off x="4625654" y="2702707"/>
            <a:ext cx="2608719" cy="965954"/>
          </a:xfrm>
          <a:custGeom>
            <a:avLst/>
            <a:gdLst>
              <a:gd name="connsiteX0" fmla="*/ 0 w 2608719"/>
              <a:gd name="connsiteY0" fmla="*/ 0 h 965954"/>
              <a:gd name="connsiteX1" fmla="*/ 2608719 w 2608719"/>
              <a:gd name="connsiteY1" fmla="*/ 593623 h 965954"/>
              <a:gd name="connsiteX2" fmla="*/ 2331889 w 2608719"/>
              <a:gd name="connsiteY2" fmla="*/ 965954 h 965954"/>
              <a:gd name="connsiteX3" fmla="*/ 279002 w 2608719"/>
              <a:gd name="connsiteY3" fmla="*/ 376722 h 965954"/>
            </a:gdLst>
            <a:ahLst/>
            <a:cxnLst>
              <a:cxn ang="0">
                <a:pos x="connsiteX0" y="connsiteY0"/>
              </a:cxn>
              <a:cxn ang="0">
                <a:pos x="connsiteX1" y="connsiteY1"/>
              </a:cxn>
              <a:cxn ang="0">
                <a:pos x="connsiteX2" y="connsiteY2"/>
              </a:cxn>
              <a:cxn ang="0">
                <a:pos x="connsiteX3" y="connsiteY3"/>
              </a:cxn>
            </a:cxnLst>
            <a:rect l="l" t="t" r="r" b="b"/>
            <a:pathLst>
              <a:path w="2608719" h="965954">
                <a:moveTo>
                  <a:pt x="0" y="0"/>
                </a:moveTo>
                <a:lnTo>
                  <a:pt x="2608719" y="593623"/>
                </a:lnTo>
                <a:lnTo>
                  <a:pt x="2331889" y="965954"/>
                </a:lnTo>
                <a:lnTo>
                  <a:pt x="279002" y="376722"/>
                </a:lnTo>
                <a:close/>
              </a:path>
            </a:pathLst>
          </a:custGeom>
          <a:solidFill>
            <a:schemeClr val="accent1">
              <a:lumMod val="60000"/>
              <a:lumOff val="40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solidFill>
                <a:srgbClr val="FFFFFF"/>
              </a:solidFill>
              <a:latin typeface="Arial"/>
            </a:endParaRPr>
          </a:p>
        </p:txBody>
      </p:sp>
      <p:sp>
        <p:nvSpPr>
          <p:cNvPr id="106" name="任意多边形: 形状 105">
            <a:extLst>
              <a:ext uri="{FF2B5EF4-FFF2-40B4-BE49-F238E27FC236}">
                <a16:creationId xmlns:a16="http://schemas.microsoft.com/office/drawing/2014/main" id="{05E91258-B248-3C0D-C33B-D6BDBF73DAB7}"/>
              </a:ext>
            </a:extLst>
          </p:cNvPr>
          <p:cNvSpPr>
            <a:spLocks/>
          </p:cNvSpPr>
          <p:nvPr/>
        </p:nvSpPr>
        <p:spPr bwMode="auto">
          <a:xfrm>
            <a:off x="4632166" y="2704463"/>
            <a:ext cx="2816070" cy="374966"/>
          </a:xfrm>
          <a:custGeom>
            <a:avLst/>
            <a:gdLst>
              <a:gd name="connsiteX0" fmla="*/ 0 w 2816070"/>
              <a:gd name="connsiteY0" fmla="*/ 0 h 374966"/>
              <a:gd name="connsiteX1" fmla="*/ 1406950 w 2816070"/>
              <a:gd name="connsiteY1" fmla="*/ 0 h 374966"/>
              <a:gd name="connsiteX2" fmla="*/ 2816070 w 2816070"/>
              <a:gd name="connsiteY2" fmla="*/ 0 h 374966"/>
              <a:gd name="connsiteX3" fmla="*/ 2541411 w 2816070"/>
              <a:gd name="connsiteY3" fmla="*/ 374966 h 374966"/>
              <a:gd name="connsiteX4" fmla="*/ 1406950 w 2816070"/>
              <a:gd name="connsiteY4" fmla="*/ 374966 h 374966"/>
              <a:gd name="connsiteX5" fmla="*/ 272488 w 2816070"/>
              <a:gd name="connsiteY5" fmla="*/ 374966 h 374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16070" h="374966">
                <a:moveTo>
                  <a:pt x="0" y="0"/>
                </a:moveTo>
                <a:lnTo>
                  <a:pt x="1406950" y="0"/>
                </a:lnTo>
                <a:lnTo>
                  <a:pt x="2816070" y="0"/>
                </a:lnTo>
                <a:lnTo>
                  <a:pt x="2541411" y="374966"/>
                </a:lnTo>
                <a:lnTo>
                  <a:pt x="1406950" y="374966"/>
                </a:lnTo>
                <a:lnTo>
                  <a:pt x="272488" y="374966"/>
                </a:lnTo>
                <a:close/>
              </a:path>
            </a:pathLst>
          </a:custGeom>
          <a:gradFill flip="none" rotWithShape="1">
            <a:gsLst>
              <a:gs pos="0">
                <a:schemeClr val="accent1">
                  <a:lumMod val="15000"/>
                  <a:lumOff val="85000"/>
                </a:schemeClr>
              </a:gs>
              <a:gs pos="100000">
                <a:schemeClr val="accent1">
                  <a:lumMod val="80000"/>
                  <a:lumOff val="20000"/>
                </a:schemeClr>
              </a:gs>
            </a:gsLst>
            <a:path path="circle">
              <a:fillToRect r="100000" b="100000"/>
            </a:path>
            <a:tileRect l="-100000" t="-100000"/>
          </a:gradFill>
          <a:ln w="6350">
            <a:gradFill>
              <a:gsLst>
                <a:gs pos="0">
                  <a:schemeClr val="accent1">
                    <a:lumMod val="0"/>
                    <a:lumOff val="100000"/>
                    <a:alpha val="70000"/>
                  </a:schemeClr>
                </a:gs>
                <a:gs pos="100000">
                  <a:schemeClr val="accent1">
                    <a:lumMod val="0"/>
                    <a:lumOff val="100000"/>
                    <a:alpha val="7000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solidFill>
                <a:srgbClr val="FFFFFF"/>
              </a:solidFill>
              <a:latin typeface="Arial"/>
            </a:endParaRPr>
          </a:p>
        </p:txBody>
      </p:sp>
      <p:sp>
        <p:nvSpPr>
          <p:cNvPr id="108" name="任意多边形: 形状 107">
            <a:extLst>
              <a:ext uri="{FF2B5EF4-FFF2-40B4-BE49-F238E27FC236}">
                <a16:creationId xmlns:a16="http://schemas.microsoft.com/office/drawing/2014/main" id="{62C0F7A3-F492-B517-10D1-F4F586B182EC}"/>
              </a:ext>
            </a:extLst>
          </p:cNvPr>
          <p:cNvSpPr>
            <a:spLocks/>
          </p:cNvSpPr>
          <p:nvPr/>
        </p:nvSpPr>
        <p:spPr bwMode="auto">
          <a:xfrm>
            <a:off x="4846032" y="3294575"/>
            <a:ext cx="2386169" cy="377600"/>
          </a:xfrm>
          <a:custGeom>
            <a:avLst/>
            <a:gdLst>
              <a:gd name="connsiteX0" fmla="*/ 0 w 2386169"/>
              <a:gd name="connsiteY0" fmla="*/ 0 h 377600"/>
              <a:gd name="connsiteX1" fmla="*/ 1193085 w 2386169"/>
              <a:gd name="connsiteY1" fmla="*/ 1756 h 377600"/>
              <a:gd name="connsiteX2" fmla="*/ 2386169 w 2386169"/>
              <a:gd name="connsiteY2" fmla="*/ 0 h 377600"/>
              <a:gd name="connsiteX3" fmla="*/ 2113681 w 2386169"/>
              <a:gd name="connsiteY3" fmla="*/ 375844 h 377600"/>
              <a:gd name="connsiteX4" fmla="*/ 1193085 w 2386169"/>
              <a:gd name="connsiteY4" fmla="*/ 377600 h 377600"/>
              <a:gd name="connsiteX5" fmla="*/ 272488 w 2386169"/>
              <a:gd name="connsiteY5" fmla="*/ 375844 h 377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86169" h="377600">
                <a:moveTo>
                  <a:pt x="0" y="0"/>
                </a:moveTo>
                <a:lnTo>
                  <a:pt x="1193085" y="1756"/>
                </a:lnTo>
                <a:lnTo>
                  <a:pt x="2386169" y="0"/>
                </a:lnTo>
                <a:lnTo>
                  <a:pt x="2113681" y="375844"/>
                </a:lnTo>
                <a:lnTo>
                  <a:pt x="1193085" y="377600"/>
                </a:lnTo>
                <a:lnTo>
                  <a:pt x="272488" y="375844"/>
                </a:lnTo>
                <a:close/>
              </a:path>
            </a:pathLst>
          </a:custGeom>
          <a:gradFill flip="none" rotWithShape="1">
            <a:gsLst>
              <a:gs pos="0">
                <a:schemeClr val="accent1">
                  <a:lumMod val="15000"/>
                  <a:lumOff val="85000"/>
                </a:schemeClr>
              </a:gs>
              <a:gs pos="100000">
                <a:schemeClr val="accent1">
                  <a:lumMod val="80000"/>
                  <a:lumOff val="20000"/>
                </a:schemeClr>
              </a:gs>
            </a:gsLst>
            <a:path path="circle">
              <a:fillToRect r="100000" b="100000"/>
            </a:path>
            <a:tileRect l="-100000" t="-100000"/>
          </a:gradFill>
          <a:ln w="6350">
            <a:gradFill>
              <a:gsLst>
                <a:gs pos="0">
                  <a:schemeClr val="accent1">
                    <a:lumMod val="0"/>
                    <a:lumOff val="100000"/>
                    <a:alpha val="70000"/>
                  </a:schemeClr>
                </a:gs>
                <a:gs pos="100000">
                  <a:schemeClr val="accent1">
                    <a:lumMod val="0"/>
                    <a:lumOff val="100000"/>
                    <a:alpha val="7000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solidFill>
                <a:srgbClr val="FFFFFF"/>
              </a:solidFill>
              <a:latin typeface="Arial"/>
            </a:endParaRPr>
          </a:p>
        </p:txBody>
      </p:sp>
      <p:sp>
        <p:nvSpPr>
          <p:cNvPr id="110" name="任意多边形: 形状 109">
            <a:extLst>
              <a:ext uri="{FF2B5EF4-FFF2-40B4-BE49-F238E27FC236}">
                <a16:creationId xmlns:a16="http://schemas.microsoft.com/office/drawing/2014/main" id="{504FB466-B59E-2158-4409-FC8797B0964B}"/>
              </a:ext>
            </a:extLst>
          </p:cNvPr>
          <p:cNvSpPr>
            <a:spLocks/>
          </p:cNvSpPr>
          <p:nvPr/>
        </p:nvSpPr>
        <p:spPr bwMode="auto">
          <a:xfrm>
            <a:off x="5059898" y="3846048"/>
            <a:ext cx="1958439" cy="375844"/>
          </a:xfrm>
          <a:custGeom>
            <a:avLst/>
            <a:gdLst>
              <a:gd name="connsiteX0" fmla="*/ 0 w 1958439"/>
              <a:gd name="connsiteY0" fmla="*/ 0 h 375844"/>
              <a:gd name="connsiteX1" fmla="*/ 979220 w 1958439"/>
              <a:gd name="connsiteY1" fmla="*/ 0 h 375844"/>
              <a:gd name="connsiteX2" fmla="*/ 1958439 w 1958439"/>
              <a:gd name="connsiteY2" fmla="*/ 0 h 375844"/>
              <a:gd name="connsiteX3" fmla="*/ 1685951 w 1958439"/>
              <a:gd name="connsiteY3" fmla="*/ 375844 h 375844"/>
              <a:gd name="connsiteX4" fmla="*/ 979220 w 1958439"/>
              <a:gd name="connsiteY4" fmla="*/ 375844 h 375844"/>
              <a:gd name="connsiteX5" fmla="*/ 274659 w 1958439"/>
              <a:gd name="connsiteY5" fmla="*/ 375844 h 375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58439" h="375844">
                <a:moveTo>
                  <a:pt x="0" y="0"/>
                </a:moveTo>
                <a:lnTo>
                  <a:pt x="979220" y="0"/>
                </a:lnTo>
                <a:lnTo>
                  <a:pt x="1958439" y="0"/>
                </a:lnTo>
                <a:lnTo>
                  <a:pt x="1685951" y="375844"/>
                </a:lnTo>
                <a:lnTo>
                  <a:pt x="979220" y="375844"/>
                </a:lnTo>
                <a:lnTo>
                  <a:pt x="274659" y="375844"/>
                </a:lnTo>
                <a:close/>
              </a:path>
            </a:pathLst>
          </a:custGeom>
          <a:gradFill flip="none" rotWithShape="1">
            <a:gsLst>
              <a:gs pos="0">
                <a:schemeClr val="accent1">
                  <a:lumMod val="15000"/>
                  <a:lumOff val="85000"/>
                </a:schemeClr>
              </a:gs>
              <a:gs pos="100000">
                <a:schemeClr val="accent1">
                  <a:lumMod val="80000"/>
                  <a:lumOff val="20000"/>
                </a:schemeClr>
              </a:gs>
            </a:gsLst>
            <a:path path="circle">
              <a:fillToRect r="100000" b="100000"/>
            </a:path>
            <a:tileRect l="-100000" t="-100000"/>
          </a:gradFill>
          <a:ln w="6350">
            <a:gradFill>
              <a:gsLst>
                <a:gs pos="0">
                  <a:schemeClr val="accent1">
                    <a:lumMod val="0"/>
                    <a:lumOff val="100000"/>
                    <a:alpha val="70000"/>
                  </a:schemeClr>
                </a:gs>
                <a:gs pos="100000">
                  <a:schemeClr val="accent1">
                    <a:lumMod val="0"/>
                    <a:lumOff val="100000"/>
                    <a:alpha val="7000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solidFill>
                <a:srgbClr val="FFFFFF"/>
              </a:solidFill>
              <a:latin typeface="Arial"/>
            </a:endParaRPr>
          </a:p>
        </p:txBody>
      </p:sp>
      <p:sp>
        <p:nvSpPr>
          <p:cNvPr id="112" name="任意多边形: 形状 111">
            <a:extLst>
              <a:ext uri="{FF2B5EF4-FFF2-40B4-BE49-F238E27FC236}">
                <a16:creationId xmlns:a16="http://schemas.microsoft.com/office/drawing/2014/main" id="{C93F7657-C8C0-AAEE-196D-EDB479E01128}"/>
              </a:ext>
            </a:extLst>
          </p:cNvPr>
          <p:cNvSpPr>
            <a:spLocks/>
          </p:cNvSpPr>
          <p:nvPr/>
        </p:nvSpPr>
        <p:spPr bwMode="auto">
          <a:xfrm>
            <a:off x="5273763" y="4388738"/>
            <a:ext cx="1530709" cy="375844"/>
          </a:xfrm>
          <a:custGeom>
            <a:avLst/>
            <a:gdLst>
              <a:gd name="connsiteX0" fmla="*/ 0 w 1530709"/>
              <a:gd name="connsiteY0" fmla="*/ 0 h 375844"/>
              <a:gd name="connsiteX1" fmla="*/ 765355 w 1530709"/>
              <a:gd name="connsiteY1" fmla="*/ 0 h 375844"/>
              <a:gd name="connsiteX2" fmla="*/ 1530709 w 1530709"/>
              <a:gd name="connsiteY2" fmla="*/ 0 h 375844"/>
              <a:gd name="connsiteX3" fmla="*/ 1258221 w 1530709"/>
              <a:gd name="connsiteY3" fmla="*/ 375844 h 375844"/>
              <a:gd name="connsiteX4" fmla="*/ 765355 w 1530709"/>
              <a:gd name="connsiteY4" fmla="*/ 375844 h 375844"/>
              <a:gd name="connsiteX5" fmla="*/ 274659 w 1530709"/>
              <a:gd name="connsiteY5" fmla="*/ 375844 h 375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30709" h="375844">
                <a:moveTo>
                  <a:pt x="0" y="0"/>
                </a:moveTo>
                <a:lnTo>
                  <a:pt x="765355" y="0"/>
                </a:lnTo>
                <a:lnTo>
                  <a:pt x="1530709" y="0"/>
                </a:lnTo>
                <a:lnTo>
                  <a:pt x="1258221" y="375844"/>
                </a:lnTo>
                <a:lnTo>
                  <a:pt x="765355" y="375844"/>
                </a:lnTo>
                <a:lnTo>
                  <a:pt x="274659" y="375844"/>
                </a:lnTo>
                <a:close/>
              </a:path>
            </a:pathLst>
          </a:custGeom>
          <a:gradFill flip="none" rotWithShape="1">
            <a:gsLst>
              <a:gs pos="0">
                <a:schemeClr val="accent1">
                  <a:lumMod val="15000"/>
                  <a:lumOff val="85000"/>
                </a:schemeClr>
              </a:gs>
              <a:gs pos="100000">
                <a:schemeClr val="accent1">
                  <a:lumMod val="80000"/>
                  <a:lumOff val="20000"/>
                </a:schemeClr>
              </a:gs>
            </a:gsLst>
            <a:path path="circle">
              <a:fillToRect r="100000" b="100000"/>
            </a:path>
            <a:tileRect l="-100000" t="-100000"/>
          </a:gradFill>
          <a:ln w="6350">
            <a:gradFill>
              <a:gsLst>
                <a:gs pos="0">
                  <a:schemeClr val="accent1">
                    <a:lumMod val="0"/>
                    <a:lumOff val="100000"/>
                    <a:alpha val="70000"/>
                  </a:schemeClr>
                </a:gs>
                <a:gs pos="100000">
                  <a:schemeClr val="accent1">
                    <a:lumMod val="0"/>
                    <a:lumOff val="100000"/>
                    <a:alpha val="7000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solidFill>
                <a:srgbClr val="FFFFFF"/>
              </a:solidFill>
              <a:latin typeface="Arial"/>
            </a:endParaRPr>
          </a:p>
        </p:txBody>
      </p:sp>
      <p:sp>
        <p:nvSpPr>
          <p:cNvPr id="114" name="任意多边形: 形状 113">
            <a:extLst>
              <a:ext uri="{FF2B5EF4-FFF2-40B4-BE49-F238E27FC236}">
                <a16:creationId xmlns:a16="http://schemas.microsoft.com/office/drawing/2014/main" id="{179FD7B1-71AD-8E4B-4499-BF41CC2DEBD5}"/>
              </a:ext>
            </a:extLst>
          </p:cNvPr>
          <p:cNvSpPr>
            <a:spLocks/>
          </p:cNvSpPr>
          <p:nvPr/>
        </p:nvSpPr>
        <p:spPr bwMode="auto">
          <a:xfrm>
            <a:off x="5487629" y="4944604"/>
            <a:ext cx="1102979" cy="374966"/>
          </a:xfrm>
          <a:custGeom>
            <a:avLst/>
            <a:gdLst>
              <a:gd name="connsiteX0" fmla="*/ 0 w 1102979"/>
              <a:gd name="connsiteY0" fmla="*/ 0 h 374966"/>
              <a:gd name="connsiteX1" fmla="*/ 551490 w 1102979"/>
              <a:gd name="connsiteY1" fmla="*/ 0 h 374966"/>
              <a:gd name="connsiteX2" fmla="*/ 1102979 w 1102979"/>
              <a:gd name="connsiteY2" fmla="*/ 0 h 374966"/>
              <a:gd name="connsiteX3" fmla="*/ 828320 w 1102979"/>
              <a:gd name="connsiteY3" fmla="*/ 374966 h 374966"/>
              <a:gd name="connsiteX4" fmla="*/ 551490 w 1102979"/>
              <a:gd name="connsiteY4" fmla="*/ 374966 h 374966"/>
              <a:gd name="connsiteX5" fmla="*/ 274659 w 1102979"/>
              <a:gd name="connsiteY5" fmla="*/ 374966 h 374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02979" h="374966">
                <a:moveTo>
                  <a:pt x="0" y="0"/>
                </a:moveTo>
                <a:lnTo>
                  <a:pt x="551490" y="0"/>
                </a:lnTo>
                <a:lnTo>
                  <a:pt x="1102979" y="0"/>
                </a:lnTo>
                <a:lnTo>
                  <a:pt x="828320" y="374966"/>
                </a:lnTo>
                <a:lnTo>
                  <a:pt x="551490" y="374966"/>
                </a:lnTo>
                <a:lnTo>
                  <a:pt x="274659" y="374966"/>
                </a:lnTo>
                <a:close/>
              </a:path>
            </a:pathLst>
          </a:custGeom>
          <a:gradFill flip="none" rotWithShape="1">
            <a:gsLst>
              <a:gs pos="0">
                <a:schemeClr val="accent1">
                  <a:lumMod val="15000"/>
                  <a:lumOff val="85000"/>
                </a:schemeClr>
              </a:gs>
              <a:gs pos="100000">
                <a:schemeClr val="accent1">
                  <a:lumMod val="80000"/>
                  <a:lumOff val="20000"/>
                </a:schemeClr>
              </a:gs>
            </a:gsLst>
            <a:path path="circle">
              <a:fillToRect r="100000" b="100000"/>
            </a:path>
            <a:tileRect l="-100000" t="-100000"/>
          </a:gradFill>
          <a:ln w="6350">
            <a:gradFill>
              <a:gsLst>
                <a:gs pos="0">
                  <a:schemeClr val="accent1">
                    <a:lumMod val="0"/>
                    <a:lumOff val="100000"/>
                    <a:alpha val="70000"/>
                  </a:schemeClr>
                </a:gs>
                <a:gs pos="100000">
                  <a:schemeClr val="accent1">
                    <a:lumMod val="0"/>
                    <a:lumOff val="100000"/>
                    <a:alpha val="7000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solidFill>
                <a:srgbClr val="FFFFFF"/>
              </a:solidFill>
              <a:latin typeface="Arial"/>
            </a:endParaRPr>
          </a:p>
        </p:txBody>
      </p:sp>
      <p:sp>
        <p:nvSpPr>
          <p:cNvPr id="116" name="任意多边形: 形状 115">
            <a:extLst>
              <a:ext uri="{FF2B5EF4-FFF2-40B4-BE49-F238E27FC236}">
                <a16:creationId xmlns:a16="http://schemas.microsoft.com/office/drawing/2014/main" id="{49063C43-57DD-18AF-3633-D775FFD2E29C}"/>
              </a:ext>
            </a:extLst>
          </p:cNvPr>
          <p:cNvSpPr/>
          <p:nvPr/>
        </p:nvSpPr>
        <p:spPr>
          <a:xfrm>
            <a:off x="7464267" y="1398206"/>
            <a:ext cx="597006" cy="597006"/>
          </a:xfrm>
          <a:custGeom>
            <a:avLst/>
            <a:gdLst>
              <a:gd name="connsiteX0" fmla="*/ 298503 w 597006"/>
              <a:gd name="connsiteY0" fmla="*/ 0 h 597006"/>
              <a:gd name="connsiteX1" fmla="*/ 597006 w 597006"/>
              <a:gd name="connsiteY1" fmla="*/ 298503 h 597006"/>
              <a:gd name="connsiteX2" fmla="*/ 298503 w 597006"/>
              <a:gd name="connsiteY2" fmla="*/ 597006 h 597006"/>
              <a:gd name="connsiteX3" fmla="*/ 0 w 597006"/>
              <a:gd name="connsiteY3" fmla="*/ 298503 h 597006"/>
              <a:gd name="connsiteX4" fmla="*/ 298503 w 597006"/>
              <a:gd name="connsiteY4" fmla="*/ 0 h 5970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7006" h="597006">
                <a:moveTo>
                  <a:pt x="298503" y="0"/>
                </a:moveTo>
                <a:cubicBezTo>
                  <a:pt x="463362" y="0"/>
                  <a:pt x="597006" y="133644"/>
                  <a:pt x="597006" y="298503"/>
                </a:cubicBezTo>
                <a:cubicBezTo>
                  <a:pt x="597006" y="463362"/>
                  <a:pt x="463362" y="597006"/>
                  <a:pt x="298503" y="597006"/>
                </a:cubicBezTo>
                <a:cubicBezTo>
                  <a:pt x="133644" y="597006"/>
                  <a:pt x="0" y="463362"/>
                  <a:pt x="0" y="298503"/>
                </a:cubicBezTo>
                <a:cubicBezTo>
                  <a:pt x="0" y="133644"/>
                  <a:pt x="133644" y="0"/>
                  <a:pt x="298503" y="0"/>
                </a:cubicBezTo>
                <a:close/>
              </a:path>
            </a:pathLst>
          </a:custGeom>
          <a:gradFill flip="none" rotWithShape="1">
            <a:gsLst>
              <a:gs pos="100000">
                <a:schemeClr val="accent1">
                  <a:lumMod val="5000"/>
                  <a:lumOff val="95000"/>
                </a:schemeClr>
              </a:gs>
              <a:gs pos="0">
                <a:schemeClr val="accent1">
                  <a:lumMod val="30000"/>
                  <a:lumOff val="70000"/>
                </a:schemeClr>
              </a:gs>
            </a:gsLst>
            <a:lin ang="2700000" scaled="0"/>
            <a:tileRect/>
          </a:gradFill>
          <a:ln w="6350" cap="flat" cmpd="sng" algn="ctr">
            <a:gradFill>
              <a:gsLst>
                <a:gs pos="0">
                  <a:schemeClr val="accent1">
                    <a:lumMod val="0"/>
                    <a:lumOff val="100000"/>
                  </a:schemeClr>
                </a:gs>
                <a:gs pos="100000">
                  <a:schemeClr val="accent1">
                    <a:lumMod val="0"/>
                    <a:lumOff val="100000"/>
                  </a:schemeClr>
                </a:gs>
              </a:gsLst>
              <a:lin ang="5400000" scaled="1"/>
            </a:gradFill>
            <a:prstDash val="solid"/>
            <a:miter lim="800000"/>
          </a:ln>
          <a:effectLst>
            <a:outerShdw blurRad="317500" dist="101600" dir="2700000" sx="99000" sy="99000" algn="tl" rotWithShape="0">
              <a:schemeClr val="accent1">
                <a:lumMod val="50000"/>
                <a:alpha val="1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solidFill>
                <a:srgbClr val="FFFFFF"/>
              </a:solidFill>
              <a:latin typeface="Arial"/>
            </a:endParaRPr>
          </a:p>
        </p:txBody>
      </p:sp>
      <p:sp>
        <p:nvSpPr>
          <p:cNvPr id="118" name="任意多边形: 形状 117">
            <a:extLst>
              <a:ext uri="{FF2B5EF4-FFF2-40B4-BE49-F238E27FC236}">
                <a16:creationId xmlns:a16="http://schemas.microsoft.com/office/drawing/2014/main" id="{A2ACAFEC-32AC-303F-1FB2-6ABE08892025}"/>
              </a:ext>
            </a:extLst>
          </p:cNvPr>
          <p:cNvSpPr/>
          <p:nvPr/>
        </p:nvSpPr>
        <p:spPr>
          <a:xfrm>
            <a:off x="6988106" y="2575330"/>
            <a:ext cx="597006" cy="597006"/>
          </a:xfrm>
          <a:custGeom>
            <a:avLst/>
            <a:gdLst>
              <a:gd name="connsiteX0" fmla="*/ 298503 w 597006"/>
              <a:gd name="connsiteY0" fmla="*/ 0 h 597006"/>
              <a:gd name="connsiteX1" fmla="*/ 597006 w 597006"/>
              <a:gd name="connsiteY1" fmla="*/ 298503 h 597006"/>
              <a:gd name="connsiteX2" fmla="*/ 298503 w 597006"/>
              <a:gd name="connsiteY2" fmla="*/ 597006 h 597006"/>
              <a:gd name="connsiteX3" fmla="*/ 0 w 597006"/>
              <a:gd name="connsiteY3" fmla="*/ 298503 h 597006"/>
              <a:gd name="connsiteX4" fmla="*/ 298503 w 597006"/>
              <a:gd name="connsiteY4" fmla="*/ 0 h 5970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7006" h="597006">
                <a:moveTo>
                  <a:pt x="298503" y="0"/>
                </a:moveTo>
                <a:cubicBezTo>
                  <a:pt x="463362" y="0"/>
                  <a:pt x="597006" y="133644"/>
                  <a:pt x="597006" y="298503"/>
                </a:cubicBezTo>
                <a:cubicBezTo>
                  <a:pt x="597006" y="463362"/>
                  <a:pt x="463362" y="597006"/>
                  <a:pt x="298503" y="597006"/>
                </a:cubicBezTo>
                <a:cubicBezTo>
                  <a:pt x="133644" y="597006"/>
                  <a:pt x="0" y="463362"/>
                  <a:pt x="0" y="298503"/>
                </a:cubicBezTo>
                <a:cubicBezTo>
                  <a:pt x="0" y="133644"/>
                  <a:pt x="133644" y="0"/>
                  <a:pt x="298503" y="0"/>
                </a:cubicBezTo>
                <a:close/>
              </a:path>
            </a:pathLst>
          </a:custGeom>
          <a:gradFill flip="none" rotWithShape="1">
            <a:gsLst>
              <a:gs pos="100000">
                <a:schemeClr val="accent1">
                  <a:lumMod val="5000"/>
                  <a:lumOff val="95000"/>
                </a:schemeClr>
              </a:gs>
              <a:gs pos="0">
                <a:schemeClr val="accent1">
                  <a:lumMod val="30000"/>
                  <a:lumOff val="70000"/>
                </a:schemeClr>
              </a:gs>
            </a:gsLst>
            <a:lin ang="2700000" scaled="0"/>
            <a:tileRect/>
          </a:gradFill>
          <a:ln w="6350" cap="flat" cmpd="sng" algn="ctr">
            <a:gradFill>
              <a:gsLst>
                <a:gs pos="0">
                  <a:schemeClr val="accent1">
                    <a:lumMod val="0"/>
                    <a:lumOff val="100000"/>
                  </a:schemeClr>
                </a:gs>
                <a:gs pos="100000">
                  <a:schemeClr val="accent1">
                    <a:lumMod val="0"/>
                    <a:lumOff val="100000"/>
                  </a:schemeClr>
                </a:gs>
              </a:gsLst>
              <a:lin ang="5400000" scaled="1"/>
            </a:gradFill>
            <a:prstDash val="solid"/>
            <a:miter lim="800000"/>
          </a:ln>
          <a:effectLst>
            <a:outerShdw blurRad="317500" dist="101600" dir="2700000" sx="99000" sy="99000" algn="tl" rotWithShape="0">
              <a:schemeClr val="accent1">
                <a:lumMod val="50000"/>
                <a:alpha val="1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solidFill>
                <a:srgbClr val="FFFFFF"/>
              </a:solidFill>
              <a:latin typeface="Arial"/>
            </a:endParaRPr>
          </a:p>
        </p:txBody>
      </p:sp>
      <p:sp>
        <p:nvSpPr>
          <p:cNvPr id="120" name="任意多边形: 形状 119">
            <a:extLst>
              <a:ext uri="{FF2B5EF4-FFF2-40B4-BE49-F238E27FC236}">
                <a16:creationId xmlns:a16="http://schemas.microsoft.com/office/drawing/2014/main" id="{AF137C01-FE0A-4864-ECB4-BABC0007B9BA}"/>
              </a:ext>
            </a:extLst>
          </p:cNvPr>
          <p:cNvSpPr/>
          <p:nvPr/>
        </p:nvSpPr>
        <p:spPr>
          <a:xfrm>
            <a:off x="6654105" y="3714362"/>
            <a:ext cx="597006" cy="597006"/>
          </a:xfrm>
          <a:custGeom>
            <a:avLst/>
            <a:gdLst>
              <a:gd name="connsiteX0" fmla="*/ 298503 w 597006"/>
              <a:gd name="connsiteY0" fmla="*/ 0 h 597006"/>
              <a:gd name="connsiteX1" fmla="*/ 597006 w 597006"/>
              <a:gd name="connsiteY1" fmla="*/ 298503 h 597006"/>
              <a:gd name="connsiteX2" fmla="*/ 298503 w 597006"/>
              <a:gd name="connsiteY2" fmla="*/ 597006 h 597006"/>
              <a:gd name="connsiteX3" fmla="*/ 0 w 597006"/>
              <a:gd name="connsiteY3" fmla="*/ 298503 h 597006"/>
              <a:gd name="connsiteX4" fmla="*/ 298503 w 597006"/>
              <a:gd name="connsiteY4" fmla="*/ 0 h 5970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7006" h="597006">
                <a:moveTo>
                  <a:pt x="298503" y="0"/>
                </a:moveTo>
                <a:cubicBezTo>
                  <a:pt x="463362" y="0"/>
                  <a:pt x="597006" y="133644"/>
                  <a:pt x="597006" y="298503"/>
                </a:cubicBezTo>
                <a:cubicBezTo>
                  <a:pt x="597006" y="463362"/>
                  <a:pt x="463362" y="597006"/>
                  <a:pt x="298503" y="597006"/>
                </a:cubicBezTo>
                <a:cubicBezTo>
                  <a:pt x="133644" y="597006"/>
                  <a:pt x="0" y="463362"/>
                  <a:pt x="0" y="298503"/>
                </a:cubicBezTo>
                <a:cubicBezTo>
                  <a:pt x="0" y="133644"/>
                  <a:pt x="133644" y="0"/>
                  <a:pt x="298503" y="0"/>
                </a:cubicBezTo>
                <a:close/>
              </a:path>
            </a:pathLst>
          </a:custGeom>
          <a:gradFill flip="none" rotWithShape="1">
            <a:gsLst>
              <a:gs pos="100000">
                <a:schemeClr val="accent1">
                  <a:lumMod val="5000"/>
                  <a:lumOff val="95000"/>
                </a:schemeClr>
              </a:gs>
              <a:gs pos="0">
                <a:schemeClr val="accent1">
                  <a:lumMod val="30000"/>
                  <a:lumOff val="70000"/>
                </a:schemeClr>
              </a:gs>
            </a:gsLst>
            <a:lin ang="2700000" scaled="0"/>
            <a:tileRect/>
          </a:gradFill>
          <a:ln w="6350" cap="flat" cmpd="sng" algn="ctr">
            <a:gradFill>
              <a:gsLst>
                <a:gs pos="0">
                  <a:schemeClr val="accent1">
                    <a:lumMod val="0"/>
                    <a:lumOff val="100000"/>
                  </a:schemeClr>
                </a:gs>
                <a:gs pos="100000">
                  <a:schemeClr val="accent1">
                    <a:lumMod val="0"/>
                    <a:lumOff val="100000"/>
                  </a:schemeClr>
                </a:gs>
              </a:gsLst>
              <a:lin ang="5400000" scaled="1"/>
            </a:gradFill>
            <a:prstDash val="solid"/>
            <a:miter lim="800000"/>
          </a:ln>
          <a:effectLst>
            <a:outerShdw blurRad="317500" dist="101600" dir="2700000" sx="99000" sy="99000" algn="tl" rotWithShape="0">
              <a:schemeClr val="accent1">
                <a:lumMod val="50000"/>
                <a:alpha val="1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solidFill>
                <a:srgbClr val="FFFFFF"/>
              </a:solidFill>
              <a:latin typeface="Arial"/>
            </a:endParaRPr>
          </a:p>
        </p:txBody>
      </p:sp>
      <p:sp>
        <p:nvSpPr>
          <p:cNvPr id="122" name="任意多边形: 形状 121">
            <a:extLst>
              <a:ext uri="{FF2B5EF4-FFF2-40B4-BE49-F238E27FC236}">
                <a16:creationId xmlns:a16="http://schemas.microsoft.com/office/drawing/2014/main" id="{843826F6-90BA-0466-E10C-EA55E387D632}"/>
              </a:ext>
            </a:extLst>
          </p:cNvPr>
          <p:cNvSpPr/>
          <p:nvPr/>
        </p:nvSpPr>
        <p:spPr>
          <a:xfrm>
            <a:off x="6285049" y="4862788"/>
            <a:ext cx="597006" cy="597006"/>
          </a:xfrm>
          <a:custGeom>
            <a:avLst/>
            <a:gdLst>
              <a:gd name="connsiteX0" fmla="*/ 298503 w 597006"/>
              <a:gd name="connsiteY0" fmla="*/ 0 h 597006"/>
              <a:gd name="connsiteX1" fmla="*/ 597006 w 597006"/>
              <a:gd name="connsiteY1" fmla="*/ 298503 h 597006"/>
              <a:gd name="connsiteX2" fmla="*/ 298503 w 597006"/>
              <a:gd name="connsiteY2" fmla="*/ 597006 h 597006"/>
              <a:gd name="connsiteX3" fmla="*/ 0 w 597006"/>
              <a:gd name="connsiteY3" fmla="*/ 298503 h 597006"/>
              <a:gd name="connsiteX4" fmla="*/ 298503 w 597006"/>
              <a:gd name="connsiteY4" fmla="*/ 0 h 5970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7006" h="597006">
                <a:moveTo>
                  <a:pt x="298503" y="0"/>
                </a:moveTo>
                <a:cubicBezTo>
                  <a:pt x="463362" y="0"/>
                  <a:pt x="597006" y="133644"/>
                  <a:pt x="597006" y="298503"/>
                </a:cubicBezTo>
                <a:cubicBezTo>
                  <a:pt x="597006" y="463362"/>
                  <a:pt x="463362" y="597006"/>
                  <a:pt x="298503" y="597006"/>
                </a:cubicBezTo>
                <a:cubicBezTo>
                  <a:pt x="133644" y="597006"/>
                  <a:pt x="0" y="463362"/>
                  <a:pt x="0" y="298503"/>
                </a:cubicBezTo>
                <a:cubicBezTo>
                  <a:pt x="0" y="133644"/>
                  <a:pt x="133644" y="0"/>
                  <a:pt x="298503" y="0"/>
                </a:cubicBezTo>
                <a:close/>
              </a:path>
            </a:pathLst>
          </a:custGeom>
          <a:gradFill flip="none" rotWithShape="1">
            <a:gsLst>
              <a:gs pos="100000">
                <a:schemeClr val="accent1">
                  <a:lumMod val="5000"/>
                  <a:lumOff val="95000"/>
                </a:schemeClr>
              </a:gs>
              <a:gs pos="0">
                <a:schemeClr val="accent1">
                  <a:lumMod val="30000"/>
                  <a:lumOff val="70000"/>
                </a:schemeClr>
              </a:gs>
            </a:gsLst>
            <a:lin ang="2700000" scaled="0"/>
            <a:tileRect/>
          </a:gradFill>
          <a:ln w="6350" cap="flat" cmpd="sng" algn="ctr">
            <a:gradFill>
              <a:gsLst>
                <a:gs pos="0">
                  <a:schemeClr val="accent1">
                    <a:lumMod val="0"/>
                    <a:lumOff val="100000"/>
                  </a:schemeClr>
                </a:gs>
                <a:gs pos="100000">
                  <a:schemeClr val="accent1">
                    <a:lumMod val="0"/>
                    <a:lumOff val="100000"/>
                  </a:schemeClr>
                </a:gs>
              </a:gsLst>
              <a:lin ang="5400000" scaled="1"/>
            </a:gradFill>
            <a:prstDash val="solid"/>
            <a:miter lim="800000"/>
          </a:ln>
          <a:effectLst>
            <a:outerShdw blurRad="317500" dist="101600" dir="2700000" sx="99000" sy="99000" algn="tl" rotWithShape="0">
              <a:schemeClr val="accent1">
                <a:lumMod val="50000"/>
                <a:alpha val="1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solidFill>
                <a:srgbClr val="FFFFFF"/>
              </a:solidFill>
              <a:latin typeface="Arial"/>
            </a:endParaRPr>
          </a:p>
        </p:txBody>
      </p:sp>
      <p:sp>
        <p:nvSpPr>
          <p:cNvPr id="124" name="任意多边形: 形状 123">
            <a:extLst>
              <a:ext uri="{FF2B5EF4-FFF2-40B4-BE49-F238E27FC236}">
                <a16:creationId xmlns:a16="http://schemas.microsoft.com/office/drawing/2014/main" id="{67EED668-72EC-6059-75E1-836EA2E46110}"/>
              </a:ext>
            </a:extLst>
          </p:cNvPr>
          <p:cNvSpPr/>
          <p:nvPr/>
        </p:nvSpPr>
        <p:spPr>
          <a:xfrm>
            <a:off x="4157599" y="2043355"/>
            <a:ext cx="597006" cy="597006"/>
          </a:xfrm>
          <a:custGeom>
            <a:avLst/>
            <a:gdLst>
              <a:gd name="connsiteX0" fmla="*/ 298503 w 597006"/>
              <a:gd name="connsiteY0" fmla="*/ 0 h 597006"/>
              <a:gd name="connsiteX1" fmla="*/ 597006 w 597006"/>
              <a:gd name="connsiteY1" fmla="*/ 298503 h 597006"/>
              <a:gd name="connsiteX2" fmla="*/ 298503 w 597006"/>
              <a:gd name="connsiteY2" fmla="*/ 597006 h 597006"/>
              <a:gd name="connsiteX3" fmla="*/ 0 w 597006"/>
              <a:gd name="connsiteY3" fmla="*/ 298503 h 597006"/>
              <a:gd name="connsiteX4" fmla="*/ 298503 w 597006"/>
              <a:gd name="connsiteY4" fmla="*/ 0 h 5970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7006" h="597006">
                <a:moveTo>
                  <a:pt x="298503" y="0"/>
                </a:moveTo>
                <a:cubicBezTo>
                  <a:pt x="463362" y="0"/>
                  <a:pt x="597006" y="133644"/>
                  <a:pt x="597006" y="298503"/>
                </a:cubicBezTo>
                <a:cubicBezTo>
                  <a:pt x="597006" y="463362"/>
                  <a:pt x="463362" y="597006"/>
                  <a:pt x="298503" y="597006"/>
                </a:cubicBezTo>
                <a:cubicBezTo>
                  <a:pt x="133644" y="597006"/>
                  <a:pt x="0" y="463362"/>
                  <a:pt x="0" y="298503"/>
                </a:cubicBezTo>
                <a:cubicBezTo>
                  <a:pt x="0" y="133644"/>
                  <a:pt x="133644" y="0"/>
                  <a:pt x="298503" y="0"/>
                </a:cubicBezTo>
                <a:close/>
              </a:path>
            </a:pathLst>
          </a:custGeom>
          <a:gradFill flip="none" rotWithShape="1">
            <a:gsLst>
              <a:gs pos="100000">
                <a:schemeClr val="accent1">
                  <a:lumMod val="5000"/>
                  <a:lumOff val="95000"/>
                </a:schemeClr>
              </a:gs>
              <a:gs pos="0">
                <a:schemeClr val="accent1">
                  <a:lumMod val="30000"/>
                  <a:lumOff val="70000"/>
                </a:schemeClr>
              </a:gs>
            </a:gsLst>
            <a:lin ang="2700000" scaled="0"/>
            <a:tileRect/>
          </a:gradFill>
          <a:ln w="6350" cap="flat" cmpd="sng" algn="ctr">
            <a:gradFill>
              <a:gsLst>
                <a:gs pos="0">
                  <a:schemeClr val="accent1">
                    <a:lumMod val="0"/>
                    <a:lumOff val="100000"/>
                  </a:schemeClr>
                </a:gs>
                <a:gs pos="100000">
                  <a:schemeClr val="accent1">
                    <a:lumMod val="0"/>
                    <a:lumOff val="100000"/>
                  </a:schemeClr>
                </a:gs>
              </a:gsLst>
              <a:lin ang="5400000" scaled="1"/>
            </a:gradFill>
            <a:prstDash val="solid"/>
            <a:miter lim="800000"/>
          </a:ln>
          <a:effectLst>
            <a:outerShdw blurRad="317500" dist="101600" dir="2700000" sx="99000" sy="99000" algn="tl" rotWithShape="0">
              <a:schemeClr val="accent1">
                <a:lumMod val="50000"/>
                <a:alpha val="1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solidFill>
                <a:srgbClr val="FFFFFF"/>
              </a:solidFill>
              <a:latin typeface="Arial"/>
            </a:endParaRPr>
          </a:p>
        </p:txBody>
      </p:sp>
      <p:sp>
        <p:nvSpPr>
          <p:cNvPr id="126" name="任意多边形: 形状 125">
            <a:extLst>
              <a:ext uri="{FF2B5EF4-FFF2-40B4-BE49-F238E27FC236}">
                <a16:creationId xmlns:a16="http://schemas.microsoft.com/office/drawing/2014/main" id="{8CE82954-1EB9-0BF6-5DE2-0ED3F9059F86}"/>
              </a:ext>
            </a:extLst>
          </p:cNvPr>
          <p:cNvSpPr/>
          <p:nvPr/>
        </p:nvSpPr>
        <p:spPr>
          <a:xfrm>
            <a:off x="4641385" y="3180435"/>
            <a:ext cx="597006" cy="597006"/>
          </a:xfrm>
          <a:custGeom>
            <a:avLst/>
            <a:gdLst>
              <a:gd name="connsiteX0" fmla="*/ 298503 w 597006"/>
              <a:gd name="connsiteY0" fmla="*/ 0 h 597006"/>
              <a:gd name="connsiteX1" fmla="*/ 597006 w 597006"/>
              <a:gd name="connsiteY1" fmla="*/ 298503 h 597006"/>
              <a:gd name="connsiteX2" fmla="*/ 298503 w 597006"/>
              <a:gd name="connsiteY2" fmla="*/ 597006 h 597006"/>
              <a:gd name="connsiteX3" fmla="*/ 0 w 597006"/>
              <a:gd name="connsiteY3" fmla="*/ 298503 h 597006"/>
              <a:gd name="connsiteX4" fmla="*/ 298503 w 597006"/>
              <a:gd name="connsiteY4" fmla="*/ 0 h 5970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7006" h="597006">
                <a:moveTo>
                  <a:pt x="298503" y="0"/>
                </a:moveTo>
                <a:cubicBezTo>
                  <a:pt x="463362" y="0"/>
                  <a:pt x="597006" y="133644"/>
                  <a:pt x="597006" y="298503"/>
                </a:cubicBezTo>
                <a:cubicBezTo>
                  <a:pt x="597006" y="463362"/>
                  <a:pt x="463362" y="597006"/>
                  <a:pt x="298503" y="597006"/>
                </a:cubicBezTo>
                <a:cubicBezTo>
                  <a:pt x="133644" y="597006"/>
                  <a:pt x="0" y="463362"/>
                  <a:pt x="0" y="298503"/>
                </a:cubicBezTo>
                <a:cubicBezTo>
                  <a:pt x="0" y="133644"/>
                  <a:pt x="133644" y="0"/>
                  <a:pt x="298503" y="0"/>
                </a:cubicBezTo>
                <a:close/>
              </a:path>
            </a:pathLst>
          </a:custGeom>
          <a:gradFill flip="none" rotWithShape="1">
            <a:gsLst>
              <a:gs pos="100000">
                <a:schemeClr val="accent1">
                  <a:lumMod val="5000"/>
                  <a:lumOff val="95000"/>
                </a:schemeClr>
              </a:gs>
              <a:gs pos="0">
                <a:schemeClr val="accent1">
                  <a:lumMod val="30000"/>
                  <a:lumOff val="70000"/>
                </a:schemeClr>
              </a:gs>
            </a:gsLst>
            <a:lin ang="2700000" scaled="0"/>
            <a:tileRect/>
          </a:gradFill>
          <a:ln w="6350" cap="flat" cmpd="sng" algn="ctr">
            <a:gradFill>
              <a:gsLst>
                <a:gs pos="0">
                  <a:schemeClr val="accent1">
                    <a:lumMod val="0"/>
                    <a:lumOff val="100000"/>
                  </a:schemeClr>
                </a:gs>
                <a:gs pos="100000">
                  <a:schemeClr val="accent1">
                    <a:lumMod val="0"/>
                    <a:lumOff val="100000"/>
                  </a:schemeClr>
                </a:gs>
              </a:gsLst>
              <a:lin ang="5400000" scaled="1"/>
            </a:gradFill>
            <a:prstDash val="solid"/>
            <a:miter lim="800000"/>
          </a:ln>
          <a:effectLst>
            <a:outerShdw blurRad="317500" dist="101600" dir="2700000" sx="99000" sy="99000" algn="tl" rotWithShape="0">
              <a:schemeClr val="accent1">
                <a:lumMod val="50000"/>
                <a:alpha val="1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solidFill>
                <a:srgbClr val="FFFFFF"/>
              </a:solidFill>
              <a:latin typeface="Arial"/>
            </a:endParaRPr>
          </a:p>
        </p:txBody>
      </p:sp>
      <p:sp>
        <p:nvSpPr>
          <p:cNvPr id="128" name="任意多边形: 形状 127">
            <a:extLst>
              <a:ext uri="{FF2B5EF4-FFF2-40B4-BE49-F238E27FC236}">
                <a16:creationId xmlns:a16="http://schemas.microsoft.com/office/drawing/2014/main" id="{7C78DEAF-FD07-001E-49A8-8BB28DB906C7}"/>
              </a:ext>
            </a:extLst>
          </p:cNvPr>
          <p:cNvSpPr/>
          <p:nvPr/>
        </p:nvSpPr>
        <p:spPr>
          <a:xfrm>
            <a:off x="4994105" y="4330222"/>
            <a:ext cx="597006" cy="597006"/>
          </a:xfrm>
          <a:custGeom>
            <a:avLst/>
            <a:gdLst>
              <a:gd name="connsiteX0" fmla="*/ 298503 w 597006"/>
              <a:gd name="connsiteY0" fmla="*/ 0 h 597006"/>
              <a:gd name="connsiteX1" fmla="*/ 597006 w 597006"/>
              <a:gd name="connsiteY1" fmla="*/ 298503 h 597006"/>
              <a:gd name="connsiteX2" fmla="*/ 298503 w 597006"/>
              <a:gd name="connsiteY2" fmla="*/ 597006 h 597006"/>
              <a:gd name="connsiteX3" fmla="*/ 0 w 597006"/>
              <a:gd name="connsiteY3" fmla="*/ 298503 h 597006"/>
              <a:gd name="connsiteX4" fmla="*/ 298503 w 597006"/>
              <a:gd name="connsiteY4" fmla="*/ 0 h 5970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7006" h="597006">
                <a:moveTo>
                  <a:pt x="298503" y="0"/>
                </a:moveTo>
                <a:cubicBezTo>
                  <a:pt x="463362" y="0"/>
                  <a:pt x="597006" y="133644"/>
                  <a:pt x="597006" y="298503"/>
                </a:cubicBezTo>
                <a:cubicBezTo>
                  <a:pt x="597006" y="463362"/>
                  <a:pt x="463362" y="597006"/>
                  <a:pt x="298503" y="597006"/>
                </a:cubicBezTo>
                <a:cubicBezTo>
                  <a:pt x="133644" y="597006"/>
                  <a:pt x="0" y="463362"/>
                  <a:pt x="0" y="298503"/>
                </a:cubicBezTo>
                <a:cubicBezTo>
                  <a:pt x="0" y="133644"/>
                  <a:pt x="133644" y="0"/>
                  <a:pt x="298503" y="0"/>
                </a:cubicBezTo>
                <a:close/>
              </a:path>
            </a:pathLst>
          </a:custGeom>
          <a:gradFill flip="none" rotWithShape="1">
            <a:gsLst>
              <a:gs pos="100000">
                <a:schemeClr val="accent1">
                  <a:lumMod val="5000"/>
                  <a:lumOff val="95000"/>
                </a:schemeClr>
              </a:gs>
              <a:gs pos="0">
                <a:schemeClr val="accent1">
                  <a:lumMod val="30000"/>
                  <a:lumOff val="70000"/>
                </a:schemeClr>
              </a:gs>
            </a:gsLst>
            <a:lin ang="2700000" scaled="0"/>
            <a:tileRect/>
          </a:gradFill>
          <a:ln w="6350" cap="flat" cmpd="sng" algn="ctr">
            <a:gradFill>
              <a:gsLst>
                <a:gs pos="0">
                  <a:schemeClr val="accent1">
                    <a:lumMod val="0"/>
                    <a:lumOff val="100000"/>
                  </a:schemeClr>
                </a:gs>
                <a:gs pos="100000">
                  <a:schemeClr val="accent1">
                    <a:lumMod val="0"/>
                    <a:lumOff val="100000"/>
                  </a:schemeClr>
                </a:gs>
              </a:gsLst>
              <a:lin ang="5400000" scaled="1"/>
            </a:gradFill>
            <a:prstDash val="solid"/>
            <a:miter lim="800000"/>
          </a:ln>
          <a:effectLst>
            <a:outerShdw blurRad="317500" dist="101600" dir="2700000" sx="99000" sy="99000" algn="tl" rotWithShape="0">
              <a:schemeClr val="accent1">
                <a:lumMod val="50000"/>
                <a:alpha val="1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solidFill>
                <a:srgbClr val="FFFFFF"/>
              </a:solidFill>
              <a:latin typeface="Arial"/>
            </a:endParaRPr>
          </a:p>
        </p:txBody>
      </p:sp>
    </p:spTree>
    <p:extLst>
      <p:ext uri="{BB962C8B-B14F-4D97-AF65-F5344CB8AC3E}">
        <p14:creationId xmlns:p14="http://schemas.microsoft.com/office/powerpoint/2010/main" val="2944486187"/>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5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等腰三角形 42">
            <a:extLst>
              <a:ext uri="{FF2B5EF4-FFF2-40B4-BE49-F238E27FC236}">
                <a16:creationId xmlns:a16="http://schemas.microsoft.com/office/drawing/2014/main" id="{F3B82EEE-02EF-7ABE-1E27-29A9F6D1D7C0}"/>
              </a:ext>
            </a:extLst>
          </p:cNvPr>
          <p:cNvSpPr/>
          <p:nvPr/>
        </p:nvSpPr>
        <p:spPr>
          <a:xfrm>
            <a:off x="-209568" y="-1681316"/>
            <a:ext cx="12608646" cy="9391522"/>
          </a:xfrm>
          <a:prstGeom prst="triangle">
            <a:avLst/>
          </a:prstGeom>
          <a:gradFill flip="none" rotWithShape="1">
            <a:gsLst>
              <a:gs pos="100000">
                <a:schemeClr val="accent1">
                  <a:alpha val="20000"/>
                  <a:lumMod val="10000"/>
                  <a:lumOff val="90000"/>
                </a:schemeClr>
              </a:gs>
              <a:gs pos="0">
                <a:schemeClr val="accent1">
                  <a:lumMod val="5000"/>
                  <a:lumOff val="95000"/>
                  <a:alpha val="70000"/>
                </a:schemeClr>
              </a:gs>
            </a:gsLst>
            <a:lin ang="2700000" scaled="0"/>
            <a:tileRect/>
          </a:gradFill>
          <a:ln w="6350" cap="flat" cmpd="sng" algn="ctr">
            <a:gradFill>
              <a:gsLst>
                <a:gs pos="0">
                  <a:schemeClr val="accent1">
                    <a:lumMod val="0"/>
                    <a:lumOff val="100000"/>
                  </a:schemeClr>
                </a:gs>
                <a:gs pos="100000">
                  <a:schemeClr val="accent1">
                    <a:lumMod val="0"/>
                    <a:lumOff val="100000"/>
                  </a:schemeClr>
                </a:gs>
              </a:gsLst>
              <a:lin ang="5400000" scaled="1"/>
            </a:gradFill>
            <a:prstDash val="solid"/>
            <a:miter lim="800000"/>
          </a:ln>
          <a:effectLst>
            <a:outerShdw blurRad="317500" dist="127000" dir="2700000" algn="tl" rotWithShape="0">
              <a:schemeClr val="accent1">
                <a:lumMod val="50000"/>
                <a:alpha val="1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solidFill>
                <a:srgbClr val="FFFFFF"/>
              </a:solidFill>
              <a:latin typeface="Arial"/>
            </a:endParaRPr>
          </a:p>
        </p:txBody>
      </p:sp>
      <p:pic>
        <p:nvPicPr>
          <p:cNvPr id="15" name="阴影" descr="D:\andrew\Работа\Андрей\00_Presentations\05_WoW2\00_Drafts_P1\3779-2.png">
            <a:extLst>
              <a:ext uri="{FF2B5EF4-FFF2-40B4-BE49-F238E27FC236}">
                <a16:creationId xmlns:a16="http://schemas.microsoft.com/office/drawing/2014/main" id="{0524D187-B4B4-6907-5E06-A824EAE640D7}"/>
              </a:ext>
            </a:extLst>
          </p:cNvPr>
          <p:cNvPicPr>
            <a:picLocks noChangeAspect="1" noChangeArrowheads="1"/>
          </p:cNvPicPr>
          <p:nvPr/>
        </p:nvPicPr>
        <p:blipFill>
          <a:blip r:embed="rId4"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753660" y="1393110"/>
            <a:ext cx="5771340" cy="5738174"/>
          </a:xfrm>
          <a:prstGeom prst="rect">
            <a:avLst/>
          </a:prstGeom>
          <a:noFill/>
          <a:extLst>
            <a:ext uri="{909E8E84-426E-40DD-AFC4-6F175D3DCCD1}">
              <a14:hiddenFill xmlns:a14="http://schemas.microsoft.com/office/drawing/2010/main">
                <a:solidFill>
                  <a:srgbClr val="FFFFFF"/>
                </a:solidFill>
              </a14:hiddenFill>
            </a:ext>
          </a:extLst>
        </p:spPr>
      </p:pic>
      <p:sp>
        <p:nvSpPr>
          <p:cNvPr id="42" name="任意多边形: 形状 41">
            <a:extLst>
              <a:ext uri="{FF2B5EF4-FFF2-40B4-BE49-F238E27FC236}">
                <a16:creationId xmlns:a16="http://schemas.microsoft.com/office/drawing/2014/main" id="{E0C5A691-0BA4-C6C8-FC25-6CAFAE793809}"/>
              </a:ext>
            </a:extLst>
          </p:cNvPr>
          <p:cNvSpPr/>
          <p:nvPr/>
        </p:nvSpPr>
        <p:spPr>
          <a:xfrm>
            <a:off x="5122403" y="2856404"/>
            <a:ext cx="1944719" cy="145361"/>
          </a:xfrm>
          <a:custGeom>
            <a:avLst/>
            <a:gdLst>
              <a:gd name="connsiteX0" fmla="*/ 83908 w 1944719"/>
              <a:gd name="connsiteY0" fmla="*/ 0 h 145361"/>
              <a:gd name="connsiteX1" fmla="*/ 1860806 w 1944719"/>
              <a:gd name="connsiteY1" fmla="*/ 0 h 145361"/>
              <a:gd name="connsiteX2" fmla="*/ 1944719 w 1944719"/>
              <a:gd name="connsiteY2" fmla="*/ 145361 h 145361"/>
              <a:gd name="connsiteX3" fmla="*/ 0 w 1944719"/>
              <a:gd name="connsiteY3" fmla="*/ 145361 h 145361"/>
            </a:gdLst>
            <a:ahLst/>
            <a:cxnLst>
              <a:cxn ang="0">
                <a:pos x="connsiteX0" y="connsiteY0"/>
              </a:cxn>
              <a:cxn ang="0">
                <a:pos x="connsiteX1" y="connsiteY1"/>
              </a:cxn>
              <a:cxn ang="0">
                <a:pos x="connsiteX2" y="connsiteY2"/>
              </a:cxn>
              <a:cxn ang="0">
                <a:pos x="connsiteX3" y="connsiteY3"/>
              </a:cxn>
            </a:cxnLst>
            <a:rect l="l" t="t" r="r" b="b"/>
            <a:pathLst>
              <a:path w="1944719" h="145361">
                <a:moveTo>
                  <a:pt x="83908" y="0"/>
                </a:moveTo>
                <a:lnTo>
                  <a:pt x="1860806" y="0"/>
                </a:lnTo>
                <a:lnTo>
                  <a:pt x="1944719" y="145361"/>
                </a:lnTo>
                <a:lnTo>
                  <a:pt x="0" y="145361"/>
                </a:lnTo>
                <a:close/>
              </a:path>
            </a:pathLst>
          </a:custGeom>
          <a:gradFill flip="none" rotWithShape="1">
            <a:gsLst>
              <a:gs pos="100000">
                <a:schemeClr val="accent1">
                  <a:lumMod val="50000"/>
                  <a:lumOff val="50000"/>
                </a:schemeClr>
              </a:gs>
              <a:gs pos="0">
                <a:schemeClr val="accent1">
                  <a:lumMod val="25000"/>
                  <a:lumOff val="75000"/>
                </a:schemeClr>
              </a:gs>
            </a:gsLst>
            <a:lin ang="2700000" scaled="1"/>
            <a:tileRect/>
          </a:gradFill>
          <a:ln w="6350">
            <a:gradFill>
              <a:gsLst>
                <a:gs pos="0">
                  <a:schemeClr val="accent1">
                    <a:lumMod val="0"/>
                    <a:lumOff val="100000"/>
                    <a:alpha val="70000"/>
                  </a:schemeClr>
                </a:gs>
                <a:gs pos="100000">
                  <a:schemeClr val="accent1">
                    <a:lumMod val="0"/>
                    <a:lumOff val="100000"/>
                    <a:alpha val="70000"/>
                  </a:schemeClr>
                </a:gs>
              </a:gsLst>
              <a:lin ang="5400000" scaled="1"/>
            </a:gradFill>
          </a:ln>
          <a:effectLst>
            <a:outerShdw blurRad="190500" dist="101600" dir="2700000" algn="tl" rotWithShape="0">
              <a:schemeClr val="accent1">
                <a:alpha val="12000"/>
              </a:schemeClr>
            </a:outerShdw>
          </a:effectLst>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485899" tIns="63500" rIns="1485901" bIns="63500" numCol="1" spcCol="1270" anchor="ctr" anchorCtr="0">
            <a:noAutofit/>
          </a:bodyPr>
          <a:lstStyle/>
          <a:p>
            <a:pPr algn="ctr" defTabSz="2222500">
              <a:lnSpc>
                <a:spcPct val="90000"/>
              </a:lnSpc>
              <a:spcBef>
                <a:spcPct val="0"/>
              </a:spcBef>
              <a:spcAft>
                <a:spcPct val="35000"/>
              </a:spcAft>
            </a:pPr>
            <a:endParaRPr lang="en-US" sz="3200">
              <a:solidFill>
                <a:prstClr val="white"/>
              </a:solidFill>
              <a:latin typeface="等线" panose="020F0502020204030204"/>
              <a:ea typeface="等线" panose="02010600030101010101" pitchFamily="2" charset="-122"/>
            </a:endParaRPr>
          </a:p>
        </p:txBody>
      </p:sp>
      <p:sp>
        <p:nvSpPr>
          <p:cNvPr id="44" name="任意多边形: 形状 43">
            <a:extLst>
              <a:ext uri="{FF2B5EF4-FFF2-40B4-BE49-F238E27FC236}">
                <a16:creationId xmlns:a16="http://schemas.microsoft.com/office/drawing/2014/main" id="{DC474702-2627-73A6-07C6-256DDD0E5213}"/>
              </a:ext>
            </a:extLst>
          </p:cNvPr>
          <p:cNvSpPr/>
          <p:nvPr/>
        </p:nvSpPr>
        <p:spPr>
          <a:xfrm>
            <a:off x="5603789" y="2022490"/>
            <a:ext cx="981943" cy="145361"/>
          </a:xfrm>
          <a:custGeom>
            <a:avLst/>
            <a:gdLst>
              <a:gd name="connsiteX0" fmla="*/ 83914 w 981943"/>
              <a:gd name="connsiteY0" fmla="*/ 0 h 145361"/>
              <a:gd name="connsiteX1" fmla="*/ 898030 w 981943"/>
              <a:gd name="connsiteY1" fmla="*/ 0 h 145361"/>
              <a:gd name="connsiteX2" fmla="*/ 981943 w 981943"/>
              <a:gd name="connsiteY2" fmla="*/ 145361 h 145361"/>
              <a:gd name="connsiteX3" fmla="*/ 0 w 981943"/>
              <a:gd name="connsiteY3" fmla="*/ 145361 h 145361"/>
            </a:gdLst>
            <a:ahLst/>
            <a:cxnLst>
              <a:cxn ang="0">
                <a:pos x="connsiteX0" y="connsiteY0"/>
              </a:cxn>
              <a:cxn ang="0">
                <a:pos x="connsiteX1" y="connsiteY1"/>
              </a:cxn>
              <a:cxn ang="0">
                <a:pos x="connsiteX2" y="connsiteY2"/>
              </a:cxn>
              <a:cxn ang="0">
                <a:pos x="connsiteX3" y="connsiteY3"/>
              </a:cxn>
            </a:cxnLst>
            <a:rect l="l" t="t" r="r" b="b"/>
            <a:pathLst>
              <a:path w="981943" h="145361">
                <a:moveTo>
                  <a:pt x="83914" y="0"/>
                </a:moveTo>
                <a:lnTo>
                  <a:pt x="898030" y="0"/>
                </a:lnTo>
                <a:lnTo>
                  <a:pt x="981943" y="145361"/>
                </a:lnTo>
                <a:lnTo>
                  <a:pt x="0" y="145361"/>
                </a:lnTo>
                <a:close/>
              </a:path>
            </a:pathLst>
          </a:custGeom>
          <a:gradFill flip="none" rotWithShape="1">
            <a:gsLst>
              <a:gs pos="100000">
                <a:schemeClr val="accent1">
                  <a:lumMod val="50000"/>
                  <a:lumOff val="50000"/>
                </a:schemeClr>
              </a:gs>
              <a:gs pos="0">
                <a:schemeClr val="accent1">
                  <a:lumMod val="25000"/>
                  <a:lumOff val="75000"/>
                </a:schemeClr>
              </a:gs>
            </a:gsLst>
            <a:lin ang="2700000" scaled="1"/>
            <a:tileRect/>
          </a:gradFill>
          <a:ln w="6350">
            <a:gradFill>
              <a:gsLst>
                <a:gs pos="0">
                  <a:schemeClr val="accent1">
                    <a:lumMod val="0"/>
                    <a:lumOff val="100000"/>
                    <a:alpha val="70000"/>
                  </a:schemeClr>
                </a:gs>
                <a:gs pos="100000">
                  <a:schemeClr val="accent1">
                    <a:lumMod val="0"/>
                    <a:lumOff val="100000"/>
                    <a:alpha val="70000"/>
                  </a:schemeClr>
                </a:gs>
              </a:gsLst>
              <a:lin ang="5400000" scaled="1"/>
            </a:gradFill>
          </a:ln>
          <a:effectLst>
            <a:outerShdw blurRad="190500" dist="101600" dir="2700000" algn="tl" rotWithShape="0">
              <a:schemeClr val="accent1">
                <a:alpha val="12000"/>
              </a:schemeClr>
            </a:outerShdw>
          </a:effectLst>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485899" tIns="63500" rIns="1485901" bIns="63500" numCol="1" spcCol="1270" anchor="ctr" anchorCtr="0">
            <a:noAutofit/>
          </a:bodyPr>
          <a:lstStyle/>
          <a:p>
            <a:pPr algn="ctr" defTabSz="2222500">
              <a:lnSpc>
                <a:spcPct val="90000"/>
              </a:lnSpc>
              <a:spcBef>
                <a:spcPct val="0"/>
              </a:spcBef>
              <a:spcAft>
                <a:spcPct val="35000"/>
              </a:spcAft>
            </a:pPr>
            <a:endParaRPr lang="en-US" sz="3200">
              <a:solidFill>
                <a:prstClr val="white"/>
              </a:solidFill>
              <a:latin typeface="等线" panose="020F0502020204030204"/>
              <a:ea typeface="等线" panose="02010600030101010101" pitchFamily="2" charset="-122"/>
            </a:endParaRPr>
          </a:p>
        </p:txBody>
      </p:sp>
      <p:sp>
        <p:nvSpPr>
          <p:cNvPr id="46" name="任意多边形: 形状 45">
            <a:extLst>
              <a:ext uri="{FF2B5EF4-FFF2-40B4-BE49-F238E27FC236}">
                <a16:creationId xmlns:a16="http://schemas.microsoft.com/office/drawing/2014/main" id="{6529FC33-C174-81A8-B76F-926A5288EB45}"/>
              </a:ext>
            </a:extLst>
          </p:cNvPr>
          <p:cNvSpPr/>
          <p:nvPr/>
        </p:nvSpPr>
        <p:spPr>
          <a:xfrm>
            <a:off x="4641013" y="3690314"/>
            <a:ext cx="2907501" cy="145361"/>
          </a:xfrm>
          <a:custGeom>
            <a:avLst/>
            <a:gdLst>
              <a:gd name="connsiteX0" fmla="*/ 83914 w 2907501"/>
              <a:gd name="connsiteY0" fmla="*/ 0 h 145361"/>
              <a:gd name="connsiteX1" fmla="*/ 2823588 w 2907501"/>
              <a:gd name="connsiteY1" fmla="*/ 0 h 145361"/>
              <a:gd name="connsiteX2" fmla="*/ 2907501 w 2907501"/>
              <a:gd name="connsiteY2" fmla="*/ 145361 h 145361"/>
              <a:gd name="connsiteX3" fmla="*/ 0 w 2907501"/>
              <a:gd name="connsiteY3" fmla="*/ 145361 h 145361"/>
            </a:gdLst>
            <a:ahLst/>
            <a:cxnLst>
              <a:cxn ang="0">
                <a:pos x="connsiteX0" y="connsiteY0"/>
              </a:cxn>
              <a:cxn ang="0">
                <a:pos x="connsiteX1" y="connsiteY1"/>
              </a:cxn>
              <a:cxn ang="0">
                <a:pos x="connsiteX2" y="connsiteY2"/>
              </a:cxn>
              <a:cxn ang="0">
                <a:pos x="connsiteX3" y="connsiteY3"/>
              </a:cxn>
            </a:cxnLst>
            <a:rect l="l" t="t" r="r" b="b"/>
            <a:pathLst>
              <a:path w="2907501" h="145361">
                <a:moveTo>
                  <a:pt x="83914" y="0"/>
                </a:moveTo>
                <a:lnTo>
                  <a:pt x="2823588" y="0"/>
                </a:lnTo>
                <a:lnTo>
                  <a:pt x="2907501" y="145361"/>
                </a:lnTo>
                <a:lnTo>
                  <a:pt x="0" y="145361"/>
                </a:lnTo>
                <a:close/>
              </a:path>
            </a:pathLst>
          </a:custGeom>
          <a:gradFill flip="none" rotWithShape="1">
            <a:gsLst>
              <a:gs pos="100000">
                <a:schemeClr val="accent1">
                  <a:lumMod val="50000"/>
                  <a:lumOff val="50000"/>
                </a:schemeClr>
              </a:gs>
              <a:gs pos="0">
                <a:schemeClr val="accent1">
                  <a:lumMod val="25000"/>
                  <a:lumOff val="75000"/>
                </a:schemeClr>
              </a:gs>
            </a:gsLst>
            <a:lin ang="2700000" scaled="1"/>
            <a:tileRect/>
          </a:gradFill>
          <a:ln w="6350">
            <a:gradFill>
              <a:gsLst>
                <a:gs pos="0">
                  <a:schemeClr val="accent1">
                    <a:lumMod val="0"/>
                    <a:lumOff val="100000"/>
                    <a:alpha val="70000"/>
                  </a:schemeClr>
                </a:gs>
                <a:gs pos="100000">
                  <a:schemeClr val="accent1">
                    <a:lumMod val="0"/>
                    <a:lumOff val="100000"/>
                    <a:alpha val="70000"/>
                  </a:schemeClr>
                </a:gs>
              </a:gsLst>
              <a:lin ang="5400000" scaled="1"/>
            </a:gradFill>
          </a:ln>
          <a:effectLst>
            <a:outerShdw blurRad="190500" dist="101600" dir="2700000" algn="tl" rotWithShape="0">
              <a:schemeClr val="accent1">
                <a:alpha val="12000"/>
              </a:schemeClr>
            </a:outerShdw>
          </a:effectLst>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485899" tIns="63500" rIns="1485901" bIns="63500" numCol="1" spcCol="1270" anchor="ctr" anchorCtr="0">
            <a:noAutofit/>
          </a:bodyPr>
          <a:lstStyle/>
          <a:p>
            <a:pPr algn="ctr" defTabSz="2222500">
              <a:lnSpc>
                <a:spcPct val="90000"/>
              </a:lnSpc>
              <a:spcBef>
                <a:spcPct val="0"/>
              </a:spcBef>
              <a:spcAft>
                <a:spcPct val="35000"/>
              </a:spcAft>
            </a:pPr>
            <a:endParaRPr lang="en-US" sz="3200">
              <a:solidFill>
                <a:prstClr val="white"/>
              </a:solidFill>
              <a:latin typeface="等线" panose="020F0502020204030204"/>
              <a:ea typeface="等线" panose="02010600030101010101" pitchFamily="2" charset="-122"/>
            </a:endParaRPr>
          </a:p>
        </p:txBody>
      </p:sp>
      <p:sp>
        <p:nvSpPr>
          <p:cNvPr id="48" name="任意多边形: 形状 47">
            <a:extLst>
              <a:ext uri="{FF2B5EF4-FFF2-40B4-BE49-F238E27FC236}">
                <a16:creationId xmlns:a16="http://schemas.microsoft.com/office/drawing/2014/main" id="{226EC2E7-3717-3E9F-14BB-75CA359EE328}"/>
              </a:ext>
            </a:extLst>
          </p:cNvPr>
          <p:cNvSpPr/>
          <p:nvPr/>
        </p:nvSpPr>
        <p:spPr>
          <a:xfrm>
            <a:off x="4159620" y="4524235"/>
            <a:ext cx="3870277" cy="145361"/>
          </a:xfrm>
          <a:custGeom>
            <a:avLst/>
            <a:gdLst>
              <a:gd name="connsiteX0" fmla="*/ 83914 w 3870277"/>
              <a:gd name="connsiteY0" fmla="*/ 0 h 145361"/>
              <a:gd name="connsiteX1" fmla="*/ 3786374 w 3870277"/>
              <a:gd name="connsiteY1" fmla="*/ 0 h 145361"/>
              <a:gd name="connsiteX2" fmla="*/ 3870277 w 3870277"/>
              <a:gd name="connsiteY2" fmla="*/ 145361 h 145361"/>
              <a:gd name="connsiteX3" fmla="*/ 0 w 3870277"/>
              <a:gd name="connsiteY3" fmla="*/ 145361 h 145361"/>
            </a:gdLst>
            <a:ahLst/>
            <a:cxnLst>
              <a:cxn ang="0">
                <a:pos x="connsiteX0" y="connsiteY0"/>
              </a:cxn>
              <a:cxn ang="0">
                <a:pos x="connsiteX1" y="connsiteY1"/>
              </a:cxn>
              <a:cxn ang="0">
                <a:pos x="connsiteX2" y="connsiteY2"/>
              </a:cxn>
              <a:cxn ang="0">
                <a:pos x="connsiteX3" y="connsiteY3"/>
              </a:cxn>
            </a:cxnLst>
            <a:rect l="l" t="t" r="r" b="b"/>
            <a:pathLst>
              <a:path w="3870277" h="145361">
                <a:moveTo>
                  <a:pt x="83914" y="0"/>
                </a:moveTo>
                <a:lnTo>
                  <a:pt x="3786374" y="0"/>
                </a:lnTo>
                <a:lnTo>
                  <a:pt x="3870277" y="145361"/>
                </a:lnTo>
                <a:lnTo>
                  <a:pt x="0" y="145361"/>
                </a:lnTo>
                <a:close/>
              </a:path>
            </a:pathLst>
          </a:custGeom>
          <a:gradFill flip="none" rotWithShape="1">
            <a:gsLst>
              <a:gs pos="100000">
                <a:schemeClr val="accent1">
                  <a:lumMod val="50000"/>
                  <a:lumOff val="50000"/>
                </a:schemeClr>
              </a:gs>
              <a:gs pos="0">
                <a:schemeClr val="accent1">
                  <a:lumMod val="25000"/>
                  <a:lumOff val="75000"/>
                </a:schemeClr>
              </a:gs>
            </a:gsLst>
            <a:lin ang="2700000" scaled="1"/>
            <a:tileRect/>
          </a:gradFill>
          <a:ln w="6350">
            <a:gradFill>
              <a:gsLst>
                <a:gs pos="0">
                  <a:schemeClr val="accent1">
                    <a:lumMod val="0"/>
                    <a:lumOff val="100000"/>
                    <a:alpha val="70000"/>
                  </a:schemeClr>
                </a:gs>
                <a:gs pos="100000">
                  <a:schemeClr val="accent1">
                    <a:lumMod val="0"/>
                    <a:lumOff val="100000"/>
                    <a:alpha val="70000"/>
                  </a:schemeClr>
                </a:gs>
              </a:gsLst>
              <a:lin ang="5400000" scaled="1"/>
            </a:gradFill>
          </a:ln>
          <a:effectLst>
            <a:outerShdw blurRad="190500" dist="101600" dir="2700000" algn="tl" rotWithShape="0">
              <a:schemeClr val="accent1">
                <a:alpha val="12000"/>
              </a:schemeClr>
            </a:outerShdw>
          </a:effectLst>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485899" tIns="63500" rIns="1485901" bIns="63500" numCol="1" spcCol="1270" anchor="ctr" anchorCtr="0">
            <a:noAutofit/>
          </a:bodyPr>
          <a:lstStyle/>
          <a:p>
            <a:pPr algn="ctr" defTabSz="2222500">
              <a:lnSpc>
                <a:spcPct val="90000"/>
              </a:lnSpc>
              <a:spcBef>
                <a:spcPct val="0"/>
              </a:spcBef>
              <a:spcAft>
                <a:spcPct val="35000"/>
              </a:spcAft>
            </a:pPr>
            <a:endParaRPr lang="en-US" sz="3200">
              <a:solidFill>
                <a:prstClr val="white"/>
              </a:solidFill>
              <a:latin typeface="等线" panose="020F0502020204030204"/>
              <a:ea typeface="等线" panose="02010600030101010101" pitchFamily="2" charset="-122"/>
            </a:endParaRPr>
          </a:p>
        </p:txBody>
      </p:sp>
      <p:sp>
        <p:nvSpPr>
          <p:cNvPr id="50" name="任意多边形: 形状 49">
            <a:extLst>
              <a:ext uri="{FF2B5EF4-FFF2-40B4-BE49-F238E27FC236}">
                <a16:creationId xmlns:a16="http://schemas.microsoft.com/office/drawing/2014/main" id="{9E73502E-EDBF-0326-3A84-3905EB74C4C7}"/>
              </a:ext>
            </a:extLst>
          </p:cNvPr>
          <p:cNvSpPr/>
          <p:nvPr/>
        </p:nvSpPr>
        <p:spPr>
          <a:xfrm>
            <a:off x="3715861" y="4669595"/>
            <a:ext cx="4757793" cy="688550"/>
          </a:xfrm>
          <a:custGeom>
            <a:avLst/>
            <a:gdLst>
              <a:gd name="connsiteX0" fmla="*/ 397477 w 4757793"/>
              <a:gd name="connsiteY0" fmla="*/ 0 h 688550"/>
              <a:gd name="connsiteX1" fmla="*/ 4360316 w 4757793"/>
              <a:gd name="connsiteY1" fmla="*/ 0 h 688550"/>
              <a:gd name="connsiteX2" fmla="*/ 4757793 w 4757793"/>
              <a:gd name="connsiteY2" fmla="*/ 688550 h 688550"/>
              <a:gd name="connsiteX3" fmla="*/ 0 w 4757793"/>
              <a:gd name="connsiteY3" fmla="*/ 688550 h 688550"/>
            </a:gdLst>
            <a:ahLst/>
            <a:cxnLst>
              <a:cxn ang="0">
                <a:pos x="connsiteX0" y="connsiteY0"/>
              </a:cxn>
              <a:cxn ang="0">
                <a:pos x="connsiteX1" y="connsiteY1"/>
              </a:cxn>
              <a:cxn ang="0">
                <a:pos x="connsiteX2" y="connsiteY2"/>
              </a:cxn>
              <a:cxn ang="0">
                <a:pos x="connsiteX3" y="connsiteY3"/>
              </a:cxn>
            </a:cxnLst>
            <a:rect l="l" t="t" r="r" b="b"/>
            <a:pathLst>
              <a:path w="4757793" h="688550">
                <a:moveTo>
                  <a:pt x="397477" y="0"/>
                </a:moveTo>
                <a:lnTo>
                  <a:pt x="4360316" y="0"/>
                </a:lnTo>
                <a:lnTo>
                  <a:pt x="4757793" y="688550"/>
                </a:lnTo>
                <a:lnTo>
                  <a:pt x="0" y="688550"/>
                </a:lnTo>
                <a:close/>
              </a:path>
            </a:pathLst>
          </a:custGeom>
          <a:gradFill flip="none" rotWithShape="1">
            <a:gsLst>
              <a:gs pos="0">
                <a:schemeClr val="accent1">
                  <a:lumMod val="80000"/>
                </a:schemeClr>
              </a:gs>
              <a:gs pos="100000">
                <a:schemeClr val="accent1">
                  <a:lumMod val="40000"/>
                </a:schemeClr>
              </a:gs>
            </a:gsLst>
            <a:path path="circle">
              <a:fillToRect r="100000" b="100000"/>
            </a:path>
            <a:tileRect l="-100000" t="-10000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solidFill>
                <a:srgbClr val="FFFFFF"/>
              </a:solidFill>
              <a:latin typeface="Arial"/>
            </a:endParaRPr>
          </a:p>
        </p:txBody>
      </p:sp>
      <p:sp>
        <p:nvSpPr>
          <p:cNvPr id="52" name="任意多边形: 形状 51">
            <a:extLst>
              <a:ext uri="{FF2B5EF4-FFF2-40B4-BE49-F238E27FC236}">
                <a16:creationId xmlns:a16="http://schemas.microsoft.com/office/drawing/2014/main" id="{4241B23B-E837-FD1E-D9BA-599FBFAD0539}"/>
              </a:ext>
            </a:extLst>
          </p:cNvPr>
          <p:cNvSpPr/>
          <p:nvPr/>
        </p:nvSpPr>
        <p:spPr>
          <a:xfrm>
            <a:off x="4106017" y="4669593"/>
            <a:ext cx="3977476" cy="12682"/>
          </a:xfrm>
          <a:custGeom>
            <a:avLst/>
            <a:gdLst>
              <a:gd name="connsiteX0" fmla="*/ 7321 w 3977476"/>
              <a:gd name="connsiteY0" fmla="*/ 0 h 12682"/>
              <a:gd name="connsiteX1" fmla="*/ 3970160 w 3977476"/>
              <a:gd name="connsiteY1" fmla="*/ 0 h 12682"/>
              <a:gd name="connsiteX2" fmla="*/ 3977476 w 3977476"/>
              <a:gd name="connsiteY2" fmla="*/ 12682 h 12682"/>
              <a:gd name="connsiteX3" fmla="*/ 0 w 3977476"/>
              <a:gd name="connsiteY3" fmla="*/ 12682 h 12682"/>
            </a:gdLst>
            <a:ahLst/>
            <a:cxnLst>
              <a:cxn ang="0">
                <a:pos x="connsiteX0" y="connsiteY0"/>
              </a:cxn>
              <a:cxn ang="0">
                <a:pos x="connsiteX1" y="connsiteY1"/>
              </a:cxn>
              <a:cxn ang="0">
                <a:pos x="connsiteX2" y="connsiteY2"/>
              </a:cxn>
              <a:cxn ang="0">
                <a:pos x="connsiteX3" y="connsiteY3"/>
              </a:cxn>
            </a:cxnLst>
            <a:rect l="l" t="t" r="r" b="b"/>
            <a:pathLst>
              <a:path w="3977476" h="12682">
                <a:moveTo>
                  <a:pt x="7321" y="0"/>
                </a:moveTo>
                <a:lnTo>
                  <a:pt x="3970160" y="0"/>
                </a:lnTo>
                <a:lnTo>
                  <a:pt x="3977476" y="12682"/>
                </a:lnTo>
                <a:lnTo>
                  <a:pt x="0" y="12682"/>
                </a:lnTo>
                <a:close/>
              </a:path>
            </a:pathLst>
          </a:custGeom>
          <a:gradFill flip="none" rotWithShape="1">
            <a:gsLst>
              <a:gs pos="0">
                <a:schemeClr val="accent1">
                  <a:lumMod val="0"/>
                  <a:lumOff val="100000"/>
                  <a:alpha val="50000"/>
                </a:schemeClr>
              </a:gs>
              <a:gs pos="100000">
                <a:schemeClr val="accent1">
                  <a:lumMod val="0"/>
                  <a:lumOff val="100000"/>
                  <a:alpha val="50000"/>
                </a:schemeClr>
              </a:gs>
              <a:gs pos="50000">
                <a:schemeClr val="accent1">
                  <a:lumMod val="0"/>
                  <a:lumOff val="100000"/>
                </a:schemeClr>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solidFill>
                <a:srgbClr val="FFFFFF"/>
              </a:solidFill>
              <a:latin typeface="Arial"/>
            </a:endParaRPr>
          </a:p>
        </p:txBody>
      </p:sp>
      <p:sp>
        <p:nvSpPr>
          <p:cNvPr id="54" name="任意多边形: 形状 53">
            <a:extLst>
              <a:ext uri="{FF2B5EF4-FFF2-40B4-BE49-F238E27FC236}">
                <a16:creationId xmlns:a16="http://schemas.microsoft.com/office/drawing/2014/main" id="{56379D99-80E1-FE0C-6291-DD6AEE100AFD}"/>
              </a:ext>
            </a:extLst>
          </p:cNvPr>
          <p:cNvSpPr/>
          <p:nvPr/>
        </p:nvSpPr>
        <p:spPr>
          <a:xfrm>
            <a:off x="4197254" y="3835674"/>
            <a:ext cx="3795017" cy="688560"/>
          </a:xfrm>
          <a:custGeom>
            <a:avLst/>
            <a:gdLst>
              <a:gd name="connsiteX0" fmla="*/ 397477 w 3795017"/>
              <a:gd name="connsiteY0" fmla="*/ 0 h 688560"/>
              <a:gd name="connsiteX1" fmla="*/ 3397535 w 3795017"/>
              <a:gd name="connsiteY1" fmla="*/ 0 h 688560"/>
              <a:gd name="connsiteX2" fmla="*/ 3795017 w 3795017"/>
              <a:gd name="connsiteY2" fmla="*/ 688560 h 688560"/>
              <a:gd name="connsiteX3" fmla="*/ 0 w 3795017"/>
              <a:gd name="connsiteY3" fmla="*/ 688560 h 688560"/>
            </a:gdLst>
            <a:ahLst/>
            <a:cxnLst>
              <a:cxn ang="0">
                <a:pos x="connsiteX0" y="connsiteY0"/>
              </a:cxn>
              <a:cxn ang="0">
                <a:pos x="connsiteX1" y="connsiteY1"/>
              </a:cxn>
              <a:cxn ang="0">
                <a:pos x="connsiteX2" y="connsiteY2"/>
              </a:cxn>
              <a:cxn ang="0">
                <a:pos x="connsiteX3" y="connsiteY3"/>
              </a:cxn>
            </a:cxnLst>
            <a:rect l="l" t="t" r="r" b="b"/>
            <a:pathLst>
              <a:path w="3795017" h="688560">
                <a:moveTo>
                  <a:pt x="397477" y="0"/>
                </a:moveTo>
                <a:lnTo>
                  <a:pt x="3397535" y="0"/>
                </a:lnTo>
                <a:lnTo>
                  <a:pt x="3795017" y="688560"/>
                </a:lnTo>
                <a:lnTo>
                  <a:pt x="0" y="688560"/>
                </a:lnTo>
                <a:close/>
              </a:path>
            </a:pathLst>
          </a:custGeom>
          <a:gradFill flip="none" rotWithShape="1">
            <a:gsLst>
              <a:gs pos="0">
                <a:schemeClr val="accent1">
                  <a:lumMod val="100000"/>
                </a:schemeClr>
              </a:gs>
              <a:gs pos="100000">
                <a:schemeClr val="accent1">
                  <a:lumMod val="60000"/>
                </a:schemeClr>
              </a:gs>
            </a:gsLst>
            <a:path path="circle">
              <a:fillToRect r="100000" b="100000"/>
            </a:path>
            <a:tileRect l="-100000" t="-10000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solidFill>
                <a:srgbClr val="FFFFFF"/>
              </a:solidFill>
              <a:latin typeface="Arial"/>
            </a:endParaRPr>
          </a:p>
        </p:txBody>
      </p:sp>
      <p:sp>
        <p:nvSpPr>
          <p:cNvPr id="56" name="任意多边形: 形状 55">
            <a:extLst>
              <a:ext uri="{FF2B5EF4-FFF2-40B4-BE49-F238E27FC236}">
                <a16:creationId xmlns:a16="http://schemas.microsoft.com/office/drawing/2014/main" id="{208B2054-40B7-9E69-3A5F-FEEBEC071978}"/>
              </a:ext>
            </a:extLst>
          </p:cNvPr>
          <p:cNvSpPr/>
          <p:nvPr/>
        </p:nvSpPr>
        <p:spPr>
          <a:xfrm>
            <a:off x="4587414" y="3835672"/>
            <a:ext cx="3014689" cy="12682"/>
          </a:xfrm>
          <a:custGeom>
            <a:avLst/>
            <a:gdLst>
              <a:gd name="connsiteX0" fmla="*/ 7316 w 3014689"/>
              <a:gd name="connsiteY0" fmla="*/ 0 h 12682"/>
              <a:gd name="connsiteX1" fmla="*/ 3007373 w 3014689"/>
              <a:gd name="connsiteY1" fmla="*/ 0 h 12682"/>
              <a:gd name="connsiteX2" fmla="*/ 3014689 w 3014689"/>
              <a:gd name="connsiteY2" fmla="*/ 12682 h 12682"/>
              <a:gd name="connsiteX3" fmla="*/ 0 w 3014689"/>
              <a:gd name="connsiteY3" fmla="*/ 12682 h 12682"/>
            </a:gdLst>
            <a:ahLst/>
            <a:cxnLst>
              <a:cxn ang="0">
                <a:pos x="connsiteX0" y="connsiteY0"/>
              </a:cxn>
              <a:cxn ang="0">
                <a:pos x="connsiteX1" y="connsiteY1"/>
              </a:cxn>
              <a:cxn ang="0">
                <a:pos x="connsiteX2" y="connsiteY2"/>
              </a:cxn>
              <a:cxn ang="0">
                <a:pos x="connsiteX3" y="connsiteY3"/>
              </a:cxn>
            </a:cxnLst>
            <a:rect l="l" t="t" r="r" b="b"/>
            <a:pathLst>
              <a:path w="3014689" h="12682">
                <a:moveTo>
                  <a:pt x="7316" y="0"/>
                </a:moveTo>
                <a:lnTo>
                  <a:pt x="3007373" y="0"/>
                </a:lnTo>
                <a:lnTo>
                  <a:pt x="3014689" y="12682"/>
                </a:lnTo>
                <a:lnTo>
                  <a:pt x="0" y="12682"/>
                </a:lnTo>
                <a:close/>
              </a:path>
            </a:pathLst>
          </a:custGeom>
          <a:gradFill flip="none" rotWithShape="1">
            <a:gsLst>
              <a:gs pos="0">
                <a:schemeClr val="accent1">
                  <a:lumMod val="0"/>
                  <a:lumOff val="100000"/>
                  <a:alpha val="50000"/>
                </a:schemeClr>
              </a:gs>
              <a:gs pos="100000">
                <a:schemeClr val="accent1">
                  <a:lumMod val="0"/>
                  <a:lumOff val="100000"/>
                  <a:alpha val="50000"/>
                </a:schemeClr>
              </a:gs>
              <a:gs pos="50000">
                <a:schemeClr val="accent1">
                  <a:lumMod val="0"/>
                  <a:lumOff val="100000"/>
                  <a:alpha val="90000"/>
                </a:schemeClr>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solidFill>
                <a:srgbClr val="FFFFFF"/>
              </a:solidFill>
              <a:latin typeface="Arial"/>
            </a:endParaRPr>
          </a:p>
        </p:txBody>
      </p:sp>
      <p:sp>
        <p:nvSpPr>
          <p:cNvPr id="58" name="任意多边形: 形状 57">
            <a:extLst>
              <a:ext uri="{FF2B5EF4-FFF2-40B4-BE49-F238E27FC236}">
                <a16:creationId xmlns:a16="http://schemas.microsoft.com/office/drawing/2014/main" id="{EB11B4F1-297C-D4CD-DA74-75EAE18FB269}"/>
              </a:ext>
            </a:extLst>
          </p:cNvPr>
          <p:cNvSpPr/>
          <p:nvPr/>
        </p:nvSpPr>
        <p:spPr>
          <a:xfrm>
            <a:off x="4678642" y="3001767"/>
            <a:ext cx="2832235" cy="688545"/>
          </a:xfrm>
          <a:custGeom>
            <a:avLst/>
            <a:gdLst>
              <a:gd name="connsiteX0" fmla="*/ 397482 w 2832235"/>
              <a:gd name="connsiteY0" fmla="*/ 0 h 688545"/>
              <a:gd name="connsiteX1" fmla="*/ 2434758 w 2832235"/>
              <a:gd name="connsiteY1" fmla="*/ 0 h 688545"/>
              <a:gd name="connsiteX2" fmla="*/ 2448191 w 2832235"/>
              <a:gd name="connsiteY2" fmla="*/ 23273 h 688545"/>
              <a:gd name="connsiteX3" fmla="*/ 2832235 w 2832235"/>
              <a:gd name="connsiteY3" fmla="*/ 688545 h 688545"/>
              <a:gd name="connsiteX4" fmla="*/ 0 w 2832235"/>
              <a:gd name="connsiteY4" fmla="*/ 688545 h 688545"/>
              <a:gd name="connsiteX5" fmla="*/ 384044 w 2832235"/>
              <a:gd name="connsiteY5" fmla="*/ 23273 h 688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32235" h="688545">
                <a:moveTo>
                  <a:pt x="397482" y="0"/>
                </a:moveTo>
                <a:lnTo>
                  <a:pt x="2434758" y="0"/>
                </a:lnTo>
                <a:lnTo>
                  <a:pt x="2448191" y="23273"/>
                </a:lnTo>
                <a:lnTo>
                  <a:pt x="2832235" y="688545"/>
                </a:lnTo>
                <a:lnTo>
                  <a:pt x="0" y="688545"/>
                </a:lnTo>
                <a:lnTo>
                  <a:pt x="384044" y="23273"/>
                </a:lnTo>
                <a:close/>
              </a:path>
            </a:pathLst>
          </a:custGeom>
          <a:gradFill flip="none" rotWithShape="1">
            <a:gsLst>
              <a:gs pos="0">
                <a:schemeClr val="accent1">
                  <a:lumMod val="75000"/>
                  <a:lumOff val="25000"/>
                </a:schemeClr>
              </a:gs>
              <a:gs pos="100000">
                <a:schemeClr val="accent1">
                  <a:lumMod val="80000"/>
                </a:schemeClr>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solidFill>
                <a:srgbClr val="FFFFFF"/>
              </a:solidFill>
              <a:latin typeface="Arial"/>
            </a:endParaRPr>
          </a:p>
        </p:txBody>
      </p:sp>
      <p:sp>
        <p:nvSpPr>
          <p:cNvPr id="60" name="任意多边形: 形状 59">
            <a:extLst>
              <a:ext uri="{FF2B5EF4-FFF2-40B4-BE49-F238E27FC236}">
                <a16:creationId xmlns:a16="http://schemas.microsoft.com/office/drawing/2014/main" id="{C42C8AC6-6CDB-F8BE-3065-8CDAC6CB2CFD}"/>
              </a:ext>
            </a:extLst>
          </p:cNvPr>
          <p:cNvSpPr/>
          <p:nvPr/>
        </p:nvSpPr>
        <p:spPr>
          <a:xfrm>
            <a:off x="5068800" y="3001765"/>
            <a:ext cx="2051923" cy="12681"/>
          </a:xfrm>
          <a:custGeom>
            <a:avLst/>
            <a:gdLst>
              <a:gd name="connsiteX0" fmla="*/ 7326 w 2051923"/>
              <a:gd name="connsiteY0" fmla="*/ 0 h 12681"/>
              <a:gd name="connsiteX1" fmla="*/ 2044602 w 2051923"/>
              <a:gd name="connsiteY1" fmla="*/ 0 h 12681"/>
              <a:gd name="connsiteX2" fmla="*/ 2051923 w 2051923"/>
              <a:gd name="connsiteY2" fmla="*/ 12681 h 12681"/>
              <a:gd name="connsiteX3" fmla="*/ 0 w 2051923"/>
              <a:gd name="connsiteY3" fmla="*/ 12681 h 12681"/>
            </a:gdLst>
            <a:ahLst/>
            <a:cxnLst>
              <a:cxn ang="0">
                <a:pos x="connsiteX0" y="connsiteY0"/>
              </a:cxn>
              <a:cxn ang="0">
                <a:pos x="connsiteX1" y="connsiteY1"/>
              </a:cxn>
              <a:cxn ang="0">
                <a:pos x="connsiteX2" y="connsiteY2"/>
              </a:cxn>
              <a:cxn ang="0">
                <a:pos x="connsiteX3" y="connsiteY3"/>
              </a:cxn>
            </a:cxnLst>
            <a:rect l="l" t="t" r="r" b="b"/>
            <a:pathLst>
              <a:path w="2051923" h="12681">
                <a:moveTo>
                  <a:pt x="7326" y="0"/>
                </a:moveTo>
                <a:lnTo>
                  <a:pt x="2044602" y="0"/>
                </a:lnTo>
                <a:lnTo>
                  <a:pt x="2051923" y="12681"/>
                </a:lnTo>
                <a:lnTo>
                  <a:pt x="0" y="12681"/>
                </a:lnTo>
                <a:close/>
              </a:path>
            </a:pathLst>
          </a:custGeom>
          <a:gradFill flip="none" rotWithShape="1">
            <a:gsLst>
              <a:gs pos="0">
                <a:schemeClr val="accent1">
                  <a:lumMod val="0"/>
                  <a:lumOff val="100000"/>
                  <a:alpha val="50000"/>
                </a:schemeClr>
              </a:gs>
              <a:gs pos="100000">
                <a:schemeClr val="accent1">
                  <a:lumMod val="0"/>
                  <a:lumOff val="100000"/>
                  <a:alpha val="50000"/>
                </a:schemeClr>
              </a:gs>
              <a:gs pos="50000">
                <a:schemeClr val="accent1">
                  <a:lumMod val="0"/>
                  <a:lumOff val="100000"/>
                  <a:alpha val="80000"/>
                </a:schemeClr>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solidFill>
                <a:srgbClr val="FFFFFF"/>
              </a:solidFill>
              <a:latin typeface="Arial"/>
            </a:endParaRPr>
          </a:p>
        </p:txBody>
      </p:sp>
      <p:sp>
        <p:nvSpPr>
          <p:cNvPr id="62" name="任意多边形: 形状 61">
            <a:extLst>
              <a:ext uri="{FF2B5EF4-FFF2-40B4-BE49-F238E27FC236}">
                <a16:creationId xmlns:a16="http://schemas.microsoft.com/office/drawing/2014/main" id="{B559AE11-15B1-66D8-6AE1-F68798CC428C}"/>
              </a:ext>
            </a:extLst>
          </p:cNvPr>
          <p:cNvSpPr/>
          <p:nvPr/>
        </p:nvSpPr>
        <p:spPr>
          <a:xfrm>
            <a:off x="5160026" y="2167851"/>
            <a:ext cx="1869458" cy="688550"/>
          </a:xfrm>
          <a:custGeom>
            <a:avLst/>
            <a:gdLst>
              <a:gd name="connsiteX0" fmla="*/ 397482 w 1869458"/>
              <a:gd name="connsiteY0" fmla="*/ 0 h 688550"/>
              <a:gd name="connsiteX1" fmla="*/ 1471981 w 1869458"/>
              <a:gd name="connsiteY1" fmla="*/ 0 h 688550"/>
              <a:gd name="connsiteX2" fmla="*/ 1869458 w 1869458"/>
              <a:gd name="connsiteY2" fmla="*/ 688550 h 688550"/>
              <a:gd name="connsiteX3" fmla="*/ 0 w 1869458"/>
              <a:gd name="connsiteY3" fmla="*/ 688550 h 688550"/>
            </a:gdLst>
            <a:ahLst/>
            <a:cxnLst>
              <a:cxn ang="0">
                <a:pos x="connsiteX0" y="connsiteY0"/>
              </a:cxn>
              <a:cxn ang="0">
                <a:pos x="connsiteX1" y="connsiteY1"/>
              </a:cxn>
              <a:cxn ang="0">
                <a:pos x="connsiteX2" y="connsiteY2"/>
              </a:cxn>
              <a:cxn ang="0">
                <a:pos x="connsiteX3" y="connsiteY3"/>
              </a:cxn>
            </a:cxnLst>
            <a:rect l="l" t="t" r="r" b="b"/>
            <a:pathLst>
              <a:path w="1869458" h="688550">
                <a:moveTo>
                  <a:pt x="397482" y="0"/>
                </a:moveTo>
                <a:lnTo>
                  <a:pt x="1471981" y="0"/>
                </a:lnTo>
                <a:lnTo>
                  <a:pt x="1869458" y="688550"/>
                </a:lnTo>
                <a:lnTo>
                  <a:pt x="0" y="688550"/>
                </a:lnTo>
                <a:close/>
              </a:path>
            </a:pathLst>
          </a:custGeom>
          <a:gradFill flip="none" rotWithShape="1">
            <a:gsLst>
              <a:gs pos="0">
                <a:schemeClr val="accent1">
                  <a:lumMod val="55000"/>
                  <a:lumOff val="45000"/>
                </a:schemeClr>
              </a:gs>
              <a:gs pos="100000">
                <a:schemeClr val="accent1">
                  <a:lumMod val="90000"/>
                </a:schemeClr>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solidFill>
                <a:srgbClr val="FFFFFF"/>
              </a:solidFill>
              <a:latin typeface="Arial"/>
            </a:endParaRPr>
          </a:p>
        </p:txBody>
      </p:sp>
      <p:sp>
        <p:nvSpPr>
          <p:cNvPr id="64" name="任意多边形: 形状 63">
            <a:extLst>
              <a:ext uri="{FF2B5EF4-FFF2-40B4-BE49-F238E27FC236}">
                <a16:creationId xmlns:a16="http://schemas.microsoft.com/office/drawing/2014/main" id="{0367C1E9-06CA-A06C-7733-A7E4B23D620D}"/>
              </a:ext>
            </a:extLst>
          </p:cNvPr>
          <p:cNvSpPr/>
          <p:nvPr/>
        </p:nvSpPr>
        <p:spPr>
          <a:xfrm>
            <a:off x="5550188" y="2167850"/>
            <a:ext cx="1089142" cy="12681"/>
          </a:xfrm>
          <a:custGeom>
            <a:avLst/>
            <a:gdLst>
              <a:gd name="connsiteX0" fmla="*/ 7321 w 1089142"/>
              <a:gd name="connsiteY0" fmla="*/ 0 h 12681"/>
              <a:gd name="connsiteX1" fmla="*/ 1081821 w 1089142"/>
              <a:gd name="connsiteY1" fmla="*/ 0 h 12681"/>
              <a:gd name="connsiteX2" fmla="*/ 1089142 w 1089142"/>
              <a:gd name="connsiteY2" fmla="*/ 12681 h 12681"/>
              <a:gd name="connsiteX3" fmla="*/ 0 w 1089142"/>
              <a:gd name="connsiteY3" fmla="*/ 12681 h 12681"/>
            </a:gdLst>
            <a:ahLst/>
            <a:cxnLst>
              <a:cxn ang="0">
                <a:pos x="connsiteX0" y="connsiteY0"/>
              </a:cxn>
              <a:cxn ang="0">
                <a:pos x="connsiteX1" y="connsiteY1"/>
              </a:cxn>
              <a:cxn ang="0">
                <a:pos x="connsiteX2" y="connsiteY2"/>
              </a:cxn>
              <a:cxn ang="0">
                <a:pos x="connsiteX3" y="connsiteY3"/>
              </a:cxn>
            </a:cxnLst>
            <a:rect l="l" t="t" r="r" b="b"/>
            <a:pathLst>
              <a:path w="1089142" h="12681">
                <a:moveTo>
                  <a:pt x="7321" y="0"/>
                </a:moveTo>
                <a:lnTo>
                  <a:pt x="1081821" y="0"/>
                </a:lnTo>
                <a:lnTo>
                  <a:pt x="1089142" y="12681"/>
                </a:lnTo>
                <a:lnTo>
                  <a:pt x="0" y="12681"/>
                </a:lnTo>
                <a:close/>
              </a:path>
            </a:pathLst>
          </a:custGeom>
          <a:gradFill flip="none" rotWithShape="1">
            <a:gsLst>
              <a:gs pos="0">
                <a:schemeClr val="accent1">
                  <a:lumMod val="0"/>
                  <a:lumOff val="100000"/>
                  <a:alpha val="50000"/>
                </a:schemeClr>
              </a:gs>
              <a:gs pos="100000">
                <a:schemeClr val="accent1">
                  <a:lumMod val="0"/>
                  <a:lumOff val="100000"/>
                  <a:alpha val="50000"/>
                </a:schemeClr>
              </a:gs>
              <a:gs pos="50000">
                <a:schemeClr val="accent1">
                  <a:lumMod val="0"/>
                  <a:lumOff val="100000"/>
                  <a:alpha val="80000"/>
                </a:schemeClr>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solidFill>
                <a:srgbClr val="FFFFFF"/>
              </a:solidFill>
              <a:latin typeface="Arial"/>
            </a:endParaRPr>
          </a:p>
        </p:txBody>
      </p:sp>
      <p:sp>
        <p:nvSpPr>
          <p:cNvPr id="66" name="任意多边形: 形状 65">
            <a:extLst>
              <a:ext uri="{FF2B5EF4-FFF2-40B4-BE49-F238E27FC236}">
                <a16:creationId xmlns:a16="http://schemas.microsoft.com/office/drawing/2014/main" id="{8D05208B-4E00-1ABD-08A2-21F92DCEC3D1}"/>
              </a:ext>
            </a:extLst>
          </p:cNvPr>
          <p:cNvSpPr/>
          <p:nvPr/>
        </p:nvSpPr>
        <p:spPr>
          <a:xfrm>
            <a:off x="5641421" y="1333937"/>
            <a:ext cx="906682" cy="688554"/>
          </a:xfrm>
          <a:custGeom>
            <a:avLst/>
            <a:gdLst>
              <a:gd name="connsiteX0" fmla="*/ 453341 w 906682"/>
              <a:gd name="connsiteY0" fmla="*/ 0 h 688554"/>
              <a:gd name="connsiteX1" fmla="*/ 548429 w 906682"/>
              <a:gd name="connsiteY1" fmla="*/ 67947 h 688554"/>
              <a:gd name="connsiteX2" fmla="*/ 906682 w 906682"/>
              <a:gd name="connsiteY2" fmla="*/ 688554 h 688554"/>
              <a:gd name="connsiteX3" fmla="*/ 0 w 906682"/>
              <a:gd name="connsiteY3" fmla="*/ 688554 h 688554"/>
              <a:gd name="connsiteX4" fmla="*/ 358253 w 906682"/>
              <a:gd name="connsiteY4" fmla="*/ 67947 h 688554"/>
              <a:gd name="connsiteX5" fmla="*/ 453341 w 906682"/>
              <a:gd name="connsiteY5" fmla="*/ 0 h 6885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06682" h="688554">
                <a:moveTo>
                  <a:pt x="453341" y="0"/>
                </a:moveTo>
                <a:cubicBezTo>
                  <a:pt x="487810" y="0"/>
                  <a:pt x="522280" y="22649"/>
                  <a:pt x="548429" y="67947"/>
                </a:cubicBezTo>
                <a:lnTo>
                  <a:pt x="906682" y="688554"/>
                </a:lnTo>
                <a:lnTo>
                  <a:pt x="0" y="688554"/>
                </a:lnTo>
                <a:lnTo>
                  <a:pt x="358253" y="67947"/>
                </a:lnTo>
                <a:cubicBezTo>
                  <a:pt x="384402" y="22649"/>
                  <a:pt x="418872" y="0"/>
                  <a:pt x="453341" y="0"/>
                </a:cubicBezTo>
                <a:close/>
              </a:path>
            </a:pathLst>
          </a:custGeom>
          <a:gradFill flip="none" rotWithShape="1">
            <a:gsLst>
              <a:gs pos="0">
                <a:schemeClr val="accent1">
                  <a:lumMod val="5000"/>
                  <a:lumOff val="95000"/>
                </a:schemeClr>
              </a:gs>
              <a:gs pos="100000">
                <a:schemeClr val="accent1">
                  <a:lumMod val="100000"/>
                </a:schemeClr>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solidFill>
                <a:srgbClr val="FFFFFF"/>
              </a:solidFill>
              <a:latin typeface="Arial"/>
            </a:endParaRPr>
          </a:p>
        </p:txBody>
      </p:sp>
      <p:sp>
        <p:nvSpPr>
          <p:cNvPr id="41" name="任意多边形: 形状 40">
            <a:extLst>
              <a:ext uri="{FF2B5EF4-FFF2-40B4-BE49-F238E27FC236}">
                <a16:creationId xmlns:a16="http://schemas.microsoft.com/office/drawing/2014/main" id="{55F9D9D5-7E67-AFBB-EF0D-DC852CACBD45}"/>
              </a:ext>
            </a:extLst>
          </p:cNvPr>
          <p:cNvSpPr/>
          <p:nvPr/>
        </p:nvSpPr>
        <p:spPr>
          <a:xfrm>
            <a:off x="7137656" y="2642996"/>
            <a:ext cx="1539551" cy="2687216"/>
          </a:xfrm>
          <a:custGeom>
            <a:avLst/>
            <a:gdLst>
              <a:gd name="connsiteX0" fmla="*/ 1101012 w 1101012"/>
              <a:gd name="connsiteY0" fmla="*/ 2258008 h 2258008"/>
              <a:gd name="connsiteX1" fmla="*/ 0 w 1101012"/>
              <a:gd name="connsiteY1" fmla="*/ 0 h 2258008"/>
              <a:gd name="connsiteX2" fmla="*/ 158621 w 1101012"/>
              <a:gd name="connsiteY2" fmla="*/ 74645 h 2258008"/>
              <a:gd name="connsiteX0" fmla="*/ 1502228 w 1502228"/>
              <a:gd name="connsiteY0" fmla="*/ 2677886 h 2677886"/>
              <a:gd name="connsiteX1" fmla="*/ 0 w 1502228"/>
              <a:gd name="connsiteY1" fmla="*/ 0 h 2677886"/>
              <a:gd name="connsiteX2" fmla="*/ 158621 w 1502228"/>
              <a:gd name="connsiteY2" fmla="*/ 74645 h 2677886"/>
              <a:gd name="connsiteX0" fmla="*/ 1548881 w 1548881"/>
              <a:gd name="connsiteY0" fmla="*/ 2687216 h 2687216"/>
              <a:gd name="connsiteX1" fmla="*/ 0 w 1548881"/>
              <a:gd name="connsiteY1" fmla="*/ 0 h 2687216"/>
              <a:gd name="connsiteX2" fmla="*/ 158621 w 1548881"/>
              <a:gd name="connsiteY2" fmla="*/ 74645 h 2687216"/>
              <a:gd name="connsiteX0" fmla="*/ 1548881 w 1548881"/>
              <a:gd name="connsiteY0" fmla="*/ 2687216 h 2687216"/>
              <a:gd name="connsiteX1" fmla="*/ 0 w 1548881"/>
              <a:gd name="connsiteY1" fmla="*/ 0 h 2687216"/>
              <a:gd name="connsiteX2" fmla="*/ 158621 w 1548881"/>
              <a:gd name="connsiteY2" fmla="*/ 74645 h 2687216"/>
              <a:gd name="connsiteX0" fmla="*/ 1539551 w 1539551"/>
              <a:gd name="connsiteY0" fmla="*/ 2687216 h 2687216"/>
              <a:gd name="connsiteX1" fmla="*/ 0 w 1539551"/>
              <a:gd name="connsiteY1" fmla="*/ 0 h 2687216"/>
              <a:gd name="connsiteX2" fmla="*/ 158621 w 1539551"/>
              <a:gd name="connsiteY2" fmla="*/ 74645 h 2687216"/>
            </a:gdLst>
            <a:ahLst/>
            <a:cxnLst>
              <a:cxn ang="0">
                <a:pos x="connsiteX0" y="connsiteY0"/>
              </a:cxn>
              <a:cxn ang="0">
                <a:pos x="connsiteX1" y="connsiteY1"/>
              </a:cxn>
              <a:cxn ang="0">
                <a:pos x="connsiteX2" y="connsiteY2"/>
              </a:cxn>
            </a:cxnLst>
            <a:rect l="l" t="t" r="r" b="b"/>
            <a:pathLst>
              <a:path w="1539551" h="2687216">
                <a:moveTo>
                  <a:pt x="1539551" y="2687216"/>
                </a:moveTo>
                <a:lnTo>
                  <a:pt x="0" y="0"/>
                </a:lnTo>
                <a:lnTo>
                  <a:pt x="158621" y="74645"/>
                </a:lnTo>
              </a:path>
            </a:pathLst>
          </a:custGeom>
          <a:noFill/>
          <a:ln w="12700" cap="rnd">
            <a:gradFill>
              <a:gsLst>
                <a:gs pos="100000">
                  <a:schemeClr val="accent1">
                    <a:alpha val="0"/>
                  </a:schemeClr>
                </a:gs>
                <a:gs pos="0">
                  <a:schemeClr val="accent1"/>
                </a:gs>
              </a:gsLst>
              <a:lin ang="5400000" scaled="1"/>
            </a:gradFill>
            <a:prstDash val="sysDash"/>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prstClr val="white"/>
              </a:solidFill>
              <a:latin typeface="等线" panose="020F0502020204030204"/>
              <a:ea typeface="等线" panose="02010600030101010101" pitchFamily="2" charset="-122"/>
            </a:endParaRPr>
          </a:p>
        </p:txBody>
      </p:sp>
      <p:sp>
        <p:nvSpPr>
          <p:cNvPr id="71" name="任意多边形: 形状 70">
            <a:extLst>
              <a:ext uri="{FF2B5EF4-FFF2-40B4-BE49-F238E27FC236}">
                <a16:creationId xmlns:a16="http://schemas.microsoft.com/office/drawing/2014/main" id="{33EA7F50-00D7-28CF-1E00-3CBD561104A3}"/>
              </a:ext>
            </a:extLst>
          </p:cNvPr>
          <p:cNvSpPr/>
          <p:nvPr/>
        </p:nvSpPr>
        <p:spPr>
          <a:xfrm flipH="1">
            <a:off x="3512305" y="2642996"/>
            <a:ext cx="1539551" cy="2687216"/>
          </a:xfrm>
          <a:custGeom>
            <a:avLst/>
            <a:gdLst>
              <a:gd name="connsiteX0" fmla="*/ 1101012 w 1101012"/>
              <a:gd name="connsiteY0" fmla="*/ 2258008 h 2258008"/>
              <a:gd name="connsiteX1" fmla="*/ 0 w 1101012"/>
              <a:gd name="connsiteY1" fmla="*/ 0 h 2258008"/>
              <a:gd name="connsiteX2" fmla="*/ 158621 w 1101012"/>
              <a:gd name="connsiteY2" fmla="*/ 74645 h 2258008"/>
              <a:gd name="connsiteX0" fmla="*/ 1502228 w 1502228"/>
              <a:gd name="connsiteY0" fmla="*/ 2677886 h 2677886"/>
              <a:gd name="connsiteX1" fmla="*/ 0 w 1502228"/>
              <a:gd name="connsiteY1" fmla="*/ 0 h 2677886"/>
              <a:gd name="connsiteX2" fmla="*/ 158621 w 1502228"/>
              <a:gd name="connsiteY2" fmla="*/ 74645 h 2677886"/>
              <a:gd name="connsiteX0" fmla="*/ 1548881 w 1548881"/>
              <a:gd name="connsiteY0" fmla="*/ 2687216 h 2687216"/>
              <a:gd name="connsiteX1" fmla="*/ 0 w 1548881"/>
              <a:gd name="connsiteY1" fmla="*/ 0 h 2687216"/>
              <a:gd name="connsiteX2" fmla="*/ 158621 w 1548881"/>
              <a:gd name="connsiteY2" fmla="*/ 74645 h 2687216"/>
              <a:gd name="connsiteX0" fmla="*/ 1548881 w 1548881"/>
              <a:gd name="connsiteY0" fmla="*/ 2687216 h 2687216"/>
              <a:gd name="connsiteX1" fmla="*/ 0 w 1548881"/>
              <a:gd name="connsiteY1" fmla="*/ 0 h 2687216"/>
              <a:gd name="connsiteX2" fmla="*/ 158621 w 1548881"/>
              <a:gd name="connsiteY2" fmla="*/ 74645 h 2687216"/>
              <a:gd name="connsiteX0" fmla="*/ 1539551 w 1539551"/>
              <a:gd name="connsiteY0" fmla="*/ 2687216 h 2687216"/>
              <a:gd name="connsiteX1" fmla="*/ 0 w 1539551"/>
              <a:gd name="connsiteY1" fmla="*/ 0 h 2687216"/>
              <a:gd name="connsiteX2" fmla="*/ 158621 w 1539551"/>
              <a:gd name="connsiteY2" fmla="*/ 74645 h 2687216"/>
            </a:gdLst>
            <a:ahLst/>
            <a:cxnLst>
              <a:cxn ang="0">
                <a:pos x="connsiteX0" y="connsiteY0"/>
              </a:cxn>
              <a:cxn ang="0">
                <a:pos x="connsiteX1" y="connsiteY1"/>
              </a:cxn>
              <a:cxn ang="0">
                <a:pos x="connsiteX2" y="connsiteY2"/>
              </a:cxn>
            </a:cxnLst>
            <a:rect l="l" t="t" r="r" b="b"/>
            <a:pathLst>
              <a:path w="1539551" h="2687216">
                <a:moveTo>
                  <a:pt x="1539551" y="2687216"/>
                </a:moveTo>
                <a:lnTo>
                  <a:pt x="0" y="0"/>
                </a:lnTo>
                <a:lnTo>
                  <a:pt x="158621" y="74645"/>
                </a:lnTo>
              </a:path>
            </a:pathLst>
          </a:custGeom>
          <a:noFill/>
          <a:ln w="12700" cap="rnd">
            <a:gradFill>
              <a:gsLst>
                <a:gs pos="100000">
                  <a:schemeClr val="accent1">
                    <a:alpha val="0"/>
                  </a:schemeClr>
                </a:gs>
                <a:gs pos="0">
                  <a:schemeClr val="accent1"/>
                </a:gs>
              </a:gsLst>
              <a:lin ang="5400000" scaled="1"/>
            </a:gradFill>
            <a:prstDash val="sysDash"/>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prstClr val="white"/>
              </a:solidFill>
              <a:latin typeface="等线" panose="020F0502020204030204"/>
              <a:ea typeface="等线" panose="02010600030101010101" pitchFamily="2" charset="-122"/>
            </a:endParaRPr>
          </a:p>
        </p:txBody>
      </p:sp>
    </p:spTree>
    <p:extLst>
      <p:ext uri="{BB962C8B-B14F-4D97-AF65-F5344CB8AC3E}">
        <p14:creationId xmlns:p14="http://schemas.microsoft.com/office/powerpoint/2010/main" val="728151533"/>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5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任意多边形: 形状 27">
            <a:extLst>
              <a:ext uri="{FF2B5EF4-FFF2-40B4-BE49-F238E27FC236}">
                <a16:creationId xmlns:a16="http://schemas.microsoft.com/office/drawing/2014/main" id="{BA38EDBB-B212-4E3B-CE28-530B5746FF30}"/>
              </a:ext>
            </a:extLst>
          </p:cNvPr>
          <p:cNvSpPr>
            <a:spLocks/>
          </p:cNvSpPr>
          <p:nvPr/>
        </p:nvSpPr>
        <p:spPr bwMode="auto">
          <a:xfrm>
            <a:off x="4100502" y="4502452"/>
            <a:ext cx="3990996" cy="1157600"/>
          </a:xfrm>
          <a:custGeom>
            <a:avLst/>
            <a:gdLst>
              <a:gd name="connsiteX0" fmla="*/ 0 w 3990996"/>
              <a:gd name="connsiteY0" fmla="*/ 0 h 1157600"/>
              <a:gd name="connsiteX1" fmla="*/ 1995498 w 3990996"/>
              <a:gd name="connsiteY1" fmla="*/ 204713 h 1157600"/>
              <a:gd name="connsiteX2" fmla="*/ 3990996 w 3990996"/>
              <a:gd name="connsiteY2" fmla="*/ 0 h 1157600"/>
              <a:gd name="connsiteX3" fmla="*/ 3990996 w 3990996"/>
              <a:gd name="connsiteY3" fmla="*/ 665316 h 1157600"/>
              <a:gd name="connsiteX4" fmla="*/ 1995498 w 3990996"/>
              <a:gd name="connsiteY4" fmla="*/ 1157600 h 1157600"/>
              <a:gd name="connsiteX5" fmla="*/ 0 w 3990996"/>
              <a:gd name="connsiteY5" fmla="*/ 665316 h 1157600"/>
              <a:gd name="connsiteX6" fmla="*/ 0 w 3990996"/>
              <a:gd name="connsiteY6" fmla="*/ 0 h 1157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90996" h="1157600">
                <a:moveTo>
                  <a:pt x="0" y="0"/>
                </a:moveTo>
                <a:cubicBezTo>
                  <a:pt x="0" y="0"/>
                  <a:pt x="1214411" y="204713"/>
                  <a:pt x="1995498" y="204713"/>
                </a:cubicBezTo>
                <a:cubicBezTo>
                  <a:pt x="2668944" y="204713"/>
                  <a:pt x="3990996" y="0"/>
                  <a:pt x="3990996" y="0"/>
                </a:cubicBezTo>
                <a:cubicBezTo>
                  <a:pt x="3990996" y="665316"/>
                  <a:pt x="3990996" y="665316"/>
                  <a:pt x="3990996" y="665316"/>
                </a:cubicBezTo>
                <a:cubicBezTo>
                  <a:pt x="3990996" y="935828"/>
                  <a:pt x="3096748" y="1157600"/>
                  <a:pt x="1995498" y="1157600"/>
                </a:cubicBezTo>
                <a:cubicBezTo>
                  <a:pt x="894248" y="1157600"/>
                  <a:pt x="0" y="935828"/>
                  <a:pt x="0" y="665316"/>
                </a:cubicBezTo>
                <a:cubicBezTo>
                  <a:pt x="0" y="0"/>
                  <a:pt x="0" y="0"/>
                  <a:pt x="0" y="0"/>
                </a:cubicBezTo>
                <a:close/>
              </a:path>
            </a:pathLst>
          </a:custGeom>
          <a:gradFill flip="none" rotWithShape="1">
            <a:gsLst>
              <a:gs pos="0">
                <a:schemeClr val="accent1">
                  <a:lumMod val="80000"/>
                </a:schemeClr>
              </a:gs>
              <a:gs pos="100000">
                <a:schemeClr val="accent1">
                  <a:lumMod val="40000"/>
                </a:schemeClr>
              </a:gs>
            </a:gsLst>
            <a:path path="circle">
              <a:fillToRect r="100000" b="100000"/>
            </a:path>
            <a:tileRect l="-100000" t="-100000"/>
          </a:gradFill>
          <a:ln w="6350">
            <a:gradFill>
              <a:gsLst>
                <a:gs pos="0">
                  <a:schemeClr val="accent1">
                    <a:lumMod val="0"/>
                    <a:lumOff val="100000"/>
                    <a:alpha val="70000"/>
                  </a:schemeClr>
                </a:gs>
                <a:gs pos="100000">
                  <a:schemeClr val="accent1">
                    <a:lumMod val="0"/>
                    <a:lumOff val="100000"/>
                    <a:alpha val="70000"/>
                  </a:schemeClr>
                </a:gs>
              </a:gsLst>
              <a:lin ang="5400000" scaled="1"/>
            </a:gradFill>
          </a:ln>
          <a:extLst>
            <a:ext uri="{91240B29-F687-4f45-9708-019B960494DF}">
              <a14:hiddenLine xmlns:a14="http://schemas.microsoft.com/office/drawing/2010/main" xmlns=""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id-ID">
              <a:solidFill>
                <a:srgbClr val="FFFFFF"/>
              </a:solidFill>
              <a:latin typeface="Arial"/>
            </a:endParaRPr>
          </a:p>
        </p:txBody>
      </p:sp>
      <p:sp>
        <p:nvSpPr>
          <p:cNvPr id="30" name="任意多边形: 形状 29">
            <a:extLst>
              <a:ext uri="{FF2B5EF4-FFF2-40B4-BE49-F238E27FC236}">
                <a16:creationId xmlns:a16="http://schemas.microsoft.com/office/drawing/2014/main" id="{E507E2AC-77A0-734D-AE48-72FC079E7FD2}"/>
              </a:ext>
            </a:extLst>
          </p:cNvPr>
          <p:cNvSpPr>
            <a:spLocks noChangeArrowheads="1"/>
          </p:cNvSpPr>
          <p:nvPr/>
        </p:nvSpPr>
        <p:spPr bwMode="auto">
          <a:xfrm>
            <a:off x="4100502" y="4009265"/>
            <a:ext cx="3990996" cy="986370"/>
          </a:xfrm>
          <a:custGeom>
            <a:avLst/>
            <a:gdLst>
              <a:gd name="connsiteX0" fmla="*/ 1995498 w 3990996"/>
              <a:gd name="connsiteY0" fmla="*/ 0 h 986370"/>
              <a:gd name="connsiteX1" fmla="*/ 3990996 w 3990996"/>
              <a:gd name="connsiteY1" fmla="*/ 493185 h 986370"/>
              <a:gd name="connsiteX2" fmla="*/ 1995498 w 3990996"/>
              <a:gd name="connsiteY2" fmla="*/ 986370 h 986370"/>
              <a:gd name="connsiteX3" fmla="*/ 0 w 3990996"/>
              <a:gd name="connsiteY3" fmla="*/ 493185 h 986370"/>
              <a:gd name="connsiteX4" fmla="*/ 1995498 w 3990996"/>
              <a:gd name="connsiteY4" fmla="*/ 0 h 9863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90996" h="986370">
                <a:moveTo>
                  <a:pt x="1995498" y="0"/>
                </a:moveTo>
                <a:cubicBezTo>
                  <a:pt x="3097581" y="0"/>
                  <a:pt x="3990996" y="220806"/>
                  <a:pt x="3990996" y="493185"/>
                </a:cubicBezTo>
                <a:cubicBezTo>
                  <a:pt x="3990996" y="765564"/>
                  <a:pt x="3097581" y="986370"/>
                  <a:pt x="1995498" y="986370"/>
                </a:cubicBezTo>
                <a:cubicBezTo>
                  <a:pt x="893415" y="986370"/>
                  <a:pt x="0" y="765564"/>
                  <a:pt x="0" y="493185"/>
                </a:cubicBezTo>
                <a:cubicBezTo>
                  <a:pt x="0" y="220806"/>
                  <a:pt x="893415" y="0"/>
                  <a:pt x="1995498" y="0"/>
                </a:cubicBezTo>
                <a:close/>
              </a:path>
            </a:pathLst>
          </a:custGeom>
          <a:gradFill flip="none" rotWithShape="1">
            <a:gsLst>
              <a:gs pos="0">
                <a:schemeClr val="accent1">
                  <a:lumMod val="100000"/>
                </a:schemeClr>
              </a:gs>
              <a:gs pos="100000">
                <a:schemeClr val="accent1">
                  <a:lumMod val="60000"/>
                </a:schemeClr>
              </a:gs>
            </a:gsLst>
            <a:path path="circle">
              <a:fillToRect r="100000" b="100000"/>
            </a:path>
            <a:tileRect l="-100000" t="-100000"/>
          </a:gradFill>
          <a:ln w="6350">
            <a:gradFill>
              <a:gsLst>
                <a:gs pos="0">
                  <a:schemeClr val="accent1">
                    <a:lumMod val="0"/>
                    <a:lumOff val="100000"/>
                    <a:alpha val="70000"/>
                  </a:schemeClr>
                </a:gs>
                <a:gs pos="100000">
                  <a:schemeClr val="accent1">
                    <a:lumMod val="0"/>
                    <a:lumOff val="100000"/>
                    <a:alpha val="70000"/>
                  </a:schemeClr>
                </a:gs>
              </a:gsLst>
              <a:lin ang="5400000" scaled="1"/>
            </a:gradFill>
          </a:ln>
          <a:extLst>
            <a:ext uri="{91240B29-F687-4f45-9708-019B960494DF}">
              <a14:hiddenLine xmlns:a14="http://schemas.microsoft.com/office/drawing/2010/main" xmlns=""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id-ID">
              <a:solidFill>
                <a:srgbClr val="FFFFFF"/>
              </a:solidFill>
              <a:latin typeface="Arial"/>
            </a:endParaRPr>
          </a:p>
        </p:txBody>
      </p:sp>
      <p:sp>
        <p:nvSpPr>
          <p:cNvPr id="32" name="任意多边形: 形状 31">
            <a:extLst>
              <a:ext uri="{FF2B5EF4-FFF2-40B4-BE49-F238E27FC236}">
                <a16:creationId xmlns:a16="http://schemas.microsoft.com/office/drawing/2014/main" id="{18986C05-882C-22E9-0AFF-591DE8A5BAFC}"/>
              </a:ext>
            </a:extLst>
          </p:cNvPr>
          <p:cNvSpPr>
            <a:spLocks/>
          </p:cNvSpPr>
          <p:nvPr/>
        </p:nvSpPr>
        <p:spPr bwMode="auto">
          <a:xfrm>
            <a:off x="4454463" y="3795193"/>
            <a:ext cx="3283074" cy="987810"/>
          </a:xfrm>
          <a:custGeom>
            <a:avLst/>
            <a:gdLst>
              <a:gd name="connsiteX0" fmla="*/ 0 w 3283074"/>
              <a:gd name="connsiteY0" fmla="*/ 0 h 987810"/>
              <a:gd name="connsiteX1" fmla="*/ 1641537 w 3283074"/>
              <a:gd name="connsiteY1" fmla="*/ 174687 h 987810"/>
              <a:gd name="connsiteX2" fmla="*/ 3283074 w 3283074"/>
              <a:gd name="connsiteY2" fmla="*/ 0 h 987810"/>
              <a:gd name="connsiteX3" fmla="*/ 3283074 w 3283074"/>
              <a:gd name="connsiteY3" fmla="*/ 567731 h 987810"/>
              <a:gd name="connsiteX4" fmla="*/ 1641537 w 3283074"/>
              <a:gd name="connsiteY4" fmla="*/ 987810 h 987810"/>
              <a:gd name="connsiteX5" fmla="*/ 0 w 3283074"/>
              <a:gd name="connsiteY5" fmla="*/ 567731 h 987810"/>
              <a:gd name="connsiteX6" fmla="*/ 0 w 3283074"/>
              <a:gd name="connsiteY6" fmla="*/ 0 h 987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83074" h="987810">
                <a:moveTo>
                  <a:pt x="0" y="0"/>
                </a:moveTo>
                <a:cubicBezTo>
                  <a:pt x="0" y="0"/>
                  <a:pt x="998999" y="174687"/>
                  <a:pt x="1641537" y="174687"/>
                </a:cubicBezTo>
                <a:cubicBezTo>
                  <a:pt x="2195527" y="174687"/>
                  <a:pt x="3283074" y="0"/>
                  <a:pt x="3283074" y="0"/>
                </a:cubicBezTo>
                <a:cubicBezTo>
                  <a:pt x="3283074" y="567731"/>
                  <a:pt x="3283074" y="567731"/>
                  <a:pt x="3283074" y="567731"/>
                </a:cubicBezTo>
                <a:cubicBezTo>
                  <a:pt x="3283074" y="798567"/>
                  <a:pt x="2547448" y="987810"/>
                  <a:pt x="1641537" y="987810"/>
                </a:cubicBezTo>
                <a:cubicBezTo>
                  <a:pt x="735627" y="987810"/>
                  <a:pt x="0" y="798567"/>
                  <a:pt x="0" y="567731"/>
                </a:cubicBezTo>
                <a:cubicBezTo>
                  <a:pt x="0" y="0"/>
                  <a:pt x="0" y="0"/>
                  <a:pt x="0" y="0"/>
                </a:cubicBezTo>
                <a:close/>
              </a:path>
            </a:pathLst>
          </a:custGeom>
          <a:gradFill flip="none" rotWithShape="1">
            <a:gsLst>
              <a:gs pos="0">
                <a:schemeClr val="accent1">
                  <a:lumMod val="100000"/>
                </a:schemeClr>
              </a:gs>
              <a:gs pos="100000">
                <a:schemeClr val="accent1">
                  <a:lumMod val="60000"/>
                </a:schemeClr>
              </a:gs>
            </a:gsLst>
            <a:path path="circle">
              <a:fillToRect r="100000" b="100000"/>
            </a:path>
            <a:tileRect l="-100000" t="-100000"/>
          </a:gradFill>
          <a:ln w="6350">
            <a:gradFill>
              <a:gsLst>
                <a:gs pos="0">
                  <a:schemeClr val="accent1">
                    <a:lumMod val="0"/>
                    <a:lumOff val="100000"/>
                    <a:alpha val="70000"/>
                  </a:schemeClr>
                </a:gs>
                <a:gs pos="100000">
                  <a:schemeClr val="accent1">
                    <a:lumMod val="0"/>
                    <a:lumOff val="100000"/>
                    <a:alpha val="70000"/>
                  </a:schemeClr>
                </a:gs>
              </a:gsLst>
              <a:lin ang="5400000" scaled="1"/>
            </a:gradFill>
          </a:ln>
          <a:extLst>
            <a:ext uri="{91240B29-F687-4f45-9708-019B960494DF}">
              <a14:hiddenLine xmlns:a14="http://schemas.microsoft.com/office/drawing/2010/main" xmlns=""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id-ID">
              <a:solidFill>
                <a:srgbClr val="FFFFFF"/>
              </a:solidFill>
              <a:latin typeface="Arial"/>
            </a:endParaRPr>
          </a:p>
        </p:txBody>
      </p:sp>
      <p:sp>
        <p:nvSpPr>
          <p:cNvPr id="34" name="任意多边形: 形状 33">
            <a:extLst>
              <a:ext uri="{FF2B5EF4-FFF2-40B4-BE49-F238E27FC236}">
                <a16:creationId xmlns:a16="http://schemas.microsoft.com/office/drawing/2014/main" id="{0312C2B4-D7CF-9962-82D1-05C77AF9DFC2}"/>
              </a:ext>
            </a:extLst>
          </p:cNvPr>
          <p:cNvSpPr>
            <a:spLocks noChangeArrowheads="1"/>
          </p:cNvSpPr>
          <p:nvPr/>
        </p:nvSpPr>
        <p:spPr bwMode="auto">
          <a:xfrm>
            <a:off x="4454463" y="3374345"/>
            <a:ext cx="3283074" cy="841694"/>
          </a:xfrm>
          <a:custGeom>
            <a:avLst/>
            <a:gdLst>
              <a:gd name="connsiteX0" fmla="*/ 1641537 w 3283074"/>
              <a:gd name="connsiteY0" fmla="*/ 0 h 841694"/>
              <a:gd name="connsiteX1" fmla="*/ 3283074 w 3283074"/>
              <a:gd name="connsiteY1" fmla="*/ 420847 h 841694"/>
              <a:gd name="connsiteX2" fmla="*/ 1641537 w 3283074"/>
              <a:gd name="connsiteY2" fmla="*/ 841694 h 841694"/>
              <a:gd name="connsiteX3" fmla="*/ 0 w 3283074"/>
              <a:gd name="connsiteY3" fmla="*/ 420847 h 841694"/>
              <a:gd name="connsiteX4" fmla="*/ 1641537 w 3283074"/>
              <a:gd name="connsiteY4" fmla="*/ 0 h 8416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83074" h="841694">
                <a:moveTo>
                  <a:pt x="1641537" y="0"/>
                </a:moveTo>
                <a:cubicBezTo>
                  <a:pt x="2548133" y="0"/>
                  <a:pt x="3283074" y="188420"/>
                  <a:pt x="3283074" y="420847"/>
                </a:cubicBezTo>
                <a:cubicBezTo>
                  <a:pt x="3283074" y="653274"/>
                  <a:pt x="2548133" y="841694"/>
                  <a:pt x="1641537" y="841694"/>
                </a:cubicBezTo>
                <a:cubicBezTo>
                  <a:pt x="734941" y="841694"/>
                  <a:pt x="0" y="653274"/>
                  <a:pt x="0" y="420847"/>
                </a:cubicBezTo>
                <a:cubicBezTo>
                  <a:pt x="0" y="188420"/>
                  <a:pt x="734941" y="0"/>
                  <a:pt x="1641537" y="0"/>
                </a:cubicBezTo>
                <a:close/>
              </a:path>
            </a:pathLst>
          </a:custGeom>
          <a:gradFill flip="none" rotWithShape="1">
            <a:gsLst>
              <a:gs pos="0">
                <a:schemeClr val="accent1">
                  <a:lumMod val="75000"/>
                  <a:lumOff val="25000"/>
                </a:schemeClr>
              </a:gs>
              <a:gs pos="100000">
                <a:schemeClr val="accent1">
                  <a:lumMod val="80000"/>
                </a:schemeClr>
              </a:gs>
            </a:gsLst>
            <a:path path="circle">
              <a:fillToRect r="100000" b="100000"/>
            </a:path>
            <a:tileRect l="-100000" t="-100000"/>
          </a:gradFill>
          <a:ln w="6350">
            <a:gradFill>
              <a:gsLst>
                <a:gs pos="0">
                  <a:schemeClr val="accent1">
                    <a:lumMod val="0"/>
                    <a:lumOff val="100000"/>
                    <a:alpha val="70000"/>
                  </a:schemeClr>
                </a:gs>
                <a:gs pos="100000">
                  <a:schemeClr val="accent1">
                    <a:lumMod val="0"/>
                    <a:lumOff val="100000"/>
                    <a:alpha val="70000"/>
                  </a:schemeClr>
                </a:gs>
              </a:gsLst>
              <a:lin ang="5400000" scaled="1"/>
            </a:gradFill>
          </a:ln>
          <a:extLst>
            <a:ext uri="{91240B29-F687-4f45-9708-019B960494DF}">
              <a14:hiddenLine xmlns:a14="http://schemas.microsoft.com/office/drawing/2010/main" xmlns=""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id-ID">
              <a:solidFill>
                <a:srgbClr val="FFFFFF"/>
              </a:solidFill>
              <a:latin typeface="Arial"/>
            </a:endParaRPr>
          </a:p>
        </p:txBody>
      </p:sp>
      <p:sp>
        <p:nvSpPr>
          <p:cNvPr id="36" name="任意多边形: 形状 35">
            <a:extLst>
              <a:ext uri="{FF2B5EF4-FFF2-40B4-BE49-F238E27FC236}">
                <a16:creationId xmlns:a16="http://schemas.microsoft.com/office/drawing/2014/main" id="{AB465FDB-B69A-5B52-29A0-76449DF7323D}"/>
              </a:ext>
            </a:extLst>
          </p:cNvPr>
          <p:cNvSpPr>
            <a:spLocks/>
          </p:cNvSpPr>
          <p:nvPr/>
        </p:nvSpPr>
        <p:spPr bwMode="auto">
          <a:xfrm>
            <a:off x="4834693" y="3161246"/>
            <a:ext cx="2522616" cy="856467"/>
          </a:xfrm>
          <a:custGeom>
            <a:avLst/>
            <a:gdLst>
              <a:gd name="connsiteX0" fmla="*/ 0 w 2522616"/>
              <a:gd name="connsiteY0" fmla="*/ 0 h 856467"/>
              <a:gd name="connsiteX1" fmla="*/ 1261308 w 2522616"/>
              <a:gd name="connsiteY1" fmla="*/ 151460 h 856467"/>
              <a:gd name="connsiteX2" fmla="*/ 2522616 w 2522616"/>
              <a:gd name="connsiteY2" fmla="*/ 0 h 856467"/>
              <a:gd name="connsiteX3" fmla="*/ 2522616 w 2522616"/>
              <a:gd name="connsiteY3" fmla="*/ 492243 h 856467"/>
              <a:gd name="connsiteX4" fmla="*/ 1261308 w 2522616"/>
              <a:gd name="connsiteY4" fmla="*/ 856467 h 856467"/>
              <a:gd name="connsiteX5" fmla="*/ 0 w 2522616"/>
              <a:gd name="connsiteY5" fmla="*/ 492243 h 856467"/>
              <a:gd name="connsiteX6" fmla="*/ 0 w 2522616"/>
              <a:gd name="connsiteY6" fmla="*/ 0 h 856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22616" h="856467">
                <a:moveTo>
                  <a:pt x="0" y="0"/>
                </a:moveTo>
                <a:cubicBezTo>
                  <a:pt x="0" y="0"/>
                  <a:pt x="767601" y="151460"/>
                  <a:pt x="1261308" y="151460"/>
                </a:cubicBezTo>
                <a:cubicBezTo>
                  <a:pt x="1686978" y="151460"/>
                  <a:pt x="2522616" y="0"/>
                  <a:pt x="2522616" y="0"/>
                </a:cubicBezTo>
                <a:cubicBezTo>
                  <a:pt x="2522616" y="492243"/>
                  <a:pt x="2522616" y="492243"/>
                  <a:pt x="2522616" y="492243"/>
                </a:cubicBezTo>
                <a:cubicBezTo>
                  <a:pt x="2522616" y="692386"/>
                  <a:pt x="1957383" y="856467"/>
                  <a:pt x="1261308" y="856467"/>
                </a:cubicBezTo>
                <a:cubicBezTo>
                  <a:pt x="565234" y="856467"/>
                  <a:pt x="0" y="692386"/>
                  <a:pt x="0" y="492243"/>
                </a:cubicBezTo>
                <a:cubicBezTo>
                  <a:pt x="0" y="0"/>
                  <a:pt x="0" y="0"/>
                  <a:pt x="0" y="0"/>
                </a:cubicBezTo>
                <a:close/>
              </a:path>
            </a:pathLst>
          </a:custGeom>
          <a:gradFill flip="none" rotWithShape="1">
            <a:gsLst>
              <a:gs pos="0">
                <a:schemeClr val="accent1">
                  <a:lumMod val="75000"/>
                  <a:lumOff val="25000"/>
                </a:schemeClr>
              </a:gs>
              <a:gs pos="100000">
                <a:schemeClr val="accent1">
                  <a:lumMod val="80000"/>
                </a:schemeClr>
              </a:gs>
            </a:gsLst>
            <a:path path="circle">
              <a:fillToRect r="100000" b="100000"/>
            </a:path>
            <a:tileRect l="-100000" t="-100000"/>
          </a:gradFill>
          <a:ln w="6350">
            <a:gradFill>
              <a:gsLst>
                <a:gs pos="0">
                  <a:schemeClr val="accent1">
                    <a:lumMod val="0"/>
                    <a:lumOff val="100000"/>
                    <a:alpha val="70000"/>
                  </a:schemeClr>
                </a:gs>
                <a:gs pos="100000">
                  <a:schemeClr val="accent1">
                    <a:lumMod val="0"/>
                    <a:lumOff val="100000"/>
                    <a:alpha val="70000"/>
                  </a:schemeClr>
                </a:gs>
              </a:gsLst>
              <a:lin ang="5400000" scaled="1"/>
            </a:gradFill>
          </a:ln>
          <a:extLst>
            <a:ext uri="{91240B29-F687-4f45-9708-019B960494DF}">
              <a14:hiddenLine xmlns:a14="http://schemas.microsoft.com/office/drawing/2010/main" xmlns=""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id-ID">
              <a:solidFill>
                <a:srgbClr val="FFFFFF"/>
              </a:solidFill>
              <a:latin typeface="Arial"/>
            </a:endParaRPr>
          </a:p>
        </p:txBody>
      </p:sp>
      <p:sp>
        <p:nvSpPr>
          <p:cNvPr id="38" name="任意多边形: 形状 37">
            <a:extLst>
              <a:ext uri="{FF2B5EF4-FFF2-40B4-BE49-F238E27FC236}">
                <a16:creationId xmlns:a16="http://schemas.microsoft.com/office/drawing/2014/main" id="{7E77DF7F-FD3A-0B4E-EC06-A02223E37DB8}"/>
              </a:ext>
            </a:extLst>
          </p:cNvPr>
          <p:cNvSpPr>
            <a:spLocks noChangeArrowheads="1"/>
          </p:cNvSpPr>
          <p:nvPr/>
        </p:nvSpPr>
        <p:spPr bwMode="auto">
          <a:xfrm>
            <a:off x="4834693" y="2796354"/>
            <a:ext cx="2522616" cy="729780"/>
          </a:xfrm>
          <a:custGeom>
            <a:avLst/>
            <a:gdLst>
              <a:gd name="connsiteX0" fmla="*/ 1261308 w 2522616"/>
              <a:gd name="connsiteY0" fmla="*/ 0 h 729780"/>
              <a:gd name="connsiteX1" fmla="*/ 2522616 w 2522616"/>
              <a:gd name="connsiteY1" fmla="*/ 364890 h 729780"/>
              <a:gd name="connsiteX2" fmla="*/ 1261308 w 2522616"/>
              <a:gd name="connsiteY2" fmla="*/ 729780 h 729780"/>
              <a:gd name="connsiteX3" fmla="*/ 0 w 2522616"/>
              <a:gd name="connsiteY3" fmla="*/ 364890 h 729780"/>
              <a:gd name="connsiteX4" fmla="*/ 1261308 w 2522616"/>
              <a:gd name="connsiteY4" fmla="*/ 0 h 7297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2616" h="729780">
                <a:moveTo>
                  <a:pt x="1261308" y="0"/>
                </a:moveTo>
                <a:cubicBezTo>
                  <a:pt x="1957909" y="0"/>
                  <a:pt x="2522616" y="163367"/>
                  <a:pt x="2522616" y="364890"/>
                </a:cubicBezTo>
                <a:cubicBezTo>
                  <a:pt x="2522616" y="566413"/>
                  <a:pt x="1957909" y="729780"/>
                  <a:pt x="1261308" y="729780"/>
                </a:cubicBezTo>
                <a:cubicBezTo>
                  <a:pt x="564707" y="729780"/>
                  <a:pt x="0" y="566413"/>
                  <a:pt x="0" y="364890"/>
                </a:cubicBezTo>
                <a:cubicBezTo>
                  <a:pt x="0" y="163367"/>
                  <a:pt x="564707" y="0"/>
                  <a:pt x="1261308" y="0"/>
                </a:cubicBezTo>
                <a:close/>
              </a:path>
            </a:pathLst>
          </a:custGeom>
          <a:gradFill flip="none" rotWithShape="1">
            <a:gsLst>
              <a:gs pos="100000">
                <a:schemeClr val="accent1">
                  <a:lumMod val="100000"/>
                </a:schemeClr>
              </a:gs>
              <a:gs pos="0">
                <a:schemeClr val="accent1">
                  <a:lumMod val="55000"/>
                  <a:lumOff val="45000"/>
                </a:schemeClr>
              </a:gs>
            </a:gsLst>
            <a:lin ang="2700000" scaled="1"/>
            <a:tileRect/>
          </a:gradFill>
          <a:ln w="6350">
            <a:gradFill>
              <a:gsLst>
                <a:gs pos="0">
                  <a:schemeClr val="accent1">
                    <a:lumMod val="0"/>
                    <a:lumOff val="100000"/>
                    <a:alpha val="70000"/>
                  </a:schemeClr>
                </a:gs>
                <a:gs pos="100000">
                  <a:schemeClr val="accent1">
                    <a:lumMod val="0"/>
                    <a:lumOff val="100000"/>
                    <a:alpha val="70000"/>
                  </a:schemeClr>
                </a:gs>
              </a:gsLst>
              <a:lin ang="5400000" scaled="1"/>
            </a:gradFill>
          </a:ln>
          <a:effectLst/>
          <a:extLst>
            <a:ext uri="{91240B29-F687-4f45-9708-019B960494DF}">
              <a14:hiddenLine xmlns:a14="http://schemas.microsoft.com/office/drawing/2010/main" xmlns="" w="9525">
                <a:solidFill>
                  <a:srgbClr val="000000"/>
                </a:solidFill>
                <a:round/>
                <a:headEnd/>
                <a:tailEnd/>
              </a14:hiddenLine>
            </a:ext>
          </a:extLst>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485899" tIns="63500" rIns="1485901" bIns="63500" numCol="1" spcCol="1270" anchor="ctr" anchorCtr="0">
            <a:noAutofit/>
          </a:bodyPr>
          <a:lstStyle/>
          <a:p>
            <a:pPr algn="ctr" defTabSz="2222500">
              <a:lnSpc>
                <a:spcPct val="90000"/>
              </a:lnSpc>
              <a:spcBef>
                <a:spcPct val="0"/>
              </a:spcBef>
              <a:spcAft>
                <a:spcPct val="35000"/>
              </a:spcAft>
            </a:pPr>
            <a:endParaRPr lang="id-ID" sz="3200">
              <a:solidFill>
                <a:prstClr val="white"/>
              </a:solidFill>
              <a:latin typeface="等线" panose="020F0502020204030204"/>
              <a:ea typeface="等线" panose="02010600030101010101" pitchFamily="2" charset="-122"/>
            </a:endParaRPr>
          </a:p>
        </p:txBody>
      </p:sp>
      <p:sp>
        <p:nvSpPr>
          <p:cNvPr id="40" name="任意多边形: 形状 39">
            <a:extLst>
              <a:ext uri="{FF2B5EF4-FFF2-40B4-BE49-F238E27FC236}">
                <a16:creationId xmlns:a16="http://schemas.microsoft.com/office/drawing/2014/main" id="{5A325711-EC27-8A4B-01BA-100C69A2EB0E}"/>
              </a:ext>
            </a:extLst>
          </p:cNvPr>
          <p:cNvSpPr>
            <a:spLocks/>
          </p:cNvSpPr>
          <p:nvPr/>
        </p:nvSpPr>
        <p:spPr bwMode="auto">
          <a:xfrm>
            <a:off x="5027143" y="2610221"/>
            <a:ext cx="2137716" cy="731691"/>
          </a:xfrm>
          <a:custGeom>
            <a:avLst/>
            <a:gdLst>
              <a:gd name="connsiteX0" fmla="*/ 0 w 2137716"/>
              <a:gd name="connsiteY0" fmla="*/ 0 h 731691"/>
              <a:gd name="connsiteX1" fmla="*/ 1068858 w 2137716"/>
              <a:gd name="connsiteY1" fmla="*/ 129394 h 731691"/>
              <a:gd name="connsiteX2" fmla="*/ 2137716 w 2137716"/>
              <a:gd name="connsiteY2" fmla="*/ 0 h 731691"/>
              <a:gd name="connsiteX3" fmla="*/ 2137716 w 2137716"/>
              <a:gd name="connsiteY3" fmla="*/ 420530 h 731691"/>
              <a:gd name="connsiteX4" fmla="*/ 1068858 w 2137716"/>
              <a:gd name="connsiteY4" fmla="*/ 731691 h 731691"/>
              <a:gd name="connsiteX5" fmla="*/ 0 w 2137716"/>
              <a:gd name="connsiteY5" fmla="*/ 420530 h 731691"/>
              <a:gd name="connsiteX6" fmla="*/ 0 w 2137716"/>
              <a:gd name="connsiteY6" fmla="*/ 0 h 7316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37716" h="731691">
                <a:moveTo>
                  <a:pt x="0" y="0"/>
                </a:moveTo>
                <a:cubicBezTo>
                  <a:pt x="0" y="0"/>
                  <a:pt x="650481" y="129394"/>
                  <a:pt x="1068858" y="129394"/>
                </a:cubicBezTo>
                <a:cubicBezTo>
                  <a:pt x="1429579" y="129394"/>
                  <a:pt x="2137716" y="0"/>
                  <a:pt x="2137716" y="0"/>
                </a:cubicBezTo>
                <a:cubicBezTo>
                  <a:pt x="2137716" y="420530"/>
                  <a:pt x="2137716" y="420530"/>
                  <a:pt x="2137716" y="420530"/>
                </a:cubicBezTo>
                <a:cubicBezTo>
                  <a:pt x="2137716" y="591515"/>
                  <a:pt x="1658726" y="731691"/>
                  <a:pt x="1068858" y="731691"/>
                </a:cubicBezTo>
                <a:cubicBezTo>
                  <a:pt x="478990" y="731691"/>
                  <a:pt x="0" y="591515"/>
                  <a:pt x="0" y="420530"/>
                </a:cubicBezTo>
                <a:cubicBezTo>
                  <a:pt x="0" y="0"/>
                  <a:pt x="0" y="0"/>
                  <a:pt x="0" y="0"/>
                </a:cubicBezTo>
                <a:close/>
              </a:path>
            </a:pathLst>
          </a:custGeom>
          <a:gradFill flip="none" rotWithShape="1">
            <a:gsLst>
              <a:gs pos="0">
                <a:schemeClr val="accent1">
                  <a:lumMod val="55000"/>
                  <a:lumOff val="45000"/>
                </a:schemeClr>
              </a:gs>
              <a:gs pos="100000">
                <a:schemeClr val="accent1">
                  <a:lumMod val="90000"/>
                </a:schemeClr>
              </a:gs>
            </a:gsLst>
            <a:path path="circle">
              <a:fillToRect r="100000" b="100000"/>
            </a:path>
            <a:tileRect l="-100000" t="-100000"/>
          </a:gradFill>
          <a:ln w="6350">
            <a:gradFill>
              <a:gsLst>
                <a:gs pos="0">
                  <a:schemeClr val="accent1">
                    <a:lumMod val="0"/>
                    <a:lumOff val="100000"/>
                    <a:alpha val="70000"/>
                  </a:schemeClr>
                </a:gs>
                <a:gs pos="100000">
                  <a:schemeClr val="accent1">
                    <a:lumMod val="0"/>
                    <a:lumOff val="100000"/>
                    <a:alpha val="70000"/>
                  </a:schemeClr>
                </a:gs>
              </a:gsLst>
              <a:lin ang="5400000" scaled="1"/>
            </a:gradFill>
          </a:ln>
          <a:extLst>
            <a:ext uri="{91240B29-F687-4f45-9708-019B960494DF}">
              <a14:hiddenLine xmlns:a14="http://schemas.microsoft.com/office/drawing/2010/main" xmlns=""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id-ID">
              <a:solidFill>
                <a:srgbClr val="FFFFFF"/>
              </a:solidFill>
              <a:latin typeface="Arial"/>
            </a:endParaRPr>
          </a:p>
        </p:txBody>
      </p:sp>
      <p:sp>
        <p:nvSpPr>
          <p:cNvPr id="42" name="任意多边形: 形状 41">
            <a:extLst>
              <a:ext uri="{FF2B5EF4-FFF2-40B4-BE49-F238E27FC236}">
                <a16:creationId xmlns:a16="http://schemas.microsoft.com/office/drawing/2014/main" id="{8A354894-0E3F-D3A8-0119-DBFF587F5BAA}"/>
              </a:ext>
            </a:extLst>
          </p:cNvPr>
          <p:cNvSpPr>
            <a:spLocks noChangeArrowheads="1"/>
          </p:cNvSpPr>
          <p:nvPr/>
        </p:nvSpPr>
        <p:spPr bwMode="auto">
          <a:xfrm>
            <a:off x="5027143" y="2298489"/>
            <a:ext cx="2137716" cy="623460"/>
          </a:xfrm>
          <a:custGeom>
            <a:avLst/>
            <a:gdLst>
              <a:gd name="connsiteX0" fmla="*/ 1068858 w 2137716"/>
              <a:gd name="connsiteY0" fmla="*/ 0 h 623460"/>
              <a:gd name="connsiteX1" fmla="*/ 2137716 w 2137716"/>
              <a:gd name="connsiteY1" fmla="*/ 311730 h 623460"/>
              <a:gd name="connsiteX2" fmla="*/ 1068858 w 2137716"/>
              <a:gd name="connsiteY2" fmla="*/ 623460 h 623460"/>
              <a:gd name="connsiteX3" fmla="*/ 0 w 2137716"/>
              <a:gd name="connsiteY3" fmla="*/ 311730 h 623460"/>
              <a:gd name="connsiteX4" fmla="*/ 1068858 w 2137716"/>
              <a:gd name="connsiteY4" fmla="*/ 0 h 623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7716" h="623460">
                <a:moveTo>
                  <a:pt x="1068858" y="0"/>
                </a:moveTo>
                <a:cubicBezTo>
                  <a:pt x="1659172" y="0"/>
                  <a:pt x="2137716" y="139566"/>
                  <a:pt x="2137716" y="311730"/>
                </a:cubicBezTo>
                <a:cubicBezTo>
                  <a:pt x="2137716" y="483894"/>
                  <a:pt x="1659172" y="623460"/>
                  <a:pt x="1068858" y="623460"/>
                </a:cubicBezTo>
                <a:cubicBezTo>
                  <a:pt x="478544" y="623460"/>
                  <a:pt x="0" y="483894"/>
                  <a:pt x="0" y="311730"/>
                </a:cubicBezTo>
                <a:cubicBezTo>
                  <a:pt x="0" y="139566"/>
                  <a:pt x="478544" y="0"/>
                  <a:pt x="1068858" y="0"/>
                </a:cubicBezTo>
                <a:close/>
              </a:path>
            </a:pathLst>
          </a:custGeom>
          <a:gradFill flip="none" rotWithShape="1">
            <a:gsLst>
              <a:gs pos="100000">
                <a:schemeClr val="accent1">
                  <a:lumMod val="80000"/>
                  <a:lumOff val="20000"/>
                </a:schemeClr>
              </a:gs>
              <a:gs pos="0">
                <a:schemeClr val="accent1">
                  <a:lumMod val="35000"/>
                  <a:lumOff val="65000"/>
                </a:schemeClr>
              </a:gs>
            </a:gsLst>
            <a:lin ang="2700000" scaled="1"/>
            <a:tileRect/>
          </a:gradFill>
          <a:ln w="6350">
            <a:gradFill>
              <a:gsLst>
                <a:gs pos="0">
                  <a:schemeClr val="accent1">
                    <a:lumMod val="0"/>
                    <a:lumOff val="100000"/>
                    <a:alpha val="70000"/>
                  </a:schemeClr>
                </a:gs>
                <a:gs pos="100000">
                  <a:schemeClr val="accent1">
                    <a:lumMod val="0"/>
                    <a:lumOff val="100000"/>
                    <a:alpha val="70000"/>
                  </a:schemeClr>
                </a:gs>
              </a:gsLst>
              <a:lin ang="5400000" scaled="1"/>
            </a:gradFill>
          </a:ln>
          <a:effectLst>
            <a:outerShdw blurRad="254000" dist="177800" dir="2700000" algn="tl" rotWithShape="0">
              <a:schemeClr val="accent1">
                <a:alpha val="20000"/>
              </a:schemeClr>
            </a:outerShdw>
          </a:effectLst>
          <a:extLst>
            <a:ext uri="{91240B29-F687-4f45-9708-019B960494DF}">
              <a14:hiddenLine xmlns:a14="http://schemas.microsoft.com/office/drawing/2010/main" xmlns="" w="9525">
                <a:solidFill>
                  <a:srgbClr val="000000"/>
                </a:solidFill>
                <a:round/>
                <a:headEnd/>
                <a:tailEnd/>
              </a14:hiddenLine>
            </a:ext>
          </a:extLst>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485899" tIns="63500" rIns="1485901" bIns="63500" numCol="1" spcCol="1270" anchor="ctr" anchorCtr="0">
            <a:noAutofit/>
          </a:bodyPr>
          <a:lstStyle/>
          <a:p>
            <a:pPr algn="ctr" defTabSz="2222500">
              <a:lnSpc>
                <a:spcPct val="90000"/>
              </a:lnSpc>
              <a:spcBef>
                <a:spcPct val="0"/>
              </a:spcBef>
              <a:spcAft>
                <a:spcPct val="35000"/>
              </a:spcAft>
            </a:pPr>
            <a:endParaRPr lang="id-ID" sz="3200">
              <a:solidFill>
                <a:prstClr val="white"/>
              </a:solidFill>
              <a:latin typeface="等线" panose="020F0502020204030204"/>
              <a:ea typeface="等线" panose="02010600030101010101" pitchFamily="2" charset="-122"/>
            </a:endParaRPr>
          </a:p>
        </p:txBody>
      </p:sp>
      <p:sp>
        <p:nvSpPr>
          <p:cNvPr id="44" name="任意多边形: 形状 43">
            <a:extLst>
              <a:ext uri="{FF2B5EF4-FFF2-40B4-BE49-F238E27FC236}">
                <a16:creationId xmlns:a16="http://schemas.microsoft.com/office/drawing/2014/main" id="{4AADAA7F-3388-FB25-C10B-8BC24D056E6B}"/>
              </a:ext>
            </a:extLst>
          </p:cNvPr>
          <p:cNvSpPr>
            <a:spLocks/>
          </p:cNvSpPr>
          <p:nvPr/>
        </p:nvSpPr>
        <p:spPr bwMode="auto">
          <a:xfrm>
            <a:off x="5206633" y="2019273"/>
            <a:ext cx="1778736" cy="711143"/>
          </a:xfrm>
          <a:custGeom>
            <a:avLst/>
            <a:gdLst>
              <a:gd name="connsiteX0" fmla="*/ 0 w 1778736"/>
              <a:gd name="connsiteY0" fmla="*/ 0 h 711143"/>
              <a:gd name="connsiteX1" fmla="*/ 889368 w 1778736"/>
              <a:gd name="connsiteY1" fmla="*/ 125760 h 711143"/>
              <a:gd name="connsiteX2" fmla="*/ 1778736 w 1778736"/>
              <a:gd name="connsiteY2" fmla="*/ 0 h 711143"/>
              <a:gd name="connsiteX3" fmla="*/ 1778736 w 1778736"/>
              <a:gd name="connsiteY3" fmla="*/ 408720 h 711143"/>
              <a:gd name="connsiteX4" fmla="*/ 889368 w 1778736"/>
              <a:gd name="connsiteY4" fmla="*/ 711143 h 711143"/>
              <a:gd name="connsiteX5" fmla="*/ 0 w 1778736"/>
              <a:gd name="connsiteY5" fmla="*/ 408720 h 711143"/>
              <a:gd name="connsiteX6" fmla="*/ 0 w 1778736"/>
              <a:gd name="connsiteY6" fmla="*/ 0 h 711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78736" h="711143">
                <a:moveTo>
                  <a:pt x="0" y="0"/>
                </a:moveTo>
                <a:cubicBezTo>
                  <a:pt x="0" y="0"/>
                  <a:pt x="541248" y="125760"/>
                  <a:pt x="889368" y="125760"/>
                </a:cubicBezTo>
                <a:cubicBezTo>
                  <a:pt x="1189515" y="125760"/>
                  <a:pt x="1778736" y="0"/>
                  <a:pt x="1778736" y="0"/>
                </a:cubicBezTo>
                <a:cubicBezTo>
                  <a:pt x="1778736" y="408720"/>
                  <a:pt x="1778736" y="408720"/>
                  <a:pt x="1778736" y="408720"/>
                </a:cubicBezTo>
                <a:cubicBezTo>
                  <a:pt x="1778736" y="574903"/>
                  <a:pt x="1380181" y="711143"/>
                  <a:pt x="889368" y="711143"/>
                </a:cubicBezTo>
                <a:cubicBezTo>
                  <a:pt x="398555" y="711143"/>
                  <a:pt x="0" y="574903"/>
                  <a:pt x="0" y="408720"/>
                </a:cubicBezTo>
                <a:cubicBezTo>
                  <a:pt x="0" y="0"/>
                  <a:pt x="0" y="0"/>
                  <a:pt x="0" y="0"/>
                </a:cubicBezTo>
                <a:close/>
              </a:path>
            </a:pathLst>
          </a:custGeom>
          <a:gradFill flip="none" rotWithShape="1">
            <a:gsLst>
              <a:gs pos="0">
                <a:schemeClr val="accent1">
                  <a:lumMod val="35000"/>
                  <a:lumOff val="65000"/>
                </a:schemeClr>
              </a:gs>
              <a:gs pos="100000">
                <a:schemeClr val="accent1">
                  <a:lumMod val="100000"/>
                </a:schemeClr>
              </a:gs>
            </a:gsLst>
            <a:path path="circle">
              <a:fillToRect r="100000" b="100000"/>
            </a:path>
            <a:tileRect l="-100000" t="-100000"/>
          </a:gradFill>
          <a:ln w="6350">
            <a:gradFill>
              <a:gsLst>
                <a:gs pos="0">
                  <a:schemeClr val="accent1">
                    <a:lumMod val="0"/>
                    <a:lumOff val="100000"/>
                    <a:alpha val="70000"/>
                  </a:schemeClr>
                </a:gs>
                <a:gs pos="100000">
                  <a:schemeClr val="accent1">
                    <a:lumMod val="0"/>
                    <a:lumOff val="100000"/>
                    <a:alpha val="70000"/>
                  </a:schemeClr>
                </a:gs>
              </a:gsLst>
              <a:lin ang="5400000" scaled="1"/>
            </a:gradFill>
          </a:ln>
          <a:extLst>
            <a:ext uri="{91240B29-F687-4f45-9708-019B960494DF}">
              <a14:hiddenLine xmlns:a14="http://schemas.microsoft.com/office/drawing/2010/main" xmlns=""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id-ID">
              <a:solidFill>
                <a:srgbClr val="FFFFFF"/>
              </a:solidFill>
              <a:latin typeface="Arial"/>
            </a:endParaRPr>
          </a:p>
        </p:txBody>
      </p:sp>
      <p:sp>
        <p:nvSpPr>
          <p:cNvPr id="46" name="任意多边形: 形状 45">
            <a:extLst>
              <a:ext uri="{FF2B5EF4-FFF2-40B4-BE49-F238E27FC236}">
                <a16:creationId xmlns:a16="http://schemas.microsoft.com/office/drawing/2014/main" id="{34FC2965-3228-3A90-827B-2669557C8337}"/>
              </a:ext>
            </a:extLst>
          </p:cNvPr>
          <p:cNvSpPr>
            <a:spLocks noChangeArrowheads="1"/>
          </p:cNvSpPr>
          <p:nvPr/>
        </p:nvSpPr>
        <p:spPr bwMode="auto">
          <a:xfrm>
            <a:off x="5206633" y="1716295"/>
            <a:ext cx="1778736" cy="605952"/>
          </a:xfrm>
          <a:custGeom>
            <a:avLst/>
            <a:gdLst>
              <a:gd name="connsiteX0" fmla="*/ 889368 w 1778736"/>
              <a:gd name="connsiteY0" fmla="*/ 0 h 605952"/>
              <a:gd name="connsiteX1" fmla="*/ 1778736 w 1778736"/>
              <a:gd name="connsiteY1" fmla="*/ 302976 h 605952"/>
              <a:gd name="connsiteX2" fmla="*/ 889368 w 1778736"/>
              <a:gd name="connsiteY2" fmla="*/ 605952 h 605952"/>
              <a:gd name="connsiteX3" fmla="*/ 0 w 1778736"/>
              <a:gd name="connsiteY3" fmla="*/ 302976 h 605952"/>
              <a:gd name="connsiteX4" fmla="*/ 889368 w 1778736"/>
              <a:gd name="connsiteY4" fmla="*/ 0 h 6059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78736" h="605952">
                <a:moveTo>
                  <a:pt x="889368" y="0"/>
                </a:moveTo>
                <a:cubicBezTo>
                  <a:pt x="1380552" y="0"/>
                  <a:pt x="1778736" y="135647"/>
                  <a:pt x="1778736" y="302976"/>
                </a:cubicBezTo>
                <a:cubicBezTo>
                  <a:pt x="1778736" y="470305"/>
                  <a:pt x="1380552" y="605952"/>
                  <a:pt x="889368" y="605952"/>
                </a:cubicBezTo>
                <a:cubicBezTo>
                  <a:pt x="398184" y="605952"/>
                  <a:pt x="0" y="470305"/>
                  <a:pt x="0" y="302976"/>
                </a:cubicBezTo>
                <a:cubicBezTo>
                  <a:pt x="0" y="135647"/>
                  <a:pt x="398184" y="0"/>
                  <a:pt x="889368" y="0"/>
                </a:cubicBezTo>
                <a:close/>
              </a:path>
            </a:pathLst>
          </a:custGeom>
          <a:gradFill flip="none" rotWithShape="1">
            <a:gsLst>
              <a:gs pos="100000">
                <a:schemeClr val="accent1">
                  <a:lumMod val="65000"/>
                  <a:lumOff val="35000"/>
                </a:schemeClr>
              </a:gs>
              <a:gs pos="0">
                <a:schemeClr val="accent1">
                  <a:lumMod val="25000"/>
                  <a:lumOff val="75000"/>
                </a:schemeClr>
              </a:gs>
            </a:gsLst>
            <a:lin ang="2700000" scaled="1"/>
            <a:tileRect/>
          </a:gradFill>
          <a:ln w="6350">
            <a:gradFill>
              <a:gsLst>
                <a:gs pos="0">
                  <a:schemeClr val="accent1">
                    <a:lumMod val="0"/>
                    <a:lumOff val="100000"/>
                    <a:alpha val="70000"/>
                  </a:schemeClr>
                </a:gs>
                <a:gs pos="100000">
                  <a:schemeClr val="accent1">
                    <a:lumMod val="0"/>
                    <a:lumOff val="100000"/>
                    <a:alpha val="70000"/>
                  </a:schemeClr>
                </a:gs>
              </a:gsLst>
              <a:lin ang="5400000" scaled="1"/>
            </a:gradFill>
          </a:ln>
          <a:effectLst>
            <a:outerShdw blurRad="254000" dist="177800" dir="2700000" algn="tl" rotWithShape="0">
              <a:schemeClr val="accent1">
                <a:alpha val="20000"/>
              </a:schemeClr>
            </a:outerShdw>
          </a:effectLst>
          <a:extLst>
            <a:ext uri="{91240B29-F687-4f45-9708-019B960494DF}">
              <a14:hiddenLine xmlns:a14="http://schemas.microsoft.com/office/drawing/2010/main" xmlns="" w="9525">
                <a:solidFill>
                  <a:srgbClr val="000000"/>
                </a:solidFill>
                <a:round/>
                <a:headEnd/>
                <a:tailEnd/>
              </a14:hiddenLine>
            </a:ext>
          </a:extLst>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485899" tIns="63500" rIns="1485901" bIns="63500" numCol="1" spcCol="1270" anchor="ctr" anchorCtr="0">
            <a:noAutofit/>
          </a:bodyPr>
          <a:lstStyle/>
          <a:p>
            <a:pPr algn="ctr" defTabSz="2222500">
              <a:lnSpc>
                <a:spcPct val="90000"/>
              </a:lnSpc>
              <a:spcBef>
                <a:spcPct val="0"/>
              </a:spcBef>
              <a:spcAft>
                <a:spcPct val="35000"/>
              </a:spcAft>
            </a:pPr>
            <a:endParaRPr lang="id-ID" sz="3200">
              <a:solidFill>
                <a:prstClr val="white"/>
              </a:solidFill>
              <a:latin typeface="等线" panose="020F0502020204030204"/>
              <a:ea typeface="等线" panose="02010600030101010101" pitchFamily="2" charset="-122"/>
            </a:endParaRPr>
          </a:p>
        </p:txBody>
      </p:sp>
      <p:sp>
        <p:nvSpPr>
          <p:cNvPr id="48" name="任意多边形: 形状 47">
            <a:extLst>
              <a:ext uri="{FF2B5EF4-FFF2-40B4-BE49-F238E27FC236}">
                <a16:creationId xmlns:a16="http://schemas.microsoft.com/office/drawing/2014/main" id="{5A360999-F5C1-FFFB-AE4B-464ABC204F60}"/>
              </a:ext>
            </a:extLst>
          </p:cNvPr>
          <p:cNvSpPr>
            <a:spLocks/>
          </p:cNvSpPr>
          <p:nvPr/>
        </p:nvSpPr>
        <p:spPr bwMode="auto">
          <a:xfrm>
            <a:off x="5398362" y="1485015"/>
            <a:ext cx="1395278" cy="673795"/>
          </a:xfrm>
          <a:custGeom>
            <a:avLst/>
            <a:gdLst>
              <a:gd name="connsiteX0" fmla="*/ 0 w 1395278"/>
              <a:gd name="connsiteY0" fmla="*/ 0 h 673795"/>
              <a:gd name="connsiteX1" fmla="*/ 697639 w 1395278"/>
              <a:gd name="connsiteY1" fmla="*/ 119155 h 673795"/>
              <a:gd name="connsiteX2" fmla="*/ 1395278 w 1395278"/>
              <a:gd name="connsiteY2" fmla="*/ 0 h 673795"/>
              <a:gd name="connsiteX3" fmla="*/ 1395278 w 1395278"/>
              <a:gd name="connsiteY3" fmla="*/ 387255 h 673795"/>
              <a:gd name="connsiteX4" fmla="*/ 697639 w 1395278"/>
              <a:gd name="connsiteY4" fmla="*/ 673795 h 673795"/>
              <a:gd name="connsiteX5" fmla="*/ 0 w 1395278"/>
              <a:gd name="connsiteY5" fmla="*/ 387255 h 673795"/>
              <a:gd name="connsiteX6" fmla="*/ 0 w 1395278"/>
              <a:gd name="connsiteY6" fmla="*/ 0 h 673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95278" h="673795">
                <a:moveTo>
                  <a:pt x="0" y="0"/>
                </a:moveTo>
                <a:cubicBezTo>
                  <a:pt x="0" y="0"/>
                  <a:pt x="424566" y="119155"/>
                  <a:pt x="697639" y="119155"/>
                </a:cubicBezTo>
                <a:cubicBezTo>
                  <a:pt x="933080" y="119155"/>
                  <a:pt x="1395278" y="0"/>
                  <a:pt x="1395278" y="0"/>
                </a:cubicBezTo>
                <a:cubicBezTo>
                  <a:pt x="1395278" y="387255"/>
                  <a:pt x="1395278" y="387255"/>
                  <a:pt x="1395278" y="387255"/>
                </a:cubicBezTo>
                <a:cubicBezTo>
                  <a:pt x="1395278" y="544710"/>
                  <a:pt x="1082643" y="673795"/>
                  <a:pt x="697639" y="673795"/>
                </a:cubicBezTo>
                <a:cubicBezTo>
                  <a:pt x="312635" y="673795"/>
                  <a:pt x="0" y="544710"/>
                  <a:pt x="0" y="387255"/>
                </a:cubicBezTo>
                <a:cubicBezTo>
                  <a:pt x="0" y="0"/>
                  <a:pt x="0" y="0"/>
                  <a:pt x="0" y="0"/>
                </a:cubicBezTo>
                <a:close/>
              </a:path>
            </a:pathLst>
          </a:custGeom>
          <a:gradFill flip="none" rotWithShape="1">
            <a:gsLst>
              <a:gs pos="0">
                <a:schemeClr val="accent1">
                  <a:lumMod val="15000"/>
                  <a:lumOff val="85000"/>
                </a:schemeClr>
              </a:gs>
              <a:gs pos="100000">
                <a:schemeClr val="accent1">
                  <a:lumMod val="80000"/>
                  <a:lumOff val="20000"/>
                </a:schemeClr>
              </a:gs>
            </a:gsLst>
            <a:path path="circle">
              <a:fillToRect r="100000" b="100000"/>
            </a:path>
            <a:tileRect l="-100000" t="-100000"/>
          </a:gradFill>
          <a:ln w="6350">
            <a:gradFill>
              <a:gsLst>
                <a:gs pos="0">
                  <a:schemeClr val="accent1">
                    <a:lumMod val="0"/>
                    <a:lumOff val="100000"/>
                    <a:alpha val="70000"/>
                  </a:schemeClr>
                </a:gs>
                <a:gs pos="100000">
                  <a:schemeClr val="accent1">
                    <a:lumMod val="0"/>
                    <a:lumOff val="100000"/>
                    <a:alpha val="70000"/>
                  </a:schemeClr>
                </a:gs>
              </a:gsLst>
              <a:lin ang="5400000" scaled="1"/>
            </a:gradFill>
          </a:ln>
          <a:extLst>
            <a:ext uri="{91240B29-F687-4f45-9708-019B960494DF}">
              <a14:hiddenLine xmlns:a14="http://schemas.microsoft.com/office/drawing/2010/main" xmlns=""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id-ID" dirty="0">
              <a:solidFill>
                <a:srgbClr val="FFFFFF"/>
              </a:solidFill>
              <a:latin typeface="Arial"/>
            </a:endParaRPr>
          </a:p>
        </p:txBody>
      </p:sp>
      <p:sp>
        <p:nvSpPr>
          <p:cNvPr id="50" name="任意多边形: 形状 49">
            <a:extLst>
              <a:ext uri="{FF2B5EF4-FFF2-40B4-BE49-F238E27FC236}">
                <a16:creationId xmlns:a16="http://schemas.microsoft.com/office/drawing/2014/main" id="{2B6C0FEF-1AC0-DAC9-3C68-0E528126433E}"/>
              </a:ext>
            </a:extLst>
          </p:cNvPr>
          <p:cNvSpPr>
            <a:spLocks noChangeArrowheads="1"/>
          </p:cNvSpPr>
          <p:nvPr/>
        </p:nvSpPr>
        <p:spPr bwMode="auto">
          <a:xfrm>
            <a:off x="5398362" y="1197949"/>
            <a:ext cx="1395278" cy="574128"/>
          </a:xfrm>
          <a:custGeom>
            <a:avLst/>
            <a:gdLst>
              <a:gd name="connsiteX0" fmla="*/ 697639 w 1395278"/>
              <a:gd name="connsiteY0" fmla="*/ 0 h 574128"/>
              <a:gd name="connsiteX1" fmla="*/ 1395278 w 1395278"/>
              <a:gd name="connsiteY1" fmla="*/ 287064 h 574128"/>
              <a:gd name="connsiteX2" fmla="*/ 697639 w 1395278"/>
              <a:gd name="connsiteY2" fmla="*/ 574128 h 574128"/>
              <a:gd name="connsiteX3" fmla="*/ 0 w 1395278"/>
              <a:gd name="connsiteY3" fmla="*/ 287064 h 574128"/>
              <a:gd name="connsiteX4" fmla="*/ 697639 w 1395278"/>
              <a:gd name="connsiteY4" fmla="*/ 0 h 5741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95278" h="574128">
                <a:moveTo>
                  <a:pt x="697639" y="0"/>
                </a:moveTo>
                <a:cubicBezTo>
                  <a:pt x="1082934" y="0"/>
                  <a:pt x="1395278" y="128523"/>
                  <a:pt x="1395278" y="287064"/>
                </a:cubicBezTo>
                <a:cubicBezTo>
                  <a:pt x="1395278" y="445605"/>
                  <a:pt x="1082934" y="574128"/>
                  <a:pt x="697639" y="574128"/>
                </a:cubicBezTo>
                <a:cubicBezTo>
                  <a:pt x="312344" y="574128"/>
                  <a:pt x="0" y="445605"/>
                  <a:pt x="0" y="287064"/>
                </a:cubicBezTo>
                <a:cubicBezTo>
                  <a:pt x="0" y="128523"/>
                  <a:pt x="312344" y="0"/>
                  <a:pt x="697639" y="0"/>
                </a:cubicBezTo>
                <a:close/>
              </a:path>
            </a:pathLst>
          </a:custGeom>
          <a:gradFill flip="none" rotWithShape="1">
            <a:gsLst>
              <a:gs pos="100000">
                <a:schemeClr val="accent1">
                  <a:lumMod val="50000"/>
                  <a:lumOff val="50000"/>
                </a:schemeClr>
              </a:gs>
              <a:gs pos="0">
                <a:schemeClr val="accent1">
                  <a:lumMod val="25000"/>
                  <a:lumOff val="75000"/>
                </a:schemeClr>
              </a:gs>
            </a:gsLst>
            <a:lin ang="2700000" scaled="1"/>
            <a:tileRect/>
          </a:gradFill>
          <a:ln w="6350">
            <a:gradFill>
              <a:gsLst>
                <a:gs pos="0">
                  <a:schemeClr val="accent1">
                    <a:lumMod val="0"/>
                    <a:lumOff val="100000"/>
                    <a:alpha val="70000"/>
                  </a:schemeClr>
                </a:gs>
                <a:gs pos="100000">
                  <a:schemeClr val="accent1">
                    <a:lumMod val="0"/>
                    <a:lumOff val="100000"/>
                    <a:alpha val="70000"/>
                  </a:schemeClr>
                </a:gs>
              </a:gsLst>
              <a:lin ang="5400000" scaled="1"/>
            </a:gradFill>
          </a:ln>
          <a:effectLst>
            <a:outerShdw blurRad="190500" dist="101600" dir="2700000" algn="tl" rotWithShape="0">
              <a:schemeClr val="accent1">
                <a:alpha val="12000"/>
              </a:schemeClr>
            </a:outerShdw>
          </a:effectLst>
          <a:extLst>
            <a:ext uri="{91240B29-F687-4f45-9708-019B960494DF}">
              <a14:hiddenLine xmlns:a14="http://schemas.microsoft.com/office/drawing/2010/main" xmlns="" w="9525">
                <a:solidFill>
                  <a:srgbClr val="000000"/>
                </a:solidFill>
                <a:round/>
                <a:headEnd/>
                <a:tailEnd/>
              </a14:hiddenLine>
            </a:ext>
          </a:extLst>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485899" tIns="63500" rIns="1485901" bIns="63500" numCol="1" spcCol="1270" anchor="ctr" anchorCtr="0">
            <a:noAutofit/>
          </a:bodyPr>
          <a:lstStyle/>
          <a:p>
            <a:pPr algn="ctr" defTabSz="2222500">
              <a:lnSpc>
                <a:spcPct val="90000"/>
              </a:lnSpc>
              <a:spcBef>
                <a:spcPct val="0"/>
              </a:spcBef>
              <a:spcAft>
                <a:spcPct val="35000"/>
              </a:spcAft>
            </a:pPr>
            <a:endParaRPr lang="id-ID" sz="3200">
              <a:solidFill>
                <a:prstClr val="white"/>
              </a:solidFill>
              <a:latin typeface="等线" panose="020F0502020204030204"/>
              <a:ea typeface="等线" panose="02010600030101010101" pitchFamily="2" charset="-122"/>
            </a:endParaRPr>
          </a:p>
        </p:txBody>
      </p:sp>
    </p:spTree>
    <p:extLst>
      <p:ext uri="{BB962C8B-B14F-4D97-AF65-F5344CB8AC3E}">
        <p14:creationId xmlns:p14="http://schemas.microsoft.com/office/powerpoint/2010/main" val="2050325714"/>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5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타원 21">
            <a:extLst>
              <a:ext uri="{FF2B5EF4-FFF2-40B4-BE49-F238E27FC236}">
                <a16:creationId xmlns:a16="http://schemas.microsoft.com/office/drawing/2014/main" id="{216121C2-9A8C-DCEB-7674-74FE9AF8144B}"/>
              </a:ext>
            </a:extLst>
          </p:cNvPr>
          <p:cNvSpPr>
            <a:spLocks noChangeArrowheads="1"/>
          </p:cNvSpPr>
          <p:nvPr/>
        </p:nvSpPr>
        <p:spPr bwMode="auto">
          <a:xfrm>
            <a:off x="3464127" y="5176868"/>
            <a:ext cx="5263746" cy="1470753"/>
          </a:xfrm>
          <a:prstGeom prst="ellipse">
            <a:avLst/>
          </a:prstGeom>
          <a:gradFill rotWithShape="1">
            <a:gsLst>
              <a:gs pos="0">
                <a:schemeClr val="accent1">
                  <a:lumMod val="50000"/>
                  <a:lumOff val="50000"/>
                  <a:alpha val="70000"/>
                </a:schemeClr>
              </a:gs>
              <a:gs pos="50000">
                <a:schemeClr val="accent1">
                  <a:alpha val="0"/>
                  <a:lumMod val="50000"/>
                  <a:lumOff val="50000"/>
                </a:schemeClr>
              </a:gs>
            </a:gsLst>
            <a:path path="shape">
              <a:fillToRect l="50000" t="50000" r="50000" b="50000"/>
            </a:path>
          </a:gradFill>
          <a:ln>
            <a:noFill/>
          </a:ln>
        </p:spPr>
        <p:txBody>
          <a:bodyPr wrap="none" anchor="ctr"/>
          <a:lstStyle>
            <a:lvl1pPr eaLnBrk="0" hangingPunct="0">
              <a:spcBef>
                <a:spcPct val="20000"/>
              </a:spcBef>
              <a:buChar char="•"/>
              <a:defRPr kumimoji="1" sz="3200">
                <a:solidFill>
                  <a:schemeClr val="bg1"/>
                </a:solidFill>
                <a:latin typeface="굴림" charset="-127"/>
                <a:ea typeface="굴림" charset="-127"/>
              </a:defRPr>
            </a:lvl1pPr>
            <a:lvl2pPr marL="742950" indent="-285750" eaLnBrk="0" hangingPunct="0">
              <a:spcBef>
                <a:spcPct val="20000"/>
              </a:spcBef>
              <a:buChar char="–"/>
              <a:defRPr kumimoji="1" sz="2800">
                <a:solidFill>
                  <a:schemeClr val="bg1"/>
                </a:solidFill>
                <a:latin typeface="굴림" charset="-127"/>
                <a:ea typeface="굴림" charset="-127"/>
              </a:defRPr>
            </a:lvl2pPr>
            <a:lvl3pPr marL="1143000" indent="-228600" eaLnBrk="0" hangingPunct="0">
              <a:spcBef>
                <a:spcPct val="20000"/>
              </a:spcBef>
              <a:buChar char="•"/>
              <a:defRPr kumimoji="1" sz="2400">
                <a:solidFill>
                  <a:schemeClr val="bg1"/>
                </a:solidFill>
                <a:latin typeface="굴림" charset="-127"/>
                <a:ea typeface="굴림" charset="-127"/>
              </a:defRPr>
            </a:lvl3pPr>
            <a:lvl4pPr marL="1600200" indent="-228600" eaLnBrk="0" hangingPunct="0">
              <a:spcBef>
                <a:spcPct val="20000"/>
              </a:spcBef>
              <a:buChar char="–"/>
              <a:defRPr kumimoji="1" sz="2000">
                <a:solidFill>
                  <a:schemeClr val="bg1"/>
                </a:solidFill>
                <a:latin typeface="굴림" charset="-127"/>
                <a:ea typeface="굴림" charset="-127"/>
              </a:defRPr>
            </a:lvl4pPr>
            <a:lvl5pPr marL="2057400" indent="-228600" eaLnBrk="0" hangingPunct="0">
              <a:spcBef>
                <a:spcPct val="20000"/>
              </a:spcBef>
              <a:buChar char="»"/>
              <a:defRPr kumimoji="1" sz="2000">
                <a:solidFill>
                  <a:schemeClr val="bg1"/>
                </a:solidFill>
                <a:latin typeface="굴림" charset="-127"/>
                <a:ea typeface="굴림" charset="-127"/>
              </a:defRPr>
            </a:lvl5pPr>
            <a:lvl6pPr marL="2514600" indent="-228600" eaLnBrk="0" fontAlgn="base" latinLnBrk="1" hangingPunct="0">
              <a:spcBef>
                <a:spcPct val="20000"/>
              </a:spcBef>
              <a:spcAft>
                <a:spcPct val="0"/>
              </a:spcAft>
              <a:buChar char="»"/>
              <a:defRPr kumimoji="1" sz="2000">
                <a:solidFill>
                  <a:schemeClr val="bg1"/>
                </a:solidFill>
                <a:latin typeface="굴림" charset="-127"/>
                <a:ea typeface="굴림" charset="-127"/>
              </a:defRPr>
            </a:lvl6pPr>
            <a:lvl7pPr marL="2971800" indent="-228600" eaLnBrk="0" fontAlgn="base" latinLnBrk="1" hangingPunct="0">
              <a:spcBef>
                <a:spcPct val="20000"/>
              </a:spcBef>
              <a:spcAft>
                <a:spcPct val="0"/>
              </a:spcAft>
              <a:buChar char="»"/>
              <a:defRPr kumimoji="1" sz="2000">
                <a:solidFill>
                  <a:schemeClr val="bg1"/>
                </a:solidFill>
                <a:latin typeface="굴림" charset="-127"/>
                <a:ea typeface="굴림" charset="-127"/>
              </a:defRPr>
            </a:lvl7pPr>
            <a:lvl8pPr marL="3429000" indent="-228600" eaLnBrk="0" fontAlgn="base" latinLnBrk="1" hangingPunct="0">
              <a:spcBef>
                <a:spcPct val="20000"/>
              </a:spcBef>
              <a:spcAft>
                <a:spcPct val="0"/>
              </a:spcAft>
              <a:buChar char="»"/>
              <a:defRPr kumimoji="1" sz="2000">
                <a:solidFill>
                  <a:schemeClr val="bg1"/>
                </a:solidFill>
                <a:latin typeface="굴림" charset="-127"/>
                <a:ea typeface="굴림" charset="-127"/>
              </a:defRPr>
            </a:lvl8pPr>
            <a:lvl9pPr marL="3886200" indent="-228600" eaLnBrk="0" fontAlgn="base" latinLnBrk="1" hangingPunct="0">
              <a:spcBef>
                <a:spcPct val="20000"/>
              </a:spcBef>
              <a:spcAft>
                <a:spcPct val="0"/>
              </a:spcAft>
              <a:buChar char="»"/>
              <a:defRPr kumimoji="1" sz="2000">
                <a:solidFill>
                  <a:schemeClr val="bg1"/>
                </a:solidFill>
                <a:latin typeface="굴림" charset="-127"/>
                <a:ea typeface="굴림" charset="-127"/>
              </a:defRPr>
            </a:lvl9pPr>
          </a:lstStyle>
          <a:p>
            <a:pPr eaLnBrk="1" latinLnBrk="1" hangingPunct="1">
              <a:spcBef>
                <a:spcPct val="0"/>
              </a:spcBef>
              <a:buNone/>
              <a:defRPr/>
            </a:pPr>
            <a:endParaRPr lang="ko-KR" altLang="ko-KR" sz="1800" kern="0">
              <a:solidFill>
                <a:prstClr val="black"/>
              </a:solidFill>
            </a:endParaRPr>
          </a:p>
        </p:txBody>
      </p:sp>
      <p:sp>
        <p:nvSpPr>
          <p:cNvPr id="24" name="任意多边形: 形状 23">
            <a:extLst>
              <a:ext uri="{FF2B5EF4-FFF2-40B4-BE49-F238E27FC236}">
                <a16:creationId xmlns:a16="http://schemas.microsoft.com/office/drawing/2014/main" id="{C9598F0B-FF63-0B99-F021-6CDCFE91F116}"/>
              </a:ext>
            </a:extLst>
          </p:cNvPr>
          <p:cNvSpPr>
            <a:spLocks/>
          </p:cNvSpPr>
          <p:nvPr/>
        </p:nvSpPr>
        <p:spPr bwMode="auto">
          <a:xfrm>
            <a:off x="4087693" y="3479223"/>
            <a:ext cx="3980493" cy="1871554"/>
          </a:xfrm>
          <a:custGeom>
            <a:avLst/>
            <a:gdLst>
              <a:gd name="connsiteX0" fmla="*/ 1990247 w 3980493"/>
              <a:gd name="connsiteY0" fmla="*/ 0 h 1871554"/>
              <a:gd name="connsiteX1" fmla="*/ 2142279 w 3980493"/>
              <a:gd name="connsiteY1" fmla="*/ 3466 h 1871554"/>
              <a:gd name="connsiteX2" fmla="*/ 2290857 w 3980493"/>
              <a:gd name="connsiteY2" fmla="*/ 6932 h 1871554"/>
              <a:gd name="connsiteX3" fmla="*/ 2432524 w 3980493"/>
              <a:gd name="connsiteY3" fmla="*/ 17329 h 1871554"/>
              <a:gd name="connsiteX4" fmla="*/ 2570735 w 3980493"/>
              <a:gd name="connsiteY4" fmla="*/ 27727 h 1871554"/>
              <a:gd name="connsiteX5" fmla="*/ 2702036 w 3980493"/>
              <a:gd name="connsiteY5" fmla="*/ 45056 h 1871554"/>
              <a:gd name="connsiteX6" fmla="*/ 2826427 w 3980493"/>
              <a:gd name="connsiteY6" fmla="*/ 62385 h 1871554"/>
              <a:gd name="connsiteX7" fmla="*/ 2940451 w 3980493"/>
              <a:gd name="connsiteY7" fmla="*/ 86646 h 1871554"/>
              <a:gd name="connsiteX8" fmla="*/ 3044110 w 3980493"/>
              <a:gd name="connsiteY8" fmla="*/ 110907 h 1871554"/>
              <a:gd name="connsiteX9" fmla="*/ 3140858 w 3980493"/>
              <a:gd name="connsiteY9" fmla="*/ 135168 h 1871554"/>
              <a:gd name="connsiteX10" fmla="*/ 3227240 w 3980493"/>
              <a:gd name="connsiteY10" fmla="*/ 166360 h 1871554"/>
              <a:gd name="connsiteX11" fmla="*/ 3303256 w 3980493"/>
              <a:gd name="connsiteY11" fmla="*/ 197553 h 1871554"/>
              <a:gd name="connsiteX12" fmla="*/ 3365452 w 3980493"/>
              <a:gd name="connsiteY12" fmla="*/ 228746 h 1871554"/>
              <a:gd name="connsiteX13" fmla="*/ 3393094 w 3980493"/>
              <a:gd name="connsiteY13" fmla="*/ 246075 h 1871554"/>
              <a:gd name="connsiteX14" fmla="*/ 3417281 w 3980493"/>
              <a:gd name="connsiteY14" fmla="*/ 263404 h 1871554"/>
              <a:gd name="connsiteX15" fmla="*/ 3434557 w 3980493"/>
              <a:gd name="connsiteY15" fmla="*/ 280733 h 1871554"/>
              <a:gd name="connsiteX16" fmla="*/ 3451834 w 3980493"/>
              <a:gd name="connsiteY16" fmla="*/ 298062 h 1871554"/>
              <a:gd name="connsiteX17" fmla="*/ 3465655 w 3980493"/>
              <a:gd name="connsiteY17" fmla="*/ 318857 h 1871554"/>
              <a:gd name="connsiteX18" fmla="*/ 3476021 w 3980493"/>
              <a:gd name="connsiteY18" fmla="*/ 336187 h 1871554"/>
              <a:gd name="connsiteX19" fmla="*/ 3479476 w 3980493"/>
              <a:gd name="connsiteY19" fmla="*/ 353516 h 1871554"/>
              <a:gd name="connsiteX20" fmla="*/ 3482932 w 3980493"/>
              <a:gd name="connsiteY20" fmla="*/ 374311 h 1871554"/>
              <a:gd name="connsiteX21" fmla="*/ 3980493 w 3980493"/>
              <a:gd name="connsiteY21" fmla="*/ 1372473 h 1871554"/>
              <a:gd name="connsiteX22" fmla="*/ 3977038 w 3980493"/>
              <a:gd name="connsiteY22" fmla="*/ 1396734 h 1871554"/>
              <a:gd name="connsiteX23" fmla="*/ 3970127 w 3980493"/>
              <a:gd name="connsiteY23" fmla="*/ 1424461 h 1871554"/>
              <a:gd name="connsiteX24" fmla="*/ 3956306 w 3980493"/>
              <a:gd name="connsiteY24" fmla="*/ 1448722 h 1871554"/>
              <a:gd name="connsiteX25" fmla="*/ 3939030 w 3980493"/>
              <a:gd name="connsiteY25" fmla="*/ 1472983 h 1871554"/>
              <a:gd name="connsiteX26" fmla="*/ 3918298 w 3980493"/>
              <a:gd name="connsiteY26" fmla="*/ 1497243 h 1871554"/>
              <a:gd name="connsiteX27" fmla="*/ 3890656 w 3980493"/>
              <a:gd name="connsiteY27" fmla="*/ 1521504 h 1871554"/>
              <a:gd name="connsiteX28" fmla="*/ 3859558 w 3980493"/>
              <a:gd name="connsiteY28" fmla="*/ 1545765 h 1871554"/>
              <a:gd name="connsiteX29" fmla="*/ 3825005 w 3980493"/>
              <a:gd name="connsiteY29" fmla="*/ 1566560 h 1871554"/>
              <a:gd name="connsiteX30" fmla="*/ 3783542 w 3980493"/>
              <a:gd name="connsiteY30" fmla="*/ 1587355 h 1871554"/>
              <a:gd name="connsiteX31" fmla="*/ 3738623 w 3980493"/>
              <a:gd name="connsiteY31" fmla="*/ 1611616 h 1871554"/>
              <a:gd name="connsiteX32" fmla="*/ 3641875 w 3980493"/>
              <a:gd name="connsiteY32" fmla="*/ 1653206 h 1871554"/>
              <a:gd name="connsiteX33" fmla="*/ 3524395 w 3980493"/>
              <a:gd name="connsiteY33" fmla="*/ 1691330 h 1871554"/>
              <a:gd name="connsiteX34" fmla="*/ 3396549 w 3980493"/>
              <a:gd name="connsiteY34" fmla="*/ 1725989 h 1871554"/>
              <a:gd name="connsiteX35" fmla="*/ 3254882 w 3980493"/>
              <a:gd name="connsiteY35" fmla="*/ 1757181 h 1871554"/>
              <a:gd name="connsiteX36" fmla="*/ 3102850 w 3980493"/>
              <a:gd name="connsiteY36" fmla="*/ 1784908 h 1871554"/>
              <a:gd name="connsiteX37" fmla="*/ 2940451 w 3980493"/>
              <a:gd name="connsiteY37" fmla="*/ 1812635 h 1871554"/>
              <a:gd name="connsiteX38" fmla="*/ 2764231 w 3980493"/>
              <a:gd name="connsiteY38" fmla="*/ 1833430 h 1871554"/>
              <a:gd name="connsiteX39" fmla="*/ 2581101 w 3980493"/>
              <a:gd name="connsiteY39" fmla="*/ 1850759 h 1871554"/>
              <a:gd name="connsiteX40" fmla="*/ 2391060 w 3980493"/>
              <a:gd name="connsiteY40" fmla="*/ 1861157 h 1871554"/>
              <a:gd name="connsiteX41" fmla="*/ 2194109 w 3980493"/>
              <a:gd name="connsiteY41" fmla="*/ 1868088 h 1871554"/>
              <a:gd name="connsiteX42" fmla="*/ 1990247 w 3980493"/>
              <a:gd name="connsiteY42" fmla="*/ 1871554 h 1871554"/>
              <a:gd name="connsiteX43" fmla="*/ 1786385 w 3980493"/>
              <a:gd name="connsiteY43" fmla="*/ 1868088 h 1871554"/>
              <a:gd name="connsiteX44" fmla="*/ 1589433 w 3980493"/>
              <a:gd name="connsiteY44" fmla="*/ 1861157 h 1871554"/>
              <a:gd name="connsiteX45" fmla="*/ 1399392 w 3980493"/>
              <a:gd name="connsiteY45" fmla="*/ 1850759 h 1871554"/>
              <a:gd name="connsiteX46" fmla="*/ 1216262 w 3980493"/>
              <a:gd name="connsiteY46" fmla="*/ 1833430 h 1871554"/>
              <a:gd name="connsiteX47" fmla="*/ 1040042 w 3980493"/>
              <a:gd name="connsiteY47" fmla="*/ 1812635 h 1871554"/>
              <a:gd name="connsiteX48" fmla="*/ 877644 w 3980493"/>
              <a:gd name="connsiteY48" fmla="*/ 1784908 h 1871554"/>
              <a:gd name="connsiteX49" fmla="*/ 725611 w 3980493"/>
              <a:gd name="connsiteY49" fmla="*/ 1757181 h 1871554"/>
              <a:gd name="connsiteX50" fmla="*/ 583944 w 3980493"/>
              <a:gd name="connsiteY50" fmla="*/ 1725989 h 1871554"/>
              <a:gd name="connsiteX51" fmla="*/ 456098 w 3980493"/>
              <a:gd name="connsiteY51" fmla="*/ 1691330 h 1871554"/>
              <a:gd name="connsiteX52" fmla="*/ 338618 w 3980493"/>
              <a:gd name="connsiteY52" fmla="*/ 1653206 h 1871554"/>
              <a:gd name="connsiteX53" fmla="*/ 241870 w 3980493"/>
              <a:gd name="connsiteY53" fmla="*/ 1611616 h 1871554"/>
              <a:gd name="connsiteX54" fmla="*/ 196952 w 3980493"/>
              <a:gd name="connsiteY54" fmla="*/ 1587355 h 1871554"/>
              <a:gd name="connsiteX55" fmla="*/ 155488 w 3980493"/>
              <a:gd name="connsiteY55" fmla="*/ 1566560 h 1871554"/>
              <a:gd name="connsiteX56" fmla="*/ 120935 w 3980493"/>
              <a:gd name="connsiteY56" fmla="*/ 1545765 h 1871554"/>
              <a:gd name="connsiteX57" fmla="*/ 89838 w 3980493"/>
              <a:gd name="connsiteY57" fmla="*/ 1521504 h 1871554"/>
              <a:gd name="connsiteX58" fmla="*/ 62195 w 3980493"/>
              <a:gd name="connsiteY58" fmla="*/ 1497243 h 1871554"/>
              <a:gd name="connsiteX59" fmla="*/ 41464 w 3980493"/>
              <a:gd name="connsiteY59" fmla="*/ 1472983 h 1871554"/>
              <a:gd name="connsiteX60" fmla="*/ 24187 w 3980493"/>
              <a:gd name="connsiteY60" fmla="*/ 1448722 h 1871554"/>
              <a:gd name="connsiteX61" fmla="*/ 10366 w 3980493"/>
              <a:gd name="connsiteY61" fmla="*/ 1424461 h 1871554"/>
              <a:gd name="connsiteX62" fmla="*/ 3455 w 3980493"/>
              <a:gd name="connsiteY62" fmla="*/ 1396734 h 1871554"/>
              <a:gd name="connsiteX63" fmla="*/ 0 w 3980493"/>
              <a:gd name="connsiteY63" fmla="*/ 1372473 h 1871554"/>
              <a:gd name="connsiteX64" fmla="*/ 497562 w 3980493"/>
              <a:gd name="connsiteY64" fmla="*/ 374311 h 1871554"/>
              <a:gd name="connsiteX65" fmla="*/ 501017 w 3980493"/>
              <a:gd name="connsiteY65" fmla="*/ 353516 h 1871554"/>
              <a:gd name="connsiteX66" fmla="*/ 504472 w 3980493"/>
              <a:gd name="connsiteY66" fmla="*/ 336187 h 1871554"/>
              <a:gd name="connsiteX67" fmla="*/ 514838 w 3980493"/>
              <a:gd name="connsiteY67" fmla="*/ 318857 h 1871554"/>
              <a:gd name="connsiteX68" fmla="*/ 528659 w 3980493"/>
              <a:gd name="connsiteY68" fmla="*/ 298062 h 1871554"/>
              <a:gd name="connsiteX69" fmla="*/ 545936 w 3980493"/>
              <a:gd name="connsiteY69" fmla="*/ 280733 h 1871554"/>
              <a:gd name="connsiteX70" fmla="*/ 563212 w 3980493"/>
              <a:gd name="connsiteY70" fmla="*/ 263404 h 1871554"/>
              <a:gd name="connsiteX71" fmla="*/ 587399 w 3980493"/>
              <a:gd name="connsiteY71" fmla="*/ 246075 h 1871554"/>
              <a:gd name="connsiteX72" fmla="*/ 615042 w 3980493"/>
              <a:gd name="connsiteY72" fmla="*/ 228746 h 1871554"/>
              <a:gd name="connsiteX73" fmla="*/ 677237 w 3980493"/>
              <a:gd name="connsiteY73" fmla="*/ 197553 h 1871554"/>
              <a:gd name="connsiteX74" fmla="*/ 753253 w 3980493"/>
              <a:gd name="connsiteY74" fmla="*/ 166360 h 1871554"/>
              <a:gd name="connsiteX75" fmla="*/ 839635 w 3980493"/>
              <a:gd name="connsiteY75" fmla="*/ 135168 h 1871554"/>
              <a:gd name="connsiteX76" fmla="*/ 936383 w 3980493"/>
              <a:gd name="connsiteY76" fmla="*/ 110907 h 1871554"/>
              <a:gd name="connsiteX77" fmla="*/ 1040042 w 3980493"/>
              <a:gd name="connsiteY77" fmla="*/ 86646 h 1871554"/>
              <a:gd name="connsiteX78" fmla="*/ 1154067 w 3980493"/>
              <a:gd name="connsiteY78" fmla="*/ 62385 h 1871554"/>
              <a:gd name="connsiteX79" fmla="*/ 1278457 w 3980493"/>
              <a:gd name="connsiteY79" fmla="*/ 45056 h 1871554"/>
              <a:gd name="connsiteX80" fmla="*/ 1409758 w 3980493"/>
              <a:gd name="connsiteY80" fmla="*/ 27727 h 1871554"/>
              <a:gd name="connsiteX81" fmla="*/ 1547970 w 3980493"/>
              <a:gd name="connsiteY81" fmla="*/ 17329 h 1871554"/>
              <a:gd name="connsiteX82" fmla="*/ 1689637 w 3980493"/>
              <a:gd name="connsiteY82" fmla="*/ 6932 h 1871554"/>
              <a:gd name="connsiteX83" fmla="*/ 1838214 w 3980493"/>
              <a:gd name="connsiteY83" fmla="*/ 3466 h 18715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3980493" h="1871554">
                <a:moveTo>
                  <a:pt x="1990247" y="0"/>
                </a:moveTo>
                <a:lnTo>
                  <a:pt x="2142279" y="3466"/>
                </a:lnTo>
                <a:lnTo>
                  <a:pt x="2290857" y="6932"/>
                </a:lnTo>
                <a:lnTo>
                  <a:pt x="2432524" y="17329"/>
                </a:lnTo>
                <a:lnTo>
                  <a:pt x="2570735" y="27727"/>
                </a:lnTo>
                <a:lnTo>
                  <a:pt x="2702036" y="45056"/>
                </a:lnTo>
                <a:lnTo>
                  <a:pt x="2826427" y="62385"/>
                </a:lnTo>
                <a:lnTo>
                  <a:pt x="2940451" y="86646"/>
                </a:lnTo>
                <a:lnTo>
                  <a:pt x="3044110" y="110907"/>
                </a:lnTo>
                <a:lnTo>
                  <a:pt x="3140858" y="135168"/>
                </a:lnTo>
                <a:lnTo>
                  <a:pt x="3227240" y="166360"/>
                </a:lnTo>
                <a:lnTo>
                  <a:pt x="3303256" y="197553"/>
                </a:lnTo>
                <a:lnTo>
                  <a:pt x="3365452" y="228746"/>
                </a:lnTo>
                <a:lnTo>
                  <a:pt x="3393094" y="246075"/>
                </a:lnTo>
                <a:lnTo>
                  <a:pt x="3417281" y="263404"/>
                </a:lnTo>
                <a:lnTo>
                  <a:pt x="3434557" y="280733"/>
                </a:lnTo>
                <a:lnTo>
                  <a:pt x="3451834" y="298062"/>
                </a:lnTo>
                <a:lnTo>
                  <a:pt x="3465655" y="318857"/>
                </a:lnTo>
                <a:lnTo>
                  <a:pt x="3476021" y="336187"/>
                </a:lnTo>
                <a:lnTo>
                  <a:pt x="3479476" y="353516"/>
                </a:lnTo>
                <a:lnTo>
                  <a:pt x="3482932" y="374311"/>
                </a:lnTo>
                <a:lnTo>
                  <a:pt x="3980493" y="1372473"/>
                </a:lnTo>
                <a:lnTo>
                  <a:pt x="3977038" y="1396734"/>
                </a:lnTo>
                <a:lnTo>
                  <a:pt x="3970127" y="1424461"/>
                </a:lnTo>
                <a:lnTo>
                  <a:pt x="3956306" y="1448722"/>
                </a:lnTo>
                <a:lnTo>
                  <a:pt x="3939030" y="1472983"/>
                </a:lnTo>
                <a:lnTo>
                  <a:pt x="3918298" y="1497243"/>
                </a:lnTo>
                <a:lnTo>
                  <a:pt x="3890656" y="1521504"/>
                </a:lnTo>
                <a:lnTo>
                  <a:pt x="3859558" y="1545765"/>
                </a:lnTo>
                <a:lnTo>
                  <a:pt x="3825005" y="1566560"/>
                </a:lnTo>
                <a:lnTo>
                  <a:pt x="3783542" y="1587355"/>
                </a:lnTo>
                <a:lnTo>
                  <a:pt x="3738623" y="1611616"/>
                </a:lnTo>
                <a:lnTo>
                  <a:pt x="3641875" y="1653206"/>
                </a:lnTo>
                <a:lnTo>
                  <a:pt x="3524395" y="1691330"/>
                </a:lnTo>
                <a:lnTo>
                  <a:pt x="3396549" y="1725989"/>
                </a:lnTo>
                <a:lnTo>
                  <a:pt x="3254882" y="1757181"/>
                </a:lnTo>
                <a:lnTo>
                  <a:pt x="3102850" y="1784908"/>
                </a:lnTo>
                <a:lnTo>
                  <a:pt x="2940451" y="1812635"/>
                </a:lnTo>
                <a:lnTo>
                  <a:pt x="2764231" y="1833430"/>
                </a:lnTo>
                <a:lnTo>
                  <a:pt x="2581101" y="1850759"/>
                </a:lnTo>
                <a:lnTo>
                  <a:pt x="2391060" y="1861157"/>
                </a:lnTo>
                <a:lnTo>
                  <a:pt x="2194109" y="1868088"/>
                </a:lnTo>
                <a:lnTo>
                  <a:pt x="1990247" y="1871554"/>
                </a:lnTo>
                <a:lnTo>
                  <a:pt x="1786385" y="1868088"/>
                </a:lnTo>
                <a:lnTo>
                  <a:pt x="1589433" y="1861157"/>
                </a:lnTo>
                <a:lnTo>
                  <a:pt x="1399392" y="1850759"/>
                </a:lnTo>
                <a:lnTo>
                  <a:pt x="1216262" y="1833430"/>
                </a:lnTo>
                <a:lnTo>
                  <a:pt x="1040042" y="1812635"/>
                </a:lnTo>
                <a:lnTo>
                  <a:pt x="877644" y="1784908"/>
                </a:lnTo>
                <a:lnTo>
                  <a:pt x="725611" y="1757181"/>
                </a:lnTo>
                <a:lnTo>
                  <a:pt x="583944" y="1725989"/>
                </a:lnTo>
                <a:lnTo>
                  <a:pt x="456098" y="1691330"/>
                </a:lnTo>
                <a:lnTo>
                  <a:pt x="338618" y="1653206"/>
                </a:lnTo>
                <a:lnTo>
                  <a:pt x="241870" y="1611616"/>
                </a:lnTo>
                <a:lnTo>
                  <a:pt x="196952" y="1587355"/>
                </a:lnTo>
                <a:lnTo>
                  <a:pt x="155488" y="1566560"/>
                </a:lnTo>
                <a:lnTo>
                  <a:pt x="120935" y="1545765"/>
                </a:lnTo>
                <a:lnTo>
                  <a:pt x="89838" y="1521504"/>
                </a:lnTo>
                <a:lnTo>
                  <a:pt x="62195" y="1497243"/>
                </a:lnTo>
                <a:lnTo>
                  <a:pt x="41464" y="1472983"/>
                </a:lnTo>
                <a:lnTo>
                  <a:pt x="24187" y="1448722"/>
                </a:lnTo>
                <a:lnTo>
                  <a:pt x="10366" y="1424461"/>
                </a:lnTo>
                <a:lnTo>
                  <a:pt x="3455" y="1396734"/>
                </a:lnTo>
                <a:lnTo>
                  <a:pt x="0" y="1372473"/>
                </a:lnTo>
                <a:lnTo>
                  <a:pt x="497562" y="374311"/>
                </a:lnTo>
                <a:lnTo>
                  <a:pt x="501017" y="353516"/>
                </a:lnTo>
                <a:lnTo>
                  <a:pt x="504472" y="336187"/>
                </a:lnTo>
                <a:lnTo>
                  <a:pt x="514838" y="318857"/>
                </a:lnTo>
                <a:lnTo>
                  <a:pt x="528659" y="298062"/>
                </a:lnTo>
                <a:lnTo>
                  <a:pt x="545936" y="280733"/>
                </a:lnTo>
                <a:lnTo>
                  <a:pt x="563212" y="263404"/>
                </a:lnTo>
                <a:lnTo>
                  <a:pt x="587399" y="246075"/>
                </a:lnTo>
                <a:lnTo>
                  <a:pt x="615042" y="228746"/>
                </a:lnTo>
                <a:lnTo>
                  <a:pt x="677237" y="197553"/>
                </a:lnTo>
                <a:lnTo>
                  <a:pt x="753253" y="166360"/>
                </a:lnTo>
                <a:lnTo>
                  <a:pt x="839635" y="135168"/>
                </a:lnTo>
                <a:lnTo>
                  <a:pt x="936383" y="110907"/>
                </a:lnTo>
                <a:lnTo>
                  <a:pt x="1040042" y="86646"/>
                </a:lnTo>
                <a:lnTo>
                  <a:pt x="1154067" y="62385"/>
                </a:lnTo>
                <a:lnTo>
                  <a:pt x="1278457" y="45056"/>
                </a:lnTo>
                <a:lnTo>
                  <a:pt x="1409758" y="27727"/>
                </a:lnTo>
                <a:lnTo>
                  <a:pt x="1547970" y="17329"/>
                </a:lnTo>
                <a:lnTo>
                  <a:pt x="1689637" y="6932"/>
                </a:lnTo>
                <a:lnTo>
                  <a:pt x="1838214" y="3466"/>
                </a:lnTo>
                <a:close/>
              </a:path>
            </a:pathLst>
          </a:custGeom>
          <a:gradFill flip="none" rotWithShape="1">
            <a:gsLst>
              <a:gs pos="0">
                <a:schemeClr val="accent1">
                  <a:lumMod val="75000"/>
                  <a:lumOff val="25000"/>
                </a:schemeClr>
              </a:gs>
              <a:gs pos="100000">
                <a:schemeClr val="accent1">
                  <a:lumMod val="80000"/>
                </a:schemeClr>
              </a:gs>
            </a:gsLst>
            <a:path path="circle">
              <a:fillToRect r="100000" b="100000"/>
            </a:path>
            <a:tileRect l="-100000" t="-100000"/>
          </a:gradFill>
          <a:ln w="6350">
            <a:gradFill>
              <a:gsLst>
                <a:gs pos="0">
                  <a:schemeClr val="accent1">
                    <a:alpha val="70000"/>
                    <a:lumMod val="0"/>
                    <a:lumOff val="100000"/>
                  </a:schemeClr>
                </a:gs>
                <a:gs pos="100000">
                  <a:schemeClr val="accent1">
                    <a:alpha val="70000"/>
                    <a:lumMod val="0"/>
                    <a:lumOff val="10000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ko-KR" altLang="en-US">
              <a:solidFill>
                <a:srgbClr val="FFFFFF"/>
              </a:solidFill>
              <a:latin typeface="Arial"/>
            </a:endParaRPr>
          </a:p>
        </p:txBody>
      </p:sp>
      <p:sp>
        <p:nvSpPr>
          <p:cNvPr id="26" name="任意多边形: 形状 25">
            <a:extLst>
              <a:ext uri="{FF2B5EF4-FFF2-40B4-BE49-F238E27FC236}">
                <a16:creationId xmlns:a16="http://schemas.microsoft.com/office/drawing/2014/main" id="{B19F9617-ACD9-F58C-A5B6-13085288D649}"/>
              </a:ext>
            </a:extLst>
          </p:cNvPr>
          <p:cNvSpPr>
            <a:spLocks/>
          </p:cNvSpPr>
          <p:nvPr/>
        </p:nvSpPr>
        <p:spPr bwMode="auto">
          <a:xfrm>
            <a:off x="4585254" y="3479223"/>
            <a:ext cx="2985370" cy="748622"/>
          </a:xfrm>
          <a:custGeom>
            <a:avLst/>
            <a:gdLst>
              <a:gd name="connsiteX0" fmla="*/ 1492685 w 2985370"/>
              <a:gd name="connsiteY0" fmla="*/ 0 h 748622"/>
              <a:gd name="connsiteX1" fmla="*/ 1644718 w 2985370"/>
              <a:gd name="connsiteY1" fmla="*/ 3466 h 748622"/>
              <a:gd name="connsiteX2" fmla="*/ 1793295 w 2985370"/>
              <a:gd name="connsiteY2" fmla="*/ 6932 h 748622"/>
              <a:gd name="connsiteX3" fmla="*/ 1934962 w 2985370"/>
              <a:gd name="connsiteY3" fmla="*/ 17329 h 748622"/>
              <a:gd name="connsiteX4" fmla="*/ 2073174 w 2985370"/>
              <a:gd name="connsiteY4" fmla="*/ 27727 h 748622"/>
              <a:gd name="connsiteX5" fmla="*/ 2204475 w 2985370"/>
              <a:gd name="connsiteY5" fmla="*/ 45056 h 748622"/>
              <a:gd name="connsiteX6" fmla="*/ 2328865 w 2985370"/>
              <a:gd name="connsiteY6" fmla="*/ 62385 h 748622"/>
              <a:gd name="connsiteX7" fmla="*/ 2442890 w 2985370"/>
              <a:gd name="connsiteY7" fmla="*/ 86646 h 748622"/>
              <a:gd name="connsiteX8" fmla="*/ 2546548 w 2985370"/>
              <a:gd name="connsiteY8" fmla="*/ 110907 h 748622"/>
              <a:gd name="connsiteX9" fmla="*/ 2643296 w 2985370"/>
              <a:gd name="connsiteY9" fmla="*/ 135168 h 748622"/>
              <a:gd name="connsiteX10" fmla="*/ 2729679 w 2985370"/>
              <a:gd name="connsiteY10" fmla="*/ 166361 h 748622"/>
              <a:gd name="connsiteX11" fmla="*/ 2805695 w 2985370"/>
              <a:gd name="connsiteY11" fmla="*/ 197553 h 748622"/>
              <a:gd name="connsiteX12" fmla="*/ 2867890 w 2985370"/>
              <a:gd name="connsiteY12" fmla="*/ 228746 h 748622"/>
              <a:gd name="connsiteX13" fmla="*/ 2895533 w 2985370"/>
              <a:gd name="connsiteY13" fmla="*/ 246075 h 748622"/>
              <a:gd name="connsiteX14" fmla="*/ 2919720 w 2985370"/>
              <a:gd name="connsiteY14" fmla="*/ 263404 h 748622"/>
              <a:gd name="connsiteX15" fmla="*/ 2936996 w 2985370"/>
              <a:gd name="connsiteY15" fmla="*/ 280733 h 748622"/>
              <a:gd name="connsiteX16" fmla="*/ 2954273 w 2985370"/>
              <a:gd name="connsiteY16" fmla="*/ 298063 h 748622"/>
              <a:gd name="connsiteX17" fmla="*/ 2968094 w 2985370"/>
              <a:gd name="connsiteY17" fmla="*/ 318858 h 748622"/>
              <a:gd name="connsiteX18" fmla="*/ 2978460 w 2985370"/>
              <a:gd name="connsiteY18" fmla="*/ 336187 h 748622"/>
              <a:gd name="connsiteX19" fmla="*/ 2981915 w 2985370"/>
              <a:gd name="connsiteY19" fmla="*/ 353516 h 748622"/>
              <a:gd name="connsiteX20" fmla="*/ 2985370 w 2985370"/>
              <a:gd name="connsiteY20" fmla="*/ 374311 h 748622"/>
              <a:gd name="connsiteX21" fmla="*/ 2981915 w 2985370"/>
              <a:gd name="connsiteY21" fmla="*/ 395106 h 748622"/>
              <a:gd name="connsiteX22" fmla="*/ 2978460 w 2985370"/>
              <a:gd name="connsiteY22" fmla="*/ 412435 h 748622"/>
              <a:gd name="connsiteX23" fmla="*/ 2968094 w 2985370"/>
              <a:gd name="connsiteY23" fmla="*/ 429765 h 748622"/>
              <a:gd name="connsiteX24" fmla="*/ 2954273 w 2985370"/>
              <a:gd name="connsiteY24" fmla="*/ 450560 h 748622"/>
              <a:gd name="connsiteX25" fmla="*/ 2936996 w 2985370"/>
              <a:gd name="connsiteY25" fmla="*/ 467889 h 748622"/>
              <a:gd name="connsiteX26" fmla="*/ 2919720 w 2985370"/>
              <a:gd name="connsiteY26" fmla="*/ 485218 h 748622"/>
              <a:gd name="connsiteX27" fmla="*/ 2895533 w 2985370"/>
              <a:gd name="connsiteY27" fmla="*/ 502547 h 748622"/>
              <a:gd name="connsiteX28" fmla="*/ 2867890 w 2985370"/>
              <a:gd name="connsiteY28" fmla="*/ 519877 h 748622"/>
              <a:gd name="connsiteX29" fmla="*/ 2805695 w 2985370"/>
              <a:gd name="connsiteY29" fmla="*/ 551069 h 748622"/>
              <a:gd name="connsiteX30" fmla="*/ 2729679 w 2985370"/>
              <a:gd name="connsiteY30" fmla="*/ 582262 h 748622"/>
              <a:gd name="connsiteX31" fmla="*/ 2643296 w 2985370"/>
              <a:gd name="connsiteY31" fmla="*/ 613454 h 748622"/>
              <a:gd name="connsiteX32" fmla="*/ 2546548 w 2985370"/>
              <a:gd name="connsiteY32" fmla="*/ 637715 h 748622"/>
              <a:gd name="connsiteX33" fmla="*/ 2442890 w 2985370"/>
              <a:gd name="connsiteY33" fmla="*/ 661976 h 748622"/>
              <a:gd name="connsiteX34" fmla="*/ 2328865 w 2985370"/>
              <a:gd name="connsiteY34" fmla="*/ 686237 h 748622"/>
              <a:gd name="connsiteX35" fmla="*/ 2204475 w 2985370"/>
              <a:gd name="connsiteY35" fmla="*/ 703566 h 748622"/>
              <a:gd name="connsiteX36" fmla="*/ 2073174 w 2985370"/>
              <a:gd name="connsiteY36" fmla="*/ 720895 h 748622"/>
              <a:gd name="connsiteX37" fmla="*/ 1934962 w 2985370"/>
              <a:gd name="connsiteY37" fmla="*/ 731293 h 748622"/>
              <a:gd name="connsiteX38" fmla="*/ 1793295 w 2985370"/>
              <a:gd name="connsiteY38" fmla="*/ 741691 h 748622"/>
              <a:gd name="connsiteX39" fmla="*/ 1644718 w 2985370"/>
              <a:gd name="connsiteY39" fmla="*/ 745156 h 748622"/>
              <a:gd name="connsiteX40" fmla="*/ 1492685 w 2985370"/>
              <a:gd name="connsiteY40" fmla="*/ 748622 h 748622"/>
              <a:gd name="connsiteX41" fmla="*/ 1340652 w 2985370"/>
              <a:gd name="connsiteY41" fmla="*/ 745156 h 748622"/>
              <a:gd name="connsiteX42" fmla="*/ 1192075 w 2985370"/>
              <a:gd name="connsiteY42" fmla="*/ 741691 h 748622"/>
              <a:gd name="connsiteX43" fmla="*/ 1050408 w 2985370"/>
              <a:gd name="connsiteY43" fmla="*/ 731293 h 748622"/>
              <a:gd name="connsiteX44" fmla="*/ 912197 w 2985370"/>
              <a:gd name="connsiteY44" fmla="*/ 720895 h 748622"/>
              <a:gd name="connsiteX45" fmla="*/ 780896 w 2985370"/>
              <a:gd name="connsiteY45" fmla="*/ 703566 h 748622"/>
              <a:gd name="connsiteX46" fmla="*/ 656505 w 2985370"/>
              <a:gd name="connsiteY46" fmla="*/ 686237 h 748622"/>
              <a:gd name="connsiteX47" fmla="*/ 542481 w 2985370"/>
              <a:gd name="connsiteY47" fmla="*/ 661976 h 748622"/>
              <a:gd name="connsiteX48" fmla="*/ 438822 w 2985370"/>
              <a:gd name="connsiteY48" fmla="*/ 637715 h 748622"/>
              <a:gd name="connsiteX49" fmla="*/ 342074 w 2985370"/>
              <a:gd name="connsiteY49" fmla="*/ 613454 h 748622"/>
              <a:gd name="connsiteX50" fmla="*/ 255692 w 2985370"/>
              <a:gd name="connsiteY50" fmla="*/ 582262 h 748622"/>
              <a:gd name="connsiteX51" fmla="*/ 179675 w 2985370"/>
              <a:gd name="connsiteY51" fmla="*/ 551069 h 748622"/>
              <a:gd name="connsiteX52" fmla="*/ 117480 w 2985370"/>
              <a:gd name="connsiteY52" fmla="*/ 519877 h 748622"/>
              <a:gd name="connsiteX53" fmla="*/ 89838 w 2985370"/>
              <a:gd name="connsiteY53" fmla="*/ 502547 h 748622"/>
              <a:gd name="connsiteX54" fmla="*/ 65651 w 2985370"/>
              <a:gd name="connsiteY54" fmla="*/ 485218 h 748622"/>
              <a:gd name="connsiteX55" fmla="*/ 48374 w 2985370"/>
              <a:gd name="connsiteY55" fmla="*/ 467889 h 748622"/>
              <a:gd name="connsiteX56" fmla="*/ 31098 w 2985370"/>
              <a:gd name="connsiteY56" fmla="*/ 450560 h 748622"/>
              <a:gd name="connsiteX57" fmla="*/ 17277 w 2985370"/>
              <a:gd name="connsiteY57" fmla="*/ 429765 h 748622"/>
              <a:gd name="connsiteX58" fmla="*/ 6911 w 2985370"/>
              <a:gd name="connsiteY58" fmla="*/ 412435 h 748622"/>
              <a:gd name="connsiteX59" fmla="*/ 3455 w 2985370"/>
              <a:gd name="connsiteY59" fmla="*/ 395106 h 748622"/>
              <a:gd name="connsiteX60" fmla="*/ 0 w 2985370"/>
              <a:gd name="connsiteY60" fmla="*/ 374311 h 748622"/>
              <a:gd name="connsiteX61" fmla="*/ 3455 w 2985370"/>
              <a:gd name="connsiteY61" fmla="*/ 353516 h 748622"/>
              <a:gd name="connsiteX62" fmla="*/ 6911 w 2985370"/>
              <a:gd name="connsiteY62" fmla="*/ 336187 h 748622"/>
              <a:gd name="connsiteX63" fmla="*/ 17277 w 2985370"/>
              <a:gd name="connsiteY63" fmla="*/ 318858 h 748622"/>
              <a:gd name="connsiteX64" fmla="*/ 31098 w 2985370"/>
              <a:gd name="connsiteY64" fmla="*/ 298063 h 748622"/>
              <a:gd name="connsiteX65" fmla="*/ 48374 w 2985370"/>
              <a:gd name="connsiteY65" fmla="*/ 280733 h 748622"/>
              <a:gd name="connsiteX66" fmla="*/ 65651 w 2985370"/>
              <a:gd name="connsiteY66" fmla="*/ 263404 h 748622"/>
              <a:gd name="connsiteX67" fmla="*/ 89838 w 2985370"/>
              <a:gd name="connsiteY67" fmla="*/ 246075 h 748622"/>
              <a:gd name="connsiteX68" fmla="*/ 117480 w 2985370"/>
              <a:gd name="connsiteY68" fmla="*/ 228746 h 748622"/>
              <a:gd name="connsiteX69" fmla="*/ 179675 w 2985370"/>
              <a:gd name="connsiteY69" fmla="*/ 197553 h 748622"/>
              <a:gd name="connsiteX70" fmla="*/ 255692 w 2985370"/>
              <a:gd name="connsiteY70" fmla="*/ 166361 h 748622"/>
              <a:gd name="connsiteX71" fmla="*/ 342074 w 2985370"/>
              <a:gd name="connsiteY71" fmla="*/ 135168 h 748622"/>
              <a:gd name="connsiteX72" fmla="*/ 438822 w 2985370"/>
              <a:gd name="connsiteY72" fmla="*/ 110907 h 748622"/>
              <a:gd name="connsiteX73" fmla="*/ 542481 w 2985370"/>
              <a:gd name="connsiteY73" fmla="*/ 86646 h 748622"/>
              <a:gd name="connsiteX74" fmla="*/ 656505 w 2985370"/>
              <a:gd name="connsiteY74" fmla="*/ 62385 h 748622"/>
              <a:gd name="connsiteX75" fmla="*/ 780896 w 2985370"/>
              <a:gd name="connsiteY75" fmla="*/ 45056 h 748622"/>
              <a:gd name="connsiteX76" fmla="*/ 912197 w 2985370"/>
              <a:gd name="connsiteY76" fmla="*/ 27727 h 748622"/>
              <a:gd name="connsiteX77" fmla="*/ 1050408 w 2985370"/>
              <a:gd name="connsiteY77" fmla="*/ 17329 h 748622"/>
              <a:gd name="connsiteX78" fmla="*/ 1192075 w 2985370"/>
              <a:gd name="connsiteY78" fmla="*/ 6932 h 748622"/>
              <a:gd name="connsiteX79" fmla="*/ 1340652 w 2985370"/>
              <a:gd name="connsiteY79" fmla="*/ 3466 h 748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2985370" h="748622">
                <a:moveTo>
                  <a:pt x="1492685" y="0"/>
                </a:moveTo>
                <a:lnTo>
                  <a:pt x="1644718" y="3466"/>
                </a:lnTo>
                <a:lnTo>
                  <a:pt x="1793295" y="6932"/>
                </a:lnTo>
                <a:lnTo>
                  <a:pt x="1934962" y="17329"/>
                </a:lnTo>
                <a:lnTo>
                  <a:pt x="2073174" y="27727"/>
                </a:lnTo>
                <a:lnTo>
                  <a:pt x="2204475" y="45056"/>
                </a:lnTo>
                <a:lnTo>
                  <a:pt x="2328865" y="62385"/>
                </a:lnTo>
                <a:lnTo>
                  <a:pt x="2442890" y="86646"/>
                </a:lnTo>
                <a:lnTo>
                  <a:pt x="2546548" y="110907"/>
                </a:lnTo>
                <a:lnTo>
                  <a:pt x="2643296" y="135168"/>
                </a:lnTo>
                <a:lnTo>
                  <a:pt x="2729679" y="166361"/>
                </a:lnTo>
                <a:lnTo>
                  <a:pt x="2805695" y="197553"/>
                </a:lnTo>
                <a:lnTo>
                  <a:pt x="2867890" y="228746"/>
                </a:lnTo>
                <a:lnTo>
                  <a:pt x="2895533" y="246075"/>
                </a:lnTo>
                <a:lnTo>
                  <a:pt x="2919720" y="263404"/>
                </a:lnTo>
                <a:lnTo>
                  <a:pt x="2936996" y="280733"/>
                </a:lnTo>
                <a:lnTo>
                  <a:pt x="2954273" y="298063"/>
                </a:lnTo>
                <a:lnTo>
                  <a:pt x="2968094" y="318858"/>
                </a:lnTo>
                <a:lnTo>
                  <a:pt x="2978460" y="336187"/>
                </a:lnTo>
                <a:lnTo>
                  <a:pt x="2981915" y="353516"/>
                </a:lnTo>
                <a:lnTo>
                  <a:pt x="2985370" y="374311"/>
                </a:lnTo>
                <a:lnTo>
                  <a:pt x="2981915" y="395106"/>
                </a:lnTo>
                <a:lnTo>
                  <a:pt x="2978460" y="412435"/>
                </a:lnTo>
                <a:lnTo>
                  <a:pt x="2968094" y="429765"/>
                </a:lnTo>
                <a:lnTo>
                  <a:pt x="2954273" y="450560"/>
                </a:lnTo>
                <a:lnTo>
                  <a:pt x="2936996" y="467889"/>
                </a:lnTo>
                <a:lnTo>
                  <a:pt x="2919720" y="485218"/>
                </a:lnTo>
                <a:lnTo>
                  <a:pt x="2895533" y="502547"/>
                </a:lnTo>
                <a:lnTo>
                  <a:pt x="2867890" y="519877"/>
                </a:lnTo>
                <a:lnTo>
                  <a:pt x="2805695" y="551069"/>
                </a:lnTo>
                <a:lnTo>
                  <a:pt x="2729679" y="582262"/>
                </a:lnTo>
                <a:lnTo>
                  <a:pt x="2643296" y="613454"/>
                </a:lnTo>
                <a:lnTo>
                  <a:pt x="2546548" y="637715"/>
                </a:lnTo>
                <a:lnTo>
                  <a:pt x="2442890" y="661976"/>
                </a:lnTo>
                <a:lnTo>
                  <a:pt x="2328865" y="686237"/>
                </a:lnTo>
                <a:lnTo>
                  <a:pt x="2204475" y="703566"/>
                </a:lnTo>
                <a:lnTo>
                  <a:pt x="2073174" y="720895"/>
                </a:lnTo>
                <a:lnTo>
                  <a:pt x="1934962" y="731293"/>
                </a:lnTo>
                <a:lnTo>
                  <a:pt x="1793295" y="741691"/>
                </a:lnTo>
                <a:lnTo>
                  <a:pt x="1644718" y="745156"/>
                </a:lnTo>
                <a:lnTo>
                  <a:pt x="1492685" y="748622"/>
                </a:lnTo>
                <a:lnTo>
                  <a:pt x="1340652" y="745156"/>
                </a:lnTo>
                <a:lnTo>
                  <a:pt x="1192075" y="741691"/>
                </a:lnTo>
                <a:lnTo>
                  <a:pt x="1050408" y="731293"/>
                </a:lnTo>
                <a:lnTo>
                  <a:pt x="912197" y="720895"/>
                </a:lnTo>
                <a:lnTo>
                  <a:pt x="780896" y="703566"/>
                </a:lnTo>
                <a:lnTo>
                  <a:pt x="656505" y="686237"/>
                </a:lnTo>
                <a:lnTo>
                  <a:pt x="542481" y="661976"/>
                </a:lnTo>
                <a:lnTo>
                  <a:pt x="438822" y="637715"/>
                </a:lnTo>
                <a:lnTo>
                  <a:pt x="342074" y="613454"/>
                </a:lnTo>
                <a:lnTo>
                  <a:pt x="255692" y="582262"/>
                </a:lnTo>
                <a:lnTo>
                  <a:pt x="179675" y="551069"/>
                </a:lnTo>
                <a:lnTo>
                  <a:pt x="117480" y="519877"/>
                </a:lnTo>
                <a:lnTo>
                  <a:pt x="89838" y="502547"/>
                </a:lnTo>
                <a:lnTo>
                  <a:pt x="65651" y="485218"/>
                </a:lnTo>
                <a:lnTo>
                  <a:pt x="48374" y="467889"/>
                </a:lnTo>
                <a:lnTo>
                  <a:pt x="31098" y="450560"/>
                </a:lnTo>
                <a:lnTo>
                  <a:pt x="17277" y="429765"/>
                </a:lnTo>
                <a:lnTo>
                  <a:pt x="6911" y="412435"/>
                </a:lnTo>
                <a:lnTo>
                  <a:pt x="3455" y="395106"/>
                </a:lnTo>
                <a:lnTo>
                  <a:pt x="0" y="374311"/>
                </a:lnTo>
                <a:lnTo>
                  <a:pt x="3455" y="353516"/>
                </a:lnTo>
                <a:lnTo>
                  <a:pt x="6911" y="336187"/>
                </a:lnTo>
                <a:lnTo>
                  <a:pt x="17277" y="318858"/>
                </a:lnTo>
                <a:lnTo>
                  <a:pt x="31098" y="298063"/>
                </a:lnTo>
                <a:lnTo>
                  <a:pt x="48374" y="280733"/>
                </a:lnTo>
                <a:lnTo>
                  <a:pt x="65651" y="263404"/>
                </a:lnTo>
                <a:lnTo>
                  <a:pt x="89838" y="246075"/>
                </a:lnTo>
                <a:lnTo>
                  <a:pt x="117480" y="228746"/>
                </a:lnTo>
                <a:lnTo>
                  <a:pt x="179675" y="197553"/>
                </a:lnTo>
                <a:lnTo>
                  <a:pt x="255692" y="166361"/>
                </a:lnTo>
                <a:lnTo>
                  <a:pt x="342074" y="135168"/>
                </a:lnTo>
                <a:lnTo>
                  <a:pt x="438822" y="110907"/>
                </a:lnTo>
                <a:lnTo>
                  <a:pt x="542481" y="86646"/>
                </a:lnTo>
                <a:lnTo>
                  <a:pt x="656505" y="62385"/>
                </a:lnTo>
                <a:lnTo>
                  <a:pt x="780896" y="45056"/>
                </a:lnTo>
                <a:lnTo>
                  <a:pt x="912197" y="27727"/>
                </a:lnTo>
                <a:lnTo>
                  <a:pt x="1050408" y="17329"/>
                </a:lnTo>
                <a:lnTo>
                  <a:pt x="1192075" y="6932"/>
                </a:lnTo>
                <a:lnTo>
                  <a:pt x="1340652" y="3466"/>
                </a:lnTo>
                <a:close/>
              </a:path>
            </a:pathLst>
          </a:custGeom>
          <a:gradFill flip="none" rotWithShape="1">
            <a:gsLst>
              <a:gs pos="0">
                <a:schemeClr val="accent1">
                  <a:lumMod val="100000"/>
                </a:schemeClr>
              </a:gs>
              <a:gs pos="100000">
                <a:schemeClr val="accent1">
                  <a:lumMod val="60000"/>
                </a:schemeClr>
              </a:gs>
            </a:gsLst>
            <a:path path="circle">
              <a:fillToRect r="100000" b="100000"/>
            </a:path>
            <a:tileRect l="-100000" t="-100000"/>
          </a:gradFill>
          <a:ln w="6350">
            <a:gradFill>
              <a:gsLst>
                <a:gs pos="0">
                  <a:schemeClr val="accent1">
                    <a:alpha val="70000"/>
                    <a:lumMod val="0"/>
                    <a:lumOff val="100000"/>
                  </a:schemeClr>
                </a:gs>
                <a:gs pos="100000">
                  <a:schemeClr val="accent1">
                    <a:alpha val="70000"/>
                    <a:lumMod val="0"/>
                    <a:lumOff val="100000"/>
                  </a:schemeClr>
                </a:gs>
              </a:gsLst>
              <a:lin ang="5400000" scaled="1"/>
            </a:grad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solidFill>
                <a:srgbClr val="FFFFFF"/>
              </a:solidFill>
              <a:latin typeface="Arial"/>
            </a:endParaRPr>
          </a:p>
        </p:txBody>
      </p:sp>
      <p:sp>
        <p:nvSpPr>
          <p:cNvPr id="28" name="任意多边形: 形状 27">
            <a:extLst>
              <a:ext uri="{FF2B5EF4-FFF2-40B4-BE49-F238E27FC236}">
                <a16:creationId xmlns:a16="http://schemas.microsoft.com/office/drawing/2014/main" id="{7DBE5DEB-58AE-137E-D72D-E10CD3A125C0}"/>
              </a:ext>
            </a:extLst>
          </p:cNvPr>
          <p:cNvSpPr>
            <a:spLocks/>
          </p:cNvSpPr>
          <p:nvPr/>
        </p:nvSpPr>
        <p:spPr bwMode="auto">
          <a:xfrm>
            <a:off x="4749962" y="2386910"/>
            <a:ext cx="2692079" cy="1487954"/>
          </a:xfrm>
          <a:custGeom>
            <a:avLst/>
            <a:gdLst>
              <a:gd name="connsiteX0" fmla="*/ 1255681 w 2692079"/>
              <a:gd name="connsiteY0" fmla="*/ 0 h 1487954"/>
              <a:gd name="connsiteX1" fmla="*/ 1346040 w 2692079"/>
              <a:gd name="connsiteY1" fmla="*/ 0 h 1487954"/>
              <a:gd name="connsiteX2" fmla="*/ 1436399 w 2692079"/>
              <a:gd name="connsiteY2" fmla="*/ 0 h 1487954"/>
              <a:gd name="connsiteX3" fmla="*/ 1526758 w 2692079"/>
              <a:gd name="connsiteY3" fmla="*/ 3180 h 1487954"/>
              <a:gd name="connsiteX4" fmla="*/ 1614001 w 2692079"/>
              <a:gd name="connsiteY4" fmla="*/ 9538 h 1487954"/>
              <a:gd name="connsiteX5" fmla="*/ 1695013 w 2692079"/>
              <a:gd name="connsiteY5" fmla="*/ 19076 h 1487954"/>
              <a:gd name="connsiteX6" fmla="*/ 1772909 w 2692079"/>
              <a:gd name="connsiteY6" fmla="*/ 28615 h 1487954"/>
              <a:gd name="connsiteX7" fmla="*/ 1847689 w 2692079"/>
              <a:gd name="connsiteY7" fmla="*/ 38153 h 1487954"/>
              <a:gd name="connsiteX8" fmla="*/ 1916237 w 2692079"/>
              <a:gd name="connsiteY8" fmla="*/ 50870 h 1487954"/>
              <a:gd name="connsiteX9" fmla="*/ 1981669 w 2692079"/>
              <a:gd name="connsiteY9" fmla="*/ 66767 h 1487954"/>
              <a:gd name="connsiteX10" fmla="*/ 2037754 w 2692079"/>
              <a:gd name="connsiteY10" fmla="*/ 82664 h 1487954"/>
              <a:gd name="connsiteX11" fmla="*/ 2090724 w 2692079"/>
              <a:gd name="connsiteY11" fmla="*/ 101741 h 1487954"/>
              <a:gd name="connsiteX12" fmla="*/ 2134345 w 2692079"/>
              <a:gd name="connsiteY12" fmla="*/ 120817 h 1487954"/>
              <a:gd name="connsiteX13" fmla="*/ 2171735 w 2692079"/>
              <a:gd name="connsiteY13" fmla="*/ 139893 h 1487954"/>
              <a:gd name="connsiteX14" fmla="*/ 2202893 w 2692079"/>
              <a:gd name="connsiteY14" fmla="*/ 162149 h 1487954"/>
              <a:gd name="connsiteX15" fmla="*/ 2224704 w 2692079"/>
              <a:gd name="connsiteY15" fmla="*/ 181225 h 1487954"/>
              <a:gd name="connsiteX16" fmla="*/ 2234052 w 2692079"/>
              <a:gd name="connsiteY16" fmla="*/ 193943 h 1487954"/>
              <a:gd name="connsiteX17" fmla="*/ 2240283 w 2692079"/>
              <a:gd name="connsiteY17" fmla="*/ 206660 h 1487954"/>
              <a:gd name="connsiteX18" fmla="*/ 2243399 w 2692079"/>
              <a:gd name="connsiteY18" fmla="*/ 216199 h 1487954"/>
              <a:gd name="connsiteX19" fmla="*/ 2243399 w 2692079"/>
              <a:gd name="connsiteY19" fmla="*/ 228916 h 1487954"/>
              <a:gd name="connsiteX20" fmla="*/ 2692079 w 2692079"/>
              <a:gd name="connsiteY20" fmla="*/ 1144580 h 1487954"/>
              <a:gd name="connsiteX21" fmla="*/ 2688963 w 2692079"/>
              <a:gd name="connsiteY21" fmla="*/ 1163657 h 1487954"/>
              <a:gd name="connsiteX22" fmla="*/ 2685847 w 2692079"/>
              <a:gd name="connsiteY22" fmla="*/ 1179553 h 1487954"/>
              <a:gd name="connsiteX23" fmla="*/ 2676500 w 2692079"/>
              <a:gd name="connsiteY23" fmla="*/ 1195450 h 1487954"/>
              <a:gd name="connsiteX24" fmla="*/ 2664037 w 2692079"/>
              <a:gd name="connsiteY24" fmla="*/ 1214527 h 1487954"/>
              <a:gd name="connsiteX25" fmla="*/ 2648457 w 2692079"/>
              <a:gd name="connsiteY25" fmla="*/ 1230424 h 1487954"/>
              <a:gd name="connsiteX26" fmla="*/ 2632878 w 2692079"/>
              <a:gd name="connsiteY26" fmla="*/ 1246321 h 1487954"/>
              <a:gd name="connsiteX27" fmla="*/ 2611067 w 2692079"/>
              <a:gd name="connsiteY27" fmla="*/ 1262218 h 1487954"/>
              <a:gd name="connsiteX28" fmla="*/ 2586141 w 2692079"/>
              <a:gd name="connsiteY28" fmla="*/ 1278115 h 1487954"/>
              <a:gd name="connsiteX29" fmla="*/ 2530056 w 2692079"/>
              <a:gd name="connsiteY29" fmla="*/ 1306729 h 1487954"/>
              <a:gd name="connsiteX30" fmla="*/ 2461508 w 2692079"/>
              <a:gd name="connsiteY30" fmla="*/ 1335344 h 1487954"/>
              <a:gd name="connsiteX31" fmla="*/ 2383612 w 2692079"/>
              <a:gd name="connsiteY31" fmla="*/ 1363958 h 1487954"/>
              <a:gd name="connsiteX32" fmla="*/ 2296368 w 2692079"/>
              <a:gd name="connsiteY32" fmla="*/ 1386214 h 1487954"/>
              <a:gd name="connsiteX33" fmla="*/ 2202893 w 2692079"/>
              <a:gd name="connsiteY33" fmla="*/ 1408469 h 1487954"/>
              <a:gd name="connsiteX34" fmla="*/ 2100071 w 2692079"/>
              <a:gd name="connsiteY34" fmla="*/ 1430725 h 1487954"/>
              <a:gd name="connsiteX35" fmla="*/ 1987901 w 2692079"/>
              <a:gd name="connsiteY35" fmla="*/ 1446622 h 1487954"/>
              <a:gd name="connsiteX36" fmla="*/ 1869499 w 2692079"/>
              <a:gd name="connsiteY36" fmla="*/ 1462519 h 1487954"/>
              <a:gd name="connsiteX37" fmla="*/ 1744866 w 2692079"/>
              <a:gd name="connsiteY37" fmla="*/ 1472057 h 1487954"/>
              <a:gd name="connsiteX38" fmla="*/ 1617117 w 2692079"/>
              <a:gd name="connsiteY38" fmla="*/ 1481595 h 1487954"/>
              <a:gd name="connsiteX39" fmla="*/ 1483136 w 2692079"/>
              <a:gd name="connsiteY39" fmla="*/ 1484775 h 1487954"/>
              <a:gd name="connsiteX40" fmla="*/ 1346040 w 2692079"/>
              <a:gd name="connsiteY40" fmla="*/ 1487954 h 1487954"/>
              <a:gd name="connsiteX41" fmla="*/ 1208943 w 2692079"/>
              <a:gd name="connsiteY41" fmla="*/ 1484775 h 1487954"/>
              <a:gd name="connsiteX42" fmla="*/ 1074962 w 2692079"/>
              <a:gd name="connsiteY42" fmla="*/ 1481595 h 1487954"/>
              <a:gd name="connsiteX43" fmla="*/ 947213 w 2692079"/>
              <a:gd name="connsiteY43" fmla="*/ 1472057 h 1487954"/>
              <a:gd name="connsiteX44" fmla="*/ 822580 w 2692079"/>
              <a:gd name="connsiteY44" fmla="*/ 1462519 h 1487954"/>
              <a:gd name="connsiteX45" fmla="*/ 704178 w 2692079"/>
              <a:gd name="connsiteY45" fmla="*/ 1446622 h 1487954"/>
              <a:gd name="connsiteX46" fmla="*/ 592008 w 2692079"/>
              <a:gd name="connsiteY46" fmla="*/ 1430725 h 1487954"/>
              <a:gd name="connsiteX47" fmla="*/ 489186 w 2692079"/>
              <a:gd name="connsiteY47" fmla="*/ 1408469 h 1487954"/>
              <a:gd name="connsiteX48" fmla="*/ 395711 w 2692079"/>
              <a:gd name="connsiteY48" fmla="*/ 1386214 h 1487954"/>
              <a:gd name="connsiteX49" fmla="*/ 308468 w 2692079"/>
              <a:gd name="connsiteY49" fmla="*/ 1363958 h 1487954"/>
              <a:gd name="connsiteX50" fmla="*/ 230572 w 2692079"/>
              <a:gd name="connsiteY50" fmla="*/ 1335344 h 1487954"/>
              <a:gd name="connsiteX51" fmla="*/ 162023 w 2692079"/>
              <a:gd name="connsiteY51" fmla="*/ 1306729 h 1487954"/>
              <a:gd name="connsiteX52" fmla="*/ 105938 w 2692079"/>
              <a:gd name="connsiteY52" fmla="*/ 1278115 h 1487954"/>
              <a:gd name="connsiteX53" fmla="*/ 81012 w 2692079"/>
              <a:gd name="connsiteY53" fmla="*/ 1262218 h 1487954"/>
              <a:gd name="connsiteX54" fmla="*/ 59201 w 2692079"/>
              <a:gd name="connsiteY54" fmla="*/ 1246321 h 1487954"/>
              <a:gd name="connsiteX55" fmla="*/ 43622 w 2692079"/>
              <a:gd name="connsiteY55" fmla="*/ 1230424 h 1487954"/>
              <a:gd name="connsiteX56" fmla="*/ 28043 w 2692079"/>
              <a:gd name="connsiteY56" fmla="*/ 1214527 h 1487954"/>
              <a:gd name="connsiteX57" fmla="*/ 15579 w 2692079"/>
              <a:gd name="connsiteY57" fmla="*/ 1195450 h 1487954"/>
              <a:gd name="connsiteX58" fmla="*/ 6232 w 2692079"/>
              <a:gd name="connsiteY58" fmla="*/ 1179553 h 1487954"/>
              <a:gd name="connsiteX59" fmla="*/ 3116 w 2692079"/>
              <a:gd name="connsiteY59" fmla="*/ 1163657 h 1487954"/>
              <a:gd name="connsiteX60" fmla="*/ 0 w 2692079"/>
              <a:gd name="connsiteY60" fmla="*/ 1144580 h 1487954"/>
              <a:gd name="connsiteX61" fmla="*/ 448680 w 2692079"/>
              <a:gd name="connsiteY61" fmla="*/ 228916 h 1487954"/>
              <a:gd name="connsiteX62" fmla="*/ 448680 w 2692079"/>
              <a:gd name="connsiteY62" fmla="*/ 216199 h 1487954"/>
              <a:gd name="connsiteX63" fmla="*/ 451796 w 2692079"/>
              <a:gd name="connsiteY63" fmla="*/ 206660 h 1487954"/>
              <a:gd name="connsiteX64" fmla="*/ 458027 w 2692079"/>
              <a:gd name="connsiteY64" fmla="*/ 193943 h 1487954"/>
              <a:gd name="connsiteX65" fmla="*/ 467375 w 2692079"/>
              <a:gd name="connsiteY65" fmla="*/ 181225 h 1487954"/>
              <a:gd name="connsiteX66" fmla="*/ 489186 w 2692079"/>
              <a:gd name="connsiteY66" fmla="*/ 162149 h 1487954"/>
              <a:gd name="connsiteX67" fmla="*/ 520344 w 2692079"/>
              <a:gd name="connsiteY67" fmla="*/ 139893 h 1487954"/>
              <a:gd name="connsiteX68" fmla="*/ 557734 w 2692079"/>
              <a:gd name="connsiteY68" fmla="*/ 120817 h 1487954"/>
              <a:gd name="connsiteX69" fmla="*/ 601356 w 2692079"/>
              <a:gd name="connsiteY69" fmla="*/ 101741 h 1487954"/>
              <a:gd name="connsiteX70" fmla="*/ 654325 w 2692079"/>
              <a:gd name="connsiteY70" fmla="*/ 82664 h 1487954"/>
              <a:gd name="connsiteX71" fmla="*/ 710410 w 2692079"/>
              <a:gd name="connsiteY71" fmla="*/ 66767 h 1487954"/>
              <a:gd name="connsiteX72" fmla="*/ 775842 w 2692079"/>
              <a:gd name="connsiteY72" fmla="*/ 50870 h 1487954"/>
              <a:gd name="connsiteX73" fmla="*/ 844391 w 2692079"/>
              <a:gd name="connsiteY73" fmla="*/ 38153 h 1487954"/>
              <a:gd name="connsiteX74" fmla="*/ 919171 w 2692079"/>
              <a:gd name="connsiteY74" fmla="*/ 28615 h 1487954"/>
              <a:gd name="connsiteX75" fmla="*/ 997066 w 2692079"/>
              <a:gd name="connsiteY75" fmla="*/ 19076 h 1487954"/>
              <a:gd name="connsiteX76" fmla="*/ 1078078 w 2692079"/>
              <a:gd name="connsiteY76" fmla="*/ 9538 h 1487954"/>
              <a:gd name="connsiteX77" fmla="*/ 1165321 w 2692079"/>
              <a:gd name="connsiteY77" fmla="*/ 3180 h 14879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2692079" h="1487954">
                <a:moveTo>
                  <a:pt x="1255681" y="0"/>
                </a:moveTo>
                <a:lnTo>
                  <a:pt x="1346040" y="0"/>
                </a:lnTo>
                <a:lnTo>
                  <a:pt x="1436399" y="0"/>
                </a:lnTo>
                <a:lnTo>
                  <a:pt x="1526758" y="3180"/>
                </a:lnTo>
                <a:lnTo>
                  <a:pt x="1614001" y="9538"/>
                </a:lnTo>
                <a:lnTo>
                  <a:pt x="1695013" y="19076"/>
                </a:lnTo>
                <a:lnTo>
                  <a:pt x="1772909" y="28615"/>
                </a:lnTo>
                <a:lnTo>
                  <a:pt x="1847689" y="38153"/>
                </a:lnTo>
                <a:lnTo>
                  <a:pt x="1916237" y="50870"/>
                </a:lnTo>
                <a:lnTo>
                  <a:pt x="1981669" y="66767"/>
                </a:lnTo>
                <a:lnTo>
                  <a:pt x="2037754" y="82664"/>
                </a:lnTo>
                <a:lnTo>
                  <a:pt x="2090724" y="101741"/>
                </a:lnTo>
                <a:lnTo>
                  <a:pt x="2134345" y="120817"/>
                </a:lnTo>
                <a:lnTo>
                  <a:pt x="2171735" y="139893"/>
                </a:lnTo>
                <a:lnTo>
                  <a:pt x="2202893" y="162149"/>
                </a:lnTo>
                <a:lnTo>
                  <a:pt x="2224704" y="181225"/>
                </a:lnTo>
                <a:lnTo>
                  <a:pt x="2234052" y="193943"/>
                </a:lnTo>
                <a:lnTo>
                  <a:pt x="2240283" y="206660"/>
                </a:lnTo>
                <a:lnTo>
                  <a:pt x="2243399" y="216199"/>
                </a:lnTo>
                <a:lnTo>
                  <a:pt x="2243399" y="228916"/>
                </a:lnTo>
                <a:lnTo>
                  <a:pt x="2692079" y="1144580"/>
                </a:lnTo>
                <a:lnTo>
                  <a:pt x="2688963" y="1163657"/>
                </a:lnTo>
                <a:lnTo>
                  <a:pt x="2685847" y="1179553"/>
                </a:lnTo>
                <a:lnTo>
                  <a:pt x="2676500" y="1195450"/>
                </a:lnTo>
                <a:lnTo>
                  <a:pt x="2664037" y="1214527"/>
                </a:lnTo>
                <a:lnTo>
                  <a:pt x="2648457" y="1230424"/>
                </a:lnTo>
                <a:lnTo>
                  <a:pt x="2632878" y="1246321"/>
                </a:lnTo>
                <a:lnTo>
                  <a:pt x="2611067" y="1262218"/>
                </a:lnTo>
                <a:lnTo>
                  <a:pt x="2586141" y="1278115"/>
                </a:lnTo>
                <a:lnTo>
                  <a:pt x="2530056" y="1306729"/>
                </a:lnTo>
                <a:lnTo>
                  <a:pt x="2461508" y="1335344"/>
                </a:lnTo>
                <a:lnTo>
                  <a:pt x="2383612" y="1363958"/>
                </a:lnTo>
                <a:lnTo>
                  <a:pt x="2296368" y="1386214"/>
                </a:lnTo>
                <a:lnTo>
                  <a:pt x="2202893" y="1408469"/>
                </a:lnTo>
                <a:lnTo>
                  <a:pt x="2100071" y="1430725"/>
                </a:lnTo>
                <a:lnTo>
                  <a:pt x="1987901" y="1446622"/>
                </a:lnTo>
                <a:lnTo>
                  <a:pt x="1869499" y="1462519"/>
                </a:lnTo>
                <a:lnTo>
                  <a:pt x="1744866" y="1472057"/>
                </a:lnTo>
                <a:lnTo>
                  <a:pt x="1617117" y="1481595"/>
                </a:lnTo>
                <a:lnTo>
                  <a:pt x="1483136" y="1484775"/>
                </a:lnTo>
                <a:lnTo>
                  <a:pt x="1346040" y="1487954"/>
                </a:lnTo>
                <a:lnTo>
                  <a:pt x="1208943" y="1484775"/>
                </a:lnTo>
                <a:lnTo>
                  <a:pt x="1074962" y="1481595"/>
                </a:lnTo>
                <a:lnTo>
                  <a:pt x="947213" y="1472057"/>
                </a:lnTo>
                <a:lnTo>
                  <a:pt x="822580" y="1462519"/>
                </a:lnTo>
                <a:lnTo>
                  <a:pt x="704178" y="1446622"/>
                </a:lnTo>
                <a:lnTo>
                  <a:pt x="592008" y="1430725"/>
                </a:lnTo>
                <a:lnTo>
                  <a:pt x="489186" y="1408469"/>
                </a:lnTo>
                <a:lnTo>
                  <a:pt x="395711" y="1386214"/>
                </a:lnTo>
                <a:lnTo>
                  <a:pt x="308468" y="1363958"/>
                </a:lnTo>
                <a:lnTo>
                  <a:pt x="230572" y="1335344"/>
                </a:lnTo>
                <a:lnTo>
                  <a:pt x="162023" y="1306729"/>
                </a:lnTo>
                <a:lnTo>
                  <a:pt x="105938" y="1278115"/>
                </a:lnTo>
                <a:lnTo>
                  <a:pt x="81012" y="1262218"/>
                </a:lnTo>
                <a:lnTo>
                  <a:pt x="59201" y="1246321"/>
                </a:lnTo>
                <a:lnTo>
                  <a:pt x="43622" y="1230424"/>
                </a:lnTo>
                <a:lnTo>
                  <a:pt x="28043" y="1214527"/>
                </a:lnTo>
                <a:lnTo>
                  <a:pt x="15579" y="1195450"/>
                </a:lnTo>
                <a:lnTo>
                  <a:pt x="6232" y="1179553"/>
                </a:lnTo>
                <a:lnTo>
                  <a:pt x="3116" y="1163657"/>
                </a:lnTo>
                <a:lnTo>
                  <a:pt x="0" y="1144580"/>
                </a:lnTo>
                <a:lnTo>
                  <a:pt x="448680" y="228916"/>
                </a:lnTo>
                <a:lnTo>
                  <a:pt x="448680" y="216199"/>
                </a:lnTo>
                <a:lnTo>
                  <a:pt x="451796" y="206660"/>
                </a:lnTo>
                <a:lnTo>
                  <a:pt x="458027" y="193943"/>
                </a:lnTo>
                <a:lnTo>
                  <a:pt x="467375" y="181225"/>
                </a:lnTo>
                <a:lnTo>
                  <a:pt x="489186" y="162149"/>
                </a:lnTo>
                <a:lnTo>
                  <a:pt x="520344" y="139893"/>
                </a:lnTo>
                <a:lnTo>
                  <a:pt x="557734" y="120817"/>
                </a:lnTo>
                <a:lnTo>
                  <a:pt x="601356" y="101741"/>
                </a:lnTo>
                <a:lnTo>
                  <a:pt x="654325" y="82664"/>
                </a:lnTo>
                <a:lnTo>
                  <a:pt x="710410" y="66767"/>
                </a:lnTo>
                <a:lnTo>
                  <a:pt x="775842" y="50870"/>
                </a:lnTo>
                <a:lnTo>
                  <a:pt x="844391" y="38153"/>
                </a:lnTo>
                <a:lnTo>
                  <a:pt x="919171" y="28615"/>
                </a:lnTo>
                <a:lnTo>
                  <a:pt x="997066" y="19076"/>
                </a:lnTo>
                <a:lnTo>
                  <a:pt x="1078078" y="9538"/>
                </a:lnTo>
                <a:lnTo>
                  <a:pt x="1165321" y="3180"/>
                </a:lnTo>
                <a:close/>
              </a:path>
            </a:pathLst>
          </a:custGeom>
          <a:gradFill flip="none" rotWithShape="1">
            <a:gsLst>
              <a:gs pos="0">
                <a:schemeClr val="accent1">
                  <a:lumMod val="55000"/>
                  <a:lumOff val="45000"/>
                </a:schemeClr>
              </a:gs>
              <a:gs pos="100000">
                <a:schemeClr val="accent1">
                  <a:lumMod val="90000"/>
                </a:schemeClr>
              </a:gs>
            </a:gsLst>
            <a:path path="circle">
              <a:fillToRect r="100000" b="100000"/>
            </a:path>
            <a:tileRect l="-100000" t="-100000"/>
          </a:gradFill>
          <a:ln w="6350">
            <a:gradFill>
              <a:gsLst>
                <a:gs pos="0">
                  <a:schemeClr val="accent1">
                    <a:alpha val="70000"/>
                    <a:lumMod val="0"/>
                    <a:lumOff val="100000"/>
                  </a:schemeClr>
                </a:gs>
                <a:gs pos="100000">
                  <a:schemeClr val="accent1">
                    <a:alpha val="70000"/>
                    <a:lumMod val="0"/>
                    <a:lumOff val="10000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ko-KR" altLang="en-US">
              <a:solidFill>
                <a:srgbClr val="FFFFFF"/>
              </a:solidFill>
              <a:latin typeface="Arial"/>
            </a:endParaRPr>
          </a:p>
        </p:txBody>
      </p:sp>
      <p:sp>
        <p:nvSpPr>
          <p:cNvPr id="30" name="任意多边形: 形状 29">
            <a:extLst>
              <a:ext uri="{FF2B5EF4-FFF2-40B4-BE49-F238E27FC236}">
                <a16:creationId xmlns:a16="http://schemas.microsoft.com/office/drawing/2014/main" id="{4D6800AE-C7D5-850A-354C-E0BBEEB68A0F}"/>
              </a:ext>
            </a:extLst>
          </p:cNvPr>
          <p:cNvSpPr>
            <a:spLocks/>
          </p:cNvSpPr>
          <p:nvPr/>
        </p:nvSpPr>
        <p:spPr bwMode="auto">
          <a:xfrm>
            <a:off x="5198642" y="2386910"/>
            <a:ext cx="1794719" cy="457832"/>
          </a:xfrm>
          <a:custGeom>
            <a:avLst/>
            <a:gdLst>
              <a:gd name="connsiteX0" fmla="*/ 807001 w 1794719"/>
              <a:gd name="connsiteY0" fmla="*/ 0 h 457832"/>
              <a:gd name="connsiteX1" fmla="*/ 897360 w 1794719"/>
              <a:gd name="connsiteY1" fmla="*/ 0 h 457832"/>
              <a:gd name="connsiteX2" fmla="*/ 987719 w 1794719"/>
              <a:gd name="connsiteY2" fmla="*/ 0 h 457832"/>
              <a:gd name="connsiteX3" fmla="*/ 1078078 w 1794719"/>
              <a:gd name="connsiteY3" fmla="*/ 3180 h 457832"/>
              <a:gd name="connsiteX4" fmla="*/ 1165321 w 1794719"/>
              <a:gd name="connsiteY4" fmla="*/ 9538 h 457832"/>
              <a:gd name="connsiteX5" fmla="*/ 1246333 w 1794719"/>
              <a:gd name="connsiteY5" fmla="*/ 19076 h 457832"/>
              <a:gd name="connsiteX6" fmla="*/ 1324229 w 1794719"/>
              <a:gd name="connsiteY6" fmla="*/ 28615 h 457832"/>
              <a:gd name="connsiteX7" fmla="*/ 1399009 w 1794719"/>
              <a:gd name="connsiteY7" fmla="*/ 38153 h 457832"/>
              <a:gd name="connsiteX8" fmla="*/ 1467557 w 1794719"/>
              <a:gd name="connsiteY8" fmla="*/ 50870 h 457832"/>
              <a:gd name="connsiteX9" fmla="*/ 1532989 w 1794719"/>
              <a:gd name="connsiteY9" fmla="*/ 66767 h 457832"/>
              <a:gd name="connsiteX10" fmla="*/ 1589074 w 1794719"/>
              <a:gd name="connsiteY10" fmla="*/ 82664 h 457832"/>
              <a:gd name="connsiteX11" fmla="*/ 1642043 w 1794719"/>
              <a:gd name="connsiteY11" fmla="*/ 101741 h 457832"/>
              <a:gd name="connsiteX12" fmla="*/ 1685665 w 1794719"/>
              <a:gd name="connsiteY12" fmla="*/ 120817 h 457832"/>
              <a:gd name="connsiteX13" fmla="*/ 1723055 w 1794719"/>
              <a:gd name="connsiteY13" fmla="*/ 139893 h 457832"/>
              <a:gd name="connsiteX14" fmla="*/ 1754213 w 1794719"/>
              <a:gd name="connsiteY14" fmla="*/ 162149 h 457832"/>
              <a:gd name="connsiteX15" fmla="*/ 1776024 w 1794719"/>
              <a:gd name="connsiteY15" fmla="*/ 181225 h 457832"/>
              <a:gd name="connsiteX16" fmla="*/ 1785372 w 1794719"/>
              <a:gd name="connsiteY16" fmla="*/ 193943 h 457832"/>
              <a:gd name="connsiteX17" fmla="*/ 1791603 w 1794719"/>
              <a:gd name="connsiteY17" fmla="*/ 206660 h 457832"/>
              <a:gd name="connsiteX18" fmla="*/ 1794719 w 1794719"/>
              <a:gd name="connsiteY18" fmla="*/ 216199 h 457832"/>
              <a:gd name="connsiteX19" fmla="*/ 1794719 w 1794719"/>
              <a:gd name="connsiteY19" fmla="*/ 228916 h 457832"/>
              <a:gd name="connsiteX20" fmla="*/ 1794719 w 1794719"/>
              <a:gd name="connsiteY20" fmla="*/ 241634 h 457832"/>
              <a:gd name="connsiteX21" fmla="*/ 1791603 w 1794719"/>
              <a:gd name="connsiteY21" fmla="*/ 251172 h 457832"/>
              <a:gd name="connsiteX22" fmla="*/ 1785372 w 1794719"/>
              <a:gd name="connsiteY22" fmla="*/ 263889 h 457832"/>
              <a:gd name="connsiteX23" fmla="*/ 1776024 w 1794719"/>
              <a:gd name="connsiteY23" fmla="*/ 276607 h 457832"/>
              <a:gd name="connsiteX24" fmla="*/ 1754213 w 1794719"/>
              <a:gd name="connsiteY24" fmla="*/ 295683 h 457832"/>
              <a:gd name="connsiteX25" fmla="*/ 1723055 w 1794719"/>
              <a:gd name="connsiteY25" fmla="*/ 317939 h 457832"/>
              <a:gd name="connsiteX26" fmla="*/ 1685665 w 1794719"/>
              <a:gd name="connsiteY26" fmla="*/ 337015 h 457832"/>
              <a:gd name="connsiteX27" fmla="*/ 1642043 w 1794719"/>
              <a:gd name="connsiteY27" fmla="*/ 356092 h 457832"/>
              <a:gd name="connsiteX28" fmla="*/ 1589074 w 1794719"/>
              <a:gd name="connsiteY28" fmla="*/ 375168 h 457832"/>
              <a:gd name="connsiteX29" fmla="*/ 1532989 w 1794719"/>
              <a:gd name="connsiteY29" fmla="*/ 391065 h 457832"/>
              <a:gd name="connsiteX30" fmla="*/ 1467557 w 1794719"/>
              <a:gd name="connsiteY30" fmla="*/ 406962 h 457832"/>
              <a:gd name="connsiteX31" fmla="*/ 1399009 w 1794719"/>
              <a:gd name="connsiteY31" fmla="*/ 419679 h 457832"/>
              <a:gd name="connsiteX32" fmla="*/ 1324229 w 1794719"/>
              <a:gd name="connsiteY32" fmla="*/ 429218 h 457832"/>
              <a:gd name="connsiteX33" fmla="*/ 1246333 w 1794719"/>
              <a:gd name="connsiteY33" fmla="*/ 438756 h 457832"/>
              <a:gd name="connsiteX34" fmla="*/ 1165321 w 1794719"/>
              <a:gd name="connsiteY34" fmla="*/ 448294 h 457832"/>
              <a:gd name="connsiteX35" fmla="*/ 1078078 w 1794719"/>
              <a:gd name="connsiteY35" fmla="*/ 454653 h 457832"/>
              <a:gd name="connsiteX36" fmla="*/ 987719 w 1794719"/>
              <a:gd name="connsiteY36" fmla="*/ 457832 h 457832"/>
              <a:gd name="connsiteX37" fmla="*/ 897360 w 1794719"/>
              <a:gd name="connsiteY37" fmla="*/ 457832 h 457832"/>
              <a:gd name="connsiteX38" fmla="*/ 807001 w 1794719"/>
              <a:gd name="connsiteY38" fmla="*/ 457832 h 457832"/>
              <a:gd name="connsiteX39" fmla="*/ 716641 w 1794719"/>
              <a:gd name="connsiteY39" fmla="*/ 454653 h 457832"/>
              <a:gd name="connsiteX40" fmla="*/ 629398 w 1794719"/>
              <a:gd name="connsiteY40" fmla="*/ 448294 h 457832"/>
              <a:gd name="connsiteX41" fmla="*/ 548387 w 1794719"/>
              <a:gd name="connsiteY41" fmla="*/ 438756 h 457832"/>
              <a:gd name="connsiteX42" fmla="*/ 470491 w 1794719"/>
              <a:gd name="connsiteY42" fmla="*/ 429218 h 457832"/>
              <a:gd name="connsiteX43" fmla="*/ 395711 w 1794719"/>
              <a:gd name="connsiteY43" fmla="*/ 419679 h 457832"/>
              <a:gd name="connsiteX44" fmla="*/ 327162 w 1794719"/>
              <a:gd name="connsiteY44" fmla="*/ 406962 h 457832"/>
              <a:gd name="connsiteX45" fmla="*/ 261730 w 1794719"/>
              <a:gd name="connsiteY45" fmla="*/ 391065 h 457832"/>
              <a:gd name="connsiteX46" fmla="*/ 205645 w 1794719"/>
              <a:gd name="connsiteY46" fmla="*/ 375168 h 457832"/>
              <a:gd name="connsiteX47" fmla="*/ 152676 w 1794719"/>
              <a:gd name="connsiteY47" fmla="*/ 356092 h 457832"/>
              <a:gd name="connsiteX48" fmla="*/ 109054 w 1794719"/>
              <a:gd name="connsiteY48" fmla="*/ 337015 h 457832"/>
              <a:gd name="connsiteX49" fmla="*/ 71664 w 1794719"/>
              <a:gd name="connsiteY49" fmla="*/ 317939 h 457832"/>
              <a:gd name="connsiteX50" fmla="*/ 40506 w 1794719"/>
              <a:gd name="connsiteY50" fmla="*/ 295683 h 457832"/>
              <a:gd name="connsiteX51" fmla="*/ 18695 w 1794719"/>
              <a:gd name="connsiteY51" fmla="*/ 276607 h 457832"/>
              <a:gd name="connsiteX52" fmla="*/ 9348 w 1794719"/>
              <a:gd name="connsiteY52" fmla="*/ 263889 h 457832"/>
              <a:gd name="connsiteX53" fmla="*/ 3116 w 1794719"/>
              <a:gd name="connsiteY53" fmla="*/ 251172 h 457832"/>
              <a:gd name="connsiteX54" fmla="*/ 0 w 1794719"/>
              <a:gd name="connsiteY54" fmla="*/ 241634 h 457832"/>
              <a:gd name="connsiteX55" fmla="*/ 0 w 1794719"/>
              <a:gd name="connsiteY55" fmla="*/ 228916 h 457832"/>
              <a:gd name="connsiteX56" fmla="*/ 0 w 1794719"/>
              <a:gd name="connsiteY56" fmla="*/ 216199 h 457832"/>
              <a:gd name="connsiteX57" fmla="*/ 3116 w 1794719"/>
              <a:gd name="connsiteY57" fmla="*/ 206660 h 457832"/>
              <a:gd name="connsiteX58" fmla="*/ 9348 w 1794719"/>
              <a:gd name="connsiteY58" fmla="*/ 193943 h 457832"/>
              <a:gd name="connsiteX59" fmla="*/ 18695 w 1794719"/>
              <a:gd name="connsiteY59" fmla="*/ 181225 h 457832"/>
              <a:gd name="connsiteX60" fmla="*/ 40506 w 1794719"/>
              <a:gd name="connsiteY60" fmla="*/ 162149 h 457832"/>
              <a:gd name="connsiteX61" fmla="*/ 71664 w 1794719"/>
              <a:gd name="connsiteY61" fmla="*/ 139893 h 457832"/>
              <a:gd name="connsiteX62" fmla="*/ 109054 w 1794719"/>
              <a:gd name="connsiteY62" fmla="*/ 120817 h 457832"/>
              <a:gd name="connsiteX63" fmla="*/ 152676 w 1794719"/>
              <a:gd name="connsiteY63" fmla="*/ 101741 h 457832"/>
              <a:gd name="connsiteX64" fmla="*/ 205645 w 1794719"/>
              <a:gd name="connsiteY64" fmla="*/ 82664 h 457832"/>
              <a:gd name="connsiteX65" fmla="*/ 261730 w 1794719"/>
              <a:gd name="connsiteY65" fmla="*/ 66767 h 457832"/>
              <a:gd name="connsiteX66" fmla="*/ 327162 w 1794719"/>
              <a:gd name="connsiteY66" fmla="*/ 50870 h 457832"/>
              <a:gd name="connsiteX67" fmla="*/ 395711 w 1794719"/>
              <a:gd name="connsiteY67" fmla="*/ 38153 h 457832"/>
              <a:gd name="connsiteX68" fmla="*/ 470491 w 1794719"/>
              <a:gd name="connsiteY68" fmla="*/ 28615 h 457832"/>
              <a:gd name="connsiteX69" fmla="*/ 548387 w 1794719"/>
              <a:gd name="connsiteY69" fmla="*/ 19076 h 457832"/>
              <a:gd name="connsiteX70" fmla="*/ 629398 w 1794719"/>
              <a:gd name="connsiteY70" fmla="*/ 9538 h 457832"/>
              <a:gd name="connsiteX71" fmla="*/ 716641 w 1794719"/>
              <a:gd name="connsiteY71" fmla="*/ 3180 h 457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1794719" h="457832">
                <a:moveTo>
                  <a:pt x="807001" y="0"/>
                </a:moveTo>
                <a:lnTo>
                  <a:pt x="897360" y="0"/>
                </a:lnTo>
                <a:lnTo>
                  <a:pt x="987719" y="0"/>
                </a:lnTo>
                <a:lnTo>
                  <a:pt x="1078078" y="3180"/>
                </a:lnTo>
                <a:lnTo>
                  <a:pt x="1165321" y="9538"/>
                </a:lnTo>
                <a:lnTo>
                  <a:pt x="1246333" y="19076"/>
                </a:lnTo>
                <a:lnTo>
                  <a:pt x="1324229" y="28615"/>
                </a:lnTo>
                <a:lnTo>
                  <a:pt x="1399009" y="38153"/>
                </a:lnTo>
                <a:lnTo>
                  <a:pt x="1467557" y="50870"/>
                </a:lnTo>
                <a:lnTo>
                  <a:pt x="1532989" y="66767"/>
                </a:lnTo>
                <a:lnTo>
                  <a:pt x="1589074" y="82664"/>
                </a:lnTo>
                <a:lnTo>
                  <a:pt x="1642043" y="101741"/>
                </a:lnTo>
                <a:lnTo>
                  <a:pt x="1685665" y="120817"/>
                </a:lnTo>
                <a:lnTo>
                  <a:pt x="1723055" y="139893"/>
                </a:lnTo>
                <a:lnTo>
                  <a:pt x="1754213" y="162149"/>
                </a:lnTo>
                <a:lnTo>
                  <a:pt x="1776024" y="181225"/>
                </a:lnTo>
                <a:lnTo>
                  <a:pt x="1785372" y="193943"/>
                </a:lnTo>
                <a:lnTo>
                  <a:pt x="1791603" y="206660"/>
                </a:lnTo>
                <a:lnTo>
                  <a:pt x="1794719" y="216199"/>
                </a:lnTo>
                <a:lnTo>
                  <a:pt x="1794719" y="228916"/>
                </a:lnTo>
                <a:lnTo>
                  <a:pt x="1794719" y="241634"/>
                </a:lnTo>
                <a:lnTo>
                  <a:pt x="1791603" y="251172"/>
                </a:lnTo>
                <a:lnTo>
                  <a:pt x="1785372" y="263889"/>
                </a:lnTo>
                <a:lnTo>
                  <a:pt x="1776024" y="276607"/>
                </a:lnTo>
                <a:lnTo>
                  <a:pt x="1754213" y="295683"/>
                </a:lnTo>
                <a:lnTo>
                  <a:pt x="1723055" y="317939"/>
                </a:lnTo>
                <a:lnTo>
                  <a:pt x="1685665" y="337015"/>
                </a:lnTo>
                <a:lnTo>
                  <a:pt x="1642043" y="356092"/>
                </a:lnTo>
                <a:lnTo>
                  <a:pt x="1589074" y="375168"/>
                </a:lnTo>
                <a:lnTo>
                  <a:pt x="1532989" y="391065"/>
                </a:lnTo>
                <a:lnTo>
                  <a:pt x="1467557" y="406962"/>
                </a:lnTo>
                <a:lnTo>
                  <a:pt x="1399009" y="419679"/>
                </a:lnTo>
                <a:lnTo>
                  <a:pt x="1324229" y="429218"/>
                </a:lnTo>
                <a:lnTo>
                  <a:pt x="1246333" y="438756"/>
                </a:lnTo>
                <a:lnTo>
                  <a:pt x="1165321" y="448294"/>
                </a:lnTo>
                <a:lnTo>
                  <a:pt x="1078078" y="454653"/>
                </a:lnTo>
                <a:lnTo>
                  <a:pt x="987719" y="457832"/>
                </a:lnTo>
                <a:lnTo>
                  <a:pt x="897360" y="457832"/>
                </a:lnTo>
                <a:lnTo>
                  <a:pt x="807001" y="457832"/>
                </a:lnTo>
                <a:lnTo>
                  <a:pt x="716641" y="454653"/>
                </a:lnTo>
                <a:lnTo>
                  <a:pt x="629398" y="448294"/>
                </a:lnTo>
                <a:lnTo>
                  <a:pt x="548387" y="438756"/>
                </a:lnTo>
                <a:lnTo>
                  <a:pt x="470491" y="429218"/>
                </a:lnTo>
                <a:lnTo>
                  <a:pt x="395711" y="419679"/>
                </a:lnTo>
                <a:lnTo>
                  <a:pt x="327162" y="406962"/>
                </a:lnTo>
                <a:lnTo>
                  <a:pt x="261730" y="391065"/>
                </a:lnTo>
                <a:lnTo>
                  <a:pt x="205645" y="375168"/>
                </a:lnTo>
                <a:lnTo>
                  <a:pt x="152676" y="356092"/>
                </a:lnTo>
                <a:lnTo>
                  <a:pt x="109054" y="337015"/>
                </a:lnTo>
                <a:lnTo>
                  <a:pt x="71664" y="317939"/>
                </a:lnTo>
                <a:lnTo>
                  <a:pt x="40506" y="295683"/>
                </a:lnTo>
                <a:lnTo>
                  <a:pt x="18695" y="276607"/>
                </a:lnTo>
                <a:lnTo>
                  <a:pt x="9348" y="263889"/>
                </a:lnTo>
                <a:lnTo>
                  <a:pt x="3116" y="251172"/>
                </a:lnTo>
                <a:lnTo>
                  <a:pt x="0" y="241634"/>
                </a:lnTo>
                <a:lnTo>
                  <a:pt x="0" y="228916"/>
                </a:lnTo>
                <a:lnTo>
                  <a:pt x="0" y="216199"/>
                </a:lnTo>
                <a:lnTo>
                  <a:pt x="3116" y="206660"/>
                </a:lnTo>
                <a:lnTo>
                  <a:pt x="9348" y="193943"/>
                </a:lnTo>
                <a:lnTo>
                  <a:pt x="18695" y="181225"/>
                </a:lnTo>
                <a:lnTo>
                  <a:pt x="40506" y="162149"/>
                </a:lnTo>
                <a:lnTo>
                  <a:pt x="71664" y="139893"/>
                </a:lnTo>
                <a:lnTo>
                  <a:pt x="109054" y="120817"/>
                </a:lnTo>
                <a:lnTo>
                  <a:pt x="152676" y="101741"/>
                </a:lnTo>
                <a:lnTo>
                  <a:pt x="205645" y="82664"/>
                </a:lnTo>
                <a:lnTo>
                  <a:pt x="261730" y="66767"/>
                </a:lnTo>
                <a:lnTo>
                  <a:pt x="327162" y="50870"/>
                </a:lnTo>
                <a:lnTo>
                  <a:pt x="395711" y="38153"/>
                </a:lnTo>
                <a:lnTo>
                  <a:pt x="470491" y="28615"/>
                </a:lnTo>
                <a:lnTo>
                  <a:pt x="548387" y="19076"/>
                </a:lnTo>
                <a:lnTo>
                  <a:pt x="629398" y="9538"/>
                </a:lnTo>
                <a:lnTo>
                  <a:pt x="716641" y="3180"/>
                </a:lnTo>
                <a:close/>
              </a:path>
            </a:pathLst>
          </a:custGeom>
          <a:gradFill flip="none" rotWithShape="1">
            <a:gsLst>
              <a:gs pos="0">
                <a:schemeClr val="accent1">
                  <a:lumMod val="75000"/>
                  <a:lumOff val="25000"/>
                </a:schemeClr>
              </a:gs>
              <a:gs pos="100000">
                <a:schemeClr val="accent1">
                  <a:lumMod val="80000"/>
                </a:schemeClr>
              </a:gs>
            </a:gsLst>
            <a:path path="circle">
              <a:fillToRect r="100000" b="100000"/>
            </a:path>
            <a:tileRect l="-100000" t="-100000"/>
          </a:gradFill>
          <a:ln w="6350">
            <a:gradFill>
              <a:gsLst>
                <a:gs pos="0">
                  <a:schemeClr val="accent1">
                    <a:alpha val="70000"/>
                    <a:lumMod val="0"/>
                    <a:lumOff val="100000"/>
                  </a:schemeClr>
                </a:gs>
                <a:gs pos="100000">
                  <a:schemeClr val="accent1">
                    <a:alpha val="70000"/>
                    <a:lumMod val="0"/>
                    <a:lumOff val="10000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solidFill>
                <a:srgbClr val="FFFFFF"/>
              </a:solidFill>
              <a:latin typeface="Arial"/>
            </a:endParaRPr>
          </a:p>
        </p:txBody>
      </p:sp>
      <p:sp>
        <p:nvSpPr>
          <p:cNvPr id="32" name="任意多边形: 形状 31">
            <a:extLst>
              <a:ext uri="{FF2B5EF4-FFF2-40B4-BE49-F238E27FC236}">
                <a16:creationId xmlns:a16="http://schemas.microsoft.com/office/drawing/2014/main" id="{9E65AC16-B4C4-F0F1-2062-629E7E42094F}"/>
              </a:ext>
            </a:extLst>
          </p:cNvPr>
          <p:cNvSpPr>
            <a:spLocks/>
          </p:cNvSpPr>
          <p:nvPr/>
        </p:nvSpPr>
        <p:spPr bwMode="auto">
          <a:xfrm>
            <a:off x="5321060" y="749300"/>
            <a:ext cx="1549880" cy="1795866"/>
          </a:xfrm>
          <a:custGeom>
            <a:avLst/>
            <a:gdLst>
              <a:gd name="connsiteX0" fmla="*/ 774940 w 1549880"/>
              <a:gd name="connsiteY0" fmla="*/ 0 h 1795866"/>
              <a:gd name="connsiteX1" fmla="*/ 1549880 w 1549880"/>
              <a:gd name="connsiteY1" fmla="*/ 1596326 h 1795866"/>
              <a:gd name="connsiteX2" fmla="*/ 1544499 w 1549880"/>
              <a:gd name="connsiteY2" fmla="*/ 1618497 h 1795866"/>
              <a:gd name="connsiteX3" fmla="*/ 1533736 w 1549880"/>
              <a:gd name="connsiteY3" fmla="*/ 1635125 h 1795866"/>
              <a:gd name="connsiteX4" fmla="*/ 1517591 w 1549880"/>
              <a:gd name="connsiteY4" fmla="*/ 1657296 h 1795866"/>
              <a:gd name="connsiteX5" fmla="*/ 1490683 w 1549880"/>
              <a:gd name="connsiteY5" fmla="*/ 1673925 h 1795866"/>
              <a:gd name="connsiteX6" fmla="*/ 1458394 w 1549880"/>
              <a:gd name="connsiteY6" fmla="*/ 1690553 h 1795866"/>
              <a:gd name="connsiteX7" fmla="*/ 1415342 w 1549880"/>
              <a:gd name="connsiteY7" fmla="*/ 1707181 h 1795866"/>
              <a:gd name="connsiteX8" fmla="*/ 1323856 w 1549880"/>
              <a:gd name="connsiteY8" fmla="*/ 1734895 h 1795866"/>
              <a:gd name="connsiteX9" fmla="*/ 1210844 w 1549880"/>
              <a:gd name="connsiteY9" fmla="*/ 1762609 h 1795866"/>
              <a:gd name="connsiteX10" fmla="*/ 1076306 w 1549880"/>
              <a:gd name="connsiteY10" fmla="*/ 1779238 h 1795866"/>
              <a:gd name="connsiteX11" fmla="*/ 931004 w 1549880"/>
              <a:gd name="connsiteY11" fmla="*/ 1790323 h 1795866"/>
              <a:gd name="connsiteX12" fmla="*/ 774940 w 1549880"/>
              <a:gd name="connsiteY12" fmla="*/ 1795866 h 1795866"/>
              <a:gd name="connsiteX13" fmla="*/ 618876 w 1549880"/>
              <a:gd name="connsiteY13" fmla="*/ 1790323 h 1795866"/>
              <a:gd name="connsiteX14" fmla="*/ 473575 w 1549880"/>
              <a:gd name="connsiteY14" fmla="*/ 1779238 h 1795866"/>
              <a:gd name="connsiteX15" fmla="*/ 339036 w 1549880"/>
              <a:gd name="connsiteY15" fmla="*/ 1762609 h 1795866"/>
              <a:gd name="connsiteX16" fmla="*/ 226024 w 1549880"/>
              <a:gd name="connsiteY16" fmla="*/ 1734895 h 1795866"/>
              <a:gd name="connsiteX17" fmla="*/ 134538 w 1549880"/>
              <a:gd name="connsiteY17" fmla="*/ 1707181 h 1795866"/>
              <a:gd name="connsiteX18" fmla="*/ 91486 w 1549880"/>
              <a:gd name="connsiteY18" fmla="*/ 1690553 h 1795866"/>
              <a:gd name="connsiteX19" fmla="*/ 59197 w 1549880"/>
              <a:gd name="connsiteY19" fmla="*/ 1673925 h 1795866"/>
              <a:gd name="connsiteX20" fmla="*/ 32289 w 1549880"/>
              <a:gd name="connsiteY20" fmla="*/ 1657296 h 1795866"/>
              <a:gd name="connsiteX21" fmla="*/ 16145 w 1549880"/>
              <a:gd name="connsiteY21" fmla="*/ 1635125 h 1795866"/>
              <a:gd name="connsiteX22" fmla="*/ 5382 w 1549880"/>
              <a:gd name="connsiteY22" fmla="*/ 1618497 h 1795866"/>
              <a:gd name="connsiteX23" fmla="*/ 0 w 1549880"/>
              <a:gd name="connsiteY23" fmla="*/ 1596326 h 17958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549880" h="1795866">
                <a:moveTo>
                  <a:pt x="774940" y="0"/>
                </a:moveTo>
                <a:lnTo>
                  <a:pt x="1549880" y="1596326"/>
                </a:lnTo>
                <a:lnTo>
                  <a:pt x="1544499" y="1618497"/>
                </a:lnTo>
                <a:lnTo>
                  <a:pt x="1533736" y="1635125"/>
                </a:lnTo>
                <a:lnTo>
                  <a:pt x="1517591" y="1657296"/>
                </a:lnTo>
                <a:lnTo>
                  <a:pt x="1490683" y="1673925"/>
                </a:lnTo>
                <a:lnTo>
                  <a:pt x="1458394" y="1690553"/>
                </a:lnTo>
                <a:lnTo>
                  <a:pt x="1415342" y="1707181"/>
                </a:lnTo>
                <a:lnTo>
                  <a:pt x="1323856" y="1734895"/>
                </a:lnTo>
                <a:lnTo>
                  <a:pt x="1210844" y="1762609"/>
                </a:lnTo>
                <a:lnTo>
                  <a:pt x="1076306" y="1779238"/>
                </a:lnTo>
                <a:lnTo>
                  <a:pt x="931004" y="1790323"/>
                </a:lnTo>
                <a:lnTo>
                  <a:pt x="774940" y="1795866"/>
                </a:lnTo>
                <a:lnTo>
                  <a:pt x="618876" y="1790323"/>
                </a:lnTo>
                <a:lnTo>
                  <a:pt x="473575" y="1779238"/>
                </a:lnTo>
                <a:lnTo>
                  <a:pt x="339036" y="1762609"/>
                </a:lnTo>
                <a:lnTo>
                  <a:pt x="226024" y="1734895"/>
                </a:lnTo>
                <a:lnTo>
                  <a:pt x="134538" y="1707181"/>
                </a:lnTo>
                <a:lnTo>
                  <a:pt x="91486" y="1690553"/>
                </a:lnTo>
                <a:lnTo>
                  <a:pt x="59197" y="1673925"/>
                </a:lnTo>
                <a:lnTo>
                  <a:pt x="32289" y="1657296"/>
                </a:lnTo>
                <a:lnTo>
                  <a:pt x="16145" y="1635125"/>
                </a:lnTo>
                <a:lnTo>
                  <a:pt x="5382" y="1618497"/>
                </a:lnTo>
                <a:lnTo>
                  <a:pt x="0" y="1596326"/>
                </a:lnTo>
                <a:close/>
              </a:path>
            </a:pathLst>
          </a:custGeom>
          <a:gradFill flip="none" rotWithShape="1">
            <a:gsLst>
              <a:gs pos="0">
                <a:schemeClr val="accent1">
                  <a:lumMod val="5000"/>
                  <a:lumOff val="95000"/>
                </a:schemeClr>
              </a:gs>
              <a:gs pos="100000">
                <a:schemeClr val="accent1">
                  <a:lumMod val="100000"/>
                </a:schemeClr>
              </a:gs>
            </a:gsLst>
            <a:path path="circle">
              <a:fillToRect r="100000" b="100000"/>
            </a:path>
            <a:tileRect l="-100000" t="-100000"/>
          </a:gradFill>
          <a:ln w="6350">
            <a:gradFill>
              <a:gsLst>
                <a:gs pos="0">
                  <a:schemeClr val="accent1">
                    <a:alpha val="70000"/>
                    <a:lumMod val="0"/>
                    <a:lumOff val="100000"/>
                  </a:schemeClr>
                </a:gs>
                <a:gs pos="100000">
                  <a:schemeClr val="accent1">
                    <a:alpha val="70000"/>
                    <a:lumMod val="0"/>
                    <a:lumOff val="10000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ko-KR" altLang="en-US" dirty="0">
              <a:solidFill>
                <a:srgbClr val="FFFFFF"/>
              </a:solidFill>
              <a:latin typeface="Arial"/>
            </a:endParaRPr>
          </a:p>
        </p:txBody>
      </p:sp>
    </p:spTree>
    <p:extLst>
      <p:ext uri="{BB962C8B-B14F-4D97-AF65-F5344CB8AC3E}">
        <p14:creationId xmlns:p14="http://schemas.microsoft.com/office/powerpoint/2010/main" val="2352287974"/>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5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任意多边形: 形状 27">
            <a:extLst>
              <a:ext uri="{FF2B5EF4-FFF2-40B4-BE49-F238E27FC236}">
                <a16:creationId xmlns:a16="http://schemas.microsoft.com/office/drawing/2014/main" id="{185E14F5-417F-5CD0-153B-86082CEFCC9A}"/>
              </a:ext>
            </a:extLst>
          </p:cNvPr>
          <p:cNvSpPr>
            <a:spLocks/>
          </p:cNvSpPr>
          <p:nvPr/>
        </p:nvSpPr>
        <p:spPr bwMode="auto">
          <a:xfrm>
            <a:off x="4120514" y="3550292"/>
            <a:ext cx="3950972" cy="1857670"/>
          </a:xfrm>
          <a:custGeom>
            <a:avLst/>
            <a:gdLst>
              <a:gd name="connsiteX0" fmla="*/ 1975486 w 3950972"/>
              <a:gd name="connsiteY0" fmla="*/ 0 h 1857670"/>
              <a:gd name="connsiteX1" fmla="*/ 2126391 w 3950972"/>
              <a:gd name="connsiteY1" fmla="*/ 3440 h 1857670"/>
              <a:gd name="connsiteX2" fmla="*/ 2273867 w 3950972"/>
              <a:gd name="connsiteY2" fmla="*/ 6880 h 1857670"/>
              <a:gd name="connsiteX3" fmla="*/ 2414483 w 3950972"/>
              <a:gd name="connsiteY3" fmla="*/ 17201 h 1857670"/>
              <a:gd name="connsiteX4" fmla="*/ 2551670 w 3950972"/>
              <a:gd name="connsiteY4" fmla="*/ 27521 h 1857670"/>
              <a:gd name="connsiteX5" fmla="*/ 2681997 w 3950972"/>
              <a:gd name="connsiteY5" fmla="*/ 44722 h 1857670"/>
              <a:gd name="connsiteX6" fmla="*/ 2805465 w 3950972"/>
              <a:gd name="connsiteY6" fmla="*/ 61923 h 1857670"/>
              <a:gd name="connsiteX7" fmla="*/ 2918644 w 3950972"/>
              <a:gd name="connsiteY7" fmla="*/ 86003 h 1857670"/>
              <a:gd name="connsiteX8" fmla="*/ 3021533 w 3950972"/>
              <a:gd name="connsiteY8" fmla="*/ 110084 h 1857670"/>
              <a:gd name="connsiteX9" fmla="*/ 3117564 w 3950972"/>
              <a:gd name="connsiteY9" fmla="*/ 134165 h 1857670"/>
              <a:gd name="connsiteX10" fmla="*/ 3203306 w 3950972"/>
              <a:gd name="connsiteY10" fmla="*/ 165126 h 1857670"/>
              <a:gd name="connsiteX11" fmla="*/ 3278758 w 3950972"/>
              <a:gd name="connsiteY11" fmla="*/ 196088 h 1857670"/>
              <a:gd name="connsiteX12" fmla="*/ 3340492 w 3950972"/>
              <a:gd name="connsiteY12" fmla="*/ 227049 h 1857670"/>
              <a:gd name="connsiteX13" fmla="*/ 3367929 w 3950972"/>
              <a:gd name="connsiteY13" fmla="*/ 244249 h 1857670"/>
              <a:gd name="connsiteX14" fmla="*/ 3391937 w 3950972"/>
              <a:gd name="connsiteY14" fmla="*/ 261450 h 1857670"/>
              <a:gd name="connsiteX15" fmla="*/ 3409085 w 3950972"/>
              <a:gd name="connsiteY15" fmla="*/ 278651 h 1857670"/>
              <a:gd name="connsiteX16" fmla="*/ 3426234 w 3950972"/>
              <a:gd name="connsiteY16" fmla="*/ 295851 h 1857670"/>
              <a:gd name="connsiteX17" fmla="*/ 3439952 w 3950972"/>
              <a:gd name="connsiteY17" fmla="*/ 316492 h 1857670"/>
              <a:gd name="connsiteX18" fmla="*/ 3450241 w 3950972"/>
              <a:gd name="connsiteY18" fmla="*/ 333693 h 1857670"/>
              <a:gd name="connsiteX19" fmla="*/ 3453671 w 3950972"/>
              <a:gd name="connsiteY19" fmla="*/ 350893 h 1857670"/>
              <a:gd name="connsiteX20" fmla="*/ 3457101 w 3950972"/>
              <a:gd name="connsiteY20" fmla="*/ 371534 h 1857670"/>
              <a:gd name="connsiteX21" fmla="*/ 3950972 w 3950972"/>
              <a:gd name="connsiteY21" fmla="*/ 1362292 h 1857670"/>
              <a:gd name="connsiteX22" fmla="*/ 3947542 w 3950972"/>
              <a:gd name="connsiteY22" fmla="*/ 1386372 h 1857670"/>
              <a:gd name="connsiteX23" fmla="*/ 3940683 w 3950972"/>
              <a:gd name="connsiteY23" fmla="*/ 1413893 h 1857670"/>
              <a:gd name="connsiteX24" fmla="*/ 3926964 w 3950972"/>
              <a:gd name="connsiteY24" fmla="*/ 1437974 h 1857670"/>
              <a:gd name="connsiteX25" fmla="*/ 3909816 w 3950972"/>
              <a:gd name="connsiteY25" fmla="*/ 1462055 h 1857670"/>
              <a:gd name="connsiteX26" fmla="*/ 3889238 w 3950972"/>
              <a:gd name="connsiteY26" fmla="*/ 1486136 h 1857670"/>
              <a:gd name="connsiteX27" fmla="*/ 3861801 w 3950972"/>
              <a:gd name="connsiteY27" fmla="*/ 1510217 h 1857670"/>
              <a:gd name="connsiteX28" fmla="*/ 3830934 w 3950972"/>
              <a:gd name="connsiteY28" fmla="*/ 1534298 h 1857670"/>
              <a:gd name="connsiteX29" fmla="*/ 3796637 w 3950972"/>
              <a:gd name="connsiteY29" fmla="*/ 1554939 h 1857670"/>
              <a:gd name="connsiteX30" fmla="*/ 3755481 w 3950972"/>
              <a:gd name="connsiteY30" fmla="*/ 1575580 h 1857670"/>
              <a:gd name="connsiteX31" fmla="*/ 3710896 w 3950972"/>
              <a:gd name="connsiteY31" fmla="*/ 1599660 h 1857670"/>
              <a:gd name="connsiteX32" fmla="*/ 3614865 w 3950972"/>
              <a:gd name="connsiteY32" fmla="*/ 1640942 h 1857670"/>
              <a:gd name="connsiteX33" fmla="*/ 3498257 w 3950972"/>
              <a:gd name="connsiteY33" fmla="*/ 1678783 h 1857670"/>
              <a:gd name="connsiteX34" fmla="*/ 3371359 w 3950972"/>
              <a:gd name="connsiteY34" fmla="*/ 1713185 h 1857670"/>
              <a:gd name="connsiteX35" fmla="*/ 3230743 w 3950972"/>
              <a:gd name="connsiteY35" fmla="*/ 1744146 h 1857670"/>
              <a:gd name="connsiteX36" fmla="*/ 3079838 w 3950972"/>
              <a:gd name="connsiteY36" fmla="*/ 1771667 h 1857670"/>
              <a:gd name="connsiteX37" fmla="*/ 2918644 w 3950972"/>
              <a:gd name="connsiteY37" fmla="*/ 1799188 h 1857670"/>
              <a:gd name="connsiteX38" fmla="*/ 2743731 w 3950972"/>
              <a:gd name="connsiteY38" fmla="*/ 1819829 h 1857670"/>
              <a:gd name="connsiteX39" fmla="*/ 2561959 w 3950972"/>
              <a:gd name="connsiteY39" fmla="*/ 1837029 h 1857670"/>
              <a:gd name="connsiteX40" fmla="*/ 2373327 w 3950972"/>
              <a:gd name="connsiteY40" fmla="*/ 1847350 h 1857670"/>
              <a:gd name="connsiteX41" fmla="*/ 2177836 w 3950972"/>
              <a:gd name="connsiteY41" fmla="*/ 1854230 h 1857670"/>
              <a:gd name="connsiteX42" fmla="*/ 1975486 w 3950972"/>
              <a:gd name="connsiteY42" fmla="*/ 1857670 h 1857670"/>
              <a:gd name="connsiteX43" fmla="*/ 1773136 w 3950972"/>
              <a:gd name="connsiteY43" fmla="*/ 1854230 h 1857670"/>
              <a:gd name="connsiteX44" fmla="*/ 1577645 w 3950972"/>
              <a:gd name="connsiteY44" fmla="*/ 1847350 h 1857670"/>
              <a:gd name="connsiteX45" fmla="*/ 1389014 w 3950972"/>
              <a:gd name="connsiteY45" fmla="*/ 1837029 h 1857670"/>
              <a:gd name="connsiteX46" fmla="*/ 1207242 w 3950972"/>
              <a:gd name="connsiteY46" fmla="*/ 1819829 h 1857670"/>
              <a:gd name="connsiteX47" fmla="*/ 1032329 w 3950972"/>
              <a:gd name="connsiteY47" fmla="*/ 1799188 h 1857670"/>
              <a:gd name="connsiteX48" fmla="*/ 871135 w 3950972"/>
              <a:gd name="connsiteY48" fmla="*/ 1771667 h 1857670"/>
              <a:gd name="connsiteX49" fmla="*/ 720229 w 3950972"/>
              <a:gd name="connsiteY49" fmla="*/ 1744146 h 1857670"/>
              <a:gd name="connsiteX50" fmla="*/ 579613 w 3950972"/>
              <a:gd name="connsiteY50" fmla="*/ 1713185 h 1857670"/>
              <a:gd name="connsiteX51" fmla="*/ 452716 w 3950972"/>
              <a:gd name="connsiteY51" fmla="*/ 1678783 h 1857670"/>
              <a:gd name="connsiteX52" fmla="*/ 336107 w 3950972"/>
              <a:gd name="connsiteY52" fmla="*/ 1640942 h 1857670"/>
              <a:gd name="connsiteX53" fmla="*/ 240077 w 3950972"/>
              <a:gd name="connsiteY53" fmla="*/ 1599660 h 1857670"/>
              <a:gd name="connsiteX54" fmla="*/ 195491 w 3950972"/>
              <a:gd name="connsiteY54" fmla="*/ 1575580 h 1857670"/>
              <a:gd name="connsiteX55" fmla="*/ 154335 w 3950972"/>
              <a:gd name="connsiteY55" fmla="*/ 1554939 h 1857670"/>
              <a:gd name="connsiteX56" fmla="*/ 120038 w 3950972"/>
              <a:gd name="connsiteY56" fmla="*/ 1534298 h 1857670"/>
              <a:gd name="connsiteX57" fmla="*/ 89171 w 3950972"/>
              <a:gd name="connsiteY57" fmla="*/ 1510217 h 1857670"/>
              <a:gd name="connsiteX58" fmla="*/ 61734 w 3950972"/>
              <a:gd name="connsiteY58" fmla="*/ 1486136 h 1857670"/>
              <a:gd name="connsiteX59" fmla="*/ 41156 w 3950972"/>
              <a:gd name="connsiteY59" fmla="*/ 1462055 h 1857670"/>
              <a:gd name="connsiteX60" fmla="*/ 24008 w 3950972"/>
              <a:gd name="connsiteY60" fmla="*/ 1437974 h 1857670"/>
              <a:gd name="connsiteX61" fmla="*/ 10289 w 3950972"/>
              <a:gd name="connsiteY61" fmla="*/ 1413893 h 1857670"/>
              <a:gd name="connsiteX62" fmla="*/ 3430 w 3950972"/>
              <a:gd name="connsiteY62" fmla="*/ 1386372 h 1857670"/>
              <a:gd name="connsiteX63" fmla="*/ 0 w 3950972"/>
              <a:gd name="connsiteY63" fmla="*/ 1362292 h 1857670"/>
              <a:gd name="connsiteX64" fmla="*/ 493872 w 3950972"/>
              <a:gd name="connsiteY64" fmla="*/ 371534 h 1857670"/>
              <a:gd name="connsiteX65" fmla="*/ 497301 w 3950972"/>
              <a:gd name="connsiteY65" fmla="*/ 350893 h 1857670"/>
              <a:gd name="connsiteX66" fmla="*/ 500731 w 3950972"/>
              <a:gd name="connsiteY66" fmla="*/ 333693 h 1857670"/>
              <a:gd name="connsiteX67" fmla="*/ 511020 w 3950972"/>
              <a:gd name="connsiteY67" fmla="*/ 316492 h 1857670"/>
              <a:gd name="connsiteX68" fmla="*/ 524739 w 3950972"/>
              <a:gd name="connsiteY68" fmla="*/ 295851 h 1857670"/>
              <a:gd name="connsiteX69" fmla="*/ 541887 w 3950972"/>
              <a:gd name="connsiteY69" fmla="*/ 278651 h 1857670"/>
              <a:gd name="connsiteX70" fmla="*/ 559035 w 3950972"/>
              <a:gd name="connsiteY70" fmla="*/ 261450 h 1857670"/>
              <a:gd name="connsiteX71" fmla="*/ 583043 w 3950972"/>
              <a:gd name="connsiteY71" fmla="*/ 244249 h 1857670"/>
              <a:gd name="connsiteX72" fmla="*/ 610480 w 3950972"/>
              <a:gd name="connsiteY72" fmla="*/ 227049 h 1857670"/>
              <a:gd name="connsiteX73" fmla="*/ 672214 w 3950972"/>
              <a:gd name="connsiteY73" fmla="*/ 196088 h 1857670"/>
              <a:gd name="connsiteX74" fmla="*/ 747667 w 3950972"/>
              <a:gd name="connsiteY74" fmla="*/ 165126 h 1857670"/>
              <a:gd name="connsiteX75" fmla="*/ 833408 w 3950972"/>
              <a:gd name="connsiteY75" fmla="*/ 134165 h 1857670"/>
              <a:gd name="connsiteX76" fmla="*/ 929439 w 3950972"/>
              <a:gd name="connsiteY76" fmla="*/ 110084 h 1857670"/>
              <a:gd name="connsiteX77" fmla="*/ 1032329 w 3950972"/>
              <a:gd name="connsiteY77" fmla="*/ 86003 h 1857670"/>
              <a:gd name="connsiteX78" fmla="*/ 1145508 w 3950972"/>
              <a:gd name="connsiteY78" fmla="*/ 61923 h 1857670"/>
              <a:gd name="connsiteX79" fmla="*/ 1268976 w 3950972"/>
              <a:gd name="connsiteY79" fmla="*/ 44722 h 1857670"/>
              <a:gd name="connsiteX80" fmla="*/ 1399303 w 3950972"/>
              <a:gd name="connsiteY80" fmla="*/ 27521 h 1857670"/>
              <a:gd name="connsiteX81" fmla="*/ 1536489 w 3950972"/>
              <a:gd name="connsiteY81" fmla="*/ 17201 h 1857670"/>
              <a:gd name="connsiteX82" fmla="*/ 1677105 w 3950972"/>
              <a:gd name="connsiteY82" fmla="*/ 6880 h 1857670"/>
              <a:gd name="connsiteX83" fmla="*/ 1824581 w 3950972"/>
              <a:gd name="connsiteY83" fmla="*/ 3440 h 18576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3950972" h="1857670">
                <a:moveTo>
                  <a:pt x="1975486" y="0"/>
                </a:moveTo>
                <a:lnTo>
                  <a:pt x="2126391" y="3440"/>
                </a:lnTo>
                <a:lnTo>
                  <a:pt x="2273867" y="6880"/>
                </a:lnTo>
                <a:lnTo>
                  <a:pt x="2414483" y="17201"/>
                </a:lnTo>
                <a:lnTo>
                  <a:pt x="2551670" y="27521"/>
                </a:lnTo>
                <a:lnTo>
                  <a:pt x="2681997" y="44722"/>
                </a:lnTo>
                <a:lnTo>
                  <a:pt x="2805465" y="61923"/>
                </a:lnTo>
                <a:lnTo>
                  <a:pt x="2918644" y="86003"/>
                </a:lnTo>
                <a:lnTo>
                  <a:pt x="3021533" y="110084"/>
                </a:lnTo>
                <a:lnTo>
                  <a:pt x="3117564" y="134165"/>
                </a:lnTo>
                <a:lnTo>
                  <a:pt x="3203306" y="165126"/>
                </a:lnTo>
                <a:lnTo>
                  <a:pt x="3278758" y="196088"/>
                </a:lnTo>
                <a:lnTo>
                  <a:pt x="3340492" y="227049"/>
                </a:lnTo>
                <a:lnTo>
                  <a:pt x="3367929" y="244249"/>
                </a:lnTo>
                <a:lnTo>
                  <a:pt x="3391937" y="261450"/>
                </a:lnTo>
                <a:lnTo>
                  <a:pt x="3409085" y="278651"/>
                </a:lnTo>
                <a:lnTo>
                  <a:pt x="3426234" y="295851"/>
                </a:lnTo>
                <a:lnTo>
                  <a:pt x="3439952" y="316492"/>
                </a:lnTo>
                <a:lnTo>
                  <a:pt x="3450241" y="333693"/>
                </a:lnTo>
                <a:lnTo>
                  <a:pt x="3453671" y="350893"/>
                </a:lnTo>
                <a:lnTo>
                  <a:pt x="3457101" y="371534"/>
                </a:lnTo>
                <a:lnTo>
                  <a:pt x="3950972" y="1362292"/>
                </a:lnTo>
                <a:lnTo>
                  <a:pt x="3947542" y="1386372"/>
                </a:lnTo>
                <a:lnTo>
                  <a:pt x="3940683" y="1413893"/>
                </a:lnTo>
                <a:lnTo>
                  <a:pt x="3926964" y="1437974"/>
                </a:lnTo>
                <a:lnTo>
                  <a:pt x="3909816" y="1462055"/>
                </a:lnTo>
                <a:lnTo>
                  <a:pt x="3889238" y="1486136"/>
                </a:lnTo>
                <a:lnTo>
                  <a:pt x="3861801" y="1510217"/>
                </a:lnTo>
                <a:lnTo>
                  <a:pt x="3830934" y="1534298"/>
                </a:lnTo>
                <a:lnTo>
                  <a:pt x="3796637" y="1554939"/>
                </a:lnTo>
                <a:lnTo>
                  <a:pt x="3755481" y="1575580"/>
                </a:lnTo>
                <a:lnTo>
                  <a:pt x="3710896" y="1599660"/>
                </a:lnTo>
                <a:lnTo>
                  <a:pt x="3614865" y="1640942"/>
                </a:lnTo>
                <a:lnTo>
                  <a:pt x="3498257" y="1678783"/>
                </a:lnTo>
                <a:lnTo>
                  <a:pt x="3371359" y="1713185"/>
                </a:lnTo>
                <a:lnTo>
                  <a:pt x="3230743" y="1744146"/>
                </a:lnTo>
                <a:lnTo>
                  <a:pt x="3079838" y="1771667"/>
                </a:lnTo>
                <a:lnTo>
                  <a:pt x="2918644" y="1799188"/>
                </a:lnTo>
                <a:lnTo>
                  <a:pt x="2743731" y="1819829"/>
                </a:lnTo>
                <a:lnTo>
                  <a:pt x="2561959" y="1837029"/>
                </a:lnTo>
                <a:lnTo>
                  <a:pt x="2373327" y="1847350"/>
                </a:lnTo>
                <a:lnTo>
                  <a:pt x="2177836" y="1854230"/>
                </a:lnTo>
                <a:lnTo>
                  <a:pt x="1975486" y="1857670"/>
                </a:lnTo>
                <a:lnTo>
                  <a:pt x="1773136" y="1854230"/>
                </a:lnTo>
                <a:lnTo>
                  <a:pt x="1577645" y="1847350"/>
                </a:lnTo>
                <a:lnTo>
                  <a:pt x="1389014" y="1837029"/>
                </a:lnTo>
                <a:lnTo>
                  <a:pt x="1207242" y="1819829"/>
                </a:lnTo>
                <a:lnTo>
                  <a:pt x="1032329" y="1799188"/>
                </a:lnTo>
                <a:lnTo>
                  <a:pt x="871135" y="1771667"/>
                </a:lnTo>
                <a:lnTo>
                  <a:pt x="720229" y="1744146"/>
                </a:lnTo>
                <a:lnTo>
                  <a:pt x="579613" y="1713185"/>
                </a:lnTo>
                <a:lnTo>
                  <a:pt x="452716" y="1678783"/>
                </a:lnTo>
                <a:lnTo>
                  <a:pt x="336107" y="1640942"/>
                </a:lnTo>
                <a:lnTo>
                  <a:pt x="240077" y="1599660"/>
                </a:lnTo>
                <a:lnTo>
                  <a:pt x="195491" y="1575580"/>
                </a:lnTo>
                <a:lnTo>
                  <a:pt x="154335" y="1554939"/>
                </a:lnTo>
                <a:lnTo>
                  <a:pt x="120038" y="1534298"/>
                </a:lnTo>
                <a:lnTo>
                  <a:pt x="89171" y="1510217"/>
                </a:lnTo>
                <a:lnTo>
                  <a:pt x="61734" y="1486136"/>
                </a:lnTo>
                <a:lnTo>
                  <a:pt x="41156" y="1462055"/>
                </a:lnTo>
                <a:lnTo>
                  <a:pt x="24008" y="1437974"/>
                </a:lnTo>
                <a:lnTo>
                  <a:pt x="10289" y="1413893"/>
                </a:lnTo>
                <a:lnTo>
                  <a:pt x="3430" y="1386372"/>
                </a:lnTo>
                <a:lnTo>
                  <a:pt x="0" y="1362292"/>
                </a:lnTo>
                <a:lnTo>
                  <a:pt x="493872" y="371534"/>
                </a:lnTo>
                <a:lnTo>
                  <a:pt x="497301" y="350893"/>
                </a:lnTo>
                <a:lnTo>
                  <a:pt x="500731" y="333693"/>
                </a:lnTo>
                <a:lnTo>
                  <a:pt x="511020" y="316492"/>
                </a:lnTo>
                <a:lnTo>
                  <a:pt x="524739" y="295851"/>
                </a:lnTo>
                <a:lnTo>
                  <a:pt x="541887" y="278651"/>
                </a:lnTo>
                <a:lnTo>
                  <a:pt x="559035" y="261450"/>
                </a:lnTo>
                <a:lnTo>
                  <a:pt x="583043" y="244249"/>
                </a:lnTo>
                <a:lnTo>
                  <a:pt x="610480" y="227049"/>
                </a:lnTo>
                <a:lnTo>
                  <a:pt x="672214" y="196088"/>
                </a:lnTo>
                <a:lnTo>
                  <a:pt x="747667" y="165126"/>
                </a:lnTo>
                <a:lnTo>
                  <a:pt x="833408" y="134165"/>
                </a:lnTo>
                <a:lnTo>
                  <a:pt x="929439" y="110084"/>
                </a:lnTo>
                <a:lnTo>
                  <a:pt x="1032329" y="86003"/>
                </a:lnTo>
                <a:lnTo>
                  <a:pt x="1145508" y="61923"/>
                </a:lnTo>
                <a:lnTo>
                  <a:pt x="1268976" y="44722"/>
                </a:lnTo>
                <a:lnTo>
                  <a:pt x="1399303" y="27521"/>
                </a:lnTo>
                <a:lnTo>
                  <a:pt x="1536489" y="17201"/>
                </a:lnTo>
                <a:lnTo>
                  <a:pt x="1677105" y="6880"/>
                </a:lnTo>
                <a:lnTo>
                  <a:pt x="1824581" y="3440"/>
                </a:lnTo>
                <a:close/>
              </a:path>
            </a:pathLst>
          </a:custGeom>
          <a:gradFill flip="none" rotWithShape="1">
            <a:gsLst>
              <a:gs pos="0">
                <a:schemeClr val="accent1">
                  <a:lumMod val="100000"/>
                </a:schemeClr>
              </a:gs>
              <a:gs pos="100000">
                <a:schemeClr val="accent1">
                  <a:lumMod val="60000"/>
                </a:schemeClr>
              </a:gs>
            </a:gsLst>
            <a:path path="circle">
              <a:fillToRect r="100000" b="100000"/>
            </a:path>
            <a:tileRect l="-100000" t="-100000"/>
          </a:gradFill>
          <a:ln>
            <a:noFill/>
          </a:ln>
          <a:effectLst>
            <a:outerShdw blurRad="254000" dist="508000" dir="5400000" sx="90000" sy="-19000" rotWithShape="0">
              <a:schemeClr val="accent1">
                <a:lumMod val="50000"/>
                <a:alpha val="1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ko-KR" altLang="en-US">
              <a:solidFill>
                <a:srgbClr val="FFFFFF"/>
              </a:solidFill>
              <a:latin typeface="Arial"/>
            </a:endParaRPr>
          </a:p>
        </p:txBody>
      </p:sp>
      <p:sp>
        <p:nvSpPr>
          <p:cNvPr id="36" name="任意多边形: 形状 35">
            <a:extLst>
              <a:ext uri="{FF2B5EF4-FFF2-40B4-BE49-F238E27FC236}">
                <a16:creationId xmlns:a16="http://schemas.microsoft.com/office/drawing/2014/main" id="{B8B8BF00-DF6E-003F-8376-FBCA99B0BE16}"/>
              </a:ext>
            </a:extLst>
          </p:cNvPr>
          <p:cNvSpPr>
            <a:spLocks/>
          </p:cNvSpPr>
          <p:nvPr/>
        </p:nvSpPr>
        <p:spPr bwMode="auto">
          <a:xfrm>
            <a:off x="4614387" y="3550292"/>
            <a:ext cx="2963229" cy="743068"/>
          </a:xfrm>
          <a:custGeom>
            <a:avLst/>
            <a:gdLst>
              <a:gd name="connsiteX0" fmla="*/ 1481615 w 2963229"/>
              <a:gd name="connsiteY0" fmla="*/ 0 h 743068"/>
              <a:gd name="connsiteX1" fmla="*/ 1632520 w 2963229"/>
              <a:gd name="connsiteY1" fmla="*/ 3440 h 743068"/>
              <a:gd name="connsiteX2" fmla="*/ 1779995 w 2963229"/>
              <a:gd name="connsiteY2" fmla="*/ 6880 h 743068"/>
              <a:gd name="connsiteX3" fmla="*/ 1920612 w 2963229"/>
              <a:gd name="connsiteY3" fmla="*/ 17201 h 743068"/>
              <a:gd name="connsiteX4" fmla="*/ 2057798 w 2963229"/>
              <a:gd name="connsiteY4" fmla="*/ 27521 h 743068"/>
              <a:gd name="connsiteX5" fmla="*/ 2188125 w 2963229"/>
              <a:gd name="connsiteY5" fmla="*/ 44722 h 743068"/>
              <a:gd name="connsiteX6" fmla="*/ 2311593 w 2963229"/>
              <a:gd name="connsiteY6" fmla="*/ 61923 h 743068"/>
              <a:gd name="connsiteX7" fmla="*/ 2424772 w 2963229"/>
              <a:gd name="connsiteY7" fmla="*/ 86003 h 743068"/>
              <a:gd name="connsiteX8" fmla="*/ 2527662 w 2963229"/>
              <a:gd name="connsiteY8" fmla="*/ 110084 h 743068"/>
              <a:gd name="connsiteX9" fmla="*/ 2623692 w 2963229"/>
              <a:gd name="connsiteY9" fmla="*/ 134165 h 743068"/>
              <a:gd name="connsiteX10" fmla="*/ 2709434 w 2963229"/>
              <a:gd name="connsiteY10" fmla="*/ 165126 h 743068"/>
              <a:gd name="connsiteX11" fmla="*/ 2784887 w 2963229"/>
              <a:gd name="connsiteY11" fmla="*/ 196088 h 743068"/>
              <a:gd name="connsiteX12" fmla="*/ 2846621 w 2963229"/>
              <a:gd name="connsiteY12" fmla="*/ 227049 h 743068"/>
              <a:gd name="connsiteX13" fmla="*/ 2874058 w 2963229"/>
              <a:gd name="connsiteY13" fmla="*/ 244249 h 743068"/>
              <a:gd name="connsiteX14" fmla="*/ 2898066 w 2963229"/>
              <a:gd name="connsiteY14" fmla="*/ 261450 h 743068"/>
              <a:gd name="connsiteX15" fmla="*/ 2915214 w 2963229"/>
              <a:gd name="connsiteY15" fmla="*/ 278651 h 743068"/>
              <a:gd name="connsiteX16" fmla="*/ 2932362 w 2963229"/>
              <a:gd name="connsiteY16" fmla="*/ 295851 h 743068"/>
              <a:gd name="connsiteX17" fmla="*/ 2946081 w 2963229"/>
              <a:gd name="connsiteY17" fmla="*/ 316492 h 743068"/>
              <a:gd name="connsiteX18" fmla="*/ 2956370 w 2963229"/>
              <a:gd name="connsiteY18" fmla="*/ 333693 h 743068"/>
              <a:gd name="connsiteX19" fmla="*/ 2959799 w 2963229"/>
              <a:gd name="connsiteY19" fmla="*/ 350893 h 743068"/>
              <a:gd name="connsiteX20" fmla="*/ 2963229 w 2963229"/>
              <a:gd name="connsiteY20" fmla="*/ 371534 h 743068"/>
              <a:gd name="connsiteX21" fmla="*/ 2959799 w 2963229"/>
              <a:gd name="connsiteY21" fmla="*/ 392175 h 743068"/>
              <a:gd name="connsiteX22" fmla="*/ 2956370 w 2963229"/>
              <a:gd name="connsiteY22" fmla="*/ 409376 h 743068"/>
              <a:gd name="connsiteX23" fmla="*/ 2946081 w 2963229"/>
              <a:gd name="connsiteY23" fmla="*/ 426576 h 743068"/>
              <a:gd name="connsiteX24" fmla="*/ 2932362 w 2963229"/>
              <a:gd name="connsiteY24" fmla="*/ 447217 h 743068"/>
              <a:gd name="connsiteX25" fmla="*/ 2915214 w 2963229"/>
              <a:gd name="connsiteY25" fmla="*/ 464418 h 743068"/>
              <a:gd name="connsiteX26" fmla="*/ 2898066 w 2963229"/>
              <a:gd name="connsiteY26" fmla="*/ 481618 h 743068"/>
              <a:gd name="connsiteX27" fmla="*/ 2874058 w 2963229"/>
              <a:gd name="connsiteY27" fmla="*/ 498819 h 743068"/>
              <a:gd name="connsiteX28" fmla="*/ 2846621 w 2963229"/>
              <a:gd name="connsiteY28" fmla="*/ 516020 h 743068"/>
              <a:gd name="connsiteX29" fmla="*/ 2784887 w 2963229"/>
              <a:gd name="connsiteY29" fmla="*/ 546981 h 743068"/>
              <a:gd name="connsiteX30" fmla="*/ 2709434 w 2963229"/>
              <a:gd name="connsiteY30" fmla="*/ 577942 h 743068"/>
              <a:gd name="connsiteX31" fmla="*/ 2623692 w 2963229"/>
              <a:gd name="connsiteY31" fmla="*/ 608903 h 743068"/>
              <a:gd name="connsiteX32" fmla="*/ 2527662 w 2963229"/>
              <a:gd name="connsiteY32" fmla="*/ 632984 h 743068"/>
              <a:gd name="connsiteX33" fmla="*/ 2424772 w 2963229"/>
              <a:gd name="connsiteY33" fmla="*/ 657065 h 743068"/>
              <a:gd name="connsiteX34" fmla="*/ 2311593 w 2963229"/>
              <a:gd name="connsiteY34" fmla="*/ 681146 h 743068"/>
              <a:gd name="connsiteX35" fmla="*/ 2188125 w 2963229"/>
              <a:gd name="connsiteY35" fmla="*/ 698347 h 743068"/>
              <a:gd name="connsiteX36" fmla="*/ 2057798 w 2963229"/>
              <a:gd name="connsiteY36" fmla="*/ 715547 h 743068"/>
              <a:gd name="connsiteX37" fmla="*/ 1920612 w 2963229"/>
              <a:gd name="connsiteY37" fmla="*/ 725868 h 743068"/>
              <a:gd name="connsiteX38" fmla="*/ 1779995 w 2963229"/>
              <a:gd name="connsiteY38" fmla="*/ 736188 h 743068"/>
              <a:gd name="connsiteX39" fmla="*/ 1632520 w 2963229"/>
              <a:gd name="connsiteY39" fmla="*/ 739628 h 743068"/>
              <a:gd name="connsiteX40" fmla="*/ 1481615 w 2963229"/>
              <a:gd name="connsiteY40" fmla="*/ 743068 h 743068"/>
              <a:gd name="connsiteX41" fmla="*/ 1330710 w 2963229"/>
              <a:gd name="connsiteY41" fmla="*/ 739628 h 743068"/>
              <a:gd name="connsiteX42" fmla="*/ 1183234 w 2963229"/>
              <a:gd name="connsiteY42" fmla="*/ 736188 h 743068"/>
              <a:gd name="connsiteX43" fmla="*/ 1042618 w 2963229"/>
              <a:gd name="connsiteY43" fmla="*/ 725868 h 743068"/>
              <a:gd name="connsiteX44" fmla="*/ 905431 w 2963229"/>
              <a:gd name="connsiteY44" fmla="*/ 715547 h 743068"/>
              <a:gd name="connsiteX45" fmla="*/ 775104 w 2963229"/>
              <a:gd name="connsiteY45" fmla="*/ 698347 h 743068"/>
              <a:gd name="connsiteX46" fmla="*/ 651636 w 2963229"/>
              <a:gd name="connsiteY46" fmla="*/ 681146 h 743068"/>
              <a:gd name="connsiteX47" fmla="*/ 538457 w 2963229"/>
              <a:gd name="connsiteY47" fmla="*/ 657065 h 743068"/>
              <a:gd name="connsiteX48" fmla="*/ 435567 w 2963229"/>
              <a:gd name="connsiteY48" fmla="*/ 632984 h 743068"/>
              <a:gd name="connsiteX49" fmla="*/ 339537 w 2963229"/>
              <a:gd name="connsiteY49" fmla="*/ 608903 h 743068"/>
              <a:gd name="connsiteX50" fmla="*/ 253795 w 2963229"/>
              <a:gd name="connsiteY50" fmla="*/ 577942 h 743068"/>
              <a:gd name="connsiteX51" fmla="*/ 178343 w 2963229"/>
              <a:gd name="connsiteY51" fmla="*/ 546981 h 743068"/>
              <a:gd name="connsiteX52" fmla="*/ 116609 w 2963229"/>
              <a:gd name="connsiteY52" fmla="*/ 516020 h 743068"/>
              <a:gd name="connsiteX53" fmla="*/ 89171 w 2963229"/>
              <a:gd name="connsiteY53" fmla="*/ 498819 h 743068"/>
              <a:gd name="connsiteX54" fmla="*/ 65164 w 2963229"/>
              <a:gd name="connsiteY54" fmla="*/ 481618 h 743068"/>
              <a:gd name="connsiteX55" fmla="*/ 48015 w 2963229"/>
              <a:gd name="connsiteY55" fmla="*/ 464418 h 743068"/>
              <a:gd name="connsiteX56" fmla="*/ 30867 w 2963229"/>
              <a:gd name="connsiteY56" fmla="*/ 447217 h 743068"/>
              <a:gd name="connsiteX57" fmla="*/ 17148 w 2963229"/>
              <a:gd name="connsiteY57" fmla="*/ 426576 h 743068"/>
              <a:gd name="connsiteX58" fmla="*/ 6860 w 2963229"/>
              <a:gd name="connsiteY58" fmla="*/ 409376 h 743068"/>
              <a:gd name="connsiteX59" fmla="*/ 3430 w 2963229"/>
              <a:gd name="connsiteY59" fmla="*/ 392175 h 743068"/>
              <a:gd name="connsiteX60" fmla="*/ 0 w 2963229"/>
              <a:gd name="connsiteY60" fmla="*/ 371534 h 743068"/>
              <a:gd name="connsiteX61" fmla="*/ 3430 w 2963229"/>
              <a:gd name="connsiteY61" fmla="*/ 350893 h 743068"/>
              <a:gd name="connsiteX62" fmla="*/ 6860 w 2963229"/>
              <a:gd name="connsiteY62" fmla="*/ 333693 h 743068"/>
              <a:gd name="connsiteX63" fmla="*/ 17148 w 2963229"/>
              <a:gd name="connsiteY63" fmla="*/ 316492 h 743068"/>
              <a:gd name="connsiteX64" fmla="*/ 30867 w 2963229"/>
              <a:gd name="connsiteY64" fmla="*/ 295851 h 743068"/>
              <a:gd name="connsiteX65" fmla="*/ 48015 w 2963229"/>
              <a:gd name="connsiteY65" fmla="*/ 278651 h 743068"/>
              <a:gd name="connsiteX66" fmla="*/ 65164 w 2963229"/>
              <a:gd name="connsiteY66" fmla="*/ 261450 h 743068"/>
              <a:gd name="connsiteX67" fmla="*/ 89171 w 2963229"/>
              <a:gd name="connsiteY67" fmla="*/ 244249 h 743068"/>
              <a:gd name="connsiteX68" fmla="*/ 116609 w 2963229"/>
              <a:gd name="connsiteY68" fmla="*/ 227049 h 743068"/>
              <a:gd name="connsiteX69" fmla="*/ 178343 w 2963229"/>
              <a:gd name="connsiteY69" fmla="*/ 196088 h 743068"/>
              <a:gd name="connsiteX70" fmla="*/ 253795 w 2963229"/>
              <a:gd name="connsiteY70" fmla="*/ 165126 h 743068"/>
              <a:gd name="connsiteX71" fmla="*/ 339537 w 2963229"/>
              <a:gd name="connsiteY71" fmla="*/ 134165 h 743068"/>
              <a:gd name="connsiteX72" fmla="*/ 435567 w 2963229"/>
              <a:gd name="connsiteY72" fmla="*/ 110084 h 743068"/>
              <a:gd name="connsiteX73" fmla="*/ 538457 w 2963229"/>
              <a:gd name="connsiteY73" fmla="*/ 86003 h 743068"/>
              <a:gd name="connsiteX74" fmla="*/ 651636 w 2963229"/>
              <a:gd name="connsiteY74" fmla="*/ 61923 h 743068"/>
              <a:gd name="connsiteX75" fmla="*/ 775104 w 2963229"/>
              <a:gd name="connsiteY75" fmla="*/ 44722 h 743068"/>
              <a:gd name="connsiteX76" fmla="*/ 905431 w 2963229"/>
              <a:gd name="connsiteY76" fmla="*/ 27521 h 743068"/>
              <a:gd name="connsiteX77" fmla="*/ 1042618 w 2963229"/>
              <a:gd name="connsiteY77" fmla="*/ 17201 h 743068"/>
              <a:gd name="connsiteX78" fmla="*/ 1183234 w 2963229"/>
              <a:gd name="connsiteY78" fmla="*/ 6880 h 743068"/>
              <a:gd name="connsiteX79" fmla="*/ 1330710 w 2963229"/>
              <a:gd name="connsiteY79" fmla="*/ 3440 h 7430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2963229" h="743068">
                <a:moveTo>
                  <a:pt x="1481615" y="0"/>
                </a:moveTo>
                <a:lnTo>
                  <a:pt x="1632520" y="3440"/>
                </a:lnTo>
                <a:lnTo>
                  <a:pt x="1779995" y="6880"/>
                </a:lnTo>
                <a:lnTo>
                  <a:pt x="1920612" y="17201"/>
                </a:lnTo>
                <a:lnTo>
                  <a:pt x="2057798" y="27521"/>
                </a:lnTo>
                <a:lnTo>
                  <a:pt x="2188125" y="44722"/>
                </a:lnTo>
                <a:lnTo>
                  <a:pt x="2311593" y="61923"/>
                </a:lnTo>
                <a:lnTo>
                  <a:pt x="2424772" y="86003"/>
                </a:lnTo>
                <a:lnTo>
                  <a:pt x="2527662" y="110084"/>
                </a:lnTo>
                <a:lnTo>
                  <a:pt x="2623692" y="134165"/>
                </a:lnTo>
                <a:lnTo>
                  <a:pt x="2709434" y="165126"/>
                </a:lnTo>
                <a:lnTo>
                  <a:pt x="2784887" y="196088"/>
                </a:lnTo>
                <a:lnTo>
                  <a:pt x="2846621" y="227049"/>
                </a:lnTo>
                <a:lnTo>
                  <a:pt x="2874058" y="244249"/>
                </a:lnTo>
                <a:lnTo>
                  <a:pt x="2898066" y="261450"/>
                </a:lnTo>
                <a:lnTo>
                  <a:pt x="2915214" y="278651"/>
                </a:lnTo>
                <a:lnTo>
                  <a:pt x="2932362" y="295851"/>
                </a:lnTo>
                <a:lnTo>
                  <a:pt x="2946081" y="316492"/>
                </a:lnTo>
                <a:lnTo>
                  <a:pt x="2956370" y="333693"/>
                </a:lnTo>
                <a:lnTo>
                  <a:pt x="2959799" y="350893"/>
                </a:lnTo>
                <a:lnTo>
                  <a:pt x="2963229" y="371534"/>
                </a:lnTo>
                <a:lnTo>
                  <a:pt x="2959799" y="392175"/>
                </a:lnTo>
                <a:lnTo>
                  <a:pt x="2956370" y="409376"/>
                </a:lnTo>
                <a:lnTo>
                  <a:pt x="2946081" y="426576"/>
                </a:lnTo>
                <a:lnTo>
                  <a:pt x="2932362" y="447217"/>
                </a:lnTo>
                <a:lnTo>
                  <a:pt x="2915214" y="464418"/>
                </a:lnTo>
                <a:lnTo>
                  <a:pt x="2898066" y="481618"/>
                </a:lnTo>
                <a:lnTo>
                  <a:pt x="2874058" y="498819"/>
                </a:lnTo>
                <a:lnTo>
                  <a:pt x="2846621" y="516020"/>
                </a:lnTo>
                <a:lnTo>
                  <a:pt x="2784887" y="546981"/>
                </a:lnTo>
                <a:lnTo>
                  <a:pt x="2709434" y="577942"/>
                </a:lnTo>
                <a:lnTo>
                  <a:pt x="2623692" y="608903"/>
                </a:lnTo>
                <a:lnTo>
                  <a:pt x="2527662" y="632984"/>
                </a:lnTo>
                <a:lnTo>
                  <a:pt x="2424772" y="657065"/>
                </a:lnTo>
                <a:lnTo>
                  <a:pt x="2311593" y="681146"/>
                </a:lnTo>
                <a:lnTo>
                  <a:pt x="2188125" y="698347"/>
                </a:lnTo>
                <a:lnTo>
                  <a:pt x="2057798" y="715547"/>
                </a:lnTo>
                <a:lnTo>
                  <a:pt x="1920612" y="725868"/>
                </a:lnTo>
                <a:lnTo>
                  <a:pt x="1779995" y="736188"/>
                </a:lnTo>
                <a:lnTo>
                  <a:pt x="1632520" y="739628"/>
                </a:lnTo>
                <a:lnTo>
                  <a:pt x="1481615" y="743068"/>
                </a:lnTo>
                <a:lnTo>
                  <a:pt x="1330710" y="739628"/>
                </a:lnTo>
                <a:lnTo>
                  <a:pt x="1183234" y="736188"/>
                </a:lnTo>
                <a:lnTo>
                  <a:pt x="1042618" y="725868"/>
                </a:lnTo>
                <a:lnTo>
                  <a:pt x="905431" y="715547"/>
                </a:lnTo>
                <a:lnTo>
                  <a:pt x="775104" y="698347"/>
                </a:lnTo>
                <a:lnTo>
                  <a:pt x="651636" y="681146"/>
                </a:lnTo>
                <a:lnTo>
                  <a:pt x="538457" y="657065"/>
                </a:lnTo>
                <a:lnTo>
                  <a:pt x="435567" y="632984"/>
                </a:lnTo>
                <a:lnTo>
                  <a:pt x="339537" y="608903"/>
                </a:lnTo>
                <a:lnTo>
                  <a:pt x="253795" y="577942"/>
                </a:lnTo>
                <a:lnTo>
                  <a:pt x="178343" y="546981"/>
                </a:lnTo>
                <a:lnTo>
                  <a:pt x="116609" y="516020"/>
                </a:lnTo>
                <a:lnTo>
                  <a:pt x="89171" y="498819"/>
                </a:lnTo>
                <a:lnTo>
                  <a:pt x="65164" y="481618"/>
                </a:lnTo>
                <a:lnTo>
                  <a:pt x="48015" y="464418"/>
                </a:lnTo>
                <a:lnTo>
                  <a:pt x="30867" y="447217"/>
                </a:lnTo>
                <a:lnTo>
                  <a:pt x="17148" y="426576"/>
                </a:lnTo>
                <a:lnTo>
                  <a:pt x="6860" y="409376"/>
                </a:lnTo>
                <a:lnTo>
                  <a:pt x="3430" y="392175"/>
                </a:lnTo>
                <a:lnTo>
                  <a:pt x="0" y="371534"/>
                </a:lnTo>
                <a:lnTo>
                  <a:pt x="3430" y="350893"/>
                </a:lnTo>
                <a:lnTo>
                  <a:pt x="6860" y="333693"/>
                </a:lnTo>
                <a:lnTo>
                  <a:pt x="17148" y="316492"/>
                </a:lnTo>
                <a:lnTo>
                  <a:pt x="30867" y="295851"/>
                </a:lnTo>
                <a:lnTo>
                  <a:pt x="48015" y="278651"/>
                </a:lnTo>
                <a:lnTo>
                  <a:pt x="65164" y="261450"/>
                </a:lnTo>
                <a:lnTo>
                  <a:pt x="89171" y="244249"/>
                </a:lnTo>
                <a:lnTo>
                  <a:pt x="116609" y="227049"/>
                </a:lnTo>
                <a:lnTo>
                  <a:pt x="178343" y="196088"/>
                </a:lnTo>
                <a:lnTo>
                  <a:pt x="253795" y="165126"/>
                </a:lnTo>
                <a:lnTo>
                  <a:pt x="339537" y="134165"/>
                </a:lnTo>
                <a:lnTo>
                  <a:pt x="435567" y="110084"/>
                </a:lnTo>
                <a:lnTo>
                  <a:pt x="538457" y="86003"/>
                </a:lnTo>
                <a:lnTo>
                  <a:pt x="651636" y="61923"/>
                </a:lnTo>
                <a:lnTo>
                  <a:pt x="775104" y="44722"/>
                </a:lnTo>
                <a:lnTo>
                  <a:pt x="905431" y="27521"/>
                </a:lnTo>
                <a:lnTo>
                  <a:pt x="1042618" y="17201"/>
                </a:lnTo>
                <a:lnTo>
                  <a:pt x="1183234" y="6880"/>
                </a:lnTo>
                <a:lnTo>
                  <a:pt x="1330710" y="3440"/>
                </a:lnTo>
                <a:close/>
              </a:path>
            </a:pathLst>
          </a:custGeom>
          <a:gradFill flip="none" rotWithShape="1">
            <a:gsLst>
              <a:gs pos="100000">
                <a:schemeClr val="accent1">
                  <a:lumMod val="90000"/>
                </a:schemeClr>
              </a:gs>
              <a:gs pos="0">
                <a:schemeClr val="accent1">
                  <a:lumMod val="75000"/>
                  <a:lumOff val="25000"/>
                </a:schemeClr>
              </a:gs>
            </a:gsLst>
            <a:lin ang="2700000" scaled="1"/>
            <a:tileRect/>
          </a:gradFill>
          <a:ln w="25400">
            <a:noFill/>
          </a:ln>
          <a:effectLst>
            <a:outerShdw blurRad="254000" dist="177800" dir="2700000" algn="tl" rotWithShape="0">
              <a:schemeClr val="accent1">
                <a:alpha val="20000"/>
              </a:schemeClr>
            </a:outerShdw>
          </a:effectLst>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485899" tIns="63500" rIns="1485901" bIns="63500" numCol="1" spcCol="1270" anchor="ctr" anchorCtr="0">
            <a:noAutofit/>
          </a:bodyPr>
          <a:lstStyle/>
          <a:p>
            <a:pPr algn="ctr" defTabSz="2222500">
              <a:lnSpc>
                <a:spcPct val="90000"/>
              </a:lnSpc>
              <a:spcBef>
                <a:spcPct val="0"/>
              </a:spcBef>
              <a:spcAft>
                <a:spcPct val="35000"/>
              </a:spcAft>
            </a:pPr>
            <a:endParaRPr lang="zh-CN" altLang="en-US" sz="3200">
              <a:solidFill>
                <a:prstClr val="white"/>
              </a:solidFill>
              <a:latin typeface="等线" panose="020F0502020204030204"/>
              <a:ea typeface="等线" panose="02010600030101010101" pitchFamily="2" charset="-122"/>
            </a:endParaRPr>
          </a:p>
        </p:txBody>
      </p:sp>
      <p:sp>
        <p:nvSpPr>
          <p:cNvPr id="34" name="任意多边形: 形状 33">
            <a:extLst>
              <a:ext uri="{FF2B5EF4-FFF2-40B4-BE49-F238E27FC236}">
                <a16:creationId xmlns:a16="http://schemas.microsoft.com/office/drawing/2014/main" id="{1496F696-08DD-1949-F78E-171C1269CF17}"/>
              </a:ext>
            </a:extLst>
          </p:cNvPr>
          <p:cNvSpPr>
            <a:spLocks/>
          </p:cNvSpPr>
          <p:nvPr/>
        </p:nvSpPr>
        <p:spPr bwMode="auto">
          <a:xfrm>
            <a:off x="4720250" y="2721265"/>
            <a:ext cx="2751500" cy="1293704"/>
          </a:xfrm>
          <a:custGeom>
            <a:avLst/>
            <a:gdLst>
              <a:gd name="connsiteX0" fmla="*/ 1375750 w 2751500"/>
              <a:gd name="connsiteY0" fmla="*/ 0 h 1293704"/>
              <a:gd name="connsiteX1" fmla="*/ 1480842 w 2751500"/>
              <a:gd name="connsiteY1" fmla="*/ 2396 h 1293704"/>
              <a:gd name="connsiteX2" fmla="*/ 1583546 w 2751500"/>
              <a:gd name="connsiteY2" fmla="*/ 4792 h 1293704"/>
              <a:gd name="connsiteX3" fmla="*/ 1681472 w 2751500"/>
              <a:gd name="connsiteY3" fmla="*/ 11979 h 1293704"/>
              <a:gd name="connsiteX4" fmla="*/ 1777011 w 2751500"/>
              <a:gd name="connsiteY4" fmla="*/ 19166 h 1293704"/>
              <a:gd name="connsiteX5" fmla="*/ 1867772 w 2751500"/>
              <a:gd name="connsiteY5" fmla="*/ 31145 h 1293704"/>
              <a:gd name="connsiteX6" fmla="*/ 1953756 w 2751500"/>
              <a:gd name="connsiteY6" fmla="*/ 43124 h 1293704"/>
              <a:gd name="connsiteX7" fmla="*/ 2032575 w 2751500"/>
              <a:gd name="connsiteY7" fmla="*/ 59894 h 1293704"/>
              <a:gd name="connsiteX8" fmla="*/ 2104229 w 2751500"/>
              <a:gd name="connsiteY8" fmla="*/ 76664 h 1293704"/>
              <a:gd name="connsiteX9" fmla="*/ 2171106 w 2751500"/>
              <a:gd name="connsiteY9" fmla="*/ 93434 h 1293704"/>
              <a:gd name="connsiteX10" fmla="*/ 2230817 w 2751500"/>
              <a:gd name="connsiteY10" fmla="*/ 114996 h 1293704"/>
              <a:gd name="connsiteX11" fmla="*/ 2283363 w 2751500"/>
              <a:gd name="connsiteY11" fmla="*/ 136558 h 1293704"/>
              <a:gd name="connsiteX12" fmla="*/ 2326355 w 2751500"/>
              <a:gd name="connsiteY12" fmla="*/ 158120 h 1293704"/>
              <a:gd name="connsiteX13" fmla="*/ 2345463 w 2751500"/>
              <a:gd name="connsiteY13" fmla="*/ 170098 h 1293704"/>
              <a:gd name="connsiteX14" fmla="*/ 2362182 w 2751500"/>
              <a:gd name="connsiteY14" fmla="*/ 182077 h 1293704"/>
              <a:gd name="connsiteX15" fmla="*/ 2374124 w 2751500"/>
              <a:gd name="connsiteY15" fmla="*/ 194056 h 1293704"/>
              <a:gd name="connsiteX16" fmla="*/ 2386067 w 2751500"/>
              <a:gd name="connsiteY16" fmla="*/ 206034 h 1293704"/>
              <a:gd name="connsiteX17" fmla="*/ 2395620 w 2751500"/>
              <a:gd name="connsiteY17" fmla="*/ 220409 h 1293704"/>
              <a:gd name="connsiteX18" fmla="*/ 2402786 w 2751500"/>
              <a:gd name="connsiteY18" fmla="*/ 232388 h 1293704"/>
              <a:gd name="connsiteX19" fmla="*/ 2405174 w 2751500"/>
              <a:gd name="connsiteY19" fmla="*/ 244366 h 1293704"/>
              <a:gd name="connsiteX20" fmla="*/ 2407563 w 2751500"/>
              <a:gd name="connsiteY20" fmla="*/ 258741 h 1293704"/>
              <a:gd name="connsiteX21" fmla="*/ 2751500 w 2751500"/>
              <a:gd name="connsiteY21" fmla="*/ 948716 h 1293704"/>
              <a:gd name="connsiteX22" fmla="*/ 2749112 w 2751500"/>
              <a:gd name="connsiteY22" fmla="*/ 965487 h 1293704"/>
              <a:gd name="connsiteX23" fmla="*/ 2744335 w 2751500"/>
              <a:gd name="connsiteY23" fmla="*/ 984653 h 1293704"/>
              <a:gd name="connsiteX24" fmla="*/ 2734781 w 2751500"/>
              <a:gd name="connsiteY24" fmla="*/ 1001423 h 1293704"/>
              <a:gd name="connsiteX25" fmla="*/ 2722839 w 2751500"/>
              <a:gd name="connsiteY25" fmla="*/ 1018193 h 1293704"/>
              <a:gd name="connsiteX26" fmla="*/ 2708508 w 2751500"/>
              <a:gd name="connsiteY26" fmla="*/ 1034963 h 1293704"/>
              <a:gd name="connsiteX27" fmla="*/ 2689400 w 2751500"/>
              <a:gd name="connsiteY27" fmla="*/ 1051734 h 1293704"/>
              <a:gd name="connsiteX28" fmla="*/ 2667904 w 2751500"/>
              <a:gd name="connsiteY28" fmla="*/ 1068504 h 1293704"/>
              <a:gd name="connsiteX29" fmla="*/ 2644020 w 2751500"/>
              <a:gd name="connsiteY29" fmla="*/ 1082878 h 1293704"/>
              <a:gd name="connsiteX30" fmla="*/ 2615358 w 2751500"/>
              <a:gd name="connsiteY30" fmla="*/ 1097253 h 1293704"/>
              <a:gd name="connsiteX31" fmla="*/ 2584308 w 2751500"/>
              <a:gd name="connsiteY31" fmla="*/ 1114023 h 1293704"/>
              <a:gd name="connsiteX32" fmla="*/ 2517432 w 2751500"/>
              <a:gd name="connsiteY32" fmla="*/ 1142772 h 1293704"/>
              <a:gd name="connsiteX33" fmla="*/ 2436224 w 2751500"/>
              <a:gd name="connsiteY33" fmla="*/ 1169125 h 1293704"/>
              <a:gd name="connsiteX34" fmla="*/ 2347851 w 2751500"/>
              <a:gd name="connsiteY34" fmla="*/ 1193083 h 1293704"/>
              <a:gd name="connsiteX35" fmla="*/ 2249925 w 2751500"/>
              <a:gd name="connsiteY35" fmla="*/ 1214644 h 1293704"/>
              <a:gd name="connsiteX36" fmla="*/ 2144833 w 2751500"/>
              <a:gd name="connsiteY36" fmla="*/ 1233810 h 1293704"/>
              <a:gd name="connsiteX37" fmla="*/ 2032575 w 2751500"/>
              <a:gd name="connsiteY37" fmla="*/ 1252976 h 1293704"/>
              <a:gd name="connsiteX38" fmla="*/ 1910764 w 2751500"/>
              <a:gd name="connsiteY38" fmla="*/ 1267351 h 1293704"/>
              <a:gd name="connsiteX39" fmla="*/ 1784176 w 2751500"/>
              <a:gd name="connsiteY39" fmla="*/ 1279330 h 1293704"/>
              <a:gd name="connsiteX40" fmla="*/ 1652811 w 2751500"/>
              <a:gd name="connsiteY40" fmla="*/ 1286517 h 1293704"/>
              <a:gd name="connsiteX41" fmla="*/ 1516669 w 2751500"/>
              <a:gd name="connsiteY41" fmla="*/ 1291308 h 1293704"/>
              <a:gd name="connsiteX42" fmla="*/ 1375750 w 2751500"/>
              <a:gd name="connsiteY42" fmla="*/ 1293704 h 1293704"/>
              <a:gd name="connsiteX43" fmla="*/ 1234831 w 2751500"/>
              <a:gd name="connsiteY43" fmla="*/ 1291308 h 1293704"/>
              <a:gd name="connsiteX44" fmla="*/ 1098689 w 2751500"/>
              <a:gd name="connsiteY44" fmla="*/ 1286517 h 1293704"/>
              <a:gd name="connsiteX45" fmla="*/ 967324 w 2751500"/>
              <a:gd name="connsiteY45" fmla="*/ 1279330 h 1293704"/>
              <a:gd name="connsiteX46" fmla="*/ 840736 w 2751500"/>
              <a:gd name="connsiteY46" fmla="*/ 1267351 h 1293704"/>
              <a:gd name="connsiteX47" fmla="*/ 718925 w 2751500"/>
              <a:gd name="connsiteY47" fmla="*/ 1252976 h 1293704"/>
              <a:gd name="connsiteX48" fmla="*/ 606668 w 2751500"/>
              <a:gd name="connsiteY48" fmla="*/ 1233810 h 1293704"/>
              <a:gd name="connsiteX49" fmla="*/ 501576 w 2751500"/>
              <a:gd name="connsiteY49" fmla="*/ 1214644 h 1293704"/>
              <a:gd name="connsiteX50" fmla="*/ 403649 w 2751500"/>
              <a:gd name="connsiteY50" fmla="*/ 1193083 h 1293704"/>
              <a:gd name="connsiteX51" fmla="*/ 315276 w 2751500"/>
              <a:gd name="connsiteY51" fmla="*/ 1169125 h 1293704"/>
              <a:gd name="connsiteX52" fmla="*/ 234069 w 2751500"/>
              <a:gd name="connsiteY52" fmla="*/ 1142772 h 1293704"/>
              <a:gd name="connsiteX53" fmla="*/ 167192 w 2751500"/>
              <a:gd name="connsiteY53" fmla="*/ 1114023 h 1293704"/>
              <a:gd name="connsiteX54" fmla="*/ 136142 w 2751500"/>
              <a:gd name="connsiteY54" fmla="*/ 1097253 h 1293704"/>
              <a:gd name="connsiteX55" fmla="*/ 107481 w 2751500"/>
              <a:gd name="connsiteY55" fmla="*/ 1082878 h 1293704"/>
              <a:gd name="connsiteX56" fmla="*/ 83596 w 2751500"/>
              <a:gd name="connsiteY56" fmla="*/ 1068504 h 1293704"/>
              <a:gd name="connsiteX57" fmla="*/ 62100 w 2751500"/>
              <a:gd name="connsiteY57" fmla="*/ 1051734 h 1293704"/>
              <a:gd name="connsiteX58" fmla="*/ 42992 w 2751500"/>
              <a:gd name="connsiteY58" fmla="*/ 1034963 h 1293704"/>
              <a:gd name="connsiteX59" fmla="*/ 28662 w 2751500"/>
              <a:gd name="connsiteY59" fmla="*/ 1018193 h 1293704"/>
              <a:gd name="connsiteX60" fmla="*/ 16719 w 2751500"/>
              <a:gd name="connsiteY60" fmla="*/ 1001423 h 1293704"/>
              <a:gd name="connsiteX61" fmla="*/ 7166 w 2751500"/>
              <a:gd name="connsiteY61" fmla="*/ 984653 h 1293704"/>
              <a:gd name="connsiteX62" fmla="*/ 2389 w 2751500"/>
              <a:gd name="connsiteY62" fmla="*/ 965487 h 1293704"/>
              <a:gd name="connsiteX63" fmla="*/ 0 w 2751500"/>
              <a:gd name="connsiteY63" fmla="*/ 948716 h 1293704"/>
              <a:gd name="connsiteX64" fmla="*/ 343938 w 2751500"/>
              <a:gd name="connsiteY64" fmla="*/ 258741 h 1293704"/>
              <a:gd name="connsiteX65" fmla="*/ 346326 w 2751500"/>
              <a:gd name="connsiteY65" fmla="*/ 244366 h 1293704"/>
              <a:gd name="connsiteX66" fmla="*/ 348715 w 2751500"/>
              <a:gd name="connsiteY66" fmla="*/ 232388 h 1293704"/>
              <a:gd name="connsiteX67" fmla="*/ 355880 w 2751500"/>
              <a:gd name="connsiteY67" fmla="*/ 220409 h 1293704"/>
              <a:gd name="connsiteX68" fmla="*/ 365434 w 2751500"/>
              <a:gd name="connsiteY68" fmla="*/ 206034 h 1293704"/>
              <a:gd name="connsiteX69" fmla="*/ 377376 w 2751500"/>
              <a:gd name="connsiteY69" fmla="*/ 194056 h 1293704"/>
              <a:gd name="connsiteX70" fmla="*/ 389318 w 2751500"/>
              <a:gd name="connsiteY70" fmla="*/ 182077 h 1293704"/>
              <a:gd name="connsiteX71" fmla="*/ 406037 w 2751500"/>
              <a:gd name="connsiteY71" fmla="*/ 170098 h 1293704"/>
              <a:gd name="connsiteX72" fmla="*/ 425145 w 2751500"/>
              <a:gd name="connsiteY72" fmla="*/ 158120 h 1293704"/>
              <a:gd name="connsiteX73" fmla="*/ 468137 w 2751500"/>
              <a:gd name="connsiteY73" fmla="*/ 136558 h 1293704"/>
              <a:gd name="connsiteX74" fmla="*/ 520683 w 2751500"/>
              <a:gd name="connsiteY74" fmla="*/ 114996 h 1293704"/>
              <a:gd name="connsiteX75" fmla="*/ 580395 w 2751500"/>
              <a:gd name="connsiteY75" fmla="*/ 93434 h 1293704"/>
              <a:gd name="connsiteX76" fmla="*/ 647271 w 2751500"/>
              <a:gd name="connsiteY76" fmla="*/ 76664 h 1293704"/>
              <a:gd name="connsiteX77" fmla="*/ 718925 w 2751500"/>
              <a:gd name="connsiteY77" fmla="*/ 59894 h 1293704"/>
              <a:gd name="connsiteX78" fmla="*/ 797744 w 2751500"/>
              <a:gd name="connsiteY78" fmla="*/ 43124 h 1293704"/>
              <a:gd name="connsiteX79" fmla="*/ 883728 w 2751500"/>
              <a:gd name="connsiteY79" fmla="*/ 31145 h 1293704"/>
              <a:gd name="connsiteX80" fmla="*/ 974490 w 2751500"/>
              <a:gd name="connsiteY80" fmla="*/ 19166 h 1293704"/>
              <a:gd name="connsiteX81" fmla="*/ 1070028 w 2751500"/>
              <a:gd name="connsiteY81" fmla="*/ 11979 h 1293704"/>
              <a:gd name="connsiteX82" fmla="*/ 1167955 w 2751500"/>
              <a:gd name="connsiteY82" fmla="*/ 4792 h 1293704"/>
              <a:gd name="connsiteX83" fmla="*/ 1270658 w 2751500"/>
              <a:gd name="connsiteY83" fmla="*/ 2396 h 12937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2751500" h="1293704">
                <a:moveTo>
                  <a:pt x="1375750" y="0"/>
                </a:moveTo>
                <a:lnTo>
                  <a:pt x="1480842" y="2396"/>
                </a:lnTo>
                <a:lnTo>
                  <a:pt x="1583546" y="4792"/>
                </a:lnTo>
                <a:lnTo>
                  <a:pt x="1681472" y="11979"/>
                </a:lnTo>
                <a:lnTo>
                  <a:pt x="1777011" y="19166"/>
                </a:lnTo>
                <a:lnTo>
                  <a:pt x="1867772" y="31145"/>
                </a:lnTo>
                <a:lnTo>
                  <a:pt x="1953756" y="43124"/>
                </a:lnTo>
                <a:lnTo>
                  <a:pt x="2032575" y="59894"/>
                </a:lnTo>
                <a:lnTo>
                  <a:pt x="2104229" y="76664"/>
                </a:lnTo>
                <a:lnTo>
                  <a:pt x="2171106" y="93434"/>
                </a:lnTo>
                <a:lnTo>
                  <a:pt x="2230817" y="114996"/>
                </a:lnTo>
                <a:lnTo>
                  <a:pt x="2283363" y="136558"/>
                </a:lnTo>
                <a:lnTo>
                  <a:pt x="2326355" y="158120"/>
                </a:lnTo>
                <a:lnTo>
                  <a:pt x="2345463" y="170098"/>
                </a:lnTo>
                <a:lnTo>
                  <a:pt x="2362182" y="182077"/>
                </a:lnTo>
                <a:lnTo>
                  <a:pt x="2374124" y="194056"/>
                </a:lnTo>
                <a:lnTo>
                  <a:pt x="2386067" y="206034"/>
                </a:lnTo>
                <a:lnTo>
                  <a:pt x="2395620" y="220409"/>
                </a:lnTo>
                <a:lnTo>
                  <a:pt x="2402786" y="232388"/>
                </a:lnTo>
                <a:lnTo>
                  <a:pt x="2405174" y="244366"/>
                </a:lnTo>
                <a:lnTo>
                  <a:pt x="2407563" y="258741"/>
                </a:lnTo>
                <a:lnTo>
                  <a:pt x="2751500" y="948716"/>
                </a:lnTo>
                <a:lnTo>
                  <a:pt x="2749112" y="965487"/>
                </a:lnTo>
                <a:lnTo>
                  <a:pt x="2744335" y="984653"/>
                </a:lnTo>
                <a:lnTo>
                  <a:pt x="2734781" y="1001423"/>
                </a:lnTo>
                <a:lnTo>
                  <a:pt x="2722839" y="1018193"/>
                </a:lnTo>
                <a:lnTo>
                  <a:pt x="2708508" y="1034963"/>
                </a:lnTo>
                <a:lnTo>
                  <a:pt x="2689400" y="1051734"/>
                </a:lnTo>
                <a:lnTo>
                  <a:pt x="2667904" y="1068504"/>
                </a:lnTo>
                <a:lnTo>
                  <a:pt x="2644020" y="1082878"/>
                </a:lnTo>
                <a:lnTo>
                  <a:pt x="2615358" y="1097253"/>
                </a:lnTo>
                <a:lnTo>
                  <a:pt x="2584308" y="1114023"/>
                </a:lnTo>
                <a:lnTo>
                  <a:pt x="2517432" y="1142772"/>
                </a:lnTo>
                <a:lnTo>
                  <a:pt x="2436224" y="1169125"/>
                </a:lnTo>
                <a:lnTo>
                  <a:pt x="2347851" y="1193083"/>
                </a:lnTo>
                <a:lnTo>
                  <a:pt x="2249925" y="1214644"/>
                </a:lnTo>
                <a:lnTo>
                  <a:pt x="2144833" y="1233810"/>
                </a:lnTo>
                <a:lnTo>
                  <a:pt x="2032575" y="1252976"/>
                </a:lnTo>
                <a:lnTo>
                  <a:pt x="1910764" y="1267351"/>
                </a:lnTo>
                <a:lnTo>
                  <a:pt x="1784176" y="1279330"/>
                </a:lnTo>
                <a:lnTo>
                  <a:pt x="1652811" y="1286517"/>
                </a:lnTo>
                <a:lnTo>
                  <a:pt x="1516669" y="1291308"/>
                </a:lnTo>
                <a:lnTo>
                  <a:pt x="1375750" y="1293704"/>
                </a:lnTo>
                <a:lnTo>
                  <a:pt x="1234831" y="1291308"/>
                </a:lnTo>
                <a:lnTo>
                  <a:pt x="1098689" y="1286517"/>
                </a:lnTo>
                <a:lnTo>
                  <a:pt x="967324" y="1279330"/>
                </a:lnTo>
                <a:lnTo>
                  <a:pt x="840736" y="1267351"/>
                </a:lnTo>
                <a:lnTo>
                  <a:pt x="718925" y="1252976"/>
                </a:lnTo>
                <a:lnTo>
                  <a:pt x="606668" y="1233810"/>
                </a:lnTo>
                <a:lnTo>
                  <a:pt x="501576" y="1214644"/>
                </a:lnTo>
                <a:lnTo>
                  <a:pt x="403649" y="1193083"/>
                </a:lnTo>
                <a:lnTo>
                  <a:pt x="315276" y="1169125"/>
                </a:lnTo>
                <a:lnTo>
                  <a:pt x="234069" y="1142772"/>
                </a:lnTo>
                <a:lnTo>
                  <a:pt x="167192" y="1114023"/>
                </a:lnTo>
                <a:lnTo>
                  <a:pt x="136142" y="1097253"/>
                </a:lnTo>
                <a:lnTo>
                  <a:pt x="107481" y="1082878"/>
                </a:lnTo>
                <a:lnTo>
                  <a:pt x="83596" y="1068504"/>
                </a:lnTo>
                <a:lnTo>
                  <a:pt x="62100" y="1051734"/>
                </a:lnTo>
                <a:lnTo>
                  <a:pt x="42992" y="1034963"/>
                </a:lnTo>
                <a:lnTo>
                  <a:pt x="28662" y="1018193"/>
                </a:lnTo>
                <a:lnTo>
                  <a:pt x="16719" y="1001423"/>
                </a:lnTo>
                <a:lnTo>
                  <a:pt x="7166" y="984653"/>
                </a:lnTo>
                <a:lnTo>
                  <a:pt x="2389" y="965487"/>
                </a:lnTo>
                <a:lnTo>
                  <a:pt x="0" y="948716"/>
                </a:lnTo>
                <a:lnTo>
                  <a:pt x="343938" y="258741"/>
                </a:lnTo>
                <a:lnTo>
                  <a:pt x="346326" y="244366"/>
                </a:lnTo>
                <a:lnTo>
                  <a:pt x="348715" y="232388"/>
                </a:lnTo>
                <a:lnTo>
                  <a:pt x="355880" y="220409"/>
                </a:lnTo>
                <a:lnTo>
                  <a:pt x="365434" y="206034"/>
                </a:lnTo>
                <a:lnTo>
                  <a:pt x="377376" y="194056"/>
                </a:lnTo>
                <a:lnTo>
                  <a:pt x="389318" y="182077"/>
                </a:lnTo>
                <a:lnTo>
                  <a:pt x="406037" y="170098"/>
                </a:lnTo>
                <a:lnTo>
                  <a:pt x="425145" y="158120"/>
                </a:lnTo>
                <a:lnTo>
                  <a:pt x="468137" y="136558"/>
                </a:lnTo>
                <a:lnTo>
                  <a:pt x="520683" y="114996"/>
                </a:lnTo>
                <a:lnTo>
                  <a:pt x="580395" y="93434"/>
                </a:lnTo>
                <a:lnTo>
                  <a:pt x="647271" y="76664"/>
                </a:lnTo>
                <a:lnTo>
                  <a:pt x="718925" y="59894"/>
                </a:lnTo>
                <a:lnTo>
                  <a:pt x="797744" y="43124"/>
                </a:lnTo>
                <a:lnTo>
                  <a:pt x="883728" y="31145"/>
                </a:lnTo>
                <a:lnTo>
                  <a:pt x="974490" y="19166"/>
                </a:lnTo>
                <a:lnTo>
                  <a:pt x="1070028" y="11979"/>
                </a:lnTo>
                <a:lnTo>
                  <a:pt x="1167955" y="4792"/>
                </a:lnTo>
                <a:lnTo>
                  <a:pt x="1270658" y="2396"/>
                </a:lnTo>
                <a:close/>
              </a:path>
            </a:pathLst>
          </a:custGeom>
          <a:gradFill flip="none" rotWithShape="1">
            <a:gsLst>
              <a:gs pos="0">
                <a:schemeClr val="accent1">
                  <a:lumMod val="75000"/>
                  <a:lumOff val="25000"/>
                </a:schemeClr>
              </a:gs>
              <a:gs pos="100000">
                <a:schemeClr val="accent1">
                  <a:lumMod val="80000"/>
                </a:schemeClr>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ko-KR" altLang="en-US">
              <a:solidFill>
                <a:srgbClr val="FFFFFF"/>
              </a:solidFill>
              <a:latin typeface="Arial"/>
            </a:endParaRPr>
          </a:p>
        </p:txBody>
      </p:sp>
      <p:sp>
        <p:nvSpPr>
          <p:cNvPr id="38" name="任意多边形: 形状 37">
            <a:extLst>
              <a:ext uri="{FF2B5EF4-FFF2-40B4-BE49-F238E27FC236}">
                <a16:creationId xmlns:a16="http://schemas.microsoft.com/office/drawing/2014/main" id="{EFAEF6B4-4210-3555-1B7B-DE29FB176AB8}"/>
              </a:ext>
            </a:extLst>
          </p:cNvPr>
          <p:cNvSpPr>
            <a:spLocks/>
          </p:cNvSpPr>
          <p:nvPr/>
        </p:nvSpPr>
        <p:spPr bwMode="auto">
          <a:xfrm>
            <a:off x="5064189" y="2721265"/>
            <a:ext cx="2063625" cy="517482"/>
          </a:xfrm>
          <a:custGeom>
            <a:avLst/>
            <a:gdLst>
              <a:gd name="connsiteX0" fmla="*/ 1031813 w 2063625"/>
              <a:gd name="connsiteY0" fmla="*/ 0 h 517482"/>
              <a:gd name="connsiteX1" fmla="*/ 1136905 w 2063625"/>
              <a:gd name="connsiteY1" fmla="*/ 2396 h 517482"/>
              <a:gd name="connsiteX2" fmla="*/ 1239608 w 2063625"/>
              <a:gd name="connsiteY2" fmla="*/ 4792 h 517482"/>
              <a:gd name="connsiteX3" fmla="*/ 1337535 w 2063625"/>
              <a:gd name="connsiteY3" fmla="*/ 11979 h 517482"/>
              <a:gd name="connsiteX4" fmla="*/ 1433073 w 2063625"/>
              <a:gd name="connsiteY4" fmla="*/ 19166 h 517482"/>
              <a:gd name="connsiteX5" fmla="*/ 1523834 w 2063625"/>
              <a:gd name="connsiteY5" fmla="*/ 31145 h 517482"/>
              <a:gd name="connsiteX6" fmla="*/ 1609819 w 2063625"/>
              <a:gd name="connsiteY6" fmla="*/ 43124 h 517482"/>
              <a:gd name="connsiteX7" fmla="*/ 1688638 w 2063625"/>
              <a:gd name="connsiteY7" fmla="*/ 59894 h 517482"/>
              <a:gd name="connsiteX8" fmla="*/ 1760291 w 2063625"/>
              <a:gd name="connsiteY8" fmla="*/ 76664 h 517482"/>
              <a:gd name="connsiteX9" fmla="*/ 1827168 w 2063625"/>
              <a:gd name="connsiteY9" fmla="*/ 93434 h 517482"/>
              <a:gd name="connsiteX10" fmla="*/ 1886880 w 2063625"/>
              <a:gd name="connsiteY10" fmla="*/ 114996 h 517482"/>
              <a:gd name="connsiteX11" fmla="*/ 1939426 w 2063625"/>
              <a:gd name="connsiteY11" fmla="*/ 136558 h 517482"/>
              <a:gd name="connsiteX12" fmla="*/ 1982418 w 2063625"/>
              <a:gd name="connsiteY12" fmla="*/ 158120 h 517482"/>
              <a:gd name="connsiteX13" fmla="*/ 2001525 w 2063625"/>
              <a:gd name="connsiteY13" fmla="*/ 170098 h 517482"/>
              <a:gd name="connsiteX14" fmla="*/ 2018245 w 2063625"/>
              <a:gd name="connsiteY14" fmla="*/ 182077 h 517482"/>
              <a:gd name="connsiteX15" fmla="*/ 2030187 w 2063625"/>
              <a:gd name="connsiteY15" fmla="*/ 194056 h 517482"/>
              <a:gd name="connsiteX16" fmla="*/ 2042129 w 2063625"/>
              <a:gd name="connsiteY16" fmla="*/ 206035 h 517482"/>
              <a:gd name="connsiteX17" fmla="*/ 2051683 w 2063625"/>
              <a:gd name="connsiteY17" fmla="*/ 220409 h 517482"/>
              <a:gd name="connsiteX18" fmla="*/ 2058848 w 2063625"/>
              <a:gd name="connsiteY18" fmla="*/ 232388 h 517482"/>
              <a:gd name="connsiteX19" fmla="*/ 2061237 w 2063625"/>
              <a:gd name="connsiteY19" fmla="*/ 244367 h 517482"/>
              <a:gd name="connsiteX20" fmla="*/ 2063625 w 2063625"/>
              <a:gd name="connsiteY20" fmla="*/ 258741 h 517482"/>
              <a:gd name="connsiteX21" fmla="*/ 2061237 w 2063625"/>
              <a:gd name="connsiteY21" fmla="*/ 273116 h 517482"/>
              <a:gd name="connsiteX22" fmla="*/ 2058848 w 2063625"/>
              <a:gd name="connsiteY22" fmla="*/ 285094 h 517482"/>
              <a:gd name="connsiteX23" fmla="*/ 2051683 w 2063625"/>
              <a:gd name="connsiteY23" fmla="*/ 297073 h 517482"/>
              <a:gd name="connsiteX24" fmla="*/ 2042129 w 2063625"/>
              <a:gd name="connsiteY24" fmla="*/ 311448 h 517482"/>
              <a:gd name="connsiteX25" fmla="*/ 2030187 w 2063625"/>
              <a:gd name="connsiteY25" fmla="*/ 323426 h 517482"/>
              <a:gd name="connsiteX26" fmla="*/ 2018245 w 2063625"/>
              <a:gd name="connsiteY26" fmla="*/ 335405 h 517482"/>
              <a:gd name="connsiteX27" fmla="*/ 2001525 w 2063625"/>
              <a:gd name="connsiteY27" fmla="*/ 347384 h 517482"/>
              <a:gd name="connsiteX28" fmla="*/ 1982418 w 2063625"/>
              <a:gd name="connsiteY28" fmla="*/ 359363 h 517482"/>
              <a:gd name="connsiteX29" fmla="*/ 1939426 w 2063625"/>
              <a:gd name="connsiteY29" fmla="*/ 380924 h 517482"/>
              <a:gd name="connsiteX30" fmla="*/ 1886880 w 2063625"/>
              <a:gd name="connsiteY30" fmla="*/ 402486 h 517482"/>
              <a:gd name="connsiteX31" fmla="*/ 1827168 w 2063625"/>
              <a:gd name="connsiteY31" fmla="*/ 424048 h 517482"/>
              <a:gd name="connsiteX32" fmla="*/ 1760291 w 2063625"/>
              <a:gd name="connsiteY32" fmla="*/ 440818 h 517482"/>
              <a:gd name="connsiteX33" fmla="*/ 1688638 w 2063625"/>
              <a:gd name="connsiteY33" fmla="*/ 457588 h 517482"/>
              <a:gd name="connsiteX34" fmla="*/ 1609819 w 2063625"/>
              <a:gd name="connsiteY34" fmla="*/ 474359 h 517482"/>
              <a:gd name="connsiteX35" fmla="*/ 1523834 w 2063625"/>
              <a:gd name="connsiteY35" fmla="*/ 486337 h 517482"/>
              <a:gd name="connsiteX36" fmla="*/ 1433073 w 2063625"/>
              <a:gd name="connsiteY36" fmla="*/ 498316 h 517482"/>
              <a:gd name="connsiteX37" fmla="*/ 1337535 w 2063625"/>
              <a:gd name="connsiteY37" fmla="*/ 505503 h 517482"/>
              <a:gd name="connsiteX38" fmla="*/ 1239608 w 2063625"/>
              <a:gd name="connsiteY38" fmla="*/ 512691 h 517482"/>
              <a:gd name="connsiteX39" fmla="*/ 1136905 w 2063625"/>
              <a:gd name="connsiteY39" fmla="*/ 515086 h 517482"/>
              <a:gd name="connsiteX40" fmla="*/ 1031813 w 2063625"/>
              <a:gd name="connsiteY40" fmla="*/ 517482 h 517482"/>
              <a:gd name="connsiteX41" fmla="*/ 926721 w 2063625"/>
              <a:gd name="connsiteY41" fmla="*/ 515086 h 517482"/>
              <a:gd name="connsiteX42" fmla="*/ 824017 w 2063625"/>
              <a:gd name="connsiteY42" fmla="*/ 512691 h 517482"/>
              <a:gd name="connsiteX43" fmla="*/ 726090 w 2063625"/>
              <a:gd name="connsiteY43" fmla="*/ 505503 h 517482"/>
              <a:gd name="connsiteX44" fmla="*/ 630552 w 2063625"/>
              <a:gd name="connsiteY44" fmla="*/ 498316 h 517482"/>
              <a:gd name="connsiteX45" fmla="*/ 539791 w 2063625"/>
              <a:gd name="connsiteY45" fmla="*/ 486337 h 517482"/>
              <a:gd name="connsiteX46" fmla="*/ 453807 w 2063625"/>
              <a:gd name="connsiteY46" fmla="*/ 474359 h 517482"/>
              <a:gd name="connsiteX47" fmla="*/ 374988 w 2063625"/>
              <a:gd name="connsiteY47" fmla="*/ 457588 h 517482"/>
              <a:gd name="connsiteX48" fmla="*/ 303334 w 2063625"/>
              <a:gd name="connsiteY48" fmla="*/ 440818 h 517482"/>
              <a:gd name="connsiteX49" fmla="*/ 236457 w 2063625"/>
              <a:gd name="connsiteY49" fmla="*/ 424048 h 517482"/>
              <a:gd name="connsiteX50" fmla="*/ 176746 w 2063625"/>
              <a:gd name="connsiteY50" fmla="*/ 402486 h 517482"/>
              <a:gd name="connsiteX51" fmla="*/ 124200 w 2063625"/>
              <a:gd name="connsiteY51" fmla="*/ 380924 h 517482"/>
              <a:gd name="connsiteX52" fmla="*/ 81208 w 2063625"/>
              <a:gd name="connsiteY52" fmla="*/ 359363 h 517482"/>
              <a:gd name="connsiteX53" fmla="*/ 62100 w 2063625"/>
              <a:gd name="connsiteY53" fmla="*/ 347384 h 517482"/>
              <a:gd name="connsiteX54" fmla="*/ 45381 w 2063625"/>
              <a:gd name="connsiteY54" fmla="*/ 335405 h 517482"/>
              <a:gd name="connsiteX55" fmla="*/ 33438 w 2063625"/>
              <a:gd name="connsiteY55" fmla="*/ 323426 h 517482"/>
              <a:gd name="connsiteX56" fmla="*/ 21496 w 2063625"/>
              <a:gd name="connsiteY56" fmla="*/ 311448 h 517482"/>
              <a:gd name="connsiteX57" fmla="*/ 11942 w 2063625"/>
              <a:gd name="connsiteY57" fmla="*/ 297073 h 517482"/>
              <a:gd name="connsiteX58" fmla="*/ 4777 w 2063625"/>
              <a:gd name="connsiteY58" fmla="*/ 285094 h 517482"/>
              <a:gd name="connsiteX59" fmla="*/ 2389 w 2063625"/>
              <a:gd name="connsiteY59" fmla="*/ 273116 h 517482"/>
              <a:gd name="connsiteX60" fmla="*/ 0 w 2063625"/>
              <a:gd name="connsiteY60" fmla="*/ 258741 h 517482"/>
              <a:gd name="connsiteX61" fmla="*/ 2389 w 2063625"/>
              <a:gd name="connsiteY61" fmla="*/ 244367 h 517482"/>
              <a:gd name="connsiteX62" fmla="*/ 4777 w 2063625"/>
              <a:gd name="connsiteY62" fmla="*/ 232388 h 517482"/>
              <a:gd name="connsiteX63" fmla="*/ 11942 w 2063625"/>
              <a:gd name="connsiteY63" fmla="*/ 220409 h 517482"/>
              <a:gd name="connsiteX64" fmla="*/ 21496 w 2063625"/>
              <a:gd name="connsiteY64" fmla="*/ 206035 h 517482"/>
              <a:gd name="connsiteX65" fmla="*/ 33438 w 2063625"/>
              <a:gd name="connsiteY65" fmla="*/ 194056 h 517482"/>
              <a:gd name="connsiteX66" fmla="*/ 45381 w 2063625"/>
              <a:gd name="connsiteY66" fmla="*/ 182077 h 517482"/>
              <a:gd name="connsiteX67" fmla="*/ 62100 w 2063625"/>
              <a:gd name="connsiteY67" fmla="*/ 170098 h 517482"/>
              <a:gd name="connsiteX68" fmla="*/ 81208 w 2063625"/>
              <a:gd name="connsiteY68" fmla="*/ 158120 h 517482"/>
              <a:gd name="connsiteX69" fmla="*/ 124200 w 2063625"/>
              <a:gd name="connsiteY69" fmla="*/ 136558 h 517482"/>
              <a:gd name="connsiteX70" fmla="*/ 176746 w 2063625"/>
              <a:gd name="connsiteY70" fmla="*/ 114996 h 517482"/>
              <a:gd name="connsiteX71" fmla="*/ 236457 w 2063625"/>
              <a:gd name="connsiteY71" fmla="*/ 93434 h 517482"/>
              <a:gd name="connsiteX72" fmla="*/ 303334 w 2063625"/>
              <a:gd name="connsiteY72" fmla="*/ 76664 h 517482"/>
              <a:gd name="connsiteX73" fmla="*/ 374988 w 2063625"/>
              <a:gd name="connsiteY73" fmla="*/ 59894 h 517482"/>
              <a:gd name="connsiteX74" fmla="*/ 453807 w 2063625"/>
              <a:gd name="connsiteY74" fmla="*/ 43124 h 517482"/>
              <a:gd name="connsiteX75" fmla="*/ 539791 w 2063625"/>
              <a:gd name="connsiteY75" fmla="*/ 31145 h 517482"/>
              <a:gd name="connsiteX76" fmla="*/ 630552 w 2063625"/>
              <a:gd name="connsiteY76" fmla="*/ 19166 h 517482"/>
              <a:gd name="connsiteX77" fmla="*/ 726090 w 2063625"/>
              <a:gd name="connsiteY77" fmla="*/ 11979 h 517482"/>
              <a:gd name="connsiteX78" fmla="*/ 824017 w 2063625"/>
              <a:gd name="connsiteY78" fmla="*/ 4792 h 517482"/>
              <a:gd name="connsiteX79" fmla="*/ 926721 w 2063625"/>
              <a:gd name="connsiteY79" fmla="*/ 2396 h 5174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2063625" h="517482">
                <a:moveTo>
                  <a:pt x="1031813" y="0"/>
                </a:moveTo>
                <a:lnTo>
                  <a:pt x="1136905" y="2396"/>
                </a:lnTo>
                <a:lnTo>
                  <a:pt x="1239608" y="4792"/>
                </a:lnTo>
                <a:lnTo>
                  <a:pt x="1337535" y="11979"/>
                </a:lnTo>
                <a:lnTo>
                  <a:pt x="1433073" y="19166"/>
                </a:lnTo>
                <a:lnTo>
                  <a:pt x="1523834" y="31145"/>
                </a:lnTo>
                <a:lnTo>
                  <a:pt x="1609819" y="43124"/>
                </a:lnTo>
                <a:lnTo>
                  <a:pt x="1688638" y="59894"/>
                </a:lnTo>
                <a:lnTo>
                  <a:pt x="1760291" y="76664"/>
                </a:lnTo>
                <a:lnTo>
                  <a:pt x="1827168" y="93434"/>
                </a:lnTo>
                <a:lnTo>
                  <a:pt x="1886880" y="114996"/>
                </a:lnTo>
                <a:lnTo>
                  <a:pt x="1939426" y="136558"/>
                </a:lnTo>
                <a:lnTo>
                  <a:pt x="1982418" y="158120"/>
                </a:lnTo>
                <a:lnTo>
                  <a:pt x="2001525" y="170098"/>
                </a:lnTo>
                <a:lnTo>
                  <a:pt x="2018245" y="182077"/>
                </a:lnTo>
                <a:lnTo>
                  <a:pt x="2030187" y="194056"/>
                </a:lnTo>
                <a:lnTo>
                  <a:pt x="2042129" y="206035"/>
                </a:lnTo>
                <a:lnTo>
                  <a:pt x="2051683" y="220409"/>
                </a:lnTo>
                <a:lnTo>
                  <a:pt x="2058848" y="232388"/>
                </a:lnTo>
                <a:lnTo>
                  <a:pt x="2061237" y="244367"/>
                </a:lnTo>
                <a:lnTo>
                  <a:pt x="2063625" y="258741"/>
                </a:lnTo>
                <a:lnTo>
                  <a:pt x="2061237" y="273116"/>
                </a:lnTo>
                <a:lnTo>
                  <a:pt x="2058848" y="285094"/>
                </a:lnTo>
                <a:lnTo>
                  <a:pt x="2051683" y="297073"/>
                </a:lnTo>
                <a:lnTo>
                  <a:pt x="2042129" y="311448"/>
                </a:lnTo>
                <a:lnTo>
                  <a:pt x="2030187" y="323426"/>
                </a:lnTo>
                <a:lnTo>
                  <a:pt x="2018245" y="335405"/>
                </a:lnTo>
                <a:lnTo>
                  <a:pt x="2001525" y="347384"/>
                </a:lnTo>
                <a:lnTo>
                  <a:pt x="1982418" y="359363"/>
                </a:lnTo>
                <a:lnTo>
                  <a:pt x="1939426" y="380924"/>
                </a:lnTo>
                <a:lnTo>
                  <a:pt x="1886880" y="402486"/>
                </a:lnTo>
                <a:lnTo>
                  <a:pt x="1827168" y="424048"/>
                </a:lnTo>
                <a:lnTo>
                  <a:pt x="1760291" y="440818"/>
                </a:lnTo>
                <a:lnTo>
                  <a:pt x="1688638" y="457588"/>
                </a:lnTo>
                <a:lnTo>
                  <a:pt x="1609819" y="474359"/>
                </a:lnTo>
                <a:lnTo>
                  <a:pt x="1523834" y="486337"/>
                </a:lnTo>
                <a:lnTo>
                  <a:pt x="1433073" y="498316"/>
                </a:lnTo>
                <a:lnTo>
                  <a:pt x="1337535" y="505503"/>
                </a:lnTo>
                <a:lnTo>
                  <a:pt x="1239608" y="512691"/>
                </a:lnTo>
                <a:lnTo>
                  <a:pt x="1136905" y="515086"/>
                </a:lnTo>
                <a:lnTo>
                  <a:pt x="1031813" y="517482"/>
                </a:lnTo>
                <a:lnTo>
                  <a:pt x="926721" y="515086"/>
                </a:lnTo>
                <a:lnTo>
                  <a:pt x="824017" y="512691"/>
                </a:lnTo>
                <a:lnTo>
                  <a:pt x="726090" y="505503"/>
                </a:lnTo>
                <a:lnTo>
                  <a:pt x="630552" y="498316"/>
                </a:lnTo>
                <a:lnTo>
                  <a:pt x="539791" y="486337"/>
                </a:lnTo>
                <a:lnTo>
                  <a:pt x="453807" y="474359"/>
                </a:lnTo>
                <a:lnTo>
                  <a:pt x="374988" y="457588"/>
                </a:lnTo>
                <a:lnTo>
                  <a:pt x="303334" y="440818"/>
                </a:lnTo>
                <a:lnTo>
                  <a:pt x="236457" y="424048"/>
                </a:lnTo>
                <a:lnTo>
                  <a:pt x="176746" y="402486"/>
                </a:lnTo>
                <a:lnTo>
                  <a:pt x="124200" y="380924"/>
                </a:lnTo>
                <a:lnTo>
                  <a:pt x="81208" y="359363"/>
                </a:lnTo>
                <a:lnTo>
                  <a:pt x="62100" y="347384"/>
                </a:lnTo>
                <a:lnTo>
                  <a:pt x="45381" y="335405"/>
                </a:lnTo>
                <a:lnTo>
                  <a:pt x="33438" y="323426"/>
                </a:lnTo>
                <a:lnTo>
                  <a:pt x="21496" y="311448"/>
                </a:lnTo>
                <a:lnTo>
                  <a:pt x="11942" y="297073"/>
                </a:lnTo>
                <a:lnTo>
                  <a:pt x="4777" y="285094"/>
                </a:lnTo>
                <a:lnTo>
                  <a:pt x="2389" y="273116"/>
                </a:lnTo>
                <a:lnTo>
                  <a:pt x="0" y="258741"/>
                </a:lnTo>
                <a:lnTo>
                  <a:pt x="2389" y="244367"/>
                </a:lnTo>
                <a:lnTo>
                  <a:pt x="4777" y="232388"/>
                </a:lnTo>
                <a:lnTo>
                  <a:pt x="11942" y="220409"/>
                </a:lnTo>
                <a:lnTo>
                  <a:pt x="21496" y="206035"/>
                </a:lnTo>
                <a:lnTo>
                  <a:pt x="33438" y="194056"/>
                </a:lnTo>
                <a:lnTo>
                  <a:pt x="45381" y="182077"/>
                </a:lnTo>
                <a:lnTo>
                  <a:pt x="62100" y="170098"/>
                </a:lnTo>
                <a:lnTo>
                  <a:pt x="81208" y="158120"/>
                </a:lnTo>
                <a:lnTo>
                  <a:pt x="124200" y="136558"/>
                </a:lnTo>
                <a:lnTo>
                  <a:pt x="176746" y="114996"/>
                </a:lnTo>
                <a:lnTo>
                  <a:pt x="236457" y="93434"/>
                </a:lnTo>
                <a:lnTo>
                  <a:pt x="303334" y="76664"/>
                </a:lnTo>
                <a:lnTo>
                  <a:pt x="374988" y="59894"/>
                </a:lnTo>
                <a:lnTo>
                  <a:pt x="453807" y="43124"/>
                </a:lnTo>
                <a:lnTo>
                  <a:pt x="539791" y="31145"/>
                </a:lnTo>
                <a:lnTo>
                  <a:pt x="630552" y="19166"/>
                </a:lnTo>
                <a:lnTo>
                  <a:pt x="726090" y="11979"/>
                </a:lnTo>
                <a:lnTo>
                  <a:pt x="824017" y="4792"/>
                </a:lnTo>
                <a:lnTo>
                  <a:pt x="926721" y="2396"/>
                </a:lnTo>
                <a:close/>
              </a:path>
            </a:pathLst>
          </a:custGeom>
          <a:gradFill flip="none" rotWithShape="1">
            <a:gsLst>
              <a:gs pos="100000">
                <a:schemeClr val="accent1">
                  <a:lumMod val="100000"/>
                </a:schemeClr>
              </a:gs>
              <a:gs pos="0">
                <a:schemeClr val="accent1">
                  <a:lumMod val="55000"/>
                  <a:lumOff val="45000"/>
                </a:schemeClr>
              </a:gs>
            </a:gsLst>
            <a:lin ang="2700000" scaled="1"/>
            <a:tileRect/>
          </a:gradFill>
          <a:ln w="25400">
            <a:noFill/>
          </a:ln>
          <a:effectLst>
            <a:outerShdw blurRad="254000" dist="177800" dir="2700000" algn="tl" rotWithShape="0">
              <a:schemeClr val="accent1">
                <a:alpha val="20000"/>
              </a:schemeClr>
            </a:outerShdw>
          </a:effectLst>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485899" tIns="63500" rIns="1485901" bIns="63500" numCol="1" spcCol="1270" anchor="ctr" anchorCtr="0">
            <a:noAutofit/>
          </a:bodyPr>
          <a:lstStyle/>
          <a:p>
            <a:pPr algn="ctr" defTabSz="2222500">
              <a:lnSpc>
                <a:spcPct val="90000"/>
              </a:lnSpc>
              <a:spcBef>
                <a:spcPct val="0"/>
              </a:spcBef>
              <a:spcAft>
                <a:spcPct val="35000"/>
              </a:spcAft>
            </a:pPr>
            <a:endParaRPr lang="zh-CN" altLang="en-US" sz="3200">
              <a:solidFill>
                <a:prstClr val="white"/>
              </a:solidFill>
              <a:latin typeface="等线" panose="020F0502020204030204"/>
              <a:ea typeface="等线" panose="02010600030101010101" pitchFamily="2" charset="-122"/>
            </a:endParaRPr>
          </a:p>
        </p:txBody>
      </p:sp>
      <p:sp>
        <p:nvSpPr>
          <p:cNvPr id="26" name="任意多边形: 形状 25">
            <a:extLst>
              <a:ext uri="{FF2B5EF4-FFF2-40B4-BE49-F238E27FC236}">
                <a16:creationId xmlns:a16="http://schemas.microsoft.com/office/drawing/2014/main" id="{3A718846-5E11-A9A5-BBD8-0406A08E2B0D}"/>
              </a:ext>
            </a:extLst>
          </p:cNvPr>
          <p:cNvSpPr>
            <a:spLocks/>
          </p:cNvSpPr>
          <p:nvPr/>
        </p:nvSpPr>
        <p:spPr bwMode="auto">
          <a:xfrm>
            <a:off x="5178041" y="1966210"/>
            <a:ext cx="1860888" cy="1028541"/>
          </a:xfrm>
          <a:custGeom>
            <a:avLst/>
            <a:gdLst>
              <a:gd name="connsiteX0" fmla="*/ 867984 w 1860888"/>
              <a:gd name="connsiteY0" fmla="*/ 0 h 1028541"/>
              <a:gd name="connsiteX1" fmla="*/ 930444 w 1860888"/>
              <a:gd name="connsiteY1" fmla="*/ 0 h 1028541"/>
              <a:gd name="connsiteX2" fmla="*/ 992905 w 1860888"/>
              <a:gd name="connsiteY2" fmla="*/ 0 h 1028541"/>
              <a:gd name="connsiteX3" fmla="*/ 1055365 w 1860888"/>
              <a:gd name="connsiteY3" fmla="*/ 2198 h 1028541"/>
              <a:gd name="connsiteX4" fmla="*/ 1115671 w 1860888"/>
              <a:gd name="connsiteY4" fmla="*/ 6593 h 1028541"/>
              <a:gd name="connsiteX5" fmla="*/ 1171670 w 1860888"/>
              <a:gd name="connsiteY5" fmla="*/ 13187 h 1028541"/>
              <a:gd name="connsiteX6" fmla="*/ 1225516 w 1860888"/>
              <a:gd name="connsiteY6" fmla="*/ 19780 h 1028541"/>
              <a:gd name="connsiteX7" fmla="*/ 1277207 w 1860888"/>
              <a:gd name="connsiteY7" fmla="*/ 26373 h 1028541"/>
              <a:gd name="connsiteX8" fmla="*/ 1324591 w 1860888"/>
              <a:gd name="connsiteY8" fmla="*/ 35164 h 1028541"/>
              <a:gd name="connsiteX9" fmla="*/ 1369821 w 1860888"/>
              <a:gd name="connsiteY9" fmla="*/ 46153 h 1028541"/>
              <a:gd name="connsiteX10" fmla="*/ 1408589 w 1860888"/>
              <a:gd name="connsiteY10" fmla="*/ 57141 h 1028541"/>
              <a:gd name="connsiteX11" fmla="*/ 1445204 w 1860888"/>
              <a:gd name="connsiteY11" fmla="*/ 70328 h 1028541"/>
              <a:gd name="connsiteX12" fmla="*/ 1475357 w 1860888"/>
              <a:gd name="connsiteY12" fmla="*/ 83514 h 1028541"/>
              <a:gd name="connsiteX13" fmla="*/ 1501203 w 1860888"/>
              <a:gd name="connsiteY13" fmla="*/ 96701 h 1028541"/>
              <a:gd name="connsiteX14" fmla="*/ 1522741 w 1860888"/>
              <a:gd name="connsiteY14" fmla="*/ 112085 h 1028541"/>
              <a:gd name="connsiteX15" fmla="*/ 1537817 w 1860888"/>
              <a:gd name="connsiteY15" fmla="*/ 125271 h 1028541"/>
              <a:gd name="connsiteX16" fmla="*/ 1544279 w 1860888"/>
              <a:gd name="connsiteY16" fmla="*/ 134062 h 1028541"/>
              <a:gd name="connsiteX17" fmla="*/ 1548586 w 1860888"/>
              <a:gd name="connsiteY17" fmla="*/ 142853 h 1028541"/>
              <a:gd name="connsiteX18" fmla="*/ 1550740 w 1860888"/>
              <a:gd name="connsiteY18" fmla="*/ 149446 h 1028541"/>
              <a:gd name="connsiteX19" fmla="*/ 1550740 w 1860888"/>
              <a:gd name="connsiteY19" fmla="*/ 158237 h 1028541"/>
              <a:gd name="connsiteX20" fmla="*/ 1860888 w 1860888"/>
              <a:gd name="connsiteY20" fmla="*/ 791186 h 1028541"/>
              <a:gd name="connsiteX21" fmla="*/ 1858734 w 1860888"/>
              <a:gd name="connsiteY21" fmla="*/ 804372 h 1028541"/>
              <a:gd name="connsiteX22" fmla="*/ 1856581 w 1860888"/>
              <a:gd name="connsiteY22" fmla="*/ 815361 h 1028541"/>
              <a:gd name="connsiteX23" fmla="*/ 1850119 w 1860888"/>
              <a:gd name="connsiteY23" fmla="*/ 826349 h 1028541"/>
              <a:gd name="connsiteX24" fmla="*/ 1841504 w 1860888"/>
              <a:gd name="connsiteY24" fmla="*/ 839536 h 1028541"/>
              <a:gd name="connsiteX25" fmla="*/ 1830735 w 1860888"/>
              <a:gd name="connsiteY25" fmla="*/ 850524 h 1028541"/>
              <a:gd name="connsiteX26" fmla="*/ 1819966 w 1860888"/>
              <a:gd name="connsiteY26" fmla="*/ 861513 h 1028541"/>
              <a:gd name="connsiteX27" fmla="*/ 1804889 w 1860888"/>
              <a:gd name="connsiteY27" fmla="*/ 872502 h 1028541"/>
              <a:gd name="connsiteX28" fmla="*/ 1787659 w 1860888"/>
              <a:gd name="connsiteY28" fmla="*/ 883491 h 1028541"/>
              <a:gd name="connsiteX29" fmla="*/ 1748890 w 1860888"/>
              <a:gd name="connsiteY29" fmla="*/ 903270 h 1028541"/>
              <a:gd name="connsiteX30" fmla="*/ 1701507 w 1860888"/>
              <a:gd name="connsiteY30" fmla="*/ 923050 h 1028541"/>
              <a:gd name="connsiteX31" fmla="*/ 1647661 w 1860888"/>
              <a:gd name="connsiteY31" fmla="*/ 942829 h 1028541"/>
              <a:gd name="connsiteX32" fmla="*/ 1587355 w 1860888"/>
              <a:gd name="connsiteY32" fmla="*/ 958214 h 1028541"/>
              <a:gd name="connsiteX33" fmla="*/ 1522741 w 1860888"/>
              <a:gd name="connsiteY33" fmla="*/ 973598 h 1028541"/>
              <a:gd name="connsiteX34" fmla="*/ 1451665 w 1860888"/>
              <a:gd name="connsiteY34" fmla="*/ 988982 h 1028541"/>
              <a:gd name="connsiteX35" fmla="*/ 1374128 w 1860888"/>
              <a:gd name="connsiteY35" fmla="*/ 999971 h 1028541"/>
              <a:gd name="connsiteX36" fmla="*/ 1292284 w 1860888"/>
              <a:gd name="connsiteY36" fmla="*/ 1010959 h 1028541"/>
              <a:gd name="connsiteX37" fmla="*/ 1206131 w 1860888"/>
              <a:gd name="connsiteY37" fmla="*/ 1017552 h 1028541"/>
              <a:gd name="connsiteX38" fmla="*/ 1117825 w 1860888"/>
              <a:gd name="connsiteY38" fmla="*/ 1024146 h 1028541"/>
              <a:gd name="connsiteX39" fmla="*/ 1025212 w 1860888"/>
              <a:gd name="connsiteY39" fmla="*/ 1026343 h 1028541"/>
              <a:gd name="connsiteX40" fmla="*/ 930444 w 1860888"/>
              <a:gd name="connsiteY40" fmla="*/ 1028541 h 1028541"/>
              <a:gd name="connsiteX41" fmla="*/ 835677 w 1860888"/>
              <a:gd name="connsiteY41" fmla="*/ 1026343 h 1028541"/>
              <a:gd name="connsiteX42" fmla="*/ 743063 w 1860888"/>
              <a:gd name="connsiteY42" fmla="*/ 1024146 h 1028541"/>
              <a:gd name="connsiteX43" fmla="*/ 654757 w 1860888"/>
              <a:gd name="connsiteY43" fmla="*/ 1017552 h 1028541"/>
              <a:gd name="connsiteX44" fmla="*/ 568605 w 1860888"/>
              <a:gd name="connsiteY44" fmla="*/ 1010959 h 1028541"/>
              <a:gd name="connsiteX45" fmla="*/ 486760 w 1860888"/>
              <a:gd name="connsiteY45" fmla="*/ 999971 h 1028541"/>
              <a:gd name="connsiteX46" fmla="*/ 409223 w 1860888"/>
              <a:gd name="connsiteY46" fmla="*/ 988982 h 1028541"/>
              <a:gd name="connsiteX47" fmla="*/ 338148 w 1860888"/>
              <a:gd name="connsiteY47" fmla="*/ 973598 h 1028541"/>
              <a:gd name="connsiteX48" fmla="*/ 273533 w 1860888"/>
              <a:gd name="connsiteY48" fmla="*/ 958214 h 1028541"/>
              <a:gd name="connsiteX49" fmla="*/ 213227 w 1860888"/>
              <a:gd name="connsiteY49" fmla="*/ 942829 h 1028541"/>
              <a:gd name="connsiteX50" fmla="*/ 159382 w 1860888"/>
              <a:gd name="connsiteY50" fmla="*/ 923050 h 1028541"/>
              <a:gd name="connsiteX51" fmla="*/ 111998 w 1860888"/>
              <a:gd name="connsiteY51" fmla="*/ 903270 h 1028541"/>
              <a:gd name="connsiteX52" fmla="*/ 73230 w 1860888"/>
              <a:gd name="connsiteY52" fmla="*/ 883491 h 1028541"/>
              <a:gd name="connsiteX53" fmla="*/ 55999 w 1860888"/>
              <a:gd name="connsiteY53" fmla="*/ 872502 h 1028541"/>
              <a:gd name="connsiteX54" fmla="*/ 40922 w 1860888"/>
              <a:gd name="connsiteY54" fmla="*/ 861513 h 1028541"/>
              <a:gd name="connsiteX55" fmla="*/ 30153 w 1860888"/>
              <a:gd name="connsiteY55" fmla="*/ 850524 h 1028541"/>
              <a:gd name="connsiteX56" fmla="*/ 19384 w 1860888"/>
              <a:gd name="connsiteY56" fmla="*/ 839536 h 1028541"/>
              <a:gd name="connsiteX57" fmla="*/ 10769 w 1860888"/>
              <a:gd name="connsiteY57" fmla="*/ 826349 h 1028541"/>
              <a:gd name="connsiteX58" fmla="*/ 4308 w 1860888"/>
              <a:gd name="connsiteY58" fmla="*/ 815361 h 1028541"/>
              <a:gd name="connsiteX59" fmla="*/ 2154 w 1860888"/>
              <a:gd name="connsiteY59" fmla="*/ 804372 h 1028541"/>
              <a:gd name="connsiteX60" fmla="*/ 0 w 1860888"/>
              <a:gd name="connsiteY60" fmla="*/ 791186 h 1028541"/>
              <a:gd name="connsiteX61" fmla="*/ 310148 w 1860888"/>
              <a:gd name="connsiteY61" fmla="*/ 158237 h 1028541"/>
              <a:gd name="connsiteX62" fmla="*/ 310148 w 1860888"/>
              <a:gd name="connsiteY62" fmla="*/ 149446 h 1028541"/>
              <a:gd name="connsiteX63" fmla="*/ 312302 w 1860888"/>
              <a:gd name="connsiteY63" fmla="*/ 142853 h 1028541"/>
              <a:gd name="connsiteX64" fmla="*/ 316610 w 1860888"/>
              <a:gd name="connsiteY64" fmla="*/ 134062 h 1028541"/>
              <a:gd name="connsiteX65" fmla="*/ 323071 w 1860888"/>
              <a:gd name="connsiteY65" fmla="*/ 125271 h 1028541"/>
              <a:gd name="connsiteX66" fmla="*/ 338148 w 1860888"/>
              <a:gd name="connsiteY66" fmla="*/ 112085 h 1028541"/>
              <a:gd name="connsiteX67" fmla="*/ 359686 w 1860888"/>
              <a:gd name="connsiteY67" fmla="*/ 96701 h 1028541"/>
              <a:gd name="connsiteX68" fmla="*/ 385531 w 1860888"/>
              <a:gd name="connsiteY68" fmla="*/ 83514 h 1028541"/>
              <a:gd name="connsiteX69" fmla="*/ 415685 w 1860888"/>
              <a:gd name="connsiteY69" fmla="*/ 70328 h 1028541"/>
              <a:gd name="connsiteX70" fmla="*/ 452299 w 1860888"/>
              <a:gd name="connsiteY70" fmla="*/ 57141 h 1028541"/>
              <a:gd name="connsiteX71" fmla="*/ 491068 w 1860888"/>
              <a:gd name="connsiteY71" fmla="*/ 46153 h 1028541"/>
              <a:gd name="connsiteX72" fmla="*/ 536298 w 1860888"/>
              <a:gd name="connsiteY72" fmla="*/ 35164 h 1028541"/>
              <a:gd name="connsiteX73" fmla="*/ 583681 w 1860888"/>
              <a:gd name="connsiteY73" fmla="*/ 26373 h 1028541"/>
              <a:gd name="connsiteX74" fmla="*/ 635373 w 1860888"/>
              <a:gd name="connsiteY74" fmla="*/ 19780 h 1028541"/>
              <a:gd name="connsiteX75" fmla="*/ 689218 w 1860888"/>
              <a:gd name="connsiteY75" fmla="*/ 13187 h 1028541"/>
              <a:gd name="connsiteX76" fmla="*/ 745217 w 1860888"/>
              <a:gd name="connsiteY76" fmla="*/ 6593 h 1028541"/>
              <a:gd name="connsiteX77" fmla="*/ 805523 w 1860888"/>
              <a:gd name="connsiteY77" fmla="*/ 2198 h 10285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1860888" h="1028541">
                <a:moveTo>
                  <a:pt x="867984" y="0"/>
                </a:moveTo>
                <a:lnTo>
                  <a:pt x="930444" y="0"/>
                </a:lnTo>
                <a:lnTo>
                  <a:pt x="992905" y="0"/>
                </a:lnTo>
                <a:lnTo>
                  <a:pt x="1055365" y="2198"/>
                </a:lnTo>
                <a:lnTo>
                  <a:pt x="1115671" y="6593"/>
                </a:lnTo>
                <a:lnTo>
                  <a:pt x="1171670" y="13187"/>
                </a:lnTo>
                <a:lnTo>
                  <a:pt x="1225516" y="19780"/>
                </a:lnTo>
                <a:lnTo>
                  <a:pt x="1277207" y="26373"/>
                </a:lnTo>
                <a:lnTo>
                  <a:pt x="1324591" y="35164"/>
                </a:lnTo>
                <a:lnTo>
                  <a:pt x="1369821" y="46153"/>
                </a:lnTo>
                <a:lnTo>
                  <a:pt x="1408589" y="57141"/>
                </a:lnTo>
                <a:lnTo>
                  <a:pt x="1445204" y="70328"/>
                </a:lnTo>
                <a:lnTo>
                  <a:pt x="1475357" y="83514"/>
                </a:lnTo>
                <a:lnTo>
                  <a:pt x="1501203" y="96701"/>
                </a:lnTo>
                <a:lnTo>
                  <a:pt x="1522741" y="112085"/>
                </a:lnTo>
                <a:lnTo>
                  <a:pt x="1537817" y="125271"/>
                </a:lnTo>
                <a:lnTo>
                  <a:pt x="1544279" y="134062"/>
                </a:lnTo>
                <a:lnTo>
                  <a:pt x="1548586" y="142853"/>
                </a:lnTo>
                <a:lnTo>
                  <a:pt x="1550740" y="149446"/>
                </a:lnTo>
                <a:lnTo>
                  <a:pt x="1550740" y="158237"/>
                </a:lnTo>
                <a:lnTo>
                  <a:pt x="1860888" y="791186"/>
                </a:lnTo>
                <a:lnTo>
                  <a:pt x="1858734" y="804372"/>
                </a:lnTo>
                <a:lnTo>
                  <a:pt x="1856581" y="815361"/>
                </a:lnTo>
                <a:lnTo>
                  <a:pt x="1850119" y="826349"/>
                </a:lnTo>
                <a:lnTo>
                  <a:pt x="1841504" y="839536"/>
                </a:lnTo>
                <a:lnTo>
                  <a:pt x="1830735" y="850524"/>
                </a:lnTo>
                <a:lnTo>
                  <a:pt x="1819966" y="861513"/>
                </a:lnTo>
                <a:lnTo>
                  <a:pt x="1804889" y="872502"/>
                </a:lnTo>
                <a:lnTo>
                  <a:pt x="1787659" y="883491"/>
                </a:lnTo>
                <a:lnTo>
                  <a:pt x="1748890" y="903270"/>
                </a:lnTo>
                <a:lnTo>
                  <a:pt x="1701507" y="923050"/>
                </a:lnTo>
                <a:lnTo>
                  <a:pt x="1647661" y="942829"/>
                </a:lnTo>
                <a:lnTo>
                  <a:pt x="1587355" y="958214"/>
                </a:lnTo>
                <a:lnTo>
                  <a:pt x="1522741" y="973598"/>
                </a:lnTo>
                <a:lnTo>
                  <a:pt x="1451665" y="988982"/>
                </a:lnTo>
                <a:lnTo>
                  <a:pt x="1374128" y="999971"/>
                </a:lnTo>
                <a:lnTo>
                  <a:pt x="1292284" y="1010959"/>
                </a:lnTo>
                <a:lnTo>
                  <a:pt x="1206131" y="1017552"/>
                </a:lnTo>
                <a:lnTo>
                  <a:pt x="1117825" y="1024146"/>
                </a:lnTo>
                <a:lnTo>
                  <a:pt x="1025212" y="1026343"/>
                </a:lnTo>
                <a:lnTo>
                  <a:pt x="930444" y="1028541"/>
                </a:lnTo>
                <a:lnTo>
                  <a:pt x="835677" y="1026343"/>
                </a:lnTo>
                <a:lnTo>
                  <a:pt x="743063" y="1024146"/>
                </a:lnTo>
                <a:lnTo>
                  <a:pt x="654757" y="1017552"/>
                </a:lnTo>
                <a:lnTo>
                  <a:pt x="568605" y="1010959"/>
                </a:lnTo>
                <a:lnTo>
                  <a:pt x="486760" y="999971"/>
                </a:lnTo>
                <a:lnTo>
                  <a:pt x="409223" y="988982"/>
                </a:lnTo>
                <a:lnTo>
                  <a:pt x="338148" y="973598"/>
                </a:lnTo>
                <a:lnTo>
                  <a:pt x="273533" y="958214"/>
                </a:lnTo>
                <a:lnTo>
                  <a:pt x="213227" y="942829"/>
                </a:lnTo>
                <a:lnTo>
                  <a:pt x="159382" y="923050"/>
                </a:lnTo>
                <a:lnTo>
                  <a:pt x="111998" y="903270"/>
                </a:lnTo>
                <a:lnTo>
                  <a:pt x="73230" y="883491"/>
                </a:lnTo>
                <a:lnTo>
                  <a:pt x="55999" y="872502"/>
                </a:lnTo>
                <a:lnTo>
                  <a:pt x="40922" y="861513"/>
                </a:lnTo>
                <a:lnTo>
                  <a:pt x="30153" y="850524"/>
                </a:lnTo>
                <a:lnTo>
                  <a:pt x="19384" y="839536"/>
                </a:lnTo>
                <a:lnTo>
                  <a:pt x="10769" y="826349"/>
                </a:lnTo>
                <a:lnTo>
                  <a:pt x="4308" y="815361"/>
                </a:lnTo>
                <a:lnTo>
                  <a:pt x="2154" y="804372"/>
                </a:lnTo>
                <a:lnTo>
                  <a:pt x="0" y="791186"/>
                </a:lnTo>
                <a:lnTo>
                  <a:pt x="310148" y="158237"/>
                </a:lnTo>
                <a:lnTo>
                  <a:pt x="310148" y="149446"/>
                </a:lnTo>
                <a:lnTo>
                  <a:pt x="312302" y="142853"/>
                </a:lnTo>
                <a:lnTo>
                  <a:pt x="316610" y="134062"/>
                </a:lnTo>
                <a:lnTo>
                  <a:pt x="323071" y="125271"/>
                </a:lnTo>
                <a:lnTo>
                  <a:pt x="338148" y="112085"/>
                </a:lnTo>
                <a:lnTo>
                  <a:pt x="359686" y="96701"/>
                </a:lnTo>
                <a:lnTo>
                  <a:pt x="385531" y="83514"/>
                </a:lnTo>
                <a:lnTo>
                  <a:pt x="415685" y="70328"/>
                </a:lnTo>
                <a:lnTo>
                  <a:pt x="452299" y="57141"/>
                </a:lnTo>
                <a:lnTo>
                  <a:pt x="491068" y="46153"/>
                </a:lnTo>
                <a:lnTo>
                  <a:pt x="536298" y="35164"/>
                </a:lnTo>
                <a:lnTo>
                  <a:pt x="583681" y="26373"/>
                </a:lnTo>
                <a:lnTo>
                  <a:pt x="635373" y="19780"/>
                </a:lnTo>
                <a:lnTo>
                  <a:pt x="689218" y="13187"/>
                </a:lnTo>
                <a:lnTo>
                  <a:pt x="745217" y="6593"/>
                </a:lnTo>
                <a:lnTo>
                  <a:pt x="805523" y="2198"/>
                </a:lnTo>
                <a:close/>
              </a:path>
            </a:pathLst>
          </a:custGeom>
          <a:gradFill flip="none" rotWithShape="1">
            <a:gsLst>
              <a:gs pos="0">
                <a:schemeClr val="accent1">
                  <a:lumMod val="55000"/>
                  <a:lumOff val="45000"/>
                </a:schemeClr>
              </a:gs>
              <a:gs pos="100000">
                <a:schemeClr val="accent1">
                  <a:lumMod val="90000"/>
                </a:schemeClr>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ko-KR" altLang="en-US">
              <a:solidFill>
                <a:srgbClr val="FFFFFF"/>
              </a:solidFill>
              <a:latin typeface="Arial"/>
            </a:endParaRPr>
          </a:p>
        </p:txBody>
      </p:sp>
      <p:sp>
        <p:nvSpPr>
          <p:cNvPr id="33" name="任意多边形: 形状 32">
            <a:extLst>
              <a:ext uri="{FF2B5EF4-FFF2-40B4-BE49-F238E27FC236}">
                <a16:creationId xmlns:a16="http://schemas.microsoft.com/office/drawing/2014/main" id="{5B56222C-39DE-CC00-BF95-CC754092D54D}"/>
              </a:ext>
            </a:extLst>
          </p:cNvPr>
          <p:cNvSpPr>
            <a:spLocks/>
          </p:cNvSpPr>
          <p:nvPr/>
        </p:nvSpPr>
        <p:spPr bwMode="auto">
          <a:xfrm>
            <a:off x="5488189" y="1966209"/>
            <a:ext cx="1240592" cy="316474"/>
          </a:xfrm>
          <a:custGeom>
            <a:avLst/>
            <a:gdLst>
              <a:gd name="connsiteX0" fmla="*/ 557836 w 1240592"/>
              <a:gd name="connsiteY0" fmla="*/ 0 h 316474"/>
              <a:gd name="connsiteX1" fmla="*/ 620296 w 1240592"/>
              <a:gd name="connsiteY1" fmla="*/ 0 h 316474"/>
              <a:gd name="connsiteX2" fmla="*/ 682757 w 1240592"/>
              <a:gd name="connsiteY2" fmla="*/ 0 h 316474"/>
              <a:gd name="connsiteX3" fmla="*/ 745217 w 1240592"/>
              <a:gd name="connsiteY3" fmla="*/ 2198 h 316474"/>
              <a:gd name="connsiteX4" fmla="*/ 805523 w 1240592"/>
              <a:gd name="connsiteY4" fmla="*/ 6593 h 316474"/>
              <a:gd name="connsiteX5" fmla="*/ 861522 w 1240592"/>
              <a:gd name="connsiteY5" fmla="*/ 13187 h 316474"/>
              <a:gd name="connsiteX6" fmla="*/ 915368 w 1240592"/>
              <a:gd name="connsiteY6" fmla="*/ 19780 h 316474"/>
              <a:gd name="connsiteX7" fmla="*/ 967059 w 1240592"/>
              <a:gd name="connsiteY7" fmla="*/ 26373 h 316474"/>
              <a:gd name="connsiteX8" fmla="*/ 1014443 w 1240592"/>
              <a:gd name="connsiteY8" fmla="*/ 35164 h 316474"/>
              <a:gd name="connsiteX9" fmla="*/ 1059673 w 1240592"/>
              <a:gd name="connsiteY9" fmla="*/ 46153 h 316474"/>
              <a:gd name="connsiteX10" fmla="*/ 1098441 w 1240592"/>
              <a:gd name="connsiteY10" fmla="*/ 57141 h 316474"/>
              <a:gd name="connsiteX11" fmla="*/ 1135056 w 1240592"/>
              <a:gd name="connsiteY11" fmla="*/ 70328 h 316474"/>
              <a:gd name="connsiteX12" fmla="*/ 1165209 w 1240592"/>
              <a:gd name="connsiteY12" fmla="*/ 83514 h 316474"/>
              <a:gd name="connsiteX13" fmla="*/ 1191055 w 1240592"/>
              <a:gd name="connsiteY13" fmla="*/ 96701 h 316474"/>
              <a:gd name="connsiteX14" fmla="*/ 1212593 w 1240592"/>
              <a:gd name="connsiteY14" fmla="*/ 112085 h 316474"/>
              <a:gd name="connsiteX15" fmla="*/ 1227669 w 1240592"/>
              <a:gd name="connsiteY15" fmla="*/ 125271 h 316474"/>
              <a:gd name="connsiteX16" fmla="*/ 1234131 w 1240592"/>
              <a:gd name="connsiteY16" fmla="*/ 134062 h 316474"/>
              <a:gd name="connsiteX17" fmla="*/ 1238438 w 1240592"/>
              <a:gd name="connsiteY17" fmla="*/ 142853 h 316474"/>
              <a:gd name="connsiteX18" fmla="*/ 1240592 w 1240592"/>
              <a:gd name="connsiteY18" fmla="*/ 149446 h 316474"/>
              <a:gd name="connsiteX19" fmla="*/ 1240592 w 1240592"/>
              <a:gd name="connsiteY19" fmla="*/ 158237 h 316474"/>
              <a:gd name="connsiteX20" fmla="*/ 1240592 w 1240592"/>
              <a:gd name="connsiteY20" fmla="*/ 167028 h 316474"/>
              <a:gd name="connsiteX21" fmla="*/ 1238438 w 1240592"/>
              <a:gd name="connsiteY21" fmla="*/ 173621 h 316474"/>
              <a:gd name="connsiteX22" fmla="*/ 1234131 w 1240592"/>
              <a:gd name="connsiteY22" fmla="*/ 182412 h 316474"/>
              <a:gd name="connsiteX23" fmla="*/ 1227669 w 1240592"/>
              <a:gd name="connsiteY23" fmla="*/ 191203 h 316474"/>
              <a:gd name="connsiteX24" fmla="*/ 1212593 w 1240592"/>
              <a:gd name="connsiteY24" fmla="*/ 204390 h 316474"/>
              <a:gd name="connsiteX25" fmla="*/ 1191055 w 1240592"/>
              <a:gd name="connsiteY25" fmla="*/ 219774 h 316474"/>
              <a:gd name="connsiteX26" fmla="*/ 1165209 w 1240592"/>
              <a:gd name="connsiteY26" fmla="*/ 232960 h 316474"/>
              <a:gd name="connsiteX27" fmla="*/ 1135056 w 1240592"/>
              <a:gd name="connsiteY27" fmla="*/ 246147 h 316474"/>
              <a:gd name="connsiteX28" fmla="*/ 1098441 w 1240592"/>
              <a:gd name="connsiteY28" fmla="*/ 259333 h 316474"/>
              <a:gd name="connsiteX29" fmla="*/ 1059673 w 1240592"/>
              <a:gd name="connsiteY29" fmla="*/ 270322 h 316474"/>
              <a:gd name="connsiteX30" fmla="*/ 1014443 w 1240592"/>
              <a:gd name="connsiteY30" fmla="*/ 281310 h 316474"/>
              <a:gd name="connsiteX31" fmla="*/ 967059 w 1240592"/>
              <a:gd name="connsiteY31" fmla="*/ 290101 h 316474"/>
              <a:gd name="connsiteX32" fmla="*/ 915368 w 1240592"/>
              <a:gd name="connsiteY32" fmla="*/ 296695 h 316474"/>
              <a:gd name="connsiteX33" fmla="*/ 861522 w 1240592"/>
              <a:gd name="connsiteY33" fmla="*/ 303288 h 316474"/>
              <a:gd name="connsiteX34" fmla="*/ 805523 w 1240592"/>
              <a:gd name="connsiteY34" fmla="*/ 309881 h 316474"/>
              <a:gd name="connsiteX35" fmla="*/ 745217 w 1240592"/>
              <a:gd name="connsiteY35" fmla="*/ 314276 h 316474"/>
              <a:gd name="connsiteX36" fmla="*/ 682757 w 1240592"/>
              <a:gd name="connsiteY36" fmla="*/ 316474 h 316474"/>
              <a:gd name="connsiteX37" fmla="*/ 620296 w 1240592"/>
              <a:gd name="connsiteY37" fmla="*/ 316474 h 316474"/>
              <a:gd name="connsiteX38" fmla="*/ 557836 w 1240592"/>
              <a:gd name="connsiteY38" fmla="*/ 316474 h 316474"/>
              <a:gd name="connsiteX39" fmla="*/ 495375 w 1240592"/>
              <a:gd name="connsiteY39" fmla="*/ 314276 h 316474"/>
              <a:gd name="connsiteX40" fmla="*/ 435069 w 1240592"/>
              <a:gd name="connsiteY40" fmla="*/ 309881 h 316474"/>
              <a:gd name="connsiteX41" fmla="*/ 379070 w 1240592"/>
              <a:gd name="connsiteY41" fmla="*/ 303288 h 316474"/>
              <a:gd name="connsiteX42" fmla="*/ 325225 w 1240592"/>
              <a:gd name="connsiteY42" fmla="*/ 296695 h 316474"/>
              <a:gd name="connsiteX43" fmla="*/ 273533 w 1240592"/>
              <a:gd name="connsiteY43" fmla="*/ 290101 h 316474"/>
              <a:gd name="connsiteX44" fmla="*/ 226150 w 1240592"/>
              <a:gd name="connsiteY44" fmla="*/ 281310 h 316474"/>
              <a:gd name="connsiteX45" fmla="*/ 180920 w 1240592"/>
              <a:gd name="connsiteY45" fmla="*/ 270322 h 316474"/>
              <a:gd name="connsiteX46" fmla="*/ 142151 w 1240592"/>
              <a:gd name="connsiteY46" fmla="*/ 259333 h 316474"/>
              <a:gd name="connsiteX47" fmla="*/ 105537 w 1240592"/>
              <a:gd name="connsiteY47" fmla="*/ 246147 h 316474"/>
              <a:gd name="connsiteX48" fmla="*/ 75383 w 1240592"/>
              <a:gd name="connsiteY48" fmla="*/ 232960 h 316474"/>
              <a:gd name="connsiteX49" fmla="*/ 49538 w 1240592"/>
              <a:gd name="connsiteY49" fmla="*/ 219774 h 316474"/>
              <a:gd name="connsiteX50" fmla="*/ 28000 w 1240592"/>
              <a:gd name="connsiteY50" fmla="*/ 204390 h 316474"/>
              <a:gd name="connsiteX51" fmla="*/ 12923 w 1240592"/>
              <a:gd name="connsiteY51" fmla="*/ 191203 h 316474"/>
              <a:gd name="connsiteX52" fmla="*/ 6462 w 1240592"/>
              <a:gd name="connsiteY52" fmla="*/ 182412 h 316474"/>
              <a:gd name="connsiteX53" fmla="*/ 2154 w 1240592"/>
              <a:gd name="connsiteY53" fmla="*/ 173621 h 316474"/>
              <a:gd name="connsiteX54" fmla="*/ 0 w 1240592"/>
              <a:gd name="connsiteY54" fmla="*/ 167028 h 316474"/>
              <a:gd name="connsiteX55" fmla="*/ 0 w 1240592"/>
              <a:gd name="connsiteY55" fmla="*/ 158237 h 316474"/>
              <a:gd name="connsiteX56" fmla="*/ 0 w 1240592"/>
              <a:gd name="connsiteY56" fmla="*/ 149446 h 316474"/>
              <a:gd name="connsiteX57" fmla="*/ 2154 w 1240592"/>
              <a:gd name="connsiteY57" fmla="*/ 142853 h 316474"/>
              <a:gd name="connsiteX58" fmla="*/ 6462 w 1240592"/>
              <a:gd name="connsiteY58" fmla="*/ 134062 h 316474"/>
              <a:gd name="connsiteX59" fmla="*/ 12923 w 1240592"/>
              <a:gd name="connsiteY59" fmla="*/ 125271 h 316474"/>
              <a:gd name="connsiteX60" fmla="*/ 28000 w 1240592"/>
              <a:gd name="connsiteY60" fmla="*/ 112085 h 316474"/>
              <a:gd name="connsiteX61" fmla="*/ 49538 w 1240592"/>
              <a:gd name="connsiteY61" fmla="*/ 96701 h 316474"/>
              <a:gd name="connsiteX62" fmla="*/ 75383 w 1240592"/>
              <a:gd name="connsiteY62" fmla="*/ 83514 h 316474"/>
              <a:gd name="connsiteX63" fmla="*/ 105537 w 1240592"/>
              <a:gd name="connsiteY63" fmla="*/ 70328 h 316474"/>
              <a:gd name="connsiteX64" fmla="*/ 142151 w 1240592"/>
              <a:gd name="connsiteY64" fmla="*/ 57141 h 316474"/>
              <a:gd name="connsiteX65" fmla="*/ 180920 w 1240592"/>
              <a:gd name="connsiteY65" fmla="*/ 46153 h 316474"/>
              <a:gd name="connsiteX66" fmla="*/ 226150 w 1240592"/>
              <a:gd name="connsiteY66" fmla="*/ 35164 h 316474"/>
              <a:gd name="connsiteX67" fmla="*/ 273533 w 1240592"/>
              <a:gd name="connsiteY67" fmla="*/ 26373 h 316474"/>
              <a:gd name="connsiteX68" fmla="*/ 325225 w 1240592"/>
              <a:gd name="connsiteY68" fmla="*/ 19780 h 316474"/>
              <a:gd name="connsiteX69" fmla="*/ 379070 w 1240592"/>
              <a:gd name="connsiteY69" fmla="*/ 13187 h 316474"/>
              <a:gd name="connsiteX70" fmla="*/ 435069 w 1240592"/>
              <a:gd name="connsiteY70" fmla="*/ 6593 h 316474"/>
              <a:gd name="connsiteX71" fmla="*/ 495375 w 1240592"/>
              <a:gd name="connsiteY71" fmla="*/ 2198 h 316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1240592" h="316474">
                <a:moveTo>
                  <a:pt x="557836" y="0"/>
                </a:moveTo>
                <a:lnTo>
                  <a:pt x="620296" y="0"/>
                </a:lnTo>
                <a:lnTo>
                  <a:pt x="682757" y="0"/>
                </a:lnTo>
                <a:lnTo>
                  <a:pt x="745217" y="2198"/>
                </a:lnTo>
                <a:lnTo>
                  <a:pt x="805523" y="6593"/>
                </a:lnTo>
                <a:lnTo>
                  <a:pt x="861522" y="13187"/>
                </a:lnTo>
                <a:lnTo>
                  <a:pt x="915368" y="19780"/>
                </a:lnTo>
                <a:lnTo>
                  <a:pt x="967059" y="26373"/>
                </a:lnTo>
                <a:lnTo>
                  <a:pt x="1014443" y="35164"/>
                </a:lnTo>
                <a:lnTo>
                  <a:pt x="1059673" y="46153"/>
                </a:lnTo>
                <a:lnTo>
                  <a:pt x="1098441" y="57141"/>
                </a:lnTo>
                <a:lnTo>
                  <a:pt x="1135056" y="70328"/>
                </a:lnTo>
                <a:lnTo>
                  <a:pt x="1165209" y="83514"/>
                </a:lnTo>
                <a:lnTo>
                  <a:pt x="1191055" y="96701"/>
                </a:lnTo>
                <a:lnTo>
                  <a:pt x="1212593" y="112085"/>
                </a:lnTo>
                <a:lnTo>
                  <a:pt x="1227669" y="125271"/>
                </a:lnTo>
                <a:lnTo>
                  <a:pt x="1234131" y="134062"/>
                </a:lnTo>
                <a:lnTo>
                  <a:pt x="1238438" y="142853"/>
                </a:lnTo>
                <a:lnTo>
                  <a:pt x="1240592" y="149446"/>
                </a:lnTo>
                <a:lnTo>
                  <a:pt x="1240592" y="158237"/>
                </a:lnTo>
                <a:lnTo>
                  <a:pt x="1240592" y="167028"/>
                </a:lnTo>
                <a:lnTo>
                  <a:pt x="1238438" y="173621"/>
                </a:lnTo>
                <a:lnTo>
                  <a:pt x="1234131" y="182412"/>
                </a:lnTo>
                <a:lnTo>
                  <a:pt x="1227669" y="191203"/>
                </a:lnTo>
                <a:lnTo>
                  <a:pt x="1212593" y="204390"/>
                </a:lnTo>
                <a:lnTo>
                  <a:pt x="1191055" y="219774"/>
                </a:lnTo>
                <a:lnTo>
                  <a:pt x="1165209" y="232960"/>
                </a:lnTo>
                <a:lnTo>
                  <a:pt x="1135056" y="246147"/>
                </a:lnTo>
                <a:lnTo>
                  <a:pt x="1098441" y="259333"/>
                </a:lnTo>
                <a:lnTo>
                  <a:pt x="1059673" y="270322"/>
                </a:lnTo>
                <a:lnTo>
                  <a:pt x="1014443" y="281310"/>
                </a:lnTo>
                <a:lnTo>
                  <a:pt x="967059" y="290101"/>
                </a:lnTo>
                <a:lnTo>
                  <a:pt x="915368" y="296695"/>
                </a:lnTo>
                <a:lnTo>
                  <a:pt x="861522" y="303288"/>
                </a:lnTo>
                <a:lnTo>
                  <a:pt x="805523" y="309881"/>
                </a:lnTo>
                <a:lnTo>
                  <a:pt x="745217" y="314276"/>
                </a:lnTo>
                <a:lnTo>
                  <a:pt x="682757" y="316474"/>
                </a:lnTo>
                <a:lnTo>
                  <a:pt x="620296" y="316474"/>
                </a:lnTo>
                <a:lnTo>
                  <a:pt x="557836" y="316474"/>
                </a:lnTo>
                <a:lnTo>
                  <a:pt x="495375" y="314276"/>
                </a:lnTo>
                <a:lnTo>
                  <a:pt x="435069" y="309881"/>
                </a:lnTo>
                <a:lnTo>
                  <a:pt x="379070" y="303288"/>
                </a:lnTo>
                <a:lnTo>
                  <a:pt x="325225" y="296695"/>
                </a:lnTo>
                <a:lnTo>
                  <a:pt x="273533" y="290101"/>
                </a:lnTo>
                <a:lnTo>
                  <a:pt x="226150" y="281310"/>
                </a:lnTo>
                <a:lnTo>
                  <a:pt x="180920" y="270322"/>
                </a:lnTo>
                <a:lnTo>
                  <a:pt x="142151" y="259333"/>
                </a:lnTo>
                <a:lnTo>
                  <a:pt x="105537" y="246147"/>
                </a:lnTo>
                <a:lnTo>
                  <a:pt x="75383" y="232960"/>
                </a:lnTo>
                <a:lnTo>
                  <a:pt x="49538" y="219774"/>
                </a:lnTo>
                <a:lnTo>
                  <a:pt x="28000" y="204390"/>
                </a:lnTo>
                <a:lnTo>
                  <a:pt x="12923" y="191203"/>
                </a:lnTo>
                <a:lnTo>
                  <a:pt x="6462" y="182412"/>
                </a:lnTo>
                <a:lnTo>
                  <a:pt x="2154" y="173621"/>
                </a:lnTo>
                <a:lnTo>
                  <a:pt x="0" y="167028"/>
                </a:lnTo>
                <a:lnTo>
                  <a:pt x="0" y="158237"/>
                </a:lnTo>
                <a:lnTo>
                  <a:pt x="0" y="149446"/>
                </a:lnTo>
                <a:lnTo>
                  <a:pt x="2154" y="142853"/>
                </a:lnTo>
                <a:lnTo>
                  <a:pt x="6462" y="134062"/>
                </a:lnTo>
                <a:lnTo>
                  <a:pt x="12923" y="125271"/>
                </a:lnTo>
                <a:lnTo>
                  <a:pt x="28000" y="112085"/>
                </a:lnTo>
                <a:lnTo>
                  <a:pt x="49538" y="96701"/>
                </a:lnTo>
                <a:lnTo>
                  <a:pt x="75383" y="83514"/>
                </a:lnTo>
                <a:lnTo>
                  <a:pt x="105537" y="70328"/>
                </a:lnTo>
                <a:lnTo>
                  <a:pt x="142151" y="57141"/>
                </a:lnTo>
                <a:lnTo>
                  <a:pt x="180920" y="46153"/>
                </a:lnTo>
                <a:lnTo>
                  <a:pt x="226150" y="35164"/>
                </a:lnTo>
                <a:lnTo>
                  <a:pt x="273533" y="26373"/>
                </a:lnTo>
                <a:lnTo>
                  <a:pt x="325225" y="19780"/>
                </a:lnTo>
                <a:lnTo>
                  <a:pt x="379070" y="13187"/>
                </a:lnTo>
                <a:lnTo>
                  <a:pt x="435069" y="6593"/>
                </a:lnTo>
                <a:lnTo>
                  <a:pt x="495375" y="2198"/>
                </a:lnTo>
                <a:close/>
              </a:path>
            </a:pathLst>
          </a:custGeom>
          <a:gradFill flip="none" rotWithShape="1">
            <a:gsLst>
              <a:gs pos="100000">
                <a:schemeClr val="accent1">
                  <a:lumMod val="80000"/>
                  <a:lumOff val="20000"/>
                </a:schemeClr>
              </a:gs>
              <a:gs pos="0">
                <a:schemeClr val="accent1">
                  <a:lumMod val="35000"/>
                  <a:lumOff val="65000"/>
                </a:schemeClr>
              </a:gs>
            </a:gsLst>
            <a:lin ang="2700000" scaled="1"/>
            <a:tileRect/>
          </a:gradFill>
          <a:ln w="25400">
            <a:noFill/>
          </a:ln>
          <a:effectLst>
            <a:outerShdw blurRad="254000" dist="177800" dir="2700000" algn="tl" rotWithShape="0">
              <a:schemeClr val="accent1">
                <a:alpha val="20000"/>
              </a:schemeClr>
            </a:outerShdw>
          </a:effectLst>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485899" tIns="63500" rIns="1485901" bIns="63500" numCol="1" spcCol="1270" anchor="ctr" anchorCtr="0">
            <a:noAutofit/>
          </a:bodyPr>
          <a:lstStyle/>
          <a:p>
            <a:pPr algn="ctr" defTabSz="2222500">
              <a:lnSpc>
                <a:spcPct val="90000"/>
              </a:lnSpc>
              <a:spcBef>
                <a:spcPct val="0"/>
              </a:spcBef>
              <a:spcAft>
                <a:spcPct val="35000"/>
              </a:spcAft>
            </a:pPr>
            <a:endParaRPr lang="zh-CN" altLang="en-US" sz="3200">
              <a:solidFill>
                <a:prstClr val="white"/>
              </a:solidFill>
              <a:latin typeface="等线" panose="020F0502020204030204"/>
              <a:ea typeface="等线" panose="02010600030101010101" pitchFamily="2" charset="-122"/>
            </a:endParaRPr>
          </a:p>
        </p:txBody>
      </p:sp>
      <p:sp>
        <p:nvSpPr>
          <p:cNvPr id="44" name="任意多边形: 形状 43">
            <a:extLst>
              <a:ext uri="{FF2B5EF4-FFF2-40B4-BE49-F238E27FC236}">
                <a16:creationId xmlns:a16="http://schemas.microsoft.com/office/drawing/2014/main" id="{BE0758C4-4DE0-358A-BEE3-696012271631}"/>
              </a:ext>
            </a:extLst>
          </p:cNvPr>
          <p:cNvSpPr>
            <a:spLocks/>
          </p:cNvSpPr>
          <p:nvPr/>
        </p:nvSpPr>
        <p:spPr bwMode="auto">
          <a:xfrm>
            <a:off x="4531710" y="1633888"/>
            <a:ext cx="3153550" cy="981116"/>
          </a:xfrm>
          <a:custGeom>
            <a:avLst/>
            <a:gdLst>
              <a:gd name="connsiteX0" fmla="*/ 557836 w 1240592"/>
              <a:gd name="connsiteY0" fmla="*/ 0 h 316474"/>
              <a:gd name="connsiteX1" fmla="*/ 620296 w 1240592"/>
              <a:gd name="connsiteY1" fmla="*/ 0 h 316474"/>
              <a:gd name="connsiteX2" fmla="*/ 682757 w 1240592"/>
              <a:gd name="connsiteY2" fmla="*/ 0 h 316474"/>
              <a:gd name="connsiteX3" fmla="*/ 745217 w 1240592"/>
              <a:gd name="connsiteY3" fmla="*/ 2198 h 316474"/>
              <a:gd name="connsiteX4" fmla="*/ 805523 w 1240592"/>
              <a:gd name="connsiteY4" fmla="*/ 6593 h 316474"/>
              <a:gd name="connsiteX5" fmla="*/ 861522 w 1240592"/>
              <a:gd name="connsiteY5" fmla="*/ 13187 h 316474"/>
              <a:gd name="connsiteX6" fmla="*/ 915368 w 1240592"/>
              <a:gd name="connsiteY6" fmla="*/ 19780 h 316474"/>
              <a:gd name="connsiteX7" fmla="*/ 967059 w 1240592"/>
              <a:gd name="connsiteY7" fmla="*/ 26373 h 316474"/>
              <a:gd name="connsiteX8" fmla="*/ 1014443 w 1240592"/>
              <a:gd name="connsiteY8" fmla="*/ 35164 h 316474"/>
              <a:gd name="connsiteX9" fmla="*/ 1059673 w 1240592"/>
              <a:gd name="connsiteY9" fmla="*/ 46153 h 316474"/>
              <a:gd name="connsiteX10" fmla="*/ 1098441 w 1240592"/>
              <a:gd name="connsiteY10" fmla="*/ 57141 h 316474"/>
              <a:gd name="connsiteX11" fmla="*/ 1135056 w 1240592"/>
              <a:gd name="connsiteY11" fmla="*/ 70328 h 316474"/>
              <a:gd name="connsiteX12" fmla="*/ 1165209 w 1240592"/>
              <a:gd name="connsiteY12" fmla="*/ 83514 h 316474"/>
              <a:gd name="connsiteX13" fmla="*/ 1191055 w 1240592"/>
              <a:gd name="connsiteY13" fmla="*/ 96701 h 316474"/>
              <a:gd name="connsiteX14" fmla="*/ 1212593 w 1240592"/>
              <a:gd name="connsiteY14" fmla="*/ 112085 h 316474"/>
              <a:gd name="connsiteX15" fmla="*/ 1227669 w 1240592"/>
              <a:gd name="connsiteY15" fmla="*/ 125271 h 316474"/>
              <a:gd name="connsiteX16" fmla="*/ 1234131 w 1240592"/>
              <a:gd name="connsiteY16" fmla="*/ 134062 h 316474"/>
              <a:gd name="connsiteX17" fmla="*/ 1238438 w 1240592"/>
              <a:gd name="connsiteY17" fmla="*/ 142853 h 316474"/>
              <a:gd name="connsiteX18" fmla="*/ 1240592 w 1240592"/>
              <a:gd name="connsiteY18" fmla="*/ 149446 h 316474"/>
              <a:gd name="connsiteX19" fmla="*/ 1240592 w 1240592"/>
              <a:gd name="connsiteY19" fmla="*/ 158237 h 316474"/>
              <a:gd name="connsiteX20" fmla="*/ 1240592 w 1240592"/>
              <a:gd name="connsiteY20" fmla="*/ 167028 h 316474"/>
              <a:gd name="connsiteX21" fmla="*/ 1238438 w 1240592"/>
              <a:gd name="connsiteY21" fmla="*/ 173621 h 316474"/>
              <a:gd name="connsiteX22" fmla="*/ 1234131 w 1240592"/>
              <a:gd name="connsiteY22" fmla="*/ 182412 h 316474"/>
              <a:gd name="connsiteX23" fmla="*/ 1227669 w 1240592"/>
              <a:gd name="connsiteY23" fmla="*/ 191203 h 316474"/>
              <a:gd name="connsiteX24" fmla="*/ 1212593 w 1240592"/>
              <a:gd name="connsiteY24" fmla="*/ 204390 h 316474"/>
              <a:gd name="connsiteX25" fmla="*/ 1191055 w 1240592"/>
              <a:gd name="connsiteY25" fmla="*/ 219774 h 316474"/>
              <a:gd name="connsiteX26" fmla="*/ 1165209 w 1240592"/>
              <a:gd name="connsiteY26" fmla="*/ 232960 h 316474"/>
              <a:gd name="connsiteX27" fmla="*/ 1135056 w 1240592"/>
              <a:gd name="connsiteY27" fmla="*/ 246147 h 316474"/>
              <a:gd name="connsiteX28" fmla="*/ 1098441 w 1240592"/>
              <a:gd name="connsiteY28" fmla="*/ 259333 h 316474"/>
              <a:gd name="connsiteX29" fmla="*/ 1059673 w 1240592"/>
              <a:gd name="connsiteY29" fmla="*/ 270322 h 316474"/>
              <a:gd name="connsiteX30" fmla="*/ 1014443 w 1240592"/>
              <a:gd name="connsiteY30" fmla="*/ 281310 h 316474"/>
              <a:gd name="connsiteX31" fmla="*/ 967059 w 1240592"/>
              <a:gd name="connsiteY31" fmla="*/ 290101 h 316474"/>
              <a:gd name="connsiteX32" fmla="*/ 915368 w 1240592"/>
              <a:gd name="connsiteY32" fmla="*/ 296695 h 316474"/>
              <a:gd name="connsiteX33" fmla="*/ 861522 w 1240592"/>
              <a:gd name="connsiteY33" fmla="*/ 303288 h 316474"/>
              <a:gd name="connsiteX34" fmla="*/ 805523 w 1240592"/>
              <a:gd name="connsiteY34" fmla="*/ 309881 h 316474"/>
              <a:gd name="connsiteX35" fmla="*/ 745217 w 1240592"/>
              <a:gd name="connsiteY35" fmla="*/ 314276 h 316474"/>
              <a:gd name="connsiteX36" fmla="*/ 682757 w 1240592"/>
              <a:gd name="connsiteY36" fmla="*/ 316474 h 316474"/>
              <a:gd name="connsiteX37" fmla="*/ 620296 w 1240592"/>
              <a:gd name="connsiteY37" fmla="*/ 316474 h 316474"/>
              <a:gd name="connsiteX38" fmla="*/ 557836 w 1240592"/>
              <a:gd name="connsiteY38" fmla="*/ 316474 h 316474"/>
              <a:gd name="connsiteX39" fmla="*/ 495375 w 1240592"/>
              <a:gd name="connsiteY39" fmla="*/ 314276 h 316474"/>
              <a:gd name="connsiteX40" fmla="*/ 435069 w 1240592"/>
              <a:gd name="connsiteY40" fmla="*/ 309881 h 316474"/>
              <a:gd name="connsiteX41" fmla="*/ 379070 w 1240592"/>
              <a:gd name="connsiteY41" fmla="*/ 303288 h 316474"/>
              <a:gd name="connsiteX42" fmla="*/ 325225 w 1240592"/>
              <a:gd name="connsiteY42" fmla="*/ 296695 h 316474"/>
              <a:gd name="connsiteX43" fmla="*/ 273533 w 1240592"/>
              <a:gd name="connsiteY43" fmla="*/ 290101 h 316474"/>
              <a:gd name="connsiteX44" fmla="*/ 226150 w 1240592"/>
              <a:gd name="connsiteY44" fmla="*/ 281310 h 316474"/>
              <a:gd name="connsiteX45" fmla="*/ 180920 w 1240592"/>
              <a:gd name="connsiteY45" fmla="*/ 270322 h 316474"/>
              <a:gd name="connsiteX46" fmla="*/ 142151 w 1240592"/>
              <a:gd name="connsiteY46" fmla="*/ 259333 h 316474"/>
              <a:gd name="connsiteX47" fmla="*/ 105537 w 1240592"/>
              <a:gd name="connsiteY47" fmla="*/ 246147 h 316474"/>
              <a:gd name="connsiteX48" fmla="*/ 75383 w 1240592"/>
              <a:gd name="connsiteY48" fmla="*/ 232960 h 316474"/>
              <a:gd name="connsiteX49" fmla="*/ 49538 w 1240592"/>
              <a:gd name="connsiteY49" fmla="*/ 219774 h 316474"/>
              <a:gd name="connsiteX50" fmla="*/ 28000 w 1240592"/>
              <a:gd name="connsiteY50" fmla="*/ 204390 h 316474"/>
              <a:gd name="connsiteX51" fmla="*/ 12923 w 1240592"/>
              <a:gd name="connsiteY51" fmla="*/ 191203 h 316474"/>
              <a:gd name="connsiteX52" fmla="*/ 6462 w 1240592"/>
              <a:gd name="connsiteY52" fmla="*/ 182412 h 316474"/>
              <a:gd name="connsiteX53" fmla="*/ 2154 w 1240592"/>
              <a:gd name="connsiteY53" fmla="*/ 173621 h 316474"/>
              <a:gd name="connsiteX54" fmla="*/ 0 w 1240592"/>
              <a:gd name="connsiteY54" fmla="*/ 167028 h 316474"/>
              <a:gd name="connsiteX55" fmla="*/ 0 w 1240592"/>
              <a:gd name="connsiteY55" fmla="*/ 158237 h 316474"/>
              <a:gd name="connsiteX56" fmla="*/ 0 w 1240592"/>
              <a:gd name="connsiteY56" fmla="*/ 149446 h 316474"/>
              <a:gd name="connsiteX57" fmla="*/ 2154 w 1240592"/>
              <a:gd name="connsiteY57" fmla="*/ 142853 h 316474"/>
              <a:gd name="connsiteX58" fmla="*/ 6462 w 1240592"/>
              <a:gd name="connsiteY58" fmla="*/ 134062 h 316474"/>
              <a:gd name="connsiteX59" fmla="*/ 12923 w 1240592"/>
              <a:gd name="connsiteY59" fmla="*/ 125271 h 316474"/>
              <a:gd name="connsiteX60" fmla="*/ 28000 w 1240592"/>
              <a:gd name="connsiteY60" fmla="*/ 112085 h 316474"/>
              <a:gd name="connsiteX61" fmla="*/ 49538 w 1240592"/>
              <a:gd name="connsiteY61" fmla="*/ 96701 h 316474"/>
              <a:gd name="connsiteX62" fmla="*/ 75383 w 1240592"/>
              <a:gd name="connsiteY62" fmla="*/ 83514 h 316474"/>
              <a:gd name="connsiteX63" fmla="*/ 105537 w 1240592"/>
              <a:gd name="connsiteY63" fmla="*/ 70328 h 316474"/>
              <a:gd name="connsiteX64" fmla="*/ 142151 w 1240592"/>
              <a:gd name="connsiteY64" fmla="*/ 57141 h 316474"/>
              <a:gd name="connsiteX65" fmla="*/ 180920 w 1240592"/>
              <a:gd name="connsiteY65" fmla="*/ 46153 h 316474"/>
              <a:gd name="connsiteX66" fmla="*/ 226150 w 1240592"/>
              <a:gd name="connsiteY66" fmla="*/ 35164 h 316474"/>
              <a:gd name="connsiteX67" fmla="*/ 273533 w 1240592"/>
              <a:gd name="connsiteY67" fmla="*/ 26373 h 316474"/>
              <a:gd name="connsiteX68" fmla="*/ 325225 w 1240592"/>
              <a:gd name="connsiteY68" fmla="*/ 19780 h 316474"/>
              <a:gd name="connsiteX69" fmla="*/ 379070 w 1240592"/>
              <a:gd name="connsiteY69" fmla="*/ 13187 h 316474"/>
              <a:gd name="connsiteX70" fmla="*/ 435069 w 1240592"/>
              <a:gd name="connsiteY70" fmla="*/ 6593 h 316474"/>
              <a:gd name="connsiteX71" fmla="*/ 495375 w 1240592"/>
              <a:gd name="connsiteY71" fmla="*/ 2198 h 316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1240592" h="316474">
                <a:moveTo>
                  <a:pt x="557836" y="0"/>
                </a:moveTo>
                <a:lnTo>
                  <a:pt x="620296" y="0"/>
                </a:lnTo>
                <a:lnTo>
                  <a:pt x="682757" y="0"/>
                </a:lnTo>
                <a:lnTo>
                  <a:pt x="745217" y="2198"/>
                </a:lnTo>
                <a:lnTo>
                  <a:pt x="805523" y="6593"/>
                </a:lnTo>
                <a:lnTo>
                  <a:pt x="861522" y="13187"/>
                </a:lnTo>
                <a:lnTo>
                  <a:pt x="915368" y="19780"/>
                </a:lnTo>
                <a:lnTo>
                  <a:pt x="967059" y="26373"/>
                </a:lnTo>
                <a:lnTo>
                  <a:pt x="1014443" y="35164"/>
                </a:lnTo>
                <a:lnTo>
                  <a:pt x="1059673" y="46153"/>
                </a:lnTo>
                <a:lnTo>
                  <a:pt x="1098441" y="57141"/>
                </a:lnTo>
                <a:lnTo>
                  <a:pt x="1135056" y="70328"/>
                </a:lnTo>
                <a:lnTo>
                  <a:pt x="1165209" y="83514"/>
                </a:lnTo>
                <a:lnTo>
                  <a:pt x="1191055" y="96701"/>
                </a:lnTo>
                <a:lnTo>
                  <a:pt x="1212593" y="112085"/>
                </a:lnTo>
                <a:lnTo>
                  <a:pt x="1227669" y="125271"/>
                </a:lnTo>
                <a:lnTo>
                  <a:pt x="1234131" y="134062"/>
                </a:lnTo>
                <a:lnTo>
                  <a:pt x="1238438" y="142853"/>
                </a:lnTo>
                <a:lnTo>
                  <a:pt x="1240592" y="149446"/>
                </a:lnTo>
                <a:lnTo>
                  <a:pt x="1240592" y="158237"/>
                </a:lnTo>
                <a:lnTo>
                  <a:pt x="1240592" y="167028"/>
                </a:lnTo>
                <a:lnTo>
                  <a:pt x="1238438" y="173621"/>
                </a:lnTo>
                <a:lnTo>
                  <a:pt x="1234131" y="182412"/>
                </a:lnTo>
                <a:lnTo>
                  <a:pt x="1227669" y="191203"/>
                </a:lnTo>
                <a:lnTo>
                  <a:pt x="1212593" y="204390"/>
                </a:lnTo>
                <a:lnTo>
                  <a:pt x="1191055" y="219774"/>
                </a:lnTo>
                <a:lnTo>
                  <a:pt x="1165209" y="232960"/>
                </a:lnTo>
                <a:lnTo>
                  <a:pt x="1135056" y="246147"/>
                </a:lnTo>
                <a:lnTo>
                  <a:pt x="1098441" y="259333"/>
                </a:lnTo>
                <a:lnTo>
                  <a:pt x="1059673" y="270322"/>
                </a:lnTo>
                <a:lnTo>
                  <a:pt x="1014443" y="281310"/>
                </a:lnTo>
                <a:lnTo>
                  <a:pt x="967059" y="290101"/>
                </a:lnTo>
                <a:lnTo>
                  <a:pt x="915368" y="296695"/>
                </a:lnTo>
                <a:lnTo>
                  <a:pt x="861522" y="303288"/>
                </a:lnTo>
                <a:lnTo>
                  <a:pt x="805523" y="309881"/>
                </a:lnTo>
                <a:lnTo>
                  <a:pt x="745217" y="314276"/>
                </a:lnTo>
                <a:lnTo>
                  <a:pt x="682757" y="316474"/>
                </a:lnTo>
                <a:lnTo>
                  <a:pt x="620296" y="316474"/>
                </a:lnTo>
                <a:lnTo>
                  <a:pt x="557836" y="316474"/>
                </a:lnTo>
                <a:lnTo>
                  <a:pt x="495375" y="314276"/>
                </a:lnTo>
                <a:lnTo>
                  <a:pt x="435069" y="309881"/>
                </a:lnTo>
                <a:lnTo>
                  <a:pt x="379070" y="303288"/>
                </a:lnTo>
                <a:lnTo>
                  <a:pt x="325225" y="296695"/>
                </a:lnTo>
                <a:lnTo>
                  <a:pt x="273533" y="290101"/>
                </a:lnTo>
                <a:lnTo>
                  <a:pt x="226150" y="281310"/>
                </a:lnTo>
                <a:lnTo>
                  <a:pt x="180920" y="270322"/>
                </a:lnTo>
                <a:lnTo>
                  <a:pt x="142151" y="259333"/>
                </a:lnTo>
                <a:lnTo>
                  <a:pt x="105537" y="246147"/>
                </a:lnTo>
                <a:lnTo>
                  <a:pt x="75383" y="232960"/>
                </a:lnTo>
                <a:lnTo>
                  <a:pt x="49538" y="219774"/>
                </a:lnTo>
                <a:lnTo>
                  <a:pt x="28000" y="204390"/>
                </a:lnTo>
                <a:lnTo>
                  <a:pt x="12923" y="191203"/>
                </a:lnTo>
                <a:lnTo>
                  <a:pt x="6462" y="182412"/>
                </a:lnTo>
                <a:lnTo>
                  <a:pt x="2154" y="173621"/>
                </a:lnTo>
                <a:lnTo>
                  <a:pt x="0" y="167028"/>
                </a:lnTo>
                <a:lnTo>
                  <a:pt x="0" y="158237"/>
                </a:lnTo>
                <a:lnTo>
                  <a:pt x="0" y="149446"/>
                </a:lnTo>
                <a:lnTo>
                  <a:pt x="2154" y="142853"/>
                </a:lnTo>
                <a:lnTo>
                  <a:pt x="6462" y="134062"/>
                </a:lnTo>
                <a:lnTo>
                  <a:pt x="12923" y="125271"/>
                </a:lnTo>
                <a:lnTo>
                  <a:pt x="28000" y="112085"/>
                </a:lnTo>
                <a:lnTo>
                  <a:pt x="49538" y="96701"/>
                </a:lnTo>
                <a:lnTo>
                  <a:pt x="75383" y="83514"/>
                </a:lnTo>
                <a:lnTo>
                  <a:pt x="105537" y="70328"/>
                </a:lnTo>
                <a:lnTo>
                  <a:pt x="142151" y="57141"/>
                </a:lnTo>
                <a:lnTo>
                  <a:pt x="180920" y="46153"/>
                </a:lnTo>
                <a:lnTo>
                  <a:pt x="226150" y="35164"/>
                </a:lnTo>
                <a:lnTo>
                  <a:pt x="273533" y="26373"/>
                </a:lnTo>
                <a:lnTo>
                  <a:pt x="325225" y="19780"/>
                </a:lnTo>
                <a:lnTo>
                  <a:pt x="379070" y="13187"/>
                </a:lnTo>
                <a:lnTo>
                  <a:pt x="435069" y="6593"/>
                </a:lnTo>
                <a:lnTo>
                  <a:pt x="495375" y="2198"/>
                </a:lnTo>
                <a:close/>
              </a:path>
            </a:pathLst>
          </a:custGeom>
          <a:gradFill flip="none" rotWithShape="1">
            <a:gsLst>
              <a:gs pos="50000">
                <a:schemeClr val="accent1">
                  <a:alpha val="0"/>
                  <a:lumMod val="0"/>
                  <a:lumOff val="100000"/>
                </a:schemeClr>
              </a:gs>
              <a:gs pos="100000">
                <a:schemeClr val="accent1">
                  <a:alpha val="70000"/>
                  <a:lumMod val="0"/>
                  <a:lumOff val="100000"/>
                </a:schemeClr>
              </a:gs>
            </a:gsLst>
            <a:path path="circle">
              <a:fillToRect l="50222" t="-263272" r="49778" b="363272"/>
            </a:path>
            <a:tileRect/>
          </a:gradFill>
          <a:ln w="19050">
            <a:gradFill>
              <a:gsLst>
                <a:gs pos="30000">
                  <a:schemeClr val="accent1">
                    <a:lumMod val="0"/>
                    <a:lumOff val="100000"/>
                    <a:alpha val="0"/>
                  </a:schemeClr>
                </a:gs>
                <a:gs pos="95000">
                  <a:schemeClr val="accent1">
                    <a:alpha val="50000"/>
                    <a:lumMod val="0"/>
                    <a:lumOff val="10000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FFFFFF"/>
              </a:solidFill>
              <a:latin typeface="Arial"/>
            </a:endParaRPr>
          </a:p>
        </p:txBody>
      </p:sp>
      <p:sp>
        <p:nvSpPr>
          <p:cNvPr id="40" name="任意多边形: 形状 39">
            <a:extLst>
              <a:ext uri="{FF2B5EF4-FFF2-40B4-BE49-F238E27FC236}">
                <a16:creationId xmlns:a16="http://schemas.microsoft.com/office/drawing/2014/main" id="{77CC80E7-A152-A075-023D-6C8BFF8C9F35}"/>
              </a:ext>
            </a:extLst>
          </p:cNvPr>
          <p:cNvSpPr>
            <a:spLocks/>
          </p:cNvSpPr>
          <p:nvPr/>
        </p:nvSpPr>
        <p:spPr bwMode="auto">
          <a:xfrm>
            <a:off x="5572811" y="834218"/>
            <a:ext cx="1071348" cy="1241384"/>
          </a:xfrm>
          <a:custGeom>
            <a:avLst/>
            <a:gdLst>
              <a:gd name="connsiteX0" fmla="*/ 535674 w 1071348"/>
              <a:gd name="connsiteY0" fmla="*/ 0 h 1241384"/>
              <a:gd name="connsiteX1" fmla="*/ 1071348 w 1071348"/>
              <a:gd name="connsiteY1" fmla="*/ 1103453 h 1241384"/>
              <a:gd name="connsiteX2" fmla="*/ 1067628 w 1071348"/>
              <a:gd name="connsiteY2" fmla="*/ 1118778 h 1241384"/>
              <a:gd name="connsiteX3" fmla="*/ 1060188 w 1071348"/>
              <a:gd name="connsiteY3" fmla="*/ 1130273 h 1241384"/>
              <a:gd name="connsiteX4" fmla="*/ 1049028 w 1071348"/>
              <a:gd name="connsiteY4" fmla="*/ 1145598 h 1241384"/>
              <a:gd name="connsiteX5" fmla="*/ 1030429 w 1071348"/>
              <a:gd name="connsiteY5" fmla="*/ 1157093 h 1241384"/>
              <a:gd name="connsiteX6" fmla="*/ 1008109 w 1071348"/>
              <a:gd name="connsiteY6" fmla="*/ 1168587 h 1241384"/>
              <a:gd name="connsiteX7" fmla="*/ 978349 w 1071348"/>
              <a:gd name="connsiteY7" fmla="*/ 1180081 h 1241384"/>
              <a:gd name="connsiteX8" fmla="*/ 915110 w 1071348"/>
              <a:gd name="connsiteY8" fmla="*/ 1199238 h 1241384"/>
              <a:gd name="connsiteX9" fmla="*/ 836991 w 1071348"/>
              <a:gd name="connsiteY9" fmla="*/ 1218396 h 1241384"/>
              <a:gd name="connsiteX10" fmla="*/ 743992 w 1071348"/>
              <a:gd name="connsiteY10" fmla="*/ 1229890 h 1241384"/>
              <a:gd name="connsiteX11" fmla="*/ 643553 w 1071348"/>
              <a:gd name="connsiteY11" fmla="*/ 1237553 h 1241384"/>
              <a:gd name="connsiteX12" fmla="*/ 535674 w 1071348"/>
              <a:gd name="connsiteY12" fmla="*/ 1241384 h 1241384"/>
              <a:gd name="connsiteX13" fmla="*/ 427795 w 1071348"/>
              <a:gd name="connsiteY13" fmla="*/ 1237553 h 1241384"/>
              <a:gd name="connsiteX14" fmla="*/ 327356 w 1071348"/>
              <a:gd name="connsiteY14" fmla="*/ 1229890 h 1241384"/>
              <a:gd name="connsiteX15" fmla="*/ 234358 w 1071348"/>
              <a:gd name="connsiteY15" fmla="*/ 1218396 h 1241384"/>
              <a:gd name="connsiteX16" fmla="*/ 156238 w 1071348"/>
              <a:gd name="connsiteY16" fmla="*/ 1199238 h 1241384"/>
              <a:gd name="connsiteX17" fmla="*/ 92999 w 1071348"/>
              <a:gd name="connsiteY17" fmla="*/ 1180081 h 1241384"/>
              <a:gd name="connsiteX18" fmla="*/ 63239 w 1071348"/>
              <a:gd name="connsiteY18" fmla="*/ 1168587 h 1241384"/>
              <a:gd name="connsiteX19" fmla="*/ 40920 w 1071348"/>
              <a:gd name="connsiteY19" fmla="*/ 1157093 h 1241384"/>
              <a:gd name="connsiteX20" fmla="*/ 22320 w 1071348"/>
              <a:gd name="connsiteY20" fmla="*/ 1145598 h 1241384"/>
              <a:gd name="connsiteX21" fmla="*/ 11160 w 1071348"/>
              <a:gd name="connsiteY21" fmla="*/ 1130273 h 1241384"/>
              <a:gd name="connsiteX22" fmla="*/ 3720 w 1071348"/>
              <a:gd name="connsiteY22" fmla="*/ 1118778 h 1241384"/>
              <a:gd name="connsiteX23" fmla="*/ 0 w 1071348"/>
              <a:gd name="connsiteY23" fmla="*/ 1103453 h 12413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071348" h="1241384">
                <a:moveTo>
                  <a:pt x="535674" y="0"/>
                </a:moveTo>
                <a:lnTo>
                  <a:pt x="1071348" y="1103453"/>
                </a:lnTo>
                <a:lnTo>
                  <a:pt x="1067628" y="1118778"/>
                </a:lnTo>
                <a:lnTo>
                  <a:pt x="1060188" y="1130273"/>
                </a:lnTo>
                <a:lnTo>
                  <a:pt x="1049028" y="1145598"/>
                </a:lnTo>
                <a:lnTo>
                  <a:pt x="1030429" y="1157093"/>
                </a:lnTo>
                <a:lnTo>
                  <a:pt x="1008109" y="1168587"/>
                </a:lnTo>
                <a:lnTo>
                  <a:pt x="978349" y="1180081"/>
                </a:lnTo>
                <a:lnTo>
                  <a:pt x="915110" y="1199238"/>
                </a:lnTo>
                <a:lnTo>
                  <a:pt x="836991" y="1218396"/>
                </a:lnTo>
                <a:lnTo>
                  <a:pt x="743992" y="1229890"/>
                </a:lnTo>
                <a:lnTo>
                  <a:pt x="643553" y="1237553"/>
                </a:lnTo>
                <a:lnTo>
                  <a:pt x="535674" y="1241384"/>
                </a:lnTo>
                <a:lnTo>
                  <a:pt x="427795" y="1237553"/>
                </a:lnTo>
                <a:lnTo>
                  <a:pt x="327356" y="1229890"/>
                </a:lnTo>
                <a:lnTo>
                  <a:pt x="234358" y="1218396"/>
                </a:lnTo>
                <a:lnTo>
                  <a:pt x="156238" y="1199238"/>
                </a:lnTo>
                <a:lnTo>
                  <a:pt x="92999" y="1180081"/>
                </a:lnTo>
                <a:lnTo>
                  <a:pt x="63239" y="1168587"/>
                </a:lnTo>
                <a:lnTo>
                  <a:pt x="40920" y="1157093"/>
                </a:lnTo>
                <a:lnTo>
                  <a:pt x="22320" y="1145598"/>
                </a:lnTo>
                <a:lnTo>
                  <a:pt x="11160" y="1130273"/>
                </a:lnTo>
                <a:lnTo>
                  <a:pt x="3720" y="1118778"/>
                </a:lnTo>
                <a:lnTo>
                  <a:pt x="0" y="1103453"/>
                </a:lnTo>
                <a:close/>
              </a:path>
            </a:pathLst>
          </a:custGeom>
          <a:gradFill flip="none" rotWithShape="1">
            <a:gsLst>
              <a:gs pos="0">
                <a:schemeClr val="accent1">
                  <a:lumMod val="5000"/>
                  <a:lumOff val="95000"/>
                </a:schemeClr>
              </a:gs>
              <a:gs pos="100000">
                <a:schemeClr val="accent1">
                  <a:lumMod val="100000"/>
                </a:schemeClr>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ko-KR" altLang="en-US" dirty="0">
              <a:solidFill>
                <a:srgbClr val="FFFFFF"/>
              </a:solidFill>
              <a:latin typeface="Arial"/>
            </a:endParaRPr>
          </a:p>
        </p:txBody>
      </p:sp>
      <p:sp>
        <p:nvSpPr>
          <p:cNvPr id="12" name="任意多边形: 形状 11">
            <a:extLst>
              <a:ext uri="{FF2B5EF4-FFF2-40B4-BE49-F238E27FC236}">
                <a16:creationId xmlns:a16="http://schemas.microsoft.com/office/drawing/2014/main" id="{44D72A06-ECE2-B760-42A8-7092901C4E2D}"/>
              </a:ext>
            </a:extLst>
          </p:cNvPr>
          <p:cNvSpPr/>
          <p:nvPr/>
        </p:nvSpPr>
        <p:spPr>
          <a:xfrm>
            <a:off x="7137655" y="2642996"/>
            <a:ext cx="1101012" cy="2258008"/>
          </a:xfrm>
          <a:custGeom>
            <a:avLst/>
            <a:gdLst>
              <a:gd name="connsiteX0" fmla="*/ 1101012 w 1101012"/>
              <a:gd name="connsiteY0" fmla="*/ 2258008 h 2258008"/>
              <a:gd name="connsiteX1" fmla="*/ 0 w 1101012"/>
              <a:gd name="connsiteY1" fmla="*/ 0 h 2258008"/>
              <a:gd name="connsiteX2" fmla="*/ 158621 w 1101012"/>
              <a:gd name="connsiteY2" fmla="*/ 74645 h 2258008"/>
            </a:gdLst>
            <a:ahLst/>
            <a:cxnLst>
              <a:cxn ang="0">
                <a:pos x="connsiteX0" y="connsiteY0"/>
              </a:cxn>
              <a:cxn ang="0">
                <a:pos x="connsiteX1" y="connsiteY1"/>
              </a:cxn>
              <a:cxn ang="0">
                <a:pos x="connsiteX2" y="connsiteY2"/>
              </a:cxn>
            </a:cxnLst>
            <a:rect l="l" t="t" r="r" b="b"/>
            <a:pathLst>
              <a:path w="1101012" h="2258008">
                <a:moveTo>
                  <a:pt x="1101012" y="2258008"/>
                </a:moveTo>
                <a:lnTo>
                  <a:pt x="0" y="0"/>
                </a:lnTo>
                <a:lnTo>
                  <a:pt x="158621" y="74645"/>
                </a:lnTo>
              </a:path>
            </a:pathLst>
          </a:custGeom>
          <a:noFill/>
          <a:ln w="19050" cap="rnd">
            <a:gradFill>
              <a:gsLst>
                <a:gs pos="100000">
                  <a:schemeClr val="accent1">
                    <a:alpha val="0"/>
                  </a:schemeClr>
                </a:gs>
                <a:gs pos="0">
                  <a:schemeClr val="accent1"/>
                </a:gs>
              </a:gsLst>
              <a:lin ang="5400000" scaled="1"/>
            </a:gra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prstClr val="white"/>
              </a:solidFill>
              <a:latin typeface="等线" panose="020F0502020204030204"/>
              <a:ea typeface="等线" panose="02010600030101010101" pitchFamily="2" charset="-122"/>
            </a:endParaRPr>
          </a:p>
        </p:txBody>
      </p:sp>
      <p:sp>
        <p:nvSpPr>
          <p:cNvPr id="45" name="任意多边形: 形状 44">
            <a:extLst>
              <a:ext uri="{FF2B5EF4-FFF2-40B4-BE49-F238E27FC236}">
                <a16:creationId xmlns:a16="http://schemas.microsoft.com/office/drawing/2014/main" id="{A45CA679-C725-F322-5317-3B4A2A900ED2}"/>
              </a:ext>
            </a:extLst>
          </p:cNvPr>
          <p:cNvSpPr/>
          <p:nvPr/>
        </p:nvSpPr>
        <p:spPr>
          <a:xfrm flipH="1">
            <a:off x="3972842" y="2642996"/>
            <a:ext cx="1101012" cy="2258008"/>
          </a:xfrm>
          <a:custGeom>
            <a:avLst/>
            <a:gdLst>
              <a:gd name="connsiteX0" fmla="*/ 1101012 w 1101012"/>
              <a:gd name="connsiteY0" fmla="*/ 2258008 h 2258008"/>
              <a:gd name="connsiteX1" fmla="*/ 0 w 1101012"/>
              <a:gd name="connsiteY1" fmla="*/ 0 h 2258008"/>
              <a:gd name="connsiteX2" fmla="*/ 158621 w 1101012"/>
              <a:gd name="connsiteY2" fmla="*/ 74645 h 2258008"/>
            </a:gdLst>
            <a:ahLst/>
            <a:cxnLst>
              <a:cxn ang="0">
                <a:pos x="connsiteX0" y="connsiteY0"/>
              </a:cxn>
              <a:cxn ang="0">
                <a:pos x="connsiteX1" y="connsiteY1"/>
              </a:cxn>
              <a:cxn ang="0">
                <a:pos x="connsiteX2" y="connsiteY2"/>
              </a:cxn>
            </a:cxnLst>
            <a:rect l="l" t="t" r="r" b="b"/>
            <a:pathLst>
              <a:path w="1101012" h="2258008">
                <a:moveTo>
                  <a:pt x="1101012" y="2258008"/>
                </a:moveTo>
                <a:lnTo>
                  <a:pt x="0" y="0"/>
                </a:lnTo>
                <a:lnTo>
                  <a:pt x="158621" y="74645"/>
                </a:lnTo>
              </a:path>
            </a:pathLst>
          </a:custGeom>
          <a:noFill/>
          <a:ln w="19050" cap="rnd">
            <a:gradFill>
              <a:gsLst>
                <a:gs pos="100000">
                  <a:schemeClr val="accent1">
                    <a:alpha val="0"/>
                  </a:schemeClr>
                </a:gs>
                <a:gs pos="0">
                  <a:schemeClr val="accent1"/>
                </a:gs>
              </a:gsLst>
              <a:lin ang="5400000" scaled="1"/>
            </a:gra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prstClr val="white"/>
              </a:solidFill>
              <a:latin typeface="等线" panose="020F0502020204030204"/>
              <a:ea typeface="等线" panose="02010600030101010101" pitchFamily="2" charset="-122"/>
            </a:endParaRPr>
          </a:p>
        </p:txBody>
      </p:sp>
    </p:spTree>
    <p:extLst>
      <p:ext uri="{BB962C8B-B14F-4D97-AF65-F5344CB8AC3E}">
        <p14:creationId xmlns:p14="http://schemas.microsoft.com/office/powerpoint/2010/main" val="1701813861"/>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bg>
      <p:bgPr>
        <a:solidFill>
          <a:srgbClr val="021044"/>
        </a:solidFill>
        <a:effectLst/>
      </p:bgPr>
    </p:bg>
    <p:spTree>
      <p:nvGrpSpPr>
        <p:cNvPr id="1" name=""/>
        <p:cNvGrpSpPr/>
        <p:nvPr/>
      </p:nvGrpSpPr>
      <p:grpSpPr>
        <a:xfrm>
          <a:off x="0" y="0"/>
          <a:ext cx="0" cy="0"/>
          <a:chOff x="0" y="0"/>
          <a:chExt cx="0" cy="0"/>
        </a:xfrm>
      </p:grpSpPr>
      <p:grpSp>
        <p:nvGrpSpPr>
          <p:cNvPr id="8" name="组合 7">
            <a:extLst>
              <a:ext uri="{FF2B5EF4-FFF2-40B4-BE49-F238E27FC236}">
                <a16:creationId xmlns:a16="http://schemas.microsoft.com/office/drawing/2014/main" id="{07AE2F58-43E3-462F-9687-888BAD0BD9E7}"/>
              </a:ext>
            </a:extLst>
          </p:cNvPr>
          <p:cNvGrpSpPr/>
          <p:nvPr/>
        </p:nvGrpSpPr>
        <p:grpSpPr>
          <a:xfrm>
            <a:off x="0" y="4928585"/>
            <a:ext cx="12192000" cy="770905"/>
            <a:chOff x="0" y="4623508"/>
            <a:chExt cx="12195652" cy="1557228"/>
          </a:xfrm>
        </p:grpSpPr>
        <p:sp>
          <p:nvSpPr>
            <p:cNvPr id="9" name="任意多边形: 形状 8">
              <a:extLst>
                <a:ext uri="{FF2B5EF4-FFF2-40B4-BE49-F238E27FC236}">
                  <a16:creationId xmlns:a16="http://schemas.microsoft.com/office/drawing/2014/main" id="{9D0D370E-0D29-4C02-B109-B198C4B897AA}"/>
                </a:ext>
              </a:extLst>
            </p:cNvPr>
            <p:cNvSpPr/>
            <p:nvPr/>
          </p:nvSpPr>
          <p:spPr>
            <a:xfrm>
              <a:off x="0" y="4782013"/>
              <a:ext cx="12194282" cy="847063"/>
            </a:xfrm>
            <a:custGeom>
              <a:avLst/>
              <a:gdLst>
                <a:gd name="connsiteX0" fmla="*/ 5610832 w 12194282"/>
                <a:gd name="connsiteY0" fmla="*/ 847062 h 847062"/>
                <a:gd name="connsiteX1" fmla="*/ 5533890 w 12194282"/>
                <a:gd name="connsiteY1" fmla="*/ 847062 h 847062"/>
                <a:gd name="connsiteX2" fmla="*/ 2962839 w 12194282"/>
                <a:gd name="connsiteY2" fmla="*/ 477278 h 847062"/>
                <a:gd name="connsiteX3" fmla="*/ 4795 w 12194282"/>
                <a:gd name="connsiteY3" fmla="*/ 163281 h 847062"/>
                <a:gd name="connsiteX4" fmla="*/ 0 w 12194282"/>
                <a:gd name="connsiteY4" fmla="*/ 146507 h 847062"/>
                <a:gd name="connsiteX5" fmla="*/ 2968090 w 12194282"/>
                <a:gd name="connsiteY5" fmla="*/ 460127 h 847062"/>
                <a:gd name="connsiteX6" fmla="*/ 5534803 w 12194282"/>
                <a:gd name="connsiteY6" fmla="*/ 829346 h 847062"/>
                <a:gd name="connsiteX7" fmla="*/ 7935074 w 12194282"/>
                <a:gd name="connsiteY7" fmla="*/ 463142 h 847062"/>
                <a:gd name="connsiteX8" fmla="*/ 12194283 w 12194282"/>
                <a:gd name="connsiteY8" fmla="*/ 112016 h 847062"/>
                <a:gd name="connsiteX9" fmla="*/ 12188803 w 12194282"/>
                <a:gd name="connsiteY9" fmla="*/ 128790 h 847062"/>
                <a:gd name="connsiteX10" fmla="*/ 7940097 w 12194282"/>
                <a:gd name="connsiteY10" fmla="*/ 479916 h 847062"/>
                <a:gd name="connsiteX11" fmla="*/ 5610832 w 12194282"/>
                <a:gd name="connsiteY11" fmla="*/ 847062 h 847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4282" h="847062">
                  <a:moveTo>
                    <a:pt x="5610832" y="847062"/>
                  </a:moveTo>
                  <a:cubicBezTo>
                    <a:pt x="5584804" y="847062"/>
                    <a:pt x="5559233" y="847062"/>
                    <a:pt x="5533890" y="847062"/>
                  </a:cubicBezTo>
                  <a:cubicBezTo>
                    <a:pt x="4794150" y="830100"/>
                    <a:pt x="3863083" y="650862"/>
                    <a:pt x="2962839" y="477278"/>
                  </a:cubicBezTo>
                  <a:cubicBezTo>
                    <a:pt x="1792955" y="251486"/>
                    <a:pt x="688140" y="38700"/>
                    <a:pt x="4795" y="163281"/>
                  </a:cubicBezTo>
                  <a:lnTo>
                    <a:pt x="0" y="146507"/>
                  </a:lnTo>
                  <a:cubicBezTo>
                    <a:pt x="687912" y="20983"/>
                    <a:pt x="1795010" y="234335"/>
                    <a:pt x="2968090" y="460127"/>
                  </a:cubicBezTo>
                  <a:cubicBezTo>
                    <a:pt x="3867421" y="633334"/>
                    <a:pt x="4797347" y="812572"/>
                    <a:pt x="5534803" y="829346"/>
                  </a:cubicBezTo>
                  <a:cubicBezTo>
                    <a:pt x="6194404" y="844424"/>
                    <a:pt x="7039853" y="659720"/>
                    <a:pt x="7935074" y="463142"/>
                  </a:cubicBezTo>
                  <a:cubicBezTo>
                    <a:pt x="9315236" y="161019"/>
                    <a:pt x="10879191" y="-181625"/>
                    <a:pt x="12194283" y="112016"/>
                  </a:cubicBezTo>
                  <a:lnTo>
                    <a:pt x="12188803" y="128790"/>
                  </a:lnTo>
                  <a:cubicBezTo>
                    <a:pt x="10879191" y="-163720"/>
                    <a:pt x="9317747" y="178170"/>
                    <a:pt x="7940097" y="479916"/>
                  </a:cubicBezTo>
                  <a:cubicBezTo>
                    <a:pt x="7077753" y="668767"/>
                    <a:pt x="6261072" y="847062"/>
                    <a:pt x="5610832" y="847062"/>
                  </a:cubicBezTo>
                  <a:close/>
                </a:path>
              </a:pathLst>
            </a:custGeom>
            <a:solidFill>
              <a:schemeClr val="bg1">
                <a:alpha val="80000"/>
              </a:schemeClr>
            </a:solidFill>
            <a:ln w="12700" cap="flat">
              <a:noFill/>
              <a:prstDash val="solid"/>
              <a:miter/>
            </a:ln>
          </p:spPr>
          <p:txBody>
            <a:bodyPr rtlCol="0" anchor="ctr"/>
            <a:lstStyle/>
            <a:p>
              <a:endParaRPr lang="zh-CN" altLang="en-US"/>
            </a:p>
          </p:txBody>
        </p:sp>
        <p:sp>
          <p:nvSpPr>
            <p:cNvPr id="10" name="任意多边形: 形状 9">
              <a:extLst>
                <a:ext uri="{FF2B5EF4-FFF2-40B4-BE49-F238E27FC236}">
                  <a16:creationId xmlns:a16="http://schemas.microsoft.com/office/drawing/2014/main" id="{ACC19059-8C64-425D-A415-1ADD6A93ED53}"/>
                </a:ext>
              </a:extLst>
            </p:cNvPr>
            <p:cNvSpPr/>
            <p:nvPr/>
          </p:nvSpPr>
          <p:spPr>
            <a:xfrm>
              <a:off x="0" y="4939721"/>
              <a:ext cx="12193141" cy="569484"/>
            </a:xfrm>
            <a:custGeom>
              <a:avLst/>
              <a:gdLst>
                <a:gd name="connsiteX0" fmla="*/ 5876133 w 12193141"/>
                <a:gd name="connsiteY0" fmla="*/ 569485 h 569485"/>
                <a:gd name="connsiteX1" fmla="*/ 5654211 w 12193141"/>
                <a:gd name="connsiteY1" fmla="*/ 564774 h 569485"/>
                <a:gd name="connsiteX2" fmla="*/ 3400518 w 12193141"/>
                <a:gd name="connsiteY2" fmla="*/ 359149 h 569485"/>
                <a:gd name="connsiteX3" fmla="*/ 4566 w 12193141"/>
                <a:gd name="connsiteY3" fmla="*/ 182173 h 569485"/>
                <a:gd name="connsiteX4" fmla="*/ 0 w 12193141"/>
                <a:gd name="connsiteY4" fmla="*/ 166718 h 569485"/>
                <a:gd name="connsiteX5" fmla="*/ 3401888 w 12193141"/>
                <a:gd name="connsiteY5" fmla="*/ 343694 h 569485"/>
                <a:gd name="connsiteX6" fmla="*/ 5654211 w 12193141"/>
                <a:gd name="connsiteY6" fmla="*/ 549130 h 569485"/>
                <a:gd name="connsiteX7" fmla="*/ 8177773 w 12193141"/>
                <a:gd name="connsiteY7" fmla="*/ 304115 h 569485"/>
                <a:gd name="connsiteX8" fmla="*/ 12193141 w 12193141"/>
                <a:gd name="connsiteY8" fmla="*/ 67392 h 569485"/>
                <a:gd name="connsiteX9" fmla="*/ 12190173 w 12193141"/>
                <a:gd name="connsiteY9" fmla="*/ 82847 h 569485"/>
                <a:gd name="connsiteX10" fmla="*/ 8182339 w 12193141"/>
                <a:gd name="connsiteY10" fmla="*/ 318816 h 569485"/>
                <a:gd name="connsiteX11" fmla="*/ 5876133 w 12193141"/>
                <a:gd name="connsiteY11" fmla="*/ 569485 h 569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3141" h="569485">
                  <a:moveTo>
                    <a:pt x="5876133" y="569485"/>
                  </a:moveTo>
                  <a:cubicBezTo>
                    <a:pt x="5800561" y="569485"/>
                    <a:pt x="5726816" y="567978"/>
                    <a:pt x="5654211" y="564774"/>
                  </a:cubicBezTo>
                  <a:cubicBezTo>
                    <a:pt x="5012648" y="536126"/>
                    <a:pt x="4192998" y="446224"/>
                    <a:pt x="3400518" y="359149"/>
                  </a:cubicBezTo>
                  <a:cubicBezTo>
                    <a:pt x="2060083" y="212140"/>
                    <a:pt x="673985" y="60042"/>
                    <a:pt x="4566" y="182173"/>
                  </a:cubicBezTo>
                  <a:lnTo>
                    <a:pt x="0" y="166718"/>
                  </a:lnTo>
                  <a:cubicBezTo>
                    <a:pt x="672843" y="44022"/>
                    <a:pt x="2060539" y="196308"/>
                    <a:pt x="3401888" y="343694"/>
                  </a:cubicBezTo>
                  <a:cubicBezTo>
                    <a:pt x="4194139" y="430581"/>
                    <a:pt x="5013104" y="520482"/>
                    <a:pt x="5654211" y="549130"/>
                  </a:cubicBezTo>
                  <a:cubicBezTo>
                    <a:pt x="6370891" y="580982"/>
                    <a:pt x="7248533" y="446224"/>
                    <a:pt x="8177773" y="304115"/>
                  </a:cubicBezTo>
                  <a:cubicBezTo>
                    <a:pt x="9452225" y="107726"/>
                    <a:pt x="10897684" y="-114296"/>
                    <a:pt x="12193141" y="67392"/>
                  </a:cubicBezTo>
                  <a:lnTo>
                    <a:pt x="12190173" y="82847"/>
                  </a:lnTo>
                  <a:cubicBezTo>
                    <a:pt x="10897684" y="-98276"/>
                    <a:pt x="9455193" y="123934"/>
                    <a:pt x="8182339" y="318816"/>
                  </a:cubicBezTo>
                  <a:cubicBezTo>
                    <a:pt x="7345794" y="447355"/>
                    <a:pt x="6550803" y="569485"/>
                    <a:pt x="5876133" y="569485"/>
                  </a:cubicBezTo>
                  <a:close/>
                </a:path>
              </a:pathLst>
            </a:custGeom>
            <a:solidFill>
              <a:schemeClr val="bg1">
                <a:alpha val="60000"/>
              </a:schemeClr>
            </a:solidFill>
            <a:ln w="12700" cap="flat">
              <a:noFill/>
              <a:prstDash val="solid"/>
              <a:miter/>
            </a:ln>
          </p:spPr>
          <p:txBody>
            <a:bodyPr rtlCol="0" anchor="ctr"/>
            <a:lstStyle/>
            <a:p>
              <a:endParaRPr lang="zh-CN" altLang="en-US"/>
            </a:p>
          </p:txBody>
        </p:sp>
        <p:sp>
          <p:nvSpPr>
            <p:cNvPr id="11" name="任意多边形: 形状 10">
              <a:extLst>
                <a:ext uri="{FF2B5EF4-FFF2-40B4-BE49-F238E27FC236}">
                  <a16:creationId xmlns:a16="http://schemas.microsoft.com/office/drawing/2014/main" id="{37850996-A0ED-4472-9F56-F7CD399FDF81}"/>
                </a:ext>
              </a:extLst>
            </p:cNvPr>
            <p:cNvSpPr/>
            <p:nvPr/>
          </p:nvSpPr>
          <p:spPr>
            <a:xfrm>
              <a:off x="0" y="5094501"/>
              <a:ext cx="12192000" cy="302937"/>
            </a:xfrm>
            <a:custGeom>
              <a:avLst/>
              <a:gdLst>
                <a:gd name="connsiteX0" fmla="*/ 6340982 w 12192000"/>
                <a:gd name="connsiteY0" fmla="*/ 302939 h 302938"/>
                <a:gd name="connsiteX1" fmla="*/ 5774761 w 12192000"/>
                <a:gd name="connsiteY1" fmla="*/ 285788 h 302938"/>
                <a:gd name="connsiteX2" fmla="*/ 4338 w 12192000"/>
                <a:gd name="connsiteY2" fmla="*/ 203802 h 302938"/>
                <a:gd name="connsiteX3" fmla="*/ 0 w 12192000"/>
                <a:gd name="connsiteY3" fmla="*/ 190043 h 302938"/>
                <a:gd name="connsiteX4" fmla="*/ 5776360 w 12192000"/>
                <a:gd name="connsiteY4" fmla="*/ 271652 h 302938"/>
                <a:gd name="connsiteX5" fmla="*/ 8584629 w 12192000"/>
                <a:gd name="connsiteY5" fmla="*/ 155741 h 302938"/>
                <a:gd name="connsiteX6" fmla="*/ 12192000 w 12192000"/>
                <a:gd name="connsiteY6" fmla="*/ 25695 h 302938"/>
                <a:gd name="connsiteX7" fmla="*/ 12192000 w 12192000"/>
                <a:gd name="connsiteY7" fmla="*/ 39830 h 302938"/>
                <a:gd name="connsiteX8" fmla="*/ 8587140 w 12192000"/>
                <a:gd name="connsiteY8" fmla="*/ 169688 h 302938"/>
                <a:gd name="connsiteX9" fmla="*/ 6340982 w 12192000"/>
                <a:gd name="connsiteY9" fmla="*/ 302939 h 302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2000" h="302938">
                  <a:moveTo>
                    <a:pt x="6340982" y="302939"/>
                  </a:moveTo>
                  <a:cubicBezTo>
                    <a:pt x="6146001" y="302939"/>
                    <a:pt x="5956957" y="297662"/>
                    <a:pt x="5774761" y="285788"/>
                  </a:cubicBezTo>
                  <a:cubicBezTo>
                    <a:pt x="4190715" y="182316"/>
                    <a:pt x="946136" y="31914"/>
                    <a:pt x="4338" y="203802"/>
                  </a:cubicBezTo>
                  <a:lnTo>
                    <a:pt x="0" y="190043"/>
                  </a:lnTo>
                  <a:cubicBezTo>
                    <a:pt x="943624" y="17779"/>
                    <a:pt x="4190486" y="168180"/>
                    <a:pt x="5776360" y="271652"/>
                  </a:cubicBezTo>
                  <a:cubicBezTo>
                    <a:pt x="6598292" y="325556"/>
                    <a:pt x="7563607" y="243004"/>
                    <a:pt x="8584629" y="155741"/>
                  </a:cubicBezTo>
                  <a:cubicBezTo>
                    <a:pt x="9761819" y="55096"/>
                    <a:pt x="10979421" y="-49695"/>
                    <a:pt x="12192000" y="25695"/>
                  </a:cubicBezTo>
                  <a:lnTo>
                    <a:pt x="12192000" y="39830"/>
                  </a:lnTo>
                  <a:cubicBezTo>
                    <a:pt x="10980563" y="-35559"/>
                    <a:pt x="9763874" y="69043"/>
                    <a:pt x="8587140" y="169688"/>
                  </a:cubicBezTo>
                  <a:cubicBezTo>
                    <a:pt x="7790095" y="237916"/>
                    <a:pt x="7028437" y="302939"/>
                    <a:pt x="6340982" y="302939"/>
                  </a:cubicBezTo>
                  <a:close/>
                </a:path>
              </a:pathLst>
            </a:custGeom>
            <a:solidFill>
              <a:schemeClr val="bg1">
                <a:alpha val="40000"/>
              </a:schemeClr>
            </a:solidFill>
            <a:ln w="12700" cap="flat">
              <a:noFill/>
              <a:prstDash val="solid"/>
              <a:miter/>
            </a:ln>
          </p:spPr>
          <p:txBody>
            <a:bodyPr rtlCol="0" anchor="ctr"/>
            <a:lstStyle/>
            <a:p>
              <a:endParaRPr lang="zh-CN" altLang="en-US"/>
            </a:p>
          </p:txBody>
        </p:sp>
        <p:sp>
          <p:nvSpPr>
            <p:cNvPr id="14" name="任意多边形: 形状 13">
              <a:extLst>
                <a:ext uri="{FF2B5EF4-FFF2-40B4-BE49-F238E27FC236}">
                  <a16:creationId xmlns:a16="http://schemas.microsoft.com/office/drawing/2014/main" id="{9AFAA5C6-44B6-4572-B4DE-EC3EB0F4475D}"/>
                </a:ext>
              </a:extLst>
            </p:cNvPr>
            <p:cNvSpPr/>
            <p:nvPr/>
          </p:nvSpPr>
          <p:spPr>
            <a:xfrm>
              <a:off x="0" y="5193974"/>
              <a:ext cx="12190630" cy="280742"/>
            </a:xfrm>
            <a:custGeom>
              <a:avLst/>
              <a:gdLst>
                <a:gd name="connsiteX0" fmla="*/ 4110 w 12190630"/>
                <a:gd name="connsiteY0" fmla="*/ 280742 h 280741"/>
                <a:gd name="connsiteX1" fmla="*/ 0 w 12190630"/>
                <a:gd name="connsiteY1" fmla="*/ 268491 h 280741"/>
                <a:gd name="connsiteX2" fmla="*/ 5895996 w 12190630"/>
                <a:gd name="connsiteY2" fmla="*/ 49673 h 280741"/>
                <a:gd name="connsiteX3" fmla="*/ 10275984 w 12190630"/>
                <a:gd name="connsiteY3" fmla="*/ 80395 h 280741"/>
                <a:gd name="connsiteX4" fmla="*/ 12190630 w 12190630"/>
                <a:gd name="connsiteY4" fmla="*/ 39496 h 280741"/>
                <a:gd name="connsiteX5" fmla="*/ 12190630 w 12190630"/>
                <a:gd name="connsiteY5" fmla="*/ 52124 h 280741"/>
                <a:gd name="connsiteX6" fmla="*/ 10276212 w 12190630"/>
                <a:gd name="connsiteY6" fmla="*/ 93022 h 280741"/>
                <a:gd name="connsiteX7" fmla="*/ 5895312 w 12190630"/>
                <a:gd name="connsiteY7" fmla="*/ 62301 h 280741"/>
                <a:gd name="connsiteX8" fmla="*/ 4110 w 12190630"/>
                <a:gd name="connsiteY8" fmla="*/ 280742 h 2807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0630" h="280741">
                  <a:moveTo>
                    <a:pt x="4110" y="280742"/>
                  </a:moveTo>
                  <a:lnTo>
                    <a:pt x="0" y="268491"/>
                  </a:lnTo>
                  <a:cubicBezTo>
                    <a:pt x="759831" y="129963"/>
                    <a:pt x="4114914" y="-102236"/>
                    <a:pt x="5895996" y="49673"/>
                  </a:cubicBezTo>
                  <a:cubicBezTo>
                    <a:pt x="7186659" y="159742"/>
                    <a:pt x="8687142" y="121293"/>
                    <a:pt x="10275984" y="80395"/>
                  </a:cubicBezTo>
                  <a:cubicBezTo>
                    <a:pt x="10895630" y="64563"/>
                    <a:pt x="11536509" y="48166"/>
                    <a:pt x="12190630" y="39496"/>
                  </a:cubicBezTo>
                  <a:lnTo>
                    <a:pt x="12190630" y="52124"/>
                  </a:lnTo>
                  <a:cubicBezTo>
                    <a:pt x="11536509" y="60605"/>
                    <a:pt x="10895858" y="77190"/>
                    <a:pt x="10276212" y="93022"/>
                  </a:cubicBezTo>
                  <a:cubicBezTo>
                    <a:pt x="8688056" y="133544"/>
                    <a:pt x="7186887" y="172370"/>
                    <a:pt x="5895312" y="62301"/>
                  </a:cubicBezTo>
                  <a:cubicBezTo>
                    <a:pt x="4115599" y="-89608"/>
                    <a:pt x="763256" y="142402"/>
                    <a:pt x="4110" y="280742"/>
                  </a:cubicBezTo>
                  <a:close/>
                </a:path>
              </a:pathLst>
            </a:custGeom>
            <a:solidFill>
              <a:schemeClr val="bg1">
                <a:alpha val="35000"/>
              </a:schemeClr>
            </a:solidFill>
            <a:ln w="12700" cap="flat">
              <a:noFill/>
              <a:prstDash val="solid"/>
              <a:miter/>
            </a:ln>
          </p:spPr>
          <p:txBody>
            <a:bodyPr rtlCol="0" anchor="ctr"/>
            <a:lstStyle/>
            <a:p>
              <a:endParaRPr lang="zh-CN" altLang="en-US"/>
            </a:p>
          </p:txBody>
        </p:sp>
        <p:sp>
          <p:nvSpPr>
            <p:cNvPr id="15" name="任意多边形: 形状 14">
              <a:extLst>
                <a:ext uri="{FF2B5EF4-FFF2-40B4-BE49-F238E27FC236}">
                  <a16:creationId xmlns:a16="http://schemas.microsoft.com/office/drawing/2014/main" id="{B3D03DD6-5DB3-44B9-BC3B-28E382CBAC14}"/>
                </a:ext>
              </a:extLst>
            </p:cNvPr>
            <p:cNvSpPr/>
            <p:nvPr/>
          </p:nvSpPr>
          <p:spPr>
            <a:xfrm>
              <a:off x="0" y="5083361"/>
              <a:ext cx="12192000" cy="567955"/>
            </a:xfrm>
            <a:custGeom>
              <a:avLst/>
              <a:gdLst>
                <a:gd name="connsiteX0" fmla="*/ 3881 w 12192000"/>
                <a:gd name="connsiteY0" fmla="*/ 567955 h 567955"/>
                <a:gd name="connsiteX1" fmla="*/ 0 w 12192000"/>
                <a:gd name="connsiteY1" fmla="*/ 557212 h 567955"/>
                <a:gd name="connsiteX2" fmla="*/ 6017460 w 12192000"/>
                <a:gd name="connsiteY2" fmla="*/ 37780 h 567955"/>
                <a:gd name="connsiteX3" fmla="*/ 6378882 w 12192000"/>
                <a:gd name="connsiteY3" fmla="*/ 75474 h 567955"/>
                <a:gd name="connsiteX4" fmla="*/ 12192000 w 12192000"/>
                <a:gd name="connsiteY4" fmla="*/ 263005 h 567955"/>
                <a:gd name="connsiteX5" fmla="*/ 12192000 w 12192000"/>
                <a:gd name="connsiteY5" fmla="*/ 273937 h 567955"/>
                <a:gd name="connsiteX6" fmla="*/ 6376827 w 12192000"/>
                <a:gd name="connsiteY6" fmla="*/ 85463 h 567955"/>
                <a:gd name="connsiteX7" fmla="*/ 6015634 w 12192000"/>
                <a:gd name="connsiteY7" fmla="*/ 47769 h 567955"/>
                <a:gd name="connsiteX8" fmla="*/ 3881 w 12192000"/>
                <a:gd name="connsiteY8" fmla="*/ 567955 h 567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2000" h="567955">
                  <a:moveTo>
                    <a:pt x="3881" y="567955"/>
                  </a:moveTo>
                  <a:lnTo>
                    <a:pt x="0" y="557212"/>
                  </a:lnTo>
                  <a:cubicBezTo>
                    <a:pt x="41097" y="549862"/>
                    <a:pt x="4025415" y="-170483"/>
                    <a:pt x="6017460" y="37780"/>
                  </a:cubicBezTo>
                  <a:lnTo>
                    <a:pt x="6378882" y="75474"/>
                  </a:lnTo>
                  <a:cubicBezTo>
                    <a:pt x="8130740" y="260744"/>
                    <a:pt x="9942416" y="451479"/>
                    <a:pt x="12192000" y="263005"/>
                  </a:cubicBezTo>
                  <a:lnTo>
                    <a:pt x="12192000" y="273937"/>
                  </a:lnTo>
                  <a:cubicBezTo>
                    <a:pt x="9941960" y="462410"/>
                    <a:pt x="8129599" y="271487"/>
                    <a:pt x="6376827" y="85463"/>
                  </a:cubicBezTo>
                  <a:cubicBezTo>
                    <a:pt x="6255820" y="72899"/>
                    <a:pt x="6135422" y="60334"/>
                    <a:pt x="6015634" y="47769"/>
                  </a:cubicBezTo>
                  <a:cubicBezTo>
                    <a:pt x="4025643" y="-159175"/>
                    <a:pt x="43836" y="560605"/>
                    <a:pt x="3881" y="567955"/>
                  </a:cubicBezTo>
                  <a:close/>
                </a:path>
              </a:pathLst>
            </a:custGeom>
            <a:solidFill>
              <a:schemeClr val="bg1">
                <a:alpha val="30000"/>
              </a:schemeClr>
            </a:solidFill>
            <a:ln w="12700" cap="flat">
              <a:noFill/>
              <a:prstDash val="solid"/>
              <a:miter/>
            </a:ln>
          </p:spPr>
          <p:txBody>
            <a:bodyPr rtlCol="0" anchor="ctr"/>
            <a:lstStyle/>
            <a:p>
              <a:endParaRPr lang="zh-CN" altLang="en-US"/>
            </a:p>
          </p:txBody>
        </p:sp>
        <p:sp>
          <p:nvSpPr>
            <p:cNvPr id="16" name="任意多边形: 形状 15">
              <a:extLst>
                <a:ext uri="{FF2B5EF4-FFF2-40B4-BE49-F238E27FC236}">
                  <a16:creationId xmlns:a16="http://schemas.microsoft.com/office/drawing/2014/main" id="{07139253-F312-42D8-8520-E503CA600A71}"/>
                </a:ext>
              </a:extLst>
            </p:cNvPr>
            <p:cNvSpPr/>
            <p:nvPr/>
          </p:nvSpPr>
          <p:spPr>
            <a:xfrm>
              <a:off x="1141" y="4963565"/>
              <a:ext cx="12191544" cy="864162"/>
            </a:xfrm>
            <a:custGeom>
              <a:avLst/>
              <a:gdLst>
                <a:gd name="connsiteX0" fmla="*/ 2511 w 12191544"/>
                <a:gd name="connsiteY0" fmla="*/ 864162 h 864162"/>
                <a:gd name="connsiteX1" fmla="*/ 0 w 12191544"/>
                <a:gd name="connsiteY1" fmla="*/ 854927 h 864162"/>
                <a:gd name="connsiteX2" fmla="*/ 402062 w 12191544"/>
                <a:gd name="connsiteY2" fmla="*/ 767664 h 864162"/>
                <a:gd name="connsiteX3" fmla="*/ 6137097 w 12191544"/>
                <a:gd name="connsiteY3" fmla="*/ 35068 h 864162"/>
                <a:gd name="connsiteX4" fmla="*/ 7610411 w 12191544"/>
                <a:gd name="connsiteY4" fmla="*/ 271979 h 864162"/>
                <a:gd name="connsiteX5" fmla="*/ 12189489 w 12191544"/>
                <a:gd name="connsiteY5" fmla="*/ 495885 h 864162"/>
                <a:gd name="connsiteX6" fmla="*/ 12191544 w 12191544"/>
                <a:gd name="connsiteY6" fmla="*/ 505121 h 864162"/>
                <a:gd name="connsiteX7" fmla="*/ 7608128 w 12191544"/>
                <a:gd name="connsiteY7" fmla="*/ 280649 h 864162"/>
                <a:gd name="connsiteX8" fmla="*/ 6135270 w 12191544"/>
                <a:gd name="connsiteY8" fmla="*/ 43738 h 864162"/>
                <a:gd name="connsiteX9" fmla="*/ 404574 w 12191544"/>
                <a:gd name="connsiteY9" fmla="*/ 776145 h 864162"/>
                <a:gd name="connsiteX10" fmla="*/ 2511 w 12191544"/>
                <a:gd name="connsiteY10" fmla="*/ 864162 h 8641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1544" h="864162">
                  <a:moveTo>
                    <a:pt x="2511" y="864162"/>
                  </a:moveTo>
                  <a:lnTo>
                    <a:pt x="0" y="854927"/>
                  </a:lnTo>
                  <a:cubicBezTo>
                    <a:pt x="68494" y="842677"/>
                    <a:pt x="207766" y="811201"/>
                    <a:pt x="402062" y="767664"/>
                  </a:cubicBezTo>
                  <a:cubicBezTo>
                    <a:pt x="1534959" y="514733"/>
                    <a:pt x="4544146" y="-160567"/>
                    <a:pt x="6137097" y="35068"/>
                  </a:cubicBezTo>
                  <a:cubicBezTo>
                    <a:pt x="6632768" y="95945"/>
                    <a:pt x="7107662" y="181323"/>
                    <a:pt x="7610411" y="271979"/>
                  </a:cubicBezTo>
                  <a:cubicBezTo>
                    <a:pt x="8971622" y="517183"/>
                    <a:pt x="10378726" y="770680"/>
                    <a:pt x="12189489" y="495885"/>
                  </a:cubicBezTo>
                  <a:lnTo>
                    <a:pt x="12191544" y="505121"/>
                  </a:lnTo>
                  <a:cubicBezTo>
                    <a:pt x="10378497" y="779726"/>
                    <a:pt x="8970024" y="525853"/>
                    <a:pt x="7608128" y="280649"/>
                  </a:cubicBezTo>
                  <a:cubicBezTo>
                    <a:pt x="7105836" y="189993"/>
                    <a:pt x="6630713" y="104615"/>
                    <a:pt x="6135270" y="43738"/>
                  </a:cubicBezTo>
                  <a:cubicBezTo>
                    <a:pt x="4545059" y="-151332"/>
                    <a:pt x="1537242" y="522460"/>
                    <a:pt x="404574" y="776145"/>
                  </a:cubicBezTo>
                  <a:cubicBezTo>
                    <a:pt x="210506" y="820437"/>
                    <a:pt x="70093" y="851912"/>
                    <a:pt x="2511" y="864162"/>
                  </a:cubicBezTo>
                  <a:close/>
                </a:path>
              </a:pathLst>
            </a:custGeom>
            <a:solidFill>
              <a:schemeClr val="bg1">
                <a:alpha val="25000"/>
              </a:schemeClr>
            </a:solidFill>
            <a:ln w="12700" cap="flat">
              <a:noFill/>
              <a:prstDash val="solid"/>
              <a:miter/>
            </a:ln>
          </p:spPr>
          <p:txBody>
            <a:bodyPr rtlCol="0" anchor="ctr"/>
            <a:lstStyle/>
            <a:p>
              <a:endParaRPr lang="zh-CN" altLang="en-US"/>
            </a:p>
          </p:txBody>
        </p:sp>
        <p:sp>
          <p:nvSpPr>
            <p:cNvPr id="17" name="任意多边形: 形状 16">
              <a:extLst>
                <a:ext uri="{FF2B5EF4-FFF2-40B4-BE49-F238E27FC236}">
                  <a16:creationId xmlns:a16="http://schemas.microsoft.com/office/drawing/2014/main" id="{D296D3F6-0AAB-401E-A713-E3C79DADEB66}"/>
                </a:ext>
              </a:extLst>
            </p:cNvPr>
            <p:cNvSpPr/>
            <p:nvPr/>
          </p:nvSpPr>
          <p:spPr>
            <a:xfrm>
              <a:off x="1369" y="4841197"/>
              <a:ext cx="12191542" cy="1162938"/>
            </a:xfrm>
            <a:custGeom>
              <a:avLst/>
              <a:gdLst>
                <a:gd name="connsiteX0" fmla="*/ 2055 w 12191542"/>
                <a:gd name="connsiteY0" fmla="*/ 1162939 h 1162938"/>
                <a:gd name="connsiteX1" fmla="*/ 0 w 12191542"/>
                <a:gd name="connsiteY1" fmla="*/ 1155400 h 1162938"/>
                <a:gd name="connsiteX2" fmla="*/ 436538 w 12191542"/>
                <a:gd name="connsiteY2" fmla="*/ 1034588 h 1162938"/>
                <a:gd name="connsiteX3" fmla="*/ 6258560 w 12191542"/>
                <a:gd name="connsiteY3" fmla="*/ 35679 h 1162938"/>
                <a:gd name="connsiteX4" fmla="*/ 7966810 w 12191542"/>
                <a:gd name="connsiteY4" fmla="*/ 424500 h 1162938"/>
                <a:gd name="connsiteX5" fmla="*/ 12189032 w 12191542"/>
                <a:gd name="connsiteY5" fmla="*/ 731335 h 1162938"/>
                <a:gd name="connsiteX6" fmla="*/ 12191543 w 12191542"/>
                <a:gd name="connsiteY6" fmla="*/ 739062 h 1162938"/>
                <a:gd name="connsiteX7" fmla="*/ 10707498 w 12191542"/>
                <a:gd name="connsiteY7" fmla="*/ 901526 h 1162938"/>
                <a:gd name="connsiteX8" fmla="*/ 7964299 w 12191542"/>
                <a:gd name="connsiteY8" fmla="*/ 430343 h 1162938"/>
                <a:gd name="connsiteX9" fmla="*/ 6255820 w 12191542"/>
                <a:gd name="connsiteY9" fmla="*/ 41145 h 1162938"/>
                <a:gd name="connsiteX10" fmla="*/ 439734 w 12191542"/>
                <a:gd name="connsiteY10" fmla="*/ 1042127 h 1162938"/>
                <a:gd name="connsiteX11" fmla="*/ 2055 w 12191542"/>
                <a:gd name="connsiteY11" fmla="*/ 1162939 h 1162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1542" h="1162938">
                  <a:moveTo>
                    <a:pt x="2055" y="1162939"/>
                  </a:moveTo>
                  <a:lnTo>
                    <a:pt x="0" y="1155400"/>
                  </a:lnTo>
                  <a:cubicBezTo>
                    <a:pt x="50914" y="1145976"/>
                    <a:pt x="205483" y="1101685"/>
                    <a:pt x="436538" y="1034588"/>
                  </a:cubicBezTo>
                  <a:cubicBezTo>
                    <a:pt x="1594321" y="700237"/>
                    <a:pt x="4669947" y="-188039"/>
                    <a:pt x="6258560" y="35679"/>
                  </a:cubicBezTo>
                  <a:cubicBezTo>
                    <a:pt x="6852178" y="118231"/>
                    <a:pt x="7418855" y="273910"/>
                    <a:pt x="7966810" y="424500"/>
                  </a:cubicBezTo>
                  <a:cubicBezTo>
                    <a:pt x="9188749" y="759794"/>
                    <a:pt x="10452015" y="1106774"/>
                    <a:pt x="12189032" y="731335"/>
                  </a:cubicBezTo>
                  <a:lnTo>
                    <a:pt x="12191543" y="739062"/>
                  </a:lnTo>
                  <a:cubicBezTo>
                    <a:pt x="11707371" y="845623"/>
                    <a:pt x="11208580" y="900227"/>
                    <a:pt x="10707498" y="901526"/>
                  </a:cubicBezTo>
                  <a:cubicBezTo>
                    <a:pt x="9677115" y="901526"/>
                    <a:pt x="8810889" y="663673"/>
                    <a:pt x="7964299" y="430343"/>
                  </a:cubicBezTo>
                  <a:cubicBezTo>
                    <a:pt x="7416344" y="279564"/>
                    <a:pt x="6849667" y="124450"/>
                    <a:pt x="6255820" y="41145"/>
                  </a:cubicBezTo>
                  <a:cubicBezTo>
                    <a:pt x="4670632" y="-179934"/>
                    <a:pt x="1596832" y="707776"/>
                    <a:pt x="439734" y="1042127"/>
                  </a:cubicBezTo>
                  <a:cubicBezTo>
                    <a:pt x="207081" y="1109224"/>
                    <a:pt x="53426" y="1153704"/>
                    <a:pt x="2055" y="1162939"/>
                  </a:cubicBezTo>
                  <a:close/>
                </a:path>
              </a:pathLst>
            </a:custGeom>
            <a:solidFill>
              <a:schemeClr val="bg1">
                <a:alpha val="20000"/>
              </a:schemeClr>
            </a:solidFill>
            <a:ln w="12700" cap="flat">
              <a:noFill/>
              <a:prstDash val="solid"/>
              <a:miter/>
            </a:ln>
          </p:spPr>
          <p:txBody>
            <a:bodyPr rtlCol="0" anchor="ctr"/>
            <a:lstStyle/>
            <a:p>
              <a:endParaRPr lang="zh-CN" altLang="en-US"/>
            </a:p>
          </p:txBody>
        </p:sp>
        <p:sp>
          <p:nvSpPr>
            <p:cNvPr id="20" name="任意多边形: 形状 19">
              <a:extLst>
                <a:ext uri="{FF2B5EF4-FFF2-40B4-BE49-F238E27FC236}">
                  <a16:creationId xmlns:a16="http://schemas.microsoft.com/office/drawing/2014/main" id="{05EC2DCE-E15B-41AB-B418-A623CEAEFC61}"/>
                </a:ext>
              </a:extLst>
            </p:cNvPr>
            <p:cNvSpPr/>
            <p:nvPr/>
          </p:nvSpPr>
          <p:spPr>
            <a:xfrm>
              <a:off x="1598" y="4716594"/>
              <a:ext cx="12191314" cy="1464142"/>
            </a:xfrm>
            <a:custGeom>
              <a:avLst/>
              <a:gdLst>
                <a:gd name="connsiteX0" fmla="*/ 1598 w 12191314"/>
                <a:gd name="connsiteY0" fmla="*/ 1464144 h 1464143"/>
                <a:gd name="connsiteX1" fmla="*/ 0 w 12191314"/>
                <a:gd name="connsiteY1" fmla="*/ 1457925 h 1464143"/>
                <a:gd name="connsiteX2" fmla="*/ 292014 w 12191314"/>
                <a:gd name="connsiteY2" fmla="*/ 1357091 h 1464143"/>
                <a:gd name="connsiteX3" fmla="*/ 3091837 w 12191314"/>
                <a:gd name="connsiteY3" fmla="*/ 461466 h 1464143"/>
                <a:gd name="connsiteX4" fmla="*/ 6377741 w 12191314"/>
                <a:gd name="connsiteY4" fmla="*/ 36835 h 1464143"/>
                <a:gd name="connsiteX5" fmla="*/ 8181426 w 12191314"/>
                <a:gd name="connsiteY5" fmla="*/ 577377 h 1464143"/>
                <a:gd name="connsiteX6" fmla="*/ 12188803 w 12191314"/>
                <a:gd name="connsiteY6" fmla="*/ 969967 h 1464143"/>
                <a:gd name="connsiteX7" fmla="*/ 12191315 w 12191314"/>
                <a:gd name="connsiteY7" fmla="*/ 975998 h 1464143"/>
                <a:gd name="connsiteX8" fmla="*/ 9968672 w 12191314"/>
                <a:gd name="connsiteY8" fmla="*/ 1121311 h 1464143"/>
                <a:gd name="connsiteX9" fmla="*/ 8179371 w 12191314"/>
                <a:gd name="connsiteY9" fmla="*/ 583219 h 1464143"/>
                <a:gd name="connsiteX10" fmla="*/ 6375686 w 12191314"/>
                <a:gd name="connsiteY10" fmla="*/ 43055 h 1464143"/>
                <a:gd name="connsiteX11" fmla="*/ 3094120 w 12191314"/>
                <a:gd name="connsiteY11" fmla="*/ 467308 h 1464143"/>
                <a:gd name="connsiteX12" fmla="*/ 295211 w 12191314"/>
                <a:gd name="connsiteY12" fmla="*/ 1362745 h 1464143"/>
                <a:gd name="connsiteX13" fmla="*/ 1598 w 12191314"/>
                <a:gd name="connsiteY13" fmla="*/ 1464144 h 1464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91314" h="1464143">
                  <a:moveTo>
                    <a:pt x="1598" y="1464144"/>
                  </a:moveTo>
                  <a:lnTo>
                    <a:pt x="0" y="1457925"/>
                  </a:lnTo>
                  <a:cubicBezTo>
                    <a:pt x="21233" y="1454155"/>
                    <a:pt x="128998" y="1415518"/>
                    <a:pt x="292014" y="1357091"/>
                  </a:cubicBezTo>
                  <a:cubicBezTo>
                    <a:pt x="817138" y="1168618"/>
                    <a:pt x="1906884" y="778478"/>
                    <a:pt x="3091837" y="461466"/>
                  </a:cubicBezTo>
                  <a:cubicBezTo>
                    <a:pt x="4561955" y="67933"/>
                    <a:pt x="5667454" y="-74930"/>
                    <a:pt x="6377741" y="36835"/>
                  </a:cubicBezTo>
                  <a:cubicBezTo>
                    <a:pt x="7028666" y="139176"/>
                    <a:pt x="7615434" y="361952"/>
                    <a:pt x="8181426" y="577377"/>
                  </a:cubicBezTo>
                  <a:cubicBezTo>
                    <a:pt x="9307016" y="1004457"/>
                    <a:pt x="10469595" y="1445862"/>
                    <a:pt x="12188803" y="969967"/>
                  </a:cubicBezTo>
                  <a:lnTo>
                    <a:pt x="12191315" y="975998"/>
                  </a:lnTo>
                  <a:cubicBezTo>
                    <a:pt x="11418699" y="1189727"/>
                    <a:pt x="10691744" y="1237411"/>
                    <a:pt x="9968672" y="1121311"/>
                  </a:cubicBezTo>
                  <a:cubicBezTo>
                    <a:pt x="9324140" y="1017839"/>
                    <a:pt x="8742851" y="796760"/>
                    <a:pt x="8179371" y="583219"/>
                  </a:cubicBezTo>
                  <a:cubicBezTo>
                    <a:pt x="7612694" y="367794"/>
                    <a:pt x="7026382" y="145207"/>
                    <a:pt x="6375686" y="43055"/>
                  </a:cubicBezTo>
                  <a:cubicBezTo>
                    <a:pt x="5667225" y="-67579"/>
                    <a:pt x="4563096" y="74341"/>
                    <a:pt x="3094120" y="467308"/>
                  </a:cubicBezTo>
                  <a:cubicBezTo>
                    <a:pt x="1909395" y="784321"/>
                    <a:pt x="820334" y="1175026"/>
                    <a:pt x="295211" y="1362745"/>
                  </a:cubicBezTo>
                  <a:cubicBezTo>
                    <a:pt x="125801" y="1423434"/>
                    <a:pt x="23516" y="1459998"/>
                    <a:pt x="1598" y="1464144"/>
                  </a:cubicBezTo>
                  <a:close/>
                </a:path>
              </a:pathLst>
            </a:custGeom>
            <a:solidFill>
              <a:schemeClr val="bg1">
                <a:alpha val="15000"/>
              </a:schemeClr>
            </a:solidFill>
            <a:ln w="12700" cap="flat">
              <a:noFill/>
              <a:prstDash val="solid"/>
              <a:miter/>
            </a:ln>
          </p:spPr>
          <p:txBody>
            <a:bodyPr rtlCol="0" anchor="ctr"/>
            <a:lstStyle/>
            <a:p>
              <a:endParaRPr lang="zh-CN" altLang="en-US"/>
            </a:p>
          </p:txBody>
        </p:sp>
        <p:sp>
          <p:nvSpPr>
            <p:cNvPr id="21" name="任意多边形: 形状 20">
              <a:extLst>
                <a:ext uri="{FF2B5EF4-FFF2-40B4-BE49-F238E27FC236}">
                  <a16:creationId xmlns:a16="http://schemas.microsoft.com/office/drawing/2014/main" id="{35879B88-2807-4730-83F1-880CCEEB6696}"/>
                </a:ext>
              </a:extLst>
            </p:cNvPr>
            <p:cNvSpPr/>
            <p:nvPr/>
          </p:nvSpPr>
          <p:spPr>
            <a:xfrm>
              <a:off x="0" y="4623508"/>
              <a:ext cx="12195652" cy="1129204"/>
            </a:xfrm>
            <a:custGeom>
              <a:avLst/>
              <a:gdLst>
                <a:gd name="connsiteX0" fmla="*/ 5413568 w 12195652"/>
                <a:gd name="connsiteY0" fmla="*/ 1129205 h 1129205"/>
                <a:gd name="connsiteX1" fmla="*/ 2840919 w 12195652"/>
                <a:gd name="connsiteY1" fmla="*/ 609396 h 1129205"/>
                <a:gd name="connsiteX2" fmla="*/ 5023 w 12195652"/>
                <a:gd name="connsiteY2" fmla="*/ 145374 h 1129205"/>
                <a:gd name="connsiteX3" fmla="*/ 0 w 12195652"/>
                <a:gd name="connsiteY3" fmla="*/ 126904 h 1129205"/>
                <a:gd name="connsiteX4" fmla="*/ 2848225 w 12195652"/>
                <a:gd name="connsiteY4" fmla="*/ 590925 h 1129205"/>
                <a:gd name="connsiteX5" fmla="*/ 5413568 w 12195652"/>
                <a:gd name="connsiteY5" fmla="*/ 1109604 h 1129205"/>
                <a:gd name="connsiteX6" fmla="*/ 7740322 w 12195652"/>
                <a:gd name="connsiteY6" fmla="*/ 629939 h 1129205"/>
                <a:gd name="connsiteX7" fmla="*/ 12195652 w 12195652"/>
                <a:gd name="connsiteY7" fmla="*/ 157436 h 1129205"/>
                <a:gd name="connsiteX8" fmla="*/ 12187662 w 12195652"/>
                <a:gd name="connsiteY8" fmla="*/ 175153 h 1129205"/>
                <a:gd name="connsiteX9" fmla="*/ 7747628 w 12195652"/>
                <a:gd name="connsiteY9" fmla="*/ 648221 h 1129205"/>
                <a:gd name="connsiteX10" fmla="*/ 5413568 w 12195652"/>
                <a:gd name="connsiteY10" fmla="*/ 1129205 h 11292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5652" h="1129205">
                  <a:moveTo>
                    <a:pt x="5413568" y="1129205"/>
                  </a:moveTo>
                  <a:cubicBezTo>
                    <a:pt x="4657618" y="1129205"/>
                    <a:pt x="3734086" y="865343"/>
                    <a:pt x="2840919" y="609396"/>
                  </a:cubicBezTo>
                  <a:cubicBezTo>
                    <a:pt x="1763502" y="301242"/>
                    <a:pt x="746132" y="10239"/>
                    <a:pt x="5023" y="145374"/>
                  </a:cubicBezTo>
                  <a:lnTo>
                    <a:pt x="0" y="126904"/>
                  </a:lnTo>
                  <a:cubicBezTo>
                    <a:pt x="747502" y="-9363"/>
                    <a:pt x="1768068" y="282583"/>
                    <a:pt x="2848225" y="590925"/>
                  </a:cubicBezTo>
                  <a:cubicBezTo>
                    <a:pt x="3738652" y="845930"/>
                    <a:pt x="4661271" y="1109604"/>
                    <a:pt x="5413568" y="1109604"/>
                  </a:cubicBezTo>
                  <a:cubicBezTo>
                    <a:pt x="6031159" y="1109604"/>
                    <a:pt x="6861311" y="876651"/>
                    <a:pt x="7740322" y="629939"/>
                  </a:cubicBezTo>
                  <a:cubicBezTo>
                    <a:pt x="9212723" y="217371"/>
                    <a:pt x="10881702" y="-250985"/>
                    <a:pt x="12195652" y="157436"/>
                  </a:cubicBezTo>
                  <a:lnTo>
                    <a:pt x="12187662" y="175153"/>
                  </a:lnTo>
                  <a:cubicBezTo>
                    <a:pt x="10881474" y="-231384"/>
                    <a:pt x="9216604" y="235841"/>
                    <a:pt x="7747628" y="648221"/>
                  </a:cubicBezTo>
                  <a:cubicBezTo>
                    <a:pt x="6866791" y="895687"/>
                    <a:pt x="6034812" y="1129205"/>
                    <a:pt x="5413568" y="1129205"/>
                  </a:cubicBezTo>
                  <a:close/>
                </a:path>
              </a:pathLst>
            </a:custGeom>
            <a:solidFill>
              <a:schemeClr val="bg1"/>
            </a:solidFill>
            <a:ln w="6350" cap="flat">
              <a:noFill/>
              <a:prstDash val="solid"/>
              <a:miter/>
            </a:ln>
          </p:spPr>
          <p:txBody>
            <a:bodyPr rtlCol="0" anchor="ctr"/>
            <a:lstStyle/>
            <a:p>
              <a:endParaRPr lang="zh-CN" altLang="en-US"/>
            </a:p>
          </p:txBody>
        </p:sp>
      </p:grpSp>
      <p:grpSp>
        <p:nvGrpSpPr>
          <p:cNvPr id="22" name="组合 21">
            <a:extLst>
              <a:ext uri="{FF2B5EF4-FFF2-40B4-BE49-F238E27FC236}">
                <a16:creationId xmlns:a16="http://schemas.microsoft.com/office/drawing/2014/main" id="{8FD11774-39BE-4176-9539-EF0019B7D008}"/>
              </a:ext>
            </a:extLst>
          </p:cNvPr>
          <p:cNvGrpSpPr/>
          <p:nvPr/>
        </p:nvGrpSpPr>
        <p:grpSpPr>
          <a:xfrm>
            <a:off x="2898869" y="2284324"/>
            <a:ext cx="6413437" cy="1736685"/>
            <a:chOff x="2029968" y="2290144"/>
            <a:chExt cx="8156448" cy="2208674"/>
          </a:xfrm>
        </p:grpSpPr>
        <p:sp>
          <p:nvSpPr>
            <p:cNvPr id="23" name="文本框 22">
              <a:extLst>
                <a:ext uri="{FF2B5EF4-FFF2-40B4-BE49-F238E27FC236}">
                  <a16:creationId xmlns:a16="http://schemas.microsoft.com/office/drawing/2014/main" id="{7A2975FD-71C5-40ED-8C26-63063D144E84}"/>
                </a:ext>
              </a:extLst>
            </p:cNvPr>
            <p:cNvSpPr txBox="1"/>
            <p:nvPr/>
          </p:nvSpPr>
          <p:spPr>
            <a:xfrm>
              <a:off x="2132847" y="2828068"/>
              <a:ext cx="7926305" cy="1056842"/>
            </a:xfrm>
            <a:prstGeom prst="rect">
              <a:avLst/>
            </a:prstGeom>
            <a:noFill/>
          </p:spPr>
          <p:txBody>
            <a:bodyPr wrap="none" lIns="0" tIns="0" rIns="0" bIns="0" rtlCol="0" anchor="t">
              <a:spAutoFit/>
            </a:bodyPr>
            <a:lstStyle/>
            <a:p>
              <a:pPr algn="ctr"/>
              <a:r>
                <a:rPr lang="zh-CN" altLang="en-US" sz="5400" dirty="0">
                  <a:solidFill>
                    <a:schemeClr val="bg1"/>
                  </a:solidFill>
                  <a:latin typeface="+mj-ea"/>
                  <a:ea typeface="+mj-ea"/>
                </a:rPr>
                <a:t>输入你的封面大标题</a:t>
              </a:r>
            </a:p>
          </p:txBody>
        </p:sp>
        <p:sp>
          <p:nvSpPr>
            <p:cNvPr id="24" name="文本框 23">
              <a:extLst>
                <a:ext uri="{FF2B5EF4-FFF2-40B4-BE49-F238E27FC236}">
                  <a16:creationId xmlns:a16="http://schemas.microsoft.com/office/drawing/2014/main" id="{25ACF021-B729-4827-94D4-F376FF161592}"/>
                </a:ext>
              </a:extLst>
            </p:cNvPr>
            <p:cNvSpPr txBox="1"/>
            <p:nvPr/>
          </p:nvSpPr>
          <p:spPr>
            <a:xfrm>
              <a:off x="4187814" y="2290144"/>
              <a:ext cx="3816369" cy="352281"/>
            </a:xfrm>
            <a:prstGeom prst="rect">
              <a:avLst/>
            </a:prstGeom>
            <a:noFill/>
          </p:spPr>
          <p:txBody>
            <a:bodyPr wrap="none" lIns="0" tIns="0" rIns="0" bIns="0" rtlCol="0" anchor="t">
              <a:spAutoFit/>
            </a:bodyPr>
            <a:lstStyle/>
            <a:p>
              <a:pPr algn="ctr"/>
              <a:r>
                <a:rPr lang="zh-CN" altLang="en-US" dirty="0">
                  <a:solidFill>
                    <a:schemeClr val="bg1"/>
                  </a:solidFill>
                  <a:latin typeface="+mn-ea"/>
                </a:rPr>
                <a:t>输入你的副标题或大标题英文</a:t>
              </a:r>
            </a:p>
          </p:txBody>
        </p:sp>
        <p:cxnSp>
          <p:nvCxnSpPr>
            <p:cNvPr id="25" name="直接连接符 24">
              <a:extLst>
                <a:ext uri="{FF2B5EF4-FFF2-40B4-BE49-F238E27FC236}">
                  <a16:creationId xmlns:a16="http://schemas.microsoft.com/office/drawing/2014/main" id="{CC250468-9380-42F8-BB42-94548229115B}"/>
                </a:ext>
              </a:extLst>
            </p:cNvPr>
            <p:cNvCxnSpPr/>
            <p:nvPr/>
          </p:nvCxnSpPr>
          <p:spPr>
            <a:xfrm flipH="1">
              <a:off x="2029968" y="2480596"/>
              <a:ext cx="1901952"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6" name="直接连接符 25">
              <a:extLst>
                <a:ext uri="{FF2B5EF4-FFF2-40B4-BE49-F238E27FC236}">
                  <a16:creationId xmlns:a16="http://schemas.microsoft.com/office/drawing/2014/main" id="{A29CBE00-06A3-470F-BFC8-EC1A5A6A79B8}"/>
                </a:ext>
              </a:extLst>
            </p:cNvPr>
            <p:cNvCxnSpPr/>
            <p:nvPr/>
          </p:nvCxnSpPr>
          <p:spPr>
            <a:xfrm flipH="1">
              <a:off x="8284464" y="2480596"/>
              <a:ext cx="1901952"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grpSp>
          <p:nvGrpSpPr>
            <p:cNvPr id="27" name="组合 26">
              <a:extLst>
                <a:ext uri="{FF2B5EF4-FFF2-40B4-BE49-F238E27FC236}">
                  <a16:creationId xmlns:a16="http://schemas.microsoft.com/office/drawing/2014/main" id="{23D68A23-E794-4AB9-9C57-B85131EBC923}"/>
                </a:ext>
              </a:extLst>
            </p:cNvPr>
            <p:cNvGrpSpPr/>
            <p:nvPr/>
          </p:nvGrpSpPr>
          <p:grpSpPr>
            <a:xfrm>
              <a:off x="4331702" y="4283535"/>
              <a:ext cx="1330327" cy="215283"/>
              <a:chOff x="4095451" y="4640913"/>
              <a:chExt cx="1330327" cy="215283"/>
            </a:xfrm>
          </p:grpSpPr>
          <p:sp>
            <p:nvSpPr>
              <p:cNvPr id="32" name="矩形 31">
                <a:extLst>
                  <a:ext uri="{FF2B5EF4-FFF2-40B4-BE49-F238E27FC236}">
                    <a16:creationId xmlns:a16="http://schemas.microsoft.com/office/drawing/2014/main" id="{5A213CB0-83AE-4422-A296-31EE3353B2F9}"/>
                  </a:ext>
                </a:extLst>
              </p:cNvPr>
              <p:cNvSpPr/>
              <p:nvPr/>
            </p:nvSpPr>
            <p:spPr>
              <a:xfrm>
                <a:off x="4095451" y="4672584"/>
                <a:ext cx="164592" cy="1645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4400" dirty="0">
                  <a:solidFill>
                    <a:schemeClr val="bg1"/>
                  </a:solidFill>
                </a:endParaRPr>
              </a:p>
            </p:txBody>
          </p:sp>
          <p:sp>
            <p:nvSpPr>
              <p:cNvPr id="33" name="文本框 32">
                <a:extLst>
                  <a:ext uri="{FF2B5EF4-FFF2-40B4-BE49-F238E27FC236}">
                    <a16:creationId xmlns:a16="http://schemas.microsoft.com/office/drawing/2014/main" id="{0544F760-6F14-423D-91F3-B53B7883CFEF}"/>
                  </a:ext>
                </a:extLst>
              </p:cNvPr>
              <p:cNvSpPr txBox="1"/>
              <p:nvPr/>
            </p:nvSpPr>
            <p:spPr>
              <a:xfrm>
                <a:off x="4408487" y="4640913"/>
                <a:ext cx="1017291" cy="215283"/>
              </a:xfrm>
              <a:prstGeom prst="rect">
                <a:avLst/>
              </a:prstGeom>
              <a:noFill/>
            </p:spPr>
            <p:txBody>
              <a:bodyPr wrap="none" lIns="0" tIns="0" rIns="0" bIns="0" rtlCol="0" anchor="t">
                <a:spAutoFit/>
              </a:bodyPr>
              <a:lstStyle/>
              <a:p>
                <a:r>
                  <a:rPr lang="zh-CN" altLang="en-US" sz="1100" dirty="0">
                    <a:solidFill>
                      <a:schemeClr val="bg1"/>
                    </a:solidFill>
                    <a:latin typeface="+mn-ea"/>
                  </a:rPr>
                  <a:t>汇报人：</a:t>
                </a:r>
                <a:r>
                  <a:rPr lang="en-US" altLang="zh-CN" sz="1100" dirty="0">
                    <a:solidFill>
                      <a:schemeClr val="bg1"/>
                    </a:solidFill>
                    <a:latin typeface="+mn-ea"/>
                  </a:rPr>
                  <a:t>xxx</a:t>
                </a:r>
                <a:endParaRPr lang="zh-CN" altLang="en-US" sz="1100" dirty="0">
                  <a:solidFill>
                    <a:schemeClr val="bg1"/>
                  </a:solidFill>
                  <a:latin typeface="+mn-ea"/>
                </a:endParaRPr>
              </a:p>
            </p:txBody>
          </p:sp>
        </p:grpSp>
        <p:grpSp>
          <p:nvGrpSpPr>
            <p:cNvPr id="28" name="组合 27">
              <a:extLst>
                <a:ext uri="{FF2B5EF4-FFF2-40B4-BE49-F238E27FC236}">
                  <a16:creationId xmlns:a16="http://schemas.microsoft.com/office/drawing/2014/main" id="{7FA4F789-06B3-46FF-B33C-E26D0C0E5356}"/>
                </a:ext>
              </a:extLst>
            </p:cNvPr>
            <p:cNvGrpSpPr/>
            <p:nvPr/>
          </p:nvGrpSpPr>
          <p:grpSpPr>
            <a:xfrm>
              <a:off x="6590270" y="4283535"/>
              <a:ext cx="1150926" cy="215283"/>
              <a:chOff x="4095451" y="4640913"/>
              <a:chExt cx="1150926" cy="215283"/>
            </a:xfrm>
          </p:grpSpPr>
          <p:sp>
            <p:nvSpPr>
              <p:cNvPr id="30" name="矩形 29">
                <a:extLst>
                  <a:ext uri="{FF2B5EF4-FFF2-40B4-BE49-F238E27FC236}">
                    <a16:creationId xmlns:a16="http://schemas.microsoft.com/office/drawing/2014/main" id="{3B4F8FE6-ED5D-49B9-9636-25E3609E4FE6}"/>
                  </a:ext>
                </a:extLst>
              </p:cNvPr>
              <p:cNvSpPr/>
              <p:nvPr/>
            </p:nvSpPr>
            <p:spPr>
              <a:xfrm>
                <a:off x="4095451" y="4672584"/>
                <a:ext cx="164592" cy="1645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4400" dirty="0">
                  <a:solidFill>
                    <a:schemeClr val="bg1"/>
                  </a:solidFill>
                </a:endParaRPr>
              </a:p>
            </p:txBody>
          </p:sp>
          <p:sp>
            <p:nvSpPr>
              <p:cNvPr id="31" name="文本框 30">
                <a:extLst>
                  <a:ext uri="{FF2B5EF4-FFF2-40B4-BE49-F238E27FC236}">
                    <a16:creationId xmlns:a16="http://schemas.microsoft.com/office/drawing/2014/main" id="{065089D3-DAA6-4C59-BFA3-564EFD9B2ACA}"/>
                  </a:ext>
                </a:extLst>
              </p:cNvPr>
              <p:cNvSpPr txBox="1"/>
              <p:nvPr/>
            </p:nvSpPr>
            <p:spPr>
              <a:xfrm>
                <a:off x="4408487" y="4640913"/>
                <a:ext cx="837890" cy="215283"/>
              </a:xfrm>
              <a:prstGeom prst="rect">
                <a:avLst/>
              </a:prstGeom>
              <a:noFill/>
            </p:spPr>
            <p:txBody>
              <a:bodyPr wrap="none" lIns="0" tIns="0" rIns="0" bIns="0" rtlCol="0" anchor="t">
                <a:spAutoFit/>
              </a:bodyPr>
              <a:lstStyle/>
              <a:p>
                <a:r>
                  <a:rPr lang="zh-CN" altLang="en-US" sz="1100" dirty="0">
                    <a:solidFill>
                      <a:schemeClr val="bg1"/>
                    </a:solidFill>
                    <a:latin typeface="+mn-ea"/>
                  </a:rPr>
                  <a:t>单位：</a:t>
                </a:r>
                <a:r>
                  <a:rPr lang="en-US" altLang="zh-CN" sz="1100" dirty="0">
                    <a:solidFill>
                      <a:schemeClr val="bg1"/>
                    </a:solidFill>
                    <a:latin typeface="+mn-ea"/>
                  </a:rPr>
                  <a:t>xxx</a:t>
                </a:r>
                <a:endParaRPr lang="zh-CN" altLang="en-US" sz="1100" dirty="0">
                  <a:solidFill>
                    <a:schemeClr val="bg1"/>
                  </a:solidFill>
                  <a:latin typeface="+mn-ea"/>
                </a:endParaRPr>
              </a:p>
            </p:txBody>
          </p:sp>
        </p:grpSp>
        <p:cxnSp>
          <p:nvCxnSpPr>
            <p:cNvPr id="29" name="直接连接符 28">
              <a:extLst>
                <a:ext uri="{FF2B5EF4-FFF2-40B4-BE49-F238E27FC236}">
                  <a16:creationId xmlns:a16="http://schemas.microsoft.com/office/drawing/2014/main" id="{9F984C29-7B45-4240-BB49-40ECB06B37AE}"/>
                </a:ext>
              </a:extLst>
            </p:cNvPr>
            <p:cNvCxnSpPr>
              <a:cxnSpLocks/>
            </p:cNvCxnSpPr>
            <p:nvPr/>
          </p:nvCxnSpPr>
          <p:spPr>
            <a:xfrm flipH="1">
              <a:off x="2029968" y="4004596"/>
              <a:ext cx="8156448"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4" name="平行四边形 3">
            <a:extLst>
              <a:ext uri="{FF2B5EF4-FFF2-40B4-BE49-F238E27FC236}">
                <a16:creationId xmlns:a16="http://schemas.microsoft.com/office/drawing/2014/main" id="{4D2AE56A-5BD8-4419-A3FF-1768606C548B}"/>
              </a:ext>
            </a:extLst>
          </p:cNvPr>
          <p:cNvSpPr/>
          <p:nvPr/>
        </p:nvSpPr>
        <p:spPr>
          <a:xfrm>
            <a:off x="9029629" y="0"/>
            <a:ext cx="3048071" cy="6858000"/>
          </a:xfrm>
          <a:prstGeom prst="parallelogram">
            <a:avLst>
              <a:gd name="adj" fmla="val 49140"/>
            </a:avLst>
          </a:prstGeom>
          <a:gradFill>
            <a:gsLst>
              <a:gs pos="0">
                <a:schemeClr val="bg1">
                  <a:alpha val="20000"/>
                </a:schemeClr>
              </a:gs>
              <a:gs pos="57000">
                <a:schemeClr val="bg1">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35" name="任意多边形: 形状 34">
            <a:extLst>
              <a:ext uri="{FF2B5EF4-FFF2-40B4-BE49-F238E27FC236}">
                <a16:creationId xmlns:a16="http://schemas.microsoft.com/office/drawing/2014/main" id="{EBBB76E8-B804-4D3C-BC2A-99030D5CF5AA}"/>
              </a:ext>
            </a:extLst>
          </p:cNvPr>
          <p:cNvSpPr/>
          <p:nvPr/>
        </p:nvSpPr>
        <p:spPr>
          <a:xfrm>
            <a:off x="0" y="0"/>
            <a:ext cx="2984578" cy="6858000"/>
          </a:xfrm>
          <a:custGeom>
            <a:avLst/>
            <a:gdLst>
              <a:gd name="connsiteX0" fmla="*/ 794902 w 2984578"/>
              <a:gd name="connsiteY0" fmla="*/ 0 h 6858000"/>
              <a:gd name="connsiteX1" fmla="*/ 2984578 w 2984578"/>
              <a:gd name="connsiteY1" fmla="*/ 0 h 6858000"/>
              <a:gd name="connsiteX2" fmla="*/ 1486756 w 2984578"/>
              <a:gd name="connsiteY2" fmla="*/ 6858000 h 6858000"/>
              <a:gd name="connsiteX3" fmla="*/ 0 w 2984578"/>
              <a:gd name="connsiteY3" fmla="*/ 6858000 h 6858000"/>
              <a:gd name="connsiteX4" fmla="*/ 0 w 2984578"/>
              <a:gd name="connsiteY4" fmla="*/ 3639575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84578" h="6858000">
                <a:moveTo>
                  <a:pt x="794902" y="0"/>
                </a:moveTo>
                <a:lnTo>
                  <a:pt x="2984578" y="0"/>
                </a:lnTo>
                <a:lnTo>
                  <a:pt x="1486756" y="6858000"/>
                </a:lnTo>
                <a:lnTo>
                  <a:pt x="0" y="6858000"/>
                </a:lnTo>
                <a:lnTo>
                  <a:pt x="0" y="3639575"/>
                </a:lnTo>
                <a:close/>
              </a:path>
            </a:pathLst>
          </a:custGeom>
          <a:gradFill>
            <a:gsLst>
              <a:gs pos="0">
                <a:schemeClr val="bg1">
                  <a:alpha val="20000"/>
                </a:schemeClr>
              </a:gs>
              <a:gs pos="57000">
                <a:schemeClr val="bg1">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l"/>
            <a:endParaRPr lang="zh-CN" altLang="en-US" sz="1600">
              <a:solidFill>
                <a:schemeClr val="bg1"/>
              </a:solidFill>
              <a:latin typeface="+mj-ea"/>
              <a:ea typeface="+mj-ea"/>
            </a:endParaRPr>
          </a:p>
        </p:txBody>
      </p:sp>
      <p:sp>
        <p:nvSpPr>
          <p:cNvPr id="36" name="平行四边形 35">
            <a:extLst>
              <a:ext uri="{FF2B5EF4-FFF2-40B4-BE49-F238E27FC236}">
                <a16:creationId xmlns:a16="http://schemas.microsoft.com/office/drawing/2014/main" id="{A13A6531-86DE-4C2E-A864-0D1FDA37D7F1}"/>
              </a:ext>
            </a:extLst>
          </p:cNvPr>
          <p:cNvSpPr/>
          <p:nvPr/>
        </p:nvSpPr>
        <p:spPr>
          <a:xfrm>
            <a:off x="9333291" y="0"/>
            <a:ext cx="1572610" cy="3538291"/>
          </a:xfrm>
          <a:prstGeom prst="parallelogram">
            <a:avLst>
              <a:gd name="adj" fmla="val 49140"/>
            </a:avLst>
          </a:prstGeom>
          <a:gradFill>
            <a:gsLst>
              <a:gs pos="0">
                <a:schemeClr val="bg1">
                  <a:alpha val="5000"/>
                </a:schemeClr>
              </a:gs>
              <a:gs pos="57000">
                <a:schemeClr val="bg1">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Tree>
    <p:extLst>
      <p:ext uri="{BB962C8B-B14F-4D97-AF65-F5344CB8AC3E}">
        <p14:creationId xmlns:p14="http://schemas.microsoft.com/office/powerpoint/2010/main" val="1188814191"/>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5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任意多边形: 形状 31">
            <a:extLst>
              <a:ext uri="{FF2B5EF4-FFF2-40B4-BE49-F238E27FC236}">
                <a16:creationId xmlns:a16="http://schemas.microsoft.com/office/drawing/2014/main" id="{06F4D85D-3805-B354-6D05-D1274EB75C40}"/>
              </a:ext>
            </a:extLst>
          </p:cNvPr>
          <p:cNvSpPr>
            <a:spLocks/>
          </p:cNvSpPr>
          <p:nvPr/>
        </p:nvSpPr>
        <p:spPr bwMode="auto">
          <a:xfrm>
            <a:off x="5168901" y="1041400"/>
            <a:ext cx="736601" cy="1358900"/>
          </a:xfrm>
          <a:custGeom>
            <a:avLst/>
            <a:gdLst>
              <a:gd name="connsiteX0" fmla="*/ 0 w 733775"/>
              <a:gd name="connsiteY0" fmla="*/ 1360820 h 1360820"/>
              <a:gd name="connsiteX1" fmla="*/ 369111 w 733775"/>
              <a:gd name="connsiteY1" fmla="*/ 93390 h 1360820"/>
              <a:gd name="connsiteX2" fmla="*/ 733775 w 733775"/>
              <a:gd name="connsiteY2" fmla="*/ 0 h 1360820"/>
              <a:gd name="connsiteX0" fmla="*/ 365011 w 365011"/>
              <a:gd name="connsiteY0" fmla="*/ 0 h 93614"/>
              <a:gd name="connsiteX1" fmla="*/ 0 w 365011"/>
              <a:gd name="connsiteY1" fmla="*/ 93614 h 93614"/>
              <a:gd name="connsiteX2" fmla="*/ 364664 w 365011"/>
              <a:gd name="connsiteY2" fmla="*/ 224 h 93614"/>
              <a:gd name="connsiteX0" fmla="*/ 368301 w 368301"/>
              <a:gd name="connsiteY0" fmla="*/ 0 h 1270000"/>
              <a:gd name="connsiteX1" fmla="*/ 0 w 368301"/>
              <a:gd name="connsiteY1" fmla="*/ 1270000 h 1270000"/>
              <a:gd name="connsiteX2" fmla="*/ 367954 w 368301"/>
              <a:gd name="connsiteY2" fmla="*/ 224 h 1270000"/>
              <a:gd name="connsiteX0" fmla="*/ 736601 w 736601"/>
              <a:gd name="connsiteY0" fmla="*/ 0 h 1358900"/>
              <a:gd name="connsiteX1" fmla="*/ 368300 w 736601"/>
              <a:gd name="connsiteY1" fmla="*/ 1270000 h 1358900"/>
              <a:gd name="connsiteX2" fmla="*/ 0 w 736601"/>
              <a:gd name="connsiteY2" fmla="*/ 1358900 h 1358900"/>
            </a:gdLst>
            <a:ahLst/>
            <a:cxnLst>
              <a:cxn ang="0">
                <a:pos x="connsiteX0" y="connsiteY0"/>
              </a:cxn>
              <a:cxn ang="0">
                <a:pos x="connsiteX1" y="connsiteY1"/>
              </a:cxn>
              <a:cxn ang="0">
                <a:pos x="connsiteX2" y="connsiteY2"/>
              </a:cxn>
            </a:cxnLst>
            <a:rect l="l" t="t" r="r" b="b"/>
            <a:pathLst>
              <a:path w="736601" h="1358900">
                <a:moveTo>
                  <a:pt x="736601" y="0"/>
                </a:moveTo>
                <a:lnTo>
                  <a:pt x="368300" y="1270000"/>
                </a:lnTo>
                <a:lnTo>
                  <a:pt x="0" y="1358900"/>
                </a:lnTo>
                <a:close/>
              </a:path>
            </a:pathLst>
          </a:custGeom>
          <a:gradFill flip="none" rotWithShape="1">
            <a:gsLst>
              <a:gs pos="100000">
                <a:schemeClr val="accent1">
                  <a:lumMod val="50000"/>
                  <a:lumOff val="50000"/>
                </a:schemeClr>
              </a:gs>
              <a:gs pos="0">
                <a:schemeClr val="accent1">
                  <a:lumMod val="25000"/>
                  <a:lumOff val="75000"/>
                </a:schemeClr>
              </a:gs>
            </a:gsLst>
            <a:lin ang="2700000" scaled="1"/>
            <a:tileRect/>
          </a:gradFill>
          <a:ln w="6350">
            <a:gradFill>
              <a:gsLst>
                <a:gs pos="0">
                  <a:schemeClr val="accent1">
                    <a:lumMod val="0"/>
                    <a:lumOff val="100000"/>
                    <a:alpha val="70000"/>
                  </a:schemeClr>
                </a:gs>
                <a:gs pos="100000">
                  <a:schemeClr val="accent1">
                    <a:lumMod val="0"/>
                    <a:lumOff val="100000"/>
                    <a:alpha val="70000"/>
                  </a:schemeClr>
                </a:gs>
              </a:gsLst>
              <a:lin ang="5400000" scaled="1"/>
            </a:gradFill>
          </a:ln>
          <a:effectLst>
            <a:outerShdw blurRad="190500" dist="101600" dir="2700000" algn="tl" rotWithShape="0">
              <a:schemeClr val="accent1">
                <a:alpha val="12000"/>
              </a:schemeClr>
            </a:outerShdw>
          </a:effectLst>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485899" tIns="63500" rIns="1485901" bIns="63500" numCol="1" spcCol="1270" anchor="ctr" anchorCtr="0">
            <a:noAutofit/>
          </a:bodyPr>
          <a:lstStyle/>
          <a:p>
            <a:pPr algn="ctr" defTabSz="2222500">
              <a:lnSpc>
                <a:spcPct val="90000"/>
              </a:lnSpc>
              <a:spcBef>
                <a:spcPct val="0"/>
              </a:spcBef>
              <a:spcAft>
                <a:spcPct val="35000"/>
              </a:spcAft>
            </a:pPr>
            <a:endParaRPr lang="en-US" sz="3200">
              <a:solidFill>
                <a:prstClr val="white"/>
              </a:solidFill>
              <a:latin typeface="等线" panose="020F0502020204030204"/>
              <a:ea typeface="等线" panose="02010600030101010101" pitchFamily="2" charset="-122"/>
            </a:endParaRPr>
          </a:p>
        </p:txBody>
      </p:sp>
      <p:sp>
        <p:nvSpPr>
          <p:cNvPr id="30" name="任意多边形: 形状 29">
            <a:extLst>
              <a:ext uri="{FF2B5EF4-FFF2-40B4-BE49-F238E27FC236}">
                <a16:creationId xmlns:a16="http://schemas.microsoft.com/office/drawing/2014/main" id="{5980C33F-4633-4050-4E04-AC790E983572}"/>
              </a:ext>
            </a:extLst>
          </p:cNvPr>
          <p:cNvSpPr>
            <a:spLocks/>
          </p:cNvSpPr>
          <p:nvPr/>
        </p:nvSpPr>
        <p:spPr bwMode="auto">
          <a:xfrm>
            <a:off x="5537200" y="1041400"/>
            <a:ext cx="1257300" cy="1589753"/>
          </a:xfrm>
          <a:custGeom>
            <a:avLst/>
            <a:gdLst>
              <a:gd name="connsiteX0" fmla="*/ 885238 w 1254088"/>
              <a:gd name="connsiteY0" fmla="*/ 1591272 h 1591272"/>
              <a:gd name="connsiteX1" fmla="*/ 0 w 1254088"/>
              <a:gd name="connsiteY1" fmla="*/ 27546 h 1591272"/>
              <a:gd name="connsiteX2" fmla="*/ 1250400 w 1254088"/>
              <a:gd name="connsiteY2" fmla="*/ 325574 h 1591272"/>
              <a:gd name="connsiteX3" fmla="*/ 1254088 w 1254088"/>
              <a:gd name="connsiteY3" fmla="*/ 325574 h 1591272"/>
              <a:gd name="connsiteX4" fmla="*/ 885238 w 1254088"/>
              <a:gd name="connsiteY4" fmla="*/ 1591272 h 1591272"/>
              <a:gd name="connsiteX0" fmla="*/ 369458 w 1254088"/>
              <a:gd name="connsiteY0" fmla="*/ 0 h 1591492"/>
              <a:gd name="connsiteX1" fmla="*/ 0 w 1254088"/>
              <a:gd name="connsiteY1" fmla="*/ 27766 h 1591492"/>
              <a:gd name="connsiteX2" fmla="*/ 1250400 w 1254088"/>
              <a:gd name="connsiteY2" fmla="*/ 325794 h 1591492"/>
              <a:gd name="connsiteX3" fmla="*/ 1254088 w 1254088"/>
              <a:gd name="connsiteY3" fmla="*/ 325794 h 1591492"/>
              <a:gd name="connsiteX4" fmla="*/ 885238 w 1254088"/>
              <a:gd name="connsiteY4" fmla="*/ 1591492 h 1591492"/>
              <a:gd name="connsiteX0" fmla="*/ 369458 w 1254088"/>
              <a:gd name="connsiteY0" fmla="*/ 0 h 1591492"/>
              <a:gd name="connsiteX1" fmla="*/ 0 w 1254088"/>
              <a:gd name="connsiteY1" fmla="*/ 27766 h 1591492"/>
              <a:gd name="connsiteX2" fmla="*/ 1250400 w 1254088"/>
              <a:gd name="connsiteY2" fmla="*/ 325794 h 1591492"/>
              <a:gd name="connsiteX3" fmla="*/ 1254088 w 1254088"/>
              <a:gd name="connsiteY3" fmla="*/ 325794 h 1591492"/>
              <a:gd name="connsiteX4" fmla="*/ 885238 w 1254088"/>
              <a:gd name="connsiteY4" fmla="*/ 1591492 h 1591492"/>
              <a:gd name="connsiteX0" fmla="*/ 369458 w 1254088"/>
              <a:gd name="connsiteY0" fmla="*/ 0 h 1591492"/>
              <a:gd name="connsiteX1" fmla="*/ 0 w 1254088"/>
              <a:gd name="connsiteY1" fmla="*/ 27766 h 1591492"/>
              <a:gd name="connsiteX2" fmla="*/ 1250400 w 1254088"/>
              <a:gd name="connsiteY2" fmla="*/ 325794 h 1591492"/>
              <a:gd name="connsiteX3" fmla="*/ 1254088 w 1254088"/>
              <a:gd name="connsiteY3" fmla="*/ 325794 h 1591492"/>
              <a:gd name="connsiteX4" fmla="*/ 885238 w 1254088"/>
              <a:gd name="connsiteY4" fmla="*/ 1591492 h 1591492"/>
              <a:gd name="connsiteX0" fmla="*/ 0 w 889000"/>
              <a:gd name="connsiteY0" fmla="*/ 0 h 1591492"/>
              <a:gd name="connsiteX1" fmla="*/ 889000 w 889000"/>
              <a:gd name="connsiteY1" fmla="*/ 1562100 h 1591492"/>
              <a:gd name="connsiteX2" fmla="*/ 880942 w 889000"/>
              <a:gd name="connsiteY2" fmla="*/ 325794 h 1591492"/>
              <a:gd name="connsiteX3" fmla="*/ 884630 w 889000"/>
              <a:gd name="connsiteY3" fmla="*/ 325794 h 1591492"/>
              <a:gd name="connsiteX4" fmla="*/ 515780 w 889000"/>
              <a:gd name="connsiteY4" fmla="*/ 1591492 h 1591492"/>
              <a:gd name="connsiteX0" fmla="*/ 0 w 889000"/>
              <a:gd name="connsiteY0" fmla="*/ 0 h 1591492"/>
              <a:gd name="connsiteX1" fmla="*/ 889000 w 889000"/>
              <a:gd name="connsiteY1" fmla="*/ 1562100 h 1591492"/>
              <a:gd name="connsiteX2" fmla="*/ 880942 w 889000"/>
              <a:gd name="connsiteY2" fmla="*/ 325794 h 1591492"/>
              <a:gd name="connsiteX3" fmla="*/ 884630 w 889000"/>
              <a:gd name="connsiteY3" fmla="*/ 325794 h 1591492"/>
              <a:gd name="connsiteX4" fmla="*/ 515780 w 889000"/>
              <a:gd name="connsiteY4" fmla="*/ 1591492 h 1591492"/>
              <a:gd name="connsiteX0" fmla="*/ 0 w 889000"/>
              <a:gd name="connsiteY0" fmla="*/ 0 h 1591492"/>
              <a:gd name="connsiteX1" fmla="*/ 889000 w 889000"/>
              <a:gd name="connsiteY1" fmla="*/ 1562100 h 1591492"/>
              <a:gd name="connsiteX2" fmla="*/ 880942 w 889000"/>
              <a:gd name="connsiteY2" fmla="*/ 325794 h 1591492"/>
              <a:gd name="connsiteX3" fmla="*/ 884630 w 889000"/>
              <a:gd name="connsiteY3" fmla="*/ 325794 h 1591492"/>
              <a:gd name="connsiteX4" fmla="*/ 515780 w 889000"/>
              <a:gd name="connsiteY4" fmla="*/ 1591492 h 1591492"/>
              <a:gd name="connsiteX0" fmla="*/ 368300 w 1257300"/>
              <a:gd name="connsiteY0" fmla="*/ 0 h 1591492"/>
              <a:gd name="connsiteX1" fmla="*/ 1257300 w 1257300"/>
              <a:gd name="connsiteY1" fmla="*/ 1562100 h 1591492"/>
              <a:gd name="connsiteX2" fmla="*/ 0 w 1257300"/>
              <a:gd name="connsiteY2" fmla="*/ 1270000 h 1591492"/>
              <a:gd name="connsiteX3" fmla="*/ 1252930 w 1257300"/>
              <a:gd name="connsiteY3" fmla="*/ 325794 h 1591492"/>
              <a:gd name="connsiteX4" fmla="*/ 884080 w 1257300"/>
              <a:gd name="connsiteY4" fmla="*/ 1591492 h 1591492"/>
              <a:gd name="connsiteX0" fmla="*/ 368300 w 1257300"/>
              <a:gd name="connsiteY0" fmla="*/ 0 h 1591492"/>
              <a:gd name="connsiteX1" fmla="*/ 1257300 w 1257300"/>
              <a:gd name="connsiteY1" fmla="*/ 1562100 h 1591492"/>
              <a:gd name="connsiteX2" fmla="*/ 0 w 1257300"/>
              <a:gd name="connsiteY2" fmla="*/ 1270000 h 1591492"/>
              <a:gd name="connsiteX3" fmla="*/ 0 w 1257300"/>
              <a:gd name="connsiteY3" fmla="*/ 1270000 h 1591492"/>
              <a:gd name="connsiteX4" fmla="*/ 884080 w 1257300"/>
              <a:gd name="connsiteY4" fmla="*/ 1591492 h 1591492"/>
              <a:gd name="connsiteX0" fmla="*/ 368300 w 1257300"/>
              <a:gd name="connsiteY0" fmla="*/ 0 h 1591492"/>
              <a:gd name="connsiteX1" fmla="*/ 1257300 w 1257300"/>
              <a:gd name="connsiteY1" fmla="*/ 1562100 h 1591492"/>
              <a:gd name="connsiteX2" fmla="*/ 0 w 1257300"/>
              <a:gd name="connsiteY2" fmla="*/ 1270000 h 1591492"/>
              <a:gd name="connsiteX3" fmla="*/ 0 w 1257300"/>
              <a:gd name="connsiteY3" fmla="*/ 1270000 h 1591492"/>
              <a:gd name="connsiteX4" fmla="*/ 884080 w 1257300"/>
              <a:gd name="connsiteY4" fmla="*/ 1591492 h 1591492"/>
              <a:gd name="connsiteX0" fmla="*/ 368300 w 1257300"/>
              <a:gd name="connsiteY0" fmla="*/ 0 h 1591492"/>
              <a:gd name="connsiteX1" fmla="*/ 1257300 w 1257300"/>
              <a:gd name="connsiteY1" fmla="*/ 1562100 h 1591492"/>
              <a:gd name="connsiteX2" fmla="*/ 0 w 1257300"/>
              <a:gd name="connsiteY2" fmla="*/ 1270000 h 1591492"/>
              <a:gd name="connsiteX3" fmla="*/ 0 w 1257300"/>
              <a:gd name="connsiteY3" fmla="*/ 1270000 h 1591492"/>
              <a:gd name="connsiteX4" fmla="*/ 884080 w 1257300"/>
              <a:gd name="connsiteY4" fmla="*/ 1591492 h 1591492"/>
              <a:gd name="connsiteX0" fmla="*/ 368300 w 1257300"/>
              <a:gd name="connsiteY0" fmla="*/ 0 h 1589753"/>
              <a:gd name="connsiteX1" fmla="*/ 1257300 w 1257300"/>
              <a:gd name="connsiteY1" fmla="*/ 1562100 h 1589753"/>
              <a:gd name="connsiteX2" fmla="*/ 0 w 1257300"/>
              <a:gd name="connsiteY2" fmla="*/ 1270000 h 1589753"/>
              <a:gd name="connsiteX3" fmla="*/ 0 w 1257300"/>
              <a:gd name="connsiteY3" fmla="*/ 1270000 h 1589753"/>
              <a:gd name="connsiteX4" fmla="*/ 368300 w 1257300"/>
              <a:gd name="connsiteY4" fmla="*/ 0 h 15897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57300" h="1589753">
                <a:moveTo>
                  <a:pt x="368300" y="0"/>
                </a:moveTo>
                <a:cubicBezTo>
                  <a:pt x="368300" y="0"/>
                  <a:pt x="368300" y="0"/>
                  <a:pt x="1257300" y="1562100"/>
                </a:cubicBezTo>
                <a:cubicBezTo>
                  <a:pt x="850900" y="1638300"/>
                  <a:pt x="431800" y="1562100"/>
                  <a:pt x="0" y="1270000"/>
                </a:cubicBezTo>
                <a:lnTo>
                  <a:pt x="0" y="1270000"/>
                </a:lnTo>
                <a:cubicBezTo>
                  <a:pt x="0" y="1270000"/>
                  <a:pt x="0" y="1270000"/>
                  <a:pt x="368300" y="0"/>
                </a:cubicBezTo>
                <a:close/>
              </a:path>
            </a:pathLst>
          </a:custGeom>
          <a:gradFill flip="none" rotWithShape="1">
            <a:gsLst>
              <a:gs pos="0">
                <a:schemeClr val="accent1">
                  <a:lumMod val="15000"/>
                  <a:lumOff val="85000"/>
                </a:schemeClr>
              </a:gs>
              <a:gs pos="100000">
                <a:schemeClr val="accent1">
                  <a:lumMod val="80000"/>
                  <a:lumOff val="20000"/>
                </a:schemeClr>
              </a:gs>
            </a:gsLst>
            <a:path path="circle">
              <a:fillToRect r="100000" b="100000"/>
            </a:path>
            <a:tileRect l="-100000" t="-100000"/>
          </a:gradFill>
          <a:ln w="6350">
            <a:gradFill>
              <a:gsLst>
                <a:gs pos="0">
                  <a:schemeClr val="accent1">
                    <a:lumMod val="0"/>
                    <a:lumOff val="100000"/>
                    <a:alpha val="70000"/>
                  </a:schemeClr>
                </a:gs>
                <a:gs pos="100000">
                  <a:schemeClr val="accent1">
                    <a:lumMod val="0"/>
                    <a:lumOff val="100000"/>
                    <a:alpha val="7000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solidFill>
                <a:srgbClr val="FFFFFF"/>
              </a:solidFill>
              <a:latin typeface="Arial"/>
            </a:endParaRPr>
          </a:p>
        </p:txBody>
      </p:sp>
      <p:sp>
        <p:nvSpPr>
          <p:cNvPr id="55" name="任意多边形: 形状 54">
            <a:extLst>
              <a:ext uri="{FF2B5EF4-FFF2-40B4-BE49-F238E27FC236}">
                <a16:creationId xmlns:a16="http://schemas.microsoft.com/office/drawing/2014/main" id="{CFC76AA8-70A1-7577-208F-EE50DEB26814}"/>
              </a:ext>
            </a:extLst>
          </p:cNvPr>
          <p:cNvSpPr>
            <a:spLocks/>
          </p:cNvSpPr>
          <p:nvPr/>
        </p:nvSpPr>
        <p:spPr bwMode="auto">
          <a:xfrm>
            <a:off x="5181602" y="2311400"/>
            <a:ext cx="1574799" cy="406400"/>
          </a:xfrm>
          <a:custGeom>
            <a:avLst/>
            <a:gdLst>
              <a:gd name="connsiteX0" fmla="*/ 355599 w 1574799"/>
              <a:gd name="connsiteY0" fmla="*/ 0 h 406400"/>
              <a:gd name="connsiteX1" fmla="*/ 355599 w 1574799"/>
              <a:gd name="connsiteY1" fmla="*/ 0 h 406400"/>
              <a:gd name="connsiteX2" fmla="*/ 355600 w 1574799"/>
              <a:gd name="connsiteY2" fmla="*/ 0 h 406400"/>
              <a:gd name="connsiteX3" fmla="*/ 355600 w 1574799"/>
              <a:gd name="connsiteY3" fmla="*/ 1 h 406400"/>
              <a:gd name="connsiteX4" fmla="*/ 512166 w 1574799"/>
              <a:gd name="connsiteY4" fmla="*/ 95921 h 406400"/>
              <a:gd name="connsiteX5" fmla="*/ 1574799 w 1574799"/>
              <a:gd name="connsiteY5" fmla="*/ 304801 h 406400"/>
              <a:gd name="connsiteX6" fmla="*/ 927098 w 1574799"/>
              <a:gd name="connsiteY6" fmla="*/ 406400 h 406400"/>
              <a:gd name="connsiteX7" fmla="*/ 477042 w 1574799"/>
              <a:gd name="connsiteY7" fmla="*/ 211733 h 406400"/>
              <a:gd name="connsiteX8" fmla="*/ 317499 w 1574799"/>
              <a:gd name="connsiteY8" fmla="*/ 114301 h 406400"/>
              <a:gd name="connsiteX9" fmla="*/ 165100 w 1574799"/>
              <a:gd name="connsiteY9" fmla="*/ 165100 h 406400"/>
              <a:gd name="connsiteX10" fmla="*/ 0 w 1574799"/>
              <a:gd name="connsiteY10" fmla="*/ 88900 h 406400"/>
              <a:gd name="connsiteX11" fmla="*/ 238224 w 1574799"/>
              <a:gd name="connsiteY11" fmla="*/ 29344 h 406400"/>
              <a:gd name="connsiteX12" fmla="*/ 355599 w 1574799"/>
              <a:gd name="connsiteY12" fmla="*/ 0 h 406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74799" h="406400">
                <a:moveTo>
                  <a:pt x="355599" y="0"/>
                </a:moveTo>
                <a:lnTo>
                  <a:pt x="355599" y="0"/>
                </a:lnTo>
                <a:lnTo>
                  <a:pt x="355600" y="0"/>
                </a:lnTo>
                <a:lnTo>
                  <a:pt x="355600" y="1"/>
                </a:lnTo>
                <a:lnTo>
                  <a:pt x="512166" y="95921"/>
                </a:lnTo>
                <a:cubicBezTo>
                  <a:pt x="876101" y="299245"/>
                  <a:pt x="1230312" y="360364"/>
                  <a:pt x="1574799" y="304801"/>
                </a:cubicBezTo>
                <a:cubicBezTo>
                  <a:pt x="1435098" y="355601"/>
                  <a:pt x="1219198" y="406400"/>
                  <a:pt x="927098" y="406400"/>
                </a:cubicBezTo>
                <a:cubicBezTo>
                  <a:pt x="784223" y="368300"/>
                  <a:pt x="634204" y="301625"/>
                  <a:pt x="477042" y="211733"/>
                </a:cubicBezTo>
                <a:lnTo>
                  <a:pt x="317499" y="114301"/>
                </a:lnTo>
                <a:lnTo>
                  <a:pt x="165100" y="165100"/>
                </a:lnTo>
                <a:cubicBezTo>
                  <a:pt x="127000" y="152400"/>
                  <a:pt x="38100" y="114300"/>
                  <a:pt x="0" y="88900"/>
                </a:cubicBezTo>
                <a:cubicBezTo>
                  <a:pt x="0" y="88900"/>
                  <a:pt x="0" y="88900"/>
                  <a:pt x="238224" y="29344"/>
                </a:cubicBezTo>
                <a:lnTo>
                  <a:pt x="355599" y="0"/>
                </a:lnTo>
                <a:close/>
              </a:path>
            </a:pathLst>
          </a:custGeom>
          <a:gradFill flip="none" rotWithShape="1">
            <a:gsLst>
              <a:gs pos="0">
                <a:schemeClr val="accent1">
                  <a:lumMod val="75000"/>
                  <a:lumOff val="25000"/>
                </a:schemeClr>
              </a:gs>
              <a:gs pos="100000">
                <a:schemeClr val="accent1">
                  <a:lumMod val="80000"/>
                </a:schemeClr>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solidFill>
                <a:srgbClr val="FFFFFF"/>
              </a:solidFill>
              <a:latin typeface="Arial"/>
            </a:endParaRPr>
          </a:p>
        </p:txBody>
      </p:sp>
      <p:sp>
        <p:nvSpPr>
          <p:cNvPr id="52" name="任意多边形: 形状 51">
            <a:extLst>
              <a:ext uri="{FF2B5EF4-FFF2-40B4-BE49-F238E27FC236}">
                <a16:creationId xmlns:a16="http://schemas.microsoft.com/office/drawing/2014/main" id="{F0A33135-4063-AD7A-3994-D17269494ECA}"/>
              </a:ext>
            </a:extLst>
          </p:cNvPr>
          <p:cNvSpPr>
            <a:spLocks/>
          </p:cNvSpPr>
          <p:nvPr/>
        </p:nvSpPr>
        <p:spPr bwMode="auto">
          <a:xfrm>
            <a:off x="4737100" y="2413000"/>
            <a:ext cx="774701" cy="800101"/>
          </a:xfrm>
          <a:custGeom>
            <a:avLst/>
            <a:gdLst>
              <a:gd name="connsiteX0" fmla="*/ 0 w 775320"/>
              <a:gd name="connsiteY0" fmla="*/ 802056 h 802056"/>
              <a:gd name="connsiteX1" fmla="*/ 188292 w 775320"/>
              <a:gd name="connsiteY1" fmla="*/ 154880 h 802056"/>
              <a:gd name="connsiteX2" fmla="*/ 775320 w 775320"/>
              <a:gd name="connsiteY2" fmla="*/ 0 h 802056"/>
              <a:gd name="connsiteX3" fmla="*/ 409812 w 775320"/>
              <a:gd name="connsiteY3" fmla="*/ 680365 h 802056"/>
              <a:gd name="connsiteX4" fmla="*/ 0 w 775320"/>
              <a:gd name="connsiteY4" fmla="*/ 802056 h 802056"/>
              <a:gd name="connsiteX0" fmla="*/ 771067 w 775320"/>
              <a:gd name="connsiteY0" fmla="*/ 0 h 805611"/>
              <a:gd name="connsiteX1" fmla="*/ 188292 w 775320"/>
              <a:gd name="connsiteY1" fmla="*/ 158435 h 805611"/>
              <a:gd name="connsiteX2" fmla="*/ 775320 w 775320"/>
              <a:gd name="connsiteY2" fmla="*/ 3555 h 805611"/>
              <a:gd name="connsiteX3" fmla="*/ 409812 w 775320"/>
              <a:gd name="connsiteY3" fmla="*/ 683920 h 805611"/>
              <a:gd name="connsiteX4" fmla="*/ 0 w 775320"/>
              <a:gd name="connsiteY4" fmla="*/ 805611 h 805611"/>
              <a:gd name="connsiteX0" fmla="*/ 771067 w 775320"/>
              <a:gd name="connsiteY0" fmla="*/ 0 h 805611"/>
              <a:gd name="connsiteX1" fmla="*/ 188292 w 775320"/>
              <a:gd name="connsiteY1" fmla="*/ 158435 h 805611"/>
              <a:gd name="connsiteX2" fmla="*/ 775320 w 775320"/>
              <a:gd name="connsiteY2" fmla="*/ 3555 h 805611"/>
              <a:gd name="connsiteX3" fmla="*/ 409812 w 775320"/>
              <a:gd name="connsiteY3" fmla="*/ 683920 h 805611"/>
              <a:gd name="connsiteX4" fmla="*/ 0 w 775320"/>
              <a:gd name="connsiteY4" fmla="*/ 805611 h 805611"/>
              <a:gd name="connsiteX0" fmla="*/ 771067 w 775320"/>
              <a:gd name="connsiteY0" fmla="*/ 0 h 805611"/>
              <a:gd name="connsiteX1" fmla="*/ 188292 w 775320"/>
              <a:gd name="connsiteY1" fmla="*/ 158435 h 805611"/>
              <a:gd name="connsiteX2" fmla="*/ 775320 w 775320"/>
              <a:gd name="connsiteY2" fmla="*/ 3555 h 805611"/>
              <a:gd name="connsiteX3" fmla="*/ 409812 w 775320"/>
              <a:gd name="connsiteY3" fmla="*/ 683920 h 805611"/>
              <a:gd name="connsiteX4" fmla="*/ 0 w 775320"/>
              <a:gd name="connsiteY4" fmla="*/ 805611 h 805611"/>
              <a:gd name="connsiteX0" fmla="*/ 771067 w 775320"/>
              <a:gd name="connsiteY0" fmla="*/ 0 h 805611"/>
              <a:gd name="connsiteX1" fmla="*/ 593267 w 775320"/>
              <a:gd name="connsiteY1" fmla="*/ 647701 h 805611"/>
              <a:gd name="connsiteX2" fmla="*/ 775320 w 775320"/>
              <a:gd name="connsiteY2" fmla="*/ 3555 h 805611"/>
              <a:gd name="connsiteX3" fmla="*/ 409812 w 775320"/>
              <a:gd name="connsiteY3" fmla="*/ 683920 h 805611"/>
              <a:gd name="connsiteX4" fmla="*/ 0 w 775320"/>
              <a:gd name="connsiteY4" fmla="*/ 805611 h 805611"/>
              <a:gd name="connsiteX0" fmla="*/ 771067 w 775320"/>
              <a:gd name="connsiteY0" fmla="*/ 0 h 805611"/>
              <a:gd name="connsiteX1" fmla="*/ 593267 w 775320"/>
              <a:gd name="connsiteY1" fmla="*/ 647701 h 805611"/>
              <a:gd name="connsiteX2" fmla="*/ 775320 w 775320"/>
              <a:gd name="connsiteY2" fmla="*/ 3555 h 805611"/>
              <a:gd name="connsiteX3" fmla="*/ 409812 w 775320"/>
              <a:gd name="connsiteY3" fmla="*/ 683920 h 805611"/>
              <a:gd name="connsiteX4" fmla="*/ 0 w 775320"/>
              <a:gd name="connsiteY4" fmla="*/ 805611 h 805611"/>
              <a:gd name="connsiteX0" fmla="*/ 771067 w 775320"/>
              <a:gd name="connsiteY0" fmla="*/ 0 h 805611"/>
              <a:gd name="connsiteX1" fmla="*/ 593267 w 775320"/>
              <a:gd name="connsiteY1" fmla="*/ 647701 h 805611"/>
              <a:gd name="connsiteX2" fmla="*/ 775320 w 775320"/>
              <a:gd name="connsiteY2" fmla="*/ 3555 h 805611"/>
              <a:gd name="connsiteX3" fmla="*/ 409812 w 775320"/>
              <a:gd name="connsiteY3" fmla="*/ 683920 h 805611"/>
              <a:gd name="connsiteX4" fmla="*/ 0 w 775320"/>
              <a:gd name="connsiteY4" fmla="*/ 805611 h 805611"/>
              <a:gd name="connsiteX0" fmla="*/ 774700 w 774700"/>
              <a:gd name="connsiteY0" fmla="*/ 0 h 805611"/>
              <a:gd name="connsiteX1" fmla="*/ 596900 w 774700"/>
              <a:gd name="connsiteY1" fmla="*/ 647701 h 805611"/>
              <a:gd name="connsiteX2" fmla="*/ 0 w 774700"/>
              <a:gd name="connsiteY2" fmla="*/ 800101 h 805611"/>
              <a:gd name="connsiteX3" fmla="*/ 413445 w 774700"/>
              <a:gd name="connsiteY3" fmla="*/ 683920 h 805611"/>
              <a:gd name="connsiteX4" fmla="*/ 3633 w 774700"/>
              <a:gd name="connsiteY4" fmla="*/ 805611 h 805611"/>
              <a:gd name="connsiteX0" fmla="*/ 774700 w 774700"/>
              <a:gd name="connsiteY0" fmla="*/ 0 h 805611"/>
              <a:gd name="connsiteX1" fmla="*/ 596900 w 774700"/>
              <a:gd name="connsiteY1" fmla="*/ 647701 h 805611"/>
              <a:gd name="connsiteX2" fmla="*/ 0 w 774700"/>
              <a:gd name="connsiteY2" fmla="*/ 800101 h 805611"/>
              <a:gd name="connsiteX3" fmla="*/ 413445 w 774700"/>
              <a:gd name="connsiteY3" fmla="*/ 683920 h 805611"/>
              <a:gd name="connsiteX4" fmla="*/ 3633 w 774700"/>
              <a:gd name="connsiteY4" fmla="*/ 805611 h 805611"/>
              <a:gd name="connsiteX0" fmla="*/ 774700 w 774700"/>
              <a:gd name="connsiteY0" fmla="*/ 0 h 805611"/>
              <a:gd name="connsiteX1" fmla="*/ 596900 w 774700"/>
              <a:gd name="connsiteY1" fmla="*/ 647701 h 805611"/>
              <a:gd name="connsiteX2" fmla="*/ 0 w 774700"/>
              <a:gd name="connsiteY2" fmla="*/ 800101 h 805611"/>
              <a:gd name="connsiteX3" fmla="*/ 413445 w 774700"/>
              <a:gd name="connsiteY3" fmla="*/ 683920 h 805611"/>
              <a:gd name="connsiteX4" fmla="*/ 3633 w 774700"/>
              <a:gd name="connsiteY4" fmla="*/ 805611 h 805611"/>
              <a:gd name="connsiteX0" fmla="*/ 774700 w 774700"/>
              <a:gd name="connsiteY0" fmla="*/ 0 h 805611"/>
              <a:gd name="connsiteX1" fmla="*/ 596900 w 774700"/>
              <a:gd name="connsiteY1" fmla="*/ 647701 h 805611"/>
              <a:gd name="connsiteX2" fmla="*/ 0 w 774700"/>
              <a:gd name="connsiteY2" fmla="*/ 800101 h 805611"/>
              <a:gd name="connsiteX3" fmla="*/ 368301 w 774700"/>
              <a:gd name="connsiteY3" fmla="*/ 127001 h 805611"/>
              <a:gd name="connsiteX4" fmla="*/ 3633 w 774700"/>
              <a:gd name="connsiteY4" fmla="*/ 805611 h 805611"/>
              <a:gd name="connsiteX0" fmla="*/ 774700 w 774700"/>
              <a:gd name="connsiteY0" fmla="*/ 0 h 805611"/>
              <a:gd name="connsiteX1" fmla="*/ 596900 w 774700"/>
              <a:gd name="connsiteY1" fmla="*/ 647701 h 805611"/>
              <a:gd name="connsiteX2" fmla="*/ 0 w 774700"/>
              <a:gd name="connsiteY2" fmla="*/ 800101 h 805611"/>
              <a:gd name="connsiteX3" fmla="*/ 368301 w 774700"/>
              <a:gd name="connsiteY3" fmla="*/ 127001 h 805611"/>
              <a:gd name="connsiteX4" fmla="*/ 3633 w 774700"/>
              <a:gd name="connsiteY4" fmla="*/ 805611 h 805611"/>
              <a:gd name="connsiteX0" fmla="*/ 774700 w 774700"/>
              <a:gd name="connsiteY0" fmla="*/ 0 h 805611"/>
              <a:gd name="connsiteX1" fmla="*/ 596900 w 774700"/>
              <a:gd name="connsiteY1" fmla="*/ 647701 h 805611"/>
              <a:gd name="connsiteX2" fmla="*/ 0 w 774700"/>
              <a:gd name="connsiteY2" fmla="*/ 800101 h 805611"/>
              <a:gd name="connsiteX3" fmla="*/ 368301 w 774700"/>
              <a:gd name="connsiteY3" fmla="*/ 127001 h 805611"/>
              <a:gd name="connsiteX4" fmla="*/ 3633 w 774700"/>
              <a:gd name="connsiteY4" fmla="*/ 805611 h 805611"/>
              <a:gd name="connsiteX0" fmla="*/ 774700 w 774701"/>
              <a:gd name="connsiteY0" fmla="*/ 0 h 800101"/>
              <a:gd name="connsiteX1" fmla="*/ 596900 w 774701"/>
              <a:gd name="connsiteY1" fmla="*/ 647701 h 800101"/>
              <a:gd name="connsiteX2" fmla="*/ 0 w 774701"/>
              <a:gd name="connsiteY2" fmla="*/ 800101 h 800101"/>
              <a:gd name="connsiteX3" fmla="*/ 368301 w 774701"/>
              <a:gd name="connsiteY3" fmla="*/ 127001 h 800101"/>
              <a:gd name="connsiteX4" fmla="*/ 774701 w 774701"/>
              <a:gd name="connsiteY4" fmla="*/ 1 h 8001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4701" h="800101">
                <a:moveTo>
                  <a:pt x="774700" y="0"/>
                </a:moveTo>
                <a:cubicBezTo>
                  <a:pt x="774700" y="1"/>
                  <a:pt x="774700" y="1"/>
                  <a:pt x="596900" y="647701"/>
                </a:cubicBezTo>
                <a:cubicBezTo>
                  <a:pt x="596900" y="647701"/>
                  <a:pt x="596900" y="647701"/>
                  <a:pt x="0" y="800101"/>
                </a:cubicBezTo>
                <a:cubicBezTo>
                  <a:pt x="1" y="800101"/>
                  <a:pt x="1" y="800101"/>
                  <a:pt x="368301" y="127001"/>
                </a:cubicBezTo>
                <a:cubicBezTo>
                  <a:pt x="368301" y="127001"/>
                  <a:pt x="368301" y="127001"/>
                  <a:pt x="774701" y="1"/>
                </a:cubicBezTo>
                <a:close/>
              </a:path>
            </a:pathLst>
          </a:custGeom>
          <a:gradFill flip="none" rotWithShape="1">
            <a:gsLst>
              <a:gs pos="100000">
                <a:schemeClr val="accent1">
                  <a:lumMod val="65000"/>
                  <a:lumOff val="35000"/>
                </a:schemeClr>
              </a:gs>
              <a:gs pos="0">
                <a:schemeClr val="accent1">
                  <a:lumMod val="25000"/>
                  <a:lumOff val="75000"/>
                </a:schemeClr>
              </a:gs>
            </a:gsLst>
            <a:lin ang="2700000" scaled="1"/>
            <a:tileRect/>
          </a:gradFill>
          <a:ln w="6350">
            <a:gradFill>
              <a:gsLst>
                <a:gs pos="0">
                  <a:schemeClr val="accent1">
                    <a:lumMod val="0"/>
                    <a:lumOff val="100000"/>
                    <a:alpha val="70000"/>
                  </a:schemeClr>
                </a:gs>
                <a:gs pos="100000">
                  <a:schemeClr val="accent1">
                    <a:lumMod val="0"/>
                    <a:lumOff val="100000"/>
                    <a:alpha val="70000"/>
                  </a:schemeClr>
                </a:gs>
              </a:gsLst>
              <a:lin ang="5400000" scaled="1"/>
            </a:gradFill>
          </a:ln>
          <a:effectLst>
            <a:outerShdw blurRad="254000" dist="177800" dir="2700000" algn="tl" rotWithShape="0">
              <a:schemeClr val="accent1">
                <a:alpha val="20000"/>
              </a:schemeClr>
            </a:outerShdw>
          </a:effectLst>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485899" tIns="63500" rIns="1485901" bIns="63500" numCol="1" spcCol="1270" anchor="ctr" anchorCtr="0">
            <a:noAutofit/>
          </a:bodyPr>
          <a:lstStyle/>
          <a:p>
            <a:pPr algn="ctr" defTabSz="2222500">
              <a:lnSpc>
                <a:spcPct val="90000"/>
              </a:lnSpc>
              <a:spcBef>
                <a:spcPct val="0"/>
              </a:spcBef>
              <a:spcAft>
                <a:spcPct val="35000"/>
              </a:spcAft>
            </a:pPr>
            <a:endParaRPr lang="en-US" sz="3200">
              <a:solidFill>
                <a:prstClr val="white"/>
              </a:solidFill>
              <a:latin typeface="等线" panose="020F0502020204030204"/>
              <a:ea typeface="等线" panose="02010600030101010101" pitchFamily="2" charset="-122"/>
            </a:endParaRPr>
          </a:p>
        </p:txBody>
      </p:sp>
      <p:sp>
        <p:nvSpPr>
          <p:cNvPr id="54" name="任意多边形: 形状 53">
            <a:extLst>
              <a:ext uri="{FF2B5EF4-FFF2-40B4-BE49-F238E27FC236}">
                <a16:creationId xmlns:a16="http://schemas.microsoft.com/office/drawing/2014/main" id="{CBC8DF70-591E-7E8F-7313-212DF4179BE9}"/>
              </a:ext>
            </a:extLst>
          </p:cNvPr>
          <p:cNvSpPr>
            <a:spLocks/>
          </p:cNvSpPr>
          <p:nvPr/>
        </p:nvSpPr>
        <p:spPr bwMode="auto">
          <a:xfrm>
            <a:off x="5321300" y="2413000"/>
            <a:ext cx="1917700" cy="1050315"/>
          </a:xfrm>
          <a:custGeom>
            <a:avLst/>
            <a:gdLst>
              <a:gd name="connsiteX0" fmla="*/ 1725552 w 1913794"/>
              <a:gd name="connsiteY0" fmla="*/ 1049193 h 1049193"/>
              <a:gd name="connsiteX1" fmla="*/ 396785 w 1913794"/>
              <a:gd name="connsiteY1" fmla="*/ 798675 h 1049193"/>
              <a:gd name="connsiteX2" fmla="*/ 0 w 1913794"/>
              <a:gd name="connsiteY2" fmla="*/ 95013 h 1049193"/>
              <a:gd name="connsiteX3" fmla="*/ 1913794 w 1913794"/>
              <a:gd name="connsiteY3" fmla="*/ 402635 h 1049193"/>
              <a:gd name="connsiteX4" fmla="*/ 1725552 w 1913794"/>
              <a:gd name="connsiteY4" fmla="*/ 1049193 h 1049193"/>
              <a:gd name="connsiteX0" fmla="*/ 185122 w 1913794"/>
              <a:gd name="connsiteY0" fmla="*/ 0 h 1052748"/>
              <a:gd name="connsiteX1" fmla="*/ 396785 w 1913794"/>
              <a:gd name="connsiteY1" fmla="*/ 802230 h 1052748"/>
              <a:gd name="connsiteX2" fmla="*/ 0 w 1913794"/>
              <a:gd name="connsiteY2" fmla="*/ 98568 h 1052748"/>
              <a:gd name="connsiteX3" fmla="*/ 1913794 w 1913794"/>
              <a:gd name="connsiteY3" fmla="*/ 406190 h 1052748"/>
              <a:gd name="connsiteX4" fmla="*/ 1725552 w 1913794"/>
              <a:gd name="connsiteY4" fmla="*/ 1052748 h 1052748"/>
              <a:gd name="connsiteX0" fmla="*/ 185122 w 1913794"/>
              <a:gd name="connsiteY0" fmla="*/ 0 h 1052748"/>
              <a:gd name="connsiteX1" fmla="*/ 396785 w 1913794"/>
              <a:gd name="connsiteY1" fmla="*/ 802230 h 1052748"/>
              <a:gd name="connsiteX2" fmla="*/ 0 w 1913794"/>
              <a:gd name="connsiteY2" fmla="*/ 98568 h 1052748"/>
              <a:gd name="connsiteX3" fmla="*/ 1913794 w 1913794"/>
              <a:gd name="connsiteY3" fmla="*/ 406190 h 1052748"/>
              <a:gd name="connsiteX4" fmla="*/ 1725552 w 1913794"/>
              <a:gd name="connsiteY4" fmla="*/ 1052748 h 1052748"/>
              <a:gd name="connsiteX0" fmla="*/ 185122 w 1913794"/>
              <a:gd name="connsiteY0" fmla="*/ 0 h 1052748"/>
              <a:gd name="connsiteX1" fmla="*/ 396785 w 1913794"/>
              <a:gd name="connsiteY1" fmla="*/ 802230 h 1052748"/>
              <a:gd name="connsiteX2" fmla="*/ 0 w 1913794"/>
              <a:gd name="connsiteY2" fmla="*/ 98568 h 1052748"/>
              <a:gd name="connsiteX3" fmla="*/ 1913794 w 1913794"/>
              <a:gd name="connsiteY3" fmla="*/ 406190 h 1052748"/>
              <a:gd name="connsiteX4" fmla="*/ 1725552 w 1913794"/>
              <a:gd name="connsiteY4" fmla="*/ 1052748 h 1052748"/>
              <a:gd name="connsiteX0" fmla="*/ 185122 w 1913794"/>
              <a:gd name="connsiteY0" fmla="*/ 0 h 1052748"/>
              <a:gd name="connsiteX1" fmla="*/ 1518622 w 1913794"/>
              <a:gd name="connsiteY1" fmla="*/ 254000 h 1052748"/>
              <a:gd name="connsiteX2" fmla="*/ 0 w 1913794"/>
              <a:gd name="connsiteY2" fmla="*/ 98568 h 1052748"/>
              <a:gd name="connsiteX3" fmla="*/ 1913794 w 1913794"/>
              <a:gd name="connsiteY3" fmla="*/ 406190 h 1052748"/>
              <a:gd name="connsiteX4" fmla="*/ 1725552 w 1913794"/>
              <a:gd name="connsiteY4" fmla="*/ 1052748 h 1052748"/>
              <a:gd name="connsiteX0" fmla="*/ 185122 w 1913794"/>
              <a:gd name="connsiteY0" fmla="*/ 0 h 1052748"/>
              <a:gd name="connsiteX1" fmla="*/ 1518622 w 1913794"/>
              <a:gd name="connsiteY1" fmla="*/ 254000 h 1052748"/>
              <a:gd name="connsiteX2" fmla="*/ 0 w 1913794"/>
              <a:gd name="connsiteY2" fmla="*/ 98568 h 1052748"/>
              <a:gd name="connsiteX3" fmla="*/ 1913794 w 1913794"/>
              <a:gd name="connsiteY3" fmla="*/ 406190 h 1052748"/>
              <a:gd name="connsiteX4" fmla="*/ 1725552 w 1913794"/>
              <a:gd name="connsiteY4" fmla="*/ 1052748 h 1052748"/>
              <a:gd name="connsiteX0" fmla="*/ 185122 w 1913794"/>
              <a:gd name="connsiteY0" fmla="*/ 0 h 1052748"/>
              <a:gd name="connsiteX1" fmla="*/ 1518622 w 1913794"/>
              <a:gd name="connsiteY1" fmla="*/ 254000 h 1052748"/>
              <a:gd name="connsiteX2" fmla="*/ 0 w 1913794"/>
              <a:gd name="connsiteY2" fmla="*/ 98568 h 1052748"/>
              <a:gd name="connsiteX3" fmla="*/ 1913794 w 1913794"/>
              <a:gd name="connsiteY3" fmla="*/ 406190 h 1052748"/>
              <a:gd name="connsiteX4" fmla="*/ 1725552 w 1913794"/>
              <a:gd name="connsiteY4" fmla="*/ 1052748 h 1052748"/>
              <a:gd name="connsiteX0" fmla="*/ 0 w 1728672"/>
              <a:gd name="connsiteY0" fmla="*/ 0 h 1052748"/>
              <a:gd name="connsiteX1" fmla="*/ 1333500 w 1728672"/>
              <a:gd name="connsiteY1" fmla="*/ 254000 h 1052748"/>
              <a:gd name="connsiteX2" fmla="*/ 1727200 w 1728672"/>
              <a:gd name="connsiteY2" fmla="*/ 952500 h 1052748"/>
              <a:gd name="connsiteX3" fmla="*/ 1728672 w 1728672"/>
              <a:gd name="connsiteY3" fmla="*/ 406190 h 1052748"/>
              <a:gd name="connsiteX4" fmla="*/ 1540430 w 1728672"/>
              <a:gd name="connsiteY4" fmla="*/ 1052748 h 1052748"/>
              <a:gd name="connsiteX0" fmla="*/ 0 w 1728672"/>
              <a:gd name="connsiteY0" fmla="*/ 0 h 1052748"/>
              <a:gd name="connsiteX1" fmla="*/ 1333500 w 1728672"/>
              <a:gd name="connsiteY1" fmla="*/ 254000 h 1052748"/>
              <a:gd name="connsiteX2" fmla="*/ 1727200 w 1728672"/>
              <a:gd name="connsiteY2" fmla="*/ 952500 h 1052748"/>
              <a:gd name="connsiteX3" fmla="*/ 1728672 w 1728672"/>
              <a:gd name="connsiteY3" fmla="*/ 406190 h 1052748"/>
              <a:gd name="connsiteX4" fmla="*/ 1540430 w 1728672"/>
              <a:gd name="connsiteY4" fmla="*/ 1052748 h 1052748"/>
              <a:gd name="connsiteX0" fmla="*/ 0 w 1728672"/>
              <a:gd name="connsiteY0" fmla="*/ 0 h 1052748"/>
              <a:gd name="connsiteX1" fmla="*/ 1333500 w 1728672"/>
              <a:gd name="connsiteY1" fmla="*/ 254000 h 1052748"/>
              <a:gd name="connsiteX2" fmla="*/ 1727200 w 1728672"/>
              <a:gd name="connsiteY2" fmla="*/ 952500 h 1052748"/>
              <a:gd name="connsiteX3" fmla="*/ 1728672 w 1728672"/>
              <a:gd name="connsiteY3" fmla="*/ 406190 h 1052748"/>
              <a:gd name="connsiteX4" fmla="*/ 1540430 w 1728672"/>
              <a:gd name="connsiteY4" fmla="*/ 1052748 h 1052748"/>
              <a:gd name="connsiteX0" fmla="*/ 190500 w 1917700"/>
              <a:gd name="connsiteY0" fmla="*/ 0 h 1052748"/>
              <a:gd name="connsiteX1" fmla="*/ 1524000 w 1917700"/>
              <a:gd name="connsiteY1" fmla="*/ 254000 h 1052748"/>
              <a:gd name="connsiteX2" fmla="*/ 1917700 w 1917700"/>
              <a:gd name="connsiteY2" fmla="*/ 952500 h 1052748"/>
              <a:gd name="connsiteX3" fmla="*/ 0 w 1917700"/>
              <a:gd name="connsiteY3" fmla="*/ 647700 h 1052748"/>
              <a:gd name="connsiteX4" fmla="*/ 1730930 w 1917700"/>
              <a:gd name="connsiteY4" fmla="*/ 1052748 h 1052748"/>
              <a:gd name="connsiteX0" fmla="*/ 190500 w 1917700"/>
              <a:gd name="connsiteY0" fmla="*/ 0 h 1052748"/>
              <a:gd name="connsiteX1" fmla="*/ 1524000 w 1917700"/>
              <a:gd name="connsiteY1" fmla="*/ 254000 h 1052748"/>
              <a:gd name="connsiteX2" fmla="*/ 1917700 w 1917700"/>
              <a:gd name="connsiteY2" fmla="*/ 952500 h 1052748"/>
              <a:gd name="connsiteX3" fmla="*/ 0 w 1917700"/>
              <a:gd name="connsiteY3" fmla="*/ 647700 h 1052748"/>
              <a:gd name="connsiteX4" fmla="*/ 1730930 w 1917700"/>
              <a:gd name="connsiteY4" fmla="*/ 1052748 h 1052748"/>
              <a:gd name="connsiteX0" fmla="*/ 190500 w 1917700"/>
              <a:gd name="connsiteY0" fmla="*/ 0 h 1052748"/>
              <a:gd name="connsiteX1" fmla="*/ 1524000 w 1917700"/>
              <a:gd name="connsiteY1" fmla="*/ 254000 h 1052748"/>
              <a:gd name="connsiteX2" fmla="*/ 1917700 w 1917700"/>
              <a:gd name="connsiteY2" fmla="*/ 952500 h 1052748"/>
              <a:gd name="connsiteX3" fmla="*/ 0 w 1917700"/>
              <a:gd name="connsiteY3" fmla="*/ 647700 h 1052748"/>
              <a:gd name="connsiteX4" fmla="*/ 1730930 w 1917700"/>
              <a:gd name="connsiteY4" fmla="*/ 1052748 h 1052748"/>
              <a:gd name="connsiteX0" fmla="*/ 190500 w 1917700"/>
              <a:gd name="connsiteY0" fmla="*/ 0 h 1050315"/>
              <a:gd name="connsiteX1" fmla="*/ 1524000 w 1917700"/>
              <a:gd name="connsiteY1" fmla="*/ 254000 h 1050315"/>
              <a:gd name="connsiteX2" fmla="*/ 1917700 w 1917700"/>
              <a:gd name="connsiteY2" fmla="*/ 952500 h 1050315"/>
              <a:gd name="connsiteX3" fmla="*/ 0 w 1917700"/>
              <a:gd name="connsiteY3" fmla="*/ 647700 h 1050315"/>
              <a:gd name="connsiteX4" fmla="*/ 190500 w 1917700"/>
              <a:gd name="connsiteY4" fmla="*/ 0 h 10503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17700" h="1050315">
                <a:moveTo>
                  <a:pt x="190500" y="0"/>
                </a:moveTo>
                <a:cubicBezTo>
                  <a:pt x="685800" y="342900"/>
                  <a:pt x="1143000" y="368300"/>
                  <a:pt x="1524000" y="254000"/>
                </a:cubicBezTo>
                <a:cubicBezTo>
                  <a:pt x="1524000" y="254000"/>
                  <a:pt x="1524000" y="254000"/>
                  <a:pt x="1917700" y="952500"/>
                </a:cubicBezTo>
                <a:cubicBezTo>
                  <a:pt x="1473200" y="1104900"/>
                  <a:pt x="825500" y="1130300"/>
                  <a:pt x="0" y="647700"/>
                </a:cubicBezTo>
                <a:cubicBezTo>
                  <a:pt x="0" y="647700"/>
                  <a:pt x="0" y="647700"/>
                  <a:pt x="190500" y="0"/>
                </a:cubicBezTo>
                <a:close/>
              </a:path>
            </a:pathLst>
          </a:custGeom>
          <a:gradFill flip="none" rotWithShape="1">
            <a:gsLst>
              <a:gs pos="0">
                <a:schemeClr val="accent1">
                  <a:lumMod val="35000"/>
                  <a:lumOff val="65000"/>
                </a:schemeClr>
              </a:gs>
              <a:gs pos="100000">
                <a:schemeClr val="accent1">
                  <a:lumMod val="100000"/>
                </a:schemeClr>
              </a:gs>
            </a:gsLst>
            <a:path path="circle">
              <a:fillToRect r="100000" b="100000"/>
            </a:path>
            <a:tileRect l="-100000" t="-100000"/>
          </a:gradFill>
          <a:ln w="6350">
            <a:gradFill>
              <a:gsLst>
                <a:gs pos="0">
                  <a:schemeClr val="accent1">
                    <a:lumMod val="0"/>
                    <a:lumOff val="100000"/>
                    <a:alpha val="70000"/>
                  </a:schemeClr>
                </a:gs>
                <a:gs pos="100000">
                  <a:schemeClr val="accent1">
                    <a:lumMod val="0"/>
                    <a:lumOff val="100000"/>
                    <a:alpha val="7000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solidFill>
                <a:srgbClr val="FFFFFF"/>
              </a:solidFill>
              <a:latin typeface="Arial"/>
            </a:endParaRPr>
          </a:p>
        </p:txBody>
      </p:sp>
      <p:sp>
        <p:nvSpPr>
          <p:cNvPr id="56" name="任意多边形: 形状 55">
            <a:extLst>
              <a:ext uri="{FF2B5EF4-FFF2-40B4-BE49-F238E27FC236}">
                <a16:creationId xmlns:a16="http://schemas.microsoft.com/office/drawing/2014/main" id="{3EFB5536-3584-7980-5364-F3316EE29ACF}"/>
              </a:ext>
            </a:extLst>
          </p:cNvPr>
          <p:cNvSpPr>
            <a:spLocks/>
          </p:cNvSpPr>
          <p:nvPr/>
        </p:nvSpPr>
        <p:spPr bwMode="auto">
          <a:xfrm>
            <a:off x="4737100" y="3060700"/>
            <a:ext cx="2451100" cy="473958"/>
          </a:xfrm>
          <a:custGeom>
            <a:avLst/>
            <a:gdLst>
              <a:gd name="connsiteX0" fmla="*/ 580937 w 2451100"/>
              <a:gd name="connsiteY0" fmla="*/ 16316 h 473958"/>
              <a:gd name="connsiteX1" fmla="*/ 578842 w 2451100"/>
              <a:gd name="connsiteY1" fmla="*/ 26789 h 473958"/>
              <a:gd name="connsiteX2" fmla="*/ 574763 w 2451100"/>
              <a:gd name="connsiteY2" fmla="*/ 47184 h 473958"/>
              <a:gd name="connsiteX3" fmla="*/ 576858 w 2451100"/>
              <a:gd name="connsiteY3" fmla="*/ 36711 h 473958"/>
              <a:gd name="connsiteX4" fmla="*/ 584200 w 2451100"/>
              <a:gd name="connsiteY4" fmla="*/ 0 h 473958"/>
              <a:gd name="connsiteX5" fmla="*/ 2451100 w 2451100"/>
              <a:gd name="connsiteY5" fmla="*/ 330200 h 473958"/>
              <a:gd name="connsiteX6" fmla="*/ 2044700 w 2451100"/>
              <a:gd name="connsiteY6" fmla="*/ 469900 h 473958"/>
              <a:gd name="connsiteX7" fmla="*/ 571500 w 2451100"/>
              <a:gd name="connsiteY7" fmla="*/ 63500 h 473958"/>
              <a:gd name="connsiteX8" fmla="*/ 101600 w 2451100"/>
              <a:gd name="connsiteY8" fmla="*/ 203200 h 473958"/>
              <a:gd name="connsiteX9" fmla="*/ 0 w 2451100"/>
              <a:gd name="connsiteY9" fmla="*/ 152400 h 473958"/>
              <a:gd name="connsiteX10" fmla="*/ 584200 w 2451100"/>
              <a:gd name="connsiteY10" fmla="*/ 0 h 473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51100" h="473958">
                <a:moveTo>
                  <a:pt x="580937" y="16316"/>
                </a:moveTo>
                <a:lnTo>
                  <a:pt x="578842" y="26789"/>
                </a:lnTo>
                <a:lnTo>
                  <a:pt x="574763" y="47184"/>
                </a:lnTo>
                <a:lnTo>
                  <a:pt x="576858" y="36711"/>
                </a:lnTo>
                <a:close/>
                <a:moveTo>
                  <a:pt x="584200" y="0"/>
                </a:moveTo>
                <a:cubicBezTo>
                  <a:pt x="1384300" y="469900"/>
                  <a:pt x="2006600" y="457200"/>
                  <a:pt x="2451100" y="330200"/>
                </a:cubicBezTo>
                <a:cubicBezTo>
                  <a:pt x="2374900" y="355600"/>
                  <a:pt x="2235200" y="419100"/>
                  <a:pt x="2044700" y="469900"/>
                </a:cubicBezTo>
                <a:cubicBezTo>
                  <a:pt x="1651000" y="495300"/>
                  <a:pt x="1155700" y="406400"/>
                  <a:pt x="571500" y="63500"/>
                </a:cubicBezTo>
                <a:lnTo>
                  <a:pt x="101600" y="203200"/>
                </a:lnTo>
                <a:cubicBezTo>
                  <a:pt x="101600" y="203200"/>
                  <a:pt x="101600" y="203200"/>
                  <a:pt x="0" y="152400"/>
                </a:cubicBezTo>
                <a:cubicBezTo>
                  <a:pt x="0" y="152400"/>
                  <a:pt x="0" y="152400"/>
                  <a:pt x="584200" y="0"/>
                </a:cubicBezTo>
                <a:close/>
              </a:path>
            </a:pathLst>
          </a:custGeom>
          <a:gradFill flip="none" rotWithShape="1">
            <a:gsLst>
              <a:gs pos="0">
                <a:schemeClr val="accent1">
                  <a:lumMod val="100000"/>
                </a:schemeClr>
              </a:gs>
              <a:gs pos="100000">
                <a:schemeClr val="accent1">
                  <a:lumMod val="60000"/>
                </a:schemeClr>
              </a:gs>
            </a:gsLst>
            <a:path path="circle">
              <a:fillToRect r="100000" b="100000"/>
            </a:path>
            <a:tileRect l="-100000" t="-10000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solidFill>
                <a:srgbClr val="FFFFFF"/>
              </a:solidFill>
              <a:latin typeface="Arial"/>
            </a:endParaRPr>
          </a:p>
        </p:txBody>
      </p:sp>
      <p:sp>
        <p:nvSpPr>
          <p:cNvPr id="26" name="任意多边形: 形状 25">
            <a:extLst>
              <a:ext uri="{FF2B5EF4-FFF2-40B4-BE49-F238E27FC236}">
                <a16:creationId xmlns:a16="http://schemas.microsoft.com/office/drawing/2014/main" id="{5E44040C-9E3F-10F0-4604-4CD27D2AF7D3}"/>
              </a:ext>
            </a:extLst>
          </p:cNvPr>
          <p:cNvSpPr>
            <a:spLocks/>
          </p:cNvSpPr>
          <p:nvPr/>
        </p:nvSpPr>
        <p:spPr bwMode="auto">
          <a:xfrm>
            <a:off x="4330700" y="3124200"/>
            <a:ext cx="977900" cy="850900"/>
          </a:xfrm>
          <a:custGeom>
            <a:avLst/>
            <a:gdLst>
              <a:gd name="connsiteX0" fmla="*/ 0 w 975833"/>
              <a:gd name="connsiteY0" fmla="*/ 846614 h 846614"/>
              <a:gd name="connsiteX1" fmla="*/ 186665 w 975833"/>
              <a:gd name="connsiteY1" fmla="*/ 208426 h 846614"/>
              <a:gd name="connsiteX2" fmla="*/ 975833 w 975833"/>
              <a:gd name="connsiteY2" fmla="*/ 0 h 846614"/>
              <a:gd name="connsiteX3" fmla="*/ 619137 w 975833"/>
              <a:gd name="connsiteY3" fmla="*/ 662167 h 846614"/>
              <a:gd name="connsiteX4" fmla="*/ 0 w 975833"/>
              <a:gd name="connsiteY4" fmla="*/ 846614 h 846614"/>
              <a:gd name="connsiteX0" fmla="*/ 975577 w 975833"/>
              <a:gd name="connsiteY0" fmla="*/ 0 h 847452"/>
              <a:gd name="connsiteX1" fmla="*/ 186665 w 975833"/>
              <a:gd name="connsiteY1" fmla="*/ 209264 h 847452"/>
              <a:gd name="connsiteX2" fmla="*/ 975833 w 975833"/>
              <a:gd name="connsiteY2" fmla="*/ 838 h 847452"/>
              <a:gd name="connsiteX3" fmla="*/ 619137 w 975833"/>
              <a:gd name="connsiteY3" fmla="*/ 663005 h 847452"/>
              <a:gd name="connsiteX4" fmla="*/ 0 w 975833"/>
              <a:gd name="connsiteY4" fmla="*/ 847452 h 847452"/>
              <a:gd name="connsiteX0" fmla="*/ 975577 w 975833"/>
              <a:gd name="connsiteY0" fmla="*/ 0 h 847452"/>
              <a:gd name="connsiteX1" fmla="*/ 186665 w 975833"/>
              <a:gd name="connsiteY1" fmla="*/ 209264 h 847452"/>
              <a:gd name="connsiteX2" fmla="*/ 975833 w 975833"/>
              <a:gd name="connsiteY2" fmla="*/ 838 h 847452"/>
              <a:gd name="connsiteX3" fmla="*/ 619137 w 975833"/>
              <a:gd name="connsiteY3" fmla="*/ 663005 h 847452"/>
              <a:gd name="connsiteX4" fmla="*/ 0 w 975833"/>
              <a:gd name="connsiteY4" fmla="*/ 847452 h 847452"/>
              <a:gd name="connsiteX0" fmla="*/ 975577 w 975833"/>
              <a:gd name="connsiteY0" fmla="*/ 0 h 847452"/>
              <a:gd name="connsiteX1" fmla="*/ 186665 w 975833"/>
              <a:gd name="connsiteY1" fmla="*/ 209264 h 847452"/>
              <a:gd name="connsiteX2" fmla="*/ 975833 w 975833"/>
              <a:gd name="connsiteY2" fmla="*/ 838 h 847452"/>
              <a:gd name="connsiteX3" fmla="*/ 619137 w 975833"/>
              <a:gd name="connsiteY3" fmla="*/ 663005 h 847452"/>
              <a:gd name="connsiteX4" fmla="*/ 0 w 975833"/>
              <a:gd name="connsiteY4" fmla="*/ 847452 h 847452"/>
              <a:gd name="connsiteX0" fmla="*/ 975577 w 975833"/>
              <a:gd name="connsiteY0" fmla="*/ 0 h 847452"/>
              <a:gd name="connsiteX1" fmla="*/ 785077 w 975833"/>
              <a:gd name="connsiteY1" fmla="*/ 635000 h 847452"/>
              <a:gd name="connsiteX2" fmla="*/ 975833 w 975833"/>
              <a:gd name="connsiteY2" fmla="*/ 838 h 847452"/>
              <a:gd name="connsiteX3" fmla="*/ 619137 w 975833"/>
              <a:gd name="connsiteY3" fmla="*/ 663005 h 847452"/>
              <a:gd name="connsiteX4" fmla="*/ 0 w 975833"/>
              <a:gd name="connsiteY4" fmla="*/ 847452 h 847452"/>
              <a:gd name="connsiteX0" fmla="*/ 975577 w 975833"/>
              <a:gd name="connsiteY0" fmla="*/ 0 h 847452"/>
              <a:gd name="connsiteX1" fmla="*/ 785077 w 975833"/>
              <a:gd name="connsiteY1" fmla="*/ 635000 h 847452"/>
              <a:gd name="connsiteX2" fmla="*/ 975833 w 975833"/>
              <a:gd name="connsiteY2" fmla="*/ 838 h 847452"/>
              <a:gd name="connsiteX3" fmla="*/ 619137 w 975833"/>
              <a:gd name="connsiteY3" fmla="*/ 663005 h 847452"/>
              <a:gd name="connsiteX4" fmla="*/ 0 w 975833"/>
              <a:gd name="connsiteY4" fmla="*/ 847452 h 847452"/>
              <a:gd name="connsiteX0" fmla="*/ 975577 w 975833"/>
              <a:gd name="connsiteY0" fmla="*/ 0 h 847452"/>
              <a:gd name="connsiteX1" fmla="*/ 785077 w 975833"/>
              <a:gd name="connsiteY1" fmla="*/ 635000 h 847452"/>
              <a:gd name="connsiteX2" fmla="*/ 975833 w 975833"/>
              <a:gd name="connsiteY2" fmla="*/ 838 h 847452"/>
              <a:gd name="connsiteX3" fmla="*/ 619137 w 975833"/>
              <a:gd name="connsiteY3" fmla="*/ 663005 h 847452"/>
              <a:gd name="connsiteX4" fmla="*/ 0 w 975833"/>
              <a:gd name="connsiteY4" fmla="*/ 847452 h 847452"/>
              <a:gd name="connsiteX0" fmla="*/ 977900 w 977900"/>
              <a:gd name="connsiteY0" fmla="*/ 0 h 850900"/>
              <a:gd name="connsiteX1" fmla="*/ 787400 w 977900"/>
              <a:gd name="connsiteY1" fmla="*/ 635000 h 850900"/>
              <a:gd name="connsiteX2" fmla="*/ 0 w 977900"/>
              <a:gd name="connsiteY2" fmla="*/ 850900 h 850900"/>
              <a:gd name="connsiteX3" fmla="*/ 621460 w 977900"/>
              <a:gd name="connsiteY3" fmla="*/ 663005 h 850900"/>
              <a:gd name="connsiteX4" fmla="*/ 2323 w 977900"/>
              <a:gd name="connsiteY4" fmla="*/ 847452 h 850900"/>
              <a:gd name="connsiteX0" fmla="*/ 977900 w 977900"/>
              <a:gd name="connsiteY0" fmla="*/ 0 h 850900"/>
              <a:gd name="connsiteX1" fmla="*/ 787400 w 977900"/>
              <a:gd name="connsiteY1" fmla="*/ 635000 h 850900"/>
              <a:gd name="connsiteX2" fmla="*/ 0 w 977900"/>
              <a:gd name="connsiteY2" fmla="*/ 850900 h 850900"/>
              <a:gd name="connsiteX3" fmla="*/ 621460 w 977900"/>
              <a:gd name="connsiteY3" fmla="*/ 663005 h 850900"/>
              <a:gd name="connsiteX4" fmla="*/ 2323 w 977900"/>
              <a:gd name="connsiteY4" fmla="*/ 847452 h 850900"/>
              <a:gd name="connsiteX0" fmla="*/ 977900 w 977900"/>
              <a:gd name="connsiteY0" fmla="*/ 0 h 850900"/>
              <a:gd name="connsiteX1" fmla="*/ 787400 w 977900"/>
              <a:gd name="connsiteY1" fmla="*/ 635000 h 850900"/>
              <a:gd name="connsiteX2" fmla="*/ 0 w 977900"/>
              <a:gd name="connsiteY2" fmla="*/ 850900 h 850900"/>
              <a:gd name="connsiteX3" fmla="*/ 621460 w 977900"/>
              <a:gd name="connsiteY3" fmla="*/ 663005 h 850900"/>
              <a:gd name="connsiteX4" fmla="*/ 2323 w 977900"/>
              <a:gd name="connsiteY4" fmla="*/ 847452 h 850900"/>
              <a:gd name="connsiteX0" fmla="*/ 977900 w 977900"/>
              <a:gd name="connsiteY0" fmla="*/ 0 h 850900"/>
              <a:gd name="connsiteX1" fmla="*/ 787400 w 977900"/>
              <a:gd name="connsiteY1" fmla="*/ 635000 h 850900"/>
              <a:gd name="connsiteX2" fmla="*/ 0 w 977900"/>
              <a:gd name="connsiteY2" fmla="*/ 850900 h 850900"/>
              <a:gd name="connsiteX3" fmla="*/ 355600 w 977900"/>
              <a:gd name="connsiteY3" fmla="*/ 190500 h 850900"/>
              <a:gd name="connsiteX4" fmla="*/ 2323 w 977900"/>
              <a:gd name="connsiteY4" fmla="*/ 847452 h 850900"/>
              <a:gd name="connsiteX0" fmla="*/ 977900 w 977900"/>
              <a:gd name="connsiteY0" fmla="*/ 0 h 850900"/>
              <a:gd name="connsiteX1" fmla="*/ 787400 w 977900"/>
              <a:gd name="connsiteY1" fmla="*/ 635000 h 850900"/>
              <a:gd name="connsiteX2" fmla="*/ 0 w 977900"/>
              <a:gd name="connsiteY2" fmla="*/ 850900 h 850900"/>
              <a:gd name="connsiteX3" fmla="*/ 355600 w 977900"/>
              <a:gd name="connsiteY3" fmla="*/ 190500 h 850900"/>
              <a:gd name="connsiteX4" fmla="*/ 2323 w 977900"/>
              <a:gd name="connsiteY4" fmla="*/ 847452 h 850900"/>
              <a:gd name="connsiteX0" fmla="*/ 977900 w 977900"/>
              <a:gd name="connsiteY0" fmla="*/ 0 h 850900"/>
              <a:gd name="connsiteX1" fmla="*/ 787400 w 977900"/>
              <a:gd name="connsiteY1" fmla="*/ 635000 h 850900"/>
              <a:gd name="connsiteX2" fmla="*/ 0 w 977900"/>
              <a:gd name="connsiteY2" fmla="*/ 850900 h 850900"/>
              <a:gd name="connsiteX3" fmla="*/ 355600 w 977900"/>
              <a:gd name="connsiteY3" fmla="*/ 190500 h 850900"/>
              <a:gd name="connsiteX4" fmla="*/ 2323 w 977900"/>
              <a:gd name="connsiteY4" fmla="*/ 847452 h 850900"/>
              <a:gd name="connsiteX0" fmla="*/ 977900 w 977900"/>
              <a:gd name="connsiteY0" fmla="*/ 0 h 850900"/>
              <a:gd name="connsiteX1" fmla="*/ 787400 w 977900"/>
              <a:gd name="connsiteY1" fmla="*/ 635000 h 850900"/>
              <a:gd name="connsiteX2" fmla="*/ 0 w 977900"/>
              <a:gd name="connsiteY2" fmla="*/ 850900 h 850900"/>
              <a:gd name="connsiteX3" fmla="*/ 355600 w 977900"/>
              <a:gd name="connsiteY3" fmla="*/ 190500 h 850900"/>
              <a:gd name="connsiteX4" fmla="*/ 977900 w 977900"/>
              <a:gd name="connsiteY4" fmla="*/ 0 h 850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7900" h="850900">
                <a:moveTo>
                  <a:pt x="977900" y="0"/>
                </a:moveTo>
                <a:cubicBezTo>
                  <a:pt x="977900" y="0"/>
                  <a:pt x="977900" y="0"/>
                  <a:pt x="787400" y="635000"/>
                </a:cubicBezTo>
                <a:cubicBezTo>
                  <a:pt x="787400" y="635000"/>
                  <a:pt x="787400" y="635000"/>
                  <a:pt x="0" y="850900"/>
                </a:cubicBezTo>
                <a:cubicBezTo>
                  <a:pt x="0" y="850900"/>
                  <a:pt x="0" y="850900"/>
                  <a:pt x="355600" y="190500"/>
                </a:cubicBezTo>
                <a:cubicBezTo>
                  <a:pt x="355600" y="190500"/>
                  <a:pt x="355600" y="190500"/>
                  <a:pt x="977900" y="0"/>
                </a:cubicBezTo>
                <a:close/>
              </a:path>
            </a:pathLst>
          </a:custGeom>
          <a:gradFill flip="none" rotWithShape="1">
            <a:gsLst>
              <a:gs pos="100000">
                <a:schemeClr val="accent1">
                  <a:lumMod val="80000"/>
                  <a:lumOff val="20000"/>
                </a:schemeClr>
              </a:gs>
              <a:gs pos="0">
                <a:schemeClr val="accent1">
                  <a:lumMod val="35000"/>
                  <a:lumOff val="65000"/>
                </a:schemeClr>
              </a:gs>
            </a:gsLst>
            <a:lin ang="2700000" scaled="1"/>
            <a:tileRect/>
          </a:gradFill>
          <a:ln w="6350">
            <a:gradFill>
              <a:gsLst>
                <a:gs pos="0">
                  <a:schemeClr val="accent1">
                    <a:lumMod val="0"/>
                    <a:lumOff val="100000"/>
                    <a:alpha val="70000"/>
                  </a:schemeClr>
                </a:gs>
                <a:gs pos="100000">
                  <a:schemeClr val="accent1">
                    <a:lumMod val="0"/>
                    <a:lumOff val="100000"/>
                    <a:alpha val="70000"/>
                  </a:schemeClr>
                </a:gs>
              </a:gsLst>
              <a:lin ang="5400000" scaled="1"/>
            </a:gradFill>
          </a:ln>
          <a:effectLst>
            <a:outerShdw blurRad="254000" dist="177800" dir="2700000" algn="tl" rotWithShape="0">
              <a:schemeClr val="accent1">
                <a:alpha val="20000"/>
              </a:schemeClr>
            </a:outerShdw>
          </a:effectLst>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485899" tIns="63500" rIns="1485901" bIns="63500" numCol="1" spcCol="1270" anchor="ctr" anchorCtr="0">
            <a:noAutofit/>
          </a:bodyPr>
          <a:lstStyle/>
          <a:p>
            <a:pPr algn="ctr" defTabSz="2222500">
              <a:lnSpc>
                <a:spcPct val="90000"/>
              </a:lnSpc>
              <a:spcBef>
                <a:spcPct val="0"/>
              </a:spcBef>
              <a:spcAft>
                <a:spcPct val="35000"/>
              </a:spcAft>
            </a:pPr>
            <a:endParaRPr lang="en-US" sz="3200">
              <a:solidFill>
                <a:prstClr val="white"/>
              </a:solidFill>
              <a:latin typeface="等线" panose="020F0502020204030204"/>
              <a:ea typeface="等线" panose="02010600030101010101" pitchFamily="2" charset="-122"/>
            </a:endParaRPr>
          </a:p>
        </p:txBody>
      </p:sp>
      <p:sp>
        <p:nvSpPr>
          <p:cNvPr id="46" name="任意多边形: 形状 45">
            <a:extLst>
              <a:ext uri="{FF2B5EF4-FFF2-40B4-BE49-F238E27FC236}">
                <a16:creationId xmlns:a16="http://schemas.microsoft.com/office/drawing/2014/main" id="{557BB3B9-7052-4F87-9802-B760B75B513A}"/>
              </a:ext>
            </a:extLst>
          </p:cNvPr>
          <p:cNvSpPr>
            <a:spLocks/>
          </p:cNvSpPr>
          <p:nvPr/>
        </p:nvSpPr>
        <p:spPr bwMode="auto">
          <a:xfrm>
            <a:off x="5118100" y="3124200"/>
            <a:ext cx="2540001" cy="1132781"/>
          </a:xfrm>
          <a:custGeom>
            <a:avLst/>
            <a:gdLst>
              <a:gd name="connsiteX0" fmla="*/ 2353414 w 2539841"/>
              <a:gd name="connsiteY0" fmla="*/ 1133582 h 1133582"/>
              <a:gd name="connsiteX1" fmla="*/ 387621 w 2539841"/>
              <a:gd name="connsiteY1" fmla="*/ 825770 h 1133582"/>
              <a:gd name="connsiteX2" fmla="*/ 0 w 2539841"/>
              <a:gd name="connsiteY2" fmla="*/ 140104 h 1133582"/>
              <a:gd name="connsiteX3" fmla="*/ 2539841 w 2539841"/>
              <a:gd name="connsiteY3" fmla="*/ 495839 h 1133582"/>
              <a:gd name="connsiteX4" fmla="*/ 2353414 w 2539841"/>
              <a:gd name="connsiteY4" fmla="*/ 1133582 h 1133582"/>
              <a:gd name="connsiteX0" fmla="*/ 186889 w 2539841"/>
              <a:gd name="connsiteY0" fmla="*/ 0 h 1134419"/>
              <a:gd name="connsiteX1" fmla="*/ 387621 w 2539841"/>
              <a:gd name="connsiteY1" fmla="*/ 826607 h 1134419"/>
              <a:gd name="connsiteX2" fmla="*/ 0 w 2539841"/>
              <a:gd name="connsiteY2" fmla="*/ 140941 h 1134419"/>
              <a:gd name="connsiteX3" fmla="*/ 2539841 w 2539841"/>
              <a:gd name="connsiteY3" fmla="*/ 496676 h 1134419"/>
              <a:gd name="connsiteX4" fmla="*/ 2353414 w 2539841"/>
              <a:gd name="connsiteY4" fmla="*/ 1134419 h 1134419"/>
              <a:gd name="connsiteX0" fmla="*/ 186889 w 2539841"/>
              <a:gd name="connsiteY0" fmla="*/ 0 h 1134419"/>
              <a:gd name="connsiteX1" fmla="*/ 387621 w 2539841"/>
              <a:gd name="connsiteY1" fmla="*/ 826607 h 1134419"/>
              <a:gd name="connsiteX2" fmla="*/ 0 w 2539841"/>
              <a:gd name="connsiteY2" fmla="*/ 140941 h 1134419"/>
              <a:gd name="connsiteX3" fmla="*/ 2539841 w 2539841"/>
              <a:gd name="connsiteY3" fmla="*/ 496676 h 1134419"/>
              <a:gd name="connsiteX4" fmla="*/ 2353414 w 2539841"/>
              <a:gd name="connsiteY4" fmla="*/ 1134419 h 1134419"/>
              <a:gd name="connsiteX0" fmla="*/ 186889 w 2539841"/>
              <a:gd name="connsiteY0" fmla="*/ 0 h 1134419"/>
              <a:gd name="connsiteX1" fmla="*/ 387621 w 2539841"/>
              <a:gd name="connsiteY1" fmla="*/ 826607 h 1134419"/>
              <a:gd name="connsiteX2" fmla="*/ 0 w 2539841"/>
              <a:gd name="connsiteY2" fmla="*/ 140941 h 1134419"/>
              <a:gd name="connsiteX3" fmla="*/ 2539841 w 2539841"/>
              <a:gd name="connsiteY3" fmla="*/ 496676 h 1134419"/>
              <a:gd name="connsiteX4" fmla="*/ 2353414 w 2539841"/>
              <a:gd name="connsiteY4" fmla="*/ 1134419 h 1134419"/>
              <a:gd name="connsiteX0" fmla="*/ 186889 w 2539841"/>
              <a:gd name="connsiteY0" fmla="*/ 0 h 1134419"/>
              <a:gd name="connsiteX1" fmla="*/ 2155389 w 2539841"/>
              <a:gd name="connsiteY1" fmla="*/ 304801 h 1134419"/>
              <a:gd name="connsiteX2" fmla="*/ 0 w 2539841"/>
              <a:gd name="connsiteY2" fmla="*/ 140941 h 1134419"/>
              <a:gd name="connsiteX3" fmla="*/ 2539841 w 2539841"/>
              <a:gd name="connsiteY3" fmla="*/ 496676 h 1134419"/>
              <a:gd name="connsiteX4" fmla="*/ 2353414 w 2539841"/>
              <a:gd name="connsiteY4" fmla="*/ 1134419 h 1134419"/>
              <a:gd name="connsiteX0" fmla="*/ 186889 w 2539841"/>
              <a:gd name="connsiteY0" fmla="*/ 0 h 1134419"/>
              <a:gd name="connsiteX1" fmla="*/ 2155389 w 2539841"/>
              <a:gd name="connsiteY1" fmla="*/ 304801 h 1134419"/>
              <a:gd name="connsiteX2" fmla="*/ 0 w 2539841"/>
              <a:gd name="connsiteY2" fmla="*/ 140941 h 1134419"/>
              <a:gd name="connsiteX3" fmla="*/ 2539841 w 2539841"/>
              <a:gd name="connsiteY3" fmla="*/ 496676 h 1134419"/>
              <a:gd name="connsiteX4" fmla="*/ 2353414 w 2539841"/>
              <a:gd name="connsiteY4" fmla="*/ 1134419 h 1134419"/>
              <a:gd name="connsiteX0" fmla="*/ 186889 w 2539841"/>
              <a:gd name="connsiteY0" fmla="*/ 0 h 1134419"/>
              <a:gd name="connsiteX1" fmla="*/ 2155389 w 2539841"/>
              <a:gd name="connsiteY1" fmla="*/ 304801 h 1134419"/>
              <a:gd name="connsiteX2" fmla="*/ 0 w 2539841"/>
              <a:gd name="connsiteY2" fmla="*/ 140941 h 1134419"/>
              <a:gd name="connsiteX3" fmla="*/ 2539841 w 2539841"/>
              <a:gd name="connsiteY3" fmla="*/ 496676 h 1134419"/>
              <a:gd name="connsiteX4" fmla="*/ 2353414 w 2539841"/>
              <a:gd name="connsiteY4" fmla="*/ 1134419 h 1134419"/>
              <a:gd name="connsiteX0" fmla="*/ 0 w 2352952"/>
              <a:gd name="connsiteY0" fmla="*/ 0 h 1134419"/>
              <a:gd name="connsiteX1" fmla="*/ 1968500 w 2352952"/>
              <a:gd name="connsiteY1" fmla="*/ 304801 h 1134419"/>
              <a:gd name="connsiteX2" fmla="*/ 2349500 w 2352952"/>
              <a:gd name="connsiteY2" fmla="*/ 990601 h 1134419"/>
              <a:gd name="connsiteX3" fmla="*/ 2352952 w 2352952"/>
              <a:gd name="connsiteY3" fmla="*/ 496676 h 1134419"/>
              <a:gd name="connsiteX4" fmla="*/ 2166525 w 2352952"/>
              <a:gd name="connsiteY4" fmla="*/ 1134419 h 1134419"/>
              <a:gd name="connsiteX0" fmla="*/ 0 w 2352952"/>
              <a:gd name="connsiteY0" fmla="*/ 0 h 1134419"/>
              <a:gd name="connsiteX1" fmla="*/ 1968500 w 2352952"/>
              <a:gd name="connsiteY1" fmla="*/ 304801 h 1134419"/>
              <a:gd name="connsiteX2" fmla="*/ 2349500 w 2352952"/>
              <a:gd name="connsiteY2" fmla="*/ 990601 h 1134419"/>
              <a:gd name="connsiteX3" fmla="*/ 2352952 w 2352952"/>
              <a:gd name="connsiteY3" fmla="*/ 496676 h 1134419"/>
              <a:gd name="connsiteX4" fmla="*/ 2166525 w 2352952"/>
              <a:gd name="connsiteY4" fmla="*/ 1134419 h 1134419"/>
              <a:gd name="connsiteX0" fmla="*/ 0 w 2352952"/>
              <a:gd name="connsiteY0" fmla="*/ 0 h 1134419"/>
              <a:gd name="connsiteX1" fmla="*/ 1968500 w 2352952"/>
              <a:gd name="connsiteY1" fmla="*/ 304801 h 1134419"/>
              <a:gd name="connsiteX2" fmla="*/ 2349500 w 2352952"/>
              <a:gd name="connsiteY2" fmla="*/ 990601 h 1134419"/>
              <a:gd name="connsiteX3" fmla="*/ 2352952 w 2352952"/>
              <a:gd name="connsiteY3" fmla="*/ 496676 h 1134419"/>
              <a:gd name="connsiteX4" fmla="*/ 2166525 w 2352952"/>
              <a:gd name="connsiteY4" fmla="*/ 1134419 h 1134419"/>
              <a:gd name="connsiteX0" fmla="*/ 190501 w 2540001"/>
              <a:gd name="connsiteY0" fmla="*/ 0 h 1134419"/>
              <a:gd name="connsiteX1" fmla="*/ 2159001 w 2540001"/>
              <a:gd name="connsiteY1" fmla="*/ 304801 h 1134419"/>
              <a:gd name="connsiteX2" fmla="*/ 2540001 w 2540001"/>
              <a:gd name="connsiteY2" fmla="*/ 990601 h 1134419"/>
              <a:gd name="connsiteX3" fmla="*/ 0 w 2540001"/>
              <a:gd name="connsiteY3" fmla="*/ 635001 h 1134419"/>
              <a:gd name="connsiteX4" fmla="*/ 2357026 w 2540001"/>
              <a:gd name="connsiteY4" fmla="*/ 1134419 h 1134419"/>
              <a:gd name="connsiteX0" fmla="*/ 190501 w 2540001"/>
              <a:gd name="connsiteY0" fmla="*/ 0 h 1134419"/>
              <a:gd name="connsiteX1" fmla="*/ 2159001 w 2540001"/>
              <a:gd name="connsiteY1" fmla="*/ 304801 h 1134419"/>
              <a:gd name="connsiteX2" fmla="*/ 2540001 w 2540001"/>
              <a:gd name="connsiteY2" fmla="*/ 990601 h 1134419"/>
              <a:gd name="connsiteX3" fmla="*/ 0 w 2540001"/>
              <a:gd name="connsiteY3" fmla="*/ 635001 h 1134419"/>
              <a:gd name="connsiteX4" fmla="*/ 2357026 w 2540001"/>
              <a:gd name="connsiteY4" fmla="*/ 1134419 h 1134419"/>
              <a:gd name="connsiteX0" fmla="*/ 190501 w 2540001"/>
              <a:gd name="connsiteY0" fmla="*/ 0 h 1134419"/>
              <a:gd name="connsiteX1" fmla="*/ 2159001 w 2540001"/>
              <a:gd name="connsiteY1" fmla="*/ 304801 h 1134419"/>
              <a:gd name="connsiteX2" fmla="*/ 2540001 w 2540001"/>
              <a:gd name="connsiteY2" fmla="*/ 990601 h 1134419"/>
              <a:gd name="connsiteX3" fmla="*/ 0 w 2540001"/>
              <a:gd name="connsiteY3" fmla="*/ 635001 h 1134419"/>
              <a:gd name="connsiteX4" fmla="*/ 2357026 w 2540001"/>
              <a:gd name="connsiteY4" fmla="*/ 1134419 h 1134419"/>
              <a:gd name="connsiteX0" fmla="*/ 190501 w 2540001"/>
              <a:gd name="connsiteY0" fmla="*/ 0 h 1132781"/>
              <a:gd name="connsiteX1" fmla="*/ 2159001 w 2540001"/>
              <a:gd name="connsiteY1" fmla="*/ 304801 h 1132781"/>
              <a:gd name="connsiteX2" fmla="*/ 2540001 w 2540001"/>
              <a:gd name="connsiteY2" fmla="*/ 990601 h 1132781"/>
              <a:gd name="connsiteX3" fmla="*/ 0 w 2540001"/>
              <a:gd name="connsiteY3" fmla="*/ 635001 h 1132781"/>
              <a:gd name="connsiteX4" fmla="*/ 190501 w 2540001"/>
              <a:gd name="connsiteY4" fmla="*/ 1 h 11327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40001" h="1132781">
                <a:moveTo>
                  <a:pt x="190501" y="0"/>
                </a:moveTo>
                <a:cubicBezTo>
                  <a:pt x="1041401" y="508001"/>
                  <a:pt x="1701801" y="469901"/>
                  <a:pt x="2159001" y="304801"/>
                </a:cubicBezTo>
                <a:cubicBezTo>
                  <a:pt x="2159001" y="304801"/>
                  <a:pt x="2159001" y="304801"/>
                  <a:pt x="2540001" y="990601"/>
                </a:cubicBezTo>
                <a:cubicBezTo>
                  <a:pt x="2286000" y="1104901"/>
                  <a:pt x="1346200" y="1371601"/>
                  <a:pt x="0" y="635001"/>
                </a:cubicBezTo>
                <a:cubicBezTo>
                  <a:pt x="1" y="635001"/>
                  <a:pt x="1" y="635001"/>
                  <a:pt x="190501" y="1"/>
                </a:cubicBezTo>
                <a:close/>
              </a:path>
            </a:pathLst>
          </a:custGeom>
          <a:gradFill flip="none" rotWithShape="1">
            <a:gsLst>
              <a:gs pos="0">
                <a:schemeClr val="accent1">
                  <a:lumMod val="55000"/>
                  <a:lumOff val="45000"/>
                </a:schemeClr>
              </a:gs>
              <a:gs pos="100000">
                <a:schemeClr val="accent1">
                  <a:lumMod val="90000"/>
                </a:schemeClr>
              </a:gs>
            </a:gsLst>
            <a:path path="circle">
              <a:fillToRect r="100000" b="100000"/>
            </a:path>
            <a:tileRect l="-100000" t="-100000"/>
          </a:gradFill>
          <a:ln w="6350">
            <a:gradFill>
              <a:gsLst>
                <a:gs pos="0">
                  <a:schemeClr val="accent1">
                    <a:lumMod val="0"/>
                    <a:lumOff val="100000"/>
                    <a:alpha val="70000"/>
                  </a:schemeClr>
                </a:gs>
                <a:gs pos="100000">
                  <a:schemeClr val="accent1">
                    <a:lumMod val="0"/>
                    <a:lumOff val="100000"/>
                    <a:alpha val="7000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solidFill>
                <a:srgbClr val="FFFFFF"/>
              </a:solidFill>
              <a:latin typeface="Arial"/>
            </a:endParaRPr>
          </a:p>
        </p:txBody>
      </p:sp>
      <p:sp>
        <p:nvSpPr>
          <p:cNvPr id="57" name="任意多边形: 形状 56">
            <a:extLst>
              <a:ext uri="{FF2B5EF4-FFF2-40B4-BE49-F238E27FC236}">
                <a16:creationId xmlns:a16="http://schemas.microsoft.com/office/drawing/2014/main" id="{4C5718FA-0610-FF63-77DD-56C85FFFA39F}"/>
              </a:ext>
            </a:extLst>
          </p:cNvPr>
          <p:cNvSpPr>
            <a:spLocks/>
          </p:cNvSpPr>
          <p:nvPr/>
        </p:nvSpPr>
        <p:spPr bwMode="auto">
          <a:xfrm>
            <a:off x="4330700" y="3759198"/>
            <a:ext cx="3314700" cy="572516"/>
          </a:xfrm>
          <a:custGeom>
            <a:avLst/>
            <a:gdLst>
              <a:gd name="connsiteX0" fmla="*/ 787400 w 3314700"/>
              <a:gd name="connsiteY0" fmla="*/ 1 h 572516"/>
              <a:gd name="connsiteX1" fmla="*/ 3314700 w 3314700"/>
              <a:gd name="connsiteY1" fmla="*/ 368301 h 572516"/>
              <a:gd name="connsiteX2" fmla="*/ 2933700 w 3314700"/>
              <a:gd name="connsiteY2" fmla="*/ 546101 h 572516"/>
              <a:gd name="connsiteX3" fmla="*/ 774700 w 3314700"/>
              <a:gd name="connsiteY3" fmla="*/ 63501 h 572516"/>
              <a:gd name="connsiteX4" fmla="*/ 774899 w 3314700"/>
              <a:gd name="connsiteY4" fmla="*/ 62509 h 572516"/>
              <a:gd name="connsiteX5" fmla="*/ 775737 w 3314700"/>
              <a:gd name="connsiteY5" fmla="*/ 58315 h 572516"/>
              <a:gd name="connsiteX6" fmla="*/ 774700 w 3314700"/>
              <a:gd name="connsiteY6" fmla="*/ 63501 h 572516"/>
              <a:gd name="connsiteX7" fmla="*/ 88900 w 3314700"/>
              <a:gd name="connsiteY7" fmla="*/ 266701 h 572516"/>
              <a:gd name="connsiteX8" fmla="*/ 0 w 3314700"/>
              <a:gd name="connsiteY8" fmla="*/ 215901 h 572516"/>
              <a:gd name="connsiteX9" fmla="*/ 527497 w 3314700"/>
              <a:gd name="connsiteY9" fmla="*/ 71265 h 572516"/>
              <a:gd name="connsiteX10" fmla="*/ 787400 w 3314700"/>
              <a:gd name="connsiteY10" fmla="*/ 1 h 572516"/>
              <a:gd name="connsiteX11" fmla="*/ 787202 w 3314700"/>
              <a:gd name="connsiteY11" fmla="*/ 993 h 572516"/>
              <a:gd name="connsiteX12" fmla="*/ 785813 w 3314700"/>
              <a:gd name="connsiteY12" fmla="*/ 7939 h 572516"/>
              <a:gd name="connsiteX13" fmla="*/ 784911 w 3314700"/>
              <a:gd name="connsiteY13" fmla="*/ 12445 h 572516"/>
              <a:gd name="connsiteX14" fmla="*/ 787400 w 3314700"/>
              <a:gd name="connsiteY14" fmla="*/ 0 h 572516"/>
              <a:gd name="connsiteX15" fmla="*/ 787400 w 3314700"/>
              <a:gd name="connsiteY15" fmla="*/ 1 h 572516"/>
              <a:gd name="connsiteX16" fmla="*/ 787400 w 3314700"/>
              <a:gd name="connsiteY16" fmla="*/ 1 h 5725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14700" h="572516">
                <a:moveTo>
                  <a:pt x="787400" y="1"/>
                </a:moveTo>
                <a:cubicBezTo>
                  <a:pt x="2120900" y="723901"/>
                  <a:pt x="3035300" y="469901"/>
                  <a:pt x="3314700" y="368301"/>
                </a:cubicBezTo>
                <a:cubicBezTo>
                  <a:pt x="3263900" y="393701"/>
                  <a:pt x="3111500" y="482601"/>
                  <a:pt x="2933700" y="546101"/>
                </a:cubicBezTo>
                <a:cubicBezTo>
                  <a:pt x="2463800" y="609601"/>
                  <a:pt x="1689100" y="596901"/>
                  <a:pt x="774700" y="63501"/>
                </a:cubicBezTo>
                <a:cubicBezTo>
                  <a:pt x="774700" y="63501"/>
                  <a:pt x="774700" y="63501"/>
                  <a:pt x="774899" y="62509"/>
                </a:cubicBezTo>
                <a:lnTo>
                  <a:pt x="775737" y="58315"/>
                </a:lnTo>
                <a:lnTo>
                  <a:pt x="774700" y="63501"/>
                </a:lnTo>
                <a:lnTo>
                  <a:pt x="88900" y="266701"/>
                </a:lnTo>
                <a:cubicBezTo>
                  <a:pt x="88900" y="266701"/>
                  <a:pt x="88900" y="266701"/>
                  <a:pt x="0" y="215901"/>
                </a:cubicBezTo>
                <a:cubicBezTo>
                  <a:pt x="0" y="215901"/>
                  <a:pt x="0" y="215901"/>
                  <a:pt x="527497" y="71265"/>
                </a:cubicBezTo>
                <a:lnTo>
                  <a:pt x="787400" y="1"/>
                </a:lnTo>
                <a:lnTo>
                  <a:pt x="787202" y="993"/>
                </a:lnTo>
                <a:cubicBezTo>
                  <a:pt x="787003" y="1985"/>
                  <a:pt x="786606" y="3970"/>
                  <a:pt x="785813" y="7939"/>
                </a:cubicBezTo>
                <a:lnTo>
                  <a:pt x="784911" y="12445"/>
                </a:lnTo>
                <a:close/>
                <a:moveTo>
                  <a:pt x="787400" y="0"/>
                </a:moveTo>
                <a:lnTo>
                  <a:pt x="787400" y="1"/>
                </a:lnTo>
                <a:lnTo>
                  <a:pt x="787400" y="1"/>
                </a:lnTo>
                <a:close/>
              </a:path>
            </a:pathLst>
          </a:custGeom>
          <a:gradFill flip="none" rotWithShape="1">
            <a:gsLst>
              <a:gs pos="0">
                <a:schemeClr val="accent1">
                  <a:lumMod val="80000"/>
                </a:schemeClr>
              </a:gs>
              <a:gs pos="100000">
                <a:schemeClr val="accent1">
                  <a:lumMod val="40000"/>
                </a:schemeClr>
              </a:gs>
            </a:gsLst>
            <a:path path="circle">
              <a:fillToRect r="100000" b="100000"/>
            </a:path>
            <a:tileRect l="-100000" t="-10000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solidFill>
                <a:srgbClr val="FFFFFF"/>
              </a:solidFill>
              <a:latin typeface="Arial"/>
            </a:endParaRPr>
          </a:p>
        </p:txBody>
      </p:sp>
      <p:pic>
        <p:nvPicPr>
          <p:cNvPr id="36" name="图片 35">
            <a:extLst>
              <a:ext uri="{FF2B5EF4-FFF2-40B4-BE49-F238E27FC236}">
                <a16:creationId xmlns:a16="http://schemas.microsoft.com/office/drawing/2014/main" id="{84083926-7E55-1A28-2742-CE10813C9047}"/>
              </a:ext>
            </a:extLst>
          </p:cNvPr>
          <p:cNvPicPr>
            <a:picLocks noChangeAspect="1"/>
          </p:cNvPicPr>
          <p:nvPr/>
        </p:nvPicPr>
        <p:blipFill>
          <a:blip r:embed="rId4"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a:xfrm>
            <a:off x="3903664" y="4800379"/>
            <a:ext cx="4384673" cy="958944"/>
          </a:xfrm>
          <a:custGeom>
            <a:avLst/>
            <a:gdLst>
              <a:gd name="connsiteX0" fmla="*/ 0 w 4384673"/>
              <a:gd name="connsiteY0" fmla="*/ 0 h 958944"/>
              <a:gd name="connsiteX1" fmla="*/ 4384673 w 4384673"/>
              <a:gd name="connsiteY1" fmla="*/ 0 h 958944"/>
              <a:gd name="connsiteX2" fmla="*/ 4384673 w 4384673"/>
              <a:gd name="connsiteY2" fmla="*/ 958944 h 958944"/>
              <a:gd name="connsiteX3" fmla="*/ 0 w 4384673"/>
              <a:gd name="connsiteY3" fmla="*/ 958944 h 958944"/>
            </a:gdLst>
            <a:ahLst/>
            <a:cxnLst>
              <a:cxn ang="0">
                <a:pos x="connsiteX0" y="connsiteY0"/>
              </a:cxn>
              <a:cxn ang="0">
                <a:pos x="connsiteX1" y="connsiteY1"/>
              </a:cxn>
              <a:cxn ang="0">
                <a:pos x="connsiteX2" y="connsiteY2"/>
              </a:cxn>
              <a:cxn ang="0">
                <a:pos x="connsiteX3" y="connsiteY3"/>
              </a:cxn>
            </a:cxnLst>
            <a:rect l="l" t="t" r="r" b="b"/>
            <a:pathLst>
              <a:path w="4384673" h="958944">
                <a:moveTo>
                  <a:pt x="0" y="0"/>
                </a:moveTo>
                <a:lnTo>
                  <a:pt x="4384673" y="0"/>
                </a:lnTo>
                <a:lnTo>
                  <a:pt x="4384673" y="958944"/>
                </a:lnTo>
                <a:lnTo>
                  <a:pt x="0" y="958944"/>
                </a:lnTo>
                <a:close/>
              </a:path>
            </a:pathLst>
          </a:custGeom>
        </p:spPr>
      </p:pic>
      <p:sp>
        <p:nvSpPr>
          <p:cNvPr id="44" name="任意多边形: 形状 43">
            <a:extLst>
              <a:ext uri="{FF2B5EF4-FFF2-40B4-BE49-F238E27FC236}">
                <a16:creationId xmlns:a16="http://schemas.microsoft.com/office/drawing/2014/main" id="{3CFE9CD8-5CAB-03A5-7BD0-948DD6E370B2}"/>
              </a:ext>
            </a:extLst>
          </p:cNvPr>
          <p:cNvSpPr>
            <a:spLocks/>
          </p:cNvSpPr>
          <p:nvPr/>
        </p:nvSpPr>
        <p:spPr bwMode="auto">
          <a:xfrm>
            <a:off x="3911600" y="4483100"/>
            <a:ext cx="4152900" cy="772103"/>
          </a:xfrm>
          <a:custGeom>
            <a:avLst/>
            <a:gdLst>
              <a:gd name="connsiteX0" fmla="*/ 3157782 w 4161776"/>
              <a:gd name="connsiteY0" fmla="*/ 769477 h 769477"/>
              <a:gd name="connsiteX1" fmla="*/ 3155936 w 4161776"/>
              <a:gd name="connsiteY1" fmla="*/ 769477 h 769477"/>
              <a:gd name="connsiteX2" fmla="*/ 3691 w 4161776"/>
              <a:gd name="connsiteY2" fmla="*/ 415181 h 769477"/>
              <a:gd name="connsiteX3" fmla="*/ 0 w 4161776"/>
              <a:gd name="connsiteY3" fmla="*/ 407799 h 769477"/>
              <a:gd name="connsiteX4" fmla="*/ 4161776 w 4161776"/>
              <a:gd name="connsiteY4" fmla="*/ 490838 h 769477"/>
              <a:gd name="connsiteX5" fmla="*/ 3157782 w 4161776"/>
              <a:gd name="connsiteY5" fmla="*/ 769477 h 769477"/>
              <a:gd name="connsiteX0" fmla="*/ 1007413 w 4161776"/>
              <a:gd name="connsiteY0" fmla="*/ 0 h 770453"/>
              <a:gd name="connsiteX1" fmla="*/ 3155936 w 4161776"/>
              <a:gd name="connsiteY1" fmla="*/ 770453 h 770453"/>
              <a:gd name="connsiteX2" fmla="*/ 3691 w 4161776"/>
              <a:gd name="connsiteY2" fmla="*/ 416157 h 770453"/>
              <a:gd name="connsiteX3" fmla="*/ 0 w 4161776"/>
              <a:gd name="connsiteY3" fmla="*/ 408775 h 770453"/>
              <a:gd name="connsiteX4" fmla="*/ 4161776 w 4161776"/>
              <a:gd name="connsiteY4" fmla="*/ 491814 h 770453"/>
              <a:gd name="connsiteX5" fmla="*/ 3157782 w 4161776"/>
              <a:gd name="connsiteY5" fmla="*/ 770453 h 770453"/>
              <a:gd name="connsiteX0" fmla="*/ 1007413 w 4161776"/>
              <a:gd name="connsiteY0" fmla="*/ 0 h 770453"/>
              <a:gd name="connsiteX1" fmla="*/ 3155936 w 4161776"/>
              <a:gd name="connsiteY1" fmla="*/ 770453 h 770453"/>
              <a:gd name="connsiteX2" fmla="*/ 3691 w 4161776"/>
              <a:gd name="connsiteY2" fmla="*/ 416157 h 770453"/>
              <a:gd name="connsiteX3" fmla="*/ 0 w 4161776"/>
              <a:gd name="connsiteY3" fmla="*/ 408775 h 770453"/>
              <a:gd name="connsiteX4" fmla="*/ 4161776 w 4161776"/>
              <a:gd name="connsiteY4" fmla="*/ 491814 h 770453"/>
              <a:gd name="connsiteX5" fmla="*/ 3157782 w 4161776"/>
              <a:gd name="connsiteY5" fmla="*/ 770453 h 770453"/>
              <a:gd name="connsiteX0" fmla="*/ 1007413 w 4161776"/>
              <a:gd name="connsiteY0" fmla="*/ 0 h 770453"/>
              <a:gd name="connsiteX1" fmla="*/ 3155936 w 4161776"/>
              <a:gd name="connsiteY1" fmla="*/ 770453 h 770453"/>
              <a:gd name="connsiteX2" fmla="*/ 3691 w 4161776"/>
              <a:gd name="connsiteY2" fmla="*/ 416157 h 770453"/>
              <a:gd name="connsiteX3" fmla="*/ 0 w 4161776"/>
              <a:gd name="connsiteY3" fmla="*/ 408775 h 770453"/>
              <a:gd name="connsiteX4" fmla="*/ 4161776 w 4161776"/>
              <a:gd name="connsiteY4" fmla="*/ 491814 h 770453"/>
              <a:gd name="connsiteX5" fmla="*/ 3157782 w 4161776"/>
              <a:gd name="connsiteY5" fmla="*/ 770453 h 770453"/>
              <a:gd name="connsiteX0" fmla="*/ 1007413 w 4161776"/>
              <a:gd name="connsiteY0" fmla="*/ 0 h 770453"/>
              <a:gd name="connsiteX1" fmla="*/ 1007413 w 4161776"/>
              <a:gd name="connsiteY1" fmla="*/ 0 h 770453"/>
              <a:gd name="connsiteX2" fmla="*/ 3691 w 4161776"/>
              <a:gd name="connsiteY2" fmla="*/ 416157 h 770453"/>
              <a:gd name="connsiteX3" fmla="*/ 0 w 4161776"/>
              <a:gd name="connsiteY3" fmla="*/ 408775 h 770453"/>
              <a:gd name="connsiteX4" fmla="*/ 4161776 w 4161776"/>
              <a:gd name="connsiteY4" fmla="*/ 491814 h 770453"/>
              <a:gd name="connsiteX5" fmla="*/ 3157782 w 4161776"/>
              <a:gd name="connsiteY5" fmla="*/ 770453 h 770453"/>
              <a:gd name="connsiteX0" fmla="*/ 1007413 w 4161776"/>
              <a:gd name="connsiteY0" fmla="*/ 1766 h 772219"/>
              <a:gd name="connsiteX1" fmla="*/ 1007413 w 4161776"/>
              <a:gd name="connsiteY1" fmla="*/ 1766 h 772219"/>
              <a:gd name="connsiteX2" fmla="*/ 3691 w 4161776"/>
              <a:gd name="connsiteY2" fmla="*/ 417923 h 772219"/>
              <a:gd name="connsiteX3" fmla="*/ 0 w 4161776"/>
              <a:gd name="connsiteY3" fmla="*/ 410541 h 772219"/>
              <a:gd name="connsiteX4" fmla="*/ 4161776 w 4161776"/>
              <a:gd name="connsiteY4" fmla="*/ 493580 h 772219"/>
              <a:gd name="connsiteX5" fmla="*/ 3157782 w 4161776"/>
              <a:gd name="connsiteY5" fmla="*/ 772219 h 772219"/>
              <a:gd name="connsiteX0" fmla="*/ 1007413 w 4161776"/>
              <a:gd name="connsiteY0" fmla="*/ 0 h 770453"/>
              <a:gd name="connsiteX1" fmla="*/ 1007413 w 4161776"/>
              <a:gd name="connsiteY1" fmla="*/ 0 h 770453"/>
              <a:gd name="connsiteX2" fmla="*/ 3691 w 4161776"/>
              <a:gd name="connsiteY2" fmla="*/ 416157 h 770453"/>
              <a:gd name="connsiteX3" fmla="*/ 0 w 4161776"/>
              <a:gd name="connsiteY3" fmla="*/ 408775 h 770453"/>
              <a:gd name="connsiteX4" fmla="*/ 4161776 w 4161776"/>
              <a:gd name="connsiteY4" fmla="*/ 491814 h 770453"/>
              <a:gd name="connsiteX5" fmla="*/ 3157782 w 4161776"/>
              <a:gd name="connsiteY5" fmla="*/ 770453 h 770453"/>
              <a:gd name="connsiteX0" fmla="*/ 1007413 w 4161776"/>
              <a:gd name="connsiteY0" fmla="*/ 0 h 770453"/>
              <a:gd name="connsiteX1" fmla="*/ 1007413 w 4161776"/>
              <a:gd name="connsiteY1" fmla="*/ 0 h 770453"/>
              <a:gd name="connsiteX2" fmla="*/ 4157013 w 4161776"/>
              <a:gd name="connsiteY2" fmla="*/ 355600 h 770453"/>
              <a:gd name="connsiteX3" fmla="*/ 0 w 4161776"/>
              <a:gd name="connsiteY3" fmla="*/ 408775 h 770453"/>
              <a:gd name="connsiteX4" fmla="*/ 4161776 w 4161776"/>
              <a:gd name="connsiteY4" fmla="*/ 491814 h 770453"/>
              <a:gd name="connsiteX5" fmla="*/ 3157782 w 4161776"/>
              <a:gd name="connsiteY5" fmla="*/ 770453 h 770453"/>
              <a:gd name="connsiteX0" fmla="*/ 1007413 w 4161776"/>
              <a:gd name="connsiteY0" fmla="*/ 0 h 770453"/>
              <a:gd name="connsiteX1" fmla="*/ 1007413 w 4161776"/>
              <a:gd name="connsiteY1" fmla="*/ 0 h 770453"/>
              <a:gd name="connsiteX2" fmla="*/ 4157013 w 4161776"/>
              <a:gd name="connsiteY2" fmla="*/ 355600 h 770453"/>
              <a:gd name="connsiteX3" fmla="*/ 0 w 4161776"/>
              <a:gd name="connsiteY3" fmla="*/ 408775 h 770453"/>
              <a:gd name="connsiteX4" fmla="*/ 4161776 w 4161776"/>
              <a:gd name="connsiteY4" fmla="*/ 491814 h 770453"/>
              <a:gd name="connsiteX5" fmla="*/ 3157782 w 4161776"/>
              <a:gd name="connsiteY5" fmla="*/ 770453 h 770453"/>
              <a:gd name="connsiteX0" fmla="*/ 1007413 w 4161776"/>
              <a:gd name="connsiteY0" fmla="*/ 0 h 770453"/>
              <a:gd name="connsiteX1" fmla="*/ 1007413 w 4161776"/>
              <a:gd name="connsiteY1" fmla="*/ 0 h 770453"/>
              <a:gd name="connsiteX2" fmla="*/ 4157013 w 4161776"/>
              <a:gd name="connsiteY2" fmla="*/ 355600 h 770453"/>
              <a:gd name="connsiteX3" fmla="*/ 0 w 4161776"/>
              <a:gd name="connsiteY3" fmla="*/ 408775 h 770453"/>
              <a:gd name="connsiteX4" fmla="*/ 4161776 w 4161776"/>
              <a:gd name="connsiteY4" fmla="*/ 491814 h 770453"/>
              <a:gd name="connsiteX5" fmla="*/ 3157782 w 4161776"/>
              <a:gd name="connsiteY5" fmla="*/ 770453 h 770453"/>
              <a:gd name="connsiteX0" fmla="*/ 0 w 3154363"/>
              <a:gd name="connsiteY0" fmla="*/ 805 h 771258"/>
              <a:gd name="connsiteX1" fmla="*/ 0 w 3154363"/>
              <a:gd name="connsiteY1" fmla="*/ 805 h 771258"/>
              <a:gd name="connsiteX2" fmla="*/ 3149600 w 3154363"/>
              <a:gd name="connsiteY2" fmla="*/ 356405 h 771258"/>
              <a:gd name="connsiteX3" fmla="*/ 3149600 w 3154363"/>
              <a:gd name="connsiteY3" fmla="*/ 369105 h 771258"/>
              <a:gd name="connsiteX4" fmla="*/ 3154363 w 3154363"/>
              <a:gd name="connsiteY4" fmla="*/ 492619 h 771258"/>
              <a:gd name="connsiteX5" fmla="*/ 2150369 w 3154363"/>
              <a:gd name="connsiteY5" fmla="*/ 771258 h 771258"/>
              <a:gd name="connsiteX0" fmla="*/ 0 w 3154363"/>
              <a:gd name="connsiteY0" fmla="*/ 10797 h 781250"/>
              <a:gd name="connsiteX1" fmla="*/ 0 w 3154363"/>
              <a:gd name="connsiteY1" fmla="*/ 10797 h 781250"/>
              <a:gd name="connsiteX2" fmla="*/ 3149600 w 3154363"/>
              <a:gd name="connsiteY2" fmla="*/ 366397 h 781250"/>
              <a:gd name="connsiteX3" fmla="*/ 3149600 w 3154363"/>
              <a:gd name="connsiteY3" fmla="*/ 379097 h 781250"/>
              <a:gd name="connsiteX4" fmla="*/ 3154363 w 3154363"/>
              <a:gd name="connsiteY4" fmla="*/ 502611 h 781250"/>
              <a:gd name="connsiteX5" fmla="*/ 2150369 w 3154363"/>
              <a:gd name="connsiteY5" fmla="*/ 781250 h 781250"/>
              <a:gd name="connsiteX0" fmla="*/ 0 w 3154363"/>
              <a:gd name="connsiteY0" fmla="*/ 0 h 836356"/>
              <a:gd name="connsiteX1" fmla="*/ 0 w 3154363"/>
              <a:gd name="connsiteY1" fmla="*/ 0 h 836356"/>
              <a:gd name="connsiteX2" fmla="*/ 3149600 w 3154363"/>
              <a:gd name="connsiteY2" fmla="*/ 355600 h 836356"/>
              <a:gd name="connsiteX3" fmla="*/ 3149600 w 3154363"/>
              <a:gd name="connsiteY3" fmla="*/ 368300 h 836356"/>
              <a:gd name="connsiteX4" fmla="*/ 3154363 w 3154363"/>
              <a:gd name="connsiteY4" fmla="*/ 491814 h 836356"/>
              <a:gd name="connsiteX5" fmla="*/ 2150369 w 3154363"/>
              <a:gd name="connsiteY5" fmla="*/ 770453 h 836356"/>
              <a:gd name="connsiteX0" fmla="*/ 1003300 w 4152900"/>
              <a:gd name="connsiteY0" fmla="*/ 0 h 772102"/>
              <a:gd name="connsiteX1" fmla="*/ 1003300 w 4152900"/>
              <a:gd name="connsiteY1" fmla="*/ 0 h 772102"/>
              <a:gd name="connsiteX2" fmla="*/ 4152900 w 4152900"/>
              <a:gd name="connsiteY2" fmla="*/ 355600 h 772102"/>
              <a:gd name="connsiteX3" fmla="*/ 4152900 w 4152900"/>
              <a:gd name="connsiteY3" fmla="*/ 368300 h 772102"/>
              <a:gd name="connsiteX4" fmla="*/ 0 w 4152900"/>
              <a:gd name="connsiteY4" fmla="*/ 279399 h 772102"/>
              <a:gd name="connsiteX5" fmla="*/ 3153669 w 4152900"/>
              <a:gd name="connsiteY5" fmla="*/ 770453 h 772102"/>
              <a:gd name="connsiteX0" fmla="*/ 1003300 w 4152900"/>
              <a:gd name="connsiteY0" fmla="*/ 0 h 772102"/>
              <a:gd name="connsiteX1" fmla="*/ 1003300 w 4152900"/>
              <a:gd name="connsiteY1" fmla="*/ 0 h 772102"/>
              <a:gd name="connsiteX2" fmla="*/ 4152900 w 4152900"/>
              <a:gd name="connsiteY2" fmla="*/ 355600 h 772102"/>
              <a:gd name="connsiteX3" fmla="*/ 4152900 w 4152900"/>
              <a:gd name="connsiteY3" fmla="*/ 368300 h 772102"/>
              <a:gd name="connsiteX4" fmla="*/ 0 w 4152900"/>
              <a:gd name="connsiteY4" fmla="*/ 279399 h 772102"/>
              <a:gd name="connsiteX5" fmla="*/ 3153669 w 4152900"/>
              <a:gd name="connsiteY5" fmla="*/ 770453 h 772102"/>
              <a:gd name="connsiteX0" fmla="*/ 1003300 w 4152900"/>
              <a:gd name="connsiteY0" fmla="*/ 0 h 772102"/>
              <a:gd name="connsiteX1" fmla="*/ 1003300 w 4152900"/>
              <a:gd name="connsiteY1" fmla="*/ 0 h 772102"/>
              <a:gd name="connsiteX2" fmla="*/ 4152900 w 4152900"/>
              <a:gd name="connsiteY2" fmla="*/ 355600 h 772102"/>
              <a:gd name="connsiteX3" fmla="*/ 4152900 w 4152900"/>
              <a:gd name="connsiteY3" fmla="*/ 368300 h 772102"/>
              <a:gd name="connsiteX4" fmla="*/ 0 w 4152900"/>
              <a:gd name="connsiteY4" fmla="*/ 279399 h 772102"/>
              <a:gd name="connsiteX5" fmla="*/ 3153669 w 4152900"/>
              <a:gd name="connsiteY5" fmla="*/ 770453 h 772102"/>
              <a:gd name="connsiteX0" fmla="*/ 1003300 w 4152900"/>
              <a:gd name="connsiteY0" fmla="*/ 1 h 772103"/>
              <a:gd name="connsiteX1" fmla="*/ 1003300 w 4152900"/>
              <a:gd name="connsiteY1" fmla="*/ 1 h 772103"/>
              <a:gd name="connsiteX2" fmla="*/ 4152900 w 4152900"/>
              <a:gd name="connsiteY2" fmla="*/ 355601 h 772103"/>
              <a:gd name="connsiteX3" fmla="*/ 4152900 w 4152900"/>
              <a:gd name="connsiteY3" fmla="*/ 368301 h 772103"/>
              <a:gd name="connsiteX4" fmla="*/ 0 w 4152900"/>
              <a:gd name="connsiteY4" fmla="*/ 279400 h 772103"/>
              <a:gd name="connsiteX5" fmla="*/ 1003300 w 4152900"/>
              <a:gd name="connsiteY5" fmla="*/ 0 h 7721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52900" h="772103">
                <a:moveTo>
                  <a:pt x="1003300" y="1"/>
                </a:moveTo>
                <a:cubicBezTo>
                  <a:pt x="1003300" y="1"/>
                  <a:pt x="1003300" y="1"/>
                  <a:pt x="1003300" y="1"/>
                </a:cubicBezTo>
                <a:cubicBezTo>
                  <a:pt x="1117600" y="76201"/>
                  <a:pt x="2679700" y="977901"/>
                  <a:pt x="4152900" y="355601"/>
                </a:cubicBezTo>
                <a:cubicBezTo>
                  <a:pt x="4152900" y="355601"/>
                  <a:pt x="4152900" y="355601"/>
                  <a:pt x="4152900" y="368301"/>
                </a:cubicBezTo>
                <a:cubicBezTo>
                  <a:pt x="4152900" y="368301"/>
                  <a:pt x="2057400" y="1333501"/>
                  <a:pt x="0" y="279400"/>
                </a:cubicBezTo>
                <a:cubicBezTo>
                  <a:pt x="0" y="279400"/>
                  <a:pt x="0" y="279400"/>
                  <a:pt x="1003300" y="0"/>
                </a:cubicBezTo>
                <a:close/>
              </a:path>
            </a:pathLst>
          </a:custGeom>
          <a:gradFill flip="none" rotWithShape="1">
            <a:gsLst>
              <a:gs pos="0">
                <a:schemeClr val="accent1">
                  <a:lumMod val="60000"/>
                </a:schemeClr>
              </a:gs>
              <a:gs pos="100000">
                <a:schemeClr val="accent1">
                  <a:lumMod val="20000"/>
                </a:schemeClr>
              </a:gs>
            </a:gsLst>
            <a:path path="circle">
              <a:fillToRect r="100000" b="100000"/>
            </a:path>
            <a:tileRect l="-100000" t="-100000"/>
          </a:gradFill>
          <a:ln w="6350">
            <a:gradFill>
              <a:gsLst>
                <a:gs pos="0">
                  <a:schemeClr val="accent1">
                    <a:lumMod val="0"/>
                    <a:lumOff val="100000"/>
                    <a:alpha val="70000"/>
                  </a:schemeClr>
                </a:gs>
                <a:gs pos="100000">
                  <a:schemeClr val="accent1">
                    <a:lumMod val="0"/>
                    <a:lumOff val="100000"/>
                    <a:alpha val="7000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solidFill>
                <a:srgbClr val="FFFFFF"/>
              </a:solidFill>
              <a:latin typeface="Arial"/>
            </a:endParaRPr>
          </a:p>
        </p:txBody>
      </p:sp>
      <p:sp>
        <p:nvSpPr>
          <p:cNvPr id="24" name="任意多边形: 形状 23">
            <a:extLst>
              <a:ext uri="{FF2B5EF4-FFF2-40B4-BE49-F238E27FC236}">
                <a16:creationId xmlns:a16="http://schemas.microsoft.com/office/drawing/2014/main" id="{8F9E3F1D-84B9-1B38-FBAC-27D76E62B38A}"/>
              </a:ext>
            </a:extLst>
          </p:cNvPr>
          <p:cNvSpPr>
            <a:spLocks/>
          </p:cNvSpPr>
          <p:nvPr/>
        </p:nvSpPr>
        <p:spPr bwMode="auto">
          <a:xfrm rot="10800000">
            <a:off x="3907488" y="3822380"/>
            <a:ext cx="1198627" cy="940187"/>
          </a:xfrm>
          <a:custGeom>
            <a:avLst/>
            <a:gdLst>
              <a:gd name="connsiteX0" fmla="*/ 1847 w 1198627"/>
              <a:gd name="connsiteY0" fmla="*/ 940187 h 940187"/>
              <a:gd name="connsiteX1" fmla="*/ 0 w 1198627"/>
              <a:gd name="connsiteY1" fmla="*/ 940187 h 940187"/>
              <a:gd name="connsiteX2" fmla="*/ 192076 w 1198627"/>
              <a:gd name="connsiteY2" fmla="*/ 278916 h 940187"/>
              <a:gd name="connsiteX3" fmla="*/ 193923 w 1198627"/>
              <a:gd name="connsiteY3" fmla="*/ 278916 h 940187"/>
              <a:gd name="connsiteX4" fmla="*/ 1198627 w 1198627"/>
              <a:gd name="connsiteY4" fmla="*/ 0 h 940187"/>
              <a:gd name="connsiteX5" fmla="*/ 825557 w 1198627"/>
              <a:gd name="connsiteY5" fmla="*/ 692672 h 940187"/>
              <a:gd name="connsiteX6" fmla="*/ 1847 w 1198627"/>
              <a:gd name="connsiteY6" fmla="*/ 940187 h 940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98627" h="940187">
                <a:moveTo>
                  <a:pt x="1847" y="940187"/>
                </a:moveTo>
                <a:cubicBezTo>
                  <a:pt x="0" y="940187"/>
                  <a:pt x="0" y="940187"/>
                  <a:pt x="0" y="940187"/>
                </a:cubicBezTo>
                <a:cubicBezTo>
                  <a:pt x="0" y="940187"/>
                  <a:pt x="0" y="940187"/>
                  <a:pt x="192076" y="278916"/>
                </a:cubicBezTo>
                <a:cubicBezTo>
                  <a:pt x="192076" y="278916"/>
                  <a:pt x="192076" y="278916"/>
                  <a:pt x="193923" y="278916"/>
                </a:cubicBezTo>
                <a:lnTo>
                  <a:pt x="1198627" y="0"/>
                </a:lnTo>
                <a:cubicBezTo>
                  <a:pt x="1198627" y="0"/>
                  <a:pt x="1198627" y="0"/>
                  <a:pt x="825557" y="692672"/>
                </a:cubicBezTo>
                <a:cubicBezTo>
                  <a:pt x="825557" y="692672"/>
                  <a:pt x="825557" y="692672"/>
                  <a:pt x="1847" y="940187"/>
                </a:cubicBezTo>
                <a:close/>
              </a:path>
            </a:pathLst>
          </a:custGeom>
          <a:gradFill flip="none" rotWithShape="1">
            <a:gsLst>
              <a:gs pos="100000">
                <a:schemeClr val="accent1">
                  <a:lumMod val="100000"/>
                </a:schemeClr>
              </a:gs>
              <a:gs pos="0">
                <a:schemeClr val="accent1">
                  <a:lumMod val="55000"/>
                  <a:lumOff val="45000"/>
                </a:schemeClr>
              </a:gs>
            </a:gsLst>
            <a:lin ang="2700000" scaled="1"/>
            <a:tileRect/>
          </a:gradFill>
          <a:ln w="6350">
            <a:gradFill>
              <a:gsLst>
                <a:gs pos="0">
                  <a:schemeClr val="accent1">
                    <a:lumMod val="0"/>
                    <a:lumOff val="100000"/>
                    <a:alpha val="70000"/>
                  </a:schemeClr>
                </a:gs>
                <a:gs pos="100000">
                  <a:schemeClr val="accent1">
                    <a:lumMod val="0"/>
                    <a:lumOff val="100000"/>
                    <a:alpha val="70000"/>
                  </a:schemeClr>
                </a:gs>
              </a:gsLst>
              <a:lin ang="5400000" scaled="1"/>
            </a:gradFill>
          </a:ln>
          <a:effectLst/>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485899" tIns="63500" rIns="1485901" bIns="63500" numCol="1" spcCol="1270" anchor="ctr" anchorCtr="0">
            <a:noAutofit/>
          </a:bodyPr>
          <a:lstStyle/>
          <a:p>
            <a:pPr algn="ctr" defTabSz="2222500">
              <a:lnSpc>
                <a:spcPct val="90000"/>
              </a:lnSpc>
              <a:spcBef>
                <a:spcPct val="0"/>
              </a:spcBef>
              <a:spcAft>
                <a:spcPct val="35000"/>
              </a:spcAft>
            </a:pPr>
            <a:endParaRPr lang="en-US" sz="3200">
              <a:solidFill>
                <a:prstClr val="white"/>
              </a:solidFill>
              <a:latin typeface="等线" panose="020F0502020204030204"/>
              <a:ea typeface="等线" panose="02010600030101010101" pitchFamily="2" charset="-122"/>
            </a:endParaRPr>
          </a:p>
        </p:txBody>
      </p:sp>
      <p:sp>
        <p:nvSpPr>
          <p:cNvPr id="28" name="任意多边形: 形状 27">
            <a:extLst>
              <a:ext uri="{FF2B5EF4-FFF2-40B4-BE49-F238E27FC236}">
                <a16:creationId xmlns:a16="http://schemas.microsoft.com/office/drawing/2014/main" id="{0E0DEC37-CED0-B26B-A272-379AEB3845A8}"/>
              </a:ext>
            </a:extLst>
          </p:cNvPr>
          <p:cNvSpPr>
            <a:spLocks/>
          </p:cNvSpPr>
          <p:nvPr/>
        </p:nvSpPr>
        <p:spPr bwMode="auto">
          <a:xfrm>
            <a:off x="4914900" y="3822700"/>
            <a:ext cx="3149600" cy="1233726"/>
          </a:xfrm>
          <a:custGeom>
            <a:avLst/>
            <a:gdLst>
              <a:gd name="connsiteX0" fmla="*/ 2958473 w 3150294"/>
              <a:gd name="connsiteY0" fmla="*/ 1234156 h 1234156"/>
              <a:gd name="connsiteX1" fmla="*/ 365198 w 3150294"/>
              <a:gd name="connsiteY1" fmla="*/ 867015 h 1234156"/>
              <a:gd name="connsiteX2" fmla="*/ 0 w 3150294"/>
              <a:gd name="connsiteY2" fmla="*/ 219445 h 1234156"/>
              <a:gd name="connsiteX3" fmla="*/ 3150294 w 3150294"/>
              <a:gd name="connsiteY3" fmla="*/ 573672 h 1234156"/>
              <a:gd name="connsiteX4" fmla="*/ 2958473 w 3150294"/>
              <a:gd name="connsiteY4" fmla="*/ 1234156 h 1234156"/>
              <a:gd name="connsiteX0" fmla="*/ 190888 w 3150294"/>
              <a:gd name="connsiteY0" fmla="*/ 322 h 1234156"/>
              <a:gd name="connsiteX1" fmla="*/ 365198 w 3150294"/>
              <a:gd name="connsiteY1" fmla="*/ 867015 h 1234156"/>
              <a:gd name="connsiteX2" fmla="*/ 0 w 3150294"/>
              <a:gd name="connsiteY2" fmla="*/ 219445 h 1234156"/>
              <a:gd name="connsiteX3" fmla="*/ 3150294 w 3150294"/>
              <a:gd name="connsiteY3" fmla="*/ 573672 h 1234156"/>
              <a:gd name="connsiteX4" fmla="*/ 2958473 w 3150294"/>
              <a:gd name="connsiteY4" fmla="*/ 1234156 h 1234156"/>
              <a:gd name="connsiteX0" fmla="*/ 190888 w 3150294"/>
              <a:gd name="connsiteY0" fmla="*/ 322 h 1234156"/>
              <a:gd name="connsiteX1" fmla="*/ 365198 w 3150294"/>
              <a:gd name="connsiteY1" fmla="*/ 867015 h 1234156"/>
              <a:gd name="connsiteX2" fmla="*/ 0 w 3150294"/>
              <a:gd name="connsiteY2" fmla="*/ 219445 h 1234156"/>
              <a:gd name="connsiteX3" fmla="*/ 3150294 w 3150294"/>
              <a:gd name="connsiteY3" fmla="*/ 573672 h 1234156"/>
              <a:gd name="connsiteX4" fmla="*/ 2958473 w 3150294"/>
              <a:gd name="connsiteY4" fmla="*/ 1234156 h 1234156"/>
              <a:gd name="connsiteX0" fmla="*/ 190888 w 3150294"/>
              <a:gd name="connsiteY0" fmla="*/ 322 h 1234156"/>
              <a:gd name="connsiteX1" fmla="*/ 365198 w 3150294"/>
              <a:gd name="connsiteY1" fmla="*/ 867015 h 1234156"/>
              <a:gd name="connsiteX2" fmla="*/ 0 w 3150294"/>
              <a:gd name="connsiteY2" fmla="*/ 219445 h 1234156"/>
              <a:gd name="connsiteX3" fmla="*/ 3150294 w 3150294"/>
              <a:gd name="connsiteY3" fmla="*/ 573672 h 1234156"/>
              <a:gd name="connsiteX4" fmla="*/ 2958473 w 3150294"/>
              <a:gd name="connsiteY4" fmla="*/ 1234156 h 1234156"/>
              <a:gd name="connsiteX0" fmla="*/ 190888 w 3150294"/>
              <a:gd name="connsiteY0" fmla="*/ 322 h 1234156"/>
              <a:gd name="connsiteX1" fmla="*/ 2781688 w 3150294"/>
              <a:gd name="connsiteY1" fmla="*/ 368622 h 1234156"/>
              <a:gd name="connsiteX2" fmla="*/ 0 w 3150294"/>
              <a:gd name="connsiteY2" fmla="*/ 219445 h 1234156"/>
              <a:gd name="connsiteX3" fmla="*/ 3150294 w 3150294"/>
              <a:gd name="connsiteY3" fmla="*/ 573672 h 1234156"/>
              <a:gd name="connsiteX4" fmla="*/ 2958473 w 3150294"/>
              <a:gd name="connsiteY4" fmla="*/ 1234156 h 1234156"/>
              <a:gd name="connsiteX0" fmla="*/ 190888 w 3150294"/>
              <a:gd name="connsiteY0" fmla="*/ 322 h 1234156"/>
              <a:gd name="connsiteX1" fmla="*/ 2781688 w 3150294"/>
              <a:gd name="connsiteY1" fmla="*/ 368622 h 1234156"/>
              <a:gd name="connsiteX2" fmla="*/ 0 w 3150294"/>
              <a:gd name="connsiteY2" fmla="*/ 219445 h 1234156"/>
              <a:gd name="connsiteX3" fmla="*/ 3150294 w 3150294"/>
              <a:gd name="connsiteY3" fmla="*/ 573672 h 1234156"/>
              <a:gd name="connsiteX4" fmla="*/ 2958473 w 3150294"/>
              <a:gd name="connsiteY4" fmla="*/ 1234156 h 1234156"/>
              <a:gd name="connsiteX0" fmla="*/ 190888 w 3150294"/>
              <a:gd name="connsiteY0" fmla="*/ 322 h 1234156"/>
              <a:gd name="connsiteX1" fmla="*/ 2781688 w 3150294"/>
              <a:gd name="connsiteY1" fmla="*/ 368622 h 1234156"/>
              <a:gd name="connsiteX2" fmla="*/ 0 w 3150294"/>
              <a:gd name="connsiteY2" fmla="*/ 219445 h 1234156"/>
              <a:gd name="connsiteX3" fmla="*/ 3150294 w 3150294"/>
              <a:gd name="connsiteY3" fmla="*/ 573672 h 1234156"/>
              <a:gd name="connsiteX4" fmla="*/ 2958473 w 3150294"/>
              <a:gd name="connsiteY4" fmla="*/ 1234156 h 1234156"/>
              <a:gd name="connsiteX0" fmla="*/ 0 w 2959406"/>
              <a:gd name="connsiteY0" fmla="*/ 0 h 1233834"/>
              <a:gd name="connsiteX1" fmla="*/ 2590800 w 2959406"/>
              <a:gd name="connsiteY1" fmla="*/ 368300 h 1233834"/>
              <a:gd name="connsiteX2" fmla="*/ 2959100 w 2959406"/>
              <a:gd name="connsiteY2" fmla="*/ 1016000 h 1233834"/>
              <a:gd name="connsiteX3" fmla="*/ 2959406 w 2959406"/>
              <a:gd name="connsiteY3" fmla="*/ 573350 h 1233834"/>
              <a:gd name="connsiteX4" fmla="*/ 2767585 w 2959406"/>
              <a:gd name="connsiteY4" fmla="*/ 1233834 h 1233834"/>
              <a:gd name="connsiteX0" fmla="*/ 0 w 2959406"/>
              <a:gd name="connsiteY0" fmla="*/ 0 h 1233834"/>
              <a:gd name="connsiteX1" fmla="*/ 2590800 w 2959406"/>
              <a:gd name="connsiteY1" fmla="*/ 368300 h 1233834"/>
              <a:gd name="connsiteX2" fmla="*/ 2959100 w 2959406"/>
              <a:gd name="connsiteY2" fmla="*/ 1016000 h 1233834"/>
              <a:gd name="connsiteX3" fmla="*/ 2959406 w 2959406"/>
              <a:gd name="connsiteY3" fmla="*/ 573350 h 1233834"/>
              <a:gd name="connsiteX4" fmla="*/ 2767585 w 2959406"/>
              <a:gd name="connsiteY4" fmla="*/ 1233834 h 1233834"/>
              <a:gd name="connsiteX0" fmla="*/ 0 w 2959406"/>
              <a:gd name="connsiteY0" fmla="*/ 0 h 1233834"/>
              <a:gd name="connsiteX1" fmla="*/ 2590800 w 2959406"/>
              <a:gd name="connsiteY1" fmla="*/ 368300 h 1233834"/>
              <a:gd name="connsiteX2" fmla="*/ 2959100 w 2959406"/>
              <a:gd name="connsiteY2" fmla="*/ 1016000 h 1233834"/>
              <a:gd name="connsiteX3" fmla="*/ 2959406 w 2959406"/>
              <a:gd name="connsiteY3" fmla="*/ 573350 h 1233834"/>
              <a:gd name="connsiteX4" fmla="*/ 2767585 w 2959406"/>
              <a:gd name="connsiteY4" fmla="*/ 1233834 h 1233834"/>
              <a:gd name="connsiteX0" fmla="*/ 190500 w 3149600"/>
              <a:gd name="connsiteY0" fmla="*/ 0 h 1233834"/>
              <a:gd name="connsiteX1" fmla="*/ 2781300 w 3149600"/>
              <a:gd name="connsiteY1" fmla="*/ 368300 h 1233834"/>
              <a:gd name="connsiteX2" fmla="*/ 3149600 w 3149600"/>
              <a:gd name="connsiteY2" fmla="*/ 1016000 h 1233834"/>
              <a:gd name="connsiteX3" fmla="*/ 0 w 3149600"/>
              <a:gd name="connsiteY3" fmla="*/ 660400 h 1233834"/>
              <a:gd name="connsiteX4" fmla="*/ 2958085 w 3149600"/>
              <a:gd name="connsiteY4" fmla="*/ 1233834 h 1233834"/>
              <a:gd name="connsiteX0" fmla="*/ 190500 w 3149600"/>
              <a:gd name="connsiteY0" fmla="*/ 0 h 1233834"/>
              <a:gd name="connsiteX1" fmla="*/ 2781300 w 3149600"/>
              <a:gd name="connsiteY1" fmla="*/ 368300 h 1233834"/>
              <a:gd name="connsiteX2" fmla="*/ 3149600 w 3149600"/>
              <a:gd name="connsiteY2" fmla="*/ 1016000 h 1233834"/>
              <a:gd name="connsiteX3" fmla="*/ 0 w 3149600"/>
              <a:gd name="connsiteY3" fmla="*/ 660400 h 1233834"/>
              <a:gd name="connsiteX4" fmla="*/ 2958085 w 3149600"/>
              <a:gd name="connsiteY4" fmla="*/ 1233834 h 1233834"/>
              <a:gd name="connsiteX0" fmla="*/ 190500 w 3149600"/>
              <a:gd name="connsiteY0" fmla="*/ 0 h 1233834"/>
              <a:gd name="connsiteX1" fmla="*/ 2781300 w 3149600"/>
              <a:gd name="connsiteY1" fmla="*/ 368300 h 1233834"/>
              <a:gd name="connsiteX2" fmla="*/ 3149600 w 3149600"/>
              <a:gd name="connsiteY2" fmla="*/ 1016000 h 1233834"/>
              <a:gd name="connsiteX3" fmla="*/ 0 w 3149600"/>
              <a:gd name="connsiteY3" fmla="*/ 660400 h 1233834"/>
              <a:gd name="connsiteX4" fmla="*/ 2958085 w 3149600"/>
              <a:gd name="connsiteY4" fmla="*/ 1233834 h 1233834"/>
              <a:gd name="connsiteX0" fmla="*/ 190500 w 3149600"/>
              <a:gd name="connsiteY0" fmla="*/ 0 h 1233726"/>
              <a:gd name="connsiteX1" fmla="*/ 2781300 w 3149600"/>
              <a:gd name="connsiteY1" fmla="*/ 368300 h 1233726"/>
              <a:gd name="connsiteX2" fmla="*/ 3149600 w 3149600"/>
              <a:gd name="connsiteY2" fmla="*/ 1016000 h 1233726"/>
              <a:gd name="connsiteX3" fmla="*/ 0 w 3149600"/>
              <a:gd name="connsiteY3" fmla="*/ 660400 h 1233726"/>
              <a:gd name="connsiteX4" fmla="*/ 190500 w 3149600"/>
              <a:gd name="connsiteY4" fmla="*/ 0 h 12337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49600" h="1233726">
                <a:moveTo>
                  <a:pt x="190500" y="0"/>
                </a:moveTo>
                <a:cubicBezTo>
                  <a:pt x="1574800" y="800100"/>
                  <a:pt x="2641600" y="431800"/>
                  <a:pt x="2781300" y="368300"/>
                </a:cubicBezTo>
                <a:cubicBezTo>
                  <a:pt x="2781300" y="368300"/>
                  <a:pt x="2781300" y="368300"/>
                  <a:pt x="3149600" y="1016000"/>
                </a:cubicBezTo>
                <a:cubicBezTo>
                  <a:pt x="1676400" y="1638300"/>
                  <a:pt x="114300" y="736600"/>
                  <a:pt x="0" y="660400"/>
                </a:cubicBezTo>
                <a:cubicBezTo>
                  <a:pt x="0" y="660400"/>
                  <a:pt x="0" y="660400"/>
                  <a:pt x="190500" y="0"/>
                </a:cubicBezTo>
                <a:close/>
              </a:path>
            </a:pathLst>
          </a:custGeom>
          <a:gradFill flip="none" rotWithShape="1">
            <a:gsLst>
              <a:gs pos="0">
                <a:schemeClr val="accent1">
                  <a:lumMod val="75000"/>
                  <a:lumOff val="25000"/>
                </a:schemeClr>
              </a:gs>
              <a:gs pos="100000">
                <a:schemeClr val="accent1">
                  <a:lumMod val="80000"/>
                </a:schemeClr>
              </a:gs>
            </a:gsLst>
            <a:path path="circle">
              <a:fillToRect r="100000" b="100000"/>
            </a:path>
            <a:tileRect l="-100000" t="-100000"/>
          </a:gradFill>
          <a:ln w="6350">
            <a:gradFill>
              <a:gsLst>
                <a:gs pos="0">
                  <a:schemeClr val="accent1">
                    <a:lumMod val="0"/>
                    <a:lumOff val="100000"/>
                    <a:alpha val="70000"/>
                  </a:schemeClr>
                </a:gs>
                <a:gs pos="100000">
                  <a:schemeClr val="accent1">
                    <a:lumMod val="0"/>
                    <a:lumOff val="100000"/>
                    <a:alpha val="7000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solidFill>
                <a:srgbClr val="FFFFFF"/>
              </a:solidFill>
              <a:latin typeface="Arial"/>
            </a:endParaRPr>
          </a:p>
        </p:txBody>
      </p:sp>
    </p:spTree>
    <p:extLst>
      <p:ext uri="{BB962C8B-B14F-4D97-AF65-F5344CB8AC3E}">
        <p14:creationId xmlns:p14="http://schemas.microsoft.com/office/powerpoint/2010/main" val="3267937010"/>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5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任意多边形: 形状 38">
            <a:extLst>
              <a:ext uri="{FF2B5EF4-FFF2-40B4-BE49-F238E27FC236}">
                <a16:creationId xmlns:a16="http://schemas.microsoft.com/office/drawing/2014/main" id="{949AD490-DC6A-1DBE-F83A-E07A4EC40D9D}"/>
              </a:ext>
            </a:extLst>
          </p:cNvPr>
          <p:cNvSpPr>
            <a:spLocks/>
          </p:cNvSpPr>
          <p:nvPr/>
        </p:nvSpPr>
        <p:spPr bwMode="auto">
          <a:xfrm>
            <a:off x="4340025" y="3544750"/>
            <a:ext cx="3568081" cy="962817"/>
          </a:xfrm>
          <a:custGeom>
            <a:avLst/>
            <a:gdLst>
              <a:gd name="connsiteX0" fmla="*/ 1868231 w 3568081"/>
              <a:gd name="connsiteY0" fmla="*/ 0 h 962817"/>
              <a:gd name="connsiteX1" fmla="*/ 3568081 w 3568081"/>
              <a:gd name="connsiteY1" fmla="*/ 438152 h 962817"/>
              <a:gd name="connsiteX2" fmla="*/ 1868231 w 3568081"/>
              <a:gd name="connsiteY2" fmla="*/ 962817 h 962817"/>
              <a:gd name="connsiteX3" fmla="*/ 0 w 3568081"/>
              <a:gd name="connsiteY3" fmla="*/ 373964 h 962817"/>
            </a:gdLst>
            <a:ahLst/>
            <a:cxnLst>
              <a:cxn ang="0">
                <a:pos x="connsiteX0" y="connsiteY0"/>
              </a:cxn>
              <a:cxn ang="0">
                <a:pos x="connsiteX1" y="connsiteY1"/>
              </a:cxn>
              <a:cxn ang="0">
                <a:pos x="connsiteX2" y="connsiteY2"/>
              </a:cxn>
              <a:cxn ang="0">
                <a:pos x="connsiteX3" y="connsiteY3"/>
              </a:cxn>
            </a:cxnLst>
            <a:rect l="l" t="t" r="r" b="b"/>
            <a:pathLst>
              <a:path w="3568081" h="962817">
                <a:moveTo>
                  <a:pt x="1868231" y="0"/>
                </a:moveTo>
                <a:lnTo>
                  <a:pt x="3568081" y="438152"/>
                </a:lnTo>
                <a:lnTo>
                  <a:pt x="1868231" y="962817"/>
                </a:lnTo>
                <a:lnTo>
                  <a:pt x="0" y="373964"/>
                </a:lnTo>
                <a:close/>
              </a:path>
            </a:pathLst>
          </a:custGeom>
          <a:gradFill flip="none" rotWithShape="1">
            <a:gsLst>
              <a:gs pos="0">
                <a:schemeClr val="accent1">
                  <a:lumMod val="80000"/>
                </a:schemeClr>
              </a:gs>
              <a:gs pos="100000">
                <a:schemeClr val="accent1">
                  <a:lumMod val="40000"/>
                </a:schemeClr>
              </a:gs>
            </a:gsLst>
            <a:path path="circle">
              <a:fillToRect r="100000" b="100000"/>
            </a:path>
            <a:tileRect l="-100000" t="-10000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solidFill>
                <a:srgbClr val="FFFFFF"/>
              </a:solidFill>
              <a:latin typeface="Arial"/>
            </a:endParaRPr>
          </a:p>
        </p:txBody>
      </p:sp>
      <p:sp>
        <p:nvSpPr>
          <p:cNvPr id="29" name="任意多边形: 形状 28">
            <a:extLst>
              <a:ext uri="{FF2B5EF4-FFF2-40B4-BE49-F238E27FC236}">
                <a16:creationId xmlns:a16="http://schemas.microsoft.com/office/drawing/2014/main" id="{825E9282-7910-08F1-998F-CD0DDC220681}"/>
              </a:ext>
            </a:extLst>
          </p:cNvPr>
          <p:cNvSpPr>
            <a:spLocks/>
          </p:cNvSpPr>
          <p:nvPr/>
        </p:nvSpPr>
        <p:spPr bwMode="auto">
          <a:xfrm>
            <a:off x="3781426" y="3905042"/>
            <a:ext cx="2426829" cy="1677254"/>
          </a:xfrm>
          <a:custGeom>
            <a:avLst/>
            <a:gdLst>
              <a:gd name="connsiteX0" fmla="*/ 558598 w 2426829"/>
              <a:gd name="connsiteY0" fmla="*/ 0 h 1677254"/>
              <a:gd name="connsiteX1" fmla="*/ 2426829 w 2426829"/>
              <a:gd name="connsiteY1" fmla="*/ 588853 h 1677254"/>
              <a:gd name="connsiteX2" fmla="*/ 2426829 w 2426829"/>
              <a:gd name="connsiteY2" fmla="*/ 1677254 h 1677254"/>
              <a:gd name="connsiteX3" fmla="*/ 0 w 2426829"/>
              <a:gd name="connsiteY3" fmla="*/ 820487 h 1677254"/>
            </a:gdLst>
            <a:ahLst/>
            <a:cxnLst>
              <a:cxn ang="0">
                <a:pos x="connsiteX0" y="connsiteY0"/>
              </a:cxn>
              <a:cxn ang="0">
                <a:pos x="connsiteX1" y="connsiteY1"/>
              </a:cxn>
              <a:cxn ang="0">
                <a:pos x="connsiteX2" y="connsiteY2"/>
              </a:cxn>
              <a:cxn ang="0">
                <a:pos x="connsiteX3" y="connsiteY3"/>
              </a:cxn>
            </a:cxnLst>
            <a:rect l="l" t="t" r="r" b="b"/>
            <a:pathLst>
              <a:path w="2426829" h="1677254">
                <a:moveTo>
                  <a:pt x="558598" y="0"/>
                </a:moveTo>
                <a:lnTo>
                  <a:pt x="2426829" y="588853"/>
                </a:lnTo>
                <a:lnTo>
                  <a:pt x="2426829" y="1677254"/>
                </a:lnTo>
                <a:lnTo>
                  <a:pt x="0" y="820487"/>
                </a:lnTo>
                <a:close/>
              </a:path>
            </a:pathLst>
          </a:custGeom>
          <a:gradFill flip="none" rotWithShape="1">
            <a:gsLst>
              <a:gs pos="100000">
                <a:schemeClr val="accent1">
                  <a:lumMod val="100000"/>
                </a:schemeClr>
              </a:gs>
              <a:gs pos="0">
                <a:schemeClr val="accent1">
                  <a:lumMod val="55000"/>
                  <a:lumOff val="45000"/>
                </a:schemeClr>
              </a:gs>
            </a:gsLst>
            <a:lin ang="2700000" scaled="1"/>
            <a:tileRect/>
          </a:gradFill>
          <a:ln w="6350">
            <a:gradFill>
              <a:gsLst>
                <a:gs pos="0">
                  <a:schemeClr val="accent1">
                    <a:lumMod val="0"/>
                    <a:lumOff val="100000"/>
                    <a:alpha val="70000"/>
                  </a:schemeClr>
                </a:gs>
                <a:gs pos="100000">
                  <a:schemeClr val="accent1">
                    <a:lumMod val="0"/>
                    <a:lumOff val="100000"/>
                    <a:alpha val="70000"/>
                  </a:schemeClr>
                </a:gs>
              </a:gsLst>
              <a:lin ang="5400000" scaled="1"/>
            </a:gradFill>
          </a:ln>
          <a:effectLst/>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485899" tIns="63500" rIns="1485901" bIns="63500" numCol="1" spcCol="1270" anchor="ctr" anchorCtr="0">
            <a:noAutofit/>
          </a:bodyPr>
          <a:lstStyle/>
          <a:p>
            <a:pPr algn="ctr" defTabSz="2222500">
              <a:lnSpc>
                <a:spcPct val="90000"/>
              </a:lnSpc>
              <a:spcBef>
                <a:spcPct val="0"/>
              </a:spcBef>
              <a:spcAft>
                <a:spcPct val="35000"/>
              </a:spcAft>
            </a:pPr>
            <a:endParaRPr lang="en-US" sz="3200" dirty="0">
              <a:solidFill>
                <a:prstClr val="white"/>
              </a:solidFill>
              <a:latin typeface="等线" panose="020F0502020204030204"/>
              <a:ea typeface="等线" panose="02010600030101010101" pitchFamily="2" charset="-122"/>
            </a:endParaRPr>
          </a:p>
        </p:txBody>
      </p:sp>
      <p:sp>
        <p:nvSpPr>
          <p:cNvPr id="37" name="任意多边形: 形状 36">
            <a:extLst>
              <a:ext uri="{FF2B5EF4-FFF2-40B4-BE49-F238E27FC236}">
                <a16:creationId xmlns:a16="http://schemas.microsoft.com/office/drawing/2014/main" id="{FC18AA8B-103B-DFEF-FE41-3C9D37F5A207}"/>
              </a:ext>
            </a:extLst>
          </p:cNvPr>
          <p:cNvSpPr>
            <a:spLocks/>
          </p:cNvSpPr>
          <p:nvPr/>
        </p:nvSpPr>
        <p:spPr bwMode="auto">
          <a:xfrm>
            <a:off x="6208255" y="3969230"/>
            <a:ext cx="2202321" cy="1613065"/>
          </a:xfrm>
          <a:custGeom>
            <a:avLst/>
            <a:gdLst>
              <a:gd name="connsiteX0" fmla="*/ 1699850 w 2202321"/>
              <a:gd name="connsiteY0" fmla="*/ 0 h 1613065"/>
              <a:gd name="connsiteX1" fmla="*/ 2202321 w 2202321"/>
              <a:gd name="connsiteY1" fmla="*/ 831650 h 1613065"/>
              <a:gd name="connsiteX2" fmla="*/ 0 w 2202321"/>
              <a:gd name="connsiteY2" fmla="*/ 1613065 h 1613065"/>
              <a:gd name="connsiteX3" fmla="*/ 0 w 2202321"/>
              <a:gd name="connsiteY3" fmla="*/ 524665 h 1613065"/>
            </a:gdLst>
            <a:ahLst/>
            <a:cxnLst>
              <a:cxn ang="0">
                <a:pos x="connsiteX0" y="connsiteY0"/>
              </a:cxn>
              <a:cxn ang="0">
                <a:pos x="connsiteX1" y="connsiteY1"/>
              </a:cxn>
              <a:cxn ang="0">
                <a:pos x="connsiteX2" y="connsiteY2"/>
              </a:cxn>
              <a:cxn ang="0">
                <a:pos x="connsiteX3" y="connsiteY3"/>
              </a:cxn>
            </a:cxnLst>
            <a:rect l="l" t="t" r="r" b="b"/>
            <a:pathLst>
              <a:path w="2202321" h="1613065">
                <a:moveTo>
                  <a:pt x="1699850" y="0"/>
                </a:moveTo>
                <a:lnTo>
                  <a:pt x="2202321" y="831650"/>
                </a:lnTo>
                <a:lnTo>
                  <a:pt x="0" y="1613065"/>
                </a:lnTo>
                <a:lnTo>
                  <a:pt x="0" y="524665"/>
                </a:lnTo>
                <a:close/>
              </a:path>
            </a:pathLst>
          </a:custGeom>
          <a:gradFill flip="none" rotWithShape="1">
            <a:gsLst>
              <a:gs pos="0">
                <a:schemeClr val="accent1">
                  <a:lumMod val="75000"/>
                  <a:lumOff val="25000"/>
                </a:schemeClr>
              </a:gs>
              <a:gs pos="100000">
                <a:schemeClr val="accent1">
                  <a:lumMod val="80000"/>
                </a:schemeClr>
              </a:gs>
            </a:gsLst>
            <a:path path="circle">
              <a:fillToRect r="100000" b="100000"/>
            </a:path>
            <a:tileRect l="-100000" t="-100000"/>
          </a:gradFill>
          <a:ln w="6350">
            <a:gradFill>
              <a:gsLst>
                <a:gs pos="0">
                  <a:schemeClr val="accent1">
                    <a:lumMod val="0"/>
                    <a:lumOff val="100000"/>
                    <a:alpha val="70000"/>
                  </a:schemeClr>
                </a:gs>
                <a:gs pos="100000">
                  <a:schemeClr val="accent1">
                    <a:lumMod val="0"/>
                    <a:lumOff val="100000"/>
                    <a:alpha val="7000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solidFill>
                <a:srgbClr val="FFFFFF"/>
              </a:solidFill>
              <a:latin typeface="Arial"/>
            </a:endParaRPr>
          </a:p>
        </p:txBody>
      </p:sp>
      <p:sp>
        <p:nvSpPr>
          <p:cNvPr id="35" name="任意多边形: 形状 34">
            <a:extLst>
              <a:ext uri="{FF2B5EF4-FFF2-40B4-BE49-F238E27FC236}">
                <a16:creationId xmlns:a16="http://schemas.microsoft.com/office/drawing/2014/main" id="{BD314257-EE4C-907C-9500-BA3F48C6A338}"/>
              </a:ext>
            </a:extLst>
          </p:cNvPr>
          <p:cNvSpPr>
            <a:spLocks/>
          </p:cNvSpPr>
          <p:nvPr/>
        </p:nvSpPr>
        <p:spPr bwMode="auto">
          <a:xfrm>
            <a:off x="4895949" y="2824731"/>
            <a:ext cx="2539084" cy="720019"/>
          </a:xfrm>
          <a:custGeom>
            <a:avLst/>
            <a:gdLst>
              <a:gd name="connsiteX0" fmla="*/ 1312306 w 2539084"/>
              <a:gd name="connsiteY0" fmla="*/ 0 h 720019"/>
              <a:gd name="connsiteX1" fmla="*/ 2528393 w 2539084"/>
              <a:gd name="connsiteY1" fmla="*/ 371173 h 720019"/>
              <a:gd name="connsiteX2" fmla="*/ 2539084 w 2539084"/>
              <a:gd name="connsiteY2" fmla="*/ 382336 h 720019"/>
              <a:gd name="connsiteX3" fmla="*/ 1312306 w 2539084"/>
              <a:gd name="connsiteY3" fmla="*/ 720019 h 720019"/>
              <a:gd name="connsiteX4" fmla="*/ 0 w 2539084"/>
              <a:gd name="connsiteY4" fmla="*/ 284659 h 7200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39084" h="720019">
                <a:moveTo>
                  <a:pt x="1312306" y="0"/>
                </a:moveTo>
                <a:lnTo>
                  <a:pt x="2528393" y="371173"/>
                </a:lnTo>
                <a:lnTo>
                  <a:pt x="2539084" y="382336"/>
                </a:lnTo>
                <a:lnTo>
                  <a:pt x="1312306" y="720019"/>
                </a:lnTo>
                <a:lnTo>
                  <a:pt x="0" y="284659"/>
                </a:lnTo>
                <a:close/>
              </a:path>
            </a:pathLst>
          </a:custGeom>
          <a:gradFill flip="none" rotWithShape="1">
            <a:gsLst>
              <a:gs pos="0">
                <a:schemeClr val="accent1">
                  <a:lumMod val="100000"/>
                </a:schemeClr>
              </a:gs>
              <a:gs pos="100000">
                <a:schemeClr val="accent1">
                  <a:lumMod val="60000"/>
                </a:schemeClr>
              </a:gs>
            </a:gsLst>
            <a:path path="circle">
              <a:fillToRect r="100000" b="100000"/>
            </a:path>
            <a:tileRect l="-100000" t="-10000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solidFill>
                <a:srgbClr val="FFFFFF"/>
              </a:solidFill>
              <a:latin typeface="Arial"/>
            </a:endParaRPr>
          </a:p>
        </p:txBody>
      </p:sp>
      <p:sp>
        <p:nvSpPr>
          <p:cNvPr id="19" name="任意多边形: 形状 18">
            <a:extLst>
              <a:ext uri="{FF2B5EF4-FFF2-40B4-BE49-F238E27FC236}">
                <a16:creationId xmlns:a16="http://schemas.microsoft.com/office/drawing/2014/main" id="{C6316FE3-E50F-DE69-8582-9A37D3BB2F98}"/>
              </a:ext>
            </a:extLst>
          </p:cNvPr>
          <p:cNvSpPr>
            <a:spLocks/>
          </p:cNvSpPr>
          <p:nvPr/>
        </p:nvSpPr>
        <p:spPr bwMode="auto">
          <a:xfrm>
            <a:off x="6208254" y="3207065"/>
            <a:ext cx="1600960" cy="1107936"/>
          </a:xfrm>
          <a:custGeom>
            <a:avLst/>
            <a:gdLst>
              <a:gd name="connsiteX0" fmla="*/ 1226779 w 1600960"/>
              <a:gd name="connsiteY0" fmla="*/ 0 h 1107936"/>
              <a:gd name="connsiteX1" fmla="*/ 1600960 w 1600960"/>
              <a:gd name="connsiteY1" fmla="*/ 613970 h 1107936"/>
              <a:gd name="connsiteX2" fmla="*/ 0 w 1600960"/>
              <a:gd name="connsiteY2" fmla="*/ 1107936 h 1107936"/>
              <a:gd name="connsiteX3" fmla="*/ 0 w 1600960"/>
              <a:gd name="connsiteY3" fmla="*/ 337683 h 1107936"/>
            </a:gdLst>
            <a:ahLst/>
            <a:cxnLst>
              <a:cxn ang="0">
                <a:pos x="connsiteX0" y="connsiteY0"/>
              </a:cxn>
              <a:cxn ang="0">
                <a:pos x="connsiteX1" y="connsiteY1"/>
              </a:cxn>
              <a:cxn ang="0">
                <a:pos x="connsiteX2" y="connsiteY2"/>
              </a:cxn>
              <a:cxn ang="0">
                <a:pos x="connsiteX3" y="connsiteY3"/>
              </a:cxn>
            </a:cxnLst>
            <a:rect l="l" t="t" r="r" b="b"/>
            <a:pathLst>
              <a:path w="1600960" h="1107936">
                <a:moveTo>
                  <a:pt x="1226779" y="0"/>
                </a:moveTo>
                <a:lnTo>
                  <a:pt x="1600960" y="613970"/>
                </a:lnTo>
                <a:lnTo>
                  <a:pt x="0" y="1107936"/>
                </a:lnTo>
                <a:lnTo>
                  <a:pt x="0" y="337683"/>
                </a:lnTo>
                <a:close/>
              </a:path>
            </a:pathLst>
          </a:custGeom>
          <a:gradFill flip="none" rotWithShape="1">
            <a:gsLst>
              <a:gs pos="0">
                <a:schemeClr val="accent1">
                  <a:lumMod val="55000"/>
                  <a:lumOff val="45000"/>
                </a:schemeClr>
              </a:gs>
              <a:gs pos="100000">
                <a:schemeClr val="accent1">
                  <a:lumMod val="90000"/>
                </a:schemeClr>
              </a:gs>
            </a:gsLst>
            <a:path path="circle">
              <a:fillToRect r="100000" b="100000"/>
            </a:path>
            <a:tileRect l="-100000" t="-100000"/>
          </a:gradFill>
          <a:ln w="6350">
            <a:gradFill>
              <a:gsLst>
                <a:gs pos="0">
                  <a:schemeClr val="accent1">
                    <a:lumMod val="0"/>
                    <a:lumOff val="100000"/>
                    <a:alpha val="70000"/>
                  </a:schemeClr>
                </a:gs>
                <a:gs pos="100000">
                  <a:schemeClr val="accent1">
                    <a:lumMod val="0"/>
                    <a:lumOff val="100000"/>
                    <a:alpha val="7000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solidFill>
                <a:srgbClr val="FFFFFF"/>
              </a:solidFill>
              <a:latin typeface="Arial"/>
            </a:endParaRPr>
          </a:p>
        </p:txBody>
      </p:sp>
      <p:sp>
        <p:nvSpPr>
          <p:cNvPr id="25" name="任意多边形: 形状 24">
            <a:extLst>
              <a:ext uri="{FF2B5EF4-FFF2-40B4-BE49-F238E27FC236}">
                <a16:creationId xmlns:a16="http://schemas.microsoft.com/office/drawing/2014/main" id="{EED9A839-CBF6-2312-D71F-9B5B21D87BD1}"/>
              </a:ext>
            </a:extLst>
          </p:cNvPr>
          <p:cNvSpPr>
            <a:spLocks/>
          </p:cNvSpPr>
          <p:nvPr/>
        </p:nvSpPr>
        <p:spPr bwMode="auto">
          <a:xfrm>
            <a:off x="4452278" y="3109389"/>
            <a:ext cx="1755978" cy="1205612"/>
          </a:xfrm>
          <a:custGeom>
            <a:avLst/>
            <a:gdLst>
              <a:gd name="connsiteX0" fmla="*/ 443672 w 1755978"/>
              <a:gd name="connsiteY0" fmla="*/ 0 h 1205612"/>
              <a:gd name="connsiteX1" fmla="*/ 1755978 w 1755978"/>
              <a:gd name="connsiteY1" fmla="*/ 435360 h 1205612"/>
              <a:gd name="connsiteX2" fmla="*/ 1755978 w 1755978"/>
              <a:gd name="connsiteY2" fmla="*/ 1205612 h 1205612"/>
              <a:gd name="connsiteX3" fmla="*/ 0 w 1755978"/>
              <a:gd name="connsiteY3" fmla="*/ 641877 h 1205612"/>
            </a:gdLst>
            <a:ahLst/>
            <a:cxnLst>
              <a:cxn ang="0">
                <a:pos x="connsiteX0" y="connsiteY0"/>
              </a:cxn>
              <a:cxn ang="0">
                <a:pos x="connsiteX1" y="connsiteY1"/>
              </a:cxn>
              <a:cxn ang="0">
                <a:pos x="connsiteX2" y="connsiteY2"/>
              </a:cxn>
              <a:cxn ang="0">
                <a:pos x="connsiteX3" y="connsiteY3"/>
              </a:cxn>
            </a:cxnLst>
            <a:rect l="l" t="t" r="r" b="b"/>
            <a:pathLst>
              <a:path w="1755978" h="1205612">
                <a:moveTo>
                  <a:pt x="443672" y="0"/>
                </a:moveTo>
                <a:lnTo>
                  <a:pt x="1755978" y="435360"/>
                </a:lnTo>
                <a:lnTo>
                  <a:pt x="1755978" y="1205612"/>
                </a:lnTo>
                <a:lnTo>
                  <a:pt x="0" y="641877"/>
                </a:lnTo>
                <a:close/>
              </a:path>
            </a:pathLst>
          </a:custGeom>
          <a:gradFill flip="none" rotWithShape="1">
            <a:gsLst>
              <a:gs pos="100000">
                <a:schemeClr val="accent1">
                  <a:lumMod val="80000"/>
                  <a:lumOff val="20000"/>
                </a:schemeClr>
              </a:gs>
              <a:gs pos="0">
                <a:schemeClr val="accent1">
                  <a:lumMod val="35000"/>
                  <a:lumOff val="65000"/>
                </a:schemeClr>
              </a:gs>
            </a:gsLst>
            <a:lin ang="2700000" scaled="1"/>
            <a:tileRect/>
          </a:gradFill>
          <a:ln w="6350">
            <a:gradFill>
              <a:gsLst>
                <a:gs pos="0">
                  <a:schemeClr val="accent1">
                    <a:lumMod val="0"/>
                    <a:lumOff val="100000"/>
                    <a:alpha val="70000"/>
                  </a:schemeClr>
                </a:gs>
                <a:gs pos="100000">
                  <a:schemeClr val="accent1">
                    <a:lumMod val="0"/>
                    <a:lumOff val="100000"/>
                    <a:alpha val="70000"/>
                  </a:schemeClr>
                </a:gs>
              </a:gsLst>
              <a:lin ang="5400000" scaled="1"/>
            </a:gradFill>
          </a:ln>
          <a:effectLst>
            <a:outerShdw blurRad="254000" dist="177800" dir="2700000" algn="tl" rotWithShape="0">
              <a:schemeClr val="accent1">
                <a:alpha val="20000"/>
              </a:schemeClr>
            </a:outerShdw>
          </a:effectLst>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485899" tIns="63500" rIns="1485901" bIns="63500" numCol="1" spcCol="1270" anchor="ctr" anchorCtr="0">
            <a:noAutofit/>
          </a:bodyPr>
          <a:lstStyle/>
          <a:p>
            <a:pPr algn="ctr" defTabSz="2222500">
              <a:lnSpc>
                <a:spcPct val="90000"/>
              </a:lnSpc>
              <a:spcBef>
                <a:spcPct val="0"/>
              </a:spcBef>
              <a:spcAft>
                <a:spcPct val="35000"/>
              </a:spcAft>
            </a:pPr>
            <a:endParaRPr lang="en-US" sz="3200">
              <a:solidFill>
                <a:prstClr val="white"/>
              </a:solidFill>
              <a:latin typeface="等线" panose="020F0502020204030204"/>
              <a:ea typeface="等线" panose="02010600030101010101" pitchFamily="2" charset="-122"/>
            </a:endParaRPr>
          </a:p>
        </p:txBody>
      </p:sp>
      <p:sp>
        <p:nvSpPr>
          <p:cNvPr id="21" name="任意多边形: 形状 20">
            <a:extLst>
              <a:ext uri="{FF2B5EF4-FFF2-40B4-BE49-F238E27FC236}">
                <a16:creationId xmlns:a16="http://schemas.microsoft.com/office/drawing/2014/main" id="{06D15E6F-D6F5-B696-AD45-E1E1DFE8DA26}"/>
              </a:ext>
            </a:extLst>
          </p:cNvPr>
          <p:cNvSpPr>
            <a:spLocks/>
          </p:cNvSpPr>
          <p:nvPr/>
        </p:nvSpPr>
        <p:spPr bwMode="auto">
          <a:xfrm>
            <a:off x="5288840" y="2152154"/>
            <a:ext cx="1788050" cy="672576"/>
          </a:xfrm>
          <a:custGeom>
            <a:avLst/>
            <a:gdLst>
              <a:gd name="connsiteX0" fmla="*/ 919416 w 1788050"/>
              <a:gd name="connsiteY0" fmla="*/ 0 h 672576"/>
              <a:gd name="connsiteX1" fmla="*/ 1788050 w 1788050"/>
              <a:gd name="connsiteY1" fmla="*/ 466059 h 672576"/>
              <a:gd name="connsiteX2" fmla="*/ 919416 w 1788050"/>
              <a:gd name="connsiteY2" fmla="*/ 672576 h 672576"/>
              <a:gd name="connsiteX3" fmla="*/ 0 w 1788050"/>
              <a:gd name="connsiteY3" fmla="*/ 379545 h 672576"/>
            </a:gdLst>
            <a:ahLst/>
            <a:cxnLst>
              <a:cxn ang="0">
                <a:pos x="connsiteX0" y="connsiteY0"/>
              </a:cxn>
              <a:cxn ang="0">
                <a:pos x="connsiteX1" y="connsiteY1"/>
              </a:cxn>
              <a:cxn ang="0">
                <a:pos x="connsiteX2" y="connsiteY2"/>
              </a:cxn>
              <a:cxn ang="0">
                <a:pos x="connsiteX3" y="connsiteY3"/>
              </a:cxn>
            </a:cxnLst>
            <a:rect l="l" t="t" r="r" b="b"/>
            <a:pathLst>
              <a:path w="1788050" h="672576">
                <a:moveTo>
                  <a:pt x="919416" y="0"/>
                </a:moveTo>
                <a:lnTo>
                  <a:pt x="1788050" y="466059"/>
                </a:lnTo>
                <a:lnTo>
                  <a:pt x="919416" y="672576"/>
                </a:lnTo>
                <a:lnTo>
                  <a:pt x="0" y="379545"/>
                </a:lnTo>
                <a:close/>
              </a:path>
            </a:pathLst>
          </a:custGeom>
          <a:gradFill flip="none" rotWithShape="1">
            <a:gsLst>
              <a:gs pos="0">
                <a:schemeClr val="accent1">
                  <a:lumMod val="75000"/>
                  <a:lumOff val="25000"/>
                </a:schemeClr>
              </a:gs>
              <a:gs pos="100000">
                <a:schemeClr val="accent1">
                  <a:lumMod val="80000"/>
                </a:schemeClr>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solidFill>
                <a:srgbClr val="FFFFFF"/>
              </a:solidFill>
              <a:latin typeface="Arial"/>
            </a:endParaRPr>
          </a:p>
        </p:txBody>
      </p:sp>
      <p:sp>
        <p:nvSpPr>
          <p:cNvPr id="33" name="任意多边形: 形状 32">
            <a:extLst>
              <a:ext uri="{FF2B5EF4-FFF2-40B4-BE49-F238E27FC236}">
                <a16:creationId xmlns:a16="http://schemas.microsoft.com/office/drawing/2014/main" id="{DED4FCB4-AA9A-2A88-2EC1-8A66FCF7629C}"/>
              </a:ext>
            </a:extLst>
          </p:cNvPr>
          <p:cNvSpPr>
            <a:spLocks/>
          </p:cNvSpPr>
          <p:nvPr/>
        </p:nvSpPr>
        <p:spPr bwMode="auto">
          <a:xfrm>
            <a:off x="6208256" y="2618214"/>
            <a:ext cx="1135907" cy="736763"/>
          </a:xfrm>
          <a:custGeom>
            <a:avLst/>
            <a:gdLst>
              <a:gd name="connsiteX0" fmla="*/ 868635 w 1135907"/>
              <a:gd name="connsiteY0" fmla="*/ 0 h 736763"/>
              <a:gd name="connsiteX1" fmla="*/ 1135907 w 1135907"/>
              <a:gd name="connsiteY1" fmla="*/ 438151 h 736763"/>
              <a:gd name="connsiteX2" fmla="*/ 0 w 1135907"/>
              <a:gd name="connsiteY2" fmla="*/ 736763 h 736763"/>
              <a:gd name="connsiteX3" fmla="*/ 0 w 1135907"/>
              <a:gd name="connsiteY3" fmla="*/ 206517 h 736763"/>
            </a:gdLst>
            <a:ahLst/>
            <a:cxnLst>
              <a:cxn ang="0">
                <a:pos x="connsiteX0" y="connsiteY0"/>
              </a:cxn>
              <a:cxn ang="0">
                <a:pos x="connsiteX1" y="connsiteY1"/>
              </a:cxn>
              <a:cxn ang="0">
                <a:pos x="connsiteX2" y="connsiteY2"/>
              </a:cxn>
              <a:cxn ang="0">
                <a:pos x="connsiteX3" y="connsiteY3"/>
              </a:cxn>
            </a:cxnLst>
            <a:rect l="l" t="t" r="r" b="b"/>
            <a:pathLst>
              <a:path w="1135907" h="736763">
                <a:moveTo>
                  <a:pt x="868635" y="0"/>
                </a:moveTo>
                <a:lnTo>
                  <a:pt x="1135907" y="438151"/>
                </a:lnTo>
                <a:lnTo>
                  <a:pt x="0" y="736763"/>
                </a:lnTo>
                <a:lnTo>
                  <a:pt x="0" y="206517"/>
                </a:lnTo>
                <a:close/>
              </a:path>
            </a:pathLst>
          </a:custGeom>
          <a:gradFill flip="none" rotWithShape="1">
            <a:gsLst>
              <a:gs pos="0">
                <a:schemeClr val="accent1">
                  <a:lumMod val="35000"/>
                  <a:lumOff val="65000"/>
                </a:schemeClr>
              </a:gs>
              <a:gs pos="100000">
                <a:schemeClr val="accent1">
                  <a:lumMod val="100000"/>
                </a:schemeClr>
              </a:gs>
            </a:gsLst>
            <a:path path="circle">
              <a:fillToRect r="100000" b="100000"/>
            </a:path>
            <a:tileRect l="-100000" t="-100000"/>
          </a:gradFill>
          <a:ln w="6350">
            <a:gradFill>
              <a:gsLst>
                <a:gs pos="0">
                  <a:schemeClr val="accent1">
                    <a:lumMod val="0"/>
                    <a:lumOff val="100000"/>
                    <a:alpha val="70000"/>
                  </a:schemeClr>
                </a:gs>
                <a:gs pos="100000">
                  <a:schemeClr val="accent1">
                    <a:lumMod val="0"/>
                    <a:lumOff val="100000"/>
                    <a:alpha val="7000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solidFill>
                <a:srgbClr val="FFFFFF"/>
              </a:solidFill>
              <a:latin typeface="Arial"/>
            </a:endParaRPr>
          </a:p>
        </p:txBody>
      </p:sp>
      <p:sp>
        <p:nvSpPr>
          <p:cNvPr id="23" name="任意多边形: 形状 22">
            <a:extLst>
              <a:ext uri="{FF2B5EF4-FFF2-40B4-BE49-F238E27FC236}">
                <a16:creationId xmlns:a16="http://schemas.microsoft.com/office/drawing/2014/main" id="{7B475825-0423-2C25-A128-71F069317408}"/>
              </a:ext>
            </a:extLst>
          </p:cNvPr>
          <p:cNvSpPr>
            <a:spLocks/>
          </p:cNvSpPr>
          <p:nvPr/>
        </p:nvSpPr>
        <p:spPr bwMode="auto">
          <a:xfrm>
            <a:off x="4992169" y="2531698"/>
            <a:ext cx="1216088" cy="823278"/>
          </a:xfrm>
          <a:custGeom>
            <a:avLst/>
            <a:gdLst>
              <a:gd name="connsiteX0" fmla="*/ 296672 w 1216088"/>
              <a:gd name="connsiteY0" fmla="*/ 0 h 823278"/>
              <a:gd name="connsiteX1" fmla="*/ 1216088 w 1216088"/>
              <a:gd name="connsiteY1" fmla="*/ 293031 h 823278"/>
              <a:gd name="connsiteX2" fmla="*/ 1216088 w 1216088"/>
              <a:gd name="connsiteY2" fmla="*/ 823278 h 823278"/>
              <a:gd name="connsiteX3" fmla="*/ 0 w 1216088"/>
              <a:gd name="connsiteY3" fmla="*/ 432570 h 823278"/>
            </a:gdLst>
            <a:ahLst/>
            <a:cxnLst>
              <a:cxn ang="0">
                <a:pos x="connsiteX0" y="connsiteY0"/>
              </a:cxn>
              <a:cxn ang="0">
                <a:pos x="connsiteX1" y="connsiteY1"/>
              </a:cxn>
              <a:cxn ang="0">
                <a:pos x="connsiteX2" y="connsiteY2"/>
              </a:cxn>
              <a:cxn ang="0">
                <a:pos x="connsiteX3" y="connsiteY3"/>
              </a:cxn>
            </a:cxnLst>
            <a:rect l="l" t="t" r="r" b="b"/>
            <a:pathLst>
              <a:path w="1216088" h="823278">
                <a:moveTo>
                  <a:pt x="296672" y="0"/>
                </a:moveTo>
                <a:lnTo>
                  <a:pt x="1216088" y="293031"/>
                </a:lnTo>
                <a:lnTo>
                  <a:pt x="1216088" y="823278"/>
                </a:lnTo>
                <a:lnTo>
                  <a:pt x="0" y="432570"/>
                </a:lnTo>
                <a:close/>
              </a:path>
            </a:pathLst>
          </a:custGeom>
          <a:gradFill flip="none" rotWithShape="1">
            <a:gsLst>
              <a:gs pos="100000">
                <a:schemeClr val="accent1">
                  <a:lumMod val="65000"/>
                  <a:lumOff val="35000"/>
                </a:schemeClr>
              </a:gs>
              <a:gs pos="0">
                <a:schemeClr val="accent1">
                  <a:lumMod val="25000"/>
                  <a:lumOff val="75000"/>
                </a:schemeClr>
              </a:gs>
            </a:gsLst>
            <a:lin ang="2700000" scaled="1"/>
            <a:tileRect/>
          </a:gradFill>
          <a:ln w="6350">
            <a:gradFill>
              <a:gsLst>
                <a:gs pos="0">
                  <a:schemeClr val="accent1">
                    <a:lumMod val="0"/>
                    <a:lumOff val="100000"/>
                    <a:alpha val="70000"/>
                  </a:schemeClr>
                </a:gs>
                <a:gs pos="100000">
                  <a:schemeClr val="accent1">
                    <a:lumMod val="0"/>
                    <a:lumOff val="100000"/>
                    <a:alpha val="70000"/>
                  </a:schemeClr>
                </a:gs>
              </a:gsLst>
              <a:lin ang="5400000" scaled="1"/>
            </a:gradFill>
          </a:ln>
          <a:effectLst>
            <a:outerShdw blurRad="254000" dist="177800" dir="2700000" algn="tl" rotWithShape="0">
              <a:schemeClr val="accent1">
                <a:alpha val="20000"/>
              </a:schemeClr>
            </a:outerShdw>
          </a:effectLst>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485899" tIns="63500" rIns="1485901" bIns="63500" numCol="1" spcCol="1270" anchor="ctr" anchorCtr="0">
            <a:noAutofit/>
          </a:bodyPr>
          <a:lstStyle/>
          <a:p>
            <a:pPr algn="ctr" defTabSz="2222500">
              <a:lnSpc>
                <a:spcPct val="90000"/>
              </a:lnSpc>
              <a:spcBef>
                <a:spcPct val="0"/>
              </a:spcBef>
              <a:spcAft>
                <a:spcPct val="35000"/>
              </a:spcAft>
            </a:pPr>
            <a:endParaRPr lang="en-US" sz="3200">
              <a:solidFill>
                <a:prstClr val="white"/>
              </a:solidFill>
              <a:latin typeface="等线" panose="020F0502020204030204"/>
              <a:ea typeface="等线" panose="02010600030101010101" pitchFamily="2" charset="-122"/>
            </a:endParaRPr>
          </a:p>
        </p:txBody>
      </p:sp>
      <p:sp>
        <p:nvSpPr>
          <p:cNvPr id="31" name="任意多边形: 形状 30">
            <a:extLst>
              <a:ext uri="{FF2B5EF4-FFF2-40B4-BE49-F238E27FC236}">
                <a16:creationId xmlns:a16="http://schemas.microsoft.com/office/drawing/2014/main" id="{67A367C2-50B9-6EC6-935C-5D95B2318DC1}"/>
              </a:ext>
            </a:extLst>
          </p:cNvPr>
          <p:cNvSpPr>
            <a:spLocks/>
          </p:cNvSpPr>
          <p:nvPr/>
        </p:nvSpPr>
        <p:spPr bwMode="auto">
          <a:xfrm>
            <a:off x="6204514" y="1275705"/>
            <a:ext cx="736677" cy="1384685"/>
          </a:xfrm>
          <a:custGeom>
            <a:avLst/>
            <a:gdLst>
              <a:gd name="connsiteX0" fmla="*/ 0 w 736677"/>
              <a:gd name="connsiteY0" fmla="*/ 0 h 1384685"/>
              <a:gd name="connsiteX1" fmla="*/ 736677 w 736677"/>
              <a:gd name="connsiteY1" fmla="*/ 1210630 h 1384685"/>
              <a:gd name="connsiteX2" fmla="*/ 0 w 736677"/>
              <a:gd name="connsiteY2" fmla="*/ 1384685 h 1384685"/>
            </a:gdLst>
            <a:ahLst/>
            <a:cxnLst>
              <a:cxn ang="0">
                <a:pos x="connsiteX0" y="connsiteY0"/>
              </a:cxn>
              <a:cxn ang="0">
                <a:pos x="connsiteX1" y="connsiteY1"/>
              </a:cxn>
              <a:cxn ang="0">
                <a:pos x="connsiteX2" y="connsiteY2"/>
              </a:cxn>
            </a:cxnLst>
            <a:rect l="l" t="t" r="r" b="b"/>
            <a:pathLst>
              <a:path w="736677" h="1384685">
                <a:moveTo>
                  <a:pt x="0" y="0"/>
                </a:moveTo>
                <a:lnTo>
                  <a:pt x="736677" y="1210630"/>
                </a:lnTo>
                <a:lnTo>
                  <a:pt x="0" y="1384685"/>
                </a:lnTo>
                <a:close/>
              </a:path>
            </a:pathLst>
          </a:custGeom>
          <a:gradFill flip="none" rotWithShape="1">
            <a:gsLst>
              <a:gs pos="0">
                <a:schemeClr val="accent1">
                  <a:lumMod val="15000"/>
                  <a:lumOff val="85000"/>
                </a:schemeClr>
              </a:gs>
              <a:gs pos="100000">
                <a:schemeClr val="accent1">
                  <a:lumMod val="80000"/>
                  <a:lumOff val="20000"/>
                </a:schemeClr>
              </a:gs>
            </a:gsLst>
            <a:path path="circle">
              <a:fillToRect r="100000" b="100000"/>
            </a:path>
            <a:tileRect l="-100000" t="-100000"/>
          </a:gradFill>
          <a:ln w="6350">
            <a:gradFill>
              <a:gsLst>
                <a:gs pos="0">
                  <a:schemeClr val="accent1">
                    <a:lumMod val="0"/>
                    <a:lumOff val="100000"/>
                    <a:alpha val="70000"/>
                  </a:schemeClr>
                </a:gs>
                <a:gs pos="100000">
                  <a:schemeClr val="accent1">
                    <a:lumMod val="0"/>
                    <a:lumOff val="100000"/>
                    <a:alpha val="7000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solidFill>
                <a:srgbClr val="FFFFFF"/>
              </a:solidFill>
              <a:latin typeface="Arial"/>
            </a:endParaRPr>
          </a:p>
        </p:txBody>
      </p:sp>
      <p:sp>
        <p:nvSpPr>
          <p:cNvPr id="27" name="任意多边形: 形状 26">
            <a:extLst>
              <a:ext uri="{FF2B5EF4-FFF2-40B4-BE49-F238E27FC236}">
                <a16:creationId xmlns:a16="http://schemas.microsoft.com/office/drawing/2014/main" id="{8C2FEEC1-0269-7736-814E-CEED542EBF7A}"/>
              </a:ext>
            </a:extLst>
          </p:cNvPr>
          <p:cNvSpPr>
            <a:spLocks/>
          </p:cNvSpPr>
          <p:nvPr/>
        </p:nvSpPr>
        <p:spPr bwMode="auto">
          <a:xfrm>
            <a:off x="5446090" y="1275705"/>
            <a:ext cx="758427" cy="1384685"/>
          </a:xfrm>
          <a:custGeom>
            <a:avLst/>
            <a:gdLst>
              <a:gd name="connsiteX0" fmla="*/ 758427 w 758427"/>
              <a:gd name="connsiteY0" fmla="*/ 0 h 1384685"/>
              <a:gd name="connsiteX1" fmla="*/ 758427 w 758427"/>
              <a:gd name="connsiteY1" fmla="*/ 1384685 h 1384685"/>
              <a:gd name="connsiteX2" fmla="*/ 0 w 758427"/>
              <a:gd name="connsiteY2" fmla="*/ 1100161 h 1384685"/>
            </a:gdLst>
            <a:ahLst/>
            <a:cxnLst>
              <a:cxn ang="0">
                <a:pos x="connsiteX0" y="connsiteY0"/>
              </a:cxn>
              <a:cxn ang="0">
                <a:pos x="connsiteX1" y="connsiteY1"/>
              </a:cxn>
              <a:cxn ang="0">
                <a:pos x="connsiteX2" y="connsiteY2"/>
              </a:cxn>
            </a:cxnLst>
            <a:rect l="l" t="t" r="r" b="b"/>
            <a:pathLst>
              <a:path w="758427" h="1384685">
                <a:moveTo>
                  <a:pt x="758427" y="0"/>
                </a:moveTo>
                <a:lnTo>
                  <a:pt x="758427" y="1384685"/>
                </a:lnTo>
                <a:lnTo>
                  <a:pt x="0" y="1100161"/>
                </a:lnTo>
                <a:close/>
              </a:path>
            </a:pathLst>
          </a:custGeom>
          <a:gradFill flip="none" rotWithShape="1">
            <a:gsLst>
              <a:gs pos="100000">
                <a:schemeClr val="accent1">
                  <a:lumMod val="50000"/>
                  <a:lumOff val="50000"/>
                </a:schemeClr>
              </a:gs>
              <a:gs pos="0">
                <a:schemeClr val="accent1">
                  <a:lumMod val="25000"/>
                  <a:lumOff val="75000"/>
                </a:schemeClr>
              </a:gs>
            </a:gsLst>
            <a:lin ang="2700000" scaled="1"/>
            <a:tileRect/>
          </a:gradFill>
          <a:ln w="6350">
            <a:gradFill>
              <a:gsLst>
                <a:gs pos="0">
                  <a:schemeClr val="accent1">
                    <a:lumMod val="0"/>
                    <a:lumOff val="100000"/>
                    <a:alpha val="70000"/>
                  </a:schemeClr>
                </a:gs>
                <a:gs pos="100000">
                  <a:schemeClr val="accent1">
                    <a:lumMod val="0"/>
                    <a:lumOff val="100000"/>
                    <a:alpha val="70000"/>
                  </a:schemeClr>
                </a:gs>
              </a:gsLst>
              <a:lin ang="5400000" scaled="1"/>
            </a:gradFill>
          </a:ln>
          <a:effectLst>
            <a:outerShdw blurRad="190500" dist="101600" dir="2700000" algn="tl" rotWithShape="0">
              <a:schemeClr val="accent1">
                <a:alpha val="12000"/>
              </a:schemeClr>
            </a:outerShdw>
          </a:effectLst>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485899" tIns="63500" rIns="1485901" bIns="63500" numCol="1" spcCol="1270" anchor="ctr" anchorCtr="0">
            <a:noAutofit/>
          </a:bodyPr>
          <a:lstStyle/>
          <a:p>
            <a:pPr algn="ctr" defTabSz="2222500">
              <a:lnSpc>
                <a:spcPct val="90000"/>
              </a:lnSpc>
              <a:spcBef>
                <a:spcPct val="0"/>
              </a:spcBef>
              <a:spcAft>
                <a:spcPct val="35000"/>
              </a:spcAft>
            </a:pPr>
            <a:endParaRPr lang="en-US" sz="3200">
              <a:solidFill>
                <a:prstClr val="white"/>
              </a:solidFill>
              <a:latin typeface="等线" panose="020F0502020204030204"/>
              <a:ea typeface="等线" panose="02010600030101010101" pitchFamily="2" charset="-122"/>
            </a:endParaRPr>
          </a:p>
        </p:txBody>
      </p:sp>
    </p:spTree>
    <p:extLst>
      <p:ext uri="{BB962C8B-B14F-4D97-AF65-F5344CB8AC3E}">
        <p14:creationId xmlns:p14="http://schemas.microsoft.com/office/powerpoint/2010/main" val="4043019988"/>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5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任意多边形: 形状 28">
            <a:extLst>
              <a:ext uri="{FF2B5EF4-FFF2-40B4-BE49-F238E27FC236}">
                <a16:creationId xmlns:a16="http://schemas.microsoft.com/office/drawing/2014/main" id="{625E4CE7-8AF2-C931-F602-44C0FF4F287A}"/>
              </a:ext>
            </a:extLst>
          </p:cNvPr>
          <p:cNvSpPr/>
          <p:nvPr/>
        </p:nvSpPr>
        <p:spPr>
          <a:xfrm rot="10800000">
            <a:off x="4009224" y="3648021"/>
            <a:ext cx="4173550" cy="1976623"/>
          </a:xfrm>
          <a:custGeom>
            <a:avLst/>
            <a:gdLst>
              <a:gd name="connsiteX0" fmla="*/ 2086775 w 4173550"/>
              <a:gd name="connsiteY0" fmla="*/ 1976623 h 1976623"/>
              <a:gd name="connsiteX1" fmla="*/ 0 w 4173550"/>
              <a:gd name="connsiteY1" fmla="*/ 1336836 h 1976623"/>
              <a:gd name="connsiteX2" fmla="*/ 2055823 w 4173550"/>
              <a:gd name="connsiteY2" fmla="*/ 0 h 1976623"/>
              <a:gd name="connsiteX3" fmla="*/ 4173550 w 4173550"/>
              <a:gd name="connsiteY3" fmla="*/ 1336836 h 1976623"/>
            </a:gdLst>
            <a:ahLst/>
            <a:cxnLst>
              <a:cxn ang="0">
                <a:pos x="connsiteX0" y="connsiteY0"/>
              </a:cxn>
              <a:cxn ang="0">
                <a:pos x="connsiteX1" y="connsiteY1"/>
              </a:cxn>
              <a:cxn ang="0">
                <a:pos x="connsiteX2" y="connsiteY2"/>
              </a:cxn>
              <a:cxn ang="0">
                <a:pos x="connsiteX3" y="connsiteY3"/>
              </a:cxn>
            </a:cxnLst>
            <a:rect l="l" t="t" r="r" b="b"/>
            <a:pathLst>
              <a:path w="4173550" h="1976623">
                <a:moveTo>
                  <a:pt x="2086775" y="1976623"/>
                </a:moveTo>
                <a:lnTo>
                  <a:pt x="0" y="1336836"/>
                </a:lnTo>
                <a:lnTo>
                  <a:pt x="2055823" y="0"/>
                </a:lnTo>
                <a:lnTo>
                  <a:pt x="4173550" y="1336836"/>
                </a:lnTo>
                <a:close/>
              </a:path>
            </a:pathLst>
          </a:custGeom>
          <a:gradFill flip="none" rotWithShape="1">
            <a:gsLst>
              <a:gs pos="0">
                <a:schemeClr val="accent1">
                  <a:lumMod val="80000"/>
                </a:schemeClr>
              </a:gs>
              <a:gs pos="60000">
                <a:schemeClr val="accent1">
                  <a:lumMod val="40000"/>
                </a:schemeClr>
              </a:gs>
            </a:gsLst>
            <a:path path="circle">
              <a:fillToRect l="100000" t="100000"/>
            </a:path>
            <a:tileRect r="-100000" b="-10000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solidFill>
                <a:srgbClr val="FFFFFF"/>
              </a:solidFill>
              <a:latin typeface="Arial"/>
            </a:endParaRPr>
          </a:p>
        </p:txBody>
      </p:sp>
      <p:sp>
        <p:nvSpPr>
          <p:cNvPr id="21" name="任意多边形: 形状 20">
            <a:extLst>
              <a:ext uri="{FF2B5EF4-FFF2-40B4-BE49-F238E27FC236}">
                <a16:creationId xmlns:a16="http://schemas.microsoft.com/office/drawing/2014/main" id="{7530715B-C4B3-E3C3-E8D1-63E577022F16}"/>
              </a:ext>
            </a:extLst>
          </p:cNvPr>
          <p:cNvSpPr/>
          <p:nvPr/>
        </p:nvSpPr>
        <p:spPr>
          <a:xfrm rot="10800000">
            <a:off x="4700403" y="2764663"/>
            <a:ext cx="2785032" cy="1538315"/>
          </a:xfrm>
          <a:custGeom>
            <a:avLst/>
            <a:gdLst>
              <a:gd name="connsiteX0" fmla="*/ 1389433 w 2785032"/>
              <a:gd name="connsiteY0" fmla="*/ 1538315 h 1538315"/>
              <a:gd name="connsiteX1" fmla="*/ 0 w 2785032"/>
              <a:gd name="connsiteY1" fmla="*/ 1113635 h 1538315"/>
              <a:gd name="connsiteX2" fmla="*/ 1364671 w 2785032"/>
              <a:gd name="connsiteY2" fmla="*/ 0 h 1538315"/>
              <a:gd name="connsiteX3" fmla="*/ 2785032 w 2785032"/>
              <a:gd name="connsiteY3" fmla="*/ 1107797 h 1538315"/>
            </a:gdLst>
            <a:ahLst/>
            <a:cxnLst>
              <a:cxn ang="0">
                <a:pos x="connsiteX0" y="connsiteY0"/>
              </a:cxn>
              <a:cxn ang="0">
                <a:pos x="connsiteX1" y="connsiteY1"/>
              </a:cxn>
              <a:cxn ang="0">
                <a:pos x="connsiteX2" y="connsiteY2"/>
              </a:cxn>
              <a:cxn ang="0">
                <a:pos x="connsiteX3" y="connsiteY3"/>
              </a:cxn>
            </a:cxnLst>
            <a:rect l="l" t="t" r="r" b="b"/>
            <a:pathLst>
              <a:path w="2785032" h="1538315">
                <a:moveTo>
                  <a:pt x="1389433" y="1538315"/>
                </a:moveTo>
                <a:lnTo>
                  <a:pt x="0" y="1113635"/>
                </a:lnTo>
                <a:lnTo>
                  <a:pt x="1364671" y="0"/>
                </a:lnTo>
                <a:lnTo>
                  <a:pt x="2785032" y="1107797"/>
                </a:lnTo>
                <a:close/>
              </a:path>
            </a:pathLst>
          </a:custGeom>
          <a:gradFill flip="none" rotWithShape="1">
            <a:gsLst>
              <a:gs pos="0">
                <a:schemeClr val="accent1">
                  <a:lumMod val="100000"/>
                </a:schemeClr>
              </a:gs>
              <a:gs pos="60000">
                <a:schemeClr val="accent1">
                  <a:lumMod val="60000"/>
                </a:schemeClr>
              </a:gs>
            </a:gsLst>
            <a:path path="circle">
              <a:fillToRect l="100000" t="100000"/>
            </a:path>
            <a:tileRect r="-100000" b="-10000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solidFill>
                <a:srgbClr val="FFFFFF"/>
              </a:solidFill>
              <a:latin typeface="Arial"/>
            </a:endParaRPr>
          </a:p>
        </p:txBody>
      </p:sp>
      <p:sp>
        <p:nvSpPr>
          <p:cNvPr id="15" name="任意多边形: 形状 14">
            <a:extLst>
              <a:ext uri="{FF2B5EF4-FFF2-40B4-BE49-F238E27FC236}">
                <a16:creationId xmlns:a16="http://schemas.microsoft.com/office/drawing/2014/main" id="{3A4E9FBD-4880-2C1F-1A93-485D8E9470C0}"/>
              </a:ext>
            </a:extLst>
          </p:cNvPr>
          <p:cNvSpPr/>
          <p:nvPr/>
        </p:nvSpPr>
        <p:spPr>
          <a:xfrm rot="10800000">
            <a:off x="5405549" y="1876310"/>
            <a:ext cx="1375550" cy="1190642"/>
          </a:xfrm>
          <a:custGeom>
            <a:avLst/>
            <a:gdLst>
              <a:gd name="connsiteX0" fmla="*/ 685099 w 1375550"/>
              <a:gd name="connsiteY0" fmla="*/ 1190642 h 1190642"/>
              <a:gd name="connsiteX1" fmla="*/ 0 w 1375550"/>
              <a:gd name="connsiteY1" fmla="*/ 981241 h 1190642"/>
              <a:gd name="connsiteX2" fmla="*/ 678909 w 1375550"/>
              <a:gd name="connsiteY2" fmla="*/ 0 h 1190642"/>
              <a:gd name="connsiteX3" fmla="*/ 1375550 w 1375550"/>
              <a:gd name="connsiteY3" fmla="*/ 982877 h 1190642"/>
            </a:gdLst>
            <a:ahLst/>
            <a:cxnLst>
              <a:cxn ang="0">
                <a:pos x="connsiteX0" y="connsiteY0"/>
              </a:cxn>
              <a:cxn ang="0">
                <a:pos x="connsiteX1" y="connsiteY1"/>
              </a:cxn>
              <a:cxn ang="0">
                <a:pos x="connsiteX2" y="connsiteY2"/>
              </a:cxn>
              <a:cxn ang="0">
                <a:pos x="connsiteX3" y="connsiteY3"/>
              </a:cxn>
            </a:cxnLst>
            <a:rect l="l" t="t" r="r" b="b"/>
            <a:pathLst>
              <a:path w="1375550" h="1190642">
                <a:moveTo>
                  <a:pt x="685099" y="1190642"/>
                </a:moveTo>
                <a:lnTo>
                  <a:pt x="0" y="981241"/>
                </a:lnTo>
                <a:lnTo>
                  <a:pt x="678909" y="0"/>
                </a:lnTo>
                <a:lnTo>
                  <a:pt x="1375550" y="982877"/>
                </a:lnTo>
                <a:close/>
              </a:path>
            </a:pathLst>
          </a:custGeom>
          <a:gradFill flip="none" rotWithShape="1">
            <a:gsLst>
              <a:gs pos="0">
                <a:schemeClr val="accent1">
                  <a:lumMod val="75000"/>
                  <a:lumOff val="25000"/>
                </a:schemeClr>
              </a:gs>
              <a:gs pos="58000">
                <a:schemeClr val="accent1">
                  <a:lumMod val="80000"/>
                </a:schemeClr>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solidFill>
                <a:srgbClr val="FFFFFF"/>
              </a:solidFill>
              <a:latin typeface="Arial"/>
            </a:endParaRPr>
          </a:p>
        </p:txBody>
      </p:sp>
      <p:sp>
        <p:nvSpPr>
          <p:cNvPr id="19" name="任意多边形: 形状 18">
            <a:extLst>
              <a:ext uri="{FF2B5EF4-FFF2-40B4-BE49-F238E27FC236}">
                <a16:creationId xmlns:a16="http://schemas.microsoft.com/office/drawing/2014/main" id="{1C1DD7DE-FDAD-7CCC-70A5-637105D99637}"/>
              </a:ext>
            </a:extLst>
          </p:cNvPr>
          <p:cNvSpPr/>
          <p:nvPr/>
        </p:nvSpPr>
        <p:spPr>
          <a:xfrm>
            <a:off x="3486150" y="4287806"/>
            <a:ext cx="5219700" cy="1579594"/>
          </a:xfrm>
          <a:custGeom>
            <a:avLst/>
            <a:gdLst>
              <a:gd name="connsiteX0" fmla="*/ 523075 w 5219700"/>
              <a:gd name="connsiteY0" fmla="*/ 0 h 1579594"/>
              <a:gd name="connsiteX1" fmla="*/ 2609850 w 5219700"/>
              <a:gd name="connsiteY1" fmla="*/ 602927 h 1579594"/>
              <a:gd name="connsiteX2" fmla="*/ 4696625 w 5219700"/>
              <a:gd name="connsiteY2" fmla="*/ 0 h 1579594"/>
              <a:gd name="connsiteX3" fmla="*/ 5219700 w 5219700"/>
              <a:gd name="connsiteY3" fmla="*/ 825536 h 1579594"/>
              <a:gd name="connsiteX4" fmla="*/ 2609850 w 5219700"/>
              <a:gd name="connsiteY4" fmla="*/ 1579594 h 1579594"/>
              <a:gd name="connsiteX5" fmla="*/ 0 w 5219700"/>
              <a:gd name="connsiteY5" fmla="*/ 825536 h 1579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219700" h="1579594">
                <a:moveTo>
                  <a:pt x="523075" y="0"/>
                </a:moveTo>
                <a:lnTo>
                  <a:pt x="2609850" y="602927"/>
                </a:lnTo>
                <a:lnTo>
                  <a:pt x="4696625" y="0"/>
                </a:lnTo>
                <a:lnTo>
                  <a:pt x="5219700" y="825536"/>
                </a:lnTo>
                <a:lnTo>
                  <a:pt x="2609850" y="1579594"/>
                </a:lnTo>
                <a:lnTo>
                  <a:pt x="0" y="825536"/>
                </a:lnTo>
                <a:close/>
              </a:path>
            </a:pathLst>
          </a:custGeom>
          <a:gradFill flip="none" rotWithShape="1">
            <a:gsLst>
              <a:gs pos="100000">
                <a:schemeClr val="accent1">
                  <a:lumMod val="100000"/>
                </a:schemeClr>
              </a:gs>
              <a:gs pos="0">
                <a:schemeClr val="accent1">
                  <a:lumMod val="55000"/>
                  <a:lumOff val="45000"/>
                </a:schemeClr>
              </a:gs>
            </a:gsLst>
            <a:lin ang="2700000" scaled="1"/>
            <a:tileRect/>
          </a:gradFill>
          <a:ln w="6350">
            <a:gradFill>
              <a:gsLst>
                <a:gs pos="0">
                  <a:schemeClr val="accent1">
                    <a:lumMod val="0"/>
                    <a:lumOff val="100000"/>
                    <a:alpha val="70000"/>
                  </a:schemeClr>
                </a:gs>
                <a:gs pos="100000">
                  <a:schemeClr val="accent1">
                    <a:lumMod val="0"/>
                    <a:lumOff val="100000"/>
                    <a:alpha val="70000"/>
                  </a:schemeClr>
                </a:gs>
              </a:gsLst>
              <a:lin ang="5400000" scaled="1"/>
            </a:gradFill>
          </a:ln>
          <a:effectLst/>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485899" tIns="63500" rIns="1485901" bIns="63500" numCol="1" spcCol="1270" anchor="ctr" anchorCtr="0">
            <a:noAutofit/>
          </a:bodyPr>
          <a:lstStyle/>
          <a:p>
            <a:pPr algn="ctr" defTabSz="2222500">
              <a:lnSpc>
                <a:spcPct val="90000"/>
              </a:lnSpc>
              <a:spcBef>
                <a:spcPct val="0"/>
              </a:spcBef>
              <a:spcAft>
                <a:spcPct val="35000"/>
              </a:spcAft>
            </a:pPr>
            <a:endParaRPr lang="en-US" sz="3200">
              <a:solidFill>
                <a:prstClr val="white"/>
              </a:solidFill>
              <a:latin typeface="等线" panose="020F0502020204030204"/>
              <a:ea typeface="等线" panose="02010600030101010101" pitchFamily="2" charset="-122"/>
            </a:endParaRPr>
          </a:p>
        </p:txBody>
      </p:sp>
      <p:sp>
        <p:nvSpPr>
          <p:cNvPr id="31" name="任意多边形: 形状 30">
            <a:extLst>
              <a:ext uri="{FF2B5EF4-FFF2-40B4-BE49-F238E27FC236}">
                <a16:creationId xmlns:a16="http://schemas.microsoft.com/office/drawing/2014/main" id="{90A25DCF-0D5E-BF8C-BD5B-DF0C9C0CADCE}"/>
              </a:ext>
            </a:extLst>
          </p:cNvPr>
          <p:cNvSpPr/>
          <p:nvPr/>
        </p:nvSpPr>
        <p:spPr>
          <a:xfrm>
            <a:off x="4193827" y="3195181"/>
            <a:ext cx="3804353" cy="1380899"/>
          </a:xfrm>
          <a:custGeom>
            <a:avLst/>
            <a:gdLst>
              <a:gd name="connsiteX0" fmla="*/ 506577 w 3804353"/>
              <a:gd name="connsiteY0" fmla="*/ 0 h 1380899"/>
              <a:gd name="connsiteX1" fmla="*/ 1902176 w 3804353"/>
              <a:gd name="connsiteY1" fmla="*/ 395414 h 1380899"/>
              <a:gd name="connsiteX2" fmla="*/ 3297775 w 3804353"/>
              <a:gd name="connsiteY2" fmla="*/ 0 h 1380899"/>
              <a:gd name="connsiteX3" fmla="*/ 3804353 w 3804353"/>
              <a:gd name="connsiteY3" fmla="*/ 799499 h 1380899"/>
              <a:gd name="connsiteX4" fmla="*/ 1902176 w 3804353"/>
              <a:gd name="connsiteY4" fmla="*/ 1380899 h 1380899"/>
              <a:gd name="connsiteX5" fmla="*/ 0 w 3804353"/>
              <a:gd name="connsiteY5" fmla="*/ 799499 h 13808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04353" h="1380899">
                <a:moveTo>
                  <a:pt x="506577" y="0"/>
                </a:moveTo>
                <a:lnTo>
                  <a:pt x="1902176" y="395414"/>
                </a:lnTo>
                <a:lnTo>
                  <a:pt x="3297775" y="0"/>
                </a:lnTo>
                <a:lnTo>
                  <a:pt x="3804353" y="799499"/>
                </a:lnTo>
                <a:lnTo>
                  <a:pt x="1902176" y="1380899"/>
                </a:lnTo>
                <a:lnTo>
                  <a:pt x="0" y="799499"/>
                </a:lnTo>
                <a:close/>
              </a:path>
            </a:pathLst>
          </a:custGeom>
          <a:gradFill flip="none" rotWithShape="1">
            <a:gsLst>
              <a:gs pos="100000">
                <a:schemeClr val="accent1">
                  <a:lumMod val="80000"/>
                  <a:lumOff val="20000"/>
                </a:schemeClr>
              </a:gs>
              <a:gs pos="0">
                <a:schemeClr val="accent1">
                  <a:lumMod val="35000"/>
                  <a:lumOff val="65000"/>
                </a:schemeClr>
              </a:gs>
            </a:gsLst>
            <a:lin ang="2700000" scaled="1"/>
            <a:tileRect/>
          </a:gradFill>
          <a:ln w="6350">
            <a:gradFill>
              <a:gsLst>
                <a:gs pos="0">
                  <a:schemeClr val="accent1">
                    <a:lumMod val="0"/>
                    <a:lumOff val="100000"/>
                    <a:alpha val="70000"/>
                  </a:schemeClr>
                </a:gs>
                <a:gs pos="100000">
                  <a:schemeClr val="accent1">
                    <a:lumMod val="0"/>
                    <a:lumOff val="100000"/>
                    <a:alpha val="70000"/>
                  </a:schemeClr>
                </a:gs>
              </a:gsLst>
              <a:lin ang="5400000" scaled="1"/>
            </a:gradFill>
          </a:ln>
          <a:effectLst>
            <a:outerShdw blurRad="254000" dist="177800" dir="2700000" algn="tl" rotWithShape="0">
              <a:schemeClr val="accent1">
                <a:alpha val="20000"/>
              </a:schemeClr>
            </a:outerShdw>
          </a:effectLst>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485899" tIns="63500" rIns="1485901" bIns="63500" numCol="1" spcCol="1270" anchor="ctr" anchorCtr="0">
            <a:noAutofit/>
          </a:bodyPr>
          <a:lstStyle/>
          <a:p>
            <a:pPr algn="ctr" defTabSz="2222500">
              <a:lnSpc>
                <a:spcPct val="90000"/>
              </a:lnSpc>
              <a:spcBef>
                <a:spcPct val="0"/>
              </a:spcBef>
              <a:spcAft>
                <a:spcPct val="35000"/>
              </a:spcAft>
            </a:pPr>
            <a:endParaRPr lang="en-US" sz="3200">
              <a:solidFill>
                <a:prstClr val="white"/>
              </a:solidFill>
              <a:latin typeface="等线" panose="020F0502020204030204"/>
              <a:ea typeface="等线" panose="02010600030101010101" pitchFamily="2" charset="-122"/>
            </a:endParaRPr>
          </a:p>
        </p:txBody>
      </p:sp>
      <p:sp>
        <p:nvSpPr>
          <p:cNvPr id="17" name="任意多边形: 形状 16">
            <a:extLst>
              <a:ext uri="{FF2B5EF4-FFF2-40B4-BE49-F238E27FC236}">
                <a16:creationId xmlns:a16="http://schemas.microsoft.com/office/drawing/2014/main" id="{45B0FEE2-AD60-26A0-1A52-174C5449B078}"/>
              </a:ext>
            </a:extLst>
          </p:cNvPr>
          <p:cNvSpPr/>
          <p:nvPr/>
        </p:nvSpPr>
        <p:spPr>
          <a:xfrm>
            <a:off x="5575561" y="990600"/>
            <a:ext cx="1040881" cy="980450"/>
          </a:xfrm>
          <a:custGeom>
            <a:avLst/>
            <a:gdLst>
              <a:gd name="connsiteX0" fmla="*/ 520441 w 1040881"/>
              <a:gd name="connsiteY0" fmla="*/ 0 h 980450"/>
              <a:gd name="connsiteX1" fmla="*/ 1040881 w 1040881"/>
              <a:gd name="connsiteY1" fmla="*/ 821377 h 980450"/>
              <a:gd name="connsiteX2" fmla="*/ 520441 w 1040881"/>
              <a:gd name="connsiteY2" fmla="*/ 980450 h 980450"/>
              <a:gd name="connsiteX3" fmla="*/ 0 w 1040881"/>
              <a:gd name="connsiteY3" fmla="*/ 821377 h 980450"/>
            </a:gdLst>
            <a:ahLst/>
            <a:cxnLst>
              <a:cxn ang="0">
                <a:pos x="connsiteX0" y="connsiteY0"/>
              </a:cxn>
              <a:cxn ang="0">
                <a:pos x="connsiteX1" y="connsiteY1"/>
              </a:cxn>
              <a:cxn ang="0">
                <a:pos x="connsiteX2" y="connsiteY2"/>
              </a:cxn>
              <a:cxn ang="0">
                <a:pos x="connsiteX3" y="connsiteY3"/>
              </a:cxn>
            </a:cxnLst>
            <a:rect l="l" t="t" r="r" b="b"/>
            <a:pathLst>
              <a:path w="1040881" h="980450">
                <a:moveTo>
                  <a:pt x="520441" y="0"/>
                </a:moveTo>
                <a:lnTo>
                  <a:pt x="1040881" y="821377"/>
                </a:lnTo>
                <a:lnTo>
                  <a:pt x="520441" y="980450"/>
                </a:lnTo>
                <a:lnTo>
                  <a:pt x="0" y="821377"/>
                </a:lnTo>
                <a:close/>
              </a:path>
            </a:pathLst>
          </a:custGeom>
          <a:gradFill flip="none" rotWithShape="1">
            <a:gsLst>
              <a:gs pos="100000">
                <a:schemeClr val="accent1">
                  <a:lumMod val="50000"/>
                  <a:lumOff val="50000"/>
                </a:schemeClr>
              </a:gs>
              <a:gs pos="0">
                <a:schemeClr val="accent1">
                  <a:lumMod val="25000"/>
                  <a:lumOff val="75000"/>
                </a:schemeClr>
              </a:gs>
            </a:gsLst>
            <a:lin ang="2700000" scaled="1"/>
            <a:tileRect/>
          </a:gradFill>
          <a:ln w="6350">
            <a:gradFill>
              <a:gsLst>
                <a:gs pos="0">
                  <a:schemeClr val="accent1">
                    <a:lumMod val="0"/>
                    <a:lumOff val="100000"/>
                    <a:alpha val="70000"/>
                  </a:schemeClr>
                </a:gs>
                <a:gs pos="100000">
                  <a:schemeClr val="accent1">
                    <a:lumMod val="0"/>
                    <a:lumOff val="100000"/>
                    <a:alpha val="70000"/>
                  </a:schemeClr>
                </a:gs>
              </a:gsLst>
              <a:lin ang="5400000" scaled="1"/>
            </a:gradFill>
          </a:ln>
          <a:effectLst>
            <a:outerShdw blurRad="190500" dist="101600" dir="2700000" algn="tl" rotWithShape="0">
              <a:schemeClr val="accent1">
                <a:alpha val="12000"/>
              </a:schemeClr>
            </a:outerShdw>
          </a:effectLst>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485899" tIns="63500" rIns="1485901" bIns="63500" numCol="1" spcCol="1270" anchor="ctr" anchorCtr="0">
            <a:noAutofit/>
          </a:bodyPr>
          <a:lstStyle/>
          <a:p>
            <a:pPr algn="ctr" defTabSz="2222500">
              <a:lnSpc>
                <a:spcPct val="90000"/>
              </a:lnSpc>
              <a:spcBef>
                <a:spcPct val="0"/>
              </a:spcBef>
              <a:spcAft>
                <a:spcPct val="35000"/>
              </a:spcAft>
            </a:pPr>
            <a:endParaRPr lang="en-US" sz="3200">
              <a:solidFill>
                <a:prstClr val="white"/>
              </a:solidFill>
              <a:latin typeface="等线" panose="020F0502020204030204"/>
              <a:ea typeface="等线" panose="02010600030101010101" pitchFamily="2" charset="-122"/>
            </a:endParaRPr>
          </a:p>
        </p:txBody>
      </p:sp>
      <p:sp>
        <p:nvSpPr>
          <p:cNvPr id="23" name="任意多边形: 形状 22">
            <a:extLst>
              <a:ext uri="{FF2B5EF4-FFF2-40B4-BE49-F238E27FC236}">
                <a16:creationId xmlns:a16="http://schemas.microsoft.com/office/drawing/2014/main" id="{4604E8D4-1083-0926-563A-26FF75E4C140}"/>
              </a:ext>
            </a:extLst>
          </p:cNvPr>
          <p:cNvSpPr/>
          <p:nvPr/>
        </p:nvSpPr>
        <p:spPr>
          <a:xfrm>
            <a:off x="4887118" y="2084075"/>
            <a:ext cx="2417765" cy="1187703"/>
          </a:xfrm>
          <a:custGeom>
            <a:avLst/>
            <a:gdLst>
              <a:gd name="connsiteX0" fmla="*/ 518432 w 2417765"/>
              <a:gd name="connsiteY0" fmla="*/ 0 h 1187703"/>
              <a:gd name="connsiteX1" fmla="*/ 1208883 w 2417765"/>
              <a:gd name="connsiteY1" fmla="*/ 211036 h 1187703"/>
              <a:gd name="connsiteX2" fmla="*/ 1899333 w 2417765"/>
              <a:gd name="connsiteY2" fmla="*/ 0 h 1187703"/>
              <a:gd name="connsiteX3" fmla="*/ 2417765 w 2417765"/>
              <a:gd name="connsiteY3" fmla="*/ 818208 h 1187703"/>
              <a:gd name="connsiteX4" fmla="*/ 1208883 w 2417765"/>
              <a:gd name="connsiteY4" fmla="*/ 1187703 h 1187703"/>
              <a:gd name="connsiteX5" fmla="*/ 0 w 2417765"/>
              <a:gd name="connsiteY5" fmla="*/ 818208 h 11877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17765" h="1187703">
                <a:moveTo>
                  <a:pt x="518432" y="0"/>
                </a:moveTo>
                <a:lnTo>
                  <a:pt x="1208883" y="211036"/>
                </a:lnTo>
                <a:lnTo>
                  <a:pt x="1899333" y="0"/>
                </a:lnTo>
                <a:lnTo>
                  <a:pt x="2417765" y="818208"/>
                </a:lnTo>
                <a:lnTo>
                  <a:pt x="1208883" y="1187703"/>
                </a:lnTo>
                <a:lnTo>
                  <a:pt x="0" y="818208"/>
                </a:lnTo>
                <a:close/>
              </a:path>
            </a:pathLst>
          </a:custGeom>
          <a:gradFill flip="none" rotWithShape="1">
            <a:gsLst>
              <a:gs pos="100000">
                <a:schemeClr val="accent1">
                  <a:lumMod val="65000"/>
                  <a:lumOff val="35000"/>
                </a:schemeClr>
              </a:gs>
              <a:gs pos="0">
                <a:schemeClr val="accent1">
                  <a:lumMod val="25000"/>
                  <a:lumOff val="75000"/>
                </a:schemeClr>
              </a:gs>
            </a:gsLst>
            <a:lin ang="2700000" scaled="1"/>
            <a:tileRect/>
          </a:gradFill>
          <a:ln w="6350">
            <a:gradFill>
              <a:gsLst>
                <a:gs pos="0">
                  <a:schemeClr val="accent1">
                    <a:lumMod val="0"/>
                    <a:lumOff val="100000"/>
                    <a:alpha val="70000"/>
                  </a:schemeClr>
                </a:gs>
                <a:gs pos="100000">
                  <a:schemeClr val="accent1">
                    <a:lumMod val="0"/>
                    <a:lumOff val="100000"/>
                    <a:alpha val="70000"/>
                  </a:schemeClr>
                </a:gs>
              </a:gsLst>
              <a:lin ang="5400000" scaled="1"/>
            </a:gradFill>
          </a:ln>
          <a:effectLst>
            <a:outerShdw blurRad="254000" dist="177800" dir="2700000" algn="tl" rotWithShape="0">
              <a:schemeClr val="accent1">
                <a:alpha val="20000"/>
              </a:schemeClr>
            </a:outerShdw>
          </a:effectLst>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485899" tIns="63500" rIns="1485901" bIns="63500" numCol="1" spcCol="1270" anchor="ctr" anchorCtr="0">
            <a:noAutofit/>
          </a:bodyPr>
          <a:lstStyle/>
          <a:p>
            <a:pPr algn="ctr" defTabSz="2222500">
              <a:lnSpc>
                <a:spcPct val="90000"/>
              </a:lnSpc>
              <a:spcBef>
                <a:spcPct val="0"/>
              </a:spcBef>
              <a:spcAft>
                <a:spcPct val="35000"/>
              </a:spcAft>
            </a:pPr>
            <a:endParaRPr lang="en-US" sz="3200">
              <a:solidFill>
                <a:prstClr val="white"/>
              </a:solidFill>
              <a:latin typeface="等线" panose="020F0502020204030204"/>
              <a:ea typeface="等线" panose="02010600030101010101" pitchFamily="2" charset="-122"/>
            </a:endParaRPr>
          </a:p>
        </p:txBody>
      </p:sp>
      <p:sp>
        <p:nvSpPr>
          <p:cNvPr id="35" name="任意多边形: 形状 34">
            <a:extLst>
              <a:ext uri="{FF2B5EF4-FFF2-40B4-BE49-F238E27FC236}">
                <a16:creationId xmlns:a16="http://schemas.microsoft.com/office/drawing/2014/main" id="{DA6579CA-D800-7683-9E30-21D077598DD5}"/>
              </a:ext>
            </a:extLst>
          </p:cNvPr>
          <p:cNvSpPr/>
          <p:nvPr/>
        </p:nvSpPr>
        <p:spPr>
          <a:xfrm>
            <a:off x="6096001" y="990600"/>
            <a:ext cx="520441" cy="980450"/>
          </a:xfrm>
          <a:custGeom>
            <a:avLst/>
            <a:gdLst>
              <a:gd name="connsiteX0" fmla="*/ 0 w 520441"/>
              <a:gd name="connsiteY0" fmla="*/ 0 h 980450"/>
              <a:gd name="connsiteX1" fmla="*/ 520441 w 520441"/>
              <a:gd name="connsiteY1" fmla="*/ 821377 h 980450"/>
              <a:gd name="connsiteX2" fmla="*/ 0 w 520441"/>
              <a:gd name="connsiteY2" fmla="*/ 980450 h 980450"/>
            </a:gdLst>
            <a:ahLst/>
            <a:cxnLst>
              <a:cxn ang="0">
                <a:pos x="connsiteX0" y="connsiteY0"/>
              </a:cxn>
              <a:cxn ang="0">
                <a:pos x="connsiteX1" y="connsiteY1"/>
              </a:cxn>
              <a:cxn ang="0">
                <a:pos x="connsiteX2" y="connsiteY2"/>
              </a:cxn>
            </a:cxnLst>
            <a:rect l="l" t="t" r="r" b="b"/>
            <a:pathLst>
              <a:path w="520441" h="980450">
                <a:moveTo>
                  <a:pt x="0" y="0"/>
                </a:moveTo>
                <a:lnTo>
                  <a:pt x="520441" y="821377"/>
                </a:lnTo>
                <a:lnTo>
                  <a:pt x="0" y="980450"/>
                </a:lnTo>
                <a:close/>
              </a:path>
            </a:pathLst>
          </a:custGeom>
          <a:gradFill flip="none" rotWithShape="1">
            <a:gsLst>
              <a:gs pos="0">
                <a:schemeClr val="accent1">
                  <a:lumMod val="15000"/>
                  <a:lumOff val="85000"/>
                </a:schemeClr>
              </a:gs>
              <a:gs pos="100000">
                <a:schemeClr val="accent1">
                  <a:lumMod val="80000"/>
                  <a:lumOff val="20000"/>
                </a:schemeClr>
              </a:gs>
            </a:gsLst>
            <a:path path="circle">
              <a:fillToRect r="100000" b="100000"/>
            </a:path>
            <a:tileRect l="-100000" t="-100000"/>
          </a:gradFill>
          <a:ln w="6350">
            <a:gradFill>
              <a:gsLst>
                <a:gs pos="0">
                  <a:schemeClr val="accent1">
                    <a:lumMod val="0"/>
                    <a:lumOff val="100000"/>
                    <a:alpha val="70000"/>
                  </a:schemeClr>
                </a:gs>
                <a:gs pos="100000">
                  <a:schemeClr val="accent1">
                    <a:lumMod val="0"/>
                    <a:lumOff val="100000"/>
                    <a:alpha val="7000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solidFill>
                <a:srgbClr val="FFFFFF"/>
              </a:solidFill>
              <a:latin typeface="Arial"/>
            </a:endParaRPr>
          </a:p>
        </p:txBody>
      </p:sp>
      <p:sp>
        <p:nvSpPr>
          <p:cNvPr id="33" name="任意多边形: 形状 32">
            <a:extLst>
              <a:ext uri="{FF2B5EF4-FFF2-40B4-BE49-F238E27FC236}">
                <a16:creationId xmlns:a16="http://schemas.microsoft.com/office/drawing/2014/main" id="{281C3002-411E-BDC3-EFCF-47F16B1B6FE1}"/>
              </a:ext>
            </a:extLst>
          </p:cNvPr>
          <p:cNvSpPr/>
          <p:nvPr/>
        </p:nvSpPr>
        <p:spPr>
          <a:xfrm>
            <a:off x="6096002" y="2084075"/>
            <a:ext cx="1208883" cy="1187703"/>
          </a:xfrm>
          <a:custGeom>
            <a:avLst/>
            <a:gdLst>
              <a:gd name="connsiteX0" fmla="*/ 690451 w 1208883"/>
              <a:gd name="connsiteY0" fmla="*/ 0 h 1187703"/>
              <a:gd name="connsiteX1" fmla="*/ 1208883 w 1208883"/>
              <a:gd name="connsiteY1" fmla="*/ 818208 h 1187703"/>
              <a:gd name="connsiteX2" fmla="*/ 0 w 1208883"/>
              <a:gd name="connsiteY2" fmla="*/ 1187703 h 1187703"/>
              <a:gd name="connsiteX3" fmla="*/ 0 w 1208883"/>
              <a:gd name="connsiteY3" fmla="*/ 211036 h 1187703"/>
            </a:gdLst>
            <a:ahLst/>
            <a:cxnLst>
              <a:cxn ang="0">
                <a:pos x="connsiteX0" y="connsiteY0"/>
              </a:cxn>
              <a:cxn ang="0">
                <a:pos x="connsiteX1" y="connsiteY1"/>
              </a:cxn>
              <a:cxn ang="0">
                <a:pos x="connsiteX2" y="connsiteY2"/>
              </a:cxn>
              <a:cxn ang="0">
                <a:pos x="connsiteX3" y="connsiteY3"/>
              </a:cxn>
            </a:cxnLst>
            <a:rect l="l" t="t" r="r" b="b"/>
            <a:pathLst>
              <a:path w="1208883" h="1187703">
                <a:moveTo>
                  <a:pt x="690451" y="0"/>
                </a:moveTo>
                <a:lnTo>
                  <a:pt x="1208883" y="818208"/>
                </a:lnTo>
                <a:lnTo>
                  <a:pt x="0" y="1187703"/>
                </a:lnTo>
                <a:lnTo>
                  <a:pt x="0" y="211036"/>
                </a:lnTo>
                <a:close/>
              </a:path>
            </a:pathLst>
          </a:custGeom>
          <a:gradFill flip="none" rotWithShape="1">
            <a:gsLst>
              <a:gs pos="0">
                <a:schemeClr val="accent1">
                  <a:lumMod val="35000"/>
                  <a:lumOff val="65000"/>
                </a:schemeClr>
              </a:gs>
              <a:gs pos="100000">
                <a:schemeClr val="accent1">
                  <a:lumMod val="100000"/>
                </a:schemeClr>
              </a:gs>
            </a:gsLst>
            <a:path path="circle">
              <a:fillToRect r="100000" b="100000"/>
            </a:path>
            <a:tileRect l="-100000" t="-100000"/>
          </a:gradFill>
          <a:ln w="6350">
            <a:gradFill>
              <a:gsLst>
                <a:gs pos="0">
                  <a:schemeClr val="accent1">
                    <a:lumMod val="0"/>
                    <a:lumOff val="100000"/>
                    <a:alpha val="70000"/>
                  </a:schemeClr>
                </a:gs>
                <a:gs pos="100000">
                  <a:schemeClr val="accent1">
                    <a:lumMod val="0"/>
                    <a:lumOff val="100000"/>
                    <a:alpha val="7000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solidFill>
                <a:srgbClr val="FFFFFF"/>
              </a:solidFill>
              <a:latin typeface="Arial"/>
            </a:endParaRPr>
          </a:p>
        </p:txBody>
      </p:sp>
      <p:sp>
        <p:nvSpPr>
          <p:cNvPr id="27" name="任意多边形: 形状 26">
            <a:extLst>
              <a:ext uri="{FF2B5EF4-FFF2-40B4-BE49-F238E27FC236}">
                <a16:creationId xmlns:a16="http://schemas.microsoft.com/office/drawing/2014/main" id="{910641C7-491C-185E-D0DB-9C39E61960C6}"/>
              </a:ext>
            </a:extLst>
          </p:cNvPr>
          <p:cNvSpPr/>
          <p:nvPr/>
        </p:nvSpPr>
        <p:spPr>
          <a:xfrm>
            <a:off x="6096001" y="3195181"/>
            <a:ext cx="1902178" cy="1380899"/>
          </a:xfrm>
          <a:custGeom>
            <a:avLst/>
            <a:gdLst>
              <a:gd name="connsiteX0" fmla="*/ 1395600 w 1902178"/>
              <a:gd name="connsiteY0" fmla="*/ 0 h 1380899"/>
              <a:gd name="connsiteX1" fmla="*/ 1902178 w 1902178"/>
              <a:gd name="connsiteY1" fmla="*/ 799499 h 1380899"/>
              <a:gd name="connsiteX2" fmla="*/ 1 w 1902178"/>
              <a:gd name="connsiteY2" fmla="*/ 1380899 h 1380899"/>
              <a:gd name="connsiteX3" fmla="*/ 0 w 1902178"/>
              <a:gd name="connsiteY3" fmla="*/ 1380899 h 1380899"/>
              <a:gd name="connsiteX4" fmla="*/ 0 w 1902178"/>
              <a:gd name="connsiteY4" fmla="*/ 395414 h 1380899"/>
              <a:gd name="connsiteX5" fmla="*/ 1 w 1902178"/>
              <a:gd name="connsiteY5" fmla="*/ 395414 h 13808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02178" h="1380899">
                <a:moveTo>
                  <a:pt x="1395600" y="0"/>
                </a:moveTo>
                <a:lnTo>
                  <a:pt x="1902178" y="799499"/>
                </a:lnTo>
                <a:lnTo>
                  <a:pt x="1" y="1380899"/>
                </a:lnTo>
                <a:lnTo>
                  <a:pt x="0" y="1380899"/>
                </a:lnTo>
                <a:lnTo>
                  <a:pt x="0" y="395414"/>
                </a:lnTo>
                <a:lnTo>
                  <a:pt x="1" y="395414"/>
                </a:lnTo>
                <a:close/>
              </a:path>
            </a:pathLst>
          </a:custGeom>
          <a:gradFill flip="none" rotWithShape="1">
            <a:gsLst>
              <a:gs pos="0">
                <a:schemeClr val="accent1">
                  <a:lumMod val="55000"/>
                  <a:lumOff val="45000"/>
                </a:schemeClr>
              </a:gs>
              <a:gs pos="100000">
                <a:schemeClr val="accent1">
                  <a:lumMod val="90000"/>
                </a:schemeClr>
              </a:gs>
            </a:gsLst>
            <a:path path="circle">
              <a:fillToRect r="100000" b="100000"/>
            </a:path>
            <a:tileRect l="-100000" t="-100000"/>
          </a:gradFill>
          <a:ln w="6350">
            <a:gradFill>
              <a:gsLst>
                <a:gs pos="0">
                  <a:schemeClr val="accent1">
                    <a:lumMod val="0"/>
                    <a:lumOff val="100000"/>
                    <a:alpha val="70000"/>
                  </a:schemeClr>
                </a:gs>
                <a:gs pos="100000">
                  <a:schemeClr val="accent1">
                    <a:lumMod val="0"/>
                    <a:lumOff val="100000"/>
                    <a:alpha val="7000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solidFill>
                <a:srgbClr val="FFFFFF"/>
              </a:solidFill>
              <a:latin typeface="Arial"/>
            </a:endParaRPr>
          </a:p>
        </p:txBody>
      </p:sp>
      <p:sp>
        <p:nvSpPr>
          <p:cNvPr id="25" name="任意多边形: 形状 24">
            <a:extLst>
              <a:ext uri="{FF2B5EF4-FFF2-40B4-BE49-F238E27FC236}">
                <a16:creationId xmlns:a16="http://schemas.microsoft.com/office/drawing/2014/main" id="{48B12459-9BEE-47BA-039F-686D6818D81D}"/>
              </a:ext>
            </a:extLst>
          </p:cNvPr>
          <p:cNvSpPr/>
          <p:nvPr/>
        </p:nvSpPr>
        <p:spPr>
          <a:xfrm>
            <a:off x="6096000" y="4287806"/>
            <a:ext cx="2609850" cy="1579594"/>
          </a:xfrm>
          <a:custGeom>
            <a:avLst/>
            <a:gdLst>
              <a:gd name="connsiteX0" fmla="*/ 2086775 w 2609850"/>
              <a:gd name="connsiteY0" fmla="*/ 0 h 1579594"/>
              <a:gd name="connsiteX1" fmla="*/ 2609850 w 2609850"/>
              <a:gd name="connsiteY1" fmla="*/ 825536 h 1579594"/>
              <a:gd name="connsiteX2" fmla="*/ 0 w 2609850"/>
              <a:gd name="connsiteY2" fmla="*/ 1579594 h 1579594"/>
              <a:gd name="connsiteX3" fmla="*/ 0 w 2609850"/>
              <a:gd name="connsiteY3" fmla="*/ 602927 h 1579594"/>
            </a:gdLst>
            <a:ahLst/>
            <a:cxnLst>
              <a:cxn ang="0">
                <a:pos x="connsiteX0" y="connsiteY0"/>
              </a:cxn>
              <a:cxn ang="0">
                <a:pos x="connsiteX1" y="connsiteY1"/>
              </a:cxn>
              <a:cxn ang="0">
                <a:pos x="connsiteX2" y="connsiteY2"/>
              </a:cxn>
              <a:cxn ang="0">
                <a:pos x="connsiteX3" y="connsiteY3"/>
              </a:cxn>
            </a:cxnLst>
            <a:rect l="l" t="t" r="r" b="b"/>
            <a:pathLst>
              <a:path w="2609850" h="1579594">
                <a:moveTo>
                  <a:pt x="2086775" y="0"/>
                </a:moveTo>
                <a:lnTo>
                  <a:pt x="2609850" y="825536"/>
                </a:lnTo>
                <a:lnTo>
                  <a:pt x="0" y="1579594"/>
                </a:lnTo>
                <a:lnTo>
                  <a:pt x="0" y="602927"/>
                </a:lnTo>
                <a:close/>
              </a:path>
            </a:pathLst>
          </a:custGeom>
          <a:gradFill flip="none" rotWithShape="1">
            <a:gsLst>
              <a:gs pos="0">
                <a:schemeClr val="accent1">
                  <a:lumMod val="75000"/>
                  <a:lumOff val="25000"/>
                </a:schemeClr>
              </a:gs>
              <a:gs pos="100000">
                <a:schemeClr val="accent1">
                  <a:lumMod val="80000"/>
                </a:schemeClr>
              </a:gs>
            </a:gsLst>
            <a:path path="circle">
              <a:fillToRect r="100000" b="100000"/>
            </a:path>
            <a:tileRect l="-100000" t="-100000"/>
          </a:gradFill>
          <a:ln w="6350">
            <a:gradFill>
              <a:gsLst>
                <a:gs pos="0">
                  <a:schemeClr val="accent1">
                    <a:lumMod val="0"/>
                    <a:lumOff val="100000"/>
                    <a:alpha val="70000"/>
                  </a:schemeClr>
                </a:gs>
                <a:gs pos="100000">
                  <a:schemeClr val="accent1">
                    <a:lumMod val="0"/>
                    <a:lumOff val="100000"/>
                    <a:alpha val="7000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solidFill>
                <a:srgbClr val="FFFFFF"/>
              </a:solidFill>
              <a:latin typeface="Arial"/>
            </a:endParaRPr>
          </a:p>
        </p:txBody>
      </p:sp>
    </p:spTree>
    <p:extLst>
      <p:ext uri="{BB962C8B-B14F-4D97-AF65-F5344CB8AC3E}">
        <p14:creationId xmlns:p14="http://schemas.microsoft.com/office/powerpoint/2010/main" val="3104102773"/>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5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任意多边形: 形状 41">
            <a:extLst>
              <a:ext uri="{FF2B5EF4-FFF2-40B4-BE49-F238E27FC236}">
                <a16:creationId xmlns:a16="http://schemas.microsoft.com/office/drawing/2014/main" id="{D1DCC05C-198D-042E-00EF-87635C9E63DE}"/>
              </a:ext>
            </a:extLst>
          </p:cNvPr>
          <p:cNvSpPr/>
          <p:nvPr/>
        </p:nvSpPr>
        <p:spPr>
          <a:xfrm rot="10800000">
            <a:off x="3845861" y="3789963"/>
            <a:ext cx="4500279" cy="1904437"/>
          </a:xfrm>
          <a:custGeom>
            <a:avLst/>
            <a:gdLst>
              <a:gd name="connsiteX0" fmla="*/ 2250139 w 4500279"/>
              <a:gd name="connsiteY0" fmla="*/ 1904437 h 1904437"/>
              <a:gd name="connsiteX1" fmla="*/ 0 w 4500279"/>
              <a:gd name="connsiteY1" fmla="*/ 1227632 h 1904437"/>
              <a:gd name="connsiteX2" fmla="*/ 2262155 w 4500279"/>
              <a:gd name="connsiteY2" fmla="*/ 0 h 1904437"/>
              <a:gd name="connsiteX3" fmla="*/ 4500279 w 4500279"/>
              <a:gd name="connsiteY3" fmla="*/ 1227632 h 1904437"/>
            </a:gdLst>
            <a:ahLst/>
            <a:cxnLst>
              <a:cxn ang="0">
                <a:pos x="connsiteX0" y="connsiteY0"/>
              </a:cxn>
              <a:cxn ang="0">
                <a:pos x="connsiteX1" y="connsiteY1"/>
              </a:cxn>
              <a:cxn ang="0">
                <a:pos x="connsiteX2" y="connsiteY2"/>
              </a:cxn>
              <a:cxn ang="0">
                <a:pos x="connsiteX3" y="connsiteY3"/>
              </a:cxn>
            </a:cxnLst>
            <a:rect l="l" t="t" r="r" b="b"/>
            <a:pathLst>
              <a:path w="4500279" h="1904437">
                <a:moveTo>
                  <a:pt x="2250139" y="1904437"/>
                </a:moveTo>
                <a:lnTo>
                  <a:pt x="0" y="1227632"/>
                </a:lnTo>
                <a:lnTo>
                  <a:pt x="2262155" y="0"/>
                </a:lnTo>
                <a:lnTo>
                  <a:pt x="4500279" y="1227632"/>
                </a:lnTo>
                <a:close/>
              </a:path>
            </a:pathLst>
          </a:custGeom>
          <a:gradFill flip="none" rotWithShape="1">
            <a:gsLst>
              <a:gs pos="0">
                <a:schemeClr val="accent1">
                  <a:lumMod val="60000"/>
                </a:schemeClr>
              </a:gs>
              <a:gs pos="60000">
                <a:schemeClr val="accent1">
                  <a:lumMod val="20000"/>
                </a:schemeClr>
              </a:gs>
            </a:gsLst>
            <a:path path="circle">
              <a:fillToRect l="100000" t="100000"/>
            </a:path>
            <a:tileRect r="-100000" b="-10000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solidFill>
                <a:srgbClr val="FFFFFF"/>
              </a:solidFill>
              <a:latin typeface="Arial"/>
            </a:endParaRPr>
          </a:p>
        </p:txBody>
      </p:sp>
      <p:sp>
        <p:nvSpPr>
          <p:cNvPr id="54" name="任意多边形: 形状 53">
            <a:extLst>
              <a:ext uri="{FF2B5EF4-FFF2-40B4-BE49-F238E27FC236}">
                <a16:creationId xmlns:a16="http://schemas.microsoft.com/office/drawing/2014/main" id="{86492EB5-CFFE-9440-BF3E-48E553C13C0E}"/>
              </a:ext>
            </a:extLst>
          </p:cNvPr>
          <p:cNvSpPr/>
          <p:nvPr/>
        </p:nvSpPr>
        <p:spPr>
          <a:xfrm rot="10800000">
            <a:off x="4408329" y="3077464"/>
            <a:ext cx="3375340" cy="1580575"/>
          </a:xfrm>
          <a:custGeom>
            <a:avLst/>
            <a:gdLst>
              <a:gd name="connsiteX0" fmla="*/ 1687670 w 3375340"/>
              <a:gd name="connsiteY0" fmla="*/ 1580575 h 1580575"/>
              <a:gd name="connsiteX1" fmla="*/ 0 w 3375340"/>
              <a:gd name="connsiteY1" fmla="*/ 1068979 h 1580575"/>
              <a:gd name="connsiteX2" fmla="*/ 1662638 w 3375340"/>
              <a:gd name="connsiteY2" fmla="*/ 0 h 1580575"/>
              <a:gd name="connsiteX3" fmla="*/ 3375340 w 3375340"/>
              <a:gd name="connsiteY3" fmla="*/ 1068979 h 1580575"/>
            </a:gdLst>
            <a:ahLst/>
            <a:cxnLst>
              <a:cxn ang="0">
                <a:pos x="connsiteX0" y="connsiteY0"/>
              </a:cxn>
              <a:cxn ang="0">
                <a:pos x="connsiteX1" y="connsiteY1"/>
              </a:cxn>
              <a:cxn ang="0">
                <a:pos x="connsiteX2" y="connsiteY2"/>
              </a:cxn>
              <a:cxn ang="0">
                <a:pos x="connsiteX3" y="connsiteY3"/>
              </a:cxn>
            </a:cxnLst>
            <a:rect l="l" t="t" r="r" b="b"/>
            <a:pathLst>
              <a:path w="3375340" h="1580575">
                <a:moveTo>
                  <a:pt x="1687670" y="1580575"/>
                </a:moveTo>
                <a:lnTo>
                  <a:pt x="0" y="1068979"/>
                </a:lnTo>
                <a:lnTo>
                  <a:pt x="1662638" y="0"/>
                </a:lnTo>
                <a:lnTo>
                  <a:pt x="3375340" y="1068979"/>
                </a:lnTo>
                <a:close/>
              </a:path>
            </a:pathLst>
          </a:custGeom>
          <a:gradFill flip="none" rotWithShape="1">
            <a:gsLst>
              <a:gs pos="0">
                <a:schemeClr val="accent1">
                  <a:lumMod val="80000"/>
                </a:schemeClr>
              </a:gs>
              <a:gs pos="60000">
                <a:schemeClr val="accent1">
                  <a:lumMod val="40000"/>
                </a:schemeClr>
              </a:gs>
            </a:gsLst>
            <a:path path="circle">
              <a:fillToRect l="100000" t="100000"/>
            </a:path>
            <a:tileRect r="-100000" b="-10000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solidFill>
                <a:srgbClr val="FFFFFF"/>
              </a:solidFill>
              <a:latin typeface="Arial"/>
            </a:endParaRPr>
          </a:p>
        </p:txBody>
      </p:sp>
      <p:sp>
        <p:nvSpPr>
          <p:cNvPr id="32" name="任意多边形: 形状 31">
            <a:extLst>
              <a:ext uri="{FF2B5EF4-FFF2-40B4-BE49-F238E27FC236}">
                <a16:creationId xmlns:a16="http://schemas.microsoft.com/office/drawing/2014/main" id="{3DC0CD73-871C-1EA6-9DEB-A6D8FBBFEFBD}"/>
              </a:ext>
            </a:extLst>
          </p:cNvPr>
          <p:cNvSpPr/>
          <p:nvPr/>
        </p:nvSpPr>
        <p:spPr>
          <a:xfrm rot="10800000">
            <a:off x="4967318" y="2371101"/>
            <a:ext cx="2252382" cy="1230088"/>
          </a:xfrm>
          <a:custGeom>
            <a:avLst/>
            <a:gdLst>
              <a:gd name="connsiteX0" fmla="*/ 1123698 w 2252382"/>
              <a:gd name="connsiteY0" fmla="*/ 1230088 h 1230088"/>
              <a:gd name="connsiteX1" fmla="*/ 0 w 2252382"/>
              <a:gd name="connsiteY1" fmla="*/ 890500 h 1230088"/>
              <a:gd name="connsiteX2" fmla="*/ 1103672 w 2252382"/>
              <a:gd name="connsiteY2" fmla="*/ 0 h 1230088"/>
              <a:gd name="connsiteX3" fmla="*/ 2252382 w 2252382"/>
              <a:gd name="connsiteY3" fmla="*/ 885831 h 1230088"/>
            </a:gdLst>
            <a:ahLst/>
            <a:cxnLst>
              <a:cxn ang="0">
                <a:pos x="connsiteX0" y="connsiteY0"/>
              </a:cxn>
              <a:cxn ang="0">
                <a:pos x="connsiteX1" y="connsiteY1"/>
              </a:cxn>
              <a:cxn ang="0">
                <a:pos x="connsiteX2" y="connsiteY2"/>
              </a:cxn>
              <a:cxn ang="0">
                <a:pos x="connsiteX3" y="connsiteY3"/>
              </a:cxn>
            </a:cxnLst>
            <a:rect l="l" t="t" r="r" b="b"/>
            <a:pathLst>
              <a:path w="2252382" h="1230088">
                <a:moveTo>
                  <a:pt x="1123698" y="1230088"/>
                </a:moveTo>
                <a:lnTo>
                  <a:pt x="0" y="890500"/>
                </a:lnTo>
                <a:lnTo>
                  <a:pt x="1103672" y="0"/>
                </a:lnTo>
                <a:lnTo>
                  <a:pt x="2252382" y="885831"/>
                </a:lnTo>
                <a:close/>
              </a:path>
            </a:pathLst>
          </a:custGeom>
          <a:gradFill flip="none" rotWithShape="1">
            <a:gsLst>
              <a:gs pos="0">
                <a:schemeClr val="accent1">
                  <a:lumMod val="100000"/>
                </a:schemeClr>
              </a:gs>
              <a:gs pos="60000">
                <a:schemeClr val="accent1">
                  <a:lumMod val="60000"/>
                </a:schemeClr>
              </a:gs>
            </a:gsLst>
            <a:path path="circle">
              <a:fillToRect l="100000" t="100000"/>
            </a:path>
            <a:tileRect r="-100000" b="-10000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solidFill>
                <a:srgbClr val="FFFFFF"/>
              </a:solidFill>
              <a:latin typeface="Arial"/>
            </a:endParaRPr>
          </a:p>
        </p:txBody>
      </p:sp>
      <p:sp>
        <p:nvSpPr>
          <p:cNvPr id="44" name="任意多边形: 形状 43">
            <a:extLst>
              <a:ext uri="{FF2B5EF4-FFF2-40B4-BE49-F238E27FC236}">
                <a16:creationId xmlns:a16="http://schemas.microsoft.com/office/drawing/2014/main" id="{F80B899C-DCDB-A6BD-5050-67265133F39A}"/>
              </a:ext>
            </a:extLst>
          </p:cNvPr>
          <p:cNvSpPr/>
          <p:nvPr/>
        </p:nvSpPr>
        <p:spPr>
          <a:xfrm rot="10800000">
            <a:off x="5537601" y="1660746"/>
            <a:ext cx="1112470" cy="952077"/>
          </a:xfrm>
          <a:custGeom>
            <a:avLst/>
            <a:gdLst>
              <a:gd name="connsiteX0" fmla="*/ 554071 w 1112470"/>
              <a:gd name="connsiteY0" fmla="*/ 952077 h 952077"/>
              <a:gd name="connsiteX1" fmla="*/ 0 w 1112470"/>
              <a:gd name="connsiteY1" fmla="*/ 784633 h 952077"/>
              <a:gd name="connsiteX2" fmla="*/ 549065 w 1112470"/>
              <a:gd name="connsiteY2" fmla="*/ 0 h 952077"/>
              <a:gd name="connsiteX3" fmla="*/ 1112470 w 1112470"/>
              <a:gd name="connsiteY3" fmla="*/ 785941 h 952077"/>
            </a:gdLst>
            <a:ahLst/>
            <a:cxnLst>
              <a:cxn ang="0">
                <a:pos x="connsiteX0" y="connsiteY0"/>
              </a:cxn>
              <a:cxn ang="0">
                <a:pos x="connsiteX1" y="connsiteY1"/>
              </a:cxn>
              <a:cxn ang="0">
                <a:pos x="connsiteX2" y="connsiteY2"/>
              </a:cxn>
              <a:cxn ang="0">
                <a:pos x="connsiteX3" y="connsiteY3"/>
              </a:cxn>
            </a:cxnLst>
            <a:rect l="l" t="t" r="r" b="b"/>
            <a:pathLst>
              <a:path w="1112470" h="952077">
                <a:moveTo>
                  <a:pt x="554071" y="952077"/>
                </a:moveTo>
                <a:lnTo>
                  <a:pt x="0" y="784633"/>
                </a:lnTo>
                <a:lnTo>
                  <a:pt x="549065" y="0"/>
                </a:lnTo>
                <a:lnTo>
                  <a:pt x="1112470" y="785941"/>
                </a:lnTo>
                <a:close/>
              </a:path>
            </a:pathLst>
          </a:custGeom>
          <a:gradFill flip="none" rotWithShape="1">
            <a:gsLst>
              <a:gs pos="0">
                <a:schemeClr val="accent1">
                  <a:lumMod val="75000"/>
                  <a:lumOff val="25000"/>
                </a:schemeClr>
              </a:gs>
              <a:gs pos="58000">
                <a:schemeClr val="accent1">
                  <a:lumMod val="80000"/>
                </a:schemeClr>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solidFill>
                <a:srgbClr val="FFFFFF"/>
              </a:solidFill>
              <a:latin typeface="Arial"/>
            </a:endParaRPr>
          </a:p>
        </p:txBody>
      </p:sp>
      <p:sp>
        <p:nvSpPr>
          <p:cNvPr id="48" name="任意多边形: 形状 47">
            <a:extLst>
              <a:ext uri="{FF2B5EF4-FFF2-40B4-BE49-F238E27FC236}">
                <a16:creationId xmlns:a16="http://schemas.microsoft.com/office/drawing/2014/main" id="{F1B2F66B-82CA-AF34-55AF-D7DA6535EE26}"/>
              </a:ext>
            </a:extLst>
          </p:cNvPr>
          <p:cNvSpPr/>
          <p:nvPr/>
        </p:nvSpPr>
        <p:spPr>
          <a:xfrm>
            <a:off x="3438525" y="4466767"/>
            <a:ext cx="5314950" cy="1438734"/>
          </a:xfrm>
          <a:custGeom>
            <a:avLst/>
            <a:gdLst>
              <a:gd name="connsiteX0" fmla="*/ 407336 w 5314950"/>
              <a:gd name="connsiteY0" fmla="*/ 0 h 1438734"/>
              <a:gd name="connsiteX1" fmla="*/ 2657475 w 5314950"/>
              <a:gd name="connsiteY1" fmla="*/ 657758 h 1438734"/>
              <a:gd name="connsiteX2" fmla="*/ 4907615 w 5314950"/>
              <a:gd name="connsiteY2" fmla="*/ 0 h 1438734"/>
              <a:gd name="connsiteX3" fmla="*/ 5314950 w 5314950"/>
              <a:gd name="connsiteY3" fmla="*/ 635629 h 1438734"/>
              <a:gd name="connsiteX4" fmla="*/ 2657475 w 5314950"/>
              <a:gd name="connsiteY4" fmla="*/ 1438734 h 1438734"/>
              <a:gd name="connsiteX5" fmla="*/ 0 w 5314950"/>
              <a:gd name="connsiteY5" fmla="*/ 635629 h 1438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314950" h="1438734">
                <a:moveTo>
                  <a:pt x="407336" y="0"/>
                </a:moveTo>
                <a:lnTo>
                  <a:pt x="2657475" y="657758"/>
                </a:lnTo>
                <a:lnTo>
                  <a:pt x="4907615" y="0"/>
                </a:lnTo>
                <a:lnTo>
                  <a:pt x="5314950" y="635629"/>
                </a:lnTo>
                <a:lnTo>
                  <a:pt x="2657475" y="1438734"/>
                </a:lnTo>
                <a:lnTo>
                  <a:pt x="0" y="635629"/>
                </a:lnTo>
                <a:close/>
              </a:path>
            </a:pathLst>
          </a:custGeom>
          <a:gradFill flip="none" rotWithShape="1">
            <a:gsLst>
              <a:gs pos="0">
                <a:schemeClr val="accent1">
                  <a:lumMod val="75000"/>
                  <a:lumOff val="25000"/>
                </a:schemeClr>
              </a:gs>
              <a:gs pos="100000">
                <a:schemeClr val="accent1">
                  <a:lumMod val="80000"/>
                </a:schemeClr>
              </a:gs>
            </a:gsLst>
            <a:path path="circle">
              <a:fillToRect r="100000" b="100000"/>
            </a:path>
            <a:tileRect l="-100000" t="-100000"/>
          </a:gradFill>
          <a:ln w="6350">
            <a:gradFill>
              <a:gsLst>
                <a:gs pos="0">
                  <a:schemeClr val="accent1">
                    <a:lumMod val="0"/>
                    <a:lumOff val="100000"/>
                    <a:alpha val="70000"/>
                  </a:schemeClr>
                </a:gs>
                <a:gs pos="100000">
                  <a:schemeClr val="accent1">
                    <a:lumMod val="0"/>
                    <a:lumOff val="100000"/>
                    <a:alpha val="7000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solidFill>
                <a:srgbClr val="FFFFFF"/>
              </a:solidFill>
              <a:latin typeface="Arial"/>
            </a:endParaRPr>
          </a:p>
        </p:txBody>
      </p:sp>
      <p:sp>
        <p:nvSpPr>
          <p:cNvPr id="58" name="任意多边形: 形状 57">
            <a:extLst>
              <a:ext uri="{FF2B5EF4-FFF2-40B4-BE49-F238E27FC236}">
                <a16:creationId xmlns:a16="http://schemas.microsoft.com/office/drawing/2014/main" id="{8291A7CA-4C17-14B3-3D58-9E3F4537B9EC}"/>
              </a:ext>
            </a:extLst>
          </p:cNvPr>
          <p:cNvSpPr/>
          <p:nvPr/>
        </p:nvSpPr>
        <p:spPr>
          <a:xfrm>
            <a:off x="3985296" y="3589059"/>
            <a:ext cx="4221409" cy="1263096"/>
          </a:xfrm>
          <a:custGeom>
            <a:avLst/>
            <a:gdLst>
              <a:gd name="connsiteX0" fmla="*/ 423035 w 4221409"/>
              <a:gd name="connsiteY0" fmla="*/ 0 h 1263096"/>
              <a:gd name="connsiteX1" fmla="*/ 2110705 w 4221409"/>
              <a:gd name="connsiteY1" fmla="*/ 482120 h 1263096"/>
              <a:gd name="connsiteX2" fmla="*/ 3798374 w 4221409"/>
              <a:gd name="connsiteY2" fmla="*/ 0 h 1263096"/>
              <a:gd name="connsiteX3" fmla="*/ 4221409 w 4221409"/>
              <a:gd name="connsiteY3" fmla="*/ 660126 h 1263096"/>
              <a:gd name="connsiteX4" fmla="*/ 2110705 w 4221409"/>
              <a:gd name="connsiteY4" fmla="*/ 1263096 h 1263096"/>
              <a:gd name="connsiteX5" fmla="*/ 0 w 4221409"/>
              <a:gd name="connsiteY5" fmla="*/ 660126 h 1263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21409" h="1263096">
                <a:moveTo>
                  <a:pt x="423035" y="0"/>
                </a:moveTo>
                <a:lnTo>
                  <a:pt x="2110705" y="482120"/>
                </a:lnTo>
                <a:lnTo>
                  <a:pt x="3798374" y="0"/>
                </a:lnTo>
                <a:lnTo>
                  <a:pt x="4221409" y="660126"/>
                </a:lnTo>
                <a:lnTo>
                  <a:pt x="2110705" y="1263096"/>
                </a:lnTo>
                <a:lnTo>
                  <a:pt x="0" y="660126"/>
                </a:lnTo>
                <a:close/>
              </a:path>
            </a:pathLst>
          </a:custGeom>
          <a:gradFill flip="none" rotWithShape="1">
            <a:gsLst>
              <a:gs pos="100000">
                <a:schemeClr val="accent1">
                  <a:lumMod val="100000"/>
                </a:schemeClr>
              </a:gs>
              <a:gs pos="0">
                <a:schemeClr val="accent1">
                  <a:lumMod val="55000"/>
                  <a:lumOff val="45000"/>
                </a:schemeClr>
              </a:gs>
            </a:gsLst>
            <a:lin ang="2700000" scaled="1"/>
            <a:tileRect/>
          </a:gradFill>
          <a:ln w="6350">
            <a:gradFill>
              <a:gsLst>
                <a:gs pos="0">
                  <a:schemeClr val="accent1">
                    <a:lumMod val="0"/>
                    <a:lumOff val="100000"/>
                    <a:alpha val="70000"/>
                  </a:schemeClr>
                </a:gs>
                <a:gs pos="100000">
                  <a:schemeClr val="accent1">
                    <a:lumMod val="0"/>
                    <a:lumOff val="100000"/>
                    <a:alpha val="70000"/>
                  </a:schemeClr>
                </a:gs>
              </a:gsLst>
              <a:lin ang="5400000" scaled="1"/>
            </a:gradFill>
          </a:ln>
          <a:effectLst/>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485899" tIns="63500" rIns="1485901" bIns="63500" numCol="1" spcCol="1270" anchor="ctr" anchorCtr="0">
            <a:noAutofit/>
          </a:bodyPr>
          <a:lstStyle/>
          <a:p>
            <a:pPr algn="ctr" defTabSz="2222500">
              <a:lnSpc>
                <a:spcPct val="90000"/>
              </a:lnSpc>
              <a:spcBef>
                <a:spcPct val="0"/>
              </a:spcBef>
              <a:spcAft>
                <a:spcPct val="35000"/>
              </a:spcAft>
            </a:pPr>
            <a:endParaRPr lang="en-US" sz="3200">
              <a:solidFill>
                <a:prstClr val="white"/>
              </a:solidFill>
              <a:latin typeface="等线" panose="020F0502020204030204"/>
              <a:ea typeface="等线" panose="02010600030101010101" pitchFamily="2" charset="-122"/>
            </a:endParaRPr>
          </a:p>
        </p:txBody>
      </p:sp>
      <p:sp>
        <p:nvSpPr>
          <p:cNvPr id="34" name="任意多边形: 形状 33">
            <a:extLst>
              <a:ext uri="{FF2B5EF4-FFF2-40B4-BE49-F238E27FC236}">
                <a16:creationId xmlns:a16="http://schemas.microsoft.com/office/drawing/2014/main" id="{C5105F92-9A79-E865-091D-73A6E0E0D790}"/>
              </a:ext>
            </a:extLst>
          </p:cNvPr>
          <p:cNvSpPr/>
          <p:nvPr/>
        </p:nvSpPr>
        <p:spPr>
          <a:xfrm>
            <a:off x="4557624" y="2715358"/>
            <a:ext cx="3076754" cy="1104212"/>
          </a:xfrm>
          <a:custGeom>
            <a:avLst/>
            <a:gdLst>
              <a:gd name="connsiteX0" fmla="*/ 409692 w 3076754"/>
              <a:gd name="connsiteY0" fmla="*/ 0 h 1104212"/>
              <a:gd name="connsiteX1" fmla="*/ 1538377 w 3076754"/>
              <a:gd name="connsiteY1" fmla="*/ 316186 h 1104212"/>
              <a:gd name="connsiteX2" fmla="*/ 2667061 w 3076754"/>
              <a:gd name="connsiteY2" fmla="*/ 0 h 1104212"/>
              <a:gd name="connsiteX3" fmla="*/ 3076754 w 3076754"/>
              <a:gd name="connsiteY3" fmla="*/ 639306 h 1104212"/>
              <a:gd name="connsiteX4" fmla="*/ 1538377 w 3076754"/>
              <a:gd name="connsiteY4" fmla="*/ 1104212 h 1104212"/>
              <a:gd name="connsiteX5" fmla="*/ 0 w 3076754"/>
              <a:gd name="connsiteY5" fmla="*/ 639306 h 11042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76754" h="1104212">
                <a:moveTo>
                  <a:pt x="409692" y="0"/>
                </a:moveTo>
                <a:lnTo>
                  <a:pt x="1538377" y="316186"/>
                </a:lnTo>
                <a:lnTo>
                  <a:pt x="2667061" y="0"/>
                </a:lnTo>
                <a:lnTo>
                  <a:pt x="3076754" y="639306"/>
                </a:lnTo>
                <a:lnTo>
                  <a:pt x="1538377" y="1104212"/>
                </a:lnTo>
                <a:lnTo>
                  <a:pt x="0" y="639306"/>
                </a:lnTo>
                <a:close/>
              </a:path>
            </a:pathLst>
          </a:custGeom>
          <a:gradFill flip="none" rotWithShape="1">
            <a:gsLst>
              <a:gs pos="100000">
                <a:schemeClr val="accent1">
                  <a:lumMod val="80000"/>
                  <a:lumOff val="20000"/>
                </a:schemeClr>
              </a:gs>
              <a:gs pos="0">
                <a:schemeClr val="accent1">
                  <a:lumMod val="35000"/>
                  <a:lumOff val="65000"/>
                </a:schemeClr>
              </a:gs>
            </a:gsLst>
            <a:lin ang="2700000" scaled="1"/>
            <a:tileRect/>
          </a:gradFill>
          <a:ln w="6350">
            <a:gradFill>
              <a:gsLst>
                <a:gs pos="0">
                  <a:schemeClr val="accent1">
                    <a:lumMod val="0"/>
                    <a:lumOff val="100000"/>
                    <a:alpha val="70000"/>
                  </a:schemeClr>
                </a:gs>
                <a:gs pos="100000">
                  <a:schemeClr val="accent1">
                    <a:lumMod val="0"/>
                    <a:lumOff val="100000"/>
                    <a:alpha val="70000"/>
                  </a:schemeClr>
                </a:gs>
              </a:gsLst>
              <a:lin ang="5400000" scaled="1"/>
            </a:gradFill>
          </a:ln>
          <a:effectLst>
            <a:outerShdw blurRad="254000" dist="177800" dir="2700000" algn="tl" rotWithShape="0">
              <a:schemeClr val="accent1">
                <a:alpha val="20000"/>
              </a:schemeClr>
            </a:outerShdw>
          </a:effectLst>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485899" tIns="63500" rIns="1485901" bIns="63500" numCol="1" spcCol="1270" anchor="ctr" anchorCtr="0">
            <a:noAutofit/>
          </a:bodyPr>
          <a:lstStyle/>
          <a:p>
            <a:pPr algn="ctr" defTabSz="2222500">
              <a:lnSpc>
                <a:spcPct val="90000"/>
              </a:lnSpc>
              <a:spcBef>
                <a:spcPct val="0"/>
              </a:spcBef>
              <a:spcAft>
                <a:spcPct val="35000"/>
              </a:spcAft>
            </a:pPr>
            <a:endParaRPr lang="en-US" sz="3200">
              <a:solidFill>
                <a:prstClr val="white"/>
              </a:solidFill>
              <a:latin typeface="等线" panose="020F0502020204030204"/>
              <a:ea typeface="等线" panose="02010600030101010101" pitchFamily="2" charset="-122"/>
            </a:endParaRPr>
          </a:p>
        </p:txBody>
      </p:sp>
      <p:sp>
        <p:nvSpPr>
          <p:cNvPr id="38" name="任意多边形: 形状 37">
            <a:extLst>
              <a:ext uri="{FF2B5EF4-FFF2-40B4-BE49-F238E27FC236}">
                <a16:creationId xmlns:a16="http://schemas.microsoft.com/office/drawing/2014/main" id="{1E15A029-8EC9-BC8F-E375-EEAF6D16F5A9}"/>
              </a:ext>
            </a:extLst>
          </p:cNvPr>
          <p:cNvSpPr/>
          <p:nvPr/>
        </p:nvSpPr>
        <p:spPr>
          <a:xfrm>
            <a:off x="5675096" y="952502"/>
            <a:ext cx="841808" cy="784001"/>
          </a:xfrm>
          <a:custGeom>
            <a:avLst/>
            <a:gdLst>
              <a:gd name="connsiteX0" fmla="*/ 420904 w 841808"/>
              <a:gd name="connsiteY0" fmla="*/ 0 h 784001"/>
              <a:gd name="connsiteX1" fmla="*/ 841808 w 841808"/>
              <a:gd name="connsiteY1" fmla="*/ 656801 h 784001"/>
              <a:gd name="connsiteX2" fmla="*/ 420904 w 841808"/>
              <a:gd name="connsiteY2" fmla="*/ 784001 h 784001"/>
              <a:gd name="connsiteX3" fmla="*/ 0 w 841808"/>
              <a:gd name="connsiteY3" fmla="*/ 656801 h 784001"/>
            </a:gdLst>
            <a:ahLst/>
            <a:cxnLst>
              <a:cxn ang="0">
                <a:pos x="connsiteX0" y="connsiteY0"/>
              </a:cxn>
              <a:cxn ang="0">
                <a:pos x="connsiteX1" y="connsiteY1"/>
              </a:cxn>
              <a:cxn ang="0">
                <a:pos x="connsiteX2" y="connsiteY2"/>
              </a:cxn>
              <a:cxn ang="0">
                <a:pos x="connsiteX3" y="connsiteY3"/>
              </a:cxn>
            </a:cxnLst>
            <a:rect l="l" t="t" r="r" b="b"/>
            <a:pathLst>
              <a:path w="841808" h="784001">
                <a:moveTo>
                  <a:pt x="420904" y="0"/>
                </a:moveTo>
                <a:lnTo>
                  <a:pt x="841808" y="656801"/>
                </a:lnTo>
                <a:lnTo>
                  <a:pt x="420904" y="784001"/>
                </a:lnTo>
                <a:lnTo>
                  <a:pt x="0" y="656801"/>
                </a:lnTo>
                <a:close/>
              </a:path>
            </a:pathLst>
          </a:custGeom>
          <a:gradFill flip="none" rotWithShape="1">
            <a:gsLst>
              <a:gs pos="100000">
                <a:schemeClr val="accent1">
                  <a:lumMod val="50000"/>
                  <a:lumOff val="50000"/>
                </a:schemeClr>
              </a:gs>
              <a:gs pos="0">
                <a:schemeClr val="accent1">
                  <a:lumMod val="25000"/>
                  <a:lumOff val="75000"/>
                </a:schemeClr>
              </a:gs>
            </a:gsLst>
            <a:lin ang="2700000" scaled="1"/>
            <a:tileRect/>
          </a:gradFill>
          <a:ln w="6350">
            <a:gradFill>
              <a:gsLst>
                <a:gs pos="0">
                  <a:schemeClr val="accent1">
                    <a:lumMod val="0"/>
                    <a:lumOff val="100000"/>
                    <a:alpha val="70000"/>
                  </a:schemeClr>
                </a:gs>
                <a:gs pos="100000">
                  <a:schemeClr val="accent1">
                    <a:lumMod val="0"/>
                    <a:lumOff val="100000"/>
                    <a:alpha val="70000"/>
                  </a:schemeClr>
                </a:gs>
              </a:gsLst>
              <a:lin ang="5400000" scaled="1"/>
            </a:gradFill>
          </a:ln>
          <a:effectLst>
            <a:outerShdw blurRad="190500" dist="101600" dir="2700000" algn="tl" rotWithShape="0">
              <a:schemeClr val="accent1">
                <a:alpha val="12000"/>
              </a:schemeClr>
            </a:outerShdw>
          </a:effectLst>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485899" tIns="63500" rIns="1485901" bIns="63500" numCol="1" spcCol="1270" anchor="ctr" anchorCtr="0">
            <a:noAutofit/>
          </a:bodyPr>
          <a:lstStyle/>
          <a:p>
            <a:pPr algn="ctr" defTabSz="2222500">
              <a:lnSpc>
                <a:spcPct val="90000"/>
              </a:lnSpc>
              <a:spcBef>
                <a:spcPct val="0"/>
              </a:spcBef>
              <a:spcAft>
                <a:spcPct val="35000"/>
              </a:spcAft>
            </a:pPr>
            <a:endParaRPr lang="en-US" sz="3200">
              <a:solidFill>
                <a:prstClr val="white"/>
              </a:solidFill>
              <a:latin typeface="等线" panose="020F0502020204030204"/>
              <a:ea typeface="等线" panose="02010600030101010101" pitchFamily="2" charset="-122"/>
            </a:endParaRPr>
          </a:p>
        </p:txBody>
      </p:sp>
      <p:sp>
        <p:nvSpPr>
          <p:cNvPr id="50" name="任意多边形: 形状 49">
            <a:extLst>
              <a:ext uri="{FF2B5EF4-FFF2-40B4-BE49-F238E27FC236}">
                <a16:creationId xmlns:a16="http://schemas.microsoft.com/office/drawing/2014/main" id="{0153426C-C4BF-C350-F117-5D843479C718}"/>
              </a:ext>
            </a:extLst>
          </p:cNvPr>
          <p:cNvSpPr/>
          <p:nvPr/>
        </p:nvSpPr>
        <p:spPr>
          <a:xfrm>
            <a:off x="5118322" y="1826882"/>
            <a:ext cx="1955356" cy="949727"/>
          </a:xfrm>
          <a:custGeom>
            <a:avLst/>
            <a:gdLst>
              <a:gd name="connsiteX0" fmla="*/ 419280 w 1955356"/>
              <a:gd name="connsiteY0" fmla="*/ 0 h 949727"/>
              <a:gd name="connsiteX1" fmla="*/ 977678 w 1955356"/>
              <a:gd name="connsiteY1" fmla="*/ 168752 h 949727"/>
              <a:gd name="connsiteX2" fmla="*/ 1536077 w 1955356"/>
              <a:gd name="connsiteY2" fmla="*/ 0 h 949727"/>
              <a:gd name="connsiteX3" fmla="*/ 1955356 w 1955356"/>
              <a:gd name="connsiteY3" fmla="*/ 654267 h 949727"/>
              <a:gd name="connsiteX4" fmla="*/ 977678 w 1955356"/>
              <a:gd name="connsiteY4" fmla="*/ 949727 h 949727"/>
              <a:gd name="connsiteX5" fmla="*/ 0 w 1955356"/>
              <a:gd name="connsiteY5" fmla="*/ 654267 h 949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55356" h="949727">
                <a:moveTo>
                  <a:pt x="419280" y="0"/>
                </a:moveTo>
                <a:lnTo>
                  <a:pt x="977678" y="168752"/>
                </a:lnTo>
                <a:lnTo>
                  <a:pt x="1536077" y="0"/>
                </a:lnTo>
                <a:lnTo>
                  <a:pt x="1955356" y="654267"/>
                </a:lnTo>
                <a:lnTo>
                  <a:pt x="977678" y="949727"/>
                </a:lnTo>
                <a:lnTo>
                  <a:pt x="0" y="654267"/>
                </a:lnTo>
                <a:close/>
              </a:path>
            </a:pathLst>
          </a:custGeom>
          <a:gradFill flip="none" rotWithShape="1">
            <a:gsLst>
              <a:gs pos="100000">
                <a:schemeClr val="accent1">
                  <a:lumMod val="65000"/>
                  <a:lumOff val="35000"/>
                </a:schemeClr>
              </a:gs>
              <a:gs pos="0">
                <a:schemeClr val="accent1">
                  <a:lumMod val="25000"/>
                  <a:lumOff val="75000"/>
                </a:schemeClr>
              </a:gs>
            </a:gsLst>
            <a:lin ang="2700000" scaled="1"/>
            <a:tileRect/>
          </a:gradFill>
          <a:ln w="6350">
            <a:gradFill>
              <a:gsLst>
                <a:gs pos="0">
                  <a:schemeClr val="accent1">
                    <a:lumMod val="0"/>
                    <a:lumOff val="100000"/>
                    <a:alpha val="70000"/>
                  </a:schemeClr>
                </a:gs>
                <a:gs pos="100000">
                  <a:schemeClr val="accent1">
                    <a:lumMod val="0"/>
                    <a:lumOff val="100000"/>
                    <a:alpha val="70000"/>
                  </a:schemeClr>
                </a:gs>
              </a:gsLst>
              <a:lin ang="5400000" scaled="1"/>
            </a:gradFill>
          </a:ln>
          <a:effectLst>
            <a:outerShdw blurRad="254000" dist="177800" dir="2700000" algn="tl" rotWithShape="0">
              <a:schemeClr val="accent1">
                <a:alpha val="20000"/>
              </a:schemeClr>
            </a:outerShdw>
          </a:effectLst>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485899" tIns="63500" rIns="1485901" bIns="63500" numCol="1" spcCol="1270" anchor="ctr" anchorCtr="0">
            <a:noAutofit/>
          </a:bodyPr>
          <a:lstStyle/>
          <a:p>
            <a:pPr algn="ctr" defTabSz="2222500">
              <a:lnSpc>
                <a:spcPct val="90000"/>
              </a:lnSpc>
              <a:spcBef>
                <a:spcPct val="0"/>
              </a:spcBef>
              <a:spcAft>
                <a:spcPct val="35000"/>
              </a:spcAft>
            </a:pPr>
            <a:endParaRPr lang="en-US" sz="3200">
              <a:solidFill>
                <a:prstClr val="white"/>
              </a:solidFill>
              <a:latin typeface="等线" panose="020F0502020204030204"/>
              <a:ea typeface="等线" panose="02010600030101010101" pitchFamily="2" charset="-122"/>
            </a:endParaRPr>
          </a:p>
        </p:txBody>
      </p:sp>
      <p:sp>
        <p:nvSpPr>
          <p:cNvPr id="36" name="任意多边形: 形状 35">
            <a:extLst>
              <a:ext uri="{FF2B5EF4-FFF2-40B4-BE49-F238E27FC236}">
                <a16:creationId xmlns:a16="http://schemas.microsoft.com/office/drawing/2014/main" id="{D278BDFC-2811-6DBE-F540-AAEFE3702F48}"/>
              </a:ext>
            </a:extLst>
          </p:cNvPr>
          <p:cNvSpPr/>
          <p:nvPr/>
        </p:nvSpPr>
        <p:spPr>
          <a:xfrm>
            <a:off x="6096000" y="952502"/>
            <a:ext cx="420904" cy="784001"/>
          </a:xfrm>
          <a:custGeom>
            <a:avLst/>
            <a:gdLst>
              <a:gd name="connsiteX0" fmla="*/ 0 w 420904"/>
              <a:gd name="connsiteY0" fmla="*/ 0 h 784001"/>
              <a:gd name="connsiteX1" fmla="*/ 420904 w 420904"/>
              <a:gd name="connsiteY1" fmla="*/ 656801 h 784001"/>
              <a:gd name="connsiteX2" fmla="*/ 0 w 420904"/>
              <a:gd name="connsiteY2" fmla="*/ 784001 h 784001"/>
            </a:gdLst>
            <a:ahLst/>
            <a:cxnLst>
              <a:cxn ang="0">
                <a:pos x="connsiteX0" y="connsiteY0"/>
              </a:cxn>
              <a:cxn ang="0">
                <a:pos x="connsiteX1" y="connsiteY1"/>
              </a:cxn>
              <a:cxn ang="0">
                <a:pos x="connsiteX2" y="connsiteY2"/>
              </a:cxn>
            </a:cxnLst>
            <a:rect l="l" t="t" r="r" b="b"/>
            <a:pathLst>
              <a:path w="420904" h="784001">
                <a:moveTo>
                  <a:pt x="0" y="0"/>
                </a:moveTo>
                <a:lnTo>
                  <a:pt x="420904" y="656801"/>
                </a:lnTo>
                <a:lnTo>
                  <a:pt x="0" y="784001"/>
                </a:lnTo>
                <a:close/>
              </a:path>
            </a:pathLst>
          </a:custGeom>
          <a:gradFill flip="none" rotWithShape="1">
            <a:gsLst>
              <a:gs pos="0">
                <a:schemeClr val="accent1">
                  <a:lumMod val="15000"/>
                  <a:lumOff val="85000"/>
                </a:schemeClr>
              </a:gs>
              <a:gs pos="100000">
                <a:schemeClr val="accent1">
                  <a:lumMod val="80000"/>
                  <a:lumOff val="20000"/>
                </a:schemeClr>
              </a:gs>
            </a:gsLst>
            <a:path path="circle">
              <a:fillToRect r="100000" b="100000"/>
            </a:path>
            <a:tileRect l="-100000" t="-100000"/>
          </a:gradFill>
          <a:ln w="6350">
            <a:gradFill>
              <a:gsLst>
                <a:gs pos="0">
                  <a:schemeClr val="accent1">
                    <a:lumMod val="0"/>
                    <a:lumOff val="100000"/>
                    <a:alpha val="70000"/>
                  </a:schemeClr>
                </a:gs>
                <a:gs pos="100000">
                  <a:schemeClr val="accent1">
                    <a:lumMod val="0"/>
                    <a:lumOff val="100000"/>
                    <a:alpha val="7000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solidFill>
                <a:srgbClr val="FFFFFF"/>
              </a:solidFill>
              <a:latin typeface="Arial"/>
            </a:endParaRPr>
          </a:p>
        </p:txBody>
      </p:sp>
      <p:sp>
        <p:nvSpPr>
          <p:cNvPr id="46" name="任意多边形: 形状 45">
            <a:extLst>
              <a:ext uri="{FF2B5EF4-FFF2-40B4-BE49-F238E27FC236}">
                <a16:creationId xmlns:a16="http://schemas.microsoft.com/office/drawing/2014/main" id="{45E30197-74B9-2C44-7DF0-89C521784DD0}"/>
              </a:ext>
            </a:extLst>
          </p:cNvPr>
          <p:cNvSpPr/>
          <p:nvPr/>
        </p:nvSpPr>
        <p:spPr>
          <a:xfrm>
            <a:off x="6096001" y="1826882"/>
            <a:ext cx="977678" cy="949727"/>
          </a:xfrm>
          <a:custGeom>
            <a:avLst/>
            <a:gdLst>
              <a:gd name="connsiteX0" fmla="*/ 558399 w 977678"/>
              <a:gd name="connsiteY0" fmla="*/ 0 h 949727"/>
              <a:gd name="connsiteX1" fmla="*/ 977678 w 977678"/>
              <a:gd name="connsiteY1" fmla="*/ 654267 h 949727"/>
              <a:gd name="connsiteX2" fmla="*/ 0 w 977678"/>
              <a:gd name="connsiteY2" fmla="*/ 949727 h 949727"/>
              <a:gd name="connsiteX3" fmla="*/ 0 w 977678"/>
              <a:gd name="connsiteY3" fmla="*/ 168752 h 949727"/>
            </a:gdLst>
            <a:ahLst/>
            <a:cxnLst>
              <a:cxn ang="0">
                <a:pos x="connsiteX0" y="connsiteY0"/>
              </a:cxn>
              <a:cxn ang="0">
                <a:pos x="connsiteX1" y="connsiteY1"/>
              </a:cxn>
              <a:cxn ang="0">
                <a:pos x="connsiteX2" y="connsiteY2"/>
              </a:cxn>
              <a:cxn ang="0">
                <a:pos x="connsiteX3" y="connsiteY3"/>
              </a:cxn>
            </a:cxnLst>
            <a:rect l="l" t="t" r="r" b="b"/>
            <a:pathLst>
              <a:path w="977678" h="949727">
                <a:moveTo>
                  <a:pt x="558399" y="0"/>
                </a:moveTo>
                <a:lnTo>
                  <a:pt x="977678" y="654267"/>
                </a:lnTo>
                <a:lnTo>
                  <a:pt x="0" y="949727"/>
                </a:lnTo>
                <a:lnTo>
                  <a:pt x="0" y="168752"/>
                </a:lnTo>
                <a:close/>
              </a:path>
            </a:pathLst>
          </a:custGeom>
          <a:gradFill flip="none" rotWithShape="1">
            <a:gsLst>
              <a:gs pos="0">
                <a:schemeClr val="accent1">
                  <a:lumMod val="35000"/>
                  <a:lumOff val="65000"/>
                </a:schemeClr>
              </a:gs>
              <a:gs pos="100000">
                <a:schemeClr val="accent1">
                  <a:lumMod val="100000"/>
                </a:schemeClr>
              </a:gs>
            </a:gsLst>
            <a:path path="circle">
              <a:fillToRect r="100000" b="100000"/>
            </a:path>
            <a:tileRect l="-100000" t="-100000"/>
          </a:gradFill>
          <a:ln w="6350">
            <a:gradFill>
              <a:gsLst>
                <a:gs pos="0">
                  <a:schemeClr val="accent1">
                    <a:lumMod val="0"/>
                    <a:lumOff val="100000"/>
                    <a:alpha val="70000"/>
                  </a:schemeClr>
                </a:gs>
                <a:gs pos="100000">
                  <a:schemeClr val="accent1">
                    <a:lumMod val="0"/>
                    <a:lumOff val="100000"/>
                    <a:alpha val="7000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solidFill>
                <a:srgbClr val="FFFFFF"/>
              </a:solidFill>
              <a:latin typeface="Arial"/>
            </a:endParaRPr>
          </a:p>
        </p:txBody>
      </p:sp>
      <p:sp>
        <p:nvSpPr>
          <p:cNvPr id="40" name="任意多边形: 形状 39">
            <a:extLst>
              <a:ext uri="{FF2B5EF4-FFF2-40B4-BE49-F238E27FC236}">
                <a16:creationId xmlns:a16="http://schemas.microsoft.com/office/drawing/2014/main" id="{4D1B3C38-32E6-1203-E2E8-EB331E844DCE}"/>
              </a:ext>
            </a:extLst>
          </p:cNvPr>
          <p:cNvSpPr/>
          <p:nvPr/>
        </p:nvSpPr>
        <p:spPr>
          <a:xfrm>
            <a:off x="6096001" y="2715358"/>
            <a:ext cx="1538378" cy="1104212"/>
          </a:xfrm>
          <a:custGeom>
            <a:avLst/>
            <a:gdLst>
              <a:gd name="connsiteX0" fmla="*/ 1128686 w 1538378"/>
              <a:gd name="connsiteY0" fmla="*/ 0 h 1104212"/>
              <a:gd name="connsiteX1" fmla="*/ 1538378 w 1538378"/>
              <a:gd name="connsiteY1" fmla="*/ 639306 h 1104212"/>
              <a:gd name="connsiteX2" fmla="*/ 1 w 1538378"/>
              <a:gd name="connsiteY2" fmla="*/ 1104212 h 1104212"/>
              <a:gd name="connsiteX3" fmla="*/ 0 w 1538378"/>
              <a:gd name="connsiteY3" fmla="*/ 1104212 h 1104212"/>
              <a:gd name="connsiteX4" fmla="*/ 0 w 1538378"/>
              <a:gd name="connsiteY4" fmla="*/ 316186 h 1104212"/>
              <a:gd name="connsiteX5" fmla="*/ 1 w 1538378"/>
              <a:gd name="connsiteY5" fmla="*/ 316186 h 11042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38378" h="1104212">
                <a:moveTo>
                  <a:pt x="1128686" y="0"/>
                </a:moveTo>
                <a:lnTo>
                  <a:pt x="1538378" y="639306"/>
                </a:lnTo>
                <a:lnTo>
                  <a:pt x="1" y="1104212"/>
                </a:lnTo>
                <a:lnTo>
                  <a:pt x="0" y="1104212"/>
                </a:lnTo>
                <a:lnTo>
                  <a:pt x="0" y="316186"/>
                </a:lnTo>
                <a:lnTo>
                  <a:pt x="1" y="316186"/>
                </a:lnTo>
                <a:close/>
              </a:path>
            </a:pathLst>
          </a:custGeom>
          <a:gradFill flip="none" rotWithShape="1">
            <a:gsLst>
              <a:gs pos="0">
                <a:schemeClr val="accent1">
                  <a:lumMod val="55000"/>
                  <a:lumOff val="45000"/>
                </a:schemeClr>
              </a:gs>
              <a:gs pos="100000">
                <a:schemeClr val="accent1">
                  <a:lumMod val="90000"/>
                </a:schemeClr>
              </a:gs>
            </a:gsLst>
            <a:path path="circle">
              <a:fillToRect r="100000" b="100000"/>
            </a:path>
            <a:tileRect l="-100000" t="-100000"/>
          </a:gradFill>
          <a:ln w="6350">
            <a:gradFill>
              <a:gsLst>
                <a:gs pos="0">
                  <a:schemeClr val="accent1">
                    <a:lumMod val="0"/>
                    <a:lumOff val="100000"/>
                    <a:alpha val="70000"/>
                  </a:schemeClr>
                </a:gs>
                <a:gs pos="100000">
                  <a:schemeClr val="accent1">
                    <a:lumMod val="0"/>
                    <a:lumOff val="100000"/>
                    <a:alpha val="7000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solidFill>
                <a:srgbClr val="FFFFFF"/>
              </a:solidFill>
              <a:latin typeface="Arial"/>
            </a:endParaRPr>
          </a:p>
        </p:txBody>
      </p:sp>
      <p:sp>
        <p:nvSpPr>
          <p:cNvPr id="56" name="任意多边形: 形状 55">
            <a:extLst>
              <a:ext uri="{FF2B5EF4-FFF2-40B4-BE49-F238E27FC236}">
                <a16:creationId xmlns:a16="http://schemas.microsoft.com/office/drawing/2014/main" id="{DC464710-6F78-20BC-A5D7-DF189F26099C}"/>
              </a:ext>
            </a:extLst>
          </p:cNvPr>
          <p:cNvSpPr/>
          <p:nvPr/>
        </p:nvSpPr>
        <p:spPr>
          <a:xfrm>
            <a:off x="6096001" y="3589059"/>
            <a:ext cx="2110705" cy="1263096"/>
          </a:xfrm>
          <a:custGeom>
            <a:avLst/>
            <a:gdLst>
              <a:gd name="connsiteX0" fmla="*/ 1687670 w 2110705"/>
              <a:gd name="connsiteY0" fmla="*/ 0 h 1263096"/>
              <a:gd name="connsiteX1" fmla="*/ 2110705 w 2110705"/>
              <a:gd name="connsiteY1" fmla="*/ 660126 h 1263096"/>
              <a:gd name="connsiteX2" fmla="*/ 0 w 2110705"/>
              <a:gd name="connsiteY2" fmla="*/ 1263096 h 1263096"/>
              <a:gd name="connsiteX3" fmla="*/ 0 w 2110705"/>
              <a:gd name="connsiteY3" fmla="*/ 482120 h 1263096"/>
            </a:gdLst>
            <a:ahLst/>
            <a:cxnLst>
              <a:cxn ang="0">
                <a:pos x="connsiteX0" y="connsiteY0"/>
              </a:cxn>
              <a:cxn ang="0">
                <a:pos x="connsiteX1" y="connsiteY1"/>
              </a:cxn>
              <a:cxn ang="0">
                <a:pos x="connsiteX2" y="connsiteY2"/>
              </a:cxn>
              <a:cxn ang="0">
                <a:pos x="connsiteX3" y="connsiteY3"/>
              </a:cxn>
            </a:cxnLst>
            <a:rect l="l" t="t" r="r" b="b"/>
            <a:pathLst>
              <a:path w="2110705" h="1263096">
                <a:moveTo>
                  <a:pt x="1687670" y="0"/>
                </a:moveTo>
                <a:lnTo>
                  <a:pt x="2110705" y="660126"/>
                </a:lnTo>
                <a:lnTo>
                  <a:pt x="0" y="1263096"/>
                </a:lnTo>
                <a:lnTo>
                  <a:pt x="0" y="482120"/>
                </a:lnTo>
                <a:close/>
              </a:path>
            </a:pathLst>
          </a:custGeom>
          <a:gradFill flip="none" rotWithShape="1">
            <a:gsLst>
              <a:gs pos="0">
                <a:schemeClr val="accent1">
                  <a:lumMod val="75000"/>
                  <a:lumOff val="25000"/>
                </a:schemeClr>
              </a:gs>
              <a:gs pos="100000">
                <a:schemeClr val="accent1">
                  <a:lumMod val="80000"/>
                </a:schemeClr>
              </a:gs>
            </a:gsLst>
            <a:path path="circle">
              <a:fillToRect r="100000" b="100000"/>
            </a:path>
            <a:tileRect l="-100000" t="-100000"/>
          </a:gradFill>
          <a:ln w="6350">
            <a:gradFill>
              <a:gsLst>
                <a:gs pos="0">
                  <a:schemeClr val="accent1">
                    <a:lumMod val="0"/>
                    <a:lumOff val="100000"/>
                    <a:alpha val="70000"/>
                  </a:schemeClr>
                </a:gs>
                <a:gs pos="100000">
                  <a:schemeClr val="accent1">
                    <a:lumMod val="0"/>
                    <a:lumOff val="100000"/>
                    <a:alpha val="7000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solidFill>
                <a:srgbClr val="FFFFFF"/>
              </a:solidFill>
              <a:latin typeface="Arial"/>
            </a:endParaRPr>
          </a:p>
        </p:txBody>
      </p:sp>
      <p:sp>
        <p:nvSpPr>
          <p:cNvPr id="52" name="任意多边形: 形状 51">
            <a:extLst>
              <a:ext uri="{FF2B5EF4-FFF2-40B4-BE49-F238E27FC236}">
                <a16:creationId xmlns:a16="http://schemas.microsoft.com/office/drawing/2014/main" id="{F3C772DC-4B62-7A11-448C-D699F30FE3A5}"/>
              </a:ext>
            </a:extLst>
          </p:cNvPr>
          <p:cNvSpPr/>
          <p:nvPr/>
        </p:nvSpPr>
        <p:spPr>
          <a:xfrm>
            <a:off x="6096001" y="4466767"/>
            <a:ext cx="2657475" cy="1438734"/>
          </a:xfrm>
          <a:custGeom>
            <a:avLst/>
            <a:gdLst>
              <a:gd name="connsiteX0" fmla="*/ 2250140 w 2657475"/>
              <a:gd name="connsiteY0" fmla="*/ 0 h 1438734"/>
              <a:gd name="connsiteX1" fmla="*/ 2657475 w 2657475"/>
              <a:gd name="connsiteY1" fmla="*/ 635629 h 1438734"/>
              <a:gd name="connsiteX2" fmla="*/ 0 w 2657475"/>
              <a:gd name="connsiteY2" fmla="*/ 1438734 h 1438734"/>
              <a:gd name="connsiteX3" fmla="*/ 0 w 2657475"/>
              <a:gd name="connsiteY3" fmla="*/ 657758 h 1438734"/>
            </a:gdLst>
            <a:ahLst/>
            <a:cxnLst>
              <a:cxn ang="0">
                <a:pos x="connsiteX0" y="connsiteY0"/>
              </a:cxn>
              <a:cxn ang="0">
                <a:pos x="connsiteX1" y="connsiteY1"/>
              </a:cxn>
              <a:cxn ang="0">
                <a:pos x="connsiteX2" y="connsiteY2"/>
              </a:cxn>
              <a:cxn ang="0">
                <a:pos x="connsiteX3" y="connsiteY3"/>
              </a:cxn>
            </a:cxnLst>
            <a:rect l="l" t="t" r="r" b="b"/>
            <a:pathLst>
              <a:path w="2657475" h="1438734">
                <a:moveTo>
                  <a:pt x="2250140" y="0"/>
                </a:moveTo>
                <a:lnTo>
                  <a:pt x="2657475" y="635629"/>
                </a:lnTo>
                <a:lnTo>
                  <a:pt x="0" y="1438734"/>
                </a:lnTo>
                <a:lnTo>
                  <a:pt x="0" y="657758"/>
                </a:lnTo>
                <a:close/>
              </a:path>
            </a:pathLst>
          </a:custGeom>
          <a:gradFill flip="none" rotWithShape="1">
            <a:gsLst>
              <a:gs pos="0">
                <a:schemeClr val="accent1">
                  <a:lumMod val="100000"/>
                </a:schemeClr>
              </a:gs>
              <a:gs pos="100000">
                <a:schemeClr val="accent1">
                  <a:lumMod val="60000"/>
                </a:schemeClr>
              </a:gs>
            </a:gsLst>
            <a:path path="circle">
              <a:fillToRect r="100000" b="100000"/>
            </a:path>
            <a:tileRect l="-100000" t="-100000"/>
          </a:gradFill>
          <a:ln w="6350">
            <a:gradFill>
              <a:gsLst>
                <a:gs pos="0">
                  <a:schemeClr val="accent1">
                    <a:lumMod val="0"/>
                    <a:lumOff val="100000"/>
                    <a:alpha val="70000"/>
                  </a:schemeClr>
                </a:gs>
                <a:gs pos="100000">
                  <a:schemeClr val="accent1">
                    <a:lumMod val="0"/>
                    <a:lumOff val="100000"/>
                    <a:alpha val="7000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solidFill>
                <a:srgbClr val="FFFFFF"/>
              </a:solidFill>
              <a:latin typeface="Arial"/>
            </a:endParaRPr>
          </a:p>
        </p:txBody>
      </p:sp>
    </p:spTree>
    <p:extLst>
      <p:ext uri="{BB962C8B-B14F-4D97-AF65-F5344CB8AC3E}">
        <p14:creationId xmlns:p14="http://schemas.microsoft.com/office/powerpoint/2010/main" val="573472944"/>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5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任意多边形: 形状 33">
            <a:extLst>
              <a:ext uri="{FF2B5EF4-FFF2-40B4-BE49-F238E27FC236}">
                <a16:creationId xmlns:a16="http://schemas.microsoft.com/office/drawing/2014/main" id="{3639A0F0-1762-C569-83CE-D06E0327EB93}"/>
              </a:ext>
            </a:extLst>
          </p:cNvPr>
          <p:cNvSpPr>
            <a:spLocks/>
          </p:cNvSpPr>
          <p:nvPr/>
        </p:nvSpPr>
        <p:spPr bwMode="auto">
          <a:xfrm>
            <a:off x="5937149" y="2883066"/>
            <a:ext cx="1289129" cy="227774"/>
          </a:xfrm>
          <a:custGeom>
            <a:avLst/>
            <a:gdLst>
              <a:gd name="connsiteX0" fmla="*/ 715248 w 715248"/>
              <a:gd name="connsiteY0" fmla="*/ 0 h 137287"/>
              <a:gd name="connsiteX1" fmla="*/ 179660 w 715248"/>
              <a:gd name="connsiteY1" fmla="*/ 137287 h 137287"/>
              <a:gd name="connsiteX2" fmla="*/ 0 w 715248"/>
              <a:gd name="connsiteY2" fmla="*/ 93220 h 137287"/>
              <a:gd name="connsiteX0" fmla="*/ 1291510 w 1291510"/>
              <a:gd name="connsiteY0" fmla="*/ 0 h 218249"/>
              <a:gd name="connsiteX1" fmla="*/ 179660 w 1291510"/>
              <a:gd name="connsiteY1" fmla="*/ 218249 h 218249"/>
              <a:gd name="connsiteX2" fmla="*/ 0 w 1291510"/>
              <a:gd name="connsiteY2" fmla="*/ 174182 h 218249"/>
              <a:gd name="connsiteX3" fmla="*/ 1291510 w 1291510"/>
              <a:gd name="connsiteY3" fmla="*/ 0 h 218249"/>
              <a:gd name="connsiteX0" fmla="*/ 1289129 w 1289129"/>
              <a:gd name="connsiteY0" fmla="*/ 0 h 227774"/>
              <a:gd name="connsiteX1" fmla="*/ 179660 w 1289129"/>
              <a:gd name="connsiteY1" fmla="*/ 227774 h 227774"/>
              <a:gd name="connsiteX2" fmla="*/ 0 w 1289129"/>
              <a:gd name="connsiteY2" fmla="*/ 183707 h 227774"/>
              <a:gd name="connsiteX3" fmla="*/ 1289129 w 1289129"/>
              <a:gd name="connsiteY3" fmla="*/ 0 h 227774"/>
            </a:gdLst>
            <a:ahLst/>
            <a:cxnLst>
              <a:cxn ang="0">
                <a:pos x="connsiteX0" y="connsiteY0"/>
              </a:cxn>
              <a:cxn ang="0">
                <a:pos x="connsiteX1" y="connsiteY1"/>
              </a:cxn>
              <a:cxn ang="0">
                <a:pos x="connsiteX2" y="connsiteY2"/>
              </a:cxn>
              <a:cxn ang="0">
                <a:pos x="connsiteX3" y="connsiteY3"/>
              </a:cxn>
            </a:cxnLst>
            <a:rect l="l" t="t" r="r" b="b"/>
            <a:pathLst>
              <a:path w="1289129" h="227774">
                <a:moveTo>
                  <a:pt x="1289129" y="0"/>
                </a:moveTo>
                <a:lnTo>
                  <a:pt x="179660" y="227774"/>
                </a:lnTo>
                <a:lnTo>
                  <a:pt x="0" y="183707"/>
                </a:lnTo>
                <a:lnTo>
                  <a:pt x="1289129" y="0"/>
                </a:lnTo>
                <a:close/>
              </a:path>
            </a:pathLst>
          </a:custGeom>
          <a:gradFill flip="none" rotWithShape="1">
            <a:gsLst>
              <a:gs pos="0">
                <a:schemeClr val="accent1">
                  <a:lumMod val="80000"/>
                </a:schemeClr>
              </a:gs>
              <a:gs pos="100000">
                <a:schemeClr val="accent1">
                  <a:lumMod val="40000"/>
                </a:schemeClr>
              </a:gs>
            </a:gsLst>
            <a:path path="circle">
              <a:fillToRect r="100000" b="100000"/>
            </a:path>
            <a:tileRect l="-100000" t="-10000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id-ID">
              <a:solidFill>
                <a:srgbClr val="FFFFFF"/>
              </a:solidFill>
              <a:latin typeface="Arial"/>
            </a:endParaRPr>
          </a:p>
        </p:txBody>
      </p:sp>
      <p:sp>
        <p:nvSpPr>
          <p:cNvPr id="42" name="任意多边形: 形状 41">
            <a:extLst>
              <a:ext uri="{FF2B5EF4-FFF2-40B4-BE49-F238E27FC236}">
                <a16:creationId xmlns:a16="http://schemas.microsoft.com/office/drawing/2014/main" id="{87D07178-DC8B-DA54-7548-DE184EB06041}"/>
              </a:ext>
            </a:extLst>
          </p:cNvPr>
          <p:cNvSpPr>
            <a:spLocks/>
          </p:cNvSpPr>
          <p:nvPr/>
        </p:nvSpPr>
        <p:spPr bwMode="auto">
          <a:xfrm>
            <a:off x="4263264" y="2740206"/>
            <a:ext cx="1809279" cy="1472364"/>
          </a:xfrm>
          <a:custGeom>
            <a:avLst/>
            <a:gdLst>
              <a:gd name="connsiteX0" fmla="*/ 766094 w 1809279"/>
              <a:gd name="connsiteY0" fmla="*/ 0 h 1472364"/>
              <a:gd name="connsiteX1" fmla="*/ 1540662 w 1809279"/>
              <a:gd name="connsiteY1" fmla="*/ 344065 h 1472364"/>
              <a:gd name="connsiteX2" fmla="*/ 1715237 w 1809279"/>
              <a:gd name="connsiteY2" fmla="*/ 320336 h 1472364"/>
              <a:gd name="connsiteX3" fmla="*/ 1809279 w 1809279"/>
              <a:gd name="connsiteY3" fmla="*/ 343403 h 1472364"/>
              <a:gd name="connsiteX4" fmla="*/ 1769753 w 1809279"/>
              <a:gd name="connsiteY4" fmla="*/ 1472364 h 1472364"/>
              <a:gd name="connsiteX5" fmla="*/ 1701678 w 1809279"/>
              <a:gd name="connsiteY5" fmla="*/ 1445748 h 1472364"/>
              <a:gd name="connsiteX6" fmla="*/ 1381342 w 1809279"/>
              <a:gd name="connsiteY6" fmla="*/ 1322021 h 1472364"/>
              <a:gd name="connsiteX7" fmla="*/ 696603 w 1809279"/>
              <a:gd name="connsiteY7" fmla="*/ 1054227 h 1472364"/>
              <a:gd name="connsiteX8" fmla="*/ 155931 w 1809279"/>
              <a:gd name="connsiteY8" fmla="*/ 844060 h 1472364"/>
              <a:gd name="connsiteX9" fmla="*/ 0 w 1809279"/>
              <a:gd name="connsiteY9" fmla="*/ 783043 h 1472364"/>
              <a:gd name="connsiteX10" fmla="*/ 620333 w 1809279"/>
              <a:gd name="connsiteY10" fmla="*/ 52542 h 1472364"/>
              <a:gd name="connsiteX11" fmla="*/ 699993 w 1809279"/>
              <a:gd name="connsiteY11" fmla="*/ 27118 h 1472364"/>
              <a:gd name="connsiteX0" fmla="*/ 766094 w 1809279"/>
              <a:gd name="connsiteY0" fmla="*/ 0 h 1472364"/>
              <a:gd name="connsiteX1" fmla="*/ 1540662 w 1809279"/>
              <a:gd name="connsiteY1" fmla="*/ 344065 h 1472364"/>
              <a:gd name="connsiteX2" fmla="*/ 1715237 w 1809279"/>
              <a:gd name="connsiteY2" fmla="*/ 320336 h 1472364"/>
              <a:gd name="connsiteX3" fmla="*/ 1809279 w 1809279"/>
              <a:gd name="connsiteY3" fmla="*/ 343403 h 1472364"/>
              <a:gd name="connsiteX4" fmla="*/ 1769753 w 1809279"/>
              <a:gd name="connsiteY4" fmla="*/ 1472364 h 1472364"/>
              <a:gd name="connsiteX5" fmla="*/ 1701678 w 1809279"/>
              <a:gd name="connsiteY5" fmla="*/ 1445748 h 1472364"/>
              <a:gd name="connsiteX6" fmla="*/ 1381342 w 1809279"/>
              <a:gd name="connsiteY6" fmla="*/ 1322021 h 1472364"/>
              <a:gd name="connsiteX7" fmla="*/ 696603 w 1809279"/>
              <a:gd name="connsiteY7" fmla="*/ 1054227 h 1472364"/>
              <a:gd name="connsiteX8" fmla="*/ 155931 w 1809279"/>
              <a:gd name="connsiteY8" fmla="*/ 844060 h 1472364"/>
              <a:gd name="connsiteX9" fmla="*/ 0 w 1809279"/>
              <a:gd name="connsiteY9" fmla="*/ 783043 h 1472364"/>
              <a:gd name="connsiteX10" fmla="*/ 699993 w 1809279"/>
              <a:gd name="connsiteY10" fmla="*/ 27118 h 1472364"/>
              <a:gd name="connsiteX11" fmla="*/ 766094 w 1809279"/>
              <a:gd name="connsiteY11" fmla="*/ 0 h 1472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809279" h="1472364">
                <a:moveTo>
                  <a:pt x="766094" y="0"/>
                </a:moveTo>
                <a:lnTo>
                  <a:pt x="1540662" y="344065"/>
                </a:lnTo>
                <a:lnTo>
                  <a:pt x="1715237" y="320336"/>
                </a:lnTo>
                <a:lnTo>
                  <a:pt x="1809279" y="343403"/>
                </a:lnTo>
                <a:lnTo>
                  <a:pt x="1769753" y="1472364"/>
                </a:lnTo>
                <a:lnTo>
                  <a:pt x="1701678" y="1445748"/>
                </a:lnTo>
                <a:lnTo>
                  <a:pt x="1381342" y="1322021"/>
                </a:lnTo>
                <a:lnTo>
                  <a:pt x="696603" y="1054227"/>
                </a:lnTo>
                <a:lnTo>
                  <a:pt x="155931" y="844060"/>
                </a:lnTo>
                <a:lnTo>
                  <a:pt x="0" y="783043"/>
                </a:lnTo>
                <a:lnTo>
                  <a:pt x="699993" y="27118"/>
                </a:lnTo>
                <a:lnTo>
                  <a:pt x="766094" y="0"/>
                </a:lnTo>
                <a:close/>
              </a:path>
            </a:pathLst>
          </a:custGeom>
          <a:gradFill flip="none" rotWithShape="1">
            <a:gsLst>
              <a:gs pos="0">
                <a:schemeClr val="accent1">
                  <a:lumMod val="55000"/>
                  <a:lumOff val="45000"/>
                </a:schemeClr>
              </a:gs>
              <a:gs pos="100000">
                <a:schemeClr val="accent1">
                  <a:lumMod val="90000"/>
                </a:schemeClr>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id-ID" dirty="0">
              <a:solidFill>
                <a:srgbClr val="FFFFFF"/>
              </a:solidFill>
              <a:latin typeface="Arial"/>
            </a:endParaRPr>
          </a:p>
        </p:txBody>
      </p:sp>
      <p:sp>
        <p:nvSpPr>
          <p:cNvPr id="28" name="任意多边形: 形状 27">
            <a:extLst>
              <a:ext uri="{FF2B5EF4-FFF2-40B4-BE49-F238E27FC236}">
                <a16:creationId xmlns:a16="http://schemas.microsoft.com/office/drawing/2014/main" id="{EEC8CCCD-4982-FDAE-6511-D5D5B8646338}"/>
              </a:ext>
            </a:extLst>
          </p:cNvPr>
          <p:cNvSpPr>
            <a:spLocks/>
          </p:cNvSpPr>
          <p:nvPr/>
        </p:nvSpPr>
        <p:spPr bwMode="auto">
          <a:xfrm>
            <a:off x="4802834" y="3722020"/>
            <a:ext cx="1005074" cy="479657"/>
          </a:xfrm>
          <a:custGeom>
            <a:avLst/>
            <a:gdLst>
              <a:gd name="connsiteX0" fmla="*/ 0 w 1005074"/>
              <a:gd name="connsiteY0" fmla="*/ 0 h 479657"/>
              <a:gd name="connsiteX1" fmla="*/ 684739 w 1005074"/>
              <a:gd name="connsiteY1" fmla="*/ 267795 h 479657"/>
              <a:gd name="connsiteX2" fmla="*/ 1005074 w 1005074"/>
              <a:gd name="connsiteY2" fmla="*/ 391522 h 479657"/>
              <a:gd name="connsiteX3" fmla="*/ 650841 w 1005074"/>
              <a:gd name="connsiteY3" fmla="*/ 479657 h 479657"/>
            </a:gdLst>
            <a:ahLst/>
            <a:cxnLst>
              <a:cxn ang="0">
                <a:pos x="connsiteX0" y="connsiteY0"/>
              </a:cxn>
              <a:cxn ang="0">
                <a:pos x="connsiteX1" y="connsiteY1"/>
              </a:cxn>
              <a:cxn ang="0">
                <a:pos x="connsiteX2" y="connsiteY2"/>
              </a:cxn>
              <a:cxn ang="0">
                <a:pos x="connsiteX3" y="connsiteY3"/>
              </a:cxn>
            </a:cxnLst>
            <a:rect l="l" t="t" r="r" b="b"/>
            <a:pathLst>
              <a:path w="1005074" h="479657">
                <a:moveTo>
                  <a:pt x="0" y="0"/>
                </a:moveTo>
                <a:lnTo>
                  <a:pt x="684739" y="267795"/>
                </a:lnTo>
                <a:lnTo>
                  <a:pt x="1005074" y="391522"/>
                </a:lnTo>
                <a:lnTo>
                  <a:pt x="650841" y="479657"/>
                </a:lnTo>
                <a:close/>
              </a:path>
            </a:pathLst>
          </a:custGeom>
          <a:gradFill flip="none" rotWithShape="1">
            <a:gsLst>
              <a:gs pos="0">
                <a:schemeClr val="accent1">
                  <a:lumMod val="80000"/>
                </a:schemeClr>
              </a:gs>
              <a:gs pos="100000">
                <a:schemeClr val="accent1">
                  <a:lumMod val="40000"/>
                </a:schemeClr>
              </a:gs>
            </a:gsLst>
            <a:path path="circle">
              <a:fillToRect r="100000" b="100000"/>
            </a:path>
            <a:tileRect l="-100000" t="-10000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id-ID" dirty="0">
              <a:solidFill>
                <a:srgbClr val="FFFFFF"/>
              </a:solidFill>
              <a:latin typeface="Arial"/>
            </a:endParaRPr>
          </a:p>
        </p:txBody>
      </p:sp>
      <p:sp>
        <p:nvSpPr>
          <p:cNvPr id="24" name="任意多边形: 形状 23">
            <a:extLst>
              <a:ext uri="{FF2B5EF4-FFF2-40B4-BE49-F238E27FC236}">
                <a16:creationId xmlns:a16="http://schemas.microsoft.com/office/drawing/2014/main" id="{35E770BA-C75C-4A7B-5625-4D5015F0C7C7}"/>
              </a:ext>
            </a:extLst>
          </p:cNvPr>
          <p:cNvSpPr>
            <a:spLocks/>
          </p:cNvSpPr>
          <p:nvPr/>
        </p:nvSpPr>
        <p:spPr bwMode="auto">
          <a:xfrm>
            <a:off x="5228011" y="3632188"/>
            <a:ext cx="3094885" cy="1957608"/>
          </a:xfrm>
          <a:custGeom>
            <a:avLst/>
            <a:gdLst>
              <a:gd name="connsiteX0" fmla="*/ 2496586 w 3094885"/>
              <a:gd name="connsiteY0" fmla="*/ 0 h 1957608"/>
              <a:gd name="connsiteX1" fmla="*/ 3094885 w 3094885"/>
              <a:gd name="connsiteY1" fmla="*/ 816941 h 1957608"/>
              <a:gd name="connsiteX2" fmla="*/ 0 w 3094885"/>
              <a:gd name="connsiteY2" fmla="*/ 1957608 h 1957608"/>
              <a:gd name="connsiteX3" fmla="*/ 223727 w 3094885"/>
              <a:gd name="connsiteY3" fmla="*/ 569486 h 1957608"/>
              <a:gd name="connsiteX4" fmla="*/ 577961 w 3094885"/>
              <a:gd name="connsiteY4" fmla="*/ 481351 h 1957608"/>
              <a:gd name="connsiteX5" fmla="*/ 803382 w 3094885"/>
              <a:gd name="connsiteY5" fmla="*/ 569486 h 1957608"/>
              <a:gd name="connsiteX6" fmla="*/ 1489816 w 3094885"/>
              <a:gd name="connsiteY6" fmla="*/ 252540 h 1957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94885" h="1957608">
                <a:moveTo>
                  <a:pt x="2496586" y="0"/>
                </a:moveTo>
                <a:lnTo>
                  <a:pt x="3094885" y="816941"/>
                </a:lnTo>
                <a:lnTo>
                  <a:pt x="0" y="1957608"/>
                </a:lnTo>
                <a:lnTo>
                  <a:pt x="223727" y="569486"/>
                </a:lnTo>
                <a:lnTo>
                  <a:pt x="577961" y="481351"/>
                </a:lnTo>
                <a:lnTo>
                  <a:pt x="803382" y="569486"/>
                </a:lnTo>
                <a:lnTo>
                  <a:pt x="1489816" y="252540"/>
                </a:lnTo>
                <a:close/>
              </a:path>
            </a:pathLst>
          </a:custGeom>
          <a:gradFill flip="none" rotWithShape="1">
            <a:gsLst>
              <a:gs pos="100000">
                <a:schemeClr val="accent1">
                  <a:lumMod val="90000"/>
                </a:schemeClr>
              </a:gs>
              <a:gs pos="0">
                <a:schemeClr val="accent1">
                  <a:lumMod val="75000"/>
                  <a:lumOff val="25000"/>
                </a:schemeClr>
              </a:gs>
            </a:gsLst>
            <a:lin ang="2700000" scaled="1"/>
            <a:tileRect/>
          </a:gradFill>
          <a:ln w="25400">
            <a:noFill/>
          </a:ln>
          <a:effectLst/>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485899" tIns="63500" rIns="1485901" bIns="63500" numCol="1" spcCol="1270" anchor="ctr" anchorCtr="0">
            <a:noAutofit/>
          </a:bodyPr>
          <a:lstStyle/>
          <a:p>
            <a:pPr algn="ctr" defTabSz="2222500">
              <a:lnSpc>
                <a:spcPct val="90000"/>
              </a:lnSpc>
              <a:spcBef>
                <a:spcPct val="0"/>
              </a:spcBef>
              <a:spcAft>
                <a:spcPct val="35000"/>
              </a:spcAft>
            </a:pPr>
            <a:endParaRPr lang="id-ID" sz="3200">
              <a:solidFill>
                <a:prstClr val="white"/>
              </a:solidFill>
              <a:latin typeface="等线" panose="020F0502020204030204"/>
              <a:ea typeface="等线" panose="02010600030101010101" pitchFamily="2" charset="-122"/>
            </a:endParaRPr>
          </a:p>
        </p:txBody>
      </p:sp>
      <p:sp>
        <p:nvSpPr>
          <p:cNvPr id="26" name="任意多边形: 形状 25">
            <a:extLst>
              <a:ext uri="{FF2B5EF4-FFF2-40B4-BE49-F238E27FC236}">
                <a16:creationId xmlns:a16="http://schemas.microsoft.com/office/drawing/2014/main" id="{5C6B8B1A-7390-85F0-CB54-9AAFE869DA66}"/>
              </a:ext>
            </a:extLst>
          </p:cNvPr>
          <p:cNvSpPr>
            <a:spLocks/>
          </p:cNvSpPr>
          <p:nvPr/>
        </p:nvSpPr>
        <p:spPr bwMode="auto">
          <a:xfrm>
            <a:off x="3869105" y="3511850"/>
            <a:ext cx="1591510" cy="2083032"/>
          </a:xfrm>
          <a:custGeom>
            <a:avLst/>
            <a:gdLst>
              <a:gd name="connsiteX0" fmla="*/ 399996 w 1591510"/>
              <a:gd name="connsiteY0" fmla="*/ 0 h 2083032"/>
              <a:gd name="connsiteX1" fmla="*/ 940669 w 1591510"/>
              <a:gd name="connsiteY1" fmla="*/ 210168 h 2083032"/>
              <a:gd name="connsiteX2" fmla="*/ 1591510 w 1591510"/>
              <a:gd name="connsiteY2" fmla="*/ 689824 h 2083032"/>
              <a:gd name="connsiteX3" fmla="*/ 1367784 w 1591510"/>
              <a:gd name="connsiteY3" fmla="*/ 2077947 h 2083032"/>
              <a:gd name="connsiteX4" fmla="*/ 1359309 w 1591510"/>
              <a:gd name="connsiteY4" fmla="*/ 2083032 h 2083032"/>
              <a:gd name="connsiteX5" fmla="*/ 0 w 1591510"/>
              <a:gd name="connsiteY5" fmla="*/ 555927 h 2083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91510" h="2083032">
                <a:moveTo>
                  <a:pt x="399996" y="0"/>
                </a:moveTo>
                <a:lnTo>
                  <a:pt x="940669" y="210168"/>
                </a:lnTo>
                <a:lnTo>
                  <a:pt x="1591510" y="689824"/>
                </a:lnTo>
                <a:lnTo>
                  <a:pt x="1367784" y="2077947"/>
                </a:lnTo>
                <a:lnTo>
                  <a:pt x="1359309" y="2083032"/>
                </a:lnTo>
                <a:lnTo>
                  <a:pt x="0" y="555927"/>
                </a:lnTo>
                <a:close/>
              </a:path>
            </a:pathLst>
          </a:custGeom>
          <a:gradFill flip="none" rotWithShape="1">
            <a:gsLst>
              <a:gs pos="0">
                <a:schemeClr val="accent1">
                  <a:lumMod val="100000"/>
                </a:schemeClr>
              </a:gs>
              <a:gs pos="100000">
                <a:schemeClr val="accent1">
                  <a:lumMod val="60000"/>
                </a:schemeClr>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id-ID">
              <a:solidFill>
                <a:srgbClr val="FFFFFF"/>
              </a:solidFill>
              <a:latin typeface="Arial"/>
            </a:endParaRPr>
          </a:p>
        </p:txBody>
      </p:sp>
      <p:sp>
        <p:nvSpPr>
          <p:cNvPr id="22" name="任意多边形: 形状 21">
            <a:extLst>
              <a:ext uri="{FF2B5EF4-FFF2-40B4-BE49-F238E27FC236}">
                <a16:creationId xmlns:a16="http://schemas.microsoft.com/office/drawing/2014/main" id="{35F78778-A80F-F262-D3B4-0570D5954016}"/>
              </a:ext>
            </a:extLst>
          </p:cNvPr>
          <p:cNvSpPr>
            <a:spLocks/>
          </p:cNvSpPr>
          <p:nvPr/>
        </p:nvSpPr>
        <p:spPr bwMode="auto">
          <a:xfrm>
            <a:off x="5754068" y="1271147"/>
            <a:ext cx="1488121" cy="1823711"/>
          </a:xfrm>
          <a:custGeom>
            <a:avLst/>
            <a:gdLst>
              <a:gd name="connsiteX0" fmla="*/ 296607 w 1488121"/>
              <a:gd name="connsiteY0" fmla="*/ 0 h 1823711"/>
              <a:gd name="connsiteX1" fmla="*/ 1488121 w 1488121"/>
              <a:gd name="connsiteY1" fmla="*/ 1628798 h 1823711"/>
              <a:gd name="connsiteX2" fmla="*/ 1362699 w 1488121"/>
              <a:gd name="connsiteY2" fmla="*/ 1645747 h 1823711"/>
              <a:gd name="connsiteX3" fmla="*/ 889822 w 1488121"/>
              <a:gd name="connsiteY3" fmla="*/ 1706763 h 1823711"/>
              <a:gd name="connsiteX4" fmla="*/ 174575 w 1488121"/>
              <a:gd name="connsiteY4" fmla="*/ 1799983 h 1823711"/>
              <a:gd name="connsiteX5" fmla="*/ 0 w 1488121"/>
              <a:gd name="connsiteY5" fmla="*/ 1823711 h 1823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88121" h="1823711">
                <a:moveTo>
                  <a:pt x="296607" y="0"/>
                </a:moveTo>
                <a:lnTo>
                  <a:pt x="1488121" y="1628798"/>
                </a:lnTo>
                <a:lnTo>
                  <a:pt x="1362699" y="1645747"/>
                </a:lnTo>
                <a:lnTo>
                  <a:pt x="889822" y="1706763"/>
                </a:lnTo>
                <a:lnTo>
                  <a:pt x="174575" y="1799983"/>
                </a:lnTo>
                <a:lnTo>
                  <a:pt x="0" y="1823711"/>
                </a:lnTo>
                <a:close/>
              </a:path>
            </a:pathLst>
          </a:custGeom>
          <a:gradFill flip="none" rotWithShape="1">
            <a:gsLst>
              <a:gs pos="0">
                <a:schemeClr val="accent1">
                  <a:lumMod val="15000"/>
                  <a:lumOff val="85000"/>
                </a:schemeClr>
              </a:gs>
              <a:gs pos="100000">
                <a:schemeClr val="accent1">
                  <a:lumMod val="80000"/>
                  <a:lumOff val="20000"/>
                </a:schemeClr>
              </a:gs>
            </a:gsLst>
            <a:path path="circle">
              <a:fillToRect r="100000" b="100000"/>
            </a:path>
            <a:tileRect l="-100000" t="-100000"/>
          </a:gradFill>
          <a:ln w="6350">
            <a:gradFill>
              <a:gsLst>
                <a:gs pos="0">
                  <a:schemeClr val="accent1">
                    <a:lumMod val="0"/>
                    <a:lumOff val="100000"/>
                    <a:alpha val="70000"/>
                  </a:schemeClr>
                </a:gs>
                <a:gs pos="100000">
                  <a:schemeClr val="accent1">
                    <a:lumMod val="0"/>
                    <a:lumOff val="100000"/>
                    <a:alpha val="7000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id-ID" dirty="0">
              <a:solidFill>
                <a:srgbClr val="FFFFFF"/>
              </a:solidFill>
              <a:latin typeface="Arial"/>
            </a:endParaRPr>
          </a:p>
        </p:txBody>
      </p:sp>
      <p:sp>
        <p:nvSpPr>
          <p:cNvPr id="30" name="任意多边形: 形状 29">
            <a:extLst>
              <a:ext uri="{FF2B5EF4-FFF2-40B4-BE49-F238E27FC236}">
                <a16:creationId xmlns:a16="http://schemas.microsoft.com/office/drawing/2014/main" id="{F137E31F-59D3-777F-2519-3E17C1D1BC0B}"/>
              </a:ext>
            </a:extLst>
          </p:cNvPr>
          <p:cNvSpPr>
            <a:spLocks/>
          </p:cNvSpPr>
          <p:nvPr/>
        </p:nvSpPr>
        <p:spPr bwMode="auto">
          <a:xfrm>
            <a:off x="4976329" y="1263119"/>
            <a:ext cx="1071177" cy="1823711"/>
          </a:xfrm>
          <a:custGeom>
            <a:avLst/>
            <a:gdLst>
              <a:gd name="connsiteX0" fmla="*/ 1071177 w 1071177"/>
              <a:gd name="connsiteY0" fmla="*/ 0 h 1823711"/>
              <a:gd name="connsiteX1" fmla="*/ 774570 w 1071177"/>
              <a:gd name="connsiteY1" fmla="*/ 1823711 h 1823711"/>
              <a:gd name="connsiteX2" fmla="*/ 122033 w 1071177"/>
              <a:gd name="connsiteY2" fmla="*/ 1532189 h 1823711"/>
              <a:gd name="connsiteX3" fmla="*/ 0 w 1071177"/>
              <a:gd name="connsiteY3" fmla="*/ 1479647 h 1823711"/>
            </a:gdLst>
            <a:ahLst/>
            <a:cxnLst>
              <a:cxn ang="0">
                <a:pos x="connsiteX0" y="connsiteY0"/>
              </a:cxn>
              <a:cxn ang="0">
                <a:pos x="connsiteX1" y="connsiteY1"/>
              </a:cxn>
              <a:cxn ang="0">
                <a:pos x="connsiteX2" y="connsiteY2"/>
              </a:cxn>
              <a:cxn ang="0">
                <a:pos x="connsiteX3" y="connsiteY3"/>
              </a:cxn>
            </a:cxnLst>
            <a:rect l="l" t="t" r="r" b="b"/>
            <a:pathLst>
              <a:path w="1071177" h="1823711">
                <a:moveTo>
                  <a:pt x="1071177" y="0"/>
                </a:moveTo>
                <a:lnTo>
                  <a:pt x="774570" y="1823711"/>
                </a:lnTo>
                <a:lnTo>
                  <a:pt x="122033" y="1532189"/>
                </a:lnTo>
                <a:lnTo>
                  <a:pt x="0" y="1479647"/>
                </a:lnTo>
                <a:close/>
              </a:path>
            </a:pathLst>
          </a:custGeom>
          <a:gradFill flip="none" rotWithShape="1">
            <a:gsLst>
              <a:gs pos="0">
                <a:schemeClr val="accent1">
                  <a:lumMod val="15000"/>
                  <a:lumOff val="85000"/>
                </a:schemeClr>
              </a:gs>
              <a:gs pos="100000">
                <a:schemeClr val="accent1">
                  <a:lumMod val="80000"/>
                  <a:lumOff val="20000"/>
                </a:schemeClr>
              </a:gs>
            </a:gsLst>
            <a:path path="circle">
              <a:fillToRect r="100000" b="100000"/>
            </a:path>
            <a:tileRect l="-100000" t="-100000"/>
          </a:gradFill>
          <a:ln w="6350">
            <a:gradFill>
              <a:gsLst>
                <a:gs pos="0">
                  <a:schemeClr val="accent1">
                    <a:lumMod val="0"/>
                    <a:lumOff val="100000"/>
                    <a:alpha val="70000"/>
                  </a:schemeClr>
                </a:gs>
                <a:gs pos="100000">
                  <a:schemeClr val="accent1">
                    <a:lumMod val="0"/>
                    <a:lumOff val="100000"/>
                    <a:alpha val="7000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id-ID">
              <a:solidFill>
                <a:srgbClr val="FFFFFF"/>
              </a:solidFill>
              <a:latin typeface="Arial"/>
            </a:endParaRPr>
          </a:p>
        </p:txBody>
      </p:sp>
      <p:sp>
        <p:nvSpPr>
          <p:cNvPr id="38" name="任意多边形: 形状 37">
            <a:extLst>
              <a:ext uri="{FF2B5EF4-FFF2-40B4-BE49-F238E27FC236}">
                <a16:creationId xmlns:a16="http://schemas.microsoft.com/office/drawing/2014/main" id="{C5EDFAC7-B0DA-0B12-8DA5-56EC0BB51574}"/>
              </a:ext>
            </a:extLst>
          </p:cNvPr>
          <p:cNvSpPr>
            <a:spLocks/>
          </p:cNvSpPr>
          <p:nvPr/>
        </p:nvSpPr>
        <p:spPr bwMode="auto">
          <a:xfrm>
            <a:off x="6740668" y="3623713"/>
            <a:ext cx="987355" cy="261014"/>
          </a:xfrm>
          <a:custGeom>
            <a:avLst/>
            <a:gdLst>
              <a:gd name="connsiteX0" fmla="*/ 549147 w 1013549"/>
              <a:gd name="connsiteY0" fmla="*/ 0 h 261014"/>
              <a:gd name="connsiteX1" fmla="*/ 1013549 w 1013549"/>
              <a:gd name="connsiteY1" fmla="*/ 0 h 261014"/>
              <a:gd name="connsiteX2" fmla="*/ 0 w 1013549"/>
              <a:gd name="connsiteY2" fmla="*/ 261014 h 261014"/>
              <a:gd name="connsiteX0" fmla="*/ 549147 w 987355"/>
              <a:gd name="connsiteY0" fmla="*/ 0 h 261014"/>
              <a:gd name="connsiteX1" fmla="*/ 987355 w 987355"/>
              <a:gd name="connsiteY1" fmla="*/ 7144 h 261014"/>
              <a:gd name="connsiteX2" fmla="*/ 0 w 987355"/>
              <a:gd name="connsiteY2" fmla="*/ 261014 h 261014"/>
              <a:gd name="connsiteX3" fmla="*/ 549147 w 987355"/>
              <a:gd name="connsiteY3" fmla="*/ 0 h 261014"/>
            </a:gdLst>
            <a:ahLst/>
            <a:cxnLst>
              <a:cxn ang="0">
                <a:pos x="connsiteX0" y="connsiteY0"/>
              </a:cxn>
              <a:cxn ang="0">
                <a:pos x="connsiteX1" y="connsiteY1"/>
              </a:cxn>
              <a:cxn ang="0">
                <a:pos x="connsiteX2" y="connsiteY2"/>
              </a:cxn>
              <a:cxn ang="0">
                <a:pos x="connsiteX3" y="connsiteY3"/>
              </a:cxn>
            </a:cxnLst>
            <a:rect l="l" t="t" r="r" b="b"/>
            <a:pathLst>
              <a:path w="987355" h="261014">
                <a:moveTo>
                  <a:pt x="549147" y="0"/>
                </a:moveTo>
                <a:lnTo>
                  <a:pt x="987355" y="7144"/>
                </a:lnTo>
                <a:lnTo>
                  <a:pt x="0" y="261014"/>
                </a:lnTo>
                <a:lnTo>
                  <a:pt x="549147" y="0"/>
                </a:lnTo>
                <a:close/>
              </a:path>
            </a:pathLst>
          </a:custGeom>
          <a:gradFill flip="none" rotWithShape="1">
            <a:gsLst>
              <a:gs pos="0">
                <a:schemeClr val="accent1">
                  <a:lumMod val="80000"/>
                </a:schemeClr>
              </a:gs>
              <a:gs pos="100000">
                <a:schemeClr val="accent1">
                  <a:lumMod val="40000"/>
                </a:schemeClr>
              </a:gs>
            </a:gsLst>
            <a:path path="circle">
              <a:fillToRect r="100000" b="100000"/>
            </a:path>
            <a:tileRect l="-100000" t="-10000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id-ID">
              <a:solidFill>
                <a:srgbClr val="FFFFFF"/>
              </a:solidFill>
              <a:latin typeface="Arial"/>
            </a:endParaRPr>
          </a:p>
        </p:txBody>
      </p:sp>
      <p:sp>
        <p:nvSpPr>
          <p:cNvPr id="45" name="任意多边形: 形状 44">
            <a:extLst>
              <a:ext uri="{FF2B5EF4-FFF2-40B4-BE49-F238E27FC236}">
                <a16:creationId xmlns:a16="http://schemas.microsoft.com/office/drawing/2014/main" id="{40A8EB55-4FF1-9B85-81A8-66BC4294D9A8}"/>
              </a:ext>
            </a:extLst>
          </p:cNvPr>
          <p:cNvSpPr>
            <a:spLocks/>
          </p:cNvSpPr>
          <p:nvPr/>
        </p:nvSpPr>
        <p:spPr bwMode="auto">
          <a:xfrm>
            <a:off x="6033017" y="2893966"/>
            <a:ext cx="1682957" cy="1318604"/>
          </a:xfrm>
          <a:custGeom>
            <a:avLst/>
            <a:gdLst>
              <a:gd name="connsiteX0" fmla="*/ 1257899 w 1737473"/>
              <a:gd name="connsiteY0" fmla="*/ 0 h 1380123"/>
              <a:gd name="connsiteX1" fmla="*/ 1737473 w 1737473"/>
              <a:gd name="connsiteY1" fmla="*/ 710163 h 1380123"/>
              <a:gd name="connsiteX2" fmla="*/ 1532201 w 1737473"/>
              <a:gd name="connsiteY2" fmla="*/ 798298 h 1380123"/>
              <a:gd name="connsiteX3" fmla="*/ 947265 w 1737473"/>
              <a:gd name="connsiteY3" fmla="*/ 1050838 h 1380123"/>
              <a:gd name="connsiteX4" fmla="*/ 211554 w 1737473"/>
              <a:gd name="connsiteY4" fmla="*/ 1367784 h 1380123"/>
              <a:gd name="connsiteX5" fmla="*/ 209573 w 1737473"/>
              <a:gd name="connsiteY5" fmla="*/ 1316018 h 1380123"/>
              <a:gd name="connsiteX6" fmla="*/ 211862 w 1737473"/>
              <a:gd name="connsiteY6" fmla="*/ 1380123 h 1380123"/>
              <a:gd name="connsiteX7" fmla="*/ 54516 w 1737473"/>
              <a:gd name="connsiteY7" fmla="*/ 1318604 h 1380123"/>
              <a:gd name="connsiteX8" fmla="*/ 94042 w 1737473"/>
              <a:gd name="connsiteY8" fmla="*/ 189643 h 1380123"/>
              <a:gd name="connsiteX9" fmla="*/ 0 w 1737473"/>
              <a:gd name="connsiteY9" fmla="*/ 166576 h 1380123"/>
              <a:gd name="connsiteX10" fmla="*/ 177372 w 1737473"/>
              <a:gd name="connsiteY10" fmla="*/ 210082 h 1380123"/>
              <a:gd name="connsiteX11" fmla="*/ 177039 w 1737473"/>
              <a:gd name="connsiteY11" fmla="*/ 198303 h 1380123"/>
              <a:gd name="connsiteX12" fmla="*/ 751075 w 1737473"/>
              <a:gd name="connsiteY12" fmla="*/ 61017 h 1380123"/>
              <a:gd name="connsiteX0" fmla="*/ 1257899 w 1737473"/>
              <a:gd name="connsiteY0" fmla="*/ 0 h 1380123"/>
              <a:gd name="connsiteX1" fmla="*/ 1737473 w 1737473"/>
              <a:gd name="connsiteY1" fmla="*/ 710163 h 1380123"/>
              <a:gd name="connsiteX2" fmla="*/ 1532201 w 1737473"/>
              <a:gd name="connsiteY2" fmla="*/ 798298 h 1380123"/>
              <a:gd name="connsiteX3" fmla="*/ 947265 w 1737473"/>
              <a:gd name="connsiteY3" fmla="*/ 1050838 h 1380123"/>
              <a:gd name="connsiteX4" fmla="*/ 211554 w 1737473"/>
              <a:gd name="connsiteY4" fmla="*/ 1367784 h 1380123"/>
              <a:gd name="connsiteX5" fmla="*/ 209573 w 1737473"/>
              <a:gd name="connsiteY5" fmla="*/ 1316018 h 1380123"/>
              <a:gd name="connsiteX6" fmla="*/ 211862 w 1737473"/>
              <a:gd name="connsiteY6" fmla="*/ 1380123 h 1380123"/>
              <a:gd name="connsiteX7" fmla="*/ 54516 w 1737473"/>
              <a:gd name="connsiteY7" fmla="*/ 1318604 h 1380123"/>
              <a:gd name="connsiteX8" fmla="*/ 94042 w 1737473"/>
              <a:gd name="connsiteY8" fmla="*/ 189643 h 1380123"/>
              <a:gd name="connsiteX9" fmla="*/ 0 w 1737473"/>
              <a:gd name="connsiteY9" fmla="*/ 166576 h 1380123"/>
              <a:gd name="connsiteX10" fmla="*/ 177372 w 1737473"/>
              <a:gd name="connsiteY10" fmla="*/ 210082 h 1380123"/>
              <a:gd name="connsiteX11" fmla="*/ 751075 w 1737473"/>
              <a:gd name="connsiteY11" fmla="*/ 61017 h 1380123"/>
              <a:gd name="connsiteX12" fmla="*/ 1257899 w 1737473"/>
              <a:gd name="connsiteY12" fmla="*/ 0 h 1380123"/>
              <a:gd name="connsiteX0" fmla="*/ 1257899 w 1737473"/>
              <a:gd name="connsiteY0" fmla="*/ 0 h 1380123"/>
              <a:gd name="connsiteX1" fmla="*/ 1737473 w 1737473"/>
              <a:gd name="connsiteY1" fmla="*/ 710163 h 1380123"/>
              <a:gd name="connsiteX2" fmla="*/ 1532201 w 1737473"/>
              <a:gd name="connsiteY2" fmla="*/ 798298 h 1380123"/>
              <a:gd name="connsiteX3" fmla="*/ 947265 w 1737473"/>
              <a:gd name="connsiteY3" fmla="*/ 1050838 h 1380123"/>
              <a:gd name="connsiteX4" fmla="*/ 211554 w 1737473"/>
              <a:gd name="connsiteY4" fmla="*/ 1367784 h 1380123"/>
              <a:gd name="connsiteX5" fmla="*/ 209573 w 1737473"/>
              <a:gd name="connsiteY5" fmla="*/ 1316018 h 1380123"/>
              <a:gd name="connsiteX6" fmla="*/ 211862 w 1737473"/>
              <a:gd name="connsiteY6" fmla="*/ 1380123 h 1380123"/>
              <a:gd name="connsiteX7" fmla="*/ 54516 w 1737473"/>
              <a:gd name="connsiteY7" fmla="*/ 1318604 h 1380123"/>
              <a:gd name="connsiteX8" fmla="*/ 94042 w 1737473"/>
              <a:gd name="connsiteY8" fmla="*/ 189643 h 1380123"/>
              <a:gd name="connsiteX9" fmla="*/ 0 w 1737473"/>
              <a:gd name="connsiteY9" fmla="*/ 166576 h 1380123"/>
              <a:gd name="connsiteX10" fmla="*/ 751075 w 1737473"/>
              <a:gd name="connsiteY10" fmla="*/ 61017 h 1380123"/>
              <a:gd name="connsiteX11" fmla="*/ 1257899 w 1737473"/>
              <a:gd name="connsiteY11" fmla="*/ 0 h 1380123"/>
              <a:gd name="connsiteX0" fmla="*/ 1203383 w 1682957"/>
              <a:gd name="connsiteY0" fmla="*/ 0 h 1380123"/>
              <a:gd name="connsiteX1" fmla="*/ 1682957 w 1682957"/>
              <a:gd name="connsiteY1" fmla="*/ 710163 h 1380123"/>
              <a:gd name="connsiteX2" fmla="*/ 1477685 w 1682957"/>
              <a:gd name="connsiteY2" fmla="*/ 798298 h 1380123"/>
              <a:gd name="connsiteX3" fmla="*/ 892749 w 1682957"/>
              <a:gd name="connsiteY3" fmla="*/ 1050838 h 1380123"/>
              <a:gd name="connsiteX4" fmla="*/ 157038 w 1682957"/>
              <a:gd name="connsiteY4" fmla="*/ 1367784 h 1380123"/>
              <a:gd name="connsiteX5" fmla="*/ 155057 w 1682957"/>
              <a:gd name="connsiteY5" fmla="*/ 1316018 h 1380123"/>
              <a:gd name="connsiteX6" fmla="*/ 157346 w 1682957"/>
              <a:gd name="connsiteY6" fmla="*/ 1380123 h 1380123"/>
              <a:gd name="connsiteX7" fmla="*/ 0 w 1682957"/>
              <a:gd name="connsiteY7" fmla="*/ 1318604 h 1380123"/>
              <a:gd name="connsiteX8" fmla="*/ 39526 w 1682957"/>
              <a:gd name="connsiteY8" fmla="*/ 189643 h 1380123"/>
              <a:gd name="connsiteX9" fmla="*/ 696559 w 1682957"/>
              <a:gd name="connsiteY9" fmla="*/ 61017 h 1380123"/>
              <a:gd name="connsiteX10" fmla="*/ 1203383 w 1682957"/>
              <a:gd name="connsiteY10" fmla="*/ 0 h 1380123"/>
              <a:gd name="connsiteX0" fmla="*/ 1203383 w 1682957"/>
              <a:gd name="connsiteY0" fmla="*/ 0 h 1380123"/>
              <a:gd name="connsiteX1" fmla="*/ 1682957 w 1682957"/>
              <a:gd name="connsiteY1" fmla="*/ 710163 h 1380123"/>
              <a:gd name="connsiteX2" fmla="*/ 1477685 w 1682957"/>
              <a:gd name="connsiteY2" fmla="*/ 798298 h 1380123"/>
              <a:gd name="connsiteX3" fmla="*/ 892749 w 1682957"/>
              <a:gd name="connsiteY3" fmla="*/ 1050838 h 1380123"/>
              <a:gd name="connsiteX4" fmla="*/ 157038 w 1682957"/>
              <a:gd name="connsiteY4" fmla="*/ 1367784 h 1380123"/>
              <a:gd name="connsiteX5" fmla="*/ 155057 w 1682957"/>
              <a:gd name="connsiteY5" fmla="*/ 1316018 h 1380123"/>
              <a:gd name="connsiteX6" fmla="*/ 157346 w 1682957"/>
              <a:gd name="connsiteY6" fmla="*/ 1380123 h 1380123"/>
              <a:gd name="connsiteX7" fmla="*/ 0 w 1682957"/>
              <a:gd name="connsiteY7" fmla="*/ 1318604 h 1380123"/>
              <a:gd name="connsiteX8" fmla="*/ 39526 w 1682957"/>
              <a:gd name="connsiteY8" fmla="*/ 189643 h 1380123"/>
              <a:gd name="connsiteX9" fmla="*/ 701321 w 1682957"/>
              <a:gd name="connsiteY9" fmla="*/ 84829 h 1380123"/>
              <a:gd name="connsiteX10" fmla="*/ 1203383 w 1682957"/>
              <a:gd name="connsiteY10" fmla="*/ 0 h 1380123"/>
              <a:gd name="connsiteX0" fmla="*/ 1203383 w 1682957"/>
              <a:gd name="connsiteY0" fmla="*/ 0 h 1367784"/>
              <a:gd name="connsiteX1" fmla="*/ 1682957 w 1682957"/>
              <a:gd name="connsiteY1" fmla="*/ 710163 h 1367784"/>
              <a:gd name="connsiteX2" fmla="*/ 1477685 w 1682957"/>
              <a:gd name="connsiteY2" fmla="*/ 798298 h 1367784"/>
              <a:gd name="connsiteX3" fmla="*/ 892749 w 1682957"/>
              <a:gd name="connsiteY3" fmla="*/ 1050838 h 1367784"/>
              <a:gd name="connsiteX4" fmla="*/ 157038 w 1682957"/>
              <a:gd name="connsiteY4" fmla="*/ 1367784 h 1367784"/>
              <a:gd name="connsiteX5" fmla="*/ 155057 w 1682957"/>
              <a:gd name="connsiteY5" fmla="*/ 1316018 h 1367784"/>
              <a:gd name="connsiteX6" fmla="*/ 0 w 1682957"/>
              <a:gd name="connsiteY6" fmla="*/ 1318604 h 1367784"/>
              <a:gd name="connsiteX7" fmla="*/ 39526 w 1682957"/>
              <a:gd name="connsiteY7" fmla="*/ 189643 h 1367784"/>
              <a:gd name="connsiteX8" fmla="*/ 701321 w 1682957"/>
              <a:gd name="connsiteY8" fmla="*/ 84829 h 1367784"/>
              <a:gd name="connsiteX9" fmla="*/ 1203383 w 1682957"/>
              <a:gd name="connsiteY9" fmla="*/ 0 h 1367784"/>
              <a:gd name="connsiteX0" fmla="*/ 1203383 w 1682957"/>
              <a:gd name="connsiteY0" fmla="*/ 0 h 1318604"/>
              <a:gd name="connsiteX1" fmla="*/ 1682957 w 1682957"/>
              <a:gd name="connsiteY1" fmla="*/ 710163 h 1318604"/>
              <a:gd name="connsiteX2" fmla="*/ 1477685 w 1682957"/>
              <a:gd name="connsiteY2" fmla="*/ 798298 h 1318604"/>
              <a:gd name="connsiteX3" fmla="*/ 892749 w 1682957"/>
              <a:gd name="connsiteY3" fmla="*/ 1050838 h 1318604"/>
              <a:gd name="connsiteX4" fmla="*/ 155057 w 1682957"/>
              <a:gd name="connsiteY4" fmla="*/ 1316018 h 1318604"/>
              <a:gd name="connsiteX5" fmla="*/ 0 w 1682957"/>
              <a:gd name="connsiteY5" fmla="*/ 1318604 h 1318604"/>
              <a:gd name="connsiteX6" fmla="*/ 39526 w 1682957"/>
              <a:gd name="connsiteY6" fmla="*/ 189643 h 1318604"/>
              <a:gd name="connsiteX7" fmla="*/ 701321 w 1682957"/>
              <a:gd name="connsiteY7" fmla="*/ 84829 h 1318604"/>
              <a:gd name="connsiteX8" fmla="*/ 1203383 w 1682957"/>
              <a:gd name="connsiteY8" fmla="*/ 0 h 1318604"/>
              <a:gd name="connsiteX0" fmla="*/ 1203383 w 1682957"/>
              <a:gd name="connsiteY0" fmla="*/ 0 h 1318604"/>
              <a:gd name="connsiteX1" fmla="*/ 1682957 w 1682957"/>
              <a:gd name="connsiteY1" fmla="*/ 710163 h 1318604"/>
              <a:gd name="connsiteX2" fmla="*/ 1477685 w 1682957"/>
              <a:gd name="connsiteY2" fmla="*/ 798298 h 1318604"/>
              <a:gd name="connsiteX3" fmla="*/ 892749 w 1682957"/>
              <a:gd name="connsiteY3" fmla="*/ 1050838 h 1318604"/>
              <a:gd name="connsiteX4" fmla="*/ 0 w 1682957"/>
              <a:gd name="connsiteY4" fmla="*/ 1318604 h 1318604"/>
              <a:gd name="connsiteX5" fmla="*/ 39526 w 1682957"/>
              <a:gd name="connsiteY5" fmla="*/ 189643 h 1318604"/>
              <a:gd name="connsiteX6" fmla="*/ 701321 w 1682957"/>
              <a:gd name="connsiteY6" fmla="*/ 84829 h 1318604"/>
              <a:gd name="connsiteX7" fmla="*/ 1203383 w 1682957"/>
              <a:gd name="connsiteY7" fmla="*/ 0 h 1318604"/>
              <a:gd name="connsiteX0" fmla="*/ 1203383 w 1682957"/>
              <a:gd name="connsiteY0" fmla="*/ 0 h 1318604"/>
              <a:gd name="connsiteX1" fmla="*/ 1682957 w 1682957"/>
              <a:gd name="connsiteY1" fmla="*/ 710163 h 1318604"/>
              <a:gd name="connsiteX2" fmla="*/ 1477685 w 1682957"/>
              <a:gd name="connsiteY2" fmla="*/ 798298 h 1318604"/>
              <a:gd name="connsiteX3" fmla="*/ 0 w 1682957"/>
              <a:gd name="connsiteY3" fmla="*/ 1318604 h 1318604"/>
              <a:gd name="connsiteX4" fmla="*/ 39526 w 1682957"/>
              <a:gd name="connsiteY4" fmla="*/ 189643 h 1318604"/>
              <a:gd name="connsiteX5" fmla="*/ 701321 w 1682957"/>
              <a:gd name="connsiteY5" fmla="*/ 84829 h 1318604"/>
              <a:gd name="connsiteX6" fmla="*/ 1203383 w 1682957"/>
              <a:gd name="connsiteY6" fmla="*/ 0 h 1318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2957" h="1318604">
                <a:moveTo>
                  <a:pt x="1203383" y="0"/>
                </a:moveTo>
                <a:lnTo>
                  <a:pt x="1682957" y="710163"/>
                </a:lnTo>
                <a:lnTo>
                  <a:pt x="1477685" y="798298"/>
                </a:lnTo>
                <a:lnTo>
                  <a:pt x="0" y="1318604"/>
                </a:lnTo>
                <a:lnTo>
                  <a:pt x="39526" y="189643"/>
                </a:lnTo>
                <a:lnTo>
                  <a:pt x="701321" y="84829"/>
                </a:lnTo>
                <a:lnTo>
                  <a:pt x="1203383" y="0"/>
                </a:lnTo>
                <a:close/>
              </a:path>
            </a:pathLst>
          </a:custGeom>
          <a:gradFill flip="none" rotWithShape="1">
            <a:gsLst>
              <a:gs pos="100000">
                <a:schemeClr val="accent1">
                  <a:lumMod val="100000"/>
                </a:schemeClr>
              </a:gs>
              <a:gs pos="0">
                <a:schemeClr val="accent1">
                  <a:lumMod val="55000"/>
                  <a:lumOff val="45000"/>
                </a:schemeClr>
              </a:gs>
            </a:gsLst>
            <a:lin ang="2700000" scaled="1"/>
            <a:tileRect/>
          </a:gradFill>
          <a:ln w="25400">
            <a:noFill/>
          </a:ln>
          <a:effectLst>
            <a:outerShdw blurRad="254000" dist="177800" dir="2700000" algn="tl" rotWithShape="0">
              <a:schemeClr val="accent1">
                <a:alpha val="20000"/>
              </a:schemeClr>
            </a:outerShdw>
          </a:effectLst>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485899" tIns="63500" rIns="1485901" bIns="63500" numCol="1" spcCol="1270" anchor="ctr" anchorCtr="0">
            <a:noAutofit/>
          </a:bodyPr>
          <a:lstStyle/>
          <a:p>
            <a:pPr algn="ctr" defTabSz="2222500">
              <a:lnSpc>
                <a:spcPct val="90000"/>
              </a:lnSpc>
              <a:spcBef>
                <a:spcPct val="0"/>
              </a:spcBef>
              <a:spcAft>
                <a:spcPct val="35000"/>
              </a:spcAft>
            </a:pPr>
            <a:endParaRPr lang="id-ID" sz="3200" dirty="0">
              <a:solidFill>
                <a:prstClr val="white"/>
              </a:solidFill>
              <a:latin typeface="等线" panose="020F0502020204030204"/>
              <a:ea typeface="等线" panose="02010600030101010101" pitchFamily="2" charset="-122"/>
            </a:endParaRPr>
          </a:p>
        </p:txBody>
      </p:sp>
    </p:spTree>
    <p:extLst>
      <p:ext uri="{BB962C8B-B14F-4D97-AF65-F5344CB8AC3E}">
        <p14:creationId xmlns:p14="http://schemas.microsoft.com/office/powerpoint/2010/main" val="1176831214"/>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5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7" name="阴影" descr="D:\andrew\Работа\Андрей\00_Presentations\05_WoW2\00_Drafts_P1\3773.png">
            <a:extLst>
              <a:ext uri="{FF2B5EF4-FFF2-40B4-BE49-F238E27FC236}">
                <a16:creationId xmlns:a16="http://schemas.microsoft.com/office/drawing/2014/main" id="{2E7122C6-C7DC-846D-7C80-DD3D9ECB0EA4}"/>
              </a:ext>
            </a:extLst>
          </p:cNvPr>
          <p:cNvPicPr>
            <a:picLocks noChangeAspect="1" noChangeArrowheads="1"/>
          </p:cNvPicPr>
          <p:nvPr/>
        </p:nvPicPr>
        <p:blipFill>
          <a:blip r:embed="rId4"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452583" y="3806608"/>
            <a:ext cx="6767290" cy="2840043"/>
          </a:xfrm>
          <a:prstGeom prst="rect">
            <a:avLst/>
          </a:prstGeom>
          <a:noFill/>
          <a:extLst>
            <a:ext uri="{909E8E84-426E-40DD-AFC4-6F175D3DCCD1}">
              <a14:hiddenFill xmlns:a14="http://schemas.microsoft.com/office/drawing/2010/main">
                <a:solidFill>
                  <a:srgbClr val="FFFFFF"/>
                </a:solidFill>
              </a14:hiddenFill>
            </a:ext>
          </a:extLst>
        </p:spPr>
      </p:pic>
      <p:sp>
        <p:nvSpPr>
          <p:cNvPr id="68" name="任意多边形: 形状 67">
            <a:extLst>
              <a:ext uri="{FF2B5EF4-FFF2-40B4-BE49-F238E27FC236}">
                <a16:creationId xmlns:a16="http://schemas.microsoft.com/office/drawing/2014/main" id="{3C3BA53C-94A5-EEB3-935A-77CA1063D35D}"/>
              </a:ext>
            </a:extLst>
          </p:cNvPr>
          <p:cNvSpPr/>
          <p:nvPr/>
        </p:nvSpPr>
        <p:spPr>
          <a:xfrm>
            <a:off x="4895668" y="4194146"/>
            <a:ext cx="1179874" cy="1508472"/>
          </a:xfrm>
          <a:custGeom>
            <a:avLst/>
            <a:gdLst>
              <a:gd name="connsiteX0" fmla="*/ 267120 w 1179874"/>
              <a:gd name="connsiteY0" fmla="*/ 0 h 1508472"/>
              <a:gd name="connsiteX1" fmla="*/ 1179868 w 1179874"/>
              <a:gd name="connsiteY1" fmla="*/ 422585 h 1508472"/>
              <a:gd name="connsiteX2" fmla="*/ 1179874 w 1179874"/>
              <a:gd name="connsiteY2" fmla="*/ 1508472 h 1508472"/>
              <a:gd name="connsiteX3" fmla="*/ 0 w 1179874"/>
              <a:gd name="connsiteY3" fmla="*/ 962208 h 1508472"/>
            </a:gdLst>
            <a:ahLst/>
            <a:cxnLst>
              <a:cxn ang="0">
                <a:pos x="connsiteX0" y="connsiteY0"/>
              </a:cxn>
              <a:cxn ang="0">
                <a:pos x="connsiteX1" y="connsiteY1"/>
              </a:cxn>
              <a:cxn ang="0">
                <a:pos x="connsiteX2" y="connsiteY2"/>
              </a:cxn>
              <a:cxn ang="0">
                <a:pos x="connsiteX3" y="connsiteY3"/>
              </a:cxn>
            </a:cxnLst>
            <a:rect l="l" t="t" r="r" b="b"/>
            <a:pathLst>
              <a:path w="1179874" h="1508472">
                <a:moveTo>
                  <a:pt x="267120" y="0"/>
                </a:moveTo>
                <a:lnTo>
                  <a:pt x="1179868" y="422585"/>
                </a:lnTo>
                <a:lnTo>
                  <a:pt x="1179874" y="1508472"/>
                </a:lnTo>
                <a:lnTo>
                  <a:pt x="0" y="962208"/>
                </a:lnTo>
                <a:close/>
              </a:path>
            </a:pathLst>
          </a:custGeom>
          <a:gradFill flip="none" rotWithShape="1">
            <a:gsLst>
              <a:gs pos="100000">
                <a:schemeClr val="accent1">
                  <a:lumMod val="100000"/>
                </a:schemeClr>
              </a:gs>
              <a:gs pos="0">
                <a:schemeClr val="accent1">
                  <a:lumMod val="55000"/>
                  <a:lumOff val="45000"/>
                </a:schemeClr>
              </a:gs>
            </a:gsLst>
            <a:lin ang="2700000" scaled="1"/>
            <a:tileRect/>
          </a:gradFill>
          <a:ln w="25400">
            <a:noFill/>
          </a:ln>
          <a:effectLst>
            <a:outerShdw blurRad="254000" dist="177800" dir="2700000" algn="tl" rotWithShape="0">
              <a:schemeClr val="accent1">
                <a:alpha val="20000"/>
              </a:schemeClr>
            </a:outerShdw>
          </a:effectLst>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485899" tIns="63500" rIns="1485901" bIns="63500" numCol="1" spcCol="1270" anchor="ctr" anchorCtr="0">
            <a:noAutofit/>
          </a:bodyPr>
          <a:lstStyle/>
          <a:p>
            <a:pPr algn="ctr" defTabSz="2222500">
              <a:lnSpc>
                <a:spcPct val="90000"/>
              </a:lnSpc>
              <a:spcBef>
                <a:spcPct val="0"/>
              </a:spcBef>
              <a:spcAft>
                <a:spcPct val="35000"/>
              </a:spcAft>
            </a:pPr>
            <a:endParaRPr lang="en-US" sz="3200">
              <a:solidFill>
                <a:prstClr val="white"/>
              </a:solidFill>
              <a:latin typeface="等线" panose="020F0502020204030204"/>
              <a:ea typeface="等线" panose="02010600030101010101" pitchFamily="2" charset="-122"/>
            </a:endParaRPr>
          </a:p>
        </p:txBody>
      </p:sp>
      <p:sp>
        <p:nvSpPr>
          <p:cNvPr id="70" name="任意多边形: 形状 69">
            <a:extLst>
              <a:ext uri="{FF2B5EF4-FFF2-40B4-BE49-F238E27FC236}">
                <a16:creationId xmlns:a16="http://schemas.microsoft.com/office/drawing/2014/main" id="{21A2F98D-021B-55FF-19E1-F5185EC1D344}"/>
              </a:ext>
            </a:extLst>
          </p:cNvPr>
          <p:cNvSpPr/>
          <p:nvPr/>
        </p:nvSpPr>
        <p:spPr>
          <a:xfrm>
            <a:off x="6075537" y="3779566"/>
            <a:ext cx="2359765" cy="1931046"/>
          </a:xfrm>
          <a:custGeom>
            <a:avLst/>
            <a:gdLst>
              <a:gd name="connsiteX0" fmla="*/ 1825501 w 2359765"/>
              <a:gd name="connsiteY0" fmla="*/ 0 h 1931046"/>
              <a:gd name="connsiteX1" fmla="*/ 2359765 w 2359765"/>
              <a:gd name="connsiteY1" fmla="*/ 838541 h 1931046"/>
              <a:gd name="connsiteX2" fmla="*/ 6 w 2359765"/>
              <a:gd name="connsiteY2" fmla="*/ 1931046 h 1931046"/>
              <a:gd name="connsiteX3" fmla="*/ 0 w 2359765"/>
              <a:gd name="connsiteY3" fmla="*/ 845159 h 1931046"/>
            </a:gdLst>
            <a:ahLst/>
            <a:cxnLst>
              <a:cxn ang="0">
                <a:pos x="connsiteX0" y="connsiteY0"/>
              </a:cxn>
              <a:cxn ang="0">
                <a:pos x="connsiteX1" y="connsiteY1"/>
              </a:cxn>
              <a:cxn ang="0">
                <a:pos x="connsiteX2" y="connsiteY2"/>
              </a:cxn>
              <a:cxn ang="0">
                <a:pos x="connsiteX3" y="connsiteY3"/>
              </a:cxn>
            </a:cxnLst>
            <a:rect l="l" t="t" r="r" b="b"/>
            <a:pathLst>
              <a:path w="2359765" h="1931046">
                <a:moveTo>
                  <a:pt x="1825501" y="0"/>
                </a:moveTo>
                <a:lnTo>
                  <a:pt x="2359765" y="838541"/>
                </a:lnTo>
                <a:lnTo>
                  <a:pt x="6" y="1931046"/>
                </a:lnTo>
                <a:lnTo>
                  <a:pt x="0" y="845159"/>
                </a:lnTo>
                <a:close/>
              </a:path>
            </a:pathLst>
          </a:custGeom>
          <a:gradFill flip="none" rotWithShape="1">
            <a:gsLst>
              <a:gs pos="0">
                <a:schemeClr val="accent1">
                  <a:lumMod val="100000"/>
                </a:schemeClr>
              </a:gs>
              <a:gs pos="100000">
                <a:schemeClr val="accent1">
                  <a:lumMod val="60000"/>
                </a:schemeClr>
              </a:gs>
            </a:gsLst>
            <a:path path="circle">
              <a:fillToRect r="100000" b="100000"/>
            </a:path>
            <a:tileRect l="-100000" t="-10000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solidFill>
                <a:srgbClr val="FFFFFF"/>
              </a:solidFill>
              <a:latin typeface="Arial"/>
            </a:endParaRPr>
          </a:p>
        </p:txBody>
      </p:sp>
      <p:sp>
        <p:nvSpPr>
          <p:cNvPr id="72" name="任意多边形: 形状 71">
            <a:extLst>
              <a:ext uri="{FF2B5EF4-FFF2-40B4-BE49-F238E27FC236}">
                <a16:creationId xmlns:a16="http://schemas.microsoft.com/office/drawing/2014/main" id="{6E5A80C5-6C80-55C4-B8E7-09A750D10470}"/>
              </a:ext>
            </a:extLst>
          </p:cNvPr>
          <p:cNvSpPr/>
          <p:nvPr/>
        </p:nvSpPr>
        <p:spPr>
          <a:xfrm>
            <a:off x="5162789" y="3779567"/>
            <a:ext cx="1825489" cy="845159"/>
          </a:xfrm>
          <a:custGeom>
            <a:avLst/>
            <a:gdLst>
              <a:gd name="connsiteX0" fmla="*/ 912753 w 1825489"/>
              <a:gd name="connsiteY0" fmla="*/ 0 h 845159"/>
              <a:gd name="connsiteX1" fmla="*/ 1825489 w 1825489"/>
              <a:gd name="connsiteY1" fmla="*/ 422573 h 845159"/>
              <a:gd name="connsiteX2" fmla="*/ 912748 w 1825489"/>
              <a:gd name="connsiteY2" fmla="*/ 845159 h 845159"/>
              <a:gd name="connsiteX3" fmla="*/ 0 w 1825489"/>
              <a:gd name="connsiteY3" fmla="*/ 422573 h 845159"/>
            </a:gdLst>
            <a:ahLst/>
            <a:cxnLst>
              <a:cxn ang="0">
                <a:pos x="connsiteX0" y="connsiteY0"/>
              </a:cxn>
              <a:cxn ang="0">
                <a:pos x="connsiteX1" y="connsiteY1"/>
              </a:cxn>
              <a:cxn ang="0">
                <a:pos x="connsiteX2" y="connsiteY2"/>
              </a:cxn>
              <a:cxn ang="0">
                <a:pos x="connsiteX3" y="connsiteY3"/>
              </a:cxn>
            </a:cxnLst>
            <a:rect l="l" t="t" r="r" b="b"/>
            <a:pathLst>
              <a:path w="1825489" h="845159">
                <a:moveTo>
                  <a:pt x="912753" y="0"/>
                </a:moveTo>
                <a:lnTo>
                  <a:pt x="1825489" y="422573"/>
                </a:lnTo>
                <a:lnTo>
                  <a:pt x="912748" y="845159"/>
                </a:lnTo>
                <a:lnTo>
                  <a:pt x="0" y="422573"/>
                </a:lnTo>
                <a:close/>
              </a:path>
            </a:pathLst>
          </a:custGeom>
          <a:gradFill flip="none" rotWithShape="1">
            <a:gsLst>
              <a:gs pos="0">
                <a:schemeClr val="accent1">
                  <a:lumMod val="75000"/>
                  <a:lumOff val="25000"/>
                </a:schemeClr>
              </a:gs>
              <a:gs pos="100000">
                <a:schemeClr val="accent1">
                  <a:lumMod val="80000"/>
                </a:schemeClr>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solidFill>
                <a:srgbClr val="FFFFFF"/>
              </a:solidFill>
              <a:latin typeface="Arial"/>
            </a:endParaRPr>
          </a:p>
        </p:txBody>
      </p:sp>
      <p:sp>
        <p:nvSpPr>
          <p:cNvPr id="78" name="任意多边形: 形状 77">
            <a:extLst>
              <a:ext uri="{FF2B5EF4-FFF2-40B4-BE49-F238E27FC236}">
                <a16:creationId xmlns:a16="http://schemas.microsoft.com/office/drawing/2014/main" id="{BBFDC1F0-3A8D-1F3E-4A92-93A3FCDBF6FE}"/>
              </a:ext>
            </a:extLst>
          </p:cNvPr>
          <p:cNvSpPr/>
          <p:nvPr/>
        </p:nvSpPr>
        <p:spPr>
          <a:xfrm>
            <a:off x="3715799" y="914401"/>
            <a:ext cx="2359741" cy="4249947"/>
          </a:xfrm>
          <a:custGeom>
            <a:avLst/>
            <a:gdLst>
              <a:gd name="connsiteX0" fmla="*/ 2359741 w 2359741"/>
              <a:gd name="connsiteY0" fmla="*/ 0 h 4249947"/>
              <a:gd name="connsiteX1" fmla="*/ 1179868 w 2359741"/>
              <a:gd name="connsiteY1" fmla="*/ 4249947 h 4249947"/>
              <a:gd name="connsiteX2" fmla="*/ 0 w 2359741"/>
              <a:gd name="connsiteY2" fmla="*/ 3703707 h 4249947"/>
            </a:gdLst>
            <a:ahLst/>
            <a:cxnLst>
              <a:cxn ang="0">
                <a:pos x="connsiteX0" y="connsiteY0"/>
              </a:cxn>
              <a:cxn ang="0">
                <a:pos x="connsiteX1" y="connsiteY1"/>
              </a:cxn>
              <a:cxn ang="0">
                <a:pos x="connsiteX2" y="connsiteY2"/>
              </a:cxn>
            </a:cxnLst>
            <a:rect l="l" t="t" r="r" b="b"/>
            <a:pathLst>
              <a:path w="2359741" h="4249947">
                <a:moveTo>
                  <a:pt x="2359741" y="0"/>
                </a:moveTo>
                <a:lnTo>
                  <a:pt x="1179868" y="4249947"/>
                </a:lnTo>
                <a:lnTo>
                  <a:pt x="0" y="3703707"/>
                </a:lnTo>
                <a:close/>
              </a:path>
            </a:pathLst>
          </a:custGeom>
          <a:gradFill flip="none" rotWithShape="1">
            <a:gsLst>
              <a:gs pos="0">
                <a:schemeClr val="accent1">
                  <a:lumMod val="5000"/>
                  <a:lumOff val="95000"/>
                </a:schemeClr>
              </a:gs>
              <a:gs pos="100000">
                <a:schemeClr val="accent1">
                  <a:lumMod val="100000"/>
                </a:schemeClr>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solidFill>
                <a:srgbClr val="FFFFFF"/>
              </a:solidFill>
              <a:latin typeface="Arial"/>
            </a:endParaRPr>
          </a:p>
        </p:txBody>
      </p:sp>
      <p:sp>
        <p:nvSpPr>
          <p:cNvPr id="89" name="任意多边形: 形状 88">
            <a:extLst>
              <a:ext uri="{FF2B5EF4-FFF2-40B4-BE49-F238E27FC236}">
                <a16:creationId xmlns:a16="http://schemas.microsoft.com/office/drawing/2014/main" id="{67218C75-EE8E-0D59-9AD4-9E5EE927B93F}"/>
              </a:ext>
            </a:extLst>
          </p:cNvPr>
          <p:cNvSpPr/>
          <p:nvPr/>
        </p:nvSpPr>
        <p:spPr>
          <a:xfrm>
            <a:off x="5162788" y="914401"/>
            <a:ext cx="912753" cy="3287738"/>
          </a:xfrm>
          <a:custGeom>
            <a:avLst/>
            <a:gdLst>
              <a:gd name="connsiteX0" fmla="*/ 912753 w 912753"/>
              <a:gd name="connsiteY0" fmla="*/ 0 h 3287738"/>
              <a:gd name="connsiteX1" fmla="*/ 912753 w 912753"/>
              <a:gd name="connsiteY1" fmla="*/ 2865164 h 3287738"/>
              <a:gd name="connsiteX2" fmla="*/ 0 w 912753"/>
              <a:gd name="connsiteY2" fmla="*/ 3287738 h 3287738"/>
            </a:gdLst>
            <a:ahLst/>
            <a:cxnLst>
              <a:cxn ang="0">
                <a:pos x="connsiteX0" y="connsiteY0"/>
              </a:cxn>
              <a:cxn ang="0">
                <a:pos x="connsiteX1" y="connsiteY1"/>
              </a:cxn>
              <a:cxn ang="0">
                <a:pos x="connsiteX2" y="connsiteY2"/>
              </a:cxn>
            </a:cxnLst>
            <a:rect l="l" t="t" r="r" b="b"/>
            <a:pathLst>
              <a:path w="912753" h="3287738">
                <a:moveTo>
                  <a:pt x="912753" y="0"/>
                </a:moveTo>
                <a:lnTo>
                  <a:pt x="912753" y="2865164"/>
                </a:lnTo>
                <a:lnTo>
                  <a:pt x="0" y="3287738"/>
                </a:lnTo>
                <a:close/>
              </a:path>
            </a:pathLst>
          </a:custGeom>
          <a:gradFill flip="none" rotWithShape="1">
            <a:gsLst>
              <a:gs pos="0">
                <a:schemeClr val="accent1">
                  <a:lumMod val="55000"/>
                  <a:lumOff val="45000"/>
                </a:schemeClr>
              </a:gs>
              <a:gs pos="100000">
                <a:schemeClr val="accent1">
                  <a:lumMod val="90000"/>
                </a:schemeClr>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solidFill>
                <a:srgbClr val="FFFFFF"/>
              </a:solidFill>
              <a:latin typeface="Arial"/>
            </a:endParaRPr>
          </a:p>
        </p:txBody>
      </p:sp>
      <p:sp>
        <p:nvSpPr>
          <p:cNvPr id="90" name="任意多边形: 形状 89">
            <a:extLst>
              <a:ext uri="{FF2B5EF4-FFF2-40B4-BE49-F238E27FC236}">
                <a16:creationId xmlns:a16="http://schemas.microsoft.com/office/drawing/2014/main" id="{980E4A13-A209-1233-3B46-FB8739032546}"/>
              </a:ext>
            </a:extLst>
          </p:cNvPr>
          <p:cNvSpPr/>
          <p:nvPr/>
        </p:nvSpPr>
        <p:spPr>
          <a:xfrm>
            <a:off x="6075544" y="914401"/>
            <a:ext cx="1825495" cy="3287738"/>
          </a:xfrm>
          <a:custGeom>
            <a:avLst/>
            <a:gdLst>
              <a:gd name="connsiteX0" fmla="*/ 0 w 1825495"/>
              <a:gd name="connsiteY0" fmla="*/ 0 h 3287738"/>
              <a:gd name="connsiteX1" fmla="*/ 1825495 w 1825495"/>
              <a:gd name="connsiteY1" fmla="*/ 2865164 h 3287738"/>
              <a:gd name="connsiteX2" fmla="*/ 912736 w 1825495"/>
              <a:gd name="connsiteY2" fmla="*/ 3287738 h 3287738"/>
            </a:gdLst>
            <a:ahLst/>
            <a:cxnLst>
              <a:cxn ang="0">
                <a:pos x="connsiteX0" y="connsiteY0"/>
              </a:cxn>
              <a:cxn ang="0">
                <a:pos x="connsiteX1" y="connsiteY1"/>
              </a:cxn>
              <a:cxn ang="0">
                <a:pos x="connsiteX2" y="connsiteY2"/>
              </a:cxn>
            </a:cxnLst>
            <a:rect l="l" t="t" r="r" b="b"/>
            <a:pathLst>
              <a:path w="1825495" h="3287738">
                <a:moveTo>
                  <a:pt x="0" y="0"/>
                </a:moveTo>
                <a:lnTo>
                  <a:pt x="1825495" y="2865164"/>
                </a:lnTo>
                <a:lnTo>
                  <a:pt x="912736" y="3287738"/>
                </a:lnTo>
                <a:close/>
              </a:path>
            </a:pathLst>
          </a:custGeom>
          <a:gradFill flip="none" rotWithShape="1">
            <a:gsLst>
              <a:gs pos="0">
                <a:schemeClr val="accent1">
                  <a:lumMod val="75000"/>
                  <a:lumOff val="25000"/>
                </a:schemeClr>
              </a:gs>
              <a:gs pos="100000">
                <a:schemeClr val="accent1">
                  <a:lumMod val="80000"/>
                </a:schemeClr>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solidFill>
                <a:srgbClr val="FFFFFF"/>
              </a:solidFill>
              <a:latin typeface="Arial"/>
            </a:endParaRPr>
          </a:p>
        </p:txBody>
      </p:sp>
      <p:sp>
        <p:nvSpPr>
          <p:cNvPr id="91" name="任意多边形: 形状 90">
            <a:extLst>
              <a:ext uri="{FF2B5EF4-FFF2-40B4-BE49-F238E27FC236}">
                <a16:creationId xmlns:a16="http://schemas.microsoft.com/office/drawing/2014/main" id="{762E9B25-95BB-DD68-5779-738D413AD94E}"/>
              </a:ext>
            </a:extLst>
          </p:cNvPr>
          <p:cNvSpPr/>
          <p:nvPr/>
        </p:nvSpPr>
        <p:spPr>
          <a:xfrm>
            <a:off x="6075543" y="914401"/>
            <a:ext cx="912736" cy="3287738"/>
          </a:xfrm>
          <a:custGeom>
            <a:avLst/>
            <a:gdLst>
              <a:gd name="connsiteX0" fmla="*/ 0 w 912736"/>
              <a:gd name="connsiteY0" fmla="*/ 0 h 3287738"/>
              <a:gd name="connsiteX1" fmla="*/ 912736 w 912736"/>
              <a:gd name="connsiteY1" fmla="*/ 3287738 h 3287738"/>
              <a:gd name="connsiteX2" fmla="*/ 0 w 912736"/>
              <a:gd name="connsiteY2" fmla="*/ 2865164 h 3287738"/>
            </a:gdLst>
            <a:ahLst/>
            <a:cxnLst>
              <a:cxn ang="0">
                <a:pos x="connsiteX0" y="connsiteY0"/>
              </a:cxn>
              <a:cxn ang="0">
                <a:pos x="connsiteX1" y="connsiteY1"/>
              </a:cxn>
              <a:cxn ang="0">
                <a:pos x="connsiteX2" y="connsiteY2"/>
              </a:cxn>
            </a:cxnLst>
            <a:rect l="l" t="t" r="r" b="b"/>
            <a:pathLst>
              <a:path w="912736" h="3287738">
                <a:moveTo>
                  <a:pt x="0" y="0"/>
                </a:moveTo>
                <a:lnTo>
                  <a:pt x="912736" y="3287738"/>
                </a:lnTo>
                <a:lnTo>
                  <a:pt x="0" y="2865164"/>
                </a:lnTo>
                <a:close/>
              </a:path>
            </a:pathLst>
          </a:custGeom>
          <a:gradFill flip="none" rotWithShape="1">
            <a:gsLst>
              <a:gs pos="100000">
                <a:schemeClr val="accent1">
                  <a:lumMod val="100000"/>
                </a:schemeClr>
              </a:gs>
              <a:gs pos="0">
                <a:schemeClr val="accent1">
                  <a:lumMod val="55000"/>
                  <a:lumOff val="45000"/>
                </a:schemeClr>
              </a:gs>
            </a:gsLst>
            <a:lin ang="2700000" scaled="1"/>
            <a:tileRect/>
          </a:gradFill>
          <a:ln w="25400">
            <a:noFill/>
          </a:ln>
          <a:effectLst>
            <a:outerShdw blurRad="254000" dist="177800" dir="2700000" algn="tl" rotWithShape="0">
              <a:schemeClr val="accent1">
                <a:alpha val="20000"/>
              </a:schemeClr>
            </a:outerShdw>
          </a:effectLst>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485899" tIns="63500" rIns="1485901" bIns="63500" numCol="1" spcCol="1270" anchor="ctr" anchorCtr="0">
            <a:noAutofit/>
          </a:bodyPr>
          <a:lstStyle/>
          <a:p>
            <a:pPr algn="ctr" defTabSz="2222500">
              <a:lnSpc>
                <a:spcPct val="90000"/>
              </a:lnSpc>
              <a:spcBef>
                <a:spcPct val="0"/>
              </a:spcBef>
              <a:spcAft>
                <a:spcPct val="35000"/>
              </a:spcAft>
            </a:pPr>
            <a:endParaRPr lang="en-US" sz="3200">
              <a:solidFill>
                <a:prstClr val="white"/>
              </a:solidFill>
              <a:latin typeface="等线" panose="020F0502020204030204"/>
              <a:ea typeface="等线" panose="02010600030101010101" pitchFamily="2" charset="-122"/>
            </a:endParaRPr>
          </a:p>
        </p:txBody>
      </p:sp>
      <p:sp>
        <p:nvSpPr>
          <p:cNvPr id="92" name="任意多边形: 形状 91">
            <a:extLst>
              <a:ext uri="{FF2B5EF4-FFF2-40B4-BE49-F238E27FC236}">
                <a16:creationId xmlns:a16="http://schemas.microsoft.com/office/drawing/2014/main" id="{A6F44AFC-AE8E-A10B-44E7-8CF1F5473236}"/>
              </a:ext>
            </a:extLst>
          </p:cNvPr>
          <p:cNvSpPr/>
          <p:nvPr/>
        </p:nvSpPr>
        <p:spPr>
          <a:xfrm>
            <a:off x="5534499" y="4029831"/>
            <a:ext cx="1082400" cy="594892"/>
          </a:xfrm>
          <a:custGeom>
            <a:avLst/>
            <a:gdLst>
              <a:gd name="connsiteX0" fmla="*/ 467 w 1082400"/>
              <a:gd name="connsiteY0" fmla="*/ 0 h 594892"/>
              <a:gd name="connsiteX1" fmla="*/ 541218 w 1082400"/>
              <a:gd name="connsiteY1" fmla="*/ 250349 h 594892"/>
              <a:gd name="connsiteX2" fmla="*/ 1081791 w 1082400"/>
              <a:gd name="connsiteY2" fmla="*/ 89 h 594892"/>
              <a:gd name="connsiteX3" fmla="*/ 1082400 w 1082400"/>
              <a:gd name="connsiteY3" fmla="*/ 367 h 594892"/>
              <a:gd name="connsiteX4" fmla="*/ 972852 w 1082400"/>
              <a:gd name="connsiteY4" fmla="*/ 394974 h 594892"/>
              <a:gd name="connsiteX5" fmla="*/ 541034 w 1082400"/>
              <a:gd name="connsiteY5" fmla="*/ 594892 h 594892"/>
              <a:gd name="connsiteX6" fmla="*/ 109648 w 1082400"/>
              <a:gd name="connsiteY6" fmla="*/ 395170 h 594892"/>
              <a:gd name="connsiteX7" fmla="*/ 0 w 1082400"/>
              <a:gd name="connsiteY7" fmla="*/ 219 h 594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82400" h="594892">
                <a:moveTo>
                  <a:pt x="467" y="0"/>
                </a:moveTo>
                <a:lnTo>
                  <a:pt x="541218" y="250349"/>
                </a:lnTo>
                <a:lnTo>
                  <a:pt x="1081791" y="89"/>
                </a:lnTo>
                <a:lnTo>
                  <a:pt x="1082400" y="367"/>
                </a:lnTo>
                <a:lnTo>
                  <a:pt x="972852" y="394974"/>
                </a:lnTo>
                <a:lnTo>
                  <a:pt x="541034" y="594892"/>
                </a:lnTo>
                <a:lnTo>
                  <a:pt x="109648" y="395170"/>
                </a:lnTo>
                <a:lnTo>
                  <a:pt x="0" y="219"/>
                </a:lnTo>
                <a:close/>
              </a:path>
            </a:pathLst>
          </a:custGeom>
          <a:gradFill flip="none" rotWithShape="1">
            <a:gsLst>
              <a:gs pos="0">
                <a:schemeClr val="accent1">
                  <a:lumMod val="40000"/>
                  <a:lumOff val="60000"/>
                  <a:alpha val="20000"/>
                </a:schemeClr>
              </a:gs>
              <a:gs pos="100000">
                <a:schemeClr val="accent1">
                  <a:lumMod val="40000"/>
                  <a:lumOff val="60000"/>
                  <a:alpha val="0"/>
                </a:schemeClr>
              </a:gs>
            </a:gsLst>
            <a:lin ang="5400000" scaled="1"/>
            <a:tileRect/>
          </a:gradFill>
          <a:ln w="12700" cap="flat" cmpd="sng">
            <a:noFill/>
            <a:prstDash val="solid"/>
            <a:miter lim="800000"/>
          </a:ln>
        </p:spPr>
        <p:txBody>
          <a:bodyPr wrap="square" anchor="ctr">
            <a:noAutofit/>
          </a:bodyPr>
          <a:lstStyle/>
          <a:p>
            <a:pPr algn="ctr"/>
            <a:endParaRPr lang="en-US" sz="622">
              <a:solidFill>
                <a:srgbClr val="000000"/>
              </a:solidFill>
              <a:latin typeface="Arial"/>
            </a:endParaRPr>
          </a:p>
        </p:txBody>
      </p:sp>
      <p:sp>
        <p:nvSpPr>
          <p:cNvPr id="94" name="任意多边形: 形状 93">
            <a:extLst>
              <a:ext uri="{FF2B5EF4-FFF2-40B4-BE49-F238E27FC236}">
                <a16:creationId xmlns:a16="http://schemas.microsoft.com/office/drawing/2014/main" id="{D1675482-4650-AEA0-A61A-C56B0D8CDA38}"/>
              </a:ext>
            </a:extLst>
          </p:cNvPr>
          <p:cNvSpPr/>
          <p:nvPr/>
        </p:nvSpPr>
        <p:spPr>
          <a:xfrm>
            <a:off x="5534182" y="2080228"/>
            <a:ext cx="541360" cy="2200615"/>
          </a:xfrm>
          <a:custGeom>
            <a:avLst/>
            <a:gdLst>
              <a:gd name="connsiteX0" fmla="*/ 541360 w 541360"/>
              <a:gd name="connsiteY0" fmla="*/ 0 h 2200615"/>
              <a:gd name="connsiteX1" fmla="*/ 541360 w 541360"/>
              <a:gd name="connsiteY1" fmla="*/ 2200615 h 2200615"/>
              <a:gd name="connsiteX2" fmla="*/ 0 w 541360"/>
              <a:gd name="connsiteY2" fmla="*/ 1949976 h 2200615"/>
            </a:gdLst>
            <a:ahLst/>
            <a:cxnLst>
              <a:cxn ang="0">
                <a:pos x="connsiteX0" y="connsiteY0"/>
              </a:cxn>
              <a:cxn ang="0">
                <a:pos x="connsiteX1" y="connsiteY1"/>
              </a:cxn>
              <a:cxn ang="0">
                <a:pos x="connsiteX2" y="connsiteY2"/>
              </a:cxn>
            </a:cxnLst>
            <a:rect l="l" t="t" r="r" b="b"/>
            <a:pathLst>
              <a:path w="541360" h="2200615">
                <a:moveTo>
                  <a:pt x="541360" y="0"/>
                </a:moveTo>
                <a:lnTo>
                  <a:pt x="541360" y="2200615"/>
                </a:lnTo>
                <a:lnTo>
                  <a:pt x="0" y="1949976"/>
                </a:lnTo>
                <a:close/>
              </a:path>
            </a:pathLst>
          </a:custGeom>
          <a:gradFill flip="none" rotWithShape="1">
            <a:gsLst>
              <a:gs pos="100000">
                <a:schemeClr val="accent1">
                  <a:lumMod val="50000"/>
                  <a:lumOff val="50000"/>
                </a:schemeClr>
              </a:gs>
              <a:gs pos="0">
                <a:schemeClr val="accent1">
                  <a:lumMod val="25000"/>
                  <a:lumOff val="75000"/>
                </a:schemeClr>
              </a:gs>
            </a:gsLst>
            <a:lin ang="2700000" scaled="1"/>
            <a:tileRect/>
          </a:gradFill>
          <a:ln w="6350">
            <a:gradFill>
              <a:gsLst>
                <a:gs pos="0">
                  <a:schemeClr val="accent1">
                    <a:lumMod val="0"/>
                    <a:lumOff val="100000"/>
                    <a:alpha val="70000"/>
                  </a:schemeClr>
                </a:gs>
                <a:gs pos="100000">
                  <a:schemeClr val="accent1">
                    <a:lumMod val="0"/>
                    <a:lumOff val="100000"/>
                    <a:alpha val="70000"/>
                  </a:schemeClr>
                </a:gs>
              </a:gsLst>
              <a:lin ang="5400000" scaled="1"/>
            </a:gradFill>
          </a:ln>
          <a:effectLst>
            <a:outerShdw blurRad="190500" dist="101600" dir="2700000" algn="tl" rotWithShape="0">
              <a:schemeClr val="accent1">
                <a:alpha val="12000"/>
              </a:schemeClr>
            </a:outerShdw>
          </a:effectLst>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485899" tIns="63500" rIns="1485901" bIns="63500" numCol="1" spcCol="1270" anchor="ctr" anchorCtr="0">
            <a:noAutofit/>
          </a:bodyPr>
          <a:lstStyle/>
          <a:p>
            <a:pPr algn="ctr" defTabSz="2222500">
              <a:lnSpc>
                <a:spcPct val="90000"/>
              </a:lnSpc>
              <a:spcBef>
                <a:spcPct val="0"/>
              </a:spcBef>
              <a:spcAft>
                <a:spcPct val="35000"/>
              </a:spcAft>
            </a:pPr>
            <a:endParaRPr lang="en-US" sz="3200">
              <a:solidFill>
                <a:prstClr val="white"/>
              </a:solidFill>
              <a:latin typeface="等线" panose="020F0502020204030204"/>
              <a:ea typeface="等线" panose="02010600030101010101" pitchFamily="2" charset="-122"/>
            </a:endParaRPr>
          </a:p>
        </p:txBody>
      </p:sp>
      <p:sp>
        <p:nvSpPr>
          <p:cNvPr id="96" name="任意多边形: 形状 95">
            <a:extLst>
              <a:ext uri="{FF2B5EF4-FFF2-40B4-BE49-F238E27FC236}">
                <a16:creationId xmlns:a16="http://schemas.microsoft.com/office/drawing/2014/main" id="{2A457C90-19CA-7794-163C-3CDB531EC5E4}"/>
              </a:ext>
            </a:extLst>
          </p:cNvPr>
          <p:cNvSpPr/>
          <p:nvPr/>
        </p:nvSpPr>
        <p:spPr>
          <a:xfrm>
            <a:off x="6075540" y="2080229"/>
            <a:ext cx="541359" cy="2200615"/>
          </a:xfrm>
          <a:custGeom>
            <a:avLst/>
            <a:gdLst>
              <a:gd name="connsiteX0" fmla="*/ 0 w 541359"/>
              <a:gd name="connsiteY0" fmla="*/ 0 h 2200615"/>
              <a:gd name="connsiteX1" fmla="*/ 541359 w 541359"/>
              <a:gd name="connsiteY1" fmla="*/ 1949976 h 2200615"/>
              <a:gd name="connsiteX2" fmla="*/ 0 w 541359"/>
              <a:gd name="connsiteY2" fmla="*/ 2200615 h 2200615"/>
            </a:gdLst>
            <a:ahLst/>
            <a:cxnLst>
              <a:cxn ang="0">
                <a:pos x="connsiteX0" y="connsiteY0"/>
              </a:cxn>
              <a:cxn ang="0">
                <a:pos x="connsiteX1" y="connsiteY1"/>
              </a:cxn>
              <a:cxn ang="0">
                <a:pos x="connsiteX2" y="connsiteY2"/>
              </a:cxn>
            </a:cxnLst>
            <a:rect l="l" t="t" r="r" b="b"/>
            <a:pathLst>
              <a:path w="541359" h="2200615">
                <a:moveTo>
                  <a:pt x="0" y="0"/>
                </a:moveTo>
                <a:lnTo>
                  <a:pt x="541359" y="1949976"/>
                </a:lnTo>
                <a:lnTo>
                  <a:pt x="0" y="2200615"/>
                </a:lnTo>
                <a:close/>
              </a:path>
            </a:pathLst>
          </a:custGeom>
          <a:gradFill flip="none" rotWithShape="1">
            <a:gsLst>
              <a:gs pos="0">
                <a:schemeClr val="accent1">
                  <a:lumMod val="15000"/>
                  <a:lumOff val="85000"/>
                </a:schemeClr>
              </a:gs>
              <a:gs pos="100000">
                <a:schemeClr val="accent1">
                  <a:lumMod val="80000"/>
                  <a:lumOff val="20000"/>
                </a:schemeClr>
              </a:gs>
            </a:gsLst>
            <a:path path="circle">
              <a:fillToRect r="100000" b="100000"/>
            </a:path>
            <a:tileRect l="-100000" t="-100000"/>
          </a:gradFill>
          <a:ln w="6350">
            <a:gradFill>
              <a:gsLst>
                <a:gs pos="0">
                  <a:schemeClr val="accent1">
                    <a:lumMod val="0"/>
                    <a:lumOff val="100000"/>
                    <a:alpha val="70000"/>
                  </a:schemeClr>
                </a:gs>
                <a:gs pos="100000">
                  <a:schemeClr val="accent1">
                    <a:lumMod val="0"/>
                    <a:lumOff val="100000"/>
                    <a:alpha val="7000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solidFill>
                <a:srgbClr val="FFFFFF"/>
              </a:solidFill>
              <a:latin typeface="Arial"/>
            </a:endParaRPr>
          </a:p>
        </p:txBody>
      </p:sp>
      <p:sp>
        <p:nvSpPr>
          <p:cNvPr id="97" name="任意多边形: 形状 96">
            <a:extLst>
              <a:ext uri="{FF2B5EF4-FFF2-40B4-BE49-F238E27FC236}">
                <a16:creationId xmlns:a16="http://schemas.microsoft.com/office/drawing/2014/main" id="{BBD0D1AB-3B76-7342-FB2E-7BCD2945236B}"/>
              </a:ext>
            </a:extLst>
          </p:cNvPr>
          <p:cNvSpPr/>
          <p:nvPr/>
        </p:nvSpPr>
        <p:spPr>
          <a:xfrm>
            <a:off x="5534187" y="2080229"/>
            <a:ext cx="541354" cy="1949964"/>
          </a:xfrm>
          <a:custGeom>
            <a:avLst/>
            <a:gdLst>
              <a:gd name="connsiteX0" fmla="*/ 541354 w 541354"/>
              <a:gd name="connsiteY0" fmla="*/ 0 h 1949964"/>
              <a:gd name="connsiteX1" fmla="*/ 541354 w 541354"/>
              <a:gd name="connsiteY1" fmla="*/ 1699336 h 1949964"/>
              <a:gd name="connsiteX2" fmla="*/ 0 w 541354"/>
              <a:gd name="connsiteY2" fmla="*/ 1949964 h 1949964"/>
            </a:gdLst>
            <a:ahLst/>
            <a:cxnLst>
              <a:cxn ang="0">
                <a:pos x="connsiteX0" y="connsiteY0"/>
              </a:cxn>
              <a:cxn ang="0">
                <a:pos x="connsiteX1" y="connsiteY1"/>
              </a:cxn>
              <a:cxn ang="0">
                <a:pos x="connsiteX2" y="connsiteY2"/>
              </a:cxn>
            </a:cxnLst>
            <a:rect l="l" t="t" r="r" b="b"/>
            <a:pathLst>
              <a:path w="541354" h="1949964">
                <a:moveTo>
                  <a:pt x="541354" y="0"/>
                </a:moveTo>
                <a:lnTo>
                  <a:pt x="541354" y="1699336"/>
                </a:lnTo>
                <a:lnTo>
                  <a:pt x="0" y="1949964"/>
                </a:lnTo>
                <a:close/>
              </a:path>
            </a:pathLst>
          </a:custGeom>
          <a:solidFill>
            <a:schemeClr val="accent1">
              <a:lumMod val="60000"/>
              <a:lumOff val="40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solidFill>
                <a:srgbClr val="FFFFFF"/>
              </a:solidFill>
              <a:latin typeface="Arial"/>
            </a:endParaRPr>
          </a:p>
        </p:txBody>
      </p:sp>
      <p:sp>
        <p:nvSpPr>
          <p:cNvPr id="95" name="任意多边形: 形状 94">
            <a:extLst>
              <a:ext uri="{FF2B5EF4-FFF2-40B4-BE49-F238E27FC236}">
                <a16:creationId xmlns:a16="http://schemas.microsoft.com/office/drawing/2014/main" id="{764025C6-8F0D-A92F-2983-7FBE92A1541B}"/>
              </a:ext>
            </a:extLst>
          </p:cNvPr>
          <p:cNvSpPr/>
          <p:nvPr/>
        </p:nvSpPr>
        <p:spPr>
          <a:xfrm>
            <a:off x="6075542" y="2080229"/>
            <a:ext cx="541359" cy="1949964"/>
          </a:xfrm>
          <a:custGeom>
            <a:avLst/>
            <a:gdLst>
              <a:gd name="connsiteX0" fmla="*/ 0 w 541359"/>
              <a:gd name="connsiteY0" fmla="*/ 0 h 1949964"/>
              <a:gd name="connsiteX1" fmla="*/ 541359 w 541359"/>
              <a:gd name="connsiteY1" fmla="*/ 1949964 h 1949964"/>
              <a:gd name="connsiteX2" fmla="*/ 0 w 541359"/>
              <a:gd name="connsiteY2" fmla="*/ 1699336 h 1949964"/>
            </a:gdLst>
            <a:ahLst/>
            <a:cxnLst>
              <a:cxn ang="0">
                <a:pos x="connsiteX0" y="connsiteY0"/>
              </a:cxn>
              <a:cxn ang="0">
                <a:pos x="connsiteX1" y="connsiteY1"/>
              </a:cxn>
              <a:cxn ang="0">
                <a:pos x="connsiteX2" y="connsiteY2"/>
              </a:cxn>
            </a:cxnLst>
            <a:rect l="l" t="t" r="r" b="b"/>
            <a:pathLst>
              <a:path w="541359" h="1949964">
                <a:moveTo>
                  <a:pt x="0" y="0"/>
                </a:moveTo>
                <a:lnTo>
                  <a:pt x="541359" y="1949964"/>
                </a:lnTo>
                <a:lnTo>
                  <a:pt x="0" y="1699336"/>
                </a:lnTo>
                <a:close/>
              </a:path>
            </a:pathLst>
          </a:custGeom>
          <a:solidFill>
            <a:schemeClr val="accent1">
              <a:lumMod val="60000"/>
              <a:lumOff val="4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solidFill>
                <a:srgbClr val="FFFFFF"/>
              </a:solidFill>
              <a:latin typeface="Arial"/>
            </a:endParaRPr>
          </a:p>
        </p:txBody>
      </p:sp>
    </p:spTree>
    <p:extLst>
      <p:ext uri="{BB962C8B-B14F-4D97-AF65-F5344CB8AC3E}">
        <p14:creationId xmlns:p14="http://schemas.microsoft.com/office/powerpoint/2010/main" val="3707752716"/>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5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任意多边形: 形状 5">
            <a:extLst>
              <a:ext uri="{FF2B5EF4-FFF2-40B4-BE49-F238E27FC236}">
                <a16:creationId xmlns:a16="http://schemas.microsoft.com/office/drawing/2014/main" id="{1A8D6EA9-E398-4769-B1EA-386D67B5D158}"/>
              </a:ext>
            </a:extLst>
          </p:cNvPr>
          <p:cNvSpPr/>
          <p:nvPr/>
        </p:nvSpPr>
        <p:spPr>
          <a:xfrm>
            <a:off x="6227359" y="2903630"/>
            <a:ext cx="3876004" cy="1321860"/>
          </a:xfrm>
          <a:custGeom>
            <a:avLst/>
            <a:gdLst>
              <a:gd name="connsiteX0" fmla="*/ 0 w 3876004"/>
              <a:gd name="connsiteY0" fmla="*/ 379578 h 1321860"/>
              <a:gd name="connsiteX1" fmla="*/ 1932620 w 3876004"/>
              <a:gd name="connsiteY1" fmla="*/ 1321861 h 1321860"/>
              <a:gd name="connsiteX2" fmla="*/ 3876005 w 3876004"/>
              <a:gd name="connsiteY2" fmla="*/ 379578 h 1321860"/>
              <a:gd name="connsiteX3" fmla="*/ 2959994 w 3876004"/>
              <a:gd name="connsiteY3" fmla="*/ 0 h 1321860"/>
              <a:gd name="connsiteX4" fmla="*/ 754671 w 3876004"/>
              <a:gd name="connsiteY4" fmla="*/ 76890 h 1321860"/>
              <a:gd name="connsiteX5" fmla="*/ 0 w 3876004"/>
              <a:gd name="connsiteY5" fmla="*/ 379578 h 1321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76004" h="1321860">
                <a:moveTo>
                  <a:pt x="0" y="379578"/>
                </a:moveTo>
                <a:lnTo>
                  <a:pt x="1932620" y="1321861"/>
                </a:lnTo>
                <a:lnTo>
                  <a:pt x="3876005" y="379578"/>
                </a:lnTo>
                <a:lnTo>
                  <a:pt x="2959994" y="0"/>
                </a:lnTo>
                <a:lnTo>
                  <a:pt x="754671" y="76890"/>
                </a:lnTo>
                <a:lnTo>
                  <a:pt x="0" y="379578"/>
                </a:lnTo>
                <a:close/>
              </a:path>
            </a:pathLst>
          </a:custGeom>
          <a:solidFill>
            <a:schemeClr val="accent1">
              <a:lumMod val="75000"/>
            </a:schemeClr>
          </a:solidFill>
          <a:ln w="128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OPPOSans R"/>
              <a:ea typeface="OPPOSans R"/>
              <a:cs typeface="+mn-cs"/>
            </a:endParaRPr>
          </a:p>
        </p:txBody>
      </p:sp>
      <p:sp>
        <p:nvSpPr>
          <p:cNvPr id="7" name="任意多边形: 形状 6">
            <a:extLst>
              <a:ext uri="{FF2B5EF4-FFF2-40B4-BE49-F238E27FC236}">
                <a16:creationId xmlns:a16="http://schemas.microsoft.com/office/drawing/2014/main" id="{D36D3F78-B9EA-449C-A2CB-D5EAB1C36298}"/>
              </a:ext>
            </a:extLst>
          </p:cNvPr>
          <p:cNvSpPr/>
          <p:nvPr/>
        </p:nvSpPr>
        <p:spPr>
          <a:xfrm>
            <a:off x="7043799" y="2199065"/>
            <a:ext cx="2246073" cy="676244"/>
          </a:xfrm>
          <a:custGeom>
            <a:avLst/>
            <a:gdLst>
              <a:gd name="connsiteX0" fmla="*/ 0 w 2246073"/>
              <a:gd name="connsiteY0" fmla="*/ 174924 h 676244"/>
              <a:gd name="connsiteX1" fmla="*/ 1120538 w 2246073"/>
              <a:gd name="connsiteY1" fmla="*/ 676244 h 676244"/>
              <a:gd name="connsiteX2" fmla="*/ 2246074 w 2246073"/>
              <a:gd name="connsiteY2" fmla="*/ 174539 h 676244"/>
              <a:gd name="connsiteX3" fmla="*/ 1574187 w 2246073"/>
              <a:gd name="connsiteY3" fmla="*/ 0 h 676244"/>
              <a:gd name="connsiteX4" fmla="*/ 954713 w 2246073"/>
              <a:gd name="connsiteY4" fmla="*/ 0 h 676244"/>
              <a:gd name="connsiteX5" fmla="*/ 0 w 2246073"/>
              <a:gd name="connsiteY5" fmla="*/ 174924 h 6762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46073" h="676244">
                <a:moveTo>
                  <a:pt x="0" y="174924"/>
                </a:moveTo>
                <a:lnTo>
                  <a:pt x="1120538" y="676244"/>
                </a:lnTo>
                <a:lnTo>
                  <a:pt x="2246074" y="174539"/>
                </a:lnTo>
                <a:lnTo>
                  <a:pt x="1574187" y="0"/>
                </a:lnTo>
                <a:lnTo>
                  <a:pt x="954713" y="0"/>
                </a:lnTo>
                <a:lnTo>
                  <a:pt x="0" y="174924"/>
                </a:lnTo>
                <a:close/>
              </a:path>
            </a:pathLst>
          </a:custGeom>
          <a:solidFill>
            <a:schemeClr val="accent1">
              <a:lumMod val="75000"/>
            </a:schemeClr>
          </a:solidFill>
          <a:ln w="128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OPPOSans R"/>
              <a:ea typeface="OPPOSans R"/>
              <a:cs typeface="+mn-cs"/>
            </a:endParaRPr>
          </a:p>
        </p:txBody>
      </p:sp>
      <p:sp>
        <p:nvSpPr>
          <p:cNvPr id="8" name="任意多边形: 形状 7">
            <a:extLst>
              <a:ext uri="{FF2B5EF4-FFF2-40B4-BE49-F238E27FC236}">
                <a16:creationId xmlns:a16="http://schemas.microsoft.com/office/drawing/2014/main" id="{2631B8A4-33E5-4E2D-B392-6347F1F7EA1F}"/>
              </a:ext>
            </a:extLst>
          </p:cNvPr>
          <p:cNvSpPr/>
          <p:nvPr/>
        </p:nvSpPr>
        <p:spPr>
          <a:xfrm>
            <a:off x="8166515" y="3281030"/>
            <a:ext cx="3036242" cy="2881438"/>
          </a:xfrm>
          <a:custGeom>
            <a:avLst/>
            <a:gdLst>
              <a:gd name="connsiteX0" fmla="*/ 1941463 w 3036242"/>
              <a:gd name="connsiteY0" fmla="*/ 0 h 2881438"/>
              <a:gd name="connsiteX1" fmla="*/ 0 w 3036242"/>
              <a:gd name="connsiteY1" fmla="*/ 941257 h 2881438"/>
              <a:gd name="connsiteX2" fmla="*/ 0 w 3036242"/>
              <a:gd name="connsiteY2" fmla="*/ 2881438 h 2881438"/>
              <a:gd name="connsiteX3" fmla="*/ 3036242 w 3036242"/>
              <a:gd name="connsiteY3" fmla="*/ 1212806 h 2881438"/>
              <a:gd name="connsiteX4" fmla="*/ 1941463 w 3036242"/>
              <a:gd name="connsiteY4" fmla="*/ 0 h 28814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36242" h="2881438">
                <a:moveTo>
                  <a:pt x="1941463" y="0"/>
                </a:moveTo>
                <a:lnTo>
                  <a:pt x="0" y="941257"/>
                </a:lnTo>
                <a:lnTo>
                  <a:pt x="0" y="2881438"/>
                </a:lnTo>
                <a:lnTo>
                  <a:pt x="3036242" y="1212806"/>
                </a:lnTo>
                <a:lnTo>
                  <a:pt x="1941463" y="0"/>
                </a:lnTo>
                <a:close/>
              </a:path>
            </a:pathLst>
          </a:custGeom>
          <a:solidFill>
            <a:schemeClr val="accent1"/>
          </a:solidFill>
          <a:ln w="128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OPPOSans R"/>
              <a:ea typeface="OPPOSans R"/>
              <a:cs typeface="+mn-cs"/>
            </a:endParaRPr>
          </a:p>
        </p:txBody>
      </p:sp>
      <p:sp>
        <p:nvSpPr>
          <p:cNvPr id="9" name="任意多边形: 形状 8">
            <a:extLst>
              <a:ext uri="{FF2B5EF4-FFF2-40B4-BE49-F238E27FC236}">
                <a16:creationId xmlns:a16="http://schemas.microsoft.com/office/drawing/2014/main" id="{9ED6188C-F049-4F74-99EE-71D8B47CA8FF}"/>
              </a:ext>
            </a:extLst>
          </p:cNvPr>
          <p:cNvSpPr/>
          <p:nvPr/>
        </p:nvSpPr>
        <p:spPr>
          <a:xfrm>
            <a:off x="5130145" y="3281030"/>
            <a:ext cx="3036370" cy="2881438"/>
          </a:xfrm>
          <a:custGeom>
            <a:avLst/>
            <a:gdLst>
              <a:gd name="connsiteX0" fmla="*/ 1094780 w 3036370"/>
              <a:gd name="connsiteY0" fmla="*/ 0 h 2881438"/>
              <a:gd name="connsiteX1" fmla="*/ 3036371 w 3036370"/>
              <a:gd name="connsiteY1" fmla="*/ 941257 h 2881438"/>
              <a:gd name="connsiteX2" fmla="*/ 3036371 w 3036370"/>
              <a:gd name="connsiteY2" fmla="*/ 2881438 h 2881438"/>
              <a:gd name="connsiteX3" fmla="*/ 0 w 3036370"/>
              <a:gd name="connsiteY3" fmla="*/ 1212806 h 2881438"/>
              <a:gd name="connsiteX4" fmla="*/ 1094780 w 3036370"/>
              <a:gd name="connsiteY4" fmla="*/ 0 h 28814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36370" h="2881438">
                <a:moveTo>
                  <a:pt x="1094780" y="0"/>
                </a:moveTo>
                <a:lnTo>
                  <a:pt x="3036371" y="941257"/>
                </a:lnTo>
                <a:lnTo>
                  <a:pt x="3036371" y="2881438"/>
                </a:lnTo>
                <a:lnTo>
                  <a:pt x="0" y="1212806"/>
                </a:lnTo>
                <a:lnTo>
                  <a:pt x="1094780" y="0"/>
                </a:lnTo>
                <a:close/>
              </a:path>
            </a:pathLst>
          </a:custGeom>
          <a:solidFill>
            <a:schemeClr val="accent1">
              <a:lumMod val="60000"/>
              <a:lumOff val="40000"/>
            </a:schemeClr>
          </a:solidFill>
          <a:ln w="128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OPPOSans R"/>
              <a:ea typeface="OPPOSans R"/>
              <a:cs typeface="+mn-cs"/>
            </a:endParaRPr>
          </a:p>
        </p:txBody>
      </p:sp>
      <p:sp>
        <p:nvSpPr>
          <p:cNvPr id="10" name="任意多边形: 形状 9">
            <a:extLst>
              <a:ext uri="{FF2B5EF4-FFF2-40B4-BE49-F238E27FC236}">
                <a16:creationId xmlns:a16="http://schemas.microsoft.com/office/drawing/2014/main" id="{0E977260-9D90-4863-BC37-264642846A16}"/>
              </a:ext>
            </a:extLst>
          </p:cNvPr>
          <p:cNvSpPr/>
          <p:nvPr/>
        </p:nvSpPr>
        <p:spPr>
          <a:xfrm>
            <a:off x="8166515" y="2373989"/>
            <a:ext cx="1825487" cy="1663763"/>
          </a:xfrm>
          <a:custGeom>
            <a:avLst/>
            <a:gdLst>
              <a:gd name="connsiteX0" fmla="*/ 0 w 1825487"/>
              <a:gd name="connsiteY0" fmla="*/ 500295 h 1663763"/>
              <a:gd name="connsiteX1" fmla="*/ 0 w 1825487"/>
              <a:gd name="connsiteY1" fmla="*/ 1663763 h 1663763"/>
              <a:gd name="connsiteX2" fmla="*/ 1825488 w 1825487"/>
              <a:gd name="connsiteY2" fmla="*/ 778635 h 1663763"/>
              <a:gd name="connsiteX3" fmla="*/ 1122588 w 1825487"/>
              <a:gd name="connsiteY3" fmla="*/ 0 h 1663763"/>
              <a:gd name="connsiteX4" fmla="*/ 0 w 1825487"/>
              <a:gd name="connsiteY4" fmla="*/ 500295 h 1663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5487" h="1663763">
                <a:moveTo>
                  <a:pt x="0" y="500295"/>
                </a:moveTo>
                <a:lnTo>
                  <a:pt x="0" y="1663763"/>
                </a:lnTo>
                <a:lnTo>
                  <a:pt x="1825488" y="778635"/>
                </a:lnTo>
                <a:lnTo>
                  <a:pt x="1122588" y="0"/>
                </a:lnTo>
                <a:lnTo>
                  <a:pt x="0" y="500295"/>
                </a:lnTo>
                <a:close/>
              </a:path>
            </a:pathLst>
          </a:custGeom>
          <a:solidFill>
            <a:schemeClr val="accent1">
              <a:lumMod val="100000"/>
            </a:schemeClr>
          </a:solidFill>
          <a:ln w="128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OPPOSans R"/>
              <a:ea typeface="OPPOSans R"/>
              <a:cs typeface="+mn-cs"/>
            </a:endParaRPr>
          </a:p>
        </p:txBody>
      </p:sp>
      <p:sp>
        <p:nvSpPr>
          <p:cNvPr id="11" name="任意多边形: 形状 10">
            <a:extLst>
              <a:ext uri="{FF2B5EF4-FFF2-40B4-BE49-F238E27FC236}">
                <a16:creationId xmlns:a16="http://schemas.microsoft.com/office/drawing/2014/main" id="{915BC938-F14D-48ED-9C75-5F9335416FCE}"/>
              </a:ext>
            </a:extLst>
          </p:cNvPr>
          <p:cNvSpPr/>
          <p:nvPr/>
        </p:nvSpPr>
        <p:spPr>
          <a:xfrm>
            <a:off x="8166515" y="1130300"/>
            <a:ext cx="1034293" cy="1606864"/>
          </a:xfrm>
          <a:custGeom>
            <a:avLst/>
            <a:gdLst>
              <a:gd name="connsiteX0" fmla="*/ 1034293 w 1034293"/>
              <a:gd name="connsiteY0" fmla="*/ 1145784 h 1606864"/>
              <a:gd name="connsiteX1" fmla="*/ 0 w 1034293"/>
              <a:gd name="connsiteY1" fmla="*/ 0 h 1606864"/>
              <a:gd name="connsiteX2" fmla="*/ 0 w 1034293"/>
              <a:gd name="connsiteY2" fmla="*/ 1606865 h 1606864"/>
              <a:gd name="connsiteX3" fmla="*/ 1034293 w 1034293"/>
              <a:gd name="connsiteY3" fmla="*/ 1145784 h 1606864"/>
            </a:gdLst>
            <a:ahLst/>
            <a:cxnLst>
              <a:cxn ang="0">
                <a:pos x="connsiteX0" y="connsiteY0"/>
              </a:cxn>
              <a:cxn ang="0">
                <a:pos x="connsiteX1" y="connsiteY1"/>
              </a:cxn>
              <a:cxn ang="0">
                <a:pos x="connsiteX2" y="connsiteY2"/>
              </a:cxn>
              <a:cxn ang="0">
                <a:pos x="connsiteX3" y="connsiteY3"/>
              </a:cxn>
            </a:cxnLst>
            <a:rect l="l" t="t" r="r" b="b"/>
            <a:pathLst>
              <a:path w="1034293" h="1606864">
                <a:moveTo>
                  <a:pt x="1034293" y="1145784"/>
                </a:moveTo>
                <a:lnTo>
                  <a:pt x="0" y="0"/>
                </a:lnTo>
                <a:lnTo>
                  <a:pt x="0" y="1606865"/>
                </a:lnTo>
                <a:lnTo>
                  <a:pt x="1034293" y="1145784"/>
                </a:lnTo>
                <a:close/>
              </a:path>
            </a:pathLst>
          </a:custGeom>
          <a:solidFill>
            <a:schemeClr val="accent1">
              <a:lumMod val="100000"/>
            </a:schemeClr>
          </a:solidFill>
          <a:ln w="128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OPPOSans R"/>
              <a:ea typeface="OPPOSans R"/>
              <a:cs typeface="+mn-cs"/>
            </a:endParaRPr>
          </a:p>
        </p:txBody>
      </p:sp>
      <p:sp>
        <p:nvSpPr>
          <p:cNvPr id="12" name="任意多边形: 形状 11">
            <a:extLst>
              <a:ext uri="{FF2B5EF4-FFF2-40B4-BE49-F238E27FC236}">
                <a16:creationId xmlns:a16="http://schemas.microsoft.com/office/drawing/2014/main" id="{1ECFAB5D-5A34-4196-B480-2A47AC769613}"/>
              </a:ext>
            </a:extLst>
          </p:cNvPr>
          <p:cNvSpPr/>
          <p:nvPr/>
        </p:nvSpPr>
        <p:spPr>
          <a:xfrm>
            <a:off x="6340900" y="2373989"/>
            <a:ext cx="1825615" cy="1663763"/>
          </a:xfrm>
          <a:custGeom>
            <a:avLst/>
            <a:gdLst>
              <a:gd name="connsiteX0" fmla="*/ 1825616 w 1825615"/>
              <a:gd name="connsiteY0" fmla="*/ 500295 h 1663763"/>
              <a:gd name="connsiteX1" fmla="*/ 1825616 w 1825615"/>
              <a:gd name="connsiteY1" fmla="*/ 1663763 h 1663763"/>
              <a:gd name="connsiteX2" fmla="*/ 0 w 1825615"/>
              <a:gd name="connsiteY2" fmla="*/ 778635 h 1663763"/>
              <a:gd name="connsiteX3" fmla="*/ 702899 w 1825615"/>
              <a:gd name="connsiteY3" fmla="*/ 0 h 1663763"/>
              <a:gd name="connsiteX4" fmla="*/ 1825616 w 1825615"/>
              <a:gd name="connsiteY4" fmla="*/ 500295 h 1663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5615" h="1663763">
                <a:moveTo>
                  <a:pt x="1825616" y="500295"/>
                </a:moveTo>
                <a:lnTo>
                  <a:pt x="1825616" y="1663763"/>
                </a:lnTo>
                <a:lnTo>
                  <a:pt x="0" y="778635"/>
                </a:lnTo>
                <a:lnTo>
                  <a:pt x="702899" y="0"/>
                </a:lnTo>
                <a:lnTo>
                  <a:pt x="1825616" y="500295"/>
                </a:lnTo>
                <a:close/>
              </a:path>
            </a:pathLst>
          </a:custGeom>
          <a:solidFill>
            <a:schemeClr val="accent1">
              <a:lumMod val="60000"/>
              <a:lumOff val="40000"/>
            </a:schemeClr>
          </a:solidFill>
          <a:ln w="128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OPPOSans R"/>
              <a:ea typeface="OPPOSans R"/>
              <a:cs typeface="+mn-cs"/>
            </a:endParaRPr>
          </a:p>
        </p:txBody>
      </p:sp>
      <p:sp>
        <p:nvSpPr>
          <p:cNvPr id="13" name="任意多边形: 形状 12">
            <a:extLst>
              <a:ext uri="{FF2B5EF4-FFF2-40B4-BE49-F238E27FC236}">
                <a16:creationId xmlns:a16="http://schemas.microsoft.com/office/drawing/2014/main" id="{210DB09B-6419-432A-817D-94F79618AB52}"/>
              </a:ext>
            </a:extLst>
          </p:cNvPr>
          <p:cNvSpPr/>
          <p:nvPr/>
        </p:nvSpPr>
        <p:spPr>
          <a:xfrm>
            <a:off x="7132094" y="1130300"/>
            <a:ext cx="1034421" cy="1606864"/>
          </a:xfrm>
          <a:custGeom>
            <a:avLst/>
            <a:gdLst>
              <a:gd name="connsiteX0" fmla="*/ 0 w 1034421"/>
              <a:gd name="connsiteY0" fmla="*/ 1145784 h 1606864"/>
              <a:gd name="connsiteX1" fmla="*/ 1034422 w 1034421"/>
              <a:gd name="connsiteY1" fmla="*/ 0 h 1606864"/>
              <a:gd name="connsiteX2" fmla="*/ 1034422 w 1034421"/>
              <a:gd name="connsiteY2" fmla="*/ 1606865 h 1606864"/>
              <a:gd name="connsiteX3" fmla="*/ 0 w 1034421"/>
              <a:gd name="connsiteY3" fmla="*/ 1145784 h 1606864"/>
            </a:gdLst>
            <a:ahLst/>
            <a:cxnLst>
              <a:cxn ang="0">
                <a:pos x="connsiteX0" y="connsiteY0"/>
              </a:cxn>
              <a:cxn ang="0">
                <a:pos x="connsiteX1" y="connsiteY1"/>
              </a:cxn>
              <a:cxn ang="0">
                <a:pos x="connsiteX2" y="connsiteY2"/>
              </a:cxn>
              <a:cxn ang="0">
                <a:pos x="connsiteX3" y="connsiteY3"/>
              </a:cxn>
            </a:cxnLst>
            <a:rect l="l" t="t" r="r" b="b"/>
            <a:pathLst>
              <a:path w="1034421" h="1606864">
                <a:moveTo>
                  <a:pt x="0" y="1145784"/>
                </a:moveTo>
                <a:lnTo>
                  <a:pt x="1034422" y="0"/>
                </a:lnTo>
                <a:lnTo>
                  <a:pt x="1034422" y="1606865"/>
                </a:lnTo>
                <a:lnTo>
                  <a:pt x="0" y="1145784"/>
                </a:lnTo>
                <a:close/>
              </a:path>
            </a:pathLst>
          </a:custGeom>
          <a:solidFill>
            <a:schemeClr val="accent1">
              <a:lumMod val="60000"/>
              <a:lumOff val="40000"/>
            </a:schemeClr>
          </a:solidFill>
          <a:ln w="1280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OPPOSans R"/>
              <a:ea typeface="OPPOSans R"/>
              <a:cs typeface="+mn-cs"/>
            </a:endParaRPr>
          </a:p>
        </p:txBody>
      </p:sp>
      <p:sp>
        <p:nvSpPr>
          <p:cNvPr id="33" name="矩形: 圆角 32">
            <a:extLst>
              <a:ext uri="{FF2B5EF4-FFF2-40B4-BE49-F238E27FC236}">
                <a16:creationId xmlns:a16="http://schemas.microsoft.com/office/drawing/2014/main" id="{AABACAF7-A403-4772-A1F6-8A8F80134C75}"/>
              </a:ext>
            </a:extLst>
          </p:cNvPr>
          <p:cNvSpPr/>
          <p:nvPr/>
        </p:nvSpPr>
        <p:spPr>
          <a:xfrm>
            <a:off x="1441459" y="2272554"/>
            <a:ext cx="1289050" cy="400051"/>
          </a:xfrm>
          <a:prstGeom prst="roundRect">
            <a:avLst>
              <a:gd name="adj" fmla="val 50000"/>
            </a:avLst>
          </a:prstGeom>
          <a:solidFill>
            <a:schemeClr val="accent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OPPOSans R"/>
              <a:ea typeface="OPPOSans R"/>
              <a:cs typeface="+mn-cs"/>
            </a:endParaRPr>
          </a:p>
        </p:txBody>
      </p:sp>
      <p:sp>
        <p:nvSpPr>
          <p:cNvPr id="34" name="矩形: 圆角 33">
            <a:extLst>
              <a:ext uri="{FF2B5EF4-FFF2-40B4-BE49-F238E27FC236}">
                <a16:creationId xmlns:a16="http://schemas.microsoft.com/office/drawing/2014/main" id="{82302833-942C-4FDB-AD6E-9A1942A51D96}"/>
              </a:ext>
            </a:extLst>
          </p:cNvPr>
          <p:cNvSpPr/>
          <p:nvPr/>
        </p:nvSpPr>
        <p:spPr>
          <a:xfrm>
            <a:off x="1441459" y="3427176"/>
            <a:ext cx="1289050" cy="400051"/>
          </a:xfrm>
          <a:prstGeom prst="roundRect">
            <a:avLst>
              <a:gd name="adj" fmla="val 50000"/>
            </a:avLst>
          </a:prstGeom>
          <a:solidFill>
            <a:schemeClr val="accent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OPPOSans R"/>
              <a:ea typeface="OPPOSans R"/>
              <a:cs typeface="+mn-cs"/>
            </a:endParaRPr>
          </a:p>
        </p:txBody>
      </p:sp>
      <p:sp>
        <p:nvSpPr>
          <p:cNvPr id="35" name="矩形: 圆角 34">
            <a:extLst>
              <a:ext uri="{FF2B5EF4-FFF2-40B4-BE49-F238E27FC236}">
                <a16:creationId xmlns:a16="http://schemas.microsoft.com/office/drawing/2014/main" id="{CFC7B268-6E8F-420D-9DF4-0E851DAEB4AE}"/>
              </a:ext>
            </a:extLst>
          </p:cNvPr>
          <p:cNvSpPr/>
          <p:nvPr/>
        </p:nvSpPr>
        <p:spPr>
          <a:xfrm>
            <a:off x="1441459" y="4586051"/>
            <a:ext cx="1289050" cy="400051"/>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OPPOSans R"/>
              <a:ea typeface="OPPOSans R"/>
              <a:cs typeface="+mn-cs"/>
            </a:endParaRPr>
          </a:p>
        </p:txBody>
      </p:sp>
      <p:sp>
        <p:nvSpPr>
          <p:cNvPr id="109" name="Object 109"/>
          <p:cNvSpPr txBox="1"/>
          <p:nvPr/>
        </p:nvSpPr>
        <p:spPr>
          <a:xfrm rot="1145310">
            <a:off x="7402415" y="1977056"/>
            <a:ext cx="806450" cy="292100"/>
          </a:xfrm>
          <a:prstGeom prst="rect">
            <a:avLst/>
          </a:prstGeom>
        </p:spPr>
        <p:txBody>
          <a:bodyPr vert="horz" rtlCol="0" anchor="t"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900" b="1" i="0" u="none" strike="noStrike" kern="1200" cap="none" spc="200" normalizeH="0" baseline="0" noProof="0" dirty="0">
                <a:ln>
                  <a:noFill/>
                </a:ln>
                <a:solidFill>
                  <a:srgbClr val="FFFFFF"/>
                </a:solidFill>
                <a:effectLst/>
                <a:uLnTx/>
                <a:uFillTx/>
                <a:latin typeface="OPPOSans B"/>
                <a:ea typeface="OPPOSans B"/>
                <a:cs typeface="+mn-cs"/>
              </a:rPr>
              <a:t>一级</a:t>
            </a:r>
            <a:endParaRPr kumimoji="0" lang="zh-CN" altLang="en-US" sz="900" b="1" i="0" u="none" strike="noStrike" kern="1200" cap="none" spc="0" normalizeH="0" baseline="0" noProof="0" dirty="0">
              <a:ln>
                <a:noFill/>
              </a:ln>
              <a:solidFill>
                <a:srgbClr val="FFFFFF"/>
              </a:solidFill>
              <a:effectLst/>
              <a:uLnTx/>
              <a:uFillTx/>
              <a:latin typeface="OPPOSans B"/>
              <a:ea typeface="OPPOSans B"/>
              <a:cs typeface="+mn-cs"/>
            </a:endParaRPr>
          </a:p>
        </p:txBody>
      </p:sp>
      <p:sp>
        <p:nvSpPr>
          <p:cNvPr id="1010" name="Object 1010"/>
          <p:cNvSpPr txBox="1"/>
          <p:nvPr/>
        </p:nvSpPr>
        <p:spPr>
          <a:xfrm rot="1443984">
            <a:off x="6925262" y="2886093"/>
            <a:ext cx="1016342" cy="317500"/>
          </a:xfrm>
          <a:prstGeom prst="rect">
            <a:avLst/>
          </a:prstGeom>
        </p:spPr>
        <p:txBody>
          <a:bodyPr vert="horz" rtlCol="0" anchor="t"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2100" b="1" i="0" u="none" strike="noStrike" kern="1200" cap="none" spc="210" normalizeH="0" baseline="0" noProof="0" dirty="0">
                <a:ln>
                  <a:noFill/>
                </a:ln>
                <a:solidFill>
                  <a:srgbClr val="FFFFFF"/>
                </a:solidFill>
                <a:effectLst/>
                <a:uLnTx/>
                <a:uFillTx/>
                <a:latin typeface="OPPOSans B"/>
                <a:ea typeface="OPPOSans B"/>
                <a:cs typeface="+mn-cs"/>
              </a:rPr>
              <a:t>二级</a:t>
            </a:r>
            <a:endParaRPr kumimoji="0" lang="zh-CN" altLang="en-US" sz="900" b="1" i="0" u="none" strike="noStrike" kern="1200" cap="none" spc="0" normalizeH="0" baseline="0" noProof="0" dirty="0">
              <a:ln>
                <a:noFill/>
              </a:ln>
              <a:solidFill>
                <a:srgbClr val="FFFFFF"/>
              </a:solidFill>
              <a:effectLst/>
              <a:uLnTx/>
              <a:uFillTx/>
              <a:latin typeface="OPPOSans B"/>
              <a:ea typeface="OPPOSans B"/>
              <a:cs typeface="+mn-cs"/>
            </a:endParaRPr>
          </a:p>
        </p:txBody>
      </p:sp>
      <p:sp>
        <p:nvSpPr>
          <p:cNvPr id="1011" name="Object 1011"/>
          <p:cNvSpPr txBox="1"/>
          <p:nvPr/>
        </p:nvSpPr>
        <p:spPr>
          <a:xfrm rot="1664053">
            <a:off x="6218561" y="4257588"/>
            <a:ext cx="1287339" cy="381000"/>
          </a:xfrm>
          <a:prstGeom prst="rect">
            <a:avLst/>
          </a:prstGeom>
        </p:spPr>
        <p:txBody>
          <a:bodyPr vert="horz" rtlCol="0" anchor="t"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2500" b="1" i="0" u="none" strike="noStrike" kern="1200" cap="none" spc="240" normalizeH="0" baseline="0" noProof="0" dirty="0">
                <a:ln>
                  <a:noFill/>
                </a:ln>
                <a:solidFill>
                  <a:srgbClr val="FFFFFF"/>
                </a:solidFill>
                <a:effectLst/>
                <a:uLnTx/>
                <a:uFillTx/>
                <a:latin typeface="OPPOSans B"/>
                <a:ea typeface="OPPOSans B"/>
                <a:cs typeface="+mn-cs"/>
              </a:rPr>
              <a:t>三级</a:t>
            </a:r>
            <a:endParaRPr kumimoji="0" lang="zh-CN" altLang="en-US" sz="900" b="1" i="0" u="none" strike="noStrike" kern="1200" cap="none" spc="0" normalizeH="0" baseline="0" noProof="0" dirty="0">
              <a:ln>
                <a:noFill/>
              </a:ln>
              <a:solidFill>
                <a:srgbClr val="FFFFFF"/>
              </a:solidFill>
              <a:effectLst/>
              <a:uLnTx/>
              <a:uFillTx/>
              <a:latin typeface="OPPOSans B"/>
              <a:ea typeface="OPPOSans B"/>
              <a:cs typeface="+mn-cs"/>
            </a:endParaRPr>
          </a:p>
        </p:txBody>
      </p:sp>
      <p:sp>
        <p:nvSpPr>
          <p:cNvPr id="1015" name="Object 1015"/>
          <p:cNvSpPr txBox="1"/>
          <p:nvPr/>
        </p:nvSpPr>
        <p:spPr>
          <a:xfrm>
            <a:off x="1390659" y="2795352"/>
            <a:ext cx="2159000" cy="273050"/>
          </a:xfrm>
          <a:prstGeom prst="rect">
            <a:avLst/>
          </a:prstGeom>
        </p:spPr>
        <p:txBody>
          <a:bodyPr vert="horz"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800" b="1" i="0" u="none" strike="noStrike" kern="1200" cap="none" spc="200" normalizeH="0" baseline="0" noProof="0" dirty="0">
                <a:ln>
                  <a:noFill/>
                </a:ln>
                <a:solidFill>
                  <a:srgbClr val="B8B8B8">
                    <a:lumMod val="50000"/>
                  </a:srgbClr>
                </a:solidFill>
                <a:effectLst/>
                <a:uLnTx/>
                <a:uFillTx/>
                <a:latin typeface="OPPOSans R"/>
                <a:ea typeface="OPPOSans R"/>
                <a:cs typeface="+mn-cs"/>
              </a:rPr>
              <a:t>拓客总监</a:t>
            </a:r>
            <a:endParaRPr kumimoji="0" lang="zh-CN" altLang="en-US" sz="900" b="0" i="0" u="none" strike="noStrike" kern="1200" cap="none" spc="0" normalizeH="0" baseline="0" noProof="0">
              <a:ln>
                <a:noFill/>
              </a:ln>
              <a:solidFill>
                <a:srgbClr val="B8B8B8">
                  <a:lumMod val="50000"/>
                </a:srgbClr>
              </a:solidFill>
              <a:effectLst/>
              <a:uLnTx/>
              <a:uFillTx/>
              <a:latin typeface="OPPOSans R"/>
              <a:ea typeface="OPPOSans R"/>
              <a:cs typeface="+mn-cs"/>
            </a:endParaRPr>
          </a:p>
        </p:txBody>
      </p:sp>
      <p:sp>
        <p:nvSpPr>
          <p:cNvPr id="1016" name="Object 1016"/>
          <p:cNvSpPr txBox="1"/>
          <p:nvPr/>
        </p:nvSpPr>
        <p:spPr>
          <a:xfrm>
            <a:off x="1390659" y="3940448"/>
            <a:ext cx="3003550" cy="273050"/>
          </a:xfrm>
          <a:prstGeom prst="rect">
            <a:avLst/>
          </a:prstGeom>
        </p:spPr>
        <p:txBody>
          <a:bodyPr vert="horz"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800" b="1" i="0" u="none" strike="noStrike" kern="1200" cap="none" spc="200" normalizeH="0" baseline="0" noProof="0" dirty="0">
                <a:ln>
                  <a:noFill/>
                </a:ln>
                <a:solidFill>
                  <a:srgbClr val="B8B8B8">
                    <a:lumMod val="50000"/>
                  </a:srgbClr>
                </a:solidFill>
                <a:effectLst/>
                <a:uLnTx/>
                <a:uFillTx/>
                <a:latin typeface="OPPOSans R"/>
                <a:ea typeface="OPPOSans R"/>
                <a:cs typeface="+mn-cs"/>
              </a:rPr>
              <a:t>拓客经理</a:t>
            </a:r>
            <a:r>
              <a:rPr kumimoji="0" lang="en-US" altLang="zh-CN" sz="1800" b="1" i="0" u="none" strike="noStrike" kern="1200" cap="none" spc="200" normalizeH="0" baseline="0" noProof="0" dirty="0">
                <a:ln>
                  <a:noFill/>
                </a:ln>
                <a:solidFill>
                  <a:srgbClr val="B8B8B8">
                    <a:lumMod val="50000"/>
                  </a:srgbClr>
                </a:solidFill>
                <a:effectLst/>
                <a:uLnTx/>
                <a:uFillTx/>
                <a:latin typeface="OPPOSans R"/>
                <a:ea typeface="OPPOSans R"/>
                <a:cs typeface="+mn-cs"/>
              </a:rPr>
              <a:t>A  </a:t>
            </a:r>
            <a:r>
              <a:rPr kumimoji="0" lang="zh-CN" altLang="en-US" sz="1800" b="1" i="0" u="none" strike="noStrike" kern="1200" cap="none" spc="200" normalizeH="0" baseline="0" noProof="0" dirty="0">
                <a:ln>
                  <a:noFill/>
                </a:ln>
                <a:solidFill>
                  <a:srgbClr val="B8B8B8">
                    <a:lumMod val="50000"/>
                  </a:srgbClr>
                </a:solidFill>
                <a:effectLst/>
                <a:uLnTx/>
                <a:uFillTx/>
                <a:latin typeface="OPPOSans R"/>
                <a:ea typeface="OPPOSans R"/>
                <a:cs typeface="+mn-cs"/>
              </a:rPr>
              <a:t>拓客经理</a:t>
            </a:r>
            <a:r>
              <a:rPr kumimoji="0" lang="en-US" altLang="zh-CN" sz="1800" b="1" i="0" u="none" strike="noStrike" kern="1200" cap="none" spc="200" normalizeH="0" baseline="0" noProof="0" dirty="0">
                <a:ln>
                  <a:noFill/>
                </a:ln>
                <a:solidFill>
                  <a:srgbClr val="B8B8B8">
                    <a:lumMod val="50000"/>
                  </a:srgbClr>
                </a:solidFill>
                <a:effectLst/>
                <a:uLnTx/>
                <a:uFillTx/>
                <a:latin typeface="OPPOSans R"/>
                <a:ea typeface="OPPOSans R"/>
                <a:cs typeface="+mn-cs"/>
              </a:rPr>
              <a:t>B</a:t>
            </a:r>
            <a:endParaRPr kumimoji="0" lang="zh-CN" altLang="en-US" sz="900" b="0" i="0" u="none" strike="noStrike" kern="1200" cap="none" spc="0" normalizeH="0" baseline="0" noProof="0">
              <a:ln>
                <a:noFill/>
              </a:ln>
              <a:solidFill>
                <a:srgbClr val="B8B8B8">
                  <a:lumMod val="50000"/>
                </a:srgbClr>
              </a:solidFill>
              <a:effectLst/>
              <a:uLnTx/>
              <a:uFillTx/>
              <a:latin typeface="OPPOSans R"/>
              <a:ea typeface="OPPOSans R"/>
              <a:cs typeface="+mn-cs"/>
            </a:endParaRPr>
          </a:p>
        </p:txBody>
      </p:sp>
      <p:sp>
        <p:nvSpPr>
          <p:cNvPr id="1017" name="Object 1017"/>
          <p:cNvSpPr txBox="1"/>
          <p:nvPr/>
        </p:nvSpPr>
        <p:spPr>
          <a:xfrm>
            <a:off x="1390659" y="5139990"/>
            <a:ext cx="4083050" cy="228600"/>
          </a:xfrm>
          <a:prstGeom prst="rect">
            <a:avLst/>
          </a:prstGeom>
        </p:spPr>
        <p:txBody>
          <a:bodyPr vert="horz" rtlCol="0" anchor="t" anchorCtr="0">
            <a:noAutofit/>
          </a:bodyPr>
          <a:lstStyle/>
          <a:p>
            <a:pPr marL="0" marR="0" lvl="0" indent="0" algn="l" defTabSz="914400" rtl="0" eaLnBrk="1" fontAlgn="auto" latinLnBrk="0" hangingPunct="1">
              <a:lnSpc>
                <a:spcPct val="83333"/>
              </a:lnSpc>
              <a:spcBef>
                <a:spcPts val="0"/>
              </a:spcBef>
              <a:spcAft>
                <a:spcPts val="0"/>
              </a:spcAft>
              <a:buClrTx/>
              <a:buSzTx/>
              <a:buFontTx/>
              <a:buNone/>
              <a:tabLst/>
              <a:defRPr/>
            </a:pPr>
            <a:r>
              <a:rPr kumimoji="0" lang="en-US" altLang="zh-CN" sz="1800" b="1" i="0" u="none" strike="noStrike" kern="1200" cap="none" spc="200" normalizeH="0" baseline="0" noProof="0" dirty="0">
                <a:ln>
                  <a:noFill/>
                </a:ln>
                <a:solidFill>
                  <a:srgbClr val="B8B8B8">
                    <a:lumMod val="50000"/>
                  </a:srgbClr>
                </a:solidFill>
                <a:effectLst/>
                <a:uLnTx/>
                <a:uFillTx/>
                <a:latin typeface="OPPOSans R"/>
                <a:ea typeface="OPPOSans R"/>
                <a:cs typeface="+mn-cs"/>
              </a:rPr>
              <a:t>1</a:t>
            </a:r>
            <a:r>
              <a:rPr kumimoji="0" lang="zh-CN" altLang="en-US" sz="1800" b="1" i="0" u="none" strike="noStrike" kern="1200" cap="none" spc="200" normalizeH="0" baseline="0" noProof="0" dirty="0">
                <a:ln>
                  <a:noFill/>
                </a:ln>
                <a:solidFill>
                  <a:srgbClr val="B8B8B8">
                    <a:lumMod val="50000"/>
                  </a:srgbClr>
                </a:solidFill>
                <a:effectLst/>
                <a:uLnTx/>
                <a:uFillTx/>
                <a:latin typeface="OPPOSans R"/>
                <a:ea typeface="OPPOSans R"/>
                <a:cs typeface="+mn-cs"/>
              </a:rPr>
              <a:t>队 </a:t>
            </a:r>
            <a:r>
              <a:rPr kumimoji="0" lang="en-US" altLang="zh-CN" sz="1800" b="1" i="0" u="none" strike="noStrike" kern="1200" cap="none" spc="200" normalizeH="0" baseline="0" noProof="0" dirty="0">
                <a:ln>
                  <a:noFill/>
                </a:ln>
                <a:solidFill>
                  <a:srgbClr val="B8B8B8">
                    <a:lumMod val="50000"/>
                  </a:srgbClr>
                </a:solidFill>
                <a:effectLst/>
                <a:uLnTx/>
                <a:uFillTx/>
                <a:latin typeface="OPPOSans R"/>
                <a:ea typeface="OPPOSans R"/>
                <a:cs typeface="+mn-cs"/>
              </a:rPr>
              <a:t>2</a:t>
            </a:r>
            <a:r>
              <a:rPr kumimoji="0" lang="zh-CN" altLang="en-US" sz="1800" b="1" i="0" u="none" strike="noStrike" kern="1200" cap="none" spc="200" normalizeH="0" baseline="0" noProof="0" dirty="0">
                <a:ln>
                  <a:noFill/>
                </a:ln>
                <a:solidFill>
                  <a:srgbClr val="B8B8B8">
                    <a:lumMod val="50000"/>
                  </a:srgbClr>
                </a:solidFill>
                <a:effectLst/>
                <a:uLnTx/>
                <a:uFillTx/>
                <a:latin typeface="OPPOSans R"/>
                <a:ea typeface="OPPOSans R"/>
                <a:cs typeface="+mn-cs"/>
              </a:rPr>
              <a:t>队 </a:t>
            </a:r>
            <a:r>
              <a:rPr kumimoji="0" lang="en-US" altLang="zh-CN" sz="1800" b="1" i="0" u="none" strike="noStrike" kern="1200" cap="none" spc="200" normalizeH="0" baseline="0" noProof="0" dirty="0">
                <a:ln>
                  <a:noFill/>
                </a:ln>
                <a:solidFill>
                  <a:srgbClr val="B8B8B8">
                    <a:lumMod val="50000"/>
                  </a:srgbClr>
                </a:solidFill>
                <a:effectLst/>
                <a:uLnTx/>
                <a:uFillTx/>
                <a:latin typeface="OPPOSans R"/>
                <a:ea typeface="OPPOSans R"/>
                <a:cs typeface="+mn-cs"/>
              </a:rPr>
              <a:t>3</a:t>
            </a:r>
            <a:r>
              <a:rPr kumimoji="0" lang="zh-CN" altLang="en-US" sz="1800" b="1" i="0" u="none" strike="noStrike" kern="1200" cap="none" spc="200" normalizeH="0" baseline="0" noProof="0" dirty="0">
                <a:ln>
                  <a:noFill/>
                </a:ln>
                <a:solidFill>
                  <a:srgbClr val="B8B8B8">
                    <a:lumMod val="50000"/>
                  </a:srgbClr>
                </a:solidFill>
                <a:effectLst/>
                <a:uLnTx/>
                <a:uFillTx/>
                <a:latin typeface="OPPOSans R"/>
                <a:ea typeface="OPPOSans R"/>
                <a:cs typeface="+mn-cs"/>
              </a:rPr>
              <a:t>队 </a:t>
            </a:r>
            <a:r>
              <a:rPr kumimoji="0" lang="en-US" altLang="zh-CN" sz="1800" b="1" i="0" u="none" strike="noStrike" kern="1200" cap="none" spc="200" normalizeH="0" baseline="0" noProof="0" dirty="0">
                <a:ln>
                  <a:noFill/>
                </a:ln>
                <a:solidFill>
                  <a:srgbClr val="B8B8B8">
                    <a:lumMod val="50000"/>
                  </a:srgbClr>
                </a:solidFill>
                <a:effectLst/>
                <a:uLnTx/>
                <a:uFillTx/>
                <a:latin typeface="OPPOSans R"/>
                <a:ea typeface="OPPOSans R"/>
                <a:cs typeface="+mn-cs"/>
              </a:rPr>
              <a:t>4</a:t>
            </a:r>
            <a:r>
              <a:rPr kumimoji="0" lang="zh-CN" altLang="en-US" sz="1800" b="1" i="0" u="none" strike="noStrike" kern="1200" cap="none" spc="200" normalizeH="0" baseline="0" noProof="0" dirty="0">
                <a:ln>
                  <a:noFill/>
                </a:ln>
                <a:solidFill>
                  <a:srgbClr val="B8B8B8">
                    <a:lumMod val="50000"/>
                  </a:srgbClr>
                </a:solidFill>
                <a:effectLst/>
                <a:uLnTx/>
                <a:uFillTx/>
                <a:latin typeface="OPPOSans R"/>
                <a:ea typeface="OPPOSans R"/>
                <a:cs typeface="+mn-cs"/>
              </a:rPr>
              <a:t>队 </a:t>
            </a:r>
            <a:r>
              <a:rPr kumimoji="0" lang="en-US" altLang="zh-CN" sz="1800" b="1" i="0" u="none" strike="noStrike" kern="1200" cap="none" spc="200" normalizeH="0" baseline="0" noProof="0" dirty="0">
                <a:ln>
                  <a:noFill/>
                </a:ln>
                <a:solidFill>
                  <a:srgbClr val="B8B8B8">
                    <a:lumMod val="50000"/>
                  </a:srgbClr>
                </a:solidFill>
                <a:effectLst/>
                <a:uLnTx/>
                <a:uFillTx/>
                <a:latin typeface="OPPOSans R"/>
                <a:ea typeface="OPPOSans R"/>
                <a:cs typeface="+mn-cs"/>
              </a:rPr>
              <a:t>5</a:t>
            </a:r>
            <a:r>
              <a:rPr kumimoji="0" lang="zh-CN" altLang="en-US" sz="1800" b="1" i="0" u="none" strike="noStrike" kern="1200" cap="none" spc="200" normalizeH="0" baseline="0" noProof="0" dirty="0">
                <a:ln>
                  <a:noFill/>
                </a:ln>
                <a:solidFill>
                  <a:srgbClr val="B8B8B8">
                    <a:lumMod val="50000"/>
                  </a:srgbClr>
                </a:solidFill>
                <a:effectLst/>
                <a:uLnTx/>
                <a:uFillTx/>
                <a:latin typeface="OPPOSans R"/>
                <a:ea typeface="OPPOSans R"/>
                <a:cs typeface="+mn-cs"/>
              </a:rPr>
              <a:t>队 </a:t>
            </a:r>
            <a:r>
              <a:rPr kumimoji="0" lang="en-US" altLang="zh-CN" sz="1800" b="1" i="0" u="none" strike="noStrike" kern="1200" cap="none" spc="200" normalizeH="0" baseline="0" noProof="0" dirty="0">
                <a:ln>
                  <a:noFill/>
                </a:ln>
                <a:solidFill>
                  <a:srgbClr val="B8B8B8">
                    <a:lumMod val="50000"/>
                  </a:srgbClr>
                </a:solidFill>
                <a:effectLst/>
                <a:uLnTx/>
                <a:uFillTx/>
                <a:latin typeface="OPPOSans R"/>
                <a:ea typeface="OPPOSans R"/>
                <a:cs typeface="+mn-cs"/>
              </a:rPr>
              <a:t>6</a:t>
            </a:r>
            <a:r>
              <a:rPr kumimoji="0" lang="zh-CN" altLang="en-US" sz="1800" b="1" i="0" u="none" strike="noStrike" kern="1200" cap="none" spc="200" normalizeH="0" baseline="0" noProof="0" dirty="0">
                <a:ln>
                  <a:noFill/>
                </a:ln>
                <a:solidFill>
                  <a:srgbClr val="B8B8B8">
                    <a:lumMod val="50000"/>
                  </a:srgbClr>
                </a:solidFill>
                <a:effectLst/>
                <a:uLnTx/>
                <a:uFillTx/>
                <a:latin typeface="OPPOSans R"/>
                <a:ea typeface="OPPOSans R"/>
                <a:cs typeface="+mn-cs"/>
              </a:rPr>
              <a:t>队 </a:t>
            </a:r>
            <a:endParaRPr kumimoji="0" lang="zh-CN" altLang="en-US" sz="900" b="0" i="0" u="none" strike="noStrike" kern="1200" cap="none" spc="0" normalizeH="0" baseline="0" noProof="0">
              <a:ln>
                <a:noFill/>
              </a:ln>
              <a:solidFill>
                <a:srgbClr val="B8B8B8">
                  <a:lumMod val="50000"/>
                </a:srgbClr>
              </a:solidFill>
              <a:effectLst/>
              <a:uLnTx/>
              <a:uFillTx/>
              <a:latin typeface="OPPOSans R"/>
              <a:ea typeface="OPPOSans R"/>
              <a:cs typeface="+mn-cs"/>
            </a:endParaRPr>
          </a:p>
        </p:txBody>
      </p:sp>
      <p:sp>
        <p:nvSpPr>
          <p:cNvPr id="1020" name="Object 1020"/>
          <p:cNvSpPr txBox="1"/>
          <p:nvPr/>
        </p:nvSpPr>
        <p:spPr>
          <a:xfrm>
            <a:off x="1509847" y="2265127"/>
            <a:ext cx="1152275" cy="304800"/>
          </a:xfrm>
          <a:prstGeom prst="rect">
            <a:avLst/>
          </a:prstGeom>
        </p:spPr>
        <p:txBody>
          <a:bodyPr vert="horz" rtlCol="0" anchor="t"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2000" b="0" i="0" u="none" strike="noStrike" kern="1200" cap="none" spc="200" normalizeH="0" baseline="0" noProof="0" dirty="0">
                <a:ln>
                  <a:noFill/>
                </a:ln>
                <a:solidFill>
                  <a:srgbClr val="FFFFFF"/>
                </a:solidFill>
                <a:effectLst/>
                <a:uLnTx/>
                <a:uFillTx/>
                <a:latin typeface="OPPOSans B"/>
                <a:ea typeface="OPPOSans B"/>
                <a:cs typeface="+mn-cs"/>
              </a:rPr>
              <a:t>一级</a:t>
            </a:r>
            <a:endParaRPr kumimoji="0" lang="zh-CN" altLang="en-US" sz="900" b="0" i="0" u="none" strike="noStrike" kern="1200" cap="none" spc="0" normalizeH="0" baseline="0" noProof="0" dirty="0">
              <a:ln>
                <a:noFill/>
              </a:ln>
              <a:solidFill>
                <a:srgbClr val="FFFFFF"/>
              </a:solidFill>
              <a:effectLst/>
              <a:uLnTx/>
              <a:uFillTx/>
              <a:latin typeface="OPPOSans B"/>
              <a:ea typeface="OPPOSans B"/>
              <a:cs typeface="+mn-cs"/>
            </a:endParaRPr>
          </a:p>
        </p:txBody>
      </p:sp>
      <p:sp>
        <p:nvSpPr>
          <p:cNvPr id="1023" name="Object 1023"/>
          <p:cNvSpPr txBox="1"/>
          <p:nvPr/>
        </p:nvSpPr>
        <p:spPr>
          <a:xfrm>
            <a:off x="1509846" y="3427177"/>
            <a:ext cx="1152277" cy="304800"/>
          </a:xfrm>
          <a:prstGeom prst="rect">
            <a:avLst/>
          </a:prstGeom>
        </p:spPr>
        <p:txBody>
          <a:bodyPr vert="horz" rtlCol="0" anchor="t"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2000" b="0" i="0" u="none" strike="noStrike" kern="1200" cap="none" spc="200" normalizeH="0" baseline="0" noProof="0" dirty="0">
                <a:ln>
                  <a:noFill/>
                </a:ln>
                <a:solidFill>
                  <a:srgbClr val="FFFFFF"/>
                </a:solidFill>
                <a:effectLst/>
                <a:uLnTx/>
                <a:uFillTx/>
                <a:latin typeface="OPPOSans B"/>
                <a:ea typeface="OPPOSans B"/>
                <a:cs typeface="+mn-cs"/>
              </a:rPr>
              <a:t>二级</a:t>
            </a:r>
            <a:endParaRPr kumimoji="0" lang="zh-CN" altLang="en-US" sz="900" b="0" i="0" u="none" strike="noStrike" kern="1200" cap="none" spc="0" normalizeH="0" baseline="0" noProof="0">
              <a:ln>
                <a:noFill/>
              </a:ln>
              <a:solidFill>
                <a:srgbClr val="FFFFFF"/>
              </a:solidFill>
              <a:effectLst/>
              <a:uLnTx/>
              <a:uFillTx/>
              <a:latin typeface="OPPOSans B"/>
              <a:ea typeface="OPPOSans B"/>
              <a:cs typeface="+mn-cs"/>
            </a:endParaRPr>
          </a:p>
        </p:txBody>
      </p:sp>
      <p:sp>
        <p:nvSpPr>
          <p:cNvPr id="1026" name="Object 1026"/>
          <p:cNvSpPr txBox="1"/>
          <p:nvPr/>
        </p:nvSpPr>
        <p:spPr>
          <a:xfrm>
            <a:off x="1509849" y="4595577"/>
            <a:ext cx="1152271" cy="304800"/>
          </a:xfrm>
          <a:prstGeom prst="rect">
            <a:avLst/>
          </a:prstGeom>
        </p:spPr>
        <p:txBody>
          <a:bodyPr vert="horz" rtlCol="0" anchor="t"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2000" b="0" i="0" u="none" strike="noStrike" kern="1200" cap="none" spc="200" normalizeH="0" baseline="0" noProof="0" dirty="0">
                <a:ln>
                  <a:noFill/>
                </a:ln>
                <a:solidFill>
                  <a:srgbClr val="FFFFFF"/>
                </a:solidFill>
                <a:effectLst/>
                <a:uLnTx/>
                <a:uFillTx/>
                <a:latin typeface="OPPOSans B"/>
                <a:ea typeface="OPPOSans B"/>
                <a:cs typeface="+mn-cs"/>
              </a:rPr>
              <a:t>三级</a:t>
            </a:r>
            <a:endParaRPr kumimoji="0" lang="zh-CN" altLang="en-US" sz="900" b="0" i="0" u="none" strike="noStrike" kern="1200" cap="none" spc="0" normalizeH="0" baseline="0" noProof="0" dirty="0">
              <a:ln>
                <a:noFill/>
              </a:ln>
              <a:solidFill>
                <a:srgbClr val="FFFFFF"/>
              </a:solidFill>
              <a:effectLst/>
              <a:uLnTx/>
              <a:uFillTx/>
              <a:latin typeface="OPPOSans B"/>
              <a:ea typeface="OPPOSans B"/>
              <a:cs typeface="+mn-cs"/>
            </a:endParaRPr>
          </a:p>
        </p:txBody>
      </p:sp>
      <p:sp>
        <p:nvSpPr>
          <p:cNvPr id="17" name="任意多边形: 形状 16">
            <a:extLst>
              <a:ext uri="{FF2B5EF4-FFF2-40B4-BE49-F238E27FC236}">
                <a16:creationId xmlns:a16="http://schemas.microsoft.com/office/drawing/2014/main" id="{8A8F8C6D-D38E-4F1F-9228-1BF1E4E3A520}"/>
              </a:ext>
            </a:extLst>
          </p:cNvPr>
          <p:cNvSpPr/>
          <p:nvPr/>
        </p:nvSpPr>
        <p:spPr>
          <a:xfrm>
            <a:off x="9144393" y="4318718"/>
            <a:ext cx="603491" cy="568343"/>
          </a:xfrm>
          <a:custGeom>
            <a:avLst/>
            <a:gdLst>
              <a:gd name="connsiteX0" fmla="*/ 455734 w 603491"/>
              <a:gd name="connsiteY0" fmla="*/ 176877 h 568343"/>
              <a:gd name="connsiteX1" fmla="*/ 536792 w 603491"/>
              <a:gd name="connsiteY1" fmla="*/ 131159 h 568343"/>
              <a:gd name="connsiteX2" fmla="*/ 595944 w 603491"/>
              <a:gd name="connsiteY2" fmla="*/ 152493 h 568343"/>
              <a:gd name="connsiteX3" fmla="*/ 607469 w 603491"/>
              <a:gd name="connsiteY3" fmla="*/ 230600 h 568343"/>
              <a:gd name="connsiteX4" fmla="*/ 590514 w 603491"/>
              <a:gd name="connsiteY4" fmla="*/ 260984 h 568343"/>
              <a:gd name="connsiteX5" fmla="*/ 490311 w 603491"/>
              <a:gd name="connsiteY5" fmla="*/ 317371 h 568343"/>
              <a:gd name="connsiteX6" fmla="*/ 475833 w 603491"/>
              <a:gd name="connsiteY6" fmla="*/ 218977 h 568343"/>
              <a:gd name="connsiteX7" fmla="*/ 455734 w 603491"/>
              <a:gd name="connsiteY7" fmla="*/ 176877 h 568343"/>
              <a:gd name="connsiteX8" fmla="*/ 48826 w 603491"/>
              <a:gd name="connsiteY8" fmla="*/ 406050 h 568343"/>
              <a:gd name="connsiteX9" fmla="*/ 129789 w 603491"/>
              <a:gd name="connsiteY9" fmla="*/ 360424 h 568343"/>
              <a:gd name="connsiteX10" fmla="*/ 124266 w 603491"/>
              <a:gd name="connsiteY10" fmla="*/ 417002 h 568343"/>
              <a:gd name="connsiteX11" fmla="*/ 138744 w 603491"/>
              <a:gd name="connsiteY11" fmla="*/ 515396 h 568343"/>
              <a:gd name="connsiteX12" fmla="*/ 38541 w 603491"/>
              <a:gd name="connsiteY12" fmla="*/ 571881 h 568343"/>
              <a:gd name="connsiteX13" fmla="*/ 15965 w 603491"/>
              <a:gd name="connsiteY13" fmla="*/ 563686 h 568343"/>
              <a:gd name="connsiteX14" fmla="*/ 4536 w 603491"/>
              <a:gd name="connsiteY14" fmla="*/ 485584 h 568343"/>
              <a:gd name="connsiteX15" fmla="*/ 48826 w 603491"/>
              <a:gd name="connsiteY15" fmla="*/ 406050 h 568343"/>
              <a:gd name="connsiteX16" fmla="*/ 190178 w 603491"/>
              <a:gd name="connsiteY16" fmla="*/ 318134 h 568343"/>
              <a:gd name="connsiteX17" fmla="*/ 198940 w 603491"/>
              <a:gd name="connsiteY17" fmla="*/ 315181 h 568343"/>
              <a:gd name="connsiteX18" fmla="*/ 290953 w 603491"/>
              <a:gd name="connsiteY18" fmla="*/ 372331 h 568343"/>
              <a:gd name="connsiteX19" fmla="*/ 322575 w 603491"/>
              <a:gd name="connsiteY19" fmla="*/ 354518 h 568343"/>
              <a:gd name="connsiteX20" fmla="*/ 384964 w 603491"/>
              <a:gd name="connsiteY20" fmla="*/ 210499 h 568343"/>
              <a:gd name="connsiteX21" fmla="*/ 393061 w 603491"/>
              <a:gd name="connsiteY21" fmla="*/ 204025 h 568343"/>
              <a:gd name="connsiteX22" fmla="*/ 436400 w 603491"/>
              <a:gd name="connsiteY22" fmla="*/ 241264 h 568343"/>
              <a:gd name="connsiteX23" fmla="*/ 436400 w 603491"/>
              <a:gd name="connsiteY23" fmla="*/ 241264 h 568343"/>
              <a:gd name="connsiteX24" fmla="*/ 453164 w 603491"/>
              <a:gd name="connsiteY24" fmla="*/ 355564 h 568343"/>
              <a:gd name="connsiteX25" fmla="*/ 436210 w 603491"/>
              <a:gd name="connsiteY25" fmla="*/ 385953 h 568343"/>
              <a:gd name="connsiteX26" fmla="*/ 203133 w 603491"/>
              <a:gd name="connsiteY26" fmla="*/ 517206 h 568343"/>
              <a:gd name="connsiteX27" fmla="*/ 180558 w 603491"/>
              <a:gd name="connsiteY27" fmla="*/ 509108 h 568343"/>
              <a:gd name="connsiteX28" fmla="*/ 163794 w 603491"/>
              <a:gd name="connsiteY28" fmla="*/ 394808 h 568343"/>
              <a:gd name="connsiteX29" fmla="*/ 190178 w 603491"/>
              <a:gd name="connsiteY29" fmla="*/ 318608 h 568343"/>
              <a:gd name="connsiteX30" fmla="*/ 252663 w 603491"/>
              <a:gd name="connsiteY30" fmla="*/ 274509 h 568343"/>
              <a:gd name="connsiteX31" fmla="*/ 328863 w 603491"/>
              <a:gd name="connsiteY31" fmla="*/ 231837 h 568343"/>
              <a:gd name="connsiteX32" fmla="*/ 335625 w 603491"/>
              <a:gd name="connsiteY32" fmla="*/ 239264 h 568343"/>
              <a:gd name="connsiteX33" fmla="*/ 305050 w 603491"/>
              <a:gd name="connsiteY33" fmla="*/ 309846 h 568343"/>
              <a:gd name="connsiteX34" fmla="*/ 294476 w 603491"/>
              <a:gd name="connsiteY34" fmla="*/ 315846 h 568343"/>
              <a:gd name="connsiteX35" fmla="*/ 249423 w 603491"/>
              <a:gd name="connsiteY35" fmla="*/ 287750 h 568343"/>
              <a:gd name="connsiteX36" fmla="*/ 253139 w 603491"/>
              <a:gd name="connsiteY36" fmla="*/ 274509 h 568343"/>
              <a:gd name="connsiteX37" fmla="*/ 468308 w 603491"/>
              <a:gd name="connsiteY37" fmla="*/ 16762 h 568343"/>
              <a:gd name="connsiteX38" fmla="*/ 545842 w 603491"/>
              <a:gd name="connsiteY38" fmla="*/ 44672 h 568343"/>
              <a:gd name="connsiteX39" fmla="*/ 487739 w 603491"/>
              <a:gd name="connsiteY39" fmla="*/ 149447 h 568343"/>
              <a:gd name="connsiteX40" fmla="*/ 410207 w 603491"/>
              <a:gd name="connsiteY40" fmla="*/ 121537 h 568343"/>
              <a:gd name="connsiteX41" fmla="*/ 468308 w 603491"/>
              <a:gd name="connsiteY41" fmla="*/ 16762 h 568343"/>
              <a:gd name="connsiteX42" fmla="*/ 75783 w 603491"/>
              <a:gd name="connsiteY42" fmla="*/ 237837 h 568343"/>
              <a:gd name="connsiteX43" fmla="*/ 153315 w 603491"/>
              <a:gd name="connsiteY43" fmla="*/ 265746 h 568343"/>
              <a:gd name="connsiteX44" fmla="*/ 95214 w 603491"/>
              <a:gd name="connsiteY44" fmla="*/ 370521 h 568343"/>
              <a:gd name="connsiteX45" fmla="*/ 17679 w 603491"/>
              <a:gd name="connsiteY45" fmla="*/ 342612 h 568343"/>
              <a:gd name="connsiteX46" fmla="*/ 75783 w 603491"/>
              <a:gd name="connsiteY46" fmla="*/ 237837 h 568343"/>
              <a:gd name="connsiteX47" fmla="*/ 260948 w 603491"/>
              <a:gd name="connsiteY47" fmla="*/ 47337 h 568343"/>
              <a:gd name="connsiteX48" fmla="*/ 363342 w 603491"/>
              <a:gd name="connsiteY48" fmla="*/ 84292 h 568343"/>
              <a:gd name="connsiteX49" fmla="*/ 287142 w 603491"/>
              <a:gd name="connsiteY49" fmla="*/ 222214 h 568343"/>
              <a:gd name="connsiteX50" fmla="*/ 184748 w 603491"/>
              <a:gd name="connsiteY50" fmla="*/ 185258 h 568343"/>
              <a:gd name="connsiteX51" fmla="*/ 260948 w 603491"/>
              <a:gd name="connsiteY51" fmla="*/ 47337 h 568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603491" h="568343">
                <a:moveTo>
                  <a:pt x="455734" y="176877"/>
                </a:moveTo>
                <a:lnTo>
                  <a:pt x="536792" y="131159"/>
                </a:lnTo>
                <a:cubicBezTo>
                  <a:pt x="565367" y="115156"/>
                  <a:pt x="591847" y="124681"/>
                  <a:pt x="595944" y="152493"/>
                </a:cubicBezTo>
                <a:lnTo>
                  <a:pt x="607469" y="230600"/>
                </a:lnTo>
                <a:cubicBezTo>
                  <a:pt x="607946" y="243078"/>
                  <a:pt x="601467" y="254887"/>
                  <a:pt x="590514" y="260984"/>
                </a:cubicBezTo>
                <a:lnTo>
                  <a:pt x="490311" y="317371"/>
                </a:lnTo>
                <a:lnTo>
                  <a:pt x="475833" y="218977"/>
                </a:lnTo>
                <a:cubicBezTo>
                  <a:pt x="473928" y="203071"/>
                  <a:pt x="466880" y="188309"/>
                  <a:pt x="455734" y="176877"/>
                </a:cubicBezTo>
                <a:close/>
                <a:moveTo>
                  <a:pt x="48826" y="406050"/>
                </a:moveTo>
                <a:lnTo>
                  <a:pt x="129789" y="360424"/>
                </a:lnTo>
                <a:cubicBezTo>
                  <a:pt x="123789" y="378619"/>
                  <a:pt x="121885" y="397952"/>
                  <a:pt x="124266" y="417002"/>
                </a:cubicBezTo>
                <a:lnTo>
                  <a:pt x="138744" y="515396"/>
                </a:lnTo>
                <a:lnTo>
                  <a:pt x="38541" y="571881"/>
                </a:lnTo>
                <a:cubicBezTo>
                  <a:pt x="27681" y="577974"/>
                  <a:pt x="17584" y="574356"/>
                  <a:pt x="15965" y="563686"/>
                </a:cubicBezTo>
                <a:lnTo>
                  <a:pt x="4536" y="485584"/>
                </a:lnTo>
                <a:cubicBezTo>
                  <a:pt x="441" y="457865"/>
                  <a:pt x="20347" y="422146"/>
                  <a:pt x="48826" y="406050"/>
                </a:cubicBezTo>
                <a:close/>
                <a:moveTo>
                  <a:pt x="190178" y="318134"/>
                </a:moveTo>
                <a:cubicBezTo>
                  <a:pt x="192083" y="315274"/>
                  <a:pt x="195703" y="314037"/>
                  <a:pt x="198940" y="315181"/>
                </a:cubicBezTo>
                <a:lnTo>
                  <a:pt x="290953" y="372331"/>
                </a:lnTo>
                <a:cubicBezTo>
                  <a:pt x="300478" y="378140"/>
                  <a:pt x="316194" y="369284"/>
                  <a:pt x="322575" y="354518"/>
                </a:cubicBezTo>
                <a:lnTo>
                  <a:pt x="384964" y="210499"/>
                </a:lnTo>
                <a:cubicBezTo>
                  <a:pt x="386299" y="207071"/>
                  <a:pt x="389440" y="204597"/>
                  <a:pt x="393061" y="204025"/>
                </a:cubicBezTo>
                <a:cubicBezTo>
                  <a:pt x="415348" y="202308"/>
                  <a:pt x="434684" y="218977"/>
                  <a:pt x="436400" y="241264"/>
                </a:cubicBezTo>
                <a:cubicBezTo>
                  <a:pt x="436400" y="241264"/>
                  <a:pt x="436400" y="241264"/>
                  <a:pt x="436400" y="241264"/>
                </a:cubicBezTo>
                <a:lnTo>
                  <a:pt x="453164" y="355564"/>
                </a:lnTo>
                <a:cubicBezTo>
                  <a:pt x="453639" y="368043"/>
                  <a:pt x="447162" y="379856"/>
                  <a:pt x="436210" y="385953"/>
                </a:cubicBezTo>
                <a:lnTo>
                  <a:pt x="203133" y="517206"/>
                </a:lnTo>
                <a:cubicBezTo>
                  <a:pt x="192178" y="523396"/>
                  <a:pt x="182081" y="519684"/>
                  <a:pt x="180558" y="509108"/>
                </a:cubicBezTo>
                <a:lnTo>
                  <a:pt x="163794" y="394808"/>
                </a:lnTo>
                <a:cubicBezTo>
                  <a:pt x="160175" y="370233"/>
                  <a:pt x="171128" y="340900"/>
                  <a:pt x="190178" y="318608"/>
                </a:cubicBezTo>
                <a:close/>
                <a:moveTo>
                  <a:pt x="252663" y="274509"/>
                </a:moveTo>
                <a:lnTo>
                  <a:pt x="328863" y="231837"/>
                </a:lnTo>
                <a:cubicBezTo>
                  <a:pt x="334290" y="228791"/>
                  <a:pt x="338388" y="233074"/>
                  <a:pt x="335625" y="239264"/>
                </a:cubicBezTo>
                <a:lnTo>
                  <a:pt x="305050" y="309846"/>
                </a:lnTo>
                <a:cubicBezTo>
                  <a:pt x="302955" y="314706"/>
                  <a:pt x="297620" y="317655"/>
                  <a:pt x="294476" y="315846"/>
                </a:cubicBezTo>
                <a:lnTo>
                  <a:pt x="249423" y="287750"/>
                </a:lnTo>
                <a:cubicBezTo>
                  <a:pt x="245519" y="285369"/>
                  <a:pt x="247710" y="277555"/>
                  <a:pt x="253139" y="274509"/>
                </a:cubicBezTo>
                <a:close/>
                <a:moveTo>
                  <a:pt x="468308" y="16762"/>
                </a:moveTo>
                <a:cubicBezTo>
                  <a:pt x="505740" y="-4381"/>
                  <a:pt x="540508" y="8190"/>
                  <a:pt x="545842" y="44672"/>
                </a:cubicBezTo>
                <a:cubicBezTo>
                  <a:pt x="551175" y="81153"/>
                  <a:pt x="525076" y="128015"/>
                  <a:pt x="487739" y="149447"/>
                </a:cubicBezTo>
                <a:cubicBezTo>
                  <a:pt x="450402" y="170878"/>
                  <a:pt x="415539" y="158018"/>
                  <a:pt x="410207" y="121537"/>
                </a:cubicBezTo>
                <a:cubicBezTo>
                  <a:pt x="404872" y="85055"/>
                  <a:pt x="430875" y="38193"/>
                  <a:pt x="468308" y="16762"/>
                </a:cubicBezTo>
                <a:close/>
                <a:moveTo>
                  <a:pt x="75783" y="237837"/>
                </a:moveTo>
                <a:cubicBezTo>
                  <a:pt x="113215" y="216694"/>
                  <a:pt x="147983" y="229265"/>
                  <a:pt x="153315" y="265746"/>
                </a:cubicBezTo>
                <a:cubicBezTo>
                  <a:pt x="158650" y="302228"/>
                  <a:pt x="132742" y="349090"/>
                  <a:pt x="95214" y="370521"/>
                </a:cubicBezTo>
                <a:cubicBezTo>
                  <a:pt x="57686" y="391953"/>
                  <a:pt x="23014" y="379191"/>
                  <a:pt x="17679" y="342612"/>
                </a:cubicBezTo>
                <a:cubicBezTo>
                  <a:pt x="12347" y="306037"/>
                  <a:pt x="38255" y="259365"/>
                  <a:pt x="75783" y="237837"/>
                </a:cubicBezTo>
                <a:close/>
                <a:moveTo>
                  <a:pt x="260948" y="47337"/>
                </a:moveTo>
                <a:cubicBezTo>
                  <a:pt x="310385" y="19524"/>
                  <a:pt x="356198" y="36100"/>
                  <a:pt x="363342" y="84292"/>
                </a:cubicBezTo>
                <a:cubicBezTo>
                  <a:pt x="370486" y="132489"/>
                  <a:pt x="336102" y="194309"/>
                  <a:pt x="287142" y="222214"/>
                </a:cubicBezTo>
                <a:cubicBezTo>
                  <a:pt x="238185" y="250124"/>
                  <a:pt x="191892" y="233553"/>
                  <a:pt x="184748" y="185258"/>
                </a:cubicBezTo>
                <a:cubicBezTo>
                  <a:pt x="177604" y="136968"/>
                  <a:pt x="211991" y="75246"/>
                  <a:pt x="260948" y="47337"/>
                </a:cubicBezTo>
                <a:close/>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srgbClr val="000000"/>
              </a:solidFill>
              <a:effectLst/>
              <a:uLnTx/>
              <a:uFillTx/>
              <a:latin typeface="OPPOSans R"/>
              <a:ea typeface="OPPOSans R"/>
              <a:cs typeface="+mn-cs"/>
            </a:endParaRPr>
          </a:p>
        </p:txBody>
      </p:sp>
      <p:grpSp>
        <p:nvGrpSpPr>
          <p:cNvPr id="25" name="组合 24">
            <a:extLst>
              <a:ext uri="{FF2B5EF4-FFF2-40B4-BE49-F238E27FC236}">
                <a16:creationId xmlns:a16="http://schemas.microsoft.com/office/drawing/2014/main" id="{CDF99932-085F-492D-ACA1-380C6160DAF8}"/>
              </a:ext>
            </a:extLst>
          </p:cNvPr>
          <p:cNvGrpSpPr/>
          <p:nvPr/>
        </p:nvGrpSpPr>
        <p:grpSpPr>
          <a:xfrm>
            <a:off x="8411245" y="1903167"/>
            <a:ext cx="310339" cy="381139"/>
            <a:chOff x="8427822" y="1933781"/>
            <a:chExt cx="310339" cy="381139"/>
          </a:xfrm>
        </p:grpSpPr>
        <p:sp>
          <p:nvSpPr>
            <p:cNvPr id="18" name="任意多边形: 形状 17">
              <a:extLst>
                <a:ext uri="{FF2B5EF4-FFF2-40B4-BE49-F238E27FC236}">
                  <a16:creationId xmlns:a16="http://schemas.microsoft.com/office/drawing/2014/main" id="{012C6964-068D-4181-9993-16C162E0629C}"/>
                </a:ext>
              </a:extLst>
            </p:cNvPr>
            <p:cNvSpPr/>
            <p:nvPr/>
          </p:nvSpPr>
          <p:spPr>
            <a:xfrm>
              <a:off x="8470776" y="1933781"/>
              <a:ext cx="131428" cy="167062"/>
            </a:xfrm>
            <a:custGeom>
              <a:avLst/>
              <a:gdLst>
                <a:gd name="connsiteX0" fmla="*/ 58443 w 131428"/>
                <a:gd name="connsiteY0" fmla="*/ 13207 h 167062"/>
                <a:gd name="connsiteX1" fmla="*/ 131403 w 131428"/>
                <a:gd name="connsiteY1" fmla="*/ 47401 h 167062"/>
                <a:gd name="connsiteX2" fmla="*/ 82446 w 131428"/>
                <a:gd name="connsiteY2" fmla="*/ 167607 h 167062"/>
                <a:gd name="connsiteX3" fmla="*/ 82446 w 131428"/>
                <a:gd name="connsiteY3" fmla="*/ 167607 h 167062"/>
                <a:gd name="connsiteX4" fmla="*/ 81969 w 131428"/>
                <a:gd name="connsiteY4" fmla="*/ 167607 h 167062"/>
                <a:gd name="connsiteX5" fmla="*/ 4530 w 131428"/>
                <a:gd name="connsiteY5" fmla="*/ 100932 h 167062"/>
                <a:gd name="connsiteX6" fmla="*/ 58729 w 131428"/>
                <a:gd name="connsiteY6" fmla="*/ 12826 h 167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1428" h="167062">
                  <a:moveTo>
                    <a:pt x="58443" y="13207"/>
                  </a:moveTo>
                  <a:cubicBezTo>
                    <a:pt x="63870" y="10728"/>
                    <a:pt x="118830" y="-13177"/>
                    <a:pt x="131403" y="47401"/>
                  </a:cubicBezTo>
                  <a:cubicBezTo>
                    <a:pt x="131403" y="47401"/>
                    <a:pt x="156265" y="135507"/>
                    <a:pt x="82446" y="167607"/>
                  </a:cubicBezTo>
                  <a:lnTo>
                    <a:pt x="82446" y="167607"/>
                  </a:lnTo>
                  <a:lnTo>
                    <a:pt x="81969" y="167607"/>
                  </a:lnTo>
                  <a:cubicBezTo>
                    <a:pt x="7960" y="198182"/>
                    <a:pt x="4530" y="100932"/>
                    <a:pt x="4530" y="100932"/>
                  </a:cubicBezTo>
                  <a:cubicBezTo>
                    <a:pt x="-1947" y="37876"/>
                    <a:pt x="53204" y="15207"/>
                    <a:pt x="58729" y="12826"/>
                  </a:cubicBezTo>
                  <a:close/>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OPPOSans R"/>
                <a:ea typeface="OPPOSans R"/>
                <a:cs typeface="+mn-cs"/>
              </a:endParaRPr>
            </a:p>
          </p:txBody>
        </p:sp>
        <p:sp>
          <p:nvSpPr>
            <p:cNvPr id="19" name="任意多边形: 形状 18">
              <a:extLst>
                <a:ext uri="{FF2B5EF4-FFF2-40B4-BE49-F238E27FC236}">
                  <a16:creationId xmlns:a16="http://schemas.microsoft.com/office/drawing/2014/main" id="{6C503335-FDAF-4832-9D9E-28415986E075}"/>
                </a:ext>
              </a:extLst>
            </p:cNvPr>
            <p:cNvSpPr/>
            <p:nvPr/>
          </p:nvSpPr>
          <p:spPr>
            <a:xfrm>
              <a:off x="8427822" y="2092036"/>
              <a:ext cx="249795" cy="222884"/>
            </a:xfrm>
            <a:custGeom>
              <a:avLst/>
              <a:gdLst>
                <a:gd name="connsiteX0" fmla="*/ 183215 w 249795"/>
                <a:gd name="connsiteY0" fmla="*/ 114030 h 222884"/>
                <a:gd name="connsiteX1" fmla="*/ 242461 w 249795"/>
                <a:gd name="connsiteY1" fmla="*/ 19636 h 222884"/>
                <a:gd name="connsiteX2" fmla="*/ 253797 w 249795"/>
                <a:gd name="connsiteY2" fmla="*/ 15827 h 222884"/>
                <a:gd name="connsiteX3" fmla="*/ 241033 w 249795"/>
                <a:gd name="connsiteY3" fmla="*/ 12306 h 222884"/>
                <a:gd name="connsiteX4" fmla="*/ 175120 w 249795"/>
                <a:gd name="connsiteY4" fmla="*/ 6492 h 222884"/>
                <a:gd name="connsiteX5" fmla="*/ 161119 w 249795"/>
                <a:gd name="connsiteY5" fmla="*/ 93454 h 222884"/>
                <a:gd name="connsiteX6" fmla="*/ 140162 w 249795"/>
                <a:gd name="connsiteY6" fmla="*/ 60024 h 222884"/>
                <a:gd name="connsiteX7" fmla="*/ 127686 w 249795"/>
                <a:gd name="connsiteY7" fmla="*/ 26686 h 222884"/>
                <a:gd name="connsiteX8" fmla="*/ 127686 w 249795"/>
                <a:gd name="connsiteY8" fmla="*/ 26686 h 222884"/>
                <a:gd name="connsiteX9" fmla="*/ 126351 w 249795"/>
                <a:gd name="connsiteY9" fmla="*/ 65833 h 222884"/>
                <a:gd name="connsiteX10" fmla="*/ 117494 w 249795"/>
                <a:gd name="connsiteY10" fmla="*/ 111937 h 222884"/>
                <a:gd name="connsiteX11" fmla="*/ 80157 w 249795"/>
                <a:gd name="connsiteY11" fmla="*/ 46880 h 222884"/>
                <a:gd name="connsiteX12" fmla="*/ 23958 w 249795"/>
                <a:gd name="connsiteY12" fmla="*/ 104030 h 222884"/>
                <a:gd name="connsiteX13" fmla="*/ 4908 w 249795"/>
                <a:gd name="connsiteY13" fmla="*/ 161753 h 222884"/>
                <a:gd name="connsiteX14" fmla="*/ 15386 w 249795"/>
                <a:gd name="connsiteY14" fmla="*/ 229376 h 222884"/>
                <a:gd name="connsiteX15" fmla="*/ 150069 w 249795"/>
                <a:gd name="connsiteY15" fmla="*/ 172226 h 222884"/>
                <a:gd name="connsiteX16" fmla="*/ 205505 w 249795"/>
                <a:gd name="connsiteY16" fmla="*/ 148702 h 222884"/>
                <a:gd name="connsiteX17" fmla="*/ 205505 w 249795"/>
                <a:gd name="connsiteY17" fmla="*/ 147939 h 222884"/>
                <a:gd name="connsiteX18" fmla="*/ 183215 w 249795"/>
                <a:gd name="connsiteY18" fmla="*/ 114030 h 222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49795" h="222884">
                  <a:moveTo>
                    <a:pt x="183215" y="114030"/>
                  </a:moveTo>
                  <a:cubicBezTo>
                    <a:pt x="177692" y="78120"/>
                    <a:pt x="204265" y="35830"/>
                    <a:pt x="242461" y="19636"/>
                  </a:cubicBezTo>
                  <a:cubicBezTo>
                    <a:pt x="246177" y="18115"/>
                    <a:pt x="249890" y="16780"/>
                    <a:pt x="253797" y="15827"/>
                  </a:cubicBezTo>
                  <a:cubicBezTo>
                    <a:pt x="249700" y="14208"/>
                    <a:pt x="245414" y="12971"/>
                    <a:pt x="241033" y="12306"/>
                  </a:cubicBezTo>
                  <a:cubicBezTo>
                    <a:pt x="219220" y="9255"/>
                    <a:pt x="197217" y="7255"/>
                    <a:pt x="175120" y="6492"/>
                  </a:cubicBezTo>
                  <a:lnTo>
                    <a:pt x="161119" y="93454"/>
                  </a:lnTo>
                  <a:lnTo>
                    <a:pt x="140162" y="60024"/>
                  </a:lnTo>
                  <a:cubicBezTo>
                    <a:pt x="161214" y="14399"/>
                    <a:pt x="132735" y="24589"/>
                    <a:pt x="127686" y="26686"/>
                  </a:cubicBezTo>
                  <a:lnTo>
                    <a:pt x="127686" y="26686"/>
                  </a:lnTo>
                  <a:cubicBezTo>
                    <a:pt x="122638" y="28877"/>
                    <a:pt x="94728" y="42499"/>
                    <a:pt x="126351" y="65833"/>
                  </a:cubicBezTo>
                  <a:lnTo>
                    <a:pt x="117494" y="111937"/>
                  </a:lnTo>
                  <a:lnTo>
                    <a:pt x="80157" y="46880"/>
                  </a:lnTo>
                  <a:cubicBezTo>
                    <a:pt x="80157" y="46880"/>
                    <a:pt x="50151" y="75455"/>
                    <a:pt x="23958" y="104030"/>
                  </a:cubicBezTo>
                  <a:cubicBezTo>
                    <a:pt x="4240" y="126034"/>
                    <a:pt x="2336" y="141558"/>
                    <a:pt x="4908" y="161753"/>
                  </a:cubicBezTo>
                  <a:lnTo>
                    <a:pt x="15386" y="229376"/>
                  </a:lnTo>
                  <a:lnTo>
                    <a:pt x="150069" y="172226"/>
                  </a:lnTo>
                  <a:lnTo>
                    <a:pt x="205505" y="148702"/>
                  </a:lnTo>
                  <a:cubicBezTo>
                    <a:pt x="205505" y="148702"/>
                    <a:pt x="205505" y="148223"/>
                    <a:pt x="205505" y="147939"/>
                  </a:cubicBezTo>
                  <a:cubicBezTo>
                    <a:pt x="193408" y="140512"/>
                    <a:pt x="185215" y="128127"/>
                    <a:pt x="183215" y="114030"/>
                  </a:cubicBezTo>
                  <a:close/>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OPPOSans R"/>
                <a:ea typeface="OPPOSans R"/>
                <a:cs typeface="+mn-cs"/>
              </a:endParaRPr>
            </a:p>
          </p:txBody>
        </p:sp>
        <p:sp>
          <p:nvSpPr>
            <p:cNvPr id="20" name="任意多边形: 形状 19">
              <a:extLst>
                <a:ext uri="{FF2B5EF4-FFF2-40B4-BE49-F238E27FC236}">
                  <a16:creationId xmlns:a16="http://schemas.microsoft.com/office/drawing/2014/main" id="{DEC108AC-2ECD-4553-A53C-02E7DC19B316}"/>
                </a:ext>
              </a:extLst>
            </p:cNvPr>
            <p:cNvSpPr/>
            <p:nvPr/>
          </p:nvSpPr>
          <p:spPr>
            <a:xfrm>
              <a:off x="8618428" y="2109003"/>
              <a:ext cx="119733" cy="122143"/>
            </a:xfrm>
            <a:custGeom>
              <a:avLst/>
              <a:gdLst>
                <a:gd name="connsiteX0" fmla="*/ 55380 w 119733"/>
                <a:gd name="connsiteY0" fmla="*/ 11910 h 122143"/>
                <a:gd name="connsiteX1" fmla="*/ 4611 w 119733"/>
                <a:gd name="connsiteY1" fmla="*/ 92682 h 122143"/>
                <a:gd name="connsiteX2" fmla="*/ 72430 w 119733"/>
                <a:gd name="connsiteY2" fmla="*/ 123257 h 122143"/>
                <a:gd name="connsiteX3" fmla="*/ 123103 w 119733"/>
                <a:gd name="connsiteY3" fmla="*/ 42485 h 122143"/>
                <a:gd name="connsiteX4" fmla="*/ 55380 w 119733"/>
                <a:gd name="connsiteY4" fmla="*/ 11910 h 122143"/>
                <a:gd name="connsiteX5" fmla="*/ 94908 w 119733"/>
                <a:gd name="connsiteY5" fmla="*/ 63823 h 122143"/>
                <a:gd name="connsiteX6" fmla="*/ 70809 w 119733"/>
                <a:gd name="connsiteY6" fmla="*/ 99161 h 122143"/>
                <a:gd name="connsiteX7" fmla="*/ 35662 w 119733"/>
                <a:gd name="connsiteY7" fmla="*/ 81250 h 122143"/>
                <a:gd name="connsiteX8" fmla="*/ 36806 w 119733"/>
                <a:gd name="connsiteY8" fmla="*/ 62870 h 122143"/>
                <a:gd name="connsiteX9" fmla="*/ 45092 w 119733"/>
                <a:gd name="connsiteY9" fmla="*/ 47629 h 122143"/>
                <a:gd name="connsiteX10" fmla="*/ 59570 w 119733"/>
                <a:gd name="connsiteY10" fmla="*/ 37248 h 122143"/>
                <a:gd name="connsiteX11" fmla="*/ 92240 w 119733"/>
                <a:gd name="connsiteY11" fmla="*/ 48964 h 122143"/>
                <a:gd name="connsiteX12" fmla="*/ 74048 w 119733"/>
                <a:gd name="connsiteY12" fmla="*/ 56679 h 122143"/>
                <a:gd name="connsiteX13" fmla="*/ 62237 w 119733"/>
                <a:gd name="connsiteY13" fmla="*/ 49917 h 122143"/>
                <a:gd name="connsiteX14" fmla="*/ 54617 w 119733"/>
                <a:gd name="connsiteY14" fmla="*/ 75060 h 122143"/>
                <a:gd name="connsiteX15" fmla="*/ 68618 w 119733"/>
                <a:gd name="connsiteY15" fmla="*/ 86966 h 122143"/>
                <a:gd name="connsiteX16" fmla="*/ 76716 w 119733"/>
                <a:gd name="connsiteY16" fmla="*/ 71539 h 122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9733" h="122143">
                  <a:moveTo>
                    <a:pt x="55380" y="11910"/>
                  </a:moveTo>
                  <a:cubicBezTo>
                    <a:pt x="22614" y="25816"/>
                    <a:pt x="-56" y="62014"/>
                    <a:pt x="4611" y="92682"/>
                  </a:cubicBezTo>
                  <a:cubicBezTo>
                    <a:pt x="9278" y="123354"/>
                    <a:pt x="39664" y="137070"/>
                    <a:pt x="72430" y="123257"/>
                  </a:cubicBezTo>
                  <a:cubicBezTo>
                    <a:pt x="105195" y="109448"/>
                    <a:pt x="127866" y="73157"/>
                    <a:pt x="123103" y="42485"/>
                  </a:cubicBezTo>
                  <a:cubicBezTo>
                    <a:pt x="118341" y="11817"/>
                    <a:pt x="88050" y="-1996"/>
                    <a:pt x="55380" y="11910"/>
                  </a:cubicBezTo>
                  <a:close/>
                  <a:moveTo>
                    <a:pt x="94908" y="63823"/>
                  </a:moveTo>
                  <a:cubicBezTo>
                    <a:pt x="96338" y="79822"/>
                    <a:pt x="86241" y="94682"/>
                    <a:pt x="70809" y="99161"/>
                  </a:cubicBezTo>
                  <a:cubicBezTo>
                    <a:pt x="50522" y="107160"/>
                    <a:pt x="38806" y="101160"/>
                    <a:pt x="35662" y="81250"/>
                  </a:cubicBezTo>
                  <a:cubicBezTo>
                    <a:pt x="34807" y="75060"/>
                    <a:pt x="35186" y="68869"/>
                    <a:pt x="36806" y="62870"/>
                  </a:cubicBezTo>
                  <a:cubicBezTo>
                    <a:pt x="38330" y="57251"/>
                    <a:pt x="41188" y="52010"/>
                    <a:pt x="45092" y="47629"/>
                  </a:cubicBezTo>
                  <a:cubicBezTo>
                    <a:pt x="49094" y="43150"/>
                    <a:pt x="54047" y="39629"/>
                    <a:pt x="59570" y="37248"/>
                  </a:cubicBezTo>
                  <a:cubicBezTo>
                    <a:pt x="77097" y="29816"/>
                    <a:pt x="88145" y="33723"/>
                    <a:pt x="92240" y="48964"/>
                  </a:cubicBezTo>
                  <a:lnTo>
                    <a:pt x="74048" y="56679"/>
                  </a:lnTo>
                  <a:cubicBezTo>
                    <a:pt x="72239" y="49629"/>
                    <a:pt x="68335" y="47154"/>
                    <a:pt x="62237" y="49917"/>
                  </a:cubicBezTo>
                  <a:cubicBezTo>
                    <a:pt x="56142" y="52675"/>
                    <a:pt x="52712" y="62014"/>
                    <a:pt x="54617" y="75060"/>
                  </a:cubicBezTo>
                  <a:cubicBezTo>
                    <a:pt x="56333" y="86301"/>
                    <a:pt x="61000" y="90301"/>
                    <a:pt x="68618" y="86966"/>
                  </a:cubicBezTo>
                  <a:cubicBezTo>
                    <a:pt x="74811" y="84585"/>
                    <a:pt x="78239" y="78013"/>
                    <a:pt x="76716" y="71539"/>
                  </a:cubicBezTo>
                  <a:close/>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OPPOSans R"/>
                <a:ea typeface="OPPOSans R"/>
                <a:cs typeface="+mn-cs"/>
              </a:endParaRPr>
            </a:p>
          </p:txBody>
        </p:sp>
      </p:grpSp>
      <p:grpSp>
        <p:nvGrpSpPr>
          <p:cNvPr id="24" name="组合 23">
            <a:extLst>
              <a:ext uri="{FF2B5EF4-FFF2-40B4-BE49-F238E27FC236}">
                <a16:creationId xmlns:a16="http://schemas.microsoft.com/office/drawing/2014/main" id="{3E644E7C-EC54-4572-9C98-64CEFA06E9FD}"/>
              </a:ext>
            </a:extLst>
          </p:cNvPr>
          <p:cNvGrpSpPr/>
          <p:nvPr/>
        </p:nvGrpSpPr>
        <p:grpSpPr>
          <a:xfrm>
            <a:off x="8768018" y="2903630"/>
            <a:ext cx="376375" cy="446194"/>
            <a:chOff x="8745898" y="2699660"/>
            <a:chExt cx="376375" cy="446194"/>
          </a:xfrm>
        </p:grpSpPr>
        <p:sp>
          <p:nvSpPr>
            <p:cNvPr id="21" name="任意多边形: 形状 20">
              <a:extLst>
                <a:ext uri="{FF2B5EF4-FFF2-40B4-BE49-F238E27FC236}">
                  <a16:creationId xmlns:a16="http://schemas.microsoft.com/office/drawing/2014/main" id="{2B39680B-6CE8-4C74-92C9-196F01755E2B}"/>
                </a:ext>
              </a:extLst>
            </p:cNvPr>
            <p:cNvSpPr/>
            <p:nvPr/>
          </p:nvSpPr>
          <p:spPr>
            <a:xfrm>
              <a:off x="8745898" y="2872358"/>
              <a:ext cx="376375" cy="273496"/>
            </a:xfrm>
            <a:custGeom>
              <a:avLst/>
              <a:gdLst>
                <a:gd name="connsiteX0" fmla="*/ 106694 w 376375"/>
                <a:gd name="connsiteY0" fmla="*/ 55417 h 273496"/>
                <a:gd name="connsiteX1" fmla="*/ 168798 w 376375"/>
                <a:gd name="connsiteY1" fmla="*/ 150667 h 273496"/>
                <a:gd name="connsiteX2" fmla="*/ 164607 w 376375"/>
                <a:gd name="connsiteY2" fmla="*/ 86754 h 273496"/>
                <a:gd name="connsiteX3" fmla="*/ 186990 w 376375"/>
                <a:gd name="connsiteY3" fmla="*/ 77229 h 273496"/>
                <a:gd name="connsiteX4" fmla="*/ 201182 w 376375"/>
                <a:gd name="connsiteY4" fmla="*/ 136668 h 273496"/>
                <a:gd name="connsiteX5" fmla="*/ 203754 w 376375"/>
                <a:gd name="connsiteY5" fmla="*/ 136096 h 273496"/>
                <a:gd name="connsiteX6" fmla="*/ 228520 w 376375"/>
                <a:gd name="connsiteY6" fmla="*/ 6648 h 273496"/>
                <a:gd name="connsiteX7" fmla="*/ 261666 w 376375"/>
                <a:gd name="connsiteY7" fmla="*/ 7127 h 273496"/>
                <a:gd name="connsiteX8" fmla="*/ 320340 w 376375"/>
                <a:gd name="connsiteY8" fmla="*/ 15033 h 273496"/>
                <a:gd name="connsiteX9" fmla="*/ 365488 w 376375"/>
                <a:gd name="connsiteY9" fmla="*/ 67514 h 273496"/>
                <a:gd name="connsiteX10" fmla="*/ 378538 w 376375"/>
                <a:gd name="connsiteY10" fmla="*/ 102949 h 273496"/>
                <a:gd name="connsiteX11" fmla="*/ 361107 w 376375"/>
                <a:gd name="connsiteY11" fmla="*/ 135905 h 273496"/>
                <a:gd name="connsiteX12" fmla="*/ 28304 w 376375"/>
                <a:gd name="connsiteY12" fmla="*/ 276971 h 273496"/>
                <a:gd name="connsiteX13" fmla="*/ 4015 w 376375"/>
                <a:gd name="connsiteY13" fmla="*/ 262395 h 273496"/>
                <a:gd name="connsiteX14" fmla="*/ 5538 w 376375"/>
                <a:gd name="connsiteY14" fmla="*/ 200292 h 273496"/>
                <a:gd name="connsiteX15" fmla="*/ 31541 w 376375"/>
                <a:gd name="connsiteY15" fmla="*/ 135523 h 273496"/>
                <a:gd name="connsiteX16" fmla="*/ 106694 w 376375"/>
                <a:gd name="connsiteY16" fmla="*/ 55417 h 2734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76375" h="273496">
                  <a:moveTo>
                    <a:pt x="106694" y="55417"/>
                  </a:moveTo>
                  <a:cubicBezTo>
                    <a:pt x="114885" y="99516"/>
                    <a:pt x="143176" y="123617"/>
                    <a:pt x="168798" y="150667"/>
                  </a:cubicBezTo>
                  <a:lnTo>
                    <a:pt x="164607" y="86754"/>
                  </a:lnTo>
                  <a:lnTo>
                    <a:pt x="186990" y="77229"/>
                  </a:lnTo>
                  <a:lnTo>
                    <a:pt x="201182" y="136668"/>
                  </a:lnTo>
                  <a:lnTo>
                    <a:pt x="203754" y="136096"/>
                  </a:lnTo>
                  <a:cubicBezTo>
                    <a:pt x="215946" y="93042"/>
                    <a:pt x="234710" y="49510"/>
                    <a:pt x="228520" y="6648"/>
                  </a:cubicBezTo>
                  <a:cubicBezTo>
                    <a:pt x="239186" y="6648"/>
                    <a:pt x="250711" y="6076"/>
                    <a:pt x="261666" y="7127"/>
                  </a:cubicBezTo>
                  <a:cubicBezTo>
                    <a:pt x="281384" y="8648"/>
                    <a:pt x="300908" y="11317"/>
                    <a:pt x="320340" y="15033"/>
                  </a:cubicBezTo>
                  <a:cubicBezTo>
                    <a:pt x="347296" y="20744"/>
                    <a:pt x="357677" y="43036"/>
                    <a:pt x="365488" y="67514"/>
                  </a:cubicBezTo>
                  <a:cubicBezTo>
                    <a:pt x="369395" y="79611"/>
                    <a:pt x="374157" y="91136"/>
                    <a:pt x="378538" y="102949"/>
                  </a:cubicBezTo>
                  <a:cubicBezTo>
                    <a:pt x="383778" y="117139"/>
                    <a:pt x="377776" y="128761"/>
                    <a:pt x="361107" y="135905"/>
                  </a:cubicBezTo>
                  <a:lnTo>
                    <a:pt x="28304" y="276971"/>
                  </a:lnTo>
                  <a:cubicBezTo>
                    <a:pt x="11826" y="283924"/>
                    <a:pt x="3633" y="278780"/>
                    <a:pt x="4015" y="262395"/>
                  </a:cubicBezTo>
                  <a:cubicBezTo>
                    <a:pt x="4491" y="241726"/>
                    <a:pt x="4682" y="221058"/>
                    <a:pt x="5538" y="200292"/>
                  </a:cubicBezTo>
                  <a:cubicBezTo>
                    <a:pt x="6301" y="176288"/>
                    <a:pt x="15444" y="153336"/>
                    <a:pt x="31541" y="135523"/>
                  </a:cubicBezTo>
                  <a:cubicBezTo>
                    <a:pt x="55544" y="108376"/>
                    <a:pt x="80977" y="82564"/>
                    <a:pt x="106694" y="55417"/>
                  </a:cubicBezTo>
                  <a:close/>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OPPOSans R"/>
                <a:ea typeface="OPPOSans R"/>
                <a:cs typeface="+mn-cs"/>
              </a:endParaRPr>
            </a:p>
          </p:txBody>
        </p:sp>
        <p:sp>
          <p:nvSpPr>
            <p:cNvPr id="22" name="任意多边形: 形状 21">
              <a:extLst>
                <a:ext uri="{FF2B5EF4-FFF2-40B4-BE49-F238E27FC236}">
                  <a16:creationId xmlns:a16="http://schemas.microsoft.com/office/drawing/2014/main" id="{C5069BCA-CA55-47C5-BBEF-4658928CAF2D}"/>
                </a:ext>
              </a:extLst>
            </p:cNvPr>
            <p:cNvSpPr/>
            <p:nvPr/>
          </p:nvSpPr>
          <p:spPr>
            <a:xfrm>
              <a:off x="8818366" y="2699660"/>
              <a:ext cx="147264" cy="197028"/>
            </a:xfrm>
            <a:custGeom>
              <a:avLst/>
              <a:gdLst>
                <a:gd name="connsiteX0" fmla="*/ 144715 w 147264"/>
                <a:gd name="connsiteY0" fmla="*/ 44094 h 197028"/>
                <a:gd name="connsiteX1" fmla="*/ 144715 w 147264"/>
                <a:gd name="connsiteY1" fmla="*/ 58000 h 197028"/>
                <a:gd name="connsiteX2" fmla="*/ 149384 w 147264"/>
                <a:gd name="connsiteY2" fmla="*/ 77050 h 197028"/>
                <a:gd name="connsiteX3" fmla="*/ 141859 w 147264"/>
                <a:gd name="connsiteY3" fmla="*/ 123247 h 197028"/>
                <a:gd name="connsiteX4" fmla="*/ 137857 w 147264"/>
                <a:gd name="connsiteY4" fmla="*/ 135437 h 197028"/>
                <a:gd name="connsiteX5" fmla="*/ 118807 w 147264"/>
                <a:gd name="connsiteY5" fmla="*/ 178872 h 197028"/>
                <a:gd name="connsiteX6" fmla="*/ 47465 w 147264"/>
                <a:gd name="connsiteY6" fmla="*/ 195066 h 197028"/>
                <a:gd name="connsiteX7" fmla="*/ 42798 w 147264"/>
                <a:gd name="connsiteY7" fmla="*/ 190397 h 197028"/>
                <a:gd name="connsiteX8" fmla="*/ 21557 w 147264"/>
                <a:gd name="connsiteY8" fmla="*/ 169156 h 197028"/>
                <a:gd name="connsiteX9" fmla="*/ 8890 w 147264"/>
                <a:gd name="connsiteY9" fmla="*/ 132293 h 197028"/>
                <a:gd name="connsiteX10" fmla="*/ 7556 w 147264"/>
                <a:gd name="connsiteY10" fmla="*/ 125531 h 197028"/>
                <a:gd name="connsiteX11" fmla="*/ 41751 w 147264"/>
                <a:gd name="connsiteY11" fmla="*/ 25900 h 197028"/>
                <a:gd name="connsiteX12" fmla="*/ 110712 w 147264"/>
                <a:gd name="connsiteY12" fmla="*/ 13040 h 197028"/>
                <a:gd name="connsiteX13" fmla="*/ 115284 w 147264"/>
                <a:gd name="connsiteY13" fmla="*/ 14947 h 197028"/>
                <a:gd name="connsiteX14" fmla="*/ 144715 w 147264"/>
                <a:gd name="connsiteY14" fmla="*/ 44094 h 197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47264" h="197028">
                  <a:moveTo>
                    <a:pt x="144715" y="44094"/>
                  </a:moveTo>
                  <a:cubicBezTo>
                    <a:pt x="144431" y="48759"/>
                    <a:pt x="144431" y="53331"/>
                    <a:pt x="144715" y="58000"/>
                  </a:cubicBezTo>
                  <a:cubicBezTo>
                    <a:pt x="145478" y="64474"/>
                    <a:pt x="147096" y="70953"/>
                    <a:pt x="149384" y="77050"/>
                  </a:cubicBezTo>
                  <a:cubicBezTo>
                    <a:pt x="153861" y="86575"/>
                    <a:pt x="149954" y="111722"/>
                    <a:pt x="141859" y="123247"/>
                  </a:cubicBezTo>
                  <a:cubicBezTo>
                    <a:pt x="139764" y="127056"/>
                    <a:pt x="138334" y="131149"/>
                    <a:pt x="137857" y="135437"/>
                  </a:cubicBezTo>
                  <a:cubicBezTo>
                    <a:pt x="135190" y="151250"/>
                    <a:pt x="128713" y="166203"/>
                    <a:pt x="118807" y="178872"/>
                  </a:cubicBezTo>
                  <a:cubicBezTo>
                    <a:pt x="98806" y="203638"/>
                    <a:pt x="65754" y="211065"/>
                    <a:pt x="47465" y="195066"/>
                  </a:cubicBezTo>
                  <a:cubicBezTo>
                    <a:pt x="46037" y="193443"/>
                    <a:pt x="44419" y="191825"/>
                    <a:pt x="42798" y="190397"/>
                  </a:cubicBezTo>
                  <a:cubicBezTo>
                    <a:pt x="34608" y="184681"/>
                    <a:pt x="30796" y="174872"/>
                    <a:pt x="21557" y="169156"/>
                  </a:cubicBezTo>
                  <a:cubicBezTo>
                    <a:pt x="8700" y="161729"/>
                    <a:pt x="3365" y="146009"/>
                    <a:pt x="8890" y="132293"/>
                  </a:cubicBezTo>
                  <a:cubicBezTo>
                    <a:pt x="9651" y="130103"/>
                    <a:pt x="8318" y="127721"/>
                    <a:pt x="7556" y="125531"/>
                  </a:cubicBezTo>
                  <a:cubicBezTo>
                    <a:pt x="-3111" y="92100"/>
                    <a:pt x="10795" y="51712"/>
                    <a:pt x="41751" y="25900"/>
                  </a:cubicBezTo>
                  <a:cubicBezTo>
                    <a:pt x="64229" y="6850"/>
                    <a:pt x="93662" y="371"/>
                    <a:pt x="110712" y="13040"/>
                  </a:cubicBezTo>
                  <a:cubicBezTo>
                    <a:pt x="111949" y="14184"/>
                    <a:pt x="113570" y="14849"/>
                    <a:pt x="115284" y="14947"/>
                  </a:cubicBezTo>
                  <a:cubicBezTo>
                    <a:pt x="136334" y="13519"/>
                    <a:pt x="141668" y="27518"/>
                    <a:pt x="144715" y="44094"/>
                  </a:cubicBezTo>
                  <a:close/>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OPPOSans R"/>
                <a:ea typeface="OPPOSans R"/>
                <a:cs typeface="+mn-cs"/>
              </a:endParaRPr>
            </a:p>
          </p:txBody>
        </p:sp>
        <p:sp>
          <p:nvSpPr>
            <p:cNvPr id="23" name="任意多边形: 形状 22">
              <a:extLst>
                <a:ext uri="{FF2B5EF4-FFF2-40B4-BE49-F238E27FC236}">
                  <a16:creationId xmlns:a16="http://schemas.microsoft.com/office/drawing/2014/main" id="{C85EF7F5-A028-4EB0-8D5B-BF56CC70B1EF}"/>
                </a:ext>
              </a:extLst>
            </p:cNvPr>
            <p:cNvSpPr/>
            <p:nvPr/>
          </p:nvSpPr>
          <p:spPr>
            <a:xfrm>
              <a:off x="8898331" y="2916007"/>
              <a:ext cx="32796" cy="29141"/>
            </a:xfrm>
            <a:custGeom>
              <a:avLst/>
              <a:gdLst>
                <a:gd name="connsiteX0" fmla="*/ 18936 w 32796"/>
                <a:gd name="connsiteY0" fmla="*/ 11005 h 29141"/>
                <a:gd name="connsiteX1" fmla="*/ 36174 w 32796"/>
                <a:gd name="connsiteY1" fmla="*/ 11958 h 29141"/>
                <a:gd name="connsiteX2" fmla="*/ 22173 w 32796"/>
                <a:gd name="connsiteY2" fmla="*/ 32725 h 29141"/>
                <a:gd name="connsiteX3" fmla="*/ 4076 w 32796"/>
                <a:gd name="connsiteY3" fmla="*/ 25199 h 29141"/>
                <a:gd name="connsiteX4" fmla="*/ 18936 w 32796"/>
                <a:gd name="connsiteY4" fmla="*/ 11005 h 291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796" h="29141">
                  <a:moveTo>
                    <a:pt x="18936" y="11005"/>
                  </a:moveTo>
                  <a:cubicBezTo>
                    <a:pt x="24840" y="11005"/>
                    <a:pt x="33984" y="243"/>
                    <a:pt x="36174" y="11958"/>
                  </a:cubicBezTo>
                  <a:cubicBezTo>
                    <a:pt x="38367" y="23674"/>
                    <a:pt x="35033" y="27390"/>
                    <a:pt x="22173" y="32725"/>
                  </a:cubicBezTo>
                  <a:cubicBezTo>
                    <a:pt x="9316" y="38059"/>
                    <a:pt x="5125" y="36343"/>
                    <a:pt x="4076" y="25199"/>
                  </a:cubicBezTo>
                  <a:cubicBezTo>
                    <a:pt x="3028" y="14056"/>
                    <a:pt x="13315" y="15293"/>
                    <a:pt x="18936" y="11005"/>
                  </a:cubicBezTo>
                  <a:close/>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OPPOSans R"/>
                <a:ea typeface="OPPOSans R"/>
                <a:cs typeface="+mn-cs"/>
              </a:endParaRPr>
            </a:p>
          </p:txBody>
        </p:sp>
      </p:grpSp>
      <p:sp>
        <p:nvSpPr>
          <p:cNvPr id="63" name="Object 1014">
            <a:extLst>
              <a:ext uri="{FF2B5EF4-FFF2-40B4-BE49-F238E27FC236}">
                <a16:creationId xmlns:a16="http://schemas.microsoft.com/office/drawing/2014/main" id="{0A937569-3975-405B-B7B2-73C1B4A4BBCA}"/>
              </a:ext>
            </a:extLst>
          </p:cNvPr>
          <p:cNvSpPr txBox="1"/>
          <p:nvPr/>
        </p:nvSpPr>
        <p:spPr>
          <a:xfrm>
            <a:off x="747432" y="1023081"/>
            <a:ext cx="3406419" cy="260350"/>
          </a:xfrm>
          <a:prstGeom prst="rect">
            <a:avLst/>
          </a:prstGeom>
        </p:spPr>
        <p:txBody>
          <a:bodyPr vert="horz"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700" b="0" i="0" u="none" strike="noStrike" kern="1200" cap="none" spc="0" normalizeH="0" baseline="0" noProof="0" dirty="0">
                <a:ln>
                  <a:noFill/>
                </a:ln>
                <a:solidFill>
                  <a:srgbClr val="000000">
                    <a:lumMod val="50000"/>
                    <a:lumOff val="50000"/>
                  </a:srgbClr>
                </a:solidFill>
                <a:effectLst/>
                <a:uLnTx/>
                <a:uFillTx/>
                <a:latin typeface="OPPOSans R"/>
                <a:ea typeface="OPPOSans-R"/>
                <a:cs typeface="+mn-cs"/>
              </a:rPr>
              <a:t>Enter a title here</a:t>
            </a:r>
            <a:endParaRPr kumimoji="0" lang="zh-CN" altLang="en-US" sz="900" b="0" i="0" u="none" strike="noStrike" kern="1200" cap="none" spc="0" normalizeH="0" baseline="0" noProof="0" dirty="0">
              <a:ln>
                <a:noFill/>
              </a:ln>
              <a:solidFill>
                <a:srgbClr val="000000">
                  <a:lumMod val="50000"/>
                  <a:lumOff val="50000"/>
                </a:srgbClr>
              </a:solidFill>
              <a:effectLst/>
              <a:uLnTx/>
              <a:uFillTx/>
              <a:latin typeface="OPPOSans R"/>
              <a:ea typeface="OPPOSans R"/>
              <a:cs typeface="+mn-cs"/>
            </a:endParaRPr>
          </a:p>
        </p:txBody>
      </p:sp>
      <p:sp>
        <p:nvSpPr>
          <p:cNvPr id="64" name="Object 1015">
            <a:extLst>
              <a:ext uri="{FF2B5EF4-FFF2-40B4-BE49-F238E27FC236}">
                <a16:creationId xmlns:a16="http://schemas.microsoft.com/office/drawing/2014/main" id="{78E844FC-C5C4-46A5-9F7D-D957DD27AD50}"/>
              </a:ext>
            </a:extLst>
          </p:cNvPr>
          <p:cNvSpPr txBox="1"/>
          <p:nvPr/>
        </p:nvSpPr>
        <p:spPr>
          <a:xfrm>
            <a:off x="731855" y="567767"/>
            <a:ext cx="3421995" cy="457200"/>
          </a:xfrm>
          <a:prstGeom prst="rect">
            <a:avLst/>
          </a:prstGeom>
        </p:spPr>
        <p:txBody>
          <a:bodyPr vert="horz"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3000" b="1" i="0" u="none" strike="noStrike" kern="1200" cap="none" spc="0" normalizeH="0" baseline="0" noProof="0" dirty="0">
                <a:ln>
                  <a:noFill/>
                </a:ln>
                <a:solidFill>
                  <a:srgbClr val="000000"/>
                </a:solidFill>
                <a:effectLst/>
                <a:uLnTx/>
                <a:uFillTx/>
                <a:latin typeface="OPPOSans B"/>
                <a:ea typeface="OPPOSans B"/>
                <a:cs typeface="+mn-cs"/>
              </a:rPr>
              <a:t>在此输入标题</a:t>
            </a:r>
            <a:endParaRPr kumimoji="0" lang="zh-CN" altLang="en-US" sz="900" b="1" i="0" u="none" strike="noStrike" kern="1200" cap="none" spc="0" normalizeH="0" baseline="0" noProof="0" dirty="0">
              <a:ln>
                <a:noFill/>
              </a:ln>
              <a:solidFill>
                <a:srgbClr val="000000"/>
              </a:solidFill>
              <a:effectLst/>
              <a:uLnTx/>
              <a:uFillTx/>
              <a:latin typeface="OPPOSans B"/>
              <a:ea typeface="OPPOSans B"/>
              <a:cs typeface="+mn-cs"/>
            </a:endParaRPr>
          </a:p>
        </p:txBody>
      </p:sp>
    </p:spTree>
    <p:custDataLst>
      <p:tags r:id="rId2"/>
    </p:custDataLst>
    <p:extLst>
      <p:ext uri="{BB962C8B-B14F-4D97-AF65-F5344CB8AC3E}">
        <p14:creationId xmlns:p14="http://schemas.microsoft.com/office/powerpoint/2010/main" val="937084667"/>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5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椭圆 56">
            <a:extLst>
              <a:ext uri="{FF2B5EF4-FFF2-40B4-BE49-F238E27FC236}">
                <a16:creationId xmlns:a16="http://schemas.microsoft.com/office/drawing/2014/main" id="{A27BC905-91BC-40B3-83A4-DDFD0F5E9671}"/>
              </a:ext>
            </a:extLst>
          </p:cNvPr>
          <p:cNvSpPr/>
          <p:nvPr/>
        </p:nvSpPr>
        <p:spPr>
          <a:xfrm>
            <a:off x="7776761" y="3735263"/>
            <a:ext cx="520618" cy="520618"/>
          </a:xfrm>
          <a:prstGeom prst="ellipse">
            <a:avLst/>
          </a:prstGeom>
          <a:solidFill>
            <a:schemeClr val="accent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微软雅黑"/>
              <a:ea typeface="微软雅黑"/>
              <a:cs typeface="+mn-cs"/>
            </a:endParaRPr>
          </a:p>
        </p:txBody>
      </p:sp>
      <p:sp>
        <p:nvSpPr>
          <p:cNvPr id="58" name="椭圆 57">
            <a:extLst>
              <a:ext uri="{FF2B5EF4-FFF2-40B4-BE49-F238E27FC236}">
                <a16:creationId xmlns:a16="http://schemas.microsoft.com/office/drawing/2014/main" id="{B4F3AEB4-341C-4421-8718-89E592BE3554}"/>
              </a:ext>
            </a:extLst>
          </p:cNvPr>
          <p:cNvSpPr/>
          <p:nvPr/>
        </p:nvSpPr>
        <p:spPr>
          <a:xfrm>
            <a:off x="8302613" y="4953215"/>
            <a:ext cx="520618" cy="520618"/>
          </a:xfrm>
          <a:prstGeom prst="ellipse">
            <a:avLst/>
          </a:prstGeom>
          <a:solidFill>
            <a:schemeClr val="accent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微软雅黑"/>
              <a:ea typeface="微软雅黑"/>
              <a:cs typeface="+mn-cs"/>
            </a:endParaRPr>
          </a:p>
        </p:txBody>
      </p:sp>
      <p:sp>
        <p:nvSpPr>
          <p:cNvPr id="8" name="椭圆 7">
            <a:extLst>
              <a:ext uri="{FF2B5EF4-FFF2-40B4-BE49-F238E27FC236}">
                <a16:creationId xmlns:a16="http://schemas.microsoft.com/office/drawing/2014/main" id="{54C6898C-B29D-4459-BA14-FAEE0790E948}"/>
              </a:ext>
            </a:extLst>
          </p:cNvPr>
          <p:cNvSpPr/>
          <p:nvPr/>
        </p:nvSpPr>
        <p:spPr>
          <a:xfrm>
            <a:off x="7240034" y="2515239"/>
            <a:ext cx="520618" cy="520618"/>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微软雅黑"/>
              <a:ea typeface="微软雅黑"/>
              <a:cs typeface="+mn-cs"/>
            </a:endParaRPr>
          </a:p>
        </p:txBody>
      </p:sp>
      <p:sp>
        <p:nvSpPr>
          <p:cNvPr id="53" name="任意多边形: 形状 52">
            <a:extLst>
              <a:ext uri="{FF2B5EF4-FFF2-40B4-BE49-F238E27FC236}">
                <a16:creationId xmlns:a16="http://schemas.microsoft.com/office/drawing/2014/main" id="{63B1ED5A-6F8F-4A14-B830-571A1631C0F6}"/>
              </a:ext>
            </a:extLst>
          </p:cNvPr>
          <p:cNvSpPr/>
          <p:nvPr/>
        </p:nvSpPr>
        <p:spPr>
          <a:xfrm>
            <a:off x="1559179" y="3509629"/>
            <a:ext cx="2423588" cy="2269228"/>
          </a:xfrm>
          <a:custGeom>
            <a:avLst/>
            <a:gdLst>
              <a:gd name="connsiteX0" fmla="*/ 57176 w 2423588"/>
              <a:gd name="connsiteY0" fmla="*/ 2132884 h 2269228"/>
              <a:gd name="connsiteX1" fmla="*/ 57176 w 2423588"/>
              <a:gd name="connsiteY1" fmla="*/ 2269228 h 2269228"/>
              <a:gd name="connsiteX2" fmla="*/ 0 w 2423588"/>
              <a:gd name="connsiteY2" fmla="*/ 2269228 h 2269228"/>
              <a:gd name="connsiteX3" fmla="*/ 951601 w 2423588"/>
              <a:gd name="connsiteY3" fmla="*/ 0 h 2269228"/>
              <a:gd name="connsiteX4" fmla="*/ 2024037 w 2423588"/>
              <a:gd name="connsiteY4" fmla="*/ 0 h 2269228"/>
              <a:gd name="connsiteX5" fmla="*/ 2423588 w 2423588"/>
              <a:gd name="connsiteY5" fmla="*/ 952786 h 2269228"/>
              <a:gd name="connsiteX6" fmla="*/ 552050 w 2423588"/>
              <a:gd name="connsiteY6" fmla="*/ 952786 h 2269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23588" h="2269228">
                <a:moveTo>
                  <a:pt x="57176" y="2132884"/>
                </a:moveTo>
                <a:lnTo>
                  <a:pt x="57176" y="2269228"/>
                </a:lnTo>
                <a:lnTo>
                  <a:pt x="0" y="2269228"/>
                </a:lnTo>
                <a:close/>
                <a:moveTo>
                  <a:pt x="951601" y="0"/>
                </a:moveTo>
                <a:lnTo>
                  <a:pt x="2024037" y="0"/>
                </a:lnTo>
                <a:lnTo>
                  <a:pt x="2423588" y="952786"/>
                </a:lnTo>
                <a:lnTo>
                  <a:pt x="552050" y="952786"/>
                </a:lnTo>
                <a:close/>
              </a:path>
            </a:pathLst>
          </a:custGeom>
          <a:solidFill>
            <a:schemeClr val="accent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微软雅黑"/>
              <a:ea typeface="微软雅黑"/>
              <a:cs typeface="+mn-cs"/>
            </a:endParaRPr>
          </a:p>
        </p:txBody>
      </p:sp>
      <p:sp>
        <p:nvSpPr>
          <p:cNvPr id="55" name="任意多边形: 形状 54">
            <a:extLst>
              <a:ext uri="{FF2B5EF4-FFF2-40B4-BE49-F238E27FC236}">
                <a16:creationId xmlns:a16="http://schemas.microsoft.com/office/drawing/2014/main" id="{D472EBEB-3B80-4E77-8D17-A025AE4BA218}"/>
              </a:ext>
            </a:extLst>
          </p:cNvPr>
          <p:cNvSpPr/>
          <p:nvPr/>
        </p:nvSpPr>
        <p:spPr>
          <a:xfrm>
            <a:off x="1574597" y="4694934"/>
            <a:ext cx="2975638" cy="1050733"/>
          </a:xfrm>
          <a:custGeom>
            <a:avLst/>
            <a:gdLst>
              <a:gd name="connsiteX0" fmla="*/ 440625 w 2975638"/>
              <a:gd name="connsiteY0" fmla="*/ 0 h 1050733"/>
              <a:gd name="connsiteX1" fmla="*/ 2535013 w 2975638"/>
              <a:gd name="connsiteY1" fmla="*/ 0 h 1050733"/>
              <a:gd name="connsiteX2" fmla="*/ 2975638 w 2975638"/>
              <a:gd name="connsiteY2" fmla="*/ 1050733 h 1050733"/>
              <a:gd name="connsiteX3" fmla="*/ 0 w 2975638"/>
              <a:gd name="connsiteY3" fmla="*/ 1050733 h 1050733"/>
            </a:gdLst>
            <a:ahLst/>
            <a:cxnLst>
              <a:cxn ang="0">
                <a:pos x="connsiteX0" y="connsiteY0"/>
              </a:cxn>
              <a:cxn ang="0">
                <a:pos x="connsiteX1" y="connsiteY1"/>
              </a:cxn>
              <a:cxn ang="0">
                <a:pos x="connsiteX2" y="connsiteY2"/>
              </a:cxn>
              <a:cxn ang="0">
                <a:pos x="connsiteX3" y="connsiteY3"/>
              </a:cxn>
            </a:cxnLst>
            <a:rect l="l" t="t" r="r" b="b"/>
            <a:pathLst>
              <a:path w="2975638" h="1050733">
                <a:moveTo>
                  <a:pt x="440625" y="0"/>
                </a:moveTo>
                <a:lnTo>
                  <a:pt x="2535013" y="0"/>
                </a:lnTo>
                <a:lnTo>
                  <a:pt x="2975638" y="1050733"/>
                </a:lnTo>
                <a:lnTo>
                  <a:pt x="0" y="1050733"/>
                </a:lnTo>
                <a:close/>
              </a:path>
            </a:pathLst>
          </a:custGeom>
          <a:solidFill>
            <a:schemeClr val="accent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微软雅黑"/>
              <a:ea typeface="微软雅黑"/>
              <a:cs typeface="+mn-cs"/>
            </a:endParaRPr>
          </a:p>
        </p:txBody>
      </p:sp>
      <p:sp>
        <p:nvSpPr>
          <p:cNvPr id="49" name="任意多边形: 形状 48">
            <a:extLst>
              <a:ext uri="{FF2B5EF4-FFF2-40B4-BE49-F238E27FC236}">
                <a16:creationId xmlns:a16="http://schemas.microsoft.com/office/drawing/2014/main" id="{6A0C5AEB-BCD4-4465-A1AF-99B5734A786A}"/>
              </a:ext>
            </a:extLst>
          </p:cNvPr>
          <p:cNvSpPr/>
          <p:nvPr/>
        </p:nvSpPr>
        <p:spPr>
          <a:xfrm>
            <a:off x="2643415" y="2235783"/>
            <a:ext cx="880811" cy="1050209"/>
          </a:xfrm>
          <a:custGeom>
            <a:avLst/>
            <a:gdLst>
              <a:gd name="connsiteX0" fmla="*/ 440405 w 880811"/>
              <a:gd name="connsiteY0" fmla="*/ 0 h 1050209"/>
              <a:gd name="connsiteX1" fmla="*/ 880811 w 880811"/>
              <a:gd name="connsiteY1" fmla="*/ 1050209 h 1050209"/>
              <a:gd name="connsiteX2" fmla="*/ 0 w 880811"/>
              <a:gd name="connsiteY2" fmla="*/ 1050209 h 1050209"/>
            </a:gdLst>
            <a:ahLst/>
            <a:cxnLst>
              <a:cxn ang="0">
                <a:pos x="connsiteX0" y="connsiteY0"/>
              </a:cxn>
              <a:cxn ang="0">
                <a:pos x="connsiteX1" y="connsiteY1"/>
              </a:cxn>
              <a:cxn ang="0">
                <a:pos x="connsiteX2" y="connsiteY2"/>
              </a:cxn>
            </a:cxnLst>
            <a:rect l="l" t="t" r="r" b="b"/>
            <a:pathLst>
              <a:path w="880811" h="1050209">
                <a:moveTo>
                  <a:pt x="440405" y="0"/>
                </a:moveTo>
                <a:lnTo>
                  <a:pt x="880811" y="1050209"/>
                </a:lnTo>
                <a:lnTo>
                  <a:pt x="0" y="1050209"/>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微软雅黑"/>
              <a:ea typeface="微软雅黑"/>
              <a:cs typeface="+mn-cs"/>
            </a:endParaRPr>
          </a:p>
        </p:txBody>
      </p:sp>
      <p:pic>
        <p:nvPicPr>
          <p:cNvPr id="1014" name="image 1014"/>
          <p:cNvPicPr>
            <a:picLocks noChangeAspect="1"/>
          </p:cNvPicPr>
          <p:nvPr/>
        </p:nvPicPr>
        <p:blipFill>
          <a:blip r:embed="rId4"/>
          <a:srcRect/>
          <a:stretch>
            <a:fillRect/>
          </a:stretch>
        </p:blipFill>
        <p:spPr>
          <a:xfrm>
            <a:off x="2924086" y="2763848"/>
            <a:ext cx="289232" cy="308514"/>
          </a:xfrm>
          <a:prstGeom prst="rect">
            <a:avLst/>
          </a:prstGeom>
        </p:spPr>
      </p:pic>
      <p:sp>
        <p:nvSpPr>
          <p:cNvPr id="1016" name="Object 1016"/>
          <p:cNvSpPr txBox="1"/>
          <p:nvPr/>
        </p:nvSpPr>
        <p:spPr>
          <a:xfrm>
            <a:off x="7233390" y="2594516"/>
            <a:ext cx="520618" cy="273050"/>
          </a:xfrm>
          <a:prstGeom prst="rect">
            <a:avLst/>
          </a:prstGeom>
        </p:spPr>
        <p:txBody>
          <a:bodyPr vert="horz" rtlCol="0" anchor="t" anchorCtr="0">
            <a:noAutofit/>
          </a:bodyPr>
          <a:lstStyle/>
          <a:p>
            <a:pPr marL="0" marR="0" lvl="0" indent="0" algn="ctr" defTabSz="914400" rtl="0" eaLnBrk="1" fontAlgn="auto" latinLnBrk="0" hangingPunct="1">
              <a:lnSpc>
                <a:spcPct val="88333"/>
              </a:lnSpc>
              <a:spcBef>
                <a:spcPts val="0"/>
              </a:spcBef>
              <a:spcAft>
                <a:spcPts val="0"/>
              </a:spcAft>
              <a:buClrTx/>
              <a:buSzTx/>
              <a:buFontTx/>
              <a:buNone/>
              <a:tabLst/>
              <a:defRPr/>
            </a:pPr>
            <a:r>
              <a:rPr kumimoji="0" lang="en-US" altLang="zh-CN" sz="2020" b="0" i="0" u="none" strike="noStrike" kern="1200" cap="none" spc="0" normalizeH="0" baseline="0" noProof="0" dirty="0">
                <a:ln>
                  <a:noFill/>
                </a:ln>
                <a:solidFill>
                  <a:srgbClr val="FFFFFF"/>
                </a:solidFill>
                <a:effectLst/>
                <a:uLnTx/>
                <a:uFillTx/>
                <a:latin typeface="PangMenZhengDao"/>
                <a:ea typeface="PangMenZhengDao"/>
                <a:cs typeface="+mn-cs"/>
              </a:rPr>
              <a:t>01</a:t>
            </a:r>
            <a:endParaRPr kumimoji="0" lang="zh-CN" altLang="en-US" sz="900" b="0" i="0" u="none" strike="noStrike" kern="1200" cap="none" spc="0" normalizeH="0" baseline="0" noProof="0">
              <a:ln>
                <a:noFill/>
              </a:ln>
              <a:solidFill>
                <a:prstClr val="black"/>
              </a:solidFill>
              <a:effectLst/>
              <a:uLnTx/>
              <a:uFillTx/>
              <a:latin typeface="微软雅黑"/>
              <a:ea typeface="微软雅黑"/>
              <a:cs typeface="+mn-cs"/>
            </a:endParaRPr>
          </a:p>
        </p:txBody>
      </p:sp>
      <p:sp>
        <p:nvSpPr>
          <p:cNvPr id="1017" name="Object 1017"/>
          <p:cNvSpPr txBox="1"/>
          <p:nvPr/>
        </p:nvSpPr>
        <p:spPr>
          <a:xfrm>
            <a:off x="3729121" y="2458690"/>
            <a:ext cx="3359974" cy="558800"/>
          </a:xfrm>
          <a:prstGeom prst="rect">
            <a:avLst/>
          </a:prstGeom>
        </p:spPr>
        <p:txBody>
          <a:bodyPr vert="horz" rtlCol="0" anchor="t" anchorCtr="0">
            <a:noAutofit/>
          </a:bodyPr>
          <a:lstStyle/>
          <a:p>
            <a:pPr marL="0" marR="0" lvl="0" indent="0" algn="r" defTabSz="914400" rtl="0" eaLnBrk="1" fontAlgn="auto" latinLnBrk="0" hangingPunct="1">
              <a:lnSpc>
                <a:spcPct val="125000"/>
              </a:lnSpc>
              <a:spcBef>
                <a:spcPts val="0"/>
              </a:spcBef>
              <a:spcAft>
                <a:spcPts val="0"/>
              </a:spcAft>
              <a:buClrTx/>
              <a:buSzTx/>
              <a:buFontTx/>
              <a:buNone/>
              <a:tabLst/>
              <a:defRPr/>
            </a:pPr>
            <a:r>
              <a:rPr kumimoji="0" lang="zh-CN" altLang="en-US" sz="1470" b="0" i="0" u="none" strike="noStrike" kern="1200" cap="none" spc="0" normalizeH="0" baseline="0" noProof="0" dirty="0">
                <a:ln>
                  <a:noFill/>
                </a:ln>
                <a:solidFill>
                  <a:srgbClr val="999999"/>
                </a:solidFill>
                <a:effectLst/>
                <a:uLnTx/>
                <a:uFillTx/>
                <a:latin typeface="SourceHanSansSC-Regular"/>
                <a:ea typeface="SourceHanSansSC-Regular"/>
                <a:cs typeface="+mn-cs"/>
              </a:rPr>
              <a:t>单击此处编辑文本单击此处编辑文本单击此处编辑文本单击此处编辑</a:t>
            </a:r>
            <a:endParaRPr kumimoji="0" lang="zh-CN" altLang="en-US" sz="900" b="0" i="0" u="none" strike="noStrike" kern="1200" cap="none" spc="0" normalizeH="0" baseline="0" noProof="0">
              <a:ln>
                <a:noFill/>
              </a:ln>
              <a:solidFill>
                <a:prstClr val="black"/>
              </a:solidFill>
              <a:effectLst/>
              <a:uLnTx/>
              <a:uFillTx/>
              <a:latin typeface="微软雅黑"/>
              <a:ea typeface="微软雅黑"/>
              <a:cs typeface="+mn-cs"/>
            </a:endParaRPr>
          </a:p>
        </p:txBody>
      </p:sp>
      <p:sp>
        <p:nvSpPr>
          <p:cNvPr id="1018" name="Object 1018"/>
          <p:cNvSpPr txBox="1"/>
          <p:nvPr/>
        </p:nvSpPr>
        <p:spPr>
          <a:xfrm>
            <a:off x="8214442" y="2497954"/>
            <a:ext cx="1412477" cy="381000"/>
          </a:xfrm>
          <a:prstGeom prst="rect">
            <a:avLst/>
          </a:prstGeom>
        </p:spPr>
        <p:txBody>
          <a:bodyPr vert="horz" rtlCol="0" anchor="t" anchorCtr="0">
            <a:noAutofit/>
          </a:bodyPr>
          <a:lstStyle/>
          <a:p>
            <a:pPr marL="0" marR="0" lvl="0" indent="0" algn="l" defTabSz="914400" rtl="0" eaLnBrk="1" fontAlgn="auto" latinLnBrk="0" hangingPunct="1">
              <a:lnSpc>
                <a:spcPct val="123333"/>
              </a:lnSpc>
              <a:spcBef>
                <a:spcPts val="0"/>
              </a:spcBef>
              <a:spcAft>
                <a:spcPts val="0"/>
              </a:spcAft>
              <a:buClrTx/>
              <a:buSzTx/>
              <a:buFontTx/>
              <a:buNone/>
              <a:tabLst/>
              <a:defRPr/>
            </a:pPr>
            <a:r>
              <a:rPr kumimoji="0" lang="zh-CN" altLang="en-US" sz="2020" b="0" i="0" u="none" strike="noStrike" kern="1200" cap="none" spc="0" normalizeH="0" baseline="0" noProof="0" dirty="0">
                <a:ln>
                  <a:noFill/>
                </a:ln>
                <a:solidFill>
                  <a:schemeClr val="accent1"/>
                </a:solidFill>
                <a:effectLst/>
                <a:uLnTx/>
                <a:uFillTx/>
                <a:latin typeface="OPPOSans B" panose="00020600040101010101" pitchFamily="18" charset="-122"/>
                <a:ea typeface="OPPOSans B" panose="00020600040101010101" pitchFamily="18" charset="-122"/>
                <a:cs typeface="+mn-cs"/>
              </a:rPr>
              <a:t>添加标题</a:t>
            </a:r>
            <a:endParaRPr kumimoji="0" lang="zh-CN" altLang="en-US" sz="900" b="0" i="0" u="none" strike="noStrike" kern="1200" cap="none" spc="0" normalizeH="0" baseline="0" noProof="0" dirty="0">
              <a:ln>
                <a:noFill/>
              </a:ln>
              <a:solidFill>
                <a:schemeClr val="accent1"/>
              </a:solidFill>
              <a:effectLst/>
              <a:uLnTx/>
              <a:uFillTx/>
              <a:latin typeface="微软雅黑"/>
              <a:ea typeface="微软雅黑"/>
              <a:cs typeface="+mn-cs"/>
            </a:endParaRPr>
          </a:p>
        </p:txBody>
      </p:sp>
      <p:pic>
        <p:nvPicPr>
          <p:cNvPr id="1025" name="image 1025"/>
          <p:cNvPicPr>
            <a:picLocks noChangeAspect="1"/>
          </p:cNvPicPr>
          <p:nvPr/>
        </p:nvPicPr>
        <p:blipFill>
          <a:blip r:embed="rId5"/>
          <a:srcRect/>
          <a:stretch>
            <a:fillRect/>
          </a:stretch>
        </p:blipFill>
        <p:spPr>
          <a:xfrm>
            <a:off x="2891949" y="3837221"/>
            <a:ext cx="353506" cy="353506"/>
          </a:xfrm>
          <a:prstGeom prst="rect">
            <a:avLst/>
          </a:prstGeom>
        </p:spPr>
      </p:pic>
      <p:sp>
        <p:nvSpPr>
          <p:cNvPr id="1027" name="Object 1027"/>
          <p:cNvSpPr txBox="1"/>
          <p:nvPr/>
        </p:nvSpPr>
        <p:spPr>
          <a:xfrm>
            <a:off x="7746553" y="3815719"/>
            <a:ext cx="617029" cy="273050"/>
          </a:xfrm>
          <a:prstGeom prst="rect">
            <a:avLst/>
          </a:prstGeom>
        </p:spPr>
        <p:txBody>
          <a:bodyPr vert="horz" rtlCol="0" anchor="t" anchorCtr="0">
            <a:noAutofit/>
          </a:bodyPr>
          <a:lstStyle/>
          <a:p>
            <a:pPr marL="0" marR="0" lvl="0" indent="0" algn="ctr" defTabSz="914400" rtl="0" eaLnBrk="1" fontAlgn="auto" latinLnBrk="0" hangingPunct="1">
              <a:lnSpc>
                <a:spcPct val="88333"/>
              </a:lnSpc>
              <a:spcBef>
                <a:spcPts val="0"/>
              </a:spcBef>
              <a:spcAft>
                <a:spcPts val="0"/>
              </a:spcAft>
              <a:buClrTx/>
              <a:buSzTx/>
              <a:buFontTx/>
              <a:buNone/>
              <a:tabLst/>
              <a:defRPr/>
            </a:pPr>
            <a:r>
              <a:rPr kumimoji="0" lang="en-US" altLang="zh-CN" sz="2020" b="0" i="0" u="none" strike="noStrike" kern="1200" cap="none" spc="0" normalizeH="0" baseline="0" noProof="0" dirty="0">
                <a:ln>
                  <a:noFill/>
                </a:ln>
                <a:solidFill>
                  <a:srgbClr val="FFFFFF"/>
                </a:solidFill>
                <a:effectLst/>
                <a:uLnTx/>
                <a:uFillTx/>
                <a:latin typeface="PangMenZhengDao"/>
                <a:ea typeface="PangMenZhengDao"/>
                <a:cs typeface="+mn-cs"/>
              </a:rPr>
              <a:t>02</a:t>
            </a:r>
            <a:endParaRPr kumimoji="0" lang="zh-CN" altLang="en-US" sz="900" b="0" i="0" u="none" strike="noStrike" kern="1200" cap="none" spc="0" normalizeH="0" baseline="0" noProof="0">
              <a:ln>
                <a:noFill/>
              </a:ln>
              <a:solidFill>
                <a:prstClr val="black"/>
              </a:solidFill>
              <a:effectLst/>
              <a:uLnTx/>
              <a:uFillTx/>
              <a:latin typeface="微软雅黑"/>
              <a:ea typeface="微软雅黑"/>
              <a:cs typeface="+mn-cs"/>
            </a:endParaRPr>
          </a:p>
        </p:txBody>
      </p:sp>
      <p:sp>
        <p:nvSpPr>
          <p:cNvPr id="1028" name="Object 1028"/>
          <p:cNvSpPr txBox="1"/>
          <p:nvPr/>
        </p:nvSpPr>
        <p:spPr>
          <a:xfrm>
            <a:off x="4262594" y="3641329"/>
            <a:ext cx="3359974" cy="558800"/>
          </a:xfrm>
          <a:prstGeom prst="rect">
            <a:avLst/>
          </a:prstGeom>
        </p:spPr>
        <p:txBody>
          <a:bodyPr vert="horz" rtlCol="0" anchor="t" anchorCtr="0">
            <a:noAutofit/>
          </a:bodyPr>
          <a:lstStyle/>
          <a:p>
            <a:pPr marL="0" marR="0" lvl="0" indent="0" algn="r" defTabSz="914400" rtl="0" eaLnBrk="1" fontAlgn="auto" latinLnBrk="0" hangingPunct="1">
              <a:lnSpc>
                <a:spcPct val="125000"/>
              </a:lnSpc>
              <a:spcBef>
                <a:spcPts val="0"/>
              </a:spcBef>
              <a:spcAft>
                <a:spcPts val="0"/>
              </a:spcAft>
              <a:buClrTx/>
              <a:buSzTx/>
              <a:buFontTx/>
              <a:buNone/>
              <a:tabLst/>
              <a:defRPr/>
            </a:pPr>
            <a:r>
              <a:rPr kumimoji="0" lang="zh-CN" altLang="en-US" sz="1470" b="0" i="0" u="none" strike="noStrike" kern="1200" cap="none" spc="0" normalizeH="0" baseline="0" noProof="0" dirty="0">
                <a:ln>
                  <a:noFill/>
                </a:ln>
                <a:solidFill>
                  <a:srgbClr val="999999"/>
                </a:solidFill>
                <a:effectLst/>
                <a:uLnTx/>
                <a:uFillTx/>
                <a:latin typeface="SourceHanSansSC-Regular"/>
                <a:ea typeface="SourceHanSansSC-Regular"/>
                <a:cs typeface="+mn-cs"/>
              </a:rPr>
              <a:t>单击此处编辑文本单击此处编辑文本单击此处编辑文本单击此处编辑</a:t>
            </a:r>
            <a:endParaRPr kumimoji="0" lang="zh-CN" altLang="en-US" sz="900" b="0" i="0" u="none" strike="noStrike" kern="1200" cap="none" spc="0" normalizeH="0" baseline="0" noProof="0">
              <a:ln>
                <a:noFill/>
              </a:ln>
              <a:solidFill>
                <a:prstClr val="black"/>
              </a:solidFill>
              <a:effectLst/>
              <a:uLnTx/>
              <a:uFillTx/>
              <a:latin typeface="微软雅黑"/>
              <a:ea typeface="微软雅黑"/>
              <a:cs typeface="+mn-cs"/>
            </a:endParaRPr>
          </a:p>
        </p:txBody>
      </p:sp>
      <p:sp>
        <p:nvSpPr>
          <p:cNvPr id="1029" name="Object 1029"/>
          <p:cNvSpPr txBox="1"/>
          <p:nvPr/>
        </p:nvSpPr>
        <p:spPr>
          <a:xfrm>
            <a:off x="8722206" y="3751294"/>
            <a:ext cx="1412477" cy="381000"/>
          </a:xfrm>
          <a:prstGeom prst="rect">
            <a:avLst/>
          </a:prstGeom>
        </p:spPr>
        <p:txBody>
          <a:bodyPr vert="horz" rtlCol="0" anchor="t" anchorCtr="0">
            <a:noAutofit/>
          </a:bodyPr>
          <a:lstStyle/>
          <a:p>
            <a:pPr marL="0" marR="0" lvl="0" indent="0" algn="l" defTabSz="914400" rtl="0" eaLnBrk="1" fontAlgn="auto" latinLnBrk="0" hangingPunct="1">
              <a:lnSpc>
                <a:spcPct val="123333"/>
              </a:lnSpc>
              <a:spcBef>
                <a:spcPts val="0"/>
              </a:spcBef>
              <a:spcAft>
                <a:spcPts val="0"/>
              </a:spcAft>
              <a:buClrTx/>
              <a:buSzTx/>
              <a:buFontTx/>
              <a:buNone/>
              <a:tabLst/>
              <a:defRPr/>
            </a:pPr>
            <a:r>
              <a:rPr kumimoji="0" lang="zh-CN" altLang="en-US" sz="2020" b="0" i="0" u="none" strike="noStrike" kern="1200" cap="none" spc="0" normalizeH="0" baseline="0" noProof="0" dirty="0">
                <a:ln>
                  <a:noFill/>
                </a:ln>
                <a:solidFill>
                  <a:schemeClr val="accent1"/>
                </a:solidFill>
                <a:effectLst/>
                <a:uLnTx/>
                <a:uFillTx/>
                <a:latin typeface="OPPOSans B" panose="00020600040101010101" pitchFamily="18" charset="-122"/>
                <a:ea typeface="OPPOSans B" panose="00020600040101010101" pitchFamily="18" charset="-122"/>
                <a:cs typeface="+mn-cs"/>
              </a:rPr>
              <a:t>添加标题</a:t>
            </a:r>
            <a:endParaRPr kumimoji="0" lang="zh-CN" altLang="en-US" sz="900" b="0" i="0" u="none" strike="noStrike" kern="1200" cap="none" spc="0" normalizeH="0" baseline="0" noProof="0" dirty="0">
              <a:ln>
                <a:noFill/>
              </a:ln>
              <a:solidFill>
                <a:schemeClr val="accent1"/>
              </a:solidFill>
              <a:effectLst/>
              <a:uLnTx/>
              <a:uFillTx/>
              <a:latin typeface="微软雅黑"/>
              <a:ea typeface="微软雅黑"/>
              <a:cs typeface="+mn-cs"/>
            </a:endParaRPr>
          </a:p>
        </p:txBody>
      </p:sp>
      <p:pic>
        <p:nvPicPr>
          <p:cNvPr id="1036" name="image 1036"/>
          <p:cNvPicPr>
            <a:picLocks noChangeAspect="1"/>
          </p:cNvPicPr>
          <p:nvPr/>
        </p:nvPicPr>
        <p:blipFill>
          <a:blip r:embed="rId6"/>
          <a:srcRect/>
          <a:stretch>
            <a:fillRect/>
          </a:stretch>
        </p:blipFill>
        <p:spPr>
          <a:xfrm>
            <a:off x="2930514" y="5071279"/>
            <a:ext cx="276377" cy="282805"/>
          </a:xfrm>
          <a:prstGeom prst="rect">
            <a:avLst/>
          </a:prstGeom>
        </p:spPr>
      </p:pic>
      <p:sp>
        <p:nvSpPr>
          <p:cNvPr id="1038" name="Object 1038"/>
          <p:cNvSpPr txBox="1"/>
          <p:nvPr/>
        </p:nvSpPr>
        <p:spPr>
          <a:xfrm>
            <a:off x="8253289" y="5024067"/>
            <a:ext cx="604174" cy="273050"/>
          </a:xfrm>
          <a:prstGeom prst="rect">
            <a:avLst/>
          </a:prstGeom>
        </p:spPr>
        <p:txBody>
          <a:bodyPr vert="horz" rtlCol="0" anchor="t" anchorCtr="0">
            <a:noAutofit/>
          </a:bodyPr>
          <a:lstStyle/>
          <a:p>
            <a:pPr marL="0" marR="0" lvl="0" indent="0" algn="ctr" defTabSz="914400" rtl="0" eaLnBrk="1" fontAlgn="auto" latinLnBrk="0" hangingPunct="1">
              <a:lnSpc>
                <a:spcPct val="88333"/>
              </a:lnSpc>
              <a:spcBef>
                <a:spcPts val="0"/>
              </a:spcBef>
              <a:spcAft>
                <a:spcPts val="0"/>
              </a:spcAft>
              <a:buClrTx/>
              <a:buSzTx/>
              <a:buFontTx/>
              <a:buNone/>
              <a:tabLst/>
              <a:defRPr/>
            </a:pPr>
            <a:r>
              <a:rPr kumimoji="0" lang="en-US" altLang="zh-CN" sz="2020" b="0" i="0" u="none" strike="noStrike" kern="1200" cap="none" spc="0" normalizeH="0" baseline="0" noProof="0" dirty="0">
                <a:ln>
                  <a:noFill/>
                </a:ln>
                <a:solidFill>
                  <a:srgbClr val="FFFFFF"/>
                </a:solidFill>
                <a:effectLst/>
                <a:uLnTx/>
                <a:uFillTx/>
                <a:latin typeface="PangMenZhengDao"/>
                <a:ea typeface="PangMenZhengDao"/>
                <a:cs typeface="+mn-cs"/>
              </a:rPr>
              <a:t>03</a:t>
            </a:r>
            <a:endParaRPr kumimoji="0" lang="zh-CN" altLang="en-US" sz="900" b="0" i="0" u="none" strike="noStrike" kern="1200" cap="none" spc="0" normalizeH="0" baseline="0" noProof="0">
              <a:ln>
                <a:noFill/>
              </a:ln>
              <a:solidFill>
                <a:prstClr val="black"/>
              </a:solidFill>
              <a:effectLst/>
              <a:uLnTx/>
              <a:uFillTx/>
              <a:latin typeface="微软雅黑"/>
              <a:ea typeface="微软雅黑"/>
              <a:cs typeface="+mn-cs"/>
            </a:endParaRPr>
          </a:p>
        </p:txBody>
      </p:sp>
      <p:sp>
        <p:nvSpPr>
          <p:cNvPr id="1039" name="Object 1039"/>
          <p:cNvSpPr txBox="1"/>
          <p:nvPr/>
        </p:nvSpPr>
        <p:spPr>
          <a:xfrm>
            <a:off x="4789639" y="4881814"/>
            <a:ext cx="3359974" cy="558800"/>
          </a:xfrm>
          <a:prstGeom prst="rect">
            <a:avLst/>
          </a:prstGeom>
        </p:spPr>
        <p:txBody>
          <a:bodyPr vert="horz" rtlCol="0" anchor="t" anchorCtr="0">
            <a:noAutofit/>
          </a:bodyPr>
          <a:lstStyle/>
          <a:p>
            <a:pPr marL="0" marR="0" lvl="0" indent="0" algn="r" defTabSz="914400" rtl="0" eaLnBrk="1" fontAlgn="auto" latinLnBrk="0" hangingPunct="1">
              <a:lnSpc>
                <a:spcPct val="125000"/>
              </a:lnSpc>
              <a:spcBef>
                <a:spcPts val="0"/>
              </a:spcBef>
              <a:spcAft>
                <a:spcPts val="0"/>
              </a:spcAft>
              <a:buClrTx/>
              <a:buSzTx/>
              <a:buFontTx/>
              <a:buNone/>
              <a:tabLst/>
              <a:defRPr/>
            </a:pPr>
            <a:r>
              <a:rPr kumimoji="0" lang="zh-CN" altLang="en-US" sz="1470" b="0" i="0" u="none" strike="noStrike" kern="1200" cap="none" spc="0" normalizeH="0" baseline="0" noProof="0" dirty="0">
                <a:ln>
                  <a:noFill/>
                </a:ln>
                <a:solidFill>
                  <a:srgbClr val="999999"/>
                </a:solidFill>
                <a:effectLst/>
                <a:uLnTx/>
                <a:uFillTx/>
                <a:latin typeface="SourceHanSansSC-Regular"/>
                <a:ea typeface="SourceHanSansSC-Regular"/>
                <a:cs typeface="+mn-cs"/>
              </a:rPr>
              <a:t>单击此处编辑文本单击此处编辑文本单击此处编辑文本单击此处编辑</a:t>
            </a:r>
            <a:endParaRPr kumimoji="0" lang="zh-CN" altLang="en-US" sz="900" b="0" i="0" u="none" strike="noStrike" kern="1200" cap="none" spc="0" normalizeH="0" baseline="0" noProof="0">
              <a:ln>
                <a:noFill/>
              </a:ln>
              <a:solidFill>
                <a:prstClr val="black"/>
              </a:solidFill>
              <a:effectLst/>
              <a:uLnTx/>
              <a:uFillTx/>
              <a:latin typeface="微软雅黑"/>
              <a:ea typeface="微软雅黑"/>
              <a:cs typeface="+mn-cs"/>
            </a:endParaRPr>
          </a:p>
        </p:txBody>
      </p:sp>
      <p:sp>
        <p:nvSpPr>
          <p:cNvPr id="1040" name="Object 1040"/>
          <p:cNvSpPr txBox="1"/>
          <p:nvPr/>
        </p:nvSpPr>
        <p:spPr>
          <a:xfrm>
            <a:off x="9242823" y="4953215"/>
            <a:ext cx="1412477" cy="381000"/>
          </a:xfrm>
          <a:prstGeom prst="rect">
            <a:avLst/>
          </a:prstGeom>
        </p:spPr>
        <p:txBody>
          <a:bodyPr vert="horz" rtlCol="0" anchor="t" anchorCtr="0">
            <a:noAutofit/>
          </a:bodyPr>
          <a:lstStyle/>
          <a:p>
            <a:pPr marL="0" marR="0" lvl="0" indent="0" algn="l" defTabSz="914400" rtl="0" eaLnBrk="1" fontAlgn="auto" latinLnBrk="0" hangingPunct="1">
              <a:lnSpc>
                <a:spcPct val="123333"/>
              </a:lnSpc>
              <a:spcBef>
                <a:spcPts val="0"/>
              </a:spcBef>
              <a:spcAft>
                <a:spcPts val="0"/>
              </a:spcAft>
              <a:buClrTx/>
              <a:buSzTx/>
              <a:buFontTx/>
              <a:buNone/>
              <a:tabLst/>
              <a:defRPr/>
            </a:pPr>
            <a:r>
              <a:rPr kumimoji="0" lang="zh-CN" altLang="en-US" sz="2020" b="0" i="0" u="none" strike="noStrike" kern="1200" cap="none" spc="0" normalizeH="0" baseline="0" noProof="0" dirty="0">
                <a:ln>
                  <a:noFill/>
                </a:ln>
                <a:solidFill>
                  <a:schemeClr val="accent1"/>
                </a:solidFill>
                <a:effectLst/>
                <a:uLnTx/>
                <a:uFillTx/>
                <a:latin typeface="OPPOSans B" panose="00020600040101010101" pitchFamily="18" charset="-122"/>
                <a:ea typeface="OPPOSans B" panose="00020600040101010101" pitchFamily="18" charset="-122"/>
                <a:cs typeface="+mn-cs"/>
              </a:rPr>
              <a:t>添加标题</a:t>
            </a:r>
            <a:endParaRPr kumimoji="0" lang="zh-CN" altLang="en-US" sz="900" b="0" i="0" u="none" strike="noStrike" kern="1200" cap="none" spc="0" normalizeH="0" baseline="0" noProof="0" dirty="0">
              <a:ln>
                <a:noFill/>
              </a:ln>
              <a:solidFill>
                <a:schemeClr val="accent1"/>
              </a:solidFill>
              <a:effectLst/>
              <a:uLnTx/>
              <a:uFillTx/>
              <a:latin typeface="微软雅黑"/>
              <a:ea typeface="微软雅黑"/>
              <a:cs typeface="+mn-cs"/>
            </a:endParaRPr>
          </a:p>
        </p:txBody>
      </p:sp>
      <p:sp>
        <p:nvSpPr>
          <p:cNvPr id="9" name="平行四边形 8">
            <a:extLst>
              <a:ext uri="{FF2B5EF4-FFF2-40B4-BE49-F238E27FC236}">
                <a16:creationId xmlns:a16="http://schemas.microsoft.com/office/drawing/2014/main" id="{32366634-D96F-426F-9791-A86F2FC9F232}"/>
              </a:ext>
            </a:extLst>
          </p:cNvPr>
          <p:cNvSpPr/>
          <p:nvPr/>
        </p:nvSpPr>
        <p:spPr>
          <a:xfrm flipV="1">
            <a:off x="3869813" y="3551817"/>
            <a:ext cx="4987650" cy="914375"/>
          </a:xfrm>
          <a:prstGeom prst="parallelogram">
            <a:avLst>
              <a:gd name="adj" fmla="val 41771"/>
            </a:avLst>
          </a:prstGeom>
          <a:noFill/>
          <a:ln w="44450">
            <a:solidFill>
              <a:schemeClr val="accent1">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微软雅黑"/>
              <a:ea typeface="微软雅黑"/>
              <a:cs typeface="+mn-cs"/>
            </a:endParaRPr>
          </a:p>
        </p:txBody>
      </p:sp>
      <p:sp>
        <p:nvSpPr>
          <p:cNvPr id="60" name="平行四边形 59">
            <a:extLst>
              <a:ext uri="{FF2B5EF4-FFF2-40B4-BE49-F238E27FC236}">
                <a16:creationId xmlns:a16="http://schemas.microsoft.com/office/drawing/2014/main" id="{D0DC8778-442E-4261-84B0-E1FFB79C4F47}"/>
              </a:ext>
            </a:extLst>
          </p:cNvPr>
          <p:cNvSpPr/>
          <p:nvPr/>
        </p:nvSpPr>
        <p:spPr>
          <a:xfrm flipV="1">
            <a:off x="3309729" y="2226705"/>
            <a:ext cx="4987650" cy="1015760"/>
          </a:xfrm>
          <a:prstGeom prst="parallelogram">
            <a:avLst>
              <a:gd name="adj" fmla="val 41771"/>
            </a:avLst>
          </a:prstGeom>
          <a:noFill/>
          <a:ln w="444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微软雅黑"/>
              <a:ea typeface="微软雅黑"/>
              <a:cs typeface="+mn-cs"/>
            </a:endParaRPr>
          </a:p>
        </p:txBody>
      </p:sp>
      <p:sp>
        <p:nvSpPr>
          <p:cNvPr id="61" name="平行四边形 60">
            <a:extLst>
              <a:ext uri="{FF2B5EF4-FFF2-40B4-BE49-F238E27FC236}">
                <a16:creationId xmlns:a16="http://schemas.microsoft.com/office/drawing/2014/main" id="{001BC8E9-DD07-419D-8E0F-C6EE067BEE10}"/>
              </a:ext>
            </a:extLst>
          </p:cNvPr>
          <p:cNvSpPr/>
          <p:nvPr/>
        </p:nvSpPr>
        <p:spPr>
          <a:xfrm flipV="1">
            <a:off x="4368127" y="4687389"/>
            <a:ext cx="4987650" cy="1015760"/>
          </a:xfrm>
          <a:prstGeom prst="parallelogram">
            <a:avLst>
              <a:gd name="adj" fmla="val 41771"/>
            </a:avLst>
          </a:prstGeom>
          <a:noFill/>
          <a:ln w="44450">
            <a:solidFill>
              <a:schemeClr val="accent1">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微软雅黑"/>
              <a:ea typeface="微软雅黑"/>
              <a:cs typeface="+mn-cs"/>
            </a:endParaRPr>
          </a:p>
        </p:txBody>
      </p:sp>
    </p:spTree>
    <p:extLst>
      <p:ext uri="{BB962C8B-B14F-4D97-AF65-F5344CB8AC3E}">
        <p14:creationId xmlns:p14="http://schemas.microsoft.com/office/powerpoint/2010/main" val="2605029417"/>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5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14" name="Object 1014"/>
          <p:cNvSpPr txBox="1"/>
          <p:nvPr/>
        </p:nvSpPr>
        <p:spPr>
          <a:xfrm>
            <a:off x="4083586" y="1010094"/>
            <a:ext cx="4151827" cy="260350"/>
          </a:xfrm>
          <a:prstGeom prst="rect">
            <a:avLst/>
          </a:prstGeom>
        </p:spPr>
        <p:txBody>
          <a:bodyPr vert="horz" rtlCol="0" anchor="t"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700" b="0" i="0" u="none" strike="noStrike" kern="1200" cap="none" spc="0" normalizeH="0" baseline="0" noProof="0" dirty="0">
                <a:ln>
                  <a:noFill/>
                </a:ln>
                <a:solidFill>
                  <a:srgbClr val="535353"/>
                </a:solidFill>
                <a:effectLst/>
                <a:uLnTx/>
                <a:uFillTx/>
                <a:latin typeface="OPPOSans R" panose="00020600040101010101" pitchFamily="18" charset="-122"/>
                <a:ea typeface="OPPOSans R" panose="00020600040101010101" pitchFamily="18" charset="-122"/>
                <a:cs typeface="OPPOSans R" panose="00020600040101010101" pitchFamily="18" charset="-122"/>
                <a:sym typeface="OPPOSans R" panose="00020600040101010101" pitchFamily="18" charset="-122"/>
              </a:rPr>
              <a:t>Swot analysis of financial banks</a:t>
            </a:r>
            <a:endParaRPr kumimoji="0" lang="zh-CN" altLang="en-US" sz="900" b="0" i="0" u="none" strike="noStrike" kern="1200" cap="none" spc="0" normalizeH="0" baseline="0" noProof="0" dirty="0">
              <a:ln>
                <a:noFill/>
              </a:ln>
              <a:solidFill>
                <a:srgbClr val="000000"/>
              </a:solidFill>
              <a:effectLst/>
              <a:uLnTx/>
              <a:uFillTx/>
              <a:latin typeface="OPPOSans R" panose="00020600040101010101" pitchFamily="18" charset="-122"/>
              <a:ea typeface="OPPOSans R" panose="00020600040101010101" pitchFamily="18" charset="-122"/>
              <a:cs typeface="OPPOSans R" panose="00020600040101010101" pitchFamily="18" charset="-122"/>
              <a:sym typeface="OPPOSans R" panose="00020600040101010101" pitchFamily="18" charset="-122"/>
            </a:endParaRPr>
          </a:p>
        </p:txBody>
      </p:sp>
      <p:sp>
        <p:nvSpPr>
          <p:cNvPr id="1015" name="Object 1015"/>
          <p:cNvSpPr txBox="1"/>
          <p:nvPr/>
        </p:nvSpPr>
        <p:spPr>
          <a:xfrm>
            <a:off x="4077789" y="552498"/>
            <a:ext cx="4163422" cy="463550"/>
          </a:xfrm>
          <a:prstGeom prst="rect">
            <a:avLst/>
          </a:prstGeom>
        </p:spPr>
        <p:txBody>
          <a:bodyPr vert="horz" rtlCol="0" anchor="t"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3000" b="0" i="0" u="none" strike="noStrike" kern="1200" cap="none" spc="0" normalizeH="0" baseline="0" noProof="0" dirty="0">
                <a:ln>
                  <a:noFill/>
                </a:ln>
                <a:solidFill>
                  <a:srgbClr val="1B1B1B"/>
                </a:solidFill>
                <a:effectLst/>
                <a:uLnTx/>
                <a:uFillTx/>
                <a:latin typeface="OPPOSans B" panose="00020600040101010101" pitchFamily="18" charset="-122"/>
                <a:ea typeface="OPPOSans B" panose="00020600040101010101" pitchFamily="18" charset="-122"/>
                <a:cs typeface="OPPOSans B" panose="00020600040101010101" pitchFamily="18" charset="-122"/>
                <a:sym typeface="OPPOSans R" panose="00020600040101010101" pitchFamily="18" charset="-122"/>
              </a:rPr>
              <a:t>金融银行</a:t>
            </a:r>
            <a:r>
              <a:rPr kumimoji="0" lang="en-US" altLang="zh-CN" sz="3000" b="0" i="0" u="none" strike="noStrike" kern="1200" cap="none" spc="0" normalizeH="0" baseline="0" noProof="0" dirty="0">
                <a:ln>
                  <a:noFill/>
                </a:ln>
                <a:solidFill>
                  <a:srgbClr val="1B1B1B"/>
                </a:solidFill>
                <a:effectLst/>
                <a:uLnTx/>
                <a:uFillTx/>
                <a:latin typeface="OPPOSans B" panose="00020600040101010101" pitchFamily="18" charset="-122"/>
                <a:ea typeface="OPPOSans B" panose="00020600040101010101" pitchFamily="18" charset="-122"/>
                <a:cs typeface="OPPOSans B" panose="00020600040101010101" pitchFamily="18" charset="-122"/>
                <a:sym typeface="OPPOSans R" panose="00020600040101010101" pitchFamily="18" charset="-122"/>
              </a:rPr>
              <a:t>SWOT</a:t>
            </a:r>
            <a:r>
              <a:rPr kumimoji="0" lang="zh-CN" altLang="en-US" sz="3000" b="0" i="0" u="none" strike="noStrike" kern="1200" cap="none" spc="0" normalizeH="0" baseline="0" noProof="0" dirty="0">
                <a:ln>
                  <a:noFill/>
                </a:ln>
                <a:solidFill>
                  <a:srgbClr val="1B1B1B"/>
                </a:solidFill>
                <a:effectLst/>
                <a:uLnTx/>
                <a:uFillTx/>
                <a:latin typeface="OPPOSans B" panose="00020600040101010101" pitchFamily="18" charset="-122"/>
                <a:ea typeface="OPPOSans B" panose="00020600040101010101" pitchFamily="18" charset="-122"/>
                <a:cs typeface="OPPOSans B" panose="00020600040101010101" pitchFamily="18" charset="-122"/>
                <a:sym typeface="OPPOSans R" panose="00020600040101010101" pitchFamily="18" charset="-122"/>
              </a:rPr>
              <a:t>分析</a:t>
            </a:r>
            <a:endParaRPr kumimoji="0" lang="zh-CN" altLang="en-US" sz="900" b="0" i="0" u="none" strike="noStrike" kern="1200" cap="none" spc="0" normalizeH="0" baseline="0" noProof="0" dirty="0">
              <a:ln>
                <a:noFill/>
              </a:ln>
              <a:solidFill>
                <a:srgbClr val="000000"/>
              </a:solidFill>
              <a:effectLst/>
              <a:uLnTx/>
              <a:uFillTx/>
              <a:latin typeface="OPPOSans B" panose="00020600040101010101" pitchFamily="18" charset="-122"/>
              <a:ea typeface="OPPOSans B" panose="00020600040101010101" pitchFamily="18" charset="-122"/>
              <a:cs typeface="OPPOSans B" panose="00020600040101010101" pitchFamily="18" charset="-122"/>
              <a:sym typeface="OPPOSans R" panose="00020600040101010101" pitchFamily="18" charset="-122"/>
            </a:endParaRPr>
          </a:p>
        </p:txBody>
      </p:sp>
      <p:sp>
        <p:nvSpPr>
          <p:cNvPr id="1020" name="Object 1020"/>
          <p:cNvSpPr txBox="1"/>
          <p:nvPr/>
        </p:nvSpPr>
        <p:spPr>
          <a:xfrm>
            <a:off x="5480050" y="2499713"/>
            <a:ext cx="1117600" cy="698500"/>
          </a:xfrm>
          <a:prstGeom prst="rect">
            <a:avLst/>
          </a:prstGeom>
        </p:spPr>
        <p:txBody>
          <a:bodyPr vert="horz" rtlCol="0" anchor="t" anchorCtr="0">
            <a:noAutofit/>
          </a:bodyPr>
          <a:lstStyle/>
          <a:p>
            <a:pPr marL="0" marR="0" lvl="0" indent="0" algn="l" defTabSz="914400" rtl="0" eaLnBrk="1" fontAlgn="auto" latinLnBrk="0" hangingPunct="1">
              <a:lnSpc>
                <a:spcPct val="114166"/>
              </a:lnSpc>
              <a:spcBef>
                <a:spcPts val="0"/>
              </a:spcBef>
              <a:spcAft>
                <a:spcPts val="0"/>
              </a:spcAft>
              <a:buClrTx/>
              <a:buSzTx/>
              <a:buFontTx/>
              <a:buNone/>
              <a:tabLst/>
              <a:defRPr/>
            </a:pPr>
            <a:r>
              <a:rPr kumimoji="0" lang="en-US" altLang="zh-CN" sz="4000" b="0" i="0" u="none" strike="noStrike" kern="1200" cap="none" spc="0" normalizeH="0" baseline="0" noProof="0" dirty="0">
                <a:ln>
                  <a:noFill/>
                </a:ln>
                <a:solidFill>
                  <a:schemeClr val="accent1"/>
                </a:solidFill>
                <a:effectLst/>
                <a:uLnTx/>
                <a:uFillTx/>
                <a:latin typeface="OPPOSans B" panose="00020600040101010101" pitchFamily="18" charset="-122"/>
                <a:ea typeface="OPPOSans B" panose="00020600040101010101" pitchFamily="18" charset="-122"/>
                <a:cs typeface="OPPOSans B" panose="00020600040101010101" pitchFamily="18" charset="-122"/>
                <a:sym typeface="OPPOSans R" panose="00020600040101010101" pitchFamily="18" charset="-122"/>
              </a:rPr>
              <a:t>01</a:t>
            </a:r>
            <a:endParaRPr kumimoji="0" lang="zh-CN" altLang="en-US" sz="900" b="0" i="0" u="none" strike="noStrike" kern="1200" cap="none" spc="0" normalizeH="0" baseline="0" noProof="0" dirty="0">
              <a:ln>
                <a:noFill/>
              </a:ln>
              <a:solidFill>
                <a:schemeClr val="accent1"/>
              </a:solidFill>
              <a:effectLst/>
              <a:uLnTx/>
              <a:uFillTx/>
              <a:latin typeface="OPPOSans B" panose="00020600040101010101" pitchFamily="18" charset="-122"/>
              <a:ea typeface="OPPOSans B" panose="00020600040101010101" pitchFamily="18" charset="-122"/>
              <a:cs typeface="OPPOSans B" panose="00020600040101010101" pitchFamily="18" charset="-122"/>
              <a:sym typeface="OPPOSans R" panose="00020600040101010101" pitchFamily="18" charset="-122"/>
            </a:endParaRPr>
          </a:p>
        </p:txBody>
      </p:sp>
      <p:sp>
        <p:nvSpPr>
          <p:cNvPr id="1021" name="Object 1021"/>
          <p:cNvSpPr txBox="1"/>
          <p:nvPr/>
        </p:nvSpPr>
        <p:spPr>
          <a:xfrm>
            <a:off x="6096476" y="2573131"/>
            <a:ext cx="2336800" cy="349250"/>
          </a:xfrm>
          <a:prstGeom prst="rect">
            <a:avLst/>
          </a:prstGeom>
        </p:spPr>
        <p:txBody>
          <a:bodyPr vert="horz" rtlCol="0" anchor="t" anchorCtr="0">
            <a:noAutofit/>
          </a:bodyPr>
          <a:lstStyle/>
          <a:p>
            <a:pPr marL="0" marR="0" lvl="0" indent="0" algn="l" defTabSz="914400" rtl="0" eaLnBrk="1" fontAlgn="auto" latinLnBrk="0" hangingPunct="1">
              <a:lnSpc>
                <a:spcPct val="114166"/>
              </a:lnSpc>
              <a:spcBef>
                <a:spcPts val="0"/>
              </a:spcBef>
              <a:spcAft>
                <a:spcPts val="0"/>
              </a:spcAft>
              <a:buClrTx/>
              <a:buSzTx/>
              <a:buFontTx/>
              <a:buNone/>
              <a:tabLst/>
              <a:defRPr/>
            </a:pPr>
            <a:r>
              <a:rPr kumimoji="0" lang="zh-CN" altLang="en-US" sz="2000" b="1" i="0" u="none" strike="noStrike" kern="1200" cap="none" spc="0" normalizeH="0" baseline="0" noProof="0" dirty="0">
                <a:ln>
                  <a:noFill/>
                </a:ln>
                <a:solidFill>
                  <a:schemeClr val="accent1"/>
                </a:solidFill>
                <a:effectLst/>
                <a:uLnTx/>
                <a:uFillTx/>
                <a:latin typeface="OPPOSans B" panose="00020600040101010101" pitchFamily="18" charset="-122"/>
                <a:ea typeface="OPPOSans B" panose="00020600040101010101" pitchFamily="18" charset="-122"/>
                <a:cs typeface="OPPOSans B" panose="00020600040101010101" pitchFamily="18" charset="-122"/>
                <a:sym typeface="OPPOSans R" panose="00020600040101010101" pitchFamily="18" charset="-122"/>
              </a:rPr>
              <a:t>业务资质优势</a:t>
            </a:r>
            <a:endParaRPr kumimoji="0" lang="zh-CN" altLang="en-US" sz="900" b="0" i="0" u="none" strike="noStrike" kern="1200" cap="none" spc="0" normalizeH="0" baseline="0" noProof="0" dirty="0">
              <a:ln>
                <a:noFill/>
              </a:ln>
              <a:solidFill>
                <a:schemeClr val="accent1"/>
              </a:solidFill>
              <a:effectLst/>
              <a:uLnTx/>
              <a:uFillTx/>
              <a:latin typeface="OPPOSans B" panose="00020600040101010101" pitchFamily="18" charset="-122"/>
              <a:ea typeface="OPPOSans B" panose="00020600040101010101" pitchFamily="18" charset="-122"/>
              <a:cs typeface="OPPOSans B" panose="00020600040101010101" pitchFamily="18" charset="-122"/>
              <a:sym typeface="OPPOSans R" panose="00020600040101010101" pitchFamily="18" charset="-122"/>
            </a:endParaRPr>
          </a:p>
        </p:txBody>
      </p:sp>
      <p:sp>
        <p:nvSpPr>
          <p:cNvPr id="1022" name="Object 1022"/>
          <p:cNvSpPr txBox="1"/>
          <p:nvPr/>
        </p:nvSpPr>
        <p:spPr>
          <a:xfrm>
            <a:off x="6096476" y="2923339"/>
            <a:ext cx="3836760" cy="476250"/>
          </a:xfrm>
          <a:prstGeom prst="rect">
            <a:avLst/>
          </a:prstGeom>
        </p:spPr>
        <p:txBody>
          <a:bodyPr vert="horz" rtlCol="0" anchor="t" anchorCtr="0">
            <a:noAutofit/>
          </a:bodyPr>
          <a:lstStyle/>
          <a:p>
            <a:pPr marL="0" marR="0" lvl="0" indent="0" algn="l" defTabSz="914400" rtl="0" eaLnBrk="1" fontAlgn="auto" latinLnBrk="0" hangingPunct="1">
              <a:lnSpc>
                <a:spcPct val="114166"/>
              </a:lnSpc>
              <a:spcBef>
                <a:spcPts val="0"/>
              </a:spcBef>
              <a:spcAft>
                <a:spcPts val="0"/>
              </a:spcAft>
              <a:buClrTx/>
              <a:buSzTx/>
              <a:buFontTx/>
              <a:buNone/>
              <a:tabLst/>
              <a:defRPr/>
            </a:pPr>
            <a:r>
              <a:rPr kumimoji="0" lang="zh-CN" altLang="en-US" sz="1400" b="0" i="0" u="none" strike="noStrike" kern="1200" cap="none" spc="0" normalizeH="0" baseline="0" noProof="0" dirty="0">
                <a:ln>
                  <a:noFill/>
                </a:ln>
                <a:solidFill>
                  <a:srgbClr val="626262"/>
                </a:solidFill>
                <a:effectLst/>
                <a:uLnTx/>
                <a:uFillTx/>
                <a:latin typeface="OPPOSans R" panose="00020600040101010101" pitchFamily="18" charset="-122"/>
                <a:ea typeface="OPPOSans R" panose="00020600040101010101" pitchFamily="18" charset="-122"/>
                <a:cs typeface="OPPOSans R" panose="00020600040101010101" pitchFamily="18" charset="-122"/>
                <a:sym typeface="OPPOSans R" panose="00020600040101010101" pitchFamily="18" charset="-122"/>
              </a:rPr>
              <a:t>商业银行历史发展较久，支付清算、借贷和金融理财业务比较其他金融类公司存在优势</a:t>
            </a:r>
            <a:endParaRPr kumimoji="0" lang="zh-CN" altLang="en-US" sz="900" b="0" i="0" u="none" strike="noStrike" kern="1200" cap="none" spc="0" normalizeH="0" baseline="0" noProof="0">
              <a:ln>
                <a:noFill/>
              </a:ln>
              <a:solidFill>
                <a:srgbClr val="000000"/>
              </a:solidFill>
              <a:effectLst/>
              <a:uLnTx/>
              <a:uFillTx/>
              <a:latin typeface="OPPOSans R" panose="00020600040101010101" pitchFamily="18" charset="-122"/>
              <a:ea typeface="OPPOSans R" panose="00020600040101010101" pitchFamily="18" charset="-122"/>
              <a:cs typeface="OPPOSans R" panose="00020600040101010101" pitchFamily="18" charset="-122"/>
              <a:sym typeface="OPPOSans R" panose="00020600040101010101" pitchFamily="18" charset="-122"/>
            </a:endParaRPr>
          </a:p>
        </p:txBody>
      </p:sp>
      <p:sp>
        <p:nvSpPr>
          <p:cNvPr id="1027" name="Object 1027"/>
          <p:cNvSpPr txBox="1"/>
          <p:nvPr/>
        </p:nvSpPr>
        <p:spPr>
          <a:xfrm>
            <a:off x="6159977" y="3505546"/>
            <a:ext cx="1117600" cy="698501"/>
          </a:xfrm>
          <a:prstGeom prst="rect">
            <a:avLst/>
          </a:prstGeom>
        </p:spPr>
        <p:txBody>
          <a:bodyPr vert="horz" rtlCol="0" anchor="t" anchorCtr="0">
            <a:noAutofit/>
          </a:bodyPr>
          <a:lstStyle/>
          <a:p>
            <a:pPr marL="0" marR="0" lvl="0" indent="0" algn="l" defTabSz="914400" rtl="0" eaLnBrk="1" fontAlgn="auto" latinLnBrk="0" hangingPunct="1">
              <a:lnSpc>
                <a:spcPct val="114166"/>
              </a:lnSpc>
              <a:spcBef>
                <a:spcPts val="0"/>
              </a:spcBef>
              <a:spcAft>
                <a:spcPts val="0"/>
              </a:spcAft>
              <a:buClrTx/>
              <a:buSzTx/>
              <a:buFontTx/>
              <a:buNone/>
              <a:tabLst/>
              <a:defRPr/>
            </a:pPr>
            <a:r>
              <a:rPr kumimoji="0" lang="en-US" altLang="zh-CN" sz="4000" b="0" i="0" u="none" strike="noStrike" kern="1200" cap="none" spc="0" normalizeH="0" baseline="0" noProof="0" dirty="0">
                <a:ln>
                  <a:noFill/>
                </a:ln>
                <a:solidFill>
                  <a:schemeClr val="accent1"/>
                </a:solidFill>
                <a:effectLst/>
                <a:uLnTx/>
                <a:uFillTx/>
                <a:latin typeface="OPPOSans B" panose="00020600040101010101" pitchFamily="18" charset="-122"/>
                <a:ea typeface="OPPOSans B" panose="00020600040101010101" pitchFamily="18" charset="-122"/>
                <a:cs typeface="OPPOSans B" panose="00020600040101010101" pitchFamily="18" charset="-122"/>
                <a:sym typeface="OPPOSans R" panose="00020600040101010101" pitchFamily="18" charset="-122"/>
              </a:rPr>
              <a:t>02</a:t>
            </a:r>
            <a:endParaRPr kumimoji="0" lang="zh-CN" altLang="en-US" sz="900" b="0" i="0" u="none" strike="noStrike" kern="1200" cap="none" spc="0" normalizeH="0" baseline="0" noProof="0">
              <a:ln>
                <a:noFill/>
              </a:ln>
              <a:solidFill>
                <a:schemeClr val="accent1"/>
              </a:solidFill>
              <a:effectLst/>
              <a:uLnTx/>
              <a:uFillTx/>
              <a:latin typeface="OPPOSans B" panose="00020600040101010101" pitchFamily="18" charset="-122"/>
              <a:ea typeface="OPPOSans B" panose="00020600040101010101" pitchFamily="18" charset="-122"/>
              <a:cs typeface="OPPOSans B" panose="00020600040101010101" pitchFamily="18" charset="-122"/>
              <a:sym typeface="OPPOSans R" panose="00020600040101010101" pitchFamily="18" charset="-122"/>
            </a:endParaRPr>
          </a:p>
        </p:txBody>
      </p:sp>
      <p:sp>
        <p:nvSpPr>
          <p:cNvPr id="1028" name="Object 1028"/>
          <p:cNvSpPr txBox="1"/>
          <p:nvPr/>
        </p:nvSpPr>
        <p:spPr>
          <a:xfrm>
            <a:off x="6838111" y="3587341"/>
            <a:ext cx="2336801" cy="349250"/>
          </a:xfrm>
          <a:prstGeom prst="rect">
            <a:avLst/>
          </a:prstGeom>
        </p:spPr>
        <p:txBody>
          <a:bodyPr vert="horz" rtlCol="0" anchor="t" anchorCtr="0">
            <a:noAutofit/>
          </a:bodyPr>
          <a:lstStyle/>
          <a:p>
            <a:pPr marL="0" marR="0" lvl="0" indent="0" algn="l" defTabSz="914400" rtl="0" eaLnBrk="1" fontAlgn="auto" latinLnBrk="0" hangingPunct="1">
              <a:lnSpc>
                <a:spcPct val="114166"/>
              </a:lnSpc>
              <a:spcBef>
                <a:spcPts val="0"/>
              </a:spcBef>
              <a:spcAft>
                <a:spcPts val="0"/>
              </a:spcAft>
              <a:buClrTx/>
              <a:buSzTx/>
              <a:buFontTx/>
              <a:buNone/>
              <a:tabLst/>
              <a:defRPr/>
            </a:pPr>
            <a:r>
              <a:rPr kumimoji="0" lang="zh-CN" altLang="en-US" sz="2000" b="1" i="0" u="none" strike="noStrike" kern="1200" cap="none" spc="0" normalizeH="0" baseline="0" noProof="0" dirty="0">
                <a:ln>
                  <a:noFill/>
                </a:ln>
                <a:solidFill>
                  <a:schemeClr val="accent1"/>
                </a:solidFill>
                <a:effectLst/>
                <a:uLnTx/>
                <a:uFillTx/>
                <a:latin typeface="OPPOSans B" panose="00020600040101010101" pitchFamily="18" charset="-122"/>
                <a:ea typeface="OPPOSans B" panose="00020600040101010101" pitchFamily="18" charset="-122"/>
                <a:cs typeface="OPPOSans B" panose="00020600040101010101" pitchFamily="18" charset="-122"/>
                <a:sym typeface="OPPOSans R" panose="00020600040101010101" pitchFamily="18" charset="-122"/>
              </a:rPr>
              <a:t>风险防控优势</a:t>
            </a:r>
            <a:endParaRPr kumimoji="0" lang="zh-CN" altLang="en-US" sz="900" b="0" i="0" u="none" strike="noStrike" kern="1200" cap="none" spc="0" normalizeH="0" baseline="0" noProof="0" dirty="0">
              <a:ln>
                <a:noFill/>
              </a:ln>
              <a:solidFill>
                <a:schemeClr val="accent1"/>
              </a:solidFill>
              <a:effectLst/>
              <a:uLnTx/>
              <a:uFillTx/>
              <a:latin typeface="OPPOSans B" panose="00020600040101010101" pitchFamily="18" charset="-122"/>
              <a:ea typeface="OPPOSans B" panose="00020600040101010101" pitchFamily="18" charset="-122"/>
              <a:cs typeface="OPPOSans B" panose="00020600040101010101" pitchFamily="18" charset="-122"/>
              <a:sym typeface="OPPOSans R" panose="00020600040101010101" pitchFamily="18" charset="-122"/>
            </a:endParaRPr>
          </a:p>
        </p:txBody>
      </p:sp>
      <p:sp>
        <p:nvSpPr>
          <p:cNvPr id="1029" name="Object 1029"/>
          <p:cNvSpPr txBox="1"/>
          <p:nvPr/>
        </p:nvSpPr>
        <p:spPr>
          <a:xfrm>
            <a:off x="6838111" y="3937549"/>
            <a:ext cx="3823879" cy="476251"/>
          </a:xfrm>
          <a:prstGeom prst="rect">
            <a:avLst/>
          </a:prstGeom>
        </p:spPr>
        <p:txBody>
          <a:bodyPr vert="horz" rtlCol="0" anchor="t" anchorCtr="0">
            <a:noAutofit/>
          </a:bodyPr>
          <a:lstStyle/>
          <a:p>
            <a:pPr marL="0" marR="0" lvl="0" indent="0" algn="l" defTabSz="914400" rtl="0" eaLnBrk="1" fontAlgn="auto" latinLnBrk="0" hangingPunct="1">
              <a:lnSpc>
                <a:spcPct val="114166"/>
              </a:lnSpc>
              <a:spcBef>
                <a:spcPts val="0"/>
              </a:spcBef>
              <a:spcAft>
                <a:spcPts val="0"/>
              </a:spcAft>
              <a:buClrTx/>
              <a:buSzTx/>
              <a:buFontTx/>
              <a:buNone/>
              <a:tabLst/>
              <a:defRPr/>
            </a:pPr>
            <a:r>
              <a:rPr kumimoji="0" lang="zh-CN" altLang="en-US" sz="1400" b="0" i="0" u="none" strike="noStrike" kern="1200" cap="none" spc="0" normalizeH="0" baseline="0" noProof="0" dirty="0">
                <a:ln>
                  <a:noFill/>
                </a:ln>
                <a:solidFill>
                  <a:srgbClr val="626262"/>
                </a:solidFill>
                <a:effectLst/>
                <a:uLnTx/>
                <a:uFillTx/>
                <a:latin typeface="OPPOSans R" panose="00020600040101010101" pitchFamily="18" charset="-122"/>
                <a:ea typeface="OPPOSans R" panose="00020600040101010101" pitchFamily="18" charset="-122"/>
                <a:cs typeface="OPPOSans R" panose="00020600040101010101" pitchFamily="18" charset="-122"/>
                <a:sym typeface="OPPOSans R" panose="00020600040101010101" pitchFamily="18" charset="-122"/>
              </a:rPr>
              <a:t>银行风险防控制度较完善，金融科技公司风险控制能力较薄弱</a:t>
            </a:r>
            <a:endParaRPr kumimoji="0" lang="zh-CN" altLang="en-US" sz="900" b="0" i="0" u="none" strike="noStrike" kern="1200" cap="none" spc="0" normalizeH="0" baseline="0" noProof="0">
              <a:ln>
                <a:noFill/>
              </a:ln>
              <a:solidFill>
                <a:srgbClr val="000000"/>
              </a:solidFill>
              <a:effectLst/>
              <a:uLnTx/>
              <a:uFillTx/>
              <a:latin typeface="OPPOSans R" panose="00020600040101010101" pitchFamily="18" charset="-122"/>
              <a:ea typeface="OPPOSans R" panose="00020600040101010101" pitchFamily="18" charset="-122"/>
              <a:cs typeface="OPPOSans R" panose="00020600040101010101" pitchFamily="18" charset="-122"/>
              <a:sym typeface="OPPOSans R" panose="00020600040101010101" pitchFamily="18" charset="-122"/>
            </a:endParaRPr>
          </a:p>
        </p:txBody>
      </p:sp>
      <p:sp>
        <p:nvSpPr>
          <p:cNvPr id="1034" name="Object 1034"/>
          <p:cNvSpPr txBox="1"/>
          <p:nvPr/>
        </p:nvSpPr>
        <p:spPr>
          <a:xfrm>
            <a:off x="6918298" y="4502049"/>
            <a:ext cx="1117600" cy="698500"/>
          </a:xfrm>
          <a:prstGeom prst="rect">
            <a:avLst/>
          </a:prstGeom>
        </p:spPr>
        <p:txBody>
          <a:bodyPr vert="horz" rtlCol="0" anchor="t" anchorCtr="0">
            <a:noAutofit/>
          </a:bodyPr>
          <a:lstStyle/>
          <a:p>
            <a:pPr marL="0" marR="0" lvl="0" indent="0" algn="l" defTabSz="914400" rtl="0" eaLnBrk="1" fontAlgn="auto" latinLnBrk="0" hangingPunct="1">
              <a:lnSpc>
                <a:spcPct val="114166"/>
              </a:lnSpc>
              <a:spcBef>
                <a:spcPts val="0"/>
              </a:spcBef>
              <a:spcAft>
                <a:spcPts val="0"/>
              </a:spcAft>
              <a:buClrTx/>
              <a:buSzTx/>
              <a:buFontTx/>
              <a:buNone/>
              <a:tabLst/>
              <a:defRPr/>
            </a:pPr>
            <a:r>
              <a:rPr kumimoji="0" lang="en-US" altLang="zh-CN" sz="4000" b="0" i="0" u="none" strike="noStrike" kern="1200" cap="none" spc="0" normalizeH="0" baseline="0" noProof="0" dirty="0">
                <a:ln>
                  <a:noFill/>
                </a:ln>
                <a:solidFill>
                  <a:schemeClr val="accent1"/>
                </a:solidFill>
                <a:effectLst/>
                <a:uLnTx/>
                <a:uFillTx/>
                <a:latin typeface="OPPOSans B" panose="00020600040101010101" pitchFamily="18" charset="-122"/>
                <a:ea typeface="OPPOSans B" panose="00020600040101010101" pitchFamily="18" charset="-122"/>
                <a:cs typeface="OPPOSans B" panose="00020600040101010101" pitchFamily="18" charset="-122"/>
                <a:sym typeface="OPPOSans R" panose="00020600040101010101" pitchFamily="18" charset="-122"/>
              </a:rPr>
              <a:t>03</a:t>
            </a:r>
            <a:endParaRPr kumimoji="0" lang="zh-CN" altLang="en-US" sz="900" b="0" i="0" u="none" strike="noStrike" kern="1200" cap="none" spc="0" normalizeH="0" baseline="0" noProof="0" dirty="0">
              <a:ln>
                <a:noFill/>
              </a:ln>
              <a:solidFill>
                <a:schemeClr val="accent1"/>
              </a:solidFill>
              <a:effectLst/>
              <a:uLnTx/>
              <a:uFillTx/>
              <a:latin typeface="OPPOSans B" panose="00020600040101010101" pitchFamily="18" charset="-122"/>
              <a:ea typeface="OPPOSans B" panose="00020600040101010101" pitchFamily="18" charset="-122"/>
              <a:cs typeface="OPPOSans B" panose="00020600040101010101" pitchFamily="18" charset="-122"/>
              <a:sym typeface="OPPOSans R" panose="00020600040101010101" pitchFamily="18" charset="-122"/>
            </a:endParaRPr>
          </a:p>
        </p:txBody>
      </p:sp>
      <p:sp>
        <p:nvSpPr>
          <p:cNvPr id="1035" name="Object 1035"/>
          <p:cNvSpPr txBox="1"/>
          <p:nvPr/>
        </p:nvSpPr>
        <p:spPr>
          <a:xfrm>
            <a:off x="7596432" y="4583844"/>
            <a:ext cx="2336800" cy="349250"/>
          </a:xfrm>
          <a:prstGeom prst="rect">
            <a:avLst/>
          </a:prstGeom>
        </p:spPr>
        <p:txBody>
          <a:bodyPr vert="horz" rtlCol="0" anchor="t" anchorCtr="0">
            <a:noAutofit/>
          </a:bodyPr>
          <a:lstStyle/>
          <a:p>
            <a:pPr marL="0" marR="0" lvl="0" indent="0" algn="l" defTabSz="914400" rtl="0" eaLnBrk="1" fontAlgn="auto" latinLnBrk="0" hangingPunct="1">
              <a:lnSpc>
                <a:spcPct val="114166"/>
              </a:lnSpc>
              <a:spcBef>
                <a:spcPts val="0"/>
              </a:spcBef>
              <a:spcAft>
                <a:spcPts val="0"/>
              </a:spcAft>
              <a:buClrTx/>
              <a:buSzTx/>
              <a:buFontTx/>
              <a:buNone/>
              <a:tabLst/>
              <a:defRPr/>
            </a:pPr>
            <a:r>
              <a:rPr kumimoji="0" lang="zh-CN" altLang="en-US" sz="2000" b="1" i="0" u="none" strike="noStrike" kern="1200" cap="none" spc="0" normalizeH="0" baseline="0" noProof="0" dirty="0">
                <a:ln>
                  <a:noFill/>
                </a:ln>
                <a:solidFill>
                  <a:schemeClr val="accent1"/>
                </a:solidFill>
                <a:effectLst/>
                <a:uLnTx/>
                <a:uFillTx/>
                <a:latin typeface="OPPOSans B" panose="00020600040101010101" pitchFamily="18" charset="-122"/>
                <a:ea typeface="OPPOSans B" panose="00020600040101010101" pitchFamily="18" charset="-122"/>
                <a:cs typeface="OPPOSans B" panose="00020600040101010101" pitchFamily="18" charset="-122"/>
                <a:sym typeface="OPPOSans R" panose="00020600040101010101" pitchFamily="18" charset="-122"/>
              </a:rPr>
              <a:t>客户基础优势</a:t>
            </a:r>
            <a:endParaRPr kumimoji="0" lang="zh-CN" altLang="en-US" sz="900" b="0" i="0" u="none" strike="noStrike" kern="1200" cap="none" spc="0" normalizeH="0" baseline="0" noProof="0" dirty="0">
              <a:ln>
                <a:noFill/>
              </a:ln>
              <a:solidFill>
                <a:schemeClr val="accent1"/>
              </a:solidFill>
              <a:effectLst/>
              <a:uLnTx/>
              <a:uFillTx/>
              <a:latin typeface="OPPOSans B" panose="00020600040101010101" pitchFamily="18" charset="-122"/>
              <a:ea typeface="OPPOSans B" panose="00020600040101010101" pitchFamily="18" charset="-122"/>
              <a:cs typeface="OPPOSans B" panose="00020600040101010101" pitchFamily="18" charset="-122"/>
              <a:sym typeface="OPPOSans R" panose="00020600040101010101" pitchFamily="18" charset="-122"/>
            </a:endParaRPr>
          </a:p>
        </p:txBody>
      </p:sp>
      <p:sp>
        <p:nvSpPr>
          <p:cNvPr id="1036" name="Object 1036"/>
          <p:cNvSpPr txBox="1"/>
          <p:nvPr/>
        </p:nvSpPr>
        <p:spPr>
          <a:xfrm>
            <a:off x="7596432" y="4934052"/>
            <a:ext cx="3854646" cy="476250"/>
          </a:xfrm>
          <a:prstGeom prst="rect">
            <a:avLst/>
          </a:prstGeom>
        </p:spPr>
        <p:txBody>
          <a:bodyPr vert="horz" rtlCol="0" anchor="t" anchorCtr="0">
            <a:noAutofit/>
          </a:bodyPr>
          <a:lstStyle/>
          <a:p>
            <a:pPr marL="0" marR="0" lvl="0" indent="0" algn="l" defTabSz="914400" rtl="0" eaLnBrk="1" fontAlgn="auto" latinLnBrk="0" hangingPunct="1">
              <a:lnSpc>
                <a:spcPct val="114166"/>
              </a:lnSpc>
              <a:spcBef>
                <a:spcPts val="0"/>
              </a:spcBef>
              <a:spcAft>
                <a:spcPts val="0"/>
              </a:spcAft>
              <a:buClrTx/>
              <a:buSzTx/>
              <a:buFontTx/>
              <a:buNone/>
              <a:tabLst/>
              <a:defRPr/>
            </a:pPr>
            <a:r>
              <a:rPr kumimoji="0" lang="zh-CN" altLang="en-US" sz="1400" b="0" i="0" u="none" strike="noStrike" kern="1200" cap="none" spc="0" normalizeH="0" baseline="0" noProof="0" dirty="0">
                <a:ln>
                  <a:noFill/>
                </a:ln>
                <a:solidFill>
                  <a:srgbClr val="626262"/>
                </a:solidFill>
                <a:effectLst/>
                <a:uLnTx/>
                <a:uFillTx/>
                <a:latin typeface="OPPOSans R" panose="00020600040101010101" pitchFamily="18" charset="-122"/>
                <a:ea typeface="OPPOSans R" panose="00020600040101010101" pitchFamily="18" charset="-122"/>
                <a:cs typeface="OPPOSans R" panose="00020600040101010101" pitchFamily="18" charset="-122"/>
                <a:sym typeface="OPPOSans R" panose="00020600040101010101" pitchFamily="18" charset="-122"/>
              </a:rPr>
              <a:t>银行通常和当地政府建立了稳固合作关系，具有用户积淀优势</a:t>
            </a:r>
            <a:endParaRPr kumimoji="0" lang="zh-CN" altLang="en-US" sz="900" b="0" i="0" u="none" strike="noStrike" kern="1200" cap="none" spc="0" normalizeH="0" baseline="0" noProof="0">
              <a:ln>
                <a:noFill/>
              </a:ln>
              <a:solidFill>
                <a:srgbClr val="000000"/>
              </a:solidFill>
              <a:effectLst/>
              <a:uLnTx/>
              <a:uFillTx/>
              <a:latin typeface="OPPOSans R" panose="00020600040101010101" pitchFamily="18" charset="-122"/>
              <a:ea typeface="OPPOSans R" panose="00020600040101010101" pitchFamily="18" charset="-122"/>
              <a:cs typeface="OPPOSans R" panose="00020600040101010101" pitchFamily="18" charset="-122"/>
              <a:sym typeface="OPPOSans R" panose="00020600040101010101" pitchFamily="18" charset="-122"/>
            </a:endParaRPr>
          </a:p>
        </p:txBody>
      </p:sp>
      <p:sp>
        <p:nvSpPr>
          <p:cNvPr id="53" name="任意多边形: 形状 52">
            <a:extLst>
              <a:ext uri="{FF2B5EF4-FFF2-40B4-BE49-F238E27FC236}">
                <a16:creationId xmlns:a16="http://schemas.microsoft.com/office/drawing/2014/main" id="{F2B66E3B-4FF6-427F-B5CB-ED0D25B991F6}"/>
              </a:ext>
            </a:extLst>
          </p:cNvPr>
          <p:cNvSpPr/>
          <p:nvPr/>
        </p:nvSpPr>
        <p:spPr>
          <a:xfrm>
            <a:off x="2640124" y="1441449"/>
            <a:ext cx="1241109" cy="1046903"/>
          </a:xfrm>
          <a:custGeom>
            <a:avLst/>
            <a:gdLst>
              <a:gd name="connsiteX0" fmla="*/ 620554 w 1241109"/>
              <a:gd name="connsiteY0" fmla="*/ 0 h 1035050"/>
              <a:gd name="connsiteX1" fmla="*/ 1241109 w 1241109"/>
              <a:gd name="connsiteY1" fmla="*/ 1035050 h 1035050"/>
              <a:gd name="connsiteX2" fmla="*/ 0 w 1241109"/>
              <a:gd name="connsiteY2" fmla="*/ 1035050 h 1035050"/>
              <a:gd name="connsiteX3" fmla="*/ 620554 w 1241109"/>
              <a:gd name="connsiteY3" fmla="*/ 0 h 1035050"/>
            </a:gdLst>
            <a:ahLst/>
            <a:cxnLst>
              <a:cxn ang="0">
                <a:pos x="connsiteX0" y="connsiteY0"/>
              </a:cxn>
              <a:cxn ang="0">
                <a:pos x="connsiteX1" y="connsiteY1"/>
              </a:cxn>
              <a:cxn ang="0">
                <a:pos x="connsiteX2" y="connsiteY2"/>
              </a:cxn>
              <a:cxn ang="0">
                <a:pos x="connsiteX3" y="connsiteY3"/>
              </a:cxn>
            </a:cxnLst>
            <a:rect l="l" t="t" r="r" b="b"/>
            <a:pathLst>
              <a:path w="1241109" h="1035050">
                <a:moveTo>
                  <a:pt x="620554" y="0"/>
                </a:moveTo>
                <a:lnTo>
                  <a:pt x="1241109" y="1035050"/>
                </a:lnTo>
                <a:lnTo>
                  <a:pt x="0" y="1035050"/>
                </a:lnTo>
                <a:lnTo>
                  <a:pt x="620554" y="0"/>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Arial"/>
              <a:ea typeface="微软雅黑 Light"/>
              <a:cs typeface="+mn-cs"/>
            </a:endParaRPr>
          </a:p>
        </p:txBody>
      </p:sp>
      <p:sp>
        <p:nvSpPr>
          <p:cNvPr id="50" name="任意多边形: 形状 49">
            <a:extLst>
              <a:ext uri="{FF2B5EF4-FFF2-40B4-BE49-F238E27FC236}">
                <a16:creationId xmlns:a16="http://schemas.microsoft.com/office/drawing/2014/main" id="{8CC22DD1-9EE6-4ED2-A0B9-20C4BC55D9C9}"/>
              </a:ext>
            </a:extLst>
          </p:cNvPr>
          <p:cNvSpPr/>
          <p:nvPr/>
        </p:nvSpPr>
        <p:spPr>
          <a:xfrm>
            <a:off x="2026301" y="2844800"/>
            <a:ext cx="2468754" cy="655522"/>
          </a:xfrm>
          <a:custGeom>
            <a:avLst/>
            <a:gdLst>
              <a:gd name="connsiteX0" fmla="*/ 393012 w 2468754"/>
              <a:gd name="connsiteY0" fmla="*/ 0 h 655522"/>
              <a:gd name="connsiteX1" fmla="*/ 2075742 w 2468754"/>
              <a:gd name="connsiteY1" fmla="*/ 0 h 655522"/>
              <a:gd name="connsiteX2" fmla="*/ 2468754 w 2468754"/>
              <a:gd name="connsiteY2" fmla="*/ 655522 h 655522"/>
              <a:gd name="connsiteX3" fmla="*/ 0 w 2468754"/>
              <a:gd name="connsiteY3" fmla="*/ 655522 h 655522"/>
              <a:gd name="connsiteX4" fmla="*/ 393012 w 2468754"/>
              <a:gd name="connsiteY4" fmla="*/ 0 h 6555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68754" h="655522">
                <a:moveTo>
                  <a:pt x="393012" y="0"/>
                </a:moveTo>
                <a:lnTo>
                  <a:pt x="2075742" y="0"/>
                </a:lnTo>
                <a:lnTo>
                  <a:pt x="2468754" y="655522"/>
                </a:lnTo>
                <a:lnTo>
                  <a:pt x="0" y="655522"/>
                </a:lnTo>
                <a:lnTo>
                  <a:pt x="393012" y="0"/>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Arial"/>
              <a:ea typeface="微软雅黑 Light"/>
              <a:cs typeface="+mn-cs"/>
            </a:endParaRPr>
          </a:p>
        </p:txBody>
      </p:sp>
      <p:sp>
        <p:nvSpPr>
          <p:cNvPr id="47" name="任意多边形: 形状 46">
            <a:extLst>
              <a:ext uri="{FF2B5EF4-FFF2-40B4-BE49-F238E27FC236}">
                <a16:creationId xmlns:a16="http://schemas.microsoft.com/office/drawing/2014/main" id="{0699D2E5-22A4-46DF-A73F-1E2649628170}"/>
              </a:ext>
            </a:extLst>
          </p:cNvPr>
          <p:cNvSpPr/>
          <p:nvPr/>
        </p:nvSpPr>
        <p:spPr>
          <a:xfrm>
            <a:off x="1412781" y="3868622"/>
            <a:ext cx="3695794" cy="655017"/>
          </a:xfrm>
          <a:custGeom>
            <a:avLst/>
            <a:gdLst>
              <a:gd name="connsiteX0" fmla="*/ 392709 w 3695794"/>
              <a:gd name="connsiteY0" fmla="*/ 0 h 655017"/>
              <a:gd name="connsiteX1" fmla="*/ 3303085 w 3695794"/>
              <a:gd name="connsiteY1" fmla="*/ 0 h 655017"/>
              <a:gd name="connsiteX2" fmla="*/ 3695794 w 3695794"/>
              <a:gd name="connsiteY2" fmla="*/ 655017 h 655017"/>
              <a:gd name="connsiteX3" fmla="*/ 0 w 3695794"/>
              <a:gd name="connsiteY3" fmla="*/ 655017 h 655017"/>
              <a:gd name="connsiteX4" fmla="*/ 392709 w 3695794"/>
              <a:gd name="connsiteY4" fmla="*/ 0 h 6550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95794" h="655017">
                <a:moveTo>
                  <a:pt x="392709" y="0"/>
                </a:moveTo>
                <a:lnTo>
                  <a:pt x="3303085" y="0"/>
                </a:lnTo>
                <a:lnTo>
                  <a:pt x="3695794" y="655017"/>
                </a:lnTo>
                <a:lnTo>
                  <a:pt x="0" y="655017"/>
                </a:lnTo>
                <a:lnTo>
                  <a:pt x="392709" y="0"/>
                </a:lnTo>
                <a:close/>
              </a:path>
            </a:pathLst>
          </a:custGeom>
          <a:solidFill>
            <a:schemeClr val="accent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Arial"/>
              <a:ea typeface="微软雅黑 Light"/>
              <a:cs typeface="+mn-cs"/>
            </a:endParaRPr>
          </a:p>
        </p:txBody>
      </p:sp>
      <p:sp>
        <p:nvSpPr>
          <p:cNvPr id="44" name="任意多边形: 形状 43">
            <a:extLst>
              <a:ext uri="{FF2B5EF4-FFF2-40B4-BE49-F238E27FC236}">
                <a16:creationId xmlns:a16="http://schemas.microsoft.com/office/drawing/2014/main" id="{CA6AF404-AFD0-4103-A21E-A717A4AC1712}"/>
              </a:ext>
            </a:extLst>
          </p:cNvPr>
          <p:cNvSpPr/>
          <p:nvPr/>
        </p:nvSpPr>
        <p:spPr>
          <a:xfrm>
            <a:off x="774653" y="4891939"/>
            <a:ext cx="4972050" cy="696061"/>
          </a:xfrm>
          <a:custGeom>
            <a:avLst/>
            <a:gdLst>
              <a:gd name="connsiteX0" fmla="*/ 417317 w 4972050"/>
              <a:gd name="connsiteY0" fmla="*/ 0 h 696061"/>
              <a:gd name="connsiteX1" fmla="*/ 4554733 w 4972050"/>
              <a:gd name="connsiteY1" fmla="*/ 0 h 696061"/>
              <a:gd name="connsiteX2" fmla="*/ 4972050 w 4972050"/>
              <a:gd name="connsiteY2" fmla="*/ 696061 h 696061"/>
              <a:gd name="connsiteX3" fmla="*/ 0 w 4972050"/>
              <a:gd name="connsiteY3" fmla="*/ 696061 h 696061"/>
              <a:gd name="connsiteX4" fmla="*/ 417317 w 4972050"/>
              <a:gd name="connsiteY4" fmla="*/ 0 h 6960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2050" h="696061">
                <a:moveTo>
                  <a:pt x="417317" y="0"/>
                </a:moveTo>
                <a:lnTo>
                  <a:pt x="4554733" y="0"/>
                </a:lnTo>
                <a:lnTo>
                  <a:pt x="4972050" y="696061"/>
                </a:lnTo>
                <a:lnTo>
                  <a:pt x="0" y="696061"/>
                </a:lnTo>
                <a:lnTo>
                  <a:pt x="417317" y="0"/>
                </a:lnTo>
                <a:close/>
              </a:path>
            </a:pathLst>
          </a:cu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Arial"/>
              <a:ea typeface="微软雅黑 Light"/>
              <a:cs typeface="+mn-cs"/>
            </a:endParaRPr>
          </a:p>
        </p:txBody>
      </p:sp>
      <p:sp>
        <p:nvSpPr>
          <p:cNvPr id="4" name="平行四边形 3">
            <a:extLst>
              <a:ext uri="{FF2B5EF4-FFF2-40B4-BE49-F238E27FC236}">
                <a16:creationId xmlns:a16="http://schemas.microsoft.com/office/drawing/2014/main" id="{4693C7D0-EED1-45DF-AE5A-BFCC68AF0BFD}"/>
              </a:ext>
            </a:extLst>
          </p:cNvPr>
          <p:cNvSpPr/>
          <p:nvPr/>
        </p:nvSpPr>
        <p:spPr>
          <a:xfrm>
            <a:off x="2411729" y="2491042"/>
            <a:ext cx="1469504" cy="351069"/>
          </a:xfrm>
          <a:prstGeom prst="parallelogram">
            <a:avLst>
              <a:gd name="adj" fmla="val 192752"/>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Arial"/>
              <a:ea typeface="微软雅黑 Light"/>
              <a:cs typeface="+mn-cs"/>
            </a:endParaRPr>
          </a:p>
        </p:txBody>
      </p:sp>
      <p:sp>
        <p:nvSpPr>
          <p:cNvPr id="58" name="平行四边形 57">
            <a:extLst>
              <a:ext uri="{FF2B5EF4-FFF2-40B4-BE49-F238E27FC236}">
                <a16:creationId xmlns:a16="http://schemas.microsoft.com/office/drawing/2014/main" id="{8E0A1E1E-AC11-4A60-BB99-160232ACC1AA}"/>
              </a:ext>
            </a:extLst>
          </p:cNvPr>
          <p:cNvSpPr/>
          <p:nvPr/>
        </p:nvSpPr>
        <p:spPr>
          <a:xfrm>
            <a:off x="1809925" y="3500323"/>
            <a:ext cx="2685130" cy="368300"/>
          </a:xfrm>
          <a:prstGeom prst="parallelogram">
            <a:avLst>
              <a:gd name="adj" fmla="val 192752"/>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Arial"/>
              <a:ea typeface="微软雅黑 Light"/>
              <a:cs typeface="+mn-cs"/>
            </a:endParaRPr>
          </a:p>
        </p:txBody>
      </p:sp>
      <p:sp>
        <p:nvSpPr>
          <p:cNvPr id="59" name="平行四边形 58">
            <a:extLst>
              <a:ext uri="{FF2B5EF4-FFF2-40B4-BE49-F238E27FC236}">
                <a16:creationId xmlns:a16="http://schemas.microsoft.com/office/drawing/2014/main" id="{6B3F436E-8CE7-489C-AB6D-20840DC12AC8}"/>
              </a:ext>
            </a:extLst>
          </p:cNvPr>
          <p:cNvSpPr/>
          <p:nvPr/>
        </p:nvSpPr>
        <p:spPr>
          <a:xfrm>
            <a:off x="1171521" y="4523640"/>
            <a:ext cx="3937054" cy="376718"/>
          </a:xfrm>
          <a:prstGeom prst="parallelogram">
            <a:avLst>
              <a:gd name="adj" fmla="val 357314"/>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Arial"/>
              <a:ea typeface="微软雅黑 Light"/>
              <a:cs typeface="+mn-cs"/>
            </a:endParaRPr>
          </a:p>
        </p:txBody>
      </p:sp>
      <p:pic>
        <p:nvPicPr>
          <p:cNvPr id="1013" name="image 1013"/>
          <p:cNvPicPr>
            <a:picLocks noChangeAspect="1"/>
          </p:cNvPicPr>
          <p:nvPr/>
        </p:nvPicPr>
        <p:blipFill>
          <a:blip r:embed="rId4"/>
          <a:srcRect/>
          <a:stretch>
            <a:fillRect/>
          </a:stretch>
        </p:blipFill>
        <p:spPr>
          <a:xfrm>
            <a:off x="3082101" y="1889760"/>
            <a:ext cx="357154" cy="431784"/>
          </a:xfrm>
          <a:prstGeom prst="rect">
            <a:avLst/>
          </a:prstGeom>
          <a:ln>
            <a:noFill/>
          </a:ln>
        </p:spPr>
      </p:pic>
      <p:cxnSp>
        <p:nvCxnSpPr>
          <p:cNvPr id="6" name="直接连接符 5">
            <a:extLst>
              <a:ext uri="{FF2B5EF4-FFF2-40B4-BE49-F238E27FC236}">
                <a16:creationId xmlns:a16="http://schemas.microsoft.com/office/drawing/2014/main" id="{7E49FB28-B750-4D66-89C9-813858002E1B}"/>
              </a:ext>
            </a:extLst>
          </p:cNvPr>
          <p:cNvCxnSpPr/>
          <p:nvPr/>
        </p:nvCxnSpPr>
        <p:spPr>
          <a:xfrm>
            <a:off x="3892298" y="2468200"/>
            <a:ext cx="6051999"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62" name="直接连接符 61">
            <a:extLst>
              <a:ext uri="{FF2B5EF4-FFF2-40B4-BE49-F238E27FC236}">
                <a16:creationId xmlns:a16="http://schemas.microsoft.com/office/drawing/2014/main" id="{F7A9F039-3005-44AB-9582-6E457156DCA9}"/>
              </a:ext>
            </a:extLst>
          </p:cNvPr>
          <p:cNvCxnSpPr/>
          <p:nvPr/>
        </p:nvCxnSpPr>
        <p:spPr>
          <a:xfrm>
            <a:off x="4495055" y="3500322"/>
            <a:ext cx="6051999"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63" name="直接连接符 62">
            <a:extLst>
              <a:ext uri="{FF2B5EF4-FFF2-40B4-BE49-F238E27FC236}">
                <a16:creationId xmlns:a16="http://schemas.microsoft.com/office/drawing/2014/main" id="{F63DE541-FE28-4DF2-84EA-D68FF5EE8356}"/>
              </a:ext>
            </a:extLst>
          </p:cNvPr>
          <p:cNvCxnSpPr/>
          <p:nvPr/>
        </p:nvCxnSpPr>
        <p:spPr>
          <a:xfrm>
            <a:off x="5116100" y="4514156"/>
            <a:ext cx="6051999"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7" name="等腰三角形 6">
            <a:extLst>
              <a:ext uri="{FF2B5EF4-FFF2-40B4-BE49-F238E27FC236}">
                <a16:creationId xmlns:a16="http://schemas.microsoft.com/office/drawing/2014/main" id="{E7EEFD09-1A27-44EF-927D-E7991970E78B}"/>
              </a:ext>
            </a:extLst>
          </p:cNvPr>
          <p:cNvSpPr/>
          <p:nvPr/>
        </p:nvSpPr>
        <p:spPr>
          <a:xfrm rot="5400000">
            <a:off x="5066954" y="2820089"/>
            <a:ext cx="189640" cy="169212"/>
          </a:xfrm>
          <a:prstGeom prst="triangle">
            <a:avLst/>
          </a:prstGeom>
          <a:solidFill>
            <a:schemeClr val="accent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Arial"/>
              <a:ea typeface="微软雅黑 Light"/>
              <a:cs typeface="+mn-cs"/>
            </a:endParaRPr>
          </a:p>
        </p:txBody>
      </p:sp>
      <p:sp>
        <p:nvSpPr>
          <p:cNvPr id="65" name="等腰三角形 64">
            <a:extLst>
              <a:ext uri="{FF2B5EF4-FFF2-40B4-BE49-F238E27FC236}">
                <a16:creationId xmlns:a16="http://schemas.microsoft.com/office/drawing/2014/main" id="{2FC85BA1-A11E-42C4-96CC-2D6609239B07}"/>
              </a:ext>
            </a:extLst>
          </p:cNvPr>
          <p:cNvSpPr/>
          <p:nvPr/>
        </p:nvSpPr>
        <p:spPr>
          <a:xfrm rot="5400000">
            <a:off x="5725853" y="3820646"/>
            <a:ext cx="189640" cy="169212"/>
          </a:xfrm>
          <a:prstGeom prst="triangle">
            <a:avLst/>
          </a:prstGeom>
          <a:solidFill>
            <a:schemeClr val="accent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Arial"/>
              <a:ea typeface="微软雅黑 Light"/>
              <a:cs typeface="+mn-cs"/>
            </a:endParaRPr>
          </a:p>
        </p:txBody>
      </p:sp>
      <p:sp>
        <p:nvSpPr>
          <p:cNvPr id="32" name="等腰三角形 31">
            <a:extLst>
              <a:ext uri="{FF2B5EF4-FFF2-40B4-BE49-F238E27FC236}">
                <a16:creationId xmlns:a16="http://schemas.microsoft.com/office/drawing/2014/main" id="{9B778E0F-16DF-403E-BE93-054401DE41B7}"/>
              </a:ext>
            </a:extLst>
          </p:cNvPr>
          <p:cNvSpPr/>
          <p:nvPr/>
        </p:nvSpPr>
        <p:spPr>
          <a:xfrm rot="5400000">
            <a:off x="6587436" y="4827825"/>
            <a:ext cx="189640" cy="169212"/>
          </a:xfrm>
          <a:prstGeom prst="triangle">
            <a:avLst/>
          </a:prstGeom>
          <a:solidFill>
            <a:schemeClr val="accent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Arial"/>
              <a:ea typeface="微软雅黑 Light"/>
              <a:cs typeface="+mn-cs"/>
            </a:endParaRPr>
          </a:p>
        </p:txBody>
      </p:sp>
    </p:spTree>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5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矩形 17">
            <a:extLst>
              <a:ext uri="{FF2B5EF4-FFF2-40B4-BE49-F238E27FC236}">
                <a16:creationId xmlns:a16="http://schemas.microsoft.com/office/drawing/2014/main" id="{0A53D616-3DF4-40A0-AAFD-60AD694FB860}"/>
              </a:ext>
            </a:extLst>
          </p:cNvPr>
          <p:cNvSpPr/>
          <p:nvPr/>
        </p:nvSpPr>
        <p:spPr>
          <a:xfrm>
            <a:off x="3153048" y="2216495"/>
            <a:ext cx="2444750" cy="678180"/>
          </a:xfrm>
          <a:prstGeom prst="rect">
            <a:avLst/>
          </a:prstGeom>
          <a:solidFill>
            <a:schemeClr val="accent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OPPOSans R"/>
              <a:ea typeface="OPPOSans R"/>
              <a:cs typeface="+mn-cs"/>
            </a:endParaRPr>
          </a:p>
        </p:txBody>
      </p:sp>
      <p:sp>
        <p:nvSpPr>
          <p:cNvPr id="83" name="椭圆 82">
            <a:extLst>
              <a:ext uri="{FF2B5EF4-FFF2-40B4-BE49-F238E27FC236}">
                <a16:creationId xmlns:a16="http://schemas.microsoft.com/office/drawing/2014/main" id="{908BEB66-A467-4578-8743-79DC9E02CC77}"/>
              </a:ext>
            </a:extLst>
          </p:cNvPr>
          <p:cNvSpPr/>
          <p:nvPr/>
        </p:nvSpPr>
        <p:spPr>
          <a:xfrm>
            <a:off x="1508398" y="5410868"/>
            <a:ext cx="5670550" cy="748096"/>
          </a:xfrm>
          <a:prstGeom prst="ellipse">
            <a:avLst/>
          </a:prstGeom>
          <a:solidFill>
            <a:schemeClr val="accent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OPPOSans R"/>
              <a:ea typeface="OPPOSans R"/>
              <a:cs typeface="+mn-cs"/>
            </a:endParaRPr>
          </a:p>
        </p:txBody>
      </p:sp>
      <p:sp>
        <p:nvSpPr>
          <p:cNvPr id="84" name="矩形 83">
            <a:extLst>
              <a:ext uri="{FF2B5EF4-FFF2-40B4-BE49-F238E27FC236}">
                <a16:creationId xmlns:a16="http://schemas.microsoft.com/office/drawing/2014/main" id="{19A3ACF4-93FE-4F5D-BF76-2F42149A223C}"/>
              </a:ext>
            </a:extLst>
          </p:cNvPr>
          <p:cNvSpPr/>
          <p:nvPr/>
        </p:nvSpPr>
        <p:spPr>
          <a:xfrm>
            <a:off x="1508398" y="4752840"/>
            <a:ext cx="5670550" cy="1031525"/>
          </a:xfrm>
          <a:prstGeom prst="rect">
            <a:avLst/>
          </a:prstGeom>
          <a:solidFill>
            <a:schemeClr val="accent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OPPOSans R"/>
              <a:ea typeface="OPPOSans R"/>
              <a:cs typeface="+mn-cs"/>
            </a:endParaRPr>
          </a:p>
        </p:txBody>
      </p:sp>
      <p:sp>
        <p:nvSpPr>
          <p:cNvPr id="85" name="椭圆 84">
            <a:extLst>
              <a:ext uri="{FF2B5EF4-FFF2-40B4-BE49-F238E27FC236}">
                <a16:creationId xmlns:a16="http://schemas.microsoft.com/office/drawing/2014/main" id="{92A2F2FC-D450-4538-935A-99485E989D39}"/>
              </a:ext>
            </a:extLst>
          </p:cNvPr>
          <p:cNvSpPr/>
          <p:nvPr/>
        </p:nvSpPr>
        <p:spPr>
          <a:xfrm>
            <a:off x="1508398" y="4364624"/>
            <a:ext cx="5670550" cy="748096"/>
          </a:xfrm>
          <a:prstGeom prst="ellips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OPPOSans R"/>
              <a:ea typeface="OPPOSans R"/>
              <a:cs typeface="+mn-cs"/>
            </a:endParaRPr>
          </a:p>
        </p:txBody>
      </p:sp>
      <p:sp>
        <p:nvSpPr>
          <p:cNvPr id="79" name="椭圆 78">
            <a:extLst>
              <a:ext uri="{FF2B5EF4-FFF2-40B4-BE49-F238E27FC236}">
                <a16:creationId xmlns:a16="http://schemas.microsoft.com/office/drawing/2014/main" id="{266FAF66-4BFD-4432-BE33-92042D8ACCBE}"/>
              </a:ext>
            </a:extLst>
          </p:cNvPr>
          <p:cNvSpPr/>
          <p:nvPr/>
        </p:nvSpPr>
        <p:spPr>
          <a:xfrm>
            <a:off x="2117998" y="4337163"/>
            <a:ext cx="4464050" cy="661450"/>
          </a:xfrm>
          <a:prstGeom prst="ellipse">
            <a:avLst/>
          </a:prstGeom>
          <a:solidFill>
            <a:schemeClr val="accent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OPPOSans R"/>
              <a:ea typeface="OPPOSans R"/>
              <a:cs typeface="+mn-cs"/>
            </a:endParaRPr>
          </a:p>
        </p:txBody>
      </p:sp>
      <p:sp>
        <p:nvSpPr>
          <p:cNvPr id="80" name="矩形 79">
            <a:extLst>
              <a:ext uri="{FF2B5EF4-FFF2-40B4-BE49-F238E27FC236}">
                <a16:creationId xmlns:a16="http://schemas.microsoft.com/office/drawing/2014/main" id="{935A9B81-4E88-4A92-8B86-B1526451AD34}"/>
              </a:ext>
            </a:extLst>
          </p:cNvPr>
          <p:cNvSpPr/>
          <p:nvPr/>
        </p:nvSpPr>
        <p:spPr>
          <a:xfrm>
            <a:off x="2117998" y="3755349"/>
            <a:ext cx="4464050" cy="912051"/>
          </a:xfrm>
          <a:prstGeom prst="rect">
            <a:avLst/>
          </a:prstGeom>
          <a:solidFill>
            <a:schemeClr val="accent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OPPOSans R"/>
              <a:ea typeface="OPPOSans R"/>
              <a:cs typeface="+mn-cs"/>
            </a:endParaRPr>
          </a:p>
        </p:txBody>
      </p:sp>
      <p:sp>
        <p:nvSpPr>
          <p:cNvPr id="81" name="椭圆 80">
            <a:extLst>
              <a:ext uri="{FF2B5EF4-FFF2-40B4-BE49-F238E27FC236}">
                <a16:creationId xmlns:a16="http://schemas.microsoft.com/office/drawing/2014/main" id="{ADCA001C-7BCD-4744-8D40-7FC9EAEBE7A9}"/>
              </a:ext>
            </a:extLst>
          </p:cNvPr>
          <p:cNvSpPr/>
          <p:nvPr/>
        </p:nvSpPr>
        <p:spPr>
          <a:xfrm>
            <a:off x="2117998" y="3412097"/>
            <a:ext cx="4464050" cy="661450"/>
          </a:xfrm>
          <a:prstGeom prst="ellips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OPPOSans R"/>
              <a:ea typeface="OPPOSans R"/>
              <a:cs typeface="+mn-cs"/>
            </a:endParaRPr>
          </a:p>
        </p:txBody>
      </p:sp>
      <p:sp>
        <p:nvSpPr>
          <p:cNvPr id="74" name="椭圆 73">
            <a:extLst>
              <a:ext uri="{FF2B5EF4-FFF2-40B4-BE49-F238E27FC236}">
                <a16:creationId xmlns:a16="http://schemas.microsoft.com/office/drawing/2014/main" id="{693E7DEA-3944-4941-98C1-559926E3BCD5}"/>
              </a:ext>
            </a:extLst>
          </p:cNvPr>
          <p:cNvSpPr/>
          <p:nvPr/>
        </p:nvSpPr>
        <p:spPr>
          <a:xfrm>
            <a:off x="2632348" y="3499772"/>
            <a:ext cx="3448050" cy="491839"/>
          </a:xfrm>
          <a:prstGeom prst="ellipse">
            <a:avLst/>
          </a:prstGeom>
          <a:solidFill>
            <a:schemeClr val="accent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OPPOSans R"/>
              <a:ea typeface="OPPOSans R"/>
              <a:cs typeface="+mn-cs"/>
            </a:endParaRPr>
          </a:p>
        </p:txBody>
      </p:sp>
      <p:sp>
        <p:nvSpPr>
          <p:cNvPr id="75" name="矩形 74">
            <a:extLst>
              <a:ext uri="{FF2B5EF4-FFF2-40B4-BE49-F238E27FC236}">
                <a16:creationId xmlns:a16="http://schemas.microsoft.com/office/drawing/2014/main" id="{EAA35EE0-410D-4A60-8C09-86D5B2789980}"/>
              </a:ext>
            </a:extLst>
          </p:cNvPr>
          <p:cNvSpPr/>
          <p:nvPr/>
        </p:nvSpPr>
        <p:spPr>
          <a:xfrm>
            <a:off x="2632348" y="3067149"/>
            <a:ext cx="3448050" cy="678180"/>
          </a:xfrm>
          <a:prstGeom prst="rect">
            <a:avLst/>
          </a:prstGeom>
          <a:solidFill>
            <a:schemeClr val="accent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OPPOSans R"/>
              <a:ea typeface="OPPOSans R"/>
              <a:cs typeface="+mn-cs"/>
            </a:endParaRPr>
          </a:p>
        </p:txBody>
      </p:sp>
      <p:sp>
        <p:nvSpPr>
          <p:cNvPr id="76" name="椭圆 75">
            <a:extLst>
              <a:ext uri="{FF2B5EF4-FFF2-40B4-BE49-F238E27FC236}">
                <a16:creationId xmlns:a16="http://schemas.microsoft.com/office/drawing/2014/main" id="{DD91F72A-14F1-4D91-8770-33C5BC6CEA3C}"/>
              </a:ext>
            </a:extLst>
          </p:cNvPr>
          <p:cNvSpPr/>
          <p:nvPr/>
        </p:nvSpPr>
        <p:spPr>
          <a:xfrm>
            <a:off x="2632348" y="2811915"/>
            <a:ext cx="3448050" cy="491839"/>
          </a:xfrm>
          <a:prstGeom prst="ellips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OPPOSans R"/>
              <a:ea typeface="OPPOSans R"/>
              <a:cs typeface="+mn-cs"/>
            </a:endParaRPr>
          </a:p>
        </p:txBody>
      </p:sp>
      <p:sp>
        <p:nvSpPr>
          <p:cNvPr id="1014" name="Object 1014"/>
          <p:cNvSpPr txBox="1"/>
          <p:nvPr/>
        </p:nvSpPr>
        <p:spPr>
          <a:xfrm>
            <a:off x="3653292" y="5493792"/>
            <a:ext cx="1374413" cy="311150"/>
          </a:xfrm>
          <a:prstGeom prst="rect">
            <a:avLst/>
          </a:prstGeom>
        </p:spPr>
        <p:txBody>
          <a:bodyPr vert="horz" rtlCol="0" anchor="t"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2050" b="1" i="0" u="none" strike="noStrike" kern="1200" cap="none" spc="0" normalizeH="0" baseline="0" noProof="0" dirty="0">
                <a:ln>
                  <a:noFill/>
                </a:ln>
                <a:solidFill>
                  <a:srgbClr val="FFFFFF"/>
                </a:solidFill>
                <a:effectLst/>
                <a:uLnTx/>
                <a:uFillTx/>
                <a:latin typeface="OPPOSans B"/>
                <a:ea typeface="OPPOSans B"/>
                <a:cs typeface="+mn-cs"/>
              </a:rPr>
              <a:t>15000</a:t>
            </a:r>
            <a:endParaRPr kumimoji="0" lang="zh-CN" altLang="en-US" sz="900" b="1" i="0" u="none" strike="noStrike" kern="1200" cap="none" spc="0" normalizeH="0" baseline="0" noProof="0">
              <a:ln>
                <a:noFill/>
              </a:ln>
              <a:solidFill>
                <a:srgbClr val="000000"/>
              </a:solidFill>
              <a:effectLst/>
              <a:uLnTx/>
              <a:uFillTx/>
              <a:latin typeface="OPPOSans B"/>
              <a:ea typeface="OPPOSans B"/>
              <a:cs typeface="+mn-cs"/>
            </a:endParaRPr>
          </a:p>
        </p:txBody>
      </p:sp>
      <p:sp>
        <p:nvSpPr>
          <p:cNvPr id="1015" name="Object 1015"/>
          <p:cNvSpPr txBox="1"/>
          <p:nvPr/>
        </p:nvSpPr>
        <p:spPr>
          <a:xfrm>
            <a:off x="3841995" y="4355856"/>
            <a:ext cx="997007" cy="311150"/>
          </a:xfrm>
          <a:prstGeom prst="rect">
            <a:avLst/>
          </a:prstGeom>
        </p:spPr>
        <p:txBody>
          <a:bodyPr vert="horz" rtlCol="0" anchor="t"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2050" b="1" i="0" u="none" strike="noStrike" kern="1200" cap="none" spc="0" normalizeH="0" baseline="0" noProof="0" dirty="0">
                <a:ln>
                  <a:noFill/>
                </a:ln>
                <a:solidFill>
                  <a:srgbClr val="FFFFFF"/>
                </a:solidFill>
                <a:effectLst/>
                <a:uLnTx/>
                <a:uFillTx/>
                <a:latin typeface="OPPOSans B"/>
                <a:ea typeface="OPPOSans B"/>
                <a:cs typeface="+mn-cs"/>
              </a:rPr>
              <a:t>30</a:t>
            </a:r>
            <a:endParaRPr kumimoji="0" lang="zh-CN" altLang="en-US" sz="900" b="1" i="0" u="none" strike="noStrike" kern="1200" cap="none" spc="0" normalizeH="0" baseline="0" noProof="0">
              <a:ln>
                <a:noFill/>
              </a:ln>
              <a:solidFill>
                <a:srgbClr val="000000"/>
              </a:solidFill>
              <a:effectLst/>
              <a:uLnTx/>
              <a:uFillTx/>
              <a:latin typeface="OPPOSans B"/>
              <a:ea typeface="OPPOSans B"/>
              <a:cs typeface="+mn-cs"/>
            </a:endParaRPr>
          </a:p>
        </p:txBody>
      </p:sp>
      <p:sp>
        <p:nvSpPr>
          <p:cNvPr id="72" name="椭圆 71">
            <a:extLst>
              <a:ext uri="{FF2B5EF4-FFF2-40B4-BE49-F238E27FC236}">
                <a16:creationId xmlns:a16="http://schemas.microsoft.com/office/drawing/2014/main" id="{EAA1FCC7-44CC-4FAE-9A12-845F70F8811A}"/>
              </a:ext>
            </a:extLst>
          </p:cNvPr>
          <p:cNvSpPr/>
          <p:nvPr/>
        </p:nvSpPr>
        <p:spPr>
          <a:xfrm>
            <a:off x="3153048" y="2652085"/>
            <a:ext cx="2444750" cy="491839"/>
          </a:xfrm>
          <a:prstGeom prst="ellipse">
            <a:avLst/>
          </a:prstGeom>
          <a:solidFill>
            <a:schemeClr val="accent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OPPOSans R"/>
              <a:ea typeface="OPPOSans R"/>
              <a:cs typeface="+mn-cs"/>
            </a:endParaRPr>
          </a:p>
        </p:txBody>
      </p:sp>
      <p:sp>
        <p:nvSpPr>
          <p:cNvPr id="17" name="椭圆 16">
            <a:extLst>
              <a:ext uri="{FF2B5EF4-FFF2-40B4-BE49-F238E27FC236}">
                <a16:creationId xmlns:a16="http://schemas.microsoft.com/office/drawing/2014/main" id="{772F6297-480D-4DB2-A432-387C81AD9A32}"/>
              </a:ext>
            </a:extLst>
          </p:cNvPr>
          <p:cNvSpPr/>
          <p:nvPr/>
        </p:nvSpPr>
        <p:spPr>
          <a:xfrm>
            <a:off x="3153048" y="1964228"/>
            <a:ext cx="2444750" cy="491839"/>
          </a:xfrm>
          <a:prstGeom prst="ellips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OPPOSans R"/>
              <a:ea typeface="OPPOSans R"/>
              <a:cs typeface="+mn-cs"/>
            </a:endParaRPr>
          </a:p>
        </p:txBody>
      </p:sp>
      <p:sp>
        <p:nvSpPr>
          <p:cNvPr id="1016" name="Object 1016"/>
          <p:cNvSpPr txBox="1"/>
          <p:nvPr/>
        </p:nvSpPr>
        <p:spPr>
          <a:xfrm>
            <a:off x="3569154" y="3466531"/>
            <a:ext cx="1542688" cy="311150"/>
          </a:xfrm>
          <a:prstGeom prst="rect">
            <a:avLst/>
          </a:prstGeom>
        </p:spPr>
        <p:txBody>
          <a:bodyPr vert="horz" rtlCol="0" anchor="t"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2050" b="1" i="0" u="none" strike="noStrike" kern="1200" cap="none" spc="0" normalizeH="0" baseline="0" noProof="0" dirty="0">
                <a:ln>
                  <a:noFill/>
                </a:ln>
                <a:solidFill>
                  <a:srgbClr val="FFFFFF"/>
                </a:solidFill>
                <a:effectLst/>
                <a:uLnTx/>
                <a:uFillTx/>
                <a:latin typeface="OPPOSans B"/>
                <a:ea typeface="OPPOSans B"/>
                <a:cs typeface="+mn-cs"/>
              </a:rPr>
              <a:t>1000000</a:t>
            </a:r>
            <a:endParaRPr kumimoji="0" lang="zh-CN" altLang="en-US" sz="900" b="1" i="0" u="none" strike="noStrike" kern="1200" cap="none" spc="0" normalizeH="0" baseline="0" noProof="0">
              <a:ln>
                <a:noFill/>
              </a:ln>
              <a:solidFill>
                <a:srgbClr val="000000"/>
              </a:solidFill>
              <a:effectLst/>
              <a:uLnTx/>
              <a:uFillTx/>
              <a:latin typeface="OPPOSans B"/>
              <a:ea typeface="OPPOSans B"/>
              <a:cs typeface="+mn-cs"/>
            </a:endParaRPr>
          </a:p>
        </p:txBody>
      </p:sp>
      <p:sp>
        <p:nvSpPr>
          <p:cNvPr id="1017" name="Object 1017"/>
          <p:cNvSpPr txBox="1"/>
          <p:nvPr/>
        </p:nvSpPr>
        <p:spPr>
          <a:xfrm>
            <a:off x="3781769" y="2577206"/>
            <a:ext cx="1117460" cy="311150"/>
          </a:xfrm>
          <a:prstGeom prst="rect">
            <a:avLst/>
          </a:prstGeom>
        </p:spPr>
        <p:txBody>
          <a:bodyPr vert="horz" rtlCol="0" anchor="t"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2050" b="1" i="0" u="none" strike="noStrike" kern="1200" cap="none" spc="0" normalizeH="0" baseline="0" noProof="0" dirty="0">
                <a:ln>
                  <a:noFill/>
                </a:ln>
                <a:solidFill>
                  <a:srgbClr val="FFFFFF"/>
                </a:solidFill>
                <a:effectLst/>
                <a:uLnTx/>
                <a:uFillTx/>
                <a:latin typeface="OPPOSans B"/>
                <a:ea typeface="OPPOSans B"/>
                <a:cs typeface="+mn-cs"/>
              </a:rPr>
              <a:t>提成</a:t>
            </a:r>
            <a:endParaRPr kumimoji="0" lang="zh-CN" altLang="en-US" sz="900" b="1" i="0" u="none" strike="noStrike" kern="1200" cap="none" spc="0" normalizeH="0" baseline="0" noProof="0">
              <a:ln>
                <a:noFill/>
              </a:ln>
              <a:solidFill>
                <a:srgbClr val="000000"/>
              </a:solidFill>
              <a:effectLst/>
              <a:uLnTx/>
              <a:uFillTx/>
              <a:latin typeface="OPPOSans B"/>
              <a:ea typeface="OPPOSans B"/>
              <a:cs typeface="+mn-cs"/>
            </a:endParaRPr>
          </a:p>
        </p:txBody>
      </p:sp>
      <p:sp>
        <p:nvSpPr>
          <p:cNvPr id="1018" name="Object 1018"/>
          <p:cNvSpPr txBox="1"/>
          <p:nvPr/>
        </p:nvSpPr>
        <p:spPr>
          <a:xfrm>
            <a:off x="259978" y="1932967"/>
            <a:ext cx="313654" cy="3309715"/>
          </a:xfrm>
          <a:prstGeom prst="rect">
            <a:avLst/>
          </a:prstGeom>
        </p:spPr>
        <p:txBody>
          <a:bodyPr vert="eaVert" rtlCol="0" anchor="t"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100" b="0" i="0" u="none" strike="noStrike" kern="1200" cap="none" spc="1060" normalizeH="0" baseline="0" noProof="0" dirty="0">
                <a:ln>
                  <a:noFill/>
                </a:ln>
                <a:solidFill>
                  <a:srgbClr val="000000"/>
                </a:solidFill>
                <a:effectLst/>
                <a:uLnTx/>
                <a:uFillTx/>
                <a:latin typeface="OPPOSans R"/>
                <a:ea typeface="OPPOSans R"/>
                <a:cs typeface="+mn-cs"/>
              </a:rPr>
              <a:t>管</a:t>
            </a:r>
            <a:r>
              <a:rPr kumimoji="0" lang="en-US" altLang="zh-CN" sz="1100" b="0" i="0" u="none" strike="noStrike" kern="1200" cap="none" spc="1060" normalizeH="0" baseline="0" noProof="0" dirty="0">
                <a:ln>
                  <a:noFill/>
                </a:ln>
                <a:solidFill>
                  <a:srgbClr val="000000"/>
                </a:solidFill>
                <a:effectLst/>
                <a:uLnTx/>
                <a:uFillTx/>
                <a:latin typeface="OPPOSans R"/>
                <a:ea typeface="OPPOSans R"/>
                <a:cs typeface="+mn-cs"/>
              </a:rPr>
              <a:t>/</a:t>
            </a:r>
            <a:r>
              <a:rPr kumimoji="0" lang="zh-CN" altLang="en-US" sz="1100" b="0" i="0" u="none" strike="noStrike" kern="1200" cap="none" spc="1060" normalizeH="0" baseline="0" noProof="0" dirty="0">
                <a:ln>
                  <a:noFill/>
                </a:ln>
                <a:solidFill>
                  <a:srgbClr val="000000"/>
                </a:solidFill>
                <a:effectLst/>
                <a:uLnTx/>
                <a:uFillTx/>
                <a:latin typeface="OPPOSans R"/>
                <a:ea typeface="OPPOSans R"/>
                <a:cs typeface="+mn-cs"/>
              </a:rPr>
              <a:t>理</a:t>
            </a:r>
            <a:r>
              <a:rPr kumimoji="0" lang="en-US" altLang="zh-CN" sz="1100" b="0" i="0" u="none" strike="noStrike" kern="1200" cap="none" spc="1060" normalizeH="0" baseline="0" noProof="0" dirty="0">
                <a:ln>
                  <a:noFill/>
                </a:ln>
                <a:solidFill>
                  <a:srgbClr val="000000"/>
                </a:solidFill>
                <a:effectLst/>
                <a:uLnTx/>
                <a:uFillTx/>
                <a:latin typeface="OPPOSans R"/>
                <a:ea typeface="OPPOSans R"/>
                <a:cs typeface="+mn-cs"/>
              </a:rPr>
              <a:t>/</a:t>
            </a:r>
            <a:r>
              <a:rPr kumimoji="0" lang="zh-CN" altLang="en-US" sz="1100" b="0" i="0" u="none" strike="noStrike" kern="1200" cap="none" spc="1060" normalizeH="0" baseline="0" noProof="0" dirty="0">
                <a:ln>
                  <a:noFill/>
                </a:ln>
                <a:solidFill>
                  <a:srgbClr val="000000"/>
                </a:solidFill>
                <a:effectLst/>
                <a:uLnTx/>
                <a:uFillTx/>
                <a:latin typeface="OPPOSans R"/>
                <a:ea typeface="OPPOSans R"/>
                <a:cs typeface="+mn-cs"/>
              </a:rPr>
              <a:t>招</a:t>
            </a:r>
            <a:r>
              <a:rPr kumimoji="0" lang="en-US" altLang="zh-CN" sz="1100" b="0" i="0" u="none" strike="noStrike" kern="1200" cap="none" spc="1060" normalizeH="0" baseline="0" noProof="0" dirty="0">
                <a:ln>
                  <a:noFill/>
                </a:ln>
                <a:solidFill>
                  <a:srgbClr val="000000"/>
                </a:solidFill>
                <a:effectLst/>
                <a:uLnTx/>
                <a:uFillTx/>
                <a:latin typeface="OPPOSans R"/>
                <a:ea typeface="OPPOSans R"/>
                <a:cs typeface="+mn-cs"/>
              </a:rPr>
              <a:t>/</a:t>
            </a:r>
            <a:r>
              <a:rPr kumimoji="0" lang="zh-CN" altLang="en-US" sz="1100" b="0" i="0" u="none" strike="noStrike" kern="1200" cap="none" spc="1060" normalizeH="0" baseline="0" noProof="0" dirty="0">
                <a:ln>
                  <a:noFill/>
                </a:ln>
                <a:solidFill>
                  <a:srgbClr val="000000"/>
                </a:solidFill>
                <a:effectLst/>
                <a:uLnTx/>
                <a:uFillTx/>
                <a:latin typeface="OPPOSans R"/>
                <a:ea typeface="OPPOSans R"/>
                <a:cs typeface="+mn-cs"/>
              </a:rPr>
              <a:t>聘</a:t>
            </a:r>
            <a:r>
              <a:rPr kumimoji="0" lang="en-US" altLang="zh-CN" sz="1100" b="0" i="0" u="none" strike="noStrike" kern="1200" cap="none" spc="1060" normalizeH="0" baseline="0" noProof="0" dirty="0">
                <a:ln>
                  <a:noFill/>
                </a:ln>
                <a:solidFill>
                  <a:srgbClr val="000000"/>
                </a:solidFill>
                <a:effectLst/>
                <a:uLnTx/>
                <a:uFillTx/>
                <a:latin typeface="OPPOSans R"/>
                <a:ea typeface="OPPOSans R"/>
                <a:cs typeface="+mn-cs"/>
              </a:rPr>
              <a:t>/</a:t>
            </a:r>
            <a:r>
              <a:rPr kumimoji="0" lang="zh-CN" altLang="en-US" sz="1100" b="0" i="0" u="none" strike="noStrike" kern="1200" cap="none" spc="1060" normalizeH="0" baseline="0" noProof="0" dirty="0">
                <a:ln>
                  <a:noFill/>
                </a:ln>
                <a:solidFill>
                  <a:srgbClr val="000000"/>
                </a:solidFill>
                <a:effectLst/>
                <a:uLnTx/>
                <a:uFillTx/>
                <a:latin typeface="OPPOSans R"/>
                <a:ea typeface="OPPOSans R"/>
                <a:cs typeface="+mn-cs"/>
              </a:rPr>
              <a:t>宣</a:t>
            </a:r>
            <a:r>
              <a:rPr kumimoji="0" lang="en-US" altLang="zh-CN" sz="1100" b="0" i="0" u="none" strike="noStrike" kern="1200" cap="none" spc="1060" normalizeH="0" baseline="0" noProof="0" dirty="0">
                <a:ln>
                  <a:noFill/>
                </a:ln>
                <a:solidFill>
                  <a:srgbClr val="000000"/>
                </a:solidFill>
                <a:effectLst/>
                <a:uLnTx/>
                <a:uFillTx/>
                <a:latin typeface="OPPOSans R"/>
                <a:ea typeface="OPPOSans R"/>
                <a:cs typeface="+mn-cs"/>
              </a:rPr>
              <a:t>/</a:t>
            </a:r>
            <a:r>
              <a:rPr kumimoji="0" lang="zh-CN" altLang="en-US" sz="1100" b="0" i="0" u="none" strike="noStrike" kern="1200" cap="none" spc="1060" normalizeH="0" baseline="0" noProof="0" dirty="0">
                <a:ln>
                  <a:noFill/>
                </a:ln>
                <a:solidFill>
                  <a:srgbClr val="000000"/>
                </a:solidFill>
                <a:effectLst/>
                <a:uLnTx/>
                <a:uFillTx/>
                <a:latin typeface="OPPOSans R"/>
                <a:ea typeface="OPPOSans R"/>
                <a:cs typeface="+mn-cs"/>
              </a:rPr>
              <a:t>讲</a:t>
            </a:r>
            <a:r>
              <a:rPr kumimoji="0" lang="en-US" altLang="zh-CN" sz="1100" b="0" i="0" u="none" strike="noStrike" kern="1200" cap="none" spc="1060" normalizeH="0" baseline="0" noProof="0" dirty="0">
                <a:ln>
                  <a:noFill/>
                </a:ln>
                <a:solidFill>
                  <a:srgbClr val="000000"/>
                </a:solidFill>
                <a:effectLst/>
                <a:uLnTx/>
                <a:uFillTx/>
                <a:latin typeface="OPPOSans R"/>
                <a:ea typeface="OPPOSans R"/>
                <a:cs typeface="+mn-cs"/>
              </a:rPr>
              <a:t>/</a:t>
            </a:r>
            <a:r>
              <a:rPr kumimoji="0" lang="zh-CN" altLang="en-US" sz="1100" b="0" i="0" u="none" strike="noStrike" kern="1200" cap="none" spc="1060" normalizeH="0" baseline="0" noProof="0" dirty="0">
                <a:ln>
                  <a:noFill/>
                </a:ln>
                <a:solidFill>
                  <a:srgbClr val="000000"/>
                </a:solidFill>
                <a:effectLst/>
                <a:uLnTx/>
                <a:uFillTx/>
                <a:latin typeface="OPPOSans R"/>
                <a:ea typeface="OPPOSans R"/>
                <a:cs typeface="+mn-cs"/>
              </a:rPr>
              <a:t>会</a:t>
            </a:r>
            <a:endParaRPr kumimoji="0" lang="zh-CN" altLang="en-US" sz="900" b="0" i="0" u="none" strike="noStrike" kern="1200" cap="none" spc="0" normalizeH="0" baseline="0" noProof="0" dirty="0">
              <a:ln>
                <a:noFill/>
              </a:ln>
              <a:solidFill>
                <a:srgbClr val="000000"/>
              </a:solidFill>
              <a:effectLst/>
              <a:uLnTx/>
              <a:uFillTx/>
              <a:latin typeface="OPPOSans R"/>
              <a:ea typeface="OPPOSans R"/>
              <a:cs typeface="+mn-cs"/>
            </a:endParaRPr>
          </a:p>
        </p:txBody>
      </p:sp>
      <p:sp>
        <p:nvSpPr>
          <p:cNvPr id="1032" name="Object 1032"/>
          <p:cNvSpPr txBox="1"/>
          <p:nvPr/>
        </p:nvSpPr>
        <p:spPr>
          <a:xfrm>
            <a:off x="8400332" y="2405756"/>
            <a:ext cx="3184547" cy="323850"/>
          </a:xfrm>
          <a:prstGeom prst="rect">
            <a:avLst/>
          </a:prstGeom>
        </p:spPr>
        <p:txBody>
          <a:bodyPr vert="horz" lIns="0" tIns="0" rIns="0" bIns="0" rtlCol="0" anchor="t" anchorCtr="0">
            <a:noAutofit/>
          </a:bodyPr>
          <a:lstStyle/>
          <a:p>
            <a:pPr marL="0" marR="0" lvl="0" indent="0" algn="l" defTabSz="914400" rtl="0" eaLnBrk="1" fontAlgn="auto" latinLnBrk="0" hangingPunct="1">
              <a:lnSpc>
                <a:spcPct val="122500"/>
              </a:lnSpc>
              <a:spcBef>
                <a:spcPts val="0"/>
              </a:spcBef>
              <a:spcAft>
                <a:spcPts val="0"/>
              </a:spcAft>
              <a:buClrTx/>
              <a:buSzTx/>
              <a:buFontTx/>
              <a:buNone/>
              <a:tabLst/>
              <a:defRPr/>
            </a:pPr>
            <a:r>
              <a:rPr kumimoji="0" lang="zh-CN" altLang="en-US" sz="1750" b="0" i="0" u="none" strike="noStrike" kern="1200" cap="none" spc="0" normalizeH="0" baseline="0" noProof="0" dirty="0">
                <a:ln>
                  <a:noFill/>
                </a:ln>
                <a:solidFill>
                  <a:srgbClr val="FFFFFF">
                    <a:lumMod val="50000"/>
                  </a:srgbClr>
                </a:solidFill>
                <a:effectLst/>
                <a:uLnTx/>
                <a:uFillTx/>
                <a:latin typeface="OPPOSans R"/>
                <a:ea typeface="OPPOSans R"/>
                <a:cs typeface="+mn-cs"/>
              </a:rPr>
              <a:t>员工做完咨询投资，有提成</a:t>
            </a:r>
            <a:endParaRPr kumimoji="0" lang="zh-CN" altLang="en-US" sz="900" b="0" i="0" u="none" strike="noStrike" kern="1200" cap="none" spc="0" normalizeH="0" baseline="0" noProof="0" dirty="0">
              <a:ln>
                <a:noFill/>
              </a:ln>
              <a:solidFill>
                <a:srgbClr val="FFFFFF">
                  <a:lumMod val="50000"/>
                </a:srgbClr>
              </a:solidFill>
              <a:effectLst/>
              <a:uLnTx/>
              <a:uFillTx/>
              <a:latin typeface="OPPOSans R"/>
              <a:ea typeface="OPPOSans R"/>
              <a:cs typeface="+mn-cs"/>
            </a:endParaRPr>
          </a:p>
        </p:txBody>
      </p:sp>
      <p:sp>
        <p:nvSpPr>
          <p:cNvPr id="1033" name="Object 1033"/>
          <p:cNvSpPr txBox="1"/>
          <p:nvPr/>
        </p:nvSpPr>
        <p:spPr>
          <a:xfrm>
            <a:off x="8399141" y="2016918"/>
            <a:ext cx="1627625" cy="355600"/>
          </a:xfrm>
          <a:prstGeom prst="rect">
            <a:avLst/>
          </a:prstGeom>
        </p:spPr>
        <p:txBody>
          <a:bodyPr vert="horz" lIns="0" tIns="0" rIns="0" bIns="0" rtlCol="0" anchor="t" anchorCtr="0">
            <a:noAutofit/>
          </a:bodyPr>
          <a:lstStyle/>
          <a:p>
            <a:pPr marL="0" marR="0" lvl="0" indent="0" algn="l" defTabSz="914400" rtl="0" eaLnBrk="1" fontAlgn="auto" latinLnBrk="0" hangingPunct="1">
              <a:lnSpc>
                <a:spcPct val="122500"/>
              </a:lnSpc>
              <a:spcBef>
                <a:spcPts val="0"/>
              </a:spcBef>
              <a:spcAft>
                <a:spcPts val="0"/>
              </a:spcAft>
              <a:buClrTx/>
              <a:buSzTx/>
              <a:buFontTx/>
              <a:buNone/>
              <a:tabLst/>
              <a:defRPr/>
            </a:pPr>
            <a:r>
              <a:rPr kumimoji="0" lang="zh-CN" altLang="en-US" sz="1900" b="1" i="0" u="none" strike="noStrike" kern="1200" cap="none" spc="0" normalizeH="0" baseline="0" noProof="0" dirty="0">
                <a:ln>
                  <a:noFill/>
                </a:ln>
                <a:solidFill>
                  <a:srgbClr val="000000">
                    <a:lumMod val="75000"/>
                    <a:lumOff val="25000"/>
                  </a:srgbClr>
                </a:solidFill>
                <a:effectLst/>
                <a:uLnTx/>
                <a:uFillTx/>
                <a:latin typeface="OPPOSans B"/>
                <a:ea typeface="OPPOSans B"/>
                <a:cs typeface="+mn-cs"/>
              </a:rPr>
              <a:t>项目提成</a:t>
            </a:r>
            <a:endParaRPr kumimoji="0" lang="zh-CN" altLang="en-US" sz="900" b="1" i="0" u="none" strike="noStrike" kern="1200" cap="none" spc="0" normalizeH="0" baseline="0" noProof="0" dirty="0">
              <a:ln>
                <a:noFill/>
              </a:ln>
              <a:solidFill>
                <a:srgbClr val="000000">
                  <a:lumMod val="75000"/>
                  <a:lumOff val="25000"/>
                </a:srgbClr>
              </a:solidFill>
              <a:effectLst/>
              <a:uLnTx/>
              <a:uFillTx/>
              <a:latin typeface="OPPOSans B"/>
              <a:ea typeface="OPPOSans B"/>
              <a:cs typeface="+mn-cs"/>
            </a:endParaRPr>
          </a:p>
        </p:txBody>
      </p:sp>
      <p:sp>
        <p:nvSpPr>
          <p:cNvPr id="1035" name="Object 1035"/>
          <p:cNvSpPr txBox="1"/>
          <p:nvPr/>
        </p:nvSpPr>
        <p:spPr>
          <a:xfrm>
            <a:off x="8405193" y="3415490"/>
            <a:ext cx="2670587" cy="323850"/>
          </a:xfrm>
          <a:prstGeom prst="rect">
            <a:avLst/>
          </a:prstGeom>
        </p:spPr>
        <p:txBody>
          <a:bodyPr vert="horz" lIns="0" tIns="0" rIns="0" bIns="0" rtlCol="0" anchor="t" anchorCtr="0">
            <a:noAutofit/>
          </a:bodyPr>
          <a:lstStyle/>
          <a:p>
            <a:pPr marL="0" marR="0" lvl="0" indent="0" algn="l" defTabSz="914400" rtl="0" eaLnBrk="1" fontAlgn="auto" latinLnBrk="0" hangingPunct="1">
              <a:lnSpc>
                <a:spcPct val="122500"/>
              </a:lnSpc>
              <a:spcBef>
                <a:spcPts val="0"/>
              </a:spcBef>
              <a:spcAft>
                <a:spcPts val="0"/>
              </a:spcAft>
              <a:buClrTx/>
              <a:buSzTx/>
              <a:buFontTx/>
              <a:buNone/>
              <a:tabLst/>
              <a:defRPr/>
            </a:pPr>
            <a:r>
              <a:rPr kumimoji="0" lang="zh-CN" altLang="en-US" sz="1750" b="0" i="0" u="none" strike="noStrike" kern="1200" cap="none" spc="0" normalizeH="0" baseline="0" noProof="0" dirty="0">
                <a:ln>
                  <a:noFill/>
                </a:ln>
                <a:solidFill>
                  <a:srgbClr val="FFFFFF">
                    <a:lumMod val="50000"/>
                  </a:srgbClr>
                </a:solidFill>
                <a:effectLst/>
                <a:uLnTx/>
                <a:uFillTx/>
                <a:latin typeface="OPPOSans R"/>
                <a:ea typeface="OPPOSans R"/>
                <a:cs typeface="+mn-cs"/>
              </a:rPr>
              <a:t>研究院分红可得</a:t>
            </a:r>
            <a:r>
              <a:rPr kumimoji="0" lang="en-US" altLang="zh-CN" sz="1750" b="0" i="0" u="none" strike="noStrike" kern="1200" cap="none" spc="0" normalizeH="0" baseline="0" noProof="0" dirty="0">
                <a:ln>
                  <a:noFill/>
                </a:ln>
                <a:solidFill>
                  <a:srgbClr val="FFFFFF">
                    <a:lumMod val="50000"/>
                  </a:srgbClr>
                </a:solidFill>
                <a:effectLst/>
                <a:uLnTx/>
                <a:uFillTx/>
                <a:latin typeface="OPPOSans R"/>
                <a:ea typeface="OPPOSans R"/>
                <a:cs typeface="+mn-cs"/>
              </a:rPr>
              <a:t>100w</a:t>
            </a:r>
            <a:endParaRPr kumimoji="0" lang="zh-CN" altLang="en-US" sz="900" b="0" i="0" u="none" strike="noStrike" kern="1200" cap="none" spc="0" normalizeH="0" baseline="0" noProof="0" dirty="0">
              <a:ln>
                <a:noFill/>
              </a:ln>
              <a:solidFill>
                <a:srgbClr val="FFFFFF">
                  <a:lumMod val="50000"/>
                </a:srgbClr>
              </a:solidFill>
              <a:effectLst/>
              <a:uLnTx/>
              <a:uFillTx/>
              <a:latin typeface="OPPOSans R"/>
              <a:ea typeface="OPPOSans R"/>
              <a:cs typeface="+mn-cs"/>
            </a:endParaRPr>
          </a:p>
        </p:txBody>
      </p:sp>
      <p:sp>
        <p:nvSpPr>
          <p:cNvPr id="1036" name="Object 1036"/>
          <p:cNvSpPr txBox="1"/>
          <p:nvPr/>
        </p:nvSpPr>
        <p:spPr>
          <a:xfrm>
            <a:off x="8399141" y="3064553"/>
            <a:ext cx="1568088" cy="355600"/>
          </a:xfrm>
          <a:prstGeom prst="rect">
            <a:avLst/>
          </a:prstGeom>
        </p:spPr>
        <p:txBody>
          <a:bodyPr vert="horz" lIns="0" tIns="0" rIns="0" bIns="0" rtlCol="0" anchor="t" anchorCtr="0">
            <a:noAutofit/>
          </a:bodyPr>
          <a:lstStyle/>
          <a:p>
            <a:pPr marL="0" marR="0" lvl="0" indent="0" algn="l" defTabSz="914400" rtl="0" eaLnBrk="1" fontAlgn="auto" latinLnBrk="0" hangingPunct="1">
              <a:lnSpc>
                <a:spcPct val="122500"/>
              </a:lnSpc>
              <a:spcBef>
                <a:spcPts val="0"/>
              </a:spcBef>
              <a:spcAft>
                <a:spcPts val="0"/>
              </a:spcAft>
              <a:buClrTx/>
              <a:buSzTx/>
              <a:buFontTx/>
              <a:buNone/>
              <a:tabLst/>
              <a:defRPr/>
            </a:pPr>
            <a:r>
              <a:rPr kumimoji="0" lang="zh-CN" altLang="en-US" sz="1900" b="1" i="0" u="none" strike="noStrike" kern="1200" cap="none" spc="0" normalizeH="0" baseline="0" noProof="0" dirty="0">
                <a:ln>
                  <a:noFill/>
                </a:ln>
                <a:solidFill>
                  <a:srgbClr val="000000">
                    <a:lumMod val="75000"/>
                    <a:lumOff val="25000"/>
                  </a:srgbClr>
                </a:solidFill>
                <a:effectLst/>
                <a:uLnTx/>
                <a:uFillTx/>
                <a:latin typeface="OPPOSans B"/>
                <a:ea typeface="OPPOSans B"/>
                <a:cs typeface="+mn-cs"/>
              </a:rPr>
              <a:t>股权分红</a:t>
            </a:r>
            <a:endParaRPr kumimoji="0" lang="zh-CN" altLang="en-US" sz="900" b="1" i="0" u="none" strike="noStrike" kern="1200" cap="none" spc="0" normalizeH="0" baseline="0" noProof="0">
              <a:ln>
                <a:noFill/>
              </a:ln>
              <a:solidFill>
                <a:srgbClr val="000000">
                  <a:lumMod val="75000"/>
                  <a:lumOff val="25000"/>
                </a:srgbClr>
              </a:solidFill>
              <a:effectLst/>
              <a:uLnTx/>
              <a:uFillTx/>
              <a:latin typeface="OPPOSans B"/>
              <a:ea typeface="OPPOSans B"/>
              <a:cs typeface="+mn-cs"/>
            </a:endParaRPr>
          </a:p>
        </p:txBody>
      </p:sp>
      <p:sp>
        <p:nvSpPr>
          <p:cNvPr id="1038" name="Object 1038"/>
          <p:cNvSpPr txBox="1"/>
          <p:nvPr/>
        </p:nvSpPr>
        <p:spPr>
          <a:xfrm>
            <a:off x="8399835" y="4424330"/>
            <a:ext cx="2581283" cy="323850"/>
          </a:xfrm>
          <a:prstGeom prst="rect">
            <a:avLst/>
          </a:prstGeom>
        </p:spPr>
        <p:txBody>
          <a:bodyPr vert="horz" lIns="0" tIns="0" rIns="0" bIns="0" rtlCol="0" anchor="t" anchorCtr="0">
            <a:noAutofit/>
          </a:bodyPr>
          <a:lstStyle/>
          <a:p>
            <a:pPr marL="0" marR="0" lvl="0" indent="0" algn="l" defTabSz="914400" rtl="0" eaLnBrk="1" fontAlgn="auto" latinLnBrk="0" hangingPunct="1">
              <a:lnSpc>
                <a:spcPct val="122500"/>
              </a:lnSpc>
              <a:spcBef>
                <a:spcPts val="0"/>
              </a:spcBef>
              <a:spcAft>
                <a:spcPts val="0"/>
              </a:spcAft>
              <a:buClrTx/>
              <a:buSzTx/>
              <a:buFontTx/>
              <a:buNone/>
              <a:tabLst/>
              <a:defRPr/>
            </a:pPr>
            <a:r>
              <a:rPr kumimoji="0" lang="zh-CN" altLang="en-US" sz="1750" b="0" i="0" u="none" strike="noStrike" kern="1200" cap="none" spc="0" normalizeH="0" baseline="0" noProof="0" dirty="0">
                <a:ln>
                  <a:noFill/>
                </a:ln>
                <a:solidFill>
                  <a:srgbClr val="FFFFFF">
                    <a:lumMod val="50000"/>
                  </a:srgbClr>
                </a:solidFill>
                <a:effectLst/>
                <a:uLnTx/>
                <a:uFillTx/>
                <a:latin typeface="OPPOSans R"/>
                <a:ea typeface="OPPOSans R"/>
                <a:cs typeface="+mn-cs"/>
              </a:rPr>
              <a:t>最高者可获</a:t>
            </a:r>
            <a:r>
              <a:rPr kumimoji="0" lang="en-US" altLang="zh-CN" sz="1750" b="0" i="0" u="none" strike="noStrike" kern="1200" cap="none" spc="0" normalizeH="0" baseline="0" noProof="0" dirty="0">
                <a:ln>
                  <a:noFill/>
                </a:ln>
                <a:solidFill>
                  <a:srgbClr val="FFFFFF">
                    <a:lumMod val="50000"/>
                  </a:srgbClr>
                </a:solidFill>
                <a:effectLst/>
                <a:uLnTx/>
                <a:uFillTx/>
                <a:latin typeface="OPPOSans R"/>
                <a:ea typeface="OPPOSans R"/>
                <a:cs typeface="+mn-cs"/>
              </a:rPr>
              <a:t>30</a:t>
            </a:r>
            <a:r>
              <a:rPr kumimoji="0" lang="zh-CN" altLang="en-US" sz="1750" b="0" i="0" u="none" strike="noStrike" kern="1200" cap="none" spc="0" normalizeH="0" baseline="0" noProof="0" dirty="0">
                <a:ln>
                  <a:noFill/>
                </a:ln>
                <a:solidFill>
                  <a:srgbClr val="FFFFFF">
                    <a:lumMod val="50000"/>
                  </a:srgbClr>
                </a:solidFill>
                <a:effectLst/>
                <a:uLnTx/>
                <a:uFillTx/>
                <a:latin typeface="OPPOSans R"/>
                <a:ea typeface="OPPOSans R"/>
                <a:cs typeface="+mn-cs"/>
              </a:rPr>
              <a:t>月薪资</a:t>
            </a:r>
            <a:endParaRPr kumimoji="0" lang="zh-CN" altLang="en-US" sz="900" b="0" i="0" u="none" strike="noStrike" kern="1200" cap="none" spc="0" normalizeH="0" baseline="0" noProof="0" dirty="0">
              <a:ln>
                <a:noFill/>
              </a:ln>
              <a:solidFill>
                <a:srgbClr val="FFFFFF">
                  <a:lumMod val="50000"/>
                </a:srgbClr>
              </a:solidFill>
              <a:effectLst/>
              <a:uLnTx/>
              <a:uFillTx/>
              <a:latin typeface="OPPOSans R"/>
              <a:ea typeface="OPPOSans R"/>
              <a:cs typeface="+mn-cs"/>
            </a:endParaRPr>
          </a:p>
        </p:txBody>
      </p:sp>
      <p:sp>
        <p:nvSpPr>
          <p:cNvPr id="1039" name="Object 1039"/>
          <p:cNvSpPr txBox="1"/>
          <p:nvPr/>
        </p:nvSpPr>
        <p:spPr>
          <a:xfrm>
            <a:off x="8399141" y="4074286"/>
            <a:ext cx="1379555" cy="355600"/>
          </a:xfrm>
          <a:prstGeom prst="rect">
            <a:avLst/>
          </a:prstGeom>
        </p:spPr>
        <p:txBody>
          <a:bodyPr vert="horz" lIns="0" tIns="0" rIns="0" bIns="0" rtlCol="0" anchor="t" anchorCtr="0">
            <a:noAutofit/>
          </a:bodyPr>
          <a:lstStyle/>
          <a:p>
            <a:pPr marL="0" marR="0" lvl="0" indent="0" algn="l" defTabSz="914400" rtl="0" eaLnBrk="1" fontAlgn="auto" latinLnBrk="0" hangingPunct="1">
              <a:lnSpc>
                <a:spcPct val="122500"/>
              </a:lnSpc>
              <a:spcBef>
                <a:spcPts val="0"/>
              </a:spcBef>
              <a:spcAft>
                <a:spcPts val="0"/>
              </a:spcAft>
              <a:buClrTx/>
              <a:buSzTx/>
              <a:buFontTx/>
              <a:buNone/>
              <a:tabLst/>
              <a:defRPr/>
            </a:pPr>
            <a:r>
              <a:rPr kumimoji="0" lang="zh-CN" altLang="en-US" sz="1900" b="1" i="0" u="none" strike="noStrike" kern="1200" cap="none" spc="0" normalizeH="0" baseline="0" noProof="0" dirty="0">
                <a:ln>
                  <a:noFill/>
                </a:ln>
                <a:solidFill>
                  <a:srgbClr val="000000">
                    <a:lumMod val="75000"/>
                    <a:lumOff val="25000"/>
                  </a:srgbClr>
                </a:solidFill>
                <a:effectLst/>
                <a:uLnTx/>
                <a:uFillTx/>
                <a:latin typeface="OPPOSans B"/>
                <a:ea typeface="OPPOSans B"/>
                <a:cs typeface="+mn-cs"/>
              </a:rPr>
              <a:t>年度奖金</a:t>
            </a:r>
            <a:endParaRPr kumimoji="0" lang="zh-CN" altLang="en-US" sz="900" b="1" i="0" u="none" strike="noStrike" kern="1200" cap="none" spc="0" normalizeH="0" baseline="0" noProof="0">
              <a:ln>
                <a:noFill/>
              </a:ln>
              <a:solidFill>
                <a:srgbClr val="000000">
                  <a:lumMod val="75000"/>
                  <a:lumOff val="25000"/>
                </a:srgbClr>
              </a:solidFill>
              <a:effectLst/>
              <a:uLnTx/>
              <a:uFillTx/>
              <a:latin typeface="OPPOSans B"/>
              <a:ea typeface="OPPOSans B"/>
              <a:cs typeface="+mn-cs"/>
            </a:endParaRPr>
          </a:p>
        </p:txBody>
      </p:sp>
      <p:sp>
        <p:nvSpPr>
          <p:cNvPr id="1041" name="Object 1041"/>
          <p:cNvSpPr txBox="1"/>
          <p:nvPr/>
        </p:nvSpPr>
        <p:spPr>
          <a:xfrm>
            <a:off x="8399141" y="5493293"/>
            <a:ext cx="2501900" cy="266700"/>
          </a:xfrm>
          <a:prstGeom prst="rect">
            <a:avLst/>
          </a:prstGeom>
        </p:spPr>
        <p:txBody>
          <a:bodyPr vert="horz" lIns="0" tIns="0" rIns="0" bIns="0"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750" b="0" i="0" u="none" strike="noStrike" kern="1200" cap="none" spc="0" normalizeH="0" baseline="0" noProof="0" dirty="0">
                <a:ln>
                  <a:noFill/>
                </a:ln>
                <a:solidFill>
                  <a:srgbClr val="FFFFFF">
                    <a:lumMod val="50000"/>
                  </a:srgbClr>
                </a:solidFill>
                <a:effectLst/>
                <a:uLnTx/>
                <a:uFillTx/>
                <a:latin typeface="OPPOSans R"/>
                <a:ea typeface="OPPOSans R"/>
                <a:cs typeface="+mn-cs"/>
              </a:rPr>
              <a:t>底薪</a:t>
            </a:r>
            <a:r>
              <a:rPr kumimoji="0" lang="en-US" altLang="zh-CN" sz="1750" b="0" i="0" u="none" strike="noStrike" kern="1200" cap="none" spc="0" normalizeH="0" baseline="0" noProof="0" dirty="0">
                <a:ln>
                  <a:noFill/>
                </a:ln>
                <a:solidFill>
                  <a:srgbClr val="FFFFFF">
                    <a:lumMod val="50000"/>
                  </a:srgbClr>
                </a:solidFill>
                <a:effectLst/>
                <a:uLnTx/>
                <a:uFillTx/>
                <a:latin typeface="OPPOSans R"/>
                <a:ea typeface="OPPOSans R"/>
                <a:cs typeface="+mn-cs"/>
              </a:rPr>
              <a:t>1w5</a:t>
            </a:r>
            <a:r>
              <a:rPr kumimoji="0" lang="zh-CN" altLang="en-US" sz="1750" b="0" i="0" u="none" strike="noStrike" kern="1200" cap="none" spc="0" normalizeH="0" baseline="0" noProof="0" dirty="0">
                <a:ln>
                  <a:noFill/>
                </a:ln>
                <a:solidFill>
                  <a:srgbClr val="FFFFFF">
                    <a:lumMod val="50000"/>
                  </a:srgbClr>
                </a:solidFill>
                <a:effectLst/>
                <a:uLnTx/>
                <a:uFillTx/>
                <a:latin typeface="OPPOSans R"/>
                <a:ea typeface="OPPOSans R"/>
                <a:cs typeface="+mn-cs"/>
              </a:rPr>
              <a:t>起步</a:t>
            </a:r>
            <a:endParaRPr kumimoji="0" lang="zh-CN" altLang="en-US" sz="900" b="0" i="0" u="none" strike="noStrike" kern="1200" cap="none" spc="0" normalizeH="0" baseline="0" noProof="0" dirty="0">
              <a:ln>
                <a:noFill/>
              </a:ln>
              <a:solidFill>
                <a:srgbClr val="FFFFFF">
                  <a:lumMod val="50000"/>
                </a:srgbClr>
              </a:solidFill>
              <a:effectLst/>
              <a:uLnTx/>
              <a:uFillTx/>
              <a:latin typeface="OPPOSans R"/>
              <a:ea typeface="OPPOSans R"/>
              <a:cs typeface="+mn-cs"/>
            </a:endParaRPr>
          </a:p>
        </p:txBody>
      </p:sp>
      <p:sp>
        <p:nvSpPr>
          <p:cNvPr id="1042" name="Object 1042"/>
          <p:cNvSpPr txBox="1"/>
          <p:nvPr/>
        </p:nvSpPr>
        <p:spPr>
          <a:xfrm>
            <a:off x="8402812" y="5083127"/>
            <a:ext cx="1528397" cy="355600"/>
          </a:xfrm>
          <a:prstGeom prst="rect">
            <a:avLst/>
          </a:prstGeom>
        </p:spPr>
        <p:txBody>
          <a:bodyPr vert="horz" lIns="0" tIns="0" rIns="0" bIns="0" rtlCol="0" anchor="t" anchorCtr="0">
            <a:noAutofit/>
          </a:bodyPr>
          <a:lstStyle/>
          <a:p>
            <a:pPr marL="0" marR="0" lvl="0" indent="0" algn="l" defTabSz="914400" rtl="0" eaLnBrk="1" fontAlgn="auto" latinLnBrk="0" hangingPunct="1">
              <a:lnSpc>
                <a:spcPct val="122500"/>
              </a:lnSpc>
              <a:spcBef>
                <a:spcPts val="0"/>
              </a:spcBef>
              <a:spcAft>
                <a:spcPts val="0"/>
              </a:spcAft>
              <a:buClrTx/>
              <a:buSzTx/>
              <a:buFontTx/>
              <a:buNone/>
              <a:tabLst/>
              <a:defRPr/>
            </a:pPr>
            <a:r>
              <a:rPr kumimoji="0" lang="zh-CN" altLang="en-US" sz="1900" b="1" i="0" u="none" strike="noStrike" kern="1200" cap="none" spc="0" normalizeH="0" baseline="0" noProof="0" dirty="0">
                <a:ln>
                  <a:noFill/>
                </a:ln>
                <a:solidFill>
                  <a:srgbClr val="000000">
                    <a:lumMod val="75000"/>
                    <a:lumOff val="25000"/>
                  </a:srgbClr>
                </a:solidFill>
                <a:effectLst/>
                <a:uLnTx/>
                <a:uFillTx/>
                <a:latin typeface="OPPOSans B"/>
                <a:ea typeface="OPPOSans B"/>
                <a:cs typeface="+mn-cs"/>
              </a:rPr>
              <a:t>基本工资</a:t>
            </a:r>
            <a:endParaRPr kumimoji="0" lang="zh-CN" altLang="en-US" sz="900" b="1" i="0" u="none" strike="noStrike" kern="1200" cap="none" spc="0" normalizeH="0" baseline="0" noProof="0" dirty="0">
              <a:ln>
                <a:noFill/>
              </a:ln>
              <a:solidFill>
                <a:srgbClr val="000000">
                  <a:lumMod val="75000"/>
                  <a:lumOff val="25000"/>
                </a:srgbClr>
              </a:solidFill>
              <a:effectLst/>
              <a:uLnTx/>
              <a:uFillTx/>
              <a:latin typeface="OPPOSans B"/>
              <a:ea typeface="OPPOSans B"/>
              <a:cs typeface="+mn-cs"/>
            </a:endParaRPr>
          </a:p>
        </p:txBody>
      </p:sp>
      <p:sp>
        <p:nvSpPr>
          <p:cNvPr id="46" name="Object 1014">
            <a:extLst>
              <a:ext uri="{FF2B5EF4-FFF2-40B4-BE49-F238E27FC236}">
                <a16:creationId xmlns:a16="http://schemas.microsoft.com/office/drawing/2014/main" id="{1956DD5E-2075-4CEB-8AC8-888A01781E92}"/>
              </a:ext>
            </a:extLst>
          </p:cNvPr>
          <p:cNvSpPr txBox="1"/>
          <p:nvPr/>
        </p:nvSpPr>
        <p:spPr>
          <a:xfrm>
            <a:off x="747432" y="1023081"/>
            <a:ext cx="3406419" cy="260350"/>
          </a:xfrm>
          <a:prstGeom prst="rect">
            <a:avLst/>
          </a:prstGeom>
        </p:spPr>
        <p:txBody>
          <a:bodyPr vert="horz"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700" b="0" i="0" u="none" strike="noStrike" kern="1200" cap="none" spc="0" normalizeH="0" baseline="0" noProof="0" dirty="0">
                <a:ln>
                  <a:noFill/>
                </a:ln>
                <a:solidFill>
                  <a:srgbClr val="000000">
                    <a:lumMod val="50000"/>
                    <a:lumOff val="50000"/>
                  </a:srgbClr>
                </a:solidFill>
                <a:effectLst/>
                <a:uLnTx/>
                <a:uFillTx/>
                <a:latin typeface="OPPOSans R"/>
                <a:ea typeface="OPPOSans-R"/>
                <a:cs typeface="+mn-cs"/>
              </a:rPr>
              <a:t>Enter a title here</a:t>
            </a:r>
            <a:endParaRPr kumimoji="0" lang="zh-CN" altLang="en-US" sz="900" b="0" i="0" u="none" strike="noStrike" kern="1200" cap="none" spc="0" normalizeH="0" baseline="0" noProof="0" dirty="0">
              <a:ln>
                <a:noFill/>
              </a:ln>
              <a:solidFill>
                <a:srgbClr val="000000">
                  <a:lumMod val="50000"/>
                  <a:lumOff val="50000"/>
                </a:srgbClr>
              </a:solidFill>
              <a:effectLst/>
              <a:uLnTx/>
              <a:uFillTx/>
              <a:latin typeface="OPPOSans R"/>
              <a:ea typeface="OPPOSans R"/>
              <a:cs typeface="+mn-cs"/>
            </a:endParaRPr>
          </a:p>
        </p:txBody>
      </p:sp>
      <p:sp>
        <p:nvSpPr>
          <p:cNvPr id="47" name="Object 1015">
            <a:extLst>
              <a:ext uri="{FF2B5EF4-FFF2-40B4-BE49-F238E27FC236}">
                <a16:creationId xmlns:a16="http://schemas.microsoft.com/office/drawing/2014/main" id="{DD4E7E55-BFBA-4A48-8608-D80BF99778AD}"/>
              </a:ext>
            </a:extLst>
          </p:cNvPr>
          <p:cNvSpPr txBox="1"/>
          <p:nvPr/>
        </p:nvSpPr>
        <p:spPr>
          <a:xfrm>
            <a:off x="731855" y="567767"/>
            <a:ext cx="3421995" cy="457200"/>
          </a:xfrm>
          <a:prstGeom prst="rect">
            <a:avLst/>
          </a:prstGeom>
        </p:spPr>
        <p:txBody>
          <a:bodyPr vert="horz"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3000" b="1" i="0" u="none" strike="noStrike" kern="1200" cap="none" spc="0" normalizeH="0" baseline="0" noProof="0" dirty="0">
                <a:ln>
                  <a:noFill/>
                </a:ln>
                <a:solidFill>
                  <a:srgbClr val="000000"/>
                </a:solidFill>
                <a:effectLst/>
                <a:uLnTx/>
                <a:uFillTx/>
                <a:latin typeface="OPPOSans B"/>
                <a:ea typeface="OPPOSans B"/>
                <a:cs typeface="+mn-cs"/>
              </a:rPr>
              <a:t>在此输入标题</a:t>
            </a:r>
            <a:endParaRPr kumimoji="0" lang="zh-CN" altLang="en-US" sz="900" b="1" i="0" u="none" strike="noStrike" kern="1200" cap="none" spc="0" normalizeH="0" baseline="0" noProof="0" dirty="0">
              <a:ln>
                <a:noFill/>
              </a:ln>
              <a:solidFill>
                <a:srgbClr val="000000"/>
              </a:solidFill>
              <a:effectLst/>
              <a:uLnTx/>
              <a:uFillTx/>
              <a:latin typeface="OPPOSans B"/>
              <a:ea typeface="OPPOSans B"/>
              <a:cs typeface="+mn-cs"/>
            </a:endParaRPr>
          </a:p>
        </p:txBody>
      </p:sp>
      <p:cxnSp>
        <p:nvCxnSpPr>
          <p:cNvPr id="52" name="直接连接符 51">
            <a:extLst>
              <a:ext uri="{FF2B5EF4-FFF2-40B4-BE49-F238E27FC236}">
                <a16:creationId xmlns:a16="http://schemas.microsoft.com/office/drawing/2014/main" id="{69350CCB-72D7-470C-9E17-0ED155EF8719}"/>
              </a:ext>
            </a:extLst>
          </p:cNvPr>
          <p:cNvCxnSpPr>
            <a:cxnSpLocks/>
          </p:cNvCxnSpPr>
          <p:nvPr/>
        </p:nvCxnSpPr>
        <p:spPr>
          <a:xfrm>
            <a:off x="6129316" y="2300237"/>
            <a:ext cx="2112659" cy="15875"/>
          </a:xfrm>
          <a:prstGeom prst="line">
            <a:avLst/>
          </a:prstGeom>
          <a:ln w="15875">
            <a:solidFill>
              <a:schemeClr val="accent1">
                <a:lumMod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54" name="直接连接符 53">
            <a:extLst>
              <a:ext uri="{FF2B5EF4-FFF2-40B4-BE49-F238E27FC236}">
                <a16:creationId xmlns:a16="http://schemas.microsoft.com/office/drawing/2014/main" id="{A1319C93-74B1-400E-8E49-CCA611B868A6}"/>
              </a:ext>
            </a:extLst>
          </p:cNvPr>
          <p:cNvCxnSpPr>
            <a:cxnSpLocks/>
          </p:cNvCxnSpPr>
          <p:nvPr/>
        </p:nvCxnSpPr>
        <p:spPr>
          <a:xfrm>
            <a:off x="6362671" y="3258275"/>
            <a:ext cx="1879304" cy="14122"/>
          </a:xfrm>
          <a:prstGeom prst="line">
            <a:avLst/>
          </a:prstGeom>
          <a:ln w="15875">
            <a:solidFill>
              <a:schemeClr val="accent1">
                <a:lumMod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56" name="直接连接符 55">
            <a:extLst>
              <a:ext uri="{FF2B5EF4-FFF2-40B4-BE49-F238E27FC236}">
                <a16:creationId xmlns:a16="http://schemas.microsoft.com/office/drawing/2014/main" id="{8ED742F3-EA51-4520-B460-A51FB376CAA6}"/>
              </a:ext>
            </a:extLst>
          </p:cNvPr>
          <p:cNvCxnSpPr>
            <a:cxnSpLocks/>
          </p:cNvCxnSpPr>
          <p:nvPr/>
        </p:nvCxnSpPr>
        <p:spPr>
          <a:xfrm>
            <a:off x="6949715" y="4300618"/>
            <a:ext cx="1292260" cy="0"/>
          </a:xfrm>
          <a:prstGeom prst="line">
            <a:avLst/>
          </a:prstGeom>
          <a:ln w="15875">
            <a:solidFill>
              <a:schemeClr val="accent1">
                <a:lumMod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58" name="直接连接符 57">
            <a:extLst>
              <a:ext uri="{FF2B5EF4-FFF2-40B4-BE49-F238E27FC236}">
                <a16:creationId xmlns:a16="http://schemas.microsoft.com/office/drawing/2014/main" id="{B8B14CEE-25D2-4428-BB1F-D3A8AF0FFE3C}"/>
              </a:ext>
            </a:extLst>
          </p:cNvPr>
          <p:cNvCxnSpPr>
            <a:cxnSpLocks/>
          </p:cNvCxnSpPr>
          <p:nvPr/>
        </p:nvCxnSpPr>
        <p:spPr>
          <a:xfrm>
            <a:off x="7378621" y="5288942"/>
            <a:ext cx="863354" cy="0"/>
          </a:xfrm>
          <a:prstGeom prst="line">
            <a:avLst/>
          </a:prstGeom>
          <a:ln w="15875">
            <a:solidFill>
              <a:schemeClr val="accent1">
                <a:lumMod val="50000"/>
              </a:schemeClr>
            </a:solidFill>
            <a:prstDash val="sysDash"/>
          </a:ln>
        </p:spPr>
        <p:style>
          <a:lnRef idx="1">
            <a:schemeClr val="accent1"/>
          </a:lnRef>
          <a:fillRef idx="0">
            <a:schemeClr val="accent1"/>
          </a:fillRef>
          <a:effectRef idx="0">
            <a:schemeClr val="accent1"/>
          </a:effectRef>
          <a:fontRef idx="minor">
            <a:schemeClr val="tx1"/>
          </a:fontRef>
        </p:style>
      </p:cxnSp>
      <p:sp>
        <p:nvSpPr>
          <p:cNvPr id="51" name="椭圆 50">
            <a:extLst>
              <a:ext uri="{FF2B5EF4-FFF2-40B4-BE49-F238E27FC236}">
                <a16:creationId xmlns:a16="http://schemas.microsoft.com/office/drawing/2014/main" id="{A0438059-BDCF-450C-8AA1-6E7568259BAD}"/>
              </a:ext>
            </a:extLst>
          </p:cNvPr>
          <p:cNvSpPr/>
          <p:nvPr/>
        </p:nvSpPr>
        <p:spPr>
          <a:xfrm>
            <a:off x="5915681" y="2232408"/>
            <a:ext cx="151088" cy="151088"/>
          </a:xfrm>
          <a:prstGeom prst="ellipse">
            <a:avLst/>
          </a:prstGeom>
          <a:solidFill>
            <a:schemeClr val="bg1"/>
          </a:solidFill>
          <a:ln w="22225">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OPPOSans R"/>
              <a:ea typeface="OPPOSans R"/>
              <a:cs typeface="+mn-cs"/>
            </a:endParaRPr>
          </a:p>
        </p:txBody>
      </p:sp>
      <p:sp>
        <p:nvSpPr>
          <p:cNvPr id="53" name="椭圆 52">
            <a:extLst>
              <a:ext uri="{FF2B5EF4-FFF2-40B4-BE49-F238E27FC236}">
                <a16:creationId xmlns:a16="http://schemas.microsoft.com/office/drawing/2014/main" id="{5659350C-1B91-41C6-9CDE-EE8C8476BD2D}"/>
              </a:ext>
            </a:extLst>
          </p:cNvPr>
          <p:cNvSpPr/>
          <p:nvPr/>
        </p:nvSpPr>
        <p:spPr>
          <a:xfrm>
            <a:off x="6334946" y="3190446"/>
            <a:ext cx="151088" cy="151088"/>
          </a:xfrm>
          <a:prstGeom prst="ellipse">
            <a:avLst/>
          </a:prstGeom>
          <a:solidFill>
            <a:schemeClr val="bg1"/>
          </a:solidFill>
          <a:ln w="22225">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OPPOSans R"/>
              <a:ea typeface="OPPOSans R"/>
              <a:cs typeface="+mn-cs"/>
            </a:endParaRPr>
          </a:p>
        </p:txBody>
      </p:sp>
      <p:sp>
        <p:nvSpPr>
          <p:cNvPr id="55" name="椭圆 54">
            <a:extLst>
              <a:ext uri="{FF2B5EF4-FFF2-40B4-BE49-F238E27FC236}">
                <a16:creationId xmlns:a16="http://schemas.microsoft.com/office/drawing/2014/main" id="{7B03CD83-7120-4210-A9DF-B13F54C0AD04}"/>
              </a:ext>
            </a:extLst>
          </p:cNvPr>
          <p:cNvSpPr/>
          <p:nvPr/>
        </p:nvSpPr>
        <p:spPr>
          <a:xfrm>
            <a:off x="6761474" y="4229701"/>
            <a:ext cx="151088" cy="151088"/>
          </a:xfrm>
          <a:prstGeom prst="ellipse">
            <a:avLst/>
          </a:prstGeom>
          <a:solidFill>
            <a:schemeClr val="bg1"/>
          </a:solidFill>
          <a:ln w="22225">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OPPOSans R"/>
              <a:ea typeface="OPPOSans R"/>
              <a:cs typeface="+mn-cs"/>
            </a:endParaRPr>
          </a:p>
        </p:txBody>
      </p:sp>
      <p:sp>
        <p:nvSpPr>
          <p:cNvPr id="57" name="椭圆 56">
            <a:extLst>
              <a:ext uri="{FF2B5EF4-FFF2-40B4-BE49-F238E27FC236}">
                <a16:creationId xmlns:a16="http://schemas.microsoft.com/office/drawing/2014/main" id="{EFC93FF7-9A11-45E1-89D0-46ECA19CAEFB}"/>
              </a:ext>
            </a:extLst>
          </p:cNvPr>
          <p:cNvSpPr/>
          <p:nvPr/>
        </p:nvSpPr>
        <p:spPr>
          <a:xfrm>
            <a:off x="7378621" y="5221113"/>
            <a:ext cx="151088" cy="151088"/>
          </a:xfrm>
          <a:prstGeom prst="ellipse">
            <a:avLst/>
          </a:prstGeom>
          <a:solidFill>
            <a:schemeClr val="bg1"/>
          </a:solidFill>
          <a:ln w="22225">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OPPOSans R"/>
              <a:ea typeface="OPPOSans R"/>
              <a:cs typeface="+mn-cs"/>
            </a:endParaRPr>
          </a:p>
        </p:txBody>
      </p:sp>
    </p:spTree>
    <p:extLst>
      <p:ext uri="{BB962C8B-B14F-4D97-AF65-F5344CB8AC3E}">
        <p14:creationId xmlns:p14="http://schemas.microsoft.com/office/powerpoint/2010/main" val="507393471"/>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bg>
      <p:bgPr>
        <a:solidFill>
          <a:srgbClr val="021044"/>
        </a:solidFill>
        <a:effectLst/>
      </p:bgPr>
    </p:bg>
    <p:spTree>
      <p:nvGrpSpPr>
        <p:cNvPr id="1" name=""/>
        <p:cNvGrpSpPr/>
        <p:nvPr/>
      </p:nvGrpSpPr>
      <p:grpSpPr>
        <a:xfrm>
          <a:off x="0" y="0"/>
          <a:ext cx="0" cy="0"/>
          <a:chOff x="0" y="0"/>
          <a:chExt cx="0" cy="0"/>
        </a:xfrm>
      </p:grpSpPr>
      <p:sp>
        <p:nvSpPr>
          <p:cNvPr id="50" name="椭圆 49">
            <a:extLst>
              <a:ext uri="{FF2B5EF4-FFF2-40B4-BE49-F238E27FC236}">
                <a16:creationId xmlns:a16="http://schemas.microsoft.com/office/drawing/2014/main" id="{AA09E038-8E11-43FA-9095-F12CC5D6C010}"/>
              </a:ext>
            </a:extLst>
          </p:cNvPr>
          <p:cNvSpPr/>
          <p:nvPr/>
        </p:nvSpPr>
        <p:spPr>
          <a:xfrm rot="10800000">
            <a:off x="1578429" y="-1088571"/>
            <a:ext cx="9035142" cy="9035142"/>
          </a:xfrm>
          <a:prstGeom prst="ellipse">
            <a:avLst/>
          </a:prstGeom>
          <a:gradFill>
            <a:gsLst>
              <a:gs pos="5000">
                <a:schemeClr val="bg1">
                  <a:alpha val="10000"/>
                </a:schemeClr>
              </a:gs>
              <a:gs pos="95000">
                <a:schemeClr val="bg1">
                  <a:alpha val="0"/>
                </a:scheme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49" name="椭圆 48">
            <a:extLst>
              <a:ext uri="{FF2B5EF4-FFF2-40B4-BE49-F238E27FC236}">
                <a16:creationId xmlns:a16="http://schemas.microsoft.com/office/drawing/2014/main" id="{3CE2EB01-8D43-495E-A626-0FE80A2D13E5}"/>
              </a:ext>
            </a:extLst>
          </p:cNvPr>
          <p:cNvSpPr/>
          <p:nvPr/>
        </p:nvSpPr>
        <p:spPr>
          <a:xfrm rot="5400000">
            <a:off x="2609088" y="-57912"/>
            <a:ext cx="6973824" cy="6973824"/>
          </a:xfrm>
          <a:prstGeom prst="ellipse">
            <a:avLst/>
          </a:prstGeom>
          <a:gradFill>
            <a:gsLst>
              <a:gs pos="5000">
                <a:schemeClr val="bg1">
                  <a:alpha val="10000"/>
                </a:schemeClr>
              </a:gs>
              <a:gs pos="95000">
                <a:schemeClr val="bg1">
                  <a:alpha val="0"/>
                </a:scheme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2" name="椭圆 1">
            <a:extLst>
              <a:ext uri="{FF2B5EF4-FFF2-40B4-BE49-F238E27FC236}">
                <a16:creationId xmlns:a16="http://schemas.microsoft.com/office/drawing/2014/main" id="{9EEA51EF-D616-4934-8454-2CAED2F201F2}"/>
              </a:ext>
            </a:extLst>
          </p:cNvPr>
          <p:cNvSpPr/>
          <p:nvPr/>
        </p:nvSpPr>
        <p:spPr>
          <a:xfrm>
            <a:off x="3126842" y="459842"/>
            <a:ext cx="5938317" cy="5938317"/>
          </a:xfrm>
          <a:prstGeom prst="ellipse">
            <a:avLst/>
          </a:prstGeom>
          <a:gradFill>
            <a:gsLst>
              <a:gs pos="5000">
                <a:schemeClr val="bg1">
                  <a:alpha val="20000"/>
                </a:schemeClr>
              </a:gs>
              <a:gs pos="95000">
                <a:schemeClr val="bg1">
                  <a:alpha val="0"/>
                </a:scheme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grpSp>
        <p:nvGrpSpPr>
          <p:cNvPr id="34" name="组合 33">
            <a:extLst>
              <a:ext uri="{FF2B5EF4-FFF2-40B4-BE49-F238E27FC236}">
                <a16:creationId xmlns:a16="http://schemas.microsoft.com/office/drawing/2014/main" id="{AC7AECE5-3734-4A22-90DD-5595B9AB90C5}"/>
              </a:ext>
            </a:extLst>
          </p:cNvPr>
          <p:cNvGrpSpPr/>
          <p:nvPr/>
        </p:nvGrpSpPr>
        <p:grpSpPr>
          <a:xfrm>
            <a:off x="2889282" y="2560658"/>
            <a:ext cx="6413437" cy="1736685"/>
            <a:chOff x="2029968" y="2290144"/>
            <a:chExt cx="8156448" cy="2208674"/>
          </a:xfrm>
        </p:grpSpPr>
        <p:sp>
          <p:nvSpPr>
            <p:cNvPr id="37" name="文本框 36">
              <a:extLst>
                <a:ext uri="{FF2B5EF4-FFF2-40B4-BE49-F238E27FC236}">
                  <a16:creationId xmlns:a16="http://schemas.microsoft.com/office/drawing/2014/main" id="{95669C47-D1CF-49AD-B98E-4CB361E7CA68}"/>
                </a:ext>
              </a:extLst>
            </p:cNvPr>
            <p:cNvSpPr txBox="1"/>
            <p:nvPr/>
          </p:nvSpPr>
          <p:spPr>
            <a:xfrm>
              <a:off x="2132847" y="2828068"/>
              <a:ext cx="7926305" cy="1056842"/>
            </a:xfrm>
            <a:prstGeom prst="rect">
              <a:avLst/>
            </a:prstGeom>
            <a:noFill/>
          </p:spPr>
          <p:txBody>
            <a:bodyPr wrap="none" lIns="0" tIns="0" rIns="0" bIns="0" rtlCol="0" anchor="t">
              <a:spAutoFit/>
            </a:bodyPr>
            <a:lstStyle/>
            <a:p>
              <a:pPr algn="ctr"/>
              <a:r>
                <a:rPr lang="zh-CN" altLang="en-US" sz="5400" dirty="0">
                  <a:solidFill>
                    <a:schemeClr val="bg1"/>
                  </a:solidFill>
                  <a:latin typeface="+mj-ea"/>
                  <a:ea typeface="+mj-ea"/>
                </a:rPr>
                <a:t>输入你的封面大标题</a:t>
              </a:r>
            </a:p>
          </p:txBody>
        </p:sp>
        <p:sp>
          <p:nvSpPr>
            <p:cNvPr id="38" name="文本框 37">
              <a:extLst>
                <a:ext uri="{FF2B5EF4-FFF2-40B4-BE49-F238E27FC236}">
                  <a16:creationId xmlns:a16="http://schemas.microsoft.com/office/drawing/2014/main" id="{D1C40CF5-518C-46DD-932B-6654B6407DF8}"/>
                </a:ext>
              </a:extLst>
            </p:cNvPr>
            <p:cNvSpPr txBox="1"/>
            <p:nvPr/>
          </p:nvSpPr>
          <p:spPr>
            <a:xfrm>
              <a:off x="4187814" y="2290144"/>
              <a:ext cx="3816369" cy="352281"/>
            </a:xfrm>
            <a:prstGeom prst="rect">
              <a:avLst/>
            </a:prstGeom>
            <a:noFill/>
          </p:spPr>
          <p:txBody>
            <a:bodyPr wrap="none" lIns="0" tIns="0" rIns="0" bIns="0" rtlCol="0" anchor="t">
              <a:spAutoFit/>
            </a:bodyPr>
            <a:lstStyle/>
            <a:p>
              <a:pPr algn="ctr"/>
              <a:r>
                <a:rPr lang="zh-CN" altLang="en-US" dirty="0">
                  <a:solidFill>
                    <a:schemeClr val="bg1"/>
                  </a:solidFill>
                  <a:latin typeface="+mn-ea"/>
                </a:rPr>
                <a:t>输入你的副标题或大标题英文</a:t>
              </a:r>
            </a:p>
          </p:txBody>
        </p:sp>
        <p:cxnSp>
          <p:nvCxnSpPr>
            <p:cNvPr id="39" name="直接连接符 38">
              <a:extLst>
                <a:ext uri="{FF2B5EF4-FFF2-40B4-BE49-F238E27FC236}">
                  <a16:creationId xmlns:a16="http://schemas.microsoft.com/office/drawing/2014/main" id="{ABD75E63-AA63-4435-969B-861E9E9E7C2B}"/>
                </a:ext>
              </a:extLst>
            </p:cNvPr>
            <p:cNvCxnSpPr/>
            <p:nvPr/>
          </p:nvCxnSpPr>
          <p:spPr>
            <a:xfrm flipH="1">
              <a:off x="2029968" y="2480596"/>
              <a:ext cx="1901952"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0" name="直接连接符 39">
              <a:extLst>
                <a:ext uri="{FF2B5EF4-FFF2-40B4-BE49-F238E27FC236}">
                  <a16:creationId xmlns:a16="http://schemas.microsoft.com/office/drawing/2014/main" id="{51C43581-6FE6-4CA8-8429-1C2A610294E9}"/>
                </a:ext>
              </a:extLst>
            </p:cNvPr>
            <p:cNvCxnSpPr/>
            <p:nvPr/>
          </p:nvCxnSpPr>
          <p:spPr>
            <a:xfrm flipH="1">
              <a:off x="8284464" y="2480596"/>
              <a:ext cx="1901952"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grpSp>
          <p:nvGrpSpPr>
            <p:cNvPr id="41" name="组合 40">
              <a:extLst>
                <a:ext uri="{FF2B5EF4-FFF2-40B4-BE49-F238E27FC236}">
                  <a16:creationId xmlns:a16="http://schemas.microsoft.com/office/drawing/2014/main" id="{0A2F32BF-A10D-4989-B9C2-EF799ED3710C}"/>
                </a:ext>
              </a:extLst>
            </p:cNvPr>
            <p:cNvGrpSpPr/>
            <p:nvPr/>
          </p:nvGrpSpPr>
          <p:grpSpPr>
            <a:xfrm>
              <a:off x="4331702" y="4283535"/>
              <a:ext cx="1330327" cy="215283"/>
              <a:chOff x="4095451" y="4640913"/>
              <a:chExt cx="1330327" cy="215283"/>
            </a:xfrm>
          </p:grpSpPr>
          <p:sp>
            <p:nvSpPr>
              <p:cNvPr id="46" name="矩形 45">
                <a:extLst>
                  <a:ext uri="{FF2B5EF4-FFF2-40B4-BE49-F238E27FC236}">
                    <a16:creationId xmlns:a16="http://schemas.microsoft.com/office/drawing/2014/main" id="{0321A517-1354-4138-972D-E2F58ABE6FA4}"/>
                  </a:ext>
                </a:extLst>
              </p:cNvPr>
              <p:cNvSpPr/>
              <p:nvPr/>
            </p:nvSpPr>
            <p:spPr>
              <a:xfrm>
                <a:off x="4095451" y="4672584"/>
                <a:ext cx="164592" cy="1645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4400" dirty="0">
                  <a:solidFill>
                    <a:schemeClr val="bg1"/>
                  </a:solidFill>
                </a:endParaRPr>
              </a:p>
            </p:txBody>
          </p:sp>
          <p:sp>
            <p:nvSpPr>
              <p:cNvPr id="47" name="文本框 46">
                <a:extLst>
                  <a:ext uri="{FF2B5EF4-FFF2-40B4-BE49-F238E27FC236}">
                    <a16:creationId xmlns:a16="http://schemas.microsoft.com/office/drawing/2014/main" id="{4EF1A904-BE9F-4CAC-8B57-5A39EAD2199A}"/>
                  </a:ext>
                </a:extLst>
              </p:cNvPr>
              <p:cNvSpPr txBox="1"/>
              <p:nvPr/>
            </p:nvSpPr>
            <p:spPr>
              <a:xfrm>
                <a:off x="4408487" y="4640913"/>
                <a:ext cx="1017291" cy="215283"/>
              </a:xfrm>
              <a:prstGeom prst="rect">
                <a:avLst/>
              </a:prstGeom>
              <a:noFill/>
            </p:spPr>
            <p:txBody>
              <a:bodyPr wrap="none" lIns="0" tIns="0" rIns="0" bIns="0" rtlCol="0" anchor="t">
                <a:spAutoFit/>
              </a:bodyPr>
              <a:lstStyle/>
              <a:p>
                <a:r>
                  <a:rPr lang="zh-CN" altLang="en-US" sz="1100" dirty="0">
                    <a:solidFill>
                      <a:schemeClr val="bg1"/>
                    </a:solidFill>
                    <a:latin typeface="+mn-ea"/>
                  </a:rPr>
                  <a:t>汇报人：</a:t>
                </a:r>
                <a:r>
                  <a:rPr lang="en-US" altLang="zh-CN" sz="1100" dirty="0">
                    <a:solidFill>
                      <a:schemeClr val="bg1"/>
                    </a:solidFill>
                    <a:latin typeface="+mn-ea"/>
                  </a:rPr>
                  <a:t>xxx</a:t>
                </a:r>
                <a:endParaRPr lang="zh-CN" altLang="en-US" sz="1100" dirty="0">
                  <a:solidFill>
                    <a:schemeClr val="bg1"/>
                  </a:solidFill>
                  <a:latin typeface="+mn-ea"/>
                </a:endParaRPr>
              </a:p>
            </p:txBody>
          </p:sp>
        </p:grpSp>
        <p:grpSp>
          <p:nvGrpSpPr>
            <p:cNvPr id="42" name="组合 41">
              <a:extLst>
                <a:ext uri="{FF2B5EF4-FFF2-40B4-BE49-F238E27FC236}">
                  <a16:creationId xmlns:a16="http://schemas.microsoft.com/office/drawing/2014/main" id="{55F99622-4200-4566-A437-21DE931CF42B}"/>
                </a:ext>
              </a:extLst>
            </p:cNvPr>
            <p:cNvGrpSpPr/>
            <p:nvPr/>
          </p:nvGrpSpPr>
          <p:grpSpPr>
            <a:xfrm>
              <a:off x="6590270" y="4283535"/>
              <a:ext cx="1150926" cy="215283"/>
              <a:chOff x="4095451" y="4640913"/>
              <a:chExt cx="1150926" cy="215283"/>
            </a:xfrm>
          </p:grpSpPr>
          <p:sp>
            <p:nvSpPr>
              <p:cNvPr id="44" name="矩形 43">
                <a:extLst>
                  <a:ext uri="{FF2B5EF4-FFF2-40B4-BE49-F238E27FC236}">
                    <a16:creationId xmlns:a16="http://schemas.microsoft.com/office/drawing/2014/main" id="{C44EDBF8-573C-4C0E-914B-FAA1312AF72A}"/>
                  </a:ext>
                </a:extLst>
              </p:cNvPr>
              <p:cNvSpPr/>
              <p:nvPr/>
            </p:nvSpPr>
            <p:spPr>
              <a:xfrm>
                <a:off x="4095451" y="4672584"/>
                <a:ext cx="164592" cy="1645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4400" dirty="0">
                  <a:solidFill>
                    <a:schemeClr val="bg1"/>
                  </a:solidFill>
                </a:endParaRPr>
              </a:p>
            </p:txBody>
          </p:sp>
          <p:sp>
            <p:nvSpPr>
              <p:cNvPr id="45" name="文本框 44">
                <a:extLst>
                  <a:ext uri="{FF2B5EF4-FFF2-40B4-BE49-F238E27FC236}">
                    <a16:creationId xmlns:a16="http://schemas.microsoft.com/office/drawing/2014/main" id="{207860EB-FD70-40F3-A4FB-CB8DE300EB58}"/>
                  </a:ext>
                </a:extLst>
              </p:cNvPr>
              <p:cNvSpPr txBox="1"/>
              <p:nvPr/>
            </p:nvSpPr>
            <p:spPr>
              <a:xfrm>
                <a:off x="4408487" y="4640913"/>
                <a:ext cx="837890" cy="215283"/>
              </a:xfrm>
              <a:prstGeom prst="rect">
                <a:avLst/>
              </a:prstGeom>
              <a:noFill/>
            </p:spPr>
            <p:txBody>
              <a:bodyPr wrap="none" lIns="0" tIns="0" rIns="0" bIns="0" rtlCol="0" anchor="t">
                <a:spAutoFit/>
              </a:bodyPr>
              <a:lstStyle/>
              <a:p>
                <a:r>
                  <a:rPr lang="zh-CN" altLang="en-US" sz="1100" dirty="0">
                    <a:solidFill>
                      <a:schemeClr val="bg1"/>
                    </a:solidFill>
                    <a:latin typeface="+mn-ea"/>
                  </a:rPr>
                  <a:t>单位：</a:t>
                </a:r>
                <a:r>
                  <a:rPr lang="en-US" altLang="zh-CN" sz="1100" dirty="0">
                    <a:solidFill>
                      <a:schemeClr val="bg1"/>
                    </a:solidFill>
                    <a:latin typeface="+mn-ea"/>
                  </a:rPr>
                  <a:t>xxx</a:t>
                </a:r>
                <a:endParaRPr lang="zh-CN" altLang="en-US" sz="1100" dirty="0">
                  <a:solidFill>
                    <a:schemeClr val="bg1"/>
                  </a:solidFill>
                  <a:latin typeface="+mn-ea"/>
                </a:endParaRPr>
              </a:p>
            </p:txBody>
          </p:sp>
        </p:grpSp>
        <p:cxnSp>
          <p:nvCxnSpPr>
            <p:cNvPr id="43" name="直接连接符 42">
              <a:extLst>
                <a:ext uri="{FF2B5EF4-FFF2-40B4-BE49-F238E27FC236}">
                  <a16:creationId xmlns:a16="http://schemas.microsoft.com/office/drawing/2014/main" id="{DAB41FB8-09D6-4A6E-B395-FF62C1C77A51}"/>
                </a:ext>
              </a:extLst>
            </p:cNvPr>
            <p:cNvCxnSpPr>
              <a:cxnSpLocks/>
            </p:cNvCxnSpPr>
            <p:nvPr/>
          </p:nvCxnSpPr>
          <p:spPr>
            <a:xfrm flipH="1">
              <a:off x="2029968" y="4004596"/>
              <a:ext cx="8156448"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51" name="椭圆 50">
            <a:extLst>
              <a:ext uri="{FF2B5EF4-FFF2-40B4-BE49-F238E27FC236}">
                <a16:creationId xmlns:a16="http://schemas.microsoft.com/office/drawing/2014/main" id="{09794C10-C449-4358-AA39-5618774B35FD}"/>
              </a:ext>
            </a:extLst>
          </p:cNvPr>
          <p:cNvSpPr/>
          <p:nvPr/>
        </p:nvSpPr>
        <p:spPr>
          <a:xfrm rot="10800000" flipV="1">
            <a:off x="965202" y="-1701798"/>
            <a:ext cx="10261598" cy="10261598"/>
          </a:xfrm>
          <a:prstGeom prst="ellipse">
            <a:avLst/>
          </a:prstGeom>
          <a:noFill/>
          <a:ln w="15875">
            <a:gradFill>
              <a:gsLst>
                <a:gs pos="0">
                  <a:schemeClr val="bg1">
                    <a:alpha val="50000"/>
                  </a:schemeClr>
                </a:gs>
                <a:gs pos="100000">
                  <a:schemeClr val="bg1">
                    <a:alpha val="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5" name="椭圆 4">
            <a:extLst>
              <a:ext uri="{FF2B5EF4-FFF2-40B4-BE49-F238E27FC236}">
                <a16:creationId xmlns:a16="http://schemas.microsoft.com/office/drawing/2014/main" id="{19756AE0-0AAB-4324-B306-9DBA4B915D26}"/>
              </a:ext>
            </a:extLst>
          </p:cNvPr>
          <p:cNvSpPr/>
          <p:nvPr/>
        </p:nvSpPr>
        <p:spPr>
          <a:xfrm>
            <a:off x="2155279" y="1795154"/>
            <a:ext cx="347282" cy="347278"/>
          </a:xfrm>
          <a:prstGeom prst="ellipse">
            <a:avLst/>
          </a:prstGeom>
          <a:gradFill>
            <a:gsLst>
              <a:gs pos="5000">
                <a:schemeClr val="bg1">
                  <a:alpha val="43000"/>
                </a:schemeClr>
              </a:gs>
              <a:gs pos="95000">
                <a:schemeClr val="bg1">
                  <a:alpha val="0"/>
                </a:scheme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zh-CN" altLang="en-US" sz="1600">
              <a:solidFill>
                <a:schemeClr val="bg1"/>
              </a:solidFill>
              <a:latin typeface="+mj-ea"/>
              <a:ea typeface="+mj-ea"/>
            </a:endParaRPr>
          </a:p>
        </p:txBody>
      </p:sp>
      <p:sp>
        <p:nvSpPr>
          <p:cNvPr id="52" name="椭圆 51">
            <a:extLst>
              <a:ext uri="{FF2B5EF4-FFF2-40B4-BE49-F238E27FC236}">
                <a16:creationId xmlns:a16="http://schemas.microsoft.com/office/drawing/2014/main" id="{CDBCF794-5FD1-4E3B-9039-458F396CD865}"/>
              </a:ext>
            </a:extLst>
          </p:cNvPr>
          <p:cNvSpPr/>
          <p:nvPr/>
        </p:nvSpPr>
        <p:spPr>
          <a:xfrm>
            <a:off x="9409271" y="5498376"/>
            <a:ext cx="191929" cy="191927"/>
          </a:xfrm>
          <a:prstGeom prst="ellipse">
            <a:avLst/>
          </a:prstGeom>
          <a:gradFill>
            <a:gsLst>
              <a:gs pos="5000">
                <a:schemeClr val="bg1">
                  <a:alpha val="30000"/>
                </a:schemeClr>
              </a:gs>
              <a:gs pos="95000">
                <a:schemeClr val="bg1">
                  <a:alpha val="0"/>
                </a:scheme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zh-CN" altLang="en-US" sz="1600">
              <a:solidFill>
                <a:schemeClr val="bg1"/>
              </a:solidFill>
              <a:latin typeface="+mj-ea"/>
              <a:ea typeface="+mj-ea"/>
            </a:endParaRPr>
          </a:p>
        </p:txBody>
      </p:sp>
      <p:sp>
        <p:nvSpPr>
          <p:cNvPr id="53" name="任意多边形: 形状 52">
            <a:extLst>
              <a:ext uri="{FF2B5EF4-FFF2-40B4-BE49-F238E27FC236}">
                <a16:creationId xmlns:a16="http://schemas.microsoft.com/office/drawing/2014/main" id="{D72D31EE-D136-40BB-8C59-78EBE1B4B81A}"/>
              </a:ext>
            </a:extLst>
          </p:cNvPr>
          <p:cNvSpPr/>
          <p:nvPr/>
        </p:nvSpPr>
        <p:spPr>
          <a:xfrm>
            <a:off x="190500" y="0"/>
            <a:ext cx="11811000" cy="6858000"/>
          </a:xfrm>
          <a:custGeom>
            <a:avLst/>
            <a:gdLst>
              <a:gd name="connsiteX0" fmla="*/ 10073873 w 11811000"/>
              <a:gd name="connsiteY0" fmla="*/ 0 h 6858000"/>
              <a:gd name="connsiteX1" fmla="*/ 10711995 w 11811000"/>
              <a:gd name="connsiteY1" fmla="*/ 0 h 6858000"/>
              <a:gd name="connsiteX2" fmla="*/ 10802433 w 11811000"/>
              <a:gd name="connsiteY2" fmla="*/ 127179 h 6858000"/>
              <a:gd name="connsiteX3" fmla="*/ 11811000 w 11811000"/>
              <a:gd name="connsiteY3" fmla="*/ 3429000 h 6858000"/>
              <a:gd name="connsiteX4" fmla="*/ 10802433 w 11811000"/>
              <a:gd name="connsiteY4" fmla="*/ 6730822 h 6858000"/>
              <a:gd name="connsiteX5" fmla="*/ 10711995 w 11811000"/>
              <a:gd name="connsiteY5" fmla="*/ 6858000 h 6858000"/>
              <a:gd name="connsiteX6" fmla="*/ 10073873 w 11811000"/>
              <a:gd name="connsiteY6" fmla="*/ 6858000 h 6858000"/>
              <a:gd name="connsiteX7" fmla="*/ 10230715 w 11811000"/>
              <a:gd name="connsiteY7" fmla="*/ 6658416 h 6858000"/>
              <a:gd name="connsiteX8" fmla="*/ 11303009 w 11811000"/>
              <a:gd name="connsiteY8" fmla="*/ 3429000 h 6858000"/>
              <a:gd name="connsiteX9" fmla="*/ 10230715 w 11811000"/>
              <a:gd name="connsiteY9" fmla="*/ 199584 h 6858000"/>
              <a:gd name="connsiteX10" fmla="*/ 1099005 w 11811000"/>
              <a:gd name="connsiteY10" fmla="*/ 0 h 6858000"/>
              <a:gd name="connsiteX11" fmla="*/ 1737127 w 11811000"/>
              <a:gd name="connsiteY11" fmla="*/ 0 h 6858000"/>
              <a:gd name="connsiteX12" fmla="*/ 1580285 w 11811000"/>
              <a:gd name="connsiteY12" fmla="*/ 199584 h 6858000"/>
              <a:gd name="connsiteX13" fmla="*/ 507991 w 11811000"/>
              <a:gd name="connsiteY13" fmla="*/ 3429000 h 6858000"/>
              <a:gd name="connsiteX14" fmla="*/ 1580285 w 11811000"/>
              <a:gd name="connsiteY14" fmla="*/ 6658416 h 6858000"/>
              <a:gd name="connsiteX15" fmla="*/ 1737127 w 11811000"/>
              <a:gd name="connsiteY15" fmla="*/ 6858000 h 6858000"/>
              <a:gd name="connsiteX16" fmla="*/ 1099005 w 11811000"/>
              <a:gd name="connsiteY16" fmla="*/ 6858000 h 6858000"/>
              <a:gd name="connsiteX17" fmla="*/ 1008567 w 11811000"/>
              <a:gd name="connsiteY17" fmla="*/ 6730822 h 6858000"/>
              <a:gd name="connsiteX18" fmla="*/ 0 w 11811000"/>
              <a:gd name="connsiteY18" fmla="*/ 3429000 h 6858000"/>
              <a:gd name="connsiteX19" fmla="*/ 1008567 w 11811000"/>
              <a:gd name="connsiteY19" fmla="*/ 127179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1811000" h="6858000">
                <a:moveTo>
                  <a:pt x="10073873" y="0"/>
                </a:moveTo>
                <a:lnTo>
                  <a:pt x="10711995" y="0"/>
                </a:lnTo>
                <a:lnTo>
                  <a:pt x="10802433" y="127179"/>
                </a:lnTo>
                <a:cubicBezTo>
                  <a:pt x="11439190" y="1069703"/>
                  <a:pt x="11811000" y="2205931"/>
                  <a:pt x="11811000" y="3429000"/>
                </a:cubicBezTo>
                <a:cubicBezTo>
                  <a:pt x="11811000" y="4652070"/>
                  <a:pt x="11439190" y="5788298"/>
                  <a:pt x="10802433" y="6730822"/>
                </a:cubicBezTo>
                <a:lnTo>
                  <a:pt x="10711995" y="6858000"/>
                </a:lnTo>
                <a:lnTo>
                  <a:pt x="10073873" y="6858000"/>
                </a:lnTo>
                <a:lnTo>
                  <a:pt x="10230715" y="6658416"/>
                </a:lnTo>
                <a:cubicBezTo>
                  <a:pt x="10904184" y="5757881"/>
                  <a:pt x="11303009" y="4640016"/>
                  <a:pt x="11303009" y="3429000"/>
                </a:cubicBezTo>
                <a:cubicBezTo>
                  <a:pt x="11303009" y="2217984"/>
                  <a:pt x="10904184" y="1100119"/>
                  <a:pt x="10230715" y="199584"/>
                </a:cubicBezTo>
                <a:close/>
                <a:moveTo>
                  <a:pt x="1099005" y="0"/>
                </a:moveTo>
                <a:lnTo>
                  <a:pt x="1737127" y="0"/>
                </a:lnTo>
                <a:lnTo>
                  <a:pt x="1580285" y="199584"/>
                </a:lnTo>
                <a:cubicBezTo>
                  <a:pt x="906816" y="1100119"/>
                  <a:pt x="507991" y="2217984"/>
                  <a:pt x="507991" y="3429000"/>
                </a:cubicBezTo>
                <a:cubicBezTo>
                  <a:pt x="507991" y="4640016"/>
                  <a:pt x="906816" y="5757881"/>
                  <a:pt x="1580285" y="6658416"/>
                </a:cubicBezTo>
                <a:lnTo>
                  <a:pt x="1737127" y="6858000"/>
                </a:lnTo>
                <a:lnTo>
                  <a:pt x="1099005" y="6858000"/>
                </a:lnTo>
                <a:lnTo>
                  <a:pt x="1008567" y="6730822"/>
                </a:lnTo>
                <a:cubicBezTo>
                  <a:pt x="371810" y="5788298"/>
                  <a:pt x="0" y="4652070"/>
                  <a:pt x="0" y="3429000"/>
                </a:cubicBezTo>
                <a:cubicBezTo>
                  <a:pt x="0" y="2205931"/>
                  <a:pt x="371810" y="1069703"/>
                  <a:pt x="1008567" y="127179"/>
                </a:cubicBezTo>
                <a:close/>
              </a:path>
            </a:pathLst>
          </a:custGeom>
          <a:gradFill>
            <a:gsLst>
              <a:gs pos="5000">
                <a:schemeClr val="bg1">
                  <a:alpha val="28000"/>
                </a:schemeClr>
              </a:gs>
              <a:gs pos="80000">
                <a:schemeClr val="bg1">
                  <a:alpha val="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l"/>
            <a:endParaRPr lang="zh-CN" altLang="en-US" sz="1600">
              <a:solidFill>
                <a:schemeClr val="bg1"/>
              </a:solidFill>
              <a:latin typeface="+mj-ea"/>
              <a:ea typeface="+mj-ea"/>
            </a:endParaRPr>
          </a:p>
        </p:txBody>
      </p:sp>
    </p:spTree>
    <p:extLst>
      <p:ext uri="{BB962C8B-B14F-4D97-AF65-F5344CB8AC3E}">
        <p14:creationId xmlns:p14="http://schemas.microsoft.com/office/powerpoint/2010/main" val="341701680"/>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5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 name="任意多边形: 形状 83">
            <a:extLst>
              <a:ext uri="{FF2B5EF4-FFF2-40B4-BE49-F238E27FC236}">
                <a16:creationId xmlns:a16="http://schemas.microsoft.com/office/drawing/2014/main" id="{7F12609A-77A1-48EF-88EC-0497F62833E1}"/>
              </a:ext>
            </a:extLst>
          </p:cNvPr>
          <p:cNvSpPr/>
          <p:nvPr/>
        </p:nvSpPr>
        <p:spPr>
          <a:xfrm>
            <a:off x="3462531" y="4983770"/>
            <a:ext cx="3473702" cy="374596"/>
          </a:xfrm>
          <a:custGeom>
            <a:avLst/>
            <a:gdLst>
              <a:gd name="connsiteX0" fmla="*/ 3272452 w 3473702"/>
              <a:gd name="connsiteY0" fmla="*/ 21519 h 374596"/>
              <a:gd name="connsiteX1" fmla="*/ 3113276 w 3473702"/>
              <a:gd name="connsiteY1" fmla="*/ 180695 h 374596"/>
              <a:gd name="connsiteX2" fmla="*/ 3272452 w 3473702"/>
              <a:gd name="connsiteY2" fmla="*/ 339871 h 374596"/>
              <a:gd name="connsiteX3" fmla="*/ 3431628 w 3473702"/>
              <a:gd name="connsiteY3" fmla="*/ 180695 h 374596"/>
              <a:gd name="connsiteX4" fmla="*/ 3272452 w 3473702"/>
              <a:gd name="connsiteY4" fmla="*/ 21519 h 374596"/>
              <a:gd name="connsiteX5" fmla="*/ 187298 w 3473702"/>
              <a:gd name="connsiteY5" fmla="*/ 0 h 374596"/>
              <a:gd name="connsiteX6" fmla="*/ 851793 w 3473702"/>
              <a:gd name="connsiteY6" fmla="*/ 0 h 374596"/>
              <a:gd name="connsiteX7" fmla="*/ 1172000 w 3473702"/>
              <a:gd name="connsiteY7" fmla="*/ 0 h 374596"/>
              <a:gd name="connsiteX8" fmla="*/ 1637207 w 3473702"/>
              <a:gd name="connsiteY8" fmla="*/ 0 h 374596"/>
              <a:gd name="connsiteX9" fmla="*/ 1836495 w 3473702"/>
              <a:gd name="connsiteY9" fmla="*/ 0 h 374596"/>
              <a:gd name="connsiteX10" fmla="*/ 2301702 w 3473702"/>
              <a:gd name="connsiteY10" fmla="*/ 0 h 374596"/>
              <a:gd name="connsiteX11" fmla="*/ 2621909 w 3473702"/>
              <a:gd name="connsiteY11" fmla="*/ 0 h 374596"/>
              <a:gd name="connsiteX12" fmla="*/ 3286404 w 3473702"/>
              <a:gd name="connsiteY12" fmla="*/ 0 h 374596"/>
              <a:gd name="connsiteX13" fmla="*/ 3473702 w 3473702"/>
              <a:gd name="connsiteY13" fmla="*/ 187298 h 374596"/>
              <a:gd name="connsiteX14" fmla="*/ 3286404 w 3473702"/>
              <a:gd name="connsiteY14" fmla="*/ 374596 h 374596"/>
              <a:gd name="connsiteX15" fmla="*/ 2621909 w 3473702"/>
              <a:gd name="connsiteY15" fmla="*/ 374596 h 374596"/>
              <a:gd name="connsiteX16" fmla="*/ 2301702 w 3473702"/>
              <a:gd name="connsiteY16" fmla="*/ 374596 h 374596"/>
              <a:gd name="connsiteX17" fmla="*/ 1836495 w 3473702"/>
              <a:gd name="connsiteY17" fmla="*/ 374596 h 374596"/>
              <a:gd name="connsiteX18" fmla="*/ 1637207 w 3473702"/>
              <a:gd name="connsiteY18" fmla="*/ 374596 h 374596"/>
              <a:gd name="connsiteX19" fmla="*/ 1172000 w 3473702"/>
              <a:gd name="connsiteY19" fmla="*/ 374596 h 374596"/>
              <a:gd name="connsiteX20" fmla="*/ 851793 w 3473702"/>
              <a:gd name="connsiteY20" fmla="*/ 374596 h 374596"/>
              <a:gd name="connsiteX21" fmla="*/ 187298 w 3473702"/>
              <a:gd name="connsiteY21" fmla="*/ 374596 h 374596"/>
              <a:gd name="connsiteX22" fmla="*/ 0 w 3473702"/>
              <a:gd name="connsiteY22" fmla="*/ 187298 h 374596"/>
              <a:gd name="connsiteX23" fmla="*/ 187298 w 3473702"/>
              <a:gd name="connsiteY23" fmla="*/ 0 h 374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473702" h="374596">
                <a:moveTo>
                  <a:pt x="3272452" y="21519"/>
                </a:moveTo>
                <a:cubicBezTo>
                  <a:pt x="3184542" y="21519"/>
                  <a:pt x="3113276" y="92785"/>
                  <a:pt x="3113276" y="180695"/>
                </a:cubicBezTo>
                <a:cubicBezTo>
                  <a:pt x="3113276" y="268605"/>
                  <a:pt x="3184542" y="339871"/>
                  <a:pt x="3272452" y="339871"/>
                </a:cubicBezTo>
                <a:cubicBezTo>
                  <a:pt x="3360362" y="339871"/>
                  <a:pt x="3431628" y="268605"/>
                  <a:pt x="3431628" y="180695"/>
                </a:cubicBezTo>
                <a:cubicBezTo>
                  <a:pt x="3431628" y="92785"/>
                  <a:pt x="3360362" y="21519"/>
                  <a:pt x="3272452" y="21519"/>
                </a:cubicBezTo>
                <a:close/>
                <a:moveTo>
                  <a:pt x="187298" y="0"/>
                </a:moveTo>
                <a:lnTo>
                  <a:pt x="851793" y="0"/>
                </a:lnTo>
                <a:lnTo>
                  <a:pt x="1172000" y="0"/>
                </a:lnTo>
                <a:lnTo>
                  <a:pt x="1637207" y="0"/>
                </a:lnTo>
                <a:lnTo>
                  <a:pt x="1836495" y="0"/>
                </a:lnTo>
                <a:lnTo>
                  <a:pt x="2301702" y="0"/>
                </a:lnTo>
                <a:lnTo>
                  <a:pt x="2621909" y="0"/>
                </a:lnTo>
                <a:lnTo>
                  <a:pt x="3286404" y="0"/>
                </a:lnTo>
                <a:cubicBezTo>
                  <a:pt x="3389846" y="0"/>
                  <a:pt x="3473702" y="83856"/>
                  <a:pt x="3473702" y="187298"/>
                </a:cubicBezTo>
                <a:cubicBezTo>
                  <a:pt x="3473702" y="290740"/>
                  <a:pt x="3389846" y="374596"/>
                  <a:pt x="3286404" y="374596"/>
                </a:cubicBezTo>
                <a:lnTo>
                  <a:pt x="2621909" y="374596"/>
                </a:lnTo>
                <a:lnTo>
                  <a:pt x="2301702" y="374596"/>
                </a:lnTo>
                <a:lnTo>
                  <a:pt x="1836495" y="374596"/>
                </a:lnTo>
                <a:lnTo>
                  <a:pt x="1637207" y="374596"/>
                </a:lnTo>
                <a:lnTo>
                  <a:pt x="1172000" y="374596"/>
                </a:lnTo>
                <a:lnTo>
                  <a:pt x="851793" y="374596"/>
                </a:lnTo>
                <a:lnTo>
                  <a:pt x="187298" y="374596"/>
                </a:lnTo>
                <a:cubicBezTo>
                  <a:pt x="83856" y="374596"/>
                  <a:pt x="0" y="290740"/>
                  <a:pt x="0" y="187298"/>
                </a:cubicBezTo>
                <a:cubicBezTo>
                  <a:pt x="0" y="83856"/>
                  <a:pt x="83856" y="0"/>
                  <a:pt x="187298" y="0"/>
                </a:cubicBezTo>
                <a:close/>
              </a:path>
            </a:pathLst>
          </a:custGeom>
          <a:solidFill>
            <a:schemeClr val="accent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微软雅黑"/>
              <a:ea typeface="微软雅黑"/>
              <a:cs typeface="+mn-cs"/>
            </a:endParaRPr>
          </a:p>
        </p:txBody>
      </p:sp>
      <p:sp>
        <p:nvSpPr>
          <p:cNvPr id="81" name="任意多边形: 形状 80">
            <a:extLst>
              <a:ext uri="{FF2B5EF4-FFF2-40B4-BE49-F238E27FC236}">
                <a16:creationId xmlns:a16="http://schemas.microsoft.com/office/drawing/2014/main" id="{69320CEE-BDEE-4C62-95F8-CD72F3CAD160}"/>
              </a:ext>
            </a:extLst>
          </p:cNvPr>
          <p:cNvSpPr/>
          <p:nvPr/>
        </p:nvSpPr>
        <p:spPr>
          <a:xfrm>
            <a:off x="3657310" y="4053061"/>
            <a:ext cx="2489000" cy="374596"/>
          </a:xfrm>
          <a:custGeom>
            <a:avLst/>
            <a:gdLst>
              <a:gd name="connsiteX0" fmla="*/ 2287750 w 2489000"/>
              <a:gd name="connsiteY0" fmla="*/ 21519 h 374596"/>
              <a:gd name="connsiteX1" fmla="*/ 2128574 w 2489000"/>
              <a:gd name="connsiteY1" fmla="*/ 180695 h 374596"/>
              <a:gd name="connsiteX2" fmla="*/ 2287750 w 2489000"/>
              <a:gd name="connsiteY2" fmla="*/ 339871 h 374596"/>
              <a:gd name="connsiteX3" fmla="*/ 2446926 w 2489000"/>
              <a:gd name="connsiteY3" fmla="*/ 180695 h 374596"/>
              <a:gd name="connsiteX4" fmla="*/ 2287750 w 2489000"/>
              <a:gd name="connsiteY4" fmla="*/ 21519 h 374596"/>
              <a:gd name="connsiteX5" fmla="*/ 187298 w 2489000"/>
              <a:gd name="connsiteY5" fmla="*/ 0 h 374596"/>
              <a:gd name="connsiteX6" fmla="*/ 851793 w 2489000"/>
              <a:gd name="connsiteY6" fmla="*/ 0 h 374596"/>
              <a:gd name="connsiteX7" fmla="*/ 1637207 w 2489000"/>
              <a:gd name="connsiteY7" fmla="*/ 0 h 374596"/>
              <a:gd name="connsiteX8" fmla="*/ 2301702 w 2489000"/>
              <a:gd name="connsiteY8" fmla="*/ 0 h 374596"/>
              <a:gd name="connsiteX9" fmla="*/ 2489000 w 2489000"/>
              <a:gd name="connsiteY9" fmla="*/ 187298 h 374596"/>
              <a:gd name="connsiteX10" fmla="*/ 2301702 w 2489000"/>
              <a:gd name="connsiteY10" fmla="*/ 374596 h 374596"/>
              <a:gd name="connsiteX11" fmla="*/ 1637207 w 2489000"/>
              <a:gd name="connsiteY11" fmla="*/ 374596 h 374596"/>
              <a:gd name="connsiteX12" fmla="*/ 851793 w 2489000"/>
              <a:gd name="connsiteY12" fmla="*/ 374596 h 374596"/>
              <a:gd name="connsiteX13" fmla="*/ 187298 w 2489000"/>
              <a:gd name="connsiteY13" fmla="*/ 374596 h 374596"/>
              <a:gd name="connsiteX14" fmla="*/ 0 w 2489000"/>
              <a:gd name="connsiteY14" fmla="*/ 187298 h 374596"/>
              <a:gd name="connsiteX15" fmla="*/ 187298 w 2489000"/>
              <a:gd name="connsiteY15" fmla="*/ 0 h 374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489000" h="374596">
                <a:moveTo>
                  <a:pt x="2287750" y="21519"/>
                </a:moveTo>
                <a:cubicBezTo>
                  <a:pt x="2199840" y="21519"/>
                  <a:pt x="2128574" y="92785"/>
                  <a:pt x="2128574" y="180695"/>
                </a:cubicBezTo>
                <a:cubicBezTo>
                  <a:pt x="2128574" y="268605"/>
                  <a:pt x="2199840" y="339871"/>
                  <a:pt x="2287750" y="339871"/>
                </a:cubicBezTo>
                <a:cubicBezTo>
                  <a:pt x="2375660" y="339871"/>
                  <a:pt x="2446926" y="268605"/>
                  <a:pt x="2446926" y="180695"/>
                </a:cubicBezTo>
                <a:cubicBezTo>
                  <a:pt x="2446926" y="92785"/>
                  <a:pt x="2375660" y="21519"/>
                  <a:pt x="2287750" y="21519"/>
                </a:cubicBezTo>
                <a:close/>
                <a:moveTo>
                  <a:pt x="187298" y="0"/>
                </a:moveTo>
                <a:lnTo>
                  <a:pt x="851793" y="0"/>
                </a:lnTo>
                <a:lnTo>
                  <a:pt x="1637207" y="0"/>
                </a:lnTo>
                <a:lnTo>
                  <a:pt x="2301702" y="0"/>
                </a:lnTo>
                <a:cubicBezTo>
                  <a:pt x="2405144" y="0"/>
                  <a:pt x="2489000" y="83856"/>
                  <a:pt x="2489000" y="187298"/>
                </a:cubicBezTo>
                <a:cubicBezTo>
                  <a:pt x="2489000" y="290740"/>
                  <a:pt x="2405144" y="374596"/>
                  <a:pt x="2301702" y="374596"/>
                </a:cubicBezTo>
                <a:lnTo>
                  <a:pt x="1637207" y="374596"/>
                </a:lnTo>
                <a:lnTo>
                  <a:pt x="851793" y="374596"/>
                </a:lnTo>
                <a:lnTo>
                  <a:pt x="187298" y="374596"/>
                </a:lnTo>
                <a:cubicBezTo>
                  <a:pt x="83856" y="374596"/>
                  <a:pt x="0" y="290740"/>
                  <a:pt x="0" y="187298"/>
                </a:cubicBezTo>
                <a:cubicBezTo>
                  <a:pt x="0" y="83856"/>
                  <a:pt x="83856" y="0"/>
                  <a:pt x="187298" y="0"/>
                </a:cubicBezTo>
                <a:close/>
              </a:path>
            </a:pathLst>
          </a:custGeom>
          <a:solidFill>
            <a:schemeClr val="accent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微软雅黑"/>
              <a:ea typeface="微软雅黑"/>
              <a:cs typeface="+mn-cs"/>
            </a:endParaRPr>
          </a:p>
        </p:txBody>
      </p:sp>
      <p:sp>
        <p:nvSpPr>
          <p:cNvPr id="80" name="任意多边形: 形状 79">
            <a:extLst>
              <a:ext uri="{FF2B5EF4-FFF2-40B4-BE49-F238E27FC236}">
                <a16:creationId xmlns:a16="http://schemas.microsoft.com/office/drawing/2014/main" id="{BC7C6014-949E-4AC9-B765-57570787D3E4}"/>
              </a:ext>
            </a:extLst>
          </p:cNvPr>
          <p:cNvSpPr/>
          <p:nvPr/>
        </p:nvSpPr>
        <p:spPr>
          <a:xfrm>
            <a:off x="3186013" y="3241702"/>
            <a:ext cx="2489000" cy="374596"/>
          </a:xfrm>
          <a:custGeom>
            <a:avLst/>
            <a:gdLst>
              <a:gd name="connsiteX0" fmla="*/ 2287750 w 2489000"/>
              <a:gd name="connsiteY0" fmla="*/ 21519 h 374596"/>
              <a:gd name="connsiteX1" fmla="*/ 2128574 w 2489000"/>
              <a:gd name="connsiteY1" fmla="*/ 180695 h 374596"/>
              <a:gd name="connsiteX2" fmla="*/ 2287750 w 2489000"/>
              <a:gd name="connsiteY2" fmla="*/ 339871 h 374596"/>
              <a:gd name="connsiteX3" fmla="*/ 2446926 w 2489000"/>
              <a:gd name="connsiteY3" fmla="*/ 180695 h 374596"/>
              <a:gd name="connsiteX4" fmla="*/ 2287750 w 2489000"/>
              <a:gd name="connsiteY4" fmla="*/ 21519 h 374596"/>
              <a:gd name="connsiteX5" fmla="*/ 187298 w 2489000"/>
              <a:gd name="connsiteY5" fmla="*/ 0 h 374596"/>
              <a:gd name="connsiteX6" fmla="*/ 851793 w 2489000"/>
              <a:gd name="connsiteY6" fmla="*/ 0 h 374596"/>
              <a:gd name="connsiteX7" fmla="*/ 1637207 w 2489000"/>
              <a:gd name="connsiteY7" fmla="*/ 0 h 374596"/>
              <a:gd name="connsiteX8" fmla="*/ 2301702 w 2489000"/>
              <a:gd name="connsiteY8" fmla="*/ 0 h 374596"/>
              <a:gd name="connsiteX9" fmla="*/ 2489000 w 2489000"/>
              <a:gd name="connsiteY9" fmla="*/ 187298 h 374596"/>
              <a:gd name="connsiteX10" fmla="*/ 2301702 w 2489000"/>
              <a:gd name="connsiteY10" fmla="*/ 374596 h 374596"/>
              <a:gd name="connsiteX11" fmla="*/ 1637207 w 2489000"/>
              <a:gd name="connsiteY11" fmla="*/ 374596 h 374596"/>
              <a:gd name="connsiteX12" fmla="*/ 851793 w 2489000"/>
              <a:gd name="connsiteY12" fmla="*/ 374596 h 374596"/>
              <a:gd name="connsiteX13" fmla="*/ 187298 w 2489000"/>
              <a:gd name="connsiteY13" fmla="*/ 374596 h 374596"/>
              <a:gd name="connsiteX14" fmla="*/ 0 w 2489000"/>
              <a:gd name="connsiteY14" fmla="*/ 187298 h 374596"/>
              <a:gd name="connsiteX15" fmla="*/ 187298 w 2489000"/>
              <a:gd name="connsiteY15" fmla="*/ 0 h 374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489000" h="374596">
                <a:moveTo>
                  <a:pt x="2287750" y="21519"/>
                </a:moveTo>
                <a:cubicBezTo>
                  <a:pt x="2199840" y="21519"/>
                  <a:pt x="2128574" y="92785"/>
                  <a:pt x="2128574" y="180695"/>
                </a:cubicBezTo>
                <a:cubicBezTo>
                  <a:pt x="2128574" y="268605"/>
                  <a:pt x="2199840" y="339871"/>
                  <a:pt x="2287750" y="339871"/>
                </a:cubicBezTo>
                <a:cubicBezTo>
                  <a:pt x="2375660" y="339871"/>
                  <a:pt x="2446926" y="268605"/>
                  <a:pt x="2446926" y="180695"/>
                </a:cubicBezTo>
                <a:cubicBezTo>
                  <a:pt x="2446926" y="92785"/>
                  <a:pt x="2375660" y="21519"/>
                  <a:pt x="2287750" y="21519"/>
                </a:cubicBezTo>
                <a:close/>
                <a:moveTo>
                  <a:pt x="187298" y="0"/>
                </a:moveTo>
                <a:lnTo>
                  <a:pt x="851793" y="0"/>
                </a:lnTo>
                <a:lnTo>
                  <a:pt x="1637207" y="0"/>
                </a:lnTo>
                <a:lnTo>
                  <a:pt x="2301702" y="0"/>
                </a:lnTo>
                <a:cubicBezTo>
                  <a:pt x="2405144" y="0"/>
                  <a:pt x="2489000" y="83856"/>
                  <a:pt x="2489000" y="187298"/>
                </a:cubicBezTo>
                <a:cubicBezTo>
                  <a:pt x="2489000" y="290740"/>
                  <a:pt x="2405144" y="374596"/>
                  <a:pt x="2301702" y="374596"/>
                </a:cubicBezTo>
                <a:lnTo>
                  <a:pt x="1637207" y="374596"/>
                </a:lnTo>
                <a:lnTo>
                  <a:pt x="851793" y="374596"/>
                </a:lnTo>
                <a:lnTo>
                  <a:pt x="187298" y="374596"/>
                </a:lnTo>
                <a:cubicBezTo>
                  <a:pt x="83856" y="374596"/>
                  <a:pt x="0" y="290740"/>
                  <a:pt x="0" y="187298"/>
                </a:cubicBezTo>
                <a:cubicBezTo>
                  <a:pt x="0" y="83856"/>
                  <a:pt x="83856" y="0"/>
                  <a:pt x="187298" y="0"/>
                </a:cubicBezTo>
                <a:close/>
              </a:path>
            </a:pathLst>
          </a:custGeom>
          <a:solidFill>
            <a:schemeClr val="accent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微软雅黑"/>
              <a:ea typeface="微软雅黑"/>
              <a:cs typeface="+mn-cs"/>
            </a:endParaRPr>
          </a:p>
        </p:txBody>
      </p:sp>
      <p:sp>
        <p:nvSpPr>
          <p:cNvPr id="66" name="任意多边形: 形状 65">
            <a:extLst>
              <a:ext uri="{FF2B5EF4-FFF2-40B4-BE49-F238E27FC236}">
                <a16:creationId xmlns:a16="http://schemas.microsoft.com/office/drawing/2014/main" id="{E9C0E118-F73D-4D76-81F6-78793919B253}"/>
              </a:ext>
            </a:extLst>
          </p:cNvPr>
          <p:cNvSpPr/>
          <p:nvPr/>
        </p:nvSpPr>
        <p:spPr>
          <a:xfrm>
            <a:off x="3341370" y="2438332"/>
            <a:ext cx="1824505" cy="374596"/>
          </a:xfrm>
          <a:custGeom>
            <a:avLst/>
            <a:gdLst>
              <a:gd name="connsiteX0" fmla="*/ 1623255 w 1824505"/>
              <a:gd name="connsiteY0" fmla="*/ 21519 h 374596"/>
              <a:gd name="connsiteX1" fmla="*/ 1464079 w 1824505"/>
              <a:gd name="connsiteY1" fmla="*/ 180695 h 374596"/>
              <a:gd name="connsiteX2" fmla="*/ 1623255 w 1824505"/>
              <a:gd name="connsiteY2" fmla="*/ 339871 h 374596"/>
              <a:gd name="connsiteX3" fmla="*/ 1782431 w 1824505"/>
              <a:gd name="connsiteY3" fmla="*/ 180695 h 374596"/>
              <a:gd name="connsiteX4" fmla="*/ 1623255 w 1824505"/>
              <a:gd name="connsiteY4" fmla="*/ 21519 h 374596"/>
              <a:gd name="connsiteX5" fmla="*/ 187298 w 1824505"/>
              <a:gd name="connsiteY5" fmla="*/ 0 h 374596"/>
              <a:gd name="connsiteX6" fmla="*/ 1637207 w 1824505"/>
              <a:gd name="connsiteY6" fmla="*/ 0 h 374596"/>
              <a:gd name="connsiteX7" fmla="*/ 1824505 w 1824505"/>
              <a:gd name="connsiteY7" fmla="*/ 187298 h 374596"/>
              <a:gd name="connsiteX8" fmla="*/ 1637207 w 1824505"/>
              <a:gd name="connsiteY8" fmla="*/ 374596 h 374596"/>
              <a:gd name="connsiteX9" fmla="*/ 187298 w 1824505"/>
              <a:gd name="connsiteY9" fmla="*/ 374596 h 374596"/>
              <a:gd name="connsiteX10" fmla="*/ 0 w 1824505"/>
              <a:gd name="connsiteY10" fmla="*/ 187298 h 374596"/>
              <a:gd name="connsiteX11" fmla="*/ 187298 w 1824505"/>
              <a:gd name="connsiteY11" fmla="*/ 0 h 374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824505" h="374596">
                <a:moveTo>
                  <a:pt x="1623255" y="21519"/>
                </a:moveTo>
                <a:cubicBezTo>
                  <a:pt x="1535345" y="21519"/>
                  <a:pt x="1464079" y="92785"/>
                  <a:pt x="1464079" y="180695"/>
                </a:cubicBezTo>
                <a:cubicBezTo>
                  <a:pt x="1464079" y="268605"/>
                  <a:pt x="1535345" y="339871"/>
                  <a:pt x="1623255" y="339871"/>
                </a:cubicBezTo>
                <a:cubicBezTo>
                  <a:pt x="1711165" y="339871"/>
                  <a:pt x="1782431" y="268605"/>
                  <a:pt x="1782431" y="180695"/>
                </a:cubicBezTo>
                <a:cubicBezTo>
                  <a:pt x="1782431" y="92785"/>
                  <a:pt x="1711165" y="21519"/>
                  <a:pt x="1623255" y="21519"/>
                </a:cubicBezTo>
                <a:close/>
                <a:moveTo>
                  <a:pt x="187298" y="0"/>
                </a:moveTo>
                <a:lnTo>
                  <a:pt x="1637207" y="0"/>
                </a:lnTo>
                <a:cubicBezTo>
                  <a:pt x="1740649" y="0"/>
                  <a:pt x="1824505" y="83856"/>
                  <a:pt x="1824505" y="187298"/>
                </a:cubicBezTo>
                <a:cubicBezTo>
                  <a:pt x="1824505" y="290740"/>
                  <a:pt x="1740649" y="374596"/>
                  <a:pt x="1637207" y="374596"/>
                </a:cubicBezTo>
                <a:lnTo>
                  <a:pt x="187298" y="374596"/>
                </a:lnTo>
                <a:cubicBezTo>
                  <a:pt x="83856" y="374596"/>
                  <a:pt x="0" y="290740"/>
                  <a:pt x="0" y="187298"/>
                </a:cubicBezTo>
                <a:cubicBezTo>
                  <a:pt x="0" y="83856"/>
                  <a:pt x="83856" y="0"/>
                  <a:pt x="187298" y="0"/>
                </a:cubicBezTo>
                <a:close/>
              </a:path>
            </a:pathLst>
          </a:custGeom>
          <a:solidFill>
            <a:schemeClr val="accent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微软雅黑"/>
              <a:ea typeface="微软雅黑"/>
              <a:cs typeface="+mn-cs"/>
            </a:endParaRPr>
          </a:p>
        </p:txBody>
      </p:sp>
      <p:sp>
        <p:nvSpPr>
          <p:cNvPr id="1016" name="Object 1016"/>
          <p:cNvSpPr txBox="1"/>
          <p:nvPr/>
        </p:nvSpPr>
        <p:spPr>
          <a:xfrm>
            <a:off x="6936233" y="5129757"/>
            <a:ext cx="3749369" cy="254000"/>
          </a:xfrm>
          <a:prstGeom prst="rect">
            <a:avLst/>
          </a:prstGeom>
        </p:spPr>
        <p:txBody>
          <a:bodyPr vert="horz" rtlCol="0" anchor="t" anchorCtr="0">
            <a:noAutofit/>
          </a:bodyPr>
          <a:lstStyle/>
          <a:p>
            <a:pPr marL="0" marR="0" lvl="0" indent="0" algn="l" defTabSz="914400" rtl="0" eaLnBrk="1" fontAlgn="auto" latinLnBrk="0" hangingPunct="1">
              <a:lnSpc>
                <a:spcPct val="123333"/>
              </a:lnSpc>
              <a:spcBef>
                <a:spcPts val="0"/>
              </a:spcBef>
              <a:spcAft>
                <a:spcPts val="0"/>
              </a:spcAft>
              <a:buClrTx/>
              <a:buSzTx/>
              <a:buFontTx/>
              <a:buNone/>
              <a:tabLst/>
              <a:defRPr/>
            </a:pPr>
            <a:r>
              <a:rPr kumimoji="0" lang="zh-CN" altLang="en-US" sz="1350" b="0" i="0" u="none" strike="noStrike" kern="1200" cap="none" spc="0" normalizeH="0" baseline="0" noProof="0" dirty="0">
                <a:ln>
                  <a:noFill/>
                </a:ln>
                <a:solidFill>
                  <a:srgbClr val="999999"/>
                </a:solidFill>
                <a:effectLst/>
                <a:uLnTx/>
                <a:uFillTx/>
                <a:latin typeface="SourceHanSansSC-Regular"/>
                <a:ea typeface="SourceHanSansSC-Regular"/>
                <a:cs typeface="+mn-cs"/>
              </a:rPr>
              <a:t>单击此处编辑文本单击此处编辑文本单击此处</a:t>
            </a:r>
            <a:endParaRPr kumimoji="0" lang="zh-CN" altLang="en-US" sz="1350" b="0" i="0" u="none" strike="noStrike" kern="1200" cap="none" spc="0" normalizeH="0" baseline="0" noProof="0">
              <a:ln>
                <a:noFill/>
              </a:ln>
              <a:solidFill>
                <a:prstClr val="black"/>
              </a:solidFill>
              <a:effectLst/>
              <a:uLnTx/>
              <a:uFillTx/>
              <a:latin typeface="微软雅黑"/>
              <a:ea typeface="微软雅黑"/>
              <a:cs typeface="+mn-cs"/>
            </a:endParaRPr>
          </a:p>
          <a:p>
            <a:pPr marL="0" marR="0" lvl="0" indent="0" algn="l" defTabSz="914400" rtl="0" eaLnBrk="1" fontAlgn="auto" latinLnBrk="0" hangingPunct="1">
              <a:lnSpc>
                <a:spcPct val="123333"/>
              </a:lnSpc>
              <a:spcBef>
                <a:spcPts val="0"/>
              </a:spcBef>
              <a:spcAft>
                <a:spcPts val="0"/>
              </a:spcAft>
              <a:buClrTx/>
              <a:buSzTx/>
              <a:buFontTx/>
              <a:buNone/>
              <a:tabLst/>
              <a:defRPr/>
            </a:pPr>
            <a:endParaRPr kumimoji="0" lang="zh-CN" altLang="en-US" sz="900" b="0" i="0" u="none" strike="noStrike" kern="1200" cap="none" spc="0" normalizeH="0" baseline="0" noProof="0">
              <a:ln>
                <a:noFill/>
              </a:ln>
              <a:solidFill>
                <a:prstClr val="black"/>
              </a:solidFill>
              <a:effectLst/>
              <a:uLnTx/>
              <a:uFillTx/>
              <a:latin typeface="微软雅黑"/>
              <a:ea typeface="微软雅黑"/>
              <a:cs typeface="+mn-cs"/>
            </a:endParaRPr>
          </a:p>
        </p:txBody>
      </p:sp>
      <p:sp>
        <p:nvSpPr>
          <p:cNvPr id="1017" name="Object 1017"/>
          <p:cNvSpPr txBox="1"/>
          <p:nvPr/>
        </p:nvSpPr>
        <p:spPr>
          <a:xfrm>
            <a:off x="7006118" y="4763495"/>
            <a:ext cx="1291749" cy="336550"/>
          </a:xfrm>
          <a:prstGeom prst="rect">
            <a:avLst/>
          </a:prstGeom>
        </p:spPr>
        <p:txBody>
          <a:bodyPr vert="horz" rtlCol="0" anchor="t" anchorCtr="0">
            <a:noAutofit/>
          </a:bodyPr>
          <a:lstStyle/>
          <a:p>
            <a:pPr marL="0" marR="0" lvl="0" indent="0" algn="l" defTabSz="914400" rtl="0" eaLnBrk="1" fontAlgn="auto" latinLnBrk="0" hangingPunct="1">
              <a:lnSpc>
                <a:spcPct val="123333"/>
              </a:lnSpc>
              <a:spcBef>
                <a:spcPts val="0"/>
              </a:spcBef>
              <a:spcAft>
                <a:spcPts val="0"/>
              </a:spcAft>
              <a:buClrTx/>
              <a:buSzTx/>
              <a:buFontTx/>
              <a:buNone/>
              <a:tabLst/>
              <a:defRPr/>
            </a:pPr>
            <a:r>
              <a:rPr kumimoji="0" lang="zh-CN" altLang="en-US" sz="1780" b="0" i="0" u="none" strike="noStrike" kern="1200" cap="none" spc="0" normalizeH="0" baseline="0" noProof="0" dirty="0">
                <a:ln>
                  <a:noFill/>
                </a:ln>
                <a:solidFill>
                  <a:prstClr val="black"/>
                </a:solidFill>
                <a:effectLst/>
                <a:uLnTx/>
                <a:uFillTx/>
                <a:latin typeface="OPPOSans B" panose="00020600040101010101" pitchFamily="18" charset="-122"/>
                <a:ea typeface="OPPOSans B" panose="00020600040101010101" pitchFamily="18" charset="-122"/>
                <a:cs typeface="+mn-cs"/>
              </a:rPr>
              <a:t>添加标题</a:t>
            </a:r>
            <a:endParaRPr kumimoji="0" lang="zh-CN" altLang="en-US" sz="900" b="0" i="0" u="none" strike="noStrike" kern="1200" cap="none" spc="0" normalizeH="0" baseline="0" noProof="0" dirty="0">
              <a:ln>
                <a:noFill/>
              </a:ln>
              <a:solidFill>
                <a:prstClr val="black"/>
              </a:solidFill>
              <a:effectLst/>
              <a:uLnTx/>
              <a:uFillTx/>
              <a:latin typeface="微软雅黑"/>
              <a:ea typeface="微软雅黑"/>
              <a:cs typeface="+mn-cs"/>
            </a:endParaRPr>
          </a:p>
        </p:txBody>
      </p:sp>
      <p:sp>
        <p:nvSpPr>
          <p:cNvPr id="1018" name="Object 1018"/>
          <p:cNvSpPr txBox="1"/>
          <p:nvPr/>
        </p:nvSpPr>
        <p:spPr>
          <a:xfrm>
            <a:off x="6509486" y="5040945"/>
            <a:ext cx="496632" cy="336550"/>
          </a:xfrm>
          <a:prstGeom prst="rect">
            <a:avLst/>
          </a:prstGeom>
        </p:spPr>
        <p:txBody>
          <a:bodyPr vert="horz" rtlCol="0" anchor="t" anchorCtr="0">
            <a:noAutofit/>
          </a:bodyPr>
          <a:lstStyle/>
          <a:p>
            <a:pPr marL="0" marR="0" lvl="0" indent="0" algn="ctr" defTabSz="914400" rtl="0" eaLnBrk="1" fontAlgn="auto" latinLnBrk="0" hangingPunct="1">
              <a:lnSpc>
                <a:spcPct val="88333"/>
              </a:lnSpc>
              <a:spcBef>
                <a:spcPts val="0"/>
              </a:spcBef>
              <a:spcAft>
                <a:spcPts val="0"/>
              </a:spcAft>
              <a:buClrTx/>
              <a:buSzTx/>
              <a:buFontTx/>
              <a:buNone/>
              <a:tabLst/>
              <a:defRPr/>
            </a:pPr>
            <a:r>
              <a:rPr kumimoji="0" lang="en-US" altLang="zh-CN" sz="1350" b="0" i="0" u="none" strike="noStrike" kern="1200" cap="none" spc="0" normalizeH="0" baseline="0" noProof="0" dirty="0">
                <a:ln>
                  <a:noFill/>
                </a:ln>
                <a:solidFill>
                  <a:srgbClr val="235ABE"/>
                </a:solidFill>
                <a:effectLst/>
                <a:uLnTx/>
                <a:uFillTx/>
                <a:latin typeface="PangMenZhengDao"/>
                <a:ea typeface="PangMenZhengDao"/>
                <a:cs typeface="+mn-cs"/>
              </a:rPr>
              <a:t>01</a:t>
            </a:r>
            <a:endParaRPr kumimoji="0" lang="zh-CN" altLang="en-US" sz="900" b="0" i="0" u="none" strike="noStrike" kern="1200" cap="none" spc="0" normalizeH="0" baseline="0" noProof="0" dirty="0">
              <a:ln>
                <a:noFill/>
              </a:ln>
              <a:solidFill>
                <a:prstClr val="black"/>
              </a:solidFill>
              <a:effectLst/>
              <a:uLnTx/>
              <a:uFillTx/>
              <a:latin typeface="微软雅黑"/>
              <a:ea typeface="微软雅黑"/>
              <a:cs typeface="+mn-cs"/>
            </a:endParaRPr>
          </a:p>
        </p:txBody>
      </p:sp>
      <p:sp>
        <p:nvSpPr>
          <p:cNvPr id="1027" name="Object 1027"/>
          <p:cNvSpPr txBox="1"/>
          <p:nvPr/>
        </p:nvSpPr>
        <p:spPr>
          <a:xfrm>
            <a:off x="6190795" y="4202617"/>
            <a:ext cx="3924081" cy="254000"/>
          </a:xfrm>
          <a:prstGeom prst="rect">
            <a:avLst/>
          </a:prstGeom>
        </p:spPr>
        <p:txBody>
          <a:bodyPr vert="horz" rtlCol="0" anchor="t" anchorCtr="0">
            <a:noAutofit/>
          </a:bodyPr>
          <a:lstStyle/>
          <a:p>
            <a:pPr marL="0" marR="0" lvl="0" indent="0" algn="l" defTabSz="914400" rtl="0" eaLnBrk="1" fontAlgn="auto" latinLnBrk="0" hangingPunct="1">
              <a:lnSpc>
                <a:spcPct val="123333"/>
              </a:lnSpc>
              <a:spcBef>
                <a:spcPts val="0"/>
              </a:spcBef>
              <a:spcAft>
                <a:spcPts val="0"/>
              </a:spcAft>
              <a:buClrTx/>
              <a:buSzTx/>
              <a:buFontTx/>
              <a:buNone/>
              <a:tabLst/>
              <a:defRPr/>
            </a:pPr>
            <a:r>
              <a:rPr kumimoji="0" lang="zh-CN" altLang="en-US" sz="1350" b="0" i="0" u="none" strike="noStrike" kern="1200" cap="none" spc="0" normalizeH="0" baseline="0" noProof="0" dirty="0">
                <a:ln>
                  <a:noFill/>
                </a:ln>
                <a:solidFill>
                  <a:srgbClr val="999999"/>
                </a:solidFill>
                <a:effectLst/>
                <a:uLnTx/>
                <a:uFillTx/>
                <a:latin typeface="SourceHanSansSC-Regular"/>
                <a:ea typeface="SourceHanSansSC-Regular"/>
                <a:cs typeface="+mn-cs"/>
              </a:rPr>
              <a:t>单击此处编辑文本单击此处编辑文本单击此处</a:t>
            </a:r>
            <a:endParaRPr kumimoji="0" lang="zh-CN" altLang="en-US" sz="1350" b="0" i="0" u="none" strike="noStrike" kern="1200" cap="none" spc="0" normalizeH="0" baseline="0" noProof="0">
              <a:ln>
                <a:noFill/>
              </a:ln>
              <a:solidFill>
                <a:prstClr val="black"/>
              </a:solidFill>
              <a:effectLst/>
              <a:uLnTx/>
              <a:uFillTx/>
              <a:latin typeface="微软雅黑"/>
              <a:ea typeface="微软雅黑"/>
              <a:cs typeface="+mn-cs"/>
            </a:endParaRPr>
          </a:p>
          <a:p>
            <a:pPr marL="0" marR="0" lvl="0" indent="0" algn="l" defTabSz="914400" rtl="0" eaLnBrk="1" fontAlgn="auto" latinLnBrk="0" hangingPunct="1">
              <a:lnSpc>
                <a:spcPct val="123333"/>
              </a:lnSpc>
              <a:spcBef>
                <a:spcPts val="0"/>
              </a:spcBef>
              <a:spcAft>
                <a:spcPts val="0"/>
              </a:spcAft>
              <a:buClrTx/>
              <a:buSzTx/>
              <a:buFontTx/>
              <a:buNone/>
              <a:tabLst/>
              <a:defRPr/>
            </a:pPr>
            <a:endParaRPr kumimoji="0" lang="zh-CN" altLang="en-US" sz="900" b="0" i="0" u="none" strike="noStrike" kern="1200" cap="none" spc="0" normalizeH="0" baseline="0" noProof="0">
              <a:ln>
                <a:noFill/>
              </a:ln>
              <a:solidFill>
                <a:prstClr val="black"/>
              </a:solidFill>
              <a:effectLst/>
              <a:uLnTx/>
              <a:uFillTx/>
              <a:latin typeface="微软雅黑"/>
              <a:ea typeface="微软雅黑"/>
              <a:cs typeface="+mn-cs"/>
            </a:endParaRPr>
          </a:p>
        </p:txBody>
      </p:sp>
      <p:sp>
        <p:nvSpPr>
          <p:cNvPr id="1028" name="Object 1028"/>
          <p:cNvSpPr txBox="1"/>
          <p:nvPr/>
        </p:nvSpPr>
        <p:spPr>
          <a:xfrm>
            <a:off x="6260680" y="3808401"/>
            <a:ext cx="1291749" cy="336550"/>
          </a:xfrm>
          <a:prstGeom prst="rect">
            <a:avLst/>
          </a:prstGeom>
        </p:spPr>
        <p:txBody>
          <a:bodyPr vert="horz" rtlCol="0" anchor="t" anchorCtr="0">
            <a:noAutofit/>
          </a:bodyPr>
          <a:lstStyle/>
          <a:p>
            <a:pPr marL="0" marR="0" lvl="0" indent="0" algn="l" defTabSz="914400" rtl="0" eaLnBrk="1" fontAlgn="auto" latinLnBrk="0" hangingPunct="1">
              <a:lnSpc>
                <a:spcPct val="123333"/>
              </a:lnSpc>
              <a:spcBef>
                <a:spcPts val="0"/>
              </a:spcBef>
              <a:spcAft>
                <a:spcPts val="0"/>
              </a:spcAft>
              <a:buClrTx/>
              <a:buSzTx/>
              <a:buFontTx/>
              <a:buNone/>
              <a:tabLst/>
              <a:defRPr/>
            </a:pPr>
            <a:r>
              <a:rPr kumimoji="0" lang="zh-CN" altLang="en-US" sz="1780" b="0" i="0" u="none" strike="noStrike" kern="1200" cap="none" spc="0" normalizeH="0" baseline="0" noProof="0" dirty="0">
                <a:ln>
                  <a:noFill/>
                </a:ln>
                <a:solidFill>
                  <a:prstClr val="black"/>
                </a:solidFill>
                <a:effectLst/>
                <a:uLnTx/>
                <a:uFillTx/>
                <a:latin typeface="OPPOSans B" panose="00020600040101010101" pitchFamily="18" charset="-122"/>
                <a:ea typeface="OPPOSans B" panose="00020600040101010101" pitchFamily="18" charset="-122"/>
                <a:cs typeface="+mn-cs"/>
              </a:rPr>
              <a:t>添加标题</a:t>
            </a:r>
            <a:endParaRPr kumimoji="0" lang="zh-CN" altLang="en-US" sz="900" b="0" i="0" u="none" strike="noStrike" kern="1200" cap="none" spc="0" normalizeH="0" baseline="0" noProof="0" dirty="0">
              <a:ln>
                <a:noFill/>
              </a:ln>
              <a:solidFill>
                <a:prstClr val="black"/>
              </a:solidFill>
              <a:effectLst/>
              <a:uLnTx/>
              <a:uFillTx/>
              <a:latin typeface="微软雅黑"/>
              <a:ea typeface="微软雅黑"/>
              <a:cs typeface="+mn-cs"/>
            </a:endParaRPr>
          </a:p>
        </p:txBody>
      </p:sp>
      <p:sp>
        <p:nvSpPr>
          <p:cNvPr id="1029" name="Object 1029"/>
          <p:cNvSpPr txBox="1"/>
          <p:nvPr/>
        </p:nvSpPr>
        <p:spPr>
          <a:xfrm>
            <a:off x="5752400" y="4103323"/>
            <a:ext cx="419310" cy="184150"/>
          </a:xfrm>
          <a:prstGeom prst="rect">
            <a:avLst/>
          </a:prstGeom>
        </p:spPr>
        <p:txBody>
          <a:bodyPr vert="horz" rtlCol="0" anchor="t" anchorCtr="0">
            <a:noAutofit/>
          </a:bodyPr>
          <a:lstStyle/>
          <a:p>
            <a:pPr marL="0" marR="0" lvl="0" indent="0" algn="ctr" defTabSz="914400" rtl="0" eaLnBrk="1" fontAlgn="auto" latinLnBrk="0" hangingPunct="1">
              <a:lnSpc>
                <a:spcPct val="88333"/>
              </a:lnSpc>
              <a:spcBef>
                <a:spcPts val="0"/>
              </a:spcBef>
              <a:spcAft>
                <a:spcPts val="0"/>
              </a:spcAft>
              <a:buClrTx/>
              <a:buSzTx/>
              <a:buFontTx/>
              <a:buNone/>
              <a:tabLst/>
              <a:defRPr/>
            </a:pPr>
            <a:r>
              <a:rPr kumimoji="0" lang="en-US" altLang="zh-CN" sz="1350" b="0" i="0" u="none" strike="noStrike" kern="1200" cap="none" spc="0" normalizeH="0" baseline="0" noProof="0" dirty="0">
                <a:ln>
                  <a:noFill/>
                </a:ln>
                <a:solidFill>
                  <a:schemeClr val="accent1"/>
                </a:solidFill>
                <a:effectLst/>
                <a:uLnTx/>
                <a:uFillTx/>
                <a:latin typeface="PangMenZhengDao"/>
                <a:ea typeface="PangMenZhengDao"/>
                <a:cs typeface="+mn-cs"/>
              </a:rPr>
              <a:t>02</a:t>
            </a:r>
            <a:endParaRPr kumimoji="0" lang="zh-CN" altLang="en-US" sz="900" b="0" i="0" u="none" strike="noStrike" kern="1200" cap="none" spc="0" normalizeH="0" baseline="0" noProof="0">
              <a:ln>
                <a:noFill/>
              </a:ln>
              <a:solidFill>
                <a:schemeClr val="accent1"/>
              </a:solidFill>
              <a:effectLst/>
              <a:uLnTx/>
              <a:uFillTx/>
              <a:latin typeface="微软雅黑"/>
              <a:ea typeface="微软雅黑"/>
              <a:cs typeface="+mn-cs"/>
            </a:endParaRPr>
          </a:p>
        </p:txBody>
      </p:sp>
      <p:sp>
        <p:nvSpPr>
          <p:cNvPr id="1038" name="Object 1038"/>
          <p:cNvSpPr txBox="1"/>
          <p:nvPr/>
        </p:nvSpPr>
        <p:spPr>
          <a:xfrm>
            <a:off x="5783133" y="3346527"/>
            <a:ext cx="3924081" cy="254000"/>
          </a:xfrm>
          <a:prstGeom prst="rect">
            <a:avLst/>
          </a:prstGeom>
        </p:spPr>
        <p:txBody>
          <a:bodyPr vert="horz" rtlCol="0" anchor="t" anchorCtr="0">
            <a:noAutofit/>
          </a:bodyPr>
          <a:lstStyle/>
          <a:p>
            <a:pPr marL="0" marR="0" lvl="0" indent="0" algn="l" defTabSz="914400" rtl="0" eaLnBrk="1" fontAlgn="auto" latinLnBrk="0" hangingPunct="1">
              <a:lnSpc>
                <a:spcPct val="123333"/>
              </a:lnSpc>
              <a:spcBef>
                <a:spcPts val="0"/>
              </a:spcBef>
              <a:spcAft>
                <a:spcPts val="0"/>
              </a:spcAft>
              <a:buClrTx/>
              <a:buSzTx/>
              <a:buFontTx/>
              <a:buNone/>
              <a:tabLst/>
              <a:defRPr/>
            </a:pPr>
            <a:r>
              <a:rPr kumimoji="0" lang="zh-CN" altLang="en-US" sz="1350" b="0" i="0" u="none" strike="noStrike" kern="1200" cap="none" spc="0" normalizeH="0" baseline="0" noProof="0" dirty="0">
                <a:ln>
                  <a:noFill/>
                </a:ln>
                <a:solidFill>
                  <a:srgbClr val="999999"/>
                </a:solidFill>
                <a:effectLst/>
                <a:uLnTx/>
                <a:uFillTx/>
                <a:latin typeface="SourceHanSansSC-Regular"/>
                <a:ea typeface="SourceHanSansSC-Regular"/>
                <a:cs typeface="+mn-cs"/>
              </a:rPr>
              <a:t>单击此处编辑文本单击此处编辑文本单击此处</a:t>
            </a:r>
            <a:endParaRPr kumimoji="0" lang="zh-CN" altLang="en-US" sz="1350" b="0" i="0" u="none" strike="noStrike" kern="1200" cap="none" spc="0" normalizeH="0" baseline="0" noProof="0">
              <a:ln>
                <a:noFill/>
              </a:ln>
              <a:solidFill>
                <a:prstClr val="black"/>
              </a:solidFill>
              <a:effectLst/>
              <a:uLnTx/>
              <a:uFillTx/>
              <a:latin typeface="微软雅黑"/>
              <a:ea typeface="微软雅黑"/>
              <a:cs typeface="+mn-cs"/>
            </a:endParaRPr>
          </a:p>
          <a:p>
            <a:pPr marL="0" marR="0" lvl="0" indent="0" algn="l" defTabSz="914400" rtl="0" eaLnBrk="1" fontAlgn="auto" latinLnBrk="0" hangingPunct="1">
              <a:lnSpc>
                <a:spcPct val="123333"/>
              </a:lnSpc>
              <a:spcBef>
                <a:spcPts val="0"/>
              </a:spcBef>
              <a:spcAft>
                <a:spcPts val="0"/>
              </a:spcAft>
              <a:buClrTx/>
              <a:buSzTx/>
              <a:buFontTx/>
              <a:buNone/>
              <a:tabLst/>
              <a:defRPr/>
            </a:pPr>
            <a:endParaRPr kumimoji="0" lang="zh-CN" altLang="en-US" sz="900" b="0" i="0" u="none" strike="noStrike" kern="1200" cap="none" spc="0" normalizeH="0" baseline="0" noProof="0">
              <a:ln>
                <a:noFill/>
              </a:ln>
              <a:solidFill>
                <a:prstClr val="black"/>
              </a:solidFill>
              <a:effectLst/>
              <a:uLnTx/>
              <a:uFillTx/>
              <a:latin typeface="微软雅黑"/>
              <a:ea typeface="微软雅黑"/>
              <a:cs typeface="+mn-cs"/>
            </a:endParaRPr>
          </a:p>
        </p:txBody>
      </p:sp>
      <p:sp>
        <p:nvSpPr>
          <p:cNvPr id="1039" name="Object 1039"/>
          <p:cNvSpPr txBox="1"/>
          <p:nvPr/>
        </p:nvSpPr>
        <p:spPr>
          <a:xfrm>
            <a:off x="5853017" y="2952311"/>
            <a:ext cx="1291749" cy="336550"/>
          </a:xfrm>
          <a:prstGeom prst="rect">
            <a:avLst/>
          </a:prstGeom>
        </p:spPr>
        <p:txBody>
          <a:bodyPr vert="horz" rtlCol="0" anchor="t" anchorCtr="0">
            <a:noAutofit/>
          </a:bodyPr>
          <a:lstStyle/>
          <a:p>
            <a:pPr marL="0" marR="0" lvl="0" indent="0" algn="l" defTabSz="914400" rtl="0" eaLnBrk="1" fontAlgn="auto" latinLnBrk="0" hangingPunct="1">
              <a:lnSpc>
                <a:spcPct val="123333"/>
              </a:lnSpc>
              <a:spcBef>
                <a:spcPts val="0"/>
              </a:spcBef>
              <a:spcAft>
                <a:spcPts val="0"/>
              </a:spcAft>
              <a:buClrTx/>
              <a:buSzTx/>
              <a:buFontTx/>
              <a:buNone/>
              <a:tabLst/>
              <a:defRPr/>
            </a:pPr>
            <a:r>
              <a:rPr kumimoji="0" lang="zh-CN" altLang="en-US" sz="1780" b="0" i="0" u="none" strike="noStrike" kern="1200" cap="none" spc="0" normalizeH="0" baseline="0" noProof="0" dirty="0">
                <a:ln>
                  <a:noFill/>
                </a:ln>
                <a:solidFill>
                  <a:prstClr val="black"/>
                </a:solidFill>
                <a:effectLst/>
                <a:uLnTx/>
                <a:uFillTx/>
                <a:latin typeface="OPPOSans B" panose="00020600040101010101" pitchFamily="18" charset="-122"/>
                <a:ea typeface="OPPOSans B" panose="00020600040101010101" pitchFamily="18" charset="-122"/>
                <a:cs typeface="+mn-cs"/>
              </a:rPr>
              <a:t>添加标题</a:t>
            </a:r>
            <a:endParaRPr kumimoji="0" lang="zh-CN" altLang="en-US" sz="900" b="0" i="0" u="none" strike="noStrike" kern="1200" cap="none" spc="0" normalizeH="0" baseline="0" noProof="0" dirty="0">
              <a:ln>
                <a:noFill/>
              </a:ln>
              <a:solidFill>
                <a:prstClr val="black"/>
              </a:solidFill>
              <a:effectLst/>
              <a:uLnTx/>
              <a:uFillTx/>
              <a:latin typeface="微软雅黑"/>
              <a:ea typeface="微软雅黑"/>
              <a:cs typeface="+mn-cs"/>
            </a:endParaRPr>
          </a:p>
        </p:txBody>
      </p:sp>
      <p:sp>
        <p:nvSpPr>
          <p:cNvPr id="1040" name="Object 1040"/>
          <p:cNvSpPr txBox="1"/>
          <p:nvPr/>
        </p:nvSpPr>
        <p:spPr>
          <a:xfrm>
            <a:off x="5292324" y="3282175"/>
            <a:ext cx="413486" cy="184150"/>
          </a:xfrm>
          <a:prstGeom prst="rect">
            <a:avLst/>
          </a:prstGeom>
        </p:spPr>
        <p:txBody>
          <a:bodyPr vert="horz" rtlCol="0" anchor="t" anchorCtr="0">
            <a:noAutofit/>
          </a:bodyPr>
          <a:lstStyle/>
          <a:p>
            <a:pPr marL="0" marR="0" lvl="0" indent="0" algn="ctr" defTabSz="914400" rtl="0" eaLnBrk="1" fontAlgn="auto" latinLnBrk="0" hangingPunct="1">
              <a:lnSpc>
                <a:spcPct val="88333"/>
              </a:lnSpc>
              <a:spcBef>
                <a:spcPts val="0"/>
              </a:spcBef>
              <a:spcAft>
                <a:spcPts val="0"/>
              </a:spcAft>
              <a:buClrTx/>
              <a:buSzTx/>
              <a:buFontTx/>
              <a:buNone/>
              <a:tabLst/>
              <a:defRPr/>
            </a:pPr>
            <a:r>
              <a:rPr kumimoji="0" lang="en-US" altLang="zh-CN" sz="1350" b="0" i="0" u="none" strike="noStrike" kern="1200" cap="none" spc="0" normalizeH="0" baseline="0" noProof="0" dirty="0">
                <a:ln>
                  <a:noFill/>
                </a:ln>
                <a:solidFill>
                  <a:schemeClr val="accent1"/>
                </a:solidFill>
                <a:effectLst/>
                <a:uLnTx/>
                <a:uFillTx/>
                <a:latin typeface="PangMenZhengDao"/>
                <a:ea typeface="PangMenZhengDao"/>
                <a:cs typeface="+mn-cs"/>
              </a:rPr>
              <a:t>03</a:t>
            </a:r>
            <a:endParaRPr kumimoji="0" lang="zh-CN" altLang="en-US" sz="900" b="0" i="0" u="none" strike="noStrike" kern="1200" cap="none" spc="0" normalizeH="0" baseline="0" noProof="0">
              <a:ln>
                <a:noFill/>
              </a:ln>
              <a:solidFill>
                <a:schemeClr val="accent1"/>
              </a:solidFill>
              <a:effectLst/>
              <a:uLnTx/>
              <a:uFillTx/>
              <a:latin typeface="微软雅黑"/>
              <a:ea typeface="微软雅黑"/>
              <a:cs typeface="+mn-cs"/>
            </a:endParaRPr>
          </a:p>
        </p:txBody>
      </p:sp>
      <p:sp>
        <p:nvSpPr>
          <p:cNvPr id="1049" name="Object 1049"/>
          <p:cNvSpPr txBox="1"/>
          <p:nvPr/>
        </p:nvSpPr>
        <p:spPr>
          <a:xfrm>
            <a:off x="5189111" y="2525378"/>
            <a:ext cx="3924081" cy="254000"/>
          </a:xfrm>
          <a:prstGeom prst="rect">
            <a:avLst/>
          </a:prstGeom>
        </p:spPr>
        <p:txBody>
          <a:bodyPr vert="horz" rtlCol="0" anchor="t" anchorCtr="0">
            <a:noAutofit/>
          </a:bodyPr>
          <a:lstStyle/>
          <a:p>
            <a:pPr marL="0" marR="0" lvl="0" indent="0" algn="l" defTabSz="914400" rtl="0" eaLnBrk="1" fontAlgn="auto" latinLnBrk="0" hangingPunct="1">
              <a:lnSpc>
                <a:spcPct val="123333"/>
              </a:lnSpc>
              <a:spcBef>
                <a:spcPts val="0"/>
              </a:spcBef>
              <a:spcAft>
                <a:spcPts val="0"/>
              </a:spcAft>
              <a:buClrTx/>
              <a:buSzTx/>
              <a:buFontTx/>
              <a:buNone/>
              <a:tabLst/>
              <a:defRPr/>
            </a:pPr>
            <a:r>
              <a:rPr kumimoji="0" lang="zh-CN" altLang="en-US" sz="1350" b="0" i="0" u="none" strike="noStrike" kern="1200" cap="none" spc="0" normalizeH="0" baseline="0" noProof="0" dirty="0">
                <a:ln>
                  <a:noFill/>
                </a:ln>
                <a:solidFill>
                  <a:srgbClr val="999999"/>
                </a:solidFill>
                <a:effectLst/>
                <a:uLnTx/>
                <a:uFillTx/>
                <a:latin typeface="SourceHanSansSC-Regular"/>
                <a:ea typeface="SourceHanSansSC-Regular"/>
                <a:cs typeface="+mn-cs"/>
              </a:rPr>
              <a:t>单击此处编辑文本单击此处编辑文本单击此处</a:t>
            </a:r>
            <a:endParaRPr kumimoji="0" lang="zh-CN" altLang="en-US" sz="1350" b="0" i="0" u="none" strike="noStrike" kern="1200" cap="none" spc="0" normalizeH="0" baseline="0" noProof="0">
              <a:ln>
                <a:noFill/>
              </a:ln>
              <a:solidFill>
                <a:prstClr val="black"/>
              </a:solidFill>
              <a:effectLst/>
              <a:uLnTx/>
              <a:uFillTx/>
              <a:latin typeface="微软雅黑"/>
              <a:ea typeface="微软雅黑"/>
              <a:cs typeface="+mn-cs"/>
            </a:endParaRPr>
          </a:p>
          <a:p>
            <a:pPr marL="0" marR="0" lvl="0" indent="0" algn="l" defTabSz="914400" rtl="0" eaLnBrk="1" fontAlgn="auto" latinLnBrk="0" hangingPunct="1">
              <a:lnSpc>
                <a:spcPct val="123333"/>
              </a:lnSpc>
              <a:spcBef>
                <a:spcPts val="0"/>
              </a:spcBef>
              <a:spcAft>
                <a:spcPts val="0"/>
              </a:spcAft>
              <a:buClrTx/>
              <a:buSzTx/>
              <a:buFontTx/>
              <a:buNone/>
              <a:tabLst/>
              <a:defRPr/>
            </a:pPr>
            <a:endParaRPr kumimoji="0" lang="zh-CN" altLang="en-US" sz="900" b="0" i="0" u="none" strike="noStrike" kern="1200" cap="none" spc="0" normalizeH="0" baseline="0" noProof="0">
              <a:ln>
                <a:noFill/>
              </a:ln>
              <a:solidFill>
                <a:prstClr val="black"/>
              </a:solidFill>
              <a:effectLst/>
              <a:uLnTx/>
              <a:uFillTx/>
              <a:latin typeface="微软雅黑"/>
              <a:ea typeface="微软雅黑"/>
              <a:cs typeface="+mn-cs"/>
            </a:endParaRPr>
          </a:p>
        </p:txBody>
      </p:sp>
      <p:sp>
        <p:nvSpPr>
          <p:cNvPr id="1050" name="Object 1050"/>
          <p:cNvSpPr txBox="1"/>
          <p:nvPr/>
        </p:nvSpPr>
        <p:spPr>
          <a:xfrm>
            <a:off x="5258996" y="2131162"/>
            <a:ext cx="1291749" cy="336550"/>
          </a:xfrm>
          <a:prstGeom prst="rect">
            <a:avLst/>
          </a:prstGeom>
        </p:spPr>
        <p:txBody>
          <a:bodyPr vert="horz" rtlCol="0" anchor="t" anchorCtr="0">
            <a:noAutofit/>
          </a:bodyPr>
          <a:lstStyle/>
          <a:p>
            <a:pPr marL="0" marR="0" lvl="0" indent="0" algn="l" defTabSz="914400" rtl="0" eaLnBrk="1" fontAlgn="auto" latinLnBrk="0" hangingPunct="1">
              <a:lnSpc>
                <a:spcPct val="123333"/>
              </a:lnSpc>
              <a:spcBef>
                <a:spcPts val="0"/>
              </a:spcBef>
              <a:spcAft>
                <a:spcPts val="0"/>
              </a:spcAft>
              <a:buClrTx/>
              <a:buSzTx/>
              <a:buFontTx/>
              <a:buNone/>
              <a:tabLst/>
              <a:defRPr/>
            </a:pPr>
            <a:r>
              <a:rPr kumimoji="0" lang="zh-CN" altLang="en-US" sz="1780" b="0" i="0" u="none" strike="noStrike" kern="1200" cap="none" spc="0" normalizeH="0" baseline="0" noProof="0" dirty="0">
                <a:ln>
                  <a:noFill/>
                </a:ln>
                <a:solidFill>
                  <a:prstClr val="black"/>
                </a:solidFill>
                <a:effectLst/>
                <a:uLnTx/>
                <a:uFillTx/>
                <a:latin typeface="OPPOSans B" panose="00020600040101010101" pitchFamily="18" charset="-122"/>
                <a:ea typeface="OPPOSans B" panose="00020600040101010101" pitchFamily="18" charset="-122"/>
                <a:cs typeface="+mn-cs"/>
              </a:rPr>
              <a:t>添加标题</a:t>
            </a:r>
            <a:endParaRPr kumimoji="0" lang="zh-CN" altLang="en-US" sz="900" b="0" i="0" u="none" strike="noStrike" kern="1200" cap="none" spc="0" normalizeH="0" baseline="0" noProof="0" dirty="0">
              <a:ln>
                <a:noFill/>
              </a:ln>
              <a:solidFill>
                <a:prstClr val="black"/>
              </a:solidFill>
              <a:effectLst/>
              <a:uLnTx/>
              <a:uFillTx/>
              <a:latin typeface="微软雅黑"/>
              <a:ea typeface="微软雅黑"/>
              <a:cs typeface="+mn-cs"/>
            </a:endParaRPr>
          </a:p>
        </p:txBody>
      </p:sp>
      <p:sp>
        <p:nvSpPr>
          <p:cNvPr id="1051" name="Object 1051"/>
          <p:cNvSpPr txBox="1"/>
          <p:nvPr/>
        </p:nvSpPr>
        <p:spPr>
          <a:xfrm>
            <a:off x="4752360" y="2482700"/>
            <a:ext cx="425133" cy="184150"/>
          </a:xfrm>
          <a:prstGeom prst="rect">
            <a:avLst/>
          </a:prstGeom>
        </p:spPr>
        <p:txBody>
          <a:bodyPr vert="horz" rtlCol="0" anchor="t" anchorCtr="0">
            <a:noAutofit/>
          </a:bodyPr>
          <a:lstStyle/>
          <a:p>
            <a:pPr marL="0" marR="0" lvl="0" indent="0" algn="ctr" defTabSz="914400" rtl="0" eaLnBrk="1" fontAlgn="auto" latinLnBrk="0" hangingPunct="1">
              <a:lnSpc>
                <a:spcPct val="88333"/>
              </a:lnSpc>
              <a:spcBef>
                <a:spcPts val="0"/>
              </a:spcBef>
              <a:spcAft>
                <a:spcPts val="0"/>
              </a:spcAft>
              <a:buClrTx/>
              <a:buSzTx/>
              <a:buFontTx/>
              <a:buNone/>
              <a:tabLst/>
              <a:defRPr/>
            </a:pPr>
            <a:r>
              <a:rPr kumimoji="0" lang="en-US" altLang="zh-CN" sz="1350" b="0" i="0" u="none" strike="noStrike" kern="1200" cap="none" spc="0" normalizeH="0" baseline="0" noProof="0" dirty="0">
                <a:ln>
                  <a:noFill/>
                </a:ln>
                <a:solidFill>
                  <a:schemeClr val="accent1"/>
                </a:solidFill>
                <a:effectLst/>
                <a:uLnTx/>
                <a:uFillTx/>
                <a:latin typeface="PangMenZhengDao"/>
                <a:ea typeface="PangMenZhengDao"/>
                <a:cs typeface="+mn-cs"/>
              </a:rPr>
              <a:t>04</a:t>
            </a:r>
            <a:endParaRPr kumimoji="0" lang="zh-CN" altLang="en-US" sz="900" b="0" i="0" u="none" strike="noStrike" kern="1200" cap="none" spc="0" normalizeH="0" baseline="0" noProof="0" dirty="0">
              <a:ln>
                <a:noFill/>
              </a:ln>
              <a:solidFill>
                <a:schemeClr val="accent1"/>
              </a:solidFill>
              <a:effectLst/>
              <a:uLnTx/>
              <a:uFillTx/>
              <a:latin typeface="微软雅黑"/>
              <a:ea typeface="微软雅黑"/>
              <a:cs typeface="+mn-cs"/>
            </a:endParaRPr>
          </a:p>
        </p:txBody>
      </p:sp>
      <p:sp>
        <p:nvSpPr>
          <p:cNvPr id="75" name="椭圆 74">
            <a:extLst>
              <a:ext uri="{FF2B5EF4-FFF2-40B4-BE49-F238E27FC236}">
                <a16:creationId xmlns:a16="http://schemas.microsoft.com/office/drawing/2014/main" id="{5EEC55C8-056E-4A59-816C-CC4B71394804}"/>
              </a:ext>
            </a:extLst>
          </p:cNvPr>
          <p:cNvSpPr/>
          <p:nvPr/>
        </p:nvSpPr>
        <p:spPr>
          <a:xfrm>
            <a:off x="1490106" y="5134487"/>
            <a:ext cx="2608161" cy="734323"/>
          </a:xfrm>
          <a:prstGeom prst="ellipse">
            <a:avLst/>
          </a:prstGeom>
          <a:solidFill>
            <a:schemeClr val="accent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微软雅黑"/>
              <a:ea typeface="微软雅黑"/>
              <a:cs typeface="+mn-cs"/>
            </a:endParaRPr>
          </a:p>
        </p:txBody>
      </p:sp>
      <p:sp>
        <p:nvSpPr>
          <p:cNvPr id="76" name="矩形 75">
            <a:extLst>
              <a:ext uri="{FF2B5EF4-FFF2-40B4-BE49-F238E27FC236}">
                <a16:creationId xmlns:a16="http://schemas.microsoft.com/office/drawing/2014/main" id="{494BB2A2-F47B-4AC9-89A4-53BC19EC382C}"/>
              </a:ext>
            </a:extLst>
          </p:cNvPr>
          <p:cNvSpPr/>
          <p:nvPr/>
        </p:nvSpPr>
        <p:spPr>
          <a:xfrm>
            <a:off x="1490106" y="4879754"/>
            <a:ext cx="2608161" cy="681871"/>
          </a:xfrm>
          <a:prstGeom prst="rect">
            <a:avLst/>
          </a:prstGeom>
          <a:solidFill>
            <a:schemeClr val="accent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微软雅黑"/>
              <a:ea typeface="微软雅黑"/>
              <a:cs typeface="+mn-cs"/>
            </a:endParaRPr>
          </a:p>
        </p:txBody>
      </p:sp>
      <p:sp>
        <p:nvSpPr>
          <p:cNvPr id="77" name="椭圆 76">
            <a:extLst>
              <a:ext uri="{FF2B5EF4-FFF2-40B4-BE49-F238E27FC236}">
                <a16:creationId xmlns:a16="http://schemas.microsoft.com/office/drawing/2014/main" id="{BB0022D0-65E4-4D16-9925-948BD2A552B0}"/>
              </a:ext>
            </a:extLst>
          </p:cNvPr>
          <p:cNvSpPr/>
          <p:nvPr/>
        </p:nvSpPr>
        <p:spPr>
          <a:xfrm>
            <a:off x="1490106" y="4527115"/>
            <a:ext cx="2608161" cy="734323"/>
          </a:xfrm>
          <a:prstGeom prst="ellips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微软雅黑"/>
              <a:ea typeface="微软雅黑"/>
              <a:cs typeface="+mn-cs"/>
            </a:endParaRPr>
          </a:p>
        </p:txBody>
      </p:sp>
      <p:sp>
        <p:nvSpPr>
          <p:cNvPr id="78" name="椭圆 77">
            <a:extLst>
              <a:ext uri="{FF2B5EF4-FFF2-40B4-BE49-F238E27FC236}">
                <a16:creationId xmlns:a16="http://schemas.microsoft.com/office/drawing/2014/main" id="{64E13DFF-AB54-4E90-82E6-9B7C53A20413}"/>
              </a:ext>
            </a:extLst>
          </p:cNvPr>
          <p:cNvSpPr/>
          <p:nvPr/>
        </p:nvSpPr>
        <p:spPr>
          <a:xfrm>
            <a:off x="2223774" y="4722252"/>
            <a:ext cx="1085074" cy="316073"/>
          </a:xfrm>
          <a:prstGeom prst="ellipse">
            <a:avLst/>
          </a:prstGeom>
          <a:solidFill>
            <a:schemeClr val="accent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微软雅黑"/>
              <a:ea typeface="微软雅黑"/>
              <a:cs typeface="+mn-cs"/>
            </a:endParaRPr>
          </a:p>
        </p:txBody>
      </p:sp>
      <p:sp>
        <p:nvSpPr>
          <p:cNvPr id="70" name="椭圆 69">
            <a:extLst>
              <a:ext uri="{FF2B5EF4-FFF2-40B4-BE49-F238E27FC236}">
                <a16:creationId xmlns:a16="http://schemas.microsoft.com/office/drawing/2014/main" id="{62686F8D-5E25-41A4-8306-2AE9EB517BD1}"/>
              </a:ext>
            </a:extLst>
          </p:cNvPr>
          <p:cNvSpPr/>
          <p:nvPr/>
        </p:nvSpPr>
        <p:spPr>
          <a:xfrm>
            <a:off x="1625169" y="4213294"/>
            <a:ext cx="2338035" cy="580741"/>
          </a:xfrm>
          <a:prstGeom prst="ellipse">
            <a:avLst/>
          </a:prstGeom>
          <a:solidFill>
            <a:schemeClr val="accent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微软雅黑"/>
              <a:ea typeface="微软雅黑"/>
              <a:cs typeface="+mn-cs"/>
            </a:endParaRPr>
          </a:p>
        </p:txBody>
      </p:sp>
      <p:sp>
        <p:nvSpPr>
          <p:cNvPr id="71" name="矩形 70">
            <a:extLst>
              <a:ext uri="{FF2B5EF4-FFF2-40B4-BE49-F238E27FC236}">
                <a16:creationId xmlns:a16="http://schemas.microsoft.com/office/drawing/2014/main" id="{7A21E7EB-5C31-4F2E-BDEC-08781A18B664}"/>
              </a:ext>
            </a:extLst>
          </p:cNvPr>
          <p:cNvSpPr/>
          <p:nvPr/>
        </p:nvSpPr>
        <p:spPr>
          <a:xfrm>
            <a:off x="1625169" y="4011838"/>
            <a:ext cx="2338035" cy="539259"/>
          </a:xfrm>
          <a:prstGeom prst="rect">
            <a:avLst/>
          </a:prstGeom>
          <a:solidFill>
            <a:schemeClr val="accent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微软雅黑"/>
              <a:ea typeface="微软雅黑"/>
              <a:cs typeface="+mn-cs"/>
            </a:endParaRPr>
          </a:p>
        </p:txBody>
      </p:sp>
      <p:sp>
        <p:nvSpPr>
          <p:cNvPr id="72" name="椭圆 71">
            <a:extLst>
              <a:ext uri="{FF2B5EF4-FFF2-40B4-BE49-F238E27FC236}">
                <a16:creationId xmlns:a16="http://schemas.microsoft.com/office/drawing/2014/main" id="{A3A69581-BB0E-446D-9343-500E5DE88E3F}"/>
              </a:ext>
            </a:extLst>
          </p:cNvPr>
          <p:cNvSpPr/>
          <p:nvPr/>
        </p:nvSpPr>
        <p:spPr>
          <a:xfrm>
            <a:off x="1625169" y="3732953"/>
            <a:ext cx="2338035" cy="580741"/>
          </a:xfrm>
          <a:prstGeom prst="ellips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微软雅黑"/>
              <a:ea typeface="微软雅黑"/>
              <a:cs typeface="+mn-cs"/>
            </a:endParaRPr>
          </a:p>
        </p:txBody>
      </p:sp>
      <p:sp>
        <p:nvSpPr>
          <p:cNvPr id="73" name="椭圆 72">
            <a:extLst>
              <a:ext uri="{FF2B5EF4-FFF2-40B4-BE49-F238E27FC236}">
                <a16:creationId xmlns:a16="http://schemas.microsoft.com/office/drawing/2014/main" id="{7829423E-1849-4100-8EAE-5A8E51B20C7A}"/>
              </a:ext>
            </a:extLst>
          </p:cNvPr>
          <p:cNvSpPr/>
          <p:nvPr/>
        </p:nvSpPr>
        <p:spPr>
          <a:xfrm>
            <a:off x="2282851" y="3887277"/>
            <a:ext cx="972694" cy="249967"/>
          </a:xfrm>
          <a:prstGeom prst="ellipse">
            <a:avLst/>
          </a:prstGeom>
          <a:solidFill>
            <a:schemeClr val="accent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微软雅黑"/>
              <a:ea typeface="微软雅黑"/>
              <a:cs typeface="+mn-cs"/>
            </a:endParaRPr>
          </a:p>
        </p:txBody>
      </p:sp>
      <p:sp>
        <p:nvSpPr>
          <p:cNvPr id="61" name="椭圆 60">
            <a:extLst>
              <a:ext uri="{FF2B5EF4-FFF2-40B4-BE49-F238E27FC236}">
                <a16:creationId xmlns:a16="http://schemas.microsoft.com/office/drawing/2014/main" id="{CC0B6CB2-8041-4480-ABC8-38F5C77E2A8C}"/>
              </a:ext>
            </a:extLst>
          </p:cNvPr>
          <p:cNvSpPr/>
          <p:nvPr/>
        </p:nvSpPr>
        <p:spPr>
          <a:xfrm>
            <a:off x="1851891" y="3367851"/>
            <a:ext cx="1884591" cy="510157"/>
          </a:xfrm>
          <a:prstGeom prst="ellipse">
            <a:avLst/>
          </a:prstGeom>
          <a:solidFill>
            <a:schemeClr val="accent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微软雅黑"/>
              <a:ea typeface="微软雅黑"/>
              <a:cs typeface="+mn-cs"/>
            </a:endParaRPr>
          </a:p>
        </p:txBody>
      </p:sp>
      <p:sp>
        <p:nvSpPr>
          <p:cNvPr id="62" name="矩形 61">
            <a:extLst>
              <a:ext uri="{FF2B5EF4-FFF2-40B4-BE49-F238E27FC236}">
                <a16:creationId xmlns:a16="http://schemas.microsoft.com/office/drawing/2014/main" id="{8D0C2865-90EE-4D1A-8DCA-4289C70A1D1E}"/>
              </a:ext>
            </a:extLst>
          </p:cNvPr>
          <p:cNvSpPr/>
          <p:nvPr/>
        </p:nvSpPr>
        <p:spPr>
          <a:xfrm>
            <a:off x="1851891" y="3190880"/>
            <a:ext cx="1884591" cy="473717"/>
          </a:xfrm>
          <a:prstGeom prst="rect">
            <a:avLst/>
          </a:prstGeom>
          <a:solidFill>
            <a:schemeClr val="accent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微软雅黑"/>
              <a:ea typeface="微软雅黑"/>
              <a:cs typeface="+mn-cs"/>
            </a:endParaRPr>
          </a:p>
        </p:txBody>
      </p:sp>
      <p:sp>
        <p:nvSpPr>
          <p:cNvPr id="63" name="椭圆 62">
            <a:extLst>
              <a:ext uri="{FF2B5EF4-FFF2-40B4-BE49-F238E27FC236}">
                <a16:creationId xmlns:a16="http://schemas.microsoft.com/office/drawing/2014/main" id="{E146EB88-8677-4725-91CB-3556EB3F36DD}"/>
              </a:ext>
            </a:extLst>
          </p:cNvPr>
          <p:cNvSpPr/>
          <p:nvPr/>
        </p:nvSpPr>
        <p:spPr>
          <a:xfrm>
            <a:off x="1851891" y="2945891"/>
            <a:ext cx="1884591" cy="510157"/>
          </a:xfrm>
          <a:prstGeom prst="ellips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微软雅黑"/>
              <a:ea typeface="微软雅黑"/>
              <a:cs typeface="+mn-cs"/>
            </a:endParaRPr>
          </a:p>
        </p:txBody>
      </p:sp>
      <p:sp>
        <p:nvSpPr>
          <p:cNvPr id="64" name="椭圆 63">
            <a:extLst>
              <a:ext uri="{FF2B5EF4-FFF2-40B4-BE49-F238E27FC236}">
                <a16:creationId xmlns:a16="http://schemas.microsoft.com/office/drawing/2014/main" id="{99CC7BCD-E354-431B-AE7C-9FFC9485AEAE}"/>
              </a:ext>
            </a:extLst>
          </p:cNvPr>
          <p:cNvSpPr/>
          <p:nvPr/>
        </p:nvSpPr>
        <p:spPr>
          <a:xfrm>
            <a:off x="2382021" y="3081458"/>
            <a:ext cx="784047" cy="219586"/>
          </a:xfrm>
          <a:prstGeom prst="ellipse">
            <a:avLst/>
          </a:prstGeom>
          <a:solidFill>
            <a:schemeClr val="accent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微软雅黑"/>
              <a:ea typeface="微软雅黑"/>
              <a:cs typeface="+mn-cs"/>
            </a:endParaRPr>
          </a:p>
        </p:txBody>
      </p:sp>
      <p:sp>
        <p:nvSpPr>
          <p:cNvPr id="55" name="椭圆 54">
            <a:extLst>
              <a:ext uri="{FF2B5EF4-FFF2-40B4-BE49-F238E27FC236}">
                <a16:creationId xmlns:a16="http://schemas.microsoft.com/office/drawing/2014/main" id="{13C88D88-8D5D-4C35-8C4C-227EF1F24878}"/>
              </a:ext>
            </a:extLst>
          </p:cNvPr>
          <p:cNvSpPr/>
          <p:nvPr/>
        </p:nvSpPr>
        <p:spPr>
          <a:xfrm>
            <a:off x="2052501" y="2549923"/>
            <a:ext cx="1525821" cy="489195"/>
          </a:xfrm>
          <a:prstGeom prst="ellipse">
            <a:avLst/>
          </a:prstGeom>
          <a:solidFill>
            <a:schemeClr val="accent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微软雅黑"/>
              <a:ea typeface="微软雅黑"/>
              <a:cs typeface="+mn-cs"/>
            </a:endParaRPr>
          </a:p>
        </p:txBody>
      </p:sp>
      <p:sp>
        <p:nvSpPr>
          <p:cNvPr id="4" name="矩形 3">
            <a:extLst>
              <a:ext uri="{FF2B5EF4-FFF2-40B4-BE49-F238E27FC236}">
                <a16:creationId xmlns:a16="http://schemas.microsoft.com/office/drawing/2014/main" id="{97065685-ED25-45C4-8380-08FA09E6E416}"/>
              </a:ext>
            </a:extLst>
          </p:cNvPr>
          <p:cNvSpPr/>
          <p:nvPr/>
        </p:nvSpPr>
        <p:spPr>
          <a:xfrm>
            <a:off x="2052501" y="2380224"/>
            <a:ext cx="1525821" cy="454252"/>
          </a:xfrm>
          <a:prstGeom prst="rect">
            <a:avLst/>
          </a:prstGeom>
          <a:solidFill>
            <a:schemeClr val="accent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微软雅黑"/>
              <a:ea typeface="微软雅黑"/>
              <a:cs typeface="+mn-cs"/>
            </a:endParaRPr>
          </a:p>
        </p:txBody>
      </p:sp>
      <p:sp>
        <p:nvSpPr>
          <p:cNvPr id="3" name="椭圆 2">
            <a:extLst>
              <a:ext uri="{FF2B5EF4-FFF2-40B4-BE49-F238E27FC236}">
                <a16:creationId xmlns:a16="http://schemas.microsoft.com/office/drawing/2014/main" id="{2445321B-E969-4928-99F2-53CD31A06D67}"/>
              </a:ext>
            </a:extLst>
          </p:cNvPr>
          <p:cNvSpPr/>
          <p:nvPr/>
        </p:nvSpPr>
        <p:spPr>
          <a:xfrm>
            <a:off x="2052501" y="2145301"/>
            <a:ext cx="1525821" cy="489195"/>
          </a:xfrm>
          <a:prstGeom prst="ellips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微软雅黑"/>
              <a:ea typeface="微软雅黑"/>
              <a:cs typeface="+mn-cs"/>
            </a:endParaRPr>
          </a:p>
        </p:txBody>
      </p:sp>
      <p:sp>
        <p:nvSpPr>
          <p:cNvPr id="6" name="椭圆 5">
            <a:extLst>
              <a:ext uri="{FF2B5EF4-FFF2-40B4-BE49-F238E27FC236}">
                <a16:creationId xmlns:a16="http://schemas.microsoft.com/office/drawing/2014/main" id="{2869FFC2-EF2C-4A44-9C49-22F732F42783}"/>
              </a:ext>
            </a:extLst>
          </p:cNvPr>
          <p:cNvSpPr/>
          <p:nvPr/>
        </p:nvSpPr>
        <p:spPr>
          <a:xfrm>
            <a:off x="2481710" y="2275298"/>
            <a:ext cx="634788" cy="210563"/>
          </a:xfrm>
          <a:prstGeom prst="ellipse">
            <a:avLst/>
          </a:prstGeom>
          <a:solidFill>
            <a:schemeClr val="accent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微软雅黑"/>
              <a:ea typeface="微软雅黑"/>
              <a:cs typeface="+mn-cs"/>
            </a:endParaRPr>
          </a:p>
        </p:txBody>
      </p:sp>
    </p:spTree>
    <p:extLst>
      <p:ext uri="{BB962C8B-B14F-4D97-AF65-F5344CB8AC3E}">
        <p14:creationId xmlns:p14="http://schemas.microsoft.com/office/powerpoint/2010/main" val="744142329"/>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5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任意多边形: 形状 1">
            <a:extLst>
              <a:ext uri="{FF2B5EF4-FFF2-40B4-BE49-F238E27FC236}">
                <a16:creationId xmlns:a16="http://schemas.microsoft.com/office/drawing/2014/main" id="{C25D4677-42C6-46AA-9771-B356D02DA7EE}"/>
              </a:ext>
            </a:extLst>
          </p:cNvPr>
          <p:cNvSpPr/>
          <p:nvPr/>
        </p:nvSpPr>
        <p:spPr>
          <a:xfrm>
            <a:off x="2136317" y="0"/>
            <a:ext cx="7919369" cy="6858000"/>
          </a:xfrm>
          <a:custGeom>
            <a:avLst/>
            <a:gdLst>
              <a:gd name="connsiteX0" fmla="*/ 3429962 w 7919369"/>
              <a:gd name="connsiteY0" fmla="*/ 0 h 6858000"/>
              <a:gd name="connsiteX1" fmla="*/ 4489406 w 7919369"/>
              <a:gd name="connsiteY1" fmla="*/ 0 h 6858000"/>
              <a:gd name="connsiteX2" fmla="*/ 7919369 w 7919369"/>
              <a:gd name="connsiteY2" fmla="*/ 6858000 h 6858000"/>
              <a:gd name="connsiteX3" fmla="*/ 0 w 7919369"/>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7919369" h="6858000">
                <a:moveTo>
                  <a:pt x="3429962" y="0"/>
                </a:moveTo>
                <a:lnTo>
                  <a:pt x="4489406" y="0"/>
                </a:lnTo>
                <a:lnTo>
                  <a:pt x="7919369" y="6858000"/>
                </a:lnTo>
                <a:lnTo>
                  <a:pt x="0" y="6858000"/>
                </a:lnTo>
                <a:close/>
              </a:path>
            </a:pathLst>
          </a:custGeom>
          <a:solidFill>
            <a:schemeClr val="accent1">
              <a:lumMod val="20000"/>
              <a:lumOff val="80000"/>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OPPOSans L"/>
              <a:cs typeface="+mn-cs"/>
            </a:endParaRPr>
          </a:p>
        </p:txBody>
      </p:sp>
      <p:sp>
        <p:nvSpPr>
          <p:cNvPr id="50" name="等腰三角形 1">
            <a:extLst>
              <a:ext uri="{FF2B5EF4-FFF2-40B4-BE49-F238E27FC236}">
                <a16:creationId xmlns:a16="http://schemas.microsoft.com/office/drawing/2014/main" id="{FB4CA7A9-8DB5-47D6-88D5-A86B537A388C}"/>
              </a:ext>
            </a:extLst>
          </p:cNvPr>
          <p:cNvSpPr/>
          <p:nvPr/>
        </p:nvSpPr>
        <p:spPr>
          <a:xfrm>
            <a:off x="3144284" y="956224"/>
            <a:ext cx="5903433" cy="5901776"/>
          </a:xfrm>
          <a:prstGeom prst="triangle">
            <a:avLst/>
          </a:prstGeom>
          <a:solidFill>
            <a:schemeClr val="accent1">
              <a:lumMod val="20000"/>
              <a:lumOff val="80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OPPOSans L"/>
              <a:cs typeface="+mn-cs"/>
            </a:endParaRPr>
          </a:p>
        </p:txBody>
      </p:sp>
      <p:sp>
        <p:nvSpPr>
          <p:cNvPr id="16" name="任意多边形: 形状 1">
            <a:extLst>
              <a:ext uri="{FF2B5EF4-FFF2-40B4-BE49-F238E27FC236}">
                <a16:creationId xmlns:a16="http://schemas.microsoft.com/office/drawing/2014/main" id="{51003AC6-B057-40E8-9CB8-C565C0F48A22}"/>
              </a:ext>
            </a:extLst>
          </p:cNvPr>
          <p:cNvSpPr/>
          <p:nvPr/>
        </p:nvSpPr>
        <p:spPr>
          <a:xfrm rot="16200000">
            <a:off x="4246406" y="3178815"/>
            <a:ext cx="3712451" cy="2720622"/>
          </a:xfrm>
          <a:custGeom>
            <a:avLst/>
            <a:gdLst>
              <a:gd name="connsiteX0" fmla="*/ 3712451 w 3712451"/>
              <a:gd name="connsiteY0" fmla="*/ 1360311 h 2720622"/>
              <a:gd name="connsiteX1" fmla="*/ 974907 w 3712451"/>
              <a:gd name="connsiteY1" fmla="*/ 2720622 h 2720622"/>
              <a:gd name="connsiteX2" fmla="*/ 23047 w 3712451"/>
              <a:gd name="connsiteY2" fmla="*/ 2720622 h 2720622"/>
              <a:gd name="connsiteX3" fmla="*/ 2760589 w 3712451"/>
              <a:gd name="connsiteY3" fmla="*/ 1360312 h 2720622"/>
              <a:gd name="connsiteX4" fmla="*/ 23045 w 3712451"/>
              <a:gd name="connsiteY4" fmla="*/ 1 h 2720622"/>
              <a:gd name="connsiteX5" fmla="*/ 0 w 3712451"/>
              <a:gd name="connsiteY5" fmla="*/ 1 h 2720622"/>
              <a:gd name="connsiteX6" fmla="*/ 0 w 3712451"/>
              <a:gd name="connsiteY6" fmla="*/ 0 h 2720622"/>
              <a:gd name="connsiteX7" fmla="*/ 974907 w 3712451"/>
              <a:gd name="connsiteY7" fmla="*/ 0 h 2720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712451" h="2720622">
                <a:moveTo>
                  <a:pt x="3712451" y="1360311"/>
                </a:moveTo>
                <a:lnTo>
                  <a:pt x="974907" y="2720622"/>
                </a:lnTo>
                <a:lnTo>
                  <a:pt x="23047" y="2720622"/>
                </a:lnTo>
                <a:lnTo>
                  <a:pt x="2760589" y="1360312"/>
                </a:lnTo>
                <a:lnTo>
                  <a:pt x="23045" y="1"/>
                </a:lnTo>
                <a:lnTo>
                  <a:pt x="0" y="1"/>
                </a:lnTo>
                <a:lnTo>
                  <a:pt x="0" y="0"/>
                </a:lnTo>
                <a:lnTo>
                  <a:pt x="974907" y="0"/>
                </a:lnTo>
                <a:close/>
              </a:path>
            </a:pathLst>
          </a:custGeom>
          <a:gradFill flip="none" rotWithShape="1">
            <a:gsLst>
              <a:gs pos="0">
                <a:schemeClr val="accent1">
                  <a:lumMod val="100000"/>
                </a:schemeClr>
              </a:gs>
              <a:gs pos="60000">
                <a:schemeClr val="accent1">
                  <a:lumMod val="100000"/>
                  <a:alpha val="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OPPOSans L"/>
              <a:cs typeface="+mn-cs"/>
            </a:endParaRPr>
          </a:p>
        </p:txBody>
      </p:sp>
      <p:sp>
        <p:nvSpPr>
          <p:cNvPr id="20" name="任意多边形: 形状 1">
            <a:extLst>
              <a:ext uri="{FF2B5EF4-FFF2-40B4-BE49-F238E27FC236}">
                <a16:creationId xmlns:a16="http://schemas.microsoft.com/office/drawing/2014/main" id="{FF5AC825-2820-4AFC-B94E-13258DCEF602}"/>
              </a:ext>
            </a:extLst>
          </p:cNvPr>
          <p:cNvSpPr/>
          <p:nvPr/>
        </p:nvSpPr>
        <p:spPr>
          <a:xfrm rot="16200000">
            <a:off x="4246406" y="4656280"/>
            <a:ext cx="3712451" cy="2720622"/>
          </a:xfrm>
          <a:custGeom>
            <a:avLst/>
            <a:gdLst>
              <a:gd name="connsiteX0" fmla="*/ 3712451 w 3712451"/>
              <a:gd name="connsiteY0" fmla="*/ 1360311 h 2720622"/>
              <a:gd name="connsiteX1" fmla="*/ 974907 w 3712451"/>
              <a:gd name="connsiteY1" fmla="*/ 2720622 h 2720622"/>
              <a:gd name="connsiteX2" fmla="*/ 23047 w 3712451"/>
              <a:gd name="connsiteY2" fmla="*/ 2720622 h 2720622"/>
              <a:gd name="connsiteX3" fmla="*/ 2760589 w 3712451"/>
              <a:gd name="connsiteY3" fmla="*/ 1360312 h 2720622"/>
              <a:gd name="connsiteX4" fmla="*/ 23045 w 3712451"/>
              <a:gd name="connsiteY4" fmla="*/ 1 h 2720622"/>
              <a:gd name="connsiteX5" fmla="*/ 0 w 3712451"/>
              <a:gd name="connsiteY5" fmla="*/ 1 h 2720622"/>
              <a:gd name="connsiteX6" fmla="*/ 0 w 3712451"/>
              <a:gd name="connsiteY6" fmla="*/ 0 h 2720622"/>
              <a:gd name="connsiteX7" fmla="*/ 974907 w 3712451"/>
              <a:gd name="connsiteY7" fmla="*/ 0 h 2720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712451" h="2720622">
                <a:moveTo>
                  <a:pt x="3712451" y="1360311"/>
                </a:moveTo>
                <a:lnTo>
                  <a:pt x="974907" y="2720622"/>
                </a:lnTo>
                <a:lnTo>
                  <a:pt x="23047" y="2720622"/>
                </a:lnTo>
                <a:lnTo>
                  <a:pt x="2760589" y="1360312"/>
                </a:lnTo>
                <a:lnTo>
                  <a:pt x="23045" y="1"/>
                </a:lnTo>
                <a:lnTo>
                  <a:pt x="0" y="1"/>
                </a:lnTo>
                <a:lnTo>
                  <a:pt x="0" y="0"/>
                </a:lnTo>
                <a:lnTo>
                  <a:pt x="974907" y="0"/>
                </a:lnTo>
                <a:close/>
              </a:path>
            </a:pathLst>
          </a:custGeom>
          <a:gradFill flip="none" rotWithShape="1">
            <a:gsLst>
              <a:gs pos="0">
                <a:schemeClr val="accent1">
                  <a:lumMod val="0"/>
                  <a:lumOff val="100000"/>
                </a:schemeClr>
              </a:gs>
              <a:gs pos="60000">
                <a:schemeClr val="accent1">
                  <a:lumMod val="10000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OPPOSans L"/>
              <a:cs typeface="+mn-cs"/>
            </a:endParaRPr>
          </a:p>
        </p:txBody>
      </p:sp>
      <p:sp>
        <p:nvSpPr>
          <p:cNvPr id="17" name="任意多边形: 形状 2">
            <a:extLst>
              <a:ext uri="{FF2B5EF4-FFF2-40B4-BE49-F238E27FC236}">
                <a16:creationId xmlns:a16="http://schemas.microsoft.com/office/drawing/2014/main" id="{45CBD550-848D-4F84-BE44-A017648B5D3E}"/>
              </a:ext>
            </a:extLst>
          </p:cNvPr>
          <p:cNvSpPr/>
          <p:nvPr/>
        </p:nvSpPr>
        <p:spPr>
          <a:xfrm rot="16200000">
            <a:off x="4246406" y="1701350"/>
            <a:ext cx="3712451" cy="2720622"/>
          </a:xfrm>
          <a:custGeom>
            <a:avLst/>
            <a:gdLst>
              <a:gd name="connsiteX0" fmla="*/ 3712451 w 3712451"/>
              <a:gd name="connsiteY0" fmla="*/ 1360311 h 2720622"/>
              <a:gd name="connsiteX1" fmla="*/ 974907 w 3712451"/>
              <a:gd name="connsiteY1" fmla="*/ 2720622 h 2720622"/>
              <a:gd name="connsiteX2" fmla="*/ 23047 w 3712451"/>
              <a:gd name="connsiteY2" fmla="*/ 2720622 h 2720622"/>
              <a:gd name="connsiteX3" fmla="*/ 2760589 w 3712451"/>
              <a:gd name="connsiteY3" fmla="*/ 1360312 h 2720622"/>
              <a:gd name="connsiteX4" fmla="*/ 23045 w 3712451"/>
              <a:gd name="connsiteY4" fmla="*/ 1 h 2720622"/>
              <a:gd name="connsiteX5" fmla="*/ 0 w 3712451"/>
              <a:gd name="connsiteY5" fmla="*/ 1 h 2720622"/>
              <a:gd name="connsiteX6" fmla="*/ 0 w 3712451"/>
              <a:gd name="connsiteY6" fmla="*/ 0 h 2720622"/>
              <a:gd name="connsiteX7" fmla="*/ 974907 w 3712451"/>
              <a:gd name="connsiteY7" fmla="*/ 0 h 2720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712451" h="2720622">
                <a:moveTo>
                  <a:pt x="3712451" y="1360311"/>
                </a:moveTo>
                <a:lnTo>
                  <a:pt x="974907" y="2720622"/>
                </a:lnTo>
                <a:lnTo>
                  <a:pt x="23047" y="2720622"/>
                </a:lnTo>
                <a:lnTo>
                  <a:pt x="2760589" y="1360312"/>
                </a:lnTo>
                <a:lnTo>
                  <a:pt x="23045" y="1"/>
                </a:lnTo>
                <a:lnTo>
                  <a:pt x="0" y="1"/>
                </a:lnTo>
                <a:lnTo>
                  <a:pt x="0" y="0"/>
                </a:lnTo>
                <a:lnTo>
                  <a:pt x="974907" y="0"/>
                </a:lnTo>
                <a:close/>
              </a:path>
            </a:pathLst>
          </a:custGeom>
          <a:gradFill flip="none" rotWithShape="1">
            <a:gsLst>
              <a:gs pos="0">
                <a:schemeClr val="accent1">
                  <a:lumMod val="100000"/>
                </a:schemeClr>
              </a:gs>
              <a:gs pos="60000">
                <a:schemeClr val="accent1">
                  <a:lumMod val="100000"/>
                  <a:alpha val="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OPPOSans L"/>
              <a:cs typeface="+mn-cs"/>
            </a:endParaRPr>
          </a:p>
        </p:txBody>
      </p:sp>
      <p:cxnSp>
        <p:nvCxnSpPr>
          <p:cNvPr id="23" name="直接连接符 22">
            <a:extLst>
              <a:ext uri="{FF2B5EF4-FFF2-40B4-BE49-F238E27FC236}">
                <a16:creationId xmlns:a16="http://schemas.microsoft.com/office/drawing/2014/main" id="{5663731B-F918-4490-90E9-E4D4AB7DF7EB}"/>
              </a:ext>
            </a:extLst>
          </p:cNvPr>
          <p:cNvCxnSpPr>
            <a:cxnSpLocks/>
          </p:cNvCxnSpPr>
          <p:nvPr/>
        </p:nvCxnSpPr>
        <p:spPr>
          <a:xfrm rot="3600000">
            <a:off x="4917417" y="2440725"/>
            <a:ext cx="594000" cy="0"/>
          </a:xfrm>
          <a:prstGeom prst="line">
            <a:avLst/>
          </a:prstGeom>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4" name="矩形: 圆角 23">
            <a:extLst>
              <a:ext uri="{FF2B5EF4-FFF2-40B4-BE49-F238E27FC236}">
                <a16:creationId xmlns:a16="http://schemas.microsoft.com/office/drawing/2014/main" id="{C82E3DD1-2469-40EE-99CC-DBF0F7386CA4}"/>
              </a:ext>
            </a:extLst>
          </p:cNvPr>
          <p:cNvSpPr/>
          <p:nvPr/>
        </p:nvSpPr>
        <p:spPr>
          <a:xfrm>
            <a:off x="3358661" y="1569268"/>
            <a:ext cx="1855755" cy="644320"/>
          </a:xfrm>
          <a:prstGeom prst="roundRect">
            <a:avLst>
              <a:gd name="adj" fmla="val 28339"/>
            </a:avLst>
          </a:prstGeom>
          <a:solidFill>
            <a:schemeClr val="accent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white"/>
              </a:solidFill>
              <a:effectLst/>
              <a:uLnTx/>
              <a:uFillTx/>
              <a:latin typeface="锐字云字库大标宋GB"/>
              <a:ea typeface="+mj-ea"/>
              <a:cs typeface="+mn-cs"/>
            </a:endParaRPr>
          </a:p>
        </p:txBody>
      </p:sp>
      <p:sp>
        <p:nvSpPr>
          <p:cNvPr id="25" name="矩形: 圆角 2">
            <a:extLst>
              <a:ext uri="{FF2B5EF4-FFF2-40B4-BE49-F238E27FC236}">
                <a16:creationId xmlns:a16="http://schemas.microsoft.com/office/drawing/2014/main" id="{7308FB40-6409-4394-8D2D-1FD3D6BED050}"/>
              </a:ext>
            </a:extLst>
          </p:cNvPr>
          <p:cNvSpPr/>
          <p:nvPr/>
        </p:nvSpPr>
        <p:spPr>
          <a:xfrm>
            <a:off x="4589667" y="1662828"/>
            <a:ext cx="457200" cy="457200"/>
          </a:xfrm>
          <a:prstGeom prst="roundRect">
            <a:avLst>
              <a:gd name="adj" fmla="val 36112"/>
            </a:avLst>
          </a:prstGeom>
          <a:gradFill flip="none" rotWithShape="1">
            <a:gsLst>
              <a:gs pos="0">
                <a:schemeClr val="accent1">
                  <a:lumMod val="100000"/>
                </a:schemeClr>
              </a:gs>
              <a:gs pos="100000">
                <a:schemeClr val="accent1">
                  <a:lumMod val="100000"/>
                </a:schemeClr>
              </a:gs>
            </a:gsLst>
            <a:lin ang="0" scaled="0"/>
            <a:tileRect/>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endParaRPr kumimoji="0" lang="zh-CN" altLang="en-US" sz="1600" b="0" i="0" u="none" strike="noStrike" kern="1200" cap="none" spc="0" normalizeH="0" baseline="0" noProof="0">
              <a:ln>
                <a:noFill/>
              </a:ln>
              <a:solidFill>
                <a:prstClr val="white"/>
              </a:solidFill>
              <a:effectLst/>
              <a:uLnTx/>
              <a:uFillTx/>
              <a:latin typeface="锐字云字库大标宋GB"/>
              <a:ea typeface="+mj-ea"/>
              <a:cs typeface="+mn-cs"/>
            </a:endParaRPr>
          </a:p>
        </p:txBody>
      </p:sp>
      <p:pic>
        <p:nvPicPr>
          <p:cNvPr id="27" name="图片 1" descr="图标&#10;&#10;描述已自动生成">
            <a:extLst>
              <a:ext uri="{FF2B5EF4-FFF2-40B4-BE49-F238E27FC236}">
                <a16:creationId xmlns:a16="http://schemas.microsoft.com/office/drawing/2014/main" id="{FE155D2B-3D3B-4484-A2DD-C9C98A0B900D}"/>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694067" y="1767228"/>
            <a:ext cx="248400" cy="248400"/>
          </a:xfrm>
          <a:prstGeom prst="rect">
            <a:avLst/>
          </a:prstGeom>
        </p:spPr>
      </p:pic>
      <p:sp>
        <p:nvSpPr>
          <p:cNvPr id="32" name="文本框 31">
            <a:extLst>
              <a:ext uri="{FF2B5EF4-FFF2-40B4-BE49-F238E27FC236}">
                <a16:creationId xmlns:a16="http://schemas.microsoft.com/office/drawing/2014/main" id="{022525DB-08F8-4C25-9CEE-8ABC206DADC7}"/>
              </a:ext>
            </a:extLst>
          </p:cNvPr>
          <p:cNvSpPr txBox="1"/>
          <p:nvPr/>
        </p:nvSpPr>
        <p:spPr>
          <a:xfrm>
            <a:off x="1978479" y="2316525"/>
            <a:ext cx="3073262" cy="581926"/>
          </a:xfrm>
          <a:prstGeom prst="rect">
            <a:avLst/>
          </a:prstGeom>
          <a:noFill/>
          <a:ln>
            <a:noFill/>
          </a:ln>
          <a:effectLst/>
        </p:spPr>
        <p:txBody>
          <a:bodyPr wrap="square" lIns="0" tIns="0" rIns="0" bIns="0" anchor="t" anchorCtr="0">
            <a:noAutofit/>
          </a:bodyPr>
          <a:lstStyle>
            <a:defPPr>
              <a:defRPr lang="zh-CN"/>
            </a:defPPr>
            <a:lvl1pPr algn="just">
              <a:lnSpc>
                <a:spcPct val="130000"/>
              </a:lnSpc>
              <a:buSzPct val="25000"/>
              <a:defRPr sz="1200">
                <a:solidFill>
                  <a:schemeClr val="tx1">
                    <a:lumMod val="65000"/>
                    <a:lumOff val="35000"/>
                  </a:schemeClr>
                </a:solidFill>
                <a:latin typeface="+mn-ea"/>
              </a:defRPr>
            </a:lvl1pPr>
          </a:lstStyle>
          <a:p>
            <a:pPr marL="0" marR="0" lvl="0" indent="0" algn="just" defTabSz="914400" rtl="0" eaLnBrk="1" fontAlgn="auto" latinLnBrk="0" hangingPunct="1">
              <a:lnSpc>
                <a:spcPct val="130000"/>
              </a:lnSpc>
              <a:spcBef>
                <a:spcPts val="0"/>
              </a:spcBef>
              <a:spcAft>
                <a:spcPts val="0"/>
              </a:spcAft>
              <a:buClrTx/>
              <a:buSzPct val="25000"/>
              <a:buFontTx/>
              <a:buNone/>
              <a:tabLst/>
              <a:defRPr/>
            </a:pPr>
            <a:r>
              <a:rPr kumimoji="0" lang="zh-CN" altLang="en-US" sz="1200" b="0" i="0" u="none" strike="noStrike" kern="1200" cap="none" spc="0" normalizeH="0" baseline="0" noProof="0" dirty="0">
                <a:ln>
                  <a:noFill/>
                </a:ln>
                <a:solidFill>
                  <a:prstClr val="black">
                    <a:lumMod val="65000"/>
                    <a:lumOff val="35000"/>
                  </a:prstClr>
                </a:solidFill>
                <a:effectLst/>
                <a:uLnTx/>
                <a:uFillTx/>
                <a:latin typeface="锐字云字库宋黑GB"/>
                <a:cs typeface="+mn-cs"/>
              </a:rPr>
              <a:t>秋叶</a:t>
            </a:r>
            <a:r>
              <a:rPr kumimoji="0" lang="en-US" altLang="zh-CN" sz="1200" b="0" i="0" u="none" strike="noStrike" kern="1200" cap="none" spc="0" normalizeH="0" baseline="0" noProof="0" dirty="0">
                <a:ln>
                  <a:noFill/>
                </a:ln>
                <a:solidFill>
                  <a:prstClr val="black">
                    <a:lumMod val="65000"/>
                    <a:lumOff val="35000"/>
                  </a:prstClr>
                </a:solidFill>
                <a:effectLst/>
                <a:uLnTx/>
                <a:uFillTx/>
                <a:latin typeface="锐字云字库宋黑GB"/>
                <a:cs typeface="+mn-cs"/>
              </a:rPr>
              <a:t>PPT</a:t>
            </a:r>
            <a:r>
              <a:rPr kumimoji="0" lang="zh-CN" altLang="en-US" sz="1200" b="0" i="0" u="none" strike="noStrike" kern="1200" cap="none" spc="0" normalizeH="0" baseline="0" noProof="0" dirty="0">
                <a:ln>
                  <a:noFill/>
                </a:ln>
                <a:solidFill>
                  <a:prstClr val="black">
                    <a:lumMod val="65000"/>
                    <a:lumOff val="35000"/>
                  </a:prstClr>
                </a:solidFill>
                <a:effectLst/>
                <a:uLnTx/>
                <a:uFillTx/>
                <a:latin typeface="锐字云字库宋黑GB"/>
                <a:cs typeface="+mn-cs"/>
              </a:rPr>
              <a:t>丰富的信息图表覆盖并列</a:t>
            </a:r>
            <a:r>
              <a:rPr kumimoji="0" lang="en-US" altLang="zh-CN" sz="1200" b="0" i="0" u="none" strike="noStrike" kern="1200" cap="none" spc="0" normalizeH="0" baseline="0" noProof="0" dirty="0">
                <a:ln>
                  <a:noFill/>
                </a:ln>
                <a:solidFill>
                  <a:prstClr val="black">
                    <a:lumMod val="65000"/>
                    <a:lumOff val="35000"/>
                  </a:prstClr>
                </a:solidFill>
                <a:effectLst/>
                <a:uLnTx/>
                <a:uFillTx/>
                <a:latin typeface="锐字云字库宋黑GB"/>
                <a:cs typeface="+mn-cs"/>
              </a:rPr>
              <a:t>/</a:t>
            </a:r>
            <a:r>
              <a:rPr kumimoji="0" lang="zh-CN" altLang="en-US" sz="1200" b="0" i="0" u="none" strike="noStrike" kern="1200" cap="none" spc="0" normalizeH="0" baseline="0" noProof="0" dirty="0">
                <a:ln>
                  <a:noFill/>
                </a:ln>
                <a:solidFill>
                  <a:prstClr val="black">
                    <a:lumMod val="65000"/>
                    <a:lumOff val="35000"/>
                  </a:prstClr>
                </a:solidFill>
                <a:effectLst/>
                <a:uLnTx/>
                <a:uFillTx/>
                <a:latin typeface="锐字云字库宋黑GB"/>
                <a:cs typeface="+mn-cs"/>
              </a:rPr>
              <a:t>流程</a:t>
            </a:r>
            <a:r>
              <a:rPr kumimoji="0" lang="en-US" altLang="zh-CN" sz="1200" b="0" i="0" u="none" strike="noStrike" kern="1200" cap="none" spc="0" normalizeH="0" baseline="0" noProof="0" dirty="0">
                <a:ln>
                  <a:noFill/>
                </a:ln>
                <a:solidFill>
                  <a:prstClr val="black">
                    <a:lumMod val="65000"/>
                    <a:lumOff val="35000"/>
                  </a:prstClr>
                </a:solidFill>
                <a:effectLst/>
                <a:uLnTx/>
                <a:uFillTx/>
                <a:latin typeface="锐字云字库宋黑GB"/>
                <a:cs typeface="+mn-cs"/>
              </a:rPr>
              <a:t>/</a:t>
            </a:r>
            <a:r>
              <a:rPr kumimoji="0" lang="zh-CN" altLang="en-US" sz="1200" b="0" i="0" u="none" strike="noStrike" kern="1200" cap="none" spc="0" normalizeH="0" baseline="0" noProof="0" dirty="0">
                <a:ln>
                  <a:noFill/>
                </a:ln>
                <a:solidFill>
                  <a:prstClr val="black">
                    <a:lumMod val="65000"/>
                    <a:lumOff val="35000"/>
                  </a:prstClr>
                </a:solidFill>
                <a:effectLst/>
                <a:uLnTx/>
                <a:uFillTx/>
                <a:latin typeface="锐字云字库宋黑GB"/>
                <a:cs typeface="+mn-cs"/>
              </a:rPr>
              <a:t>层级等多种逻辑关系，帮助有效梳理页面内容。</a:t>
            </a:r>
          </a:p>
        </p:txBody>
      </p:sp>
      <p:cxnSp>
        <p:nvCxnSpPr>
          <p:cNvPr id="35" name="直接连接符 34">
            <a:extLst>
              <a:ext uri="{FF2B5EF4-FFF2-40B4-BE49-F238E27FC236}">
                <a16:creationId xmlns:a16="http://schemas.microsoft.com/office/drawing/2014/main" id="{8BE3CBAE-16A2-4FAD-A364-68FC5082CB60}"/>
              </a:ext>
            </a:extLst>
          </p:cNvPr>
          <p:cNvCxnSpPr>
            <a:cxnSpLocks/>
          </p:cNvCxnSpPr>
          <p:nvPr/>
        </p:nvCxnSpPr>
        <p:spPr>
          <a:xfrm rot="3600000">
            <a:off x="4696107" y="4154176"/>
            <a:ext cx="702000" cy="0"/>
          </a:xfrm>
          <a:prstGeom prst="line">
            <a:avLst/>
          </a:prstGeom>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8" name="矩形: 圆角 37">
            <a:extLst>
              <a:ext uri="{FF2B5EF4-FFF2-40B4-BE49-F238E27FC236}">
                <a16:creationId xmlns:a16="http://schemas.microsoft.com/office/drawing/2014/main" id="{220AB32F-ABFE-4779-82C2-B923C78FEE7E}"/>
              </a:ext>
            </a:extLst>
          </p:cNvPr>
          <p:cNvSpPr/>
          <p:nvPr/>
        </p:nvSpPr>
        <p:spPr>
          <a:xfrm>
            <a:off x="3164351" y="3235953"/>
            <a:ext cx="1855755" cy="644320"/>
          </a:xfrm>
          <a:prstGeom prst="roundRect">
            <a:avLst>
              <a:gd name="adj" fmla="val 28339"/>
            </a:avLst>
          </a:prstGeom>
          <a:solidFill>
            <a:schemeClr val="accent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white"/>
              </a:solidFill>
              <a:effectLst/>
              <a:uLnTx/>
              <a:uFillTx/>
              <a:latin typeface="锐字云字库大标宋GB"/>
              <a:ea typeface="+mj-ea"/>
              <a:cs typeface="+mn-cs"/>
            </a:endParaRPr>
          </a:p>
        </p:txBody>
      </p:sp>
      <p:sp>
        <p:nvSpPr>
          <p:cNvPr id="37" name="文本框 36">
            <a:extLst>
              <a:ext uri="{FF2B5EF4-FFF2-40B4-BE49-F238E27FC236}">
                <a16:creationId xmlns:a16="http://schemas.microsoft.com/office/drawing/2014/main" id="{AD58EF5B-D166-46AF-8BE7-591AEC367051}"/>
              </a:ext>
            </a:extLst>
          </p:cNvPr>
          <p:cNvSpPr txBox="1"/>
          <p:nvPr/>
        </p:nvSpPr>
        <p:spPr>
          <a:xfrm>
            <a:off x="1784169" y="3983210"/>
            <a:ext cx="3073262" cy="581926"/>
          </a:xfrm>
          <a:prstGeom prst="rect">
            <a:avLst/>
          </a:prstGeom>
          <a:noFill/>
          <a:ln>
            <a:noFill/>
          </a:ln>
          <a:effectLst/>
        </p:spPr>
        <p:txBody>
          <a:bodyPr wrap="square" lIns="0" tIns="0" rIns="0" bIns="0" anchor="t" anchorCtr="0">
            <a:noAutofit/>
          </a:bodyPr>
          <a:lstStyle>
            <a:defPPr>
              <a:defRPr lang="zh-CN"/>
            </a:defPPr>
            <a:lvl1pPr algn="just">
              <a:lnSpc>
                <a:spcPct val="130000"/>
              </a:lnSpc>
              <a:buSzPct val="25000"/>
              <a:defRPr sz="1200">
                <a:solidFill>
                  <a:schemeClr val="tx1">
                    <a:lumMod val="65000"/>
                    <a:lumOff val="35000"/>
                  </a:schemeClr>
                </a:solidFill>
                <a:latin typeface="+mn-ea"/>
              </a:defRPr>
            </a:lvl1pPr>
          </a:lstStyle>
          <a:p>
            <a:pPr marL="0" marR="0" lvl="0" indent="0" algn="just" defTabSz="914400" rtl="0" eaLnBrk="1" fontAlgn="auto" latinLnBrk="0" hangingPunct="1">
              <a:lnSpc>
                <a:spcPct val="130000"/>
              </a:lnSpc>
              <a:spcBef>
                <a:spcPts val="0"/>
              </a:spcBef>
              <a:spcAft>
                <a:spcPts val="0"/>
              </a:spcAft>
              <a:buClrTx/>
              <a:buSzPct val="25000"/>
              <a:buFontTx/>
              <a:buNone/>
              <a:tabLst/>
              <a:defRPr/>
            </a:pPr>
            <a:r>
              <a:rPr kumimoji="0" lang="zh-CN" altLang="en-US" sz="1200" b="0" i="0" u="none" strike="noStrike" kern="1200" cap="none" spc="0" normalizeH="0" baseline="0" noProof="0" dirty="0">
                <a:ln>
                  <a:noFill/>
                </a:ln>
                <a:solidFill>
                  <a:prstClr val="black">
                    <a:lumMod val="65000"/>
                    <a:lumOff val="35000"/>
                  </a:prstClr>
                </a:solidFill>
                <a:effectLst/>
                <a:uLnTx/>
                <a:uFillTx/>
                <a:latin typeface="锐字云字库宋黑GB"/>
                <a:cs typeface="+mn-cs"/>
              </a:rPr>
              <a:t>秋叶</a:t>
            </a:r>
            <a:r>
              <a:rPr kumimoji="0" lang="en-US" altLang="zh-CN" sz="1200" b="0" i="0" u="none" strike="noStrike" kern="1200" cap="none" spc="0" normalizeH="0" baseline="0" noProof="0" dirty="0">
                <a:ln>
                  <a:noFill/>
                </a:ln>
                <a:solidFill>
                  <a:prstClr val="black">
                    <a:lumMod val="65000"/>
                    <a:lumOff val="35000"/>
                  </a:prstClr>
                </a:solidFill>
                <a:effectLst/>
                <a:uLnTx/>
                <a:uFillTx/>
                <a:latin typeface="锐字云字库宋黑GB"/>
                <a:cs typeface="+mn-cs"/>
              </a:rPr>
              <a:t>PPT</a:t>
            </a:r>
            <a:r>
              <a:rPr kumimoji="0" lang="zh-CN" altLang="en-US" sz="1200" b="0" i="0" u="none" strike="noStrike" kern="1200" cap="none" spc="0" normalizeH="0" baseline="0" noProof="0" dirty="0">
                <a:ln>
                  <a:noFill/>
                </a:ln>
                <a:solidFill>
                  <a:prstClr val="black">
                    <a:lumMod val="65000"/>
                    <a:lumOff val="35000"/>
                  </a:prstClr>
                </a:solidFill>
                <a:effectLst/>
                <a:uLnTx/>
                <a:uFillTx/>
                <a:latin typeface="锐字云字库宋黑GB"/>
                <a:cs typeface="+mn-cs"/>
              </a:rPr>
              <a:t>丰富的信息图表覆盖并列</a:t>
            </a:r>
            <a:r>
              <a:rPr kumimoji="0" lang="en-US" altLang="zh-CN" sz="1200" b="0" i="0" u="none" strike="noStrike" kern="1200" cap="none" spc="0" normalizeH="0" baseline="0" noProof="0" dirty="0">
                <a:ln>
                  <a:noFill/>
                </a:ln>
                <a:solidFill>
                  <a:prstClr val="black">
                    <a:lumMod val="65000"/>
                    <a:lumOff val="35000"/>
                  </a:prstClr>
                </a:solidFill>
                <a:effectLst/>
                <a:uLnTx/>
                <a:uFillTx/>
                <a:latin typeface="锐字云字库宋黑GB"/>
                <a:cs typeface="+mn-cs"/>
              </a:rPr>
              <a:t>/</a:t>
            </a:r>
            <a:r>
              <a:rPr kumimoji="0" lang="zh-CN" altLang="en-US" sz="1200" b="0" i="0" u="none" strike="noStrike" kern="1200" cap="none" spc="0" normalizeH="0" baseline="0" noProof="0" dirty="0">
                <a:ln>
                  <a:noFill/>
                </a:ln>
                <a:solidFill>
                  <a:prstClr val="black">
                    <a:lumMod val="65000"/>
                    <a:lumOff val="35000"/>
                  </a:prstClr>
                </a:solidFill>
                <a:effectLst/>
                <a:uLnTx/>
                <a:uFillTx/>
                <a:latin typeface="锐字云字库宋黑GB"/>
                <a:cs typeface="+mn-cs"/>
              </a:rPr>
              <a:t>流程</a:t>
            </a:r>
            <a:r>
              <a:rPr kumimoji="0" lang="en-US" altLang="zh-CN" sz="1200" b="0" i="0" u="none" strike="noStrike" kern="1200" cap="none" spc="0" normalizeH="0" baseline="0" noProof="0" dirty="0">
                <a:ln>
                  <a:noFill/>
                </a:ln>
                <a:solidFill>
                  <a:prstClr val="black">
                    <a:lumMod val="65000"/>
                    <a:lumOff val="35000"/>
                  </a:prstClr>
                </a:solidFill>
                <a:effectLst/>
                <a:uLnTx/>
                <a:uFillTx/>
                <a:latin typeface="锐字云字库宋黑GB"/>
                <a:cs typeface="+mn-cs"/>
              </a:rPr>
              <a:t>/</a:t>
            </a:r>
            <a:r>
              <a:rPr kumimoji="0" lang="zh-CN" altLang="en-US" sz="1200" b="0" i="0" u="none" strike="noStrike" kern="1200" cap="none" spc="0" normalizeH="0" baseline="0" noProof="0" dirty="0">
                <a:ln>
                  <a:noFill/>
                </a:ln>
                <a:solidFill>
                  <a:prstClr val="black">
                    <a:lumMod val="65000"/>
                    <a:lumOff val="35000"/>
                  </a:prstClr>
                </a:solidFill>
                <a:effectLst/>
                <a:uLnTx/>
                <a:uFillTx/>
                <a:latin typeface="锐字云字库宋黑GB"/>
                <a:cs typeface="+mn-cs"/>
              </a:rPr>
              <a:t>层级等多种逻辑关系，帮助有效梳理页面内容。</a:t>
            </a:r>
          </a:p>
        </p:txBody>
      </p:sp>
      <p:sp>
        <p:nvSpPr>
          <p:cNvPr id="40" name="矩形: 圆角 2">
            <a:extLst>
              <a:ext uri="{FF2B5EF4-FFF2-40B4-BE49-F238E27FC236}">
                <a16:creationId xmlns:a16="http://schemas.microsoft.com/office/drawing/2014/main" id="{E66B97C3-EB5B-4D6D-AE87-095D15A177C3}"/>
              </a:ext>
            </a:extLst>
          </p:cNvPr>
          <p:cNvSpPr/>
          <p:nvPr/>
        </p:nvSpPr>
        <p:spPr>
          <a:xfrm>
            <a:off x="4395357" y="3329513"/>
            <a:ext cx="457200" cy="457200"/>
          </a:xfrm>
          <a:prstGeom prst="roundRect">
            <a:avLst>
              <a:gd name="adj" fmla="val 36112"/>
            </a:avLst>
          </a:prstGeom>
          <a:gradFill flip="none" rotWithShape="1">
            <a:gsLst>
              <a:gs pos="0">
                <a:schemeClr val="accent1">
                  <a:lumMod val="100000"/>
                </a:schemeClr>
              </a:gs>
              <a:gs pos="100000">
                <a:schemeClr val="accent1">
                  <a:lumMod val="100000"/>
                </a:schemeClr>
              </a:gs>
            </a:gsLst>
            <a:lin ang="0" scaled="0"/>
            <a:tileRect/>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endParaRPr kumimoji="0" lang="zh-CN" altLang="en-US" sz="1600" b="0" i="0" u="none" strike="noStrike" kern="1200" cap="none" spc="0" normalizeH="0" baseline="0" noProof="0">
              <a:ln>
                <a:noFill/>
              </a:ln>
              <a:solidFill>
                <a:prstClr val="white"/>
              </a:solidFill>
              <a:effectLst/>
              <a:uLnTx/>
              <a:uFillTx/>
              <a:latin typeface="锐字云字库大标宋GB"/>
              <a:ea typeface="+mj-ea"/>
              <a:cs typeface="+mn-cs"/>
            </a:endParaRPr>
          </a:p>
        </p:txBody>
      </p:sp>
      <p:pic>
        <p:nvPicPr>
          <p:cNvPr id="81" name="图片 80" descr="图标&#10;&#10;描述已自动生成">
            <a:extLst>
              <a:ext uri="{FF2B5EF4-FFF2-40B4-BE49-F238E27FC236}">
                <a16:creationId xmlns:a16="http://schemas.microsoft.com/office/drawing/2014/main" id="{D3F17A95-F5F4-493D-81B5-37944ACB968C}"/>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499757" y="3433913"/>
            <a:ext cx="248400" cy="248400"/>
          </a:xfrm>
          <a:prstGeom prst="rect">
            <a:avLst/>
          </a:prstGeom>
        </p:spPr>
      </p:pic>
      <p:cxnSp>
        <p:nvCxnSpPr>
          <p:cNvPr id="43" name="直接连接符 42">
            <a:extLst>
              <a:ext uri="{FF2B5EF4-FFF2-40B4-BE49-F238E27FC236}">
                <a16:creationId xmlns:a16="http://schemas.microsoft.com/office/drawing/2014/main" id="{CBDB00E7-6753-41CE-95A9-72FCC9106835}"/>
              </a:ext>
            </a:extLst>
          </p:cNvPr>
          <p:cNvCxnSpPr>
            <a:cxnSpLocks/>
          </p:cNvCxnSpPr>
          <p:nvPr/>
        </p:nvCxnSpPr>
        <p:spPr>
          <a:xfrm rot="3600000">
            <a:off x="4503957" y="5856714"/>
            <a:ext cx="784800" cy="0"/>
          </a:xfrm>
          <a:prstGeom prst="line">
            <a:avLst/>
          </a:prstGeom>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46" name="矩形: 圆角 45">
            <a:extLst>
              <a:ext uri="{FF2B5EF4-FFF2-40B4-BE49-F238E27FC236}">
                <a16:creationId xmlns:a16="http://schemas.microsoft.com/office/drawing/2014/main" id="{FF121378-B14E-4227-A447-C8B746ED541F}"/>
              </a:ext>
            </a:extLst>
          </p:cNvPr>
          <p:cNvSpPr/>
          <p:nvPr/>
        </p:nvSpPr>
        <p:spPr>
          <a:xfrm>
            <a:off x="2992901" y="4902637"/>
            <a:ext cx="1855755" cy="644320"/>
          </a:xfrm>
          <a:prstGeom prst="roundRect">
            <a:avLst>
              <a:gd name="adj" fmla="val 28339"/>
            </a:avLst>
          </a:prstGeom>
          <a:solidFill>
            <a:schemeClr val="accent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white"/>
              </a:solidFill>
              <a:effectLst/>
              <a:uLnTx/>
              <a:uFillTx/>
              <a:latin typeface="锐字云字库大标宋GB"/>
              <a:ea typeface="+mj-ea"/>
              <a:cs typeface="+mn-cs"/>
            </a:endParaRPr>
          </a:p>
        </p:txBody>
      </p:sp>
      <p:sp>
        <p:nvSpPr>
          <p:cNvPr id="45" name="文本框 44">
            <a:extLst>
              <a:ext uri="{FF2B5EF4-FFF2-40B4-BE49-F238E27FC236}">
                <a16:creationId xmlns:a16="http://schemas.microsoft.com/office/drawing/2014/main" id="{3F187168-C9B7-4B30-8C69-A8AAF7EC1391}"/>
              </a:ext>
            </a:extLst>
          </p:cNvPr>
          <p:cNvSpPr txBox="1"/>
          <p:nvPr/>
        </p:nvSpPr>
        <p:spPr>
          <a:xfrm>
            <a:off x="683745" y="5649894"/>
            <a:ext cx="4002236" cy="581926"/>
          </a:xfrm>
          <a:prstGeom prst="rect">
            <a:avLst/>
          </a:prstGeom>
          <a:noFill/>
          <a:ln>
            <a:noFill/>
          </a:ln>
          <a:effectLst/>
        </p:spPr>
        <p:txBody>
          <a:bodyPr wrap="square" lIns="0" tIns="0" rIns="0" bIns="0" anchor="t" anchorCtr="0">
            <a:noAutofit/>
          </a:bodyPr>
          <a:lstStyle>
            <a:defPPr>
              <a:defRPr lang="zh-CN"/>
            </a:defPPr>
            <a:lvl1pPr algn="just">
              <a:lnSpc>
                <a:spcPct val="130000"/>
              </a:lnSpc>
              <a:buSzPct val="25000"/>
              <a:defRPr sz="1200">
                <a:solidFill>
                  <a:schemeClr val="tx1">
                    <a:lumMod val="65000"/>
                    <a:lumOff val="35000"/>
                  </a:schemeClr>
                </a:solidFill>
                <a:latin typeface="+mn-ea"/>
              </a:defRPr>
            </a:lvl1pPr>
          </a:lstStyle>
          <a:p>
            <a:pPr marL="0" marR="0" lvl="0" indent="0" algn="just" defTabSz="914400" rtl="0" eaLnBrk="1" fontAlgn="auto" latinLnBrk="0" hangingPunct="1">
              <a:lnSpc>
                <a:spcPct val="130000"/>
              </a:lnSpc>
              <a:spcBef>
                <a:spcPts val="0"/>
              </a:spcBef>
              <a:spcAft>
                <a:spcPts val="0"/>
              </a:spcAft>
              <a:buClrTx/>
              <a:buSzPct val="25000"/>
              <a:buFontTx/>
              <a:buNone/>
              <a:tabLst/>
              <a:defRPr/>
            </a:pPr>
            <a:r>
              <a:rPr kumimoji="0" lang="zh-CN" altLang="en-US" sz="1200" b="0" i="0" u="none" strike="noStrike" kern="1200" cap="none" spc="0" normalizeH="0" baseline="0" noProof="0" dirty="0">
                <a:ln>
                  <a:noFill/>
                </a:ln>
                <a:solidFill>
                  <a:prstClr val="black">
                    <a:lumMod val="65000"/>
                    <a:lumOff val="35000"/>
                  </a:prstClr>
                </a:solidFill>
                <a:effectLst/>
                <a:uLnTx/>
                <a:uFillTx/>
                <a:latin typeface="锐字云字库宋黑GB"/>
                <a:cs typeface="+mn-cs"/>
              </a:rPr>
              <a:t>我们打破了软硬件间的技术限制，汇集创意内容与设计工具于一体，为不同场景下的设计需求提供优质的解决方案。</a:t>
            </a:r>
            <a:endParaRPr kumimoji="0" lang="en-GB" altLang="zh-CN" sz="1200" b="0" i="0" u="none" strike="noStrike" kern="1200" cap="none" spc="0" normalizeH="0" baseline="0" noProof="0" dirty="0">
              <a:ln>
                <a:noFill/>
              </a:ln>
              <a:solidFill>
                <a:prstClr val="black">
                  <a:lumMod val="65000"/>
                  <a:lumOff val="35000"/>
                </a:prstClr>
              </a:solidFill>
              <a:effectLst/>
              <a:uLnTx/>
              <a:uFillTx/>
              <a:latin typeface="锐字云字库宋黑GB"/>
              <a:cs typeface="+mn-cs"/>
            </a:endParaRPr>
          </a:p>
        </p:txBody>
      </p:sp>
      <p:sp>
        <p:nvSpPr>
          <p:cNvPr id="48" name="矩形: 圆角 2">
            <a:extLst>
              <a:ext uri="{FF2B5EF4-FFF2-40B4-BE49-F238E27FC236}">
                <a16:creationId xmlns:a16="http://schemas.microsoft.com/office/drawing/2014/main" id="{0D3B6D24-85FA-4E2B-A984-6D83E4D8EC9E}"/>
              </a:ext>
            </a:extLst>
          </p:cNvPr>
          <p:cNvSpPr/>
          <p:nvPr/>
        </p:nvSpPr>
        <p:spPr>
          <a:xfrm>
            <a:off x="4223907" y="4996197"/>
            <a:ext cx="457200" cy="457200"/>
          </a:xfrm>
          <a:prstGeom prst="roundRect">
            <a:avLst>
              <a:gd name="adj" fmla="val 36112"/>
            </a:avLst>
          </a:prstGeom>
          <a:gradFill flip="none" rotWithShape="1">
            <a:gsLst>
              <a:gs pos="0">
                <a:schemeClr val="accent1">
                  <a:lumMod val="100000"/>
                </a:schemeClr>
              </a:gs>
              <a:gs pos="100000">
                <a:schemeClr val="accent1">
                  <a:lumMod val="100000"/>
                </a:schemeClr>
              </a:gs>
            </a:gsLst>
            <a:lin ang="0" scaled="0"/>
            <a:tileRect/>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endParaRPr kumimoji="0" lang="zh-CN" altLang="en-US" sz="1600" b="0" i="0" u="none" strike="noStrike" kern="1200" cap="none" spc="0" normalizeH="0" baseline="0" noProof="0">
              <a:ln>
                <a:noFill/>
              </a:ln>
              <a:solidFill>
                <a:prstClr val="white"/>
              </a:solidFill>
              <a:effectLst/>
              <a:uLnTx/>
              <a:uFillTx/>
              <a:latin typeface="锐字云字库大标宋GB"/>
              <a:ea typeface="+mj-ea"/>
              <a:cs typeface="+mn-cs"/>
            </a:endParaRPr>
          </a:p>
        </p:txBody>
      </p:sp>
      <p:pic>
        <p:nvPicPr>
          <p:cNvPr id="85" name="图片 84" descr="图标&#10;&#10;描述已自动生成">
            <a:extLst>
              <a:ext uri="{FF2B5EF4-FFF2-40B4-BE49-F238E27FC236}">
                <a16:creationId xmlns:a16="http://schemas.microsoft.com/office/drawing/2014/main" id="{0D7803AC-67EE-481E-B97C-265C091A787C}"/>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328307" y="5100597"/>
            <a:ext cx="248400" cy="248400"/>
          </a:xfrm>
          <a:prstGeom prst="rect">
            <a:avLst/>
          </a:prstGeom>
        </p:spPr>
      </p:pic>
      <p:cxnSp>
        <p:nvCxnSpPr>
          <p:cNvPr id="73" name="直接连接符 72">
            <a:extLst>
              <a:ext uri="{FF2B5EF4-FFF2-40B4-BE49-F238E27FC236}">
                <a16:creationId xmlns:a16="http://schemas.microsoft.com/office/drawing/2014/main" id="{4398D544-9A5E-4CA4-994A-341BF4D2DCC4}"/>
              </a:ext>
            </a:extLst>
          </p:cNvPr>
          <p:cNvCxnSpPr>
            <a:cxnSpLocks/>
          </p:cNvCxnSpPr>
          <p:nvPr/>
        </p:nvCxnSpPr>
        <p:spPr>
          <a:xfrm rot="18000000" flipH="1">
            <a:off x="6695041" y="2440725"/>
            <a:ext cx="594000" cy="0"/>
          </a:xfrm>
          <a:prstGeom prst="line">
            <a:avLst/>
          </a:prstGeom>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76" name="矩形: 圆角 75">
            <a:extLst>
              <a:ext uri="{FF2B5EF4-FFF2-40B4-BE49-F238E27FC236}">
                <a16:creationId xmlns:a16="http://schemas.microsoft.com/office/drawing/2014/main" id="{C502E742-548E-483B-99F7-3EAFDC9B0FDD}"/>
              </a:ext>
            </a:extLst>
          </p:cNvPr>
          <p:cNvSpPr/>
          <p:nvPr/>
        </p:nvSpPr>
        <p:spPr>
          <a:xfrm flipH="1">
            <a:off x="6992042" y="1569268"/>
            <a:ext cx="1855755" cy="644320"/>
          </a:xfrm>
          <a:prstGeom prst="roundRect">
            <a:avLst>
              <a:gd name="adj" fmla="val 28339"/>
            </a:avLst>
          </a:prstGeom>
          <a:solidFill>
            <a:schemeClr val="accent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white"/>
              </a:solidFill>
              <a:effectLst/>
              <a:uLnTx/>
              <a:uFillTx/>
              <a:latin typeface="锐字云字库大标宋GB"/>
              <a:ea typeface="+mj-ea"/>
              <a:cs typeface="+mn-cs"/>
            </a:endParaRPr>
          </a:p>
        </p:txBody>
      </p:sp>
      <p:sp>
        <p:nvSpPr>
          <p:cNvPr id="75" name="文本框 74">
            <a:extLst>
              <a:ext uri="{FF2B5EF4-FFF2-40B4-BE49-F238E27FC236}">
                <a16:creationId xmlns:a16="http://schemas.microsoft.com/office/drawing/2014/main" id="{9B3DD812-FAD8-47E9-BFA3-F5F12BB33732}"/>
              </a:ext>
            </a:extLst>
          </p:cNvPr>
          <p:cNvSpPr txBox="1"/>
          <p:nvPr/>
        </p:nvSpPr>
        <p:spPr>
          <a:xfrm flipH="1">
            <a:off x="7168893" y="2316525"/>
            <a:ext cx="3073262" cy="581926"/>
          </a:xfrm>
          <a:prstGeom prst="rect">
            <a:avLst/>
          </a:prstGeom>
          <a:noFill/>
          <a:ln>
            <a:noFill/>
          </a:ln>
          <a:effectLst/>
        </p:spPr>
        <p:txBody>
          <a:bodyPr wrap="square" lIns="0" tIns="0" rIns="0" bIns="0" anchor="t" anchorCtr="0">
            <a:noAutofit/>
          </a:bodyPr>
          <a:lstStyle>
            <a:defPPr>
              <a:defRPr lang="zh-CN"/>
            </a:defPPr>
            <a:lvl1pPr algn="just">
              <a:lnSpc>
                <a:spcPct val="130000"/>
              </a:lnSpc>
              <a:buSzPct val="25000"/>
              <a:defRPr sz="1200">
                <a:solidFill>
                  <a:schemeClr val="tx1">
                    <a:lumMod val="65000"/>
                    <a:lumOff val="35000"/>
                  </a:schemeClr>
                </a:solidFill>
                <a:latin typeface="+mn-ea"/>
              </a:defRPr>
            </a:lvl1pPr>
          </a:lstStyle>
          <a:p>
            <a:pPr marL="0" marR="0" lvl="0" indent="0" algn="just" defTabSz="914400" rtl="0" eaLnBrk="1" fontAlgn="auto" latinLnBrk="0" hangingPunct="1">
              <a:lnSpc>
                <a:spcPct val="130000"/>
              </a:lnSpc>
              <a:spcBef>
                <a:spcPts val="0"/>
              </a:spcBef>
              <a:spcAft>
                <a:spcPts val="0"/>
              </a:spcAft>
              <a:buClrTx/>
              <a:buSzPct val="25000"/>
              <a:buFontTx/>
              <a:buNone/>
              <a:tabLst/>
              <a:defRPr/>
            </a:pPr>
            <a:r>
              <a:rPr kumimoji="0" lang="zh-CN" altLang="en-US" sz="1200" b="0" i="0" u="none" strike="noStrike" kern="1200" cap="none" spc="0" normalizeH="0" baseline="0" noProof="0" dirty="0">
                <a:ln>
                  <a:noFill/>
                </a:ln>
                <a:solidFill>
                  <a:prstClr val="black">
                    <a:lumMod val="65000"/>
                    <a:lumOff val="35000"/>
                  </a:prstClr>
                </a:solidFill>
                <a:effectLst/>
                <a:uLnTx/>
                <a:uFillTx/>
                <a:latin typeface="锐字云字库宋黑GB"/>
                <a:cs typeface="+mn-cs"/>
              </a:rPr>
              <a:t>秋叶</a:t>
            </a:r>
            <a:r>
              <a:rPr kumimoji="0" lang="en-US" altLang="zh-CN" sz="1200" b="0" i="0" u="none" strike="noStrike" kern="1200" cap="none" spc="0" normalizeH="0" baseline="0" noProof="0" dirty="0">
                <a:ln>
                  <a:noFill/>
                </a:ln>
                <a:solidFill>
                  <a:prstClr val="black">
                    <a:lumMod val="65000"/>
                    <a:lumOff val="35000"/>
                  </a:prstClr>
                </a:solidFill>
                <a:effectLst/>
                <a:uLnTx/>
                <a:uFillTx/>
                <a:latin typeface="锐字云字库宋黑GB"/>
                <a:cs typeface="+mn-cs"/>
              </a:rPr>
              <a:t>PPT</a:t>
            </a:r>
            <a:r>
              <a:rPr kumimoji="0" lang="zh-CN" altLang="en-US" sz="1200" b="0" i="0" u="none" strike="noStrike" kern="1200" cap="none" spc="0" normalizeH="0" baseline="0" noProof="0" dirty="0">
                <a:ln>
                  <a:noFill/>
                </a:ln>
                <a:solidFill>
                  <a:prstClr val="black">
                    <a:lumMod val="65000"/>
                    <a:lumOff val="35000"/>
                  </a:prstClr>
                </a:solidFill>
                <a:effectLst/>
                <a:uLnTx/>
                <a:uFillTx/>
                <a:latin typeface="锐字云字库宋黑GB"/>
                <a:cs typeface="+mn-cs"/>
              </a:rPr>
              <a:t>丰富的信息图表覆盖并列</a:t>
            </a:r>
            <a:r>
              <a:rPr kumimoji="0" lang="en-US" altLang="zh-CN" sz="1200" b="0" i="0" u="none" strike="noStrike" kern="1200" cap="none" spc="0" normalizeH="0" baseline="0" noProof="0" dirty="0">
                <a:ln>
                  <a:noFill/>
                </a:ln>
                <a:solidFill>
                  <a:prstClr val="black">
                    <a:lumMod val="65000"/>
                    <a:lumOff val="35000"/>
                  </a:prstClr>
                </a:solidFill>
                <a:effectLst/>
                <a:uLnTx/>
                <a:uFillTx/>
                <a:latin typeface="锐字云字库宋黑GB"/>
                <a:cs typeface="+mn-cs"/>
              </a:rPr>
              <a:t>/</a:t>
            </a:r>
            <a:r>
              <a:rPr kumimoji="0" lang="zh-CN" altLang="en-US" sz="1200" b="0" i="0" u="none" strike="noStrike" kern="1200" cap="none" spc="0" normalizeH="0" baseline="0" noProof="0" dirty="0">
                <a:ln>
                  <a:noFill/>
                </a:ln>
                <a:solidFill>
                  <a:prstClr val="black">
                    <a:lumMod val="65000"/>
                    <a:lumOff val="35000"/>
                  </a:prstClr>
                </a:solidFill>
                <a:effectLst/>
                <a:uLnTx/>
                <a:uFillTx/>
                <a:latin typeface="锐字云字库宋黑GB"/>
                <a:cs typeface="+mn-cs"/>
              </a:rPr>
              <a:t>流程</a:t>
            </a:r>
            <a:r>
              <a:rPr kumimoji="0" lang="en-US" altLang="zh-CN" sz="1200" b="0" i="0" u="none" strike="noStrike" kern="1200" cap="none" spc="0" normalizeH="0" baseline="0" noProof="0" dirty="0">
                <a:ln>
                  <a:noFill/>
                </a:ln>
                <a:solidFill>
                  <a:prstClr val="black">
                    <a:lumMod val="65000"/>
                    <a:lumOff val="35000"/>
                  </a:prstClr>
                </a:solidFill>
                <a:effectLst/>
                <a:uLnTx/>
                <a:uFillTx/>
                <a:latin typeface="锐字云字库宋黑GB"/>
                <a:cs typeface="+mn-cs"/>
              </a:rPr>
              <a:t>/</a:t>
            </a:r>
            <a:r>
              <a:rPr kumimoji="0" lang="zh-CN" altLang="en-US" sz="1200" b="0" i="0" u="none" strike="noStrike" kern="1200" cap="none" spc="0" normalizeH="0" baseline="0" noProof="0" dirty="0">
                <a:ln>
                  <a:noFill/>
                </a:ln>
                <a:solidFill>
                  <a:prstClr val="black">
                    <a:lumMod val="65000"/>
                    <a:lumOff val="35000"/>
                  </a:prstClr>
                </a:solidFill>
                <a:effectLst/>
                <a:uLnTx/>
                <a:uFillTx/>
                <a:latin typeface="锐字云字库宋黑GB"/>
                <a:cs typeface="+mn-cs"/>
              </a:rPr>
              <a:t>层级等多种逻辑关系，帮助有效梳理页面内容。</a:t>
            </a:r>
          </a:p>
        </p:txBody>
      </p:sp>
      <p:sp>
        <p:nvSpPr>
          <p:cNvPr id="78" name="矩形: 圆角 2">
            <a:extLst>
              <a:ext uri="{FF2B5EF4-FFF2-40B4-BE49-F238E27FC236}">
                <a16:creationId xmlns:a16="http://schemas.microsoft.com/office/drawing/2014/main" id="{B9027569-ECE9-401B-BAAB-C45CAF1F3076}"/>
              </a:ext>
            </a:extLst>
          </p:cNvPr>
          <p:cNvSpPr/>
          <p:nvPr/>
        </p:nvSpPr>
        <p:spPr>
          <a:xfrm flipH="1">
            <a:off x="7159591" y="1662828"/>
            <a:ext cx="457200" cy="457200"/>
          </a:xfrm>
          <a:prstGeom prst="roundRect">
            <a:avLst>
              <a:gd name="adj" fmla="val 36112"/>
            </a:avLst>
          </a:prstGeom>
          <a:gradFill flip="none" rotWithShape="1">
            <a:gsLst>
              <a:gs pos="0">
                <a:schemeClr val="accent1">
                  <a:lumMod val="100000"/>
                </a:schemeClr>
              </a:gs>
              <a:gs pos="100000">
                <a:schemeClr val="accent1">
                  <a:lumMod val="100000"/>
                </a:schemeClr>
              </a:gs>
            </a:gsLst>
            <a:lin ang="0" scaled="0"/>
            <a:tileRect/>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endParaRPr kumimoji="0" lang="zh-CN" altLang="en-US" sz="1600" b="0" i="0" u="none" strike="noStrike" kern="1200" cap="none" spc="0" normalizeH="0" baseline="0" noProof="0">
              <a:ln>
                <a:noFill/>
              </a:ln>
              <a:solidFill>
                <a:prstClr val="white"/>
              </a:solidFill>
              <a:effectLst/>
              <a:uLnTx/>
              <a:uFillTx/>
              <a:latin typeface="锐字云字库大标宋GB"/>
              <a:ea typeface="+mj-ea"/>
              <a:cs typeface="+mn-cs"/>
            </a:endParaRPr>
          </a:p>
        </p:txBody>
      </p:sp>
      <p:pic>
        <p:nvPicPr>
          <p:cNvPr id="89" name="图片 88" descr="图标&#10;&#10;描述已自动生成">
            <a:extLst>
              <a:ext uri="{FF2B5EF4-FFF2-40B4-BE49-F238E27FC236}">
                <a16:creationId xmlns:a16="http://schemas.microsoft.com/office/drawing/2014/main" id="{02809B27-BEF1-4781-83D9-175398004D27}"/>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263991" y="1767228"/>
            <a:ext cx="248400" cy="248400"/>
          </a:xfrm>
          <a:prstGeom prst="rect">
            <a:avLst/>
          </a:prstGeom>
        </p:spPr>
      </p:pic>
      <p:cxnSp>
        <p:nvCxnSpPr>
          <p:cNvPr id="66" name="直接连接符 65">
            <a:extLst>
              <a:ext uri="{FF2B5EF4-FFF2-40B4-BE49-F238E27FC236}">
                <a16:creationId xmlns:a16="http://schemas.microsoft.com/office/drawing/2014/main" id="{807D12F7-DD61-4899-B25C-9B1DD63B7DC3}"/>
              </a:ext>
            </a:extLst>
          </p:cNvPr>
          <p:cNvCxnSpPr>
            <a:cxnSpLocks/>
          </p:cNvCxnSpPr>
          <p:nvPr/>
        </p:nvCxnSpPr>
        <p:spPr>
          <a:xfrm rot="18000000" flipH="1">
            <a:off x="6808351" y="4154176"/>
            <a:ext cx="702000" cy="0"/>
          </a:xfrm>
          <a:prstGeom prst="line">
            <a:avLst/>
          </a:prstGeom>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69" name="矩形: 圆角 68">
            <a:extLst>
              <a:ext uri="{FF2B5EF4-FFF2-40B4-BE49-F238E27FC236}">
                <a16:creationId xmlns:a16="http://schemas.microsoft.com/office/drawing/2014/main" id="{30DEE3A6-4A2D-4D66-8E5F-A292A17E8F87}"/>
              </a:ext>
            </a:extLst>
          </p:cNvPr>
          <p:cNvSpPr/>
          <p:nvPr/>
        </p:nvSpPr>
        <p:spPr>
          <a:xfrm flipH="1">
            <a:off x="7186352" y="3235953"/>
            <a:ext cx="1855755" cy="644320"/>
          </a:xfrm>
          <a:prstGeom prst="roundRect">
            <a:avLst>
              <a:gd name="adj" fmla="val 28339"/>
            </a:avLst>
          </a:prstGeom>
          <a:solidFill>
            <a:schemeClr val="accent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white"/>
              </a:solidFill>
              <a:effectLst/>
              <a:uLnTx/>
              <a:uFillTx/>
              <a:latin typeface="锐字云字库大标宋GB"/>
              <a:ea typeface="+mj-ea"/>
              <a:cs typeface="+mn-cs"/>
            </a:endParaRPr>
          </a:p>
        </p:txBody>
      </p:sp>
      <p:sp>
        <p:nvSpPr>
          <p:cNvPr id="68" name="文本框 67">
            <a:extLst>
              <a:ext uri="{FF2B5EF4-FFF2-40B4-BE49-F238E27FC236}">
                <a16:creationId xmlns:a16="http://schemas.microsoft.com/office/drawing/2014/main" id="{C4F15F86-3414-4473-B44D-A2E917A8BD24}"/>
              </a:ext>
            </a:extLst>
          </p:cNvPr>
          <p:cNvSpPr txBox="1"/>
          <p:nvPr/>
        </p:nvSpPr>
        <p:spPr>
          <a:xfrm flipH="1">
            <a:off x="7363203" y="3983210"/>
            <a:ext cx="3073262" cy="581926"/>
          </a:xfrm>
          <a:prstGeom prst="rect">
            <a:avLst/>
          </a:prstGeom>
          <a:noFill/>
          <a:ln>
            <a:noFill/>
          </a:ln>
          <a:effectLst/>
        </p:spPr>
        <p:txBody>
          <a:bodyPr wrap="square" lIns="0" tIns="0" rIns="0" bIns="0" anchor="t" anchorCtr="0">
            <a:noAutofit/>
          </a:bodyPr>
          <a:lstStyle>
            <a:defPPr>
              <a:defRPr lang="zh-CN"/>
            </a:defPPr>
            <a:lvl1pPr algn="just">
              <a:lnSpc>
                <a:spcPct val="130000"/>
              </a:lnSpc>
              <a:buSzPct val="25000"/>
              <a:defRPr sz="1200">
                <a:solidFill>
                  <a:schemeClr val="tx1">
                    <a:lumMod val="65000"/>
                    <a:lumOff val="35000"/>
                  </a:schemeClr>
                </a:solidFill>
                <a:latin typeface="+mn-ea"/>
              </a:defRPr>
            </a:lvl1pPr>
          </a:lstStyle>
          <a:p>
            <a:pPr marL="0" marR="0" lvl="0" indent="0" algn="just" defTabSz="914400" rtl="0" eaLnBrk="1" fontAlgn="auto" latinLnBrk="0" hangingPunct="1">
              <a:lnSpc>
                <a:spcPct val="130000"/>
              </a:lnSpc>
              <a:spcBef>
                <a:spcPts val="0"/>
              </a:spcBef>
              <a:spcAft>
                <a:spcPts val="0"/>
              </a:spcAft>
              <a:buClrTx/>
              <a:buSzPct val="25000"/>
              <a:buFontTx/>
              <a:buNone/>
              <a:tabLst/>
              <a:defRPr/>
            </a:pPr>
            <a:r>
              <a:rPr kumimoji="0" lang="zh-CN" altLang="en-US" sz="1200" b="0" i="0" u="none" strike="noStrike" kern="1200" cap="none" spc="0" normalizeH="0" baseline="0" noProof="0" dirty="0">
                <a:ln>
                  <a:noFill/>
                </a:ln>
                <a:solidFill>
                  <a:prstClr val="black">
                    <a:lumMod val="65000"/>
                    <a:lumOff val="35000"/>
                  </a:prstClr>
                </a:solidFill>
                <a:effectLst/>
                <a:uLnTx/>
                <a:uFillTx/>
                <a:latin typeface="锐字云字库宋黑GB"/>
                <a:cs typeface="+mn-cs"/>
              </a:rPr>
              <a:t>秋叶</a:t>
            </a:r>
            <a:r>
              <a:rPr kumimoji="0" lang="en-US" altLang="zh-CN" sz="1200" b="0" i="0" u="none" strike="noStrike" kern="1200" cap="none" spc="0" normalizeH="0" baseline="0" noProof="0" dirty="0">
                <a:ln>
                  <a:noFill/>
                </a:ln>
                <a:solidFill>
                  <a:prstClr val="black">
                    <a:lumMod val="65000"/>
                    <a:lumOff val="35000"/>
                  </a:prstClr>
                </a:solidFill>
                <a:effectLst/>
                <a:uLnTx/>
                <a:uFillTx/>
                <a:latin typeface="锐字云字库宋黑GB"/>
                <a:cs typeface="+mn-cs"/>
              </a:rPr>
              <a:t>PPT</a:t>
            </a:r>
            <a:r>
              <a:rPr kumimoji="0" lang="zh-CN" altLang="en-US" sz="1200" b="0" i="0" u="none" strike="noStrike" kern="1200" cap="none" spc="0" normalizeH="0" baseline="0" noProof="0" dirty="0">
                <a:ln>
                  <a:noFill/>
                </a:ln>
                <a:solidFill>
                  <a:prstClr val="black">
                    <a:lumMod val="65000"/>
                    <a:lumOff val="35000"/>
                  </a:prstClr>
                </a:solidFill>
                <a:effectLst/>
                <a:uLnTx/>
                <a:uFillTx/>
                <a:latin typeface="锐字云字库宋黑GB"/>
                <a:cs typeface="+mn-cs"/>
              </a:rPr>
              <a:t>丰富的信息图表覆盖并列</a:t>
            </a:r>
            <a:r>
              <a:rPr kumimoji="0" lang="en-US" altLang="zh-CN" sz="1200" b="0" i="0" u="none" strike="noStrike" kern="1200" cap="none" spc="0" normalizeH="0" baseline="0" noProof="0" dirty="0">
                <a:ln>
                  <a:noFill/>
                </a:ln>
                <a:solidFill>
                  <a:prstClr val="black">
                    <a:lumMod val="65000"/>
                    <a:lumOff val="35000"/>
                  </a:prstClr>
                </a:solidFill>
                <a:effectLst/>
                <a:uLnTx/>
                <a:uFillTx/>
                <a:latin typeface="锐字云字库宋黑GB"/>
                <a:cs typeface="+mn-cs"/>
              </a:rPr>
              <a:t>/</a:t>
            </a:r>
            <a:r>
              <a:rPr kumimoji="0" lang="zh-CN" altLang="en-US" sz="1200" b="0" i="0" u="none" strike="noStrike" kern="1200" cap="none" spc="0" normalizeH="0" baseline="0" noProof="0" dirty="0">
                <a:ln>
                  <a:noFill/>
                </a:ln>
                <a:solidFill>
                  <a:prstClr val="black">
                    <a:lumMod val="65000"/>
                    <a:lumOff val="35000"/>
                  </a:prstClr>
                </a:solidFill>
                <a:effectLst/>
                <a:uLnTx/>
                <a:uFillTx/>
                <a:latin typeface="锐字云字库宋黑GB"/>
                <a:cs typeface="+mn-cs"/>
              </a:rPr>
              <a:t>流程</a:t>
            </a:r>
            <a:r>
              <a:rPr kumimoji="0" lang="en-US" altLang="zh-CN" sz="1200" b="0" i="0" u="none" strike="noStrike" kern="1200" cap="none" spc="0" normalizeH="0" baseline="0" noProof="0" dirty="0">
                <a:ln>
                  <a:noFill/>
                </a:ln>
                <a:solidFill>
                  <a:prstClr val="black">
                    <a:lumMod val="65000"/>
                    <a:lumOff val="35000"/>
                  </a:prstClr>
                </a:solidFill>
                <a:effectLst/>
                <a:uLnTx/>
                <a:uFillTx/>
                <a:latin typeface="锐字云字库宋黑GB"/>
                <a:cs typeface="+mn-cs"/>
              </a:rPr>
              <a:t>/</a:t>
            </a:r>
            <a:r>
              <a:rPr kumimoji="0" lang="zh-CN" altLang="en-US" sz="1200" b="0" i="0" u="none" strike="noStrike" kern="1200" cap="none" spc="0" normalizeH="0" baseline="0" noProof="0" dirty="0">
                <a:ln>
                  <a:noFill/>
                </a:ln>
                <a:solidFill>
                  <a:prstClr val="black">
                    <a:lumMod val="65000"/>
                    <a:lumOff val="35000"/>
                  </a:prstClr>
                </a:solidFill>
                <a:effectLst/>
                <a:uLnTx/>
                <a:uFillTx/>
                <a:latin typeface="锐字云字库宋黑GB"/>
                <a:cs typeface="+mn-cs"/>
              </a:rPr>
              <a:t>层级等多种逻辑关系，帮助有效梳理页面内容。</a:t>
            </a:r>
          </a:p>
        </p:txBody>
      </p:sp>
      <p:sp>
        <p:nvSpPr>
          <p:cNvPr id="71" name="矩形: 圆角 2">
            <a:extLst>
              <a:ext uri="{FF2B5EF4-FFF2-40B4-BE49-F238E27FC236}">
                <a16:creationId xmlns:a16="http://schemas.microsoft.com/office/drawing/2014/main" id="{0DDD984C-D9B5-495C-900B-221F1349EDC9}"/>
              </a:ext>
            </a:extLst>
          </p:cNvPr>
          <p:cNvSpPr/>
          <p:nvPr/>
        </p:nvSpPr>
        <p:spPr>
          <a:xfrm flipH="1">
            <a:off x="7353901" y="3329513"/>
            <a:ext cx="457200" cy="457200"/>
          </a:xfrm>
          <a:prstGeom prst="roundRect">
            <a:avLst>
              <a:gd name="adj" fmla="val 36112"/>
            </a:avLst>
          </a:prstGeom>
          <a:gradFill flip="none" rotWithShape="1">
            <a:gsLst>
              <a:gs pos="0">
                <a:schemeClr val="accent1">
                  <a:lumMod val="100000"/>
                </a:schemeClr>
              </a:gs>
              <a:gs pos="100000">
                <a:schemeClr val="accent1">
                  <a:lumMod val="100000"/>
                </a:schemeClr>
              </a:gs>
            </a:gsLst>
            <a:lin ang="0" scaled="0"/>
            <a:tileRect/>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endParaRPr kumimoji="0" lang="zh-CN" altLang="en-US" sz="1600" b="0" i="0" u="none" strike="noStrike" kern="1200" cap="none" spc="0" normalizeH="0" baseline="0" noProof="0">
              <a:ln>
                <a:noFill/>
              </a:ln>
              <a:solidFill>
                <a:prstClr val="white"/>
              </a:solidFill>
              <a:effectLst/>
              <a:uLnTx/>
              <a:uFillTx/>
              <a:latin typeface="锐字云字库大标宋GB"/>
              <a:ea typeface="+mj-ea"/>
              <a:cs typeface="+mn-cs"/>
            </a:endParaRPr>
          </a:p>
        </p:txBody>
      </p:sp>
      <p:pic>
        <p:nvPicPr>
          <p:cNvPr id="97" name="图片 96" descr="图标&#10;&#10;描述已自动生成">
            <a:extLst>
              <a:ext uri="{FF2B5EF4-FFF2-40B4-BE49-F238E27FC236}">
                <a16:creationId xmlns:a16="http://schemas.microsoft.com/office/drawing/2014/main" id="{8CD3D63E-D47D-4802-9205-CFECE87FE2AA}"/>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458301" y="3433913"/>
            <a:ext cx="248400" cy="248400"/>
          </a:xfrm>
          <a:prstGeom prst="rect">
            <a:avLst/>
          </a:prstGeom>
        </p:spPr>
      </p:pic>
      <p:cxnSp>
        <p:nvCxnSpPr>
          <p:cNvPr id="59" name="直接连接符 58">
            <a:extLst>
              <a:ext uri="{FF2B5EF4-FFF2-40B4-BE49-F238E27FC236}">
                <a16:creationId xmlns:a16="http://schemas.microsoft.com/office/drawing/2014/main" id="{1FC927A3-FCD4-41CF-8FDE-A6CC561977C3}"/>
              </a:ext>
            </a:extLst>
          </p:cNvPr>
          <p:cNvCxnSpPr>
            <a:cxnSpLocks/>
          </p:cNvCxnSpPr>
          <p:nvPr/>
        </p:nvCxnSpPr>
        <p:spPr>
          <a:xfrm rot="18000000" flipH="1">
            <a:off x="6917701" y="5856714"/>
            <a:ext cx="784800" cy="0"/>
          </a:xfrm>
          <a:prstGeom prst="line">
            <a:avLst/>
          </a:prstGeom>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62" name="矩形: 圆角 61">
            <a:extLst>
              <a:ext uri="{FF2B5EF4-FFF2-40B4-BE49-F238E27FC236}">
                <a16:creationId xmlns:a16="http://schemas.microsoft.com/office/drawing/2014/main" id="{892BE031-2702-4626-8362-32AA3B3FBDC1}"/>
              </a:ext>
            </a:extLst>
          </p:cNvPr>
          <p:cNvSpPr/>
          <p:nvPr/>
        </p:nvSpPr>
        <p:spPr>
          <a:xfrm flipH="1">
            <a:off x="7357802" y="4902637"/>
            <a:ext cx="1855755" cy="644320"/>
          </a:xfrm>
          <a:prstGeom prst="roundRect">
            <a:avLst>
              <a:gd name="adj" fmla="val 28339"/>
            </a:avLst>
          </a:prstGeom>
          <a:solidFill>
            <a:schemeClr val="accent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white"/>
              </a:solidFill>
              <a:effectLst/>
              <a:uLnTx/>
              <a:uFillTx/>
              <a:latin typeface="锐字云字库大标宋GB"/>
              <a:ea typeface="+mj-ea"/>
              <a:cs typeface="+mn-cs"/>
            </a:endParaRPr>
          </a:p>
        </p:txBody>
      </p:sp>
      <p:sp>
        <p:nvSpPr>
          <p:cNvPr id="61" name="文本框 60">
            <a:extLst>
              <a:ext uri="{FF2B5EF4-FFF2-40B4-BE49-F238E27FC236}">
                <a16:creationId xmlns:a16="http://schemas.microsoft.com/office/drawing/2014/main" id="{44E8FF2A-799B-4A46-BC8C-B9F6E04BDC6A}"/>
              </a:ext>
            </a:extLst>
          </p:cNvPr>
          <p:cNvSpPr txBox="1"/>
          <p:nvPr/>
        </p:nvSpPr>
        <p:spPr>
          <a:xfrm flipH="1">
            <a:off x="7534653" y="5649894"/>
            <a:ext cx="4002236" cy="581926"/>
          </a:xfrm>
          <a:prstGeom prst="rect">
            <a:avLst/>
          </a:prstGeom>
          <a:noFill/>
          <a:ln>
            <a:noFill/>
          </a:ln>
          <a:effectLst/>
        </p:spPr>
        <p:txBody>
          <a:bodyPr wrap="square" lIns="0" tIns="0" rIns="0" bIns="0" anchor="t" anchorCtr="0">
            <a:noAutofit/>
          </a:bodyPr>
          <a:lstStyle>
            <a:defPPr>
              <a:defRPr lang="zh-CN"/>
            </a:defPPr>
            <a:lvl1pPr algn="just">
              <a:lnSpc>
                <a:spcPct val="130000"/>
              </a:lnSpc>
              <a:buSzPct val="25000"/>
              <a:defRPr sz="1200">
                <a:solidFill>
                  <a:schemeClr val="tx1">
                    <a:lumMod val="65000"/>
                    <a:lumOff val="35000"/>
                  </a:schemeClr>
                </a:solidFill>
                <a:latin typeface="+mn-ea"/>
              </a:defRPr>
            </a:lvl1pPr>
          </a:lstStyle>
          <a:p>
            <a:pPr marL="0" marR="0" lvl="0" indent="0" algn="just" defTabSz="914400" rtl="0" eaLnBrk="1" fontAlgn="auto" latinLnBrk="0" hangingPunct="1">
              <a:lnSpc>
                <a:spcPct val="130000"/>
              </a:lnSpc>
              <a:spcBef>
                <a:spcPts val="0"/>
              </a:spcBef>
              <a:spcAft>
                <a:spcPts val="0"/>
              </a:spcAft>
              <a:buClrTx/>
              <a:buSzPct val="25000"/>
              <a:buFontTx/>
              <a:buNone/>
              <a:tabLst/>
              <a:defRPr/>
            </a:pPr>
            <a:r>
              <a:rPr kumimoji="0" lang="zh-CN" altLang="en-US" sz="1200" b="0" i="0" u="none" strike="noStrike" kern="1200" cap="none" spc="0" normalizeH="0" baseline="0" noProof="0" dirty="0">
                <a:ln>
                  <a:noFill/>
                </a:ln>
                <a:solidFill>
                  <a:prstClr val="black">
                    <a:lumMod val="65000"/>
                    <a:lumOff val="35000"/>
                  </a:prstClr>
                </a:solidFill>
                <a:effectLst/>
                <a:uLnTx/>
                <a:uFillTx/>
                <a:latin typeface="锐字云字库宋黑GB"/>
                <a:cs typeface="+mn-cs"/>
              </a:rPr>
              <a:t>我们打破了软硬件间的技术限制，汇集创意内容与设计工具于一体，为不同场景下的设计需求提供优质的解决方案。</a:t>
            </a:r>
            <a:endParaRPr kumimoji="0" lang="en-GB" altLang="zh-CN" sz="1200" b="0" i="0" u="none" strike="noStrike" kern="1200" cap="none" spc="0" normalizeH="0" baseline="0" noProof="0" dirty="0">
              <a:ln>
                <a:noFill/>
              </a:ln>
              <a:solidFill>
                <a:prstClr val="black">
                  <a:lumMod val="65000"/>
                  <a:lumOff val="35000"/>
                </a:prstClr>
              </a:solidFill>
              <a:effectLst/>
              <a:uLnTx/>
              <a:uFillTx/>
              <a:latin typeface="锐字云字库宋黑GB"/>
              <a:cs typeface="+mn-cs"/>
            </a:endParaRPr>
          </a:p>
        </p:txBody>
      </p:sp>
      <p:sp>
        <p:nvSpPr>
          <p:cNvPr id="64" name="矩形: 圆角 2">
            <a:extLst>
              <a:ext uri="{FF2B5EF4-FFF2-40B4-BE49-F238E27FC236}">
                <a16:creationId xmlns:a16="http://schemas.microsoft.com/office/drawing/2014/main" id="{B4C6202C-877C-47D1-9CC7-2860B6F1919F}"/>
              </a:ext>
            </a:extLst>
          </p:cNvPr>
          <p:cNvSpPr/>
          <p:nvPr/>
        </p:nvSpPr>
        <p:spPr>
          <a:xfrm flipH="1">
            <a:off x="7525351" y="4996197"/>
            <a:ext cx="457200" cy="457200"/>
          </a:xfrm>
          <a:prstGeom prst="roundRect">
            <a:avLst>
              <a:gd name="adj" fmla="val 36112"/>
            </a:avLst>
          </a:prstGeom>
          <a:gradFill flip="none" rotWithShape="1">
            <a:gsLst>
              <a:gs pos="0">
                <a:schemeClr val="accent1">
                  <a:lumMod val="100000"/>
                </a:schemeClr>
              </a:gs>
              <a:gs pos="100000">
                <a:schemeClr val="accent1">
                  <a:lumMod val="100000"/>
                </a:schemeClr>
              </a:gs>
            </a:gsLst>
            <a:lin ang="0" scaled="0"/>
            <a:tileRect/>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endParaRPr kumimoji="0" lang="zh-CN" altLang="en-US" sz="1600" b="0" i="0" u="none" strike="noStrike" kern="1200" cap="none" spc="0" normalizeH="0" baseline="0" noProof="0">
              <a:ln>
                <a:noFill/>
              </a:ln>
              <a:solidFill>
                <a:prstClr val="white"/>
              </a:solidFill>
              <a:effectLst/>
              <a:uLnTx/>
              <a:uFillTx/>
              <a:latin typeface="锐字云字库大标宋GB"/>
              <a:ea typeface="+mj-ea"/>
              <a:cs typeface="+mn-cs"/>
            </a:endParaRPr>
          </a:p>
        </p:txBody>
      </p:sp>
      <p:pic>
        <p:nvPicPr>
          <p:cNvPr id="101" name="图片 100" descr="图标&#10;&#10;描述已自动生成">
            <a:extLst>
              <a:ext uri="{FF2B5EF4-FFF2-40B4-BE49-F238E27FC236}">
                <a16:creationId xmlns:a16="http://schemas.microsoft.com/office/drawing/2014/main" id="{E1841728-6000-4E38-BF4B-4FBDBD6BDD50}"/>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7629751" y="5100597"/>
            <a:ext cx="248400" cy="248400"/>
          </a:xfrm>
          <a:prstGeom prst="rect">
            <a:avLst/>
          </a:prstGeom>
        </p:spPr>
      </p:pic>
      <p:sp>
        <p:nvSpPr>
          <p:cNvPr id="56" name="稿定PPT-1-1">
            <a:extLst>
              <a:ext uri="{FF2B5EF4-FFF2-40B4-BE49-F238E27FC236}">
                <a16:creationId xmlns:a16="http://schemas.microsoft.com/office/drawing/2014/main" id="{2EEA546B-AF41-4E50-9094-9F8049E92B7D}"/>
              </a:ext>
            </a:extLst>
          </p:cNvPr>
          <p:cNvSpPr txBox="1"/>
          <p:nvPr/>
        </p:nvSpPr>
        <p:spPr>
          <a:xfrm>
            <a:off x="905270" y="403388"/>
            <a:ext cx="3437711" cy="581926"/>
          </a:xfrm>
          <a:prstGeom prst="rect">
            <a:avLst/>
          </a:prstGeom>
          <a:noFill/>
          <a:ln>
            <a:noFill/>
          </a:ln>
        </p:spPr>
        <p:txBody>
          <a:bodyPr wrap="none" lIns="0" tIns="0" rIns="0" bIns="0" anchor="ctr" anchorCtr="0">
            <a:noAutofit/>
          </a:bodyPr>
          <a:lstStyle/>
          <a:p>
            <a:pPr marL="0" marR="0" lvl="0" indent="0" algn="l" defTabSz="913765" rtl="0" eaLnBrk="1" fontAlgn="auto" latinLnBrk="0" hangingPunct="1">
              <a:lnSpc>
                <a:spcPct val="100000"/>
              </a:lnSpc>
              <a:spcBef>
                <a:spcPts val="0"/>
              </a:spcBef>
              <a:spcAft>
                <a:spcPts val="0"/>
              </a:spcAft>
              <a:buClrTx/>
              <a:buSzPct val="25000"/>
              <a:buFontTx/>
              <a:buNone/>
              <a:tabLst/>
              <a:defRPr/>
            </a:pPr>
            <a:r>
              <a:rPr kumimoji="0" lang="zh-CN" altLang="en-US" sz="2000" b="0" i="0" u="none" strike="noStrike" kern="1200" cap="none" spc="0" normalizeH="0" baseline="0" noProof="0" dirty="0">
                <a:ln>
                  <a:noFill/>
                </a:ln>
                <a:solidFill>
                  <a:prstClr val="black"/>
                </a:solidFill>
                <a:effectLst/>
                <a:uLnTx/>
                <a:uFillTx/>
                <a:latin typeface="锐字云字库大标宋GB"/>
                <a:ea typeface="+mj-ea"/>
                <a:cs typeface="+mn-cs"/>
              </a:rPr>
              <a:t>秋叶</a:t>
            </a:r>
            <a:r>
              <a:rPr kumimoji="0" lang="en-US" altLang="zh-CN" sz="2000" b="0" i="0" u="none" strike="noStrike" kern="1200" cap="none" spc="0" normalizeH="0" baseline="0" noProof="0" dirty="0">
                <a:ln>
                  <a:noFill/>
                </a:ln>
                <a:solidFill>
                  <a:prstClr val="black"/>
                </a:solidFill>
                <a:effectLst/>
                <a:uLnTx/>
                <a:uFillTx/>
                <a:latin typeface="锐字云字库大标宋GB"/>
                <a:ea typeface="+mj-ea"/>
                <a:cs typeface="+mn-cs"/>
              </a:rPr>
              <a:t>PPT</a:t>
            </a:r>
            <a:r>
              <a:rPr kumimoji="0" lang="zh-CN" altLang="en-US" sz="2000" b="0" i="0" u="none" strike="noStrike" kern="1200" cap="none" spc="0" normalizeH="0" baseline="0" noProof="0" dirty="0">
                <a:ln>
                  <a:noFill/>
                </a:ln>
                <a:solidFill>
                  <a:prstClr val="black"/>
                </a:solidFill>
                <a:effectLst/>
                <a:uLnTx/>
                <a:uFillTx/>
                <a:latin typeface="锐字云字库大标宋GB"/>
                <a:ea typeface="+mj-ea"/>
                <a:cs typeface="+mn-cs"/>
              </a:rPr>
              <a:t>，海量素材持续更新</a:t>
            </a:r>
            <a:endParaRPr kumimoji="0" lang="en-US" sz="2000" b="0" i="0" u="none" strike="noStrike" kern="1200" cap="none" spc="0" normalizeH="0" baseline="0" noProof="0" dirty="0">
              <a:ln>
                <a:noFill/>
              </a:ln>
              <a:solidFill>
                <a:prstClr val="black"/>
              </a:solidFill>
              <a:effectLst/>
              <a:uLnTx/>
              <a:uFillTx/>
              <a:latin typeface="锐字云字库大标宋GB"/>
              <a:ea typeface="+mj-ea"/>
              <a:cs typeface="+mn-cs"/>
            </a:endParaRPr>
          </a:p>
        </p:txBody>
      </p:sp>
      <p:sp>
        <p:nvSpPr>
          <p:cNvPr id="57" name="稿定PPT-1-2">
            <a:extLst>
              <a:ext uri="{FF2B5EF4-FFF2-40B4-BE49-F238E27FC236}">
                <a16:creationId xmlns:a16="http://schemas.microsoft.com/office/drawing/2014/main" id="{CB8F9698-A6E2-43FE-AA60-E09093EC3B57}"/>
              </a:ext>
            </a:extLst>
          </p:cNvPr>
          <p:cNvSpPr txBox="1"/>
          <p:nvPr/>
        </p:nvSpPr>
        <p:spPr>
          <a:xfrm>
            <a:off x="971596" y="663677"/>
            <a:ext cx="4764270" cy="581926"/>
          </a:xfrm>
          <a:prstGeom prst="rect">
            <a:avLst/>
          </a:prstGeom>
          <a:noFill/>
          <a:ln>
            <a:noFill/>
          </a:ln>
        </p:spPr>
        <p:txBody>
          <a:bodyPr wrap="none" lIns="0" tIns="0" rIns="0" bIns="0" anchor="ctr" anchorCtr="0">
            <a:noAutofit/>
          </a:bodyPr>
          <a:lstStyle/>
          <a:p>
            <a:pPr marL="0" marR="0" lvl="0" indent="0" algn="l" defTabSz="913765" rtl="0" eaLnBrk="1" fontAlgn="auto" latinLnBrk="0" hangingPunct="1">
              <a:lnSpc>
                <a:spcPct val="100000"/>
              </a:lnSpc>
              <a:spcBef>
                <a:spcPts val="0"/>
              </a:spcBef>
              <a:spcAft>
                <a:spcPts val="0"/>
              </a:spcAft>
              <a:buClrTx/>
              <a:buSzPct val="25000"/>
              <a:buFontTx/>
              <a:buNone/>
              <a:tabLst/>
              <a:defRPr/>
            </a:pPr>
            <a:r>
              <a:rPr kumimoji="0" lang="en-US" sz="1200" b="0" i="0" u="none" strike="noStrike" kern="1200" cap="none" spc="0" normalizeH="0" baseline="0" noProof="0" dirty="0">
                <a:ln>
                  <a:noFill/>
                </a:ln>
                <a:solidFill>
                  <a:prstClr val="black"/>
                </a:solidFill>
                <a:effectLst/>
                <a:uLnTx/>
                <a:uFillTx/>
                <a:latin typeface="OPPOSans L"/>
                <a:ea typeface="OPPOSans L" panose="00020600040101010101" pitchFamily="18" charset="-122"/>
                <a:cs typeface="OPPOSans L" panose="00020600040101010101" pitchFamily="18" charset="-122"/>
              </a:rPr>
              <a:t>Mandamus mediocrem reprehendunt eum eu, cu pertinax ocurreret his. </a:t>
            </a:r>
          </a:p>
        </p:txBody>
      </p:sp>
      <p:sp>
        <p:nvSpPr>
          <p:cNvPr id="58" name="任意多边形: 形状 1">
            <a:extLst>
              <a:ext uri="{FF2B5EF4-FFF2-40B4-BE49-F238E27FC236}">
                <a16:creationId xmlns:a16="http://schemas.microsoft.com/office/drawing/2014/main" id="{6F7AC1AC-972B-4F08-B3BB-A0E1F4B0A053}"/>
              </a:ext>
            </a:extLst>
          </p:cNvPr>
          <p:cNvSpPr/>
          <p:nvPr/>
        </p:nvSpPr>
        <p:spPr>
          <a:xfrm rot="18900000" flipH="1">
            <a:off x="554242" y="589078"/>
            <a:ext cx="179144" cy="179144"/>
          </a:xfrm>
          <a:custGeom>
            <a:avLst/>
            <a:gdLst>
              <a:gd name="connsiteX0" fmla="*/ 15024 w 307777"/>
              <a:gd name="connsiteY0" fmla="*/ 15024 h 307777"/>
              <a:gd name="connsiteX1" fmla="*/ 51297 w 307777"/>
              <a:gd name="connsiteY1" fmla="*/ 0 h 307777"/>
              <a:gd name="connsiteX2" fmla="*/ 256480 w 307777"/>
              <a:gd name="connsiteY2" fmla="*/ 0 h 307777"/>
              <a:gd name="connsiteX3" fmla="*/ 307777 w 307777"/>
              <a:gd name="connsiteY3" fmla="*/ 51297 h 307777"/>
              <a:gd name="connsiteX4" fmla="*/ 307777 w 307777"/>
              <a:gd name="connsiteY4" fmla="*/ 106137 h 307777"/>
              <a:gd name="connsiteX5" fmla="*/ 303328 w 307777"/>
              <a:gd name="connsiteY5" fmla="*/ 104294 h 307777"/>
              <a:gd name="connsiteX6" fmla="*/ 144101 w 307777"/>
              <a:gd name="connsiteY6" fmla="*/ 104294 h 307777"/>
              <a:gd name="connsiteX7" fmla="*/ 104293 w 307777"/>
              <a:gd name="connsiteY7" fmla="*/ 144102 h 307777"/>
              <a:gd name="connsiteX8" fmla="*/ 104294 w 307777"/>
              <a:gd name="connsiteY8" fmla="*/ 303328 h 307777"/>
              <a:gd name="connsiteX9" fmla="*/ 106136 w 307777"/>
              <a:gd name="connsiteY9" fmla="*/ 307777 h 307777"/>
              <a:gd name="connsiteX10" fmla="*/ 51297 w 307777"/>
              <a:gd name="connsiteY10" fmla="*/ 307777 h 307777"/>
              <a:gd name="connsiteX11" fmla="*/ 0 w 307777"/>
              <a:gd name="connsiteY11" fmla="*/ 256480 h 307777"/>
              <a:gd name="connsiteX12" fmla="*/ 0 w 307777"/>
              <a:gd name="connsiteY12" fmla="*/ 51297 h 307777"/>
              <a:gd name="connsiteX13" fmla="*/ 15024 w 307777"/>
              <a:gd name="connsiteY13" fmla="*/ 15024 h 307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07777" h="307777">
                <a:moveTo>
                  <a:pt x="15024" y="15024"/>
                </a:moveTo>
                <a:cubicBezTo>
                  <a:pt x="24307" y="5741"/>
                  <a:pt x="37132" y="0"/>
                  <a:pt x="51297" y="0"/>
                </a:cubicBezTo>
                <a:lnTo>
                  <a:pt x="256480" y="0"/>
                </a:lnTo>
                <a:cubicBezTo>
                  <a:pt x="284811" y="0"/>
                  <a:pt x="307777" y="22966"/>
                  <a:pt x="307777" y="51297"/>
                </a:cubicBezTo>
                <a:lnTo>
                  <a:pt x="307777" y="106137"/>
                </a:lnTo>
                <a:lnTo>
                  <a:pt x="303328" y="104294"/>
                </a:lnTo>
                <a:lnTo>
                  <a:pt x="144101" y="104294"/>
                </a:lnTo>
                <a:cubicBezTo>
                  <a:pt x="122117" y="104294"/>
                  <a:pt x="104294" y="122117"/>
                  <a:pt x="104293" y="144102"/>
                </a:cubicBezTo>
                <a:lnTo>
                  <a:pt x="104294" y="303328"/>
                </a:lnTo>
                <a:lnTo>
                  <a:pt x="106136" y="307777"/>
                </a:lnTo>
                <a:lnTo>
                  <a:pt x="51297" y="307777"/>
                </a:lnTo>
                <a:cubicBezTo>
                  <a:pt x="22966" y="307777"/>
                  <a:pt x="0" y="284811"/>
                  <a:pt x="0" y="256480"/>
                </a:cubicBezTo>
                <a:lnTo>
                  <a:pt x="0" y="51297"/>
                </a:lnTo>
                <a:cubicBezTo>
                  <a:pt x="0" y="37132"/>
                  <a:pt x="5741" y="24307"/>
                  <a:pt x="15024" y="15024"/>
                </a:cubicBezTo>
                <a:close/>
              </a:path>
            </a:pathLst>
          </a:custGeom>
          <a:gradFill flip="none" rotWithShape="1">
            <a:gsLst>
              <a:gs pos="0">
                <a:schemeClr val="accent1">
                  <a:lumMod val="100000"/>
                </a:schemeClr>
              </a:gs>
              <a:gs pos="100000">
                <a:schemeClr val="accent1">
                  <a:lumMod val="10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OPPOSans L"/>
              <a:cs typeface="+mn-cs"/>
            </a:endParaRPr>
          </a:p>
        </p:txBody>
      </p:sp>
      <p:sp>
        <p:nvSpPr>
          <p:cNvPr id="60" name="任意多边形: 形状 2">
            <a:extLst>
              <a:ext uri="{FF2B5EF4-FFF2-40B4-BE49-F238E27FC236}">
                <a16:creationId xmlns:a16="http://schemas.microsoft.com/office/drawing/2014/main" id="{7FB4A1A9-4DD4-4E33-AB72-F5EBD9B29AB5}"/>
              </a:ext>
            </a:extLst>
          </p:cNvPr>
          <p:cNvSpPr/>
          <p:nvPr/>
        </p:nvSpPr>
        <p:spPr>
          <a:xfrm rot="2700000" flipH="1" flipV="1">
            <a:off x="481675" y="620480"/>
            <a:ext cx="179144" cy="179144"/>
          </a:xfrm>
          <a:custGeom>
            <a:avLst/>
            <a:gdLst>
              <a:gd name="connsiteX0" fmla="*/ 15024 w 307777"/>
              <a:gd name="connsiteY0" fmla="*/ 15024 h 307777"/>
              <a:gd name="connsiteX1" fmla="*/ 51297 w 307777"/>
              <a:gd name="connsiteY1" fmla="*/ 0 h 307777"/>
              <a:gd name="connsiteX2" fmla="*/ 256480 w 307777"/>
              <a:gd name="connsiteY2" fmla="*/ 0 h 307777"/>
              <a:gd name="connsiteX3" fmla="*/ 307777 w 307777"/>
              <a:gd name="connsiteY3" fmla="*/ 51297 h 307777"/>
              <a:gd name="connsiteX4" fmla="*/ 307777 w 307777"/>
              <a:gd name="connsiteY4" fmla="*/ 106137 h 307777"/>
              <a:gd name="connsiteX5" fmla="*/ 303328 w 307777"/>
              <a:gd name="connsiteY5" fmla="*/ 104294 h 307777"/>
              <a:gd name="connsiteX6" fmla="*/ 144101 w 307777"/>
              <a:gd name="connsiteY6" fmla="*/ 104294 h 307777"/>
              <a:gd name="connsiteX7" fmla="*/ 104293 w 307777"/>
              <a:gd name="connsiteY7" fmla="*/ 144102 h 307777"/>
              <a:gd name="connsiteX8" fmla="*/ 104294 w 307777"/>
              <a:gd name="connsiteY8" fmla="*/ 303328 h 307777"/>
              <a:gd name="connsiteX9" fmla="*/ 106136 w 307777"/>
              <a:gd name="connsiteY9" fmla="*/ 307777 h 307777"/>
              <a:gd name="connsiteX10" fmla="*/ 51297 w 307777"/>
              <a:gd name="connsiteY10" fmla="*/ 307777 h 307777"/>
              <a:gd name="connsiteX11" fmla="*/ 0 w 307777"/>
              <a:gd name="connsiteY11" fmla="*/ 256480 h 307777"/>
              <a:gd name="connsiteX12" fmla="*/ 0 w 307777"/>
              <a:gd name="connsiteY12" fmla="*/ 51297 h 307777"/>
              <a:gd name="connsiteX13" fmla="*/ 15024 w 307777"/>
              <a:gd name="connsiteY13" fmla="*/ 15024 h 307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07777" h="307777">
                <a:moveTo>
                  <a:pt x="15024" y="15024"/>
                </a:moveTo>
                <a:cubicBezTo>
                  <a:pt x="24307" y="5741"/>
                  <a:pt x="37132" y="0"/>
                  <a:pt x="51297" y="0"/>
                </a:cubicBezTo>
                <a:lnTo>
                  <a:pt x="256480" y="0"/>
                </a:lnTo>
                <a:cubicBezTo>
                  <a:pt x="284811" y="0"/>
                  <a:pt x="307777" y="22966"/>
                  <a:pt x="307777" y="51297"/>
                </a:cubicBezTo>
                <a:lnTo>
                  <a:pt x="307777" y="106137"/>
                </a:lnTo>
                <a:lnTo>
                  <a:pt x="303328" y="104294"/>
                </a:lnTo>
                <a:lnTo>
                  <a:pt x="144101" y="104294"/>
                </a:lnTo>
                <a:cubicBezTo>
                  <a:pt x="122117" y="104294"/>
                  <a:pt x="104294" y="122117"/>
                  <a:pt x="104293" y="144102"/>
                </a:cubicBezTo>
                <a:lnTo>
                  <a:pt x="104294" y="303328"/>
                </a:lnTo>
                <a:lnTo>
                  <a:pt x="106136" y="307777"/>
                </a:lnTo>
                <a:lnTo>
                  <a:pt x="51297" y="307777"/>
                </a:lnTo>
                <a:cubicBezTo>
                  <a:pt x="22966" y="307777"/>
                  <a:pt x="0" y="284811"/>
                  <a:pt x="0" y="256480"/>
                </a:cubicBezTo>
                <a:lnTo>
                  <a:pt x="0" y="51297"/>
                </a:lnTo>
                <a:cubicBezTo>
                  <a:pt x="0" y="37132"/>
                  <a:pt x="5741" y="24307"/>
                  <a:pt x="15024" y="15024"/>
                </a:cubicBezTo>
                <a:close/>
              </a:path>
            </a:pathLst>
          </a:custGeom>
          <a:gradFill flip="none" rotWithShape="1">
            <a:gsLst>
              <a:gs pos="0">
                <a:schemeClr val="accent1">
                  <a:lumMod val="100000"/>
                </a:schemeClr>
              </a:gs>
              <a:gs pos="100000">
                <a:schemeClr val="accent1">
                  <a:lumMod val="10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OPPOSans L"/>
              <a:cs typeface="+mn-cs"/>
            </a:endParaRPr>
          </a:p>
        </p:txBody>
      </p:sp>
      <p:sp>
        <p:nvSpPr>
          <p:cNvPr id="63" name="文本框 62">
            <a:extLst>
              <a:ext uri="{FF2B5EF4-FFF2-40B4-BE49-F238E27FC236}">
                <a16:creationId xmlns:a16="http://schemas.microsoft.com/office/drawing/2014/main" id="{DF8470BF-F649-4E07-A56D-59AC9D12EDF3}"/>
              </a:ext>
            </a:extLst>
          </p:cNvPr>
          <p:cNvSpPr txBox="1"/>
          <p:nvPr/>
        </p:nvSpPr>
        <p:spPr>
          <a:xfrm>
            <a:off x="3455702" y="1712669"/>
            <a:ext cx="1138117"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800" b="0" i="0" u="none" strike="noStrike" kern="1200" cap="none" spc="0" normalizeH="0" baseline="0" noProof="0" dirty="0">
                <a:ln>
                  <a:noFill/>
                </a:ln>
                <a:solidFill>
                  <a:prstClr val="white"/>
                </a:solidFill>
                <a:effectLst/>
                <a:uLnTx/>
                <a:uFillTx/>
                <a:latin typeface="锐字云字库大标宋GB"/>
                <a:ea typeface="+mj-ea"/>
                <a:cs typeface="+mn-cs"/>
              </a:rPr>
              <a:t>秋叶</a:t>
            </a:r>
            <a:r>
              <a:rPr kumimoji="0" lang="en-US" altLang="zh-CN" sz="1800" b="0" i="0" u="none" strike="noStrike" kern="1200" cap="none" spc="0" normalizeH="0" baseline="0" noProof="0" dirty="0">
                <a:ln>
                  <a:noFill/>
                </a:ln>
                <a:solidFill>
                  <a:prstClr val="white"/>
                </a:solidFill>
                <a:effectLst/>
                <a:uLnTx/>
                <a:uFillTx/>
                <a:latin typeface="锐字云字库大标宋GB"/>
                <a:ea typeface="+mj-ea"/>
                <a:cs typeface="+mn-cs"/>
              </a:rPr>
              <a:t>PPT</a:t>
            </a:r>
            <a:endParaRPr kumimoji="0" lang="zh-CN" altLang="en-US" sz="1800" b="0" i="0" u="none" strike="noStrike" kern="1200" cap="none" spc="0" normalizeH="0" baseline="0" noProof="0" dirty="0">
              <a:ln>
                <a:noFill/>
              </a:ln>
              <a:solidFill>
                <a:prstClr val="white"/>
              </a:solidFill>
              <a:effectLst/>
              <a:uLnTx/>
              <a:uFillTx/>
              <a:latin typeface="锐字云字库大标宋GB"/>
              <a:ea typeface="+mj-ea"/>
              <a:cs typeface="+mn-cs"/>
            </a:endParaRPr>
          </a:p>
        </p:txBody>
      </p:sp>
      <p:sp>
        <p:nvSpPr>
          <p:cNvPr id="67" name="文本框 66">
            <a:extLst>
              <a:ext uri="{FF2B5EF4-FFF2-40B4-BE49-F238E27FC236}">
                <a16:creationId xmlns:a16="http://schemas.microsoft.com/office/drawing/2014/main" id="{ACB37649-D22C-4E3A-BA58-E4A4AC52F621}"/>
              </a:ext>
            </a:extLst>
          </p:cNvPr>
          <p:cNvSpPr txBox="1"/>
          <p:nvPr/>
        </p:nvSpPr>
        <p:spPr>
          <a:xfrm>
            <a:off x="3260474" y="3384886"/>
            <a:ext cx="1138117"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800" b="0" i="0" u="none" strike="noStrike" kern="1200" cap="none" spc="0" normalizeH="0" baseline="0" noProof="0" dirty="0">
                <a:ln>
                  <a:noFill/>
                </a:ln>
                <a:solidFill>
                  <a:prstClr val="white"/>
                </a:solidFill>
                <a:effectLst/>
                <a:uLnTx/>
                <a:uFillTx/>
                <a:latin typeface="锐字云字库大标宋GB"/>
                <a:ea typeface="+mj-ea"/>
                <a:cs typeface="+mn-cs"/>
              </a:rPr>
              <a:t>秋叶</a:t>
            </a:r>
            <a:r>
              <a:rPr kumimoji="0" lang="en-US" altLang="zh-CN" sz="1800" b="0" i="0" u="none" strike="noStrike" kern="1200" cap="none" spc="0" normalizeH="0" baseline="0" noProof="0" dirty="0">
                <a:ln>
                  <a:noFill/>
                </a:ln>
                <a:solidFill>
                  <a:prstClr val="white"/>
                </a:solidFill>
                <a:effectLst/>
                <a:uLnTx/>
                <a:uFillTx/>
                <a:latin typeface="锐字云字库大标宋GB"/>
                <a:ea typeface="+mj-ea"/>
                <a:cs typeface="+mn-cs"/>
              </a:rPr>
              <a:t>PPT</a:t>
            </a:r>
            <a:endParaRPr kumimoji="0" lang="zh-CN" altLang="en-US" sz="1800" b="0" i="0" u="none" strike="noStrike" kern="1200" cap="none" spc="0" normalizeH="0" baseline="0" noProof="0" dirty="0">
              <a:ln>
                <a:noFill/>
              </a:ln>
              <a:solidFill>
                <a:prstClr val="white"/>
              </a:solidFill>
              <a:effectLst/>
              <a:uLnTx/>
              <a:uFillTx/>
              <a:latin typeface="锐字云字库大标宋GB"/>
              <a:ea typeface="+mj-ea"/>
              <a:cs typeface="+mn-cs"/>
            </a:endParaRPr>
          </a:p>
        </p:txBody>
      </p:sp>
      <p:sp>
        <p:nvSpPr>
          <p:cNvPr id="72" name="文本框 71">
            <a:extLst>
              <a:ext uri="{FF2B5EF4-FFF2-40B4-BE49-F238E27FC236}">
                <a16:creationId xmlns:a16="http://schemas.microsoft.com/office/drawing/2014/main" id="{CB0431F3-B318-4572-B5CD-BD7B6A9C12BF}"/>
              </a:ext>
            </a:extLst>
          </p:cNvPr>
          <p:cNvSpPr txBox="1"/>
          <p:nvPr/>
        </p:nvSpPr>
        <p:spPr>
          <a:xfrm>
            <a:off x="3067572" y="5057648"/>
            <a:ext cx="1138117"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800" b="0" i="0" u="none" strike="noStrike" kern="1200" cap="none" spc="0" normalizeH="0" baseline="0" noProof="0" dirty="0">
                <a:ln>
                  <a:noFill/>
                </a:ln>
                <a:solidFill>
                  <a:prstClr val="white"/>
                </a:solidFill>
                <a:effectLst/>
                <a:uLnTx/>
                <a:uFillTx/>
                <a:latin typeface="锐字云字库大标宋GB"/>
                <a:ea typeface="+mj-ea"/>
                <a:cs typeface="+mn-cs"/>
              </a:rPr>
              <a:t>秋叶</a:t>
            </a:r>
            <a:r>
              <a:rPr kumimoji="0" lang="en-US" altLang="zh-CN" sz="1800" b="0" i="0" u="none" strike="noStrike" kern="1200" cap="none" spc="0" normalizeH="0" baseline="0" noProof="0" dirty="0">
                <a:ln>
                  <a:noFill/>
                </a:ln>
                <a:solidFill>
                  <a:prstClr val="white"/>
                </a:solidFill>
                <a:effectLst/>
                <a:uLnTx/>
                <a:uFillTx/>
                <a:latin typeface="锐字云字库大标宋GB"/>
                <a:ea typeface="+mj-ea"/>
                <a:cs typeface="+mn-cs"/>
              </a:rPr>
              <a:t>PPT</a:t>
            </a:r>
            <a:endParaRPr kumimoji="0" lang="zh-CN" altLang="en-US" sz="1800" b="0" i="0" u="none" strike="noStrike" kern="1200" cap="none" spc="0" normalizeH="0" baseline="0" noProof="0" dirty="0">
              <a:ln>
                <a:noFill/>
              </a:ln>
              <a:solidFill>
                <a:prstClr val="white"/>
              </a:solidFill>
              <a:effectLst/>
              <a:uLnTx/>
              <a:uFillTx/>
              <a:latin typeface="锐字云字库大标宋GB"/>
              <a:ea typeface="+mj-ea"/>
              <a:cs typeface="+mn-cs"/>
            </a:endParaRPr>
          </a:p>
        </p:txBody>
      </p:sp>
      <p:sp>
        <p:nvSpPr>
          <p:cNvPr id="74" name="文本框 73">
            <a:extLst>
              <a:ext uri="{FF2B5EF4-FFF2-40B4-BE49-F238E27FC236}">
                <a16:creationId xmlns:a16="http://schemas.microsoft.com/office/drawing/2014/main" id="{34464801-5C32-4147-899E-9E4CAE308DF0}"/>
              </a:ext>
            </a:extLst>
          </p:cNvPr>
          <p:cNvSpPr txBox="1"/>
          <p:nvPr/>
        </p:nvSpPr>
        <p:spPr>
          <a:xfrm>
            <a:off x="7660892" y="1712669"/>
            <a:ext cx="1138117"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800" b="0" i="0" u="none" strike="noStrike" kern="1200" cap="none" spc="0" normalizeH="0" baseline="0" noProof="0" dirty="0">
                <a:ln>
                  <a:noFill/>
                </a:ln>
                <a:solidFill>
                  <a:prstClr val="white"/>
                </a:solidFill>
                <a:effectLst/>
                <a:uLnTx/>
                <a:uFillTx/>
                <a:latin typeface="锐字云字库大标宋GB"/>
                <a:ea typeface="+mj-ea"/>
                <a:cs typeface="+mn-cs"/>
              </a:rPr>
              <a:t>秋叶</a:t>
            </a:r>
            <a:r>
              <a:rPr kumimoji="0" lang="en-US" altLang="zh-CN" sz="1800" b="0" i="0" u="none" strike="noStrike" kern="1200" cap="none" spc="0" normalizeH="0" baseline="0" noProof="0" dirty="0">
                <a:ln>
                  <a:noFill/>
                </a:ln>
                <a:solidFill>
                  <a:prstClr val="white"/>
                </a:solidFill>
                <a:effectLst/>
                <a:uLnTx/>
                <a:uFillTx/>
                <a:latin typeface="锐字云字库大标宋GB"/>
                <a:ea typeface="+mj-ea"/>
                <a:cs typeface="+mn-cs"/>
              </a:rPr>
              <a:t>PPT</a:t>
            </a:r>
            <a:endParaRPr kumimoji="0" lang="zh-CN" altLang="en-US" sz="1800" b="0" i="0" u="none" strike="noStrike" kern="1200" cap="none" spc="0" normalizeH="0" baseline="0" noProof="0" dirty="0">
              <a:ln>
                <a:noFill/>
              </a:ln>
              <a:solidFill>
                <a:prstClr val="white"/>
              </a:solidFill>
              <a:effectLst/>
              <a:uLnTx/>
              <a:uFillTx/>
              <a:latin typeface="锐字云字库大标宋GB"/>
              <a:ea typeface="+mj-ea"/>
              <a:cs typeface="+mn-cs"/>
            </a:endParaRPr>
          </a:p>
        </p:txBody>
      </p:sp>
      <p:sp>
        <p:nvSpPr>
          <p:cNvPr id="77" name="文本框 76">
            <a:extLst>
              <a:ext uri="{FF2B5EF4-FFF2-40B4-BE49-F238E27FC236}">
                <a16:creationId xmlns:a16="http://schemas.microsoft.com/office/drawing/2014/main" id="{77A106A1-A844-4771-974A-82E962D1652F}"/>
              </a:ext>
            </a:extLst>
          </p:cNvPr>
          <p:cNvSpPr txBox="1"/>
          <p:nvPr/>
        </p:nvSpPr>
        <p:spPr>
          <a:xfrm>
            <a:off x="7874593" y="3384886"/>
            <a:ext cx="1138117"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800" b="0" i="0" u="none" strike="noStrike" kern="1200" cap="none" spc="0" normalizeH="0" baseline="0" noProof="0" dirty="0">
                <a:ln>
                  <a:noFill/>
                </a:ln>
                <a:solidFill>
                  <a:prstClr val="white"/>
                </a:solidFill>
                <a:effectLst/>
                <a:uLnTx/>
                <a:uFillTx/>
                <a:latin typeface="锐字云字库大标宋GB"/>
                <a:ea typeface="+mj-ea"/>
                <a:cs typeface="+mn-cs"/>
              </a:rPr>
              <a:t>秋叶</a:t>
            </a:r>
            <a:r>
              <a:rPr kumimoji="0" lang="en-US" altLang="zh-CN" sz="1800" b="0" i="0" u="none" strike="noStrike" kern="1200" cap="none" spc="0" normalizeH="0" baseline="0" noProof="0" dirty="0">
                <a:ln>
                  <a:noFill/>
                </a:ln>
                <a:solidFill>
                  <a:prstClr val="white"/>
                </a:solidFill>
                <a:effectLst/>
                <a:uLnTx/>
                <a:uFillTx/>
                <a:latin typeface="锐字云字库大标宋GB"/>
                <a:ea typeface="+mj-ea"/>
                <a:cs typeface="+mn-cs"/>
              </a:rPr>
              <a:t>PPT</a:t>
            </a:r>
            <a:endParaRPr kumimoji="0" lang="zh-CN" altLang="en-US" sz="1800" b="0" i="0" u="none" strike="noStrike" kern="1200" cap="none" spc="0" normalizeH="0" baseline="0" noProof="0" dirty="0">
              <a:ln>
                <a:noFill/>
              </a:ln>
              <a:solidFill>
                <a:prstClr val="white"/>
              </a:solidFill>
              <a:effectLst/>
              <a:uLnTx/>
              <a:uFillTx/>
              <a:latin typeface="锐字云字库大标宋GB"/>
              <a:ea typeface="+mj-ea"/>
              <a:cs typeface="+mn-cs"/>
            </a:endParaRPr>
          </a:p>
        </p:txBody>
      </p:sp>
      <p:sp>
        <p:nvSpPr>
          <p:cNvPr id="79" name="文本框 78">
            <a:extLst>
              <a:ext uri="{FF2B5EF4-FFF2-40B4-BE49-F238E27FC236}">
                <a16:creationId xmlns:a16="http://schemas.microsoft.com/office/drawing/2014/main" id="{B5EBD003-A4E0-4776-8480-6CD523754D8A}"/>
              </a:ext>
            </a:extLst>
          </p:cNvPr>
          <p:cNvSpPr txBox="1"/>
          <p:nvPr/>
        </p:nvSpPr>
        <p:spPr>
          <a:xfrm>
            <a:off x="8036633" y="5057648"/>
            <a:ext cx="1138117"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800" b="0" i="0" u="none" strike="noStrike" kern="1200" cap="none" spc="0" normalizeH="0" baseline="0" noProof="0" dirty="0">
                <a:ln>
                  <a:noFill/>
                </a:ln>
                <a:solidFill>
                  <a:prstClr val="white"/>
                </a:solidFill>
                <a:effectLst/>
                <a:uLnTx/>
                <a:uFillTx/>
                <a:latin typeface="锐字云字库大标宋GB"/>
                <a:ea typeface="+mj-ea"/>
                <a:cs typeface="+mn-cs"/>
              </a:rPr>
              <a:t>秋叶</a:t>
            </a:r>
            <a:r>
              <a:rPr kumimoji="0" lang="en-US" altLang="zh-CN" sz="1800" b="0" i="0" u="none" strike="noStrike" kern="1200" cap="none" spc="0" normalizeH="0" baseline="0" noProof="0" dirty="0">
                <a:ln>
                  <a:noFill/>
                </a:ln>
                <a:solidFill>
                  <a:prstClr val="white"/>
                </a:solidFill>
                <a:effectLst/>
                <a:uLnTx/>
                <a:uFillTx/>
                <a:latin typeface="锐字云字库大标宋GB"/>
                <a:ea typeface="+mj-ea"/>
                <a:cs typeface="+mn-cs"/>
              </a:rPr>
              <a:t>PPT</a:t>
            </a:r>
            <a:endParaRPr kumimoji="0" lang="zh-CN" altLang="en-US" sz="1800" b="0" i="0" u="none" strike="noStrike" kern="1200" cap="none" spc="0" normalizeH="0" baseline="0" noProof="0" dirty="0">
              <a:ln>
                <a:noFill/>
              </a:ln>
              <a:solidFill>
                <a:prstClr val="white"/>
              </a:solidFill>
              <a:effectLst/>
              <a:uLnTx/>
              <a:uFillTx/>
              <a:latin typeface="锐字云字库大标宋GB"/>
              <a:ea typeface="+mj-ea"/>
              <a:cs typeface="+mn-cs"/>
            </a:endParaRPr>
          </a:p>
        </p:txBody>
      </p:sp>
    </p:spTree>
    <p:extLst>
      <p:ext uri="{BB962C8B-B14F-4D97-AF65-F5344CB8AC3E}">
        <p14:creationId xmlns:p14="http://schemas.microsoft.com/office/powerpoint/2010/main" val="1600094329"/>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5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7">
            <a:extLst>
              <a:ext uri="{FF2B5EF4-FFF2-40B4-BE49-F238E27FC236}">
                <a16:creationId xmlns:a16="http://schemas.microsoft.com/office/drawing/2014/main" id="{453B6B9D-E275-4454-831D-02F59A98FFFD}"/>
              </a:ext>
            </a:extLst>
          </p:cNvPr>
          <p:cNvGrpSpPr/>
          <p:nvPr/>
        </p:nvGrpSpPr>
        <p:grpSpPr>
          <a:xfrm>
            <a:off x="4670190" y="1902243"/>
            <a:ext cx="2851620" cy="4234615"/>
            <a:chOff x="4670191" y="2223441"/>
            <a:chExt cx="2851620" cy="4234615"/>
          </a:xfrm>
        </p:grpSpPr>
        <p:sp>
          <p:nvSpPr>
            <p:cNvPr id="3" name="Freeform: Shape 8">
              <a:extLst>
                <a:ext uri="{FF2B5EF4-FFF2-40B4-BE49-F238E27FC236}">
                  <a16:creationId xmlns:a16="http://schemas.microsoft.com/office/drawing/2014/main" id="{9F31AA13-67BC-4F37-92C1-087C074C6788}"/>
                </a:ext>
              </a:extLst>
            </p:cNvPr>
            <p:cNvSpPr/>
            <p:nvPr/>
          </p:nvSpPr>
          <p:spPr>
            <a:xfrm>
              <a:off x="4813886" y="4363866"/>
              <a:ext cx="1324488" cy="1162051"/>
            </a:xfrm>
            <a:custGeom>
              <a:avLst/>
              <a:gdLst>
                <a:gd name="connsiteX0" fmla="*/ 942023 w 1009650"/>
                <a:gd name="connsiteY0" fmla="*/ 894397 h 885825"/>
                <a:gd name="connsiteX1" fmla="*/ 864870 w 1009650"/>
                <a:gd name="connsiteY1" fmla="*/ 761047 h 885825"/>
                <a:gd name="connsiteX2" fmla="*/ 756285 w 1009650"/>
                <a:gd name="connsiteY2" fmla="*/ 641985 h 885825"/>
                <a:gd name="connsiteX3" fmla="*/ 505778 w 1009650"/>
                <a:gd name="connsiteY3" fmla="*/ 428625 h 885825"/>
                <a:gd name="connsiteX4" fmla="*/ 244792 w 1009650"/>
                <a:gd name="connsiteY4" fmla="*/ 223838 h 885825"/>
                <a:gd name="connsiteX5" fmla="*/ 118110 w 1009650"/>
                <a:gd name="connsiteY5" fmla="*/ 117158 h 885825"/>
                <a:gd name="connsiteX6" fmla="*/ 0 w 1009650"/>
                <a:gd name="connsiteY6" fmla="*/ 0 h 885825"/>
                <a:gd name="connsiteX7" fmla="*/ 256223 w 1009650"/>
                <a:gd name="connsiteY7" fmla="*/ 209550 h 885825"/>
                <a:gd name="connsiteX8" fmla="*/ 528638 w 1009650"/>
                <a:gd name="connsiteY8" fmla="*/ 398145 h 885825"/>
                <a:gd name="connsiteX9" fmla="*/ 795338 w 1009650"/>
                <a:gd name="connsiteY9" fmla="*/ 600075 h 885825"/>
                <a:gd name="connsiteX10" fmla="*/ 917258 w 1009650"/>
                <a:gd name="connsiteY10" fmla="*/ 719138 h 885825"/>
                <a:gd name="connsiteX11" fmla="*/ 1013460 w 1009650"/>
                <a:gd name="connsiteY11" fmla="*/ 866775 h 885825"/>
                <a:gd name="connsiteX12" fmla="*/ 942023 w 1009650"/>
                <a:gd name="connsiteY12" fmla="*/ 894397 h 885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09650" h="885825">
                  <a:moveTo>
                    <a:pt x="942023" y="894397"/>
                  </a:moveTo>
                  <a:cubicBezTo>
                    <a:pt x="924878" y="847725"/>
                    <a:pt x="897255" y="802958"/>
                    <a:pt x="864870" y="761047"/>
                  </a:cubicBezTo>
                  <a:cubicBezTo>
                    <a:pt x="832485" y="719138"/>
                    <a:pt x="795338" y="680085"/>
                    <a:pt x="756285" y="641985"/>
                  </a:cubicBezTo>
                  <a:cubicBezTo>
                    <a:pt x="678180" y="566738"/>
                    <a:pt x="592455" y="497205"/>
                    <a:pt x="505778" y="428625"/>
                  </a:cubicBezTo>
                  <a:cubicBezTo>
                    <a:pt x="419100" y="360045"/>
                    <a:pt x="330517" y="293370"/>
                    <a:pt x="244792" y="223838"/>
                  </a:cubicBezTo>
                  <a:cubicBezTo>
                    <a:pt x="201930" y="189547"/>
                    <a:pt x="159067" y="153353"/>
                    <a:pt x="118110" y="117158"/>
                  </a:cubicBezTo>
                  <a:cubicBezTo>
                    <a:pt x="77153" y="80010"/>
                    <a:pt x="37148" y="41910"/>
                    <a:pt x="0" y="0"/>
                  </a:cubicBezTo>
                  <a:cubicBezTo>
                    <a:pt x="78105" y="79058"/>
                    <a:pt x="166688" y="144780"/>
                    <a:pt x="256223" y="209550"/>
                  </a:cubicBezTo>
                  <a:cubicBezTo>
                    <a:pt x="345758" y="273367"/>
                    <a:pt x="438150" y="335280"/>
                    <a:pt x="528638" y="398145"/>
                  </a:cubicBezTo>
                  <a:cubicBezTo>
                    <a:pt x="619125" y="461963"/>
                    <a:pt x="709613" y="526733"/>
                    <a:pt x="795338" y="600075"/>
                  </a:cubicBezTo>
                  <a:cubicBezTo>
                    <a:pt x="838200" y="637222"/>
                    <a:pt x="879158" y="675322"/>
                    <a:pt x="917258" y="719138"/>
                  </a:cubicBezTo>
                  <a:cubicBezTo>
                    <a:pt x="954405" y="762953"/>
                    <a:pt x="989648" y="810578"/>
                    <a:pt x="1013460" y="866775"/>
                  </a:cubicBezTo>
                  <a:lnTo>
                    <a:pt x="942023" y="894397"/>
                  </a:lnTo>
                  <a:close/>
                </a:path>
              </a:pathLst>
            </a:custGeom>
            <a:solidFill>
              <a:srgbClr val="C45B00"/>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等线 Light" panose="020F0302020204030204"/>
                <a:ea typeface="+mn-ea"/>
                <a:cs typeface="+mn-cs"/>
              </a:endParaRPr>
            </a:p>
          </p:txBody>
        </p:sp>
        <p:sp>
          <p:nvSpPr>
            <p:cNvPr id="4" name="Freeform: Shape 9">
              <a:extLst>
                <a:ext uri="{FF2B5EF4-FFF2-40B4-BE49-F238E27FC236}">
                  <a16:creationId xmlns:a16="http://schemas.microsoft.com/office/drawing/2014/main" id="{E37A8C08-9480-40AF-BE19-8424D1C80371}"/>
                </a:ext>
              </a:extLst>
            </p:cNvPr>
            <p:cNvSpPr/>
            <p:nvPr/>
          </p:nvSpPr>
          <p:spPr>
            <a:xfrm>
              <a:off x="4942587" y="3376746"/>
              <a:ext cx="1187041" cy="1049594"/>
            </a:xfrm>
            <a:custGeom>
              <a:avLst/>
              <a:gdLst>
                <a:gd name="connsiteX0" fmla="*/ 853440 w 904875"/>
                <a:gd name="connsiteY0" fmla="*/ 803910 h 800100"/>
                <a:gd name="connsiteX1" fmla="*/ 782955 w 904875"/>
                <a:gd name="connsiteY1" fmla="*/ 682943 h 800100"/>
                <a:gd name="connsiteX2" fmla="*/ 683895 w 904875"/>
                <a:gd name="connsiteY2" fmla="*/ 575310 h 800100"/>
                <a:gd name="connsiteX3" fmla="*/ 457200 w 904875"/>
                <a:gd name="connsiteY3" fmla="*/ 383858 h 800100"/>
                <a:gd name="connsiteX4" fmla="*/ 220980 w 904875"/>
                <a:gd name="connsiteY4" fmla="*/ 200977 h 800100"/>
                <a:gd name="connsiteX5" fmla="*/ 0 w 904875"/>
                <a:gd name="connsiteY5" fmla="*/ 0 h 800100"/>
                <a:gd name="connsiteX6" fmla="*/ 229553 w 904875"/>
                <a:gd name="connsiteY6" fmla="*/ 189548 h 800100"/>
                <a:gd name="connsiteX7" fmla="*/ 474345 w 904875"/>
                <a:gd name="connsiteY7" fmla="*/ 360997 h 800100"/>
                <a:gd name="connsiteX8" fmla="*/ 712470 w 904875"/>
                <a:gd name="connsiteY8" fmla="*/ 543878 h 800100"/>
                <a:gd name="connsiteX9" fmla="*/ 821055 w 904875"/>
                <a:gd name="connsiteY9" fmla="*/ 650558 h 800100"/>
                <a:gd name="connsiteX10" fmla="*/ 906780 w 904875"/>
                <a:gd name="connsiteY10" fmla="*/ 782955 h 800100"/>
                <a:gd name="connsiteX11" fmla="*/ 853440 w 904875"/>
                <a:gd name="connsiteY11" fmla="*/ 803910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04875" h="800100">
                  <a:moveTo>
                    <a:pt x="853440" y="803910"/>
                  </a:moveTo>
                  <a:cubicBezTo>
                    <a:pt x="837247" y="761047"/>
                    <a:pt x="812483" y="721043"/>
                    <a:pt x="782955" y="682943"/>
                  </a:cubicBezTo>
                  <a:cubicBezTo>
                    <a:pt x="753428" y="644843"/>
                    <a:pt x="719138" y="609600"/>
                    <a:pt x="683895" y="575310"/>
                  </a:cubicBezTo>
                  <a:cubicBezTo>
                    <a:pt x="613410" y="507683"/>
                    <a:pt x="535305" y="444817"/>
                    <a:pt x="457200" y="383858"/>
                  </a:cubicBezTo>
                  <a:cubicBezTo>
                    <a:pt x="379095" y="322898"/>
                    <a:pt x="299085" y="262890"/>
                    <a:pt x="220980" y="200977"/>
                  </a:cubicBezTo>
                  <a:cubicBezTo>
                    <a:pt x="142875" y="139065"/>
                    <a:pt x="65722" y="74295"/>
                    <a:pt x="0" y="0"/>
                  </a:cubicBezTo>
                  <a:cubicBezTo>
                    <a:pt x="69533" y="71438"/>
                    <a:pt x="149542" y="131445"/>
                    <a:pt x="229553" y="189548"/>
                  </a:cubicBezTo>
                  <a:cubicBezTo>
                    <a:pt x="310515" y="247650"/>
                    <a:pt x="392430" y="302895"/>
                    <a:pt x="474345" y="360997"/>
                  </a:cubicBezTo>
                  <a:cubicBezTo>
                    <a:pt x="555308" y="418147"/>
                    <a:pt x="636270" y="477203"/>
                    <a:pt x="712470" y="543878"/>
                  </a:cubicBezTo>
                  <a:cubicBezTo>
                    <a:pt x="750570" y="577215"/>
                    <a:pt x="787718" y="612458"/>
                    <a:pt x="821055" y="650558"/>
                  </a:cubicBezTo>
                  <a:cubicBezTo>
                    <a:pt x="854393" y="689610"/>
                    <a:pt x="884872" y="732472"/>
                    <a:pt x="906780" y="782955"/>
                  </a:cubicBezTo>
                  <a:lnTo>
                    <a:pt x="853440" y="803910"/>
                  </a:lnTo>
                  <a:close/>
                </a:path>
              </a:pathLst>
            </a:custGeom>
            <a:solidFill>
              <a:srgbClr val="C45B00"/>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等线 Light" panose="020F0302020204030204"/>
                <a:ea typeface="+mn-ea"/>
                <a:cs typeface="+mn-cs"/>
              </a:endParaRPr>
            </a:p>
          </p:txBody>
        </p:sp>
        <p:sp>
          <p:nvSpPr>
            <p:cNvPr id="5" name="Freeform: Shape 10">
              <a:extLst>
                <a:ext uri="{FF2B5EF4-FFF2-40B4-BE49-F238E27FC236}">
                  <a16:creationId xmlns:a16="http://schemas.microsoft.com/office/drawing/2014/main" id="{973206DB-2B1F-4F1F-9DEA-994395B6C4C3}"/>
                </a:ext>
              </a:extLst>
            </p:cNvPr>
            <p:cNvSpPr/>
            <p:nvPr/>
          </p:nvSpPr>
          <p:spPr>
            <a:xfrm>
              <a:off x="5058792" y="2417116"/>
              <a:ext cx="1062090" cy="937138"/>
            </a:xfrm>
            <a:custGeom>
              <a:avLst/>
              <a:gdLst>
                <a:gd name="connsiteX0" fmla="*/ 775335 w 809625"/>
                <a:gd name="connsiteY0" fmla="*/ 720090 h 714375"/>
                <a:gd name="connsiteX1" fmla="*/ 709613 w 809625"/>
                <a:gd name="connsiteY1" fmla="*/ 609600 h 714375"/>
                <a:gd name="connsiteX2" fmla="*/ 619125 w 809625"/>
                <a:gd name="connsiteY2" fmla="*/ 513398 h 714375"/>
                <a:gd name="connsiteX3" fmla="*/ 413385 w 809625"/>
                <a:gd name="connsiteY3" fmla="*/ 341948 h 714375"/>
                <a:gd name="connsiteX4" fmla="*/ 200025 w 809625"/>
                <a:gd name="connsiteY4" fmla="*/ 179070 h 714375"/>
                <a:gd name="connsiteX5" fmla="*/ 0 w 809625"/>
                <a:gd name="connsiteY5" fmla="*/ 0 h 714375"/>
                <a:gd name="connsiteX6" fmla="*/ 205740 w 809625"/>
                <a:gd name="connsiteY6" fmla="*/ 171450 h 714375"/>
                <a:gd name="connsiteX7" fmla="*/ 424815 w 809625"/>
                <a:gd name="connsiteY7" fmla="*/ 326708 h 714375"/>
                <a:gd name="connsiteX8" fmla="*/ 638175 w 809625"/>
                <a:gd name="connsiteY8" fmla="*/ 491490 h 714375"/>
                <a:gd name="connsiteX9" fmla="*/ 734377 w 809625"/>
                <a:gd name="connsiteY9" fmla="*/ 587693 h 714375"/>
                <a:gd name="connsiteX10" fmla="*/ 809625 w 809625"/>
                <a:gd name="connsiteY10" fmla="*/ 704850 h 714375"/>
                <a:gd name="connsiteX11" fmla="*/ 775335 w 809625"/>
                <a:gd name="connsiteY11" fmla="*/ 720090 h 714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09625" h="714375">
                  <a:moveTo>
                    <a:pt x="775335" y="720090"/>
                  </a:moveTo>
                  <a:cubicBezTo>
                    <a:pt x="760095" y="681038"/>
                    <a:pt x="737235" y="643890"/>
                    <a:pt x="709613" y="609600"/>
                  </a:cubicBezTo>
                  <a:cubicBezTo>
                    <a:pt x="681990" y="575310"/>
                    <a:pt x="651510" y="543878"/>
                    <a:pt x="619125" y="513398"/>
                  </a:cubicBezTo>
                  <a:cubicBezTo>
                    <a:pt x="554355" y="452438"/>
                    <a:pt x="484822" y="397193"/>
                    <a:pt x="413385" y="341948"/>
                  </a:cubicBezTo>
                  <a:cubicBezTo>
                    <a:pt x="342900" y="287655"/>
                    <a:pt x="270510" y="234315"/>
                    <a:pt x="200025" y="179070"/>
                  </a:cubicBezTo>
                  <a:cubicBezTo>
                    <a:pt x="129540" y="123825"/>
                    <a:pt x="60008" y="66675"/>
                    <a:pt x="0" y="0"/>
                  </a:cubicBezTo>
                  <a:cubicBezTo>
                    <a:pt x="61913" y="64770"/>
                    <a:pt x="133350" y="119063"/>
                    <a:pt x="205740" y="171450"/>
                  </a:cubicBezTo>
                  <a:cubicBezTo>
                    <a:pt x="278130" y="223838"/>
                    <a:pt x="351472" y="274320"/>
                    <a:pt x="424815" y="326708"/>
                  </a:cubicBezTo>
                  <a:cubicBezTo>
                    <a:pt x="498158" y="379095"/>
                    <a:pt x="570547" y="432435"/>
                    <a:pt x="638175" y="491490"/>
                  </a:cubicBezTo>
                  <a:cubicBezTo>
                    <a:pt x="672465" y="521018"/>
                    <a:pt x="704850" y="553403"/>
                    <a:pt x="734377" y="587693"/>
                  </a:cubicBezTo>
                  <a:cubicBezTo>
                    <a:pt x="763905" y="622935"/>
                    <a:pt x="790575" y="661035"/>
                    <a:pt x="809625" y="704850"/>
                  </a:cubicBezTo>
                  <a:lnTo>
                    <a:pt x="775335" y="720090"/>
                  </a:lnTo>
                  <a:close/>
                </a:path>
              </a:pathLst>
            </a:custGeom>
            <a:solidFill>
              <a:srgbClr val="C45B00"/>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等线 Light" panose="020F0302020204030204"/>
                <a:ea typeface="+mn-ea"/>
                <a:cs typeface="+mn-cs"/>
              </a:endParaRPr>
            </a:p>
          </p:txBody>
        </p:sp>
        <p:sp>
          <p:nvSpPr>
            <p:cNvPr id="6" name="Freeform: Shape 11">
              <a:extLst>
                <a:ext uri="{FF2B5EF4-FFF2-40B4-BE49-F238E27FC236}">
                  <a16:creationId xmlns:a16="http://schemas.microsoft.com/office/drawing/2014/main" id="{A8188F10-28CE-4C28-9BB8-29A00C73649B}"/>
                </a:ext>
              </a:extLst>
            </p:cNvPr>
            <p:cNvSpPr/>
            <p:nvPr/>
          </p:nvSpPr>
          <p:spPr>
            <a:xfrm>
              <a:off x="4917597" y="2283418"/>
              <a:ext cx="1012109" cy="862167"/>
            </a:xfrm>
            <a:custGeom>
              <a:avLst/>
              <a:gdLst>
                <a:gd name="connsiteX0" fmla="*/ 0 w 771525"/>
                <a:gd name="connsiteY0" fmla="*/ 0 h 657225"/>
                <a:gd name="connsiteX1" fmla="*/ 953 w 771525"/>
                <a:gd name="connsiteY1" fmla="*/ 6667 h 657225"/>
                <a:gd name="connsiteX2" fmla="*/ 769620 w 771525"/>
                <a:gd name="connsiteY2" fmla="*/ 659130 h 657225"/>
                <a:gd name="connsiteX3" fmla="*/ 769620 w 771525"/>
                <a:gd name="connsiteY3" fmla="*/ 658178 h 657225"/>
                <a:gd name="connsiteX4" fmla="*/ 0 w 771525"/>
                <a:gd name="connsiteY4" fmla="*/ 0 h 6572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1525" h="657225">
                  <a:moveTo>
                    <a:pt x="0" y="0"/>
                  </a:moveTo>
                  <a:cubicBezTo>
                    <a:pt x="0" y="2858"/>
                    <a:pt x="0" y="4763"/>
                    <a:pt x="953" y="6667"/>
                  </a:cubicBezTo>
                  <a:cubicBezTo>
                    <a:pt x="82867" y="841058"/>
                    <a:pt x="542925" y="556260"/>
                    <a:pt x="769620" y="659130"/>
                  </a:cubicBezTo>
                  <a:cubicBezTo>
                    <a:pt x="769620" y="659130"/>
                    <a:pt x="769620" y="658178"/>
                    <a:pt x="769620" y="658178"/>
                  </a:cubicBezTo>
                  <a:cubicBezTo>
                    <a:pt x="814388" y="128588"/>
                    <a:pt x="574358" y="93345"/>
                    <a:pt x="0" y="0"/>
                  </a:cubicBezTo>
                  <a:close/>
                </a:path>
              </a:pathLst>
            </a:custGeom>
            <a:solidFill>
              <a:schemeClr val="accent1"/>
            </a:solidFill>
            <a:ln w="28575" cap="flat">
              <a:solidFill>
                <a:schemeClr val="bg1"/>
              </a:solidFill>
              <a:prstDash val="solid"/>
              <a:miter/>
            </a:ln>
            <a:effectLst>
              <a:outerShdw blurRad="279400" dist="38100" dir="8100000" algn="tr" rotWithShape="0">
                <a:srgbClr val="000000">
                  <a:alpha val="12000"/>
                </a:srgbClr>
              </a:outerShdw>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等线 Light" panose="020F0302020204030204"/>
                <a:ea typeface="+mn-ea"/>
                <a:cs typeface="+mn-cs"/>
              </a:endParaRPr>
            </a:p>
          </p:txBody>
        </p:sp>
        <p:sp>
          <p:nvSpPr>
            <p:cNvPr id="7" name="Freeform: Shape 12">
              <a:extLst>
                <a:ext uri="{FF2B5EF4-FFF2-40B4-BE49-F238E27FC236}">
                  <a16:creationId xmlns:a16="http://schemas.microsoft.com/office/drawing/2014/main" id="{3D300BDD-D2FB-4134-9484-E1E8F90C9143}"/>
                </a:ext>
              </a:extLst>
            </p:cNvPr>
            <p:cNvSpPr/>
            <p:nvPr/>
          </p:nvSpPr>
          <p:spPr>
            <a:xfrm>
              <a:off x="4670191" y="4248910"/>
              <a:ext cx="1249517" cy="1062090"/>
            </a:xfrm>
            <a:custGeom>
              <a:avLst/>
              <a:gdLst>
                <a:gd name="connsiteX0" fmla="*/ 0 w 952500"/>
                <a:gd name="connsiteY0" fmla="*/ 0 h 809625"/>
                <a:gd name="connsiteX1" fmla="*/ 953 w 952500"/>
                <a:gd name="connsiteY1" fmla="*/ 8572 h 809625"/>
                <a:gd name="connsiteX2" fmla="*/ 950595 w 952500"/>
                <a:gd name="connsiteY2" fmla="*/ 813435 h 809625"/>
                <a:gd name="connsiteX3" fmla="*/ 950595 w 952500"/>
                <a:gd name="connsiteY3" fmla="*/ 811530 h 809625"/>
                <a:gd name="connsiteX4" fmla="*/ 0 w 952500"/>
                <a:gd name="connsiteY4" fmla="*/ 0 h 809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0" h="809625">
                  <a:moveTo>
                    <a:pt x="0" y="0"/>
                  </a:moveTo>
                  <a:cubicBezTo>
                    <a:pt x="0" y="2858"/>
                    <a:pt x="953" y="5715"/>
                    <a:pt x="953" y="8572"/>
                  </a:cubicBezTo>
                  <a:cubicBezTo>
                    <a:pt x="101917" y="1039177"/>
                    <a:pt x="669608" y="687705"/>
                    <a:pt x="950595" y="813435"/>
                  </a:cubicBezTo>
                  <a:cubicBezTo>
                    <a:pt x="950595" y="813435"/>
                    <a:pt x="950595" y="812483"/>
                    <a:pt x="950595" y="811530"/>
                  </a:cubicBezTo>
                  <a:cubicBezTo>
                    <a:pt x="1003935" y="160020"/>
                    <a:pt x="708660" y="116205"/>
                    <a:pt x="0" y="0"/>
                  </a:cubicBezTo>
                  <a:close/>
                </a:path>
              </a:pathLst>
            </a:custGeom>
            <a:solidFill>
              <a:schemeClr val="accent5">
                <a:lumMod val="100000"/>
              </a:schemeClr>
            </a:solidFill>
            <a:ln w="28575" cap="flat">
              <a:solidFill>
                <a:schemeClr val="bg1"/>
              </a:solidFill>
              <a:prstDash val="solid"/>
              <a:miter/>
            </a:ln>
            <a:effectLst>
              <a:outerShdw blurRad="279400" dist="38100" dir="8100000" algn="tr" rotWithShape="0">
                <a:srgbClr val="000000">
                  <a:alpha val="12000"/>
                </a:srgbClr>
              </a:outerShdw>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等线 Light" panose="020F0302020204030204"/>
                <a:ea typeface="+mn-ea"/>
                <a:cs typeface="+mn-cs"/>
              </a:endParaRPr>
            </a:p>
          </p:txBody>
        </p:sp>
        <p:sp>
          <p:nvSpPr>
            <p:cNvPr id="8" name="Freeform: Shape 13">
              <a:extLst>
                <a:ext uri="{FF2B5EF4-FFF2-40B4-BE49-F238E27FC236}">
                  <a16:creationId xmlns:a16="http://schemas.microsoft.com/office/drawing/2014/main" id="{446EA77C-3540-4B5E-8678-6321A18CE0CC}"/>
                </a:ext>
              </a:extLst>
            </p:cNvPr>
            <p:cNvSpPr/>
            <p:nvPr/>
          </p:nvSpPr>
          <p:spPr>
            <a:xfrm>
              <a:off x="4795143" y="3251794"/>
              <a:ext cx="1124565" cy="949633"/>
            </a:xfrm>
            <a:custGeom>
              <a:avLst/>
              <a:gdLst>
                <a:gd name="connsiteX0" fmla="*/ 0 w 857250"/>
                <a:gd name="connsiteY0" fmla="*/ 0 h 723900"/>
                <a:gd name="connsiteX1" fmla="*/ 953 w 857250"/>
                <a:gd name="connsiteY1" fmla="*/ 7620 h 723900"/>
                <a:gd name="connsiteX2" fmla="*/ 855345 w 857250"/>
                <a:gd name="connsiteY2" fmla="*/ 732472 h 723900"/>
                <a:gd name="connsiteX3" fmla="*/ 855345 w 857250"/>
                <a:gd name="connsiteY3" fmla="*/ 731520 h 723900"/>
                <a:gd name="connsiteX4" fmla="*/ 0 w 857250"/>
                <a:gd name="connsiteY4" fmla="*/ 0 h 723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0" h="723900">
                  <a:moveTo>
                    <a:pt x="0" y="0"/>
                  </a:moveTo>
                  <a:cubicBezTo>
                    <a:pt x="0" y="2858"/>
                    <a:pt x="953" y="5715"/>
                    <a:pt x="953" y="7620"/>
                  </a:cubicBezTo>
                  <a:cubicBezTo>
                    <a:pt x="91440" y="935355"/>
                    <a:pt x="602933" y="618172"/>
                    <a:pt x="855345" y="732472"/>
                  </a:cubicBezTo>
                  <a:cubicBezTo>
                    <a:pt x="855345" y="732472"/>
                    <a:pt x="855345" y="731520"/>
                    <a:pt x="855345" y="731520"/>
                  </a:cubicBezTo>
                  <a:cubicBezTo>
                    <a:pt x="903923" y="143827"/>
                    <a:pt x="638175" y="104775"/>
                    <a:pt x="0" y="0"/>
                  </a:cubicBezTo>
                  <a:close/>
                </a:path>
              </a:pathLst>
            </a:custGeom>
            <a:solidFill>
              <a:schemeClr val="accent3">
                <a:lumMod val="100000"/>
              </a:schemeClr>
            </a:solidFill>
            <a:ln w="28575" cap="flat">
              <a:solidFill>
                <a:schemeClr val="bg1"/>
              </a:solidFill>
              <a:prstDash val="solid"/>
              <a:miter/>
            </a:ln>
            <a:effectLst>
              <a:outerShdw blurRad="279400" dist="38100" dir="8100000" algn="tr" rotWithShape="0">
                <a:srgbClr val="000000">
                  <a:alpha val="12000"/>
                </a:srgbClr>
              </a:outerShdw>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等线 Light" panose="020F0302020204030204"/>
                <a:ea typeface="+mn-ea"/>
                <a:cs typeface="+mn-cs"/>
              </a:endParaRPr>
            </a:p>
          </p:txBody>
        </p:sp>
        <p:sp>
          <p:nvSpPr>
            <p:cNvPr id="9" name="Freeform: Shape 14">
              <a:extLst>
                <a:ext uri="{FF2B5EF4-FFF2-40B4-BE49-F238E27FC236}">
                  <a16:creationId xmlns:a16="http://schemas.microsoft.com/office/drawing/2014/main" id="{5EB45A14-8B15-4E38-80B3-083BA66C3FA5}"/>
                </a:ext>
              </a:extLst>
            </p:cNvPr>
            <p:cNvSpPr/>
            <p:nvPr/>
          </p:nvSpPr>
          <p:spPr>
            <a:xfrm>
              <a:off x="6053407" y="4363866"/>
              <a:ext cx="1324488" cy="1162051"/>
            </a:xfrm>
            <a:custGeom>
              <a:avLst/>
              <a:gdLst>
                <a:gd name="connsiteX0" fmla="*/ 0 w 1009650"/>
                <a:gd name="connsiteY0" fmla="*/ 866775 h 885825"/>
                <a:gd name="connsiteX1" fmla="*/ 96203 w 1009650"/>
                <a:gd name="connsiteY1" fmla="*/ 719138 h 885825"/>
                <a:gd name="connsiteX2" fmla="*/ 218122 w 1009650"/>
                <a:gd name="connsiteY2" fmla="*/ 600075 h 885825"/>
                <a:gd name="connsiteX3" fmla="*/ 484822 w 1009650"/>
                <a:gd name="connsiteY3" fmla="*/ 398145 h 885825"/>
                <a:gd name="connsiteX4" fmla="*/ 757238 w 1009650"/>
                <a:gd name="connsiteY4" fmla="*/ 209550 h 885825"/>
                <a:gd name="connsiteX5" fmla="*/ 1013460 w 1009650"/>
                <a:gd name="connsiteY5" fmla="*/ 0 h 885825"/>
                <a:gd name="connsiteX6" fmla="*/ 895350 w 1009650"/>
                <a:gd name="connsiteY6" fmla="*/ 117158 h 885825"/>
                <a:gd name="connsiteX7" fmla="*/ 768668 w 1009650"/>
                <a:gd name="connsiteY7" fmla="*/ 223838 h 885825"/>
                <a:gd name="connsiteX8" fmla="*/ 507683 w 1009650"/>
                <a:gd name="connsiteY8" fmla="*/ 428625 h 885825"/>
                <a:gd name="connsiteX9" fmla="*/ 257175 w 1009650"/>
                <a:gd name="connsiteY9" fmla="*/ 641985 h 885825"/>
                <a:gd name="connsiteX10" fmla="*/ 148590 w 1009650"/>
                <a:gd name="connsiteY10" fmla="*/ 761047 h 885825"/>
                <a:gd name="connsiteX11" fmla="*/ 71438 w 1009650"/>
                <a:gd name="connsiteY11" fmla="*/ 894397 h 885825"/>
                <a:gd name="connsiteX12" fmla="*/ 0 w 1009650"/>
                <a:gd name="connsiteY12" fmla="*/ 866775 h 885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09650" h="885825">
                  <a:moveTo>
                    <a:pt x="0" y="866775"/>
                  </a:moveTo>
                  <a:cubicBezTo>
                    <a:pt x="24765" y="810578"/>
                    <a:pt x="59055" y="762000"/>
                    <a:pt x="96203" y="719138"/>
                  </a:cubicBezTo>
                  <a:cubicBezTo>
                    <a:pt x="134303" y="675322"/>
                    <a:pt x="175260" y="637222"/>
                    <a:pt x="218122" y="600075"/>
                  </a:cubicBezTo>
                  <a:cubicBezTo>
                    <a:pt x="302895" y="526733"/>
                    <a:pt x="393383" y="461963"/>
                    <a:pt x="484822" y="398145"/>
                  </a:cubicBezTo>
                  <a:cubicBezTo>
                    <a:pt x="575310" y="334328"/>
                    <a:pt x="667703" y="273367"/>
                    <a:pt x="757238" y="209550"/>
                  </a:cubicBezTo>
                  <a:cubicBezTo>
                    <a:pt x="846772" y="144780"/>
                    <a:pt x="935355" y="79058"/>
                    <a:pt x="1013460" y="0"/>
                  </a:cubicBezTo>
                  <a:cubicBezTo>
                    <a:pt x="977265" y="41910"/>
                    <a:pt x="937260" y="80010"/>
                    <a:pt x="895350" y="117158"/>
                  </a:cubicBezTo>
                  <a:cubicBezTo>
                    <a:pt x="854393" y="154305"/>
                    <a:pt x="811530" y="189547"/>
                    <a:pt x="768668" y="223838"/>
                  </a:cubicBezTo>
                  <a:cubicBezTo>
                    <a:pt x="681990" y="293370"/>
                    <a:pt x="594360" y="360045"/>
                    <a:pt x="507683" y="428625"/>
                  </a:cubicBezTo>
                  <a:cubicBezTo>
                    <a:pt x="421005" y="497205"/>
                    <a:pt x="335280" y="566738"/>
                    <a:pt x="257175" y="641985"/>
                  </a:cubicBezTo>
                  <a:cubicBezTo>
                    <a:pt x="218122" y="680085"/>
                    <a:pt x="180975" y="719138"/>
                    <a:pt x="148590" y="761047"/>
                  </a:cubicBezTo>
                  <a:cubicBezTo>
                    <a:pt x="116205" y="802958"/>
                    <a:pt x="88583" y="847725"/>
                    <a:pt x="71438" y="894397"/>
                  </a:cubicBezTo>
                  <a:lnTo>
                    <a:pt x="0" y="866775"/>
                  </a:lnTo>
                  <a:close/>
                </a:path>
              </a:pathLst>
            </a:custGeom>
            <a:solidFill>
              <a:srgbClr val="C45B00"/>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等线 Light" panose="020F0302020204030204"/>
                <a:ea typeface="+mn-ea"/>
                <a:cs typeface="+mn-cs"/>
              </a:endParaRPr>
            </a:p>
          </p:txBody>
        </p:sp>
        <p:sp>
          <p:nvSpPr>
            <p:cNvPr id="10" name="Freeform: Shape 15">
              <a:extLst>
                <a:ext uri="{FF2B5EF4-FFF2-40B4-BE49-F238E27FC236}">
                  <a16:creationId xmlns:a16="http://schemas.microsoft.com/office/drawing/2014/main" id="{EC1DF051-7F0B-4061-9E67-FF1C3334DF82}"/>
                </a:ext>
              </a:extLst>
            </p:cNvPr>
            <p:cNvSpPr/>
            <p:nvPr/>
          </p:nvSpPr>
          <p:spPr>
            <a:xfrm>
              <a:off x="6063403" y="3376746"/>
              <a:ext cx="1187041" cy="1049594"/>
            </a:xfrm>
            <a:custGeom>
              <a:avLst/>
              <a:gdLst>
                <a:gd name="connsiteX0" fmla="*/ 0 w 904875"/>
                <a:gd name="connsiteY0" fmla="*/ 782955 h 800100"/>
                <a:gd name="connsiteX1" fmla="*/ 85725 w 904875"/>
                <a:gd name="connsiteY1" fmla="*/ 650558 h 800100"/>
                <a:gd name="connsiteX2" fmla="*/ 194310 w 904875"/>
                <a:gd name="connsiteY2" fmla="*/ 543878 h 800100"/>
                <a:gd name="connsiteX3" fmla="*/ 432435 w 904875"/>
                <a:gd name="connsiteY3" fmla="*/ 360997 h 800100"/>
                <a:gd name="connsiteX4" fmla="*/ 677227 w 904875"/>
                <a:gd name="connsiteY4" fmla="*/ 189548 h 800100"/>
                <a:gd name="connsiteX5" fmla="*/ 906780 w 904875"/>
                <a:gd name="connsiteY5" fmla="*/ 0 h 800100"/>
                <a:gd name="connsiteX6" fmla="*/ 685800 w 904875"/>
                <a:gd name="connsiteY6" fmla="*/ 200977 h 800100"/>
                <a:gd name="connsiteX7" fmla="*/ 449580 w 904875"/>
                <a:gd name="connsiteY7" fmla="*/ 383858 h 800100"/>
                <a:gd name="connsiteX8" fmla="*/ 222885 w 904875"/>
                <a:gd name="connsiteY8" fmla="*/ 575310 h 800100"/>
                <a:gd name="connsiteX9" fmla="*/ 123825 w 904875"/>
                <a:gd name="connsiteY9" fmla="*/ 682943 h 800100"/>
                <a:gd name="connsiteX10" fmla="*/ 53340 w 904875"/>
                <a:gd name="connsiteY10" fmla="*/ 803910 h 800100"/>
                <a:gd name="connsiteX11" fmla="*/ 0 w 904875"/>
                <a:gd name="connsiteY11" fmla="*/ 782955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04875" h="800100">
                  <a:moveTo>
                    <a:pt x="0" y="782955"/>
                  </a:moveTo>
                  <a:cubicBezTo>
                    <a:pt x="21908" y="733425"/>
                    <a:pt x="52388" y="689610"/>
                    <a:pt x="85725" y="650558"/>
                  </a:cubicBezTo>
                  <a:cubicBezTo>
                    <a:pt x="119063" y="611505"/>
                    <a:pt x="156210" y="576263"/>
                    <a:pt x="194310" y="543878"/>
                  </a:cubicBezTo>
                  <a:cubicBezTo>
                    <a:pt x="270510" y="477203"/>
                    <a:pt x="351473" y="419100"/>
                    <a:pt x="432435" y="360997"/>
                  </a:cubicBezTo>
                  <a:cubicBezTo>
                    <a:pt x="514350" y="303848"/>
                    <a:pt x="596265" y="247650"/>
                    <a:pt x="677227" y="189548"/>
                  </a:cubicBezTo>
                  <a:cubicBezTo>
                    <a:pt x="757238" y="131445"/>
                    <a:pt x="837248" y="71438"/>
                    <a:pt x="906780" y="0"/>
                  </a:cubicBezTo>
                  <a:cubicBezTo>
                    <a:pt x="840105" y="74295"/>
                    <a:pt x="762952" y="138113"/>
                    <a:pt x="685800" y="200977"/>
                  </a:cubicBezTo>
                  <a:cubicBezTo>
                    <a:pt x="607695" y="262890"/>
                    <a:pt x="527685" y="322898"/>
                    <a:pt x="449580" y="383858"/>
                  </a:cubicBezTo>
                  <a:cubicBezTo>
                    <a:pt x="371475" y="444817"/>
                    <a:pt x="294323" y="506730"/>
                    <a:pt x="222885" y="575310"/>
                  </a:cubicBezTo>
                  <a:cubicBezTo>
                    <a:pt x="187642" y="609600"/>
                    <a:pt x="153352" y="644843"/>
                    <a:pt x="123825" y="682943"/>
                  </a:cubicBezTo>
                  <a:cubicBezTo>
                    <a:pt x="94298" y="721043"/>
                    <a:pt x="68580" y="761047"/>
                    <a:pt x="53340" y="803910"/>
                  </a:cubicBezTo>
                  <a:lnTo>
                    <a:pt x="0" y="782955"/>
                  </a:lnTo>
                  <a:close/>
                </a:path>
              </a:pathLst>
            </a:custGeom>
            <a:solidFill>
              <a:srgbClr val="C45B00"/>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等线 Light" panose="020F0302020204030204"/>
                <a:ea typeface="+mn-ea"/>
                <a:cs typeface="+mn-cs"/>
              </a:endParaRPr>
            </a:p>
          </p:txBody>
        </p:sp>
        <p:sp>
          <p:nvSpPr>
            <p:cNvPr id="11" name="Freeform: Shape 16">
              <a:extLst>
                <a:ext uri="{FF2B5EF4-FFF2-40B4-BE49-F238E27FC236}">
                  <a16:creationId xmlns:a16="http://schemas.microsoft.com/office/drawing/2014/main" id="{B4D73B52-347A-4BDA-9B69-2E31A098A426}"/>
                </a:ext>
              </a:extLst>
            </p:cNvPr>
            <p:cNvSpPr/>
            <p:nvPr/>
          </p:nvSpPr>
          <p:spPr>
            <a:xfrm>
              <a:off x="6074650" y="2418366"/>
              <a:ext cx="1062090" cy="937138"/>
            </a:xfrm>
            <a:custGeom>
              <a:avLst/>
              <a:gdLst>
                <a:gd name="connsiteX0" fmla="*/ 0 w 809625"/>
                <a:gd name="connsiteY0" fmla="*/ 704850 h 714375"/>
                <a:gd name="connsiteX1" fmla="*/ 75247 w 809625"/>
                <a:gd name="connsiteY1" fmla="*/ 587693 h 714375"/>
                <a:gd name="connsiteX2" fmla="*/ 171450 w 809625"/>
                <a:gd name="connsiteY2" fmla="*/ 491490 h 714375"/>
                <a:gd name="connsiteX3" fmla="*/ 384810 w 809625"/>
                <a:gd name="connsiteY3" fmla="*/ 326707 h 714375"/>
                <a:gd name="connsiteX4" fmla="*/ 603885 w 809625"/>
                <a:gd name="connsiteY4" fmla="*/ 171450 h 714375"/>
                <a:gd name="connsiteX5" fmla="*/ 809625 w 809625"/>
                <a:gd name="connsiteY5" fmla="*/ 0 h 714375"/>
                <a:gd name="connsiteX6" fmla="*/ 609600 w 809625"/>
                <a:gd name="connsiteY6" fmla="*/ 179070 h 714375"/>
                <a:gd name="connsiteX7" fmla="*/ 396240 w 809625"/>
                <a:gd name="connsiteY7" fmla="*/ 341948 h 714375"/>
                <a:gd name="connsiteX8" fmla="*/ 190500 w 809625"/>
                <a:gd name="connsiteY8" fmla="*/ 513397 h 714375"/>
                <a:gd name="connsiteX9" fmla="*/ 100013 w 809625"/>
                <a:gd name="connsiteY9" fmla="*/ 609600 h 714375"/>
                <a:gd name="connsiteX10" fmla="*/ 34290 w 809625"/>
                <a:gd name="connsiteY10" fmla="*/ 720090 h 714375"/>
                <a:gd name="connsiteX11" fmla="*/ 0 w 809625"/>
                <a:gd name="connsiteY11" fmla="*/ 704850 h 714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09625" h="714375">
                  <a:moveTo>
                    <a:pt x="0" y="704850"/>
                  </a:moveTo>
                  <a:cubicBezTo>
                    <a:pt x="19050" y="661035"/>
                    <a:pt x="45720" y="621983"/>
                    <a:pt x="75247" y="587693"/>
                  </a:cubicBezTo>
                  <a:cubicBezTo>
                    <a:pt x="104775" y="552450"/>
                    <a:pt x="138113" y="521018"/>
                    <a:pt x="171450" y="491490"/>
                  </a:cubicBezTo>
                  <a:cubicBezTo>
                    <a:pt x="239078" y="431482"/>
                    <a:pt x="311467" y="378143"/>
                    <a:pt x="384810" y="326707"/>
                  </a:cubicBezTo>
                  <a:cubicBezTo>
                    <a:pt x="458153" y="274320"/>
                    <a:pt x="531495" y="223837"/>
                    <a:pt x="603885" y="171450"/>
                  </a:cubicBezTo>
                  <a:cubicBezTo>
                    <a:pt x="676275" y="118110"/>
                    <a:pt x="747713" y="63818"/>
                    <a:pt x="809625" y="0"/>
                  </a:cubicBezTo>
                  <a:cubicBezTo>
                    <a:pt x="749617" y="66675"/>
                    <a:pt x="680085" y="123825"/>
                    <a:pt x="609600" y="179070"/>
                  </a:cubicBezTo>
                  <a:cubicBezTo>
                    <a:pt x="539115" y="234315"/>
                    <a:pt x="466725" y="287655"/>
                    <a:pt x="396240" y="341948"/>
                  </a:cubicBezTo>
                  <a:cubicBezTo>
                    <a:pt x="325755" y="396240"/>
                    <a:pt x="255270" y="452438"/>
                    <a:pt x="190500" y="513397"/>
                  </a:cubicBezTo>
                  <a:cubicBezTo>
                    <a:pt x="158115" y="543878"/>
                    <a:pt x="127635" y="575310"/>
                    <a:pt x="100013" y="609600"/>
                  </a:cubicBezTo>
                  <a:cubicBezTo>
                    <a:pt x="73342" y="643890"/>
                    <a:pt x="49530" y="681038"/>
                    <a:pt x="34290" y="720090"/>
                  </a:cubicBezTo>
                  <a:lnTo>
                    <a:pt x="0" y="704850"/>
                  </a:lnTo>
                  <a:close/>
                </a:path>
              </a:pathLst>
            </a:custGeom>
            <a:solidFill>
              <a:srgbClr val="C45B00"/>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等线 Light" panose="020F0302020204030204"/>
                <a:ea typeface="+mn-ea"/>
                <a:cs typeface="+mn-cs"/>
              </a:endParaRPr>
            </a:p>
          </p:txBody>
        </p:sp>
        <p:sp>
          <p:nvSpPr>
            <p:cNvPr id="12" name="Freeform: Shape 17">
              <a:extLst>
                <a:ext uri="{FF2B5EF4-FFF2-40B4-BE49-F238E27FC236}">
                  <a16:creationId xmlns:a16="http://schemas.microsoft.com/office/drawing/2014/main" id="{6E2607B0-C471-43DC-B29F-D0A447C7AF89}"/>
                </a:ext>
              </a:extLst>
            </p:cNvPr>
            <p:cNvSpPr/>
            <p:nvPr/>
          </p:nvSpPr>
          <p:spPr>
            <a:xfrm>
              <a:off x="6262661" y="2283418"/>
              <a:ext cx="1012109" cy="862167"/>
            </a:xfrm>
            <a:custGeom>
              <a:avLst/>
              <a:gdLst>
                <a:gd name="connsiteX0" fmla="*/ 5270 w 771525"/>
                <a:gd name="connsiteY0" fmla="*/ 658178 h 657225"/>
                <a:gd name="connsiteX1" fmla="*/ 5270 w 771525"/>
                <a:gd name="connsiteY1" fmla="*/ 659130 h 657225"/>
                <a:gd name="connsiteX2" fmla="*/ 773937 w 771525"/>
                <a:gd name="connsiteY2" fmla="*/ 6667 h 657225"/>
                <a:gd name="connsiteX3" fmla="*/ 774890 w 771525"/>
                <a:gd name="connsiteY3" fmla="*/ 0 h 657225"/>
                <a:gd name="connsiteX4" fmla="*/ 5270 w 771525"/>
                <a:gd name="connsiteY4" fmla="*/ 658178 h 6572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1525" h="657225">
                  <a:moveTo>
                    <a:pt x="5270" y="658178"/>
                  </a:moveTo>
                  <a:cubicBezTo>
                    <a:pt x="5270" y="659130"/>
                    <a:pt x="5270" y="659130"/>
                    <a:pt x="5270" y="659130"/>
                  </a:cubicBezTo>
                  <a:cubicBezTo>
                    <a:pt x="231965" y="556260"/>
                    <a:pt x="692975" y="841058"/>
                    <a:pt x="773937" y="6667"/>
                  </a:cubicBezTo>
                  <a:cubicBezTo>
                    <a:pt x="773937" y="4763"/>
                    <a:pt x="773937" y="1905"/>
                    <a:pt x="774890" y="0"/>
                  </a:cubicBezTo>
                  <a:cubicBezTo>
                    <a:pt x="199580" y="93345"/>
                    <a:pt x="-39498" y="128588"/>
                    <a:pt x="5270" y="658178"/>
                  </a:cubicBezTo>
                  <a:close/>
                </a:path>
              </a:pathLst>
            </a:custGeom>
            <a:solidFill>
              <a:schemeClr val="accent2">
                <a:lumMod val="100000"/>
              </a:schemeClr>
            </a:solidFill>
            <a:ln w="28575" cap="flat">
              <a:solidFill>
                <a:schemeClr val="bg1"/>
              </a:solidFill>
              <a:prstDash val="solid"/>
              <a:miter/>
            </a:ln>
            <a:effectLst>
              <a:outerShdw blurRad="279400" dist="38100" dir="8100000" algn="tr" rotWithShape="0">
                <a:srgbClr val="000000">
                  <a:alpha val="12000"/>
                </a:srgbClr>
              </a:outerShdw>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等线 Light" panose="020F0302020204030204"/>
                <a:ea typeface="+mn-ea"/>
                <a:cs typeface="+mn-cs"/>
              </a:endParaRPr>
            </a:p>
          </p:txBody>
        </p:sp>
        <p:sp>
          <p:nvSpPr>
            <p:cNvPr id="13" name="Freeform: Shape 18">
              <a:extLst>
                <a:ext uri="{FF2B5EF4-FFF2-40B4-BE49-F238E27FC236}">
                  <a16:creationId xmlns:a16="http://schemas.microsoft.com/office/drawing/2014/main" id="{30AB9D03-7A19-474C-B3A7-53DBC1DCED42}"/>
                </a:ext>
              </a:extLst>
            </p:cNvPr>
            <p:cNvSpPr/>
            <p:nvPr/>
          </p:nvSpPr>
          <p:spPr>
            <a:xfrm>
              <a:off x="6004677" y="2223441"/>
              <a:ext cx="224913" cy="3773543"/>
            </a:xfrm>
            <a:custGeom>
              <a:avLst/>
              <a:gdLst>
                <a:gd name="connsiteX0" fmla="*/ 0 w 171450"/>
                <a:gd name="connsiteY0" fmla="*/ 2884170 h 2876550"/>
                <a:gd name="connsiteX1" fmla="*/ 29528 w 171450"/>
                <a:gd name="connsiteY1" fmla="*/ 1441133 h 2876550"/>
                <a:gd name="connsiteX2" fmla="*/ 49530 w 171450"/>
                <a:gd name="connsiteY2" fmla="*/ 720090 h 2876550"/>
                <a:gd name="connsiteX3" fmla="*/ 56197 w 171450"/>
                <a:gd name="connsiteY3" fmla="*/ 540068 h 2876550"/>
                <a:gd name="connsiteX4" fmla="*/ 63817 w 171450"/>
                <a:gd name="connsiteY4" fmla="*/ 360045 h 2876550"/>
                <a:gd name="connsiteX5" fmla="*/ 73342 w 171450"/>
                <a:gd name="connsiteY5" fmla="*/ 180023 h 2876550"/>
                <a:gd name="connsiteX6" fmla="*/ 79058 w 171450"/>
                <a:gd name="connsiteY6" fmla="*/ 89535 h 2876550"/>
                <a:gd name="connsiteX7" fmla="*/ 86678 w 171450"/>
                <a:gd name="connsiteY7" fmla="*/ 0 h 2876550"/>
                <a:gd name="connsiteX8" fmla="*/ 84772 w 171450"/>
                <a:gd name="connsiteY8" fmla="*/ 90488 h 2876550"/>
                <a:gd name="connsiteX9" fmla="*/ 84772 w 171450"/>
                <a:gd name="connsiteY9" fmla="*/ 180975 h 2876550"/>
                <a:gd name="connsiteX10" fmla="*/ 86678 w 171450"/>
                <a:gd name="connsiteY10" fmla="*/ 360998 h 2876550"/>
                <a:gd name="connsiteX11" fmla="*/ 90488 w 171450"/>
                <a:gd name="connsiteY11" fmla="*/ 541020 h 2876550"/>
                <a:gd name="connsiteX12" fmla="*/ 95250 w 171450"/>
                <a:gd name="connsiteY12" fmla="*/ 721043 h 2876550"/>
                <a:gd name="connsiteX13" fmla="*/ 118110 w 171450"/>
                <a:gd name="connsiteY13" fmla="*/ 1442085 h 2876550"/>
                <a:gd name="connsiteX14" fmla="*/ 174307 w 171450"/>
                <a:gd name="connsiteY14" fmla="*/ 2883218 h 2876550"/>
                <a:gd name="connsiteX15" fmla="*/ 0 w 171450"/>
                <a:gd name="connsiteY15" fmla="*/ 2884170 h 2876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71450" h="2876550">
                  <a:moveTo>
                    <a:pt x="0" y="2884170"/>
                  </a:moveTo>
                  <a:cubicBezTo>
                    <a:pt x="7620" y="2403158"/>
                    <a:pt x="17145" y="1922145"/>
                    <a:pt x="29528" y="1441133"/>
                  </a:cubicBezTo>
                  <a:cubicBezTo>
                    <a:pt x="35242" y="1200150"/>
                    <a:pt x="41910" y="960120"/>
                    <a:pt x="49530" y="720090"/>
                  </a:cubicBezTo>
                  <a:cubicBezTo>
                    <a:pt x="51435" y="660083"/>
                    <a:pt x="53340" y="600075"/>
                    <a:pt x="56197" y="540068"/>
                  </a:cubicBezTo>
                  <a:cubicBezTo>
                    <a:pt x="58103" y="480060"/>
                    <a:pt x="60960" y="420053"/>
                    <a:pt x="63817" y="360045"/>
                  </a:cubicBezTo>
                  <a:cubicBezTo>
                    <a:pt x="66675" y="300038"/>
                    <a:pt x="68580" y="240030"/>
                    <a:pt x="73342" y="180023"/>
                  </a:cubicBezTo>
                  <a:cubicBezTo>
                    <a:pt x="75247" y="149543"/>
                    <a:pt x="76200" y="120015"/>
                    <a:pt x="79058" y="89535"/>
                  </a:cubicBezTo>
                  <a:lnTo>
                    <a:pt x="86678" y="0"/>
                  </a:lnTo>
                  <a:lnTo>
                    <a:pt x="84772" y="90488"/>
                  </a:lnTo>
                  <a:cubicBezTo>
                    <a:pt x="83820" y="120968"/>
                    <a:pt x="84772" y="150495"/>
                    <a:pt x="84772" y="180975"/>
                  </a:cubicBezTo>
                  <a:cubicBezTo>
                    <a:pt x="84772" y="240983"/>
                    <a:pt x="85725" y="300990"/>
                    <a:pt x="86678" y="360998"/>
                  </a:cubicBezTo>
                  <a:cubicBezTo>
                    <a:pt x="87630" y="421005"/>
                    <a:pt x="88583" y="481013"/>
                    <a:pt x="90488" y="541020"/>
                  </a:cubicBezTo>
                  <a:cubicBezTo>
                    <a:pt x="91440" y="601028"/>
                    <a:pt x="93345" y="661035"/>
                    <a:pt x="95250" y="721043"/>
                  </a:cubicBezTo>
                  <a:cubicBezTo>
                    <a:pt x="101917" y="961073"/>
                    <a:pt x="109538" y="1202055"/>
                    <a:pt x="118110" y="1442085"/>
                  </a:cubicBezTo>
                  <a:cubicBezTo>
                    <a:pt x="135255" y="1922145"/>
                    <a:pt x="154305" y="2403158"/>
                    <a:pt x="174307" y="2883218"/>
                  </a:cubicBezTo>
                  <a:lnTo>
                    <a:pt x="0" y="2884170"/>
                  </a:lnTo>
                  <a:close/>
                </a:path>
              </a:pathLst>
            </a:custGeom>
            <a:solidFill>
              <a:schemeClr val="dk1">
                <a:lumMod val="85000"/>
                <a:lumOff val="15000"/>
              </a:scheme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等线 Light" panose="020F0302020204030204"/>
                <a:ea typeface="+mn-ea"/>
                <a:cs typeface="+mn-cs"/>
              </a:endParaRPr>
            </a:p>
          </p:txBody>
        </p:sp>
        <p:sp>
          <p:nvSpPr>
            <p:cNvPr id="14" name="Freeform: Shape 19">
              <a:extLst>
                <a:ext uri="{FF2B5EF4-FFF2-40B4-BE49-F238E27FC236}">
                  <a16:creationId xmlns:a16="http://schemas.microsoft.com/office/drawing/2014/main" id="{815CB6D1-56C3-445B-9892-7A9A6B25BEFE}"/>
                </a:ext>
              </a:extLst>
            </p:cNvPr>
            <p:cNvSpPr/>
            <p:nvPr/>
          </p:nvSpPr>
          <p:spPr>
            <a:xfrm>
              <a:off x="6272294" y="4250159"/>
              <a:ext cx="1249517" cy="1062090"/>
            </a:xfrm>
            <a:custGeom>
              <a:avLst/>
              <a:gdLst>
                <a:gd name="connsiteX0" fmla="*/ 6499 w 952500"/>
                <a:gd name="connsiteY0" fmla="*/ 811530 h 809625"/>
                <a:gd name="connsiteX1" fmla="*/ 6499 w 952500"/>
                <a:gd name="connsiteY1" fmla="*/ 813435 h 809625"/>
                <a:gd name="connsiteX2" fmla="*/ 956141 w 952500"/>
                <a:gd name="connsiteY2" fmla="*/ 8573 h 809625"/>
                <a:gd name="connsiteX3" fmla="*/ 957094 w 952500"/>
                <a:gd name="connsiteY3" fmla="*/ 0 h 809625"/>
                <a:gd name="connsiteX4" fmla="*/ 6499 w 952500"/>
                <a:gd name="connsiteY4" fmla="*/ 811530 h 809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0" h="809625">
                  <a:moveTo>
                    <a:pt x="6499" y="811530"/>
                  </a:moveTo>
                  <a:cubicBezTo>
                    <a:pt x="6499" y="812483"/>
                    <a:pt x="6499" y="813435"/>
                    <a:pt x="6499" y="813435"/>
                  </a:cubicBezTo>
                  <a:cubicBezTo>
                    <a:pt x="286534" y="686753"/>
                    <a:pt x="855177" y="1038225"/>
                    <a:pt x="956141" y="8573"/>
                  </a:cubicBezTo>
                  <a:cubicBezTo>
                    <a:pt x="956141" y="5715"/>
                    <a:pt x="957094" y="2858"/>
                    <a:pt x="957094" y="0"/>
                  </a:cubicBezTo>
                  <a:cubicBezTo>
                    <a:pt x="246529" y="115253"/>
                    <a:pt x="-48746" y="159068"/>
                    <a:pt x="6499" y="811530"/>
                  </a:cubicBezTo>
                  <a:close/>
                </a:path>
              </a:pathLst>
            </a:custGeom>
            <a:solidFill>
              <a:schemeClr val="accent6">
                <a:lumMod val="100000"/>
              </a:schemeClr>
            </a:solidFill>
            <a:ln w="28575" cap="flat">
              <a:solidFill>
                <a:schemeClr val="bg1"/>
              </a:solidFill>
              <a:prstDash val="solid"/>
              <a:miter/>
            </a:ln>
            <a:effectLst>
              <a:outerShdw blurRad="279400" dist="38100" dir="8100000" algn="tr" rotWithShape="0">
                <a:srgbClr val="000000">
                  <a:alpha val="12000"/>
                </a:srgbClr>
              </a:outerShdw>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等线 Light" panose="020F0302020204030204"/>
                <a:ea typeface="+mn-ea"/>
                <a:cs typeface="+mn-cs"/>
              </a:endParaRPr>
            </a:p>
          </p:txBody>
        </p:sp>
        <p:sp>
          <p:nvSpPr>
            <p:cNvPr id="15" name="Freeform: Shape 20">
              <a:extLst>
                <a:ext uri="{FF2B5EF4-FFF2-40B4-BE49-F238E27FC236}">
                  <a16:creationId xmlns:a16="http://schemas.microsoft.com/office/drawing/2014/main" id="{A8D18671-68FE-4A68-84E4-287E3D9C8582}"/>
                </a:ext>
              </a:extLst>
            </p:cNvPr>
            <p:cNvSpPr/>
            <p:nvPr/>
          </p:nvSpPr>
          <p:spPr>
            <a:xfrm>
              <a:off x="6271950" y="3251794"/>
              <a:ext cx="1124565" cy="949633"/>
            </a:xfrm>
            <a:custGeom>
              <a:avLst/>
              <a:gdLst>
                <a:gd name="connsiteX0" fmla="*/ 5808 w 857250"/>
                <a:gd name="connsiteY0" fmla="*/ 731520 h 723900"/>
                <a:gd name="connsiteX1" fmla="*/ 5808 w 857250"/>
                <a:gd name="connsiteY1" fmla="*/ 732472 h 723900"/>
                <a:gd name="connsiteX2" fmla="*/ 860201 w 857250"/>
                <a:gd name="connsiteY2" fmla="*/ 7620 h 723900"/>
                <a:gd name="connsiteX3" fmla="*/ 861153 w 857250"/>
                <a:gd name="connsiteY3" fmla="*/ 0 h 723900"/>
                <a:gd name="connsiteX4" fmla="*/ 5808 w 857250"/>
                <a:gd name="connsiteY4" fmla="*/ 731520 h 723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0" h="723900">
                  <a:moveTo>
                    <a:pt x="5808" y="731520"/>
                  </a:moveTo>
                  <a:cubicBezTo>
                    <a:pt x="5808" y="732472"/>
                    <a:pt x="5808" y="732472"/>
                    <a:pt x="5808" y="732472"/>
                  </a:cubicBezTo>
                  <a:cubicBezTo>
                    <a:pt x="258221" y="619125"/>
                    <a:pt x="769713" y="935355"/>
                    <a:pt x="860201" y="7620"/>
                  </a:cubicBezTo>
                  <a:cubicBezTo>
                    <a:pt x="860201" y="4763"/>
                    <a:pt x="861153" y="2858"/>
                    <a:pt x="861153" y="0"/>
                  </a:cubicBezTo>
                  <a:cubicBezTo>
                    <a:pt x="222026" y="104775"/>
                    <a:pt x="-43722" y="143827"/>
                    <a:pt x="5808" y="731520"/>
                  </a:cubicBezTo>
                  <a:close/>
                </a:path>
              </a:pathLst>
            </a:custGeom>
            <a:solidFill>
              <a:schemeClr val="accent4">
                <a:lumMod val="100000"/>
              </a:schemeClr>
            </a:solidFill>
            <a:ln w="28575" cap="flat">
              <a:solidFill>
                <a:schemeClr val="bg1"/>
              </a:solidFill>
              <a:prstDash val="solid"/>
              <a:miter/>
            </a:ln>
            <a:effectLst>
              <a:outerShdw blurRad="279400" dist="38100" dir="8100000" algn="tr" rotWithShape="0">
                <a:srgbClr val="000000">
                  <a:alpha val="12000"/>
                </a:srgbClr>
              </a:outerShdw>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等线 Light" panose="020F0302020204030204"/>
                <a:ea typeface="+mn-ea"/>
                <a:cs typeface="+mn-cs"/>
              </a:endParaRPr>
            </a:p>
          </p:txBody>
        </p:sp>
        <p:sp>
          <p:nvSpPr>
            <p:cNvPr id="16" name="Freeform: Shape 21">
              <a:extLst>
                <a:ext uri="{FF2B5EF4-FFF2-40B4-BE49-F238E27FC236}">
                  <a16:creationId xmlns:a16="http://schemas.microsoft.com/office/drawing/2014/main" id="{002071EB-9AE0-4D55-83FF-8B3C064C9A31}"/>
                </a:ext>
              </a:extLst>
            </p:cNvPr>
            <p:cNvSpPr/>
            <p:nvPr/>
          </p:nvSpPr>
          <p:spPr>
            <a:xfrm>
              <a:off x="5402409" y="5589641"/>
              <a:ext cx="1364473" cy="868415"/>
            </a:xfrm>
            <a:custGeom>
              <a:avLst/>
              <a:gdLst>
                <a:gd name="connsiteX0" fmla="*/ 72472 w 1364473"/>
                <a:gd name="connsiteY0" fmla="*/ 0 h 868415"/>
                <a:gd name="connsiteX1" fmla="*/ 261149 w 1364473"/>
                <a:gd name="connsiteY1" fmla="*/ 0 h 868415"/>
                <a:gd name="connsiteX2" fmla="*/ 1104574 w 1364473"/>
                <a:gd name="connsiteY2" fmla="*/ 0 h 868415"/>
                <a:gd name="connsiteX3" fmla="*/ 1292001 w 1364473"/>
                <a:gd name="connsiteY3" fmla="*/ 0 h 868415"/>
                <a:gd name="connsiteX4" fmla="*/ 1364473 w 1364473"/>
                <a:gd name="connsiteY4" fmla="*/ 72472 h 868415"/>
                <a:gd name="connsiteX5" fmla="*/ 1364473 w 1364473"/>
                <a:gd name="connsiteY5" fmla="*/ 228661 h 868415"/>
                <a:gd name="connsiteX6" fmla="*/ 1292001 w 1364473"/>
                <a:gd name="connsiteY6" fmla="*/ 301134 h 868415"/>
                <a:gd name="connsiteX7" fmla="*/ 1171863 w 1364473"/>
                <a:gd name="connsiteY7" fmla="*/ 301134 h 868415"/>
                <a:gd name="connsiteX8" fmla="*/ 1162052 w 1364473"/>
                <a:gd name="connsiteY8" fmla="*/ 367358 h 868415"/>
                <a:gd name="connsiteX9" fmla="*/ 1099576 w 1364473"/>
                <a:gd name="connsiteY9" fmla="*/ 795942 h 868415"/>
                <a:gd name="connsiteX10" fmla="*/ 1000863 w 1364473"/>
                <a:gd name="connsiteY10" fmla="*/ 868415 h 868415"/>
                <a:gd name="connsiteX11" fmla="*/ 363610 w 1364473"/>
                <a:gd name="connsiteY11" fmla="*/ 868415 h 868415"/>
                <a:gd name="connsiteX12" fmla="*/ 264899 w 1364473"/>
                <a:gd name="connsiteY12" fmla="*/ 795942 h 868415"/>
                <a:gd name="connsiteX13" fmla="*/ 202423 w 1364473"/>
                <a:gd name="connsiteY13" fmla="*/ 367358 h 868415"/>
                <a:gd name="connsiteX14" fmla="*/ 192612 w 1364473"/>
                <a:gd name="connsiteY14" fmla="*/ 301134 h 868415"/>
                <a:gd name="connsiteX15" fmla="*/ 72472 w 1364473"/>
                <a:gd name="connsiteY15" fmla="*/ 301134 h 868415"/>
                <a:gd name="connsiteX16" fmla="*/ 0 w 1364473"/>
                <a:gd name="connsiteY16" fmla="*/ 228661 h 868415"/>
                <a:gd name="connsiteX17" fmla="*/ 0 w 1364473"/>
                <a:gd name="connsiteY17" fmla="*/ 72472 h 868415"/>
                <a:gd name="connsiteX18" fmla="*/ 72472 w 1364473"/>
                <a:gd name="connsiteY18" fmla="*/ 0 h 8684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364473" h="868415">
                  <a:moveTo>
                    <a:pt x="72472" y="0"/>
                  </a:moveTo>
                  <a:lnTo>
                    <a:pt x="261149" y="0"/>
                  </a:lnTo>
                  <a:lnTo>
                    <a:pt x="1104574" y="0"/>
                  </a:lnTo>
                  <a:lnTo>
                    <a:pt x="1292001" y="0"/>
                  </a:lnTo>
                  <a:cubicBezTo>
                    <a:pt x="1331986" y="0"/>
                    <a:pt x="1364473" y="32488"/>
                    <a:pt x="1364473" y="72472"/>
                  </a:cubicBezTo>
                  <a:lnTo>
                    <a:pt x="1364473" y="228661"/>
                  </a:lnTo>
                  <a:cubicBezTo>
                    <a:pt x="1363223" y="268647"/>
                    <a:pt x="1331986" y="301134"/>
                    <a:pt x="1292001" y="301134"/>
                  </a:cubicBezTo>
                  <a:lnTo>
                    <a:pt x="1171863" y="301134"/>
                  </a:lnTo>
                  <a:lnTo>
                    <a:pt x="1162052" y="367358"/>
                  </a:lnTo>
                  <a:lnTo>
                    <a:pt x="1099576" y="795942"/>
                  </a:lnTo>
                  <a:cubicBezTo>
                    <a:pt x="1093328" y="837177"/>
                    <a:pt x="1050844" y="868415"/>
                    <a:pt x="1000863" y="868415"/>
                  </a:cubicBezTo>
                  <a:lnTo>
                    <a:pt x="363610" y="868415"/>
                  </a:lnTo>
                  <a:cubicBezTo>
                    <a:pt x="313629" y="868415"/>
                    <a:pt x="271145" y="837177"/>
                    <a:pt x="264899" y="795942"/>
                  </a:cubicBezTo>
                  <a:lnTo>
                    <a:pt x="202423" y="367358"/>
                  </a:lnTo>
                  <a:lnTo>
                    <a:pt x="192612" y="301134"/>
                  </a:lnTo>
                  <a:lnTo>
                    <a:pt x="72472" y="301134"/>
                  </a:lnTo>
                  <a:cubicBezTo>
                    <a:pt x="32488" y="301134"/>
                    <a:pt x="0" y="268647"/>
                    <a:pt x="0" y="228661"/>
                  </a:cubicBezTo>
                  <a:lnTo>
                    <a:pt x="0" y="72472"/>
                  </a:lnTo>
                  <a:cubicBezTo>
                    <a:pt x="0" y="32488"/>
                    <a:pt x="32488" y="0"/>
                    <a:pt x="72472" y="0"/>
                  </a:cubicBezTo>
                  <a:close/>
                </a:path>
              </a:pathLst>
            </a:custGeom>
            <a:solidFill>
              <a:schemeClr val="accent1">
                <a:lumMod val="60000"/>
                <a:lumOff val="40000"/>
              </a:schemeClr>
            </a:solidFill>
            <a:ln w="9525" cap="flat">
              <a:noFill/>
              <a:prstDash val="solid"/>
              <a:miter/>
            </a:ln>
            <a:effectLst>
              <a:outerShdw blurRad="457200" dist="228600" dir="5400000" sx="97000" sy="97000" algn="t" rotWithShape="0">
                <a:srgbClr val="000000">
                  <a:alpha val="15000"/>
                </a:srgbClr>
              </a:outerShdw>
            </a:effectLst>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等线 Light" panose="020F0302020204030204"/>
                <a:ea typeface="+mn-ea"/>
                <a:cs typeface="+mn-cs"/>
              </a:endParaRPr>
            </a:p>
          </p:txBody>
        </p:sp>
        <p:sp>
          <p:nvSpPr>
            <p:cNvPr id="17" name="Oval 22">
              <a:extLst>
                <a:ext uri="{FF2B5EF4-FFF2-40B4-BE49-F238E27FC236}">
                  <a16:creationId xmlns:a16="http://schemas.microsoft.com/office/drawing/2014/main" id="{15EBD1FC-87BA-4CAD-AC66-CD4329C8F609}"/>
                </a:ext>
              </a:extLst>
            </p:cNvPr>
            <p:cNvSpPr/>
            <p:nvPr/>
          </p:nvSpPr>
          <p:spPr>
            <a:xfrm>
              <a:off x="5789978" y="3721331"/>
              <a:ext cx="612047" cy="612047"/>
            </a:xfrm>
            <a:prstGeom prst="ellips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等线 Light" panose="020F0302020204030204"/>
                <a:ea typeface="+mn-ea"/>
                <a:cs typeface="+mn-cs"/>
              </a:endParaRPr>
            </a:p>
          </p:txBody>
        </p:sp>
        <p:sp>
          <p:nvSpPr>
            <p:cNvPr id="18" name="Oval 23">
              <a:extLst>
                <a:ext uri="{FF2B5EF4-FFF2-40B4-BE49-F238E27FC236}">
                  <a16:creationId xmlns:a16="http://schemas.microsoft.com/office/drawing/2014/main" id="{C7FE7DDC-AD5C-4DEC-AF9B-A49B1FFE8A69}"/>
                </a:ext>
              </a:extLst>
            </p:cNvPr>
            <p:cNvSpPr/>
            <p:nvPr/>
          </p:nvSpPr>
          <p:spPr>
            <a:xfrm>
              <a:off x="5733938" y="4741274"/>
              <a:ext cx="724127" cy="724127"/>
            </a:xfrm>
            <a:prstGeom prst="ellips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等线 Light" panose="020F0302020204030204"/>
                <a:ea typeface="+mn-ea"/>
                <a:cs typeface="+mn-cs"/>
              </a:endParaRPr>
            </a:p>
          </p:txBody>
        </p:sp>
        <p:sp>
          <p:nvSpPr>
            <p:cNvPr id="19" name="Oval 24">
              <a:extLst>
                <a:ext uri="{FF2B5EF4-FFF2-40B4-BE49-F238E27FC236}">
                  <a16:creationId xmlns:a16="http://schemas.microsoft.com/office/drawing/2014/main" id="{190D3F5A-BD18-4A4A-AA5A-E9E730E17589}"/>
                </a:ext>
              </a:extLst>
            </p:cNvPr>
            <p:cNvSpPr/>
            <p:nvPr/>
          </p:nvSpPr>
          <p:spPr>
            <a:xfrm>
              <a:off x="5861551" y="2801023"/>
              <a:ext cx="468900" cy="468900"/>
            </a:xfrm>
            <a:prstGeom prst="ellips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等线 Light" panose="020F0302020204030204"/>
                <a:ea typeface="+mn-ea"/>
                <a:cs typeface="+mn-cs"/>
              </a:endParaRPr>
            </a:p>
          </p:txBody>
        </p:sp>
        <p:sp>
          <p:nvSpPr>
            <p:cNvPr id="20" name="TextBox 25">
              <a:extLst>
                <a:ext uri="{FF2B5EF4-FFF2-40B4-BE49-F238E27FC236}">
                  <a16:creationId xmlns:a16="http://schemas.microsoft.com/office/drawing/2014/main" id="{798D99F6-916A-4FA2-9353-A6F488E32FF9}"/>
                </a:ext>
              </a:extLst>
            </p:cNvPr>
            <p:cNvSpPr txBox="1"/>
            <p:nvPr/>
          </p:nvSpPr>
          <p:spPr>
            <a:xfrm>
              <a:off x="5885045" y="2849947"/>
              <a:ext cx="421910" cy="369332"/>
            </a:xfrm>
            <a:prstGeom prst="rect">
              <a:avLst/>
            </a:prstGeom>
            <a:noFill/>
          </p:spPr>
          <p:txBody>
            <a:bodyPr wrap="non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D229"/>
                  </a:solidFill>
                  <a:effectLst/>
                  <a:uLnTx/>
                  <a:uFillTx/>
                  <a:latin typeface="等线 Light" panose="020F0302020204030204"/>
                  <a:ea typeface="+mn-ea"/>
                  <a:cs typeface="Segoe UI" panose="020B0502040204020203" pitchFamily="34" charset="0"/>
                </a:rPr>
                <a:t>01</a:t>
              </a:r>
            </a:p>
          </p:txBody>
        </p:sp>
        <p:sp>
          <p:nvSpPr>
            <p:cNvPr id="21" name="TextBox 26">
              <a:extLst>
                <a:ext uri="{FF2B5EF4-FFF2-40B4-BE49-F238E27FC236}">
                  <a16:creationId xmlns:a16="http://schemas.microsoft.com/office/drawing/2014/main" id="{DF461101-807E-4608-874E-0F629C755366}"/>
                </a:ext>
              </a:extLst>
            </p:cNvPr>
            <p:cNvSpPr txBox="1"/>
            <p:nvPr/>
          </p:nvSpPr>
          <p:spPr>
            <a:xfrm>
              <a:off x="5870619" y="3827567"/>
              <a:ext cx="450764" cy="400110"/>
            </a:xfrm>
            <a:prstGeom prst="rect">
              <a:avLst/>
            </a:prstGeom>
            <a:noFill/>
          </p:spPr>
          <p:txBody>
            <a:bodyPr wrap="non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FF388A"/>
                  </a:solidFill>
                  <a:effectLst/>
                  <a:uLnTx/>
                  <a:uFillTx/>
                  <a:latin typeface="等线 Light" panose="020F0302020204030204"/>
                  <a:ea typeface="+mn-ea"/>
                  <a:cs typeface="Segoe UI" panose="020B0502040204020203" pitchFamily="34" charset="0"/>
                </a:rPr>
                <a:t>02</a:t>
              </a:r>
            </a:p>
          </p:txBody>
        </p:sp>
        <p:sp>
          <p:nvSpPr>
            <p:cNvPr id="22" name="TextBox 27">
              <a:extLst>
                <a:ext uri="{FF2B5EF4-FFF2-40B4-BE49-F238E27FC236}">
                  <a16:creationId xmlns:a16="http://schemas.microsoft.com/office/drawing/2014/main" id="{D780A372-AB66-41A5-9953-87C6BA1B319F}"/>
                </a:ext>
              </a:extLst>
            </p:cNvPr>
            <p:cNvSpPr txBox="1"/>
            <p:nvPr/>
          </p:nvSpPr>
          <p:spPr>
            <a:xfrm>
              <a:off x="5844971" y="4890060"/>
              <a:ext cx="502061" cy="461665"/>
            </a:xfrm>
            <a:prstGeom prst="rect">
              <a:avLst/>
            </a:prstGeom>
            <a:noFill/>
          </p:spPr>
          <p:txBody>
            <a:bodyPr wrap="non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00D99B"/>
                  </a:solidFill>
                  <a:effectLst/>
                  <a:uLnTx/>
                  <a:uFillTx/>
                  <a:latin typeface="等线 Light" panose="020F0302020204030204"/>
                  <a:ea typeface="+mn-ea"/>
                  <a:cs typeface="Segoe UI" panose="020B0502040204020203" pitchFamily="34" charset="0"/>
                </a:rPr>
                <a:t>03</a:t>
              </a:r>
            </a:p>
          </p:txBody>
        </p:sp>
      </p:grpSp>
      <p:grpSp>
        <p:nvGrpSpPr>
          <p:cNvPr id="23" name="Group 28">
            <a:extLst>
              <a:ext uri="{FF2B5EF4-FFF2-40B4-BE49-F238E27FC236}">
                <a16:creationId xmlns:a16="http://schemas.microsoft.com/office/drawing/2014/main" id="{BF7FBFBF-7148-4068-B75F-89190A4F1573}"/>
              </a:ext>
            </a:extLst>
          </p:cNvPr>
          <p:cNvGrpSpPr/>
          <p:nvPr/>
        </p:nvGrpSpPr>
        <p:grpSpPr>
          <a:xfrm>
            <a:off x="7947144" y="1719937"/>
            <a:ext cx="3061749" cy="985242"/>
            <a:chOff x="5244091" y="1464739"/>
            <a:chExt cx="8405356" cy="985242"/>
          </a:xfrm>
        </p:grpSpPr>
        <p:sp>
          <p:nvSpPr>
            <p:cNvPr id="24" name="Rectangle 29">
              <a:extLst>
                <a:ext uri="{FF2B5EF4-FFF2-40B4-BE49-F238E27FC236}">
                  <a16:creationId xmlns:a16="http://schemas.microsoft.com/office/drawing/2014/main" id="{8F180596-B7BF-412C-A0BC-BA0401B030AB}"/>
                </a:ext>
              </a:extLst>
            </p:cNvPr>
            <p:cNvSpPr/>
            <p:nvPr/>
          </p:nvSpPr>
          <p:spPr>
            <a:xfrm>
              <a:off x="5244091" y="1896432"/>
              <a:ext cx="8405356" cy="553549"/>
            </a:xfrm>
            <a:prstGeom prst="rect">
              <a:avLst/>
            </a:prstGeom>
          </p:spPr>
          <p:txBody>
            <a:bodyPr wrap="square">
              <a:spAutoFit/>
            </a:bodyPr>
            <a:lstStyle/>
            <a:p>
              <a:pPr marL="0" marR="0" lvl="0" indent="0" algn="l" defTabSz="914400" rtl="0" eaLnBrk="1" fontAlgn="auto" latinLnBrk="0" hangingPunct="1">
                <a:lnSpc>
                  <a:spcPct val="13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7F7F7F"/>
                  </a:solidFill>
                  <a:effectLst/>
                  <a:uLnTx/>
                  <a:uFillTx/>
                  <a:latin typeface="等线" panose="020F0502020204030204"/>
                  <a:ea typeface="Open Sans" panose="020B0606030504020204" pitchFamily="34" charset="0"/>
                  <a:cs typeface="Segoe UI" panose="020B0502040204020203" pitchFamily="34" charset="0"/>
                </a:rPr>
                <a:t>Lorem ipsum dolor sit </a:t>
              </a:r>
              <a:r>
                <a:rPr kumimoji="0" lang="en-US" sz="1200" b="0" i="0" u="none" strike="noStrike" kern="1200" cap="none" spc="0" normalizeH="0" baseline="0" noProof="0" dirty="0" err="1">
                  <a:ln>
                    <a:noFill/>
                  </a:ln>
                  <a:solidFill>
                    <a:srgbClr val="7F7F7F"/>
                  </a:solidFill>
                  <a:effectLst/>
                  <a:uLnTx/>
                  <a:uFillTx/>
                  <a:latin typeface="等线" panose="020F0502020204030204"/>
                  <a:ea typeface="Open Sans" panose="020B0606030504020204" pitchFamily="34" charset="0"/>
                  <a:cs typeface="Segoe UI" panose="020B0502040204020203" pitchFamily="34" charset="0"/>
                </a:rPr>
                <a:t>amet</a:t>
              </a:r>
              <a:r>
                <a:rPr kumimoji="0" lang="en-US" sz="1200" b="0" i="0" u="none" strike="noStrike" kern="1200" cap="none" spc="0" normalizeH="0" baseline="0" noProof="0" dirty="0">
                  <a:ln>
                    <a:noFill/>
                  </a:ln>
                  <a:solidFill>
                    <a:srgbClr val="7F7F7F"/>
                  </a:solidFill>
                  <a:effectLst/>
                  <a:uLnTx/>
                  <a:uFillTx/>
                  <a:latin typeface="等线" panose="020F0502020204030204"/>
                  <a:ea typeface="Open Sans" panose="020B0606030504020204" pitchFamily="34" charset="0"/>
                  <a:cs typeface="Segoe UI" panose="020B0502040204020203" pitchFamily="34" charset="0"/>
                </a:rPr>
                <a:t>, </a:t>
              </a:r>
              <a:r>
                <a:rPr kumimoji="0" lang="en-US" sz="1200" b="0" i="0" u="none" strike="noStrike" kern="1200" cap="none" spc="0" normalizeH="0" baseline="0" noProof="0" dirty="0" err="1">
                  <a:ln>
                    <a:noFill/>
                  </a:ln>
                  <a:solidFill>
                    <a:srgbClr val="7F7F7F"/>
                  </a:solidFill>
                  <a:effectLst/>
                  <a:uLnTx/>
                  <a:uFillTx/>
                  <a:latin typeface="等线" panose="020F0502020204030204"/>
                  <a:ea typeface="Open Sans" panose="020B0606030504020204" pitchFamily="34" charset="0"/>
                  <a:cs typeface="Segoe UI" panose="020B0502040204020203" pitchFamily="34" charset="0"/>
                </a:rPr>
                <a:t>consectetuer</a:t>
              </a:r>
              <a:r>
                <a:rPr kumimoji="0" lang="en-US" sz="1200" b="0" i="0" u="none" strike="noStrike" kern="1200" cap="none" spc="0" normalizeH="0" baseline="0" noProof="0" dirty="0">
                  <a:ln>
                    <a:noFill/>
                  </a:ln>
                  <a:solidFill>
                    <a:srgbClr val="7F7F7F"/>
                  </a:solidFill>
                  <a:effectLst/>
                  <a:uLnTx/>
                  <a:uFillTx/>
                  <a:latin typeface="等线" panose="020F0502020204030204"/>
                  <a:ea typeface="Open Sans" panose="020B0606030504020204" pitchFamily="34" charset="0"/>
                  <a:cs typeface="Segoe UI" panose="020B0502040204020203" pitchFamily="34" charset="0"/>
                </a:rPr>
                <a:t> </a:t>
              </a:r>
              <a:r>
                <a:rPr kumimoji="0" lang="en-US" sz="1200" b="0" i="0" u="none" strike="noStrike" kern="1200" cap="none" spc="0" normalizeH="0" baseline="0" noProof="0" dirty="0" err="1">
                  <a:ln>
                    <a:noFill/>
                  </a:ln>
                  <a:solidFill>
                    <a:srgbClr val="7F7F7F"/>
                  </a:solidFill>
                  <a:effectLst/>
                  <a:uLnTx/>
                  <a:uFillTx/>
                  <a:latin typeface="等线" panose="020F0502020204030204"/>
                  <a:ea typeface="Open Sans" panose="020B0606030504020204" pitchFamily="34" charset="0"/>
                  <a:cs typeface="Segoe UI" panose="020B0502040204020203" pitchFamily="34" charset="0"/>
                </a:rPr>
                <a:t>adipiscing</a:t>
              </a:r>
              <a:r>
                <a:rPr kumimoji="0" lang="en-US" sz="1200" b="0" i="0" u="none" strike="noStrike" kern="1200" cap="none" spc="0" normalizeH="0" baseline="0" noProof="0" dirty="0">
                  <a:ln>
                    <a:noFill/>
                  </a:ln>
                  <a:solidFill>
                    <a:srgbClr val="7F7F7F"/>
                  </a:solidFill>
                  <a:effectLst/>
                  <a:uLnTx/>
                  <a:uFillTx/>
                  <a:latin typeface="等线" panose="020F0502020204030204"/>
                  <a:ea typeface="Open Sans" panose="020B0606030504020204" pitchFamily="34" charset="0"/>
                  <a:cs typeface="Segoe UI" panose="020B0502040204020203" pitchFamily="34" charset="0"/>
                </a:rPr>
                <a:t> </a:t>
              </a:r>
              <a:r>
                <a:rPr kumimoji="0" lang="en-US" sz="1200" b="0" i="0" u="none" strike="noStrike" kern="1200" cap="none" spc="0" normalizeH="0" baseline="0" noProof="0" dirty="0" err="1">
                  <a:ln>
                    <a:noFill/>
                  </a:ln>
                  <a:solidFill>
                    <a:srgbClr val="7F7F7F"/>
                  </a:solidFill>
                  <a:effectLst/>
                  <a:uLnTx/>
                  <a:uFillTx/>
                  <a:latin typeface="等线" panose="020F0502020204030204"/>
                  <a:ea typeface="Open Sans" panose="020B0606030504020204" pitchFamily="34" charset="0"/>
                  <a:cs typeface="Segoe UI" panose="020B0502040204020203" pitchFamily="34" charset="0"/>
                </a:rPr>
                <a:t>elit</a:t>
              </a:r>
              <a:r>
                <a:rPr kumimoji="0" lang="en-US" sz="1200" b="0" i="0" u="none" strike="noStrike" kern="1200" cap="none" spc="0" normalizeH="0" baseline="0" noProof="0" dirty="0">
                  <a:ln>
                    <a:noFill/>
                  </a:ln>
                  <a:solidFill>
                    <a:srgbClr val="7F7F7F"/>
                  </a:solidFill>
                  <a:effectLst/>
                  <a:uLnTx/>
                  <a:uFillTx/>
                  <a:latin typeface="等线" panose="020F0502020204030204"/>
                  <a:ea typeface="Open Sans" panose="020B0606030504020204" pitchFamily="34" charset="0"/>
                  <a:cs typeface="Segoe UI" panose="020B0502040204020203" pitchFamily="34" charset="0"/>
                </a:rPr>
                <a:t>. </a:t>
              </a:r>
              <a:r>
                <a:rPr kumimoji="0" lang="en-US" sz="1200" b="0" i="0" u="none" strike="noStrike" kern="1200" cap="none" spc="0" normalizeH="0" baseline="0" noProof="0" dirty="0" err="1">
                  <a:ln>
                    <a:noFill/>
                  </a:ln>
                  <a:solidFill>
                    <a:srgbClr val="7F7F7F"/>
                  </a:solidFill>
                  <a:effectLst/>
                  <a:uLnTx/>
                  <a:uFillTx/>
                  <a:latin typeface="等线" panose="020F0502020204030204"/>
                  <a:ea typeface="Open Sans" panose="020B0606030504020204" pitchFamily="34" charset="0"/>
                  <a:cs typeface="Segoe UI" panose="020B0502040204020203" pitchFamily="34" charset="0"/>
                </a:rPr>
                <a:t>Aenean</a:t>
              </a:r>
              <a:r>
                <a:rPr kumimoji="0" lang="en-US" sz="1200" b="0" i="0" u="none" strike="noStrike" kern="1200" cap="none" spc="0" normalizeH="0" baseline="0" noProof="0" dirty="0">
                  <a:ln>
                    <a:noFill/>
                  </a:ln>
                  <a:solidFill>
                    <a:srgbClr val="7F7F7F"/>
                  </a:solidFill>
                  <a:effectLst/>
                  <a:uLnTx/>
                  <a:uFillTx/>
                  <a:latin typeface="等线" panose="020F0502020204030204"/>
                  <a:ea typeface="Open Sans" panose="020B0606030504020204" pitchFamily="34" charset="0"/>
                  <a:cs typeface="Segoe UI" panose="020B0502040204020203" pitchFamily="34" charset="0"/>
                </a:rPr>
                <a:t> </a:t>
              </a:r>
              <a:r>
                <a:rPr kumimoji="0" lang="en-US" sz="1200" b="0" i="0" u="none" strike="noStrike" kern="1200" cap="none" spc="0" normalizeH="0" baseline="0" noProof="0" dirty="0" err="1">
                  <a:ln>
                    <a:noFill/>
                  </a:ln>
                  <a:solidFill>
                    <a:srgbClr val="7F7F7F"/>
                  </a:solidFill>
                  <a:effectLst/>
                  <a:uLnTx/>
                  <a:uFillTx/>
                  <a:latin typeface="等线" panose="020F0502020204030204"/>
                  <a:ea typeface="Open Sans" panose="020B0606030504020204" pitchFamily="34" charset="0"/>
                  <a:cs typeface="Segoe UI" panose="020B0502040204020203" pitchFamily="34" charset="0"/>
                </a:rPr>
                <a:t>commodo</a:t>
              </a:r>
              <a:endParaRPr kumimoji="0" lang="en-US" sz="1200" b="0" i="0" u="none" strike="noStrike" kern="1200" cap="none" spc="0" normalizeH="0" baseline="0" noProof="0" dirty="0">
                <a:ln>
                  <a:noFill/>
                </a:ln>
                <a:solidFill>
                  <a:srgbClr val="7F7F7F"/>
                </a:solidFill>
                <a:effectLst/>
                <a:uLnTx/>
                <a:uFillTx/>
                <a:latin typeface="等线" panose="020F0502020204030204"/>
                <a:ea typeface="Open Sans" panose="020B0606030504020204" pitchFamily="34" charset="0"/>
                <a:cs typeface="Segoe UI" panose="020B0502040204020203" pitchFamily="34" charset="0"/>
              </a:endParaRPr>
            </a:p>
          </p:txBody>
        </p:sp>
        <p:sp>
          <p:nvSpPr>
            <p:cNvPr id="25" name="Rectangle 30">
              <a:extLst>
                <a:ext uri="{FF2B5EF4-FFF2-40B4-BE49-F238E27FC236}">
                  <a16:creationId xmlns:a16="http://schemas.microsoft.com/office/drawing/2014/main" id="{6C868AED-1F6E-42D2-BC70-C789C3E2FB11}"/>
                </a:ext>
              </a:extLst>
            </p:cNvPr>
            <p:cNvSpPr/>
            <p:nvPr/>
          </p:nvSpPr>
          <p:spPr>
            <a:xfrm>
              <a:off x="5244096" y="1464739"/>
              <a:ext cx="7411724" cy="424090"/>
            </a:xfrm>
            <a:prstGeom prst="rect">
              <a:avLst/>
            </a:prstGeom>
          </p:spPr>
          <p:txBody>
            <a:bodyPr wrap="square">
              <a:spAutoFit/>
            </a:bodyPr>
            <a:lstStyle/>
            <a:p>
              <a:pPr marL="0" marR="0" lvl="0" indent="0" algn="l" defTabSz="914400" rtl="0" eaLnBrk="1" fontAlgn="auto" latinLnBrk="0" hangingPunct="1">
                <a:lnSpc>
                  <a:spcPct val="13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4C38"/>
                  </a:solidFill>
                  <a:effectLst/>
                  <a:uLnTx/>
                  <a:uFillTx/>
                  <a:latin typeface="等线 Light" panose="020F0302020204030204"/>
                  <a:ea typeface="Open Sans" panose="020B0606030504020204" pitchFamily="34" charset="0"/>
                  <a:cs typeface="Segoe UI" panose="020B0502040204020203" pitchFamily="34" charset="0"/>
                </a:rPr>
                <a:t>600+</a:t>
              </a:r>
              <a:endParaRPr kumimoji="0" lang="en-US" sz="1800" b="1" i="0" u="none" strike="noStrike" kern="1200" cap="none" spc="0" normalizeH="0" baseline="0" noProof="0" dirty="0">
                <a:ln>
                  <a:noFill/>
                </a:ln>
                <a:solidFill>
                  <a:srgbClr val="FF4C38"/>
                </a:solidFill>
                <a:effectLst/>
                <a:uLnTx/>
                <a:uFillTx/>
                <a:latin typeface="等线 Light" panose="020F0302020204030204"/>
                <a:ea typeface="+mn-ea"/>
                <a:cs typeface="+mn-cs"/>
              </a:endParaRPr>
            </a:p>
          </p:txBody>
        </p:sp>
      </p:grpSp>
      <p:grpSp>
        <p:nvGrpSpPr>
          <p:cNvPr id="26" name="Group 31">
            <a:extLst>
              <a:ext uri="{FF2B5EF4-FFF2-40B4-BE49-F238E27FC236}">
                <a16:creationId xmlns:a16="http://schemas.microsoft.com/office/drawing/2014/main" id="{485AC58A-844B-4BA6-BC14-642F08F6AFAA}"/>
              </a:ext>
            </a:extLst>
          </p:cNvPr>
          <p:cNvGrpSpPr/>
          <p:nvPr/>
        </p:nvGrpSpPr>
        <p:grpSpPr>
          <a:xfrm>
            <a:off x="8171174" y="3168066"/>
            <a:ext cx="3061749" cy="985242"/>
            <a:chOff x="5244091" y="1464739"/>
            <a:chExt cx="8405356" cy="985242"/>
          </a:xfrm>
        </p:grpSpPr>
        <p:sp>
          <p:nvSpPr>
            <p:cNvPr id="27" name="Rectangle 32">
              <a:extLst>
                <a:ext uri="{FF2B5EF4-FFF2-40B4-BE49-F238E27FC236}">
                  <a16:creationId xmlns:a16="http://schemas.microsoft.com/office/drawing/2014/main" id="{1747DF83-445F-4595-8196-F20292CD92F4}"/>
                </a:ext>
              </a:extLst>
            </p:cNvPr>
            <p:cNvSpPr/>
            <p:nvPr/>
          </p:nvSpPr>
          <p:spPr>
            <a:xfrm>
              <a:off x="5244091" y="1896432"/>
              <a:ext cx="8405356" cy="553549"/>
            </a:xfrm>
            <a:prstGeom prst="rect">
              <a:avLst/>
            </a:prstGeom>
          </p:spPr>
          <p:txBody>
            <a:bodyPr wrap="square">
              <a:spAutoFit/>
            </a:bodyPr>
            <a:lstStyle/>
            <a:p>
              <a:pPr marL="0" marR="0" lvl="0" indent="0" algn="l" defTabSz="914400" rtl="0" eaLnBrk="1" fontAlgn="auto" latinLnBrk="0" hangingPunct="1">
                <a:lnSpc>
                  <a:spcPct val="13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7F7F7F"/>
                  </a:solidFill>
                  <a:effectLst/>
                  <a:uLnTx/>
                  <a:uFillTx/>
                  <a:latin typeface="等线" panose="020F0502020204030204"/>
                  <a:ea typeface="Open Sans" panose="020B0606030504020204" pitchFamily="34" charset="0"/>
                  <a:cs typeface="Segoe UI" panose="020B0502040204020203" pitchFamily="34" charset="0"/>
                </a:rPr>
                <a:t>Lorem ipsum dolor sit </a:t>
              </a:r>
              <a:r>
                <a:rPr kumimoji="0" lang="en-US" sz="1200" b="0" i="0" u="none" strike="noStrike" kern="1200" cap="none" spc="0" normalizeH="0" baseline="0" noProof="0" dirty="0" err="1">
                  <a:ln>
                    <a:noFill/>
                  </a:ln>
                  <a:solidFill>
                    <a:srgbClr val="7F7F7F"/>
                  </a:solidFill>
                  <a:effectLst/>
                  <a:uLnTx/>
                  <a:uFillTx/>
                  <a:latin typeface="等线" panose="020F0502020204030204"/>
                  <a:ea typeface="Open Sans" panose="020B0606030504020204" pitchFamily="34" charset="0"/>
                  <a:cs typeface="Segoe UI" panose="020B0502040204020203" pitchFamily="34" charset="0"/>
                </a:rPr>
                <a:t>amet</a:t>
              </a:r>
              <a:r>
                <a:rPr kumimoji="0" lang="en-US" sz="1200" b="0" i="0" u="none" strike="noStrike" kern="1200" cap="none" spc="0" normalizeH="0" baseline="0" noProof="0" dirty="0">
                  <a:ln>
                    <a:noFill/>
                  </a:ln>
                  <a:solidFill>
                    <a:srgbClr val="7F7F7F"/>
                  </a:solidFill>
                  <a:effectLst/>
                  <a:uLnTx/>
                  <a:uFillTx/>
                  <a:latin typeface="等线" panose="020F0502020204030204"/>
                  <a:ea typeface="Open Sans" panose="020B0606030504020204" pitchFamily="34" charset="0"/>
                  <a:cs typeface="Segoe UI" panose="020B0502040204020203" pitchFamily="34" charset="0"/>
                </a:rPr>
                <a:t>, </a:t>
              </a:r>
              <a:r>
                <a:rPr kumimoji="0" lang="en-US" sz="1200" b="0" i="0" u="none" strike="noStrike" kern="1200" cap="none" spc="0" normalizeH="0" baseline="0" noProof="0" dirty="0" err="1">
                  <a:ln>
                    <a:noFill/>
                  </a:ln>
                  <a:solidFill>
                    <a:srgbClr val="7F7F7F"/>
                  </a:solidFill>
                  <a:effectLst/>
                  <a:uLnTx/>
                  <a:uFillTx/>
                  <a:latin typeface="等线" panose="020F0502020204030204"/>
                  <a:ea typeface="Open Sans" panose="020B0606030504020204" pitchFamily="34" charset="0"/>
                  <a:cs typeface="Segoe UI" panose="020B0502040204020203" pitchFamily="34" charset="0"/>
                </a:rPr>
                <a:t>consectetuer</a:t>
              </a:r>
              <a:r>
                <a:rPr kumimoji="0" lang="en-US" sz="1200" b="0" i="0" u="none" strike="noStrike" kern="1200" cap="none" spc="0" normalizeH="0" baseline="0" noProof="0" dirty="0">
                  <a:ln>
                    <a:noFill/>
                  </a:ln>
                  <a:solidFill>
                    <a:srgbClr val="7F7F7F"/>
                  </a:solidFill>
                  <a:effectLst/>
                  <a:uLnTx/>
                  <a:uFillTx/>
                  <a:latin typeface="等线" panose="020F0502020204030204"/>
                  <a:ea typeface="Open Sans" panose="020B0606030504020204" pitchFamily="34" charset="0"/>
                  <a:cs typeface="Segoe UI" panose="020B0502040204020203" pitchFamily="34" charset="0"/>
                </a:rPr>
                <a:t> </a:t>
              </a:r>
              <a:r>
                <a:rPr kumimoji="0" lang="en-US" sz="1200" b="0" i="0" u="none" strike="noStrike" kern="1200" cap="none" spc="0" normalizeH="0" baseline="0" noProof="0" dirty="0" err="1">
                  <a:ln>
                    <a:noFill/>
                  </a:ln>
                  <a:solidFill>
                    <a:srgbClr val="7F7F7F"/>
                  </a:solidFill>
                  <a:effectLst/>
                  <a:uLnTx/>
                  <a:uFillTx/>
                  <a:latin typeface="等线" panose="020F0502020204030204"/>
                  <a:ea typeface="Open Sans" panose="020B0606030504020204" pitchFamily="34" charset="0"/>
                  <a:cs typeface="Segoe UI" panose="020B0502040204020203" pitchFamily="34" charset="0"/>
                </a:rPr>
                <a:t>adipiscing</a:t>
              </a:r>
              <a:r>
                <a:rPr kumimoji="0" lang="en-US" sz="1200" b="0" i="0" u="none" strike="noStrike" kern="1200" cap="none" spc="0" normalizeH="0" baseline="0" noProof="0" dirty="0">
                  <a:ln>
                    <a:noFill/>
                  </a:ln>
                  <a:solidFill>
                    <a:srgbClr val="7F7F7F"/>
                  </a:solidFill>
                  <a:effectLst/>
                  <a:uLnTx/>
                  <a:uFillTx/>
                  <a:latin typeface="等线" panose="020F0502020204030204"/>
                  <a:ea typeface="Open Sans" panose="020B0606030504020204" pitchFamily="34" charset="0"/>
                  <a:cs typeface="Segoe UI" panose="020B0502040204020203" pitchFamily="34" charset="0"/>
                </a:rPr>
                <a:t> </a:t>
              </a:r>
              <a:r>
                <a:rPr kumimoji="0" lang="en-US" sz="1200" b="0" i="0" u="none" strike="noStrike" kern="1200" cap="none" spc="0" normalizeH="0" baseline="0" noProof="0" dirty="0" err="1">
                  <a:ln>
                    <a:noFill/>
                  </a:ln>
                  <a:solidFill>
                    <a:srgbClr val="7F7F7F"/>
                  </a:solidFill>
                  <a:effectLst/>
                  <a:uLnTx/>
                  <a:uFillTx/>
                  <a:latin typeface="等线" panose="020F0502020204030204"/>
                  <a:ea typeface="Open Sans" panose="020B0606030504020204" pitchFamily="34" charset="0"/>
                  <a:cs typeface="Segoe UI" panose="020B0502040204020203" pitchFamily="34" charset="0"/>
                </a:rPr>
                <a:t>elit</a:t>
              </a:r>
              <a:r>
                <a:rPr kumimoji="0" lang="en-US" sz="1200" b="0" i="0" u="none" strike="noStrike" kern="1200" cap="none" spc="0" normalizeH="0" baseline="0" noProof="0" dirty="0">
                  <a:ln>
                    <a:noFill/>
                  </a:ln>
                  <a:solidFill>
                    <a:srgbClr val="7F7F7F"/>
                  </a:solidFill>
                  <a:effectLst/>
                  <a:uLnTx/>
                  <a:uFillTx/>
                  <a:latin typeface="等线" panose="020F0502020204030204"/>
                  <a:ea typeface="Open Sans" panose="020B0606030504020204" pitchFamily="34" charset="0"/>
                  <a:cs typeface="Segoe UI" panose="020B0502040204020203" pitchFamily="34" charset="0"/>
                </a:rPr>
                <a:t>. </a:t>
              </a:r>
              <a:r>
                <a:rPr kumimoji="0" lang="en-US" sz="1200" b="0" i="0" u="none" strike="noStrike" kern="1200" cap="none" spc="0" normalizeH="0" baseline="0" noProof="0" dirty="0" err="1">
                  <a:ln>
                    <a:noFill/>
                  </a:ln>
                  <a:solidFill>
                    <a:srgbClr val="7F7F7F"/>
                  </a:solidFill>
                  <a:effectLst/>
                  <a:uLnTx/>
                  <a:uFillTx/>
                  <a:latin typeface="等线" panose="020F0502020204030204"/>
                  <a:ea typeface="Open Sans" panose="020B0606030504020204" pitchFamily="34" charset="0"/>
                  <a:cs typeface="Segoe UI" panose="020B0502040204020203" pitchFamily="34" charset="0"/>
                </a:rPr>
                <a:t>Aenean</a:t>
              </a:r>
              <a:r>
                <a:rPr kumimoji="0" lang="en-US" sz="1200" b="0" i="0" u="none" strike="noStrike" kern="1200" cap="none" spc="0" normalizeH="0" baseline="0" noProof="0" dirty="0">
                  <a:ln>
                    <a:noFill/>
                  </a:ln>
                  <a:solidFill>
                    <a:srgbClr val="7F7F7F"/>
                  </a:solidFill>
                  <a:effectLst/>
                  <a:uLnTx/>
                  <a:uFillTx/>
                  <a:latin typeface="等线" panose="020F0502020204030204"/>
                  <a:ea typeface="Open Sans" panose="020B0606030504020204" pitchFamily="34" charset="0"/>
                  <a:cs typeface="Segoe UI" panose="020B0502040204020203" pitchFamily="34" charset="0"/>
                </a:rPr>
                <a:t> </a:t>
              </a:r>
              <a:r>
                <a:rPr kumimoji="0" lang="en-US" sz="1200" b="0" i="0" u="none" strike="noStrike" kern="1200" cap="none" spc="0" normalizeH="0" baseline="0" noProof="0" dirty="0" err="1">
                  <a:ln>
                    <a:noFill/>
                  </a:ln>
                  <a:solidFill>
                    <a:srgbClr val="7F7F7F"/>
                  </a:solidFill>
                  <a:effectLst/>
                  <a:uLnTx/>
                  <a:uFillTx/>
                  <a:latin typeface="等线" panose="020F0502020204030204"/>
                  <a:ea typeface="Open Sans" panose="020B0606030504020204" pitchFamily="34" charset="0"/>
                  <a:cs typeface="Segoe UI" panose="020B0502040204020203" pitchFamily="34" charset="0"/>
                </a:rPr>
                <a:t>commodo</a:t>
              </a:r>
              <a:endParaRPr kumimoji="0" lang="en-US" sz="1200" b="0" i="0" u="none" strike="noStrike" kern="1200" cap="none" spc="0" normalizeH="0" baseline="0" noProof="0" dirty="0">
                <a:ln>
                  <a:noFill/>
                </a:ln>
                <a:solidFill>
                  <a:srgbClr val="7F7F7F"/>
                </a:solidFill>
                <a:effectLst/>
                <a:uLnTx/>
                <a:uFillTx/>
                <a:latin typeface="等线" panose="020F0502020204030204"/>
                <a:ea typeface="Open Sans" panose="020B0606030504020204" pitchFamily="34" charset="0"/>
                <a:cs typeface="Segoe UI" panose="020B0502040204020203" pitchFamily="34" charset="0"/>
              </a:endParaRPr>
            </a:p>
          </p:txBody>
        </p:sp>
        <p:sp>
          <p:nvSpPr>
            <p:cNvPr id="28" name="Rectangle 33">
              <a:extLst>
                <a:ext uri="{FF2B5EF4-FFF2-40B4-BE49-F238E27FC236}">
                  <a16:creationId xmlns:a16="http://schemas.microsoft.com/office/drawing/2014/main" id="{A434C799-59CC-4B6E-864A-FB7E5B5BAC5C}"/>
                </a:ext>
              </a:extLst>
            </p:cNvPr>
            <p:cNvSpPr/>
            <p:nvPr/>
          </p:nvSpPr>
          <p:spPr>
            <a:xfrm>
              <a:off x="5244096" y="1464739"/>
              <a:ext cx="7411724" cy="424090"/>
            </a:xfrm>
            <a:prstGeom prst="rect">
              <a:avLst/>
            </a:prstGeom>
          </p:spPr>
          <p:txBody>
            <a:bodyPr wrap="square">
              <a:spAutoFit/>
            </a:bodyPr>
            <a:lstStyle/>
            <a:p>
              <a:pPr marL="0" marR="0" lvl="0" indent="0" algn="l" defTabSz="914400" rtl="0" eaLnBrk="1" fontAlgn="auto" latinLnBrk="0" hangingPunct="1">
                <a:lnSpc>
                  <a:spcPct val="13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8F38FF"/>
                  </a:solidFill>
                  <a:effectLst/>
                  <a:uLnTx/>
                  <a:uFillTx/>
                  <a:latin typeface="等线 Light" panose="020F0302020204030204"/>
                  <a:ea typeface="Open Sans" panose="020B0606030504020204" pitchFamily="34" charset="0"/>
                  <a:cs typeface="Segoe UI" panose="020B0502040204020203" pitchFamily="34" charset="0"/>
                </a:rPr>
                <a:t>345+</a:t>
              </a:r>
              <a:endParaRPr kumimoji="0" lang="en-US" sz="1800" b="1" i="0" u="none" strike="noStrike" kern="1200" cap="none" spc="0" normalizeH="0" baseline="0" noProof="0" dirty="0">
                <a:ln>
                  <a:noFill/>
                </a:ln>
                <a:solidFill>
                  <a:srgbClr val="8F38FF"/>
                </a:solidFill>
                <a:effectLst/>
                <a:uLnTx/>
                <a:uFillTx/>
                <a:latin typeface="等线 Light" panose="020F0302020204030204"/>
                <a:ea typeface="+mn-ea"/>
                <a:cs typeface="+mn-cs"/>
              </a:endParaRPr>
            </a:p>
          </p:txBody>
        </p:sp>
      </p:grpSp>
      <p:grpSp>
        <p:nvGrpSpPr>
          <p:cNvPr id="29" name="Group 34">
            <a:extLst>
              <a:ext uri="{FF2B5EF4-FFF2-40B4-BE49-F238E27FC236}">
                <a16:creationId xmlns:a16="http://schemas.microsoft.com/office/drawing/2014/main" id="{3D96CA8D-3EA4-4974-90A2-7A9DFE32FEB9}"/>
              </a:ext>
            </a:extLst>
          </p:cNvPr>
          <p:cNvGrpSpPr/>
          <p:nvPr/>
        </p:nvGrpSpPr>
        <p:grpSpPr>
          <a:xfrm>
            <a:off x="1107562" y="1719937"/>
            <a:ext cx="3061749" cy="985242"/>
            <a:chOff x="5244091" y="1464739"/>
            <a:chExt cx="8405356" cy="985242"/>
          </a:xfrm>
        </p:grpSpPr>
        <p:sp>
          <p:nvSpPr>
            <p:cNvPr id="30" name="Rectangle 35">
              <a:extLst>
                <a:ext uri="{FF2B5EF4-FFF2-40B4-BE49-F238E27FC236}">
                  <a16:creationId xmlns:a16="http://schemas.microsoft.com/office/drawing/2014/main" id="{6AF4E7EB-F8BD-4A29-A0CE-D835D73B719D}"/>
                </a:ext>
              </a:extLst>
            </p:cNvPr>
            <p:cNvSpPr/>
            <p:nvPr/>
          </p:nvSpPr>
          <p:spPr>
            <a:xfrm>
              <a:off x="5244091" y="1896432"/>
              <a:ext cx="8405356" cy="553549"/>
            </a:xfrm>
            <a:prstGeom prst="rect">
              <a:avLst/>
            </a:prstGeom>
          </p:spPr>
          <p:txBody>
            <a:bodyPr wrap="square">
              <a:spAutoFit/>
            </a:bodyPr>
            <a:lstStyle/>
            <a:p>
              <a:pPr marL="0" marR="0" lvl="0" indent="0" algn="r" defTabSz="914400" rtl="0" eaLnBrk="1" fontAlgn="auto" latinLnBrk="0" hangingPunct="1">
                <a:lnSpc>
                  <a:spcPct val="13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7F7F7F"/>
                  </a:solidFill>
                  <a:effectLst/>
                  <a:uLnTx/>
                  <a:uFillTx/>
                  <a:latin typeface="等线" panose="020F0502020204030204"/>
                  <a:ea typeface="Open Sans" panose="020B0606030504020204" pitchFamily="34" charset="0"/>
                  <a:cs typeface="Segoe UI" panose="020B0502040204020203" pitchFamily="34" charset="0"/>
                </a:rPr>
                <a:t>Lorem ipsum dolor sit </a:t>
              </a:r>
              <a:r>
                <a:rPr kumimoji="0" lang="en-US" sz="1200" b="0" i="0" u="none" strike="noStrike" kern="1200" cap="none" spc="0" normalizeH="0" baseline="0" noProof="0" dirty="0" err="1">
                  <a:ln>
                    <a:noFill/>
                  </a:ln>
                  <a:solidFill>
                    <a:srgbClr val="7F7F7F"/>
                  </a:solidFill>
                  <a:effectLst/>
                  <a:uLnTx/>
                  <a:uFillTx/>
                  <a:latin typeface="等线" panose="020F0502020204030204"/>
                  <a:ea typeface="Open Sans" panose="020B0606030504020204" pitchFamily="34" charset="0"/>
                  <a:cs typeface="Segoe UI" panose="020B0502040204020203" pitchFamily="34" charset="0"/>
                </a:rPr>
                <a:t>amet</a:t>
              </a:r>
              <a:r>
                <a:rPr kumimoji="0" lang="en-US" sz="1200" b="0" i="0" u="none" strike="noStrike" kern="1200" cap="none" spc="0" normalizeH="0" baseline="0" noProof="0" dirty="0">
                  <a:ln>
                    <a:noFill/>
                  </a:ln>
                  <a:solidFill>
                    <a:srgbClr val="7F7F7F"/>
                  </a:solidFill>
                  <a:effectLst/>
                  <a:uLnTx/>
                  <a:uFillTx/>
                  <a:latin typeface="等线" panose="020F0502020204030204"/>
                  <a:ea typeface="Open Sans" panose="020B0606030504020204" pitchFamily="34" charset="0"/>
                  <a:cs typeface="Segoe UI" panose="020B0502040204020203" pitchFamily="34" charset="0"/>
                </a:rPr>
                <a:t>, </a:t>
              </a:r>
              <a:r>
                <a:rPr kumimoji="0" lang="en-US" sz="1200" b="0" i="0" u="none" strike="noStrike" kern="1200" cap="none" spc="0" normalizeH="0" baseline="0" noProof="0" dirty="0" err="1">
                  <a:ln>
                    <a:noFill/>
                  </a:ln>
                  <a:solidFill>
                    <a:srgbClr val="7F7F7F"/>
                  </a:solidFill>
                  <a:effectLst/>
                  <a:uLnTx/>
                  <a:uFillTx/>
                  <a:latin typeface="等线" panose="020F0502020204030204"/>
                  <a:ea typeface="Open Sans" panose="020B0606030504020204" pitchFamily="34" charset="0"/>
                  <a:cs typeface="Segoe UI" panose="020B0502040204020203" pitchFamily="34" charset="0"/>
                </a:rPr>
                <a:t>consectetuer</a:t>
              </a:r>
              <a:r>
                <a:rPr kumimoji="0" lang="en-US" sz="1200" b="0" i="0" u="none" strike="noStrike" kern="1200" cap="none" spc="0" normalizeH="0" baseline="0" noProof="0" dirty="0">
                  <a:ln>
                    <a:noFill/>
                  </a:ln>
                  <a:solidFill>
                    <a:srgbClr val="7F7F7F"/>
                  </a:solidFill>
                  <a:effectLst/>
                  <a:uLnTx/>
                  <a:uFillTx/>
                  <a:latin typeface="等线" panose="020F0502020204030204"/>
                  <a:ea typeface="Open Sans" panose="020B0606030504020204" pitchFamily="34" charset="0"/>
                  <a:cs typeface="Segoe UI" panose="020B0502040204020203" pitchFamily="34" charset="0"/>
                </a:rPr>
                <a:t> </a:t>
              </a:r>
              <a:r>
                <a:rPr kumimoji="0" lang="en-US" sz="1200" b="0" i="0" u="none" strike="noStrike" kern="1200" cap="none" spc="0" normalizeH="0" baseline="0" noProof="0" dirty="0" err="1">
                  <a:ln>
                    <a:noFill/>
                  </a:ln>
                  <a:solidFill>
                    <a:srgbClr val="7F7F7F"/>
                  </a:solidFill>
                  <a:effectLst/>
                  <a:uLnTx/>
                  <a:uFillTx/>
                  <a:latin typeface="等线" panose="020F0502020204030204"/>
                  <a:ea typeface="Open Sans" panose="020B0606030504020204" pitchFamily="34" charset="0"/>
                  <a:cs typeface="Segoe UI" panose="020B0502040204020203" pitchFamily="34" charset="0"/>
                </a:rPr>
                <a:t>adipiscing</a:t>
              </a:r>
              <a:r>
                <a:rPr kumimoji="0" lang="en-US" sz="1200" b="0" i="0" u="none" strike="noStrike" kern="1200" cap="none" spc="0" normalizeH="0" baseline="0" noProof="0" dirty="0">
                  <a:ln>
                    <a:noFill/>
                  </a:ln>
                  <a:solidFill>
                    <a:srgbClr val="7F7F7F"/>
                  </a:solidFill>
                  <a:effectLst/>
                  <a:uLnTx/>
                  <a:uFillTx/>
                  <a:latin typeface="等线" panose="020F0502020204030204"/>
                  <a:ea typeface="Open Sans" panose="020B0606030504020204" pitchFamily="34" charset="0"/>
                  <a:cs typeface="Segoe UI" panose="020B0502040204020203" pitchFamily="34" charset="0"/>
                </a:rPr>
                <a:t> </a:t>
              </a:r>
              <a:r>
                <a:rPr kumimoji="0" lang="en-US" sz="1200" b="0" i="0" u="none" strike="noStrike" kern="1200" cap="none" spc="0" normalizeH="0" baseline="0" noProof="0" dirty="0" err="1">
                  <a:ln>
                    <a:noFill/>
                  </a:ln>
                  <a:solidFill>
                    <a:srgbClr val="7F7F7F"/>
                  </a:solidFill>
                  <a:effectLst/>
                  <a:uLnTx/>
                  <a:uFillTx/>
                  <a:latin typeface="等线" panose="020F0502020204030204"/>
                  <a:ea typeface="Open Sans" panose="020B0606030504020204" pitchFamily="34" charset="0"/>
                  <a:cs typeface="Segoe UI" panose="020B0502040204020203" pitchFamily="34" charset="0"/>
                </a:rPr>
                <a:t>elit</a:t>
              </a:r>
              <a:r>
                <a:rPr kumimoji="0" lang="en-US" sz="1200" b="0" i="0" u="none" strike="noStrike" kern="1200" cap="none" spc="0" normalizeH="0" baseline="0" noProof="0" dirty="0">
                  <a:ln>
                    <a:noFill/>
                  </a:ln>
                  <a:solidFill>
                    <a:srgbClr val="7F7F7F"/>
                  </a:solidFill>
                  <a:effectLst/>
                  <a:uLnTx/>
                  <a:uFillTx/>
                  <a:latin typeface="等线" panose="020F0502020204030204"/>
                  <a:ea typeface="Open Sans" panose="020B0606030504020204" pitchFamily="34" charset="0"/>
                  <a:cs typeface="Segoe UI" panose="020B0502040204020203" pitchFamily="34" charset="0"/>
                </a:rPr>
                <a:t>. </a:t>
              </a:r>
              <a:r>
                <a:rPr kumimoji="0" lang="en-US" sz="1200" b="0" i="0" u="none" strike="noStrike" kern="1200" cap="none" spc="0" normalizeH="0" baseline="0" noProof="0" dirty="0" err="1">
                  <a:ln>
                    <a:noFill/>
                  </a:ln>
                  <a:solidFill>
                    <a:srgbClr val="7F7F7F"/>
                  </a:solidFill>
                  <a:effectLst/>
                  <a:uLnTx/>
                  <a:uFillTx/>
                  <a:latin typeface="等线" panose="020F0502020204030204"/>
                  <a:ea typeface="Open Sans" panose="020B0606030504020204" pitchFamily="34" charset="0"/>
                  <a:cs typeface="Segoe UI" panose="020B0502040204020203" pitchFamily="34" charset="0"/>
                </a:rPr>
                <a:t>Aenean</a:t>
              </a:r>
              <a:r>
                <a:rPr kumimoji="0" lang="en-US" sz="1200" b="0" i="0" u="none" strike="noStrike" kern="1200" cap="none" spc="0" normalizeH="0" baseline="0" noProof="0" dirty="0">
                  <a:ln>
                    <a:noFill/>
                  </a:ln>
                  <a:solidFill>
                    <a:srgbClr val="7F7F7F"/>
                  </a:solidFill>
                  <a:effectLst/>
                  <a:uLnTx/>
                  <a:uFillTx/>
                  <a:latin typeface="等线" panose="020F0502020204030204"/>
                  <a:ea typeface="Open Sans" panose="020B0606030504020204" pitchFamily="34" charset="0"/>
                  <a:cs typeface="Segoe UI" panose="020B0502040204020203" pitchFamily="34" charset="0"/>
                </a:rPr>
                <a:t> </a:t>
              </a:r>
              <a:r>
                <a:rPr kumimoji="0" lang="en-US" sz="1200" b="0" i="0" u="none" strike="noStrike" kern="1200" cap="none" spc="0" normalizeH="0" baseline="0" noProof="0" dirty="0" err="1">
                  <a:ln>
                    <a:noFill/>
                  </a:ln>
                  <a:solidFill>
                    <a:srgbClr val="7F7F7F"/>
                  </a:solidFill>
                  <a:effectLst/>
                  <a:uLnTx/>
                  <a:uFillTx/>
                  <a:latin typeface="等线" panose="020F0502020204030204"/>
                  <a:ea typeface="Open Sans" panose="020B0606030504020204" pitchFamily="34" charset="0"/>
                  <a:cs typeface="Segoe UI" panose="020B0502040204020203" pitchFamily="34" charset="0"/>
                </a:rPr>
                <a:t>commodo</a:t>
              </a:r>
              <a:endParaRPr kumimoji="0" lang="en-US" sz="1200" b="0" i="0" u="none" strike="noStrike" kern="1200" cap="none" spc="0" normalizeH="0" baseline="0" noProof="0" dirty="0">
                <a:ln>
                  <a:noFill/>
                </a:ln>
                <a:solidFill>
                  <a:srgbClr val="7F7F7F"/>
                </a:solidFill>
                <a:effectLst/>
                <a:uLnTx/>
                <a:uFillTx/>
                <a:latin typeface="等线" panose="020F0502020204030204"/>
                <a:ea typeface="Open Sans" panose="020B0606030504020204" pitchFamily="34" charset="0"/>
                <a:cs typeface="Segoe UI" panose="020B0502040204020203" pitchFamily="34" charset="0"/>
              </a:endParaRPr>
            </a:p>
          </p:txBody>
        </p:sp>
        <p:sp>
          <p:nvSpPr>
            <p:cNvPr id="31" name="Rectangle 36">
              <a:extLst>
                <a:ext uri="{FF2B5EF4-FFF2-40B4-BE49-F238E27FC236}">
                  <a16:creationId xmlns:a16="http://schemas.microsoft.com/office/drawing/2014/main" id="{2172554F-FB5F-4466-BCE7-CF52B065A3E3}"/>
                </a:ext>
              </a:extLst>
            </p:cNvPr>
            <p:cNvSpPr/>
            <p:nvPr/>
          </p:nvSpPr>
          <p:spPr>
            <a:xfrm>
              <a:off x="6237723" y="1464739"/>
              <a:ext cx="7411724" cy="424090"/>
            </a:xfrm>
            <a:prstGeom prst="rect">
              <a:avLst/>
            </a:prstGeom>
          </p:spPr>
          <p:txBody>
            <a:bodyPr wrap="square">
              <a:spAutoFit/>
            </a:bodyPr>
            <a:lstStyle/>
            <a:p>
              <a:pPr marL="0" marR="0" lvl="0" indent="0" algn="r" defTabSz="914400" rtl="0" eaLnBrk="1" fontAlgn="auto" latinLnBrk="0" hangingPunct="1">
                <a:lnSpc>
                  <a:spcPct val="13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D229"/>
                  </a:solidFill>
                  <a:effectLst/>
                  <a:uLnTx/>
                  <a:uFillTx/>
                  <a:latin typeface="等线 Light" panose="020F0302020204030204"/>
                  <a:ea typeface="Open Sans" panose="020B0606030504020204" pitchFamily="34" charset="0"/>
                  <a:cs typeface="Segoe UI" panose="020B0502040204020203" pitchFamily="34" charset="0"/>
                </a:rPr>
                <a:t>160k</a:t>
              </a:r>
              <a:endParaRPr kumimoji="0" lang="en-US" sz="1800" b="1" i="0" u="none" strike="noStrike" kern="1200" cap="none" spc="0" normalizeH="0" baseline="0" noProof="0" dirty="0">
                <a:ln>
                  <a:noFill/>
                </a:ln>
                <a:solidFill>
                  <a:srgbClr val="FFD229"/>
                </a:solidFill>
                <a:effectLst/>
                <a:uLnTx/>
                <a:uFillTx/>
                <a:latin typeface="等线 Light" panose="020F0302020204030204"/>
                <a:ea typeface="+mn-ea"/>
                <a:cs typeface="+mn-cs"/>
              </a:endParaRPr>
            </a:p>
          </p:txBody>
        </p:sp>
      </p:grpSp>
      <p:grpSp>
        <p:nvGrpSpPr>
          <p:cNvPr id="32" name="Group 37">
            <a:extLst>
              <a:ext uri="{FF2B5EF4-FFF2-40B4-BE49-F238E27FC236}">
                <a16:creationId xmlns:a16="http://schemas.microsoft.com/office/drawing/2014/main" id="{EE656D41-D045-4EC8-A7F1-E47171D3109E}"/>
              </a:ext>
            </a:extLst>
          </p:cNvPr>
          <p:cNvGrpSpPr/>
          <p:nvPr/>
        </p:nvGrpSpPr>
        <p:grpSpPr>
          <a:xfrm>
            <a:off x="815710" y="3168066"/>
            <a:ext cx="3061749" cy="985242"/>
            <a:chOff x="5244091" y="1464739"/>
            <a:chExt cx="8405356" cy="985242"/>
          </a:xfrm>
        </p:grpSpPr>
        <p:sp>
          <p:nvSpPr>
            <p:cNvPr id="33" name="Rectangle 38">
              <a:extLst>
                <a:ext uri="{FF2B5EF4-FFF2-40B4-BE49-F238E27FC236}">
                  <a16:creationId xmlns:a16="http://schemas.microsoft.com/office/drawing/2014/main" id="{90EEB5D6-A310-40D5-96BF-788BFB0032C6}"/>
                </a:ext>
              </a:extLst>
            </p:cNvPr>
            <p:cNvSpPr/>
            <p:nvPr/>
          </p:nvSpPr>
          <p:spPr>
            <a:xfrm>
              <a:off x="5244091" y="1896432"/>
              <a:ext cx="8405356" cy="553549"/>
            </a:xfrm>
            <a:prstGeom prst="rect">
              <a:avLst/>
            </a:prstGeom>
          </p:spPr>
          <p:txBody>
            <a:bodyPr wrap="square">
              <a:spAutoFit/>
            </a:bodyPr>
            <a:lstStyle/>
            <a:p>
              <a:pPr marL="0" marR="0" lvl="0" indent="0" algn="r" defTabSz="914400" rtl="0" eaLnBrk="1" fontAlgn="auto" latinLnBrk="0" hangingPunct="1">
                <a:lnSpc>
                  <a:spcPct val="13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7F7F7F"/>
                  </a:solidFill>
                  <a:effectLst/>
                  <a:uLnTx/>
                  <a:uFillTx/>
                  <a:latin typeface="等线" panose="020F0502020204030204"/>
                  <a:ea typeface="Open Sans" panose="020B0606030504020204" pitchFamily="34" charset="0"/>
                  <a:cs typeface="Segoe UI" panose="020B0502040204020203" pitchFamily="34" charset="0"/>
                </a:rPr>
                <a:t>Lorem ipsum dolor sit </a:t>
              </a:r>
              <a:r>
                <a:rPr kumimoji="0" lang="en-US" sz="1200" b="0" i="0" u="none" strike="noStrike" kern="1200" cap="none" spc="0" normalizeH="0" baseline="0" noProof="0" dirty="0" err="1">
                  <a:ln>
                    <a:noFill/>
                  </a:ln>
                  <a:solidFill>
                    <a:srgbClr val="7F7F7F"/>
                  </a:solidFill>
                  <a:effectLst/>
                  <a:uLnTx/>
                  <a:uFillTx/>
                  <a:latin typeface="等线" panose="020F0502020204030204"/>
                  <a:ea typeface="Open Sans" panose="020B0606030504020204" pitchFamily="34" charset="0"/>
                  <a:cs typeface="Segoe UI" panose="020B0502040204020203" pitchFamily="34" charset="0"/>
                </a:rPr>
                <a:t>amet</a:t>
              </a:r>
              <a:r>
                <a:rPr kumimoji="0" lang="en-US" sz="1200" b="0" i="0" u="none" strike="noStrike" kern="1200" cap="none" spc="0" normalizeH="0" baseline="0" noProof="0" dirty="0">
                  <a:ln>
                    <a:noFill/>
                  </a:ln>
                  <a:solidFill>
                    <a:srgbClr val="7F7F7F"/>
                  </a:solidFill>
                  <a:effectLst/>
                  <a:uLnTx/>
                  <a:uFillTx/>
                  <a:latin typeface="等线" panose="020F0502020204030204"/>
                  <a:ea typeface="Open Sans" panose="020B0606030504020204" pitchFamily="34" charset="0"/>
                  <a:cs typeface="Segoe UI" panose="020B0502040204020203" pitchFamily="34" charset="0"/>
                </a:rPr>
                <a:t>, </a:t>
              </a:r>
              <a:r>
                <a:rPr kumimoji="0" lang="en-US" sz="1200" b="0" i="0" u="none" strike="noStrike" kern="1200" cap="none" spc="0" normalizeH="0" baseline="0" noProof="0" dirty="0" err="1">
                  <a:ln>
                    <a:noFill/>
                  </a:ln>
                  <a:solidFill>
                    <a:srgbClr val="7F7F7F"/>
                  </a:solidFill>
                  <a:effectLst/>
                  <a:uLnTx/>
                  <a:uFillTx/>
                  <a:latin typeface="等线" panose="020F0502020204030204"/>
                  <a:ea typeface="Open Sans" panose="020B0606030504020204" pitchFamily="34" charset="0"/>
                  <a:cs typeface="Segoe UI" panose="020B0502040204020203" pitchFamily="34" charset="0"/>
                </a:rPr>
                <a:t>consectetuer</a:t>
              </a:r>
              <a:r>
                <a:rPr kumimoji="0" lang="en-US" sz="1200" b="0" i="0" u="none" strike="noStrike" kern="1200" cap="none" spc="0" normalizeH="0" baseline="0" noProof="0" dirty="0">
                  <a:ln>
                    <a:noFill/>
                  </a:ln>
                  <a:solidFill>
                    <a:srgbClr val="7F7F7F"/>
                  </a:solidFill>
                  <a:effectLst/>
                  <a:uLnTx/>
                  <a:uFillTx/>
                  <a:latin typeface="等线" panose="020F0502020204030204"/>
                  <a:ea typeface="Open Sans" panose="020B0606030504020204" pitchFamily="34" charset="0"/>
                  <a:cs typeface="Segoe UI" panose="020B0502040204020203" pitchFamily="34" charset="0"/>
                </a:rPr>
                <a:t> </a:t>
              </a:r>
              <a:r>
                <a:rPr kumimoji="0" lang="en-US" sz="1200" b="0" i="0" u="none" strike="noStrike" kern="1200" cap="none" spc="0" normalizeH="0" baseline="0" noProof="0" dirty="0" err="1">
                  <a:ln>
                    <a:noFill/>
                  </a:ln>
                  <a:solidFill>
                    <a:srgbClr val="7F7F7F"/>
                  </a:solidFill>
                  <a:effectLst/>
                  <a:uLnTx/>
                  <a:uFillTx/>
                  <a:latin typeface="等线" panose="020F0502020204030204"/>
                  <a:ea typeface="Open Sans" panose="020B0606030504020204" pitchFamily="34" charset="0"/>
                  <a:cs typeface="Segoe UI" panose="020B0502040204020203" pitchFamily="34" charset="0"/>
                </a:rPr>
                <a:t>adipiscing</a:t>
              </a:r>
              <a:r>
                <a:rPr kumimoji="0" lang="en-US" sz="1200" b="0" i="0" u="none" strike="noStrike" kern="1200" cap="none" spc="0" normalizeH="0" baseline="0" noProof="0" dirty="0">
                  <a:ln>
                    <a:noFill/>
                  </a:ln>
                  <a:solidFill>
                    <a:srgbClr val="7F7F7F"/>
                  </a:solidFill>
                  <a:effectLst/>
                  <a:uLnTx/>
                  <a:uFillTx/>
                  <a:latin typeface="等线" panose="020F0502020204030204"/>
                  <a:ea typeface="Open Sans" panose="020B0606030504020204" pitchFamily="34" charset="0"/>
                  <a:cs typeface="Segoe UI" panose="020B0502040204020203" pitchFamily="34" charset="0"/>
                </a:rPr>
                <a:t> </a:t>
              </a:r>
              <a:r>
                <a:rPr kumimoji="0" lang="en-US" sz="1200" b="0" i="0" u="none" strike="noStrike" kern="1200" cap="none" spc="0" normalizeH="0" baseline="0" noProof="0" dirty="0" err="1">
                  <a:ln>
                    <a:noFill/>
                  </a:ln>
                  <a:solidFill>
                    <a:srgbClr val="7F7F7F"/>
                  </a:solidFill>
                  <a:effectLst/>
                  <a:uLnTx/>
                  <a:uFillTx/>
                  <a:latin typeface="等线" panose="020F0502020204030204"/>
                  <a:ea typeface="Open Sans" panose="020B0606030504020204" pitchFamily="34" charset="0"/>
                  <a:cs typeface="Segoe UI" panose="020B0502040204020203" pitchFamily="34" charset="0"/>
                </a:rPr>
                <a:t>elit</a:t>
              </a:r>
              <a:r>
                <a:rPr kumimoji="0" lang="en-US" sz="1200" b="0" i="0" u="none" strike="noStrike" kern="1200" cap="none" spc="0" normalizeH="0" baseline="0" noProof="0" dirty="0">
                  <a:ln>
                    <a:noFill/>
                  </a:ln>
                  <a:solidFill>
                    <a:srgbClr val="7F7F7F"/>
                  </a:solidFill>
                  <a:effectLst/>
                  <a:uLnTx/>
                  <a:uFillTx/>
                  <a:latin typeface="等线" panose="020F0502020204030204"/>
                  <a:ea typeface="Open Sans" panose="020B0606030504020204" pitchFamily="34" charset="0"/>
                  <a:cs typeface="Segoe UI" panose="020B0502040204020203" pitchFamily="34" charset="0"/>
                </a:rPr>
                <a:t>. </a:t>
              </a:r>
              <a:r>
                <a:rPr kumimoji="0" lang="en-US" sz="1200" b="0" i="0" u="none" strike="noStrike" kern="1200" cap="none" spc="0" normalizeH="0" baseline="0" noProof="0" dirty="0" err="1">
                  <a:ln>
                    <a:noFill/>
                  </a:ln>
                  <a:solidFill>
                    <a:srgbClr val="7F7F7F"/>
                  </a:solidFill>
                  <a:effectLst/>
                  <a:uLnTx/>
                  <a:uFillTx/>
                  <a:latin typeface="等线" panose="020F0502020204030204"/>
                  <a:ea typeface="Open Sans" panose="020B0606030504020204" pitchFamily="34" charset="0"/>
                  <a:cs typeface="Segoe UI" panose="020B0502040204020203" pitchFamily="34" charset="0"/>
                </a:rPr>
                <a:t>Aenean</a:t>
              </a:r>
              <a:r>
                <a:rPr kumimoji="0" lang="en-US" sz="1200" b="0" i="0" u="none" strike="noStrike" kern="1200" cap="none" spc="0" normalizeH="0" baseline="0" noProof="0" dirty="0">
                  <a:ln>
                    <a:noFill/>
                  </a:ln>
                  <a:solidFill>
                    <a:srgbClr val="7F7F7F"/>
                  </a:solidFill>
                  <a:effectLst/>
                  <a:uLnTx/>
                  <a:uFillTx/>
                  <a:latin typeface="等线" panose="020F0502020204030204"/>
                  <a:ea typeface="Open Sans" panose="020B0606030504020204" pitchFamily="34" charset="0"/>
                  <a:cs typeface="Segoe UI" panose="020B0502040204020203" pitchFamily="34" charset="0"/>
                </a:rPr>
                <a:t> </a:t>
              </a:r>
              <a:r>
                <a:rPr kumimoji="0" lang="en-US" sz="1200" b="0" i="0" u="none" strike="noStrike" kern="1200" cap="none" spc="0" normalizeH="0" baseline="0" noProof="0" dirty="0" err="1">
                  <a:ln>
                    <a:noFill/>
                  </a:ln>
                  <a:solidFill>
                    <a:srgbClr val="7F7F7F"/>
                  </a:solidFill>
                  <a:effectLst/>
                  <a:uLnTx/>
                  <a:uFillTx/>
                  <a:latin typeface="等线" panose="020F0502020204030204"/>
                  <a:ea typeface="Open Sans" panose="020B0606030504020204" pitchFamily="34" charset="0"/>
                  <a:cs typeface="Segoe UI" panose="020B0502040204020203" pitchFamily="34" charset="0"/>
                </a:rPr>
                <a:t>commodo</a:t>
              </a:r>
              <a:endParaRPr kumimoji="0" lang="en-US" sz="1200" b="0" i="0" u="none" strike="noStrike" kern="1200" cap="none" spc="0" normalizeH="0" baseline="0" noProof="0" dirty="0">
                <a:ln>
                  <a:noFill/>
                </a:ln>
                <a:solidFill>
                  <a:srgbClr val="7F7F7F"/>
                </a:solidFill>
                <a:effectLst/>
                <a:uLnTx/>
                <a:uFillTx/>
                <a:latin typeface="等线" panose="020F0502020204030204"/>
                <a:ea typeface="Open Sans" panose="020B0606030504020204" pitchFamily="34" charset="0"/>
                <a:cs typeface="Segoe UI" panose="020B0502040204020203" pitchFamily="34" charset="0"/>
              </a:endParaRPr>
            </a:p>
          </p:txBody>
        </p:sp>
        <p:sp>
          <p:nvSpPr>
            <p:cNvPr id="34" name="Rectangle 39">
              <a:extLst>
                <a:ext uri="{FF2B5EF4-FFF2-40B4-BE49-F238E27FC236}">
                  <a16:creationId xmlns:a16="http://schemas.microsoft.com/office/drawing/2014/main" id="{005902AD-BC20-4477-9374-7F8C3582B59A}"/>
                </a:ext>
              </a:extLst>
            </p:cNvPr>
            <p:cNvSpPr/>
            <p:nvPr/>
          </p:nvSpPr>
          <p:spPr>
            <a:xfrm>
              <a:off x="6237723" y="1464739"/>
              <a:ext cx="7411724" cy="424090"/>
            </a:xfrm>
            <a:prstGeom prst="rect">
              <a:avLst/>
            </a:prstGeom>
          </p:spPr>
          <p:txBody>
            <a:bodyPr wrap="square">
              <a:spAutoFit/>
            </a:bodyPr>
            <a:lstStyle/>
            <a:p>
              <a:pPr marL="0" marR="0" lvl="0" indent="0" algn="r" defTabSz="914400" rtl="0" eaLnBrk="1" fontAlgn="auto" latinLnBrk="0" hangingPunct="1">
                <a:lnSpc>
                  <a:spcPct val="13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388A"/>
                  </a:solidFill>
                  <a:effectLst/>
                  <a:uLnTx/>
                  <a:uFillTx/>
                  <a:latin typeface="等线 Light" panose="020F0302020204030204"/>
                  <a:ea typeface="Open Sans" panose="020B0606030504020204" pitchFamily="34" charset="0"/>
                  <a:cs typeface="Segoe UI" panose="020B0502040204020203" pitchFamily="34" charset="0"/>
                </a:rPr>
                <a:t>285k</a:t>
              </a:r>
              <a:endParaRPr kumimoji="0" lang="en-US" sz="1800" b="1" i="0" u="none" strike="noStrike" kern="1200" cap="none" spc="0" normalizeH="0" baseline="0" noProof="0" dirty="0">
                <a:ln>
                  <a:noFill/>
                </a:ln>
                <a:solidFill>
                  <a:srgbClr val="FF388A"/>
                </a:solidFill>
                <a:effectLst/>
                <a:uLnTx/>
                <a:uFillTx/>
                <a:latin typeface="等线 Light" panose="020F0302020204030204"/>
                <a:ea typeface="+mn-ea"/>
                <a:cs typeface="+mn-cs"/>
              </a:endParaRPr>
            </a:p>
          </p:txBody>
        </p:sp>
      </p:grpSp>
      <p:grpSp>
        <p:nvGrpSpPr>
          <p:cNvPr id="35" name="Group 40">
            <a:extLst>
              <a:ext uri="{FF2B5EF4-FFF2-40B4-BE49-F238E27FC236}">
                <a16:creationId xmlns:a16="http://schemas.microsoft.com/office/drawing/2014/main" id="{8805EAB2-D5D9-40A2-9513-38FCACE132D2}"/>
              </a:ext>
            </a:extLst>
          </p:cNvPr>
          <p:cNvGrpSpPr/>
          <p:nvPr/>
        </p:nvGrpSpPr>
        <p:grpSpPr>
          <a:xfrm>
            <a:off x="7947144" y="4616195"/>
            <a:ext cx="3061749" cy="985242"/>
            <a:chOff x="5244091" y="1464739"/>
            <a:chExt cx="8405356" cy="985242"/>
          </a:xfrm>
        </p:grpSpPr>
        <p:sp>
          <p:nvSpPr>
            <p:cNvPr id="36" name="Rectangle 41">
              <a:extLst>
                <a:ext uri="{FF2B5EF4-FFF2-40B4-BE49-F238E27FC236}">
                  <a16:creationId xmlns:a16="http://schemas.microsoft.com/office/drawing/2014/main" id="{EF71AB52-6825-48AF-9F94-69200938CB72}"/>
                </a:ext>
              </a:extLst>
            </p:cNvPr>
            <p:cNvSpPr/>
            <p:nvPr/>
          </p:nvSpPr>
          <p:spPr>
            <a:xfrm>
              <a:off x="5244091" y="1896432"/>
              <a:ext cx="8405356" cy="553549"/>
            </a:xfrm>
            <a:prstGeom prst="rect">
              <a:avLst/>
            </a:prstGeom>
          </p:spPr>
          <p:txBody>
            <a:bodyPr wrap="square">
              <a:spAutoFit/>
            </a:bodyPr>
            <a:lstStyle/>
            <a:p>
              <a:pPr marL="0" marR="0" lvl="0" indent="0" algn="l" defTabSz="914400" rtl="0" eaLnBrk="1" fontAlgn="auto" latinLnBrk="0" hangingPunct="1">
                <a:lnSpc>
                  <a:spcPct val="13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7F7F7F"/>
                  </a:solidFill>
                  <a:effectLst/>
                  <a:uLnTx/>
                  <a:uFillTx/>
                  <a:latin typeface="等线" panose="020F0502020204030204"/>
                  <a:ea typeface="Open Sans" panose="020B0606030504020204" pitchFamily="34" charset="0"/>
                  <a:cs typeface="Segoe UI" panose="020B0502040204020203" pitchFamily="34" charset="0"/>
                </a:rPr>
                <a:t>Lorem ipsum dolor sit </a:t>
              </a:r>
              <a:r>
                <a:rPr kumimoji="0" lang="en-US" sz="1200" b="0" i="0" u="none" strike="noStrike" kern="1200" cap="none" spc="0" normalizeH="0" baseline="0" noProof="0" dirty="0" err="1">
                  <a:ln>
                    <a:noFill/>
                  </a:ln>
                  <a:solidFill>
                    <a:srgbClr val="7F7F7F"/>
                  </a:solidFill>
                  <a:effectLst/>
                  <a:uLnTx/>
                  <a:uFillTx/>
                  <a:latin typeface="等线" panose="020F0502020204030204"/>
                  <a:ea typeface="Open Sans" panose="020B0606030504020204" pitchFamily="34" charset="0"/>
                  <a:cs typeface="Segoe UI" panose="020B0502040204020203" pitchFamily="34" charset="0"/>
                </a:rPr>
                <a:t>amet</a:t>
              </a:r>
              <a:r>
                <a:rPr kumimoji="0" lang="en-US" sz="1200" b="0" i="0" u="none" strike="noStrike" kern="1200" cap="none" spc="0" normalizeH="0" baseline="0" noProof="0" dirty="0">
                  <a:ln>
                    <a:noFill/>
                  </a:ln>
                  <a:solidFill>
                    <a:srgbClr val="7F7F7F"/>
                  </a:solidFill>
                  <a:effectLst/>
                  <a:uLnTx/>
                  <a:uFillTx/>
                  <a:latin typeface="等线" panose="020F0502020204030204"/>
                  <a:ea typeface="Open Sans" panose="020B0606030504020204" pitchFamily="34" charset="0"/>
                  <a:cs typeface="Segoe UI" panose="020B0502040204020203" pitchFamily="34" charset="0"/>
                </a:rPr>
                <a:t>, </a:t>
              </a:r>
              <a:r>
                <a:rPr kumimoji="0" lang="en-US" sz="1200" b="0" i="0" u="none" strike="noStrike" kern="1200" cap="none" spc="0" normalizeH="0" baseline="0" noProof="0" dirty="0" err="1">
                  <a:ln>
                    <a:noFill/>
                  </a:ln>
                  <a:solidFill>
                    <a:srgbClr val="7F7F7F"/>
                  </a:solidFill>
                  <a:effectLst/>
                  <a:uLnTx/>
                  <a:uFillTx/>
                  <a:latin typeface="等线" panose="020F0502020204030204"/>
                  <a:ea typeface="Open Sans" panose="020B0606030504020204" pitchFamily="34" charset="0"/>
                  <a:cs typeface="Segoe UI" panose="020B0502040204020203" pitchFamily="34" charset="0"/>
                </a:rPr>
                <a:t>consectetuer</a:t>
              </a:r>
              <a:r>
                <a:rPr kumimoji="0" lang="en-US" sz="1200" b="0" i="0" u="none" strike="noStrike" kern="1200" cap="none" spc="0" normalizeH="0" baseline="0" noProof="0" dirty="0">
                  <a:ln>
                    <a:noFill/>
                  </a:ln>
                  <a:solidFill>
                    <a:srgbClr val="7F7F7F"/>
                  </a:solidFill>
                  <a:effectLst/>
                  <a:uLnTx/>
                  <a:uFillTx/>
                  <a:latin typeface="等线" panose="020F0502020204030204"/>
                  <a:ea typeface="Open Sans" panose="020B0606030504020204" pitchFamily="34" charset="0"/>
                  <a:cs typeface="Segoe UI" panose="020B0502040204020203" pitchFamily="34" charset="0"/>
                </a:rPr>
                <a:t> </a:t>
              </a:r>
              <a:r>
                <a:rPr kumimoji="0" lang="en-US" sz="1200" b="0" i="0" u="none" strike="noStrike" kern="1200" cap="none" spc="0" normalizeH="0" baseline="0" noProof="0" dirty="0" err="1">
                  <a:ln>
                    <a:noFill/>
                  </a:ln>
                  <a:solidFill>
                    <a:srgbClr val="7F7F7F"/>
                  </a:solidFill>
                  <a:effectLst/>
                  <a:uLnTx/>
                  <a:uFillTx/>
                  <a:latin typeface="等线" panose="020F0502020204030204"/>
                  <a:ea typeface="Open Sans" panose="020B0606030504020204" pitchFamily="34" charset="0"/>
                  <a:cs typeface="Segoe UI" panose="020B0502040204020203" pitchFamily="34" charset="0"/>
                </a:rPr>
                <a:t>adipiscing</a:t>
              </a:r>
              <a:r>
                <a:rPr kumimoji="0" lang="en-US" sz="1200" b="0" i="0" u="none" strike="noStrike" kern="1200" cap="none" spc="0" normalizeH="0" baseline="0" noProof="0" dirty="0">
                  <a:ln>
                    <a:noFill/>
                  </a:ln>
                  <a:solidFill>
                    <a:srgbClr val="7F7F7F"/>
                  </a:solidFill>
                  <a:effectLst/>
                  <a:uLnTx/>
                  <a:uFillTx/>
                  <a:latin typeface="等线" panose="020F0502020204030204"/>
                  <a:ea typeface="Open Sans" panose="020B0606030504020204" pitchFamily="34" charset="0"/>
                  <a:cs typeface="Segoe UI" panose="020B0502040204020203" pitchFamily="34" charset="0"/>
                </a:rPr>
                <a:t> </a:t>
              </a:r>
              <a:r>
                <a:rPr kumimoji="0" lang="en-US" sz="1200" b="0" i="0" u="none" strike="noStrike" kern="1200" cap="none" spc="0" normalizeH="0" baseline="0" noProof="0" dirty="0" err="1">
                  <a:ln>
                    <a:noFill/>
                  </a:ln>
                  <a:solidFill>
                    <a:srgbClr val="7F7F7F"/>
                  </a:solidFill>
                  <a:effectLst/>
                  <a:uLnTx/>
                  <a:uFillTx/>
                  <a:latin typeface="等线" panose="020F0502020204030204"/>
                  <a:ea typeface="Open Sans" panose="020B0606030504020204" pitchFamily="34" charset="0"/>
                  <a:cs typeface="Segoe UI" panose="020B0502040204020203" pitchFamily="34" charset="0"/>
                </a:rPr>
                <a:t>elit</a:t>
              </a:r>
              <a:r>
                <a:rPr kumimoji="0" lang="en-US" sz="1200" b="0" i="0" u="none" strike="noStrike" kern="1200" cap="none" spc="0" normalizeH="0" baseline="0" noProof="0" dirty="0">
                  <a:ln>
                    <a:noFill/>
                  </a:ln>
                  <a:solidFill>
                    <a:srgbClr val="7F7F7F"/>
                  </a:solidFill>
                  <a:effectLst/>
                  <a:uLnTx/>
                  <a:uFillTx/>
                  <a:latin typeface="等线" panose="020F0502020204030204"/>
                  <a:ea typeface="Open Sans" panose="020B0606030504020204" pitchFamily="34" charset="0"/>
                  <a:cs typeface="Segoe UI" panose="020B0502040204020203" pitchFamily="34" charset="0"/>
                </a:rPr>
                <a:t>. </a:t>
              </a:r>
              <a:r>
                <a:rPr kumimoji="0" lang="en-US" sz="1200" b="0" i="0" u="none" strike="noStrike" kern="1200" cap="none" spc="0" normalizeH="0" baseline="0" noProof="0" dirty="0" err="1">
                  <a:ln>
                    <a:noFill/>
                  </a:ln>
                  <a:solidFill>
                    <a:srgbClr val="7F7F7F"/>
                  </a:solidFill>
                  <a:effectLst/>
                  <a:uLnTx/>
                  <a:uFillTx/>
                  <a:latin typeface="等线" panose="020F0502020204030204"/>
                  <a:ea typeface="Open Sans" panose="020B0606030504020204" pitchFamily="34" charset="0"/>
                  <a:cs typeface="Segoe UI" panose="020B0502040204020203" pitchFamily="34" charset="0"/>
                </a:rPr>
                <a:t>Aenean</a:t>
              </a:r>
              <a:r>
                <a:rPr kumimoji="0" lang="en-US" sz="1200" b="0" i="0" u="none" strike="noStrike" kern="1200" cap="none" spc="0" normalizeH="0" baseline="0" noProof="0" dirty="0">
                  <a:ln>
                    <a:noFill/>
                  </a:ln>
                  <a:solidFill>
                    <a:srgbClr val="7F7F7F"/>
                  </a:solidFill>
                  <a:effectLst/>
                  <a:uLnTx/>
                  <a:uFillTx/>
                  <a:latin typeface="等线" panose="020F0502020204030204"/>
                  <a:ea typeface="Open Sans" panose="020B0606030504020204" pitchFamily="34" charset="0"/>
                  <a:cs typeface="Segoe UI" panose="020B0502040204020203" pitchFamily="34" charset="0"/>
                </a:rPr>
                <a:t> </a:t>
              </a:r>
              <a:r>
                <a:rPr kumimoji="0" lang="en-US" sz="1200" b="0" i="0" u="none" strike="noStrike" kern="1200" cap="none" spc="0" normalizeH="0" baseline="0" noProof="0" dirty="0" err="1">
                  <a:ln>
                    <a:noFill/>
                  </a:ln>
                  <a:solidFill>
                    <a:srgbClr val="7F7F7F"/>
                  </a:solidFill>
                  <a:effectLst/>
                  <a:uLnTx/>
                  <a:uFillTx/>
                  <a:latin typeface="等线" panose="020F0502020204030204"/>
                  <a:ea typeface="Open Sans" panose="020B0606030504020204" pitchFamily="34" charset="0"/>
                  <a:cs typeface="Segoe UI" panose="020B0502040204020203" pitchFamily="34" charset="0"/>
                </a:rPr>
                <a:t>commodo</a:t>
              </a:r>
              <a:endParaRPr kumimoji="0" lang="en-US" sz="1200" b="0" i="0" u="none" strike="noStrike" kern="1200" cap="none" spc="0" normalizeH="0" baseline="0" noProof="0" dirty="0">
                <a:ln>
                  <a:noFill/>
                </a:ln>
                <a:solidFill>
                  <a:srgbClr val="7F7F7F"/>
                </a:solidFill>
                <a:effectLst/>
                <a:uLnTx/>
                <a:uFillTx/>
                <a:latin typeface="等线" panose="020F0502020204030204"/>
                <a:ea typeface="Open Sans" panose="020B0606030504020204" pitchFamily="34" charset="0"/>
                <a:cs typeface="Segoe UI" panose="020B0502040204020203" pitchFamily="34" charset="0"/>
              </a:endParaRPr>
            </a:p>
          </p:txBody>
        </p:sp>
        <p:sp>
          <p:nvSpPr>
            <p:cNvPr id="37" name="Rectangle 42">
              <a:extLst>
                <a:ext uri="{FF2B5EF4-FFF2-40B4-BE49-F238E27FC236}">
                  <a16:creationId xmlns:a16="http://schemas.microsoft.com/office/drawing/2014/main" id="{6D3CA0B1-9E52-4D1A-B798-7C398599B5CB}"/>
                </a:ext>
              </a:extLst>
            </p:cNvPr>
            <p:cNvSpPr/>
            <p:nvPr/>
          </p:nvSpPr>
          <p:spPr>
            <a:xfrm>
              <a:off x="5244096" y="1464739"/>
              <a:ext cx="7411724" cy="424090"/>
            </a:xfrm>
            <a:prstGeom prst="rect">
              <a:avLst/>
            </a:prstGeom>
          </p:spPr>
          <p:txBody>
            <a:bodyPr wrap="square">
              <a:spAutoFit/>
            </a:bodyPr>
            <a:lstStyle/>
            <a:p>
              <a:pPr marL="0" marR="0" lvl="0" indent="0" algn="l" defTabSz="914400" rtl="0" eaLnBrk="1" fontAlgn="auto" latinLnBrk="0" hangingPunct="1">
                <a:lnSpc>
                  <a:spcPct val="13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385FFF"/>
                  </a:solidFill>
                  <a:effectLst/>
                  <a:uLnTx/>
                  <a:uFillTx/>
                  <a:latin typeface="等线 Light" panose="020F0302020204030204"/>
                  <a:ea typeface="Open Sans" panose="020B0606030504020204" pitchFamily="34" charset="0"/>
                  <a:cs typeface="Segoe UI" panose="020B0502040204020203" pitchFamily="34" charset="0"/>
                </a:rPr>
                <a:t>200+ </a:t>
              </a:r>
              <a:endParaRPr kumimoji="0" lang="en-US" sz="1800" b="1" i="0" u="none" strike="noStrike" kern="1200" cap="none" spc="0" normalizeH="0" baseline="0" noProof="0" dirty="0">
                <a:ln>
                  <a:noFill/>
                </a:ln>
                <a:solidFill>
                  <a:srgbClr val="385FFF"/>
                </a:solidFill>
                <a:effectLst/>
                <a:uLnTx/>
                <a:uFillTx/>
                <a:latin typeface="等线 Light" panose="020F0302020204030204"/>
                <a:ea typeface="+mn-ea"/>
                <a:cs typeface="+mn-cs"/>
              </a:endParaRPr>
            </a:p>
          </p:txBody>
        </p:sp>
      </p:grpSp>
      <p:grpSp>
        <p:nvGrpSpPr>
          <p:cNvPr id="38" name="Group 43">
            <a:extLst>
              <a:ext uri="{FF2B5EF4-FFF2-40B4-BE49-F238E27FC236}">
                <a16:creationId xmlns:a16="http://schemas.microsoft.com/office/drawing/2014/main" id="{EE1CA6FF-31A4-4616-9861-43AC815F18AF}"/>
              </a:ext>
            </a:extLst>
          </p:cNvPr>
          <p:cNvGrpSpPr/>
          <p:nvPr/>
        </p:nvGrpSpPr>
        <p:grpSpPr>
          <a:xfrm>
            <a:off x="1107562" y="4616195"/>
            <a:ext cx="3061749" cy="985242"/>
            <a:chOff x="5244091" y="1464739"/>
            <a:chExt cx="8405356" cy="985242"/>
          </a:xfrm>
        </p:grpSpPr>
        <p:sp>
          <p:nvSpPr>
            <p:cNvPr id="39" name="Rectangle 44">
              <a:extLst>
                <a:ext uri="{FF2B5EF4-FFF2-40B4-BE49-F238E27FC236}">
                  <a16:creationId xmlns:a16="http://schemas.microsoft.com/office/drawing/2014/main" id="{C416B784-8BAC-43FC-8DBA-56009ABF9E39}"/>
                </a:ext>
              </a:extLst>
            </p:cNvPr>
            <p:cNvSpPr/>
            <p:nvPr/>
          </p:nvSpPr>
          <p:spPr>
            <a:xfrm>
              <a:off x="5244091" y="1896432"/>
              <a:ext cx="8405356" cy="553549"/>
            </a:xfrm>
            <a:prstGeom prst="rect">
              <a:avLst/>
            </a:prstGeom>
          </p:spPr>
          <p:txBody>
            <a:bodyPr wrap="square">
              <a:spAutoFit/>
            </a:bodyPr>
            <a:lstStyle/>
            <a:p>
              <a:pPr marL="0" marR="0" lvl="0" indent="0" algn="r" defTabSz="914400" rtl="0" eaLnBrk="1" fontAlgn="auto" latinLnBrk="0" hangingPunct="1">
                <a:lnSpc>
                  <a:spcPct val="13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7F7F7F"/>
                  </a:solidFill>
                  <a:effectLst/>
                  <a:uLnTx/>
                  <a:uFillTx/>
                  <a:latin typeface="等线" panose="020F0502020204030204"/>
                  <a:ea typeface="Open Sans" panose="020B0606030504020204" pitchFamily="34" charset="0"/>
                  <a:cs typeface="Segoe UI" panose="020B0502040204020203" pitchFamily="34" charset="0"/>
                </a:rPr>
                <a:t>Lorem ipsum dolor sit </a:t>
              </a:r>
              <a:r>
                <a:rPr kumimoji="0" lang="en-US" sz="1200" b="0" i="0" u="none" strike="noStrike" kern="1200" cap="none" spc="0" normalizeH="0" baseline="0" noProof="0" dirty="0" err="1">
                  <a:ln>
                    <a:noFill/>
                  </a:ln>
                  <a:solidFill>
                    <a:srgbClr val="7F7F7F"/>
                  </a:solidFill>
                  <a:effectLst/>
                  <a:uLnTx/>
                  <a:uFillTx/>
                  <a:latin typeface="等线" panose="020F0502020204030204"/>
                  <a:ea typeface="Open Sans" panose="020B0606030504020204" pitchFamily="34" charset="0"/>
                  <a:cs typeface="Segoe UI" panose="020B0502040204020203" pitchFamily="34" charset="0"/>
                </a:rPr>
                <a:t>amet</a:t>
              </a:r>
              <a:r>
                <a:rPr kumimoji="0" lang="en-US" sz="1200" b="0" i="0" u="none" strike="noStrike" kern="1200" cap="none" spc="0" normalizeH="0" baseline="0" noProof="0" dirty="0">
                  <a:ln>
                    <a:noFill/>
                  </a:ln>
                  <a:solidFill>
                    <a:srgbClr val="7F7F7F"/>
                  </a:solidFill>
                  <a:effectLst/>
                  <a:uLnTx/>
                  <a:uFillTx/>
                  <a:latin typeface="等线" panose="020F0502020204030204"/>
                  <a:ea typeface="Open Sans" panose="020B0606030504020204" pitchFamily="34" charset="0"/>
                  <a:cs typeface="Segoe UI" panose="020B0502040204020203" pitchFamily="34" charset="0"/>
                </a:rPr>
                <a:t>, </a:t>
              </a:r>
              <a:r>
                <a:rPr kumimoji="0" lang="en-US" sz="1200" b="0" i="0" u="none" strike="noStrike" kern="1200" cap="none" spc="0" normalizeH="0" baseline="0" noProof="0" dirty="0" err="1">
                  <a:ln>
                    <a:noFill/>
                  </a:ln>
                  <a:solidFill>
                    <a:srgbClr val="7F7F7F"/>
                  </a:solidFill>
                  <a:effectLst/>
                  <a:uLnTx/>
                  <a:uFillTx/>
                  <a:latin typeface="等线" panose="020F0502020204030204"/>
                  <a:ea typeface="Open Sans" panose="020B0606030504020204" pitchFamily="34" charset="0"/>
                  <a:cs typeface="Segoe UI" panose="020B0502040204020203" pitchFamily="34" charset="0"/>
                </a:rPr>
                <a:t>consectetuer</a:t>
              </a:r>
              <a:r>
                <a:rPr kumimoji="0" lang="en-US" sz="1200" b="0" i="0" u="none" strike="noStrike" kern="1200" cap="none" spc="0" normalizeH="0" baseline="0" noProof="0" dirty="0">
                  <a:ln>
                    <a:noFill/>
                  </a:ln>
                  <a:solidFill>
                    <a:srgbClr val="7F7F7F"/>
                  </a:solidFill>
                  <a:effectLst/>
                  <a:uLnTx/>
                  <a:uFillTx/>
                  <a:latin typeface="等线" panose="020F0502020204030204"/>
                  <a:ea typeface="Open Sans" panose="020B0606030504020204" pitchFamily="34" charset="0"/>
                  <a:cs typeface="Segoe UI" panose="020B0502040204020203" pitchFamily="34" charset="0"/>
                </a:rPr>
                <a:t> </a:t>
              </a:r>
              <a:r>
                <a:rPr kumimoji="0" lang="en-US" sz="1200" b="0" i="0" u="none" strike="noStrike" kern="1200" cap="none" spc="0" normalizeH="0" baseline="0" noProof="0" dirty="0" err="1">
                  <a:ln>
                    <a:noFill/>
                  </a:ln>
                  <a:solidFill>
                    <a:srgbClr val="7F7F7F"/>
                  </a:solidFill>
                  <a:effectLst/>
                  <a:uLnTx/>
                  <a:uFillTx/>
                  <a:latin typeface="等线" panose="020F0502020204030204"/>
                  <a:ea typeface="Open Sans" panose="020B0606030504020204" pitchFamily="34" charset="0"/>
                  <a:cs typeface="Segoe UI" panose="020B0502040204020203" pitchFamily="34" charset="0"/>
                </a:rPr>
                <a:t>adipiscing</a:t>
              </a:r>
              <a:r>
                <a:rPr kumimoji="0" lang="en-US" sz="1200" b="0" i="0" u="none" strike="noStrike" kern="1200" cap="none" spc="0" normalizeH="0" baseline="0" noProof="0" dirty="0">
                  <a:ln>
                    <a:noFill/>
                  </a:ln>
                  <a:solidFill>
                    <a:srgbClr val="7F7F7F"/>
                  </a:solidFill>
                  <a:effectLst/>
                  <a:uLnTx/>
                  <a:uFillTx/>
                  <a:latin typeface="等线" panose="020F0502020204030204"/>
                  <a:ea typeface="Open Sans" panose="020B0606030504020204" pitchFamily="34" charset="0"/>
                  <a:cs typeface="Segoe UI" panose="020B0502040204020203" pitchFamily="34" charset="0"/>
                </a:rPr>
                <a:t> </a:t>
              </a:r>
              <a:r>
                <a:rPr kumimoji="0" lang="en-US" sz="1200" b="0" i="0" u="none" strike="noStrike" kern="1200" cap="none" spc="0" normalizeH="0" baseline="0" noProof="0" dirty="0" err="1">
                  <a:ln>
                    <a:noFill/>
                  </a:ln>
                  <a:solidFill>
                    <a:srgbClr val="7F7F7F"/>
                  </a:solidFill>
                  <a:effectLst/>
                  <a:uLnTx/>
                  <a:uFillTx/>
                  <a:latin typeface="等线" panose="020F0502020204030204"/>
                  <a:ea typeface="Open Sans" panose="020B0606030504020204" pitchFamily="34" charset="0"/>
                  <a:cs typeface="Segoe UI" panose="020B0502040204020203" pitchFamily="34" charset="0"/>
                </a:rPr>
                <a:t>elit</a:t>
              </a:r>
              <a:r>
                <a:rPr kumimoji="0" lang="en-US" sz="1200" b="0" i="0" u="none" strike="noStrike" kern="1200" cap="none" spc="0" normalizeH="0" baseline="0" noProof="0" dirty="0">
                  <a:ln>
                    <a:noFill/>
                  </a:ln>
                  <a:solidFill>
                    <a:srgbClr val="7F7F7F"/>
                  </a:solidFill>
                  <a:effectLst/>
                  <a:uLnTx/>
                  <a:uFillTx/>
                  <a:latin typeface="等线" panose="020F0502020204030204"/>
                  <a:ea typeface="Open Sans" panose="020B0606030504020204" pitchFamily="34" charset="0"/>
                  <a:cs typeface="Segoe UI" panose="020B0502040204020203" pitchFamily="34" charset="0"/>
                </a:rPr>
                <a:t>. </a:t>
              </a:r>
              <a:r>
                <a:rPr kumimoji="0" lang="en-US" sz="1200" b="0" i="0" u="none" strike="noStrike" kern="1200" cap="none" spc="0" normalizeH="0" baseline="0" noProof="0" dirty="0" err="1">
                  <a:ln>
                    <a:noFill/>
                  </a:ln>
                  <a:solidFill>
                    <a:srgbClr val="7F7F7F"/>
                  </a:solidFill>
                  <a:effectLst/>
                  <a:uLnTx/>
                  <a:uFillTx/>
                  <a:latin typeface="等线" panose="020F0502020204030204"/>
                  <a:ea typeface="Open Sans" panose="020B0606030504020204" pitchFamily="34" charset="0"/>
                  <a:cs typeface="Segoe UI" panose="020B0502040204020203" pitchFamily="34" charset="0"/>
                </a:rPr>
                <a:t>Aenean</a:t>
              </a:r>
              <a:r>
                <a:rPr kumimoji="0" lang="en-US" sz="1200" b="0" i="0" u="none" strike="noStrike" kern="1200" cap="none" spc="0" normalizeH="0" baseline="0" noProof="0" dirty="0">
                  <a:ln>
                    <a:noFill/>
                  </a:ln>
                  <a:solidFill>
                    <a:srgbClr val="7F7F7F"/>
                  </a:solidFill>
                  <a:effectLst/>
                  <a:uLnTx/>
                  <a:uFillTx/>
                  <a:latin typeface="等线" panose="020F0502020204030204"/>
                  <a:ea typeface="Open Sans" panose="020B0606030504020204" pitchFamily="34" charset="0"/>
                  <a:cs typeface="Segoe UI" panose="020B0502040204020203" pitchFamily="34" charset="0"/>
                </a:rPr>
                <a:t> </a:t>
              </a:r>
              <a:r>
                <a:rPr kumimoji="0" lang="en-US" sz="1200" b="0" i="0" u="none" strike="noStrike" kern="1200" cap="none" spc="0" normalizeH="0" baseline="0" noProof="0" dirty="0" err="1">
                  <a:ln>
                    <a:noFill/>
                  </a:ln>
                  <a:solidFill>
                    <a:srgbClr val="7F7F7F"/>
                  </a:solidFill>
                  <a:effectLst/>
                  <a:uLnTx/>
                  <a:uFillTx/>
                  <a:latin typeface="等线" panose="020F0502020204030204"/>
                  <a:ea typeface="Open Sans" panose="020B0606030504020204" pitchFamily="34" charset="0"/>
                  <a:cs typeface="Segoe UI" panose="020B0502040204020203" pitchFamily="34" charset="0"/>
                </a:rPr>
                <a:t>commodo</a:t>
              </a:r>
              <a:endParaRPr kumimoji="0" lang="en-US" sz="1200" b="0" i="0" u="none" strike="noStrike" kern="1200" cap="none" spc="0" normalizeH="0" baseline="0" noProof="0" dirty="0">
                <a:ln>
                  <a:noFill/>
                </a:ln>
                <a:solidFill>
                  <a:srgbClr val="7F7F7F"/>
                </a:solidFill>
                <a:effectLst/>
                <a:uLnTx/>
                <a:uFillTx/>
                <a:latin typeface="等线" panose="020F0502020204030204"/>
                <a:ea typeface="Open Sans" panose="020B0606030504020204" pitchFamily="34" charset="0"/>
                <a:cs typeface="Segoe UI" panose="020B0502040204020203" pitchFamily="34" charset="0"/>
              </a:endParaRPr>
            </a:p>
          </p:txBody>
        </p:sp>
        <p:sp>
          <p:nvSpPr>
            <p:cNvPr id="40" name="Rectangle 45">
              <a:extLst>
                <a:ext uri="{FF2B5EF4-FFF2-40B4-BE49-F238E27FC236}">
                  <a16:creationId xmlns:a16="http://schemas.microsoft.com/office/drawing/2014/main" id="{62A1C02D-821D-45AF-9B89-2371863E5575}"/>
                </a:ext>
              </a:extLst>
            </p:cNvPr>
            <p:cNvSpPr/>
            <p:nvPr/>
          </p:nvSpPr>
          <p:spPr>
            <a:xfrm>
              <a:off x="6237723" y="1464739"/>
              <a:ext cx="7411724" cy="424090"/>
            </a:xfrm>
            <a:prstGeom prst="rect">
              <a:avLst/>
            </a:prstGeom>
          </p:spPr>
          <p:txBody>
            <a:bodyPr wrap="square">
              <a:spAutoFit/>
            </a:bodyPr>
            <a:lstStyle/>
            <a:p>
              <a:pPr marL="0" marR="0" lvl="0" indent="0" algn="r" defTabSz="914400" rtl="0" eaLnBrk="1" fontAlgn="auto" latinLnBrk="0" hangingPunct="1">
                <a:lnSpc>
                  <a:spcPct val="13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D99B"/>
                  </a:solidFill>
                  <a:effectLst/>
                  <a:uLnTx/>
                  <a:uFillTx/>
                  <a:latin typeface="等线 Light" panose="020F0302020204030204"/>
                  <a:ea typeface="Open Sans" panose="020B0606030504020204" pitchFamily="34" charset="0"/>
                  <a:cs typeface="Segoe UI" panose="020B0502040204020203" pitchFamily="34" charset="0"/>
                </a:rPr>
                <a:t>360</a:t>
              </a:r>
              <a:endParaRPr kumimoji="0" lang="en-US" sz="1800" b="1" i="0" u="none" strike="noStrike" kern="1200" cap="none" spc="0" normalizeH="0" baseline="0" noProof="0" dirty="0">
                <a:ln>
                  <a:noFill/>
                </a:ln>
                <a:solidFill>
                  <a:srgbClr val="00D99B"/>
                </a:solidFill>
                <a:effectLst/>
                <a:uLnTx/>
                <a:uFillTx/>
                <a:latin typeface="等线 Light" panose="020F0302020204030204"/>
                <a:ea typeface="+mn-ea"/>
                <a:cs typeface="+mn-cs"/>
              </a:endParaRPr>
            </a:p>
          </p:txBody>
        </p:sp>
      </p:grpSp>
      <p:sp>
        <p:nvSpPr>
          <p:cNvPr id="41" name="TextBox 46">
            <a:extLst>
              <a:ext uri="{FF2B5EF4-FFF2-40B4-BE49-F238E27FC236}">
                <a16:creationId xmlns:a16="http://schemas.microsoft.com/office/drawing/2014/main" id="{3758E9E9-F7EF-4E84-BF2E-D85544BC836C}"/>
              </a:ext>
            </a:extLst>
          </p:cNvPr>
          <p:cNvSpPr txBox="1"/>
          <p:nvPr/>
        </p:nvSpPr>
        <p:spPr>
          <a:xfrm>
            <a:off x="2657474" y="731469"/>
            <a:ext cx="6877050"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1" i="0" u="none" strike="noStrike" kern="1200" cap="none" spc="0" normalizeH="0" baseline="0" noProof="0" dirty="0">
                <a:ln>
                  <a:noFill/>
                </a:ln>
                <a:solidFill>
                  <a:srgbClr val="000000">
                    <a:lumMod val="85000"/>
                    <a:lumOff val="15000"/>
                  </a:srgbClr>
                </a:solidFill>
                <a:effectLst/>
                <a:uLnTx/>
                <a:uFillTx/>
                <a:latin typeface="等线 Light" panose="020F0302020204030204"/>
                <a:ea typeface="+mn-ea"/>
                <a:cs typeface="Arial" panose="020B0604020202020204" pitchFamily="34" charset="0"/>
              </a:rPr>
              <a:t>Your Title Text Goes Here</a:t>
            </a:r>
          </a:p>
        </p:txBody>
      </p:sp>
    </p:spTree>
    <p:extLst>
      <p:ext uri="{BB962C8B-B14F-4D97-AF65-F5344CB8AC3E}">
        <p14:creationId xmlns:p14="http://schemas.microsoft.com/office/powerpoint/2010/main" val="3181548692"/>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250"/>
                                  </p:stCondLst>
                                  <p:childTnLst>
                                    <p:set>
                                      <p:cBhvr>
                                        <p:cTn id="6" dur="1" fill="hold">
                                          <p:stCondLst>
                                            <p:cond delay="0"/>
                                          </p:stCondLst>
                                        </p:cTn>
                                        <p:tgtEl>
                                          <p:spTgt spid="23"/>
                                        </p:tgtEl>
                                        <p:attrNameLst>
                                          <p:attrName>style.visibility</p:attrName>
                                        </p:attrNameLst>
                                      </p:cBhvr>
                                      <p:to>
                                        <p:strVal val="visible"/>
                                      </p:to>
                                    </p:set>
                                    <p:animEffect transition="in" filter="fade">
                                      <p:cBhvr>
                                        <p:cTn id="7" dur="750"/>
                                        <p:tgtEl>
                                          <p:spTgt spid="23"/>
                                        </p:tgtEl>
                                      </p:cBhvr>
                                    </p:animEffect>
                                  </p:childTnLst>
                                </p:cTn>
                              </p:par>
                              <p:par>
                                <p:cTn id="8" presetID="10" presetClass="entr" presetSubtype="0" fill="hold" nodeType="withEffect">
                                  <p:stCondLst>
                                    <p:cond delay="500"/>
                                  </p:stCondLst>
                                  <p:childTnLst>
                                    <p:set>
                                      <p:cBhvr>
                                        <p:cTn id="9" dur="1" fill="hold">
                                          <p:stCondLst>
                                            <p:cond delay="0"/>
                                          </p:stCondLst>
                                        </p:cTn>
                                        <p:tgtEl>
                                          <p:spTgt spid="26"/>
                                        </p:tgtEl>
                                        <p:attrNameLst>
                                          <p:attrName>style.visibility</p:attrName>
                                        </p:attrNameLst>
                                      </p:cBhvr>
                                      <p:to>
                                        <p:strVal val="visible"/>
                                      </p:to>
                                    </p:set>
                                    <p:animEffect transition="in" filter="fade">
                                      <p:cBhvr>
                                        <p:cTn id="10" dur="750"/>
                                        <p:tgtEl>
                                          <p:spTgt spid="26"/>
                                        </p:tgtEl>
                                      </p:cBhvr>
                                    </p:animEffect>
                                  </p:childTnLst>
                                </p:cTn>
                              </p:par>
                              <p:par>
                                <p:cTn id="11" presetID="10" presetClass="entr" presetSubtype="0" fill="hold" nodeType="withEffect">
                                  <p:stCondLst>
                                    <p:cond delay="750"/>
                                  </p:stCondLst>
                                  <p:childTnLst>
                                    <p:set>
                                      <p:cBhvr>
                                        <p:cTn id="12" dur="1" fill="hold">
                                          <p:stCondLst>
                                            <p:cond delay="0"/>
                                          </p:stCondLst>
                                        </p:cTn>
                                        <p:tgtEl>
                                          <p:spTgt spid="29"/>
                                        </p:tgtEl>
                                        <p:attrNameLst>
                                          <p:attrName>style.visibility</p:attrName>
                                        </p:attrNameLst>
                                      </p:cBhvr>
                                      <p:to>
                                        <p:strVal val="visible"/>
                                      </p:to>
                                    </p:set>
                                    <p:animEffect transition="in" filter="fade">
                                      <p:cBhvr>
                                        <p:cTn id="13" dur="750"/>
                                        <p:tgtEl>
                                          <p:spTgt spid="29"/>
                                        </p:tgtEl>
                                      </p:cBhvr>
                                    </p:animEffect>
                                  </p:childTnLst>
                                </p:cTn>
                              </p:par>
                              <p:par>
                                <p:cTn id="14" presetID="10" presetClass="entr" presetSubtype="0" fill="hold" nodeType="withEffect">
                                  <p:stCondLst>
                                    <p:cond delay="1000"/>
                                  </p:stCondLst>
                                  <p:childTnLst>
                                    <p:set>
                                      <p:cBhvr>
                                        <p:cTn id="15" dur="1" fill="hold">
                                          <p:stCondLst>
                                            <p:cond delay="0"/>
                                          </p:stCondLst>
                                        </p:cTn>
                                        <p:tgtEl>
                                          <p:spTgt spid="32"/>
                                        </p:tgtEl>
                                        <p:attrNameLst>
                                          <p:attrName>style.visibility</p:attrName>
                                        </p:attrNameLst>
                                      </p:cBhvr>
                                      <p:to>
                                        <p:strVal val="visible"/>
                                      </p:to>
                                    </p:set>
                                    <p:animEffect transition="in" filter="fade">
                                      <p:cBhvr>
                                        <p:cTn id="16" dur="750"/>
                                        <p:tgtEl>
                                          <p:spTgt spid="32"/>
                                        </p:tgtEl>
                                      </p:cBhvr>
                                    </p:animEffect>
                                  </p:childTnLst>
                                </p:cTn>
                              </p:par>
                              <p:par>
                                <p:cTn id="17" presetID="10" presetClass="entr" presetSubtype="0" fill="hold" nodeType="withEffect">
                                  <p:stCondLst>
                                    <p:cond delay="1250"/>
                                  </p:stCondLst>
                                  <p:childTnLst>
                                    <p:set>
                                      <p:cBhvr>
                                        <p:cTn id="18" dur="1" fill="hold">
                                          <p:stCondLst>
                                            <p:cond delay="0"/>
                                          </p:stCondLst>
                                        </p:cTn>
                                        <p:tgtEl>
                                          <p:spTgt spid="35"/>
                                        </p:tgtEl>
                                        <p:attrNameLst>
                                          <p:attrName>style.visibility</p:attrName>
                                        </p:attrNameLst>
                                      </p:cBhvr>
                                      <p:to>
                                        <p:strVal val="visible"/>
                                      </p:to>
                                    </p:set>
                                    <p:animEffect transition="in" filter="fade">
                                      <p:cBhvr>
                                        <p:cTn id="19" dur="750"/>
                                        <p:tgtEl>
                                          <p:spTgt spid="35"/>
                                        </p:tgtEl>
                                      </p:cBhvr>
                                    </p:animEffect>
                                  </p:childTnLst>
                                </p:cTn>
                              </p:par>
                              <p:par>
                                <p:cTn id="20" presetID="10" presetClass="entr" presetSubtype="0" fill="hold" nodeType="withEffect">
                                  <p:stCondLst>
                                    <p:cond delay="1500"/>
                                  </p:stCondLst>
                                  <p:childTnLst>
                                    <p:set>
                                      <p:cBhvr>
                                        <p:cTn id="21" dur="1" fill="hold">
                                          <p:stCondLst>
                                            <p:cond delay="0"/>
                                          </p:stCondLst>
                                        </p:cTn>
                                        <p:tgtEl>
                                          <p:spTgt spid="38"/>
                                        </p:tgtEl>
                                        <p:attrNameLst>
                                          <p:attrName>style.visibility</p:attrName>
                                        </p:attrNameLst>
                                      </p:cBhvr>
                                      <p:to>
                                        <p:strVal val="visible"/>
                                      </p:to>
                                    </p:set>
                                    <p:animEffect transition="in" filter="fade">
                                      <p:cBhvr>
                                        <p:cTn id="22" dur="750"/>
                                        <p:tgtEl>
                                          <p:spTgt spid="38"/>
                                        </p:tgtEl>
                                      </p:cBhvr>
                                    </p:animEffect>
                                  </p:childTnLst>
                                </p:cTn>
                              </p:par>
                              <p:par>
                                <p:cTn id="23" presetID="18" presetClass="entr" presetSubtype="3" fill="hold" grpId="0" nodeType="withEffect">
                                  <p:stCondLst>
                                    <p:cond delay="250"/>
                                  </p:stCondLst>
                                  <p:childTnLst>
                                    <p:set>
                                      <p:cBhvr>
                                        <p:cTn id="24" dur="1" fill="hold">
                                          <p:stCondLst>
                                            <p:cond delay="0"/>
                                          </p:stCondLst>
                                        </p:cTn>
                                        <p:tgtEl>
                                          <p:spTgt spid="41"/>
                                        </p:tgtEl>
                                        <p:attrNameLst>
                                          <p:attrName>style.visibility</p:attrName>
                                        </p:attrNameLst>
                                      </p:cBhvr>
                                      <p:to>
                                        <p:strVal val="visible"/>
                                      </p:to>
                                    </p:set>
                                    <p:animEffect transition="in" filter="strips(upRight)">
                                      <p:cBhvr>
                                        <p:cTn id="25" dur="500"/>
                                        <p:tgtEl>
                                          <p:spTgt spid="41"/>
                                        </p:tgtEl>
                                      </p:cBhvr>
                                    </p:animEffect>
                                  </p:childTnLst>
                                </p:cTn>
                              </p:par>
                              <p:par>
                                <p:cTn id="26" presetID="6" presetClass="emph" presetSubtype="0" accel="52000" decel="48000" autoRev="1" fill="hold" grpId="1" nodeType="withEffect">
                                  <p:stCondLst>
                                    <p:cond delay="250"/>
                                  </p:stCondLst>
                                  <p:childTnLst>
                                    <p:animScale>
                                      <p:cBhvr>
                                        <p:cTn id="27" dur="350" fill="hold"/>
                                        <p:tgtEl>
                                          <p:spTgt spid="41"/>
                                        </p:tgtEl>
                                      </p:cBhvr>
                                      <p:by x="110000" y="110000"/>
                                    </p:animScale>
                                  </p:childTnLst>
                                </p:cTn>
                              </p:par>
                              <p:par>
                                <p:cTn id="28" presetID="42" presetClass="entr" presetSubtype="0" fill="hold" nodeType="withEffect">
                                  <p:stCondLst>
                                    <p:cond delay="250"/>
                                  </p:stCondLst>
                                  <p:childTnLst>
                                    <p:set>
                                      <p:cBhvr>
                                        <p:cTn id="29" dur="1" fill="hold">
                                          <p:stCondLst>
                                            <p:cond delay="0"/>
                                          </p:stCondLst>
                                        </p:cTn>
                                        <p:tgtEl>
                                          <p:spTgt spid="2"/>
                                        </p:tgtEl>
                                        <p:attrNameLst>
                                          <p:attrName>style.visibility</p:attrName>
                                        </p:attrNameLst>
                                      </p:cBhvr>
                                      <p:to>
                                        <p:strVal val="visible"/>
                                      </p:to>
                                    </p:set>
                                    <p:animEffect transition="in" filter="fade">
                                      <p:cBhvr>
                                        <p:cTn id="30" dur="1000"/>
                                        <p:tgtEl>
                                          <p:spTgt spid="2"/>
                                        </p:tgtEl>
                                      </p:cBhvr>
                                    </p:animEffect>
                                    <p:anim calcmode="lin" valueType="num">
                                      <p:cBhvr>
                                        <p:cTn id="31" dur="1000" fill="hold"/>
                                        <p:tgtEl>
                                          <p:spTgt spid="2"/>
                                        </p:tgtEl>
                                        <p:attrNameLst>
                                          <p:attrName>ppt_x</p:attrName>
                                        </p:attrNameLst>
                                      </p:cBhvr>
                                      <p:tavLst>
                                        <p:tav tm="0">
                                          <p:val>
                                            <p:strVal val="#ppt_x"/>
                                          </p:val>
                                        </p:tav>
                                        <p:tav tm="100000">
                                          <p:val>
                                            <p:strVal val="#ppt_x"/>
                                          </p:val>
                                        </p:tav>
                                      </p:tavLst>
                                    </p:anim>
                                    <p:anim calcmode="lin" valueType="num">
                                      <p:cBhvr>
                                        <p:cTn id="32" dur="10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1" grpId="0"/>
      <p:bldP spid="41" grpId="1"/>
    </p:bldLst>
  </p:timing>
</p:sld>
</file>

<file path=ppt/slides/slide5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37">
            <a:extLst>
              <a:ext uri="{FF2B5EF4-FFF2-40B4-BE49-F238E27FC236}">
                <a16:creationId xmlns:a16="http://schemas.microsoft.com/office/drawing/2014/main" id="{BDBCF19C-328E-4AE0-B689-55619735D60B}"/>
              </a:ext>
            </a:extLst>
          </p:cNvPr>
          <p:cNvGrpSpPr/>
          <p:nvPr/>
        </p:nvGrpSpPr>
        <p:grpSpPr>
          <a:xfrm>
            <a:off x="931421" y="835337"/>
            <a:ext cx="10535978" cy="5187326"/>
            <a:chOff x="967997" y="962375"/>
            <a:chExt cx="10535978" cy="5187326"/>
          </a:xfrm>
        </p:grpSpPr>
        <p:sp>
          <p:nvSpPr>
            <p:cNvPr id="3" name="Rectangle 92">
              <a:extLst>
                <a:ext uri="{FF2B5EF4-FFF2-40B4-BE49-F238E27FC236}">
                  <a16:creationId xmlns:a16="http://schemas.microsoft.com/office/drawing/2014/main" id="{5E1CC309-3456-4E48-8714-DCB009F33CD9}"/>
                </a:ext>
              </a:extLst>
            </p:cNvPr>
            <p:cNvSpPr/>
            <p:nvPr/>
          </p:nvSpPr>
          <p:spPr>
            <a:xfrm>
              <a:off x="2082515" y="962375"/>
              <a:ext cx="8026970" cy="701731"/>
            </a:xfrm>
            <a:prstGeom prst="rect">
              <a:avLst/>
            </a:prstGeom>
          </p:spPr>
          <p:txBody>
            <a:bodyPr wrap="square">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4400" b="1" i="0" u="none" strike="noStrike" kern="1200" cap="none" spc="0" normalizeH="0" baseline="0" noProof="0" dirty="0">
                  <a:ln>
                    <a:noFill/>
                  </a:ln>
                  <a:solidFill>
                    <a:srgbClr val="000000">
                      <a:lumMod val="75000"/>
                      <a:lumOff val="25000"/>
                    </a:srgbClr>
                  </a:solidFill>
                  <a:effectLst/>
                  <a:uLnTx/>
                  <a:uFillTx/>
                  <a:latin typeface="Segoe UI" panose="020B0502040204020203" pitchFamily="34" charset="0"/>
                  <a:ea typeface="+mn-ea"/>
                  <a:cs typeface="Segoe UI" panose="020B0502040204020203" pitchFamily="34" charset="0"/>
                </a:rPr>
                <a:t>6 Stage Investment Proposal   </a:t>
              </a:r>
            </a:p>
          </p:txBody>
        </p:sp>
        <p:grpSp>
          <p:nvGrpSpPr>
            <p:cNvPr id="4" name="Group 1">
              <a:extLst>
                <a:ext uri="{FF2B5EF4-FFF2-40B4-BE49-F238E27FC236}">
                  <a16:creationId xmlns:a16="http://schemas.microsoft.com/office/drawing/2014/main" id="{9662DCD1-1DB6-4A05-BE6A-1A9340EBC0DE}"/>
                </a:ext>
              </a:extLst>
            </p:cNvPr>
            <p:cNvGrpSpPr/>
            <p:nvPr/>
          </p:nvGrpSpPr>
          <p:grpSpPr>
            <a:xfrm>
              <a:off x="967997" y="1780223"/>
              <a:ext cx="10535978" cy="4369478"/>
              <a:chOff x="967997" y="1780223"/>
              <a:chExt cx="10535978" cy="4369478"/>
            </a:xfrm>
          </p:grpSpPr>
          <p:grpSp>
            <p:nvGrpSpPr>
              <p:cNvPr id="5" name="Group 96">
                <a:extLst>
                  <a:ext uri="{FF2B5EF4-FFF2-40B4-BE49-F238E27FC236}">
                    <a16:creationId xmlns:a16="http://schemas.microsoft.com/office/drawing/2014/main" id="{272A2030-A8B4-4159-B365-5CCA47657DD0}"/>
                  </a:ext>
                </a:extLst>
              </p:cNvPr>
              <p:cNvGrpSpPr/>
              <p:nvPr/>
            </p:nvGrpSpPr>
            <p:grpSpPr>
              <a:xfrm>
                <a:off x="4807836" y="1780223"/>
                <a:ext cx="2680735" cy="4369478"/>
                <a:chOff x="4807836" y="1780223"/>
                <a:chExt cx="2680735" cy="4369478"/>
              </a:xfrm>
            </p:grpSpPr>
            <p:sp>
              <p:nvSpPr>
                <p:cNvPr id="45" name="Freeform: Shape 2">
                  <a:extLst>
                    <a:ext uri="{FF2B5EF4-FFF2-40B4-BE49-F238E27FC236}">
                      <a16:creationId xmlns:a16="http://schemas.microsoft.com/office/drawing/2014/main" id="{78374BD2-7A38-4AAD-BF34-FD9A457FFF9D}"/>
                    </a:ext>
                  </a:extLst>
                </p:cNvPr>
                <p:cNvSpPr/>
                <p:nvPr/>
              </p:nvSpPr>
              <p:spPr>
                <a:xfrm>
                  <a:off x="5535219" y="6111802"/>
                  <a:ext cx="1398741" cy="37899"/>
                </a:xfrm>
                <a:custGeom>
                  <a:avLst/>
                  <a:gdLst>
                    <a:gd name="connsiteX0" fmla="*/ 1277109 w 1277109"/>
                    <a:gd name="connsiteY0" fmla="*/ 17302 h 34603"/>
                    <a:gd name="connsiteX1" fmla="*/ 638555 w 1277109"/>
                    <a:gd name="connsiteY1" fmla="*/ 34604 h 34603"/>
                    <a:gd name="connsiteX2" fmla="*/ 0 w 1277109"/>
                    <a:gd name="connsiteY2" fmla="*/ 17302 h 34603"/>
                    <a:gd name="connsiteX3" fmla="*/ 638555 w 1277109"/>
                    <a:gd name="connsiteY3" fmla="*/ 0 h 34603"/>
                    <a:gd name="connsiteX4" fmla="*/ 1277109 w 1277109"/>
                    <a:gd name="connsiteY4" fmla="*/ 17302 h 346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7109" h="34603">
                      <a:moveTo>
                        <a:pt x="1277109" y="17302"/>
                      </a:moveTo>
                      <a:cubicBezTo>
                        <a:pt x="1277109" y="26858"/>
                        <a:pt x="991219" y="34604"/>
                        <a:pt x="638555" y="34604"/>
                      </a:cubicBezTo>
                      <a:cubicBezTo>
                        <a:pt x="285891" y="34604"/>
                        <a:pt x="0" y="26857"/>
                        <a:pt x="0" y="17302"/>
                      </a:cubicBezTo>
                      <a:cubicBezTo>
                        <a:pt x="0" y="7746"/>
                        <a:pt x="285891" y="0"/>
                        <a:pt x="638555" y="0"/>
                      </a:cubicBezTo>
                      <a:cubicBezTo>
                        <a:pt x="991219" y="0"/>
                        <a:pt x="1277109" y="7747"/>
                        <a:pt x="1277109" y="17302"/>
                      </a:cubicBezTo>
                      <a:close/>
                    </a:path>
                  </a:pathLst>
                </a:custGeom>
                <a:solidFill>
                  <a:schemeClr val="tx1">
                    <a:lumMod val="65000"/>
                    <a:lumOff val="35000"/>
                    <a:alpha val="35000"/>
                  </a:schemeClr>
                </a:solidFill>
                <a:ln w="107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8F38FF"/>
                    </a:solidFill>
                    <a:effectLst/>
                    <a:uLnTx/>
                    <a:uFillTx/>
                    <a:latin typeface="等线" panose="020F0502020204030204"/>
                    <a:ea typeface="+mn-ea"/>
                    <a:cs typeface="+mn-cs"/>
                  </a:endParaRPr>
                </a:p>
              </p:txBody>
            </p:sp>
            <p:sp>
              <p:nvSpPr>
                <p:cNvPr id="46" name="Freeform: Shape 3">
                  <a:extLst>
                    <a:ext uri="{FF2B5EF4-FFF2-40B4-BE49-F238E27FC236}">
                      <a16:creationId xmlns:a16="http://schemas.microsoft.com/office/drawing/2014/main" id="{0CB361D8-EA90-4ECE-AE00-ABE17B43D468}"/>
                    </a:ext>
                  </a:extLst>
                </p:cNvPr>
                <p:cNvSpPr/>
                <p:nvPr/>
              </p:nvSpPr>
              <p:spPr>
                <a:xfrm>
                  <a:off x="5176942" y="4254472"/>
                  <a:ext cx="863208" cy="271620"/>
                </a:xfrm>
                <a:custGeom>
                  <a:avLst/>
                  <a:gdLst>
                    <a:gd name="connsiteX0" fmla="*/ 788145 w 788145"/>
                    <a:gd name="connsiteY0" fmla="*/ 190885 h 248000"/>
                    <a:gd name="connsiteX1" fmla="*/ 0 w 788145"/>
                    <a:gd name="connsiteY1" fmla="*/ 59241 h 248000"/>
                    <a:gd name="connsiteX2" fmla="*/ 663379 w 788145"/>
                    <a:gd name="connsiteY2" fmla="*/ 63110 h 248000"/>
                    <a:gd name="connsiteX3" fmla="*/ 788145 w 788145"/>
                    <a:gd name="connsiteY3" fmla="*/ 190885 h 248000"/>
                  </a:gdLst>
                  <a:ahLst/>
                  <a:cxnLst>
                    <a:cxn ang="0">
                      <a:pos x="connsiteX0" y="connsiteY0"/>
                    </a:cxn>
                    <a:cxn ang="0">
                      <a:pos x="connsiteX1" y="connsiteY1"/>
                    </a:cxn>
                    <a:cxn ang="0">
                      <a:pos x="connsiteX2" y="connsiteY2"/>
                    </a:cxn>
                    <a:cxn ang="0">
                      <a:pos x="connsiteX3" y="connsiteY3"/>
                    </a:cxn>
                  </a:cxnLst>
                  <a:rect l="l" t="t" r="r" b="b"/>
                  <a:pathLst>
                    <a:path w="788145" h="248000">
                      <a:moveTo>
                        <a:pt x="788145" y="190885"/>
                      </a:moveTo>
                      <a:cubicBezTo>
                        <a:pt x="209449" y="373682"/>
                        <a:pt x="0" y="59241"/>
                        <a:pt x="0" y="59241"/>
                      </a:cubicBezTo>
                      <a:cubicBezTo>
                        <a:pt x="217186" y="-76272"/>
                        <a:pt x="663379" y="63110"/>
                        <a:pt x="663379" y="63110"/>
                      </a:cubicBezTo>
                      <a:lnTo>
                        <a:pt x="788145" y="190885"/>
                      </a:lnTo>
                      <a:close/>
                    </a:path>
                  </a:pathLst>
                </a:custGeom>
                <a:solidFill>
                  <a:schemeClr val="accent4">
                    <a:lumMod val="60000"/>
                    <a:lumOff val="40000"/>
                  </a:schemeClr>
                </a:solidFill>
                <a:ln w="107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47" name="Freeform: Shape 4">
                  <a:extLst>
                    <a:ext uri="{FF2B5EF4-FFF2-40B4-BE49-F238E27FC236}">
                      <a16:creationId xmlns:a16="http://schemas.microsoft.com/office/drawing/2014/main" id="{B11D8681-83F3-4839-A133-8EF675DEDEBA}"/>
                    </a:ext>
                  </a:extLst>
                </p:cNvPr>
                <p:cNvSpPr/>
                <p:nvPr/>
              </p:nvSpPr>
              <p:spPr>
                <a:xfrm>
                  <a:off x="6222349" y="5079106"/>
                  <a:ext cx="754041" cy="1039639"/>
                </a:xfrm>
                <a:custGeom>
                  <a:avLst/>
                  <a:gdLst>
                    <a:gd name="connsiteX0" fmla="*/ 0 w 688471"/>
                    <a:gd name="connsiteY0" fmla="*/ 687774 h 949234"/>
                    <a:gd name="connsiteX1" fmla="*/ 0 w 688471"/>
                    <a:gd name="connsiteY1" fmla="*/ 949235 h 949234"/>
                    <a:gd name="connsiteX2" fmla="*/ 614483 w 688471"/>
                    <a:gd name="connsiteY2" fmla="*/ 0 h 949234"/>
                    <a:gd name="connsiteX3" fmla="*/ 0 w 688471"/>
                    <a:gd name="connsiteY3" fmla="*/ 687774 h 949234"/>
                  </a:gdLst>
                  <a:ahLst/>
                  <a:cxnLst>
                    <a:cxn ang="0">
                      <a:pos x="connsiteX0" y="connsiteY0"/>
                    </a:cxn>
                    <a:cxn ang="0">
                      <a:pos x="connsiteX1" y="connsiteY1"/>
                    </a:cxn>
                    <a:cxn ang="0">
                      <a:pos x="connsiteX2" y="connsiteY2"/>
                    </a:cxn>
                    <a:cxn ang="0">
                      <a:pos x="connsiteX3" y="connsiteY3"/>
                    </a:cxn>
                  </a:cxnLst>
                  <a:rect l="l" t="t" r="r" b="b"/>
                  <a:pathLst>
                    <a:path w="688471" h="949234">
                      <a:moveTo>
                        <a:pt x="0" y="687774"/>
                      </a:moveTo>
                      <a:lnTo>
                        <a:pt x="0" y="949235"/>
                      </a:lnTo>
                      <a:cubicBezTo>
                        <a:pt x="1002860" y="313474"/>
                        <a:pt x="614483" y="0"/>
                        <a:pt x="614483" y="0"/>
                      </a:cubicBezTo>
                      <a:cubicBezTo>
                        <a:pt x="178714" y="180540"/>
                        <a:pt x="0" y="687774"/>
                        <a:pt x="0" y="687774"/>
                      </a:cubicBezTo>
                      <a:close/>
                    </a:path>
                  </a:pathLst>
                </a:custGeom>
                <a:solidFill>
                  <a:schemeClr val="accent4"/>
                </a:solidFill>
                <a:ln w="107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48" name="Freeform: Shape 5">
                  <a:extLst>
                    <a:ext uri="{FF2B5EF4-FFF2-40B4-BE49-F238E27FC236}">
                      <a16:creationId xmlns:a16="http://schemas.microsoft.com/office/drawing/2014/main" id="{9BBDAF1A-BC1B-4987-B156-5865744DE380}"/>
                    </a:ext>
                  </a:extLst>
                </p:cNvPr>
                <p:cNvSpPr/>
                <p:nvPr/>
              </p:nvSpPr>
              <p:spPr>
                <a:xfrm>
                  <a:off x="6222349" y="5079106"/>
                  <a:ext cx="754041" cy="1039639"/>
                </a:xfrm>
                <a:custGeom>
                  <a:avLst/>
                  <a:gdLst>
                    <a:gd name="connsiteX0" fmla="*/ 0 w 688471"/>
                    <a:gd name="connsiteY0" fmla="*/ 898834 h 949234"/>
                    <a:gd name="connsiteX1" fmla="*/ 0 w 688471"/>
                    <a:gd name="connsiteY1" fmla="*/ 949235 h 949234"/>
                    <a:gd name="connsiteX2" fmla="*/ 614483 w 688471"/>
                    <a:gd name="connsiteY2" fmla="*/ 0 h 949234"/>
                    <a:gd name="connsiteX3" fmla="*/ 0 w 688471"/>
                    <a:gd name="connsiteY3" fmla="*/ 898834 h 949234"/>
                  </a:gdLst>
                  <a:ahLst/>
                  <a:cxnLst>
                    <a:cxn ang="0">
                      <a:pos x="connsiteX0" y="connsiteY0"/>
                    </a:cxn>
                    <a:cxn ang="0">
                      <a:pos x="connsiteX1" y="connsiteY1"/>
                    </a:cxn>
                    <a:cxn ang="0">
                      <a:pos x="connsiteX2" y="connsiteY2"/>
                    </a:cxn>
                    <a:cxn ang="0">
                      <a:pos x="connsiteX3" y="connsiteY3"/>
                    </a:cxn>
                  </a:cxnLst>
                  <a:rect l="l" t="t" r="r" b="b"/>
                  <a:pathLst>
                    <a:path w="688471" h="949234">
                      <a:moveTo>
                        <a:pt x="0" y="898834"/>
                      </a:moveTo>
                      <a:lnTo>
                        <a:pt x="0" y="949235"/>
                      </a:lnTo>
                      <a:cubicBezTo>
                        <a:pt x="1002860" y="313474"/>
                        <a:pt x="614483" y="0"/>
                        <a:pt x="614483" y="0"/>
                      </a:cubicBezTo>
                      <a:lnTo>
                        <a:pt x="0" y="898834"/>
                      </a:lnTo>
                      <a:close/>
                    </a:path>
                  </a:pathLst>
                </a:custGeom>
                <a:solidFill>
                  <a:schemeClr val="accent4">
                    <a:lumMod val="60000"/>
                    <a:lumOff val="40000"/>
                  </a:schemeClr>
                </a:solidFill>
                <a:ln w="107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49" name="Freeform: Shape 6">
                  <a:extLst>
                    <a:ext uri="{FF2B5EF4-FFF2-40B4-BE49-F238E27FC236}">
                      <a16:creationId xmlns:a16="http://schemas.microsoft.com/office/drawing/2014/main" id="{5334FF11-BED8-4735-BA0C-E370F154A154}"/>
                    </a:ext>
                  </a:extLst>
                </p:cNvPr>
                <p:cNvSpPr/>
                <p:nvPr/>
              </p:nvSpPr>
              <p:spPr>
                <a:xfrm>
                  <a:off x="5480547" y="5079106"/>
                  <a:ext cx="754041" cy="1039639"/>
                </a:xfrm>
                <a:custGeom>
                  <a:avLst/>
                  <a:gdLst>
                    <a:gd name="connsiteX0" fmla="*/ 688472 w 688471"/>
                    <a:gd name="connsiteY0" fmla="*/ 687774 h 949234"/>
                    <a:gd name="connsiteX1" fmla="*/ 688472 w 688471"/>
                    <a:gd name="connsiteY1" fmla="*/ 949235 h 949234"/>
                    <a:gd name="connsiteX2" fmla="*/ 73989 w 688471"/>
                    <a:gd name="connsiteY2" fmla="*/ 0 h 949234"/>
                    <a:gd name="connsiteX3" fmla="*/ 688472 w 688471"/>
                    <a:gd name="connsiteY3" fmla="*/ 687774 h 949234"/>
                  </a:gdLst>
                  <a:ahLst/>
                  <a:cxnLst>
                    <a:cxn ang="0">
                      <a:pos x="connsiteX0" y="connsiteY0"/>
                    </a:cxn>
                    <a:cxn ang="0">
                      <a:pos x="connsiteX1" y="connsiteY1"/>
                    </a:cxn>
                    <a:cxn ang="0">
                      <a:pos x="connsiteX2" y="connsiteY2"/>
                    </a:cxn>
                    <a:cxn ang="0">
                      <a:pos x="connsiteX3" y="connsiteY3"/>
                    </a:cxn>
                  </a:cxnLst>
                  <a:rect l="l" t="t" r="r" b="b"/>
                  <a:pathLst>
                    <a:path w="688471" h="949234">
                      <a:moveTo>
                        <a:pt x="688472" y="687774"/>
                      </a:moveTo>
                      <a:lnTo>
                        <a:pt x="688472" y="949235"/>
                      </a:lnTo>
                      <a:cubicBezTo>
                        <a:pt x="-314388" y="313474"/>
                        <a:pt x="73989" y="0"/>
                        <a:pt x="73989" y="0"/>
                      </a:cubicBezTo>
                      <a:cubicBezTo>
                        <a:pt x="509651" y="180540"/>
                        <a:pt x="688472" y="687774"/>
                        <a:pt x="688472" y="687774"/>
                      </a:cubicBezTo>
                      <a:close/>
                    </a:path>
                  </a:pathLst>
                </a:custGeom>
                <a:solidFill>
                  <a:schemeClr val="accent4"/>
                </a:solidFill>
                <a:ln w="107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50" name="Freeform: Shape 7">
                  <a:extLst>
                    <a:ext uri="{FF2B5EF4-FFF2-40B4-BE49-F238E27FC236}">
                      <a16:creationId xmlns:a16="http://schemas.microsoft.com/office/drawing/2014/main" id="{08732798-081A-4FDD-A0A0-FC95A441AC77}"/>
                    </a:ext>
                  </a:extLst>
                </p:cNvPr>
                <p:cNvSpPr/>
                <p:nvPr/>
              </p:nvSpPr>
              <p:spPr>
                <a:xfrm>
                  <a:off x="5480547" y="5079106"/>
                  <a:ext cx="754041" cy="1039639"/>
                </a:xfrm>
                <a:custGeom>
                  <a:avLst/>
                  <a:gdLst>
                    <a:gd name="connsiteX0" fmla="*/ 688472 w 688471"/>
                    <a:gd name="connsiteY0" fmla="*/ 898834 h 949234"/>
                    <a:gd name="connsiteX1" fmla="*/ 688472 w 688471"/>
                    <a:gd name="connsiteY1" fmla="*/ 949235 h 949234"/>
                    <a:gd name="connsiteX2" fmla="*/ 73989 w 688471"/>
                    <a:gd name="connsiteY2" fmla="*/ 0 h 949234"/>
                    <a:gd name="connsiteX3" fmla="*/ 688472 w 688471"/>
                    <a:gd name="connsiteY3" fmla="*/ 898834 h 949234"/>
                  </a:gdLst>
                  <a:ahLst/>
                  <a:cxnLst>
                    <a:cxn ang="0">
                      <a:pos x="connsiteX0" y="connsiteY0"/>
                    </a:cxn>
                    <a:cxn ang="0">
                      <a:pos x="connsiteX1" y="connsiteY1"/>
                    </a:cxn>
                    <a:cxn ang="0">
                      <a:pos x="connsiteX2" y="connsiteY2"/>
                    </a:cxn>
                    <a:cxn ang="0">
                      <a:pos x="connsiteX3" y="connsiteY3"/>
                    </a:cxn>
                  </a:cxnLst>
                  <a:rect l="l" t="t" r="r" b="b"/>
                  <a:pathLst>
                    <a:path w="688471" h="949234">
                      <a:moveTo>
                        <a:pt x="688472" y="898834"/>
                      </a:moveTo>
                      <a:lnTo>
                        <a:pt x="688472" y="949235"/>
                      </a:lnTo>
                      <a:cubicBezTo>
                        <a:pt x="-314388" y="313474"/>
                        <a:pt x="73989" y="0"/>
                        <a:pt x="73989" y="0"/>
                      </a:cubicBezTo>
                      <a:lnTo>
                        <a:pt x="688472" y="898834"/>
                      </a:lnTo>
                      <a:close/>
                    </a:path>
                  </a:pathLst>
                </a:custGeom>
                <a:solidFill>
                  <a:schemeClr val="accent4">
                    <a:lumMod val="60000"/>
                    <a:lumOff val="40000"/>
                  </a:schemeClr>
                </a:solidFill>
                <a:ln w="107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51" name="Freeform: Shape 8">
                  <a:extLst>
                    <a:ext uri="{FF2B5EF4-FFF2-40B4-BE49-F238E27FC236}">
                      <a16:creationId xmlns:a16="http://schemas.microsoft.com/office/drawing/2014/main" id="{C49DEF0C-D483-420D-BC47-8B8C190E328C}"/>
                    </a:ext>
                  </a:extLst>
                </p:cNvPr>
                <p:cNvSpPr/>
                <p:nvPr/>
              </p:nvSpPr>
              <p:spPr>
                <a:xfrm rot="18315517">
                  <a:off x="6008800" y="4850087"/>
                  <a:ext cx="1054528" cy="23541"/>
                </a:xfrm>
                <a:custGeom>
                  <a:avLst/>
                  <a:gdLst>
                    <a:gd name="connsiteX0" fmla="*/ 0 w 962828"/>
                    <a:gd name="connsiteY0" fmla="*/ 0 h 21494"/>
                    <a:gd name="connsiteX1" fmla="*/ 962829 w 962828"/>
                    <a:gd name="connsiteY1" fmla="*/ 0 h 21494"/>
                    <a:gd name="connsiteX2" fmla="*/ 962829 w 962828"/>
                    <a:gd name="connsiteY2" fmla="*/ 21494 h 21494"/>
                    <a:gd name="connsiteX3" fmla="*/ 0 w 962828"/>
                    <a:gd name="connsiteY3" fmla="*/ 21494 h 21494"/>
                  </a:gdLst>
                  <a:ahLst/>
                  <a:cxnLst>
                    <a:cxn ang="0">
                      <a:pos x="connsiteX0" y="connsiteY0"/>
                    </a:cxn>
                    <a:cxn ang="0">
                      <a:pos x="connsiteX1" y="connsiteY1"/>
                    </a:cxn>
                    <a:cxn ang="0">
                      <a:pos x="connsiteX2" y="connsiteY2"/>
                    </a:cxn>
                    <a:cxn ang="0">
                      <a:pos x="connsiteX3" y="connsiteY3"/>
                    </a:cxn>
                  </a:cxnLst>
                  <a:rect l="l" t="t" r="r" b="b"/>
                  <a:pathLst>
                    <a:path w="962828" h="21494">
                      <a:moveTo>
                        <a:pt x="0" y="0"/>
                      </a:moveTo>
                      <a:lnTo>
                        <a:pt x="962829" y="0"/>
                      </a:lnTo>
                      <a:lnTo>
                        <a:pt x="962829" y="21494"/>
                      </a:lnTo>
                      <a:lnTo>
                        <a:pt x="0" y="21494"/>
                      </a:lnTo>
                      <a:close/>
                    </a:path>
                  </a:pathLst>
                </a:custGeom>
                <a:solidFill>
                  <a:schemeClr val="accent4"/>
                </a:solidFill>
                <a:ln w="1073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52" name="Freeform: Shape 9">
                  <a:extLst>
                    <a:ext uri="{FF2B5EF4-FFF2-40B4-BE49-F238E27FC236}">
                      <a16:creationId xmlns:a16="http://schemas.microsoft.com/office/drawing/2014/main" id="{07D3B520-288E-42EE-AAF1-51B7807EDCD0}"/>
                    </a:ext>
                  </a:extLst>
                </p:cNvPr>
                <p:cNvSpPr/>
                <p:nvPr/>
              </p:nvSpPr>
              <p:spPr>
                <a:xfrm rot="18782811">
                  <a:off x="5826000" y="3735199"/>
                  <a:ext cx="23540" cy="1078369"/>
                </a:xfrm>
                <a:custGeom>
                  <a:avLst/>
                  <a:gdLst>
                    <a:gd name="connsiteX0" fmla="*/ 0 w 21493"/>
                    <a:gd name="connsiteY0" fmla="*/ 0 h 984596"/>
                    <a:gd name="connsiteX1" fmla="*/ 21493 w 21493"/>
                    <a:gd name="connsiteY1" fmla="*/ 0 h 984596"/>
                    <a:gd name="connsiteX2" fmla="*/ 21493 w 21493"/>
                    <a:gd name="connsiteY2" fmla="*/ 984596 h 984596"/>
                    <a:gd name="connsiteX3" fmla="*/ 0 w 21493"/>
                    <a:gd name="connsiteY3" fmla="*/ 984596 h 984596"/>
                  </a:gdLst>
                  <a:ahLst/>
                  <a:cxnLst>
                    <a:cxn ang="0">
                      <a:pos x="connsiteX0" y="connsiteY0"/>
                    </a:cxn>
                    <a:cxn ang="0">
                      <a:pos x="connsiteX1" y="connsiteY1"/>
                    </a:cxn>
                    <a:cxn ang="0">
                      <a:pos x="connsiteX2" y="connsiteY2"/>
                    </a:cxn>
                    <a:cxn ang="0">
                      <a:pos x="connsiteX3" y="connsiteY3"/>
                    </a:cxn>
                  </a:cxnLst>
                  <a:rect l="l" t="t" r="r" b="b"/>
                  <a:pathLst>
                    <a:path w="21493" h="984596">
                      <a:moveTo>
                        <a:pt x="0" y="0"/>
                      </a:moveTo>
                      <a:lnTo>
                        <a:pt x="21493" y="0"/>
                      </a:lnTo>
                      <a:lnTo>
                        <a:pt x="21493" y="984596"/>
                      </a:lnTo>
                      <a:lnTo>
                        <a:pt x="0" y="984596"/>
                      </a:lnTo>
                      <a:close/>
                    </a:path>
                  </a:pathLst>
                </a:custGeom>
                <a:solidFill>
                  <a:schemeClr val="accent4"/>
                </a:solidFill>
                <a:ln w="107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53" name="Freeform: Shape 10">
                  <a:extLst>
                    <a:ext uri="{FF2B5EF4-FFF2-40B4-BE49-F238E27FC236}">
                      <a16:creationId xmlns:a16="http://schemas.microsoft.com/office/drawing/2014/main" id="{6B1813FE-40F4-402D-B162-525BCED2378E}"/>
                    </a:ext>
                  </a:extLst>
                </p:cNvPr>
                <p:cNvSpPr/>
                <p:nvPr/>
              </p:nvSpPr>
              <p:spPr>
                <a:xfrm>
                  <a:off x="5809717" y="3358338"/>
                  <a:ext cx="424166" cy="893456"/>
                </a:xfrm>
                <a:custGeom>
                  <a:avLst/>
                  <a:gdLst>
                    <a:gd name="connsiteX0" fmla="*/ 387282 w 387281"/>
                    <a:gd name="connsiteY0" fmla="*/ 557956 h 815763"/>
                    <a:gd name="connsiteX1" fmla="*/ 387282 w 387281"/>
                    <a:gd name="connsiteY1" fmla="*/ 815764 h 815763"/>
                    <a:gd name="connsiteX2" fmla="*/ 386422 w 387281"/>
                    <a:gd name="connsiteY2" fmla="*/ 815012 h 815763"/>
                    <a:gd name="connsiteX3" fmla="*/ 25556 w 387281"/>
                    <a:gd name="connsiteY3" fmla="*/ 0 h 815763"/>
                    <a:gd name="connsiteX4" fmla="*/ 387282 w 387281"/>
                    <a:gd name="connsiteY4" fmla="*/ 557956 h 815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7281" h="815763">
                      <a:moveTo>
                        <a:pt x="387282" y="557956"/>
                      </a:moveTo>
                      <a:lnTo>
                        <a:pt x="387282" y="815764"/>
                      </a:lnTo>
                      <a:cubicBezTo>
                        <a:pt x="387067" y="815549"/>
                        <a:pt x="386637" y="815227"/>
                        <a:pt x="386422" y="815012"/>
                      </a:cubicBezTo>
                      <a:cubicBezTo>
                        <a:pt x="-143163" y="348508"/>
                        <a:pt x="25556" y="0"/>
                        <a:pt x="25556" y="0"/>
                      </a:cubicBezTo>
                      <a:cubicBezTo>
                        <a:pt x="275411" y="166570"/>
                        <a:pt x="387282" y="557956"/>
                        <a:pt x="387282" y="557956"/>
                      </a:cubicBezTo>
                      <a:close/>
                    </a:path>
                  </a:pathLst>
                </a:custGeom>
                <a:solidFill>
                  <a:schemeClr val="accent4">
                    <a:lumMod val="60000"/>
                    <a:lumOff val="40000"/>
                  </a:schemeClr>
                </a:solidFill>
                <a:ln w="107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54" name="Freeform: Shape 11">
                  <a:extLst>
                    <a:ext uri="{FF2B5EF4-FFF2-40B4-BE49-F238E27FC236}">
                      <a16:creationId xmlns:a16="http://schemas.microsoft.com/office/drawing/2014/main" id="{26BDA9C1-01E8-4696-92A8-179E6F200535}"/>
                    </a:ext>
                  </a:extLst>
                </p:cNvPr>
                <p:cNvSpPr/>
                <p:nvPr/>
              </p:nvSpPr>
              <p:spPr>
                <a:xfrm>
                  <a:off x="5809717" y="3358338"/>
                  <a:ext cx="426167" cy="892751"/>
                </a:xfrm>
                <a:custGeom>
                  <a:avLst/>
                  <a:gdLst>
                    <a:gd name="connsiteX0" fmla="*/ 389109 w 389108"/>
                    <a:gd name="connsiteY0" fmla="*/ 766438 h 815119"/>
                    <a:gd name="connsiteX1" fmla="*/ 387282 w 389108"/>
                    <a:gd name="connsiteY1" fmla="*/ 800289 h 815119"/>
                    <a:gd name="connsiteX2" fmla="*/ 386422 w 389108"/>
                    <a:gd name="connsiteY2" fmla="*/ 815119 h 815119"/>
                    <a:gd name="connsiteX3" fmla="*/ 25556 w 389108"/>
                    <a:gd name="connsiteY3" fmla="*/ 0 h 815119"/>
                    <a:gd name="connsiteX4" fmla="*/ 387282 w 389108"/>
                    <a:gd name="connsiteY4" fmla="*/ 762461 h 815119"/>
                    <a:gd name="connsiteX5" fmla="*/ 389109 w 389108"/>
                    <a:gd name="connsiteY5" fmla="*/ 766438 h 815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9108" h="815119">
                      <a:moveTo>
                        <a:pt x="389109" y="766438"/>
                      </a:moveTo>
                      <a:lnTo>
                        <a:pt x="387282" y="800289"/>
                      </a:lnTo>
                      <a:lnTo>
                        <a:pt x="386422" y="815119"/>
                      </a:lnTo>
                      <a:cubicBezTo>
                        <a:pt x="-143163" y="348508"/>
                        <a:pt x="25556" y="0"/>
                        <a:pt x="25556" y="0"/>
                      </a:cubicBezTo>
                      <a:lnTo>
                        <a:pt x="387282" y="762461"/>
                      </a:lnTo>
                      <a:lnTo>
                        <a:pt x="389109" y="766438"/>
                      </a:lnTo>
                      <a:close/>
                    </a:path>
                  </a:pathLst>
                </a:custGeom>
                <a:solidFill>
                  <a:schemeClr val="accent4"/>
                </a:solidFill>
                <a:ln w="107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55" name="Freeform: Shape 12">
                  <a:extLst>
                    <a:ext uri="{FF2B5EF4-FFF2-40B4-BE49-F238E27FC236}">
                      <a16:creationId xmlns:a16="http://schemas.microsoft.com/office/drawing/2014/main" id="{1E28D819-60A5-4EA0-81E9-703B0C67FBFC}"/>
                    </a:ext>
                  </a:extLst>
                </p:cNvPr>
                <p:cNvSpPr/>
                <p:nvPr/>
              </p:nvSpPr>
              <p:spPr>
                <a:xfrm>
                  <a:off x="6233765" y="3358338"/>
                  <a:ext cx="424166" cy="893456"/>
                </a:xfrm>
                <a:custGeom>
                  <a:avLst/>
                  <a:gdLst>
                    <a:gd name="connsiteX0" fmla="*/ 0 w 387281"/>
                    <a:gd name="connsiteY0" fmla="*/ 557956 h 815763"/>
                    <a:gd name="connsiteX1" fmla="*/ 0 w 387281"/>
                    <a:gd name="connsiteY1" fmla="*/ 815764 h 815763"/>
                    <a:gd name="connsiteX2" fmla="*/ 860 w 387281"/>
                    <a:gd name="connsiteY2" fmla="*/ 815012 h 815763"/>
                    <a:gd name="connsiteX3" fmla="*/ 361726 w 387281"/>
                    <a:gd name="connsiteY3" fmla="*/ 0 h 815763"/>
                    <a:gd name="connsiteX4" fmla="*/ 0 w 387281"/>
                    <a:gd name="connsiteY4" fmla="*/ 557956 h 815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7281" h="815763">
                      <a:moveTo>
                        <a:pt x="0" y="557956"/>
                      </a:moveTo>
                      <a:lnTo>
                        <a:pt x="0" y="815764"/>
                      </a:lnTo>
                      <a:cubicBezTo>
                        <a:pt x="215" y="815549"/>
                        <a:pt x="645" y="815227"/>
                        <a:pt x="860" y="815012"/>
                      </a:cubicBezTo>
                      <a:cubicBezTo>
                        <a:pt x="530445" y="348508"/>
                        <a:pt x="361726" y="0"/>
                        <a:pt x="361726" y="0"/>
                      </a:cubicBezTo>
                      <a:cubicBezTo>
                        <a:pt x="111871" y="166570"/>
                        <a:pt x="0" y="557956"/>
                        <a:pt x="0" y="557956"/>
                      </a:cubicBezTo>
                      <a:close/>
                    </a:path>
                  </a:pathLst>
                </a:custGeom>
                <a:solidFill>
                  <a:schemeClr val="accent4">
                    <a:lumMod val="60000"/>
                    <a:lumOff val="40000"/>
                  </a:schemeClr>
                </a:solidFill>
                <a:ln w="107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56" name="Freeform: Shape 13">
                  <a:extLst>
                    <a:ext uri="{FF2B5EF4-FFF2-40B4-BE49-F238E27FC236}">
                      <a16:creationId xmlns:a16="http://schemas.microsoft.com/office/drawing/2014/main" id="{BFAF9BCC-59BE-4823-8B68-33ACB1A8DE45}"/>
                    </a:ext>
                  </a:extLst>
                </p:cNvPr>
                <p:cNvSpPr/>
                <p:nvPr/>
              </p:nvSpPr>
              <p:spPr>
                <a:xfrm>
                  <a:off x="6231647" y="3358456"/>
                  <a:ext cx="426167" cy="892633"/>
                </a:xfrm>
                <a:custGeom>
                  <a:avLst/>
                  <a:gdLst>
                    <a:gd name="connsiteX0" fmla="*/ 0 w 389108"/>
                    <a:gd name="connsiteY0" fmla="*/ 766330 h 815011"/>
                    <a:gd name="connsiteX1" fmla="*/ 1827 w 389108"/>
                    <a:gd name="connsiteY1" fmla="*/ 800181 h 815011"/>
                    <a:gd name="connsiteX2" fmla="*/ 2687 w 389108"/>
                    <a:gd name="connsiteY2" fmla="*/ 815012 h 815011"/>
                    <a:gd name="connsiteX3" fmla="*/ 363553 w 389108"/>
                    <a:gd name="connsiteY3" fmla="*/ 0 h 815011"/>
                    <a:gd name="connsiteX4" fmla="*/ 1827 w 389108"/>
                    <a:gd name="connsiteY4" fmla="*/ 762461 h 815011"/>
                    <a:gd name="connsiteX5" fmla="*/ 0 w 389108"/>
                    <a:gd name="connsiteY5" fmla="*/ 766330 h 815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9108" h="815011">
                      <a:moveTo>
                        <a:pt x="0" y="766330"/>
                      </a:moveTo>
                      <a:lnTo>
                        <a:pt x="1827" y="800181"/>
                      </a:lnTo>
                      <a:lnTo>
                        <a:pt x="2687" y="815012"/>
                      </a:lnTo>
                      <a:cubicBezTo>
                        <a:pt x="532272" y="348508"/>
                        <a:pt x="363553" y="0"/>
                        <a:pt x="363553" y="0"/>
                      </a:cubicBezTo>
                      <a:lnTo>
                        <a:pt x="1827" y="762461"/>
                      </a:lnTo>
                      <a:lnTo>
                        <a:pt x="0" y="766330"/>
                      </a:lnTo>
                      <a:close/>
                    </a:path>
                  </a:pathLst>
                </a:custGeom>
                <a:solidFill>
                  <a:schemeClr val="accent4"/>
                </a:solidFill>
                <a:ln w="107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57" name="Freeform: Shape 14">
                  <a:extLst>
                    <a:ext uri="{FF2B5EF4-FFF2-40B4-BE49-F238E27FC236}">
                      <a16:creationId xmlns:a16="http://schemas.microsoft.com/office/drawing/2014/main" id="{47D8D7F3-2B11-4515-B4A5-47491A236090}"/>
                    </a:ext>
                  </a:extLst>
                </p:cNvPr>
                <p:cNvSpPr/>
                <p:nvPr/>
              </p:nvSpPr>
              <p:spPr>
                <a:xfrm>
                  <a:off x="6219877" y="3170961"/>
                  <a:ext cx="23539" cy="2950256"/>
                </a:xfrm>
                <a:custGeom>
                  <a:avLst/>
                  <a:gdLst>
                    <a:gd name="connsiteX0" fmla="*/ 0 w 21492"/>
                    <a:gd name="connsiteY0" fmla="*/ 0 h 2693707"/>
                    <a:gd name="connsiteX1" fmla="*/ 21493 w 21492"/>
                    <a:gd name="connsiteY1" fmla="*/ 0 h 2693707"/>
                    <a:gd name="connsiteX2" fmla="*/ 21493 w 21492"/>
                    <a:gd name="connsiteY2" fmla="*/ 2693708 h 2693707"/>
                    <a:gd name="connsiteX3" fmla="*/ 0 w 21492"/>
                    <a:gd name="connsiteY3" fmla="*/ 2693708 h 2693707"/>
                  </a:gdLst>
                  <a:ahLst/>
                  <a:cxnLst>
                    <a:cxn ang="0">
                      <a:pos x="connsiteX0" y="connsiteY0"/>
                    </a:cxn>
                    <a:cxn ang="0">
                      <a:pos x="connsiteX1" y="connsiteY1"/>
                    </a:cxn>
                    <a:cxn ang="0">
                      <a:pos x="connsiteX2" y="connsiteY2"/>
                    </a:cxn>
                    <a:cxn ang="0">
                      <a:pos x="connsiteX3" y="connsiteY3"/>
                    </a:cxn>
                  </a:cxnLst>
                  <a:rect l="l" t="t" r="r" b="b"/>
                  <a:pathLst>
                    <a:path w="21492" h="2693707">
                      <a:moveTo>
                        <a:pt x="0" y="0"/>
                      </a:moveTo>
                      <a:lnTo>
                        <a:pt x="21493" y="0"/>
                      </a:lnTo>
                      <a:lnTo>
                        <a:pt x="21493" y="2693708"/>
                      </a:lnTo>
                      <a:lnTo>
                        <a:pt x="0" y="2693708"/>
                      </a:lnTo>
                      <a:close/>
                    </a:path>
                  </a:pathLst>
                </a:custGeom>
                <a:solidFill>
                  <a:schemeClr val="accent4"/>
                </a:solidFill>
                <a:ln w="107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58" name="Freeform: Shape 15">
                  <a:extLst>
                    <a:ext uri="{FF2B5EF4-FFF2-40B4-BE49-F238E27FC236}">
                      <a16:creationId xmlns:a16="http://schemas.microsoft.com/office/drawing/2014/main" id="{A93B5A5E-380B-4371-8834-8F0D6145DEE8}"/>
                    </a:ext>
                  </a:extLst>
                </p:cNvPr>
                <p:cNvSpPr/>
                <p:nvPr/>
              </p:nvSpPr>
              <p:spPr>
                <a:xfrm rot="16751690">
                  <a:off x="6131732" y="3085325"/>
                  <a:ext cx="202453" cy="202453"/>
                </a:xfrm>
                <a:custGeom>
                  <a:avLst/>
                  <a:gdLst>
                    <a:gd name="connsiteX0" fmla="*/ 184848 w 184848"/>
                    <a:gd name="connsiteY0" fmla="*/ 92424 h 184848"/>
                    <a:gd name="connsiteX1" fmla="*/ 92424 w 184848"/>
                    <a:gd name="connsiteY1" fmla="*/ 184848 h 184848"/>
                    <a:gd name="connsiteX2" fmla="*/ 0 w 184848"/>
                    <a:gd name="connsiteY2" fmla="*/ 92424 h 184848"/>
                    <a:gd name="connsiteX3" fmla="*/ 92424 w 184848"/>
                    <a:gd name="connsiteY3" fmla="*/ 0 h 184848"/>
                    <a:gd name="connsiteX4" fmla="*/ 184848 w 184848"/>
                    <a:gd name="connsiteY4" fmla="*/ 92424 h 1848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4848" h="184848">
                      <a:moveTo>
                        <a:pt x="184848" y="92424"/>
                      </a:moveTo>
                      <a:cubicBezTo>
                        <a:pt x="184848" y="143469"/>
                        <a:pt x="143469" y="184848"/>
                        <a:pt x="92424" y="184848"/>
                      </a:cubicBezTo>
                      <a:cubicBezTo>
                        <a:pt x="41380" y="184848"/>
                        <a:pt x="0" y="143469"/>
                        <a:pt x="0" y="92424"/>
                      </a:cubicBezTo>
                      <a:cubicBezTo>
                        <a:pt x="0" y="41380"/>
                        <a:pt x="41380" y="0"/>
                        <a:pt x="92424" y="0"/>
                      </a:cubicBezTo>
                      <a:cubicBezTo>
                        <a:pt x="143469" y="0"/>
                        <a:pt x="184848" y="41380"/>
                        <a:pt x="184848" y="92424"/>
                      </a:cubicBezTo>
                      <a:close/>
                    </a:path>
                  </a:pathLst>
                </a:custGeom>
                <a:solidFill>
                  <a:srgbClr val="232323"/>
                </a:solidFill>
                <a:ln w="1073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59" name="Freeform: Shape 16">
                  <a:extLst>
                    <a:ext uri="{FF2B5EF4-FFF2-40B4-BE49-F238E27FC236}">
                      <a16:creationId xmlns:a16="http://schemas.microsoft.com/office/drawing/2014/main" id="{A0E090BC-661F-4962-A978-221E4B2FDC16}"/>
                    </a:ext>
                  </a:extLst>
                </p:cNvPr>
                <p:cNvSpPr/>
                <p:nvPr/>
              </p:nvSpPr>
              <p:spPr>
                <a:xfrm rot="18900000">
                  <a:off x="5399522" y="3836427"/>
                  <a:ext cx="202441" cy="202441"/>
                </a:xfrm>
                <a:custGeom>
                  <a:avLst/>
                  <a:gdLst>
                    <a:gd name="connsiteX0" fmla="*/ 184837 w 184837"/>
                    <a:gd name="connsiteY0" fmla="*/ 92419 h 184837"/>
                    <a:gd name="connsiteX1" fmla="*/ 92419 w 184837"/>
                    <a:gd name="connsiteY1" fmla="*/ 184837 h 184837"/>
                    <a:gd name="connsiteX2" fmla="*/ 0 w 184837"/>
                    <a:gd name="connsiteY2" fmla="*/ 92419 h 184837"/>
                    <a:gd name="connsiteX3" fmla="*/ 92419 w 184837"/>
                    <a:gd name="connsiteY3" fmla="*/ 0 h 184837"/>
                    <a:gd name="connsiteX4" fmla="*/ 184837 w 184837"/>
                    <a:gd name="connsiteY4" fmla="*/ 92419 h 1848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4837" h="184837">
                      <a:moveTo>
                        <a:pt x="184837" y="92419"/>
                      </a:moveTo>
                      <a:cubicBezTo>
                        <a:pt x="184837" y="143460"/>
                        <a:pt x="143460" y="184837"/>
                        <a:pt x="92419" y="184837"/>
                      </a:cubicBezTo>
                      <a:cubicBezTo>
                        <a:pt x="41377" y="184837"/>
                        <a:pt x="0" y="143460"/>
                        <a:pt x="0" y="92419"/>
                      </a:cubicBezTo>
                      <a:cubicBezTo>
                        <a:pt x="0" y="41377"/>
                        <a:pt x="41377" y="0"/>
                        <a:pt x="92419" y="0"/>
                      </a:cubicBezTo>
                      <a:cubicBezTo>
                        <a:pt x="143460" y="0"/>
                        <a:pt x="184837" y="41377"/>
                        <a:pt x="184837" y="92419"/>
                      </a:cubicBezTo>
                      <a:close/>
                    </a:path>
                  </a:pathLst>
                </a:custGeom>
                <a:solidFill>
                  <a:srgbClr val="232323"/>
                </a:solidFill>
                <a:ln w="107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nvGrpSpPr>
                <p:cNvPr id="60" name="Group 95">
                  <a:extLst>
                    <a:ext uri="{FF2B5EF4-FFF2-40B4-BE49-F238E27FC236}">
                      <a16:creationId xmlns:a16="http://schemas.microsoft.com/office/drawing/2014/main" id="{67873C36-47F5-459B-9579-1202F24F29E5}"/>
                    </a:ext>
                  </a:extLst>
                </p:cNvPr>
                <p:cNvGrpSpPr/>
                <p:nvPr/>
              </p:nvGrpSpPr>
              <p:grpSpPr>
                <a:xfrm>
                  <a:off x="6621335" y="3661548"/>
                  <a:ext cx="867236" cy="894747"/>
                  <a:chOff x="6621335" y="3661548"/>
                  <a:chExt cx="867236" cy="894747"/>
                </a:xfrm>
              </p:grpSpPr>
              <p:sp>
                <p:nvSpPr>
                  <p:cNvPr id="77" name="Freeform: Shape 17">
                    <a:extLst>
                      <a:ext uri="{FF2B5EF4-FFF2-40B4-BE49-F238E27FC236}">
                        <a16:creationId xmlns:a16="http://schemas.microsoft.com/office/drawing/2014/main" id="{865B980B-7627-4106-8C5C-316E3C7758E8}"/>
                      </a:ext>
                    </a:extLst>
                  </p:cNvPr>
                  <p:cNvSpPr/>
                  <p:nvPr/>
                </p:nvSpPr>
                <p:spPr>
                  <a:xfrm rot="16751690">
                    <a:off x="6725875" y="4353842"/>
                    <a:ext cx="202453" cy="202453"/>
                  </a:xfrm>
                  <a:custGeom>
                    <a:avLst/>
                    <a:gdLst>
                      <a:gd name="connsiteX0" fmla="*/ 184848 w 184848"/>
                      <a:gd name="connsiteY0" fmla="*/ 92424 h 184848"/>
                      <a:gd name="connsiteX1" fmla="*/ 92424 w 184848"/>
                      <a:gd name="connsiteY1" fmla="*/ 184848 h 184848"/>
                      <a:gd name="connsiteX2" fmla="*/ 0 w 184848"/>
                      <a:gd name="connsiteY2" fmla="*/ 92424 h 184848"/>
                      <a:gd name="connsiteX3" fmla="*/ 92424 w 184848"/>
                      <a:gd name="connsiteY3" fmla="*/ 0 h 184848"/>
                      <a:gd name="connsiteX4" fmla="*/ 184848 w 184848"/>
                      <a:gd name="connsiteY4" fmla="*/ 92424 h 1848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4848" h="184848">
                        <a:moveTo>
                          <a:pt x="184848" y="92424"/>
                        </a:moveTo>
                        <a:cubicBezTo>
                          <a:pt x="184848" y="143469"/>
                          <a:pt x="143469" y="184848"/>
                          <a:pt x="92424" y="184848"/>
                        </a:cubicBezTo>
                        <a:cubicBezTo>
                          <a:pt x="41380" y="184848"/>
                          <a:pt x="0" y="143469"/>
                          <a:pt x="0" y="92424"/>
                        </a:cubicBezTo>
                        <a:cubicBezTo>
                          <a:pt x="0" y="41380"/>
                          <a:pt x="41380" y="0"/>
                          <a:pt x="92424" y="0"/>
                        </a:cubicBezTo>
                        <a:cubicBezTo>
                          <a:pt x="143469" y="0"/>
                          <a:pt x="184848" y="41380"/>
                          <a:pt x="184848" y="92424"/>
                        </a:cubicBezTo>
                        <a:close/>
                      </a:path>
                    </a:pathLst>
                  </a:custGeom>
                  <a:solidFill>
                    <a:srgbClr val="232323"/>
                  </a:solidFill>
                  <a:ln w="1073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78" name="Freeform: Shape 18">
                    <a:extLst>
                      <a:ext uri="{FF2B5EF4-FFF2-40B4-BE49-F238E27FC236}">
                        <a16:creationId xmlns:a16="http://schemas.microsoft.com/office/drawing/2014/main" id="{6DFAA177-C8C8-48F1-A06E-6B80BB2A54EA}"/>
                      </a:ext>
                    </a:extLst>
                  </p:cNvPr>
                  <p:cNvSpPr/>
                  <p:nvPr/>
                </p:nvSpPr>
                <p:spPr>
                  <a:xfrm rot="17119136">
                    <a:off x="6621335" y="3661548"/>
                    <a:ext cx="867236" cy="867236"/>
                  </a:xfrm>
                  <a:custGeom>
                    <a:avLst/>
                    <a:gdLst>
                      <a:gd name="connsiteX0" fmla="*/ 791824 w 791823"/>
                      <a:gd name="connsiteY0" fmla="*/ 395912 h 791823"/>
                      <a:gd name="connsiteX1" fmla="*/ 395912 w 791823"/>
                      <a:gd name="connsiteY1" fmla="*/ 791824 h 791823"/>
                      <a:gd name="connsiteX2" fmla="*/ 0 w 791823"/>
                      <a:gd name="connsiteY2" fmla="*/ 395912 h 791823"/>
                      <a:gd name="connsiteX3" fmla="*/ 395912 w 791823"/>
                      <a:gd name="connsiteY3" fmla="*/ 0 h 791823"/>
                      <a:gd name="connsiteX4" fmla="*/ 791824 w 791823"/>
                      <a:gd name="connsiteY4" fmla="*/ 395912 h 7918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1823" h="791823">
                        <a:moveTo>
                          <a:pt x="791824" y="395912"/>
                        </a:moveTo>
                        <a:cubicBezTo>
                          <a:pt x="791824" y="614568"/>
                          <a:pt x="614568" y="791824"/>
                          <a:pt x="395912" y="791824"/>
                        </a:cubicBezTo>
                        <a:cubicBezTo>
                          <a:pt x="177256" y="791824"/>
                          <a:pt x="0" y="614568"/>
                          <a:pt x="0" y="395912"/>
                        </a:cubicBezTo>
                        <a:cubicBezTo>
                          <a:pt x="0" y="177256"/>
                          <a:pt x="177256" y="0"/>
                          <a:pt x="395912" y="0"/>
                        </a:cubicBezTo>
                        <a:cubicBezTo>
                          <a:pt x="614568" y="0"/>
                          <a:pt x="791824" y="177256"/>
                          <a:pt x="791824" y="395912"/>
                        </a:cubicBezTo>
                        <a:close/>
                      </a:path>
                    </a:pathLst>
                  </a:custGeom>
                  <a:solidFill>
                    <a:schemeClr val="accent4"/>
                  </a:solidFill>
                  <a:ln w="107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79" name="Freeform: Shape 19">
                    <a:extLst>
                      <a:ext uri="{FF2B5EF4-FFF2-40B4-BE49-F238E27FC236}">
                        <a16:creationId xmlns:a16="http://schemas.microsoft.com/office/drawing/2014/main" id="{CF6DEA93-C532-4C1E-8C34-73388E0E4DDD}"/>
                      </a:ext>
                    </a:extLst>
                  </p:cNvPr>
                  <p:cNvSpPr/>
                  <p:nvPr/>
                </p:nvSpPr>
                <p:spPr>
                  <a:xfrm>
                    <a:off x="6709625" y="3749925"/>
                    <a:ext cx="690425" cy="690425"/>
                  </a:xfrm>
                  <a:custGeom>
                    <a:avLst/>
                    <a:gdLst>
                      <a:gd name="connsiteX0" fmla="*/ 315194 w 630387"/>
                      <a:gd name="connsiteY0" fmla="*/ 630387 h 630387"/>
                      <a:gd name="connsiteX1" fmla="*/ 0 w 630387"/>
                      <a:gd name="connsiteY1" fmla="*/ 315194 h 630387"/>
                      <a:gd name="connsiteX2" fmla="*/ 315194 w 630387"/>
                      <a:gd name="connsiteY2" fmla="*/ 0 h 630387"/>
                      <a:gd name="connsiteX3" fmla="*/ 630387 w 630387"/>
                      <a:gd name="connsiteY3" fmla="*/ 315194 h 630387"/>
                      <a:gd name="connsiteX4" fmla="*/ 315194 w 630387"/>
                      <a:gd name="connsiteY4" fmla="*/ 630387 h 630387"/>
                      <a:gd name="connsiteX5" fmla="*/ 315194 w 630387"/>
                      <a:gd name="connsiteY5" fmla="*/ 10746 h 630387"/>
                      <a:gd name="connsiteX6" fmla="*/ 10746 w 630387"/>
                      <a:gd name="connsiteY6" fmla="*/ 315194 h 630387"/>
                      <a:gd name="connsiteX7" fmla="*/ 315194 w 630387"/>
                      <a:gd name="connsiteY7" fmla="*/ 619641 h 630387"/>
                      <a:gd name="connsiteX8" fmla="*/ 619641 w 630387"/>
                      <a:gd name="connsiteY8" fmla="*/ 315194 h 630387"/>
                      <a:gd name="connsiteX9" fmla="*/ 315194 w 630387"/>
                      <a:gd name="connsiteY9" fmla="*/ 10746 h 630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30387" h="630387">
                        <a:moveTo>
                          <a:pt x="315194" y="630387"/>
                        </a:moveTo>
                        <a:cubicBezTo>
                          <a:pt x="141423" y="630387"/>
                          <a:pt x="0" y="488964"/>
                          <a:pt x="0" y="315194"/>
                        </a:cubicBezTo>
                        <a:cubicBezTo>
                          <a:pt x="0" y="141423"/>
                          <a:pt x="141423" y="0"/>
                          <a:pt x="315194" y="0"/>
                        </a:cubicBezTo>
                        <a:cubicBezTo>
                          <a:pt x="488964" y="0"/>
                          <a:pt x="630387" y="141423"/>
                          <a:pt x="630387" y="315194"/>
                        </a:cubicBezTo>
                        <a:cubicBezTo>
                          <a:pt x="630280" y="488964"/>
                          <a:pt x="488964" y="630387"/>
                          <a:pt x="315194" y="630387"/>
                        </a:cubicBezTo>
                        <a:close/>
                        <a:moveTo>
                          <a:pt x="315194" y="10746"/>
                        </a:moveTo>
                        <a:cubicBezTo>
                          <a:pt x="147334" y="10746"/>
                          <a:pt x="10746" y="147334"/>
                          <a:pt x="10746" y="315194"/>
                        </a:cubicBezTo>
                        <a:cubicBezTo>
                          <a:pt x="10746" y="483053"/>
                          <a:pt x="147334" y="619641"/>
                          <a:pt x="315194" y="619641"/>
                        </a:cubicBezTo>
                        <a:cubicBezTo>
                          <a:pt x="483053" y="619641"/>
                          <a:pt x="619641" y="483053"/>
                          <a:pt x="619641" y="315194"/>
                        </a:cubicBezTo>
                        <a:cubicBezTo>
                          <a:pt x="619533" y="147334"/>
                          <a:pt x="483053" y="10746"/>
                          <a:pt x="315194" y="10746"/>
                        </a:cubicBezTo>
                        <a:close/>
                      </a:path>
                    </a:pathLst>
                  </a:custGeom>
                  <a:solidFill>
                    <a:schemeClr val="accent4">
                      <a:lumMod val="75000"/>
                    </a:schemeClr>
                  </a:solidFill>
                  <a:ln w="107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80" name="Freeform: Shape 20">
                    <a:extLst>
                      <a:ext uri="{FF2B5EF4-FFF2-40B4-BE49-F238E27FC236}">
                        <a16:creationId xmlns:a16="http://schemas.microsoft.com/office/drawing/2014/main" id="{34C221AE-85E0-4956-BCC8-70DDD0E18559}"/>
                      </a:ext>
                    </a:extLst>
                  </p:cNvPr>
                  <p:cNvSpPr/>
                  <p:nvPr/>
                </p:nvSpPr>
                <p:spPr>
                  <a:xfrm>
                    <a:off x="6919836" y="3909761"/>
                    <a:ext cx="281786" cy="370165"/>
                  </a:xfrm>
                  <a:custGeom>
                    <a:avLst/>
                    <a:gdLst>
                      <a:gd name="connsiteX0" fmla="*/ 18806 w 257282"/>
                      <a:gd name="connsiteY0" fmla="*/ 194403 h 337976"/>
                      <a:gd name="connsiteX1" fmla="*/ 31380 w 257282"/>
                      <a:gd name="connsiteY1" fmla="*/ 175382 h 337976"/>
                      <a:gd name="connsiteX2" fmla="*/ 76192 w 257282"/>
                      <a:gd name="connsiteY2" fmla="*/ 205043 h 337976"/>
                      <a:gd name="connsiteX3" fmla="*/ 61685 w 257282"/>
                      <a:gd name="connsiteY3" fmla="*/ 226965 h 337976"/>
                      <a:gd name="connsiteX4" fmla="*/ 62867 w 257282"/>
                      <a:gd name="connsiteY4" fmla="*/ 266512 h 337976"/>
                      <a:gd name="connsiteX5" fmla="*/ 103381 w 257282"/>
                      <a:gd name="connsiteY5" fmla="*/ 254476 h 337976"/>
                      <a:gd name="connsiteX6" fmla="*/ 112945 w 257282"/>
                      <a:gd name="connsiteY6" fmla="*/ 229867 h 337976"/>
                      <a:gd name="connsiteX7" fmla="*/ 112515 w 257282"/>
                      <a:gd name="connsiteY7" fmla="*/ 204613 h 337976"/>
                      <a:gd name="connsiteX8" fmla="*/ 106068 w 257282"/>
                      <a:gd name="connsiteY8" fmla="*/ 179036 h 337976"/>
                      <a:gd name="connsiteX9" fmla="*/ 98115 w 257282"/>
                      <a:gd name="connsiteY9" fmla="*/ 151310 h 337976"/>
                      <a:gd name="connsiteX10" fmla="*/ 92742 w 257282"/>
                      <a:gd name="connsiteY10" fmla="*/ 122402 h 337976"/>
                      <a:gd name="connsiteX11" fmla="*/ 95429 w 257282"/>
                      <a:gd name="connsiteY11" fmla="*/ 91237 h 337976"/>
                      <a:gd name="connsiteX12" fmla="*/ 110151 w 257282"/>
                      <a:gd name="connsiteY12" fmla="*/ 58353 h 337976"/>
                      <a:gd name="connsiteX13" fmla="*/ 201066 w 257282"/>
                      <a:gd name="connsiteY13" fmla="*/ 20741 h 337976"/>
                      <a:gd name="connsiteX14" fmla="*/ 214822 w 257282"/>
                      <a:gd name="connsiteY14" fmla="*/ 0 h 337976"/>
                      <a:gd name="connsiteX15" fmla="*/ 250715 w 257282"/>
                      <a:gd name="connsiteY15" fmla="*/ 23750 h 337976"/>
                      <a:gd name="connsiteX16" fmla="*/ 236959 w 257282"/>
                      <a:gd name="connsiteY16" fmla="*/ 44490 h 337976"/>
                      <a:gd name="connsiteX17" fmla="*/ 257270 w 257282"/>
                      <a:gd name="connsiteY17" fmla="*/ 89733 h 337976"/>
                      <a:gd name="connsiteX18" fmla="*/ 238894 w 257282"/>
                      <a:gd name="connsiteY18" fmla="*/ 143358 h 337976"/>
                      <a:gd name="connsiteX19" fmla="*/ 233091 w 257282"/>
                      <a:gd name="connsiteY19" fmla="*/ 152062 h 337976"/>
                      <a:gd name="connsiteX20" fmla="*/ 191717 w 257282"/>
                      <a:gd name="connsiteY20" fmla="*/ 124766 h 337976"/>
                      <a:gd name="connsiteX21" fmla="*/ 199239 w 257282"/>
                      <a:gd name="connsiteY21" fmla="*/ 113268 h 337976"/>
                      <a:gd name="connsiteX22" fmla="*/ 195693 w 257282"/>
                      <a:gd name="connsiteY22" fmla="*/ 71356 h 337976"/>
                      <a:gd name="connsiteX23" fmla="*/ 155501 w 257282"/>
                      <a:gd name="connsiteY23" fmla="*/ 84467 h 337976"/>
                      <a:gd name="connsiteX24" fmla="*/ 146044 w 257282"/>
                      <a:gd name="connsiteY24" fmla="*/ 109184 h 337976"/>
                      <a:gd name="connsiteX25" fmla="*/ 146797 w 257282"/>
                      <a:gd name="connsiteY25" fmla="*/ 134653 h 337976"/>
                      <a:gd name="connsiteX26" fmla="*/ 153567 w 257282"/>
                      <a:gd name="connsiteY26" fmla="*/ 160445 h 337976"/>
                      <a:gd name="connsiteX27" fmla="*/ 161519 w 257282"/>
                      <a:gd name="connsiteY27" fmla="*/ 188063 h 337976"/>
                      <a:gd name="connsiteX28" fmla="*/ 166570 w 257282"/>
                      <a:gd name="connsiteY28" fmla="*/ 216649 h 337976"/>
                      <a:gd name="connsiteX29" fmla="*/ 163669 w 257282"/>
                      <a:gd name="connsiteY29" fmla="*/ 247598 h 337976"/>
                      <a:gd name="connsiteX30" fmla="*/ 148838 w 257282"/>
                      <a:gd name="connsiteY30" fmla="*/ 280375 h 337976"/>
                      <a:gd name="connsiteX31" fmla="*/ 106390 w 257282"/>
                      <a:gd name="connsiteY31" fmla="*/ 318525 h 337976"/>
                      <a:gd name="connsiteX32" fmla="*/ 56419 w 257282"/>
                      <a:gd name="connsiteY32" fmla="*/ 317773 h 337976"/>
                      <a:gd name="connsiteX33" fmla="*/ 43093 w 257282"/>
                      <a:gd name="connsiteY33" fmla="*/ 337976 h 337976"/>
                      <a:gd name="connsiteX34" fmla="*/ 7200 w 257282"/>
                      <a:gd name="connsiteY34" fmla="*/ 314226 h 337976"/>
                      <a:gd name="connsiteX35" fmla="*/ 20526 w 257282"/>
                      <a:gd name="connsiteY35" fmla="*/ 294023 h 337976"/>
                      <a:gd name="connsiteX36" fmla="*/ 0 w 257282"/>
                      <a:gd name="connsiteY36" fmla="*/ 248458 h 337976"/>
                      <a:gd name="connsiteX37" fmla="*/ 18806 w 257282"/>
                      <a:gd name="connsiteY37" fmla="*/ 194403 h 337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57282" h="337976">
                        <a:moveTo>
                          <a:pt x="18806" y="194403"/>
                        </a:moveTo>
                        <a:lnTo>
                          <a:pt x="31380" y="175382"/>
                        </a:lnTo>
                        <a:lnTo>
                          <a:pt x="76192" y="205043"/>
                        </a:lnTo>
                        <a:lnTo>
                          <a:pt x="61685" y="226965"/>
                        </a:lnTo>
                        <a:cubicBezTo>
                          <a:pt x="49756" y="244912"/>
                          <a:pt x="50186" y="258130"/>
                          <a:pt x="62867" y="266512"/>
                        </a:cubicBezTo>
                        <a:cubicBezTo>
                          <a:pt x="78019" y="276506"/>
                          <a:pt x="91560" y="272530"/>
                          <a:pt x="103381" y="254476"/>
                        </a:cubicBezTo>
                        <a:cubicBezTo>
                          <a:pt x="108539" y="246739"/>
                          <a:pt x="111656" y="238464"/>
                          <a:pt x="112945" y="229867"/>
                        </a:cubicBezTo>
                        <a:cubicBezTo>
                          <a:pt x="114235" y="221270"/>
                          <a:pt x="114020" y="212780"/>
                          <a:pt x="112515" y="204613"/>
                        </a:cubicBezTo>
                        <a:cubicBezTo>
                          <a:pt x="110903" y="196445"/>
                          <a:pt x="108754" y="187848"/>
                          <a:pt x="106068" y="179036"/>
                        </a:cubicBezTo>
                        <a:cubicBezTo>
                          <a:pt x="103381" y="170224"/>
                          <a:pt x="100694" y="160982"/>
                          <a:pt x="98115" y="151310"/>
                        </a:cubicBezTo>
                        <a:cubicBezTo>
                          <a:pt x="95536" y="141746"/>
                          <a:pt x="93709" y="132074"/>
                          <a:pt x="92742" y="122402"/>
                        </a:cubicBezTo>
                        <a:cubicBezTo>
                          <a:pt x="91775" y="112730"/>
                          <a:pt x="92634" y="102414"/>
                          <a:pt x="95429" y="91237"/>
                        </a:cubicBezTo>
                        <a:cubicBezTo>
                          <a:pt x="98115" y="80061"/>
                          <a:pt x="103059" y="69100"/>
                          <a:pt x="110151" y="58353"/>
                        </a:cubicBezTo>
                        <a:cubicBezTo>
                          <a:pt x="135513" y="19881"/>
                          <a:pt x="165818" y="7415"/>
                          <a:pt x="201066" y="20741"/>
                        </a:cubicBezTo>
                        <a:lnTo>
                          <a:pt x="214822" y="0"/>
                        </a:lnTo>
                        <a:lnTo>
                          <a:pt x="250715" y="23750"/>
                        </a:lnTo>
                        <a:lnTo>
                          <a:pt x="236959" y="44490"/>
                        </a:lnTo>
                        <a:cubicBezTo>
                          <a:pt x="250178" y="57923"/>
                          <a:pt x="257055" y="72968"/>
                          <a:pt x="257270" y="89733"/>
                        </a:cubicBezTo>
                        <a:cubicBezTo>
                          <a:pt x="257593" y="106497"/>
                          <a:pt x="251467" y="124336"/>
                          <a:pt x="238894" y="143358"/>
                        </a:cubicBezTo>
                        <a:lnTo>
                          <a:pt x="233091" y="152062"/>
                        </a:lnTo>
                        <a:lnTo>
                          <a:pt x="191717" y="124766"/>
                        </a:lnTo>
                        <a:lnTo>
                          <a:pt x="199239" y="113268"/>
                        </a:lnTo>
                        <a:cubicBezTo>
                          <a:pt x="211383" y="94891"/>
                          <a:pt x="210201" y="80921"/>
                          <a:pt x="195693" y="71356"/>
                        </a:cubicBezTo>
                        <a:cubicBezTo>
                          <a:pt x="181078" y="61685"/>
                          <a:pt x="167645" y="66091"/>
                          <a:pt x="155501" y="84467"/>
                        </a:cubicBezTo>
                        <a:cubicBezTo>
                          <a:pt x="150343" y="92205"/>
                          <a:pt x="147226" y="100479"/>
                          <a:pt x="146044" y="109184"/>
                        </a:cubicBezTo>
                        <a:cubicBezTo>
                          <a:pt x="144862" y="117889"/>
                          <a:pt x="145077" y="126378"/>
                          <a:pt x="146797" y="134653"/>
                        </a:cubicBezTo>
                        <a:cubicBezTo>
                          <a:pt x="148516" y="142928"/>
                          <a:pt x="150773" y="151525"/>
                          <a:pt x="153567" y="160445"/>
                        </a:cubicBezTo>
                        <a:cubicBezTo>
                          <a:pt x="156361" y="169364"/>
                          <a:pt x="159048" y="178606"/>
                          <a:pt x="161519" y="188063"/>
                        </a:cubicBezTo>
                        <a:cubicBezTo>
                          <a:pt x="163991" y="197520"/>
                          <a:pt x="165710" y="207084"/>
                          <a:pt x="166570" y="216649"/>
                        </a:cubicBezTo>
                        <a:cubicBezTo>
                          <a:pt x="167430" y="226213"/>
                          <a:pt x="166463" y="236530"/>
                          <a:pt x="163669" y="247598"/>
                        </a:cubicBezTo>
                        <a:cubicBezTo>
                          <a:pt x="160875" y="258667"/>
                          <a:pt x="155931" y="269629"/>
                          <a:pt x="148838" y="280375"/>
                        </a:cubicBezTo>
                        <a:cubicBezTo>
                          <a:pt x="136265" y="299396"/>
                          <a:pt x="122080" y="312185"/>
                          <a:pt x="106390" y="318525"/>
                        </a:cubicBezTo>
                        <a:cubicBezTo>
                          <a:pt x="90593" y="324973"/>
                          <a:pt x="73936" y="324651"/>
                          <a:pt x="56419" y="317773"/>
                        </a:cubicBezTo>
                        <a:lnTo>
                          <a:pt x="43093" y="337976"/>
                        </a:lnTo>
                        <a:lnTo>
                          <a:pt x="7200" y="314226"/>
                        </a:lnTo>
                        <a:lnTo>
                          <a:pt x="20526" y="294023"/>
                        </a:lnTo>
                        <a:cubicBezTo>
                          <a:pt x="7093" y="280483"/>
                          <a:pt x="322" y="265330"/>
                          <a:pt x="0" y="248458"/>
                        </a:cubicBezTo>
                        <a:cubicBezTo>
                          <a:pt x="0" y="231586"/>
                          <a:pt x="6125" y="213532"/>
                          <a:pt x="18806" y="194403"/>
                        </a:cubicBezTo>
                        <a:close/>
                      </a:path>
                    </a:pathLst>
                  </a:custGeom>
                  <a:solidFill>
                    <a:schemeClr val="accent3">
                      <a:lumMod val="75000"/>
                    </a:schemeClr>
                  </a:solidFill>
                  <a:ln w="107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sp>
              <p:nvSpPr>
                <p:cNvPr id="61" name="Freeform: Shape 21">
                  <a:extLst>
                    <a:ext uri="{FF2B5EF4-FFF2-40B4-BE49-F238E27FC236}">
                      <a16:creationId xmlns:a16="http://schemas.microsoft.com/office/drawing/2014/main" id="{7FFB097B-ADDC-4D23-BE65-E83AE28C087E}"/>
                    </a:ext>
                  </a:extLst>
                </p:cNvPr>
                <p:cNvSpPr/>
                <p:nvPr/>
              </p:nvSpPr>
              <p:spPr>
                <a:xfrm>
                  <a:off x="5176942" y="4319355"/>
                  <a:ext cx="863208" cy="206736"/>
                </a:xfrm>
                <a:custGeom>
                  <a:avLst/>
                  <a:gdLst>
                    <a:gd name="connsiteX0" fmla="*/ 788145 w 788145"/>
                    <a:gd name="connsiteY0" fmla="*/ 131644 h 188759"/>
                    <a:gd name="connsiteX1" fmla="*/ 0 w 788145"/>
                    <a:gd name="connsiteY1" fmla="*/ 0 h 188759"/>
                    <a:gd name="connsiteX2" fmla="*/ 716359 w 788145"/>
                    <a:gd name="connsiteY2" fmla="*/ 64801 h 188759"/>
                    <a:gd name="connsiteX3" fmla="*/ 788145 w 788145"/>
                    <a:gd name="connsiteY3" fmla="*/ 131644 h 188759"/>
                  </a:gdLst>
                  <a:ahLst/>
                  <a:cxnLst>
                    <a:cxn ang="0">
                      <a:pos x="connsiteX0" y="connsiteY0"/>
                    </a:cxn>
                    <a:cxn ang="0">
                      <a:pos x="connsiteX1" y="connsiteY1"/>
                    </a:cxn>
                    <a:cxn ang="0">
                      <a:pos x="connsiteX2" y="connsiteY2"/>
                    </a:cxn>
                    <a:cxn ang="0">
                      <a:pos x="connsiteX3" y="connsiteY3"/>
                    </a:cxn>
                  </a:cxnLst>
                  <a:rect l="l" t="t" r="r" b="b"/>
                  <a:pathLst>
                    <a:path w="788145" h="188759">
                      <a:moveTo>
                        <a:pt x="788145" y="131644"/>
                      </a:moveTo>
                      <a:cubicBezTo>
                        <a:pt x="209449" y="314441"/>
                        <a:pt x="0" y="0"/>
                        <a:pt x="0" y="0"/>
                      </a:cubicBezTo>
                      <a:lnTo>
                        <a:pt x="716359" y="64801"/>
                      </a:lnTo>
                      <a:lnTo>
                        <a:pt x="788145" y="131644"/>
                      </a:lnTo>
                      <a:close/>
                    </a:path>
                  </a:pathLst>
                </a:custGeom>
                <a:solidFill>
                  <a:schemeClr val="accent4"/>
                </a:solidFill>
                <a:ln w="107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62" name="Freeform: Shape 22">
                  <a:extLst>
                    <a:ext uri="{FF2B5EF4-FFF2-40B4-BE49-F238E27FC236}">
                      <a16:creationId xmlns:a16="http://schemas.microsoft.com/office/drawing/2014/main" id="{85D6F6BF-D003-4A31-9BF6-B57B3D7AE570}"/>
                    </a:ext>
                  </a:extLst>
                </p:cNvPr>
                <p:cNvSpPr/>
                <p:nvPr/>
              </p:nvSpPr>
              <p:spPr>
                <a:xfrm rot="20146962">
                  <a:off x="5616188" y="1969034"/>
                  <a:ext cx="1230906" cy="1230906"/>
                </a:xfrm>
                <a:custGeom>
                  <a:avLst/>
                  <a:gdLst>
                    <a:gd name="connsiteX0" fmla="*/ 1123869 w 1123869"/>
                    <a:gd name="connsiteY0" fmla="*/ 561935 h 1123869"/>
                    <a:gd name="connsiteX1" fmla="*/ 561935 w 1123869"/>
                    <a:gd name="connsiteY1" fmla="*/ 1123869 h 1123869"/>
                    <a:gd name="connsiteX2" fmla="*/ 0 w 1123869"/>
                    <a:gd name="connsiteY2" fmla="*/ 561935 h 1123869"/>
                    <a:gd name="connsiteX3" fmla="*/ 561935 w 1123869"/>
                    <a:gd name="connsiteY3" fmla="*/ 0 h 1123869"/>
                    <a:gd name="connsiteX4" fmla="*/ 1123869 w 1123869"/>
                    <a:gd name="connsiteY4" fmla="*/ 561935 h 11238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23869" h="1123869">
                      <a:moveTo>
                        <a:pt x="1123869" y="561935"/>
                      </a:moveTo>
                      <a:cubicBezTo>
                        <a:pt x="1123869" y="872283"/>
                        <a:pt x="872283" y="1123869"/>
                        <a:pt x="561935" y="1123869"/>
                      </a:cubicBezTo>
                      <a:cubicBezTo>
                        <a:pt x="251587" y="1123869"/>
                        <a:pt x="0" y="872283"/>
                        <a:pt x="0" y="561935"/>
                      </a:cubicBezTo>
                      <a:cubicBezTo>
                        <a:pt x="0" y="251587"/>
                        <a:pt x="251587" y="0"/>
                        <a:pt x="561935" y="0"/>
                      </a:cubicBezTo>
                      <a:cubicBezTo>
                        <a:pt x="872283" y="0"/>
                        <a:pt x="1123869" y="251587"/>
                        <a:pt x="1123869" y="561935"/>
                      </a:cubicBezTo>
                      <a:close/>
                    </a:path>
                  </a:pathLst>
                </a:custGeom>
                <a:solidFill>
                  <a:schemeClr val="accent4"/>
                </a:solidFill>
                <a:ln w="107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63" name="Freeform: Shape 23">
                  <a:extLst>
                    <a:ext uri="{FF2B5EF4-FFF2-40B4-BE49-F238E27FC236}">
                      <a16:creationId xmlns:a16="http://schemas.microsoft.com/office/drawing/2014/main" id="{69C9F92D-BC6D-4EF6-8E9E-12313055AE1C}"/>
                    </a:ext>
                  </a:extLst>
                </p:cNvPr>
                <p:cNvSpPr/>
                <p:nvPr/>
              </p:nvSpPr>
              <p:spPr>
                <a:xfrm>
                  <a:off x="5745665" y="2098482"/>
                  <a:ext cx="971962" cy="971962"/>
                </a:xfrm>
                <a:custGeom>
                  <a:avLst/>
                  <a:gdLst>
                    <a:gd name="connsiteX0" fmla="*/ 443721 w 887442"/>
                    <a:gd name="connsiteY0" fmla="*/ 887443 h 887442"/>
                    <a:gd name="connsiteX1" fmla="*/ 0 w 887442"/>
                    <a:gd name="connsiteY1" fmla="*/ 443721 h 887442"/>
                    <a:gd name="connsiteX2" fmla="*/ 443721 w 887442"/>
                    <a:gd name="connsiteY2" fmla="*/ 0 h 887442"/>
                    <a:gd name="connsiteX3" fmla="*/ 887443 w 887442"/>
                    <a:gd name="connsiteY3" fmla="*/ 443721 h 887442"/>
                    <a:gd name="connsiteX4" fmla="*/ 443721 w 887442"/>
                    <a:gd name="connsiteY4" fmla="*/ 887443 h 887442"/>
                    <a:gd name="connsiteX5" fmla="*/ 443721 w 887442"/>
                    <a:gd name="connsiteY5" fmla="*/ 10854 h 887442"/>
                    <a:gd name="connsiteX6" fmla="*/ 10746 w 887442"/>
                    <a:gd name="connsiteY6" fmla="*/ 443829 h 887442"/>
                    <a:gd name="connsiteX7" fmla="*/ 443721 w 887442"/>
                    <a:gd name="connsiteY7" fmla="*/ 876804 h 887442"/>
                    <a:gd name="connsiteX8" fmla="*/ 876696 w 887442"/>
                    <a:gd name="connsiteY8" fmla="*/ 443829 h 887442"/>
                    <a:gd name="connsiteX9" fmla="*/ 443721 w 887442"/>
                    <a:gd name="connsiteY9" fmla="*/ 10854 h 887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87442" h="887442">
                      <a:moveTo>
                        <a:pt x="443721" y="887443"/>
                      </a:moveTo>
                      <a:cubicBezTo>
                        <a:pt x="199024" y="887443"/>
                        <a:pt x="0" y="688418"/>
                        <a:pt x="0" y="443721"/>
                      </a:cubicBezTo>
                      <a:cubicBezTo>
                        <a:pt x="0" y="199024"/>
                        <a:pt x="199024" y="0"/>
                        <a:pt x="443721" y="0"/>
                      </a:cubicBezTo>
                      <a:cubicBezTo>
                        <a:pt x="688418" y="0"/>
                        <a:pt x="887443" y="199024"/>
                        <a:pt x="887443" y="443721"/>
                      </a:cubicBezTo>
                      <a:cubicBezTo>
                        <a:pt x="887443" y="688418"/>
                        <a:pt x="688418" y="887443"/>
                        <a:pt x="443721" y="887443"/>
                      </a:cubicBezTo>
                      <a:close/>
                      <a:moveTo>
                        <a:pt x="443721" y="10854"/>
                      </a:moveTo>
                      <a:cubicBezTo>
                        <a:pt x="205042" y="10854"/>
                        <a:pt x="10746" y="205043"/>
                        <a:pt x="10746" y="443829"/>
                      </a:cubicBezTo>
                      <a:cubicBezTo>
                        <a:pt x="10746" y="682615"/>
                        <a:pt x="204935" y="876804"/>
                        <a:pt x="443721" y="876804"/>
                      </a:cubicBezTo>
                      <a:cubicBezTo>
                        <a:pt x="682508" y="876804"/>
                        <a:pt x="876696" y="682615"/>
                        <a:pt x="876696" y="443829"/>
                      </a:cubicBezTo>
                      <a:cubicBezTo>
                        <a:pt x="876696" y="205043"/>
                        <a:pt x="682508" y="10854"/>
                        <a:pt x="443721" y="10854"/>
                      </a:cubicBezTo>
                      <a:close/>
                    </a:path>
                  </a:pathLst>
                </a:custGeom>
                <a:solidFill>
                  <a:schemeClr val="accent4">
                    <a:lumMod val="75000"/>
                  </a:schemeClr>
                </a:solidFill>
                <a:ln w="107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64" name="Freeform: Shape 24">
                  <a:extLst>
                    <a:ext uri="{FF2B5EF4-FFF2-40B4-BE49-F238E27FC236}">
                      <a16:creationId xmlns:a16="http://schemas.microsoft.com/office/drawing/2014/main" id="{3C8C5F85-9BBD-4A1D-B977-1F566FE5C72B}"/>
                    </a:ext>
                  </a:extLst>
                </p:cNvPr>
                <p:cNvSpPr/>
                <p:nvPr/>
              </p:nvSpPr>
              <p:spPr>
                <a:xfrm>
                  <a:off x="6101471" y="2282329"/>
                  <a:ext cx="249522" cy="601915"/>
                </a:xfrm>
                <a:custGeom>
                  <a:avLst/>
                  <a:gdLst>
                    <a:gd name="connsiteX0" fmla="*/ 0 w 227824"/>
                    <a:gd name="connsiteY0" fmla="*/ 394610 h 549574"/>
                    <a:gd name="connsiteX1" fmla="*/ 0 w 227824"/>
                    <a:gd name="connsiteY1" fmla="*/ 361296 h 549574"/>
                    <a:gd name="connsiteX2" fmla="*/ 78449 w 227824"/>
                    <a:gd name="connsiteY2" fmla="*/ 361296 h 549574"/>
                    <a:gd name="connsiteX3" fmla="*/ 78449 w 227824"/>
                    <a:gd name="connsiteY3" fmla="*/ 399661 h 549574"/>
                    <a:gd name="connsiteX4" fmla="*/ 111763 w 227824"/>
                    <a:gd name="connsiteY4" fmla="*/ 446838 h 549574"/>
                    <a:gd name="connsiteX5" fmla="*/ 151525 w 227824"/>
                    <a:gd name="connsiteY5" fmla="*/ 399661 h 549574"/>
                    <a:gd name="connsiteX6" fmla="*/ 143358 w 227824"/>
                    <a:gd name="connsiteY6" fmla="*/ 361941 h 549574"/>
                    <a:gd name="connsiteX7" fmla="*/ 122402 w 227824"/>
                    <a:gd name="connsiteY7" fmla="*/ 331528 h 549574"/>
                    <a:gd name="connsiteX8" fmla="*/ 94032 w 227824"/>
                    <a:gd name="connsiteY8" fmla="*/ 305522 h 549574"/>
                    <a:gd name="connsiteX9" fmla="*/ 62115 w 227824"/>
                    <a:gd name="connsiteY9" fmla="*/ 278118 h 549574"/>
                    <a:gd name="connsiteX10" fmla="*/ 32454 w 227824"/>
                    <a:gd name="connsiteY10" fmla="*/ 247169 h 549574"/>
                    <a:gd name="connsiteX11" fmla="*/ 10531 w 227824"/>
                    <a:gd name="connsiteY11" fmla="*/ 207084 h 549574"/>
                    <a:gd name="connsiteX12" fmla="*/ 2042 w 227824"/>
                    <a:gd name="connsiteY12" fmla="*/ 155286 h 549574"/>
                    <a:gd name="connsiteX13" fmla="*/ 82533 w 227824"/>
                    <a:gd name="connsiteY13" fmla="*/ 36323 h 549574"/>
                    <a:gd name="connsiteX14" fmla="*/ 82533 w 227824"/>
                    <a:gd name="connsiteY14" fmla="*/ 0 h 549574"/>
                    <a:gd name="connsiteX15" fmla="*/ 145400 w 227824"/>
                    <a:gd name="connsiteY15" fmla="*/ 0 h 549574"/>
                    <a:gd name="connsiteX16" fmla="*/ 145400 w 227824"/>
                    <a:gd name="connsiteY16" fmla="*/ 36323 h 549574"/>
                    <a:gd name="connsiteX17" fmla="*/ 206547 w 227824"/>
                    <a:gd name="connsiteY17" fmla="*/ 75010 h 549574"/>
                    <a:gd name="connsiteX18" fmla="*/ 227288 w 227824"/>
                    <a:gd name="connsiteY18" fmla="*/ 155179 h 549574"/>
                    <a:gd name="connsiteX19" fmla="*/ 227288 w 227824"/>
                    <a:gd name="connsiteY19" fmla="*/ 170439 h 549574"/>
                    <a:gd name="connsiteX20" fmla="*/ 154964 w 227824"/>
                    <a:gd name="connsiteY20" fmla="*/ 170439 h 549574"/>
                    <a:gd name="connsiteX21" fmla="*/ 154964 w 227824"/>
                    <a:gd name="connsiteY21" fmla="*/ 150343 h 549574"/>
                    <a:gd name="connsiteX22" fmla="*/ 116921 w 227824"/>
                    <a:gd name="connsiteY22" fmla="*/ 102091 h 549574"/>
                    <a:gd name="connsiteX23" fmla="*/ 78557 w 227824"/>
                    <a:gd name="connsiteY23" fmla="*/ 150343 h 549574"/>
                    <a:gd name="connsiteX24" fmla="*/ 86831 w 227824"/>
                    <a:gd name="connsiteY24" fmla="*/ 188063 h 549574"/>
                    <a:gd name="connsiteX25" fmla="*/ 108217 w 227824"/>
                    <a:gd name="connsiteY25" fmla="*/ 218476 h 549574"/>
                    <a:gd name="connsiteX26" fmla="*/ 137232 w 227824"/>
                    <a:gd name="connsiteY26" fmla="*/ 244482 h 549574"/>
                    <a:gd name="connsiteX27" fmla="*/ 169149 w 227824"/>
                    <a:gd name="connsiteY27" fmla="*/ 271671 h 549574"/>
                    <a:gd name="connsiteX28" fmla="*/ 198165 w 227824"/>
                    <a:gd name="connsiteY28" fmla="*/ 302405 h 549574"/>
                    <a:gd name="connsiteX29" fmla="*/ 219550 w 227824"/>
                    <a:gd name="connsiteY29" fmla="*/ 342490 h 549574"/>
                    <a:gd name="connsiteX30" fmla="*/ 227825 w 227824"/>
                    <a:gd name="connsiteY30" fmla="*/ 394288 h 549574"/>
                    <a:gd name="connsiteX31" fmla="*/ 206762 w 227824"/>
                    <a:gd name="connsiteY31" fmla="*/ 474994 h 549574"/>
                    <a:gd name="connsiteX32" fmla="*/ 145292 w 227824"/>
                    <a:gd name="connsiteY32" fmla="*/ 514218 h 549574"/>
                    <a:gd name="connsiteX33" fmla="*/ 145292 w 227824"/>
                    <a:gd name="connsiteY33" fmla="*/ 549574 h 549574"/>
                    <a:gd name="connsiteX34" fmla="*/ 82425 w 227824"/>
                    <a:gd name="connsiteY34" fmla="*/ 549574 h 549574"/>
                    <a:gd name="connsiteX35" fmla="*/ 82425 w 227824"/>
                    <a:gd name="connsiteY35" fmla="*/ 514218 h 549574"/>
                    <a:gd name="connsiteX36" fmla="*/ 20741 w 227824"/>
                    <a:gd name="connsiteY36" fmla="*/ 475101 h 549574"/>
                    <a:gd name="connsiteX37" fmla="*/ 0 w 227824"/>
                    <a:gd name="connsiteY37" fmla="*/ 394610 h 5495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27824" h="549574">
                      <a:moveTo>
                        <a:pt x="0" y="394610"/>
                      </a:moveTo>
                      <a:lnTo>
                        <a:pt x="0" y="361296"/>
                      </a:lnTo>
                      <a:lnTo>
                        <a:pt x="78449" y="361296"/>
                      </a:lnTo>
                      <a:lnTo>
                        <a:pt x="78449" y="399661"/>
                      </a:lnTo>
                      <a:cubicBezTo>
                        <a:pt x="78449" y="431148"/>
                        <a:pt x="89518" y="446838"/>
                        <a:pt x="111763" y="446838"/>
                      </a:cubicBezTo>
                      <a:cubicBezTo>
                        <a:pt x="138307" y="446838"/>
                        <a:pt x="151525" y="431148"/>
                        <a:pt x="151525" y="399661"/>
                      </a:cubicBezTo>
                      <a:cubicBezTo>
                        <a:pt x="151525" y="386120"/>
                        <a:pt x="148838" y="373547"/>
                        <a:pt x="143358" y="361941"/>
                      </a:cubicBezTo>
                      <a:cubicBezTo>
                        <a:pt x="137985" y="350335"/>
                        <a:pt x="130999" y="340233"/>
                        <a:pt x="122402" y="331528"/>
                      </a:cubicBezTo>
                      <a:cubicBezTo>
                        <a:pt x="113912" y="322824"/>
                        <a:pt x="104456" y="314119"/>
                        <a:pt x="94032" y="305522"/>
                      </a:cubicBezTo>
                      <a:cubicBezTo>
                        <a:pt x="83607" y="296925"/>
                        <a:pt x="72968" y="287790"/>
                        <a:pt x="62115" y="278118"/>
                      </a:cubicBezTo>
                      <a:cubicBezTo>
                        <a:pt x="51261" y="268447"/>
                        <a:pt x="41374" y="258237"/>
                        <a:pt x="32454" y="247169"/>
                      </a:cubicBezTo>
                      <a:cubicBezTo>
                        <a:pt x="23535" y="236207"/>
                        <a:pt x="16227" y="222774"/>
                        <a:pt x="10531" y="207084"/>
                      </a:cubicBezTo>
                      <a:cubicBezTo>
                        <a:pt x="4836" y="191394"/>
                        <a:pt x="2042" y="174093"/>
                        <a:pt x="2042" y="155286"/>
                      </a:cubicBezTo>
                      <a:cubicBezTo>
                        <a:pt x="2042" y="88014"/>
                        <a:pt x="28908" y="48359"/>
                        <a:pt x="82533" y="36323"/>
                      </a:cubicBezTo>
                      <a:lnTo>
                        <a:pt x="82533" y="0"/>
                      </a:lnTo>
                      <a:lnTo>
                        <a:pt x="145400" y="0"/>
                      </a:lnTo>
                      <a:lnTo>
                        <a:pt x="145400" y="36323"/>
                      </a:lnTo>
                      <a:cubicBezTo>
                        <a:pt x="172373" y="42019"/>
                        <a:pt x="192791" y="54914"/>
                        <a:pt x="206547" y="75010"/>
                      </a:cubicBezTo>
                      <a:cubicBezTo>
                        <a:pt x="220410" y="95214"/>
                        <a:pt x="227288" y="121865"/>
                        <a:pt x="227288" y="155179"/>
                      </a:cubicBezTo>
                      <a:lnTo>
                        <a:pt x="227288" y="170439"/>
                      </a:lnTo>
                      <a:lnTo>
                        <a:pt x="154964" y="170439"/>
                      </a:lnTo>
                      <a:lnTo>
                        <a:pt x="154964" y="150343"/>
                      </a:lnTo>
                      <a:cubicBezTo>
                        <a:pt x="154964" y="118211"/>
                        <a:pt x="142283" y="102091"/>
                        <a:pt x="116921" y="102091"/>
                      </a:cubicBezTo>
                      <a:cubicBezTo>
                        <a:pt x="91345" y="102091"/>
                        <a:pt x="78557" y="118211"/>
                        <a:pt x="78557" y="150343"/>
                      </a:cubicBezTo>
                      <a:cubicBezTo>
                        <a:pt x="78557" y="163884"/>
                        <a:pt x="81351" y="176457"/>
                        <a:pt x="86831" y="188063"/>
                      </a:cubicBezTo>
                      <a:cubicBezTo>
                        <a:pt x="92420" y="199669"/>
                        <a:pt x="99512" y="209771"/>
                        <a:pt x="108217" y="218476"/>
                      </a:cubicBezTo>
                      <a:cubicBezTo>
                        <a:pt x="116921" y="227180"/>
                        <a:pt x="126593" y="235885"/>
                        <a:pt x="137232" y="244482"/>
                      </a:cubicBezTo>
                      <a:cubicBezTo>
                        <a:pt x="147871" y="253079"/>
                        <a:pt x="158510" y="262106"/>
                        <a:pt x="169149" y="271671"/>
                      </a:cubicBezTo>
                      <a:cubicBezTo>
                        <a:pt x="179788" y="281235"/>
                        <a:pt x="189460" y="291444"/>
                        <a:pt x="198165" y="302405"/>
                      </a:cubicBezTo>
                      <a:cubicBezTo>
                        <a:pt x="206869" y="313367"/>
                        <a:pt x="214069" y="326800"/>
                        <a:pt x="219550" y="342490"/>
                      </a:cubicBezTo>
                      <a:cubicBezTo>
                        <a:pt x="225138" y="358287"/>
                        <a:pt x="227825" y="375481"/>
                        <a:pt x="227825" y="394288"/>
                      </a:cubicBezTo>
                      <a:cubicBezTo>
                        <a:pt x="227825" y="427602"/>
                        <a:pt x="220840" y="454468"/>
                        <a:pt x="206762" y="474994"/>
                      </a:cubicBezTo>
                      <a:cubicBezTo>
                        <a:pt x="192684" y="495519"/>
                        <a:pt x="172266" y="508630"/>
                        <a:pt x="145292" y="514218"/>
                      </a:cubicBezTo>
                      <a:lnTo>
                        <a:pt x="145292" y="549574"/>
                      </a:lnTo>
                      <a:lnTo>
                        <a:pt x="82425" y="549574"/>
                      </a:lnTo>
                      <a:lnTo>
                        <a:pt x="82425" y="514218"/>
                      </a:lnTo>
                      <a:cubicBezTo>
                        <a:pt x="55237" y="508523"/>
                        <a:pt x="34711" y="495519"/>
                        <a:pt x="20741" y="475101"/>
                      </a:cubicBezTo>
                      <a:cubicBezTo>
                        <a:pt x="6985" y="455113"/>
                        <a:pt x="0" y="428139"/>
                        <a:pt x="0" y="394610"/>
                      </a:cubicBezTo>
                      <a:close/>
                    </a:path>
                  </a:pathLst>
                </a:custGeom>
                <a:solidFill>
                  <a:schemeClr val="accent3">
                    <a:lumMod val="75000"/>
                  </a:schemeClr>
                </a:solidFill>
                <a:ln w="107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65" name="Freeform: Shape 25">
                  <a:extLst>
                    <a:ext uri="{FF2B5EF4-FFF2-40B4-BE49-F238E27FC236}">
                      <a16:creationId xmlns:a16="http://schemas.microsoft.com/office/drawing/2014/main" id="{35819150-E1DA-4ABB-B7AE-C84DDFD0FD28}"/>
                    </a:ext>
                  </a:extLst>
                </p:cNvPr>
                <p:cNvSpPr/>
                <p:nvPr/>
              </p:nvSpPr>
              <p:spPr>
                <a:xfrm rot="19748660">
                  <a:off x="5989036" y="1820191"/>
                  <a:ext cx="23540" cy="110288"/>
                </a:xfrm>
                <a:custGeom>
                  <a:avLst/>
                  <a:gdLst>
                    <a:gd name="connsiteX0" fmla="*/ 0 w 21493"/>
                    <a:gd name="connsiteY0" fmla="*/ 0 h 100698"/>
                    <a:gd name="connsiteX1" fmla="*/ 21494 w 21493"/>
                    <a:gd name="connsiteY1" fmla="*/ 0 h 100698"/>
                    <a:gd name="connsiteX2" fmla="*/ 21494 w 21493"/>
                    <a:gd name="connsiteY2" fmla="*/ 100699 h 100698"/>
                    <a:gd name="connsiteX3" fmla="*/ 0 w 21493"/>
                    <a:gd name="connsiteY3" fmla="*/ 100699 h 100698"/>
                  </a:gdLst>
                  <a:ahLst/>
                  <a:cxnLst>
                    <a:cxn ang="0">
                      <a:pos x="connsiteX0" y="connsiteY0"/>
                    </a:cxn>
                    <a:cxn ang="0">
                      <a:pos x="connsiteX1" y="connsiteY1"/>
                    </a:cxn>
                    <a:cxn ang="0">
                      <a:pos x="connsiteX2" y="connsiteY2"/>
                    </a:cxn>
                    <a:cxn ang="0">
                      <a:pos x="connsiteX3" y="connsiteY3"/>
                    </a:cxn>
                  </a:cxnLst>
                  <a:rect l="l" t="t" r="r" b="b"/>
                  <a:pathLst>
                    <a:path w="21493" h="100698">
                      <a:moveTo>
                        <a:pt x="0" y="0"/>
                      </a:moveTo>
                      <a:lnTo>
                        <a:pt x="21494" y="0"/>
                      </a:lnTo>
                      <a:lnTo>
                        <a:pt x="21494" y="100699"/>
                      </a:lnTo>
                      <a:lnTo>
                        <a:pt x="0" y="100699"/>
                      </a:lnTo>
                      <a:close/>
                    </a:path>
                  </a:pathLst>
                </a:custGeom>
                <a:solidFill>
                  <a:schemeClr val="accent4">
                    <a:lumMod val="75000"/>
                  </a:schemeClr>
                </a:solidFill>
                <a:ln w="107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66" name="Freeform: Shape 26">
                  <a:extLst>
                    <a:ext uri="{FF2B5EF4-FFF2-40B4-BE49-F238E27FC236}">
                      <a16:creationId xmlns:a16="http://schemas.microsoft.com/office/drawing/2014/main" id="{D2DE8183-3DA6-4237-A832-22E517A550FD}"/>
                    </a:ext>
                  </a:extLst>
                </p:cNvPr>
                <p:cNvSpPr/>
                <p:nvPr/>
              </p:nvSpPr>
              <p:spPr>
                <a:xfrm rot="18566943">
                  <a:off x="5830182" y="1910989"/>
                  <a:ext cx="23540" cy="110285"/>
                </a:xfrm>
                <a:custGeom>
                  <a:avLst/>
                  <a:gdLst>
                    <a:gd name="connsiteX0" fmla="*/ 0 w 21493"/>
                    <a:gd name="connsiteY0" fmla="*/ 0 h 100695"/>
                    <a:gd name="connsiteX1" fmla="*/ 21493 w 21493"/>
                    <a:gd name="connsiteY1" fmla="*/ 0 h 100695"/>
                    <a:gd name="connsiteX2" fmla="*/ 21493 w 21493"/>
                    <a:gd name="connsiteY2" fmla="*/ 100696 h 100695"/>
                    <a:gd name="connsiteX3" fmla="*/ 0 w 21493"/>
                    <a:gd name="connsiteY3" fmla="*/ 100696 h 100695"/>
                  </a:gdLst>
                  <a:ahLst/>
                  <a:cxnLst>
                    <a:cxn ang="0">
                      <a:pos x="connsiteX0" y="connsiteY0"/>
                    </a:cxn>
                    <a:cxn ang="0">
                      <a:pos x="connsiteX1" y="connsiteY1"/>
                    </a:cxn>
                    <a:cxn ang="0">
                      <a:pos x="connsiteX2" y="connsiteY2"/>
                    </a:cxn>
                    <a:cxn ang="0">
                      <a:pos x="connsiteX3" y="connsiteY3"/>
                    </a:cxn>
                  </a:cxnLst>
                  <a:rect l="l" t="t" r="r" b="b"/>
                  <a:pathLst>
                    <a:path w="21493" h="100695">
                      <a:moveTo>
                        <a:pt x="0" y="0"/>
                      </a:moveTo>
                      <a:lnTo>
                        <a:pt x="21493" y="0"/>
                      </a:lnTo>
                      <a:lnTo>
                        <a:pt x="21493" y="100696"/>
                      </a:lnTo>
                      <a:lnTo>
                        <a:pt x="0" y="100696"/>
                      </a:lnTo>
                      <a:close/>
                    </a:path>
                  </a:pathLst>
                </a:custGeom>
                <a:solidFill>
                  <a:schemeClr val="accent4">
                    <a:lumMod val="75000"/>
                  </a:schemeClr>
                </a:solidFill>
                <a:ln w="107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67" name="Freeform: Shape 27">
                  <a:extLst>
                    <a:ext uri="{FF2B5EF4-FFF2-40B4-BE49-F238E27FC236}">
                      <a16:creationId xmlns:a16="http://schemas.microsoft.com/office/drawing/2014/main" id="{BFDD4614-969E-432A-BBA5-933A910754F1}"/>
                    </a:ext>
                  </a:extLst>
                </p:cNvPr>
                <p:cNvSpPr/>
                <p:nvPr/>
              </p:nvSpPr>
              <p:spPr>
                <a:xfrm rot="18873747">
                  <a:off x="4876960" y="3157382"/>
                  <a:ext cx="23540" cy="110286"/>
                </a:xfrm>
                <a:custGeom>
                  <a:avLst/>
                  <a:gdLst>
                    <a:gd name="connsiteX0" fmla="*/ 0 w 21493"/>
                    <a:gd name="connsiteY0" fmla="*/ 0 h 100696"/>
                    <a:gd name="connsiteX1" fmla="*/ 21493 w 21493"/>
                    <a:gd name="connsiteY1" fmla="*/ 0 h 100696"/>
                    <a:gd name="connsiteX2" fmla="*/ 21493 w 21493"/>
                    <a:gd name="connsiteY2" fmla="*/ 100696 h 100696"/>
                    <a:gd name="connsiteX3" fmla="*/ 0 w 21493"/>
                    <a:gd name="connsiteY3" fmla="*/ 100696 h 100696"/>
                  </a:gdLst>
                  <a:ahLst/>
                  <a:cxnLst>
                    <a:cxn ang="0">
                      <a:pos x="connsiteX0" y="connsiteY0"/>
                    </a:cxn>
                    <a:cxn ang="0">
                      <a:pos x="connsiteX1" y="connsiteY1"/>
                    </a:cxn>
                    <a:cxn ang="0">
                      <a:pos x="connsiteX2" y="connsiteY2"/>
                    </a:cxn>
                    <a:cxn ang="0">
                      <a:pos x="connsiteX3" y="connsiteY3"/>
                    </a:cxn>
                  </a:cxnLst>
                  <a:rect l="l" t="t" r="r" b="b"/>
                  <a:pathLst>
                    <a:path w="21493" h="100696">
                      <a:moveTo>
                        <a:pt x="0" y="0"/>
                      </a:moveTo>
                      <a:lnTo>
                        <a:pt x="21493" y="0"/>
                      </a:lnTo>
                      <a:lnTo>
                        <a:pt x="21493" y="100696"/>
                      </a:lnTo>
                      <a:lnTo>
                        <a:pt x="0" y="100696"/>
                      </a:lnTo>
                      <a:close/>
                    </a:path>
                  </a:pathLst>
                </a:custGeom>
                <a:solidFill>
                  <a:schemeClr val="accent3">
                    <a:lumMod val="75000"/>
                  </a:schemeClr>
                </a:solidFill>
                <a:ln w="107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68" name="Freeform: Shape 28">
                  <a:extLst>
                    <a:ext uri="{FF2B5EF4-FFF2-40B4-BE49-F238E27FC236}">
                      <a16:creationId xmlns:a16="http://schemas.microsoft.com/office/drawing/2014/main" id="{52B3C180-CD52-4317-906F-8C43026A6143}"/>
                    </a:ext>
                  </a:extLst>
                </p:cNvPr>
                <p:cNvSpPr/>
                <p:nvPr/>
              </p:nvSpPr>
              <p:spPr>
                <a:xfrm rot="19996565">
                  <a:off x="5012408" y="3062213"/>
                  <a:ext cx="23540" cy="110286"/>
                </a:xfrm>
                <a:custGeom>
                  <a:avLst/>
                  <a:gdLst>
                    <a:gd name="connsiteX0" fmla="*/ 0 w 21493"/>
                    <a:gd name="connsiteY0" fmla="*/ 0 h 100696"/>
                    <a:gd name="connsiteX1" fmla="*/ 21493 w 21493"/>
                    <a:gd name="connsiteY1" fmla="*/ 0 h 100696"/>
                    <a:gd name="connsiteX2" fmla="*/ 21493 w 21493"/>
                    <a:gd name="connsiteY2" fmla="*/ 100696 h 100696"/>
                    <a:gd name="connsiteX3" fmla="*/ 0 w 21493"/>
                    <a:gd name="connsiteY3" fmla="*/ 100696 h 100696"/>
                  </a:gdLst>
                  <a:ahLst/>
                  <a:cxnLst>
                    <a:cxn ang="0">
                      <a:pos x="connsiteX0" y="connsiteY0"/>
                    </a:cxn>
                    <a:cxn ang="0">
                      <a:pos x="connsiteX1" y="connsiteY1"/>
                    </a:cxn>
                    <a:cxn ang="0">
                      <a:pos x="connsiteX2" y="connsiteY2"/>
                    </a:cxn>
                    <a:cxn ang="0">
                      <a:pos x="connsiteX3" y="connsiteY3"/>
                    </a:cxn>
                  </a:cxnLst>
                  <a:rect l="l" t="t" r="r" b="b"/>
                  <a:pathLst>
                    <a:path w="21493" h="100696">
                      <a:moveTo>
                        <a:pt x="0" y="0"/>
                      </a:moveTo>
                      <a:lnTo>
                        <a:pt x="21493" y="0"/>
                      </a:lnTo>
                      <a:lnTo>
                        <a:pt x="21493" y="100696"/>
                      </a:lnTo>
                      <a:lnTo>
                        <a:pt x="0" y="100696"/>
                      </a:lnTo>
                      <a:close/>
                    </a:path>
                  </a:pathLst>
                </a:custGeom>
                <a:solidFill>
                  <a:schemeClr val="accent3">
                    <a:lumMod val="75000"/>
                  </a:schemeClr>
                </a:solidFill>
                <a:ln w="107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69" name="Freeform: Shape 29">
                  <a:extLst>
                    <a:ext uri="{FF2B5EF4-FFF2-40B4-BE49-F238E27FC236}">
                      <a16:creationId xmlns:a16="http://schemas.microsoft.com/office/drawing/2014/main" id="{DE04C3D1-C937-4346-9810-2886439ED440}"/>
                    </a:ext>
                  </a:extLst>
                </p:cNvPr>
                <p:cNvSpPr/>
                <p:nvPr/>
              </p:nvSpPr>
              <p:spPr>
                <a:xfrm rot="21449372">
                  <a:off x="5204064" y="3022394"/>
                  <a:ext cx="23539" cy="110280"/>
                </a:xfrm>
                <a:custGeom>
                  <a:avLst/>
                  <a:gdLst>
                    <a:gd name="connsiteX0" fmla="*/ 0 w 21492"/>
                    <a:gd name="connsiteY0" fmla="*/ 0 h 100690"/>
                    <a:gd name="connsiteX1" fmla="*/ 21492 w 21492"/>
                    <a:gd name="connsiteY1" fmla="*/ 0 h 100690"/>
                    <a:gd name="connsiteX2" fmla="*/ 21492 w 21492"/>
                    <a:gd name="connsiteY2" fmla="*/ 100690 h 100690"/>
                    <a:gd name="connsiteX3" fmla="*/ 0 w 21492"/>
                    <a:gd name="connsiteY3" fmla="*/ 100690 h 100690"/>
                  </a:gdLst>
                  <a:ahLst/>
                  <a:cxnLst>
                    <a:cxn ang="0">
                      <a:pos x="connsiteX0" y="connsiteY0"/>
                    </a:cxn>
                    <a:cxn ang="0">
                      <a:pos x="connsiteX1" y="connsiteY1"/>
                    </a:cxn>
                    <a:cxn ang="0">
                      <a:pos x="connsiteX2" y="connsiteY2"/>
                    </a:cxn>
                    <a:cxn ang="0">
                      <a:pos x="connsiteX3" y="connsiteY3"/>
                    </a:cxn>
                  </a:cxnLst>
                  <a:rect l="l" t="t" r="r" b="b"/>
                  <a:pathLst>
                    <a:path w="21492" h="100690">
                      <a:moveTo>
                        <a:pt x="0" y="0"/>
                      </a:moveTo>
                      <a:lnTo>
                        <a:pt x="21492" y="0"/>
                      </a:lnTo>
                      <a:lnTo>
                        <a:pt x="21492" y="100690"/>
                      </a:lnTo>
                      <a:lnTo>
                        <a:pt x="0" y="100690"/>
                      </a:lnTo>
                      <a:close/>
                    </a:path>
                  </a:pathLst>
                </a:custGeom>
                <a:solidFill>
                  <a:schemeClr val="accent3">
                    <a:lumMod val="75000"/>
                  </a:schemeClr>
                </a:solidFill>
                <a:ln w="107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70" name="Freeform: Shape 30">
                  <a:extLst>
                    <a:ext uri="{FF2B5EF4-FFF2-40B4-BE49-F238E27FC236}">
                      <a16:creationId xmlns:a16="http://schemas.microsoft.com/office/drawing/2014/main" id="{6B4B7EF8-692E-43C8-8776-565416EC12D2}"/>
                    </a:ext>
                  </a:extLst>
                </p:cNvPr>
                <p:cNvSpPr/>
                <p:nvPr/>
              </p:nvSpPr>
              <p:spPr>
                <a:xfrm rot="17273376">
                  <a:off x="5353714" y="3102384"/>
                  <a:ext cx="110290" cy="23541"/>
                </a:xfrm>
                <a:custGeom>
                  <a:avLst/>
                  <a:gdLst>
                    <a:gd name="connsiteX0" fmla="*/ 0 w 100699"/>
                    <a:gd name="connsiteY0" fmla="*/ 0 h 21494"/>
                    <a:gd name="connsiteX1" fmla="*/ 100700 w 100699"/>
                    <a:gd name="connsiteY1" fmla="*/ 0 h 21494"/>
                    <a:gd name="connsiteX2" fmla="*/ 100700 w 100699"/>
                    <a:gd name="connsiteY2" fmla="*/ 21494 h 21494"/>
                    <a:gd name="connsiteX3" fmla="*/ 0 w 100699"/>
                    <a:gd name="connsiteY3" fmla="*/ 21494 h 21494"/>
                  </a:gdLst>
                  <a:ahLst/>
                  <a:cxnLst>
                    <a:cxn ang="0">
                      <a:pos x="connsiteX0" y="connsiteY0"/>
                    </a:cxn>
                    <a:cxn ang="0">
                      <a:pos x="connsiteX1" y="connsiteY1"/>
                    </a:cxn>
                    <a:cxn ang="0">
                      <a:pos x="connsiteX2" y="connsiteY2"/>
                    </a:cxn>
                    <a:cxn ang="0">
                      <a:pos x="connsiteX3" y="connsiteY3"/>
                    </a:cxn>
                  </a:cxnLst>
                  <a:rect l="l" t="t" r="r" b="b"/>
                  <a:pathLst>
                    <a:path w="100699" h="21494">
                      <a:moveTo>
                        <a:pt x="0" y="0"/>
                      </a:moveTo>
                      <a:lnTo>
                        <a:pt x="100700" y="0"/>
                      </a:lnTo>
                      <a:lnTo>
                        <a:pt x="100700" y="21494"/>
                      </a:lnTo>
                      <a:lnTo>
                        <a:pt x="0" y="21494"/>
                      </a:lnTo>
                      <a:close/>
                    </a:path>
                  </a:pathLst>
                </a:custGeom>
                <a:solidFill>
                  <a:schemeClr val="accent3">
                    <a:lumMod val="75000"/>
                  </a:schemeClr>
                </a:solidFill>
                <a:ln w="1073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71" name="Freeform: Shape 31">
                  <a:extLst>
                    <a:ext uri="{FF2B5EF4-FFF2-40B4-BE49-F238E27FC236}">
                      <a16:creationId xmlns:a16="http://schemas.microsoft.com/office/drawing/2014/main" id="{7497C476-B2BD-4742-8AB8-B134023A12EF}"/>
                    </a:ext>
                  </a:extLst>
                </p:cNvPr>
                <p:cNvSpPr/>
                <p:nvPr/>
              </p:nvSpPr>
              <p:spPr>
                <a:xfrm rot="21573902">
                  <a:off x="6216152" y="1780223"/>
                  <a:ext cx="23540" cy="107463"/>
                </a:xfrm>
                <a:custGeom>
                  <a:avLst/>
                  <a:gdLst>
                    <a:gd name="connsiteX0" fmla="*/ 0 w 21493"/>
                    <a:gd name="connsiteY0" fmla="*/ 0 h 98118"/>
                    <a:gd name="connsiteX1" fmla="*/ 21494 w 21493"/>
                    <a:gd name="connsiteY1" fmla="*/ 0 h 98118"/>
                    <a:gd name="connsiteX2" fmla="*/ 21494 w 21493"/>
                    <a:gd name="connsiteY2" fmla="*/ 98118 h 98118"/>
                    <a:gd name="connsiteX3" fmla="*/ 0 w 21493"/>
                    <a:gd name="connsiteY3" fmla="*/ 98118 h 98118"/>
                  </a:gdLst>
                  <a:ahLst/>
                  <a:cxnLst>
                    <a:cxn ang="0">
                      <a:pos x="connsiteX0" y="connsiteY0"/>
                    </a:cxn>
                    <a:cxn ang="0">
                      <a:pos x="connsiteX1" y="connsiteY1"/>
                    </a:cxn>
                    <a:cxn ang="0">
                      <a:pos x="connsiteX2" y="connsiteY2"/>
                    </a:cxn>
                    <a:cxn ang="0">
                      <a:pos x="connsiteX3" y="connsiteY3"/>
                    </a:cxn>
                  </a:cxnLst>
                  <a:rect l="l" t="t" r="r" b="b"/>
                  <a:pathLst>
                    <a:path w="21493" h="98118">
                      <a:moveTo>
                        <a:pt x="0" y="0"/>
                      </a:moveTo>
                      <a:lnTo>
                        <a:pt x="21494" y="0"/>
                      </a:lnTo>
                      <a:lnTo>
                        <a:pt x="21494" y="98118"/>
                      </a:lnTo>
                      <a:lnTo>
                        <a:pt x="0" y="98118"/>
                      </a:lnTo>
                      <a:close/>
                    </a:path>
                  </a:pathLst>
                </a:custGeom>
                <a:solidFill>
                  <a:schemeClr val="accent4">
                    <a:lumMod val="75000"/>
                  </a:schemeClr>
                </a:solidFill>
                <a:ln w="107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72" name="Freeform: Shape 32">
                  <a:extLst>
                    <a:ext uri="{FF2B5EF4-FFF2-40B4-BE49-F238E27FC236}">
                      <a16:creationId xmlns:a16="http://schemas.microsoft.com/office/drawing/2014/main" id="{BE1953A0-CD0B-4FAE-84A7-1CC0015DA42E}"/>
                    </a:ext>
                  </a:extLst>
                </p:cNvPr>
                <p:cNvSpPr/>
                <p:nvPr/>
              </p:nvSpPr>
              <p:spPr>
                <a:xfrm rot="17908150">
                  <a:off x="6395082" y="1851308"/>
                  <a:ext cx="116290" cy="23540"/>
                </a:xfrm>
                <a:custGeom>
                  <a:avLst/>
                  <a:gdLst>
                    <a:gd name="connsiteX0" fmla="*/ 0 w 106178"/>
                    <a:gd name="connsiteY0" fmla="*/ 0 h 21493"/>
                    <a:gd name="connsiteX1" fmla="*/ 106178 w 106178"/>
                    <a:gd name="connsiteY1" fmla="*/ 0 h 21493"/>
                    <a:gd name="connsiteX2" fmla="*/ 106178 w 106178"/>
                    <a:gd name="connsiteY2" fmla="*/ 21494 h 21493"/>
                    <a:gd name="connsiteX3" fmla="*/ 0 w 106178"/>
                    <a:gd name="connsiteY3" fmla="*/ 21494 h 21493"/>
                  </a:gdLst>
                  <a:ahLst/>
                  <a:cxnLst>
                    <a:cxn ang="0">
                      <a:pos x="connsiteX0" y="connsiteY0"/>
                    </a:cxn>
                    <a:cxn ang="0">
                      <a:pos x="connsiteX1" y="connsiteY1"/>
                    </a:cxn>
                    <a:cxn ang="0">
                      <a:pos x="connsiteX2" y="connsiteY2"/>
                    </a:cxn>
                    <a:cxn ang="0">
                      <a:pos x="connsiteX3" y="connsiteY3"/>
                    </a:cxn>
                  </a:cxnLst>
                  <a:rect l="l" t="t" r="r" b="b"/>
                  <a:pathLst>
                    <a:path w="106178" h="21493">
                      <a:moveTo>
                        <a:pt x="0" y="0"/>
                      </a:moveTo>
                      <a:lnTo>
                        <a:pt x="106178" y="0"/>
                      </a:lnTo>
                      <a:lnTo>
                        <a:pt x="106178" y="21494"/>
                      </a:lnTo>
                      <a:lnTo>
                        <a:pt x="0" y="21494"/>
                      </a:lnTo>
                      <a:close/>
                    </a:path>
                  </a:pathLst>
                </a:custGeom>
                <a:solidFill>
                  <a:schemeClr val="accent4">
                    <a:lumMod val="75000"/>
                  </a:schemeClr>
                </a:solidFill>
                <a:ln w="107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73" name="Freeform: Shape 33">
                  <a:extLst>
                    <a:ext uri="{FF2B5EF4-FFF2-40B4-BE49-F238E27FC236}">
                      <a16:creationId xmlns:a16="http://schemas.microsoft.com/office/drawing/2014/main" id="{A63ED31E-6355-463E-BDFE-B5521D7CA721}"/>
                    </a:ext>
                  </a:extLst>
                </p:cNvPr>
                <p:cNvSpPr/>
                <p:nvPr/>
              </p:nvSpPr>
              <p:spPr>
                <a:xfrm rot="18424707">
                  <a:off x="6557807" y="1933171"/>
                  <a:ext cx="116285" cy="23539"/>
                </a:xfrm>
                <a:custGeom>
                  <a:avLst/>
                  <a:gdLst>
                    <a:gd name="connsiteX0" fmla="*/ 0 w 106173"/>
                    <a:gd name="connsiteY0" fmla="*/ 0 h 21492"/>
                    <a:gd name="connsiteX1" fmla="*/ 106174 w 106173"/>
                    <a:gd name="connsiteY1" fmla="*/ 0 h 21492"/>
                    <a:gd name="connsiteX2" fmla="*/ 106174 w 106173"/>
                    <a:gd name="connsiteY2" fmla="*/ 21493 h 21492"/>
                    <a:gd name="connsiteX3" fmla="*/ 0 w 106173"/>
                    <a:gd name="connsiteY3" fmla="*/ 21493 h 21492"/>
                  </a:gdLst>
                  <a:ahLst/>
                  <a:cxnLst>
                    <a:cxn ang="0">
                      <a:pos x="connsiteX0" y="connsiteY0"/>
                    </a:cxn>
                    <a:cxn ang="0">
                      <a:pos x="connsiteX1" y="connsiteY1"/>
                    </a:cxn>
                    <a:cxn ang="0">
                      <a:pos x="connsiteX2" y="connsiteY2"/>
                    </a:cxn>
                    <a:cxn ang="0">
                      <a:pos x="connsiteX3" y="connsiteY3"/>
                    </a:cxn>
                  </a:cxnLst>
                  <a:rect l="l" t="t" r="r" b="b"/>
                  <a:pathLst>
                    <a:path w="106173" h="21492">
                      <a:moveTo>
                        <a:pt x="0" y="0"/>
                      </a:moveTo>
                      <a:lnTo>
                        <a:pt x="106174" y="0"/>
                      </a:lnTo>
                      <a:lnTo>
                        <a:pt x="106174" y="21493"/>
                      </a:lnTo>
                      <a:lnTo>
                        <a:pt x="0" y="21493"/>
                      </a:lnTo>
                      <a:close/>
                    </a:path>
                  </a:pathLst>
                </a:custGeom>
                <a:solidFill>
                  <a:schemeClr val="accent4">
                    <a:lumMod val="75000"/>
                  </a:schemeClr>
                </a:solidFill>
                <a:ln w="107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74" name="Freeform: Shape 34">
                  <a:extLst>
                    <a:ext uri="{FF2B5EF4-FFF2-40B4-BE49-F238E27FC236}">
                      <a16:creationId xmlns:a16="http://schemas.microsoft.com/office/drawing/2014/main" id="{0DEDEEEA-D0A6-4603-8B8D-7E06441559E4}"/>
                    </a:ext>
                  </a:extLst>
                </p:cNvPr>
                <p:cNvSpPr/>
                <p:nvPr/>
              </p:nvSpPr>
              <p:spPr>
                <a:xfrm>
                  <a:off x="4807836" y="3186615"/>
                  <a:ext cx="870035" cy="870035"/>
                </a:xfrm>
                <a:custGeom>
                  <a:avLst/>
                  <a:gdLst>
                    <a:gd name="connsiteX0" fmla="*/ 794378 w 794378"/>
                    <a:gd name="connsiteY0" fmla="*/ 397189 h 794378"/>
                    <a:gd name="connsiteX1" fmla="*/ 397189 w 794378"/>
                    <a:gd name="connsiteY1" fmla="*/ 794378 h 794378"/>
                    <a:gd name="connsiteX2" fmla="*/ 22353 w 794378"/>
                    <a:gd name="connsiteY2" fmla="*/ 528833 h 794378"/>
                    <a:gd name="connsiteX3" fmla="*/ 9887 w 794378"/>
                    <a:gd name="connsiteY3" fmla="*/ 485740 h 794378"/>
                    <a:gd name="connsiteX4" fmla="*/ 8490 w 794378"/>
                    <a:gd name="connsiteY4" fmla="*/ 479292 h 794378"/>
                    <a:gd name="connsiteX5" fmla="*/ 8490 w 794378"/>
                    <a:gd name="connsiteY5" fmla="*/ 479185 h 794378"/>
                    <a:gd name="connsiteX6" fmla="*/ 1612 w 794378"/>
                    <a:gd name="connsiteY6" fmla="*/ 432652 h 794378"/>
                    <a:gd name="connsiteX7" fmla="*/ 0 w 794378"/>
                    <a:gd name="connsiteY7" fmla="*/ 397189 h 794378"/>
                    <a:gd name="connsiteX8" fmla="*/ 2902 w 794378"/>
                    <a:gd name="connsiteY8" fmla="*/ 349797 h 794378"/>
                    <a:gd name="connsiteX9" fmla="*/ 3331 w 794378"/>
                    <a:gd name="connsiteY9" fmla="*/ 346144 h 794378"/>
                    <a:gd name="connsiteX10" fmla="*/ 10102 w 794378"/>
                    <a:gd name="connsiteY10" fmla="*/ 308316 h 794378"/>
                    <a:gd name="connsiteX11" fmla="*/ 29875 w 794378"/>
                    <a:gd name="connsiteY11" fmla="*/ 246094 h 794378"/>
                    <a:gd name="connsiteX12" fmla="*/ 397189 w 794378"/>
                    <a:gd name="connsiteY12" fmla="*/ 0 h 794378"/>
                    <a:gd name="connsiteX13" fmla="*/ 794378 w 794378"/>
                    <a:gd name="connsiteY13" fmla="*/ 397189 h 7943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94378" h="794378">
                      <a:moveTo>
                        <a:pt x="794378" y="397189"/>
                      </a:moveTo>
                      <a:cubicBezTo>
                        <a:pt x="794378" y="616524"/>
                        <a:pt x="616524" y="794378"/>
                        <a:pt x="397189" y="794378"/>
                      </a:cubicBezTo>
                      <a:cubicBezTo>
                        <a:pt x="223956" y="794378"/>
                        <a:pt x="76622" y="683475"/>
                        <a:pt x="22353" y="528833"/>
                      </a:cubicBezTo>
                      <a:cubicBezTo>
                        <a:pt x="17409" y="514863"/>
                        <a:pt x="13326" y="500463"/>
                        <a:pt x="9887" y="485740"/>
                      </a:cubicBezTo>
                      <a:cubicBezTo>
                        <a:pt x="9457" y="483591"/>
                        <a:pt x="9027" y="481441"/>
                        <a:pt x="8490" y="479292"/>
                      </a:cubicBezTo>
                      <a:lnTo>
                        <a:pt x="8490" y="479185"/>
                      </a:lnTo>
                      <a:cubicBezTo>
                        <a:pt x="5373" y="464032"/>
                        <a:pt x="3009" y="448450"/>
                        <a:pt x="1612" y="432652"/>
                      </a:cubicBezTo>
                      <a:cubicBezTo>
                        <a:pt x="537" y="420939"/>
                        <a:pt x="0" y="409118"/>
                        <a:pt x="0" y="397189"/>
                      </a:cubicBezTo>
                      <a:cubicBezTo>
                        <a:pt x="0" y="381177"/>
                        <a:pt x="967" y="365272"/>
                        <a:pt x="2902" y="349797"/>
                      </a:cubicBezTo>
                      <a:cubicBezTo>
                        <a:pt x="3009" y="348508"/>
                        <a:pt x="3116" y="347326"/>
                        <a:pt x="3331" y="346144"/>
                      </a:cubicBezTo>
                      <a:cubicBezTo>
                        <a:pt x="4943" y="333248"/>
                        <a:pt x="7200" y="320674"/>
                        <a:pt x="10102" y="308316"/>
                      </a:cubicBezTo>
                      <a:cubicBezTo>
                        <a:pt x="14938" y="286823"/>
                        <a:pt x="21600" y="265975"/>
                        <a:pt x="29875" y="246094"/>
                      </a:cubicBezTo>
                      <a:cubicBezTo>
                        <a:pt x="89303" y="101662"/>
                        <a:pt x="231371" y="0"/>
                        <a:pt x="397189" y="0"/>
                      </a:cubicBezTo>
                      <a:cubicBezTo>
                        <a:pt x="616524" y="0"/>
                        <a:pt x="794378" y="177854"/>
                        <a:pt x="794378" y="397189"/>
                      </a:cubicBezTo>
                      <a:close/>
                    </a:path>
                  </a:pathLst>
                </a:custGeom>
                <a:solidFill>
                  <a:schemeClr val="accent4"/>
                </a:solidFill>
                <a:ln w="107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75" name="Freeform: Shape 35">
                  <a:extLst>
                    <a:ext uri="{FF2B5EF4-FFF2-40B4-BE49-F238E27FC236}">
                      <a16:creationId xmlns:a16="http://schemas.microsoft.com/office/drawing/2014/main" id="{39EA03C3-5919-42D6-920D-13201F425BE8}"/>
                    </a:ext>
                  </a:extLst>
                </p:cNvPr>
                <p:cNvSpPr/>
                <p:nvPr/>
              </p:nvSpPr>
              <p:spPr>
                <a:xfrm>
                  <a:off x="4871276" y="3250055"/>
                  <a:ext cx="743154" cy="743154"/>
                </a:xfrm>
                <a:custGeom>
                  <a:avLst/>
                  <a:gdLst>
                    <a:gd name="connsiteX0" fmla="*/ 339266 w 678531"/>
                    <a:gd name="connsiteY0" fmla="*/ 678532 h 678531"/>
                    <a:gd name="connsiteX1" fmla="*/ 0 w 678531"/>
                    <a:gd name="connsiteY1" fmla="*/ 339266 h 678531"/>
                    <a:gd name="connsiteX2" fmla="*/ 339266 w 678531"/>
                    <a:gd name="connsiteY2" fmla="*/ 0 h 678531"/>
                    <a:gd name="connsiteX3" fmla="*/ 678532 w 678531"/>
                    <a:gd name="connsiteY3" fmla="*/ 339266 h 678531"/>
                    <a:gd name="connsiteX4" fmla="*/ 339266 w 678531"/>
                    <a:gd name="connsiteY4" fmla="*/ 678532 h 678531"/>
                    <a:gd name="connsiteX5" fmla="*/ 339266 w 678531"/>
                    <a:gd name="connsiteY5" fmla="*/ 10746 h 678531"/>
                    <a:gd name="connsiteX6" fmla="*/ 10746 w 678531"/>
                    <a:gd name="connsiteY6" fmla="*/ 339266 h 678531"/>
                    <a:gd name="connsiteX7" fmla="*/ 339266 w 678531"/>
                    <a:gd name="connsiteY7" fmla="*/ 667785 h 678531"/>
                    <a:gd name="connsiteX8" fmla="*/ 667785 w 678531"/>
                    <a:gd name="connsiteY8" fmla="*/ 339266 h 678531"/>
                    <a:gd name="connsiteX9" fmla="*/ 339266 w 678531"/>
                    <a:gd name="connsiteY9" fmla="*/ 10746 h 678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78531" h="678531">
                      <a:moveTo>
                        <a:pt x="339266" y="678532"/>
                      </a:moveTo>
                      <a:cubicBezTo>
                        <a:pt x="152170" y="678532"/>
                        <a:pt x="0" y="526362"/>
                        <a:pt x="0" y="339266"/>
                      </a:cubicBezTo>
                      <a:cubicBezTo>
                        <a:pt x="0" y="152170"/>
                        <a:pt x="152170" y="0"/>
                        <a:pt x="339266" y="0"/>
                      </a:cubicBezTo>
                      <a:cubicBezTo>
                        <a:pt x="526362" y="0"/>
                        <a:pt x="678532" y="152170"/>
                        <a:pt x="678532" y="339266"/>
                      </a:cubicBezTo>
                      <a:cubicBezTo>
                        <a:pt x="678532" y="526254"/>
                        <a:pt x="526362" y="678532"/>
                        <a:pt x="339266" y="678532"/>
                      </a:cubicBezTo>
                      <a:close/>
                      <a:moveTo>
                        <a:pt x="339266" y="10746"/>
                      </a:moveTo>
                      <a:cubicBezTo>
                        <a:pt x="158080" y="10746"/>
                        <a:pt x="10746" y="158081"/>
                        <a:pt x="10746" y="339266"/>
                      </a:cubicBezTo>
                      <a:cubicBezTo>
                        <a:pt x="10746" y="520451"/>
                        <a:pt x="158080" y="667785"/>
                        <a:pt x="339266" y="667785"/>
                      </a:cubicBezTo>
                      <a:cubicBezTo>
                        <a:pt x="520451" y="667785"/>
                        <a:pt x="667785" y="520451"/>
                        <a:pt x="667785" y="339266"/>
                      </a:cubicBezTo>
                      <a:cubicBezTo>
                        <a:pt x="667785" y="158081"/>
                        <a:pt x="520451" y="10746"/>
                        <a:pt x="339266" y="10746"/>
                      </a:cubicBezTo>
                      <a:close/>
                    </a:path>
                  </a:pathLst>
                </a:custGeom>
                <a:solidFill>
                  <a:schemeClr val="accent4">
                    <a:lumMod val="75000"/>
                  </a:schemeClr>
                </a:solidFill>
                <a:ln w="107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76" name="Freeform: Shape 36">
                  <a:extLst>
                    <a:ext uri="{FF2B5EF4-FFF2-40B4-BE49-F238E27FC236}">
                      <a16:creationId xmlns:a16="http://schemas.microsoft.com/office/drawing/2014/main" id="{7A9FAB46-571D-48FF-9B21-C97670456142}"/>
                    </a:ext>
                  </a:extLst>
                </p:cNvPr>
                <p:cNvSpPr/>
                <p:nvPr/>
              </p:nvSpPr>
              <p:spPr>
                <a:xfrm>
                  <a:off x="5099118" y="3450380"/>
                  <a:ext cx="286893" cy="358630"/>
                </a:xfrm>
                <a:custGeom>
                  <a:avLst/>
                  <a:gdLst>
                    <a:gd name="connsiteX0" fmla="*/ 115761 w 261945"/>
                    <a:gd name="connsiteY0" fmla="*/ 274895 h 327444"/>
                    <a:gd name="connsiteX1" fmla="*/ 102436 w 261945"/>
                    <a:gd name="connsiteY1" fmla="*/ 256625 h 327444"/>
                    <a:gd name="connsiteX2" fmla="*/ 145529 w 261945"/>
                    <a:gd name="connsiteY2" fmla="*/ 225246 h 327444"/>
                    <a:gd name="connsiteX3" fmla="*/ 160896 w 261945"/>
                    <a:gd name="connsiteY3" fmla="*/ 246309 h 327444"/>
                    <a:gd name="connsiteX4" fmla="*/ 198079 w 261945"/>
                    <a:gd name="connsiteY4" fmla="*/ 258882 h 327444"/>
                    <a:gd name="connsiteX5" fmla="*/ 200981 w 261945"/>
                    <a:gd name="connsiteY5" fmla="*/ 216971 h 327444"/>
                    <a:gd name="connsiteX6" fmla="*/ 181422 w 261945"/>
                    <a:gd name="connsiteY6" fmla="*/ 199562 h 327444"/>
                    <a:gd name="connsiteX7" fmla="*/ 157780 w 261945"/>
                    <a:gd name="connsiteY7" fmla="*/ 191179 h 327444"/>
                    <a:gd name="connsiteX8" fmla="*/ 131773 w 261945"/>
                    <a:gd name="connsiteY8" fmla="*/ 188278 h 327444"/>
                    <a:gd name="connsiteX9" fmla="*/ 103295 w 261945"/>
                    <a:gd name="connsiteY9" fmla="*/ 186021 h 327444"/>
                    <a:gd name="connsiteX10" fmla="*/ 74602 w 261945"/>
                    <a:gd name="connsiteY10" fmla="*/ 180970 h 327444"/>
                    <a:gd name="connsiteX11" fmla="*/ 46554 w 261945"/>
                    <a:gd name="connsiteY11" fmla="*/ 167752 h 327444"/>
                    <a:gd name="connsiteX12" fmla="*/ 21085 w 261945"/>
                    <a:gd name="connsiteY12" fmla="*/ 142713 h 327444"/>
                    <a:gd name="connsiteX13" fmla="*/ 17753 w 261945"/>
                    <a:gd name="connsiteY13" fmla="*/ 45135 h 327444"/>
                    <a:gd name="connsiteX14" fmla="*/ 3246 w 261945"/>
                    <a:gd name="connsiteY14" fmla="*/ 25147 h 327444"/>
                    <a:gd name="connsiteX15" fmla="*/ 37742 w 261945"/>
                    <a:gd name="connsiteY15" fmla="*/ 0 h 327444"/>
                    <a:gd name="connsiteX16" fmla="*/ 52357 w 261945"/>
                    <a:gd name="connsiteY16" fmla="*/ 19988 h 327444"/>
                    <a:gd name="connsiteX17" fmla="*/ 101468 w 261945"/>
                    <a:gd name="connsiteY17" fmla="*/ 16764 h 327444"/>
                    <a:gd name="connsiteX18" fmla="*/ 144992 w 261945"/>
                    <a:gd name="connsiteY18" fmla="*/ 52550 h 327444"/>
                    <a:gd name="connsiteX19" fmla="*/ 151117 w 261945"/>
                    <a:gd name="connsiteY19" fmla="*/ 60932 h 327444"/>
                    <a:gd name="connsiteX20" fmla="*/ 111355 w 261945"/>
                    <a:gd name="connsiteY20" fmla="*/ 89948 h 327444"/>
                    <a:gd name="connsiteX21" fmla="*/ 103295 w 261945"/>
                    <a:gd name="connsiteY21" fmla="*/ 78986 h 327444"/>
                    <a:gd name="connsiteX22" fmla="*/ 63104 w 261945"/>
                    <a:gd name="connsiteY22" fmla="*/ 67703 h 327444"/>
                    <a:gd name="connsiteX23" fmla="*/ 61277 w 261945"/>
                    <a:gd name="connsiteY23" fmla="*/ 109614 h 327444"/>
                    <a:gd name="connsiteX24" fmla="*/ 80943 w 261945"/>
                    <a:gd name="connsiteY24" fmla="*/ 127023 h 327444"/>
                    <a:gd name="connsiteX25" fmla="*/ 104907 w 261945"/>
                    <a:gd name="connsiteY25" fmla="*/ 135191 h 327444"/>
                    <a:gd name="connsiteX26" fmla="*/ 131236 w 261945"/>
                    <a:gd name="connsiteY26" fmla="*/ 137877 h 327444"/>
                    <a:gd name="connsiteX27" fmla="*/ 159714 w 261945"/>
                    <a:gd name="connsiteY27" fmla="*/ 140026 h 327444"/>
                    <a:gd name="connsiteX28" fmla="*/ 187977 w 261945"/>
                    <a:gd name="connsiteY28" fmla="*/ 145292 h 327444"/>
                    <a:gd name="connsiteX29" fmla="*/ 215811 w 261945"/>
                    <a:gd name="connsiteY29" fmla="*/ 158725 h 327444"/>
                    <a:gd name="connsiteX30" fmla="*/ 241172 w 261945"/>
                    <a:gd name="connsiteY30" fmla="*/ 183872 h 327444"/>
                    <a:gd name="connsiteX31" fmla="*/ 261913 w 261945"/>
                    <a:gd name="connsiteY31" fmla="*/ 236637 h 327444"/>
                    <a:gd name="connsiteX32" fmla="*/ 243859 w 261945"/>
                    <a:gd name="connsiteY32" fmla="*/ 282847 h 327444"/>
                    <a:gd name="connsiteX33" fmla="*/ 258044 w 261945"/>
                    <a:gd name="connsiteY33" fmla="*/ 302298 h 327444"/>
                    <a:gd name="connsiteX34" fmla="*/ 223548 w 261945"/>
                    <a:gd name="connsiteY34" fmla="*/ 327445 h 327444"/>
                    <a:gd name="connsiteX35" fmla="*/ 209363 w 261945"/>
                    <a:gd name="connsiteY35" fmla="*/ 307994 h 327444"/>
                    <a:gd name="connsiteX36" fmla="*/ 159822 w 261945"/>
                    <a:gd name="connsiteY36" fmla="*/ 311217 h 327444"/>
                    <a:gd name="connsiteX37" fmla="*/ 115761 w 261945"/>
                    <a:gd name="connsiteY37" fmla="*/ 274895 h 327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61945" h="327444">
                      <a:moveTo>
                        <a:pt x="115761" y="274895"/>
                      </a:moveTo>
                      <a:lnTo>
                        <a:pt x="102436" y="256625"/>
                      </a:lnTo>
                      <a:lnTo>
                        <a:pt x="145529" y="225246"/>
                      </a:lnTo>
                      <a:lnTo>
                        <a:pt x="160896" y="246309"/>
                      </a:lnTo>
                      <a:cubicBezTo>
                        <a:pt x="173470" y="263611"/>
                        <a:pt x="185936" y="267802"/>
                        <a:pt x="198079" y="258882"/>
                      </a:cubicBezTo>
                      <a:cubicBezTo>
                        <a:pt x="212587" y="248243"/>
                        <a:pt x="213661" y="234273"/>
                        <a:pt x="200981" y="216971"/>
                      </a:cubicBezTo>
                      <a:cubicBezTo>
                        <a:pt x="195500" y="209448"/>
                        <a:pt x="189052" y="203645"/>
                        <a:pt x="181422" y="199562"/>
                      </a:cubicBezTo>
                      <a:cubicBezTo>
                        <a:pt x="173792" y="195371"/>
                        <a:pt x="165947" y="192577"/>
                        <a:pt x="157780" y="191179"/>
                      </a:cubicBezTo>
                      <a:cubicBezTo>
                        <a:pt x="149612" y="189783"/>
                        <a:pt x="140908" y="188815"/>
                        <a:pt x="131773" y="188278"/>
                      </a:cubicBezTo>
                      <a:cubicBezTo>
                        <a:pt x="122639" y="187741"/>
                        <a:pt x="113075" y="186988"/>
                        <a:pt x="103295" y="186021"/>
                      </a:cubicBezTo>
                      <a:cubicBezTo>
                        <a:pt x="93516" y="185054"/>
                        <a:pt x="83844" y="183442"/>
                        <a:pt x="74602" y="180970"/>
                      </a:cubicBezTo>
                      <a:cubicBezTo>
                        <a:pt x="65253" y="178499"/>
                        <a:pt x="55903" y="174093"/>
                        <a:pt x="46554" y="167752"/>
                      </a:cubicBezTo>
                      <a:cubicBezTo>
                        <a:pt x="37097" y="161412"/>
                        <a:pt x="28715" y="153030"/>
                        <a:pt x="21085" y="142713"/>
                      </a:cubicBezTo>
                      <a:cubicBezTo>
                        <a:pt x="-5889" y="105745"/>
                        <a:pt x="-6963" y="73291"/>
                        <a:pt x="17753" y="45135"/>
                      </a:cubicBezTo>
                      <a:lnTo>
                        <a:pt x="3246" y="25147"/>
                      </a:lnTo>
                      <a:lnTo>
                        <a:pt x="37742" y="0"/>
                      </a:lnTo>
                      <a:lnTo>
                        <a:pt x="52357" y="19988"/>
                      </a:lnTo>
                      <a:cubicBezTo>
                        <a:pt x="69444" y="12358"/>
                        <a:pt x="85779" y="11284"/>
                        <a:pt x="101468" y="16764"/>
                      </a:cubicBezTo>
                      <a:cubicBezTo>
                        <a:pt x="117158" y="22353"/>
                        <a:pt x="131666" y="34281"/>
                        <a:pt x="144992" y="52550"/>
                      </a:cubicBezTo>
                      <a:lnTo>
                        <a:pt x="151117" y="60932"/>
                      </a:lnTo>
                      <a:lnTo>
                        <a:pt x="111355" y="89948"/>
                      </a:lnTo>
                      <a:lnTo>
                        <a:pt x="103295" y="78986"/>
                      </a:lnTo>
                      <a:cubicBezTo>
                        <a:pt x="90400" y="61362"/>
                        <a:pt x="76966" y="57601"/>
                        <a:pt x="63104" y="67703"/>
                      </a:cubicBezTo>
                      <a:cubicBezTo>
                        <a:pt x="49026" y="77912"/>
                        <a:pt x="48488" y="91882"/>
                        <a:pt x="61277" y="109614"/>
                      </a:cubicBezTo>
                      <a:cubicBezTo>
                        <a:pt x="66757" y="117029"/>
                        <a:pt x="73313" y="122832"/>
                        <a:pt x="80943" y="127023"/>
                      </a:cubicBezTo>
                      <a:cubicBezTo>
                        <a:pt x="88573" y="131107"/>
                        <a:pt x="96632" y="133901"/>
                        <a:pt x="104907" y="135191"/>
                      </a:cubicBezTo>
                      <a:cubicBezTo>
                        <a:pt x="113182" y="136480"/>
                        <a:pt x="121994" y="137340"/>
                        <a:pt x="131236" y="137877"/>
                      </a:cubicBezTo>
                      <a:cubicBezTo>
                        <a:pt x="140586" y="138307"/>
                        <a:pt x="150042" y="139059"/>
                        <a:pt x="159714" y="140026"/>
                      </a:cubicBezTo>
                      <a:cubicBezTo>
                        <a:pt x="169386" y="140994"/>
                        <a:pt x="178843" y="142713"/>
                        <a:pt x="187977" y="145292"/>
                      </a:cubicBezTo>
                      <a:cubicBezTo>
                        <a:pt x="197112" y="147871"/>
                        <a:pt x="206461" y="152277"/>
                        <a:pt x="215811" y="158725"/>
                      </a:cubicBezTo>
                      <a:cubicBezTo>
                        <a:pt x="225160" y="165173"/>
                        <a:pt x="233650" y="173555"/>
                        <a:pt x="241172" y="183872"/>
                      </a:cubicBezTo>
                      <a:cubicBezTo>
                        <a:pt x="254498" y="202141"/>
                        <a:pt x="261376" y="219765"/>
                        <a:pt x="261913" y="236637"/>
                      </a:cubicBezTo>
                      <a:cubicBezTo>
                        <a:pt x="262450" y="253509"/>
                        <a:pt x="256325" y="268876"/>
                        <a:pt x="243859" y="282847"/>
                      </a:cubicBezTo>
                      <a:lnTo>
                        <a:pt x="258044" y="302298"/>
                      </a:lnTo>
                      <a:lnTo>
                        <a:pt x="223548" y="327445"/>
                      </a:lnTo>
                      <a:lnTo>
                        <a:pt x="209363" y="307994"/>
                      </a:lnTo>
                      <a:cubicBezTo>
                        <a:pt x="192169" y="315731"/>
                        <a:pt x="175619" y="316806"/>
                        <a:pt x="159822" y="311217"/>
                      </a:cubicBezTo>
                      <a:cubicBezTo>
                        <a:pt x="143809" y="305307"/>
                        <a:pt x="129194" y="293378"/>
                        <a:pt x="115761" y="274895"/>
                      </a:cubicBezTo>
                      <a:close/>
                    </a:path>
                  </a:pathLst>
                </a:custGeom>
                <a:solidFill>
                  <a:schemeClr val="accent3">
                    <a:lumMod val="75000"/>
                  </a:schemeClr>
                </a:solidFill>
                <a:ln w="107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sp>
            <p:nvSpPr>
              <p:cNvPr id="6" name="Rectangle: Rounded Corners 44">
                <a:extLst>
                  <a:ext uri="{FF2B5EF4-FFF2-40B4-BE49-F238E27FC236}">
                    <a16:creationId xmlns:a16="http://schemas.microsoft.com/office/drawing/2014/main" id="{4C43784D-BBAC-478C-8DCC-541A40273A08}"/>
                  </a:ext>
                </a:extLst>
              </p:cNvPr>
              <p:cNvSpPr/>
              <p:nvPr/>
            </p:nvSpPr>
            <p:spPr>
              <a:xfrm>
                <a:off x="7790354" y="2326834"/>
                <a:ext cx="3191926" cy="752616"/>
              </a:xfrm>
              <a:prstGeom prst="roundRect">
                <a:avLst>
                  <a:gd name="adj" fmla="val 50000"/>
                </a:avLst>
              </a:prstGeom>
              <a:solidFill>
                <a:schemeClr val="bg1"/>
              </a:solidFill>
              <a:ln>
                <a:noFill/>
              </a:ln>
              <a:effectLst>
                <a:outerShdw blurRad="266700" dist="228600" dir="2700000" algn="tl" rotWithShape="0">
                  <a:schemeClr val="accent3">
                    <a:alpha val="1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2400" b="0" i="0" u="none" strike="noStrike" kern="1200" cap="none" spc="0" normalizeH="0" baseline="0" noProof="0" dirty="0">
                  <a:ln>
                    <a:noFill/>
                  </a:ln>
                  <a:solidFill>
                    <a:srgbClr val="FFFFFF"/>
                  </a:solidFill>
                  <a:effectLst/>
                  <a:uLnTx/>
                  <a:uFillTx/>
                  <a:latin typeface="等线" panose="020F0502020204030204"/>
                  <a:ea typeface="+mn-ea"/>
                  <a:cs typeface="+mn-cs"/>
                </a:endParaRPr>
              </a:p>
            </p:txBody>
          </p:sp>
          <p:sp>
            <p:nvSpPr>
              <p:cNvPr id="7" name="TextBox 49">
                <a:extLst>
                  <a:ext uri="{FF2B5EF4-FFF2-40B4-BE49-F238E27FC236}">
                    <a16:creationId xmlns:a16="http://schemas.microsoft.com/office/drawing/2014/main" id="{C457796D-FA86-4D1C-B9BD-9C175CC35857}"/>
                  </a:ext>
                </a:extLst>
              </p:cNvPr>
              <p:cNvSpPr txBox="1"/>
              <p:nvPr/>
            </p:nvSpPr>
            <p:spPr>
              <a:xfrm>
                <a:off x="8400187" y="2652539"/>
                <a:ext cx="2130918" cy="299184"/>
              </a:xfrm>
              <a:prstGeom prst="rect">
                <a:avLst/>
              </a:prstGeom>
              <a:noFill/>
            </p:spPr>
            <p:txBody>
              <a:bodyPr wrap="square" rtlCol="0">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lumMod val="65000"/>
                        <a:lumOff val="35000"/>
                      </a:srgbClr>
                    </a:solidFill>
                    <a:effectLst/>
                    <a:uLnTx/>
                    <a:uFillTx/>
                    <a:latin typeface="等线 Light" panose="020F0302020204030204"/>
                    <a:ea typeface="+mn-ea"/>
                    <a:cs typeface="+mn-cs"/>
                  </a:rPr>
                  <a:t>Lorem ipsum dolor sit </a:t>
                </a:r>
                <a:r>
                  <a:rPr kumimoji="0" lang="en-US" sz="1200" b="0" i="0" u="none" strike="noStrike" kern="1200" cap="none" spc="0" normalizeH="0" baseline="0" noProof="0" dirty="0" err="1">
                    <a:ln>
                      <a:noFill/>
                    </a:ln>
                    <a:solidFill>
                      <a:srgbClr val="000000">
                        <a:lumMod val="65000"/>
                        <a:lumOff val="35000"/>
                      </a:srgbClr>
                    </a:solidFill>
                    <a:effectLst/>
                    <a:uLnTx/>
                    <a:uFillTx/>
                    <a:latin typeface="等线 Light" panose="020F0302020204030204"/>
                    <a:ea typeface="+mn-ea"/>
                    <a:cs typeface="+mn-cs"/>
                  </a:rPr>
                  <a:t>amet</a:t>
                </a:r>
                <a:r>
                  <a:rPr kumimoji="0" lang="en-US" sz="1200" b="0" i="0" u="none" strike="noStrike" kern="1200" cap="none" spc="0" normalizeH="0" baseline="0" noProof="0" dirty="0">
                    <a:ln>
                      <a:noFill/>
                    </a:ln>
                    <a:solidFill>
                      <a:srgbClr val="000000">
                        <a:lumMod val="65000"/>
                        <a:lumOff val="35000"/>
                      </a:srgbClr>
                    </a:solidFill>
                    <a:effectLst/>
                    <a:uLnTx/>
                    <a:uFillTx/>
                    <a:latin typeface="等线 Light" panose="020F0302020204030204"/>
                    <a:ea typeface="+mn-ea"/>
                    <a:cs typeface="+mn-cs"/>
                  </a:rPr>
                  <a:t>, </a:t>
                </a:r>
              </a:p>
            </p:txBody>
          </p:sp>
          <p:sp>
            <p:nvSpPr>
              <p:cNvPr id="8" name="TextBox 50">
                <a:extLst>
                  <a:ext uri="{FF2B5EF4-FFF2-40B4-BE49-F238E27FC236}">
                    <a16:creationId xmlns:a16="http://schemas.microsoft.com/office/drawing/2014/main" id="{D4A993D4-C28E-41D9-BBCE-286E4B18F639}"/>
                  </a:ext>
                </a:extLst>
              </p:cNvPr>
              <p:cNvSpPr txBox="1"/>
              <p:nvPr/>
            </p:nvSpPr>
            <p:spPr>
              <a:xfrm>
                <a:off x="8400186" y="2372266"/>
                <a:ext cx="1800089" cy="365934"/>
              </a:xfrm>
              <a:prstGeom prst="rect">
                <a:avLst/>
              </a:prstGeom>
              <a:noFill/>
            </p:spPr>
            <p:txBody>
              <a:bodyPr wrap="square" rtlCol="0">
                <a:spAutoFit/>
              </a:bodyPr>
              <a:lstStyle/>
              <a:p>
                <a:pPr marL="0" marR="0" lvl="0" indent="0" algn="l" defTabSz="914400" rtl="0" eaLnBrk="1" fontAlgn="auto" latinLnBrk="0" hangingPunct="1">
                  <a:lnSpc>
                    <a:spcPct val="140000"/>
                  </a:lnSpc>
                  <a:spcBef>
                    <a:spcPts val="0"/>
                  </a:spcBef>
                  <a:spcAft>
                    <a:spcPts val="0"/>
                  </a:spcAft>
                  <a:buClrTx/>
                  <a:buSzTx/>
                  <a:buFontTx/>
                  <a:buNone/>
                  <a:tabLst/>
                  <a:defRPr/>
                </a:pPr>
                <a:r>
                  <a:rPr kumimoji="0" lang="da-DK" sz="1400" b="1" i="0" u="none" strike="noStrike" kern="1200" cap="none" spc="0" normalizeH="0" baseline="0" noProof="0" dirty="0">
                    <a:ln>
                      <a:noFill/>
                    </a:ln>
                    <a:solidFill>
                      <a:srgbClr val="8F38FF"/>
                    </a:solidFill>
                    <a:effectLst/>
                    <a:uLnTx/>
                    <a:uFillTx/>
                    <a:latin typeface="等线" panose="020F0502020204030204"/>
                    <a:ea typeface="+mn-ea"/>
                    <a:cs typeface="+mn-cs"/>
                  </a:rPr>
                  <a:t>Innovator  </a:t>
                </a:r>
              </a:p>
            </p:txBody>
          </p:sp>
          <p:sp>
            <p:nvSpPr>
              <p:cNvPr id="9" name="Oval 47">
                <a:extLst>
                  <a:ext uri="{FF2B5EF4-FFF2-40B4-BE49-F238E27FC236}">
                    <a16:creationId xmlns:a16="http://schemas.microsoft.com/office/drawing/2014/main" id="{2D464562-BA60-4962-AE6C-61CE54A31507}"/>
                  </a:ext>
                </a:extLst>
              </p:cNvPr>
              <p:cNvSpPr/>
              <p:nvPr/>
            </p:nvSpPr>
            <p:spPr>
              <a:xfrm>
                <a:off x="7294357" y="2310194"/>
                <a:ext cx="752616" cy="752616"/>
              </a:xfrm>
              <a:prstGeom prst="ellipse">
                <a:avLst/>
              </a:prstGeom>
              <a:solidFill>
                <a:schemeClr val="accent4"/>
              </a:solidFill>
              <a:ln>
                <a:noFill/>
              </a:ln>
              <a:effectLst>
                <a:outerShdw blurRad="419100" dist="177800" dir="2700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等线" panose="020F0502020204030204"/>
                  <a:ea typeface="+mn-ea"/>
                  <a:cs typeface="+mn-cs"/>
                </a:endParaRPr>
              </a:p>
            </p:txBody>
          </p:sp>
          <p:sp>
            <p:nvSpPr>
              <p:cNvPr id="10" name="Rectangle: Rounded Corners 52">
                <a:extLst>
                  <a:ext uri="{FF2B5EF4-FFF2-40B4-BE49-F238E27FC236}">
                    <a16:creationId xmlns:a16="http://schemas.microsoft.com/office/drawing/2014/main" id="{BD7F308A-516E-4417-9FE0-6066AFB53F1C}"/>
                  </a:ext>
                </a:extLst>
              </p:cNvPr>
              <p:cNvSpPr/>
              <p:nvPr/>
            </p:nvSpPr>
            <p:spPr>
              <a:xfrm>
                <a:off x="7718760" y="4526091"/>
                <a:ext cx="3191926" cy="752616"/>
              </a:xfrm>
              <a:prstGeom prst="roundRect">
                <a:avLst>
                  <a:gd name="adj" fmla="val 50000"/>
                </a:avLst>
              </a:prstGeom>
              <a:solidFill>
                <a:schemeClr val="bg1"/>
              </a:solidFill>
              <a:ln>
                <a:noFill/>
              </a:ln>
              <a:effectLst>
                <a:outerShdw blurRad="266700" dist="228600" dir="2700000" algn="tl" rotWithShape="0">
                  <a:schemeClr val="accent3">
                    <a:alpha val="1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2400" b="0" i="0" u="none" strike="noStrike" kern="1200" cap="none" spc="0" normalizeH="0" baseline="0" noProof="0" dirty="0">
                  <a:ln>
                    <a:noFill/>
                  </a:ln>
                  <a:solidFill>
                    <a:srgbClr val="FFFFFF"/>
                  </a:solidFill>
                  <a:effectLst/>
                  <a:uLnTx/>
                  <a:uFillTx/>
                  <a:latin typeface="等线" panose="020F0502020204030204"/>
                  <a:ea typeface="+mn-ea"/>
                  <a:cs typeface="+mn-cs"/>
                </a:endParaRPr>
              </a:p>
            </p:txBody>
          </p:sp>
          <p:sp>
            <p:nvSpPr>
              <p:cNvPr id="11" name="TextBox 57">
                <a:extLst>
                  <a:ext uri="{FF2B5EF4-FFF2-40B4-BE49-F238E27FC236}">
                    <a16:creationId xmlns:a16="http://schemas.microsoft.com/office/drawing/2014/main" id="{2750D619-1AA2-4D6D-9F95-EC6EBFF8D372}"/>
                  </a:ext>
                </a:extLst>
              </p:cNvPr>
              <p:cNvSpPr txBox="1"/>
              <p:nvPr/>
            </p:nvSpPr>
            <p:spPr>
              <a:xfrm>
                <a:off x="8328593" y="4851796"/>
                <a:ext cx="2130918" cy="299184"/>
              </a:xfrm>
              <a:prstGeom prst="rect">
                <a:avLst/>
              </a:prstGeom>
              <a:noFill/>
            </p:spPr>
            <p:txBody>
              <a:bodyPr wrap="square" rtlCol="0">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lumMod val="65000"/>
                        <a:lumOff val="35000"/>
                      </a:srgbClr>
                    </a:solidFill>
                    <a:effectLst/>
                    <a:uLnTx/>
                    <a:uFillTx/>
                    <a:latin typeface="等线 Light" panose="020F0302020204030204"/>
                    <a:ea typeface="+mn-ea"/>
                    <a:cs typeface="+mn-cs"/>
                  </a:rPr>
                  <a:t>Lorem ipsum dolor sit </a:t>
                </a:r>
                <a:r>
                  <a:rPr kumimoji="0" lang="en-US" sz="1200" b="0" i="0" u="none" strike="noStrike" kern="1200" cap="none" spc="0" normalizeH="0" baseline="0" noProof="0" dirty="0" err="1">
                    <a:ln>
                      <a:noFill/>
                    </a:ln>
                    <a:solidFill>
                      <a:srgbClr val="000000">
                        <a:lumMod val="65000"/>
                        <a:lumOff val="35000"/>
                      </a:srgbClr>
                    </a:solidFill>
                    <a:effectLst/>
                    <a:uLnTx/>
                    <a:uFillTx/>
                    <a:latin typeface="等线 Light" panose="020F0302020204030204"/>
                    <a:ea typeface="+mn-ea"/>
                    <a:cs typeface="+mn-cs"/>
                  </a:rPr>
                  <a:t>amet</a:t>
                </a:r>
                <a:r>
                  <a:rPr kumimoji="0" lang="en-US" sz="1200" b="0" i="0" u="none" strike="noStrike" kern="1200" cap="none" spc="0" normalizeH="0" baseline="0" noProof="0" dirty="0">
                    <a:ln>
                      <a:noFill/>
                    </a:ln>
                    <a:solidFill>
                      <a:srgbClr val="000000">
                        <a:lumMod val="65000"/>
                        <a:lumOff val="35000"/>
                      </a:srgbClr>
                    </a:solidFill>
                    <a:effectLst/>
                    <a:uLnTx/>
                    <a:uFillTx/>
                    <a:latin typeface="等线 Light" panose="020F0302020204030204"/>
                    <a:ea typeface="+mn-ea"/>
                    <a:cs typeface="+mn-cs"/>
                  </a:rPr>
                  <a:t>, </a:t>
                </a:r>
              </a:p>
            </p:txBody>
          </p:sp>
          <p:sp>
            <p:nvSpPr>
              <p:cNvPr id="12" name="TextBox 58">
                <a:extLst>
                  <a:ext uri="{FF2B5EF4-FFF2-40B4-BE49-F238E27FC236}">
                    <a16:creationId xmlns:a16="http://schemas.microsoft.com/office/drawing/2014/main" id="{CF64EBCD-B485-491E-8027-D26C508057A0}"/>
                  </a:ext>
                </a:extLst>
              </p:cNvPr>
              <p:cNvSpPr txBox="1"/>
              <p:nvPr/>
            </p:nvSpPr>
            <p:spPr>
              <a:xfrm>
                <a:off x="8328592" y="4571523"/>
                <a:ext cx="1800089" cy="365934"/>
              </a:xfrm>
              <a:prstGeom prst="rect">
                <a:avLst/>
              </a:prstGeom>
              <a:noFill/>
            </p:spPr>
            <p:txBody>
              <a:bodyPr wrap="square" rtlCol="0">
                <a:spAutoFit/>
              </a:bodyPr>
              <a:lstStyle/>
              <a:p>
                <a:pPr marL="0" marR="0" lvl="0" indent="0" algn="l" defTabSz="914400" rtl="0" eaLnBrk="1" fontAlgn="auto" latinLnBrk="0" hangingPunct="1">
                  <a:lnSpc>
                    <a:spcPct val="140000"/>
                  </a:lnSpc>
                  <a:spcBef>
                    <a:spcPts val="0"/>
                  </a:spcBef>
                  <a:spcAft>
                    <a:spcPts val="0"/>
                  </a:spcAft>
                  <a:buClrTx/>
                  <a:buSzTx/>
                  <a:buFontTx/>
                  <a:buNone/>
                  <a:tabLst/>
                  <a:defRPr/>
                </a:pPr>
                <a:r>
                  <a:rPr kumimoji="0" lang="da-DK" sz="1400" b="1" i="0" u="none" strike="noStrike" kern="1200" cap="none" spc="0" normalizeH="0" baseline="0" noProof="0" dirty="0">
                    <a:ln>
                      <a:noFill/>
                    </a:ln>
                    <a:solidFill>
                      <a:srgbClr val="FF388A"/>
                    </a:solidFill>
                    <a:effectLst/>
                    <a:uLnTx/>
                    <a:uFillTx/>
                    <a:latin typeface="等线" panose="020F0502020204030204"/>
                    <a:ea typeface="+mn-ea"/>
                    <a:cs typeface="+mn-cs"/>
                  </a:rPr>
                  <a:t>Broker  </a:t>
                </a:r>
              </a:p>
            </p:txBody>
          </p:sp>
          <p:sp>
            <p:nvSpPr>
              <p:cNvPr id="13" name="Oval 55">
                <a:extLst>
                  <a:ext uri="{FF2B5EF4-FFF2-40B4-BE49-F238E27FC236}">
                    <a16:creationId xmlns:a16="http://schemas.microsoft.com/office/drawing/2014/main" id="{D2A882E6-BCC3-49CF-AF00-14DD54BE82AF}"/>
                  </a:ext>
                </a:extLst>
              </p:cNvPr>
              <p:cNvSpPr/>
              <p:nvPr/>
            </p:nvSpPr>
            <p:spPr>
              <a:xfrm>
                <a:off x="7222763" y="4509451"/>
                <a:ext cx="752616" cy="752616"/>
              </a:xfrm>
              <a:prstGeom prst="ellipse">
                <a:avLst/>
              </a:prstGeom>
              <a:solidFill>
                <a:schemeClr val="accent3"/>
              </a:solidFill>
              <a:ln>
                <a:noFill/>
              </a:ln>
              <a:effectLst>
                <a:outerShdw blurRad="419100" dist="177800" dir="2700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等线" panose="020F0502020204030204"/>
                  <a:ea typeface="+mn-ea"/>
                  <a:cs typeface="+mn-cs"/>
                </a:endParaRPr>
              </a:p>
            </p:txBody>
          </p:sp>
          <p:sp>
            <p:nvSpPr>
              <p:cNvPr id="14" name="Rectangle: Rounded Corners 60">
                <a:extLst>
                  <a:ext uri="{FF2B5EF4-FFF2-40B4-BE49-F238E27FC236}">
                    <a16:creationId xmlns:a16="http://schemas.microsoft.com/office/drawing/2014/main" id="{4C6D08CD-ABF7-4FAA-8200-1D355A600DDD}"/>
                  </a:ext>
                </a:extLst>
              </p:cNvPr>
              <p:cNvSpPr/>
              <p:nvPr/>
            </p:nvSpPr>
            <p:spPr>
              <a:xfrm>
                <a:off x="967997" y="3586351"/>
                <a:ext cx="3213246" cy="752616"/>
              </a:xfrm>
              <a:prstGeom prst="roundRect">
                <a:avLst>
                  <a:gd name="adj" fmla="val 50000"/>
                </a:avLst>
              </a:prstGeom>
              <a:solidFill>
                <a:schemeClr val="bg1"/>
              </a:solidFill>
              <a:ln>
                <a:noFill/>
              </a:ln>
              <a:effectLst>
                <a:outerShdw blurRad="266700" dist="228600" dir="2700000" algn="tl" rotWithShape="0">
                  <a:schemeClr val="accent1">
                    <a:alpha val="1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2400" b="0" i="0" u="none" strike="noStrike" kern="1200" cap="none" spc="0" normalizeH="0" baseline="0" noProof="0" dirty="0">
                  <a:ln>
                    <a:noFill/>
                  </a:ln>
                  <a:solidFill>
                    <a:srgbClr val="FFFFFF"/>
                  </a:solidFill>
                  <a:effectLst/>
                  <a:uLnTx/>
                  <a:uFillTx/>
                  <a:latin typeface="等线" panose="020F0502020204030204"/>
                  <a:ea typeface="+mn-ea"/>
                  <a:cs typeface="+mn-cs"/>
                </a:endParaRPr>
              </a:p>
            </p:txBody>
          </p:sp>
          <p:sp>
            <p:nvSpPr>
              <p:cNvPr id="15" name="TextBox 65">
                <a:extLst>
                  <a:ext uri="{FF2B5EF4-FFF2-40B4-BE49-F238E27FC236}">
                    <a16:creationId xmlns:a16="http://schemas.microsoft.com/office/drawing/2014/main" id="{CA128EB6-72A1-4B85-8CDF-5C3905BC1A20}"/>
                  </a:ext>
                </a:extLst>
              </p:cNvPr>
              <p:cNvSpPr txBox="1"/>
              <p:nvPr/>
            </p:nvSpPr>
            <p:spPr>
              <a:xfrm>
                <a:off x="1301442" y="3905091"/>
                <a:ext cx="2058401" cy="299184"/>
              </a:xfrm>
              <a:prstGeom prst="rect">
                <a:avLst/>
              </a:prstGeom>
              <a:noFill/>
            </p:spPr>
            <p:txBody>
              <a:bodyPr wrap="square" rtlCol="0">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lumMod val="65000"/>
                        <a:lumOff val="35000"/>
                      </a:srgbClr>
                    </a:solidFill>
                    <a:effectLst/>
                    <a:uLnTx/>
                    <a:uFillTx/>
                    <a:latin typeface="等线 Light" panose="020F0302020204030204"/>
                    <a:ea typeface="+mn-ea"/>
                    <a:cs typeface="+mn-cs"/>
                  </a:rPr>
                  <a:t>Lorem ipsum dolor sit </a:t>
                </a:r>
                <a:r>
                  <a:rPr kumimoji="0" lang="en-US" sz="1200" b="0" i="0" u="none" strike="noStrike" kern="1200" cap="none" spc="0" normalizeH="0" baseline="0" noProof="0" dirty="0" err="1">
                    <a:ln>
                      <a:noFill/>
                    </a:ln>
                    <a:solidFill>
                      <a:srgbClr val="000000">
                        <a:lumMod val="65000"/>
                        <a:lumOff val="35000"/>
                      </a:srgbClr>
                    </a:solidFill>
                    <a:effectLst/>
                    <a:uLnTx/>
                    <a:uFillTx/>
                    <a:latin typeface="等线 Light" panose="020F0302020204030204"/>
                    <a:ea typeface="+mn-ea"/>
                    <a:cs typeface="+mn-cs"/>
                  </a:rPr>
                  <a:t>amet</a:t>
                </a:r>
                <a:endParaRPr kumimoji="0" lang="en-US" sz="1200" b="0" i="0" u="none" strike="noStrike" kern="1200" cap="none" spc="0" normalizeH="0" baseline="0" noProof="0" dirty="0">
                  <a:ln>
                    <a:noFill/>
                  </a:ln>
                  <a:solidFill>
                    <a:srgbClr val="000000">
                      <a:lumMod val="65000"/>
                      <a:lumOff val="35000"/>
                    </a:srgbClr>
                  </a:solidFill>
                  <a:effectLst/>
                  <a:uLnTx/>
                  <a:uFillTx/>
                  <a:latin typeface="等线 Light" panose="020F0302020204030204"/>
                  <a:ea typeface="+mn-ea"/>
                  <a:cs typeface="+mn-cs"/>
                </a:endParaRPr>
              </a:p>
            </p:txBody>
          </p:sp>
          <p:sp>
            <p:nvSpPr>
              <p:cNvPr id="16" name="TextBox 66">
                <a:extLst>
                  <a:ext uri="{FF2B5EF4-FFF2-40B4-BE49-F238E27FC236}">
                    <a16:creationId xmlns:a16="http://schemas.microsoft.com/office/drawing/2014/main" id="{91B152BD-2D15-493A-802A-B21104A0005D}"/>
                  </a:ext>
                </a:extLst>
              </p:cNvPr>
              <p:cNvSpPr txBox="1"/>
              <p:nvPr/>
            </p:nvSpPr>
            <p:spPr>
              <a:xfrm>
                <a:off x="1301443" y="3624818"/>
                <a:ext cx="1334075" cy="365934"/>
              </a:xfrm>
              <a:prstGeom prst="rect">
                <a:avLst/>
              </a:prstGeom>
              <a:noFill/>
            </p:spPr>
            <p:txBody>
              <a:bodyPr wrap="square" rtlCol="0">
                <a:spAutoFit/>
              </a:bodyPr>
              <a:lstStyle/>
              <a:p>
                <a:pPr marL="0" marR="0" lvl="0" indent="0" algn="l" defTabSz="914400" rtl="0" eaLnBrk="1" fontAlgn="auto" latinLnBrk="0" hangingPunct="1">
                  <a:lnSpc>
                    <a:spcPct val="140000"/>
                  </a:lnSpc>
                  <a:spcBef>
                    <a:spcPts val="0"/>
                  </a:spcBef>
                  <a:spcAft>
                    <a:spcPts val="0"/>
                  </a:spcAft>
                  <a:buClrTx/>
                  <a:buSzTx/>
                  <a:buFontTx/>
                  <a:buNone/>
                  <a:tabLst/>
                  <a:defRPr/>
                </a:pPr>
                <a:r>
                  <a:rPr kumimoji="0" lang="da-DK" sz="1400" b="1" i="0" u="none" strike="noStrike" kern="1200" cap="none" spc="0" normalizeH="0" baseline="0" noProof="0" dirty="0">
                    <a:ln>
                      <a:noFill/>
                    </a:ln>
                    <a:solidFill>
                      <a:srgbClr val="FFD229"/>
                    </a:solidFill>
                    <a:effectLst/>
                    <a:uLnTx/>
                    <a:uFillTx/>
                    <a:latin typeface="等线" panose="020F0502020204030204"/>
                    <a:ea typeface="+mn-ea"/>
                    <a:cs typeface="+mn-cs"/>
                  </a:rPr>
                  <a:t>Facilitator  </a:t>
                </a:r>
              </a:p>
            </p:txBody>
          </p:sp>
          <p:sp>
            <p:nvSpPr>
              <p:cNvPr id="17" name="Oval 63">
                <a:extLst>
                  <a:ext uri="{FF2B5EF4-FFF2-40B4-BE49-F238E27FC236}">
                    <a16:creationId xmlns:a16="http://schemas.microsoft.com/office/drawing/2014/main" id="{685260F1-F53D-452F-BF61-D58E434F40A1}"/>
                  </a:ext>
                </a:extLst>
              </p:cNvPr>
              <p:cNvSpPr/>
              <p:nvPr/>
            </p:nvSpPr>
            <p:spPr>
              <a:xfrm>
                <a:off x="3851809" y="3558743"/>
                <a:ext cx="752616" cy="752616"/>
              </a:xfrm>
              <a:prstGeom prst="ellipse">
                <a:avLst/>
              </a:prstGeom>
              <a:solidFill>
                <a:schemeClr val="accent1"/>
              </a:solidFill>
              <a:ln>
                <a:noFill/>
              </a:ln>
              <a:effectLst>
                <a:outerShdw blurRad="419100" dist="177800" dir="10200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等线" panose="020F0502020204030204"/>
                  <a:ea typeface="+mn-ea"/>
                  <a:cs typeface="+mn-cs"/>
                </a:endParaRPr>
              </a:p>
            </p:txBody>
          </p:sp>
          <p:sp>
            <p:nvSpPr>
              <p:cNvPr id="18" name="Rectangle: Rounded Corners 68">
                <a:extLst>
                  <a:ext uri="{FF2B5EF4-FFF2-40B4-BE49-F238E27FC236}">
                    <a16:creationId xmlns:a16="http://schemas.microsoft.com/office/drawing/2014/main" id="{44E14F82-0466-4092-8AE0-B382B6B5C1B0}"/>
                  </a:ext>
                </a:extLst>
              </p:cNvPr>
              <p:cNvSpPr/>
              <p:nvPr/>
            </p:nvSpPr>
            <p:spPr>
              <a:xfrm>
                <a:off x="1708143" y="4605669"/>
                <a:ext cx="3213246" cy="752616"/>
              </a:xfrm>
              <a:prstGeom prst="roundRect">
                <a:avLst>
                  <a:gd name="adj" fmla="val 50000"/>
                </a:avLst>
              </a:prstGeom>
              <a:solidFill>
                <a:schemeClr val="bg1"/>
              </a:solidFill>
              <a:ln>
                <a:noFill/>
              </a:ln>
              <a:effectLst>
                <a:outerShdw blurRad="266700" dist="228600" dir="2700000" algn="tl" rotWithShape="0">
                  <a:schemeClr val="accent1">
                    <a:alpha val="1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2400" b="0" i="0" u="none" strike="noStrike" kern="1200" cap="none" spc="0" normalizeH="0" baseline="0" noProof="0" dirty="0">
                  <a:ln>
                    <a:noFill/>
                  </a:ln>
                  <a:solidFill>
                    <a:srgbClr val="FFFFFF"/>
                  </a:solidFill>
                  <a:effectLst/>
                  <a:uLnTx/>
                  <a:uFillTx/>
                  <a:latin typeface="等线" panose="020F0502020204030204"/>
                  <a:ea typeface="+mn-ea"/>
                  <a:cs typeface="+mn-cs"/>
                </a:endParaRPr>
              </a:p>
            </p:txBody>
          </p:sp>
          <p:sp>
            <p:nvSpPr>
              <p:cNvPr id="19" name="TextBox 73">
                <a:extLst>
                  <a:ext uri="{FF2B5EF4-FFF2-40B4-BE49-F238E27FC236}">
                    <a16:creationId xmlns:a16="http://schemas.microsoft.com/office/drawing/2014/main" id="{9AF43956-5BC4-44F5-8FBE-7B4A1BECE20D}"/>
                  </a:ext>
                </a:extLst>
              </p:cNvPr>
              <p:cNvSpPr txBox="1"/>
              <p:nvPr/>
            </p:nvSpPr>
            <p:spPr>
              <a:xfrm>
                <a:off x="2041588" y="4924409"/>
                <a:ext cx="2058401" cy="299184"/>
              </a:xfrm>
              <a:prstGeom prst="rect">
                <a:avLst/>
              </a:prstGeom>
              <a:noFill/>
            </p:spPr>
            <p:txBody>
              <a:bodyPr wrap="square" rtlCol="0">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lumMod val="65000"/>
                        <a:lumOff val="35000"/>
                      </a:srgbClr>
                    </a:solidFill>
                    <a:effectLst/>
                    <a:uLnTx/>
                    <a:uFillTx/>
                    <a:latin typeface="等线 Light" panose="020F0302020204030204"/>
                    <a:ea typeface="+mn-ea"/>
                    <a:cs typeface="+mn-cs"/>
                  </a:rPr>
                  <a:t>Lorem ipsum dolor sit </a:t>
                </a:r>
                <a:r>
                  <a:rPr kumimoji="0" lang="en-US" sz="1200" b="0" i="0" u="none" strike="noStrike" kern="1200" cap="none" spc="0" normalizeH="0" baseline="0" noProof="0" dirty="0" err="1">
                    <a:ln>
                      <a:noFill/>
                    </a:ln>
                    <a:solidFill>
                      <a:srgbClr val="000000">
                        <a:lumMod val="65000"/>
                        <a:lumOff val="35000"/>
                      </a:srgbClr>
                    </a:solidFill>
                    <a:effectLst/>
                    <a:uLnTx/>
                    <a:uFillTx/>
                    <a:latin typeface="等线 Light" panose="020F0302020204030204"/>
                    <a:ea typeface="+mn-ea"/>
                    <a:cs typeface="+mn-cs"/>
                  </a:rPr>
                  <a:t>amet</a:t>
                </a:r>
                <a:endParaRPr kumimoji="0" lang="en-US" sz="1200" b="0" i="0" u="none" strike="noStrike" kern="1200" cap="none" spc="0" normalizeH="0" baseline="0" noProof="0" dirty="0">
                  <a:ln>
                    <a:noFill/>
                  </a:ln>
                  <a:solidFill>
                    <a:srgbClr val="000000">
                      <a:lumMod val="65000"/>
                      <a:lumOff val="35000"/>
                    </a:srgbClr>
                  </a:solidFill>
                  <a:effectLst/>
                  <a:uLnTx/>
                  <a:uFillTx/>
                  <a:latin typeface="等线 Light" panose="020F0302020204030204"/>
                  <a:ea typeface="+mn-ea"/>
                  <a:cs typeface="+mn-cs"/>
                </a:endParaRPr>
              </a:p>
            </p:txBody>
          </p:sp>
          <p:sp>
            <p:nvSpPr>
              <p:cNvPr id="20" name="TextBox 74">
                <a:extLst>
                  <a:ext uri="{FF2B5EF4-FFF2-40B4-BE49-F238E27FC236}">
                    <a16:creationId xmlns:a16="http://schemas.microsoft.com/office/drawing/2014/main" id="{F212ECEB-88C8-429B-9FF5-2745201A7BAB}"/>
                  </a:ext>
                </a:extLst>
              </p:cNvPr>
              <p:cNvSpPr txBox="1"/>
              <p:nvPr/>
            </p:nvSpPr>
            <p:spPr>
              <a:xfrm>
                <a:off x="2041589" y="4644136"/>
                <a:ext cx="1334075" cy="365934"/>
              </a:xfrm>
              <a:prstGeom prst="rect">
                <a:avLst/>
              </a:prstGeom>
              <a:noFill/>
            </p:spPr>
            <p:txBody>
              <a:bodyPr wrap="square" rtlCol="0">
                <a:spAutoFit/>
              </a:bodyPr>
              <a:lstStyle/>
              <a:p>
                <a:pPr marL="0" marR="0" lvl="0" indent="0" algn="l" defTabSz="914400" rtl="0" eaLnBrk="1" fontAlgn="auto" latinLnBrk="0" hangingPunct="1">
                  <a:lnSpc>
                    <a:spcPct val="140000"/>
                  </a:lnSpc>
                  <a:spcBef>
                    <a:spcPts val="0"/>
                  </a:spcBef>
                  <a:spcAft>
                    <a:spcPts val="0"/>
                  </a:spcAft>
                  <a:buClrTx/>
                  <a:buSzTx/>
                  <a:buFontTx/>
                  <a:buNone/>
                  <a:tabLst/>
                  <a:defRPr/>
                </a:pPr>
                <a:r>
                  <a:rPr kumimoji="0" lang="da-DK" sz="1400" b="1" i="0" u="none" strike="noStrike" kern="1200" cap="none" spc="0" normalizeH="0" baseline="0" noProof="0" dirty="0">
                    <a:ln>
                      <a:noFill/>
                    </a:ln>
                    <a:solidFill>
                      <a:srgbClr val="FF4C38"/>
                    </a:solidFill>
                    <a:effectLst/>
                    <a:uLnTx/>
                    <a:uFillTx/>
                    <a:latin typeface="等线" panose="020F0502020204030204"/>
                    <a:ea typeface="+mn-ea"/>
                    <a:cs typeface="+mn-cs"/>
                  </a:rPr>
                  <a:t>Director  </a:t>
                </a:r>
              </a:p>
            </p:txBody>
          </p:sp>
          <p:sp>
            <p:nvSpPr>
              <p:cNvPr id="21" name="Oval 71">
                <a:extLst>
                  <a:ext uri="{FF2B5EF4-FFF2-40B4-BE49-F238E27FC236}">
                    <a16:creationId xmlns:a16="http://schemas.microsoft.com/office/drawing/2014/main" id="{D9599994-81DF-4434-84B0-157071C608D0}"/>
                  </a:ext>
                </a:extLst>
              </p:cNvPr>
              <p:cNvSpPr/>
              <p:nvPr/>
            </p:nvSpPr>
            <p:spPr>
              <a:xfrm>
                <a:off x="4591955" y="4578061"/>
                <a:ext cx="752616" cy="752616"/>
              </a:xfrm>
              <a:prstGeom prst="ellipse">
                <a:avLst/>
              </a:prstGeom>
              <a:solidFill>
                <a:schemeClr val="accent2"/>
              </a:solidFill>
              <a:ln>
                <a:noFill/>
              </a:ln>
              <a:effectLst>
                <a:outerShdw blurRad="419100" dist="177800" dir="10200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等线" panose="020F0502020204030204"/>
                  <a:ea typeface="+mn-ea"/>
                  <a:cs typeface="+mn-cs"/>
                </a:endParaRPr>
              </a:p>
            </p:txBody>
          </p:sp>
          <p:pic>
            <p:nvPicPr>
              <p:cNvPr id="22" name="Graphic 79">
                <a:extLst>
                  <a:ext uri="{FF2B5EF4-FFF2-40B4-BE49-F238E27FC236}">
                    <a16:creationId xmlns:a16="http://schemas.microsoft.com/office/drawing/2014/main" id="{6641AA33-1325-432D-9E20-EB5116627DEE}"/>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054346" y="3782224"/>
                <a:ext cx="305654" cy="305654"/>
              </a:xfrm>
              <a:prstGeom prst="rect">
                <a:avLst/>
              </a:prstGeom>
            </p:spPr>
          </p:pic>
          <p:sp>
            <p:nvSpPr>
              <p:cNvPr id="23" name="Graphic 14">
                <a:extLst>
                  <a:ext uri="{FF2B5EF4-FFF2-40B4-BE49-F238E27FC236}">
                    <a16:creationId xmlns:a16="http://schemas.microsoft.com/office/drawing/2014/main" id="{5ADBF293-0514-4CCD-A5EB-265EC9605DF1}"/>
                  </a:ext>
                </a:extLst>
              </p:cNvPr>
              <p:cNvSpPr/>
              <p:nvPr/>
            </p:nvSpPr>
            <p:spPr>
              <a:xfrm>
                <a:off x="7497792" y="2515585"/>
                <a:ext cx="318260" cy="318260"/>
              </a:xfrm>
              <a:custGeom>
                <a:avLst/>
                <a:gdLst>
                  <a:gd name="connsiteX0" fmla="*/ 266895 w 419725"/>
                  <a:gd name="connsiteY0" fmla="*/ 0 h 419725"/>
                  <a:gd name="connsiteX1" fmla="*/ 114065 w 419725"/>
                  <a:gd name="connsiteY1" fmla="*/ 152823 h 419725"/>
                  <a:gd name="connsiteX2" fmla="*/ 150487 w 419725"/>
                  <a:gd name="connsiteY2" fmla="*/ 251851 h 419725"/>
                  <a:gd name="connsiteX3" fmla="*/ 126369 w 419725"/>
                  <a:gd name="connsiteY3" fmla="*/ 275977 h 419725"/>
                  <a:gd name="connsiteX4" fmla="*/ 117672 w 419725"/>
                  <a:gd name="connsiteY4" fmla="*/ 267271 h 419725"/>
                  <a:gd name="connsiteX5" fmla="*/ 100284 w 419725"/>
                  <a:gd name="connsiteY5" fmla="*/ 267271 h 419725"/>
                  <a:gd name="connsiteX6" fmla="*/ 3600 w 419725"/>
                  <a:gd name="connsiteY6" fmla="*/ 363956 h 419725"/>
                  <a:gd name="connsiteX7" fmla="*/ 3600 w 419725"/>
                  <a:gd name="connsiteY7" fmla="*/ 381343 h 419725"/>
                  <a:gd name="connsiteX8" fmla="*/ 38383 w 419725"/>
                  <a:gd name="connsiteY8" fmla="*/ 416126 h 419725"/>
                  <a:gd name="connsiteX9" fmla="*/ 55770 w 419725"/>
                  <a:gd name="connsiteY9" fmla="*/ 416126 h 419725"/>
                  <a:gd name="connsiteX10" fmla="*/ 152446 w 419725"/>
                  <a:gd name="connsiteY10" fmla="*/ 319442 h 419725"/>
                  <a:gd name="connsiteX11" fmla="*/ 152446 w 419725"/>
                  <a:gd name="connsiteY11" fmla="*/ 302054 h 419725"/>
                  <a:gd name="connsiteX12" fmla="*/ 143757 w 419725"/>
                  <a:gd name="connsiteY12" fmla="*/ 293365 h 419725"/>
                  <a:gd name="connsiteX13" fmla="*/ 167875 w 419725"/>
                  <a:gd name="connsiteY13" fmla="*/ 269239 h 419725"/>
                  <a:gd name="connsiteX14" fmla="*/ 266895 w 419725"/>
                  <a:gd name="connsiteY14" fmla="*/ 305661 h 419725"/>
                  <a:gd name="connsiteX15" fmla="*/ 419726 w 419725"/>
                  <a:gd name="connsiteY15" fmla="*/ 152823 h 419725"/>
                  <a:gd name="connsiteX16" fmla="*/ 266895 w 419725"/>
                  <a:gd name="connsiteY16" fmla="*/ 0 h 419725"/>
                  <a:gd name="connsiteX17" fmla="*/ 266895 w 419725"/>
                  <a:gd name="connsiteY17" fmla="*/ 73780 h 419725"/>
                  <a:gd name="connsiteX18" fmla="*/ 187844 w 419725"/>
                  <a:gd name="connsiteY18" fmla="*/ 152831 h 419725"/>
                  <a:gd name="connsiteX19" fmla="*/ 175548 w 419725"/>
                  <a:gd name="connsiteY19" fmla="*/ 165127 h 419725"/>
                  <a:gd name="connsiteX20" fmla="*/ 163251 w 419725"/>
                  <a:gd name="connsiteY20" fmla="*/ 152831 h 419725"/>
                  <a:gd name="connsiteX21" fmla="*/ 266895 w 419725"/>
                  <a:gd name="connsiteY21" fmla="*/ 49187 h 419725"/>
                  <a:gd name="connsiteX22" fmla="*/ 279192 w 419725"/>
                  <a:gd name="connsiteY22" fmla="*/ 61483 h 419725"/>
                  <a:gd name="connsiteX23" fmla="*/ 266895 w 419725"/>
                  <a:gd name="connsiteY23" fmla="*/ 73780 h 419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19725" h="419725">
                    <a:moveTo>
                      <a:pt x="266895" y="0"/>
                    </a:moveTo>
                    <a:cubicBezTo>
                      <a:pt x="182622" y="0"/>
                      <a:pt x="114065" y="68558"/>
                      <a:pt x="114065" y="152823"/>
                    </a:cubicBezTo>
                    <a:cubicBezTo>
                      <a:pt x="114065" y="189614"/>
                      <a:pt x="127066" y="224299"/>
                      <a:pt x="150487" y="251851"/>
                    </a:cubicBezTo>
                    <a:lnTo>
                      <a:pt x="126369" y="275977"/>
                    </a:lnTo>
                    <a:lnTo>
                      <a:pt x="117672" y="267271"/>
                    </a:lnTo>
                    <a:cubicBezTo>
                      <a:pt x="112868" y="262476"/>
                      <a:pt x="105080" y="262476"/>
                      <a:pt x="100284" y="267271"/>
                    </a:cubicBezTo>
                    <a:lnTo>
                      <a:pt x="3600" y="363956"/>
                    </a:lnTo>
                    <a:cubicBezTo>
                      <a:pt x="-1196" y="368751"/>
                      <a:pt x="-1204" y="376539"/>
                      <a:pt x="3600" y="381343"/>
                    </a:cubicBezTo>
                    <a:lnTo>
                      <a:pt x="38383" y="416126"/>
                    </a:lnTo>
                    <a:cubicBezTo>
                      <a:pt x="43187" y="420922"/>
                      <a:pt x="50966" y="420930"/>
                      <a:pt x="55770" y="416126"/>
                    </a:cubicBezTo>
                    <a:lnTo>
                      <a:pt x="152446" y="319442"/>
                    </a:lnTo>
                    <a:cubicBezTo>
                      <a:pt x="157250" y="314646"/>
                      <a:pt x="157250" y="306858"/>
                      <a:pt x="152446" y="302054"/>
                    </a:cubicBezTo>
                    <a:lnTo>
                      <a:pt x="143757" y="293365"/>
                    </a:lnTo>
                    <a:lnTo>
                      <a:pt x="167875" y="269239"/>
                    </a:lnTo>
                    <a:cubicBezTo>
                      <a:pt x="195493" y="292717"/>
                      <a:pt x="230202" y="305661"/>
                      <a:pt x="266895" y="305661"/>
                    </a:cubicBezTo>
                    <a:cubicBezTo>
                      <a:pt x="351168" y="305661"/>
                      <a:pt x="419726" y="237104"/>
                      <a:pt x="419726" y="152823"/>
                    </a:cubicBezTo>
                    <a:cubicBezTo>
                      <a:pt x="419726" y="68558"/>
                      <a:pt x="351168" y="0"/>
                      <a:pt x="266895" y="0"/>
                    </a:cubicBezTo>
                    <a:close/>
                    <a:moveTo>
                      <a:pt x="266895" y="73780"/>
                    </a:moveTo>
                    <a:cubicBezTo>
                      <a:pt x="223308" y="73780"/>
                      <a:pt x="187844" y="109243"/>
                      <a:pt x="187844" y="152831"/>
                    </a:cubicBezTo>
                    <a:cubicBezTo>
                      <a:pt x="187844" y="159618"/>
                      <a:pt x="182335" y="165127"/>
                      <a:pt x="175548" y="165127"/>
                    </a:cubicBezTo>
                    <a:cubicBezTo>
                      <a:pt x="168752" y="165127"/>
                      <a:pt x="163251" y="159618"/>
                      <a:pt x="163251" y="152831"/>
                    </a:cubicBezTo>
                    <a:cubicBezTo>
                      <a:pt x="163251" y="95684"/>
                      <a:pt x="209749" y="49187"/>
                      <a:pt x="266895" y="49187"/>
                    </a:cubicBezTo>
                    <a:cubicBezTo>
                      <a:pt x="273683" y="49187"/>
                      <a:pt x="279192" y="54695"/>
                      <a:pt x="279192" y="61483"/>
                    </a:cubicBezTo>
                    <a:cubicBezTo>
                      <a:pt x="279192" y="68271"/>
                      <a:pt x="273683" y="73780"/>
                      <a:pt x="266895" y="73780"/>
                    </a:cubicBezTo>
                    <a:close/>
                  </a:path>
                </a:pathLst>
              </a:custGeom>
              <a:solidFill>
                <a:schemeClr val="bg1"/>
              </a:solidFill>
              <a:ln w="81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等线" panose="020F0502020204030204"/>
                  <a:ea typeface="+mn-ea"/>
                  <a:cs typeface="+mn-cs"/>
                </a:endParaRPr>
              </a:p>
            </p:txBody>
          </p:sp>
          <p:grpSp>
            <p:nvGrpSpPr>
              <p:cNvPr id="24" name="Graphic 12">
                <a:extLst>
                  <a:ext uri="{FF2B5EF4-FFF2-40B4-BE49-F238E27FC236}">
                    <a16:creationId xmlns:a16="http://schemas.microsoft.com/office/drawing/2014/main" id="{E5F50BF9-A746-4E72-B2BA-D7F5E903949A}"/>
                  </a:ext>
                </a:extLst>
              </p:cNvPr>
              <p:cNvGrpSpPr/>
              <p:nvPr/>
            </p:nvGrpSpPr>
            <p:grpSpPr>
              <a:xfrm>
                <a:off x="4811535" y="4787238"/>
                <a:ext cx="313455" cy="313455"/>
                <a:chOff x="6640645" y="1724489"/>
                <a:chExt cx="418905" cy="418905"/>
              </a:xfrm>
              <a:solidFill>
                <a:schemeClr val="bg1"/>
              </a:solidFill>
            </p:grpSpPr>
            <p:sp>
              <p:nvSpPr>
                <p:cNvPr id="42" name="Freeform: Shape 82">
                  <a:extLst>
                    <a:ext uri="{FF2B5EF4-FFF2-40B4-BE49-F238E27FC236}">
                      <a16:creationId xmlns:a16="http://schemas.microsoft.com/office/drawing/2014/main" id="{C8611D22-AA42-4B4E-BA18-FEB1DC63DD74}"/>
                    </a:ext>
                  </a:extLst>
                </p:cNvPr>
                <p:cNvSpPr/>
                <p:nvPr/>
              </p:nvSpPr>
              <p:spPr>
                <a:xfrm>
                  <a:off x="6811107" y="1724489"/>
                  <a:ext cx="249212" cy="249212"/>
                </a:xfrm>
                <a:custGeom>
                  <a:avLst/>
                  <a:gdLst>
                    <a:gd name="connsiteX0" fmla="*/ 245654 w 249211"/>
                    <a:gd name="connsiteY0" fmla="*/ 176761 h 249211"/>
                    <a:gd name="connsiteX1" fmla="*/ 223446 w 249211"/>
                    <a:gd name="connsiteY1" fmla="*/ 198985 h 249211"/>
                    <a:gd name="connsiteX2" fmla="*/ 133779 w 249211"/>
                    <a:gd name="connsiteY2" fmla="*/ 211716 h 249211"/>
                    <a:gd name="connsiteX3" fmla="*/ 96250 w 249211"/>
                    <a:gd name="connsiteY3" fmla="*/ 249246 h 249211"/>
                    <a:gd name="connsiteX4" fmla="*/ 95963 w 249211"/>
                    <a:gd name="connsiteY4" fmla="*/ 248672 h 249211"/>
                    <a:gd name="connsiteX5" fmla="*/ 42358 w 249211"/>
                    <a:gd name="connsiteY5" fmla="*/ 183418 h 249211"/>
                    <a:gd name="connsiteX6" fmla="*/ 0 w 249211"/>
                    <a:gd name="connsiteY6" fmla="*/ 153020 h 249211"/>
                    <a:gd name="connsiteX7" fmla="*/ 37546 w 249211"/>
                    <a:gd name="connsiteY7" fmla="*/ 115475 h 249211"/>
                    <a:gd name="connsiteX8" fmla="*/ 50269 w 249211"/>
                    <a:gd name="connsiteY8" fmla="*/ 25816 h 249211"/>
                    <a:gd name="connsiteX9" fmla="*/ 72493 w 249211"/>
                    <a:gd name="connsiteY9" fmla="*/ 3600 h 249211"/>
                    <a:gd name="connsiteX10" fmla="*/ 89880 w 249211"/>
                    <a:gd name="connsiteY10" fmla="*/ 3600 h 249211"/>
                    <a:gd name="connsiteX11" fmla="*/ 245654 w 249211"/>
                    <a:gd name="connsiteY11" fmla="*/ 159374 h 249211"/>
                    <a:gd name="connsiteX12" fmla="*/ 245654 w 249211"/>
                    <a:gd name="connsiteY12" fmla="*/ 176761 h 249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49211" h="249211">
                      <a:moveTo>
                        <a:pt x="245654" y="176761"/>
                      </a:moveTo>
                      <a:lnTo>
                        <a:pt x="223446" y="198985"/>
                      </a:lnTo>
                      <a:cubicBezTo>
                        <a:pt x="199779" y="222636"/>
                        <a:pt x="162996" y="227833"/>
                        <a:pt x="133779" y="211716"/>
                      </a:cubicBezTo>
                      <a:lnTo>
                        <a:pt x="96250" y="249246"/>
                      </a:lnTo>
                      <a:cubicBezTo>
                        <a:pt x="96151" y="249057"/>
                        <a:pt x="96061" y="248860"/>
                        <a:pt x="95963" y="248672"/>
                      </a:cubicBezTo>
                      <a:cubicBezTo>
                        <a:pt x="82073" y="220862"/>
                        <a:pt x="66849" y="207909"/>
                        <a:pt x="42358" y="183418"/>
                      </a:cubicBezTo>
                      <a:cubicBezTo>
                        <a:pt x="26907" y="167966"/>
                        <a:pt x="7916" y="156317"/>
                        <a:pt x="0" y="153020"/>
                      </a:cubicBezTo>
                      <a:lnTo>
                        <a:pt x="37546" y="115475"/>
                      </a:lnTo>
                      <a:cubicBezTo>
                        <a:pt x="21421" y="86291"/>
                        <a:pt x="26610" y="49483"/>
                        <a:pt x="50269" y="25816"/>
                      </a:cubicBezTo>
                      <a:lnTo>
                        <a:pt x="72493" y="3600"/>
                      </a:lnTo>
                      <a:cubicBezTo>
                        <a:pt x="77297" y="-1204"/>
                        <a:pt x="85084" y="-1196"/>
                        <a:pt x="89880" y="3600"/>
                      </a:cubicBezTo>
                      <a:lnTo>
                        <a:pt x="245654" y="159374"/>
                      </a:lnTo>
                      <a:cubicBezTo>
                        <a:pt x="250458" y="164177"/>
                        <a:pt x="250458" y="171965"/>
                        <a:pt x="245654" y="176761"/>
                      </a:cubicBezTo>
                      <a:close/>
                    </a:path>
                  </a:pathLst>
                </a:custGeom>
                <a:grpFill/>
                <a:ln w="81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等线" panose="020F0502020204030204"/>
                    <a:ea typeface="+mn-ea"/>
                    <a:cs typeface="+mn-cs"/>
                  </a:endParaRPr>
                </a:p>
              </p:txBody>
            </p:sp>
            <p:sp>
              <p:nvSpPr>
                <p:cNvPr id="43" name="Freeform: Shape 83">
                  <a:extLst>
                    <a:ext uri="{FF2B5EF4-FFF2-40B4-BE49-F238E27FC236}">
                      <a16:creationId xmlns:a16="http://schemas.microsoft.com/office/drawing/2014/main" id="{D68D0C2E-2A33-48F5-B83F-CE1506A384A2}"/>
                    </a:ext>
                  </a:extLst>
                </p:cNvPr>
                <p:cNvSpPr/>
                <p:nvPr/>
              </p:nvSpPr>
              <p:spPr>
                <a:xfrm>
                  <a:off x="6644861" y="2050351"/>
                  <a:ext cx="89356" cy="89356"/>
                </a:xfrm>
                <a:custGeom>
                  <a:avLst/>
                  <a:gdLst>
                    <a:gd name="connsiteX0" fmla="*/ 89647 w 89355"/>
                    <a:gd name="connsiteY0" fmla="*/ 17387 h 89355"/>
                    <a:gd name="connsiteX1" fmla="*/ 20999 w 89355"/>
                    <a:gd name="connsiteY1" fmla="*/ 86035 h 89355"/>
                    <a:gd name="connsiteX2" fmla="*/ 12301 w 89355"/>
                    <a:gd name="connsiteY2" fmla="*/ 89642 h 89355"/>
                    <a:gd name="connsiteX3" fmla="*/ 3603 w 89355"/>
                    <a:gd name="connsiteY3" fmla="*/ 86035 h 89355"/>
                    <a:gd name="connsiteX4" fmla="*/ 3603 w 89355"/>
                    <a:gd name="connsiteY4" fmla="*/ 68648 h 89355"/>
                    <a:gd name="connsiteX5" fmla="*/ 72259 w 89355"/>
                    <a:gd name="connsiteY5" fmla="*/ 0 h 89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9355" h="89355">
                      <a:moveTo>
                        <a:pt x="89647" y="17387"/>
                      </a:moveTo>
                      <a:lnTo>
                        <a:pt x="20999" y="86035"/>
                      </a:lnTo>
                      <a:cubicBezTo>
                        <a:pt x="18597" y="88437"/>
                        <a:pt x="15449" y="89642"/>
                        <a:pt x="12301" y="89642"/>
                      </a:cubicBezTo>
                      <a:cubicBezTo>
                        <a:pt x="9153" y="89642"/>
                        <a:pt x="6005" y="88437"/>
                        <a:pt x="3603" y="86035"/>
                      </a:cubicBezTo>
                      <a:cubicBezTo>
                        <a:pt x="-1201" y="81232"/>
                        <a:pt x="-1201" y="73452"/>
                        <a:pt x="3603" y="68648"/>
                      </a:cubicBezTo>
                      <a:lnTo>
                        <a:pt x="72259" y="0"/>
                      </a:lnTo>
                      <a:close/>
                    </a:path>
                  </a:pathLst>
                </a:custGeom>
                <a:grpFill/>
                <a:ln w="81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等线" panose="020F0502020204030204"/>
                    <a:ea typeface="+mn-ea"/>
                    <a:cs typeface="+mn-cs"/>
                  </a:endParaRPr>
                </a:p>
              </p:txBody>
            </p:sp>
            <p:sp>
              <p:nvSpPr>
                <p:cNvPr id="44" name="Freeform: Shape 84">
                  <a:extLst>
                    <a:ext uri="{FF2B5EF4-FFF2-40B4-BE49-F238E27FC236}">
                      <a16:creationId xmlns:a16="http://schemas.microsoft.com/office/drawing/2014/main" id="{D7DEC14E-CA97-46D5-BD25-F225399C2900}"/>
                    </a:ext>
                  </a:extLst>
                </p:cNvPr>
                <p:cNvSpPr/>
                <p:nvPr/>
              </p:nvSpPr>
              <p:spPr>
                <a:xfrm>
                  <a:off x="6640645" y="1885506"/>
                  <a:ext cx="258229" cy="258229"/>
                </a:xfrm>
                <a:custGeom>
                  <a:avLst/>
                  <a:gdLst>
                    <a:gd name="connsiteX0" fmla="*/ 258646 w 258229"/>
                    <a:gd name="connsiteY0" fmla="*/ 159188 h 258229"/>
                    <a:gd name="connsiteX1" fmla="*/ 218911 w 258229"/>
                    <a:gd name="connsiteY1" fmla="*/ 255110 h 258229"/>
                    <a:gd name="connsiteX2" fmla="*/ 201515 w 258229"/>
                    <a:gd name="connsiteY2" fmla="*/ 255110 h 258229"/>
                    <a:gd name="connsiteX3" fmla="*/ 3597 w 258229"/>
                    <a:gd name="connsiteY3" fmla="*/ 57183 h 258229"/>
                    <a:gd name="connsiteX4" fmla="*/ 3597 w 258229"/>
                    <a:gd name="connsiteY4" fmla="*/ 39796 h 258229"/>
                    <a:gd name="connsiteX5" fmla="*/ 160059 w 258229"/>
                    <a:gd name="connsiteY5" fmla="*/ 14284 h 258229"/>
                    <a:gd name="connsiteX6" fmla="*/ 218911 w 258229"/>
                    <a:gd name="connsiteY6" fmla="*/ 63266 h 258229"/>
                    <a:gd name="connsiteX7" fmla="*/ 258646 w 258229"/>
                    <a:gd name="connsiteY7" fmla="*/ 159188 h 258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8229" h="258229">
                      <a:moveTo>
                        <a:pt x="258646" y="159188"/>
                      </a:moveTo>
                      <a:cubicBezTo>
                        <a:pt x="258629" y="194751"/>
                        <a:pt x="245023" y="228980"/>
                        <a:pt x="218911" y="255110"/>
                      </a:cubicBezTo>
                      <a:cubicBezTo>
                        <a:pt x="214137" y="259884"/>
                        <a:pt x="206351" y="259928"/>
                        <a:pt x="201515" y="255110"/>
                      </a:cubicBezTo>
                      <a:lnTo>
                        <a:pt x="3597" y="57183"/>
                      </a:lnTo>
                      <a:cubicBezTo>
                        <a:pt x="-1189" y="52397"/>
                        <a:pt x="-1209" y="44602"/>
                        <a:pt x="3597" y="39796"/>
                      </a:cubicBezTo>
                      <a:cubicBezTo>
                        <a:pt x="44922" y="-1529"/>
                        <a:pt x="107799" y="-11784"/>
                        <a:pt x="160059" y="14284"/>
                      </a:cubicBezTo>
                      <a:cubicBezTo>
                        <a:pt x="183785" y="26133"/>
                        <a:pt x="194326" y="38689"/>
                        <a:pt x="218911" y="63266"/>
                      </a:cubicBezTo>
                      <a:cubicBezTo>
                        <a:pt x="244534" y="88889"/>
                        <a:pt x="258646" y="123226"/>
                        <a:pt x="258646" y="159188"/>
                      </a:cubicBezTo>
                      <a:close/>
                    </a:path>
                  </a:pathLst>
                </a:custGeom>
                <a:grpFill/>
                <a:ln w="81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等线" panose="020F0502020204030204"/>
                    <a:ea typeface="+mn-ea"/>
                    <a:cs typeface="+mn-cs"/>
                  </a:endParaRPr>
                </a:p>
              </p:txBody>
            </p:sp>
          </p:grpSp>
          <p:grpSp>
            <p:nvGrpSpPr>
              <p:cNvPr id="25" name="Graphic 83">
                <a:extLst>
                  <a:ext uri="{FF2B5EF4-FFF2-40B4-BE49-F238E27FC236}">
                    <a16:creationId xmlns:a16="http://schemas.microsoft.com/office/drawing/2014/main" id="{B2EA8796-411B-43F4-A00F-B0AB1B81F4CE}"/>
                  </a:ext>
                </a:extLst>
              </p:cNvPr>
              <p:cNvGrpSpPr/>
              <p:nvPr/>
            </p:nvGrpSpPr>
            <p:grpSpPr>
              <a:xfrm>
                <a:off x="7437934" y="4702198"/>
                <a:ext cx="322273" cy="321643"/>
                <a:chOff x="6083448" y="2875853"/>
                <a:chExt cx="244335" cy="243857"/>
              </a:xfrm>
              <a:solidFill>
                <a:schemeClr val="bg1"/>
              </a:solidFill>
            </p:grpSpPr>
            <p:sp>
              <p:nvSpPr>
                <p:cNvPr id="36" name="Freeform: Shape 86">
                  <a:extLst>
                    <a:ext uri="{FF2B5EF4-FFF2-40B4-BE49-F238E27FC236}">
                      <a16:creationId xmlns:a16="http://schemas.microsoft.com/office/drawing/2014/main" id="{D47CAE4F-EEE5-4A89-9228-7C4498CAE4A3}"/>
                    </a:ext>
                  </a:extLst>
                </p:cNvPr>
                <p:cNvSpPr/>
                <p:nvPr/>
              </p:nvSpPr>
              <p:spPr>
                <a:xfrm>
                  <a:off x="6164216" y="2875853"/>
                  <a:ext cx="83198" cy="99933"/>
                </a:xfrm>
                <a:custGeom>
                  <a:avLst/>
                  <a:gdLst>
                    <a:gd name="connsiteX0" fmla="*/ 6863 w 83198"/>
                    <a:gd name="connsiteY0" fmla="*/ 99956 h 99933"/>
                    <a:gd name="connsiteX1" fmla="*/ 41776 w 83198"/>
                    <a:gd name="connsiteY1" fmla="*/ 99956 h 99933"/>
                    <a:gd name="connsiteX2" fmla="*/ 76690 w 83198"/>
                    <a:gd name="connsiteY2" fmla="*/ 99956 h 99933"/>
                    <a:gd name="connsiteX3" fmla="*/ 83553 w 83198"/>
                    <a:gd name="connsiteY3" fmla="*/ 93064 h 99933"/>
                    <a:gd name="connsiteX4" fmla="*/ 83553 w 83198"/>
                    <a:gd name="connsiteY4" fmla="*/ 85554 h 99933"/>
                    <a:gd name="connsiteX5" fmla="*/ 46599 w 83198"/>
                    <a:gd name="connsiteY5" fmla="*/ 48847 h 99933"/>
                    <a:gd name="connsiteX6" fmla="*/ 66340 w 83198"/>
                    <a:gd name="connsiteY6" fmla="*/ 24660 h 99933"/>
                    <a:gd name="connsiteX7" fmla="*/ 41776 w 83198"/>
                    <a:gd name="connsiteY7" fmla="*/ 0 h 99933"/>
                    <a:gd name="connsiteX8" fmla="*/ 17213 w 83198"/>
                    <a:gd name="connsiteY8" fmla="*/ 24660 h 99933"/>
                    <a:gd name="connsiteX9" fmla="*/ 36954 w 83198"/>
                    <a:gd name="connsiteY9" fmla="*/ 48847 h 99933"/>
                    <a:gd name="connsiteX10" fmla="*/ 0 w 83198"/>
                    <a:gd name="connsiteY10" fmla="*/ 85554 h 99933"/>
                    <a:gd name="connsiteX11" fmla="*/ 0 w 83198"/>
                    <a:gd name="connsiteY11" fmla="*/ 93064 h 99933"/>
                    <a:gd name="connsiteX12" fmla="*/ 6863 w 83198"/>
                    <a:gd name="connsiteY12" fmla="*/ 99956 h 999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3198" h="99933">
                      <a:moveTo>
                        <a:pt x="6863" y="99956"/>
                      </a:moveTo>
                      <a:lnTo>
                        <a:pt x="41776" y="99956"/>
                      </a:lnTo>
                      <a:lnTo>
                        <a:pt x="76690" y="99956"/>
                      </a:lnTo>
                      <a:cubicBezTo>
                        <a:pt x="80482" y="99956"/>
                        <a:pt x="83553" y="96872"/>
                        <a:pt x="83553" y="93064"/>
                      </a:cubicBezTo>
                      <a:lnTo>
                        <a:pt x="83553" y="85554"/>
                      </a:lnTo>
                      <a:cubicBezTo>
                        <a:pt x="83553" y="65858"/>
                        <a:pt x="67911" y="48847"/>
                        <a:pt x="46599" y="48847"/>
                      </a:cubicBezTo>
                      <a:cubicBezTo>
                        <a:pt x="57854" y="46597"/>
                        <a:pt x="66340" y="36627"/>
                        <a:pt x="66340" y="24660"/>
                      </a:cubicBezTo>
                      <a:cubicBezTo>
                        <a:pt x="66340" y="11040"/>
                        <a:pt x="55341" y="0"/>
                        <a:pt x="41776" y="0"/>
                      </a:cubicBezTo>
                      <a:cubicBezTo>
                        <a:pt x="28212" y="0"/>
                        <a:pt x="17213" y="11040"/>
                        <a:pt x="17213" y="24660"/>
                      </a:cubicBezTo>
                      <a:cubicBezTo>
                        <a:pt x="17213" y="36627"/>
                        <a:pt x="25699" y="46597"/>
                        <a:pt x="36954" y="48847"/>
                      </a:cubicBezTo>
                      <a:cubicBezTo>
                        <a:pt x="15669" y="48847"/>
                        <a:pt x="0" y="65831"/>
                        <a:pt x="0" y="85554"/>
                      </a:cubicBezTo>
                      <a:lnTo>
                        <a:pt x="0" y="93064"/>
                      </a:lnTo>
                      <a:cubicBezTo>
                        <a:pt x="0" y="96872"/>
                        <a:pt x="3071" y="99956"/>
                        <a:pt x="6863" y="99956"/>
                      </a:cubicBezTo>
                      <a:close/>
                    </a:path>
                  </a:pathLst>
                </a:custGeom>
                <a:grpFill/>
                <a:ln w="46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等线" panose="020F0502020204030204"/>
                    <a:ea typeface="+mn-ea"/>
                    <a:cs typeface="+mn-cs"/>
                  </a:endParaRPr>
                </a:p>
              </p:txBody>
            </p:sp>
            <p:sp>
              <p:nvSpPr>
                <p:cNvPr id="37" name="Freeform: Shape 87">
                  <a:extLst>
                    <a:ext uri="{FF2B5EF4-FFF2-40B4-BE49-F238E27FC236}">
                      <a16:creationId xmlns:a16="http://schemas.microsoft.com/office/drawing/2014/main" id="{C5A055F3-72F1-4181-8F3B-61FE2C9BD2C2}"/>
                    </a:ext>
                  </a:extLst>
                </p:cNvPr>
                <p:cNvSpPr/>
                <p:nvPr/>
              </p:nvSpPr>
              <p:spPr>
                <a:xfrm>
                  <a:off x="6108414" y="2925802"/>
                  <a:ext cx="43512" cy="69332"/>
                </a:xfrm>
                <a:custGeom>
                  <a:avLst/>
                  <a:gdLst>
                    <a:gd name="connsiteX0" fmla="*/ 5883 w 43511"/>
                    <a:gd name="connsiteY0" fmla="*/ 69237 h 69331"/>
                    <a:gd name="connsiteX1" fmla="*/ 7174 w 43511"/>
                    <a:gd name="connsiteY1" fmla="*/ 69355 h 69331"/>
                    <a:gd name="connsiteX2" fmla="*/ 14214 w 43511"/>
                    <a:gd name="connsiteY2" fmla="*/ 63447 h 69331"/>
                    <a:gd name="connsiteX3" fmla="*/ 24139 w 43511"/>
                    <a:gd name="connsiteY3" fmla="*/ 35342 h 69331"/>
                    <a:gd name="connsiteX4" fmla="*/ 41483 w 43511"/>
                    <a:gd name="connsiteY4" fmla="*/ 12373 h 69331"/>
                    <a:gd name="connsiteX5" fmla="*/ 41669 w 43511"/>
                    <a:gd name="connsiteY5" fmla="*/ 2201 h 69331"/>
                    <a:gd name="connsiteX6" fmla="*/ 31539 w 43511"/>
                    <a:gd name="connsiteY6" fmla="*/ 2014 h 69331"/>
                    <a:gd name="connsiteX7" fmla="*/ 11547 w 43511"/>
                    <a:gd name="connsiteY7" fmla="*/ 28477 h 69331"/>
                    <a:gd name="connsiteX8" fmla="*/ 117 w 43511"/>
                    <a:gd name="connsiteY8" fmla="*/ 60871 h 69331"/>
                    <a:gd name="connsiteX9" fmla="*/ 5883 w 43511"/>
                    <a:gd name="connsiteY9" fmla="*/ 69237 h 6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11" h="69331">
                      <a:moveTo>
                        <a:pt x="5883" y="69237"/>
                      </a:moveTo>
                      <a:cubicBezTo>
                        <a:pt x="6317" y="69316"/>
                        <a:pt x="6748" y="69355"/>
                        <a:pt x="7174" y="69355"/>
                      </a:cubicBezTo>
                      <a:cubicBezTo>
                        <a:pt x="10569" y="69355"/>
                        <a:pt x="13585" y="66921"/>
                        <a:pt x="14214" y="63447"/>
                      </a:cubicBezTo>
                      <a:cubicBezTo>
                        <a:pt x="15978" y="53715"/>
                        <a:pt x="19318" y="44259"/>
                        <a:pt x="24139" y="35342"/>
                      </a:cubicBezTo>
                      <a:cubicBezTo>
                        <a:pt x="28793" y="26737"/>
                        <a:pt x="34628" y="19009"/>
                        <a:pt x="41483" y="12373"/>
                      </a:cubicBezTo>
                      <a:cubicBezTo>
                        <a:pt x="44332" y="9616"/>
                        <a:pt x="44415" y="5062"/>
                        <a:pt x="41669" y="2201"/>
                      </a:cubicBezTo>
                      <a:cubicBezTo>
                        <a:pt x="38923" y="-659"/>
                        <a:pt x="34388" y="-743"/>
                        <a:pt x="31539" y="2014"/>
                      </a:cubicBezTo>
                      <a:cubicBezTo>
                        <a:pt x="23627" y="9673"/>
                        <a:pt x="16900" y="18576"/>
                        <a:pt x="11547" y="28477"/>
                      </a:cubicBezTo>
                      <a:cubicBezTo>
                        <a:pt x="5999" y="38737"/>
                        <a:pt x="2153" y="49636"/>
                        <a:pt x="117" y="60871"/>
                      </a:cubicBezTo>
                      <a:cubicBezTo>
                        <a:pt x="-591" y="64780"/>
                        <a:pt x="1990" y="68525"/>
                        <a:pt x="5883" y="69237"/>
                      </a:cubicBezTo>
                      <a:close/>
                    </a:path>
                  </a:pathLst>
                </a:custGeom>
                <a:grpFill/>
                <a:ln w="46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等线" panose="020F0502020204030204"/>
                    <a:ea typeface="+mn-ea"/>
                    <a:cs typeface="+mn-cs"/>
                  </a:endParaRPr>
                </a:p>
              </p:txBody>
            </p:sp>
            <p:sp>
              <p:nvSpPr>
                <p:cNvPr id="38" name="Freeform: Shape 88">
                  <a:extLst>
                    <a:ext uri="{FF2B5EF4-FFF2-40B4-BE49-F238E27FC236}">
                      <a16:creationId xmlns:a16="http://schemas.microsoft.com/office/drawing/2014/main" id="{0C26CABC-CEEF-4B79-9AD3-9307D96CF616}"/>
                    </a:ext>
                  </a:extLst>
                </p:cNvPr>
                <p:cNvSpPr/>
                <p:nvPr/>
              </p:nvSpPr>
              <p:spPr>
                <a:xfrm>
                  <a:off x="6259896" y="2925802"/>
                  <a:ext cx="43512" cy="69332"/>
                </a:xfrm>
                <a:custGeom>
                  <a:avLst/>
                  <a:gdLst>
                    <a:gd name="connsiteX0" fmla="*/ 19537 w 43511"/>
                    <a:gd name="connsiteY0" fmla="*/ 35342 h 69331"/>
                    <a:gd name="connsiteX1" fmla="*/ 29461 w 43511"/>
                    <a:gd name="connsiteY1" fmla="*/ 63448 h 69331"/>
                    <a:gd name="connsiteX2" fmla="*/ 36502 w 43511"/>
                    <a:gd name="connsiteY2" fmla="*/ 69355 h 69331"/>
                    <a:gd name="connsiteX3" fmla="*/ 37793 w 43511"/>
                    <a:gd name="connsiteY3" fmla="*/ 69237 h 69331"/>
                    <a:gd name="connsiteX4" fmla="*/ 43558 w 43511"/>
                    <a:gd name="connsiteY4" fmla="*/ 60871 h 69331"/>
                    <a:gd name="connsiteX5" fmla="*/ 32128 w 43511"/>
                    <a:gd name="connsiteY5" fmla="*/ 28477 h 69331"/>
                    <a:gd name="connsiteX6" fmla="*/ 12136 w 43511"/>
                    <a:gd name="connsiteY6" fmla="*/ 2014 h 69331"/>
                    <a:gd name="connsiteX7" fmla="*/ 2006 w 43511"/>
                    <a:gd name="connsiteY7" fmla="*/ 2201 h 69331"/>
                    <a:gd name="connsiteX8" fmla="*/ 2192 w 43511"/>
                    <a:gd name="connsiteY8" fmla="*/ 12374 h 69331"/>
                    <a:gd name="connsiteX9" fmla="*/ 19537 w 43511"/>
                    <a:gd name="connsiteY9" fmla="*/ 35342 h 6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11" h="69331">
                      <a:moveTo>
                        <a:pt x="19537" y="35342"/>
                      </a:moveTo>
                      <a:cubicBezTo>
                        <a:pt x="24358" y="44259"/>
                        <a:pt x="27698" y="53715"/>
                        <a:pt x="29461" y="63448"/>
                      </a:cubicBezTo>
                      <a:cubicBezTo>
                        <a:pt x="30091" y="66921"/>
                        <a:pt x="33106" y="69355"/>
                        <a:pt x="36502" y="69355"/>
                      </a:cubicBezTo>
                      <a:cubicBezTo>
                        <a:pt x="36927" y="69355"/>
                        <a:pt x="37359" y="69316"/>
                        <a:pt x="37793" y="69237"/>
                      </a:cubicBezTo>
                      <a:cubicBezTo>
                        <a:pt x="41685" y="68526"/>
                        <a:pt x="44267" y="64780"/>
                        <a:pt x="43558" y="60871"/>
                      </a:cubicBezTo>
                      <a:cubicBezTo>
                        <a:pt x="41522" y="49636"/>
                        <a:pt x="37676" y="38736"/>
                        <a:pt x="32128" y="28477"/>
                      </a:cubicBezTo>
                      <a:cubicBezTo>
                        <a:pt x="26775" y="18576"/>
                        <a:pt x="20048" y="9672"/>
                        <a:pt x="12136" y="2014"/>
                      </a:cubicBezTo>
                      <a:cubicBezTo>
                        <a:pt x="9287" y="-743"/>
                        <a:pt x="4752" y="-659"/>
                        <a:pt x="2006" y="2201"/>
                      </a:cubicBezTo>
                      <a:cubicBezTo>
                        <a:pt x="-740" y="5062"/>
                        <a:pt x="-656" y="9616"/>
                        <a:pt x="2192" y="12374"/>
                      </a:cubicBezTo>
                      <a:cubicBezTo>
                        <a:pt x="9048" y="19009"/>
                        <a:pt x="14883" y="26737"/>
                        <a:pt x="19537" y="35342"/>
                      </a:cubicBezTo>
                      <a:close/>
                    </a:path>
                  </a:pathLst>
                </a:custGeom>
                <a:grpFill/>
                <a:ln w="46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等线" panose="020F0502020204030204"/>
                    <a:ea typeface="+mn-ea"/>
                    <a:cs typeface="+mn-cs"/>
                  </a:endParaRPr>
                </a:p>
              </p:txBody>
            </p:sp>
            <p:sp>
              <p:nvSpPr>
                <p:cNvPr id="39" name="Freeform: Shape 89">
                  <a:extLst>
                    <a:ext uri="{FF2B5EF4-FFF2-40B4-BE49-F238E27FC236}">
                      <a16:creationId xmlns:a16="http://schemas.microsoft.com/office/drawing/2014/main" id="{97ACDAE8-9203-439C-9980-824A00F1A29E}"/>
                    </a:ext>
                  </a:extLst>
                </p:cNvPr>
                <p:cNvSpPr/>
                <p:nvPr/>
              </p:nvSpPr>
              <p:spPr>
                <a:xfrm>
                  <a:off x="6167897" y="3049623"/>
                  <a:ext cx="76026" cy="19126"/>
                </a:xfrm>
                <a:custGeom>
                  <a:avLst/>
                  <a:gdLst>
                    <a:gd name="connsiteX0" fmla="*/ 67039 w 76025"/>
                    <a:gd name="connsiteY0" fmla="*/ 362 h 19126"/>
                    <a:gd name="connsiteX1" fmla="*/ 38096 w 76025"/>
                    <a:gd name="connsiteY1" fmla="*/ 5009 h 19126"/>
                    <a:gd name="connsiteX2" fmla="*/ 37704 w 76025"/>
                    <a:gd name="connsiteY2" fmla="*/ 5014 h 19126"/>
                    <a:gd name="connsiteX3" fmla="*/ 9324 w 76025"/>
                    <a:gd name="connsiteY3" fmla="*/ 669 h 19126"/>
                    <a:gd name="connsiteX4" fmla="*/ 336 w 76025"/>
                    <a:gd name="connsiteY4" fmla="*/ 5359 h 19126"/>
                    <a:gd name="connsiteX5" fmla="*/ 5007 w 76025"/>
                    <a:gd name="connsiteY5" fmla="*/ 14385 h 19126"/>
                    <a:gd name="connsiteX6" fmla="*/ 37704 w 76025"/>
                    <a:gd name="connsiteY6" fmla="*/ 19401 h 19126"/>
                    <a:gd name="connsiteX7" fmla="*/ 38096 w 76025"/>
                    <a:gd name="connsiteY7" fmla="*/ 19401 h 19126"/>
                    <a:gd name="connsiteX8" fmla="*/ 71509 w 76025"/>
                    <a:gd name="connsiteY8" fmla="*/ 14030 h 19126"/>
                    <a:gd name="connsiteX9" fmla="*/ 76080 w 76025"/>
                    <a:gd name="connsiteY9" fmla="*/ 4951 h 19126"/>
                    <a:gd name="connsiteX10" fmla="*/ 67039 w 76025"/>
                    <a:gd name="connsiteY10" fmla="*/ 362 h 19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6025" h="19126">
                      <a:moveTo>
                        <a:pt x="67039" y="362"/>
                      </a:moveTo>
                      <a:cubicBezTo>
                        <a:pt x="57797" y="3412"/>
                        <a:pt x="48063" y="4976"/>
                        <a:pt x="38096" y="5009"/>
                      </a:cubicBezTo>
                      <a:cubicBezTo>
                        <a:pt x="37967" y="5014"/>
                        <a:pt x="37833" y="5014"/>
                        <a:pt x="37704" y="5014"/>
                      </a:cubicBezTo>
                      <a:cubicBezTo>
                        <a:pt x="27956" y="5014"/>
                        <a:pt x="18404" y="3551"/>
                        <a:pt x="9324" y="669"/>
                      </a:cubicBezTo>
                      <a:cubicBezTo>
                        <a:pt x="5551" y="-530"/>
                        <a:pt x="1530" y="1570"/>
                        <a:pt x="336" y="5359"/>
                      </a:cubicBezTo>
                      <a:cubicBezTo>
                        <a:pt x="-858" y="9148"/>
                        <a:pt x="1234" y="13186"/>
                        <a:pt x="5007" y="14385"/>
                      </a:cubicBezTo>
                      <a:cubicBezTo>
                        <a:pt x="15485" y="17713"/>
                        <a:pt x="26485" y="19401"/>
                        <a:pt x="37704" y="19401"/>
                      </a:cubicBezTo>
                      <a:lnTo>
                        <a:pt x="38096" y="19401"/>
                      </a:lnTo>
                      <a:cubicBezTo>
                        <a:pt x="49587" y="19358"/>
                        <a:pt x="60825" y="17554"/>
                        <a:pt x="71509" y="14030"/>
                      </a:cubicBezTo>
                      <a:cubicBezTo>
                        <a:pt x="75268" y="12792"/>
                        <a:pt x="77317" y="8725"/>
                        <a:pt x="76080" y="4951"/>
                      </a:cubicBezTo>
                      <a:cubicBezTo>
                        <a:pt x="74848" y="1177"/>
                        <a:pt x="70797" y="-880"/>
                        <a:pt x="67039" y="362"/>
                      </a:cubicBezTo>
                      <a:close/>
                    </a:path>
                  </a:pathLst>
                </a:custGeom>
                <a:grpFill/>
                <a:ln w="46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等线" panose="020F0502020204030204"/>
                    <a:ea typeface="+mn-ea"/>
                    <a:cs typeface="+mn-cs"/>
                  </a:endParaRPr>
                </a:p>
              </p:txBody>
            </p:sp>
            <p:sp>
              <p:nvSpPr>
                <p:cNvPr id="40" name="Freeform: Shape 90">
                  <a:extLst>
                    <a:ext uri="{FF2B5EF4-FFF2-40B4-BE49-F238E27FC236}">
                      <a16:creationId xmlns:a16="http://schemas.microsoft.com/office/drawing/2014/main" id="{46F7E600-1C64-43C6-8FC0-96E5DB2531FD}"/>
                    </a:ext>
                  </a:extLst>
                </p:cNvPr>
                <p:cNvSpPr/>
                <p:nvPr/>
              </p:nvSpPr>
              <p:spPr>
                <a:xfrm>
                  <a:off x="6083448" y="3020226"/>
                  <a:ext cx="83198" cy="99933"/>
                </a:xfrm>
                <a:custGeom>
                  <a:avLst/>
                  <a:gdLst>
                    <a:gd name="connsiteX0" fmla="*/ 46598 w 83198"/>
                    <a:gd name="connsiteY0" fmla="*/ 48852 h 99933"/>
                    <a:gd name="connsiteX1" fmla="*/ 66340 w 83198"/>
                    <a:gd name="connsiteY1" fmla="*/ 24665 h 99933"/>
                    <a:gd name="connsiteX2" fmla="*/ 41776 w 83198"/>
                    <a:gd name="connsiteY2" fmla="*/ 0 h 99933"/>
                    <a:gd name="connsiteX3" fmla="*/ 17213 w 83198"/>
                    <a:gd name="connsiteY3" fmla="*/ 24665 h 99933"/>
                    <a:gd name="connsiteX4" fmla="*/ 36955 w 83198"/>
                    <a:gd name="connsiteY4" fmla="*/ 48852 h 99933"/>
                    <a:gd name="connsiteX5" fmla="*/ 0 w 83198"/>
                    <a:gd name="connsiteY5" fmla="*/ 85559 h 99933"/>
                    <a:gd name="connsiteX6" fmla="*/ 0 w 83198"/>
                    <a:gd name="connsiteY6" fmla="*/ 93070 h 99933"/>
                    <a:gd name="connsiteX7" fmla="*/ 6863 w 83198"/>
                    <a:gd name="connsiteY7" fmla="*/ 99961 h 99933"/>
                    <a:gd name="connsiteX8" fmla="*/ 41776 w 83198"/>
                    <a:gd name="connsiteY8" fmla="*/ 99961 h 99933"/>
                    <a:gd name="connsiteX9" fmla="*/ 76690 w 83198"/>
                    <a:gd name="connsiteY9" fmla="*/ 99961 h 99933"/>
                    <a:gd name="connsiteX10" fmla="*/ 83553 w 83198"/>
                    <a:gd name="connsiteY10" fmla="*/ 93070 h 99933"/>
                    <a:gd name="connsiteX11" fmla="*/ 83553 w 83198"/>
                    <a:gd name="connsiteY11" fmla="*/ 85559 h 99933"/>
                    <a:gd name="connsiteX12" fmla="*/ 46598 w 83198"/>
                    <a:gd name="connsiteY12" fmla="*/ 48852 h 999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3198" h="99933">
                      <a:moveTo>
                        <a:pt x="46598" y="48852"/>
                      </a:moveTo>
                      <a:cubicBezTo>
                        <a:pt x="57854" y="46601"/>
                        <a:pt x="66340" y="36628"/>
                        <a:pt x="66340" y="24665"/>
                      </a:cubicBezTo>
                      <a:cubicBezTo>
                        <a:pt x="66340" y="11045"/>
                        <a:pt x="55341" y="0"/>
                        <a:pt x="41776" y="0"/>
                      </a:cubicBezTo>
                      <a:cubicBezTo>
                        <a:pt x="28212" y="0"/>
                        <a:pt x="17213" y="11045"/>
                        <a:pt x="17213" y="24665"/>
                      </a:cubicBezTo>
                      <a:cubicBezTo>
                        <a:pt x="17213" y="36628"/>
                        <a:pt x="25699" y="46601"/>
                        <a:pt x="36955" y="48852"/>
                      </a:cubicBezTo>
                      <a:cubicBezTo>
                        <a:pt x="15689" y="48852"/>
                        <a:pt x="0" y="65819"/>
                        <a:pt x="0" y="85559"/>
                      </a:cubicBezTo>
                      <a:lnTo>
                        <a:pt x="0" y="93070"/>
                      </a:lnTo>
                      <a:cubicBezTo>
                        <a:pt x="0" y="96873"/>
                        <a:pt x="3071" y="99961"/>
                        <a:pt x="6863" y="99961"/>
                      </a:cubicBezTo>
                      <a:lnTo>
                        <a:pt x="41776" y="99961"/>
                      </a:lnTo>
                      <a:lnTo>
                        <a:pt x="76690" y="99961"/>
                      </a:lnTo>
                      <a:cubicBezTo>
                        <a:pt x="80482" y="99961"/>
                        <a:pt x="83553" y="96873"/>
                        <a:pt x="83553" y="93070"/>
                      </a:cubicBezTo>
                      <a:lnTo>
                        <a:pt x="83553" y="85559"/>
                      </a:lnTo>
                      <a:cubicBezTo>
                        <a:pt x="83553" y="65902"/>
                        <a:pt x="67954" y="48852"/>
                        <a:pt x="46598" y="48852"/>
                      </a:cubicBezTo>
                      <a:close/>
                    </a:path>
                  </a:pathLst>
                </a:custGeom>
                <a:grpFill/>
                <a:ln w="46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等线" panose="020F0502020204030204"/>
                    <a:ea typeface="+mn-ea"/>
                    <a:cs typeface="+mn-cs"/>
                  </a:endParaRPr>
                </a:p>
              </p:txBody>
            </p:sp>
            <p:sp>
              <p:nvSpPr>
                <p:cNvPr id="41" name="Freeform: Shape 91">
                  <a:extLst>
                    <a:ext uri="{FF2B5EF4-FFF2-40B4-BE49-F238E27FC236}">
                      <a16:creationId xmlns:a16="http://schemas.microsoft.com/office/drawing/2014/main" id="{FCAA8B88-2F18-45FE-8456-6F1753A92DC5}"/>
                    </a:ext>
                  </a:extLst>
                </p:cNvPr>
                <p:cNvSpPr/>
                <p:nvPr/>
              </p:nvSpPr>
              <p:spPr>
                <a:xfrm>
                  <a:off x="6244708" y="3020226"/>
                  <a:ext cx="83198" cy="99933"/>
                </a:xfrm>
                <a:custGeom>
                  <a:avLst/>
                  <a:gdLst>
                    <a:gd name="connsiteX0" fmla="*/ 46599 w 83198"/>
                    <a:gd name="connsiteY0" fmla="*/ 48852 h 99933"/>
                    <a:gd name="connsiteX1" fmla="*/ 66341 w 83198"/>
                    <a:gd name="connsiteY1" fmla="*/ 24665 h 99933"/>
                    <a:gd name="connsiteX2" fmla="*/ 41777 w 83198"/>
                    <a:gd name="connsiteY2" fmla="*/ 0 h 99933"/>
                    <a:gd name="connsiteX3" fmla="*/ 17213 w 83198"/>
                    <a:gd name="connsiteY3" fmla="*/ 24665 h 99933"/>
                    <a:gd name="connsiteX4" fmla="*/ 36954 w 83198"/>
                    <a:gd name="connsiteY4" fmla="*/ 48852 h 99933"/>
                    <a:gd name="connsiteX5" fmla="*/ 0 w 83198"/>
                    <a:gd name="connsiteY5" fmla="*/ 85559 h 99933"/>
                    <a:gd name="connsiteX6" fmla="*/ 0 w 83198"/>
                    <a:gd name="connsiteY6" fmla="*/ 93069 h 99933"/>
                    <a:gd name="connsiteX7" fmla="*/ 6863 w 83198"/>
                    <a:gd name="connsiteY7" fmla="*/ 99961 h 99933"/>
                    <a:gd name="connsiteX8" fmla="*/ 41776 w 83198"/>
                    <a:gd name="connsiteY8" fmla="*/ 99961 h 99933"/>
                    <a:gd name="connsiteX9" fmla="*/ 76690 w 83198"/>
                    <a:gd name="connsiteY9" fmla="*/ 99961 h 99933"/>
                    <a:gd name="connsiteX10" fmla="*/ 83553 w 83198"/>
                    <a:gd name="connsiteY10" fmla="*/ 93069 h 99933"/>
                    <a:gd name="connsiteX11" fmla="*/ 83553 w 83198"/>
                    <a:gd name="connsiteY11" fmla="*/ 85559 h 99933"/>
                    <a:gd name="connsiteX12" fmla="*/ 46599 w 83198"/>
                    <a:gd name="connsiteY12" fmla="*/ 48852 h 999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3198" h="99933">
                      <a:moveTo>
                        <a:pt x="46599" y="48852"/>
                      </a:moveTo>
                      <a:cubicBezTo>
                        <a:pt x="57854" y="46601"/>
                        <a:pt x="66341" y="36628"/>
                        <a:pt x="66341" y="24665"/>
                      </a:cubicBezTo>
                      <a:cubicBezTo>
                        <a:pt x="66341" y="11045"/>
                        <a:pt x="55341" y="0"/>
                        <a:pt x="41777" y="0"/>
                      </a:cubicBezTo>
                      <a:cubicBezTo>
                        <a:pt x="28208" y="0"/>
                        <a:pt x="17213" y="11045"/>
                        <a:pt x="17213" y="24665"/>
                      </a:cubicBezTo>
                      <a:cubicBezTo>
                        <a:pt x="17213" y="36628"/>
                        <a:pt x="25696" y="46601"/>
                        <a:pt x="36954" y="48852"/>
                      </a:cubicBezTo>
                      <a:cubicBezTo>
                        <a:pt x="15639" y="48852"/>
                        <a:pt x="0" y="65859"/>
                        <a:pt x="0" y="85559"/>
                      </a:cubicBezTo>
                      <a:lnTo>
                        <a:pt x="0" y="93069"/>
                      </a:lnTo>
                      <a:cubicBezTo>
                        <a:pt x="0" y="96872"/>
                        <a:pt x="3071" y="99961"/>
                        <a:pt x="6863" y="99961"/>
                      </a:cubicBezTo>
                      <a:lnTo>
                        <a:pt x="41776" y="99961"/>
                      </a:lnTo>
                      <a:lnTo>
                        <a:pt x="76690" y="99961"/>
                      </a:lnTo>
                      <a:cubicBezTo>
                        <a:pt x="80477" y="99961"/>
                        <a:pt x="83553" y="96872"/>
                        <a:pt x="83553" y="93069"/>
                      </a:cubicBezTo>
                      <a:lnTo>
                        <a:pt x="83553" y="85559"/>
                      </a:lnTo>
                      <a:cubicBezTo>
                        <a:pt x="83553" y="65861"/>
                        <a:pt x="67911" y="48852"/>
                        <a:pt x="46599" y="48852"/>
                      </a:cubicBezTo>
                      <a:close/>
                    </a:path>
                  </a:pathLst>
                </a:custGeom>
                <a:grpFill/>
                <a:ln w="46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等线" panose="020F0502020204030204"/>
                    <a:ea typeface="+mn-ea"/>
                    <a:cs typeface="+mn-cs"/>
                  </a:endParaRPr>
                </a:p>
              </p:txBody>
            </p:sp>
          </p:grpSp>
          <p:sp>
            <p:nvSpPr>
              <p:cNvPr id="26" name="Rectangle: Rounded Corners 69">
                <a:extLst>
                  <a:ext uri="{FF2B5EF4-FFF2-40B4-BE49-F238E27FC236}">
                    <a16:creationId xmlns:a16="http://schemas.microsoft.com/office/drawing/2014/main" id="{547E75E6-CD12-4599-886A-AF907518AF23}"/>
                  </a:ext>
                </a:extLst>
              </p:cNvPr>
              <p:cNvSpPr/>
              <p:nvPr/>
            </p:nvSpPr>
            <p:spPr>
              <a:xfrm>
                <a:off x="1121518" y="2337802"/>
                <a:ext cx="3213246" cy="752616"/>
              </a:xfrm>
              <a:prstGeom prst="roundRect">
                <a:avLst>
                  <a:gd name="adj" fmla="val 50000"/>
                </a:avLst>
              </a:prstGeom>
              <a:solidFill>
                <a:schemeClr val="bg1"/>
              </a:solidFill>
              <a:ln>
                <a:noFill/>
              </a:ln>
              <a:effectLst>
                <a:outerShdw blurRad="266700" dist="228600" dir="2700000" algn="tl" rotWithShape="0">
                  <a:schemeClr val="accent5">
                    <a:alpha val="1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2400" b="0" i="0" u="none" strike="noStrike" kern="1200" cap="none" spc="0" normalizeH="0" baseline="0" noProof="0" dirty="0">
                  <a:ln>
                    <a:noFill/>
                  </a:ln>
                  <a:solidFill>
                    <a:srgbClr val="FFFFFF"/>
                  </a:solidFill>
                  <a:effectLst/>
                  <a:uLnTx/>
                  <a:uFillTx/>
                  <a:latin typeface="等线" panose="020F0502020204030204"/>
                  <a:ea typeface="+mn-ea"/>
                  <a:cs typeface="+mn-cs"/>
                </a:endParaRPr>
              </a:p>
            </p:txBody>
          </p:sp>
          <p:sp>
            <p:nvSpPr>
              <p:cNvPr id="27" name="TextBox 70">
                <a:extLst>
                  <a:ext uri="{FF2B5EF4-FFF2-40B4-BE49-F238E27FC236}">
                    <a16:creationId xmlns:a16="http://schemas.microsoft.com/office/drawing/2014/main" id="{F447E8FD-B8EC-4437-B8E0-35705074F918}"/>
                  </a:ext>
                </a:extLst>
              </p:cNvPr>
              <p:cNvSpPr txBox="1"/>
              <p:nvPr/>
            </p:nvSpPr>
            <p:spPr>
              <a:xfrm>
                <a:off x="1454963" y="2656542"/>
                <a:ext cx="2058401" cy="299184"/>
              </a:xfrm>
              <a:prstGeom prst="rect">
                <a:avLst/>
              </a:prstGeom>
              <a:noFill/>
            </p:spPr>
            <p:txBody>
              <a:bodyPr wrap="square" rtlCol="0">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lumMod val="65000"/>
                        <a:lumOff val="35000"/>
                      </a:srgbClr>
                    </a:solidFill>
                    <a:effectLst/>
                    <a:uLnTx/>
                    <a:uFillTx/>
                    <a:latin typeface="等线 Light" panose="020F0302020204030204"/>
                    <a:ea typeface="+mn-ea"/>
                    <a:cs typeface="+mn-cs"/>
                  </a:rPr>
                  <a:t>Lorem ipsum dolor sit </a:t>
                </a:r>
                <a:r>
                  <a:rPr kumimoji="0" lang="en-US" sz="1200" b="0" i="0" u="none" strike="noStrike" kern="1200" cap="none" spc="0" normalizeH="0" baseline="0" noProof="0" dirty="0" err="1">
                    <a:ln>
                      <a:noFill/>
                    </a:ln>
                    <a:solidFill>
                      <a:srgbClr val="000000">
                        <a:lumMod val="65000"/>
                        <a:lumOff val="35000"/>
                      </a:srgbClr>
                    </a:solidFill>
                    <a:effectLst/>
                    <a:uLnTx/>
                    <a:uFillTx/>
                    <a:latin typeface="等线 Light" panose="020F0302020204030204"/>
                    <a:ea typeface="+mn-ea"/>
                    <a:cs typeface="+mn-cs"/>
                  </a:rPr>
                  <a:t>amet</a:t>
                </a:r>
                <a:endParaRPr kumimoji="0" lang="en-US" sz="1200" b="0" i="0" u="none" strike="noStrike" kern="1200" cap="none" spc="0" normalizeH="0" baseline="0" noProof="0" dirty="0">
                  <a:ln>
                    <a:noFill/>
                  </a:ln>
                  <a:solidFill>
                    <a:srgbClr val="000000">
                      <a:lumMod val="65000"/>
                      <a:lumOff val="35000"/>
                    </a:srgbClr>
                  </a:solidFill>
                  <a:effectLst/>
                  <a:uLnTx/>
                  <a:uFillTx/>
                  <a:latin typeface="等线 Light" panose="020F0302020204030204"/>
                  <a:ea typeface="+mn-ea"/>
                  <a:cs typeface="+mn-cs"/>
                </a:endParaRPr>
              </a:p>
            </p:txBody>
          </p:sp>
          <p:sp>
            <p:nvSpPr>
              <p:cNvPr id="28" name="TextBox 72">
                <a:extLst>
                  <a:ext uri="{FF2B5EF4-FFF2-40B4-BE49-F238E27FC236}">
                    <a16:creationId xmlns:a16="http://schemas.microsoft.com/office/drawing/2014/main" id="{263EF821-DEE5-41F4-A508-1E6049B777C9}"/>
                  </a:ext>
                </a:extLst>
              </p:cNvPr>
              <p:cNvSpPr txBox="1"/>
              <p:nvPr/>
            </p:nvSpPr>
            <p:spPr>
              <a:xfrm>
                <a:off x="1454964" y="2376269"/>
                <a:ext cx="1334075" cy="365934"/>
              </a:xfrm>
              <a:prstGeom prst="rect">
                <a:avLst/>
              </a:prstGeom>
              <a:noFill/>
            </p:spPr>
            <p:txBody>
              <a:bodyPr wrap="square" rtlCol="0">
                <a:spAutoFit/>
              </a:bodyPr>
              <a:lstStyle/>
              <a:p>
                <a:pPr marL="0" marR="0" lvl="0" indent="0" algn="l" defTabSz="914400" rtl="0" eaLnBrk="1" fontAlgn="auto" latinLnBrk="0" hangingPunct="1">
                  <a:lnSpc>
                    <a:spcPct val="140000"/>
                  </a:lnSpc>
                  <a:spcBef>
                    <a:spcPts val="0"/>
                  </a:spcBef>
                  <a:spcAft>
                    <a:spcPts val="0"/>
                  </a:spcAft>
                  <a:buClrTx/>
                  <a:buSzTx/>
                  <a:buFontTx/>
                  <a:buNone/>
                  <a:tabLst/>
                  <a:defRPr/>
                </a:pPr>
                <a:r>
                  <a:rPr kumimoji="0" lang="da-DK" sz="1400" b="1" i="0" u="none" strike="noStrike" kern="1200" cap="none" spc="0" normalizeH="0" baseline="0" noProof="0" dirty="0">
                    <a:ln>
                      <a:noFill/>
                    </a:ln>
                    <a:solidFill>
                      <a:srgbClr val="00D99B"/>
                    </a:solidFill>
                    <a:effectLst/>
                    <a:uLnTx/>
                    <a:uFillTx/>
                    <a:latin typeface="等线" panose="020F0502020204030204"/>
                    <a:ea typeface="+mn-ea"/>
                    <a:cs typeface="+mn-cs"/>
                  </a:rPr>
                  <a:t>Employee</a:t>
                </a:r>
              </a:p>
            </p:txBody>
          </p:sp>
          <p:sp>
            <p:nvSpPr>
              <p:cNvPr id="29" name="Oval 75">
                <a:extLst>
                  <a:ext uri="{FF2B5EF4-FFF2-40B4-BE49-F238E27FC236}">
                    <a16:creationId xmlns:a16="http://schemas.microsoft.com/office/drawing/2014/main" id="{530ADD79-75FB-46A8-A486-997E7F545378}"/>
                  </a:ext>
                </a:extLst>
              </p:cNvPr>
              <p:cNvSpPr/>
              <p:nvPr/>
            </p:nvSpPr>
            <p:spPr>
              <a:xfrm>
                <a:off x="4005330" y="2310194"/>
                <a:ext cx="752616" cy="752616"/>
              </a:xfrm>
              <a:prstGeom prst="ellipse">
                <a:avLst/>
              </a:prstGeom>
              <a:solidFill>
                <a:schemeClr val="accent5"/>
              </a:solidFill>
              <a:ln>
                <a:noFill/>
              </a:ln>
              <a:effectLst>
                <a:outerShdw blurRad="419100" dist="177800" dir="10200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等线" panose="020F0502020204030204"/>
                  <a:ea typeface="+mn-ea"/>
                  <a:cs typeface="+mn-cs"/>
                </a:endParaRPr>
              </a:p>
            </p:txBody>
          </p:sp>
          <p:pic>
            <p:nvPicPr>
              <p:cNvPr id="30" name="Graphic 76">
                <a:extLst>
                  <a:ext uri="{FF2B5EF4-FFF2-40B4-BE49-F238E27FC236}">
                    <a16:creationId xmlns:a16="http://schemas.microsoft.com/office/drawing/2014/main" id="{35A926C5-44D7-4C29-AF32-0FC1AC627865}"/>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207867" y="2533675"/>
                <a:ext cx="305654" cy="305654"/>
              </a:xfrm>
              <a:prstGeom prst="rect">
                <a:avLst/>
              </a:prstGeom>
            </p:spPr>
          </p:pic>
          <p:sp>
            <p:nvSpPr>
              <p:cNvPr id="31" name="Rectangle: Rounded Corners 99">
                <a:extLst>
                  <a:ext uri="{FF2B5EF4-FFF2-40B4-BE49-F238E27FC236}">
                    <a16:creationId xmlns:a16="http://schemas.microsoft.com/office/drawing/2014/main" id="{40CFE0B1-7013-4100-A1F0-24BBB45C2735}"/>
                  </a:ext>
                </a:extLst>
              </p:cNvPr>
              <p:cNvSpPr/>
              <p:nvPr/>
            </p:nvSpPr>
            <p:spPr>
              <a:xfrm>
                <a:off x="8312049" y="3359540"/>
                <a:ext cx="3191926" cy="752616"/>
              </a:xfrm>
              <a:prstGeom prst="roundRect">
                <a:avLst>
                  <a:gd name="adj" fmla="val 50000"/>
                </a:avLst>
              </a:prstGeom>
              <a:solidFill>
                <a:schemeClr val="bg1"/>
              </a:solidFill>
              <a:ln>
                <a:noFill/>
              </a:ln>
              <a:effectLst>
                <a:outerShdw blurRad="266700" dist="228600" dir="2700000" algn="tl" rotWithShape="0">
                  <a:schemeClr val="accent6">
                    <a:alpha val="1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2400" b="0" i="0" u="none" strike="noStrike" kern="1200" cap="none" spc="0" normalizeH="0" baseline="0" noProof="0" dirty="0">
                  <a:ln>
                    <a:noFill/>
                  </a:ln>
                  <a:solidFill>
                    <a:srgbClr val="FFFFFF"/>
                  </a:solidFill>
                  <a:effectLst/>
                  <a:uLnTx/>
                  <a:uFillTx/>
                  <a:latin typeface="等线" panose="020F0502020204030204"/>
                  <a:ea typeface="+mn-ea"/>
                  <a:cs typeface="+mn-cs"/>
                </a:endParaRPr>
              </a:p>
            </p:txBody>
          </p:sp>
          <p:sp>
            <p:nvSpPr>
              <p:cNvPr id="32" name="TextBox 100">
                <a:extLst>
                  <a:ext uri="{FF2B5EF4-FFF2-40B4-BE49-F238E27FC236}">
                    <a16:creationId xmlns:a16="http://schemas.microsoft.com/office/drawing/2014/main" id="{BE635661-247E-40AC-9A4A-5DB19EB74DDC}"/>
                  </a:ext>
                </a:extLst>
              </p:cNvPr>
              <p:cNvSpPr txBox="1"/>
              <p:nvPr/>
            </p:nvSpPr>
            <p:spPr>
              <a:xfrm>
                <a:off x="8921882" y="3685245"/>
                <a:ext cx="2130918" cy="299184"/>
              </a:xfrm>
              <a:prstGeom prst="rect">
                <a:avLst/>
              </a:prstGeom>
              <a:noFill/>
            </p:spPr>
            <p:txBody>
              <a:bodyPr wrap="square" rtlCol="0">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lumMod val="65000"/>
                        <a:lumOff val="35000"/>
                      </a:srgbClr>
                    </a:solidFill>
                    <a:effectLst/>
                    <a:uLnTx/>
                    <a:uFillTx/>
                    <a:latin typeface="等线 Light" panose="020F0302020204030204"/>
                    <a:ea typeface="+mn-ea"/>
                    <a:cs typeface="+mn-cs"/>
                  </a:rPr>
                  <a:t>Lorem ipsum dolor sit </a:t>
                </a:r>
                <a:r>
                  <a:rPr kumimoji="0" lang="en-US" sz="1200" b="0" i="0" u="none" strike="noStrike" kern="1200" cap="none" spc="0" normalizeH="0" baseline="0" noProof="0" dirty="0" err="1">
                    <a:ln>
                      <a:noFill/>
                    </a:ln>
                    <a:solidFill>
                      <a:srgbClr val="000000">
                        <a:lumMod val="65000"/>
                        <a:lumOff val="35000"/>
                      </a:srgbClr>
                    </a:solidFill>
                    <a:effectLst/>
                    <a:uLnTx/>
                    <a:uFillTx/>
                    <a:latin typeface="等线 Light" panose="020F0302020204030204"/>
                    <a:ea typeface="+mn-ea"/>
                    <a:cs typeface="+mn-cs"/>
                  </a:rPr>
                  <a:t>amet</a:t>
                </a:r>
                <a:r>
                  <a:rPr kumimoji="0" lang="en-US" sz="1200" b="0" i="0" u="none" strike="noStrike" kern="1200" cap="none" spc="0" normalizeH="0" baseline="0" noProof="0" dirty="0">
                    <a:ln>
                      <a:noFill/>
                    </a:ln>
                    <a:solidFill>
                      <a:srgbClr val="000000">
                        <a:lumMod val="65000"/>
                        <a:lumOff val="35000"/>
                      </a:srgbClr>
                    </a:solidFill>
                    <a:effectLst/>
                    <a:uLnTx/>
                    <a:uFillTx/>
                    <a:latin typeface="等线 Light" panose="020F0302020204030204"/>
                    <a:ea typeface="+mn-ea"/>
                    <a:cs typeface="+mn-cs"/>
                  </a:rPr>
                  <a:t>, </a:t>
                </a:r>
              </a:p>
            </p:txBody>
          </p:sp>
          <p:sp>
            <p:nvSpPr>
              <p:cNvPr id="33" name="TextBox 101">
                <a:extLst>
                  <a:ext uri="{FF2B5EF4-FFF2-40B4-BE49-F238E27FC236}">
                    <a16:creationId xmlns:a16="http://schemas.microsoft.com/office/drawing/2014/main" id="{D70A8F42-3598-4671-BC88-D06F69FF5279}"/>
                  </a:ext>
                </a:extLst>
              </p:cNvPr>
              <p:cNvSpPr txBox="1"/>
              <p:nvPr/>
            </p:nvSpPr>
            <p:spPr>
              <a:xfrm>
                <a:off x="8921881" y="3404972"/>
                <a:ext cx="1800089" cy="365934"/>
              </a:xfrm>
              <a:prstGeom prst="rect">
                <a:avLst/>
              </a:prstGeom>
              <a:noFill/>
            </p:spPr>
            <p:txBody>
              <a:bodyPr wrap="square" rtlCol="0">
                <a:spAutoFit/>
              </a:bodyPr>
              <a:lstStyle/>
              <a:p>
                <a:pPr marL="0" marR="0" lvl="0" indent="0" algn="l" defTabSz="914400" rtl="0" eaLnBrk="1" fontAlgn="auto" latinLnBrk="0" hangingPunct="1">
                  <a:lnSpc>
                    <a:spcPct val="140000"/>
                  </a:lnSpc>
                  <a:spcBef>
                    <a:spcPts val="0"/>
                  </a:spcBef>
                  <a:spcAft>
                    <a:spcPts val="0"/>
                  </a:spcAft>
                  <a:buClrTx/>
                  <a:buSzTx/>
                  <a:buFontTx/>
                  <a:buNone/>
                  <a:tabLst/>
                  <a:defRPr/>
                </a:pPr>
                <a:r>
                  <a:rPr kumimoji="0" lang="da-DK" sz="1400" b="1" i="0" u="none" strike="noStrike" kern="1200" cap="none" spc="0" normalizeH="0" baseline="0" noProof="0" dirty="0">
                    <a:ln>
                      <a:noFill/>
                    </a:ln>
                    <a:solidFill>
                      <a:srgbClr val="385FFF"/>
                    </a:solidFill>
                    <a:effectLst/>
                    <a:uLnTx/>
                    <a:uFillTx/>
                    <a:latin typeface="等线" panose="020F0502020204030204"/>
                    <a:ea typeface="+mn-ea"/>
                    <a:cs typeface="+mn-cs"/>
                  </a:rPr>
                  <a:t>Creator</a:t>
                </a:r>
              </a:p>
            </p:txBody>
          </p:sp>
          <p:sp>
            <p:nvSpPr>
              <p:cNvPr id="34" name="Oval 102">
                <a:extLst>
                  <a:ext uri="{FF2B5EF4-FFF2-40B4-BE49-F238E27FC236}">
                    <a16:creationId xmlns:a16="http://schemas.microsoft.com/office/drawing/2014/main" id="{E37F6F60-366C-4123-A09F-DF89142845E1}"/>
                  </a:ext>
                </a:extLst>
              </p:cNvPr>
              <p:cNvSpPr/>
              <p:nvPr/>
            </p:nvSpPr>
            <p:spPr>
              <a:xfrm>
                <a:off x="7816052" y="3342900"/>
                <a:ext cx="752616" cy="752616"/>
              </a:xfrm>
              <a:prstGeom prst="ellipse">
                <a:avLst/>
              </a:prstGeom>
              <a:solidFill>
                <a:schemeClr val="accent6"/>
              </a:solidFill>
              <a:ln>
                <a:noFill/>
              </a:ln>
              <a:effectLst>
                <a:outerShdw blurRad="419100" dist="177800" dir="2700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等线" panose="020F0502020204030204"/>
                  <a:ea typeface="+mn-ea"/>
                  <a:cs typeface="+mn-cs"/>
                </a:endParaRPr>
              </a:p>
            </p:txBody>
          </p:sp>
          <p:sp>
            <p:nvSpPr>
              <p:cNvPr id="35" name="Graphic 14">
                <a:extLst>
                  <a:ext uri="{FF2B5EF4-FFF2-40B4-BE49-F238E27FC236}">
                    <a16:creationId xmlns:a16="http://schemas.microsoft.com/office/drawing/2014/main" id="{9FD0F980-6924-4652-B272-A837D1CB72A7}"/>
                  </a:ext>
                </a:extLst>
              </p:cNvPr>
              <p:cNvSpPr/>
              <p:nvPr/>
            </p:nvSpPr>
            <p:spPr>
              <a:xfrm>
                <a:off x="8019487" y="3548291"/>
                <a:ext cx="318260" cy="318260"/>
              </a:xfrm>
              <a:custGeom>
                <a:avLst/>
                <a:gdLst>
                  <a:gd name="connsiteX0" fmla="*/ 266895 w 419725"/>
                  <a:gd name="connsiteY0" fmla="*/ 0 h 419725"/>
                  <a:gd name="connsiteX1" fmla="*/ 114065 w 419725"/>
                  <a:gd name="connsiteY1" fmla="*/ 152823 h 419725"/>
                  <a:gd name="connsiteX2" fmla="*/ 150487 w 419725"/>
                  <a:gd name="connsiteY2" fmla="*/ 251851 h 419725"/>
                  <a:gd name="connsiteX3" fmla="*/ 126369 w 419725"/>
                  <a:gd name="connsiteY3" fmla="*/ 275977 h 419725"/>
                  <a:gd name="connsiteX4" fmla="*/ 117672 w 419725"/>
                  <a:gd name="connsiteY4" fmla="*/ 267271 h 419725"/>
                  <a:gd name="connsiteX5" fmla="*/ 100284 w 419725"/>
                  <a:gd name="connsiteY5" fmla="*/ 267271 h 419725"/>
                  <a:gd name="connsiteX6" fmla="*/ 3600 w 419725"/>
                  <a:gd name="connsiteY6" fmla="*/ 363956 h 419725"/>
                  <a:gd name="connsiteX7" fmla="*/ 3600 w 419725"/>
                  <a:gd name="connsiteY7" fmla="*/ 381343 h 419725"/>
                  <a:gd name="connsiteX8" fmla="*/ 38383 w 419725"/>
                  <a:gd name="connsiteY8" fmla="*/ 416126 h 419725"/>
                  <a:gd name="connsiteX9" fmla="*/ 55770 w 419725"/>
                  <a:gd name="connsiteY9" fmla="*/ 416126 h 419725"/>
                  <a:gd name="connsiteX10" fmla="*/ 152446 w 419725"/>
                  <a:gd name="connsiteY10" fmla="*/ 319442 h 419725"/>
                  <a:gd name="connsiteX11" fmla="*/ 152446 w 419725"/>
                  <a:gd name="connsiteY11" fmla="*/ 302054 h 419725"/>
                  <a:gd name="connsiteX12" fmla="*/ 143757 w 419725"/>
                  <a:gd name="connsiteY12" fmla="*/ 293365 h 419725"/>
                  <a:gd name="connsiteX13" fmla="*/ 167875 w 419725"/>
                  <a:gd name="connsiteY13" fmla="*/ 269239 h 419725"/>
                  <a:gd name="connsiteX14" fmla="*/ 266895 w 419725"/>
                  <a:gd name="connsiteY14" fmla="*/ 305661 h 419725"/>
                  <a:gd name="connsiteX15" fmla="*/ 419726 w 419725"/>
                  <a:gd name="connsiteY15" fmla="*/ 152823 h 419725"/>
                  <a:gd name="connsiteX16" fmla="*/ 266895 w 419725"/>
                  <a:gd name="connsiteY16" fmla="*/ 0 h 419725"/>
                  <a:gd name="connsiteX17" fmla="*/ 266895 w 419725"/>
                  <a:gd name="connsiteY17" fmla="*/ 73780 h 419725"/>
                  <a:gd name="connsiteX18" fmla="*/ 187844 w 419725"/>
                  <a:gd name="connsiteY18" fmla="*/ 152831 h 419725"/>
                  <a:gd name="connsiteX19" fmla="*/ 175548 w 419725"/>
                  <a:gd name="connsiteY19" fmla="*/ 165127 h 419725"/>
                  <a:gd name="connsiteX20" fmla="*/ 163251 w 419725"/>
                  <a:gd name="connsiteY20" fmla="*/ 152831 h 419725"/>
                  <a:gd name="connsiteX21" fmla="*/ 266895 w 419725"/>
                  <a:gd name="connsiteY21" fmla="*/ 49187 h 419725"/>
                  <a:gd name="connsiteX22" fmla="*/ 279192 w 419725"/>
                  <a:gd name="connsiteY22" fmla="*/ 61483 h 419725"/>
                  <a:gd name="connsiteX23" fmla="*/ 266895 w 419725"/>
                  <a:gd name="connsiteY23" fmla="*/ 73780 h 419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19725" h="419725">
                    <a:moveTo>
                      <a:pt x="266895" y="0"/>
                    </a:moveTo>
                    <a:cubicBezTo>
                      <a:pt x="182622" y="0"/>
                      <a:pt x="114065" y="68558"/>
                      <a:pt x="114065" y="152823"/>
                    </a:cubicBezTo>
                    <a:cubicBezTo>
                      <a:pt x="114065" y="189614"/>
                      <a:pt x="127066" y="224299"/>
                      <a:pt x="150487" y="251851"/>
                    </a:cubicBezTo>
                    <a:lnTo>
                      <a:pt x="126369" y="275977"/>
                    </a:lnTo>
                    <a:lnTo>
                      <a:pt x="117672" y="267271"/>
                    </a:lnTo>
                    <a:cubicBezTo>
                      <a:pt x="112868" y="262476"/>
                      <a:pt x="105080" y="262476"/>
                      <a:pt x="100284" y="267271"/>
                    </a:cubicBezTo>
                    <a:lnTo>
                      <a:pt x="3600" y="363956"/>
                    </a:lnTo>
                    <a:cubicBezTo>
                      <a:pt x="-1196" y="368751"/>
                      <a:pt x="-1204" y="376539"/>
                      <a:pt x="3600" y="381343"/>
                    </a:cubicBezTo>
                    <a:lnTo>
                      <a:pt x="38383" y="416126"/>
                    </a:lnTo>
                    <a:cubicBezTo>
                      <a:pt x="43187" y="420922"/>
                      <a:pt x="50966" y="420930"/>
                      <a:pt x="55770" y="416126"/>
                    </a:cubicBezTo>
                    <a:lnTo>
                      <a:pt x="152446" y="319442"/>
                    </a:lnTo>
                    <a:cubicBezTo>
                      <a:pt x="157250" y="314646"/>
                      <a:pt x="157250" y="306858"/>
                      <a:pt x="152446" y="302054"/>
                    </a:cubicBezTo>
                    <a:lnTo>
                      <a:pt x="143757" y="293365"/>
                    </a:lnTo>
                    <a:lnTo>
                      <a:pt x="167875" y="269239"/>
                    </a:lnTo>
                    <a:cubicBezTo>
                      <a:pt x="195493" y="292717"/>
                      <a:pt x="230202" y="305661"/>
                      <a:pt x="266895" y="305661"/>
                    </a:cubicBezTo>
                    <a:cubicBezTo>
                      <a:pt x="351168" y="305661"/>
                      <a:pt x="419726" y="237104"/>
                      <a:pt x="419726" y="152823"/>
                    </a:cubicBezTo>
                    <a:cubicBezTo>
                      <a:pt x="419726" y="68558"/>
                      <a:pt x="351168" y="0"/>
                      <a:pt x="266895" y="0"/>
                    </a:cubicBezTo>
                    <a:close/>
                    <a:moveTo>
                      <a:pt x="266895" y="73780"/>
                    </a:moveTo>
                    <a:cubicBezTo>
                      <a:pt x="223308" y="73780"/>
                      <a:pt x="187844" y="109243"/>
                      <a:pt x="187844" y="152831"/>
                    </a:cubicBezTo>
                    <a:cubicBezTo>
                      <a:pt x="187844" y="159618"/>
                      <a:pt x="182335" y="165127"/>
                      <a:pt x="175548" y="165127"/>
                    </a:cubicBezTo>
                    <a:cubicBezTo>
                      <a:pt x="168752" y="165127"/>
                      <a:pt x="163251" y="159618"/>
                      <a:pt x="163251" y="152831"/>
                    </a:cubicBezTo>
                    <a:cubicBezTo>
                      <a:pt x="163251" y="95684"/>
                      <a:pt x="209749" y="49187"/>
                      <a:pt x="266895" y="49187"/>
                    </a:cubicBezTo>
                    <a:cubicBezTo>
                      <a:pt x="273683" y="49187"/>
                      <a:pt x="279192" y="54695"/>
                      <a:pt x="279192" y="61483"/>
                    </a:cubicBezTo>
                    <a:cubicBezTo>
                      <a:pt x="279192" y="68271"/>
                      <a:pt x="273683" y="73780"/>
                      <a:pt x="266895" y="73780"/>
                    </a:cubicBezTo>
                    <a:close/>
                  </a:path>
                </a:pathLst>
              </a:custGeom>
              <a:solidFill>
                <a:schemeClr val="bg1"/>
              </a:solidFill>
              <a:ln w="81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等线" panose="020F0502020204030204"/>
                  <a:ea typeface="+mn-ea"/>
                  <a:cs typeface="+mn-cs"/>
                </a:endParaRPr>
              </a:p>
            </p:txBody>
          </p:sp>
        </p:grpSp>
      </p:grpSp>
    </p:spTree>
    <p:extLst>
      <p:ext uri="{BB962C8B-B14F-4D97-AF65-F5344CB8AC3E}">
        <p14:creationId xmlns:p14="http://schemas.microsoft.com/office/powerpoint/2010/main" val="1280697105"/>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5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5">
            <a:extLst>
              <a:ext uri="{FF2B5EF4-FFF2-40B4-BE49-F238E27FC236}">
                <a16:creationId xmlns:a16="http://schemas.microsoft.com/office/drawing/2014/main" id="{34C16701-270D-4755-A2D3-C0107DD9F865}"/>
              </a:ext>
            </a:extLst>
          </p:cNvPr>
          <p:cNvSpPr>
            <a:spLocks noChangeArrowheads="1"/>
          </p:cNvSpPr>
          <p:nvPr/>
        </p:nvSpPr>
        <p:spPr bwMode="auto">
          <a:xfrm>
            <a:off x="4150202" y="894687"/>
            <a:ext cx="4037649" cy="5592837"/>
          </a:xfrm>
          <a:prstGeom prst="rect">
            <a:avLst/>
          </a:prstGeom>
          <a:gradFill>
            <a:gsLst>
              <a:gs pos="0">
                <a:schemeClr val="accent1"/>
              </a:gs>
              <a:gs pos="74000">
                <a:schemeClr val="accent2"/>
              </a:gs>
              <a:gs pos="100000">
                <a:schemeClr val="accent3"/>
              </a:gs>
            </a:gsLst>
            <a:lin ang="3600000" scaled="0"/>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 name="Rectangle 6">
            <a:extLst>
              <a:ext uri="{FF2B5EF4-FFF2-40B4-BE49-F238E27FC236}">
                <a16:creationId xmlns:a16="http://schemas.microsoft.com/office/drawing/2014/main" id="{3BB50851-63AE-4DE4-BF9F-A70AEC42F9FF}"/>
              </a:ext>
            </a:extLst>
          </p:cNvPr>
          <p:cNvSpPr>
            <a:spLocks noChangeArrowheads="1"/>
          </p:cNvSpPr>
          <p:nvPr/>
        </p:nvSpPr>
        <p:spPr bwMode="auto">
          <a:xfrm>
            <a:off x="4451353" y="2528034"/>
            <a:ext cx="3435348" cy="3675428"/>
          </a:xfrm>
          <a:prstGeom prst="rect">
            <a:avLst/>
          </a:prstGeom>
          <a:solidFill>
            <a:schemeClr val="accent2"/>
          </a:solidFill>
          <a:ln>
            <a:noFill/>
          </a:ln>
          <a:effectLst>
            <a:outerShdw blurRad="393700" dist="50800" dir="5400000" algn="ctr" rotWithShape="0">
              <a:srgbClr val="000000">
                <a:alpha val="25000"/>
              </a:srgbClr>
            </a:outerShdw>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4" name="Rectangle 7">
            <a:extLst>
              <a:ext uri="{FF2B5EF4-FFF2-40B4-BE49-F238E27FC236}">
                <a16:creationId xmlns:a16="http://schemas.microsoft.com/office/drawing/2014/main" id="{E7D546A6-983A-4A45-A070-5BD00A8B17AD}"/>
              </a:ext>
            </a:extLst>
          </p:cNvPr>
          <p:cNvSpPr>
            <a:spLocks noChangeArrowheads="1"/>
          </p:cNvSpPr>
          <p:nvPr/>
        </p:nvSpPr>
        <p:spPr bwMode="auto">
          <a:xfrm>
            <a:off x="4451353" y="3526824"/>
            <a:ext cx="3435348" cy="2712051"/>
          </a:xfrm>
          <a:prstGeom prst="rect">
            <a:avLst/>
          </a:prstGeom>
          <a:solidFill>
            <a:schemeClr val="accent3"/>
          </a:solidFill>
          <a:ln>
            <a:noFill/>
          </a:ln>
          <a:effectLst>
            <a:outerShdw blurRad="393700" dist="50800" dir="5400000" algn="ctr" rotWithShape="0">
              <a:srgbClr val="000000">
                <a:alpha val="25000"/>
              </a:srgbClr>
            </a:outerShdw>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5" name="Rectangle 7">
            <a:extLst>
              <a:ext uri="{FF2B5EF4-FFF2-40B4-BE49-F238E27FC236}">
                <a16:creationId xmlns:a16="http://schemas.microsoft.com/office/drawing/2014/main" id="{A3101900-36F9-4237-9D85-E055B3140305}"/>
              </a:ext>
            </a:extLst>
          </p:cNvPr>
          <p:cNvSpPr>
            <a:spLocks noChangeArrowheads="1"/>
          </p:cNvSpPr>
          <p:nvPr/>
        </p:nvSpPr>
        <p:spPr bwMode="auto">
          <a:xfrm>
            <a:off x="4451353" y="4743450"/>
            <a:ext cx="3435348" cy="1490553"/>
          </a:xfrm>
          <a:prstGeom prst="rect">
            <a:avLst/>
          </a:prstGeom>
          <a:solidFill>
            <a:schemeClr val="accent4"/>
          </a:solidFill>
          <a:ln>
            <a:noFill/>
          </a:ln>
          <a:effectLst>
            <a:outerShdw blurRad="393700" dist="50800" dir="5400000" algn="ctr" rotWithShape="0">
              <a:srgbClr val="000000">
                <a:alpha val="25000"/>
              </a:srgbClr>
            </a:outerShdw>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useBgFill="1">
        <p:nvSpPr>
          <p:cNvPr id="6" name="Freeform 8">
            <a:extLst>
              <a:ext uri="{FF2B5EF4-FFF2-40B4-BE49-F238E27FC236}">
                <a16:creationId xmlns:a16="http://schemas.microsoft.com/office/drawing/2014/main" id="{4BA1C500-7DBB-4575-A2DE-D7A7586DD972}"/>
              </a:ext>
            </a:extLst>
          </p:cNvPr>
          <p:cNvSpPr>
            <a:spLocks noEditPoints="1"/>
          </p:cNvSpPr>
          <p:nvPr/>
        </p:nvSpPr>
        <p:spPr bwMode="auto">
          <a:xfrm>
            <a:off x="4146550" y="891035"/>
            <a:ext cx="4044950" cy="5596489"/>
          </a:xfrm>
          <a:custGeom>
            <a:avLst/>
            <a:gdLst>
              <a:gd name="T0" fmla="*/ 0 w 908"/>
              <a:gd name="T1" fmla="*/ 1264 h 1264"/>
              <a:gd name="T2" fmla="*/ 908 w 908"/>
              <a:gd name="T3" fmla="*/ 0 h 1264"/>
              <a:gd name="T4" fmla="*/ 687 w 908"/>
              <a:gd name="T5" fmla="*/ 658 h 1264"/>
              <a:gd name="T6" fmla="*/ 553 w 908"/>
              <a:gd name="T7" fmla="*/ 694 h 1264"/>
              <a:gd name="T8" fmla="*/ 561 w 908"/>
              <a:gd name="T9" fmla="*/ 814 h 1264"/>
              <a:gd name="T10" fmla="*/ 547 w 908"/>
              <a:gd name="T11" fmla="*/ 808 h 1264"/>
              <a:gd name="T12" fmla="*/ 544 w 908"/>
              <a:gd name="T13" fmla="*/ 757 h 1264"/>
              <a:gd name="T14" fmla="*/ 566 w 908"/>
              <a:gd name="T15" fmla="*/ 743 h 1264"/>
              <a:gd name="T16" fmla="*/ 569 w 908"/>
              <a:gd name="T17" fmla="*/ 743 h 1264"/>
              <a:gd name="T18" fmla="*/ 583 w 908"/>
              <a:gd name="T19" fmla="*/ 731 h 1264"/>
              <a:gd name="T20" fmla="*/ 632 w 908"/>
              <a:gd name="T21" fmla="*/ 722 h 1264"/>
              <a:gd name="T22" fmla="*/ 649 w 908"/>
              <a:gd name="T23" fmla="*/ 738 h 1264"/>
              <a:gd name="T24" fmla="*/ 663 w 908"/>
              <a:gd name="T25" fmla="*/ 753 h 1264"/>
              <a:gd name="T26" fmla="*/ 668 w 908"/>
              <a:gd name="T27" fmla="*/ 754 h 1264"/>
              <a:gd name="T28" fmla="*/ 681 w 908"/>
              <a:gd name="T29" fmla="*/ 771 h 1264"/>
              <a:gd name="T30" fmla="*/ 659 w 908"/>
              <a:gd name="T31" fmla="*/ 811 h 1264"/>
              <a:gd name="T32" fmla="*/ 610 w 908"/>
              <a:gd name="T33" fmla="*/ 823 h 1264"/>
              <a:gd name="T34" fmla="*/ 577 w 908"/>
              <a:gd name="T35" fmla="*/ 821 h 1264"/>
              <a:gd name="T36" fmla="*/ 482 w 908"/>
              <a:gd name="T37" fmla="*/ 855 h 1264"/>
              <a:gd name="T38" fmla="*/ 452 w 908"/>
              <a:gd name="T39" fmla="*/ 949 h 1264"/>
              <a:gd name="T40" fmla="*/ 555 w 908"/>
              <a:gd name="T41" fmla="*/ 1165 h 1264"/>
              <a:gd name="T42" fmla="*/ 511 w 908"/>
              <a:gd name="T43" fmla="*/ 1177 h 1264"/>
              <a:gd name="T44" fmla="*/ 408 w 908"/>
              <a:gd name="T45" fmla="*/ 1164 h 1264"/>
              <a:gd name="T46" fmla="*/ 288 w 908"/>
              <a:gd name="T47" fmla="*/ 1176 h 1264"/>
              <a:gd name="T48" fmla="*/ 381 w 908"/>
              <a:gd name="T49" fmla="*/ 1131 h 1264"/>
              <a:gd name="T50" fmla="*/ 388 w 908"/>
              <a:gd name="T51" fmla="*/ 986 h 1264"/>
              <a:gd name="T52" fmla="*/ 329 w 908"/>
              <a:gd name="T53" fmla="*/ 943 h 1264"/>
              <a:gd name="T54" fmla="*/ 254 w 908"/>
              <a:gd name="T55" fmla="*/ 875 h 1264"/>
              <a:gd name="T56" fmla="*/ 204 w 908"/>
              <a:gd name="T57" fmla="*/ 871 h 1264"/>
              <a:gd name="T58" fmla="*/ 154 w 908"/>
              <a:gd name="T59" fmla="*/ 851 h 1264"/>
              <a:gd name="T60" fmla="*/ 150 w 908"/>
              <a:gd name="T61" fmla="*/ 767 h 1264"/>
              <a:gd name="T62" fmla="*/ 185 w 908"/>
              <a:gd name="T63" fmla="*/ 743 h 1264"/>
              <a:gd name="T64" fmla="*/ 191 w 908"/>
              <a:gd name="T65" fmla="*/ 743 h 1264"/>
              <a:gd name="T66" fmla="*/ 214 w 908"/>
              <a:gd name="T67" fmla="*/ 724 h 1264"/>
              <a:gd name="T68" fmla="*/ 294 w 908"/>
              <a:gd name="T69" fmla="*/ 709 h 1264"/>
              <a:gd name="T70" fmla="*/ 322 w 908"/>
              <a:gd name="T71" fmla="*/ 735 h 1264"/>
              <a:gd name="T72" fmla="*/ 346 w 908"/>
              <a:gd name="T73" fmla="*/ 759 h 1264"/>
              <a:gd name="T74" fmla="*/ 354 w 908"/>
              <a:gd name="T75" fmla="*/ 761 h 1264"/>
              <a:gd name="T76" fmla="*/ 374 w 908"/>
              <a:gd name="T77" fmla="*/ 790 h 1264"/>
              <a:gd name="T78" fmla="*/ 339 w 908"/>
              <a:gd name="T79" fmla="*/ 855 h 1264"/>
              <a:gd name="T80" fmla="*/ 298 w 908"/>
              <a:gd name="T81" fmla="*/ 864 h 1264"/>
              <a:gd name="T82" fmla="*/ 392 w 908"/>
              <a:gd name="T83" fmla="*/ 956 h 1264"/>
              <a:gd name="T84" fmla="*/ 431 w 908"/>
              <a:gd name="T85" fmla="*/ 701 h 1264"/>
              <a:gd name="T86" fmla="*/ 347 w 908"/>
              <a:gd name="T87" fmla="*/ 698 h 1264"/>
              <a:gd name="T88" fmla="*/ 222 w 908"/>
              <a:gd name="T89" fmla="*/ 646 h 1264"/>
              <a:gd name="T90" fmla="*/ 212 w 908"/>
              <a:gd name="T91" fmla="*/ 436 h 1264"/>
              <a:gd name="T92" fmla="*/ 315 w 908"/>
              <a:gd name="T93" fmla="*/ 381 h 1264"/>
              <a:gd name="T94" fmla="*/ 372 w 908"/>
              <a:gd name="T95" fmla="*/ 330 h 1264"/>
              <a:gd name="T96" fmla="*/ 573 w 908"/>
              <a:gd name="T97" fmla="*/ 292 h 1264"/>
              <a:gd name="T98" fmla="*/ 644 w 908"/>
              <a:gd name="T99" fmla="*/ 357 h 1264"/>
              <a:gd name="T100" fmla="*/ 708 w 908"/>
              <a:gd name="T101" fmla="*/ 424 h 1264"/>
              <a:gd name="T102" fmla="*/ 777 w 908"/>
              <a:gd name="T103" fmla="*/ 476 h 1264"/>
              <a:gd name="T104" fmla="*/ 792 w 908"/>
              <a:gd name="T105" fmla="*/ 552 h 1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08" h="1264">
                <a:moveTo>
                  <a:pt x="0" y="0"/>
                </a:moveTo>
                <a:cubicBezTo>
                  <a:pt x="0" y="1264"/>
                  <a:pt x="0" y="1264"/>
                  <a:pt x="0" y="1264"/>
                </a:cubicBezTo>
                <a:cubicBezTo>
                  <a:pt x="908" y="1264"/>
                  <a:pt x="908" y="1264"/>
                  <a:pt x="908" y="1264"/>
                </a:cubicBezTo>
                <a:cubicBezTo>
                  <a:pt x="908" y="0"/>
                  <a:pt x="908" y="0"/>
                  <a:pt x="908" y="0"/>
                </a:cubicBezTo>
                <a:lnTo>
                  <a:pt x="0" y="0"/>
                </a:lnTo>
                <a:close/>
                <a:moveTo>
                  <a:pt x="687" y="658"/>
                </a:moveTo>
                <a:cubicBezTo>
                  <a:pt x="666" y="658"/>
                  <a:pt x="647" y="652"/>
                  <a:pt x="631" y="641"/>
                </a:cubicBezTo>
                <a:cubicBezTo>
                  <a:pt x="610" y="665"/>
                  <a:pt x="583" y="683"/>
                  <a:pt x="553" y="694"/>
                </a:cubicBezTo>
                <a:cubicBezTo>
                  <a:pt x="535" y="738"/>
                  <a:pt x="504" y="788"/>
                  <a:pt x="480" y="842"/>
                </a:cubicBezTo>
                <a:cubicBezTo>
                  <a:pt x="517" y="836"/>
                  <a:pt x="543" y="824"/>
                  <a:pt x="561" y="814"/>
                </a:cubicBezTo>
                <a:cubicBezTo>
                  <a:pt x="559" y="811"/>
                  <a:pt x="558" y="809"/>
                  <a:pt x="557" y="806"/>
                </a:cubicBezTo>
                <a:cubicBezTo>
                  <a:pt x="554" y="807"/>
                  <a:pt x="550" y="808"/>
                  <a:pt x="547" y="808"/>
                </a:cubicBezTo>
                <a:cubicBezTo>
                  <a:pt x="533" y="808"/>
                  <a:pt x="521" y="797"/>
                  <a:pt x="521" y="783"/>
                </a:cubicBezTo>
                <a:cubicBezTo>
                  <a:pt x="521" y="769"/>
                  <a:pt x="531" y="758"/>
                  <a:pt x="544" y="757"/>
                </a:cubicBezTo>
                <a:cubicBezTo>
                  <a:pt x="546" y="749"/>
                  <a:pt x="554" y="743"/>
                  <a:pt x="563" y="743"/>
                </a:cubicBezTo>
                <a:cubicBezTo>
                  <a:pt x="564" y="743"/>
                  <a:pt x="565" y="743"/>
                  <a:pt x="566" y="743"/>
                </a:cubicBezTo>
                <a:cubicBezTo>
                  <a:pt x="567" y="743"/>
                  <a:pt x="568" y="743"/>
                  <a:pt x="569" y="743"/>
                </a:cubicBezTo>
                <a:cubicBezTo>
                  <a:pt x="569" y="743"/>
                  <a:pt x="569" y="743"/>
                  <a:pt x="569" y="743"/>
                </a:cubicBezTo>
                <a:cubicBezTo>
                  <a:pt x="570" y="736"/>
                  <a:pt x="576" y="731"/>
                  <a:pt x="583" y="731"/>
                </a:cubicBezTo>
                <a:cubicBezTo>
                  <a:pt x="583" y="731"/>
                  <a:pt x="583" y="731"/>
                  <a:pt x="583" y="731"/>
                </a:cubicBezTo>
                <a:cubicBezTo>
                  <a:pt x="584" y="718"/>
                  <a:pt x="595" y="707"/>
                  <a:pt x="608" y="707"/>
                </a:cubicBezTo>
                <a:cubicBezTo>
                  <a:pt x="619" y="707"/>
                  <a:pt x="628" y="713"/>
                  <a:pt x="632" y="722"/>
                </a:cubicBezTo>
                <a:cubicBezTo>
                  <a:pt x="632" y="722"/>
                  <a:pt x="633" y="722"/>
                  <a:pt x="633" y="722"/>
                </a:cubicBezTo>
                <a:cubicBezTo>
                  <a:pt x="642" y="722"/>
                  <a:pt x="649" y="729"/>
                  <a:pt x="649" y="738"/>
                </a:cubicBezTo>
                <a:cubicBezTo>
                  <a:pt x="649" y="739"/>
                  <a:pt x="649" y="741"/>
                  <a:pt x="649" y="742"/>
                </a:cubicBezTo>
                <a:cubicBezTo>
                  <a:pt x="655" y="744"/>
                  <a:pt x="660" y="747"/>
                  <a:pt x="663" y="753"/>
                </a:cubicBezTo>
                <a:cubicBezTo>
                  <a:pt x="665" y="753"/>
                  <a:pt x="666" y="753"/>
                  <a:pt x="667" y="754"/>
                </a:cubicBezTo>
                <a:cubicBezTo>
                  <a:pt x="667" y="754"/>
                  <a:pt x="668" y="754"/>
                  <a:pt x="668" y="754"/>
                </a:cubicBezTo>
                <a:cubicBezTo>
                  <a:pt x="675" y="754"/>
                  <a:pt x="681" y="760"/>
                  <a:pt x="681" y="767"/>
                </a:cubicBezTo>
                <a:cubicBezTo>
                  <a:pt x="681" y="768"/>
                  <a:pt x="681" y="770"/>
                  <a:pt x="681" y="771"/>
                </a:cubicBezTo>
                <a:cubicBezTo>
                  <a:pt x="683" y="775"/>
                  <a:pt x="685" y="780"/>
                  <a:pt x="685" y="785"/>
                </a:cubicBezTo>
                <a:cubicBezTo>
                  <a:pt x="685" y="799"/>
                  <a:pt x="673" y="811"/>
                  <a:pt x="659" y="811"/>
                </a:cubicBezTo>
                <a:cubicBezTo>
                  <a:pt x="654" y="811"/>
                  <a:pt x="650" y="809"/>
                  <a:pt x="646" y="807"/>
                </a:cubicBezTo>
                <a:cubicBezTo>
                  <a:pt x="637" y="817"/>
                  <a:pt x="624" y="823"/>
                  <a:pt x="610" y="823"/>
                </a:cubicBezTo>
                <a:cubicBezTo>
                  <a:pt x="602" y="823"/>
                  <a:pt x="594" y="821"/>
                  <a:pt x="588" y="818"/>
                </a:cubicBezTo>
                <a:cubicBezTo>
                  <a:pt x="585" y="820"/>
                  <a:pt x="581" y="821"/>
                  <a:pt x="577" y="821"/>
                </a:cubicBezTo>
                <a:cubicBezTo>
                  <a:pt x="574" y="821"/>
                  <a:pt x="570" y="820"/>
                  <a:pt x="567" y="818"/>
                </a:cubicBezTo>
                <a:cubicBezTo>
                  <a:pt x="538" y="837"/>
                  <a:pt x="499" y="852"/>
                  <a:pt x="482" y="855"/>
                </a:cubicBezTo>
                <a:cubicBezTo>
                  <a:pt x="479" y="855"/>
                  <a:pt x="477" y="856"/>
                  <a:pt x="474" y="856"/>
                </a:cubicBezTo>
                <a:cubicBezTo>
                  <a:pt x="463" y="887"/>
                  <a:pt x="454" y="918"/>
                  <a:pt x="452" y="949"/>
                </a:cubicBezTo>
                <a:cubicBezTo>
                  <a:pt x="446" y="1036"/>
                  <a:pt x="481" y="1123"/>
                  <a:pt x="494" y="1154"/>
                </a:cubicBezTo>
                <a:cubicBezTo>
                  <a:pt x="508" y="1166"/>
                  <a:pt x="531" y="1165"/>
                  <a:pt x="555" y="1165"/>
                </a:cubicBezTo>
                <a:cubicBezTo>
                  <a:pt x="583" y="1164"/>
                  <a:pt x="599" y="1175"/>
                  <a:pt x="580" y="1171"/>
                </a:cubicBezTo>
                <a:cubicBezTo>
                  <a:pt x="560" y="1167"/>
                  <a:pt x="541" y="1175"/>
                  <a:pt x="511" y="1177"/>
                </a:cubicBezTo>
                <a:cubicBezTo>
                  <a:pt x="482" y="1179"/>
                  <a:pt x="449" y="1168"/>
                  <a:pt x="426" y="1164"/>
                </a:cubicBezTo>
                <a:cubicBezTo>
                  <a:pt x="408" y="1164"/>
                  <a:pt x="408" y="1164"/>
                  <a:pt x="408" y="1164"/>
                </a:cubicBezTo>
                <a:cubicBezTo>
                  <a:pt x="395" y="1168"/>
                  <a:pt x="385" y="1172"/>
                  <a:pt x="365" y="1171"/>
                </a:cubicBezTo>
                <a:cubicBezTo>
                  <a:pt x="339" y="1170"/>
                  <a:pt x="288" y="1176"/>
                  <a:pt x="288" y="1176"/>
                </a:cubicBezTo>
                <a:cubicBezTo>
                  <a:pt x="288" y="1176"/>
                  <a:pt x="293" y="1168"/>
                  <a:pt x="339" y="1164"/>
                </a:cubicBezTo>
                <a:cubicBezTo>
                  <a:pt x="386" y="1161"/>
                  <a:pt x="381" y="1131"/>
                  <a:pt x="381" y="1131"/>
                </a:cubicBezTo>
                <a:cubicBezTo>
                  <a:pt x="381" y="1131"/>
                  <a:pt x="381" y="1131"/>
                  <a:pt x="381" y="1131"/>
                </a:cubicBezTo>
                <a:cubicBezTo>
                  <a:pt x="380" y="1100"/>
                  <a:pt x="381" y="1050"/>
                  <a:pt x="388" y="986"/>
                </a:cubicBezTo>
                <a:cubicBezTo>
                  <a:pt x="379" y="977"/>
                  <a:pt x="365" y="964"/>
                  <a:pt x="349" y="956"/>
                </a:cubicBezTo>
                <a:cubicBezTo>
                  <a:pt x="344" y="953"/>
                  <a:pt x="337" y="949"/>
                  <a:pt x="329" y="943"/>
                </a:cubicBezTo>
                <a:cubicBezTo>
                  <a:pt x="331" y="949"/>
                  <a:pt x="332" y="951"/>
                  <a:pt x="328" y="943"/>
                </a:cubicBezTo>
                <a:cubicBezTo>
                  <a:pt x="305" y="926"/>
                  <a:pt x="275" y="900"/>
                  <a:pt x="254" y="875"/>
                </a:cubicBezTo>
                <a:cubicBezTo>
                  <a:pt x="242" y="874"/>
                  <a:pt x="232" y="871"/>
                  <a:pt x="222" y="866"/>
                </a:cubicBezTo>
                <a:cubicBezTo>
                  <a:pt x="217" y="869"/>
                  <a:pt x="211" y="871"/>
                  <a:pt x="204" y="871"/>
                </a:cubicBezTo>
                <a:cubicBezTo>
                  <a:pt x="189" y="871"/>
                  <a:pt x="176" y="861"/>
                  <a:pt x="171" y="847"/>
                </a:cubicBezTo>
                <a:cubicBezTo>
                  <a:pt x="166" y="849"/>
                  <a:pt x="160" y="851"/>
                  <a:pt x="154" y="851"/>
                </a:cubicBezTo>
                <a:cubicBezTo>
                  <a:pt x="131" y="851"/>
                  <a:pt x="112" y="832"/>
                  <a:pt x="112" y="809"/>
                </a:cubicBezTo>
                <a:cubicBezTo>
                  <a:pt x="112" y="787"/>
                  <a:pt x="129" y="769"/>
                  <a:pt x="150" y="767"/>
                </a:cubicBezTo>
                <a:cubicBezTo>
                  <a:pt x="154" y="753"/>
                  <a:pt x="166" y="743"/>
                  <a:pt x="180" y="743"/>
                </a:cubicBezTo>
                <a:cubicBezTo>
                  <a:pt x="182" y="743"/>
                  <a:pt x="184" y="743"/>
                  <a:pt x="185" y="743"/>
                </a:cubicBezTo>
                <a:cubicBezTo>
                  <a:pt x="187" y="743"/>
                  <a:pt x="189" y="743"/>
                  <a:pt x="190" y="743"/>
                </a:cubicBezTo>
                <a:cubicBezTo>
                  <a:pt x="191" y="743"/>
                  <a:pt x="191" y="743"/>
                  <a:pt x="191" y="743"/>
                </a:cubicBezTo>
                <a:cubicBezTo>
                  <a:pt x="193" y="733"/>
                  <a:pt x="202" y="724"/>
                  <a:pt x="213" y="724"/>
                </a:cubicBezTo>
                <a:cubicBezTo>
                  <a:pt x="213" y="724"/>
                  <a:pt x="213" y="724"/>
                  <a:pt x="214" y="724"/>
                </a:cubicBezTo>
                <a:cubicBezTo>
                  <a:pt x="215" y="702"/>
                  <a:pt x="233" y="685"/>
                  <a:pt x="256" y="685"/>
                </a:cubicBezTo>
                <a:cubicBezTo>
                  <a:pt x="273" y="685"/>
                  <a:pt x="287" y="695"/>
                  <a:pt x="294" y="709"/>
                </a:cubicBezTo>
                <a:cubicBezTo>
                  <a:pt x="295" y="709"/>
                  <a:pt x="295" y="709"/>
                  <a:pt x="296" y="709"/>
                </a:cubicBezTo>
                <a:cubicBezTo>
                  <a:pt x="310" y="709"/>
                  <a:pt x="322" y="721"/>
                  <a:pt x="322" y="735"/>
                </a:cubicBezTo>
                <a:cubicBezTo>
                  <a:pt x="322" y="738"/>
                  <a:pt x="322" y="740"/>
                  <a:pt x="321" y="742"/>
                </a:cubicBezTo>
                <a:cubicBezTo>
                  <a:pt x="332" y="745"/>
                  <a:pt x="340" y="751"/>
                  <a:pt x="346" y="759"/>
                </a:cubicBezTo>
                <a:cubicBezTo>
                  <a:pt x="348" y="760"/>
                  <a:pt x="350" y="760"/>
                  <a:pt x="352" y="761"/>
                </a:cubicBezTo>
                <a:cubicBezTo>
                  <a:pt x="352" y="761"/>
                  <a:pt x="353" y="761"/>
                  <a:pt x="354" y="761"/>
                </a:cubicBezTo>
                <a:cubicBezTo>
                  <a:pt x="365" y="761"/>
                  <a:pt x="375" y="771"/>
                  <a:pt x="375" y="783"/>
                </a:cubicBezTo>
                <a:cubicBezTo>
                  <a:pt x="375" y="785"/>
                  <a:pt x="375" y="788"/>
                  <a:pt x="374" y="790"/>
                </a:cubicBezTo>
                <a:cubicBezTo>
                  <a:pt x="379" y="796"/>
                  <a:pt x="381" y="805"/>
                  <a:pt x="381" y="813"/>
                </a:cubicBezTo>
                <a:cubicBezTo>
                  <a:pt x="381" y="836"/>
                  <a:pt x="363" y="855"/>
                  <a:pt x="339" y="855"/>
                </a:cubicBezTo>
                <a:cubicBezTo>
                  <a:pt x="331" y="855"/>
                  <a:pt x="324" y="853"/>
                  <a:pt x="317" y="849"/>
                </a:cubicBezTo>
                <a:cubicBezTo>
                  <a:pt x="312" y="855"/>
                  <a:pt x="305" y="860"/>
                  <a:pt x="298" y="864"/>
                </a:cubicBezTo>
                <a:cubicBezTo>
                  <a:pt x="300" y="881"/>
                  <a:pt x="304" y="899"/>
                  <a:pt x="313" y="916"/>
                </a:cubicBezTo>
                <a:cubicBezTo>
                  <a:pt x="334" y="930"/>
                  <a:pt x="360" y="944"/>
                  <a:pt x="392" y="956"/>
                </a:cubicBezTo>
                <a:cubicBezTo>
                  <a:pt x="396" y="928"/>
                  <a:pt x="402" y="898"/>
                  <a:pt x="409" y="866"/>
                </a:cubicBezTo>
                <a:cubicBezTo>
                  <a:pt x="432" y="764"/>
                  <a:pt x="434" y="720"/>
                  <a:pt x="431" y="701"/>
                </a:cubicBezTo>
                <a:cubicBezTo>
                  <a:pt x="418" y="697"/>
                  <a:pt x="404" y="692"/>
                  <a:pt x="392" y="686"/>
                </a:cubicBezTo>
                <a:cubicBezTo>
                  <a:pt x="379" y="694"/>
                  <a:pt x="364" y="698"/>
                  <a:pt x="347" y="698"/>
                </a:cubicBezTo>
                <a:cubicBezTo>
                  <a:pt x="308" y="698"/>
                  <a:pt x="275" y="673"/>
                  <a:pt x="264" y="637"/>
                </a:cubicBezTo>
                <a:cubicBezTo>
                  <a:pt x="251" y="643"/>
                  <a:pt x="237" y="646"/>
                  <a:pt x="222" y="646"/>
                </a:cubicBezTo>
                <a:cubicBezTo>
                  <a:pt x="164" y="646"/>
                  <a:pt x="117" y="599"/>
                  <a:pt x="117" y="541"/>
                </a:cubicBezTo>
                <a:cubicBezTo>
                  <a:pt x="117" y="486"/>
                  <a:pt x="159" y="441"/>
                  <a:pt x="212" y="436"/>
                </a:cubicBezTo>
                <a:cubicBezTo>
                  <a:pt x="220" y="402"/>
                  <a:pt x="251" y="376"/>
                  <a:pt x="288" y="376"/>
                </a:cubicBezTo>
                <a:cubicBezTo>
                  <a:pt x="297" y="376"/>
                  <a:pt x="306" y="378"/>
                  <a:pt x="315" y="381"/>
                </a:cubicBezTo>
                <a:cubicBezTo>
                  <a:pt x="316" y="352"/>
                  <a:pt x="340" y="329"/>
                  <a:pt x="369" y="329"/>
                </a:cubicBezTo>
                <a:cubicBezTo>
                  <a:pt x="370" y="329"/>
                  <a:pt x="371" y="330"/>
                  <a:pt x="372" y="330"/>
                </a:cubicBezTo>
                <a:cubicBezTo>
                  <a:pt x="374" y="274"/>
                  <a:pt x="420" y="229"/>
                  <a:pt x="477" y="229"/>
                </a:cubicBezTo>
                <a:cubicBezTo>
                  <a:pt x="519" y="229"/>
                  <a:pt x="556" y="255"/>
                  <a:pt x="573" y="292"/>
                </a:cubicBezTo>
                <a:cubicBezTo>
                  <a:pt x="574" y="292"/>
                  <a:pt x="576" y="291"/>
                  <a:pt x="578" y="291"/>
                </a:cubicBezTo>
                <a:cubicBezTo>
                  <a:pt x="614" y="291"/>
                  <a:pt x="644" y="321"/>
                  <a:pt x="644" y="357"/>
                </a:cubicBezTo>
                <a:cubicBezTo>
                  <a:pt x="644" y="363"/>
                  <a:pt x="643" y="368"/>
                  <a:pt x="642" y="373"/>
                </a:cubicBezTo>
                <a:cubicBezTo>
                  <a:pt x="670" y="381"/>
                  <a:pt x="694" y="399"/>
                  <a:pt x="708" y="424"/>
                </a:cubicBezTo>
                <a:cubicBezTo>
                  <a:pt x="713" y="423"/>
                  <a:pt x="717" y="422"/>
                  <a:pt x="723" y="422"/>
                </a:cubicBezTo>
                <a:cubicBezTo>
                  <a:pt x="753" y="422"/>
                  <a:pt x="777" y="446"/>
                  <a:pt x="777" y="476"/>
                </a:cubicBezTo>
                <a:cubicBezTo>
                  <a:pt x="777" y="482"/>
                  <a:pt x="776" y="488"/>
                  <a:pt x="774" y="494"/>
                </a:cubicBezTo>
                <a:cubicBezTo>
                  <a:pt x="786" y="510"/>
                  <a:pt x="792" y="531"/>
                  <a:pt x="792" y="552"/>
                </a:cubicBezTo>
                <a:cubicBezTo>
                  <a:pt x="792" y="611"/>
                  <a:pt x="745" y="658"/>
                  <a:pt x="687" y="658"/>
                </a:cubicBezTo>
                <a:close/>
              </a:path>
            </a:pathLst>
          </a:custGeom>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8" name="Oval 25">
            <a:extLst>
              <a:ext uri="{FF2B5EF4-FFF2-40B4-BE49-F238E27FC236}">
                <a16:creationId xmlns:a16="http://schemas.microsoft.com/office/drawing/2014/main" id="{5D2DD30A-4A31-497D-AE9A-CAEEE018753D}"/>
              </a:ext>
            </a:extLst>
          </p:cNvPr>
          <p:cNvSpPr/>
          <p:nvPr/>
        </p:nvSpPr>
        <p:spPr>
          <a:xfrm>
            <a:off x="7009789" y="2365004"/>
            <a:ext cx="319928" cy="319928"/>
          </a:xfrm>
          <a:prstGeom prst="ellipse">
            <a:avLst/>
          </a:prstGeom>
          <a:gradFill>
            <a:gsLst>
              <a:gs pos="100000">
                <a:schemeClr val="accent1"/>
              </a:gs>
              <a:gs pos="74000">
                <a:schemeClr val="accent2"/>
              </a:gs>
              <a:gs pos="0">
                <a:schemeClr val="accent3"/>
              </a:gs>
            </a:gsLst>
            <a:lin ang="3600000" scaled="0"/>
          </a:gradFill>
          <a:ln w="571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FFFFFF"/>
              </a:solidFill>
              <a:effectLst/>
              <a:uLnTx/>
              <a:uFillTx/>
              <a:latin typeface="等线" panose="020F0502020204030204"/>
              <a:ea typeface="+mn-ea"/>
              <a:cs typeface="+mn-cs"/>
            </a:endParaRPr>
          </a:p>
        </p:txBody>
      </p:sp>
      <p:sp>
        <p:nvSpPr>
          <p:cNvPr id="9" name="Oval 27">
            <a:extLst>
              <a:ext uri="{FF2B5EF4-FFF2-40B4-BE49-F238E27FC236}">
                <a16:creationId xmlns:a16="http://schemas.microsoft.com/office/drawing/2014/main" id="{19AE3016-5F7E-430A-A4EC-64480890EE1A}"/>
              </a:ext>
            </a:extLst>
          </p:cNvPr>
          <p:cNvSpPr/>
          <p:nvPr/>
        </p:nvSpPr>
        <p:spPr>
          <a:xfrm>
            <a:off x="5658097" y="1940408"/>
            <a:ext cx="319928" cy="319928"/>
          </a:xfrm>
          <a:prstGeom prst="ellipse">
            <a:avLst/>
          </a:prstGeom>
          <a:gradFill>
            <a:gsLst>
              <a:gs pos="100000">
                <a:schemeClr val="accent1"/>
              </a:gs>
              <a:gs pos="74000">
                <a:schemeClr val="accent2"/>
              </a:gs>
              <a:gs pos="0">
                <a:schemeClr val="accent3"/>
              </a:gs>
            </a:gsLst>
            <a:lin ang="3600000" scaled="0"/>
          </a:gradFill>
          <a:ln w="571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FFFFFF"/>
              </a:solidFill>
              <a:effectLst/>
              <a:uLnTx/>
              <a:uFillTx/>
              <a:latin typeface="等线" panose="020F0502020204030204"/>
              <a:ea typeface="+mn-ea"/>
              <a:cs typeface="+mn-cs"/>
            </a:endParaRPr>
          </a:p>
        </p:txBody>
      </p:sp>
      <p:sp>
        <p:nvSpPr>
          <p:cNvPr id="10" name="TextBox 29">
            <a:extLst>
              <a:ext uri="{FF2B5EF4-FFF2-40B4-BE49-F238E27FC236}">
                <a16:creationId xmlns:a16="http://schemas.microsoft.com/office/drawing/2014/main" id="{19A78A20-5031-41AD-A021-05E7C01AF01E}"/>
              </a:ext>
            </a:extLst>
          </p:cNvPr>
          <p:cNvSpPr txBox="1"/>
          <p:nvPr/>
        </p:nvSpPr>
        <p:spPr>
          <a:xfrm>
            <a:off x="930883" y="2180774"/>
            <a:ext cx="2718188" cy="893834"/>
          </a:xfrm>
          <a:prstGeom prst="rect">
            <a:avLst/>
          </a:prstGeom>
          <a:noFill/>
        </p:spPr>
        <p:txBody>
          <a:bodyPr wrap="square" rtlCol="0">
            <a:spAutoFit/>
          </a:bodyPr>
          <a:lstStyle/>
          <a:p>
            <a:pPr marL="0" marR="0" lvl="0" indent="0" algn="r" defTabSz="914400" rtl="0" eaLnBrk="1" fontAlgn="auto" latinLnBrk="0" hangingPunct="1">
              <a:lnSpc>
                <a:spcPct val="15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等线" panose="020F0502020204030204"/>
                <a:ea typeface="+mn-ea"/>
                <a:cs typeface="+mn-cs"/>
              </a:rPr>
              <a:t>A wonderful serenity has taken possession of my entire soul, like these sweet mornings</a:t>
            </a:r>
            <a:endPar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11" name="TextBox 30">
            <a:extLst>
              <a:ext uri="{FF2B5EF4-FFF2-40B4-BE49-F238E27FC236}">
                <a16:creationId xmlns:a16="http://schemas.microsoft.com/office/drawing/2014/main" id="{008B04B1-C16B-4555-B934-42AFAA8FF7F2}"/>
              </a:ext>
            </a:extLst>
          </p:cNvPr>
          <p:cNvSpPr txBox="1"/>
          <p:nvPr/>
        </p:nvSpPr>
        <p:spPr>
          <a:xfrm>
            <a:off x="1741878" y="1839588"/>
            <a:ext cx="1907193" cy="400110"/>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FFD229"/>
                </a:solidFill>
                <a:effectLst/>
                <a:uLnTx/>
                <a:uFillTx/>
                <a:latin typeface="等线 Light" panose="020F0302020204030204"/>
                <a:ea typeface="+mn-ea"/>
                <a:cs typeface="+mn-cs"/>
              </a:rPr>
              <a:t>Description</a:t>
            </a:r>
            <a:endParaRPr kumimoji="0" lang="en-ID" sz="2000" b="1" i="0" u="none" strike="noStrike" kern="1200" cap="none" spc="0" normalizeH="0" baseline="0" noProof="0" dirty="0">
              <a:ln>
                <a:noFill/>
              </a:ln>
              <a:solidFill>
                <a:srgbClr val="FFD229"/>
              </a:solidFill>
              <a:effectLst/>
              <a:uLnTx/>
              <a:uFillTx/>
              <a:latin typeface="等线 Light" panose="020F0302020204030204"/>
              <a:ea typeface="+mn-ea"/>
              <a:cs typeface="+mn-cs"/>
            </a:endParaRPr>
          </a:p>
        </p:txBody>
      </p:sp>
      <p:sp>
        <p:nvSpPr>
          <p:cNvPr id="12" name="TextBox 31">
            <a:extLst>
              <a:ext uri="{FF2B5EF4-FFF2-40B4-BE49-F238E27FC236}">
                <a16:creationId xmlns:a16="http://schemas.microsoft.com/office/drawing/2014/main" id="{4B6E50F9-87A5-440F-A4B4-BAE6079A7BD3}"/>
              </a:ext>
            </a:extLst>
          </p:cNvPr>
          <p:cNvSpPr txBox="1"/>
          <p:nvPr/>
        </p:nvSpPr>
        <p:spPr>
          <a:xfrm>
            <a:off x="8195152" y="2614584"/>
            <a:ext cx="2718188" cy="893834"/>
          </a:xfrm>
          <a:prstGeom prst="rect">
            <a:avLst/>
          </a:prstGeom>
          <a:noFill/>
        </p:spPr>
        <p:txBody>
          <a:bodyPr wrap="square" rtlCol="0">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等线" panose="020F0502020204030204"/>
                <a:ea typeface="+mn-ea"/>
                <a:cs typeface="+mn-cs"/>
              </a:rPr>
              <a:t>A wonderful serenity has taken possession of my entire soul, like these sweet mornings</a:t>
            </a:r>
            <a:endPar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13" name="TextBox 32">
            <a:extLst>
              <a:ext uri="{FF2B5EF4-FFF2-40B4-BE49-F238E27FC236}">
                <a16:creationId xmlns:a16="http://schemas.microsoft.com/office/drawing/2014/main" id="{982E5F0B-476E-4AD5-A117-8F6C32156F5E}"/>
              </a:ext>
            </a:extLst>
          </p:cNvPr>
          <p:cNvSpPr txBox="1"/>
          <p:nvPr/>
        </p:nvSpPr>
        <p:spPr>
          <a:xfrm>
            <a:off x="8195152" y="2273398"/>
            <a:ext cx="1907193"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FF4C38"/>
                </a:solidFill>
                <a:effectLst/>
                <a:uLnTx/>
                <a:uFillTx/>
                <a:latin typeface="等线 Light" panose="020F0302020204030204"/>
                <a:ea typeface="+mn-ea"/>
                <a:cs typeface="+mn-cs"/>
              </a:rPr>
              <a:t>Description</a:t>
            </a:r>
            <a:endParaRPr kumimoji="0" lang="en-ID" sz="2000" b="1" i="0" u="none" strike="noStrike" kern="1200" cap="none" spc="0" normalizeH="0" baseline="0" noProof="0" dirty="0">
              <a:ln>
                <a:noFill/>
              </a:ln>
              <a:solidFill>
                <a:srgbClr val="FF4C38"/>
              </a:solidFill>
              <a:effectLst/>
              <a:uLnTx/>
              <a:uFillTx/>
              <a:latin typeface="等线 Light" panose="020F0302020204030204"/>
              <a:ea typeface="+mn-ea"/>
              <a:cs typeface="+mn-cs"/>
            </a:endParaRPr>
          </a:p>
        </p:txBody>
      </p:sp>
      <p:cxnSp>
        <p:nvCxnSpPr>
          <p:cNvPr id="14" name="Straight Connector 41">
            <a:extLst>
              <a:ext uri="{FF2B5EF4-FFF2-40B4-BE49-F238E27FC236}">
                <a16:creationId xmlns:a16="http://schemas.microsoft.com/office/drawing/2014/main" id="{88B829F3-2A06-4D18-9992-3524F57589D4}"/>
              </a:ext>
            </a:extLst>
          </p:cNvPr>
          <p:cNvCxnSpPr>
            <a:cxnSpLocks/>
          </p:cNvCxnSpPr>
          <p:nvPr/>
        </p:nvCxnSpPr>
        <p:spPr>
          <a:xfrm>
            <a:off x="7295166" y="2514681"/>
            <a:ext cx="626902" cy="0"/>
          </a:xfrm>
          <a:prstGeom prst="line">
            <a:avLst/>
          </a:prstGeom>
          <a:ln w="12700">
            <a:solidFill>
              <a:schemeClr val="accent2"/>
            </a:solidFill>
            <a:prstDash val="dash"/>
          </a:ln>
        </p:spPr>
        <p:style>
          <a:lnRef idx="1">
            <a:schemeClr val="accent1"/>
          </a:lnRef>
          <a:fillRef idx="0">
            <a:schemeClr val="accent1"/>
          </a:fillRef>
          <a:effectRef idx="0">
            <a:schemeClr val="accent1"/>
          </a:effectRef>
          <a:fontRef idx="minor">
            <a:schemeClr val="tx1"/>
          </a:fontRef>
        </p:style>
      </p:cxnSp>
      <p:cxnSp>
        <p:nvCxnSpPr>
          <p:cNvPr id="15" name="Straight Connector 43">
            <a:extLst>
              <a:ext uri="{FF2B5EF4-FFF2-40B4-BE49-F238E27FC236}">
                <a16:creationId xmlns:a16="http://schemas.microsoft.com/office/drawing/2014/main" id="{B0D3266B-8941-439A-975C-77A901DBB95B}"/>
              </a:ext>
            </a:extLst>
          </p:cNvPr>
          <p:cNvCxnSpPr>
            <a:cxnSpLocks/>
          </p:cNvCxnSpPr>
          <p:nvPr/>
        </p:nvCxnSpPr>
        <p:spPr>
          <a:xfrm>
            <a:off x="4005737" y="2099661"/>
            <a:ext cx="1812324" cy="0"/>
          </a:xfrm>
          <a:prstGeom prst="line">
            <a:avLst/>
          </a:prstGeom>
          <a:ln w="12700">
            <a:solidFill>
              <a:schemeClr val="accent2"/>
            </a:solidFill>
            <a:prstDash val="dash"/>
          </a:ln>
        </p:spPr>
        <p:style>
          <a:lnRef idx="1">
            <a:schemeClr val="accent1"/>
          </a:lnRef>
          <a:fillRef idx="0">
            <a:schemeClr val="accent1"/>
          </a:fillRef>
          <a:effectRef idx="0">
            <a:schemeClr val="accent1"/>
          </a:effectRef>
          <a:fontRef idx="minor">
            <a:schemeClr val="tx1"/>
          </a:fontRef>
        </p:style>
      </p:cxnSp>
      <p:sp>
        <p:nvSpPr>
          <p:cNvPr id="16" name="Oval 44">
            <a:extLst>
              <a:ext uri="{FF2B5EF4-FFF2-40B4-BE49-F238E27FC236}">
                <a16:creationId xmlns:a16="http://schemas.microsoft.com/office/drawing/2014/main" id="{5FA86ADF-1912-4F4F-A1FD-3501121B0E01}"/>
              </a:ext>
            </a:extLst>
          </p:cNvPr>
          <p:cNvSpPr/>
          <p:nvPr/>
        </p:nvSpPr>
        <p:spPr>
          <a:xfrm>
            <a:off x="7844204" y="2435352"/>
            <a:ext cx="179232" cy="179232"/>
          </a:xfrm>
          <a:prstGeom prst="ellipse">
            <a:avLst/>
          </a:prstGeom>
          <a:gradFill>
            <a:gsLst>
              <a:gs pos="100000">
                <a:schemeClr val="accent1"/>
              </a:gs>
              <a:gs pos="74000">
                <a:schemeClr val="accent2"/>
              </a:gs>
              <a:gs pos="0">
                <a:schemeClr val="accent3"/>
              </a:gs>
            </a:gsLst>
            <a:lin ang="3600000" scaled="0"/>
          </a:gradFill>
          <a:ln w="571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FFFFFF"/>
              </a:solidFill>
              <a:effectLst/>
              <a:uLnTx/>
              <a:uFillTx/>
              <a:latin typeface="等线" panose="020F0502020204030204"/>
              <a:ea typeface="+mn-ea"/>
              <a:cs typeface="+mn-cs"/>
            </a:endParaRPr>
          </a:p>
        </p:txBody>
      </p:sp>
      <p:sp>
        <p:nvSpPr>
          <p:cNvPr id="17" name="Oval 45">
            <a:extLst>
              <a:ext uri="{FF2B5EF4-FFF2-40B4-BE49-F238E27FC236}">
                <a16:creationId xmlns:a16="http://schemas.microsoft.com/office/drawing/2014/main" id="{3393E4B5-3034-48B8-B0A7-BF8EA6A48ADA}"/>
              </a:ext>
            </a:extLst>
          </p:cNvPr>
          <p:cNvSpPr/>
          <p:nvPr/>
        </p:nvSpPr>
        <p:spPr>
          <a:xfrm>
            <a:off x="3916121" y="2005173"/>
            <a:ext cx="179232" cy="179232"/>
          </a:xfrm>
          <a:prstGeom prst="ellipse">
            <a:avLst/>
          </a:prstGeom>
          <a:gradFill>
            <a:gsLst>
              <a:gs pos="100000">
                <a:schemeClr val="accent1"/>
              </a:gs>
              <a:gs pos="74000">
                <a:schemeClr val="accent2"/>
              </a:gs>
              <a:gs pos="0">
                <a:schemeClr val="accent3"/>
              </a:gs>
            </a:gsLst>
            <a:lin ang="3600000" scaled="0"/>
          </a:gradFill>
          <a:ln w="571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FFFFFF"/>
              </a:solidFill>
              <a:effectLst/>
              <a:uLnTx/>
              <a:uFillTx/>
              <a:latin typeface="等线" panose="020F0502020204030204"/>
              <a:ea typeface="+mn-ea"/>
              <a:cs typeface="+mn-cs"/>
            </a:endParaRPr>
          </a:p>
        </p:txBody>
      </p:sp>
      <p:sp>
        <p:nvSpPr>
          <p:cNvPr id="18" name="Oval 47">
            <a:extLst>
              <a:ext uri="{FF2B5EF4-FFF2-40B4-BE49-F238E27FC236}">
                <a16:creationId xmlns:a16="http://schemas.microsoft.com/office/drawing/2014/main" id="{2380DEEA-AA15-49C4-8475-9EFA4DEB3328}"/>
              </a:ext>
            </a:extLst>
          </p:cNvPr>
          <p:cNvSpPr/>
          <p:nvPr/>
        </p:nvSpPr>
        <p:spPr>
          <a:xfrm>
            <a:off x="7009789" y="4226173"/>
            <a:ext cx="319928" cy="319928"/>
          </a:xfrm>
          <a:prstGeom prst="ellipse">
            <a:avLst/>
          </a:prstGeom>
          <a:gradFill>
            <a:gsLst>
              <a:gs pos="100000">
                <a:schemeClr val="accent1"/>
              </a:gs>
              <a:gs pos="74000">
                <a:schemeClr val="accent2"/>
              </a:gs>
              <a:gs pos="0">
                <a:schemeClr val="accent3"/>
              </a:gs>
            </a:gsLst>
            <a:lin ang="3600000" scaled="0"/>
          </a:gradFill>
          <a:ln w="571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FFFFFF"/>
              </a:solidFill>
              <a:effectLst/>
              <a:uLnTx/>
              <a:uFillTx/>
              <a:latin typeface="等线" panose="020F0502020204030204"/>
              <a:ea typeface="+mn-ea"/>
              <a:cs typeface="+mn-cs"/>
            </a:endParaRPr>
          </a:p>
        </p:txBody>
      </p:sp>
      <p:sp>
        <p:nvSpPr>
          <p:cNvPr id="19" name="TextBox 48">
            <a:extLst>
              <a:ext uri="{FF2B5EF4-FFF2-40B4-BE49-F238E27FC236}">
                <a16:creationId xmlns:a16="http://schemas.microsoft.com/office/drawing/2014/main" id="{C535C72A-7141-4818-B3DC-207FF8C62A57}"/>
              </a:ext>
            </a:extLst>
          </p:cNvPr>
          <p:cNvSpPr txBox="1"/>
          <p:nvPr/>
        </p:nvSpPr>
        <p:spPr>
          <a:xfrm>
            <a:off x="8195152" y="4475753"/>
            <a:ext cx="2718188" cy="893834"/>
          </a:xfrm>
          <a:prstGeom prst="rect">
            <a:avLst/>
          </a:prstGeom>
          <a:noFill/>
        </p:spPr>
        <p:txBody>
          <a:bodyPr wrap="square" rtlCol="0">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等线" panose="020F0502020204030204"/>
                <a:ea typeface="+mn-ea"/>
                <a:cs typeface="+mn-cs"/>
              </a:rPr>
              <a:t>A wonderful serenity has taken possession of my entire soul, like these sweet mornings</a:t>
            </a:r>
            <a:endPar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20" name="TextBox 49">
            <a:extLst>
              <a:ext uri="{FF2B5EF4-FFF2-40B4-BE49-F238E27FC236}">
                <a16:creationId xmlns:a16="http://schemas.microsoft.com/office/drawing/2014/main" id="{53F9C58B-DC1C-48FE-B376-6031D9CAB057}"/>
              </a:ext>
            </a:extLst>
          </p:cNvPr>
          <p:cNvSpPr txBox="1"/>
          <p:nvPr/>
        </p:nvSpPr>
        <p:spPr>
          <a:xfrm>
            <a:off x="8195152" y="4134567"/>
            <a:ext cx="1907193"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8F38FF"/>
                </a:solidFill>
                <a:effectLst/>
                <a:uLnTx/>
                <a:uFillTx/>
                <a:latin typeface="等线 Light" panose="020F0302020204030204"/>
                <a:ea typeface="+mn-ea"/>
                <a:cs typeface="+mn-cs"/>
              </a:rPr>
              <a:t>Description</a:t>
            </a:r>
            <a:endParaRPr kumimoji="0" lang="en-ID" sz="2000" b="1" i="0" u="none" strike="noStrike" kern="1200" cap="none" spc="0" normalizeH="0" baseline="0" noProof="0" dirty="0">
              <a:ln>
                <a:noFill/>
              </a:ln>
              <a:solidFill>
                <a:srgbClr val="8F38FF"/>
              </a:solidFill>
              <a:effectLst/>
              <a:uLnTx/>
              <a:uFillTx/>
              <a:latin typeface="等线 Light" panose="020F0302020204030204"/>
              <a:ea typeface="+mn-ea"/>
              <a:cs typeface="+mn-cs"/>
            </a:endParaRPr>
          </a:p>
        </p:txBody>
      </p:sp>
      <p:cxnSp>
        <p:nvCxnSpPr>
          <p:cNvPr id="21" name="Straight Connector 50">
            <a:extLst>
              <a:ext uri="{FF2B5EF4-FFF2-40B4-BE49-F238E27FC236}">
                <a16:creationId xmlns:a16="http://schemas.microsoft.com/office/drawing/2014/main" id="{4B728DCA-2C0D-46F2-927F-B9D611DEE8AD}"/>
              </a:ext>
            </a:extLst>
          </p:cNvPr>
          <p:cNvCxnSpPr>
            <a:cxnSpLocks/>
          </p:cNvCxnSpPr>
          <p:nvPr/>
        </p:nvCxnSpPr>
        <p:spPr>
          <a:xfrm>
            <a:off x="7295166" y="4375850"/>
            <a:ext cx="626902" cy="0"/>
          </a:xfrm>
          <a:prstGeom prst="line">
            <a:avLst/>
          </a:prstGeom>
          <a:ln w="12700">
            <a:solidFill>
              <a:schemeClr val="accent2"/>
            </a:solidFill>
            <a:prstDash val="dash"/>
          </a:ln>
        </p:spPr>
        <p:style>
          <a:lnRef idx="1">
            <a:schemeClr val="accent1"/>
          </a:lnRef>
          <a:fillRef idx="0">
            <a:schemeClr val="accent1"/>
          </a:fillRef>
          <a:effectRef idx="0">
            <a:schemeClr val="accent1"/>
          </a:effectRef>
          <a:fontRef idx="minor">
            <a:schemeClr val="tx1"/>
          </a:fontRef>
        </p:style>
      </p:cxnSp>
      <p:sp>
        <p:nvSpPr>
          <p:cNvPr id="22" name="Oval 51">
            <a:extLst>
              <a:ext uri="{FF2B5EF4-FFF2-40B4-BE49-F238E27FC236}">
                <a16:creationId xmlns:a16="http://schemas.microsoft.com/office/drawing/2014/main" id="{ECDD7CA4-138D-4C0F-B7F9-0FA6B46E426B}"/>
              </a:ext>
            </a:extLst>
          </p:cNvPr>
          <p:cNvSpPr/>
          <p:nvPr/>
        </p:nvSpPr>
        <p:spPr>
          <a:xfrm>
            <a:off x="7844204" y="4296521"/>
            <a:ext cx="179232" cy="179232"/>
          </a:xfrm>
          <a:prstGeom prst="ellipse">
            <a:avLst/>
          </a:prstGeom>
          <a:gradFill>
            <a:gsLst>
              <a:gs pos="100000">
                <a:schemeClr val="accent1"/>
              </a:gs>
              <a:gs pos="74000">
                <a:schemeClr val="accent2"/>
              </a:gs>
              <a:gs pos="0">
                <a:schemeClr val="accent3"/>
              </a:gs>
            </a:gsLst>
            <a:lin ang="3600000" scaled="0"/>
          </a:gradFill>
          <a:ln w="571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FFFFFF"/>
              </a:solidFill>
              <a:effectLst/>
              <a:uLnTx/>
              <a:uFillTx/>
              <a:latin typeface="等线" panose="020F0502020204030204"/>
              <a:ea typeface="+mn-ea"/>
              <a:cs typeface="+mn-cs"/>
            </a:endParaRPr>
          </a:p>
        </p:txBody>
      </p:sp>
      <p:sp>
        <p:nvSpPr>
          <p:cNvPr id="23" name="Oval 52">
            <a:extLst>
              <a:ext uri="{FF2B5EF4-FFF2-40B4-BE49-F238E27FC236}">
                <a16:creationId xmlns:a16="http://schemas.microsoft.com/office/drawing/2014/main" id="{0981E9F0-B98B-4585-8E47-909C71F353B0}"/>
              </a:ext>
            </a:extLst>
          </p:cNvPr>
          <p:cNvSpPr/>
          <p:nvPr/>
        </p:nvSpPr>
        <p:spPr>
          <a:xfrm>
            <a:off x="5222169" y="4738578"/>
            <a:ext cx="319928" cy="319928"/>
          </a:xfrm>
          <a:prstGeom prst="ellipse">
            <a:avLst/>
          </a:prstGeom>
          <a:gradFill>
            <a:gsLst>
              <a:gs pos="100000">
                <a:schemeClr val="accent1"/>
              </a:gs>
              <a:gs pos="74000">
                <a:schemeClr val="accent2"/>
              </a:gs>
              <a:gs pos="0">
                <a:schemeClr val="accent3"/>
              </a:gs>
            </a:gsLst>
            <a:lin ang="3600000" scaled="0"/>
          </a:gradFill>
          <a:ln w="571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FFFFFF"/>
              </a:solidFill>
              <a:effectLst/>
              <a:uLnTx/>
              <a:uFillTx/>
              <a:latin typeface="等线" panose="020F0502020204030204"/>
              <a:ea typeface="+mn-ea"/>
              <a:cs typeface="+mn-cs"/>
            </a:endParaRPr>
          </a:p>
        </p:txBody>
      </p:sp>
      <p:sp>
        <p:nvSpPr>
          <p:cNvPr id="24" name="TextBox 53">
            <a:extLst>
              <a:ext uri="{FF2B5EF4-FFF2-40B4-BE49-F238E27FC236}">
                <a16:creationId xmlns:a16="http://schemas.microsoft.com/office/drawing/2014/main" id="{D52421FA-509C-4158-8498-D0D53051A24B}"/>
              </a:ext>
            </a:extLst>
          </p:cNvPr>
          <p:cNvSpPr txBox="1"/>
          <p:nvPr/>
        </p:nvSpPr>
        <p:spPr>
          <a:xfrm>
            <a:off x="1467412" y="4978944"/>
            <a:ext cx="2718188" cy="893834"/>
          </a:xfrm>
          <a:prstGeom prst="rect">
            <a:avLst/>
          </a:prstGeom>
          <a:noFill/>
        </p:spPr>
        <p:txBody>
          <a:bodyPr wrap="square" rtlCol="0">
            <a:spAutoFit/>
          </a:bodyPr>
          <a:lstStyle/>
          <a:p>
            <a:pPr marL="0" marR="0" lvl="0" indent="0" algn="r" defTabSz="914400" rtl="0" eaLnBrk="1" fontAlgn="auto" latinLnBrk="0" hangingPunct="1">
              <a:lnSpc>
                <a:spcPct val="15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等线" panose="020F0502020204030204"/>
                <a:ea typeface="+mn-ea"/>
                <a:cs typeface="+mn-cs"/>
              </a:rPr>
              <a:t>A wonderful serenity has taken possession of my entire soul, like these sweet mornings</a:t>
            </a:r>
            <a:endPar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25" name="TextBox 54">
            <a:extLst>
              <a:ext uri="{FF2B5EF4-FFF2-40B4-BE49-F238E27FC236}">
                <a16:creationId xmlns:a16="http://schemas.microsoft.com/office/drawing/2014/main" id="{8908F213-5683-4181-B124-47F145CC45F7}"/>
              </a:ext>
            </a:extLst>
          </p:cNvPr>
          <p:cNvSpPr txBox="1"/>
          <p:nvPr/>
        </p:nvSpPr>
        <p:spPr>
          <a:xfrm>
            <a:off x="2278407" y="4637758"/>
            <a:ext cx="1907193" cy="400110"/>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FF388A"/>
                </a:solidFill>
                <a:effectLst/>
                <a:uLnTx/>
                <a:uFillTx/>
                <a:latin typeface="等线 Light" panose="020F0302020204030204"/>
                <a:ea typeface="+mn-ea"/>
                <a:cs typeface="+mn-cs"/>
              </a:rPr>
              <a:t>Description</a:t>
            </a:r>
            <a:endParaRPr kumimoji="0" lang="en-ID" sz="2000" b="1" i="0" u="none" strike="noStrike" kern="1200" cap="none" spc="0" normalizeH="0" baseline="0" noProof="0" dirty="0">
              <a:ln>
                <a:noFill/>
              </a:ln>
              <a:solidFill>
                <a:srgbClr val="FF388A"/>
              </a:solidFill>
              <a:effectLst/>
              <a:uLnTx/>
              <a:uFillTx/>
              <a:latin typeface="等线 Light" panose="020F0302020204030204"/>
              <a:ea typeface="+mn-ea"/>
              <a:cs typeface="+mn-cs"/>
            </a:endParaRPr>
          </a:p>
        </p:txBody>
      </p:sp>
      <p:cxnSp>
        <p:nvCxnSpPr>
          <p:cNvPr id="26" name="Straight Connector 55">
            <a:extLst>
              <a:ext uri="{FF2B5EF4-FFF2-40B4-BE49-F238E27FC236}">
                <a16:creationId xmlns:a16="http://schemas.microsoft.com/office/drawing/2014/main" id="{7CB9CCB9-0879-4690-A902-B14F247DB35B}"/>
              </a:ext>
            </a:extLst>
          </p:cNvPr>
          <p:cNvCxnSpPr>
            <a:cxnSpLocks/>
          </p:cNvCxnSpPr>
          <p:nvPr/>
        </p:nvCxnSpPr>
        <p:spPr>
          <a:xfrm>
            <a:off x="4542266" y="4897831"/>
            <a:ext cx="626902" cy="0"/>
          </a:xfrm>
          <a:prstGeom prst="line">
            <a:avLst/>
          </a:prstGeom>
          <a:ln w="12700">
            <a:solidFill>
              <a:schemeClr val="accent2"/>
            </a:solidFill>
            <a:prstDash val="dash"/>
          </a:ln>
        </p:spPr>
        <p:style>
          <a:lnRef idx="1">
            <a:schemeClr val="accent1"/>
          </a:lnRef>
          <a:fillRef idx="0">
            <a:schemeClr val="accent1"/>
          </a:fillRef>
          <a:effectRef idx="0">
            <a:schemeClr val="accent1"/>
          </a:effectRef>
          <a:fontRef idx="minor">
            <a:schemeClr val="tx1"/>
          </a:fontRef>
        </p:style>
      </p:cxnSp>
      <p:sp>
        <p:nvSpPr>
          <p:cNvPr id="27" name="Oval 56">
            <a:extLst>
              <a:ext uri="{FF2B5EF4-FFF2-40B4-BE49-F238E27FC236}">
                <a16:creationId xmlns:a16="http://schemas.microsoft.com/office/drawing/2014/main" id="{B6CAD35F-559E-40F9-A61D-E770A33EEE0F}"/>
              </a:ext>
            </a:extLst>
          </p:cNvPr>
          <p:cNvSpPr/>
          <p:nvPr/>
        </p:nvSpPr>
        <p:spPr>
          <a:xfrm>
            <a:off x="4452650" y="4803343"/>
            <a:ext cx="179232" cy="179232"/>
          </a:xfrm>
          <a:prstGeom prst="ellipse">
            <a:avLst/>
          </a:prstGeom>
          <a:gradFill>
            <a:gsLst>
              <a:gs pos="100000">
                <a:schemeClr val="accent1"/>
              </a:gs>
              <a:gs pos="74000">
                <a:schemeClr val="accent2"/>
              </a:gs>
              <a:gs pos="0">
                <a:schemeClr val="accent3"/>
              </a:gs>
            </a:gsLst>
            <a:lin ang="3600000" scaled="0"/>
          </a:gradFill>
          <a:ln w="571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FFFFFF"/>
              </a:solidFill>
              <a:effectLst/>
              <a:uLnTx/>
              <a:uFillTx/>
              <a:latin typeface="等线" panose="020F0502020204030204"/>
              <a:ea typeface="+mn-ea"/>
              <a:cs typeface="+mn-cs"/>
            </a:endParaRPr>
          </a:p>
        </p:txBody>
      </p:sp>
      <p:grpSp>
        <p:nvGrpSpPr>
          <p:cNvPr id="28" name="Group 58">
            <a:extLst>
              <a:ext uri="{FF2B5EF4-FFF2-40B4-BE49-F238E27FC236}">
                <a16:creationId xmlns:a16="http://schemas.microsoft.com/office/drawing/2014/main" id="{663CA64A-9654-4954-8DD9-E9E74307C358}"/>
              </a:ext>
            </a:extLst>
          </p:cNvPr>
          <p:cNvGrpSpPr/>
          <p:nvPr/>
        </p:nvGrpSpPr>
        <p:grpSpPr>
          <a:xfrm>
            <a:off x="5023644" y="1160507"/>
            <a:ext cx="2144713" cy="69850"/>
            <a:chOff x="2260600" y="1943101"/>
            <a:chExt cx="2144713" cy="69850"/>
          </a:xfrm>
        </p:grpSpPr>
        <p:sp>
          <p:nvSpPr>
            <p:cNvPr id="29" name="Freeform 5">
              <a:extLst>
                <a:ext uri="{FF2B5EF4-FFF2-40B4-BE49-F238E27FC236}">
                  <a16:creationId xmlns:a16="http://schemas.microsoft.com/office/drawing/2014/main" id="{8FA6316C-9ADE-49B7-990D-47B5C25308E3}"/>
                </a:ext>
              </a:extLst>
            </p:cNvPr>
            <p:cNvSpPr>
              <a:spLocks/>
            </p:cNvSpPr>
            <p:nvPr/>
          </p:nvSpPr>
          <p:spPr bwMode="auto">
            <a:xfrm>
              <a:off x="2260600" y="1943101"/>
              <a:ext cx="73025" cy="69850"/>
            </a:xfrm>
            <a:custGeom>
              <a:avLst/>
              <a:gdLst>
                <a:gd name="T0" fmla="*/ 19 w 38"/>
                <a:gd name="T1" fmla="*/ 33 h 33"/>
                <a:gd name="T2" fmla="*/ 38 w 38"/>
                <a:gd name="T3" fmla="*/ 16 h 33"/>
                <a:gd name="T4" fmla="*/ 38 w 38"/>
                <a:gd name="T5" fmla="*/ 16 h 33"/>
                <a:gd name="T6" fmla="*/ 19 w 38"/>
                <a:gd name="T7" fmla="*/ 0 h 33"/>
                <a:gd name="T8" fmla="*/ 0 w 38"/>
                <a:gd name="T9" fmla="*/ 16 h 33"/>
                <a:gd name="T10" fmla="*/ 0 w 38"/>
                <a:gd name="T11" fmla="*/ 16 h 33"/>
                <a:gd name="T12" fmla="*/ 19 w 38"/>
                <a:gd name="T13" fmla="*/ 33 h 33"/>
              </a:gdLst>
              <a:ahLst/>
              <a:cxnLst>
                <a:cxn ang="0">
                  <a:pos x="T0" y="T1"/>
                </a:cxn>
                <a:cxn ang="0">
                  <a:pos x="T2" y="T3"/>
                </a:cxn>
                <a:cxn ang="0">
                  <a:pos x="T4" y="T5"/>
                </a:cxn>
                <a:cxn ang="0">
                  <a:pos x="T6" y="T7"/>
                </a:cxn>
                <a:cxn ang="0">
                  <a:pos x="T8" y="T9"/>
                </a:cxn>
                <a:cxn ang="0">
                  <a:pos x="T10" y="T11"/>
                </a:cxn>
                <a:cxn ang="0">
                  <a:pos x="T12" y="T13"/>
                </a:cxn>
              </a:cxnLst>
              <a:rect l="0" t="0" r="r" b="b"/>
              <a:pathLst>
                <a:path w="38" h="33">
                  <a:moveTo>
                    <a:pt x="19" y="33"/>
                  </a:moveTo>
                  <a:cubicBezTo>
                    <a:pt x="28" y="31"/>
                    <a:pt x="38" y="16"/>
                    <a:pt x="38" y="16"/>
                  </a:cubicBezTo>
                  <a:cubicBezTo>
                    <a:pt x="38" y="16"/>
                    <a:pt x="38" y="16"/>
                    <a:pt x="38" y="16"/>
                  </a:cubicBezTo>
                  <a:cubicBezTo>
                    <a:pt x="38" y="16"/>
                    <a:pt x="28" y="2"/>
                    <a:pt x="19" y="0"/>
                  </a:cubicBezTo>
                  <a:cubicBezTo>
                    <a:pt x="10" y="2"/>
                    <a:pt x="0" y="16"/>
                    <a:pt x="0" y="16"/>
                  </a:cubicBezTo>
                  <a:cubicBezTo>
                    <a:pt x="0" y="16"/>
                    <a:pt x="0" y="16"/>
                    <a:pt x="0" y="16"/>
                  </a:cubicBezTo>
                  <a:cubicBezTo>
                    <a:pt x="0" y="16"/>
                    <a:pt x="10" y="31"/>
                    <a:pt x="19" y="33"/>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0" name="Freeform 6">
              <a:extLst>
                <a:ext uri="{FF2B5EF4-FFF2-40B4-BE49-F238E27FC236}">
                  <a16:creationId xmlns:a16="http://schemas.microsoft.com/office/drawing/2014/main" id="{707111F5-C98A-46F7-9980-9D63C6A96E02}"/>
                </a:ext>
              </a:extLst>
            </p:cNvPr>
            <p:cNvSpPr>
              <a:spLocks/>
            </p:cNvSpPr>
            <p:nvPr/>
          </p:nvSpPr>
          <p:spPr bwMode="auto">
            <a:xfrm>
              <a:off x="4332288" y="1943101"/>
              <a:ext cx="73025" cy="69850"/>
            </a:xfrm>
            <a:custGeom>
              <a:avLst/>
              <a:gdLst>
                <a:gd name="T0" fmla="*/ 19 w 38"/>
                <a:gd name="T1" fmla="*/ 33 h 33"/>
                <a:gd name="T2" fmla="*/ 38 w 38"/>
                <a:gd name="T3" fmla="*/ 16 h 33"/>
                <a:gd name="T4" fmla="*/ 38 w 38"/>
                <a:gd name="T5" fmla="*/ 16 h 33"/>
                <a:gd name="T6" fmla="*/ 19 w 38"/>
                <a:gd name="T7" fmla="*/ 0 h 33"/>
                <a:gd name="T8" fmla="*/ 0 w 38"/>
                <a:gd name="T9" fmla="*/ 16 h 33"/>
                <a:gd name="T10" fmla="*/ 0 w 38"/>
                <a:gd name="T11" fmla="*/ 16 h 33"/>
                <a:gd name="T12" fmla="*/ 19 w 38"/>
                <a:gd name="T13" fmla="*/ 33 h 33"/>
              </a:gdLst>
              <a:ahLst/>
              <a:cxnLst>
                <a:cxn ang="0">
                  <a:pos x="T0" y="T1"/>
                </a:cxn>
                <a:cxn ang="0">
                  <a:pos x="T2" y="T3"/>
                </a:cxn>
                <a:cxn ang="0">
                  <a:pos x="T4" y="T5"/>
                </a:cxn>
                <a:cxn ang="0">
                  <a:pos x="T6" y="T7"/>
                </a:cxn>
                <a:cxn ang="0">
                  <a:pos x="T8" y="T9"/>
                </a:cxn>
                <a:cxn ang="0">
                  <a:pos x="T10" y="T11"/>
                </a:cxn>
                <a:cxn ang="0">
                  <a:pos x="T12" y="T13"/>
                </a:cxn>
              </a:cxnLst>
              <a:rect l="0" t="0" r="r" b="b"/>
              <a:pathLst>
                <a:path w="38" h="33">
                  <a:moveTo>
                    <a:pt x="19" y="33"/>
                  </a:moveTo>
                  <a:cubicBezTo>
                    <a:pt x="28" y="31"/>
                    <a:pt x="38" y="16"/>
                    <a:pt x="38" y="16"/>
                  </a:cubicBezTo>
                  <a:cubicBezTo>
                    <a:pt x="38" y="16"/>
                    <a:pt x="38" y="16"/>
                    <a:pt x="38" y="16"/>
                  </a:cubicBezTo>
                  <a:cubicBezTo>
                    <a:pt x="38" y="16"/>
                    <a:pt x="28" y="2"/>
                    <a:pt x="19" y="0"/>
                  </a:cubicBezTo>
                  <a:cubicBezTo>
                    <a:pt x="10" y="2"/>
                    <a:pt x="0" y="16"/>
                    <a:pt x="0" y="16"/>
                  </a:cubicBezTo>
                  <a:cubicBezTo>
                    <a:pt x="0" y="16"/>
                    <a:pt x="0" y="16"/>
                    <a:pt x="0" y="16"/>
                  </a:cubicBezTo>
                  <a:cubicBezTo>
                    <a:pt x="0" y="16"/>
                    <a:pt x="10" y="31"/>
                    <a:pt x="19" y="33"/>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1" name="Line 7">
              <a:extLst>
                <a:ext uri="{FF2B5EF4-FFF2-40B4-BE49-F238E27FC236}">
                  <a16:creationId xmlns:a16="http://schemas.microsoft.com/office/drawing/2014/main" id="{BC125939-DE8D-49F7-A0CB-009B0476763C}"/>
                </a:ext>
              </a:extLst>
            </p:cNvPr>
            <p:cNvSpPr>
              <a:spLocks noChangeShapeType="1"/>
            </p:cNvSpPr>
            <p:nvPr/>
          </p:nvSpPr>
          <p:spPr bwMode="auto">
            <a:xfrm>
              <a:off x="2320925" y="1976438"/>
              <a:ext cx="2035175" cy="0"/>
            </a:xfrm>
            <a:prstGeom prst="line">
              <a:avLst/>
            </a:prstGeom>
            <a:noFill/>
            <a:ln w="7938"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sp>
        <p:nvSpPr>
          <p:cNvPr id="32" name="Graphic 12" descr="Line arrow: Straight">
            <a:extLst>
              <a:ext uri="{FF2B5EF4-FFF2-40B4-BE49-F238E27FC236}">
                <a16:creationId xmlns:a16="http://schemas.microsoft.com/office/drawing/2014/main" id="{D883EE49-99E0-4EBF-B050-1B46A9E12A7B}"/>
              </a:ext>
            </a:extLst>
          </p:cNvPr>
          <p:cNvSpPr/>
          <p:nvPr/>
        </p:nvSpPr>
        <p:spPr>
          <a:xfrm rot="10800000">
            <a:off x="11458972" y="490602"/>
            <a:ext cx="215801" cy="81855"/>
          </a:xfrm>
          <a:custGeom>
            <a:avLst/>
            <a:gdLst>
              <a:gd name="connsiteX0" fmla="*/ 210840 w 215800"/>
              <a:gd name="connsiteY0" fmla="*/ 34727 h 81855"/>
              <a:gd name="connsiteX1" fmla="*/ 25301 w 215800"/>
              <a:gd name="connsiteY1" fmla="*/ 34727 h 81855"/>
              <a:gd name="connsiteX2" fmla="*/ 47377 w 215800"/>
              <a:gd name="connsiteY2" fmla="*/ 12650 h 81855"/>
              <a:gd name="connsiteX3" fmla="*/ 47377 w 215800"/>
              <a:gd name="connsiteY3" fmla="*/ 2232 h 81855"/>
              <a:gd name="connsiteX4" fmla="*/ 36959 w 215800"/>
              <a:gd name="connsiteY4" fmla="*/ 2232 h 81855"/>
              <a:gd name="connsiteX5" fmla="*/ 2232 w 215800"/>
              <a:gd name="connsiteY5" fmla="*/ 36959 h 81855"/>
              <a:gd name="connsiteX6" fmla="*/ 2232 w 215800"/>
              <a:gd name="connsiteY6" fmla="*/ 47377 h 81855"/>
              <a:gd name="connsiteX7" fmla="*/ 36959 w 215800"/>
              <a:gd name="connsiteY7" fmla="*/ 82104 h 81855"/>
              <a:gd name="connsiteX8" fmla="*/ 42168 w 215800"/>
              <a:gd name="connsiteY8" fmla="*/ 84336 h 81855"/>
              <a:gd name="connsiteX9" fmla="*/ 47377 w 215800"/>
              <a:gd name="connsiteY9" fmla="*/ 82104 h 81855"/>
              <a:gd name="connsiteX10" fmla="*/ 47377 w 215800"/>
              <a:gd name="connsiteY10" fmla="*/ 71686 h 81855"/>
              <a:gd name="connsiteX11" fmla="*/ 25301 w 215800"/>
              <a:gd name="connsiteY11" fmla="*/ 49609 h 81855"/>
              <a:gd name="connsiteX12" fmla="*/ 210840 w 215800"/>
              <a:gd name="connsiteY12" fmla="*/ 49609 h 81855"/>
              <a:gd name="connsiteX13" fmla="*/ 218281 w 215800"/>
              <a:gd name="connsiteY13" fmla="*/ 42168 h 81855"/>
              <a:gd name="connsiteX14" fmla="*/ 210840 w 215800"/>
              <a:gd name="connsiteY14" fmla="*/ 34727 h 81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15800" h="81855">
                <a:moveTo>
                  <a:pt x="210840" y="34727"/>
                </a:moveTo>
                <a:lnTo>
                  <a:pt x="25301" y="34727"/>
                </a:lnTo>
                <a:lnTo>
                  <a:pt x="47377" y="12650"/>
                </a:lnTo>
                <a:cubicBezTo>
                  <a:pt x="50354" y="9674"/>
                  <a:pt x="50354" y="4961"/>
                  <a:pt x="47377" y="2232"/>
                </a:cubicBezTo>
                <a:cubicBezTo>
                  <a:pt x="44400" y="-744"/>
                  <a:pt x="39688" y="-744"/>
                  <a:pt x="36959" y="2232"/>
                </a:cubicBezTo>
                <a:lnTo>
                  <a:pt x="2232" y="36959"/>
                </a:lnTo>
                <a:cubicBezTo>
                  <a:pt x="-744" y="39936"/>
                  <a:pt x="-744" y="44648"/>
                  <a:pt x="2232" y="47377"/>
                </a:cubicBezTo>
                <a:lnTo>
                  <a:pt x="36959" y="82104"/>
                </a:lnTo>
                <a:cubicBezTo>
                  <a:pt x="38447" y="83592"/>
                  <a:pt x="40432" y="84336"/>
                  <a:pt x="42168" y="84336"/>
                </a:cubicBezTo>
                <a:cubicBezTo>
                  <a:pt x="43904" y="84336"/>
                  <a:pt x="45889" y="83592"/>
                  <a:pt x="47377" y="82104"/>
                </a:cubicBezTo>
                <a:cubicBezTo>
                  <a:pt x="50354" y="79127"/>
                  <a:pt x="50354" y="74414"/>
                  <a:pt x="47377" y="71686"/>
                </a:cubicBezTo>
                <a:lnTo>
                  <a:pt x="25301" y="49609"/>
                </a:lnTo>
                <a:lnTo>
                  <a:pt x="210840" y="49609"/>
                </a:lnTo>
                <a:cubicBezTo>
                  <a:pt x="215057" y="49609"/>
                  <a:pt x="218281" y="46385"/>
                  <a:pt x="218281" y="42168"/>
                </a:cubicBezTo>
                <a:cubicBezTo>
                  <a:pt x="218281" y="37951"/>
                  <a:pt x="215057" y="34727"/>
                  <a:pt x="210840" y="34727"/>
                </a:cubicBezTo>
                <a:close/>
              </a:path>
            </a:pathLst>
          </a:custGeom>
          <a:solidFill>
            <a:schemeClr val="accent1"/>
          </a:solidFill>
          <a:ln w="24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Tree>
    <p:extLst>
      <p:ext uri="{BB962C8B-B14F-4D97-AF65-F5344CB8AC3E}">
        <p14:creationId xmlns:p14="http://schemas.microsoft.com/office/powerpoint/2010/main" val="3688223618"/>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accel="40000" decel="4000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1000" fill="hold"/>
                                        <p:tgtEl>
                                          <p:spTgt spid="2"/>
                                        </p:tgtEl>
                                        <p:attrNameLst>
                                          <p:attrName>ppt_x</p:attrName>
                                        </p:attrNameLst>
                                      </p:cBhvr>
                                      <p:tavLst>
                                        <p:tav tm="0">
                                          <p:val>
                                            <p:strVal val="#ppt_x"/>
                                          </p:val>
                                        </p:tav>
                                        <p:tav tm="100000">
                                          <p:val>
                                            <p:strVal val="#ppt_x"/>
                                          </p:val>
                                        </p:tav>
                                      </p:tavLst>
                                    </p:anim>
                                    <p:anim calcmode="lin" valueType="num">
                                      <p:cBhvr additive="base">
                                        <p:cTn id="8" dur="1000" fill="hold"/>
                                        <p:tgtEl>
                                          <p:spTgt spid="2"/>
                                        </p:tgtEl>
                                        <p:attrNameLst>
                                          <p:attrName>ppt_y</p:attrName>
                                        </p:attrNameLst>
                                      </p:cBhvr>
                                      <p:tavLst>
                                        <p:tav tm="0">
                                          <p:val>
                                            <p:strVal val="1+#ppt_h/2"/>
                                          </p:val>
                                        </p:tav>
                                        <p:tav tm="100000">
                                          <p:val>
                                            <p:strVal val="#ppt_y"/>
                                          </p:val>
                                        </p:tav>
                                      </p:tavLst>
                                    </p:anim>
                                  </p:childTnLst>
                                </p:cTn>
                              </p:par>
                              <p:par>
                                <p:cTn id="9" presetID="2" presetClass="entr" presetSubtype="4" accel="40000" decel="40000" fill="hold" grpId="0" nodeType="withEffect">
                                  <p:stCondLst>
                                    <p:cond delay="0"/>
                                  </p:stCondLst>
                                  <p:childTnLst>
                                    <p:set>
                                      <p:cBhvr>
                                        <p:cTn id="10" dur="1" fill="hold">
                                          <p:stCondLst>
                                            <p:cond delay="0"/>
                                          </p:stCondLst>
                                        </p:cTn>
                                        <p:tgtEl>
                                          <p:spTgt spid="3"/>
                                        </p:tgtEl>
                                        <p:attrNameLst>
                                          <p:attrName>style.visibility</p:attrName>
                                        </p:attrNameLst>
                                      </p:cBhvr>
                                      <p:to>
                                        <p:strVal val="visible"/>
                                      </p:to>
                                    </p:set>
                                    <p:anim calcmode="lin" valueType="num">
                                      <p:cBhvr additive="base">
                                        <p:cTn id="11" dur="1000" fill="hold"/>
                                        <p:tgtEl>
                                          <p:spTgt spid="3"/>
                                        </p:tgtEl>
                                        <p:attrNameLst>
                                          <p:attrName>ppt_x</p:attrName>
                                        </p:attrNameLst>
                                      </p:cBhvr>
                                      <p:tavLst>
                                        <p:tav tm="0">
                                          <p:val>
                                            <p:strVal val="#ppt_x"/>
                                          </p:val>
                                        </p:tav>
                                        <p:tav tm="100000">
                                          <p:val>
                                            <p:strVal val="#ppt_x"/>
                                          </p:val>
                                        </p:tav>
                                      </p:tavLst>
                                    </p:anim>
                                    <p:anim calcmode="lin" valueType="num">
                                      <p:cBhvr additive="base">
                                        <p:cTn id="12" dur="1000" fill="hold"/>
                                        <p:tgtEl>
                                          <p:spTgt spid="3"/>
                                        </p:tgtEl>
                                        <p:attrNameLst>
                                          <p:attrName>ppt_y</p:attrName>
                                        </p:attrNameLst>
                                      </p:cBhvr>
                                      <p:tavLst>
                                        <p:tav tm="0">
                                          <p:val>
                                            <p:strVal val="1+#ppt_h/2"/>
                                          </p:val>
                                        </p:tav>
                                        <p:tav tm="100000">
                                          <p:val>
                                            <p:strVal val="#ppt_y"/>
                                          </p:val>
                                        </p:tav>
                                      </p:tavLst>
                                    </p:anim>
                                  </p:childTnLst>
                                </p:cTn>
                              </p:par>
                              <p:par>
                                <p:cTn id="13" presetID="2" presetClass="entr" presetSubtype="4" accel="40000" decel="40000" fill="hold" grpId="0" nodeType="withEffect">
                                  <p:stCondLst>
                                    <p:cond delay="0"/>
                                  </p:stCondLst>
                                  <p:childTnLst>
                                    <p:set>
                                      <p:cBhvr>
                                        <p:cTn id="14" dur="1" fill="hold">
                                          <p:stCondLst>
                                            <p:cond delay="0"/>
                                          </p:stCondLst>
                                        </p:cTn>
                                        <p:tgtEl>
                                          <p:spTgt spid="4"/>
                                        </p:tgtEl>
                                        <p:attrNameLst>
                                          <p:attrName>style.visibility</p:attrName>
                                        </p:attrNameLst>
                                      </p:cBhvr>
                                      <p:to>
                                        <p:strVal val="visible"/>
                                      </p:to>
                                    </p:set>
                                    <p:anim calcmode="lin" valueType="num">
                                      <p:cBhvr additive="base">
                                        <p:cTn id="15" dur="1000" fill="hold"/>
                                        <p:tgtEl>
                                          <p:spTgt spid="4"/>
                                        </p:tgtEl>
                                        <p:attrNameLst>
                                          <p:attrName>ppt_x</p:attrName>
                                        </p:attrNameLst>
                                      </p:cBhvr>
                                      <p:tavLst>
                                        <p:tav tm="0">
                                          <p:val>
                                            <p:strVal val="#ppt_x"/>
                                          </p:val>
                                        </p:tav>
                                        <p:tav tm="100000">
                                          <p:val>
                                            <p:strVal val="#ppt_x"/>
                                          </p:val>
                                        </p:tav>
                                      </p:tavLst>
                                    </p:anim>
                                    <p:anim calcmode="lin" valueType="num">
                                      <p:cBhvr additive="base">
                                        <p:cTn id="16" dur="1000" fill="hold"/>
                                        <p:tgtEl>
                                          <p:spTgt spid="4"/>
                                        </p:tgtEl>
                                        <p:attrNameLst>
                                          <p:attrName>ppt_y</p:attrName>
                                        </p:attrNameLst>
                                      </p:cBhvr>
                                      <p:tavLst>
                                        <p:tav tm="0">
                                          <p:val>
                                            <p:strVal val="1+#ppt_h/2"/>
                                          </p:val>
                                        </p:tav>
                                        <p:tav tm="100000">
                                          <p:val>
                                            <p:strVal val="#ppt_y"/>
                                          </p:val>
                                        </p:tav>
                                      </p:tavLst>
                                    </p:anim>
                                  </p:childTnLst>
                                </p:cTn>
                              </p:par>
                              <p:par>
                                <p:cTn id="17" presetID="2" presetClass="entr" presetSubtype="4" accel="40000" decel="40000" fill="hold" grpId="0" nodeType="withEffect">
                                  <p:stCondLst>
                                    <p:cond delay="0"/>
                                  </p:stCondLst>
                                  <p:childTnLst>
                                    <p:set>
                                      <p:cBhvr>
                                        <p:cTn id="18" dur="1" fill="hold">
                                          <p:stCondLst>
                                            <p:cond delay="0"/>
                                          </p:stCondLst>
                                        </p:cTn>
                                        <p:tgtEl>
                                          <p:spTgt spid="5"/>
                                        </p:tgtEl>
                                        <p:attrNameLst>
                                          <p:attrName>style.visibility</p:attrName>
                                        </p:attrNameLst>
                                      </p:cBhvr>
                                      <p:to>
                                        <p:strVal val="visible"/>
                                      </p:to>
                                    </p:set>
                                    <p:anim calcmode="lin" valueType="num">
                                      <p:cBhvr additive="base">
                                        <p:cTn id="19" dur="1000" fill="hold"/>
                                        <p:tgtEl>
                                          <p:spTgt spid="5"/>
                                        </p:tgtEl>
                                        <p:attrNameLst>
                                          <p:attrName>ppt_x</p:attrName>
                                        </p:attrNameLst>
                                      </p:cBhvr>
                                      <p:tavLst>
                                        <p:tav tm="0">
                                          <p:val>
                                            <p:strVal val="#ppt_x"/>
                                          </p:val>
                                        </p:tav>
                                        <p:tav tm="100000">
                                          <p:val>
                                            <p:strVal val="#ppt_x"/>
                                          </p:val>
                                        </p:tav>
                                      </p:tavLst>
                                    </p:anim>
                                    <p:anim calcmode="lin" valueType="num">
                                      <p:cBhvr additive="base">
                                        <p:cTn id="20" dur="1000" fill="hold"/>
                                        <p:tgtEl>
                                          <p:spTgt spid="5"/>
                                        </p:tgtEl>
                                        <p:attrNameLst>
                                          <p:attrName>ppt_y</p:attrName>
                                        </p:attrNameLst>
                                      </p:cBhvr>
                                      <p:tavLst>
                                        <p:tav tm="0">
                                          <p:val>
                                            <p:strVal val="1+#ppt_h/2"/>
                                          </p:val>
                                        </p:tav>
                                        <p:tav tm="100000">
                                          <p:val>
                                            <p:strVal val="#ppt_y"/>
                                          </p:val>
                                        </p:tav>
                                      </p:tavLst>
                                    </p:anim>
                                  </p:childTnLst>
                                </p:cTn>
                              </p:par>
                              <p:par>
                                <p:cTn id="21" presetID="2" presetClass="entr" presetSubtype="4" accel="40000" decel="40000" fill="hold" grpId="0" nodeType="withEffect">
                                  <p:stCondLst>
                                    <p:cond delay="0"/>
                                  </p:stCondLst>
                                  <p:childTnLst>
                                    <p:set>
                                      <p:cBhvr>
                                        <p:cTn id="22" dur="1" fill="hold">
                                          <p:stCondLst>
                                            <p:cond delay="0"/>
                                          </p:stCondLst>
                                        </p:cTn>
                                        <p:tgtEl>
                                          <p:spTgt spid="6"/>
                                        </p:tgtEl>
                                        <p:attrNameLst>
                                          <p:attrName>style.visibility</p:attrName>
                                        </p:attrNameLst>
                                      </p:cBhvr>
                                      <p:to>
                                        <p:strVal val="visible"/>
                                      </p:to>
                                    </p:set>
                                    <p:anim calcmode="lin" valueType="num">
                                      <p:cBhvr additive="base">
                                        <p:cTn id="23" dur="1000" fill="hold"/>
                                        <p:tgtEl>
                                          <p:spTgt spid="6"/>
                                        </p:tgtEl>
                                        <p:attrNameLst>
                                          <p:attrName>ppt_x</p:attrName>
                                        </p:attrNameLst>
                                      </p:cBhvr>
                                      <p:tavLst>
                                        <p:tav tm="0">
                                          <p:val>
                                            <p:strVal val="#ppt_x"/>
                                          </p:val>
                                        </p:tav>
                                        <p:tav tm="100000">
                                          <p:val>
                                            <p:strVal val="#ppt_x"/>
                                          </p:val>
                                        </p:tav>
                                      </p:tavLst>
                                    </p:anim>
                                    <p:anim calcmode="lin" valueType="num">
                                      <p:cBhvr additive="base">
                                        <p:cTn id="24" dur="1000" fill="hold"/>
                                        <p:tgtEl>
                                          <p:spTgt spid="6"/>
                                        </p:tgtEl>
                                        <p:attrNameLst>
                                          <p:attrName>ppt_y</p:attrName>
                                        </p:attrNameLst>
                                      </p:cBhvr>
                                      <p:tavLst>
                                        <p:tav tm="0">
                                          <p:val>
                                            <p:strVal val="1+#ppt_h/2"/>
                                          </p:val>
                                        </p:tav>
                                        <p:tav tm="100000">
                                          <p:val>
                                            <p:strVal val="#ppt_y"/>
                                          </p:val>
                                        </p:tav>
                                      </p:tavLst>
                                    </p:anim>
                                  </p:childTnLst>
                                </p:cTn>
                              </p:par>
                              <p:par>
                                <p:cTn id="25" presetID="2" presetClass="entr" presetSubtype="4" accel="40000" decel="40000" fill="hold" grpId="0" nodeType="withEffect">
                                  <p:stCondLst>
                                    <p:cond delay="0"/>
                                  </p:stCondLst>
                                  <p:childTnLst>
                                    <p:set>
                                      <p:cBhvr>
                                        <p:cTn id="26" dur="1" fill="hold">
                                          <p:stCondLst>
                                            <p:cond delay="0"/>
                                          </p:stCondLst>
                                        </p:cTn>
                                        <p:tgtEl>
                                          <p:spTgt spid="8"/>
                                        </p:tgtEl>
                                        <p:attrNameLst>
                                          <p:attrName>style.visibility</p:attrName>
                                        </p:attrNameLst>
                                      </p:cBhvr>
                                      <p:to>
                                        <p:strVal val="visible"/>
                                      </p:to>
                                    </p:set>
                                    <p:anim calcmode="lin" valueType="num">
                                      <p:cBhvr additive="base">
                                        <p:cTn id="27" dur="1000" fill="hold"/>
                                        <p:tgtEl>
                                          <p:spTgt spid="8"/>
                                        </p:tgtEl>
                                        <p:attrNameLst>
                                          <p:attrName>ppt_x</p:attrName>
                                        </p:attrNameLst>
                                      </p:cBhvr>
                                      <p:tavLst>
                                        <p:tav tm="0">
                                          <p:val>
                                            <p:strVal val="#ppt_x"/>
                                          </p:val>
                                        </p:tav>
                                        <p:tav tm="100000">
                                          <p:val>
                                            <p:strVal val="#ppt_x"/>
                                          </p:val>
                                        </p:tav>
                                      </p:tavLst>
                                    </p:anim>
                                    <p:anim calcmode="lin" valueType="num">
                                      <p:cBhvr additive="base">
                                        <p:cTn id="28" dur="1000" fill="hold"/>
                                        <p:tgtEl>
                                          <p:spTgt spid="8"/>
                                        </p:tgtEl>
                                        <p:attrNameLst>
                                          <p:attrName>ppt_y</p:attrName>
                                        </p:attrNameLst>
                                      </p:cBhvr>
                                      <p:tavLst>
                                        <p:tav tm="0">
                                          <p:val>
                                            <p:strVal val="1+#ppt_h/2"/>
                                          </p:val>
                                        </p:tav>
                                        <p:tav tm="100000">
                                          <p:val>
                                            <p:strVal val="#ppt_y"/>
                                          </p:val>
                                        </p:tav>
                                      </p:tavLst>
                                    </p:anim>
                                  </p:childTnLst>
                                </p:cTn>
                              </p:par>
                              <p:par>
                                <p:cTn id="29" presetID="2" presetClass="entr" presetSubtype="4" accel="40000" decel="40000" fill="hold" grpId="0" nodeType="withEffect">
                                  <p:stCondLst>
                                    <p:cond delay="0"/>
                                  </p:stCondLst>
                                  <p:childTnLst>
                                    <p:set>
                                      <p:cBhvr>
                                        <p:cTn id="30" dur="1" fill="hold">
                                          <p:stCondLst>
                                            <p:cond delay="0"/>
                                          </p:stCondLst>
                                        </p:cTn>
                                        <p:tgtEl>
                                          <p:spTgt spid="9"/>
                                        </p:tgtEl>
                                        <p:attrNameLst>
                                          <p:attrName>style.visibility</p:attrName>
                                        </p:attrNameLst>
                                      </p:cBhvr>
                                      <p:to>
                                        <p:strVal val="visible"/>
                                      </p:to>
                                    </p:set>
                                    <p:anim calcmode="lin" valueType="num">
                                      <p:cBhvr additive="base">
                                        <p:cTn id="31" dur="1000" fill="hold"/>
                                        <p:tgtEl>
                                          <p:spTgt spid="9"/>
                                        </p:tgtEl>
                                        <p:attrNameLst>
                                          <p:attrName>ppt_x</p:attrName>
                                        </p:attrNameLst>
                                      </p:cBhvr>
                                      <p:tavLst>
                                        <p:tav tm="0">
                                          <p:val>
                                            <p:strVal val="#ppt_x"/>
                                          </p:val>
                                        </p:tav>
                                        <p:tav tm="100000">
                                          <p:val>
                                            <p:strVal val="#ppt_x"/>
                                          </p:val>
                                        </p:tav>
                                      </p:tavLst>
                                    </p:anim>
                                    <p:anim calcmode="lin" valueType="num">
                                      <p:cBhvr additive="base">
                                        <p:cTn id="32" dur="1000" fill="hold"/>
                                        <p:tgtEl>
                                          <p:spTgt spid="9"/>
                                        </p:tgtEl>
                                        <p:attrNameLst>
                                          <p:attrName>ppt_y</p:attrName>
                                        </p:attrNameLst>
                                      </p:cBhvr>
                                      <p:tavLst>
                                        <p:tav tm="0">
                                          <p:val>
                                            <p:strVal val="1+#ppt_h/2"/>
                                          </p:val>
                                        </p:tav>
                                        <p:tav tm="100000">
                                          <p:val>
                                            <p:strVal val="#ppt_y"/>
                                          </p:val>
                                        </p:tav>
                                      </p:tavLst>
                                    </p:anim>
                                  </p:childTnLst>
                                </p:cTn>
                              </p:par>
                              <p:par>
                                <p:cTn id="33" presetID="2" presetClass="entr" presetSubtype="4" accel="40000" decel="40000" fill="hold" grpId="0" nodeType="withEffect">
                                  <p:stCondLst>
                                    <p:cond delay="0"/>
                                  </p:stCondLst>
                                  <p:childTnLst>
                                    <p:set>
                                      <p:cBhvr>
                                        <p:cTn id="34" dur="1" fill="hold">
                                          <p:stCondLst>
                                            <p:cond delay="0"/>
                                          </p:stCondLst>
                                        </p:cTn>
                                        <p:tgtEl>
                                          <p:spTgt spid="10"/>
                                        </p:tgtEl>
                                        <p:attrNameLst>
                                          <p:attrName>style.visibility</p:attrName>
                                        </p:attrNameLst>
                                      </p:cBhvr>
                                      <p:to>
                                        <p:strVal val="visible"/>
                                      </p:to>
                                    </p:set>
                                    <p:anim calcmode="lin" valueType="num">
                                      <p:cBhvr additive="base">
                                        <p:cTn id="35" dur="1000" fill="hold"/>
                                        <p:tgtEl>
                                          <p:spTgt spid="10"/>
                                        </p:tgtEl>
                                        <p:attrNameLst>
                                          <p:attrName>ppt_x</p:attrName>
                                        </p:attrNameLst>
                                      </p:cBhvr>
                                      <p:tavLst>
                                        <p:tav tm="0">
                                          <p:val>
                                            <p:strVal val="#ppt_x"/>
                                          </p:val>
                                        </p:tav>
                                        <p:tav tm="100000">
                                          <p:val>
                                            <p:strVal val="#ppt_x"/>
                                          </p:val>
                                        </p:tav>
                                      </p:tavLst>
                                    </p:anim>
                                    <p:anim calcmode="lin" valueType="num">
                                      <p:cBhvr additive="base">
                                        <p:cTn id="36" dur="1000" fill="hold"/>
                                        <p:tgtEl>
                                          <p:spTgt spid="10"/>
                                        </p:tgtEl>
                                        <p:attrNameLst>
                                          <p:attrName>ppt_y</p:attrName>
                                        </p:attrNameLst>
                                      </p:cBhvr>
                                      <p:tavLst>
                                        <p:tav tm="0">
                                          <p:val>
                                            <p:strVal val="1+#ppt_h/2"/>
                                          </p:val>
                                        </p:tav>
                                        <p:tav tm="100000">
                                          <p:val>
                                            <p:strVal val="#ppt_y"/>
                                          </p:val>
                                        </p:tav>
                                      </p:tavLst>
                                    </p:anim>
                                  </p:childTnLst>
                                </p:cTn>
                              </p:par>
                              <p:par>
                                <p:cTn id="37" presetID="2" presetClass="entr" presetSubtype="4" accel="40000" decel="40000" fill="hold" grpId="0" nodeType="withEffect">
                                  <p:stCondLst>
                                    <p:cond delay="0"/>
                                  </p:stCondLst>
                                  <p:childTnLst>
                                    <p:set>
                                      <p:cBhvr>
                                        <p:cTn id="38" dur="1" fill="hold">
                                          <p:stCondLst>
                                            <p:cond delay="0"/>
                                          </p:stCondLst>
                                        </p:cTn>
                                        <p:tgtEl>
                                          <p:spTgt spid="11"/>
                                        </p:tgtEl>
                                        <p:attrNameLst>
                                          <p:attrName>style.visibility</p:attrName>
                                        </p:attrNameLst>
                                      </p:cBhvr>
                                      <p:to>
                                        <p:strVal val="visible"/>
                                      </p:to>
                                    </p:set>
                                    <p:anim calcmode="lin" valueType="num">
                                      <p:cBhvr additive="base">
                                        <p:cTn id="39" dur="1000" fill="hold"/>
                                        <p:tgtEl>
                                          <p:spTgt spid="11"/>
                                        </p:tgtEl>
                                        <p:attrNameLst>
                                          <p:attrName>ppt_x</p:attrName>
                                        </p:attrNameLst>
                                      </p:cBhvr>
                                      <p:tavLst>
                                        <p:tav tm="0">
                                          <p:val>
                                            <p:strVal val="#ppt_x"/>
                                          </p:val>
                                        </p:tav>
                                        <p:tav tm="100000">
                                          <p:val>
                                            <p:strVal val="#ppt_x"/>
                                          </p:val>
                                        </p:tav>
                                      </p:tavLst>
                                    </p:anim>
                                    <p:anim calcmode="lin" valueType="num">
                                      <p:cBhvr additive="base">
                                        <p:cTn id="40" dur="1000" fill="hold"/>
                                        <p:tgtEl>
                                          <p:spTgt spid="11"/>
                                        </p:tgtEl>
                                        <p:attrNameLst>
                                          <p:attrName>ppt_y</p:attrName>
                                        </p:attrNameLst>
                                      </p:cBhvr>
                                      <p:tavLst>
                                        <p:tav tm="0">
                                          <p:val>
                                            <p:strVal val="1+#ppt_h/2"/>
                                          </p:val>
                                        </p:tav>
                                        <p:tav tm="100000">
                                          <p:val>
                                            <p:strVal val="#ppt_y"/>
                                          </p:val>
                                        </p:tav>
                                      </p:tavLst>
                                    </p:anim>
                                  </p:childTnLst>
                                </p:cTn>
                              </p:par>
                              <p:par>
                                <p:cTn id="41" presetID="2" presetClass="entr" presetSubtype="4" accel="40000" decel="40000" fill="hold" grpId="0" nodeType="withEffect">
                                  <p:stCondLst>
                                    <p:cond delay="0"/>
                                  </p:stCondLst>
                                  <p:childTnLst>
                                    <p:set>
                                      <p:cBhvr>
                                        <p:cTn id="42" dur="1" fill="hold">
                                          <p:stCondLst>
                                            <p:cond delay="0"/>
                                          </p:stCondLst>
                                        </p:cTn>
                                        <p:tgtEl>
                                          <p:spTgt spid="12"/>
                                        </p:tgtEl>
                                        <p:attrNameLst>
                                          <p:attrName>style.visibility</p:attrName>
                                        </p:attrNameLst>
                                      </p:cBhvr>
                                      <p:to>
                                        <p:strVal val="visible"/>
                                      </p:to>
                                    </p:set>
                                    <p:anim calcmode="lin" valueType="num">
                                      <p:cBhvr additive="base">
                                        <p:cTn id="43" dur="1000" fill="hold"/>
                                        <p:tgtEl>
                                          <p:spTgt spid="12"/>
                                        </p:tgtEl>
                                        <p:attrNameLst>
                                          <p:attrName>ppt_x</p:attrName>
                                        </p:attrNameLst>
                                      </p:cBhvr>
                                      <p:tavLst>
                                        <p:tav tm="0">
                                          <p:val>
                                            <p:strVal val="#ppt_x"/>
                                          </p:val>
                                        </p:tav>
                                        <p:tav tm="100000">
                                          <p:val>
                                            <p:strVal val="#ppt_x"/>
                                          </p:val>
                                        </p:tav>
                                      </p:tavLst>
                                    </p:anim>
                                    <p:anim calcmode="lin" valueType="num">
                                      <p:cBhvr additive="base">
                                        <p:cTn id="44" dur="1000" fill="hold"/>
                                        <p:tgtEl>
                                          <p:spTgt spid="12"/>
                                        </p:tgtEl>
                                        <p:attrNameLst>
                                          <p:attrName>ppt_y</p:attrName>
                                        </p:attrNameLst>
                                      </p:cBhvr>
                                      <p:tavLst>
                                        <p:tav tm="0">
                                          <p:val>
                                            <p:strVal val="1+#ppt_h/2"/>
                                          </p:val>
                                        </p:tav>
                                        <p:tav tm="100000">
                                          <p:val>
                                            <p:strVal val="#ppt_y"/>
                                          </p:val>
                                        </p:tav>
                                      </p:tavLst>
                                    </p:anim>
                                  </p:childTnLst>
                                </p:cTn>
                              </p:par>
                              <p:par>
                                <p:cTn id="45" presetID="2" presetClass="entr" presetSubtype="4" accel="40000" decel="40000" fill="hold" grpId="0" nodeType="withEffect">
                                  <p:stCondLst>
                                    <p:cond delay="0"/>
                                  </p:stCondLst>
                                  <p:childTnLst>
                                    <p:set>
                                      <p:cBhvr>
                                        <p:cTn id="46" dur="1" fill="hold">
                                          <p:stCondLst>
                                            <p:cond delay="0"/>
                                          </p:stCondLst>
                                        </p:cTn>
                                        <p:tgtEl>
                                          <p:spTgt spid="13"/>
                                        </p:tgtEl>
                                        <p:attrNameLst>
                                          <p:attrName>style.visibility</p:attrName>
                                        </p:attrNameLst>
                                      </p:cBhvr>
                                      <p:to>
                                        <p:strVal val="visible"/>
                                      </p:to>
                                    </p:set>
                                    <p:anim calcmode="lin" valueType="num">
                                      <p:cBhvr additive="base">
                                        <p:cTn id="47" dur="1000" fill="hold"/>
                                        <p:tgtEl>
                                          <p:spTgt spid="13"/>
                                        </p:tgtEl>
                                        <p:attrNameLst>
                                          <p:attrName>ppt_x</p:attrName>
                                        </p:attrNameLst>
                                      </p:cBhvr>
                                      <p:tavLst>
                                        <p:tav tm="0">
                                          <p:val>
                                            <p:strVal val="#ppt_x"/>
                                          </p:val>
                                        </p:tav>
                                        <p:tav tm="100000">
                                          <p:val>
                                            <p:strVal val="#ppt_x"/>
                                          </p:val>
                                        </p:tav>
                                      </p:tavLst>
                                    </p:anim>
                                    <p:anim calcmode="lin" valueType="num">
                                      <p:cBhvr additive="base">
                                        <p:cTn id="48" dur="1000" fill="hold"/>
                                        <p:tgtEl>
                                          <p:spTgt spid="13"/>
                                        </p:tgtEl>
                                        <p:attrNameLst>
                                          <p:attrName>ppt_y</p:attrName>
                                        </p:attrNameLst>
                                      </p:cBhvr>
                                      <p:tavLst>
                                        <p:tav tm="0">
                                          <p:val>
                                            <p:strVal val="1+#ppt_h/2"/>
                                          </p:val>
                                        </p:tav>
                                        <p:tav tm="100000">
                                          <p:val>
                                            <p:strVal val="#ppt_y"/>
                                          </p:val>
                                        </p:tav>
                                      </p:tavLst>
                                    </p:anim>
                                  </p:childTnLst>
                                </p:cTn>
                              </p:par>
                              <p:par>
                                <p:cTn id="49" presetID="2" presetClass="entr" presetSubtype="4" accel="40000" decel="40000" fill="hold" nodeType="withEffect">
                                  <p:stCondLst>
                                    <p:cond delay="0"/>
                                  </p:stCondLst>
                                  <p:childTnLst>
                                    <p:set>
                                      <p:cBhvr>
                                        <p:cTn id="50" dur="1" fill="hold">
                                          <p:stCondLst>
                                            <p:cond delay="0"/>
                                          </p:stCondLst>
                                        </p:cTn>
                                        <p:tgtEl>
                                          <p:spTgt spid="14"/>
                                        </p:tgtEl>
                                        <p:attrNameLst>
                                          <p:attrName>style.visibility</p:attrName>
                                        </p:attrNameLst>
                                      </p:cBhvr>
                                      <p:to>
                                        <p:strVal val="visible"/>
                                      </p:to>
                                    </p:set>
                                    <p:anim calcmode="lin" valueType="num">
                                      <p:cBhvr additive="base">
                                        <p:cTn id="51" dur="1000" fill="hold"/>
                                        <p:tgtEl>
                                          <p:spTgt spid="14"/>
                                        </p:tgtEl>
                                        <p:attrNameLst>
                                          <p:attrName>ppt_x</p:attrName>
                                        </p:attrNameLst>
                                      </p:cBhvr>
                                      <p:tavLst>
                                        <p:tav tm="0">
                                          <p:val>
                                            <p:strVal val="#ppt_x"/>
                                          </p:val>
                                        </p:tav>
                                        <p:tav tm="100000">
                                          <p:val>
                                            <p:strVal val="#ppt_x"/>
                                          </p:val>
                                        </p:tav>
                                      </p:tavLst>
                                    </p:anim>
                                    <p:anim calcmode="lin" valueType="num">
                                      <p:cBhvr additive="base">
                                        <p:cTn id="52" dur="1000" fill="hold"/>
                                        <p:tgtEl>
                                          <p:spTgt spid="14"/>
                                        </p:tgtEl>
                                        <p:attrNameLst>
                                          <p:attrName>ppt_y</p:attrName>
                                        </p:attrNameLst>
                                      </p:cBhvr>
                                      <p:tavLst>
                                        <p:tav tm="0">
                                          <p:val>
                                            <p:strVal val="1+#ppt_h/2"/>
                                          </p:val>
                                        </p:tav>
                                        <p:tav tm="100000">
                                          <p:val>
                                            <p:strVal val="#ppt_y"/>
                                          </p:val>
                                        </p:tav>
                                      </p:tavLst>
                                    </p:anim>
                                  </p:childTnLst>
                                </p:cTn>
                              </p:par>
                              <p:par>
                                <p:cTn id="53" presetID="2" presetClass="entr" presetSubtype="4" accel="40000" decel="40000" fill="hold" nodeType="withEffect">
                                  <p:stCondLst>
                                    <p:cond delay="0"/>
                                  </p:stCondLst>
                                  <p:childTnLst>
                                    <p:set>
                                      <p:cBhvr>
                                        <p:cTn id="54" dur="1" fill="hold">
                                          <p:stCondLst>
                                            <p:cond delay="0"/>
                                          </p:stCondLst>
                                        </p:cTn>
                                        <p:tgtEl>
                                          <p:spTgt spid="15"/>
                                        </p:tgtEl>
                                        <p:attrNameLst>
                                          <p:attrName>style.visibility</p:attrName>
                                        </p:attrNameLst>
                                      </p:cBhvr>
                                      <p:to>
                                        <p:strVal val="visible"/>
                                      </p:to>
                                    </p:set>
                                    <p:anim calcmode="lin" valueType="num">
                                      <p:cBhvr additive="base">
                                        <p:cTn id="55" dur="1000" fill="hold"/>
                                        <p:tgtEl>
                                          <p:spTgt spid="15"/>
                                        </p:tgtEl>
                                        <p:attrNameLst>
                                          <p:attrName>ppt_x</p:attrName>
                                        </p:attrNameLst>
                                      </p:cBhvr>
                                      <p:tavLst>
                                        <p:tav tm="0">
                                          <p:val>
                                            <p:strVal val="#ppt_x"/>
                                          </p:val>
                                        </p:tav>
                                        <p:tav tm="100000">
                                          <p:val>
                                            <p:strVal val="#ppt_x"/>
                                          </p:val>
                                        </p:tav>
                                      </p:tavLst>
                                    </p:anim>
                                    <p:anim calcmode="lin" valueType="num">
                                      <p:cBhvr additive="base">
                                        <p:cTn id="56" dur="1000" fill="hold"/>
                                        <p:tgtEl>
                                          <p:spTgt spid="15"/>
                                        </p:tgtEl>
                                        <p:attrNameLst>
                                          <p:attrName>ppt_y</p:attrName>
                                        </p:attrNameLst>
                                      </p:cBhvr>
                                      <p:tavLst>
                                        <p:tav tm="0">
                                          <p:val>
                                            <p:strVal val="1+#ppt_h/2"/>
                                          </p:val>
                                        </p:tav>
                                        <p:tav tm="100000">
                                          <p:val>
                                            <p:strVal val="#ppt_y"/>
                                          </p:val>
                                        </p:tav>
                                      </p:tavLst>
                                    </p:anim>
                                  </p:childTnLst>
                                </p:cTn>
                              </p:par>
                              <p:par>
                                <p:cTn id="57" presetID="2" presetClass="entr" presetSubtype="4" accel="40000" decel="40000" fill="hold" grpId="0" nodeType="withEffect">
                                  <p:stCondLst>
                                    <p:cond delay="0"/>
                                  </p:stCondLst>
                                  <p:childTnLst>
                                    <p:set>
                                      <p:cBhvr>
                                        <p:cTn id="58" dur="1" fill="hold">
                                          <p:stCondLst>
                                            <p:cond delay="0"/>
                                          </p:stCondLst>
                                        </p:cTn>
                                        <p:tgtEl>
                                          <p:spTgt spid="16"/>
                                        </p:tgtEl>
                                        <p:attrNameLst>
                                          <p:attrName>style.visibility</p:attrName>
                                        </p:attrNameLst>
                                      </p:cBhvr>
                                      <p:to>
                                        <p:strVal val="visible"/>
                                      </p:to>
                                    </p:set>
                                    <p:anim calcmode="lin" valueType="num">
                                      <p:cBhvr additive="base">
                                        <p:cTn id="59" dur="1000" fill="hold"/>
                                        <p:tgtEl>
                                          <p:spTgt spid="16"/>
                                        </p:tgtEl>
                                        <p:attrNameLst>
                                          <p:attrName>ppt_x</p:attrName>
                                        </p:attrNameLst>
                                      </p:cBhvr>
                                      <p:tavLst>
                                        <p:tav tm="0">
                                          <p:val>
                                            <p:strVal val="#ppt_x"/>
                                          </p:val>
                                        </p:tav>
                                        <p:tav tm="100000">
                                          <p:val>
                                            <p:strVal val="#ppt_x"/>
                                          </p:val>
                                        </p:tav>
                                      </p:tavLst>
                                    </p:anim>
                                    <p:anim calcmode="lin" valueType="num">
                                      <p:cBhvr additive="base">
                                        <p:cTn id="60" dur="1000" fill="hold"/>
                                        <p:tgtEl>
                                          <p:spTgt spid="16"/>
                                        </p:tgtEl>
                                        <p:attrNameLst>
                                          <p:attrName>ppt_y</p:attrName>
                                        </p:attrNameLst>
                                      </p:cBhvr>
                                      <p:tavLst>
                                        <p:tav tm="0">
                                          <p:val>
                                            <p:strVal val="1+#ppt_h/2"/>
                                          </p:val>
                                        </p:tav>
                                        <p:tav tm="100000">
                                          <p:val>
                                            <p:strVal val="#ppt_y"/>
                                          </p:val>
                                        </p:tav>
                                      </p:tavLst>
                                    </p:anim>
                                  </p:childTnLst>
                                </p:cTn>
                              </p:par>
                              <p:par>
                                <p:cTn id="61" presetID="2" presetClass="entr" presetSubtype="4" accel="40000" decel="40000" fill="hold" grpId="0" nodeType="withEffect">
                                  <p:stCondLst>
                                    <p:cond delay="0"/>
                                  </p:stCondLst>
                                  <p:childTnLst>
                                    <p:set>
                                      <p:cBhvr>
                                        <p:cTn id="62" dur="1" fill="hold">
                                          <p:stCondLst>
                                            <p:cond delay="0"/>
                                          </p:stCondLst>
                                        </p:cTn>
                                        <p:tgtEl>
                                          <p:spTgt spid="17"/>
                                        </p:tgtEl>
                                        <p:attrNameLst>
                                          <p:attrName>style.visibility</p:attrName>
                                        </p:attrNameLst>
                                      </p:cBhvr>
                                      <p:to>
                                        <p:strVal val="visible"/>
                                      </p:to>
                                    </p:set>
                                    <p:anim calcmode="lin" valueType="num">
                                      <p:cBhvr additive="base">
                                        <p:cTn id="63" dur="1000" fill="hold"/>
                                        <p:tgtEl>
                                          <p:spTgt spid="17"/>
                                        </p:tgtEl>
                                        <p:attrNameLst>
                                          <p:attrName>ppt_x</p:attrName>
                                        </p:attrNameLst>
                                      </p:cBhvr>
                                      <p:tavLst>
                                        <p:tav tm="0">
                                          <p:val>
                                            <p:strVal val="#ppt_x"/>
                                          </p:val>
                                        </p:tav>
                                        <p:tav tm="100000">
                                          <p:val>
                                            <p:strVal val="#ppt_x"/>
                                          </p:val>
                                        </p:tav>
                                      </p:tavLst>
                                    </p:anim>
                                    <p:anim calcmode="lin" valueType="num">
                                      <p:cBhvr additive="base">
                                        <p:cTn id="64" dur="1000" fill="hold"/>
                                        <p:tgtEl>
                                          <p:spTgt spid="17"/>
                                        </p:tgtEl>
                                        <p:attrNameLst>
                                          <p:attrName>ppt_y</p:attrName>
                                        </p:attrNameLst>
                                      </p:cBhvr>
                                      <p:tavLst>
                                        <p:tav tm="0">
                                          <p:val>
                                            <p:strVal val="1+#ppt_h/2"/>
                                          </p:val>
                                        </p:tav>
                                        <p:tav tm="100000">
                                          <p:val>
                                            <p:strVal val="#ppt_y"/>
                                          </p:val>
                                        </p:tav>
                                      </p:tavLst>
                                    </p:anim>
                                  </p:childTnLst>
                                </p:cTn>
                              </p:par>
                              <p:par>
                                <p:cTn id="65" presetID="2" presetClass="entr" presetSubtype="4" accel="40000" decel="40000" fill="hold" grpId="0" nodeType="withEffect">
                                  <p:stCondLst>
                                    <p:cond delay="0"/>
                                  </p:stCondLst>
                                  <p:childTnLst>
                                    <p:set>
                                      <p:cBhvr>
                                        <p:cTn id="66" dur="1" fill="hold">
                                          <p:stCondLst>
                                            <p:cond delay="0"/>
                                          </p:stCondLst>
                                        </p:cTn>
                                        <p:tgtEl>
                                          <p:spTgt spid="18"/>
                                        </p:tgtEl>
                                        <p:attrNameLst>
                                          <p:attrName>style.visibility</p:attrName>
                                        </p:attrNameLst>
                                      </p:cBhvr>
                                      <p:to>
                                        <p:strVal val="visible"/>
                                      </p:to>
                                    </p:set>
                                    <p:anim calcmode="lin" valueType="num">
                                      <p:cBhvr additive="base">
                                        <p:cTn id="67" dur="1000" fill="hold"/>
                                        <p:tgtEl>
                                          <p:spTgt spid="18"/>
                                        </p:tgtEl>
                                        <p:attrNameLst>
                                          <p:attrName>ppt_x</p:attrName>
                                        </p:attrNameLst>
                                      </p:cBhvr>
                                      <p:tavLst>
                                        <p:tav tm="0">
                                          <p:val>
                                            <p:strVal val="#ppt_x"/>
                                          </p:val>
                                        </p:tav>
                                        <p:tav tm="100000">
                                          <p:val>
                                            <p:strVal val="#ppt_x"/>
                                          </p:val>
                                        </p:tav>
                                      </p:tavLst>
                                    </p:anim>
                                    <p:anim calcmode="lin" valueType="num">
                                      <p:cBhvr additive="base">
                                        <p:cTn id="68" dur="1000" fill="hold"/>
                                        <p:tgtEl>
                                          <p:spTgt spid="18"/>
                                        </p:tgtEl>
                                        <p:attrNameLst>
                                          <p:attrName>ppt_y</p:attrName>
                                        </p:attrNameLst>
                                      </p:cBhvr>
                                      <p:tavLst>
                                        <p:tav tm="0">
                                          <p:val>
                                            <p:strVal val="1+#ppt_h/2"/>
                                          </p:val>
                                        </p:tav>
                                        <p:tav tm="100000">
                                          <p:val>
                                            <p:strVal val="#ppt_y"/>
                                          </p:val>
                                        </p:tav>
                                      </p:tavLst>
                                    </p:anim>
                                  </p:childTnLst>
                                </p:cTn>
                              </p:par>
                              <p:par>
                                <p:cTn id="69" presetID="2" presetClass="entr" presetSubtype="4" accel="40000" decel="40000" fill="hold" grpId="0" nodeType="withEffect">
                                  <p:stCondLst>
                                    <p:cond delay="0"/>
                                  </p:stCondLst>
                                  <p:childTnLst>
                                    <p:set>
                                      <p:cBhvr>
                                        <p:cTn id="70" dur="1" fill="hold">
                                          <p:stCondLst>
                                            <p:cond delay="0"/>
                                          </p:stCondLst>
                                        </p:cTn>
                                        <p:tgtEl>
                                          <p:spTgt spid="19"/>
                                        </p:tgtEl>
                                        <p:attrNameLst>
                                          <p:attrName>style.visibility</p:attrName>
                                        </p:attrNameLst>
                                      </p:cBhvr>
                                      <p:to>
                                        <p:strVal val="visible"/>
                                      </p:to>
                                    </p:set>
                                    <p:anim calcmode="lin" valueType="num">
                                      <p:cBhvr additive="base">
                                        <p:cTn id="71" dur="1000" fill="hold"/>
                                        <p:tgtEl>
                                          <p:spTgt spid="19"/>
                                        </p:tgtEl>
                                        <p:attrNameLst>
                                          <p:attrName>ppt_x</p:attrName>
                                        </p:attrNameLst>
                                      </p:cBhvr>
                                      <p:tavLst>
                                        <p:tav tm="0">
                                          <p:val>
                                            <p:strVal val="#ppt_x"/>
                                          </p:val>
                                        </p:tav>
                                        <p:tav tm="100000">
                                          <p:val>
                                            <p:strVal val="#ppt_x"/>
                                          </p:val>
                                        </p:tav>
                                      </p:tavLst>
                                    </p:anim>
                                    <p:anim calcmode="lin" valueType="num">
                                      <p:cBhvr additive="base">
                                        <p:cTn id="72" dur="1000" fill="hold"/>
                                        <p:tgtEl>
                                          <p:spTgt spid="19"/>
                                        </p:tgtEl>
                                        <p:attrNameLst>
                                          <p:attrName>ppt_y</p:attrName>
                                        </p:attrNameLst>
                                      </p:cBhvr>
                                      <p:tavLst>
                                        <p:tav tm="0">
                                          <p:val>
                                            <p:strVal val="1+#ppt_h/2"/>
                                          </p:val>
                                        </p:tav>
                                        <p:tav tm="100000">
                                          <p:val>
                                            <p:strVal val="#ppt_y"/>
                                          </p:val>
                                        </p:tav>
                                      </p:tavLst>
                                    </p:anim>
                                  </p:childTnLst>
                                </p:cTn>
                              </p:par>
                              <p:par>
                                <p:cTn id="73" presetID="2" presetClass="entr" presetSubtype="4" accel="40000" decel="40000" fill="hold" grpId="0" nodeType="withEffect">
                                  <p:stCondLst>
                                    <p:cond delay="0"/>
                                  </p:stCondLst>
                                  <p:childTnLst>
                                    <p:set>
                                      <p:cBhvr>
                                        <p:cTn id="74" dur="1" fill="hold">
                                          <p:stCondLst>
                                            <p:cond delay="0"/>
                                          </p:stCondLst>
                                        </p:cTn>
                                        <p:tgtEl>
                                          <p:spTgt spid="20"/>
                                        </p:tgtEl>
                                        <p:attrNameLst>
                                          <p:attrName>style.visibility</p:attrName>
                                        </p:attrNameLst>
                                      </p:cBhvr>
                                      <p:to>
                                        <p:strVal val="visible"/>
                                      </p:to>
                                    </p:set>
                                    <p:anim calcmode="lin" valueType="num">
                                      <p:cBhvr additive="base">
                                        <p:cTn id="75" dur="1000" fill="hold"/>
                                        <p:tgtEl>
                                          <p:spTgt spid="20"/>
                                        </p:tgtEl>
                                        <p:attrNameLst>
                                          <p:attrName>ppt_x</p:attrName>
                                        </p:attrNameLst>
                                      </p:cBhvr>
                                      <p:tavLst>
                                        <p:tav tm="0">
                                          <p:val>
                                            <p:strVal val="#ppt_x"/>
                                          </p:val>
                                        </p:tav>
                                        <p:tav tm="100000">
                                          <p:val>
                                            <p:strVal val="#ppt_x"/>
                                          </p:val>
                                        </p:tav>
                                      </p:tavLst>
                                    </p:anim>
                                    <p:anim calcmode="lin" valueType="num">
                                      <p:cBhvr additive="base">
                                        <p:cTn id="76" dur="1000" fill="hold"/>
                                        <p:tgtEl>
                                          <p:spTgt spid="20"/>
                                        </p:tgtEl>
                                        <p:attrNameLst>
                                          <p:attrName>ppt_y</p:attrName>
                                        </p:attrNameLst>
                                      </p:cBhvr>
                                      <p:tavLst>
                                        <p:tav tm="0">
                                          <p:val>
                                            <p:strVal val="1+#ppt_h/2"/>
                                          </p:val>
                                        </p:tav>
                                        <p:tav tm="100000">
                                          <p:val>
                                            <p:strVal val="#ppt_y"/>
                                          </p:val>
                                        </p:tav>
                                      </p:tavLst>
                                    </p:anim>
                                  </p:childTnLst>
                                </p:cTn>
                              </p:par>
                              <p:par>
                                <p:cTn id="77" presetID="2" presetClass="entr" presetSubtype="4" accel="40000" decel="40000" fill="hold" nodeType="withEffect">
                                  <p:stCondLst>
                                    <p:cond delay="0"/>
                                  </p:stCondLst>
                                  <p:childTnLst>
                                    <p:set>
                                      <p:cBhvr>
                                        <p:cTn id="78" dur="1" fill="hold">
                                          <p:stCondLst>
                                            <p:cond delay="0"/>
                                          </p:stCondLst>
                                        </p:cTn>
                                        <p:tgtEl>
                                          <p:spTgt spid="21"/>
                                        </p:tgtEl>
                                        <p:attrNameLst>
                                          <p:attrName>style.visibility</p:attrName>
                                        </p:attrNameLst>
                                      </p:cBhvr>
                                      <p:to>
                                        <p:strVal val="visible"/>
                                      </p:to>
                                    </p:set>
                                    <p:anim calcmode="lin" valueType="num">
                                      <p:cBhvr additive="base">
                                        <p:cTn id="79" dur="1000" fill="hold"/>
                                        <p:tgtEl>
                                          <p:spTgt spid="21"/>
                                        </p:tgtEl>
                                        <p:attrNameLst>
                                          <p:attrName>ppt_x</p:attrName>
                                        </p:attrNameLst>
                                      </p:cBhvr>
                                      <p:tavLst>
                                        <p:tav tm="0">
                                          <p:val>
                                            <p:strVal val="#ppt_x"/>
                                          </p:val>
                                        </p:tav>
                                        <p:tav tm="100000">
                                          <p:val>
                                            <p:strVal val="#ppt_x"/>
                                          </p:val>
                                        </p:tav>
                                      </p:tavLst>
                                    </p:anim>
                                    <p:anim calcmode="lin" valueType="num">
                                      <p:cBhvr additive="base">
                                        <p:cTn id="80" dur="1000" fill="hold"/>
                                        <p:tgtEl>
                                          <p:spTgt spid="21"/>
                                        </p:tgtEl>
                                        <p:attrNameLst>
                                          <p:attrName>ppt_y</p:attrName>
                                        </p:attrNameLst>
                                      </p:cBhvr>
                                      <p:tavLst>
                                        <p:tav tm="0">
                                          <p:val>
                                            <p:strVal val="1+#ppt_h/2"/>
                                          </p:val>
                                        </p:tav>
                                        <p:tav tm="100000">
                                          <p:val>
                                            <p:strVal val="#ppt_y"/>
                                          </p:val>
                                        </p:tav>
                                      </p:tavLst>
                                    </p:anim>
                                  </p:childTnLst>
                                </p:cTn>
                              </p:par>
                              <p:par>
                                <p:cTn id="81" presetID="2" presetClass="entr" presetSubtype="4" accel="40000" decel="40000" fill="hold" grpId="0" nodeType="withEffect">
                                  <p:stCondLst>
                                    <p:cond delay="0"/>
                                  </p:stCondLst>
                                  <p:childTnLst>
                                    <p:set>
                                      <p:cBhvr>
                                        <p:cTn id="82" dur="1" fill="hold">
                                          <p:stCondLst>
                                            <p:cond delay="0"/>
                                          </p:stCondLst>
                                        </p:cTn>
                                        <p:tgtEl>
                                          <p:spTgt spid="22"/>
                                        </p:tgtEl>
                                        <p:attrNameLst>
                                          <p:attrName>style.visibility</p:attrName>
                                        </p:attrNameLst>
                                      </p:cBhvr>
                                      <p:to>
                                        <p:strVal val="visible"/>
                                      </p:to>
                                    </p:set>
                                    <p:anim calcmode="lin" valueType="num">
                                      <p:cBhvr additive="base">
                                        <p:cTn id="83" dur="1000" fill="hold"/>
                                        <p:tgtEl>
                                          <p:spTgt spid="22"/>
                                        </p:tgtEl>
                                        <p:attrNameLst>
                                          <p:attrName>ppt_x</p:attrName>
                                        </p:attrNameLst>
                                      </p:cBhvr>
                                      <p:tavLst>
                                        <p:tav tm="0">
                                          <p:val>
                                            <p:strVal val="#ppt_x"/>
                                          </p:val>
                                        </p:tav>
                                        <p:tav tm="100000">
                                          <p:val>
                                            <p:strVal val="#ppt_x"/>
                                          </p:val>
                                        </p:tav>
                                      </p:tavLst>
                                    </p:anim>
                                    <p:anim calcmode="lin" valueType="num">
                                      <p:cBhvr additive="base">
                                        <p:cTn id="84" dur="1000" fill="hold"/>
                                        <p:tgtEl>
                                          <p:spTgt spid="22"/>
                                        </p:tgtEl>
                                        <p:attrNameLst>
                                          <p:attrName>ppt_y</p:attrName>
                                        </p:attrNameLst>
                                      </p:cBhvr>
                                      <p:tavLst>
                                        <p:tav tm="0">
                                          <p:val>
                                            <p:strVal val="1+#ppt_h/2"/>
                                          </p:val>
                                        </p:tav>
                                        <p:tav tm="100000">
                                          <p:val>
                                            <p:strVal val="#ppt_y"/>
                                          </p:val>
                                        </p:tav>
                                      </p:tavLst>
                                    </p:anim>
                                  </p:childTnLst>
                                </p:cTn>
                              </p:par>
                              <p:par>
                                <p:cTn id="85" presetID="2" presetClass="entr" presetSubtype="4" accel="40000" decel="40000" fill="hold" grpId="0" nodeType="withEffect">
                                  <p:stCondLst>
                                    <p:cond delay="0"/>
                                  </p:stCondLst>
                                  <p:childTnLst>
                                    <p:set>
                                      <p:cBhvr>
                                        <p:cTn id="86" dur="1" fill="hold">
                                          <p:stCondLst>
                                            <p:cond delay="0"/>
                                          </p:stCondLst>
                                        </p:cTn>
                                        <p:tgtEl>
                                          <p:spTgt spid="23"/>
                                        </p:tgtEl>
                                        <p:attrNameLst>
                                          <p:attrName>style.visibility</p:attrName>
                                        </p:attrNameLst>
                                      </p:cBhvr>
                                      <p:to>
                                        <p:strVal val="visible"/>
                                      </p:to>
                                    </p:set>
                                    <p:anim calcmode="lin" valueType="num">
                                      <p:cBhvr additive="base">
                                        <p:cTn id="87" dur="1000" fill="hold"/>
                                        <p:tgtEl>
                                          <p:spTgt spid="23"/>
                                        </p:tgtEl>
                                        <p:attrNameLst>
                                          <p:attrName>ppt_x</p:attrName>
                                        </p:attrNameLst>
                                      </p:cBhvr>
                                      <p:tavLst>
                                        <p:tav tm="0">
                                          <p:val>
                                            <p:strVal val="#ppt_x"/>
                                          </p:val>
                                        </p:tav>
                                        <p:tav tm="100000">
                                          <p:val>
                                            <p:strVal val="#ppt_x"/>
                                          </p:val>
                                        </p:tav>
                                      </p:tavLst>
                                    </p:anim>
                                    <p:anim calcmode="lin" valueType="num">
                                      <p:cBhvr additive="base">
                                        <p:cTn id="88" dur="1000" fill="hold"/>
                                        <p:tgtEl>
                                          <p:spTgt spid="23"/>
                                        </p:tgtEl>
                                        <p:attrNameLst>
                                          <p:attrName>ppt_y</p:attrName>
                                        </p:attrNameLst>
                                      </p:cBhvr>
                                      <p:tavLst>
                                        <p:tav tm="0">
                                          <p:val>
                                            <p:strVal val="1+#ppt_h/2"/>
                                          </p:val>
                                        </p:tav>
                                        <p:tav tm="100000">
                                          <p:val>
                                            <p:strVal val="#ppt_y"/>
                                          </p:val>
                                        </p:tav>
                                      </p:tavLst>
                                    </p:anim>
                                  </p:childTnLst>
                                </p:cTn>
                              </p:par>
                              <p:par>
                                <p:cTn id="89" presetID="2" presetClass="entr" presetSubtype="4" accel="40000" decel="40000" fill="hold" grpId="0" nodeType="withEffect">
                                  <p:stCondLst>
                                    <p:cond delay="0"/>
                                  </p:stCondLst>
                                  <p:childTnLst>
                                    <p:set>
                                      <p:cBhvr>
                                        <p:cTn id="90" dur="1" fill="hold">
                                          <p:stCondLst>
                                            <p:cond delay="0"/>
                                          </p:stCondLst>
                                        </p:cTn>
                                        <p:tgtEl>
                                          <p:spTgt spid="24"/>
                                        </p:tgtEl>
                                        <p:attrNameLst>
                                          <p:attrName>style.visibility</p:attrName>
                                        </p:attrNameLst>
                                      </p:cBhvr>
                                      <p:to>
                                        <p:strVal val="visible"/>
                                      </p:to>
                                    </p:set>
                                    <p:anim calcmode="lin" valueType="num">
                                      <p:cBhvr additive="base">
                                        <p:cTn id="91" dur="1000" fill="hold"/>
                                        <p:tgtEl>
                                          <p:spTgt spid="24"/>
                                        </p:tgtEl>
                                        <p:attrNameLst>
                                          <p:attrName>ppt_x</p:attrName>
                                        </p:attrNameLst>
                                      </p:cBhvr>
                                      <p:tavLst>
                                        <p:tav tm="0">
                                          <p:val>
                                            <p:strVal val="#ppt_x"/>
                                          </p:val>
                                        </p:tav>
                                        <p:tav tm="100000">
                                          <p:val>
                                            <p:strVal val="#ppt_x"/>
                                          </p:val>
                                        </p:tav>
                                      </p:tavLst>
                                    </p:anim>
                                    <p:anim calcmode="lin" valueType="num">
                                      <p:cBhvr additive="base">
                                        <p:cTn id="92" dur="1000" fill="hold"/>
                                        <p:tgtEl>
                                          <p:spTgt spid="24"/>
                                        </p:tgtEl>
                                        <p:attrNameLst>
                                          <p:attrName>ppt_y</p:attrName>
                                        </p:attrNameLst>
                                      </p:cBhvr>
                                      <p:tavLst>
                                        <p:tav tm="0">
                                          <p:val>
                                            <p:strVal val="1+#ppt_h/2"/>
                                          </p:val>
                                        </p:tav>
                                        <p:tav tm="100000">
                                          <p:val>
                                            <p:strVal val="#ppt_y"/>
                                          </p:val>
                                        </p:tav>
                                      </p:tavLst>
                                    </p:anim>
                                  </p:childTnLst>
                                </p:cTn>
                              </p:par>
                              <p:par>
                                <p:cTn id="93" presetID="2" presetClass="entr" presetSubtype="4" accel="40000" decel="40000" fill="hold" grpId="0" nodeType="withEffect">
                                  <p:stCondLst>
                                    <p:cond delay="0"/>
                                  </p:stCondLst>
                                  <p:childTnLst>
                                    <p:set>
                                      <p:cBhvr>
                                        <p:cTn id="94" dur="1" fill="hold">
                                          <p:stCondLst>
                                            <p:cond delay="0"/>
                                          </p:stCondLst>
                                        </p:cTn>
                                        <p:tgtEl>
                                          <p:spTgt spid="25"/>
                                        </p:tgtEl>
                                        <p:attrNameLst>
                                          <p:attrName>style.visibility</p:attrName>
                                        </p:attrNameLst>
                                      </p:cBhvr>
                                      <p:to>
                                        <p:strVal val="visible"/>
                                      </p:to>
                                    </p:set>
                                    <p:anim calcmode="lin" valueType="num">
                                      <p:cBhvr additive="base">
                                        <p:cTn id="95" dur="1000" fill="hold"/>
                                        <p:tgtEl>
                                          <p:spTgt spid="25"/>
                                        </p:tgtEl>
                                        <p:attrNameLst>
                                          <p:attrName>ppt_x</p:attrName>
                                        </p:attrNameLst>
                                      </p:cBhvr>
                                      <p:tavLst>
                                        <p:tav tm="0">
                                          <p:val>
                                            <p:strVal val="#ppt_x"/>
                                          </p:val>
                                        </p:tav>
                                        <p:tav tm="100000">
                                          <p:val>
                                            <p:strVal val="#ppt_x"/>
                                          </p:val>
                                        </p:tav>
                                      </p:tavLst>
                                    </p:anim>
                                    <p:anim calcmode="lin" valueType="num">
                                      <p:cBhvr additive="base">
                                        <p:cTn id="96" dur="1000" fill="hold"/>
                                        <p:tgtEl>
                                          <p:spTgt spid="25"/>
                                        </p:tgtEl>
                                        <p:attrNameLst>
                                          <p:attrName>ppt_y</p:attrName>
                                        </p:attrNameLst>
                                      </p:cBhvr>
                                      <p:tavLst>
                                        <p:tav tm="0">
                                          <p:val>
                                            <p:strVal val="1+#ppt_h/2"/>
                                          </p:val>
                                        </p:tav>
                                        <p:tav tm="100000">
                                          <p:val>
                                            <p:strVal val="#ppt_y"/>
                                          </p:val>
                                        </p:tav>
                                      </p:tavLst>
                                    </p:anim>
                                  </p:childTnLst>
                                </p:cTn>
                              </p:par>
                              <p:par>
                                <p:cTn id="97" presetID="2" presetClass="entr" presetSubtype="4" accel="40000" decel="40000" fill="hold" nodeType="withEffect">
                                  <p:stCondLst>
                                    <p:cond delay="0"/>
                                  </p:stCondLst>
                                  <p:childTnLst>
                                    <p:set>
                                      <p:cBhvr>
                                        <p:cTn id="98" dur="1" fill="hold">
                                          <p:stCondLst>
                                            <p:cond delay="0"/>
                                          </p:stCondLst>
                                        </p:cTn>
                                        <p:tgtEl>
                                          <p:spTgt spid="26"/>
                                        </p:tgtEl>
                                        <p:attrNameLst>
                                          <p:attrName>style.visibility</p:attrName>
                                        </p:attrNameLst>
                                      </p:cBhvr>
                                      <p:to>
                                        <p:strVal val="visible"/>
                                      </p:to>
                                    </p:set>
                                    <p:anim calcmode="lin" valueType="num">
                                      <p:cBhvr additive="base">
                                        <p:cTn id="99" dur="1000" fill="hold"/>
                                        <p:tgtEl>
                                          <p:spTgt spid="26"/>
                                        </p:tgtEl>
                                        <p:attrNameLst>
                                          <p:attrName>ppt_x</p:attrName>
                                        </p:attrNameLst>
                                      </p:cBhvr>
                                      <p:tavLst>
                                        <p:tav tm="0">
                                          <p:val>
                                            <p:strVal val="#ppt_x"/>
                                          </p:val>
                                        </p:tav>
                                        <p:tav tm="100000">
                                          <p:val>
                                            <p:strVal val="#ppt_x"/>
                                          </p:val>
                                        </p:tav>
                                      </p:tavLst>
                                    </p:anim>
                                    <p:anim calcmode="lin" valueType="num">
                                      <p:cBhvr additive="base">
                                        <p:cTn id="100" dur="1000" fill="hold"/>
                                        <p:tgtEl>
                                          <p:spTgt spid="26"/>
                                        </p:tgtEl>
                                        <p:attrNameLst>
                                          <p:attrName>ppt_y</p:attrName>
                                        </p:attrNameLst>
                                      </p:cBhvr>
                                      <p:tavLst>
                                        <p:tav tm="0">
                                          <p:val>
                                            <p:strVal val="1+#ppt_h/2"/>
                                          </p:val>
                                        </p:tav>
                                        <p:tav tm="100000">
                                          <p:val>
                                            <p:strVal val="#ppt_y"/>
                                          </p:val>
                                        </p:tav>
                                      </p:tavLst>
                                    </p:anim>
                                  </p:childTnLst>
                                </p:cTn>
                              </p:par>
                              <p:par>
                                <p:cTn id="101" presetID="2" presetClass="entr" presetSubtype="4" accel="40000" decel="40000" fill="hold" grpId="0" nodeType="withEffect">
                                  <p:stCondLst>
                                    <p:cond delay="0"/>
                                  </p:stCondLst>
                                  <p:childTnLst>
                                    <p:set>
                                      <p:cBhvr>
                                        <p:cTn id="102" dur="1" fill="hold">
                                          <p:stCondLst>
                                            <p:cond delay="0"/>
                                          </p:stCondLst>
                                        </p:cTn>
                                        <p:tgtEl>
                                          <p:spTgt spid="27"/>
                                        </p:tgtEl>
                                        <p:attrNameLst>
                                          <p:attrName>style.visibility</p:attrName>
                                        </p:attrNameLst>
                                      </p:cBhvr>
                                      <p:to>
                                        <p:strVal val="visible"/>
                                      </p:to>
                                    </p:set>
                                    <p:anim calcmode="lin" valueType="num">
                                      <p:cBhvr additive="base">
                                        <p:cTn id="103" dur="1000" fill="hold"/>
                                        <p:tgtEl>
                                          <p:spTgt spid="27"/>
                                        </p:tgtEl>
                                        <p:attrNameLst>
                                          <p:attrName>ppt_x</p:attrName>
                                        </p:attrNameLst>
                                      </p:cBhvr>
                                      <p:tavLst>
                                        <p:tav tm="0">
                                          <p:val>
                                            <p:strVal val="#ppt_x"/>
                                          </p:val>
                                        </p:tav>
                                        <p:tav tm="100000">
                                          <p:val>
                                            <p:strVal val="#ppt_x"/>
                                          </p:val>
                                        </p:tav>
                                      </p:tavLst>
                                    </p:anim>
                                    <p:anim calcmode="lin" valueType="num">
                                      <p:cBhvr additive="base">
                                        <p:cTn id="104" dur="1000" fill="hold"/>
                                        <p:tgtEl>
                                          <p:spTgt spid="27"/>
                                        </p:tgtEl>
                                        <p:attrNameLst>
                                          <p:attrName>ppt_y</p:attrName>
                                        </p:attrNameLst>
                                      </p:cBhvr>
                                      <p:tavLst>
                                        <p:tav tm="0">
                                          <p:val>
                                            <p:strVal val="1+#ppt_h/2"/>
                                          </p:val>
                                        </p:tav>
                                        <p:tav tm="100000">
                                          <p:val>
                                            <p:strVal val="#ppt_y"/>
                                          </p:val>
                                        </p:tav>
                                      </p:tavLst>
                                    </p:anim>
                                  </p:childTnLst>
                                </p:cTn>
                              </p:par>
                              <p:par>
                                <p:cTn id="105" presetID="2" presetClass="entr" presetSubtype="4" accel="40000" decel="40000" fill="hold" nodeType="withEffect">
                                  <p:stCondLst>
                                    <p:cond delay="0"/>
                                  </p:stCondLst>
                                  <p:childTnLst>
                                    <p:set>
                                      <p:cBhvr>
                                        <p:cTn id="106" dur="1" fill="hold">
                                          <p:stCondLst>
                                            <p:cond delay="0"/>
                                          </p:stCondLst>
                                        </p:cTn>
                                        <p:tgtEl>
                                          <p:spTgt spid="28"/>
                                        </p:tgtEl>
                                        <p:attrNameLst>
                                          <p:attrName>style.visibility</p:attrName>
                                        </p:attrNameLst>
                                      </p:cBhvr>
                                      <p:to>
                                        <p:strVal val="visible"/>
                                      </p:to>
                                    </p:set>
                                    <p:anim calcmode="lin" valueType="num">
                                      <p:cBhvr additive="base">
                                        <p:cTn id="107" dur="1000" fill="hold"/>
                                        <p:tgtEl>
                                          <p:spTgt spid="28"/>
                                        </p:tgtEl>
                                        <p:attrNameLst>
                                          <p:attrName>ppt_x</p:attrName>
                                        </p:attrNameLst>
                                      </p:cBhvr>
                                      <p:tavLst>
                                        <p:tav tm="0">
                                          <p:val>
                                            <p:strVal val="#ppt_x"/>
                                          </p:val>
                                        </p:tav>
                                        <p:tav tm="100000">
                                          <p:val>
                                            <p:strVal val="#ppt_x"/>
                                          </p:val>
                                        </p:tav>
                                      </p:tavLst>
                                    </p:anim>
                                    <p:anim calcmode="lin" valueType="num">
                                      <p:cBhvr additive="base">
                                        <p:cTn id="108" dur="1000" fill="hold"/>
                                        <p:tgtEl>
                                          <p:spTgt spid="28"/>
                                        </p:tgtEl>
                                        <p:attrNameLst>
                                          <p:attrName>ppt_y</p:attrName>
                                        </p:attrNameLst>
                                      </p:cBhvr>
                                      <p:tavLst>
                                        <p:tav tm="0">
                                          <p:val>
                                            <p:strVal val="1+#ppt_h/2"/>
                                          </p:val>
                                        </p:tav>
                                        <p:tav tm="100000">
                                          <p:val>
                                            <p:strVal val="#ppt_y"/>
                                          </p:val>
                                        </p:tav>
                                      </p:tavLst>
                                    </p:anim>
                                  </p:childTnLst>
                                </p:cTn>
                              </p:par>
                              <p:par>
                                <p:cTn id="109" presetID="2" presetClass="entr" presetSubtype="4" accel="40000" decel="40000" fill="hold" grpId="0" nodeType="withEffect">
                                  <p:stCondLst>
                                    <p:cond delay="0"/>
                                  </p:stCondLst>
                                  <p:childTnLst>
                                    <p:set>
                                      <p:cBhvr>
                                        <p:cTn id="110" dur="1" fill="hold">
                                          <p:stCondLst>
                                            <p:cond delay="0"/>
                                          </p:stCondLst>
                                        </p:cTn>
                                        <p:tgtEl>
                                          <p:spTgt spid="32"/>
                                        </p:tgtEl>
                                        <p:attrNameLst>
                                          <p:attrName>style.visibility</p:attrName>
                                        </p:attrNameLst>
                                      </p:cBhvr>
                                      <p:to>
                                        <p:strVal val="visible"/>
                                      </p:to>
                                    </p:set>
                                    <p:anim calcmode="lin" valueType="num">
                                      <p:cBhvr additive="base">
                                        <p:cTn id="111" dur="1000" fill="hold"/>
                                        <p:tgtEl>
                                          <p:spTgt spid="32"/>
                                        </p:tgtEl>
                                        <p:attrNameLst>
                                          <p:attrName>ppt_x</p:attrName>
                                        </p:attrNameLst>
                                      </p:cBhvr>
                                      <p:tavLst>
                                        <p:tav tm="0">
                                          <p:val>
                                            <p:strVal val="#ppt_x"/>
                                          </p:val>
                                        </p:tav>
                                        <p:tav tm="100000">
                                          <p:val>
                                            <p:strVal val="#ppt_x"/>
                                          </p:val>
                                        </p:tav>
                                      </p:tavLst>
                                    </p:anim>
                                    <p:anim calcmode="lin" valueType="num">
                                      <p:cBhvr additive="base">
                                        <p:cTn id="112" dur="1000" fill="hold"/>
                                        <p:tgtEl>
                                          <p:spTgt spid="3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3" grpId="0" animBg="1"/>
      <p:bldP spid="4" grpId="0" animBg="1"/>
      <p:bldP spid="5" grpId="0" animBg="1"/>
      <p:bldP spid="6" grpId="0" animBg="1"/>
      <p:bldP spid="8" grpId="0" animBg="1"/>
      <p:bldP spid="9" grpId="0" animBg="1"/>
      <p:bldP spid="10" grpId="0"/>
      <p:bldP spid="11" grpId="0"/>
      <p:bldP spid="12" grpId="0"/>
      <p:bldP spid="13" grpId="0"/>
      <p:bldP spid="16" grpId="0" animBg="1"/>
      <p:bldP spid="17" grpId="0" animBg="1"/>
      <p:bldP spid="18" grpId="0" animBg="1"/>
      <p:bldP spid="19" grpId="0"/>
      <p:bldP spid="20" grpId="0"/>
      <p:bldP spid="22" grpId="0" animBg="1"/>
      <p:bldP spid="23" grpId="0" animBg="1"/>
      <p:bldP spid="24" grpId="0"/>
      <p:bldP spid="25" grpId="0"/>
      <p:bldP spid="27" grpId="0" animBg="1"/>
      <p:bldP spid="32" grpId="0" animBg="1"/>
    </p:bldLst>
  </p:timing>
</p:sld>
</file>

<file path=ppt/slides/slide5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EE6BB8-C220-4A10-8AC8-0528FB4EF1D8}"/>
              </a:ext>
            </a:extLst>
          </p:cNvPr>
          <p:cNvSpPr txBox="1">
            <a:spLocks/>
          </p:cNvSpPr>
          <p:nvPr/>
        </p:nvSpPr>
        <p:spPr>
          <a:xfrm>
            <a:off x="2043113" y="304800"/>
            <a:ext cx="8105775" cy="1105808"/>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ID" sz="4400" b="0" i="0" u="none" strike="noStrike" kern="1200" cap="none" spc="0" normalizeH="0" baseline="0" noProof="0">
                <a:ln>
                  <a:noFill/>
                </a:ln>
                <a:solidFill>
                  <a:srgbClr val="000000"/>
                </a:solidFill>
                <a:effectLst/>
                <a:uLnTx/>
                <a:uFillTx/>
                <a:latin typeface="等线 Light" panose="020F0302020204030204"/>
                <a:ea typeface="+mj-ea"/>
                <a:cs typeface="+mj-cs"/>
              </a:rPr>
              <a:t>Tree Infographic</a:t>
            </a:r>
          </a:p>
        </p:txBody>
      </p:sp>
      <p:sp>
        <p:nvSpPr>
          <p:cNvPr id="3" name="Freeform: Shape 2">
            <a:extLst>
              <a:ext uri="{FF2B5EF4-FFF2-40B4-BE49-F238E27FC236}">
                <a16:creationId xmlns:a16="http://schemas.microsoft.com/office/drawing/2014/main" id="{7290BF6B-7DFF-4A4E-8802-D1DD384EB586}"/>
              </a:ext>
            </a:extLst>
          </p:cNvPr>
          <p:cNvSpPr/>
          <p:nvPr/>
        </p:nvSpPr>
        <p:spPr>
          <a:xfrm>
            <a:off x="5609962" y="4090178"/>
            <a:ext cx="935194" cy="2780522"/>
          </a:xfrm>
          <a:custGeom>
            <a:avLst/>
            <a:gdLst>
              <a:gd name="connsiteX0" fmla="*/ 156754 w 675426"/>
              <a:gd name="connsiteY0" fmla="*/ 1999770 h 2290225"/>
              <a:gd name="connsiteX1" fmla="*/ 141770 w 675426"/>
              <a:gd name="connsiteY1" fmla="*/ 2098893 h 2290225"/>
              <a:gd name="connsiteX2" fmla="*/ 99124 w 675426"/>
              <a:gd name="connsiteY2" fmla="*/ 2183033 h 2290225"/>
              <a:gd name="connsiteX3" fmla="*/ 0 w 675426"/>
              <a:gd name="connsiteY3" fmla="*/ 2290225 h 2290225"/>
              <a:gd name="connsiteX4" fmla="*/ 167128 w 675426"/>
              <a:gd name="connsiteY4" fmla="*/ 2286768 h 2290225"/>
              <a:gd name="connsiteX5" fmla="*/ 179806 w 675426"/>
              <a:gd name="connsiteY5" fmla="*/ 2285615 h 2290225"/>
              <a:gd name="connsiteX6" fmla="*/ 185569 w 675426"/>
              <a:gd name="connsiteY6" fmla="*/ 2285615 h 2290225"/>
              <a:gd name="connsiteX7" fmla="*/ 208622 w 675426"/>
              <a:gd name="connsiteY7" fmla="*/ 2285615 h 2290225"/>
              <a:gd name="connsiteX8" fmla="*/ 237437 w 675426"/>
              <a:gd name="connsiteY8" fmla="*/ 2285615 h 2290225"/>
              <a:gd name="connsiteX9" fmla="*/ 268557 w 675426"/>
              <a:gd name="connsiteY9" fmla="*/ 2285615 h 2290225"/>
              <a:gd name="connsiteX10" fmla="*/ 341171 w 675426"/>
              <a:gd name="connsiteY10" fmla="*/ 2285615 h 2290225"/>
              <a:gd name="connsiteX11" fmla="*/ 344629 w 675426"/>
              <a:gd name="connsiteY11" fmla="*/ 2285615 h 2290225"/>
              <a:gd name="connsiteX12" fmla="*/ 447211 w 675426"/>
              <a:gd name="connsiteY12" fmla="*/ 2285615 h 2290225"/>
              <a:gd name="connsiteX13" fmla="*/ 478331 w 675426"/>
              <a:gd name="connsiteY13" fmla="*/ 2285615 h 2290225"/>
              <a:gd name="connsiteX14" fmla="*/ 495620 w 675426"/>
              <a:gd name="connsiteY14" fmla="*/ 2285615 h 2290225"/>
              <a:gd name="connsiteX15" fmla="*/ 508299 w 675426"/>
              <a:gd name="connsiteY15" fmla="*/ 2286768 h 2290225"/>
              <a:gd name="connsiteX16" fmla="*/ 675427 w 675426"/>
              <a:gd name="connsiteY16" fmla="*/ 2290225 h 2290225"/>
              <a:gd name="connsiteX17" fmla="*/ 582066 w 675426"/>
              <a:gd name="connsiteY17" fmla="*/ 2174965 h 2290225"/>
              <a:gd name="connsiteX18" fmla="*/ 531351 w 675426"/>
              <a:gd name="connsiteY18" fmla="*/ 1995159 h 2290225"/>
              <a:gd name="connsiteX19" fmla="*/ 530198 w 675426"/>
              <a:gd name="connsiteY19" fmla="*/ 1773859 h 2290225"/>
              <a:gd name="connsiteX20" fmla="*/ 497925 w 675426"/>
              <a:gd name="connsiteY20" fmla="*/ 0 h 2290225"/>
              <a:gd name="connsiteX21" fmla="*/ 152144 w 675426"/>
              <a:gd name="connsiteY21" fmla="*/ 0 h 2290225"/>
              <a:gd name="connsiteX22" fmla="*/ 156754 w 675426"/>
              <a:gd name="connsiteY22" fmla="*/ 1999770 h 2290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675426" h="2290225">
                <a:moveTo>
                  <a:pt x="156754" y="1999770"/>
                </a:moveTo>
                <a:cubicBezTo>
                  <a:pt x="153296" y="2044721"/>
                  <a:pt x="148686" y="2081604"/>
                  <a:pt x="141770" y="2098893"/>
                </a:cubicBezTo>
                <a:cubicBezTo>
                  <a:pt x="130244" y="2131166"/>
                  <a:pt x="115261" y="2158829"/>
                  <a:pt x="99124" y="2183033"/>
                </a:cubicBezTo>
                <a:cubicBezTo>
                  <a:pt x="69156" y="2227985"/>
                  <a:pt x="36883" y="2268326"/>
                  <a:pt x="0" y="2290225"/>
                </a:cubicBezTo>
                <a:cubicBezTo>
                  <a:pt x="55325" y="2284462"/>
                  <a:pt x="110650" y="2283310"/>
                  <a:pt x="167128" y="2286768"/>
                </a:cubicBezTo>
                <a:cubicBezTo>
                  <a:pt x="171738" y="2286768"/>
                  <a:pt x="176348" y="2286768"/>
                  <a:pt x="179806" y="2285615"/>
                </a:cubicBezTo>
                <a:lnTo>
                  <a:pt x="185569" y="2285615"/>
                </a:lnTo>
                <a:lnTo>
                  <a:pt x="208622" y="2285615"/>
                </a:lnTo>
                <a:lnTo>
                  <a:pt x="237437" y="2285615"/>
                </a:lnTo>
                <a:lnTo>
                  <a:pt x="268557" y="2285615"/>
                </a:lnTo>
                <a:lnTo>
                  <a:pt x="341171" y="2285615"/>
                </a:lnTo>
                <a:lnTo>
                  <a:pt x="344629" y="2285615"/>
                </a:lnTo>
                <a:lnTo>
                  <a:pt x="447211" y="2285615"/>
                </a:lnTo>
                <a:lnTo>
                  <a:pt x="478331" y="2285615"/>
                </a:lnTo>
                <a:lnTo>
                  <a:pt x="495620" y="2285615"/>
                </a:lnTo>
                <a:cubicBezTo>
                  <a:pt x="500231" y="2286768"/>
                  <a:pt x="504841" y="2286768"/>
                  <a:pt x="508299" y="2286768"/>
                </a:cubicBezTo>
                <a:cubicBezTo>
                  <a:pt x="563624" y="2283310"/>
                  <a:pt x="620101" y="2285615"/>
                  <a:pt x="675427" y="2290225"/>
                </a:cubicBezTo>
                <a:cubicBezTo>
                  <a:pt x="655832" y="2278699"/>
                  <a:pt x="615491" y="2223375"/>
                  <a:pt x="582066" y="2174965"/>
                </a:cubicBezTo>
                <a:cubicBezTo>
                  <a:pt x="549792" y="2127708"/>
                  <a:pt x="531351" y="2062010"/>
                  <a:pt x="531351" y="1995159"/>
                </a:cubicBezTo>
                <a:cubicBezTo>
                  <a:pt x="530198" y="1901798"/>
                  <a:pt x="530198" y="1777316"/>
                  <a:pt x="530198" y="1773859"/>
                </a:cubicBezTo>
                <a:cubicBezTo>
                  <a:pt x="526740" y="1539880"/>
                  <a:pt x="508299" y="701936"/>
                  <a:pt x="497925" y="0"/>
                </a:cubicBezTo>
                <a:lnTo>
                  <a:pt x="152144" y="0"/>
                </a:lnTo>
                <a:cubicBezTo>
                  <a:pt x="154449" y="610881"/>
                  <a:pt x="156754" y="1527201"/>
                  <a:pt x="156754" y="1999770"/>
                </a:cubicBezTo>
                <a:close/>
              </a:path>
            </a:pathLst>
          </a:custGeom>
          <a:solidFill>
            <a:srgbClr val="7A5330"/>
          </a:solidFill>
          <a:ln w="1151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4" name="Freeform: Shape 3">
            <a:extLst>
              <a:ext uri="{FF2B5EF4-FFF2-40B4-BE49-F238E27FC236}">
                <a16:creationId xmlns:a16="http://schemas.microsoft.com/office/drawing/2014/main" id="{7CFF8DD8-0B37-4031-8B95-400D8D634414}"/>
              </a:ext>
            </a:extLst>
          </p:cNvPr>
          <p:cNvSpPr/>
          <p:nvPr/>
        </p:nvSpPr>
        <p:spPr>
          <a:xfrm>
            <a:off x="4217616" y="4796854"/>
            <a:ext cx="3719883" cy="930572"/>
          </a:xfrm>
          <a:custGeom>
            <a:avLst/>
            <a:gdLst>
              <a:gd name="connsiteX0" fmla="*/ 1641309 w 1641309"/>
              <a:gd name="connsiteY0" fmla="*/ 766482 h 766482"/>
              <a:gd name="connsiteX1" fmla="*/ 0 w 1641309"/>
              <a:gd name="connsiteY1" fmla="*/ 766482 h 766482"/>
              <a:gd name="connsiteX2" fmla="*/ 0 w 1641309"/>
              <a:gd name="connsiteY2" fmla="*/ 766482 h 766482"/>
              <a:gd name="connsiteX3" fmla="*/ 163670 w 1641309"/>
              <a:gd name="connsiteY3" fmla="*/ 153297 h 766482"/>
              <a:gd name="connsiteX4" fmla="*/ 164822 w 1641309"/>
              <a:gd name="connsiteY4" fmla="*/ 152144 h 766482"/>
              <a:gd name="connsiteX5" fmla="*/ 205164 w 1641309"/>
              <a:gd name="connsiteY5" fmla="*/ 0 h 766482"/>
              <a:gd name="connsiteX6" fmla="*/ 1437298 w 1641309"/>
              <a:gd name="connsiteY6" fmla="*/ 0 h 766482"/>
              <a:gd name="connsiteX7" fmla="*/ 1477639 w 1641309"/>
              <a:gd name="connsiteY7" fmla="*/ 152144 h 766482"/>
              <a:gd name="connsiteX8" fmla="*/ 1477639 w 1641309"/>
              <a:gd name="connsiteY8" fmla="*/ 153297 h 766482"/>
              <a:gd name="connsiteX9" fmla="*/ 1641309 w 1641309"/>
              <a:gd name="connsiteY9" fmla="*/ 766482 h 7664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41309" h="766482">
                <a:moveTo>
                  <a:pt x="1641309" y="766482"/>
                </a:moveTo>
                <a:lnTo>
                  <a:pt x="0" y="766482"/>
                </a:lnTo>
                <a:lnTo>
                  <a:pt x="0" y="766482"/>
                </a:lnTo>
                <a:lnTo>
                  <a:pt x="163670" y="153297"/>
                </a:lnTo>
                <a:lnTo>
                  <a:pt x="164822" y="152144"/>
                </a:lnTo>
                <a:lnTo>
                  <a:pt x="205164" y="0"/>
                </a:lnTo>
                <a:lnTo>
                  <a:pt x="1437298" y="0"/>
                </a:lnTo>
                <a:lnTo>
                  <a:pt x="1477639" y="152144"/>
                </a:lnTo>
                <a:lnTo>
                  <a:pt x="1477639" y="153297"/>
                </a:lnTo>
                <a:lnTo>
                  <a:pt x="1641309" y="766482"/>
                </a:lnTo>
                <a:close/>
              </a:path>
            </a:pathLst>
          </a:custGeom>
          <a:solidFill>
            <a:schemeClr val="accent4"/>
          </a:solidFill>
          <a:ln w="1151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5" name="Freeform: Shape 4">
            <a:extLst>
              <a:ext uri="{FF2B5EF4-FFF2-40B4-BE49-F238E27FC236}">
                <a16:creationId xmlns:a16="http://schemas.microsoft.com/office/drawing/2014/main" id="{A544B107-C209-4251-BCBA-F59027A452B8}"/>
              </a:ext>
            </a:extLst>
          </p:cNvPr>
          <p:cNvSpPr/>
          <p:nvPr/>
        </p:nvSpPr>
        <p:spPr>
          <a:xfrm>
            <a:off x="4682600" y="3866282"/>
            <a:ext cx="2792523" cy="930572"/>
          </a:xfrm>
          <a:custGeom>
            <a:avLst/>
            <a:gdLst>
              <a:gd name="connsiteX0" fmla="*/ 1232135 w 1232134"/>
              <a:gd name="connsiteY0" fmla="*/ 766482 h 766482"/>
              <a:gd name="connsiteX1" fmla="*/ 0 w 1232134"/>
              <a:gd name="connsiteY1" fmla="*/ 766482 h 766482"/>
              <a:gd name="connsiteX2" fmla="*/ 123329 w 1232134"/>
              <a:gd name="connsiteY2" fmla="*/ 305440 h 766482"/>
              <a:gd name="connsiteX3" fmla="*/ 123329 w 1232134"/>
              <a:gd name="connsiteY3" fmla="*/ 305440 h 766482"/>
              <a:gd name="connsiteX4" fmla="*/ 204011 w 1232134"/>
              <a:gd name="connsiteY4" fmla="*/ 0 h 766482"/>
              <a:gd name="connsiteX5" fmla="*/ 1026971 w 1232134"/>
              <a:gd name="connsiteY5" fmla="*/ 0 h 766482"/>
              <a:gd name="connsiteX6" fmla="*/ 1108806 w 1232134"/>
              <a:gd name="connsiteY6" fmla="*/ 305440 h 766482"/>
              <a:gd name="connsiteX7" fmla="*/ 1108806 w 1232134"/>
              <a:gd name="connsiteY7" fmla="*/ 305440 h 7664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32134" h="766482">
                <a:moveTo>
                  <a:pt x="1232135" y="766482"/>
                </a:moveTo>
                <a:lnTo>
                  <a:pt x="0" y="766482"/>
                </a:lnTo>
                <a:lnTo>
                  <a:pt x="123329" y="305440"/>
                </a:lnTo>
                <a:lnTo>
                  <a:pt x="123329" y="305440"/>
                </a:lnTo>
                <a:lnTo>
                  <a:pt x="204011" y="0"/>
                </a:lnTo>
                <a:lnTo>
                  <a:pt x="1026971" y="0"/>
                </a:lnTo>
                <a:lnTo>
                  <a:pt x="1108806" y="305440"/>
                </a:lnTo>
                <a:lnTo>
                  <a:pt x="1108806" y="305440"/>
                </a:lnTo>
                <a:close/>
              </a:path>
            </a:pathLst>
          </a:custGeom>
          <a:solidFill>
            <a:schemeClr val="accent3"/>
          </a:solidFill>
          <a:ln w="1151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6" name="Freeform: Shape 5">
            <a:extLst>
              <a:ext uri="{FF2B5EF4-FFF2-40B4-BE49-F238E27FC236}">
                <a16:creationId xmlns:a16="http://schemas.microsoft.com/office/drawing/2014/main" id="{0C04A17B-569C-4BD6-80EB-6E2CA0AED864}"/>
              </a:ext>
            </a:extLst>
          </p:cNvPr>
          <p:cNvSpPr/>
          <p:nvPr/>
        </p:nvSpPr>
        <p:spPr>
          <a:xfrm>
            <a:off x="5144974" y="2935708"/>
            <a:ext cx="1865165" cy="930572"/>
          </a:xfrm>
          <a:custGeom>
            <a:avLst/>
            <a:gdLst>
              <a:gd name="connsiteX0" fmla="*/ 822960 w 822959"/>
              <a:gd name="connsiteY0" fmla="*/ 766482 h 766482"/>
              <a:gd name="connsiteX1" fmla="*/ 0 w 822959"/>
              <a:gd name="connsiteY1" fmla="*/ 766482 h 766482"/>
              <a:gd name="connsiteX2" fmla="*/ 82987 w 822959"/>
              <a:gd name="connsiteY2" fmla="*/ 458737 h 766482"/>
              <a:gd name="connsiteX3" fmla="*/ 82987 w 822959"/>
              <a:gd name="connsiteY3" fmla="*/ 457584 h 766482"/>
              <a:gd name="connsiteX4" fmla="*/ 205164 w 822959"/>
              <a:gd name="connsiteY4" fmla="*/ 0 h 766482"/>
              <a:gd name="connsiteX5" fmla="*/ 617796 w 822959"/>
              <a:gd name="connsiteY5" fmla="*/ 0 h 766482"/>
              <a:gd name="connsiteX6" fmla="*/ 739972 w 822959"/>
              <a:gd name="connsiteY6" fmla="*/ 457584 h 766482"/>
              <a:gd name="connsiteX7" fmla="*/ 741125 w 822959"/>
              <a:gd name="connsiteY7" fmla="*/ 458737 h 7664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22959" h="766482">
                <a:moveTo>
                  <a:pt x="822960" y="766482"/>
                </a:moveTo>
                <a:lnTo>
                  <a:pt x="0" y="766482"/>
                </a:lnTo>
                <a:lnTo>
                  <a:pt x="82987" y="458737"/>
                </a:lnTo>
                <a:lnTo>
                  <a:pt x="82987" y="457584"/>
                </a:lnTo>
                <a:lnTo>
                  <a:pt x="205164" y="0"/>
                </a:lnTo>
                <a:lnTo>
                  <a:pt x="617796" y="0"/>
                </a:lnTo>
                <a:lnTo>
                  <a:pt x="739972" y="457584"/>
                </a:lnTo>
                <a:lnTo>
                  <a:pt x="741125" y="458737"/>
                </a:lnTo>
                <a:close/>
              </a:path>
            </a:pathLst>
          </a:custGeom>
          <a:solidFill>
            <a:schemeClr val="accent2"/>
          </a:solidFill>
          <a:ln w="1151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7" name="Freeform: Shape 6">
            <a:extLst>
              <a:ext uri="{FF2B5EF4-FFF2-40B4-BE49-F238E27FC236}">
                <a16:creationId xmlns:a16="http://schemas.microsoft.com/office/drawing/2014/main" id="{369E3566-01A2-4E32-86F9-4D93717CE2B6}"/>
              </a:ext>
            </a:extLst>
          </p:cNvPr>
          <p:cNvSpPr/>
          <p:nvPr/>
        </p:nvSpPr>
        <p:spPr>
          <a:xfrm>
            <a:off x="5609960" y="2005136"/>
            <a:ext cx="935195" cy="930572"/>
          </a:xfrm>
          <a:custGeom>
            <a:avLst/>
            <a:gdLst>
              <a:gd name="connsiteX0" fmla="*/ 412632 w 412632"/>
              <a:gd name="connsiteY0" fmla="*/ 766482 h 766482"/>
              <a:gd name="connsiteX1" fmla="*/ 0 w 412632"/>
              <a:gd name="connsiteY1" fmla="*/ 766482 h 766482"/>
              <a:gd name="connsiteX2" fmla="*/ 41494 w 412632"/>
              <a:gd name="connsiteY2" fmla="*/ 610881 h 766482"/>
              <a:gd name="connsiteX3" fmla="*/ 41494 w 412632"/>
              <a:gd name="connsiteY3" fmla="*/ 610881 h 766482"/>
              <a:gd name="connsiteX4" fmla="*/ 205164 w 412632"/>
              <a:gd name="connsiteY4" fmla="*/ 0 h 766482"/>
              <a:gd name="connsiteX5" fmla="*/ 208622 w 412632"/>
              <a:gd name="connsiteY5" fmla="*/ 0 h 766482"/>
              <a:gd name="connsiteX6" fmla="*/ 371139 w 412632"/>
              <a:gd name="connsiteY6" fmla="*/ 610881 h 766482"/>
              <a:gd name="connsiteX7" fmla="*/ 371139 w 412632"/>
              <a:gd name="connsiteY7" fmla="*/ 610881 h 7664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2632" h="766482">
                <a:moveTo>
                  <a:pt x="412632" y="766482"/>
                </a:moveTo>
                <a:lnTo>
                  <a:pt x="0" y="766482"/>
                </a:lnTo>
                <a:lnTo>
                  <a:pt x="41494" y="610881"/>
                </a:lnTo>
                <a:lnTo>
                  <a:pt x="41494" y="610881"/>
                </a:lnTo>
                <a:lnTo>
                  <a:pt x="205164" y="0"/>
                </a:lnTo>
                <a:lnTo>
                  <a:pt x="208622" y="0"/>
                </a:lnTo>
                <a:lnTo>
                  <a:pt x="371139" y="610881"/>
                </a:lnTo>
                <a:lnTo>
                  <a:pt x="371139" y="610881"/>
                </a:lnTo>
                <a:close/>
              </a:path>
            </a:pathLst>
          </a:custGeom>
          <a:solidFill>
            <a:schemeClr val="accent1"/>
          </a:solidFill>
          <a:ln w="1151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nvGrpSpPr>
          <p:cNvPr id="8" name="Group 17">
            <a:extLst>
              <a:ext uri="{FF2B5EF4-FFF2-40B4-BE49-F238E27FC236}">
                <a16:creationId xmlns:a16="http://schemas.microsoft.com/office/drawing/2014/main" id="{D1557439-A98C-499D-B11A-8C79253D1965}"/>
              </a:ext>
            </a:extLst>
          </p:cNvPr>
          <p:cNvGrpSpPr/>
          <p:nvPr/>
        </p:nvGrpSpPr>
        <p:grpSpPr>
          <a:xfrm flipH="1">
            <a:off x="6209562" y="2148339"/>
            <a:ext cx="724638" cy="257001"/>
            <a:chOff x="3442415" y="2100510"/>
            <a:chExt cx="724638" cy="257001"/>
          </a:xfrm>
        </p:grpSpPr>
        <p:cxnSp>
          <p:nvCxnSpPr>
            <p:cNvPr id="9" name="Straight Connector 18">
              <a:extLst>
                <a:ext uri="{FF2B5EF4-FFF2-40B4-BE49-F238E27FC236}">
                  <a16:creationId xmlns:a16="http://schemas.microsoft.com/office/drawing/2014/main" id="{B01D6650-80C0-4AE4-ABBC-9F3979326E52}"/>
                </a:ext>
              </a:extLst>
            </p:cNvPr>
            <p:cNvCxnSpPr>
              <a:cxnSpLocks/>
            </p:cNvCxnSpPr>
            <p:nvPr/>
          </p:nvCxnSpPr>
          <p:spPr>
            <a:xfrm flipH="1" flipV="1">
              <a:off x="3910047" y="2100510"/>
              <a:ext cx="257006" cy="257001"/>
            </a:xfrm>
            <a:prstGeom prst="line">
              <a:avLst/>
            </a:prstGeom>
            <a:ln w="28575">
              <a:solidFill>
                <a:schemeClr val="accent1"/>
              </a:solidFill>
              <a:headEnd type="oval"/>
            </a:ln>
          </p:spPr>
          <p:style>
            <a:lnRef idx="1">
              <a:schemeClr val="accent1"/>
            </a:lnRef>
            <a:fillRef idx="0">
              <a:schemeClr val="accent1"/>
            </a:fillRef>
            <a:effectRef idx="0">
              <a:schemeClr val="accent1"/>
            </a:effectRef>
            <a:fontRef idx="minor">
              <a:schemeClr val="tx1"/>
            </a:fontRef>
          </p:style>
        </p:cxnSp>
        <p:cxnSp>
          <p:nvCxnSpPr>
            <p:cNvPr id="10" name="Straight Connector 19">
              <a:extLst>
                <a:ext uri="{FF2B5EF4-FFF2-40B4-BE49-F238E27FC236}">
                  <a16:creationId xmlns:a16="http://schemas.microsoft.com/office/drawing/2014/main" id="{A1683DEC-147E-47AE-BBFE-4CFDCF883FCC}"/>
                </a:ext>
              </a:extLst>
            </p:cNvPr>
            <p:cNvCxnSpPr>
              <a:cxnSpLocks/>
            </p:cNvCxnSpPr>
            <p:nvPr/>
          </p:nvCxnSpPr>
          <p:spPr>
            <a:xfrm flipH="1">
              <a:off x="3442415" y="2105266"/>
              <a:ext cx="475696" cy="0"/>
            </a:xfrm>
            <a:prstGeom prst="line">
              <a:avLst/>
            </a:prstGeom>
            <a:ln w="28575">
              <a:solidFill>
                <a:schemeClr val="accent1"/>
              </a:solidFill>
              <a:tailEnd type="oval"/>
            </a:ln>
          </p:spPr>
          <p:style>
            <a:lnRef idx="1">
              <a:schemeClr val="accent1"/>
            </a:lnRef>
            <a:fillRef idx="0">
              <a:schemeClr val="accent1"/>
            </a:fillRef>
            <a:effectRef idx="0">
              <a:schemeClr val="accent1"/>
            </a:effectRef>
            <a:fontRef idx="minor">
              <a:schemeClr val="tx1"/>
            </a:fontRef>
          </p:style>
        </p:cxnSp>
      </p:grpSp>
      <p:grpSp>
        <p:nvGrpSpPr>
          <p:cNvPr id="11" name="Group 20">
            <a:extLst>
              <a:ext uri="{FF2B5EF4-FFF2-40B4-BE49-F238E27FC236}">
                <a16:creationId xmlns:a16="http://schemas.microsoft.com/office/drawing/2014/main" id="{784F0F5D-2170-41D5-A2D4-52612DDB536A}"/>
              </a:ext>
            </a:extLst>
          </p:cNvPr>
          <p:cNvGrpSpPr/>
          <p:nvPr/>
        </p:nvGrpSpPr>
        <p:grpSpPr>
          <a:xfrm>
            <a:off x="4528531" y="2952494"/>
            <a:ext cx="1111609" cy="280181"/>
            <a:chOff x="3078620" y="2100506"/>
            <a:chExt cx="1111609" cy="280181"/>
          </a:xfrm>
        </p:grpSpPr>
        <p:cxnSp>
          <p:nvCxnSpPr>
            <p:cNvPr id="12" name="Straight Connector 21">
              <a:extLst>
                <a:ext uri="{FF2B5EF4-FFF2-40B4-BE49-F238E27FC236}">
                  <a16:creationId xmlns:a16="http://schemas.microsoft.com/office/drawing/2014/main" id="{881DAC37-F82A-4E7F-B97D-21E7028F67FB}"/>
                </a:ext>
              </a:extLst>
            </p:cNvPr>
            <p:cNvCxnSpPr>
              <a:cxnSpLocks/>
            </p:cNvCxnSpPr>
            <p:nvPr/>
          </p:nvCxnSpPr>
          <p:spPr>
            <a:xfrm flipH="1" flipV="1">
              <a:off x="3910048" y="2100506"/>
              <a:ext cx="280181" cy="280181"/>
            </a:xfrm>
            <a:prstGeom prst="line">
              <a:avLst/>
            </a:prstGeom>
            <a:ln w="28575">
              <a:solidFill>
                <a:schemeClr val="accent2"/>
              </a:solidFill>
              <a:headEnd type="oval"/>
            </a:ln>
          </p:spPr>
          <p:style>
            <a:lnRef idx="1">
              <a:schemeClr val="accent1"/>
            </a:lnRef>
            <a:fillRef idx="0">
              <a:schemeClr val="accent1"/>
            </a:fillRef>
            <a:effectRef idx="0">
              <a:schemeClr val="accent1"/>
            </a:effectRef>
            <a:fontRef idx="minor">
              <a:schemeClr val="tx1"/>
            </a:fontRef>
          </p:style>
        </p:cxnSp>
        <p:cxnSp>
          <p:nvCxnSpPr>
            <p:cNvPr id="13" name="Straight Connector 22">
              <a:extLst>
                <a:ext uri="{FF2B5EF4-FFF2-40B4-BE49-F238E27FC236}">
                  <a16:creationId xmlns:a16="http://schemas.microsoft.com/office/drawing/2014/main" id="{5B6EEE45-E306-4AF5-BD40-BEDF29D17970}"/>
                </a:ext>
              </a:extLst>
            </p:cNvPr>
            <p:cNvCxnSpPr>
              <a:cxnSpLocks/>
            </p:cNvCxnSpPr>
            <p:nvPr/>
          </p:nvCxnSpPr>
          <p:spPr>
            <a:xfrm flipH="1">
              <a:off x="3078620" y="2105266"/>
              <a:ext cx="839494" cy="0"/>
            </a:xfrm>
            <a:prstGeom prst="line">
              <a:avLst/>
            </a:prstGeom>
            <a:ln w="28575">
              <a:solidFill>
                <a:schemeClr val="accent2"/>
              </a:solidFill>
              <a:tailEnd type="oval"/>
            </a:ln>
          </p:spPr>
          <p:style>
            <a:lnRef idx="1">
              <a:schemeClr val="accent1"/>
            </a:lnRef>
            <a:fillRef idx="0">
              <a:schemeClr val="accent1"/>
            </a:fillRef>
            <a:effectRef idx="0">
              <a:schemeClr val="accent1"/>
            </a:effectRef>
            <a:fontRef idx="minor">
              <a:schemeClr val="tx1"/>
            </a:fontRef>
          </p:style>
        </p:cxnSp>
      </p:grpSp>
      <p:sp>
        <p:nvSpPr>
          <p:cNvPr id="14" name="TextBox 23">
            <a:extLst>
              <a:ext uri="{FF2B5EF4-FFF2-40B4-BE49-F238E27FC236}">
                <a16:creationId xmlns:a16="http://schemas.microsoft.com/office/drawing/2014/main" id="{401E3B55-8776-406E-ADAE-96A91911099E}"/>
              </a:ext>
            </a:extLst>
          </p:cNvPr>
          <p:cNvSpPr txBox="1"/>
          <p:nvPr/>
        </p:nvSpPr>
        <p:spPr>
          <a:xfrm>
            <a:off x="1202070" y="2873780"/>
            <a:ext cx="2251643" cy="616836"/>
          </a:xfrm>
          <a:prstGeom prst="rect">
            <a:avLst/>
          </a:prstGeom>
          <a:noFill/>
        </p:spPr>
        <p:txBody>
          <a:bodyPr wrap="square" rtlCol="0">
            <a:spAutoFit/>
          </a:bodyPr>
          <a:lstStyle/>
          <a:p>
            <a:pPr marL="0" marR="0" lvl="0" indent="0" algn="r" defTabSz="914400" rtl="0" eaLnBrk="1" fontAlgn="auto" latinLnBrk="0" hangingPunct="1">
              <a:lnSpc>
                <a:spcPct val="15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rPr>
              <a:t>A wonderful serenity </a:t>
            </a:r>
            <a:r>
              <a:rPr kumimoji="0" lang="en-US" sz="1200" b="0" i="0" u="none" strike="noStrike" kern="1200" cap="none" spc="0" normalizeH="0" baseline="0" noProof="0">
                <a:ln>
                  <a:noFill/>
                </a:ln>
                <a:solidFill>
                  <a:srgbClr val="000000"/>
                </a:solidFill>
                <a:effectLst/>
                <a:uLnTx/>
                <a:uFillTx/>
                <a:latin typeface="等线" panose="020F0502020204030204"/>
                <a:ea typeface="+mn-ea"/>
                <a:cs typeface="+mn-cs"/>
              </a:rPr>
              <a:t>has taken has this </a:t>
            </a:r>
            <a:r>
              <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rPr>
              <a:t>possession of </a:t>
            </a:r>
            <a:r>
              <a:rPr kumimoji="0" lang="en-US" sz="1200" b="0" i="0" u="none" strike="noStrike" kern="1200" cap="none" spc="0" normalizeH="0" baseline="0" noProof="0">
                <a:ln>
                  <a:noFill/>
                </a:ln>
                <a:solidFill>
                  <a:srgbClr val="000000"/>
                </a:solidFill>
                <a:effectLst/>
                <a:uLnTx/>
                <a:uFillTx/>
                <a:latin typeface="等线" panose="020F0502020204030204"/>
                <a:ea typeface="+mn-ea"/>
                <a:cs typeface="+mn-cs"/>
              </a:rPr>
              <a:t>my entire</a:t>
            </a:r>
            <a:endPar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15" name="TextBox 24">
            <a:extLst>
              <a:ext uri="{FF2B5EF4-FFF2-40B4-BE49-F238E27FC236}">
                <a16:creationId xmlns:a16="http://schemas.microsoft.com/office/drawing/2014/main" id="{F63B5C93-F999-4862-B69D-101311C46998}"/>
              </a:ext>
            </a:extLst>
          </p:cNvPr>
          <p:cNvSpPr txBox="1"/>
          <p:nvPr/>
        </p:nvSpPr>
        <p:spPr>
          <a:xfrm>
            <a:off x="1305691" y="2611644"/>
            <a:ext cx="2148023" cy="338554"/>
          </a:xfrm>
          <a:prstGeom prst="rect">
            <a:avLst/>
          </a:prstGeom>
          <a:noFill/>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等线 Light" panose="020F0302020204030204"/>
                <a:ea typeface="+mn-ea"/>
                <a:cs typeface="+mn-cs"/>
              </a:rPr>
              <a:t>Description</a:t>
            </a:r>
          </a:p>
        </p:txBody>
      </p:sp>
      <p:sp>
        <p:nvSpPr>
          <p:cNvPr id="16" name="TextBox 25">
            <a:extLst>
              <a:ext uri="{FF2B5EF4-FFF2-40B4-BE49-F238E27FC236}">
                <a16:creationId xmlns:a16="http://schemas.microsoft.com/office/drawing/2014/main" id="{37C5A87A-7FC8-4CBC-90DF-1C9E17D4FB32}"/>
              </a:ext>
            </a:extLst>
          </p:cNvPr>
          <p:cNvSpPr txBox="1"/>
          <p:nvPr/>
        </p:nvSpPr>
        <p:spPr>
          <a:xfrm>
            <a:off x="3494757" y="2685486"/>
            <a:ext cx="1029098" cy="52322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FF4C38"/>
                </a:solidFill>
                <a:effectLst/>
                <a:uLnTx/>
                <a:uFillTx/>
                <a:latin typeface="等线 Light" panose="020F0302020204030204"/>
                <a:ea typeface="+mn-ea"/>
                <a:cs typeface="+mn-cs"/>
              </a:rPr>
              <a:t>350K</a:t>
            </a:r>
          </a:p>
        </p:txBody>
      </p:sp>
      <p:sp>
        <p:nvSpPr>
          <p:cNvPr id="17" name="TextBox 26">
            <a:extLst>
              <a:ext uri="{FF2B5EF4-FFF2-40B4-BE49-F238E27FC236}">
                <a16:creationId xmlns:a16="http://schemas.microsoft.com/office/drawing/2014/main" id="{4128BE4D-BD08-4F85-A390-799877729434}"/>
              </a:ext>
            </a:extLst>
          </p:cNvPr>
          <p:cNvSpPr txBox="1"/>
          <p:nvPr/>
        </p:nvSpPr>
        <p:spPr>
          <a:xfrm>
            <a:off x="8015065" y="2072175"/>
            <a:ext cx="2261988" cy="616836"/>
          </a:xfrm>
          <a:prstGeom prst="rect">
            <a:avLst/>
          </a:prstGeom>
          <a:noFill/>
        </p:spPr>
        <p:txBody>
          <a:bodyPr wrap="square" rtlCol="0">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rPr>
              <a:t>A wonderful serenity </a:t>
            </a:r>
            <a:r>
              <a:rPr kumimoji="0" lang="en-US" sz="1200" b="0" i="0" u="none" strike="noStrike" kern="1200" cap="none" spc="0" normalizeH="0" baseline="0" noProof="0">
                <a:ln>
                  <a:noFill/>
                </a:ln>
                <a:solidFill>
                  <a:srgbClr val="000000"/>
                </a:solidFill>
                <a:effectLst/>
                <a:uLnTx/>
                <a:uFillTx/>
                <a:latin typeface="等线" panose="020F0502020204030204"/>
                <a:ea typeface="+mn-ea"/>
                <a:cs typeface="+mn-cs"/>
              </a:rPr>
              <a:t>has taken has this </a:t>
            </a:r>
            <a:r>
              <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rPr>
              <a:t>possession of </a:t>
            </a:r>
            <a:r>
              <a:rPr kumimoji="0" lang="en-US" sz="1200" b="0" i="0" u="none" strike="noStrike" kern="1200" cap="none" spc="0" normalizeH="0" baseline="0" noProof="0">
                <a:ln>
                  <a:noFill/>
                </a:ln>
                <a:solidFill>
                  <a:srgbClr val="000000"/>
                </a:solidFill>
                <a:effectLst/>
                <a:uLnTx/>
                <a:uFillTx/>
                <a:latin typeface="等线" panose="020F0502020204030204"/>
                <a:ea typeface="+mn-ea"/>
                <a:cs typeface="+mn-cs"/>
              </a:rPr>
              <a:t>my entire</a:t>
            </a:r>
            <a:endPar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18" name="TextBox 27">
            <a:extLst>
              <a:ext uri="{FF2B5EF4-FFF2-40B4-BE49-F238E27FC236}">
                <a16:creationId xmlns:a16="http://schemas.microsoft.com/office/drawing/2014/main" id="{E0A571E7-1A96-4925-AEEF-37A325F711BC}"/>
              </a:ext>
            </a:extLst>
          </p:cNvPr>
          <p:cNvSpPr txBox="1"/>
          <p:nvPr/>
        </p:nvSpPr>
        <p:spPr>
          <a:xfrm>
            <a:off x="8015065" y="1819943"/>
            <a:ext cx="2148023" cy="33855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等线 Light" panose="020F0302020204030204"/>
                <a:ea typeface="+mn-ea"/>
                <a:cs typeface="+mn-cs"/>
              </a:rPr>
              <a:t>Description</a:t>
            </a:r>
          </a:p>
        </p:txBody>
      </p:sp>
      <p:sp>
        <p:nvSpPr>
          <p:cNvPr id="19" name="TextBox 28">
            <a:extLst>
              <a:ext uri="{FF2B5EF4-FFF2-40B4-BE49-F238E27FC236}">
                <a16:creationId xmlns:a16="http://schemas.microsoft.com/office/drawing/2014/main" id="{CE93B728-43CE-444C-B124-7A0CA573E023}"/>
              </a:ext>
            </a:extLst>
          </p:cNvPr>
          <p:cNvSpPr txBox="1"/>
          <p:nvPr/>
        </p:nvSpPr>
        <p:spPr>
          <a:xfrm>
            <a:off x="6985967" y="1896887"/>
            <a:ext cx="1029098" cy="52322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FFD229"/>
                </a:solidFill>
                <a:effectLst/>
                <a:uLnTx/>
                <a:uFillTx/>
                <a:latin typeface="等线 Light" panose="020F0302020204030204"/>
                <a:ea typeface="+mn-ea"/>
                <a:cs typeface="+mn-cs"/>
              </a:rPr>
              <a:t>435K</a:t>
            </a:r>
          </a:p>
        </p:txBody>
      </p:sp>
      <p:grpSp>
        <p:nvGrpSpPr>
          <p:cNvPr id="20" name="Group 29">
            <a:extLst>
              <a:ext uri="{FF2B5EF4-FFF2-40B4-BE49-F238E27FC236}">
                <a16:creationId xmlns:a16="http://schemas.microsoft.com/office/drawing/2014/main" id="{6C740659-8583-4D83-BD6B-1BE75EE44AA6}"/>
              </a:ext>
            </a:extLst>
          </p:cNvPr>
          <p:cNvGrpSpPr/>
          <p:nvPr/>
        </p:nvGrpSpPr>
        <p:grpSpPr>
          <a:xfrm flipH="1">
            <a:off x="7074643" y="3863782"/>
            <a:ext cx="720986" cy="257001"/>
            <a:chOff x="3446067" y="2100510"/>
            <a:chExt cx="720986" cy="257001"/>
          </a:xfrm>
        </p:grpSpPr>
        <p:cxnSp>
          <p:nvCxnSpPr>
            <p:cNvPr id="21" name="Straight Connector 30">
              <a:extLst>
                <a:ext uri="{FF2B5EF4-FFF2-40B4-BE49-F238E27FC236}">
                  <a16:creationId xmlns:a16="http://schemas.microsoft.com/office/drawing/2014/main" id="{B6C49B67-2020-415D-9FE1-28BF9D37113C}"/>
                </a:ext>
              </a:extLst>
            </p:cNvPr>
            <p:cNvCxnSpPr>
              <a:cxnSpLocks/>
            </p:cNvCxnSpPr>
            <p:nvPr/>
          </p:nvCxnSpPr>
          <p:spPr>
            <a:xfrm flipH="1" flipV="1">
              <a:off x="3910047" y="2100510"/>
              <a:ext cx="257006" cy="257001"/>
            </a:xfrm>
            <a:prstGeom prst="line">
              <a:avLst/>
            </a:prstGeom>
            <a:ln w="28575">
              <a:solidFill>
                <a:schemeClr val="accent3"/>
              </a:solidFill>
              <a:headEnd type="oval"/>
            </a:ln>
          </p:spPr>
          <p:style>
            <a:lnRef idx="1">
              <a:schemeClr val="accent1"/>
            </a:lnRef>
            <a:fillRef idx="0">
              <a:schemeClr val="accent1"/>
            </a:fillRef>
            <a:effectRef idx="0">
              <a:schemeClr val="accent1"/>
            </a:effectRef>
            <a:fontRef idx="minor">
              <a:schemeClr val="tx1"/>
            </a:fontRef>
          </p:style>
        </p:cxnSp>
        <p:cxnSp>
          <p:nvCxnSpPr>
            <p:cNvPr id="22" name="Straight Connector 31">
              <a:extLst>
                <a:ext uri="{FF2B5EF4-FFF2-40B4-BE49-F238E27FC236}">
                  <a16:creationId xmlns:a16="http://schemas.microsoft.com/office/drawing/2014/main" id="{DA2627E9-765C-41AA-A3E9-2C9A904C622D}"/>
                </a:ext>
              </a:extLst>
            </p:cNvPr>
            <p:cNvCxnSpPr>
              <a:cxnSpLocks/>
            </p:cNvCxnSpPr>
            <p:nvPr/>
          </p:nvCxnSpPr>
          <p:spPr>
            <a:xfrm flipH="1">
              <a:off x="3446067" y="2105266"/>
              <a:ext cx="472044" cy="0"/>
            </a:xfrm>
            <a:prstGeom prst="line">
              <a:avLst/>
            </a:prstGeom>
            <a:ln w="28575">
              <a:solidFill>
                <a:schemeClr val="accent3"/>
              </a:solidFill>
              <a:tailEnd type="oval"/>
            </a:ln>
          </p:spPr>
          <p:style>
            <a:lnRef idx="1">
              <a:schemeClr val="accent1"/>
            </a:lnRef>
            <a:fillRef idx="0">
              <a:schemeClr val="accent1"/>
            </a:fillRef>
            <a:effectRef idx="0">
              <a:schemeClr val="accent1"/>
            </a:effectRef>
            <a:fontRef idx="minor">
              <a:schemeClr val="tx1"/>
            </a:fontRef>
          </p:style>
        </p:cxnSp>
      </p:grpSp>
      <p:sp>
        <p:nvSpPr>
          <p:cNvPr id="23" name="TextBox 32">
            <a:extLst>
              <a:ext uri="{FF2B5EF4-FFF2-40B4-BE49-F238E27FC236}">
                <a16:creationId xmlns:a16="http://schemas.microsoft.com/office/drawing/2014/main" id="{AD179541-A65B-42DF-A763-99733FAB891C}"/>
              </a:ext>
            </a:extLst>
          </p:cNvPr>
          <p:cNvSpPr txBox="1"/>
          <p:nvPr/>
        </p:nvSpPr>
        <p:spPr>
          <a:xfrm>
            <a:off x="8880146" y="3787618"/>
            <a:ext cx="2261988" cy="616836"/>
          </a:xfrm>
          <a:prstGeom prst="rect">
            <a:avLst/>
          </a:prstGeom>
          <a:noFill/>
        </p:spPr>
        <p:txBody>
          <a:bodyPr wrap="square" rtlCol="0">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rPr>
              <a:t>A wonderful serenity </a:t>
            </a:r>
            <a:r>
              <a:rPr kumimoji="0" lang="en-US" sz="1200" b="0" i="0" u="none" strike="noStrike" kern="1200" cap="none" spc="0" normalizeH="0" baseline="0" noProof="0">
                <a:ln>
                  <a:noFill/>
                </a:ln>
                <a:solidFill>
                  <a:srgbClr val="000000"/>
                </a:solidFill>
                <a:effectLst/>
                <a:uLnTx/>
                <a:uFillTx/>
                <a:latin typeface="等线" panose="020F0502020204030204"/>
                <a:ea typeface="+mn-ea"/>
                <a:cs typeface="+mn-cs"/>
              </a:rPr>
              <a:t>has taken has this </a:t>
            </a:r>
            <a:r>
              <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rPr>
              <a:t>possession of </a:t>
            </a:r>
            <a:r>
              <a:rPr kumimoji="0" lang="en-US" sz="1200" b="0" i="0" u="none" strike="noStrike" kern="1200" cap="none" spc="0" normalizeH="0" baseline="0" noProof="0">
                <a:ln>
                  <a:noFill/>
                </a:ln>
                <a:solidFill>
                  <a:srgbClr val="000000"/>
                </a:solidFill>
                <a:effectLst/>
                <a:uLnTx/>
                <a:uFillTx/>
                <a:latin typeface="等线" panose="020F0502020204030204"/>
                <a:ea typeface="+mn-ea"/>
                <a:cs typeface="+mn-cs"/>
              </a:rPr>
              <a:t>my entire</a:t>
            </a:r>
            <a:endPar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24" name="TextBox 33">
            <a:extLst>
              <a:ext uri="{FF2B5EF4-FFF2-40B4-BE49-F238E27FC236}">
                <a16:creationId xmlns:a16="http://schemas.microsoft.com/office/drawing/2014/main" id="{C7CED8BA-549A-4C96-A8E4-E6ED642DBCDF}"/>
              </a:ext>
            </a:extLst>
          </p:cNvPr>
          <p:cNvSpPr txBox="1"/>
          <p:nvPr/>
        </p:nvSpPr>
        <p:spPr>
          <a:xfrm>
            <a:off x="8880146" y="3535386"/>
            <a:ext cx="2148023" cy="33855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等线 Light" panose="020F0302020204030204"/>
                <a:ea typeface="+mn-ea"/>
                <a:cs typeface="+mn-cs"/>
              </a:rPr>
              <a:t>Description</a:t>
            </a:r>
          </a:p>
        </p:txBody>
      </p:sp>
      <p:sp>
        <p:nvSpPr>
          <p:cNvPr id="25" name="TextBox 34">
            <a:extLst>
              <a:ext uri="{FF2B5EF4-FFF2-40B4-BE49-F238E27FC236}">
                <a16:creationId xmlns:a16="http://schemas.microsoft.com/office/drawing/2014/main" id="{E9E1D8B1-4675-436B-AED8-4C916F96FE1D}"/>
              </a:ext>
            </a:extLst>
          </p:cNvPr>
          <p:cNvSpPr txBox="1"/>
          <p:nvPr/>
        </p:nvSpPr>
        <p:spPr>
          <a:xfrm>
            <a:off x="7820592" y="3612330"/>
            <a:ext cx="1029098" cy="52322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FF388A"/>
                </a:solidFill>
                <a:effectLst/>
                <a:uLnTx/>
                <a:uFillTx/>
                <a:latin typeface="等线 Light" panose="020F0302020204030204"/>
                <a:ea typeface="+mn-ea"/>
                <a:cs typeface="+mn-cs"/>
              </a:rPr>
              <a:t>323K</a:t>
            </a:r>
          </a:p>
        </p:txBody>
      </p:sp>
      <p:grpSp>
        <p:nvGrpSpPr>
          <p:cNvPr id="26" name="Group 35">
            <a:extLst>
              <a:ext uri="{FF2B5EF4-FFF2-40B4-BE49-F238E27FC236}">
                <a16:creationId xmlns:a16="http://schemas.microsoft.com/office/drawing/2014/main" id="{7ABA4EC2-CA68-4A92-986A-7D23A1727E3C}"/>
              </a:ext>
            </a:extLst>
          </p:cNvPr>
          <p:cNvGrpSpPr/>
          <p:nvPr/>
        </p:nvGrpSpPr>
        <p:grpSpPr>
          <a:xfrm>
            <a:off x="3931920" y="4725261"/>
            <a:ext cx="759558" cy="280181"/>
            <a:chOff x="3430671" y="2100506"/>
            <a:chExt cx="759558" cy="280181"/>
          </a:xfrm>
        </p:grpSpPr>
        <p:cxnSp>
          <p:nvCxnSpPr>
            <p:cNvPr id="27" name="Straight Connector 36">
              <a:extLst>
                <a:ext uri="{FF2B5EF4-FFF2-40B4-BE49-F238E27FC236}">
                  <a16:creationId xmlns:a16="http://schemas.microsoft.com/office/drawing/2014/main" id="{40A84362-6C9C-459E-8729-74049B4935F3}"/>
                </a:ext>
              </a:extLst>
            </p:cNvPr>
            <p:cNvCxnSpPr>
              <a:cxnSpLocks/>
            </p:cNvCxnSpPr>
            <p:nvPr/>
          </p:nvCxnSpPr>
          <p:spPr>
            <a:xfrm flipH="1" flipV="1">
              <a:off x="3910048" y="2100506"/>
              <a:ext cx="280181" cy="280181"/>
            </a:xfrm>
            <a:prstGeom prst="line">
              <a:avLst/>
            </a:prstGeom>
            <a:ln w="28575">
              <a:solidFill>
                <a:schemeClr val="accent4"/>
              </a:solidFill>
              <a:headEnd type="oval"/>
            </a:ln>
          </p:spPr>
          <p:style>
            <a:lnRef idx="1">
              <a:schemeClr val="accent1"/>
            </a:lnRef>
            <a:fillRef idx="0">
              <a:schemeClr val="accent1"/>
            </a:fillRef>
            <a:effectRef idx="0">
              <a:schemeClr val="accent1"/>
            </a:effectRef>
            <a:fontRef idx="minor">
              <a:schemeClr val="tx1"/>
            </a:fontRef>
          </p:style>
        </p:cxnSp>
        <p:cxnSp>
          <p:nvCxnSpPr>
            <p:cNvPr id="28" name="Straight Connector 37">
              <a:extLst>
                <a:ext uri="{FF2B5EF4-FFF2-40B4-BE49-F238E27FC236}">
                  <a16:creationId xmlns:a16="http://schemas.microsoft.com/office/drawing/2014/main" id="{43A8FB70-C302-480B-96A8-5DDD21D00D2D}"/>
                </a:ext>
              </a:extLst>
            </p:cNvPr>
            <p:cNvCxnSpPr>
              <a:cxnSpLocks/>
            </p:cNvCxnSpPr>
            <p:nvPr/>
          </p:nvCxnSpPr>
          <p:spPr>
            <a:xfrm flipH="1">
              <a:off x="3430671" y="2105266"/>
              <a:ext cx="487443" cy="0"/>
            </a:xfrm>
            <a:prstGeom prst="line">
              <a:avLst/>
            </a:prstGeom>
            <a:ln w="28575">
              <a:solidFill>
                <a:schemeClr val="accent4"/>
              </a:solidFill>
              <a:tailEnd type="oval"/>
            </a:ln>
          </p:spPr>
          <p:style>
            <a:lnRef idx="1">
              <a:schemeClr val="accent1"/>
            </a:lnRef>
            <a:fillRef idx="0">
              <a:schemeClr val="accent1"/>
            </a:fillRef>
            <a:effectRef idx="0">
              <a:schemeClr val="accent1"/>
            </a:effectRef>
            <a:fontRef idx="minor">
              <a:schemeClr val="tx1"/>
            </a:fontRef>
          </p:style>
        </p:cxnSp>
      </p:grpSp>
      <p:sp>
        <p:nvSpPr>
          <p:cNvPr id="29" name="TextBox 38">
            <a:extLst>
              <a:ext uri="{FF2B5EF4-FFF2-40B4-BE49-F238E27FC236}">
                <a16:creationId xmlns:a16="http://schemas.microsoft.com/office/drawing/2014/main" id="{FA7EB977-6472-4683-BB3C-30E9D793AC5A}"/>
              </a:ext>
            </a:extLst>
          </p:cNvPr>
          <p:cNvSpPr txBox="1"/>
          <p:nvPr/>
        </p:nvSpPr>
        <p:spPr>
          <a:xfrm>
            <a:off x="622448" y="4659565"/>
            <a:ext cx="2251643" cy="616836"/>
          </a:xfrm>
          <a:prstGeom prst="rect">
            <a:avLst/>
          </a:prstGeom>
          <a:noFill/>
        </p:spPr>
        <p:txBody>
          <a:bodyPr wrap="square" rtlCol="0">
            <a:spAutoFit/>
          </a:bodyPr>
          <a:lstStyle/>
          <a:p>
            <a:pPr marL="0" marR="0" lvl="0" indent="0" algn="r" defTabSz="914400" rtl="0" eaLnBrk="1" fontAlgn="auto" latinLnBrk="0" hangingPunct="1">
              <a:lnSpc>
                <a:spcPct val="15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rPr>
              <a:t>A wonderful serenity </a:t>
            </a:r>
            <a:r>
              <a:rPr kumimoji="0" lang="en-US" sz="1200" b="0" i="0" u="none" strike="noStrike" kern="1200" cap="none" spc="0" normalizeH="0" baseline="0" noProof="0">
                <a:ln>
                  <a:noFill/>
                </a:ln>
                <a:solidFill>
                  <a:srgbClr val="000000"/>
                </a:solidFill>
                <a:effectLst/>
                <a:uLnTx/>
                <a:uFillTx/>
                <a:latin typeface="等线" panose="020F0502020204030204"/>
                <a:ea typeface="+mn-ea"/>
                <a:cs typeface="+mn-cs"/>
              </a:rPr>
              <a:t>has taken has this </a:t>
            </a:r>
            <a:r>
              <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rPr>
              <a:t>possession of </a:t>
            </a:r>
            <a:r>
              <a:rPr kumimoji="0" lang="en-US" sz="1200" b="0" i="0" u="none" strike="noStrike" kern="1200" cap="none" spc="0" normalizeH="0" baseline="0" noProof="0">
                <a:ln>
                  <a:noFill/>
                </a:ln>
                <a:solidFill>
                  <a:srgbClr val="000000"/>
                </a:solidFill>
                <a:effectLst/>
                <a:uLnTx/>
                <a:uFillTx/>
                <a:latin typeface="等线" panose="020F0502020204030204"/>
                <a:ea typeface="+mn-ea"/>
                <a:cs typeface="+mn-cs"/>
              </a:rPr>
              <a:t>my entire</a:t>
            </a:r>
            <a:endPar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30" name="TextBox 39">
            <a:extLst>
              <a:ext uri="{FF2B5EF4-FFF2-40B4-BE49-F238E27FC236}">
                <a16:creationId xmlns:a16="http://schemas.microsoft.com/office/drawing/2014/main" id="{CB51D9A7-44C2-4627-9008-BFA23819BC41}"/>
              </a:ext>
            </a:extLst>
          </p:cNvPr>
          <p:cNvSpPr txBox="1"/>
          <p:nvPr/>
        </p:nvSpPr>
        <p:spPr>
          <a:xfrm>
            <a:off x="726069" y="4397429"/>
            <a:ext cx="2148023" cy="338554"/>
          </a:xfrm>
          <a:prstGeom prst="rect">
            <a:avLst/>
          </a:prstGeom>
          <a:noFill/>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等线 Light" panose="020F0302020204030204"/>
                <a:ea typeface="+mn-ea"/>
                <a:cs typeface="+mn-cs"/>
              </a:rPr>
              <a:t>Description</a:t>
            </a:r>
          </a:p>
        </p:txBody>
      </p:sp>
      <p:sp>
        <p:nvSpPr>
          <p:cNvPr id="31" name="TextBox 40">
            <a:extLst>
              <a:ext uri="{FF2B5EF4-FFF2-40B4-BE49-F238E27FC236}">
                <a16:creationId xmlns:a16="http://schemas.microsoft.com/office/drawing/2014/main" id="{6A8872E1-F967-4A9C-BD12-2BA537B8B092}"/>
              </a:ext>
            </a:extLst>
          </p:cNvPr>
          <p:cNvSpPr txBox="1"/>
          <p:nvPr/>
        </p:nvSpPr>
        <p:spPr>
          <a:xfrm>
            <a:off x="2776150" y="4471271"/>
            <a:ext cx="1155770" cy="52322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8F38FF"/>
                </a:solidFill>
                <a:effectLst/>
                <a:uLnTx/>
                <a:uFillTx/>
                <a:latin typeface="等线 Light" panose="020F0302020204030204"/>
                <a:ea typeface="+mn-ea"/>
                <a:cs typeface="+mn-cs"/>
              </a:rPr>
              <a:t>240K</a:t>
            </a:r>
          </a:p>
        </p:txBody>
      </p:sp>
      <p:grpSp>
        <p:nvGrpSpPr>
          <p:cNvPr id="32" name="Graphic 1">
            <a:extLst>
              <a:ext uri="{FF2B5EF4-FFF2-40B4-BE49-F238E27FC236}">
                <a16:creationId xmlns:a16="http://schemas.microsoft.com/office/drawing/2014/main" id="{09D07485-E268-4A12-9AD7-BA7242454A37}"/>
              </a:ext>
            </a:extLst>
          </p:cNvPr>
          <p:cNvGrpSpPr/>
          <p:nvPr/>
        </p:nvGrpSpPr>
        <p:grpSpPr>
          <a:xfrm>
            <a:off x="5906078" y="2568198"/>
            <a:ext cx="345566" cy="208722"/>
            <a:chOff x="1347787" y="2615565"/>
            <a:chExt cx="952500" cy="575309"/>
          </a:xfrm>
          <a:solidFill>
            <a:schemeClr val="bg2"/>
          </a:solidFill>
        </p:grpSpPr>
        <p:sp>
          <p:nvSpPr>
            <p:cNvPr id="33" name="Freeform: Shape 45">
              <a:extLst>
                <a:ext uri="{FF2B5EF4-FFF2-40B4-BE49-F238E27FC236}">
                  <a16:creationId xmlns:a16="http://schemas.microsoft.com/office/drawing/2014/main" id="{3A0E0DD2-F140-482B-8254-E64229CEF037}"/>
                </a:ext>
              </a:extLst>
            </p:cNvPr>
            <p:cNvSpPr/>
            <p:nvPr/>
          </p:nvSpPr>
          <p:spPr>
            <a:xfrm>
              <a:off x="2062162" y="2812732"/>
              <a:ext cx="238125" cy="378142"/>
            </a:xfrm>
            <a:custGeom>
              <a:avLst/>
              <a:gdLst>
                <a:gd name="connsiteX0" fmla="*/ 43815 w 238125"/>
                <a:gd name="connsiteY0" fmla="*/ 0 h 378142"/>
                <a:gd name="connsiteX1" fmla="*/ 0 w 238125"/>
                <a:gd name="connsiteY1" fmla="*/ 0 h 378142"/>
                <a:gd name="connsiteX2" fmla="*/ 0 w 238125"/>
                <a:gd name="connsiteY2" fmla="*/ 378142 h 378142"/>
                <a:gd name="connsiteX3" fmla="*/ 238125 w 238125"/>
                <a:gd name="connsiteY3" fmla="*/ 378142 h 378142"/>
                <a:gd name="connsiteX4" fmla="*/ 238125 w 238125"/>
                <a:gd name="connsiteY4" fmla="*/ 195263 h 378142"/>
                <a:gd name="connsiteX5" fmla="*/ 43815 w 238125"/>
                <a:gd name="connsiteY5" fmla="*/ 0 h 3781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8125" h="378142">
                  <a:moveTo>
                    <a:pt x="43815" y="0"/>
                  </a:moveTo>
                  <a:lnTo>
                    <a:pt x="0" y="0"/>
                  </a:lnTo>
                  <a:lnTo>
                    <a:pt x="0" y="378142"/>
                  </a:lnTo>
                  <a:lnTo>
                    <a:pt x="238125" y="378142"/>
                  </a:lnTo>
                  <a:lnTo>
                    <a:pt x="238125" y="195263"/>
                  </a:lnTo>
                  <a:cubicBezTo>
                    <a:pt x="238125" y="87630"/>
                    <a:pt x="150495" y="0"/>
                    <a:pt x="43815" y="0"/>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4" name="Freeform: Shape 46">
              <a:extLst>
                <a:ext uri="{FF2B5EF4-FFF2-40B4-BE49-F238E27FC236}">
                  <a16:creationId xmlns:a16="http://schemas.microsoft.com/office/drawing/2014/main" id="{30AC4DF0-65A5-49A7-A8EE-25B49422B74E}"/>
                </a:ext>
              </a:extLst>
            </p:cNvPr>
            <p:cNvSpPr/>
            <p:nvPr/>
          </p:nvSpPr>
          <p:spPr>
            <a:xfrm>
              <a:off x="1347787" y="2714625"/>
              <a:ext cx="139065" cy="476250"/>
            </a:xfrm>
            <a:custGeom>
              <a:avLst/>
              <a:gdLst>
                <a:gd name="connsiteX0" fmla="*/ 0 w 139065"/>
                <a:gd name="connsiteY0" fmla="*/ 0 h 476250"/>
                <a:gd name="connsiteX1" fmla="*/ 139065 w 139065"/>
                <a:gd name="connsiteY1" fmla="*/ 0 h 476250"/>
                <a:gd name="connsiteX2" fmla="*/ 139065 w 139065"/>
                <a:gd name="connsiteY2" fmla="*/ 476250 h 476250"/>
                <a:gd name="connsiteX3" fmla="*/ 0 w 139065"/>
                <a:gd name="connsiteY3" fmla="*/ 476250 h 476250"/>
              </a:gdLst>
              <a:ahLst/>
              <a:cxnLst>
                <a:cxn ang="0">
                  <a:pos x="connsiteX0" y="connsiteY0"/>
                </a:cxn>
                <a:cxn ang="0">
                  <a:pos x="connsiteX1" y="connsiteY1"/>
                </a:cxn>
                <a:cxn ang="0">
                  <a:pos x="connsiteX2" y="connsiteY2"/>
                </a:cxn>
                <a:cxn ang="0">
                  <a:pos x="connsiteX3" y="connsiteY3"/>
                </a:cxn>
              </a:cxnLst>
              <a:rect l="l" t="t" r="r" b="b"/>
              <a:pathLst>
                <a:path w="139065" h="476250">
                  <a:moveTo>
                    <a:pt x="0" y="0"/>
                  </a:moveTo>
                  <a:lnTo>
                    <a:pt x="139065" y="0"/>
                  </a:lnTo>
                  <a:lnTo>
                    <a:pt x="139065" y="476250"/>
                  </a:lnTo>
                  <a:lnTo>
                    <a:pt x="0" y="47625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5" name="Freeform: Shape 47">
              <a:extLst>
                <a:ext uri="{FF2B5EF4-FFF2-40B4-BE49-F238E27FC236}">
                  <a16:creationId xmlns:a16="http://schemas.microsoft.com/office/drawing/2014/main" id="{B6670F9E-18C3-499B-8280-7BC91B1500FE}"/>
                </a:ext>
              </a:extLst>
            </p:cNvPr>
            <p:cNvSpPr/>
            <p:nvPr/>
          </p:nvSpPr>
          <p:spPr>
            <a:xfrm>
              <a:off x="1522094" y="2615565"/>
              <a:ext cx="540067" cy="435292"/>
            </a:xfrm>
            <a:custGeom>
              <a:avLst/>
              <a:gdLst>
                <a:gd name="connsiteX0" fmla="*/ 344805 w 540067"/>
                <a:gd name="connsiteY0" fmla="*/ 99060 h 435292"/>
                <a:gd name="connsiteX1" fmla="*/ 540068 w 540067"/>
                <a:gd name="connsiteY1" fmla="*/ 99060 h 435292"/>
                <a:gd name="connsiteX2" fmla="*/ 540068 w 540067"/>
                <a:gd name="connsiteY2" fmla="*/ 0 h 435292"/>
                <a:gd name="connsiteX3" fmla="*/ 344805 w 540067"/>
                <a:gd name="connsiteY3" fmla="*/ 0 h 435292"/>
                <a:gd name="connsiteX4" fmla="*/ 259080 w 540067"/>
                <a:gd name="connsiteY4" fmla="*/ 0 h 435292"/>
                <a:gd name="connsiteX5" fmla="*/ 63818 w 540067"/>
                <a:gd name="connsiteY5" fmla="*/ 0 h 435292"/>
                <a:gd name="connsiteX6" fmla="*/ 63818 w 540067"/>
                <a:gd name="connsiteY6" fmla="*/ 99060 h 435292"/>
                <a:gd name="connsiteX7" fmla="*/ 259080 w 540067"/>
                <a:gd name="connsiteY7" fmla="*/ 99060 h 435292"/>
                <a:gd name="connsiteX8" fmla="*/ 259080 w 540067"/>
                <a:gd name="connsiteY8" fmla="*/ 197167 h 435292"/>
                <a:gd name="connsiteX9" fmla="*/ 0 w 540067"/>
                <a:gd name="connsiteY9" fmla="*/ 197167 h 435292"/>
                <a:gd name="connsiteX10" fmla="*/ 0 w 540067"/>
                <a:gd name="connsiteY10" fmla="*/ 435292 h 435292"/>
                <a:gd name="connsiteX11" fmla="*/ 505778 w 540067"/>
                <a:gd name="connsiteY11" fmla="*/ 435292 h 435292"/>
                <a:gd name="connsiteX12" fmla="*/ 505778 w 540067"/>
                <a:gd name="connsiteY12" fmla="*/ 197167 h 435292"/>
                <a:gd name="connsiteX13" fmla="*/ 344805 w 540067"/>
                <a:gd name="connsiteY13" fmla="*/ 197167 h 435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40067" h="435292">
                  <a:moveTo>
                    <a:pt x="344805" y="99060"/>
                  </a:moveTo>
                  <a:lnTo>
                    <a:pt x="540068" y="99060"/>
                  </a:lnTo>
                  <a:lnTo>
                    <a:pt x="540068" y="0"/>
                  </a:lnTo>
                  <a:lnTo>
                    <a:pt x="344805" y="0"/>
                  </a:lnTo>
                  <a:lnTo>
                    <a:pt x="259080" y="0"/>
                  </a:lnTo>
                  <a:lnTo>
                    <a:pt x="63818" y="0"/>
                  </a:lnTo>
                  <a:lnTo>
                    <a:pt x="63818" y="99060"/>
                  </a:lnTo>
                  <a:lnTo>
                    <a:pt x="259080" y="99060"/>
                  </a:lnTo>
                  <a:lnTo>
                    <a:pt x="259080" y="197167"/>
                  </a:lnTo>
                  <a:lnTo>
                    <a:pt x="0" y="197167"/>
                  </a:lnTo>
                  <a:lnTo>
                    <a:pt x="0" y="435292"/>
                  </a:lnTo>
                  <a:lnTo>
                    <a:pt x="505778" y="435292"/>
                  </a:lnTo>
                  <a:lnTo>
                    <a:pt x="505778" y="197167"/>
                  </a:lnTo>
                  <a:lnTo>
                    <a:pt x="344805" y="197167"/>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grpSp>
        <p:nvGrpSpPr>
          <p:cNvPr id="36" name="Graphic 1">
            <a:extLst>
              <a:ext uri="{FF2B5EF4-FFF2-40B4-BE49-F238E27FC236}">
                <a16:creationId xmlns:a16="http://schemas.microsoft.com/office/drawing/2014/main" id="{84C107ED-7F98-446D-8DD2-A44BD05059CA}"/>
              </a:ext>
            </a:extLst>
          </p:cNvPr>
          <p:cNvGrpSpPr/>
          <p:nvPr/>
        </p:nvGrpSpPr>
        <p:grpSpPr>
          <a:xfrm>
            <a:off x="5929751" y="3279354"/>
            <a:ext cx="298220" cy="297874"/>
            <a:chOff x="3634739" y="2474595"/>
            <a:chExt cx="822007" cy="821054"/>
          </a:xfrm>
          <a:solidFill>
            <a:schemeClr val="bg2"/>
          </a:solidFill>
        </p:grpSpPr>
        <p:sp>
          <p:nvSpPr>
            <p:cNvPr id="37" name="Freeform: Shape 49">
              <a:extLst>
                <a:ext uri="{FF2B5EF4-FFF2-40B4-BE49-F238E27FC236}">
                  <a16:creationId xmlns:a16="http://schemas.microsoft.com/office/drawing/2014/main" id="{B0F8D03D-D847-42F5-BB49-652007C6300C}"/>
                </a:ext>
              </a:extLst>
            </p:cNvPr>
            <p:cNvSpPr/>
            <p:nvPr/>
          </p:nvSpPr>
          <p:spPr>
            <a:xfrm>
              <a:off x="3672702" y="2474595"/>
              <a:ext cx="784044" cy="784044"/>
            </a:xfrm>
            <a:custGeom>
              <a:avLst/>
              <a:gdLst>
                <a:gd name="connsiteX0" fmla="*/ 784045 w 784044"/>
                <a:gd name="connsiteY0" fmla="*/ 0 h 784044"/>
                <a:gd name="connsiteX1" fmla="*/ 584020 w 784044"/>
                <a:gd name="connsiteY1" fmla="*/ 683895 h 784044"/>
                <a:gd name="connsiteX2" fmla="*/ 115390 w 784044"/>
                <a:gd name="connsiteY2" fmla="*/ 698183 h 784044"/>
                <a:gd name="connsiteX3" fmla="*/ 180160 w 784044"/>
                <a:gd name="connsiteY3" fmla="*/ 633413 h 784044"/>
                <a:gd name="connsiteX4" fmla="*/ 387805 w 784044"/>
                <a:gd name="connsiteY4" fmla="*/ 609600 h 784044"/>
                <a:gd name="connsiteX5" fmla="*/ 383042 w 784044"/>
                <a:gd name="connsiteY5" fmla="*/ 568643 h 784044"/>
                <a:gd name="connsiteX6" fmla="*/ 226832 w 784044"/>
                <a:gd name="connsiteY6" fmla="*/ 586740 h 784044"/>
                <a:gd name="connsiteX7" fmla="*/ 302080 w 784044"/>
                <a:gd name="connsiteY7" fmla="*/ 511492 h 784044"/>
                <a:gd name="connsiteX8" fmla="*/ 509725 w 784044"/>
                <a:gd name="connsiteY8" fmla="*/ 487680 h 784044"/>
                <a:gd name="connsiteX9" fmla="*/ 504962 w 784044"/>
                <a:gd name="connsiteY9" fmla="*/ 446722 h 784044"/>
                <a:gd name="connsiteX10" fmla="*/ 348752 w 784044"/>
                <a:gd name="connsiteY10" fmla="*/ 464820 h 784044"/>
                <a:gd name="connsiteX11" fmla="*/ 504962 w 784044"/>
                <a:gd name="connsiteY11" fmla="*/ 308610 h 784044"/>
                <a:gd name="connsiteX12" fmla="*/ 475435 w 784044"/>
                <a:gd name="connsiteY12" fmla="*/ 279083 h 784044"/>
                <a:gd name="connsiteX13" fmla="*/ 323035 w 784044"/>
                <a:gd name="connsiteY13" fmla="*/ 431483 h 784044"/>
                <a:gd name="connsiteX14" fmla="*/ 344942 w 784044"/>
                <a:gd name="connsiteY14" fmla="*/ 293370 h 784044"/>
                <a:gd name="connsiteX15" fmla="*/ 303985 w 784044"/>
                <a:gd name="connsiteY15" fmla="*/ 286702 h 784044"/>
                <a:gd name="connsiteX16" fmla="*/ 273505 w 784044"/>
                <a:gd name="connsiteY16" fmla="*/ 481013 h 784044"/>
                <a:gd name="connsiteX17" fmla="*/ 201115 w 784044"/>
                <a:gd name="connsiteY17" fmla="*/ 553402 h 784044"/>
                <a:gd name="connsiteX18" fmla="*/ 223022 w 784044"/>
                <a:gd name="connsiteY18" fmla="*/ 415290 h 784044"/>
                <a:gd name="connsiteX19" fmla="*/ 182065 w 784044"/>
                <a:gd name="connsiteY19" fmla="*/ 408622 h 784044"/>
                <a:gd name="connsiteX20" fmla="*/ 151585 w 784044"/>
                <a:gd name="connsiteY20" fmla="*/ 602933 h 784044"/>
                <a:gd name="connsiteX21" fmla="*/ 85862 w 784044"/>
                <a:gd name="connsiteY21" fmla="*/ 668655 h 784044"/>
                <a:gd name="connsiteX22" fmla="*/ 100150 w 784044"/>
                <a:gd name="connsiteY22" fmla="*/ 200025 h 784044"/>
                <a:gd name="connsiteX23" fmla="*/ 784045 w 784044"/>
                <a:gd name="connsiteY23" fmla="*/ 0 h 784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784044" h="784044">
                  <a:moveTo>
                    <a:pt x="784045" y="0"/>
                  </a:moveTo>
                  <a:cubicBezTo>
                    <a:pt x="784045" y="0"/>
                    <a:pt x="717370" y="549593"/>
                    <a:pt x="584020" y="683895"/>
                  </a:cubicBezTo>
                  <a:cubicBezTo>
                    <a:pt x="455432" y="812483"/>
                    <a:pt x="249692" y="817245"/>
                    <a:pt x="115390" y="698183"/>
                  </a:cubicBezTo>
                  <a:lnTo>
                    <a:pt x="180160" y="633413"/>
                  </a:lnTo>
                  <a:lnTo>
                    <a:pt x="387805" y="609600"/>
                  </a:lnTo>
                  <a:lnTo>
                    <a:pt x="383042" y="568643"/>
                  </a:lnTo>
                  <a:lnTo>
                    <a:pt x="226832" y="586740"/>
                  </a:lnTo>
                  <a:lnTo>
                    <a:pt x="302080" y="511492"/>
                  </a:lnTo>
                  <a:lnTo>
                    <a:pt x="509725" y="487680"/>
                  </a:lnTo>
                  <a:lnTo>
                    <a:pt x="504962" y="446722"/>
                  </a:lnTo>
                  <a:lnTo>
                    <a:pt x="348752" y="464820"/>
                  </a:lnTo>
                  <a:lnTo>
                    <a:pt x="504962" y="308610"/>
                  </a:lnTo>
                  <a:lnTo>
                    <a:pt x="475435" y="279083"/>
                  </a:lnTo>
                  <a:lnTo>
                    <a:pt x="323035" y="431483"/>
                  </a:lnTo>
                  <a:lnTo>
                    <a:pt x="344942" y="293370"/>
                  </a:lnTo>
                  <a:lnTo>
                    <a:pt x="303985" y="286702"/>
                  </a:lnTo>
                  <a:lnTo>
                    <a:pt x="273505" y="481013"/>
                  </a:lnTo>
                  <a:lnTo>
                    <a:pt x="201115" y="553402"/>
                  </a:lnTo>
                  <a:lnTo>
                    <a:pt x="223022" y="415290"/>
                  </a:lnTo>
                  <a:lnTo>
                    <a:pt x="182065" y="408622"/>
                  </a:lnTo>
                  <a:lnTo>
                    <a:pt x="151585" y="602933"/>
                  </a:lnTo>
                  <a:lnTo>
                    <a:pt x="85862" y="668655"/>
                  </a:lnTo>
                  <a:cubicBezTo>
                    <a:pt x="-33200" y="534352"/>
                    <a:pt x="-28438" y="328613"/>
                    <a:pt x="100150" y="200025"/>
                  </a:cubicBezTo>
                  <a:cubicBezTo>
                    <a:pt x="233500" y="66675"/>
                    <a:pt x="784045" y="0"/>
                    <a:pt x="784045" y="0"/>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8" name="Freeform: Shape 50">
              <a:extLst>
                <a:ext uri="{FF2B5EF4-FFF2-40B4-BE49-F238E27FC236}">
                  <a16:creationId xmlns:a16="http://schemas.microsoft.com/office/drawing/2014/main" id="{AF0A445D-D41C-4910-851D-76741E48E35B}"/>
                </a:ext>
              </a:extLst>
            </p:cNvPr>
            <p:cNvSpPr/>
            <p:nvPr/>
          </p:nvSpPr>
          <p:spPr>
            <a:xfrm>
              <a:off x="3634739" y="3143250"/>
              <a:ext cx="153352" cy="152400"/>
            </a:xfrm>
            <a:custGeom>
              <a:avLst/>
              <a:gdLst>
                <a:gd name="connsiteX0" fmla="*/ 153353 w 153352"/>
                <a:gd name="connsiteY0" fmla="*/ 29528 h 152400"/>
                <a:gd name="connsiteX1" fmla="*/ 29527 w 153352"/>
                <a:gd name="connsiteY1" fmla="*/ 152400 h 152400"/>
                <a:gd name="connsiteX2" fmla="*/ 0 w 153352"/>
                <a:gd name="connsiteY2" fmla="*/ 122872 h 152400"/>
                <a:gd name="connsiteX3" fmla="*/ 122872 w 153352"/>
                <a:gd name="connsiteY3" fmla="*/ 0 h 152400"/>
                <a:gd name="connsiteX4" fmla="*/ 137160 w 153352"/>
                <a:gd name="connsiteY4" fmla="*/ 15240 h 152400"/>
                <a:gd name="connsiteX5" fmla="*/ 153353 w 153352"/>
                <a:gd name="connsiteY5" fmla="*/ 29528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3352" h="152400">
                  <a:moveTo>
                    <a:pt x="153353" y="29528"/>
                  </a:moveTo>
                  <a:lnTo>
                    <a:pt x="29527" y="152400"/>
                  </a:lnTo>
                  <a:lnTo>
                    <a:pt x="0" y="122872"/>
                  </a:lnTo>
                  <a:lnTo>
                    <a:pt x="122872" y="0"/>
                  </a:lnTo>
                  <a:cubicBezTo>
                    <a:pt x="127635" y="4763"/>
                    <a:pt x="132397" y="10478"/>
                    <a:pt x="137160" y="15240"/>
                  </a:cubicBezTo>
                  <a:cubicBezTo>
                    <a:pt x="142875" y="20003"/>
                    <a:pt x="147638" y="24765"/>
                    <a:pt x="153353" y="2952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grpSp>
        <p:nvGrpSpPr>
          <p:cNvPr id="39" name="Graphic 1">
            <a:extLst>
              <a:ext uri="{FF2B5EF4-FFF2-40B4-BE49-F238E27FC236}">
                <a16:creationId xmlns:a16="http://schemas.microsoft.com/office/drawing/2014/main" id="{01401446-BE5C-4A08-A385-98C5989B742E}"/>
              </a:ext>
            </a:extLst>
          </p:cNvPr>
          <p:cNvGrpSpPr/>
          <p:nvPr/>
        </p:nvGrpSpPr>
        <p:grpSpPr>
          <a:xfrm>
            <a:off x="5882753" y="4136040"/>
            <a:ext cx="392216" cy="314810"/>
            <a:chOff x="6348412" y="2426970"/>
            <a:chExt cx="1081087" cy="867727"/>
          </a:xfrm>
          <a:solidFill>
            <a:schemeClr val="bg2"/>
          </a:solidFill>
        </p:grpSpPr>
        <p:grpSp>
          <p:nvGrpSpPr>
            <p:cNvPr id="40" name="Graphic 1">
              <a:extLst>
                <a:ext uri="{FF2B5EF4-FFF2-40B4-BE49-F238E27FC236}">
                  <a16:creationId xmlns:a16="http://schemas.microsoft.com/office/drawing/2014/main" id="{394C0762-91F0-424E-8A92-3D04019CDD74}"/>
                </a:ext>
              </a:extLst>
            </p:cNvPr>
            <p:cNvGrpSpPr/>
            <p:nvPr/>
          </p:nvGrpSpPr>
          <p:grpSpPr>
            <a:xfrm>
              <a:off x="6348412" y="2426970"/>
              <a:ext cx="1081087" cy="529589"/>
              <a:chOff x="6348412" y="2426970"/>
              <a:chExt cx="1081087" cy="529589"/>
            </a:xfrm>
            <a:grpFill/>
          </p:grpSpPr>
          <p:sp>
            <p:nvSpPr>
              <p:cNvPr id="42" name="Freeform: Shape 54">
                <a:extLst>
                  <a:ext uri="{FF2B5EF4-FFF2-40B4-BE49-F238E27FC236}">
                    <a16:creationId xmlns:a16="http://schemas.microsoft.com/office/drawing/2014/main" id="{E1DEA49F-3859-45F6-855F-4754EE5082C1}"/>
                  </a:ext>
                </a:extLst>
              </p:cNvPr>
              <p:cNvSpPr/>
              <p:nvPr/>
            </p:nvSpPr>
            <p:spPr>
              <a:xfrm>
                <a:off x="6348412" y="2426970"/>
                <a:ext cx="463867" cy="333375"/>
              </a:xfrm>
              <a:custGeom>
                <a:avLst/>
                <a:gdLst>
                  <a:gd name="connsiteX0" fmla="*/ 442913 w 463867"/>
                  <a:gd name="connsiteY0" fmla="*/ 189547 h 333375"/>
                  <a:gd name="connsiteX1" fmla="*/ 462915 w 463867"/>
                  <a:gd name="connsiteY1" fmla="*/ 194310 h 333375"/>
                  <a:gd name="connsiteX2" fmla="*/ 299085 w 463867"/>
                  <a:gd name="connsiteY2" fmla="*/ 333375 h 333375"/>
                  <a:gd name="connsiteX3" fmla="*/ 22860 w 463867"/>
                  <a:gd name="connsiteY3" fmla="*/ 184785 h 333375"/>
                  <a:gd name="connsiteX4" fmla="*/ 0 w 463867"/>
                  <a:gd name="connsiteY4" fmla="*/ 166688 h 333375"/>
                  <a:gd name="connsiteX5" fmla="*/ 22860 w 463867"/>
                  <a:gd name="connsiteY5" fmla="*/ 148590 h 333375"/>
                  <a:gd name="connsiteX6" fmla="*/ 299085 w 463867"/>
                  <a:gd name="connsiteY6" fmla="*/ 0 h 333375"/>
                  <a:gd name="connsiteX7" fmla="*/ 463868 w 463867"/>
                  <a:gd name="connsiteY7" fmla="*/ 146685 h 333375"/>
                  <a:gd name="connsiteX8" fmla="*/ 442913 w 463867"/>
                  <a:gd name="connsiteY8" fmla="*/ 143827 h 333375"/>
                  <a:gd name="connsiteX9" fmla="*/ 293370 w 463867"/>
                  <a:gd name="connsiteY9" fmla="*/ 143827 h 333375"/>
                  <a:gd name="connsiteX10" fmla="*/ 293370 w 463867"/>
                  <a:gd name="connsiteY10" fmla="*/ 189547 h 333375"/>
                  <a:gd name="connsiteX11" fmla="*/ 442913 w 463867"/>
                  <a:gd name="connsiteY11" fmla="*/ 189547 h 333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63867" h="333375">
                    <a:moveTo>
                      <a:pt x="442913" y="189547"/>
                    </a:moveTo>
                    <a:cubicBezTo>
                      <a:pt x="450532" y="189547"/>
                      <a:pt x="457200" y="191452"/>
                      <a:pt x="462915" y="194310"/>
                    </a:cubicBezTo>
                    <a:cubicBezTo>
                      <a:pt x="449580" y="273367"/>
                      <a:pt x="381000" y="333375"/>
                      <a:pt x="299085" y="333375"/>
                    </a:cubicBezTo>
                    <a:cubicBezTo>
                      <a:pt x="214313" y="333375"/>
                      <a:pt x="41910" y="200025"/>
                      <a:pt x="22860" y="184785"/>
                    </a:cubicBezTo>
                    <a:lnTo>
                      <a:pt x="0" y="166688"/>
                    </a:lnTo>
                    <a:lnTo>
                      <a:pt x="22860" y="148590"/>
                    </a:lnTo>
                    <a:cubicBezTo>
                      <a:pt x="41910" y="133350"/>
                      <a:pt x="215265" y="0"/>
                      <a:pt x="299085" y="0"/>
                    </a:cubicBezTo>
                    <a:cubicBezTo>
                      <a:pt x="383857" y="0"/>
                      <a:pt x="454343" y="63817"/>
                      <a:pt x="463868" y="146685"/>
                    </a:cubicBezTo>
                    <a:cubicBezTo>
                      <a:pt x="457200" y="144780"/>
                      <a:pt x="449580" y="143827"/>
                      <a:pt x="442913" y="143827"/>
                    </a:cubicBezTo>
                    <a:lnTo>
                      <a:pt x="293370" y="143827"/>
                    </a:lnTo>
                    <a:lnTo>
                      <a:pt x="293370" y="189547"/>
                    </a:lnTo>
                    <a:lnTo>
                      <a:pt x="442913" y="189547"/>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43" name="Freeform: Shape 55">
                <a:extLst>
                  <a:ext uri="{FF2B5EF4-FFF2-40B4-BE49-F238E27FC236}">
                    <a16:creationId xmlns:a16="http://schemas.microsoft.com/office/drawing/2014/main" id="{C5AD238E-D528-4199-B642-81DA3C80CC37}"/>
                  </a:ext>
                </a:extLst>
              </p:cNvPr>
              <p:cNvSpPr/>
              <p:nvPr/>
            </p:nvSpPr>
            <p:spPr>
              <a:xfrm>
                <a:off x="7052309" y="2685097"/>
                <a:ext cx="377189" cy="271462"/>
              </a:xfrm>
              <a:custGeom>
                <a:avLst/>
                <a:gdLst>
                  <a:gd name="connsiteX0" fmla="*/ 377190 w 377189"/>
                  <a:gd name="connsiteY0" fmla="*/ 135255 h 271462"/>
                  <a:gd name="connsiteX1" fmla="*/ 354330 w 377189"/>
                  <a:gd name="connsiteY1" fmla="*/ 153353 h 271462"/>
                  <a:gd name="connsiteX2" fmla="*/ 133350 w 377189"/>
                  <a:gd name="connsiteY2" fmla="*/ 271463 h 271462"/>
                  <a:gd name="connsiteX3" fmla="*/ 0 w 377189"/>
                  <a:gd name="connsiteY3" fmla="*/ 160973 h 271462"/>
                  <a:gd name="connsiteX4" fmla="*/ 28575 w 377189"/>
                  <a:gd name="connsiteY4" fmla="*/ 158115 h 271462"/>
                  <a:gd name="connsiteX5" fmla="*/ 155257 w 377189"/>
                  <a:gd name="connsiteY5" fmla="*/ 158115 h 271462"/>
                  <a:gd name="connsiteX6" fmla="*/ 155257 w 377189"/>
                  <a:gd name="connsiteY6" fmla="*/ 112395 h 271462"/>
                  <a:gd name="connsiteX7" fmla="*/ 29527 w 377189"/>
                  <a:gd name="connsiteY7" fmla="*/ 112395 h 271462"/>
                  <a:gd name="connsiteX8" fmla="*/ 0 w 377189"/>
                  <a:gd name="connsiteY8" fmla="*/ 115253 h 271462"/>
                  <a:gd name="connsiteX9" fmla="*/ 134302 w 377189"/>
                  <a:gd name="connsiteY9" fmla="*/ 0 h 271462"/>
                  <a:gd name="connsiteX10" fmla="*/ 355282 w 377189"/>
                  <a:gd name="connsiteY10" fmla="*/ 118110 h 271462"/>
                  <a:gd name="connsiteX11" fmla="*/ 377190 w 377189"/>
                  <a:gd name="connsiteY11" fmla="*/ 135255 h 2714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77189" h="271462">
                    <a:moveTo>
                      <a:pt x="377190" y="135255"/>
                    </a:moveTo>
                    <a:lnTo>
                      <a:pt x="354330" y="153353"/>
                    </a:lnTo>
                    <a:cubicBezTo>
                      <a:pt x="339090" y="165735"/>
                      <a:pt x="201930" y="271463"/>
                      <a:pt x="133350" y="271463"/>
                    </a:cubicBezTo>
                    <a:cubicBezTo>
                      <a:pt x="67627" y="271463"/>
                      <a:pt x="12382" y="223838"/>
                      <a:pt x="0" y="160973"/>
                    </a:cubicBezTo>
                    <a:cubicBezTo>
                      <a:pt x="8572" y="159068"/>
                      <a:pt x="18097" y="158115"/>
                      <a:pt x="28575" y="158115"/>
                    </a:cubicBezTo>
                    <a:lnTo>
                      <a:pt x="155257" y="158115"/>
                    </a:lnTo>
                    <a:lnTo>
                      <a:pt x="155257" y="112395"/>
                    </a:lnTo>
                    <a:lnTo>
                      <a:pt x="29527" y="112395"/>
                    </a:lnTo>
                    <a:cubicBezTo>
                      <a:pt x="19050" y="112395"/>
                      <a:pt x="9525" y="113348"/>
                      <a:pt x="0" y="115253"/>
                    </a:cubicBezTo>
                    <a:cubicBezTo>
                      <a:pt x="9525" y="49530"/>
                      <a:pt x="66675" y="0"/>
                      <a:pt x="134302" y="0"/>
                    </a:cubicBezTo>
                    <a:cubicBezTo>
                      <a:pt x="202882" y="0"/>
                      <a:pt x="340042" y="105728"/>
                      <a:pt x="355282" y="118110"/>
                    </a:cubicBezTo>
                    <a:lnTo>
                      <a:pt x="377190" y="135255"/>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sp>
          <p:nvSpPr>
            <p:cNvPr id="41" name="Freeform: Shape 53">
              <a:extLst>
                <a:ext uri="{FF2B5EF4-FFF2-40B4-BE49-F238E27FC236}">
                  <a16:creationId xmlns:a16="http://schemas.microsoft.com/office/drawing/2014/main" id="{2FB195CF-AA50-49CE-8BD2-649AEEC8D51A}"/>
                </a:ext>
              </a:extLst>
            </p:cNvPr>
            <p:cNvSpPr/>
            <p:nvPr/>
          </p:nvSpPr>
          <p:spPr>
            <a:xfrm>
              <a:off x="6679881" y="2572702"/>
              <a:ext cx="498157" cy="721994"/>
            </a:xfrm>
            <a:custGeom>
              <a:avLst/>
              <a:gdLst>
                <a:gd name="connsiteX0" fmla="*/ 272415 w 498157"/>
                <a:gd name="connsiteY0" fmla="*/ 452438 h 721994"/>
                <a:gd name="connsiteX1" fmla="*/ 324803 w 498157"/>
                <a:gd name="connsiteY1" fmla="*/ 300990 h 721994"/>
                <a:gd name="connsiteX2" fmla="*/ 373380 w 498157"/>
                <a:gd name="connsiteY2" fmla="*/ 273367 h 721994"/>
                <a:gd name="connsiteX3" fmla="*/ 370523 w 498157"/>
                <a:gd name="connsiteY3" fmla="*/ 247650 h 721994"/>
                <a:gd name="connsiteX4" fmla="*/ 372428 w 498157"/>
                <a:gd name="connsiteY4" fmla="*/ 227647 h 721994"/>
                <a:gd name="connsiteX5" fmla="*/ 292418 w 498157"/>
                <a:gd name="connsiteY5" fmla="*/ 269557 h 721994"/>
                <a:gd name="connsiteX6" fmla="*/ 265748 w 498157"/>
                <a:gd name="connsiteY6" fmla="*/ 304800 h 721994"/>
                <a:gd name="connsiteX7" fmla="*/ 181928 w 498157"/>
                <a:gd name="connsiteY7" fmla="*/ 29527 h 721994"/>
                <a:gd name="connsiteX8" fmla="*/ 132398 w 498157"/>
                <a:gd name="connsiteY8" fmla="*/ 0 h 721994"/>
                <a:gd name="connsiteX9" fmla="*/ 133350 w 498157"/>
                <a:gd name="connsiteY9" fmla="*/ 20002 h 721994"/>
                <a:gd name="connsiteX10" fmla="*/ 131445 w 498157"/>
                <a:gd name="connsiteY10" fmla="*/ 47625 h 721994"/>
                <a:gd name="connsiteX11" fmla="*/ 149543 w 498157"/>
                <a:gd name="connsiteY11" fmla="*/ 60960 h 721994"/>
                <a:gd name="connsiteX12" fmla="*/ 226695 w 498157"/>
                <a:gd name="connsiteY12" fmla="*/ 451485 h 721994"/>
                <a:gd name="connsiteX13" fmla="*/ 0 w 498157"/>
                <a:gd name="connsiteY13" fmla="*/ 699135 h 721994"/>
                <a:gd name="connsiteX14" fmla="*/ 0 w 498157"/>
                <a:gd name="connsiteY14" fmla="*/ 721995 h 721994"/>
                <a:gd name="connsiteX15" fmla="*/ 498157 w 498157"/>
                <a:gd name="connsiteY15" fmla="*/ 721995 h 721994"/>
                <a:gd name="connsiteX16" fmla="*/ 498157 w 498157"/>
                <a:gd name="connsiteY16" fmla="*/ 699135 h 721994"/>
                <a:gd name="connsiteX17" fmla="*/ 272415 w 498157"/>
                <a:gd name="connsiteY17" fmla="*/ 452438 h 721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98157" h="721994">
                  <a:moveTo>
                    <a:pt x="272415" y="452438"/>
                  </a:moveTo>
                  <a:cubicBezTo>
                    <a:pt x="274320" y="416242"/>
                    <a:pt x="283845" y="342900"/>
                    <a:pt x="324803" y="300990"/>
                  </a:cubicBezTo>
                  <a:cubicBezTo>
                    <a:pt x="339090" y="286702"/>
                    <a:pt x="354330" y="277177"/>
                    <a:pt x="373380" y="273367"/>
                  </a:cubicBezTo>
                  <a:cubicBezTo>
                    <a:pt x="371475" y="264795"/>
                    <a:pt x="370523" y="256222"/>
                    <a:pt x="370523" y="247650"/>
                  </a:cubicBezTo>
                  <a:cubicBezTo>
                    <a:pt x="370523" y="240982"/>
                    <a:pt x="371475" y="234315"/>
                    <a:pt x="372428" y="227647"/>
                  </a:cubicBezTo>
                  <a:cubicBezTo>
                    <a:pt x="340995" y="233363"/>
                    <a:pt x="314325" y="247650"/>
                    <a:pt x="292418" y="269557"/>
                  </a:cubicBezTo>
                  <a:cubicBezTo>
                    <a:pt x="281940" y="280035"/>
                    <a:pt x="273368" y="292417"/>
                    <a:pt x="265748" y="304800"/>
                  </a:cubicBezTo>
                  <a:cubicBezTo>
                    <a:pt x="256223" y="202882"/>
                    <a:pt x="234315" y="83820"/>
                    <a:pt x="181928" y="29527"/>
                  </a:cubicBezTo>
                  <a:cubicBezTo>
                    <a:pt x="167640" y="14288"/>
                    <a:pt x="150495" y="4763"/>
                    <a:pt x="132398" y="0"/>
                  </a:cubicBezTo>
                  <a:cubicBezTo>
                    <a:pt x="133350" y="6667"/>
                    <a:pt x="133350" y="13335"/>
                    <a:pt x="133350" y="20002"/>
                  </a:cubicBezTo>
                  <a:cubicBezTo>
                    <a:pt x="133350" y="29527"/>
                    <a:pt x="132398" y="38100"/>
                    <a:pt x="131445" y="47625"/>
                  </a:cubicBezTo>
                  <a:cubicBezTo>
                    <a:pt x="137160" y="50482"/>
                    <a:pt x="143828" y="55245"/>
                    <a:pt x="149543" y="60960"/>
                  </a:cubicBezTo>
                  <a:cubicBezTo>
                    <a:pt x="214313" y="127635"/>
                    <a:pt x="227648" y="348615"/>
                    <a:pt x="226695" y="451485"/>
                  </a:cubicBezTo>
                  <a:cubicBezTo>
                    <a:pt x="100013" y="462915"/>
                    <a:pt x="0" y="569595"/>
                    <a:pt x="0" y="699135"/>
                  </a:cubicBezTo>
                  <a:lnTo>
                    <a:pt x="0" y="721995"/>
                  </a:lnTo>
                  <a:lnTo>
                    <a:pt x="498157" y="721995"/>
                  </a:lnTo>
                  <a:lnTo>
                    <a:pt x="498157" y="699135"/>
                  </a:lnTo>
                  <a:cubicBezTo>
                    <a:pt x="498157" y="571500"/>
                    <a:pt x="398145" y="464820"/>
                    <a:pt x="272415" y="45243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grpSp>
        <p:nvGrpSpPr>
          <p:cNvPr id="44" name="Graphic 1">
            <a:extLst>
              <a:ext uri="{FF2B5EF4-FFF2-40B4-BE49-F238E27FC236}">
                <a16:creationId xmlns:a16="http://schemas.microsoft.com/office/drawing/2014/main" id="{3A0E662E-FA67-494F-B794-E5DF5EB2972D}"/>
              </a:ext>
            </a:extLst>
          </p:cNvPr>
          <p:cNvGrpSpPr/>
          <p:nvPr/>
        </p:nvGrpSpPr>
        <p:grpSpPr>
          <a:xfrm>
            <a:off x="5946856" y="5120089"/>
            <a:ext cx="264010" cy="264700"/>
            <a:chOff x="8959214" y="2548890"/>
            <a:chExt cx="727710" cy="729614"/>
          </a:xfrm>
          <a:solidFill>
            <a:schemeClr val="bg2"/>
          </a:solidFill>
        </p:grpSpPr>
        <p:sp>
          <p:nvSpPr>
            <p:cNvPr id="45" name="Freeform: Shape 57">
              <a:extLst>
                <a:ext uri="{FF2B5EF4-FFF2-40B4-BE49-F238E27FC236}">
                  <a16:creationId xmlns:a16="http://schemas.microsoft.com/office/drawing/2014/main" id="{55A8141A-CDE4-4EF5-9075-05F7EB6BEB27}"/>
                </a:ext>
              </a:extLst>
            </p:cNvPr>
            <p:cNvSpPr/>
            <p:nvPr/>
          </p:nvSpPr>
          <p:spPr>
            <a:xfrm>
              <a:off x="8959214" y="3156584"/>
              <a:ext cx="120967" cy="121920"/>
            </a:xfrm>
            <a:custGeom>
              <a:avLst/>
              <a:gdLst>
                <a:gd name="connsiteX0" fmla="*/ 120968 w 120967"/>
                <a:gd name="connsiteY0" fmla="*/ 33338 h 121920"/>
                <a:gd name="connsiteX1" fmla="*/ 33338 w 120967"/>
                <a:gd name="connsiteY1" fmla="*/ 121920 h 121920"/>
                <a:gd name="connsiteX2" fmla="*/ 0 w 120967"/>
                <a:gd name="connsiteY2" fmla="*/ 88583 h 121920"/>
                <a:gd name="connsiteX3" fmla="*/ 87630 w 120967"/>
                <a:gd name="connsiteY3" fmla="*/ 0 h 121920"/>
                <a:gd name="connsiteX4" fmla="*/ 103823 w 120967"/>
                <a:gd name="connsiteY4" fmla="*/ 18098 h 121920"/>
                <a:gd name="connsiteX5" fmla="*/ 120968 w 120967"/>
                <a:gd name="connsiteY5" fmla="*/ 33338 h 121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0967" h="121920">
                  <a:moveTo>
                    <a:pt x="120968" y="33338"/>
                  </a:moveTo>
                  <a:lnTo>
                    <a:pt x="33338" y="121920"/>
                  </a:lnTo>
                  <a:lnTo>
                    <a:pt x="0" y="88583"/>
                  </a:lnTo>
                  <a:lnTo>
                    <a:pt x="87630" y="0"/>
                  </a:lnTo>
                  <a:cubicBezTo>
                    <a:pt x="92393" y="5715"/>
                    <a:pt x="98108" y="12383"/>
                    <a:pt x="103823" y="18098"/>
                  </a:cubicBezTo>
                  <a:cubicBezTo>
                    <a:pt x="109538" y="22860"/>
                    <a:pt x="115253" y="27623"/>
                    <a:pt x="120968" y="3333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nvGrpSpPr>
            <p:cNvPr id="46" name="Graphic 1">
              <a:extLst>
                <a:ext uri="{FF2B5EF4-FFF2-40B4-BE49-F238E27FC236}">
                  <a16:creationId xmlns:a16="http://schemas.microsoft.com/office/drawing/2014/main" id="{DEE851ED-4CDB-4AC8-A35B-481A5B257FD0}"/>
                </a:ext>
              </a:extLst>
            </p:cNvPr>
            <p:cNvGrpSpPr/>
            <p:nvPr/>
          </p:nvGrpSpPr>
          <p:grpSpPr>
            <a:xfrm>
              <a:off x="8971174" y="2548890"/>
              <a:ext cx="715750" cy="716279"/>
              <a:chOff x="8971174" y="2548890"/>
              <a:chExt cx="715750" cy="716279"/>
            </a:xfrm>
            <a:grpFill/>
          </p:grpSpPr>
          <p:sp>
            <p:nvSpPr>
              <p:cNvPr id="47" name="Freeform: Shape 59">
                <a:extLst>
                  <a:ext uri="{FF2B5EF4-FFF2-40B4-BE49-F238E27FC236}">
                    <a16:creationId xmlns:a16="http://schemas.microsoft.com/office/drawing/2014/main" id="{751CD582-3866-475C-A13C-41AF68473AD0}"/>
                  </a:ext>
                </a:extLst>
              </p:cNvPr>
              <p:cNvSpPr/>
              <p:nvPr/>
            </p:nvSpPr>
            <p:spPr>
              <a:xfrm>
                <a:off x="8971174" y="2548890"/>
                <a:ext cx="715750" cy="716279"/>
              </a:xfrm>
              <a:custGeom>
                <a:avLst/>
                <a:gdLst>
                  <a:gd name="connsiteX0" fmla="*/ 686223 w 715750"/>
                  <a:gd name="connsiteY0" fmla="*/ 3810 h 716279"/>
                  <a:gd name="connsiteX1" fmla="*/ 91863 w 715750"/>
                  <a:gd name="connsiteY1" fmla="*/ 180975 h 716279"/>
                  <a:gd name="connsiteX2" fmla="*/ 75670 w 715750"/>
                  <a:gd name="connsiteY2" fmla="*/ 606743 h 716279"/>
                  <a:gd name="connsiteX3" fmla="*/ 149965 w 715750"/>
                  <a:gd name="connsiteY3" fmla="*/ 532447 h 716279"/>
                  <a:gd name="connsiteX4" fmla="*/ 183303 w 715750"/>
                  <a:gd name="connsiteY4" fmla="*/ 565785 h 716279"/>
                  <a:gd name="connsiteX5" fmla="*/ 109008 w 715750"/>
                  <a:gd name="connsiteY5" fmla="*/ 640080 h 716279"/>
                  <a:gd name="connsiteX6" fmla="*/ 313795 w 715750"/>
                  <a:gd name="connsiteY6" fmla="*/ 716280 h 716279"/>
                  <a:gd name="connsiteX7" fmla="*/ 535728 w 715750"/>
                  <a:gd name="connsiteY7" fmla="*/ 624840 h 716279"/>
                  <a:gd name="connsiteX8" fmla="*/ 711940 w 715750"/>
                  <a:gd name="connsiteY8" fmla="*/ 30480 h 716279"/>
                  <a:gd name="connsiteX9" fmla="*/ 715750 w 715750"/>
                  <a:gd name="connsiteY9" fmla="*/ 0 h 716279"/>
                  <a:gd name="connsiteX10" fmla="*/ 686223 w 715750"/>
                  <a:gd name="connsiteY10" fmla="*/ 3810 h 716279"/>
                  <a:gd name="connsiteX11" fmla="*/ 390948 w 715750"/>
                  <a:gd name="connsiteY11" fmla="*/ 454342 h 716279"/>
                  <a:gd name="connsiteX12" fmla="*/ 303318 w 715750"/>
                  <a:gd name="connsiteY12" fmla="*/ 488632 h 716279"/>
                  <a:gd name="connsiteX13" fmla="*/ 215688 w 715750"/>
                  <a:gd name="connsiteY13" fmla="*/ 455295 h 716279"/>
                  <a:gd name="connsiteX14" fmla="*/ 183303 w 715750"/>
                  <a:gd name="connsiteY14" fmla="*/ 362902 h 716279"/>
                  <a:gd name="connsiteX15" fmla="*/ 194733 w 715750"/>
                  <a:gd name="connsiteY15" fmla="*/ 299085 h 716279"/>
                  <a:gd name="connsiteX16" fmla="*/ 217593 w 715750"/>
                  <a:gd name="connsiteY16" fmla="*/ 264795 h 716279"/>
                  <a:gd name="connsiteX17" fmla="*/ 249978 w 715750"/>
                  <a:gd name="connsiteY17" fmla="*/ 242888 h 716279"/>
                  <a:gd name="connsiteX18" fmla="*/ 303318 w 715750"/>
                  <a:gd name="connsiteY18" fmla="*/ 233363 h 716279"/>
                  <a:gd name="connsiteX19" fmla="*/ 390948 w 715750"/>
                  <a:gd name="connsiteY19" fmla="*/ 267652 h 716279"/>
                  <a:gd name="connsiteX20" fmla="*/ 424286 w 715750"/>
                  <a:gd name="connsiteY20" fmla="*/ 361950 h 716279"/>
                  <a:gd name="connsiteX21" fmla="*/ 390948 w 715750"/>
                  <a:gd name="connsiteY21" fmla="*/ 454342 h 716279"/>
                  <a:gd name="connsiteX22" fmla="*/ 500486 w 715750"/>
                  <a:gd name="connsiteY22" fmla="*/ 500063 h 716279"/>
                  <a:gd name="connsiteX23" fmla="*/ 500486 w 715750"/>
                  <a:gd name="connsiteY23" fmla="*/ 516255 h 716279"/>
                  <a:gd name="connsiteX24" fmla="*/ 439525 w 715750"/>
                  <a:gd name="connsiteY24" fmla="*/ 516255 h 716279"/>
                  <a:gd name="connsiteX25" fmla="*/ 445240 w 715750"/>
                  <a:gd name="connsiteY25" fmla="*/ 499110 h 716279"/>
                  <a:gd name="connsiteX26" fmla="*/ 465243 w 715750"/>
                  <a:gd name="connsiteY26" fmla="*/ 477202 h 716279"/>
                  <a:gd name="connsiteX27" fmla="*/ 479530 w 715750"/>
                  <a:gd name="connsiteY27" fmla="*/ 461963 h 716279"/>
                  <a:gd name="connsiteX28" fmla="*/ 483340 w 715750"/>
                  <a:gd name="connsiteY28" fmla="*/ 451485 h 716279"/>
                  <a:gd name="connsiteX29" fmla="*/ 480483 w 715750"/>
                  <a:gd name="connsiteY29" fmla="*/ 442913 h 716279"/>
                  <a:gd name="connsiteX30" fmla="*/ 471911 w 715750"/>
                  <a:gd name="connsiteY30" fmla="*/ 440055 h 716279"/>
                  <a:gd name="connsiteX31" fmla="*/ 463338 w 715750"/>
                  <a:gd name="connsiteY31" fmla="*/ 442913 h 716279"/>
                  <a:gd name="connsiteX32" fmla="*/ 459528 w 715750"/>
                  <a:gd name="connsiteY32" fmla="*/ 454342 h 716279"/>
                  <a:gd name="connsiteX33" fmla="*/ 442383 w 715750"/>
                  <a:gd name="connsiteY33" fmla="*/ 452438 h 716279"/>
                  <a:gd name="connsiteX34" fmla="*/ 451908 w 715750"/>
                  <a:gd name="connsiteY34" fmla="*/ 431482 h 716279"/>
                  <a:gd name="connsiteX35" fmla="*/ 472863 w 715750"/>
                  <a:gd name="connsiteY35" fmla="*/ 424815 h 716279"/>
                  <a:gd name="connsiteX36" fmla="*/ 493818 w 715750"/>
                  <a:gd name="connsiteY36" fmla="*/ 432435 h 716279"/>
                  <a:gd name="connsiteX37" fmla="*/ 501438 w 715750"/>
                  <a:gd name="connsiteY37" fmla="*/ 450532 h 716279"/>
                  <a:gd name="connsiteX38" fmla="*/ 499533 w 715750"/>
                  <a:gd name="connsiteY38" fmla="*/ 461963 h 716279"/>
                  <a:gd name="connsiteX39" fmla="*/ 492865 w 715750"/>
                  <a:gd name="connsiteY39" fmla="*/ 473392 h 716279"/>
                  <a:gd name="connsiteX40" fmla="*/ 481436 w 715750"/>
                  <a:gd name="connsiteY40" fmla="*/ 484822 h 716279"/>
                  <a:gd name="connsiteX41" fmla="*/ 470958 w 715750"/>
                  <a:gd name="connsiteY41" fmla="*/ 495300 h 716279"/>
                  <a:gd name="connsiteX42" fmla="*/ 467148 w 715750"/>
                  <a:gd name="connsiteY42" fmla="*/ 500063 h 716279"/>
                  <a:gd name="connsiteX43" fmla="*/ 500486 w 715750"/>
                  <a:gd name="connsiteY43" fmla="*/ 500063 h 716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715750" h="716279">
                    <a:moveTo>
                      <a:pt x="686223" y="3810"/>
                    </a:moveTo>
                    <a:cubicBezTo>
                      <a:pt x="667173" y="6667"/>
                      <a:pt x="209973" y="62865"/>
                      <a:pt x="91863" y="180975"/>
                    </a:cubicBezTo>
                    <a:cubicBezTo>
                      <a:pt x="-25295" y="297180"/>
                      <a:pt x="-30057" y="483870"/>
                      <a:pt x="75670" y="606743"/>
                    </a:cubicBezTo>
                    <a:lnTo>
                      <a:pt x="149965" y="532447"/>
                    </a:lnTo>
                    <a:lnTo>
                      <a:pt x="183303" y="565785"/>
                    </a:lnTo>
                    <a:lnTo>
                      <a:pt x="109008" y="640080"/>
                    </a:lnTo>
                    <a:cubicBezTo>
                      <a:pt x="168063" y="690563"/>
                      <a:pt x="240453" y="716280"/>
                      <a:pt x="313795" y="716280"/>
                    </a:cubicBezTo>
                    <a:cubicBezTo>
                      <a:pt x="393805" y="716280"/>
                      <a:pt x="474768" y="685800"/>
                      <a:pt x="535728" y="624840"/>
                    </a:cubicBezTo>
                    <a:cubicBezTo>
                      <a:pt x="653838" y="506730"/>
                      <a:pt x="710036" y="50482"/>
                      <a:pt x="711940" y="30480"/>
                    </a:cubicBezTo>
                    <a:lnTo>
                      <a:pt x="715750" y="0"/>
                    </a:lnTo>
                    <a:lnTo>
                      <a:pt x="686223" y="3810"/>
                    </a:lnTo>
                    <a:close/>
                    <a:moveTo>
                      <a:pt x="390948" y="454342"/>
                    </a:moveTo>
                    <a:cubicBezTo>
                      <a:pt x="369040" y="477202"/>
                      <a:pt x="340465" y="488632"/>
                      <a:pt x="303318" y="488632"/>
                    </a:cubicBezTo>
                    <a:cubicBezTo>
                      <a:pt x="266170" y="488632"/>
                      <a:pt x="237595" y="477202"/>
                      <a:pt x="215688" y="455295"/>
                    </a:cubicBezTo>
                    <a:cubicBezTo>
                      <a:pt x="193780" y="432435"/>
                      <a:pt x="183303" y="401955"/>
                      <a:pt x="183303" y="362902"/>
                    </a:cubicBezTo>
                    <a:cubicBezTo>
                      <a:pt x="183303" y="338138"/>
                      <a:pt x="187113" y="316230"/>
                      <a:pt x="194733" y="299085"/>
                    </a:cubicBezTo>
                    <a:cubicBezTo>
                      <a:pt x="200448" y="286702"/>
                      <a:pt x="208068" y="275272"/>
                      <a:pt x="217593" y="264795"/>
                    </a:cubicBezTo>
                    <a:cubicBezTo>
                      <a:pt x="227118" y="254317"/>
                      <a:pt x="237595" y="247650"/>
                      <a:pt x="249978" y="242888"/>
                    </a:cubicBezTo>
                    <a:cubicBezTo>
                      <a:pt x="265218" y="236220"/>
                      <a:pt x="283315" y="233363"/>
                      <a:pt x="303318" y="233363"/>
                    </a:cubicBezTo>
                    <a:cubicBezTo>
                      <a:pt x="339513" y="233363"/>
                      <a:pt x="369040" y="244792"/>
                      <a:pt x="390948" y="267652"/>
                    </a:cubicBezTo>
                    <a:cubicBezTo>
                      <a:pt x="412855" y="290513"/>
                      <a:pt x="424286" y="321945"/>
                      <a:pt x="424286" y="361950"/>
                    </a:cubicBezTo>
                    <a:cubicBezTo>
                      <a:pt x="423333" y="400050"/>
                      <a:pt x="412855" y="431482"/>
                      <a:pt x="390948" y="454342"/>
                    </a:cubicBezTo>
                    <a:close/>
                    <a:moveTo>
                      <a:pt x="500486" y="500063"/>
                    </a:moveTo>
                    <a:lnTo>
                      <a:pt x="500486" y="516255"/>
                    </a:lnTo>
                    <a:lnTo>
                      <a:pt x="439525" y="516255"/>
                    </a:lnTo>
                    <a:cubicBezTo>
                      <a:pt x="440478" y="510540"/>
                      <a:pt x="442383" y="503872"/>
                      <a:pt x="445240" y="499110"/>
                    </a:cubicBezTo>
                    <a:cubicBezTo>
                      <a:pt x="448098" y="493395"/>
                      <a:pt x="454765" y="486727"/>
                      <a:pt x="465243" y="477202"/>
                    </a:cubicBezTo>
                    <a:cubicBezTo>
                      <a:pt x="472863" y="469582"/>
                      <a:pt x="477625" y="464820"/>
                      <a:pt x="479530" y="461963"/>
                    </a:cubicBezTo>
                    <a:cubicBezTo>
                      <a:pt x="482388" y="458152"/>
                      <a:pt x="483340" y="454342"/>
                      <a:pt x="483340" y="451485"/>
                    </a:cubicBezTo>
                    <a:cubicBezTo>
                      <a:pt x="483340" y="447675"/>
                      <a:pt x="482388" y="444817"/>
                      <a:pt x="480483" y="442913"/>
                    </a:cubicBezTo>
                    <a:cubicBezTo>
                      <a:pt x="478578" y="441007"/>
                      <a:pt x="475720" y="440055"/>
                      <a:pt x="471911" y="440055"/>
                    </a:cubicBezTo>
                    <a:cubicBezTo>
                      <a:pt x="468100" y="440055"/>
                      <a:pt x="465243" y="441007"/>
                      <a:pt x="463338" y="442913"/>
                    </a:cubicBezTo>
                    <a:cubicBezTo>
                      <a:pt x="461433" y="444817"/>
                      <a:pt x="459528" y="448627"/>
                      <a:pt x="459528" y="454342"/>
                    </a:cubicBezTo>
                    <a:lnTo>
                      <a:pt x="442383" y="452438"/>
                    </a:lnTo>
                    <a:cubicBezTo>
                      <a:pt x="443336" y="442913"/>
                      <a:pt x="447145" y="436245"/>
                      <a:pt x="451908" y="431482"/>
                    </a:cubicBezTo>
                    <a:cubicBezTo>
                      <a:pt x="456670" y="426720"/>
                      <a:pt x="464290" y="424815"/>
                      <a:pt x="472863" y="424815"/>
                    </a:cubicBezTo>
                    <a:cubicBezTo>
                      <a:pt x="481436" y="424815"/>
                      <a:pt x="489055" y="427672"/>
                      <a:pt x="493818" y="432435"/>
                    </a:cubicBezTo>
                    <a:cubicBezTo>
                      <a:pt x="498580" y="437197"/>
                      <a:pt x="501438" y="442913"/>
                      <a:pt x="501438" y="450532"/>
                    </a:cubicBezTo>
                    <a:cubicBezTo>
                      <a:pt x="501438" y="454342"/>
                      <a:pt x="500486" y="458152"/>
                      <a:pt x="499533" y="461963"/>
                    </a:cubicBezTo>
                    <a:cubicBezTo>
                      <a:pt x="497628" y="465772"/>
                      <a:pt x="495723" y="469582"/>
                      <a:pt x="492865" y="473392"/>
                    </a:cubicBezTo>
                    <a:cubicBezTo>
                      <a:pt x="490961" y="476250"/>
                      <a:pt x="487150" y="480060"/>
                      <a:pt x="481436" y="484822"/>
                    </a:cubicBezTo>
                    <a:cubicBezTo>
                      <a:pt x="475720" y="489585"/>
                      <a:pt x="472863" y="493395"/>
                      <a:pt x="470958" y="495300"/>
                    </a:cubicBezTo>
                    <a:cubicBezTo>
                      <a:pt x="469053" y="497205"/>
                      <a:pt x="468100" y="498157"/>
                      <a:pt x="467148" y="500063"/>
                    </a:cubicBezTo>
                    <a:lnTo>
                      <a:pt x="500486" y="500063"/>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48" name="Freeform: Shape 60">
                <a:extLst>
                  <a:ext uri="{FF2B5EF4-FFF2-40B4-BE49-F238E27FC236}">
                    <a16:creationId xmlns:a16="http://schemas.microsoft.com/office/drawing/2014/main" id="{7E43552B-6D61-402D-B354-3F1E0F818A61}"/>
                  </a:ext>
                </a:extLst>
              </p:cNvPr>
              <p:cNvSpPr/>
              <p:nvPr/>
            </p:nvSpPr>
            <p:spPr>
              <a:xfrm>
                <a:off x="9205912" y="2824162"/>
                <a:ext cx="137160" cy="170497"/>
              </a:xfrm>
              <a:custGeom>
                <a:avLst/>
                <a:gdLst>
                  <a:gd name="connsiteX0" fmla="*/ 68580 w 137160"/>
                  <a:gd name="connsiteY0" fmla="*/ 0 h 170497"/>
                  <a:gd name="connsiteX1" fmla="*/ 19050 w 137160"/>
                  <a:gd name="connsiteY1" fmla="*/ 20955 h 170497"/>
                  <a:gd name="connsiteX2" fmla="*/ 0 w 137160"/>
                  <a:gd name="connsiteY2" fmla="*/ 84772 h 170497"/>
                  <a:gd name="connsiteX3" fmla="*/ 19050 w 137160"/>
                  <a:gd name="connsiteY3" fmla="*/ 148590 h 170497"/>
                  <a:gd name="connsiteX4" fmla="*/ 68580 w 137160"/>
                  <a:gd name="connsiteY4" fmla="*/ 170497 h 170497"/>
                  <a:gd name="connsiteX5" fmla="*/ 118110 w 137160"/>
                  <a:gd name="connsiteY5" fmla="*/ 148590 h 170497"/>
                  <a:gd name="connsiteX6" fmla="*/ 137160 w 137160"/>
                  <a:gd name="connsiteY6" fmla="*/ 83820 h 170497"/>
                  <a:gd name="connsiteX7" fmla="*/ 118110 w 137160"/>
                  <a:gd name="connsiteY7" fmla="*/ 20003 h 170497"/>
                  <a:gd name="connsiteX8" fmla="*/ 68580 w 137160"/>
                  <a:gd name="connsiteY8" fmla="*/ 0 h 1704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7160" h="170497">
                    <a:moveTo>
                      <a:pt x="68580" y="0"/>
                    </a:moveTo>
                    <a:cubicBezTo>
                      <a:pt x="47625" y="0"/>
                      <a:pt x="31432" y="6667"/>
                      <a:pt x="19050" y="20955"/>
                    </a:cubicBezTo>
                    <a:cubicBezTo>
                      <a:pt x="6668" y="35242"/>
                      <a:pt x="0" y="56197"/>
                      <a:pt x="0" y="84772"/>
                    </a:cubicBezTo>
                    <a:cubicBezTo>
                      <a:pt x="0" y="112395"/>
                      <a:pt x="6668" y="134303"/>
                      <a:pt x="19050" y="148590"/>
                    </a:cubicBezTo>
                    <a:cubicBezTo>
                      <a:pt x="32385" y="162878"/>
                      <a:pt x="48577" y="170497"/>
                      <a:pt x="68580" y="170497"/>
                    </a:cubicBezTo>
                    <a:cubicBezTo>
                      <a:pt x="88582" y="170497"/>
                      <a:pt x="104775" y="162878"/>
                      <a:pt x="118110" y="148590"/>
                    </a:cubicBezTo>
                    <a:cubicBezTo>
                      <a:pt x="130493" y="134303"/>
                      <a:pt x="137160" y="112395"/>
                      <a:pt x="137160" y="83820"/>
                    </a:cubicBezTo>
                    <a:cubicBezTo>
                      <a:pt x="137160" y="55245"/>
                      <a:pt x="130493" y="34290"/>
                      <a:pt x="118110" y="20003"/>
                    </a:cubicBezTo>
                    <a:cubicBezTo>
                      <a:pt x="105727" y="6667"/>
                      <a:pt x="89535" y="0"/>
                      <a:pt x="68580" y="0"/>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grpSp>
    </p:spTree>
    <p:extLst>
      <p:ext uri="{BB962C8B-B14F-4D97-AF65-F5344CB8AC3E}">
        <p14:creationId xmlns:p14="http://schemas.microsoft.com/office/powerpoint/2010/main" val="1479618365"/>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par>
                          <p:cTn id="8" fill="hold">
                            <p:stCondLst>
                              <p:cond delay="500"/>
                            </p:stCondLst>
                            <p:childTnLst>
                              <p:par>
                                <p:cTn id="9" presetID="22" presetClass="entr" presetSubtype="4" fill="hold" grpId="0" nodeType="afterEffect">
                                  <p:stCondLst>
                                    <p:cond delay="0"/>
                                  </p:stCondLst>
                                  <p:childTnLst>
                                    <p:set>
                                      <p:cBhvr>
                                        <p:cTn id="10" dur="1" fill="hold">
                                          <p:stCondLst>
                                            <p:cond delay="0"/>
                                          </p:stCondLst>
                                        </p:cTn>
                                        <p:tgtEl>
                                          <p:spTgt spid="3"/>
                                        </p:tgtEl>
                                        <p:attrNameLst>
                                          <p:attrName>style.visibility</p:attrName>
                                        </p:attrNameLst>
                                      </p:cBhvr>
                                      <p:to>
                                        <p:strVal val="visible"/>
                                      </p:to>
                                    </p:set>
                                    <p:animEffect transition="in" filter="wipe(down)">
                                      <p:cBhvr>
                                        <p:cTn id="11" dur="1000"/>
                                        <p:tgtEl>
                                          <p:spTgt spid="3"/>
                                        </p:tgtEl>
                                      </p:cBhvr>
                                    </p:animEffect>
                                  </p:childTnLst>
                                </p:cTn>
                              </p:par>
                              <p:par>
                                <p:cTn id="12" presetID="10" presetClass="entr" presetSubtype="0" fill="hold" nodeType="withEffect">
                                  <p:stCondLst>
                                    <p:cond delay="0"/>
                                  </p:stCondLst>
                                  <p:childTnLst>
                                    <p:set>
                                      <p:cBhvr>
                                        <p:cTn id="13" dur="1" fill="hold">
                                          <p:stCondLst>
                                            <p:cond delay="0"/>
                                          </p:stCondLst>
                                        </p:cTn>
                                        <p:tgtEl>
                                          <p:spTgt spid="44"/>
                                        </p:tgtEl>
                                        <p:attrNameLst>
                                          <p:attrName>style.visibility</p:attrName>
                                        </p:attrNameLst>
                                      </p:cBhvr>
                                      <p:to>
                                        <p:strVal val="visible"/>
                                      </p:to>
                                    </p:set>
                                    <p:animEffect transition="in" filter="fade">
                                      <p:cBhvr>
                                        <p:cTn id="14" dur="500"/>
                                        <p:tgtEl>
                                          <p:spTgt spid="44"/>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4"/>
                                        </p:tgtEl>
                                        <p:attrNameLst>
                                          <p:attrName>style.visibility</p:attrName>
                                        </p:attrNameLst>
                                      </p:cBhvr>
                                      <p:to>
                                        <p:strVal val="visible"/>
                                      </p:to>
                                    </p:set>
                                    <p:animEffect transition="in" filter="fade">
                                      <p:cBhvr>
                                        <p:cTn id="17" dur="500"/>
                                        <p:tgtEl>
                                          <p:spTgt spid="4"/>
                                        </p:tgtEl>
                                      </p:cBhvr>
                                    </p:animEffect>
                                  </p:childTnLst>
                                </p:cTn>
                              </p:par>
                            </p:childTnLst>
                          </p:cTn>
                        </p:par>
                        <p:par>
                          <p:cTn id="18" fill="hold">
                            <p:stCondLst>
                              <p:cond delay="1500"/>
                            </p:stCondLst>
                            <p:childTnLst>
                              <p:par>
                                <p:cTn id="19" presetID="10" presetClass="entr" presetSubtype="0" fill="hold" grpId="0" nodeType="afterEffect">
                                  <p:stCondLst>
                                    <p:cond delay="0"/>
                                  </p:stCondLst>
                                  <p:childTnLst>
                                    <p:set>
                                      <p:cBhvr>
                                        <p:cTn id="20" dur="1" fill="hold">
                                          <p:stCondLst>
                                            <p:cond delay="0"/>
                                          </p:stCondLst>
                                        </p:cTn>
                                        <p:tgtEl>
                                          <p:spTgt spid="5"/>
                                        </p:tgtEl>
                                        <p:attrNameLst>
                                          <p:attrName>style.visibility</p:attrName>
                                        </p:attrNameLst>
                                      </p:cBhvr>
                                      <p:to>
                                        <p:strVal val="visible"/>
                                      </p:to>
                                    </p:set>
                                    <p:animEffect transition="in" filter="fade">
                                      <p:cBhvr>
                                        <p:cTn id="21" dur="500"/>
                                        <p:tgtEl>
                                          <p:spTgt spid="5"/>
                                        </p:tgtEl>
                                      </p:cBhvr>
                                    </p:animEffect>
                                  </p:childTnLst>
                                </p:cTn>
                              </p:par>
                              <p:par>
                                <p:cTn id="22" presetID="10" presetClass="entr" presetSubtype="0" fill="hold" nodeType="withEffect">
                                  <p:stCondLst>
                                    <p:cond delay="0"/>
                                  </p:stCondLst>
                                  <p:childTnLst>
                                    <p:set>
                                      <p:cBhvr>
                                        <p:cTn id="23" dur="1" fill="hold">
                                          <p:stCondLst>
                                            <p:cond delay="0"/>
                                          </p:stCondLst>
                                        </p:cTn>
                                        <p:tgtEl>
                                          <p:spTgt spid="39"/>
                                        </p:tgtEl>
                                        <p:attrNameLst>
                                          <p:attrName>style.visibility</p:attrName>
                                        </p:attrNameLst>
                                      </p:cBhvr>
                                      <p:to>
                                        <p:strVal val="visible"/>
                                      </p:to>
                                    </p:set>
                                    <p:animEffect transition="in" filter="fade">
                                      <p:cBhvr>
                                        <p:cTn id="24" dur="500"/>
                                        <p:tgtEl>
                                          <p:spTgt spid="39"/>
                                        </p:tgtEl>
                                      </p:cBhvr>
                                    </p:animEffect>
                                  </p:childTnLst>
                                </p:cTn>
                              </p:par>
                            </p:childTnLst>
                          </p:cTn>
                        </p:par>
                        <p:par>
                          <p:cTn id="25" fill="hold">
                            <p:stCondLst>
                              <p:cond delay="2000"/>
                            </p:stCondLst>
                            <p:childTnLst>
                              <p:par>
                                <p:cTn id="26" presetID="10" presetClass="entr" presetSubtype="0" fill="hold" grpId="0" nodeType="afterEffect">
                                  <p:stCondLst>
                                    <p:cond delay="0"/>
                                  </p:stCondLst>
                                  <p:childTnLst>
                                    <p:set>
                                      <p:cBhvr>
                                        <p:cTn id="27" dur="1" fill="hold">
                                          <p:stCondLst>
                                            <p:cond delay="0"/>
                                          </p:stCondLst>
                                        </p:cTn>
                                        <p:tgtEl>
                                          <p:spTgt spid="6"/>
                                        </p:tgtEl>
                                        <p:attrNameLst>
                                          <p:attrName>style.visibility</p:attrName>
                                        </p:attrNameLst>
                                      </p:cBhvr>
                                      <p:to>
                                        <p:strVal val="visible"/>
                                      </p:to>
                                    </p:set>
                                    <p:animEffect transition="in" filter="fade">
                                      <p:cBhvr>
                                        <p:cTn id="28" dur="500"/>
                                        <p:tgtEl>
                                          <p:spTgt spid="6"/>
                                        </p:tgtEl>
                                      </p:cBhvr>
                                    </p:animEffect>
                                  </p:childTnLst>
                                </p:cTn>
                              </p:par>
                              <p:par>
                                <p:cTn id="29" presetID="10" presetClass="entr" presetSubtype="0" fill="hold" nodeType="withEffect">
                                  <p:stCondLst>
                                    <p:cond delay="0"/>
                                  </p:stCondLst>
                                  <p:childTnLst>
                                    <p:set>
                                      <p:cBhvr>
                                        <p:cTn id="30" dur="1" fill="hold">
                                          <p:stCondLst>
                                            <p:cond delay="0"/>
                                          </p:stCondLst>
                                        </p:cTn>
                                        <p:tgtEl>
                                          <p:spTgt spid="36"/>
                                        </p:tgtEl>
                                        <p:attrNameLst>
                                          <p:attrName>style.visibility</p:attrName>
                                        </p:attrNameLst>
                                      </p:cBhvr>
                                      <p:to>
                                        <p:strVal val="visible"/>
                                      </p:to>
                                    </p:set>
                                    <p:animEffect transition="in" filter="fade">
                                      <p:cBhvr>
                                        <p:cTn id="31" dur="500"/>
                                        <p:tgtEl>
                                          <p:spTgt spid="36"/>
                                        </p:tgtEl>
                                      </p:cBhvr>
                                    </p:animEffect>
                                  </p:childTnLst>
                                </p:cTn>
                              </p:par>
                            </p:childTnLst>
                          </p:cTn>
                        </p:par>
                        <p:par>
                          <p:cTn id="32" fill="hold">
                            <p:stCondLst>
                              <p:cond delay="2500"/>
                            </p:stCondLst>
                            <p:childTnLst>
                              <p:par>
                                <p:cTn id="33" presetID="10" presetClass="entr" presetSubtype="0" fill="hold" grpId="0" nodeType="afterEffect">
                                  <p:stCondLst>
                                    <p:cond delay="0"/>
                                  </p:stCondLst>
                                  <p:childTnLst>
                                    <p:set>
                                      <p:cBhvr>
                                        <p:cTn id="34" dur="1" fill="hold">
                                          <p:stCondLst>
                                            <p:cond delay="0"/>
                                          </p:stCondLst>
                                        </p:cTn>
                                        <p:tgtEl>
                                          <p:spTgt spid="7"/>
                                        </p:tgtEl>
                                        <p:attrNameLst>
                                          <p:attrName>style.visibility</p:attrName>
                                        </p:attrNameLst>
                                      </p:cBhvr>
                                      <p:to>
                                        <p:strVal val="visible"/>
                                      </p:to>
                                    </p:set>
                                    <p:animEffect transition="in" filter="fade">
                                      <p:cBhvr>
                                        <p:cTn id="35" dur="500"/>
                                        <p:tgtEl>
                                          <p:spTgt spid="7"/>
                                        </p:tgtEl>
                                      </p:cBhvr>
                                    </p:animEffect>
                                  </p:childTnLst>
                                </p:cTn>
                              </p:par>
                              <p:par>
                                <p:cTn id="36" presetID="10" presetClass="entr" presetSubtype="0" fill="hold" nodeType="withEffect">
                                  <p:stCondLst>
                                    <p:cond delay="0"/>
                                  </p:stCondLst>
                                  <p:childTnLst>
                                    <p:set>
                                      <p:cBhvr>
                                        <p:cTn id="37" dur="1" fill="hold">
                                          <p:stCondLst>
                                            <p:cond delay="0"/>
                                          </p:stCondLst>
                                        </p:cTn>
                                        <p:tgtEl>
                                          <p:spTgt spid="32"/>
                                        </p:tgtEl>
                                        <p:attrNameLst>
                                          <p:attrName>style.visibility</p:attrName>
                                        </p:attrNameLst>
                                      </p:cBhvr>
                                      <p:to>
                                        <p:strVal val="visible"/>
                                      </p:to>
                                    </p:set>
                                    <p:animEffect transition="in" filter="fade">
                                      <p:cBhvr>
                                        <p:cTn id="38" dur="500"/>
                                        <p:tgtEl>
                                          <p:spTgt spid="32"/>
                                        </p:tgtEl>
                                      </p:cBhvr>
                                    </p:animEffect>
                                  </p:childTnLst>
                                </p:cTn>
                              </p:par>
                            </p:childTnLst>
                          </p:cTn>
                        </p:par>
                        <p:par>
                          <p:cTn id="39" fill="hold">
                            <p:stCondLst>
                              <p:cond delay="3000"/>
                            </p:stCondLst>
                            <p:childTnLst>
                              <p:par>
                                <p:cTn id="40" presetID="22" presetClass="entr" presetSubtype="2" fill="hold" nodeType="afterEffect">
                                  <p:stCondLst>
                                    <p:cond delay="0"/>
                                  </p:stCondLst>
                                  <p:childTnLst>
                                    <p:set>
                                      <p:cBhvr>
                                        <p:cTn id="41" dur="1" fill="hold">
                                          <p:stCondLst>
                                            <p:cond delay="0"/>
                                          </p:stCondLst>
                                        </p:cTn>
                                        <p:tgtEl>
                                          <p:spTgt spid="26"/>
                                        </p:tgtEl>
                                        <p:attrNameLst>
                                          <p:attrName>style.visibility</p:attrName>
                                        </p:attrNameLst>
                                      </p:cBhvr>
                                      <p:to>
                                        <p:strVal val="visible"/>
                                      </p:to>
                                    </p:set>
                                    <p:animEffect transition="in" filter="wipe(right)">
                                      <p:cBhvr>
                                        <p:cTn id="42" dur="500"/>
                                        <p:tgtEl>
                                          <p:spTgt spid="26"/>
                                        </p:tgtEl>
                                      </p:cBhvr>
                                    </p:animEffect>
                                  </p:childTnLst>
                                </p:cTn>
                              </p:par>
                              <p:par>
                                <p:cTn id="43" presetID="22" presetClass="entr" presetSubtype="8" fill="hold" nodeType="withEffect">
                                  <p:stCondLst>
                                    <p:cond delay="0"/>
                                  </p:stCondLst>
                                  <p:childTnLst>
                                    <p:set>
                                      <p:cBhvr>
                                        <p:cTn id="44" dur="1" fill="hold">
                                          <p:stCondLst>
                                            <p:cond delay="0"/>
                                          </p:stCondLst>
                                        </p:cTn>
                                        <p:tgtEl>
                                          <p:spTgt spid="20"/>
                                        </p:tgtEl>
                                        <p:attrNameLst>
                                          <p:attrName>style.visibility</p:attrName>
                                        </p:attrNameLst>
                                      </p:cBhvr>
                                      <p:to>
                                        <p:strVal val="visible"/>
                                      </p:to>
                                    </p:set>
                                    <p:animEffect transition="in" filter="wipe(left)">
                                      <p:cBhvr>
                                        <p:cTn id="45" dur="500"/>
                                        <p:tgtEl>
                                          <p:spTgt spid="20"/>
                                        </p:tgtEl>
                                      </p:cBhvr>
                                    </p:animEffect>
                                  </p:childTnLst>
                                </p:cTn>
                              </p:par>
                            </p:childTnLst>
                          </p:cTn>
                        </p:par>
                        <p:par>
                          <p:cTn id="46" fill="hold">
                            <p:stCondLst>
                              <p:cond delay="3500"/>
                            </p:stCondLst>
                            <p:childTnLst>
                              <p:par>
                                <p:cTn id="47" presetID="10" presetClass="entr" presetSubtype="0" fill="hold" grpId="0" nodeType="afterEffect">
                                  <p:stCondLst>
                                    <p:cond delay="0"/>
                                  </p:stCondLst>
                                  <p:childTnLst>
                                    <p:set>
                                      <p:cBhvr>
                                        <p:cTn id="48" dur="1" fill="hold">
                                          <p:stCondLst>
                                            <p:cond delay="0"/>
                                          </p:stCondLst>
                                        </p:cTn>
                                        <p:tgtEl>
                                          <p:spTgt spid="31"/>
                                        </p:tgtEl>
                                        <p:attrNameLst>
                                          <p:attrName>style.visibility</p:attrName>
                                        </p:attrNameLst>
                                      </p:cBhvr>
                                      <p:to>
                                        <p:strVal val="visible"/>
                                      </p:to>
                                    </p:set>
                                    <p:animEffect transition="in" filter="fade">
                                      <p:cBhvr>
                                        <p:cTn id="49" dur="500"/>
                                        <p:tgtEl>
                                          <p:spTgt spid="31"/>
                                        </p:tgtEl>
                                      </p:cBhvr>
                                    </p:animEffect>
                                  </p:childTnLst>
                                </p:cTn>
                              </p:par>
                              <p:par>
                                <p:cTn id="50" presetID="10" presetClass="entr" presetSubtype="0" fill="hold" grpId="0" nodeType="withEffect">
                                  <p:stCondLst>
                                    <p:cond delay="0"/>
                                  </p:stCondLst>
                                  <p:childTnLst>
                                    <p:set>
                                      <p:cBhvr>
                                        <p:cTn id="51" dur="1" fill="hold">
                                          <p:stCondLst>
                                            <p:cond delay="0"/>
                                          </p:stCondLst>
                                        </p:cTn>
                                        <p:tgtEl>
                                          <p:spTgt spid="25"/>
                                        </p:tgtEl>
                                        <p:attrNameLst>
                                          <p:attrName>style.visibility</p:attrName>
                                        </p:attrNameLst>
                                      </p:cBhvr>
                                      <p:to>
                                        <p:strVal val="visible"/>
                                      </p:to>
                                    </p:set>
                                    <p:animEffect transition="in" filter="fade">
                                      <p:cBhvr>
                                        <p:cTn id="52" dur="500"/>
                                        <p:tgtEl>
                                          <p:spTgt spid="25"/>
                                        </p:tgtEl>
                                      </p:cBhvr>
                                    </p:animEffect>
                                  </p:childTnLst>
                                </p:cTn>
                              </p:par>
                            </p:childTnLst>
                          </p:cTn>
                        </p:par>
                        <p:par>
                          <p:cTn id="53" fill="hold">
                            <p:stCondLst>
                              <p:cond delay="4000"/>
                            </p:stCondLst>
                            <p:childTnLst>
                              <p:par>
                                <p:cTn id="54" presetID="10" presetClass="entr" presetSubtype="0" fill="hold" grpId="0" nodeType="afterEffect">
                                  <p:stCondLst>
                                    <p:cond delay="0"/>
                                  </p:stCondLst>
                                  <p:childTnLst>
                                    <p:set>
                                      <p:cBhvr>
                                        <p:cTn id="55" dur="1" fill="hold">
                                          <p:stCondLst>
                                            <p:cond delay="0"/>
                                          </p:stCondLst>
                                        </p:cTn>
                                        <p:tgtEl>
                                          <p:spTgt spid="30"/>
                                        </p:tgtEl>
                                        <p:attrNameLst>
                                          <p:attrName>style.visibility</p:attrName>
                                        </p:attrNameLst>
                                      </p:cBhvr>
                                      <p:to>
                                        <p:strVal val="visible"/>
                                      </p:to>
                                    </p:set>
                                    <p:animEffect transition="in" filter="fade">
                                      <p:cBhvr>
                                        <p:cTn id="56" dur="500"/>
                                        <p:tgtEl>
                                          <p:spTgt spid="30"/>
                                        </p:tgtEl>
                                      </p:cBhvr>
                                    </p:animEffect>
                                  </p:childTnLst>
                                </p:cTn>
                              </p:par>
                              <p:par>
                                <p:cTn id="57" presetID="10" presetClass="entr" presetSubtype="0" fill="hold" grpId="0" nodeType="withEffect">
                                  <p:stCondLst>
                                    <p:cond delay="0"/>
                                  </p:stCondLst>
                                  <p:childTnLst>
                                    <p:set>
                                      <p:cBhvr>
                                        <p:cTn id="58" dur="1" fill="hold">
                                          <p:stCondLst>
                                            <p:cond delay="0"/>
                                          </p:stCondLst>
                                        </p:cTn>
                                        <p:tgtEl>
                                          <p:spTgt spid="29"/>
                                        </p:tgtEl>
                                        <p:attrNameLst>
                                          <p:attrName>style.visibility</p:attrName>
                                        </p:attrNameLst>
                                      </p:cBhvr>
                                      <p:to>
                                        <p:strVal val="visible"/>
                                      </p:to>
                                    </p:set>
                                    <p:animEffect transition="in" filter="fade">
                                      <p:cBhvr>
                                        <p:cTn id="59" dur="500"/>
                                        <p:tgtEl>
                                          <p:spTgt spid="29"/>
                                        </p:tgtEl>
                                      </p:cBhvr>
                                    </p:animEffect>
                                  </p:childTnLst>
                                </p:cTn>
                              </p:par>
                              <p:par>
                                <p:cTn id="60" presetID="10" presetClass="entr" presetSubtype="0" fill="hold" grpId="0" nodeType="withEffect">
                                  <p:stCondLst>
                                    <p:cond delay="0"/>
                                  </p:stCondLst>
                                  <p:childTnLst>
                                    <p:set>
                                      <p:cBhvr>
                                        <p:cTn id="61" dur="1" fill="hold">
                                          <p:stCondLst>
                                            <p:cond delay="0"/>
                                          </p:stCondLst>
                                        </p:cTn>
                                        <p:tgtEl>
                                          <p:spTgt spid="24"/>
                                        </p:tgtEl>
                                        <p:attrNameLst>
                                          <p:attrName>style.visibility</p:attrName>
                                        </p:attrNameLst>
                                      </p:cBhvr>
                                      <p:to>
                                        <p:strVal val="visible"/>
                                      </p:to>
                                    </p:set>
                                    <p:animEffect transition="in" filter="fade">
                                      <p:cBhvr>
                                        <p:cTn id="62" dur="500"/>
                                        <p:tgtEl>
                                          <p:spTgt spid="24"/>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23"/>
                                        </p:tgtEl>
                                        <p:attrNameLst>
                                          <p:attrName>style.visibility</p:attrName>
                                        </p:attrNameLst>
                                      </p:cBhvr>
                                      <p:to>
                                        <p:strVal val="visible"/>
                                      </p:to>
                                    </p:set>
                                    <p:animEffect transition="in" filter="fade">
                                      <p:cBhvr>
                                        <p:cTn id="65" dur="500"/>
                                        <p:tgtEl>
                                          <p:spTgt spid="23"/>
                                        </p:tgtEl>
                                      </p:cBhvr>
                                    </p:animEffect>
                                  </p:childTnLst>
                                </p:cTn>
                              </p:par>
                            </p:childTnLst>
                          </p:cTn>
                        </p:par>
                        <p:par>
                          <p:cTn id="66" fill="hold">
                            <p:stCondLst>
                              <p:cond delay="4500"/>
                            </p:stCondLst>
                            <p:childTnLst>
                              <p:par>
                                <p:cTn id="67" presetID="22" presetClass="entr" presetSubtype="2" fill="hold" nodeType="afterEffect">
                                  <p:stCondLst>
                                    <p:cond delay="0"/>
                                  </p:stCondLst>
                                  <p:childTnLst>
                                    <p:set>
                                      <p:cBhvr>
                                        <p:cTn id="68" dur="1" fill="hold">
                                          <p:stCondLst>
                                            <p:cond delay="0"/>
                                          </p:stCondLst>
                                        </p:cTn>
                                        <p:tgtEl>
                                          <p:spTgt spid="11"/>
                                        </p:tgtEl>
                                        <p:attrNameLst>
                                          <p:attrName>style.visibility</p:attrName>
                                        </p:attrNameLst>
                                      </p:cBhvr>
                                      <p:to>
                                        <p:strVal val="visible"/>
                                      </p:to>
                                    </p:set>
                                    <p:animEffect transition="in" filter="wipe(right)">
                                      <p:cBhvr>
                                        <p:cTn id="69" dur="500"/>
                                        <p:tgtEl>
                                          <p:spTgt spid="11"/>
                                        </p:tgtEl>
                                      </p:cBhvr>
                                    </p:animEffect>
                                  </p:childTnLst>
                                </p:cTn>
                              </p:par>
                              <p:par>
                                <p:cTn id="70" presetID="22" presetClass="entr" presetSubtype="8" fill="hold" nodeType="withEffect">
                                  <p:stCondLst>
                                    <p:cond delay="0"/>
                                  </p:stCondLst>
                                  <p:childTnLst>
                                    <p:set>
                                      <p:cBhvr>
                                        <p:cTn id="71" dur="1" fill="hold">
                                          <p:stCondLst>
                                            <p:cond delay="0"/>
                                          </p:stCondLst>
                                        </p:cTn>
                                        <p:tgtEl>
                                          <p:spTgt spid="8"/>
                                        </p:tgtEl>
                                        <p:attrNameLst>
                                          <p:attrName>style.visibility</p:attrName>
                                        </p:attrNameLst>
                                      </p:cBhvr>
                                      <p:to>
                                        <p:strVal val="visible"/>
                                      </p:to>
                                    </p:set>
                                    <p:animEffect transition="in" filter="wipe(left)">
                                      <p:cBhvr>
                                        <p:cTn id="72" dur="500"/>
                                        <p:tgtEl>
                                          <p:spTgt spid="8"/>
                                        </p:tgtEl>
                                      </p:cBhvr>
                                    </p:animEffect>
                                  </p:childTnLst>
                                </p:cTn>
                              </p:par>
                            </p:childTnLst>
                          </p:cTn>
                        </p:par>
                        <p:par>
                          <p:cTn id="73" fill="hold">
                            <p:stCondLst>
                              <p:cond delay="5000"/>
                            </p:stCondLst>
                            <p:childTnLst>
                              <p:par>
                                <p:cTn id="74" presetID="10" presetClass="entr" presetSubtype="0" fill="hold" grpId="0" nodeType="afterEffect">
                                  <p:stCondLst>
                                    <p:cond delay="0"/>
                                  </p:stCondLst>
                                  <p:childTnLst>
                                    <p:set>
                                      <p:cBhvr>
                                        <p:cTn id="75" dur="1" fill="hold">
                                          <p:stCondLst>
                                            <p:cond delay="0"/>
                                          </p:stCondLst>
                                        </p:cTn>
                                        <p:tgtEl>
                                          <p:spTgt spid="16"/>
                                        </p:tgtEl>
                                        <p:attrNameLst>
                                          <p:attrName>style.visibility</p:attrName>
                                        </p:attrNameLst>
                                      </p:cBhvr>
                                      <p:to>
                                        <p:strVal val="visible"/>
                                      </p:to>
                                    </p:set>
                                    <p:animEffect transition="in" filter="fade">
                                      <p:cBhvr>
                                        <p:cTn id="76" dur="500"/>
                                        <p:tgtEl>
                                          <p:spTgt spid="16"/>
                                        </p:tgtEl>
                                      </p:cBhvr>
                                    </p:animEffect>
                                  </p:childTnLst>
                                </p:cTn>
                              </p:par>
                              <p:par>
                                <p:cTn id="77" presetID="10" presetClass="entr" presetSubtype="0" fill="hold" grpId="0" nodeType="withEffect">
                                  <p:stCondLst>
                                    <p:cond delay="0"/>
                                  </p:stCondLst>
                                  <p:childTnLst>
                                    <p:set>
                                      <p:cBhvr>
                                        <p:cTn id="78" dur="1" fill="hold">
                                          <p:stCondLst>
                                            <p:cond delay="0"/>
                                          </p:stCondLst>
                                        </p:cTn>
                                        <p:tgtEl>
                                          <p:spTgt spid="19"/>
                                        </p:tgtEl>
                                        <p:attrNameLst>
                                          <p:attrName>style.visibility</p:attrName>
                                        </p:attrNameLst>
                                      </p:cBhvr>
                                      <p:to>
                                        <p:strVal val="visible"/>
                                      </p:to>
                                    </p:set>
                                    <p:animEffect transition="in" filter="fade">
                                      <p:cBhvr>
                                        <p:cTn id="79" dur="500"/>
                                        <p:tgtEl>
                                          <p:spTgt spid="19"/>
                                        </p:tgtEl>
                                      </p:cBhvr>
                                    </p:animEffect>
                                  </p:childTnLst>
                                </p:cTn>
                              </p:par>
                            </p:childTnLst>
                          </p:cTn>
                        </p:par>
                        <p:par>
                          <p:cTn id="80" fill="hold">
                            <p:stCondLst>
                              <p:cond delay="5500"/>
                            </p:stCondLst>
                            <p:childTnLst>
                              <p:par>
                                <p:cTn id="81" presetID="10" presetClass="entr" presetSubtype="0" fill="hold" grpId="0" nodeType="afterEffect">
                                  <p:stCondLst>
                                    <p:cond delay="0"/>
                                  </p:stCondLst>
                                  <p:childTnLst>
                                    <p:set>
                                      <p:cBhvr>
                                        <p:cTn id="82" dur="1" fill="hold">
                                          <p:stCondLst>
                                            <p:cond delay="0"/>
                                          </p:stCondLst>
                                        </p:cTn>
                                        <p:tgtEl>
                                          <p:spTgt spid="15"/>
                                        </p:tgtEl>
                                        <p:attrNameLst>
                                          <p:attrName>style.visibility</p:attrName>
                                        </p:attrNameLst>
                                      </p:cBhvr>
                                      <p:to>
                                        <p:strVal val="visible"/>
                                      </p:to>
                                    </p:set>
                                    <p:animEffect transition="in" filter="fade">
                                      <p:cBhvr>
                                        <p:cTn id="83" dur="500"/>
                                        <p:tgtEl>
                                          <p:spTgt spid="15"/>
                                        </p:tgtEl>
                                      </p:cBhvr>
                                    </p:animEffect>
                                  </p:childTnLst>
                                </p:cTn>
                              </p:par>
                              <p:par>
                                <p:cTn id="84" presetID="10" presetClass="entr" presetSubtype="0" fill="hold" grpId="0" nodeType="withEffect">
                                  <p:stCondLst>
                                    <p:cond delay="0"/>
                                  </p:stCondLst>
                                  <p:childTnLst>
                                    <p:set>
                                      <p:cBhvr>
                                        <p:cTn id="85" dur="1" fill="hold">
                                          <p:stCondLst>
                                            <p:cond delay="0"/>
                                          </p:stCondLst>
                                        </p:cTn>
                                        <p:tgtEl>
                                          <p:spTgt spid="14"/>
                                        </p:tgtEl>
                                        <p:attrNameLst>
                                          <p:attrName>style.visibility</p:attrName>
                                        </p:attrNameLst>
                                      </p:cBhvr>
                                      <p:to>
                                        <p:strVal val="visible"/>
                                      </p:to>
                                    </p:set>
                                    <p:animEffect transition="in" filter="fade">
                                      <p:cBhvr>
                                        <p:cTn id="86" dur="500"/>
                                        <p:tgtEl>
                                          <p:spTgt spid="14"/>
                                        </p:tgtEl>
                                      </p:cBhvr>
                                    </p:animEffect>
                                  </p:childTnLst>
                                </p:cTn>
                              </p:par>
                              <p:par>
                                <p:cTn id="87" presetID="10" presetClass="entr" presetSubtype="0" fill="hold" grpId="0" nodeType="withEffect">
                                  <p:stCondLst>
                                    <p:cond delay="0"/>
                                  </p:stCondLst>
                                  <p:childTnLst>
                                    <p:set>
                                      <p:cBhvr>
                                        <p:cTn id="88" dur="1" fill="hold">
                                          <p:stCondLst>
                                            <p:cond delay="0"/>
                                          </p:stCondLst>
                                        </p:cTn>
                                        <p:tgtEl>
                                          <p:spTgt spid="18"/>
                                        </p:tgtEl>
                                        <p:attrNameLst>
                                          <p:attrName>style.visibility</p:attrName>
                                        </p:attrNameLst>
                                      </p:cBhvr>
                                      <p:to>
                                        <p:strVal val="visible"/>
                                      </p:to>
                                    </p:set>
                                    <p:animEffect transition="in" filter="fade">
                                      <p:cBhvr>
                                        <p:cTn id="89" dur="500"/>
                                        <p:tgtEl>
                                          <p:spTgt spid="18"/>
                                        </p:tgtEl>
                                      </p:cBhvr>
                                    </p:animEffect>
                                  </p:childTnLst>
                                </p:cTn>
                              </p:par>
                              <p:par>
                                <p:cTn id="90" presetID="10" presetClass="entr" presetSubtype="0" fill="hold" grpId="0" nodeType="withEffect">
                                  <p:stCondLst>
                                    <p:cond delay="0"/>
                                  </p:stCondLst>
                                  <p:childTnLst>
                                    <p:set>
                                      <p:cBhvr>
                                        <p:cTn id="91" dur="1" fill="hold">
                                          <p:stCondLst>
                                            <p:cond delay="0"/>
                                          </p:stCondLst>
                                        </p:cTn>
                                        <p:tgtEl>
                                          <p:spTgt spid="17"/>
                                        </p:tgtEl>
                                        <p:attrNameLst>
                                          <p:attrName>style.visibility</p:attrName>
                                        </p:attrNameLst>
                                      </p:cBhvr>
                                      <p:to>
                                        <p:strVal val="visible"/>
                                      </p:to>
                                    </p:set>
                                    <p:animEffect transition="in" filter="fade">
                                      <p:cBhvr>
                                        <p:cTn id="92"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animBg="1"/>
      <p:bldP spid="4" grpId="0" animBg="1"/>
      <p:bldP spid="5" grpId="0" animBg="1"/>
      <p:bldP spid="6" grpId="0" animBg="1"/>
      <p:bldP spid="7" grpId="0" animBg="1"/>
      <p:bldP spid="14" grpId="0"/>
      <p:bldP spid="15" grpId="0"/>
      <p:bldP spid="16" grpId="0"/>
      <p:bldP spid="17" grpId="0"/>
      <p:bldP spid="18" grpId="0"/>
      <p:bldP spid="19" grpId="0"/>
      <p:bldP spid="23" grpId="0"/>
      <p:bldP spid="24" grpId="0"/>
      <p:bldP spid="25" grpId="0"/>
      <p:bldP spid="29" grpId="0"/>
      <p:bldP spid="30" grpId="0"/>
      <p:bldP spid="31" grpId="0"/>
    </p:bldLst>
  </p:timing>
</p:sld>
</file>

<file path=ppt/slides/slide5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0">
            <a:extLst>
              <a:ext uri="{FF2B5EF4-FFF2-40B4-BE49-F238E27FC236}">
                <a16:creationId xmlns:a16="http://schemas.microsoft.com/office/drawing/2014/main" id="{4461829D-71E8-41FB-8BE7-F4EF784992FE}"/>
              </a:ext>
            </a:extLst>
          </p:cNvPr>
          <p:cNvSpPr txBox="1"/>
          <p:nvPr/>
        </p:nvSpPr>
        <p:spPr>
          <a:xfrm>
            <a:off x="2937165" y="1191387"/>
            <a:ext cx="6317672"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000000">
                    <a:lumMod val="85000"/>
                    <a:lumOff val="15000"/>
                  </a:srgbClr>
                </a:solidFill>
                <a:effectLst/>
                <a:uLnTx/>
                <a:uFillTx/>
                <a:latin typeface="等线 Light" panose="020F0302020204030204"/>
                <a:ea typeface="+mn-ea"/>
                <a:cs typeface="+mn-cs"/>
              </a:rPr>
              <a:t>INFOGRAPHIC</a:t>
            </a:r>
            <a:r>
              <a:rPr kumimoji="0" lang="en-US" sz="3200" b="1" i="0" u="none" strike="noStrike" kern="1200" cap="none" spc="0" normalizeH="0" baseline="0" noProof="0" dirty="0">
                <a:ln>
                  <a:noFill/>
                </a:ln>
                <a:solidFill>
                  <a:srgbClr val="000000">
                    <a:lumMod val="85000"/>
                    <a:lumOff val="15000"/>
                  </a:srgbClr>
                </a:solidFill>
                <a:effectLst/>
                <a:uLnTx/>
                <a:uFillTx/>
                <a:latin typeface="等线" panose="020F0502020204030204"/>
                <a:ea typeface="+mn-ea"/>
                <a:cs typeface="+mn-cs"/>
              </a:rPr>
              <a:t> </a:t>
            </a:r>
            <a:r>
              <a:rPr kumimoji="0" lang="en-US" sz="3200" b="1" i="0" u="none" strike="noStrike" kern="1200" cap="none" spc="0" normalizeH="0" baseline="0" noProof="0" dirty="0">
                <a:ln>
                  <a:noFill/>
                </a:ln>
                <a:solidFill>
                  <a:srgbClr val="000000">
                    <a:lumMod val="85000"/>
                    <a:lumOff val="15000"/>
                  </a:srgbClr>
                </a:solidFill>
                <a:effectLst/>
                <a:uLnTx/>
                <a:uFillTx/>
                <a:latin typeface="等线 Light" panose="020F0302020204030204"/>
                <a:ea typeface="+mn-ea"/>
                <a:cs typeface="+mn-cs"/>
              </a:rPr>
              <a:t>TREE</a:t>
            </a:r>
          </a:p>
        </p:txBody>
      </p:sp>
      <p:sp>
        <p:nvSpPr>
          <p:cNvPr id="3" name="TextBox 12">
            <a:extLst>
              <a:ext uri="{FF2B5EF4-FFF2-40B4-BE49-F238E27FC236}">
                <a16:creationId xmlns:a16="http://schemas.microsoft.com/office/drawing/2014/main" id="{87674304-A8BB-4B60-8916-D1F0B0D499EB}"/>
              </a:ext>
            </a:extLst>
          </p:cNvPr>
          <p:cNvSpPr txBox="1"/>
          <p:nvPr/>
        </p:nvSpPr>
        <p:spPr>
          <a:xfrm>
            <a:off x="2180736" y="2855825"/>
            <a:ext cx="1667081" cy="307777"/>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lumMod val="85000"/>
                    <a:lumOff val="15000"/>
                  </a:srgbClr>
                </a:solidFill>
                <a:effectLst/>
                <a:uLnTx/>
                <a:uFillTx/>
                <a:latin typeface="等线 Light" panose="020F0302020204030204"/>
                <a:ea typeface="+mn-ea"/>
                <a:cs typeface="+mn-cs"/>
              </a:rPr>
              <a:t>Step Two</a:t>
            </a:r>
          </a:p>
        </p:txBody>
      </p:sp>
      <p:sp>
        <p:nvSpPr>
          <p:cNvPr id="4" name="TextBox 13">
            <a:extLst>
              <a:ext uri="{FF2B5EF4-FFF2-40B4-BE49-F238E27FC236}">
                <a16:creationId xmlns:a16="http://schemas.microsoft.com/office/drawing/2014/main" id="{D5F397DE-82B4-44A1-8BBE-CE800E4E8034}"/>
              </a:ext>
            </a:extLst>
          </p:cNvPr>
          <p:cNvSpPr txBox="1"/>
          <p:nvPr/>
        </p:nvSpPr>
        <p:spPr>
          <a:xfrm>
            <a:off x="5176590" y="2705557"/>
            <a:ext cx="1667081"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lumMod val="85000"/>
                    <a:lumOff val="15000"/>
                  </a:srgbClr>
                </a:solidFill>
                <a:effectLst/>
                <a:uLnTx/>
                <a:uFillTx/>
                <a:latin typeface="等线 Light" panose="020F0302020204030204"/>
                <a:ea typeface="+mn-ea"/>
                <a:cs typeface="+mn-cs"/>
              </a:rPr>
              <a:t>Step Three</a:t>
            </a:r>
          </a:p>
        </p:txBody>
      </p:sp>
      <p:sp>
        <p:nvSpPr>
          <p:cNvPr id="5" name="TextBox 14">
            <a:extLst>
              <a:ext uri="{FF2B5EF4-FFF2-40B4-BE49-F238E27FC236}">
                <a16:creationId xmlns:a16="http://schemas.microsoft.com/office/drawing/2014/main" id="{0D633698-D45D-4D7B-8E31-0EE4981588CD}"/>
              </a:ext>
            </a:extLst>
          </p:cNvPr>
          <p:cNvSpPr txBox="1"/>
          <p:nvPr/>
        </p:nvSpPr>
        <p:spPr>
          <a:xfrm>
            <a:off x="6252465" y="2919721"/>
            <a:ext cx="1667081"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lumMod val="85000"/>
                    <a:lumOff val="15000"/>
                  </a:srgbClr>
                </a:solidFill>
                <a:effectLst/>
                <a:uLnTx/>
                <a:uFillTx/>
                <a:latin typeface="等线 Light" panose="020F0302020204030204"/>
                <a:ea typeface="+mn-ea"/>
                <a:cs typeface="+mn-cs"/>
              </a:rPr>
              <a:t>Step Four</a:t>
            </a:r>
          </a:p>
        </p:txBody>
      </p:sp>
      <p:sp>
        <p:nvSpPr>
          <p:cNvPr id="6" name="TextBox 15">
            <a:extLst>
              <a:ext uri="{FF2B5EF4-FFF2-40B4-BE49-F238E27FC236}">
                <a16:creationId xmlns:a16="http://schemas.microsoft.com/office/drawing/2014/main" id="{E562F4D3-B510-4638-842E-5B5BAF88BCE4}"/>
              </a:ext>
            </a:extLst>
          </p:cNvPr>
          <p:cNvSpPr txBox="1"/>
          <p:nvPr/>
        </p:nvSpPr>
        <p:spPr>
          <a:xfrm>
            <a:off x="8641172" y="3713644"/>
            <a:ext cx="1667081"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lumMod val="85000"/>
                    <a:lumOff val="15000"/>
                  </a:srgbClr>
                </a:solidFill>
                <a:effectLst/>
                <a:uLnTx/>
                <a:uFillTx/>
                <a:latin typeface="等线 Light" panose="020F0302020204030204"/>
                <a:ea typeface="+mn-ea"/>
                <a:cs typeface="+mn-cs"/>
              </a:rPr>
              <a:t>Step Five</a:t>
            </a:r>
          </a:p>
        </p:txBody>
      </p:sp>
      <p:sp>
        <p:nvSpPr>
          <p:cNvPr id="7" name="TextBox 16">
            <a:extLst>
              <a:ext uri="{FF2B5EF4-FFF2-40B4-BE49-F238E27FC236}">
                <a16:creationId xmlns:a16="http://schemas.microsoft.com/office/drawing/2014/main" id="{9EEAC2D8-A155-439A-A046-5645A033D6DA}"/>
              </a:ext>
            </a:extLst>
          </p:cNvPr>
          <p:cNvSpPr txBox="1"/>
          <p:nvPr/>
        </p:nvSpPr>
        <p:spPr>
          <a:xfrm>
            <a:off x="1509656" y="4476985"/>
            <a:ext cx="1667081" cy="307777"/>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lumMod val="85000"/>
                    <a:lumOff val="15000"/>
                  </a:srgbClr>
                </a:solidFill>
                <a:effectLst/>
                <a:uLnTx/>
                <a:uFillTx/>
                <a:latin typeface="等线 Light" panose="020F0302020204030204"/>
                <a:ea typeface="+mn-ea"/>
                <a:cs typeface="+mn-cs"/>
              </a:rPr>
              <a:t>Step One</a:t>
            </a:r>
          </a:p>
        </p:txBody>
      </p:sp>
      <p:sp>
        <p:nvSpPr>
          <p:cNvPr id="8" name="Rectangle 25">
            <a:extLst>
              <a:ext uri="{FF2B5EF4-FFF2-40B4-BE49-F238E27FC236}">
                <a16:creationId xmlns:a16="http://schemas.microsoft.com/office/drawing/2014/main" id="{CCDAB6C4-CD19-4C7F-A266-391E68C1ED44}"/>
              </a:ext>
            </a:extLst>
          </p:cNvPr>
          <p:cNvSpPr/>
          <p:nvPr/>
        </p:nvSpPr>
        <p:spPr>
          <a:xfrm>
            <a:off x="7931973" y="5142654"/>
            <a:ext cx="3401497" cy="1080937"/>
          </a:xfrm>
          <a:prstGeom prst="rect">
            <a:avLst/>
          </a:prstGeom>
        </p:spPr>
        <p:txBody>
          <a:bodyPr wrap="square">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lumMod val="50000"/>
                    <a:lumOff val="50000"/>
                  </a:srgbClr>
                </a:solidFill>
                <a:effectLst/>
                <a:uLnTx/>
                <a:uFillTx/>
                <a:latin typeface="等线" panose="020F0502020204030204"/>
                <a:ea typeface="+mn-ea"/>
                <a:cs typeface="+mn-cs"/>
              </a:rPr>
              <a:t>Lorem Ipsum is simply dummy text of the printing and typesetting industry. Lorem Ipsum has been the industry's standard dummy text ever since the 1500s</a:t>
            </a:r>
          </a:p>
        </p:txBody>
      </p:sp>
      <p:sp>
        <p:nvSpPr>
          <p:cNvPr id="9" name="Rectangle 26">
            <a:extLst>
              <a:ext uri="{FF2B5EF4-FFF2-40B4-BE49-F238E27FC236}">
                <a16:creationId xmlns:a16="http://schemas.microsoft.com/office/drawing/2014/main" id="{7218BD6F-A9B3-4783-8434-A8BAEFD88DFD}"/>
              </a:ext>
            </a:extLst>
          </p:cNvPr>
          <p:cNvSpPr/>
          <p:nvPr/>
        </p:nvSpPr>
        <p:spPr>
          <a:xfrm>
            <a:off x="1437888" y="5396570"/>
            <a:ext cx="3401497" cy="573106"/>
          </a:xfrm>
          <a:prstGeom prst="rect">
            <a:avLst/>
          </a:prstGeom>
        </p:spPr>
        <p:txBody>
          <a:bodyPr wrap="square">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lumMod val="50000"/>
                    <a:lumOff val="50000"/>
                  </a:srgbClr>
                </a:solidFill>
                <a:effectLst/>
                <a:uLnTx/>
                <a:uFillTx/>
                <a:latin typeface="等线" panose="020F0502020204030204"/>
                <a:ea typeface="+mn-ea"/>
                <a:cs typeface="+mn-cs"/>
              </a:rPr>
              <a:t>Lorem Ipsum is simply dummy text of the printing and typesetting industry. </a:t>
            </a:r>
          </a:p>
        </p:txBody>
      </p:sp>
      <p:grpSp>
        <p:nvGrpSpPr>
          <p:cNvPr id="10" name="Group 29">
            <a:extLst>
              <a:ext uri="{FF2B5EF4-FFF2-40B4-BE49-F238E27FC236}">
                <a16:creationId xmlns:a16="http://schemas.microsoft.com/office/drawing/2014/main" id="{61BF2CAC-692D-4999-8A32-5FADC7A48092}"/>
              </a:ext>
            </a:extLst>
          </p:cNvPr>
          <p:cNvGrpSpPr/>
          <p:nvPr/>
        </p:nvGrpSpPr>
        <p:grpSpPr>
          <a:xfrm>
            <a:off x="3467101" y="2855823"/>
            <a:ext cx="4967072" cy="4014879"/>
            <a:chOff x="3467101" y="2855822"/>
            <a:chExt cx="4967072" cy="4014878"/>
          </a:xfrm>
        </p:grpSpPr>
        <p:sp>
          <p:nvSpPr>
            <p:cNvPr id="11" name="Freeform 10">
              <a:extLst>
                <a:ext uri="{FF2B5EF4-FFF2-40B4-BE49-F238E27FC236}">
                  <a16:creationId xmlns:a16="http://schemas.microsoft.com/office/drawing/2014/main" id="{13E9C204-CE6F-471E-80F7-AD23E58C1777}"/>
                </a:ext>
              </a:extLst>
            </p:cNvPr>
            <p:cNvSpPr>
              <a:spLocks/>
            </p:cNvSpPr>
            <p:nvPr/>
          </p:nvSpPr>
          <p:spPr bwMode="auto">
            <a:xfrm>
              <a:off x="4001812" y="3433258"/>
              <a:ext cx="3891979" cy="3437442"/>
            </a:xfrm>
            <a:custGeom>
              <a:avLst/>
              <a:gdLst>
                <a:gd name="T0" fmla="*/ 2415 w 2508"/>
                <a:gd name="T1" fmla="*/ 536 h 2219"/>
                <a:gd name="T2" fmla="*/ 2099 w 2508"/>
                <a:gd name="T3" fmla="*/ 883 h 2219"/>
                <a:gd name="T4" fmla="*/ 1656 w 2508"/>
                <a:gd name="T5" fmla="*/ 1163 h 2219"/>
                <a:gd name="T6" fmla="*/ 1470 w 2508"/>
                <a:gd name="T7" fmla="*/ 1264 h 2219"/>
                <a:gd name="T8" fmla="*/ 1339 w 2508"/>
                <a:gd name="T9" fmla="*/ 1181 h 2219"/>
                <a:gd name="T10" fmla="*/ 1258 w 2508"/>
                <a:gd name="T11" fmla="*/ 1016 h 2219"/>
                <a:gd name="T12" fmla="*/ 1235 w 2508"/>
                <a:gd name="T13" fmla="*/ 896 h 2219"/>
                <a:gd name="T14" fmla="*/ 1226 w 2508"/>
                <a:gd name="T15" fmla="*/ 827 h 2219"/>
                <a:gd name="T16" fmla="*/ 1337 w 2508"/>
                <a:gd name="T17" fmla="*/ 570 h 2219"/>
                <a:gd name="T18" fmla="*/ 1566 w 2508"/>
                <a:gd name="T19" fmla="*/ 348 h 2219"/>
                <a:gd name="T20" fmla="*/ 1422 w 2508"/>
                <a:gd name="T21" fmla="*/ 405 h 2219"/>
                <a:gd name="T22" fmla="*/ 1178 w 2508"/>
                <a:gd name="T23" fmla="*/ 772 h 2219"/>
                <a:gd name="T24" fmla="*/ 1122 w 2508"/>
                <a:gd name="T25" fmla="*/ 762 h 2219"/>
                <a:gd name="T26" fmla="*/ 1090 w 2508"/>
                <a:gd name="T27" fmla="*/ 525 h 2219"/>
                <a:gd name="T28" fmla="*/ 1077 w 2508"/>
                <a:gd name="T29" fmla="*/ 367 h 2219"/>
                <a:gd name="T30" fmla="*/ 1081 w 2508"/>
                <a:gd name="T31" fmla="*/ 220 h 2219"/>
                <a:gd name="T32" fmla="*/ 1031 w 2508"/>
                <a:gd name="T33" fmla="*/ 364 h 2219"/>
                <a:gd name="T34" fmla="*/ 1029 w 2508"/>
                <a:gd name="T35" fmla="*/ 440 h 2219"/>
                <a:gd name="T36" fmla="*/ 1038 w 2508"/>
                <a:gd name="T37" fmla="*/ 641 h 2219"/>
                <a:gd name="T38" fmla="*/ 1062 w 2508"/>
                <a:gd name="T39" fmla="*/ 844 h 2219"/>
                <a:gd name="T40" fmla="*/ 749 w 2508"/>
                <a:gd name="T41" fmla="*/ 450 h 2219"/>
                <a:gd name="T42" fmla="*/ 401 w 2508"/>
                <a:gd name="T43" fmla="*/ 228 h 2219"/>
                <a:gd name="T44" fmla="*/ 340 w 2508"/>
                <a:gd name="T45" fmla="*/ 7 h 2219"/>
                <a:gd name="T46" fmla="*/ 630 w 2508"/>
                <a:gd name="T47" fmla="*/ 451 h 2219"/>
                <a:gd name="T48" fmla="*/ 1109 w 2508"/>
                <a:gd name="T49" fmla="*/ 1191 h 2219"/>
                <a:gd name="T50" fmla="*/ 844 w 2508"/>
                <a:gd name="T51" fmla="*/ 1112 h 2219"/>
                <a:gd name="T52" fmla="*/ 638 w 2508"/>
                <a:gd name="T53" fmla="*/ 1092 h 2219"/>
                <a:gd name="T54" fmla="*/ 17 w 2508"/>
                <a:gd name="T55" fmla="*/ 797 h 2219"/>
                <a:gd name="T56" fmla="*/ 304 w 2508"/>
                <a:gd name="T57" fmla="*/ 1067 h 2219"/>
                <a:gd name="T58" fmla="*/ 1106 w 2508"/>
                <a:gd name="T59" fmla="*/ 1330 h 2219"/>
                <a:gd name="T60" fmla="*/ 1289 w 2508"/>
                <a:gd name="T61" fmla="*/ 1699 h 2219"/>
                <a:gd name="T62" fmla="*/ 1238 w 2508"/>
                <a:gd name="T63" fmla="*/ 1927 h 2219"/>
                <a:gd name="T64" fmla="*/ 1103 w 2508"/>
                <a:gd name="T65" fmla="*/ 2158 h 2219"/>
                <a:gd name="T66" fmla="*/ 1040 w 2508"/>
                <a:gd name="T67" fmla="*/ 2189 h 2219"/>
                <a:gd name="T68" fmla="*/ 1289 w 2508"/>
                <a:gd name="T69" fmla="*/ 2206 h 2219"/>
                <a:gd name="T70" fmla="*/ 1526 w 2508"/>
                <a:gd name="T71" fmla="*/ 2206 h 2219"/>
                <a:gd name="T72" fmla="*/ 1682 w 2508"/>
                <a:gd name="T73" fmla="*/ 2195 h 2219"/>
                <a:gd name="T74" fmla="*/ 1643 w 2508"/>
                <a:gd name="T75" fmla="*/ 2166 h 2219"/>
                <a:gd name="T76" fmla="*/ 1640 w 2508"/>
                <a:gd name="T77" fmla="*/ 2152 h 2219"/>
                <a:gd name="T78" fmla="*/ 1630 w 2508"/>
                <a:gd name="T79" fmla="*/ 2140 h 2219"/>
                <a:gd name="T80" fmla="*/ 1599 w 2508"/>
                <a:gd name="T81" fmla="*/ 2039 h 2219"/>
                <a:gd name="T82" fmla="*/ 1561 w 2508"/>
                <a:gd name="T83" fmla="*/ 1753 h 2219"/>
                <a:gd name="T84" fmla="*/ 1703 w 2508"/>
                <a:gd name="T85" fmla="*/ 1215 h 2219"/>
                <a:gd name="T86" fmla="*/ 2359 w 2508"/>
                <a:gd name="T87" fmla="*/ 706 h 2219"/>
                <a:gd name="T88" fmla="*/ 2507 w 2508"/>
                <a:gd name="T89" fmla="*/ 398 h 2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508" h="2219">
                  <a:moveTo>
                    <a:pt x="2491" y="394"/>
                  </a:moveTo>
                  <a:cubicBezTo>
                    <a:pt x="2464" y="441"/>
                    <a:pt x="2442" y="489"/>
                    <a:pt x="2415" y="536"/>
                  </a:cubicBezTo>
                  <a:cubicBezTo>
                    <a:pt x="2389" y="581"/>
                    <a:pt x="2360" y="624"/>
                    <a:pt x="2327" y="664"/>
                  </a:cubicBezTo>
                  <a:cubicBezTo>
                    <a:pt x="2261" y="747"/>
                    <a:pt x="2183" y="819"/>
                    <a:pt x="2099" y="883"/>
                  </a:cubicBezTo>
                  <a:cubicBezTo>
                    <a:pt x="2006" y="954"/>
                    <a:pt x="1908" y="1016"/>
                    <a:pt x="1807" y="1075"/>
                  </a:cubicBezTo>
                  <a:cubicBezTo>
                    <a:pt x="1757" y="1105"/>
                    <a:pt x="1706" y="1134"/>
                    <a:pt x="1656" y="1163"/>
                  </a:cubicBezTo>
                  <a:cubicBezTo>
                    <a:pt x="1613" y="1187"/>
                    <a:pt x="1569" y="1210"/>
                    <a:pt x="1531" y="1241"/>
                  </a:cubicBezTo>
                  <a:cubicBezTo>
                    <a:pt x="1511" y="1249"/>
                    <a:pt x="1491" y="1258"/>
                    <a:pt x="1470" y="1264"/>
                  </a:cubicBezTo>
                  <a:cubicBezTo>
                    <a:pt x="1446" y="1271"/>
                    <a:pt x="1422" y="1276"/>
                    <a:pt x="1398" y="1278"/>
                  </a:cubicBezTo>
                  <a:cubicBezTo>
                    <a:pt x="1377" y="1247"/>
                    <a:pt x="1357" y="1215"/>
                    <a:pt x="1339" y="1181"/>
                  </a:cubicBezTo>
                  <a:cubicBezTo>
                    <a:pt x="1320" y="1145"/>
                    <a:pt x="1301" y="1109"/>
                    <a:pt x="1283" y="1072"/>
                  </a:cubicBezTo>
                  <a:cubicBezTo>
                    <a:pt x="1275" y="1054"/>
                    <a:pt x="1267" y="1035"/>
                    <a:pt x="1258" y="1016"/>
                  </a:cubicBezTo>
                  <a:cubicBezTo>
                    <a:pt x="1256" y="1008"/>
                    <a:pt x="1254" y="1000"/>
                    <a:pt x="1252" y="991"/>
                  </a:cubicBezTo>
                  <a:cubicBezTo>
                    <a:pt x="1245" y="960"/>
                    <a:pt x="1240" y="928"/>
                    <a:pt x="1235" y="896"/>
                  </a:cubicBezTo>
                  <a:cubicBezTo>
                    <a:pt x="1233" y="878"/>
                    <a:pt x="1231" y="859"/>
                    <a:pt x="1228" y="841"/>
                  </a:cubicBezTo>
                  <a:cubicBezTo>
                    <a:pt x="1227" y="837"/>
                    <a:pt x="1227" y="832"/>
                    <a:pt x="1226" y="827"/>
                  </a:cubicBezTo>
                  <a:cubicBezTo>
                    <a:pt x="1226" y="827"/>
                    <a:pt x="1226" y="827"/>
                    <a:pt x="1227" y="827"/>
                  </a:cubicBezTo>
                  <a:cubicBezTo>
                    <a:pt x="1230" y="748"/>
                    <a:pt x="1281" y="646"/>
                    <a:pt x="1337" y="570"/>
                  </a:cubicBezTo>
                  <a:cubicBezTo>
                    <a:pt x="1368" y="528"/>
                    <a:pt x="1405" y="491"/>
                    <a:pt x="1444" y="456"/>
                  </a:cubicBezTo>
                  <a:cubicBezTo>
                    <a:pt x="1485" y="419"/>
                    <a:pt x="1529" y="388"/>
                    <a:pt x="1566" y="348"/>
                  </a:cubicBezTo>
                  <a:cubicBezTo>
                    <a:pt x="1575" y="338"/>
                    <a:pt x="1567" y="320"/>
                    <a:pt x="1553" y="325"/>
                  </a:cubicBezTo>
                  <a:cubicBezTo>
                    <a:pt x="1503" y="343"/>
                    <a:pt x="1463" y="372"/>
                    <a:pt x="1422" y="405"/>
                  </a:cubicBezTo>
                  <a:cubicBezTo>
                    <a:pt x="1382" y="436"/>
                    <a:pt x="1346" y="471"/>
                    <a:pt x="1314" y="510"/>
                  </a:cubicBezTo>
                  <a:cubicBezTo>
                    <a:pt x="1250" y="586"/>
                    <a:pt x="1204" y="676"/>
                    <a:pt x="1178" y="772"/>
                  </a:cubicBezTo>
                  <a:cubicBezTo>
                    <a:pt x="1165" y="822"/>
                    <a:pt x="1159" y="872"/>
                    <a:pt x="1158" y="922"/>
                  </a:cubicBezTo>
                  <a:cubicBezTo>
                    <a:pt x="1145" y="868"/>
                    <a:pt x="1133" y="815"/>
                    <a:pt x="1122" y="762"/>
                  </a:cubicBezTo>
                  <a:cubicBezTo>
                    <a:pt x="1115" y="728"/>
                    <a:pt x="1109" y="694"/>
                    <a:pt x="1104" y="659"/>
                  </a:cubicBezTo>
                  <a:cubicBezTo>
                    <a:pt x="1099" y="615"/>
                    <a:pt x="1094" y="570"/>
                    <a:pt x="1090" y="525"/>
                  </a:cubicBezTo>
                  <a:cubicBezTo>
                    <a:pt x="1086" y="489"/>
                    <a:pt x="1083" y="453"/>
                    <a:pt x="1080" y="416"/>
                  </a:cubicBezTo>
                  <a:cubicBezTo>
                    <a:pt x="1079" y="400"/>
                    <a:pt x="1078" y="384"/>
                    <a:pt x="1077" y="367"/>
                  </a:cubicBezTo>
                  <a:cubicBezTo>
                    <a:pt x="1079" y="320"/>
                    <a:pt x="1081" y="273"/>
                    <a:pt x="1086" y="227"/>
                  </a:cubicBezTo>
                  <a:cubicBezTo>
                    <a:pt x="1086" y="223"/>
                    <a:pt x="1084" y="221"/>
                    <a:pt x="1081" y="220"/>
                  </a:cubicBezTo>
                  <a:cubicBezTo>
                    <a:pt x="1080" y="214"/>
                    <a:pt x="1071" y="214"/>
                    <a:pt x="1068" y="219"/>
                  </a:cubicBezTo>
                  <a:cubicBezTo>
                    <a:pt x="1039" y="257"/>
                    <a:pt x="1027" y="314"/>
                    <a:pt x="1031" y="364"/>
                  </a:cubicBezTo>
                  <a:cubicBezTo>
                    <a:pt x="1030" y="376"/>
                    <a:pt x="1030" y="388"/>
                    <a:pt x="1030" y="399"/>
                  </a:cubicBezTo>
                  <a:cubicBezTo>
                    <a:pt x="1029" y="413"/>
                    <a:pt x="1029" y="426"/>
                    <a:pt x="1029" y="440"/>
                  </a:cubicBezTo>
                  <a:cubicBezTo>
                    <a:pt x="1029" y="453"/>
                    <a:pt x="1029" y="466"/>
                    <a:pt x="1029" y="478"/>
                  </a:cubicBezTo>
                  <a:cubicBezTo>
                    <a:pt x="1029" y="533"/>
                    <a:pt x="1032" y="587"/>
                    <a:pt x="1038" y="641"/>
                  </a:cubicBezTo>
                  <a:cubicBezTo>
                    <a:pt x="1040" y="664"/>
                    <a:pt x="1043" y="688"/>
                    <a:pt x="1046" y="712"/>
                  </a:cubicBezTo>
                  <a:cubicBezTo>
                    <a:pt x="1050" y="756"/>
                    <a:pt x="1055" y="800"/>
                    <a:pt x="1062" y="844"/>
                  </a:cubicBezTo>
                  <a:cubicBezTo>
                    <a:pt x="1022" y="750"/>
                    <a:pt x="974" y="661"/>
                    <a:pt x="905" y="583"/>
                  </a:cubicBezTo>
                  <a:cubicBezTo>
                    <a:pt x="859" y="532"/>
                    <a:pt x="806" y="487"/>
                    <a:pt x="749" y="450"/>
                  </a:cubicBezTo>
                  <a:cubicBezTo>
                    <a:pt x="694" y="414"/>
                    <a:pt x="633" y="388"/>
                    <a:pt x="573" y="360"/>
                  </a:cubicBezTo>
                  <a:cubicBezTo>
                    <a:pt x="508" y="328"/>
                    <a:pt x="442" y="290"/>
                    <a:pt x="401" y="228"/>
                  </a:cubicBezTo>
                  <a:cubicBezTo>
                    <a:pt x="358" y="161"/>
                    <a:pt x="351" y="88"/>
                    <a:pt x="354" y="11"/>
                  </a:cubicBezTo>
                  <a:cubicBezTo>
                    <a:pt x="354" y="4"/>
                    <a:pt x="343" y="0"/>
                    <a:pt x="340" y="7"/>
                  </a:cubicBezTo>
                  <a:cubicBezTo>
                    <a:pt x="286" y="132"/>
                    <a:pt x="361" y="272"/>
                    <a:pt x="460" y="349"/>
                  </a:cubicBezTo>
                  <a:cubicBezTo>
                    <a:pt x="513" y="390"/>
                    <a:pt x="572" y="419"/>
                    <a:pt x="630" y="451"/>
                  </a:cubicBezTo>
                  <a:cubicBezTo>
                    <a:pt x="691" y="483"/>
                    <a:pt x="748" y="521"/>
                    <a:pt x="799" y="568"/>
                  </a:cubicBezTo>
                  <a:cubicBezTo>
                    <a:pt x="976" y="734"/>
                    <a:pt x="1026" y="971"/>
                    <a:pt x="1109" y="1191"/>
                  </a:cubicBezTo>
                  <a:cubicBezTo>
                    <a:pt x="1080" y="1173"/>
                    <a:pt x="1050" y="1159"/>
                    <a:pt x="1018" y="1147"/>
                  </a:cubicBezTo>
                  <a:cubicBezTo>
                    <a:pt x="964" y="1126"/>
                    <a:pt x="903" y="1118"/>
                    <a:pt x="844" y="1112"/>
                  </a:cubicBezTo>
                  <a:cubicBezTo>
                    <a:pt x="787" y="1106"/>
                    <a:pt x="732" y="1100"/>
                    <a:pt x="674" y="1097"/>
                  </a:cubicBezTo>
                  <a:cubicBezTo>
                    <a:pt x="662" y="1096"/>
                    <a:pt x="650" y="1094"/>
                    <a:pt x="638" y="1092"/>
                  </a:cubicBezTo>
                  <a:cubicBezTo>
                    <a:pt x="560" y="1082"/>
                    <a:pt x="481" y="1077"/>
                    <a:pt x="406" y="1056"/>
                  </a:cubicBezTo>
                  <a:cubicBezTo>
                    <a:pt x="253" y="1015"/>
                    <a:pt x="130" y="901"/>
                    <a:pt x="17" y="797"/>
                  </a:cubicBezTo>
                  <a:cubicBezTo>
                    <a:pt x="9" y="790"/>
                    <a:pt x="0" y="800"/>
                    <a:pt x="6" y="808"/>
                  </a:cubicBezTo>
                  <a:cubicBezTo>
                    <a:pt x="90" y="912"/>
                    <a:pt x="182" y="1009"/>
                    <a:pt x="304" y="1067"/>
                  </a:cubicBezTo>
                  <a:cubicBezTo>
                    <a:pt x="439" y="1130"/>
                    <a:pt x="592" y="1130"/>
                    <a:pt x="736" y="1159"/>
                  </a:cubicBezTo>
                  <a:cubicBezTo>
                    <a:pt x="869" y="1187"/>
                    <a:pt x="1006" y="1233"/>
                    <a:pt x="1106" y="1330"/>
                  </a:cubicBezTo>
                  <a:cubicBezTo>
                    <a:pt x="1155" y="1377"/>
                    <a:pt x="1192" y="1435"/>
                    <a:pt x="1221" y="1496"/>
                  </a:cubicBezTo>
                  <a:cubicBezTo>
                    <a:pt x="1252" y="1560"/>
                    <a:pt x="1279" y="1628"/>
                    <a:pt x="1289" y="1699"/>
                  </a:cubicBezTo>
                  <a:cubicBezTo>
                    <a:pt x="1295" y="1738"/>
                    <a:pt x="1295" y="1779"/>
                    <a:pt x="1285" y="1818"/>
                  </a:cubicBezTo>
                  <a:cubicBezTo>
                    <a:pt x="1275" y="1857"/>
                    <a:pt x="1257" y="1893"/>
                    <a:pt x="1238" y="1927"/>
                  </a:cubicBezTo>
                  <a:cubicBezTo>
                    <a:pt x="1195" y="2004"/>
                    <a:pt x="1150" y="2078"/>
                    <a:pt x="1106" y="2154"/>
                  </a:cubicBezTo>
                  <a:cubicBezTo>
                    <a:pt x="1105" y="2155"/>
                    <a:pt x="1104" y="2157"/>
                    <a:pt x="1103" y="2158"/>
                  </a:cubicBezTo>
                  <a:cubicBezTo>
                    <a:pt x="1098" y="2164"/>
                    <a:pt x="1092" y="2170"/>
                    <a:pt x="1086" y="2177"/>
                  </a:cubicBezTo>
                  <a:cubicBezTo>
                    <a:pt x="1071" y="2180"/>
                    <a:pt x="1055" y="2185"/>
                    <a:pt x="1040" y="2189"/>
                  </a:cubicBezTo>
                  <a:cubicBezTo>
                    <a:pt x="1027" y="2194"/>
                    <a:pt x="1030" y="2212"/>
                    <a:pt x="1043" y="2213"/>
                  </a:cubicBezTo>
                  <a:cubicBezTo>
                    <a:pt x="1125" y="2219"/>
                    <a:pt x="1207" y="2212"/>
                    <a:pt x="1289" y="2206"/>
                  </a:cubicBezTo>
                  <a:cubicBezTo>
                    <a:pt x="1338" y="2209"/>
                    <a:pt x="1386" y="2209"/>
                    <a:pt x="1435" y="2209"/>
                  </a:cubicBezTo>
                  <a:cubicBezTo>
                    <a:pt x="1465" y="2209"/>
                    <a:pt x="1496" y="2208"/>
                    <a:pt x="1526" y="2206"/>
                  </a:cubicBezTo>
                  <a:cubicBezTo>
                    <a:pt x="1553" y="2205"/>
                    <a:pt x="1584" y="2208"/>
                    <a:pt x="1610" y="2198"/>
                  </a:cubicBezTo>
                  <a:cubicBezTo>
                    <a:pt x="1634" y="2199"/>
                    <a:pt x="1658" y="2202"/>
                    <a:pt x="1682" y="2195"/>
                  </a:cubicBezTo>
                  <a:cubicBezTo>
                    <a:pt x="1690" y="2193"/>
                    <a:pt x="1693" y="2180"/>
                    <a:pt x="1684" y="2176"/>
                  </a:cubicBezTo>
                  <a:cubicBezTo>
                    <a:pt x="1671" y="2170"/>
                    <a:pt x="1657" y="2167"/>
                    <a:pt x="1643" y="2166"/>
                  </a:cubicBezTo>
                  <a:cubicBezTo>
                    <a:pt x="1643" y="2165"/>
                    <a:pt x="1643" y="2164"/>
                    <a:pt x="1643" y="2163"/>
                  </a:cubicBezTo>
                  <a:cubicBezTo>
                    <a:pt x="1643" y="2159"/>
                    <a:pt x="1642" y="2155"/>
                    <a:pt x="1640" y="2152"/>
                  </a:cubicBezTo>
                  <a:cubicBezTo>
                    <a:pt x="1639" y="2150"/>
                    <a:pt x="1637" y="2148"/>
                    <a:pt x="1636" y="2145"/>
                  </a:cubicBezTo>
                  <a:cubicBezTo>
                    <a:pt x="1635" y="2143"/>
                    <a:pt x="1633" y="2141"/>
                    <a:pt x="1630" y="2140"/>
                  </a:cubicBezTo>
                  <a:cubicBezTo>
                    <a:pt x="1630" y="2138"/>
                    <a:pt x="1630" y="2136"/>
                    <a:pt x="1629" y="2134"/>
                  </a:cubicBezTo>
                  <a:cubicBezTo>
                    <a:pt x="1622" y="2102"/>
                    <a:pt x="1608" y="2071"/>
                    <a:pt x="1599" y="2039"/>
                  </a:cubicBezTo>
                  <a:cubicBezTo>
                    <a:pt x="1591" y="2008"/>
                    <a:pt x="1583" y="1976"/>
                    <a:pt x="1577" y="1943"/>
                  </a:cubicBezTo>
                  <a:cubicBezTo>
                    <a:pt x="1566" y="1881"/>
                    <a:pt x="1561" y="1817"/>
                    <a:pt x="1561" y="1753"/>
                  </a:cubicBezTo>
                  <a:cubicBezTo>
                    <a:pt x="1562" y="1624"/>
                    <a:pt x="1587" y="1494"/>
                    <a:pt x="1632" y="1373"/>
                  </a:cubicBezTo>
                  <a:cubicBezTo>
                    <a:pt x="1652" y="1319"/>
                    <a:pt x="1679" y="1267"/>
                    <a:pt x="1703" y="1215"/>
                  </a:cubicBezTo>
                  <a:cubicBezTo>
                    <a:pt x="1751" y="1187"/>
                    <a:pt x="1800" y="1158"/>
                    <a:pt x="1848" y="1130"/>
                  </a:cubicBezTo>
                  <a:cubicBezTo>
                    <a:pt x="2038" y="1015"/>
                    <a:pt x="2222" y="883"/>
                    <a:pt x="2359" y="706"/>
                  </a:cubicBezTo>
                  <a:cubicBezTo>
                    <a:pt x="2395" y="659"/>
                    <a:pt x="2427" y="610"/>
                    <a:pt x="2454" y="558"/>
                  </a:cubicBezTo>
                  <a:cubicBezTo>
                    <a:pt x="2479" y="509"/>
                    <a:pt x="2501" y="454"/>
                    <a:pt x="2507" y="398"/>
                  </a:cubicBezTo>
                  <a:cubicBezTo>
                    <a:pt x="2508" y="389"/>
                    <a:pt x="2495" y="387"/>
                    <a:pt x="2491" y="394"/>
                  </a:cubicBezTo>
                  <a:close/>
                </a:path>
              </a:pathLst>
            </a:custGeom>
            <a:solidFill>
              <a:schemeClr val="accent3">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grpSp>
          <p:nvGrpSpPr>
            <p:cNvPr id="12" name="Group 11">
              <a:extLst>
                <a:ext uri="{FF2B5EF4-FFF2-40B4-BE49-F238E27FC236}">
                  <a16:creationId xmlns:a16="http://schemas.microsoft.com/office/drawing/2014/main" id="{9DE5B40B-7AB5-466B-B3B8-5B2CC0229E47}"/>
                </a:ext>
              </a:extLst>
            </p:cNvPr>
            <p:cNvGrpSpPr/>
            <p:nvPr/>
          </p:nvGrpSpPr>
          <p:grpSpPr>
            <a:xfrm>
              <a:off x="3467101" y="4113212"/>
              <a:ext cx="1041237" cy="1038767"/>
              <a:chOff x="3467101" y="4113212"/>
              <a:chExt cx="1041237" cy="1038767"/>
            </a:xfrm>
          </p:grpSpPr>
          <p:sp>
            <p:nvSpPr>
              <p:cNvPr id="28" name="Oval 8">
                <a:extLst>
                  <a:ext uri="{FF2B5EF4-FFF2-40B4-BE49-F238E27FC236}">
                    <a16:creationId xmlns:a16="http://schemas.microsoft.com/office/drawing/2014/main" id="{EE6064E7-626B-463B-A227-E38A5FA7F1A8}"/>
                  </a:ext>
                </a:extLst>
              </p:cNvPr>
              <p:cNvSpPr>
                <a:spLocks noChangeArrowheads="1"/>
              </p:cNvSpPr>
              <p:nvPr/>
            </p:nvSpPr>
            <p:spPr bwMode="auto">
              <a:xfrm>
                <a:off x="3467101" y="4113212"/>
                <a:ext cx="1041237" cy="1038767"/>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29" name="Freeform 116">
                <a:extLst>
                  <a:ext uri="{FF2B5EF4-FFF2-40B4-BE49-F238E27FC236}">
                    <a16:creationId xmlns:a16="http://schemas.microsoft.com/office/drawing/2014/main" id="{AC99A26E-F239-474D-AB23-21519FD795C7}"/>
                  </a:ext>
                </a:extLst>
              </p:cNvPr>
              <p:cNvSpPr>
                <a:spLocks noChangeArrowheads="1"/>
              </p:cNvSpPr>
              <p:nvPr/>
            </p:nvSpPr>
            <p:spPr bwMode="auto">
              <a:xfrm>
                <a:off x="3847290" y="4487569"/>
                <a:ext cx="280859" cy="290053"/>
              </a:xfrm>
              <a:custGeom>
                <a:avLst/>
                <a:gdLst>
                  <a:gd name="T0" fmla="*/ 479461 w 445"/>
                  <a:gd name="T1" fmla="*/ 189582 h 462"/>
                  <a:gd name="T2" fmla="*/ 479461 w 445"/>
                  <a:gd name="T3" fmla="*/ 189582 h 462"/>
                  <a:gd name="T4" fmla="*/ 318841 w 445"/>
                  <a:gd name="T5" fmla="*/ 9539 h 462"/>
                  <a:gd name="T6" fmla="*/ 43151 w 445"/>
                  <a:gd name="T7" fmla="*/ 295701 h 462"/>
                  <a:gd name="T8" fmla="*/ 10788 w 445"/>
                  <a:gd name="T9" fmla="*/ 380357 h 462"/>
                  <a:gd name="T10" fmla="*/ 97091 w 445"/>
                  <a:gd name="T11" fmla="*/ 423281 h 462"/>
                  <a:gd name="T12" fmla="*/ 117468 w 445"/>
                  <a:gd name="T13" fmla="*/ 412550 h 462"/>
                  <a:gd name="T14" fmla="*/ 160619 w 445"/>
                  <a:gd name="T15" fmla="*/ 443551 h 462"/>
                  <a:gd name="T16" fmla="*/ 191784 w 445"/>
                  <a:gd name="T17" fmla="*/ 517476 h 462"/>
                  <a:gd name="T18" fmla="*/ 224148 w 445"/>
                  <a:gd name="T19" fmla="*/ 538939 h 462"/>
                  <a:gd name="T20" fmla="*/ 287676 w 445"/>
                  <a:gd name="T21" fmla="*/ 517476 h 462"/>
                  <a:gd name="T22" fmla="*/ 298464 w 445"/>
                  <a:gd name="T23" fmla="*/ 496014 h 462"/>
                  <a:gd name="T24" fmla="*/ 276889 w 445"/>
                  <a:gd name="T25" fmla="*/ 465013 h 462"/>
                  <a:gd name="T26" fmla="*/ 244525 w 445"/>
                  <a:gd name="T27" fmla="*/ 401819 h 462"/>
                  <a:gd name="T28" fmla="*/ 276889 w 445"/>
                  <a:gd name="T29" fmla="*/ 369626 h 462"/>
                  <a:gd name="T30" fmla="*/ 499838 w 445"/>
                  <a:gd name="T31" fmla="*/ 423281 h 462"/>
                  <a:gd name="T32" fmla="*/ 479461 w 445"/>
                  <a:gd name="T33" fmla="*/ 189582 h 462"/>
                  <a:gd name="T34" fmla="*/ 467474 w 445"/>
                  <a:gd name="T35" fmla="*/ 369626 h 462"/>
                  <a:gd name="T36" fmla="*/ 467474 w 445"/>
                  <a:gd name="T37" fmla="*/ 369626 h 462"/>
                  <a:gd name="T38" fmla="*/ 361993 w 445"/>
                  <a:gd name="T39" fmla="*/ 243238 h 462"/>
                  <a:gd name="T40" fmla="*/ 340417 w 445"/>
                  <a:gd name="T41" fmla="*/ 73925 h 462"/>
                  <a:gd name="T42" fmla="*/ 436309 w 445"/>
                  <a:gd name="T43" fmla="*/ 211045 h 462"/>
                  <a:gd name="T44" fmla="*/ 467474 w 445"/>
                  <a:gd name="T45" fmla="*/ 369626 h 462"/>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445" h="462">
                    <a:moveTo>
                      <a:pt x="400" y="159"/>
                    </a:moveTo>
                    <a:lnTo>
                      <a:pt x="400" y="159"/>
                    </a:lnTo>
                    <a:cubicBezTo>
                      <a:pt x="364" y="71"/>
                      <a:pt x="302" y="0"/>
                      <a:pt x="266" y="8"/>
                    </a:cubicBezTo>
                    <a:cubicBezTo>
                      <a:pt x="213" y="36"/>
                      <a:pt x="302" y="142"/>
                      <a:pt x="36" y="248"/>
                    </a:cubicBezTo>
                    <a:cubicBezTo>
                      <a:pt x="9" y="257"/>
                      <a:pt x="0" y="292"/>
                      <a:pt x="9" y="319"/>
                    </a:cubicBezTo>
                    <a:cubicBezTo>
                      <a:pt x="18" y="337"/>
                      <a:pt x="53" y="363"/>
                      <a:pt x="81" y="355"/>
                    </a:cubicBezTo>
                    <a:lnTo>
                      <a:pt x="98" y="346"/>
                    </a:lnTo>
                    <a:cubicBezTo>
                      <a:pt x="116" y="372"/>
                      <a:pt x="134" y="355"/>
                      <a:pt x="134" y="372"/>
                    </a:cubicBezTo>
                    <a:cubicBezTo>
                      <a:pt x="143" y="390"/>
                      <a:pt x="160" y="425"/>
                      <a:pt x="160" y="434"/>
                    </a:cubicBezTo>
                    <a:cubicBezTo>
                      <a:pt x="169" y="443"/>
                      <a:pt x="178" y="461"/>
                      <a:pt x="187" y="452"/>
                    </a:cubicBezTo>
                    <a:cubicBezTo>
                      <a:pt x="196" y="452"/>
                      <a:pt x="231" y="443"/>
                      <a:pt x="240" y="434"/>
                    </a:cubicBezTo>
                    <a:cubicBezTo>
                      <a:pt x="257" y="434"/>
                      <a:pt x="257" y="425"/>
                      <a:pt x="249" y="416"/>
                    </a:cubicBezTo>
                    <a:cubicBezTo>
                      <a:pt x="249" y="408"/>
                      <a:pt x="231" y="399"/>
                      <a:pt x="231" y="390"/>
                    </a:cubicBezTo>
                    <a:cubicBezTo>
                      <a:pt x="222" y="381"/>
                      <a:pt x="213" y="346"/>
                      <a:pt x="204" y="337"/>
                    </a:cubicBezTo>
                    <a:cubicBezTo>
                      <a:pt x="196" y="328"/>
                      <a:pt x="213" y="310"/>
                      <a:pt x="231" y="310"/>
                    </a:cubicBezTo>
                    <a:cubicBezTo>
                      <a:pt x="355" y="302"/>
                      <a:pt x="373" y="372"/>
                      <a:pt x="417" y="355"/>
                    </a:cubicBezTo>
                    <a:cubicBezTo>
                      <a:pt x="444" y="346"/>
                      <a:pt x="444" y="248"/>
                      <a:pt x="400" y="159"/>
                    </a:cubicBezTo>
                    <a:close/>
                    <a:moveTo>
                      <a:pt x="390" y="310"/>
                    </a:moveTo>
                    <a:lnTo>
                      <a:pt x="390" y="310"/>
                    </a:lnTo>
                    <a:cubicBezTo>
                      <a:pt x="381" y="310"/>
                      <a:pt x="328" y="275"/>
                      <a:pt x="302" y="204"/>
                    </a:cubicBezTo>
                    <a:cubicBezTo>
                      <a:pt x="275" y="133"/>
                      <a:pt x="275" y="62"/>
                      <a:pt x="284" y="62"/>
                    </a:cubicBezTo>
                    <a:cubicBezTo>
                      <a:pt x="293" y="62"/>
                      <a:pt x="337" y="106"/>
                      <a:pt x="364" y="177"/>
                    </a:cubicBezTo>
                    <a:cubicBezTo>
                      <a:pt x="400" y="248"/>
                      <a:pt x="390" y="302"/>
                      <a:pt x="390" y="310"/>
                    </a:cubicBezTo>
                    <a:close/>
                  </a:path>
                </a:pathLst>
              </a:custGeom>
              <a:solidFill>
                <a:schemeClr val="bg1"/>
              </a:solidFill>
              <a:ln>
                <a:noFill/>
              </a:ln>
            </p:spPr>
            <p:txBody>
              <a:bodyPr wrap="none" lIns="121899" tIns="60949" rIns="121899" bIns="60949"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grpSp>
        <p:grpSp>
          <p:nvGrpSpPr>
            <p:cNvPr id="13" name="Group 3">
              <a:extLst>
                <a:ext uri="{FF2B5EF4-FFF2-40B4-BE49-F238E27FC236}">
                  <a16:creationId xmlns:a16="http://schemas.microsoft.com/office/drawing/2014/main" id="{D3234A12-EE14-4B3F-B9BE-2A06A669D8B0}"/>
                </a:ext>
              </a:extLst>
            </p:cNvPr>
            <p:cNvGrpSpPr/>
            <p:nvPr/>
          </p:nvGrpSpPr>
          <p:grpSpPr>
            <a:xfrm>
              <a:off x="6089257" y="3367964"/>
              <a:ext cx="993066" cy="991831"/>
              <a:chOff x="6089257" y="3367964"/>
              <a:chExt cx="993066" cy="991831"/>
            </a:xfrm>
          </p:grpSpPr>
          <p:sp>
            <p:nvSpPr>
              <p:cNvPr id="26" name="Oval 9">
                <a:extLst>
                  <a:ext uri="{FF2B5EF4-FFF2-40B4-BE49-F238E27FC236}">
                    <a16:creationId xmlns:a16="http://schemas.microsoft.com/office/drawing/2014/main" id="{0FD02A0E-DE76-408D-B3C1-7051ED49A1F5}"/>
                  </a:ext>
                </a:extLst>
              </p:cNvPr>
              <p:cNvSpPr>
                <a:spLocks noChangeArrowheads="1"/>
              </p:cNvSpPr>
              <p:nvPr/>
            </p:nvSpPr>
            <p:spPr bwMode="auto">
              <a:xfrm>
                <a:off x="6089257" y="3367964"/>
                <a:ext cx="993066" cy="991831"/>
              </a:xfrm>
              <a:prstGeom prst="ellipse">
                <a:avLst/>
              </a:pr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27" name="Freeform 144">
                <a:extLst>
                  <a:ext uri="{FF2B5EF4-FFF2-40B4-BE49-F238E27FC236}">
                    <a16:creationId xmlns:a16="http://schemas.microsoft.com/office/drawing/2014/main" id="{A7CBBB83-8EBD-4FC7-8260-7A37B99526F2}"/>
                  </a:ext>
                </a:extLst>
              </p:cNvPr>
              <p:cNvSpPr>
                <a:spLocks noChangeArrowheads="1"/>
              </p:cNvSpPr>
              <p:nvPr/>
            </p:nvSpPr>
            <p:spPr bwMode="auto">
              <a:xfrm>
                <a:off x="6445361" y="3738914"/>
                <a:ext cx="280859" cy="249931"/>
              </a:xfrm>
              <a:custGeom>
                <a:avLst/>
                <a:gdLst>
                  <a:gd name="T0" fmla="*/ 511776 w 444"/>
                  <a:gd name="T1" fmla="*/ 0 h 399"/>
                  <a:gd name="T2" fmla="*/ 511776 w 444"/>
                  <a:gd name="T3" fmla="*/ 0 h 399"/>
                  <a:gd name="T4" fmla="*/ 10812 w 444"/>
                  <a:gd name="T5" fmla="*/ 0 h 399"/>
                  <a:gd name="T6" fmla="*/ 0 w 444"/>
                  <a:gd name="T7" fmla="*/ 20224 h 399"/>
                  <a:gd name="T8" fmla="*/ 0 w 444"/>
                  <a:gd name="T9" fmla="*/ 83274 h 399"/>
                  <a:gd name="T10" fmla="*/ 532199 w 444"/>
                  <a:gd name="T11" fmla="*/ 83274 h 399"/>
                  <a:gd name="T12" fmla="*/ 532199 w 444"/>
                  <a:gd name="T13" fmla="*/ 20224 h 399"/>
                  <a:gd name="T14" fmla="*/ 511776 w 444"/>
                  <a:gd name="T15" fmla="*/ 0 h 399"/>
                  <a:gd name="T16" fmla="*/ 32436 w 444"/>
                  <a:gd name="T17" fmla="*/ 431835 h 399"/>
                  <a:gd name="T18" fmla="*/ 32436 w 444"/>
                  <a:gd name="T19" fmla="*/ 431835 h 399"/>
                  <a:gd name="T20" fmla="*/ 64873 w 444"/>
                  <a:gd name="T21" fmla="*/ 473472 h 399"/>
                  <a:gd name="T22" fmla="*/ 457715 w 444"/>
                  <a:gd name="T23" fmla="*/ 473472 h 399"/>
                  <a:gd name="T24" fmla="*/ 500964 w 444"/>
                  <a:gd name="T25" fmla="*/ 431835 h 399"/>
                  <a:gd name="T26" fmla="*/ 500964 w 444"/>
                  <a:gd name="T27" fmla="*/ 115394 h 399"/>
                  <a:gd name="T28" fmla="*/ 32436 w 444"/>
                  <a:gd name="T29" fmla="*/ 115394 h 399"/>
                  <a:gd name="T30" fmla="*/ 32436 w 444"/>
                  <a:gd name="T31" fmla="*/ 431835 h 399"/>
                  <a:gd name="T32" fmla="*/ 181404 w 444"/>
                  <a:gd name="T33" fmla="*/ 178444 h 399"/>
                  <a:gd name="T34" fmla="*/ 181404 w 444"/>
                  <a:gd name="T35" fmla="*/ 178444 h 399"/>
                  <a:gd name="T36" fmla="*/ 351996 w 444"/>
                  <a:gd name="T37" fmla="*/ 178444 h 399"/>
                  <a:gd name="T38" fmla="*/ 351996 w 444"/>
                  <a:gd name="T39" fmla="*/ 230788 h 399"/>
                  <a:gd name="T40" fmla="*/ 181404 w 444"/>
                  <a:gd name="T41" fmla="*/ 230788 h 399"/>
                  <a:gd name="T42" fmla="*/ 181404 w 444"/>
                  <a:gd name="T43" fmla="*/ 178444 h 399"/>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444" h="399">
                    <a:moveTo>
                      <a:pt x="426" y="0"/>
                    </a:moveTo>
                    <a:lnTo>
                      <a:pt x="426" y="0"/>
                    </a:lnTo>
                    <a:cubicBezTo>
                      <a:pt x="9" y="0"/>
                      <a:pt x="9" y="0"/>
                      <a:pt x="9" y="0"/>
                    </a:cubicBezTo>
                    <a:cubicBezTo>
                      <a:pt x="0" y="0"/>
                      <a:pt x="0" y="8"/>
                      <a:pt x="0" y="17"/>
                    </a:cubicBezTo>
                    <a:cubicBezTo>
                      <a:pt x="0" y="70"/>
                      <a:pt x="0" y="70"/>
                      <a:pt x="0" y="70"/>
                    </a:cubicBezTo>
                    <a:cubicBezTo>
                      <a:pt x="443" y="70"/>
                      <a:pt x="443" y="70"/>
                      <a:pt x="443" y="70"/>
                    </a:cubicBezTo>
                    <a:cubicBezTo>
                      <a:pt x="443" y="17"/>
                      <a:pt x="443" y="17"/>
                      <a:pt x="443" y="17"/>
                    </a:cubicBezTo>
                    <a:cubicBezTo>
                      <a:pt x="443" y="8"/>
                      <a:pt x="434" y="0"/>
                      <a:pt x="426" y="0"/>
                    </a:cubicBezTo>
                    <a:close/>
                    <a:moveTo>
                      <a:pt x="27" y="363"/>
                    </a:moveTo>
                    <a:lnTo>
                      <a:pt x="27" y="363"/>
                    </a:lnTo>
                    <a:cubicBezTo>
                      <a:pt x="27" y="380"/>
                      <a:pt x="36" y="398"/>
                      <a:pt x="54" y="398"/>
                    </a:cubicBezTo>
                    <a:cubicBezTo>
                      <a:pt x="381" y="398"/>
                      <a:pt x="381" y="398"/>
                      <a:pt x="381" y="398"/>
                    </a:cubicBezTo>
                    <a:cubicBezTo>
                      <a:pt x="408" y="398"/>
                      <a:pt x="417" y="380"/>
                      <a:pt x="417" y="363"/>
                    </a:cubicBezTo>
                    <a:cubicBezTo>
                      <a:pt x="417" y="97"/>
                      <a:pt x="417" y="97"/>
                      <a:pt x="417" y="97"/>
                    </a:cubicBezTo>
                    <a:cubicBezTo>
                      <a:pt x="27" y="97"/>
                      <a:pt x="27" y="97"/>
                      <a:pt x="27" y="97"/>
                    </a:cubicBezTo>
                    <a:lnTo>
                      <a:pt x="27" y="363"/>
                    </a:lnTo>
                    <a:close/>
                    <a:moveTo>
                      <a:pt x="151" y="150"/>
                    </a:moveTo>
                    <a:lnTo>
                      <a:pt x="151" y="150"/>
                    </a:lnTo>
                    <a:cubicBezTo>
                      <a:pt x="293" y="150"/>
                      <a:pt x="293" y="150"/>
                      <a:pt x="293" y="150"/>
                    </a:cubicBezTo>
                    <a:cubicBezTo>
                      <a:pt x="293" y="194"/>
                      <a:pt x="293" y="194"/>
                      <a:pt x="293" y="194"/>
                    </a:cubicBezTo>
                    <a:cubicBezTo>
                      <a:pt x="151" y="194"/>
                      <a:pt x="151" y="194"/>
                      <a:pt x="151" y="194"/>
                    </a:cubicBezTo>
                    <a:lnTo>
                      <a:pt x="151" y="150"/>
                    </a:lnTo>
                    <a:close/>
                  </a:path>
                </a:pathLst>
              </a:custGeom>
              <a:solidFill>
                <a:schemeClr val="bg1"/>
              </a:solidFill>
              <a:ln>
                <a:noFill/>
              </a:ln>
            </p:spPr>
            <p:txBody>
              <a:bodyPr wrap="none" lIns="121899" tIns="60949" rIns="121899" bIns="60949"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grpSp>
          <p:nvGrpSpPr>
            <p:cNvPr id="14" name="Group 1">
              <a:extLst>
                <a:ext uri="{FF2B5EF4-FFF2-40B4-BE49-F238E27FC236}">
                  <a16:creationId xmlns:a16="http://schemas.microsoft.com/office/drawing/2014/main" id="{C6F0969E-AA40-4F23-9B11-9E8B45982FE2}"/>
                </a:ext>
              </a:extLst>
            </p:cNvPr>
            <p:cNvGrpSpPr/>
            <p:nvPr/>
          </p:nvGrpSpPr>
          <p:grpSpPr>
            <a:xfrm>
              <a:off x="3882283" y="2855822"/>
              <a:ext cx="1157342" cy="1154872"/>
              <a:chOff x="3882283" y="2855822"/>
              <a:chExt cx="1157342" cy="1154872"/>
            </a:xfrm>
          </p:grpSpPr>
          <p:sp>
            <p:nvSpPr>
              <p:cNvPr id="24" name="Oval 5">
                <a:extLst>
                  <a:ext uri="{FF2B5EF4-FFF2-40B4-BE49-F238E27FC236}">
                    <a16:creationId xmlns:a16="http://schemas.microsoft.com/office/drawing/2014/main" id="{583EFF2B-F974-4DCD-B4AA-AB46E1708F56}"/>
                  </a:ext>
                </a:extLst>
              </p:cNvPr>
              <p:cNvSpPr>
                <a:spLocks noChangeArrowheads="1"/>
              </p:cNvSpPr>
              <p:nvPr/>
            </p:nvSpPr>
            <p:spPr bwMode="auto">
              <a:xfrm>
                <a:off x="3882283" y="2855822"/>
                <a:ext cx="1157342" cy="1154872"/>
              </a:xfrm>
              <a:prstGeom prst="ellipse">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25" name="Freeform 145">
                <a:extLst>
                  <a:ext uri="{FF2B5EF4-FFF2-40B4-BE49-F238E27FC236}">
                    <a16:creationId xmlns:a16="http://schemas.microsoft.com/office/drawing/2014/main" id="{2A7121B2-0DC1-4F1E-A7F4-8928E80EC1E8}"/>
                  </a:ext>
                </a:extLst>
              </p:cNvPr>
              <p:cNvSpPr>
                <a:spLocks noChangeArrowheads="1"/>
              </p:cNvSpPr>
              <p:nvPr/>
            </p:nvSpPr>
            <p:spPr bwMode="auto">
              <a:xfrm>
                <a:off x="4320525" y="3292829"/>
                <a:ext cx="280859" cy="280859"/>
              </a:xfrm>
              <a:custGeom>
                <a:avLst/>
                <a:gdLst>
                  <a:gd name="T0" fmla="*/ 84095 w 444"/>
                  <a:gd name="T1" fmla="*/ 479461 h 445"/>
                  <a:gd name="T2" fmla="*/ 84095 w 444"/>
                  <a:gd name="T3" fmla="*/ 479461 h 445"/>
                  <a:gd name="T4" fmla="*/ 148968 w 444"/>
                  <a:gd name="T5" fmla="*/ 532201 h 445"/>
                  <a:gd name="T6" fmla="*/ 201827 w 444"/>
                  <a:gd name="T7" fmla="*/ 479461 h 445"/>
                  <a:gd name="T8" fmla="*/ 148968 w 444"/>
                  <a:gd name="T9" fmla="*/ 414733 h 445"/>
                  <a:gd name="T10" fmla="*/ 84095 w 444"/>
                  <a:gd name="T11" fmla="*/ 479461 h 445"/>
                  <a:gd name="T12" fmla="*/ 383231 w 444"/>
                  <a:gd name="T13" fmla="*/ 479461 h 445"/>
                  <a:gd name="T14" fmla="*/ 383231 w 444"/>
                  <a:gd name="T15" fmla="*/ 479461 h 445"/>
                  <a:gd name="T16" fmla="*/ 446903 w 444"/>
                  <a:gd name="T17" fmla="*/ 532201 h 445"/>
                  <a:gd name="T18" fmla="*/ 500964 w 444"/>
                  <a:gd name="T19" fmla="*/ 479461 h 445"/>
                  <a:gd name="T20" fmla="*/ 446903 w 444"/>
                  <a:gd name="T21" fmla="*/ 414733 h 445"/>
                  <a:gd name="T22" fmla="*/ 383231 w 444"/>
                  <a:gd name="T23" fmla="*/ 479461 h 445"/>
                  <a:gd name="T24" fmla="*/ 191015 w 444"/>
                  <a:gd name="T25" fmla="*/ 340417 h 445"/>
                  <a:gd name="T26" fmla="*/ 191015 w 444"/>
                  <a:gd name="T27" fmla="*/ 340417 h 445"/>
                  <a:gd name="T28" fmla="*/ 521386 w 444"/>
                  <a:gd name="T29" fmla="*/ 244525 h 445"/>
                  <a:gd name="T30" fmla="*/ 532199 w 444"/>
                  <a:gd name="T31" fmla="*/ 224148 h 445"/>
                  <a:gd name="T32" fmla="*/ 532199 w 444"/>
                  <a:gd name="T33" fmla="*/ 64727 h 445"/>
                  <a:gd name="T34" fmla="*/ 117732 w 444"/>
                  <a:gd name="T35" fmla="*/ 64727 h 445"/>
                  <a:gd name="T36" fmla="*/ 117732 w 444"/>
                  <a:gd name="T37" fmla="*/ 11987 h 445"/>
                  <a:gd name="T38" fmla="*/ 106920 w 444"/>
                  <a:gd name="T39" fmla="*/ 0 h 445"/>
                  <a:gd name="T40" fmla="*/ 10812 w 444"/>
                  <a:gd name="T41" fmla="*/ 0 h 445"/>
                  <a:gd name="T42" fmla="*/ 0 w 444"/>
                  <a:gd name="T43" fmla="*/ 11987 h 445"/>
                  <a:gd name="T44" fmla="*/ 0 w 444"/>
                  <a:gd name="T45" fmla="*/ 64727 h 445"/>
                  <a:gd name="T46" fmla="*/ 54061 w 444"/>
                  <a:gd name="T47" fmla="*/ 64727 h 445"/>
                  <a:gd name="T48" fmla="*/ 117732 w 444"/>
                  <a:gd name="T49" fmla="*/ 329629 h 445"/>
                  <a:gd name="T50" fmla="*/ 117732 w 444"/>
                  <a:gd name="T51" fmla="*/ 361993 h 445"/>
                  <a:gd name="T52" fmla="*/ 117732 w 444"/>
                  <a:gd name="T53" fmla="*/ 405144 h 445"/>
                  <a:gd name="T54" fmla="*/ 127343 w 444"/>
                  <a:gd name="T55" fmla="*/ 414733 h 445"/>
                  <a:gd name="T56" fmla="*/ 148968 w 444"/>
                  <a:gd name="T57" fmla="*/ 414733 h 445"/>
                  <a:gd name="T58" fmla="*/ 446903 w 444"/>
                  <a:gd name="T59" fmla="*/ 414733 h 445"/>
                  <a:gd name="T60" fmla="*/ 521386 w 444"/>
                  <a:gd name="T61" fmla="*/ 414733 h 445"/>
                  <a:gd name="T62" fmla="*/ 532199 w 444"/>
                  <a:gd name="T63" fmla="*/ 405144 h 445"/>
                  <a:gd name="T64" fmla="*/ 532199 w 444"/>
                  <a:gd name="T65" fmla="*/ 361993 h 445"/>
                  <a:gd name="T66" fmla="*/ 201827 w 444"/>
                  <a:gd name="T67" fmla="*/ 361993 h 445"/>
                  <a:gd name="T68" fmla="*/ 191015 w 444"/>
                  <a:gd name="T69" fmla="*/ 340417 h 445"/>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444" h="445">
                    <a:moveTo>
                      <a:pt x="70" y="400"/>
                    </a:moveTo>
                    <a:lnTo>
                      <a:pt x="70" y="400"/>
                    </a:lnTo>
                    <a:cubicBezTo>
                      <a:pt x="70" y="426"/>
                      <a:pt x="98" y="444"/>
                      <a:pt x="124" y="444"/>
                    </a:cubicBezTo>
                    <a:cubicBezTo>
                      <a:pt x="151" y="444"/>
                      <a:pt x="168" y="426"/>
                      <a:pt x="168" y="400"/>
                    </a:cubicBezTo>
                    <a:cubicBezTo>
                      <a:pt x="168" y="373"/>
                      <a:pt x="151" y="346"/>
                      <a:pt x="124" y="346"/>
                    </a:cubicBezTo>
                    <a:cubicBezTo>
                      <a:pt x="98" y="346"/>
                      <a:pt x="70" y="373"/>
                      <a:pt x="70" y="400"/>
                    </a:cubicBezTo>
                    <a:close/>
                    <a:moveTo>
                      <a:pt x="319" y="400"/>
                    </a:moveTo>
                    <a:lnTo>
                      <a:pt x="319" y="400"/>
                    </a:lnTo>
                    <a:cubicBezTo>
                      <a:pt x="319" y="426"/>
                      <a:pt x="345" y="444"/>
                      <a:pt x="372" y="444"/>
                    </a:cubicBezTo>
                    <a:cubicBezTo>
                      <a:pt x="399" y="444"/>
                      <a:pt x="417" y="426"/>
                      <a:pt x="417" y="400"/>
                    </a:cubicBezTo>
                    <a:cubicBezTo>
                      <a:pt x="417" y="373"/>
                      <a:pt x="399" y="346"/>
                      <a:pt x="372" y="346"/>
                    </a:cubicBezTo>
                    <a:cubicBezTo>
                      <a:pt x="345" y="346"/>
                      <a:pt x="319" y="373"/>
                      <a:pt x="319" y="400"/>
                    </a:cubicBezTo>
                    <a:close/>
                    <a:moveTo>
                      <a:pt x="159" y="284"/>
                    </a:moveTo>
                    <a:lnTo>
                      <a:pt x="159" y="284"/>
                    </a:lnTo>
                    <a:cubicBezTo>
                      <a:pt x="434" y="204"/>
                      <a:pt x="434" y="204"/>
                      <a:pt x="434" y="204"/>
                    </a:cubicBezTo>
                    <a:cubicBezTo>
                      <a:pt x="443" y="204"/>
                      <a:pt x="443" y="195"/>
                      <a:pt x="443" y="187"/>
                    </a:cubicBezTo>
                    <a:cubicBezTo>
                      <a:pt x="443" y="54"/>
                      <a:pt x="443" y="54"/>
                      <a:pt x="443" y="54"/>
                    </a:cubicBezTo>
                    <a:cubicBezTo>
                      <a:pt x="98" y="54"/>
                      <a:pt x="98" y="54"/>
                      <a:pt x="98" y="54"/>
                    </a:cubicBezTo>
                    <a:cubicBezTo>
                      <a:pt x="98" y="10"/>
                      <a:pt x="98" y="10"/>
                      <a:pt x="98" y="10"/>
                    </a:cubicBezTo>
                    <a:lnTo>
                      <a:pt x="89" y="0"/>
                    </a:lnTo>
                    <a:cubicBezTo>
                      <a:pt x="9" y="0"/>
                      <a:pt x="9" y="0"/>
                      <a:pt x="9" y="0"/>
                    </a:cubicBezTo>
                    <a:cubicBezTo>
                      <a:pt x="0" y="0"/>
                      <a:pt x="0" y="10"/>
                      <a:pt x="0" y="10"/>
                    </a:cubicBezTo>
                    <a:cubicBezTo>
                      <a:pt x="0" y="54"/>
                      <a:pt x="0" y="54"/>
                      <a:pt x="0" y="54"/>
                    </a:cubicBezTo>
                    <a:cubicBezTo>
                      <a:pt x="45" y="54"/>
                      <a:pt x="45" y="54"/>
                      <a:pt x="45" y="54"/>
                    </a:cubicBezTo>
                    <a:cubicBezTo>
                      <a:pt x="98" y="275"/>
                      <a:pt x="98" y="275"/>
                      <a:pt x="98" y="275"/>
                    </a:cubicBezTo>
                    <a:cubicBezTo>
                      <a:pt x="98" y="302"/>
                      <a:pt x="98" y="302"/>
                      <a:pt x="98" y="302"/>
                    </a:cubicBezTo>
                    <a:cubicBezTo>
                      <a:pt x="98" y="338"/>
                      <a:pt x="98" y="338"/>
                      <a:pt x="98" y="338"/>
                    </a:cubicBezTo>
                    <a:cubicBezTo>
                      <a:pt x="98" y="346"/>
                      <a:pt x="106" y="346"/>
                      <a:pt x="106" y="346"/>
                    </a:cubicBezTo>
                    <a:cubicBezTo>
                      <a:pt x="124" y="346"/>
                      <a:pt x="124" y="346"/>
                      <a:pt x="124" y="346"/>
                    </a:cubicBezTo>
                    <a:cubicBezTo>
                      <a:pt x="372" y="346"/>
                      <a:pt x="372" y="346"/>
                      <a:pt x="372" y="346"/>
                    </a:cubicBezTo>
                    <a:cubicBezTo>
                      <a:pt x="434" y="346"/>
                      <a:pt x="434" y="346"/>
                      <a:pt x="434" y="346"/>
                    </a:cubicBezTo>
                    <a:cubicBezTo>
                      <a:pt x="443" y="346"/>
                      <a:pt x="443" y="346"/>
                      <a:pt x="443" y="338"/>
                    </a:cubicBezTo>
                    <a:cubicBezTo>
                      <a:pt x="443" y="302"/>
                      <a:pt x="443" y="302"/>
                      <a:pt x="443" y="302"/>
                    </a:cubicBezTo>
                    <a:cubicBezTo>
                      <a:pt x="168" y="302"/>
                      <a:pt x="168" y="302"/>
                      <a:pt x="168" y="302"/>
                    </a:cubicBezTo>
                    <a:cubicBezTo>
                      <a:pt x="133" y="302"/>
                      <a:pt x="133" y="284"/>
                      <a:pt x="159" y="284"/>
                    </a:cubicBezTo>
                    <a:close/>
                  </a:path>
                </a:pathLst>
              </a:custGeom>
              <a:solidFill>
                <a:schemeClr val="bg1"/>
              </a:solidFill>
              <a:ln>
                <a:noFill/>
              </a:ln>
            </p:spPr>
            <p:txBody>
              <a:bodyPr wrap="none" lIns="121899" tIns="60949" rIns="121899" bIns="60949"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grpSp>
          <p:nvGrpSpPr>
            <p:cNvPr id="15" name="Group 2">
              <a:extLst>
                <a:ext uri="{FF2B5EF4-FFF2-40B4-BE49-F238E27FC236}">
                  <a16:creationId xmlns:a16="http://schemas.microsoft.com/office/drawing/2014/main" id="{D8D83DE6-67F6-400D-8F39-8A36A27A538E}"/>
                </a:ext>
              </a:extLst>
            </p:cNvPr>
            <p:cNvGrpSpPr/>
            <p:nvPr/>
          </p:nvGrpSpPr>
          <p:grpSpPr>
            <a:xfrm>
              <a:off x="5176587" y="3148162"/>
              <a:ext cx="874491" cy="873256"/>
              <a:chOff x="5176587" y="3148162"/>
              <a:chExt cx="874491" cy="873256"/>
            </a:xfrm>
          </p:grpSpPr>
          <p:sp>
            <p:nvSpPr>
              <p:cNvPr id="22" name="Oval 7">
                <a:extLst>
                  <a:ext uri="{FF2B5EF4-FFF2-40B4-BE49-F238E27FC236}">
                    <a16:creationId xmlns:a16="http://schemas.microsoft.com/office/drawing/2014/main" id="{C0CEB8C9-D4D4-4FEF-B0B8-CA070D6B90FB}"/>
                  </a:ext>
                </a:extLst>
              </p:cNvPr>
              <p:cNvSpPr>
                <a:spLocks noChangeArrowheads="1"/>
              </p:cNvSpPr>
              <p:nvPr/>
            </p:nvSpPr>
            <p:spPr bwMode="auto">
              <a:xfrm>
                <a:off x="5176587" y="3148162"/>
                <a:ext cx="874491" cy="873256"/>
              </a:xfrm>
              <a:prstGeom prst="ellipse">
                <a:avLst/>
              </a:pr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23" name="Freeform 384">
                <a:extLst>
                  <a:ext uri="{FF2B5EF4-FFF2-40B4-BE49-F238E27FC236}">
                    <a16:creationId xmlns:a16="http://schemas.microsoft.com/office/drawing/2014/main" id="{F25CB594-9312-422F-9F3E-54324C05746C}"/>
                  </a:ext>
                </a:extLst>
              </p:cNvPr>
              <p:cNvSpPr>
                <a:spLocks noEditPoints="1"/>
              </p:cNvSpPr>
              <p:nvPr/>
            </p:nvSpPr>
            <p:spPr bwMode="auto">
              <a:xfrm>
                <a:off x="5467412" y="3467675"/>
                <a:ext cx="292840" cy="234231"/>
              </a:xfrm>
              <a:custGeom>
                <a:avLst/>
                <a:gdLst>
                  <a:gd name="T0" fmla="*/ 205 w 210"/>
                  <a:gd name="T1" fmla="*/ 5 h 168"/>
                  <a:gd name="T2" fmla="*/ 192 w 210"/>
                  <a:gd name="T3" fmla="*/ 0 h 168"/>
                  <a:gd name="T4" fmla="*/ 18 w 210"/>
                  <a:gd name="T5" fmla="*/ 0 h 168"/>
                  <a:gd name="T6" fmla="*/ 6 w 210"/>
                  <a:gd name="T7" fmla="*/ 5 h 168"/>
                  <a:gd name="T8" fmla="*/ 0 w 210"/>
                  <a:gd name="T9" fmla="*/ 18 h 168"/>
                  <a:gd name="T10" fmla="*/ 0 w 210"/>
                  <a:gd name="T11" fmla="*/ 150 h 168"/>
                  <a:gd name="T12" fmla="*/ 6 w 210"/>
                  <a:gd name="T13" fmla="*/ 163 h 168"/>
                  <a:gd name="T14" fmla="*/ 18 w 210"/>
                  <a:gd name="T15" fmla="*/ 168 h 168"/>
                  <a:gd name="T16" fmla="*/ 192 w 210"/>
                  <a:gd name="T17" fmla="*/ 168 h 168"/>
                  <a:gd name="T18" fmla="*/ 205 w 210"/>
                  <a:gd name="T19" fmla="*/ 163 h 168"/>
                  <a:gd name="T20" fmla="*/ 210 w 210"/>
                  <a:gd name="T21" fmla="*/ 150 h 168"/>
                  <a:gd name="T22" fmla="*/ 210 w 210"/>
                  <a:gd name="T23" fmla="*/ 18 h 168"/>
                  <a:gd name="T24" fmla="*/ 205 w 210"/>
                  <a:gd name="T25" fmla="*/ 5 h 168"/>
                  <a:gd name="T26" fmla="*/ 196 w 210"/>
                  <a:gd name="T27" fmla="*/ 150 h 168"/>
                  <a:gd name="T28" fmla="*/ 195 w 210"/>
                  <a:gd name="T29" fmla="*/ 153 h 168"/>
                  <a:gd name="T30" fmla="*/ 192 w 210"/>
                  <a:gd name="T31" fmla="*/ 154 h 168"/>
                  <a:gd name="T32" fmla="*/ 18 w 210"/>
                  <a:gd name="T33" fmla="*/ 154 h 168"/>
                  <a:gd name="T34" fmla="*/ 15 w 210"/>
                  <a:gd name="T35" fmla="*/ 153 h 168"/>
                  <a:gd name="T36" fmla="*/ 14 w 210"/>
                  <a:gd name="T37" fmla="*/ 150 h 168"/>
                  <a:gd name="T38" fmla="*/ 14 w 210"/>
                  <a:gd name="T39" fmla="*/ 84 h 168"/>
                  <a:gd name="T40" fmla="*/ 196 w 210"/>
                  <a:gd name="T41" fmla="*/ 84 h 168"/>
                  <a:gd name="T42" fmla="*/ 196 w 210"/>
                  <a:gd name="T43" fmla="*/ 150 h 168"/>
                  <a:gd name="T44" fmla="*/ 196 w 210"/>
                  <a:gd name="T45" fmla="*/ 42 h 168"/>
                  <a:gd name="T46" fmla="*/ 14 w 210"/>
                  <a:gd name="T47" fmla="*/ 42 h 168"/>
                  <a:gd name="T48" fmla="*/ 14 w 210"/>
                  <a:gd name="T49" fmla="*/ 18 h 168"/>
                  <a:gd name="T50" fmla="*/ 15 w 210"/>
                  <a:gd name="T51" fmla="*/ 15 h 168"/>
                  <a:gd name="T52" fmla="*/ 18 w 210"/>
                  <a:gd name="T53" fmla="*/ 14 h 168"/>
                  <a:gd name="T54" fmla="*/ 192 w 210"/>
                  <a:gd name="T55" fmla="*/ 14 h 168"/>
                  <a:gd name="T56" fmla="*/ 195 w 210"/>
                  <a:gd name="T57" fmla="*/ 15 h 168"/>
                  <a:gd name="T58" fmla="*/ 196 w 210"/>
                  <a:gd name="T59" fmla="*/ 18 h 168"/>
                  <a:gd name="T60" fmla="*/ 196 w 210"/>
                  <a:gd name="T61" fmla="*/ 42 h 168"/>
                  <a:gd name="T62" fmla="*/ 196 w 210"/>
                  <a:gd name="T63" fmla="*/ 42 h 168"/>
                  <a:gd name="T64" fmla="*/ 196 w 210"/>
                  <a:gd name="T65" fmla="*/ 42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10" h="168">
                    <a:moveTo>
                      <a:pt x="205" y="5"/>
                    </a:moveTo>
                    <a:cubicBezTo>
                      <a:pt x="201" y="2"/>
                      <a:pt x="197" y="0"/>
                      <a:pt x="192" y="0"/>
                    </a:cubicBezTo>
                    <a:cubicBezTo>
                      <a:pt x="18" y="0"/>
                      <a:pt x="18" y="0"/>
                      <a:pt x="18" y="0"/>
                    </a:cubicBezTo>
                    <a:cubicBezTo>
                      <a:pt x="13" y="0"/>
                      <a:pt x="9" y="2"/>
                      <a:pt x="6" y="5"/>
                    </a:cubicBezTo>
                    <a:cubicBezTo>
                      <a:pt x="2" y="9"/>
                      <a:pt x="0" y="13"/>
                      <a:pt x="0" y="18"/>
                    </a:cubicBezTo>
                    <a:cubicBezTo>
                      <a:pt x="0" y="150"/>
                      <a:pt x="0" y="150"/>
                      <a:pt x="0" y="150"/>
                    </a:cubicBezTo>
                    <a:cubicBezTo>
                      <a:pt x="0" y="155"/>
                      <a:pt x="2" y="159"/>
                      <a:pt x="6" y="163"/>
                    </a:cubicBezTo>
                    <a:cubicBezTo>
                      <a:pt x="9" y="166"/>
                      <a:pt x="13" y="168"/>
                      <a:pt x="18" y="168"/>
                    </a:cubicBezTo>
                    <a:cubicBezTo>
                      <a:pt x="192" y="168"/>
                      <a:pt x="192" y="168"/>
                      <a:pt x="192" y="168"/>
                    </a:cubicBezTo>
                    <a:cubicBezTo>
                      <a:pt x="197" y="168"/>
                      <a:pt x="201" y="166"/>
                      <a:pt x="205" y="163"/>
                    </a:cubicBezTo>
                    <a:cubicBezTo>
                      <a:pt x="208" y="159"/>
                      <a:pt x="210" y="155"/>
                      <a:pt x="210" y="150"/>
                    </a:cubicBezTo>
                    <a:cubicBezTo>
                      <a:pt x="210" y="18"/>
                      <a:pt x="210" y="18"/>
                      <a:pt x="210" y="18"/>
                    </a:cubicBezTo>
                    <a:cubicBezTo>
                      <a:pt x="210" y="13"/>
                      <a:pt x="208" y="9"/>
                      <a:pt x="205" y="5"/>
                    </a:cubicBezTo>
                    <a:close/>
                    <a:moveTo>
                      <a:pt x="196" y="150"/>
                    </a:moveTo>
                    <a:cubicBezTo>
                      <a:pt x="196" y="151"/>
                      <a:pt x="196" y="152"/>
                      <a:pt x="195" y="153"/>
                    </a:cubicBezTo>
                    <a:cubicBezTo>
                      <a:pt x="194" y="154"/>
                      <a:pt x="193" y="154"/>
                      <a:pt x="192" y="154"/>
                    </a:cubicBezTo>
                    <a:cubicBezTo>
                      <a:pt x="18" y="154"/>
                      <a:pt x="18" y="154"/>
                      <a:pt x="18" y="154"/>
                    </a:cubicBezTo>
                    <a:cubicBezTo>
                      <a:pt x="17" y="154"/>
                      <a:pt x="16" y="154"/>
                      <a:pt x="15" y="153"/>
                    </a:cubicBezTo>
                    <a:cubicBezTo>
                      <a:pt x="15" y="152"/>
                      <a:pt x="14" y="151"/>
                      <a:pt x="14" y="150"/>
                    </a:cubicBezTo>
                    <a:cubicBezTo>
                      <a:pt x="14" y="84"/>
                      <a:pt x="14" y="84"/>
                      <a:pt x="14" y="84"/>
                    </a:cubicBezTo>
                    <a:cubicBezTo>
                      <a:pt x="196" y="84"/>
                      <a:pt x="196" y="84"/>
                      <a:pt x="196" y="84"/>
                    </a:cubicBezTo>
                    <a:lnTo>
                      <a:pt x="196" y="150"/>
                    </a:lnTo>
                    <a:close/>
                    <a:moveTo>
                      <a:pt x="196" y="42"/>
                    </a:moveTo>
                    <a:cubicBezTo>
                      <a:pt x="14" y="42"/>
                      <a:pt x="14" y="42"/>
                      <a:pt x="14" y="42"/>
                    </a:cubicBezTo>
                    <a:cubicBezTo>
                      <a:pt x="14" y="18"/>
                      <a:pt x="14" y="18"/>
                      <a:pt x="14" y="18"/>
                    </a:cubicBezTo>
                    <a:cubicBezTo>
                      <a:pt x="14" y="17"/>
                      <a:pt x="15" y="16"/>
                      <a:pt x="15" y="15"/>
                    </a:cubicBezTo>
                    <a:cubicBezTo>
                      <a:pt x="16" y="15"/>
                      <a:pt x="17" y="14"/>
                      <a:pt x="18" y="14"/>
                    </a:cubicBezTo>
                    <a:cubicBezTo>
                      <a:pt x="192" y="14"/>
                      <a:pt x="192" y="14"/>
                      <a:pt x="192" y="14"/>
                    </a:cubicBezTo>
                    <a:cubicBezTo>
                      <a:pt x="193" y="14"/>
                      <a:pt x="194" y="15"/>
                      <a:pt x="195" y="15"/>
                    </a:cubicBezTo>
                    <a:cubicBezTo>
                      <a:pt x="196" y="16"/>
                      <a:pt x="196" y="17"/>
                      <a:pt x="196" y="18"/>
                    </a:cubicBezTo>
                    <a:lnTo>
                      <a:pt x="196" y="42"/>
                    </a:lnTo>
                    <a:close/>
                    <a:moveTo>
                      <a:pt x="196" y="42"/>
                    </a:moveTo>
                    <a:cubicBezTo>
                      <a:pt x="196" y="42"/>
                      <a:pt x="196" y="42"/>
                      <a:pt x="196" y="42"/>
                    </a:cubicBezTo>
                  </a:path>
                </a:pathLst>
              </a:custGeom>
              <a:solidFill>
                <a:schemeClr val="bg1"/>
              </a:solidFill>
              <a:ln>
                <a:noFill/>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grpSp>
        <p:grpSp>
          <p:nvGrpSpPr>
            <p:cNvPr id="16" name="Group 27">
              <a:extLst>
                <a:ext uri="{FF2B5EF4-FFF2-40B4-BE49-F238E27FC236}">
                  <a16:creationId xmlns:a16="http://schemas.microsoft.com/office/drawing/2014/main" id="{5DADCE2C-B975-4DC1-84CF-911829B67167}"/>
                </a:ext>
              </a:extLst>
            </p:cNvPr>
            <p:cNvGrpSpPr/>
            <p:nvPr/>
          </p:nvGrpSpPr>
          <p:grpSpPr>
            <a:xfrm>
              <a:off x="7353410" y="3411643"/>
              <a:ext cx="1080763" cy="1078292"/>
              <a:chOff x="7353410" y="3411643"/>
              <a:chExt cx="1080763" cy="1078292"/>
            </a:xfrm>
          </p:grpSpPr>
          <p:sp>
            <p:nvSpPr>
              <p:cNvPr id="17" name="Oval 6">
                <a:extLst>
                  <a:ext uri="{FF2B5EF4-FFF2-40B4-BE49-F238E27FC236}">
                    <a16:creationId xmlns:a16="http://schemas.microsoft.com/office/drawing/2014/main" id="{E89D2B1F-4F7A-4D0F-8A80-289BC9DBDEAD}"/>
                  </a:ext>
                </a:extLst>
              </p:cNvPr>
              <p:cNvSpPr>
                <a:spLocks noChangeArrowheads="1"/>
              </p:cNvSpPr>
              <p:nvPr/>
            </p:nvSpPr>
            <p:spPr bwMode="auto">
              <a:xfrm>
                <a:off x="7353410" y="3411643"/>
                <a:ext cx="1080763" cy="1078292"/>
              </a:xfrm>
              <a:prstGeom prst="ellipse">
                <a:avLst/>
              </a:pr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grpSp>
            <p:nvGrpSpPr>
              <p:cNvPr id="18" name="Group 617">
                <a:extLst>
                  <a:ext uri="{FF2B5EF4-FFF2-40B4-BE49-F238E27FC236}">
                    <a16:creationId xmlns:a16="http://schemas.microsoft.com/office/drawing/2014/main" id="{7B229864-1618-47CF-8273-1AD07B2A9CA6}"/>
                  </a:ext>
                </a:extLst>
              </p:cNvPr>
              <p:cNvGrpSpPr>
                <a:grpSpLocks noChangeAspect="1"/>
              </p:cNvGrpSpPr>
              <p:nvPr/>
            </p:nvGrpSpPr>
            <p:grpSpPr bwMode="auto">
              <a:xfrm>
                <a:off x="7704393" y="3806707"/>
                <a:ext cx="378796" cy="288164"/>
                <a:chOff x="1858" y="3941"/>
                <a:chExt cx="326" cy="248"/>
              </a:xfrm>
              <a:solidFill>
                <a:schemeClr val="bg1"/>
              </a:solidFill>
            </p:grpSpPr>
            <p:sp>
              <p:nvSpPr>
                <p:cNvPr id="19" name="Freeform 619">
                  <a:extLst>
                    <a:ext uri="{FF2B5EF4-FFF2-40B4-BE49-F238E27FC236}">
                      <a16:creationId xmlns:a16="http://schemas.microsoft.com/office/drawing/2014/main" id="{B1308B8F-6AC3-454A-A8B5-6AEB96E3778C}"/>
                    </a:ext>
                  </a:extLst>
                </p:cNvPr>
                <p:cNvSpPr>
                  <a:spLocks noEditPoints="1"/>
                </p:cNvSpPr>
                <p:nvPr/>
              </p:nvSpPr>
              <p:spPr bwMode="auto">
                <a:xfrm>
                  <a:off x="1900" y="4125"/>
                  <a:ext cx="64" cy="64"/>
                </a:xfrm>
                <a:custGeom>
                  <a:avLst/>
                  <a:gdLst>
                    <a:gd name="T0" fmla="*/ 327 w 707"/>
                    <a:gd name="T1" fmla="*/ 217 h 643"/>
                    <a:gd name="T2" fmla="*/ 280 w 707"/>
                    <a:gd name="T3" fmla="*/ 238 h 643"/>
                    <a:gd name="T4" fmla="*/ 249 w 707"/>
                    <a:gd name="T5" fmla="*/ 274 h 643"/>
                    <a:gd name="T6" fmla="*/ 236 w 707"/>
                    <a:gd name="T7" fmla="*/ 321 h 643"/>
                    <a:gd name="T8" fmla="*/ 249 w 707"/>
                    <a:gd name="T9" fmla="*/ 368 h 643"/>
                    <a:gd name="T10" fmla="*/ 280 w 707"/>
                    <a:gd name="T11" fmla="*/ 405 h 643"/>
                    <a:gd name="T12" fmla="*/ 327 w 707"/>
                    <a:gd name="T13" fmla="*/ 425 h 643"/>
                    <a:gd name="T14" fmla="*/ 381 w 707"/>
                    <a:gd name="T15" fmla="*/ 425 h 643"/>
                    <a:gd name="T16" fmla="*/ 428 w 707"/>
                    <a:gd name="T17" fmla="*/ 405 h 643"/>
                    <a:gd name="T18" fmla="*/ 460 w 707"/>
                    <a:gd name="T19" fmla="*/ 368 h 643"/>
                    <a:gd name="T20" fmla="*/ 472 w 707"/>
                    <a:gd name="T21" fmla="*/ 321 h 643"/>
                    <a:gd name="T22" fmla="*/ 460 w 707"/>
                    <a:gd name="T23" fmla="*/ 274 h 643"/>
                    <a:gd name="T24" fmla="*/ 428 w 707"/>
                    <a:gd name="T25" fmla="*/ 238 h 643"/>
                    <a:gd name="T26" fmla="*/ 381 w 707"/>
                    <a:gd name="T27" fmla="*/ 217 h 643"/>
                    <a:gd name="T28" fmla="*/ 354 w 707"/>
                    <a:gd name="T29" fmla="*/ 0 h 643"/>
                    <a:gd name="T30" fmla="*/ 448 w 707"/>
                    <a:gd name="T31" fmla="*/ 11 h 643"/>
                    <a:gd name="T32" fmla="*/ 532 w 707"/>
                    <a:gd name="T33" fmla="*/ 44 h 643"/>
                    <a:gd name="T34" fmla="*/ 604 w 707"/>
                    <a:gd name="T35" fmla="*/ 94 h 643"/>
                    <a:gd name="T36" fmla="*/ 659 w 707"/>
                    <a:gd name="T37" fmla="*/ 159 h 643"/>
                    <a:gd name="T38" fmla="*/ 695 w 707"/>
                    <a:gd name="T39" fmla="*/ 236 h 643"/>
                    <a:gd name="T40" fmla="*/ 707 w 707"/>
                    <a:gd name="T41" fmla="*/ 321 h 643"/>
                    <a:gd name="T42" fmla="*/ 695 w 707"/>
                    <a:gd name="T43" fmla="*/ 407 h 643"/>
                    <a:gd name="T44" fmla="*/ 659 w 707"/>
                    <a:gd name="T45" fmla="*/ 484 h 643"/>
                    <a:gd name="T46" fmla="*/ 604 w 707"/>
                    <a:gd name="T47" fmla="*/ 549 h 643"/>
                    <a:gd name="T48" fmla="*/ 532 w 707"/>
                    <a:gd name="T49" fmla="*/ 600 h 643"/>
                    <a:gd name="T50" fmla="*/ 448 w 707"/>
                    <a:gd name="T51" fmla="*/ 632 h 643"/>
                    <a:gd name="T52" fmla="*/ 354 w 707"/>
                    <a:gd name="T53" fmla="*/ 643 h 643"/>
                    <a:gd name="T54" fmla="*/ 260 w 707"/>
                    <a:gd name="T55" fmla="*/ 632 h 643"/>
                    <a:gd name="T56" fmla="*/ 175 w 707"/>
                    <a:gd name="T57" fmla="*/ 600 h 643"/>
                    <a:gd name="T58" fmla="*/ 103 w 707"/>
                    <a:gd name="T59" fmla="*/ 549 h 643"/>
                    <a:gd name="T60" fmla="*/ 48 w 707"/>
                    <a:gd name="T61" fmla="*/ 484 h 643"/>
                    <a:gd name="T62" fmla="*/ 13 w 707"/>
                    <a:gd name="T63" fmla="*/ 407 h 643"/>
                    <a:gd name="T64" fmla="*/ 0 w 707"/>
                    <a:gd name="T65" fmla="*/ 321 h 643"/>
                    <a:gd name="T66" fmla="*/ 13 w 707"/>
                    <a:gd name="T67" fmla="*/ 236 h 643"/>
                    <a:gd name="T68" fmla="*/ 48 w 707"/>
                    <a:gd name="T69" fmla="*/ 159 h 643"/>
                    <a:gd name="T70" fmla="*/ 103 w 707"/>
                    <a:gd name="T71" fmla="*/ 94 h 643"/>
                    <a:gd name="T72" fmla="*/ 175 w 707"/>
                    <a:gd name="T73" fmla="*/ 44 h 643"/>
                    <a:gd name="T74" fmla="*/ 260 w 707"/>
                    <a:gd name="T75" fmla="*/ 11 h 643"/>
                    <a:gd name="T76" fmla="*/ 354 w 707"/>
                    <a:gd name="T77" fmla="*/ 0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07" h="643">
                      <a:moveTo>
                        <a:pt x="354" y="214"/>
                      </a:moveTo>
                      <a:lnTo>
                        <a:pt x="327" y="217"/>
                      </a:lnTo>
                      <a:lnTo>
                        <a:pt x="302" y="225"/>
                      </a:lnTo>
                      <a:lnTo>
                        <a:pt x="280" y="238"/>
                      </a:lnTo>
                      <a:lnTo>
                        <a:pt x="262" y="254"/>
                      </a:lnTo>
                      <a:lnTo>
                        <a:pt x="249" y="274"/>
                      </a:lnTo>
                      <a:lnTo>
                        <a:pt x="240" y="297"/>
                      </a:lnTo>
                      <a:lnTo>
                        <a:pt x="236" y="321"/>
                      </a:lnTo>
                      <a:lnTo>
                        <a:pt x="240" y="346"/>
                      </a:lnTo>
                      <a:lnTo>
                        <a:pt x="249" y="368"/>
                      </a:lnTo>
                      <a:lnTo>
                        <a:pt x="262" y="388"/>
                      </a:lnTo>
                      <a:lnTo>
                        <a:pt x="280" y="405"/>
                      </a:lnTo>
                      <a:lnTo>
                        <a:pt x="302" y="417"/>
                      </a:lnTo>
                      <a:lnTo>
                        <a:pt x="327" y="425"/>
                      </a:lnTo>
                      <a:lnTo>
                        <a:pt x="354" y="428"/>
                      </a:lnTo>
                      <a:lnTo>
                        <a:pt x="381" y="425"/>
                      </a:lnTo>
                      <a:lnTo>
                        <a:pt x="406" y="417"/>
                      </a:lnTo>
                      <a:lnTo>
                        <a:pt x="428" y="405"/>
                      </a:lnTo>
                      <a:lnTo>
                        <a:pt x="445" y="388"/>
                      </a:lnTo>
                      <a:lnTo>
                        <a:pt x="460" y="368"/>
                      </a:lnTo>
                      <a:lnTo>
                        <a:pt x="469" y="346"/>
                      </a:lnTo>
                      <a:lnTo>
                        <a:pt x="472" y="321"/>
                      </a:lnTo>
                      <a:lnTo>
                        <a:pt x="469" y="297"/>
                      </a:lnTo>
                      <a:lnTo>
                        <a:pt x="460" y="274"/>
                      </a:lnTo>
                      <a:lnTo>
                        <a:pt x="445" y="254"/>
                      </a:lnTo>
                      <a:lnTo>
                        <a:pt x="428" y="238"/>
                      </a:lnTo>
                      <a:lnTo>
                        <a:pt x="406" y="225"/>
                      </a:lnTo>
                      <a:lnTo>
                        <a:pt x="381" y="217"/>
                      </a:lnTo>
                      <a:lnTo>
                        <a:pt x="354" y="214"/>
                      </a:lnTo>
                      <a:close/>
                      <a:moveTo>
                        <a:pt x="354" y="0"/>
                      </a:moveTo>
                      <a:lnTo>
                        <a:pt x="401" y="3"/>
                      </a:lnTo>
                      <a:lnTo>
                        <a:pt x="448" y="11"/>
                      </a:lnTo>
                      <a:lnTo>
                        <a:pt x="492" y="25"/>
                      </a:lnTo>
                      <a:lnTo>
                        <a:pt x="532" y="44"/>
                      </a:lnTo>
                      <a:lnTo>
                        <a:pt x="570" y="67"/>
                      </a:lnTo>
                      <a:lnTo>
                        <a:pt x="604" y="94"/>
                      </a:lnTo>
                      <a:lnTo>
                        <a:pt x="634" y="125"/>
                      </a:lnTo>
                      <a:lnTo>
                        <a:pt x="659" y="159"/>
                      </a:lnTo>
                      <a:lnTo>
                        <a:pt x="680" y="196"/>
                      </a:lnTo>
                      <a:lnTo>
                        <a:pt x="695" y="236"/>
                      </a:lnTo>
                      <a:lnTo>
                        <a:pt x="704" y="278"/>
                      </a:lnTo>
                      <a:lnTo>
                        <a:pt x="707" y="321"/>
                      </a:lnTo>
                      <a:lnTo>
                        <a:pt x="704" y="365"/>
                      </a:lnTo>
                      <a:lnTo>
                        <a:pt x="695" y="407"/>
                      </a:lnTo>
                      <a:lnTo>
                        <a:pt x="680" y="446"/>
                      </a:lnTo>
                      <a:lnTo>
                        <a:pt x="659" y="484"/>
                      </a:lnTo>
                      <a:lnTo>
                        <a:pt x="634" y="519"/>
                      </a:lnTo>
                      <a:lnTo>
                        <a:pt x="604" y="549"/>
                      </a:lnTo>
                      <a:lnTo>
                        <a:pt x="570" y="577"/>
                      </a:lnTo>
                      <a:lnTo>
                        <a:pt x="532" y="600"/>
                      </a:lnTo>
                      <a:lnTo>
                        <a:pt x="492" y="618"/>
                      </a:lnTo>
                      <a:lnTo>
                        <a:pt x="448" y="632"/>
                      </a:lnTo>
                      <a:lnTo>
                        <a:pt x="401" y="640"/>
                      </a:lnTo>
                      <a:lnTo>
                        <a:pt x="354" y="643"/>
                      </a:lnTo>
                      <a:lnTo>
                        <a:pt x="306" y="640"/>
                      </a:lnTo>
                      <a:lnTo>
                        <a:pt x="260" y="632"/>
                      </a:lnTo>
                      <a:lnTo>
                        <a:pt x="217" y="618"/>
                      </a:lnTo>
                      <a:lnTo>
                        <a:pt x="175" y="600"/>
                      </a:lnTo>
                      <a:lnTo>
                        <a:pt x="137" y="577"/>
                      </a:lnTo>
                      <a:lnTo>
                        <a:pt x="103" y="549"/>
                      </a:lnTo>
                      <a:lnTo>
                        <a:pt x="74" y="519"/>
                      </a:lnTo>
                      <a:lnTo>
                        <a:pt x="48" y="484"/>
                      </a:lnTo>
                      <a:lnTo>
                        <a:pt x="29" y="446"/>
                      </a:lnTo>
                      <a:lnTo>
                        <a:pt x="13" y="407"/>
                      </a:lnTo>
                      <a:lnTo>
                        <a:pt x="3" y="365"/>
                      </a:lnTo>
                      <a:lnTo>
                        <a:pt x="0" y="321"/>
                      </a:lnTo>
                      <a:lnTo>
                        <a:pt x="3" y="278"/>
                      </a:lnTo>
                      <a:lnTo>
                        <a:pt x="13" y="236"/>
                      </a:lnTo>
                      <a:lnTo>
                        <a:pt x="29" y="196"/>
                      </a:lnTo>
                      <a:lnTo>
                        <a:pt x="48" y="159"/>
                      </a:lnTo>
                      <a:lnTo>
                        <a:pt x="74" y="125"/>
                      </a:lnTo>
                      <a:lnTo>
                        <a:pt x="103" y="94"/>
                      </a:lnTo>
                      <a:lnTo>
                        <a:pt x="137" y="67"/>
                      </a:lnTo>
                      <a:lnTo>
                        <a:pt x="175" y="44"/>
                      </a:lnTo>
                      <a:lnTo>
                        <a:pt x="217" y="25"/>
                      </a:lnTo>
                      <a:lnTo>
                        <a:pt x="260" y="11"/>
                      </a:lnTo>
                      <a:lnTo>
                        <a:pt x="306" y="3"/>
                      </a:lnTo>
                      <a:lnTo>
                        <a:pt x="35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20" name="Freeform 620">
                  <a:extLst>
                    <a:ext uri="{FF2B5EF4-FFF2-40B4-BE49-F238E27FC236}">
                      <a16:creationId xmlns:a16="http://schemas.microsoft.com/office/drawing/2014/main" id="{A65E4A44-39E1-44D4-91C4-09CCF228C2FE}"/>
                    </a:ext>
                  </a:extLst>
                </p:cNvPr>
                <p:cNvSpPr>
                  <a:spLocks noEditPoints="1"/>
                </p:cNvSpPr>
                <p:nvPr/>
              </p:nvSpPr>
              <p:spPr bwMode="auto">
                <a:xfrm>
                  <a:off x="2080" y="4125"/>
                  <a:ext cx="65" cy="64"/>
                </a:xfrm>
                <a:custGeom>
                  <a:avLst/>
                  <a:gdLst>
                    <a:gd name="T0" fmla="*/ 327 w 707"/>
                    <a:gd name="T1" fmla="*/ 217 h 643"/>
                    <a:gd name="T2" fmla="*/ 280 w 707"/>
                    <a:gd name="T3" fmla="*/ 238 h 643"/>
                    <a:gd name="T4" fmla="*/ 248 w 707"/>
                    <a:gd name="T5" fmla="*/ 274 h 643"/>
                    <a:gd name="T6" fmla="*/ 236 w 707"/>
                    <a:gd name="T7" fmla="*/ 321 h 643"/>
                    <a:gd name="T8" fmla="*/ 248 w 707"/>
                    <a:gd name="T9" fmla="*/ 368 h 643"/>
                    <a:gd name="T10" fmla="*/ 280 w 707"/>
                    <a:gd name="T11" fmla="*/ 405 h 643"/>
                    <a:gd name="T12" fmla="*/ 327 w 707"/>
                    <a:gd name="T13" fmla="*/ 425 h 643"/>
                    <a:gd name="T14" fmla="*/ 381 w 707"/>
                    <a:gd name="T15" fmla="*/ 425 h 643"/>
                    <a:gd name="T16" fmla="*/ 427 w 707"/>
                    <a:gd name="T17" fmla="*/ 405 h 643"/>
                    <a:gd name="T18" fmla="*/ 459 w 707"/>
                    <a:gd name="T19" fmla="*/ 368 h 643"/>
                    <a:gd name="T20" fmla="*/ 471 w 707"/>
                    <a:gd name="T21" fmla="*/ 321 h 643"/>
                    <a:gd name="T22" fmla="*/ 459 w 707"/>
                    <a:gd name="T23" fmla="*/ 274 h 643"/>
                    <a:gd name="T24" fmla="*/ 427 w 707"/>
                    <a:gd name="T25" fmla="*/ 238 h 643"/>
                    <a:gd name="T26" fmla="*/ 381 w 707"/>
                    <a:gd name="T27" fmla="*/ 217 h 643"/>
                    <a:gd name="T28" fmla="*/ 354 w 707"/>
                    <a:gd name="T29" fmla="*/ 0 h 643"/>
                    <a:gd name="T30" fmla="*/ 447 w 707"/>
                    <a:gd name="T31" fmla="*/ 11 h 643"/>
                    <a:gd name="T32" fmla="*/ 532 w 707"/>
                    <a:gd name="T33" fmla="*/ 44 h 643"/>
                    <a:gd name="T34" fmla="*/ 603 w 707"/>
                    <a:gd name="T35" fmla="*/ 94 h 643"/>
                    <a:gd name="T36" fmla="*/ 658 w 707"/>
                    <a:gd name="T37" fmla="*/ 159 h 643"/>
                    <a:gd name="T38" fmla="*/ 695 w 707"/>
                    <a:gd name="T39" fmla="*/ 236 h 643"/>
                    <a:gd name="T40" fmla="*/ 707 w 707"/>
                    <a:gd name="T41" fmla="*/ 321 h 643"/>
                    <a:gd name="T42" fmla="*/ 695 w 707"/>
                    <a:gd name="T43" fmla="*/ 407 h 643"/>
                    <a:gd name="T44" fmla="*/ 658 w 707"/>
                    <a:gd name="T45" fmla="*/ 484 h 643"/>
                    <a:gd name="T46" fmla="*/ 603 w 707"/>
                    <a:gd name="T47" fmla="*/ 549 h 643"/>
                    <a:gd name="T48" fmla="*/ 532 w 707"/>
                    <a:gd name="T49" fmla="*/ 600 h 643"/>
                    <a:gd name="T50" fmla="*/ 447 w 707"/>
                    <a:gd name="T51" fmla="*/ 632 h 643"/>
                    <a:gd name="T52" fmla="*/ 354 w 707"/>
                    <a:gd name="T53" fmla="*/ 643 h 643"/>
                    <a:gd name="T54" fmla="*/ 260 w 707"/>
                    <a:gd name="T55" fmla="*/ 632 h 643"/>
                    <a:gd name="T56" fmla="*/ 175 w 707"/>
                    <a:gd name="T57" fmla="*/ 600 h 643"/>
                    <a:gd name="T58" fmla="*/ 104 w 707"/>
                    <a:gd name="T59" fmla="*/ 549 h 643"/>
                    <a:gd name="T60" fmla="*/ 49 w 707"/>
                    <a:gd name="T61" fmla="*/ 484 h 643"/>
                    <a:gd name="T62" fmla="*/ 13 w 707"/>
                    <a:gd name="T63" fmla="*/ 407 h 643"/>
                    <a:gd name="T64" fmla="*/ 0 w 707"/>
                    <a:gd name="T65" fmla="*/ 321 h 643"/>
                    <a:gd name="T66" fmla="*/ 13 w 707"/>
                    <a:gd name="T67" fmla="*/ 236 h 643"/>
                    <a:gd name="T68" fmla="*/ 49 w 707"/>
                    <a:gd name="T69" fmla="*/ 159 h 643"/>
                    <a:gd name="T70" fmla="*/ 104 w 707"/>
                    <a:gd name="T71" fmla="*/ 94 h 643"/>
                    <a:gd name="T72" fmla="*/ 175 w 707"/>
                    <a:gd name="T73" fmla="*/ 44 h 643"/>
                    <a:gd name="T74" fmla="*/ 260 w 707"/>
                    <a:gd name="T75" fmla="*/ 11 h 643"/>
                    <a:gd name="T76" fmla="*/ 354 w 707"/>
                    <a:gd name="T77" fmla="*/ 0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07" h="643">
                      <a:moveTo>
                        <a:pt x="354" y="214"/>
                      </a:moveTo>
                      <a:lnTo>
                        <a:pt x="327" y="217"/>
                      </a:lnTo>
                      <a:lnTo>
                        <a:pt x="302" y="225"/>
                      </a:lnTo>
                      <a:lnTo>
                        <a:pt x="280" y="238"/>
                      </a:lnTo>
                      <a:lnTo>
                        <a:pt x="262" y="254"/>
                      </a:lnTo>
                      <a:lnTo>
                        <a:pt x="248" y="274"/>
                      </a:lnTo>
                      <a:lnTo>
                        <a:pt x="239" y="297"/>
                      </a:lnTo>
                      <a:lnTo>
                        <a:pt x="236" y="321"/>
                      </a:lnTo>
                      <a:lnTo>
                        <a:pt x="239" y="346"/>
                      </a:lnTo>
                      <a:lnTo>
                        <a:pt x="248" y="368"/>
                      </a:lnTo>
                      <a:lnTo>
                        <a:pt x="262" y="388"/>
                      </a:lnTo>
                      <a:lnTo>
                        <a:pt x="280" y="405"/>
                      </a:lnTo>
                      <a:lnTo>
                        <a:pt x="302" y="417"/>
                      </a:lnTo>
                      <a:lnTo>
                        <a:pt x="327" y="425"/>
                      </a:lnTo>
                      <a:lnTo>
                        <a:pt x="354" y="428"/>
                      </a:lnTo>
                      <a:lnTo>
                        <a:pt x="381" y="425"/>
                      </a:lnTo>
                      <a:lnTo>
                        <a:pt x="405" y="417"/>
                      </a:lnTo>
                      <a:lnTo>
                        <a:pt x="427" y="405"/>
                      </a:lnTo>
                      <a:lnTo>
                        <a:pt x="445" y="388"/>
                      </a:lnTo>
                      <a:lnTo>
                        <a:pt x="459" y="368"/>
                      </a:lnTo>
                      <a:lnTo>
                        <a:pt x="468" y="346"/>
                      </a:lnTo>
                      <a:lnTo>
                        <a:pt x="471" y="321"/>
                      </a:lnTo>
                      <a:lnTo>
                        <a:pt x="468" y="297"/>
                      </a:lnTo>
                      <a:lnTo>
                        <a:pt x="459" y="274"/>
                      </a:lnTo>
                      <a:lnTo>
                        <a:pt x="445" y="254"/>
                      </a:lnTo>
                      <a:lnTo>
                        <a:pt x="427" y="238"/>
                      </a:lnTo>
                      <a:lnTo>
                        <a:pt x="405" y="225"/>
                      </a:lnTo>
                      <a:lnTo>
                        <a:pt x="381" y="217"/>
                      </a:lnTo>
                      <a:lnTo>
                        <a:pt x="354" y="214"/>
                      </a:lnTo>
                      <a:close/>
                      <a:moveTo>
                        <a:pt x="354" y="0"/>
                      </a:moveTo>
                      <a:lnTo>
                        <a:pt x="402" y="3"/>
                      </a:lnTo>
                      <a:lnTo>
                        <a:pt x="447" y="11"/>
                      </a:lnTo>
                      <a:lnTo>
                        <a:pt x="491" y="25"/>
                      </a:lnTo>
                      <a:lnTo>
                        <a:pt x="532" y="44"/>
                      </a:lnTo>
                      <a:lnTo>
                        <a:pt x="569" y="67"/>
                      </a:lnTo>
                      <a:lnTo>
                        <a:pt x="603" y="94"/>
                      </a:lnTo>
                      <a:lnTo>
                        <a:pt x="633" y="125"/>
                      </a:lnTo>
                      <a:lnTo>
                        <a:pt x="658" y="159"/>
                      </a:lnTo>
                      <a:lnTo>
                        <a:pt x="679" y="196"/>
                      </a:lnTo>
                      <a:lnTo>
                        <a:pt x="695" y="236"/>
                      </a:lnTo>
                      <a:lnTo>
                        <a:pt x="703" y="278"/>
                      </a:lnTo>
                      <a:lnTo>
                        <a:pt x="707" y="321"/>
                      </a:lnTo>
                      <a:lnTo>
                        <a:pt x="703" y="365"/>
                      </a:lnTo>
                      <a:lnTo>
                        <a:pt x="695" y="407"/>
                      </a:lnTo>
                      <a:lnTo>
                        <a:pt x="679" y="446"/>
                      </a:lnTo>
                      <a:lnTo>
                        <a:pt x="658" y="484"/>
                      </a:lnTo>
                      <a:lnTo>
                        <a:pt x="633" y="519"/>
                      </a:lnTo>
                      <a:lnTo>
                        <a:pt x="603" y="549"/>
                      </a:lnTo>
                      <a:lnTo>
                        <a:pt x="569" y="577"/>
                      </a:lnTo>
                      <a:lnTo>
                        <a:pt x="532" y="600"/>
                      </a:lnTo>
                      <a:lnTo>
                        <a:pt x="491" y="618"/>
                      </a:lnTo>
                      <a:lnTo>
                        <a:pt x="447" y="632"/>
                      </a:lnTo>
                      <a:lnTo>
                        <a:pt x="402" y="640"/>
                      </a:lnTo>
                      <a:lnTo>
                        <a:pt x="354" y="643"/>
                      </a:lnTo>
                      <a:lnTo>
                        <a:pt x="305" y="640"/>
                      </a:lnTo>
                      <a:lnTo>
                        <a:pt x="260" y="632"/>
                      </a:lnTo>
                      <a:lnTo>
                        <a:pt x="216" y="618"/>
                      </a:lnTo>
                      <a:lnTo>
                        <a:pt x="175" y="600"/>
                      </a:lnTo>
                      <a:lnTo>
                        <a:pt x="138" y="577"/>
                      </a:lnTo>
                      <a:lnTo>
                        <a:pt x="104" y="549"/>
                      </a:lnTo>
                      <a:lnTo>
                        <a:pt x="74" y="519"/>
                      </a:lnTo>
                      <a:lnTo>
                        <a:pt x="49" y="484"/>
                      </a:lnTo>
                      <a:lnTo>
                        <a:pt x="28" y="446"/>
                      </a:lnTo>
                      <a:lnTo>
                        <a:pt x="13" y="407"/>
                      </a:lnTo>
                      <a:lnTo>
                        <a:pt x="4" y="365"/>
                      </a:lnTo>
                      <a:lnTo>
                        <a:pt x="0" y="321"/>
                      </a:lnTo>
                      <a:lnTo>
                        <a:pt x="4" y="278"/>
                      </a:lnTo>
                      <a:lnTo>
                        <a:pt x="13" y="236"/>
                      </a:lnTo>
                      <a:lnTo>
                        <a:pt x="28" y="196"/>
                      </a:lnTo>
                      <a:lnTo>
                        <a:pt x="49" y="159"/>
                      </a:lnTo>
                      <a:lnTo>
                        <a:pt x="74" y="125"/>
                      </a:lnTo>
                      <a:lnTo>
                        <a:pt x="104" y="94"/>
                      </a:lnTo>
                      <a:lnTo>
                        <a:pt x="138" y="67"/>
                      </a:lnTo>
                      <a:lnTo>
                        <a:pt x="175" y="44"/>
                      </a:lnTo>
                      <a:lnTo>
                        <a:pt x="216" y="25"/>
                      </a:lnTo>
                      <a:lnTo>
                        <a:pt x="260" y="11"/>
                      </a:lnTo>
                      <a:lnTo>
                        <a:pt x="305" y="3"/>
                      </a:lnTo>
                      <a:lnTo>
                        <a:pt x="35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21" name="Freeform 621">
                  <a:extLst>
                    <a:ext uri="{FF2B5EF4-FFF2-40B4-BE49-F238E27FC236}">
                      <a16:creationId xmlns:a16="http://schemas.microsoft.com/office/drawing/2014/main" id="{C7142927-5FB8-4CB4-B9A8-70AC8CB7BD1B}"/>
                    </a:ext>
                  </a:extLst>
                </p:cNvPr>
                <p:cNvSpPr>
                  <a:spLocks noEditPoints="1"/>
                </p:cNvSpPr>
                <p:nvPr/>
              </p:nvSpPr>
              <p:spPr bwMode="auto">
                <a:xfrm>
                  <a:off x="1858" y="3941"/>
                  <a:ext cx="326" cy="216"/>
                </a:xfrm>
                <a:custGeom>
                  <a:avLst/>
                  <a:gdLst>
                    <a:gd name="T0" fmla="*/ 3147 w 3590"/>
                    <a:gd name="T1" fmla="*/ 976 h 2153"/>
                    <a:gd name="T2" fmla="*/ 2840 w 3590"/>
                    <a:gd name="T3" fmla="*/ 611 h 2153"/>
                    <a:gd name="T4" fmla="*/ 2768 w 3590"/>
                    <a:gd name="T5" fmla="*/ 591 h 2153"/>
                    <a:gd name="T6" fmla="*/ 2209 w 3590"/>
                    <a:gd name="T7" fmla="*/ 0 h 2153"/>
                    <a:gd name="T8" fmla="*/ 2261 w 3590"/>
                    <a:gd name="T9" fmla="*/ 19 h 2153"/>
                    <a:gd name="T10" fmla="*/ 2281 w 3590"/>
                    <a:gd name="T11" fmla="*/ 66 h 2153"/>
                    <a:gd name="T12" fmla="*/ 2955 w 3590"/>
                    <a:gd name="T13" fmla="*/ 343 h 2153"/>
                    <a:gd name="T14" fmla="*/ 3018 w 3590"/>
                    <a:gd name="T15" fmla="*/ 367 h 2153"/>
                    <a:gd name="T16" fmla="*/ 3452 w 3590"/>
                    <a:gd name="T17" fmla="*/ 875 h 2153"/>
                    <a:gd name="T18" fmla="*/ 3483 w 3590"/>
                    <a:gd name="T19" fmla="*/ 931 h 2153"/>
                    <a:gd name="T20" fmla="*/ 3496 w 3590"/>
                    <a:gd name="T21" fmla="*/ 993 h 2153"/>
                    <a:gd name="T22" fmla="*/ 3539 w 3590"/>
                    <a:gd name="T23" fmla="*/ 1795 h 2153"/>
                    <a:gd name="T24" fmla="*/ 3581 w 3590"/>
                    <a:gd name="T25" fmla="*/ 1824 h 2153"/>
                    <a:gd name="T26" fmla="*/ 3590 w 3590"/>
                    <a:gd name="T27" fmla="*/ 2087 h 2153"/>
                    <a:gd name="T28" fmla="*/ 3570 w 3590"/>
                    <a:gd name="T29" fmla="*/ 2134 h 2153"/>
                    <a:gd name="T30" fmla="*/ 3518 w 3590"/>
                    <a:gd name="T31" fmla="*/ 2153 h 2153"/>
                    <a:gd name="T32" fmla="*/ 3281 w 3590"/>
                    <a:gd name="T33" fmla="*/ 2050 h 2153"/>
                    <a:gd name="T34" fmla="*/ 3218 w 3590"/>
                    <a:gd name="T35" fmla="*/ 1912 h 2153"/>
                    <a:gd name="T36" fmla="*/ 3109 w 3590"/>
                    <a:gd name="T37" fmla="*/ 1802 h 2153"/>
                    <a:gd name="T38" fmla="*/ 2967 w 3590"/>
                    <a:gd name="T39" fmla="*/ 1728 h 2153"/>
                    <a:gd name="T40" fmla="*/ 2800 w 3590"/>
                    <a:gd name="T41" fmla="*/ 1702 h 2153"/>
                    <a:gd name="T42" fmla="*/ 2632 w 3590"/>
                    <a:gd name="T43" fmla="*/ 1728 h 2153"/>
                    <a:gd name="T44" fmla="*/ 2490 w 3590"/>
                    <a:gd name="T45" fmla="*/ 1802 h 2153"/>
                    <a:gd name="T46" fmla="*/ 2382 w 3590"/>
                    <a:gd name="T47" fmla="*/ 1912 h 2153"/>
                    <a:gd name="T48" fmla="*/ 2318 w 3590"/>
                    <a:gd name="T49" fmla="*/ 2050 h 2153"/>
                    <a:gd name="T50" fmla="*/ 1310 w 3590"/>
                    <a:gd name="T51" fmla="*/ 2153 h 2153"/>
                    <a:gd name="T52" fmla="*/ 1280 w 3590"/>
                    <a:gd name="T53" fmla="*/ 2002 h 2153"/>
                    <a:gd name="T54" fmla="*/ 1201 w 3590"/>
                    <a:gd name="T55" fmla="*/ 1872 h 2153"/>
                    <a:gd name="T56" fmla="*/ 1080 w 3590"/>
                    <a:gd name="T57" fmla="*/ 1772 h 2153"/>
                    <a:gd name="T58" fmla="*/ 928 w 3590"/>
                    <a:gd name="T59" fmla="*/ 1714 h 2153"/>
                    <a:gd name="T60" fmla="*/ 757 w 3590"/>
                    <a:gd name="T61" fmla="*/ 1705 h 2153"/>
                    <a:gd name="T62" fmla="*/ 597 w 3590"/>
                    <a:gd name="T63" fmla="*/ 1748 h 2153"/>
                    <a:gd name="T64" fmla="*/ 465 w 3590"/>
                    <a:gd name="T65" fmla="*/ 1835 h 2153"/>
                    <a:gd name="T66" fmla="*/ 370 w 3590"/>
                    <a:gd name="T67" fmla="*/ 1955 h 2153"/>
                    <a:gd name="T68" fmla="*/ 323 w 3590"/>
                    <a:gd name="T69" fmla="*/ 2101 h 2153"/>
                    <a:gd name="T70" fmla="*/ 53 w 3590"/>
                    <a:gd name="T71" fmla="*/ 2151 h 2153"/>
                    <a:gd name="T72" fmla="*/ 10 w 3590"/>
                    <a:gd name="T73" fmla="*/ 2120 h 2153"/>
                    <a:gd name="T74" fmla="*/ 0 w 3590"/>
                    <a:gd name="T75" fmla="*/ 1857 h 2153"/>
                    <a:gd name="T76" fmla="*/ 21 w 3590"/>
                    <a:gd name="T77" fmla="*/ 1811 h 2153"/>
                    <a:gd name="T78" fmla="*/ 70 w 3590"/>
                    <a:gd name="T79" fmla="*/ 1792 h 2153"/>
                    <a:gd name="T80" fmla="*/ 112 w 3590"/>
                    <a:gd name="T81" fmla="*/ 224 h 2153"/>
                    <a:gd name="T82" fmla="*/ 155 w 3590"/>
                    <a:gd name="T83" fmla="*/ 119 h 2153"/>
                    <a:gd name="T84" fmla="*/ 241 w 3590"/>
                    <a:gd name="T85" fmla="*/ 42 h 2153"/>
                    <a:gd name="T86" fmla="*/ 355 w 3590"/>
                    <a:gd name="T87" fmla="*/ 2 h 2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90" h="2153">
                      <a:moveTo>
                        <a:pt x="2465" y="591"/>
                      </a:moveTo>
                      <a:lnTo>
                        <a:pt x="2465" y="976"/>
                      </a:lnTo>
                      <a:lnTo>
                        <a:pt x="3147" y="976"/>
                      </a:lnTo>
                      <a:lnTo>
                        <a:pt x="2878" y="641"/>
                      </a:lnTo>
                      <a:lnTo>
                        <a:pt x="2861" y="625"/>
                      </a:lnTo>
                      <a:lnTo>
                        <a:pt x="2840" y="611"/>
                      </a:lnTo>
                      <a:lnTo>
                        <a:pt x="2816" y="600"/>
                      </a:lnTo>
                      <a:lnTo>
                        <a:pt x="2791" y="593"/>
                      </a:lnTo>
                      <a:lnTo>
                        <a:pt x="2768" y="591"/>
                      </a:lnTo>
                      <a:lnTo>
                        <a:pt x="2465" y="591"/>
                      </a:lnTo>
                      <a:close/>
                      <a:moveTo>
                        <a:pt x="398" y="0"/>
                      </a:moveTo>
                      <a:lnTo>
                        <a:pt x="2209" y="0"/>
                      </a:lnTo>
                      <a:lnTo>
                        <a:pt x="2229" y="2"/>
                      </a:lnTo>
                      <a:lnTo>
                        <a:pt x="2246" y="9"/>
                      </a:lnTo>
                      <a:lnTo>
                        <a:pt x="2261" y="19"/>
                      </a:lnTo>
                      <a:lnTo>
                        <a:pt x="2272" y="32"/>
                      </a:lnTo>
                      <a:lnTo>
                        <a:pt x="2279" y="48"/>
                      </a:lnTo>
                      <a:lnTo>
                        <a:pt x="2281" y="66"/>
                      </a:lnTo>
                      <a:lnTo>
                        <a:pt x="2281" y="342"/>
                      </a:lnTo>
                      <a:lnTo>
                        <a:pt x="2934" y="342"/>
                      </a:lnTo>
                      <a:lnTo>
                        <a:pt x="2955" y="343"/>
                      </a:lnTo>
                      <a:lnTo>
                        <a:pt x="2977" y="349"/>
                      </a:lnTo>
                      <a:lnTo>
                        <a:pt x="2999" y="357"/>
                      </a:lnTo>
                      <a:lnTo>
                        <a:pt x="3018" y="367"/>
                      </a:lnTo>
                      <a:lnTo>
                        <a:pt x="3036" y="380"/>
                      </a:lnTo>
                      <a:lnTo>
                        <a:pt x="3050" y="394"/>
                      </a:lnTo>
                      <a:lnTo>
                        <a:pt x="3452" y="875"/>
                      </a:lnTo>
                      <a:lnTo>
                        <a:pt x="3464" y="891"/>
                      </a:lnTo>
                      <a:lnTo>
                        <a:pt x="3474" y="910"/>
                      </a:lnTo>
                      <a:lnTo>
                        <a:pt x="3483" y="931"/>
                      </a:lnTo>
                      <a:lnTo>
                        <a:pt x="3489" y="952"/>
                      </a:lnTo>
                      <a:lnTo>
                        <a:pt x="3494" y="973"/>
                      </a:lnTo>
                      <a:lnTo>
                        <a:pt x="3496" y="993"/>
                      </a:lnTo>
                      <a:lnTo>
                        <a:pt x="3496" y="1792"/>
                      </a:lnTo>
                      <a:lnTo>
                        <a:pt x="3520" y="1792"/>
                      </a:lnTo>
                      <a:lnTo>
                        <a:pt x="3539" y="1795"/>
                      </a:lnTo>
                      <a:lnTo>
                        <a:pt x="3555" y="1801"/>
                      </a:lnTo>
                      <a:lnTo>
                        <a:pt x="3570" y="1811"/>
                      </a:lnTo>
                      <a:lnTo>
                        <a:pt x="3581" y="1824"/>
                      </a:lnTo>
                      <a:lnTo>
                        <a:pt x="3588" y="1840"/>
                      </a:lnTo>
                      <a:lnTo>
                        <a:pt x="3590" y="1857"/>
                      </a:lnTo>
                      <a:lnTo>
                        <a:pt x="3590" y="2087"/>
                      </a:lnTo>
                      <a:lnTo>
                        <a:pt x="3588" y="2105"/>
                      </a:lnTo>
                      <a:lnTo>
                        <a:pt x="3581" y="2120"/>
                      </a:lnTo>
                      <a:lnTo>
                        <a:pt x="3570" y="2134"/>
                      </a:lnTo>
                      <a:lnTo>
                        <a:pt x="3554" y="2144"/>
                      </a:lnTo>
                      <a:lnTo>
                        <a:pt x="3538" y="2151"/>
                      </a:lnTo>
                      <a:lnTo>
                        <a:pt x="3518" y="2153"/>
                      </a:lnTo>
                      <a:lnTo>
                        <a:pt x="3295" y="2153"/>
                      </a:lnTo>
                      <a:lnTo>
                        <a:pt x="3291" y="2101"/>
                      </a:lnTo>
                      <a:lnTo>
                        <a:pt x="3281" y="2050"/>
                      </a:lnTo>
                      <a:lnTo>
                        <a:pt x="3266" y="2002"/>
                      </a:lnTo>
                      <a:lnTo>
                        <a:pt x="3244" y="1955"/>
                      </a:lnTo>
                      <a:lnTo>
                        <a:pt x="3218" y="1912"/>
                      </a:lnTo>
                      <a:lnTo>
                        <a:pt x="3186" y="1872"/>
                      </a:lnTo>
                      <a:lnTo>
                        <a:pt x="3149" y="1835"/>
                      </a:lnTo>
                      <a:lnTo>
                        <a:pt x="3109" y="1802"/>
                      </a:lnTo>
                      <a:lnTo>
                        <a:pt x="3065" y="1772"/>
                      </a:lnTo>
                      <a:lnTo>
                        <a:pt x="3017" y="1748"/>
                      </a:lnTo>
                      <a:lnTo>
                        <a:pt x="2967" y="1728"/>
                      </a:lnTo>
                      <a:lnTo>
                        <a:pt x="2913" y="1714"/>
                      </a:lnTo>
                      <a:lnTo>
                        <a:pt x="2857" y="1705"/>
                      </a:lnTo>
                      <a:lnTo>
                        <a:pt x="2800" y="1702"/>
                      </a:lnTo>
                      <a:lnTo>
                        <a:pt x="2741" y="1705"/>
                      </a:lnTo>
                      <a:lnTo>
                        <a:pt x="2686" y="1714"/>
                      </a:lnTo>
                      <a:lnTo>
                        <a:pt x="2632" y="1728"/>
                      </a:lnTo>
                      <a:lnTo>
                        <a:pt x="2582" y="1748"/>
                      </a:lnTo>
                      <a:lnTo>
                        <a:pt x="2534" y="1772"/>
                      </a:lnTo>
                      <a:lnTo>
                        <a:pt x="2490" y="1802"/>
                      </a:lnTo>
                      <a:lnTo>
                        <a:pt x="2450" y="1835"/>
                      </a:lnTo>
                      <a:lnTo>
                        <a:pt x="2413" y="1872"/>
                      </a:lnTo>
                      <a:lnTo>
                        <a:pt x="2382" y="1912"/>
                      </a:lnTo>
                      <a:lnTo>
                        <a:pt x="2355" y="1955"/>
                      </a:lnTo>
                      <a:lnTo>
                        <a:pt x="2333" y="2002"/>
                      </a:lnTo>
                      <a:lnTo>
                        <a:pt x="2318" y="2050"/>
                      </a:lnTo>
                      <a:lnTo>
                        <a:pt x="2308" y="2101"/>
                      </a:lnTo>
                      <a:lnTo>
                        <a:pt x="2305" y="2153"/>
                      </a:lnTo>
                      <a:lnTo>
                        <a:pt x="1310" y="2153"/>
                      </a:lnTo>
                      <a:lnTo>
                        <a:pt x="1307" y="2101"/>
                      </a:lnTo>
                      <a:lnTo>
                        <a:pt x="1297" y="2050"/>
                      </a:lnTo>
                      <a:lnTo>
                        <a:pt x="1280" y="2002"/>
                      </a:lnTo>
                      <a:lnTo>
                        <a:pt x="1260" y="1955"/>
                      </a:lnTo>
                      <a:lnTo>
                        <a:pt x="1233" y="1912"/>
                      </a:lnTo>
                      <a:lnTo>
                        <a:pt x="1201" y="1872"/>
                      </a:lnTo>
                      <a:lnTo>
                        <a:pt x="1165" y="1835"/>
                      </a:lnTo>
                      <a:lnTo>
                        <a:pt x="1124" y="1802"/>
                      </a:lnTo>
                      <a:lnTo>
                        <a:pt x="1080" y="1772"/>
                      </a:lnTo>
                      <a:lnTo>
                        <a:pt x="1032" y="1748"/>
                      </a:lnTo>
                      <a:lnTo>
                        <a:pt x="981" y="1728"/>
                      </a:lnTo>
                      <a:lnTo>
                        <a:pt x="928" y="1714"/>
                      </a:lnTo>
                      <a:lnTo>
                        <a:pt x="872" y="1705"/>
                      </a:lnTo>
                      <a:lnTo>
                        <a:pt x="815" y="1702"/>
                      </a:lnTo>
                      <a:lnTo>
                        <a:pt x="757" y="1705"/>
                      </a:lnTo>
                      <a:lnTo>
                        <a:pt x="702" y="1714"/>
                      </a:lnTo>
                      <a:lnTo>
                        <a:pt x="648" y="1728"/>
                      </a:lnTo>
                      <a:lnTo>
                        <a:pt x="597" y="1748"/>
                      </a:lnTo>
                      <a:lnTo>
                        <a:pt x="550" y="1772"/>
                      </a:lnTo>
                      <a:lnTo>
                        <a:pt x="505" y="1802"/>
                      </a:lnTo>
                      <a:lnTo>
                        <a:pt x="465" y="1835"/>
                      </a:lnTo>
                      <a:lnTo>
                        <a:pt x="429" y="1872"/>
                      </a:lnTo>
                      <a:lnTo>
                        <a:pt x="397" y="1912"/>
                      </a:lnTo>
                      <a:lnTo>
                        <a:pt x="370" y="1955"/>
                      </a:lnTo>
                      <a:lnTo>
                        <a:pt x="349" y="2002"/>
                      </a:lnTo>
                      <a:lnTo>
                        <a:pt x="332" y="2050"/>
                      </a:lnTo>
                      <a:lnTo>
                        <a:pt x="323" y="2101"/>
                      </a:lnTo>
                      <a:lnTo>
                        <a:pt x="319" y="2153"/>
                      </a:lnTo>
                      <a:lnTo>
                        <a:pt x="73" y="2153"/>
                      </a:lnTo>
                      <a:lnTo>
                        <a:pt x="53" y="2151"/>
                      </a:lnTo>
                      <a:lnTo>
                        <a:pt x="36" y="2144"/>
                      </a:lnTo>
                      <a:lnTo>
                        <a:pt x="21" y="2134"/>
                      </a:lnTo>
                      <a:lnTo>
                        <a:pt x="10" y="2120"/>
                      </a:lnTo>
                      <a:lnTo>
                        <a:pt x="2" y="2105"/>
                      </a:lnTo>
                      <a:lnTo>
                        <a:pt x="0" y="2087"/>
                      </a:lnTo>
                      <a:lnTo>
                        <a:pt x="0" y="1857"/>
                      </a:lnTo>
                      <a:lnTo>
                        <a:pt x="2" y="1840"/>
                      </a:lnTo>
                      <a:lnTo>
                        <a:pt x="10" y="1824"/>
                      </a:lnTo>
                      <a:lnTo>
                        <a:pt x="21" y="1811"/>
                      </a:lnTo>
                      <a:lnTo>
                        <a:pt x="35" y="1801"/>
                      </a:lnTo>
                      <a:lnTo>
                        <a:pt x="52" y="1795"/>
                      </a:lnTo>
                      <a:lnTo>
                        <a:pt x="70" y="1792"/>
                      </a:lnTo>
                      <a:lnTo>
                        <a:pt x="109" y="1792"/>
                      </a:lnTo>
                      <a:lnTo>
                        <a:pt x="109" y="264"/>
                      </a:lnTo>
                      <a:lnTo>
                        <a:pt x="112" y="224"/>
                      </a:lnTo>
                      <a:lnTo>
                        <a:pt x="121" y="187"/>
                      </a:lnTo>
                      <a:lnTo>
                        <a:pt x="135" y="152"/>
                      </a:lnTo>
                      <a:lnTo>
                        <a:pt x="155" y="119"/>
                      </a:lnTo>
                      <a:lnTo>
                        <a:pt x="179" y="90"/>
                      </a:lnTo>
                      <a:lnTo>
                        <a:pt x="208" y="64"/>
                      </a:lnTo>
                      <a:lnTo>
                        <a:pt x="241" y="42"/>
                      </a:lnTo>
                      <a:lnTo>
                        <a:pt x="276" y="24"/>
                      </a:lnTo>
                      <a:lnTo>
                        <a:pt x="315" y="11"/>
                      </a:lnTo>
                      <a:lnTo>
                        <a:pt x="355" y="2"/>
                      </a:lnTo>
                      <a:lnTo>
                        <a:pt x="39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grpSp>
        </p:grpSp>
      </p:grpSp>
    </p:spTree>
    <p:extLst>
      <p:ext uri="{BB962C8B-B14F-4D97-AF65-F5344CB8AC3E}">
        <p14:creationId xmlns:p14="http://schemas.microsoft.com/office/powerpoint/2010/main" val="2024371475"/>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37"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barn(outVertical)">
                                      <p:cBhvr>
                                        <p:cTn id="7" dur="500"/>
                                        <p:tgtEl>
                                          <p:spTgt spid="2"/>
                                        </p:tgtEl>
                                      </p:cBhvr>
                                    </p:animEffect>
                                  </p:childTnLst>
                                </p:cTn>
                              </p:par>
                            </p:childTnLst>
                          </p:cTn>
                        </p:par>
                        <p:par>
                          <p:cTn id="8" fill="hold">
                            <p:stCondLst>
                              <p:cond delay="500"/>
                            </p:stCondLst>
                            <p:childTnLst>
                              <p:par>
                                <p:cTn id="9" presetID="22" presetClass="entr" presetSubtype="4" fill="hold" nodeType="afterEffect">
                                  <p:stCondLst>
                                    <p:cond delay="0"/>
                                  </p:stCondLst>
                                  <p:childTnLst>
                                    <p:set>
                                      <p:cBhvr>
                                        <p:cTn id="10" dur="1" fill="hold">
                                          <p:stCondLst>
                                            <p:cond delay="0"/>
                                          </p:stCondLst>
                                        </p:cTn>
                                        <p:tgtEl>
                                          <p:spTgt spid="10"/>
                                        </p:tgtEl>
                                        <p:attrNameLst>
                                          <p:attrName>style.visibility</p:attrName>
                                        </p:attrNameLst>
                                      </p:cBhvr>
                                      <p:to>
                                        <p:strVal val="visible"/>
                                      </p:to>
                                    </p:set>
                                    <p:animEffect transition="in" filter="wipe(down)">
                                      <p:cBhvr>
                                        <p:cTn id="11" dur="500"/>
                                        <p:tgtEl>
                                          <p:spTgt spid="10"/>
                                        </p:tgtEl>
                                      </p:cBhvr>
                                    </p:animEffect>
                                  </p:childTnLst>
                                </p:cTn>
                              </p:par>
                            </p:childTnLst>
                          </p:cTn>
                        </p:par>
                        <p:par>
                          <p:cTn id="12" fill="hold">
                            <p:stCondLst>
                              <p:cond delay="1000"/>
                            </p:stCondLst>
                            <p:childTnLst>
                              <p:par>
                                <p:cTn id="13" presetID="42" presetClass="entr" presetSubtype="0" fill="hold" grpId="0" nodeType="afterEffect">
                                  <p:stCondLst>
                                    <p:cond delay="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500"/>
                                        <p:tgtEl>
                                          <p:spTgt spid="9"/>
                                        </p:tgtEl>
                                      </p:cBhvr>
                                    </p:animEffect>
                                    <p:anim calcmode="lin" valueType="num">
                                      <p:cBhvr>
                                        <p:cTn id="16" dur="500" fill="hold"/>
                                        <p:tgtEl>
                                          <p:spTgt spid="9"/>
                                        </p:tgtEl>
                                        <p:attrNameLst>
                                          <p:attrName>ppt_x</p:attrName>
                                        </p:attrNameLst>
                                      </p:cBhvr>
                                      <p:tavLst>
                                        <p:tav tm="0">
                                          <p:val>
                                            <p:strVal val="#ppt_x"/>
                                          </p:val>
                                        </p:tav>
                                        <p:tav tm="100000">
                                          <p:val>
                                            <p:strVal val="#ppt_x"/>
                                          </p:val>
                                        </p:tav>
                                      </p:tavLst>
                                    </p:anim>
                                    <p:anim calcmode="lin" valueType="num">
                                      <p:cBhvr>
                                        <p:cTn id="17" dur="500" fill="hold"/>
                                        <p:tgtEl>
                                          <p:spTgt spid="9"/>
                                        </p:tgtEl>
                                        <p:attrNameLst>
                                          <p:attrName>ppt_y</p:attrName>
                                        </p:attrNameLst>
                                      </p:cBhvr>
                                      <p:tavLst>
                                        <p:tav tm="0">
                                          <p:val>
                                            <p:strVal val="#ppt_y+.1"/>
                                          </p:val>
                                        </p:tav>
                                        <p:tav tm="100000">
                                          <p:val>
                                            <p:strVal val="#ppt_y"/>
                                          </p:val>
                                        </p:tav>
                                      </p:tavLst>
                                    </p:anim>
                                  </p:childTnLst>
                                </p:cTn>
                              </p:par>
                            </p:childTnLst>
                          </p:cTn>
                        </p:par>
                        <p:par>
                          <p:cTn id="18" fill="hold">
                            <p:stCondLst>
                              <p:cond delay="1500"/>
                            </p:stCondLst>
                            <p:childTnLst>
                              <p:par>
                                <p:cTn id="19" presetID="22" presetClass="entr" presetSubtype="2" fill="hold" grpId="0" nodeType="afterEffect">
                                  <p:stCondLst>
                                    <p:cond delay="0"/>
                                  </p:stCondLst>
                                  <p:childTnLst>
                                    <p:set>
                                      <p:cBhvr>
                                        <p:cTn id="20" dur="1" fill="hold">
                                          <p:stCondLst>
                                            <p:cond delay="0"/>
                                          </p:stCondLst>
                                        </p:cTn>
                                        <p:tgtEl>
                                          <p:spTgt spid="7"/>
                                        </p:tgtEl>
                                        <p:attrNameLst>
                                          <p:attrName>style.visibility</p:attrName>
                                        </p:attrNameLst>
                                      </p:cBhvr>
                                      <p:to>
                                        <p:strVal val="visible"/>
                                      </p:to>
                                    </p:set>
                                    <p:animEffect transition="in" filter="wipe(right)">
                                      <p:cBhvr>
                                        <p:cTn id="21" dur="500"/>
                                        <p:tgtEl>
                                          <p:spTgt spid="7"/>
                                        </p:tgtEl>
                                      </p:cBhvr>
                                    </p:animEffect>
                                  </p:childTnLst>
                                </p:cTn>
                              </p:par>
                            </p:childTnLst>
                          </p:cTn>
                        </p:par>
                        <p:par>
                          <p:cTn id="22" fill="hold">
                            <p:stCondLst>
                              <p:cond delay="2000"/>
                            </p:stCondLst>
                            <p:childTnLst>
                              <p:par>
                                <p:cTn id="23" presetID="22" presetClass="entr" presetSubtype="2" fill="hold" grpId="0" nodeType="afterEffect">
                                  <p:stCondLst>
                                    <p:cond delay="0"/>
                                  </p:stCondLst>
                                  <p:childTnLst>
                                    <p:set>
                                      <p:cBhvr>
                                        <p:cTn id="24" dur="1" fill="hold">
                                          <p:stCondLst>
                                            <p:cond delay="0"/>
                                          </p:stCondLst>
                                        </p:cTn>
                                        <p:tgtEl>
                                          <p:spTgt spid="3"/>
                                        </p:tgtEl>
                                        <p:attrNameLst>
                                          <p:attrName>style.visibility</p:attrName>
                                        </p:attrNameLst>
                                      </p:cBhvr>
                                      <p:to>
                                        <p:strVal val="visible"/>
                                      </p:to>
                                    </p:set>
                                    <p:animEffect transition="in" filter="wipe(right)">
                                      <p:cBhvr>
                                        <p:cTn id="25" dur="500"/>
                                        <p:tgtEl>
                                          <p:spTgt spid="3"/>
                                        </p:tgtEl>
                                      </p:cBhvr>
                                    </p:animEffect>
                                  </p:childTnLst>
                                </p:cTn>
                              </p:par>
                            </p:childTnLst>
                          </p:cTn>
                        </p:par>
                        <p:par>
                          <p:cTn id="26" fill="hold">
                            <p:stCondLst>
                              <p:cond delay="2500"/>
                            </p:stCondLst>
                            <p:childTnLst>
                              <p:par>
                                <p:cTn id="27" presetID="22" presetClass="entr" presetSubtype="8" fill="hold" grpId="0" nodeType="afterEffect">
                                  <p:stCondLst>
                                    <p:cond delay="0"/>
                                  </p:stCondLst>
                                  <p:childTnLst>
                                    <p:set>
                                      <p:cBhvr>
                                        <p:cTn id="28" dur="1" fill="hold">
                                          <p:stCondLst>
                                            <p:cond delay="0"/>
                                          </p:stCondLst>
                                        </p:cTn>
                                        <p:tgtEl>
                                          <p:spTgt spid="4"/>
                                        </p:tgtEl>
                                        <p:attrNameLst>
                                          <p:attrName>style.visibility</p:attrName>
                                        </p:attrNameLst>
                                      </p:cBhvr>
                                      <p:to>
                                        <p:strVal val="visible"/>
                                      </p:to>
                                    </p:set>
                                    <p:animEffect transition="in" filter="wipe(left)">
                                      <p:cBhvr>
                                        <p:cTn id="29" dur="500"/>
                                        <p:tgtEl>
                                          <p:spTgt spid="4"/>
                                        </p:tgtEl>
                                      </p:cBhvr>
                                    </p:animEffect>
                                  </p:childTnLst>
                                </p:cTn>
                              </p:par>
                            </p:childTnLst>
                          </p:cTn>
                        </p:par>
                        <p:par>
                          <p:cTn id="30" fill="hold">
                            <p:stCondLst>
                              <p:cond delay="3000"/>
                            </p:stCondLst>
                            <p:childTnLst>
                              <p:par>
                                <p:cTn id="31" presetID="22" presetClass="entr" presetSubtype="8" fill="hold" grpId="0" nodeType="afterEffect">
                                  <p:stCondLst>
                                    <p:cond delay="0"/>
                                  </p:stCondLst>
                                  <p:childTnLst>
                                    <p:set>
                                      <p:cBhvr>
                                        <p:cTn id="32" dur="1" fill="hold">
                                          <p:stCondLst>
                                            <p:cond delay="0"/>
                                          </p:stCondLst>
                                        </p:cTn>
                                        <p:tgtEl>
                                          <p:spTgt spid="5"/>
                                        </p:tgtEl>
                                        <p:attrNameLst>
                                          <p:attrName>style.visibility</p:attrName>
                                        </p:attrNameLst>
                                      </p:cBhvr>
                                      <p:to>
                                        <p:strVal val="visible"/>
                                      </p:to>
                                    </p:set>
                                    <p:animEffect transition="in" filter="wipe(left)">
                                      <p:cBhvr>
                                        <p:cTn id="33" dur="500"/>
                                        <p:tgtEl>
                                          <p:spTgt spid="5"/>
                                        </p:tgtEl>
                                      </p:cBhvr>
                                    </p:animEffect>
                                  </p:childTnLst>
                                </p:cTn>
                              </p:par>
                            </p:childTnLst>
                          </p:cTn>
                        </p:par>
                        <p:par>
                          <p:cTn id="34" fill="hold">
                            <p:stCondLst>
                              <p:cond delay="3500"/>
                            </p:stCondLst>
                            <p:childTnLst>
                              <p:par>
                                <p:cTn id="35" presetID="22" presetClass="entr" presetSubtype="8" fill="hold" grpId="0" nodeType="afterEffect">
                                  <p:stCondLst>
                                    <p:cond delay="0"/>
                                  </p:stCondLst>
                                  <p:childTnLst>
                                    <p:set>
                                      <p:cBhvr>
                                        <p:cTn id="36" dur="1" fill="hold">
                                          <p:stCondLst>
                                            <p:cond delay="0"/>
                                          </p:stCondLst>
                                        </p:cTn>
                                        <p:tgtEl>
                                          <p:spTgt spid="6"/>
                                        </p:tgtEl>
                                        <p:attrNameLst>
                                          <p:attrName>style.visibility</p:attrName>
                                        </p:attrNameLst>
                                      </p:cBhvr>
                                      <p:to>
                                        <p:strVal val="visible"/>
                                      </p:to>
                                    </p:set>
                                    <p:animEffect transition="in" filter="wipe(left)">
                                      <p:cBhvr>
                                        <p:cTn id="37" dur="500"/>
                                        <p:tgtEl>
                                          <p:spTgt spid="6"/>
                                        </p:tgtEl>
                                      </p:cBhvr>
                                    </p:animEffect>
                                  </p:childTnLst>
                                </p:cTn>
                              </p:par>
                            </p:childTnLst>
                          </p:cTn>
                        </p:par>
                        <p:par>
                          <p:cTn id="38" fill="hold">
                            <p:stCondLst>
                              <p:cond delay="4000"/>
                            </p:stCondLst>
                            <p:childTnLst>
                              <p:par>
                                <p:cTn id="39" presetID="42" presetClass="entr" presetSubtype="0" fill="hold" grpId="0" nodeType="afterEffect">
                                  <p:stCondLst>
                                    <p:cond delay="0"/>
                                  </p:stCondLst>
                                  <p:childTnLst>
                                    <p:set>
                                      <p:cBhvr>
                                        <p:cTn id="40" dur="1" fill="hold">
                                          <p:stCondLst>
                                            <p:cond delay="0"/>
                                          </p:stCondLst>
                                        </p:cTn>
                                        <p:tgtEl>
                                          <p:spTgt spid="8"/>
                                        </p:tgtEl>
                                        <p:attrNameLst>
                                          <p:attrName>style.visibility</p:attrName>
                                        </p:attrNameLst>
                                      </p:cBhvr>
                                      <p:to>
                                        <p:strVal val="visible"/>
                                      </p:to>
                                    </p:set>
                                    <p:animEffect transition="in" filter="fade">
                                      <p:cBhvr>
                                        <p:cTn id="41" dur="500"/>
                                        <p:tgtEl>
                                          <p:spTgt spid="8"/>
                                        </p:tgtEl>
                                      </p:cBhvr>
                                    </p:animEffect>
                                    <p:anim calcmode="lin" valueType="num">
                                      <p:cBhvr>
                                        <p:cTn id="42" dur="500" fill="hold"/>
                                        <p:tgtEl>
                                          <p:spTgt spid="8"/>
                                        </p:tgtEl>
                                        <p:attrNameLst>
                                          <p:attrName>ppt_x</p:attrName>
                                        </p:attrNameLst>
                                      </p:cBhvr>
                                      <p:tavLst>
                                        <p:tav tm="0">
                                          <p:val>
                                            <p:strVal val="#ppt_x"/>
                                          </p:val>
                                        </p:tav>
                                        <p:tav tm="100000">
                                          <p:val>
                                            <p:strVal val="#ppt_x"/>
                                          </p:val>
                                        </p:tav>
                                      </p:tavLst>
                                    </p:anim>
                                    <p:anim calcmode="lin" valueType="num">
                                      <p:cBhvr>
                                        <p:cTn id="43" dur="500" fill="hold"/>
                                        <p:tgtEl>
                                          <p:spTgt spid="8"/>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p:bldP spid="4" grpId="0"/>
      <p:bldP spid="5" grpId="0"/>
      <p:bldP spid="6" grpId="0"/>
      <p:bldP spid="7" grpId="0"/>
      <p:bldP spid="8" grpId="0"/>
      <p:bldP spid="9" grpId="0"/>
    </p:bldLst>
  </p:timing>
</p:sld>
</file>

<file path=ppt/slides/slide5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4">
            <a:extLst>
              <a:ext uri="{FF2B5EF4-FFF2-40B4-BE49-F238E27FC236}">
                <a16:creationId xmlns:a16="http://schemas.microsoft.com/office/drawing/2014/main" id="{8C92E641-614D-4D2C-8958-FBEE943CE819}"/>
              </a:ext>
            </a:extLst>
          </p:cNvPr>
          <p:cNvSpPr txBox="1"/>
          <p:nvPr/>
        </p:nvSpPr>
        <p:spPr>
          <a:xfrm>
            <a:off x="4639285" y="2114841"/>
            <a:ext cx="1667081"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lumMod val="85000"/>
                    <a:lumOff val="15000"/>
                  </a:srgbClr>
                </a:solidFill>
                <a:effectLst/>
                <a:uLnTx/>
                <a:uFillTx/>
                <a:latin typeface="等线 Light" panose="020F0302020204030204"/>
                <a:ea typeface="+mn-ea"/>
                <a:cs typeface="+mn-cs"/>
              </a:rPr>
              <a:t>Step Two</a:t>
            </a:r>
          </a:p>
        </p:txBody>
      </p:sp>
      <p:sp>
        <p:nvSpPr>
          <p:cNvPr id="3" name="TextBox 17">
            <a:extLst>
              <a:ext uri="{FF2B5EF4-FFF2-40B4-BE49-F238E27FC236}">
                <a16:creationId xmlns:a16="http://schemas.microsoft.com/office/drawing/2014/main" id="{A30A0B9A-2185-48AD-BA4A-6E668867F5B3}"/>
              </a:ext>
            </a:extLst>
          </p:cNvPr>
          <p:cNvSpPr txBox="1"/>
          <p:nvPr/>
        </p:nvSpPr>
        <p:spPr>
          <a:xfrm>
            <a:off x="6888322" y="2445237"/>
            <a:ext cx="1667081"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lumMod val="85000"/>
                    <a:lumOff val="15000"/>
                  </a:srgbClr>
                </a:solidFill>
                <a:effectLst/>
                <a:uLnTx/>
                <a:uFillTx/>
                <a:latin typeface="等线 Light" panose="020F0302020204030204"/>
                <a:ea typeface="+mn-ea"/>
                <a:cs typeface="+mn-cs"/>
              </a:rPr>
              <a:t>Step Two</a:t>
            </a:r>
          </a:p>
        </p:txBody>
      </p:sp>
      <p:sp>
        <p:nvSpPr>
          <p:cNvPr id="4" name="TextBox 18">
            <a:extLst>
              <a:ext uri="{FF2B5EF4-FFF2-40B4-BE49-F238E27FC236}">
                <a16:creationId xmlns:a16="http://schemas.microsoft.com/office/drawing/2014/main" id="{337A8095-607E-4825-A087-0619EE26EF39}"/>
              </a:ext>
            </a:extLst>
          </p:cNvPr>
          <p:cNvSpPr txBox="1"/>
          <p:nvPr/>
        </p:nvSpPr>
        <p:spPr>
          <a:xfrm>
            <a:off x="7702757" y="2990540"/>
            <a:ext cx="1667081"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lumMod val="85000"/>
                    <a:lumOff val="15000"/>
                  </a:srgbClr>
                </a:solidFill>
                <a:effectLst/>
                <a:uLnTx/>
                <a:uFillTx/>
                <a:latin typeface="等线 Light" panose="020F0302020204030204"/>
                <a:ea typeface="+mn-ea"/>
                <a:cs typeface="+mn-cs"/>
              </a:rPr>
              <a:t>Step Two</a:t>
            </a:r>
          </a:p>
        </p:txBody>
      </p:sp>
      <p:sp>
        <p:nvSpPr>
          <p:cNvPr id="5" name="TextBox 19">
            <a:extLst>
              <a:ext uri="{FF2B5EF4-FFF2-40B4-BE49-F238E27FC236}">
                <a16:creationId xmlns:a16="http://schemas.microsoft.com/office/drawing/2014/main" id="{A97713FD-8C43-4C59-A6C9-72D77C4A712C}"/>
              </a:ext>
            </a:extLst>
          </p:cNvPr>
          <p:cNvSpPr txBox="1"/>
          <p:nvPr/>
        </p:nvSpPr>
        <p:spPr>
          <a:xfrm>
            <a:off x="8332293" y="3857476"/>
            <a:ext cx="1667081"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lumMod val="85000"/>
                    <a:lumOff val="15000"/>
                  </a:srgbClr>
                </a:solidFill>
                <a:effectLst/>
                <a:uLnTx/>
                <a:uFillTx/>
                <a:latin typeface="等线 Light" panose="020F0302020204030204"/>
                <a:ea typeface="+mn-ea"/>
                <a:cs typeface="+mn-cs"/>
              </a:rPr>
              <a:t>Step Two</a:t>
            </a:r>
          </a:p>
        </p:txBody>
      </p:sp>
      <p:sp>
        <p:nvSpPr>
          <p:cNvPr id="6" name="TextBox 20">
            <a:extLst>
              <a:ext uri="{FF2B5EF4-FFF2-40B4-BE49-F238E27FC236}">
                <a16:creationId xmlns:a16="http://schemas.microsoft.com/office/drawing/2014/main" id="{CD09D4CF-285F-4524-B558-796C52A6618E}"/>
              </a:ext>
            </a:extLst>
          </p:cNvPr>
          <p:cNvSpPr txBox="1"/>
          <p:nvPr/>
        </p:nvSpPr>
        <p:spPr>
          <a:xfrm>
            <a:off x="8359637" y="5018137"/>
            <a:ext cx="1667081"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lumMod val="85000"/>
                    <a:lumOff val="15000"/>
                  </a:srgbClr>
                </a:solidFill>
                <a:effectLst/>
                <a:uLnTx/>
                <a:uFillTx/>
                <a:latin typeface="等线 Light" panose="020F0302020204030204"/>
                <a:ea typeface="+mn-ea"/>
                <a:cs typeface="+mn-cs"/>
              </a:rPr>
              <a:t>Step Two</a:t>
            </a:r>
          </a:p>
        </p:txBody>
      </p:sp>
      <p:sp>
        <p:nvSpPr>
          <p:cNvPr id="7" name="TextBox 21">
            <a:extLst>
              <a:ext uri="{FF2B5EF4-FFF2-40B4-BE49-F238E27FC236}">
                <a16:creationId xmlns:a16="http://schemas.microsoft.com/office/drawing/2014/main" id="{842C90F1-CAF1-4069-8AA4-3BEB869C7C2D}"/>
              </a:ext>
            </a:extLst>
          </p:cNvPr>
          <p:cNvSpPr txBox="1"/>
          <p:nvPr/>
        </p:nvSpPr>
        <p:spPr>
          <a:xfrm>
            <a:off x="2491506" y="3117562"/>
            <a:ext cx="1667081" cy="307777"/>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lumMod val="85000"/>
                    <a:lumOff val="15000"/>
                  </a:srgbClr>
                </a:solidFill>
                <a:effectLst/>
                <a:uLnTx/>
                <a:uFillTx/>
                <a:latin typeface="等线 Light" panose="020F0302020204030204"/>
                <a:ea typeface="+mn-ea"/>
                <a:cs typeface="+mn-cs"/>
              </a:rPr>
              <a:t>Step Two</a:t>
            </a:r>
          </a:p>
        </p:txBody>
      </p:sp>
      <p:grpSp>
        <p:nvGrpSpPr>
          <p:cNvPr id="8" name="Group 44">
            <a:extLst>
              <a:ext uri="{FF2B5EF4-FFF2-40B4-BE49-F238E27FC236}">
                <a16:creationId xmlns:a16="http://schemas.microsoft.com/office/drawing/2014/main" id="{8E709101-86D3-4DB4-987E-9FD60D7869C2}"/>
              </a:ext>
            </a:extLst>
          </p:cNvPr>
          <p:cNvGrpSpPr/>
          <p:nvPr/>
        </p:nvGrpSpPr>
        <p:grpSpPr>
          <a:xfrm>
            <a:off x="3936912" y="2371358"/>
            <a:ext cx="4318176" cy="4486644"/>
            <a:chOff x="3936912" y="2371356"/>
            <a:chExt cx="4318176" cy="4486644"/>
          </a:xfrm>
        </p:grpSpPr>
        <p:sp>
          <p:nvSpPr>
            <p:cNvPr id="9" name="Freeform 5">
              <a:extLst>
                <a:ext uri="{FF2B5EF4-FFF2-40B4-BE49-F238E27FC236}">
                  <a16:creationId xmlns:a16="http://schemas.microsoft.com/office/drawing/2014/main" id="{EBC0E089-2316-4FF8-9129-C12353ECCD5E}"/>
                </a:ext>
              </a:extLst>
            </p:cNvPr>
            <p:cNvSpPr>
              <a:spLocks/>
            </p:cNvSpPr>
            <p:nvPr/>
          </p:nvSpPr>
          <p:spPr bwMode="auto">
            <a:xfrm>
              <a:off x="4548728" y="3026238"/>
              <a:ext cx="3089478" cy="3831762"/>
            </a:xfrm>
            <a:custGeom>
              <a:avLst/>
              <a:gdLst>
                <a:gd name="T0" fmla="*/ 1340 w 1877"/>
                <a:gd name="T1" fmla="*/ 1235 h 2334"/>
                <a:gd name="T2" fmla="*/ 1362 w 1877"/>
                <a:gd name="T3" fmla="*/ 1072 h 2334"/>
                <a:gd name="T4" fmla="*/ 1621 w 1877"/>
                <a:gd name="T5" fmla="*/ 956 h 2334"/>
                <a:gd name="T6" fmla="*/ 1827 w 1877"/>
                <a:gd name="T7" fmla="*/ 776 h 2334"/>
                <a:gd name="T8" fmla="*/ 1597 w 1877"/>
                <a:gd name="T9" fmla="*/ 891 h 2334"/>
                <a:gd name="T10" fmla="*/ 1407 w 1877"/>
                <a:gd name="T11" fmla="*/ 992 h 2334"/>
                <a:gd name="T12" fmla="*/ 1468 w 1877"/>
                <a:gd name="T13" fmla="*/ 699 h 2334"/>
                <a:gd name="T14" fmla="*/ 1481 w 1877"/>
                <a:gd name="T15" fmla="*/ 341 h 2334"/>
                <a:gd name="T16" fmla="*/ 1418 w 1877"/>
                <a:gd name="T17" fmla="*/ 627 h 2334"/>
                <a:gd name="T18" fmla="*/ 1268 w 1877"/>
                <a:gd name="T19" fmla="*/ 1042 h 2334"/>
                <a:gd name="T20" fmla="*/ 931 w 1877"/>
                <a:gd name="T21" fmla="*/ 1231 h 2334"/>
                <a:gd name="T22" fmla="*/ 995 w 1877"/>
                <a:gd name="T23" fmla="*/ 1051 h 2334"/>
                <a:gd name="T24" fmla="*/ 1098 w 1877"/>
                <a:gd name="T25" fmla="*/ 767 h 2334"/>
                <a:gd name="T26" fmla="*/ 1112 w 1877"/>
                <a:gd name="T27" fmla="*/ 463 h 2334"/>
                <a:gd name="T28" fmla="*/ 1197 w 1877"/>
                <a:gd name="T29" fmla="*/ 330 h 2334"/>
                <a:gd name="T30" fmla="*/ 1291 w 1877"/>
                <a:gd name="T31" fmla="*/ 77 h 2334"/>
                <a:gd name="T32" fmla="*/ 1227 w 1877"/>
                <a:gd name="T33" fmla="*/ 219 h 2334"/>
                <a:gd name="T34" fmla="*/ 1114 w 1877"/>
                <a:gd name="T35" fmla="*/ 355 h 2334"/>
                <a:gd name="T36" fmla="*/ 1014 w 1877"/>
                <a:gd name="T37" fmla="*/ 223 h 2334"/>
                <a:gd name="T38" fmla="*/ 1034 w 1877"/>
                <a:gd name="T39" fmla="*/ 539 h 2334"/>
                <a:gd name="T40" fmla="*/ 953 w 1877"/>
                <a:gd name="T41" fmla="*/ 880 h 2334"/>
                <a:gd name="T42" fmla="*/ 827 w 1877"/>
                <a:gd name="T43" fmla="*/ 836 h 2334"/>
                <a:gd name="T44" fmla="*/ 866 w 1877"/>
                <a:gd name="T45" fmla="*/ 587 h 2334"/>
                <a:gd name="T46" fmla="*/ 867 w 1877"/>
                <a:gd name="T47" fmla="*/ 490 h 2334"/>
                <a:gd name="T48" fmla="*/ 748 w 1877"/>
                <a:gd name="T49" fmla="*/ 482 h 2334"/>
                <a:gd name="T50" fmla="*/ 739 w 1877"/>
                <a:gd name="T51" fmla="*/ 288 h 2334"/>
                <a:gd name="T52" fmla="*/ 712 w 1877"/>
                <a:gd name="T53" fmla="*/ 336 h 2334"/>
                <a:gd name="T54" fmla="*/ 707 w 1877"/>
                <a:gd name="T55" fmla="*/ 476 h 2334"/>
                <a:gd name="T56" fmla="*/ 789 w 1877"/>
                <a:gd name="T57" fmla="*/ 607 h 2334"/>
                <a:gd name="T58" fmla="*/ 561 w 1877"/>
                <a:gd name="T59" fmla="*/ 736 h 2334"/>
                <a:gd name="T60" fmla="*/ 323 w 1877"/>
                <a:gd name="T61" fmla="*/ 395 h 2334"/>
                <a:gd name="T62" fmla="*/ 372 w 1877"/>
                <a:gd name="T63" fmla="*/ 230 h 2334"/>
                <a:gd name="T64" fmla="*/ 200 w 1877"/>
                <a:gd name="T65" fmla="*/ 323 h 2334"/>
                <a:gd name="T66" fmla="*/ 359 w 1877"/>
                <a:gd name="T67" fmla="*/ 559 h 2334"/>
                <a:gd name="T68" fmla="*/ 586 w 1877"/>
                <a:gd name="T69" fmla="*/ 830 h 2334"/>
                <a:gd name="T70" fmla="*/ 656 w 1877"/>
                <a:gd name="T71" fmla="*/ 1280 h 2334"/>
                <a:gd name="T72" fmla="*/ 583 w 1877"/>
                <a:gd name="T73" fmla="*/ 1143 h 2334"/>
                <a:gd name="T74" fmla="*/ 457 w 1877"/>
                <a:gd name="T75" fmla="*/ 936 h 2334"/>
                <a:gd name="T76" fmla="*/ 245 w 1877"/>
                <a:gd name="T77" fmla="*/ 663 h 2334"/>
                <a:gd name="T78" fmla="*/ 406 w 1877"/>
                <a:gd name="T79" fmla="*/ 968 h 2334"/>
                <a:gd name="T80" fmla="*/ 119 w 1877"/>
                <a:gd name="T81" fmla="*/ 993 h 2334"/>
                <a:gd name="T82" fmla="*/ 197 w 1877"/>
                <a:gd name="T83" fmla="*/ 1076 h 2334"/>
                <a:gd name="T84" fmla="*/ 509 w 1877"/>
                <a:gd name="T85" fmla="*/ 1207 h 2334"/>
                <a:gd name="T86" fmla="*/ 547 w 1877"/>
                <a:gd name="T87" fmla="*/ 1314 h 2334"/>
                <a:gd name="T88" fmla="*/ 700 w 1877"/>
                <a:gd name="T89" fmla="*/ 1497 h 2334"/>
                <a:gd name="T90" fmla="*/ 533 w 1877"/>
                <a:gd name="T91" fmla="*/ 1743 h 2334"/>
                <a:gd name="T92" fmla="*/ 388 w 1877"/>
                <a:gd name="T93" fmla="*/ 1681 h 2334"/>
                <a:gd name="T94" fmla="*/ 179 w 1877"/>
                <a:gd name="T95" fmla="*/ 1356 h 2334"/>
                <a:gd name="T96" fmla="*/ 112 w 1877"/>
                <a:gd name="T97" fmla="*/ 1279 h 2334"/>
                <a:gd name="T98" fmla="*/ 308 w 1877"/>
                <a:gd name="T99" fmla="*/ 1705 h 2334"/>
                <a:gd name="T100" fmla="*/ 76 w 1877"/>
                <a:gd name="T101" fmla="*/ 1534 h 2334"/>
                <a:gd name="T102" fmla="*/ 348 w 1877"/>
                <a:gd name="T103" fmla="*/ 1757 h 2334"/>
                <a:gd name="T104" fmla="*/ 584 w 1877"/>
                <a:gd name="T105" fmla="*/ 1845 h 2334"/>
                <a:gd name="T106" fmla="*/ 746 w 1877"/>
                <a:gd name="T107" fmla="*/ 2051 h 2334"/>
                <a:gd name="T108" fmla="*/ 1151 w 1877"/>
                <a:gd name="T109" fmla="*/ 2246 h 2334"/>
                <a:gd name="T110" fmla="*/ 1007 w 1877"/>
                <a:gd name="T111" fmla="*/ 1682 h 2334"/>
                <a:gd name="T112" fmla="*/ 1264 w 1877"/>
                <a:gd name="T113" fmla="*/ 1339 h 2334"/>
                <a:gd name="T114" fmla="*/ 1684 w 1877"/>
                <a:gd name="T115" fmla="*/ 1312 h 2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877" h="2334">
                  <a:moveTo>
                    <a:pt x="1843" y="1256"/>
                  </a:moveTo>
                  <a:cubicBezTo>
                    <a:pt x="1758" y="1243"/>
                    <a:pt x="1673" y="1228"/>
                    <a:pt x="1588" y="1216"/>
                  </a:cubicBezTo>
                  <a:cubicBezTo>
                    <a:pt x="1546" y="1211"/>
                    <a:pt x="1501" y="1201"/>
                    <a:pt x="1458" y="1203"/>
                  </a:cubicBezTo>
                  <a:cubicBezTo>
                    <a:pt x="1415" y="1204"/>
                    <a:pt x="1380" y="1223"/>
                    <a:pt x="1340" y="1235"/>
                  </a:cubicBezTo>
                  <a:cubicBezTo>
                    <a:pt x="1304" y="1246"/>
                    <a:pt x="1268" y="1239"/>
                    <a:pt x="1232" y="1235"/>
                  </a:cubicBezTo>
                  <a:cubicBezTo>
                    <a:pt x="1229" y="1235"/>
                    <a:pt x="1225" y="1235"/>
                    <a:pt x="1221" y="1234"/>
                  </a:cubicBezTo>
                  <a:cubicBezTo>
                    <a:pt x="1245" y="1214"/>
                    <a:pt x="1269" y="1194"/>
                    <a:pt x="1292" y="1173"/>
                  </a:cubicBezTo>
                  <a:cubicBezTo>
                    <a:pt x="1322" y="1145"/>
                    <a:pt x="1344" y="1109"/>
                    <a:pt x="1362" y="1072"/>
                  </a:cubicBezTo>
                  <a:cubicBezTo>
                    <a:pt x="1390" y="1089"/>
                    <a:pt x="1431" y="1093"/>
                    <a:pt x="1458" y="1082"/>
                  </a:cubicBezTo>
                  <a:cubicBezTo>
                    <a:pt x="1484" y="1072"/>
                    <a:pt x="1503" y="1053"/>
                    <a:pt x="1522" y="1035"/>
                  </a:cubicBezTo>
                  <a:cubicBezTo>
                    <a:pt x="1545" y="1013"/>
                    <a:pt x="1569" y="991"/>
                    <a:pt x="1593" y="970"/>
                  </a:cubicBezTo>
                  <a:cubicBezTo>
                    <a:pt x="1602" y="962"/>
                    <a:pt x="1609" y="955"/>
                    <a:pt x="1621" y="956"/>
                  </a:cubicBezTo>
                  <a:cubicBezTo>
                    <a:pt x="1634" y="957"/>
                    <a:pt x="1645" y="963"/>
                    <a:pt x="1658" y="962"/>
                  </a:cubicBezTo>
                  <a:cubicBezTo>
                    <a:pt x="1685" y="960"/>
                    <a:pt x="1705" y="940"/>
                    <a:pt x="1722" y="921"/>
                  </a:cubicBezTo>
                  <a:cubicBezTo>
                    <a:pt x="1756" y="883"/>
                    <a:pt x="1789" y="838"/>
                    <a:pt x="1838" y="818"/>
                  </a:cubicBezTo>
                  <a:cubicBezTo>
                    <a:pt x="1864" y="808"/>
                    <a:pt x="1854" y="768"/>
                    <a:pt x="1827" y="776"/>
                  </a:cubicBezTo>
                  <a:cubicBezTo>
                    <a:pt x="1785" y="789"/>
                    <a:pt x="1749" y="814"/>
                    <a:pt x="1716" y="842"/>
                  </a:cubicBezTo>
                  <a:cubicBezTo>
                    <a:pt x="1699" y="857"/>
                    <a:pt x="1683" y="873"/>
                    <a:pt x="1666" y="888"/>
                  </a:cubicBezTo>
                  <a:cubicBezTo>
                    <a:pt x="1653" y="899"/>
                    <a:pt x="1650" y="895"/>
                    <a:pt x="1634" y="891"/>
                  </a:cubicBezTo>
                  <a:cubicBezTo>
                    <a:pt x="1622" y="888"/>
                    <a:pt x="1609" y="887"/>
                    <a:pt x="1597" y="891"/>
                  </a:cubicBezTo>
                  <a:cubicBezTo>
                    <a:pt x="1573" y="897"/>
                    <a:pt x="1555" y="913"/>
                    <a:pt x="1538" y="929"/>
                  </a:cubicBezTo>
                  <a:cubicBezTo>
                    <a:pt x="1516" y="948"/>
                    <a:pt x="1495" y="967"/>
                    <a:pt x="1473" y="985"/>
                  </a:cubicBezTo>
                  <a:cubicBezTo>
                    <a:pt x="1462" y="995"/>
                    <a:pt x="1442" y="1018"/>
                    <a:pt x="1426" y="1010"/>
                  </a:cubicBezTo>
                  <a:cubicBezTo>
                    <a:pt x="1419" y="1006"/>
                    <a:pt x="1413" y="997"/>
                    <a:pt x="1407" y="992"/>
                  </a:cubicBezTo>
                  <a:cubicBezTo>
                    <a:pt x="1405" y="990"/>
                    <a:pt x="1403" y="989"/>
                    <a:pt x="1401" y="988"/>
                  </a:cubicBezTo>
                  <a:cubicBezTo>
                    <a:pt x="1420" y="948"/>
                    <a:pt x="1437" y="909"/>
                    <a:pt x="1444" y="865"/>
                  </a:cubicBezTo>
                  <a:cubicBezTo>
                    <a:pt x="1448" y="837"/>
                    <a:pt x="1446" y="810"/>
                    <a:pt x="1447" y="782"/>
                  </a:cubicBezTo>
                  <a:cubicBezTo>
                    <a:pt x="1447" y="751"/>
                    <a:pt x="1457" y="727"/>
                    <a:pt x="1468" y="699"/>
                  </a:cubicBezTo>
                  <a:cubicBezTo>
                    <a:pt x="1481" y="668"/>
                    <a:pt x="1484" y="637"/>
                    <a:pt x="1478" y="604"/>
                  </a:cubicBezTo>
                  <a:cubicBezTo>
                    <a:pt x="1472" y="571"/>
                    <a:pt x="1453" y="541"/>
                    <a:pt x="1449" y="508"/>
                  </a:cubicBezTo>
                  <a:cubicBezTo>
                    <a:pt x="1444" y="479"/>
                    <a:pt x="1455" y="450"/>
                    <a:pt x="1464" y="423"/>
                  </a:cubicBezTo>
                  <a:cubicBezTo>
                    <a:pt x="1473" y="395"/>
                    <a:pt x="1478" y="370"/>
                    <a:pt x="1481" y="341"/>
                  </a:cubicBezTo>
                  <a:cubicBezTo>
                    <a:pt x="1483" y="323"/>
                    <a:pt x="1453" y="319"/>
                    <a:pt x="1449" y="337"/>
                  </a:cubicBezTo>
                  <a:cubicBezTo>
                    <a:pt x="1441" y="375"/>
                    <a:pt x="1414" y="410"/>
                    <a:pt x="1401" y="447"/>
                  </a:cubicBezTo>
                  <a:cubicBezTo>
                    <a:pt x="1386" y="486"/>
                    <a:pt x="1389" y="522"/>
                    <a:pt x="1402" y="561"/>
                  </a:cubicBezTo>
                  <a:cubicBezTo>
                    <a:pt x="1409" y="583"/>
                    <a:pt x="1416" y="604"/>
                    <a:pt x="1418" y="627"/>
                  </a:cubicBezTo>
                  <a:cubicBezTo>
                    <a:pt x="1419" y="650"/>
                    <a:pt x="1412" y="669"/>
                    <a:pt x="1403" y="689"/>
                  </a:cubicBezTo>
                  <a:cubicBezTo>
                    <a:pt x="1384" y="732"/>
                    <a:pt x="1380" y="773"/>
                    <a:pt x="1377" y="819"/>
                  </a:cubicBezTo>
                  <a:cubicBezTo>
                    <a:pt x="1374" y="863"/>
                    <a:pt x="1357" y="901"/>
                    <a:pt x="1337" y="940"/>
                  </a:cubicBezTo>
                  <a:cubicBezTo>
                    <a:pt x="1317" y="975"/>
                    <a:pt x="1297" y="1014"/>
                    <a:pt x="1268" y="1042"/>
                  </a:cubicBezTo>
                  <a:cubicBezTo>
                    <a:pt x="1236" y="1073"/>
                    <a:pt x="1199" y="1097"/>
                    <a:pt x="1165" y="1123"/>
                  </a:cubicBezTo>
                  <a:cubicBezTo>
                    <a:pt x="1130" y="1150"/>
                    <a:pt x="1097" y="1184"/>
                    <a:pt x="1057" y="1203"/>
                  </a:cubicBezTo>
                  <a:cubicBezTo>
                    <a:pt x="1040" y="1212"/>
                    <a:pt x="1023" y="1212"/>
                    <a:pt x="1004" y="1213"/>
                  </a:cubicBezTo>
                  <a:cubicBezTo>
                    <a:pt x="978" y="1216"/>
                    <a:pt x="954" y="1219"/>
                    <a:pt x="931" y="1231"/>
                  </a:cubicBezTo>
                  <a:cubicBezTo>
                    <a:pt x="931" y="1224"/>
                    <a:pt x="932" y="1217"/>
                    <a:pt x="933" y="1210"/>
                  </a:cubicBezTo>
                  <a:cubicBezTo>
                    <a:pt x="934" y="1193"/>
                    <a:pt x="935" y="1175"/>
                    <a:pt x="935" y="1158"/>
                  </a:cubicBezTo>
                  <a:cubicBezTo>
                    <a:pt x="951" y="1147"/>
                    <a:pt x="964" y="1132"/>
                    <a:pt x="975" y="1115"/>
                  </a:cubicBezTo>
                  <a:cubicBezTo>
                    <a:pt x="987" y="1095"/>
                    <a:pt x="992" y="1074"/>
                    <a:pt x="995" y="1051"/>
                  </a:cubicBezTo>
                  <a:cubicBezTo>
                    <a:pt x="997" y="1034"/>
                    <a:pt x="995" y="1014"/>
                    <a:pt x="1002" y="997"/>
                  </a:cubicBezTo>
                  <a:cubicBezTo>
                    <a:pt x="1008" y="981"/>
                    <a:pt x="1024" y="966"/>
                    <a:pt x="1034" y="953"/>
                  </a:cubicBezTo>
                  <a:cubicBezTo>
                    <a:pt x="1047" y="935"/>
                    <a:pt x="1057" y="917"/>
                    <a:pt x="1065" y="897"/>
                  </a:cubicBezTo>
                  <a:cubicBezTo>
                    <a:pt x="1081" y="856"/>
                    <a:pt x="1088" y="810"/>
                    <a:pt x="1098" y="767"/>
                  </a:cubicBezTo>
                  <a:cubicBezTo>
                    <a:pt x="1109" y="723"/>
                    <a:pt x="1125" y="676"/>
                    <a:pt x="1124" y="629"/>
                  </a:cubicBezTo>
                  <a:cubicBezTo>
                    <a:pt x="1123" y="609"/>
                    <a:pt x="1118" y="589"/>
                    <a:pt x="1110" y="569"/>
                  </a:cubicBezTo>
                  <a:cubicBezTo>
                    <a:pt x="1103" y="551"/>
                    <a:pt x="1092" y="532"/>
                    <a:pt x="1091" y="512"/>
                  </a:cubicBezTo>
                  <a:cubicBezTo>
                    <a:pt x="1090" y="493"/>
                    <a:pt x="1103" y="478"/>
                    <a:pt x="1112" y="463"/>
                  </a:cubicBezTo>
                  <a:cubicBezTo>
                    <a:pt x="1121" y="447"/>
                    <a:pt x="1127" y="430"/>
                    <a:pt x="1128" y="412"/>
                  </a:cubicBezTo>
                  <a:cubicBezTo>
                    <a:pt x="1129" y="411"/>
                    <a:pt x="1130" y="410"/>
                    <a:pt x="1132" y="409"/>
                  </a:cubicBezTo>
                  <a:cubicBezTo>
                    <a:pt x="1145" y="399"/>
                    <a:pt x="1150" y="382"/>
                    <a:pt x="1159" y="368"/>
                  </a:cubicBezTo>
                  <a:cubicBezTo>
                    <a:pt x="1169" y="353"/>
                    <a:pt x="1180" y="338"/>
                    <a:pt x="1197" y="330"/>
                  </a:cubicBezTo>
                  <a:cubicBezTo>
                    <a:pt x="1225" y="315"/>
                    <a:pt x="1258" y="314"/>
                    <a:pt x="1258" y="273"/>
                  </a:cubicBezTo>
                  <a:cubicBezTo>
                    <a:pt x="1257" y="251"/>
                    <a:pt x="1249" y="236"/>
                    <a:pt x="1261" y="215"/>
                  </a:cubicBezTo>
                  <a:cubicBezTo>
                    <a:pt x="1269" y="201"/>
                    <a:pt x="1281" y="189"/>
                    <a:pt x="1288" y="174"/>
                  </a:cubicBezTo>
                  <a:cubicBezTo>
                    <a:pt x="1304" y="143"/>
                    <a:pt x="1298" y="109"/>
                    <a:pt x="1291" y="77"/>
                  </a:cubicBezTo>
                  <a:cubicBezTo>
                    <a:pt x="1290" y="71"/>
                    <a:pt x="1280" y="72"/>
                    <a:pt x="1280" y="79"/>
                  </a:cubicBezTo>
                  <a:cubicBezTo>
                    <a:pt x="1282" y="99"/>
                    <a:pt x="1284" y="121"/>
                    <a:pt x="1279" y="140"/>
                  </a:cubicBezTo>
                  <a:cubicBezTo>
                    <a:pt x="1274" y="159"/>
                    <a:pt x="1263" y="171"/>
                    <a:pt x="1251" y="185"/>
                  </a:cubicBezTo>
                  <a:cubicBezTo>
                    <a:pt x="1241" y="195"/>
                    <a:pt x="1232" y="206"/>
                    <a:pt x="1227" y="219"/>
                  </a:cubicBezTo>
                  <a:cubicBezTo>
                    <a:pt x="1220" y="235"/>
                    <a:pt x="1225" y="249"/>
                    <a:pt x="1223" y="265"/>
                  </a:cubicBezTo>
                  <a:cubicBezTo>
                    <a:pt x="1220" y="286"/>
                    <a:pt x="1198" y="283"/>
                    <a:pt x="1182" y="290"/>
                  </a:cubicBezTo>
                  <a:cubicBezTo>
                    <a:pt x="1168" y="296"/>
                    <a:pt x="1156" y="305"/>
                    <a:pt x="1145" y="316"/>
                  </a:cubicBezTo>
                  <a:cubicBezTo>
                    <a:pt x="1135" y="326"/>
                    <a:pt x="1123" y="340"/>
                    <a:pt x="1114" y="355"/>
                  </a:cubicBezTo>
                  <a:cubicBezTo>
                    <a:pt x="1104" y="335"/>
                    <a:pt x="1091" y="316"/>
                    <a:pt x="1081" y="296"/>
                  </a:cubicBezTo>
                  <a:cubicBezTo>
                    <a:pt x="1038" y="208"/>
                    <a:pt x="1052" y="110"/>
                    <a:pt x="1081" y="20"/>
                  </a:cubicBezTo>
                  <a:cubicBezTo>
                    <a:pt x="1086" y="6"/>
                    <a:pt x="1066" y="0"/>
                    <a:pt x="1059" y="11"/>
                  </a:cubicBezTo>
                  <a:cubicBezTo>
                    <a:pt x="1015" y="71"/>
                    <a:pt x="1004" y="151"/>
                    <a:pt x="1014" y="223"/>
                  </a:cubicBezTo>
                  <a:cubicBezTo>
                    <a:pt x="1018" y="259"/>
                    <a:pt x="1028" y="295"/>
                    <a:pt x="1042" y="328"/>
                  </a:cubicBezTo>
                  <a:cubicBezTo>
                    <a:pt x="1050" y="347"/>
                    <a:pt x="1061" y="364"/>
                    <a:pt x="1066" y="384"/>
                  </a:cubicBezTo>
                  <a:cubicBezTo>
                    <a:pt x="1073" y="405"/>
                    <a:pt x="1068" y="421"/>
                    <a:pt x="1056" y="439"/>
                  </a:cubicBezTo>
                  <a:cubicBezTo>
                    <a:pt x="1036" y="472"/>
                    <a:pt x="1026" y="501"/>
                    <a:pt x="1034" y="539"/>
                  </a:cubicBezTo>
                  <a:cubicBezTo>
                    <a:pt x="1038" y="557"/>
                    <a:pt x="1045" y="573"/>
                    <a:pt x="1048" y="591"/>
                  </a:cubicBezTo>
                  <a:cubicBezTo>
                    <a:pt x="1052" y="613"/>
                    <a:pt x="1049" y="634"/>
                    <a:pt x="1043" y="656"/>
                  </a:cubicBezTo>
                  <a:cubicBezTo>
                    <a:pt x="1031" y="698"/>
                    <a:pt x="1014" y="740"/>
                    <a:pt x="999" y="781"/>
                  </a:cubicBezTo>
                  <a:cubicBezTo>
                    <a:pt x="986" y="815"/>
                    <a:pt x="975" y="851"/>
                    <a:pt x="953" y="880"/>
                  </a:cubicBezTo>
                  <a:cubicBezTo>
                    <a:pt x="936" y="901"/>
                    <a:pt x="919" y="919"/>
                    <a:pt x="906" y="940"/>
                  </a:cubicBezTo>
                  <a:cubicBezTo>
                    <a:pt x="880" y="942"/>
                    <a:pt x="855" y="950"/>
                    <a:pt x="835" y="970"/>
                  </a:cubicBezTo>
                  <a:cubicBezTo>
                    <a:pt x="830" y="959"/>
                    <a:pt x="825" y="948"/>
                    <a:pt x="819" y="938"/>
                  </a:cubicBezTo>
                  <a:cubicBezTo>
                    <a:pt x="825" y="904"/>
                    <a:pt x="819" y="870"/>
                    <a:pt x="827" y="836"/>
                  </a:cubicBezTo>
                  <a:cubicBezTo>
                    <a:pt x="836" y="803"/>
                    <a:pt x="854" y="775"/>
                    <a:pt x="847" y="739"/>
                  </a:cubicBezTo>
                  <a:cubicBezTo>
                    <a:pt x="844" y="725"/>
                    <a:pt x="836" y="713"/>
                    <a:pt x="831" y="699"/>
                  </a:cubicBezTo>
                  <a:cubicBezTo>
                    <a:pt x="830" y="678"/>
                    <a:pt x="830" y="657"/>
                    <a:pt x="835" y="637"/>
                  </a:cubicBezTo>
                  <a:cubicBezTo>
                    <a:pt x="840" y="616"/>
                    <a:pt x="853" y="603"/>
                    <a:pt x="866" y="587"/>
                  </a:cubicBezTo>
                  <a:cubicBezTo>
                    <a:pt x="882" y="568"/>
                    <a:pt x="891" y="547"/>
                    <a:pt x="901" y="525"/>
                  </a:cubicBezTo>
                  <a:cubicBezTo>
                    <a:pt x="922" y="479"/>
                    <a:pt x="952" y="434"/>
                    <a:pt x="981" y="392"/>
                  </a:cubicBezTo>
                  <a:cubicBezTo>
                    <a:pt x="990" y="379"/>
                    <a:pt x="971" y="365"/>
                    <a:pt x="960" y="376"/>
                  </a:cubicBezTo>
                  <a:cubicBezTo>
                    <a:pt x="926" y="412"/>
                    <a:pt x="892" y="446"/>
                    <a:pt x="867" y="490"/>
                  </a:cubicBezTo>
                  <a:cubicBezTo>
                    <a:pt x="854" y="512"/>
                    <a:pt x="845" y="536"/>
                    <a:pt x="828" y="554"/>
                  </a:cubicBezTo>
                  <a:cubicBezTo>
                    <a:pt x="825" y="558"/>
                    <a:pt x="822" y="561"/>
                    <a:pt x="819" y="564"/>
                  </a:cubicBezTo>
                  <a:cubicBezTo>
                    <a:pt x="817" y="560"/>
                    <a:pt x="814" y="556"/>
                    <a:pt x="811" y="552"/>
                  </a:cubicBezTo>
                  <a:cubicBezTo>
                    <a:pt x="793" y="528"/>
                    <a:pt x="761" y="511"/>
                    <a:pt x="748" y="482"/>
                  </a:cubicBezTo>
                  <a:cubicBezTo>
                    <a:pt x="738" y="458"/>
                    <a:pt x="752" y="449"/>
                    <a:pt x="763" y="431"/>
                  </a:cubicBezTo>
                  <a:cubicBezTo>
                    <a:pt x="770" y="418"/>
                    <a:pt x="772" y="404"/>
                    <a:pt x="768" y="391"/>
                  </a:cubicBezTo>
                  <a:cubicBezTo>
                    <a:pt x="765" y="376"/>
                    <a:pt x="756" y="363"/>
                    <a:pt x="749" y="350"/>
                  </a:cubicBezTo>
                  <a:cubicBezTo>
                    <a:pt x="739" y="330"/>
                    <a:pt x="737" y="310"/>
                    <a:pt x="739" y="288"/>
                  </a:cubicBezTo>
                  <a:cubicBezTo>
                    <a:pt x="743" y="248"/>
                    <a:pt x="749" y="208"/>
                    <a:pt x="753" y="168"/>
                  </a:cubicBezTo>
                  <a:cubicBezTo>
                    <a:pt x="753" y="160"/>
                    <a:pt x="741" y="158"/>
                    <a:pt x="739" y="166"/>
                  </a:cubicBezTo>
                  <a:cubicBezTo>
                    <a:pt x="729" y="205"/>
                    <a:pt x="719" y="244"/>
                    <a:pt x="713" y="284"/>
                  </a:cubicBezTo>
                  <a:cubicBezTo>
                    <a:pt x="710" y="301"/>
                    <a:pt x="709" y="318"/>
                    <a:pt x="712" y="336"/>
                  </a:cubicBezTo>
                  <a:cubicBezTo>
                    <a:pt x="715" y="354"/>
                    <a:pt x="724" y="368"/>
                    <a:pt x="729" y="385"/>
                  </a:cubicBezTo>
                  <a:cubicBezTo>
                    <a:pt x="734" y="398"/>
                    <a:pt x="735" y="405"/>
                    <a:pt x="727" y="418"/>
                  </a:cubicBezTo>
                  <a:cubicBezTo>
                    <a:pt x="723" y="423"/>
                    <a:pt x="718" y="428"/>
                    <a:pt x="714" y="434"/>
                  </a:cubicBezTo>
                  <a:cubicBezTo>
                    <a:pt x="707" y="447"/>
                    <a:pt x="705" y="461"/>
                    <a:pt x="707" y="476"/>
                  </a:cubicBezTo>
                  <a:cubicBezTo>
                    <a:pt x="711" y="507"/>
                    <a:pt x="732" y="530"/>
                    <a:pt x="754" y="551"/>
                  </a:cubicBezTo>
                  <a:cubicBezTo>
                    <a:pt x="766" y="563"/>
                    <a:pt x="781" y="576"/>
                    <a:pt x="786" y="592"/>
                  </a:cubicBezTo>
                  <a:cubicBezTo>
                    <a:pt x="788" y="597"/>
                    <a:pt x="789" y="602"/>
                    <a:pt x="789" y="607"/>
                  </a:cubicBezTo>
                  <a:cubicBezTo>
                    <a:pt x="789" y="607"/>
                    <a:pt x="789" y="607"/>
                    <a:pt x="789" y="607"/>
                  </a:cubicBezTo>
                  <a:cubicBezTo>
                    <a:pt x="767" y="659"/>
                    <a:pt x="779" y="713"/>
                    <a:pt x="782" y="767"/>
                  </a:cubicBezTo>
                  <a:cubicBezTo>
                    <a:pt x="777" y="776"/>
                    <a:pt x="772" y="784"/>
                    <a:pt x="767" y="793"/>
                  </a:cubicBezTo>
                  <a:cubicBezTo>
                    <a:pt x="760" y="808"/>
                    <a:pt x="753" y="825"/>
                    <a:pt x="749" y="842"/>
                  </a:cubicBezTo>
                  <a:cubicBezTo>
                    <a:pt x="699" y="787"/>
                    <a:pt x="637" y="744"/>
                    <a:pt x="561" y="736"/>
                  </a:cubicBezTo>
                  <a:cubicBezTo>
                    <a:pt x="526" y="733"/>
                    <a:pt x="497" y="724"/>
                    <a:pt x="478" y="693"/>
                  </a:cubicBezTo>
                  <a:cubicBezTo>
                    <a:pt x="461" y="664"/>
                    <a:pt x="453" y="632"/>
                    <a:pt x="441" y="601"/>
                  </a:cubicBezTo>
                  <a:cubicBezTo>
                    <a:pt x="427" y="562"/>
                    <a:pt x="407" y="530"/>
                    <a:pt x="382" y="497"/>
                  </a:cubicBezTo>
                  <a:cubicBezTo>
                    <a:pt x="360" y="468"/>
                    <a:pt x="329" y="434"/>
                    <a:pt x="323" y="395"/>
                  </a:cubicBezTo>
                  <a:cubicBezTo>
                    <a:pt x="317" y="349"/>
                    <a:pt x="360" y="306"/>
                    <a:pt x="385" y="272"/>
                  </a:cubicBezTo>
                  <a:cubicBezTo>
                    <a:pt x="418" y="227"/>
                    <a:pt x="451" y="182"/>
                    <a:pt x="484" y="137"/>
                  </a:cubicBezTo>
                  <a:cubicBezTo>
                    <a:pt x="494" y="123"/>
                    <a:pt x="470" y="105"/>
                    <a:pt x="460" y="119"/>
                  </a:cubicBezTo>
                  <a:cubicBezTo>
                    <a:pt x="430" y="156"/>
                    <a:pt x="401" y="193"/>
                    <a:pt x="372" y="230"/>
                  </a:cubicBezTo>
                  <a:cubicBezTo>
                    <a:pt x="346" y="263"/>
                    <a:pt x="315" y="295"/>
                    <a:pt x="297" y="332"/>
                  </a:cubicBezTo>
                  <a:cubicBezTo>
                    <a:pt x="288" y="349"/>
                    <a:pt x="284" y="365"/>
                    <a:pt x="282" y="381"/>
                  </a:cubicBezTo>
                  <a:cubicBezTo>
                    <a:pt x="281" y="380"/>
                    <a:pt x="280" y="379"/>
                    <a:pt x="279" y="378"/>
                  </a:cubicBezTo>
                  <a:cubicBezTo>
                    <a:pt x="254" y="356"/>
                    <a:pt x="228" y="341"/>
                    <a:pt x="200" y="323"/>
                  </a:cubicBezTo>
                  <a:cubicBezTo>
                    <a:pt x="189" y="316"/>
                    <a:pt x="176" y="332"/>
                    <a:pt x="186" y="342"/>
                  </a:cubicBezTo>
                  <a:cubicBezTo>
                    <a:pt x="207" y="361"/>
                    <a:pt x="225" y="385"/>
                    <a:pt x="245" y="407"/>
                  </a:cubicBezTo>
                  <a:cubicBezTo>
                    <a:pt x="265" y="429"/>
                    <a:pt x="284" y="452"/>
                    <a:pt x="302" y="476"/>
                  </a:cubicBezTo>
                  <a:cubicBezTo>
                    <a:pt x="322" y="503"/>
                    <a:pt x="340" y="531"/>
                    <a:pt x="359" y="559"/>
                  </a:cubicBezTo>
                  <a:cubicBezTo>
                    <a:pt x="369" y="576"/>
                    <a:pt x="378" y="594"/>
                    <a:pt x="384" y="613"/>
                  </a:cubicBezTo>
                  <a:cubicBezTo>
                    <a:pt x="394" y="645"/>
                    <a:pt x="401" y="678"/>
                    <a:pt x="414" y="709"/>
                  </a:cubicBezTo>
                  <a:cubicBezTo>
                    <a:pt x="428" y="742"/>
                    <a:pt x="449" y="772"/>
                    <a:pt x="480" y="790"/>
                  </a:cubicBezTo>
                  <a:cubicBezTo>
                    <a:pt x="513" y="810"/>
                    <a:pt x="552" y="813"/>
                    <a:pt x="586" y="830"/>
                  </a:cubicBezTo>
                  <a:cubicBezTo>
                    <a:pt x="650" y="863"/>
                    <a:pt x="706" y="935"/>
                    <a:pt x="735" y="1001"/>
                  </a:cubicBezTo>
                  <a:cubicBezTo>
                    <a:pt x="767" y="1076"/>
                    <a:pt x="758" y="1149"/>
                    <a:pt x="737" y="1227"/>
                  </a:cubicBezTo>
                  <a:cubicBezTo>
                    <a:pt x="730" y="1254"/>
                    <a:pt x="722" y="1281"/>
                    <a:pt x="715" y="1309"/>
                  </a:cubicBezTo>
                  <a:cubicBezTo>
                    <a:pt x="695" y="1301"/>
                    <a:pt x="675" y="1289"/>
                    <a:pt x="656" y="1280"/>
                  </a:cubicBezTo>
                  <a:cubicBezTo>
                    <a:pt x="652" y="1278"/>
                    <a:pt x="648" y="1276"/>
                    <a:pt x="644" y="1274"/>
                  </a:cubicBezTo>
                  <a:cubicBezTo>
                    <a:pt x="634" y="1264"/>
                    <a:pt x="625" y="1254"/>
                    <a:pt x="616" y="1244"/>
                  </a:cubicBezTo>
                  <a:cubicBezTo>
                    <a:pt x="602" y="1228"/>
                    <a:pt x="606" y="1223"/>
                    <a:pt x="605" y="1203"/>
                  </a:cubicBezTo>
                  <a:cubicBezTo>
                    <a:pt x="604" y="1181"/>
                    <a:pt x="593" y="1162"/>
                    <a:pt x="583" y="1143"/>
                  </a:cubicBezTo>
                  <a:cubicBezTo>
                    <a:pt x="562" y="1107"/>
                    <a:pt x="537" y="1073"/>
                    <a:pt x="508" y="1043"/>
                  </a:cubicBezTo>
                  <a:cubicBezTo>
                    <a:pt x="500" y="1035"/>
                    <a:pt x="492" y="1026"/>
                    <a:pt x="483" y="1018"/>
                  </a:cubicBezTo>
                  <a:cubicBezTo>
                    <a:pt x="480" y="1011"/>
                    <a:pt x="477" y="1005"/>
                    <a:pt x="475" y="998"/>
                  </a:cubicBezTo>
                  <a:cubicBezTo>
                    <a:pt x="469" y="978"/>
                    <a:pt x="462" y="957"/>
                    <a:pt x="457" y="936"/>
                  </a:cubicBezTo>
                  <a:cubicBezTo>
                    <a:pt x="449" y="896"/>
                    <a:pt x="452" y="855"/>
                    <a:pt x="438" y="816"/>
                  </a:cubicBezTo>
                  <a:cubicBezTo>
                    <a:pt x="426" y="780"/>
                    <a:pt x="402" y="754"/>
                    <a:pt x="369" y="736"/>
                  </a:cubicBezTo>
                  <a:cubicBezTo>
                    <a:pt x="329" y="713"/>
                    <a:pt x="290" y="690"/>
                    <a:pt x="263" y="653"/>
                  </a:cubicBezTo>
                  <a:cubicBezTo>
                    <a:pt x="255" y="643"/>
                    <a:pt x="239" y="652"/>
                    <a:pt x="245" y="663"/>
                  </a:cubicBezTo>
                  <a:cubicBezTo>
                    <a:pt x="264" y="698"/>
                    <a:pt x="286" y="729"/>
                    <a:pt x="317" y="753"/>
                  </a:cubicBezTo>
                  <a:cubicBezTo>
                    <a:pt x="353" y="780"/>
                    <a:pt x="386" y="795"/>
                    <a:pt x="397" y="843"/>
                  </a:cubicBezTo>
                  <a:cubicBezTo>
                    <a:pt x="406" y="883"/>
                    <a:pt x="403" y="925"/>
                    <a:pt x="406" y="966"/>
                  </a:cubicBezTo>
                  <a:cubicBezTo>
                    <a:pt x="406" y="967"/>
                    <a:pt x="406" y="967"/>
                    <a:pt x="406" y="968"/>
                  </a:cubicBezTo>
                  <a:cubicBezTo>
                    <a:pt x="363" y="956"/>
                    <a:pt x="323" y="975"/>
                    <a:pt x="285" y="993"/>
                  </a:cubicBezTo>
                  <a:cubicBezTo>
                    <a:pt x="267" y="1002"/>
                    <a:pt x="248" y="1014"/>
                    <a:pt x="228" y="1016"/>
                  </a:cubicBezTo>
                  <a:cubicBezTo>
                    <a:pt x="207" y="1019"/>
                    <a:pt x="192" y="1005"/>
                    <a:pt x="174" y="999"/>
                  </a:cubicBezTo>
                  <a:cubicBezTo>
                    <a:pt x="156" y="993"/>
                    <a:pt x="137" y="992"/>
                    <a:pt x="119" y="993"/>
                  </a:cubicBezTo>
                  <a:cubicBezTo>
                    <a:pt x="97" y="995"/>
                    <a:pt x="73" y="1002"/>
                    <a:pt x="53" y="993"/>
                  </a:cubicBezTo>
                  <a:cubicBezTo>
                    <a:pt x="25" y="980"/>
                    <a:pt x="0" y="1019"/>
                    <a:pt x="28" y="1035"/>
                  </a:cubicBezTo>
                  <a:cubicBezTo>
                    <a:pt x="66" y="1056"/>
                    <a:pt x="103" y="1044"/>
                    <a:pt x="143" y="1052"/>
                  </a:cubicBezTo>
                  <a:cubicBezTo>
                    <a:pt x="162" y="1056"/>
                    <a:pt x="178" y="1070"/>
                    <a:pt x="197" y="1076"/>
                  </a:cubicBezTo>
                  <a:cubicBezTo>
                    <a:pt x="214" y="1081"/>
                    <a:pt x="234" y="1082"/>
                    <a:pt x="252" y="1080"/>
                  </a:cubicBezTo>
                  <a:cubicBezTo>
                    <a:pt x="291" y="1075"/>
                    <a:pt x="326" y="1052"/>
                    <a:pt x="364" y="1049"/>
                  </a:cubicBezTo>
                  <a:cubicBezTo>
                    <a:pt x="396" y="1046"/>
                    <a:pt x="430" y="1093"/>
                    <a:pt x="448" y="1115"/>
                  </a:cubicBezTo>
                  <a:cubicBezTo>
                    <a:pt x="470" y="1140"/>
                    <a:pt x="498" y="1175"/>
                    <a:pt x="509" y="1207"/>
                  </a:cubicBezTo>
                  <a:cubicBezTo>
                    <a:pt x="509" y="1208"/>
                    <a:pt x="508" y="1210"/>
                    <a:pt x="508" y="1211"/>
                  </a:cubicBezTo>
                  <a:cubicBezTo>
                    <a:pt x="508" y="1215"/>
                    <a:pt x="507" y="1220"/>
                    <a:pt x="507" y="1225"/>
                  </a:cubicBezTo>
                  <a:cubicBezTo>
                    <a:pt x="506" y="1236"/>
                    <a:pt x="508" y="1249"/>
                    <a:pt x="512" y="1260"/>
                  </a:cubicBezTo>
                  <a:cubicBezTo>
                    <a:pt x="520" y="1280"/>
                    <a:pt x="532" y="1297"/>
                    <a:pt x="547" y="1314"/>
                  </a:cubicBezTo>
                  <a:cubicBezTo>
                    <a:pt x="576" y="1348"/>
                    <a:pt x="609" y="1379"/>
                    <a:pt x="641" y="1411"/>
                  </a:cubicBezTo>
                  <a:cubicBezTo>
                    <a:pt x="657" y="1427"/>
                    <a:pt x="674" y="1442"/>
                    <a:pt x="691" y="1458"/>
                  </a:cubicBezTo>
                  <a:cubicBezTo>
                    <a:pt x="693" y="1460"/>
                    <a:pt x="696" y="1463"/>
                    <a:pt x="699" y="1466"/>
                  </a:cubicBezTo>
                  <a:cubicBezTo>
                    <a:pt x="699" y="1476"/>
                    <a:pt x="699" y="1487"/>
                    <a:pt x="700" y="1497"/>
                  </a:cubicBezTo>
                  <a:cubicBezTo>
                    <a:pt x="703" y="1545"/>
                    <a:pt x="708" y="1592"/>
                    <a:pt x="706" y="1640"/>
                  </a:cubicBezTo>
                  <a:cubicBezTo>
                    <a:pt x="705" y="1678"/>
                    <a:pt x="697" y="1715"/>
                    <a:pt x="690" y="1753"/>
                  </a:cubicBezTo>
                  <a:cubicBezTo>
                    <a:pt x="659" y="1729"/>
                    <a:pt x="626" y="1716"/>
                    <a:pt x="585" y="1724"/>
                  </a:cubicBezTo>
                  <a:cubicBezTo>
                    <a:pt x="566" y="1728"/>
                    <a:pt x="550" y="1737"/>
                    <a:pt x="533" y="1743"/>
                  </a:cubicBezTo>
                  <a:cubicBezTo>
                    <a:pt x="523" y="1747"/>
                    <a:pt x="521" y="1749"/>
                    <a:pt x="514" y="1747"/>
                  </a:cubicBezTo>
                  <a:cubicBezTo>
                    <a:pt x="501" y="1741"/>
                    <a:pt x="491" y="1727"/>
                    <a:pt x="479" y="1719"/>
                  </a:cubicBezTo>
                  <a:cubicBezTo>
                    <a:pt x="464" y="1708"/>
                    <a:pt x="445" y="1701"/>
                    <a:pt x="427" y="1697"/>
                  </a:cubicBezTo>
                  <a:cubicBezTo>
                    <a:pt x="413" y="1693"/>
                    <a:pt x="399" y="1691"/>
                    <a:pt x="388" y="1681"/>
                  </a:cubicBezTo>
                  <a:cubicBezTo>
                    <a:pt x="377" y="1670"/>
                    <a:pt x="368" y="1654"/>
                    <a:pt x="359" y="1642"/>
                  </a:cubicBezTo>
                  <a:cubicBezTo>
                    <a:pt x="335" y="1610"/>
                    <a:pt x="304" y="1586"/>
                    <a:pt x="275" y="1560"/>
                  </a:cubicBezTo>
                  <a:cubicBezTo>
                    <a:pt x="244" y="1534"/>
                    <a:pt x="223" y="1504"/>
                    <a:pt x="209" y="1466"/>
                  </a:cubicBezTo>
                  <a:cubicBezTo>
                    <a:pt x="197" y="1430"/>
                    <a:pt x="188" y="1393"/>
                    <a:pt x="179" y="1356"/>
                  </a:cubicBezTo>
                  <a:cubicBezTo>
                    <a:pt x="167" y="1310"/>
                    <a:pt x="164" y="1261"/>
                    <a:pt x="151" y="1216"/>
                  </a:cubicBezTo>
                  <a:cubicBezTo>
                    <a:pt x="140" y="1181"/>
                    <a:pt x="118" y="1150"/>
                    <a:pt x="81" y="1141"/>
                  </a:cubicBezTo>
                  <a:cubicBezTo>
                    <a:pt x="55" y="1135"/>
                    <a:pt x="45" y="1172"/>
                    <a:pt x="70" y="1180"/>
                  </a:cubicBezTo>
                  <a:cubicBezTo>
                    <a:pt x="108" y="1192"/>
                    <a:pt x="107" y="1247"/>
                    <a:pt x="112" y="1279"/>
                  </a:cubicBezTo>
                  <a:cubicBezTo>
                    <a:pt x="118" y="1319"/>
                    <a:pt x="127" y="1358"/>
                    <a:pt x="137" y="1398"/>
                  </a:cubicBezTo>
                  <a:cubicBezTo>
                    <a:pt x="154" y="1467"/>
                    <a:pt x="174" y="1541"/>
                    <a:pt x="218" y="1599"/>
                  </a:cubicBezTo>
                  <a:cubicBezTo>
                    <a:pt x="240" y="1627"/>
                    <a:pt x="269" y="1649"/>
                    <a:pt x="290" y="1678"/>
                  </a:cubicBezTo>
                  <a:cubicBezTo>
                    <a:pt x="296" y="1687"/>
                    <a:pt x="302" y="1696"/>
                    <a:pt x="308" y="1705"/>
                  </a:cubicBezTo>
                  <a:cubicBezTo>
                    <a:pt x="286" y="1710"/>
                    <a:pt x="264" y="1711"/>
                    <a:pt x="241" y="1702"/>
                  </a:cubicBezTo>
                  <a:cubicBezTo>
                    <a:pt x="228" y="1696"/>
                    <a:pt x="207" y="1687"/>
                    <a:pt x="200" y="1674"/>
                  </a:cubicBezTo>
                  <a:cubicBezTo>
                    <a:pt x="194" y="1664"/>
                    <a:pt x="195" y="1647"/>
                    <a:pt x="191" y="1636"/>
                  </a:cubicBezTo>
                  <a:cubicBezTo>
                    <a:pt x="172" y="1585"/>
                    <a:pt x="129" y="1546"/>
                    <a:pt x="76" y="1534"/>
                  </a:cubicBezTo>
                  <a:cubicBezTo>
                    <a:pt x="51" y="1528"/>
                    <a:pt x="42" y="1564"/>
                    <a:pt x="66" y="1571"/>
                  </a:cubicBezTo>
                  <a:cubicBezTo>
                    <a:pt x="97" y="1582"/>
                    <a:pt x="123" y="1605"/>
                    <a:pt x="136" y="1635"/>
                  </a:cubicBezTo>
                  <a:cubicBezTo>
                    <a:pt x="149" y="1663"/>
                    <a:pt x="144" y="1694"/>
                    <a:pt x="167" y="1717"/>
                  </a:cubicBezTo>
                  <a:cubicBezTo>
                    <a:pt x="212" y="1761"/>
                    <a:pt x="289" y="1790"/>
                    <a:pt x="348" y="1757"/>
                  </a:cubicBezTo>
                  <a:cubicBezTo>
                    <a:pt x="349" y="1758"/>
                    <a:pt x="350" y="1759"/>
                    <a:pt x="351" y="1761"/>
                  </a:cubicBezTo>
                  <a:cubicBezTo>
                    <a:pt x="377" y="1782"/>
                    <a:pt x="410" y="1783"/>
                    <a:pt x="433" y="1808"/>
                  </a:cubicBezTo>
                  <a:cubicBezTo>
                    <a:pt x="458" y="1836"/>
                    <a:pt x="483" y="1858"/>
                    <a:pt x="523" y="1858"/>
                  </a:cubicBezTo>
                  <a:cubicBezTo>
                    <a:pt x="545" y="1858"/>
                    <a:pt x="564" y="1852"/>
                    <a:pt x="584" y="1845"/>
                  </a:cubicBezTo>
                  <a:cubicBezTo>
                    <a:pt x="589" y="1844"/>
                    <a:pt x="599" y="1840"/>
                    <a:pt x="603" y="1840"/>
                  </a:cubicBezTo>
                  <a:cubicBezTo>
                    <a:pt x="604" y="1840"/>
                    <a:pt x="606" y="1841"/>
                    <a:pt x="608" y="1842"/>
                  </a:cubicBezTo>
                  <a:cubicBezTo>
                    <a:pt x="636" y="1863"/>
                    <a:pt x="662" y="1904"/>
                    <a:pt x="696" y="1924"/>
                  </a:cubicBezTo>
                  <a:cubicBezTo>
                    <a:pt x="709" y="1968"/>
                    <a:pt x="730" y="2008"/>
                    <a:pt x="746" y="2051"/>
                  </a:cubicBezTo>
                  <a:cubicBezTo>
                    <a:pt x="776" y="2129"/>
                    <a:pt x="777" y="2212"/>
                    <a:pt x="718" y="2277"/>
                  </a:cubicBezTo>
                  <a:cubicBezTo>
                    <a:pt x="704" y="2293"/>
                    <a:pt x="699" y="2315"/>
                    <a:pt x="705" y="2334"/>
                  </a:cubicBezTo>
                  <a:cubicBezTo>
                    <a:pt x="1143" y="2334"/>
                    <a:pt x="1143" y="2334"/>
                    <a:pt x="1143" y="2334"/>
                  </a:cubicBezTo>
                  <a:cubicBezTo>
                    <a:pt x="1151" y="2306"/>
                    <a:pt x="1150" y="2271"/>
                    <a:pt x="1151" y="2246"/>
                  </a:cubicBezTo>
                  <a:cubicBezTo>
                    <a:pt x="1153" y="2198"/>
                    <a:pt x="1153" y="2150"/>
                    <a:pt x="1148" y="2102"/>
                  </a:cubicBezTo>
                  <a:cubicBezTo>
                    <a:pt x="1142" y="2053"/>
                    <a:pt x="1133" y="2006"/>
                    <a:pt x="1114" y="1960"/>
                  </a:cubicBezTo>
                  <a:cubicBezTo>
                    <a:pt x="1096" y="1914"/>
                    <a:pt x="1064" y="1875"/>
                    <a:pt x="1044" y="1829"/>
                  </a:cubicBezTo>
                  <a:cubicBezTo>
                    <a:pt x="1024" y="1784"/>
                    <a:pt x="1014" y="1730"/>
                    <a:pt x="1007" y="1682"/>
                  </a:cubicBezTo>
                  <a:cubicBezTo>
                    <a:pt x="999" y="1635"/>
                    <a:pt x="1000" y="1589"/>
                    <a:pt x="1017" y="1544"/>
                  </a:cubicBezTo>
                  <a:cubicBezTo>
                    <a:pt x="1034" y="1499"/>
                    <a:pt x="1064" y="1460"/>
                    <a:pt x="1094" y="1424"/>
                  </a:cubicBezTo>
                  <a:cubicBezTo>
                    <a:pt x="1123" y="1390"/>
                    <a:pt x="1152" y="1360"/>
                    <a:pt x="1186" y="1333"/>
                  </a:cubicBezTo>
                  <a:cubicBezTo>
                    <a:pt x="1212" y="1331"/>
                    <a:pt x="1238" y="1336"/>
                    <a:pt x="1264" y="1339"/>
                  </a:cubicBezTo>
                  <a:cubicBezTo>
                    <a:pt x="1311" y="1344"/>
                    <a:pt x="1352" y="1338"/>
                    <a:pt x="1396" y="1321"/>
                  </a:cubicBezTo>
                  <a:cubicBezTo>
                    <a:pt x="1418" y="1313"/>
                    <a:pt x="1440" y="1304"/>
                    <a:pt x="1463" y="1302"/>
                  </a:cubicBezTo>
                  <a:cubicBezTo>
                    <a:pt x="1486" y="1300"/>
                    <a:pt x="1510" y="1302"/>
                    <a:pt x="1533" y="1304"/>
                  </a:cubicBezTo>
                  <a:cubicBezTo>
                    <a:pt x="1583" y="1307"/>
                    <a:pt x="1633" y="1310"/>
                    <a:pt x="1684" y="1312"/>
                  </a:cubicBezTo>
                  <a:cubicBezTo>
                    <a:pt x="1734" y="1315"/>
                    <a:pt x="1784" y="1313"/>
                    <a:pt x="1835" y="1315"/>
                  </a:cubicBezTo>
                  <a:cubicBezTo>
                    <a:pt x="1868" y="1317"/>
                    <a:pt x="1877" y="1262"/>
                    <a:pt x="1843" y="1256"/>
                  </a:cubicBezTo>
                  <a:close/>
                </a:path>
              </a:pathLst>
            </a:custGeom>
            <a:solidFill>
              <a:schemeClr val="accent3">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grpSp>
          <p:nvGrpSpPr>
            <p:cNvPr id="10" name="Group 33">
              <a:extLst>
                <a:ext uri="{FF2B5EF4-FFF2-40B4-BE49-F238E27FC236}">
                  <a16:creationId xmlns:a16="http://schemas.microsoft.com/office/drawing/2014/main" id="{A8E56787-47CE-4EB2-8A03-B867A790FCFB}"/>
                </a:ext>
              </a:extLst>
            </p:cNvPr>
            <p:cNvGrpSpPr/>
            <p:nvPr/>
          </p:nvGrpSpPr>
          <p:grpSpPr>
            <a:xfrm>
              <a:off x="3936912" y="4011729"/>
              <a:ext cx="952557" cy="950023"/>
              <a:chOff x="3936912" y="4011729"/>
              <a:chExt cx="952557" cy="950023"/>
            </a:xfrm>
          </p:grpSpPr>
          <p:sp>
            <p:nvSpPr>
              <p:cNvPr id="61" name="Oval 9">
                <a:extLst>
                  <a:ext uri="{FF2B5EF4-FFF2-40B4-BE49-F238E27FC236}">
                    <a16:creationId xmlns:a16="http://schemas.microsoft.com/office/drawing/2014/main" id="{BECC5C72-FC93-4AA0-B1EE-1060EB5222B6}"/>
                  </a:ext>
                </a:extLst>
              </p:cNvPr>
              <p:cNvSpPr>
                <a:spLocks noChangeArrowheads="1"/>
              </p:cNvSpPr>
              <p:nvPr/>
            </p:nvSpPr>
            <p:spPr bwMode="auto">
              <a:xfrm>
                <a:off x="3936912" y="4011729"/>
                <a:ext cx="952557" cy="95002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grpSp>
            <p:nvGrpSpPr>
              <p:cNvPr id="62" name="Group 185">
                <a:extLst>
                  <a:ext uri="{FF2B5EF4-FFF2-40B4-BE49-F238E27FC236}">
                    <a16:creationId xmlns:a16="http://schemas.microsoft.com/office/drawing/2014/main" id="{E0E2E304-806F-47A7-9F95-D066612BAF61}"/>
                  </a:ext>
                </a:extLst>
              </p:cNvPr>
              <p:cNvGrpSpPr>
                <a:grpSpLocks noChangeAspect="1"/>
              </p:cNvGrpSpPr>
              <p:nvPr/>
            </p:nvGrpSpPr>
            <p:grpSpPr bwMode="auto">
              <a:xfrm>
                <a:off x="4236433" y="4336309"/>
                <a:ext cx="353515" cy="300862"/>
                <a:chOff x="3912" y="2397"/>
                <a:chExt cx="3122" cy="2657"/>
              </a:xfrm>
              <a:solidFill>
                <a:schemeClr val="bg1"/>
              </a:solidFill>
            </p:grpSpPr>
            <p:sp>
              <p:nvSpPr>
                <p:cNvPr id="63" name="Freeform 187">
                  <a:extLst>
                    <a:ext uri="{FF2B5EF4-FFF2-40B4-BE49-F238E27FC236}">
                      <a16:creationId xmlns:a16="http://schemas.microsoft.com/office/drawing/2014/main" id="{76705F53-43E9-4918-9B64-5D1BFAB84A71}"/>
                    </a:ext>
                  </a:extLst>
                </p:cNvPr>
                <p:cNvSpPr>
                  <a:spLocks/>
                </p:cNvSpPr>
                <p:nvPr/>
              </p:nvSpPr>
              <p:spPr bwMode="auto">
                <a:xfrm>
                  <a:off x="5780" y="2397"/>
                  <a:ext cx="552" cy="325"/>
                </a:xfrm>
                <a:custGeom>
                  <a:avLst/>
                  <a:gdLst>
                    <a:gd name="T0" fmla="*/ 563 w 1105"/>
                    <a:gd name="T1" fmla="*/ 0 h 650"/>
                    <a:gd name="T2" fmla="*/ 637 w 1105"/>
                    <a:gd name="T3" fmla="*/ 4 h 650"/>
                    <a:gd name="T4" fmla="*/ 709 w 1105"/>
                    <a:gd name="T5" fmla="*/ 16 h 650"/>
                    <a:gd name="T6" fmla="*/ 777 w 1105"/>
                    <a:gd name="T7" fmla="*/ 35 h 650"/>
                    <a:gd name="T8" fmla="*/ 841 w 1105"/>
                    <a:gd name="T9" fmla="*/ 59 h 650"/>
                    <a:gd name="T10" fmla="*/ 900 w 1105"/>
                    <a:gd name="T11" fmla="*/ 90 h 650"/>
                    <a:gd name="T12" fmla="*/ 951 w 1105"/>
                    <a:gd name="T13" fmla="*/ 127 h 650"/>
                    <a:gd name="T14" fmla="*/ 997 w 1105"/>
                    <a:gd name="T15" fmla="*/ 167 h 650"/>
                    <a:gd name="T16" fmla="*/ 1033 w 1105"/>
                    <a:gd name="T17" fmla="*/ 213 h 650"/>
                    <a:gd name="T18" fmla="*/ 1061 w 1105"/>
                    <a:gd name="T19" fmla="*/ 262 h 650"/>
                    <a:gd name="T20" fmla="*/ 1080 w 1105"/>
                    <a:gd name="T21" fmla="*/ 315 h 650"/>
                    <a:gd name="T22" fmla="*/ 1089 w 1105"/>
                    <a:gd name="T23" fmla="*/ 370 h 650"/>
                    <a:gd name="T24" fmla="*/ 1105 w 1105"/>
                    <a:gd name="T25" fmla="*/ 493 h 650"/>
                    <a:gd name="T26" fmla="*/ 1103 w 1105"/>
                    <a:gd name="T27" fmla="*/ 518 h 650"/>
                    <a:gd name="T28" fmla="*/ 1093 w 1105"/>
                    <a:gd name="T29" fmla="*/ 539 h 650"/>
                    <a:gd name="T30" fmla="*/ 1074 w 1105"/>
                    <a:gd name="T31" fmla="*/ 554 h 650"/>
                    <a:gd name="T32" fmla="*/ 1053 w 1105"/>
                    <a:gd name="T33" fmla="*/ 563 h 650"/>
                    <a:gd name="T34" fmla="*/ 1027 w 1105"/>
                    <a:gd name="T35" fmla="*/ 561 h 650"/>
                    <a:gd name="T36" fmla="*/ 919 w 1105"/>
                    <a:gd name="T37" fmla="*/ 539 h 650"/>
                    <a:gd name="T38" fmla="*/ 807 w 1105"/>
                    <a:gd name="T39" fmla="*/ 525 h 650"/>
                    <a:gd name="T40" fmla="*/ 692 w 1105"/>
                    <a:gd name="T41" fmla="*/ 520 h 650"/>
                    <a:gd name="T42" fmla="*/ 568 w 1105"/>
                    <a:gd name="T43" fmla="*/ 525 h 650"/>
                    <a:gd name="T44" fmla="*/ 447 w 1105"/>
                    <a:gd name="T45" fmla="*/ 541 h 650"/>
                    <a:gd name="T46" fmla="*/ 328 w 1105"/>
                    <a:gd name="T47" fmla="*/ 567 h 650"/>
                    <a:gd name="T48" fmla="*/ 212 w 1105"/>
                    <a:gd name="T49" fmla="*/ 601 h 650"/>
                    <a:gd name="T50" fmla="*/ 100 w 1105"/>
                    <a:gd name="T51" fmla="*/ 647 h 650"/>
                    <a:gd name="T52" fmla="*/ 76 w 1105"/>
                    <a:gd name="T53" fmla="*/ 650 h 650"/>
                    <a:gd name="T54" fmla="*/ 53 w 1105"/>
                    <a:gd name="T55" fmla="*/ 647 h 650"/>
                    <a:gd name="T56" fmla="*/ 34 w 1105"/>
                    <a:gd name="T57" fmla="*/ 635 h 650"/>
                    <a:gd name="T58" fmla="*/ 19 w 1105"/>
                    <a:gd name="T59" fmla="*/ 616 h 650"/>
                    <a:gd name="T60" fmla="*/ 11 w 1105"/>
                    <a:gd name="T61" fmla="*/ 592 h 650"/>
                    <a:gd name="T62" fmla="*/ 0 w 1105"/>
                    <a:gd name="T63" fmla="*/ 387 h 650"/>
                    <a:gd name="T64" fmla="*/ 6 w 1105"/>
                    <a:gd name="T65" fmla="*/ 334 h 650"/>
                    <a:gd name="T66" fmla="*/ 21 w 1105"/>
                    <a:gd name="T67" fmla="*/ 283 h 650"/>
                    <a:gd name="T68" fmla="*/ 47 w 1105"/>
                    <a:gd name="T69" fmla="*/ 235 h 650"/>
                    <a:gd name="T70" fmla="*/ 82 w 1105"/>
                    <a:gd name="T71" fmla="*/ 192 h 650"/>
                    <a:gd name="T72" fmla="*/ 123 w 1105"/>
                    <a:gd name="T73" fmla="*/ 150 h 650"/>
                    <a:gd name="T74" fmla="*/ 172 w 1105"/>
                    <a:gd name="T75" fmla="*/ 112 h 650"/>
                    <a:gd name="T76" fmla="*/ 227 w 1105"/>
                    <a:gd name="T77" fmla="*/ 80 h 650"/>
                    <a:gd name="T78" fmla="*/ 288 w 1105"/>
                    <a:gd name="T79" fmla="*/ 52 h 650"/>
                    <a:gd name="T80" fmla="*/ 352 w 1105"/>
                    <a:gd name="T81" fmla="*/ 31 h 650"/>
                    <a:gd name="T82" fmla="*/ 421 w 1105"/>
                    <a:gd name="T83" fmla="*/ 14 h 650"/>
                    <a:gd name="T84" fmla="*/ 491 w 1105"/>
                    <a:gd name="T85" fmla="*/ 2 h 650"/>
                    <a:gd name="T86" fmla="*/ 563 w 1105"/>
                    <a:gd name="T87" fmla="*/ 0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105" h="650">
                      <a:moveTo>
                        <a:pt x="563" y="0"/>
                      </a:moveTo>
                      <a:lnTo>
                        <a:pt x="637" y="4"/>
                      </a:lnTo>
                      <a:lnTo>
                        <a:pt x="709" y="16"/>
                      </a:lnTo>
                      <a:lnTo>
                        <a:pt x="777" y="35"/>
                      </a:lnTo>
                      <a:lnTo>
                        <a:pt x="841" y="59"/>
                      </a:lnTo>
                      <a:lnTo>
                        <a:pt x="900" y="90"/>
                      </a:lnTo>
                      <a:lnTo>
                        <a:pt x="951" y="127"/>
                      </a:lnTo>
                      <a:lnTo>
                        <a:pt x="997" y="167"/>
                      </a:lnTo>
                      <a:lnTo>
                        <a:pt x="1033" y="213"/>
                      </a:lnTo>
                      <a:lnTo>
                        <a:pt x="1061" y="262"/>
                      </a:lnTo>
                      <a:lnTo>
                        <a:pt x="1080" y="315"/>
                      </a:lnTo>
                      <a:lnTo>
                        <a:pt x="1089" y="370"/>
                      </a:lnTo>
                      <a:lnTo>
                        <a:pt x="1105" y="493"/>
                      </a:lnTo>
                      <a:lnTo>
                        <a:pt x="1103" y="518"/>
                      </a:lnTo>
                      <a:lnTo>
                        <a:pt x="1093" y="539"/>
                      </a:lnTo>
                      <a:lnTo>
                        <a:pt x="1074" y="554"/>
                      </a:lnTo>
                      <a:lnTo>
                        <a:pt x="1053" y="563"/>
                      </a:lnTo>
                      <a:lnTo>
                        <a:pt x="1027" y="561"/>
                      </a:lnTo>
                      <a:lnTo>
                        <a:pt x="919" y="539"/>
                      </a:lnTo>
                      <a:lnTo>
                        <a:pt x="807" y="525"/>
                      </a:lnTo>
                      <a:lnTo>
                        <a:pt x="692" y="520"/>
                      </a:lnTo>
                      <a:lnTo>
                        <a:pt x="568" y="525"/>
                      </a:lnTo>
                      <a:lnTo>
                        <a:pt x="447" y="541"/>
                      </a:lnTo>
                      <a:lnTo>
                        <a:pt x="328" y="567"/>
                      </a:lnTo>
                      <a:lnTo>
                        <a:pt x="212" y="601"/>
                      </a:lnTo>
                      <a:lnTo>
                        <a:pt x="100" y="647"/>
                      </a:lnTo>
                      <a:lnTo>
                        <a:pt x="76" y="650"/>
                      </a:lnTo>
                      <a:lnTo>
                        <a:pt x="53" y="647"/>
                      </a:lnTo>
                      <a:lnTo>
                        <a:pt x="34" y="635"/>
                      </a:lnTo>
                      <a:lnTo>
                        <a:pt x="19" y="616"/>
                      </a:lnTo>
                      <a:lnTo>
                        <a:pt x="11" y="592"/>
                      </a:lnTo>
                      <a:lnTo>
                        <a:pt x="0" y="387"/>
                      </a:lnTo>
                      <a:lnTo>
                        <a:pt x="6" y="334"/>
                      </a:lnTo>
                      <a:lnTo>
                        <a:pt x="21" y="283"/>
                      </a:lnTo>
                      <a:lnTo>
                        <a:pt x="47" y="235"/>
                      </a:lnTo>
                      <a:lnTo>
                        <a:pt x="82" y="192"/>
                      </a:lnTo>
                      <a:lnTo>
                        <a:pt x="123" y="150"/>
                      </a:lnTo>
                      <a:lnTo>
                        <a:pt x="172" y="112"/>
                      </a:lnTo>
                      <a:lnTo>
                        <a:pt x="227" y="80"/>
                      </a:lnTo>
                      <a:lnTo>
                        <a:pt x="288" y="52"/>
                      </a:lnTo>
                      <a:lnTo>
                        <a:pt x="352" y="31"/>
                      </a:lnTo>
                      <a:lnTo>
                        <a:pt x="421" y="14"/>
                      </a:lnTo>
                      <a:lnTo>
                        <a:pt x="491" y="2"/>
                      </a:lnTo>
                      <a:lnTo>
                        <a:pt x="56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64" name="Freeform 188">
                  <a:extLst>
                    <a:ext uri="{FF2B5EF4-FFF2-40B4-BE49-F238E27FC236}">
                      <a16:creationId xmlns:a16="http://schemas.microsoft.com/office/drawing/2014/main" id="{5031A03D-6163-49B8-8621-552B0AF429A1}"/>
                    </a:ext>
                  </a:extLst>
                </p:cNvPr>
                <p:cNvSpPr>
                  <a:spLocks noEditPoints="1"/>
                </p:cNvSpPr>
                <p:nvPr/>
              </p:nvSpPr>
              <p:spPr bwMode="auto">
                <a:xfrm>
                  <a:off x="3912" y="2747"/>
                  <a:ext cx="3122" cy="2307"/>
                </a:xfrm>
                <a:custGeom>
                  <a:avLst/>
                  <a:gdLst>
                    <a:gd name="T0" fmla="*/ 4429 w 6244"/>
                    <a:gd name="T1" fmla="*/ 3011 h 4614"/>
                    <a:gd name="T2" fmla="*/ 4035 w 6244"/>
                    <a:gd name="T3" fmla="*/ 3310 h 4614"/>
                    <a:gd name="T4" fmla="*/ 3975 w 6244"/>
                    <a:gd name="T5" fmla="*/ 3729 h 4614"/>
                    <a:gd name="T6" fmla="*/ 4312 w 6244"/>
                    <a:gd name="T7" fmla="*/ 4095 h 4614"/>
                    <a:gd name="T8" fmla="*/ 4909 w 6244"/>
                    <a:gd name="T9" fmla="*/ 4242 h 4614"/>
                    <a:gd name="T10" fmla="*/ 5506 w 6244"/>
                    <a:gd name="T11" fmla="*/ 4095 h 4614"/>
                    <a:gd name="T12" fmla="*/ 5845 w 6244"/>
                    <a:gd name="T13" fmla="*/ 3729 h 4614"/>
                    <a:gd name="T14" fmla="*/ 5771 w 6244"/>
                    <a:gd name="T15" fmla="*/ 3293 h 4614"/>
                    <a:gd name="T16" fmla="*/ 5327 w 6244"/>
                    <a:gd name="T17" fmla="*/ 2988 h 4614"/>
                    <a:gd name="T18" fmla="*/ 1230 w 6244"/>
                    <a:gd name="T19" fmla="*/ 2922 h 4614"/>
                    <a:gd name="T20" fmla="*/ 693 w 6244"/>
                    <a:gd name="T21" fmla="*/ 3090 h 4614"/>
                    <a:gd name="T22" fmla="*/ 394 w 6244"/>
                    <a:gd name="T23" fmla="*/ 3441 h 4614"/>
                    <a:gd name="T24" fmla="*/ 472 w 6244"/>
                    <a:gd name="T25" fmla="*/ 3867 h 4614"/>
                    <a:gd name="T26" fmla="*/ 915 w 6244"/>
                    <a:gd name="T27" fmla="*/ 4172 h 4614"/>
                    <a:gd name="T28" fmla="*/ 1550 w 6244"/>
                    <a:gd name="T29" fmla="*/ 4223 h 4614"/>
                    <a:gd name="T30" fmla="*/ 2080 w 6244"/>
                    <a:gd name="T31" fmla="*/ 3990 h 4614"/>
                    <a:gd name="T32" fmla="*/ 2294 w 6244"/>
                    <a:gd name="T33" fmla="*/ 3579 h 4614"/>
                    <a:gd name="T34" fmla="*/ 2080 w 6244"/>
                    <a:gd name="T35" fmla="*/ 3170 h 4614"/>
                    <a:gd name="T36" fmla="*/ 1550 w 6244"/>
                    <a:gd name="T37" fmla="*/ 2937 h 4614"/>
                    <a:gd name="T38" fmla="*/ 2940 w 6244"/>
                    <a:gd name="T39" fmla="*/ 2353 h 4614"/>
                    <a:gd name="T40" fmla="*/ 2732 w 6244"/>
                    <a:gd name="T41" fmla="*/ 2554 h 4614"/>
                    <a:gd name="T42" fmla="*/ 2842 w 6244"/>
                    <a:gd name="T43" fmla="*/ 2795 h 4614"/>
                    <a:gd name="T44" fmla="*/ 3187 w 6244"/>
                    <a:gd name="T45" fmla="*/ 2872 h 4614"/>
                    <a:gd name="T46" fmla="*/ 3475 w 6244"/>
                    <a:gd name="T47" fmla="*/ 2726 h 4614"/>
                    <a:gd name="T48" fmla="*/ 3475 w 6244"/>
                    <a:gd name="T49" fmla="*/ 2473 h 4614"/>
                    <a:gd name="T50" fmla="*/ 3187 w 6244"/>
                    <a:gd name="T51" fmla="*/ 2327 h 4614"/>
                    <a:gd name="T52" fmla="*/ 2203 w 6244"/>
                    <a:gd name="T53" fmla="*/ 58 h 4614"/>
                    <a:gd name="T54" fmla="*/ 2654 w 6244"/>
                    <a:gd name="T55" fmla="*/ 333 h 4614"/>
                    <a:gd name="T56" fmla="*/ 2794 w 6244"/>
                    <a:gd name="T57" fmla="*/ 701 h 4614"/>
                    <a:gd name="T58" fmla="*/ 3122 w 6244"/>
                    <a:gd name="T59" fmla="*/ 765 h 4614"/>
                    <a:gd name="T60" fmla="*/ 3446 w 6244"/>
                    <a:gd name="T61" fmla="*/ 699 h 4614"/>
                    <a:gd name="T62" fmla="*/ 3588 w 6244"/>
                    <a:gd name="T63" fmla="*/ 331 h 4614"/>
                    <a:gd name="T64" fmla="*/ 4039 w 6244"/>
                    <a:gd name="T65" fmla="*/ 58 h 4614"/>
                    <a:gd name="T66" fmla="*/ 4636 w 6244"/>
                    <a:gd name="T67" fmla="*/ 17 h 4614"/>
                    <a:gd name="T68" fmla="*/ 5146 w 6244"/>
                    <a:gd name="T69" fmla="*/ 252 h 4614"/>
                    <a:gd name="T70" fmla="*/ 5350 w 6244"/>
                    <a:gd name="T71" fmla="*/ 672 h 4614"/>
                    <a:gd name="T72" fmla="*/ 5824 w 6244"/>
                    <a:gd name="T73" fmla="*/ 1834 h 4614"/>
                    <a:gd name="T74" fmla="*/ 6225 w 6244"/>
                    <a:gd name="T75" fmla="*/ 3418 h 4614"/>
                    <a:gd name="T76" fmla="*/ 6237 w 6244"/>
                    <a:gd name="T77" fmla="*/ 3680 h 4614"/>
                    <a:gd name="T78" fmla="*/ 5972 w 6244"/>
                    <a:gd name="T79" fmla="*/ 4206 h 4614"/>
                    <a:gd name="T80" fmla="*/ 5401 w 6244"/>
                    <a:gd name="T81" fmla="*/ 4542 h 4614"/>
                    <a:gd name="T82" fmla="*/ 4657 w 6244"/>
                    <a:gd name="T83" fmla="*/ 4595 h 4614"/>
                    <a:gd name="T84" fmla="*/ 4013 w 6244"/>
                    <a:gd name="T85" fmla="*/ 4343 h 4614"/>
                    <a:gd name="T86" fmla="*/ 3632 w 6244"/>
                    <a:gd name="T87" fmla="*/ 3871 h 4614"/>
                    <a:gd name="T88" fmla="*/ 3408 w 6244"/>
                    <a:gd name="T89" fmla="*/ 3168 h 4614"/>
                    <a:gd name="T90" fmla="*/ 2836 w 6244"/>
                    <a:gd name="T91" fmla="*/ 3166 h 4614"/>
                    <a:gd name="T92" fmla="*/ 2613 w 6244"/>
                    <a:gd name="T93" fmla="*/ 3871 h 4614"/>
                    <a:gd name="T94" fmla="*/ 2232 w 6244"/>
                    <a:gd name="T95" fmla="*/ 4343 h 4614"/>
                    <a:gd name="T96" fmla="*/ 1586 w 6244"/>
                    <a:gd name="T97" fmla="*/ 4595 h 4614"/>
                    <a:gd name="T98" fmla="*/ 843 w 6244"/>
                    <a:gd name="T99" fmla="*/ 4542 h 4614"/>
                    <a:gd name="T100" fmla="*/ 271 w 6244"/>
                    <a:gd name="T101" fmla="*/ 4206 h 4614"/>
                    <a:gd name="T102" fmla="*/ 6 w 6244"/>
                    <a:gd name="T103" fmla="*/ 3680 h 4614"/>
                    <a:gd name="T104" fmla="*/ 17 w 6244"/>
                    <a:gd name="T105" fmla="*/ 3418 h 4614"/>
                    <a:gd name="T106" fmla="*/ 419 w 6244"/>
                    <a:gd name="T107" fmla="*/ 1834 h 4614"/>
                    <a:gd name="T108" fmla="*/ 892 w 6244"/>
                    <a:gd name="T109" fmla="*/ 672 h 4614"/>
                    <a:gd name="T110" fmla="*/ 1097 w 6244"/>
                    <a:gd name="T111" fmla="*/ 252 h 4614"/>
                    <a:gd name="T112" fmla="*/ 1607 w 6244"/>
                    <a:gd name="T113" fmla="*/ 17 h 46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244" h="4614">
                      <a:moveTo>
                        <a:pt x="4909" y="2918"/>
                      </a:moveTo>
                      <a:lnTo>
                        <a:pt x="4806" y="2922"/>
                      </a:lnTo>
                      <a:lnTo>
                        <a:pt x="4706" y="2935"/>
                      </a:lnTo>
                      <a:lnTo>
                        <a:pt x="4609" y="2952"/>
                      </a:lnTo>
                      <a:lnTo>
                        <a:pt x="4517" y="2978"/>
                      </a:lnTo>
                      <a:lnTo>
                        <a:pt x="4429" y="3011"/>
                      </a:lnTo>
                      <a:lnTo>
                        <a:pt x="4346" y="3049"/>
                      </a:lnTo>
                      <a:lnTo>
                        <a:pt x="4270" y="3090"/>
                      </a:lnTo>
                      <a:lnTo>
                        <a:pt x="4200" y="3140"/>
                      </a:lnTo>
                      <a:lnTo>
                        <a:pt x="4138" y="3193"/>
                      </a:lnTo>
                      <a:lnTo>
                        <a:pt x="4083" y="3249"/>
                      </a:lnTo>
                      <a:lnTo>
                        <a:pt x="4035" y="3310"/>
                      </a:lnTo>
                      <a:lnTo>
                        <a:pt x="3999" y="3373"/>
                      </a:lnTo>
                      <a:lnTo>
                        <a:pt x="3971" y="3441"/>
                      </a:lnTo>
                      <a:lnTo>
                        <a:pt x="3954" y="3509"/>
                      </a:lnTo>
                      <a:lnTo>
                        <a:pt x="3948" y="3579"/>
                      </a:lnTo>
                      <a:lnTo>
                        <a:pt x="3956" y="3657"/>
                      </a:lnTo>
                      <a:lnTo>
                        <a:pt x="3975" y="3729"/>
                      </a:lnTo>
                      <a:lnTo>
                        <a:pt x="4005" y="3801"/>
                      </a:lnTo>
                      <a:lnTo>
                        <a:pt x="4049" y="3867"/>
                      </a:lnTo>
                      <a:lnTo>
                        <a:pt x="4102" y="3932"/>
                      </a:lnTo>
                      <a:lnTo>
                        <a:pt x="4162" y="3990"/>
                      </a:lnTo>
                      <a:lnTo>
                        <a:pt x="4234" y="4045"/>
                      </a:lnTo>
                      <a:lnTo>
                        <a:pt x="4312" y="4095"/>
                      </a:lnTo>
                      <a:lnTo>
                        <a:pt x="4399" y="4136"/>
                      </a:lnTo>
                      <a:lnTo>
                        <a:pt x="4492" y="4172"/>
                      </a:lnTo>
                      <a:lnTo>
                        <a:pt x="4589" y="4203"/>
                      </a:lnTo>
                      <a:lnTo>
                        <a:pt x="4693" y="4223"/>
                      </a:lnTo>
                      <a:lnTo>
                        <a:pt x="4799" y="4237"/>
                      </a:lnTo>
                      <a:lnTo>
                        <a:pt x="4909" y="4242"/>
                      </a:lnTo>
                      <a:lnTo>
                        <a:pt x="5021" y="4237"/>
                      </a:lnTo>
                      <a:lnTo>
                        <a:pt x="5127" y="4223"/>
                      </a:lnTo>
                      <a:lnTo>
                        <a:pt x="5229" y="4203"/>
                      </a:lnTo>
                      <a:lnTo>
                        <a:pt x="5327" y="4172"/>
                      </a:lnTo>
                      <a:lnTo>
                        <a:pt x="5420" y="4136"/>
                      </a:lnTo>
                      <a:lnTo>
                        <a:pt x="5506" y="4095"/>
                      </a:lnTo>
                      <a:lnTo>
                        <a:pt x="5585" y="4045"/>
                      </a:lnTo>
                      <a:lnTo>
                        <a:pt x="5655" y="3990"/>
                      </a:lnTo>
                      <a:lnTo>
                        <a:pt x="5718" y="3932"/>
                      </a:lnTo>
                      <a:lnTo>
                        <a:pt x="5771" y="3867"/>
                      </a:lnTo>
                      <a:lnTo>
                        <a:pt x="5812" y="3801"/>
                      </a:lnTo>
                      <a:lnTo>
                        <a:pt x="5845" y="3729"/>
                      </a:lnTo>
                      <a:lnTo>
                        <a:pt x="5864" y="3657"/>
                      </a:lnTo>
                      <a:lnTo>
                        <a:pt x="5869" y="3579"/>
                      </a:lnTo>
                      <a:lnTo>
                        <a:pt x="5864" y="3503"/>
                      </a:lnTo>
                      <a:lnTo>
                        <a:pt x="5845" y="3431"/>
                      </a:lnTo>
                      <a:lnTo>
                        <a:pt x="5812" y="3359"/>
                      </a:lnTo>
                      <a:lnTo>
                        <a:pt x="5771" y="3293"/>
                      </a:lnTo>
                      <a:lnTo>
                        <a:pt x="5718" y="3229"/>
                      </a:lnTo>
                      <a:lnTo>
                        <a:pt x="5655" y="3170"/>
                      </a:lnTo>
                      <a:lnTo>
                        <a:pt x="5585" y="3115"/>
                      </a:lnTo>
                      <a:lnTo>
                        <a:pt x="5506" y="3066"/>
                      </a:lnTo>
                      <a:lnTo>
                        <a:pt x="5420" y="3024"/>
                      </a:lnTo>
                      <a:lnTo>
                        <a:pt x="5327" y="2988"/>
                      </a:lnTo>
                      <a:lnTo>
                        <a:pt x="5229" y="2958"/>
                      </a:lnTo>
                      <a:lnTo>
                        <a:pt x="5127" y="2937"/>
                      </a:lnTo>
                      <a:lnTo>
                        <a:pt x="5021" y="2924"/>
                      </a:lnTo>
                      <a:lnTo>
                        <a:pt x="4909" y="2918"/>
                      </a:lnTo>
                      <a:close/>
                      <a:moveTo>
                        <a:pt x="1334" y="2918"/>
                      </a:moveTo>
                      <a:lnTo>
                        <a:pt x="1230" y="2922"/>
                      </a:lnTo>
                      <a:lnTo>
                        <a:pt x="1129" y="2935"/>
                      </a:lnTo>
                      <a:lnTo>
                        <a:pt x="1033" y="2952"/>
                      </a:lnTo>
                      <a:lnTo>
                        <a:pt x="940" y="2978"/>
                      </a:lnTo>
                      <a:lnTo>
                        <a:pt x="853" y="3011"/>
                      </a:lnTo>
                      <a:lnTo>
                        <a:pt x="769" y="3049"/>
                      </a:lnTo>
                      <a:lnTo>
                        <a:pt x="693" y="3090"/>
                      </a:lnTo>
                      <a:lnTo>
                        <a:pt x="623" y="3140"/>
                      </a:lnTo>
                      <a:lnTo>
                        <a:pt x="561" y="3193"/>
                      </a:lnTo>
                      <a:lnTo>
                        <a:pt x="506" y="3249"/>
                      </a:lnTo>
                      <a:lnTo>
                        <a:pt x="458" y="3310"/>
                      </a:lnTo>
                      <a:lnTo>
                        <a:pt x="422" y="3373"/>
                      </a:lnTo>
                      <a:lnTo>
                        <a:pt x="394" y="3441"/>
                      </a:lnTo>
                      <a:lnTo>
                        <a:pt x="379" y="3509"/>
                      </a:lnTo>
                      <a:lnTo>
                        <a:pt x="371" y="3579"/>
                      </a:lnTo>
                      <a:lnTo>
                        <a:pt x="379" y="3657"/>
                      </a:lnTo>
                      <a:lnTo>
                        <a:pt x="398" y="3729"/>
                      </a:lnTo>
                      <a:lnTo>
                        <a:pt x="430" y="3801"/>
                      </a:lnTo>
                      <a:lnTo>
                        <a:pt x="472" y="3867"/>
                      </a:lnTo>
                      <a:lnTo>
                        <a:pt x="525" y="3932"/>
                      </a:lnTo>
                      <a:lnTo>
                        <a:pt x="587" y="3990"/>
                      </a:lnTo>
                      <a:lnTo>
                        <a:pt x="657" y="4045"/>
                      </a:lnTo>
                      <a:lnTo>
                        <a:pt x="737" y="4095"/>
                      </a:lnTo>
                      <a:lnTo>
                        <a:pt x="822" y="4136"/>
                      </a:lnTo>
                      <a:lnTo>
                        <a:pt x="915" y="4172"/>
                      </a:lnTo>
                      <a:lnTo>
                        <a:pt x="1014" y="4203"/>
                      </a:lnTo>
                      <a:lnTo>
                        <a:pt x="1116" y="4223"/>
                      </a:lnTo>
                      <a:lnTo>
                        <a:pt x="1222" y="4237"/>
                      </a:lnTo>
                      <a:lnTo>
                        <a:pt x="1334" y="4242"/>
                      </a:lnTo>
                      <a:lnTo>
                        <a:pt x="1444" y="4237"/>
                      </a:lnTo>
                      <a:lnTo>
                        <a:pt x="1550" y="4223"/>
                      </a:lnTo>
                      <a:lnTo>
                        <a:pt x="1652" y="4203"/>
                      </a:lnTo>
                      <a:lnTo>
                        <a:pt x="1751" y="4172"/>
                      </a:lnTo>
                      <a:lnTo>
                        <a:pt x="1843" y="4136"/>
                      </a:lnTo>
                      <a:lnTo>
                        <a:pt x="1931" y="4095"/>
                      </a:lnTo>
                      <a:lnTo>
                        <a:pt x="2008" y="4045"/>
                      </a:lnTo>
                      <a:lnTo>
                        <a:pt x="2080" y="3990"/>
                      </a:lnTo>
                      <a:lnTo>
                        <a:pt x="2141" y="3932"/>
                      </a:lnTo>
                      <a:lnTo>
                        <a:pt x="2194" y="3867"/>
                      </a:lnTo>
                      <a:lnTo>
                        <a:pt x="2236" y="3801"/>
                      </a:lnTo>
                      <a:lnTo>
                        <a:pt x="2268" y="3729"/>
                      </a:lnTo>
                      <a:lnTo>
                        <a:pt x="2287" y="3657"/>
                      </a:lnTo>
                      <a:lnTo>
                        <a:pt x="2294" y="3579"/>
                      </a:lnTo>
                      <a:lnTo>
                        <a:pt x="2287" y="3503"/>
                      </a:lnTo>
                      <a:lnTo>
                        <a:pt x="2268" y="3431"/>
                      </a:lnTo>
                      <a:lnTo>
                        <a:pt x="2236" y="3359"/>
                      </a:lnTo>
                      <a:lnTo>
                        <a:pt x="2194" y="3293"/>
                      </a:lnTo>
                      <a:lnTo>
                        <a:pt x="2141" y="3229"/>
                      </a:lnTo>
                      <a:lnTo>
                        <a:pt x="2080" y="3170"/>
                      </a:lnTo>
                      <a:lnTo>
                        <a:pt x="2008" y="3115"/>
                      </a:lnTo>
                      <a:lnTo>
                        <a:pt x="1931" y="3066"/>
                      </a:lnTo>
                      <a:lnTo>
                        <a:pt x="1843" y="3024"/>
                      </a:lnTo>
                      <a:lnTo>
                        <a:pt x="1751" y="2988"/>
                      </a:lnTo>
                      <a:lnTo>
                        <a:pt x="1652" y="2958"/>
                      </a:lnTo>
                      <a:lnTo>
                        <a:pt x="1550" y="2937"/>
                      </a:lnTo>
                      <a:lnTo>
                        <a:pt x="1444" y="2924"/>
                      </a:lnTo>
                      <a:lnTo>
                        <a:pt x="1334" y="2918"/>
                      </a:lnTo>
                      <a:close/>
                      <a:moveTo>
                        <a:pt x="3122" y="2323"/>
                      </a:moveTo>
                      <a:lnTo>
                        <a:pt x="3058" y="2327"/>
                      </a:lnTo>
                      <a:lnTo>
                        <a:pt x="2997" y="2336"/>
                      </a:lnTo>
                      <a:lnTo>
                        <a:pt x="2940" y="2353"/>
                      </a:lnTo>
                      <a:lnTo>
                        <a:pt x="2889" y="2376"/>
                      </a:lnTo>
                      <a:lnTo>
                        <a:pt x="2842" y="2404"/>
                      </a:lnTo>
                      <a:lnTo>
                        <a:pt x="2802" y="2437"/>
                      </a:lnTo>
                      <a:lnTo>
                        <a:pt x="2770" y="2473"/>
                      </a:lnTo>
                      <a:lnTo>
                        <a:pt x="2747" y="2512"/>
                      </a:lnTo>
                      <a:lnTo>
                        <a:pt x="2732" y="2554"/>
                      </a:lnTo>
                      <a:lnTo>
                        <a:pt x="2726" y="2599"/>
                      </a:lnTo>
                      <a:lnTo>
                        <a:pt x="2732" y="2643"/>
                      </a:lnTo>
                      <a:lnTo>
                        <a:pt x="2747" y="2687"/>
                      </a:lnTo>
                      <a:lnTo>
                        <a:pt x="2770" y="2726"/>
                      </a:lnTo>
                      <a:lnTo>
                        <a:pt x="2802" y="2762"/>
                      </a:lnTo>
                      <a:lnTo>
                        <a:pt x="2842" y="2795"/>
                      </a:lnTo>
                      <a:lnTo>
                        <a:pt x="2889" y="2821"/>
                      </a:lnTo>
                      <a:lnTo>
                        <a:pt x="2940" y="2844"/>
                      </a:lnTo>
                      <a:lnTo>
                        <a:pt x="2997" y="2861"/>
                      </a:lnTo>
                      <a:lnTo>
                        <a:pt x="3058" y="2872"/>
                      </a:lnTo>
                      <a:lnTo>
                        <a:pt x="3122" y="2874"/>
                      </a:lnTo>
                      <a:lnTo>
                        <a:pt x="3187" y="2872"/>
                      </a:lnTo>
                      <a:lnTo>
                        <a:pt x="3247" y="2861"/>
                      </a:lnTo>
                      <a:lnTo>
                        <a:pt x="3304" y="2844"/>
                      </a:lnTo>
                      <a:lnTo>
                        <a:pt x="3357" y="2821"/>
                      </a:lnTo>
                      <a:lnTo>
                        <a:pt x="3403" y="2795"/>
                      </a:lnTo>
                      <a:lnTo>
                        <a:pt x="3442" y="2762"/>
                      </a:lnTo>
                      <a:lnTo>
                        <a:pt x="3475" y="2726"/>
                      </a:lnTo>
                      <a:lnTo>
                        <a:pt x="3499" y="2687"/>
                      </a:lnTo>
                      <a:lnTo>
                        <a:pt x="3514" y="2643"/>
                      </a:lnTo>
                      <a:lnTo>
                        <a:pt x="3518" y="2599"/>
                      </a:lnTo>
                      <a:lnTo>
                        <a:pt x="3514" y="2554"/>
                      </a:lnTo>
                      <a:lnTo>
                        <a:pt x="3499" y="2512"/>
                      </a:lnTo>
                      <a:lnTo>
                        <a:pt x="3475" y="2473"/>
                      </a:lnTo>
                      <a:lnTo>
                        <a:pt x="3442" y="2437"/>
                      </a:lnTo>
                      <a:lnTo>
                        <a:pt x="3403" y="2404"/>
                      </a:lnTo>
                      <a:lnTo>
                        <a:pt x="3357" y="2376"/>
                      </a:lnTo>
                      <a:lnTo>
                        <a:pt x="3304" y="2353"/>
                      </a:lnTo>
                      <a:lnTo>
                        <a:pt x="3247" y="2336"/>
                      </a:lnTo>
                      <a:lnTo>
                        <a:pt x="3187" y="2327"/>
                      </a:lnTo>
                      <a:lnTo>
                        <a:pt x="3122" y="2323"/>
                      </a:lnTo>
                      <a:close/>
                      <a:moveTo>
                        <a:pt x="1815" y="0"/>
                      </a:moveTo>
                      <a:lnTo>
                        <a:pt x="1915" y="3"/>
                      </a:lnTo>
                      <a:lnTo>
                        <a:pt x="2014" y="15"/>
                      </a:lnTo>
                      <a:lnTo>
                        <a:pt x="2111" y="34"/>
                      </a:lnTo>
                      <a:lnTo>
                        <a:pt x="2203" y="58"/>
                      </a:lnTo>
                      <a:lnTo>
                        <a:pt x="2292" y="91"/>
                      </a:lnTo>
                      <a:lnTo>
                        <a:pt x="2378" y="128"/>
                      </a:lnTo>
                      <a:lnTo>
                        <a:pt x="2457" y="172"/>
                      </a:lnTo>
                      <a:lnTo>
                        <a:pt x="2529" y="221"/>
                      </a:lnTo>
                      <a:lnTo>
                        <a:pt x="2596" y="274"/>
                      </a:lnTo>
                      <a:lnTo>
                        <a:pt x="2654" y="333"/>
                      </a:lnTo>
                      <a:lnTo>
                        <a:pt x="2704" y="394"/>
                      </a:lnTo>
                      <a:lnTo>
                        <a:pt x="2743" y="460"/>
                      </a:lnTo>
                      <a:lnTo>
                        <a:pt x="2772" y="528"/>
                      </a:lnTo>
                      <a:lnTo>
                        <a:pt x="2791" y="598"/>
                      </a:lnTo>
                      <a:lnTo>
                        <a:pt x="2796" y="672"/>
                      </a:lnTo>
                      <a:lnTo>
                        <a:pt x="2794" y="701"/>
                      </a:lnTo>
                      <a:lnTo>
                        <a:pt x="2793" y="727"/>
                      </a:lnTo>
                      <a:lnTo>
                        <a:pt x="2787" y="822"/>
                      </a:lnTo>
                      <a:lnTo>
                        <a:pt x="2865" y="797"/>
                      </a:lnTo>
                      <a:lnTo>
                        <a:pt x="2946" y="780"/>
                      </a:lnTo>
                      <a:lnTo>
                        <a:pt x="3033" y="769"/>
                      </a:lnTo>
                      <a:lnTo>
                        <a:pt x="3122" y="765"/>
                      </a:lnTo>
                      <a:lnTo>
                        <a:pt x="3211" y="769"/>
                      </a:lnTo>
                      <a:lnTo>
                        <a:pt x="3297" y="780"/>
                      </a:lnTo>
                      <a:lnTo>
                        <a:pt x="3380" y="797"/>
                      </a:lnTo>
                      <a:lnTo>
                        <a:pt x="3456" y="822"/>
                      </a:lnTo>
                      <a:lnTo>
                        <a:pt x="3450" y="727"/>
                      </a:lnTo>
                      <a:lnTo>
                        <a:pt x="3446" y="699"/>
                      </a:lnTo>
                      <a:lnTo>
                        <a:pt x="3446" y="672"/>
                      </a:lnTo>
                      <a:lnTo>
                        <a:pt x="3452" y="598"/>
                      </a:lnTo>
                      <a:lnTo>
                        <a:pt x="3471" y="526"/>
                      </a:lnTo>
                      <a:lnTo>
                        <a:pt x="3499" y="458"/>
                      </a:lnTo>
                      <a:lnTo>
                        <a:pt x="3539" y="394"/>
                      </a:lnTo>
                      <a:lnTo>
                        <a:pt x="3588" y="331"/>
                      </a:lnTo>
                      <a:lnTo>
                        <a:pt x="3647" y="274"/>
                      </a:lnTo>
                      <a:lnTo>
                        <a:pt x="3713" y="221"/>
                      </a:lnTo>
                      <a:lnTo>
                        <a:pt x="3785" y="172"/>
                      </a:lnTo>
                      <a:lnTo>
                        <a:pt x="3865" y="128"/>
                      </a:lnTo>
                      <a:lnTo>
                        <a:pt x="3950" y="91"/>
                      </a:lnTo>
                      <a:lnTo>
                        <a:pt x="4039" y="58"/>
                      </a:lnTo>
                      <a:lnTo>
                        <a:pt x="4132" y="34"/>
                      </a:lnTo>
                      <a:lnTo>
                        <a:pt x="4229" y="15"/>
                      </a:lnTo>
                      <a:lnTo>
                        <a:pt x="4327" y="3"/>
                      </a:lnTo>
                      <a:lnTo>
                        <a:pt x="4428" y="0"/>
                      </a:lnTo>
                      <a:lnTo>
                        <a:pt x="4534" y="3"/>
                      </a:lnTo>
                      <a:lnTo>
                        <a:pt x="4636" y="17"/>
                      </a:lnTo>
                      <a:lnTo>
                        <a:pt x="4736" y="38"/>
                      </a:lnTo>
                      <a:lnTo>
                        <a:pt x="4829" y="68"/>
                      </a:lnTo>
                      <a:lnTo>
                        <a:pt x="4918" y="104"/>
                      </a:lnTo>
                      <a:lnTo>
                        <a:pt x="5002" y="147"/>
                      </a:lnTo>
                      <a:lnTo>
                        <a:pt x="5077" y="197"/>
                      </a:lnTo>
                      <a:lnTo>
                        <a:pt x="5146" y="252"/>
                      </a:lnTo>
                      <a:lnTo>
                        <a:pt x="5204" y="312"/>
                      </a:lnTo>
                      <a:lnTo>
                        <a:pt x="5255" y="377"/>
                      </a:lnTo>
                      <a:lnTo>
                        <a:pt x="5295" y="447"/>
                      </a:lnTo>
                      <a:lnTo>
                        <a:pt x="5326" y="519"/>
                      </a:lnTo>
                      <a:lnTo>
                        <a:pt x="5343" y="595"/>
                      </a:lnTo>
                      <a:lnTo>
                        <a:pt x="5350" y="672"/>
                      </a:lnTo>
                      <a:lnTo>
                        <a:pt x="5462" y="1548"/>
                      </a:lnTo>
                      <a:lnTo>
                        <a:pt x="5547" y="1595"/>
                      </a:lnTo>
                      <a:lnTo>
                        <a:pt x="5627" y="1648"/>
                      </a:lnTo>
                      <a:lnTo>
                        <a:pt x="5701" y="1705"/>
                      </a:lnTo>
                      <a:lnTo>
                        <a:pt x="5765" y="1768"/>
                      </a:lnTo>
                      <a:lnTo>
                        <a:pt x="5824" y="1834"/>
                      </a:lnTo>
                      <a:lnTo>
                        <a:pt x="5875" y="1904"/>
                      </a:lnTo>
                      <a:lnTo>
                        <a:pt x="5917" y="1978"/>
                      </a:lnTo>
                      <a:lnTo>
                        <a:pt x="5951" y="2054"/>
                      </a:lnTo>
                      <a:lnTo>
                        <a:pt x="5975" y="2133"/>
                      </a:lnTo>
                      <a:lnTo>
                        <a:pt x="5989" y="2217"/>
                      </a:lnTo>
                      <a:lnTo>
                        <a:pt x="6225" y="3418"/>
                      </a:lnTo>
                      <a:lnTo>
                        <a:pt x="6225" y="3422"/>
                      </a:lnTo>
                      <a:lnTo>
                        <a:pt x="6227" y="3426"/>
                      </a:lnTo>
                      <a:lnTo>
                        <a:pt x="6233" y="3464"/>
                      </a:lnTo>
                      <a:lnTo>
                        <a:pt x="6241" y="3520"/>
                      </a:lnTo>
                      <a:lnTo>
                        <a:pt x="6244" y="3579"/>
                      </a:lnTo>
                      <a:lnTo>
                        <a:pt x="6237" y="3680"/>
                      </a:lnTo>
                      <a:lnTo>
                        <a:pt x="6220" y="3776"/>
                      </a:lnTo>
                      <a:lnTo>
                        <a:pt x="6189" y="3871"/>
                      </a:lnTo>
                      <a:lnTo>
                        <a:pt x="6150" y="3960"/>
                      </a:lnTo>
                      <a:lnTo>
                        <a:pt x="6100" y="4047"/>
                      </a:lnTo>
                      <a:lnTo>
                        <a:pt x="6040" y="4129"/>
                      </a:lnTo>
                      <a:lnTo>
                        <a:pt x="5972" y="4206"/>
                      </a:lnTo>
                      <a:lnTo>
                        <a:pt x="5894" y="4277"/>
                      </a:lnTo>
                      <a:lnTo>
                        <a:pt x="5809" y="4343"/>
                      </a:lnTo>
                      <a:lnTo>
                        <a:pt x="5716" y="4403"/>
                      </a:lnTo>
                      <a:lnTo>
                        <a:pt x="5617" y="4457"/>
                      </a:lnTo>
                      <a:lnTo>
                        <a:pt x="5511" y="4502"/>
                      </a:lnTo>
                      <a:lnTo>
                        <a:pt x="5401" y="4542"/>
                      </a:lnTo>
                      <a:lnTo>
                        <a:pt x="5284" y="4572"/>
                      </a:lnTo>
                      <a:lnTo>
                        <a:pt x="5163" y="4595"/>
                      </a:lnTo>
                      <a:lnTo>
                        <a:pt x="5039" y="4610"/>
                      </a:lnTo>
                      <a:lnTo>
                        <a:pt x="4911" y="4614"/>
                      </a:lnTo>
                      <a:lnTo>
                        <a:pt x="4782" y="4610"/>
                      </a:lnTo>
                      <a:lnTo>
                        <a:pt x="4657" y="4595"/>
                      </a:lnTo>
                      <a:lnTo>
                        <a:pt x="4537" y="4572"/>
                      </a:lnTo>
                      <a:lnTo>
                        <a:pt x="4420" y="4542"/>
                      </a:lnTo>
                      <a:lnTo>
                        <a:pt x="4310" y="4502"/>
                      </a:lnTo>
                      <a:lnTo>
                        <a:pt x="4204" y="4457"/>
                      </a:lnTo>
                      <a:lnTo>
                        <a:pt x="4105" y="4403"/>
                      </a:lnTo>
                      <a:lnTo>
                        <a:pt x="4013" y="4343"/>
                      </a:lnTo>
                      <a:lnTo>
                        <a:pt x="3927" y="4277"/>
                      </a:lnTo>
                      <a:lnTo>
                        <a:pt x="3850" y="4206"/>
                      </a:lnTo>
                      <a:lnTo>
                        <a:pt x="3782" y="4129"/>
                      </a:lnTo>
                      <a:lnTo>
                        <a:pt x="3721" y="4047"/>
                      </a:lnTo>
                      <a:lnTo>
                        <a:pt x="3672" y="3960"/>
                      </a:lnTo>
                      <a:lnTo>
                        <a:pt x="3632" y="3871"/>
                      </a:lnTo>
                      <a:lnTo>
                        <a:pt x="3602" y="3776"/>
                      </a:lnTo>
                      <a:lnTo>
                        <a:pt x="3584" y="3680"/>
                      </a:lnTo>
                      <a:lnTo>
                        <a:pt x="3579" y="3579"/>
                      </a:lnTo>
                      <a:lnTo>
                        <a:pt x="3579" y="3107"/>
                      </a:lnTo>
                      <a:lnTo>
                        <a:pt x="3495" y="3141"/>
                      </a:lnTo>
                      <a:lnTo>
                        <a:pt x="3408" y="3168"/>
                      </a:lnTo>
                      <a:lnTo>
                        <a:pt x="3317" y="3187"/>
                      </a:lnTo>
                      <a:lnTo>
                        <a:pt x="3221" y="3198"/>
                      </a:lnTo>
                      <a:lnTo>
                        <a:pt x="3122" y="3202"/>
                      </a:lnTo>
                      <a:lnTo>
                        <a:pt x="3024" y="3198"/>
                      </a:lnTo>
                      <a:lnTo>
                        <a:pt x="2927" y="3187"/>
                      </a:lnTo>
                      <a:lnTo>
                        <a:pt x="2836" y="3166"/>
                      </a:lnTo>
                      <a:lnTo>
                        <a:pt x="2747" y="3140"/>
                      </a:lnTo>
                      <a:lnTo>
                        <a:pt x="2666" y="3107"/>
                      </a:lnTo>
                      <a:lnTo>
                        <a:pt x="2666" y="3579"/>
                      </a:lnTo>
                      <a:lnTo>
                        <a:pt x="2660" y="3680"/>
                      </a:lnTo>
                      <a:lnTo>
                        <a:pt x="2641" y="3776"/>
                      </a:lnTo>
                      <a:lnTo>
                        <a:pt x="2613" y="3871"/>
                      </a:lnTo>
                      <a:lnTo>
                        <a:pt x="2573" y="3960"/>
                      </a:lnTo>
                      <a:lnTo>
                        <a:pt x="2522" y="4047"/>
                      </a:lnTo>
                      <a:lnTo>
                        <a:pt x="2463" y="4129"/>
                      </a:lnTo>
                      <a:lnTo>
                        <a:pt x="2395" y="4206"/>
                      </a:lnTo>
                      <a:lnTo>
                        <a:pt x="2317" y="4277"/>
                      </a:lnTo>
                      <a:lnTo>
                        <a:pt x="2232" y="4343"/>
                      </a:lnTo>
                      <a:lnTo>
                        <a:pt x="2139" y="4403"/>
                      </a:lnTo>
                      <a:lnTo>
                        <a:pt x="2040" y="4457"/>
                      </a:lnTo>
                      <a:lnTo>
                        <a:pt x="1934" y="4502"/>
                      </a:lnTo>
                      <a:lnTo>
                        <a:pt x="1823" y="4542"/>
                      </a:lnTo>
                      <a:lnTo>
                        <a:pt x="1707" y="4572"/>
                      </a:lnTo>
                      <a:lnTo>
                        <a:pt x="1586" y="4595"/>
                      </a:lnTo>
                      <a:lnTo>
                        <a:pt x="1461" y="4610"/>
                      </a:lnTo>
                      <a:lnTo>
                        <a:pt x="1334" y="4614"/>
                      </a:lnTo>
                      <a:lnTo>
                        <a:pt x="1205" y="4610"/>
                      </a:lnTo>
                      <a:lnTo>
                        <a:pt x="1080" y="4595"/>
                      </a:lnTo>
                      <a:lnTo>
                        <a:pt x="959" y="4572"/>
                      </a:lnTo>
                      <a:lnTo>
                        <a:pt x="843" y="4542"/>
                      </a:lnTo>
                      <a:lnTo>
                        <a:pt x="731" y="4502"/>
                      </a:lnTo>
                      <a:lnTo>
                        <a:pt x="625" y="4457"/>
                      </a:lnTo>
                      <a:lnTo>
                        <a:pt x="527" y="4403"/>
                      </a:lnTo>
                      <a:lnTo>
                        <a:pt x="434" y="4343"/>
                      </a:lnTo>
                      <a:lnTo>
                        <a:pt x="349" y="4277"/>
                      </a:lnTo>
                      <a:lnTo>
                        <a:pt x="271" y="4206"/>
                      </a:lnTo>
                      <a:lnTo>
                        <a:pt x="203" y="4129"/>
                      </a:lnTo>
                      <a:lnTo>
                        <a:pt x="144" y="4047"/>
                      </a:lnTo>
                      <a:lnTo>
                        <a:pt x="93" y="3960"/>
                      </a:lnTo>
                      <a:lnTo>
                        <a:pt x="53" y="3871"/>
                      </a:lnTo>
                      <a:lnTo>
                        <a:pt x="25" y="3776"/>
                      </a:lnTo>
                      <a:lnTo>
                        <a:pt x="6" y="3680"/>
                      </a:lnTo>
                      <a:lnTo>
                        <a:pt x="0" y="3579"/>
                      </a:lnTo>
                      <a:lnTo>
                        <a:pt x="2" y="3520"/>
                      </a:lnTo>
                      <a:lnTo>
                        <a:pt x="9" y="3464"/>
                      </a:lnTo>
                      <a:lnTo>
                        <a:pt x="15" y="3426"/>
                      </a:lnTo>
                      <a:lnTo>
                        <a:pt x="15" y="3422"/>
                      </a:lnTo>
                      <a:lnTo>
                        <a:pt x="17" y="3418"/>
                      </a:lnTo>
                      <a:lnTo>
                        <a:pt x="254" y="2217"/>
                      </a:lnTo>
                      <a:lnTo>
                        <a:pt x="267" y="2133"/>
                      </a:lnTo>
                      <a:lnTo>
                        <a:pt x="292" y="2054"/>
                      </a:lnTo>
                      <a:lnTo>
                        <a:pt x="326" y="1978"/>
                      </a:lnTo>
                      <a:lnTo>
                        <a:pt x="368" y="1904"/>
                      </a:lnTo>
                      <a:lnTo>
                        <a:pt x="419" y="1834"/>
                      </a:lnTo>
                      <a:lnTo>
                        <a:pt x="477" y="1768"/>
                      </a:lnTo>
                      <a:lnTo>
                        <a:pt x="542" y="1705"/>
                      </a:lnTo>
                      <a:lnTo>
                        <a:pt x="616" y="1646"/>
                      </a:lnTo>
                      <a:lnTo>
                        <a:pt x="695" y="1595"/>
                      </a:lnTo>
                      <a:lnTo>
                        <a:pt x="781" y="1548"/>
                      </a:lnTo>
                      <a:lnTo>
                        <a:pt x="892" y="672"/>
                      </a:lnTo>
                      <a:lnTo>
                        <a:pt x="900" y="595"/>
                      </a:lnTo>
                      <a:lnTo>
                        <a:pt x="917" y="519"/>
                      </a:lnTo>
                      <a:lnTo>
                        <a:pt x="947" y="447"/>
                      </a:lnTo>
                      <a:lnTo>
                        <a:pt x="987" y="377"/>
                      </a:lnTo>
                      <a:lnTo>
                        <a:pt x="1038" y="312"/>
                      </a:lnTo>
                      <a:lnTo>
                        <a:pt x="1097" y="252"/>
                      </a:lnTo>
                      <a:lnTo>
                        <a:pt x="1165" y="197"/>
                      </a:lnTo>
                      <a:lnTo>
                        <a:pt x="1241" y="147"/>
                      </a:lnTo>
                      <a:lnTo>
                        <a:pt x="1324" y="104"/>
                      </a:lnTo>
                      <a:lnTo>
                        <a:pt x="1413" y="68"/>
                      </a:lnTo>
                      <a:lnTo>
                        <a:pt x="1506" y="38"/>
                      </a:lnTo>
                      <a:lnTo>
                        <a:pt x="1607" y="17"/>
                      </a:lnTo>
                      <a:lnTo>
                        <a:pt x="1709" y="3"/>
                      </a:lnTo>
                      <a:lnTo>
                        <a:pt x="181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65" name="Freeform 189">
                  <a:extLst>
                    <a:ext uri="{FF2B5EF4-FFF2-40B4-BE49-F238E27FC236}">
                      <a16:creationId xmlns:a16="http://schemas.microsoft.com/office/drawing/2014/main" id="{CA1B2B47-7B9E-4B7C-B418-8D0638DF0448}"/>
                    </a:ext>
                  </a:extLst>
                </p:cNvPr>
                <p:cNvSpPr>
                  <a:spLocks/>
                </p:cNvSpPr>
                <p:nvPr/>
              </p:nvSpPr>
              <p:spPr bwMode="auto">
                <a:xfrm>
                  <a:off x="4612" y="2397"/>
                  <a:ext cx="552" cy="325"/>
                </a:xfrm>
                <a:custGeom>
                  <a:avLst/>
                  <a:gdLst>
                    <a:gd name="T0" fmla="*/ 542 w 1105"/>
                    <a:gd name="T1" fmla="*/ 0 h 650"/>
                    <a:gd name="T2" fmla="*/ 614 w 1105"/>
                    <a:gd name="T3" fmla="*/ 4 h 650"/>
                    <a:gd name="T4" fmla="*/ 684 w 1105"/>
                    <a:gd name="T5" fmla="*/ 16 h 650"/>
                    <a:gd name="T6" fmla="*/ 750 w 1105"/>
                    <a:gd name="T7" fmla="*/ 31 h 650"/>
                    <a:gd name="T8" fmla="*/ 815 w 1105"/>
                    <a:gd name="T9" fmla="*/ 54 h 650"/>
                    <a:gd name="T10" fmla="*/ 875 w 1105"/>
                    <a:gd name="T11" fmla="*/ 82 h 650"/>
                    <a:gd name="T12" fmla="*/ 930 w 1105"/>
                    <a:gd name="T13" fmla="*/ 114 h 650"/>
                    <a:gd name="T14" fmla="*/ 980 w 1105"/>
                    <a:gd name="T15" fmla="*/ 152 h 650"/>
                    <a:gd name="T16" fmla="*/ 1023 w 1105"/>
                    <a:gd name="T17" fmla="*/ 192 h 650"/>
                    <a:gd name="T18" fmla="*/ 1057 w 1105"/>
                    <a:gd name="T19" fmla="*/ 237 h 650"/>
                    <a:gd name="T20" fmla="*/ 1084 w 1105"/>
                    <a:gd name="T21" fmla="*/ 285 h 650"/>
                    <a:gd name="T22" fmla="*/ 1099 w 1105"/>
                    <a:gd name="T23" fmla="*/ 334 h 650"/>
                    <a:gd name="T24" fmla="*/ 1105 w 1105"/>
                    <a:gd name="T25" fmla="*/ 387 h 650"/>
                    <a:gd name="T26" fmla="*/ 1091 w 1105"/>
                    <a:gd name="T27" fmla="*/ 592 h 650"/>
                    <a:gd name="T28" fmla="*/ 1086 w 1105"/>
                    <a:gd name="T29" fmla="*/ 616 h 650"/>
                    <a:gd name="T30" fmla="*/ 1072 w 1105"/>
                    <a:gd name="T31" fmla="*/ 635 h 650"/>
                    <a:gd name="T32" fmla="*/ 1052 w 1105"/>
                    <a:gd name="T33" fmla="*/ 647 h 650"/>
                    <a:gd name="T34" fmla="*/ 1029 w 1105"/>
                    <a:gd name="T35" fmla="*/ 650 h 650"/>
                    <a:gd name="T36" fmla="*/ 1004 w 1105"/>
                    <a:gd name="T37" fmla="*/ 647 h 650"/>
                    <a:gd name="T38" fmla="*/ 894 w 1105"/>
                    <a:gd name="T39" fmla="*/ 601 h 650"/>
                    <a:gd name="T40" fmla="*/ 777 w 1105"/>
                    <a:gd name="T41" fmla="*/ 567 h 650"/>
                    <a:gd name="T42" fmla="*/ 657 w 1105"/>
                    <a:gd name="T43" fmla="*/ 541 h 650"/>
                    <a:gd name="T44" fmla="*/ 536 w 1105"/>
                    <a:gd name="T45" fmla="*/ 525 h 650"/>
                    <a:gd name="T46" fmla="*/ 413 w 1105"/>
                    <a:gd name="T47" fmla="*/ 520 h 650"/>
                    <a:gd name="T48" fmla="*/ 299 w 1105"/>
                    <a:gd name="T49" fmla="*/ 525 h 650"/>
                    <a:gd name="T50" fmla="*/ 186 w 1105"/>
                    <a:gd name="T51" fmla="*/ 539 h 650"/>
                    <a:gd name="T52" fmla="*/ 78 w 1105"/>
                    <a:gd name="T53" fmla="*/ 561 h 650"/>
                    <a:gd name="T54" fmla="*/ 51 w 1105"/>
                    <a:gd name="T55" fmla="*/ 563 h 650"/>
                    <a:gd name="T56" fmla="*/ 30 w 1105"/>
                    <a:gd name="T57" fmla="*/ 554 h 650"/>
                    <a:gd name="T58" fmla="*/ 11 w 1105"/>
                    <a:gd name="T59" fmla="*/ 539 h 650"/>
                    <a:gd name="T60" fmla="*/ 2 w 1105"/>
                    <a:gd name="T61" fmla="*/ 518 h 650"/>
                    <a:gd name="T62" fmla="*/ 0 w 1105"/>
                    <a:gd name="T63" fmla="*/ 493 h 650"/>
                    <a:gd name="T64" fmla="*/ 15 w 1105"/>
                    <a:gd name="T65" fmla="*/ 370 h 650"/>
                    <a:gd name="T66" fmla="*/ 25 w 1105"/>
                    <a:gd name="T67" fmla="*/ 317 h 650"/>
                    <a:gd name="T68" fmla="*/ 44 w 1105"/>
                    <a:gd name="T69" fmla="*/ 264 h 650"/>
                    <a:gd name="T70" fmla="*/ 72 w 1105"/>
                    <a:gd name="T71" fmla="*/ 215 h 650"/>
                    <a:gd name="T72" fmla="*/ 108 w 1105"/>
                    <a:gd name="T73" fmla="*/ 169 h 650"/>
                    <a:gd name="T74" fmla="*/ 154 w 1105"/>
                    <a:gd name="T75" fmla="*/ 127 h 650"/>
                    <a:gd name="T76" fmla="*/ 205 w 1105"/>
                    <a:gd name="T77" fmla="*/ 91 h 650"/>
                    <a:gd name="T78" fmla="*/ 263 w 1105"/>
                    <a:gd name="T79" fmla="*/ 61 h 650"/>
                    <a:gd name="T80" fmla="*/ 326 w 1105"/>
                    <a:gd name="T81" fmla="*/ 35 h 650"/>
                    <a:gd name="T82" fmla="*/ 394 w 1105"/>
                    <a:gd name="T83" fmla="*/ 16 h 650"/>
                    <a:gd name="T84" fmla="*/ 466 w 1105"/>
                    <a:gd name="T85" fmla="*/ 4 h 650"/>
                    <a:gd name="T86" fmla="*/ 542 w 1105"/>
                    <a:gd name="T87" fmla="*/ 0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105" h="650">
                      <a:moveTo>
                        <a:pt x="542" y="0"/>
                      </a:moveTo>
                      <a:lnTo>
                        <a:pt x="614" y="4"/>
                      </a:lnTo>
                      <a:lnTo>
                        <a:pt x="684" y="16"/>
                      </a:lnTo>
                      <a:lnTo>
                        <a:pt x="750" y="31"/>
                      </a:lnTo>
                      <a:lnTo>
                        <a:pt x="815" y="54"/>
                      </a:lnTo>
                      <a:lnTo>
                        <a:pt x="875" y="82"/>
                      </a:lnTo>
                      <a:lnTo>
                        <a:pt x="930" y="114"/>
                      </a:lnTo>
                      <a:lnTo>
                        <a:pt x="980" y="152"/>
                      </a:lnTo>
                      <a:lnTo>
                        <a:pt x="1023" y="192"/>
                      </a:lnTo>
                      <a:lnTo>
                        <a:pt x="1057" y="237"/>
                      </a:lnTo>
                      <a:lnTo>
                        <a:pt x="1084" y="285"/>
                      </a:lnTo>
                      <a:lnTo>
                        <a:pt x="1099" y="334"/>
                      </a:lnTo>
                      <a:lnTo>
                        <a:pt x="1105" y="387"/>
                      </a:lnTo>
                      <a:lnTo>
                        <a:pt x="1091" y="592"/>
                      </a:lnTo>
                      <a:lnTo>
                        <a:pt x="1086" y="616"/>
                      </a:lnTo>
                      <a:lnTo>
                        <a:pt x="1072" y="635"/>
                      </a:lnTo>
                      <a:lnTo>
                        <a:pt x="1052" y="647"/>
                      </a:lnTo>
                      <a:lnTo>
                        <a:pt x="1029" y="650"/>
                      </a:lnTo>
                      <a:lnTo>
                        <a:pt x="1004" y="647"/>
                      </a:lnTo>
                      <a:lnTo>
                        <a:pt x="894" y="601"/>
                      </a:lnTo>
                      <a:lnTo>
                        <a:pt x="777" y="567"/>
                      </a:lnTo>
                      <a:lnTo>
                        <a:pt x="657" y="541"/>
                      </a:lnTo>
                      <a:lnTo>
                        <a:pt x="536" y="525"/>
                      </a:lnTo>
                      <a:lnTo>
                        <a:pt x="413" y="520"/>
                      </a:lnTo>
                      <a:lnTo>
                        <a:pt x="299" y="525"/>
                      </a:lnTo>
                      <a:lnTo>
                        <a:pt x="186" y="539"/>
                      </a:lnTo>
                      <a:lnTo>
                        <a:pt x="78" y="561"/>
                      </a:lnTo>
                      <a:lnTo>
                        <a:pt x="51" y="563"/>
                      </a:lnTo>
                      <a:lnTo>
                        <a:pt x="30" y="554"/>
                      </a:lnTo>
                      <a:lnTo>
                        <a:pt x="11" y="539"/>
                      </a:lnTo>
                      <a:lnTo>
                        <a:pt x="2" y="518"/>
                      </a:lnTo>
                      <a:lnTo>
                        <a:pt x="0" y="493"/>
                      </a:lnTo>
                      <a:lnTo>
                        <a:pt x="15" y="370"/>
                      </a:lnTo>
                      <a:lnTo>
                        <a:pt x="25" y="317"/>
                      </a:lnTo>
                      <a:lnTo>
                        <a:pt x="44" y="264"/>
                      </a:lnTo>
                      <a:lnTo>
                        <a:pt x="72" y="215"/>
                      </a:lnTo>
                      <a:lnTo>
                        <a:pt x="108" y="169"/>
                      </a:lnTo>
                      <a:lnTo>
                        <a:pt x="154" y="127"/>
                      </a:lnTo>
                      <a:lnTo>
                        <a:pt x="205" y="91"/>
                      </a:lnTo>
                      <a:lnTo>
                        <a:pt x="263" y="61"/>
                      </a:lnTo>
                      <a:lnTo>
                        <a:pt x="326" y="35"/>
                      </a:lnTo>
                      <a:lnTo>
                        <a:pt x="394" y="16"/>
                      </a:lnTo>
                      <a:lnTo>
                        <a:pt x="466" y="4"/>
                      </a:lnTo>
                      <a:lnTo>
                        <a:pt x="54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grpSp>
        </p:grpSp>
        <p:grpSp>
          <p:nvGrpSpPr>
            <p:cNvPr id="11" name="Group 34">
              <a:extLst>
                <a:ext uri="{FF2B5EF4-FFF2-40B4-BE49-F238E27FC236}">
                  <a16:creationId xmlns:a16="http://schemas.microsoft.com/office/drawing/2014/main" id="{EE85D898-2406-4FE4-BBC1-27ADE73AAB9F}"/>
                </a:ext>
              </a:extLst>
            </p:cNvPr>
            <p:cNvGrpSpPr/>
            <p:nvPr/>
          </p:nvGrpSpPr>
          <p:grpSpPr>
            <a:xfrm>
              <a:off x="4235853" y="3012305"/>
              <a:ext cx="849955" cy="846154"/>
              <a:chOff x="4235853" y="3012305"/>
              <a:chExt cx="849955" cy="846154"/>
            </a:xfrm>
          </p:grpSpPr>
          <p:sp>
            <p:nvSpPr>
              <p:cNvPr id="59" name="Oval 11">
                <a:extLst>
                  <a:ext uri="{FF2B5EF4-FFF2-40B4-BE49-F238E27FC236}">
                    <a16:creationId xmlns:a16="http://schemas.microsoft.com/office/drawing/2014/main" id="{5DE761C1-13DB-4BEC-8FB8-90A719C2E792}"/>
                  </a:ext>
                </a:extLst>
              </p:cNvPr>
              <p:cNvSpPr>
                <a:spLocks noChangeArrowheads="1"/>
              </p:cNvSpPr>
              <p:nvPr/>
            </p:nvSpPr>
            <p:spPr bwMode="auto">
              <a:xfrm>
                <a:off x="4235853" y="3012305"/>
                <a:ext cx="849955" cy="846154"/>
              </a:xfrm>
              <a:prstGeom prst="ellipse">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60" name="Freeform 410">
                <a:extLst>
                  <a:ext uri="{FF2B5EF4-FFF2-40B4-BE49-F238E27FC236}">
                    <a16:creationId xmlns:a16="http://schemas.microsoft.com/office/drawing/2014/main" id="{EB5082D0-B02C-4BAD-A15F-9C733F41B124}"/>
                  </a:ext>
                </a:extLst>
              </p:cNvPr>
              <p:cNvSpPr>
                <a:spLocks noEditPoints="1"/>
              </p:cNvSpPr>
              <p:nvPr/>
            </p:nvSpPr>
            <p:spPr bwMode="auto">
              <a:xfrm>
                <a:off x="4502201" y="3249153"/>
                <a:ext cx="317258" cy="372459"/>
              </a:xfrm>
              <a:custGeom>
                <a:avLst/>
                <a:gdLst>
                  <a:gd name="T0" fmla="*/ 3024 w 5322"/>
                  <a:gd name="T1" fmla="*/ 1074 h 6249"/>
                  <a:gd name="T2" fmla="*/ 2994 w 5322"/>
                  <a:gd name="T3" fmla="*/ 1114 h 6249"/>
                  <a:gd name="T4" fmla="*/ 2992 w 5322"/>
                  <a:gd name="T5" fmla="*/ 1120 h 6249"/>
                  <a:gd name="T6" fmla="*/ 2249 w 5322"/>
                  <a:gd name="T7" fmla="*/ 2423 h 6249"/>
                  <a:gd name="T8" fmla="*/ 2273 w 5322"/>
                  <a:gd name="T9" fmla="*/ 2466 h 6249"/>
                  <a:gd name="T10" fmla="*/ 2735 w 5322"/>
                  <a:gd name="T11" fmla="*/ 2474 h 6249"/>
                  <a:gd name="T12" fmla="*/ 2794 w 5322"/>
                  <a:gd name="T13" fmla="*/ 2506 h 6249"/>
                  <a:gd name="T14" fmla="*/ 2627 w 5322"/>
                  <a:gd name="T15" fmla="*/ 3398 h 6249"/>
                  <a:gd name="T16" fmla="*/ 2623 w 5322"/>
                  <a:gd name="T17" fmla="*/ 3448 h 6249"/>
                  <a:gd name="T18" fmla="*/ 2654 w 5322"/>
                  <a:gd name="T19" fmla="*/ 3484 h 6249"/>
                  <a:gd name="T20" fmla="*/ 2701 w 5322"/>
                  <a:gd name="T21" fmla="*/ 3478 h 6249"/>
                  <a:gd name="T22" fmla="*/ 2730 w 5322"/>
                  <a:gd name="T23" fmla="*/ 3438 h 6249"/>
                  <a:gd name="T24" fmla="*/ 2733 w 5322"/>
                  <a:gd name="T25" fmla="*/ 3432 h 6249"/>
                  <a:gd name="T26" fmla="*/ 3477 w 5322"/>
                  <a:gd name="T27" fmla="*/ 2130 h 6249"/>
                  <a:gd name="T28" fmla="*/ 3452 w 5322"/>
                  <a:gd name="T29" fmla="*/ 2086 h 6249"/>
                  <a:gd name="T30" fmla="*/ 2988 w 5322"/>
                  <a:gd name="T31" fmla="*/ 2078 h 6249"/>
                  <a:gd name="T32" fmla="*/ 2931 w 5322"/>
                  <a:gd name="T33" fmla="*/ 2046 h 6249"/>
                  <a:gd name="T34" fmla="*/ 3098 w 5322"/>
                  <a:gd name="T35" fmla="*/ 1154 h 6249"/>
                  <a:gd name="T36" fmla="*/ 3102 w 5322"/>
                  <a:gd name="T37" fmla="*/ 1105 h 6249"/>
                  <a:gd name="T38" fmla="*/ 3072 w 5322"/>
                  <a:gd name="T39" fmla="*/ 1068 h 6249"/>
                  <a:gd name="T40" fmla="*/ 3106 w 5322"/>
                  <a:gd name="T41" fmla="*/ 5 h 6249"/>
                  <a:gd name="T42" fmla="*/ 3596 w 5322"/>
                  <a:gd name="T43" fmla="*/ 93 h 6249"/>
                  <a:gd name="T44" fmla="*/ 4045 w 5322"/>
                  <a:gd name="T45" fmla="*/ 273 h 6249"/>
                  <a:gd name="T46" fmla="*/ 4446 w 5322"/>
                  <a:gd name="T47" fmla="*/ 538 h 6249"/>
                  <a:gd name="T48" fmla="*/ 4783 w 5322"/>
                  <a:gd name="T49" fmla="*/ 876 h 6249"/>
                  <a:gd name="T50" fmla="*/ 5049 w 5322"/>
                  <a:gd name="T51" fmla="*/ 1276 h 6249"/>
                  <a:gd name="T52" fmla="*/ 5229 w 5322"/>
                  <a:gd name="T53" fmla="*/ 1726 h 6249"/>
                  <a:gd name="T54" fmla="*/ 5317 w 5322"/>
                  <a:gd name="T55" fmla="*/ 2217 h 6249"/>
                  <a:gd name="T56" fmla="*/ 5301 w 5322"/>
                  <a:gd name="T57" fmla="*/ 2704 h 6249"/>
                  <a:gd name="T58" fmla="*/ 5197 w 5322"/>
                  <a:gd name="T59" fmla="*/ 3153 h 6249"/>
                  <a:gd name="T60" fmla="*/ 5013 w 5322"/>
                  <a:gd name="T61" fmla="*/ 3566 h 6249"/>
                  <a:gd name="T62" fmla="*/ 4756 w 5322"/>
                  <a:gd name="T63" fmla="*/ 3933 h 6249"/>
                  <a:gd name="T64" fmla="*/ 4549 w 5322"/>
                  <a:gd name="T65" fmla="*/ 5606 h 6249"/>
                  <a:gd name="T66" fmla="*/ 4499 w 5322"/>
                  <a:gd name="T67" fmla="*/ 5735 h 6249"/>
                  <a:gd name="T68" fmla="*/ 4380 w 5322"/>
                  <a:gd name="T69" fmla="*/ 5808 h 6249"/>
                  <a:gd name="T70" fmla="*/ 1825 w 5322"/>
                  <a:gd name="T71" fmla="*/ 6243 h 6249"/>
                  <a:gd name="T72" fmla="*/ 1747 w 5322"/>
                  <a:gd name="T73" fmla="*/ 6184 h 6249"/>
                  <a:gd name="T74" fmla="*/ 1728 w 5322"/>
                  <a:gd name="T75" fmla="*/ 6112 h 6249"/>
                  <a:gd name="T76" fmla="*/ 964 w 5322"/>
                  <a:gd name="T77" fmla="*/ 5519 h 6249"/>
                  <a:gd name="T78" fmla="*/ 764 w 5322"/>
                  <a:gd name="T79" fmla="*/ 5443 h 6249"/>
                  <a:gd name="T80" fmla="*/ 618 w 5322"/>
                  <a:gd name="T81" fmla="*/ 5296 h 6249"/>
                  <a:gd name="T82" fmla="*/ 542 w 5322"/>
                  <a:gd name="T83" fmla="*/ 5096 h 6249"/>
                  <a:gd name="T84" fmla="*/ 306 w 5322"/>
                  <a:gd name="T85" fmla="*/ 4140 h 6249"/>
                  <a:gd name="T86" fmla="*/ 139 w 5322"/>
                  <a:gd name="T87" fmla="*/ 4108 h 6249"/>
                  <a:gd name="T88" fmla="*/ 34 w 5322"/>
                  <a:gd name="T89" fmla="*/ 4014 h 6249"/>
                  <a:gd name="T90" fmla="*/ 0 w 5322"/>
                  <a:gd name="T91" fmla="*/ 3879 h 6249"/>
                  <a:gd name="T92" fmla="*/ 50 w 5322"/>
                  <a:gd name="T93" fmla="*/ 3714 h 6249"/>
                  <a:gd name="T94" fmla="*/ 542 w 5322"/>
                  <a:gd name="T95" fmla="*/ 2221 h 6249"/>
                  <a:gd name="T96" fmla="*/ 625 w 5322"/>
                  <a:gd name="T97" fmla="*/ 1740 h 6249"/>
                  <a:gd name="T98" fmla="*/ 802 w 5322"/>
                  <a:gd name="T99" fmla="*/ 1295 h 6249"/>
                  <a:gd name="T100" fmla="*/ 1059 w 5322"/>
                  <a:gd name="T101" fmla="*/ 901 h 6249"/>
                  <a:gd name="T102" fmla="*/ 1386 w 5322"/>
                  <a:gd name="T103" fmla="*/ 564 h 6249"/>
                  <a:gd name="T104" fmla="*/ 1775 w 5322"/>
                  <a:gd name="T105" fmla="*/ 298 h 6249"/>
                  <a:gd name="T106" fmla="*/ 2190 w 5322"/>
                  <a:gd name="T107" fmla="*/ 118 h 6249"/>
                  <a:gd name="T108" fmla="*/ 2627 w 5322"/>
                  <a:gd name="T109" fmla="*/ 19 h 6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322" h="6249">
                    <a:moveTo>
                      <a:pt x="3053" y="1065"/>
                    </a:moveTo>
                    <a:lnTo>
                      <a:pt x="3036" y="1067"/>
                    </a:lnTo>
                    <a:lnTo>
                      <a:pt x="3024" y="1074"/>
                    </a:lnTo>
                    <a:lnTo>
                      <a:pt x="3013" y="1086"/>
                    </a:lnTo>
                    <a:lnTo>
                      <a:pt x="3003" y="1099"/>
                    </a:lnTo>
                    <a:lnTo>
                      <a:pt x="2994" y="1114"/>
                    </a:lnTo>
                    <a:lnTo>
                      <a:pt x="2994" y="1116"/>
                    </a:lnTo>
                    <a:lnTo>
                      <a:pt x="2992" y="1118"/>
                    </a:lnTo>
                    <a:lnTo>
                      <a:pt x="2992" y="1120"/>
                    </a:lnTo>
                    <a:lnTo>
                      <a:pt x="2268" y="2371"/>
                    </a:lnTo>
                    <a:lnTo>
                      <a:pt x="2254" y="2400"/>
                    </a:lnTo>
                    <a:lnTo>
                      <a:pt x="2249" y="2423"/>
                    </a:lnTo>
                    <a:lnTo>
                      <a:pt x="2249" y="2442"/>
                    </a:lnTo>
                    <a:lnTo>
                      <a:pt x="2258" y="2457"/>
                    </a:lnTo>
                    <a:lnTo>
                      <a:pt x="2273" y="2466"/>
                    </a:lnTo>
                    <a:lnTo>
                      <a:pt x="2296" y="2474"/>
                    </a:lnTo>
                    <a:lnTo>
                      <a:pt x="2327" y="2476"/>
                    </a:lnTo>
                    <a:lnTo>
                      <a:pt x="2735" y="2474"/>
                    </a:lnTo>
                    <a:lnTo>
                      <a:pt x="2764" y="2474"/>
                    </a:lnTo>
                    <a:lnTo>
                      <a:pt x="2796" y="2476"/>
                    </a:lnTo>
                    <a:lnTo>
                      <a:pt x="2794" y="2506"/>
                    </a:lnTo>
                    <a:lnTo>
                      <a:pt x="2791" y="2531"/>
                    </a:lnTo>
                    <a:lnTo>
                      <a:pt x="2686" y="3084"/>
                    </a:lnTo>
                    <a:lnTo>
                      <a:pt x="2627" y="3398"/>
                    </a:lnTo>
                    <a:lnTo>
                      <a:pt x="2623" y="3415"/>
                    </a:lnTo>
                    <a:lnTo>
                      <a:pt x="2621" y="3432"/>
                    </a:lnTo>
                    <a:lnTo>
                      <a:pt x="2623" y="3448"/>
                    </a:lnTo>
                    <a:lnTo>
                      <a:pt x="2627" y="3461"/>
                    </a:lnTo>
                    <a:lnTo>
                      <a:pt x="2637" y="3474"/>
                    </a:lnTo>
                    <a:lnTo>
                      <a:pt x="2654" y="3484"/>
                    </a:lnTo>
                    <a:lnTo>
                      <a:pt x="2673" y="3488"/>
                    </a:lnTo>
                    <a:lnTo>
                      <a:pt x="2688" y="3486"/>
                    </a:lnTo>
                    <a:lnTo>
                      <a:pt x="2701" y="3478"/>
                    </a:lnTo>
                    <a:lnTo>
                      <a:pt x="2713" y="3467"/>
                    </a:lnTo>
                    <a:lnTo>
                      <a:pt x="2722" y="3453"/>
                    </a:lnTo>
                    <a:lnTo>
                      <a:pt x="2730" y="3438"/>
                    </a:lnTo>
                    <a:lnTo>
                      <a:pt x="2732" y="3436"/>
                    </a:lnTo>
                    <a:lnTo>
                      <a:pt x="2732" y="3434"/>
                    </a:lnTo>
                    <a:lnTo>
                      <a:pt x="2733" y="3432"/>
                    </a:lnTo>
                    <a:lnTo>
                      <a:pt x="3456" y="2181"/>
                    </a:lnTo>
                    <a:lnTo>
                      <a:pt x="3471" y="2152"/>
                    </a:lnTo>
                    <a:lnTo>
                      <a:pt x="3477" y="2130"/>
                    </a:lnTo>
                    <a:lnTo>
                      <a:pt x="3475" y="2111"/>
                    </a:lnTo>
                    <a:lnTo>
                      <a:pt x="3467" y="2095"/>
                    </a:lnTo>
                    <a:lnTo>
                      <a:pt x="3452" y="2086"/>
                    </a:lnTo>
                    <a:lnTo>
                      <a:pt x="3427" y="2078"/>
                    </a:lnTo>
                    <a:lnTo>
                      <a:pt x="3397" y="2076"/>
                    </a:lnTo>
                    <a:lnTo>
                      <a:pt x="2988" y="2078"/>
                    </a:lnTo>
                    <a:lnTo>
                      <a:pt x="2960" y="2078"/>
                    </a:lnTo>
                    <a:lnTo>
                      <a:pt x="2927" y="2076"/>
                    </a:lnTo>
                    <a:lnTo>
                      <a:pt x="2931" y="2046"/>
                    </a:lnTo>
                    <a:lnTo>
                      <a:pt x="2933" y="2021"/>
                    </a:lnTo>
                    <a:lnTo>
                      <a:pt x="3040" y="1468"/>
                    </a:lnTo>
                    <a:lnTo>
                      <a:pt x="3098" y="1154"/>
                    </a:lnTo>
                    <a:lnTo>
                      <a:pt x="3100" y="1137"/>
                    </a:lnTo>
                    <a:lnTo>
                      <a:pt x="3102" y="1120"/>
                    </a:lnTo>
                    <a:lnTo>
                      <a:pt x="3102" y="1105"/>
                    </a:lnTo>
                    <a:lnTo>
                      <a:pt x="3098" y="1091"/>
                    </a:lnTo>
                    <a:lnTo>
                      <a:pt x="3087" y="1078"/>
                    </a:lnTo>
                    <a:lnTo>
                      <a:pt x="3072" y="1068"/>
                    </a:lnTo>
                    <a:lnTo>
                      <a:pt x="3053" y="1065"/>
                    </a:lnTo>
                    <a:close/>
                    <a:moveTo>
                      <a:pt x="2935" y="0"/>
                    </a:moveTo>
                    <a:lnTo>
                      <a:pt x="3106" y="5"/>
                    </a:lnTo>
                    <a:lnTo>
                      <a:pt x="3273" y="22"/>
                    </a:lnTo>
                    <a:lnTo>
                      <a:pt x="3437" y="53"/>
                    </a:lnTo>
                    <a:lnTo>
                      <a:pt x="3596" y="93"/>
                    </a:lnTo>
                    <a:lnTo>
                      <a:pt x="3750" y="142"/>
                    </a:lnTo>
                    <a:lnTo>
                      <a:pt x="3901" y="203"/>
                    </a:lnTo>
                    <a:lnTo>
                      <a:pt x="4045" y="273"/>
                    </a:lnTo>
                    <a:lnTo>
                      <a:pt x="4186" y="353"/>
                    </a:lnTo>
                    <a:lnTo>
                      <a:pt x="4319" y="441"/>
                    </a:lnTo>
                    <a:lnTo>
                      <a:pt x="4446" y="538"/>
                    </a:lnTo>
                    <a:lnTo>
                      <a:pt x="4566" y="642"/>
                    </a:lnTo>
                    <a:lnTo>
                      <a:pt x="4678" y="757"/>
                    </a:lnTo>
                    <a:lnTo>
                      <a:pt x="4783" y="876"/>
                    </a:lnTo>
                    <a:lnTo>
                      <a:pt x="4880" y="1002"/>
                    </a:lnTo>
                    <a:lnTo>
                      <a:pt x="4969" y="1135"/>
                    </a:lnTo>
                    <a:lnTo>
                      <a:pt x="5049" y="1276"/>
                    </a:lnTo>
                    <a:lnTo>
                      <a:pt x="5119" y="1420"/>
                    </a:lnTo>
                    <a:lnTo>
                      <a:pt x="5180" y="1571"/>
                    </a:lnTo>
                    <a:lnTo>
                      <a:pt x="5229" y="1726"/>
                    </a:lnTo>
                    <a:lnTo>
                      <a:pt x="5269" y="1886"/>
                    </a:lnTo>
                    <a:lnTo>
                      <a:pt x="5300" y="2050"/>
                    </a:lnTo>
                    <a:lnTo>
                      <a:pt x="5317" y="2217"/>
                    </a:lnTo>
                    <a:lnTo>
                      <a:pt x="5322" y="2386"/>
                    </a:lnTo>
                    <a:lnTo>
                      <a:pt x="5317" y="2546"/>
                    </a:lnTo>
                    <a:lnTo>
                      <a:pt x="5301" y="2704"/>
                    </a:lnTo>
                    <a:lnTo>
                      <a:pt x="5277" y="2856"/>
                    </a:lnTo>
                    <a:lnTo>
                      <a:pt x="5241" y="3006"/>
                    </a:lnTo>
                    <a:lnTo>
                      <a:pt x="5197" y="3153"/>
                    </a:lnTo>
                    <a:lnTo>
                      <a:pt x="5144" y="3295"/>
                    </a:lnTo>
                    <a:lnTo>
                      <a:pt x="5083" y="3432"/>
                    </a:lnTo>
                    <a:lnTo>
                      <a:pt x="5013" y="3566"/>
                    </a:lnTo>
                    <a:lnTo>
                      <a:pt x="4935" y="3693"/>
                    </a:lnTo>
                    <a:lnTo>
                      <a:pt x="4849" y="3815"/>
                    </a:lnTo>
                    <a:lnTo>
                      <a:pt x="4756" y="3933"/>
                    </a:lnTo>
                    <a:lnTo>
                      <a:pt x="4655" y="4043"/>
                    </a:lnTo>
                    <a:lnTo>
                      <a:pt x="4549" y="4147"/>
                    </a:lnTo>
                    <a:lnTo>
                      <a:pt x="4549" y="5606"/>
                    </a:lnTo>
                    <a:lnTo>
                      <a:pt x="4543" y="5652"/>
                    </a:lnTo>
                    <a:lnTo>
                      <a:pt x="4526" y="5696"/>
                    </a:lnTo>
                    <a:lnTo>
                      <a:pt x="4499" y="5735"/>
                    </a:lnTo>
                    <a:lnTo>
                      <a:pt x="4465" y="5770"/>
                    </a:lnTo>
                    <a:lnTo>
                      <a:pt x="4423" y="5794"/>
                    </a:lnTo>
                    <a:lnTo>
                      <a:pt x="4380" y="5808"/>
                    </a:lnTo>
                    <a:lnTo>
                      <a:pt x="1899" y="6247"/>
                    </a:lnTo>
                    <a:lnTo>
                      <a:pt x="1859" y="6249"/>
                    </a:lnTo>
                    <a:lnTo>
                      <a:pt x="1825" y="6243"/>
                    </a:lnTo>
                    <a:lnTo>
                      <a:pt x="1794" y="6230"/>
                    </a:lnTo>
                    <a:lnTo>
                      <a:pt x="1768" y="6211"/>
                    </a:lnTo>
                    <a:lnTo>
                      <a:pt x="1747" y="6184"/>
                    </a:lnTo>
                    <a:lnTo>
                      <a:pt x="1734" y="6152"/>
                    </a:lnTo>
                    <a:lnTo>
                      <a:pt x="1728" y="6116"/>
                    </a:lnTo>
                    <a:lnTo>
                      <a:pt x="1728" y="6112"/>
                    </a:lnTo>
                    <a:lnTo>
                      <a:pt x="1726" y="5422"/>
                    </a:lnTo>
                    <a:lnTo>
                      <a:pt x="1038" y="5524"/>
                    </a:lnTo>
                    <a:lnTo>
                      <a:pt x="964" y="5519"/>
                    </a:lnTo>
                    <a:lnTo>
                      <a:pt x="893" y="5503"/>
                    </a:lnTo>
                    <a:lnTo>
                      <a:pt x="827" y="5479"/>
                    </a:lnTo>
                    <a:lnTo>
                      <a:pt x="764" y="5443"/>
                    </a:lnTo>
                    <a:lnTo>
                      <a:pt x="709" y="5401"/>
                    </a:lnTo>
                    <a:lnTo>
                      <a:pt x="660" y="5351"/>
                    </a:lnTo>
                    <a:lnTo>
                      <a:pt x="618" y="5296"/>
                    </a:lnTo>
                    <a:lnTo>
                      <a:pt x="584" y="5233"/>
                    </a:lnTo>
                    <a:lnTo>
                      <a:pt x="557" y="5167"/>
                    </a:lnTo>
                    <a:lnTo>
                      <a:pt x="542" y="5096"/>
                    </a:lnTo>
                    <a:lnTo>
                      <a:pt x="536" y="5022"/>
                    </a:lnTo>
                    <a:lnTo>
                      <a:pt x="536" y="4140"/>
                    </a:lnTo>
                    <a:lnTo>
                      <a:pt x="306" y="4140"/>
                    </a:lnTo>
                    <a:lnTo>
                      <a:pt x="243" y="4136"/>
                    </a:lnTo>
                    <a:lnTo>
                      <a:pt x="188" y="4125"/>
                    </a:lnTo>
                    <a:lnTo>
                      <a:pt x="139" y="4108"/>
                    </a:lnTo>
                    <a:lnTo>
                      <a:pt x="95" y="4081"/>
                    </a:lnTo>
                    <a:lnTo>
                      <a:pt x="61" y="4050"/>
                    </a:lnTo>
                    <a:lnTo>
                      <a:pt x="34" y="4014"/>
                    </a:lnTo>
                    <a:lnTo>
                      <a:pt x="13" y="3974"/>
                    </a:lnTo>
                    <a:lnTo>
                      <a:pt x="4" y="3929"/>
                    </a:lnTo>
                    <a:lnTo>
                      <a:pt x="0" y="3879"/>
                    </a:lnTo>
                    <a:lnTo>
                      <a:pt x="8" y="3826"/>
                    </a:lnTo>
                    <a:lnTo>
                      <a:pt x="25" y="3771"/>
                    </a:lnTo>
                    <a:lnTo>
                      <a:pt x="50" y="3714"/>
                    </a:lnTo>
                    <a:lnTo>
                      <a:pt x="536" y="2786"/>
                    </a:lnTo>
                    <a:lnTo>
                      <a:pt x="536" y="2390"/>
                    </a:lnTo>
                    <a:lnTo>
                      <a:pt x="542" y="2221"/>
                    </a:lnTo>
                    <a:lnTo>
                      <a:pt x="559" y="2057"/>
                    </a:lnTo>
                    <a:lnTo>
                      <a:pt x="587" y="1896"/>
                    </a:lnTo>
                    <a:lnTo>
                      <a:pt x="625" y="1740"/>
                    </a:lnTo>
                    <a:lnTo>
                      <a:pt x="675" y="1586"/>
                    </a:lnTo>
                    <a:lnTo>
                      <a:pt x="734" y="1439"/>
                    </a:lnTo>
                    <a:lnTo>
                      <a:pt x="802" y="1295"/>
                    </a:lnTo>
                    <a:lnTo>
                      <a:pt x="878" y="1158"/>
                    </a:lnTo>
                    <a:lnTo>
                      <a:pt x="964" y="1027"/>
                    </a:lnTo>
                    <a:lnTo>
                      <a:pt x="1059" y="901"/>
                    </a:lnTo>
                    <a:lnTo>
                      <a:pt x="1160" y="781"/>
                    </a:lnTo>
                    <a:lnTo>
                      <a:pt x="1270" y="669"/>
                    </a:lnTo>
                    <a:lnTo>
                      <a:pt x="1386" y="564"/>
                    </a:lnTo>
                    <a:lnTo>
                      <a:pt x="1509" y="467"/>
                    </a:lnTo>
                    <a:lnTo>
                      <a:pt x="1639" y="380"/>
                    </a:lnTo>
                    <a:lnTo>
                      <a:pt x="1775" y="298"/>
                    </a:lnTo>
                    <a:lnTo>
                      <a:pt x="1916" y="228"/>
                    </a:lnTo>
                    <a:lnTo>
                      <a:pt x="2051" y="169"/>
                    </a:lnTo>
                    <a:lnTo>
                      <a:pt x="2190" y="118"/>
                    </a:lnTo>
                    <a:lnTo>
                      <a:pt x="2332" y="76"/>
                    </a:lnTo>
                    <a:lnTo>
                      <a:pt x="2479" y="43"/>
                    </a:lnTo>
                    <a:lnTo>
                      <a:pt x="2627" y="19"/>
                    </a:lnTo>
                    <a:lnTo>
                      <a:pt x="2781" y="5"/>
                    </a:lnTo>
                    <a:lnTo>
                      <a:pt x="2935"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grpSp>
        <p:grpSp>
          <p:nvGrpSpPr>
            <p:cNvPr id="12" name="Group 35">
              <a:extLst>
                <a:ext uri="{FF2B5EF4-FFF2-40B4-BE49-F238E27FC236}">
                  <a16:creationId xmlns:a16="http://schemas.microsoft.com/office/drawing/2014/main" id="{2FE19610-4743-47DA-BFCB-B39004BAA6A8}"/>
                </a:ext>
              </a:extLst>
            </p:cNvPr>
            <p:cNvGrpSpPr/>
            <p:nvPr/>
          </p:nvGrpSpPr>
          <p:grpSpPr>
            <a:xfrm>
              <a:off x="5085808" y="2515760"/>
              <a:ext cx="848688" cy="847421"/>
              <a:chOff x="5085808" y="2515760"/>
              <a:chExt cx="848688" cy="847421"/>
            </a:xfrm>
          </p:grpSpPr>
          <p:sp>
            <p:nvSpPr>
              <p:cNvPr id="52" name="Oval 12">
                <a:extLst>
                  <a:ext uri="{FF2B5EF4-FFF2-40B4-BE49-F238E27FC236}">
                    <a16:creationId xmlns:a16="http://schemas.microsoft.com/office/drawing/2014/main" id="{6B7E8687-6D29-4532-BC4F-742402F59449}"/>
                  </a:ext>
                </a:extLst>
              </p:cNvPr>
              <p:cNvSpPr>
                <a:spLocks noChangeArrowheads="1"/>
              </p:cNvSpPr>
              <p:nvPr/>
            </p:nvSpPr>
            <p:spPr bwMode="auto">
              <a:xfrm>
                <a:off x="5085808" y="2515760"/>
                <a:ext cx="848688" cy="847421"/>
              </a:xfrm>
              <a:prstGeom prst="ellipse">
                <a:avLst/>
              </a:pr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grpSp>
            <p:nvGrpSpPr>
              <p:cNvPr id="53" name="Group 164">
                <a:extLst>
                  <a:ext uri="{FF2B5EF4-FFF2-40B4-BE49-F238E27FC236}">
                    <a16:creationId xmlns:a16="http://schemas.microsoft.com/office/drawing/2014/main" id="{72C38978-1E88-4691-B538-0C9B6E43203D}"/>
                  </a:ext>
                </a:extLst>
              </p:cNvPr>
              <p:cNvGrpSpPr>
                <a:grpSpLocks noChangeAspect="1"/>
              </p:cNvGrpSpPr>
              <p:nvPr/>
            </p:nvGrpSpPr>
            <p:grpSpPr bwMode="auto">
              <a:xfrm>
                <a:off x="5379926" y="2745505"/>
                <a:ext cx="260453" cy="387931"/>
                <a:chOff x="5103" y="2075"/>
                <a:chExt cx="2133" cy="3177"/>
              </a:xfrm>
              <a:solidFill>
                <a:schemeClr val="bg1"/>
              </a:solidFill>
            </p:grpSpPr>
            <p:sp>
              <p:nvSpPr>
                <p:cNvPr id="54" name="Freeform 166">
                  <a:extLst>
                    <a:ext uri="{FF2B5EF4-FFF2-40B4-BE49-F238E27FC236}">
                      <a16:creationId xmlns:a16="http://schemas.microsoft.com/office/drawing/2014/main" id="{7E74B607-001A-4D84-A00D-749B9474A0FD}"/>
                    </a:ext>
                  </a:extLst>
                </p:cNvPr>
                <p:cNvSpPr>
                  <a:spLocks noEditPoints="1"/>
                </p:cNvSpPr>
                <p:nvPr/>
              </p:nvSpPr>
              <p:spPr bwMode="auto">
                <a:xfrm>
                  <a:off x="5103" y="2495"/>
                  <a:ext cx="536" cy="704"/>
                </a:xfrm>
                <a:custGeom>
                  <a:avLst/>
                  <a:gdLst>
                    <a:gd name="T0" fmla="*/ 460 w 1071"/>
                    <a:gd name="T1" fmla="*/ 606 h 1408"/>
                    <a:gd name="T2" fmla="*/ 371 w 1071"/>
                    <a:gd name="T3" fmla="*/ 668 h 1408"/>
                    <a:gd name="T4" fmla="*/ 357 w 1071"/>
                    <a:gd name="T5" fmla="*/ 759 h 1408"/>
                    <a:gd name="T6" fmla="*/ 411 w 1071"/>
                    <a:gd name="T7" fmla="*/ 824 h 1408"/>
                    <a:gd name="T8" fmla="*/ 514 w 1071"/>
                    <a:gd name="T9" fmla="*/ 869 h 1408"/>
                    <a:gd name="T10" fmla="*/ 604 w 1071"/>
                    <a:gd name="T11" fmla="*/ 913 h 1408"/>
                    <a:gd name="T12" fmla="*/ 595 w 1071"/>
                    <a:gd name="T13" fmla="*/ 963 h 1408"/>
                    <a:gd name="T14" fmla="*/ 523 w 1071"/>
                    <a:gd name="T15" fmla="*/ 981 h 1408"/>
                    <a:gd name="T16" fmla="*/ 375 w 1071"/>
                    <a:gd name="T17" fmla="*/ 948 h 1408"/>
                    <a:gd name="T18" fmla="*/ 413 w 1071"/>
                    <a:gd name="T19" fmla="*/ 1058 h 1408"/>
                    <a:gd name="T20" fmla="*/ 500 w 1071"/>
                    <a:gd name="T21" fmla="*/ 1141 h 1408"/>
                    <a:gd name="T22" fmla="*/ 635 w 1071"/>
                    <a:gd name="T23" fmla="*/ 1052 h 1408"/>
                    <a:gd name="T24" fmla="*/ 730 w 1071"/>
                    <a:gd name="T25" fmla="*/ 987 h 1408"/>
                    <a:gd name="T26" fmla="*/ 745 w 1071"/>
                    <a:gd name="T27" fmla="*/ 892 h 1408"/>
                    <a:gd name="T28" fmla="*/ 683 w 1071"/>
                    <a:gd name="T29" fmla="*/ 817 h 1408"/>
                    <a:gd name="T30" fmla="*/ 558 w 1071"/>
                    <a:gd name="T31" fmla="*/ 768 h 1408"/>
                    <a:gd name="T32" fmla="*/ 494 w 1071"/>
                    <a:gd name="T33" fmla="*/ 730 h 1408"/>
                    <a:gd name="T34" fmla="*/ 500 w 1071"/>
                    <a:gd name="T35" fmla="*/ 693 h 1408"/>
                    <a:gd name="T36" fmla="*/ 568 w 1071"/>
                    <a:gd name="T37" fmla="*/ 674 h 1408"/>
                    <a:gd name="T38" fmla="*/ 676 w 1071"/>
                    <a:gd name="T39" fmla="*/ 693 h 1408"/>
                    <a:gd name="T40" fmla="*/ 699 w 1071"/>
                    <a:gd name="T41" fmla="*/ 606 h 1408"/>
                    <a:gd name="T42" fmla="*/ 593 w 1071"/>
                    <a:gd name="T43" fmla="*/ 589 h 1408"/>
                    <a:gd name="T44" fmla="*/ 158 w 1071"/>
                    <a:gd name="T45" fmla="*/ 0 h 1408"/>
                    <a:gd name="T46" fmla="*/ 210 w 1071"/>
                    <a:gd name="T47" fmla="*/ 21 h 1408"/>
                    <a:gd name="T48" fmla="*/ 301 w 1071"/>
                    <a:gd name="T49" fmla="*/ 77 h 1408"/>
                    <a:gd name="T50" fmla="*/ 417 w 1071"/>
                    <a:gd name="T51" fmla="*/ 137 h 1408"/>
                    <a:gd name="T52" fmla="*/ 546 w 1071"/>
                    <a:gd name="T53" fmla="*/ 176 h 1408"/>
                    <a:gd name="T54" fmla="*/ 674 w 1071"/>
                    <a:gd name="T55" fmla="*/ 166 h 1408"/>
                    <a:gd name="T56" fmla="*/ 788 w 1071"/>
                    <a:gd name="T57" fmla="*/ 89 h 1408"/>
                    <a:gd name="T58" fmla="*/ 869 w 1071"/>
                    <a:gd name="T59" fmla="*/ 33 h 1408"/>
                    <a:gd name="T60" fmla="*/ 913 w 1071"/>
                    <a:gd name="T61" fmla="*/ 23 h 1408"/>
                    <a:gd name="T62" fmla="*/ 927 w 1071"/>
                    <a:gd name="T63" fmla="*/ 44 h 1408"/>
                    <a:gd name="T64" fmla="*/ 923 w 1071"/>
                    <a:gd name="T65" fmla="*/ 77 h 1408"/>
                    <a:gd name="T66" fmla="*/ 911 w 1071"/>
                    <a:gd name="T67" fmla="*/ 102 h 1408"/>
                    <a:gd name="T68" fmla="*/ 886 w 1071"/>
                    <a:gd name="T69" fmla="*/ 141 h 1408"/>
                    <a:gd name="T70" fmla="*/ 838 w 1071"/>
                    <a:gd name="T71" fmla="*/ 208 h 1408"/>
                    <a:gd name="T72" fmla="*/ 792 w 1071"/>
                    <a:gd name="T73" fmla="*/ 276 h 1408"/>
                    <a:gd name="T74" fmla="*/ 772 w 1071"/>
                    <a:gd name="T75" fmla="*/ 305 h 1408"/>
                    <a:gd name="T76" fmla="*/ 859 w 1071"/>
                    <a:gd name="T77" fmla="*/ 421 h 1408"/>
                    <a:gd name="T78" fmla="*/ 996 w 1071"/>
                    <a:gd name="T79" fmla="*/ 579 h 1408"/>
                    <a:gd name="T80" fmla="*/ 1068 w 1071"/>
                    <a:gd name="T81" fmla="*/ 784 h 1408"/>
                    <a:gd name="T82" fmla="*/ 1048 w 1071"/>
                    <a:gd name="T83" fmla="*/ 1017 h 1408"/>
                    <a:gd name="T84" fmla="*/ 940 w 1071"/>
                    <a:gd name="T85" fmla="*/ 1218 h 1408"/>
                    <a:gd name="T86" fmla="*/ 763 w 1071"/>
                    <a:gd name="T87" fmla="*/ 1355 h 1408"/>
                    <a:gd name="T88" fmla="*/ 537 w 1071"/>
                    <a:gd name="T89" fmla="*/ 1408 h 1408"/>
                    <a:gd name="T90" fmla="*/ 311 w 1071"/>
                    <a:gd name="T91" fmla="*/ 1355 h 1408"/>
                    <a:gd name="T92" fmla="*/ 131 w 1071"/>
                    <a:gd name="T93" fmla="*/ 1218 h 1408"/>
                    <a:gd name="T94" fmla="*/ 23 w 1071"/>
                    <a:gd name="T95" fmla="*/ 1017 h 1408"/>
                    <a:gd name="T96" fmla="*/ 6 w 1071"/>
                    <a:gd name="T97" fmla="*/ 776 h 1408"/>
                    <a:gd name="T98" fmla="*/ 89 w 1071"/>
                    <a:gd name="T99" fmla="*/ 556 h 1408"/>
                    <a:gd name="T100" fmla="*/ 249 w 1071"/>
                    <a:gd name="T101" fmla="*/ 396 h 1408"/>
                    <a:gd name="T102" fmla="*/ 365 w 1071"/>
                    <a:gd name="T103" fmla="*/ 305 h 1408"/>
                    <a:gd name="T104" fmla="*/ 338 w 1071"/>
                    <a:gd name="T105" fmla="*/ 274 h 1408"/>
                    <a:gd name="T106" fmla="*/ 276 w 1071"/>
                    <a:gd name="T107" fmla="*/ 201 h 1408"/>
                    <a:gd name="T108" fmla="*/ 209 w 1071"/>
                    <a:gd name="T109" fmla="*/ 112 h 1408"/>
                    <a:gd name="T110" fmla="*/ 160 w 1071"/>
                    <a:gd name="T111" fmla="*/ 35 h 1408"/>
                    <a:gd name="T112" fmla="*/ 158 w 1071"/>
                    <a:gd name="T113" fmla="*/ 0 h 1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071" h="1408">
                      <a:moveTo>
                        <a:pt x="504" y="523"/>
                      </a:moveTo>
                      <a:lnTo>
                        <a:pt x="504" y="595"/>
                      </a:lnTo>
                      <a:lnTo>
                        <a:pt x="460" y="606"/>
                      </a:lnTo>
                      <a:lnTo>
                        <a:pt x="423" y="622"/>
                      </a:lnTo>
                      <a:lnTo>
                        <a:pt x="392" y="643"/>
                      </a:lnTo>
                      <a:lnTo>
                        <a:pt x="371" y="668"/>
                      </a:lnTo>
                      <a:lnTo>
                        <a:pt x="357" y="697"/>
                      </a:lnTo>
                      <a:lnTo>
                        <a:pt x="353" y="730"/>
                      </a:lnTo>
                      <a:lnTo>
                        <a:pt x="357" y="759"/>
                      </a:lnTo>
                      <a:lnTo>
                        <a:pt x="369" y="784"/>
                      </a:lnTo>
                      <a:lnTo>
                        <a:pt x="386" y="807"/>
                      </a:lnTo>
                      <a:lnTo>
                        <a:pt x="411" y="824"/>
                      </a:lnTo>
                      <a:lnTo>
                        <a:pt x="440" y="842"/>
                      </a:lnTo>
                      <a:lnTo>
                        <a:pt x="475" y="855"/>
                      </a:lnTo>
                      <a:lnTo>
                        <a:pt x="514" y="869"/>
                      </a:lnTo>
                      <a:lnTo>
                        <a:pt x="558" y="882"/>
                      </a:lnTo>
                      <a:lnTo>
                        <a:pt x="587" y="898"/>
                      </a:lnTo>
                      <a:lnTo>
                        <a:pt x="604" y="913"/>
                      </a:lnTo>
                      <a:lnTo>
                        <a:pt x="610" y="934"/>
                      </a:lnTo>
                      <a:lnTo>
                        <a:pt x="606" y="950"/>
                      </a:lnTo>
                      <a:lnTo>
                        <a:pt x="595" y="963"/>
                      </a:lnTo>
                      <a:lnTo>
                        <a:pt x="575" y="973"/>
                      </a:lnTo>
                      <a:lnTo>
                        <a:pt x="552" y="979"/>
                      </a:lnTo>
                      <a:lnTo>
                        <a:pt x="523" y="981"/>
                      </a:lnTo>
                      <a:lnTo>
                        <a:pt x="467" y="975"/>
                      </a:lnTo>
                      <a:lnTo>
                        <a:pt x="417" y="963"/>
                      </a:lnTo>
                      <a:lnTo>
                        <a:pt x="375" y="948"/>
                      </a:lnTo>
                      <a:lnTo>
                        <a:pt x="348" y="1037"/>
                      </a:lnTo>
                      <a:lnTo>
                        <a:pt x="376" y="1048"/>
                      </a:lnTo>
                      <a:lnTo>
                        <a:pt x="413" y="1058"/>
                      </a:lnTo>
                      <a:lnTo>
                        <a:pt x="456" y="1066"/>
                      </a:lnTo>
                      <a:lnTo>
                        <a:pt x="500" y="1068"/>
                      </a:lnTo>
                      <a:lnTo>
                        <a:pt x="500" y="1141"/>
                      </a:lnTo>
                      <a:lnTo>
                        <a:pt x="589" y="1141"/>
                      </a:lnTo>
                      <a:lnTo>
                        <a:pt x="589" y="1064"/>
                      </a:lnTo>
                      <a:lnTo>
                        <a:pt x="635" y="1052"/>
                      </a:lnTo>
                      <a:lnTo>
                        <a:pt x="676" y="1035"/>
                      </a:lnTo>
                      <a:lnTo>
                        <a:pt x="707" y="1014"/>
                      </a:lnTo>
                      <a:lnTo>
                        <a:pt x="730" y="987"/>
                      </a:lnTo>
                      <a:lnTo>
                        <a:pt x="743" y="956"/>
                      </a:lnTo>
                      <a:lnTo>
                        <a:pt x="747" y="923"/>
                      </a:lnTo>
                      <a:lnTo>
                        <a:pt x="745" y="892"/>
                      </a:lnTo>
                      <a:lnTo>
                        <a:pt x="734" y="863"/>
                      </a:lnTo>
                      <a:lnTo>
                        <a:pt x="712" y="838"/>
                      </a:lnTo>
                      <a:lnTo>
                        <a:pt x="683" y="817"/>
                      </a:lnTo>
                      <a:lnTo>
                        <a:pt x="647" y="797"/>
                      </a:lnTo>
                      <a:lnTo>
                        <a:pt x="598" y="782"/>
                      </a:lnTo>
                      <a:lnTo>
                        <a:pt x="558" y="768"/>
                      </a:lnTo>
                      <a:lnTo>
                        <a:pt x="527" y="755"/>
                      </a:lnTo>
                      <a:lnTo>
                        <a:pt x="506" y="743"/>
                      </a:lnTo>
                      <a:lnTo>
                        <a:pt x="494" y="730"/>
                      </a:lnTo>
                      <a:lnTo>
                        <a:pt x="490" y="716"/>
                      </a:lnTo>
                      <a:lnTo>
                        <a:pt x="492" y="705"/>
                      </a:lnTo>
                      <a:lnTo>
                        <a:pt x="500" y="693"/>
                      </a:lnTo>
                      <a:lnTo>
                        <a:pt x="515" y="683"/>
                      </a:lnTo>
                      <a:lnTo>
                        <a:pt x="537" y="676"/>
                      </a:lnTo>
                      <a:lnTo>
                        <a:pt x="568" y="674"/>
                      </a:lnTo>
                      <a:lnTo>
                        <a:pt x="612" y="678"/>
                      </a:lnTo>
                      <a:lnTo>
                        <a:pt x="649" y="683"/>
                      </a:lnTo>
                      <a:lnTo>
                        <a:pt x="676" y="693"/>
                      </a:lnTo>
                      <a:lnTo>
                        <a:pt x="697" y="699"/>
                      </a:lnTo>
                      <a:lnTo>
                        <a:pt x="722" y="614"/>
                      </a:lnTo>
                      <a:lnTo>
                        <a:pt x="699" y="606"/>
                      </a:lnTo>
                      <a:lnTo>
                        <a:pt x="670" y="598"/>
                      </a:lnTo>
                      <a:lnTo>
                        <a:pt x="635" y="593"/>
                      </a:lnTo>
                      <a:lnTo>
                        <a:pt x="593" y="589"/>
                      </a:lnTo>
                      <a:lnTo>
                        <a:pt x="593" y="523"/>
                      </a:lnTo>
                      <a:lnTo>
                        <a:pt x="504" y="523"/>
                      </a:lnTo>
                      <a:close/>
                      <a:moveTo>
                        <a:pt x="158" y="0"/>
                      </a:moveTo>
                      <a:lnTo>
                        <a:pt x="170" y="2"/>
                      </a:lnTo>
                      <a:lnTo>
                        <a:pt x="187" y="10"/>
                      </a:lnTo>
                      <a:lnTo>
                        <a:pt x="210" y="21"/>
                      </a:lnTo>
                      <a:lnTo>
                        <a:pt x="236" y="38"/>
                      </a:lnTo>
                      <a:lnTo>
                        <a:pt x="266" y="56"/>
                      </a:lnTo>
                      <a:lnTo>
                        <a:pt x="301" y="77"/>
                      </a:lnTo>
                      <a:lnTo>
                        <a:pt x="338" y="96"/>
                      </a:lnTo>
                      <a:lnTo>
                        <a:pt x="376" y="118"/>
                      </a:lnTo>
                      <a:lnTo>
                        <a:pt x="417" y="137"/>
                      </a:lnTo>
                      <a:lnTo>
                        <a:pt x="460" y="152"/>
                      </a:lnTo>
                      <a:lnTo>
                        <a:pt x="504" y="166"/>
                      </a:lnTo>
                      <a:lnTo>
                        <a:pt x="546" y="176"/>
                      </a:lnTo>
                      <a:lnTo>
                        <a:pt x="591" y="179"/>
                      </a:lnTo>
                      <a:lnTo>
                        <a:pt x="633" y="178"/>
                      </a:lnTo>
                      <a:lnTo>
                        <a:pt x="674" y="166"/>
                      </a:lnTo>
                      <a:lnTo>
                        <a:pt x="712" y="149"/>
                      </a:lnTo>
                      <a:lnTo>
                        <a:pt x="751" y="122"/>
                      </a:lnTo>
                      <a:lnTo>
                        <a:pt x="788" y="89"/>
                      </a:lnTo>
                      <a:lnTo>
                        <a:pt x="820" y="64"/>
                      </a:lnTo>
                      <a:lnTo>
                        <a:pt x="848" y="44"/>
                      </a:lnTo>
                      <a:lnTo>
                        <a:pt x="869" y="33"/>
                      </a:lnTo>
                      <a:lnTo>
                        <a:pt x="888" y="25"/>
                      </a:lnTo>
                      <a:lnTo>
                        <a:pt x="902" y="21"/>
                      </a:lnTo>
                      <a:lnTo>
                        <a:pt x="913" y="23"/>
                      </a:lnTo>
                      <a:lnTo>
                        <a:pt x="919" y="27"/>
                      </a:lnTo>
                      <a:lnTo>
                        <a:pt x="925" y="35"/>
                      </a:lnTo>
                      <a:lnTo>
                        <a:pt x="927" y="44"/>
                      </a:lnTo>
                      <a:lnTo>
                        <a:pt x="927" y="54"/>
                      </a:lnTo>
                      <a:lnTo>
                        <a:pt x="927" y="66"/>
                      </a:lnTo>
                      <a:lnTo>
                        <a:pt x="923" y="77"/>
                      </a:lnTo>
                      <a:lnTo>
                        <a:pt x="919" y="87"/>
                      </a:lnTo>
                      <a:lnTo>
                        <a:pt x="915" y="96"/>
                      </a:lnTo>
                      <a:lnTo>
                        <a:pt x="911" y="102"/>
                      </a:lnTo>
                      <a:lnTo>
                        <a:pt x="905" y="110"/>
                      </a:lnTo>
                      <a:lnTo>
                        <a:pt x="898" y="123"/>
                      </a:lnTo>
                      <a:lnTo>
                        <a:pt x="886" y="141"/>
                      </a:lnTo>
                      <a:lnTo>
                        <a:pt x="871" y="162"/>
                      </a:lnTo>
                      <a:lnTo>
                        <a:pt x="855" y="185"/>
                      </a:lnTo>
                      <a:lnTo>
                        <a:pt x="838" y="208"/>
                      </a:lnTo>
                      <a:lnTo>
                        <a:pt x="820" y="234"/>
                      </a:lnTo>
                      <a:lnTo>
                        <a:pt x="805" y="255"/>
                      </a:lnTo>
                      <a:lnTo>
                        <a:pt x="792" y="276"/>
                      </a:lnTo>
                      <a:lnTo>
                        <a:pt x="782" y="291"/>
                      </a:lnTo>
                      <a:lnTo>
                        <a:pt x="774" y="301"/>
                      </a:lnTo>
                      <a:lnTo>
                        <a:pt x="772" y="305"/>
                      </a:lnTo>
                      <a:lnTo>
                        <a:pt x="737" y="349"/>
                      </a:lnTo>
                      <a:lnTo>
                        <a:pt x="801" y="382"/>
                      </a:lnTo>
                      <a:lnTo>
                        <a:pt x="859" y="421"/>
                      </a:lnTo>
                      <a:lnTo>
                        <a:pt x="911" y="467"/>
                      </a:lnTo>
                      <a:lnTo>
                        <a:pt x="958" y="519"/>
                      </a:lnTo>
                      <a:lnTo>
                        <a:pt x="996" y="579"/>
                      </a:lnTo>
                      <a:lnTo>
                        <a:pt x="1029" y="643"/>
                      </a:lnTo>
                      <a:lnTo>
                        <a:pt x="1052" y="710"/>
                      </a:lnTo>
                      <a:lnTo>
                        <a:pt x="1068" y="784"/>
                      </a:lnTo>
                      <a:lnTo>
                        <a:pt x="1071" y="859"/>
                      </a:lnTo>
                      <a:lnTo>
                        <a:pt x="1066" y="940"/>
                      </a:lnTo>
                      <a:lnTo>
                        <a:pt x="1048" y="1017"/>
                      </a:lnTo>
                      <a:lnTo>
                        <a:pt x="1021" y="1089"/>
                      </a:lnTo>
                      <a:lnTo>
                        <a:pt x="985" y="1156"/>
                      </a:lnTo>
                      <a:lnTo>
                        <a:pt x="940" y="1218"/>
                      </a:lnTo>
                      <a:lnTo>
                        <a:pt x="888" y="1272"/>
                      </a:lnTo>
                      <a:lnTo>
                        <a:pt x="828" y="1319"/>
                      </a:lnTo>
                      <a:lnTo>
                        <a:pt x="763" y="1355"/>
                      </a:lnTo>
                      <a:lnTo>
                        <a:pt x="691" y="1384"/>
                      </a:lnTo>
                      <a:lnTo>
                        <a:pt x="616" y="1402"/>
                      </a:lnTo>
                      <a:lnTo>
                        <a:pt x="537" y="1408"/>
                      </a:lnTo>
                      <a:lnTo>
                        <a:pt x="458" y="1402"/>
                      </a:lnTo>
                      <a:lnTo>
                        <a:pt x="380" y="1384"/>
                      </a:lnTo>
                      <a:lnTo>
                        <a:pt x="311" y="1355"/>
                      </a:lnTo>
                      <a:lnTo>
                        <a:pt x="243" y="1319"/>
                      </a:lnTo>
                      <a:lnTo>
                        <a:pt x="185" y="1272"/>
                      </a:lnTo>
                      <a:lnTo>
                        <a:pt x="131" y="1218"/>
                      </a:lnTo>
                      <a:lnTo>
                        <a:pt x="87" y="1156"/>
                      </a:lnTo>
                      <a:lnTo>
                        <a:pt x="50" y="1089"/>
                      </a:lnTo>
                      <a:lnTo>
                        <a:pt x="23" y="1017"/>
                      </a:lnTo>
                      <a:lnTo>
                        <a:pt x="6" y="940"/>
                      </a:lnTo>
                      <a:lnTo>
                        <a:pt x="0" y="859"/>
                      </a:lnTo>
                      <a:lnTo>
                        <a:pt x="6" y="776"/>
                      </a:lnTo>
                      <a:lnTo>
                        <a:pt x="23" y="699"/>
                      </a:lnTo>
                      <a:lnTo>
                        <a:pt x="50" y="625"/>
                      </a:lnTo>
                      <a:lnTo>
                        <a:pt x="89" y="556"/>
                      </a:lnTo>
                      <a:lnTo>
                        <a:pt x="133" y="496"/>
                      </a:lnTo>
                      <a:lnTo>
                        <a:pt x="187" y="442"/>
                      </a:lnTo>
                      <a:lnTo>
                        <a:pt x="249" y="396"/>
                      </a:lnTo>
                      <a:lnTo>
                        <a:pt x="317" y="359"/>
                      </a:lnTo>
                      <a:lnTo>
                        <a:pt x="388" y="330"/>
                      </a:lnTo>
                      <a:lnTo>
                        <a:pt x="365" y="305"/>
                      </a:lnTo>
                      <a:lnTo>
                        <a:pt x="361" y="301"/>
                      </a:lnTo>
                      <a:lnTo>
                        <a:pt x="351" y="291"/>
                      </a:lnTo>
                      <a:lnTo>
                        <a:pt x="338" y="274"/>
                      </a:lnTo>
                      <a:lnTo>
                        <a:pt x="321" y="253"/>
                      </a:lnTo>
                      <a:lnTo>
                        <a:pt x="299" y="228"/>
                      </a:lnTo>
                      <a:lnTo>
                        <a:pt x="276" y="201"/>
                      </a:lnTo>
                      <a:lnTo>
                        <a:pt x="253" y="172"/>
                      </a:lnTo>
                      <a:lnTo>
                        <a:pt x="230" y="143"/>
                      </a:lnTo>
                      <a:lnTo>
                        <a:pt x="209" y="112"/>
                      </a:lnTo>
                      <a:lnTo>
                        <a:pt x="189" y="85"/>
                      </a:lnTo>
                      <a:lnTo>
                        <a:pt x="172" y="58"/>
                      </a:lnTo>
                      <a:lnTo>
                        <a:pt x="160" y="35"/>
                      </a:lnTo>
                      <a:lnTo>
                        <a:pt x="155" y="17"/>
                      </a:lnTo>
                      <a:lnTo>
                        <a:pt x="153" y="4"/>
                      </a:lnTo>
                      <a:lnTo>
                        <a:pt x="15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55" name="Freeform 167">
                  <a:extLst>
                    <a:ext uri="{FF2B5EF4-FFF2-40B4-BE49-F238E27FC236}">
                      <a16:creationId xmlns:a16="http://schemas.microsoft.com/office/drawing/2014/main" id="{3562FBA7-6020-4EA8-9F14-A558777D2D93}"/>
                    </a:ext>
                  </a:extLst>
                </p:cNvPr>
                <p:cNvSpPr>
                  <a:spLocks noEditPoints="1"/>
                </p:cNvSpPr>
                <p:nvPr/>
              </p:nvSpPr>
              <p:spPr bwMode="auto">
                <a:xfrm>
                  <a:off x="6648" y="2611"/>
                  <a:ext cx="588" cy="588"/>
                </a:xfrm>
                <a:custGeom>
                  <a:avLst/>
                  <a:gdLst>
                    <a:gd name="T0" fmla="*/ 513 w 1175"/>
                    <a:gd name="T1" fmla="*/ 135 h 1176"/>
                    <a:gd name="T2" fmla="*/ 378 w 1175"/>
                    <a:gd name="T3" fmla="*/ 179 h 1176"/>
                    <a:gd name="T4" fmla="*/ 264 w 1175"/>
                    <a:gd name="T5" fmla="*/ 262 h 1176"/>
                    <a:gd name="T6" fmla="*/ 181 w 1175"/>
                    <a:gd name="T7" fmla="*/ 376 h 1176"/>
                    <a:gd name="T8" fmla="*/ 135 w 1175"/>
                    <a:gd name="T9" fmla="*/ 513 h 1176"/>
                    <a:gd name="T10" fmla="*/ 135 w 1175"/>
                    <a:gd name="T11" fmla="*/ 662 h 1176"/>
                    <a:gd name="T12" fmla="*/ 181 w 1175"/>
                    <a:gd name="T13" fmla="*/ 797 h 1176"/>
                    <a:gd name="T14" fmla="*/ 264 w 1175"/>
                    <a:gd name="T15" fmla="*/ 911 h 1176"/>
                    <a:gd name="T16" fmla="*/ 378 w 1175"/>
                    <a:gd name="T17" fmla="*/ 994 h 1176"/>
                    <a:gd name="T18" fmla="*/ 513 w 1175"/>
                    <a:gd name="T19" fmla="*/ 1040 h 1176"/>
                    <a:gd name="T20" fmla="*/ 662 w 1175"/>
                    <a:gd name="T21" fmla="*/ 1040 h 1176"/>
                    <a:gd name="T22" fmla="*/ 799 w 1175"/>
                    <a:gd name="T23" fmla="*/ 994 h 1176"/>
                    <a:gd name="T24" fmla="*/ 913 w 1175"/>
                    <a:gd name="T25" fmla="*/ 911 h 1176"/>
                    <a:gd name="T26" fmla="*/ 996 w 1175"/>
                    <a:gd name="T27" fmla="*/ 797 h 1176"/>
                    <a:gd name="T28" fmla="*/ 1040 w 1175"/>
                    <a:gd name="T29" fmla="*/ 662 h 1176"/>
                    <a:gd name="T30" fmla="*/ 1040 w 1175"/>
                    <a:gd name="T31" fmla="*/ 513 h 1176"/>
                    <a:gd name="T32" fmla="*/ 996 w 1175"/>
                    <a:gd name="T33" fmla="*/ 376 h 1176"/>
                    <a:gd name="T34" fmla="*/ 913 w 1175"/>
                    <a:gd name="T35" fmla="*/ 262 h 1176"/>
                    <a:gd name="T36" fmla="*/ 799 w 1175"/>
                    <a:gd name="T37" fmla="*/ 179 h 1176"/>
                    <a:gd name="T38" fmla="*/ 662 w 1175"/>
                    <a:gd name="T39" fmla="*/ 135 h 1176"/>
                    <a:gd name="T40" fmla="*/ 588 w 1175"/>
                    <a:gd name="T41" fmla="*/ 0 h 1176"/>
                    <a:gd name="T42" fmla="*/ 745 w 1175"/>
                    <a:gd name="T43" fmla="*/ 21 h 1176"/>
                    <a:gd name="T44" fmla="*/ 884 w 1175"/>
                    <a:gd name="T45" fmla="*/ 79 h 1176"/>
                    <a:gd name="T46" fmla="*/ 1003 w 1175"/>
                    <a:gd name="T47" fmla="*/ 171 h 1176"/>
                    <a:gd name="T48" fmla="*/ 1096 w 1175"/>
                    <a:gd name="T49" fmla="*/ 291 h 1176"/>
                    <a:gd name="T50" fmla="*/ 1154 w 1175"/>
                    <a:gd name="T51" fmla="*/ 430 h 1176"/>
                    <a:gd name="T52" fmla="*/ 1175 w 1175"/>
                    <a:gd name="T53" fmla="*/ 587 h 1176"/>
                    <a:gd name="T54" fmla="*/ 1154 w 1175"/>
                    <a:gd name="T55" fmla="*/ 743 h 1176"/>
                    <a:gd name="T56" fmla="*/ 1096 w 1175"/>
                    <a:gd name="T57" fmla="*/ 884 h 1176"/>
                    <a:gd name="T58" fmla="*/ 1003 w 1175"/>
                    <a:gd name="T59" fmla="*/ 1004 h 1176"/>
                    <a:gd name="T60" fmla="*/ 884 w 1175"/>
                    <a:gd name="T61" fmla="*/ 1094 h 1176"/>
                    <a:gd name="T62" fmla="*/ 745 w 1175"/>
                    <a:gd name="T63" fmla="*/ 1154 h 1176"/>
                    <a:gd name="T64" fmla="*/ 588 w 1175"/>
                    <a:gd name="T65" fmla="*/ 1176 h 1176"/>
                    <a:gd name="T66" fmla="*/ 432 w 1175"/>
                    <a:gd name="T67" fmla="*/ 1154 h 1176"/>
                    <a:gd name="T68" fmla="*/ 291 w 1175"/>
                    <a:gd name="T69" fmla="*/ 1094 h 1176"/>
                    <a:gd name="T70" fmla="*/ 171 w 1175"/>
                    <a:gd name="T71" fmla="*/ 1004 h 1176"/>
                    <a:gd name="T72" fmla="*/ 81 w 1175"/>
                    <a:gd name="T73" fmla="*/ 884 h 1176"/>
                    <a:gd name="T74" fmla="*/ 21 w 1175"/>
                    <a:gd name="T75" fmla="*/ 743 h 1176"/>
                    <a:gd name="T76" fmla="*/ 0 w 1175"/>
                    <a:gd name="T77" fmla="*/ 587 h 1176"/>
                    <a:gd name="T78" fmla="*/ 21 w 1175"/>
                    <a:gd name="T79" fmla="*/ 430 h 1176"/>
                    <a:gd name="T80" fmla="*/ 81 w 1175"/>
                    <a:gd name="T81" fmla="*/ 291 h 1176"/>
                    <a:gd name="T82" fmla="*/ 171 w 1175"/>
                    <a:gd name="T83" fmla="*/ 171 h 1176"/>
                    <a:gd name="T84" fmla="*/ 291 w 1175"/>
                    <a:gd name="T85" fmla="*/ 79 h 1176"/>
                    <a:gd name="T86" fmla="*/ 432 w 1175"/>
                    <a:gd name="T87" fmla="*/ 21 h 1176"/>
                    <a:gd name="T88" fmla="*/ 588 w 1175"/>
                    <a:gd name="T89" fmla="*/ 0 h 1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175" h="1176">
                      <a:moveTo>
                        <a:pt x="588" y="129"/>
                      </a:moveTo>
                      <a:lnTo>
                        <a:pt x="513" y="135"/>
                      </a:lnTo>
                      <a:lnTo>
                        <a:pt x="444" y="152"/>
                      </a:lnTo>
                      <a:lnTo>
                        <a:pt x="378" y="179"/>
                      </a:lnTo>
                      <a:lnTo>
                        <a:pt x="316" y="218"/>
                      </a:lnTo>
                      <a:lnTo>
                        <a:pt x="264" y="262"/>
                      </a:lnTo>
                      <a:lnTo>
                        <a:pt x="218" y="316"/>
                      </a:lnTo>
                      <a:lnTo>
                        <a:pt x="181" y="376"/>
                      </a:lnTo>
                      <a:lnTo>
                        <a:pt x="152" y="442"/>
                      </a:lnTo>
                      <a:lnTo>
                        <a:pt x="135" y="513"/>
                      </a:lnTo>
                      <a:lnTo>
                        <a:pt x="129" y="587"/>
                      </a:lnTo>
                      <a:lnTo>
                        <a:pt x="135" y="662"/>
                      </a:lnTo>
                      <a:lnTo>
                        <a:pt x="152" y="731"/>
                      </a:lnTo>
                      <a:lnTo>
                        <a:pt x="181" y="797"/>
                      </a:lnTo>
                      <a:lnTo>
                        <a:pt x="218" y="857"/>
                      </a:lnTo>
                      <a:lnTo>
                        <a:pt x="264" y="911"/>
                      </a:lnTo>
                      <a:lnTo>
                        <a:pt x="316" y="957"/>
                      </a:lnTo>
                      <a:lnTo>
                        <a:pt x="378" y="994"/>
                      </a:lnTo>
                      <a:lnTo>
                        <a:pt x="444" y="1023"/>
                      </a:lnTo>
                      <a:lnTo>
                        <a:pt x="513" y="1040"/>
                      </a:lnTo>
                      <a:lnTo>
                        <a:pt x="588" y="1046"/>
                      </a:lnTo>
                      <a:lnTo>
                        <a:pt x="662" y="1040"/>
                      </a:lnTo>
                      <a:lnTo>
                        <a:pt x="733" y="1023"/>
                      </a:lnTo>
                      <a:lnTo>
                        <a:pt x="799" y="994"/>
                      </a:lnTo>
                      <a:lnTo>
                        <a:pt x="859" y="957"/>
                      </a:lnTo>
                      <a:lnTo>
                        <a:pt x="913" y="911"/>
                      </a:lnTo>
                      <a:lnTo>
                        <a:pt x="957" y="857"/>
                      </a:lnTo>
                      <a:lnTo>
                        <a:pt x="996" y="797"/>
                      </a:lnTo>
                      <a:lnTo>
                        <a:pt x="1023" y="731"/>
                      </a:lnTo>
                      <a:lnTo>
                        <a:pt x="1040" y="662"/>
                      </a:lnTo>
                      <a:lnTo>
                        <a:pt x="1046" y="587"/>
                      </a:lnTo>
                      <a:lnTo>
                        <a:pt x="1040" y="513"/>
                      </a:lnTo>
                      <a:lnTo>
                        <a:pt x="1023" y="442"/>
                      </a:lnTo>
                      <a:lnTo>
                        <a:pt x="996" y="376"/>
                      </a:lnTo>
                      <a:lnTo>
                        <a:pt x="957" y="316"/>
                      </a:lnTo>
                      <a:lnTo>
                        <a:pt x="913" y="262"/>
                      </a:lnTo>
                      <a:lnTo>
                        <a:pt x="859" y="218"/>
                      </a:lnTo>
                      <a:lnTo>
                        <a:pt x="799" y="179"/>
                      </a:lnTo>
                      <a:lnTo>
                        <a:pt x="733" y="152"/>
                      </a:lnTo>
                      <a:lnTo>
                        <a:pt x="662" y="135"/>
                      </a:lnTo>
                      <a:lnTo>
                        <a:pt x="588" y="129"/>
                      </a:lnTo>
                      <a:close/>
                      <a:moveTo>
                        <a:pt x="588" y="0"/>
                      </a:moveTo>
                      <a:lnTo>
                        <a:pt x="668" y="5"/>
                      </a:lnTo>
                      <a:lnTo>
                        <a:pt x="745" y="21"/>
                      </a:lnTo>
                      <a:lnTo>
                        <a:pt x="816" y="46"/>
                      </a:lnTo>
                      <a:lnTo>
                        <a:pt x="884" y="79"/>
                      </a:lnTo>
                      <a:lnTo>
                        <a:pt x="947" y="121"/>
                      </a:lnTo>
                      <a:lnTo>
                        <a:pt x="1003" y="171"/>
                      </a:lnTo>
                      <a:lnTo>
                        <a:pt x="1054" y="227"/>
                      </a:lnTo>
                      <a:lnTo>
                        <a:pt x="1096" y="291"/>
                      </a:lnTo>
                      <a:lnTo>
                        <a:pt x="1129" y="359"/>
                      </a:lnTo>
                      <a:lnTo>
                        <a:pt x="1154" y="430"/>
                      </a:lnTo>
                      <a:lnTo>
                        <a:pt x="1169" y="507"/>
                      </a:lnTo>
                      <a:lnTo>
                        <a:pt x="1175" y="587"/>
                      </a:lnTo>
                      <a:lnTo>
                        <a:pt x="1169" y="668"/>
                      </a:lnTo>
                      <a:lnTo>
                        <a:pt x="1154" y="743"/>
                      </a:lnTo>
                      <a:lnTo>
                        <a:pt x="1129" y="816"/>
                      </a:lnTo>
                      <a:lnTo>
                        <a:pt x="1096" y="884"/>
                      </a:lnTo>
                      <a:lnTo>
                        <a:pt x="1054" y="946"/>
                      </a:lnTo>
                      <a:lnTo>
                        <a:pt x="1003" y="1004"/>
                      </a:lnTo>
                      <a:lnTo>
                        <a:pt x="947" y="1052"/>
                      </a:lnTo>
                      <a:lnTo>
                        <a:pt x="884" y="1094"/>
                      </a:lnTo>
                      <a:lnTo>
                        <a:pt x="816" y="1129"/>
                      </a:lnTo>
                      <a:lnTo>
                        <a:pt x="745" y="1154"/>
                      </a:lnTo>
                      <a:lnTo>
                        <a:pt x="668" y="1170"/>
                      </a:lnTo>
                      <a:lnTo>
                        <a:pt x="588" y="1176"/>
                      </a:lnTo>
                      <a:lnTo>
                        <a:pt x="507" y="1170"/>
                      </a:lnTo>
                      <a:lnTo>
                        <a:pt x="432" y="1154"/>
                      </a:lnTo>
                      <a:lnTo>
                        <a:pt x="359" y="1129"/>
                      </a:lnTo>
                      <a:lnTo>
                        <a:pt x="291" y="1094"/>
                      </a:lnTo>
                      <a:lnTo>
                        <a:pt x="229" y="1052"/>
                      </a:lnTo>
                      <a:lnTo>
                        <a:pt x="171" y="1004"/>
                      </a:lnTo>
                      <a:lnTo>
                        <a:pt x="123" y="946"/>
                      </a:lnTo>
                      <a:lnTo>
                        <a:pt x="81" y="884"/>
                      </a:lnTo>
                      <a:lnTo>
                        <a:pt x="46" y="816"/>
                      </a:lnTo>
                      <a:lnTo>
                        <a:pt x="21" y="743"/>
                      </a:lnTo>
                      <a:lnTo>
                        <a:pt x="5" y="668"/>
                      </a:lnTo>
                      <a:lnTo>
                        <a:pt x="0" y="587"/>
                      </a:lnTo>
                      <a:lnTo>
                        <a:pt x="5" y="507"/>
                      </a:lnTo>
                      <a:lnTo>
                        <a:pt x="21" y="430"/>
                      </a:lnTo>
                      <a:lnTo>
                        <a:pt x="46" y="359"/>
                      </a:lnTo>
                      <a:lnTo>
                        <a:pt x="81" y="291"/>
                      </a:lnTo>
                      <a:lnTo>
                        <a:pt x="123" y="227"/>
                      </a:lnTo>
                      <a:lnTo>
                        <a:pt x="171" y="171"/>
                      </a:lnTo>
                      <a:lnTo>
                        <a:pt x="229" y="121"/>
                      </a:lnTo>
                      <a:lnTo>
                        <a:pt x="291" y="79"/>
                      </a:lnTo>
                      <a:lnTo>
                        <a:pt x="359" y="46"/>
                      </a:lnTo>
                      <a:lnTo>
                        <a:pt x="432" y="21"/>
                      </a:lnTo>
                      <a:lnTo>
                        <a:pt x="507" y="5"/>
                      </a:lnTo>
                      <a:lnTo>
                        <a:pt x="58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56" name="Freeform 168">
                  <a:extLst>
                    <a:ext uri="{FF2B5EF4-FFF2-40B4-BE49-F238E27FC236}">
                      <a16:creationId xmlns:a16="http://schemas.microsoft.com/office/drawing/2014/main" id="{DA12755D-F9BF-4423-BCB6-0D496C7C4F23}"/>
                    </a:ext>
                  </a:extLst>
                </p:cNvPr>
                <p:cNvSpPr>
                  <a:spLocks/>
                </p:cNvSpPr>
                <p:nvPr/>
              </p:nvSpPr>
              <p:spPr bwMode="auto">
                <a:xfrm>
                  <a:off x="6750" y="2806"/>
                  <a:ext cx="384" cy="148"/>
                </a:xfrm>
                <a:custGeom>
                  <a:avLst/>
                  <a:gdLst>
                    <a:gd name="T0" fmla="*/ 713 w 769"/>
                    <a:gd name="T1" fmla="*/ 0 h 295"/>
                    <a:gd name="T2" fmla="*/ 732 w 769"/>
                    <a:gd name="T3" fmla="*/ 5 h 295"/>
                    <a:gd name="T4" fmla="*/ 749 w 769"/>
                    <a:gd name="T5" fmla="*/ 17 h 295"/>
                    <a:gd name="T6" fmla="*/ 761 w 769"/>
                    <a:gd name="T7" fmla="*/ 34 h 295"/>
                    <a:gd name="T8" fmla="*/ 769 w 769"/>
                    <a:gd name="T9" fmla="*/ 54 h 295"/>
                    <a:gd name="T10" fmla="*/ 769 w 769"/>
                    <a:gd name="T11" fmla="*/ 73 h 295"/>
                    <a:gd name="T12" fmla="*/ 763 w 769"/>
                    <a:gd name="T13" fmla="*/ 92 h 295"/>
                    <a:gd name="T14" fmla="*/ 751 w 769"/>
                    <a:gd name="T15" fmla="*/ 110 h 295"/>
                    <a:gd name="T16" fmla="*/ 736 w 769"/>
                    <a:gd name="T17" fmla="*/ 123 h 295"/>
                    <a:gd name="T18" fmla="*/ 433 w 769"/>
                    <a:gd name="T19" fmla="*/ 287 h 295"/>
                    <a:gd name="T20" fmla="*/ 417 w 769"/>
                    <a:gd name="T21" fmla="*/ 293 h 295"/>
                    <a:gd name="T22" fmla="*/ 402 w 769"/>
                    <a:gd name="T23" fmla="*/ 295 h 295"/>
                    <a:gd name="T24" fmla="*/ 392 w 769"/>
                    <a:gd name="T25" fmla="*/ 295 h 295"/>
                    <a:gd name="T26" fmla="*/ 383 w 769"/>
                    <a:gd name="T27" fmla="*/ 293 h 295"/>
                    <a:gd name="T28" fmla="*/ 373 w 769"/>
                    <a:gd name="T29" fmla="*/ 289 h 295"/>
                    <a:gd name="T30" fmla="*/ 37 w 769"/>
                    <a:gd name="T31" fmla="*/ 123 h 295"/>
                    <a:gd name="T32" fmla="*/ 20 w 769"/>
                    <a:gd name="T33" fmla="*/ 112 h 295"/>
                    <a:gd name="T34" fmla="*/ 8 w 769"/>
                    <a:gd name="T35" fmla="*/ 96 h 295"/>
                    <a:gd name="T36" fmla="*/ 0 w 769"/>
                    <a:gd name="T37" fmla="*/ 77 h 295"/>
                    <a:gd name="T38" fmla="*/ 0 w 769"/>
                    <a:gd name="T39" fmla="*/ 56 h 295"/>
                    <a:gd name="T40" fmla="*/ 6 w 769"/>
                    <a:gd name="T41" fmla="*/ 36 h 295"/>
                    <a:gd name="T42" fmla="*/ 18 w 769"/>
                    <a:gd name="T43" fmla="*/ 19 h 295"/>
                    <a:gd name="T44" fmla="*/ 35 w 769"/>
                    <a:gd name="T45" fmla="*/ 7 h 295"/>
                    <a:gd name="T46" fmla="*/ 54 w 769"/>
                    <a:gd name="T47" fmla="*/ 2 h 295"/>
                    <a:gd name="T48" fmla="*/ 74 w 769"/>
                    <a:gd name="T49" fmla="*/ 0 h 295"/>
                    <a:gd name="T50" fmla="*/ 95 w 769"/>
                    <a:gd name="T51" fmla="*/ 5 h 295"/>
                    <a:gd name="T52" fmla="*/ 400 w 769"/>
                    <a:gd name="T53" fmla="*/ 156 h 295"/>
                    <a:gd name="T54" fmla="*/ 672 w 769"/>
                    <a:gd name="T55" fmla="*/ 7 h 295"/>
                    <a:gd name="T56" fmla="*/ 693 w 769"/>
                    <a:gd name="T57" fmla="*/ 2 h 295"/>
                    <a:gd name="T58" fmla="*/ 713 w 769"/>
                    <a:gd name="T59" fmla="*/ 0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769" h="295">
                      <a:moveTo>
                        <a:pt x="713" y="0"/>
                      </a:moveTo>
                      <a:lnTo>
                        <a:pt x="732" y="5"/>
                      </a:lnTo>
                      <a:lnTo>
                        <a:pt x="749" y="17"/>
                      </a:lnTo>
                      <a:lnTo>
                        <a:pt x="761" y="34"/>
                      </a:lnTo>
                      <a:lnTo>
                        <a:pt x="769" y="54"/>
                      </a:lnTo>
                      <a:lnTo>
                        <a:pt x="769" y="73"/>
                      </a:lnTo>
                      <a:lnTo>
                        <a:pt x="763" y="92"/>
                      </a:lnTo>
                      <a:lnTo>
                        <a:pt x="751" y="110"/>
                      </a:lnTo>
                      <a:lnTo>
                        <a:pt x="736" y="123"/>
                      </a:lnTo>
                      <a:lnTo>
                        <a:pt x="433" y="287"/>
                      </a:lnTo>
                      <a:lnTo>
                        <a:pt x="417" y="293"/>
                      </a:lnTo>
                      <a:lnTo>
                        <a:pt x="402" y="295"/>
                      </a:lnTo>
                      <a:lnTo>
                        <a:pt x="392" y="295"/>
                      </a:lnTo>
                      <a:lnTo>
                        <a:pt x="383" y="293"/>
                      </a:lnTo>
                      <a:lnTo>
                        <a:pt x="373" y="289"/>
                      </a:lnTo>
                      <a:lnTo>
                        <a:pt x="37" y="123"/>
                      </a:lnTo>
                      <a:lnTo>
                        <a:pt x="20" y="112"/>
                      </a:lnTo>
                      <a:lnTo>
                        <a:pt x="8" y="96"/>
                      </a:lnTo>
                      <a:lnTo>
                        <a:pt x="0" y="77"/>
                      </a:lnTo>
                      <a:lnTo>
                        <a:pt x="0" y="56"/>
                      </a:lnTo>
                      <a:lnTo>
                        <a:pt x="6" y="36"/>
                      </a:lnTo>
                      <a:lnTo>
                        <a:pt x="18" y="19"/>
                      </a:lnTo>
                      <a:lnTo>
                        <a:pt x="35" y="7"/>
                      </a:lnTo>
                      <a:lnTo>
                        <a:pt x="54" y="2"/>
                      </a:lnTo>
                      <a:lnTo>
                        <a:pt x="74" y="0"/>
                      </a:lnTo>
                      <a:lnTo>
                        <a:pt x="95" y="5"/>
                      </a:lnTo>
                      <a:lnTo>
                        <a:pt x="400" y="156"/>
                      </a:lnTo>
                      <a:lnTo>
                        <a:pt x="672" y="7"/>
                      </a:lnTo>
                      <a:lnTo>
                        <a:pt x="693" y="2"/>
                      </a:lnTo>
                      <a:lnTo>
                        <a:pt x="71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57" name="Freeform 169">
                  <a:extLst>
                    <a:ext uri="{FF2B5EF4-FFF2-40B4-BE49-F238E27FC236}">
                      <a16:creationId xmlns:a16="http://schemas.microsoft.com/office/drawing/2014/main" id="{5D604EAE-10DD-4F05-9A09-CE182CE890E0}"/>
                    </a:ext>
                  </a:extLst>
                </p:cNvPr>
                <p:cNvSpPr>
                  <a:spLocks/>
                </p:cNvSpPr>
                <p:nvPr/>
              </p:nvSpPr>
              <p:spPr bwMode="auto">
                <a:xfrm>
                  <a:off x="5822" y="2075"/>
                  <a:ext cx="645" cy="657"/>
                </a:xfrm>
                <a:custGeom>
                  <a:avLst/>
                  <a:gdLst>
                    <a:gd name="T0" fmla="*/ 645 w 1290"/>
                    <a:gd name="T1" fmla="*/ 0 h 1315"/>
                    <a:gd name="T2" fmla="*/ 732 w 1290"/>
                    <a:gd name="T3" fmla="*/ 8 h 1315"/>
                    <a:gd name="T4" fmla="*/ 817 w 1290"/>
                    <a:gd name="T5" fmla="*/ 25 h 1315"/>
                    <a:gd name="T6" fmla="*/ 896 w 1290"/>
                    <a:gd name="T7" fmla="*/ 54 h 1315"/>
                    <a:gd name="T8" fmla="*/ 971 w 1290"/>
                    <a:gd name="T9" fmla="*/ 93 h 1315"/>
                    <a:gd name="T10" fmla="*/ 1039 w 1290"/>
                    <a:gd name="T11" fmla="*/ 141 h 1315"/>
                    <a:gd name="T12" fmla="*/ 1101 w 1290"/>
                    <a:gd name="T13" fmla="*/ 197 h 1315"/>
                    <a:gd name="T14" fmla="*/ 1155 w 1290"/>
                    <a:gd name="T15" fmla="*/ 259 h 1315"/>
                    <a:gd name="T16" fmla="*/ 1201 w 1290"/>
                    <a:gd name="T17" fmla="*/ 328 h 1315"/>
                    <a:gd name="T18" fmla="*/ 1240 w 1290"/>
                    <a:gd name="T19" fmla="*/ 403 h 1315"/>
                    <a:gd name="T20" fmla="*/ 1267 w 1290"/>
                    <a:gd name="T21" fmla="*/ 485 h 1315"/>
                    <a:gd name="T22" fmla="*/ 1284 w 1290"/>
                    <a:gd name="T23" fmla="*/ 570 h 1315"/>
                    <a:gd name="T24" fmla="*/ 1290 w 1290"/>
                    <a:gd name="T25" fmla="*/ 656 h 1315"/>
                    <a:gd name="T26" fmla="*/ 1284 w 1290"/>
                    <a:gd name="T27" fmla="*/ 745 h 1315"/>
                    <a:gd name="T28" fmla="*/ 1267 w 1290"/>
                    <a:gd name="T29" fmla="*/ 830 h 1315"/>
                    <a:gd name="T30" fmla="*/ 1240 w 1290"/>
                    <a:gd name="T31" fmla="*/ 909 h 1315"/>
                    <a:gd name="T32" fmla="*/ 1201 w 1290"/>
                    <a:gd name="T33" fmla="*/ 985 h 1315"/>
                    <a:gd name="T34" fmla="*/ 1155 w 1290"/>
                    <a:gd name="T35" fmla="*/ 1054 h 1315"/>
                    <a:gd name="T36" fmla="*/ 1101 w 1290"/>
                    <a:gd name="T37" fmla="*/ 1118 h 1315"/>
                    <a:gd name="T38" fmla="*/ 1039 w 1290"/>
                    <a:gd name="T39" fmla="*/ 1174 h 1315"/>
                    <a:gd name="T40" fmla="*/ 971 w 1290"/>
                    <a:gd name="T41" fmla="*/ 1220 h 1315"/>
                    <a:gd name="T42" fmla="*/ 896 w 1290"/>
                    <a:gd name="T43" fmla="*/ 1259 h 1315"/>
                    <a:gd name="T44" fmla="*/ 817 w 1290"/>
                    <a:gd name="T45" fmla="*/ 1288 h 1315"/>
                    <a:gd name="T46" fmla="*/ 732 w 1290"/>
                    <a:gd name="T47" fmla="*/ 1307 h 1315"/>
                    <a:gd name="T48" fmla="*/ 645 w 1290"/>
                    <a:gd name="T49" fmla="*/ 1315 h 1315"/>
                    <a:gd name="T50" fmla="*/ 556 w 1290"/>
                    <a:gd name="T51" fmla="*/ 1307 h 1315"/>
                    <a:gd name="T52" fmla="*/ 473 w 1290"/>
                    <a:gd name="T53" fmla="*/ 1288 h 1315"/>
                    <a:gd name="T54" fmla="*/ 394 w 1290"/>
                    <a:gd name="T55" fmla="*/ 1259 h 1315"/>
                    <a:gd name="T56" fmla="*/ 319 w 1290"/>
                    <a:gd name="T57" fmla="*/ 1220 h 1315"/>
                    <a:gd name="T58" fmla="*/ 251 w 1290"/>
                    <a:gd name="T59" fmla="*/ 1174 h 1315"/>
                    <a:gd name="T60" fmla="*/ 189 w 1290"/>
                    <a:gd name="T61" fmla="*/ 1118 h 1315"/>
                    <a:gd name="T62" fmla="*/ 133 w 1290"/>
                    <a:gd name="T63" fmla="*/ 1054 h 1315"/>
                    <a:gd name="T64" fmla="*/ 87 w 1290"/>
                    <a:gd name="T65" fmla="*/ 985 h 1315"/>
                    <a:gd name="T66" fmla="*/ 50 w 1290"/>
                    <a:gd name="T67" fmla="*/ 909 h 1315"/>
                    <a:gd name="T68" fmla="*/ 23 w 1290"/>
                    <a:gd name="T69" fmla="*/ 830 h 1315"/>
                    <a:gd name="T70" fmla="*/ 6 w 1290"/>
                    <a:gd name="T71" fmla="*/ 745 h 1315"/>
                    <a:gd name="T72" fmla="*/ 0 w 1290"/>
                    <a:gd name="T73" fmla="*/ 656 h 1315"/>
                    <a:gd name="T74" fmla="*/ 6 w 1290"/>
                    <a:gd name="T75" fmla="*/ 570 h 1315"/>
                    <a:gd name="T76" fmla="*/ 23 w 1290"/>
                    <a:gd name="T77" fmla="*/ 485 h 1315"/>
                    <a:gd name="T78" fmla="*/ 50 w 1290"/>
                    <a:gd name="T79" fmla="*/ 403 h 1315"/>
                    <a:gd name="T80" fmla="*/ 87 w 1290"/>
                    <a:gd name="T81" fmla="*/ 328 h 1315"/>
                    <a:gd name="T82" fmla="*/ 133 w 1290"/>
                    <a:gd name="T83" fmla="*/ 259 h 1315"/>
                    <a:gd name="T84" fmla="*/ 189 w 1290"/>
                    <a:gd name="T85" fmla="*/ 197 h 1315"/>
                    <a:gd name="T86" fmla="*/ 251 w 1290"/>
                    <a:gd name="T87" fmla="*/ 141 h 1315"/>
                    <a:gd name="T88" fmla="*/ 319 w 1290"/>
                    <a:gd name="T89" fmla="*/ 93 h 1315"/>
                    <a:gd name="T90" fmla="*/ 394 w 1290"/>
                    <a:gd name="T91" fmla="*/ 54 h 1315"/>
                    <a:gd name="T92" fmla="*/ 473 w 1290"/>
                    <a:gd name="T93" fmla="*/ 25 h 1315"/>
                    <a:gd name="T94" fmla="*/ 556 w 1290"/>
                    <a:gd name="T95" fmla="*/ 8 h 1315"/>
                    <a:gd name="T96" fmla="*/ 645 w 1290"/>
                    <a:gd name="T97" fmla="*/ 0 h 1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290" h="1315">
                      <a:moveTo>
                        <a:pt x="645" y="0"/>
                      </a:moveTo>
                      <a:lnTo>
                        <a:pt x="732" y="8"/>
                      </a:lnTo>
                      <a:lnTo>
                        <a:pt x="817" y="25"/>
                      </a:lnTo>
                      <a:lnTo>
                        <a:pt x="896" y="54"/>
                      </a:lnTo>
                      <a:lnTo>
                        <a:pt x="971" y="93"/>
                      </a:lnTo>
                      <a:lnTo>
                        <a:pt x="1039" y="141"/>
                      </a:lnTo>
                      <a:lnTo>
                        <a:pt x="1101" y="197"/>
                      </a:lnTo>
                      <a:lnTo>
                        <a:pt x="1155" y="259"/>
                      </a:lnTo>
                      <a:lnTo>
                        <a:pt x="1201" y="328"/>
                      </a:lnTo>
                      <a:lnTo>
                        <a:pt x="1240" y="403"/>
                      </a:lnTo>
                      <a:lnTo>
                        <a:pt x="1267" y="485"/>
                      </a:lnTo>
                      <a:lnTo>
                        <a:pt x="1284" y="570"/>
                      </a:lnTo>
                      <a:lnTo>
                        <a:pt x="1290" y="656"/>
                      </a:lnTo>
                      <a:lnTo>
                        <a:pt x="1284" y="745"/>
                      </a:lnTo>
                      <a:lnTo>
                        <a:pt x="1267" y="830"/>
                      </a:lnTo>
                      <a:lnTo>
                        <a:pt x="1240" y="909"/>
                      </a:lnTo>
                      <a:lnTo>
                        <a:pt x="1201" y="985"/>
                      </a:lnTo>
                      <a:lnTo>
                        <a:pt x="1155" y="1054"/>
                      </a:lnTo>
                      <a:lnTo>
                        <a:pt x="1101" y="1118"/>
                      </a:lnTo>
                      <a:lnTo>
                        <a:pt x="1039" y="1174"/>
                      </a:lnTo>
                      <a:lnTo>
                        <a:pt x="971" y="1220"/>
                      </a:lnTo>
                      <a:lnTo>
                        <a:pt x="896" y="1259"/>
                      </a:lnTo>
                      <a:lnTo>
                        <a:pt x="817" y="1288"/>
                      </a:lnTo>
                      <a:lnTo>
                        <a:pt x="732" y="1307"/>
                      </a:lnTo>
                      <a:lnTo>
                        <a:pt x="645" y="1315"/>
                      </a:lnTo>
                      <a:lnTo>
                        <a:pt x="556" y="1307"/>
                      </a:lnTo>
                      <a:lnTo>
                        <a:pt x="473" y="1288"/>
                      </a:lnTo>
                      <a:lnTo>
                        <a:pt x="394" y="1259"/>
                      </a:lnTo>
                      <a:lnTo>
                        <a:pt x="319" y="1220"/>
                      </a:lnTo>
                      <a:lnTo>
                        <a:pt x="251" y="1174"/>
                      </a:lnTo>
                      <a:lnTo>
                        <a:pt x="189" y="1118"/>
                      </a:lnTo>
                      <a:lnTo>
                        <a:pt x="133" y="1054"/>
                      </a:lnTo>
                      <a:lnTo>
                        <a:pt x="87" y="985"/>
                      </a:lnTo>
                      <a:lnTo>
                        <a:pt x="50" y="909"/>
                      </a:lnTo>
                      <a:lnTo>
                        <a:pt x="23" y="830"/>
                      </a:lnTo>
                      <a:lnTo>
                        <a:pt x="6" y="745"/>
                      </a:lnTo>
                      <a:lnTo>
                        <a:pt x="0" y="656"/>
                      </a:lnTo>
                      <a:lnTo>
                        <a:pt x="6" y="570"/>
                      </a:lnTo>
                      <a:lnTo>
                        <a:pt x="23" y="485"/>
                      </a:lnTo>
                      <a:lnTo>
                        <a:pt x="50" y="403"/>
                      </a:lnTo>
                      <a:lnTo>
                        <a:pt x="87" y="328"/>
                      </a:lnTo>
                      <a:lnTo>
                        <a:pt x="133" y="259"/>
                      </a:lnTo>
                      <a:lnTo>
                        <a:pt x="189" y="197"/>
                      </a:lnTo>
                      <a:lnTo>
                        <a:pt x="251" y="141"/>
                      </a:lnTo>
                      <a:lnTo>
                        <a:pt x="319" y="93"/>
                      </a:lnTo>
                      <a:lnTo>
                        <a:pt x="394" y="54"/>
                      </a:lnTo>
                      <a:lnTo>
                        <a:pt x="473" y="25"/>
                      </a:lnTo>
                      <a:lnTo>
                        <a:pt x="556" y="8"/>
                      </a:lnTo>
                      <a:lnTo>
                        <a:pt x="64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58" name="Freeform 170">
                  <a:extLst>
                    <a:ext uri="{FF2B5EF4-FFF2-40B4-BE49-F238E27FC236}">
                      <a16:creationId xmlns:a16="http://schemas.microsoft.com/office/drawing/2014/main" id="{1F7187C7-3C5A-4259-BDD7-B3512D49BA05}"/>
                    </a:ext>
                  </a:extLst>
                </p:cNvPr>
                <p:cNvSpPr>
                  <a:spLocks/>
                </p:cNvSpPr>
                <p:nvPr/>
              </p:nvSpPr>
              <p:spPr bwMode="auto">
                <a:xfrm>
                  <a:off x="5179" y="2751"/>
                  <a:ext cx="1930" cy="2501"/>
                </a:xfrm>
                <a:custGeom>
                  <a:avLst/>
                  <a:gdLst>
                    <a:gd name="T0" fmla="*/ 1922 w 3858"/>
                    <a:gd name="T1" fmla="*/ 1467 h 5003"/>
                    <a:gd name="T2" fmla="*/ 2096 w 3858"/>
                    <a:gd name="T3" fmla="*/ 1251 h 5003"/>
                    <a:gd name="T4" fmla="*/ 2169 w 3858"/>
                    <a:gd name="T5" fmla="*/ 23 h 5003"/>
                    <a:gd name="T6" fmla="*/ 2494 w 3858"/>
                    <a:gd name="T7" fmla="*/ 247 h 5003"/>
                    <a:gd name="T8" fmla="*/ 2889 w 3858"/>
                    <a:gd name="T9" fmla="*/ 749 h 5003"/>
                    <a:gd name="T10" fmla="*/ 3055 w 3858"/>
                    <a:gd name="T11" fmla="*/ 996 h 5003"/>
                    <a:gd name="T12" fmla="*/ 3308 w 3858"/>
                    <a:gd name="T13" fmla="*/ 1040 h 5003"/>
                    <a:gd name="T14" fmla="*/ 3656 w 3858"/>
                    <a:gd name="T15" fmla="*/ 1052 h 5003"/>
                    <a:gd name="T16" fmla="*/ 3839 w 3858"/>
                    <a:gd name="T17" fmla="*/ 1203 h 5003"/>
                    <a:gd name="T18" fmla="*/ 3816 w 3858"/>
                    <a:gd name="T19" fmla="*/ 1444 h 5003"/>
                    <a:gd name="T20" fmla="*/ 3604 w 3858"/>
                    <a:gd name="T21" fmla="*/ 1556 h 5003"/>
                    <a:gd name="T22" fmla="*/ 3210 w 3858"/>
                    <a:gd name="T23" fmla="*/ 1546 h 5003"/>
                    <a:gd name="T24" fmla="*/ 2945 w 3858"/>
                    <a:gd name="T25" fmla="*/ 1519 h 5003"/>
                    <a:gd name="T26" fmla="*/ 2847 w 3858"/>
                    <a:gd name="T27" fmla="*/ 1492 h 5003"/>
                    <a:gd name="T28" fmla="*/ 2712 w 3858"/>
                    <a:gd name="T29" fmla="*/ 1384 h 5003"/>
                    <a:gd name="T30" fmla="*/ 2606 w 3858"/>
                    <a:gd name="T31" fmla="*/ 2044 h 5003"/>
                    <a:gd name="T32" fmla="*/ 2563 w 3858"/>
                    <a:gd name="T33" fmla="*/ 2226 h 5003"/>
                    <a:gd name="T34" fmla="*/ 2550 w 3858"/>
                    <a:gd name="T35" fmla="*/ 2324 h 5003"/>
                    <a:gd name="T36" fmla="*/ 2550 w 3858"/>
                    <a:gd name="T37" fmla="*/ 2666 h 5003"/>
                    <a:gd name="T38" fmla="*/ 2550 w 3858"/>
                    <a:gd name="T39" fmla="*/ 3189 h 5003"/>
                    <a:gd name="T40" fmla="*/ 2550 w 3858"/>
                    <a:gd name="T41" fmla="*/ 3774 h 5003"/>
                    <a:gd name="T42" fmla="*/ 2552 w 3858"/>
                    <a:gd name="T43" fmla="*/ 4298 h 5003"/>
                    <a:gd name="T44" fmla="*/ 2552 w 3858"/>
                    <a:gd name="T45" fmla="*/ 4636 h 5003"/>
                    <a:gd name="T46" fmla="*/ 2534 w 3858"/>
                    <a:gd name="T47" fmla="*/ 4804 h 5003"/>
                    <a:gd name="T48" fmla="*/ 2368 w 3858"/>
                    <a:gd name="T49" fmla="*/ 4983 h 5003"/>
                    <a:gd name="T50" fmla="*/ 2113 w 3858"/>
                    <a:gd name="T51" fmla="*/ 4960 h 5003"/>
                    <a:gd name="T52" fmla="*/ 1969 w 3858"/>
                    <a:gd name="T53" fmla="*/ 4755 h 5003"/>
                    <a:gd name="T54" fmla="*/ 1895 w 3858"/>
                    <a:gd name="T55" fmla="*/ 4699 h 5003"/>
                    <a:gd name="T56" fmla="*/ 1787 w 3858"/>
                    <a:gd name="T57" fmla="*/ 4931 h 5003"/>
                    <a:gd name="T58" fmla="*/ 1540 w 3858"/>
                    <a:gd name="T59" fmla="*/ 4997 h 5003"/>
                    <a:gd name="T60" fmla="*/ 1345 w 3858"/>
                    <a:gd name="T61" fmla="*/ 4852 h 5003"/>
                    <a:gd name="T62" fmla="*/ 1308 w 3858"/>
                    <a:gd name="T63" fmla="*/ 4670 h 5003"/>
                    <a:gd name="T64" fmla="*/ 1308 w 3858"/>
                    <a:gd name="T65" fmla="*/ 4383 h 5003"/>
                    <a:gd name="T66" fmla="*/ 1308 w 3858"/>
                    <a:gd name="T67" fmla="*/ 3888 h 5003"/>
                    <a:gd name="T68" fmla="*/ 1308 w 3858"/>
                    <a:gd name="T69" fmla="*/ 3307 h 5003"/>
                    <a:gd name="T70" fmla="*/ 1310 w 3858"/>
                    <a:gd name="T71" fmla="*/ 2761 h 5003"/>
                    <a:gd name="T72" fmla="*/ 1310 w 3858"/>
                    <a:gd name="T73" fmla="*/ 2373 h 5003"/>
                    <a:gd name="T74" fmla="*/ 1305 w 3858"/>
                    <a:gd name="T75" fmla="*/ 2245 h 5003"/>
                    <a:gd name="T76" fmla="*/ 1258 w 3858"/>
                    <a:gd name="T77" fmla="*/ 2087 h 5003"/>
                    <a:gd name="T78" fmla="*/ 1181 w 3858"/>
                    <a:gd name="T79" fmla="*/ 1345 h 5003"/>
                    <a:gd name="T80" fmla="*/ 1023 w 3858"/>
                    <a:gd name="T81" fmla="*/ 1486 h 5003"/>
                    <a:gd name="T82" fmla="*/ 944 w 3858"/>
                    <a:gd name="T83" fmla="*/ 1513 h 5003"/>
                    <a:gd name="T84" fmla="*/ 722 w 3858"/>
                    <a:gd name="T85" fmla="*/ 1542 h 5003"/>
                    <a:gd name="T86" fmla="*/ 256 w 3858"/>
                    <a:gd name="T87" fmla="*/ 1556 h 5003"/>
                    <a:gd name="T88" fmla="*/ 75 w 3858"/>
                    <a:gd name="T89" fmla="*/ 1483 h 5003"/>
                    <a:gd name="T90" fmla="*/ 5 w 3858"/>
                    <a:gd name="T91" fmla="*/ 1251 h 5003"/>
                    <a:gd name="T92" fmla="*/ 156 w 3858"/>
                    <a:gd name="T93" fmla="*/ 1065 h 5003"/>
                    <a:gd name="T94" fmla="*/ 478 w 3858"/>
                    <a:gd name="T95" fmla="*/ 1042 h 5003"/>
                    <a:gd name="T96" fmla="*/ 783 w 3858"/>
                    <a:gd name="T97" fmla="*/ 1025 h 5003"/>
                    <a:gd name="T98" fmla="*/ 901 w 3858"/>
                    <a:gd name="T99" fmla="*/ 851 h 5003"/>
                    <a:gd name="T100" fmla="*/ 1281 w 3858"/>
                    <a:gd name="T101" fmla="*/ 336 h 5003"/>
                    <a:gd name="T102" fmla="*/ 1621 w 3858"/>
                    <a:gd name="T103" fmla="*/ 54 h 50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858" h="5003">
                      <a:moveTo>
                        <a:pt x="1766" y="0"/>
                      </a:moveTo>
                      <a:lnTo>
                        <a:pt x="1924" y="166"/>
                      </a:lnTo>
                      <a:lnTo>
                        <a:pt x="1930" y="160"/>
                      </a:lnTo>
                      <a:lnTo>
                        <a:pt x="1764" y="1251"/>
                      </a:lnTo>
                      <a:lnTo>
                        <a:pt x="1922" y="1467"/>
                      </a:lnTo>
                      <a:lnTo>
                        <a:pt x="1926" y="1467"/>
                      </a:lnTo>
                      <a:lnTo>
                        <a:pt x="1930" y="1461"/>
                      </a:lnTo>
                      <a:lnTo>
                        <a:pt x="1934" y="1467"/>
                      </a:lnTo>
                      <a:lnTo>
                        <a:pt x="1938" y="1467"/>
                      </a:lnTo>
                      <a:lnTo>
                        <a:pt x="2096" y="1251"/>
                      </a:lnTo>
                      <a:lnTo>
                        <a:pt x="1930" y="160"/>
                      </a:lnTo>
                      <a:lnTo>
                        <a:pt x="1936" y="166"/>
                      </a:lnTo>
                      <a:lnTo>
                        <a:pt x="2094" y="0"/>
                      </a:lnTo>
                      <a:lnTo>
                        <a:pt x="2096" y="0"/>
                      </a:lnTo>
                      <a:lnTo>
                        <a:pt x="2169" y="23"/>
                      </a:lnTo>
                      <a:lnTo>
                        <a:pt x="2237" y="54"/>
                      </a:lnTo>
                      <a:lnTo>
                        <a:pt x="2303" y="92"/>
                      </a:lnTo>
                      <a:lnTo>
                        <a:pt x="2366" y="137"/>
                      </a:lnTo>
                      <a:lnTo>
                        <a:pt x="2430" y="189"/>
                      </a:lnTo>
                      <a:lnTo>
                        <a:pt x="2494" y="247"/>
                      </a:lnTo>
                      <a:lnTo>
                        <a:pt x="2579" y="336"/>
                      </a:lnTo>
                      <a:lnTo>
                        <a:pt x="2662" y="432"/>
                      </a:lnTo>
                      <a:lnTo>
                        <a:pt x="2741" y="536"/>
                      </a:lnTo>
                      <a:lnTo>
                        <a:pt x="2818" y="643"/>
                      </a:lnTo>
                      <a:lnTo>
                        <a:pt x="2889" y="749"/>
                      </a:lnTo>
                      <a:lnTo>
                        <a:pt x="2959" y="851"/>
                      </a:lnTo>
                      <a:lnTo>
                        <a:pt x="2982" y="888"/>
                      </a:lnTo>
                      <a:lnTo>
                        <a:pt x="3007" y="924"/>
                      </a:lnTo>
                      <a:lnTo>
                        <a:pt x="3032" y="961"/>
                      </a:lnTo>
                      <a:lnTo>
                        <a:pt x="3055" y="996"/>
                      </a:lnTo>
                      <a:lnTo>
                        <a:pt x="3077" y="1025"/>
                      </a:lnTo>
                      <a:lnTo>
                        <a:pt x="3121" y="1029"/>
                      </a:lnTo>
                      <a:lnTo>
                        <a:pt x="3177" y="1033"/>
                      </a:lnTo>
                      <a:lnTo>
                        <a:pt x="3239" y="1036"/>
                      </a:lnTo>
                      <a:lnTo>
                        <a:pt x="3308" y="1040"/>
                      </a:lnTo>
                      <a:lnTo>
                        <a:pt x="3382" y="1042"/>
                      </a:lnTo>
                      <a:lnTo>
                        <a:pt x="3457" y="1044"/>
                      </a:lnTo>
                      <a:lnTo>
                        <a:pt x="3532" y="1046"/>
                      </a:lnTo>
                      <a:lnTo>
                        <a:pt x="3604" y="1046"/>
                      </a:lnTo>
                      <a:lnTo>
                        <a:pt x="3656" y="1052"/>
                      </a:lnTo>
                      <a:lnTo>
                        <a:pt x="3704" y="1065"/>
                      </a:lnTo>
                      <a:lnTo>
                        <a:pt x="3747" y="1091"/>
                      </a:lnTo>
                      <a:lnTo>
                        <a:pt x="3785" y="1121"/>
                      </a:lnTo>
                      <a:lnTo>
                        <a:pt x="3816" y="1158"/>
                      </a:lnTo>
                      <a:lnTo>
                        <a:pt x="3839" y="1203"/>
                      </a:lnTo>
                      <a:lnTo>
                        <a:pt x="3855" y="1251"/>
                      </a:lnTo>
                      <a:lnTo>
                        <a:pt x="3858" y="1301"/>
                      </a:lnTo>
                      <a:lnTo>
                        <a:pt x="3855" y="1353"/>
                      </a:lnTo>
                      <a:lnTo>
                        <a:pt x="3839" y="1401"/>
                      </a:lnTo>
                      <a:lnTo>
                        <a:pt x="3816" y="1444"/>
                      </a:lnTo>
                      <a:lnTo>
                        <a:pt x="3785" y="1483"/>
                      </a:lnTo>
                      <a:lnTo>
                        <a:pt x="3747" y="1513"/>
                      </a:lnTo>
                      <a:lnTo>
                        <a:pt x="3704" y="1537"/>
                      </a:lnTo>
                      <a:lnTo>
                        <a:pt x="3656" y="1552"/>
                      </a:lnTo>
                      <a:lnTo>
                        <a:pt x="3604" y="1556"/>
                      </a:lnTo>
                      <a:lnTo>
                        <a:pt x="3604" y="1556"/>
                      </a:lnTo>
                      <a:lnTo>
                        <a:pt x="3486" y="1556"/>
                      </a:lnTo>
                      <a:lnTo>
                        <a:pt x="3382" y="1554"/>
                      </a:lnTo>
                      <a:lnTo>
                        <a:pt x="3289" y="1550"/>
                      </a:lnTo>
                      <a:lnTo>
                        <a:pt x="3210" y="1546"/>
                      </a:lnTo>
                      <a:lnTo>
                        <a:pt x="3138" y="1542"/>
                      </a:lnTo>
                      <a:lnTo>
                        <a:pt x="3079" y="1537"/>
                      </a:lnTo>
                      <a:lnTo>
                        <a:pt x="3026" y="1531"/>
                      </a:lnTo>
                      <a:lnTo>
                        <a:pt x="2982" y="1525"/>
                      </a:lnTo>
                      <a:lnTo>
                        <a:pt x="2945" y="1519"/>
                      </a:lnTo>
                      <a:lnTo>
                        <a:pt x="2916" y="1513"/>
                      </a:lnTo>
                      <a:lnTo>
                        <a:pt x="2891" y="1508"/>
                      </a:lnTo>
                      <a:lnTo>
                        <a:pt x="2872" y="1502"/>
                      </a:lnTo>
                      <a:lnTo>
                        <a:pt x="2859" y="1496"/>
                      </a:lnTo>
                      <a:lnTo>
                        <a:pt x="2847" y="1492"/>
                      </a:lnTo>
                      <a:lnTo>
                        <a:pt x="2837" y="1486"/>
                      </a:lnTo>
                      <a:lnTo>
                        <a:pt x="2804" y="1469"/>
                      </a:lnTo>
                      <a:lnTo>
                        <a:pt x="2772" y="1446"/>
                      </a:lnTo>
                      <a:lnTo>
                        <a:pt x="2741" y="1419"/>
                      </a:lnTo>
                      <a:lnTo>
                        <a:pt x="2712" y="1384"/>
                      </a:lnTo>
                      <a:lnTo>
                        <a:pt x="2679" y="1345"/>
                      </a:lnTo>
                      <a:lnTo>
                        <a:pt x="2646" y="1299"/>
                      </a:lnTo>
                      <a:lnTo>
                        <a:pt x="2608" y="1245"/>
                      </a:lnTo>
                      <a:lnTo>
                        <a:pt x="2608" y="2004"/>
                      </a:lnTo>
                      <a:lnTo>
                        <a:pt x="2606" y="2044"/>
                      </a:lnTo>
                      <a:lnTo>
                        <a:pt x="2600" y="2087"/>
                      </a:lnTo>
                      <a:lnTo>
                        <a:pt x="2592" y="2127"/>
                      </a:lnTo>
                      <a:lnTo>
                        <a:pt x="2582" y="2166"/>
                      </a:lnTo>
                      <a:lnTo>
                        <a:pt x="2573" y="2199"/>
                      </a:lnTo>
                      <a:lnTo>
                        <a:pt x="2563" y="2226"/>
                      </a:lnTo>
                      <a:lnTo>
                        <a:pt x="2555" y="2245"/>
                      </a:lnTo>
                      <a:lnTo>
                        <a:pt x="2550" y="2257"/>
                      </a:lnTo>
                      <a:lnTo>
                        <a:pt x="2550" y="2265"/>
                      </a:lnTo>
                      <a:lnTo>
                        <a:pt x="2550" y="2288"/>
                      </a:lnTo>
                      <a:lnTo>
                        <a:pt x="2550" y="2324"/>
                      </a:lnTo>
                      <a:lnTo>
                        <a:pt x="2550" y="2373"/>
                      </a:lnTo>
                      <a:lnTo>
                        <a:pt x="2550" y="2431"/>
                      </a:lnTo>
                      <a:lnTo>
                        <a:pt x="2550" y="2500"/>
                      </a:lnTo>
                      <a:lnTo>
                        <a:pt x="2550" y="2579"/>
                      </a:lnTo>
                      <a:lnTo>
                        <a:pt x="2550" y="2666"/>
                      </a:lnTo>
                      <a:lnTo>
                        <a:pt x="2550" y="2761"/>
                      </a:lnTo>
                      <a:lnTo>
                        <a:pt x="2550" y="2861"/>
                      </a:lnTo>
                      <a:lnTo>
                        <a:pt x="2550" y="2967"/>
                      </a:lnTo>
                      <a:lnTo>
                        <a:pt x="2550" y="3077"/>
                      </a:lnTo>
                      <a:lnTo>
                        <a:pt x="2550" y="3189"/>
                      </a:lnTo>
                      <a:lnTo>
                        <a:pt x="2550" y="3307"/>
                      </a:lnTo>
                      <a:lnTo>
                        <a:pt x="2550" y="3423"/>
                      </a:lnTo>
                      <a:lnTo>
                        <a:pt x="2550" y="3541"/>
                      </a:lnTo>
                      <a:lnTo>
                        <a:pt x="2550" y="3659"/>
                      </a:lnTo>
                      <a:lnTo>
                        <a:pt x="2550" y="3774"/>
                      </a:lnTo>
                      <a:lnTo>
                        <a:pt x="2550" y="3888"/>
                      </a:lnTo>
                      <a:lnTo>
                        <a:pt x="2550" y="3998"/>
                      </a:lnTo>
                      <a:lnTo>
                        <a:pt x="2550" y="4103"/>
                      </a:lnTo>
                      <a:lnTo>
                        <a:pt x="2552" y="4203"/>
                      </a:lnTo>
                      <a:lnTo>
                        <a:pt x="2552" y="4298"/>
                      </a:lnTo>
                      <a:lnTo>
                        <a:pt x="2552" y="4383"/>
                      </a:lnTo>
                      <a:lnTo>
                        <a:pt x="2552" y="4462"/>
                      </a:lnTo>
                      <a:lnTo>
                        <a:pt x="2552" y="4529"/>
                      </a:lnTo>
                      <a:lnTo>
                        <a:pt x="2552" y="4587"/>
                      </a:lnTo>
                      <a:lnTo>
                        <a:pt x="2552" y="4636"/>
                      </a:lnTo>
                      <a:lnTo>
                        <a:pt x="2552" y="4670"/>
                      </a:lnTo>
                      <a:lnTo>
                        <a:pt x="2552" y="4692"/>
                      </a:lnTo>
                      <a:lnTo>
                        <a:pt x="2552" y="4699"/>
                      </a:lnTo>
                      <a:lnTo>
                        <a:pt x="2546" y="4753"/>
                      </a:lnTo>
                      <a:lnTo>
                        <a:pt x="2534" y="4804"/>
                      </a:lnTo>
                      <a:lnTo>
                        <a:pt x="2513" y="4852"/>
                      </a:lnTo>
                      <a:lnTo>
                        <a:pt x="2486" y="4894"/>
                      </a:lnTo>
                      <a:lnTo>
                        <a:pt x="2453" y="4931"/>
                      </a:lnTo>
                      <a:lnTo>
                        <a:pt x="2415" y="4960"/>
                      </a:lnTo>
                      <a:lnTo>
                        <a:pt x="2368" y="4983"/>
                      </a:lnTo>
                      <a:lnTo>
                        <a:pt x="2320" y="4997"/>
                      </a:lnTo>
                      <a:lnTo>
                        <a:pt x="2266" y="5003"/>
                      </a:lnTo>
                      <a:lnTo>
                        <a:pt x="2212" y="4997"/>
                      </a:lnTo>
                      <a:lnTo>
                        <a:pt x="2160" y="4983"/>
                      </a:lnTo>
                      <a:lnTo>
                        <a:pt x="2113" y="4960"/>
                      </a:lnTo>
                      <a:lnTo>
                        <a:pt x="2071" y="4931"/>
                      </a:lnTo>
                      <a:lnTo>
                        <a:pt x="2034" y="4894"/>
                      </a:lnTo>
                      <a:lnTo>
                        <a:pt x="2005" y="4852"/>
                      </a:lnTo>
                      <a:lnTo>
                        <a:pt x="1982" y="4806"/>
                      </a:lnTo>
                      <a:lnTo>
                        <a:pt x="1969" y="4755"/>
                      </a:lnTo>
                      <a:lnTo>
                        <a:pt x="1965" y="4699"/>
                      </a:lnTo>
                      <a:lnTo>
                        <a:pt x="1965" y="2602"/>
                      </a:lnTo>
                      <a:lnTo>
                        <a:pt x="1930" y="2602"/>
                      </a:lnTo>
                      <a:lnTo>
                        <a:pt x="1895" y="2602"/>
                      </a:lnTo>
                      <a:lnTo>
                        <a:pt x="1895" y="4699"/>
                      </a:lnTo>
                      <a:lnTo>
                        <a:pt x="1891" y="4755"/>
                      </a:lnTo>
                      <a:lnTo>
                        <a:pt x="1876" y="4806"/>
                      </a:lnTo>
                      <a:lnTo>
                        <a:pt x="1855" y="4852"/>
                      </a:lnTo>
                      <a:lnTo>
                        <a:pt x="1824" y="4894"/>
                      </a:lnTo>
                      <a:lnTo>
                        <a:pt x="1787" y="4931"/>
                      </a:lnTo>
                      <a:lnTo>
                        <a:pt x="1747" y="4960"/>
                      </a:lnTo>
                      <a:lnTo>
                        <a:pt x="1698" y="4983"/>
                      </a:lnTo>
                      <a:lnTo>
                        <a:pt x="1648" y="4997"/>
                      </a:lnTo>
                      <a:lnTo>
                        <a:pt x="1594" y="5003"/>
                      </a:lnTo>
                      <a:lnTo>
                        <a:pt x="1540" y="4997"/>
                      </a:lnTo>
                      <a:lnTo>
                        <a:pt x="1490" y="4983"/>
                      </a:lnTo>
                      <a:lnTo>
                        <a:pt x="1445" y="4960"/>
                      </a:lnTo>
                      <a:lnTo>
                        <a:pt x="1407" y="4931"/>
                      </a:lnTo>
                      <a:lnTo>
                        <a:pt x="1372" y="4894"/>
                      </a:lnTo>
                      <a:lnTo>
                        <a:pt x="1345" y="4852"/>
                      </a:lnTo>
                      <a:lnTo>
                        <a:pt x="1326" y="4804"/>
                      </a:lnTo>
                      <a:lnTo>
                        <a:pt x="1312" y="4753"/>
                      </a:lnTo>
                      <a:lnTo>
                        <a:pt x="1308" y="4699"/>
                      </a:lnTo>
                      <a:lnTo>
                        <a:pt x="1308" y="4692"/>
                      </a:lnTo>
                      <a:lnTo>
                        <a:pt x="1308" y="4670"/>
                      </a:lnTo>
                      <a:lnTo>
                        <a:pt x="1308" y="4636"/>
                      </a:lnTo>
                      <a:lnTo>
                        <a:pt x="1308" y="4587"/>
                      </a:lnTo>
                      <a:lnTo>
                        <a:pt x="1308" y="4529"/>
                      </a:lnTo>
                      <a:lnTo>
                        <a:pt x="1308" y="4462"/>
                      </a:lnTo>
                      <a:lnTo>
                        <a:pt x="1308" y="4383"/>
                      </a:lnTo>
                      <a:lnTo>
                        <a:pt x="1308" y="4298"/>
                      </a:lnTo>
                      <a:lnTo>
                        <a:pt x="1308" y="4203"/>
                      </a:lnTo>
                      <a:lnTo>
                        <a:pt x="1308" y="4103"/>
                      </a:lnTo>
                      <a:lnTo>
                        <a:pt x="1308" y="3998"/>
                      </a:lnTo>
                      <a:lnTo>
                        <a:pt x="1308" y="3888"/>
                      </a:lnTo>
                      <a:lnTo>
                        <a:pt x="1308" y="3774"/>
                      </a:lnTo>
                      <a:lnTo>
                        <a:pt x="1308" y="3659"/>
                      </a:lnTo>
                      <a:lnTo>
                        <a:pt x="1308" y="3541"/>
                      </a:lnTo>
                      <a:lnTo>
                        <a:pt x="1308" y="3423"/>
                      </a:lnTo>
                      <a:lnTo>
                        <a:pt x="1308" y="3307"/>
                      </a:lnTo>
                      <a:lnTo>
                        <a:pt x="1308" y="3189"/>
                      </a:lnTo>
                      <a:lnTo>
                        <a:pt x="1308" y="3077"/>
                      </a:lnTo>
                      <a:lnTo>
                        <a:pt x="1308" y="2967"/>
                      </a:lnTo>
                      <a:lnTo>
                        <a:pt x="1310" y="2861"/>
                      </a:lnTo>
                      <a:lnTo>
                        <a:pt x="1310" y="2761"/>
                      </a:lnTo>
                      <a:lnTo>
                        <a:pt x="1310" y="2666"/>
                      </a:lnTo>
                      <a:lnTo>
                        <a:pt x="1310" y="2579"/>
                      </a:lnTo>
                      <a:lnTo>
                        <a:pt x="1310" y="2500"/>
                      </a:lnTo>
                      <a:lnTo>
                        <a:pt x="1310" y="2431"/>
                      </a:lnTo>
                      <a:lnTo>
                        <a:pt x="1310" y="2373"/>
                      </a:lnTo>
                      <a:lnTo>
                        <a:pt x="1310" y="2324"/>
                      </a:lnTo>
                      <a:lnTo>
                        <a:pt x="1310" y="2288"/>
                      </a:lnTo>
                      <a:lnTo>
                        <a:pt x="1310" y="2265"/>
                      </a:lnTo>
                      <a:lnTo>
                        <a:pt x="1310" y="2257"/>
                      </a:lnTo>
                      <a:lnTo>
                        <a:pt x="1305" y="2245"/>
                      </a:lnTo>
                      <a:lnTo>
                        <a:pt x="1297" y="2226"/>
                      </a:lnTo>
                      <a:lnTo>
                        <a:pt x="1287" y="2199"/>
                      </a:lnTo>
                      <a:lnTo>
                        <a:pt x="1278" y="2166"/>
                      </a:lnTo>
                      <a:lnTo>
                        <a:pt x="1268" y="2127"/>
                      </a:lnTo>
                      <a:lnTo>
                        <a:pt x="1258" y="2087"/>
                      </a:lnTo>
                      <a:lnTo>
                        <a:pt x="1252" y="2044"/>
                      </a:lnTo>
                      <a:lnTo>
                        <a:pt x="1250" y="2004"/>
                      </a:lnTo>
                      <a:lnTo>
                        <a:pt x="1250" y="1245"/>
                      </a:lnTo>
                      <a:lnTo>
                        <a:pt x="1214" y="1299"/>
                      </a:lnTo>
                      <a:lnTo>
                        <a:pt x="1181" y="1345"/>
                      </a:lnTo>
                      <a:lnTo>
                        <a:pt x="1148" y="1384"/>
                      </a:lnTo>
                      <a:lnTo>
                        <a:pt x="1117" y="1419"/>
                      </a:lnTo>
                      <a:lnTo>
                        <a:pt x="1088" y="1446"/>
                      </a:lnTo>
                      <a:lnTo>
                        <a:pt x="1056" y="1469"/>
                      </a:lnTo>
                      <a:lnTo>
                        <a:pt x="1023" y="1486"/>
                      </a:lnTo>
                      <a:lnTo>
                        <a:pt x="1013" y="1492"/>
                      </a:lnTo>
                      <a:lnTo>
                        <a:pt x="1001" y="1496"/>
                      </a:lnTo>
                      <a:lnTo>
                        <a:pt x="986" y="1502"/>
                      </a:lnTo>
                      <a:lnTo>
                        <a:pt x="969" y="1508"/>
                      </a:lnTo>
                      <a:lnTo>
                        <a:pt x="944" y="1513"/>
                      </a:lnTo>
                      <a:lnTo>
                        <a:pt x="915" y="1519"/>
                      </a:lnTo>
                      <a:lnTo>
                        <a:pt x="878" y="1525"/>
                      </a:lnTo>
                      <a:lnTo>
                        <a:pt x="834" y="1531"/>
                      </a:lnTo>
                      <a:lnTo>
                        <a:pt x="781" y="1537"/>
                      </a:lnTo>
                      <a:lnTo>
                        <a:pt x="722" y="1542"/>
                      </a:lnTo>
                      <a:lnTo>
                        <a:pt x="650" y="1546"/>
                      </a:lnTo>
                      <a:lnTo>
                        <a:pt x="569" y="1550"/>
                      </a:lnTo>
                      <a:lnTo>
                        <a:pt x="476" y="1554"/>
                      </a:lnTo>
                      <a:lnTo>
                        <a:pt x="372" y="1556"/>
                      </a:lnTo>
                      <a:lnTo>
                        <a:pt x="256" y="1556"/>
                      </a:lnTo>
                      <a:lnTo>
                        <a:pt x="254" y="1556"/>
                      </a:lnTo>
                      <a:lnTo>
                        <a:pt x="204" y="1552"/>
                      </a:lnTo>
                      <a:lnTo>
                        <a:pt x="156" y="1537"/>
                      </a:lnTo>
                      <a:lnTo>
                        <a:pt x="113" y="1513"/>
                      </a:lnTo>
                      <a:lnTo>
                        <a:pt x="75" y="1483"/>
                      </a:lnTo>
                      <a:lnTo>
                        <a:pt x="44" y="1444"/>
                      </a:lnTo>
                      <a:lnTo>
                        <a:pt x="21" y="1401"/>
                      </a:lnTo>
                      <a:lnTo>
                        <a:pt x="5" y="1353"/>
                      </a:lnTo>
                      <a:lnTo>
                        <a:pt x="0" y="1301"/>
                      </a:lnTo>
                      <a:lnTo>
                        <a:pt x="5" y="1251"/>
                      </a:lnTo>
                      <a:lnTo>
                        <a:pt x="21" y="1203"/>
                      </a:lnTo>
                      <a:lnTo>
                        <a:pt x="44" y="1158"/>
                      </a:lnTo>
                      <a:lnTo>
                        <a:pt x="75" y="1121"/>
                      </a:lnTo>
                      <a:lnTo>
                        <a:pt x="112" y="1091"/>
                      </a:lnTo>
                      <a:lnTo>
                        <a:pt x="156" y="1065"/>
                      </a:lnTo>
                      <a:lnTo>
                        <a:pt x="204" y="1052"/>
                      </a:lnTo>
                      <a:lnTo>
                        <a:pt x="254" y="1046"/>
                      </a:lnTo>
                      <a:lnTo>
                        <a:pt x="328" y="1046"/>
                      </a:lnTo>
                      <a:lnTo>
                        <a:pt x="403" y="1044"/>
                      </a:lnTo>
                      <a:lnTo>
                        <a:pt x="478" y="1042"/>
                      </a:lnTo>
                      <a:lnTo>
                        <a:pt x="552" y="1040"/>
                      </a:lnTo>
                      <a:lnTo>
                        <a:pt x="619" y="1036"/>
                      </a:lnTo>
                      <a:lnTo>
                        <a:pt x="683" y="1033"/>
                      </a:lnTo>
                      <a:lnTo>
                        <a:pt x="739" y="1029"/>
                      </a:lnTo>
                      <a:lnTo>
                        <a:pt x="783" y="1025"/>
                      </a:lnTo>
                      <a:lnTo>
                        <a:pt x="805" y="996"/>
                      </a:lnTo>
                      <a:lnTo>
                        <a:pt x="828" y="961"/>
                      </a:lnTo>
                      <a:lnTo>
                        <a:pt x="853" y="924"/>
                      </a:lnTo>
                      <a:lnTo>
                        <a:pt x="878" y="888"/>
                      </a:lnTo>
                      <a:lnTo>
                        <a:pt x="901" y="851"/>
                      </a:lnTo>
                      <a:lnTo>
                        <a:pt x="969" y="749"/>
                      </a:lnTo>
                      <a:lnTo>
                        <a:pt x="1042" y="643"/>
                      </a:lnTo>
                      <a:lnTo>
                        <a:pt x="1119" y="536"/>
                      </a:lnTo>
                      <a:lnTo>
                        <a:pt x="1198" y="432"/>
                      </a:lnTo>
                      <a:lnTo>
                        <a:pt x="1281" y="336"/>
                      </a:lnTo>
                      <a:lnTo>
                        <a:pt x="1366" y="247"/>
                      </a:lnTo>
                      <a:lnTo>
                        <a:pt x="1430" y="189"/>
                      </a:lnTo>
                      <a:lnTo>
                        <a:pt x="1494" y="137"/>
                      </a:lnTo>
                      <a:lnTo>
                        <a:pt x="1557" y="92"/>
                      </a:lnTo>
                      <a:lnTo>
                        <a:pt x="1621" y="54"/>
                      </a:lnTo>
                      <a:lnTo>
                        <a:pt x="1691" y="23"/>
                      </a:lnTo>
                      <a:lnTo>
                        <a:pt x="1764" y="0"/>
                      </a:lnTo>
                      <a:lnTo>
                        <a:pt x="176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grpSp>
        </p:grpSp>
        <p:grpSp>
          <p:nvGrpSpPr>
            <p:cNvPr id="13" name="Group 41">
              <a:extLst>
                <a:ext uri="{FF2B5EF4-FFF2-40B4-BE49-F238E27FC236}">
                  <a16:creationId xmlns:a16="http://schemas.microsoft.com/office/drawing/2014/main" id="{BBF1CCC7-4BD6-4880-BDCC-1D40D9C534D7}"/>
                </a:ext>
              </a:extLst>
            </p:cNvPr>
            <p:cNvGrpSpPr/>
            <p:nvPr/>
          </p:nvGrpSpPr>
          <p:grpSpPr>
            <a:xfrm>
              <a:off x="6811052" y="3036372"/>
              <a:ext cx="801821" cy="798020"/>
              <a:chOff x="6811052" y="3036372"/>
              <a:chExt cx="801821" cy="798020"/>
            </a:xfrm>
          </p:grpSpPr>
          <p:sp>
            <p:nvSpPr>
              <p:cNvPr id="50" name="Oval 7">
                <a:extLst>
                  <a:ext uri="{FF2B5EF4-FFF2-40B4-BE49-F238E27FC236}">
                    <a16:creationId xmlns:a16="http://schemas.microsoft.com/office/drawing/2014/main" id="{B0DB0A02-5263-4044-9820-2ED71A4C2A66}"/>
                  </a:ext>
                </a:extLst>
              </p:cNvPr>
              <p:cNvSpPr>
                <a:spLocks noChangeArrowheads="1"/>
              </p:cNvSpPr>
              <p:nvPr/>
            </p:nvSpPr>
            <p:spPr bwMode="auto">
              <a:xfrm>
                <a:off x="6811052" y="3036372"/>
                <a:ext cx="801821" cy="798020"/>
              </a:xfrm>
              <a:prstGeom prst="ellipse">
                <a:avLst/>
              </a:pr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51" name="Freeform 389">
                <a:extLst>
                  <a:ext uri="{FF2B5EF4-FFF2-40B4-BE49-F238E27FC236}">
                    <a16:creationId xmlns:a16="http://schemas.microsoft.com/office/drawing/2014/main" id="{B317F630-1642-4574-A33F-02D1DDA94238}"/>
                  </a:ext>
                </a:extLst>
              </p:cNvPr>
              <p:cNvSpPr>
                <a:spLocks noEditPoints="1"/>
              </p:cNvSpPr>
              <p:nvPr/>
            </p:nvSpPr>
            <p:spPr bwMode="auto">
              <a:xfrm>
                <a:off x="7052751" y="3300219"/>
                <a:ext cx="318422" cy="270327"/>
              </a:xfrm>
              <a:custGeom>
                <a:avLst/>
                <a:gdLst>
                  <a:gd name="T0" fmla="*/ 2880 w 3456"/>
                  <a:gd name="T1" fmla="*/ 2823 h 2938"/>
                  <a:gd name="T2" fmla="*/ 2995 w 3456"/>
                  <a:gd name="T3" fmla="*/ 633 h 2938"/>
                  <a:gd name="T4" fmla="*/ 461 w 3456"/>
                  <a:gd name="T5" fmla="*/ 633 h 2938"/>
                  <a:gd name="T6" fmla="*/ 576 w 3456"/>
                  <a:gd name="T7" fmla="*/ 2823 h 2938"/>
                  <a:gd name="T8" fmla="*/ 461 w 3456"/>
                  <a:gd name="T9" fmla="*/ 633 h 2938"/>
                  <a:gd name="T10" fmla="*/ 1261 w 3456"/>
                  <a:gd name="T11" fmla="*/ 117 h 2938"/>
                  <a:gd name="T12" fmla="*/ 1231 w 3456"/>
                  <a:gd name="T13" fmla="*/ 135 h 2938"/>
                  <a:gd name="T14" fmla="*/ 1212 w 3456"/>
                  <a:gd name="T15" fmla="*/ 166 h 2938"/>
                  <a:gd name="T16" fmla="*/ 1210 w 3456"/>
                  <a:gd name="T17" fmla="*/ 518 h 2938"/>
                  <a:gd name="T18" fmla="*/ 2246 w 3456"/>
                  <a:gd name="T19" fmla="*/ 184 h 2938"/>
                  <a:gd name="T20" fmla="*/ 2237 w 3456"/>
                  <a:gd name="T21" fmla="*/ 149 h 2938"/>
                  <a:gd name="T22" fmla="*/ 2212 w 3456"/>
                  <a:gd name="T23" fmla="*/ 124 h 2938"/>
                  <a:gd name="T24" fmla="*/ 2177 w 3456"/>
                  <a:gd name="T25" fmla="*/ 115 h 2938"/>
                  <a:gd name="T26" fmla="*/ 1279 w 3456"/>
                  <a:gd name="T27" fmla="*/ 0 h 2938"/>
                  <a:gd name="T28" fmla="*/ 2210 w 3456"/>
                  <a:gd name="T29" fmla="*/ 3 h 2938"/>
                  <a:gd name="T30" fmla="*/ 2270 w 3456"/>
                  <a:gd name="T31" fmla="*/ 25 h 2938"/>
                  <a:gd name="T32" fmla="*/ 2318 w 3456"/>
                  <a:gd name="T33" fmla="*/ 66 h 2938"/>
                  <a:gd name="T34" fmla="*/ 2350 w 3456"/>
                  <a:gd name="T35" fmla="*/ 120 h 2938"/>
                  <a:gd name="T36" fmla="*/ 2362 w 3456"/>
                  <a:gd name="T37" fmla="*/ 184 h 2938"/>
                  <a:gd name="T38" fmla="*/ 2592 w 3456"/>
                  <a:gd name="T39" fmla="*/ 518 h 2938"/>
                  <a:gd name="T40" fmla="*/ 3168 w 3456"/>
                  <a:gd name="T41" fmla="*/ 345 h 2938"/>
                  <a:gd name="T42" fmla="*/ 3283 w 3456"/>
                  <a:gd name="T43" fmla="*/ 518 h 2938"/>
                  <a:gd name="T44" fmla="*/ 3343 w 3456"/>
                  <a:gd name="T45" fmla="*/ 529 h 2938"/>
                  <a:gd name="T46" fmla="*/ 3394 w 3456"/>
                  <a:gd name="T47" fmla="*/ 559 h 2938"/>
                  <a:gd name="T48" fmla="*/ 3432 w 3456"/>
                  <a:gd name="T49" fmla="*/ 604 h 2938"/>
                  <a:gd name="T50" fmla="*/ 3453 w 3456"/>
                  <a:gd name="T51" fmla="*/ 661 h 2938"/>
                  <a:gd name="T52" fmla="*/ 3456 w 3456"/>
                  <a:gd name="T53" fmla="*/ 2764 h 2938"/>
                  <a:gd name="T54" fmla="*/ 3446 w 3456"/>
                  <a:gd name="T55" fmla="*/ 2825 h 2938"/>
                  <a:gd name="T56" fmla="*/ 3415 w 3456"/>
                  <a:gd name="T57" fmla="*/ 2876 h 2938"/>
                  <a:gd name="T58" fmla="*/ 3370 w 3456"/>
                  <a:gd name="T59" fmla="*/ 2914 h 2938"/>
                  <a:gd name="T60" fmla="*/ 3314 w 3456"/>
                  <a:gd name="T61" fmla="*/ 2935 h 2938"/>
                  <a:gd name="T62" fmla="*/ 173 w 3456"/>
                  <a:gd name="T63" fmla="*/ 2938 h 2938"/>
                  <a:gd name="T64" fmla="*/ 113 w 3456"/>
                  <a:gd name="T65" fmla="*/ 2927 h 2938"/>
                  <a:gd name="T66" fmla="*/ 62 w 3456"/>
                  <a:gd name="T67" fmla="*/ 2897 h 2938"/>
                  <a:gd name="T68" fmla="*/ 24 w 3456"/>
                  <a:gd name="T69" fmla="*/ 2852 h 2938"/>
                  <a:gd name="T70" fmla="*/ 3 w 3456"/>
                  <a:gd name="T71" fmla="*/ 2795 h 2938"/>
                  <a:gd name="T72" fmla="*/ 0 w 3456"/>
                  <a:gd name="T73" fmla="*/ 692 h 2938"/>
                  <a:gd name="T74" fmla="*/ 10 w 3456"/>
                  <a:gd name="T75" fmla="*/ 631 h 2938"/>
                  <a:gd name="T76" fmla="*/ 41 w 3456"/>
                  <a:gd name="T77" fmla="*/ 580 h 2938"/>
                  <a:gd name="T78" fmla="*/ 86 w 3456"/>
                  <a:gd name="T79" fmla="*/ 542 h 2938"/>
                  <a:gd name="T80" fmla="*/ 142 w 3456"/>
                  <a:gd name="T81" fmla="*/ 521 h 2938"/>
                  <a:gd name="T82" fmla="*/ 288 w 3456"/>
                  <a:gd name="T83" fmla="*/ 518 h 2938"/>
                  <a:gd name="T84" fmla="*/ 864 w 3456"/>
                  <a:gd name="T85" fmla="*/ 345 h 2938"/>
                  <a:gd name="T86" fmla="*/ 1094 w 3456"/>
                  <a:gd name="T87" fmla="*/ 518 h 2938"/>
                  <a:gd name="T88" fmla="*/ 1098 w 3456"/>
                  <a:gd name="T89" fmla="*/ 151 h 2938"/>
                  <a:gd name="T90" fmla="*/ 1120 w 3456"/>
                  <a:gd name="T91" fmla="*/ 91 h 2938"/>
                  <a:gd name="T92" fmla="*/ 1160 w 3456"/>
                  <a:gd name="T93" fmla="*/ 44 h 2938"/>
                  <a:gd name="T94" fmla="*/ 1215 w 3456"/>
                  <a:gd name="T95" fmla="*/ 11 h 2938"/>
                  <a:gd name="T96" fmla="*/ 1279 w 3456"/>
                  <a:gd name="T97" fmla="*/ 0 h 29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456" h="2938">
                    <a:moveTo>
                      <a:pt x="2880" y="633"/>
                    </a:moveTo>
                    <a:lnTo>
                      <a:pt x="2880" y="2823"/>
                    </a:lnTo>
                    <a:lnTo>
                      <a:pt x="2995" y="2823"/>
                    </a:lnTo>
                    <a:lnTo>
                      <a:pt x="2995" y="633"/>
                    </a:lnTo>
                    <a:lnTo>
                      <a:pt x="2880" y="633"/>
                    </a:lnTo>
                    <a:close/>
                    <a:moveTo>
                      <a:pt x="461" y="633"/>
                    </a:moveTo>
                    <a:lnTo>
                      <a:pt x="461" y="2823"/>
                    </a:lnTo>
                    <a:lnTo>
                      <a:pt x="576" y="2823"/>
                    </a:lnTo>
                    <a:lnTo>
                      <a:pt x="576" y="633"/>
                    </a:lnTo>
                    <a:lnTo>
                      <a:pt x="461" y="633"/>
                    </a:lnTo>
                    <a:close/>
                    <a:moveTo>
                      <a:pt x="1279" y="115"/>
                    </a:moveTo>
                    <a:lnTo>
                      <a:pt x="1261" y="117"/>
                    </a:lnTo>
                    <a:lnTo>
                      <a:pt x="1244" y="124"/>
                    </a:lnTo>
                    <a:lnTo>
                      <a:pt x="1231" y="135"/>
                    </a:lnTo>
                    <a:lnTo>
                      <a:pt x="1219" y="149"/>
                    </a:lnTo>
                    <a:lnTo>
                      <a:pt x="1212" y="166"/>
                    </a:lnTo>
                    <a:lnTo>
                      <a:pt x="1210" y="184"/>
                    </a:lnTo>
                    <a:lnTo>
                      <a:pt x="1210" y="518"/>
                    </a:lnTo>
                    <a:lnTo>
                      <a:pt x="2246" y="518"/>
                    </a:lnTo>
                    <a:lnTo>
                      <a:pt x="2246" y="184"/>
                    </a:lnTo>
                    <a:lnTo>
                      <a:pt x="2244" y="166"/>
                    </a:lnTo>
                    <a:lnTo>
                      <a:pt x="2237" y="149"/>
                    </a:lnTo>
                    <a:lnTo>
                      <a:pt x="2225" y="135"/>
                    </a:lnTo>
                    <a:lnTo>
                      <a:pt x="2212" y="124"/>
                    </a:lnTo>
                    <a:lnTo>
                      <a:pt x="2195" y="117"/>
                    </a:lnTo>
                    <a:lnTo>
                      <a:pt x="2177" y="115"/>
                    </a:lnTo>
                    <a:lnTo>
                      <a:pt x="1279" y="115"/>
                    </a:lnTo>
                    <a:close/>
                    <a:moveTo>
                      <a:pt x="1279" y="0"/>
                    </a:moveTo>
                    <a:lnTo>
                      <a:pt x="2177" y="0"/>
                    </a:lnTo>
                    <a:lnTo>
                      <a:pt x="2210" y="3"/>
                    </a:lnTo>
                    <a:lnTo>
                      <a:pt x="2241" y="11"/>
                    </a:lnTo>
                    <a:lnTo>
                      <a:pt x="2270" y="25"/>
                    </a:lnTo>
                    <a:lnTo>
                      <a:pt x="2296" y="44"/>
                    </a:lnTo>
                    <a:lnTo>
                      <a:pt x="2318" y="66"/>
                    </a:lnTo>
                    <a:lnTo>
                      <a:pt x="2336" y="91"/>
                    </a:lnTo>
                    <a:lnTo>
                      <a:pt x="2350" y="120"/>
                    </a:lnTo>
                    <a:lnTo>
                      <a:pt x="2358" y="151"/>
                    </a:lnTo>
                    <a:lnTo>
                      <a:pt x="2362" y="184"/>
                    </a:lnTo>
                    <a:lnTo>
                      <a:pt x="2362" y="518"/>
                    </a:lnTo>
                    <a:lnTo>
                      <a:pt x="2592" y="518"/>
                    </a:lnTo>
                    <a:lnTo>
                      <a:pt x="2592" y="345"/>
                    </a:lnTo>
                    <a:lnTo>
                      <a:pt x="3168" y="345"/>
                    </a:lnTo>
                    <a:lnTo>
                      <a:pt x="3168" y="518"/>
                    </a:lnTo>
                    <a:lnTo>
                      <a:pt x="3283" y="518"/>
                    </a:lnTo>
                    <a:lnTo>
                      <a:pt x="3314" y="521"/>
                    </a:lnTo>
                    <a:lnTo>
                      <a:pt x="3343" y="529"/>
                    </a:lnTo>
                    <a:lnTo>
                      <a:pt x="3370" y="542"/>
                    </a:lnTo>
                    <a:lnTo>
                      <a:pt x="3394" y="559"/>
                    </a:lnTo>
                    <a:lnTo>
                      <a:pt x="3415" y="580"/>
                    </a:lnTo>
                    <a:lnTo>
                      <a:pt x="3432" y="604"/>
                    </a:lnTo>
                    <a:lnTo>
                      <a:pt x="3446" y="631"/>
                    </a:lnTo>
                    <a:lnTo>
                      <a:pt x="3453" y="661"/>
                    </a:lnTo>
                    <a:lnTo>
                      <a:pt x="3456" y="692"/>
                    </a:lnTo>
                    <a:lnTo>
                      <a:pt x="3456" y="2764"/>
                    </a:lnTo>
                    <a:lnTo>
                      <a:pt x="3453" y="2795"/>
                    </a:lnTo>
                    <a:lnTo>
                      <a:pt x="3446" y="2825"/>
                    </a:lnTo>
                    <a:lnTo>
                      <a:pt x="3432" y="2852"/>
                    </a:lnTo>
                    <a:lnTo>
                      <a:pt x="3415" y="2876"/>
                    </a:lnTo>
                    <a:lnTo>
                      <a:pt x="3394" y="2897"/>
                    </a:lnTo>
                    <a:lnTo>
                      <a:pt x="3370" y="2914"/>
                    </a:lnTo>
                    <a:lnTo>
                      <a:pt x="3343" y="2927"/>
                    </a:lnTo>
                    <a:lnTo>
                      <a:pt x="3314" y="2935"/>
                    </a:lnTo>
                    <a:lnTo>
                      <a:pt x="3283" y="2938"/>
                    </a:lnTo>
                    <a:lnTo>
                      <a:pt x="173" y="2938"/>
                    </a:lnTo>
                    <a:lnTo>
                      <a:pt x="142" y="2935"/>
                    </a:lnTo>
                    <a:lnTo>
                      <a:pt x="113" y="2927"/>
                    </a:lnTo>
                    <a:lnTo>
                      <a:pt x="86" y="2914"/>
                    </a:lnTo>
                    <a:lnTo>
                      <a:pt x="62" y="2897"/>
                    </a:lnTo>
                    <a:lnTo>
                      <a:pt x="41" y="2876"/>
                    </a:lnTo>
                    <a:lnTo>
                      <a:pt x="24" y="2852"/>
                    </a:lnTo>
                    <a:lnTo>
                      <a:pt x="10" y="2825"/>
                    </a:lnTo>
                    <a:lnTo>
                      <a:pt x="3" y="2795"/>
                    </a:lnTo>
                    <a:lnTo>
                      <a:pt x="0" y="2764"/>
                    </a:lnTo>
                    <a:lnTo>
                      <a:pt x="0" y="692"/>
                    </a:lnTo>
                    <a:lnTo>
                      <a:pt x="3" y="661"/>
                    </a:lnTo>
                    <a:lnTo>
                      <a:pt x="10" y="631"/>
                    </a:lnTo>
                    <a:lnTo>
                      <a:pt x="24" y="604"/>
                    </a:lnTo>
                    <a:lnTo>
                      <a:pt x="41" y="580"/>
                    </a:lnTo>
                    <a:lnTo>
                      <a:pt x="62" y="559"/>
                    </a:lnTo>
                    <a:lnTo>
                      <a:pt x="86" y="542"/>
                    </a:lnTo>
                    <a:lnTo>
                      <a:pt x="113" y="529"/>
                    </a:lnTo>
                    <a:lnTo>
                      <a:pt x="142" y="521"/>
                    </a:lnTo>
                    <a:lnTo>
                      <a:pt x="173" y="518"/>
                    </a:lnTo>
                    <a:lnTo>
                      <a:pt x="288" y="518"/>
                    </a:lnTo>
                    <a:lnTo>
                      <a:pt x="288" y="345"/>
                    </a:lnTo>
                    <a:lnTo>
                      <a:pt x="864" y="345"/>
                    </a:lnTo>
                    <a:lnTo>
                      <a:pt x="864" y="518"/>
                    </a:lnTo>
                    <a:lnTo>
                      <a:pt x="1094" y="518"/>
                    </a:lnTo>
                    <a:lnTo>
                      <a:pt x="1094" y="184"/>
                    </a:lnTo>
                    <a:lnTo>
                      <a:pt x="1098" y="151"/>
                    </a:lnTo>
                    <a:lnTo>
                      <a:pt x="1106" y="120"/>
                    </a:lnTo>
                    <a:lnTo>
                      <a:pt x="1120" y="91"/>
                    </a:lnTo>
                    <a:lnTo>
                      <a:pt x="1138" y="66"/>
                    </a:lnTo>
                    <a:lnTo>
                      <a:pt x="1160" y="44"/>
                    </a:lnTo>
                    <a:lnTo>
                      <a:pt x="1186" y="25"/>
                    </a:lnTo>
                    <a:lnTo>
                      <a:pt x="1215" y="11"/>
                    </a:lnTo>
                    <a:lnTo>
                      <a:pt x="1246" y="3"/>
                    </a:lnTo>
                    <a:lnTo>
                      <a:pt x="1279"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grpSp>
        <p:grpSp>
          <p:nvGrpSpPr>
            <p:cNvPr id="14" name="Group 42">
              <a:extLst>
                <a:ext uri="{FF2B5EF4-FFF2-40B4-BE49-F238E27FC236}">
                  <a16:creationId xmlns:a16="http://schemas.microsoft.com/office/drawing/2014/main" id="{E51AD468-9F9D-4194-AA0D-407C0CFF42D8}"/>
                </a:ext>
              </a:extLst>
            </p:cNvPr>
            <p:cNvGrpSpPr/>
            <p:nvPr/>
          </p:nvGrpSpPr>
          <p:grpSpPr>
            <a:xfrm>
              <a:off x="7302531" y="3707722"/>
              <a:ext cx="952557" cy="951291"/>
              <a:chOff x="7302531" y="3707722"/>
              <a:chExt cx="952557" cy="951291"/>
            </a:xfrm>
          </p:grpSpPr>
          <p:sp>
            <p:nvSpPr>
              <p:cNvPr id="46" name="Oval 8">
                <a:extLst>
                  <a:ext uri="{FF2B5EF4-FFF2-40B4-BE49-F238E27FC236}">
                    <a16:creationId xmlns:a16="http://schemas.microsoft.com/office/drawing/2014/main" id="{85E5F69B-8ABB-4D93-A744-69F833083861}"/>
                  </a:ext>
                </a:extLst>
              </p:cNvPr>
              <p:cNvSpPr>
                <a:spLocks noChangeArrowheads="1"/>
              </p:cNvSpPr>
              <p:nvPr/>
            </p:nvSpPr>
            <p:spPr bwMode="auto">
              <a:xfrm>
                <a:off x="7302531" y="3707722"/>
                <a:ext cx="952557" cy="951291"/>
              </a:xfrm>
              <a:prstGeom prst="ellipse">
                <a:avLst/>
              </a:pr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grpSp>
            <p:nvGrpSpPr>
              <p:cNvPr id="47" name="Group 624">
                <a:extLst>
                  <a:ext uri="{FF2B5EF4-FFF2-40B4-BE49-F238E27FC236}">
                    <a16:creationId xmlns:a16="http://schemas.microsoft.com/office/drawing/2014/main" id="{DA7E652A-5DF0-4511-A40F-3525C7A5425F}"/>
                  </a:ext>
                </a:extLst>
              </p:cNvPr>
              <p:cNvGrpSpPr>
                <a:grpSpLocks noChangeAspect="1"/>
              </p:cNvGrpSpPr>
              <p:nvPr/>
            </p:nvGrpSpPr>
            <p:grpSpPr bwMode="auto">
              <a:xfrm>
                <a:off x="7640111" y="4061296"/>
                <a:ext cx="277397" cy="244142"/>
                <a:chOff x="2404" y="3893"/>
                <a:chExt cx="342" cy="301"/>
              </a:xfrm>
              <a:solidFill>
                <a:schemeClr val="bg1"/>
              </a:solidFill>
            </p:grpSpPr>
            <p:sp>
              <p:nvSpPr>
                <p:cNvPr id="48" name="Freeform 626">
                  <a:extLst>
                    <a:ext uri="{FF2B5EF4-FFF2-40B4-BE49-F238E27FC236}">
                      <a16:creationId xmlns:a16="http://schemas.microsoft.com/office/drawing/2014/main" id="{4E6CF620-FF14-4816-895D-5A035C460D67}"/>
                    </a:ext>
                  </a:extLst>
                </p:cNvPr>
                <p:cNvSpPr>
                  <a:spLocks noEditPoints="1"/>
                </p:cNvSpPr>
                <p:nvPr/>
              </p:nvSpPr>
              <p:spPr bwMode="auto">
                <a:xfrm>
                  <a:off x="2422" y="3893"/>
                  <a:ext cx="305" cy="236"/>
                </a:xfrm>
                <a:custGeom>
                  <a:avLst/>
                  <a:gdLst>
                    <a:gd name="T0" fmla="*/ 319 w 3050"/>
                    <a:gd name="T1" fmla="*/ 320 h 2365"/>
                    <a:gd name="T2" fmla="*/ 319 w 3050"/>
                    <a:gd name="T3" fmla="*/ 2045 h 2365"/>
                    <a:gd name="T4" fmla="*/ 2732 w 3050"/>
                    <a:gd name="T5" fmla="*/ 2045 h 2365"/>
                    <a:gd name="T6" fmla="*/ 2732 w 3050"/>
                    <a:gd name="T7" fmla="*/ 320 h 2365"/>
                    <a:gd name="T8" fmla="*/ 319 w 3050"/>
                    <a:gd name="T9" fmla="*/ 320 h 2365"/>
                    <a:gd name="T10" fmla="*/ 254 w 3050"/>
                    <a:gd name="T11" fmla="*/ 0 h 2365"/>
                    <a:gd name="T12" fmla="*/ 2797 w 3050"/>
                    <a:gd name="T13" fmla="*/ 0 h 2365"/>
                    <a:gd name="T14" fmla="*/ 2834 w 3050"/>
                    <a:gd name="T15" fmla="*/ 3 h 2365"/>
                    <a:gd name="T16" fmla="*/ 2870 w 3050"/>
                    <a:gd name="T17" fmla="*/ 11 h 2365"/>
                    <a:gd name="T18" fmla="*/ 2903 w 3050"/>
                    <a:gd name="T19" fmla="*/ 24 h 2365"/>
                    <a:gd name="T20" fmla="*/ 2934 w 3050"/>
                    <a:gd name="T21" fmla="*/ 42 h 2365"/>
                    <a:gd name="T22" fmla="*/ 2963 w 3050"/>
                    <a:gd name="T23" fmla="*/ 63 h 2365"/>
                    <a:gd name="T24" fmla="*/ 2988 w 3050"/>
                    <a:gd name="T25" fmla="*/ 88 h 2365"/>
                    <a:gd name="T26" fmla="*/ 3010 w 3050"/>
                    <a:gd name="T27" fmla="*/ 117 h 2365"/>
                    <a:gd name="T28" fmla="*/ 3027 w 3050"/>
                    <a:gd name="T29" fmla="*/ 148 h 2365"/>
                    <a:gd name="T30" fmla="*/ 3040 w 3050"/>
                    <a:gd name="T31" fmla="*/ 181 h 2365"/>
                    <a:gd name="T32" fmla="*/ 3047 w 3050"/>
                    <a:gd name="T33" fmla="*/ 218 h 2365"/>
                    <a:gd name="T34" fmla="*/ 3050 w 3050"/>
                    <a:gd name="T35" fmla="*/ 255 h 2365"/>
                    <a:gd name="T36" fmla="*/ 3050 w 3050"/>
                    <a:gd name="T37" fmla="*/ 2174 h 2365"/>
                    <a:gd name="T38" fmla="*/ 3047 w 3050"/>
                    <a:gd name="T39" fmla="*/ 2208 h 2365"/>
                    <a:gd name="T40" fmla="*/ 3039 w 3050"/>
                    <a:gd name="T41" fmla="*/ 2240 h 2365"/>
                    <a:gd name="T42" fmla="*/ 3025 w 3050"/>
                    <a:gd name="T43" fmla="*/ 2271 h 2365"/>
                    <a:gd name="T44" fmla="*/ 3006 w 3050"/>
                    <a:gd name="T45" fmla="*/ 2297 h 2365"/>
                    <a:gd name="T46" fmla="*/ 2983 w 3050"/>
                    <a:gd name="T47" fmla="*/ 2320 h 2365"/>
                    <a:gd name="T48" fmla="*/ 2956 w 3050"/>
                    <a:gd name="T49" fmla="*/ 2338 h 2365"/>
                    <a:gd name="T50" fmla="*/ 2926 w 3050"/>
                    <a:gd name="T51" fmla="*/ 2353 h 2365"/>
                    <a:gd name="T52" fmla="*/ 2894 w 3050"/>
                    <a:gd name="T53" fmla="*/ 2362 h 2365"/>
                    <a:gd name="T54" fmla="*/ 2860 w 3050"/>
                    <a:gd name="T55" fmla="*/ 2365 h 2365"/>
                    <a:gd name="T56" fmla="*/ 191 w 3050"/>
                    <a:gd name="T57" fmla="*/ 2365 h 2365"/>
                    <a:gd name="T58" fmla="*/ 157 w 3050"/>
                    <a:gd name="T59" fmla="*/ 2362 h 2365"/>
                    <a:gd name="T60" fmla="*/ 125 w 3050"/>
                    <a:gd name="T61" fmla="*/ 2353 h 2365"/>
                    <a:gd name="T62" fmla="*/ 95 w 3050"/>
                    <a:gd name="T63" fmla="*/ 2338 h 2365"/>
                    <a:gd name="T64" fmla="*/ 69 w 3050"/>
                    <a:gd name="T65" fmla="*/ 2320 h 2365"/>
                    <a:gd name="T66" fmla="*/ 45 w 3050"/>
                    <a:gd name="T67" fmla="*/ 2297 h 2365"/>
                    <a:gd name="T68" fmla="*/ 26 w 3050"/>
                    <a:gd name="T69" fmla="*/ 2271 h 2365"/>
                    <a:gd name="T70" fmla="*/ 13 w 3050"/>
                    <a:gd name="T71" fmla="*/ 2240 h 2365"/>
                    <a:gd name="T72" fmla="*/ 4 w 3050"/>
                    <a:gd name="T73" fmla="*/ 2208 h 2365"/>
                    <a:gd name="T74" fmla="*/ 0 w 3050"/>
                    <a:gd name="T75" fmla="*/ 2174 h 2365"/>
                    <a:gd name="T76" fmla="*/ 0 w 3050"/>
                    <a:gd name="T77" fmla="*/ 255 h 2365"/>
                    <a:gd name="T78" fmla="*/ 4 w 3050"/>
                    <a:gd name="T79" fmla="*/ 218 h 2365"/>
                    <a:gd name="T80" fmla="*/ 12 w 3050"/>
                    <a:gd name="T81" fmla="*/ 181 h 2365"/>
                    <a:gd name="T82" fmla="*/ 24 w 3050"/>
                    <a:gd name="T83" fmla="*/ 148 h 2365"/>
                    <a:gd name="T84" fmla="*/ 42 w 3050"/>
                    <a:gd name="T85" fmla="*/ 117 h 2365"/>
                    <a:gd name="T86" fmla="*/ 63 w 3050"/>
                    <a:gd name="T87" fmla="*/ 88 h 2365"/>
                    <a:gd name="T88" fmla="*/ 87 w 3050"/>
                    <a:gd name="T89" fmla="*/ 63 h 2365"/>
                    <a:gd name="T90" fmla="*/ 117 w 3050"/>
                    <a:gd name="T91" fmla="*/ 42 h 2365"/>
                    <a:gd name="T92" fmla="*/ 148 w 3050"/>
                    <a:gd name="T93" fmla="*/ 24 h 2365"/>
                    <a:gd name="T94" fmla="*/ 182 w 3050"/>
                    <a:gd name="T95" fmla="*/ 11 h 2365"/>
                    <a:gd name="T96" fmla="*/ 217 w 3050"/>
                    <a:gd name="T97" fmla="*/ 3 h 2365"/>
                    <a:gd name="T98" fmla="*/ 254 w 3050"/>
                    <a:gd name="T99" fmla="*/ 0 h 2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050" h="2365">
                      <a:moveTo>
                        <a:pt x="319" y="320"/>
                      </a:moveTo>
                      <a:lnTo>
                        <a:pt x="319" y="2045"/>
                      </a:lnTo>
                      <a:lnTo>
                        <a:pt x="2732" y="2045"/>
                      </a:lnTo>
                      <a:lnTo>
                        <a:pt x="2732" y="320"/>
                      </a:lnTo>
                      <a:lnTo>
                        <a:pt x="319" y="320"/>
                      </a:lnTo>
                      <a:close/>
                      <a:moveTo>
                        <a:pt x="254" y="0"/>
                      </a:moveTo>
                      <a:lnTo>
                        <a:pt x="2797" y="0"/>
                      </a:lnTo>
                      <a:lnTo>
                        <a:pt x="2834" y="3"/>
                      </a:lnTo>
                      <a:lnTo>
                        <a:pt x="2870" y="11"/>
                      </a:lnTo>
                      <a:lnTo>
                        <a:pt x="2903" y="24"/>
                      </a:lnTo>
                      <a:lnTo>
                        <a:pt x="2934" y="42"/>
                      </a:lnTo>
                      <a:lnTo>
                        <a:pt x="2963" y="63"/>
                      </a:lnTo>
                      <a:lnTo>
                        <a:pt x="2988" y="88"/>
                      </a:lnTo>
                      <a:lnTo>
                        <a:pt x="3010" y="117"/>
                      </a:lnTo>
                      <a:lnTo>
                        <a:pt x="3027" y="148"/>
                      </a:lnTo>
                      <a:lnTo>
                        <a:pt x="3040" y="181"/>
                      </a:lnTo>
                      <a:lnTo>
                        <a:pt x="3047" y="218"/>
                      </a:lnTo>
                      <a:lnTo>
                        <a:pt x="3050" y="255"/>
                      </a:lnTo>
                      <a:lnTo>
                        <a:pt x="3050" y="2174"/>
                      </a:lnTo>
                      <a:lnTo>
                        <a:pt x="3047" y="2208"/>
                      </a:lnTo>
                      <a:lnTo>
                        <a:pt x="3039" y="2240"/>
                      </a:lnTo>
                      <a:lnTo>
                        <a:pt x="3025" y="2271"/>
                      </a:lnTo>
                      <a:lnTo>
                        <a:pt x="3006" y="2297"/>
                      </a:lnTo>
                      <a:lnTo>
                        <a:pt x="2983" y="2320"/>
                      </a:lnTo>
                      <a:lnTo>
                        <a:pt x="2956" y="2338"/>
                      </a:lnTo>
                      <a:lnTo>
                        <a:pt x="2926" y="2353"/>
                      </a:lnTo>
                      <a:lnTo>
                        <a:pt x="2894" y="2362"/>
                      </a:lnTo>
                      <a:lnTo>
                        <a:pt x="2860" y="2365"/>
                      </a:lnTo>
                      <a:lnTo>
                        <a:pt x="191" y="2365"/>
                      </a:lnTo>
                      <a:lnTo>
                        <a:pt x="157" y="2362"/>
                      </a:lnTo>
                      <a:lnTo>
                        <a:pt x="125" y="2353"/>
                      </a:lnTo>
                      <a:lnTo>
                        <a:pt x="95" y="2338"/>
                      </a:lnTo>
                      <a:lnTo>
                        <a:pt x="69" y="2320"/>
                      </a:lnTo>
                      <a:lnTo>
                        <a:pt x="45" y="2297"/>
                      </a:lnTo>
                      <a:lnTo>
                        <a:pt x="26" y="2271"/>
                      </a:lnTo>
                      <a:lnTo>
                        <a:pt x="13" y="2240"/>
                      </a:lnTo>
                      <a:lnTo>
                        <a:pt x="4" y="2208"/>
                      </a:lnTo>
                      <a:lnTo>
                        <a:pt x="0" y="2174"/>
                      </a:lnTo>
                      <a:lnTo>
                        <a:pt x="0" y="255"/>
                      </a:lnTo>
                      <a:lnTo>
                        <a:pt x="4" y="218"/>
                      </a:lnTo>
                      <a:lnTo>
                        <a:pt x="12" y="181"/>
                      </a:lnTo>
                      <a:lnTo>
                        <a:pt x="24" y="148"/>
                      </a:lnTo>
                      <a:lnTo>
                        <a:pt x="42" y="117"/>
                      </a:lnTo>
                      <a:lnTo>
                        <a:pt x="63" y="88"/>
                      </a:lnTo>
                      <a:lnTo>
                        <a:pt x="87" y="63"/>
                      </a:lnTo>
                      <a:lnTo>
                        <a:pt x="117" y="42"/>
                      </a:lnTo>
                      <a:lnTo>
                        <a:pt x="148" y="24"/>
                      </a:lnTo>
                      <a:lnTo>
                        <a:pt x="182" y="11"/>
                      </a:lnTo>
                      <a:lnTo>
                        <a:pt x="217" y="3"/>
                      </a:lnTo>
                      <a:lnTo>
                        <a:pt x="25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49" name="Freeform 627">
                  <a:extLst>
                    <a:ext uri="{FF2B5EF4-FFF2-40B4-BE49-F238E27FC236}">
                      <a16:creationId xmlns:a16="http://schemas.microsoft.com/office/drawing/2014/main" id="{F5175DDA-22E6-4F4B-939E-60F193C11F63}"/>
                    </a:ext>
                  </a:extLst>
                </p:cNvPr>
                <p:cNvSpPr>
                  <a:spLocks noEditPoints="1"/>
                </p:cNvSpPr>
                <p:nvPr/>
              </p:nvSpPr>
              <p:spPr bwMode="auto">
                <a:xfrm>
                  <a:off x="2404" y="4141"/>
                  <a:ext cx="342" cy="53"/>
                </a:xfrm>
                <a:custGeom>
                  <a:avLst/>
                  <a:gdLst>
                    <a:gd name="T0" fmla="*/ 1294 w 3417"/>
                    <a:gd name="T1" fmla="*/ 203 h 531"/>
                    <a:gd name="T2" fmla="*/ 1266 w 3417"/>
                    <a:gd name="T3" fmla="*/ 220 h 531"/>
                    <a:gd name="T4" fmla="*/ 1250 w 3417"/>
                    <a:gd name="T5" fmla="*/ 248 h 531"/>
                    <a:gd name="T6" fmla="*/ 1250 w 3417"/>
                    <a:gd name="T7" fmla="*/ 283 h 531"/>
                    <a:gd name="T8" fmla="*/ 1266 w 3417"/>
                    <a:gd name="T9" fmla="*/ 311 h 531"/>
                    <a:gd name="T10" fmla="*/ 1294 w 3417"/>
                    <a:gd name="T11" fmla="*/ 327 h 531"/>
                    <a:gd name="T12" fmla="*/ 2106 w 3417"/>
                    <a:gd name="T13" fmla="*/ 330 h 531"/>
                    <a:gd name="T14" fmla="*/ 2138 w 3417"/>
                    <a:gd name="T15" fmla="*/ 321 h 531"/>
                    <a:gd name="T16" fmla="*/ 2161 w 3417"/>
                    <a:gd name="T17" fmla="*/ 298 h 531"/>
                    <a:gd name="T18" fmla="*/ 2169 w 3417"/>
                    <a:gd name="T19" fmla="*/ 265 h 531"/>
                    <a:gd name="T20" fmla="*/ 2161 w 3417"/>
                    <a:gd name="T21" fmla="*/ 234 h 531"/>
                    <a:gd name="T22" fmla="*/ 2138 w 3417"/>
                    <a:gd name="T23" fmla="*/ 211 h 531"/>
                    <a:gd name="T24" fmla="*/ 2106 w 3417"/>
                    <a:gd name="T25" fmla="*/ 201 h 531"/>
                    <a:gd name="T26" fmla="*/ 63 w 3417"/>
                    <a:gd name="T27" fmla="*/ 0 h 531"/>
                    <a:gd name="T28" fmla="*/ 3370 w 3417"/>
                    <a:gd name="T29" fmla="*/ 2 h 531"/>
                    <a:gd name="T30" fmla="*/ 3398 w 3417"/>
                    <a:gd name="T31" fmla="*/ 19 h 531"/>
                    <a:gd name="T32" fmla="*/ 3415 w 3417"/>
                    <a:gd name="T33" fmla="*/ 47 h 531"/>
                    <a:gd name="T34" fmla="*/ 3417 w 3417"/>
                    <a:gd name="T35" fmla="*/ 301 h 531"/>
                    <a:gd name="T36" fmla="*/ 3405 w 3417"/>
                    <a:gd name="T37" fmla="*/ 367 h 531"/>
                    <a:gd name="T38" fmla="*/ 3371 w 3417"/>
                    <a:gd name="T39" fmla="*/ 426 h 531"/>
                    <a:gd name="T40" fmla="*/ 3319 w 3417"/>
                    <a:gd name="T41" fmla="*/ 474 h 531"/>
                    <a:gd name="T42" fmla="*/ 3252 w 3417"/>
                    <a:gd name="T43" fmla="*/ 509 h 531"/>
                    <a:gd name="T44" fmla="*/ 3174 w 3417"/>
                    <a:gd name="T45" fmla="*/ 528 h 531"/>
                    <a:gd name="T46" fmla="*/ 286 w 3417"/>
                    <a:gd name="T47" fmla="*/ 531 h 531"/>
                    <a:gd name="T48" fmla="*/ 203 w 3417"/>
                    <a:gd name="T49" fmla="*/ 520 h 531"/>
                    <a:gd name="T50" fmla="*/ 130 w 3417"/>
                    <a:gd name="T51" fmla="*/ 493 h 531"/>
                    <a:gd name="T52" fmla="*/ 70 w 3417"/>
                    <a:gd name="T53" fmla="*/ 452 h 531"/>
                    <a:gd name="T54" fmla="*/ 27 w 3417"/>
                    <a:gd name="T55" fmla="*/ 398 h 531"/>
                    <a:gd name="T56" fmla="*/ 3 w 3417"/>
                    <a:gd name="T57" fmla="*/ 335 h 531"/>
                    <a:gd name="T58" fmla="*/ 0 w 3417"/>
                    <a:gd name="T59" fmla="*/ 65 h 531"/>
                    <a:gd name="T60" fmla="*/ 8 w 3417"/>
                    <a:gd name="T61" fmla="*/ 32 h 531"/>
                    <a:gd name="T62" fmla="*/ 31 w 3417"/>
                    <a:gd name="T63" fmla="*/ 10 h 531"/>
                    <a:gd name="T64" fmla="*/ 63 w 3417"/>
                    <a:gd name="T65" fmla="*/ 0 h 5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417" h="531">
                      <a:moveTo>
                        <a:pt x="1312" y="201"/>
                      </a:moveTo>
                      <a:lnTo>
                        <a:pt x="1294" y="203"/>
                      </a:lnTo>
                      <a:lnTo>
                        <a:pt x="1280" y="211"/>
                      </a:lnTo>
                      <a:lnTo>
                        <a:pt x="1266" y="220"/>
                      </a:lnTo>
                      <a:lnTo>
                        <a:pt x="1257" y="234"/>
                      </a:lnTo>
                      <a:lnTo>
                        <a:pt x="1250" y="248"/>
                      </a:lnTo>
                      <a:lnTo>
                        <a:pt x="1248" y="265"/>
                      </a:lnTo>
                      <a:lnTo>
                        <a:pt x="1250" y="283"/>
                      </a:lnTo>
                      <a:lnTo>
                        <a:pt x="1257" y="298"/>
                      </a:lnTo>
                      <a:lnTo>
                        <a:pt x="1266" y="311"/>
                      </a:lnTo>
                      <a:lnTo>
                        <a:pt x="1280" y="321"/>
                      </a:lnTo>
                      <a:lnTo>
                        <a:pt x="1294" y="327"/>
                      </a:lnTo>
                      <a:lnTo>
                        <a:pt x="1312" y="330"/>
                      </a:lnTo>
                      <a:lnTo>
                        <a:pt x="2106" y="330"/>
                      </a:lnTo>
                      <a:lnTo>
                        <a:pt x="2122" y="327"/>
                      </a:lnTo>
                      <a:lnTo>
                        <a:pt x="2138" y="321"/>
                      </a:lnTo>
                      <a:lnTo>
                        <a:pt x="2150" y="311"/>
                      </a:lnTo>
                      <a:lnTo>
                        <a:pt x="2161" y="298"/>
                      </a:lnTo>
                      <a:lnTo>
                        <a:pt x="2167" y="283"/>
                      </a:lnTo>
                      <a:lnTo>
                        <a:pt x="2169" y="265"/>
                      </a:lnTo>
                      <a:lnTo>
                        <a:pt x="2167" y="248"/>
                      </a:lnTo>
                      <a:lnTo>
                        <a:pt x="2161" y="234"/>
                      </a:lnTo>
                      <a:lnTo>
                        <a:pt x="2150" y="220"/>
                      </a:lnTo>
                      <a:lnTo>
                        <a:pt x="2138" y="211"/>
                      </a:lnTo>
                      <a:lnTo>
                        <a:pt x="2122" y="203"/>
                      </a:lnTo>
                      <a:lnTo>
                        <a:pt x="2106" y="201"/>
                      </a:lnTo>
                      <a:lnTo>
                        <a:pt x="1312" y="201"/>
                      </a:lnTo>
                      <a:close/>
                      <a:moveTo>
                        <a:pt x="63" y="0"/>
                      </a:moveTo>
                      <a:lnTo>
                        <a:pt x="3354" y="0"/>
                      </a:lnTo>
                      <a:lnTo>
                        <a:pt x="3370" y="2"/>
                      </a:lnTo>
                      <a:lnTo>
                        <a:pt x="3386" y="10"/>
                      </a:lnTo>
                      <a:lnTo>
                        <a:pt x="3398" y="19"/>
                      </a:lnTo>
                      <a:lnTo>
                        <a:pt x="3409" y="32"/>
                      </a:lnTo>
                      <a:lnTo>
                        <a:pt x="3415" y="47"/>
                      </a:lnTo>
                      <a:lnTo>
                        <a:pt x="3417" y="65"/>
                      </a:lnTo>
                      <a:lnTo>
                        <a:pt x="3417" y="301"/>
                      </a:lnTo>
                      <a:lnTo>
                        <a:pt x="3414" y="335"/>
                      </a:lnTo>
                      <a:lnTo>
                        <a:pt x="3405" y="367"/>
                      </a:lnTo>
                      <a:lnTo>
                        <a:pt x="3391" y="398"/>
                      </a:lnTo>
                      <a:lnTo>
                        <a:pt x="3371" y="426"/>
                      </a:lnTo>
                      <a:lnTo>
                        <a:pt x="3347" y="452"/>
                      </a:lnTo>
                      <a:lnTo>
                        <a:pt x="3319" y="474"/>
                      </a:lnTo>
                      <a:lnTo>
                        <a:pt x="3287" y="493"/>
                      </a:lnTo>
                      <a:lnTo>
                        <a:pt x="3252" y="509"/>
                      </a:lnTo>
                      <a:lnTo>
                        <a:pt x="3214" y="520"/>
                      </a:lnTo>
                      <a:lnTo>
                        <a:pt x="3174" y="528"/>
                      </a:lnTo>
                      <a:lnTo>
                        <a:pt x="3132" y="531"/>
                      </a:lnTo>
                      <a:lnTo>
                        <a:pt x="286" y="531"/>
                      </a:lnTo>
                      <a:lnTo>
                        <a:pt x="244" y="528"/>
                      </a:lnTo>
                      <a:lnTo>
                        <a:pt x="203" y="520"/>
                      </a:lnTo>
                      <a:lnTo>
                        <a:pt x="165" y="509"/>
                      </a:lnTo>
                      <a:lnTo>
                        <a:pt x="130" y="493"/>
                      </a:lnTo>
                      <a:lnTo>
                        <a:pt x="98" y="474"/>
                      </a:lnTo>
                      <a:lnTo>
                        <a:pt x="70" y="452"/>
                      </a:lnTo>
                      <a:lnTo>
                        <a:pt x="46" y="426"/>
                      </a:lnTo>
                      <a:lnTo>
                        <a:pt x="27" y="398"/>
                      </a:lnTo>
                      <a:lnTo>
                        <a:pt x="12" y="367"/>
                      </a:lnTo>
                      <a:lnTo>
                        <a:pt x="3" y="335"/>
                      </a:lnTo>
                      <a:lnTo>
                        <a:pt x="0" y="301"/>
                      </a:lnTo>
                      <a:lnTo>
                        <a:pt x="0" y="65"/>
                      </a:lnTo>
                      <a:lnTo>
                        <a:pt x="2" y="47"/>
                      </a:lnTo>
                      <a:lnTo>
                        <a:pt x="8" y="32"/>
                      </a:lnTo>
                      <a:lnTo>
                        <a:pt x="19" y="19"/>
                      </a:lnTo>
                      <a:lnTo>
                        <a:pt x="31" y="10"/>
                      </a:lnTo>
                      <a:lnTo>
                        <a:pt x="47" y="2"/>
                      </a:lnTo>
                      <a:lnTo>
                        <a:pt x="6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grpSp>
        </p:grpSp>
        <p:grpSp>
          <p:nvGrpSpPr>
            <p:cNvPr id="15" name="Group 2">
              <a:extLst>
                <a:ext uri="{FF2B5EF4-FFF2-40B4-BE49-F238E27FC236}">
                  <a16:creationId xmlns:a16="http://schemas.microsoft.com/office/drawing/2014/main" id="{B550B4C4-F556-4F71-9E38-B4F6F6040992}"/>
                </a:ext>
              </a:extLst>
            </p:cNvPr>
            <p:cNvGrpSpPr/>
            <p:nvPr/>
          </p:nvGrpSpPr>
          <p:grpSpPr>
            <a:xfrm>
              <a:off x="3987580" y="5092223"/>
              <a:ext cx="849955" cy="847421"/>
              <a:chOff x="3987580" y="5092223"/>
              <a:chExt cx="849955" cy="847421"/>
            </a:xfrm>
          </p:grpSpPr>
          <p:sp>
            <p:nvSpPr>
              <p:cNvPr id="34" name="Oval 10">
                <a:extLst>
                  <a:ext uri="{FF2B5EF4-FFF2-40B4-BE49-F238E27FC236}">
                    <a16:creationId xmlns:a16="http://schemas.microsoft.com/office/drawing/2014/main" id="{AD908AF8-8C64-4A3F-AEEF-259C907D1A4A}"/>
                  </a:ext>
                </a:extLst>
              </p:cNvPr>
              <p:cNvSpPr>
                <a:spLocks noChangeArrowheads="1"/>
              </p:cNvSpPr>
              <p:nvPr/>
            </p:nvSpPr>
            <p:spPr bwMode="auto">
              <a:xfrm>
                <a:off x="3987580" y="5092223"/>
                <a:ext cx="849955" cy="847421"/>
              </a:xfrm>
              <a:prstGeom prst="ellipse">
                <a:avLst/>
              </a:pr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grpSp>
            <p:nvGrpSpPr>
              <p:cNvPr id="35" name="Group 136">
                <a:extLst>
                  <a:ext uri="{FF2B5EF4-FFF2-40B4-BE49-F238E27FC236}">
                    <a16:creationId xmlns:a16="http://schemas.microsoft.com/office/drawing/2014/main" id="{11DFF2D7-5A82-4E98-9AD9-E3A35DB852BF}"/>
                  </a:ext>
                </a:extLst>
              </p:cNvPr>
              <p:cNvGrpSpPr>
                <a:grpSpLocks noChangeAspect="1"/>
              </p:cNvGrpSpPr>
              <p:nvPr/>
            </p:nvGrpSpPr>
            <p:grpSpPr bwMode="auto">
              <a:xfrm>
                <a:off x="4240269" y="5351336"/>
                <a:ext cx="344577" cy="329195"/>
                <a:chOff x="3002" y="2187"/>
                <a:chExt cx="784" cy="749"/>
              </a:xfrm>
              <a:solidFill>
                <a:schemeClr val="bg1"/>
              </a:solidFill>
            </p:grpSpPr>
            <p:sp>
              <p:nvSpPr>
                <p:cNvPr id="36" name="Freeform 138">
                  <a:extLst>
                    <a:ext uri="{FF2B5EF4-FFF2-40B4-BE49-F238E27FC236}">
                      <a16:creationId xmlns:a16="http://schemas.microsoft.com/office/drawing/2014/main" id="{AB4A600F-5CA2-4121-9927-9A32674F6CE6}"/>
                    </a:ext>
                  </a:extLst>
                </p:cNvPr>
                <p:cNvSpPr>
                  <a:spLocks/>
                </p:cNvSpPr>
                <p:nvPr/>
              </p:nvSpPr>
              <p:spPr bwMode="auto">
                <a:xfrm>
                  <a:off x="3101" y="2187"/>
                  <a:ext cx="176" cy="176"/>
                </a:xfrm>
                <a:custGeom>
                  <a:avLst/>
                  <a:gdLst>
                    <a:gd name="T0" fmla="*/ 440 w 879"/>
                    <a:gd name="T1" fmla="*/ 0 h 879"/>
                    <a:gd name="T2" fmla="*/ 494 w 879"/>
                    <a:gd name="T3" fmla="*/ 2 h 879"/>
                    <a:gd name="T4" fmla="*/ 548 w 879"/>
                    <a:gd name="T5" fmla="*/ 13 h 879"/>
                    <a:gd name="T6" fmla="*/ 598 w 879"/>
                    <a:gd name="T7" fmla="*/ 28 h 879"/>
                    <a:gd name="T8" fmla="*/ 646 w 879"/>
                    <a:gd name="T9" fmla="*/ 51 h 879"/>
                    <a:gd name="T10" fmla="*/ 691 w 879"/>
                    <a:gd name="T11" fmla="*/ 78 h 879"/>
                    <a:gd name="T12" fmla="*/ 731 w 879"/>
                    <a:gd name="T13" fmla="*/ 111 h 879"/>
                    <a:gd name="T14" fmla="*/ 768 w 879"/>
                    <a:gd name="T15" fmla="*/ 148 h 879"/>
                    <a:gd name="T16" fmla="*/ 801 w 879"/>
                    <a:gd name="T17" fmla="*/ 188 h 879"/>
                    <a:gd name="T18" fmla="*/ 828 w 879"/>
                    <a:gd name="T19" fmla="*/ 232 h 879"/>
                    <a:gd name="T20" fmla="*/ 849 w 879"/>
                    <a:gd name="T21" fmla="*/ 280 h 879"/>
                    <a:gd name="T22" fmla="*/ 866 w 879"/>
                    <a:gd name="T23" fmla="*/ 331 h 879"/>
                    <a:gd name="T24" fmla="*/ 876 w 879"/>
                    <a:gd name="T25" fmla="*/ 383 h 879"/>
                    <a:gd name="T26" fmla="*/ 879 w 879"/>
                    <a:gd name="T27" fmla="*/ 439 h 879"/>
                    <a:gd name="T28" fmla="*/ 876 w 879"/>
                    <a:gd name="T29" fmla="*/ 494 h 879"/>
                    <a:gd name="T30" fmla="*/ 866 w 879"/>
                    <a:gd name="T31" fmla="*/ 548 h 879"/>
                    <a:gd name="T32" fmla="*/ 849 w 879"/>
                    <a:gd name="T33" fmla="*/ 598 h 879"/>
                    <a:gd name="T34" fmla="*/ 828 w 879"/>
                    <a:gd name="T35" fmla="*/ 646 h 879"/>
                    <a:gd name="T36" fmla="*/ 801 w 879"/>
                    <a:gd name="T37" fmla="*/ 691 h 879"/>
                    <a:gd name="T38" fmla="*/ 768 w 879"/>
                    <a:gd name="T39" fmla="*/ 731 h 879"/>
                    <a:gd name="T40" fmla="*/ 731 w 879"/>
                    <a:gd name="T41" fmla="*/ 768 h 879"/>
                    <a:gd name="T42" fmla="*/ 691 w 879"/>
                    <a:gd name="T43" fmla="*/ 800 h 879"/>
                    <a:gd name="T44" fmla="*/ 646 w 879"/>
                    <a:gd name="T45" fmla="*/ 828 h 879"/>
                    <a:gd name="T46" fmla="*/ 598 w 879"/>
                    <a:gd name="T47" fmla="*/ 849 h 879"/>
                    <a:gd name="T48" fmla="*/ 548 w 879"/>
                    <a:gd name="T49" fmla="*/ 866 h 879"/>
                    <a:gd name="T50" fmla="*/ 494 w 879"/>
                    <a:gd name="T51" fmla="*/ 875 h 879"/>
                    <a:gd name="T52" fmla="*/ 440 w 879"/>
                    <a:gd name="T53" fmla="*/ 879 h 879"/>
                    <a:gd name="T54" fmla="*/ 385 w 879"/>
                    <a:gd name="T55" fmla="*/ 875 h 879"/>
                    <a:gd name="T56" fmla="*/ 331 w 879"/>
                    <a:gd name="T57" fmla="*/ 866 h 879"/>
                    <a:gd name="T58" fmla="*/ 280 w 879"/>
                    <a:gd name="T59" fmla="*/ 849 h 879"/>
                    <a:gd name="T60" fmla="*/ 232 w 879"/>
                    <a:gd name="T61" fmla="*/ 828 h 879"/>
                    <a:gd name="T62" fmla="*/ 188 w 879"/>
                    <a:gd name="T63" fmla="*/ 800 h 879"/>
                    <a:gd name="T64" fmla="*/ 148 w 879"/>
                    <a:gd name="T65" fmla="*/ 768 h 879"/>
                    <a:gd name="T66" fmla="*/ 111 w 879"/>
                    <a:gd name="T67" fmla="*/ 731 h 879"/>
                    <a:gd name="T68" fmla="*/ 79 w 879"/>
                    <a:gd name="T69" fmla="*/ 691 h 879"/>
                    <a:gd name="T70" fmla="*/ 51 w 879"/>
                    <a:gd name="T71" fmla="*/ 646 h 879"/>
                    <a:gd name="T72" fmla="*/ 29 w 879"/>
                    <a:gd name="T73" fmla="*/ 598 h 879"/>
                    <a:gd name="T74" fmla="*/ 13 w 879"/>
                    <a:gd name="T75" fmla="*/ 548 h 879"/>
                    <a:gd name="T76" fmla="*/ 3 w 879"/>
                    <a:gd name="T77" fmla="*/ 494 h 879"/>
                    <a:gd name="T78" fmla="*/ 0 w 879"/>
                    <a:gd name="T79" fmla="*/ 439 h 879"/>
                    <a:gd name="T80" fmla="*/ 3 w 879"/>
                    <a:gd name="T81" fmla="*/ 383 h 879"/>
                    <a:gd name="T82" fmla="*/ 13 w 879"/>
                    <a:gd name="T83" fmla="*/ 331 h 879"/>
                    <a:gd name="T84" fmla="*/ 29 w 879"/>
                    <a:gd name="T85" fmla="*/ 280 h 879"/>
                    <a:gd name="T86" fmla="*/ 51 w 879"/>
                    <a:gd name="T87" fmla="*/ 232 h 879"/>
                    <a:gd name="T88" fmla="*/ 79 w 879"/>
                    <a:gd name="T89" fmla="*/ 188 h 879"/>
                    <a:gd name="T90" fmla="*/ 111 w 879"/>
                    <a:gd name="T91" fmla="*/ 148 h 879"/>
                    <a:gd name="T92" fmla="*/ 148 w 879"/>
                    <a:gd name="T93" fmla="*/ 111 h 879"/>
                    <a:gd name="T94" fmla="*/ 188 w 879"/>
                    <a:gd name="T95" fmla="*/ 78 h 879"/>
                    <a:gd name="T96" fmla="*/ 232 w 879"/>
                    <a:gd name="T97" fmla="*/ 51 h 879"/>
                    <a:gd name="T98" fmla="*/ 280 w 879"/>
                    <a:gd name="T99" fmla="*/ 28 h 879"/>
                    <a:gd name="T100" fmla="*/ 331 w 879"/>
                    <a:gd name="T101" fmla="*/ 13 h 879"/>
                    <a:gd name="T102" fmla="*/ 385 w 879"/>
                    <a:gd name="T103" fmla="*/ 2 h 879"/>
                    <a:gd name="T104" fmla="*/ 440 w 879"/>
                    <a:gd name="T105" fmla="*/ 0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79" h="879">
                      <a:moveTo>
                        <a:pt x="440" y="0"/>
                      </a:moveTo>
                      <a:lnTo>
                        <a:pt x="494" y="2"/>
                      </a:lnTo>
                      <a:lnTo>
                        <a:pt x="548" y="13"/>
                      </a:lnTo>
                      <a:lnTo>
                        <a:pt x="598" y="28"/>
                      </a:lnTo>
                      <a:lnTo>
                        <a:pt x="646" y="51"/>
                      </a:lnTo>
                      <a:lnTo>
                        <a:pt x="691" y="78"/>
                      </a:lnTo>
                      <a:lnTo>
                        <a:pt x="731" y="111"/>
                      </a:lnTo>
                      <a:lnTo>
                        <a:pt x="768" y="148"/>
                      </a:lnTo>
                      <a:lnTo>
                        <a:pt x="801" y="188"/>
                      </a:lnTo>
                      <a:lnTo>
                        <a:pt x="828" y="232"/>
                      </a:lnTo>
                      <a:lnTo>
                        <a:pt x="849" y="280"/>
                      </a:lnTo>
                      <a:lnTo>
                        <a:pt x="866" y="331"/>
                      </a:lnTo>
                      <a:lnTo>
                        <a:pt x="876" y="383"/>
                      </a:lnTo>
                      <a:lnTo>
                        <a:pt x="879" y="439"/>
                      </a:lnTo>
                      <a:lnTo>
                        <a:pt x="876" y="494"/>
                      </a:lnTo>
                      <a:lnTo>
                        <a:pt x="866" y="548"/>
                      </a:lnTo>
                      <a:lnTo>
                        <a:pt x="849" y="598"/>
                      </a:lnTo>
                      <a:lnTo>
                        <a:pt x="828" y="646"/>
                      </a:lnTo>
                      <a:lnTo>
                        <a:pt x="801" y="691"/>
                      </a:lnTo>
                      <a:lnTo>
                        <a:pt x="768" y="731"/>
                      </a:lnTo>
                      <a:lnTo>
                        <a:pt x="731" y="768"/>
                      </a:lnTo>
                      <a:lnTo>
                        <a:pt x="691" y="800"/>
                      </a:lnTo>
                      <a:lnTo>
                        <a:pt x="646" y="828"/>
                      </a:lnTo>
                      <a:lnTo>
                        <a:pt x="598" y="849"/>
                      </a:lnTo>
                      <a:lnTo>
                        <a:pt x="548" y="866"/>
                      </a:lnTo>
                      <a:lnTo>
                        <a:pt x="494" y="875"/>
                      </a:lnTo>
                      <a:lnTo>
                        <a:pt x="440" y="879"/>
                      </a:lnTo>
                      <a:lnTo>
                        <a:pt x="385" y="875"/>
                      </a:lnTo>
                      <a:lnTo>
                        <a:pt x="331" y="866"/>
                      </a:lnTo>
                      <a:lnTo>
                        <a:pt x="280" y="849"/>
                      </a:lnTo>
                      <a:lnTo>
                        <a:pt x="232" y="828"/>
                      </a:lnTo>
                      <a:lnTo>
                        <a:pt x="188" y="800"/>
                      </a:lnTo>
                      <a:lnTo>
                        <a:pt x="148" y="768"/>
                      </a:lnTo>
                      <a:lnTo>
                        <a:pt x="111" y="731"/>
                      </a:lnTo>
                      <a:lnTo>
                        <a:pt x="79" y="691"/>
                      </a:lnTo>
                      <a:lnTo>
                        <a:pt x="51" y="646"/>
                      </a:lnTo>
                      <a:lnTo>
                        <a:pt x="29" y="598"/>
                      </a:lnTo>
                      <a:lnTo>
                        <a:pt x="13" y="548"/>
                      </a:lnTo>
                      <a:lnTo>
                        <a:pt x="3" y="494"/>
                      </a:lnTo>
                      <a:lnTo>
                        <a:pt x="0" y="439"/>
                      </a:lnTo>
                      <a:lnTo>
                        <a:pt x="3" y="383"/>
                      </a:lnTo>
                      <a:lnTo>
                        <a:pt x="13" y="331"/>
                      </a:lnTo>
                      <a:lnTo>
                        <a:pt x="29" y="280"/>
                      </a:lnTo>
                      <a:lnTo>
                        <a:pt x="51" y="232"/>
                      </a:lnTo>
                      <a:lnTo>
                        <a:pt x="79" y="188"/>
                      </a:lnTo>
                      <a:lnTo>
                        <a:pt x="111" y="148"/>
                      </a:lnTo>
                      <a:lnTo>
                        <a:pt x="148" y="111"/>
                      </a:lnTo>
                      <a:lnTo>
                        <a:pt x="188" y="78"/>
                      </a:lnTo>
                      <a:lnTo>
                        <a:pt x="232" y="51"/>
                      </a:lnTo>
                      <a:lnTo>
                        <a:pt x="280" y="28"/>
                      </a:lnTo>
                      <a:lnTo>
                        <a:pt x="331" y="13"/>
                      </a:lnTo>
                      <a:lnTo>
                        <a:pt x="385" y="2"/>
                      </a:lnTo>
                      <a:lnTo>
                        <a:pt x="44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37" name="Freeform 139">
                  <a:extLst>
                    <a:ext uri="{FF2B5EF4-FFF2-40B4-BE49-F238E27FC236}">
                      <a16:creationId xmlns:a16="http://schemas.microsoft.com/office/drawing/2014/main" id="{DB62873B-F8D8-456E-A86D-B4A1023C7885}"/>
                    </a:ext>
                  </a:extLst>
                </p:cNvPr>
                <p:cNvSpPr>
                  <a:spLocks/>
                </p:cNvSpPr>
                <p:nvPr/>
              </p:nvSpPr>
              <p:spPr bwMode="auto">
                <a:xfrm>
                  <a:off x="3088" y="2365"/>
                  <a:ext cx="342" cy="568"/>
                </a:xfrm>
                <a:custGeom>
                  <a:avLst/>
                  <a:gdLst>
                    <a:gd name="T0" fmla="*/ 448 w 1709"/>
                    <a:gd name="T1" fmla="*/ 3 h 2837"/>
                    <a:gd name="T2" fmla="*/ 492 w 1709"/>
                    <a:gd name="T3" fmla="*/ 11 h 2837"/>
                    <a:gd name="T4" fmla="*/ 544 w 1709"/>
                    <a:gd name="T5" fmla="*/ 25 h 2837"/>
                    <a:gd name="T6" fmla="*/ 665 w 1709"/>
                    <a:gd name="T7" fmla="*/ 90 h 2837"/>
                    <a:gd name="T8" fmla="*/ 760 w 1709"/>
                    <a:gd name="T9" fmla="*/ 189 h 2837"/>
                    <a:gd name="T10" fmla="*/ 846 w 1709"/>
                    <a:gd name="T11" fmla="*/ 305 h 2837"/>
                    <a:gd name="T12" fmla="*/ 953 w 1709"/>
                    <a:gd name="T13" fmla="*/ 440 h 2837"/>
                    <a:gd name="T14" fmla="*/ 1045 w 1709"/>
                    <a:gd name="T15" fmla="*/ 533 h 2837"/>
                    <a:gd name="T16" fmla="*/ 1133 w 1709"/>
                    <a:gd name="T17" fmla="*/ 588 h 2837"/>
                    <a:gd name="T18" fmla="*/ 1228 w 1709"/>
                    <a:gd name="T19" fmla="*/ 607 h 2837"/>
                    <a:gd name="T20" fmla="*/ 1339 w 1709"/>
                    <a:gd name="T21" fmla="*/ 592 h 2837"/>
                    <a:gd name="T22" fmla="*/ 1477 w 1709"/>
                    <a:gd name="T23" fmla="*/ 547 h 2837"/>
                    <a:gd name="T24" fmla="*/ 1566 w 1709"/>
                    <a:gd name="T25" fmla="*/ 538 h 2837"/>
                    <a:gd name="T26" fmla="*/ 1645 w 1709"/>
                    <a:gd name="T27" fmla="*/ 573 h 2837"/>
                    <a:gd name="T28" fmla="*/ 1697 w 1709"/>
                    <a:gd name="T29" fmla="*/ 645 h 2837"/>
                    <a:gd name="T30" fmla="*/ 1707 w 1709"/>
                    <a:gd name="T31" fmla="*/ 734 h 2837"/>
                    <a:gd name="T32" fmla="*/ 1671 w 1709"/>
                    <a:gd name="T33" fmla="*/ 813 h 2837"/>
                    <a:gd name="T34" fmla="*/ 1600 w 1709"/>
                    <a:gd name="T35" fmla="*/ 866 h 2837"/>
                    <a:gd name="T36" fmla="*/ 1402 w 1709"/>
                    <a:gd name="T37" fmla="*/ 926 h 2837"/>
                    <a:gd name="T38" fmla="*/ 1230 w 1709"/>
                    <a:gd name="T39" fmla="*/ 944 h 2837"/>
                    <a:gd name="T40" fmla="*/ 1071 w 1709"/>
                    <a:gd name="T41" fmla="*/ 924 h 2837"/>
                    <a:gd name="T42" fmla="*/ 931 w 1709"/>
                    <a:gd name="T43" fmla="*/ 865 h 2837"/>
                    <a:gd name="T44" fmla="*/ 808 w 1709"/>
                    <a:gd name="T45" fmla="*/ 777 h 2837"/>
                    <a:gd name="T46" fmla="*/ 1158 w 1709"/>
                    <a:gd name="T47" fmla="*/ 1257 h 2837"/>
                    <a:gd name="T48" fmla="*/ 1262 w 1709"/>
                    <a:gd name="T49" fmla="*/ 1287 h 2837"/>
                    <a:gd name="T50" fmla="*/ 1336 w 1709"/>
                    <a:gd name="T51" fmla="*/ 1364 h 2837"/>
                    <a:gd name="T52" fmla="*/ 1495 w 1709"/>
                    <a:gd name="T53" fmla="*/ 2612 h 2837"/>
                    <a:gd name="T54" fmla="*/ 1478 w 1709"/>
                    <a:gd name="T55" fmla="*/ 2715 h 2837"/>
                    <a:gd name="T56" fmla="*/ 1415 w 1709"/>
                    <a:gd name="T57" fmla="*/ 2796 h 2837"/>
                    <a:gd name="T58" fmla="*/ 1317 w 1709"/>
                    <a:gd name="T59" fmla="*/ 2836 h 2837"/>
                    <a:gd name="T60" fmla="*/ 1229 w 1709"/>
                    <a:gd name="T61" fmla="*/ 2826 h 2837"/>
                    <a:gd name="T62" fmla="*/ 1148 w 1709"/>
                    <a:gd name="T63" fmla="*/ 2775 h 2837"/>
                    <a:gd name="T64" fmla="*/ 1101 w 1709"/>
                    <a:gd name="T65" fmla="*/ 2692 h 2837"/>
                    <a:gd name="T66" fmla="*/ 436 w 1709"/>
                    <a:gd name="T67" fmla="*/ 1661 h 2837"/>
                    <a:gd name="T68" fmla="*/ 320 w 1709"/>
                    <a:gd name="T69" fmla="*/ 1655 h 2837"/>
                    <a:gd name="T70" fmla="*/ 200 w 1709"/>
                    <a:gd name="T71" fmla="*/ 1616 h 2837"/>
                    <a:gd name="T72" fmla="*/ 98 w 1709"/>
                    <a:gd name="T73" fmla="*/ 1544 h 2837"/>
                    <a:gd name="T74" fmla="*/ 28 w 1709"/>
                    <a:gd name="T75" fmla="*/ 1445 h 2837"/>
                    <a:gd name="T76" fmla="*/ 0 w 1709"/>
                    <a:gd name="T77" fmla="*/ 1322 h 2837"/>
                    <a:gd name="T78" fmla="*/ 13 w 1709"/>
                    <a:gd name="T79" fmla="*/ 265 h 2837"/>
                    <a:gd name="T80" fmla="*/ 70 w 1709"/>
                    <a:gd name="T81" fmla="*/ 158 h 2837"/>
                    <a:gd name="T82" fmla="*/ 161 w 1709"/>
                    <a:gd name="T83" fmla="*/ 77 h 2837"/>
                    <a:gd name="T84" fmla="*/ 269 w 1709"/>
                    <a:gd name="T85" fmla="*/ 23 h 2837"/>
                    <a:gd name="T86" fmla="*/ 310 w 1709"/>
                    <a:gd name="T87" fmla="*/ 12 h 2837"/>
                    <a:gd name="T88" fmla="*/ 348 w 1709"/>
                    <a:gd name="T89" fmla="*/ 5 h 2837"/>
                    <a:gd name="T90" fmla="*/ 407 w 1709"/>
                    <a:gd name="T91" fmla="*/ 0 h 2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709" h="2837">
                      <a:moveTo>
                        <a:pt x="407" y="0"/>
                      </a:moveTo>
                      <a:lnTo>
                        <a:pt x="428" y="0"/>
                      </a:lnTo>
                      <a:lnTo>
                        <a:pt x="448" y="3"/>
                      </a:lnTo>
                      <a:lnTo>
                        <a:pt x="466" y="5"/>
                      </a:lnTo>
                      <a:lnTo>
                        <a:pt x="480" y="8"/>
                      </a:lnTo>
                      <a:lnTo>
                        <a:pt x="492" y="11"/>
                      </a:lnTo>
                      <a:lnTo>
                        <a:pt x="500" y="12"/>
                      </a:lnTo>
                      <a:lnTo>
                        <a:pt x="503" y="13"/>
                      </a:lnTo>
                      <a:lnTo>
                        <a:pt x="544" y="25"/>
                      </a:lnTo>
                      <a:lnTo>
                        <a:pt x="586" y="43"/>
                      </a:lnTo>
                      <a:lnTo>
                        <a:pt x="627" y="63"/>
                      </a:lnTo>
                      <a:lnTo>
                        <a:pt x="665" y="90"/>
                      </a:lnTo>
                      <a:lnTo>
                        <a:pt x="700" y="118"/>
                      </a:lnTo>
                      <a:lnTo>
                        <a:pt x="733" y="152"/>
                      </a:lnTo>
                      <a:lnTo>
                        <a:pt x="760" y="189"/>
                      </a:lnTo>
                      <a:lnTo>
                        <a:pt x="761" y="191"/>
                      </a:lnTo>
                      <a:lnTo>
                        <a:pt x="805" y="251"/>
                      </a:lnTo>
                      <a:lnTo>
                        <a:pt x="846" y="305"/>
                      </a:lnTo>
                      <a:lnTo>
                        <a:pt x="884" y="355"/>
                      </a:lnTo>
                      <a:lnTo>
                        <a:pt x="919" y="399"/>
                      </a:lnTo>
                      <a:lnTo>
                        <a:pt x="953" y="440"/>
                      </a:lnTo>
                      <a:lnTo>
                        <a:pt x="985" y="476"/>
                      </a:lnTo>
                      <a:lnTo>
                        <a:pt x="1015" y="507"/>
                      </a:lnTo>
                      <a:lnTo>
                        <a:pt x="1045" y="533"/>
                      </a:lnTo>
                      <a:lnTo>
                        <a:pt x="1074" y="556"/>
                      </a:lnTo>
                      <a:lnTo>
                        <a:pt x="1104" y="573"/>
                      </a:lnTo>
                      <a:lnTo>
                        <a:pt x="1133" y="588"/>
                      </a:lnTo>
                      <a:lnTo>
                        <a:pt x="1164" y="598"/>
                      </a:lnTo>
                      <a:lnTo>
                        <a:pt x="1195" y="604"/>
                      </a:lnTo>
                      <a:lnTo>
                        <a:pt x="1228" y="607"/>
                      </a:lnTo>
                      <a:lnTo>
                        <a:pt x="1262" y="606"/>
                      </a:lnTo>
                      <a:lnTo>
                        <a:pt x="1299" y="601"/>
                      </a:lnTo>
                      <a:lnTo>
                        <a:pt x="1339" y="592"/>
                      </a:lnTo>
                      <a:lnTo>
                        <a:pt x="1382" y="581"/>
                      </a:lnTo>
                      <a:lnTo>
                        <a:pt x="1427" y="565"/>
                      </a:lnTo>
                      <a:lnTo>
                        <a:pt x="1477" y="547"/>
                      </a:lnTo>
                      <a:lnTo>
                        <a:pt x="1507" y="539"/>
                      </a:lnTo>
                      <a:lnTo>
                        <a:pt x="1536" y="535"/>
                      </a:lnTo>
                      <a:lnTo>
                        <a:pt x="1566" y="538"/>
                      </a:lnTo>
                      <a:lnTo>
                        <a:pt x="1594" y="545"/>
                      </a:lnTo>
                      <a:lnTo>
                        <a:pt x="1621" y="557"/>
                      </a:lnTo>
                      <a:lnTo>
                        <a:pt x="1645" y="573"/>
                      </a:lnTo>
                      <a:lnTo>
                        <a:pt x="1666" y="594"/>
                      </a:lnTo>
                      <a:lnTo>
                        <a:pt x="1684" y="617"/>
                      </a:lnTo>
                      <a:lnTo>
                        <a:pt x="1697" y="645"/>
                      </a:lnTo>
                      <a:lnTo>
                        <a:pt x="1705" y="675"/>
                      </a:lnTo>
                      <a:lnTo>
                        <a:pt x="1709" y="704"/>
                      </a:lnTo>
                      <a:lnTo>
                        <a:pt x="1707" y="734"/>
                      </a:lnTo>
                      <a:lnTo>
                        <a:pt x="1700" y="763"/>
                      </a:lnTo>
                      <a:lnTo>
                        <a:pt x="1688" y="789"/>
                      </a:lnTo>
                      <a:lnTo>
                        <a:pt x="1671" y="813"/>
                      </a:lnTo>
                      <a:lnTo>
                        <a:pt x="1651" y="834"/>
                      </a:lnTo>
                      <a:lnTo>
                        <a:pt x="1627" y="852"/>
                      </a:lnTo>
                      <a:lnTo>
                        <a:pt x="1600" y="866"/>
                      </a:lnTo>
                      <a:lnTo>
                        <a:pt x="1530" y="890"/>
                      </a:lnTo>
                      <a:lnTo>
                        <a:pt x="1464" y="911"/>
                      </a:lnTo>
                      <a:lnTo>
                        <a:pt x="1402" y="926"/>
                      </a:lnTo>
                      <a:lnTo>
                        <a:pt x="1342" y="936"/>
                      </a:lnTo>
                      <a:lnTo>
                        <a:pt x="1285" y="943"/>
                      </a:lnTo>
                      <a:lnTo>
                        <a:pt x="1230" y="944"/>
                      </a:lnTo>
                      <a:lnTo>
                        <a:pt x="1174" y="942"/>
                      </a:lnTo>
                      <a:lnTo>
                        <a:pt x="1121" y="936"/>
                      </a:lnTo>
                      <a:lnTo>
                        <a:pt x="1071" y="924"/>
                      </a:lnTo>
                      <a:lnTo>
                        <a:pt x="1022" y="908"/>
                      </a:lnTo>
                      <a:lnTo>
                        <a:pt x="975" y="889"/>
                      </a:lnTo>
                      <a:lnTo>
                        <a:pt x="931" y="865"/>
                      </a:lnTo>
                      <a:lnTo>
                        <a:pt x="889" y="839"/>
                      </a:lnTo>
                      <a:lnTo>
                        <a:pt x="847" y="809"/>
                      </a:lnTo>
                      <a:lnTo>
                        <a:pt x="808" y="777"/>
                      </a:lnTo>
                      <a:lnTo>
                        <a:pt x="808" y="1257"/>
                      </a:lnTo>
                      <a:lnTo>
                        <a:pt x="1158" y="1257"/>
                      </a:lnTo>
                      <a:lnTo>
                        <a:pt x="1158" y="1257"/>
                      </a:lnTo>
                      <a:lnTo>
                        <a:pt x="1195" y="1261"/>
                      </a:lnTo>
                      <a:lnTo>
                        <a:pt x="1230" y="1270"/>
                      </a:lnTo>
                      <a:lnTo>
                        <a:pt x="1262" y="1287"/>
                      </a:lnTo>
                      <a:lnTo>
                        <a:pt x="1291" y="1308"/>
                      </a:lnTo>
                      <a:lnTo>
                        <a:pt x="1316" y="1335"/>
                      </a:lnTo>
                      <a:lnTo>
                        <a:pt x="1336" y="1364"/>
                      </a:lnTo>
                      <a:lnTo>
                        <a:pt x="1351" y="1399"/>
                      </a:lnTo>
                      <a:lnTo>
                        <a:pt x="1358" y="1436"/>
                      </a:lnTo>
                      <a:lnTo>
                        <a:pt x="1495" y="2612"/>
                      </a:lnTo>
                      <a:lnTo>
                        <a:pt x="1495" y="2648"/>
                      </a:lnTo>
                      <a:lnTo>
                        <a:pt x="1490" y="2683"/>
                      </a:lnTo>
                      <a:lnTo>
                        <a:pt x="1478" y="2715"/>
                      </a:lnTo>
                      <a:lnTo>
                        <a:pt x="1463" y="2746"/>
                      </a:lnTo>
                      <a:lnTo>
                        <a:pt x="1441" y="2773"/>
                      </a:lnTo>
                      <a:lnTo>
                        <a:pt x="1415" y="2796"/>
                      </a:lnTo>
                      <a:lnTo>
                        <a:pt x="1385" y="2814"/>
                      </a:lnTo>
                      <a:lnTo>
                        <a:pt x="1353" y="2827"/>
                      </a:lnTo>
                      <a:lnTo>
                        <a:pt x="1317" y="2836"/>
                      </a:lnTo>
                      <a:lnTo>
                        <a:pt x="1293" y="2837"/>
                      </a:lnTo>
                      <a:lnTo>
                        <a:pt x="1260" y="2835"/>
                      </a:lnTo>
                      <a:lnTo>
                        <a:pt x="1229" y="2826"/>
                      </a:lnTo>
                      <a:lnTo>
                        <a:pt x="1199" y="2813"/>
                      </a:lnTo>
                      <a:lnTo>
                        <a:pt x="1172" y="2796"/>
                      </a:lnTo>
                      <a:lnTo>
                        <a:pt x="1148" y="2775"/>
                      </a:lnTo>
                      <a:lnTo>
                        <a:pt x="1128" y="2750"/>
                      </a:lnTo>
                      <a:lnTo>
                        <a:pt x="1111" y="2723"/>
                      </a:lnTo>
                      <a:lnTo>
                        <a:pt x="1101" y="2692"/>
                      </a:lnTo>
                      <a:lnTo>
                        <a:pt x="1093" y="2658"/>
                      </a:lnTo>
                      <a:lnTo>
                        <a:pt x="978" y="1661"/>
                      </a:lnTo>
                      <a:lnTo>
                        <a:pt x="436" y="1661"/>
                      </a:lnTo>
                      <a:lnTo>
                        <a:pt x="404" y="1664"/>
                      </a:lnTo>
                      <a:lnTo>
                        <a:pt x="362" y="1661"/>
                      </a:lnTo>
                      <a:lnTo>
                        <a:pt x="320" y="1655"/>
                      </a:lnTo>
                      <a:lnTo>
                        <a:pt x="280" y="1646"/>
                      </a:lnTo>
                      <a:lnTo>
                        <a:pt x="239" y="1633"/>
                      </a:lnTo>
                      <a:lnTo>
                        <a:pt x="200" y="1616"/>
                      </a:lnTo>
                      <a:lnTo>
                        <a:pt x="163" y="1596"/>
                      </a:lnTo>
                      <a:lnTo>
                        <a:pt x="130" y="1572"/>
                      </a:lnTo>
                      <a:lnTo>
                        <a:pt x="98" y="1544"/>
                      </a:lnTo>
                      <a:lnTo>
                        <a:pt x="70" y="1515"/>
                      </a:lnTo>
                      <a:lnTo>
                        <a:pt x="47" y="1481"/>
                      </a:lnTo>
                      <a:lnTo>
                        <a:pt x="28" y="1445"/>
                      </a:lnTo>
                      <a:lnTo>
                        <a:pt x="13" y="1407"/>
                      </a:lnTo>
                      <a:lnTo>
                        <a:pt x="4" y="1366"/>
                      </a:lnTo>
                      <a:lnTo>
                        <a:pt x="0" y="1322"/>
                      </a:lnTo>
                      <a:lnTo>
                        <a:pt x="0" y="351"/>
                      </a:lnTo>
                      <a:lnTo>
                        <a:pt x="4" y="307"/>
                      </a:lnTo>
                      <a:lnTo>
                        <a:pt x="13" y="265"/>
                      </a:lnTo>
                      <a:lnTo>
                        <a:pt x="28" y="227"/>
                      </a:lnTo>
                      <a:lnTo>
                        <a:pt x="47" y="191"/>
                      </a:lnTo>
                      <a:lnTo>
                        <a:pt x="70" y="158"/>
                      </a:lnTo>
                      <a:lnTo>
                        <a:pt x="98" y="128"/>
                      </a:lnTo>
                      <a:lnTo>
                        <a:pt x="128" y="100"/>
                      </a:lnTo>
                      <a:lnTo>
                        <a:pt x="161" y="77"/>
                      </a:lnTo>
                      <a:lnTo>
                        <a:pt x="195" y="55"/>
                      </a:lnTo>
                      <a:lnTo>
                        <a:pt x="232" y="37"/>
                      </a:lnTo>
                      <a:lnTo>
                        <a:pt x="269" y="23"/>
                      </a:lnTo>
                      <a:lnTo>
                        <a:pt x="306" y="12"/>
                      </a:lnTo>
                      <a:lnTo>
                        <a:pt x="307" y="12"/>
                      </a:lnTo>
                      <a:lnTo>
                        <a:pt x="310" y="12"/>
                      </a:lnTo>
                      <a:lnTo>
                        <a:pt x="319" y="10"/>
                      </a:lnTo>
                      <a:lnTo>
                        <a:pt x="331" y="9"/>
                      </a:lnTo>
                      <a:lnTo>
                        <a:pt x="348" y="5"/>
                      </a:lnTo>
                      <a:lnTo>
                        <a:pt x="367" y="4"/>
                      </a:lnTo>
                      <a:lnTo>
                        <a:pt x="387" y="2"/>
                      </a:lnTo>
                      <a:lnTo>
                        <a:pt x="40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38" name="Freeform 140">
                  <a:extLst>
                    <a:ext uri="{FF2B5EF4-FFF2-40B4-BE49-F238E27FC236}">
                      <a16:creationId xmlns:a16="http://schemas.microsoft.com/office/drawing/2014/main" id="{64657D32-864D-4CD7-95C8-5ECCB27206F0}"/>
                    </a:ext>
                  </a:extLst>
                </p:cNvPr>
                <p:cNvSpPr>
                  <a:spLocks/>
                </p:cNvSpPr>
                <p:nvPr/>
              </p:nvSpPr>
              <p:spPr bwMode="auto">
                <a:xfrm>
                  <a:off x="3002" y="2404"/>
                  <a:ext cx="271" cy="532"/>
                </a:xfrm>
                <a:custGeom>
                  <a:avLst/>
                  <a:gdLst>
                    <a:gd name="T0" fmla="*/ 205 w 1355"/>
                    <a:gd name="T1" fmla="*/ 4 h 2661"/>
                    <a:gd name="T2" fmla="*/ 267 w 1355"/>
                    <a:gd name="T3" fmla="*/ 30 h 2661"/>
                    <a:gd name="T4" fmla="*/ 312 w 1355"/>
                    <a:gd name="T5" fmla="*/ 77 h 2661"/>
                    <a:gd name="T6" fmla="*/ 338 w 1355"/>
                    <a:gd name="T7" fmla="*/ 137 h 2661"/>
                    <a:gd name="T8" fmla="*/ 342 w 1355"/>
                    <a:gd name="T9" fmla="*/ 1527 h 2661"/>
                    <a:gd name="T10" fmla="*/ 1219 w 1355"/>
                    <a:gd name="T11" fmla="*/ 1530 h 2661"/>
                    <a:gd name="T12" fmla="*/ 1280 w 1355"/>
                    <a:gd name="T13" fmla="*/ 1555 h 2661"/>
                    <a:gd name="T14" fmla="*/ 1327 w 1355"/>
                    <a:gd name="T15" fmla="*/ 1602 h 2661"/>
                    <a:gd name="T16" fmla="*/ 1352 w 1355"/>
                    <a:gd name="T17" fmla="*/ 1662 h 2661"/>
                    <a:gd name="T18" fmla="*/ 1353 w 1355"/>
                    <a:gd name="T19" fmla="*/ 1729 h 2661"/>
                    <a:gd name="T20" fmla="*/ 1331 w 1355"/>
                    <a:gd name="T21" fmla="*/ 1785 h 2661"/>
                    <a:gd name="T22" fmla="*/ 1291 w 1355"/>
                    <a:gd name="T23" fmla="*/ 1830 h 2661"/>
                    <a:gd name="T24" fmla="*/ 1287 w 1355"/>
                    <a:gd name="T25" fmla="*/ 1891 h 2661"/>
                    <a:gd name="T26" fmla="*/ 1312 w 1355"/>
                    <a:gd name="T27" fmla="*/ 1989 h 2661"/>
                    <a:gd name="T28" fmla="*/ 1316 w 1355"/>
                    <a:gd name="T29" fmla="*/ 2518 h 2661"/>
                    <a:gd name="T30" fmla="*/ 1304 w 1355"/>
                    <a:gd name="T31" fmla="*/ 2573 h 2661"/>
                    <a:gd name="T32" fmla="*/ 1274 w 1355"/>
                    <a:gd name="T33" fmla="*/ 2619 h 2661"/>
                    <a:gd name="T34" fmla="*/ 1229 w 1355"/>
                    <a:gd name="T35" fmla="*/ 2649 h 2661"/>
                    <a:gd name="T36" fmla="*/ 1173 w 1355"/>
                    <a:gd name="T37" fmla="*/ 2661 h 2661"/>
                    <a:gd name="T38" fmla="*/ 1117 w 1355"/>
                    <a:gd name="T39" fmla="*/ 2649 h 2661"/>
                    <a:gd name="T40" fmla="*/ 1072 w 1355"/>
                    <a:gd name="T41" fmla="*/ 2619 h 2661"/>
                    <a:gd name="T42" fmla="*/ 1041 w 1355"/>
                    <a:gd name="T43" fmla="*/ 2573 h 2661"/>
                    <a:gd name="T44" fmla="*/ 1030 w 1355"/>
                    <a:gd name="T45" fmla="*/ 2518 h 2661"/>
                    <a:gd name="T46" fmla="*/ 1027 w 1355"/>
                    <a:gd name="T47" fmla="*/ 2013 h 2661"/>
                    <a:gd name="T48" fmla="*/ 1004 w 1355"/>
                    <a:gd name="T49" fmla="*/ 1967 h 2661"/>
                    <a:gd name="T50" fmla="*/ 965 w 1355"/>
                    <a:gd name="T51" fmla="*/ 1935 h 2661"/>
                    <a:gd name="T52" fmla="*/ 913 w 1355"/>
                    <a:gd name="T53" fmla="*/ 1923 h 2661"/>
                    <a:gd name="T54" fmla="*/ 408 w 1355"/>
                    <a:gd name="T55" fmla="*/ 1926 h 2661"/>
                    <a:gd name="T56" fmla="*/ 362 w 1355"/>
                    <a:gd name="T57" fmla="*/ 1948 h 2661"/>
                    <a:gd name="T58" fmla="*/ 331 w 1355"/>
                    <a:gd name="T59" fmla="*/ 1989 h 2661"/>
                    <a:gd name="T60" fmla="*/ 319 w 1355"/>
                    <a:gd name="T61" fmla="*/ 2040 h 2661"/>
                    <a:gd name="T62" fmla="*/ 316 w 1355"/>
                    <a:gd name="T63" fmla="*/ 2546 h 2661"/>
                    <a:gd name="T64" fmla="*/ 294 w 1355"/>
                    <a:gd name="T65" fmla="*/ 2598 h 2661"/>
                    <a:gd name="T66" fmla="*/ 256 w 1355"/>
                    <a:gd name="T67" fmla="*/ 2636 h 2661"/>
                    <a:gd name="T68" fmla="*/ 205 w 1355"/>
                    <a:gd name="T69" fmla="*/ 2657 h 2661"/>
                    <a:gd name="T70" fmla="*/ 146 w 1355"/>
                    <a:gd name="T71" fmla="*/ 2657 h 2661"/>
                    <a:gd name="T72" fmla="*/ 95 w 1355"/>
                    <a:gd name="T73" fmla="*/ 2636 h 2661"/>
                    <a:gd name="T74" fmla="*/ 57 w 1355"/>
                    <a:gd name="T75" fmla="*/ 2598 h 2661"/>
                    <a:gd name="T76" fmla="*/ 36 w 1355"/>
                    <a:gd name="T77" fmla="*/ 2546 h 2661"/>
                    <a:gd name="T78" fmla="*/ 32 w 1355"/>
                    <a:gd name="T79" fmla="*/ 2040 h 2661"/>
                    <a:gd name="T80" fmla="*/ 46 w 1355"/>
                    <a:gd name="T81" fmla="*/ 1938 h 2661"/>
                    <a:gd name="T82" fmla="*/ 83 w 1355"/>
                    <a:gd name="T83" fmla="*/ 1843 h 2661"/>
                    <a:gd name="T84" fmla="*/ 39 w 1355"/>
                    <a:gd name="T85" fmla="*/ 1806 h 2661"/>
                    <a:gd name="T86" fmla="*/ 11 w 1355"/>
                    <a:gd name="T87" fmla="*/ 1756 h 2661"/>
                    <a:gd name="T88" fmla="*/ 0 w 1355"/>
                    <a:gd name="T89" fmla="*/ 1697 h 2661"/>
                    <a:gd name="T90" fmla="*/ 4 w 1355"/>
                    <a:gd name="T91" fmla="*/ 137 h 2661"/>
                    <a:gd name="T92" fmla="*/ 29 w 1355"/>
                    <a:gd name="T93" fmla="*/ 77 h 2661"/>
                    <a:gd name="T94" fmla="*/ 75 w 1355"/>
                    <a:gd name="T95" fmla="*/ 30 h 2661"/>
                    <a:gd name="T96" fmla="*/ 136 w 1355"/>
                    <a:gd name="T97" fmla="*/ 4 h 26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355" h="2661">
                      <a:moveTo>
                        <a:pt x="170" y="0"/>
                      </a:moveTo>
                      <a:lnTo>
                        <a:pt x="205" y="4"/>
                      </a:lnTo>
                      <a:lnTo>
                        <a:pt x="237" y="15"/>
                      </a:lnTo>
                      <a:lnTo>
                        <a:pt x="267" y="30"/>
                      </a:lnTo>
                      <a:lnTo>
                        <a:pt x="292" y="50"/>
                      </a:lnTo>
                      <a:lnTo>
                        <a:pt x="312" y="77"/>
                      </a:lnTo>
                      <a:lnTo>
                        <a:pt x="328" y="105"/>
                      </a:lnTo>
                      <a:lnTo>
                        <a:pt x="338" y="137"/>
                      </a:lnTo>
                      <a:lnTo>
                        <a:pt x="342" y="172"/>
                      </a:lnTo>
                      <a:lnTo>
                        <a:pt x="342" y="1527"/>
                      </a:lnTo>
                      <a:lnTo>
                        <a:pt x="1185" y="1527"/>
                      </a:lnTo>
                      <a:lnTo>
                        <a:pt x="1219" y="1530"/>
                      </a:lnTo>
                      <a:lnTo>
                        <a:pt x="1252" y="1540"/>
                      </a:lnTo>
                      <a:lnTo>
                        <a:pt x="1280" y="1555"/>
                      </a:lnTo>
                      <a:lnTo>
                        <a:pt x="1305" y="1577"/>
                      </a:lnTo>
                      <a:lnTo>
                        <a:pt x="1327" y="1602"/>
                      </a:lnTo>
                      <a:lnTo>
                        <a:pt x="1342" y="1630"/>
                      </a:lnTo>
                      <a:lnTo>
                        <a:pt x="1352" y="1662"/>
                      </a:lnTo>
                      <a:lnTo>
                        <a:pt x="1355" y="1697"/>
                      </a:lnTo>
                      <a:lnTo>
                        <a:pt x="1353" y="1729"/>
                      </a:lnTo>
                      <a:lnTo>
                        <a:pt x="1345" y="1759"/>
                      </a:lnTo>
                      <a:lnTo>
                        <a:pt x="1331" y="1785"/>
                      </a:lnTo>
                      <a:lnTo>
                        <a:pt x="1314" y="1810"/>
                      </a:lnTo>
                      <a:lnTo>
                        <a:pt x="1291" y="1830"/>
                      </a:lnTo>
                      <a:lnTo>
                        <a:pt x="1266" y="1847"/>
                      </a:lnTo>
                      <a:lnTo>
                        <a:pt x="1287" y="1891"/>
                      </a:lnTo>
                      <a:lnTo>
                        <a:pt x="1303" y="1939"/>
                      </a:lnTo>
                      <a:lnTo>
                        <a:pt x="1312" y="1989"/>
                      </a:lnTo>
                      <a:lnTo>
                        <a:pt x="1316" y="2040"/>
                      </a:lnTo>
                      <a:lnTo>
                        <a:pt x="1316" y="2518"/>
                      </a:lnTo>
                      <a:lnTo>
                        <a:pt x="1312" y="2546"/>
                      </a:lnTo>
                      <a:lnTo>
                        <a:pt x="1304" y="2573"/>
                      </a:lnTo>
                      <a:lnTo>
                        <a:pt x="1291" y="2598"/>
                      </a:lnTo>
                      <a:lnTo>
                        <a:pt x="1274" y="2619"/>
                      </a:lnTo>
                      <a:lnTo>
                        <a:pt x="1253" y="2636"/>
                      </a:lnTo>
                      <a:lnTo>
                        <a:pt x="1229" y="2649"/>
                      </a:lnTo>
                      <a:lnTo>
                        <a:pt x="1202" y="2657"/>
                      </a:lnTo>
                      <a:lnTo>
                        <a:pt x="1173" y="2661"/>
                      </a:lnTo>
                      <a:lnTo>
                        <a:pt x="1144" y="2657"/>
                      </a:lnTo>
                      <a:lnTo>
                        <a:pt x="1117" y="2649"/>
                      </a:lnTo>
                      <a:lnTo>
                        <a:pt x="1093" y="2636"/>
                      </a:lnTo>
                      <a:lnTo>
                        <a:pt x="1072" y="2619"/>
                      </a:lnTo>
                      <a:lnTo>
                        <a:pt x="1054" y="2598"/>
                      </a:lnTo>
                      <a:lnTo>
                        <a:pt x="1041" y="2573"/>
                      </a:lnTo>
                      <a:lnTo>
                        <a:pt x="1033" y="2546"/>
                      </a:lnTo>
                      <a:lnTo>
                        <a:pt x="1030" y="2518"/>
                      </a:lnTo>
                      <a:lnTo>
                        <a:pt x="1030" y="2040"/>
                      </a:lnTo>
                      <a:lnTo>
                        <a:pt x="1027" y="2013"/>
                      </a:lnTo>
                      <a:lnTo>
                        <a:pt x="1018" y="1989"/>
                      </a:lnTo>
                      <a:lnTo>
                        <a:pt x="1004" y="1967"/>
                      </a:lnTo>
                      <a:lnTo>
                        <a:pt x="986" y="1948"/>
                      </a:lnTo>
                      <a:lnTo>
                        <a:pt x="965" y="1935"/>
                      </a:lnTo>
                      <a:lnTo>
                        <a:pt x="940" y="1926"/>
                      </a:lnTo>
                      <a:lnTo>
                        <a:pt x="913" y="1923"/>
                      </a:lnTo>
                      <a:lnTo>
                        <a:pt x="436" y="1923"/>
                      </a:lnTo>
                      <a:lnTo>
                        <a:pt x="408" y="1926"/>
                      </a:lnTo>
                      <a:lnTo>
                        <a:pt x="385" y="1935"/>
                      </a:lnTo>
                      <a:lnTo>
                        <a:pt x="362" y="1948"/>
                      </a:lnTo>
                      <a:lnTo>
                        <a:pt x="344" y="1967"/>
                      </a:lnTo>
                      <a:lnTo>
                        <a:pt x="331" y="1989"/>
                      </a:lnTo>
                      <a:lnTo>
                        <a:pt x="322" y="2013"/>
                      </a:lnTo>
                      <a:lnTo>
                        <a:pt x="319" y="2040"/>
                      </a:lnTo>
                      <a:lnTo>
                        <a:pt x="319" y="2518"/>
                      </a:lnTo>
                      <a:lnTo>
                        <a:pt x="316" y="2546"/>
                      </a:lnTo>
                      <a:lnTo>
                        <a:pt x="307" y="2573"/>
                      </a:lnTo>
                      <a:lnTo>
                        <a:pt x="294" y="2598"/>
                      </a:lnTo>
                      <a:lnTo>
                        <a:pt x="276" y="2619"/>
                      </a:lnTo>
                      <a:lnTo>
                        <a:pt x="256" y="2636"/>
                      </a:lnTo>
                      <a:lnTo>
                        <a:pt x="231" y="2649"/>
                      </a:lnTo>
                      <a:lnTo>
                        <a:pt x="205" y="2657"/>
                      </a:lnTo>
                      <a:lnTo>
                        <a:pt x="175" y="2661"/>
                      </a:lnTo>
                      <a:lnTo>
                        <a:pt x="146" y="2657"/>
                      </a:lnTo>
                      <a:lnTo>
                        <a:pt x="120" y="2649"/>
                      </a:lnTo>
                      <a:lnTo>
                        <a:pt x="95" y="2636"/>
                      </a:lnTo>
                      <a:lnTo>
                        <a:pt x="75" y="2619"/>
                      </a:lnTo>
                      <a:lnTo>
                        <a:pt x="57" y="2598"/>
                      </a:lnTo>
                      <a:lnTo>
                        <a:pt x="44" y="2573"/>
                      </a:lnTo>
                      <a:lnTo>
                        <a:pt x="36" y="2546"/>
                      </a:lnTo>
                      <a:lnTo>
                        <a:pt x="32" y="2518"/>
                      </a:lnTo>
                      <a:lnTo>
                        <a:pt x="32" y="2040"/>
                      </a:lnTo>
                      <a:lnTo>
                        <a:pt x="36" y="1988"/>
                      </a:lnTo>
                      <a:lnTo>
                        <a:pt x="46" y="1938"/>
                      </a:lnTo>
                      <a:lnTo>
                        <a:pt x="62" y="1889"/>
                      </a:lnTo>
                      <a:lnTo>
                        <a:pt x="83" y="1843"/>
                      </a:lnTo>
                      <a:lnTo>
                        <a:pt x="61" y="1827"/>
                      </a:lnTo>
                      <a:lnTo>
                        <a:pt x="39" y="1806"/>
                      </a:lnTo>
                      <a:lnTo>
                        <a:pt x="23" y="1783"/>
                      </a:lnTo>
                      <a:lnTo>
                        <a:pt x="11" y="1756"/>
                      </a:lnTo>
                      <a:lnTo>
                        <a:pt x="2" y="1728"/>
                      </a:lnTo>
                      <a:lnTo>
                        <a:pt x="0" y="1697"/>
                      </a:lnTo>
                      <a:lnTo>
                        <a:pt x="0" y="172"/>
                      </a:lnTo>
                      <a:lnTo>
                        <a:pt x="4" y="137"/>
                      </a:lnTo>
                      <a:lnTo>
                        <a:pt x="13" y="105"/>
                      </a:lnTo>
                      <a:lnTo>
                        <a:pt x="29" y="77"/>
                      </a:lnTo>
                      <a:lnTo>
                        <a:pt x="50" y="50"/>
                      </a:lnTo>
                      <a:lnTo>
                        <a:pt x="75" y="30"/>
                      </a:lnTo>
                      <a:lnTo>
                        <a:pt x="105" y="15"/>
                      </a:lnTo>
                      <a:lnTo>
                        <a:pt x="136" y="4"/>
                      </a:lnTo>
                      <a:lnTo>
                        <a:pt x="17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39" name="Freeform 141">
                  <a:extLst>
                    <a:ext uri="{FF2B5EF4-FFF2-40B4-BE49-F238E27FC236}">
                      <a16:creationId xmlns:a16="http://schemas.microsoft.com/office/drawing/2014/main" id="{F1F3DB01-73FF-43E1-AB02-B382F83AD943}"/>
                    </a:ext>
                  </a:extLst>
                </p:cNvPr>
                <p:cNvSpPr>
                  <a:spLocks/>
                </p:cNvSpPr>
                <p:nvPr/>
              </p:nvSpPr>
              <p:spPr bwMode="auto">
                <a:xfrm>
                  <a:off x="3341" y="2561"/>
                  <a:ext cx="445" cy="357"/>
                </a:xfrm>
                <a:custGeom>
                  <a:avLst/>
                  <a:gdLst>
                    <a:gd name="T0" fmla="*/ 163 w 2225"/>
                    <a:gd name="T1" fmla="*/ 0 h 1781"/>
                    <a:gd name="T2" fmla="*/ 2062 w 2225"/>
                    <a:gd name="T3" fmla="*/ 0 h 1781"/>
                    <a:gd name="T4" fmla="*/ 2094 w 2225"/>
                    <a:gd name="T5" fmla="*/ 3 h 1781"/>
                    <a:gd name="T6" fmla="*/ 2125 w 2225"/>
                    <a:gd name="T7" fmla="*/ 13 h 1781"/>
                    <a:gd name="T8" fmla="*/ 2153 w 2225"/>
                    <a:gd name="T9" fmla="*/ 28 h 1781"/>
                    <a:gd name="T10" fmla="*/ 2177 w 2225"/>
                    <a:gd name="T11" fmla="*/ 47 h 1781"/>
                    <a:gd name="T12" fmla="*/ 2197 w 2225"/>
                    <a:gd name="T13" fmla="*/ 72 h 1781"/>
                    <a:gd name="T14" fmla="*/ 2212 w 2225"/>
                    <a:gd name="T15" fmla="*/ 100 h 1781"/>
                    <a:gd name="T16" fmla="*/ 2221 w 2225"/>
                    <a:gd name="T17" fmla="*/ 131 h 1781"/>
                    <a:gd name="T18" fmla="*/ 2225 w 2225"/>
                    <a:gd name="T19" fmla="*/ 163 h 1781"/>
                    <a:gd name="T20" fmla="*/ 2221 w 2225"/>
                    <a:gd name="T21" fmla="*/ 196 h 1781"/>
                    <a:gd name="T22" fmla="*/ 2212 w 2225"/>
                    <a:gd name="T23" fmla="*/ 227 h 1781"/>
                    <a:gd name="T24" fmla="*/ 2197 w 2225"/>
                    <a:gd name="T25" fmla="*/ 255 h 1781"/>
                    <a:gd name="T26" fmla="*/ 2177 w 2225"/>
                    <a:gd name="T27" fmla="*/ 280 h 1781"/>
                    <a:gd name="T28" fmla="*/ 2153 w 2225"/>
                    <a:gd name="T29" fmla="*/ 299 h 1781"/>
                    <a:gd name="T30" fmla="*/ 2125 w 2225"/>
                    <a:gd name="T31" fmla="*/ 314 h 1781"/>
                    <a:gd name="T32" fmla="*/ 2094 w 2225"/>
                    <a:gd name="T33" fmla="*/ 324 h 1781"/>
                    <a:gd name="T34" fmla="*/ 2062 w 2225"/>
                    <a:gd name="T35" fmla="*/ 327 h 1781"/>
                    <a:gd name="T36" fmla="*/ 1836 w 2225"/>
                    <a:gd name="T37" fmla="*/ 327 h 1781"/>
                    <a:gd name="T38" fmla="*/ 1836 w 2225"/>
                    <a:gd name="T39" fmla="*/ 1781 h 1781"/>
                    <a:gd name="T40" fmla="*/ 388 w 2225"/>
                    <a:gd name="T41" fmla="*/ 1781 h 1781"/>
                    <a:gd name="T42" fmla="*/ 388 w 2225"/>
                    <a:gd name="T43" fmla="*/ 327 h 1781"/>
                    <a:gd name="T44" fmla="*/ 163 w 2225"/>
                    <a:gd name="T45" fmla="*/ 327 h 1781"/>
                    <a:gd name="T46" fmla="*/ 131 w 2225"/>
                    <a:gd name="T47" fmla="*/ 324 h 1781"/>
                    <a:gd name="T48" fmla="*/ 100 w 2225"/>
                    <a:gd name="T49" fmla="*/ 314 h 1781"/>
                    <a:gd name="T50" fmla="*/ 73 w 2225"/>
                    <a:gd name="T51" fmla="*/ 299 h 1781"/>
                    <a:gd name="T52" fmla="*/ 48 w 2225"/>
                    <a:gd name="T53" fmla="*/ 280 h 1781"/>
                    <a:gd name="T54" fmla="*/ 27 w 2225"/>
                    <a:gd name="T55" fmla="*/ 255 h 1781"/>
                    <a:gd name="T56" fmla="*/ 13 w 2225"/>
                    <a:gd name="T57" fmla="*/ 227 h 1781"/>
                    <a:gd name="T58" fmla="*/ 4 w 2225"/>
                    <a:gd name="T59" fmla="*/ 196 h 1781"/>
                    <a:gd name="T60" fmla="*/ 0 w 2225"/>
                    <a:gd name="T61" fmla="*/ 163 h 1781"/>
                    <a:gd name="T62" fmla="*/ 4 w 2225"/>
                    <a:gd name="T63" fmla="*/ 131 h 1781"/>
                    <a:gd name="T64" fmla="*/ 13 w 2225"/>
                    <a:gd name="T65" fmla="*/ 100 h 1781"/>
                    <a:gd name="T66" fmla="*/ 27 w 2225"/>
                    <a:gd name="T67" fmla="*/ 72 h 1781"/>
                    <a:gd name="T68" fmla="*/ 48 w 2225"/>
                    <a:gd name="T69" fmla="*/ 47 h 1781"/>
                    <a:gd name="T70" fmla="*/ 73 w 2225"/>
                    <a:gd name="T71" fmla="*/ 28 h 1781"/>
                    <a:gd name="T72" fmla="*/ 100 w 2225"/>
                    <a:gd name="T73" fmla="*/ 13 h 1781"/>
                    <a:gd name="T74" fmla="*/ 131 w 2225"/>
                    <a:gd name="T75" fmla="*/ 3 h 1781"/>
                    <a:gd name="T76" fmla="*/ 163 w 2225"/>
                    <a:gd name="T77" fmla="*/ 0 h 17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225" h="1781">
                      <a:moveTo>
                        <a:pt x="163" y="0"/>
                      </a:moveTo>
                      <a:lnTo>
                        <a:pt x="2062" y="0"/>
                      </a:lnTo>
                      <a:lnTo>
                        <a:pt x="2094" y="3"/>
                      </a:lnTo>
                      <a:lnTo>
                        <a:pt x="2125" y="13"/>
                      </a:lnTo>
                      <a:lnTo>
                        <a:pt x="2153" y="28"/>
                      </a:lnTo>
                      <a:lnTo>
                        <a:pt x="2177" y="47"/>
                      </a:lnTo>
                      <a:lnTo>
                        <a:pt x="2197" y="72"/>
                      </a:lnTo>
                      <a:lnTo>
                        <a:pt x="2212" y="100"/>
                      </a:lnTo>
                      <a:lnTo>
                        <a:pt x="2221" y="131"/>
                      </a:lnTo>
                      <a:lnTo>
                        <a:pt x="2225" y="163"/>
                      </a:lnTo>
                      <a:lnTo>
                        <a:pt x="2221" y="196"/>
                      </a:lnTo>
                      <a:lnTo>
                        <a:pt x="2212" y="227"/>
                      </a:lnTo>
                      <a:lnTo>
                        <a:pt x="2197" y="255"/>
                      </a:lnTo>
                      <a:lnTo>
                        <a:pt x="2177" y="280"/>
                      </a:lnTo>
                      <a:lnTo>
                        <a:pt x="2153" y="299"/>
                      </a:lnTo>
                      <a:lnTo>
                        <a:pt x="2125" y="314"/>
                      </a:lnTo>
                      <a:lnTo>
                        <a:pt x="2094" y="324"/>
                      </a:lnTo>
                      <a:lnTo>
                        <a:pt x="2062" y="327"/>
                      </a:lnTo>
                      <a:lnTo>
                        <a:pt x="1836" y="327"/>
                      </a:lnTo>
                      <a:lnTo>
                        <a:pt x="1836" y="1781"/>
                      </a:lnTo>
                      <a:lnTo>
                        <a:pt x="388" y="1781"/>
                      </a:lnTo>
                      <a:lnTo>
                        <a:pt x="388" y="327"/>
                      </a:lnTo>
                      <a:lnTo>
                        <a:pt x="163" y="327"/>
                      </a:lnTo>
                      <a:lnTo>
                        <a:pt x="131" y="324"/>
                      </a:lnTo>
                      <a:lnTo>
                        <a:pt x="100" y="314"/>
                      </a:lnTo>
                      <a:lnTo>
                        <a:pt x="73" y="299"/>
                      </a:lnTo>
                      <a:lnTo>
                        <a:pt x="48" y="280"/>
                      </a:lnTo>
                      <a:lnTo>
                        <a:pt x="27" y="255"/>
                      </a:lnTo>
                      <a:lnTo>
                        <a:pt x="13" y="227"/>
                      </a:lnTo>
                      <a:lnTo>
                        <a:pt x="4" y="196"/>
                      </a:lnTo>
                      <a:lnTo>
                        <a:pt x="0" y="163"/>
                      </a:lnTo>
                      <a:lnTo>
                        <a:pt x="4" y="131"/>
                      </a:lnTo>
                      <a:lnTo>
                        <a:pt x="13" y="100"/>
                      </a:lnTo>
                      <a:lnTo>
                        <a:pt x="27" y="72"/>
                      </a:lnTo>
                      <a:lnTo>
                        <a:pt x="48" y="47"/>
                      </a:lnTo>
                      <a:lnTo>
                        <a:pt x="73" y="28"/>
                      </a:lnTo>
                      <a:lnTo>
                        <a:pt x="100" y="13"/>
                      </a:lnTo>
                      <a:lnTo>
                        <a:pt x="131" y="3"/>
                      </a:lnTo>
                      <a:lnTo>
                        <a:pt x="16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40" name="Freeform 142">
                  <a:extLst>
                    <a:ext uri="{FF2B5EF4-FFF2-40B4-BE49-F238E27FC236}">
                      <a16:creationId xmlns:a16="http://schemas.microsoft.com/office/drawing/2014/main" id="{5A44B008-7913-48B0-92D4-7937570FA4AF}"/>
                    </a:ext>
                  </a:extLst>
                </p:cNvPr>
                <p:cNvSpPr>
                  <a:spLocks noEditPoints="1"/>
                </p:cNvSpPr>
                <p:nvPr/>
              </p:nvSpPr>
              <p:spPr bwMode="auto">
                <a:xfrm>
                  <a:off x="3456" y="2309"/>
                  <a:ext cx="306" cy="242"/>
                </a:xfrm>
                <a:custGeom>
                  <a:avLst/>
                  <a:gdLst>
                    <a:gd name="T0" fmla="*/ 824 w 1530"/>
                    <a:gd name="T1" fmla="*/ 449 h 1209"/>
                    <a:gd name="T2" fmla="*/ 900 w 1530"/>
                    <a:gd name="T3" fmla="*/ 456 h 1209"/>
                    <a:gd name="T4" fmla="*/ 888 w 1530"/>
                    <a:gd name="T5" fmla="*/ 411 h 1209"/>
                    <a:gd name="T6" fmla="*/ 856 w 1530"/>
                    <a:gd name="T7" fmla="*/ 375 h 1209"/>
                    <a:gd name="T8" fmla="*/ 1126 w 1530"/>
                    <a:gd name="T9" fmla="*/ 297 h 1209"/>
                    <a:gd name="T10" fmla="*/ 1079 w 1530"/>
                    <a:gd name="T11" fmla="*/ 315 h 1209"/>
                    <a:gd name="T12" fmla="*/ 1042 w 1530"/>
                    <a:gd name="T13" fmla="*/ 350 h 1209"/>
                    <a:gd name="T14" fmla="*/ 1020 w 1530"/>
                    <a:gd name="T15" fmla="*/ 398 h 1209"/>
                    <a:gd name="T16" fmla="*/ 1020 w 1530"/>
                    <a:gd name="T17" fmla="*/ 449 h 1209"/>
                    <a:gd name="T18" fmla="*/ 1038 w 1530"/>
                    <a:gd name="T19" fmla="*/ 497 h 1209"/>
                    <a:gd name="T20" fmla="*/ 1073 w 1530"/>
                    <a:gd name="T21" fmla="*/ 534 h 1209"/>
                    <a:gd name="T22" fmla="*/ 1124 w 1530"/>
                    <a:gd name="T23" fmla="*/ 555 h 1209"/>
                    <a:gd name="T24" fmla="*/ 1179 w 1530"/>
                    <a:gd name="T25" fmla="*/ 554 h 1209"/>
                    <a:gd name="T26" fmla="*/ 1228 w 1530"/>
                    <a:gd name="T27" fmla="*/ 531 h 1209"/>
                    <a:gd name="T28" fmla="*/ 1280 w 1530"/>
                    <a:gd name="T29" fmla="*/ 411 h 1209"/>
                    <a:gd name="T30" fmla="*/ 1263 w 1530"/>
                    <a:gd name="T31" fmla="*/ 360 h 1209"/>
                    <a:gd name="T32" fmla="*/ 1226 w 1530"/>
                    <a:gd name="T33" fmla="*/ 319 h 1209"/>
                    <a:gd name="T34" fmla="*/ 1177 w 1530"/>
                    <a:gd name="T35" fmla="*/ 298 h 1209"/>
                    <a:gd name="T36" fmla="*/ 946 w 1530"/>
                    <a:gd name="T37" fmla="*/ 170 h 1209"/>
                    <a:gd name="T38" fmla="*/ 938 w 1530"/>
                    <a:gd name="T39" fmla="*/ 247 h 1209"/>
                    <a:gd name="T40" fmla="*/ 985 w 1530"/>
                    <a:gd name="T41" fmla="*/ 235 h 1209"/>
                    <a:gd name="T42" fmla="*/ 1019 w 1530"/>
                    <a:gd name="T43" fmla="*/ 203 h 1209"/>
                    <a:gd name="T44" fmla="*/ 1461 w 1530"/>
                    <a:gd name="T45" fmla="*/ 0 h 1209"/>
                    <a:gd name="T46" fmla="*/ 1498 w 1530"/>
                    <a:gd name="T47" fmla="*/ 12 h 1209"/>
                    <a:gd name="T48" fmla="*/ 1522 w 1530"/>
                    <a:gd name="T49" fmla="*/ 38 h 1209"/>
                    <a:gd name="T50" fmla="*/ 1530 w 1530"/>
                    <a:gd name="T51" fmla="*/ 74 h 1209"/>
                    <a:gd name="T52" fmla="*/ 1195 w 1530"/>
                    <a:gd name="T53" fmla="*/ 1159 h 1209"/>
                    <a:gd name="T54" fmla="*/ 1176 w 1530"/>
                    <a:gd name="T55" fmla="*/ 1189 h 1209"/>
                    <a:gd name="T56" fmla="*/ 1145 w 1530"/>
                    <a:gd name="T57" fmla="*/ 1207 h 1209"/>
                    <a:gd name="T58" fmla="*/ 71 w 1530"/>
                    <a:gd name="T59" fmla="*/ 1209 h 1209"/>
                    <a:gd name="T60" fmla="*/ 28 w 1530"/>
                    <a:gd name="T61" fmla="*/ 1195 h 1209"/>
                    <a:gd name="T62" fmla="*/ 3 w 1530"/>
                    <a:gd name="T63" fmla="*/ 1160 h 1209"/>
                    <a:gd name="T64" fmla="*/ 3 w 1530"/>
                    <a:gd name="T65" fmla="*/ 1115 h 1209"/>
                    <a:gd name="T66" fmla="*/ 28 w 1530"/>
                    <a:gd name="T67" fmla="*/ 1081 h 1209"/>
                    <a:gd name="T68" fmla="*/ 71 w 1530"/>
                    <a:gd name="T69" fmla="*/ 1067 h 1209"/>
                    <a:gd name="T70" fmla="*/ 1205 w 1530"/>
                    <a:gd name="T71" fmla="*/ 650 h 1209"/>
                    <a:gd name="T72" fmla="*/ 930 w 1530"/>
                    <a:gd name="T73" fmla="*/ 130 h 1209"/>
                    <a:gd name="T74" fmla="*/ 1392 w 1530"/>
                    <a:gd name="T75" fmla="*/ 50 h 1209"/>
                    <a:gd name="T76" fmla="*/ 1411 w 1530"/>
                    <a:gd name="T77" fmla="*/ 19 h 1209"/>
                    <a:gd name="T78" fmla="*/ 1443 w 1530"/>
                    <a:gd name="T79" fmla="*/ 2 h 1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530" h="1209">
                      <a:moveTo>
                        <a:pt x="856" y="375"/>
                      </a:moveTo>
                      <a:lnTo>
                        <a:pt x="824" y="449"/>
                      </a:lnTo>
                      <a:lnTo>
                        <a:pt x="896" y="481"/>
                      </a:lnTo>
                      <a:lnTo>
                        <a:pt x="900" y="456"/>
                      </a:lnTo>
                      <a:lnTo>
                        <a:pt x="896" y="434"/>
                      </a:lnTo>
                      <a:lnTo>
                        <a:pt x="888" y="411"/>
                      </a:lnTo>
                      <a:lnTo>
                        <a:pt x="875" y="392"/>
                      </a:lnTo>
                      <a:lnTo>
                        <a:pt x="856" y="375"/>
                      </a:lnTo>
                      <a:close/>
                      <a:moveTo>
                        <a:pt x="1151" y="294"/>
                      </a:moveTo>
                      <a:lnTo>
                        <a:pt x="1126" y="297"/>
                      </a:lnTo>
                      <a:lnTo>
                        <a:pt x="1101" y="304"/>
                      </a:lnTo>
                      <a:lnTo>
                        <a:pt x="1079" y="315"/>
                      </a:lnTo>
                      <a:lnTo>
                        <a:pt x="1060" y="330"/>
                      </a:lnTo>
                      <a:lnTo>
                        <a:pt x="1042" y="350"/>
                      </a:lnTo>
                      <a:lnTo>
                        <a:pt x="1029" y="373"/>
                      </a:lnTo>
                      <a:lnTo>
                        <a:pt x="1020" y="398"/>
                      </a:lnTo>
                      <a:lnTo>
                        <a:pt x="1018" y="424"/>
                      </a:lnTo>
                      <a:lnTo>
                        <a:pt x="1020" y="449"/>
                      </a:lnTo>
                      <a:lnTo>
                        <a:pt x="1026" y="474"/>
                      </a:lnTo>
                      <a:lnTo>
                        <a:pt x="1038" y="497"/>
                      </a:lnTo>
                      <a:lnTo>
                        <a:pt x="1054" y="516"/>
                      </a:lnTo>
                      <a:lnTo>
                        <a:pt x="1073" y="534"/>
                      </a:lnTo>
                      <a:lnTo>
                        <a:pt x="1097" y="547"/>
                      </a:lnTo>
                      <a:lnTo>
                        <a:pt x="1124" y="555"/>
                      </a:lnTo>
                      <a:lnTo>
                        <a:pt x="1151" y="558"/>
                      </a:lnTo>
                      <a:lnTo>
                        <a:pt x="1179" y="554"/>
                      </a:lnTo>
                      <a:lnTo>
                        <a:pt x="1204" y="546"/>
                      </a:lnTo>
                      <a:lnTo>
                        <a:pt x="1228" y="531"/>
                      </a:lnTo>
                      <a:lnTo>
                        <a:pt x="1248" y="512"/>
                      </a:lnTo>
                      <a:lnTo>
                        <a:pt x="1280" y="411"/>
                      </a:lnTo>
                      <a:lnTo>
                        <a:pt x="1274" y="385"/>
                      </a:lnTo>
                      <a:lnTo>
                        <a:pt x="1263" y="360"/>
                      </a:lnTo>
                      <a:lnTo>
                        <a:pt x="1247" y="338"/>
                      </a:lnTo>
                      <a:lnTo>
                        <a:pt x="1226" y="319"/>
                      </a:lnTo>
                      <a:lnTo>
                        <a:pt x="1203" y="305"/>
                      </a:lnTo>
                      <a:lnTo>
                        <a:pt x="1177" y="298"/>
                      </a:lnTo>
                      <a:lnTo>
                        <a:pt x="1151" y="294"/>
                      </a:lnTo>
                      <a:close/>
                      <a:moveTo>
                        <a:pt x="946" y="170"/>
                      </a:moveTo>
                      <a:lnTo>
                        <a:pt x="914" y="243"/>
                      </a:lnTo>
                      <a:lnTo>
                        <a:pt x="938" y="247"/>
                      </a:lnTo>
                      <a:lnTo>
                        <a:pt x="962" y="243"/>
                      </a:lnTo>
                      <a:lnTo>
                        <a:pt x="985" y="235"/>
                      </a:lnTo>
                      <a:lnTo>
                        <a:pt x="1004" y="222"/>
                      </a:lnTo>
                      <a:lnTo>
                        <a:pt x="1019" y="203"/>
                      </a:lnTo>
                      <a:lnTo>
                        <a:pt x="946" y="170"/>
                      </a:lnTo>
                      <a:close/>
                      <a:moveTo>
                        <a:pt x="1461" y="0"/>
                      </a:moveTo>
                      <a:lnTo>
                        <a:pt x="1480" y="4"/>
                      </a:lnTo>
                      <a:lnTo>
                        <a:pt x="1498" y="12"/>
                      </a:lnTo>
                      <a:lnTo>
                        <a:pt x="1512" y="24"/>
                      </a:lnTo>
                      <a:lnTo>
                        <a:pt x="1522" y="38"/>
                      </a:lnTo>
                      <a:lnTo>
                        <a:pt x="1529" y="55"/>
                      </a:lnTo>
                      <a:lnTo>
                        <a:pt x="1530" y="74"/>
                      </a:lnTo>
                      <a:lnTo>
                        <a:pt x="1528" y="93"/>
                      </a:lnTo>
                      <a:lnTo>
                        <a:pt x="1195" y="1159"/>
                      </a:lnTo>
                      <a:lnTo>
                        <a:pt x="1188" y="1176"/>
                      </a:lnTo>
                      <a:lnTo>
                        <a:pt x="1176" y="1189"/>
                      </a:lnTo>
                      <a:lnTo>
                        <a:pt x="1162" y="1200"/>
                      </a:lnTo>
                      <a:lnTo>
                        <a:pt x="1145" y="1207"/>
                      </a:lnTo>
                      <a:lnTo>
                        <a:pt x="1127" y="1209"/>
                      </a:lnTo>
                      <a:lnTo>
                        <a:pt x="71" y="1209"/>
                      </a:lnTo>
                      <a:lnTo>
                        <a:pt x="49" y="1206"/>
                      </a:lnTo>
                      <a:lnTo>
                        <a:pt x="28" y="1195"/>
                      </a:lnTo>
                      <a:lnTo>
                        <a:pt x="13" y="1181"/>
                      </a:lnTo>
                      <a:lnTo>
                        <a:pt x="3" y="1160"/>
                      </a:lnTo>
                      <a:lnTo>
                        <a:pt x="0" y="1138"/>
                      </a:lnTo>
                      <a:lnTo>
                        <a:pt x="3" y="1115"/>
                      </a:lnTo>
                      <a:lnTo>
                        <a:pt x="13" y="1096"/>
                      </a:lnTo>
                      <a:lnTo>
                        <a:pt x="28" y="1081"/>
                      </a:lnTo>
                      <a:lnTo>
                        <a:pt x="49" y="1071"/>
                      </a:lnTo>
                      <a:lnTo>
                        <a:pt x="71" y="1067"/>
                      </a:lnTo>
                      <a:lnTo>
                        <a:pt x="1075" y="1067"/>
                      </a:lnTo>
                      <a:lnTo>
                        <a:pt x="1205" y="650"/>
                      </a:lnTo>
                      <a:lnTo>
                        <a:pt x="783" y="465"/>
                      </a:lnTo>
                      <a:lnTo>
                        <a:pt x="930" y="130"/>
                      </a:lnTo>
                      <a:lnTo>
                        <a:pt x="1314" y="298"/>
                      </a:lnTo>
                      <a:lnTo>
                        <a:pt x="1392" y="50"/>
                      </a:lnTo>
                      <a:lnTo>
                        <a:pt x="1399" y="33"/>
                      </a:lnTo>
                      <a:lnTo>
                        <a:pt x="1411" y="19"/>
                      </a:lnTo>
                      <a:lnTo>
                        <a:pt x="1426" y="8"/>
                      </a:lnTo>
                      <a:lnTo>
                        <a:pt x="1443" y="2"/>
                      </a:lnTo>
                      <a:lnTo>
                        <a:pt x="146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41" name="Freeform 143">
                  <a:extLst>
                    <a:ext uri="{FF2B5EF4-FFF2-40B4-BE49-F238E27FC236}">
                      <a16:creationId xmlns:a16="http://schemas.microsoft.com/office/drawing/2014/main" id="{602793BE-FE7B-4C0F-BF59-0D70E0DB402E}"/>
                    </a:ext>
                  </a:extLst>
                </p:cNvPr>
                <p:cNvSpPr>
                  <a:spLocks noEditPoints="1"/>
                </p:cNvSpPr>
                <p:nvPr/>
              </p:nvSpPr>
              <p:spPr bwMode="auto">
                <a:xfrm>
                  <a:off x="3670" y="2375"/>
                  <a:ext cx="32" cy="38"/>
                </a:xfrm>
                <a:custGeom>
                  <a:avLst/>
                  <a:gdLst>
                    <a:gd name="T0" fmla="*/ 71 w 159"/>
                    <a:gd name="T1" fmla="*/ 143 h 192"/>
                    <a:gd name="T2" fmla="*/ 79 w 159"/>
                    <a:gd name="T3" fmla="*/ 143 h 192"/>
                    <a:gd name="T4" fmla="*/ 85 w 159"/>
                    <a:gd name="T5" fmla="*/ 141 h 192"/>
                    <a:gd name="T6" fmla="*/ 87 w 159"/>
                    <a:gd name="T7" fmla="*/ 138 h 192"/>
                    <a:gd name="T8" fmla="*/ 90 w 159"/>
                    <a:gd name="T9" fmla="*/ 136 h 192"/>
                    <a:gd name="T10" fmla="*/ 90 w 159"/>
                    <a:gd name="T11" fmla="*/ 129 h 192"/>
                    <a:gd name="T12" fmla="*/ 87 w 159"/>
                    <a:gd name="T13" fmla="*/ 123 h 192"/>
                    <a:gd name="T14" fmla="*/ 82 w 159"/>
                    <a:gd name="T15" fmla="*/ 116 h 192"/>
                    <a:gd name="T16" fmla="*/ 82 w 159"/>
                    <a:gd name="T17" fmla="*/ 44 h 192"/>
                    <a:gd name="T18" fmla="*/ 77 w 159"/>
                    <a:gd name="T19" fmla="*/ 46 h 192"/>
                    <a:gd name="T20" fmla="*/ 73 w 159"/>
                    <a:gd name="T21" fmla="*/ 51 h 192"/>
                    <a:gd name="T22" fmla="*/ 72 w 159"/>
                    <a:gd name="T23" fmla="*/ 57 h 192"/>
                    <a:gd name="T24" fmla="*/ 74 w 159"/>
                    <a:gd name="T25" fmla="*/ 63 h 192"/>
                    <a:gd name="T26" fmla="*/ 79 w 159"/>
                    <a:gd name="T27" fmla="*/ 70 h 192"/>
                    <a:gd name="T28" fmla="*/ 86 w 159"/>
                    <a:gd name="T29" fmla="*/ 44 h 192"/>
                    <a:gd name="T30" fmla="*/ 129 w 159"/>
                    <a:gd name="T31" fmla="*/ 10 h 192"/>
                    <a:gd name="T32" fmla="*/ 140 w 159"/>
                    <a:gd name="T33" fmla="*/ 38 h 192"/>
                    <a:gd name="T34" fmla="*/ 159 w 159"/>
                    <a:gd name="T35" fmla="*/ 55 h 192"/>
                    <a:gd name="T36" fmla="*/ 136 w 159"/>
                    <a:gd name="T37" fmla="*/ 73 h 192"/>
                    <a:gd name="T38" fmla="*/ 110 w 159"/>
                    <a:gd name="T39" fmla="*/ 52 h 192"/>
                    <a:gd name="T40" fmla="*/ 100 w 159"/>
                    <a:gd name="T41" fmla="*/ 91 h 192"/>
                    <a:gd name="T42" fmla="*/ 117 w 159"/>
                    <a:gd name="T43" fmla="*/ 112 h 192"/>
                    <a:gd name="T44" fmla="*/ 123 w 159"/>
                    <a:gd name="T45" fmla="*/ 133 h 192"/>
                    <a:gd name="T46" fmla="*/ 115 w 159"/>
                    <a:gd name="T47" fmla="*/ 157 h 192"/>
                    <a:gd name="T48" fmla="*/ 96 w 159"/>
                    <a:gd name="T49" fmla="*/ 169 h 192"/>
                    <a:gd name="T50" fmla="*/ 59 w 159"/>
                    <a:gd name="T51" fmla="*/ 168 h 192"/>
                    <a:gd name="T52" fmla="*/ 29 w 159"/>
                    <a:gd name="T53" fmla="*/ 182 h 192"/>
                    <a:gd name="T54" fmla="*/ 17 w 159"/>
                    <a:gd name="T55" fmla="*/ 148 h 192"/>
                    <a:gd name="T56" fmla="*/ 0 w 159"/>
                    <a:gd name="T57" fmla="*/ 132 h 192"/>
                    <a:gd name="T58" fmla="*/ 16 w 159"/>
                    <a:gd name="T59" fmla="*/ 107 h 192"/>
                    <a:gd name="T60" fmla="*/ 32 w 159"/>
                    <a:gd name="T61" fmla="*/ 124 h 192"/>
                    <a:gd name="T62" fmla="*/ 50 w 159"/>
                    <a:gd name="T63" fmla="*/ 136 h 192"/>
                    <a:gd name="T64" fmla="*/ 60 w 159"/>
                    <a:gd name="T65" fmla="*/ 94 h 192"/>
                    <a:gd name="T66" fmla="*/ 41 w 159"/>
                    <a:gd name="T67" fmla="*/ 67 h 192"/>
                    <a:gd name="T68" fmla="*/ 43 w 159"/>
                    <a:gd name="T69" fmla="*/ 38 h 192"/>
                    <a:gd name="T70" fmla="*/ 56 w 159"/>
                    <a:gd name="T71" fmla="*/ 21 h 192"/>
                    <a:gd name="T72" fmla="*/ 82 w 159"/>
                    <a:gd name="T73" fmla="*/ 15 h 192"/>
                    <a:gd name="T74" fmla="*/ 110 w 159"/>
                    <a:gd name="T75"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59" h="192">
                      <a:moveTo>
                        <a:pt x="82" y="116"/>
                      </a:moveTo>
                      <a:lnTo>
                        <a:pt x="71" y="143"/>
                      </a:lnTo>
                      <a:lnTo>
                        <a:pt x="75" y="143"/>
                      </a:lnTo>
                      <a:lnTo>
                        <a:pt x="79" y="143"/>
                      </a:lnTo>
                      <a:lnTo>
                        <a:pt x="82" y="142"/>
                      </a:lnTo>
                      <a:lnTo>
                        <a:pt x="85" y="141"/>
                      </a:lnTo>
                      <a:lnTo>
                        <a:pt x="86" y="139"/>
                      </a:lnTo>
                      <a:lnTo>
                        <a:pt x="87" y="138"/>
                      </a:lnTo>
                      <a:lnTo>
                        <a:pt x="88" y="137"/>
                      </a:lnTo>
                      <a:lnTo>
                        <a:pt x="90" y="136"/>
                      </a:lnTo>
                      <a:lnTo>
                        <a:pt x="90" y="132"/>
                      </a:lnTo>
                      <a:lnTo>
                        <a:pt x="90" y="129"/>
                      </a:lnTo>
                      <a:lnTo>
                        <a:pt x="90" y="126"/>
                      </a:lnTo>
                      <a:lnTo>
                        <a:pt x="87" y="123"/>
                      </a:lnTo>
                      <a:lnTo>
                        <a:pt x="85" y="119"/>
                      </a:lnTo>
                      <a:lnTo>
                        <a:pt x="82" y="116"/>
                      </a:lnTo>
                      <a:close/>
                      <a:moveTo>
                        <a:pt x="86" y="44"/>
                      </a:moveTo>
                      <a:lnTo>
                        <a:pt x="82" y="44"/>
                      </a:lnTo>
                      <a:lnTo>
                        <a:pt x="80" y="44"/>
                      </a:lnTo>
                      <a:lnTo>
                        <a:pt x="77" y="46"/>
                      </a:lnTo>
                      <a:lnTo>
                        <a:pt x="74" y="48"/>
                      </a:lnTo>
                      <a:lnTo>
                        <a:pt x="73" y="51"/>
                      </a:lnTo>
                      <a:lnTo>
                        <a:pt x="72" y="54"/>
                      </a:lnTo>
                      <a:lnTo>
                        <a:pt x="72" y="57"/>
                      </a:lnTo>
                      <a:lnTo>
                        <a:pt x="72" y="61"/>
                      </a:lnTo>
                      <a:lnTo>
                        <a:pt x="74" y="63"/>
                      </a:lnTo>
                      <a:lnTo>
                        <a:pt x="75" y="67"/>
                      </a:lnTo>
                      <a:lnTo>
                        <a:pt x="79" y="70"/>
                      </a:lnTo>
                      <a:lnTo>
                        <a:pt x="90" y="44"/>
                      </a:lnTo>
                      <a:lnTo>
                        <a:pt x="86" y="44"/>
                      </a:lnTo>
                      <a:close/>
                      <a:moveTo>
                        <a:pt x="110" y="0"/>
                      </a:moveTo>
                      <a:lnTo>
                        <a:pt x="129" y="10"/>
                      </a:lnTo>
                      <a:lnTo>
                        <a:pt x="121" y="26"/>
                      </a:lnTo>
                      <a:lnTo>
                        <a:pt x="140" y="38"/>
                      </a:lnTo>
                      <a:lnTo>
                        <a:pt x="156" y="52"/>
                      </a:lnTo>
                      <a:lnTo>
                        <a:pt x="159" y="55"/>
                      </a:lnTo>
                      <a:lnTo>
                        <a:pt x="138" y="75"/>
                      </a:lnTo>
                      <a:lnTo>
                        <a:pt x="136" y="73"/>
                      </a:lnTo>
                      <a:lnTo>
                        <a:pt x="123" y="61"/>
                      </a:lnTo>
                      <a:lnTo>
                        <a:pt x="110" y="52"/>
                      </a:lnTo>
                      <a:lnTo>
                        <a:pt x="96" y="86"/>
                      </a:lnTo>
                      <a:lnTo>
                        <a:pt x="100" y="91"/>
                      </a:lnTo>
                      <a:lnTo>
                        <a:pt x="110" y="102"/>
                      </a:lnTo>
                      <a:lnTo>
                        <a:pt x="117" y="112"/>
                      </a:lnTo>
                      <a:lnTo>
                        <a:pt x="122" y="120"/>
                      </a:lnTo>
                      <a:lnTo>
                        <a:pt x="123" y="133"/>
                      </a:lnTo>
                      <a:lnTo>
                        <a:pt x="119" y="148"/>
                      </a:lnTo>
                      <a:lnTo>
                        <a:pt x="115" y="157"/>
                      </a:lnTo>
                      <a:lnTo>
                        <a:pt x="106" y="164"/>
                      </a:lnTo>
                      <a:lnTo>
                        <a:pt x="96" y="169"/>
                      </a:lnTo>
                      <a:lnTo>
                        <a:pt x="79" y="172"/>
                      </a:lnTo>
                      <a:lnTo>
                        <a:pt x="59" y="168"/>
                      </a:lnTo>
                      <a:lnTo>
                        <a:pt x="49" y="192"/>
                      </a:lnTo>
                      <a:lnTo>
                        <a:pt x="29" y="182"/>
                      </a:lnTo>
                      <a:lnTo>
                        <a:pt x="40" y="161"/>
                      </a:lnTo>
                      <a:lnTo>
                        <a:pt x="17" y="148"/>
                      </a:lnTo>
                      <a:lnTo>
                        <a:pt x="2" y="133"/>
                      </a:lnTo>
                      <a:lnTo>
                        <a:pt x="0" y="132"/>
                      </a:lnTo>
                      <a:lnTo>
                        <a:pt x="12" y="104"/>
                      </a:lnTo>
                      <a:lnTo>
                        <a:pt x="16" y="107"/>
                      </a:lnTo>
                      <a:lnTo>
                        <a:pt x="23" y="116"/>
                      </a:lnTo>
                      <a:lnTo>
                        <a:pt x="32" y="124"/>
                      </a:lnTo>
                      <a:lnTo>
                        <a:pt x="42" y="130"/>
                      </a:lnTo>
                      <a:lnTo>
                        <a:pt x="50" y="136"/>
                      </a:lnTo>
                      <a:lnTo>
                        <a:pt x="66" y="100"/>
                      </a:lnTo>
                      <a:lnTo>
                        <a:pt x="60" y="94"/>
                      </a:lnTo>
                      <a:lnTo>
                        <a:pt x="48" y="80"/>
                      </a:lnTo>
                      <a:lnTo>
                        <a:pt x="41" y="67"/>
                      </a:lnTo>
                      <a:lnTo>
                        <a:pt x="38" y="52"/>
                      </a:lnTo>
                      <a:lnTo>
                        <a:pt x="43" y="38"/>
                      </a:lnTo>
                      <a:lnTo>
                        <a:pt x="48" y="29"/>
                      </a:lnTo>
                      <a:lnTo>
                        <a:pt x="56" y="21"/>
                      </a:lnTo>
                      <a:lnTo>
                        <a:pt x="67" y="17"/>
                      </a:lnTo>
                      <a:lnTo>
                        <a:pt x="82" y="15"/>
                      </a:lnTo>
                      <a:lnTo>
                        <a:pt x="102" y="19"/>
                      </a:lnTo>
                      <a:lnTo>
                        <a:pt x="11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42" name="Freeform 144">
                  <a:extLst>
                    <a:ext uri="{FF2B5EF4-FFF2-40B4-BE49-F238E27FC236}">
                      <a16:creationId xmlns:a16="http://schemas.microsoft.com/office/drawing/2014/main" id="{624B6339-E2F0-46D4-BB75-1EE3A054A803}"/>
                    </a:ext>
                  </a:extLst>
                </p:cNvPr>
                <p:cNvSpPr>
                  <a:spLocks noEditPoints="1"/>
                </p:cNvSpPr>
                <p:nvPr/>
              </p:nvSpPr>
              <p:spPr bwMode="auto">
                <a:xfrm>
                  <a:off x="3560" y="2250"/>
                  <a:ext cx="164" cy="87"/>
                </a:xfrm>
                <a:custGeom>
                  <a:avLst/>
                  <a:gdLst>
                    <a:gd name="T0" fmla="*/ 663 w 820"/>
                    <a:gd name="T1" fmla="*/ 331 h 432"/>
                    <a:gd name="T2" fmla="*/ 613 w 820"/>
                    <a:gd name="T3" fmla="*/ 350 h 432"/>
                    <a:gd name="T4" fmla="*/ 576 w 820"/>
                    <a:gd name="T5" fmla="*/ 386 h 432"/>
                    <a:gd name="T6" fmla="*/ 692 w 820"/>
                    <a:gd name="T7" fmla="*/ 330 h 432"/>
                    <a:gd name="T8" fmla="*/ 44 w 820"/>
                    <a:gd name="T9" fmla="*/ 299 h 432"/>
                    <a:gd name="T10" fmla="*/ 131 w 820"/>
                    <a:gd name="T11" fmla="*/ 295 h 432"/>
                    <a:gd name="T12" fmla="*/ 120 w 820"/>
                    <a:gd name="T13" fmla="*/ 262 h 432"/>
                    <a:gd name="T14" fmla="*/ 94 w 820"/>
                    <a:gd name="T15" fmla="*/ 237 h 432"/>
                    <a:gd name="T16" fmla="*/ 691 w 820"/>
                    <a:gd name="T17" fmla="*/ 119 h 432"/>
                    <a:gd name="T18" fmla="*/ 692 w 820"/>
                    <a:gd name="T19" fmla="*/ 155 h 432"/>
                    <a:gd name="T20" fmla="*/ 711 w 820"/>
                    <a:gd name="T21" fmla="*/ 183 h 432"/>
                    <a:gd name="T22" fmla="*/ 745 w 820"/>
                    <a:gd name="T23" fmla="*/ 202 h 432"/>
                    <a:gd name="T24" fmla="*/ 691 w 820"/>
                    <a:gd name="T25" fmla="*/ 119 h 432"/>
                    <a:gd name="T26" fmla="*/ 401 w 820"/>
                    <a:gd name="T27" fmla="*/ 101 h 432"/>
                    <a:gd name="T28" fmla="*/ 345 w 820"/>
                    <a:gd name="T29" fmla="*/ 118 h 432"/>
                    <a:gd name="T30" fmla="*/ 300 w 820"/>
                    <a:gd name="T31" fmla="*/ 150 h 432"/>
                    <a:gd name="T32" fmla="*/ 269 w 820"/>
                    <a:gd name="T33" fmla="*/ 193 h 432"/>
                    <a:gd name="T34" fmla="*/ 262 w 820"/>
                    <a:gd name="T35" fmla="*/ 239 h 432"/>
                    <a:gd name="T36" fmla="*/ 276 w 820"/>
                    <a:gd name="T37" fmla="*/ 281 h 432"/>
                    <a:gd name="T38" fmla="*/ 310 w 820"/>
                    <a:gd name="T39" fmla="*/ 313 h 432"/>
                    <a:gd name="T40" fmla="*/ 361 w 820"/>
                    <a:gd name="T41" fmla="*/ 331 h 432"/>
                    <a:gd name="T42" fmla="*/ 419 w 820"/>
                    <a:gd name="T43" fmla="*/ 331 h 432"/>
                    <a:gd name="T44" fmla="*/ 475 w 820"/>
                    <a:gd name="T45" fmla="*/ 313 h 432"/>
                    <a:gd name="T46" fmla="*/ 520 w 820"/>
                    <a:gd name="T47" fmla="*/ 282 h 432"/>
                    <a:gd name="T48" fmla="*/ 550 w 820"/>
                    <a:gd name="T49" fmla="*/ 238 h 432"/>
                    <a:gd name="T50" fmla="*/ 558 w 820"/>
                    <a:gd name="T51" fmla="*/ 192 h 432"/>
                    <a:gd name="T52" fmla="*/ 544 w 820"/>
                    <a:gd name="T53" fmla="*/ 151 h 432"/>
                    <a:gd name="T54" fmla="*/ 511 w 820"/>
                    <a:gd name="T55" fmla="*/ 119 h 432"/>
                    <a:gd name="T56" fmla="*/ 460 w 820"/>
                    <a:gd name="T57" fmla="*/ 101 h 432"/>
                    <a:gd name="T58" fmla="*/ 158 w 820"/>
                    <a:gd name="T59" fmla="*/ 32 h 432"/>
                    <a:gd name="T60" fmla="*/ 156 w 820"/>
                    <a:gd name="T61" fmla="*/ 101 h 432"/>
                    <a:gd name="T62" fmla="*/ 207 w 820"/>
                    <a:gd name="T63" fmla="*/ 82 h 432"/>
                    <a:gd name="T64" fmla="*/ 244 w 820"/>
                    <a:gd name="T65" fmla="*/ 46 h 432"/>
                    <a:gd name="T66" fmla="*/ 137 w 820"/>
                    <a:gd name="T67" fmla="*/ 0 h 432"/>
                    <a:gd name="T68" fmla="*/ 682 w 820"/>
                    <a:gd name="T69" fmla="*/ 432 h 432"/>
                    <a:gd name="T70" fmla="*/ 137 w 820"/>
                    <a:gd name="T71" fmla="*/ 0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20" h="432">
                      <a:moveTo>
                        <a:pt x="692" y="330"/>
                      </a:moveTo>
                      <a:lnTo>
                        <a:pt x="663" y="331"/>
                      </a:lnTo>
                      <a:lnTo>
                        <a:pt x="637" y="338"/>
                      </a:lnTo>
                      <a:lnTo>
                        <a:pt x="613" y="350"/>
                      </a:lnTo>
                      <a:lnTo>
                        <a:pt x="592" y="365"/>
                      </a:lnTo>
                      <a:lnTo>
                        <a:pt x="576" y="386"/>
                      </a:lnTo>
                      <a:lnTo>
                        <a:pt x="661" y="399"/>
                      </a:lnTo>
                      <a:lnTo>
                        <a:pt x="692" y="330"/>
                      </a:lnTo>
                      <a:close/>
                      <a:moveTo>
                        <a:pt x="75" y="230"/>
                      </a:moveTo>
                      <a:lnTo>
                        <a:pt x="44" y="299"/>
                      </a:lnTo>
                      <a:lnTo>
                        <a:pt x="130" y="313"/>
                      </a:lnTo>
                      <a:lnTo>
                        <a:pt x="131" y="295"/>
                      </a:lnTo>
                      <a:lnTo>
                        <a:pt x="129" y="277"/>
                      </a:lnTo>
                      <a:lnTo>
                        <a:pt x="120" y="262"/>
                      </a:lnTo>
                      <a:lnTo>
                        <a:pt x="109" y="249"/>
                      </a:lnTo>
                      <a:lnTo>
                        <a:pt x="94" y="237"/>
                      </a:lnTo>
                      <a:lnTo>
                        <a:pt x="75" y="230"/>
                      </a:lnTo>
                      <a:close/>
                      <a:moveTo>
                        <a:pt x="691" y="119"/>
                      </a:moveTo>
                      <a:lnTo>
                        <a:pt x="689" y="137"/>
                      </a:lnTo>
                      <a:lnTo>
                        <a:pt x="692" y="155"/>
                      </a:lnTo>
                      <a:lnTo>
                        <a:pt x="699" y="170"/>
                      </a:lnTo>
                      <a:lnTo>
                        <a:pt x="711" y="183"/>
                      </a:lnTo>
                      <a:lnTo>
                        <a:pt x="726" y="194"/>
                      </a:lnTo>
                      <a:lnTo>
                        <a:pt x="745" y="202"/>
                      </a:lnTo>
                      <a:lnTo>
                        <a:pt x="776" y="133"/>
                      </a:lnTo>
                      <a:lnTo>
                        <a:pt x="691" y="119"/>
                      </a:lnTo>
                      <a:close/>
                      <a:moveTo>
                        <a:pt x="430" y="99"/>
                      </a:moveTo>
                      <a:lnTo>
                        <a:pt x="401" y="101"/>
                      </a:lnTo>
                      <a:lnTo>
                        <a:pt x="373" y="107"/>
                      </a:lnTo>
                      <a:lnTo>
                        <a:pt x="345" y="118"/>
                      </a:lnTo>
                      <a:lnTo>
                        <a:pt x="321" y="132"/>
                      </a:lnTo>
                      <a:lnTo>
                        <a:pt x="300" y="150"/>
                      </a:lnTo>
                      <a:lnTo>
                        <a:pt x="282" y="170"/>
                      </a:lnTo>
                      <a:lnTo>
                        <a:pt x="269" y="193"/>
                      </a:lnTo>
                      <a:lnTo>
                        <a:pt x="263" y="217"/>
                      </a:lnTo>
                      <a:lnTo>
                        <a:pt x="262" y="239"/>
                      </a:lnTo>
                      <a:lnTo>
                        <a:pt x="265" y="262"/>
                      </a:lnTo>
                      <a:lnTo>
                        <a:pt x="276" y="281"/>
                      </a:lnTo>
                      <a:lnTo>
                        <a:pt x="291" y="299"/>
                      </a:lnTo>
                      <a:lnTo>
                        <a:pt x="310" y="313"/>
                      </a:lnTo>
                      <a:lnTo>
                        <a:pt x="333" y="324"/>
                      </a:lnTo>
                      <a:lnTo>
                        <a:pt x="361" y="331"/>
                      </a:lnTo>
                      <a:lnTo>
                        <a:pt x="391" y="333"/>
                      </a:lnTo>
                      <a:lnTo>
                        <a:pt x="419" y="331"/>
                      </a:lnTo>
                      <a:lnTo>
                        <a:pt x="448" y="324"/>
                      </a:lnTo>
                      <a:lnTo>
                        <a:pt x="475" y="313"/>
                      </a:lnTo>
                      <a:lnTo>
                        <a:pt x="499" y="299"/>
                      </a:lnTo>
                      <a:lnTo>
                        <a:pt x="520" y="282"/>
                      </a:lnTo>
                      <a:lnTo>
                        <a:pt x="538" y="262"/>
                      </a:lnTo>
                      <a:lnTo>
                        <a:pt x="550" y="238"/>
                      </a:lnTo>
                      <a:lnTo>
                        <a:pt x="557" y="215"/>
                      </a:lnTo>
                      <a:lnTo>
                        <a:pt x="558" y="192"/>
                      </a:lnTo>
                      <a:lnTo>
                        <a:pt x="554" y="170"/>
                      </a:lnTo>
                      <a:lnTo>
                        <a:pt x="544" y="151"/>
                      </a:lnTo>
                      <a:lnTo>
                        <a:pt x="530" y="133"/>
                      </a:lnTo>
                      <a:lnTo>
                        <a:pt x="511" y="119"/>
                      </a:lnTo>
                      <a:lnTo>
                        <a:pt x="487" y="108"/>
                      </a:lnTo>
                      <a:lnTo>
                        <a:pt x="460" y="101"/>
                      </a:lnTo>
                      <a:lnTo>
                        <a:pt x="430" y="99"/>
                      </a:lnTo>
                      <a:close/>
                      <a:moveTo>
                        <a:pt x="158" y="32"/>
                      </a:moveTo>
                      <a:lnTo>
                        <a:pt x="129" y="102"/>
                      </a:lnTo>
                      <a:lnTo>
                        <a:pt x="156" y="101"/>
                      </a:lnTo>
                      <a:lnTo>
                        <a:pt x="183" y="94"/>
                      </a:lnTo>
                      <a:lnTo>
                        <a:pt x="207" y="82"/>
                      </a:lnTo>
                      <a:lnTo>
                        <a:pt x="229" y="65"/>
                      </a:lnTo>
                      <a:lnTo>
                        <a:pt x="244" y="46"/>
                      </a:lnTo>
                      <a:lnTo>
                        <a:pt x="158" y="32"/>
                      </a:lnTo>
                      <a:close/>
                      <a:moveTo>
                        <a:pt x="137" y="0"/>
                      </a:moveTo>
                      <a:lnTo>
                        <a:pt x="820" y="111"/>
                      </a:lnTo>
                      <a:lnTo>
                        <a:pt x="682" y="432"/>
                      </a:lnTo>
                      <a:lnTo>
                        <a:pt x="0" y="321"/>
                      </a:lnTo>
                      <a:lnTo>
                        <a:pt x="13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43" name="Freeform 145">
                  <a:extLst>
                    <a:ext uri="{FF2B5EF4-FFF2-40B4-BE49-F238E27FC236}">
                      <a16:creationId xmlns:a16="http://schemas.microsoft.com/office/drawing/2014/main" id="{58B7B34D-4E2F-476E-9073-96BC6A58CFC3}"/>
                    </a:ext>
                  </a:extLst>
                </p:cNvPr>
                <p:cNvSpPr>
                  <a:spLocks noEditPoints="1"/>
                </p:cNvSpPr>
                <p:nvPr/>
              </p:nvSpPr>
              <p:spPr bwMode="auto">
                <a:xfrm>
                  <a:off x="3624" y="2276"/>
                  <a:ext cx="35" cy="35"/>
                </a:xfrm>
                <a:custGeom>
                  <a:avLst/>
                  <a:gdLst>
                    <a:gd name="T0" fmla="*/ 80 w 171"/>
                    <a:gd name="T1" fmla="*/ 131 h 178"/>
                    <a:gd name="T2" fmla="*/ 96 w 171"/>
                    <a:gd name="T3" fmla="*/ 128 h 178"/>
                    <a:gd name="T4" fmla="*/ 101 w 171"/>
                    <a:gd name="T5" fmla="*/ 122 h 178"/>
                    <a:gd name="T6" fmla="*/ 101 w 171"/>
                    <a:gd name="T7" fmla="*/ 116 h 178"/>
                    <a:gd name="T8" fmla="*/ 98 w 171"/>
                    <a:gd name="T9" fmla="*/ 111 h 178"/>
                    <a:gd name="T10" fmla="*/ 90 w 171"/>
                    <a:gd name="T11" fmla="*/ 105 h 178"/>
                    <a:gd name="T12" fmla="*/ 88 w 171"/>
                    <a:gd name="T13" fmla="*/ 42 h 178"/>
                    <a:gd name="T14" fmla="*/ 80 w 171"/>
                    <a:gd name="T15" fmla="*/ 45 h 178"/>
                    <a:gd name="T16" fmla="*/ 75 w 171"/>
                    <a:gd name="T17" fmla="*/ 50 h 178"/>
                    <a:gd name="T18" fmla="*/ 74 w 171"/>
                    <a:gd name="T19" fmla="*/ 56 h 178"/>
                    <a:gd name="T20" fmla="*/ 77 w 171"/>
                    <a:gd name="T21" fmla="*/ 62 h 178"/>
                    <a:gd name="T22" fmla="*/ 83 w 171"/>
                    <a:gd name="T23" fmla="*/ 67 h 178"/>
                    <a:gd name="T24" fmla="*/ 112 w 171"/>
                    <a:gd name="T25" fmla="*/ 0 h 178"/>
                    <a:gd name="T26" fmla="*/ 127 w 171"/>
                    <a:gd name="T27" fmla="*/ 20 h 178"/>
                    <a:gd name="T28" fmla="*/ 169 w 171"/>
                    <a:gd name="T29" fmla="*/ 36 h 178"/>
                    <a:gd name="T30" fmla="*/ 151 w 171"/>
                    <a:gd name="T31" fmla="*/ 59 h 178"/>
                    <a:gd name="T32" fmla="*/ 133 w 171"/>
                    <a:gd name="T33" fmla="*/ 50 h 178"/>
                    <a:gd name="T34" fmla="*/ 103 w 171"/>
                    <a:gd name="T35" fmla="*/ 78 h 178"/>
                    <a:gd name="T36" fmla="*/ 126 w 171"/>
                    <a:gd name="T37" fmla="*/ 92 h 178"/>
                    <a:gd name="T38" fmla="*/ 139 w 171"/>
                    <a:gd name="T39" fmla="*/ 113 h 178"/>
                    <a:gd name="T40" fmla="*/ 131 w 171"/>
                    <a:gd name="T41" fmla="*/ 135 h 178"/>
                    <a:gd name="T42" fmla="*/ 112 w 171"/>
                    <a:gd name="T43" fmla="*/ 149 h 178"/>
                    <a:gd name="T44" fmla="*/ 69 w 171"/>
                    <a:gd name="T45" fmla="*/ 155 h 178"/>
                    <a:gd name="T46" fmla="*/ 37 w 171"/>
                    <a:gd name="T47" fmla="*/ 174 h 178"/>
                    <a:gd name="T48" fmla="*/ 21 w 171"/>
                    <a:gd name="T49" fmla="*/ 146 h 178"/>
                    <a:gd name="T50" fmla="*/ 0 w 171"/>
                    <a:gd name="T51" fmla="*/ 136 h 178"/>
                    <a:gd name="T52" fmla="*/ 15 w 171"/>
                    <a:gd name="T53" fmla="*/ 111 h 178"/>
                    <a:gd name="T54" fmla="*/ 37 w 171"/>
                    <a:gd name="T55" fmla="*/ 123 h 178"/>
                    <a:gd name="T56" fmla="*/ 57 w 171"/>
                    <a:gd name="T57" fmla="*/ 129 h 178"/>
                    <a:gd name="T58" fmla="*/ 64 w 171"/>
                    <a:gd name="T59" fmla="*/ 91 h 178"/>
                    <a:gd name="T60" fmla="*/ 40 w 171"/>
                    <a:gd name="T61" fmla="*/ 70 h 178"/>
                    <a:gd name="T62" fmla="*/ 40 w 171"/>
                    <a:gd name="T63" fmla="*/ 45 h 178"/>
                    <a:gd name="T64" fmla="*/ 53 w 171"/>
                    <a:gd name="T65" fmla="*/ 29 h 178"/>
                    <a:gd name="T66" fmla="*/ 83 w 171"/>
                    <a:gd name="T67" fmla="*/ 18 h 178"/>
                    <a:gd name="T68" fmla="*/ 112 w 171"/>
                    <a:gd name="T69"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71" h="178">
                      <a:moveTo>
                        <a:pt x="90" y="105"/>
                      </a:moveTo>
                      <a:lnTo>
                        <a:pt x="80" y="131"/>
                      </a:lnTo>
                      <a:lnTo>
                        <a:pt x="90" y="130"/>
                      </a:lnTo>
                      <a:lnTo>
                        <a:pt x="96" y="128"/>
                      </a:lnTo>
                      <a:lnTo>
                        <a:pt x="99" y="124"/>
                      </a:lnTo>
                      <a:lnTo>
                        <a:pt x="101" y="122"/>
                      </a:lnTo>
                      <a:lnTo>
                        <a:pt x="101" y="118"/>
                      </a:lnTo>
                      <a:lnTo>
                        <a:pt x="101" y="116"/>
                      </a:lnTo>
                      <a:lnTo>
                        <a:pt x="100" y="113"/>
                      </a:lnTo>
                      <a:lnTo>
                        <a:pt x="98" y="111"/>
                      </a:lnTo>
                      <a:lnTo>
                        <a:pt x="95" y="109"/>
                      </a:lnTo>
                      <a:lnTo>
                        <a:pt x="90" y="105"/>
                      </a:lnTo>
                      <a:close/>
                      <a:moveTo>
                        <a:pt x="94" y="42"/>
                      </a:moveTo>
                      <a:lnTo>
                        <a:pt x="88" y="42"/>
                      </a:lnTo>
                      <a:lnTo>
                        <a:pt x="82" y="44"/>
                      </a:lnTo>
                      <a:lnTo>
                        <a:pt x="80" y="45"/>
                      </a:lnTo>
                      <a:lnTo>
                        <a:pt x="77" y="48"/>
                      </a:lnTo>
                      <a:lnTo>
                        <a:pt x="75" y="50"/>
                      </a:lnTo>
                      <a:lnTo>
                        <a:pt x="74" y="54"/>
                      </a:lnTo>
                      <a:lnTo>
                        <a:pt x="74" y="56"/>
                      </a:lnTo>
                      <a:lnTo>
                        <a:pt x="75" y="60"/>
                      </a:lnTo>
                      <a:lnTo>
                        <a:pt x="77" y="62"/>
                      </a:lnTo>
                      <a:lnTo>
                        <a:pt x="80" y="65"/>
                      </a:lnTo>
                      <a:lnTo>
                        <a:pt x="83" y="67"/>
                      </a:lnTo>
                      <a:lnTo>
                        <a:pt x="94" y="42"/>
                      </a:lnTo>
                      <a:close/>
                      <a:moveTo>
                        <a:pt x="112" y="0"/>
                      </a:moveTo>
                      <a:lnTo>
                        <a:pt x="134" y="4"/>
                      </a:lnTo>
                      <a:lnTo>
                        <a:pt x="127" y="20"/>
                      </a:lnTo>
                      <a:lnTo>
                        <a:pt x="150" y="26"/>
                      </a:lnTo>
                      <a:lnTo>
                        <a:pt x="169" y="36"/>
                      </a:lnTo>
                      <a:lnTo>
                        <a:pt x="171" y="37"/>
                      </a:lnTo>
                      <a:lnTo>
                        <a:pt x="151" y="59"/>
                      </a:lnTo>
                      <a:lnTo>
                        <a:pt x="149" y="57"/>
                      </a:lnTo>
                      <a:lnTo>
                        <a:pt x="133" y="50"/>
                      </a:lnTo>
                      <a:lnTo>
                        <a:pt x="117" y="44"/>
                      </a:lnTo>
                      <a:lnTo>
                        <a:pt x="103" y="78"/>
                      </a:lnTo>
                      <a:lnTo>
                        <a:pt x="109" y="80"/>
                      </a:lnTo>
                      <a:lnTo>
                        <a:pt x="126" y="92"/>
                      </a:lnTo>
                      <a:lnTo>
                        <a:pt x="136" y="103"/>
                      </a:lnTo>
                      <a:lnTo>
                        <a:pt x="139" y="113"/>
                      </a:lnTo>
                      <a:lnTo>
                        <a:pt x="137" y="125"/>
                      </a:lnTo>
                      <a:lnTo>
                        <a:pt x="131" y="135"/>
                      </a:lnTo>
                      <a:lnTo>
                        <a:pt x="123" y="143"/>
                      </a:lnTo>
                      <a:lnTo>
                        <a:pt x="112" y="149"/>
                      </a:lnTo>
                      <a:lnTo>
                        <a:pt x="93" y="155"/>
                      </a:lnTo>
                      <a:lnTo>
                        <a:pt x="69" y="155"/>
                      </a:lnTo>
                      <a:lnTo>
                        <a:pt x="59" y="178"/>
                      </a:lnTo>
                      <a:lnTo>
                        <a:pt x="37" y="174"/>
                      </a:lnTo>
                      <a:lnTo>
                        <a:pt x="46" y="153"/>
                      </a:lnTo>
                      <a:lnTo>
                        <a:pt x="21" y="146"/>
                      </a:lnTo>
                      <a:lnTo>
                        <a:pt x="1" y="137"/>
                      </a:lnTo>
                      <a:lnTo>
                        <a:pt x="0" y="136"/>
                      </a:lnTo>
                      <a:lnTo>
                        <a:pt x="12" y="109"/>
                      </a:lnTo>
                      <a:lnTo>
                        <a:pt x="15" y="111"/>
                      </a:lnTo>
                      <a:lnTo>
                        <a:pt x="25" y="117"/>
                      </a:lnTo>
                      <a:lnTo>
                        <a:pt x="37" y="123"/>
                      </a:lnTo>
                      <a:lnTo>
                        <a:pt x="46" y="126"/>
                      </a:lnTo>
                      <a:lnTo>
                        <a:pt x="57" y="129"/>
                      </a:lnTo>
                      <a:lnTo>
                        <a:pt x="71" y="96"/>
                      </a:lnTo>
                      <a:lnTo>
                        <a:pt x="64" y="91"/>
                      </a:lnTo>
                      <a:lnTo>
                        <a:pt x="49" y="81"/>
                      </a:lnTo>
                      <a:lnTo>
                        <a:pt x="40" y="70"/>
                      </a:lnTo>
                      <a:lnTo>
                        <a:pt x="37" y="59"/>
                      </a:lnTo>
                      <a:lnTo>
                        <a:pt x="40" y="45"/>
                      </a:lnTo>
                      <a:lnTo>
                        <a:pt x="45" y="36"/>
                      </a:lnTo>
                      <a:lnTo>
                        <a:pt x="53" y="29"/>
                      </a:lnTo>
                      <a:lnTo>
                        <a:pt x="65" y="23"/>
                      </a:lnTo>
                      <a:lnTo>
                        <a:pt x="83" y="18"/>
                      </a:lnTo>
                      <a:lnTo>
                        <a:pt x="105" y="17"/>
                      </a:lnTo>
                      <a:lnTo>
                        <a:pt x="11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44" name="Freeform 146">
                  <a:extLst>
                    <a:ext uri="{FF2B5EF4-FFF2-40B4-BE49-F238E27FC236}">
                      <a16:creationId xmlns:a16="http://schemas.microsoft.com/office/drawing/2014/main" id="{012F7F72-8DB1-4182-9380-D107169F57E8}"/>
                    </a:ext>
                  </a:extLst>
                </p:cNvPr>
                <p:cNvSpPr>
                  <a:spLocks noEditPoints="1"/>
                </p:cNvSpPr>
                <p:nvPr/>
              </p:nvSpPr>
              <p:spPr bwMode="auto">
                <a:xfrm>
                  <a:off x="3449" y="2286"/>
                  <a:ext cx="146" cy="168"/>
                </a:xfrm>
                <a:custGeom>
                  <a:avLst/>
                  <a:gdLst>
                    <a:gd name="T0" fmla="*/ 534 w 730"/>
                    <a:gd name="T1" fmla="*/ 696 h 840"/>
                    <a:gd name="T2" fmla="*/ 501 w 730"/>
                    <a:gd name="T3" fmla="*/ 711 h 840"/>
                    <a:gd name="T4" fmla="*/ 559 w 730"/>
                    <a:gd name="T5" fmla="*/ 787 h 840"/>
                    <a:gd name="T6" fmla="*/ 573 w 730"/>
                    <a:gd name="T7" fmla="*/ 700 h 840"/>
                    <a:gd name="T8" fmla="*/ 617 w 730"/>
                    <a:gd name="T9" fmla="*/ 433 h 840"/>
                    <a:gd name="T10" fmla="*/ 616 w 730"/>
                    <a:gd name="T11" fmla="*/ 490 h 840"/>
                    <a:gd name="T12" fmla="*/ 637 w 730"/>
                    <a:gd name="T13" fmla="*/ 546 h 840"/>
                    <a:gd name="T14" fmla="*/ 689 w 730"/>
                    <a:gd name="T15" fmla="*/ 493 h 840"/>
                    <a:gd name="T16" fmla="*/ 77 w 730"/>
                    <a:gd name="T17" fmla="*/ 271 h 840"/>
                    <a:gd name="T18" fmla="*/ 113 w 730"/>
                    <a:gd name="T19" fmla="*/ 409 h 840"/>
                    <a:gd name="T20" fmla="*/ 115 w 730"/>
                    <a:gd name="T21" fmla="*/ 352 h 840"/>
                    <a:gd name="T22" fmla="*/ 94 w 730"/>
                    <a:gd name="T23" fmla="*/ 296 h 840"/>
                    <a:gd name="T24" fmla="*/ 333 w 730"/>
                    <a:gd name="T25" fmla="*/ 259 h 840"/>
                    <a:gd name="T26" fmla="*/ 292 w 730"/>
                    <a:gd name="T27" fmla="*/ 271 h 840"/>
                    <a:gd name="T28" fmla="*/ 260 w 730"/>
                    <a:gd name="T29" fmla="*/ 299 h 840"/>
                    <a:gd name="T30" fmla="*/ 239 w 730"/>
                    <a:gd name="T31" fmla="*/ 348 h 840"/>
                    <a:gd name="T32" fmla="*/ 236 w 730"/>
                    <a:gd name="T33" fmla="*/ 409 h 840"/>
                    <a:gd name="T34" fmla="*/ 253 w 730"/>
                    <a:gd name="T35" fmla="*/ 470 h 840"/>
                    <a:gd name="T36" fmla="*/ 286 w 730"/>
                    <a:gd name="T37" fmla="*/ 524 h 840"/>
                    <a:gd name="T38" fmla="*/ 331 w 730"/>
                    <a:gd name="T39" fmla="*/ 564 h 840"/>
                    <a:gd name="T40" fmla="*/ 377 w 730"/>
                    <a:gd name="T41" fmla="*/ 580 h 840"/>
                    <a:gd name="T42" fmla="*/ 420 w 730"/>
                    <a:gd name="T43" fmla="*/ 579 h 840"/>
                    <a:gd name="T44" fmla="*/ 456 w 730"/>
                    <a:gd name="T45" fmla="*/ 559 h 840"/>
                    <a:gd name="T46" fmla="*/ 483 w 730"/>
                    <a:gd name="T47" fmla="*/ 521 h 840"/>
                    <a:gd name="T48" fmla="*/ 496 w 730"/>
                    <a:gd name="T49" fmla="*/ 464 h 840"/>
                    <a:gd name="T50" fmla="*/ 489 w 730"/>
                    <a:gd name="T51" fmla="*/ 402 h 840"/>
                    <a:gd name="T52" fmla="*/ 464 w 730"/>
                    <a:gd name="T53" fmla="*/ 342 h 840"/>
                    <a:gd name="T54" fmla="*/ 422 w 730"/>
                    <a:gd name="T55" fmla="*/ 293 h 840"/>
                    <a:gd name="T56" fmla="*/ 377 w 730"/>
                    <a:gd name="T57" fmla="*/ 267 h 840"/>
                    <a:gd name="T58" fmla="*/ 333 w 730"/>
                    <a:gd name="T59" fmla="*/ 259 h 840"/>
                    <a:gd name="T60" fmla="*/ 138 w 730"/>
                    <a:gd name="T61" fmla="*/ 131 h 840"/>
                    <a:gd name="T62" fmla="*/ 178 w 730"/>
                    <a:gd name="T63" fmla="*/ 146 h 840"/>
                    <a:gd name="T64" fmla="*/ 215 w 730"/>
                    <a:gd name="T65" fmla="*/ 140 h 840"/>
                    <a:gd name="T66" fmla="*/ 243 w 730"/>
                    <a:gd name="T67" fmla="*/ 115 h 840"/>
                    <a:gd name="T68" fmla="*/ 158 w 730"/>
                    <a:gd name="T69" fmla="*/ 0 h 840"/>
                    <a:gd name="T70" fmla="*/ 573 w 730"/>
                    <a:gd name="T71" fmla="*/ 840 h 840"/>
                    <a:gd name="T72" fmla="*/ 158 w 730"/>
                    <a:gd name="T73" fmla="*/ 0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30" h="840">
                      <a:moveTo>
                        <a:pt x="553" y="696"/>
                      </a:moveTo>
                      <a:lnTo>
                        <a:pt x="534" y="696"/>
                      </a:lnTo>
                      <a:lnTo>
                        <a:pt x="516" y="701"/>
                      </a:lnTo>
                      <a:lnTo>
                        <a:pt x="501" y="711"/>
                      </a:lnTo>
                      <a:lnTo>
                        <a:pt x="487" y="726"/>
                      </a:lnTo>
                      <a:lnTo>
                        <a:pt x="559" y="787"/>
                      </a:lnTo>
                      <a:lnTo>
                        <a:pt x="593" y="710"/>
                      </a:lnTo>
                      <a:lnTo>
                        <a:pt x="573" y="700"/>
                      </a:lnTo>
                      <a:lnTo>
                        <a:pt x="553" y="696"/>
                      </a:lnTo>
                      <a:close/>
                      <a:moveTo>
                        <a:pt x="617" y="433"/>
                      </a:moveTo>
                      <a:lnTo>
                        <a:pt x="614" y="460"/>
                      </a:lnTo>
                      <a:lnTo>
                        <a:pt x="616" y="490"/>
                      </a:lnTo>
                      <a:lnTo>
                        <a:pt x="624" y="518"/>
                      </a:lnTo>
                      <a:lnTo>
                        <a:pt x="637" y="546"/>
                      </a:lnTo>
                      <a:lnTo>
                        <a:pt x="655" y="570"/>
                      </a:lnTo>
                      <a:lnTo>
                        <a:pt x="689" y="493"/>
                      </a:lnTo>
                      <a:lnTo>
                        <a:pt x="617" y="433"/>
                      </a:lnTo>
                      <a:close/>
                      <a:moveTo>
                        <a:pt x="77" y="271"/>
                      </a:moveTo>
                      <a:lnTo>
                        <a:pt x="42" y="348"/>
                      </a:lnTo>
                      <a:lnTo>
                        <a:pt x="113" y="409"/>
                      </a:lnTo>
                      <a:lnTo>
                        <a:pt x="117" y="380"/>
                      </a:lnTo>
                      <a:lnTo>
                        <a:pt x="115" y="352"/>
                      </a:lnTo>
                      <a:lnTo>
                        <a:pt x="108" y="323"/>
                      </a:lnTo>
                      <a:lnTo>
                        <a:pt x="94" y="296"/>
                      </a:lnTo>
                      <a:lnTo>
                        <a:pt x="77" y="271"/>
                      </a:lnTo>
                      <a:close/>
                      <a:moveTo>
                        <a:pt x="333" y="259"/>
                      </a:moveTo>
                      <a:lnTo>
                        <a:pt x="311" y="262"/>
                      </a:lnTo>
                      <a:lnTo>
                        <a:pt x="292" y="271"/>
                      </a:lnTo>
                      <a:lnTo>
                        <a:pt x="274" y="283"/>
                      </a:lnTo>
                      <a:lnTo>
                        <a:pt x="260" y="299"/>
                      </a:lnTo>
                      <a:lnTo>
                        <a:pt x="248" y="321"/>
                      </a:lnTo>
                      <a:lnTo>
                        <a:pt x="239" y="348"/>
                      </a:lnTo>
                      <a:lnTo>
                        <a:pt x="235" y="378"/>
                      </a:lnTo>
                      <a:lnTo>
                        <a:pt x="236" y="409"/>
                      </a:lnTo>
                      <a:lnTo>
                        <a:pt x="242" y="440"/>
                      </a:lnTo>
                      <a:lnTo>
                        <a:pt x="253" y="470"/>
                      </a:lnTo>
                      <a:lnTo>
                        <a:pt x="268" y="498"/>
                      </a:lnTo>
                      <a:lnTo>
                        <a:pt x="286" y="524"/>
                      </a:lnTo>
                      <a:lnTo>
                        <a:pt x="309" y="547"/>
                      </a:lnTo>
                      <a:lnTo>
                        <a:pt x="331" y="564"/>
                      </a:lnTo>
                      <a:lnTo>
                        <a:pt x="354" y="574"/>
                      </a:lnTo>
                      <a:lnTo>
                        <a:pt x="377" y="580"/>
                      </a:lnTo>
                      <a:lnTo>
                        <a:pt x="398" y="582"/>
                      </a:lnTo>
                      <a:lnTo>
                        <a:pt x="420" y="579"/>
                      </a:lnTo>
                      <a:lnTo>
                        <a:pt x="439" y="571"/>
                      </a:lnTo>
                      <a:lnTo>
                        <a:pt x="456" y="559"/>
                      </a:lnTo>
                      <a:lnTo>
                        <a:pt x="471" y="541"/>
                      </a:lnTo>
                      <a:lnTo>
                        <a:pt x="483" y="521"/>
                      </a:lnTo>
                      <a:lnTo>
                        <a:pt x="492" y="492"/>
                      </a:lnTo>
                      <a:lnTo>
                        <a:pt x="496" y="464"/>
                      </a:lnTo>
                      <a:lnTo>
                        <a:pt x="495" y="433"/>
                      </a:lnTo>
                      <a:lnTo>
                        <a:pt x="489" y="402"/>
                      </a:lnTo>
                      <a:lnTo>
                        <a:pt x="478" y="371"/>
                      </a:lnTo>
                      <a:lnTo>
                        <a:pt x="464" y="342"/>
                      </a:lnTo>
                      <a:lnTo>
                        <a:pt x="445" y="316"/>
                      </a:lnTo>
                      <a:lnTo>
                        <a:pt x="422" y="293"/>
                      </a:lnTo>
                      <a:lnTo>
                        <a:pt x="399" y="278"/>
                      </a:lnTo>
                      <a:lnTo>
                        <a:pt x="377" y="267"/>
                      </a:lnTo>
                      <a:lnTo>
                        <a:pt x="355" y="260"/>
                      </a:lnTo>
                      <a:lnTo>
                        <a:pt x="333" y="259"/>
                      </a:lnTo>
                      <a:close/>
                      <a:moveTo>
                        <a:pt x="172" y="54"/>
                      </a:moveTo>
                      <a:lnTo>
                        <a:pt x="138" y="131"/>
                      </a:lnTo>
                      <a:lnTo>
                        <a:pt x="158" y="141"/>
                      </a:lnTo>
                      <a:lnTo>
                        <a:pt x="178" y="146"/>
                      </a:lnTo>
                      <a:lnTo>
                        <a:pt x="197" y="146"/>
                      </a:lnTo>
                      <a:lnTo>
                        <a:pt x="215" y="140"/>
                      </a:lnTo>
                      <a:lnTo>
                        <a:pt x="230" y="130"/>
                      </a:lnTo>
                      <a:lnTo>
                        <a:pt x="243" y="115"/>
                      </a:lnTo>
                      <a:lnTo>
                        <a:pt x="172" y="54"/>
                      </a:lnTo>
                      <a:close/>
                      <a:moveTo>
                        <a:pt x="158" y="0"/>
                      </a:moveTo>
                      <a:lnTo>
                        <a:pt x="730" y="486"/>
                      </a:lnTo>
                      <a:lnTo>
                        <a:pt x="573" y="840"/>
                      </a:lnTo>
                      <a:lnTo>
                        <a:pt x="0" y="354"/>
                      </a:lnTo>
                      <a:lnTo>
                        <a:pt x="15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45" name="Freeform 147">
                  <a:extLst>
                    <a:ext uri="{FF2B5EF4-FFF2-40B4-BE49-F238E27FC236}">
                      <a16:creationId xmlns:a16="http://schemas.microsoft.com/office/drawing/2014/main" id="{E67806A9-A4D8-44C6-B32D-D3F532304FC7}"/>
                    </a:ext>
                  </a:extLst>
                </p:cNvPr>
                <p:cNvSpPr>
                  <a:spLocks noEditPoints="1"/>
                </p:cNvSpPr>
                <p:nvPr/>
              </p:nvSpPr>
              <p:spPr bwMode="auto">
                <a:xfrm>
                  <a:off x="3506" y="2349"/>
                  <a:ext cx="32" cy="41"/>
                </a:xfrm>
                <a:custGeom>
                  <a:avLst/>
                  <a:gdLst>
                    <a:gd name="T0" fmla="*/ 69 w 159"/>
                    <a:gd name="T1" fmla="*/ 157 h 208"/>
                    <a:gd name="T2" fmla="*/ 81 w 159"/>
                    <a:gd name="T3" fmla="*/ 161 h 208"/>
                    <a:gd name="T4" fmla="*/ 87 w 159"/>
                    <a:gd name="T5" fmla="*/ 156 h 208"/>
                    <a:gd name="T6" fmla="*/ 89 w 159"/>
                    <a:gd name="T7" fmla="*/ 151 h 208"/>
                    <a:gd name="T8" fmla="*/ 88 w 159"/>
                    <a:gd name="T9" fmla="*/ 143 h 208"/>
                    <a:gd name="T10" fmla="*/ 85 w 159"/>
                    <a:gd name="T11" fmla="*/ 135 h 208"/>
                    <a:gd name="T12" fmla="*/ 81 w 159"/>
                    <a:gd name="T13" fmla="*/ 44 h 208"/>
                    <a:gd name="T14" fmla="*/ 76 w 159"/>
                    <a:gd name="T15" fmla="*/ 46 h 208"/>
                    <a:gd name="T16" fmla="*/ 73 w 159"/>
                    <a:gd name="T17" fmla="*/ 55 h 208"/>
                    <a:gd name="T18" fmla="*/ 75 w 159"/>
                    <a:gd name="T19" fmla="*/ 64 h 208"/>
                    <a:gd name="T20" fmla="*/ 80 w 159"/>
                    <a:gd name="T21" fmla="*/ 74 h 208"/>
                    <a:gd name="T22" fmla="*/ 88 w 159"/>
                    <a:gd name="T23" fmla="*/ 45 h 208"/>
                    <a:gd name="T24" fmla="*/ 81 w 159"/>
                    <a:gd name="T25" fmla="*/ 44 h 208"/>
                    <a:gd name="T26" fmla="*/ 131 w 159"/>
                    <a:gd name="T27" fmla="*/ 17 h 208"/>
                    <a:gd name="T28" fmla="*/ 142 w 159"/>
                    <a:gd name="T29" fmla="*/ 55 h 208"/>
                    <a:gd name="T30" fmla="*/ 159 w 159"/>
                    <a:gd name="T31" fmla="*/ 80 h 208"/>
                    <a:gd name="T32" fmla="*/ 136 w 159"/>
                    <a:gd name="T33" fmla="*/ 94 h 208"/>
                    <a:gd name="T34" fmla="*/ 111 w 159"/>
                    <a:gd name="T35" fmla="*/ 62 h 208"/>
                    <a:gd name="T36" fmla="*/ 100 w 159"/>
                    <a:gd name="T37" fmla="*/ 105 h 208"/>
                    <a:gd name="T38" fmla="*/ 117 w 159"/>
                    <a:gd name="T39" fmla="*/ 135 h 208"/>
                    <a:gd name="T40" fmla="*/ 122 w 159"/>
                    <a:gd name="T41" fmla="*/ 163 h 208"/>
                    <a:gd name="T42" fmla="*/ 112 w 159"/>
                    <a:gd name="T43" fmla="*/ 188 h 208"/>
                    <a:gd name="T44" fmla="*/ 93 w 159"/>
                    <a:gd name="T45" fmla="*/ 197 h 208"/>
                    <a:gd name="T46" fmla="*/ 70 w 159"/>
                    <a:gd name="T47" fmla="*/ 192 h 208"/>
                    <a:gd name="T48" fmla="*/ 47 w 159"/>
                    <a:gd name="T49" fmla="*/ 208 h 208"/>
                    <a:gd name="T50" fmla="*/ 38 w 159"/>
                    <a:gd name="T51" fmla="*/ 169 h 208"/>
                    <a:gd name="T52" fmla="*/ 1 w 159"/>
                    <a:gd name="T53" fmla="*/ 125 h 208"/>
                    <a:gd name="T54" fmla="*/ 13 w 159"/>
                    <a:gd name="T55" fmla="*/ 94 h 208"/>
                    <a:gd name="T56" fmla="*/ 32 w 159"/>
                    <a:gd name="T57" fmla="*/ 124 h 208"/>
                    <a:gd name="T58" fmla="*/ 49 w 159"/>
                    <a:gd name="T59" fmla="*/ 142 h 208"/>
                    <a:gd name="T60" fmla="*/ 60 w 159"/>
                    <a:gd name="T61" fmla="*/ 96 h 208"/>
                    <a:gd name="T62" fmla="*/ 42 w 159"/>
                    <a:gd name="T63" fmla="*/ 57 h 208"/>
                    <a:gd name="T64" fmla="*/ 45 w 159"/>
                    <a:gd name="T65" fmla="*/ 24 h 208"/>
                    <a:gd name="T66" fmla="*/ 59 w 159"/>
                    <a:gd name="T67" fmla="*/ 9 h 208"/>
                    <a:gd name="T68" fmla="*/ 86 w 159"/>
                    <a:gd name="T69" fmla="*/ 9 h 208"/>
                    <a:gd name="T70" fmla="*/ 112 w 159"/>
                    <a:gd name="T71" fmla="*/ 0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59" h="208">
                      <a:moveTo>
                        <a:pt x="81" y="129"/>
                      </a:moveTo>
                      <a:lnTo>
                        <a:pt x="69" y="157"/>
                      </a:lnTo>
                      <a:lnTo>
                        <a:pt x="76" y="160"/>
                      </a:lnTo>
                      <a:lnTo>
                        <a:pt x="81" y="161"/>
                      </a:lnTo>
                      <a:lnTo>
                        <a:pt x="85" y="158"/>
                      </a:lnTo>
                      <a:lnTo>
                        <a:pt x="87" y="156"/>
                      </a:lnTo>
                      <a:lnTo>
                        <a:pt x="88" y="155"/>
                      </a:lnTo>
                      <a:lnTo>
                        <a:pt x="89" y="151"/>
                      </a:lnTo>
                      <a:lnTo>
                        <a:pt x="89" y="146"/>
                      </a:lnTo>
                      <a:lnTo>
                        <a:pt x="88" y="143"/>
                      </a:lnTo>
                      <a:lnTo>
                        <a:pt x="87" y="139"/>
                      </a:lnTo>
                      <a:lnTo>
                        <a:pt x="85" y="135"/>
                      </a:lnTo>
                      <a:lnTo>
                        <a:pt x="81" y="129"/>
                      </a:lnTo>
                      <a:close/>
                      <a:moveTo>
                        <a:pt x="81" y="44"/>
                      </a:moveTo>
                      <a:lnTo>
                        <a:pt x="79" y="44"/>
                      </a:lnTo>
                      <a:lnTo>
                        <a:pt x="76" y="46"/>
                      </a:lnTo>
                      <a:lnTo>
                        <a:pt x="75" y="49"/>
                      </a:lnTo>
                      <a:lnTo>
                        <a:pt x="73" y="55"/>
                      </a:lnTo>
                      <a:lnTo>
                        <a:pt x="74" y="60"/>
                      </a:lnTo>
                      <a:lnTo>
                        <a:pt x="75" y="64"/>
                      </a:lnTo>
                      <a:lnTo>
                        <a:pt x="76" y="68"/>
                      </a:lnTo>
                      <a:lnTo>
                        <a:pt x="80" y="74"/>
                      </a:lnTo>
                      <a:lnTo>
                        <a:pt x="92" y="46"/>
                      </a:lnTo>
                      <a:lnTo>
                        <a:pt x="88" y="45"/>
                      </a:lnTo>
                      <a:lnTo>
                        <a:pt x="85" y="44"/>
                      </a:lnTo>
                      <a:lnTo>
                        <a:pt x="81" y="44"/>
                      </a:lnTo>
                      <a:close/>
                      <a:moveTo>
                        <a:pt x="112" y="0"/>
                      </a:moveTo>
                      <a:lnTo>
                        <a:pt x="131" y="17"/>
                      </a:lnTo>
                      <a:lnTo>
                        <a:pt x="123" y="35"/>
                      </a:lnTo>
                      <a:lnTo>
                        <a:pt x="142" y="55"/>
                      </a:lnTo>
                      <a:lnTo>
                        <a:pt x="157" y="76"/>
                      </a:lnTo>
                      <a:lnTo>
                        <a:pt x="159" y="80"/>
                      </a:lnTo>
                      <a:lnTo>
                        <a:pt x="138" y="98"/>
                      </a:lnTo>
                      <a:lnTo>
                        <a:pt x="136" y="94"/>
                      </a:lnTo>
                      <a:lnTo>
                        <a:pt x="124" y="76"/>
                      </a:lnTo>
                      <a:lnTo>
                        <a:pt x="111" y="62"/>
                      </a:lnTo>
                      <a:lnTo>
                        <a:pt x="95" y="98"/>
                      </a:lnTo>
                      <a:lnTo>
                        <a:pt x="100" y="105"/>
                      </a:lnTo>
                      <a:lnTo>
                        <a:pt x="110" y="121"/>
                      </a:lnTo>
                      <a:lnTo>
                        <a:pt x="117" y="135"/>
                      </a:lnTo>
                      <a:lnTo>
                        <a:pt x="120" y="146"/>
                      </a:lnTo>
                      <a:lnTo>
                        <a:pt x="122" y="163"/>
                      </a:lnTo>
                      <a:lnTo>
                        <a:pt x="118" y="177"/>
                      </a:lnTo>
                      <a:lnTo>
                        <a:pt x="112" y="188"/>
                      </a:lnTo>
                      <a:lnTo>
                        <a:pt x="104" y="194"/>
                      </a:lnTo>
                      <a:lnTo>
                        <a:pt x="93" y="197"/>
                      </a:lnTo>
                      <a:lnTo>
                        <a:pt x="82" y="195"/>
                      </a:lnTo>
                      <a:lnTo>
                        <a:pt x="70" y="192"/>
                      </a:lnTo>
                      <a:lnTo>
                        <a:pt x="57" y="183"/>
                      </a:lnTo>
                      <a:lnTo>
                        <a:pt x="47" y="208"/>
                      </a:lnTo>
                      <a:lnTo>
                        <a:pt x="28" y="192"/>
                      </a:lnTo>
                      <a:lnTo>
                        <a:pt x="38" y="169"/>
                      </a:lnTo>
                      <a:lnTo>
                        <a:pt x="17" y="148"/>
                      </a:lnTo>
                      <a:lnTo>
                        <a:pt x="1" y="125"/>
                      </a:lnTo>
                      <a:lnTo>
                        <a:pt x="0" y="124"/>
                      </a:lnTo>
                      <a:lnTo>
                        <a:pt x="13" y="94"/>
                      </a:lnTo>
                      <a:lnTo>
                        <a:pt x="16" y="99"/>
                      </a:lnTo>
                      <a:lnTo>
                        <a:pt x="32" y="124"/>
                      </a:lnTo>
                      <a:lnTo>
                        <a:pt x="42" y="133"/>
                      </a:lnTo>
                      <a:lnTo>
                        <a:pt x="49" y="142"/>
                      </a:lnTo>
                      <a:lnTo>
                        <a:pt x="66" y="105"/>
                      </a:lnTo>
                      <a:lnTo>
                        <a:pt x="60" y="96"/>
                      </a:lnTo>
                      <a:lnTo>
                        <a:pt x="48" y="76"/>
                      </a:lnTo>
                      <a:lnTo>
                        <a:pt x="42" y="57"/>
                      </a:lnTo>
                      <a:lnTo>
                        <a:pt x="41" y="40"/>
                      </a:lnTo>
                      <a:lnTo>
                        <a:pt x="45" y="24"/>
                      </a:lnTo>
                      <a:lnTo>
                        <a:pt x="51" y="14"/>
                      </a:lnTo>
                      <a:lnTo>
                        <a:pt x="59" y="9"/>
                      </a:lnTo>
                      <a:lnTo>
                        <a:pt x="69" y="7"/>
                      </a:lnTo>
                      <a:lnTo>
                        <a:pt x="86" y="9"/>
                      </a:lnTo>
                      <a:lnTo>
                        <a:pt x="104" y="19"/>
                      </a:lnTo>
                      <a:lnTo>
                        <a:pt x="11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grpSp>
        </p:grpSp>
        <p:grpSp>
          <p:nvGrpSpPr>
            <p:cNvPr id="16" name="Group 43">
              <a:extLst>
                <a:ext uri="{FF2B5EF4-FFF2-40B4-BE49-F238E27FC236}">
                  <a16:creationId xmlns:a16="http://schemas.microsoft.com/office/drawing/2014/main" id="{3826175D-833F-43A1-9F01-A2AF2962FC37}"/>
                </a:ext>
              </a:extLst>
            </p:cNvPr>
            <p:cNvGrpSpPr/>
            <p:nvPr/>
          </p:nvGrpSpPr>
          <p:grpSpPr>
            <a:xfrm>
              <a:off x="7445667" y="4784415"/>
              <a:ext cx="776487" cy="775219"/>
              <a:chOff x="7445667" y="4784415"/>
              <a:chExt cx="776487" cy="775219"/>
            </a:xfrm>
          </p:grpSpPr>
          <p:sp>
            <p:nvSpPr>
              <p:cNvPr id="25" name="Oval 13">
                <a:extLst>
                  <a:ext uri="{FF2B5EF4-FFF2-40B4-BE49-F238E27FC236}">
                    <a16:creationId xmlns:a16="http://schemas.microsoft.com/office/drawing/2014/main" id="{66A8D640-2B60-4F07-B5EA-D033397A3BC1}"/>
                  </a:ext>
                </a:extLst>
              </p:cNvPr>
              <p:cNvSpPr>
                <a:spLocks noChangeArrowheads="1"/>
              </p:cNvSpPr>
              <p:nvPr/>
            </p:nvSpPr>
            <p:spPr bwMode="auto">
              <a:xfrm>
                <a:off x="7445667" y="4784415"/>
                <a:ext cx="776487" cy="775219"/>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grpSp>
            <p:nvGrpSpPr>
              <p:cNvPr id="26" name="Group 192">
                <a:extLst>
                  <a:ext uri="{FF2B5EF4-FFF2-40B4-BE49-F238E27FC236}">
                    <a16:creationId xmlns:a16="http://schemas.microsoft.com/office/drawing/2014/main" id="{E5D0D06B-9688-4C1C-9B1C-BE49A97E9FBA}"/>
                  </a:ext>
                </a:extLst>
              </p:cNvPr>
              <p:cNvGrpSpPr>
                <a:grpSpLocks noChangeAspect="1"/>
              </p:cNvGrpSpPr>
              <p:nvPr/>
            </p:nvGrpSpPr>
            <p:grpSpPr bwMode="auto">
              <a:xfrm>
                <a:off x="7615478" y="5015274"/>
                <a:ext cx="436865" cy="313500"/>
                <a:chOff x="4283" y="2577"/>
                <a:chExt cx="3134" cy="2249"/>
              </a:xfrm>
              <a:solidFill>
                <a:schemeClr val="bg1"/>
              </a:solidFill>
            </p:grpSpPr>
            <p:sp>
              <p:nvSpPr>
                <p:cNvPr id="27" name="Freeform 194">
                  <a:extLst>
                    <a:ext uri="{FF2B5EF4-FFF2-40B4-BE49-F238E27FC236}">
                      <a16:creationId xmlns:a16="http://schemas.microsoft.com/office/drawing/2014/main" id="{9DB51A93-93DC-4137-84FE-6876A9B5BCD3}"/>
                    </a:ext>
                  </a:extLst>
                </p:cNvPr>
                <p:cNvSpPr>
                  <a:spLocks/>
                </p:cNvSpPr>
                <p:nvPr/>
              </p:nvSpPr>
              <p:spPr bwMode="auto">
                <a:xfrm>
                  <a:off x="4718" y="2723"/>
                  <a:ext cx="958" cy="1276"/>
                </a:xfrm>
                <a:custGeom>
                  <a:avLst/>
                  <a:gdLst>
                    <a:gd name="T0" fmla="*/ 1134 w 1917"/>
                    <a:gd name="T1" fmla="*/ 13 h 2554"/>
                    <a:gd name="T2" fmla="*/ 1314 w 1917"/>
                    <a:gd name="T3" fmla="*/ 74 h 2554"/>
                    <a:gd name="T4" fmla="*/ 1459 w 1917"/>
                    <a:gd name="T5" fmla="*/ 164 h 2554"/>
                    <a:gd name="T6" fmla="*/ 1548 w 1917"/>
                    <a:gd name="T7" fmla="*/ 253 h 2554"/>
                    <a:gd name="T8" fmla="*/ 1586 w 1917"/>
                    <a:gd name="T9" fmla="*/ 306 h 2554"/>
                    <a:gd name="T10" fmla="*/ 1598 w 1917"/>
                    <a:gd name="T11" fmla="*/ 312 h 2554"/>
                    <a:gd name="T12" fmla="*/ 1634 w 1917"/>
                    <a:gd name="T13" fmla="*/ 321 h 2554"/>
                    <a:gd name="T14" fmla="*/ 1687 w 1917"/>
                    <a:gd name="T15" fmla="*/ 350 h 2554"/>
                    <a:gd name="T16" fmla="*/ 1750 w 1917"/>
                    <a:gd name="T17" fmla="*/ 407 h 2554"/>
                    <a:gd name="T18" fmla="*/ 1807 w 1917"/>
                    <a:gd name="T19" fmla="*/ 500 h 2554"/>
                    <a:gd name="T20" fmla="*/ 1849 w 1917"/>
                    <a:gd name="T21" fmla="*/ 639 h 2554"/>
                    <a:gd name="T22" fmla="*/ 1862 w 1917"/>
                    <a:gd name="T23" fmla="*/ 835 h 2554"/>
                    <a:gd name="T24" fmla="*/ 1835 w 1917"/>
                    <a:gd name="T25" fmla="*/ 1097 h 2554"/>
                    <a:gd name="T26" fmla="*/ 1822 w 1917"/>
                    <a:gd name="T27" fmla="*/ 1217 h 2554"/>
                    <a:gd name="T28" fmla="*/ 1872 w 1917"/>
                    <a:gd name="T29" fmla="*/ 1230 h 2554"/>
                    <a:gd name="T30" fmla="*/ 1908 w 1917"/>
                    <a:gd name="T31" fmla="*/ 1280 h 2554"/>
                    <a:gd name="T32" fmla="*/ 1915 w 1917"/>
                    <a:gd name="T33" fmla="*/ 1380 h 2554"/>
                    <a:gd name="T34" fmla="*/ 1883 w 1917"/>
                    <a:gd name="T35" fmla="*/ 1546 h 2554"/>
                    <a:gd name="T36" fmla="*/ 1816 w 1917"/>
                    <a:gd name="T37" fmla="*/ 1726 h 2554"/>
                    <a:gd name="T38" fmla="*/ 1757 w 1917"/>
                    <a:gd name="T39" fmla="*/ 1808 h 2554"/>
                    <a:gd name="T40" fmla="*/ 1710 w 1917"/>
                    <a:gd name="T41" fmla="*/ 1888 h 2554"/>
                    <a:gd name="T42" fmla="*/ 1632 w 1917"/>
                    <a:gd name="T43" fmla="*/ 2092 h 2554"/>
                    <a:gd name="T44" fmla="*/ 1497 w 1917"/>
                    <a:gd name="T45" fmla="*/ 2284 h 2554"/>
                    <a:gd name="T46" fmla="*/ 1312 w 1917"/>
                    <a:gd name="T47" fmla="*/ 2443 h 2554"/>
                    <a:gd name="T48" fmla="*/ 1096 w 1917"/>
                    <a:gd name="T49" fmla="*/ 2536 h 2554"/>
                    <a:gd name="T50" fmla="*/ 888 w 1917"/>
                    <a:gd name="T51" fmla="*/ 2550 h 2554"/>
                    <a:gd name="T52" fmla="*/ 673 w 1917"/>
                    <a:gd name="T53" fmla="*/ 2485 h 2554"/>
                    <a:gd name="T54" fmla="*/ 472 w 1917"/>
                    <a:gd name="T55" fmla="*/ 2344 h 2554"/>
                    <a:gd name="T56" fmla="*/ 322 w 1917"/>
                    <a:gd name="T57" fmla="*/ 2160 h 2554"/>
                    <a:gd name="T58" fmla="*/ 226 w 1917"/>
                    <a:gd name="T59" fmla="*/ 1957 h 2554"/>
                    <a:gd name="T60" fmla="*/ 177 w 1917"/>
                    <a:gd name="T61" fmla="*/ 1822 h 2554"/>
                    <a:gd name="T62" fmla="*/ 120 w 1917"/>
                    <a:gd name="T63" fmla="*/ 1766 h 2554"/>
                    <a:gd name="T64" fmla="*/ 57 w 1917"/>
                    <a:gd name="T65" fmla="*/ 1620 h 2554"/>
                    <a:gd name="T66" fmla="*/ 8 w 1917"/>
                    <a:gd name="T67" fmla="*/ 1428 h 2554"/>
                    <a:gd name="T68" fmla="*/ 4 w 1917"/>
                    <a:gd name="T69" fmla="*/ 1308 h 2554"/>
                    <a:gd name="T70" fmla="*/ 32 w 1917"/>
                    <a:gd name="T71" fmla="*/ 1244 h 2554"/>
                    <a:gd name="T72" fmla="*/ 78 w 1917"/>
                    <a:gd name="T73" fmla="*/ 1219 h 2554"/>
                    <a:gd name="T74" fmla="*/ 95 w 1917"/>
                    <a:gd name="T75" fmla="*/ 1156 h 2554"/>
                    <a:gd name="T76" fmla="*/ 61 w 1917"/>
                    <a:gd name="T77" fmla="*/ 935 h 2554"/>
                    <a:gd name="T78" fmla="*/ 80 w 1917"/>
                    <a:gd name="T79" fmla="*/ 709 h 2554"/>
                    <a:gd name="T80" fmla="*/ 169 w 1917"/>
                    <a:gd name="T81" fmla="*/ 489 h 2554"/>
                    <a:gd name="T82" fmla="*/ 306 w 1917"/>
                    <a:gd name="T83" fmla="*/ 314 h 2554"/>
                    <a:gd name="T84" fmla="*/ 514 w 1917"/>
                    <a:gd name="T85" fmla="*/ 141 h 2554"/>
                    <a:gd name="T86" fmla="*/ 717 w 1917"/>
                    <a:gd name="T87" fmla="*/ 38 h 2554"/>
                    <a:gd name="T88" fmla="*/ 902 w 1917"/>
                    <a:gd name="T89" fmla="*/ 4 h 25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917" h="2554">
                      <a:moveTo>
                        <a:pt x="983" y="0"/>
                      </a:moveTo>
                      <a:lnTo>
                        <a:pt x="1061" y="4"/>
                      </a:lnTo>
                      <a:lnTo>
                        <a:pt x="1134" y="13"/>
                      </a:lnTo>
                      <a:lnTo>
                        <a:pt x="1198" y="29"/>
                      </a:lnTo>
                      <a:lnTo>
                        <a:pt x="1259" y="49"/>
                      </a:lnTo>
                      <a:lnTo>
                        <a:pt x="1314" y="74"/>
                      </a:lnTo>
                      <a:lnTo>
                        <a:pt x="1364" y="101"/>
                      </a:lnTo>
                      <a:lnTo>
                        <a:pt x="1415" y="131"/>
                      </a:lnTo>
                      <a:lnTo>
                        <a:pt x="1459" y="164"/>
                      </a:lnTo>
                      <a:lnTo>
                        <a:pt x="1495" y="196"/>
                      </a:lnTo>
                      <a:lnTo>
                        <a:pt x="1525" y="224"/>
                      </a:lnTo>
                      <a:lnTo>
                        <a:pt x="1548" y="253"/>
                      </a:lnTo>
                      <a:lnTo>
                        <a:pt x="1567" y="276"/>
                      </a:lnTo>
                      <a:lnTo>
                        <a:pt x="1579" y="295"/>
                      </a:lnTo>
                      <a:lnTo>
                        <a:pt x="1586" y="306"/>
                      </a:lnTo>
                      <a:lnTo>
                        <a:pt x="1588" y="310"/>
                      </a:lnTo>
                      <a:lnTo>
                        <a:pt x="1590" y="310"/>
                      </a:lnTo>
                      <a:lnTo>
                        <a:pt x="1598" y="312"/>
                      </a:lnTo>
                      <a:lnTo>
                        <a:pt x="1605" y="314"/>
                      </a:lnTo>
                      <a:lnTo>
                        <a:pt x="1619" y="316"/>
                      </a:lnTo>
                      <a:lnTo>
                        <a:pt x="1634" y="321"/>
                      </a:lnTo>
                      <a:lnTo>
                        <a:pt x="1649" y="329"/>
                      </a:lnTo>
                      <a:lnTo>
                        <a:pt x="1668" y="338"/>
                      </a:lnTo>
                      <a:lnTo>
                        <a:pt x="1687" y="350"/>
                      </a:lnTo>
                      <a:lnTo>
                        <a:pt x="1708" y="365"/>
                      </a:lnTo>
                      <a:lnTo>
                        <a:pt x="1729" y="384"/>
                      </a:lnTo>
                      <a:lnTo>
                        <a:pt x="1750" y="407"/>
                      </a:lnTo>
                      <a:lnTo>
                        <a:pt x="1771" y="432"/>
                      </a:lnTo>
                      <a:lnTo>
                        <a:pt x="1790" y="464"/>
                      </a:lnTo>
                      <a:lnTo>
                        <a:pt x="1807" y="500"/>
                      </a:lnTo>
                      <a:lnTo>
                        <a:pt x="1824" y="540"/>
                      </a:lnTo>
                      <a:lnTo>
                        <a:pt x="1837" y="588"/>
                      </a:lnTo>
                      <a:lnTo>
                        <a:pt x="1849" y="639"/>
                      </a:lnTo>
                      <a:lnTo>
                        <a:pt x="1856" y="698"/>
                      </a:lnTo>
                      <a:lnTo>
                        <a:pt x="1862" y="762"/>
                      </a:lnTo>
                      <a:lnTo>
                        <a:pt x="1862" y="835"/>
                      </a:lnTo>
                      <a:lnTo>
                        <a:pt x="1858" y="915"/>
                      </a:lnTo>
                      <a:lnTo>
                        <a:pt x="1851" y="1002"/>
                      </a:lnTo>
                      <a:lnTo>
                        <a:pt x="1835" y="1097"/>
                      </a:lnTo>
                      <a:lnTo>
                        <a:pt x="1822" y="1156"/>
                      </a:lnTo>
                      <a:lnTo>
                        <a:pt x="1805" y="1217"/>
                      </a:lnTo>
                      <a:lnTo>
                        <a:pt x="1822" y="1217"/>
                      </a:lnTo>
                      <a:lnTo>
                        <a:pt x="1839" y="1217"/>
                      </a:lnTo>
                      <a:lnTo>
                        <a:pt x="1856" y="1223"/>
                      </a:lnTo>
                      <a:lnTo>
                        <a:pt x="1872" y="1230"/>
                      </a:lnTo>
                      <a:lnTo>
                        <a:pt x="1885" y="1242"/>
                      </a:lnTo>
                      <a:lnTo>
                        <a:pt x="1898" y="1259"/>
                      </a:lnTo>
                      <a:lnTo>
                        <a:pt x="1908" y="1280"/>
                      </a:lnTo>
                      <a:lnTo>
                        <a:pt x="1913" y="1306"/>
                      </a:lnTo>
                      <a:lnTo>
                        <a:pt x="1917" y="1340"/>
                      </a:lnTo>
                      <a:lnTo>
                        <a:pt x="1915" y="1380"/>
                      </a:lnTo>
                      <a:lnTo>
                        <a:pt x="1910" y="1428"/>
                      </a:lnTo>
                      <a:lnTo>
                        <a:pt x="1900" y="1483"/>
                      </a:lnTo>
                      <a:lnTo>
                        <a:pt x="1883" y="1546"/>
                      </a:lnTo>
                      <a:lnTo>
                        <a:pt x="1860" y="1620"/>
                      </a:lnTo>
                      <a:lnTo>
                        <a:pt x="1839" y="1679"/>
                      </a:lnTo>
                      <a:lnTo>
                        <a:pt x="1816" y="1726"/>
                      </a:lnTo>
                      <a:lnTo>
                        <a:pt x="1795" y="1765"/>
                      </a:lnTo>
                      <a:lnTo>
                        <a:pt x="1776" y="1791"/>
                      </a:lnTo>
                      <a:lnTo>
                        <a:pt x="1757" y="1808"/>
                      </a:lnTo>
                      <a:lnTo>
                        <a:pt x="1740" y="1820"/>
                      </a:lnTo>
                      <a:lnTo>
                        <a:pt x="1723" y="1823"/>
                      </a:lnTo>
                      <a:lnTo>
                        <a:pt x="1710" y="1888"/>
                      </a:lnTo>
                      <a:lnTo>
                        <a:pt x="1691" y="1957"/>
                      </a:lnTo>
                      <a:lnTo>
                        <a:pt x="1664" y="2023"/>
                      </a:lnTo>
                      <a:lnTo>
                        <a:pt x="1632" y="2092"/>
                      </a:lnTo>
                      <a:lnTo>
                        <a:pt x="1592" y="2158"/>
                      </a:lnTo>
                      <a:lnTo>
                        <a:pt x="1548" y="2223"/>
                      </a:lnTo>
                      <a:lnTo>
                        <a:pt x="1497" y="2284"/>
                      </a:lnTo>
                      <a:lnTo>
                        <a:pt x="1440" y="2343"/>
                      </a:lnTo>
                      <a:lnTo>
                        <a:pt x="1379" y="2396"/>
                      </a:lnTo>
                      <a:lnTo>
                        <a:pt x="1312" y="2443"/>
                      </a:lnTo>
                      <a:lnTo>
                        <a:pt x="1240" y="2483"/>
                      </a:lnTo>
                      <a:lnTo>
                        <a:pt x="1162" y="2517"/>
                      </a:lnTo>
                      <a:lnTo>
                        <a:pt x="1096" y="2536"/>
                      </a:lnTo>
                      <a:lnTo>
                        <a:pt x="1027" y="2550"/>
                      </a:lnTo>
                      <a:lnTo>
                        <a:pt x="957" y="2554"/>
                      </a:lnTo>
                      <a:lnTo>
                        <a:pt x="888" y="2550"/>
                      </a:lnTo>
                      <a:lnTo>
                        <a:pt x="820" y="2536"/>
                      </a:lnTo>
                      <a:lnTo>
                        <a:pt x="753" y="2517"/>
                      </a:lnTo>
                      <a:lnTo>
                        <a:pt x="673" y="2485"/>
                      </a:lnTo>
                      <a:lnTo>
                        <a:pt x="601" y="2445"/>
                      </a:lnTo>
                      <a:lnTo>
                        <a:pt x="535" y="2398"/>
                      </a:lnTo>
                      <a:lnTo>
                        <a:pt x="472" y="2344"/>
                      </a:lnTo>
                      <a:lnTo>
                        <a:pt x="417" y="2285"/>
                      </a:lnTo>
                      <a:lnTo>
                        <a:pt x="365" y="2225"/>
                      </a:lnTo>
                      <a:lnTo>
                        <a:pt x="322" y="2160"/>
                      </a:lnTo>
                      <a:lnTo>
                        <a:pt x="284" y="2093"/>
                      </a:lnTo>
                      <a:lnTo>
                        <a:pt x="251" y="2025"/>
                      </a:lnTo>
                      <a:lnTo>
                        <a:pt x="226" y="1957"/>
                      </a:lnTo>
                      <a:lnTo>
                        <a:pt x="206" y="1890"/>
                      </a:lnTo>
                      <a:lnTo>
                        <a:pt x="192" y="1825"/>
                      </a:lnTo>
                      <a:lnTo>
                        <a:pt x="177" y="1822"/>
                      </a:lnTo>
                      <a:lnTo>
                        <a:pt x="158" y="1810"/>
                      </a:lnTo>
                      <a:lnTo>
                        <a:pt x="139" y="1793"/>
                      </a:lnTo>
                      <a:lnTo>
                        <a:pt x="120" y="1766"/>
                      </a:lnTo>
                      <a:lnTo>
                        <a:pt x="99" y="1728"/>
                      </a:lnTo>
                      <a:lnTo>
                        <a:pt x="78" y="1681"/>
                      </a:lnTo>
                      <a:lnTo>
                        <a:pt x="57" y="1620"/>
                      </a:lnTo>
                      <a:lnTo>
                        <a:pt x="34" y="1546"/>
                      </a:lnTo>
                      <a:lnTo>
                        <a:pt x="17" y="1483"/>
                      </a:lnTo>
                      <a:lnTo>
                        <a:pt x="8" y="1428"/>
                      </a:lnTo>
                      <a:lnTo>
                        <a:pt x="2" y="1380"/>
                      </a:lnTo>
                      <a:lnTo>
                        <a:pt x="0" y="1340"/>
                      </a:lnTo>
                      <a:lnTo>
                        <a:pt x="4" y="1308"/>
                      </a:lnTo>
                      <a:lnTo>
                        <a:pt x="10" y="1280"/>
                      </a:lnTo>
                      <a:lnTo>
                        <a:pt x="19" y="1259"/>
                      </a:lnTo>
                      <a:lnTo>
                        <a:pt x="32" y="1244"/>
                      </a:lnTo>
                      <a:lnTo>
                        <a:pt x="46" y="1230"/>
                      </a:lnTo>
                      <a:lnTo>
                        <a:pt x="63" y="1223"/>
                      </a:lnTo>
                      <a:lnTo>
                        <a:pt x="78" y="1219"/>
                      </a:lnTo>
                      <a:lnTo>
                        <a:pt x="95" y="1217"/>
                      </a:lnTo>
                      <a:lnTo>
                        <a:pt x="114" y="1217"/>
                      </a:lnTo>
                      <a:lnTo>
                        <a:pt x="95" y="1156"/>
                      </a:lnTo>
                      <a:lnTo>
                        <a:pt x="82" y="1097"/>
                      </a:lnTo>
                      <a:lnTo>
                        <a:pt x="69" y="1015"/>
                      </a:lnTo>
                      <a:lnTo>
                        <a:pt x="61" y="935"/>
                      </a:lnTo>
                      <a:lnTo>
                        <a:pt x="59" y="859"/>
                      </a:lnTo>
                      <a:lnTo>
                        <a:pt x="65" y="783"/>
                      </a:lnTo>
                      <a:lnTo>
                        <a:pt x="80" y="709"/>
                      </a:lnTo>
                      <a:lnTo>
                        <a:pt x="103" y="631"/>
                      </a:lnTo>
                      <a:lnTo>
                        <a:pt x="133" y="557"/>
                      </a:lnTo>
                      <a:lnTo>
                        <a:pt x="169" y="489"/>
                      </a:lnTo>
                      <a:lnTo>
                        <a:pt x="211" y="426"/>
                      </a:lnTo>
                      <a:lnTo>
                        <a:pt x="257" y="367"/>
                      </a:lnTo>
                      <a:lnTo>
                        <a:pt x="306" y="314"/>
                      </a:lnTo>
                      <a:lnTo>
                        <a:pt x="371" y="251"/>
                      </a:lnTo>
                      <a:lnTo>
                        <a:pt x="441" y="192"/>
                      </a:lnTo>
                      <a:lnTo>
                        <a:pt x="514" y="141"/>
                      </a:lnTo>
                      <a:lnTo>
                        <a:pt x="576" y="101"/>
                      </a:lnTo>
                      <a:lnTo>
                        <a:pt x="645" y="67"/>
                      </a:lnTo>
                      <a:lnTo>
                        <a:pt x="717" y="38"/>
                      </a:lnTo>
                      <a:lnTo>
                        <a:pt x="776" y="21"/>
                      </a:lnTo>
                      <a:lnTo>
                        <a:pt x="837" y="10"/>
                      </a:lnTo>
                      <a:lnTo>
                        <a:pt x="902" y="4"/>
                      </a:lnTo>
                      <a:lnTo>
                        <a:pt x="98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28" name="Freeform 195">
                  <a:extLst>
                    <a:ext uri="{FF2B5EF4-FFF2-40B4-BE49-F238E27FC236}">
                      <a16:creationId xmlns:a16="http://schemas.microsoft.com/office/drawing/2014/main" id="{44E806B5-7C71-4910-BC61-3E2F0A348F73}"/>
                    </a:ext>
                  </a:extLst>
                </p:cNvPr>
                <p:cNvSpPr>
                  <a:spLocks/>
                </p:cNvSpPr>
                <p:nvPr/>
              </p:nvSpPr>
              <p:spPr bwMode="auto">
                <a:xfrm>
                  <a:off x="4283" y="3981"/>
                  <a:ext cx="1831" cy="845"/>
                </a:xfrm>
                <a:custGeom>
                  <a:avLst/>
                  <a:gdLst>
                    <a:gd name="T0" fmla="*/ 1531 w 3661"/>
                    <a:gd name="T1" fmla="*/ 1090 h 1691"/>
                    <a:gd name="T2" fmla="*/ 1733 w 3661"/>
                    <a:gd name="T3" fmla="*/ 801 h 1691"/>
                    <a:gd name="T4" fmla="*/ 1653 w 3661"/>
                    <a:gd name="T5" fmla="*/ 677 h 1691"/>
                    <a:gd name="T6" fmla="*/ 1607 w 3661"/>
                    <a:gd name="T7" fmla="*/ 575 h 1691"/>
                    <a:gd name="T8" fmla="*/ 1586 w 3661"/>
                    <a:gd name="T9" fmla="*/ 493 h 1691"/>
                    <a:gd name="T10" fmla="*/ 1588 w 3661"/>
                    <a:gd name="T11" fmla="*/ 426 h 1691"/>
                    <a:gd name="T12" fmla="*/ 1607 w 3661"/>
                    <a:gd name="T13" fmla="*/ 377 h 1691"/>
                    <a:gd name="T14" fmla="*/ 1639 w 3661"/>
                    <a:gd name="T15" fmla="*/ 339 h 1691"/>
                    <a:gd name="T16" fmla="*/ 1679 w 3661"/>
                    <a:gd name="T17" fmla="*/ 314 h 1691"/>
                    <a:gd name="T18" fmla="*/ 1723 w 3661"/>
                    <a:gd name="T19" fmla="*/ 297 h 1691"/>
                    <a:gd name="T20" fmla="*/ 1765 w 3661"/>
                    <a:gd name="T21" fmla="*/ 288 h 1691"/>
                    <a:gd name="T22" fmla="*/ 1801 w 3661"/>
                    <a:gd name="T23" fmla="*/ 284 h 1691"/>
                    <a:gd name="T24" fmla="*/ 1826 w 3661"/>
                    <a:gd name="T25" fmla="*/ 282 h 1691"/>
                    <a:gd name="T26" fmla="*/ 1843 w 3661"/>
                    <a:gd name="T27" fmla="*/ 284 h 1691"/>
                    <a:gd name="T28" fmla="*/ 1873 w 3661"/>
                    <a:gd name="T29" fmla="*/ 286 h 1691"/>
                    <a:gd name="T30" fmla="*/ 1913 w 3661"/>
                    <a:gd name="T31" fmla="*/ 291 h 1691"/>
                    <a:gd name="T32" fmla="*/ 1957 w 3661"/>
                    <a:gd name="T33" fmla="*/ 305 h 1691"/>
                    <a:gd name="T34" fmla="*/ 1999 w 3661"/>
                    <a:gd name="T35" fmla="*/ 326 h 1691"/>
                    <a:gd name="T36" fmla="*/ 2037 w 3661"/>
                    <a:gd name="T37" fmla="*/ 356 h 1691"/>
                    <a:gd name="T38" fmla="*/ 2063 w 3661"/>
                    <a:gd name="T39" fmla="*/ 400 h 1691"/>
                    <a:gd name="T40" fmla="*/ 2073 w 3661"/>
                    <a:gd name="T41" fmla="*/ 457 h 1691"/>
                    <a:gd name="T42" fmla="*/ 2065 w 3661"/>
                    <a:gd name="T43" fmla="*/ 531 h 1691"/>
                    <a:gd name="T44" fmla="*/ 2031 w 3661"/>
                    <a:gd name="T45" fmla="*/ 624 h 1691"/>
                    <a:gd name="T46" fmla="*/ 1968 w 3661"/>
                    <a:gd name="T47" fmla="*/ 736 h 1691"/>
                    <a:gd name="T48" fmla="*/ 2081 w 3661"/>
                    <a:gd name="T49" fmla="*/ 1240 h 1691"/>
                    <a:gd name="T50" fmla="*/ 2472 w 3661"/>
                    <a:gd name="T51" fmla="*/ 0 h 1691"/>
                    <a:gd name="T52" fmla="*/ 2488 w 3661"/>
                    <a:gd name="T53" fmla="*/ 10 h 1691"/>
                    <a:gd name="T54" fmla="*/ 2535 w 3661"/>
                    <a:gd name="T55" fmla="*/ 38 h 1691"/>
                    <a:gd name="T56" fmla="*/ 2613 w 3661"/>
                    <a:gd name="T57" fmla="*/ 82 h 1691"/>
                    <a:gd name="T58" fmla="*/ 2718 w 3661"/>
                    <a:gd name="T59" fmla="*/ 137 h 1691"/>
                    <a:gd name="T60" fmla="*/ 2851 w 3661"/>
                    <a:gd name="T61" fmla="*/ 202 h 1691"/>
                    <a:gd name="T62" fmla="*/ 3007 w 3661"/>
                    <a:gd name="T63" fmla="*/ 272 h 1691"/>
                    <a:gd name="T64" fmla="*/ 3187 w 3661"/>
                    <a:gd name="T65" fmla="*/ 345 h 1691"/>
                    <a:gd name="T66" fmla="*/ 3334 w 3661"/>
                    <a:gd name="T67" fmla="*/ 413 h 1691"/>
                    <a:gd name="T68" fmla="*/ 3446 w 3661"/>
                    <a:gd name="T69" fmla="*/ 501 h 1691"/>
                    <a:gd name="T70" fmla="*/ 3528 w 3661"/>
                    <a:gd name="T71" fmla="*/ 605 h 1691"/>
                    <a:gd name="T72" fmla="*/ 3585 w 3661"/>
                    <a:gd name="T73" fmla="*/ 731 h 1691"/>
                    <a:gd name="T74" fmla="*/ 3621 w 3661"/>
                    <a:gd name="T75" fmla="*/ 875 h 1691"/>
                    <a:gd name="T76" fmla="*/ 3644 w 3661"/>
                    <a:gd name="T77" fmla="*/ 1044 h 1691"/>
                    <a:gd name="T78" fmla="*/ 3653 w 3661"/>
                    <a:gd name="T79" fmla="*/ 1234 h 1691"/>
                    <a:gd name="T80" fmla="*/ 3657 w 3661"/>
                    <a:gd name="T81" fmla="*/ 1449 h 1691"/>
                    <a:gd name="T82" fmla="*/ 3661 w 3661"/>
                    <a:gd name="T83" fmla="*/ 1691 h 1691"/>
                    <a:gd name="T84" fmla="*/ 2 w 3661"/>
                    <a:gd name="T85" fmla="*/ 1567 h 1691"/>
                    <a:gd name="T86" fmla="*/ 4 w 3661"/>
                    <a:gd name="T87" fmla="*/ 1339 h 1691"/>
                    <a:gd name="T88" fmla="*/ 11 w 3661"/>
                    <a:gd name="T89" fmla="*/ 1136 h 1691"/>
                    <a:gd name="T90" fmla="*/ 27 w 3661"/>
                    <a:gd name="T91" fmla="*/ 957 h 1691"/>
                    <a:gd name="T92" fmla="*/ 55 w 3661"/>
                    <a:gd name="T93" fmla="*/ 801 h 1691"/>
                    <a:gd name="T94" fmla="*/ 103 w 3661"/>
                    <a:gd name="T95" fmla="*/ 664 h 1691"/>
                    <a:gd name="T96" fmla="*/ 171 w 3661"/>
                    <a:gd name="T97" fmla="*/ 550 h 1691"/>
                    <a:gd name="T98" fmla="*/ 266 w 3661"/>
                    <a:gd name="T99" fmla="*/ 455 h 1691"/>
                    <a:gd name="T100" fmla="*/ 396 w 3661"/>
                    <a:gd name="T101" fmla="*/ 377 h 1691"/>
                    <a:gd name="T102" fmla="*/ 567 w 3661"/>
                    <a:gd name="T103" fmla="*/ 308 h 1691"/>
                    <a:gd name="T104" fmla="*/ 736 w 3661"/>
                    <a:gd name="T105" fmla="*/ 236 h 1691"/>
                    <a:gd name="T106" fmla="*/ 881 w 3661"/>
                    <a:gd name="T107" fmla="*/ 170 h 1691"/>
                    <a:gd name="T108" fmla="*/ 998 w 3661"/>
                    <a:gd name="T109" fmla="*/ 109 h 1691"/>
                    <a:gd name="T110" fmla="*/ 1090 w 3661"/>
                    <a:gd name="T111" fmla="*/ 59 h 1691"/>
                    <a:gd name="T112" fmla="*/ 1153 w 3661"/>
                    <a:gd name="T113" fmla="*/ 21 h 1691"/>
                    <a:gd name="T114" fmla="*/ 1185 w 3661"/>
                    <a:gd name="T115" fmla="*/ 2 h 16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661" h="1691">
                      <a:moveTo>
                        <a:pt x="1189" y="0"/>
                      </a:moveTo>
                      <a:lnTo>
                        <a:pt x="1531" y="1090"/>
                      </a:lnTo>
                      <a:lnTo>
                        <a:pt x="1579" y="1240"/>
                      </a:lnTo>
                      <a:lnTo>
                        <a:pt x="1733" y="801"/>
                      </a:lnTo>
                      <a:lnTo>
                        <a:pt x="1689" y="736"/>
                      </a:lnTo>
                      <a:lnTo>
                        <a:pt x="1653" y="677"/>
                      </a:lnTo>
                      <a:lnTo>
                        <a:pt x="1626" y="624"/>
                      </a:lnTo>
                      <a:lnTo>
                        <a:pt x="1607" y="575"/>
                      </a:lnTo>
                      <a:lnTo>
                        <a:pt x="1594" y="531"/>
                      </a:lnTo>
                      <a:lnTo>
                        <a:pt x="1586" y="493"/>
                      </a:lnTo>
                      <a:lnTo>
                        <a:pt x="1584" y="459"/>
                      </a:lnTo>
                      <a:lnTo>
                        <a:pt x="1588" y="426"/>
                      </a:lnTo>
                      <a:lnTo>
                        <a:pt x="1596" y="400"/>
                      </a:lnTo>
                      <a:lnTo>
                        <a:pt x="1607" y="377"/>
                      </a:lnTo>
                      <a:lnTo>
                        <a:pt x="1622" y="356"/>
                      </a:lnTo>
                      <a:lnTo>
                        <a:pt x="1639" y="339"/>
                      </a:lnTo>
                      <a:lnTo>
                        <a:pt x="1658" y="326"/>
                      </a:lnTo>
                      <a:lnTo>
                        <a:pt x="1679" y="314"/>
                      </a:lnTo>
                      <a:lnTo>
                        <a:pt x="1700" y="305"/>
                      </a:lnTo>
                      <a:lnTo>
                        <a:pt x="1723" y="297"/>
                      </a:lnTo>
                      <a:lnTo>
                        <a:pt x="1744" y="291"/>
                      </a:lnTo>
                      <a:lnTo>
                        <a:pt x="1765" y="288"/>
                      </a:lnTo>
                      <a:lnTo>
                        <a:pt x="1784" y="286"/>
                      </a:lnTo>
                      <a:lnTo>
                        <a:pt x="1801" y="284"/>
                      </a:lnTo>
                      <a:lnTo>
                        <a:pt x="1816" y="284"/>
                      </a:lnTo>
                      <a:lnTo>
                        <a:pt x="1826" y="282"/>
                      </a:lnTo>
                      <a:lnTo>
                        <a:pt x="1831" y="282"/>
                      </a:lnTo>
                      <a:lnTo>
                        <a:pt x="1843" y="284"/>
                      </a:lnTo>
                      <a:lnTo>
                        <a:pt x="1856" y="284"/>
                      </a:lnTo>
                      <a:lnTo>
                        <a:pt x="1873" y="286"/>
                      </a:lnTo>
                      <a:lnTo>
                        <a:pt x="1892" y="288"/>
                      </a:lnTo>
                      <a:lnTo>
                        <a:pt x="1913" y="291"/>
                      </a:lnTo>
                      <a:lnTo>
                        <a:pt x="1934" y="297"/>
                      </a:lnTo>
                      <a:lnTo>
                        <a:pt x="1957" y="305"/>
                      </a:lnTo>
                      <a:lnTo>
                        <a:pt x="1978" y="314"/>
                      </a:lnTo>
                      <a:lnTo>
                        <a:pt x="1999" y="326"/>
                      </a:lnTo>
                      <a:lnTo>
                        <a:pt x="2020" y="339"/>
                      </a:lnTo>
                      <a:lnTo>
                        <a:pt x="2037" y="356"/>
                      </a:lnTo>
                      <a:lnTo>
                        <a:pt x="2050" y="377"/>
                      </a:lnTo>
                      <a:lnTo>
                        <a:pt x="2063" y="400"/>
                      </a:lnTo>
                      <a:lnTo>
                        <a:pt x="2071" y="426"/>
                      </a:lnTo>
                      <a:lnTo>
                        <a:pt x="2073" y="457"/>
                      </a:lnTo>
                      <a:lnTo>
                        <a:pt x="2073" y="493"/>
                      </a:lnTo>
                      <a:lnTo>
                        <a:pt x="2065" y="531"/>
                      </a:lnTo>
                      <a:lnTo>
                        <a:pt x="2052" y="575"/>
                      </a:lnTo>
                      <a:lnTo>
                        <a:pt x="2031" y="624"/>
                      </a:lnTo>
                      <a:lnTo>
                        <a:pt x="2005" y="677"/>
                      </a:lnTo>
                      <a:lnTo>
                        <a:pt x="1968" y="736"/>
                      </a:lnTo>
                      <a:lnTo>
                        <a:pt x="1925" y="801"/>
                      </a:lnTo>
                      <a:lnTo>
                        <a:pt x="2081" y="1240"/>
                      </a:lnTo>
                      <a:lnTo>
                        <a:pt x="2128" y="1090"/>
                      </a:lnTo>
                      <a:lnTo>
                        <a:pt x="2472" y="0"/>
                      </a:lnTo>
                      <a:lnTo>
                        <a:pt x="2476" y="2"/>
                      </a:lnTo>
                      <a:lnTo>
                        <a:pt x="2488" y="10"/>
                      </a:lnTo>
                      <a:lnTo>
                        <a:pt x="2508" y="21"/>
                      </a:lnTo>
                      <a:lnTo>
                        <a:pt x="2535" y="38"/>
                      </a:lnTo>
                      <a:lnTo>
                        <a:pt x="2571" y="59"/>
                      </a:lnTo>
                      <a:lnTo>
                        <a:pt x="2613" y="82"/>
                      </a:lnTo>
                      <a:lnTo>
                        <a:pt x="2663" y="109"/>
                      </a:lnTo>
                      <a:lnTo>
                        <a:pt x="2718" y="137"/>
                      </a:lnTo>
                      <a:lnTo>
                        <a:pt x="2780" y="170"/>
                      </a:lnTo>
                      <a:lnTo>
                        <a:pt x="2851" y="202"/>
                      </a:lnTo>
                      <a:lnTo>
                        <a:pt x="2927" y="236"/>
                      </a:lnTo>
                      <a:lnTo>
                        <a:pt x="3007" y="272"/>
                      </a:lnTo>
                      <a:lnTo>
                        <a:pt x="3094" y="308"/>
                      </a:lnTo>
                      <a:lnTo>
                        <a:pt x="3187" y="345"/>
                      </a:lnTo>
                      <a:lnTo>
                        <a:pt x="3265" y="377"/>
                      </a:lnTo>
                      <a:lnTo>
                        <a:pt x="3334" y="413"/>
                      </a:lnTo>
                      <a:lnTo>
                        <a:pt x="3393" y="455"/>
                      </a:lnTo>
                      <a:lnTo>
                        <a:pt x="3446" y="501"/>
                      </a:lnTo>
                      <a:lnTo>
                        <a:pt x="3490" y="550"/>
                      </a:lnTo>
                      <a:lnTo>
                        <a:pt x="3528" y="605"/>
                      </a:lnTo>
                      <a:lnTo>
                        <a:pt x="3558" y="664"/>
                      </a:lnTo>
                      <a:lnTo>
                        <a:pt x="3585" y="731"/>
                      </a:lnTo>
                      <a:lnTo>
                        <a:pt x="3606" y="801"/>
                      </a:lnTo>
                      <a:lnTo>
                        <a:pt x="3621" y="875"/>
                      </a:lnTo>
                      <a:lnTo>
                        <a:pt x="3634" y="957"/>
                      </a:lnTo>
                      <a:lnTo>
                        <a:pt x="3644" y="1044"/>
                      </a:lnTo>
                      <a:lnTo>
                        <a:pt x="3650" y="1136"/>
                      </a:lnTo>
                      <a:lnTo>
                        <a:pt x="3653" y="1234"/>
                      </a:lnTo>
                      <a:lnTo>
                        <a:pt x="3657" y="1339"/>
                      </a:lnTo>
                      <a:lnTo>
                        <a:pt x="3657" y="1449"/>
                      </a:lnTo>
                      <a:lnTo>
                        <a:pt x="3659" y="1567"/>
                      </a:lnTo>
                      <a:lnTo>
                        <a:pt x="3661" y="1691"/>
                      </a:lnTo>
                      <a:lnTo>
                        <a:pt x="0" y="1691"/>
                      </a:lnTo>
                      <a:lnTo>
                        <a:pt x="2" y="1567"/>
                      </a:lnTo>
                      <a:lnTo>
                        <a:pt x="2" y="1449"/>
                      </a:lnTo>
                      <a:lnTo>
                        <a:pt x="4" y="1339"/>
                      </a:lnTo>
                      <a:lnTo>
                        <a:pt x="8" y="1234"/>
                      </a:lnTo>
                      <a:lnTo>
                        <a:pt x="11" y="1136"/>
                      </a:lnTo>
                      <a:lnTo>
                        <a:pt x="17" y="1044"/>
                      </a:lnTo>
                      <a:lnTo>
                        <a:pt x="27" y="957"/>
                      </a:lnTo>
                      <a:lnTo>
                        <a:pt x="38" y="875"/>
                      </a:lnTo>
                      <a:lnTo>
                        <a:pt x="55" y="801"/>
                      </a:lnTo>
                      <a:lnTo>
                        <a:pt x="76" y="731"/>
                      </a:lnTo>
                      <a:lnTo>
                        <a:pt x="103" y="664"/>
                      </a:lnTo>
                      <a:lnTo>
                        <a:pt x="133" y="605"/>
                      </a:lnTo>
                      <a:lnTo>
                        <a:pt x="171" y="550"/>
                      </a:lnTo>
                      <a:lnTo>
                        <a:pt x="215" y="501"/>
                      </a:lnTo>
                      <a:lnTo>
                        <a:pt x="266" y="455"/>
                      </a:lnTo>
                      <a:lnTo>
                        <a:pt x="327" y="413"/>
                      </a:lnTo>
                      <a:lnTo>
                        <a:pt x="396" y="377"/>
                      </a:lnTo>
                      <a:lnTo>
                        <a:pt x="474" y="345"/>
                      </a:lnTo>
                      <a:lnTo>
                        <a:pt x="567" y="308"/>
                      </a:lnTo>
                      <a:lnTo>
                        <a:pt x="654" y="272"/>
                      </a:lnTo>
                      <a:lnTo>
                        <a:pt x="736" y="236"/>
                      </a:lnTo>
                      <a:lnTo>
                        <a:pt x="810" y="202"/>
                      </a:lnTo>
                      <a:lnTo>
                        <a:pt x="881" y="170"/>
                      </a:lnTo>
                      <a:lnTo>
                        <a:pt x="943" y="137"/>
                      </a:lnTo>
                      <a:lnTo>
                        <a:pt x="998" y="109"/>
                      </a:lnTo>
                      <a:lnTo>
                        <a:pt x="1048" y="82"/>
                      </a:lnTo>
                      <a:lnTo>
                        <a:pt x="1090" y="59"/>
                      </a:lnTo>
                      <a:lnTo>
                        <a:pt x="1126" y="38"/>
                      </a:lnTo>
                      <a:lnTo>
                        <a:pt x="1153" y="21"/>
                      </a:lnTo>
                      <a:lnTo>
                        <a:pt x="1172" y="10"/>
                      </a:lnTo>
                      <a:lnTo>
                        <a:pt x="1185" y="2"/>
                      </a:lnTo>
                      <a:lnTo>
                        <a:pt x="118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29" name="Freeform 196">
                  <a:extLst>
                    <a:ext uri="{FF2B5EF4-FFF2-40B4-BE49-F238E27FC236}">
                      <a16:creationId xmlns:a16="http://schemas.microsoft.com/office/drawing/2014/main" id="{3D9B76B6-73CD-4115-B817-EC5F8F364961}"/>
                    </a:ext>
                  </a:extLst>
                </p:cNvPr>
                <p:cNvSpPr>
                  <a:spLocks/>
                </p:cNvSpPr>
                <p:nvPr/>
              </p:nvSpPr>
              <p:spPr bwMode="auto">
                <a:xfrm>
                  <a:off x="5653" y="3148"/>
                  <a:ext cx="841" cy="828"/>
                </a:xfrm>
                <a:custGeom>
                  <a:avLst/>
                  <a:gdLst>
                    <a:gd name="T0" fmla="*/ 1150 w 1681"/>
                    <a:gd name="T1" fmla="*/ 0 h 1656"/>
                    <a:gd name="T2" fmla="*/ 1259 w 1681"/>
                    <a:gd name="T3" fmla="*/ 6 h 1656"/>
                    <a:gd name="T4" fmla="*/ 1367 w 1681"/>
                    <a:gd name="T5" fmla="*/ 19 h 1656"/>
                    <a:gd name="T6" fmla="*/ 1473 w 1681"/>
                    <a:gd name="T7" fmla="*/ 44 h 1656"/>
                    <a:gd name="T8" fmla="*/ 1578 w 1681"/>
                    <a:gd name="T9" fmla="*/ 78 h 1656"/>
                    <a:gd name="T10" fmla="*/ 1681 w 1681"/>
                    <a:gd name="T11" fmla="*/ 122 h 1656"/>
                    <a:gd name="T12" fmla="*/ 1356 w 1681"/>
                    <a:gd name="T13" fmla="*/ 447 h 1656"/>
                    <a:gd name="T14" fmla="*/ 1272 w 1681"/>
                    <a:gd name="T15" fmla="*/ 430 h 1656"/>
                    <a:gd name="T16" fmla="*/ 1186 w 1681"/>
                    <a:gd name="T17" fmla="*/ 420 h 1656"/>
                    <a:gd name="T18" fmla="*/ 1101 w 1681"/>
                    <a:gd name="T19" fmla="*/ 418 h 1656"/>
                    <a:gd name="T20" fmla="*/ 1015 w 1681"/>
                    <a:gd name="T21" fmla="*/ 428 h 1656"/>
                    <a:gd name="T22" fmla="*/ 931 w 1681"/>
                    <a:gd name="T23" fmla="*/ 445 h 1656"/>
                    <a:gd name="T24" fmla="*/ 850 w 1681"/>
                    <a:gd name="T25" fmla="*/ 469 h 1656"/>
                    <a:gd name="T26" fmla="*/ 770 w 1681"/>
                    <a:gd name="T27" fmla="*/ 504 h 1656"/>
                    <a:gd name="T28" fmla="*/ 692 w 1681"/>
                    <a:gd name="T29" fmla="*/ 547 h 1656"/>
                    <a:gd name="T30" fmla="*/ 620 w 1681"/>
                    <a:gd name="T31" fmla="*/ 601 h 1656"/>
                    <a:gd name="T32" fmla="*/ 551 w 1681"/>
                    <a:gd name="T33" fmla="*/ 662 h 1656"/>
                    <a:gd name="T34" fmla="*/ 488 w 1681"/>
                    <a:gd name="T35" fmla="*/ 732 h 1656"/>
                    <a:gd name="T36" fmla="*/ 435 w 1681"/>
                    <a:gd name="T37" fmla="*/ 806 h 1656"/>
                    <a:gd name="T38" fmla="*/ 391 w 1681"/>
                    <a:gd name="T39" fmla="*/ 886 h 1656"/>
                    <a:gd name="T40" fmla="*/ 357 w 1681"/>
                    <a:gd name="T41" fmla="*/ 968 h 1656"/>
                    <a:gd name="T42" fmla="*/ 332 w 1681"/>
                    <a:gd name="T43" fmla="*/ 1053 h 1656"/>
                    <a:gd name="T44" fmla="*/ 315 w 1681"/>
                    <a:gd name="T45" fmla="*/ 1141 h 1656"/>
                    <a:gd name="T46" fmla="*/ 310 w 1681"/>
                    <a:gd name="T47" fmla="*/ 1228 h 1656"/>
                    <a:gd name="T48" fmla="*/ 311 w 1681"/>
                    <a:gd name="T49" fmla="*/ 1317 h 1656"/>
                    <a:gd name="T50" fmla="*/ 323 w 1681"/>
                    <a:gd name="T51" fmla="*/ 1405 h 1656"/>
                    <a:gd name="T52" fmla="*/ 346 w 1681"/>
                    <a:gd name="T53" fmla="*/ 1491 h 1656"/>
                    <a:gd name="T54" fmla="*/ 376 w 1681"/>
                    <a:gd name="T55" fmla="*/ 1574 h 1656"/>
                    <a:gd name="T56" fmla="*/ 416 w 1681"/>
                    <a:gd name="T57" fmla="*/ 1656 h 1656"/>
                    <a:gd name="T58" fmla="*/ 327 w 1681"/>
                    <a:gd name="T59" fmla="*/ 1618 h 1656"/>
                    <a:gd name="T60" fmla="*/ 245 w 1681"/>
                    <a:gd name="T61" fmla="*/ 1580 h 1656"/>
                    <a:gd name="T62" fmla="*/ 171 w 1681"/>
                    <a:gd name="T63" fmla="*/ 1544 h 1656"/>
                    <a:gd name="T64" fmla="*/ 106 w 1681"/>
                    <a:gd name="T65" fmla="*/ 1511 h 1656"/>
                    <a:gd name="T66" fmla="*/ 49 w 1681"/>
                    <a:gd name="T67" fmla="*/ 1481 h 1656"/>
                    <a:gd name="T68" fmla="*/ 0 w 1681"/>
                    <a:gd name="T69" fmla="*/ 1456 h 1656"/>
                    <a:gd name="T70" fmla="*/ 34 w 1681"/>
                    <a:gd name="T71" fmla="*/ 1382 h 1656"/>
                    <a:gd name="T72" fmla="*/ 66 w 1681"/>
                    <a:gd name="T73" fmla="*/ 1306 h 1656"/>
                    <a:gd name="T74" fmla="*/ 93 w 1681"/>
                    <a:gd name="T75" fmla="*/ 1224 h 1656"/>
                    <a:gd name="T76" fmla="*/ 129 w 1681"/>
                    <a:gd name="T77" fmla="*/ 1192 h 1656"/>
                    <a:gd name="T78" fmla="*/ 163 w 1681"/>
                    <a:gd name="T79" fmla="*/ 1154 h 1656"/>
                    <a:gd name="T80" fmla="*/ 197 w 1681"/>
                    <a:gd name="T81" fmla="*/ 1108 h 1656"/>
                    <a:gd name="T82" fmla="*/ 233 w 1681"/>
                    <a:gd name="T83" fmla="*/ 1046 h 1656"/>
                    <a:gd name="T84" fmla="*/ 268 w 1681"/>
                    <a:gd name="T85" fmla="*/ 973 h 1656"/>
                    <a:gd name="T86" fmla="*/ 298 w 1681"/>
                    <a:gd name="T87" fmla="*/ 890 h 1656"/>
                    <a:gd name="T88" fmla="*/ 329 w 1681"/>
                    <a:gd name="T89" fmla="*/ 793 h 1656"/>
                    <a:gd name="T90" fmla="*/ 349 w 1681"/>
                    <a:gd name="T91" fmla="*/ 717 h 1656"/>
                    <a:gd name="T92" fmla="*/ 363 w 1681"/>
                    <a:gd name="T93" fmla="*/ 646 h 1656"/>
                    <a:gd name="T94" fmla="*/ 372 w 1681"/>
                    <a:gd name="T95" fmla="*/ 580 h 1656"/>
                    <a:gd name="T96" fmla="*/ 376 w 1681"/>
                    <a:gd name="T97" fmla="*/ 519 h 1656"/>
                    <a:gd name="T98" fmla="*/ 374 w 1681"/>
                    <a:gd name="T99" fmla="*/ 460 h 1656"/>
                    <a:gd name="T100" fmla="*/ 368 w 1681"/>
                    <a:gd name="T101" fmla="*/ 407 h 1656"/>
                    <a:gd name="T102" fmla="*/ 353 w 1681"/>
                    <a:gd name="T103" fmla="*/ 348 h 1656"/>
                    <a:gd name="T104" fmla="*/ 332 w 1681"/>
                    <a:gd name="T105" fmla="*/ 293 h 1656"/>
                    <a:gd name="T106" fmla="*/ 424 w 1681"/>
                    <a:gd name="T107" fmla="*/ 224 h 1656"/>
                    <a:gd name="T108" fmla="*/ 519 w 1681"/>
                    <a:gd name="T109" fmla="*/ 163 h 1656"/>
                    <a:gd name="T110" fmla="*/ 620 w 1681"/>
                    <a:gd name="T111" fmla="*/ 112 h 1656"/>
                    <a:gd name="T112" fmla="*/ 720 w 1681"/>
                    <a:gd name="T113" fmla="*/ 70 h 1656"/>
                    <a:gd name="T114" fmla="*/ 827 w 1681"/>
                    <a:gd name="T115" fmla="*/ 38 h 1656"/>
                    <a:gd name="T116" fmla="*/ 933 w 1681"/>
                    <a:gd name="T117" fmla="*/ 15 h 1656"/>
                    <a:gd name="T118" fmla="*/ 1042 w 1681"/>
                    <a:gd name="T119" fmla="*/ 4 h 1656"/>
                    <a:gd name="T120" fmla="*/ 1150 w 1681"/>
                    <a:gd name="T121" fmla="*/ 0 h 16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81" h="1656">
                      <a:moveTo>
                        <a:pt x="1150" y="0"/>
                      </a:moveTo>
                      <a:lnTo>
                        <a:pt x="1259" y="6"/>
                      </a:lnTo>
                      <a:lnTo>
                        <a:pt x="1367" y="19"/>
                      </a:lnTo>
                      <a:lnTo>
                        <a:pt x="1473" y="44"/>
                      </a:lnTo>
                      <a:lnTo>
                        <a:pt x="1578" y="78"/>
                      </a:lnTo>
                      <a:lnTo>
                        <a:pt x="1681" y="122"/>
                      </a:lnTo>
                      <a:lnTo>
                        <a:pt x="1356" y="447"/>
                      </a:lnTo>
                      <a:lnTo>
                        <a:pt x="1272" y="430"/>
                      </a:lnTo>
                      <a:lnTo>
                        <a:pt x="1186" y="420"/>
                      </a:lnTo>
                      <a:lnTo>
                        <a:pt x="1101" y="418"/>
                      </a:lnTo>
                      <a:lnTo>
                        <a:pt x="1015" y="428"/>
                      </a:lnTo>
                      <a:lnTo>
                        <a:pt x="931" y="445"/>
                      </a:lnTo>
                      <a:lnTo>
                        <a:pt x="850" y="469"/>
                      </a:lnTo>
                      <a:lnTo>
                        <a:pt x="770" y="504"/>
                      </a:lnTo>
                      <a:lnTo>
                        <a:pt x="692" y="547"/>
                      </a:lnTo>
                      <a:lnTo>
                        <a:pt x="620" y="601"/>
                      </a:lnTo>
                      <a:lnTo>
                        <a:pt x="551" y="662"/>
                      </a:lnTo>
                      <a:lnTo>
                        <a:pt x="488" y="732"/>
                      </a:lnTo>
                      <a:lnTo>
                        <a:pt x="435" y="806"/>
                      </a:lnTo>
                      <a:lnTo>
                        <a:pt x="391" y="886"/>
                      </a:lnTo>
                      <a:lnTo>
                        <a:pt x="357" y="968"/>
                      </a:lnTo>
                      <a:lnTo>
                        <a:pt x="332" y="1053"/>
                      </a:lnTo>
                      <a:lnTo>
                        <a:pt x="315" y="1141"/>
                      </a:lnTo>
                      <a:lnTo>
                        <a:pt x="310" y="1228"/>
                      </a:lnTo>
                      <a:lnTo>
                        <a:pt x="311" y="1317"/>
                      </a:lnTo>
                      <a:lnTo>
                        <a:pt x="323" y="1405"/>
                      </a:lnTo>
                      <a:lnTo>
                        <a:pt x="346" y="1491"/>
                      </a:lnTo>
                      <a:lnTo>
                        <a:pt x="376" y="1574"/>
                      </a:lnTo>
                      <a:lnTo>
                        <a:pt x="416" y="1656"/>
                      </a:lnTo>
                      <a:lnTo>
                        <a:pt x="327" y="1618"/>
                      </a:lnTo>
                      <a:lnTo>
                        <a:pt x="245" y="1580"/>
                      </a:lnTo>
                      <a:lnTo>
                        <a:pt x="171" y="1544"/>
                      </a:lnTo>
                      <a:lnTo>
                        <a:pt x="106" y="1511"/>
                      </a:lnTo>
                      <a:lnTo>
                        <a:pt x="49" y="1481"/>
                      </a:lnTo>
                      <a:lnTo>
                        <a:pt x="0" y="1456"/>
                      </a:lnTo>
                      <a:lnTo>
                        <a:pt x="34" y="1382"/>
                      </a:lnTo>
                      <a:lnTo>
                        <a:pt x="66" y="1306"/>
                      </a:lnTo>
                      <a:lnTo>
                        <a:pt x="93" y="1224"/>
                      </a:lnTo>
                      <a:lnTo>
                        <a:pt x="129" y="1192"/>
                      </a:lnTo>
                      <a:lnTo>
                        <a:pt x="163" y="1154"/>
                      </a:lnTo>
                      <a:lnTo>
                        <a:pt x="197" y="1108"/>
                      </a:lnTo>
                      <a:lnTo>
                        <a:pt x="233" y="1046"/>
                      </a:lnTo>
                      <a:lnTo>
                        <a:pt x="268" y="973"/>
                      </a:lnTo>
                      <a:lnTo>
                        <a:pt x="298" y="890"/>
                      </a:lnTo>
                      <a:lnTo>
                        <a:pt x="329" y="793"/>
                      </a:lnTo>
                      <a:lnTo>
                        <a:pt x="349" y="717"/>
                      </a:lnTo>
                      <a:lnTo>
                        <a:pt x="363" y="646"/>
                      </a:lnTo>
                      <a:lnTo>
                        <a:pt x="372" y="580"/>
                      </a:lnTo>
                      <a:lnTo>
                        <a:pt x="376" y="519"/>
                      </a:lnTo>
                      <a:lnTo>
                        <a:pt x="374" y="460"/>
                      </a:lnTo>
                      <a:lnTo>
                        <a:pt x="368" y="407"/>
                      </a:lnTo>
                      <a:lnTo>
                        <a:pt x="353" y="348"/>
                      </a:lnTo>
                      <a:lnTo>
                        <a:pt x="332" y="293"/>
                      </a:lnTo>
                      <a:lnTo>
                        <a:pt x="424" y="224"/>
                      </a:lnTo>
                      <a:lnTo>
                        <a:pt x="519" y="163"/>
                      </a:lnTo>
                      <a:lnTo>
                        <a:pt x="620" y="112"/>
                      </a:lnTo>
                      <a:lnTo>
                        <a:pt x="720" y="70"/>
                      </a:lnTo>
                      <a:lnTo>
                        <a:pt x="827" y="38"/>
                      </a:lnTo>
                      <a:lnTo>
                        <a:pt x="933" y="15"/>
                      </a:lnTo>
                      <a:lnTo>
                        <a:pt x="1042" y="4"/>
                      </a:lnTo>
                      <a:lnTo>
                        <a:pt x="115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30" name="Freeform 197">
                  <a:extLst>
                    <a:ext uri="{FF2B5EF4-FFF2-40B4-BE49-F238E27FC236}">
                      <a16:creationId xmlns:a16="http://schemas.microsoft.com/office/drawing/2014/main" id="{DA56708F-0755-4D7C-AA5A-80CCD991AF94}"/>
                    </a:ext>
                  </a:extLst>
                </p:cNvPr>
                <p:cNvSpPr>
                  <a:spLocks/>
                </p:cNvSpPr>
                <p:nvPr/>
              </p:nvSpPr>
              <p:spPr bwMode="auto">
                <a:xfrm>
                  <a:off x="6172" y="3502"/>
                  <a:ext cx="677" cy="895"/>
                </a:xfrm>
                <a:custGeom>
                  <a:avLst/>
                  <a:gdLst>
                    <a:gd name="T0" fmla="*/ 1228 w 1352"/>
                    <a:gd name="T1" fmla="*/ 0 h 1789"/>
                    <a:gd name="T2" fmla="*/ 1272 w 1352"/>
                    <a:gd name="T3" fmla="*/ 101 h 1789"/>
                    <a:gd name="T4" fmla="*/ 1306 w 1352"/>
                    <a:gd name="T5" fmla="*/ 206 h 1789"/>
                    <a:gd name="T6" fmla="*/ 1331 w 1352"/>
                    <a:gd name="T7" fmla="*/ 310 h 1789"/>
                    <a:gd name="T8" fmla="*/ 1346 w 1352"/>
                    <a:gd name="T9" fmla="*/ 418 h 1789"/>
                    <a:gd name="T10" fmla="*/ 1352 w 1352"/>
                    <a:gd name="T11" fmla="*/ 527 h 1789"/>
                    <a:gd name="T12" fmla="*/ 1348 w 1352"/>
                    <a:gd name="T13" fmla="*/ 635 h 1789"/>
                    <a:gd name="T14" fmla="*/ 1335 w 1352"/>
                    <a:gd name="T15" fmla="*/ 742 h 1789"/>
                    <a:gd name="T16" fmla="*/ 1314 w 1352"/>
                    <a:gd name="T17" fmla="*/ 848 h 1789"/>
                    <a:gd name="T18" fmla="*/ 1282 w 1352"/>
                    <a:gd name="T19" fmla="*/ 953 h 1789"/>
                    <a:gd name="T20" fmla="*/ 1242 w 1352"/>
                    <a:gd name="T21" fmla="*/ 1055 h 1789"/>
                    <a:gd name="T22" fmla="*/ 1192 w 1352"/>
                    <a:gd name="T23" fmla="*/ 1154 h 1789"/>
                    <a:gd name="T24" fmla="*/ 1133 w 1352"/>
                    <a:gd name="T25" fmla="*/ 1249 h 1789"/>
                    <a:gd name="T26" fmla="*/ 1065 w 1352"/>
                    <a:gd name="T27" fmla="*/ 1339 h 1789"/>
                    <a:gd name="T28" fmla="*/ 987 w 1352"/>
                    <a:gd name="T29" fmla="*/ 1424 h 1789"/>
                    <a:gd name="T30" fmla="*/ 909 w 1352"/>
                    <a:gd name="T31" fmla="*/ 1498 h 1789"/>
                    <a:gd name="T32" fmla="*/ 825 w 1352"/>
                    <a:gd name="T33" fmla="*/ 1563 h 1789"/>
                    <a:gd name="T34" fmla="*/ 738 w 1352"/>
                    <a:gd name="T35" fmla="*/ 1618 h 1789"/>
                    <a:gd name="T36" fmla="*/ 647 w 1352"/>
                    <a:gd name="T37" fmla="*/ 1668 h 1789"/>
                    <a:gd name="T38" fmla="*/ 553 w 1352"/>
                    <a:gd name="T39" fmla="*/ 1708 h 1789"/>
                    <a:gd name="T40" fmla="*/ 456 w 1352"/>
                    <a:gd name="T41" fmla="*/ 1740 h 1789"/>
                    <a:gd name="T42" fmla="*/ 359 w 1352"/>
                    <a:gd name="T43" fmla="*/ 1765 h 1789"/>
                    <a:gd name="T44" fmla="*/ 260 w 1352"/>
                    <a:gd name="T45" fmla="*/ 1782 h 1789"/>
                    <a:gd name="T46" fmla="*/ 160 w 1352"/>
                    <a:gd name="T47" fmla="*/ 1789 h 1789"/>
                    <a:gd name="T48" fmla="*/ 143 w 1352"/>
                    <a:gd name="T49" fmla="*/ 1706 h 1789"/>
                    <a:gd name="T50" fmla="*/ 122 w 1352"/>
                    <a:gd name="T51" fmla="*/ 1624 h 1789"/>
                    <a:gd name="T52" fmla="*/ 87 w 1352"/>
                    <a:gd name="T53" fmla="*/ 1531 h 1789"/>
                    <a:gd name="T54" fmla="*/ 47 w 1352"/>
                    <a:gd name="T55" fmla="*/ 1445 h 1789"/>
                    <a:gd name="T56" fmla="*/ 0 w 1352"/>
                    <a:gd name="T57" fmla="*/ 1365 h 1789"/>
                    <a:gd name="T58" fmla="*/ 82 w 1352"/>
                    <a:gd name="T59" fmla="*/ 1371 h 1789"/>
                    <a:gd name="T60" fmla="*/ 165 w 1352"/>
                    <a:gd name="T61" fmla="*/ 1369 h 1789"/>
                    <a:gd name="T62" fmla="*/ 247 w 1352"/>
                    <a:gd name="T63" fmla="*/ 1358 h 1789"/>
                    <a:gd name="T64" fmla="*/ 327 w 1352"/>
                    <a:gd name="T65" fmla="*/ 1341 h 1789"/>
                    <a:gd name="T66" fmla="*/ 405 w 1352"/>
                    <a:gd name="T67" fmla="*/ 1314 h 1789"/>
                    <a:gd name="T68" fmla="*/ 481 w 1352"/>
                    <a:gd name="T69" fmla="*/ 1280 h 1789"/>
                    <a:gd name="T70" fmla="*/ 555 w 1352"/>
                    <a:gd name="T71" fmla="*/ 1238 h 1789"/>
                    <a:gd name="T72" fmla="*/ 624 w 1352"/>
                    <a:gd name="T73" fmla="*/ 1187 h 1789"/>
                    <a:gd name="T74" fmla="*/ 690 w 1352"/>
                    <a:gd name="T75" fmla="*/ 1128 h 1789"/>
                    <a:gd name="T76" fmla="*/ 751 w 1352"/>
                    <a:gd name="T77" fmla="*/ 1059 h 1789"/>
                    <a:gd name="T78" fmla="*/ 802 w 1352"/>
                    <a:gd name="T79" fmla="*/ 987 h 1789"/>
                    <a:gd name="T80" fmla="*/ 846 w 1352"/>
                    <a:gd name="T81" fmla="*/ 911 h 1789"/>
                    <a:gd name="T82" fmla="*/ 880 w 1352"/>
                    <a:gd name="T83" fmla="*/ 831 h 1789"/>
                    <a:gd name="T84" fmla="*/ 905 w 1352"/>
                    <a:gd name="T85" fmla="*/ 749 h 1789"/>
                    <a:gd name="T86" fmla="*/ 922 w 1352"/>
                    <a:gd name="T87" fmla="*/ 664 h 1789"/>
                    <a:gd name="T88" fmla="*/ 932 w 1352"/>
                    <a:gd name="T89" fmla="*/ 580 h 1789"/>
                    <a:gd name="T90" fmla="*/ 930 w 1352"/>
                    <a:gd name="T91" fmla="*/ 495 h 1789"/>
                    <a:gd name="T92" fmla="*/ 922 w 1352"/>
                    <a:gd name="T93" fmla="*/ 409 h 1789"/>
                    <a:gd name="T94" fmla="*/ 903 w 1352"/>
                    <a:gd name="T95" fmla="*/ 325 h 1789"/>
                    <a:gd name="T96" fmla="*/ 1228 w 1352"/>
                    <a:gd name="T97" fmla="*/ 0 h 17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352" h="1789">
                      <a:moveTo>
                        <a:pt x="1228" y="0"/>
                      </a:moveTo>
                      <a:lnTo>
                        <a:pt x="1272" y="101"/>
                      </a:lnTo>
                      <a:lnTo>
                        <a:pt x="1306" y="206"/>
                      </a:lnTo>
                      <a:lnTo>
                        <a:pt x="1331" y="310"/>
                      </a:lnTo>
                      <a:lnTo>
                        <a:pt x="1346" y="418"/>
                      </a:lnTo>
                      <a:lnTo>
                        <a:pt x="1352" y="527"/>
                      </a:lnTo>
                      <a:lnTo>
                        <a:pt x="1348" y="635"/>
                      </a:lnTo>
                      <a:lnTo>
                        <a:pt x="1335" y="742"/>
                      </a:lnTo>
                      <a:lnTo>
                        <a:pt x="1314" y="848"/>
                      </a:lnTo>
                      <a:lnTo>
                        <a:pt x="1282" y="953"/>
                      </a:lnTo>
                      <a:lnTo>
                        <a:pt x="1242" y="1055"/>
                      </a:lnTo>
                      <a:lnTo>
                        <a:pt x="1192" y="1154"/>
                      </a:lnTo>
                      <a:lnTo>
                        <a:pt x="1133" y="1249"/>
                      </a:lnTo>
                      <a:lnTo>
                        <a:pt x="1065" y="1339"/>
                      </a:lnTo>
                      <a:lnTo>
                        <a:pt x="987" y="1424"/>
                      </a:lnTo>
                      <a:lnTo>
                        <a:pt x="909" y="1498"/>
                      </a:lnTo>
                      <a:lnTo>
                        <a:pt x="825" y="1563"/>
                      </a:lnTo>
                      <a:lnTo>
                        <a:pt x="738" y="1618"/>
                      </a:lnTo>
                      <a:lnTo>
                        <a:pt x="647" y="1668"/>
                      </a:lnTo>
                      <a:lnTo>
                        <a:pt x="553" y="1708"/>
                      </a:lnTo>
                      <a:lnTo>
                        <a:pt x="456" y="1740"/>
                      </a:lnTo>
                      <a:lnTo>
                        <a:pt x="359" y="1765"/>
                      </a:lnTo>
                      <a:lnTo>
                        <a:pt x="260" y="1782"/>
                      </a:lnTo>
                      <a:lnTo>
                        <a:pt x="160" y="1789"/>
                      </a:lnTo>
                      <a:lnTo>
                        <a:pt x="143" y="1706"/>
                      </a:lnTo>
                      <a:lnTo>
                        <a:pt x="122" y="1624"/>
                      </a:lnTo>
                      <a:lnTo>
                        <a:pt x="87" y="1531"/>
                      </a:lnTo>
                      <a:lnTo>
                        <a:pt x="47" y="1445"/>
                      </a:lnTo>
                      <a:lnTo>
                        <a:pt x="0" y="1365"/>
                      </a:lnTo>
                      <a:lnTo>
                        <a:pt x="82" y="1371"/>
                      </a:lnTo>
                      <a:lnTo>
                        <a:pt x="165" y="1369"/>
                      </a:lnTo>
                      <a:lnTo>
                        <a:pt x="247" y="1358"/>
                      </a:lnTo>
                      <a:lnTo>
                        <a:pt x="327" y="1341"/>
                      </a:lnTo>
                      <a:lnTo>
                        <a:pt x="405" y="1314"/>
                      </a:lnTo>
                      <a:lnTo>
                        <a:pt x="481" y="1280"/>
                      </a:lnTo>
                      <a:lnTo>
                        <a:pt x="555" y="1238"/>
                      </a:lnTo>
                      <a:lnTo>
                        <a:pt x="624" y="1187"/>
                      </a:lnTo>
                      <a:lnTo>
                        <a:pt x="690" y="1128"/>
                      </a:lnTo>
                      <a:lnTo>
                        <a:pt x="751" y="1059"/>
                      </a:lnTo>
                      <a:lnTo>
                        <a:pt x="802" y="987"/>
                      </a:lnTo>
                      <a:lnTo>
                        <a:pt x="846" y="911"/>
                      </a:lnTo>
                      <a:lnTo>
                        <a:pt x="880" y="831"/>
                      </a:lnTo>
                      <a:lnTo>
                        <a:pt x="905" y="749"/>
                      </a:lnTo>
                      <a:lnTo>
                        <a:pt x="922" y="664"/>
                      </a:lnTo>
                      <a:lnTo>
                        <a:pt x="932" y="580"/>
                      </a:lnTo>
                      <a:lnTo>
                        <a:pt x="930" y="495"/>
                      </a:lnTo>
                      <a:lnTo>
                        <a:pt x="922" y="409"/>
                      </a:lnTo>
                      <a:lnTo>
                        <a:pt x="903" y="325"/>
                      </a:lnTo>
                      <a:lnTo>
                        <a:pt x="122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31" name="Freeform 198">
                  <a:extLst>
                    <a:ext uri="{FF2B5EF4-FFF2-40B4-BE49-F238E27FC236}">
                      <a16:creationId xmlns:a16="http://schemas.microsoft.com/office/drawing/2014/main" id="{52585E4B-191F-486E-80BB-A721703A9A03}"/>
                    </a:ext>
                  </a:extLst>
                </p:cNvPr>
                <p:cNvSpPr>
                  <a:spLocks/>
                </p:cNvSpPr>
                <p:nvPr/>
              </p:nvSpPr>
              <p:spPr bwMode="auto">
                <a:xfrm>
                  <a:off x="6268" y="3188"/>
                  <a:ext cx="1008" cy="1637"/>
                </a:xfrm>
                <a:custGeom>
                  <a:avLst/>
                  <a:gdLst>
                    <a:gd name="T0" fmla="*/ 1736 w 2016"/>
                    <a:gd name="T1" fmla="*/ 119 h 3274"/>
                    <a:gd name="T2" fmla="*/ 1858 w 2016"/>
                    <a:gd name="T3" fmla="*/ 369 h 3274"/>
                    <a:gd name="T4" fmla="*/ 1946 w 2016"/>
                    <a:gd name="T5" fmla="*/ 627 h 3274"/>
                    <a:gd name="T6" fmla="*/ 1999 w 2016"/>
                    <a:gd name="T7" fmla="*/ 893 h 3274"/>
                    <a:gd name="T8" fmla="*/ 2016 w 2016"/>
                    <a:gd name="T9" fmla="*/ 1163 h 3274"/>
                    <a:gd name="T10" fmla="*/ 2001 w 2016"/>
                    <a:gd name="T11" fmla="*/ 1433 h 3274"/>
                    <a:gd name="T12" fmla="*/ 1949 w 2016"/>
                    <a:gd name="T13" fmla="*/ 1700 h 3274"/>
                    <a:gd name="T14" fmla="*/ 1864 w 2016"/>
                    <a:gd name="T15" fmla="*/ 1960 h 3274"/>
                    <a:gd name="T16" fmla="*/ 1744 w 2016"/>
                    <a:gd name="T17" fmla="*/ 2207 h 3274"/>
                    <a:gd name="T18" fmla="*/ 1588 w 2016"/>
                    <a:gd name="T19" fmla="*/ 2443 h 3274"/>
                    <a:gd name="T20" fmla="*/ 1400 w 2016"/>
                    <a:gd name="T21" fmla="*/ 2660 h 3274"/>
                    <a:gd name="T22" fmla="*/ 1177 w 2016"/>
                    <a:gd name="T23" fmla="*/ 2852 h 3274"/>
                    <a:gd name="T24" fmla="*/ 938 w 2016"/>
                    <a:gd name="T25" fmla="*/ 3010 h 3274"/>
                    <a:gd name="T26" fmla="*/ 683 w 2016"/>
                    <a:gd name="T27" fmla="*/ 3129 h 3274"/>
                    <a:gd name="T28" fmla="*/ 418 w 2016"/>
                    <a:gd name="T29" fmla="*/ 3215 h 3274"/>
                    <a:gd name="T30" fmla="*/ 145 w 2016"/>
                    <a:gd name="T31" fmla="*/ 3262 h 3274"/>
                    <a:gd name="T32" fmla="*/ 8 w 2016"/>
                    <a:gd name="T33" fmla="*/ 3272 h 3274"/>
                    <a:gd name="T34" fmla="*/ 6 w 2016"/>
                    <a:gd name="T35" fmla="*/ 3127 h 3274"/>
                    <a:gd name="T36" fmla="*/ 0 w 2016"/>
                    <a:gd name="T37" fmla="*/ 2814 h 3274"/>
                    <a:gd name="T38" fmla="*/ 234 w 2016"/>
                    <a:gd name="T39" fmla="*/ 2785 h 3274"/>
                    <a:gd name="T40" fmla="*/ 462 w 2016"/>
                    <a:gd name="T41" fmla="*/ 2721 h 3274"/>
                    <a:gd name="T42" fmla="*/ 681 w 2016"/>
                    <a:gd name="T43" fmla="*/ 2626 h 3274"/>
                    <a:gd name="T44" fmla="*/ 886 w 2016"/>
                    <a:gd name="T45" fmla="*/ 2496 h 3274"/>
                    <a:gd name="T46" fmla="*/ 1075 w 2016"/>
                    <a:gd name="T47" fmla="*/ 2335 h 3274"/>
                    <a:gd name="T48" fmla="*/ 1240 w 2016"/>
                    <a:gd name="T49" fmla="*/ 2143 h 3274"/>
                    <a:gd name="T50" fmla="*/ 1369 w 2016"/>
                    <a:gd name="T51" fmla="*/ 1935 h 3274"/>
                    <a:gd name="T52" fmla="*/ 1466 w 2016"/>
                    <a:gd name="T53" fmla="*/ 1715 h 3274"/>
                    <a:gd name="T54" fmla="*/ 1529 w 2016"/>
                    <a:gd name="T55" fmla="*/ 1485 h 3274"/>
                    <a:gd name="T56" fmla="*/ 1558 w 2016"/>
                    <a:gd name="T57" fmla="*/ 1249 h 3274"/>
                    <a:gd name="T58" fmla="*/ 1552 w 2016"/>
                    <a:gd name="T59" fmla="*/ 1011 h 3274"/>
                    <a:gd name="T60" fmla="*/ 1512 w 2016"/>
                    <a:gd name="T61" fmla="*/ 777 h 3274"/>
                    <a:gd name="T62" fmla="*/ 1440 w 2016"/>
                    <a:gd name="T63" fmla="*/ 549 h 3274"/>
                    <a:gd name="T64" fmla="*/ 1331 w 2016"/>
                    <a:gd name="T65" fmla="*/ 332 h 3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016" h="3274">
                      <a:moveTo>
                        <a:pt x="1664" y="0"/>
                      </a:moveTo>
                      <a:lnTo>
                        <a:pt x="1736" y="119"/>
                      </a:lnTo>
                      <a:lnTo>
                        <a:pt x="1803" y="241"/>
                      </a:lnTo>
                      <a:lnTo>
                        <a:pt x="1858" y="369"/>
                      </a:lnTo>
                      <a:lnTo>
                        <a:pt x="1908" y="496"/>
                      </a:lnTo>
                      <a:lnTo>
                        <a:pt x="1946" y="627"/>
                      </a:lnTo>
                      <a:lnTo>
                        <a:pt x="1976" y="758"/>
                      </a:lnTo>
                      <a:lnTo>
                        <a:pt x="1999" y="893"/>
                      </a:lnTo>
                      <a:lnTo>
                        <a:pt x="2012" y="1028"/>
                      </a:lnTo>
                      <a:lnTo>
                        <a:pt x="2016" y="1163"/>
                      </a:lnTo>
                      <a:lnTo>
                        <a:pt x="2012" y="1298"/>
                      </a:lnTo>
                      <a:lnTo>
                        <a:pt x="2001" y="1433"/>
                      </a:lnTo>
                      <a:lnTo>
                        <a:pt x="1978" y="1566"/>
                      </a:lnTo>
                      <a:lnTo>
                        <a:pt x="1949" y="1700"/>
                      </a:lnTo>
                      <a:lnTo>
                        <a:pt x="1911" y="1831"/>
                      </a:lnTo>
                      <a:lnTo>
                        <a:pt x="1864" y="1960"/>
                      </a:lnTo>
                      <a:lnTo>
                        <a:pt x="1807" y="2086"/>
                      </a:lnTo>
                      <a:lnTo>
                        <a:pt x="1744" y="2207"/>
                      </a:lnTo>
                      <a:lnTo>
                        <a:pt x="1670" y="2327"/>
                      </a:lnTo>
                      <a:lnTo>
                        <a:pt x="1588" y="2443"/>
                      </a:lnTo>
                      <a:lnTo>
                        <a:pt x="1499" y="2553"/>
                      </a:lnTo>
                      <a:lnTo>
                        <a:pt x="1400" y="2660"/>
                      </a:lnTo>
                      <a:lnTo>
                        <a:pt x="1291" y="2761"/>
                      </a:lnTo>
                      <a:lnTo>
                        <a:pt x="1177" y="2852"/>
                      </a:lnTo>
                      <a:lnTo>
                        <a:pt x="1059" y="2935"/>
                      </a:lnTo>
                      <a:lnTo>
                        <a:pt x="938" y="3010"/>
                      </a:lnTo>
                      <a:lnTo>
                        <a:pt x="812" y="3074"/>
                      </a:lnTo>
                      <a:lnTo>
                        <a:pt x="683" y="3129"/>
                      </a:lnTo>
                      <a:lnTo>
                        <a:pt x="552" y="3177"/>
                      </a:lnTo>
                      <a:lnTo>
                        <a:pt x="418" y="3215"/>
                      </a:lnTo>
                      <a:lnTo>
                        <a:pt x="281" y="3243"/>
                      </a:lnTo>
                      <a:lnTo>
                        <a:pt x="145" y="3262"/>
                      </a:lnTo>
                      <a:lnTo>
                        <a:pt x="8" y="3274"/>
                      </a:lnTo>
                      <a:lnTo>
                        <a:pt x="8" y="3272"/>
                      </a:lnTo>
                      <a:lnTo>
                        <a:pt x="6" y="3198"/>
                      </a:lnTo>
                      <a:lnTo>
                        <a:pt x="6" y="3127"/>
                      </a:lnTo>
                      <a:lnTo>
                        <a:pt x="4" y="2966"/>
                      </a:lnTo>
                      <a:lnTo>
                        <a:pt x="0" y="2814"/>
                      </a:lnTo>
                      <a:lnTo>
                        <a:pt x="118" y="2804"/>
                      </a:lnTo>
                      <a:lnTo>
                        <a:pt x="234" y="2785"/>
                      </a:lnTo>
                      <a:lnTo>
                        <a:pt x="348" y="2757"/>
                      </a:lnTo>
                      <a:lnTo>
                        <a:pt x="462" y="2721"/>
                      </a:lnTo>
                      <a:lnTo>
                        <a:pt x="572" y="2677"/>
                      </a:lnTo>
                      <a:lnTo>
                        <a:pt x="681" y="2626"/>
                      </a:lnTo>
                      <a:lnTo>
                        <a:pt x="785" y="2565"/>
                      </a:lnTo>
                      <a:lnTo>
                        <a:pt x="886" y="2496"/>
                      </a:lnTo>
                      <a:lnTo>
                        <a:pt x="983" y="2418"/>
                      </a:lnTo>
                      <a:lnTo>
                        <a:pt x="1075" y="2335"/>
                      </a:lnTo>
                      <a:lnTo>
                        <a:pt x="1162" y="2241"/>
                      </a:lnTo>
                      <a:lnTo>
                        <a:pt x="1240" y="2143"/>
                      </a:lnTo>
                      <a:lnTo>
                        <a:pt x="1308" y="2042"/>
                      </a:lnTo>
                      <a:lnTo>
                        <a:pt x="1369" y="1935"/>
                      </a:lnTo>
                      <a:lnTo>
                        <a:pt x="1423" y="1827"/>
                      </a:lnTo>
                      <a:lnTo>
                        <a:pt x="1466" y="1715"/>
                      </a:lnTo>
                      <a:lnTo>
                        <a:pt x="1501" y="1601"/>
                      </a:lnTo>
                      <a:lnTo>
                        <a:pt x="1529" y="1485"/>
                      </a:lnTo>
                      <a:lnTo>
                        <a:pt x="1546" y="1367"/>
                      </a:lnTo>
                      <a:lnTo>
                        <a:pt x="1558" y="1249"/>
                      </a:lnTo>
                      <a:lnTo>
                        <a:pt x="1558" y="1129"/>
                      </a:lnTo>
                      <a:lnTo>
                        <a:pt x="1552" y="1011"/>
                      </a:lnTo>
                      <a:lnTo>
                        <a:pt x="1537" y="893"/>
                      </a:lnTo>
                      <a:lnTo>
                        <a:pt x="1512" y="777"/>
                      </a:lnTo>
                      <a:lnTo>
                        <a:pt x="1480" y="663"/>
                      </a:lnTo>
                      <a:lnTo>
                        <a:pt x="1440" y="549"/>
                      </a:lnTo>
                      <a:lnTo>
                        <a:pt x="1390" y="439"/>
                      </a:lnTo>
                      <a:lnTo>
                        <a:pt x="1331" y="332"/>
                      </a:lnTo>
                      <a:lnTo>
                        <a:pt x="166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32" name="Freeform 199">
                  <a:extLst>
                    <a:ext uri="{FF2B5EF4-FFF2-40B4-BE49-F238E27FC236}">
                      <a16:creationId xmlns:a16="http://schemas.microsoft.com/office/drawing/2014/main" id="{6062837E-503A-4682-ABCB-E746D64AA71F}"/>
                    </a:ext>
                  </a:extLst>
                </p:cNvPr>
                <p:cNvSpPr>
                  <a:spLocks/>
                </p:cNvSpPr>
                <p:nvPr/>
              </p:nvSpPr>
              <p:spPr bwMode="auto">
                <a:xfrm>
                  <a:off x="6008" y="2577"/>
                  <a:ext cx="1409" cy="1410"/>
                </a:xfrm>
                <a:custGeom>
                  <a:avLst/>
                  <a:gdLst>
                    <a:gd name="T0" fmla="*/ 2351 w 2818"/>
                    <a:gd name="T1" fmla="*/ 0 h 2820"/>
                    <a:gd name="T2" fmla="*/ 2406 w 2818"/>
                    <a:gd name="T3" fmla="*/ 413 h 2820"/>
                    <a:gd name="T4" fmla="*/ 2818 w 2818"/>
                    <a:gd name="T5" fmla="*/ 468 h 2820"/>
                    <a:gd name="T6" fmla="*/ 2273 w 2818"/>
                    <a:gd name="T7" fmla="*/ 1014 h 2820"/>
                    <a:gd name="T8" fmla="*/ 2067 w 2818"/>
                    <a:gd name="T9" fmla="*/ 987 h 2820"/>
                    <a:gd name="T10" fmla="*/ 827 w 2818"/>
                    <a:gd name="T11" fmla="*/ 2225 h 2820"/>
                    <a:gd name="T12" fmla="*/ 848 w 2818"/>
                    <a:gd name="T13" fmla="*/ 2286 h 2820"/>
                    <a:gd name="T14" fmla="*/ 858 w 2818"/>
                    <a:gd name="T15" fmla="*/ 2346 h 2820"/>
                    <a:gd name="T16" fmla="*/ 860 w 2818"/>
                    <a:gd name="T17" fmla="*/ 2409 h 2820"/>
                    <a:gd name="T18" fmla="*/ 852 w 2818"/>
                    <a:gd name="T19" fmla="*/ 2472 h 2820"/>
                    <a:gd name="T20" fmla="*/ 837 w 2818"/>
                    <a:gd name="T21" fmla="*/ 2531 h 2820"/>
                    <a:gd name="T22" fmla="*/ 812 w 2818"/>
                    <a:gd name="T23" fmla="*/ 2590 h 2820"/>
                    <a:gd name="T24" fmla="*/ 778 w 2818"/>
                    <a:gd name="T25" fmla="*/ 2645 h 2820"/>
                    <a:gd name="T26" fmla="*/ 734 w 2818"/>
                    <a:gd name="T27" fmla="*/ 2694 h 2820"/>
                    <a:gd name="T28" fmla="*/ 686 w 2818"/>
                    <a:gd name="T29" fmla="*/ 2736 h 2820"/>
                    <a:gd name="T30" fmla="*/ 633 w 2818"/>
                    <a:gd name="T31" fmla="*/ 2770 h 2820"/>
                    <a:gd name="T32" fmla="*/ 578 w 2818"/>
                    <a:gd name="T33" fmla="*/ 2795 h 2820"/>
                    <a:gd name="T34" fmla="*/ 519 w 2818"/>
                    <a:gd name="T35" fmla="*/ 2812 h 2820"/>
                    <a:gd name="T36" fmla="*/ 460 w 2818"/>
                    <a:gd name="T37" fmla="*/ 2820 h 2820"/>
                    <a:gd name="T38" fmla="*/ 399 w 2818"/>
                    <a:gd name="T39" fmla="*/ 2820 h 2820"/>
                    <a:gd name="T40" fmla="*/ 340 w 2818"/>
                    <a:gd name="T41" fmla="*/ 2812 h 2820"/>
                    <a:gd name="T42" fmla="*/ 281 w 2818"/>
                    <a:gd name="T43" fmla="*/ 2795 h 2820"/>
                    <a:gd name="T44" fmla="*/ 226 w 2818"/>
                    <a:gd name="T45" fmla="*/ 2770 h 2820"/>
                    <a:gd name="T46" fmla="*/ 173 w 2818"/>
                    <a:gd name="T47" fmla="*/ 2736 h 2820"/>
                    <a:gd name="T48" fmla="*/ 125 w 2818"/>
                    <a:gd name="T49" fmla="*/ 2694 h 2820"/>
                    <a:gd name="T50" fmla="*/ 84 w 2818"/>
                    <a:gd name="T51" fmla="*/ 2647 h 2820"/>
                    <a:gd name="T52" fmla="*/ 49 w 2818"/>
                    <a:gd name="T53" fmla="*/ 2594 h 2820"/>
                    <a:gd name="T54" fmla="*/ 25 w 2818"/>
                    <a:gd name="T55" fmla="*/ 2538 h 2820"/>
                    <a:gd name="T56" fmla="*/ 8 w 2818"/>
                    <a:gd name="T57" fmla="*/ 2480 h 2820"/>
                    <a:gd name="T58" fmla="*/ 0 w 2818"/>
                    <a:gd name="T59" fmla="*/ 2421 h 2820"/>
                    <a:gd name="T60" fmla="*/ 0 w 2818"/>
                    <a:gd name="T61" fmla="*/ 2360 h 2820"/>
                    <a:gd name="T62" fmla="*/ 8 w 2818"/>
                    <a:gd name="T63" fmla="*/ 2301 h 2820"/>
                    <a:gd name="T64" fmla="*/ 25 w 2818"/>
                    <a:gd name="T65" fmla="*/ 2242 h 2820"/>
                    <a:gd name="T66" fmla="*/ 49 w 2818"/>
                    <a:gd name="T67" fmla="*/ 2187 h 2820"/>
                    <a:gd name="T68" fmla="*/ 84 w 2818"/>
                    <a:gd name="T69" fmla="*/ 2133 h 2820"/>
                    <a:gd name="T70" fmla="*/ 125 w 2818"/>
                    <a:gd name="T71" fmla="*/ 2086 h 2820"/>
                    <a:gd name="T72" fmla="*/ 175 w 2818"/>
                    <a:gd name="T73" fmla="*/ 2042 h 2820"/>
                    <a:gd name="T74" fmla="*/ 230 w 2818"/>
                    <a:gd name="T75" fmla="*/ 2008 h 2820"/>
                    <a:gd name="T76" fmla="*/ 287 w 2818"/>
                    <a:gd name="T77" fmla="*/ 1983 h 2820"/>
                    <a:gd name="T78" fmla="*/ 348 w 2818"/>
                    <a:gd name="T79" fmla="*/ 1968 h 2820"/>
                    <a:gd name="T80" fmla="*/ 411 w 2818"/>
                    <a:gd name="T81" fmla="*/ 1960 h 2820"/>
                    <a:gd name="T82" fmla="*/ 473 w 2818"/>
                    <a:gd name="T83" fmla="*/ 1962 h 2820"/>
                    <a:gd name="T84" fmla="*/ 534 w 2818"/>
                    <a:gd name="T85" fmla="*/ 1972 h 2820"/>
                    <a:gd name="T86" fmla="*/ 595 w 2818"/>
                    <a:gd name="T87" fmla="*/ 1993 h 2820"/>
                    <a:gd name="T88" fmla="*/ 1831 w 2818"/>
                    <a:gd name="T89" fmla="*/ 753 h 2820"/>
                    <a:gd name="T90" fmla="*/ 1805 w 2818"/>
                    <a:gd name="T91" fmla="*/ 548 h 2820"/>
                    <a:gd name="T92" fmla="*/ 2351 w 2818"/>
                    <a:gd name="T93" fmla="*/ 0 h 28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18" h="2820">
                      <a:moveTo>
                        <a:pt x="2351" y="0"/>
                      </a:moveTo>
                      <a:lnTo>
                        <a:pt x="2406" y="413"/>
                      </a:lnTo>
                      <a:lnTo>
                        <a:pt x="2818" y="468"/>
                      </a:lnTo>
                      <a:lnTo>
                        <a:pt x="2273" y="1014"/>
                      </a:lnTo>
                      <a:lnTo>
                        <a:pt x="2067" y="987"/>
                      </a:lnTo>
                      <a:lnTo>
                        <a:pt x="827" y="2225"/>
                      </a:lnTo>
                      <a:lnTo>
                        <a:pt x="848" y="2286"/>
                      </a:lnTo>
                      <a:lnTo>
                        <a:pt x="858" y="2346"/>
                      </a:lnTo>
                      <a:lnTo>
                        <a:pt x="860" y="2409"/>
                      </a:lnTo>
                      <a:lnTo>
                        <a:pt x="852" y="2472"/>
                      </a:lnTo>
                      <a:lnTo>
                        <a:pt x="837" y="2531"/>
                      </a:lnTo>
                      <a:lnTo>
                        <a:pt x="812" y="2590"/>
                      </a:lnTo>
                      <a:lnTo>
                        <a:pt x="778" y="2645"/>
                      </a:lnTo>
                      <a:lnTo>
                        <a:pt x="734" y="2694"/>
                      </a:lnTo>
                      <a:lnTo>
                        <a:pt x="686" y="2736"/>
                      </a:lnTo>
                      <a:lnTo>
                        <a:pt x="633" y="2770"/>
                      </a:lnTo>
                      <a:lnTo>
                        <a:pt x="578" y="2795"/>
                      </a:lnTo>
                      <a:lnTo>
                        <a:pt x="519" y="2812"/>
                      </a:lnTo>
                      <a:lnTo>
                        <a:pt x="460" y="2820"/>
                      </a:lnTo>
                      <a:lnTo>
                        <a:pt x="399" y="2820"/>
                      </a:lnTo>
                      <a:lnTo>
                        <a:pt x="340" y="2812"/>
                      </a:lnTo>
                      <a:lnTo>
                        <a:pt x="281" y="2795"/>
                      </a:lnTo>
                      <a:lnTo>
                        <a:pt x="226" y="2770"/>
                      </a:lnTo>
                      <a:lnTo>
                        <a:pt x="173" y="2736"/>
                      </a:lnTo>
                      <a:lnTo>
                        <a:pt x="125" y="2694"/>
                      </a:lnTo>
                      <a:lnTo>
                        <a:pt x="84" y="2647"/>
                      </a:lnTo>
                      <a:lnTo>
                        <a:pt x="49" y="2594"/>
                      </a:lnTo>
                      <a:lnTo>
                        <a:pt x="25" y="2538"/>
                      </a:lnTo>
                      <a:lnTo>
                        <a:pt x="8" y="2480"/>
                      </a:lnTo>
                      <a:lnTo>
                        <a:pt x="0" y="2421"/>
                      </a:lnTo>
                      <a:lnTo>
                        <a:pt x="0" y="2360"/>
                      </a:lnTo>
                      <a:lnTo>
                        <a:pt x="8" y="2301"/>
                      </a:lnTo>
                      <a:lnTo>
                        <a:pt x="25" y="2242"/>
                      </a:lnTo>
                      <a:lnTo>
                        <a:pt x="49" y="2187"/>
                      </a:lnTo>
                      <a:lnTo>
                        <a:pt x="84" y="2133"/>
                      </a:lnTo>
                      <a:lnTo>
                        <a:pt x="125" y="2086"/>
                      </a:lnTo>
                      <a:lnTo>
                        <a:pt x="175" y="2042"/>
                      </a:lnTo>
                      <a:lnTo>
                        <a:pt x="230" y="2008"/>
                      </a:lnTo>
                      <a:lnTo>
                        <a:pt x="287" y="1983"/>
                      </a:lnTo>
                      <a:lnTo>
                        <a:pt x="348" y="1968"/>
                      </a:lnTo>
                      <a:lnTo>
                        <a:pt x="411" y="1960"/>
                      </a:lnTo>
                      <a:lnTo>
                        <a:pt x="473" y="1962"/>
                      </a:lnTo>
                      <a:lnTo>
                        <a:pt x="534" y="1972"/>
                      </a:lnTo>
                      <a:lnTo>
                        <a:pt x="595" y="1993"/>
                      </a:lnTo>
                      <a:lnTo>
                        <a:pt x="1831" y="753"/>
                      </a:lnTo>
                      <a:lnTo>
                        <a:pt x="1805" y="548"/>
                      </a:lnTo>
                      <a:lnTo>
                        <a:pt x="235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33" name="Freeform 200">
                  <a:extLst>
                    <a:ext uri="{FF2B5EF4-FFF2-40B4-BE49-F238E27FC236}">
                      <a16:creationId xmlns:a16="http://schemas.microsoft.com/office/drawing/2014/main" id="{7A1FCD9B-837D-4D7D-97E6-0E4123A2C7C8}"/>
                    </a:ext>
                  </a:extLst>
                </p:cNvPr>
                <p:cNvSpPr>
                  <a:spLocks/>
                </p:cNvSpPr>
                <p:nvPr/>
              </p:nvSpPr>
              <p:spPr bwMode="auto">
                <a:xfrm>
                  <a:off x="5745" y="2720"/>
                  <a:ext cx="1063" cy="342"/>
                </a:xfrm>
                <a:custGeom>
                  <a:avLst/>
                  <a:gdLst>
                    <a:gd name="T0" fmla="*/ 1002 w 2126"/>
                    <a:gd name="T1" fmla="*/ 0 h 685"/>
                    <a:gd name="T2" fmla="*/ 1151 w 2126"/>
                    <a:gd name="T3" fmla="*/ 8 h 685"/>
                    <a:gd name="T4" fmla="*/ 1297 w 2126"/>
                    <a:gd name="T5" fmla="*/ 27 h 685"/>
                    <a:gd name="T6" fmla="*/ 1442 w 2126"/>
                    <a:gd name="T7" fmla="*/ 55 h 685"/>
                    <a:gd name="T8" fmla="*/ 1584 w 2126"/>
                    <a:gd name="T9" fmla="*/ 93 h 685"/>
                    <a:gd name="T10" fmla="*/ 1725 w 2126"/>
                    <a:gd name="T11" fmla="*/ 143 h 685"/>
                    <a:gd name="T12" fmla="*/ 1864 w 2126"/>
                    <a:gd name="T13" fmla="*/ 202 h 685"/>
                    <a:gd name="T14" fmla="*/ 1997 w 2126"/>
                    <a:gd name="T15" fmla="*/ 272 h 685"/>
                    <a:gd name="T16" fmla="*/ 2126 w 2126"/>
                    <a:gd name="T17" fmla="*/ 352 h 685"/>
                    <a:gd name="T18" fmla="*/ 1794 w 2126"/>
                    <a:gd name="T19" fmla="*/ 685 h 685"/>
                    <a:gd name="T20" fmla="*/ 1677 w 2126"/>
                    <a:gd name="T21" fmla="*/ 622 h 685"/>
                    <a:gd name="T22" fmla="*/ 1556 w 2126"/>
                    <a:gd name="T23" fmla="*/ 569 h 685"/>
                    <a:gd name="T24" fmla="*/ 1432 w 2126"/>
                    <a:gd name="T25" fmla="*/ 527 h 685"/>
                    <a:gd name="T26" fmla="*/ 1305 w 2126"/>
                    <a:gd name="T27" fmla="*/ 495 h 685"/>
                    <a:gd name="T28" fmla="*/ 1177 w 2126"/>
                    <a:gd name="T29" fmla="*/ 472 h 685"/>
                    <a:gd name="T30" fmla="*/ 1048 w 2126"/>
                    <a:gd name="T31" fmla="*/ 460 h 685"/>
                    <a:gd name="T32" fmla="*/ 919 w 2126"/>
                    <a:gd name="T33" fmla="*/ 459 h 685"/>
                    <a:gd name="T34" fmla="*/ 789 w 2126"/>
                    <a:gd name="T35" fmla="*/ 466 h 685"/>
                    <a:gd name="T36" fmla="*/ 660 w 2126"/>
                    <a:gd name="T37" fmla="*/ 485 h 685"/>
                    <a:gd name="T38" fmla="*/ 533 w 2126"/>
                    <a:gd name="T39" fmla="*/ 514 h 685"/>
                    <a:gd name="T40" fmla="*/ 407 w 2126"/>
                    <a:gd name="T41" fmla="*/ 552 h 685"/>
                    <a:gd name="T42" fmla="*/ 285 w 2126"/>
                    <a:gd name="T43" fmla="*/ 601 h 685"/>
                    <a:gd name="T44" fmla="*/ 166 w 2126"/>
                    <a:gd name="T45" fmla="*/ 660 h 685"/>
                    <a:gd name="T46" fmla="*/ 150 w 2126"/>
                    <a:gd name="T47" fmla="*/ 561 h 685"/>
                    <a:gd name="T48" fmla="*/ 126 w 2126"/>
                    <a:gd name="T49" fmla="*/ 472 h 685"/>
                    <a:gd name="T50" fmla="*/ 93 w 2126"/>
                    <a:gd name="T51" fmla="*/ 388 h 685"/>
                    <a:gd name="T52" fmla="*/ 55 w 2126"/>
                    <a:gd name="T53" fmla="*/ 310 h 685"/>
                    <a:gd name="T54" fmla="*/ 10 w 2126"/>
                    <a:gd name="T55" fmla="*/ 240 h 685"/>
                    <a:gd name="T56" fmla="*/ 0 w 2126"/>
                    <a:gd name="T57" fmla="*/ 228 h 685"/>
                    <a:gd name="T58" fmla="*/ 137 w 2126"/>
                    <a:gd name="T59" fmla="*/ 166 h 685"/>
                    <a:gd name="T60" fmla="*/ 276 w 2126"/>
                    <a:gd name="T61" fmla="*/ 112 h 685"/>
                    <a:gd name="T62" fmla="*/ 418 w 2126"/>
                    <a:gd name="T63" fmla="*/ 69 h 685"/>
                    <a:gd name="T64" fmla="*/ 563 w 2126"/>
                    <a:gd name="T65" fmla="*/ 36 h 685"/>
                    <a:gd name="T66" fmla="*/ 708 w 2126"/>
                    <a:gd name="T67" fmla="*/ 14 h 685"/>
                    <a:gd name="T68" fmla="*/ 856 w 2126"/>
                    <a:gd name="T69" fmla="*/ 2 h 685"/>
                    <a:gd name="T70" fmla="*/ 1002 w 2126"/>
                    <a:gd name="T71" fmla="*/ 0 h 6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126" h="685">
                      <a:moveTo>
                        <a:pt x="1002" y="0"/>
                      </a:moveTo>
                      <a:lnTo>
                        <a:pt x="1151" y="8"/>
                      </a:lnTo>
                      <a:lnTo>
                        <a:pt x="1297" y="27"/>
                      </a:lnTo>
                      <a:lnTo>
                        <a:pt x="1442" y="55"/>
                      </a:lnTo>
                      <a:lnTo>
                        <a:pt x="1584" y="93"/>
                      </a:lnTo>
                      <a:lnTo>
                        <a:pt x="1725" y="143"/>
                      </a:lnTo>
                      <a:lnTo>
                        <a:pt x="1864" y="202"/>
                      </a:lnTo>
                      <a:lnTo>
                        <a:pt x="1997" y="272"/>
                      </a:lnTo>
                      <a:lnTo>
                        <a:pt x="2126" y="352"/>
                      </a:lnTo>
                      <a:lnTo>
                        <a:pt x="1794" y="685"/>
                      </a:lnTo>
                      <a:lnTo>
                        <a:pt x="1677" y="622"/>
                      </a:lnTo>
                      <a:lnTo>
                        <a:pt x="1556" y="569"/>
                      </a:lnTo>
                      <a:lnTo>
                        <a:pt x="1432" y="527"/>
                      </a:lnTo>
                      <a:lnTo>
                        <a:pt x="1305" y="495"/>
                      </a:lnTo>
                      <a:lnTo>
                        <a:pt x="1177" y="472"/>
                      </a:lnTo>
                      <a:lnTo>
                        <a:pt x="1048" y="460"/>
                      </a:lnTo>
                      <a:lnTo>
                        <a:pt x="919" y="459"/>
                      </a:lnTo>
                      <a:lnTo>
                        <a:pt x="789" y="466"/>
                      </a:lnTo>
                      <a:lnTo>
                        <a:pt x="660" y="485"/>
                      </a:lnTo>
                      <a:lnTo>
                        <a:pt x="533" y="514"/>
                      </a:lnTo>
                      <a:lnTo>
                        <a:pt x="407" y="552"/>
                      </a:lnTo>
                      <a:lnTo>
                        <a:pt x="285" y="601"/>
                      </a:lnTo>
                      <a:lnTo>
                        <a:pt x="166" y="660"/>
                      </a:lnTo>
                      <a:lnTo>
                        <a:pt x="150" y="561"/>
                      </a:lnTo>
                      <a:lnTo>
                        <a:pt x="126" y="472"/>
                      </a:lnTo>
                      <a:lnTo>
                        <a:pt x="93" y="388"/>
                      </a:lnTo>
                      <a:lnTo>
                        <a:pt x="55" y="310"/>
                      </a:lnTo>
                      <a:lnTo>
                        <a:pt x="10" y="240"/>
                      </a:lnTo>
                      <a:lnTo>
                        <a:pt x="0" y="228"/>
                      </a:lnTo>
                      <a:lnTo>
                        <a:pt x="137" y="166"/>
                      </a:lnTo>
                      <a:lnTo>
                        <a:pt x="276" y="112"/>
                      </a:lnTo>
                      <a:lnTo>
                        <a:pt x="418" y="69"/>
                      </a:lnTo>
                      <a:lnTo>
                        <a:pt x="563" y="36"/>
                      </a:lnTo>
                      <a:lnTo>
                        <a:pt x="708" y="14"/>
                      </a:lnTo>
                      <a:lnTo>
                        <a:pt x="856" y="2"/>
                      </a:lnTo>
                      <a:lnTo>
                        <a:pt x="100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grpSp>
        </p:grpSp>
        <p:grpSp>
          <p:nvGrpSpPr>
            <p:cNvPr id="17" name="Group 36">
              <a:extLst>
                <a:ext uri="{FF2B5EF4-FFF2-40B4-BE49-F238E27FC236}">
                  <a16:creationId xmlns:a16="http://schemas.microsoft.com/office/drawing/2014/main" id="{A5156E71-882B-4A19-8328-CA2022507451}"/>
                </a:ext>
              </a:extLst>
            </p:cNvPr>
            <p:cNvGrpSpPr/>
            <p:nvPr/>
          </p:nvGrpSpPr>
          <p:grpSpPr>
            <a:xfrm>
              <a:off x="6011764" y="2371356"/>
              <a:ext cx="799287" cy="799287"/>
              <a:chOff x="6011764" y="2371356"/>
              <a:chExt cx="799287" cy="799287"/>
            </a:xfrm>
          </p:grpSpPr>
          <p:sp>
            <p:nvSpPr>
              <p:cNvPr id="18" name="Oval 6">
                <a:extLst>
                  <a:ext uri="{FF2B5EF4-FFF2-40B4-BE49-F238E27FC236}">
                    <a16:creationId xmlns:a16="http://schemas.microsoft.com/office/drawing/2014/main" id="{4A291193-4282-4CEB-A770-3A4F4BA69FA9}"/>
                  </a:ext>
                </a:extLst>
              </p:cNvPr>
              <p:cNvSpPr>
                <a:spLocks noChangeArrowheads="1"/>
              </p:cNvSpPr>
              <p:nvPr/>
            </p:nvSpPr>
            <p:spPr bwMode="auto">
              <a:xfrm>
                <a:off x="6011764" y="2371356"/>
                <a:ext cx="799287" cy="799287"/>
              </a:xfrm>
              <a:prstGeom prst="ellipse">
                <a:avLst/>
              </a:pr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grpSp>
            <p:nvGrpSpPr>
              <p:cNvPr id="19" name="Group 4">
                <a:extLst>
                  <a:ext uri="{FF2B5EF4-FFF2-40B4-BE49-F238E27FC236}">
                    <a16:creationId xmlns:a16="http://schemas.microsoft.com/office/drawing/2014/main" id="{FD846778-1398-46EA-A13F-AF7EFE7B2B08}"/>
                  </a:ext>
                </a:extLst>
              </p:cNvPr>
              <p:cNvGrpSpPr>
                <a:grpSpLocks noChangeAspect="1"/>
              </p:cNvGrpSpPr>
              <p:nvPr/>
            </p:nvGrpSpPr>
            <p:grpSpPr bwMode="auto">
              <a:xfrm>
                <a:off x="6257142" y="2616693"/>
                <a:ext cx="308530" cy="308612"/>
                <a:chOff x="1947" y="269"/>
                <a:chExt cx="3783" cy="3784"/>
              </a:xfrm>
              <a:solidFill>
                <a:schemeClr val="bg1"/>
              </a:solidFill>
            </p:grpSpPr>
            <p:sp>
              <p:nvSpPr>
                <p:cNvPr id="20" name="Freeform 6">
                  <a:extLst>
                    <a:ext uri="{FF2B5EF4-FFF2-40B4-BE49-F238E27FC236}">
                      <a16:creationId xmlns:a16="http://schemas.microsoft.com/office/drawing/2014/main" id="{BB8890C8-8710-449A-89B7-533675169A5D}"/>
                    </a:ext>
                  </a:extLst>
                </p:cNvPr>
                <p:cNvSpPr>
                  <a:spLocks/>
                </p:cNvSpPr>
                <p:nvPr/>
              </p:nvSpPr>
              <p:spPr bwMode="auto">
                <a:xfrm>
                  <a:off x="1947" y="1420"/>
                  <a:ext cx="3783" cy="1688"/>
                </a:xfrm>
                <a:custGeom>
                  <a:avLst/>
                  <a:gdLst>
                    <a:gd name="T0" fmla="*/ 0 w 3783"/>
                    <a:gd name="T1" fmla="*/ 0 h 1688"/>
                    <a:gd name="T2" fmla="*/ 1224 w 3783"/>
                    <a:gd name="T3" fmla="*/ 653 h 1688"/>
                    <a:gd name="T4" fmla="*/ 1241 w 3783"/>
                    <a:gd name="T5" fmla="*/ 662 h 1688"/>
                    <a:gd name="T6" fmla="*/ 1734 w 3783"/>
                    <a:gd name="T7" fmla="*/ 662 h 1688"/>
                    <a:gd name="T8" fmla="*/ 1734 w 3783"/>
                    <a:gd name="T9" fmla="*/ 820 h 1688"/>
                    <a:gd name="T10" fmla="*/ 2049 w 3783"/>
                    <a:gd name="T11" fmla="*/ 820 h 1688"/>
                    <a:gd name="T12" fmla="*/ 2049 w 3783"/>
                    <a:gd name="T13" fmla="*/ 662 h 1688"/>
                    <a:gd name="T14" fmla="*/ 2541 w 3783"/>
                    <a:gd name="T15" fmla="*/ 662 h 1688"/>
                    <a:gd name="T16" fmla="*/ 3783 w 3783"/>
                    <a:gd name="T17" fmla="*/ 0 h 1688"/>
                    <a:gd name="T18" fmla="*/ 3783 w 3783"/>
                    <a:gd name="T19" fmla="*/ 1688 h 1688"/>
                    <a:gd name="T20" fmla="*/ 0 w 3783"/>
                    <a:gd name="T21" fmla="*/ 1688 h 1688"/>
                    <a:gd name="T22" fmla="*/ 0 w 3783"/>
                    <a:gd name="T23" fmla="*/ 0 h 16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83" h="1688">
                      <a:moveTo>
                        <a:pt x="0" y="0"/>
                      </a:moveTo>
                      <a:lnTo>
                        <a:pt x="1224" y="653"/>
                      </a:lnTo>
                      <a:lnTo>
                        <a:pt x="1241" y="662"/>
                      </a:lnTo>
                      <a:lnTo>
                        <a:pt x="1734" y="662"/>
                      </a:lnTo>
                      <a:lnTo>
                        <a:pt x="1734" y="820"/>
                      </a:lnTo>
                      <a:lnTo>
                        <a:pt x="2049" y="820"/>
                      </a:lnTo>
                      <a:lnTo>
                        <a:pt x="2049" y="662"/>
                      </a:lnTo>
                      <a:lnTo>
                        <a:pt x="2541" y="662"/>
                      </a:lnTo>
                      <a:lnTo>
                        <a:pt x="3783" y="0"/>
                      </a:lnTo>
                      <a:lnTo>
                        <a:pt x="3783" y="1688"/>
                      </a:lnTo>
                      <a:lnTo>
                        <a:pt x="0" y="1688"/>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21" name="Freeform 7">
                  <a:extLst>
                    <a:ext uri="{FF2B5EF4-FFF2-40B4-BE49-F238E27FC236}">
                      <a16:creationId xmlns:a16="http://schemas.microsoft.com/office/drawing/2014/main" id="{D544E786-7C0E-482E-9EB7-7B333AA5C225}"/>
                    </a:ext>
                  </a:extLst>
                </p:cNvPr>
                <p:cNvSpPr>
                  <a:spLocks noEditPoints="1"/>
                </p:cNvSpPr>
                <p:nvPr/>
              </p:nvSpPr>
              <p:spPr bwMode="auto">
                <a:xfrm>
                  <a:off x="1947" y="269"/>
                  <a:ext cx="3783" cy="1656"/>
                </a:xfrm>
                <a:custGeom>
                  <a:avLst/>
                  <a:gdLst>
                    <a:gd name="T0" fmla="*/ 1397 w 3783"/>
                    <a:gd name="T1" fmla="*/ 161 h 1656"/>
                    <a:gd name="T2" fmla="*/ 1363 w 3783"/>
                    <a:gd name="T3" fmla="*/ 182 h 1656"/>
                    <a:gd name="T4" fmla="*/ 1342 w 3783"/>
                    <a:gd name="T5" fmla="*/ 216 h 1656"/>
                    <a:gd name="T6" fmla="*/ 1340 w 3783"/>
                    <a:gd name="T7" fmla="*/ 395 h 1656"/>
                    <a:gd name="T8" fmla="*/ 2444 w 3783"/>
                    <a:gd name="T9" fmla="*/ 238 h 1656"/>
                    <a:gd name="T10" fmla="*/ 2432 w 3783"/>
                    <a:gd name="T11" fmla="*/ 198 h 1656"/>
                    <a:gd name="T12" fmla="*/ 2404 w 3783"/>
                    <a:gd name="T13" fmla="*/ 169 h 1656"/>
                    <a:gd name="T14" fmla="*/ 2365 w 3783"/>
                    <a:gd name="T15" fmla="*/ 159 h 1656"/>
                    <a:gd name="T16" fmla="*/ 1418 w 3783"/>
                    <a:gd name="T17" fmla="*/ 0 h 1656"/>
                    <a:gd name="T18" fmla="*/ 2402 w 3783"/>
                    <a:gd name="T19" fmla="*/ 4 h 1656"/>
                    <a:gd name="T20" fmla="*/ 2472 w 3783"/>
                    <a:gd name="T21" fmla="*/ 27 h 1656"/>
                    <a:gd name="T22" fmla="*/ 2531 w 3783"/>
                    <a:gd name="T23" fmla="*/ 70 h 1656"/>
                    <a:gd name="T24" fmla="*/ 2574 w 3783"/>
                    <a:gd name="T25" fmla="*/ 129 h 1656"/>
                    <a:gd name="T26" fmla="*/ 2597 w 3783"/>
                    <a:gd name="T27" fmla="*/ 199 h 1656"/>
                    <a:gd name="T28" fmla="*/ 2601 w 3783"/>
                    <a:gd name="T29" fmla="*/ 395 h 1656"/>
                    <a:gd name="T30" fmla="*/ 3783 w 3783"/>
                    <a:gd name="T31" fmla="*/ 973 h 1656"/>
                    <a:gd name="T32" fmla="*/ 2049 w 3783"/>
                    <a:gd name="T33" fmla="*/ 1656 h 1656"/>
                    <a:gd name="T34" fmla="*/ 2036 w 3783"/>
                    <a:gd name="T35" fmla="*/ 1595 h 1656"/>
                    <a:gd name="T36" fmla="*/ 2003 w 3783"/>
                    <a:gd name="T37" fmla="*/ 1545 h 1656"/>
                    <a:gd name="T38" fmla="*/ 1953 w 3783"/>
                    <a:gd name="T39" fmla="*/ 1510 h 1656"/>
                    <a:gd name="T40" fmla="*/ 1892 w 3783"/>
                    <a:gd name="T41" fmla="*/ 1499 h 1656"/>
                    <a:gd name="T42" fmla="*/ 1830 w 3783"/>
                    <a:gd name="T43" fmla="*/ 1510 h 1656"/>
                    <a:gd name="T44" fmla="*/ 1781 w 3783"/>
                    <a:gd name="T45" fmla="*/ 1545 h 1656"/>
                    <a:gd name="T46" fmla="*/ 1746 w 3783"/>
                    <a:gd name="T47" fmla="*/ 1595 h 1656"/>
                    <a:gd name="T48" fmla="*/ 1734 w 3783"/>
                    <a:gd name="T49" fmla="*/ 1656 h 1656"/>
                    <a:gd name="T50" fmla="*/ 0 w 3783"/>
                    <a:gd name="T51" fmla="*/ 973 h 1656"/>
                    <a:gd name="T52" fmla="*/ 1182 w 3783"/>
                    <a:gd name="T53" fmla="*/ 395 h 1656"/>
                    <a:gd name="T54" fmla="*/ 1185 w 3783"/>
                    <a:gd name="T55" fmla="*/ 199 h 1656"/>
                    <a:gd name="T56" fmla="*/ 1208 w 3783"/>
                    <a:gd name="T57" fmla="*/ 129 h 1656"/>
                    <a:gd name="T58" fmla="*/ 1252 w 3783"/>
                    <a:gd name="T59" fmla="*/ 70 h 1656"/>
                    <a:gd name="T60" fmla="*/ 1310 w 3783"/>
                    <a:gd name="T61" fmla="*/ 27 h 1656"/>
                    <a:gd name="T62" fmla="*/ 1380 w 3783"/>
                    <a:gd name="T63" fmla="*/ 4 h 16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83" h="1656">
                      <a:moveTo>
                        <a:pt x="1418" y="159"/>
                      </a:moveTo>
                      <a:lnTo>
                        <a:pt x="1397" y="161"/>
                      </a:lnTo>
                      <a:lnTo>
                        <a:pt x="1379" y="169"/>
                      </a:lnTo>
                      <a:lnTo>
                        <a:pt x="1363" y="182"/>
                      </a:lnTo>
                      <a:lnTo>
                        <a:pt x="1350" y="198"/>
                      </a:lnTo>
                      <a:lnTo>
                        <a:pt x="1342" y="216"/>
                      </a:lnTo>
                      <a:lnTo>
                        <a:pt x="1340" y="238"/>
                      </a:lnTo>
                      <a:lnTo>
                        <a:pt x="1340" y="395"/>
                      </a:lnTo>
                      <a:lnTo>
                        <a:pt x="2444" y="395"/>
                      </a:lnTo>
                      <a:lnTo>
                        <a:pt x="2444" y="238"/>
                      </a:lnTo>
                      <a:lnTo>
                        <a:pt x="2440" y="216"/>
                      </a:lnTo>
                      <a:lnTo>
                        <a:pt x="2432" y="198"/>
                      </a:lnTo>
                      <a:lnTo>
                        <a:pt x="2420" y="182"/>
                      </a:lnTo>
                      <a:lnTo>
                        <a:pt x="2404" y="169"/>
                      </a:lnTo>
                      <a:lnTo>
                        <a:pt x="2385" y="161"/>
                      </a:lnTo>
                      <a:lnTo>
                        <a:pt x="2365" y="159"/>
                      </a:lnTo>
                      <a:lnTo>
                        <a:pt x="1418" y="159"/>
                      </a:lnTo>
                      <a:close/>
                      <a:moveTo>
                        <a:pt x="1418" y="0"/>
                      </a:moveTo>
                      <a:lnTo>
                        <a:pt x="2365" y="0"/>
                      </a:lnTo>
                      <a:lnTo>
                        <a:pt x="2402" y="4"/>
                      </a:lnTo>
                      <a:lnTo>
                        <a:pt x="2439" y="13"/>
                      </a:lnTo>
                      <a:lnTo>
                        <a:pt x="2472" y="27"/>
                      </a:lnTo>
                      <a:lnTo>
                        <a:pt x="2503" y="46"/>
                      </a:lnTo>
                      <a:lnTo>
                        <a:pt x="2531" y="70"/>
                      </a:lnTo>
                      <a:lnTo>
                        <a:pt x="2555" y="98"/>
                      </a:lnTo>
                      <a:lnTo>
                        <a:pt x="2574" y="129"/>
                      </a:lnTo>
                      <a:lnTo>
                        <a:pt x="2588" y="162"/>
                      </a:lnTo>
                      <a:lnTo>
                        <a:pt x="2597" y="199"/>
                      </a:lnTo>
                      <a:lnTo>
                        <a:pt x="2601" y="238"/>
                      </a:lnTo>
                      <a:lnTo>
                        <a:pt x="2601" y="395"/>
                      </a:lnTo>
                      <a:lnTo>
                        <a:pt x="3783" y="395"/>
                      </a:lnTo>
                      <a:lnTo>
                        <a:pt x="3783" y="973"/>
                      </a:lnTo>
                      <a:lnTo>
                        <a:pt x="2502" y="1656"/>
                      </a:lnTo>
                      <a:lnTo>
                        <a:pt x="2049" y="1656"/>
                      </a:lnTo>
                      <a:lnTo>
                        <a:pt x="2046" y="1624"/>
                      </a:lnTo>
                      <a:lnTo>
                        <a:pt x="2036" y="1595"/>
                      </a:lnTo>
                      <a:lnTo>
                        <a:pt x="2023" y="1567"/>
                      </a:lnTo>
                      <a:lnTo>
                        <a:pt x="2003" y="1545"/>
                      </a:lnTo>
                      <a:lnTo>
                        <a:pt x="1979" y="1525"/>
                      </a:lnTo>
                      <a:lnTo>
                        <a:pt x="1953" y="1510"/>
                      </a:lnTo>
                      <a:lnTo>
                        <a:pt x="1923" y="1501"/>
                      </a:lnTo>
                      <a:lnTo>
                        <a:pt x="1892" y="1499"/>
                      </a:lnTo>
                      <a:lnTo>
                        <a:pt x="1860" y="1501"/>
                      </a:lnTo>
                      <a:lnTo>
                        <a:pt x="1830" y="1510"/>
                      </a:lnTo>
                      <a:lnTo>
                        <a:pt x="1804" y="1525"/>
                      </a:lnTo>
                      <a:lnTo>
                        <a:pt x="1781" y="1545"/>
                      </a:lnTo>
                      <a:lnTo>
                        <a:pt x="1761" y="1567"/>
                      </a:lnTo>
                      <a:lnTo>
                        <a:pt x="1746" y="1595"/>
                      </a:lnTo>
                      <a:lnTo>
                        <a:pt x="1737" y="1624"/>
                      </a:lnTo>
                      <a:lnTo>
                        <a:pt x="1734" y="1656"/>
                      </a:lnTo>
                      <a:lnTo>
                        <a:pt x="1280" y="1656"/>
                      </a:lnTo>
                      <a:lnTo>
                        <a:pt x="0" y="973"/>
                      </a:lnTo>
                      <a:lnTo>
                        <a:pt x="0" y="395"/>
                      </a:lnTo>
                      <a:lnTo>
                        <a:pt x="1182" y="395"/>
                      </a:lnTo>
                      <a:lnTo>
                        <a:pt x="1182" y="238"/>
                      </a:lnTo>
                      <a:lnTo>
                        <a:pt x="1185" y="199"/>
                      </a:lnTo>
                      <a:lnTo>
                        <a:pt x="1194" y="162"/>
                      </a:lnTo>
                      <a:lnTo>
                        <a:pt x="1208" y="129"/>
                      </a:lnTo>
                      <a:lnTo>
                        <a:pt x="1228" y="98"/>
                      </a:lnTo>
                      <a:lnTo>
                        <a:pt x="1252" y="70"/>
                      </a:lnTo>
                      <a:lnTo>
                        <a:pt x="1279" y="46"/>
                      </a:lnTo>
                      <a:lnTo>
                        <a:pt x="1310" y="27"/>
                      </a:lnTo>
                      <a:lnTo>
                        <a:pt x="1343" y="13"/>
                      </a:lnTo>
                      <a:lnTo>
                        <a:pt x="1380" y="4"/>
                      </a:lnTo>
                      <a:lnTo>
                        <a:pt x="141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22" name="Freeform 8">
                  <a:extLst>
                    <a:ext uri="{FF2B5EF4-FFF2-40B4-BE49-F238E27FC236}">
                      <a16:creationId xmlns:a16="http://schemas.microsoft.com/office/drawing/2014/main" id="{B0B479CC-61D5-4B61-BCE1-F165FE9CAC89}"/>
                    </a:ext>
                  </a:extLst>
                </p:cNvPr>
                <p:cNvSpPr>
                  <a:spLocks/>
                </p:cNvSpPr>
                <p:nvPr/>
              </p:nvSpPr>
              <p:spPr bwMode="auto">
                <a:xfrm>
                  <a:off x="5019" y="3344"/>
                  <a:ext cx="711" cy="709"/>
                </a:xfrm>
                <a:custGeom>
                  <a:avLst/>
                  <a:gdLst>
                    <a:gd name="T0" fmla="*/ 0 w 711"/>
                    <a:gd name="T1" fmla="*/ 0 h 709"/>
                    <a:gd name="T2" fmla="*/ 306 w 711"/>
                    <a:gd name="T3" fmla="*/ 0 h 709"/>
                    <a:gd name="T4" fmla="*/ 711 w 711"/>
                    <a:gd name="T5" fmla="*/ 354 h 709"/>
                    <a:gd name="T6" fmla="*/ 306 w 711"/>
                    <a:gd name="T7" fmla="*/ 709 h 709"/>
                    <a:gd name="T8" fmla="*/ 0 w 711"/>
                    <a:gd name="T9" fmla="*/ 709 h 709"/>
                    <a:gd name="T10" fmla="*/ 0 w 711"/>
                    <a:gd name="T11" fmla="*/ 0 h 709"/>
                  </a:gdLst>
                  <a:ahLst/>
                  <a:cxnLst>
                    <a:cxn ang="0">
                      <a:pos x="T0" y="T1"/>
                    </a:cxn>
                    <a:cxn ang="0">
                      <a:pos x="T2" y="T3"/>
                    </a:cxn>
                    <a:cxn ang="0">
                      <a:pos x="T4" y="T5"/>
                    </a:cxn>
                    <a:cxn ang="0">
                      <a:pos x="T6" y="T7"/>
                    </a:cxn>
                    <a:cxn ang="0">
                      <a:pos x="T8" y="T9"/>
                    </a:cxn>
                    <a:cxn ang="0">
                      <a:pos x="T10" y="T11"/>
                    </a:cxn>
                  </a:cxnLst>
                  <a:rect l="0" t="0" r="r" b="b"/>
                  <a:pathLst>
                    <a:path w="711" h="709">
                      <a:moveTo>
                        <a:pt x="0" y="0"/>
                      </a:moveTo>
                      <a:lnTo>
                        <a:pt x="306" y="0"/>
                      </a:lnTo>
                      <a:lnTo>
                        <a:pt x="711" y="354"/>
                      </a:lnTo>
                      <a:lnTo>
                        <a:pt x="306" y="709"/>
                      </a:lnTo>
                      <a:lnTo>
                        <a:pt x="0" y="709"/>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23" name="Rectangle 9">
                  <a:extLst>
                    <a:ext uri="{FF2B5EF4-FFF2-40B4-BE49-F238E27FC236}">
                      <a16:creationId xmlns:a16="http://schemas.microsoft.com/office/drawing/2014/main" id="{917F7A6F-3E69-4565-8758-07BE1BCA1411}"/>
                    </a:ext>
                  </a:extLst>
                </p:cNvPr>
                <p:cNvSpPr>
                  <a:spLocks noChangeArrowheads="1"/>
                </p:cNvSpPr>
                <p:nvPr/>
              </p:nvSpPr>
              <p:spPr bwMode="auto">
                <a:xfrm>
                  <a:off x="2891" y="3344"/>
                  <a:ext cx="1970" cy="709"/>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24" name="Freeform 10">
                  <a:extLst>
                    <a:ext uri="{FF2B5EF4-FFF2-40B4-BE49-F238E27FC236}">
                      <a16:creationId xmlns:a16="http://schemas.microsoft.com/office/drawing/2014/main" id="{0C853433-D88C-49BC-92B2-DFD0B28FFFE4}"/>
                    </a:ext>
                  </a:extLst>
                </p:cNvPr>
                <p:cNvSpPr>
                  <a:spLocks/>
                </p:cNvSpPr>
                <p:nvPr/>
              </p:nvSpPr>
              <p:spPr bwMode="auto">
                <a:xfrm>
                  <a:off x="1985" y="3344"/>
                  <a:ext cx="749" cy="709"/>
                </a:xfrm>
                <a:custGeom>
                  <a:avLst/>
                  <a:gdLst>
                    <a:gd name="T0" fmla="*/ 354 w 749"/>
                    <a:gd name="T1" fmla="*/ 0 h 709"/>
                    <a:gd name="T2" fmla="*/ 749 w 749"/>
                    <a:gd name="T3" fmla="*/ 0 h 709"/>
                    <a:gd name="T4" fmla="*/ 749 w 749"/>
                    <a:gd name="T5" fmla="*/ 709 h 709"/>
                    <a:gd name="T6" fmla="*/ 354 w 749"/>
                    <a:gd name="T7" fmla="*/ 709 h 709"/>
                    <a:gd name="T8" fmla="*/ 306 w 749"/>
                    <a:gd name="T9" fmla="*/ 706 h 709"/>
                    <a:gd name="T10" fmla="*/ 260 w 749"/>
                    <a:gd name="T11" fmla="*/ 696 h 709"/>
                    <a:gd name="T12" fmla="*/ 217 w 749"/>
                    <a:gd name="T13" fmla="*/ 681 h 709"/>
                    <a:gd name="T14" fmla="*/ 175 w 749"/>
                    <a:gd name="T15" fmla="*/ 661 h 709"/>
                    <a:gd name="T16" fmla="*/ 138 w 749"/>
                    <a:gd name="T17" fmla="*/ 634 h 709"/>
                    <a:gd name="T18" fmla="*/ 104 w 749"/>
                    <a:gd name="T19" fmla="*/ 605 h 709"/>
                    <a:gd name="T20" fmla="*/ 73 w 749"/>
                    <a:gd name="T21" fmla="*/ 571 h 709"/>
                    <a:gd name="T22" fmla="*/ 48 w 749"/>
                    <a:gd name="T23" fmla="*/ 533 h 709"/>
                    <a:gd name="T24" fmla="*/ 27 w 749"/>
                    <a:gd name="T25" fmla="*/ 492 h 709"/>
                    <a:gd name="T26" fmla="*/ 12 w 749"/>
                    <a:gd name="T27" fmla="*/ 449 h 709"/>
                    <a:gd name="T28" fmla="*/ 3 w 749"/>
                    <a:gd name="T29" fmla="*/ 403 h 709"/>
                    <a:gd name="T30" fmla="*/ 0 w 749"/>
                    <a:gd name="T31" fmla="*/ 354 h 709"/>
                    <a:gd name="T32" fmla="*/ 3 w 749"/>
                    <a:gd name="T33" fmla="*/ 306 h 709"/>
                    <a:gd name="T34" fmla="*/ 12 w 749"/>
                    <a:gd name="T35" fmla="*/ 260 h 709"/>
                    <a:gd name="T36" fmla="*/ 27 w 749"/>
                    <a:gd name="T37" fmla="*/ 217 h 709"/>
                    <a:gd name="T38" fmla="*/ 48 w 749"/>
                    <a:gd name="T39" fmla="*/ 176 h 709"/>
                    <a:gd name="T40" fmla="*/ 73 w 749"/>
                    <a:gd name="T41" fmla="*/ 138 h 709"/>
                    <a:gd name="T42" fmla="*/ 104 w 749"/>
                    <a:gd name="T43" fmla="*/ 103 h 709"/>
                    <a:gd name="T44" fmla="*/ 138 w 749"/>
                    <a:gd name="T45" fmla="*/ 73 h 709"/>
                    <a:gd name="T46" fmla="*/ 175 w 749"/>
                    <a:gd name="T47" fmla="*/ 48 h 709"/>
                    <a:gd name="T48" fmla="*/ 217 w 749"/>
                    <a:gd name="T49" fmla="*/ 28 h 709"/>
                    <a:gd name="T50" fmla="*/ 260 w 749"/>
                    <a:gd name="T51" fmla="*/ 13 h 709"/>
                    <a:gd name="T52" fmla="*/ 306 w 749"/>
                    <a:gd name="T53" fmla="*/ 3 h 709"/>
                    <a:gd name="T54" fmla="*/ 354 w 749"/>
                    <a:gd name="T55" fmla="*/ 0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49" h="709">
                      <a:moveTo>
                        <a:pt x="354" y="0"/>
                      </a:moveTo>
                      <a:lnTo>
                        <a:pt x="749" y="0"/>
                      </a:lnTo>
                      <a:lnTo>
                        <a:pt x="749" y="709"/>
                      </a:lnTo>
                      <a:lnTo>
                        <a:pt x="354" y="709"/>
                      </a:lnTo>
                      <a:lnTo>
                        <a:pt x="306" y="706"/>
                      </a:lnTo>
                      <a:lnTo>
                        <a:pt x="260" y="696"/>
                      </a:lnTo>
                      <a:lnTo>
                        <a:pt x="217" y="681"/>
                      </a:lnTo>
                      <a:lnTo>
                        <a:pt x="175" y="661"/>
                      </a:lnTo>
                      <a:lnTo>
                        <a:pt x="138" y="634"/>
                      </a:lnTo>
                      <a:lnTo>
                        <a:pt x="104" y="605"/>
                      </a:lnTo>
                      <a:lnTo>
                        <a:pt x="73" y="571"/>
                      </a:lnTo>
                      <a:lnTo>
                        <a:pt x="48" y="533"/>
                      </a:lnTo>
                      <a:lnTo>
                        <a:pt x="27" y="492"/>
                      </a:lnTo>
                      <a:lnTo>
                        <a:pt x="12" y="449"/>
                      </a:lnTo>
                      <a:lnTo>
                        <a:pt x="3" y="403"/>
                      </a:lnTo>
                      <a:lnTo>
                        <a:pt x="0" y="354"/>
                      </a:lnTo>
                      <a:lnTo>
                        <a:pt x="3" y="306"/>
                      </a:lnTo>
                      <a:lnTo>
                        <a:pt x="12" y="260"/>
                      </a:lnTo>
                      <a:lnTo>
                        <a:pt x="27" y="217"/>
                      </a:lnTo>
                      <a:lnTo>
                        <a:pt x="48" y="176"/>
                      </a:lnTo>
                      <a:lnTo>
                        <a:pt x="73" y="138"/>
                      </a:lnTo>
                      <a:lnTo>
                        <a:pt x="104" y="103"/>
                      </a:lnTo>
                      <a:lnTo>
                        <a:pt x="138" y="73"/>
                      </a:lnTo>
                      <a:lnTo>
                        <a:pt x="175" y="48"/>
                      </a:lnTo>
                      <a:lnTo>
                        <a:pt x="217" y="28"/>
                      </a:lnTo>
                      <a:lnTo>
                        <a:pt x="260" y="13"/>
                      </a:lnTo>
                      <a:lnTo>
                        <a:pt x="306" y="3"/>
                      </a:lnTo>
                      <a:lnTo>
                        <a:pt x="35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grpSp>
        </p:grpSp>
      </p:grpSp>
      <p:sp>
        <p:nvSpPr>
          <p:cNvPr id="66" name="Title 1">
            <a:extLst>
              <a:ext uri="{FF2B5EF4-FFF2-40B4-BE49-F238E27FC236}">
                <a16:creationId xmlns:a16="http://schemas.microsoft.com/office/drawing/2014/main" id="{3EB7FAF0-9902-42F8-A47C-84D64A9489BA}"/>
              </a:ext>
            </a:extLst>
          </p:cNvPr>
          <p:cNvSpPr txBox="1">
            <a:spLocks/>
          </p:cNvSpPr>
          <p:nvPr/>
        </p:nvSpPr>
        <p:spPr>
          <a:xfrm>
            <a:off x="2043113" y="304800"/>
            <a:ext cx="8105775" cy="1105808"/>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ID" sz="4400" b="0" i="0" u="none" strike="noStrike" kern="1200" cap="none" spc="0" normalizeH="0" baseline="0" noProof="0">
                <a:ln>
                  <a:noFill/>
                </a:ln>
                <a:solidFill>
                  <a:srgbClr val="000000"/>
                </a:solidFill>
                <a:effectLst/>
                <a:uLnTx/>
                <a:uFillTx/>
                <a:latin typeface="等线 Light" panose="020F0302020204030204"/>
                <a:ea typeface="+mj-ea"/>
                <a:cs typeface="+mj-cs"/>
              </a:rPr>
              <a:t>Tree Infographic</a:t>
            </a:r>
          </a:p>
        </p:txBody>
      </p:sp>
    </p:spTree>
    <p:extLst>
      <p:ext uri="{BB962C8B-B14F-4D97-AF65-F5344CB8AC3E}">
        <p14:creationId xmlns:p14="http://schemas.microsoft.com/office/powerpoint/2010/main" val="1021560838"/>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wipe(down)">
                                      <p:cBhvr>
                                        <p:cTn id="7" dur="500"/>
                                        <p:tgtEl>
                                          <p:spTgt spid="8"/>
                                        </p:tgtEl>
                                      </p:cBhvr>
                                    </p:animEffect>
                                  </p:childTnLst>
                                </p:cTn>
                              </p:par>
                            </p:childTnLst>
                          </p:cTn>
                        </p:par>
                        <p:par>
                          <p:cTn id="8" fill="hold">
                            <p:stCondLst>
                              <p:cond delay="500"/>
                            </p:stCondLst>
                            <p:childTnLst>
                              <p:par>
                                <p:cTn id="9" presetID="22" presetClass="entr" presetSubtype="2" fill="hold" grpId="0" nodeType="after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wipe(right)">
                                      <p:cBhvr>
                                        <p:cTn id="11" dur="500"/>
                                        <p:tgtEl>
                                          <p:spTgt spid="7"/>
                                        </p:tgtEl>
                                      </p:cBhvr>
                                    </p:animEffect>
                                  </p:childTnLst>
                                </p:cTn>
                              </p:par>
                            </p:childTnLst>
                          </p:cTn>
                        </p:par>
                        <p:par>
                          <p:cTn id="12" fill="hold">
                            <p:stCondLst>
                              <p:cond delay="1000"/>
                            </p:stCondLst>
                            <p:childTnLst>
                              <p:par>
                                <p:cTn id="13" presetID="22" presetClass="entr" presetSubtype="2" fill="hold" grpId="0" nodeType="afterEffect">
                                  <p:stCondLst>
                                    <p:cond delay="0"/>
                                  </p:stCondLst>
                                  <p:childTnLst>
                                    <p:set>
                                      <p:cBhvr>
                                        <p:cTn id="14" dur="1" fill="hold">
                                          <p:stCondLst>
                                            <p:cond delay="0"/>
                                          </p:stCondLst>
                                        </p:cTn>
                                        <p:tgtEl>
                                          <p:spTgt spid="2"/>
                                        </p:tgtEl>
                                        <p:attrNameLst>
                                          <p:attrName>style.visibility</p:attrName>
                                        </p:attrNameLst>
                                      </p:cBhvr>
                                      <p:to>
                                        <p:strVal val="visible"/>
                                      </p:to>
                                    </p:set>
                                    <p:animEffect transition="in" filter="wipe(right)">
                                      <p:cBhvr>
                                        <p:cTn id="15" dur="500"/>
                                        <p:tgtEl>
                                          <p:spTgt spid="2"/>
                                        </p:tgtEl>
                                      </p:cBhvr>
                                    </p:animEffect>
                                  </p:childTnLst>
                                </p:cTn>
                              </p:par>
                            </p:childTnLst>
                          </p:cTn>
                        </p:par>
                        <p:par>
                          <p:cTn id="16" fill="hold">
                            <p:stCondLst>
                              <p:cond delay="1500"/>
                            </p:stCondLst>
                            <p:childTnLst>
                              <p:par>
                                <p:cTn id="17" presetID="22" presetClass="entr" presetSubtype="8" fill="hold" grpId="0" nodeType="afterEffect">
                                  <p:stCondLst>
                                    <p:cond delay="0"/>
                                  </p:stCondLst>
                                  <p:childTnLst>
                                    <p:set>
                                      <p:cBhvr>
                                        <p:cTn id="18" dur="1" fill="hold">
                                          <p:stCondLst>
                                            <p:cond delay="0"/>
                                          </p:stCondLst>
                                        </p:cTn>
                                        <p:tgtEl>
                                          <p:spTgt spid="3"/>
                                        </p:tgtEl>
                                        <p:attrNameLst>
                                          <p:attrName>style.visibility</p:attrName>
                                        </p:attrNameLst>
                                      </p:cBhvr>
                                      <p:to>
                                        <p:strVal val="visible"/>
                                      </p:to>
                                    </p:set>
                                    <p:animEffect transition="in" filter="wipe(left)">
                                      <p:cBhvr>
                                        <p:cTn id="19" dur="500"/>
                                        <p:tgtEl>
                                          <p:spTgt spid="3"/>
                                        </p:tgtEl>
                                      </p:cBhvr>
                                    </p:animEffect>
                                  </p:childTnLst>
                                </p:cTn>
                              </p:par>
                            </p:childTnLst>
                          </p:cTn>
                        </p:par>
                        <p:par>
                          <p:cTn id="20" fill="hold">
                            <p:stCondLst>
                              <p:cond delay="2000"/>
                            </p:stCondLst>
                            <p:childTnLst>
                              <p:par>
                                <p:cTn id="21" presetID="22" presetClass="entr" presetSubtype="8" fill="hold" grpId="0" nodeType="afterEffect">
                                  <p:stCondLst>
                                    <p:cond delay="0"/>
                                  </p:stCondLst>
                                  <p:childTnLst>
                                    <p:set>
                                      <p:cBhvr>
                                        <p:cTn id="22" dur="1" fill="hold">
                                          <p:stCondLst>
                                            <p:cond delay="0"/>
                                          </p:stCondLst>
                                        </p:cTn>
                                        <p:tgtEl>
                                          <p:spTgt spid="4"/>
                                        </p:tgtEl>
                                        <p:attrNameLst>
                                          <p:attrName>style.visibility</p:attrName>
                                        </p:attrNameLst>
                                      </p:cBhvr>
                                      <p:to>
                                        <p:strVal val="visible"/>
                                      </p:to>
                                    </p:set>
                                    <p:animEffect transition="in" filter="wipe(left)">
                                      <p:cBhvr>
                                        <p:cTn id="23" dur="500"/>
                                        <p:tgtEl>
                                          <p:spTgt spid="4"/>
                                        </p:tgtEl>
                                      </p:cBhvr>
                                    </p:animEffect>
                                  </p:childTnLst>
                                </p:cTn>
                              </p:par>
                            </p:childTnLst>
                          </p:cTn>
                        </p:par>
                        <p:par>
                          <p:cTn id="24" fill="hold">
                            <p:stCondLst>
                              <p:cond delay="2500"/>
                            </p:stCondLst>
                            <p:childTnLst>
                              <p:par>
                                <p:cTn id="25" presetID="22" presetClass="entr" presetSubtype="8" fill="hold" grpId="0" nodeType="afterEffect">
                                  <p:stCondLst>
                                    <p:cond delay="0"/>
                                  </p:stCondLst>
                                  <p:childTnLst>
                                    <p:set>
                                      <p:cBhvr>
                                        <p:cTn id="26" dur="1" fill="hold">
                                          <p:stCondLst>
                                            <p:cond delay="0"/>
                                          </p:stCondLst>
                                        </p:cTn>
                                        <p:tgtEl>
                                          <p:spTgt spid="5"/>
                                        </p:tgtEl>
                                        <p:attrNameLst>
                                          <p:attrName>style.visibility</p:attrName>
                                        </p:attrNameLst>
                                      </p:cBhvr>
                                      <p:to>
                                        <p:strVal val="visible"/>
                                      </p:to>
                                    </p:set>
                                    <p:animEffect transition="in" filter="wipe(left)">
                                      <p:cBhvr>
                                        <p:cTn id="27" dur="500"/>
                                        <p:tgtEl>
                                          <p:spTgt spid="5"/>
                                        </p:tgtEl>
                                      </p:cBhvr>
                                    </p:animEffect>
                                  </p:childTnLst>
                                </p:cTn>
                              </p:par>
                            </p:childTnLst>
                          </p:cTn>
                        </p:par>
                        <p:par>
                          <p:cTn id="28" fill="hold">
                            <p:stCondLst>
                              <p:cond delay="3000"/>
                            </p:stCondLst>
                            <p:childTnLst>
                              <p:par>
                                <p:cTn id="29" presetID="22" presetClass="entr" presetSubtype="8" fill="hold" grpId="0" nodeType="afterEffect">
                                  <p:stCondLst>
                                    <p:cond delay="0"/>
                                  </p:stCondLst>
                                  <p:childTnLst>
                                    <p:set>
                                      <p:cBhvr>
                                        <p:cTn id="30" dur="1" fill="hold">
                                          <p:stCondLst>
                                            <p:cond delay="0"/>
                                          </p:stCondLst>
                                        </p:cTn>
                                        <p:tgtEl>
                                          <p:spTgt spid="6"/>
                                        </p:tgtEl>
                                        <p:attrNameLst>
                                          <p:attrName>style.visibility</p:attrName>
                                        </p:attrNameLst>
                                      </p:cBhvr>
                                      <p:to>
                                        <p:strVal val="visible"/>
                                      </p:to>
                                    </p:set>
                                    <p:animEffect transition="in" filter="wipe(left)">
                                      <p:cBhvr>
                                        <p:cTn id="31" dur="500"/>
                                        <p:tgtEl>
                                          <p:spTgt spid="6"/>
                                        </p:tgtEl>
                                      </p:cBhvr>
                                    </p:animEffect>
                                  </p:childTnLst>
                                </p:cTn>
                              </p:par>
                            </p:childTnLst>
                          </p:cTn>
                        </p:par>
                        <p:par>
                          <p:cTn id="32" fill="hold">
                            <p:stCondLst>
                              <p:cond delay="3500"/>
                            </p:stCondLst>
                            <p:childTnLst>
                              <p:par>
                                <p:cTn id="33" presetID="10" presetClass="entr" presetSubtype="0" fill="hold" grpId="0" nodeType="afterEffect">
                                  <p:stCondLst>
                                    <p:cond delay="0"/>
                                  </p:stCondLst>
                                  <p:childTnLst>
                                    <p:set>
                                      <p:cBhvr>
                                        <p:cTn id="34" dur="1" fill="hold">
                                          <p:stCondLst>
                                            <p:cond delay="0"/>
                                          </p:stCondLst>
                                        </p:cTn>
                                        <p:tgtEl>
                                          <p:spTgt spid="66"/>
                                        </p:tgtEl>
                                        <p:attrNameLst>
                                          <p:attrName>style.visibility</p:attrName>
                                        </p:attrNameLst>
                                      </p:cBhvr>
                                      <p:to>
                                        <p:strVal val="visible"/>
                                      </p:to>
                                    </p:set>
                                    <p:animEffect transition="in" filter="fade">
                                      <p:cBhvr>
                                        <p:cTn id="35" dur="500"/>
                                        <p:tgtEl>
                                          <p:spTgt spid="6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p:bldP spid="4" grpId="0"/>
      <p:bldP spid="5" grpId="0"/>
      <p:bldP spid="6" grpId="0"/>
      <p:bldP spid="7" grpId="0"/>
      <p:bldP spid="66" grpId="0"/>
    </p:bldLst>
  </p:timing>
</p:sld>
</file>

<file path=ppt/slides/slide5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Shape 61">
            <a:extLst>
              <a:ext uri="{FF2B5EF4-FFF2-40B4-BE49-F238E27FC236}">
                <a16:creationId xmlns:a16="http://schemas.microsoft.com/office/drawing/2014/main" id="{3ED90338-4608-437C-99CF-FCAD9CD8A4AC}"/>
              </a:ext>
            </a:extLst>
          </p:cNvPr>
          <p:cNvSpPr/>
          <p:nvPr/>
        </p:nvSpPr>
        <p:spPr>
          <a:xfrm rot="15991573" flipV="1">
            <a:off x="6446210" y="2233781"/>
            <a:ext cx="1094103" cy="1103172"/>
          </a:xfrm>
          <a:custGeom>
            <a:avLst/>
            <a:gdLst>
              <a:gd name="connsiteX0" fmla="*/ 309563 w 1124076"/>
              <a:gd name="connsiteY0" fmla="*/ 406636 h 1133393"/>
              <a:gd name="connsiteX1" fmla="*/ 771525 w 1124076"/>
              <a:gd name="connsiteY1" fmla="*/ 21826 h 1133393"/>
              <a:gd name="connsiteX2" fmla="*/ 1096328 w 1124076"/>
              <a:gd name="connsiteY2" fmla="*/ 320911 h 1133393"/>
              <a:gd name="connsiteX3" fmla="*/ 677228 w 1124076"/>
              <a:gd name="connsiteY3" fmla="*/ 800019 h 1133393"/>
              <a:gd name="connsiteX4" fmla="*/ 0 w 1124076"/>
              <a:gd name="connsiteY4" fmla="*/ 1133394 h 1133393"/>
              <a:gd name="connsiteX5" fmla="*/ 309563 w 1124076"/>
              <a:gd name="connsiteY5" fmla="*/ 406636 h 1133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24076" h="1133393">
                <a:moveTo>
                  <a:pt x="309563" y="406636"/>
                </a:moveTo>
                <a:cubicBezTo>
                  <a:pt x="426720" y="266619"/>
                  <a:pt x="540068" y="107551"/>
                  <a:pt x="771525" y="21826"/>
                </a:cubicBezTo>
                <a:cubicBezTo>
                  <a:pt x="820103" y="3729"/>
                  <a:pt x="1233488" y="-89616"/>
                  <a:pt x="1096328" y="320911"/>
                </a:cubicBezTo>
                <a:cubicBezTo>
                  <a:pt x="1021080" y="545701"/>
                  <a:pt x="862965" y="642856"/>
                  <a:pt x="677228" y="800019"/>
                </a:cubicBezTo>
                <a:cubicBezTo>
                  <a:pt x="510540" y="940989"/>
                  <a:pt x="240983" y="1107676"/>
                  <a:pt x="0" y="1133394"/>
                </a:cubicBezTo>
                <a:cubicBezTo>
                  <a:pt x="181928" y="997186"/>
                  <a:pt x="193358" y="546654"/>
                  <a:pt x="309563" y="406636"/>
                </a:cubicBezTo>
                <a:close/>
              </a:path>
            </a:pathLst>
          </a:custGeom>
          <a:solidFill>
            <a:schemeClr val="accent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 name="Title 1">
            <a:extLst>
              <a:ext uri="{FF2B5EF4-FFF2-40B4-BE49-F238E27FC236}">
                <a16:creationId xmlns:a16="http://schemas.microsoft.com/office/drawing/2014/main" id="{2A75CD81-88B7-46E8-8181-A3730DE02C97}"/>
              </a:ext>
            </a:extLst>
          </p:cNvPr>
          <p:cNvSpPr txBox="1">
            <a:spLocks/>
          </p:cNvSpPr>
          <p:nvPr/>
        </p:nvSpPr>
        <p:spPr>
          <a:xfrm>
            <a:off x="2043113" y="304800"/>
            <a:ext cx="8105775" cy="1105808"/>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4400" b="0" i="0" u="none" strike="noStrike" kern="1200" cap="none" spc="0" normalizeH="0" baseline="0" noProof="0">
                <a:ln>
                  <a:noFill/>
                </a:ln>
                <a:solidFill>
                  <a:srgbClr val="000000"/>
                </a:solidFill>
                <a:effectLst/>
                <a:uLnTx/>
                <a:uFillTx/>
                <a:latin typeface="等线 Light" panose="020F0302020204030204"/>
                <a:ea typeface="+mj-ea"/>
                <a:cs typeface="+mj-cs"/>
              </a:rPr>
              <a:t>Tree Infographic</a:t>
            </a:r>
            <a:endParaRPr kumimoji="0" lang="en-ID" sz="4400" b="0" i="0" u="none" strike="noStrike" kern="1200" cap="none" spc="0" normalizeH="0" baseline="0" noProof="0">
              <a:ln>
                <a:noFill/>
              </a:ln>
              <a:solidFill>
                <a:srgbClr val="000000"/>
              </a:solidFill>
              <a:effectLst/>
              <a:uLnTx/>
              <a:uFillTx/>
              <a:latin typeface="等线 Light" panose="020F0302020204030204"/>
              <a:ea typeface="+mj-ea"/>
              <a:cs typeface="+mj-cs"/>
            </a:endParaRPr>
          </a:p>
        </p:txBody>
      </p:sp>
      <p:sp>
        <p:nvSpPr>
          <p:cNvPr id="4" name="Freeform: Shape 4">
            <a:extLst>
              <a:ext uri="{FF2B5EF4-FFF2-40B4-BE49-F238E27FC236}">
                <a16:creationId xmlns:a16="http://schemas.microsoft.com/office/drawing/2014/main" id="{DFC4B4C2-0F59-4BBB-9094-D57B732E10B4}"/>
              </a:ext>
            </a:extLst>
          </p:cNvPr>
          <p:cNvSpPr/>
          <p:nvPr/>
        </p:nvSpPr>
        <p:spPr>
          <a:xfrm>
            <a:off x="3858989" y="2708290"/>
            <a:ext cx="4112625" cy="4148782"/>
          </a:xfrm>
          <a:custGeom>
            <a:avLst/>
            <a:gdLst>
              <a:gd name="connsiteX0" fmla="*/ 0 w 4225289"/>
              <a:gd name="connsiteY0" fmla="*/ 2335530 h 4262437"/>
              <a:gd name="connsiteX1" fmla="*/ 17145 w 4225289"/>
              <a:gd name="connsiteY1" fmla="*/ 2346960 h 4262437"/>
              <a:gd name="connsiteX2" fmla="*/ 38100 w 4225289"/>
              <a:gd name="connsiteY2" fmla="*/ 2361247 h 4262437"/>
              <a:gd name="connsiteX3" fmla="*/ 51435 w 4225289"/>
              <a:gd name="connsiteY3" fmla="*/ 2369820 h 4262437"/>
              <a:gd name="connsiteX4" fmla="*/ 66675 w 4225289"/>
              <a:gd name="connsiteY4" fmla="*/ 2379345 h 4262437"/>
              <a:gd name="connsiteX5" fmla="*/ 103822 w 4225289"/>
              <a:gd name="connsiteY5" fmla="*/ 2401253 h 4262437"/>
              <a:gd name="connsiteX6" fmla="*/ 149543 w 4225289"/>
              <a:gd name="connsiteY6" fmla="*/ 2425065 h 4262437"/>
              <a:gd name="connsiteX7" fmla="*/ 263843 w 4225289"/>
              <a:gd name="connsiteY7" fmla="*/ 2475547 h 4262437"/>
              <a:gd name="connsiteX8" fmla="*/ 581978 w 4225289"/>
              <a:gd name="connsiteY8" fmla="*/ 2553653 h 4262437"/>
              <a:gd name="connsiteX9" fmla="*/ 776287 w 4225289"/>
              <a:gd name="connsiteY9" fmla="*/ 2561272 h 4262437"/>
              <a:gd name="connsiteX10" fmla="*/ 983933 w 4225289"/>
              <a:gd name="connsiteY10" fmla="*/ 2536508 h 4262437"/>
              <a:gd name="connsiteX11" fmla="*/ 1182053 w 4225289"/>
              <a:gd name="connsiteY11" fmla="*/ 2493645 h 4262437"/>
              <a:gd name="connsiteX12" fmla="*/ 1365885 w 4225289"/>
              <a:gd name="connsiteY12" fmla="*/ 2480310 h 4262437"/>
              <a:gd name="connsiteX13" fmla="*/ 1534478 w 4225289"/>
              <a:gd name="connsiteY13" fmla="*/ 2492693 h 4262437"/>
              <a:gd name="connsiteX14" fmla="*/ 1550670 w 4225289"/>
              <a:gd name="connsiteY14" fmla="*/ 2495550 h 4262437"/>
              <a:gd name="connsiteX15" fmla="*/ 1837373 w 4225289"/>
              <a:gd name="connsiteY15" fmla="*/ 2585085 h 4262437"/>
              <a:gd name="connsiteX16" fmla="*/ 1974533 w 4225289"/>
              <a:gd name="connsiteY16" fmla="*/ 2652713 h 4262437"/>
              <a:gd name="connsiteX17" fmla="*/ 2034540 w 4225289"/>
              <a:gd name="connsiteY17" fmla="*/ 2694622 h 4262437"/>
              <a:gd name="connsiteX18" fmla="*/ 2087880 w 4225289"/>
              <a:gd name="connsiteY18" fmla="*/ 2742247 h 4262437"/>
              <a:gd name="connsiteX19" fmla="*/ 2132648 w 4225289"/>
              <a:gd name="connsiteY19" fmla="*/ 2794635 h 4262437"/>
              <a:gd name="connsiteX20" fmla="*/ 2166938 w 4225289"/>
              <a:gd name="connsiteY20" fmla="*/ 2850833 h 4262437"/>
              <a:gd name="connsiteX21" fmla="*/ 2190750 w 4225289"/>
              <a:gd name="connsiteY21" fmla="*/ 2910840 h 4262437"/>
              <a:gd name="connsiteX22" fmla="*/ 2205038 w 4225289"/>
              <a:gd name="connsiteY22" fmla="*/ 2974658 h 4262437"/>
              <a:gd name="connsiteX23" fmla="*/ 2213610 w 4225289"/>
              <a:gd name="connsiteY23" fmla="*/ 3107055 h 4262437"/>
              <a:gd name="connsiteX24" fmla="*/ 2209800 w 4225289"/>
              <a:gd name="connsiteY24" fmla="*/ 3239453 h 4262437"/>
              <a:gd name="connsiteX25" fmla="*/ 2204085 w 4225289"/>
              <a:gd name="connsiteY25" fmla="*/ 3399472 h 4262437"/>
              <a:gd name="connsiteX26" fmla="*/ 2183130 w 4225289"/>
              <a:gd name="connsiteY26" fmla="*/ 3390900 h 4262437"/>
              <a:gd name="connsiteX27" fmla="*/ 2138363 w 4225289"/>
              <a:gd name="connsiteY27" fmla="*/ 3374708 h 4262437"/>
              <a:gd name="connsiteX28" fmla="*/ 2092642 w 4225289"/>
              <a:gd name="connsiteY28" fmla="*/ 3359468 h 4262437"/>
              <a:gd name="connsiteX29" fmla="*/ 1994535 w 4225289"/>
              <a:gd name="connsiteY29" fmla="*/ 3331845 h 4262437"/>
              <a:gd name="connsiteX30" fmla="*/ 1884998 w 4225289"/>
              <a:gd name="connsiteY30" fmla="*/ 3315653 h 4262437"/>
              <a:gd name="connsiteX31" fmla="*/ 1826895 w 4225289"/>
              <a:gd name="connsiteY31" fmla="*/ 3315653 h 4262437"/>
              <a:gd name="connsiteX32" fmla="*/ 1769745 w 4225289"/>
              <a:gd name="connsiteY32" fmla="*/ 3322320 h 4262437"/>
              <a:gd name="connsiteX33" fmla="*/ 1662113 w 4225289"/>
              <a:gd name="connsiteY33" fmla="*/ 3341370 h 4262437"/>
              <a:gd name="connsiteX34" fmla="*/ 1564005 w 4225289"/>
              <a:gd name="connsiteY34" fmla="*/ 3347085 h 4262437"/>
              <a:gd name="connsiteX35" fmla="*/ 1470660 w 4225289"/>
              <a:gd name="connsiteY35" fmla="*/ 3331845 h 4262437"/>
              <a:gd name="connsiteX36" fmla="*/ 1385888 w 4225289"/>
              <a:gd name="connsiteY36" fmla="*/ 3298508 h 4262437"/>
              <a:gd name="connsiteX37" fmla="*/ 1309688 w 4225289"/>
              <a:gd name="connsiteY37" fmla="*/ 3248978 h 4262437"/>
              <a:gd name="connsiteX38" fmla="*/ 1236345 w 4225289"/>
              <a:gd name="connsiteY38" fmla="*/ 3191828 h 4262437"/>
              <a:gd name="connsiteX39" fmla="*/ 1199198 w 4225289"/>
              <a:gd name="connsiteY39" fmla="*/ 3164205 h 4262437"/>
              <a:gd name="connsiteX40" fmla="*/ 1161098 w 4225289"/>
              <a:gd name="connsiteY40" fmla="*/ 3139440 h 4262437"/>
              <a:gd name="connsiteX41" fmla="*/ 1011555 w 4225289"/>
              <a:gd name="connsiteY41" fmla="*/ 3069908 h 4262437"/>
              <a:gd name="connsiteX42" fmla="*/ 880110 w 4225289"/>
              <a:gd name="connsiteY42" fmla="*/ 3038475 h 4262437"/>
              <a:gd name="connsiteX43" fmla="*/ 825818 w 4225289"/>
              <a:gd name="connsiteY43" fmla="*/ 3032760 h 4262437"/>
              <a:gd name="connsiteX44" fmla="*/ 780098 w 4225289"/>
              <a:gd name="connsiteY44" fmla="*/ 3031808 h 4262437"/>
              <a:gd name="connsiteX45" fmla="*/ 761048 w 4225289"/>
              <a:gd name="connsiteY45" fmla="*/ 3031808 h 4262437"/>
              <a:gd name="connsiteX46" fmla="*/ 743903 w 4225289"/>
              <a:gd name="connsiteY46" fmla="*/ 3032760 h 4262437"/>
              <a:gd name="connsiteX47" fmla="*/ 717233 w 4225289"/>
              <a:gd name="connsiteY47" fmla="*/ 3034665 h 4262437"/>
              <a:gd name="connsiteX48" fmla="*/ 695325 w 4225289"/>
              <a:gd name="connsiteY48" fmla="*/ 3036570 h 4262437"/>
              <a:gd name="connsiteX49" fmla="*/ 717233 w 4225289"/>
              <a:gd name="connsiteY49" fmla="*/ 3038475 h 4262437"/>
              <a:gd name="connsiteX50" fmla="*/ 742950 w 4225289"/>
              <a:gd name="connsiteY50" fmla="*/ 3041333 h 4262437"/>
              <a:gd name="connsiteX51" fmla="*/ 759143 w 4225289"/>
              <a:gd name="connsiteY51" fmla="*/ 3043238 h 4262437"/>
              <a:gd name="connsiteX52" fmla="*/ 778193 w 4225289"/>
              <a:gd name="connsiteY52" fmla="*/ 3047047 h 4262437"/>
              <a:gd name="connsiteX53" fmla="*/ 822008 w 4225289"/>
              <a:gd name="connsiteY53" fmla="*/ 3056572 h 4262437"/>
              <a:gd name="connsiteX54" fmla="*/ 872490 w 4225289"/>
              <a:gd name="connsiteY54" fmla="*/ 3070860 h 4262437"/>
              <a:gd name="connsiteX55" fmla="*/ 990600 w 4225289"/>
              <a:gd name="connsiteY55" fmla="*/ 3118485 h 4262437"/>
              <a:gd name="connsiteX56" fmla="*/ 1119188 w 4225289"/>
              <a:gd name="connsiteY56" fmla="*/ 3199447 h 4262437"/>
              <a:gd name="connsiteX57" fmla="*/ 1183005 w 4225289"/>
              <a:gd name="connsiteY57" fmla="*/ 3254693 h 4262437"/>
              <a:gd name="connsiteX58" fmla="*/ 1252538 w 4225289"/>
              <a:gd name="connsiteY58" fmla="*/ 3319463 h 4262437"/>
              <a:gd name="connsiteX59" fmla="*/ 1337310 w 4225289"/>
              <a:gd name="connsiteY59" fmla="*/ 3383280 h 4262437"/>
              <a:gd name="connsiteX60" fmla="*/ 1441133 w 4225289"/>
              <a:gd name="connsiteY60" fmla="*/ 3429953 h 4262437"/>
              <a:gd name="connsiteX61" fmla="*/ 1557338 w 4225289"/>
              <a:gd name="connsiteY61" fmla="*/ 3451860 h 4262437"/>
              <a:gd name="connsiteX62" fmla="*/ 1677353 w 4225289"/>
              <a:gd name="connsiteY62" fmla="*/ 3446145 h 4262437"/>
              <a:gd name="connsiteX63" fmla="*/ 1784985 w 4225289"/>
              <a:gd name="connsiteY63" fmla="*/ 3426143 h 4262437"/>
              <a:gd name="connsiteX64" fmla="*/ 1880235 w 4225289"/>
              <a:gd name="connsiteY64" fmla="*/ 3417570 h 4262437"/>
              <a:gd name="connsiteX65" fmla="*/ 1894523 w 4225289"/>
              <a:gd name="connsiteY65" fmla="*/ 3417570 h 4262437"/>
              <a:gd name="connsiteX66" fmla="*/ 1945958 w 4225289"/>
              <a:gd name="connsiteY66" fmla="*/ 3444240 h 4262437"/>
              <a:gd name="connsiteX67" fmla="*/ 2038350 w 4225289"/>
              <a:gd name="connsiteY67" fmla="*/ 3511868 h 4262437"/>
              <a:gd name="connsiteX68" fmla="*/ 2045970 w 4225289"/>
              <a:gd name="connsiteY68" fmla="*/ 3518535 h 4262437"/>
              <a:gd name="connsiteX69" fmla="*/ 2064067 w 4225289"/>
              <a:gd name="connsiteY69" fmla="*/ 3542347 h 4262437"/>
              <a:gd name="connsiteX70" fmla="*/ 2077403 w 4225289"/>
              <a:gd name="connsiteY70" fmla="*/ 3551872 h 4262437"/>
              <a:gd name="connsiteX71" fmla="*/ 2123123 w 4225289"/>
              <a:gd name="connsiteY71" fmla="*/ 3613785 h 4262437"/>
              <a:gd name="connsiteX72" fmla="*/ 2183130 w 4225289"/>
              <a:gd name="connsiteY72" fmla="*/ 3739515 h 4262437"/>
              <a:gd name="connsiteX73" fmla="*/ 2191703 w 4225289"/>
              <a:gd name="connsiteY73" fmla="*/ 3760470 h 4262437"/>
              <a:gd name="connsiteX74" fmla="*/ 2179320 w 4225289"/>
              <a:gd name="connsiteY74" fmla="*/ 3906203 h 4262437"/>
              <a:gd name="connsiteX75" fmla="*/ 2156460 w 4225289"/>
              <a:gd name="connsiteY75" fmla="*/ 4039553 h 4262437"/>
              <a:gd name="connsiteX76" fmla="*/ 2107883 w 4225289"/>
              <a:gd name="connsiteY76" fmla="*/ 4149090 h 4262437"/>
              <a:gd name="connsiteX77" fmla="*/ 2041208 w 4225289"/>
              <a:gd name="connsiteY77" fmla="*/ 4232910 h 4262437"/>
              <a:gd name="connsiteX78" fmla="*/ 2011680 w 4225289"/>
              <a:gd name="connsiteY78" fmla="*/ 4262438 h 4262437"/>
              <a:gd name="connsiteX79" fmla="*/ 2564130 w 4225289"/>
              <a:gd name="connsiteY79" fmla="*/ 4262438 h 4262437"/>
              <a:gd name="connsiteX80" fmla="*/ 2511743 w 4225289"/>
              <a:gd name="connsiteY80" fmla="*/ 4136708 h 4262437"/>
              <a:gd name="connsiteX81" fmla="*/ 2488883 w 4225289"/>
              <a:gd name="connsiteY81" fmla="*/ 4016693 h 4262437"/>
              <a:gd name="connsiteX82" fmla="*/ 2479358 w 4225289"/>
              <a:gd name="connsiteY82" fmla="*/ 3882390 h 4262437"/>
              <a:gd name="connsiteX83" fmla="*/ 2466023 w 4225289"/>
              <a:gd name="connsiteY83" fmla="*/ 3663315 h 4262437"/>
              <a:gd name="connsiteX84" fmla="*/ 2458403 w 4225289"/>
              <a:gd name="connsiteY84" fmla="*/ 3465195 h 4262437"/>
              <a:gd name="connsiteX85" fmla="*/ 2454593 w 4225289"/>
              <a:gd name="connsiteY85" fmla="*/ 3215640 h 4262437"/>
              <a:gd name="connsiteX86" fmla="*/ 2463165 w 4225289"/>
              <a:gd name="connsiteY86" fmla="*/ 3079433 h 4262437"/>
              <a:gd name="connsiteX87" fmla="*/ 2479358 w 4225289"/>
              <a:gd name="connsiteY87" fmla="*/ 2934653 h 4262437"/>
              <a:gd name="connsiteX88" fmla="*/ 2490788 w 4225289"/>
              <a:gd name="connsiteY88" fmla="*/ 2861310 h 4262437"/>
              <a:gd name="connsiteX89" fmla="*/ 2497455 w 4225289"/>
              <a:gd name="connsiteY89" fmla="*/ 2824163 h 4262437"/>
              <a:gd name="connsiteX90" fmla="*/ 2505075 w 4225289"/>
              <a:gd name="connsiteY90" fmla="*/ 2787015 h 4262437"/>
              <a:gd name="connsiteX91" fmla="*/ 2513648 w 4225289"/>
              <a:gd name="connsiteY91" fmla="*/ 2749868 h 4262437"/>
              <a:gd name="connsiteX92" fmla="*/ 2523173 w 4225289"/>
              <a:gd name="connsiteY92" fmla="*/ 2712720 h 4262437"/>
              <a:gd name="connsiteX93" fmla="*/ 2544128 w 4225289"/>
              <a:gd name="connsiteY93" fmla="*/ 2638425 h 4262437"/>
              <a:gd name="connsiteX94" fmla="*/ 2556510 w 4225289"/>
              <a:gd name="connsiteY94" fmla="*/ 2601278 h 4262437"/>
              <a:gd name="connsiteX95" fmla="*/ 2563178 w 4225289"/>
              <a:gd name="connsiteY95" fmla="*/ 2583180 h 4262437"/>
              <a:gd name="connsiteX96" fmla="*/ 2569845 w 4225289"/>
              <a:gd name="connsiteY96" fmla="*/ 2565083 h 4262437"/>
              <a:gd name="connsiteX97" fmla="*/ 2584133 w 4225289"/>
              <a:gd name="connsiteY97" fmla="*/ 2528888 h 4262437"/>
              <a:gd name="connsiteX98" fmla="*/ 2599373 w 4225289"/>
              <a:gd name="connsiteY98" fmla="*/ 2492693 h 4262437"/>
              <a:gd name="connsiteX99" fmla="*/ 2616518 w 4225289"/>
              <a:gd name="connsiteY99" fmla="*/ 2457450 h 4262437"/>
              <a:gd name="connsiteX100" fmla="*/ 2633663 w 4225289"/>
              <a:gd name="connsiteY100" fmla="*/ 2422208 h 4262437"/>
              <a:gd name="connsiteX101" fmla="*/ 2651760 w 4225289"/>
              <a:gd name="connsiteY101" fmla="*/ 2387918 h 4262437"/>
              <a:gd name="connsiteX102" fmla="*/ 2671763 w 4225289"/>
              <a:gd name="connsiteY102" fmla="*/ 2355533 h 4262437"/>
              <a:gd name="connsiteX103" fmla="*/ 2681288 w 4225289"/>
              <a:gd name="connsiteY103" fmla="*/ 2339340 h 4262437"/>
              <a:gd name="connsiteX104" fmla="*/ 2691765 w 4225289"/>
              <a:gd name="connsiteY104" fmla="*/ 2324100 h 4262437"/>
              <a:gd name="connsiteX105" fmla="*/ 2712720 w 4225289"/>
              <a:gd name="connsiteY105" fmla="*/ 2293620 h 4262437"/>
              <a:gd name="connsiteX106" fmla="*/ 2758440 w 4225289"/>
              <a:gd name="connsiteY106" fmla="*/ 2236470 h 4262437"/>
              <a:gd name="connsiteX107" fmla="*/ 2973705 w 4225289"/>
              <a:gd name="connsiteY107" fmla="*/ 2060258 h 4262437"/>
              <a:gd name="connsiteX108" fmla="*/ 3161348 w 4225289"/>
              <a:gd name="connsiteY108" fmla="*/ 1985010 h 4262437"/>
              <a:gd name="connsiteX109" fmla="*/ 3233738 w 4225289"/>
              <a:gd name="connsiteY109" fmla="*/ 2023110 h 4262437"/>
              <a:gd name="connsiteX110" fmla="*/ 3342323 w 4225289"/>
              <a:gd name="connsiteY110" fmla="*/ 2098358 h 4262437"/>
              <a:gd name="connsiteX111" fmla="*/ 3466148 w 4225289"/>
              <a:gd name="connsiteY111" fmla="*/ 2160270 h 4262437"/>
              <a:gd name="connsiteX112" fmla="*/ 3589973 w 4225289"/>
              <a:gd name="connsiteY112" fmla="*/ 2195513 h 4262437"/>
              <a:gd name="connsiteX113" fmla="*/ 3619500 w 4225289"/>
              <a:gd name="connsiteY113" fmla="*/ 2200275 h 4262437"/>
              <a:gd name="connsiteX114" fmla="*/ 3649028 w 4225289"/>
              <a:gd name="connsiteY114" fmla="*/ 2204085 h 4262437"/>
              <a:gd name="connsiteX115" fmla="*/ 3677603 w 4225289"/>
              <a:gd name="connsiteY115" fmla="*/ 2205990 h 4262437"/>
              <a:gd name="connsiteX116" fmla="*/ 3705225 w 4225289"/>
              <a:gd name="connsiteY116" fmla="*/ 2207895 h 4262437"/>
              <a:gd name="connsiteX117" fmla="*/ 3805238 w 4225289"/>
              <a:gd name="connsiteY117" fmla="*/ 2203133 h 4262437"/>
              <a:gd name="connsiteX118" fmla="*/ 3848100 w 4225289"/>
              <a:gd name="connsiteY118" fmla="*/ 2196465 h 4262437"/>
              <a:gd name="connsiteX119" fmla="*/ 3886200 w 4225289"/>
              <a:gd name="connsiteY119" fmla="*/ 2188845 h 4262437"/>
              <a:gd name="connsiteX120" fmla="*/ 3918585 w 4225289"/>
              <a:gd name="connsiteY120" fmla="*/ 2180272 h 4262437"/>
              <a:gd name="connsiteX121" fmla="*/ 3945255 w 4225289"/>
              <a:gd name="connsiteY121" fmla="*/ 2171700 h 4262437"/>
              <a:gd name="connsiteX122" fmla="*/ 3966210 w 4225289"/>
              <a:gd name="connsiteY122" fmla="*/ 2164080 h 4262437"/>
              <a:gd name="connsiteX123" fmla="*/ 3981450 w 4225289"/>
              <a:gd name="connsiteY123" fmla="*/ 2158365 h 4262437"/>
              <a:gd name="connsiteX124" fmla="*/ 3993833 w 4225289"/>
              <a:gd name="connsiteY124" fmla="*/ 2153603 h 4262437"/>
              <a:gd name="connsiteX125" fmla="*/ 3980498 w 4225289"/>
              <a:gd name="connsiteY125" fmla="*/ 2155508 h 4262437"/>
              <a:gd name="connsiteX126" fmla="*/ 3964305 w 4225289"/>
              <a:gd name="connsiteY126" fmla="*/ 2158365 h 4262437"/>
              <a:gd name="connsiteX127" fmla="*/ 3942398 w 4225289"/>
              <a:gd name="connsiteY127" fmla="*/ 2161222 h 4262437"/>
              <a:gd name="connsiteX128" fmla="*/ 3803333 w 4225289"/>
              <a:gd name="connsiteY128" fmla="*/ 2166938 h 4262437"/>
              <a:gd name="connsiteX129" fmla="*/ 3709035 w 4225289"/>
              <a:gd name="connsiteY129" fmla="*/ 2158365 h 4262437"/>
              <a:gd name="connsiteX130" fmla="*/ 3683318 w 4225289"/>
              <a:gd name="connsiteY130" fmla="*/ 2153603 h 4262437"/>
              <a:gd name="connsiteX131" fmla="*/ 3657600 w 4225289"/>
              <a:gd name="connsiteY131" fmla="*/ 2148840 h 4262437"/>
              <a:gd name="connsiteX132" fmla="*/ 3630930 w 4225289"/>
              <a:gd name="connsiteY132" fmla="*/ 2143125 h 4262437"/>
              <a:gd name="connsiteX133" fmla="*/ 3604260 w 4225289"/>
              <a:gd name="connsiteY133" fmla="*/ 2135505 h 4262437"/>
              <a:gd name="connsiteX134" fmla="*/ 3492818 w 4225289"/>
              <a:gd name="connsiteY134" fmla="*/ 2095500 h 4262437"/>
              <a:gd name="connsiteX135" fmla="*/ 3381375 w 4225289"/>
              <a:gd name="connsiteY135" fmla="*/ 2036445 h 4262437"/>
              <a:gd name="connsiteX136" fmla="*/ 3269933 w 4225289"/>
              <a:gd name="connsiteY136" fmla="*/ 1963103 h 4262437"/>
              <a:gd name="connsiteX137" fmla="*/ 3268028 w 4225289"/>
              <a:gd name="connsiteY137" fmla="*/ 1962150 h 4262437"/>
              <a:gd name="connsiteX138" fmla="*/ 3449003 w 4225289"/>
              <a:gd name="connsiteY138" fmla="*/ 1942147 h 4262437"/>
              <a:gd name="connsiteX139" fmla="*/ 3555683 w 4225289"/>
              <a:gd name="connsiteY139" fmla="*/ 1913572 h 4262437"/>
              <a:gd name="connsiteX140" fmla="*/ 3576638 w 4225289"/>
              <a:gd name="connsiteY140" fmla="*/ 1905000 h 4262437"/>
              <a:gd name="connsiteX141" fmla="*/ 3578543 w 4225289"/>
              <a:gd name="connsiteY141" fmla="*/ 1905000 h 4262437"/>
              <a:gd name="connsiteX142" fmla="*/ 3801428 w 4225289"/>
              <a:gd name="connsiteY142" fmla="*/ 1792605 h 4262437"/>
              <a:gd name="connsiteX143" fmla="*/ 3901440 w 4225289"/>
              <a:gd name="connsiteY143" fmla="*/ 1714500 h 4262437"/>
              <a:gd name="connsiteX144" fmla="*/ 3989070 w 4225289"/>
              <a:gd name="connsiteY144" fmla="*/ 1637348 h 4262437"/>
              <a:gd name="connsiteX145" fmla="*/ 4128135 w 4225289"/>
              <a:gd name="connsiteY145" fmla="*/ 1493520 h 4262437"/>
              <a:gd name="connsiteX146" fmla="*/ 4204335 w 4225289"/>
              <a:gd name="connsiteY146" fmla="*/ 1382078 h 4262437"/>
              <a:gd name="connsiteX147" fmla="*/ 4213860 w 4225289"/>
              <a:gd name="connsiteY147" fmla="*/ 1363028 h 4262437"/>
              <a:gd name="connsiteX148" fmla="*/ 4220528 w 4225289"/>
              <a:gd name="connsiteY148" fmla="*/ 1348740 h 4262437"/>
              <a:gd name="connsiteX149" fmla="*/ 4225290 w 4225289"/>
              <a:gd name="connsiteY149" fmla="*/ 1337310 h 4262437"/>
              <a:gd name="connsiteX150" fmla="*/ 4217670 w 4225289"/>
              <a:gd name="connsiteY150" fmla="*/ 1346835 h 4262437"/>
              <a:gd name="connsiteX151" fmla="*/ 4208145 w 4225289"/>
              <a:gd name="connsiteY151" fmla="*/ 1359218 h 4262437"/>
              <a:gd name="connsiteX152" fmla="*/ 4194810 w 4225289"/>
              <a:gd name="connsiteY152" fmla="*/ 1375410 h 4262437"/>
              <a:gd name="connsiteX153" fmla="*/ 4102418 w 4225289"/>
              <a:gd name="connsiteY153" fmla="*/ 1468755 h 4262437"/>
              <a:gd name="connsiteX154" fmla="*/ 3950970 w 4225289"/>
              <a:gd name="connsiteY154" fmla="*/ 1590675 h 4262437"/>
              <a:gd name="connsiteX155" fmla="*/ 3760470 w 4225289"/>
              <a:gd name="connsiteY155" fmla="*/ 1734503 h 4262437"/>
              <a:gd name="connsiteX156" fmla="*/ 3559493 w 4225289"/>
              <a:gd name="connsiteY156" fmla="*/ 1847850 h 4262437"/>
              <a:gd name="connsiteX157" fmla="*/ 3508058 w 4225289"/>
              <a:gd name="connsiteY157" fmla="*/ 1864995 h 4262437"/>
              <a:gd name="connsiteX158" fmla="*/ 3440430 w 4225289"/>
              <a:gd name="connsiteY158" fmla="*/ 1872615 h 4262437"/>
              <a:gd name="connsiteX159" fmla="*/ 3328035 w 4225289"/>
              <a:gd name="connsiteY159" fmla="*/ 1872615 h 4262437"/>
              <a:gd name="connsiteX160" fmla="*/ 3198495 w 4225289"/>
              <a:gd name="connsiteY160" fmla="*/ 1875472 h 4262437"/>
              <a:gd name="connsiteX161" fmla="*/ 3115628 w 4225289"/>
              <a:gd name="connsiteY161" fmla="*/ 1887855 h 4262437"/>
              <a:gd name="connsiteX162" fmla="*/ 3231833 w 4225289"/>
              <a:gd name="connsiteY162" fmla="*/ 1799272 h 4262437"/>
              <a:gd name="connsiteX163" fmla="*/ 3332798 w 4225289"/>
              <a:gd name="connsiteY163" fmla="*/ 1692593 h 4262437"/>
              <a:gd name="connsiteX164" fmla="*/ 3406140 w 4225289"/>
              <a:gd name="connsiteY164" fmla="*/ 1546860 h 4262437"/>
              <a:gd name="connsiteX165" fmla="*/ 3411855 w 4225289"/>
              <a:gd name="connsiteY165" fmla="*/ 1525905 h 4262437"/>
              <a:gd name="connsiteX166" fmla="*/ 3415665 w 4225289"/>
              <a:gd name="connsiteY166" fmla="*/ 1504950 h 4262437"/>
              <a:gd name="connsiteX167" fmla="*/ 3420428 w 4225289"/>
              <a:gd name="connsiteY167" fmla="*/ 1463040 h 4262437"/>
              <a:gd name="connsiteX168" fmla="*/ 3418523 w 4225289"/>
              <a:gd name="connsiteY168" fmla="*/ 1384935 h 4262437"/>
              <a:gd name="connsiteX169" fmla="*/ 3417570 w 4225289"/>
              <a:gd name="connsiteY169" fmla="*/ 1250633 h 4262437"/>
              <a:gd name="connsiteX170" fmla="*/ 3451860 w 4225289"/>
              <a:gd name="connsiteY170" fmla="*/ 1137285 h 4262437"/>
              <a:gd name="connsiteX171" fmla="*/ 3509010 w 4225289"/>
              <a:gd name="connsiteY171" fmla="*/ 1048703 h 4262437"/>
              <a:gd name="connsiteX172" fmla="*/ 3627120 w 4225289"/>
              <a:gd name="connsiteY172" fmla="*/ 945832 h 4262437"/>
              <a:gd name="connsiteX173" fmla="*/ 3649028 w 4225289"/>
              <a:gd name="connsiteY173" fmla="*/ 933450 h 4262437"/>
              <a:gd name="connsiteX174" fmla="*/ 3665220 w 4225289"/>
              <a:gd name="connsiteY174" fmla="*/ 924878 h 4262437"/>
              <a:gd name="connsiteX175" fmla="*/ 3678555 w 4225289"/>
              <a:gd name="connsiteY175" fmla="*/ 918210 h 4262437"/>
              <a:gd name="connsiteX176" fmla="*/ 3664268 w 4225289"/>
              <a:gd name="connsiteY176" fmla="*/ 922020 h 4262437"/>
              <a:gd name="connsiteX177" fmla="*/ 3646170 w 4225289"/>
              <a:gd name="connsiteY177" fmla="*/ 927735 h 4262437"/>
              <a:gd name="connsiteX178" fmla="*/ 3622358 w 4225289"/>
              <a:gd name="connsiteY178" fmla="*/ 936307 h 4262437"/>
              <a:gd name="connsiteX179" fmla="*/ 3592830 w 4225289"/>
              <a:gd name="connsiteY179" fmla="*/ 949643 h 4262437"/>
              <a:gd name="connsiteX180" fmla="*/ 3559493 w 4225289"/>
              <a:gd name="connsiteY180" fmla="*/ 967740 h 4262437"/>
              <a:gd name="connsiteX181" fmla="*/ 3484245 w 4225289"/>
              <a:gd name="connsiteY181" fmla="*/ 1024890 h 4262437"/>
              <a:gd name="connsiteX182" fmla="*/ 3409950 w 4225289"/>
              <a:gd name="connsiteY182" fmla="*/ 1114425 h 4262437"/>
              <a:gd name="connsiteX183" fmla="*/ 3359468 w 4225289"/>
              <a:gd name="connsiteY183" fmla="*/ 1241108 h 4262437"/>
              <a:gd name="connsiteX184" fmla="*/ 3351848 w 4225289"/>
              <a:gd name="connsiteY184" fmla="*/ 1387793 h 4262437"/>
              <a:gd name="connsiteX185" fmla="*/ 3350895 w 4225289"/>
              <a:gd name="connsiteY185" fmla="*/ 1459230 h 4262437"/>
              <a:gd name="connsiteX186" fmla="*/ 3347085 w 4225289"/>
              <a:gd name="connsiteY186" fmla="*/ 1493520 h 4262437"/>
              <a:gd name="connsiteX187" fmla="*/ 3344228 w 4225289"/>
              <a:gd name="connsiteY187" fmla="*/ 1510665 h 4262437"/>
              <a:gd name="connsiteX188" fmla="*/ 3339465 w 4225289"/>
              <a:gd name="connsiteY188" fmla="*/ 1527810 h 4262437"/>
              <a:gd name="connsiteX189" fmla="*/ 3279458 w 4225289"/>
              <a:gd name="connsiteY189" fmla="*/ 1652587 h 4262437"/>
              <a:gd name="connsiteX190" fmla="*/ 3191828 w 4225289"/>
              <a:gd name="connsiteY190" fmla="*/ 1754505 h 4262437"/>
              <a:gd name="connsiteX191" fmla="*/ 3015615 w 4225289"/>
              <a:gd name="connsiteY191" fmla="*/ 1911668 h 4262437"/>
              <a:gd name="connsiteX192" fmla="*/ 3011805 w 4225289"/>
              <a:gd name="connsiteY192" fmla="*/ 1914525 h 4262437"/>
              <a:gd name="connsiteX193" fmla="*/ 2918460 w 4225289"/>
              <a:gd name="connsiteY193" fmla="*/ 1951672 h 4262437"/>
              <a:gd name="connsiteX194" fmla="*/ 2712720 w 4225289"/>
              <a:gd name="connsiteY194" fmla="*/ 2087880 h 4262437"/>
              <a:gd name="connsiteX195" fmla="*/ 2716530 w 4225289"/>
              <a:gd name="connsiteY195" fmla="*/ 2030730 h 4262437"/>
              <a:gd name="connsiteX196" fmla="*/ 2684145 w 4225289"/>
              <a:gd name="connsiteY196" fmla="*/ 1798320 h 4262437"/>
              <a:gd name="connsiteX197" fmla="*/ 2586990 w 4225289"/>
              <a:gd name="connsiteY197" fmla="*/ 1596390 h 4262437"/>
              <a:gd name="connsiteX198" fmla="*/ 2482215 w 4225289"/>
              <a:gd name="connsiteY198" fmla="*/ 1457325 h 4262437"/>
              <a:gd name="connsiteX199" fmla="*/ 2474595 w 4225289"/>
              <a:gd name="connsiteY199" fmla="*/ 1442085 h 4262437"/>
              <a:gd name="connsiteX200" fmla="*/ 2434590 w 4225289"/>
              <a:gd name="connsiteY200" fmla="*/ 1299210 h 4262437"/>
              <a:gd name="connsiteX201" fmla="*/ 2492693 w 4225289"/>
              <a:gd name="connsiteY201" fmla="*/ 995362 h 4262437"/>
              <a:gd name="connsiteX202" fmla="*/ 2513648 w 4225289"/>
              <a:gd name="connsiteY202" fmla="*/ 961073 h 4262437"/>
              <a:gd name="connsiteX203" fmla="*/ 2525078 w 4225289"/>
              <a:gd name="connsiteY203" fmla="*/ 944880 h 4262437"/>
              <a:gd name="connsiteX204" fmla="*/ 2537460 w 4225289"/>
              <a:gd name="connsiteY204" fmla="*/ 929640 h 4262437"/>
              <a:gd name="connsiteX205" fmla="*/ 2549843 w 4225289"/>
              <a:gd name="connsiteY205" fmla="*/ 914400 h 4262437"/>
              <a:gd name="connsiteX206" fmla="*/ 2563178 w 4225289"/>
              <a:gd name="connsiteY206" fmla="*/ 900112 h 4262437"/>
              <a:gd name="connsiteX207" fmla="*/ 2569845 w 4225289"/>
              <a:gd name="connsiteY207" fmla="*/ 893445 h 4262437"/>
              <a:gd name="connsiteX208" fmla="*/ 2575560 w 4225289"/>
              <a:gd name="connsiteY208" fmla="*/ 887730 h 4262437"/>
              <a:gd name="connsiteX209" fmla="*/ 2588895 w 4225289"/>
              <a:gd name="connsiteY209" fmla="*/ 878205 h 4262437"/>
              <a:gd name="connsiteX210" fmla="*/ 2657475 w 4225289"/>
              <a:gd name="connsiteY210" fmla="*/ 835343 h 4262437"/>
              <a:gd name="connsiteX211" fmla="*/ 2727960 w 4225289"/>
              <a:gd name="connsiteY211" fmla="*/ 794385 h 4262437"/>
              <a:gd name="connsiteX212" fmla="*/ 2999423 w 4225289"/>
              <a:gd name="connsiteY212" fmla="*/ 640080 h 4262437"/>
              <a:gd name="connsiteX213" fmla="*/ 3458528 w 4225289"/>
              <a:gd name="connsiteY213" fmla="*/ 378142 h 4262437"/>
              <a:gd name="connsiteX214" fmla="*/ 3550920 w 4225289"/>
              <a:gd name="connsiteY214" fmla="*/ 322898 h 4262437"/>
              <a:gd name="connsiteX215" fmla="*/ 3629978 w 4225289"/>
              <a:gd name="connsiteY215" fmla="*/ 266700 h 4262437"/>
              <a:gd name="connsiteX216" fmla="*/ 3738563 w 4225289"/>
              <a:gd name="connsiteY216" fmla="*/ 155257 h 4262437"/>
              <a:gd name="connsiteX217" fmla="*/ 3788093 w 4225289"/>
              <a:gd name="connsiteY217" fmla="*/ 71438 h 4262437"/>
              <a:gd name="connsiteX218" fmla="*/ 3797618 w 4225289"/>
              <a:gd name="connsiteY218" fmla="*/ 47625 h 4262437"/>
              <a:gd name="connsiteX219" fmla="*/ 3800475 w 4225289"/>
              <a:gd name="connsiteY219" fmla="*/ 40005 h 4262437"/>
              <a:gd name="connsiteX220" fmla="*/ 3796665 w 4225289"/>
              <a:gd name="connsiteY220" fmla="*/ 47625 h 4262437"/>
              <a:gd name="connsiteX221" fmla="*/ 3785235 w 4225289"/>
              <a:gd name="connsiteY221" fmla="*/ 69532 h 4262437"/>
              <a:gd name="connsiteX222" fmla="*/ 3729038 w 4225289"/>
              <a:gd name="connsiteY222" fmla="*/ 147638 h 4262437"/>
              <a:gd name="connsiteX223" fmla="*/ 3615690 w 4225289"/>
              <a:gd name="connsiteY223" fmla="*/ 247650 h 4262437"/>
              <a:gd name="connsiteX224" fmla="*/ 3535680 w 4225289"/>
              <a:gd name="connsiteY224" fmla="*/ 297180 h 4262437"/>
              <a:gd name="connsiteX225" fmla="*/ 3440430 w 4225289"/>
              <a:gd name="connsiteY225" fmla="*/ 345757 h 4262437"/>
              <a:gd name="connsiteX226" fmla="*/ 2968943 w 4225289"/>
              <a:gd name="connsiteY226" fmla="*/ 585787 h 4262437"/>
              <a:gd name="connsiteX227" fmla="*/ 2692718 w 4225289"/>
              <a:gd name="connsiteY227" fmla="*/ 733425 h 4262437"/>
              <a:gd name="connsiteX228" fmla="*/ 2621280 w 4225289"/>
              <a:gd name="connsiteY228" fmla="*/ 774382 h 4262437"/>
              <a:gd name="connsiteX229" fmla="*/ 2547938 w 4225289"/>
              <a:gd name="connsiteY229" fmla="*/ 819150 h 4262437"/>
              <a:gd name="connsiteX230" fmla="*/ 2526983 w 4225289"/>
              <a:gd name="connsiteY230" fmla="*/ 834390 h 4262437"/>
              <a:gd name="connsiteX231" fmla="*/ 2518410 w 4225289"/>
              <a:gd name="connsiteY231" fmla="*/ 842962 h 4262437"/>
              <a:gd name="connsiteX232" fmla="*/ 2510790 w 4225289"/>
              <a:gd name="connsiteY232" fmla="*/ 851535 h 4262437"/>
              <a:gd name="connsiteX233" fmla="*/ 2495550 w 4225289"/>
              <a:gd name="connsiteY233" fmla="*/ 867728 h 4262437"/>
              <a:gd name="connsiteX234" fmla="*/ 2481263 w 4225289"/>
              <a:gd name="connsiteY234" fmla="*/ 885825 h 4262437"/>
              <a:gd name="connsiteX235" fmla="*/ 2481263 w 4225289"/>
              <a:gd name="connsiteY235" fmla="*/ 759143 h 4262437"/>
              <a:gd name="connsiteX236" fmla="*/ 2483168 w 4225289"/>
              <a:gd name="connsiteY236" fmla="*/ 602932 h 4262437"/>
              <a:gd name="connsiteX237" fmla="*/ 2509838 w 4225289"/>
              <a:gd name="connsiteY237" fmla="*/ 463868 h 4262437"/>
              <a:gd name="connsiteX238" fmla="*/ 2626995 w 4225289"/>
              <a:gd name="connsiteY238" fmla="*/ 251460 h 4262437"/>
              <a:gd name="connsiteX239" fmla="*/ 2748915 w 4225289"/>
              <a:gd name="connsiteY239" fmla="*/ 137160 h 4262437"/>
              <a:gd name="connsiteX240" fmla="*/ 2770823 w 4225289"/>
              <a:gd name="connsiteY240" fmla="*/ 121920 h 4262437"/>
              <a:gd name="connsiteX241" fmla="*/ 2787968 w 4225289"/>
              <a:gd name="connsiteY241" fmla="*/ 111442 h 4262437"/>
              <a:gd name="connsiteX242" fmla="*/ 2802255 w 4225289"/>
              <a:gd name="connsiteY242" fmla="*/ 102870 h 4262437"/>
              <a:gd name="connsiteX243" fmla="*/ 2787015 w 4225289"/>
              <a:gd name="connsiteY243" fmla="*/ 108585 h 4262437"/>
              <a:gd name="connsiteX244" fmla="*/ 2768918 w 4225289"/>
              <a:gd name="connsiteY244" fmla="*/ 116205 h 4262437"/>
              <a:gd name="connsiteX245" fmla="*/ 2744153 w 4225289"/>
              <a:gd name="connsiteY245" fmla="*/ 127635 h 4262437"/>
              <a:gd name="connsiteX246" fmla="*/ 2714625 w 4225289"/>
              <a:gd name="connsiteY246" fmla="*/ 143827 h 4262437"/>
              <a:gd name="connsiteX247" fmla="*/ 2697480 w 4225289"/>
              <a:gd name="connsiteY247" fmla="*/ 153352 h 4262437"/>
              <a:gd name="connsiteX248" fmla="*/ 2679383 w 4225289"/>
              <a:gd name="connsiteY248" fmla="*/ 164782 h 4262437"/>
              <a:gd name="connsiteX249" fmla="*/ 2641283 w 4225289"/>
              <a:gd name="connsiteY249" fmla="*/ 192405 h 4262437"/>
              <a:gd name="connsiteX250" fmla="*/ 2621280 w 4225289"/>
              <a:gd name="connsiteY250" fmla="*/ 208598 h 4262437"/>
              <a:gd name="connsiteX251" fmla="*/ 2601278 w 4225289"/>
              <a:gd name="connsiteY251" fmla="*/ 226695 h 4262437"/>
              <a:gd name="connsiteX252" fmla="*/ 2581275 w 4225289"/>
              <a:gd name="connsiteY252" fmla="*/ 246698 h 4262437"/>
              <a:gd name="connsiteX253" fmla="*/ 2561273 w 4225289"/>
              <a:gd name="connsiteY253" fmla="*/ 268605 h 4262437"/>
              <a:gd name="connsiteX254" fmla="*/ 2541270 w 4225289"/>
              <a:gd name="connsiteY254" fmla="*/ 292417 h 4262437"/>
              <a:gd name="connsiteX255" fmla="*/ 2531745 w 4225289"/>
              <a:gd name="connsiteY255" fmla="*/ 304800 h 4262437"/>
              <a:gd name="connsiteX256" fmla="*/ 2522220 w 4225289"/>
              <a:gd name="connsiteY256" fmla="*/ 318135 h 4262437"/>
              <a:gd name="connsiteX257" fmla="*/ 2454593 w 4225289"/>
              <a:gd name="connsiteY257" fmla="*/ 441960 h 4262437"/>
              <a:gd name="connsiteX258" fmla="*/ 2416493 w 4225289"/>
              <a:gd name="connsiteY258" fmla="*/ 594360 h 4262437"/>
              <a:gd name="connsiteX259" fmla="*/ 2410778 w 4225289"/>
              <a:gd name="connsiteY259" fmla="*/ 759143 h 4262437"/>
              <a:gd name="connsiteX260" fmla="*/ 2412683 w 4225289"/>
              <a:gd name="connsiteY260" fmla="*/ 917257 h 4262437"/>
              <a:gd name="connsiteX261" fmla="*/ 2404110 w 4225289"/>
              <a:gd name="connsiteY261" fmla="*/ 1019175 h 4262437"/>
              <a:gd name="connsiteX262" fmla="*/ 2367915 w 4225289"/>
              <a:gd name="connsiteY262" fmla="*/ 1307783 h 4262437"/>
              <a:gd name="connsiteX263" fmla="*/ 2367915 w 4225289"/>
              <a:gd name="connsiteY263" fmla="*/ 1309687 h 4262437"/>
              <a:gd name="connsiteX264" fmla="*/ 2367915 w 4225289"/>
              <a:gd name="connsiteY264" fmla="*/ 1317308 h 4262437"/>
              <a:gd name="connsiteX265" fmla="*/ 2367915 w 4225289"/>
              <a:gd name="connsiteY265" fmla="*/ 1329690 h 4262437"/>
              <a:gd name="connsiteX266" fmla="*/ 2330768 w 4225289"/>
              <a:gd name="connsiteY266" fmla="*/ 1289685 h 4262437"/>
              <a:gd name="connsiteX267" fmla="*/ 2213610 w 4225289"/>
              <a:gd name="connsiteY267" fmla="*/ 1156335 h 4262437"/>
              <a:gd name="connsiteX268" fmla="*/ 2118360 w 4225289"/>
              <a:gd name="connsiteY268" fmla="*/ 1022032 h 4262437"/>
              <a:gd name="connsiteX269" fmla="*/ 1989773 w 4225289"/>
              <a:gd name="connsiteY269" fmla="*/ 754380 h 4262437"/>
              <a:gd name="connsiteX270" fmla="*/ 1928813 w 4225289"/>
              <a:gd name="connsiteY270" fmla="*/ 513398 h 4262437"/>
              <a:gd name="connsiteX271" fmla="*/ 1914525 w 4225289"/>
              <a:gd name="connsiteY271" fmla="*/ 410528 h 4262437"/>
              <a:gd name="connsiteX272" fmla="*/ 1901190 w 4225289"/>
              <a:gd name="connsiteY272" fmla="*/ 322898 h 4262437"/>
              <a:gd name="connsiteX273" fmla="*/ 1884045 w 4225289"/>
              <a:gd name="connsiteY273" fmla="*/ 250507 h 4262437"/>
              <a:gd name="connsiteX274" fmla="*/ 1860233 w 4225289"/>
              <a:gd name="connsiteY274" fmla="*/ 175260 h 4262437"/>
              <a:gd name="connsiteX275" fmla="*/ 1791653 w 4225289"/>
              <a:gd name="connsiteY275" fmla="*/ 42863 h 4262437"/>
              <a:gd name="connsiteX276" fmla="*/ 1767840 w 4225289"/>
              <a:gd name="connsiteY276" fmla="*/ 10477 h 4262437"/>
              <a:gd name="connsiteX277" fmla="*/ 1759267 w 4225289"/>
              <a:gd name="connsiteY277" fmla="*/ 0 h 4262437"/>
              <a:gd name="connsiteX278" fmla="*/ 1766888 w 4225289"/>
              <a:gd name="connsiteY278" fmla="*/ 11430 h 4262437"/>
              <a:gd name="connsiteX279" fmla="*/ 1786890 w 4225289"/>
              <a:gd name="connsiteY279" fmla="*/ 45720 h 4262437"/>
              <a:gd name="connsiteX280" fmla="*/ 1843088 w 4225289"/>
              <a:gd name="connsiteY280" fmla="*/ 180975 h 4262437"/>
              <a:gd name="connsiteX281" fmla="*/ 1864995 w 4225289"/>
              <a:gd name="connsiteY281" fmla="*/ 279082 h 4262437"/>
              <a:gd name="connsiteX282" fmla="*/ 1874520 w 4225289"/>
              <a:gd name="connsiteY282" fmla="*/ 394335 h 4262437"/>
              <a:gd name="connsiteX283" fmla="*/ 1881188 w 4225289"/>
              <a:gd name="connsiteY283" fmla="*/ 524828 h 4262437"/>
              <a:gd name="connsiteX284" fmla="*/ 1884998 w 4225289"/>
              <a:gd name="connsiteY284" fmla="*/ 559118 h 4262437"/>
              <a:gd name="connsiteX285" fmla="*/ 1889760 w 4225289"/>
              <a:gd name="connsiteY285" fmla="*/ 594360 h 4262437"/>
              <a:gd name="connsiteX286" fmla="*/ 1892617 w 4225289"/>
              <a:gd name="connsiteY286" fmla="*/ 613410 h 4262437"/>
              <a:gd name="connsiteX287" fmla="*/ 1922145 w 4225289"/>
              <a:gd name="connsiteY287" fmla="*/ 773430 h 4262437"/>
              <a:gd name="connsiteX288" fmla="*/ 1967865 w 4225289"/>
              <a:gd name="connsiteY288" fmla="*/ 919162 h 4262437"/>
              <a:gd name="connsiteX289" fmla="*/ 1857375 w 4225289"/>
              <a:gd name="connsiteY289" fmla="*/ 831532 h 4262437"/>
              <a:gd name="connsiteX290" fmla="*/ 1603058 w 4225289"/>
              <a:gd name="connsiteY290" fmla="*/ 701040 h 4262437"/>
              <a:gd name="connsiteX291" fmla="*/ 1336358 w 4225289"/>
              <a:gd name="connsiteY291" fmla="*/ 617220 h 4262437"/>
              <a:gd name="connsiteX292" fmla="*/ 1091565 w 4225289"/>
              <a:gd name="connsiteY292" fmla="*/ 550545 h 4262437"/>
              <a:gd name="connsiteX293" fmla="*/ 706755 w 4225289"/>
              <a:gd name="connsiteY293" fmla="*/ 380048 h 4262437"/>
              <a:gd name="connsiteX294" fmla="*/ 501968 w 4225289"/>
              <a:gd name="connsiteY294" fmla="*/ 182880 h 4262437"/>
              <a:gd name="connsiteX295" fmla="*/ 462915 w 4225289"/>
              <a:gd name="connsiteY295" fmla="*/ 114300 h 4262437"/>
              <a:gd name="connsiteX296" fmla="*/ 450533 w 4225289"/>
              <a:gd name="connsiteY296" fmla="*/ 89535 h 4262437"/>
              <a:gd name="connsiteX297" fmla="*/ 458153 w 4225289"/>
              <a:gd name="connsiteY297" fmla="*/ 116205 h 4262437"/>
              <a:gd name="connsiteX298" fmla="*/ 487680 w 4225289"/>
              <a:gd name="connsiteY298" fmla="*/ 191452 h 4262437"/>
              <a:gd name="connsiteX299" fmla="*/ 501015 w 4225289"/>
              <a:gd name="connsiteY299" fmla="*/ 216217 h 4262437"/>
              <a:gd name="connsiteX300" fmla="*/ 507683 w 4225289"/>
              <a:gd name="connsiteY300" fmla="*/ 229552 h 4262437"/>
              <a:gd name="connsiteX301" fmla="*/ 516255 w 4225289"/>
              <a:gd name="connsiteY301" fmla="*/ 242888 h 4262437"/>
              <a:gd name="connsiteX302" fmla="*/ 534353 w 4225289"/>
              <a:gd name="connsiteY302" fmla="*/ 271463 h 4262437"/>
              <a:gd name="connsiteX303" fmla="*/ 556260 w 4225289"/>
              <a:gd name="connsiteY303" fmla="*/ 300990 h 4262437"/>
              <a:gd name="connsiteX304" fmla="*/ 675323 w 4225289"/>
              <a:gd name="connsiteY304" fmla="*/ 423863 h 4262437"/>
              <a:gd name="connsiteX305" fmla="*/ 1063942 w 4225289"/>
              <a:gd name="connsiteY305" fmla="*/ 637223 h 4262437"/>
              <a:gd name="connsiteX306" fmla="*/ 1308735 w 4225289"/>
              <a:gd name="connsiteY306" fmla="*/ 717232 h 4262437"/>
              <a:gd name="connsiteX307" fmla="*/ 1564958 w 4225289"/>
              <a:gd name="connsiteY307" fmla="*/ 802957 h 4262437"/>
              <a:gd name="connsiteX308" fmla="*/ 1801178 w 4225289"/>
              <a:gd name="connsiteY308" fmla="*/ 919162 h 4262437"/>
              <a:gd name="connsiteX309" fmla="*/ 1995488 w 4225289"/>
              <a:gd name="connsiteY309" fmla="*/ 1072515 h 4262437"/>
              <a:gd name="connsiteX310" fmla="*/ 2082165 w 4225289"/>
              <a:gd name="connsiteY310" fmla="*/ 1152525 h 4262437"/>
              <a:gd name="connsiteX311" fmla="*/ 2128838 w 4225289"/>
              <a:gd name="connsiteY311" fmla="*/ 1223010 h 4262437"/>
              <a:gd name="connsiteX312" fmla="*/ 2242185 w 4225289"/>
              <a:gd name="connsiteY312" fmla="*/ 1369695 h 4262437"/>
              <a:gd name="connsiteX313" fmla="*/ 2473643 w 4225289"/>
              <a:gd name="connsiteY313" fmla="*/ 1669733 h 4262437"/>
              <a:gd name="connsiteX314" fmla="*/ 2551748 w 4225289"/>
              <a:gd name="connsiteY314" fmla="*/ 1840230 h 4262437"/>
              <a:gd name="connsiteX315" fmla="*/ 2576513 w 4225289"/>
              <a:gd name="connsiteY315" fmla="*/ 2026920 h 4262437"/>
              <a:gd name="connsiteX316" fmla="*/ 2542223 w 4225289"/>
              <a:gd name="connsiteY316" fmla="*/ 2212658 h 4262437"/>
              <a:gd name="connsiteX317" fmla="*/ 2525078 w 4225289"/>
              <a:gd name="connsiteY317" fmla="*/ 2256472 h 4262437"/>
              <a:gd name="connsiteX318" fmla="*/ 2505075 w 4225289"/>
              <a:gd name="connsiteY318" fmla="*/ 2300288 h 4262437"/>
              <a:gd name="connsiteX319" fmla="*/ 2458403 w 4225289"/>
              <a:gd name="connsiteY319" fmla="*/ 2386965 h 4262437"/>
              <a:gd name="connsiteX320" fmla="*/ 2360295 w 4225289"/>
              <a:gd name="connsiteY320" fmla="*/ 2563178 h 4262437"/>
              <a:gd name="connsiteX321" fmla="*/ 2318385 w 4225289"/>
              <a:gd name="connsiteY321" fmla="*/ 2656522 h 4262437"/>
              <a:gd name="connsiteX322" fmla="*/ 2309813 w 4225289"/>
              <a:gd name="connsiteY322" fmla="*/ 2680335 h 4262437"/>
              <a:gd name="connsiteX323" fmla="*/ 2301240 w 4225289"/>
              <a:gd name="connsiteY323" fmla="*/ 2705100 h 4262437"/>
              <a:gd name="connsiteX324" fmla="*/ 2287905 w 4225289"/>
              <a:gd name="connsiteY324" fmla="*/ 2753678 h 4262437"/>
              <a:gd name="connsiteX325" fmla="*/ 2279333 w 4225289"/>
              <a:gd name="connsiteY325" fmla="*/ 2793683 h 4262437"/>
              <a:gd name="connsiteX326" fmla="*/ 2238375 w 4225289"/>
              <a:gd name="connsiteY326" fmla="*/ 2718435 h 4262437"/>
              <a:gd name="connsiteX327" fmla="*/ 2184083 w 4225289"/>
              <a:gd name="connsiteY327" fmla="*/ 2647950 h 4262437"/>
              <a:gd name="connsiteX328" fmla="*/ 2119313 w 4225289"/>
              <a:gd name="connsiteY328" fmla="*/ 2586038 h 4262437"/>
              <a:gd name="connsiteX329" fmla="*/ 2046923 w 4225289"/>
              <a:gd name="connsiteY329" fmla="*/ 2532697 h 4262437"/>
              <a:gd name="connsiteX330" fmla="*/ 1886903 w 4225289"/>
              <a:gd name="connsiteY330" fmla="*/ 2451735 h 4262437"/>
              <a:gd name="connsiteX331" fmla="*/ 1754505 w 4225289"/>
              <a:gd name="connsiteY331" fmla="*/ 2406968 h 4262437"/>
              <a:gd name="connsiteX332" fmla="*/ 1728788 w 4225289"/>
              <a:gd name="connsiteY332" fmla="*/ 2336483 h 4262437"/>
              <a:gd name="connsiteX333" fmla="*/ 1732598 w 4225289"/>
              <a:gd name="connsiteY333" fmla="*/ 2226945 h 4262437"/>
              <a:gd name="connsiteX334" fmla="*/ 1769745 w 4225289"/>
              <a:gd name="connsiteY334" fmla="*/ 2125980 h 4262437"/>
              <a:gd name="connsiteX335" fmla="*/ 1877378 w 4225289"/>
              <a:gd name="connsiteY335" fmla="*/ 1970722 h 4262437"/>
              <a:gd name="connsiteX336" fmla="*/ 1974533 w 4225289"/>
              <a:gd name="connsiteY336" fmla="*/ 1884045 h 4262437"/>
              <a:gd name="connsiteX337" fmla="*/ 2004060 w 4225289"/>
              <a:gd name="connsiteY337" fmla="*/ 1863090 h 4262437"/>
              <a:gd name="connsiteX338" fmla="*/ 2014538 w 4225289"/>
              <a:gd name="connsiteY338" fmla="*/ 1856422 h 4262437"/>
              <a:gd name="connsiteX339" fmla="*/ 2003108 w 4225289"/>
              <a:gd name="connsiteY339" fmla="*/ 1860233 h 4262437"/>
              <a:gd name="connsiteX340" fmla="*/ 1969770 w 4225289"/>
              <a:gd name="connsiteY340" fmla="*/ 1873568 h 4262437"/>
              <a:gd name="connsiteX341" fmla="*/ 1854517 w 4225289"/>
              <a:gd name="connsiteY341" fmla="*/ 1943100 h 4262437"/>
              <a:gd name="connsiteX342" fmla="*/ 1718310 w 4225289"/>
              <a:gd name="connsiteY342" fmla="*/ 2094547 h 4262437"/>
              <a:gd name="connsiteX343" fmla="*/ 1701165 w 4225289"/>
              <a:gd name="connsiteY343" fmla="*/ 2125980 h 4262437"/>
              <a:gd name="connsiteX344" fmla="*/ 1709738 w 4225289"/>
              <a:gd name="connsiteY344" fmla="*/ 1922145 h 4262437"/>
              <a:gd name="connsiteX345" fmla="*/ 1687830 w 4225289"/>
              <a:gd name="connsiteY345" fmla="*/ 1708785 h 4262437"/>
              <a:gd name="connsiteX346" fmla="*/ 1638300 w 4225289"/>
              <a:gd name="connsiteY346" fmla="*/ 1539240 h 4262437"/>
              <a:gd name="connsiteX347" fmla="*/ 1584008 w 4225289"/>
              <a:gd name="connsiteY347" fmla="*/ 1434465 h 4262437"/>
              <a:gd name="connsiteX348" fmla="*/ 1565910 w 4225289"/>
              <a:gd name="connsiteY348" fmla="*/ 1407795 h 4262437"/>
              <a:gd name="connsiteX349" fmla="*/ 1559242 w 4225289"/>
              <a:gd name="connsiteY349" fmla="*/ 1399223 h 4262437"/>
              <a:gd name="connsiteX350" fmla="*/ 1563053 w 4225289"/>
              <a:gd name="connsiteY350" fmla="*/ 1409700 h 4262437"/>
              <a:gd name="connsiteX351" fmla="*/ 1573530 w 4225289"/>
              <a:gd name="connsiteY351" fmla="*/ 1439228 h 4262437"/>
              <a:gd name="connsiteX352" fmla="*/ 1604010 w 4225289"/>
              <a:gd name="connsiteY352" fmla="*/ 1549718 h 4262437"/>
              <a:gd name="connsiteX353" fmla="*/ 1628775 w 4225289"/>
              <a:gd name="connsiteY353" fmla="*/ 1716405 h 4262437"/>
              <a:gd name="connsiteX354" fmla="*/ 1639253 w 4225289"/>
              <a:gd name="connsiteY354" fmla="*/ 1923097 h 4262437"/>
              <a:gd name="connsiteX355" fmla="*/ 1641158 w 4225289"/>
              <a:gd name="connsiteY355" fmla="*/ 2131695 h 4262437"/>
              <a:gd name="connsiteX356" fmla="*/ 1639253 w 4225289"/>
              <a:gd name="connsiteY356" fmla="*/ 2241233 h 4262437"/>
              <a:gd name="connsiteX357" fmla="*/ 1639253 w 4225289"/>
              <a:gd name="connsiteY357" fmla="*/ 2242185 h 4262437"/>
              <a:gd name="connsiteX358" fmla="*/ 1622108 w 4225289"/>
              <a:gd name="connsiteY358" fmla="*/ 2283143 h 4262437"/>
              <a:gd name="connsiteX359" fmla="*/ 1617345 w 4225289"/>
              <a:gd name="connsiteY359" fmla="*/ 2336483 h 4262437"/>
              <a:gd name="connsiteX360" fmla="*/ 1624965 w 4225289"/>
              <a:gd name="connsiteY360" fmla="*/ 2369820 h 4262437"/>
              <a:gd name="connsiteX361" fmla="*/ 1566863 w 4225289"/>
              <a:gd name="connsiteY361" fmla="*/ 2355533 h 4262437"/>
              <a:gd name="connsiteX362" fmla="*/ 1274445 w 4225289"/>
              <a:gd name="connsiteY362" fmla="*/ 2279333 h 4262437"/>
              <a:gd name="connsiteX363" fmla="*/ 1141095 w 4225289"/>
              <a:gd name="connsiteY363" fmla="*/ 2237422 h 4262437"/>
              <a:gd name="connsiteX364" fmla="*/ 1078230 w 4225289"/>
              <a:gd name="connsiteY364" fmla="*/ 2215515 h 4262437"/>
              <a:gd name="connsiteX365" fmla="*/ 1018223 w 4225289"/>
              <a:gd name="connsiteY365" fmla="*/ 2191703 h 4262437"/>
              <a:gd name="connsiteX366" fmla="*/ 906780 w 4225289"/>
              <a:gd name="connsiteY366" fmla="*/ 2141220 h 4262437"/>
              <a:gd name="connsiteX367" fmla="*/ 809625 w 4225289"/>
              <a:gd name="connsiteY367" fmla="*/ 2086928 h 4262437"/>
              <a:gd name="connsiteX368" fmla="*/ 726758 w 4225289"/>
              <a:gd name="connsiteY368" fmla="*/ 2027872 h 4262437"/>
              <a:gd name="connsiteX369" fmla="*/ 659130 w 4225289"/>
              <a:gd name="connsiteY369" fmla="*/ 1966912 h 4262437"/>
              <a:gd name="connsiteX370" fmla="*/ 571500 w 4225289"/>
              <a:gd name="connsiteY370" fmla="*/ 1850708 h 4262437"/>
              <a:gd name="connsiteX371" fmla="*/ 563880 w 4225289"/>
              <a:gd name="connsiteY371" fmla="*/ 1837372 h 4262437"/>
              <a:gd name="connsiteX372" fmla="*/ 558165 w 4225289"/>
              <a:gd name="connsiteY372" fmla="*/ 1824990 h 4262437"/>
              <a:gd name="connsiteX373" fmla="*/ 547687 w 4225289"/>
              <a:gd name="connsiteY373" fmla="*/ 1802130 h 4262437"/>
              <a:gd name="connsiteX374" fmla="*/ 534353 w 4225289"/>
              <a:gd name="connsiteY374" fmla="*/ 1764983 h 4262437"/>
              <a:gd name="connsiteX375" fmla="*/ 525780 w 4225289"/>
              <a:gd name="connsiteY375" fmla="*/ 1732597 h 4262437"/>
              <a:gd name="connsiteX376" fmla="*/ 528637 w 4225289"/>
              <a:gd name="connsiteY376" fmla="*/ 1765935 h 4262437"/>
              <a:gd name="connsiteX377" fmla="*/ 536258 w 4225289"/>
              <a:gd name="connsiteY377" fmla="*/ 1805940 h 4262437"/>
              <a:gd name="connsiteX378" fmla="*/ 542925 w 4225289"/>
              <a:gd name="connsiteY378" fmla="*/ 1831658 h 4262437"/>
              <a:gd name="connsiteX379" fmla="*/ 546735 w 4225289"/>
              <a:gd name="connsiteY379" fmla="*/ 1845945 h 4262437"/>
              <a:gd name="connsiteX380" fmla="*/ 552450 w 4225289"/>
              <a:gd name="connsiteY380" fmla="*/ 1860233 h 4262437"/>
              <a:gd name="connsiteX381" fmla="*/ 626745 w 4225289"/>
              <a:gd name="connsiteY381" fmla="*/ 1996440 h 4262437"/>
              <a:gd name="connsiteX382" fmla="*/ 689610 w 4225289"/>
              <a:gd name="connsiteY382" fmla="*/ 2070735 h 4262437"/>
              <a:gd name="connsiteX383" fmla="*/ 769620 w 4225289"/>
              <a:gd name="connsiteY383" fmla="*/ 2144078 h 4262437"/>
              <a:gd name="connsiteX384" fmla="*/ 866775 w 4225289"/>
              <a:gd name="connsiteY384" fmla="*/ 2214563 h 4262437"/>
              <a:gd name="connsiteX385" fmla="*/ 978217 w 4225289"/>
              <a:gd name="connsiteY385" fmla="*/ 2279333 h 4262437"/>
              <a:gd name="connsiteX386" fmla="*/ 1039178 w 4225289"/>
              <a:gd name="connsiteY386" fmla="*/ 2309813 h 4262437"/>
              <a:gd name="connsiteX387" fmla="*/ 1102995 w 4225289"/>
              <a:gd name="connsiteY387" fmla="*/ 2338388 h 4262437"/>
              <a:gd name="connsiteX388" fmla="*/ 1238250 w 4225289"/>
              <a:gd name="connsiteY388" fmla="*/ 2391728 h 4262437"/>
              <a:gd name="connsiteX389" fmla="*/ 1298258 w 4225289"/>
              <a:gd name="connsiteY389" fmla="*/ 2412683 h 4262437"/>
              <a:gd name="connsiteX390" fmla="*/ 1173480 w 4225289"/>
              <a:gd name="connsiteY390" fmla="*/ 2421255 h 4262437"/>
              <a:gd name="connsiteX391" fmla="*/ 971550 w 4225289"/>
              <a:gd name="connsiteY391" fmla="*/ 2461260 h 4262437"/>
              <a:gd name="connsiteX392" fmla="*/ 774383 w 4225289"/>
              <a:gd name="connsiteY392" fmla="*/ 2487930 h 4262437"/>
              <a:gd name="connsiteX393" fmla="*/ 588645 w 4225289"/>
              <a:gd name="connsiteY393" fmla="*/ 2487930 h 4262437"/>
              <a:gd name="connsiteX394" fmla="*/ 276225 w 4225289"/>
              <a:gd name="connsiteY394" fmla="*/ 2435543 h 4262437"/>
              <a:gd name="connsiteX395" fmla="*/ 159068 w 4225289"/>
              <a:gd name="connsiteY395" fmla="*/ 2398395 h 4262437"/>
              <a:gd name="connsiteX396" fmla="*/ 111443 w 4225289"/>
              <a:gd name="connsiteY396" fmla="*/ 2380297 h 4262437"/>
              <a:gd name="connsiteX397" fmla="*/ 72390 w 4225289"/>
              <a:gd name="connsiteY397" fmla="*/ 2363153 h 4262437"/>
              <a:gd name="connsiteX398" fmla="*/ 55245 w 4225289"/>
              <a:gd name="connsiteY398" fmla="*/ 2356485 h 4262437"/>
              <a:gd name="connsiteX399" fmla="*/ 40957 w 4225289"/>
              <a:gd name="connsiteY399" fmla="*/ 2349818 h 4262437"/>
              <a:gd name="connsiteX400" fmla="*/ 18097 w 4225289"/>
              <a:gd name="connsiteY400" fmla="*/ 2339340 h 4262437"/>
              <a:gd name="connsiteX401" fmla="*/ 0 w 4225289"/>
              <a:gd name="connsiteY401" fmla="*/ 2335530 h 4262437"/>
              <a:gd name="connsiteX402" fmla="*/ 2191703 w 4225289"/>
              <a:gd name="connsiteY402" fmla="*/ 3482340 h 4262437"/>
              <a:gd name="connsiteX403" fmla="*/ 2204085 w 4225289"/>
              <a:gd name="connsiteY403" fmla="*/ 3489960 h 4262437"/>
              <a:gd name="connsiteX404" fmla="*/ 2205038 w 4225289"/>
              <a:gd name="connsiteY404" fmla="*/ 3540443 h 4262437"/>
              <a:gd name="connsiteX405" fmla="*/ 2153603 w 4225289"/>
              <a:gd name="connsiteY405" fmla="*/ 3483293 h 4262437"/>
              <a:gd name="connsiteX406" fmla="*/ 2138363 w 4225289"/>
              <a:gd name="connsiteY406" fmla="*/ 3464243 h 4262437"/>
              <a:gd name="connsiteX407" fmla="*/ 2158365 w 4225289"/>
              <a:gd name="connsiteY407" fmla="*/ 3469958 h 4262437"/>
              <a:gd name="connsiteX408" fmla="*/ 2191703 w 4225289"/>
              <a:gd name="connsiteY408" fmla="*/ 3482340 h 4262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Lst>
            <a:rect l="l" t="t" r="r" b="b"/>
            <a:pathLst>
              <a:path w="4225289" h="4262437">
                <a:moveTo>
                  <a:pt x="0" y="2335530"/>
                </a:moveTo>
                <a:cubicBezTo>
                  <a:pt x="952" y="2336483"/>
                  <a:pt x="6668" y="2340293"/>
                  <a:pt x="17145" y="2346960"/>
                </a:cubicBezTo>
                <a:cubicBezTo>
                  <a:pt x="22860" y="2350770"/>
                  <a:pt x="29527" y="2355533"/>
                  <a:pt x="38100" y="2361247"/>
                </a:cubicBezTo>
                <a:cubicBezTo>
                  <a:pt x="41910" y="2364105"/>
                  <a:pt x="46672" y="2366963"/>
                  <a:pt x="51435" y="2369820"/>
                </a:cubicBezTo>
                <a:cubicBezTo>
                  <a:pt x="56197" y="2372678"/>
                  <a:pt x="61913" y="2375535"/>
                  <a:pt x="66675" y="2379345"/>
                </a:cubicBezTo>
                <a:cubicBezTo>
                  <a:pt x="78105" y="2386013"/>
                  <a:pt x="90488" y="2393633"/>
                  <a:pt x="103822" y="2401253"/>
                </a:cubicBezTo>
                <a:cubicBezTo>
                  <a:pt x="118110" y="2408872"/>
                  <a:pt x="133350" y="2416493"/>
                  <a:pt x="149543" y="2425065"/>
                </a:cubicBezTo>
                <a:cubicBezTo>
                  <a:pt x="182880" y="2441258"/>
                  <a:pt x="220980" y="2459355"/>
                  <a:pt x="263843" y="2475547"/>
                </a:cubicBezTo>
                <a:cubicBezTo>
                  <a:pt x="350520" y="2509838"/>
                  <a:pt x="459105" y="2538413"/>
                  <a:pt x="581978" y="2553653"/>
                </a:cubicBezTo>
                <a:cubicBezTo>
                  <a:pt x="643890" y="2560320"/>
                  <a:pt x="708660" y="2563178"/>
                  <a:pt x="776287" y="2561272"/>
                </a:cubicBezTo>
                <a:cubicBezTo>
                  <a:pt x="843915" y="2558415"/>
                  <a:pt x="913448" y="2550795"/>
                  <a:pt x="983933" y="2536508"/>
                </a:cubicBezTo>
                <a:cubicBezTo>
                  <a:pt x="1053465" y="2522220"/>
                  <a:pt x="1119188" y="2505075"/>
                  <a:pt x="1182053" y="2493645"/>
                </a:cubicBezTo>
                <a:cubicBezTo>
                  <a:pt x="1244917" y="2483168"/>
                  <a:pt x="1306830" y="2479358"/>
                  <a:pt x="1365885" y="2480310"/>
                </a:cubicBezTo>
                <a:cubicBezTo>
                  <a:pt x="1424940" y="2481263"/>
                  <a:pt x="1481138" y="2486025"/>
                  <a:pt x="1534478" y="2492693"/>
                </a:cubicBezTo>
                <a:cubicBezTo>
                  <a:pt x="1540192" y="2493645"/>
                  <a:pt x="1545908" y="2494597"/>
                  <a:pt x="1550670" y="2495550"/>
                </a:cubicBezTo>
                <a:cubicBezTo>
                  <a:pt x="1646873" y="2523172"/>
                  <a:pt x="1744980" y="2548890"/>
                  <a:pt x="1837373" y="2585085"/>
                </a:cubicBezTo>
                <a:cubicBezTo>
                  <a:pt x="1886903" y="2604135"/>
                  <a:pt x="1932623" y="2626995"/>
                  <a:pt x="1974533" y="2652713"/>
                </a:cubicBezTo>
                <a:cubicBezTo>
                  <a:pt x="1995488" y="2666047"/>
                  <a:pt x="2015490" y="2680335"/>
                  <a:pt x="2034540" y="2694622"/>
                </a:cubicBezTo>
                <a:cubicBezTo>
                  <a:pt x="2053590" y="2709863"/>
                  <a:pt x="2071688" y="2725103"/>
                  <a:pt x="2087880" y="2742247"/>
                </a:cubicBezTo>
                <a:cubicBezTo>
                  <a:pt x="2104073" y="2759393"/>
                  <a:pt x="2119313" y="2776538"/>
                  <a:pt x="2132648" y="2794635"/>
                </a:cubicBezTo>
                <a:cubicBezTo>
                  <a:pt x="2145983" y="2812733"/>
                  <a:pt x="2157413" y="2831783"/>
                  <a:pt x="2166938" y="2850833"/>
                </a:cubicBezTo>
                <a:cubicBezTo>
                  <a:pt x="2176463" y="2869883"/>
                  <a:pt x="2184083" y="2890838"/>
                  <a:pt x="2190750" y="2910840"/>
                </a:cubicBezTo>
                <a:cubicBezTo>
                  <a:pt x="2197418" y="2931795"/>
                  <a:pt x="2201228" y="2952750"/>
                  <a:pt x="2205038" y="2974658"/>
                </a:cubicBezTo>
                <a:cubicBezTo>
                  <a:pt x="2211705" y="3018472"/>
                  <a:pt x="2214563" y="3063240"/>
                  <a:pt x="2213610" y="3107055"/>
                </a:cubicBezTo>
                <a:cubicBezTo>
                  <a:pt x="2213610" y="3151822"/>
                  <a:pt x="2211705" y="3195638"/>
                  <a:pt x="2209800" y="3239453"/>
                </a:cubicBezTo>
                <a:cubicBezTo>
                  <a:pt x="2206943" y="3294697"/>
                  <a:pt x="2205038" y="3348038"/>
                  <a:pt x="2204085" y="3399472"/>
                </a:cubicBezTo>
                <a:cubicBezTo>
                  <a:pt x="2197418" y="3396615"/>
                  <a:pt x="2189798" y="3392805"/>
                  <a:pt x="2183130" y="3390900"/>
                </a:cubicBezTo>
                <a:cubicBezTo>
                  <a:pt x="2166938" y="3385185"/>
                  <a:pt x="2153603" y="3380422"/>
                  <a:pt x="2138363" y="3374708"/>
                </a:cubicBezTo>
                <a:cubicBezTo>
                  <a:pt x="2123123" y="3368993"/>
                  <a:pt x="2107883" y="3364230"/>
                  <a:pt x="2092642" y="3359468"/>
                </a:cubicBezTo>
                <a:cubicBezTo>
                  <a:pt x="2061210" y="3348990"/>
                  <a:pt x="2028825" y="3339465"/>
                  <a:pt x="1994535" y="3331845"/>
                </a:cubicBezTo>
                <a:cubicBezTo>
                  <a:pt x="1960245" y="3324225"/>
                  <a:pt x="1923098" y="3317558"/>
                  <a:pt x="1884998" y="3315653"/>
                </a:cubicBezTo>
                <a:cubicBezTo>
                  <a:pt x="1865948" y="3314700"/>
                  <a:pt x="1845945" y="3314700"/>
                  <a:pt x="1826895" y="3315653"/>
                </a:cubicBezTo>
                <a:cubicBezTo>
                  <a:pt x="1806892" y="3316605"/>
                  <a:pt x="1787842" y="3319463"/>
                  <a:pt x="1769745" y="3322320"/>
                </a:cubicBezTo>
                <a:cubicBezTo>
                  <a:pt x="1732598" y="3328035"/>
                  <a:pt x="1696403" y="3335655"/>
                  <a:pt x="1662113" y="3341370"/>
                </a:cubicBezTo>
                <a:cubicBezTo>
                  <a:pt x="1627823" y="3347085"/>
                  <a:pt x="1596390" y="3348990"/>
                  <a:pt x="1564005" y="3347085"/>
                </a:cubicBezTo>
                <a:cubicBezTo>
                  <a:pt x="1532573" y="3345180"/>
                  <a:pt x="1501140" y="3340418"/>
                  <a:pt x="1470660" y="3331845"/>
                </a:cubicBezTo>
                <a:cubicBezTo>
                  <a:pt x="1441133" y="3323272"/>
                  <a:pt x="1412558" y="3312795"/>
                  <a:pt x="1385888" y="3298508"/>
                </a:cubicBezTo>
                <a:cubicBezTo>
                  <a:pt x="1359217" y="3285172"/>
                  <a:pt x="1334453" y="3268028"/>
                  <a:pt x="1309688" y="3248978"/>
                </a:cubicBezTo>
                <a:cubicBezTo>
                  <a:pt x="1284923" y="3230880"/>
                  <a:pt x="1261110" y="3210878"/>
                  <a:pt x="1236345" y="3191828"/>
                </a:cubicBezTo>
                <a:cubicBezTo>
                  <a:pt x="1223963" y="3182303"/>
                  <a:pt x="1211580" y="3172778"/>
                  <a:pt x="1199198" y="3164205"/>
                </a:cubicBezTo>
                <a:cubicBezTo>
                  <a:pt x="1185863" y="3155633"/>
                  <a:pt x="1173480" y="3147060"/>
                  <a:pt x="1161098" y="3139440"/>
                </a:cubicBezTo>
                <a:cubicBezTo>
                  <a:pt x="1109663" y="3108008"/>
                  <a:pt x="1059180" y="3085147"/>
                  <a:pt x="1011555" y="3069908"/>
                </a:cubicBezTo>
                <a:cubicBezTo>
                  <a:pt x="963930" y="3053715"/>
                  <a:pt x="919162" y="3044190"/>
                  <a:pt x="880110" y="3038475"/>
                </a:cubicBezTo>
                <a:cubicBezTo>
                  <a:pt x="861060" y="3035618"/>
                  <a:pt x="842010" y="3033713"/>
                  <a:pt x="825818" y="3032760"/>
                </a:cubicBezTo>
                <a:cubicBezTo>
                  <a:pt x="808673" y="3031808"/>
                  <a:pt x="793433" y="3030855"/>
                  <a:pt x="780098" y="3031808"/>
                </a:cubicBezTo>
                <a:cubicBezTo>
                  <a:pt x="773430" y="3031808"/>
                  <a:pt x="766762" y="3031808"/>
                  <a:pt x="761048" y="3031808"/>
                </a:cubicBezTo>
                <a:cubicBezTo>
                  <a:pt x="755333" y="3031808"/>
                  <a:pt x="749618" y="3032760"/>
                  <a:pt x="743903" y="3032760"/>
                </a:cubicBezTo>
                <a:cubicBezTo>
                  <a:pt x="733425" y="3033713"/>
                  <a:pt x="724853" y="3033713"/>
                  <a:pt x="717233" y="3034665"/>
                </a:cubicBezTo>
                <a:cubicBezTo>
                  <a:pt x="702945" y="3036570"/>
                  <a:pt x="695325" y="3036570"/>
                  <a:pt x="695325" y="3036570"/>
                </a:cubicBezTo>
                <a:cubicBezTo>
                  <a:pt x="695325" y="3036570"/>
                  <a:pt x="702945" y="3037522"/>
                  <a:pt x="717233" y="3038475"/>
                </a:cubicBezTo>
                <a:cubicBezTo>
                  <a:pt x="723900" y="3039428"/>
                  <a:pt x="733425" y="3040380"/>
                  <a:pt x="742950" y="3041333"/>
                </a:cubicBezTo>
                <a:cubicBezTo>
                  <a:pt x="747712" y="3042285"/>
                  <a:pt x="753428" y="3043238"/>
                  <a:pt x="759143" y="3043238"/>
                </a:cubicBezTo>
                <a:cubicBezTo>
                  <a:pt x="764858" y="3044190"/>
                  <a:pt x="771525" y="3045143"/>
                  <a:pt x="778193" y="3047047"/>
                </a:cubicBezTo>
                <a:cubicBezTo>
                  <a:pt x="791528" y="3048953"/>
                  <a:pt x="805815" y="3052763"/>
                  <a:pt x="822008" y="3056572"/>
                </a:cubicBezTo>
                <a:cubicBezTo>
                  <a:pt x="838200" y="3060383"/>
                  <a:pt x="854393" y="3065145"/>
                  <a:pt x="872490" y="3070860"/>
                </a:cubicBezTo>
                <a:cubicBezTo>
                  <a:pt x="908685" y="3082290"/>
                  <a:pt x="948690" y="3097530"/>
                  <a:pt x="990600" y="3118485"/>
                </a:cubicBezTo>
                <a:cubicBezTo>
                  <a:pt x="1032510" y="3139440"/>
                  <a:pt x="1076325" y="3166110"/>
                  <a:pt x="1119188" y="3199447"/>
                </a:cubicBezTo>
                <a:cubicBezTo>
                  <a:pt x="1141095" y="3215640"/>
                  <a:pt x="1162050" y="3233738"/>
                  <a:pt x="1183005" y="3254693"/>
                </a:cubicBezTo>
                <a:cubicBezTo>
                  <a:pt x="1204913" y="3274695"/>
                  <a:pt x="1226820" y="3296603"/>
                  <a:pt x="1252538" y="3319463"/>
                </a:cubicBezTo>
                <a:cubicBezTo>
                  <a:pt x="1277303" y="3341370"/>
                  <a:pt x="1305878" y="3364230"/>
                  <a:pt x="1337310" y="3383280"/>
                </a:cubicBezTo>
                <a:cubicBezTo>
                  <a:pt x="1368742" y="3402330"/>
                  <a:pt x="1403985" y="3418522"/>
                  <a:pt x="1441133" y="3429953"/>
                </a:cubicBezTo>
                <a:cubicBezTo>
                  <a:pt x="1478280" y="3441383"/>
                  <a:pt x="1517333" y="3449003"/>
                  <a:pt x="1557338" y="3451860"/>
                </a:cubicBezTo>
                <a:cubicBezTo>
                  <a:pt x="1597342" y="3454718"/>
                  <a:pt x="1639253" y="3451860"/>
                  <a:pt x="1677353" y="3446145"/>
                </a:cubicBezTo>
                <a:cubicBezTo>
                  <a:pt x="1716405" y="3440430"/>
                  <a:pt x="1751648" y="3431858"/>
                  <a:pt x="1784985" y="3426143"/>
                </a:cubicBezTo>
                <a:cubicBezTo>
                  <a:pt x="1818323" y="3420428"/>
                  <a:pt x="1848803" y="3416618"/>
                  <a:pt x="1880235" y="3417570"/>
                </a:cubicBezTo>
                <a:cubicBezTo>
                  <a:pt x="1884998" y="3417570"/>
                  <a:pt x="1889760" y="3417570"/>
                  <a:pt x="1894523" y="3417570"/>
                </a:cubicBezTo>
                <a:cubicBezTo>
                  <a:pt x="1909763" y="3424238"/>
                  <a:pt x="1926908" y="3432810"/>
                  <a:pt x="1945958" y="3444240"/>
                </a:cubicBezTo>
                <a:cubicBezTo>
                  <a:pt x="1975485" y="3461385"/>
                  <a:pt x="2007870" y="3483293"/>
                  <a:pt x="2038350" y="3511868"/>
                </a:cubicBezTo>
                <a:cubicBezTo>
                  <a:pt x="2041208" y="3513772"/>
                  <a:pt x="2043113" y="3516630"/>
                  <a:pt x="2045970" y="3518535"/>
                </a:cubicBezTo>
                <a:cubicBezTo>
                  <a:pt x="2050733" y="3527108"/>
                  <a:pt x="2056448" y="3535680"/>
                  <a:pt x="2064067" y="3542347"/>
                </a:cubicBezTo>
                <a:cubicBezTo>
                  <a:pt x="2067878" y="3546158"/>
                  <a:pt x="2072640" y="3549015"/>
                  <a:pt x="2077403" y="3551872"/>
                </a:cubicBezTo>
                <a:cubicBezTo>
                  <a:pt x="2093595" y="3570922"/>
                  <a:pt x="2109788" y="3590925"/>
                  <a:pt x="2123123" y="3613785"/>
                </a:cubicBezTo>
                <a:cubicBezTo>
                  <a:pt x="2146935" y="3651885"/>
                  <a:pt x="2165033" y="3696653"/>
                  <a:pt x="2183130" y="3739515"/>
                </a:cubicBezTo>
                <a:cubicBezTo>
                  <a:pt x="2185988" y="3747135"/>
                  <a:pt x="2188845" y="3753803"/>
                  <a:pt x="2191703" y="3760470"/>
                </a:cubicBezTo>
                <a:cubicBezTo>
                  <a:pt x="2187893" y="3810000"/>
                  <a:pt x="2184083" y="3859530"/>
                  <a:pt x="2179320" y="3906203"/>
                </a:cubicBezTo>
                <a:cubicBezTo>
                  <a:pt x="2174558" y="3953828"/>
                  <a:pt x="2167890" y="3998595"/>
                  <a:pt x="2156460" y="4039553"/>
                </a:cubicBezTo>
                <a:cubicBezTo>
                  <a:pt x="2145030" y="4080510"/>
                  <a:pt x="2127885" y="4116705"/>
                  <a:pt x="2107883" y="4149090"/>
                </a:cubicBezTo>
                <a:cubicBezTo>
                  <a:pt x="2087880" y="4181475"/>
                  <a:pt x="2064067" y="4209098"/>
                  <a:pt x="2041208" y="4232910"/>
                </a:cubicBezTo>
                <a:cubicBezTo>
                  <a:pt x="2031683" y="4243388"/>
                  <a:pt x="2021205" y="4253865"/>
                  <a:pt x="2011680" y="4262438"/>
                </a:cubicBezTo>
                <a:lnTo>
                  <a:pt x="2564130" y="4262438"/>
                </a:lnTo>
                <a:cubicBezTo>
                  <a:pt x="2544128" y="4225290"/>
                  <a:pt x="2525078" y="4183380"/>
                  <a:pt x="2511743" y="4136708"/>
                </a:cubicBezTo>
                <a:cubicBezTo>
                  <a:pt x="2500313" y="4099560"/>
                  <a:pt x="2493645" y="4059555"/>
                  <a:pt x="2488883" y="4016693"/>
                </a:cubicBezTo>
                <a:cubicBezTo>
                  <a:pt x="2484120" y="3973830"/>
                  <a:pt x="2482215" y="3929063"/>
                  <a:pt x="2479358" y="3882390"/>
                </a:cubicBezTo>
                <a:cubicBezTo>
                  <a:pt x="2475548" y="3805238"/>
                  <a:pt x="2470785" y="3731895"/>
                  <a:pt x="2466023" y="3663315"/>
                </a:cubicBezTo>
                <a:cubicBezTo>
                  <a:pt x="2463165" y="3598545"/>
                  <a:pt x="2461260" y="3532822"/>
                  <a:pt x="2458403" y="3465195"/>
                </a:cubicBezTo>
                <a:cubicBezTo>
                  <a:pt x="2455545" y="3379470"/>
                  <a:pt x="2454593" y="3295650"/>
                  <a:pt x="2454593" y="3215640"/>
                </a:cubicBezTo>
                <a:cubicBezTo>
                  <a:pt x="2456498" y="3170872"/>
                  <a:pt x="2459355" y="3125153"/>
                  <a:pt x="2463165" y="3079433"/>
                </a:cubicBezTo>
                <a:cubicBezTo>
                  <a:pt x="2467928" y="3031808"/>
                  <a:pt x="2471738" y="2984183"/>
                  <a:pt x="2479358" y="2934653"/>
                </a:cubicBezTo>
                <a:cubicBezTo>
                  <a:pt x="2482215" y="2909888"/>
                  <a:pt x="2486978" y="2886075"/>
                  <a:pt x="2490788" y="2861310"/>
                </a:cubicBezTo>
                <a:cubicBezTo>
                  <a:pt x="2492693" y="2848928"/>
                  <a:pt x="2495550" y="2836545"/>
                  <a:pt x="2497455" y="2824163"/>
                </a:cubicBezTo>
                <a:cubicBezTo>
                  <a:pt x="2499360" y="2811780"/>
                  <a:pt x="2502218" y="2799397"/>
                  <a:pt x="2505075" y="2787015"/>
                </a:cubicBezTo>
                <a:cubicBezTo>
                  <a:pt x="2507933" y="2774633"/>
                  <a:pt x="2510790" y="2762250"/>
                  <a:pt x="2513648" y="2749868"/>
                </a:cubicBezTo>
                <a:cubicBezTo>
                  <a:pt x="2516505" y="2737485"/>
                  <a:pt x="2520315" y="2725103"/>
                  <a:pt x="2523173" y="2712720"/>
                </a:cubicBezTo>
                <a:cubicBezTo>
                  <a:pt x="2528888" y="2687955"/>
                  <a:pt x="2537460" y="2663190"/>
                  <a:pt x="2544128" y="2638425"/>
                </a:cubicBezTo>
                <a:cubicBezTo>
                  <a:pt x="2547938" y="2626043"/>
                  <a:pt x="2552700" y="2613660"/>
                  <a:pt x="2556510" y="2601278"/>
                </a:cubicBezTo>
                <a:lnTo>
                  <a:pt x="2563178" y="2583180"/>
                </a:lnTo>
                <a:lnTo>
                  <a:pt x="2569845" y="2565083"/>
                </a:lnTo>
                <a:cubicBezTo>
                  <a:pt x="2574608" y="2552700"/>
                  <a:pt x="2579370" y="2540318"/>
                  <a:pt x="2584133" y="2528888"/>
                </a:cubicBezTo>
                <a:cubicBezTo>
                  <a:pt x="2588895" y="2516505"/>
                  <a:pt x="2594610" y="2505075"/>
                  <a:pt x="2599373" y="2492693"/>
                </a:cubicBezTo>
                <a:cubicBezTo>
                  <a:pt x="2604135" y="2480310"/>
                  <a:pt x="2610803" y="2468880"/>
                  <a:pt x="2616518" y="2457450"/>
                </a:cubicBezTo>
                <a:cubicBezTo>
                  <a:pt x="2622233" y="2446020"/>
                  <a:pt x="2627948" y="2433638"/>
                  <a:pt x="2633663" y="2422208"/>
                </a:cubicBezTo>
                <a:cubicBezTo>
                  <a:pt x="2639378" y="2410778"/>
                  <a:pt x="2646045" y="2399347"/>
                  <a:pt x="2651760" y="2387918"/>
                </a:cubicBezTo>
                <a:cubicBezTo>
                  <a:pt x="2658428" y="2377440"/>
                  <a:pt x="2665095" y="2366010"/>
                  <a:pt x="2671763" y="2355533"/>
                </a:cubicBezTo>
                <a:cubicBezTo>
                  <a:pt x="2675573" y="2349818"/>
                  <a:pt x="2678430" y="2344103"/>
                  <a:pt x="2681288" y="2339340"/>
                </a:cubicBezTo>
                <a:lnTo>
                  <a:pt x="2691765" y="2324100"/>
                </a:lnTo>
                <a:cubicBezTo>
                  <a:pt x="2699385" y="2313622"/>
                  <a:pt x="2706053" y="2303145"/>
                  <a:pt x="2712720" y="2293620"/>
                </a:cubicBezTo>
                <a:cubicBezTo>
                  <a:pt x="2727960" y="2273618"/>
                  <a:pt x="2742248" y="2253615"/>
                  <a:pt x="2758440" y="2236470"/>
                </a:cubicBezTo>
                <a:cubicBezTo>
                  <a:pt x="2822258" y="2162175"/>
                  <a:pt x="2895600" y="2103120"/>
                  <a:pt x="2973705" y="2060258"/>
                </a:cubicBezTo>
                <a:cubicBezTo>
                  <a:pt x="3034665" y="2025968"/>
                  <a:pt x="3098483" y="2001203"/>
                  <a:pt x="3161348" y="1985010"/>
                </a:cubicBezTo>
                <a:cubicBezTo>
                  <a:pt x="3185160" y="1993583"/>
                  <a:pt x="3209925" y="2006918"/>
                  <a:pt x="3233738" y="2023110"/>
                </a:cubicBezTo>
                <a:cubicBezTo>
                  <a:pt x="3268028" y="2045018"/>
                  <a:pt x="3302318" y="2072640"/>
                  <a:pt x="3342323" y="2098358"/>
                </a:cubicBezTo>
                <a:cubicBezTo>
                  <a:pt x="3382328" y="2124075"/>
                  <a:pt x="3424238" y="2144078"/>
                  <a:pt x="3466148" y="2160270"/>
                </a:cubicBezTo>
                <a:cubicBezTo>
                  <a:pt x="3508058" y="2176463"/>
                  <a:pt x="3549968" y="2187893"/>
                  <a:pt x="3589973" y="2195513"/>
                </a:cubicBezTo>
                <a:cubicBezTo>
                  <a:pt x="3600450" y="2197418"/>
                  <a:pt x="3609975" y="2199322"/>
                  <a:pt x="3619500" y="2200275"/>
                </a:cubicBezTo>
                <a:cubicBezTo>
                  <a:pt x="3629025" y="2201228"/>
                  <a:pt x="3639503" y="2202180"/>
                  <a:pt x="3649028" y="2204085"/>
                </a:cubicBezTo>
                <a:cubicBezTo>
                  <a:pt x="3658553" y="2205038"/>
                  <a:pt x="3668078" y="2205990"/>
                  <a:pt x="3677603" y="2205990"/>
                </a:cubicBezTo>
                <a:cubicBezTo>
                  <a:pt x="3687128" y="2206943"/>
                  <a:pt x="3695700" y="2206943"/>
                  <a:pt x="3705225" y="2207895"/>
                </a:cubicBezTo>
                <a:cubicBezTo>
                  <a:pt x="3741420" y="2207895"/>
                  <a:pt x="3774758" y="2206943"/>
                  <a:pt x="3805238" y="2203133"/>
                </a:cubicBezTo>
                <a:cubicBezTo>
                  <a:pt x="3820478" y="2201228"/>
                  <a:pt x="3834765" y="2199322"/>
                  <a:pt x="3848100" y="2196465"/>
                </a:cubicBezTo>
                <a:cubicBezTo>
                  <a:pt x="3861435" y="2193608"/>
                  <a:pt x="3873818" y="2191703"/>
                  <a:pt x="3886200" y="2188845"/>
                </a:cubicBezTo>
                <a:cubicBezTo>
                  <a:pt x="3897630" y="2185988"/>
                  <a:pt x="3909060" y="2183130"/>
                  <a:pt x="3918585" y="2180272"/>
                </a:cubicBezTo>
                <a:cubicBezTo>
                  <a:pt x="3928110" y="2177415"/>
                  <a:pt x="3937635" y="2174558"/>
                  <a:pt x="3945255" y="2171700"/>
                </a:cubicBezTo>
                <a:cubicBezTo>
                  <a:pt x="3952875" y="2168843"/>
                  <a:pt x="3960495" y="2166938"/>
                  <a:pt x="3966210" y="2164080"/>
                </a:cubicBezTo>
                <a:cubicBezTo>
                  <a:pt x="3971925" y="2162175"/>
                  <a:pt x="3977640" y="2159318"/>
                  <a:pt x="3981450" y="2158365"/>
                </a:cubicBezTo>
                <a:cubicBezTo>
                  <a:pt x="3989070" y="2155508"/>
                  <a:pt x="3992880" y="2153603"/>
                  <a:pt x="3993833" y="2153603"/>
                </a:cubicBezTo>
                <a:cubicBezTo>
                  <a:pt x="3992880" y="2153603"/>
                  <a:pt x="3988118" y="2154555"/>
                  <a:pt x="3980498" y="2155508"/>
                </a:cubicBezTo>
                <a:cubicBezTo>
                  <a:pt x="3975735" y="2156460"/>
                  <a:pt x="3970973" y="2157413"/>
                  <a:pt x="3964305" y="2158365"/>
                </a:cubicBezTo>
                <a:cubicBezTo>
                  <a:pt x="3957638" y="2159318"/>
                  <a:pt x="3950970" y="2160270"/>
                  <a:pt x="3942398" y="2161222"/>
                </a:cubicBezTo>
                <a:cubicBezTo>
                  <a:pt x="3910013" y="2165985"/>
                  <a:pt x="3861435" y="2169795"/>
                  <a:pt x="3803333" y="2166938"/>
                </a:cubicBezTo>
                <a:cubicBezTo>
                  <a:pt x="3773805" y="2165985"/>
                  <a:pt x="3742373" y="2163128"/>
                  <a:pt x="3709035" y="2158365"/>
                </a:cubicBezTo>
                <a:cubicBezTo>
                  <a:pt x="3700463" y="2157413"/>
                  <a:pt x="3691890" y="2155508"/>
                  <a:pt x="3683318" y="2153603"/>
                </a:cubicBezTo>
                <a:cubicBezTo>
                  <a:pt x="3674745" y="2152650"/>
                  <a:pt x="3666173" y="2150745"/>
                  <a:pt x="3657600" y="2148840"/>
                </a:cubicBezTo>
                <a:cubicBezTo>
                  <a:pt x="3649028" y="2146935"/>
                  <a:pt x="3639503" y="2145030"/>
                  <a:pt x="3630930" y="2143125"/>
                </a:cubicBezTo>
                <a:cubicBezTo>
                  <a:pt x="3622358" y="2141220"/>
                  <a:pt x="3612833" y="2138363"/>
                  <a:pt x="3604260" y="2135505"/>
                </a:cubicBezTo>
                <a:cubicBezTo>
                  <a:pt x="3568065" y="2125028"/>
                  <a:pt x="3529965" y="2112645"/>
                  <a:pt x="3492818" y="2095500"/>
                </a:cubicBezTo>
                <a:cubicBezTo>
                  <a:pt x="3455670" y="2079308"/>
                  <a:pt x="3417570" y="2059305"/>
                  <a:pt x="3381375" y="2036445"/>
                </a:cubicBezTo>
                <a:cubicBezTo>
                  <a:pt x="3345180" y="2013585"/>
                  <a:pt x="3308985" y="1985962"/>
                  <a:pt x="3269933" y="1963103"/>
                </a:cubicBezTo>
                <a:cubicBezTo>
                  <a:pt x="3269933" y="1963103"/>
                  <a:pt x="3268980" y="1962150"/>
                  <a:pt x="3268028" y="1962150"/>
                </a:cubicBezTo>
                <a:cubicBezTo>
                  <a:pt x="3328988" y="1954530"/>
                  <a:pt x="3390900" y="1951672"/>
                  <a:pt x="3449003" y="1942147"/>
                </a:cubicBezTo>
                <a:cubicBezTo>
                  <a:pt x="3487103" y="1935480"/>
                  <a:pt x="3523298" y="1925955"/>
                  <a:pt x="3555683" y="1913572"/>
                </a:cubicBezTo>
                <a:cubicBezTo>
                  <a:pt x="3563303" y="1910715"/>
                  <a:pt x="3569970" y="1907858"/>
                  <a:pt x="3576638" y="1905000"/>
                </a:cubicBezTo>
                <a:cubicBezTo>
                  <a:pt x="3577590" y="1905000"/>
                  <a:pt x="3577590" y="1905000"/>
                  <a:pt x="3578543" y="1905000"/>
                </a:cubicBezTo>
                <a:cubicBezTo>
                  <a:pt x="3653790" y="1884045"/>
                  <a:pt x="3729990" y="1844040"/>
                  <a:pt x="3801428" y="1792605"/>
                </a:cubicBezTo>
                <a:cubicBezTo>
                  <a:pt x="3837623" y="1766887"/>
                  <a:pt x="3870008" y="1740218"/>
                  <a:pt x="3901440" y="1714500"/>
                </a:cubicBezTo>
                <a:cubicBezTo>
                  <a:pt x="3932873" y="1687830"/>
                  <a:pt x="3961448" y="1662112"/>
                  <a:pt x="3989070" y="1637348"/>
                </a:cubicBezTo>
                <a:cubicBezTo>
                  <a:pt x="4044315" y="1586865"/>
                  <a:pt x="4091940" y="1538287"/>
                  <a:pt x="4128135" y="1493520"/>
                </a:cubicBezTo>
                <a:cubicBezTo>
                  <a:pt x="4164330" y="1448753"/>
                  <a:pt x="4189095" y="1409700"/>
                  <a:pt x="4204335" y="1382078"/>
                </a:cubicBezTo>
                <a:cubicBezTo>
                  <a:pt x="4208145" y="1375410"/>
                  <a:pt x="4211003" y="1368743"/>
                  <a:pt x="4213860" y="1363028"/>
                </a:cubicBezTo>
                <a:cubicBezTo>
                  <a:pt x="4216718" y="1357312"/>
                  <a:pt x="4218623" y="1352550"/>
                  <a:pt x="4220528" y="1348740"/>
                </a:cubicBezTo>
                <a:cubicBezTo>
                  <a:pt x="4223385" y="1342073"/>
                  <a:pt x="4225290" y="1338262"/>
                  <a:pt x="4225290" y="1337310"/>
                </a:cubicBezTo>
                <a:cubicBezTo>
                  <a:pt x="4224338" y="1338262"/>
                  <a:pt x="4222433" y="1341120"/>
                  <a:pt x="4217670" y="1346835"/>
                </a:cubicBezTo>
                <a:cubicBezTo>
                  <a:pt x="4214813" y="1349693"/>
                  <a:pt x="4211955" y="1354455"/>
                  <a:pt x="4208145" y="1359218"/>
                </a:cubicBezTo>
                <a:cubicBezTo>
                  <a:pt x="4204335" y="1363980"/>
                  <a:pt x="4199573" y="1368743"/>
                  <a:pt x="4194810" y="1375410"/>
                </a:cubicBezTo>
                <a:cubicBezTo>
                  <a:pt x="4174808" y="1399223"/>
                  <a:pt x="4143375" y="1432560"/>
                  <a:pt x="4102418" y="1468755"/>
                </a:cubicBezTo>
                <a:cubicBezTo>
                  <a:pt x="4061460" y="1505903"/>
                  <a:pt x="4009073" y="1545908"/>
                  <a:pt x="3950970" y="1590675"/>
                </a:cubicBezTo>
                <a:cubicBezTo>
                  <a:pt x="3891915" y="1635443"/>
                  <a:pt x="3828098" y="1685925"/>
                  <a:pt x="3760470" y="1734503"/>
                </a:cubicBezTo>
                <a:cubicBezTo>
                  <a:pt x="3692843" y="1783080"/>
                  <a:pt x="3625215" y="1823085"/>
                  <a:pt x="3559493" y="1847850"/>
                </a:cubicBezTo>
                <a:cubicBezTo>
                  <a:pt x="3542348" y="1854518"/>
                  <a:pt x="3525203" y="1860233"/>
                  <a:pt x="3508058" y="1864995"/>
                </a:cubicBezTo>
                <a:cubicBezTo>
                  <a:pt x="3486150" y="1868805"/>
                  <a:pt x="3464243" y="1871662"/>
                  <a:pt x="3440430" y="1872615"/>
                </a:cubicBezTo>
                <a:cubicBezTo>
                  <a:pt x="3406140" y="1874520"/>
                  <a:pt x="3368993" y="1873568"/>
                  <a:pt x="3328035" y="1872615"/>
                </a:cubicBezTo>
                <a:cubicBezTo>
                  <a:pt x="3288030" y="1871662"/>
                  <a:pt x="3244215" y="1871662"/>
                  <a:pt x="3198495" y="1875472"/>
                </a:cubicBezTo>
                <a:cubicBezTo>
                  <a:pt x="3171825" y="1878330"/>
                  <a:pt x="3143250" y="1882140"/>
                  <a:pt x="3115628" y="1887855"/>
                </a:cubicBezTo>
                <a:cubicBezTo>
                  <a:pt x="3152775" y="1862137"/>
                  <a:pt x="3191828" y="1833562"/>
                  <a:pt x="3231833" y="1799272"/>
                </a:cubicBezTo>
                <a:cubicBezTo>
                  <a:pt x="3267075" y="1768793"/>
                  <a:pt x="3301365" y="1734503"/>
                  <a:pt x="3332798" y="1692593"/>
                </a:cubicBezTo>
                <a:cubicBezTo>
                  <a:pt x="3364230" y="1651635"/>
                  <a:pt x="3390900" y="1602105"/>
                  <a:pt x="3406140" y="1546860"/>
                </a:cubicBezTo>
                <a:cubicBezTo>
                  <a:pt x="3408045" y="1540193"/>
                  <a:pt x="3409950" y="1533525"/>
                  <a:pt x="3411855" y="1525905"/>
                </a:cubicBezTo>
                <a:cubicBezTo>
                  <a:pt x="3412808" y="1519237"/>
                  <a:pt x="3414713" y="1511618"/>
                  <a:pt x="3415665" y="1504950"/>
                </a:cubicBezTo>
                <a:cubicBezTo>
                  <a:pt x="3418523" y="1490662"/>
                  <a:pt x="3419475" y="1477328"/>
                  <a:pt x="3420428" y="1463040"/>
                </a:cubicBezTo>
                <a:cubicBezTo>
                  <a:pt x="3421380" y="1435418"/>
                  <a:pt x="3420428" y="1409700"/>
                  <a:pt x="3418523" y="1384935"/>
                </a:cubicBezTo>
                <a:cubicBezTo>
                  <a:pt x="3415665" y="1335405"/>
                  <a:pt x="3411855" y="1290637"/>
                  <a:pt x="3417570" y="1250633"/>
                </a:cubicBezTo>
                <a:cubicBezTo>
                  <a:pt x="3422333" y="1209675"/>
                  <a:pt x="3434715" y="1171575"/>
                  <a:pt x="3451860" y="1137285"/>
                </a:cubicBezTo>
                <a:cubicBezTo>
                  <a:pt x="3468053" y="1102995"/>
                  <a:pt x="3488055" y="1073468"/>
                  <a:pt x="3509010" y="1048703"/>
                </a:cubicBezTo>
                <a:cubicBezTo>
                  <a:pt x="3550920" y="998220"/>
                  <a:pt x="3594735" y="965835"/>
                  <a:pt x="3627120" y="945832"/>
                </a:cubicBezTo>
                <a:cubicBezTo>
                  <a:pt x="3635693" y="941070"/>
                  <a:pt x="3642360" y="937260"/>
                  <a:pt x="3649028" y="933450"/>
                </a:cubicBezTo>
                <a:cubicBezTo>
                  <a:pt x="3655695" y="929640"/>
                  <a:pt x="3661410" y="927735"/>
                  <a:pt x="3665220" y="924878"/>
                </a:cubicBezTo>
                <a:cubicBezTo>
                  <a:pt x="3672840" y="921068"/>
                  <a:pt x="3677603" y="918210"/>
                  <a:pt x="3678555" y="918210"/>
                </a:cubicBezTo>
                <a:cubicBezTo>
                  <a:pt x="3677603" y="918210"/>
                  <a:pt x="3672840" y="920115"/>
                  <a:pt x="3664268" y="922020"/>
                </a:cubicBezTo>
                <a:cubicBezTo>
                  <a:pt x="3659505" y="922973"/>
                  <a:pt x="3653790" y="924878"/>
                  <a:pt x="3646170" y="927735"/>
                </a:cubicBezTo>
                <a:cubicBezTo>
                  <a:pt x="3639503" y="930593"/>
                  <a:pt x="3630930" y="933450"/>
                  <a:pt x="3622358" y="936307"/>
                </a:cubicBezTo>
                <a:cubicBezTo>
                  <a:pt x="3613785" y="940118"/>
                  <a:pt x="3604260" y="944880"/>
                  <a:pt x="3592830" y="949643"/>
                </a:cubicBezTo>
                <a:cubicBezTo>
                  <a:pt x="3582353" y="955357"/>
                  <a:pt x="3570923" y="961073"/>
                  <a:pt x="3559493" y="967740"/>
                </a:cubicBezTo>
                <a:cubicBezTo>
                  <a:pt x="3535680" y="982028"/>
                  <a:pt x="3509963" y="1001078"/>
                  <a:pt x="3484245" y="1024890"/>
                </a:cubicBezTo>
                <a:cubicBezTo>
                  <a:pt x="3458528" y="1048703"/>
                  <a:pt x="3431858" y="1078230"/>
                  <a:pt x="3409950" y="1114425"/>
                </a:cubicBezTo>
                <a:cubicBezTo>
                  <a:pt x="3388043" y="1150620"/>
                  <a:pt x="3368993" y="1193483"/>
                  <a:pt x="3359468" y="1241108"/>
                </a:cubicBezTo>
                <a:cubicBezTo>
                  <a:pt x="3348990" y="1289685"/>
                  <a:pt x="3350895" y="1340168"/>
                  <a:pt x="3351848" y="1387793"/>
                </a:cubicBezTo>
                <a:cubicBezTo>
                  <a:pt x="3352800" y="1411605"/>
                  <a:pt x="3352800" y="1435418"/>
                  <a:pt x="3350895" y="1459230"/>
                </a:cubicBezTo>
                <a:cubicBezTo>
                  <a:pt x="3349943" y="1470660"/>
                  <a:pt x="3348990" y="1482090"/>
                  <a:pt x="3347085" y="1493520"/>
                </a:cubicBezTo>
                <a:cubicBezTo>
                  <a:pt x="3346133" y="1499235"/>
                  <a:pt x="3345180" y="1504950"/>
                  <a:pt x="3344228" y="1510665"/>
                </a:cubicBezTo>
                <a:cubicBezTo>
                  <a:pt x="3343275" y="1516380"/>
                  <a:pt x="3341370" y="1522095"/>
                  <a:pt x="3339465" y="1527810"/>
                </a:cubicBezTo>
                <a:cubicBezTo>
                  <a:pt x="3327083" y="1572578"/>
                  <a:pt x="3306128" y="1614487"/>
                  <a:pt x="3279458" y="1652587"/>
                </a:cubicBezTo>
                <a:cubicBezTo>
                  <a:pt x="3252788" y="1689735"/>
                  <a:pt x="3223260" y="1724025"/>
                  <a:pt x="3191828" y="1754505"/>
                </a:cubicBezTo>
                <a:cubicBezTo>
                  <a:pt x="3129915" y="1816418"/>
                  <a:pt x="3067050" y="1866900"/>
                  <a:pt x="3015615" y="1911668"/>
                </a:cubicBezTo>
                <a:cubicBezTo>
                  <a:pt x="3014663" y="1912620"/>
                  <a:pt x="3012758" y="1913572"/>
                  <a:pt x="3011805" y="1914525"/>
                </a:cubicBezTo>
                <a:cubicBezTo>
                  <a:pt x="2980373" y="1925003"/>
                  <a:pt x="2948940" y="1937385"/>
                  <a:pt x="2918460" y="1951672"/>
                </a:cubicBezTo>
                <a:cubicBezTo>
                  <a:pt x="2847023" y="1985010"/>
                  <a:pt x="2776538" y="2030730"/>
                  <a:pt x="2712720" y="2087880"/>
                </a:cubicBezTo>
                <a:cubicBezTo>
                  <a:pt x="2714625" y="2068830"/>
                  <a:pt x="2715578" y="2049780"/>
                  <a:pt x="2716530" y="2030730"/>
                </a:cubicBezTo>
                <a:cubicBezTo>
                  <a:pt x="2718435" y="1951672"/>
                  <a:pt x="2707958" y="1872615"/>
                  <a:pt x="2684145" y="1798320"/>
                </a:cubicBezTo>
                <a:cubicBezTo>
                  <a:pt x="2660333" y="1724025"/>
                  <a:pt x="2626043" y="1657350"/>
                  <a:pt x="2586990" y="1596390"/>
                </a:cubicBezTo>
                <a:cubicBezTo>
                  <a:pt x="2554605" y="1545908"/>
                  <a:pt x="2518410" y="1500187"/>
                  <a:pt x="2482215" y="1457325"/>
                </a:cubicBezTo>
                <a:cubicBezTo>
                  <a:pt x="2479358" y="1452562"/>
                  <a:pt x="2477453" y="1446848"/>
                  <a:pt x="2474595" y="1442085"/>
                </a:cubicBezTo>
                <a:cubicBezTo>
                  <a:pt x="2454593" y="1397318"/>
                  <a:pt x="2440305" y="1349693"/>
                  <a:pt x="2434590" y="1299210"/>
                </a:cubicBezTo>
                <a:cubicBezTo>
                  <a:pt x="2422208" y="1198245"/>
                  <a:pt x="2441258" y="1089660"/>
                  <a:pt x="2492693" y="995362"/>
                </a:cubicBezTo>
                <a:cubicBezTo>
                  <a:pt x="2499360" y="983932"/>
                  <a:pt x="2505075" y="971550"/>
                  <a:pt x="2513648" y="961073"/>
                </a:cubicBezTo>
                <a:lnTo>
                  <a:pt x="2525078" y="944880"/>
                </a:lnTo>
                <a:cubicBezTo>
                  <a:pt x="2528888" y="939165"/>
                  <a:pt x="2533650" y="934403"/>
                  <a:pt x="2537460" y="929640"/>
                </a:cubicBezTo>
                <a:lnTo>
                  <a:pt x="2549843" y="914400"/>
                </a:lnTo>
                <a:lnTo>
                  <a:pt x="2563178" y="900112"/>
                </a:lnTo>
                <a:lnTo>
                  <a:pt x="2569845" y="893445"/>
                </a:lnTo>
                <a:cubicBezTo>
                  <a:pt x="2571750" y="891540"/>
                  <a:pt x="2574608" y="887730"/>
                  <a:pt x="2575560" y="887730"/>
                </a:cubicBezTo>
                <a:cubicBezTo>
                  <a:pt x="2577465" y="885825"/>
                  <a:pt x="2584133" y="881062"/>
                  <a:pt x="2588895" y="878205"/>
                </a:cubicBezTo>
                <a:cubicBezTo>
                  <a:pt x="2610803" y="863918"/>
                  <a:pt x="2634615" y="849630"/>
                  <a:pt x="2657475" y="835343"/>
                </a:cubicBezTo>
                <a:cubicBezTo>
                  <a:pt x="2681288" y="821055"/>
                  <a:pt x="2704148" y="807720"/>
                  <a:pt x="2727960" y="794385"/>
                </a:cubicBezTo>
                <a:cubicBezTo>
                  <a:pt x="2821305" y="740093"/>
                  <a:pt x="2912745" y="689610"/>
                  <a:pt x="2999423" y="640080"/>
                </a:cubicBezTo>
                <a:cubicBezTo>
                  <a:pt x="3172778" y="541973"/>
                  <a:pt x="3328988" y="454343"/>
                  <a:pt x="3458528" y="378142"/>
                </a:cubicBezTo>
                <a:cubicBezTo>
                  <a:pt x="3490913" y="359092"/>
                  <a:pt x="3522345" y="340995"/>
                  <a:pt x="3550920" y="322898"/>
                </a:cubicBezTo>
                <a:cubicBezTo>
                  <a:pt x="3580448" y="304800"/>
                  <a:pt x="3606165" y="285750"/>
                  <a:pt x="3629978" y="266700"/>
                </a:cubicBezTo>
                <a:cubicBezTo>
                  <a:pt x="3677603" y="228600"/>
                  <a:pt x="3712845" y="189548"/>
                  <a:pt x="3738563" y="155257"/>
                </a:cubicBezTo>
                <a:cubicBezTo>
                  <a:pt x="3764280" y="120967"/>
                  <a:pt x="3779520" y="91440"/>
                  <a:pt x="3788093" y="71438"/>
                </a:cubicBezTo>
                <a:cubicBezTo>
                  <a:pt x="3792855" y="60960"/>
                  <a:pt x="3795713" y="53340"/>
                  <a:pt x="3797618" y="47625"/>
                </a:cubicBezTo>
                <a:cubicBezTo>
                  <a:pt x="3799523" y="43815"/>
                  <a:pt x="3800475" y="40957"/>
                  <a:pt x="3800475" y="40005"/>
                </a:cubicBezTo>
                <a:cubicBezTo>
                  <a:pt x="3799523" y="40957"/>
                  <a:pt x="3798570" y="43815"/>
                  <a:pt x="3796665" y="47625"/>
                </a:cubicBezTo>
                <a:cubicBezTo>
                  <a:pt x="3793808" y="52388"/>
                  <a:pt x="3790950" y="60007"/>
                  <a:pt x="3785235" y="69532"/>
                </a:cubicBezTo>
                <a:cubicBezTo>
                  <a:pt x="3774758" y="88582"/>
                  <a:pt x="3756660" y="116205"/>
                  <a:pt x="3729038" y="147638"/>
                </a:cubicBezTo>
                <a:cubicBezTo>
                  <a:pt x="3701415" y="179070"/>
                  <a:pt x="3664268" y="214313"/>
                  <a:pt x="3615690" y="247650"/>
                </a:cubicBezTo>
                <a:cubicBezTo>
                  <a:pt x="3591878" y="264795"/>
                  <a:pt x="3564255" y="280988"/>
                  <a:pt x="3535680" y="297180"/>
                </a:cubicBezTo>
                <a:cubicBezTo>
                  <a:pt x="3506153" y="312420"/>
                  <a:pt x="3473768" y="328613"/>
                  <a:pt x="3440430" y="345757"/>
                </a:cubicBezTo>
                <a:cubicBezTo>
                  <a:pt x="3306128" y="413385"/>
                  <a:pt x="3146108" y="494348"/>
                  <a:pt x="2968943" y="585787"/>
                </a:cubicBezTo>
                <a:cubicBezTo>
                  <a:pt x="2880360" y="631507"/>
                  <a:pt x="2787968" y="680085"/>
                  <a:pt x="2692718" y="733425"/>
                </a:cubicBezTo>
                <a:cubicBezTo>
                  <a:pt x="2668905" y="746760"/>
                  <a:pt x="2645093" y="760095"/>
                  <a:pt x="2621280" y="774382"/>
                </a:cubicBezTo>
                <a:cubicBezTo>
                  <a:pt x="2597468" y="788670"/>
                  <a:pt x="2572703" y="802005"/>
                  <a:pt x="2547938" y="819150"/>
                </a:cubicBezTo>
                <a:cubicBezTo>
                  <a:pt x="2541270" y="823912"/>
                  <a:pt x="2535555" y="826770"/>
                  <a:pt x="2526983" y="834390"/>
                </a:cubicBezTo>
                <a:cubicBezTo>
                  <a:pt x="2522220" y="838200"/>
                  <a:pt x="2521268" y="840105"/>
                  <a:pt x="2518410" y="842962"/>
                </a:cubicBezTo>
                <a:lnTo>
                  <a:pt x="2510790" y="851535"/>
                </a:lnTo>
                <a:lnTo>
                  <a:pt x="2495550" y="867728"/>
                </a:lnTo>
                <a:lnTo>
                  <a:pt x="2481263" y="885825"/>
                </a:lnTo>
                <a:cubicBezTo>
                  <a:pt x="2482215" y="843915"/>
                  <a:pt x="2481263" y="801053"/>
                  <a:pt x="2481263" y="759143"/>
                </a:cubicBezTo>
                <a:cubicBezTo>
                  <a:pt x="2480310" y="704850"/>
                  <a:pt x="2479358" y="651510"/>
                  <a:pt x="2483168" y="602932"/>
                </a:cubicBezTo>
                <a:cubicBezTo>
                  <a:pt x="2486978" y="553403"/>
                  <a:pt x="2496503" y="507682"/>
                  <a:pt x="2509838" y="463868"/>
                </a:cubicBezTo>
                <a:cubicBezTo>
                  <a:pt x="2537460" y="377190"/>
                  <a:pt x="2582228" y="305753"/>
                  <a:pt x="2626995" y="251460"/>
                </a:cubicBezTo>
                <a:cubicBezTo>
                  <a:pt x="2671763" y="197167"/>
                  <a:pt x="2716530" y="160973"/>
                  <a:pt x="2748915" y="137160"/>
                </a:cubicBezTo>
                <a:cubicBezTo>
                  <a:pt x="2757488" y="131445"/>
                  <a:pt x="2764155" y="125730"/>
                  <a:pt x="2770823" y="121920"/>
                </a:cubicBezTo>
                <a:cubicBezTo>
                  <a:pt x="2777490" y="118110"/>
                  <a:pt x="2783205" y="114300"/>
                  <a:pt x="2787968" y="111442"/>
                </a:cubicBezTo>
                <a:cubicBezTo>
                  <a:pt x="2796540" y="105727"/>
                  <a:pt x="2802255" y="102870"/>
                  <a:pt x="2802255" y="102870"/>
                </a:cubicBezTo>
                <a:cubicBezTo>
                  <a:pt x="2802255" y="102870"/>
                  <a:pt x="2796540" y="104775"/>
                  <a:pt x="2787015" y="108585"/>
                </a:cubicBezTo>
                <a:cubicBezTo>
                  <a:pt x="2782253" y="110490"/>
                  <a:pt x="2775585" y="113348"/>
                  <a:pt x="2768918" y="116205"/>
                </a:cubicBezTo>
                <a:cubicBezTo>
                  <a:pt x="2761298" y="119063"/>
                  <a:pt x="2753678" y="122873"/>
                  <a:pt x="2744153" y="127635"/>
                </a:cubicBezTo>
                <a:cubicBezTo>
                  <a:pt x="2734628" y="131445"/>
                  <a:pt x="2725103" y="137160"/>
                  <a:pt x="2714625" y="143827"/>
                </a:cubicBezTo>
                <a:cubicBezTo>
                  <a:pt x="2708910" y="146685"/>
                  <a:pt x="2703195" y="149542"/>
                  <a:pt x="2697480" y="153352"/>
                </a:cubicBezTo>
                <a:cubicBezTo>
                  <a:pt x="2691765" y="157163"/>
                  <a:pt x="2686050" y="160973"/>
                  <a:pt x="2679383" y="164782"/>
                </a:cubicBezTo>
                <a:cubicBezTo>
                  <a:pt x="2667000" y="172402"/>
                  <a:pt x="2654618" y="181927"/>
                  <a:pt x="2641283" y="192405"/>
                </a:cubicBezTo>
                <a:cubicBezTo>
                  <a:pt x="2634615" y="197167"/>
                  <a:pt x="2627948" y="202882"/>
                  <a:pt x="2621280" y="208598"/>
                </a:cubicBezTo>
                <a:cubicBezTo>
                  <a:pt x="2614613" y="214313"/>
                  <a:pt x="2607945" y="220027"/>
                  <a:pt x="2601278" y="226695"/>
                </a:cubicBezTo>
                <a:cubicBezTo>
                  <a:pt x="2594610" y="233363"/>
                  <a:pt x="2587943" y="240030"/>
                  <a:pt x="2581275" y="246698"/>
                </a:cubicBezTo>
                <a:cubicBezTo>
                  <a:pt x="2574608" y="254317"/>
                  <a:pt x="2567940" y="260985"/>
                  <a:pt x="2561273" y="268605"/>
                </a:cubicBezTo>
                <a:cubicBezTo>
                  <a:pt x="2554605" y="276225"/>
                  <a:pt x="2547938" y="284798"/>
                  <a:pt x="2541270" y="292417"/>
                </a:cubicBezTo>
                <a:cubicBezTo>
                  <a:pt x="2538413" y="296228"/>
                  <a:pt x="2534603" y="300990"/>
                  <a:pt x="2531745" y="304800"/>
                </a:cubicBezTo>
                <a:cubicBezTo>
                  <a:pt x="2528888" y="309563"/>
                  <a:pt x="2525078" y="313373"/>
                  <a:pt x="2522220" y="318135"/>
                </a:cubicBezTo>
                <a:cubicBezTo>
                  <a:pt x="2496503" y="354330"/>
                  <a:pt x="2473643" y="395288"/>
                  <a:pt x="2454593" y="441960"/>
                </a:cubicBezTo>
                <a:cubicBezTo>
                  <a:pt x="2435543" y="488632"/>
                  <a:pt x="2422208" y="540068"/>
                  <a:pt x="2416493" y="594360"/>
                </a:cubicBezTo>
                <a:cubicBezTo>
                  <a:pt x="2409825" y="648653"/>
                  <a:pt x="2409825" y="703898"/>
                  <a:pt x="2410778" y="759143"/>
                </a:cubicBezTo>
                <a:cubicBezTo>
                  <a:pt x="2411730" y="814387"/>
                  <a:pt x="2413635" y="867728"/>
                  <a:pt x="2412683" y="917257"/>
                </a:cubicBezTo>
                <a:cubicBezTo>
                  <a:pt x="2411730" y="952500"/>
                  <a:pt x="2408873" y="985837"/>
                  <a:pt x="2404110" y="1019175"/>
                </a:cubicBezTo>
                <a:cubicBezTo>
                  <a:pt x="2366963" y="1112520"/>
                  <a:pt x="2355533" y="1212533"/>
                  <a:pt x="2367915" y="1307783"/>
                </a:cubicBezTo>
                <a:cubicBezTo>
                  <a:pt x="2367915" y="1308735"/>
                  <a:pt x="2367915" y="1308735"/>
                  <a:pt x="2367915" y="1309687"/>
                </a:cubicBezTo>
                <a:cubicBezTo>
                  <a:pt x="2367915" y="1311593"/>
                  <a:pt x="2367915" y="1314450"/>
                  <a:pt x="2367915" y="1317308"/>
                </a:cubicBezTo>
                <a:cubicBezTo>
                  <a:pt x="2367915" y="1321118"/>
                  <a:pt x="2367915" y="1325880"/>
                  <a:pt x="2367915" y="1329690"/>
                </a:cubicBezTo>
                <a:cubicBezTo>
                  <a:pt x="2355533" y="1316355"/>
                  <a:pt x="2343150" y="1303020"/>
                  <a:pt x="2330768" y="1289685"/>
                </a:cubicBezTo>
                <a:cubicBezTo>
                  <a:pt x="2288858" y="1244918"/>
                  <a:pt x="2249805" y="1200150"/>
                  <a:pt x="2213610" y="1156335"/>
                </a:cubicBezTo>
                <a:cubicBezTo>
                  <a:pt x="2178368" y="1112520"/>
                  <a:pt x="2145983" y="1067753"/>
                  <a:pt x="2118360" y="1022032"/>
                </a:cubicBezTo>
                <a:cubicBezTo>
                  <a:pt x="2062163" y="931545"/>
                  <a:pt x="2020253" y="840105"/>
                  <a:pt x="1989773" y="754380"/>
                </a:cubicBezTo>
                <a:cubicBezTo>
                  <a:pt x="1959292" y="667703"/>
                  <a:pt x="1940242" y="586740"/>
                  <a:pt x="1928813" y="513398"/>
                </a:cubicBezTo>
                <a:cubicBezTo>
                  <a:pt x="1923098" y="477203"/>
                  <a:pt x="1919288" y="442912"/>
                  <a:pt x="1914525" y="410528"/>
                </a:cubicBezTo>
                <a:cubicBezTo>
                  <a:pt x="1910715" y="379095"/>
                  <a:pt x="1905953" y="349567"/>
                  <a:pt x="1901190" y="322898"/>
                </a:cubicBezTo>
                <a:cubicBezTo>
                  <a:pt x="1895475" y="295275"/>
                  <a:pt x="1889760" y="270510"/>
                  <a:pt x="1884045" y="250507"/>
                </a:cubicBezTo>
                <a:cubicBezTo>
                  <a:pt x="1877378" y="222885"/>
                  <a:pt x="1868805" y="198120"/>
                  <a:pt x="1860233" y="175260"/>
                </a:cubicBezTo>
                <a:cubicBezTo>
                  <a:pt x="1837373" y="116205"/>
                  <a:pt x="1811655" y="71438"/>
                  <a:pt x="1791653" y="42863"/>
                </a:cubicBezTo>
                <a:cubicBezTo>
                  <a:pt x="1782128" y="28575"/>
                  <a:pt x="1773555" y="17145"/>
                  <a:pt x="1767840" y="10477"/>
                </a:cubicBezTo>
                <a:cubicBezTo>
                  <a:pt x="1763078" y="3810"/>
                  <a:pt x="1760220" y="0"/>
                  <a:pt x="1759267" y="0"/>
                </a:cubicBezTo>
                <a:cubicBezTo>
                  <a:pt x="1760220" y="952"/>
                  <a:pt x="1762125" y="4763"/>
                  <a:pt x="1766888" y="11430"/>
                </a:cubicBezTo>
                <a:cubicBezTo>
                  <a:pt x="1771650" y="19050"/>
                  <a:pt x="1778317" y="30480"/>
                  <a:pt x="1786890" y="45720"/>
                </a:cubicBezTo>
                <a:cubicBezTo>
                  <a:pt x="1803083" y="76200"/>
                  <a:pt x="1825942" y="121920"/>
                  <a:pt x="1843088" y="180975"/>
                </a:cubicBezTo>
                <a:cubicBezTo>
                  <a:pt x="1851660" y="210502"/>
                  <a:pt x="1860233" y="243840"/>
                  <a:pt x="1864995" y="279082"/>
                </a:cubicBezTo>
                <a:cubicBezTo>
                  <a:pt x="1870710" y="315278"/>
                  <a:pt x="1872615" y="353378"/>
                  <a:pt x="1874520" y="394335"/>
                </a:cubicBezTo>
                <a:cubicBezTo>
                  <a:pt x="1876425" y="435293"/>
                  <a:pt x="1876425" y="479107"/>
                  <a:pt x="1881188" y="524828"/>
                </a:cubicBezTo>
                <a:cubicBezTo>
                  <a:pt x="1882140" y="536257"/>
                  <a:pt x="1883092" y="547687"/>
                  <a:pt x="1884998" y="559118"/>
                </a:cubicBezTo>
                <a:cubicBezTo>
                  <a:pt x="1885950" y="570548"/>
                  <a:pt x="1887855" y="581978"/>
                  <a:pt x="1889760" y="594360"/>
                </a:cubicBezTo>
                <a:cubicBezTo>
                  <a:pt x="1890713" y="601028"/>
                  <a:pt x="1891665" y="607695"/>
                  <a:pt x="1892617" y="613410"/>
                </a:cubicBezTo>
                <a:cubicBezTo>
                  <a:pt x="1898333" y="663893"/>
                  <a:pt x="1907858" y="717232"/>
                  <a:pt x="1922145" y="773430"/>
                </a:cubicBezTo>
                <a:cubicBezTo>
                  <a:pt x="1933575" y="820103"/>
                  <a:pt x="1948815" y="868680"/>
                  <a:pt x="1967865" y="919162"/>
                </a:cubicBezTo>
                <a:cubicBezTo>
                  <a:pt x="1933575" y="888682"/>
                  <a:pt x="1897380" y="859155"/>
                  <a:pt x="1857375" y="831532"/>
                </a:cubicBezTo>
                <a:cubicBezTo>
                  <a:pt x="1780223" y="779145"/>
                  <a:pt x="1693545" y="735330"/>
                  <a:pt x="1603058" y="701040"/>
                </a:cubicBezTo>
                <a:cubicBezTo>
                  <a:pt x="1512570" y="665798"/>
                  <a:pt x="1423035" y="641032"/>
                  <a:pt x="1336358" y="617220"/>
                </a:cubicBezTo>
                <a:cubicBezTo>
                  <a:pt x="1250633" y="594360"/>
                  <a:pt x="1167765" y="572453"/>
                  <a:pt x="1091565" y="550545"/>
                </a:cubicBezTo>
                <a:cubicBezTo>
                  <a:pt x="938212" y="505778"/>
                  <a:pt x="806768" y="446723"/>
                  <a:pt x="706755" y="380048"/>
                </a:cubicBezTo>
                <a:cubicBezTo>
                  <a:pt x="606743" y="313373"/>
                  <a:pt x="540068" y="239077"/>
                  <a:pt x="501968" y="182880"/>
                </a:cubicBezTo>
                <a:cubicBezTo>
                  <a:pt x="483870" y="154305"/>
                  <a:pt x="469583" y="131445"/>
                  <a:pt x="462915" y="114300"/>
                </a:cubicBezTo>
                <a:cubicBezTo>
                  <a:pt x="456247" y="100013"/>
                  <a:pt x="451485" y="91440"/>
                  <a:pt x="450533" y="89535"/>
                </a:cubicBezTo>
                <a:cubicBezTo>
                  <a:pt x="451485" y="91440"/>
                  <a:pt x="453390" y="100965"/>
                  <a:pt x="458153" y="116205"/>
                </a:cubicBezTo>
                <a:cubicBezTo>
                  <a:pt x="462915" y="134302"/>
                  <a:pt x="472440" y="159067"/>
                  <a:pt x="487680" y="191452"/>
                </a:cubicBezTo>
                <a:cubicBezTo>
                  <a:pt x="491490" y="199073"/>
                  <a:pt x="496253" y="207645"/>
                  <a:pt x="501015" y="216217"/>
                </a:cubicBezTo>
                <a:cubicBezTo>
                  <a:pt x="502920" y="220980"/>
                  <a:pt x="505778" y="224790"/>
                  <a:pt x="507683" y="229552"/>
                </a:cubicBezTo>
                <a:cubicBezTo>
                  <a:pt x="510540" y="234315"/>
                  <a:pt x="513397" y="238125"/>
                  <a:pt x="516255" y="242888"/>
                </a:cubicBezTo>
                <a:cubicBezTo>
                  <a:pt x="521970" y="252413"/>
                  <a:pt x="527685" y="260985"/>
                  <a:pt x="534353" y="271463"/>
                </a:cubicBezTo>
                <a:cubicBezTo>
                  <a:pt x="541020" y="280988"/>
                  <a:pt x="548640" y="290513"/>
                  <a:pt x="556260" y="300990"/>
                </a:cubicBezTo>
                <a:cubicBezTo>
                  <a:pt x="586740" y="340995"/>
                  <a:pt x="626745" y="383857"/>
                  <a:pt x="675323" y="423863"/>
                </a:cubicBezTo>
                <a:cubicBezTo>
                  <a:pt x="773430" y="504825"/>
                  <a:pt x="906780" y="580073"/>
                  <a:pt x="1063942" y="637223"/>
                </a:cubicBezTo>
                <a:cubicBezTo>
                  <a:pt x="1142048" y="665798"/>
                  <a:pt x="1224915" y="690562"/>
                  <a:pt x="1308735" y="717232"/>
                </a:cubicBezTo>
                <a:cubicBezTo>
                  <a:pt x="1393508" y="742950"/>
                  <a:pt x="1480185" y="769620"/>
                  <a:pt x="1564958" y="802957"/>
                </a:cubicBezTo>
                <a:cubicBezTo>
                  <a:pt x="1650683" y="835343"/>
                  <a:pt x="1729740" y="873443"/>
                  <a:pt x="1801178" y="919162"/>
                </a:cubicBezTo>
                <a:cubicBezTo>
                  <a:pt x="1871663" y="964882"/>
                  <a:pt x="1935480" y="1018223"/>
                  <a:pt x="1995488" y="1072515"/>
                </a:cubicBezTo>
                <a:cubicBezTo>
                  <a:pt x="2025015" y="1100137"/>
                  <a:pt x="2053590" y="1126808"/>
                  <a:pt x="2082165" y="1152525"/>
                </a:cubicBezTo>
                <a:cubicBezTo>
                  <a:pt x="2096452" y="1176337"/>
                  <a:pt x="2112645" y="1200150"/>
                  <a:pt x="2128838" y="1223010"/>
                </a:cubicBezTo>
                <a:cubicBezTo>
                  <a:pt x="2164080" y="1272540"/>
                  <a:pt x="2203133" y="1321118"/>
                  <a:pt x="2242185" y="1369695"/>
                </a:cubicBezTo>
                <a:cubicBezTo>
                  <a:pt x="2322195" y="1465898"/>
                  <a:pt x="2407920" y="1562100"/>
                  <a:pt x="2473643" y="1669733"/>
                </a:cubicBezTo>
                <a:cubicBezTo>
                  <a:pt x="2506980" y="1723072"/>
                  <a:pt x="2533650" y="1780222"/>
                  <a:pt x="2551748" y="1840230"/>
                </a:cubicBezTo>
                <a:cubicBezTo>
                  <a:pt x="2569845" y="1900237"/>
                  <a:pt x="2577465" y="1963103"/>
                  <a:pt x="2576513" y="2026920"/>
                </a:cubicBezTo>
                <a:cubicBezTo>
                  <a:pt x="2574608" y="2090737"/>
                  <a:pt x="2563178" y="2153603"/>
                  <a:pt x="2542223" y="2212658"/>
                </a:cubicBezTo>
                <a:cubicBezTo>
                  <a:pt x="2537460" y="2227897"/>
                  <a:pt x="2530793" y="2242185"/>
                  <a:pt x="2525078" y="2256472"/>
                </a:cubicBezTo>
                <a:cubicBezTo>
                  <a:pt x="2518410" y="2270760"/>
                  <a:pt x="2511743" y="2286000"/>
                  <a:pt x="2505075" y="2300288"/>
                </a:cubicBezTo>
                <a:cubicBezTo>
                  <a:pt x="2490788" y="2328863"/>
                  <a:pt x="2475548" y="2358390"/>
                  <a:pt x="2458403" y="2386965"/>
                </a:cubicBezTo>
                <a:cubicBezTo>
                  <a:pt x="2426018" y="2444115"/>
                  <a:pt x="2390775" y="2502218"/>
                  <a:pt x="2360295" y="2563178"/>
                </a:cubicBezTo>
                <a:cubicBezTo>
                  <a:pt x="2345055" y="2593658"/>
                  <a:pt x="2330768" y="2625090"/>
                  <a:pt x="2318385" y="2656522"/>
                </a:cubicBezTo>
                <a:cubicBezTo>
                  <a:pt x="2315528" y="2664143"/>
                  <a:pt x="2312670" y="2672715"/>
                  <a:pt x="2309813" y="2680335"/>
                </a:cubicBezTo>
                <a:cubicBezTo>
                  <a:pt x="2306955" y="2688908"/>
                  <a:pt x="2304098" y="2696528"/>
                  <a:pt x="2301240" y="2705100"/>
                </a:cubicBezTo>
                <a:cubicBezTo>
                  <a:pt x="2296478" y="2721293"/>
                  <a:pt x="2291715" y="2737485"/>
                  <a:pt x="2287905" y="2753678"/>
                </a:cubicBezTo>
                <a:cubicBezTo>
                  <a:pt x="2285048" y="2767013"/>
                  <a:pt x="2282190" y="2780347"/>
                  <a:pt x="2279333" y="2793683"/>
                </a:cubicBezTo>
                <a:cubicBezTo>
                  <a:pt x="2267903" y="2767965"/>
                  <a:pt x="2253615" y="2742247"/>
                  <a:pt x="2238375" y="2718435"/>
                </a:cubicBezTo>
                <a:cubicBezTo>
                  <a:pt x="2222183" y="2693670"/>
                  <a:pt x="2203133" y="2670810"/>
                  <a:pt x="2184083" y="2647950"/>
                </a:cubicBezTo>
                <a:cubicBezTo>
                  <a:pt x="2164080" y="2626043"/>
                  <a:pt x="2142173" y="2605088"/>
                  <a:pt x="2119313" y="2586038"/>
                </a:cubicBezTo>
                <a:cubicBezTo>
                  <a:pt x="2096452" y="2566988"/>
                  <a:pt x="2072640" y="2548890"/>
                  <a:pt x="2046923" y="2532697"/>
                </a:cubicBezTo>
                <a:cubicBezTo>
                  <a:pt x="1996440" y="2500313"/>
                  <a:pt x="1942148" y="2473643"/>
                  <a:pt x="1886903" y="2451735"/>
                </a:cubicBezTo>
                <a:cubicBezTo>
                  <a:pt x="1842135" y="2434590"/>
                  <a:pt x="1798320" y="2419350"/>
                  <a:pt x="1754505" y="2406968"/>
                </a:cubicBezTo>
                <a:cubicBezTo>
                  <a:pt x="1742123" y="2386013"/>
                  <a:pt x="1733550" y="2362200"/>
                  <a:pt x="1728788" y="2336483"/>
                </a:cubicBezTo>
                <a:cubicBezTo>
                  <a:pt x="1722120" y="2300288"/>
                  <a:pt x="1724025" y="2263140"/>
                  <a:pt x="1732598" y="2226945"/>
                </a:cubicBezTo>
                <a:cubicBezTo>
                  <a:pt x="1740217" y="2191703"/>
                  <a:pt x="1753553" y="2157413"/>
                  <a:pt x="1769745" y="2125980"/>
                </a:cubicBezTo>
                <a:cubicBezTo>
                  <a:pt x="1801178" y="2063115"/>
                  <a:pt x="1840230" y="2010728"/>
                  <a:pt x="1877378" y="1970722"/>
                </a:cubicBezTo>
                <a:cubicBezTo>
                  <a:pt x="1914525" y="1930718"/>
                  <a:pt x="1949767" y="1902143"/>
                  <a:pt x="1974533" y="1884045"/>
                </a:cubicBezTo>
                <a:cubicBezTo>
                  <a:pt x="1986915" y="1874520"/>
                  <a:pt x="1997392" y="1867853"/>
                  <a:pt x="2004060" y="1863090"/>
                </a:cubicBezTo>
                <a:cubicBezTo>
                  <a:pt x="2009775" y="1859280"/>
                  <a:pt x="2013585" y="1856422"/>
                  <a:pt x="2014538" y="1856422"/>
                </a:cubicBezTo>
                <a:cubicBezTo>
                  <a:pt x="2013585" y="1856422"/>
                  <a:pt x="2009775" y="1858328"/>
                  <a:pt x="2003108" y="1860233"/>
                </a:cubicBezTo>
                <a:cubicBezTo>
                  <a:pt x="1995488" y="1863090"/>
                  <a:pt x="1984058" y="1867853"/>
                  <a:pt x="1969770" y="1873568"/>
                </a:cubicBezTo>
                <a:cubicBezTo>
                  <a:pt x="1941195" y="1886903"/>
                  <a:pt x="1899285" y="1907858"/>
                  <a:pt x="1854517" y="1943100"/>
                </a:cubicBezTo>
                <a:cubicBezTo>
                  <a:pt x="1808798" y="1978343"/>
                  <a:pt x="1759267" y="2028825"/>
                  <a:pt x="1718310" y="2094547"/>
                </a:cubicBezTo>
                <a:cubicBezTo>
                  <a:pt x="1712595" y="2104072"/>
                  <a:pt x="1705928" y="2114550"/>
                  <a:pt x="1701165" y="2125980"/>
                </a:cubicBezTo>
                <a:cubicBezTo>
                  <a:pt x="1707833" y="2063115"/>
                  <a:pt x="1711642" y="1994535"/>
                  <a:pt x="1709738" y="1922145"/>
                </a:cubicBezTo>
                <a:cubicBezTo>
                  <a:pt x="1707833" y="1845945"/>
                  <a:pt x="1700213" y="1773555"/>
                  <a:pt x="1687830" y="1708785"/>
                </a:cubicBezTo>
                <a:cubicBezTo>
                  <a:pt x="1675448" y="1644015"/>
                  <a:pt x="1657350" y="1585912"/>
                  <a:pt x="1638300" y="1539240"/>
                </a:cubicBezTo>
                <a:cubicBezTo>
                  <a:pt x="1619250" y="1492568"/>
                  <a:pt x="1599248" y="1457325"/>
                  <a:pt x="1584008" y="1434465"/>
                </a:cubicBezTo>
                <a:cubicBezTo>
                  <a:pt x="1576388" y="1422083"/>
                  <a:pt x="1569720" y="1413510"/>
                  <a:pt x="1565910" y="1407795"/>
                </a:cubicBezTo>
                <a:cubicBezTo>
                  <a:pt x="1562100" y="1403033"/>
                  <a:pt x="1560195" y="1399223"/>
                  <a:pt x="1559242" y="1399223"/>
                </a:cubicBezTo>
                <a:cubicBezTo>
                  <a:pt x="1559242" y="1400175"/>
                  <a:pt x="1561148" y="1403985"/>
                  <a:pt x="1563053" y="1409700"/>
                </a:cubicBezTo>
                <a:cubicBezTo>
                  <a:pt x="1564958" y="1416368"/>
                  <a:pt x="1569720" y="1425893"/>
                  <a:pt x="1573530" y="1439228"/>
                </a:cubicBezTo>
                <a:cubicBezTo>
                  <a:pt x="1582103" y="1464945"/>
                  <a:pt x="1593533" y="1503045"/>
                  <a:pt x="1604010" y="1549718"/>
                </a:cubicBezTo>
                <a:cubicBezTo>
                  <a:pt x="1613535" y="1597343"/>
                  <a:pt x="1623060" y="1653540"/>
                  <a:pt x="1628775" y="1716405"/>
                </a:cubicBezTo>
                <a:cubicBezTo>
                  <a:pt x="1634490" y="1779270"/>
                  <a:pt x="1637348" y="1849755"/>
                  <a:pt x="1639253" y="1923097"/>
                </a:cubicBezTo>
                <a:cubicBezTo>
                  <a:pt x="1641158" y="1996440"/>
                  <a:pt x="1641158" y="2066925"/>
                  <a:pt x="1641158" y="2131695"/>
                </a:cubicBezTo>
                <a:cubicBezTo>
                  <a:pt x="1641158" y="2170747"/>
                  <a:pt x="1640205" y="2206943"/>
                  <a:pt x="1639253" y="2241233"/>
                </a:cubicBezTo>
                <a:cubicBezTo>
                  <a:pt x="1639253" y="2241233"/>
                  <a:pt x="1639253" y="2241233"/>
                  <a:pt x="1639253" y="2242185"/>
                </a:cubicBezTo>
                <a:cubicBezTo>
                  <a:pt x="1632585" y="2253615"/>
                  <a:pt x="1626870" y="2266950"/>
                  <a:pt x="1622108" y="2283143"/>
                </a:cubicBezTo>
                <a:cubicBezTo>
                  <a:pt x="1618298" y="2299335"/>
                  <a:pt x="1615440" y="2317433"/>
                  <a:pt x="1617345" y="2336483"/>
                </a:cubicBezTo>
                <a:cubicBezTo>
                  <a:pt x="1618298" y="2347913"/>
                  <a:pt x="1621155" y="2359343"/>
                  <a:pt x="1624965" y="2369820"/>
                </a:cubicBezTo>
                <a:cubicBezTo>
                  <a:pt x="1605915" y="2365058"/>
                  <a:pt x="1585913" y="2360295"/>
                  <a:pt x="1566863" y="2355533"/>
                </a:cubicBezTo>
                <a:cubicBezTo>
                  <a:pt x="1463992" y="2330768"/>
                  <a:pt x="1365885" y="2306003"/>
                  <a:pt x="1274445" y="2279333"/>
                </a:cubicBezTo>
                <a:cubicBezTo>
                  <a:pt x="1228725" y="2265997"/>
                  <a:pt x="1183958" y="2252663"/>
                  <a:pt x="1141095" y="2237422"/>
                </a:cubicBezTo>
                <a:cubicBezTo>
                  <a:pt x="1120140" y="2230755"/>
                  <a:pt x="1099185" y="2222183"/>
                  <a:pt x="1078230" y="2215515"/>
                </a:cubicBezTo>
                <a:cubicBezTo>
                  <a:pt x="1058228" y="2207895"/>
                  <a:pt x="1037273" y="2200275"/>
                  <a:pt x="1018223" y="2191703"/>
                </a:cubicBezTo>
                <a:cubicBezTo>
                  <a:pt x="979170" y="2176463"/>
                  <a:pt x="942023" y="2158365"/>
                  <a:pt x="906780" y="2141220"/>
                </a:cubicBezTo>
                <a:cubicBezTo>
                  <a:pt x="871537" y="2124075"/>
                  <a:pt x="839153" y="2105025"/>
                  <a:pt x="809625" y="2086928"/>
                </a:cubicBezTo>
                <a:cubicBezTo>
                  <a:pt x="779145" y="2067878"/>
                  <a:pt x="752475" y="2047875"/>
                  <a:pt x="726758" y="2027872"/>
                </a:cubicBezTo>
                <a:cubicBezTo>
                  <a:pt x="701993" y="2007870"/>
                  <a:pt x="679133" y="1987868"/>
                  <a:pt x="659130" y="1966912"/>
                </a:cubicBezTo>
                <a:cubicBezTo>
                  <a:pt x="619125" y="1925955"/>
                  <a:pt x="590550" y="1885950"/>
                  <a:pt x="571500" y="1850708"/>
                </a:cubicBezTo>
                <a:cubicBezTo>
                  <a:pt x="568643" y="1845945"/>
                  <a:pt x="566737" y="1842135"/>
                  <a:pt x="563880" y="1837372"/>
                </a:cubicBezTo>
                <a:cubicBezTo>
                  <a:pt x="561975" y="1833562"/>
                  <a:pt x="560070" y="1828800"/>
                  <a:pt x="558165" y="1824990"/>
                </a:cubicBezTo>
                <a:cubicBezTo>
                  <a:pt x="554355" y="1816418"/>
                  <a:pt x="550545" y="1808797"/>
                  <a:pt x="547687" y="1802130"/>
                </a:cubicBezTo>
                <a:cubicBezTo>
                  <a:pt x="541973" y="1787843"/>
                  <a:pt x="537210" y="1774508"/>
                  <a:pt x="534353" y="1764983"/>
                </a:cubicBezTo>
                <a:cubicBezTo>
                  <a:pt x="528637" y="1744028"/>
                  <a:pt x="525780" y="1732597"/>
                  <a:pt x="525780" y="1732597"/>
                </a:cubicBezTo>
                <a:cubicBezTo>
                  <a:pt x="525780" y="1732597"/>
                  <a:pt x="526733" y="1744028"/>
                  <a:pt x="528637" y="1765935"/>
                </a:cubicBezTo>
                <a:cubicBezTo>
                  <a:pt x="529590" y="1776412"/>
                  <a:pt x="533400" y="1789747"/>
                  <a:pt x="536258" y="1805940"/>
                </a:cubicBezTo>
                <a:cubicBezTo>
                  <a:pt x="538162" y="1813560"/>
                  <a:pt x="541020" y="1822133"/>
                  <a:pt x="542925" y="1831658"/>
                </a:cubicBezTo>
                <a:cubicBezTo>
                  <a:pt x="543878" y="1836420"/>
                  <a:pt x="544830" y="1841183"/>
                  <a:pt x="546735" y="1845945"/>
                </a:cubicBezTo>
                <a:cubicBezTo>
                  <a:pt x="548640" y="1850708"/>
                  <a:pt x="550545" y="1855470"/>
                  <a:pt x="552450" y="1860233"/>
                </a:cubicBezTo>
                <a:cubicBezTo>
                  <a:pt x="566737" y="1900237"/>
                  <a:pt x="590550" y="1946910"/>
                  <a:pt x="626745" y="1996440"/>
                </a:cubicBezTo>
                <a:cubicBezTo>
                  <a:pt x="644843" y="2021205"/>
                  <a:pt x="665798" y="2045970"/>
                  <a:pt x="689610" y="2070735"/>
                </a:cubicBezTo>
                <a:cubicBezTo>
                  <a:pt x="713423" y="2095500"/>
                  <a:pt x="740093" y="2120265"/>
                  <a:pt x="769620" y="2144078"/>
                </a:cubicBezTo>
                <a:cubicBezTo>
                  <a:pt x="799148" y="2167890"/>
                  <a:pt x="831533" y="2191703"/>
                  <a:pt x="866775" y="2214563"/>
                </a:cubicBezTo>
                <a:cubicBezTo>
                  <a:pt x="902017" y="2236470"/>
                  <a:pt x="939165" y="2259330"/>
                  <a:pt x="978217" y="2279333"/>
                </a:cubicBezTo>
                <a:cubicBezTo>
                  <a:pt x="998220" y="2289810"/>
                  <a:pt x="1018223" y="2299335"/>
                  <a:pt x="1039178" y="2309813"/>
                </a:cubicBezTo>
                <a:cubicBezTo>
                  <a:pt x="1060133" y="2319338"/>
                  <a:pt x="1081088" y="2329815"/>
                  <a:pt x="1102995" y="2338388"/>
                </a:cubicBezTo>
                <a:cubicBezTo>
                  <a:pt x="1146810" y="2357438"/>
                  <a:pt x="1191578" y="2375535"/>
                  <a:pt x="1238250" y="2391728"/>
                </a:cubicBezTo>
                <a:cubicBezTo>
                  <a:pt x="1258253" y="2398395"/>
                  <a:pt x="1278255" y="2406015"/>
                  <a:pt x="1298258" y="2412683"/>
                </a:cubicBezTo>
                <a:cubicBezTo>
                  <a:pt x="1257300" y="2412683"/>
                  <a:pt x="1215390" y="2415540"/>
                  <a:pt x="1173480" y="2421255"/>
                </a:cubicBezTo>
                <a:cubicBezTo>
                  <a:pt x="1105853" y="2430780"/>
                  <a:pt x="1038225" y="2447925"/>
                  <a:pt x="971550" y="2461260"/>
                </a:cubicBezTo>
                <a:cubicBezTo>
                  <a:pt x="904875" y="2474595"/>
                  <a:pt x="838200" y="2483168"/>
                  <a:pt x="774383" y="2487930"/>
                </a:cubicBezTo>
                <a:cubicBezTo>
                  <a:pt x="709612" y="2491740"/>
                  <a:pt x="647700" y="2491740"/>
                  <a:pt x="588645" y="2487930"/>
                </a:cubicBezTo>
                <a:cubicBezTo>
                  <a:pt x="469583" y="2480310"/>
                  <a:pt x="363855" y="2460308"/>
                  <a:pt x="276225" y="2435543"/>
                </a:cubicBezTo>
                <a:cubicBezTo>
                  <a:pt x="232410" y="2423160"/>
                  <a:pt x="193358" y="2410778"/>
                  <a:pt x="159068" y="2398395"/>
                </a:cubicBezTo>
                <a:cubicBezTo>
                  <a:pt x="141922" y="2391728"/>
                  <a:pt x="126682" y="2386013"/>
                  <a:pt x="111443" y="2380297"/>
                </a:cubicBezTo>
                <a:cubicBezTo>
                  <a:pt x="97155" y="2374583"/>
                  <a:pt x="83820" y="2368868"/>
                  <a:pt x="72390" y="2363153"/>
                </a:cubicBezTo>
                <a:cubicBezTo>
                  <a:pt x="66675" y="2360295"/>
                  <a:pt x="60960" y="2358390"/>
                  <a:pt x="55245" y="2356485"/>
                </a:cubicBezTo>
                <a:cubicBezTo>
                  <a:pt x="50482" y="2353628"/>
                  <a:pt x="45720" y="2351722"/>
                  <a:pt x="40957" y="2349818"/>
                </a:cubicBezTo>
                <a:cubicBezTo>
                  <a:pt x="32385" y="2346008"/>
                  <a:pt x="24765" y="2342197"/>
                  <a:pt x="18097" y="2339340"/>
                </a:cubicBezTo>
                <a:cubicBezTo>
                  <a:pt x="7620" y="2339340"/>
                  <a:pt x="952" y="2336483"/>
                  <a:pt x="0" y="2335530"/>
                </a:cubicBezTo>
                <a:close/>
                <a:moveTo>
                  <a:pt x="2191703" y="3482340"/>
                </a:moveTo>
                <a:cubicBezTo>
                  <a:pt x="2196465" y="3485197"/>
                  <a:pt x="2200275" y="3487103"/>
                  <a:pt x="2204085" y="3489960"/>
                </a:cubicBezTo>
                <a:cubicBezTo>
                  <a:pt x="2204085" y="3507105"/>
                  <a:pt x="2204085" y="3524250"/>
                  <a:pt x="2205038" y="3540443"/>
                </a:cubicBezTo>
                <a:cubicBezTo>
                  <a:pt x="2189798" y="3518535"/>
                  <a:pt x="2172653" y="3499485"/>
                  <a:pt x="2153603" y="3483293"/>
                </a:cubicBezTo>
                <a:cubicBezTo>
                  <a:pt x="2149793" y="3476625"/>
                  <a:pt x="2145030" y="3469958"/>
                  <a:pt x="2138363" y="3464243"/>
                </a:cubicBezTo>
                <a:cubicBezTo>
                  <a:pt x="2145030" y="3466147"/>
                  <a:pt x="2151698" y="3468053"/>
                  <a:pt x="2158365" y="3469958"/>
                </a:cubicBezTo>
                <a:cubicBezTo>
                  <a:pt x="2171700" y="3473768"/>
                  <a:pt x="2183130" y="3477578"/>
                  <a:pt x="2191703" y="3482340"/>
                </a:cubicBezTo>
                <a:close/>
              </a:path>
            </a:pathLst>
          </a:custGeom>
          <a:solidFill>
            <a:schemeClr val="bg2">
              <a:lumMod val="75000"/>
            </a:scheme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5" name="Freeform: Shape 5">
            <a:extLst>
              <a:ext uri="{FF2B5EF4-FFF2-40B4-BE49-F238E27FC236}">
                <a16:creationId xmlns:a16="http://schemas.microsoft.com/office/drawing/2014/main" id="{FD0D2713-85AE-4810-9046-9ABD2FFCB519}"/>
              </a:ext>
            </a:extLst>
          </p:cNvPr>
          <p:cNvSpPr/>
          <p:nvPr/>
        </p:nvSpPr>
        <p:spPr>
          <a:xfrm>
            <a:off x="7063055" y="3398133"/>
            <a:ext cx="1094103" cy="1103172"/>
          </a:xfrm>
          <a:custGeom>
            <a:avLst/>
            <a:gdLst>
              <a:gd name="connsiteX0" fmla="*/ 309563 w 1124076"/>
              <a:gd name="connsiteY0" fmla="*/ 406636 h 1133393"/>
              <a:gd name="connsiteX1" fmla="*/ 771525 w 1124076"/>
              <a:gd name="connsiteY1" fmla="*/ 21826 h 1133393"/>
              <a:gd name="connsiteX2" fmla="*/ 1096328 w 1124076"/>
              <a:gd name="connsiteY2" fmla="*/ 320911 h 1133393"/>
              <a:gd name="connsiteX3" fmla="*/ 677228 w 1124076"/>
              <a:gd name="connsiteY3" fmla="*/ 800019 h 1133393"/>
              <a:gd name="connsiteX4" fmla="*/ 0 w 1124076"/>
              <a:gd name="connsiteY4" fmla="*/ 1133394 h 1133393"/>
              <a:gd name="connsiteX5" fmla="*/ 309563 w 1124076"/>
              <a:gd name="connsiteY5" fmla="*/ 406636 h 1133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24076" h="1133393">
                <a:moveTo>
                  <a:pt x="309563" y="406636"/>
                </a:moveTo>
                <a:cubicBezTo>
                  <a:pt x="426720" y="266619"/>
                  <a:pt x="540068" y="107551"/>
                  <a:pt x="771525" y="21826"/>
                </a:cubicBezTo>
                <a:cubicBezTo>
                  <a:pt x="820103" y="3729"/>
                  <a:pt x="1233488" y="-89616"/>
                  <a:pt x="1096328" y="320911"/>
                </a:cubicBezTo>
                <a:cubicBezTo>
                  <a:pt x="1021080" y="545701"/>
                  <a:pt x="862965" y="642856"/>
                  <a:pt x="677228" y="800019"/>
                </a:cubicBezTo>
                <a:cubicBezTo>
                  <a:pt x="510540" y="940989"/>
                  <a:pt x="240983" y="1107676"/>
                  <a:pt x="0" y="1133394"/>
                </a:cubicBezTo>
                <a:cubicBezTo>
                  <a:pt x="181928" y="997186"/>
                  <a:pt x="193358" y="546654"/>
                  <a:pt x="309563" y="406636"/>
                </a:cubicBezTo>
                <a:close/>
              </a:path>
            </a:pathLst>
          </a:custGeom>
          <a:solidFill>
            <a:schemeClr val="accent4"/>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6" name="Freeform: Shape 6">
            <a:extLst>
              <a:ext uri="{FF2B5EF4-FFF2-40B4-BE49-F238E27FC236}">
                <a16:creationId xmlns:a16="http://schemas.microsoft.com/office/drawing/2014/main" id="{B7224703-AA34-4A3F-96CB-9E0F138BC125}"/>
              </a:ext>
            </a:extLst>
          </p:cNvPr>
          <p:cNvSpPr/>
          <p:nvPr/>
        </p:nvSpPr>
        <p:spPr>
          <a:xfrm>
            <a:off x="4234809" y="3491942"/>
            <a:ext cx="1098127" cy="1382336"/>
          </a:xfrm>
          <a:custGeom>
            <a:avLst/>
            <a:gdLst>
              <a:gd name="connsiteX0" fmla="*/ 860707 w 1128210"/>
              <a:gd name="connsiteY0" fmla="*/ 355977 h 1420205"/>
              <a:gd name="connsiteX1" fmla="*/ 225390 w 1128210"/>
              <a:gd name="connsiteY1" fmla="*/ 695 h 1420205"/>
              <a:gd name="connsiteX2" fmla="*/ 79657 w 1128210"/>
              <a:gd name="connsiteY2" fmla="*/ 37842 h 1420205"/>
              <a:gd name="connsiteX3" fmla="*/ 37747 w 1128210"/>
              <a:gd name="connsiteY3" fmla="*/ 105470 h 1420205"/>
              <a:gd name="connsiteX4" fmla="*/ 98707 w 1128210"/>
              <a:gd name="connsiteY4" fmla="*/ 698877 h 1420205"/>
              <a:gd name="connsiteX5" fmla="*/ 1109310 w 1128210"/>
              <a:gd name="connsiteY5" fmla="*/ 1419920 h 1420205"/>
              <a:gd name="connsiteX6" fmla="*/ 860707 w 1128210"/>
              <a:gd name="connsiteY6" fmla="*/ 355977 h 14202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28210" h="1420205">
                <a:moveTo>
                  <a:pt x="860707" y="355977"/>
                </a:moveTo>
                <a:cubicBezTo>
                  <a:pt x="728310" y="143570"/>
                  <a:pt x="474945" y="13077"/>
                  <a:pt x="225390" y="695"/>
                </a:cubicBezTo>
                <a:cubicBezTo>
                  <a:pt x="173955" y="-2163"/>
                  <a:pt x="117757" y="2600"/>
                  <a:pt x="79657" y="37842"/>
                </a:cubicBezTo>
                <a:cubicBezTo>
                  <a:pt x="60607" y="55940"/>
                  <a:pt x="48225" y="80705"/>
                  <a:pt x="37747" y="105470"/>
                </a:cubicBezTo>
                <a:cubicBezTo>
                  <a:pt x="-42263" y="296922"/>
                  <a:pt x="17745" y="508377"/>
                  <a:pt x="98707" y="698877"/>
                </a:cubicBezTo>
                <a:cubicBezTo>
                  <a:pt x="284445" y="1137980"/>
                  <a:pt x="928335" y="1224657"/>
                  <a:pt x="1109310" y="1419920"/>
                </a:cubicBezTo>
                <a:cubicBezTo>
                  <a:pt x="1123597" y="1434207"/>
                  <a:pt x="1206465" y="910332"/>
                  <a:pt x="860707" y="355977"/>
                </a:cubicBezTo>
                <a:close/>
              </a:path>
            </a:pathLst>
          </a:custGeom>
          <a:solidFill>
            <a:schemeClr val="accent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7" name="Freeform: Shape 8">
            <a:extLst>
              <a:ext uri="{FF2B5EF4-FFF2-40B4-BE49-F238E27FC236}">
                <a16:creationId xmlns:a16="http://schemas.microsoft.com/office/drawing/2014/main" id="{352FF7FB-4C72-4E47-BFAB-52982BD542E0}"/>
              </a:ext>
            </a:extLst>
          </p:cNvPr>
          <p:cNvSpPr/>
          <p:nvPr/>
        </p:nvSpPr>
        <p:spPr>
          <a:xfrm>
            <a:off x="6414388" y="3454401"/>
            <a:ext cx="563660" cy="1156988"/>
          </a:xfrm>
          <a:custGeom>
            <a:avLst/>
            <a:gdLst>
              <a:gd name="connsiteX0" fmla="*/ 121831 w 514167"/>
              <a:gd name="connsiteY0" fmla="*/ 701071 h 1055401"/>
              <a:gd name="connsiteX1" fmla="*/ 15151 w 514167"/>
              <a:gd name="connsiteY1" fmla="*/ 458184 h 1055401"/>
              <a:gd name="connsiteX2" fmla="*/ 245656 w 514167"/>
              <a:gd name="connsiteY2" fmla="*/ 2889 h 1055401"/>
              <a:gd name="connsiteX3" fmla="*/ 449491 w 514167"/>
              <a:gd name="connsiteY3" fmla="*/ 94329 h 1055401"/>
              <a:gd name="connsiteX4" fmla="*/ 512356 w 514167"/>
              <a:gd name="connsiteY4" fmla="*/ 321024 h 1055401"/>
              <a:gd name="connsiteX5" fmla="*/ 278993 w 514167"/>
              <a:gd name="connsiteY5" fmla="*/ 984916 h 1055401"/>
              <a:gd name="connsiteX6" fmla="*/ 194221 w 514167"/>
              <a:gd name="connsiteY6" fmla="*/ 1055401 h 1055401"/>
              <a:gd name="connsiteX7" fmla="*/ 121831 w 514167"/>
              <a:gd name="connsiteY7" fmla="*/ 701071 h 1055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4167" h="1055401">
                <a:moveTo>
                  <a:pt x="121831" y="701071"/>
                </a:moveTo>
                <a:cubicBezTo>
                  <a:pt x="90398" y="618204"/>
                  <a:pt x="39916" y="542956"/>
                  <a:pt x="15151" y="458184"/>
                </a:cubicBezTo>
                <a:cubicBezTo>
                  <a:pt x="-21044" y="334359"/>
                  <a:pt x="-9614" y="48609"/>
                  <a:pt x="245656" y="2889"/>
                </a:cubicBezTo>
                <a:cubicBezTo>
                  <a:pt x="323761" y="-11399"/>
                  <a:pt x="404723" y="28606"/>
                  <a:pt x="449491" y="94329"/>
                </a:cubicBezTo>
                <a:cubicBezTo>
                  <a:pt x="494258" y="160051"/>
                  <a:pt x="507593" y="241966"/>
                  <a:pt x="512356" y="321024"/>
                </a:cubicBezTo>
                <a:cubicBezTo>
                  <a:pt x="526643" y="562959"/>
                  <a:pt x="457111" y="821086"/>
                  <a:pt x="278993" y="984916"/>
                </a:cubicBezTo>
                <a:cubicBezTo>
                  <a:pt x="254228" y="1007776"/>
                  <a:pt x="222796" y="1041114"/>
                  <a:pt x="194221" y="1055401"/>
                </a:cubicBezTo>
                <a:cubicBezTo>
                  <a:pt x="218033" y="917289"/>
                  <a:pt x="142786" y="758221"/>
                  <a:pt x="121831" y="701071"/>
                </a:cubicBezTo>
                <a:close/>
              </a:path>
            </a:pathLst>
          </a:custGeom>
          <a:solidFill>
            <a:schemeClr val="accent4"/>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8" name="Freeform: Shape 9">
            <a:extLst>
              <a:ext uri="{FF2B5EF4-FFF2-40B4-BE49-F238E27FC236}">
                <a16:creationId xmlns:a16="http://schemas.microsoft.com/office/drawing/2014/main" id="{4718C581-11F7-41F9-A41E-BEF95B2F22CF}"/>
              </a:ext>
            </a:extLst>
          </p:cNvPr>
          <p:cNvSpPr/>
          <p:nvPr/>
        </p:nvSpPr>
        <p:spPr>
          <a:xfrm>
            <a:off x="3791782" y="3684177"/>
            <a:ext cx="448736" cy="597405"/>
          </a:xfrm>
          <a:custGeom>
            <a:avLst/>
            <a:gdLst>
              <a:gd name="connsiteX0" fmla="*/ 260501 w 461029"/>
              <a:gd name="connsiteY0" fmla="*/ 454704 h 613771"/>
              <a:gd name="connsiteX1" fmla="*/ 109053 w 461029"/>
              <a:gd name="connsiteY1" fmla="*/ 368979 h 613771"/>
              <a:gd name="connsiteX2" fmla="*/ 51903 w 461029"/>
              <a:gd name="connsiteY2" fmla="*/ 39414 h 613771"/>
              <a:gd name="connsiteX3" fmla="*/ 194778 w 461029"/>
              <a:gd name="connsiteY3" fmla="*/ 7981 h 613771"/>
              <a:gd name="connsiteX4" fmla="*/ 316698 w 461029"/>
              <a:gd name="connsiteY4" fmla="*/ 102279 h 613771"/>
              <a:gd name="connsiteX5" fmla="*/ 453858 w 461029"/>
              <a:gd name="connsiteY5" fmla="*/ 543286 h 613771"/>
              <a:gd name="connsiteX6" fmla="*/ 436713 w 461029"/>
              <a:gd name="connsiteY6" fmla="*/ 613771 h 613771"/>
              <a:gd name="connsiteX7" fmla="*/ 260501 w 461029"/>
              <a:gd name="connsiteY7" fmla="*/ 454704 h 6137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1029" h="613771">
                <a:moveTo>
                  <a:pt x="260501" y="454704"/>
                </a:moveTo>
                <a:cubicBezTo>
                  <a:pt x="211923" y="423271"/>
                  <a:pt x="155726" y="403269"/>
                  <a:pt x="109053" y="368979"/>
                </a:cubicBezTo>
                <a:cubicBezTo>
                  <a:pt x="41426" y="318496"/>
                  <a:pt x="-64302" y="163239"/>
                  <a:pt x="51903" y="39414"/>
                </a:cubicBezTo>
                <a:cubicBezTo>
                  <a:pt x="87146" y="1314"/>
                  <a:pt x="145248" y="-9164"/>
                  <a:pt x="194778" y="7981"/>
                </a:cubicBezTo>
                <a:cubicBezTo>
                  <a:pt x="244308" y="25126"/>
                  <a:pt x="283361" y="62274"/>
                  <a:pt x="316698" y="102279"/>
                </a:cubicBezTo>
                <a:cubicBezTo>
                  <a:pt x="418616" y="224199"/>
                  <a:pt x="483386" y="387076"/>
                  <a:pt x="453858" y="543286"/>
                </a:cubicBezTo>
                <a:cubicBezTo>
                  <a:pt x="450048" y="565194"/>
                  <a:pt x="446238" y="594721"/>
                  <a:pt x="436713" y="613771"/>
                </a:cubicBezTo>
                <a:cubicBezTo>
                  <a:pt x="395756" y="530904"/>
                  <a:pt x="293838" y="476611"/>
                  <a:pt x="260501" y="454704"/>
                </a:cubicBezTo>
                <a:close/>
              </a:path>
            </a:pathLst>
          </a:custGeom>
          <a:solidFill>
            <a:schemeClr val="accent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9" name="Freeform: Shape 10">
            <a:extLst>
              <a:ext uri="{FF2B5EF4-FFF2-40B4-BE49-F238E27FC236}">
                <a16:creationId xmlns:a16="http://schemas.microsoft.com/office/drawing/2014/main" id="{4797CFE2-CBD4-4D00-9E2D-7DFF5E8A1FEB}"/>
              </a:ext>
            </a:extLst>
          </p:cNvPr>
          <p:cNvSpPr/>
          <p:nvPr/>
        </p:nvSpPr>
        <p:spPr>
          <a:xfrm>
            <a:off x="5446827" y="3735251"/>
            <a:ext cx="431427" cy="868962"/>
          </a:xfrm>
          <a:custGeom>
            <a:avLst/>
            <a:gdLst>
              <a:gd name="connsiteX0" fmla="*/ 90784 w 443246"/>
              <a:gd name="connsiteY0" fmla="*/ 588920 h 892767"/>
              <a:gd name="connsiteX1" fmla="*/ 8869 w 443246"/>
              <a:gd name="connsiteY1" fmla="*/ 378418 h 892767"/>
              <a:gd name="connsiteX2" fmla="*/ 226992 w 443246"/>
              <a:gd name="connsiteY2" fmla="*/ 1228 h 892767"/>
              <a:gd name="connsiteX3" fmla="*/ 398442 w 443246"/>
              <a:gd name="connsiteY3" fmla="*/ 86953 h 892767"/>
              <a:gd name="connsiteX4" fmla="*/ 443209 w 443246"/>
              <a:gd name="connsiteY4" fmla="*/ 282215 h 892767"/>
              <a:gd name="connsiteX5" fmla="*/ 213657 w 443246"/>
              <a:gd name="connsiteY5" fmla="*/ 836570 h 892767"/>
              <a:gd name="connsiteX6" fmla="*/ 137457 w 443246"/>
              <a:gd name="connsiteY6" fmla="*/ 892768 h 892767"/>
              <a:gd name="connsiteX7" fmla="*/ 90784 w 443246"/>
              <a:gd name="connsiteY7" fmla="*/ 588920 h 89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3246" h="892767">
                <a:moveTo>
                  <a:pt x="90784" y="588920"/>
                </a:moveTo>
                <a:cubicBezTo>
                  <a:pt x="67924" y="517483"/>
                  <a:pt x="26967" y="450808"/>
                  <a:pt x="8869" y="378418"/>
                </a:cubicBezTo>
                <a:cubicBezTo>
                  <a:pt x="-17801" y="271738"/>
                  <a:pt x="5059" y="28850"/>
                  <a:pt x="226992" y="1228"/>
                </a:cubicBezTo>
                <a:cubicBezTo>
                  <a:pt x="294619" y="-7345"/>
                  <a:pt x="363199" y="29803"/>
                  <a:pt x="398442" y="86953"/>
                </a:cubicBezTo>
                <a:cubicBezTo>
                  <a:pt x="433684" y="144103"/>
                  <a:pt x="442257" y="214588"/>
                  <a:pt x="443209" y="282215"/>
                </a:cubicBezTo>
                <a:cubicBezTo>
                  <a:pt x="445114" y="488908"/>
                  <a:pt x="374629" y="705125"/>
                  <a:pt x="213657" y="836570"/>
                </a:cubicBezTo>
                <a:cubicBezTo>
                  <a:pt x="190797" y="854668"/>
                  <a:pt x="163174" y="882290"/>
                  <a:pt x="137457" y="892768"/>
                </a:cubicBezTo>
                <a:cubicBezTo>
                  <a:pt x="131742" y="745130"/>
                  <a:pt x="106977" y="637498"/>
                  <a:pt x="90784" y="588920"/>
                </a:cubicBezTo>
                <a:close/>
              </a:path>
            </a:pathLst>
          </a:custGeom>
          <a:solidFill>
            <a:schemeClr val="accent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0" name="Freeform: Shape 11">
            <a:extLst>
              <a:ext uri="{FF2B5EF4-FFF2-40B4-BE49-F238E27FC236}">
                <a16:creationId xmlns:a16="http://schemas.microsoft.com/office/drawing/2014/main" id="{4BCEC134-DB97-45D8-B6F8-E255BF49CAD7}"/>
              </a:ext>
            </a:extLst>
          </p:cNvPr>
          <p:cNvSpPr/>
          <p:nvPr/>
        </p:nvSpPr>
        <p:spPr>
          <a:xfrm>
            <a:off x="5020912" y="3481390"/>
            <a:ext cx="367326" cy="570271"/>
          </a:xfrm>
          <a:custGeom>
            <a:avLst/>
            <a:gdLst>
              <a:gd name="connsiteX0" fmla="*/ 86407 w 377389"/>
              <a:gd name="connsiteY0" fmla="*/ 339196 h 585893"/>
              <a:gd name="connsiteX1" fmla="*/ 58785 w 377389"/>
              <a:gd name="connsiteY1" fmla="*/ 30586 h 585893"/>
              <a:gd name="connsiteX2" fmla="*/ 194040 w 377389"/>
              <a:gd name="connsiteY2" fmla="*/ 10583 h 585893"/>
              <a:gd name="connsiteX3" fmla="*/ 299767 w 377389"/>
              <a:gd name="connsiteY3" fmla="*/ 105833 h 585893"/>
              <a:gd name="connsiteX4" fmla="*/ 372157 w 377389"/>
              <a:gd name="connsiteY4" fmla="*/ 585893 h 585893"/>
              <a:gd name="connsiteX5" fmla="*/ 86407 w 377389"/>
              <a:gd name="connsiteY5" fmla="*/ 339196 h 5858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7389" h="585893">
                <a:moveTo>
                  <a:pt x="86407" y="339196"/>
                </a:moveTo>
                <a:cubicBezTo>
                  <a:pt x="27352" y="287761"/>
                  <a:pt x="-59325" y="138218"/>
                  <a:pt x="58785" y="30586"/>
                </a:cubicBezTo>
                <a:cubicBezTo>
                  <a:pt x="94980" y="-1799"/>
                  <a:pt x="149272" y="-8467"/>
                  <a:pt x="194040" y="10583"/>
                </a:cubicBezTo>
                <a:cubicBezTo>
                  <a:pt x="238807" y="29633"/>
                  <a:pt x="272145" y="66781"/>
                  <a:pt x="299767" y="105833"/>
                </a:cubicBezTo>
                <a:cubicBezTo>
                  <a:pt x="385492" y="224896"/>
                  <a:pt x="382635" y="569701"/>
                  <a:pt x="372157" y="585893"/>
                </a:cubicBezTo>
                <a:cubicBezTo>
                  <a:pt x="308340" y="503026"/>
                  <a:pt x="127365" y="374438"/>
                  <a:pt x="86407" y="339196"/>
                </a:cubicBezTo>
                <a:close/>
              </a:path>
            </a:pathLst>
          </a:custGeom>
          <a:solidFill>
            <a:schemeClr val="accent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1" name="Freeform: Shape 12">
            <a:extLst>
              <a:ext uri="{FF2B5EF4-FFF2-40B4-BE49-F238E27FC236}">
                <a16:creationId xmlns:a16="http://schemas.microsoft.com/office/drawing/2014/main" id="{BA116CED-8C3E-40A3-91B2-A256547A5B76}"/>
              </a:ext>
            </a:extLst>
          </p:cNvPr>
          <p:cNvSpPr/>
          <p:nvPr/>
        </p:nvSpPr>
        <p:spPr>
          <a:xfrm>
            <a:off x="6373377" y="2302898"/>
            <a:ext cx="480843" cy="479181"/>
          </a:xfrm>
          <a:custGeom>
            <a:avLst/>
            <a:gdLst>
              <a:gd name="connsiteX0" fmla="*/ 147638 w 494016"/>
              <a:gd name="connsiteY0" fmla="*/ 145369 h 492308"/>
              <a:gd name="connsiteX1" fmla="*/ 433388 w 494016"/>
              <a:gd name="connsiteY1" fmla="*/ 25354 h 492308"/>
              <a:gd name="connsiteX2" fmla="*/ 493395 w 494016"/>
              <a:gd name="connsiteY2" fmla="*/ 148226 h 492308"/>
              <a:gd name="connsiteX3" fmla="*/ 435293 w 494016"/>
              <a:gd name="connsiteY3" fmla="*/ 277766 h 492308"/>
              <a:gd name="connsiteX4" fmla="*/ 0 w 494016"/>
              <a:gd name="connsiteY4" fmla="*/ 492079 h 492308"/>
              <a:gd name="connsiteX5" fmla="*/ 147638 w 494016"/>
              <a:gd name="connsiteY5" fmla="*/ 145369 h 4923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4016" h="492308">
                <a:moveTo>
                  <a:pt x="147638" y="145369"/>
                </a:moveTo>
                <a:cubicBezTo>
                  <a:pt x="178118" y="73931"/>
                  <a:pt x="295275" y="-54656"/>
                  <a:pt x="433388" y="25354"/>
                </a:cubicBezTo>
                <a:cubicBezTo>
                  <a:pt x="475297" y="50119"/>
                  <a:pt x="498158" y="99649"/>
                  <a:pt x="493395" y="148226"/>
                </a:cubicBezTo>
                <a:cubicBezTo>
                  <a:pt x="488633" y="196804"/>
                  <a:pt x="463868" y="239666"/>
                  <a:pt x="435293" y="277766"/>
                </a:cubicBezTo>
                <a:cubicBezTo>
                  <a:pt x="347663" y="395876"/>
                  <a:pt x="19050" y="497794"/>
                  <a:pt x="0" y="492079"/>
                </a:cubicBezTo>
                <a:cubicBezTo>
                  <a:pt x="60008" y="406354"/>
                  <a:pt x="126683" y="193946"/>
                  <a:pt x="147638" y="145369"/>
                </a:cubicBezTo>
                <a:close/>
              </a:path>
            </a:pathLst>
          </a:custGeom>
          <a:solidFill>
            <a:schemeClr val="accent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2" name="Freeform: Shape 13">
            <a:extLst>
              <a:ext uri="{FF2B5EF4-FFF2-40B4-BE49-F238E27FC236}">
                <a16:creationId xmlns:a16="http://schemas.microsoft.com/office/drawing/2014/main" id="{C52345D9-4B58-48EA-BD4F-772587986635}"/>
              </a:ext>
            </a:extLst>
          </p:cNvPr>
          <p:cNvSpPr/>
          <p:nvPr/>
        </p:nvSpPr>
        <p:spPr>
          <a:xfrm>
            <a:off x="5583705" y="1944514"/>
            <a:ext cx="306578" cy="618220"/>
          </a:xfrm>
          <a:custGeom>
            <a:avLst/>
            <a:gdLst>
              <a:gd name="connsiteX0" fmla="*/ 6354 w 314977"/>
              <a:gd name="connsiteY0" fmla="*/ 268444 h 635156"/>
              <a:gd name="connsiteX1" fmla="*/ 161611 w 314977"/>
              <a:gd name="connsiteY1" fmla="*/ 792 h 635156"/>
              <a:gd name="connsiteX2" fmla="*/ 283531 w 314977"/>
              <a:gd name="connsiteY2" fmla="*/ 61752 h 635156"/>
              <a:gd name="connsiteX3" fmla="*/ 314964 w 314977"/>
              <a:gd name="connsiteY3" fmla="*/ 200817 h 635156"/>
              <a:gd name="connsiteX4" fmla="*/ 97794 w 314977"/>
              <a:gd name="connsiteY4" fmla="*/ 635157 h 635156"/>
              <a:gd name="connsiteX5" fmla="*/ 6354 w 314977"/>
              <a:gd name="connsiteY5" fmla="*/ 268444 h 6351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4977" h="635156">
                <a:moveTo>
                  <a:pt x="6354" y="268444"/>
                </a:moveTo>
                <a:cubicBezTo>
                  <a:pt x="-12696" y="193197"/>
                  <a:pt x="3496" y="19842"/>
                  <a:pt x="161611" y="792"/>
                </a:cubicBezTo>
                <a:cubicBezTo>
                  <a:pt x="210189" y="-4923"/>
                  <a:pt x="258766" y="20794"/>
                  <a:pt x="283531" y="61752"/>
                </a:cubicBezTo>
                <a:cubicBezTo>
                  <a:pt x="309249" y="102709"/>
                  <a:pt x="314964" y="152239"/>
                  <a:pt x="314964" y="200817"/>
                </a:cubicBezTo>
                <a:cubicBezTo>
                  <a:pt x="316869" y="347502"/>
                  <a:pt x="115891" y="627537"/>
                  <a:pt x="97794" y="635157"/>
                </a:cubicBezTo>
                <a:cubicBezTo>
                  <a:pt x="93984" y="530382"/>
                  <a:pt x="18736" y="320832"/>
                  <a:pt x="6354" y="268444"/>
                </a:cubicBezTo>
                <a:close/>
              </a:path>
            </a:pathLst>
          </a:custGeom>
          <a:solidFill>
            <a:schemeClr val="accent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3" name="Freeform: Shape 14">
            <a:extLst>
              <a:ext uri="{FF2B5EF4-FFF2-40B4-BE49-F238E27FC236}">
                <a16:creationId xmlns:a16="http://schemas.microsoft.com/office/drawing/2014/main" id="{F0FF42E1-54DF-472B-945A-841B5FFAC960}"/>
              </a:ext>
            </a:extLst>
          </p:cNvPr>
          <p:cNvSpPr/>
          <p:nvPr/>
        </p:nvSpPr>
        <p:spPr>
          <a:xfrm>
            <a:off x="7355092" y="4426877"/>
            <a:ext cx="613036" cy="317186"/>
          </a:xfrm>
          <a:custGeom>
            <a:avLst/>
            <a:gdLst>
              <a:gd name="connsiteX0" fmla="*/ 312420 w 629830"/>
              <a:gd name="connsiteY0" fmla="*/ 43130 h 325875"/>
              <a:gd name="connsiteX1" fmla="*/ 617220 w 629830"/>
              <a:gd name="connsiteY1" fmla="*/ 95518 h 325875"/>
              <a:gd name="connsiteX2" fmla="*/ 601980 w 629830"/>
              <a:gd name="connsiteY2" fmla="*/ 231725 h 325875"/>
              <a:gd name="connsiteX3" fmla="*/ 482918 w 629830"/>
              <a:gd name="connsiteY3" fmla="*/ 309830 h 325875"/>
              <a:gd name="connsiteX4" fmla="*/ 0 w 629830"/>
              <a:gd name="connsiteY4" fmla="*/ 256490 h 325875"/>
              <a:gd name="connsiteX5" fmla="*/ 312420 w 629830"/>
              <a:gd name="connsiteY5" fmla="*/ 43130 h 325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9830" h="325875">
                <a:moveTo>
                  <a:pt x="312420" y="43130"/>
                </a:moveTo>
                <a:cubicBezTo>
                  <a:pt x="377190" y="-685"/>
                  <a:pt x="544830" y="-45452"/>
                  <a:pt x="617220" y="95518"/>
                </a:cubicBezTo>
                <a:cubicBezTo>
                  <a:pt x="639128" y="138380"/>
                  <a:pt x="631508" y="193625"/>
                  <a:pt x="601980" y="231725"/>
                </a:cubicBezTo>
                <a:cubicBezTo>
                  <a:pt x="572453" y="269825"/>
                  <a:pt x="527685" y="292685"/>
                  <a:pt x="482918" y="309830"/>
                </a:cubicBezTo>
                <a:cubicBezTo>
                  <a:pt x="345758" y="362218"/>
                  <a:pt x="13335" y="270778"/>
                  <a:pt x="0" y="256490"/>
                </a:cubicBezTo>
                <a:cubicBezTo>
                  <a:pt x="97155" y="215533"/>
                  <a:pt x="267653" y="72658"/>
                  <a:pt x="312420" y="43130"/>
                </a:cubicBezTo>
                <a:close/>
              </a:path>
            </a:pathLst>
          </a:custGeom>
          <a:solidFill>
            <a:schemeClr val="accent4"/>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4" name="Freeform: Shape 15">
            <a:extLst>
              <a:ext uri="{FF2B5EF4-FFF2-40B4-BE49-F238E27FC236}">
                <a16:creationId xmlns:a16="http://schemas.microsoft.com/office/drawing/2014/main" id="{E520DD3F-89BE-4547-921E-6C18AC6C5454}"/>
              </a:ext>
            </a:extLst>
          </p:cNvPr>
          <p:cNvSpPr/>
          <p:nvPr/>
        </p:nvSpPr>
        <p:spPr>
          <a:xfrm>
            <a:off x="6447459" y="4721922"/>
            <a:ext cx="663562" cy="454313"/>
          </a:xfrm>
          <a:custGeom>
            <a:avLst/>
            <a:gdLst>
              <a:gd name="connsiteX0" fmla="*/ 446722 w 681740"/>
              <a:gd name="connsiteY0" fmla="*/ 402942 h 466759"/>
              <a:gd name="connsiteX1" fmla="*/ 673418 w 681740"/>
              <a:gd name="connsiteY1" fmla="*/ 110525 h 466759"/>
              <a:gd name="connsiteX2" fmla="*/ 550545 w 681740"/>
              <a:gd name="connsiteY2" fmla="*/ 2892 h 466759"/>
              <a:gd name="connsiteX3" fmla="*/ 382905 w 681740"/>
              <a:gd name="connsiteY3" fmla="*/ 30515 h 466759"/>
              <a:gd name="connsiteX4" fmla="*/ 0 w 681740"/>
              <a:gd name="connsiteY4" fmla="*/ 466760 h 466759"/>
              <a:gd name="connsiteX5" fmla="*/ 446722 w 681740"/>
              <a:gd name="connsiteY5" fmla="*/ 402942 h 4667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1740" h="466759">
                <a:moveTo>
                  <a:pt x="446722" y="402942"/>
                </a:moveTo>
                <a:cubicBezTo>
                  <a:pt x="539115" y="389607"/>
                  <a:pt x="722947" y="294357"/>
                  <a:pt x="673418" y="110525"/>
                </a:cubicBezTo>
                <a:cubicBezTo>
                  <a:pt x="658178" y="54327"/>
                  <a:pt x="607695" y="12417"/>
                  <a:pt x="550545" y="2892"/>
                </a:cubicBezTo>
                <a:cubicBezTo>
                  <a:pt x="493395" y="-6633"/>
                  <a:pt x="436245" y="8607"/>
                  <a:pt x="382905" y="30515"/>
                </a:cubicBezTo>
                <a:cubicBezTo>
                  <a:pt x="220028" y="95285"/>
                  <a:pt x="0" y="442947"/>
                  <a:pt x="0" y="466760"/>
                </a:cubicBezTo>
                <a:cubicBezTo>
                  <a:pt x="118110" y="423897"/>
                  <a:pt x="382905" y="411515"/>
                  <a:pt x="446722" y="402942"/>
                </a:cubicBezTo>
                <a:close/>
              </a:path>
            </a:pathLst>
          </a:custGeom>
          <a:solidFill>
            <a:schemeClr val="accent4"/>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5" name="Freeform: Shape 16">
            <a:extLst>
              <a:ext uri="{FF2B5EF4-FFF2-40B4-BE49-F238E27FC236}">
                <a16:creationId xmlns:a16="http://schemas.microsoft.com/office/drawing/2014/main" id="{8BBCACFE-CD82-4DD0-8C19-E71104E77261}"/>
              </a:ext>
            </a:extLst>
          </p:cNvPr>
          <p:cNvSpPr/>
          <p:nvPr/>
        </p:nvSpPr>
        <p:spPr>
          <a:xfrm>
            <a:off x="6960235" y="3067883"/>
            <a:ext cx="663562" cy="454313"/>
          </a:xfrm>
          <a:custGeom>
            <a:avLst/>
            <a:gdLst>
              <a:gd name="connsiteX0" fmla="*/ 446722 w 681740"/>
              <a:gd name="connsiteY0" fmla="*/ 402942 h 466759"/>
              <a:gd name="connsiteX1" fmla="*/ 673417 w 681740"/>
              <a:gd name="connsiteY1" fmla="*/ 110525 h 466759"/>
              <a:gd name="connsiteX2" fmla="*/ 550545 w 681740"/>
              <a:gd name="connsiteY2" fmla="*/ 2892 h 466759"/>
              <a:gd name="connsiteX3" fmla="*/ 382905 w 681740"/>
              <a:gd name="connsiteY3" fmla="*/ 30515 h 466759"/>
              <a:gd name="connsiteX4" fmla="*/ 0 w 681740"/>
              <a:gd name="connsiteY4" fmla="*/ 466760 h 466759"/>
              <a:gd name="connsiteX5" fmla="*/ 446722 w 681740"/>
              <a:gd name="connsiteY5" fmla="*/ 402942 h 4667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1740" h="466759">
                <a:moveTo>
                  <a:pt x="446722" y="402942"/>
                </a:moveTo>
                <a:cubicBezTo>
                  <a:pt x="539115" y="389607"/>
                  <a:pt x="722947" y="294357"/>
                  <a:pt x="673417" y="110525"/>
                </a:cubicBezTo>
                <a:cubicBezTo>
                  <a:pt x="658178" y="54327"/>
                  <a:pt x="607695" y="12417"/>
                  <a:pt x="550545" y="2892"/>
                </a:cubicBezTo>
                <a:cubicBezTo>
                  <a:pt x="493395" y="-6633"/>
                  <a:pt x="436245" y="8607"/>
                  <a:pt x="382905" y="30515"/>
                </a:cubicBezTo>
                <a:cubicBezTo>
                  <a:pt x="220028" y="95285"/>
                  <a:pt x="0" y="442947"/>
                  <a:pt x="0" y="466760"/>
                </a:cubicBezTo>
                <a:cubicBezTo>
                  <a:pt x="118110" y="423897"/>
                  <a:pt x="382905" y="412467"/>
                  <a:pt x="446722" y="402942"/>
                </a:cubicBezTo>
                <a:close/>
              </a:path>
            </a:pathLst>
          </a:custGeom>
          <a:solidFill>
            <a:schemeClr val="accent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6" name="Freeform: Shape 17">
            <a:extLst>
              <a:ext uri="{FF2B5EF4-FFF2-40B4-BE49-F238E27FC236}">
                <a16:creationId xmlns:a16="http://schemas.microsoft.com/office/drawing/2014/main" id="{2616DB09-6646-4AB2-9537-A4A94A06DD06}"/>
              </a:ext>
            </a:extLst>
          </p:cNvPr>
          <p:cNvSpPr/>
          <p:nvPr/>
        </p:nvSpPr>
        <p:spPr>
          <a:xfrm>
            <a:off x="5779858" y="2327890"/>
            <a:ext cx="509047" cy="1476234"/>
          </a:xfrm>
          <a:custGeom>
            <a:avLst/>
            <a:gdLst>
              <a:gd name="connsiteX0" fmla="*/ 148680 w 522992"/>
              <a:gd name="connsiteY0" fmla="*/ 1176633 h 1516675"/>
              <a:gd name="connsiteX1" fmla="*/ 84862 w 522992"/>
              <a:gd name="connsiteY1" fmla="*/ 957558 h 1516675"/>
              <a:gd name="connsiteX2" fmla="*/ 6757 w 522992"/>
              <a:gd name="connsiteY2" fmla="*/ 308906 h 1516675"/>
              <a:gd name="connsiteX3" fmla="*/ 101055 w 522992"/>
              <a:gd name="connsiteY3" fmla="*/ 91736 h 1516675"/>
              <a:gd name="connsiteX4" fmla="*/ 447764 w 522992"/>
              <a:gd name="connsiteY4" fmla="*/ 69828 h 1516675"/>
              <a:gd name="connsiteX5" fmla="*/ 522060 w 522992"/>
              <a:gd name="connsiteY5" fmla="*/ 338433 h 1516675"/>
              <a:gd name="connsiteX6" fmla="*/ 458242 w 522992"/>
              <a:gd name="connsiteY6" fmla="*/ 615611 h 1516675"/>
              <a:gd name="connsiteX7" fmla="*/ 322035 w 522992"/>
              <a:gd name="connsiteY7" fmla="*/ 1516676 h 1516675"/>
              <a:gd name="connsiteX8" fmla="*/ 148680 w 522992"/>
              <a:gd name="connsiteY8" fmla="*/ 1176633 h 1516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22992" h="1516675">
                <a:moveTo>
                  <a:pt x="148680" y="1176633"/>
                </a:moveTo>
                <a:cubicBezTo>
                  <a:pt x="120105" y="1106148"/>
                  <a:pt x="102007" y="1031853"/>
                  <a:pt x="84862" y="957558"/>
                </a:cubicBezTo>
                <a:cubicBezTo>
                  <a:pt x="33427" y="745151"/>
                  <a:pt x="-18961" y="527028"/>
                  <a:pt x="6757" y="308906"/>
                </a:cubicBezTo>
                <a:cubicBezTo>
                  <a:pt x="16282" y="228896"/>
                  <a:pt x="42952" y="147933"/>
                  <a:pt x="101055" y="91736"/>
                </a:cubicBezTo>
                <a:cubicBezTo>
                  <a:pt x="175349" y="18393"/>
                  <a:pt x="363945" y="-60664"/>
                  <a:pt x="447764" y="69828"/>
                </a:cubicBezTo>
                <a:cubicBezTo>
                  <a:pt x="499199" y="149838"/>
                  <a:pt x="528727" y="243183"/>
                  <a:pt x="522060" y="338433"/>
                </a:cubicBezTo>
                <a:cubicBezTo>
                  <a:pt x="515392" y="433683"/>
                  <a:pt x="485864" y="525123"/>
                  <a:pt x="458242" y="615611"/>
                </a:cubicBezTo>
                <a:cubicBezTo>
                  <a:pt x="368707" y="915648"/>
                  <a:pt x="317272" y="1076621"/>
                  <a:pt x="322035" y="1516676"/>
                </a:cubicBezTo>
                <a:cubicBezTo>
                  <a:pt x="222022" y="1369038"/>
                  <a:pt x="175349" y="1241403"/>
                  <a:pt x="148680" y="1176633"/>
                </a:cubicBezTo>
                <a:close/>
              </a:path>
            </a:pathLst>
          </a:custGeom>
          <a:solidFill>
            <a:schemeClr val="accent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7" name="Freeform: Shape 18">
            <a:extLst>
              <a:ext uri="{FF2B5EF4-FFF2-40B4-BE49-F238E27FC236}">
                <a16:creationId xmlns:a16="http://schemas.microsoft.com/office/drawing/2014/main" id="{2DE3B83E-0473-4113-863A-0477E7466D69}"/>
              </a:ext>
            </a:extLst>
          </p:cNvPr>
          <p:cNvSpPr/>
          <p:nvPr/>
        </p:nvSpPr>
        <p:spPr>
          <a:xfrm>
            <a:off x="4509239" y="2464657"/>
            <a:ext cx="1100131" cy="925052"/>
          </a:xfrm>
          <a:custGeom>
            <a:avLst/>
            <a:gdLst>
              <a:gd name="connsiteX0" fmla="*/ 1007384 w 1130269"/>
              <a:gd name="connsiteY0" fmla="*/ 470335 h 950394"/>
              <a:gd name="connsiteX1" fmla="*/ 366352 w 1130269"/>
              <a:gd name="connsiteY1" fmla="*/ 7420 h 950394"/>
              <a:gd name="connsiteX2" fmla="*/ 212047 w 1130269"/>
              <a:gd name="connsiteY2" fmla="*/ 542725 h 950394"/>
              <a:gd name="connsiteX3" fmla="*/ 651149 w 1130269"/>
              <a:gd name="connsiteY3" fmla="*/ 663692 h 950394"/>
              <a:gd name="connsiteX4" fmla="*/ 1126447 w 1130269"/>
              <a:gd name="connsiteY4" fmla="*/ 950395 h 950394"/>
              <a:gd name="connsiteX5" fmla="*/ 1007384 w 1130269"/>
              <a:gd name="connsiteY5" fmla="*/ 470335 h 9503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0269" h="950394">
                <a:moveTo>
                  <a:pt x="1007384" y="470335"/>
                </a:moveTo>
                <a:cubicBezTo>
                  <a:pt x="795929" y="122672"/>
                  <a:pt x="469222" y="27422"/>
                  <a:pt x="366352" y="7420"/>
                </a:cubicBezTo>
                <a:cubicBezTo>
                  <a:pt x="17737" y="-58303"/>
                  <a:pt x="-171811" y="328412"/>
                  <a:pt x="212047" y="542725"/>
                </a:cubicBezTo>
                <a:cubicBezTo>
                  <a:pt x="345397" y="617020"/>
                  <a:pt x="503512" y="626545"/>
                  <a:pt x="651149" y="663692"/>
                </a:cubicBezTo>
                <a:cubicBezTo>
                  <a:pt x="849269" y="713222"/>
                  <a:pt x="999764" y="794185"/>
                  <a:pt x="1126447" y="950395"/>
                </a:cubicBezTo>
                <a:cubicBezTo>
                  <a:pt x="1149307" y="873242"/>
                  <a:pt x="1064535" y="564632"/>
                  <a:pt x="1007384" y="470335"/>
                </a:cubicBezTo>
                <a:close/>
              </a:path>
            </a:pathLst>
          </a:custGeom>
          <a:solidFill>
            <a:schemeClr val="accent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8" name="Freeform: Shape 19">
            <a:extLst>
              <a:ext uri="{FF2B5EF4-FFF2-40B4-BE49-F238E27FC236}">
                <a16:creationId xmlns:a16="http://schemas.microsoft.com/office/drawing/2014/main" id="{9C899751-AA47-4EF9-B80A-799BC12DF416}"/>
              </a:ext>
            </a:extLst>
          </p:cNvPr>
          <p:cNvSpPr/>
          <p:nvPr/>
        </p:nvSpPr>
        <p:spPr>
          <a:xfrm>
            <a:off x="4520468" y="1718168"/>
            <a:ext cx="1065870" cy="1035086"/>
          </a:xfrm>
          <a:custGeom>
            <a:avLst/>
            <a:gdLst>
              <a:gd name="connsiteX0" fmla="*/ 633460 w 685129"/>
              <a:gd name="connsiteY0" fmla="*/ 350064 h 665341"/>
              <a:gd name="connsiteX1" fmla="*/ 251508 w 685129"/>
              <a:gd name="connsiteY1" fmla="*/ 10974 h 665341"/>
              <a:gd name="connsiteX2" fmla="*/ 118158 w 685129"/>
              <a:gd name="connsiteY2" fmla="*/ 345301 h 665341"/>
              <a:gd name="connsiteX3" fmla="*/ 392478 w 685129"/>
              <a:gd name="connsiteY3" fmla="*/ 451029 h 665341"/>
              <a:gd name="connsiteX4" fmla="*/ 679180 w 685129"/>
              <a:gd name="connsiteY4" fmla="*/ 665341 h 665341"/>
              <a:gd name="connsiteX5" fmla="*/ 633460 w 685129"/>
              <a:gd name="connsiteY5" fmla="*/ 350064 h 665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5129" h="665341">
                <a:moveTo>
                  <a:pt x="633460" y="350064"/>
                </a:moveTo>
                <a:cubicBezTo>
                  <a:pt x="520113" y="112891"/>
                  <a:pt x="316278" y="30024"/>
                  <a:pt x="251508" y="10974"/>
                </a:cubicBezTo>
                <a:cubicBezTo>
                  <a:pt x="31480" y="-53796"/>
                  <a:pt x="-114252" y="182424"/>
                  <a:pt x="118158" y="345301"/>
                </a:cubicBezTo>
                <a:cubicBezTo>
                  <a:pt x="199120" y="401499"/>
                  <a:pt x="300085" y="417691"/>
                  <a:pt x="392478" y="451029"/>
                </a:cubicBezTo>
                <a:cubicBezTo>
                  <a:pt x="516303" y="495796"/>
                  <a:pt x="607743" y="557709"/>
                  <a:pt x="679180" y="665341"/>
                </a:cubicBezTo>
                <a:cubicBezTo>
                  <a:pt x="699183" y="617716"/>
                  <a:pt x="664893" y="413881"/>
                  <a:pt x="633460" y="350064"/>
                </a:cubicBezTo>
                <a:close/>
              </a:path>
            </a:pathLst>
          </a:custGeom>
          <a:solidFill>
            <a:schemeClr val="accent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9" name="Freeform: Shape 20">
            <a:extLst>
              <a:ext uri="{FF2B5EF4-FFF2-40B4-BE49-F238E27FC236}">
                <a16:creationId xmlns:a16="http://schemas.microsoft.com/office/drawing/2014/main" id="{D5305EC9-FE01-4987-A938-8B4A48A9D222}"/>
              </a:ext>
            </a:extLst>
          </p:cNvPr>
          <p:cNvSpPr/>
          <p:nvPr/>
        </p:nvSpPr>
        <p:spPr>
          <a:xfrm>
            <a:off x="5827895" y="4376588"/>
            <a:ext cx="392023" cy="941495"/>
          </a:xfrm>
          <a:custGeom>
            <a:avLst/>
            <a:gdLst>
              <a:gd name="connsiteX0" fmla="*/ 6934 w 402762"/>
              <a:gd name="connsiteY0" fmla="*/ 275772 h 967287"/>
              <a:gd name="connsiteX1" fmla="*/ 94564 w 402762"/>
              <a:gd name="connsiteY1" fmla="*/ 67175 h 967287"/>
              <a:gd name="connsiteX2" fmla="*/ 301257 w 402762"/>
              <a:gd name="connsiteY2" fmla="*/ 13835 h 967287"/>
              <a:gd name="connsiteX3" fmla="*/ 389839 w 402762"/>
              <a:gd name="connsiteY3" fmla="*/ 129087 h 967287"/>
              <a:gd name="connsiteX4" fmla="*/ 401269 w 402762"/>
              <a:gd name="connsiteY4" fmla="*/ 277677 h 967287"/>
              <a:gd name="connsiteX5" fmla="*/ 306972 w 402762"/>
              <a:gd name="connsiteY5" fmla="*/ 792980 h 967287"/>
              <a:gd name="connsiteX6" fmla="*/ 254584 w 402762"/>
              <a:gd name="connsiteY6" fmla="*/ 967287 h 967287"/>
              <a:gd name="connsiteX7" fmla="*/ 6934 w 402762"/>
              <a:gd name="connsiteY7" fmla="*/ 275772 h 967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2762" h="967287">
                <a:moveTo>
                  <a:pt x="6934" y="275772"/>
                </a:moveTo>
                <a:cubicBezTo>
                  <a:pt x="22174" y="200525"/>
                  <a:pt x="43129" y="124325"/>
                  <a:pt x="94564" y="67175"/>
                </a:cubicBezTo>
                <a:cubicBezTo>
                  <a:pt x="145999" y="10977"/>
                  <a:pt x="232677" y="-19503"/>
                  <a:pt x="301257" y="13835"/>
                </a:cubicBezTo>
                <a:cubicBezTo>
                  <a:pt x="346024" y="35743"/>
                  <a:pt x="375552" y="80510"/>
                  <a:pt x="389839" y="129087"/>
                </a:cubicBezTo>
                <a:cubicBezTo>
                  <a:pt x="404127" y="176712"/>
                  <a:pt x="404127" y="227195"/>
                  <a:pt x="401269" y="277677"/>
                </a:cubicBezTo>
                <a:cubicBezTo>
                  <a:pt x="393649" y="452937"/>
                  <a:pt x="362217" y="626293"/>
                  <a:pt x="306972" y="792980"/>
                </a:cubicBezTo>
                <a:cubicBezTo>
                  <a:pt x="285064" y="859655"/>
                  <a:pt x="254584" y="967287"/>
                  <a:pt x="254584" y="967287"/>
                </a:cubicBezTo>
                <a:cubicBezTo>
                  <a:pt x="254584" y="967287"/>
                  <a:pt x="-49263" y="548187"/>
                  <a:pt x="6934" y="275772"/>
                </a:cubicBezTo>
                <a:close/>
              </a:path>
            </a:pathLst>
          </a:custGeom>
          <a:solidFill>
            <a:schemeClr val="accent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0" name="Freeform: Shape 21">
            <a:extLst>
              <a:ext uri="{FF2B5EF4-FFF2-40B4-BE49-F238E27FC236}">
                <a16:creationId xmlns:a16="http://schemas.microsoft.com/office/drawing/2014/main" id="{A083EF6C-4941-4616-9865-DA555852571B}"/>
              </a:ext>
            </a:extLst>
          </p:cNvPr>
          <p:cNvSpPr/>
          <p:nvPr/>
        </p:nvSpPr>
        <p:spPr>
          <a:xfrm>
            <a:off x="4838688" y="5226842"/>
            <a:ext cx="1115553" cy="665116"/>
          </a:xfrm>
          <a:custGeom>
            <a:avLst/>
            <a:gdLst>
              <a:gd name="connsiteX0" fmla="*/ 308866 w 1146113"/>
              <a:gd name="connsiteY0" fmla="*/ 4205 h 683337"/>
              <a:gd name="connsiteX1" fmla="*/ 85028 w 1146113"/>
              <a:gd name="connsiteY1" fmla="*/ 39447 h 683337"/>
              <a:gd name="connsiteX2" fmla="*/ 186946 w 1146113"/>
              <a:gd name="connsiteY2" fmla="*/ 475692 h 683337"/>
              <a:gd name="connsiteX3" fmla="*/ 764161 w 1146113"/>
              <a:gd name="connsiteY3" fmla="*/ 601423 h 683337"/>
              <a:gd name="connsiteX4" fmla="*/ 1146114 w 1146113"/>
              <a:gd name="connsiteY4" fmla="*/ 683337 h 683337"/>
              <a:gd name="connsiteX5" fmla="*/ 308866 w 1146113"/>
              <a:gd name="connsiteY5" fmla="*/ 4205 h 683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6113" h="683337">
                <a:moveTo>
                  <a:pt x="308866" y="4205"/>
                </a:moveTo>
                <a:cubicBezTo>
                  <a:pt x="189803" y="-11035"/>
                  <a:pt x="112651" y="18492"/>
                  <a:pt x="85028" y="39447"/>
                </a:cubicBezTo>
                <a:cubicBezTo>
                  <a:pt x="-134999" y="204230"/>
                  <a:pt x="135511" y="444260"/>
                  <a:pt x="186946" y="475692"/>
                </a:cubicBezTo>
                <a:cubicBezTo>
                  <a:pt x="358396" y="581420"/>
                  <a:pt x="566993" y="579515"/>
                  <a:pt x="764161" y="601423"/>
                </a:cubicBezTo>
                <a:cubicBezTo>
                  <a:pt x="1028004" y="630950"/>
                  <a:pt x="1146114" y="683337"/>
                  <a:pt x="1146114" y="683337"/>
                </a:cubicBezTo>
                <a:cubicBezTo>
                  <a:pt x="1146114" y="683337"/>
                  <a:pt x="1115634" y="109932"/>
                  <a:pt x="308866" y="4205"/>
                </a:cubicBezTo>
                <a:close/>
              </a:path>
            </a:pathLst>
          </a:custGeom>
          <a:solidFill>
            <a:schemeClr val="accent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1" name="Freeform: Shape 22">
            <a:extLst>
              <a:ext uri="{FF2B5EF4-FFF2-40B4-BE49-F238E27FC236}">
                <a16:creationId xmlns:a16="http://schemas.microsoft.com/office/drawing/2014/main" id="{9FF29437-E62E-42CE-A76C-B53308327D1D}"/>
              </a:ext>
            </a:extLst>
          </p:cNvPr>
          <p:cNvSpPr/>
          <p:nvPr/>
        </p:nvSpPr>
        <p:spPr>
          <a:xfrm>
            <a:off x="3518639" y="4137617"/>
            <a:ext cx="1345328" cy="938795"/>
          </a:xfrm>
          <a:custGeom>
            <a:avLst/>
            <a:gdLst>
              <a:gd name="connsiteX0" fmla="*/ 647806 w 1382183"/>
              <a:gd name="connsiteY0" fmla="*/ 231729 h 964513"/>
              <a:gd name="connsiteX1" fmla="*/ 401109 w 1382183"/>
              <a:gd name="connsiteY1" fmla="*/ 16464 h 964513"/>
              <a:gd name="connsiteX2" fmla="*/ 303001 w 1382183"/>
              <a:gd name="connsiteY2" fmla="*/ 757509 h 964513"/>
              <a:gd name="connsiteX3" fmla="*/ 1149774 w 1382183"/>
              <a:gd name="connsiteY3" fmla="*/ 961344 h 964513"/>
              <a:gd name="connsiteX4" fmla="*/ 1382184 w 1382183"/>
              <a:gd name="connsiteY4" fmla="*/ 921339 h 964513"/>
              <a:gd name="connsiteX5" fmla="*/ 647806 w 1382183"/>
              <a:gd name="connsiteY5" fmla="*/ 231729 h 9645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82183" h="964513">
                <a:moveTo>
                  <a:pt x="647806" y="231729"/>
                </a:moveTo>
                <a:cubicBezTo>
                  <a:pt x="597324" y="131716"/>
                  <a:pt x="504931" y="56469"/>
                  <a:pt x="401109" y="16464"/>
                </a:cubicBezTo>
                <a:cubicBezTo>
                  <a:pt x="110596" y="-95931"/>
                  <a:pt x="-282787" y="390797"/>
                  <a:pt x="303001" y="757509"/>
                </a:cubicBezTo>
                <a:cubicBezTo>
                  <a:pt x="553509" y="913719"/>
                  <a:pt x="856404" y="980394"/>
                  <a:pt x="1149774" y="961344"/>
                </a:cubicBezTo>
                <a:cubicBezTo>
                  <a:pt x="1212639" y="957534"/>
                  <a:pt x="1299316" y="947057"/>
                  <a:pt x="1382184" y="921339"/>
                </a:cubicBezTo>
                <a:cubicBezTo>
                  <a:pt x="1205971" y="878476"/>
                  <a:pt x="804016" y="536529"/>
                  <a:pt x="647806" y="231729"/>
                </a:cubicBezTo>
                <a:close/>
              </a:path>
            </a:pathLst>
          </a:custGeom>
          <a:solidFill>
            <a:schemeClr val="accent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nvGrpSpPr>
          <p:cNvPr id="22" name="Group 23">
            <a:extLst>
              <a:ext uri="{FF2B5EF4-FFF2-40B4-BE49-F238E27FC236}">
                <a16:creationId xmlns:a16="http://schemas.microsoft.com/office/drawing/2014/main" id="{AE48E758-D5DB-4078-A5E2-A9CFAB74A378}"/>
              </a:ext>
            </a:extLst>
          </p:cNvPr>
          <p:cNvGrpSpPr/>
          <p:nvPr/>
        </p:nvGrpSpPr>
        <p:grpSpPr>
          <a:xfrm flipH="1">
            <a:off x="7465616" y="2107069"/>
            <a:ext cx="749579" cy="237758"/>
            <a:chOff x="3398226" y="2100505"/>
            <a:chExt cx="749579" cy="237758"/>
          </a:xfrm>
        </p:grpSpPr>
        <p:cxnSp>
          <p:nvCxnSpPr>
            <p:cNvPr id="23" name="Straight Connector 25">
              <a:extLst>
                <a:ext uri="{FF2B5EF4-FFF2-40B4-BE49-F238E27FC236}">
                  <a16:creationId xmlns:a16="http://schemas.microsoft.com/office/drawing/2014/main" id="{682AB0B0-4D80-44F0-9785-0226F8E151A1}"/>
                </a:ext>
              </a:extLst>
            </p:cNvPr>
            <p:cNvCxnSpPr>
              <a:cxnSpLocks/>
            </p:cNvCxnSpPr>
            <p:nvPr/>
          </p:nvCxnSpPr>
          <p:spPr>
            <a:xfrm flipH="1" flipV="1">
              <a:off x="3910047" y="2100505"/>
              <a:ext cx="237758" cy="237758"/>
            </a:xfrm>
            <a:prstGeom prst="line">
              <a:avLst/>
            </a:prstGeom>
            <a:ln w="28575">
              <a:solidFill>
                <a:schemeClr val="accent3"/>
              </a:solidFill>
              <a:headEnd type="oval"/>
            </a:ln>
          </p:spPr>
          <p:style>
            <a:lnRef idx="1">
              <a:schemeClr val="accent1"/>
            </a:lnRef>
            <a:fillRef idx="0">
              <a:schemeClr val="accent1"/>
            </a:fillRef>
            <a:effectRef idx="0">
              <a:schemeClr val="accent1"/>
            </a:effectRef>
            <a:fontRef idx="minor">
              <a:schemeClr val="tx1"/>
            </a:fontRef>
          </p:style>
        </p:cxnSp>
        <p:cxnSp>
          <p:nvCxnSpPr>
            <p:cNvPr id="24" name="Straight Connector 26">
              <a:extLst>
                <a:ext uri="{FF2B5EF4-FFF2-40B4-BE49-F238E27FC236}">
                  <a16:creationId xmlns:a16="http://schemas.microsoft.com/office/drawing/2014/main" id="{599A8305-32B1-49CB-9816-BADA55F2A3BE}"/>
                </a:ext>
              </a:extLst>
            </p:cNvPr>
            <p:cNvCxnSpPr>
              <a:cxnSpLocks/>
            </p:cNvCxnSpPr>
            <p:nvPr/>
          </p:nvCxnSpPr>
          <p:spPr>
            <a:xfrm flipH="1">
              <a:off x="3398226" y="2105266"/>
              <a:ext cx="519885" cy="0"/>
            </a:xfrm>
            <a:prstGeom prst="line">
              <a:avLst/>
            </a:prstGeom>
            <a:ln w="28575">
              <a:solidFill>
                <a:schemeClr val="accent3"/>
              </a:solidFill>
              <a:tailEnd type="oval"/>
            </a:ln>
          </p:spPr>
          <p:style>
            <a:lnRef idx="1">
              <a:schemeClr val="accent1"/>
            </a:lnRef>
            <a:fillRef idx="0">
              <a:schemeClr val="accent1"/>
            </a:fillRef>
            <a:effectRef idx="0">
              <a:schemeClr val="accent1"/>
            </a:effectRef>
            <a:fontRef idx="minor">
              <a:schemeClr val="tx1"/>
            </a:fontRef>
          </p:style>
        </p:cxnSp>
      </p:grpSp>
      <p:grpSp>
        <p:nvGrpSpPr>
          <p:cNvPr id="25" name="Group 27">
            <a:extLst>
              <a:ext uri="{FF2B5EF4-FFF2-40B4-BE49-F238E27FC236}">
                <a16:creationId xmlns:a16="http://schemas.microsoft.com/office/drawing/2014/main" id="{CAB9EF2A-3025-4780-8DC9-94E07CB20F5E}"/>
              </a:ext>
            </a:extLst>
          </p:cNvPr>
          <p:cNvGrpSpPr/>
          <p:nvPr/>
        </p:nvGrpSpPr>
        <p:grpSpPr>
          <a:xfrm flipV="1">
            <a:off x="2956043" y="4613847"/>
            <a:ext cx="643935" cy="250903"/>
            <a:chOff x="3517015" y="2100504"/>
            <a:chExt cx="643935" cy="250903"/>
          </a:xfrm>
        </p:grpSpPr>
        <p:cxnSp>
          <p:nvCxnSpPr>
            <p:cNvPr id="26" name="Straight Connector 28">
              <a:extLst>
                <a:ext uri="{FF2B5EF4-FFF2-40B4-BE49-F238E27FC236}">
                  <a16:creationId xmlns:a16="http://schemas.microsoft.com/office/drawing/2014/main" id="{12E67B93-DC83-480C-B70F-A3BDB6392C0E}"/>
                </a:ext>
              </a:extLst>
            </p:cNvPr>
            <p:cNvCxnSpPr>
              <a:cxnSpLocks/>
            </p:cNvCxnSpPr>
            <p:nvPr/>
          </p:nvCxnSpPr>
          <p:spPr>
            <a:xfrm flipH="1" flipV="1">
              <a:off x="3910049" y="2100504"/>
              <a:ext cx="250901" cy="250903"/>
            </a:xfrm>
            <a:prstGeom prst="line">
              <a:avLst/>
            </a:prstGeom>
            <a:ln w="28575">
              <a:solidFill>
                <a:schemeClr val="accent1"/>
              </a:solidFill>
              <a:headEnd type="oval"/>
            </a:ln>
          </p:spPr>
          <p:style>
            <a:lnRef idx="1">
              <a:schemeClr val="accent1"/>
            </a:lnRef>
            <a:fillRef idx="0">
              <a:schemeClr val="accent1"/>
            </a:fillRef>
            <a:effectRef idx="0">
              <a:schemeClr val="accent1"/>
            </a:effectRef>
            <a:fontRef idx="minor">
              <a:schemeClr val="tx1"/>
            </a:fontRef>
          </p:style>
        </p:cxnSp>
        <p:cxnSp>
          <p:nvCxnSpPr>
            <p:cNvPr id="27" name="Straight Connector 29">
              <a:extLst>
                <a:ext uri="{FF2B5EF4-FFF2-40B4-BE49-F238E27FC236}">
                  <a16:creationId xmlns:a16="http://schemas.microsoft.com/office/drawing/2014/main" id="{D315FD0F-7FCF-4F01-8214-3866AE664247}"/>
                </a:ext>
              </a:extLst>
            </p:cNvPr>
            <p:cNvCxnSpPr>
              <a:cxnSpLocks/>
            </p:cNvCxnSpPr>
            <p:nvPr/>
          </p:nvCxnSpPr>
          <p:spPr>
            <a:xfrm flipH="1" flipV="1">
              <a:off x="3517015" y="2102885"/>
              <a:ext cx="403478" cy="0"/>
            </a:xfrm>
            <a:prstGeom prst="line">
              <a:avLst/>
            </a:prstGeom>
            <a:ln w="28575">
              <a:solidFill>
                <a:schemeClr val="accent1"/>
              </a:solidFill>
              <a:tailEnd type="oval"/>
            </a:ln>
          </p:spPr>
          <p:style>
            <a:lnRef idx="1">
              <a:schemeClr val="accent1"/>
            </a:lnRef>
            <a:fillRef idx="0">
              <a:schemeClr val="accent1"/>
            </a:fillRef>
            <a:effectRef idx="0">
              <a:schemeClr val="accent1"/>
            </a:effectRef>
            <a:fontRef idx="minor">
              <a:schemeClr val="tx1"/>
            </a:fontRef>
          </p:style>
        </p:cxnSp>
      </p:grpSp>
      <p:grpSp>
        <p:nvGrpSpPr>
          <p:cNvPr id="28" name="Group 30">
            <a:extLst>
              <a:ext uri="{FF2B5EF4-FFF2-40B4-BE49-F238E27FC236}">
                <a16:creationId xmlns:a16="http://schemas.microsoft.com/office/drawing/2014/main" id="{801B0ED4-596B-4679-A1A9-D31E42B7A44C}"/>
              </a:ext>
            </a:extLst>
          </p:cNvPr>
          <p:cNvGrpSpPr/>
          <p:nvPr/>
        </p:nvGrpSpPr>
        <p:grpSpPr>
          <a:xfrm>
            <a:off x="3791782" y="2345889"/>
            <a:ext cx="909420" cy="375356"/>
            <a:chOff x="3375983" y="2100505"/>
            <a:chExt cx="909420" cy="375356"/>
          </a:xfrm>
        </p:grpSpPr>
        <p:cxnSp>
          <p:nvCxnSpPr>
            <p:cNvPr id="29" name="Straight Connector 31">
              <a:extLst>
                <a:ext uri="{FF2B5EF4-FFF2-40B4-BE49-F238E27FC236}">
                  <a16:creationId xmlns:a16="http://schemas.microsoft.com/office/drawing/2014/main" id="{395AF267-06EF-485D-BA4E-CE0E2178951B}"/>
                </a:ext>
              </a:extLst>
            </p:cNvPr>
            <p:cNvCxnSpPr>
              <a:cxnSpLocks/>
            </p:cNvCxnSpPr>
            <p:nvPr/>
          </p:nvCxnSpPr>
          <p:spPr>
            <a:xfrm flipH="1" flipV="1">
              <a:off x="3910047" y="2100505"/>
              <a:ext cx="375356" cy="375356"/>
            </a:xfrm>
            <a:prstGeom prst="line">
              <a:avLst/>
            </a:prstGeom>
            <a:ln w="28575">
              <a:solidFill>
                <a:schemeClr val="accent2"/>
              </a:solidFill>
              <a:headEnd type="oval"/>
            </a:ln>
          </p:spPr>
          <p:style>
            <a:lnRef idx="1">
              <a:schemeClr val="accent1"/>
            </a:lnRef>
            <a:fillRef idx="0">
              <a:schemeClr val="accent1"/>
            </a:fillRef>
            <a:effectRef idx="0">
              <a:schemeClr val="accent1"/>
            </a:effectRef>
            <a:fontRef idx="minor">
              <a:schemeClr val="tx1"/>
            </a:fontRef>
          </p:style>
        </p:cxnSp>
        <p:cxnSp>
          <p:nvCxnSpPr>
            <p:cNvPr id="30" name="Straight Connector 32">
              <a:extLst>
                <a:ext uri="{FF2B5EF4-FFF2-40B4-BE49-F238E27FC236}">
                  <a16:creationId xmlns:a16="http://schemas.microsoft.com/office/drawing/2014/main" id="{51D3BC74-9938-4198-A2AC-B8C34E4F63A1}"/>
                </a:ext>
              </a:extLst>
            </p:cNvPr>
            <p:cNvCxnSpPr>
              <a:cxnSpLocks/>
            </p:cNvCxnSpPr>
            <p:nvPr/>
          </p:nvCxnSpPr>
          <p:spPr>
            <a:xfrm flipH="1">
              <a:off x="3375983" y="2105266"/>
              <a:ext cx="542130" cy="0"/>
            </a:xfrm>
            <a:prstGeom prst="line">
              <a:avLst/>
            </a:prstGeom>
            <a:ln w="28575">
              <a:solidFill>
                <a:schemeClr val="accent2"/>
              </a:solidFill>
              <a:tailEnd type="oval"/>
            </a:ln>
          </p:spPr>
          <p:style>
            <a:lnRef idx="1">
              <a:schemeClr val="accent1"/>
            </a:lnRef>
            <a:fillRef idx="0">
              <a:schemeClr val="accent1"/>
            </a:fillRef>
            <a:effectRef idx="0">
              <a:schemeClr val="accent1"/>
            </a:effectRef>
            <a:fontRef idx="minor">
              <a:schemeClr val="tx1"/>
            </a:fontRef>
          </p:style>
        </p:cxnSp>
      </p:grpSp>
      <p:grpSp>
        <p:nvGrpSpPr>
          <p:cNvPr id="31" name="Group 33">
            <a:extLst>
              <a:ext uri="{FF2B5EF4-FFF2-40B4-BE49-F238E27FC236}">
                <a16:creationId xmlns:a16="http://schemas.microsoft.com/office/drawing/2014/main" id="{9D197E68-5A4D-4B70-A8C7-852D53996873}"/>
              </a:ext>
            </a:extLst>
          </p:cNvPr>
          <p:cNvGrpSpPr/>
          <p:nvPr/>
        </p:nvGrpSpPr>
        <p:grpSpPr>
          <a:xfrm flipH="1" flipV="1">
            <a:off x="8019309" y="3788791"/>
            <a:ext cx="766929" cy="239290"/>
            <a:chOff x="3382408" y="2100504"/>
            <a:chExt cx="766929" cy="239290"/>
          </a:xfrm>
        </p:grpSpPr>
        <p:cxnSp>
          <p:nvCxnSpPr>
            <p:cNvPr id="32" name="Straight Connector 34">
              <a:extLst>
                <a:ext uri="{FF2B5EF4-FFF2-40B4-BE49-F238E27FC236}">
                  <a16:creationId xmlns:a16="http://schemas.microsoft.com/office/drawing/2014/main" id="{7EFCDA0A-A8FD-40AC-838F-B19F8664818A}"/>
                </a:ext>
              </a:extLst>
            </p:cNvPr>
            <p:cNvCxnSpPr>
              <a:cxnSpLocks/>
            </p:cNvCxnSpPr>
            <p:nvPr/>
          </p:nvCxnSpPr>
          <p:spPr>
            <a:xfrm flipH="1" flipV="1">
              <a:off x="3910048" y="2100504"/>
              <a:ext cx="239289" cy="239290"/>
            </a:xfrm>
            <a:prstGeom prst="line">
              <a:avLst/>
            </a:prstGeom>
            <a:ln w="28575">
              <a:solidFill>
                <a:schemeClr val="accent4"/>
              </a:solidFill>
              <a:headEnd type="oval"/>
            </a:ln>
          </p:spPr>
          <p:style>
            <a:lnRef idx="1">
              <a:schemeClr val="accent1"/>
            </a:lnRef>
            <a:fillRef idx="0">
              <a:schemeClr val="accent1"/>
            </a:fillRef>
            <a:effectRef idx="0">
              <a:schemeClr val="accent1"/>
            </a:effectRef>
            <a:fontRef idx="minor">
              <a:schemeClr val="tx1"/>
            </a:fontRef>
          </p:style>
        </p:cxnSp>
        <p:cxnSp>
          <p:nvCxnSpPr>
            <p:cNvPr id="33" name="Straight Connector 35">
              <a:extLst>
                <a:ext uri="{FF2B5EF4-FFF2-40B4-BE49-F238E27FC236}">
                  <a16:creationId xmlns:a16="http://schemas.microsoft.com/office/drawing/2014/main" id="{4D1DBC9A-8620-4A9C-97DD-483B10ADD94B}"/>
                </a:ext>
              </a:extLst>
            </p:cNvPr>
            <p:cNvCxnSpPr>
              <a:cxnSpLocks/>
            </p:cNvCxnSpPr>
            <p:nvPr/>
          </p:nvCxnSpPr>
          <p:spPr>
            <a:xfrm flipH="1" flipV="1">
              <a:off x="3382408" y="2105266"/>
              <a:ext cx="535703" cy="0"/>
            </a:xfrm>
            <a:prstGeom prst="line">
              <a:avLst/>
            </a:prstGeom>
            <a:ln w="28575">
              <a:solidFill>
                <a:schemeClr val="accent4"/>
              </a:solidFill>
              <a:tailEnd type="oval"/>
            </a:ln>
          </p:spPr>
          <p:style>
            <a:lnRef idx="1">
              <a:schemeClr val="accent1"/>
            </a:lnRef>
            <a:fillRef idx="0">
              <a:schemeClr val="accent1"/>
            </a:fillRef>
            <a:effectRef idx="0">
              <a:schemeClr val="accent1"/>
            </a:effectRef>
            <a:fontRef idx="minor">
              <a:schemeClr val="tx1"/>
            </a:fontRef>
          </p:style>
        </p:cxnSp>
      </p:grpSp>
      <p:sp>
        <p:nvSpPr>
          <p:cNvPr id="34" name="TextBox 39">
            <a:extLst>
              <a:ext uri="{FF2B5EF4-FFF2-40B4-BE49-F238E27FC236}">
                <a16:creationId xmlns:a16="http://schemas.microsoft.com/office/drawing/2014/main" id="{D98AE4B3-DB36-42F1-9D3D-C095D21663D9}"/>
              </a:ext>
            </a:extLst>
          </p:cNvPr>
          <p:cNvSpPr txBox="1"/>
          <p:nvPr/>
        </p:nvSpPr>
        <p:spPr>
          <a:xfrm>
            <a:off x="8286597" y="1764276"/>
            <a:ext cx="1279517"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D" sz="1600" b="1" i="0" u="none" strike="noStrike" kern="1200" cap="none" spc="0" normalizeH="0" baseline="0" noProof="0">
                <a:ln>
                  <a:noFill/>
                </a:ln>
                <a:solidFill>
                  <a:srgbClr val="000000"/>
                </a:solidFill>
                <a:effectLst/>
                <a:uLnTx/>
                <a:uFillTx/>
                <a:latin typeface="等线 Light" panose="020F0302020204030204"/>
                <a:ea typeface="+mn-ea"/>
                <a:cs typeface="+mn-cs"/>
              </a:rPr>
              <a:t>Description</a:t>
            </a:r>
            <a:endParaRPr kumimoji="0" lang="id-ID" sz="1600" b="1" i="0" u="none" strike="noStrike" kern="1200" cap="none" spc="0" normalizeH="0" baseline="0" noProof="0" dirty="0">
              <a:ln>
                <a:noFill/>
              </a:ln>
              <a:solidFill>
                <a:srgbClr val="000000"/>
              </a:solidFill>
              <a:effectLst/>
              <a:uLnTx/>
              <a:uFillTx/>
              <a:latin typeface="等线 Light" panose="020F0302020204030204"/>
              <a:ea typeface="+mn-ea"/>
              <a:cs typeface="+mn-cs"/>
            </a:endParaRPr>
          </a:p>
        </p:txBody>
      </p:sp>
      <p:sp>
        <p:nvSpPr>
          <p:cNvPr id="35" name="TextBox 40">
            <a:extLst>
              <a:ext uri="{FF2B5EF4-FFF2-40B4-BE49-F238E27FC236}">
                <a16:creationId xmlns:a16="http://schemas.microsoft.com/office/drawing/2014/main" id="{D24915D5-A71B-44D2-AA02-CA37948DE269}"/>
              </a:ext>
            </a:extLst>
          </p:cNvPr>
          <p:cNvSpPr txBox="1"/>
          <p:nvPr/>
        </p:nvSpPr>
        <p:spPr>
          <a:xfrm>
            <a:off x="8286599" y="2046065"/>
            <a:ext cx="2049070" cy="616836"/>
          </a:xfrm>
          <a:prstGeom prst="rect">
            <a:avLst/>
          </a:prstGeom>
          <a:noFill/>
        </p:spPr>
        <p:txBody>
          <a:bodyPr wrap="square" rtlCol="0">
            <a:spAutoFit/>
          </a:bodyPr>
          <a:lstStyle/>
          <a:p>
            <a:pPr marL="0" marR="0" lvl="0" indent="0" algn="just" defTabSz="914400" rtl="0" eaLnBrk="1" fontAlgn="auto" latinLnBrk="0" hangingPunct="1">
              <a:lnSpc>
                <a:spcPct val="15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等线" panose="020F0502020204030204"/>
                <a:ea typeface="+mn-ea"/>
                <a:cs typeface="+mn-cs"/>
              </a:rPr>
              <a:t>sweet mornings of spring which I enjoy with my whole</a:t>
            </a:r>
            <a:endParaRPr kumimoji="0" lang="en-US" sz="1200" b="1"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36" name="TextBox 41">
            <a:extLst>
              <a:ext uri="{FF2B5EF4-FFF2-40B4-BE49-F238E27FC236}">
                <a16:creationId xmlns:a16="http://schemas.microsoft.com/office/drawing/2014/main" id="{E453DC62-D4FA-4B43-82AB-0D15A50C215A}"/>
              </a:ext>
            </a:extLst>
          </p:cNvPr>
          <p:cNvSpPr txBox="1"/>
          <p:nvPr/>
        </p:nvSpPr>
        <p:spPr>
          <a:xfrm>
            <a:off x="8786238" y="3704861"/>
            <a:ext cx="1279517"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D" sz="1600" b="1" i="0" u="none" strike="noStrike" kern="1200" cap="none" spc="0" normalizeH="0" baseline="0" noProof="0">
                <a:ln>
                  <a:noFill/>
                </a:ln>
                <a:solidFill>
                  <a:srgbClr val="000000"/>
                </a:solidFill>
                <a:effectLst/>
                <a:uLnTx/>
                <a:uFillTx/>
                <a:latin typeface="等线 Light" panose="020F0302020204030204"/>
                <a:ea typeface="+mn-ea"/>
                <a:cs typeface="+mn-cs"/>
              </a:rPr>
              <a:t>Description</a:t>
            </a:r>
            <a:endParaRPr kumimoji="0" lang="id-ID" sz="1600" b="1" i="0" u="none" strike="noStrike" kern="1200" cap="none" spc="0" normalizeH="0" baseline="0" noProof="0" dirty="0">
              <a:ln>
                <a:noFill/>
              </a:ln>
              <a:solidFill>
                <a:srgbClr val="000000"/>
              </a:solidFill>
              <a:effectLst/>
              <a:uLnTx/>
              <a:uFillTx/>
              <a:latin typeface="等线 Light" panose="020F0302020204030204"/>
              <a:ea typeface="+mn-ea"/>
              <a:cs typeface="+mn-cs"/>
            </a:endParaRPr>
          </a:p>
        </p:txBody>
      </p:sp>
      <p:sp>
        <p:nvSpPr>
          <p:cNvPr id="37" name="TextBox 42">
            <a:extLst>
              <a:ext uri="{FF2B5EF4-FFF2-40B4-BE49-F238E27FC236}">
                <a16:creationId xmlns:a16="http://schemas.microsoft.com/office/drawing/2014/main" id="{6B47126F-588D-4E8E-86D9-71CB2C8EEF8A}"/>
              </a:ext>
            </a:extLst>
          </p:cNvPr>
          <p:cNvSpPr txBox="1"/>
          <p:nvPr/>
        </p:nvSpPr>
        <p:spPr>
          <a:xfrm>
            <a:off x="8786240" y="3986650"/>
            <a:ext cx="2049070" cy="616836"/>
          </a:xfrm>
          <a:prstGeom prst="rect">
            <a:avLst/>
          </a:prstGeom>
          <a:noFill/>
        </p:spPr>
        <p:txBody>
          <a:bodyPr wrap="square" rtlCol="0">
            <a:spAutoFit/>
          </a:bodyPr>
          <a:lstStyle/>
          <a:p>
            <a:pPr marL="0" marR="0" lvl="0" indent="0" algn="just" defTabSz="914400" rtl="0" eaLnBrk="1" fontAlgn="auto" latinLnBrk="0" hangingPunct="1">
              <a:lnSpc>
                <a:spcPct val="15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等线" panose="020F0502020204030204"/>
                <a:ea typeface="+mn-ea"/>
                <a:cs typeface="+mn-cs"/>
              </a:rPr>
              <a:t>sweet mornings of spring which I enjoy with my whole</a:t>
            </a:r>
            <a:endParaRPr kumimoji="0" lang="en-US" sz="1200" b="1"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38" name="TextBox 43">
            <a:extLst>
              <a:ext uri="{FF2B5EF4-FFF2-40B4-BE49-F238E27FC236}">
                <a16:creationId xmlns:a16="http://schemas.microsoft.com/office/drawing/2014/main" id="{A60C8A2D-563C-4AA6-B9EC-219B44E76C2A}"/>
              </a:ext>
            </a:extLst>
          </p:cNvPr>
          <p:cNvSpPr txBox="1"/>
          <p:nvPr/>
        </p:nvSpPr>
        <p:spPr>
          <a:xfrm>
            <a:off x="2380975" y="2070316"/>
            <a:ext cx="1313180" cy="338554"/>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ID" sz="1600" b="1" i="0" u="none" strike="noStrike" kern="1200" cap="none" spc="0" normalizeH="0" baseline="0" noProof="0">
                <a:ln>
                  <a:noFill/>
                </a:ln>
                <a:solidFill>
                  <a:srgbClr val="000000"/>
                </a:solidFill>
                <a:effectLst/>
                <a:uLnTx/>
                <a:uFillTx/>
                <a:latin typeface="等线 Light" panose="020F0302020204030204"/>
                <a:ea typeface="+mn-ea"/>
                <a:cs typeface="+mn-cs"/>
              </a:rPr>
              <a:t>Description</a:t>
            </a:r>
            <a:endParaRPr kumimoji="0" lang="id-ID" sz="1600" b="1" i="0" u="none" strike="noStrike" kern="1200" cap="none" spc="0" normalizeH="0" baseline="0" noProof="0" dirty="0">
              <a:ln>
                <a:noFill/>
              </a:ln>
              <a:solidFill>
                <a:srgbClr val="000000"/>
              </a:solidFill>
              <a:effectLst/>
              <a:uLnTx/>
              <a:uFillTx/>
              <a:latin typeface="等线 Light" panose="020F0302020204030204"/>
              <a:ea typeface="+mn-ea"/>
              <a:cs typeface="+mn-cs"/>
            </a:endParaRPr>
          </a:p>
        </p:txBody>
      </p:sp>
      <p:sp>
        <p:nvSpPr>
          <p:cNvPr id="39" name="TextBox 44">
            <a:extLst>
              <a:ext uri="{FF2B5EF4-FFF2-40B4-BE49-F238E27FC236}">
                <a16:creationId xmlns:a16="http://schemas.microsoft.com/office/drawing/2014/main" id="{A2CA8857-2136-4646-99DD-5BE6C88E167E}"/>
              </a:ext>
            </a:extLst>
          </p:cNvPr>
          <p:cNvSpPr txBox="1"/>
          <p:nvPr/>
        </p:nvSpPr>
        <p:spPr>
          <a:xfrm>
            <a:off x="1645085" y="2352105"/>
            <a:ext cx="2049070" cy="616836"/>
          </a:xfrm>
          <a:prstGeom prst="rect">
            <a:avLst/>
          </a:prstGeom>
          <a:noFill/>
        </p:spPr>
        <p:txBody>
          <a:bodyPr wrap="square" rtlCol="0">
            <a:spAutoFit/>
          </a:bodyPr>
          <a:lstStyle/>
          <a:p>
            <a:pPr marL="0" marR="0" lvl="0" indent="0" algn="r" defTabSz="914400" rtl="0" eaLnBrk="1" fontAlgn="auto" latinLnBrk="0" hangingPunct="1">
              <a:lnSpc>
                <a:spcPct val="15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等线" panose="020F0502020204030204"/>
                <a:ea typeface="+mn-ea"/>
                <a:cs typeface="+mn-cs"/>
              </a:rPr>
              <a:t>sweet mornings of spring which I enjoy with my whole</a:t>
            </a:r>
            <a:endParaRPr kumimoji="0" lang="en-US" sz="1200" b="1"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40" name="TextBox 45">
            <a:extLst>
              <a:ext uri="{FF2B5EF4-FFF2-40B4-BE49-F238E27FC236}">
                <a16:creationId xmlns:a16="http://schemas.microsoft.com/office/drawing/2014/main" id="{6D484EF7-D071-4817-A069-7AA55028494F}"/>
              </a:ext>
            </a:extLst>
          </p:cNvPr>
          <p:cNvSpPr txBox="1"/>
          <p:nvPr/>
        </p:nvSpPr>
        <p:spPr>
          <a:xfrm>
            <a:off x="1643929" y="4535724"/>
            <a:ext cx="1313180" cy="338554"/>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ID" sz="1600" b="1" i="0" u="none" strike="noStrike" kern="1200" cap="none" spc="0" normalizeH="0" baseline="0" noProof="0">
                <a:ln>
                  <a:noFill/>
                </a:ln>
                <a:solidFill>
                  <a:srgbClr val="000000"/>
                </a:solidFill>
                <a:effectLst/>
                <a:uLnTx/>
                <a:uFillTx/>
                <a:latin typeface="等线 Light" panose="020F0302020204030204"/>
                <a:ea typeface="+mn-ea"/>
                <a:cs typeface="+mn-cs"/>
              </a:rPr>
              <a:t>Description</a:t>
            </a:r>
            <a:endParaRPr kumimoji="0" lang="id-ID" sz="1600" b="1" i="0" u="none" strike="noStrike" kern="1200" cap="none" spc="0" normalizeH="0" baseline="0" noProof="0" dirty="0">
              <a:ln>
                <a:noFill/>
              </a:ln>
              <a:solidFill>
                <a:srgbClr val="000000"/>
              </a:solidFill>
              <a:effectLst/>
              <a:uLnTx/>
              <a:uFillTx/>
              <a:latin typeface="等线 Light" panose="020F0302020204030204"/>
              <a:ea typeface="+mn-ea"/>
              <a:cs typeface="+mn-cs"/>
            </a:endParaRPr>
          </a:p>
        </p:txBody>
      </p:sp>
      <p:sp>
        <p:nvSpPr>
          <p:cNvPr id="41" name="TextBox 46">
            <a:extLst>
              <a:ext uri="{FF2B5EF4-FFF2-40B4-BE49-F238E27FC236}">
                <a16:creationId xmlns:a16="http://schemas.microsoft.com/office/drawing/2014/main" id="{D6199FCE-F6D7-40A7-92F6-6583AAA44B68}"/>
              </a:ext>
            </a:extLst>
          </p:cNvPr>
          <p:cNvSpPr txBox="1"/>
          <p:nvPr/>
        </p:nvSpPr>
        <p:spPr>
          <a:xfrm>
            <a:off x="908039" y="4817513"/>
            <a:ext cx="2049070" cy="616836"/>
          </a:xfrm>
          <a:prstGeom prst="rect">
            <a:avLst/>
          </a:prstGeom>
          <a:noFill/>
        </p:spPr>
        <p:txBody>
          <a:bodyPr wrap="square" rtlCol="0">
            <a:spAutoFit/>
          </a:bodyPr>
          <a:lstStyle/>
          <a:p>
            <a:pPr marL="0" marR="0" lvl="0" indent="0" algn="r" defTabSz="914400" rtl="0" eaLnBrk="1" fontAlgn="auto" latinLnBrk="0" hangingPunct="1">
              <a:lnSpc>
                <a:spcPct val="15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等线" panose="020F0502020204030204"/>
                <a:ea typeface="+mn-ea"/>
                <a:cs typeface="+mn-cs"/>
              </a:rPr>
              <a:t>sweet mornings of spring which I enjoy with my whole</a:t>
            </a:r>
            <a:endParaRPr kumimoji="0" lang="en-US" sz="1200" b="1"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42" name="Freeform: Shape 47">
            <a:extLst>
              <a:ext uri="{FF2B5EF4-FFF2-40B4-BE49-F238E27FC236}">
                <a16:creationId xmlns:a16="http://schemas.microsoft.com/office/drawing/2014/main" id="{0CBA6A28-09BE-4B04-B885-852666A442BA}"/>
              </a:ext>
            </a:extLst>
          </p:cNvPr>
          <p:cNvSpPr/>
          <p:nvPr/>
        </p:nvSpPr>
        <p:spPr>
          <a:xfrm>
            <a:off x="3807841" y="4361670"/>
            <a:ext cx="264974" cy="374258"/>
          </a:xfrm>
          <a:custGeom>
            <a:avLst/>
            <a:gdLst>
              <a:gd name="connsiteX0" fmla="*/ 337185 w 674370"/>
              <a:gd name="connsiteY0" fmla="*/ 0 h 952500"/>
              <a:gd name="connsiteX1" fmla="*/ 0 w 674370"/>
              <a:gd name="connsiteY1" fmla="*/ 615315 h 952500"/>
              <a:gd name="connsiteX2" fmla="*/ 337185 w 674370"/>
              <a:gd name="connsiteY2" fmla="*/ 952500 h 952500"/>
              <a:gd name="connsiteX3" fmla="*/ 674370 w 674370"/>
              <a:gd name="connsiteY3" fmla="*/ 615315 h 952500"/>
              <a:gd name="connsiteX4" fmla="*/ 337185 w 674370"/>
              <a:gd name="connsiteY4" fmla="*/ 0 h 952500"/>
              <a:gd name="connsiteX5" fmla="*/ 332423 w 674370"/>
              <a:gd name="connsiteY5" fmla="*/ 876300 h 952500"/>
              <a:gd name="connsiteX6" fmla="*/ 76200 w 674370"/>
              <a:gd name="connsiteY6" fmla="*/ 654368 h 952500"/>
              <a:gd name="connsiteX7" fmla="*/ 121920 w 674370"/>
              <a:gd name="connsiteY7" fmla="*/ 641985 h 952500"/>
              <a:gd name="connsiteX8" fmla="*/ 341948 w 674370"/>
              <a:gd name="connsiteY8" fmla="*/ 830580 h 952500"/>
              <a:gd name="connsiteX9" fmla="*/ 332423 w 674370"/>
              <a:gd name="connsiteY9" fmla="*/ 876300 h 952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74370" h="952500">
                <a:moveTo>
                  <a:pt x="337185" y="0"/>
                </a:moveTo>
                <a:cubicBezTo>
                  <a:pt x="337185" y="0"/>
                  <a:pt x="0" y="429578"/>
                  <a:pt x="0" y="615315"/>
                </a:cubicBezTo>
                <a:cubicBezTo>
                  <a:pt x="0" y="801053"/>
                  <a:pt x="150495" y="952500"/>
                  <a:pt x="337185" y="952500"/>
                </a:cubicBezTo>
                <a:cubicBezTo>
                  <a:pt x="522923" y="952500"/>
                  <a:pt x="674370" y="802005"/>
                  <a:pt x="674370" y="615315"/>
                </a:cubicBezTo>
                <a:cubicBezTo>
                  <a:pt x="674370" y="429578"/>
                  <a:pt x="337185" y="0"/>
                  <a:pt x="337185" y="0"/>
                </a:cubicBezTo>
                <a:close/>
                <a:moveTo>
                  <a:pt x="332423" y="876300"/>
                </a:moveTo>
                <a:cubicBezTo>
                  <a:pt x="128588" y="834390"/>
                  <a:pt x="78105" y="661988"/>
                  <a:pt x="76200" y="654368"/>
                </a:cubicBezTo>
                <a:lnTo>
                  <a:pt x="121920" y="641985"/>
                </a:lnTo>
                <a:cubicBezTo>
                  <a:pt x="123825" y="648653"/>
                  <a:pt x="167640" y="794385"/>
                  <a:pt x="341948" y="830580"/>
                </a:cubicBezTo>
                <a:lnTo>
                  <a:pt x="332423" y="876300"/>
                </a:lnTo>
                <a:close/>
              </a:path>
            </a:pathLst>
          </a:custGeom>
          <a:solidFill>
            <a:schemeClr val="bg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nvGrpSpPr>
          <p:cNvPr id="43" name="Graphic 1">
            <a:extLst>
              <a:ext uri="{FF2B5EF4-FFF2-40B4-BE49-F238E27FC236}">
                <a16:creationId xmlns:a16="http://schemas.microsoft.com/office/drawing/2014/main" id="{2E594882-A2FE-48BE-AABB-45EB866A4C4F}"/>
              </a:ext>
            </a:extLst>
          </p:cNvPr>
          <p:cNvGrpSpPr/>
          <p:nvPr/>
        </p:nvGrpSpPr>
        <p:grpSpPr>
          <a:xfrm>
            <a:off x="7477730" y="3716668"/>
            <a:ext cx="330956" cy="306890"/>
            <a:chOff x="8864467" y="1326832"/>
            <a:chExt cx="842293" cy="781050"/>
          </a:xfrm>
          <a:solidFill>
            <a:schemeClr val="bg2"/>
          </a:solidFill>
        </p:grpSpPr>
        <p:sp>
          <p:nvSpPr>
            <p:cNvPr id="44" name="Freeform: Shape 49">
              <a:extLst>
                <a:ext uri="{FF2B5EF4-FFF2-40B4-BE49-F238E27FC236}">
                  <a16:creationId xmlns:a16="http://schemas.microsoft.com/office/drawing/2014/main" id="{7F12CD43-8CA1-4FB9-A6CC-4B206D8528EE}"/>
                </a:ext>
              </a:extLst>
            </p:cNvPr>
            <p:cNvSpPr/>
            <p:nvPr/>
          </p:nvSpPr>
          <p:spPr>
            <a:xfrm>
              <a:off x="8864467" y="1326832"/>
              <a:ext cx="842293" cy="322897"/>
            </a:xfrm>
            <a:custGeom>
              <a:avLst/>
              <a:gdLst>
                <a:gd name="connsiteX0" fmla="*/ 835793 w 842293"/>
                <a:gd name="connsiteY0" fmla="*/ 293370 h 322897"/>
                <a:gd name="connsiteX1" fmla="*/ 687202 w 842293"/>
                <a:gd name="connsiteY1" fmla="*/ 188595 h 322897"/>
                <a:gd name="connsiteX2" fmla="*/ 687202 w 842293"/>
                <a:gd name="connsiteY2" fmla="*/ 52387 h 322897"/>
                <a:gd name="connsiteX3" fmla="*/ 705300 w 842293"/>
                <a:gd name="connsiteY3" fmla="*/ 52387 h 322897"/>
                <a:gd name="connsiteX4" fmla="*/ 705300 w 842293"/>
                <a:gd name="connsiteY4" fmla="*/ 14288 h 322897"/>
                <a:gd name="connsiteX5" fmla="*/ 562425 w 842293"/>
                <a:gd name="connsiteY5" fmla="*/ 14288 h 322897"/>
                <a:gd name="connsiteX6" fmla="*/ 562425 w 842293"/>
                <a:gd name="connsiteY6" fmla="*/ 52387 h 322897"/>
                <a:gd name="connsiteX7" fmla="*/ 580522 w 842293"/>
                <a:gd name="connsiteY7" fmla="*/ 52387 h 322897"/>
                <a:gd name="connsiteX8" fmla="*/ 580522 w 842293"/>
                <a:gd name="connsiteY8" fmla="*/ 112395 h 322897"/>
                <a:gd name="connsiteX9" fmla="*/ 421455 w 842293"/>
                <a:gd name="connsiteY9" fmla="*/ 0 h 322897"/>
                <a:gd name="connsiteX10" fmla="*/ 7118 w 842293"/>
                <a:gd name="connsiteY10" fmla="*/ 293370 h 322897"/>
                <a:gd name="connsiteX11" fmla="*/ 16643 w 842293"/>
                <a:gd name="connsiteY11" fmla="*/ 322898 h 322897"/>
                <a:gd name="connsiteX12" fmla="*/ 827220 w 842293"/>
                <a:gd name="connsiteY12" fmla="*/ 322898 h 322897"/>
                <a:gd name="connsiteX13" fmla="*/ 835793 w 842293"/>
                <a:gd name="connsiteY13" fmla="*/ 293370 h 322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42293" h="322897">
                  <a:moveTo>
                    <a:pt x="835793" y="293370"/>
                  </a:moveTo>
                  <a:lnTo>
                    <a:pt x="687202" y="188595"/>
                  </a:lnTo>
                  <a:lnTo>
                    <a:pt x="687202" y="52387"/>
                  </a:lnTo>
                  <a:lnTo>
                    <a:pt x="705300" y="52387"/>
                  </a:lnTo>
                  <a:lnTo>
                    <a:pt x="705300" y="14288"/>
                  </a:lnTo>
                  <a:lnTo>
                    <a:pt x="562425" y="14288"/>
                  </a:lnTo>
                  <a:lnTo>
                    <a:pt x="562425" y="52387"/>
                  </a:lnTo>
                  <a:lnTo>
                    <a:pt x="580522" y="52387"/>
                  </a:lnTo>
                  <a:lnTo>
                    <a:pt x="580522" y="112395"/>
                  </a:lnTo>
                  <a:lnTo>
                    <a:pt x="421455" y="0"/>
                  </a:lnTo>
                  <a:lnTo>
                    <a:pt x="7118" y="293370"/>
                  </a:lnTo>
                  <a:cubicBezTo>
                    <a:pt x="-6218" y="302895"/>
                    <a:pt x="450" y="322898"/>
                    <a:pt x="16643" y="322898"/>
                  </a:cubicBezTo>
                  <a:lnTo>
                    <a:pt x="827220" y="322898"/>
                  </a:lnTo>
                  <a:cubicBezTo>
                    <a:pt x="841508" y="322898"/>
                    <a:pt x="848175" y="302895"/>
                    <a:pt x="835793" y="293370"/>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45" name="Freeform: Shape 50">
              <a:extLst>
                <a:ext uri="{FF2B5EF4-FFF2-40B4-BE49-F238E27FC236}">
                  <a16:creationId xmlns:a16="http://schemas.microsoft.com/office/drawing/2014/main" id="{55B6CFF2-64D5-42C3-895A-4BC5CABCF57B}"/>
                </a:ext>
              </a:extLst>
            </p:cNvPr>
            <p:cNvSpPr/>
            <p:nvPr/>
          </p:nvSpPr>
          <p:spPr>
            <a:xfrm>
              <a:off x="8962072" y="1684019"/>
              <a:ext cx="646747" cy="423862"/>
            </a:xfrm>
            <a:custGeom>
              <a:avLst/>
              <a:gdLst>
                <a:gd name="connsiteX0" fmla="*/ 0 w 646747"/>
                <a:gd name="connsiteY0" fmla="*/ 0 h 423862"/>
                <a:gd name="connsiteX1" fmla="*/ 0 w 646747"/>
                <a:gd name="connsiteY1" fmla="*/ 423863 h 423862"/>
                <a:gd name="connsiteX2" fmla="*/ 646747 w 646747"/>
                <a:gd name="connsiteY2" fmla="*/ 423863 h 423862"/>
                <a:gd name="connsiteX3" fmla="*/ 646747 w 646747"/>
                <a:gd name="connsiteY3" fmla="*/ 0 h 423862"/>
                <a:gd name="connsiteX4" fmla="*/ 0 w 646747"/>
                <a:gd name="connsiteY4" fmla="*/ 0 h 423862"/>
                <a:gd name="connsiteX5" fmla="*/ 280988 w 646747"/>
                <a:gd name="connsiteY5" fmla="*/ 341947 h 423862"/>
                <a:gd name="connsiteX6" fmla="*/ 246697 w 646747"/>
                <a:gd name="connsiteY6" fmla="*/ 308610 h 423862"/>
                <a:gd name="connsiteX7" fmla="*/ 320040 w 646747"/>
                <a:gd name="connsiteY7" fmla="*/ 233363 h 423862"/>
                <a:gd name="connsiteX8" fmla="*/ 213360 w 646747"/>
                <a:gd name="connsiteY8" fmla="*/ 233363 h 423862"/>
                <a:gd name="connsiteX9" fmla="*/ 364807 w 646747"/>
                <a:gd name="connsiteY9" fmla="*/ 81915 h 423862"/>
                <a:gd name="connsiteX10" fmla="*/ 398145 w 646747"/>
                <a:gd name="connsiteY10" fmla="*/ 115253 h 423862"/>
                <a:gd name="connsiteX11" fmla="*/ 327660 w 646747"/>
                <a:gd name="connsiteY11" fmla="*/ 185738 h 423862"/>
                <a:gd name="connsiteX12" fmla="*/ 434340 w 646747"/>
                <a:gd name="connsiteY12" fmla="*/ 185738 h 423862"/>
                <a:gd name="connsiteX13" fmla="*/ 280988 w 646747"/>
                <a:gd name="connsiteY13" fmla="*/ 341947 h 423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46747" h="423862">
                  <a:moveTo>
                    <a:pt x="0" y="0"/>
                  </a:moveTo>
                  <a:lnTo>
                    <a:pt x="0" y="423863"/>
                  </a:lnTo>
                  <a:lnTo>
                    <a:pt x="646747" y="423863"/>
                  </a:lnTo>
                  <a:lnTo>
                    <a:pt x="646747" y="0"/>
                  </a:lnTo>
                  <a:lnTo>
                    <a:pt x="0" y="0"/>
                  </a:lnTo>
                  <a:close/>
                  <a:moveTo>
                    <a:pt x="280988" y="341947"/>
                  </a:moveTo>
                  <a:lnTo>
                    <a:pt x="246697" y="308610"/>
                  </a:lnTo>
                  <a:lnTo>
                    <a:pt x="320040" y="233363"/>
                  </a:lnTo>
                  <a:lnTo>
                    <a:pt x="213360" y="233363"/>
                  </a:lnTo>
                  <a:lnTo>
                    <a:pt x="364807" y="81915"/>
                  </a:lnTo>
                  <a:lnTo>
                    <a:pt x="398145" y="115253"/>
                  </a:lnTo>
                  <a:lnTo>
                    <a:pt x="327660" y="185738"/>
                  </a:lnTo>
                  <a:lnTo>
                    <a:pt x="434340" y="185738"/>
                  </a:lnTo>
                  <a:lnTo>
                    <a:pt x="280988" y="341947"/>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grpSp>
        <p:nvGrpSpPr>
          <p:cNvPr id="46" name="Graphic 1">
            <a:extLst>
              <a:ext uri="{FF2B5EF4-FFF2-40B4-BE49-F238E27FC236}">
                <a16:creationId xmlns:a16="http://schemas.microsoft.com/office/drawing/2014/main" id="{420D0BB4-6E36-404E-9C1F-FA7DF98A81C1}"/>
              </a:ext>
            </a:extLst>
          </p:cNvPr>
          <p:cNvGrpSpPr/>
          <p:nvPr/>
        </p:nvGrpSpPr>
        <p:grpSpPr>
          <a:xfrm>
            <a:off x="4806105" y="2638004"/>
            <a:ext cx="285934" cy="286682"/>
            <a:chOff x="8959214" y="2548890"/>
            <a:chExt cx="727710" cy="729614"/>
          </a:xfrm>
          <a:solidFill>
            <a:schemeClr val="bg2"/>
          </a:solidFill>
        </p:grpSpPr>
        <p:sp>
          <p:nvSpPr>
            <p:cNvPr id="47" name="Freeform: Shape 52">
              <a:extLst>
                <a:ext uri="{FF2B5EF4-FFF2-40B4-BE49-F238E27FC236}">
                  <a16:creationId xmlns:a16="http://schemas.microsoft.com/office/drawing/2014/main" id="{D1D757CF-CC0D-4AD5-87DA-C84001B62EEF}"/>
                </a:ext>
              </a:extLst>
            </p:cNvPr>
            <p:cNvSpPr/>
            <p:nvPr/>
          </p:nvSpPr>
          <p:spPr>
            <a:xfrm>
              <a:off x="8959214" y="3156584"/>
              <a:ext cx="120967" cy="121920"/>
            </a:xfrm>
            <a:custGeom>
              <a:avLst/>
              <a:gdLst>
                <a:gd name="connsiteX0" fmla="*/ 120968 w 120967"/>
                <a:gd name="connsiteY0" fmla="*/ 33338 h 121920"/>
                <a:gd name="connsiteX1" fmla="*/ 33338 w 120967"/>
                <a:gd name="connsiteY1" fmla="*/ 121920 h 121920"/>
                <a:gd name="connsiteX2" fmla="*/ 0 w 120967"/>
                <a:gd name="connsiteY2" fmla="*/ 88583 h 121920"/>
                <a:gd name="connsiteX3" fmla="*/ 87630 w 120967"/>
                <a:gd name="connsiteY3" fmla="*/ 0 h 121920"/>
                <a:gd name="connsiteX4" fmla="*/ 103823 w 120967"/>
                <a:gd name="connsiteY4" fmla="*/ 18098 h 121920"/>
                <a:gd name="connsiteX5" fmla="*/ 120968 w 120967"/>
                <a:gd name="connsiteY5" fmla="*/ 33338 h 121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0967" h="121920">
                  <a:moveTo>
                    <a:pt x="120968" y="33338"/>
                  </a:moveTo>
                  <a:lnTo>
                    <a:pt x="33338" y="121920"/>
                  </a:lnTo>
                  <a:lnTo>
                    <a:pt x="0" y="88583"/>
                  </a:lnTo>
                  <a:lnTo>
                    <a:pt x="87630" y="0"/>
                  </a:lnTo>
                  <a:cubicBezTo>
                    <a:pt x="92393" y="5715"/>
                    <a:pt x="98108" y="12383"/>
                    <a:pt x="103823" y="18098"/>
                  </a:cubicBezTo>
                  <a:cubicBezTo>
                    <a:pt x="109538" y="22860"/>
                    <a:pt x="115253" y="27623"/>
                    <a:pt x="120968" y="3333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nvGrpSpPr>
            <p:cNvPr id="48" name="Graphic 1">
              <a:extLst>
                <a:ext uri="{FF2B5EF4-FFF2-40B4-BE49-F238E27FC236}">
                  <a16:creationId xmlns:a16="http://schemas.microsoft.com/office/drawing/2014/main" id="{148E6A26-CBB2-4D07-A3E3-2C4668FE919E}"/>
                </a:ext>
              </a:extLst>
            </p:cNvPr>
            <p:cNvGrpSpPr/>
            <p:nvPr/>
          </p:nvGrpSpPr>
          <p:grpSpPr>
            <a:xfrm>
              <a:off x="8971174" y="2548890"/>
              <a:ext cx="715750" cy="716279"/>
              <a:chOff x="8971174" y="2548890"/>
              <a:chExt cx="715750" cy="716279"/>
            </a:xfrm>
            <a:grpFill/>
          </p:grpSpPr>
          <p:sp>
            <p:nvSpPr>
              <p:cNvPr id="49" name="Freeform: Shape 54">
                <a:extLst>
                  <a:ext uri="{FF2B5EF4-FFF2-40B4-BE49-F238E27FC236}">
                    <a16:creationId xmlns:a16="http://schemas.microsoft.com/office/drawing/2014/main" id="{ACED052B-F179-44DA-A992-9414DED81282}"/>
                  </a:ext>
                </a:extLst>
              </p:cNvPr>
              <p:cNvSpPr/>
              <p:nvPr/>
            </p:nvSpPr>
            <p:spPr>
              <a:xfrm>
                <a:off x="8971174" y="2548890"/>
                <a:ext cx="715750" cy="716279"/>
              </a:xfrm>
              <a:custGeom>
                <a:avLst/>
                <a:gdLst>
                  <a:gd name="connsiteX0" fmla="*/ 686223 w 715750"/>
                  <a:gd name="connsiteY0" fmla="*/ 3810 h 716279"/>
                  <a:gd name="connsiteX1" fmla="*/ 91863 w 715750"/>
                  <a:gd name="connsiteY1" fmla="*/ 180975 h 716279"/>
                  <a:gd name="connsiteX2" fmla="*/ 75670 w 715750"/>
                  <a:gd name="connsiteY2" fmla="*/ 606743 h 716279"/>
                  <a:gd name="connsiteX3" fmla="*/ 149965 w 715750"/>
                  <a:gd name="connsiteY3" fmla="*/ 532447 h 716279"/>
                  <a:gd name="connsiteX4" fmla="*/ 183303 w 715750"/>
                  <a:gd name="connsiteY4" fmla="*/ 565785 h 716279"/>
                  <a:gd name="connsiteX5" fmla="*/ 109008 w 715750"/>
                  <a:gd name="connsiteY5" fmla="*/ 640080 h 716279"/>
                  <a:gd name="connsiteX6" fmla="*/ 313795 w 715750"/>
                  <a:gd name="connsiteY6" fmla="*/ 716280 h 716279"/>
                  <a:gd name="connsiteX7" fmla="*/ 535728 w 715750"/>
                  <a:gd name="connsiteY7" fmla="*/ 624840 h 716279"/>
                  <a:gd name="connsiteX8" fmla="*/ 711940 w 715750"/>
                  <a:gd name="connsiteY8" fmla="*/ 30480 h 716279"/>
                  <a:gd name="connsiteX9" fmla="*/ 715750 w 715750"/>
                  <a:gd name="connsiteY9" fmla="*/ 0 h 716279"/>
                  <a:gd name="connsiteX10" fmla="*/ 686223 w 715750"/>
                  <a:gd name="connsiteY10" fmla="*/ 3810 h 716279"/>
                  <a:gd name="connsiteX11" fmla="*/ 390948 w 715750"/>
                  <a:gd name="connsiteY11" fmla="*/ 454342 h 716279"/>
                  <a:gd name="connsiteX12" fmla="*/ 303318 w 715750"/>
                  <a:gd name="connsiteY12" fmla="*/ 488632 h 716279"/>
                  <a:gd name="connsiteX13" fmla="*/ 215688 w 715750"/>
                  <a:gd name="connsiteY13" fmla="*/ 455295 h 716279"/>
                  <a:gd name="connsiteX14" fmla="*/ 183303 w 715750"/>
                  <a:gd name="connsiteY14" fmla="*/ 362902 h 716279"/>
                  <a:gd name="connsiteX15" fmla="*/ 194733 w 715750"/>
                  <a:gd name="connsiteY15" fmla="*/ 299085 h 716279"/>
                  <a:gd name="connsiteX16" fmla="*/ 217593 w 715750"/>
                  <a:gd name="connsiteY16" fmla="*/ 264795 h 716279"/>
                  <a:gd name="connsiteX17" fmla="*/ 249978 w 715750"/>
                  <a:gd name="connsiteY17" fmla="*/ 242888 h 716279"/>
                  <a:gd name="connsiteX18" fmla="*/ 303318 w 715750"/>
                  <a:gd name="connsiteY18" fmla="*/ 233363 h 716279"/>
                  <a:gd name="connsiteX19" fmla="*/ 390948 w 715750"/>
                  <a:gd name="connsiteY19" fmla="*/ 267652 h 716279"/>
                  <a:gd name="connsiteX20" fmla="*/ 424286 w 715750"/>
                  <a:gd name="connsiteY20" fmla="*/ 361950 h 716279"/>
                  <a:gd name="connsiteX21" fmla="*/ 390948 w 715750"/>
                  <a:gd name="connsiteY21" fmla="*/ 454342 h 716279"/>
                  <a:gd name="connsiteX22" fmla="*/ 500486 w 715750"/>
                  <a:gd name="connsiteY22" fmla="*/ 500063 h 716279"/>
                  <a:gd name="connsiteX23" fmla="*/ 500486 w 715750"/>
                  <a:gd name="connsiteY23" fmla="*/ 516255 h 716279"/>
                  <a:gd name="connsiteX24" fmla="*/ 439525 w 715750"/>
                  <a:gd name="connsiteY24" fmla="*/ 516255 h 716279"/>
                  <a:gd name="connsiteX25" fmla="*/ 445240 w 715750"/>
                  <a:gd name="connsiteY25" fmla="*/ 499110 h 716279"/>
                  <a:gd name="connsiteX26" fmla="*/ 465243 w 715750"/>
                  <a:gd name="connsiteY26" fmla="*/ 477202 h 716279"/>
                  <a:gd name="connsiteX27" fmla="*/ 479530 w 715750"/>
                  <a:gd name="connsiteY27" fmla="*/ 461963 h 716279"/>
                  <a:gd name="connsiteX28" fmla="*/ 483340 w 715750"/>
                  <a:gd name="connsiteY28" fmla="*/ 451485 h 716279"/>
                  <a:gd name="connsiteX29" fmla="*/ 480483 w 715750"/>
                  <a:gd name="connsiteY29" fmla="*/ 442913 h 716279"/>
                  <a:gd name="connsiteX30" fmla="*/ 471911 w 715750"/>
                  <a:gd name="connsiteY30" fmla="*/ 440055 h 716279"/>
                  <a:gd name="connsiteX31" fmla="*/ 463338 w 715750"/>
                  <a:gd name="connsiteY31" fmla="*/ 442913 h 716279"/>
                  <a:gd name="connsiteX32" fmla="*/ 459528 w 715750"/>
                  <a:gd name="connsiteY32" fmla="*/ 454342 h 716279"/>
                  <a:gd name="connsiteX33" fmla="*/ 442383 w 715750"/>
                  <a:gd name="connsiteY33" fmla="*/ 452438 h 716279"/>
                  <a:gd name="connsiteX34" fmla="*/ 451908 w 715750"/>
                  <a:gd name="connsiteY34" fmla="*/ 431482 h 716279"/>
                  <a:gd name="connsiteX35" fmla="*/ 472863 w 715750"/>
                  <a:gd name="connsiteY35" fmla="*/ 424815 h 716279"/>
                  <a:gd name="connsiteX36" fmla="*/ 493818 w 715750"/>
                  <a:gd name="connsiteY36" fmla="*/ 432435 h 716279"/>
                  <a:gd name="connsiteX37" fmla="*/ 501438 w 715750"/>
                  <a:gd name="connsiteY37" fmla="*/ 450532 h 716279"/>
                  <a:gd name="connsiteX38" fmla="*/ 499533 w 715750"/>
                  <a:gd name="connsiteY38" fmla="*/ 461963 h 716279"/>
                  <a:gd name="connsiteX39" fmla="*/ 492865 w 715750"/>
                  <a:gd name="connsiteY39" fmla="*/ 473392 h 716279"/>
                  <a:gd name="connsiteX40" fmla="*/ 481436 w 715750"/>
                  <a:gd name="connsiteY40" fmla="*/ 484822 h 716279"/>
                  <a:gd name="connsiteX41" fmla="*/ 470958 w 715750"/>
                  <a:gd name="connsiteY41" fmla="*/ 495300 h 716279"/>
                  <a:gd name="connsiteX42" fmla="*/ 467148 w 715750"/>
                  <a:gd name="connsiteY42" fmla="*/ 500063 h 716279"/>
                  <a:gd name="connsiteX43" fmla="*/ 500486 w 715750"/>
                  <a:gd name="connsiteY43" fmla="*/ 500063 h 716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715750" h="716279">
                    <a:moveTo>
                      <a:pt x="686223" y="3810"/>
                    </a:moveTo>
                    <a:cubicBezTo>
                      <a:pt x="667173" y="6667"/>
                      <a:pt x="209973" y="62865"/>
                      <a:pt x="91863" y="180975"/>
                    </a:cubicBezTo>
                    <a:cubicBezTo>
                      <a:pt x="-25295" y="297180"/>
                      <a:pt x="-30057" y="483870"/>
                      <a:pt x="75670" y="606743"/>
                    </a:cubicBezTo>
                    <a:lnTo>
                      <a:pt x="149965" y="532447"/>
                    </a:lnTo>
                    <a:lnTo>
                      <a:pt x="183303" y="565785"/>
                    </a:lnTo>
                    <a:lnTo>
                      <a:pt x="109008" y="640080"/>
                    </a:lnTo>
                    <a:cubicBezTo>
                      <a:pt x="168063" y="690563"/>
                      <a:pt x="240453" y="716280"/>
                      <a:pt x="313795" y="716280"/>
                    </a:cubicBezTo>
                    <a:cubicBezTo>
                      <a:pt x="393805" y="716280"/>
                      <a:pt x="474768" y="685800"/>
                      <a:pt x="535728" y="624840"/>
                    </a:cubicBezTo>
                    <a:cubicBezTo>
                      <a:pt x="653838" y="506730"/>
                      <a:pt x="710036" y="50482"/>
                      <a:pt x="711940" y="30480"/>
                    </a:cubicBezTo>
                    <a:lnTo>
                      <a:pt x="715750" y="0"/>
                    </a:lnTo>
                    <a:lnTo>
                      <a:pt x="686223" y="3810"/>
                    </a:lnTo>
                    <a:close/>
                    <a:moveTo>
                      <a:pt x="390948" y="454342"/>
                    </a:moveTo>
                    <a:cubicBezTo>
                      <a:pt x="369040" y="477202"/>
                      <a:pt x="340465" y="488632"/>
                      <a:pt x="303318" y="488632"/>
                    </a:cubicBezTo>
                    <a:cubicBezTo>
                      <a:pt x="266170" y="488632"/>
                      <a:pt x="237595" y="477202"/>
                      <a:pt x="215688" y="455295"/>
                    </a:cubicBezTo>
                    <a:cubicBezTo>
                      <a:pt x="193780" y="432435"/>
                      <a:pt x="183303" y="401955"/>
                      <a:pt x="183303" y="362902"/>
                    </a:cubicBezTo>
                    <a:cubicBezTo>
                      <a:pt x="183303" y="338138"/>
                      <a:pt x="187113" y="316230"/>
                      <a:pt x="194733" y="299085"/>
                    </a:cubicBezTo>
                    <a:cubicBezTo>
                      <a:pt x="200448" y="286702"/>
                      <a:pt x="208068" y="275272"/>
                      <a:pt x="217593" y="264795"/>
                    </a:cubicBezTo>
                    <a:cubicBezTo>
                      <a:pt x="227118" y="254317"/>
                      <a:pt x="237595" y="247650"/>
                      <a:pt x="249978" y="242888"/>
                    </a:cubicBezTo>
                    <a:cubicBezTo>
                      <a:pt x="265218" y="236220"/>
                      <a:pt x="283315" y="233363"/>
                      <a:pt x="303318" y="233363"/>
                    </a:cubicBezTo>
                    <a:cubicBezTo>
                      <a:pt x="339513" y="233363"/>
                      <a:pt x="369040" y="244792"/>
                      <a:pt x="390948" y="267652"/>
                    </a:cubicBezTo>
                    <a:cubicBezTo>
                      <a:pt x="412855" y="290513"/>
                      <a:pt x="424286" y="321945"/>
                      <a:pt x="424286" y="361950"/>
                    </a:cubicBezTo>
                    <a:cubicBezTo>
                      <a:pt x="423333" y="400050"/>
                      <a:pt x="412855" y="431482"/>
                      <a:pt x="390948" y="454342"/>
                    </a:cubicBezTo>
                    <a:close/>
                    <a:moveTo>
                      <a:pt x="500486" y="500063"/>
                    </a:moveTo>
                    <a:lnTo>
                      <a:pt x="500486" y="516255"/>
                    </a:lnTo>
                    <a:lnTo>
                      <a:pt x="439525" y="516255"/>
                    </a:lnTo>
                    <a:cubicBezTo>
                      <a:pt x="440478" y="510540"/>
                      <a:pt x="442383" y="503872"/>
                      <a:pt x="445240" y="499110"/>
                    </a:cubicBezTo>
                    <a:cubicBezTo>
                      <a:pt x="448098" y="493395"/>
                      <a:pt x="454765" y="486727"/>
                      <a:pt x="465243" y="477202"/>
                    </a:cubicBezTo>
                    <a:cubicBezTo>
                      <a:pt x="472863" y="469582"/>
                      <a:pt x="477625" y="464820"/>
                      <a:pt x="479530" y="461963"/>
                    </a:cubicBezTo>
                    <a:cubicBezTo>
                      <a:pt x="482388" y="458152"/>
                      <a:pt x="483340" y="454342"/>
                      <a:pt x="483340" y="451485"/>
                    </a:cubicBezTo>
                    <a:cubicBezTo>
                      <a:pt x="483340" y="447675"/>
                      <a:pt x="482388" y="444817"/>
                      <a:pt x="480483" y="442913"/>
                    </a:cubicBezTo>
                    <a:cubicBezTo>
                      <a:pt x="478578" y="441007"/>
                      <a:pt x="475720" y="440055"/>
                      <a:pt x="471911" y="440055"/>
                    </a:cubicBezTo>
                    <a:cubicBezTo>
                      <a:pt x="468100" y="440055"/>
                      <a:pt x="465243" y="441007"/>
                      <a:pt x="463338" y="442913"/>
                    </a:cubicBezTo>
                    <a:cubicBezTo>
                      <a:pt x="461433" y="444817"/>
                      <a:pt x="459528" y="448627"/>
                      <a:pt x="459528" y="454342"/>
                    </a:cubicBezTo>
                    <a:lnTo>
                      <a:pt x="442383" y="452438"/>
                    </a:lnTo>
                    <a:cubicBezTo>
                      <a:pt x="443336" y="442913"/>
                      <a:pt x="447145" y="436245"/>
                      <a:pt x="451908" y="431482"/>
                    </a:cubicBezTo>
                    <a:cubicBezTo>
                      <a:pt x="456670" y="426720"/>
                      <a:pt x="464290" y="424815"/>
                      <a:pt x="472863" y="424815"/>
                    </a:cubicBezTo>
                    <a:cubicBezTo>
                      <a:pt x="481436" y="424815"/>
                      <a:pt x="489055" y="427672"/>
                      <a:pt x="493818" y="432435"/>
                    </a:cubicBezTo>
                    <a:cubicBezTo>
                      <a:pt x="498580" y="437197"/>
                      <a:pt x="501438" y="442913"/>
                      <a:pt x="501438" y="450532"/>
                    </a:cubicBezTo>
                    <a:cubicBezTo>
                      <a:pt x="501438" y="454342"/>
                      <a:pt x="500486" y="458152"/>
                      <a:pt x="499533" y="461963"/>
                    </a:cubicBezTo>
                    <a:cubicBezTo>
                      <a:pt x="497628" y="465772"/>
                      <a:pt x="495723" y="469582"/>
                      <a:pt x="492865" y="473392"/>
                    </a:cubicBezTo>
                    <a:cubicBezTo>
                      <a:pt x="490961" y="476250"/>
                      <a:pt x="487150" y="480060"/>
                      <a:pt x="481436" y="484822"/>
                    </a:cubicBezTo>
                    <a:cubicBezTo>
                      <a:pt x="475720" y="489585"/>
                      <a:pt x="472863" y="493395"/>
                      <a:pt x="470958" y="495300"/>
                    </a:cubicBezTo>
                    <a:cubicBezTo>
                      <a:pt x="469053" y="497205"/>
                      <a:pt x="468100" y="498157"/>
                      <a:pt x="467148" y="500063"/>
                    </a:cubicBezTo>
                    <a:lnTo>
                      <a:pt x="500486" y="500063"/>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50" name="Freeform: Shape 55">
                <a:extLst>
                  <a:ext uri="{FF2B5EF4-FFF2-40B4-BE49-F238E27FC236}">
                    <a16:creationId xmlns:a16="http://schemas.microsoft.com/office/drawing/2014/main" id="{344FAB3B-1EE7-4AEB-B351-8E97B61CD956}"/>
                  </a:ext>
                </a:extLst>
              </p:cNvPr>
              <p:cNvSpPr/>
              <p:nvPr/>
            </p:nvSpPr>
            <p:spPr>
              <a:xfrm>
                <a:off x="9205912" y="2824162"/>
                <a:ext cx="137160" cy="170497"/>
              </a:xfrm>
              <a:custGeom>
                <a:avLst/>
                <a:gdLst>
                  <a:gd name="connsiteX0" fmla="*/ 68580 w 137160"/>
                  <a:gd name="connsiteY0" fmla="*/ 0 h 170497"/>
                  <a:gd name="connsiteX1" fmla="*/ 19050 w 137160"/>
                  <a:gd name="connsiteY1" fmla="*/ 20955 h 170497"/>
                  <a:gd name="connsiteX2" fmla="*/ 0 w 137160"/>
                  <a:gd name="connsiteY2" fmla="*/ 84772 h 170497"/>
                  <a:gd name="connsiteX3" fmla="*/ 19050 w 137160"/>
                  <a:gd name="connsiteY3" fmla="*/ 148590 h 170497"/>
                  <a:gd name="connsiteX4" fmla="*/ 68580 w 137160"/>
                  <a:gd name="connsiteY4" fmla="*/ 170497 h 170497"/>
                  <a:gd name="connsiteX5" fmla="*/ 118110 w 137160"/>
                  <a:gd name="connsiteY5" fmla="*/ 148590 h 170497"/>
                  <a:gd name="connsiteX6" fmla="*/ 137160 w 137160"/>
                  <a:gd name="connsiteY6" fmla="*/ 83820 h 170497"/>
                  <a:gd name="connsiteX7" fmla="*/ 118110 w 137160"/>
                  <a:gd name="connsiteY7" fmla="*/ 20003 h 170497"/>
                  <a:gd name="connsiteX8" fmla="*/ 68580 w 137160"/>
                  <a:gd name="connsiteY8" fmla="*/ 0 h 1704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7160" h="170497">
                    <a:moveTo>
                      <a:pt x="68580" y="0"/>
                    </a:moveTo>
                    <a:cubicBezTo>
                      <a:pt x="47625" y="0"/>
                      <a:pt x="31432" y="6667"/>
                      <a:pt x="19050" y="20955"/>
                    </a:cubicBezTo>
                    <a:cubicBezTo>
                      <a:pt x="6668" y="35242"/>
                      <a:pt x="0" y="56197"/>
                      <a:pt x="0" y="84772"/>
                    </a:cubicBezTo>
                    <a:cubicBezTo>
                      <a:pt x="0" y="112395"/>
                      <a:pt x="6668" y="134303"/>
                      <a:pt x="19050" y="148590"/>
                    </a:cubicBezTo>
                    <a:cubicBezTo>
                      <a:pt x="32385" y="162878"/>
                      <a:pt x="48577" y="170497"/>
                      <a:pt x="68580" y="170497"/>
                    </a:cubicBezTo>
                    <a:cubicBezTo>
                      <a:pt x="88582" y="170497"/>
                      <a:pt x="104775" y="162878"/>
                      <a:pt x="118110" y="148590"/>
                    </a:cubicBezTo>
                    <a:cubicBezTo>
                      <a:pt x="130493" y="134303"/>
                      <a:pt x="137160" y="112395"/>
                      <a:pt x="137160" y="83820"/>
                    </a:cubicBezTo>
                    <a:cubicBezTo>
                      <a:pt x="137160" y="55245"/>
                      <a:pt x="130493" y="34290"/>
                      <a:pt x="118110" y="20003"/>
                    </a:cubicBezTo>
                    <a:cubicBezTo>
                      <a:pt x="105727" y="6667"/>
                      <a:pt x="89535" y="0"/>
                      <a:pt x="68580" y="0"/>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grpSp>
      <p:grpSp>
        <p:nvGrpSpPr>
          <p:cNvPr id="51" name="Graphic 1">
            <a:extLst>
              <a:ext uri="{FF2B5EF4-FFF2-40B4-BE49-F238E27FC236}">
                <a16:creationId xmlns:a16="http://schemas.microsoft.com/office/drawing/2014/main" id="{ACE6CEF8-1B74-4198-96E9-A0648FD25EF5}"/>
              </a:ext>
            </a:extLst>
          </p:cNvPr>
          <p:cNvGrpSpPr/>
          <p:nvPr/>
        </p:nvGrpSpPr>
        <p:grpSpPr>
          <a:xfrm>
            <a:off x="6949257" y="2527802"/>
            <a:ext cx="362166" cy="290690"/>
            <a:chOff x="6348412" y="2426970"/>
            <a:chExt cx="1081087" cy="867727"/>
          </a:xfrm>
          <a:solidFill>
            <a:schemeClr val="bg2"/>
          </a:solidFill>
        </p:grpSpPr>
        <p:grpSp>
          <p:nvGrpSpPr>
            <p:cNvPr id="52" name="Graphic 1">
              <a:extLst>
                <a:ext uri="{FF2B5EF4-FFF2-40B4-BE49-F238E27FC236}">
                  <a16:creationId xmlns:a16="http://schemas.microsoft.com/office/drawing/2014/main" id="{8E8115B7-821D-4B93-B151-F8EDE0001457}"/>
                </a:ext>
              </a:extLst>
            </p:cNvPr>
            <p:cNvGrpSpPr/>
            <p:nvPr/>
          </p:nvGrpSpPr>
          <p:grpSpPr>
            <a:xfrm>
              <a:off x="6348412" y="2426970"/>
              <a:ext cx="1081087" cy="529589"/>
              <a:chOff x="6348412" y="2426970"/>
              <a:chExt cx="1081087" cy="529589"/>
            </a:xfrm>
            <a:grpFill/>
          </p:grpSpPr>
          <p:sp>
            <p:nvSpPr>
              <p:cNvPr id="54" name="Freeform: Shape 59">
                <a:extLst>
                  <a:ext uri="{FF2B5EF4-FFF2-40B4-BE49-F238E27FC236}">
                    <a16:creationId xmlns:a16="http://schemas.microsoft.com/office/drawing/2014/main" id="{075FE649-7A43-407B-A301-DD2A9CDBEEBD}"/>
                  </a:ext>
                </a:extLst>
              </p:cNvPr>
              <p:cNvSpPr/>
              <p:nvPr/>
            </p:nvSpPr>
            <p:spPr>
              <a:xfrm>
                <a:off x="6348412" y="2426970"/>
                <a:ext cx="463867" cy="333375"/>
              </a:xfrm>
              <a:custGeom>
                <a:avLst/>
                <a:gdLst>
                  <a:gd name="connsiteX0" fmla="*/ 442913 w 463867"/>
                  <a:gd name="connsiteY0" fmla="*/ 189547 h 333375"/>
                  <a:gd name="connsiteX1" fmla="*/ 462915 w 463867"/>
                  <a:gd name="connsiteY1" fmla="*/ 194310 h 333375"/>
                  <a:gd name="connsiteX2" fmla="*/ 299085 w 463867"/>
                  <a:gd name="connsiteY2" fmla="*/ 333375 h 333375"/>
                  <a:gd name="connsiteX3" fmla="*/ 22860 w 463867"/>
                  <a:gd name="connsiteY3" fmla="*/ 184785 h 333375"/>
                  <a:gd name="connsiteX4" fmla="*/ 0 w 463867"/>
                  <a:gd name="connsiteY4" fmla="*/ 166688 h 333375"/>
                  <a:gd name="connsiteX5" fmla="*/ 22860 w 463867"/>
                  <a:gd name="connsiteY5" fmla="*/ 148590 h 333375"/>
                  <a:gd name="connsiteX6" fmla="*/ 299085 w 463867"/>
                  <a:gd name="connsiteY6" fmla="*/ 0 h 333375"/>
                  <a:gd name="connsiteX7" fmla="*/ 463868 w 463867"/>
                  <a:gd name="connsiteY7" fmla="*/ 146685 h 333375"/>
                  <a:gd name="connsiteX8" fmla="*/ 442913 w 463867"/>
                  <a:gd name="connsiteY8" fmla="*/ 143827 h 333375"/>
                  <a:gd name="connsiteX9" fmla="*/ 293370 w 463867"/>
                  <a:gd name="connsiteY9" fmla="*/ 143827 h 333375"/>
                  <a:gd name="connsiteX10" fmla="*/ 293370 w 463867"/>
                  <a:gd name="connsiteY10" fmla="*/ 189547 h 333375"/>
                  <a:gd name="connsiteX11" fmla="*/ 442913 w 463867"/>
                  <a:gd name="connsiteY11" fmla="*/ 189547 h 333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63867" h="333375">
                    <a:moveTo>
                      <a:pt x="442913" y="189547"/>
                    </a:moveTo>
                    <a:cubicBezTo>
                      <a:pt x="450532" y="189547"/>
                      <a:pt x="457200" y="191452"/>
                      <a:pt x="462915" y="194310"/>
                    </a:cubicBezTo>
                    <a:cubicBezTo>
                      <a:pt x="449580" y="273367"/>
                      <a:pt x="381000" y="333375"/>
                      <a:pt x="299085" y="333375"/>
                    </a:cubicBezTo>
                    <a:cubicBezTo>
                      <a:pt x="214313" y="333375"/>
                      <a:pt x="41910" y="200025"/>
                      <a:pt x="22860" y="184785"/>
                    </a:cubicBezTo>
                    <a:lnTo>
                      <a:pt x="0" y="166688"/>
                    </a:lnTo>
                    <a:lnTo>
                      <a:pt x="22860" y="148590"/>
                    </a:lnTo>
                    <a:cubicBezTo>
                      <a:pt x="41910" y="133350"/>
                      <a:pt x="215265" y="0"/>
                      <a:pt x="299085" y="0"/>
                    </a:cubicBezTo>
                    <a:cubicBezTo>
                      <a:pt x="383857" y="0"/>
                      <a:pt x="454343" y="63817"/>
                      <a:pt x="463868" y="146685"/>
                    </a:cubicBezTo>
                    <a:cubicBezTo>
                      <a:pt x="457200" y="144780"/>
                      <a:pt x="449580" y="143827"/>
                      <a:pt x="442913" y="143827"/>
                    </a:cubicBezTo>
                    <a:lnTo>
                      <a:pt x="293370" y="143827"/>
                    </a:lnTo>
                    <a:lnTo>
                      <a:pt x="293370" y="189547"/>
                    </a:lnTo>
                    <a:lnTo>
                      <a:pt x="442913" y="189547"/>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55" name="Freeform: Shape 60">
                <a:extLst>
                  <a:ext uri="{FF2B5EF4-FFF2-40B4-BE49-F238E27FC236}">
                    <a16:creationId xmlns:a16="http://schemas.microsoft.com/office/drawing/2014/main" id="{A0E27E6F-10A7-41C5-B623-834667E6DDBE}"/>
                  </a:ext>
                </a:extLst>
              </p:cNvPr>
              <p:cNvSpPr/>
              <p:nvPr/>
            </p:nvSpPr>
            <p:spPr>
              <a:xfrm>
                <a:off x="7052309" y="2685097"/>
                <a:ext cx="377189" cy="271462"/>
              </a:xfrm>
              <a:custGeom>
                <a:avLst/>
                <a:gdLst>
                  <a:gd name="connsiteX0" fmla="*/ 377190 w 377189"/>
                  <a:gd name="connsiteY0" fmla="*/ 135255 h 271462"/>
                  <a:gd name="connsiteX1" fmla="*/ 354330 w 377189"/>
                  <a:gd name="connsiteY1" fmla="*/ 153353 h 271462"/>
                  <a:gd name="connsiteX2" fmla="*/ 133350 w 377189"/>
                  <a:gd name="connsiteY2" fmla="*/ 271463 h 271462"/>
                  <a:gd name="connsiteX3" fmla="*/ 0 w 377189"/>
                  <a:gd name="connsiteY3" fmla="*/ 160973 h 271462"/>
                  <a:gd name="connsiteX4" fmla="*/ 28575 w 377189"/>
                  <a:gd name="connsiteY4" fmla="*/ 158115 h 271462"/>
                  <a:gd name="connsiteX5" fmla="*/ 155257 w 377189"/>
                  <a:gd name="connsiteY5" fmla="*/ 158115 h 271462"/>
                  <a:gd name="connsiteX6" fmla="*/ 155257 w 377189"/>
                  <a:gd name="connsiteY6" fmla="*/ 112395 h 271462"/>
                  <a:gd name="connsiteX7" fmla="*/ 29527 w 377189"/>
                  <a:gd name="connsiteY7" fmla="*/ 112395 h 271462"/>
                  <a:gd name="connsiteX8" fmla="*/ 0 w 377189"/>
                  <a:gd name="connsiteY8" fmla="*/ 115253 h 271462"/>
                  <a:gd name="connsiteX9" fmla="*/ 134302 w 377189"/>
                  <a:gd name="connsiteY9" fmla="*/ 0 h 271462"/>
                  <a:gd name="connsiteX10" fmla="*/ 355282 w 377189"/>
                  <a:gd name="connsiteY10" fmla="*/ 118110 h 271462"/>
                  <a:gd name="connsiteX11" fmla="*/ 377190 w 377189"/>
                  <a:gd name="connsiteY11" fmla="*/ 135255 h 2714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77189" h="271462">
                    <a:moveTo>
                      <a:pt x="377190" y="135255"/>
                    </a:moveTo>
                    <a:lnTo>
                      <a:pt x="354330" y="153353"/>
                    </a:lnTo>
                    <a:cubicBezTo>
                      <a:pt x="339090" y="165735"/>
                      <a:pt x="201930" y="271463"/>
                      <a:pt x="133350" y="271463"/>
                    </a:cubicBezTo>
                    <a:cubicBezTo>
                      <a:pt x="67627" y="271463"/>
                      <a:pt x="12382" y="223838"/>
                      <a:pt x="0" y="160973"/>
                    </a:cubicBezTo>
                    <a:cubicBezTo>
                      <a:pt x="8572" y="159068"/>
                      <a:pt x="18097" y="158115"/>
                      <a:pt x="28575" y="158115"/>
                    </a:cubicBezTo>
                    <a:lnTo>
                      <a:pt x="155257" y="158115"/>
                    </a:lnTo>
                    <a:lnTo>
                      <a:pt x="155257" y="112395"/>
                    </a:lnTo>
                    <a:lnTo>
                      <a:pt x="29527" y="112395"/>
                    </a:lnTo>
                    <a:cubicBezTo>
                      <a:pt x="19050" y="112395"/>
                      <a:pt x="9525" y="113348"/>
                      <a:pt x="0" y="115253"/>
                    </a:cubicBezTo>
                    <a:cubicBezTo>
                      <a:pt x="9525" y="49530"/>
                      <a:pt x="66675" y="0"/>
                      <a:pt x="134302" y="0"/>
                    </a:cubicBezTo>
                    <a:cubicBezTo>
                      <a:pt x="202882" y="0"/>
                      <a:pt x="340042" y="105728"/>
                      <a:pt x="355282" y="118110"/>
                    </a:cubicBezTo>
                    <a:lnTo>
                      <a:pt x="377190" y="135255"/>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sp>
          <p:nvSpPr>
            <p:cNvPr id="53" name="Freeform: Shape 58">
              <a:extLst>
                <a:ext uri="{FF2B5EF4-FFF2-40B4-BE49-F238E27FC236}">
                  <a16:creationId xmlns:a16="http://schemas.microsoft.com/office/drawing/2014/main" id="{0C53B9CB-D9A7-43BF-BA41-72F5A41D38BE}"/>
                </a:ext>
              </a:extLst>
            </p:cNvPr>
            <p:cNvSpPr/>
            <p:nvPr/>
          </p:nvSpPr>
          <p:spPr>
            <a:xfrm>
              <a:off x="6679881" y="2572702"/>
              <a:ext cx="498157" cy="721994"/>
            </a:xfrm>
            <a:custGeom>
              <a:avLst/>
              <a:gdLst>
                <a:gd name="connsiteX0" fmla="*/ 272415 w 498157"/>
                <a:gd name="connsiteY0" fmla="*/ 452438 h 721994"/>
                <a:gd name="connsiteX1" fmla="*/ 324803 w 498157"/>
                <a:gd name="connsiteY1" fmla="*/ 300990 h 721994"/>
                <a:gd name="connsiteX2" fmla="*/ 373380 w 498157"/>
                <a:gd name="connsiteY2" fmla="*/ 273367 h 721994"/>
                <a:gd name="connsiteX3" fmla="*/ 370523 w 498157"/>
                <a:gd name="connsiteY3" fmla="*/ 247650 h 721994"/>
                <a:gd name="connsiteX4" fmla="*/ 372428 w 498157"/>
                <a:gd name="connsiteY4" fmla="*/ 227647 h 721994"/>
                <a:gd name="connsiteX5" fmla="*/ 292418 w 498157"/>
                <a:gd name="connsiteY5" fmla="*/ 269557 h 721994"/>
                <a:gd name="connsiteX6" fmla="*/ 265748 w 498157"/>
                <a:gd name="connsiteY6" fmla="*/ 304800 h 721994"/>
                <a:gd name="connsiteX7" fmla="*/ 181928 w 498157"/>
                <a:gd name="connsiteY7" fmla="*/ 29527 h 721994"/>
                <a:gd name="connsiteX8" fmla="*/ 132398 w 498157"/>
                <a:gd name="connsiteY8" fmla="*/ 0 h 721994"/>
                <a:gd name="connsiteX9" fmla="*/ 133350 w 498157"/>
                <a:gd name="connsiteY9" fmla="*/ 20002 h 721994"/>
                <a:gd name="connsiteX10" fmla="*/ 131445 w 498157"/>
                <a:gd name="connsiteY10" fmla="*/ 47625 h 721994"/>
                <a:gd name="connsiteX11" fmla="*/ 149543 w 498157"/>
                <a:gd name="connsiteY11" fmla="*/ 60960 h 721994"/>
                <a:gd name="connsiteX12" fmla="*/ 226695 w 498157"/>
                <a:gd name="connsiteY12" fmla="*/ 451485 h 721994"/>
                <a:gd name="connsiteX13" fmla="*/ 0 w 498157"/>
                <a:gd name="connsiteY13" fmla="*/ 699135 h 721994"/>
                <a:gd name="connsiteX14" fmla="*/ 0 w 498157"/>
                <a:gd name="connsiteY14" fmla="*/ 721995 h 721994"/>
                <a:gd name="connsiteX15" fmla="*/ 498157 w 498157"/>
                <a:gd name="connsiteY15" fmla="*/ 721995 h 721994"/>
                <a:gd name="connsiteX16" fmla="*/ 498157 w 498157"/>
                <a:gd name="connsiteY16" fmla="*/ 699135 h 721994"/>
                <a:gd name="connsiteX17" fmla="*/ 272415 w 498157"/>
                <a:gd name="connsiteY17" fmla="*/ 452438 h 721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98157" h="721994">
                  <a:moveTo>
                    <a:pt x="272415" y="452438"/>
                  </a:moveTo>
                  <a:cubicBezTo>
                    <a:pt x="274320" y="416242"/>
                    <a:pt x="283845" y="342900"/>
                    <a:pt x="324803" y="300990"/>
                  </a:cubicBezTo>
                  <a:cubicBezTo>
                    <a:pt x="339090" y="286702"/>
                    <a:pt x="354330" y="277177"/>
                    <a:pt x="373380" y="273367"/>
                  </a:cubicBezTo>
                  <a:cubicBezTo>
                    <a:pt x="371475" y="264795"/>
                    <a:pt x="370523" y="256222"/>
                    <a:pt x="370523" y="247650"/>
                  </a:cubicBezTo>
                  <a:cubicBezTo>
                    <a:pt x="370523" y="240982"/>
                    <a:pt x="371475" y="234315"/>
                    <a:pt x="372428" y="227647"/>
                  </a:cubicBezTo>
                  <a:cubicBezTo>
                    <a:pt x="340995" y="233363"/>
                    <a:pt x="314325" y="247650"/>
                    <a:pt x="292418" y="269557"/>
                  </a:cubicBezTo>
                  <a:cubicBezTo>
                    <a:pt x="281940" y="280035"/>
                    <a:pt x="273368" y="292417"/>
                    <a:pt x="265748" y="304800"/>
                  </a:cubicBezTo>
                  <a:cubicBezTo>
                    <a:pt x="256223" y="202882"/>
                    <a:pt x="234315" y="83820"/>
                    <a:pt x="181928" y="29527"/>
                  </a:cubicBezTo>
                  <a:cubicBezTo>
                    <a:pt x="167640" y="14288"/>
                    <a:pt x="150495" y="4763"/>
                    <a:pt x="132398" y="0"/>
                  </a:cubicBezTo>
                  <a:cubicBezTo>
                    <a:pt x="133350" y="6667"/>
                    <a:pt x="133350" y="13335"/>
                    <a:pt x="133350" y="20002"/>
                  </a:cubicBezTo>
                  <a:cubicBezTo>
                    <a:pt x="133350" y="29527"/>
                    <a:pt x="132398" y="38100"/>
                    <a:pt x="131445" y="47625"/>
                  </a:cubicBezTo>
                  <a:cubicBezTo>
                    <a:pt x="137160" y="50482"/>
                    <a:pt x="143828" y="55245"/>
                    <a:pt x="149543" y="60960"/>
                  </a:cubicBezTo>
                  <a:cubicBezTo>
                    <a:pt x="214313" y="127635"/>
                    <a:pt x="227648" y="348615"/>
                    <a:pt x="226695" y="451485"/>
                  </a:cubicBezTo>
                  <a:cubicBezTo>
                    <a:pt x="100013" y="462915"/>
                    <a:pt x="0" y="569595"/>
                    <a:pt x="0" y="699135"/>
                  </a:cubicBezTo>
                  <a:lnTo>
                    <a:pt x="0" y="721995"/>
                  </a:lnTo>
                  <a:lnTo>
                    <a:pt x="498157" y="721995"/>
                  </a:lnTo>
                  <a:lnTo>
                    <a:pt x="498157" y="699135"/>
                  </a:lnTo>
                  <a:cubicBezTo>
                    <a:pt x="498157" y="571500"/>
                    <a:pt x="398145" y="464820"/>
                    <a:pt x="272415" y="45243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sp>
        <p:nvSpPr>
          <p:cNvPr id="56" name="TextBox 62">
            <a:extLst>
              <a:ext uri="{FF2B5EF4-FFF2-40B4-BE49-F238E27FC236}">
                <a16:creationId xmlns:a16="http://schemas.microsoft.com/office/drawing/2014/main" id="{87C3E959-5038-4414-81AF-342E2D87FBDE}"/>
              </a:ext>
            </a:extLst>
          </p:cNvPr>
          <p:cNvSpPr txBox="1"/>
          <p:nvPr/>
        </p:nvSpPr>
        <p:spPr>
          <a:xfrm rot="2816497">
            <a:off x="4406028" y="3977837"/>
            <a:ext cx="821059" cy="276999"/>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ID" sz="1200" b="1" i="0" u="none" strike="noStrike" kern="1200" cap="none" spc="0" normalizeH="0" baseline="0" noProof="0">
                <a:ln>
                  <a:noFill/>
                </a:ln>
                <a:solidFill>
                  <a:srgbClr val="F0F0F0"/>
                </a:solidFill>
                <a:effectLst/>
                <a:uLnTx/>
                <a:uFillTx/>
                <a:latin typeface="等线 Light" panose="020F0302020204030204"/>
                <a:ea typeface="+mn-ea"/>
                <a:cs typeface="+mn-cs"/>
              </a:rPr>
              <a:t>Training</a:t>
            </a:r>
            <a:endParaRPr kumimoji="0" lang="id-ID" sz="1200" b="1" i="0" u="none" strike="noStrike" kern="1200" cap="none" spc="0" normalizeH="0" baseline="0" noProof="0" dirty="0">
              <a:ln>
                <a:noFill/>
              </a:ln>
              <a:solidFill>
                <a:srgbClr val="F0F0F0"/>
              </a:solidFill>
              <a:effectLst/>
              <a:uLnTx/>
              <a:uFillTx/>
              <a:latin typeface="等线 Light" panose="020F0302020204030204"/>
              <a:ea typeface="+mn-ea"/>
              <a:cs typeface="+mn-cs"/>
            </a:endParaRPr>
          </a:p>
        </p:txBody>
      </p:sp>
      <p:sp>
        <p:nvSpPr>
          <p:cNvPr id="57" name="TextBox 63">
            <a:extLst>
              <a:ext uri="{FF2B5EF4-FFF2-40B4-BE49-F238E27FC236}">
                <a16:creationId xmlns:a16="http://schemas.microsoft.com/office/drawing/2014/main" id="{2F9263E8-B501-4419-8395-C8D79302FF44}"/>
              </a:ext>
            </a:extLst>
          </p:cNvPr>
          <p:cNvSpPr txBox="1"/>
          <p:nvPr/>
        </p:nvSpPr>
        <p:spPr>
          <a:xfrm rot="5592769">
            <a:off x="5661579" y="2753943"/>
            <a:ext cx="747320" cy="276999"/>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ID" sz="1200" b="1" i="0" u="none" strike="noStrike" kern="1200" cap="none" spc="0" normalizeH="0" baseline="0" noProof="0">
                <a:ln>
                  <a:noFill/>
                </a:ln>
                <a:solidFill>
                  <a:srgbClr val="F0F0F0"/>
                </a:solidFill>
                <a:effectLst/>
                <a:uLnTx/>
                <a:uFillTx/>
                <a:latin typeface="等线 Light" panose="020F0302020204030204"/>
                <a:ea typeface="+mn-ea"/>
                <a:cs typeface="+mn-cs"/>
              </a:rPr>
              <a:t>Explore</a:t>
            </a:r>
            <a:endParaRPr kumimoji="0" lang="id-ID" sz="1200" b="1" i="0" u="none" strike="noStrike" kern="1200" cap="none" spc="0" normalizeH="0" baseline="0" noProof="0" dirty="0">
              <a:ln>
                <a:noFill/>
              </a:ln>
              <a:solidFill>
                <a:srgbClr val="F0F0F0"/>
              </a:solidFill>
              <a:effectLst/>
              <a:uLnTx/>
              <a:uFillTx/>
              <a:latin typeface="等线 Light" panose="020F0302020204030204"/>
              <a:ea typeface="+mn-ea"/>
              <a:cs typeface="+mn-cs"/>
            </a:endParaRPr>
          </a:p>
        </p:txBody>
      </p:sp>
      <p:sp>
        <p:nvSpPr>
          <p:cNvPr id="58" name="TextBox 64">
            <a:extLst>
              <a:ext uri="{FF2B5EF4-FFF2-40B4-BE49-F238E27FC236}">
                <a16:creationId xmlns:a16="http://schemas.microsoft.com/office/drawing/2014/main" id="{5EFA38AA-E9A4-4DD2-9F25-A832177E1EA5}"/>
              </a:ext>
            </a:extLst>
          </p:cNvPr>
          <p:cNvSpPr txBox="1"/>
          <p:nvPr/>
        </p:nvSpPr>
        <p:spPr>
          <a:xfrm rot="1138511">
            <a:off x="4992397" y="5396780"/>
            <a:ext cx="808235" cy="276999"/>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ID" sz="1200" b="1" i="0" u="none" strike="noStrike" kern="1200" cap="none" spc="0" normalizeH="0" baseline="0" noProof="0">
                <a:ln>
                  <a:noFill/>
                </a:ln>
                <a:solidFill>
                  <a:srgbClr val="F0F0F0"/>
                </a:solidFill>
                <a:effectLst/>
                <a:uLnTx/>
                <a:uFillTx/>
                <a:latin typeface="等线 Light" panose="020F0302020204030204"/>
                <a:ea typeface="+mn-ea"/>
                <a:cs typeface="+mn-cs"/>
              </a:rPr>
              <a:t>Building</a:t>
            </a:r>
            <a:endParaRPr kumimoji="0" lang="id-ID" sz="1200" b="1" i="0" u="none" strike="noStrike" kern="1200" cap="none" spc="0" normalizeH="0" baseline="0" noProof="0" dirty="0">
              <a:ln>
                <a:noFill/>
              </a:ln>
              <a:solidFill>
                <a:srgbClr val="F0F0F0"/>
              </a:solidFill>
              <a:effectLst/>
              <a:uLnTx/>
              <a:uFillTx/>
              <a:latin typeface="等线 Light" panose="020F0302020204030204"/>
              <a:ea typeface="+mn-ea"/>
              <a:cs typeface="+mn-cs"/>
            </a:endParaRPr>
          </a:p>
        </p:txBody>
      </p:sp>
      <p:sp>
        <p:nvSpPr>
          <p:cNvPr id="59" name="TextBox 65">
            <a:extLst>
              <a:ext uri="{FF2B5EF4-FFF2-40B4-BE49-F238E27FC236}">
                <a16:creationId xmlns:a16="http://schemas.microsoft.com/office/drawing/2014/main" id="{EDE12161-F71B-4812-98EC-AE8CE5E87C5A}"/>
              </a:ext>
            </a:extLst>
          </p:cNvPr>
          <p:cNvSpPr txBox="1"/>
          <p:nvPr/>
        </p:nvSpPr>
        <p:spPr>
          <a:xfrm rot="5099658">
            <a:off x="6207572" y="3862362"/>
            <a:ext cx="987771" cy="276999"/>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ID" sz="1200" b="1" i="0" u="none" strike="noStrike" kern="1200" cap="none" spc="0" normalizeH="0" baseline="0" noProof="0">
                <a:ln>
                  <a:noFill/>
                </a:ln>
                <a:solidFill>
                  <a:srgbClr val="F0F0F0"/>
                </a:solidFill>
                <a:effectLst/>
                <a:uLnTx/>
                <a:uFillTx/>
                <a:latin typeface="等线 Light" panose="020F0302020204030204"/>
                <a:ea typeface="+mn-ea"/>
                <a:cs typeface="+mn-cs"/>
              </a:rPr>
              <a:t>Oportunity</a:t>
            </a:r>
            <a:endParaRPr kumimoji="0" lang="id-ID" sz="1200" b="1" i="0" u="none" strike="noStrike" kern="1200" cap="none" spc="0" normalizeH="0" baseline="0" noProof="0" dirty="0">
              <a:ln>
                <a:noFill/>
              </a:ln>
              <a:solidFill>
                <a:srgbClr val="F0F0F0"/>
              </a:solidFill>
              <a:effectLst/>
              <a:uLnTx/>
              <a:uFillTx/>
              <a:latin typeface="等线 Light" panose="020F0302020204030204"/>
              <a:ea typeface="+mn-ea"/>
              <a:cs typeface="+mn-cs"/>
            </a:endParaRPr>
          </a:p>
        </p:txBody>
      </p:sp>
      <p:sp>
        <p:nvSpPr>
          <p:cNvPr id="60" name="TextBox 66">
            <a:extLst>
              <a:ext uri="{FF2B5EF4-FFF2-40B4-BE49-F238E27FC236}">
                <a16:creationId xmlns:a16="http://schemas.microsoft.com/office/drawing/2014/main" id="{F68416B0-F167-4519-95EB-D30FA5431EEA}"/>
              </a:ext>
            </a:extLst>
          </p:cNvPr>
          <p:cNvSpPr txBox="1"/>
          <p:nvPr/>
        </p:nvSpPr>
        <p:spPr>
          <a:xfrm rot="1816292">
            <a:off x="4592869" y="1971930"/>
            <a:ext cx="928459" cy="276999"/>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ID" sz="1200" b="1" i="0" u="none" strike="noStrike" kern="1200" cap="none" spc="0" normalizeH="0" baseline="0" noProof="0">
                <a:ln>
                  <a:noFill/>
                </a:ln>
                <a:solidFill>
                  <a:srgbClr val="F0F0F0"/>
                </a:solidFill>
                <a:effectLst/>
                <a:uLnTx/>
                <a:uFillTx/>
                <a:latin typeface="等线 Light" panose="020F0302020204030204"/>
                <a:ea typeface="+mn-ea"/>
                <a:cs typeface="+mn-cs"/>
              </a:rPr>
              <a:t>Education</a:t>
            </a:r>
            <a:endParaRPr kumimoji="0" lang="id-ID" sz="1200" b="1" i="0" u="none" strike="noStrike" kern="1200" cap="none" spc="0" normalizeH="0" baseline="0" noProof="0" dirty="0">
              <a:ln>
                <a:noFill/>
              </a:ln>
              <a:solidFill>
                <a:srgbClr val="F0F0F0"/>
              </a:solidFill>
              <a:effectLst/>
              <a:uLnTx/>
              <a:uFillTx/>
              <a:latin typeface="等线 Light" panose="020F0302020204030204"/>
              <a:ea typeface="+mn-ea"/>
              <a:cs typeface="+mn-cs"/>
            </a:endParaRPr>
          </a:p>
        </p:txBody>
      </p:sp>
    </p:spTree>
    <p:extLst>
      <p:ext uri="{BB962C8B-B14F-4D97-AF65-F5344CB8AC3E}">
        <p14:creationId xmlns:p14="http://schemas.microsoft.com/office/powerpoint/2010/main" val="2510998765"/>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par>
                          <p:cTn id="8" fill="hold">
                            <p:stCondLst>
                              <p:cond delay="500"/>
                            </p:stCondLst>
                            <p:childTnLst>
                              <p:par>
                                <p:cTn id="9" presetID="22" presetClass="entr" presetSubtype="4" fill="hold" grpId="0" nodeType="afterEffect">
                                  <p:stCondLst>
                                    <p:cond delay="0"/>
                                  </p:stCondLst>
                                  <p:childTnLst>
                                    <p:set>
                                      <p:cBhvr>
                                        <p:cTn id="10" dur="1" fill="hold">
                                          <p:stCondLst>
                                            <p:cond delay="0"/>
                                          </p:stCondLst>
                                        </p:cTn>
                                        <p:tgtEl>
                                          <p:spTgt spid="4"/>
                                        </p:tgtEl>
                                        <p:attrNameLst>
                                          <p:attrName>style.visibility</p:attrName>
                                        </p:attrNameLst>
                                      </p:cBhvr>
                                      <p:to>
                                        <p:strVal val="visible"/>
                                      </p:to>
                                    </p:set>
                                    <p:animEffect transition="in" filter="wipe(down)">
                                      <p:cBhvr>
                                        <p:cTn id="11" dur="500"/>
                                        <p:tgtEl>
                                          <p:spTgt spid="4"/>
                                        </p:tgtEl>
                                      </p:cBhvr>
                                    </p:animEffect>
                                  </p:childTnLst>
                                </p:cTn>
                              </p:par>
                            </p:childTnLst>
                          </p:cTn>
                        </p:par>
                        <p:par>
                          <p:cTn id="12" fill="hold">
                            <p:stCondLst>
                              <p:cond delay="1000"/>
                            </p:stCondLst>
                            <p:childTnLst>
                              <p:par>
                                <p:cTn id="13" presetID="22" presetClass="entr" presetSubtype="4" fill="hold" grpId="0" nodeType="afterEffect">
                                  <p:stCondLst>
                                    <p:cond delay="0"/>
                                  </p:stCondLst>
                                  <p:childTnLst>
                                    <p:set>
                                      <p:cBhvr>
                                        <p:cTn id="14" dur="1" fill="hold">
                                          <p:stCondLst>
                                            <p:cond delay="0"/>
                                          </p:stCondLst>
                                        </p:cTn>
                                        <p:tgtEl>
                                          <p:spTgt spid="58"/>
                                        </p:tgtEl>
                                        <p:attrNameLst>
                                          <p:attrName>style.visibility</p:attrName>
                                        </p:attrNameLst>
                                      </p:cBhvr>
                                      <p:to>
                                        <p:strVal val="visible"/>
                                      </p:to>
                                    </p:set>
                                    <p:animEffect transition="in" filter="wipe(down)">
                                      <p:cBhvr>
                                        <p:cTn id="15" dur="500"/>
                                        <p:tgtEl>
                                          <p:spTgt spid="58"/>
                                        </p:tgtEl>
                                      </p:cBhvr>
                                    </p:animEffect>
                                  </p:childTnLst>
                                </p:cTn>
                              </p:par>
                              <p:par>
                                <p:cTn id="16" presetID="22" presetClass="entr" presetSubtype="4" fill="hold" grpId="0" nodeType="withEffect">
                                  <p:stCondLst>
                                    <p:cond delay="0"/>
                                  </p:stCondLst>
                                  <p:childTnLst>
                                    <p:set>
                                      <p:cBhvr>
                                        <p:cTn id="17" dur="1" fill="hold">
                                          <p:stCondLst>
                                            <p:cond delay="0"/>
                                          </p:stCondLst>
                                        </p:cTn>
                                        <p:tgtEl>
                                          <p:spTgt spid="20"/>
                                        </p:tgtEl>
                                        <p:attrNameLst>
                                          <p:attrName>style.visibility</p:attrName>
                                        </p:attrNameLst>
                                      </p:cBhvr>
                                      <p:to>
                                        <p:strVal val="visible"/>
                                      </p:to>
                                    </p:set>
                                    <p:animEffect transition="in" filter="wipe(down)">
                                      <p:cBhvr>
                                        <p:cTn id="18" dur="500"/>
                                        <p:tgtEl>
                                          <p:spTgt spid="20"/>
                                        </p:tgtEl>
                                      </p:cBhvr>
                                    </p:animEffect>
                                  </p:childTnLst>
                                </p:cTn>
                              </p:par>
                            </p:childTnLst>
                          </p:cTn>
                        </p:par>
                        <p:par>
                          <p:cTn id="19" fill="hold">
                            <p:stCondLst>
                              <p:cond delay="1500"/>
                            </p:stCondLst>
                            <p:childTnLst>
                              <p:par>
                                <p:cTn id="20" presetID="22" presetClass="entr" presetSubtype="4" fill="hold" grpId="0" nodeType="afterEffect">
                                  <p:stCondLst>
                                    <p:cond delay="0"/>
                                  </p:stCondLst>
                                  <p:childTnLst>
                                    <p:set>
                                      <p:cBhvr>
                                        <p:cTn id="21" dur="1" fill="hold">
                                          <p:stCondLst>
                                            <p:cond delay="0"/>
                                          </p:stCondLst>
                                        </p:cTn>
                                        <p:tgtEl>
                                          <p:spTgt spid="19"/>
                                        </p:tgtEl>
                                        <p:attrNameLst>
                                          <p:attrName>style.visibility</p:attrName>
                                        </p:attrNameLst>
                                      </p:cBhvr>
                                      <p:to>
                                        <p:strVal val="visible"/>
                                      </p:to>
                                    </p:set>
                                    <p:animEffect transition="in" filter="wipe(down)">
                                      <p:cBhvr>
                                        <p:cTn id="22" dur="500"/>
                                        <p:tgtEl>
                                          <p:spTgt spid="19"/>
                                        </p:tgtEl>
                                      </p:cBhvr>
                                    </p:animEffect>
                                  </p:childTnLst>
                                </p:cTn>
                              </p:par>
                            </p:childTnLst>
                          </p:cTn>
                        </p:par>
                        <p:par>
                          <p:cTn id="23" fill="hold">
                            <p:stCondLst>
                              <p:cond delay="2000"/>
                            </p:stCondLst>
                            <p:childTnLst>
                              <p:par>
                                <p:cTn id="24" presetID="22" presetClass="entr" presetSubtype="4" fill="hold" grpId="0" nodeType="afterEffect">
                                  <p:stCondLst>
                                    <p:cond delay="0"/>
                                  </p:stCondLst>
                                  <p:childTnLst>
                                    <p:set>
                                      <p:cBhvr>
                                        <p:cTn id="25" dur="1" fill="hold">
                                          <p:stCondLst>
                                            <p:cond delay="0"/>
                                          </p:stCondLst>
                                        </p:cTn>
                                        <p:tgtEl>
                                          <p:spTgt spid="9"/>
                                        </p:tgtEl>
                                        <p:attrNameLst>
                                          <p:attrName>style.visibility</p:attrName>
                                        </p:attrNameLst>
                                      </p:cBhvr>
                                      <p:to>
                                        <p:strVal val="visible"/>
                                      </p:to>
                                    </p:set>
                                    <p:animEffect transition="in" filter="wipe(down)">
                                      <p:cBhvr>
                                        <p:cTn id="26" dur="500"/>
                                        <p:tgtEl>
                                          <p:spTgt spid="9"/>
                                        </p:tgtEl>
                                      </p:cBhvr>
                                    </p:animEffect>
                                  </p:childTnLst>
                                </p:cTn>
                              </p:par>
                            </p:childTnLst>
                          </p:cTn>
                        </p:par>
                        <p:par>
                          <p:cTn id="27" fill="hold">
                            <p:stCondLst>
                              <p:cond delay="2500"/>
                            </p:stCondLst>
                            <p:childTnLst>
                              <p:par>
                                <p:cTn id="28" presetID="22" presetClass="entr" presetSubtype="4" fill="hold" grpId="0" nodeType="afterEffect">
                                  <p:stCondLst>
                                    <p:cond delay="0"/>
                                  </p:stCondLst>
                                  <p:childTnLst>
                                    <p:set>
                                      <p:cBhvr>
                                        <p:cTn id="29" dur="1" fill="hold">
                                          <p:stCondLst>
                                            <p:cond delay="0"/>
                                          </p:stCondLst>
                                        </p:cTn>
                                        <p:tgtEl>
                                          <p:spTgt spid="10"/>
                                        </p:tgtEl>
                                        <p:attrNameLst>
                                          <p:attrName>style.visibility</p:attrName>
                                        </p:attrNameLst>
                                      </p:cBhvr>
                                      <p:to>
                                        <p:strVal val="visible"/>
                                      </p:to>
                                    </p:set>
                                    <p:animEffect transition="in" filter="wipe(down)">
                                      <p:cBhvr>
                                        <p:cTn id="30" dur="500"/>
                                        <p:tgtEl>
                                          <p:spTgt spid="10"/>
                                        </p:tgtEl>
                                      </p:cBhvr>
                                    </p:animEffect>
                                  </p:childTnLst>
                                </p:cTn>
                              </p:par>
                            </p:childTnLst>
                          </p:cTn>
                        </p:par>
                        <p:par>
                          <p:cTn id="31" fill="hold">
                            <p:stCondLst>
                              <p:cond delay="3000"/>
                            </p:stCondLst>
                            <p:childTnLst>
                              <p:par>
                                <p:cTn id="32" presetID="22" presetClass="entr" presetSubtype="4" fill="hold" grpId="0" nodeType="afterEffect">
                                  <p:stCondLst>
                                    <p:cond delay="0"/>
                                  </p:stCondLst>
                                  <p:childTnLst>
                                    <p:set>
                                      <p:cBhvr>
                                        <p:cTn id="33" dur="1" fill="hold">
                                          <p:stCondLst>
                                            <p:cond delay="0"/>
                                          </p:stCondLst>
                                        </p:cTn>
                                        <p:tgtEl>
                                          <p:spTgt spid="56"/>
                                        </p:tgtEl>
                                        <p:attrNameLst>
                                          <p:attrName>style.visibility</p:attrName>
                                        </p:attrNameLst>
                                      </p:cBhvr>
                                      <p:to>
                                        <p:strVal val="visible"/>
                                      </p:to>
                                    </p:set>
                                    <p:animEffect transition="in" filter="wipe(down)">
                                      <p:cBhvr>
                                        <p:cTn id="34" dur="500"/>
                                        <p:tgtEl>
                                          <p:spTgt spid="56"/>
                                        </p:tgtEl>
                                      </p:cBhvr>
                                    </p:animEffect>
                                  </p:childTnLst>
                                </p:cTn>
                              </p:par>
                              <p:par>
                                <p:cTn id="35" presetID="22" presetClass="entr" presetSubtype="4" fill="hold" grpId="0" nodeType="withEffect">
                                  <p:stCondLst>
                                    <p:cond delay="0"/>
                                  </p:stCondLst>
                                  <p:childTnLst>
                                    <p:set>
                                      <p:cBhvr>
                                        <p:cTn id="36" dur="1" fill="hold">
                                          <p:stCondLst>
                                            <p:cond delay="0"/>
                                          </p:stCondLst>
                                        </p:cTn>
                                        <p:tgtEl>
                                          <p:spTgt spid="6"/>
                                        </p:tgtEl>
                                        <p:attrNameLst>
                                          <p:attrName>style.visibility</p:attrName>
                                        </p:attrNameLst>
                                      </p:cBhvr>
                                      <p:to>
                                        <p:strVal val="visible"/>
                                      </p:to>
                                    </p:set>
                                    <p:animEffect transition="in" filter="wipe(down)">
                                      <p:cBhvr>
                                        <p:cTn id="37" dur="500"/>
                                        <p:tgtEl>
                                          <p:spTgt spid="6"/>
                                        </p:tgtEl>
                                      </p:cBhvr>
                                    </p:animEffect>
                                  </p:childTnLst>
                                </p:cTn>
                              </p:par>
                            </p:childTnLst>
                          </p:cTn>
                        </p:par>
                        <p:par>
                          <p:cTn id="38" fill="hold">
                            <p:stCondLst>
                              <p:cond delay="3500"/>
                            </p:stCondLst>
                            <p:childTnLst>
                              <p:par>
                                <p:cTn id="39" presetID="22" presetClass="entr" presetSubtype="4" fill="hold" grpId="0" nodeType="afterEffect">
                                  <p:stCondLst>
                                    <p:cond delay="0"/>
                                  </p:stCondLst>
                                  <p:childTnLst>
                                    <p:set>
                                      <p:cBhvr>
                                        <p:cTn id="40" dur="1" fill="hold">
                                          <p:stCondLst>
                                            <p:cond delay="0"/>
                                          </p:stCondLst>
                                        </p:cTn>
                                        <p:tgtEl>
                                          <p:spTgt spid="8"/>
                                        </p:tgtEl>
                                        <p:attrNameLst>
                                          <p:attrName>style.visibility</p:attrName>
                                        </p:attrNameLst>
                                      </p:cBhvr>
                                      <p:to>
                                        <p:strVal val="visible"/>
                                      </p:to>
                                    </p:set>
                                    <p:animEffect transition="in" filter="wipe(down)">
                                      <p:cBhvr>
                                        <p:cTn id="41" dur="500"/>
                                        <p:tgtEl>
                                          <p:spTgt spid="8"/>
                                        </p:tgtEl>
                                      </p:cBhvr>
                                    </p:animEffect>
                                  </p:childTnLst>
                                </p:cTn>
                              </p:par>
                            </p:childTnLst>
                          </p:cTn>
                        </p:par>
                        <p:par>
                          <p:cTn id="42" fill="hold">
                            <p:stCondLst>
                              <p:cond delay="4000"/>
                            </p:stCondLst>
                            <p:childTnLst>
                              <p:par>
                                <p:cTn id="43" presetID="22" presetClass="entr" presetSubtype="4" fill="hold" grpId="0" nodeType="afterEffect">
                                  <p:stCondLst>
                                    <p:cond delay="0"/>
                                  </p:stCondLst>
                                  <p:childTnLst>
                                    <p:set>
                                      <p:cBhvr>
                                        <p:cTn id="44" dur="1" fill="hold">
                                          <p:stCondLst>
                                            <p:cond delay="0"/>
                                          </p:stCondLst>
                                        </p:cTn>
                                        <p:tgtEl>
                                          <p:spTgt spid="21"/>
                                        </p:tgtEl>
                                        <p:attrNameLst>
                                          <p:attrName>style.visibility</p:attrName>
                                        </p:attrNameLst>
                                      </p:cBhvr>
                                      <p:to>
                                        <p:strVal val="visible"/>
                                      </p:to>
                                    </p:set>
                                    <p:animEffect transition="in" filter="wipe(down)">
                                      <p:cBhvr>
                                        <p:cTn id="45" dur="500"/>
                                        <p:tgtEl>
                                          <p:spTgt spid="21"/>
                                        </p:tgtEl>
                                      </p:cBhvr>
                                    </p:animEffect>
                                  </p:childTnLst>
                                </p:cTn>
                              </p:par>
                              <p:par>
                                <p:cTn id="46" presetID="22" presetClass="entr" presetSubtype="4" fill="hold" grpId="0" nodeType="withEffect">
                                  <p:stCondLst>
                                    <p:cond delay="0"/>
                                  </p:stCondLst>
                                  <p:childTnLst>
                                    <p:set>
                                      <p:cBhvr>
                                        <p:cTn id="47" dur="1" fill="hold">
                                          <p:stCondLst>
                                            <p:cond delay="0"/>
                                          </p:stCondLst>
                                        </p:cTn>
                                        <p:tgtEl>
                                          <p:spTgt spid="42"/>
                                        </p:tgtEl>
                                        <p:attrNameLst>
                                          <p:attrName>style.visibility</p:attrName>
                                        </p:attrNameLst>
                                      </p:cBhvr>
                                      <p:to>
                                        <p:strVal val="visible"/>
                                      </p:to>
                                    </p:set>
                                    <p:animEffect transition="in" filter="wipe(down)">
                                      <p:cBhvr>
                                        <p:cTn id="48" dur="500"/>
                                        <p:tgtEl>
                                          <p:spTgt spid="42"/>
                                        </p:tgtEl>
                                      </p:cBhvr>
                                    </p:animEffect>
                                  </p:childTnLst>
                                </p:cTn>
                              </p:par>
                            </p:childTnLst>
                          </p:cTn>
                        </p:par>
                        <p:par>
                          <p:cTn id="49" fill="hold">
                            <p:stCondLst>
                              <p:cond delay="4500"/>
                            </p:stCondLst>
                            <p:childTnLst>
                              <p:par>
                                <p:cTn id="50" presetID="22" presetClass="entr" presetSubtype="2" fill="hold" nodeType="afterEffect">
                                  <p:stCondLst>
                                    <p:cond delay="0"/>
                                  </p:stCondLst>
                                  <p:childTnLst>
                                    <p:set>
                                      <p:cBhvr>
                                        <p:cTn id="51" dur="1" fill="hold">
                                          <p:stCondLst>
                                            <p:cond delay="0"/>
                                          </p:stCondLst>
                                        </p:cTn>
                                        <p:tgtEl>
                                          <p:spTgt spid="25"/>
                                        </p:tgtEl>
                                        <p:attrNameLst>
                                          <p:attrName>style.visibility</p:attrName>
                                        </p:attrNameLst>
                                      </p:cBhvr>
                                      <p:to>
                                        <p:strVal val="visible"/>
                                      </p:to>
                                    </p:set>
                                    <p:animEffect transition="in" filter="wipe(right)">
                                      <p:cBhvr>
                                        <p:cTn id="52" dur="500"/>
                                        <p:tgtEl>
                                          <p:spTgt spid="25"/>
                                        </p:tgtEl>
                                      </p:cBhvr>
                                    </p:animEffect>
                                  </p:childTnLst>
                                </p:cTn>
                              </p:par>
                            </p:childTnLst>
                          </p:cTn>
                        </p:par>
                        <p:par>
                          <p:cTn id="53" fill="hold">
                            <p:stCondLst>
                              <p:cond delay="5000"/>
                            </p:stCondLst>
                            <p:childTnLst>
                              <p:par>
                                <p:cTn id="54" presetID="10" presetClass="entr" presetSubtype="0" fill="hold" grpId="0" nodeType="afterEffect">
                                  <p:stCondLst>
                                    <p:cond delay="0"/>
                                  </p:stCondLst>
                                  <p:childTnLst>
                                    <p:set>
                                      <p:cBhvr>
                                        <p:cTn id="55" dur="1" fill="hold">
                                          <p:stCondLst>
                                            <p:cond delay="0"/>
                                          </p:stCondLst>
                                        </p:cTn>
                                        <p:tgtEl>
                                          <p:spTgt spid="40"/>
                                        </p:tgtEl>
                                        <p:attrNameLst>
                                          <p:attrName>style.visibility</p:attrName>
                                        </p:attrNameLst>
                                      </p:cBhvr>
                                      <p:to>
                                        <p:strVal val="visible"/>
                                      </p:to>
                                    </p:set>
                                    <p:animEffect transition="in" filter="fade">
                                      <p:cBhvr>
                                        <p:cTn id="56" dur="500"/>
                                        <p:tgtEl>
                                          <p:spTgt spid="40"/>
                                        </p:tgtEl>
                                      </p:cBhvr>
                                    </p:animEffect>
                                  </p:childTnLst>
                                </p:cTn>
                              </p:par>
                              <p:par>
                                <p:cTn id="57" presetID="10" presetClass="entr" presetSubtype="0" fill="hold" grpId="0" nodeType="withEffect">
                                  <p:stCondLst>
                                    <p:cond delay="0"/>
                                  </p:stCondLst>
                                  <p:childTnLst>
                                    <p:set>
                                      <p:cBhvr>
                                        <p:cTn id="58" dur="1" fill="hold">
                                          <p:stCondLst>
                                            <p:cond delay="0"/>
                                          </p:stCondLst>
                                        </p:cTn>
                                        <p:tgtEl>
                                          <p:spTgt spid="41"/>
                                        </p:tgtEl>
                                        <p:attrNameLst>
                                          <p:attrName>style.visibility</p:attrName>
                                        </p:attrNameLst>
                                      </p:cBhvr>
                                      <p:to>
                                        <p:strVal val="visible"/>
                                      </p:to>
                                    </p:set>
                                    <p:animEffect transition="in" filter="fade">
                                      <p:cBhvr>
                                        <p:cTn id="59" dur="500"/>
                                        <p:tgtEl>
                                          <p:spTgt spid="41"/>
                                        </p:tgtEl>
                                      </p:cBhvr>
                                    </p:animEffect>
                                  </p:childTnLst>
                                </p:cTn>
                              </p:par>
                            </p:childTnLst>
                          </p:cTn>
                        </p:par>
                        <p:par>
                          <p:cTn id="60" fill="hold">
                            <p:stCondLst>
                              <p:cond delay="5500"/>
                            </p:stCondLst>
                            <p:childTnLst>
                              <p:par>
                                <p:cTn id="61" presetID="22" presetClass="entr" presetSubtype="4" fill="hold" grpId="0" nodeType="afterEffect">
                                  <p:stCondLst>
                                    <p:cond delay="0"/>
                                  </p:stCondLst>
                                  <p:childTnLst>
                                    <p:set>
                                      <p:cBhvr>
                                        <p:cTn id="62" dur="1" fill="hold">
                                          <p:stCondLst>
                                            <p:cond delay="0"/>
                                          </p:stCondLst>
                                        </p:cTn>
                                        <p:tgtEl>
                                          <p:spTgt spid="16"/>
                                        </p:tgtEl>
                                        <p:attrNameLst>
                                          <p:attrName>style.visibility</p:attrName>
                                        </p:attrNameLst>
                                      </p:cBhvr>
                                      <p:to>
                                        <p:strVal val="visible"/>
                                      </p:to>
                                    </p:set>
                                    <p:animEffect transition="in" filter="wipe(down)">
                                      <p:cBhvr>
                                        <p:cTn id="63" dur="500"/>
                                        <p:tgtEl>
                                          <p:spTgt spid="16"/>
                                        </p:tgtEl>
                                      </p:cBhvr>
                                    </p:animEffect>
                                  </p:childTnLst>
                                </p:cTn>
                              </p:par>
                              <p:par>
                                <p:cTn id="64" presetID="22" presetClass="entr" presetSubtype="4" fill="hold" grpId="0" nodeType="withEffect">
                                  <p:stCondLst>
                                    <p:cond delay="0"/>
                                  </p:stCondLst>
                                  <p:childTnLst>
                                    <p:set>
                                      <p:cBhvr>
                                        <p:cTn id="65" dur="1" fill="hold">
                                          <p:stCondLst>
                                            <p:cond delay="0"/>
                                          </p:stCondLst>
                                        </p:cTn>
                                        <p:tgtEl>
                                          <p:spTgt spid="57"/>
                                        </p:tgtEl>
                                        <p:attrNameLst>
                                          <p:attrName>style.visibility</p:attrName>
                                        </p:attrNameLst>
                                      </p:cBhvr>
                                      <p:to>
                                        <p:strVal val="visible"/>
                                      </p:to>
                                    </p:set>
                                    <p:animEffect transition="in" filter="wipe(down)">
                                      <p:cBhvr>
                                        <p:cTn id="66" dur="500"/>
                                        <p:tgtEl>
                                          <p:spTgt spid="57"/>
                                        </p:tgtEl>
                                      </p:cBhvr>
                                    </p:animEffect>
                                  </p:childTnLst>
                                </p:cTn>
                              </p:par>
                            </p:childTnLst>
                          </p:cTn>
                        </p:par>
                        <p:par>
                          <p:cTn id="67" fill="hold">
                            <p:stCondLst>
                              <p:cond delay="6000"/>
                            </p:stCondLst>
                            <p:childTnLst>
                              <p:par>
                                <p:cTn id="68" presetID="22" presetClass="entr" presetSubtype="4" fill="hold" grpId="0" nodeType="afterEffect">
                                  <p:stCondLst>
                                    <p:cond delay="0"/>
                                  </p:stCondLst>
                                  <p:childTnLst>
                                    <p:set>
                                      <p:cBhvr>
                                        <p:cTn id="69" dur="1" fill="hold">
                                          <p:stCondLst>
                                            <p:cond delay="0"/>
                                          </p:stCondLst>
                                        </p:cTn>
                                        <p:tgtEl>
                                          <p:spTgt spid="12"/>
                                        </p:tgtEl>
                                        <p:attrNameLst>
                                          <p:attrName>style.visibility</p:attrName>
                                        </p:attrNameLst>
                                      </p:cBhvr>
                                      <p:to>
                                        <p:strVal val="visible"/>
                                      </p:to>
                                    </p:set>
                                    <p:animEffect transition="in" filter="wipe(down)">
                                      <p:cBhvr>
                                        <p:cTn id="70" dur="500"/>
                                        <p:tgtEl>
                                          <p:spTgt spid="12"/>
                                        </p:tgtEl>
                                      </p:cBhvr>
                                    </p:animEffect>
                                  </p:childTnLst>
                                </p:cTn>
                              </p:par>
                            </p:childTnLst>
                          </p:cTn>
                        </p:par>
                        <p:par>
                          <p:cTn id="71" fill="hold">
                            <p:stCondLst>
                              <p:cond delay="6500"/>
                            </p:stCondLst>
                            <p:childTnLst>
                              <p:par>
                                <p:cTn id="72" presetID="22" presetClass="entr" presetSubtype="4" fill="hold" grpId="0" nodeType="afterEffect">
                                  <p:stCondLst>
                                    <p:cond delay="0"/>
                                  </p:stCondLst>
                                  <p:childTnLst>
                                    <p:set>
                                      <p:cBhvr>
                                        <p:cTn id="73" dur="1" fill="hold">
                                          <p:stCondLst>
                                            <p:cond delay="0"/>
                                          </p:stCondLst>
                                        </p:cTn>
                                        <p:tgtEl>
                                          <p:spTgt spid="60"/>
                                        </p:tgtEl>
                                        <p:attrNameLst>
                                          <p:attrName>style.visibility</p:attrName>
                                        </p:attrNameLst>
                                      </p:cBhvr>
                                      <p:to>
                                        <p:strVal val="visible"/>
                                      </p:to>
                                    </p:set>
                                    <p:animEffect transition="in" filter="wipe(down)">
                                      <p:cBhvr>
                                        <p:cTn id="74" dur="500"/>
                                        <p:tgtEl>
                                          <p:spTgt spid="60"/>
                                        </p:tgtEl>
                                      </p:cBhvr>
                                    </p:animEffect>
                                  </p:childTnLst>
                                </p:cTn>
                              </p:par>
                              <p:par>
                                <p:cTn id="75" presetID="22" presetClass="entr" presetSubtype="4" fill="hold" grpId="0" nodeType="withEffect">
                                  <p:stCondLst>
                                    <p:cond delay="0"/>
                                  </p:stCondLst>
                                  <p:childTnLst>
                                    <p:set>
                                      <p:cBhvr>
                                        <p:cTn id="76" dur="1" fill="hold">
                                          <p:stCondLst>
                                            <p:cond delay="0"/>
                                          </p:stCondLst>
                                        </p:cTn>
                                        <p:tgtEl>
                                          <p:spTgt spid="18"/>
                                        </p:tgtEl>
                                        <p:attrNameLst>
                                          <p:attrName>style.visibility</p:attrName>
                                        </p:attrNameLst>
                                      </p:cBhvr>
                                      <p:to>
                                        <p:strVal val="visible"/>
                                      </p:to>
                                    </p:set>
                                    <p:animEffect transition="in" filter="wipe(down)">
                                      <p:cBhvr>
                                        <p:cTn id="77" dur="500"/>
                                        <p:tgtEl>
                                          <p:spTgt spid="18"/>
                                        </p:tgtEl>
                                      </p:cBhvr>
                                    </p:animEffect>
                                  </p:childTnLst>
                                </p:cTn>
                              </p:par>
                            </p:childTnLst>
                          </p:cTn>
                        </p:par>
                        <p:par>
                          <p:cTn id="78" fill="hold">
                            <p:stCondLst>
                              <p:cond delay="7000"/>
                            </p:stCondLst>
                            <p:childTnLst>
                              <p:par>
                                <p:cTn id="79" presetID="22" presetClass="entr" presetSubtype="4" fill="hold" grpId="0" nodeType="afterEffect">
                                  <p:stCondLst>
                                    <p:cond delay="0"/>
                                  </p:stCondLst>
                                  <p:childTnLst>
                                    <p:set>
                                      <p:cBhvr>
                                        <p:cTn id="80" dur="1" fill="hold">
                                          <p:stCondLst>
                                            <p:cond delay="0"/>
                                          </p:stCondLst>
                                        </p:cTn>
                                        <p:tgtEl>
                                          <p:spTgt spid="17"/>
                                        </p:tgtEl>
                                        <p:attrNameLst>
                                          <p:attrName>style.visibility</p:attrName>
                                        </p:attrNameLst>
                                      </p:cBhvr>
                                      <p:to>
                                        <p:strVal val="visible"/>
                                      </p:to>
                                    </p:set>
                                    <p:animEffect transition="in" filter="wipe(down)">
                                      <p:cBhvr>
                                        <p:cTn id="81" dur="500"/>
                                        <p:tgtEl>
                                          <p:spTgt spid="17"/>
                                        </p:tgtEl>
                                      </p:cBhvr>
                                    </p:animEffect>
                                  </p:childTnLst>
                                </p:cTn>
                              </p:par>
                              <p:par>
                                <p:cTn id="82" presetID="22" presetClass="entr" presetSubtype="4" fill="hold" nodeType="withEffect">
                                  <p:stCondLst>
                                    <p:cond delay="0"/>
                                  </p:stCondLst>
                                  <p:childTnLst>
                                    <p:set>
                                      <p:cBhvr>
                                        <p:cTn id="83" dur="1" fill="hold">
                                          <p:stCondLst>
                                            <p:cond delay="0"/>
                                          </p:stCondLst>
                                        </p:cTn>
                                        <p:tgtEl>
                                          <p:spTgt spid="46"/>
                                        </p:tgtEl>
                                        <p:attrNameLst>
                                          <p:attrName>style.visibility</p:attrName>
                                        </p:attrNameLst>
                                      </p:cBhvr>
                                      <p:to>
                                        <p:strVal val="visible"/>
                                      </p:to>
                                    </p:set>
                                    <p:animEffect transition="in" filter="wipe(down)">
                                      <p:cBhvr>
                                        <p:cTn id="84" dur="500"/>
                                        <p:tgtEl>
                                          <p:spTgt spid="46"/>
                                        </p:tgtEl>
                                      </p:cBhvr>
                                    </p:animEffect>
                                  </p:childTnLst>
                                </p:cTn>
                              </p:par>
                            </p:childTnLst>
                          </p:cTn>
                        </p:par>
                        <p:par>
                          <p:cTn id="85" fill="hold">
                            <p:stCondLst>
                              <p:cond delay="7500"/>
                            </p:stCondLst>
                            <p:childTnLst>
                              <p:par>
                                <p:cTn id="86" presetID="22" presetClass="entr" presetSubtype="2" fill="hold" nodeType="afterEffect">
                                  <p:stCondLst>
                                    <p:cond delay="0"/>
                                  </p:stCondLst>
                                  <p:childTnLst>
                                    <p:set>
                                      <p:cBhvr>
                                        <p:cTn id="87" dur="1" fill="hold">
                                          <p:stCondLst>
                                            <p:cond delay="0"/>
                                          </p:stCondLst>
                                        </p:cTn>
                                        <p:tgtEl>
                                          <p:spTgt spid="28"/>
                                        </p:tgtEl>
                                        <p:attrNameLst>
                                          <p:attrName>style.visibility</p:attrName>
                                        </p:attrNameLst>
                                      </p:cBhvr>
                                      <p:to>
                                        <p:strVal val="visible"/>
                                      </p:to>
                                    </p:set>
                                    <p:animEffect transition="in" filter="wipe(right)">
                                      <p:cBhvr>
                                        <p:cTn id="88" dur="500"/>
                                        <p:tgtEl>
                                          <p:spTgt spid="28"/>
                                        </p:tgtEl>
                                      </p:cBhvr>
                                    </p:animEffect>
                                  </p:childTnLst>
                                </p:cTn>
                              </p:par>
                            </p:childTnLst>
                          </p:cTn>
                        </p:par>
                        <p:par>
                          <p:cTn id="89" fill="hold">
                            <p:stCondLst>
                              <p:cond delay="8000"/>
                            </p:stCondLst>
                            <p:childTnLst>
                              <p:par>
                                <p:cTn id="90" presetID="10" presetClass="entr" presetSubtype="0" fill="hold" grpId="0" nodeType="afterEffect">
                                  <p:stCondLst>
                                    <p:cond delay="0"/>
                                  </p:stCondLst>
                                  <p:childTnLst>
                                    <p:set>
                                      <p:cBhvr>
                                        <p:cTn id="91" dur="1" fill="hold">
                                          <p:stCondLst>
                                            <p:cond delay="0"/>
                                          </p:stCondLst>
                                        </p:cTn>
                                        <p:tgtEl>
                                          <p:spTgt spid="38"/>
                                        </p:tgtEl>
                                        <p:attrNameLst>
                                          <p:attrName>style.visibility</p:attrName>
                                        </p:attrNameLst>
                                      </p:cBhvr>
                                      <p:to>
                                        <p:strVal val="visible"/>
                                      </p:to>
                                    </p:set>
                                    <p:animEffect transition="in" filter="fade">
                                      <p:cBhvr>
                                        <p:cTn id="92" dur="500"/>
                                        <p:tgtEl>
                                          <p:spTgt spid="38"/>
                                        </p:tgtEl>
                                      </p:cBhvr>
                                    </p:animEffect>
                                  </p:childTnLst>
                                </p:cTn>
                              </p:par>
                              <p:par>
                                <p:cTn id="93" presetID="10" presetClass="entr" presetSubtype="0" fill="hold" grpId="0" nodeType="withEffect">
                                  <p:stCondLst>
                                    <p:cond delay="0"/>
                                  </p:stCondLst>
                                  <p:childTnLst>
                                    <p:set>
                                      <p:cBhvr>
                                        <p:cTn id="94" dur="1" fill="hold">
                                          <p:stCondLst>
                                            <p:cond delay="0"/>
                                          </p:stCondLst>
                                        </p:cTn>
                                        <p:tgtEl>
                                          <p:spTgt spid="39"/>
                                        </p:tgtEl>
                                        <p:attrNameLst>
                                          <p:attrName>style.visibility</p:attrName>
                                        </p:attrNameLst>
                                      </p:cBhvr>
                                      <p:to>
                                        <p:strVal val="visible"/>
                                      </p:to>
                                    </p:set>
                                    <p:animEffect transition="in" filter="fade">
                                      <p:cBhvr>
                                        <p:cTn id="95" dur="500"/>
                                        <p:tgtEl>
                                          <p:spTgt spid="39"/>
                                        </p:tgtEl>
                                      </p:cBhvr>
                                    </p:animEffect>
                                  </p:childTnLst>
                                </p:cTn>
                              </p:par>
                            </p:childTnLst>
                          </p:cTn>
                        </p:par>
                        <p:par>
                          <p:cTn id="96" fill="hold">
                            <p:stCondLst>
                              <p:cond delay="8500"/>
                            </p:stCondLst>
                            <p:childTnLst>
                              <p:par>
                                <p:cTn id="97" presetID="22" presetClass="entr" presetSubtype="4" fill="hold" grpId="0" nodeType="afterEffect">
                                  <p:stCondLst>
                                    <p:cond delay="0"/>
                                  </p:stCondLst>
                                  <p:childTnLst>
                                    <p:set>
                                      <p:cBhvr>
                                        <p:cTn id="98" dur="1" fill="hold">
                                          <p:stCondLst>
                                            <p:cond delay="0"/>
                                          </p:stCondLst>
                                        </p:cTn>
                                        <p:tgtEl>
                                          <p:spTgt spid="11"/>
                                        </p:tgtEl>
                                        <p:attrNameLst>
                                          <p:attrName>style.visibility</p:attrName>
                                        </p:attrNameLst>
                                      </p:cBhvr>
                                      <p:to>
                                        <p:strVal val="visible"/>
                                      </p:to>
                                    </p:set>
                                    <p:animEffect transition="in" filter="wipe(down)">
                                      <p:cBhvr>
                                        <p:cTn id="99" dur="500"/>
                                        <p:tgtEl>
                                          <p:spTgt spid="11"/>
                                        </p:tgtEl>
                                      </p:cBhvr>
                                    </p:animEffect>
                                  </p:childTnLst>
                                </p:cTn>
                              </p:par>
                            </p:childTnLst>
                          </p:cTn>
                        </p:par>
                        <p:par>
                          <p:cTn id="100" fill="hold">
                            <p:stCondLst>
                              <p:cond delay="9000"/>
                            </p:stCondLst>
                            <p:childTnLst>
                              <p:par>
                                <p:cTn id="101" presetID="22" presetClass="entr" presetSubtype="4" fill="hold" grpId="0" nodeType="afterEffect">
                                  <p:stCondLst>
                                    <p:cond delay="0"/>
                                  </p:stCondLst>
                                  <p:childTnLst>
                                    <p:set>
                                      <p:cBhvr>
                                        <p:cTn id="102" dur="1" fill="hold">
                                          <p:stCondLst>
                                            <p:cond delay="0"/>
                                          </p:stCondLst>
                                        </p:cTn>
                                        <p:tgtEl>
                                          <p:spTgt spid="15"/>
                                        </p:tgtEl>
                                        <p:attrNameLst>
                                          <p:attrName>style.visibility</p:attrName>
                                        </p:attrNameLst>
                                      </p:cBhvr>
                                      <p:to>
                                        <p:strVal val="visible"/>
                                      </p:to>
                                    </p:set>
                                    <p:animEffect transition="in" filter="wipe(down)">
                                      <p:cBhvr>
                                        <p:cTn id="103" dur="500"/>
                                        <p:tgtEl>
                                          <p:spTgt spid="15"/>
                                        </p:tgtEl>
                                      </p:cBhvr>
                                    </p:animEffect>
                                  </p:childTnLst>
                                </p:cTn>
                              </p:par>
                            </p:childTnLst>
                          </p:cTn>
                        </p:par>
                        <p:par>
                          <p:cTn id="104" fill="hold">
                            <p:stCondLst>
                              <p:cond delay="9500"/>
                            </p:stCondLst>
                            <p:childTnLst>
                              <p:par>
                                <p:cTn id="105" presetID="22" presetClass="entr" presetSubtype="4" fill="hold" grpId="0" nodeType="afterEffect">
                                  <p:stCondLst>
                                    <p:cond delay="0"/>
                                  </p:stCondLst>
                                  <p:childTnLst>
                                    <p:set>
                                      <p:cBhvr>
                                        <p:cTn id="106" dur="1" fill="hold">
                                          <p:stCondLst>
                                            <p:cond delay="0"/>
                                          </p:stCondLst>
                                        </p:cTn>
                                        <p:tgtEl>
                                          <p:spTgt spid="2"/>
                                        </p:tgtEl>
                                        <p:attrNameLst>
                                          <p:attrName>style.visibility</p:attrName>
                                        </p:attrNameLst>
                                      </p:cBhvr>
                                      <p:to>
                                        <p:strVal val="visible"/>
                                      </p:to>
                                    </p:set>
                                    <p:animEffect transition="in" filter="wipe(down)">
                                      <p:cBhvr>
                                        <p:cTn id="107" dur="500"/>
                                        <p:tgtEl>
                                          <p:spTgt spid="2"/>
                                        </p:tgtEl>
                                      </p:cBhvr>
                                    </p:animEffect>
                                  </p:childTnLst>
                                </p:cTn>
                              </p:par>
                              <p:par>
                                <p:cTn id="108" presetID="22" presetClass="entr" presetSubtype="4" fill="hold" nodeType="withEffect">
                                  <p:stCondLst>
                                    <p:cond delay="0"/>
                                  </p:stCondLst>
                                  <p:childTnLst>
                                    <p:set>
                                      <p:cBhvr>
                                        <p:cTn id="109" dur="1" fill="hold">
                                          <p:stCondLst>
                                            <p:cond delay="0"/>
                                          </p:stCondLst>
                                        </p:cTn>
                                        <p:tgtEl>
                                          <p:spTgt spid="51"/>
                                        </p:tgtEl>
                                        <p:attrNameLst>
                                          <p:attrName>style.visibility</p:attrName>
                                        </p:attrNameLst>
                                      </p:cBhvr>
                                      <p:to>
                                        <p:strVal val="visible"/>
                                      </p:to>
                                    </p:set>
                                    <p:animEffect transition="in" filter="wipe(down)">
                                      <p:cBhvr>
                                        <p:cTn id="110" dur="500"/>
                                        <p:tgtEl>
                                          <p:spTgt spid="51"/>
                                        </p:tgtEl>
                                      </p:cBhvr>
                                    </p:animEffect>
                                  </p:childTnLst>
                                </p:cTn>
                              </p:par>
                            </p:childTnLst>
                          </p:cTn>
                        </p:par>
                        <p:par>
                          <p:cTn id="111" fill="hold">
                            <p:stCondLst>
                              <p:cond delay="10000"/>
                            </p:stCondLst>
                            <p:childTnLst>
                              <p:par>
                                <p:cTn id="112" presetID="22" presetClass="entr" presetSubtype="8" fill="hold" nodeType="afterEffect">
                                  <p:stCondLst>
                                    <p:cond delay="0"/>
                                  </p:stCondLst>
                                  <p:childTnLst>
                                    <p:set>
                                      <p:cBhvr>
                                        <p:cTn id="113" dur="1" fill="hold">
                                          <p:stCondLst>
                                            <p:cond delay="0"/>
                                          </p:stCondLst>
                                        </p:cTn>
                                        <p:tgtEl>
                                          <p:spTgt spid="22"/>
                                        </p:tgtEl>
                                        <p:attrNameLst>
                                          <p:attrName>style.visibility</p:attrName>
                                        </p:attrNameLst>
                                      </p:cBhvr>
                                      <p:to>
                                        <p:strVal val="visible"/>
                                      </p:to>
                                    </p:set>
                                    <p:animEffect transition="in" filter="wipe(left)">
                                      <p:cBhvr>
                                        <p:cTn id="114" dur="500"/>
                                        <p:tgtEl>
                                          <p:spTgt spid="22"/>
                                        </p:tgtEl>
                                      </p:cBhvr>
                                    </p:animEffect>
                                  </p:childTnLst>
                                </p:cTn>
                              </p:par>
                            </p:childTnLst>
                          </p:cTn>
                        </p:par>
                        <p:par>
                          <p:cTn id="115" fill="hold">
                            <p:stCondLst>
                              <p:cond delay="10500"/>
                            </p:stCondLst>
                            <p:childTnLst>
                              <p:par>
                                <p:cTn id="116" presetID="10" presetClass="entr" presetSubtype="0" fill="hold" grpId="0" nodeType="afterEffect">
                                  <p:stCondLst>
                                    <p:cond delay="0"/>
                                  </p:stCondLst>
                                  <p:childTnLst>
                                    <p:set>
                                      <p:cBhvr>
                                        <p:cTn id="117" dur="1" fill="hold">
                                          <p:stCondLst>
                                            <p:cond delay="0"/>
                                          </p:stCondLst>
                                        </p:cTn>
                                        <p:tgtEl>
                                          <p:spTgt spid="34"/>
                                        </p:tgtEl>
                                        <p:attrNameLst>
                                          <p:attrName>style.visibility</p:attrName>
                                        </p:attrNameLst>
                                      </p:cBhvr>
                                      <p:to>
                                        <p:strVal val="visible"/>
                                      </p:to>
                                    </p:set>
                                    <p:animEffect transition="in" filter="fade">
                                      <p:cBhvr>
                                        <p:cTn id="118" dur="500"/>
                                        <p:tgtEl>
                                          <p:spTgt spid="34"/>
                                        </p:tgtEl>
                                      </p:cBhvr>
                                    </p:animEffect>
                                  </p:childTnLst>
                                </p:cTn>
                              </p:par>
                              <p:par>
                                <p:cTn id="119" presetID="10" presetClass="entr" presetSubtype="0" fill="hold" grpId="0" nodeType="withEffect">
                                  <p:stCondLst>
                                    <p:cond delay="0"/>
                                  </p:stCondLst>
                                  <p:childTnLst>
                                    <p:set>
                                      <p:cBhvr>
                                        <p:cTn id="120" dur="1" fill="hold">
                                          <p:stCondLst>
                                            <p:cond delay="0"/>
                                          </p:stCondLst>
                                        </p:cTn>
                                        <p:tgtEl>
                                          <p:spTgt spid="35"/>
                                        </p:tgtEl>
                                        <p:attrNameLst>
                                          <p:attrName>style.visibility</p:attrName>
                                        </p:attrNameLst>
                                      </p:cBhvr>
                                      <p:to>
                                        <p:strVal val="visible"/>
                                      </p:to>
                                    </p:set>
                                    <p:animEffect transition="in" filter="fade">
                                      <p:cBhvr>
                                        <p:cTn id="121" dur="500"/>
                                        <p:tgtEl>
                                          <p:spTgt spid="35"/>
                                        </p:tgtEl>
                                      </p:cBhvr>
                                    </p:animEffect>
                                  </p:childTnLst>
                                </p:cTn>
                              </p:par>
                            </p:childTnLst>
                          </p:cTn>
                        </p:par>
                        <p:par>
                          <p:cTn id="122" fill="hold">
                            <p:stCondLst>
                              <p:cond delay="11000"/>
                            </p:stCondLst>
                            <p:childTnLst>
                              <p:par>
                                <p:cTn id="123" presetID="22" presetClass="entr" presetSubtype="4" fill="hold" grpId="0" nodeType="afterEffect">
                                  <p:stCondLst>
                                    <p:cond delay="0"/>
                                  </p:stCondLst>
                                  <p:childTnLst>
                                    <p:set>
                                      <p:cBhvr>
                                        <p:cTn id="124" dur="1" fill="hold">
                                          <p:stCondLst>
                                            <p:cond delay="0"/>
                                          </p:stCondLst>
                                        </p:cTn>
                                        <p:tgtEl>
                                          <p:spTgt spid="14"/>
                                        </p:tgtEl>
                                        <p:attrNameLst>
                                          <p:attrName>style.visibility</p:attrName>
                                        </p:attrNameLst>
                                      </p:cBhvr>
                                      <p:to>
                                        <p:strVal val="visible"/>
                                      </p:to>
                                    </p:set>
                                    <p:animEffect transition="in" filter="wipe(down)">
                                      <p:cBhvr>
                                        <p:cTn id="125" dur="500"/>
                                        <p:tgtEl>
                                          <p:spTgt spid="14"/>
                                        </p:tgtEl>
                                      </p:cBhvr>
                                    </p:animEffect>
                                  </p:childTnLst>
                                </p:cTn>
                              </p:par>
                            </p:childTnLst>
                          </p:cTn>
                        </p:par>
                        <p:par>
                          <p:cTn id="126" fill="hold">
                            <p:stCondLst>
                              <p:cond delay="11500"/>
                            </p:stCondLst>
                            <p:childTnLst>
                              <p:par>
                                <p:cTn id="127" presetID="22" presetClass="entr" presetSubtype="4" fill="hold" grpId="0" nodeType="afterEffect">
                                  <p:stCondLst>
                                    <p:cond delay="0"/>
                                  </p:stCondLst>
                                  <p:childTnLst>
                                    <p:set>
                                      <p:cBhvr>
                                        <p:cTn id="128" dur="1" fill="hold">
                                          <p:stCondLst>
                                            <p:cond delay="0"/>
                                          </p:stCondLst>
                                        </p:cTn>
                                        <p:tgtEl>
                                          <p:spTgt spid="59"/>
                                        </p:tgtEl>
                                        <p:attrNameLst>
                                          <p:attrName>style.visibility</p:attrName>
                                        </p:attrNameLst>
                                      </p:cBhvr>
                                      <p:to>
                                        <p:strVal val="visible"/>
                                      </p:to>
                                    </p:set>
                                    <p:animEffect transition="in" filter="wipe(down)">
                                      <p:cBhvr>
                                        <p:cTn id="129" dur="500"/>
                                        <p:tgtEl>
                                          <p:spTgt spid="59"/>
                                        </p:tgtEl>
                                      </p:cBhvr>
                                    </p:animEffect>
                                  </p:childTnLst>
                                </p:cTn>
                              </p:par>
                              <p:par>
                                <p:cTn id="130" presetID="22" presetClass="entr" presetSubtype="4" fill="hold" grpId="0" nodeType="withEffect">
                                  <p:stCondLst>
                                    <p:cond delay="0"/>
                                  </p:stCondLst>
                                  <p:childTnLst>
                                    <p:set>
                                      <p:cBhvr>
                                        <p:cTn id="131" dur="1" fill="hold">
                                          <p:stCondLst>
                                            <p:cond delay="0"/>
                                          </p:stCondLst>
                                        </p:cTn>
                                        <p:tgtEl>
                                          <p:spTgt spid="7"/>
                                        </p:tgtEl>
                                        <p:attrNameLst>
                                          <p:attrName>style.visibility</p:attrName>
                                        </p:attrNameLst>
                                      </p:cBhvr>
                                      <p:to>
                                        <p:strVal val="visible"/>
                                      </p:to>
                                    </p:set>
                                    <p:animEffect transition="in" filter="wipe(down)">
                                      <p:cBhvr>
                                        <p:cTn id="132" dur="500"/>
                                        <p:tgtEl>
                                          <p:spTgt spid="7"/>
                                        </p:tgtEl>
                                      </p:cBhvr>
                                    </p:animEffect>
                                  </p:childTnLst>
                                </p:cTn>
                              </p:par>
                            </p:childTnLst>
                          </p:cTn>
                        </p:par>
                        <p:par>
                          <p:cTn id="133" fill="hold">
                            <p:stCondLst>
                              <p:cond delay="12000"/>
                            </p:stCondLst>
                            <p:childTnLst>
                              <p:par>
                                <p:cTn id="134" presetID="22" presetClass="entr" presetSubtype="8" fill="hold" grpId="0" nodeType="afterEffect">
                                  <p:stCondLst>
                                    <p:cond delay="0"/>
                                  </p:stCondLst>
                                  <p:childTnLst>
                                    <p:set>
                                      <p:cBhvr>
                                        <p:cTn id="135" dur="1" fill="hold">
                                          <p:stCondLst>
                                            <p:cond delay="0"/>
                                          </p:stCondLst>
                                        </p:cTn>
                                        <p:tgtEl>
                                          <p:spTgt spid="13"/>
                                        </p:tgtEl>
                                        <p:attrNameLst>
                                          <p:attrName>style.visibility</p:attrName>
                                        </p:attrNameLst>
                                      </p:cBhvr>
                                      <p:to>
                                        <p:strVal val="visible"/>
                                      </p:to>
                                    </p:set>
                                    <p:animEffect transition="in" filter="wipe(left)">
                                      <p:cBhvr>
                                        <p:cTn id="136" dur="500"/>
                                        <p:tgtEl>
                                          <p:spTgt spid="13"/>
                                        </p:tgtEl>
                                      </p:cBhvr>
                                    </p:animEffect>
                                  </p:childTnLst>
                                </p:cTn>
                              </p:par>
                            </p:childTnLst>
                          </p:cTn>
                        </p:par>
                        <p:par>
                          <p:cTn id="137" fill="hold">
                            <p:stCondLst>
                              <p:cond delay="12500"/>
                            </p:stCondLst>
                            <p:childTnLst>
                              <p:par>
                                <p:cTn id="138" presetID="22" presetClass="entr" presetSubtype="4" fill="hold" grpId="0" nodeType="afterEffect">
                                  <p:stCondLst>
                                    <p:cond delay="0"/>
                                  </p:stCondLst>
                                  <p:childTnLst>
                                    <p:set>
                                      <p:cBhvr>
                                        <p:cTn id="139" dur="1" fill="hold">
                                          <p:stCondLst>
                                            <p:cond delay="0"/>
                                          </p:stCondLst>
                                        </p:cTn>
                                        <p:tgtEl>
                                          <p:spTgt spid="5"/>
                                        </p:tgtEl>
                                        <p:attrNameLst>
                                          <p:attrName>style.visibility</p:attrName>
                                        </p:attrNameLst>
                                      </p:cBhvr>
                                      <p:to>
                                        <p:strVal val="visible"/>
                                      </p:to>
                                    </p:set>
                                    <p:animEffect transition="in" filter="wipe(down)">
                                      <p:cBhvr>
                                        <p:cTn id="140" dur="500"/>
                                        <p:tgtEl>
                                          <p:spTgt spid="5"/>
                                        </p:tgtEl>
                                      </p:cBhvr>
                                    </p:animEffect>
                                  </p:childTnLst>
                                </p:cTn>
                              </p:par>
                              <p:par>
                                <p:cTn id="141" presetID="22" presetClass="entr" presetSubtype="4" fill="hold" nodeType="withEffect">
                                  <p:stCondLst>
                                    <p:cond delay="0"/>
                                  </p:stCondLst>
                                  <p:childTnLst>
                                    <p:set>
                                      <p:cBhvr>
                                        <p:cTn id="142" dur="1" fill="hold">
                                          <p:stCondLst>
                                            <p:cond delay="0"/>
                                          </p:stCondLst>
                                        </p:cTn>
                                        <p:tgtEl>
                                          <p:spTgt spid="43"/>
                                        </p:tgtEl>
                                        <p:attrNameLst>
                                          <p:attrName>style.visibility</p:attrName>
                                        </p:attrNameLst>
                                      </p:cBhvr>
                                      <p:to>
                                        <p:strVal val="visible"/>
                                      </p:to>
                                    </p:set>
                                    <p:animEffect transition="in" filter="wipe(down)">
                                      <p:cBhvr>
                                        <p:cTn id="143" dur="500"/>
                                        <p:tgtEl>
                                          <p:spTgt spid="43"/>
                                        </p:tgtEl>
                                      </p:cBhvr>
                                    </p:animEffect>
                                  </p:childTnLst>
                                </p:cTn>
                              </p:par>
                            </p:childTnLst>
                          </p:cTn>
                        </p:par>
                        <p:par>
                          <p:cTn id="144" fill="hold">
                            <p:stCondLst>
                              <p:cond delay="13000"/>
                            </p:stCondLst>
                            <p:childTnLst>
                              <p:par>
                                <p:cTn id="145" presetID="22" presetClass="entr" presetSubtype="8" fill="hold" nodeType="afterEffect">
                                  <p:stCondLst>
                                    <p:cond delay="0"/>
                                  </p:stCondLst>
                                  <p:childTnLst>
                                    <p:set>
                                      <p:cBhvr>
                                        <p:cTn id="146" dur="1" fill="hold">
                                          <p:stCondLst>
                                            <p:cond delay="0"/>
                                          </p:stCondLst>
                                        </p:cTn>
                                        <p:tgtEl>
                                          <p:spTgt spid="31"/>
                                        </p:tgtEl>
                                        <p:attrNameLst>
                                          <p:attrName>style.visibility</p:attrName>
                                        </p:attrNameLst>
                                      </p:cBhvr>
                                      <p:to>
                                        <p:strVal val="visible"/>
                                      </p:to>
                                    </p:set>
                                    <p:animEffect transition="in" filter="wipe(left)">
                                      <p:cBhvr>
                                        <p:cTn id="147" dur="500"/>
                                        <p:tgtEl>
                                          <p:spTgt spid="31"/>
                                        </p:tgtEl>
                                      </p:cBhvr>
                                    </p:animEffect>
                                  </p:childTnLst>
                                </p:cTn>
                              </p:par>
                            </p:childTnLst>
                          </p:cTn>
                        </p:par>
                        <p:par>
                          <p:cTn id="148" fill="hold">
                            <p:stCondLst>
                              <p:cond delay="13500"/>
                            </p:stCondLst>
                            <p:childTnLst>
                              <p:par>
                                <p:cTn id="149" presetID="10" presetClass="entr" presetSubtype="0" fill="hold" grpId="0" nodeType="afterEffect">
                                  <p:stCondLst>
                                    <p:cond delay="0"/>
                                  </p:stCondLst>
                                  <p:childTnLst>
                                    <p:set>
                                      <p:cBhvr>
                                        <p:cTn id="150" dur="1" fill="hold">
                                          <p:stCondLst>
                                            <p:cond delay="0"/>
                                          </p:stCondLst>
                                        </p:cTn>
                                        <p:tgtEl>
                                          <p:spTgt spid="36"/>
                                        </p:tgtEl>
                                        <p:attrNameLst>
                                          <p:attrName>style.visibility</p:attrName>
                                        </p:attrNameLst>
                                      </p:cBhvr>
                                      <p:to>
                                        <p:strVal val="visible"/>
                                      </p:to>
                                    </p:set>
                                    <p:animEffect transition="in" filter="fade">
                                      <p:cBhvr>
                                        <p:cTn id="151" dur="500"/>
                                        <p:tgtEl>
                                          <p:spTgt spid="36"/>
                                        </p:tgtEl>
                                      </p:cBhvr>
                                    </p:animEffect>
                                  </p:childTnLst>
                                </p:cTn>
                              </p:par>
                              <p:par>
                                <p:cTn id="152" presetID="10" presetClass="entr" presetSubtype="0" fill="hold" grpId="0" nodeType="withEffect">
                                  <p:stCondLst>
                                    <p:cond delay="0"/>
                                  </p:stCondLst>
                                  <p:childTnLst>
                                    <p:set>
                                      <p:cBhvr>
                                        <p:cTn id="153" dur="1" fill="hold">
                                          <p:stCondLst>
                                            <p:cond delay="0"/>
                                          </p:stCondLst>
                                        </p:cTn>
                                        <p:tgtEl>
                                          <p:spTgt spid="37"/>
                                        </p:tgtEl>
                                        <p:attrNameLst>
                                          <p:attrName>style.visibility</p:attrName>
                                        </p:attrNameLst>
                                      </p:cBhvr>
                                      <p:to>
                                        <p:strVal val="visible"/>
                                      </p:to>
                                    </p:set>
                                    <p:animEffect transition="in" filter="fade">
                                      <p:cBhvr>
                                        <p:cTn id="154" dur="500"/>
                                        <p:tgtEl>
                                          <p:spTgt spid="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3" grpId="0"/>
      <p:bldP spid="4" grpId="0" animBg="1"/>
      <p:bldP spid="5" grpId="0" animBg="1"/>
      <p:bldP spid="6" grpId="0" animBg="1"/>
      <p:bldP spid="7" grpId="0" animBg="1"/>
      <p:bldP spid="8" grpId="0" animBg="1"/>
      <p:bldP spid="9" grpId="0" animBg="1"/>
      <p:bldP spid="10"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34" grpId="0"/>
      <p:bldP spid="35" grpId="0"/>
      <p:bldP spid="36" grpId="0"/>
      <p:bldP spid="37" grpId="0"/>
      <p:bldP spid="38" grpId="0"/>
      <p:bldP spid="39" grpId="0"/>
      <p:bldP spid="40" grpId="0"/>
      <p:bldP spid="41" grpId="0"/>
      <p:bldP spid="42" grpId="0" animBg="1"/>
      <p:bldP spid="56" grpId="0"/>
      <p:bldP spid="57" grpId="0"/>
      <p:bldP spid="58" grpId="0"/>
      <p:bldP spid="59" grpId="0"/>
      <p:bldP spid="60" grpId="0"/>
    </p:bldLst>
  </p:timing>
</p:sld>
</file>

<file path=ppt/slides/slide5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5">
            <a:extLst>
              <a:ext uri="{FF2B5EF4-FFF2-40B4-BE49-F238E27FC236}">
                <a16:creationId xmlns:a16="http://schemas.microsoft.com/office/drawing/2014/main" id="{2480D420-8070-4570-A7F0-85745882CDFE}"/>
              </a:ext>
            </a:extLst>
          </p:cNvPr>
          <p:cNvSpPr>
            <a:spLocks/>
          </p:cNvSpPr>
          <p:nvPr/>
        </p:nvSpPr>
        <p:spPr bwMode="auto">
          <a:xfrm>
            <a:off x="10688639" y="1076325"/>
            <a:ext cx="11112" cy="0"/>
          </a:xfrm>
          <a:custGeom>
            <a:avLst/>
            <a:gdLst>
              <a:gd name="T0" fmla="*/ 0 w 4"/>
              <a:gd name="T1" fmla="*/ 4 w 4"/>
              <a:gd name="T2" fmla="*/ 4 w 4"/>
              <a:gd name="T3" fmla="*/ 0 w 4"/>
              <a:gd name="T4" fmla="*/ 0 w 4"/>
            </a:gdLst>
            <a:ahLst/>
            <a:cxnLst>
              <a:cxn ang="0">
                <a:pos x="T0" y="0"/>
              </a:cxn>
              <a:cxn ang="0">
                <a:pos x="T1" y="0"/>
              </a:cxn>
              <a:cxn ang="0">
                <a:pos x="T2" y="0"/>
              </a:cxn>
              <a:cxn ang="0">
                <a:pos x="T3" y="0"/>
              </a:cxn>
              <a:cxn ang="0">
                <a:pos x="T4" y="0"/>
              </a:cxn>
            </a:cxnLst>
            <a:rect l="0" t="0" r="r" b="b"/>
            <a:pathLst>
              <a:path w="4">
                <a:moveTo>
                  <a:pt x="0" y="0"/>
                </a:moveTo>
                <a:cubicBezTo>
                  <a:pt x="1" y="0"/>
                  <a:pt x="3" y="0"/>
                  <a:pt x="4" y="0"/>
                </a:cubicBezTo>
                <a:cubicBezTo>
                  <a:pt x="4" y="0"/>
                  <a:pt x="4" y="0"/>
                  <a:pt x="4" y="0"/>
                </a:cubicBezTo>
                <a:cubicBezTo>
                  <a:pt x="3" y="0"/>
                  <a:pt x="1" y="0"/>
                  <a:pt x="0" y="0"/>
                </a:cubicBezTo>
                <a:cubicBezTo>
                  <a:pt x="0" y="0"/>
                  <a:pt x="0" y="0"/>
                  <a:pt x="0" y="0"/>
                </a:cubicBezTo>
                <a:close/>
              </a:path>
            </a:pathLst>
          </a:custGeom>
          <a:solidFill>
            <a:srgbClr val="7FCEC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3" name="Freeform 6">
            <a:extLst>
              <a:ext uri="{FF2B5EF4-FFF2-40B4-BE49-F238E27FC236}">
                <a16:creationId xmlns:a16="http://schemas.microsoft.com/office/drawing/2014/main" id="{3B1339D3-E712-4E12-9637-356137DCC833}"/>
              </a:ext>
            </a:extLst>
          </p:cNvPr>
          <p:cNvSpPr>
            <a:spLocks/>
          </p:cNvSpPr>
          <p:nvPr/>
        </p:nvSpPr>
        <p:spPr bwMode="auto">
          <a:xfrm>
            <a:off x="6044487" y="2596935"/>
            <a:ext cx="3172" cy="31728"/>
          </a:xfrm>
          <a:custGeom>
            <a:avLst/>
            <a:gdLst>
              <a:gd name="T0" fmla="*/ 0 w 1"/>
              <a:gd name="T1" fmla="*/ 9 h 12"/>
              <a:gd name="T2" fmla="*/ 0 w 1"/>
              <a:gd name="T3" fmla="*/ 7 h 12"/>
              <a:gd name="T4" fmla="*/ 0 w 1"/>
              <a:gd name="T5" fmla="*/ 3 h 12"/>
              <a:gd name="T6" fmla="*/ 1 w 1"/>
              <a:gd name="T7" fmla="*/ 12 h 12"/>
              <a:gd name="T8" fmla="*/ 1 w 1"/>
              <a:gd name="T9" fmla="*/ 10 h 12"/>
              <a:gd name="T10" fmla="*/ 0 w 1"/>
              <a:gd name="T11" fmla="*/ 9 h 12"/>
            </a:gdLst>
            <a:ahLst/>
            <a:cxnLst>
              <a:cxn ang="0">
                <a:pos x="T0" y="T1"/>
              </a:cxn>
              <a:cxn ang="0">
                <a:pos x="T2" y="T3"/>
              </a:cxn>
              <a:cxn ang="0">
                <a:pos x="T4" y="T5"/>
              </a:cxn>
              <a:cxn ang="0">
                <a:pos x="T6" y="T7"/>
              </a:cxn>
              <a:cxn ang="0">
                <a:pos x="T8" y="T9"/>
              </a:cxn>
              <a:cxn ang="0">
                <a:pos x="T10" y="T11"/>
              </a:cxn>
            </a:cxnLst>
            <a:rect l="0" t="0" r="r" b="b"/>
            <a:pathLst>
              <a:path w="1" h="12">
                <a:moveTo>
                  <a:pt x="0" y="9"/>
                </a:moveTo>
                <a:cubicBezTo>
                  <a:pt x="0" y="8"/>
                  <a:pt x="0" y="8"/>
                  <a:pt x="0" y="7"/>
                </a:cubicBezTo>
                <a:cubicBezTo>
                  <a:pt x="0" y="6"/>
                  <a:pt x="0" y="4"/>
                  <a:pt x="0" y="3"/>
                </a:cubicBezTo>
                <a:cubicBezTo>
                  <a:pt x="0" y="0"/>
                  <a:pt x="1" y="1"/>
                  <a:pt x="1" y="12"/>
                </a:cubicBezTo>
                <a:cubicBezTo>
                  <a:pt x="1" y="11"/>
                  <a:pt x="1" y="10"/>
                  <a:pt x="1" y="10"/>
                </a:cubicBezTo>
                <a:cubicBezTo>
                  <a:pt x="1" y="9"/>
                  <a:pt x="1" y="9"/>
                  <a:pt x="0" y="9"/>
                </a:cubicBezTo>
                <a:close/>
              </a:path>
            </a:pathLst>
          </a:custGeom>
          <a:solidFill>
            <a:srgbClr val="35A5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4" name="Freeform 7">
            <a:extLst>
              <a:ext uri="{FF2B5EF4-FFF2-40B4-BE49-F238E27FC236}">
                <a16:creationId xmlns:a16="http://schemas.microsoft.com/office/drawing/2014/main" id="{F3692BBB-712D-406F-9594-19618EE60AA4}"/>
              </a:ext>
            </a:extLst>
          </p:cNvPr>
          <p:cNvSpPr>
            <a:spLocks/>
          </p:cNvSpPr>
          <p:nvPr/>
        </p:nvSpPr>
        <p:spPr bwMode="auto">
          <a:xfrm>
            <a:off x="5766865" y="3653478"/>
            <a:ext cx="7931" cy="36487"/>
          </a:xfrm>
          <a:custGeom>
            <a:avLst/>
            <a:gdLst>
              <a:gd name="T0" fmla="*/ 1 w 3"/>
              <a:gd name="T1" fmla="*/ 13 h 14"/>
              <a:gd name="T2" fmla="*/ 0 w 3"/>
              <a:gd name="T3" fmla="*/ 14 h 14"/>
              <a:gd name="T4" fmla="*/ 3 w 3"/>
              <a:gd name="T5" fmla="*/ 0 h 14"/>
              <a:gd name="T6" fmla="*/ 3 w 3"/>
              <a:gd name="T7" fmla="*/ 1 h 14"/>
              <a:gd name="T8" fmla="*/ 1 w 3"/>
              <a:gd name="T9" fmla="*/ 13 h 14"/>
            </a:gdLst>
            <a:ahLst/>
            <a:cxnLst>
              <a:cxn ang="0">
                <a:pos x="T0" y="T1"/>
              </a:cxn>
              <a:cxn ang="0">
                <a:pos x="T2" y="T3"/>
              </a:cxn>
              <a:cxn ang="0">
                <a:pos x="T4" y="T5"/>
              </a:cxn>
              <a:cxn ang="0">
                <a:pos x="T6" y="T7"/>
              </a:cxn>
              <a:cxn ang="0">
                <a:pos x="T8" y="T9"/>
              </a:cxn>
            </a:cxnLst>
            <a:rect l="0" t="0" r="r" b="b"/>
            <a:pathLst>
              <a:path w="3" h="14">
                <a:moveTo>
                  <a:pt x="1" y="13"/>
                </a:moveTo>
                <a:cubicBezTo>
                  <a:pt x="1" y="13"/>
                  <a:pt x="0" y="13"/>
                  <a:pt x="0" y="14"/>
                </a:cubicBezTo>
                <a:cubicBezTo>
                  <a:pt x="0" y="11"/>
                  <a:pt x="0" y="4"/>
                  <a:pt x="3" y="0"/>
                </a:cubicBezTo>
                <a:cubicBezTo>
                  <a:pt x="3" y="1"/>
                  <a:pt x="3" y="1"/>
                  <a:pt x="3" y="1"/>
                </a:cubicBezTo>
                <a:cubicBezTo>
                  <a:pt x="2" y="4"/>
                  <a:pt x="1" y="12"/>
                  <a:pt x="1" y="13"/>
                </a:cubicBezTo>
                <a:close/>
              </a:path>
            </a:pathLst>
          </a:custGeom>
          <a:solidFill>
            <a:srgbClr val="35A5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5" name="Freeform 8">
            <a:extLst>
              <a:ext uri="{FF2B5EF4-FFF2-40B4-BE49-F238E27FC236}">
                <a16:creationId xmlns:a16="http://schemas.microsoft.com/office/drawing/2014/main" id="{3B5B21EB-F76B-45C7-85E8-15ABD8A7EF50}"/>
              </a:ext>
            </a:extLst>
          </p:cNvPr>
          <p:cNvSpPr>
            <a:spLocks/>
          </p:cNvSpPr>
          <p:nvPr/>
        </p:nvSpPr>
        <p:spPr bwMode="auto">
          <a:xfrm>
            <a:off x="5773212" y="3507530"/>
            <a:ext cx="1587" cy="38073"/>
          </a:xfrm>
          <a:custGeom>
            <a:avLst/>
            <a:gdLst>
              <a:gd name="T0" fmla="*/ 1 w 1"/>
              <a:gd name="T1" fmla="*/ 14 h 14"/>
              <a:gd name="T2" fmla="*/ 0 w 1"/>
              <a:gd name="T3" fmla="*/ 0 h 14"/>
              <a:gd name="T4" fmla="*/ 0 w 1"/>
              <a:gd name="T5" fmla="*/ 1 h 14"/>
              <a:gd name="T6" fmla="*/ 1 w 1"/>
              <a:gd name="T7" fmla="*/ 14 h 14"/>
            </a:gdLst>
            <a:ahLst/>
            <a:cxnLst>
              <a:cxn ang="0">
                <a:pos x="T0" y="T1"/>
              </a:cxn>
              <a:cxn ang="0">
                <a:pos x="T2" y="T3"/>
              </a:cxn>
              <a:cxn ang="0">
                <a:pos x="T4" y="T5"/>
              </a:cxn>
              <a:cxn ang="0">
                <a:pos x="T6" y="T7"/>
              </a:cxn>
            </a:cxnLst>
            <a:rect l="0" t="0" r="r" b="b"/>
            <a:pathLst>
              <a:path w="1" h="14">
                <a:moveTo>
                  <a:pt x="1" y="14"/>
                </a:moveTo>
                <a:cubicBezTo>
                  <a:pt x="1" y="13"/>
                  <a:pt x="0" y="10"/>
                  <a:pt x="0" y="0"/>
                </a:cubicBezTo>
                <a:cubicBezTo>
                  <a:pt x="0" y="1"/>
                  <a:pt x="0" y="1"/>
                  <a:pt x="0" y="1"/>
                </a:cubicBezTo>
                <a:cubicBezTo>
                  <a:pt x="1" y="5"/>
                  <a:pt x="1" y="10"/>
                  <a:pt x="1" y="14"/>
                </a:cubicBezTo>
                <a:close/>
              </a:path>
            </a:pathLst>
          </a:custGeom>
          <a:solidFill>
            <a:srgbClr val="35A5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6" name="Freeform 9">
            <a:extLst>
              <a:ext uri="{FF2B5EF4-FFF2-40B4-BE49-F238E27FC236}">
                <a16:creationId xmlns:a16="http://schemas.microsoft.com/office/drawing/2014/main" id="{FD61434F-4D85-4394-9EC9-99C3C9650D7E}"/>
              </a:ext>
            </a:extLst>
          </p:cNvPr>
          <p:cNvSpPr>
            <a:spLocks/>
          </p:cNvSpPr>
          <p:nvPr/>
        </p:nvSpPr>
        <p:spPr bwMode="auto">
          <a:xfrm>
            <a:off x="6055589" y="2352631"/>
            <a:ext cx="1587" cy="7932"/>
          </a:xfrm>
          <a:custGeom>
            <a:avLst/>
            <a:gdLst>
              <a:gd name="T0" fmla="*/ 0 w 1"/>
              <a:gd name="T1" fmla="*/ 3 h 3"/>
              <a:gd name="T2" fmla="*/ 1 w 1"/>
              <a:gd name="T3" fmla="*/ 0 h 3"/>
              <a:gd name="T4" fmla="*/ 0 w 1"/>
              <a:gd name="T5" fmla="*/ 3 h 3"/>
            </a:gdLst>
            <a:ahLst/>
            <a:cxnLst>
              <a:cxn ang="0">
                <a:pos x="T0" y="T1"/>
              </a:cxn>
              <a:cxn ang="0">
                <a:pos x="T2" y="T3"/>
              </a:cxn>
              <a:cxn ang="0">
                <a:pos x="T4" y="T5"/>
              </a:cxn>
            </a:cxnLst>
            <a:rect l="0" t="0" r="r" b="b"/>
            <a:pathLst>
              <a:path w="1" h="3">
                <a:moveTo>
                  <a:pt x="0" y="3"/>
                </a:moveTo>
                <a:cubicBezTo>
                  <a:pt x="0" y="1"/>
                  <a:pt x="1" y="0"/>
                  <a:pt x="1" y="0"/>
                </a:cubicBezTo>
                <a:cubicBezTo>
                  <a:pt x="1" y="0"/>
                  <a:pt x="0" y="1"/>
                  <a:pt x="0" y="3"/>
                </a:cubicBezTo>
                <a:close/>
              </a:path>
            </a:pathLst>
          </a:custGeom>
          <a:solidFill>
            <a:srgbClr val="35A5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grpSp>
        <p:nvGrpSpPr>
          <p:cNvPr id="7" name="Group 29">
            <a:extLst>
              <a:ext uri="{FF2B5EF4-FFF2-40B4-BE49-F238E27FC236}">
                <a16:creationId xmlns:a16="http://schemas.microsoft.com/office/drawing/2014/main" id="{15442359-2F55-4A94-AF72-7A667152FED8}"/>
              </a:ext>
            </a:extLst>
          </p:cNvPr>
          <p:cNvGrpSpPr/>
          <p:nvPr/>
        </p:nvGrpSpPr>
        <p:grpSpPr>
          <a:xfrm>
            <a:off x="3985342" y="0"/>
            <a:ext cx="4108772" cy="6858000"/>
            <a:chOff x="3985340" y="0"/>
            <a:chExt cx="4108772" cy="6858000"/>
          </a:xfrm>
        </p:grpSpPr>
        <p:sp>
          <p:nvSpPr>
            <p:cNvPr id="8" name="Freeform 10">
              <a:extLst>
                <a:ext uri="{FF2B5EF4-FFF2-40B4-BE49-F238E27FC236}">
                  <a16:creationId xmlns:a16="http://schemas.microsoft.com/office/drawing/2014/main" id="{7F3ABD5D-9924-4294-80A2-0F1B6F0A6E4E}"/>
                </a:ext>
              </a:extLst>
            </p:cNvPr>
            <p:cNvSpPr>
              <a:spLocks noEditPoints="1"/>
            </p:cNvSpPr>
            <p:nvPr/>
          </p:nvSpPr>
          <p:spPr bwMode="auto">
            <a:xfrm>
              <a:off x="3985340" y="0"/>
              <a:ext cx="4108772" cy="6858000"/>
            </a:xfrm>
            <a:custGeom>
              <a:avLst/>
              <a:gdLst>
                <a:gd name="T0" fmla="*/ 89 w 1526"/>
                <a:gd name="T1" fmla="*/ 1055 h 2553"/>
                <a:gd name="T2" fmla="*/ 110 w 1526"/>
                <a:gd name="T3" fmla="*/ 1036 h 2553"/>
                <a:gd name="T4" fmla="*/ 165 w 1526"/>
                <a:gd name="T5" fmla="*/ 1005 h 2553"/>
                <a:gd name="T6" fmla="*/ 267 w 1526"/>
                <a:gd name="T7" fmla="*/ 983 h 2553"/>
                <a:gd name="T8" fmla="*/ 339 w 1526"/>
                <a:gd name="T9" fmla="*/ 989 h 2553"/>
                <a:gd name="T10" fmla="*/ 414 w 1526"/>
                <a:gd name="T11" fmla="*/ 1012 h 2553"/>
                <a:gd name="T12" fmla="*/ 496 w 1526"/>
                <a:gd name="T13" fmla="*/ 1061 h 2553"/>
                <a:gd name="T14" fmla="*/ 644 w 1526"/>
                <a:gd name="T15" fmla="*/ 1236 h 2553"/>
                <a:gd name="T16" fmla="*/ 664 w 1526"/>
                <a:gd name="T17" fmla="*/ 1303 h 2553"/>
                <a:gd name="T18" fmla="*/ 665 w 1526"/>
                <a:gd name="T19" fmla="*/ 1320 h 2553"/>
                <a:gd name="T20" fmla="*/ 666 w 1526"/>
                <a:gd name="T21" fmla="*/ 1360 h 2553"/>
                <a:gd name="T22" fmla="*/ 662 w 1526"/>
                <a:gd name="T23" fmla="*/ 1374 h 2553"/>
                <a:gd name="T24" fmla="*/ 591 w 1526"/>
                <a:gd name="T25" fmla="*/ 1788 h 2553"/>
                <a:gd name="T26" fmla="*/ 155 w 1526"/>
                <a:gd name="T27" fmla="*/ 1866 h 2553"/>
                <a:gd name="T28" fmla="*/ 110 w 1526"/>
                <a:gd name="T29" fmla="*/ 2057 h 2553"/>
                <a:gd name="T30" fmla="*/ 349 w 1526"/>
                <a:gd name="T31" fmla="*/ 1873 h 2553"/>
                <a:gd name="T32" fmla="*/ 646 w 1526"/>
                <a:gd name="T33" fmla="*/ 1947 h 2553"/>
                <a:gd name="T34" fmla="*/ 770 w 1526"/>
                <a:gd name="T35" fmla="*/ 2156 h 2553"/>
                <a:gd name="T36" fmla="*/ 763 w 1526"/>
                <a:gd name="T37" fmla="*/ 2382 h 2553"/>
                <a:gd name="T38" fmla="*/ 654 w 1526"/>
                <a:gd name="T39" fmla="*/ 2553 h 2553"/>
                <a:gd name="T40" fmla="*/ 1045 w 1526"/>
                <a:gd name="T41" fmla="*/ 2287 h 2553"/>
                <a:gd name="T42" fmla="*/ 846 w 1526"/>
                <a:gd name="T43" fmla="*/ 1787 h 2553"/>
                <a:gd name="T44" fmla="*/ 854 w 1526"/>
                <a:gd name="T45" fmla="*/ 1579 h 2553"/>
                <a:gd name="T46" fmla="*/ 899 w 1526"/>
                <a:gd name="T47" fmla="*/ 1391 h 2553"/>
                <a:gd name="T48" fmla="*/ 1309 w 1526"/>
                <a:gd name="T49" fmla="*/ 1327 h 2553"/>
                <a:gd name="T50" fmla="*/ 1343 w 1526"/>
                <a:gd name="T51" fmla="*/ 1258 h 2553"/>
                <a:gd name="T52" fmla="*/ 870 w 1526"/>
                <a:gd name="T53" fmla="*/ 1272 h 2553"/>
                <a:gd name="T54" fmla="*/ 794 w 1526"/>
                <a:gd name="T55" fmla="*/ 1069 h 2553"/>
                <a:gd name="T56" fmla="*/ 766 w 1526"/>
                <a:gd name="T57" fmla="*/ 979 h 2553"/>
                <a:gd name="T58" fmla="*/ 765 w 1526"/>
                <a:gd name="T59" fmla="*/ 970 h 2553"/>
                <a:gd name="T60" fmla="*/ 766 w 1526"/>
                <a:gd name="T61" fmla="*/ 910 h 2553"/>
                <a:gd name="T62" fmla="*/ 770 w 1526"/>
                <a:gd name="T63" fmla="*/ 878 h 2553"/>
                <a:gd name="T64" fmla="*/ 815 w 1526"/>
                <a:gd name="T65" fmla="*/ 671 h 2553"/>
                <a:gd name="T66" fmla="*/ 915 w 1526"/>
                <a:gd name="T67" fmla="*/ 572 h 2553"/>
                <a:gd name="T68" fmla="*/ 1040 w 1526"/>
                <a:gd name="T69" fmla="*/ 507 h 2553"/>
                <a:gd name="T70" fmla="*/ 1309 w 1526"/>
                <a:gd name="T71" fmla="*/ 527 h 2553"/>
                <a:gd name="T72" fmla="*/ 1367 w 1526"/>
                <a:gd name="T73" fmla="*/ 460 h 2553"/>
                <a:gd name="T74" fmla="*/ 1024 w 1526"/>
                <a:gd name="T75" fmla="*/ 400 h 2553"/>
                <a:gd name="T76" fmla="*/ 813 w 1526"/>
                <a:gd name="T77" fmla="*/ 388 h 2553"/>
                <a:gd name="T78" fmla="*/ 725 w 1526"/>
                <a:gd name="T79" fmla="*/ 190 h 2553"/>
                <a:gd name="T80" fmla="*/ 316 w 1526"/>
                <a:gd name="T81" fmla="*/ 3 h 2553"/>
                <a:gd name="T82" fmla="*/ 238 w 1526"/>
                <a:gd name="T83" fmla="*/ 85 h 2553"/>
                <a:gd name="T84" fmla="*/ 359 w 1526"/>
                <a:gd name="T85" fmla="*/ 89 h 2553"/>
                <a:gd name="T86" fmla="*/ 618 w 1526"/>
                <a:gd name="T87" fmla="*/ 268 h 2553"/>
                <a:gd name="T88" fmla="*/ 636 w 1526"/>
                <a:gd name="T89" fmla="*/ 317 h 2553"/>
                <a:gd name="T90" fmla="*/ 661 w 1526"/>
                <a:gd name="T91" fmla="*/ 407 h 2553"/>
                <a:gd name="T92" fmla="*/ 666 w 1526"/>
                <a:gd name="T93" fmla="*/ 542 h 2553"/>
                <a:gd name="T94" fmla="*/ 662 w 1526"/>
                <a:gd name="T95" fmla="*/ 586 h 2553"/>
                <a:gd name="T96" fmla="*/ 568 w 1526"/>
                <a:gd name="T97" fmla="*/ 936 h 2553"/>
                <a:gd name="T98" fmla="*/ 105 w 1526"/>
                <a:gd name="T99" fmla="*/ 887 h 2553"/>
                <a:gd name="T100" fmla="*/ 15 w 1526"/>
                <a:gd name="T101" fmla="*/ 1059 h 2553"/>
                <a:gd name="T102" fmla="*/ 905 w 1526"/>
                <a:gd name="T103" fmla="*/ 579 h 2553"/>
                <a:gd name="T104" fmla="*/ 769 w 1526"/>
                <a:gd name="T105" fmla="*/ 879 h 25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526" h="2553">
                  <a:moveTo>
                    <a:pt x="15" y="1059"/>
                  </a:moveTo>
                  <a:cubicBezTo>
                    <a:pt x="20" y="1071"/>
                    <a:pt x="38" y="1078"/>
                    <a:pt x="50" y="1074"/>
                  </a:cubicBezTo>
                  <a:cubicBezTo>
                    <a:pt x="64" y="1069"/>
                    <a:pt x="78" y="1066"/>
                    <a:pt x="89" y="1055"/>
                  </a:cubicBezTo>
                  <a:cubicBezTo>
                    <a:pt x="95" y="1050"/>
                    <a:pt x="99" y="1045"/>
                    <a:pt x="104" y="1040"/>
                  </a:cubicBezTo>
                  <a:cubicBezTo>
                    <a:pt x="105" y="1039"/>
                    <a:pt x="106" y="1038"/>
                    <a:pt x="107" y="1038"/>
                  </a:cubicBezTo>
                  <a:cubicBezTo>
                    <a:pt x="107" y="1037"/>
                    <a:pt x="108" y="1037"/>
                    <a:pt x="110" y="1036"/>
                  </a:cubicBezTo>
                  <a:cubicBezTo>
                    <a:pt x="120" y="1029"/>
                    <a:pt x="130" y="1022"/>
                    <a:pt x="141" y="1016"/>
                  </a:cubicBezTo>
                  <a:cubicBezTo>
                    <a:pt x="146" y="1013"/>
                    <a:pt x="151" y="1011"/>
                    <a:pt x="156" y="1008"/>
                  </a:cubicBezTo>
                  <a:cubicBezTo>
                    <a:pt x="157" y="1008"/>
                    <a:pt x="162" y="1006"/>
                    <a:pt x="165" y="1005"/>
                  </a:cubicBezTo>
                  <a:cubicBezTo>
                    <a:pt x="188" y="996"/>
                    <a:pt x="210" y="990"/>
                    <a:pt x="234" y="985"/>
                  </a:cubicBezTo>
                  <a:cubicBezTo>
                    <a:pt x="235" y="985"/>
                    <a:pt x="243" y="984"/>
                    <a:pt x="245" y="984"/>
                  </a:cubicBezTo>
                  <a:cubicBezTo>
                    <a:pt x="252" y="983"/>
                    <a:pt x="260" y="983"/>
                    <a:pt x="267" y="983"/>
                  </a:cubicBezTo>
                  <a:cubicBezTo>
                    <a:pt x="281" y="982"/>
                    <a:pt x="294" y="983"/>
                    <a:pt x="307" y="984"/>
                  </a:cubicBezTo>
                  <a:cubicBezTo>
                    <a:pt x="310" y="984"/>
                    <a:pt x="325" y="986"/>
                    <a:pt x="322" y="986"/>
                  </a:cubicBezTo>
                  <a:cubicBezTo>
                    <a:pt x="328" y="987"/>
                    <a:pt x="334" y="988"/>
                    <a:pt x="339" y="989"/>
                  </a:cubicBezTo>
                  <a:cubicBezTo>
                    <a:pt x="353" y="992"/>
                    <a:pt x="366" y="995"/>
                    <a:pt x="379" y="999"/>
                  </a:cubicBezTo>
                  <a:cubicBezTo>
                    <a:pt x="387" y="1002"/>
                    <a:pt x="395" y="1004"/>
                    <a:pt x="403" y="1007"/>
                  </a:cubicBezTo>
                  <a:cubicBezTo>
                    <a:pt x="404" y="1008"/>
                    <a:pt x="413" y="1012"/>
                    <a:pt x="414" y="1012"/>
                  </a:cubicBezTo>
                  <a:cubicBezTo>
                    <a:pt x="426" y="1017"/>
                    <a:pt x="438" y="1023"/>
                    <a:pt x="449" y="1030"/>
                  </a:cubicBezTo>
                  <a:cubicBezTo>
                    <a:pt x="462" y="1037"/>
                    <a:pt x="475" y="1045"/>
                    <a:pt x="487" y="1054"/>
                  </a:cubicBezTo>
                  <a:cubicBezTo>
                    <a:pt x="489" y="1055"/>
                    <a:pt x="495" y="1060"/>
                    <a:pt x="496" y="1061"/>
                  </a:cubicBezTo>
                  <a:cubicBezTo>
                    <a:pt x="501" y="1065"/>
                    <a:pt x="507" y="1070"/>
                    <a:pt x="512" y="1074"/>
                  </a:cubicBezTo>
                  <a:cubicBezTo>
                    <a:pt x="542" y="1102"/>
                    <a:pt x="562" y="1136"/>
                    <a:pt x="606" y="1136"/>
                  </a:cubicBezTo>
                  <a:cubicBezTo>
                    <a:pt x="618" y="1169"/>
                    <a:pt x="631" y="1202"/>
                    <a:pt x="644" y="1236"/>
                  </a:cubicBezTo>
                  <a:cubicBezTo>
                    <a:pt x="651" y="1256"/>
                    <a:pt x="657" y="1276"/>
                    <a:pt x="662" y="1296"/>
                  </a:cubicBezTo>
                  <a:cubicBezTo>
                    <a:pt x="663" y="1299"/>
                    <a:pt x="664" y="1303"/>
                    <a:pt x="664" y="1306"/>
                  </a:cubicBezTo>
                  <a:cubicBezTo>
                    <a:pt x="664" y="1305"/>
                    <a:pt x="664" y="1304"/>
                    <a:pt x="664" y="1303"/>
                  </a:cubicBezTo>
                  <a:cubicBezTo>
                    <a:pt x="664" y="1304"/>
                    <a:pt x="664" y="1306"/>
                    <a:pt x="664" y="1307"/>
                  </a:cubicBezTo>
                  <a:cubicBezTo>
                    <a:pt x="665" y="1309"/>
                    <a:pt x="665" y="1310"/>
                    <a:pt x="665" y="1312"/>
                  </a:cubicBezTo>
                  <a:cubicBezTo>
                    <a:pt x="666" y="1316"/>
                    <a:pt x="666" y="1321"/>
                    <a:pt x="665" y="1320"/>
                  </a:cubicBezTo>
                  <a:cubicBezTo>
                    <a:pt x="666" y="1324"/>
                    <a:pt x="666" y="1328"/>
                    <a:pt x="666" y="1332"/>
                  </a:cubicBezTo>
                  <a:cubicBezTo>
                    <a:pt x="666" y="1342"/>
                    <a:pt x="666" y="1351"/>
                    <a:pt x="665" y="1360"/>
                  </a:cubicBezTo>
                  <a:cubicBezTo>
                    <a:pt x="665" y="1360"/>
                    <a:pt x="665" y="1360"/>
                    <a:pt x="666" y="1360"/>
                  </a:cubicBezTo>
                  <a:cubicBezTo>
                    <a:pt x="665" y="1360"/>
                    <a:pt x="665" y="1360"/>
                    <a:pt x="665" y="1361"/>
                  </a:cubicBezTo>
                  <a:cubicBezTo>
                    <a:pt x="665" y="1364"/>
                    <a:pt x="665" y="1367"/>
                    <a:pt x="664" y="1369"/>
                  </a:cubicBezTo>
                  <a:cubicBezTo>
                    <a:pt x="664" y="1376"/>
                    <a:pt x="663" y="1376"/>
                    <a:pt x="662" y="1374"/>
                  </a:cubicBezTo>
                  <a:cubicBezTo>
                    <a:pt x="658" y="1393"/>
                    <a:pt x="652" y="1412"/>
                    <a:pt x="645" y="1431"/>
                  </a:cubicBezTo>
                  <a:cubicBezTo>
                    <a:pt x="615" y="1517"/>
                    <a:pt x="588" y="1610"/>
                    <a:pt x="584" y="1702"/>
                  </a:cubicBezTo>
                  <a:cubicBezTo>
                    <a:pt x="583" y="1731"/>
                    <a:pt x="586" y="1760"/>
                    <a:pt x="591" y="1788"/>
                  </a:cubicBezTo>
                  <a:cubicBezTo>
                    <a:pt x="571" y="1780"/>
                    <a:pt x="551" y="1774"/>
                    <a:pt x="530" y="1769"/>
                  </a:cubicBezTo>
                  <a:cubicBezTo>
                    <a:pt x="463" y="1753"/>
                    <a:pt x="392" y="1753"/>
                    <a:pt x="325" y="1771"/>
                  </a:cubicBezTo>
                  <a:cubicBezTo>
                    <a:pt x="261" y="1788"/>
                    <a:pt x="203" y="1822"/>
                    <a:pt x="155" y="1866"/>
                  </a:cubicBezTo>
                  <a:cubicBezTo>
                    <a:pt x="131" y="1887"/>
                    <a:pt x="110" y="1912"/>
                    <a:pt x="93" y="1939"/>
                  </a:cubicBezTo>
                  <a:cubicBezTo>
                    <a:pt x="74" y="1968"/>
                    <a:pt x="56" y="1999"/>
                    <a:pt x="59" y="2035"/>
                  </a:cubicBezTo>
                  <a:cubicBezTo>
                    <a:pt x="60" y="2063"/>
                    <a:pt x="89" y="2073"/>
                    <a:pt x="110" y="2057"/>
                  </a:cubicBezTo>
                  <a:cubicBezTo>
                    <a:pt x="132" y="2039"/>
                    <a:pt x="144" y="2015"/>
                    <a:pt x="162" y="1994"/>
                  </a:cubicBezTo>
                  <a:cubicBezTo>
                    <a:pt x="179" y="1974"/>
                    <a:pt x="198" y="1955"/>
                    <a:pt x="218" y="1939"/>
                  </a:cubicBezTo>
                  <a:cubicBezTo>
                    <a:pt x="256" y="1906"/>
                    <a:pt x="301" y="1885"/>
                    <a:pt x="349" y="1873"/>
                  </a:cubicBezTo>
                  <a:cubicBezTo>
                    <a:pt x="399" y="1861"/>
                    <a:pt x="452" y="1863"/>
                    <a:pt x="501" y="1876"/>
                  </a:cubicBezTo>
                  <a:cubicBezTo>
                    <a:pt x="528" y="1883"/>
                    <a:pt x="548" y="1891"/>
                    <a:pt x="570" y="1903"/>
                  </a:cubicBezTo>
                  <a:cubicBezTo>
                    <a:pt x="596" y="1917"/>
                    <a:pt x="620" y="1933"/>
                    <a:pt x="646" y="1947"/>
                  </a:cubicBezTo>
                  <a:cubicBezTo>
                    <a:pt x="647" y="1947"/>
                    <a:pt x="648" y="1948"/>
                    <a:pt x="649" y="1948"/>
                  </a:cubicBezTo>
                  <a:cubicBezTo>
                    <a:pt x="653" y="1956"/>
                    <a:pt x="658" y="1964"/>
                    <a:pt x="663" y="1972"/>
                  </a:cubicBezTo>
                  <a:cubicBezTo>
                    <a:pt x="698" y="2034"/>
                    <a:pt x="740" y="2091"/>
                    <a:pt x="770" y="2156"/>
                  </a:cubicBezTo>
                  <a:cubicBezTo>
                    <a:pt x="777" y="2176"/>
                    <a:pt x="783" y="2196"/>
                    <a:pt x="786" y="2217"/>
                  </a:cubicBezTo>
                  <a:cubicBezTo>
                    <a:pt x="789" y="2242"/>
                    <a:pt x="788" y="2268"/>
                    <a:pt x="786" y="2294"/>
                  </a:cubicBezTo>
                  <a:cubicBezTo>
                    <a:pt x="781" y="2324"/>
                    <a:pt x="773" y="2353"/>
                    <a:pt x="763" y="2382"/>
                  </a:cubicBezTo>
                  <a:cubicBezTo>
                    <a:pt x="753" y="2403"/>
                    <a:pt x="741" y="2424"/>
                    <a:pt x="728" y="2444"/>
                  </a:cubicBezTo>
                  <a:cubicBezTo>
                    <a:pt x="716" y="2458"/>
                    <a:pt x="703" y="2471"/>
                    <a:pt x="690" y="2483"/>
                  </a:cubicBezTo>
                  <a:cubicBezTo>
                    <a:pt x="669" y="2502"/>
                    <a:pt x="658" y="2527"/>
                    <a:pt x="654" y="2553"/>
                  </a:cubicBezTo>
                  <a:cubicBezTo>
                    <a:pt x="968" y="2553"/>
                    <a:pt x="968" y="2553"/>
                    <a:pt x="968" y="2553"/>
                  </a:cubicBezTo>
                  <a:cubicBezTo>
                    <a:pt x="978" y="2535"/>
                    <a:pt x="988" y="2517"/>
                    <a:pt x="995" y="2499"/>
                  </a:cubicBezTo>
                  <a:cubicBezTo>
                    <a:pt x="1025" y="2430"/>
                    <a:pt x="1043" y="2363"/>
                    <a:pt x="1045" y="2287"/>
                  </a:cubicBezTo>
                  <a:cubicBezTo>
                    <a:pt x="1047" y="2225"/>
                    <a:pt x="1038" y="2159"/>
                    <a:pt x="1016" y="2100"/>
                  </a:cubicBezTo>
                  <a:cubicBezTo>
                    <a:pt x="992" y="2037"/>
                    <a:pt x="961" y="1979"/>
                    <a:pt x="925" y="1922"/>
                  </a:cubicBezTo>
                  <a:cubicBezTo>
                    <a:pt x="897" y="1878"/>
                    <a:pt x="868" y="1835"/>
                    <a:pt x="846" y="1787"/>
                  </a:cubicBezTo>
                  <a:cubicBezTo>
                    <a:pt x="840" y="1770"/>
                    <a:pt x="835" y="1753"/>
                    <a:pt x="831" y="1735"/>
                  </a:cubicBezTo>
                  <a:cubicBezTo>
                    <a:pt x="830" y="1716"/>
                    <a:pt x="831" y="1697"/>
                    <a:pt x="832" y="1678"/>
                  </a:cubicBezTo>
                  <a:cubicBezTo>
                    <a:pt x="838" y="1645"/>
                    <a:pt x="846" y="1612"/>
                    <a:pt x="854" y="1579"/>
                  </a:cubicBezTo>
                  <a:cubicBezTo>
                    <a:pt x="867" y="1531"/>
                    <a:pt x="877" y="1485"/>
                    <a:pt x="881" y="1436"/>
                  </a:cubicBezTo>
                  <a:cubicBezTo>
                    <a:pt x="882" y="1426"/>
                    <a:pt x="882" y="1416"/>
                    <a:pt x="883" y="1406"/>
                  </a:cubicBezTo>
                  <a:cubicBezTo>
                    <a:pt x="888" y="1401"/>
                    <a:pt x="893" y="1396"/>
                    <a:pt x="899" y="1391"/>
                  </a:cubicBezTo>
                  <a:cubicBezTo>
                    <a:pt x="919" y="1374"/>
                    <a:pt x="941" y="1358"/>
                    <a:pt x="964" y="1344"/>
                  </a:cubicBezTo>
                  <a:cubicBezTo>
                    <a:pt x="1015" y="1313"/>
                    <a:pt x="1067" y="1293"/>
                    <a:pt x="1126" y="1291"/>
                  </a:cubicBezTo>
                  <a:cubicBezTo>
                    <a:pt x="1190" y="1289"/>
                    <a:pt x="1250" y="1303"/>
                    <a:pt x="1309" y="1327"/>
                  </a:cubicBezTo>
                  <a:cubicBezTo>
                    <a:pt x="1362" y="1348"/>
                    <a:pt x="1419" y="1372"/>
                    <a:pt x="1460" y="1414"/>
                  </a:cubicBezTo>
                  <a:cubicBezTo>
                    <a:pt x="1483" y="1437"/>
                    <a:pt x="1526" y="1405"/>
                    <a:pt x="1506" y="1378"/>
                  </a:cubicBezTo>
                  <a:cubicBezTo>
                    <a:pt x="1463" y="1320"/>
                    <a:pt x="1408" y="1284"/>
                    <a:pt x="1343" y="1258"/>
                  </a:cubicBezTo>
                  <a:cubicBezTo>
                    <a:pt x="1275" y="1230"/>
                    <a:pt x="1202" y="1207"/>
                    <a:pt x="1129" y="1200"/>
                  </a:cubicBezTo>
                  <a:cubicBezTo>
                    <a:pt x="1055" y="1193"/>
                    <a:pt x="980" y="1207"/>
                    <a:pt x="915" y="1243"/>
                  </a:cubicBezTo>
                  <a:cubicBezTo>
                    <a:pt x="899" y="1252"/>
                    <a:pt x="884" y="1262"/>
                    <a:pt x="870" y="1272"/>
                  </a:cubicBezTo>
                  <a:cubicBezTo>
                    <a:pt x="864" y="1245"/>
                    <a:pt x="856" y="1219"/>
                    <a:pt x="846" y="1193"/>
                  </a:cubicBezTo>
                  <a:cubicBezTo>
                    <a:pt x="831" y="1155"/>
                    <a:pt x="814" y="1117"/>
                    <a:pt x="798" y="1080"/>
                  </a:cubicBezTo>
                  <a:cubicBezTo>
                    <a:pt x="797" y="1076"/>
                    <a:pt x="795" y="1073"/>
                    <a:pt x="794" y="1069"/>
                  </a:cubicBezTo>
                  <a:cubicBezTo>
                    <a:pt x="791" y="1062"/>
                    <a:pt x="788" y="1056"/>
                    <a:pt x="786" y="1049"/>
                  </a:cubicBezTo>
                  <a:cubicBezTo>
                    <a:pt x="781" y="1035"/>
                    <a:pt x="776" y="1020"/>
                    <a:pt x="772" y="1005"/>
                  </a:cubicBezTo>
                  <a:cubicBezTo>
                    <a:pt x="770" y="997"/>
                    <a:pt x="768" y="988"/>
                    <a:pt x="766" y="979"/>
                  </a:cubicBezTo>
                  <a:cubicBezTo>
                    <a:pt x="766" y="980"/>
                    <a:pt x="766" y="982"/>
                    <a:pt x="766" y="984"/>
                  </a:cubicBezTo>
                  <a:cubicBezTo>
                    <a:pt x="766" y="981"/>
                    <a:pt x="766" y="978"/>
                    <a:pt x="765" y="976"/>
                  </a:cubicBezTo>
                  <a:cubicBezTo>
                    <a:pt x="765" y="973"/>
                    <a:pt x="765" y="971"/>
                    <a:pt x="765" y="970"/>
                  </a:cubicBezTo>
                  <a:cubicBezTo>
                    <a:pt x="764" y="953"/>
                    <a:pt x="765" y="936"/>
                    <a:pt x="765" y="919"/>
                  </a:cubicBezTo>
                  <a:cubicBezTo>
                    <a:pt x="766" y="917"/>
                    <a:pt x="766" y="914"/>
                    <a:pt x="766" y="912"/>
                  </a:cubicBezTo>
                  <a:cubicBezTo>
                    <a:pt x="764" y="928"/>
                    <a:pt x="764" y="927"/>
                    <a:pt x="766" y="910"/>
                  </a:cubicBezTo>
                  <a:cubicBezTo>
                    <a:pt x="767" y="903"/>
                    <a:pt x="768" y="896"/>
                    <a:pt x="769" y="890"/>
                  </a:cubicBezTo>
                  <a:cubicBezTo>
                    <a:pt x="769" y="888"/>
                    <a:pt x="769" y="885"/>
                    <a:pt x="769" y="882"/>
                  </a:cubicBezTo>
                  <a:cubicBezTo>
                    <a:pt x="769" y="881"/>
                    <a:pt x="769" y="880"/>
                    <a:pt x="770" y="878"/>
                  </a:cubicBezTo>
                  <a:cubicBezTo>
                    <a:pt x="773" y="861"/>
                    <a:pt x="776" y="843"/>
                    <a:pt x="779" y="826"/>
                  </a:cubicBezTo>
                  <a:cubicBezTo>
                    <a:pt x="789" y="776"/>
                    <a:pt x="801" y="727"/>
                    <a:pt x="810" y="677"/>
                  </a:cubicBezTo>
                  <a:cubicBezTo>
                    <a:pt x="812" y="675"/>
                    <a:pt x="813" y="673"/>
                    <a:pt x="815" y="671"/>
                  </a:cubicBezTo>
                  <a:cubicBezTo>
                    <a:pt x="824" y="660"/>
                    <a:pt x="834" y="649"/>
                    <a:pt x="844" y="639"/>
                  </a:cubicBezTo>
                  <a:cubicBezTo>
                    <a:pt x="862" y="617"/>
                    <a:pt x="883" y="597"/>
                    <a:pt x="905" y="580"/>
                  </a:cubicBezTo>
                  <a:cubicBezTo>
                    <a:pt x="908" y="577"/>
                    <a:pt x="912" y="575"/>
                    <a:pt x="915" y="572"/>
                  </a:cubicBezTo>
                  <a:cubicBezTo>
                    <a:pt x="921" y="568"/>
                    <a:pt x="927" y="564"/>
                    <a:pt x="933" y="560"/>
                  </a:cubicBezTo>
                  <a:cubicBezTo>
                    <a:pt x="945" y="552"/>
                    <a:pt x="957" y="545"/>
                    <a:pt x="969" y="538"/>
                  </a:cubicBezTo>
                  <a:cubicBezTo>
                    <a:pt x="996" y="523"/>
                    <a:pt x="1012" y="516"/>
                    <a:pt x="1040" y="507"/>
                  </a:cubicBezTo>
                  <a:cubicBezTo>
                    <a:pt x="1094" y="491"/>
                    <a:pt x="1146" y="485"/>
                    <a:pt x="1204" y="491"/>
                  </a:cubicBezTo>
                  <a:cubicBezTo>
                    <a:pt x="1225" y="494"/>
                    <a:pt x="1256" y="500"/>
                    <a:pt x="1279" y="509"/>
                  </a:cubicBezTo>
                  <a:cubicBezTo>
                    <a:pt x="1289" y="514"/>
                    <a:pt x="1299" y="521"/>
                    <a:pt x="1309" y="527"/>
                  </a:cubicBezTo>
                  <a:cubicBezTo>
                    <a:pt x="1321" y="533"/>
                    <a:pt x="1334" y="537"/>
                    <a:pt x="1345" y="544"/>
                  </a:cubicBezTo>
                  <a:cubicBezTo>
                    <a:pt x="1368" y="556"/>
                    <a:pt x="1397" y="536"/>
                    <a:pt x="1389" y="509"/>
                  </a:cubicBezTo>
                  <a:cubicBezTo>
                    <a:pt x="1385" y="493"/>
                    <a:pt x="1378" y="473"/>
                    <a:pt x="1367" y="460"/>
                  </a:cubicBezTo>
                  <a:cubicBezTo>
                    <a:pt x="1355" y="448"/>
                    <a:pt x="1339" y="437"/>
                    <a:pt x="1325" y="428"/>
                  </a:cubicBezTo>
                  <a:cubicBezTo>
                    <a:pt x="1296" y="411"/>
                    <a:pt x="1263" y="399"/>
                    <a:pt x="1230" y="393"/>
                  </a:cubicBezTo>
                  <a:cubicBezTo>
                    <a:pt x="1161" y="381"/>
                    <a:pt x="1092" y="384"/>
                    <a:pt x="1024" y="400"/>
                  </a:cubicBezTo>
                  <a:cubicBezTo>
                    <a:pt x="958" y="415"/>
                    <a:pt x="895" y="438"/>
                    <a:pt x="837" y="474"/>
                  </a:cubicBezTo>
                  <a:cubicBezTo>
                    <a:pt x="833" y="476"/>
                    <a:pt x="828" y="479"/>
                    <a:pt x="824" y="482"/>
                  </a:cubicBezTo>
                  <a:cubicBezTo>
                    <a:pt x="822" y="451"/>
                    <a:pt x="818" y="419"/>
                    <a:pt x="813" y="388"/>
                  </a:cubicBezTo>
                  <a:cubicBezTo>
                    <a:pt x="807" y="355"/>
                    <a:pt x="798" y="323"/>
                    <a:pt x="786" y="293"/>
                  </a:cubicBezTo>
                  <a:cubicBezTo>
                    <a:pt x="778" y="273"/>
                    <a:pt x="771" y="252"/>
                    <a:pt x="759" y="235"/>
                  </a:cubicBezTo>
                  <a:cubicBezTo>
                    <a:pt x="748" y="219"/>
                    <a:pt x="737" y="204"/>
                    <a:pt x="725" y="190"/>
                  </a:cubicBezTo>
                  <a:cubicBezTo>
                    <a:pt x="685" y="140"/>
                    <a:pt x="634" y="107"/>
                    <a:pt x="581" y="73"/>
                  </a:cubicBezTo>
                  <a:cubicBezTo>
                    <a:pt x="530" y="40"/>
                    <a:pt x="471" y="17"/>
                    <a:pt x="411" y="7"/>
                  </a:cubicBezTo>
                  <a:cubicBezTo>
                    <a:pt x="380" y="1"/>
                    <a:pt x="348" y="0"/>
                    <a:pt x="316" y="3"/>
                  </a:cubicBezTo>
                  <a:cubicBezTo>
                    <a:pt x="299" y="4"/>
                    <a:pt x="282" y="7"/>
                    <a:pt x="265" y="10"/>
                  </a:cubicBezTo>
                  <a:cubicBezTo>
                    <a:pt x="250" y="13"/>
                    <a:pt x="237" y="21"/>
                    <a:pt x="224" y="29"/>
                  </a:cubicBezTo>
                  <a:cubicBezTo>
                    <a:pt x="198" y="45"/>
                    <a:pt x="210" y="83"/>
                    <a:pt x="238" y="85"/>
                  </a:cubicBezTo>
                  <a:cubicBezTo>
                    <a:pt x="250" y="86"/>
                    <a:pt x="261" y="88"/>
                    <a:pt x="273" y="87"/>
                  </a:cubicBezTo>
                  <a:cubicBezTo>
                    <a:pt x="282" y="87"/>
                    <a:pt x="292" y="86"/>
                    <a:pt x="301" y="86"/>
                  </a:cubicBezTo>
                  <a:cubicBezTo>
                    <a:pt x="321" y="85"/>
                    <a:pt x="340" y="86"/>
                    <a:pt x="359" y="89"/>
                  </a:cubicBezTo>
                  <a:cubicBezTo>
                    <a:pt x="397" y="95"/>
                    <a:pt x="435" y="104"/>
                    <a:pt x="471" y="119"/>
                  </a:cubicBezTo>
                  <a:cubicBezTo>
                    <a:pt x="504" y="133"/>
                    <a:pt x="536" y="152"/>
                    <a:pt x="560" y="178"/>
                  </a:cubicBezTo>
                  <a:cubicBezTo>
                    <a:pt x="583" y="204"/>
                    <a:pt x="601" y="232"/>
                    <a:pt x="618" y="268"/>
                  </a:cubicBezTo>
                  <a:cubicBezTo>
                    <a:pt x="618" y="270"/>
                    <a:pt x="622" y="278"/>
                    <a:pt x="622" y="280"/>
                  </a:cubicBezTo>
                  <a:cubicBezTo>
                    <a:pt x="624" y="284"/>
                    <a:pt x="626" y="289"/>
                    <a:pt x="627" y="294"/>
                  </a:cubicBezTo>
                  <a:cubicBezTo>
                    <a:pt x="630" y="303"/>
                    <a:pt x="633" y="309"/>
                    <a:pt x="636" y="317"/>
                  </a:cubicBezTo>
                  <a:cubicBezTo>
                    <a:pt x="636" y="318"/>
                    <a:pt x="637" y="320"/>
                    <a:pt x="637" y="321"/>
                  </a:cubicBezTo>
                  <a:cubicBezTo>
                    <a:pt x="644" y="339"/>
                    <a:pt x="650" y="357"/>
                    <a:pt x="654" y="376"/>
                  </a:cubicBezTo>
                  <a:cubicBezTo>
                    <a:pt x="657" y="386"/>
                    <a:pt x="659" y="397"/>
                    <a:pt x="661" y="407"/>
                  </a:cubicBezTo>
                  <a:cubicBezTo>
                    <a:pt x="662" y="412"/>
                    <a:pt x="664" y="425"/>
                    <a:pt x="664" y="425"/>
                  </a:cubicBezTo>
                  <a:cubicBezTo>
                    <a:pt x="666" y="442"/>
                    <a:pt x="667" y="459"/>
                    <a:pt x="668" y="476"/>
                  </a:cubicBezTo>
                  <a:cubicBezTo>
                    <a:pt x="668" y="498"/>
                    <a:pt x="668" y="520"/>
                    <a:pt x="666" y="542"/>
                  </a:cubicBezTo>
                  <a:cubicBezTo>
                    <a:pt x="666" y="551"/>
                    <a:pt x="665" y="559"/>
                    <a:pt x="664" y="568"/>
                  </a:cubicBezTo>
                  <a:cubicBezTo>
                    <a:pt x="664" y="573"/>
                    <a:pt x="663" y="578"/>
                    <a:pt x="662" y="583"/>
                  </a:cubicBezTo>
                  <a:cubicBezTo>
                    <a:pt x="662" y="584"/>
                    <a:pt x="662" y="585"/>
                    <a:pt x="662" y="586"/>
                  </a:cubicBezTo>
                  <a:cubicBezTo>
                    <a:pt x="655" y="625"/>
                    <a:pt x="647" y="663"/>
                    <a:pt x="635" y="701"/>
                  </a:cubicBezTo>
                  <a:cubicBezTo>
                    <a:pt x="622" y="745"/>
                    <a:pt x="602" y="787"/>
                    <a:pt x="588" y="831"/>
                  </a:cubicBezTo>
                  <a:cubicBezTo>
                    <a:pt x="577" y="865"/>
                    <a:pt x="570" y="901"/>
                    <a:pt x="568" y="936"/>
                  </a:cubicBezTo>
                  <a:cubicBezTo>
                    <a:pt x="551" y="924"/>
                    <a:pt x="533" y="914"/>
                    <a:pt x="514" y="904"/>
                  </a:cubicBezTo>
                  <a:cubicBezTo>
                    <a:pt x="448" y="869"/>
                    <a:pt x="376" y="849"/>
                    <a:pt x="301" y="845"/>
                  </a:cubicBezTo>
                  <a:cubicBezTo>
                    <a:pt x="235" y="842"/>
                    <a:pt x="162" y="852"/>
                    <a:pt x="105" y="887"/>
                  </a:cubicBezTo>
                  <a:cubicBezTo>
                    <a:pt x="74" y="906"/>
                    <a:pt x="48" y="929"/>
                    <a:pt x="28" y="960"/>
                  </a:cubicBezTo>
                  <a:cubicBezTo>
                    <a:pt x="19" y="973"/>
                    <a:pt x="9" y="990"/>
                    <a:pt x="5" y="1005"/>
                  </a:cubicBezTo>
                  <a:cubicBezTo>
                    <a:pt x="0" y="1025"/>
                    <a:pt x="8" y="1042"/>
                    <a:pt x="15" y="1059"/>
                  </a:cubicBezTo>
                  <a:close/>
                  <a:moveTo>
                    <a:pt x="905" y="579"/>
                  </a:moveTo>
                  <a:cubicBezTo>
                    <a:pt x="905" y="579"/>
                    <a:pt x="906" y="579"/>
                    <a:pt x="906" y="579"/>
                  </a:cubicBezTo>
                  <a:cubicBezTo>
                    <a:pt x="909" y="576"/>
                    <a:pt x="909" y="577"/>
                    <a:pt x="905" y="579"/>
                  </a:cubicBezTo>
                  <a:close/>
                  <a:moveTo>
                    <a:pt x="769" y="879"/>
                  </a:moveTo>
                  <a:cubicBezTo>
                    <a:pt x="769" y="877"/>
                    <a:pt x="770" y="876"/>
                    <a:pt x="770" y="876"/>
                  </a:cubicBezTo>
                  <a:cubicBezTo>
                    <a:pt x="770" y="876"/>
                    <a:pt x="769" y="877"/>
                    <a:pt x="769" y="879"/>
                  </a:cubicBezTo>
                  <a:close/>
                </a:path>
              </a:pathLst>
            </a:custGeom>
            <a:solidFill>
              <a:schemeClr val="accent3">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9" name="Freeform 11">
              <a:extLst>
                <a:ext uri="{FF2B5EF4-FFF2-40B4-BE49-F238E27FC236}">
                  <a16:creationId xmlns:a16="http://schemas.microsoft.com/office/drawing/2014/main" id="{5446E932-E6DE-4043-A134-D840ED232C2D}"/>
                </a:ext>
              </a:extLst>
            </p:cNvPr>
            <p:cNvSpPr>
              <a:spLocks/>
            </p:cNvSpPr>
            <p:nvPr/>
          </p:nvSpPr>
          <p:spPr bwMode="auto">
            <a:xfrm>
              <a:off x="5877912" y="3445658"/>
              <a:ext cx="239546" cy="1611781"/>
            </a:xfrm>
            <a:custGeom>
              <a:avLst/>
              <a:gdLst>
                <a:gd name="T0" fmla="*/ 43 w 89"/>
                <a:gd name="T1" fmla="*/ 10 h 600"/>
                <a:gd name="T2" fmla="*/ 39 w 89"/>
                <a:gd name="T3" fmla="*/ 171 h 600"/>
                <a:gd name="T4" fmla="*/ 9 w 89"/>
                <a:gd name="T5" fmla="*/ 311 h 600"/>
                <a:gd name="T6" fmla="*/ 58 w 89"/>
                <a:gd name="T7" fmla="*/ 584 h 600"/>
                <a:gd name="T8" fmla="*/ 81 w 89"/>
                <a:gd name="T9" fmla="*/ 570 h 600"/>
                <a:gd name="T10" fmla="*/ 37 w 89"/>
                <a:gd name="T11" fmla="*/ 293 h 600"/>
                <a:gd name="T12" fmla="*/ 67 w 89"/>
                <a:gd name="T13" fmla="*/ 152 h 600"/>
                <a:gd name="T14" fmla="*/ 58 w 89"/>
                <a:gd name="T15" fmla="*/ 8 h 600"/>
                <a:gd name="T16" fmla="*/ 43 w 89"/>
                <a:gd name="T17" fmla="*/ 10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9" h="600">
                  <a:moveTo>
                    <a:pt x="43" y="10"/>
                  </a:moveTo>
                  <a:cubicBezTo>
                    <a:pt x="50" y="65"/>
                    <a:pt x="53" y="117"/>
                    <a:pt x="39" y="171"/>
                  </a:cubicBezTo>
                  <a:cubicBezTo>
                    <a:pt x="26" y="218"/>
                    <a:pt x="13" y="263"/>
                    <a:pt x="9" y="311"/>
                  </a:cubicBezTo>
                  <a:cubicBezTo>
                    <a:pt x="0" y="404"/>
                    <a:pt x="18" y="500"/>
                    <a:pt x="58" y="584"/>
                  </a:cubicBezTo>
                  <a:cubicBezTo>
                    <a:pt x="65" y="600"/>
                    <a:pt x="89" y="586"/>
                    <a:pt x="81" y="570"/>
                  </a:cubicBezTo>
                  <a:cubicBezTo>
                    <a:pt x="42" y="483"/>
                    <a:pt x="27" y="388"/>
                    <a:pt x="37" y="293"/>
                  </a:cubicBezTo>
                  <a:cubicBezTo>
                    <a:pt x="42" y="245"/>
                    <a:pt x="59" y="200"/>
                    <a:pt x="67" y="152"/>
                  </a:cubicBezTo>
                  <a:cubicBezTo>
                    <a:pt x="75" y="104"/>
                    <a:pt x="67" y="55"/>
                    <a:pt x="58" y="8"/>
                  </a:cubicBezTo>
                  <a:cubicBezTo>
                    <a:pt x="56" y="0"/>
                    <a:pt x="42" y="2"/>
                    <a:pt x="43" y="10"/>
                  </a:cubicBezTo>
                  <a:close/>
                </a:path>
              </a:pathLst>
            </a:custGeom>
            <a:solidFill>
              <a:schemeClr val="accent3">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10" name="Freeform 12">
              <a:extLst>
                <a:ext uri="{FF2B5EF4-FFF2-40B4-BE49-F238E27FC236}">
                  <a16:creationId xmlns:a16="http://schemas.microsoft.com/office/drawing/2014/main" id="{52730A78-7A5D-4D19-8205-63193C091CD2}"/>
                </a:ext>
              </a:extLst>
            </p:cNvPr>
            <p:cNvSpPr>
              <a:spLocks/>
            </p:cNvSpPr>
            <p:nvPr/>
          </p:nvSpPr>
          <p:spPr bwMode="auto">
            <a:xfrm>
              <a:off x="5708169" y="1007364"/>
              <a:ext cx="471160" cy="1492801"/>
            </a:xfrm>
            <a:custGeom>
              <a:avLst/>
              <a:gdLst>
                <a:gd name="T0" fmla="*/ 49 w 175"/>
                <a:gd name="T1" fmla="*/ 15 h 556"/>
                <a:gd name="T2" fmla="*/ 53 w 175"/>
                <a:gd name="T3" fmla="*/ 269 h 556"/>
                <a:gd name="T4" fmla="*/ 33 w 175"/>
                <a:gd name="T5" fmla="*/ 541 h 556"/>
                <a:gd name="T6" fmla="*/ 57 w 175"/>
                <a:gd name="T7" fmla="*/ 535 h 556"/>
                <a:gd name="T8" fmla="*/ 62 w 175"/>
                <a:gd name="T9" fmla="*/ 8 h 556"/>
                <a:gd name="T10" fmla="*/ 49 w 175"/>
                <a:gd name="T11" fmla="*/ 15 h 556"/>
              </a:gdLst>
              <a:ahLst/>
              <a:cxnLst>
                <a:cxn ang="0">
                  <a:pos x="T0" y="T1"/>
                </a:cxn>
                <a:cxn ang="0">
                  <a:pos x="T2" y="T3"/>
                </a:cxn>
                <a:cxn ang="0">
                  <a:pos x="T4" y="T5"/>
                </a:cxn>
                <a:cxn ang="0">
                  <a:pos x="T6" y="T7"/>
                </a:cxn>
                <a:cxn ang="0">
                  <a:pos x="T8" y="T9"/>
                </a:cxn>
                <a:cxn ang="0">
                  <a:pos x="T10" y="T11"/>
                </a:cxn>
              </a:cxnLst>
              <a:rect l="0" t="0" r="r" b="b"/>
              <a:pathLst>
                <a:path w="175" h="556">
                  <a:moveTo>
                    <a:pt x="49" y="15"/>
                  </a:moveTo>
                  <a:cubicBezTo>
                    <a:pt x="95" y="93"/>
                    <a:pt x="75" y="187"/>
                    <a:pt x="53" y="269"/>
                  </a:cubicBezTo>
                  <a:cubicBezTo>
                    <a:pt x="30" y="357"/>
                    <a:pt x="0" y="452"/>
                    <a:pt x="33" y="541"/>
                  </a:cubicBezTo>
                  <a:cubicBezTo>
                    <a:pt x="39" y="556"/>
                    <a:pt x="62" y="550"/>
                    <a:pt x="57" y="535"/>
                  </a:cubicBezTo>
                  <a:cubicBezTo>
                    <a:pt x="3" y="361"/>
                    <a:pt x="175" y="170"/>
                    <a:pt x="62" y="8"/>
                  </a:cubicBezTo>
                  <a:cubicBezTo>
                    <a:pt x="57" y="0"/>
                    <a:pt x="44" y="7"/>
                    <a:pt x="49" y="15"/>
                  </a:cubicBezTo>
                  <a:close/>
                </a:path>
              </a:pathLst>
            </a:custGeom>
            <a:solidFill>
              <a:schemeClr val="accent3">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11" name="Freeform 13">
              <a:extLst>
                <a:ext uri="{FF2B5EF4-FFF2-40B4-BE49-F238E27FC236}">
                  <a16:creationId xmlns:a16="http://schemas.microsoft.com/office/drawing/2014/main" id="{1063E17F-1A0A-4627-9496-068F3CB8F8A5}"/>
                </a:ext>
              </a:extLst>
            </p:cNvPr>
            <p:cNvSpPr>
              <a:spLocks/>
            </p:cNvSpPr>
            <p:nvPr/>
          </p:nvSpPr>
          <p:spPr bwMode="auto">
            <a:xfrm>
              <a:off x="5595534" y="2479540"/>
              <a:ext cx="185608" cy="469574"/>
            </a:xfrm>
            <a:custGeom>
              <a:avLst/>
              <a:gdLst>
                <a:gd name="T0" fmla="*/ 3 w 69"/>
                <a:gd name="T1" fmla="*/ 10 h 175"/>
                <a:gd name="T2" fmla="*/ 42 w 69"/>
                <a:gd name="T3" fmla="*/ 163 h 175"/>
                <a:gd name="T4" fmla="*/ 64 w 69"/>
                <a:gd name="T5" fmla="*/ 153 h 175"/>
                <a:gd name="T6" fmla="*/ 38 w 69"/>
                <a:gd name="T7" fmla="*/ 82 h 175"/>
                <a:gd name="T8" fmla="*/ 17 w 69"/>
                <a:gd name="T9" fmla="*/ 8 h 175"/>
                <a:gd name="T10" fmla="*/ 3 w 69"/>
                <a:gd name="T11" fmla="*/ 10 h 175"/>
              </a:gdLst>
              <a:ahLst/>
              <a:cxnLst>
                <a:cxn ang="0">
                  <a:pos x="T0" y="T1"/>
                </a:cxn>
                <a:cxn ang="0">
                  <a:pos x="T2" y="T3"/>
                </a:cxn>
                <a:cxn ang="0">
                  <a:pos x="T4" y="T5"/>
                </a:cxn>
                <a:cxn ang="0">
                  <a:pos x="T6" y="T7"/>
                </a:cxn>
                <a:cxn ang="0">
                  <a:pos x="T8" y="T9"/>
                </a:cxn>
                <a:cxn ang="0">
                  <a:pos x="T10" y="T11"/>
                </a:cxn>
              </a:cxnLst>
              <a:rect l="0" t="0" r="r" b="b"/>
              <a:pathLst>
                <a:path w="69" h="175">
                  <a:moveTo>
                    <a:pt x="3" y="10"/>
                  </a:moveTo>
                  <a:cubicBezTo>
                    <a:pt x="0" y="60"/>
                    <a:pt x="19" y="119"/>
                    <a:pt x="42" y="163"/>
                  </a:cubicBezTo>
                  <a:cubicBezTo>
                    <a:pt x="48" y="175"/>
                    <a:pt x="69" y="166"/>
                    <a:pt x="64" y="153"/>
                  </a:cubicBezTo>
                  <a:cubicBezTo>
                    <a:pt x="55" y="129"/>
                    <a:pt x="45" y="106"/>
                    <a:pt x="38" y="82"/>
                  </a:cubicBezTo>
                  <a:cubicBezTo>
                    <a:pt x="30" y="58"/>
                    <a:pt x="26" y="32"/>
                    <a:pt x="17" y="8"/>
                  </a:cubicBezTo>
                  <a:cubicBezTo>
                    <a:pt x="15" y="0"/>
                    <a:pt x="3" y="2"/>
                    <a:pt x="3" y="10"/>
                  </a:cubicBezTo>
                  <a:close/>
                </a:path>
              </a:pathLst>
            </a:custGeom>
            <a:solidFill>
              <a:schemeClr val="accent3">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12" name="Freeform 14">
              <a:extLst>
                <a:ext uri="{FF2B5EF4-FFF2-40B4-BE49-F238E27FC236}">
                  <a16:creationId xmlns:a16="http://schemas.microsoft.com/office/drawing/2014/main" id="{C5661578-1EB5-4069-B06F-5C74E1D6EDBD}"/>
                </a:ext>
              </a:extLst>
            </p:cNvPr>
            <p:cNvSpPr>
              <a:spLocks/>
            </p:cNvSpPr>
            <p:nvPr/>
          </p:nvSpPr>
          <p:spPr bwMode="auto">
            <a:xfrm>
              <a:off x="6391905" y="5220837"/>
              <a:ext cx="182436" cy="513993"/>
            </a:xfrm>
            <a:custGeom>
              <a:avLst/>
              <a:gdLst>
                <a:gd name="T0" fmla="*/ 4 w 68"/>
                <a:gd name="T1" fmla="*/ 16 h 191"/>
                <a:gd name="T2" fmla="*/ 45 w 68"/>
                <a:gd name="T3" fmla="*/ 177 h 191"/>
                <a:gd name="T4" fmla="*/ 68 w 68"/>
                <a:gd name="T5" fmla="*/ 177 h 191"/>
                <a:gd name="T6" fmla="*/ 17 w 68"/>
                <a:gd name="T7" fmla="*/ 8 h 191"/>
                <a:gd name="T8" fmla="*/ 4 w 68"/>
                <a:gd name="T9" fmla="*/ 16 h 191"/>
              </a:gdLst>
              <a:ahLst/>
              <a:cxnLst>
                <a:cxn ang="0">
                  <a:pos x="T0" y="T1"/>
                </a:cxn>
                <a:cxn ang="0">
                  <a:pos x="T2" y="T3"/>
                </a:cxn>
                <a:cxn ang="0">
                  <a:pos x="T4" y="T5"/>
                </a:cxn>
                <a:cxn ang="0">
                  <a:pos x="T6" y="T7"/>
                </a:cxn>
                <a:cxn ang="0">
                  <a:pos x="T8" y="T9"/>
                </a:cxn>
              </a:cxnLst>
              <a:rect l="0" t="0" r="r" b="b"/>
              <a:pathLst>
                <a:path w="68" h="191">
                  <a:moveTo>
                    <a:pt x="4" y="16"/>
                  </a:moveTo>
                  <a:cubicBezTo>
                    <a:pt x="29" y="67"/>
                    <a:pt x="41" y="121"/>
                    <a:pt x="45" y="177"/>
                  </a:cubicBezTo>
                  <a:cubicBezTo>
                    <a:pt x="46" y="191"/>
                    <a:pt x="68" y="191"/>
                    <a:pt x="68" y="177"/>
                  </a:cubicBezTo>
                  <a:cubicBezTo>
                    <a:pt x="66" y="117"/>
                    <a:pt x="47" y="60"/>
                    <a:pt x="17" y="8"/>
                  </a:cubicBezTo>
                  <a:cubicBezTo>
                    <a:pt x="12" y="0"/>
                    <a:pt x="0" y="7"/>
                    <a:pt x="4" y="16"/>
                  </a:cubicBezTo>
                  <a:close/>
                </a:path>
              </a:pathLst>
            </a:custGeom>
            <a:solidFill>
              <a:schemeClr val="accent3">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13" name="Freeform 15">
              <a:extLst>
                <a:ext uri="{FF2B5EF4-FFF2-40B4-BE49-F238E27FC236}">
                  <a16:creationId xmlns:a16="http://schemas.microsoft.com/office/drawing/2014/main" id="{6AD5D230-F0DC-455E-8517-C0D81E34FADF}"/>
                </a:ext>
              </a:extLst>
            </p:cNvPr>
            <p:cNvSpPr>
              <a:spLocks/>
            </p:cNvSpPr>
            <p:nvPr/>
          </p:nvSpPr>
          <p:spPr bwMode="auto">
            <a:xfrm>
              <a:off x="5839839" y="5076476"/>
              <a:ext cx="138016" cy="228441"/>
            </a:xfrm>
            <a:custGeom>
              <a:avLst/>
              <a:gdLst>
                <a:gd name="T0" fmla="*/ 3 w 51"/>
                <a:gd name="T1" fmla="*/ 13 h 85"/>
                <a:gd name="T2" fmla="*/ 30 w 51"/>
                <a:gd name="T3" fmla="*/ 76 h 85"/>
                <a:gd name="T4" fmla="*/ 45 w 51"/>
                <a:gd name="T5" fmla="*/ 67 h 85"/>
                <a:gd name="T6" fmla="*/ 17 w 51"/>
                <a:gd name="T7" fmla="*/ 9 h 85"/>
                <a:gd name="T8" fmla="*/ 3 w 51"/>
                <a:gd name="T9" fmla="*/ 13 h 85"/>
              </a:gdLst>
              <a:ahLst/>
              <a:cxnLst>
                <a:cxn ang="0">
                  <a:pos x="T0" y="T1"/>
                </a:cxn>
                <a:cxn ang="0">
                  <a:pos x="T2" y="T3"/>
                </a:cxn>
                <a:cxn ang="0">
                  <a:pos x="T4" y="T5"/>
                </a:cxn>
                <a:cxn ang="0">
                  <a:pos x="T6" y="T7"/>
                </a:cxn>
                <a:cxn ang="0">
                  <a:pos x="T8" y="T9"/>
                </a:cxn>
              </a:cxnLst>
              <a:rect l="0" t="0" r="r" b="b"/>
              <a:pathLst>
                <a:path w="51" h="85">
                  <a:moveTo>
                    <a:pt x="3" y="13"/>
                  </a:moveTo>
                  <a:cubicBezTo>
                    <a:pt x="8" y="35"/>
                    <a:pt x="17" y="57"/>
                    <a:pt x="30" y="76"/>
                  </a:cubicBezTo>
                  <a:cubicBezTo>
                    <a:pt x="36" y="85"/>
                    <a:pt x="51" y="77"/>
                    <a:pt x="45" y="67"/>
                  </a:cubicBezTo>
                  <a:cubicBezTo>
                    <a:pt x="34" y="48"/>
                    <a:pt x="24" y="30"/>
                    <a:pt x="17" y="9"/>
                  </a:cubicBezTo>
                  <a:cubicBezTo>
                    <a:pt x="14" y="0"/>
                    <a:pt x="0" y="3"/>
                    <a:pt x="3" y="13"/>
                  </a:cubicBezTo>
                  <a:close/>
                </a:path>
              </a:pathLst>
            </a:custGeom>
            <a:solidFill>
              <a:schemeClr val="accent3">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grpSp>
      <p:grpSp>
        <p:nvGrpSpPr>
          <p:cNvPr id="14" name="Group 27">
            <a:extLst>
              <a:ext uri="{FF2B5EF4-FFF2-40B4-BE49-F238E27FC236}">
                <a16:creationId xmlns:a16="http://schemas.microsoft.com/office/drawing/2014/main" id="{08128752-B834-4823-B9E1-01A15868E9E9}"/>
              </a:ext>
            </a:extLst>
          </p:cNvPr>
          <p:cNvGrpSpPr/>
          <p:nvPr/>
        </p:nvGrpSpPr>
        <p:grpSpPr>
          <a:xfrm>
            <a:off x="4100004" y="2"/>
            <a:ext cx="1428459" cy="1424872"/>
            <a:chOff x="4100003" y="0"/>
            <a:chExt cx="1428458" cy="1424872"/>
          </a:xfrm>
        </p:grpSpPr>
        <p:grpSp>
          <p:nvGrpSpPr>
            <p:cNvPr id="15" name="Group 2">
              <a:extLst>
                <a:ext uri="{FF2B5EF4-FFF2-40B4-BE49-F238E27FC236}">
                  <a16:creationId xmlns:a16="http://schemas.microsoft.com/office/drawing/2014/main" id="{B11DDAE9-20B2-4A18-8000-8E6584239382}"/>
                </a:ext>
              </a:extLst>
            </p:cNvPr>
            <p:cNvGrpSpPr/>
            <p:nvPr/>
          </p:nvGrpSpPr>
          <p:grpSpPr>
            <a:xfrm>
              <a:off x="4100003" y="0"/>
              <a:ext cx="1428458" cy="1424872"/>
              <a:chOff x="3866359" y="44421"/>
              <a:chExt cx="1895746" cy="1890987"/>
            </a:xfrm>
          </p:grpSpPr>
          <p:sp>
            <p:nvSpPr>
              <p:cNvPr id="17" name="Oval 17">
                <a:extLst>
                  <a:ext uri="{FF2B5EF4-FFF2-40B4-BE49-F238E27FC236}">
                    <a16:creationId xmlns:a16="http://schemas.microsoft.com/office/drawing/2014/main" id="{2EE66E5F-7369-4BD9-808B-9E2B7CD9899E}"/>
                  </a:ext>
                </a:extLst>
              </p:cNvPr>
              <p:cNvSpPr>
                <a:spLocks noChangeArrowheads="1"/>
              </p:cNvSpPr>
              <p:nvPr/>
            </p:nvSpPr>
            <p:spPr bwMode="auto">
              <a:xfrm>
                <a:off x="3866359" y="44421"/>
                <a:ext cx="1895746" cy="1890987"/>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18" name="Oval 21">
                <a:extLst>
                  <a:ext uri="{FF2B5EF4-FFF2-40B4-BE49-F238E27FC236}">
                    <a16:creationId xmlns:a16="http://schemas.microsoft.com/office/drawing/2014/main" id="{4BD0BDEF-EBC0-48E3-931E-16A6321FCB25}"/>
                  </a:ext>
                </a:extLst>
              </p:cNvPr>
              <p:cNvSpPr>
                <a:spLocks noChangeArrowheads="1"/>
              </p:cNvSpPr>
              <p:nvPr/>
            </p:nvSpPr>
            <p:spPr bwMode="auto">
              <a:xfrm>
                <a:off x="4048795" y="228442"/>
                <a:ext cx="1529288" cy="152453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grpSp>
        <p:sp>
          <p:nvSpPr>
            <p:cNvPr id="16" name="TextBox 94">
              <a:extLst>
                <a:ext uri="{FF2B5EF4-FFF2-40B4-BE49-F238E27FC236}">
                  <a16:creationId xmlns:a16="http://schemas.microsoft.com/office/drawing/2014/main" id="{D7CDD706-F627-499D-B7B7-5F33ED25DA24}"/>
                </a:ext>
              </a:extLst>
            </p:cNvPr>
            <p:cNvSpPr txBox="1"/>
            <p:nvPr/>
          </p:nvSpPr>
          <p:spPr>
            <a:xfrm>
              <a:off x="4340344" y="327716"/>
              <a:ext cx="947777" cy="76944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400" b="1" i="0" u="none" strike="noStrike" kern="1200" cap="none" spc="0" normalizeH="0" baseline="0" noProof="0" dirty="0">
                  <a:ln>
                    <a:noFill/>
                  </a:ln>
                  <a:solidFill>
                    <a:srgbClr val="000000">
                      <a:lumMod val="85000"/>
                      <a:lumOff val="15000"/>
                    </a:srgbClr>
                  </a:solidFill>
                  <a:effectLst/>
                  <a:uLnTx/>
                  <a:uFillTx/>
                  <a:latin typeface="等线 Light" panose="020F0302020204030204"/>
                  <a:ea typeface="+mn-ea"/>
                  <a:cs typeface="+mn-cs"/>
                </a:rPr>
                <a:t>01</a:t>
              </a:r>
            </a:p>
          </p:txBody>
        </p:sp>
      </p:grpSp>
      <p:grpSp>
        <p:nvGrpSpPr>
          <p:cNvPr id="19" name="Group 26">
            <a:extLst>
              <a:ext uri="{FF2B5EF4-FFF2-40B4-BE49-F238E27FC236}">
                <a16:creationId xmlns:a16="http://schemas.microsoft.com/office/drawing/2014/main" id="{5C8D267D-9542-44EC-A06F-96381C799A3B}"/>
              </a:ext>
            </a:extLst>
          </p:cNvPr>
          <p:cNvGrpSpPr/>
          <p:nvPr/>
        </p:nvGrpSpPr>
        <p:grpSpPr>
          <a:xfrm>
            <a:off x="3933433" y="2228605"/>
            <a:ext cx="1428459" cy="1424872"/>
            <a:chOff x="3933432" y="2228603"/>
            <a:chExt cx="1428458" cy="1424872"/>
          </a:xfrm>
        </p:grpSpPr>
        <p:grpSp>
          <p:nvGrpSpPr>
            <p:cNvPr id="20" name="Group 3">
              <a:extLst>
                <a:ext uri="{FF2B5EF4-FFF2-40B4-BE49-F238E27FC236}">
                  <a16:creationId xmlns:a16="http://schemas.microsoft.com/office/drawing/2014/main" id="{FFF5AB54-9312-4902-AC8A-92DF40018AA6}"/>
                </a:ext>
              </a:extLst>
            </p:cNvPr>
            <p:cNvGrpSpPr/>
            <p:nvPr/>
          </p:nvGrpSpPr>
          <p:grpSpPr>
            <a:xfrm>
              <a:off x="3933432" y="2228603"/>
              <a:ext cx="1428458" cy="1424872"/>
              <a:chOff x="3699788" y="2398635"/>
              <a:chExt cx="1895746" cy="1890987"/>
            </a:xfrm>
          </p:grpSpPr>
          <p:sp>
            <p:nvSpPr>
              <p:cNvPr id="22" name="Oval 18">
                <a:extLst>
                  <a:ext uri="{FF2B5EF4-FFF2-40B4-BE49-F238E27FC236}">
                    <a16:creationId xmlns:a16="http://schemas.microsoft.com/office/drawing/2014/main" id="{C782C2D0-833E-4CDB-88FA-23553933D377}"/>
                  </a:ext>
                </a:extLst>
              </p:cNvPr>
              <p:cNvSpPr>
                <a:spLocks noChangeArrowheads="1"/>
              </p:cNvSpPr>
              <p:nvPr/>
            </p:nvSpPr>
            <p:spPr bwMode="auto">
              <a:xfrm>
                <a:off x="3699788" y="2398635"/>
                <a:ext cx="1895746" cy="1890987"/>
              </a:xfrm>
              <a:prstGeom prst="ellipse">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23" name="Oval 22">
                <a:extLst>
                  <a:ext uri="{FF2B5EF4-FFF2-40B4-BE49-F238E27FC236}">
                    <a16:creationId xmlns:a16="http://schemas.microsoft.com/office/drawing/2014/main" id="{9CCD59DC-455C-49EE-98E1-303BD42CD519}"/>
                  </a:ext>
                </a:extLst>
              </p:cNvPr>
              <p:cNvSpPr>
                <a:spLocks noChangeArrowheads="1"/>
              </p:cNvSpPr>
              <p:nvPr/>
            </p:nvSpPr>
            <p:spPr bwMode="auto">
              <a:xfrm>
                <a:off x="3882224" y="2581071"/>
                <a:ext cx="1529288" cy="152611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grpSp>
        <p:sp>
          <p:nvSpPr>
            <p:cNvPr id="21" name="TextBox 95">
              <a:extLst>
                <a:ext uri="{FF2B5EF4-FFF2-40B4-BE49-F238E27FC236}">
                  <a16:creationId xmlns:a16="http://schemas.microsoft.com/office/drawing/2014/main" id="{3E629D5B-11B7-4A64-AC6E-D0E8F848430B}"/>
                </a:ext>
              </a:extLst>
            </p:cNvPr>
            <p:cNvSpPr txBox="1"/>
            <p:nvPr/>
          </p:nvSpPr>
          <p:spPr>
            <a:xfrm>
              <a:off x="4173773" y="2556319"/>
              <a:ext cx="947777" cy="76944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400" b="1" i="0" u="none" strike="noStrike" kern="1200" cap="none" spc="0" normalizeH="0" baseline="0" noProof="0" dirty="0">
                  <a:ln>
                    <a:noFill/>
                  </a:ln>
                  <a:solidFill>
                    <a:srgbClr val="000000">
                      <a:lumMod val="85000"/>
                      <a:lumOff val="15000"/>
                    </a:srgbClr>
                  </a:solidFill>
                  <a:effectLst/>
                  <a:uLnTx/>
                  <a:uFillTx/>
                  <a:latin typeface="等线 Light" panose="020F0302020204030204"/>
                  <a:ea typeface="+mn-ea"/>
                  <a:cs typeface="+mn-cs"/>
                </a:rPr>
                <a:t>02</a:t>
              </a:r>
            </a:p>
          </p:txBody>
        </p:sp>
      </p:grpSp>
      <p:grpSp>
        <p:nvGrpSpPr>
          <p:cNvPr id="24" name="Group 25">
            <a:extLst>
              <a:ext uri="{FF2B5EF4-FFF2-40B4-BE49-F238E27FC236}">
                <a16:creationId xmlns:a16="http://schemas.microsoft.com/office/drawing/2014/main" id="{1504E5FA-6934-4D72-BFA7-F1F8FDA994B0}"/>
              </a:ext>
            </a:extLst>
          </p:cNvPr>
          <p:cNvGrpSpPr/>
          <p:nvPr/>
        </p:nvGrpSpPr>
        <p:grpSpPr>
          <a:xfrm>
            <a:off x="4100004" y="4789432"/>
            <a:ext cx="1428459" cy="1424872"/>
            <a:chOff x="4100003" y="4789426"/>
            <a:chExt cx="1428458" cy="1424872"/>
          </a:xfrm>
        </p:grpSpPr>
        <p:grpSp>
          <p:nvGrpSpPr>
            <p:cNvPr id="25" name="Group 93">
              <a:extLst>
                <a:ext uri="{FF2B5EF4-FFF2-40B4-BE49-F238E27FC236}">
                  <a16:creationId xmlns:a16="http://schemas.microsoft.com/office/drawing/2014/main" id="{6FD12CE6-A481-44BD-92B2-C6107341BA79}"/>
                </a:ext>
              </a:extLst>
            </p:cNvPr>
            <p:cNvGrpSpPr/>
            <p:nvPr/>
          </p:nvGrpSpPr>
          <p:grpSpPr>
            <a:xfrm>
              <a:off x="4100003" y="4789426"/>
              <a:ext cx="1428458" cy="1424872"/>
              <a:chOff x="3866359" y="4859138"/>
              <a:chExt cx="1895746" cy="1890987"/>
            </a:xfrm>
          </p:grpSpPr>
          <p:sp>
            <p:nvSpPr>
              <p:cNvPr id="27" name="Oval 20">
                <a:extLst>
                  <a:ext uri="{FF2B5EF4-FFF2-40B4-BE49-F238E27FC236}">
                    <a16:creationId xmlns:a16="http://schemas.microsoft.com/office/drawing/2014/main" id="{489A47E6-6324-4C75-8E6D-7A126BFD097B}"/>
                  </a:ext>
                </a:extLst>
              </p:cNvPr>
              <p:cNvSpPr>
                <a:spLocks noChangeArrowheads="1"/>
              </p:cNvSpPr>
              <p:nvPr/>
            </p:nvSpPr>
            <p:spPr bwMode="auto">
              <a:xfrm>
                <a:off x="3866359" y="4859138"/>
                <a:ext cx="1895746" cy="1890987"/>
              </a:xfrm>
              <a:prstGeom prst="ellipse">
                <a:avLst/>
              </a:pr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28" name="Oval 25">
                <a:extLst>
                  <a:ext uri="{FF2B5EF4-FFF2-40B4-BE49-F238E27FC236}">
                    <a16:creationId xmlns:a16="http://schemas.microsoft.com/office/drawing/2014/main" id="{8AC68A65-78C6-4855-BA3B-46986992790D}"/>
                  </a:ext>
                </a:extLst>
              </p:cNvPr>
              <p:cNvSpPr>
                <a:spLocks noChangeArrowheads="1"/>
              </p:cNvSpPr>
              <p:nvPr/>
            </p:nvSpPr>
            <p:spPr bwMode="auto">
              <a:xfrm>
                <a:off x="4048795" y="5041575"/>
                <a:ext cx="1529288" cy="152611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grpSp>
        <p:sp>
          <p:nvSpPr>
            <p:cNvPr id="26" name="TextBox 96">
              <a:extLst>
                <a:ext uri="{FF2B5EF4-FFF2-40B4-BE49-F238E27FC236}">
                  <a16:creationId xmlns:a16="http://schemas.microsoft.com/office/drawing/2014/main" id="{223C58AB-84F5-47BB-B54C-04D0D68FE2AF}"/>
                </a:ext>
              </a:extLst>
            </p:cNvPr>
            <p:cNvSpPr txBox="1"/>
            <p:nvPr/>
          </p:nvSpPr>
          <p:spPr>
            <a:xfrm>
              <a:off x="4340344" y="5117142"/>
              <a:ext cx="947777" cy="76944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400" b="1" i="0" u="none" strike="noStrike" kern="1200" cap="none" spc="0" normalizeH="0" baseline="0" noProof="0" dirty="0">
                  <a:ln>
                    <a:noFill/>
                  </a:ln>
                  <a:solidFill>
                    <a:srgbClr val="000000">
                      <a:lumMod val="85000"/>
                      <a:lumOff val="15000"/>
                    </a:srgbClr>
                  </a:solidFill>
                  <a:effectLst/>
                  <a:uLnTx/>
                  <a:uFillTx/>
                  <a:latin typeface="等线 Light" panose="020F0302020204030204"/>
                  <a:ea typeface="+mn-ea"/>
                  <a:cs typeface="+mn-cs"/>
                </a:rPr>
                <a:t>03</a:t>
              </a:r>
            </a:p>
          </p:txBody>
        </p:sp>
      </p:grpSp>
      <p:grpSp>
        <p:nvGrpSpPr>
          <p:cNvPr id="29" name="Group 1">
            <a:extLst>
              <a:ext uri="{FF2B5EF4-FFF2-40B4-BE49-F238E27FC236}">
                <a16:creationId xmlns:a16="http://schemas.microsoft.com/office/drawing/2014/main" id="{0745CD4D-DCC2-413B-AB94-2797F4A1FA19}"/>
              </a:ext>
            </a:extLst>
          </p:cNvPr>
          <p:cNvGrpSpPr/>
          <p:nvPr/>
        </p:nvGrpSpPr>
        <p:grpSpPr>
          <a:xfrm>
            <a:off x="6673141" y="3229925"/>
            <a:ext cx="1428459" cy="1424872"/>
            <a:chOff x="6673141" y="3229922"/>
            <a:chExt cx="1428458" cy="1424872"/>
          </a:xfrm>
        </p:grpSpPr>
        <p:grpSp>
          <p:nvGrpSpPr>
            <p:cNvPr id="30" name="Group 92">
              <a:extLst>
                <a:ext uri="{FF2B5EF4-FFF2-40B4-BE49-F238E27FC236}">
                  <a16:creationId xmlns:a16="http://schemas.microsoft.com/office/drawing/2014/main" id="{DE7828BC-091F-455B-8C43-C7E901BD461E}"/>
                </a:ext>
              </a:extLst>
            </p:cNvPr>
            <p:cNvGrpSpPr/>
            <p:nvPr/>
          </p:nvGrpSpPr>
          <p:grpSpPr>
            <a:xfrm>
              <a:off x="6673141" y="3229922"/>
              <a:ext cx="1428458" cy="1424872"/>
              <a:chOff x="6439497" y="3344128"/>
              <a:chExt cx="1895746" cy="1890987"/>
            </a:xfrm>
          </p:grpSpPr>
          <p:sp>
            <p:nvSpPr>
              <p:cNvPr id="32" name="Oval 19">
                <a:extLst>
                  <a:ext uri="{FF2B5EF4-FFF2-40B4-BE49-F238E27FC236}">
                    <a16:creationId xmlns:a16="http://schemas.microsoft.com/office/drawing/2014/main" id="{E98367AA-9611-47F1-9834-AF6964638777}"/>
                  </a:ext>
                </a:extLst>
              </p:cNvPr>
              <p:cNvSpPr>
                <a:spLocks noChangeArrowheads="1"/>
              </p:cNvSpPr>
              <p:nvPr/>
            </p:nvSpPr>
            <p:spPr bwMode="auto">
              <a:xfrm>
                <a:off x="6439497" y="3344128"/>
                <a:ext cx="1895746" cy="1890987"/>
              </a:xfrm>
              <a:prstGeom prst="ellipse">
                <a:avLst/>
              </a:pr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33" name="Oval 24">
                <a:extLst>
                  <a:ext uri="{FF2B5EF4-FFF2-40B4-BE49-F238E27FC236}">
                    <a16:creationId xmlns:a16="http://schemas.microsoft.com/office/drawing/2014/main" id="{F675C3EA-1CBC-4D5E-8547-32E19868FA82}"/>
                  </a:ext>
                </a:extLst>
              </p:cNvPr>
              <p:cNvSpPr>
                <a:spLocks noChangeArrowheads="1"/>
              </p:cNvSpPr>
              <p:nvPr/>
            </p:nvSpPr>
            <p:spPr bwMode="auto">
              <a:xfrm>
                <a:off x="6623520" y="3526564"/>
                <a:ext cx="1529288" cy="152611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grpSp>
        <p:sp>
          <p:nvSpPr>
            <p:cNvPr id="31" name="TextBox 97">
              <a:extLst>
                <a:ext uri="{FF2B5EF4-FFF2-40B4-BE49-F238E27FC236}">
                  <a16:creationId xmlns:a16="http://schemas.microsoft.com/office/drawing/2014/main" id="{20EE0316-D7AE-43A5-BD5B-B39956C3F1FC}"/>
                </a:ext>
              </a:extLst>
            </p:cNvPr>
            <p:cNvSpPr txBox="1"/>
            <p:nvPr/>
          </p:nvSpPr>
          <p:spPr>
            <a:xfrm>
              <a:off x="6913482" y="3557638"/>
              <a:ext cx="947777" cy="76944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400" b="1" i="0" u="none" strike="noStrike" kern="1200" cap="none" spc="0" normalizeH="0" baseline="0" noProof="0" dirty="0">
                  <a:ln>
                    <a:noFill/>
                  </a:ln>
                  <a:solidFill>
                    <a:srgbClr val="000000">
                      <a:lumMod val="85000"/>
                      <a:lumOff val="15000"/>
                    </a:srgbClr>
                  </a:solidFill>
                  <a:effectLst/>
                  <a:uLnTx/>
                  <a:uFillTx/>
                  <a:latin typeface="等线 Light" panose="020F0302020204030204"/>
                  <a:ea typeface="+mn-ea"/>
                  <a:cs typeface="+mn-cs"/>
                </a:rPr>
                <a:t>06</a:t>
              </a:r>
            </a:p>
          </p:txBody>
        </p:sp>
      </p:grpSp>
      <p:grpSp>
        <p:nvGrpSpPr>
          <p:cNvPr id="34" name="Group 28">
            <a:extLst>
              <a:ext uri="{FF2B5EF4-FFF2-40B4-BE49-F238E27FC236}">
                <a16:creationId xmlns:a16="http://schemas.microsoft.com/office/drawing/2014/main" id="{A1F95999-06C9-4BE8-8461-DB311B8B9B15}"/>
              </a:ext>
            </a:extLst>
          </p:cNvPr>
          <p:cNvGrpSpPr/>
          <p:nvPr/>
        </p:nvGrpSpPr>
        <p:grpSpPr>
          <a:xfrm>
            <a:off x="6424089" y="994389"/>
            <a:ext cx="1428459" cy="1424872"/>
            <a:chOff x="6424090" y="994386"/>
            <a:chExt cx="1428458" cy="1424872"/>
          </a:xfrm>
        </p:grpSpPr>
        <p:grpSp>
          <p:nvGrpSpPr>
            <p:cNvPr id="35" name="Group 91">
              <a:extLst>
                <a:ext uri="{FF2B5EF4-FFF2-40B4-BE49-F238E27FC236}">
                  <a16:creationId xmlns:a16="http://schemas.microsoft.com/office/drawing/2014/main" id="{660F5341-DD6D-4207-A532-FDB6EA551F5E}"/>
                </a:ext>
              </a:extLst>
            </p:cNvPr>
            <p:cNvGrpSpPr/>
            <p:nvPr/>
          </p:nvGrpSpPr>
          <p:grpSpPr>
            <a:xfrm>
              <a:off x="6424090" y="994386"/>
              <a:ext cx="1428458" cy="1424872"/>
              <a:chOff x="6171396" y="1097788"/>
              <a:chExt cx="1895746" cy="1890987"/>
            </a:xfrm>
          </p:grpSpPr>
          <p:sp>
            <p:nvSpPr>
              <p:cNvPr id="37" name="Oval 16">
                <a:extLst>
                  <a:ext uri="{FF2B5EF4-FFF2-40B4-BE49-F238E27FC236}">
                    <a16:creationId xmlns:a16="http://schemas.microsoft.com/office/drawing/2014/main" id="{74A8F776-C62E-439A-984F-B85495F5B2C7}"/>
                  </a:ext>
                </a:extLst>
              </p:cNvPr>
              <p:cNvSpPr>
                <a:spLocks noChangeArrowheads="1"/>
              </p:cNvSpPr>
              <p:nvPr/>
            </p:nvSpPr>
            <p:spPr bwMode="auto">
              <a:xfrm>
                <a:off x="6171396" y="1097788"/>
                <a:ext cx="1895746" cy="1890987"/>
              </a:xfrm>
              <a:prstGeom prst="ellipse">
                <a:avLst/>
              </a:pr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38" name="Oval 23">
                <a:extLst>
                  <a:ext uri="{FF2B5EF4-FFF2-40B4-BE49-F238E27FC236}">
                    <a16:creationId xmlns:a16="http://schemas.microsoft.com/office/drawing/2014/main" id="{907659C5-DB59-4091-8AC9-FDAEB7101A03}"/>
                  </a:ext>
                </a:extLst>
              </p:cNvPr>
              <p:cNvSpPr>
                <a:spLocks noChangeArrowheads="1"/>
              </p:cNvSpPr>
              <p:nvPr/>
            </p:nvSpPr>
            <p:spPr bwMode="auto">
              <a:xfrm>
                <a:off x="6353832" y="1280223"/>
                <a:ext cx="1529288" cy="152611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grpSp>
        <p:sp>
          <p:nvSpPr>
            <p:cNvPr id="36" name="TextBox 98">
              <a:extLst>
                <a:ext uri="{FF2B5EF4-FFF2-40B4-BE49-F238E27FC236}">
                  <a16:creationId xmlns:a16="http://schemas.microsoft.com/office/drawing/2014/main" id="{2F41E75B-0440-47BD-9BD6-6A0517DCC817}"/>
                </a:ext>
              </a:extLst>
            </p:cNvPr>
            <p:cNvSpPr txBox="1"/>
            <p:nvPr/>
          </p:nvSpPr>
          <p:spPr>
            <a:xfrm>
              <a:off x="6664431" y="1322102"/>
              <a:ext cx="947777" cy="76944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400" b="1" i="0" u="none" strike="noStrike" kern="1200" cap="none" spc="0" normalizeH="0" baseline="0" noProof="0" dirty="0">
                  <a:ln>
                    <a:noFill/>
                  </a:ln>
                  <a:solidFill>
                    <a:srgbClr val="000000">
                      <a:lumMod val="85000"/>
                      <a:lumOff val="15000"/>
                    </a:srgbClr>
                  </a:solidFill>
                  <a:effectLst/>
                  <a:uLnTx/>
                  <a:uFillTx/>
                  <a:latin typeface="等线 Light" panose="020F0302020204030204"/>
                  <a:ea typeface="+mn-ea"/>
                  <a:cs typeface="+mn-cs"/>
                </a:rPr>
                <a:t>05</a:t>
              </a:r>
            </a:p>
          </p:txBody>
        </p:sp>
      </p:grpSp>
      <p:sp>
        <p:nvSpPr>
          <p:cNvPr id="39" name="Rectangle 99">
            <a:extLst>
              <a:ext uri="{FF2B5EF4-FFF2-40B4-BE49-F238E27FC236}">
                <a16:creationId xmlns:a16="http://schemas.microsoft.com/office/drawing/2014/main" id="{2F1B8C2B-5A4A-4CF1-94CF-96AF80558A1C}"/>
              </a:ext>
            </a:extLst>
          </p:cNvPr>
          <p:cNvSpPr/>
          <p:nvPr/>
        </p:nvSpPr>
        <p:spPr>
          <a:xfrm>
            <a:off x="1391657" y="793011"/>
            <a:ext cx="2552073" cy="901144"/>
          </a:xfrm>
          <a:prstGeom prst="rect">
            <a:avLst/>
          </a:prstGeom>
        </p:spPr>
        <p:txBody>
          <a:bodyPr wrap="square">
            <a:spAutoFit/>
          </a:bodyPr>
          <a:lstStyle/>
          <a:p>
            <a:pPr marL="0" marR="0" lvl="0" indent="0" algn="r" defTabSz="914400" rtl="0" eaLnBrk="1" fontAlgn="auto" latinLnBrk="0" hangingPunct="1">
              <a:lnSpc>
                <a:spcPct val="15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lumMod val="50000"/>
                    <a:lumOff val="50000"/>
                  </a:srgbClr>
                </a:solidFill>
                <a:effectLst/>
                <a:uLnTx/>
                <a:uFillTx/>
                <a:latin typeface="等线" panose="020F0502020204030204"/>
                <a:ea typeface="+mn-ea"/>
                <a:cs typeface="+mn-cs"/>
              </a:rPr>
              <a:t>Lorem Ipsum is simply dummy text of the printing and typesetting industry. Lorem Ipsum has been the industry's standard dummy text ever since the.</a:t>
            </a:r>
          </a:p>
        </p:txBody>
      </p:sp>
      <p:sp>
        <p:nvSpPr>
          <p:cNvPr id="40" name="Rectangle 100">
            <a:extLst>
              <a:ext uri="{FF2B5EF4-FFF2-40B4-BE49-F238E27FC236}">
                <a16:creationId xmlns:a16="http://schemas.microsoft.com/office/drawing/2014/main" id="{21E4D356-838B-4BCF-A891-D1CAE9A90B4B}"/>
              </a:ext>
            </a:extLst>
          </p:cNvPr>
          <p:cNvSpPr/>
          <p:nvPr/>
        </p:nvSpPr>
        <p:spPr>
          <a:xfrm>
            <a:off x="1147718" y="2463853"/>
            <a:ext cx="2552073" cy="901144"/>
          </a:xfrm>
          <a:prstGeom prst="rect">
            <a:avLst/>
          </a:prstGeom>
        </p:spPr>
        <p:txBody>
          <a:bodyPr wrap="square">
            <a:spAutoFit/>
          </a:bodyPr>
          <a:lstStyle/>
          <a:p>
            <a:pPr marL="0" marR="0" lvl="0" indent="0" algn="r" defTabSz="914400" rtl="0" eaLnBrk="1" fontAlgn="auto" latinLnBrk="0" hangingPunct="1">
              <a:lnSpc>
                <a:spcPct val="15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lumMod val="50000"/>
                    <a:lumOff val="50000"/>
                  </a:srgbClr>
                </a:solidFill>
                <a:effectLst/>
                <a:uLnTx/>
                <a:uFillTx/>
                <a:latin typeface="等线" panose="020F0502020204030204"/>
                <a:ea typeface="+mn-ea"/>
                <a:cs typeface="+mn-cs"/>
              </a:rPr>
              <a:t>Lorem Ipsum is simply dummy text of the printing and typesetting industry. Lorem Ipsum has been the industry's standard dummy text ever since the.</a:t>
            </a:r>
          </a:p>
        </p:txBody>
      </p:sp>
      <p:sp>
        <p:nvSpPr>
          <p:cNvPr id="41" name="Rectangle 103">
            <a:extLst>
              <a:ext uri="{FF2B5EF4-FFF2-40B4-BE49-F238E27FC236}">
                <a16:creationId xmlns:a16="http://schemas.microsoft.com/office/drawing/2014/main" id="{6E4D7E08-4B84-49EF-8D7C-BEFD1C33F1B9}"/>
              </a:ext>
            </a:extLst>
          </p:cNvPr>
          <p:cNvSpPr/>
          <p:nvPr/>
        </p:nvSpPr>
        <p:spPr>
          <a:xfrm>
            <a:off x="1407316" y="5164728"/>
            <a:ext cx="2552073" cy="901144"/>
          </a:xfrm>
          <a:prstGeom prst="rect">
            <a:avLst/>
          </a:prstGeom>
        </p:spPr>
        <p:txBody>
          <a:bodyPr wrap="square">
            <a:spAutoFit/>
          </a:bodyPr>
          <a:lstStyle/>
          <a:p>
            <a:pPr marL="0" marR="0" lvl="0" indent="0" algn="r" defTabSz="914400" rtl="0" eaLnBrk="1" fontAlgn="auto" latinLnBrk="0" hangingPunct="1">
              <a:lnSpc>
                <a:spcPct val="15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lumMod val="50000"/>
                    <a:lumOff val="50000"/>
                  </a:srgbClr>
                </a:solidFill>
                <a:effectLst/>
                <a:uLnTx/>
                <a:uFillTx/>
                <a:latin typeface="等线" panose="020F0502020204030204"/>
                <a:ea typeface="+mn-ea"/>
                <a:cs typeface="+mn-cs"/>
              </a:rPr>
              <a:t>Lorem Ipsum is simply dummy text of the printing and typesetting industry. Lorem Ipsum has been the industry's standard dummy text ever since the.</a:t>
            </a:r>
          </a:p>
        </p:txBody>
      </p:sp>
      <p:sp>
        <p:nvSpPr>
          <p:cNvPr id="42" name="Rectangle 104">
            <a:extLst>
              <a:ext uri="{FF2B5EF4-FFF2-40B4-BE49-F238E27FC236}">
                <a16:creationId xmlns:a16="http://schemas.microsoft.com/office/drawing/2014/main" id="{097BBB67-6A22-4065-BADF-67426E407048}"/>
              </a:ext>
            </a:extLst>
          </p:cNvPr>
          <p:cNvSpPr/>
          <p:nvPr/>
        </p:nvSpPr>
        <p:spPr>
          <a:xfrm>
            <a:off x="8269572" y="1174977"/>
            <a:ext cx="2552073" cy="901144"/>
          </a:xfrm>
          <a:prstGeom prst="rect">
            <a:avLst/>
          </a:prstGeom>
        </p:spPr>
        <p:txBody>
          <a:bodyPr wrap="square">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lumMod val="50000"/>
                    <a:lumOff val="50000"/>
                  </a:srgbClr>
                </a:solidFill>
                <a:effectLst/>
                <a:uLnTx/>
                <a:uFillTx/>
                <a:latin typeface="等线" panose="020F0502020204030204"/>
                <a:ea typeface="+mn-ea"/>
                <a:cs typeface="+mn-cs"/>
              </a:rPr>
              <a:t>Lorem Ipsum is simply dummy text of the printing and typesetting industry. Lorem Ipsum has been the industry's standard dummy text ever since the.</a:t>
            </a:r>
          </a:p>
        </p:txBody>
      </p:sp>
      <p:sp>
        <p:nvSpPr>
          <p:cNvPr id="43" name="Rectangle 105">
            <a:extLst>
              <a:ext uri="{FF2B5EF4-FFF2-40B4-BE49-F238E27FC236}">
                <a16:creationId xmlns:a16="http://schemas.microsoft.com/office/drawing/2014/main" id="{E6FF99F1-00E4-45B6-A62F-CF124BCE2C6E}"/>
              </a:ext>
            </a:extLst>
          </p:cNvPr>
          <p:cNvSpPr/>
          <p:nvPr/>
        </p:nvSpPr>
        <p:spPr>
          <a:xfrm>
            <a:off x="8269572" y="3325760"/>
            <a:ext cx="2552073" cy="901144"/>
          </a:xfrm>
          <a:prstGeom prst="rect">
            <a:avLst/>
          </a:prstGeom>
        </p:spPr>
        <p:txBody>
          <a:bodyPr wrap="square">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lumMod val="50000"/>
                    <a:lumOff val="50000"/>
                  </a:srgbClr>
                </a:solidFill>
                <a:effectLst/>
                <a:uLnTx/>
                <a:uFillTx/>
                <a:latin typeface="等线" panose="020F0502020204030204"/>
                <a:ea typeface="+mn-ea"/>
                <a:cs typeface="+mn-cs"/>
              </a:rPr>
              <a:t>Lorem Ipsum is simply dummy text of the printing and typesetting industry. Lorem Ipsum has been the industry's standard dummy text ever since the.</a:t>
            </a:r>
          </a:p>
        </p:txBody>
      </p:sp>
      <p:sp>
        <p:nvSpPr>
          <p:cNvPr id="44" name="TextBox 106">
            <a:extLst>
              <a:ext uri="{FF2B5EF4-FFF2-40B4-BE49-F238E27FC236}">
                <a16:creationId xmlns:a16="http://schemas.microsoft.com/office/drawing/2014/main" id="{1FAFDE16-CA95-4832-8278-933BF591BF99}"/>
              </a:ext>
            </a:extLst>
          </p:cNvPr>
          <p:cNvSpPr txBox="1"/>
          <p:nvPr/>
        </p:nvSpPr>
        <p:spPr>
          <a:xfrm>
            <a:off x="1391657" y="485237"/>
            <a:ext cx="2552073" cy="307777"/>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lumMod val="85000"/>
                    <a:lumOff val="15000"/>
                  </a:srgbClr>
                </a:solidFill>
                <a:effectLst/>
                <a:uLnTx/>
                <a:uFillTx/>
                <a:latin typeface="等线 Light" panose="020F0302020204030204"/>
                <a:ea typeface="+mn-ea"/>
                <a:cs typeface="+mn-cs"/>
              </a:rPr>
              <a:t>Subtitle Here</a:t>
            </a:r>
          </a:p>
        </p:txBody>
      </p:sp>
      <p:sp>
        <p:nvSpPr>
          <p:cNvPr id="45" name="TextBox 107">
            <a:extLst>
              <a:ext uri="{FF2B5EF4-FFF2-40B4-BE49-F238E27FC236}">
                <a16:creationId xmlns:a16="http://schemas.microsoft.com/office/drawing/2014/main" id="{E313B389-0EEA-4B94-9502-2B313DEA1B00}"/>
              </a:ext>
            </a:extLst>
          </p:cNvPr>
          <p:cNvSpPr txBox="1"/>
          <p:nvPr/>
        </p:nvSpPr>
        <p:spPr>
          <a:xfrm>
            <a:off x="1147718" y="2102236"/>
            <a:ext cx="2552073" cy="307777"/>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lumMod val="85000"/>
                    <a:lumOff val="15000"/>
                  </a:srgbClr>
                </a:solidFill>
                <a:effectLst/>
                <a:uLnTx/>
                <a:uFillTx/>
                <a:latin typeface="等线 Light" panose="020F0302020204030204"/>
                <a:ea typeface="+mn-ea"/>
                <a:cs typeface="+mn-cs"/>
              </a:rPr>
              <a:t>Subtitle Here</a:t>
            </a:r>
          </a:p>
        </p:txBody>
      </p:sp>
      <p:sp>
        <p:nvSpPr>
          <p:cNvPr id="46" name="TextBox 108">
            <a:extLst>
              <a:ext uri="{FF2B5EF4-FFF2-40B4-BE49-F238E27FC236}">
                <a16:creationId xmlns:a16="http://schemas.microsoft.com/office/drawing/2014/main" id="{48A5CEA9-E97F-4A20-9D03-78655FC1090E}"/>
              </a:ext>
            </a:extLst>
          </p:cNvPr>
          <p:cNvSpPr txBox="1"/>
          <p:nvPr/>
        </p:nvSpPr>
        <p:spPr>
          <a:xfrm>
            <a:off x="1407316" y="4789429"/>
            <a:ext cx="2552073" cy="307777"/>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lumMod val="85000"/>
                    <a:lumOff val="15000"/>
                  </a:srgbClr>
                </a:solidFill>
                <a:effectLst/>
                <a:uLnTx/>
                <a:uFillTx/>
                <a:latin typeface="等线 Light" panose="020F0302020204030204"/>
                <a:ea typeface="+mn-ea"/>
                <a:cs typeface="+mn-cs"/>
              </a:rPr>
              <a:t>Subtitle Here</a:t>
            </a:r>
          </a:p>
        </p:txBody>
      </p:sp>
      <p:sp>
        <p:nvSpPr>
          <p:cNvPr id="47" name="TextBox 111">
            <a:extLst>
              <a:ext uri="{FF2B5EF4-FFF2-40B4-BE49-F238E27FC236}">
                <a16:creationId xmlns:a16="http://schemas.microsoft.com/office/drawing/2014/main" id="{C24E4D68-8AFC-4FC5-A7F4-7676FCD979DF}"/>
              </a:ext>
            </a:extLst>
          </p:cNvPr>
          <p:cNvSpPr txBox="1"/>
          <p:nvPr/>
        </p:nvSpPr>
        <p:spPr>
          <a:xfrm>
            <a:off x="8269572" y="858762"/>
            <a:ext cx="2552073"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lumMod val="85000"/>
                    <a:lumOff val="15000"/>
                  </a:srgbClr>
                </a:solidFill>
                <a:effectLst/>
                <a:uLnTx/>
                <a:uFillTx/>
                <a:latin typeface="等线 Light" panose="020F0302020204030204"/>
                <a:ea typeface="+mn-ea"/>
                <a:cs typeface="+mn-cs"/>
              </a:rPr>
              <a:t>Subtitle Here</a:t>
            </a:r>
          </a:p>
        </p:txBody>
      </p:sp>
      <p:sp>
        <p:nvSpPr>
          <p:cNvPr id="48" name="TextBox 112">
            <a:extLst>
              <a:ext uri="{FF2B5EF4-FFF2-40B4-BE49-F238E27FC236}">
                <a16:creationId xmlns:a16="http://schemas.microsoft.com/office/drawing/2014/main" id="{A58CBDE8-AC0A-4CE5-94A9-6BBDB50435FF}"/>
              </a:ext>
            </a:extLst>
          </p:cNvPr>
          <p:cNvSpPr txBox="1"/>
          <p:nvPr/>
        </p:nvSpPr>
        <p:spPr>
          <a:xfrm>
            <a:off x="8269572" y="3017985"/>
            <a:ext cx="2552073"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lumMod val="85000"/>
                    <a:lumOff val="15000"/>
                  </a:srgbClr>
                </a:solidFill>
                <a:effectLst/>
                <a:uLnTx/>
                <a:uFillTx/>
                <a:latin typeface="等线 Light" panose="020F0302020204030204"/>
                <a:ea typeface="+mn-ea"/>
                <a:cs typeface="+mn-cs"/>
              </a:rPr>
              <a:t>Subtitle Here</a:t>
            </a:r>
          </a:p>
        </p:txBody>
      </p:sp>
      <p:sp>
        <p:nvSpPr>
          <p:cNvPr id="49" name="TextBox 113">
            <a:extLst>
              <a:ext uri="{FF2B5EF4-FFF2-40B4-BE49-F238E27FC236}">
                <a16:creationId xmlns:a16="http://schemas.microsoft.com/office/drawing/2014/main" id="{172F912D-8914-4707-99B3-A1A23C4C7D94}"/>
              </a:ext>
            </a:extLst>
          </p:cNvPr>
          <p:cNvSpPr txBox="1"/>
          <p:nvPr/>
        </p:nvSpPr>
        <p:spPr>
          <a:xfrm>
            <a:off x="7867796" y="5131688"/>
            <a:ext cx="4324205" cy="107721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000000">
                    <a:lumMod val="85000"/>
                    <a:lumOff val="15000"/>
                  </a:srgbClr>
                </a:solidFill>
                <a:effectLst/>
                <a:uLnTx/>
                <a:uFillTx/>
                <a:latin typeface="等线 Light" panose="020F0302020204030204"/>
                <a:ea typeface="+mn-ea"/>
                <a:cs typeface="+mn-cs"/>
              </a:rPr>
              <a:t>INFOGRAPHIC</a:t>
            </a:r>
            <a:endParaRPr kumimoji="0" lang="en-US" sz="3200" b="1" i="0" u="none" strike="noStrike" kern="1200" cap="none" spc="0" normalizeH="0" baseline="0" noProof="0" dirty="0">
              <a:ln>
                <a:noFill/>
              </a:ln>
              <a:solidFill>
                <a:srgbClr val="000000">
                  <a:lumMod val="85000"/>
                  <a:lumOff val="15000"/>
                </a:srgbClr>
              </a:solidFill>
              <a:effectLst/>
              <a:uLnTx/>
              <a:uFillTx/>
              <a:latin typeface="等线"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000000">
                    <a:lumMod val="85000"/>
                    <a:lumOff val="15000"/>
                  </a:srgbClr>
                </a:solidFill>
                <a:effectLst/>
                <a:uLnTx/>
                <a:uFillTx/>
                <a:latin typeface="等线 Light" panose="020F0302020204030204"/>
                <a:ea typeface="+mn-ea"/>
                <a:cs typeface="+mn-cs"/>
              </a:rPr>
              <a:t>THREE</a:t>
            </a:r>
          </a:p>
        </p:txBody>
      </p:sp>
    </p:spTree>
    <p:extLst>
      <p:ext uri="{BB962C8B-B14F-4D97-AF65-F5344CB8AC3E}">
        <p14:creationId xmlns:p14="http://schemas.microsoft.com/office/powerpoint/2010/main" val="601514828"/>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after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down)">
                                      <p:cBhvr>
                                        <p:cTn id="7" dur="500"/>
                                        <p:tgtEl>
                                          <p:spTgt spid="7"/>
                                        </p:tgtEl>
                                      </p:cBhvr>
                                    </p:animEffect>
                                  </p:childTnLst>
                                </p:cTn>
                              </p:par>
                            </p:childTnLst>
                          </p:cTn>
                        </p:par>
                        <p:par>
                          <p:cTn id="8" fill="hold">
                            <p:stCondLst>
                              <p:cond delay="500"/>
                            </p:stCondLst>
                            <p:childTnLst>
                              <p:par>
                                <p:cTn id="9" presetID="53" presetClass="entr" presetSubtype="16" fill="hold" nodeType="afterEffect">
                                  <p:stCondLst>
                                    <p:cond delay="0"/>
                                  </p:stCondLst>
                                  <p:childTnLst>
                                    <p:set>
                                      <p:cBhvr>
                                        <p:cTn id="10" dur="1" fill="hold">
                                          <p:stCondLst>
                                            <p:cond delay="0"/>
                                          </p:stCondLst>
                                        </p:cTn>
                                        <p:tgtEl>
                                          <p:spTgt spid="14"/>
                                        </p:tgtEl>
                                        <p:attrNameLst>
                                          <p:attrName>style.visibility</p:attrName>
                                        </p:attrNameLst>
                                      </p:cBhvr>
                                      <p:to>
                                        <p:strVal val="visible"/>
                                      </p:to>
                                    </p:set>
                                    <p:anim calcmode="lin" valueType="num">
                                      <p:cBhvr>
                                        <p:cTn id="11" dur="500" fill="hold"/>
                                        <p:tgtEl>
                                          <p:spTgt spid="14"/>
                                        </p:tgtEl>
                                        <p:attrNameLst>
                                          <p:attrName>ppt_w</p:attrName>
                                        </p:attrNameLst>
                                      </p:cBhvr>
                                      <p:tavLst>
                                        <p:tav tm="0">
                                          <p:val>
                                            <p:fltVal val="0"/>
                                          </p:val>
                                        </p:tav>
                                        <p:tav tm="100000">
                                          <p:val>
                                            <p:strVal val="#ppt_w"/>
                                          </p:val>
                                        </p:tav>
                                      </p:tavLst>
                                    </p:anim>
                                    <p:anim calcmode="lin" valueType="num">
                                      <p:cBhvr>
                                        <p:cTn id="12" dur="500" fill="hold"/>
                                        <p:tgtEl>
                                          <p:spTgt spid="14"/>
                                        </p:tgtEl>
                                        <p:attrNameLst>
                                          <p:attrName>ppt_h</p:attrName>
                                        </p:attrNameLst>
                                      </p:cBhvr>
                                      <p:tavLst>
                                        <p:tav tm="0">
                                          <p:val>
                                            <p:fltVal val="0"/>
                                          </p:val>
                                        </p:tav>
                                        <p:tav tm="100000">
                                          <p:val>
                                            <p:strVal val="#ppt_h"/>
                                          </p:val>
                                        </p:tav>
                                      </p:tavLst>
                                    </p:anim>
                                    <p:animEffect transition="in" filter="fade">
                                      <p:cBhvr>
                                        <p:cTn id="13" dur="500"/>
                                        <p:tgtEl>
                                          <p:spTgt spid="14"/>
                                        </p:tgtEl>
                                      </p:cBhvr>
                                    </p:animEffect>
                                  </p:childTnLst>
                                </p:cTn>
                              </p:par>
                            </p:childTnLst>
                          </p:cTn>
                        </p:par>
                        <p:par>
                          <p:cTn id="14" fill="hold">
                            <p:stCondLst>
                              <p:cond delay="1000"/>
                            </p:stCondLst>
                            <p:childTnLst>
                              <p:par>
                                <p:cTn id="15" presetID="22" presetClass="entr" presetSubtype="2" fill="hold" grpId="0" nodeType="afterEffect">
                                  <p:stCondLst>
                                    <p:cond delay="0"/>
                                  </p:stCondLst>
                                  <p:childTnLst>
                                    <p:set>
                                      <p:cBhvr>
                                        <p:cTn id="16" dur="1" fill="hold">
                                          <p:stCondLst>
                                            <p:cond delay="0"/>
                                          </p:stCondLst>
                                        </p:cTn>
                                        <p:tgtEl>
                                          <p:spTgt spid="44"/>
                                        </p:tgtEl>
                                        <p:attrNameLst>
                                          <p:attrName>style.visibility</p:attrName>
                                        </p:attrNameLst>
                                      </p:cBhvr>
                                      <p:to>
                                        <p:strVal val="visible"/>
                                      </p:to>
                                    </p:set>
                                    <p:animEffect transition="in" filter="wipe(right)">
                                      <p:cBhvr>
                                        <p:cTn id="17" dur="500"/>
                                        <p:tgtEl>
                                          <p:spTgt spid="44"/>
                                        </p:tgtEl>
                                      </p:cBhvr>
                                    </p:animEffect>
                                  </p:childTnLst>
                                </p:cTn>
                              </p:par>
                            </p:childTnLst>
                          </p:cTn>
                        </p:par>
                        <p:par>
                          <p:cTn id="18" fill="hold">
                            <p:stCondLst>
                              <p:cond delay="1500"/>
                            </p:stCondLst>
                            <p:childTnLst>
                              <p:par>
                                <p:cTn id="19" presetID="42" presetClass="entr" presetSubtype="0" fill="hold" grpId="0" nodeType="afterEffect">
                                  <p:stCondLst>
                                    <p:cond delay="0"/>
                                  </p:stCondLst>
                                  <p:childTnLst>
                                    <p:set>
                                      <p:cBhvr>
                                        <p:cTn id="20" dur="1" fill="hold">
                                          <p:stCondLst>
                                            <p:cond delay="0"/>
                                          </p:stCondLst>
                                        </p:cTn>
                                        <p:tgtEl>
                                          <p:spTgt spid="39"/>
                                        </p:tgtEl>
                                        <p:attrNameLst>
                                          <p:attrName>style.visibility</p:attrName>
                                        </p:attrNameLst>
                                      </p:cBhvr>
                                      <p:to>
                                        <p:strVal val="visible"/>
                                      </p:to>
                                    </p:set>
                                    <p:animEffect transition="in" filter="fade">
                                      <p:cBhvr>
                                        <p:cTn id="21" dur="500"/>
                                        <p:tgtEl>
                                          <p:spTgt spid="39"/>
                                        </p:tgtEl>
                                      </p:cBhvr>
                                    </p:animEffect>
                                    <p:anim calcmode="lin" valueType="num">
                                      <p:cBhvr>
                                        <p:cTn id="22" dur="500" fill="hold"/>
                                        <p:tgtEl>
                                          <p:spTgt spid="39"/>
                                        </p:tgtEl>
                                        <p:attrNameLst>
                                          <p:attrName>ppt_x</p:attrName>
                                        </p:attrNameLst>
                                      </p:cBhvr>
                                      <p:tavLst>
                                        <p:tav tm="0">
                                          <p:val>
                                            <p:strVal val="#ppt_x"/>
                                          </p:val>
                                        </p:tav>
                                        <p:tav tm="100000">
                                          <p:val>
                                            <p:strVal val="#ppt_x"/>
                                          </p:val>
                                        </p:tav>
                                      </p:tavLst>
                                    </p:anim>
                                    <p:anim calcmode="lin" valueType="num">
                                      <p:cBhvr>
                                        <p:cTn id="23" dur="500" fill="hold"/>
                                        <p:tgtEl>
                                          <p:spTgt spid="39"/>
                                        </p:tgtEl>
                                        <p:attrNameLst>
                                          <p:attrName>ppt_y</p:attrName>
                                        </p:attrNameLst>
                                      </p:cBhvr>
                                      <p:tavLst>
                                        <p:tav tm="0">
                                          <p:val>
                                            <p:strVal val="#ppt_y+.1"/>
                                          </p:val>
                                        </p:tav>
                                        <p:tav tm="100000">
                                          <p:val>
                                            <p:strVal val="#ppt_y"/>
                                          </p:val>
                                        </p:tav>
                                      </p:tavLst>
                                    </p:anim>
                                  </p:childTnLst>
                                </p:cTn>
                              </p:par>
                            </p:childTnLst>
                          </p:cTn>
                        </p:par>
                        <p:par>
                          <p:cTn id="24" fill="hold">
                            <p:stCondLst>
                              <p:cond delay="2000"/>
                            </p:stCondLst>
                            <p:childTnLst>
                              <p:par>
                                <p:cTn id="25" presetID="53" presetClass="entr" presetSubtype="16" fill="hold" nodeType="afterEffect">
                                  <p:stCondLst>
                                    <p:cond delay="0"/>
                                  </p:stCondLst>
                                  <p:childTnLst>
                                    <p:set>
                                      <p:cBhvr>
                                        <p:cTn id="26" dur="1" fill="hold">
                                          <p:stCondLst>
                                            <p:cond delay="0"/>
                                          </p:stCondLst>
                                        </p:cTn>
                                        <p:tgtEl>
                                          <p:spTgt spid="19"/>
                                        </p:tgtEl>
                                        <p:attrNameLst>
                                          <p:attrName>style.visibility</p:attrName>
                                        </p:attrNameLst>
                                      </p:cBhvr>
                                      <p:to>
                                        <p:strVal val="visible"/>
                                      </p:to>
                                    </p:set>
                                    <p:anim calcmode="lin" valueType="num">
                                      <p:cBhvr>
                                        <p:cTn id="27" dur="500" fill="hold"/>
                                        <p:tgtEl>
                                          <p:spTgt spid="19"/>
                                        </p:tgtEl>
                                        <p:attrNameLst>
                                          <p:attrName>ppt_w</p:attrName>
                                        </p:attrNameLst>
                                      </p:cBhvr>
                                      <p:tavLst>
                                        <p:tav tm="0">
                                          <p:val>
                                            <p:fltVal val="0"/>
                                          </p:val>
                                        </p:tav>
                                        <p:tav tm="100000">
                                          <p:val>
                                            <p:strVal val="#ppt_w"/>
                                          </p:val>
                                        </p:tav>
                                      </p:tavLst>
                                    </p:anim>
                                    <p:anim calcmode="lin" valueType="num">
                                      <p:cBhvr>
                                        <p:cTn id="28" dur="500" fill="hold"/>
                                        <p:tgtEl>
                                          <p:spTgt spid="19"/>
                                        </p:tgtEl>
                                        <p:attrNameLst>
                                          <p:attrName>ppt_h</p:attrName>
                                        </p:attrNameLst>
                                      </p:cBhvr>
                                      <p:tavLst>
                                        <p:tav tm="0">
                                          <p:val>
                                            <p:fltVal val="0"/>
                                          </p:val>
                                        </p:tav>
                                        <p:tav tm="100000">
                                          <p:val>
                                            <p:strVal val="#ppt_h"/>
                                          </p:val>
                                        </p:tav>
                                      </p:tavLst>
                                    </p:anim>
                                    <p:animEffect transition="in" filter="fade">
                                      <p:cBhvr>
                                        <p:cTn id="29" dur="500"/>
                                        <p:tgtEl>
                                          <p:spTgt spid="19"/>
                                        </p:tgtEl>
                                      </p:cBhvr>
                                    </p:animEffect>
                                  </p:childTnLst>
                                </p:cTn>
                              </p:par>
                            </p:childTnLst>
                          </p:cTn>
                        </p:par>
                        <p:par>
                          <p:cTn id="30" fill="hold">
                            <p:stCondLst>
                              <p:cond delay="2500"/>
                            </p:stCondLst>
                            <p:childTnLst>
                              <p:par>
                                <p:cTn id="31" presetID="22" presetClass="entr" presetSubtype="2" fill="hold" grpId="0" nodeType="afterEffect">
                                  <p:stCondLst>
                                    <p:cond delay="0"/>
                                  </p:stCondLst>
                                  <p:childTnLst>
                                    <p:set>
                                      <p:cBhvr>
                                        <p:cTn id="32" dur="1" fill="hold">
                                          <p:stCondLst>
                                            <p:cond delay="0"/>
                                          </p:stCondLst>
                                        </p:cTn>
                                        <p:tgtEl>
                                          <p:spTgt spid="45"/>
                                        </p:tgtEl>
                                        <p:attrNameLst>
                                          <p:attrName>style.visibility</p:attrName>
                                        </p:attrNameLst>
                                      </p:cBhvr>
                                      <p:to>
                                        <p:strVal val="visible"/>
                                      </p:to>
                                    </p:set>
                                    <p:animEffect transition="in" filter="wipe(right)">
                                      <p:cBhvr>
                                        <p:cTn id="33" dur="500"/>
                                        <p:tgtEl>
                                          <p:spTgt spid="45"/>
                                        </p:tgtEl>
                                      </p:cBhvr>
                                    </p:animEffect>
                                  </p:childTnLst>
                                </p:cTn>
                              </p:par>
                            </p:childTnLst>
                          </p:cTn>
                        </p:par>
                        <p:par>
                          <p:cTn id="34" fill="hold">
                            <p:stCondLst>
                              <p:cond delay="3000"/>
                            </p:stCondLst>
                            <p:childTnLst>
                              <p:par>
                                <p:cTn id="35" presetID="42" presetClass="entr" presetSubtype="0" fill="hold" grpId="0" nodeType="afterEffect">
                                  <p:stCondLst>
                                    <p:cond delay="0"/>
                                  </p:stCondLst>
                                  <p:childTnLst>
                                    <p:set>
                                      <p:cBhvr>
                                        <p:cTn id="36" dur="1" fill="hold">
                                          <p:stCondLst>
                                            <p:cond delay="0"/>
                                          </p:stCondLst>
                                        </p:cTn>
                                        <p:tgtEl>
                                          <p:spTgt spid="40"/>
                                        </p:tgtEl>
                                        <p:attrNameLst>
                                          <p:attrName>style.visibility</p:attrName>
                                        </p:attrNameLst>
                                      </p:cBhvr>
                                      <p:to>
                                        <p:strVal val="visible"/>
                                      </p:to>
                                    </p:set>
                                    <p:animEffect transition="in" filter="fade">
                                      <p:cBhvr>
                                        <p:cTn id="37" dur="500"/>
                                        <p:tgtEl>
                                          <p:spTgt spid="40"/>
                                        </p:tgtEl>
                                      </p:cBhvr>
                                    </p:animEffect>
                                    <p:anim calcmode="lin" valueType="num">
                                      <p:cBhvr>
                                        <p:cTn id="38" dur="500" fill="hold"/>
                                        <p:tgtEl>
                                          <p:spTgt spid="40"/>
                                        </p:tgtEl>
                                        <p:attrNameLst>
                                          <p:attrName>ppt_x</p:attrName>
                                        </p:attrNameLst>
                                      </p:cBhvr>
                                      <p:tavLst>
                                        <p:tav tm="0">
                                          <p:val>
                                            <p:strVal val="#ppt_x"/>
                                          </p:val>
                                        </p:tav>
                                        <p:tav tm="100000">
                                          <p:val>
                                            <p:strVal val="#ppt_x"/>
                                          </p:val>
                                        </p:tav>
                                      </p:tavLst>
                                    </p:anim>
                                    <p:anim calcmode="lin" valueType="num">
                                      <p:cBhvr>
                                        <p:cTn id="39" dur="500" fill="hold"/>
                                        <p:tgtEl>
                                          <p:spTgt spid="40"/>
                                        </p:tgtEl>
                                        <p:attrNameLst>
                                          <p:attrName>ppt_y</p:attrName>
                                        </p:attrNameLst>
                                      </p:cBhvr>
                                      <p:tavLst>
                                        <p:tav tm="0">
                                          <p:val>
                                            <p:strVal val="#ppt_y+.1"/>
                                          </p:val>
                                        </p:tav>
                                        <p:tav tm="100000">
                                          <p:val>
                                            <p:strVal val="#ppt_y"/>
                                          </p:val>
                                        </p:tav>
                                      </p:tavLst>
                                    </p:anim>
                                  </p:childTnLst>
                                </p:cTn>
                              </p:par>
                            </p:childTnLst>
                          </p:cTn>
                        </p:par>
                        <p:par>
                          <p:cTn id="40" fill="hold">
                            <p:stCondLst>
                              <p:cond delay="3500"/>
                            </p:stCondLst>
                            <p:childTnLst>
                              <p:par>
                                <p:cTn id="41" presetID="53" presetClass="entr" presetSubtype="16" fill="hold" nodeType="afterEffect">
                                  <p:stCondLst>
                                    <p:cond delay="0"/>
                                  </p:stCondLst>
                                  <p:childTnLst>
                                    <p:set>
                                      <p:cBhvr>
                                        <p:cTn id="42" dur="1" fill="hold">
                                          <p:stCondLst>
                                            <p:cond delay="0"/>
                                          </p:stCondLst>
                                        </p:cTn>
                                        <p:tgtEl>
                                          <p:spTgt spid="24"/>
                                        </p:tgtEl>
                                        <p:attrNameLst>
                                          <p:attrName>style.visibility</p:attrName>
                                        </p:attrNameLst>
                                      </p:cBhvr>
                                      <p:to>
                                        <p:strVal val="visible"/>
                                      </p:to>
                                    </p:set>
                                    <p:anim calcmode="lin" valueType="num">
                                      <p:cBhvr>
                                        <p:cTn id="43" dur="500" fill="hold"/>
                                        <p:tgtEl>
                                          <p:spTgt spid="24"/>
                                        </p:tgtEl>
                                        <p:attrNameLst>
                                          <p:attrName>ppt_w</p:attrName>
                                        </p:attrNameLst>
                                      </p:cBhvr>
                                      <p:tavLst>
                                        <p:tav tm="0">
                                          <p:val>
                                            <p:fltVal val="0"/>
                                          </p:val>
                                        </p:tav>
                                        <p:tav tm="100000">
                                          <p:val>
                                            <p:strVal val="#ppt_w"/>
                                          </p:val>
                                        </p:tav>
                                      </p:tavLst>
                                    </p:anim>
                                    <p:anim calcmode="lin" valueType="num">
                                      <p:cBhvr>
                                        <p:cTn id="44" dur="500" fill="hold"/>
                                        <p:tgtEl>
                                          <p:spTgt spid="24"/>
                                        </p:tgtEl>
                                        <p:attrNameLst>
                                          <p:attrName>ppt_h</p:attrName>
                                        </p:attrNameLst>
                                      </p:cBhvr>
                                      <p:tavLst>
                                        <p:tav tm="0">
                                          <p:val>
                                            <p:fltVal val="0"/>
                                          </p:val>
                                        </p:tav>
                                        <p:tav tm="100000">
                                          <p:val>
                                            <p:strVal val="#ppt_h"/>
                                          </p:val>
                                        </p:tav>
                                      </p:tavLst>
                                    </p:anim>
                                    <p:animEffect transition="in" filter="fade">
                                      <p:cBhvr>
                                        <p:cTn id="45" dur="500"/>
                                        <p:tgtEl>
                                          <p:spTgt spid="24"/>
                                        </p:tgtEl>
                                      </p:cBhvr>
                                    </p:animEffect>
                                  </p:childTnLst>
                                </p:cTn>
                              </p:par>
                            </p:childTnLst>
                          </p:cTn>
                        </p:par>
                        <p:par>
                          <p:cTn id="46" fill="hold">
                            <p:stCondLst>
                              <p:cond delay="4000"/>
                            </p:stCondLst>
                            <p:childTnLst>
                              <p:par>
                                <p:cTn id="47" presetID="22" presetClass="entr" presetSubtype="2" fill="hold" grpId="0" nodeType="afterEffect">
                                  <p:stCondLst>
                                    <p:cond delay="0"/>
                                  </p:stCondLst>
                                  <p:childTnLst>
                                    <p:set>
                                      <p:cBhvr>
                                        <p:cTn id="48" dur="1" fill="hold">
                                          <p:stCondLst>
                                            <p:cond delay="0"/>
                                          </p:stCondLst>
                                        </p:cTn>
                                        <p:tgtEl>
                                          <p:spTgt spid="46"/>
                                        </p:tgtEl>
                                        <p:attrNameLst>
                                          <p:attrName>style.visibility</p:attrName>
                                        </p:attrNameLst>
                                      </p:cBhvr>
                                      <p:to>
                                        <p:strVal val="visible"/>
                                      </p:to>
                                    </p:set>
                                    <p:animEffect transition="in" filter="wipe(right)">
                                      <p:cBhvr>
                                        <p:cTn id="49" dur="500"/>
                                        <p:tgtEl>
                                          <p:spTgt spid="46"/>
                                        </p:tgtEl>
                                      </p:cBhvr>
                                    </p:animEffect>
                                  </p:childTnLst>
                                </p:cTn>
                              </p:par>
                            </p:childTnLst>
                          </p:cTn>
                        </p:par>
                        <p:par>
                          <p:cTn id="50" fill="hold">
                            <p:stCondLst>
                              <p:cond delay="4500"/>
                            </p:stCondLst>
                            <p:childTnLst>
                              <p:par>
                                <p:cTn id="51" presetID="42" presetClass="entr" presetSubtype="0" fill="hold" grpId="0" nodeType="afterEffect">
                                  <p:stCondLst>
                                    <p:cond delay="0"/>
                                  </p:stCondLst>
                                  <p:childTnLst>
                                    <p:set>
                                      <p:cBhvr>
                                        <p:cTn id="52" dur="1" fill="hold">
                                          <p:stCondLst>
                                            <p:cond delay="0"/>
                                          </p:stCondLst>
                                        </p:cTn>
                                        <p:tgtEl>
                                          <p:spTgt spid="41"/>
                                        </p:tgtEl>
                                        <p:attrNameLst>
                                          <p:attrName>style.visibility</p:attrName>
                                        </p:attrNameLst>
                                      </p:cBhvr>
                                      <p:to>
                                        <p:strVal val="visible"/>
                                      </p:to>
                                    </p:set>
                                    <p:animEffect transition="in" filter="fade">
                                      <p:cBhvr>
                                        <p:cTn id="53" dur="500"/>
                                        <p:tgtEl>
                                          <p:spTgt spid="41"/>
                                        </p:tgtEl>
                                      </p:cBhvr>
                                    </p:animEffect>
                                    <p:anim calcmode="lin" valueType="num">
                                      <p:cBhvr>
                                        <p:cTn id="54" dur="500" fill="hold"/>
                                        <p:tgtEl>
                                          <p:spTgt spid="41"/>
                                        </p:tgtEl>
                                        <p:attrNameLst>
                                          <p:attrName>ppt_x</p:attrName>
                                        </p:attrNameLst>
                                      </p:cBhvr>
                                      <p:tavLst>
                                        <p:tav tm="0">
                                          <p:val>
                                            <p:strVal val="#ppt_x"/>
                                          </p:val>
                                        </p:tav>
                                        <p:tav tm="100000">
                                          <p:val>
                                            <p:strVal val="#ppt_x"/>
                                          </p:val>
                                        </p:tav>
                                      </p:tavLst>
                                    </p:anim>
                                    <p:anim calcmode="lin" valueType="num">
                                      <p:cBhvr>
                                        <p:cTn id="55" dur="500" fill="hold"/>
                                        <p:tgtEl>
                                          <p:spTgt spid="41"/>
                                        </p:tgtEl>
                                        <p:attrNameLst>
                                          <p:attrName>ppt_y</p:attrName>
                                        </p:attrNameLst>
                                      </p:cBhvr>
                                      <p:tavLst>
                                        <p:tav tm="0">
                                          <p:val>
                                            <p:strVal val="#ppt_y+.1"/>
                                          </p:val>
                                        </p:tav>
                                        <p:tav tm="100000">
                                          <p:val>
                                            <p:strVal val="#ppt_y"/>
                                          </p:val>
                                        </p:tav>
                                      </p:tavLst>
                                    </p:anim>
                                  </p:childTnLst>
                                </p:cTn>
                              </p:par>
                            </p:childTnLst>
                          </p:cTn>
                        </p:par>
                        <p:par>
                          <p:cTn id="56" fill="hold">
                            <p:stCondLst>
                              <p:cond delay="5000"/>
                            </p:stCondLst>
                            <p:childTnLst>
                              <p:par>
                                <p:cTn id="57" presetID="53" presetClass="entr" presetSubtype="16" fill="hold" nodeType="afterEffect">
                                  <p:stCondLst>
                                    <p:cond delay="0"/>
                                  </p:stCondLst>
                                  <p:childTnLst>
                                    <p:set>
                                      <p:cBhvr>
                                        <p:cTn id="58" dur="1" fill="hold">
                                          <p:stCondLst>
                                            <p:cond delay="0"/>
                                          </p:stCondLst>
                                        </p:cTn>
                                        <p:tgtEl>
                                          <p:spTgt spid="34"/>
                                        </p:tgtEl>
                                        <p:attrNameLst>
                                          <p:attrName>style.visibility</p:attrName>
                                        </p:attrNameLst>
                                      </p:cBhvr>
                                      <p:to>
                                        <p:strVal val="visible"/>
                                      </p:to>
                                    </p:set>
                                    <p:anim calcmode="lin" valueType="num">
                                      <p:cBhvr>
                                        <p:cTn id="59" dur="500" fill="hold"/>
                                        <p:tgtEl>
                                          <p:spTgt spid="34"/>
                                        </p:tgtEl>
                                        <p:attrNameLst>
                                          <p:attrName>ppt_w</p:attrName>
                                        </p:attrNameLst>
                                      </p:cBhvr>
                                      <p:tavLst>
                                        <p:tav tm="0">
                                          <p:val>
                                            <p:fltVal val="0"/>
                                          </p:val>
                                        </p:tav>
                                        <p:tav tm="100000">
                                          <p:val>
                                            <p:strVal val="#ppt_w"/>
                                          </p:val>
                                        </p:tav>
                                      </p:tavLst>
                                    </p:anim>
                                    <p:anim calcmode="lin" valueType="num">
                                      <p:cBhvr>
                                        <p:cTn id="60" dur="500" fill="hold"/>
                                        <p:tgtEl>
                                          <p:spTgt spid="34"/>
                                        </p:tgtEl>
                                        <p:attrNameLst>
                                          <p:attrName>ppt_h</p:attrName>
                                        </p:attrNameLst>
                                      </p:cBhvr>
                                      <p:tavLst>
                                        <p:tav tm="0">
                                          <p:val>
                                            <p:fltVal val="0"/>
                                          </p:val>
                                        </p:tav>
                                        <p:tav tm="100000">
                                          <p:val>
                                            <p:strVal val="#ppt_h"/>
                                          </p:val>
                                        </p:tav>
                                      </p:tavLst>
                                    </p:anim>
                                    <p:animEffect transition="in" filter="fade">
                                      <p:cBhvr>
                                        <p:cTn id="61" dur="500"/>
                                        <p:tgtEl>
                                          <p:spTgt spid="34"/>
                                        </p:tgtEl>
                                      </p:cBhvr>
                                    </p:animEffect>
                                  </p:childTnLst>
                                </p:cTn>
                              </p:par>
                            </p:childTnLst>
                          </p:cTn>
                        </p:par>
                        <p:par>
                          <p:cTn id="62" fill="hold">
                            <p:stCondLst>
                              <p:cond delay="5500"/>
                            </p:stCondLst>
                            <p:childTnLst>
                              <p:par>
                                <p:cTn id="63" presetID="22" presetClass="entr" presetSubtype="8" fill="hold" grpId="0" nodeType="afterEffect">
                                  <p:stCondLst>
                                    <p:cond delay="0"/>
                                  </p:stCondLst>
                                  <p:childTnLst>
                                    <p:set>
                                      <p:cBhvr>
                                        <p:cTn id="64" dur="1" fill="hold">
                                          <p:stCondLst>
                                            <p:cond delay="0"/>
                                          </p:stCondLst>
                                        </p:cTn>
                                        <p:tgtEl>
                                          <p:spTgt spid="47"/>
                                        </p:tgtEl>
                                        <p:attrNameLst>
                                          <p:attrName>style.visibility</p:attrName>
                                        </p:attrNameLst>
                                      </p:cBhvr>
                                      <p:to>
                                        <p:strVal val="visible"/>
                                      </p:to>
                                    </p:set>
                                    <p:animEffect transition="in" filter="wipe(left)">
                                      <p:cBhvr>
                                        <p:cTn id="65" dur="500"/>
                                        <p:tgtEl>
                                          <p:spTgt spid="47"/>
                                        </p:tgtEl>
                                      </p:cBhvr>
                                    </p:animEffect>
                                  </p:childTnLst>
                                </p:cTn>
                              </p:par>
                            </p:childTnLst>
                          </p:cTn>
                        </p:par>
                        <p:par>
                          <p:cTn id="66" fill="hold">
                            <p:stCondLst>
                              <p:cond delay="6000"/>
                            </p:stCondLst>
                            <p:childTnLst>
                              <p:par>
                                <p:cTn id="67" presetID="42" presetClass="entr" presetSubtype="0" fill="hold" grpId="0" nodeType="afterEffect">
                                  <p:stCondLst>
                                    <p:cond delay="0"/>
                                  </p:stCondLst>
                                  <p:childTnLst>
                                    <p:set>
                                      <p:cBhvr>
                                        <p:cTn id="68" dur="1" fill="hold">
                                          <p:stCondLst>
                                            <p:cond delay="0"/>
                                          </p:stCondLst>
                                        </p:cTn>
                                        <p:tgtEl>
                                          <p:spTgt spid="42"/>
                                        </p:tgtEl>
                                        <p:attrNameLst>
                                          <p:attrName>style.visibility</p:attrName>
                                        </p:attrNameLst>
                                      </p:cBhvr>
                                      <p:to>
                                        <p:strVal val="visible"/>
                                      </p:to>
                                    </p:set>
                                    <p:animEffect transition="in" filter="fade">
                                      <p:cBhvr>
                                        <p:cTn id="69" dur="500"/>
                                        <p:tgtEl>
                                          <p:spTgt spid="42"/>
                                        </p:tgtEl>
                                      </p:cBhvr>
                                    </p:animEffect>
                                    <p:anim calcmode="lin" valueType="num">
                                      <p:cBhvr>
                                        <p:cTn id="70" dur="500" fill="hold"/>
                                        <p:tgtEl>
                                          <p:spTgt spid="42"/>
                                        </p:tgtEl>
                                        <p:attrNameLst>
                                          <p:attrName>ppt_x</p:attrName>
                                        </p:attrNameLst>
                                      </p:cBhvr>
                                      <p:tavLst>
                                        <p:tav tm="0">
                                          <p:val>
                                            <p:strVal val="#ppt_x"/>
                                          </p:val>
                                        </p:tav>
                                        <p:tav tm="100000">
                                          <p:val>
                                            <p:strVal val="#ppt_x"/>
                                          </p:val>
                                        </p:tav>
                                      </p:tavLst>
                                    </p:anim>
                                    <p:anim calcmode="lin" valueType="num">
                                      <p:cBhvr>
                                        <p:cTn id="71" dur="500" fill="hold"/>
                                        <p:tgtEl>
                                          <p:spTgt spid="42"/>
                                        </p:tgtEl>
                                        <p:attrNameLst>
                                          <p:attrName>ppt_y</p:attrName>
                                        </p:attrNameLst>
                                      </p:cBhvr>
                                      <p:tavLst>
                                        <p:tav tm="0">
                                          <p:val>
                                            <p:strVal val="#ppt_y+.1"/>
                                          </p:val>
                                        </p:tav>
                                        <p:tav tm="100000">
                                          <p:val>
                                            <p:strVal val="#ppt_y"/>
                                          </p:val>
                                        </p:tav>
                                      </p:tavLst>
                                    </p:anim>
                                  </p:childTnLst>
                                </p:cTn>
                              </p:par>
                            </p:childTnLst>
                          </p:cTn>
                        </p:par>
                        <p:par>
                          <p:cTn id="72" fill="hold">
                            <p:stCondLst>
                              <p:cond delay="6500"/>
                            </p:stCondLst>
                            <p:childTnLst>
                              <p:par>
                                <p:cTn id="73" presetID="53" presetClass="entr" presetSubtype="16" fill="hold" nodeType="afterEffect">
                                  <p:stCondLst>
                                    <p:cond delay="0"/>
                                  </p:stCondLst>
                                  <p:childTnLst>
                                    <p:set>
                                      <p:cBhvr>
                                        <p:cTn id="74" dur="1" fill="hold">
                                          <p:stCondLst>
                                            <p:cond delay="0"/>
                                          </p:stCondLst>
                                        </p:cTn>
                                        <p:tgtEl>
                                          <p:spTgt spid="29"/>
                                        </p:tgtEl>
                                        <p:attrNameLst>
                                          <p:attrName>style.visibility</p:attrName>
                                        </p:attrNameLst>
                                      </p:cBhvr>
                                      <p:to>
                                        <p:strVal val="visible"/>
                                      </p:to>
                                    </p:set>
                                    <p:anim calcmode="lin" valueType="num">
                                      <p:cBhvr>
                                        <p:cTn id="75" dur="500" fill="hold"/>
                                        <p:tgtEl>
                                          <p:spTgt spid="29"/>
                                        </p:tgtEl>
                                        <p:attrNameLst>
                                          <p:attrName>ppt_w</p:attrName>
                                        </p:attrNameLst>
                                      </p:cBhvr>
                                      <p:tavLst>
                                        <p:tav tm="0">
                                          <p:val>
                                            <p:fltVal val="0"/>
                                          </p:val>
                                        </p:tav>
                                        <p:tav tm="100000">
                                          <p:val>
                                            <p:strVal val="#ppt_w"/>
                                          </p:val>
                                        </p:tav>
                                      </p:tavLst>
                                    </p:anim>
                                    <p:anim calcmode="lin" valueType="num">
                                      <p:cBhvr>
                                        <p:cTn id="76" dur="500" fill="hold"/>
                                        <p:tgtEl>
                                          <p:spTgt spid="29"/>
                                        </p:tgtEl>
                                        <p:attrNameLst>
                                          <p:attrName>ppt_h</p:attrName>
                                        </p:attrNameLst>
                                      </p:cBhvr>
                                      <p:tavLst>
                                        <p:tav tm="0">
                                          <p:val>
                                            <p:fltVal val="0"/>
                                          </p:val>
                                        </p:tav>
                                        <p:tav tm="100000">
                                          <p:val>
                                            <p:strVal val="#ppt_h"/>
                                          </p:val>
                                        </p:tav>
                                      </p:tavLst>
                                    </p:anim>
                                    <p:animEffect transition="in" filter="fade">
                                      <p:cBhvr>
                                        <p:cTn id="77" dur="500"/>
                                        <p:tgtEl>
                                          <p:spTgt spid="29"/>
                                        </p:tgtEl>
                                      </p:cBhvr>
                                    </p:animEffect>
                                  </p:childTnLst>
                                </p:cTn>
                              </p:par>
                            </p:childTnLst>
                          </p:cTn>
                        </p:par>
                        <p:par>
                          <p:cTn id="78" fill="hold">
                            <p:stCondLst>
                              <p:cond delay="7000"/>
                            </p:stCondLst>
                            <p:childTnLst>
                              <p:par>
                                <p:cTn id="79" presetID="22" presetClass="entr" presetSubtype="8" fill="hold" grpId="0" nodeType="afterEffect">
                                  <p:stCondLst>
                                    <p:cond delay="0"/>
                                  </p:stCondLst>
                                  <p:childTnLst>
                                    <p:set>
                                      <p:cBhvr>
                                        <p:cTn id="80" dur="1" fill="hold">
                                          <p:stCondLst>
                                            <p:cond delay="0"/>
                                          </p:stCondLst>
                                        </p:cTn>
                                        <p:tgtEl>
                                          <p:spTgt spid="48"/>
                                        </p:tgtEl>
                                        <p:attrNameLst>
                                          <p:attrName>style.visibility</p:attrName>
                                        </p:attrNameLst>
                                      </p:cBhvr>
                                      <p:to>
                                        <p:strVal val="visible"/>
                                      </p:to>
                                    </p:set>
                                    <p:animEffect transition="in" filter="wipe(left)">
                                      <p:cBhvr>
                                        <p:cTn id="81" dur="500"/>
                                        <p:tgtEl>
                                          <p:spTgt spid="48"/>
                                        </p:tgtEl>
                                      </p:cBhvr>
                                    </p:animEffect>
                                  </p:childTnLst>
                                </p:cTn>
                              </p:par>
                            </p:childTnLst>
                          </p:cTn>
                        </p:par>
                        <p:par>
                          <p:cTn id="82" fill="hold">
                            <p:stCondLst>
                              <p:cond delay="7500"/>
                            </p:stCondLst>
                            <p:childTnLst>
                              <p:par>
                                <p:cTn id="83" presetID="42" presetClass="entr" presetSubtype="0" fill="hold" grpId="0" nodeType="afterEffect">
                                  <p:stCondLst>
                                    <p:cond delay="0"/>
                                  </p:stCondLst>
                                  <p:childTnLst>
                                    <p:set>
                                      <p:cBhvr>
                                        <p:cTn id="84" dur="1" fill="hold">
                                          <p:stCondLst>
                                            <p:cond delay="0"/>
                                          </p:stCondLst>
                                        </p:cTn>
                                        <p:tgtEl>
                                          <p:spTgt spid="43"/>
                                        </p:tgtEl>
                                        <p:attrNameLst>
                                          <p:attrName>style.visibility</p:attrName>
                                        </p:attrNameLst>
                                      </p:cBhvr>
                                      <p:to>
                                        <p:strVal val="visible"/>
                                      </p:to>
                                    </p:set>
                                    <p:animEffect transition="in" filter="fade">
                                      <p:cBhvr>
                                        <p:cTn id="85" dur="500"/>
                                        <p:tgtEl>
                                          <p:spTgt spid="43"/>
                                        </p:tgtEl>
                                      </p:cBhvr>
                                    </p:animEffect>
                                    <p:anim calcmode="lin" valueType="num">
                                      <p:cBhvr>
                                        <p:cTn id="86" dur="500" fill="hold"/>
                                        <p:tgtEl>
                                          <p:spTgt spid="43"/>
                                        </p:tgtEl>
                                        <p:attrNameLst>
                                          <p:attrName>ppt_x</p:attrName>
                                        </p:attrNameLst>
                                      </p:cBhvr>
                                      <p:tavLst>
                                        <p:tav tm="0">
                                          <p:val>
                                            <p:strVal val="#ppt_x"/>
                                          </p:val>
                                        </p:tav>
                                        <p:tav tm="100000">
                                          <p:val>
                                            <p:strVal val="#ppt_x"/>
                                          </p:val>
                                        </p:tav>
                                      </p:tavLst>
                                    </p:anim>
                                    <p:anim calcmode="lin" valueType="num">
                                      <p:cBhvr>
                                        <p:cTn id="87" dur="500" fill="hold"/>
                                        <p:tgtEl>
                                          <p:spTgt spid="43"/>
                                        </p:tgtEl>
                                        <p:attrNameLst>
                                          <p:attrName>ppt_y</p:attrName>
                                        </p:attrNameLst>
                                      </p:cBhvr>
                                      <p:tavLst>
                                        <p:tav tm="0">
                                          <p:val>
                                            <p:strVal val="#ppt_y+.1"/>
                                          </p:val>
                                        </p:tav>
                                        <p:tav tm="100000">
                                          <p:val>
                                            <p:strVal val="#ppt_y"/>
                                          </p:val>
                                        </p:tav>
                                      </p:tavLst>
                                    </p:anim>
                                  </p:childTnLst>
                                </p:cTn>
                              </p:par>
                            </p:childTnLst>
                          </p:cTn>
                        </p:par>
                        <p:par>
                          <p:cTn id="88" fill="hold">
                            <p:stCondLst>
                              <p:cond delay="8000"/>
                            </p:stCondLst>
                            <p:childTnLst>
                              <p:par>
                                <p:cTn id="89" presetID="22" presetClass="entr" presetSubtype="8" fill="hold" grpId="0" nodeType="afterEffect">
                                  <p:stCondLst>
                                    <p:cond delay="0"/>
                                  </p:stCondLst>
                                  <p:childTnLst>
                                    <p:set>
                                      <p:cBhvr>
                                        <p:cTn id="90" dur="1" fill="hold">
                                          <p:stCondLst>
                                            <p:cond delay="0"/>
                                          </p:stCondLst>
                                        </p:cTn>
                                        <p:tgtEl>
                                          <p:spTgt spid="49"/>
                                        </p:tgtEl>
                                        <p:attrNameLst>
                                          <p:attrName>style.visibility</p:attrName>
                                        </p:attrNameLst>
                                      </p:cBhvr>
                                      <p:to>
                                        <p:strVal val="visible"/>
                                      </p:to>
                                    </p:set>
                                    <p:animEffect transition="in" filter="wipe(left)">
                                      <p:cBhvr>
                                        <p:cTn id="91" dur="500"/>
                                        <p:tgtEl>
                                          <p:spTgt spid="4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p:bldP spid="40" grpId="0"/>
      <p:bldP spid="41" grpId="0"/>
      <p:bldP spid="42" grpId="0"/>
      <p:bldP spid="43" grpId="0"/>
      <p:bldP spid="44" grpId="0"/>
      <p:bldP spid="45" grpId="0"/>
      <p:bldP spid="46" grpId="0"/>
      <p:bldP spid="47" grpId="0"/>
      <p:bldP spid="48" grpId="0"/>
      <p:bldP spid="49" grpId="0"/>
    </p:bldLst>
  </p:timing>
</p:sld>
</file>

<file path=ppt/slides/slide59.xml><?xml version="1.0" encoding="utf-8"?>
<p:sld xmlns:a="http://schemas.openxmlformats.org/drawingml/2006/main" xmlns:r="http://schemas.openxmlformats.org/officeDocument/2006/relationships" xmlns:p="http://schemas.openxmlformats.org/presentationml/2006/main">
  <p:cSld>
    <p:bg>
      <p:bgPr>
        <a:solidFill>
          <a:srgbClr val="021044"/>
        </a:solidFill>
        <a:effectLst/>
      </p:bgPr>
    </p:bg>
    <p:spTree>
      <p:nvGrpSpPr>
        <p:cNvPr id="1" name=""/>
        <p:cNvGrpSpPr/>
        <p:nvPr/>
      </p:nvGrpSpPr>
      <p:grpSpPr>
        <a:xfrm>
          <a:off x="0" y="0"/>
          <a:ext cx="0" cy="0"/>
          <a:chOff x="0" y="0"/>
          <a:chExt cx="0" cy="0"/>
        </a:xfrm>
      </p:grpSpPr>
      <p:sp>
        <p:nvSpPr>
          <p:cNvPr id="3" name="矩形: 圆角 2">
            <a:extLst>
              <a:ext uri="{FF2B5EF4-FFF2-40B4-BE49-F238E27FC236}">
                <a16:creationId xmlns:a16="http://schemas.microsoft.com/office/drawing/2014/main" id="{5FFA1D77-93DB-4D5B-8400-19461615C3E0}"/>
              </a:ext>
            </a:extLst>
          </p:cNvPr>
          <p:cNvSpPr/>
          <p:nvPr/>
        </p:nvSpPr>
        <p:spPr>
          <a:xfrm rot="2700000">
            <a:off x="-1435100" y="1790700"/>
            <a:ext cx="2870200" cy="2870200"/>
          </a:xfrm>
          <a:prstGeom prst="roundRect">
            <a:avLst>
              <a:gd name="adj" fmla="val 10472"/>
            </a:avLst>
          </a:prstGeom>
          <a:gradFill>
            <a:gsLst>
              <a:gs pos="5000">
                <a:schemeClr val="bg1">
                  <a:alpha val="28000"/>
                </a:schemeClr>
              </a:gs>
              <a:gs pos="80000">
                <a:schemeClr val="bg1">
                  <a:alpha val="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22" name="矩形: 圆角 21">
            <a:extLst>
              <a:ext uri="{FF2B5EF4-FFF2-40B4-BE49-F238E27FC236}">
                <a16:creationId xmlns:a16="http://schemas.microsoft.com/office/drawing/2014/main" id="{14031F25-2DEB-4B13-956F-2AC015D30334}"/>
              </a:ext>
            </a:extLst>
          </p:cNvPr>
          <p:cNvSpPr/>
          <p:nvPr/>
        </p:nvSpPr>
        <p:spPr>
          <a:xfrm rot="2700000">
            <a:off x="4749801" y="5371964"/>
            <a:ext cx="2870200" cy="2870200"/>
          </a:xfrm>
          <a:prstGeom prst="roundRect">
            <a:avLst>
              <a:gd name="adj" fmla="val 10472"/>
            </a:avLst>
          </a:prstGeom>
          <a:gradFill>
            <a:gsLst>
              <a:gs pos="5000">
                <a:schemeClr val="bg1">
                  <a:alpha val="28000"/>
                </a:schemeClr>
              </a:gs>
              <a:gs pos="80000">
                <a:schemeClr val="bg1">
                  <a:alpha val="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23" name="矩形: 圆角 22">
            <a:extLst>
              <a:ext uri="{FF2B5EF4-FFF2-40B4-BE49-F238E27FC236}">
                <a16:creationId xmlns:a16="http://schemas.microsoft.com/office/drawing/2014/main" id="{49462FF8-E440-4CD6-ACBF-2C0BD39B3E34}"/>
              </a:ext>
            </a:extLst>
          </p:cNvPr>
          <p:cNvSpPr/>
          <p:nvPr/>
        </p:nvSpPr>
        <p:spPr>
          <a:xfrm rot="2700000">
            <a:off x="7702630" y="5187961"/>
            <a:ext cx="1257141" cy="1257141"/>
          </a:xfrm>
          <a:prstGeom prst="roundRect">
            <a:avLst>
              <a:gd name="adj" fmla="val 10472"/>
            </a:avLst>
          </a:prstGeom>
          <a:gradFill>
            <a:gsLst>
              <a:gs pos="5000">
                <a:schemeClr val="bg1">
                  <a:alpha val="28000"/>
                </a:schemeClr>
              </a:gs>
              <a:gs pos="80000">
                <a:schemeClr val="bg1">
                  <a:alpha val="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4" name="文本框 3">
            <a:extLst>
              <a:ext uri="{FF2B5EF4-FFF2-40B4-BE49-F238E27FC236}">
                <a16:creationId xmlns:a16="http://schemas.microsoft.com/office/drawing/2014/main" id="{F593509A-10E8-4630-8A10-3BC56B019334}"/>
              </a:ext>
            </a:extLst>
          </p:cNvPr>
          <p:cNvSpPr txBox="1"/>
          <p:nvPr/>
        </p:nvSpPr>
        <p:spPr>
          <a:xfrm>
            <a:off x="4617720" y="3611499"/>
            <a:ext cx="6843938" cy="276999"/>
          </a:xfrm>
          <a:prstGeom prst="rect">
            <a:avLst/>
          </a:prstGeom>
          <a:noFill/>
        </p:spPr>
        <p:txBody>
          <a:bodyPr wrap="square" lIns="0" tIns="0" rIns="0" bIns="0" rtlCol="0" anchor="t">
            <a:spAutoFit/>
          </a:bodyPr>
          <a:lstStyle/>
          <a:p>
            <a:pPr algn="dist"/>
            <a:r>
              <a:rPr lang="en-US" altLang="zh-CN" sz="1800" b="0" dirty="0">
                <a:solidFill>
                  <a:schemeClr val="bg1"/>
                </a:solidFill>
                <a:effectLst/>
                <a:latin typeface="+mn-ea"/>
              </a:rPr>
              <a:t>Lorem ipsum dolor sit amet, consectetur adipisicing elit, sed</a:t>
            </a:r>
          </a:p>
        </p:txBody>
      </p:sp>
      <p:sp>
        <p:nvSpPr>
          <p:cNvPr id="25" name="文本框 24">
            <a:extLst>
              <a:ext uri="{FF2B5EF4-FFF2-40B4-BE49-F238E27FC236}">
                <a16:creationId xmlns:a16="http://schemas.microsoft.com/office/drawing/2014/main" id="{F07970AE-3EC9-42DC-97FF-DEEE6573CA7A}"/>
              </a:ext>
            </a:extLst>
          </p:cNvPr>
          <p:cNvSpPr txBox="1"/>
          <p:nvPr/>
        </p:nvSpPr>
        <p:spPr>
          <a:xfrm>
            <a:off x="4643147" y="2697071"/>
            <a:ext cx="6924973" cy="923330"/>
          </a:xfrm>
          <a:prstGeom prst="rect">
            <a:avLst/>
          </a:prstGeom>
          <a:noFill/>
        </p:spPr>
        <p:txBody>
          <a:bodyPr wrap="none" lIns="0" tIns="0" rIns="0" bIns="0" rtlCol="0" anchor="t">
            <a:spAutoFit/>
          </a:bodyPr>
          <a:lstStyle/>
          <a:p>
            <a:r>
              <a:rPr lang="zh-CN" altLang="en-US" sz="6000" dirty="0">
                <a:solidFill>
                  <a:schemeClr val="bg1"/>
                </a:solidFill>
                <a:latin typeface="+mj-ea"/>
                <a:ea typeface="+mj-ea"/>
              </a:rPr>
              <a:t>输入你的封面大标题</a:t>
            </a:r>
          </a:p>
        </p:txBody>
      </p:sp>
      <p:sp>
        <p:nvSpPr>
          <p:cNvPr id="26" name="文本框 25">
            <a:extLst>
              <a:ext uri="{FF2B5EF4-FFF2-40B4-BE49-F238E27FC236}">
                <a16:creationId xmlns:a16="http://schemas.microsoft.com/office/drawing/2014/main" id="{0668BDD2-A69E-431D-AEDA-208312A0F01C}"/>
              </a:ext>
            </a:extLst>
          </p:cNvPr>
          <p:cNvSpPr txBox="1"/>
          <p:nvPr/>
        </p:nvSpPr>
        <p:spPr>
          <a:xfrm>
            <a:off x="9297443" y="1764383"/>
            <a:ext cx="2151230" cy="923330"/>
          </a:xfrm>
          <a:prstGeom prst="rect">
            <a:avLst/>
          </a:prstGeom>
          <a:noFill/>
        </p:spPr>
        <p:txBody>
          <a:bodyPr wrap="none" lIns="0" tIns="0" rIns="0" bIns="0" rtlCol="0" anchor="t">
            <a:spAutoFit/>
          </a:bodyPr>
          <a:lstStyle/>
          <a:p>
            <a:r>
              <a:rPr lang="en-US" altLang="zh-CN" sz="6000" dirty="0">
                <a:solidFill>
                  <a:schemeClr val="bg1"/>
                </a:solidFill>
                <a:latin typeface="+mj-ea"/>
                <a:ea typeface="+mj-ea"/>
              </a:rPr>
              <a:t>20XX</a:t>
            </a:r>
            <a:endParaRPr lang="zh-CN" altLang="en-US" sz="6000" dirty="0">
              <a:solidFill>
                <a:schemeClr val="bg1"/>
              </a:solidFill>
              <a:latin typeface="+mj-ea"/>
              <a:ea typeface="+mj-ea"/>
            </a:endParaRPr>
          </a:p>
        </p:txBody>
      </p:sp>
      <p:sp>
        <p:nvSpPr>
          <p:cNvPr id="27" name="矩形: 圆角 26">
            <a:extLst>
              <a:ext uri="{FF2B5EF4-FFF2-40B4-BE49-F238E27FC236}">
                <a16:creationId xmlns:a16="http://schemas.microsoft.com/office/drawing/2014/main" id="{87EC63CD-FA22-4349-967F-8FEBB7758463}"/>
              </a:ext>
            </a:extLst>
          </p:cNvPr>
          <p:cNvSpPr/>
          <p:nvPr/>
        </p:nvSpPr>
        <p:spPr>
          <a:xfrm>
            <a:off x="7621178" y="4112895"/>
            <a:ext cx="1653540" cy="411480"/>
          </a:xfrm>
          <a:prstGeom prst="roundRect">
            <a:avLst>
              <a:gd name="adj" fmla="val 50000"/>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a:solidFill>
                  <a:schemeClr val="bg1"/>
                </a:solidFill>
                <a:latin typeface="+mn-ea"/>
              </a:rPr>
              <a:t>汇报人：</a:t>
            </a:r>
            <a:r>
              <a:rPr lang="en-US" altLang="zh-CN" sz="1600" dirty="0">
                <a:solidFill>
                  <a:schemeClr val="bg1"/>
                </a:solidFill>
                <a:latin typeface="+mn-ea"/>
              </a:rPr>
              <a:t>xxx</a:t>
            </a:r>
            <a:endParaRPr lang="zh-CN" altLang="en-US" sz="1600" dirty="0">
              <a:solidFill>
                <a:schemeClr val="bg1"/>
              </a:solidFill>
              <a:latin typeface="+mn-ea"/>
            </a:endParaRPr>
          </a:p>
        </p:txBody>
      </p:sp>
      <p:sp>
        <p:nvSpPr>
          <p:cNvPr id="28" name="矩形: 圆角 27">
            <a:extLst>
              <a:ext uri="{FF2B5EF4-FFF2-40B4-BE49-F238E27FC236}">
                <a16:creationId xmlns:a16="http://schemas.microsoft.com/office/drawing/2014/main" id="{D1621863-53BB-43C5-B69F-6712F8C4A852}"/>
              </a:ext>
            </a:extLst>
          </p:cNvPr>
          <p:cNvSpPr/>
          <p:nvPr/>
        </p:nvSpPr>
        <p:spPr>
          <a:xfrm>
            <a:off x="9808118" y="4112895"/>
            <a:ext cx="1653540" cy="411480"/>
          </a:xfrm>
          <a:prstGeom prst="roundRect">
            <a:avLst>
              <a:gd name="adj" fmla="val 50000"/>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a:solidFill>
                  <a:schemeClr val="bg1"/>
                </a:solidFill>
                <a:latin typeface="+mn-ea"/>
              </a:rPr>
              <a:t>单位：</a:t>
            </a:r>
            <a:r>
              <a:rPr lang="en-US" altLang="zh-CN" sz="1600" dirty="0">
                <a:solidFill>
                  <a:schemeClr val="bg1"/>
                </a:solidFill>
                <a:latin typeface="+mn-ea"/>
              </a:rPr>
              <a:t>xxx</a:t>
            </a:r>
          </a:p>
        </p:txBody>
      </p:sp>
      <p:sp>
        <p:nvSpPr>
          <p:cNvPr id="29" name="矩形: 圆角 28">
            <a:extLst>
              <a:ext uri="{FF2B5EF4-FFF2-40B4-BE49-F238E27FC236}">
                <a16:creationId xmlns:a16="http://schemas.microsoft.com/office/drawing/2014/main" id="{BC62D270-4F7C-4497-A5D7-A2AE63997017}"/>
              </a:ext>
            </a:extLst>
          </p:cNvPr>
          <p:cNvSpPr/>
          <p:nvPr/>
        </p:nvSpPr>
        <p:spPr>
          <a:xfrm rot="13500000">
            <a:off x="11160204" y="-206117"/>
            <a:ext cx="1257141" cy="1257141"/>
          </a:xfrm>
          <a:prstGeom prst="roundRect">
            <a:avLst>
              <a:gd name="adj" fmla="val 10472"/>
            </a:avLst>
          </a:prstGeom>
          <a:gradFill>
            <a:gsLst>
              <a:gs pos="5000">
                <a:schemeClr val="bg1">
                  <a:alpha val="10000"/>
                </a:schemeClr>
              </a:gs>
              <a:gs pos="80000">
                <a:schemeClr val="bg1">
                  <a:alpha val="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Tree>
    <p:extLst>
      <p:ext uri="{BB962C8B-B14F-4D97-AF65-F5344CB8AC3E}">
        <p14:creationId xmlns:p14="http://schemas.microsoft.com/office/powerpoint/2010/main" val="2121652282"/>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5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Connector: Elbow 39">
            <a:extLst>
              <a:ext uri="{FF2B5EF4-FFF2-40B4-BE49-F238E27FC236}">
                <a16:creationId xmlns:a16="http://schemas.microsoft.com/office/drawing/2014/main" id="{A4326F28-2143-4075-B2DE-E82E05E7B64E}"/>
              </a:ext>
            </a:extLst>
          </p:cNvPr>
          <p:cNvCxnSpPr>
            <a:cxnSpLocks/>
            <a:stCxn id="31" idx="2"/>
          </p:cNvCxnSpPr>
          <p:nvPr/>
        </p:nvCxnSpPr>
        <p:spPr>
          <a:xfrm rot="10800000">
            <a:off x="4153551" y="3161444"/>
            <a:ext cx="1797573" cy="584776"/>
          </a:xfrm>
          <a:prstGeom prst="bentConnector3">
            <a:avLst>
              <a:gd name="adj1" fmla="val 50000"/>
            </a:avLst>
          </a:prstGeom>
          <a:ln w="28575">
            <a:solidFill>
              <a:schemeClr val="bg1">
                <a:lumMod val="65000"/>
              </a:schemeClr>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3" name="Connector: Elbow 54">
            <a:extLst>
              <a:ext uri="{FF2B5EF4-FFF2-40B4-BE49-F238E27FC236}">
                <a16:creationId xmlns:a16="http://schemas.microsoft.com/office/drawing/2014/main" id="{DC9EBA9F-19E1-44BB-950E-C6FF834D5AFC}"/>
              </a:ext>
            </a:extLst>
          </p:cNvPr>
          <p:cNvCxnSpPr>
            <a:cxnSpLocks/>
            <a:stCxn id="28" idx="6"/>
          </p:cNvCxnSpPr>
          <p:nvPr/>
        </p:nvCxnSpPr>
        <p:spPr>
          <a:xfrm flipV="1">
            <a:off x="6365793" y="5236517"/>
            <a:ext cx="2250352" cy="1330363"/>
          </a:xfrm>
          <a:prstGeom prst="bentConnector3">
            <a:avLst>
              <a:gd name="adj1" fmla="val 50000"/>
            </a:avLst>
          </a:prstGeom>
          <a:ln w="28575">
            <a:solidFill>
              <a:schemeClr val="bg1">
                <a:lumMod val="65000"/>
              </a:schemeClr>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4" name="Connector: Elbow 43">
            <a:extLst>
              <a:ext uri="{FF2B5EF4-FFF2-40B4-BE49-F238E27FC236}">
                <a16:creationId xmlns:a16="http://schemas.microsoft.com/office/drawing/2014/main" id="{BA780D18-7CBF-49AF-8EFA-3A0ECA2B85B6}"/>
              </a:ext>
            </a:extLst>
          </p:cNvPr>
          <p:cNvCxnSpPr>
            <a:cxnSpLocks/>
            <a:stCxn id="32" idx="6"/>
          </p:cNvCxnSpPr>
          <p:nvPr/>
        </p:nvCxnSpPr>
        <p:spPr>
          <a:xfrm flipV="1">
            <a:off x="6917695" y="2007879"/>
            <a:ext cx="1408092" cy="1009685"/>
          </a:xfrm>
          <a:prstGeom prst="bentConnector3">
            <a:avLst>
              <a:gd name="adj1" fmla="val 50000"/>
            </a:avLst>
          </a:prstGeom>
          <a:ln w="28575">
            <a:solidFill>
              <a:schemeClr val="bg1">
                <a:lumMod val="65000"/>
              </a:schemeClr>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5" name="Connector: Elbow 42">
            <a:extLst>
              <a:ext uri="{FF2B5EF4-FFF2-40B4-BE49-F238E27FC236}">
                <a16:creationId xmlns:a16="http://schemas.microsoft.com/office/drawing/2014/main" id="{19BB038F-87B0-44E3-BBD6-10843D7EAB94}"/>
              </a:ext>
            </a:extLst>
          </p:cNvPr>
          <p:cNvCxnSpPr>
            <a:cxnSpLocks/>
            <a:stCxn id="29" idx="3"/>
          </p:cNvCxnSpPr>
          <p:nvPr/>
        </p:nvCxnSpPr>
        <p:spPr>
          <a:xfrm flipV="1">
            <a:off x="6996943" y="3454533"/>
            <a:ext cx="1392788" cy="928127"/>
          </a:xfrm>
          <a:prstGeom prst="bentConnector3">
            <a:avLst>
              <a:gd name="adj1" fmla="val 50000"/>
            </a:avLst>
          </a:prstGeom>
          <a:ln w="28575">
            <a:solidFill>
              <a:schemeClr val="bg1">
                <a:lumMod val="65000"/>
              </a:schemeClr>
            </a:solidFill>
            <a:prstDash val="sysDash"/>
            <a:tailEnd type="triangle"/>
          </a:ln>
        </p:spPr>
        <p:style>
          <a:lnRef idx="1">
            <a:schemeClr val="accent1"/>
          </a:lnRef>
          <a:fillRef idx="0">
            <a:schemeClr val="accent1"/>
          </a:fillRef>
          <a:effectRef idx="0">
            <a:schemeClr val="accent1"/>
          </a:effectRef>
          <a:fontRef idx="minor">
            <a:schemeClr val="tx1"/>
          </a:fontRef>
        </p:style>
      </p:cxnSp>
      <p:grpSp>
        <p:nvGrpSpPr>
          <p:cNvPr id="6" name="Group 60">
            <a:extLst>
              <a:ext uri="{FF2B5EF4-FFF2-40B4-BE49-F238E27FC236}">
                <a16:creationId xmlns:a16="http://schemas.microsoft.com/office/drawing/2014/main" id="{4586B683-5EC2-443D-B7C3-78F96D7B5FB5}"/>
              </a:ext>
            </a:extLst>
          </p:cNvPr>
          <p:cNvGrpSpPr/>
          <p:nvPr/>
        </p:nvGrpSpPr>
        <p:grpSpPr>
          <a:xfrm>
            <a:off x="4711585" y="1509531"/>
            <a:ext cx="2762487" cy="5340012"/>
            <a:chOff x="4622801" y="1190193"/>
            <a:chExt cx="2940050" cy="5683250"/>
          </a:xfrm>
        </p:grpSpPr>
        <p:sp>
          <p:nvSpPr>
            <p:cNvPr id="7" name="Freeform 264">
              <a:extLst>
                <a:ext uri="{FF2B5EF4-FFF2-40B4-BE49-F238E27FC236}">
                  <a16:creationId xmlns:a16="http://schemas.microsoft.com/office/drawing/2014/main" id="{EE14ADED-4513-430F-BE5D-BF4AF909D84C}"/>
                </a:ext>
              </a:extLst>
            </p:cNvPr>
            <p:cNvSpPr>
              <a:spLocks/>
            </p:cNvSpPr>
            <p:nvPr/>
          </p:nvSpPr>
          <p:spPr bwMode="auto">
            <a:xfrm>
              <a:off x="5357813" y="5793943"/>
              <a:ext cx="1704975" cy="1079500"/>
            </a:xfrm>
            <a:custGeom>
              <a:avLst/>
              <a:gdLst>
                <a:gd name="T0" fmla="*/ 760 w 822"/>
                <a:gd name="T1" fmla="*/ 77 h 522"/>
                <a:gd name="T2" fmla="*/ 630 w 822"/>
                <a:gd name="T3" fmla="*/ 33 h 522"/>
                <a:gd name="T4" fmla="*/ 610 w 822"/>
                <a:gd name="T5" fmla="*/ 57 h 522"/>
                <a:gd name="T6" fmla="*/ 498 w 822"/>
                <a:gd name="T7" fmla="*/ 41 h 522"/>
                <a:gd name="T8" fmla="*/ 469 w 822"/>
                <a:gd name="T9" fmla="*/ 26 h 522"/>
                <a:gd name="T10" fmla="*/ 403 w 822"/>
                <a:gd name="T11" fmla="*/ 25 h 522"/>
                <a:gd name="T12" fmla="*/ 383 w 822"/>
                <a:gd name="T13" fmla="*/ 25 h 522"/>
                <a:gd name="T14" fmla="*/ 337 w 822"/>
                <a:gd name="T15" fmla="*/ 19 h 522"/>
                <a:gd name="T16" fmla="*/ 302 w 822"/>
                <a:gd name="T17" fmla="*/ 5 h 522"/>
                <a:gd name="T18" fmla="*/ 251 w 822"/>
                <a:gd name="T19" fmla="*/ 15 h 522"/>
                <a:gd name="T20" fmla="*/ 117 w 822"/>
                <a:gd name="T21" fmla="*/ 78 h 522"/>
                <a:gd name="T22" fmla="*/ 54 w 822"/>
                <a:gd name="T23" fmla="*/ 118 h 522"/>
                <a:gd name="T24" fmla="*/ 154 w 822"/>
                <a:gd name="T25" fmla="*/ 111 h 522"/>
                <a:gd name="T26" fmla="*/ 207 w 822"/>
                <a:gd name="T27" fmla="*/ 92 h 522"/>
                <a:gd name="T28" fmla="*/ 45 w 822"/>
                <a:gd name="T29" fmla="*/ 282 h 522"/>
                <a:gd name="T30" fmla="*/ 22 w 822"/>
                <a:gd name="T31" fmla="*/ 390 h 522"/>
                <a:gd name="T32" fmla="*/ 86 w 822"/>
                <a:gd name="T33" fmla="*/ 291 h 522"/>
                <a:gd name="T34" fmla="*/ 251 w 822"/>
                <a:gd name="T35" fmla="*/ 140 h 522"/>
                <a:gd name="T36" fmla="*/ 294 w 822"/>
                <a:gd name="T37" fmla="*/ 109 h 522"/>
                <a:gd name="T38" fmla="*/ 272 w 822"/>
                <a:gd name="T39" fmla="*/ 228 h 522"/>
                <a:gd name="T40" fmla="*/ 282 w 822"/>
                <a:gd name="T41" fmla="*/ 508 h 522"/>
                <a:gd name="T42" fmla="*/ 309 w 822"/>
                <a:gd name="T43" fmla="*/ 376 h 522"/>
                <a:gd name="T44" fmla="*/ 336 w 822"/>
                <a:gd name="T45" fmla="*/ 143 h 522"/>
                <a:gd name="T46" fmla="*/ 347 w 822"/>
                <a:gd name="T47" fmla="*/ 92 h 522"/>
                <a:gd name="T48" fmla="*/ 377 w 822"/>
                <a:gd name="T49" fmla="*/ 173 h 522"/>
                <a:gd name="T50" fmla="*/ 447 w 822"/>
                <a:gd name="T51" fmla="*/ 260 h 522"/>
                <a:gd name="T52" fmla="*/ 462 w 822"/>
                <a:gd name="T53" fmla="*/ 331 h 522"/>
                <a:gd name="T54" fmla="*/ 459 w 822"/>
                <a:gd name="T55" fmla="*/ 509 h 522"/>
                <a:gd name="T56" fmla="*/ 498 w 822"/>
                <a:gd name="T57" fmla="*/ 415 h 522"/>
                <a:gd name="T58" fmla="*/ 497 w 822"/>
                <a:gd name="T59" fmla="*/ 298 h 522"/>
                <a:gd name="T60" fmla="*/ 439 w 822"/>
                <a:gd name="T61" fmla="*/ 204 h 522"/>
                <a:gd name="T62" fmla="*/ 425 w 822"/>
                <a:gd name="T63" fmla="*/ 180 h 522"/>
                <a:gd name="T64" fmla="*/ 402 w 822"/>
                <a:gd name="T65" fmla="*/ 86 h 522"/>
                <a:gd name="T66" fmla="*/ 441 w 822"/>
                <a:gd name="T67" fmla="*/ 130 h 522"/>
                <a:gd name="T68" fmla="*/ 554 w 822"/>
                <a:gd name="T69" fmla="*/ 151 h 522"/>
                <a:gd name="T70" fmla="*/ 570 w 822"/>
                <a:gd name="T71" fmla="*/ 206 h 522"/>
                <a:gd name="T72" fmla="*/ 582 w 822"/>
                <a:gd name="T73" fmla="*/ 279 h 522"/>
                <a:gd name="T74" fmla="*/ 619 w 822"/>
                <a:gd name="T75" fmla="*/ 472 h 522"/>
                <a:gd name="T76" fmla="*/ 637 w 822"/>
                <a:gd name="T77" fmla="*/ 399 h 522"/>
                <a:gd name="T78" fmla="*/ 613 w 822"/>
                <a:gd name="T79" fmla="*/ 227 h 522"/>
                <a:gd name="T80" fmla="*/ 578 w 822"/>
                <a:gd name="T81" fmla="*/ 106 h 522"/>
                <a:gd name="T82" fmla="*/ 652 w 822"/>
                <a:gd name="T83" fmla="*/ 142 h 522"/>
                <a:gd name="T84" fmla="*/ 708 w 822"/>
                <a:gd name="T85" fmla="*/ 254 h 522"/>
                <a:gd name="T86" fmla="*/ 756 w 822"/>
                <a:gd name="T87" fmla="*/ 265 h 522"/>
                <a:gd name="T88" fmla="*/ 760 w 822"/>
                <a:gd name="T89" fmla="*/ 324 h 522"/>
                <a:gd name="T90" fmla="*/ 762 w 822"/>
                <a:gd name="T91" fmla="*/ 474 h 522"/>
                <a:gd name="T92" fmla="*/ 798 w 822"/>
                <a:gd name="T93" fmla="*/ 369 h 522"/>
                <a:gd name="T94" fmla="*/ 777 w 822"/>
                <a:gd name="T95" fmla="*/ 217 h 522"/>
                <a:gd name="T96" fmla="*/ 709 w 822"/>
                <a:gd name="T97" fmla="*/ 185 h 522"/>
                <a:gd name="T98" fmla="*/ 681 w 822"/>
                <a:gd name="T99" fmla="*/ 100 h 522"/>
                <a:gd name="T100" fmla="*/ 727 w 822"/>
                <a:gd name="T101" fmla="*/ 119 h 522"/>
                <a:gd name="T102" fmla="*/ 794 w 822"/>
                <a:gd name="T103" fmla="*/ 118 h 522"/>
                <a:gd name="T104" fmla="*/ 821 w 822"/>
                <a:gd name="T105" fmla="*/ 120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22" h="522">
                  <a:moveTo>
                    <a:pt x="808" y="82"/>
                  </a:moveTo>
                  <a:cubicBezTo>
                    <a:pt x="792" y="68"/>
                    <a:pt x="778" y="77"/>
                    <a:pt x="760" y="77"/>
                  </a:cubicBezTo>
                  <a:cubicBezTo>
                    <a:pt x="718" y="78"/>
                    <a:pt x="690" y="27"/>
                    <a:pt x="646" y="38"/>
                  </a:cubicBezTo>
                  <a:cubicBezTo>
                    <a:pt x="641" y="35"/>
                    <a:pt x="636" y="34"/>
                    <a:pt x="630" y="33"/>
                  </a:cubicBezTo>
                  <a:cubicBezTo>
                    <a:pt x="622" y="32"/>
                    <a:pt x="611" y="36"/>
                    <a:pt x="609" y="46"/>
                  </a:cubicBezTo>
                  <a:cubicBezTo>
                    <a:pt x="608" y="50"/>
                    <a:pt x="609" y="54"/>
                    <a:pt x="610" y="57"/>
                  </a:cubicBezTo>
                  <a:cubicBezTo>
                    <a:pt x="595" y="55"/>
                    <a:pt x="580" y="54"/>
                    <a:pt x="566" y="53"/>
                  </a:cubicBezTo>
                  <a:cubicBezTo>
                    <a:pt x="541" y="53"/>
                    <a:pt x="521" y="49"/>
                    <a:pt x="498" y="41"/>
                  </a:cubicBezTo>
                  <a:cubicBezTo>
                    <a:pt x="492" y="34"/>
                    <a:pt x="483" y="31"/>
                    <a:pt x="475" y="32"/>
                  </a:cubicBezTo>
                  <a:cubicBezTo>
                    <a:pt x="473" y="29"/>
                    <a:pt x="471" y="27"/>
                    <a:pt x="469" y="26"/>
                  </a:cubicBezTo>
                  <a:cubicBezTo>
                    <a:pt x="452" y="16"/>
                    <a:pt x="436" y="21"/>
                    <a:pt x="424" y="35"/>
                  </a:cubicBezTo>
                  <a:cubicBezTo>
                    <a:pt x="417" y="31"/>
                    <a:pt x="410" y="28"/>
                    <a:pt x="403" y="25"/>
                  </a:cubicBezTo>
                  <a:cubicBezTo>
                    <a:pt x="395" y="22"/>
                    <a:pt x="389" y="23"/>
                    <a:pt x="384" y="26"/>
                  </a:cubicBezTo>
                  <a:cubicBezTo>
                    <a:pt x="383" y="26"/>
                    <a:pt x="383" y="26"/>
                    <a:pt x="383" y="25"/>
                  </a:cubicBezTo>
                  <a:cubicBezTo>
                    <a:pt x="376" y="19"/>
                    <a:pt x="368" y="18"/>
                    <a:pt x="361" y="21"/>
                  </a:cubicBezTo>
                  <a:cubicBezTo>
                    <a:pt x="355" y="15"/>
                    <a:pt x="346" y="14"/>
                    <a:pt x="337" y="19"/>
                  </a:cubicBezTo>
                  <a:cubicBezTo>
                    <a:pt x="336" y="19"/>
                    <a:pt x="336" y="19"/>
                    <a:pt x="336" y="20"/>
                  </a:cubicBezTo>
                  <a:cubicBezTo>
                    <a:pt x="328" y="8"/>
                    <a:pt x="315" y="0"/>
                    <a:pt x="302" y="5"/>
                  </a:cubicBezTo>
                  <a:cubicBezTo>
                    <a:pt x="291" y="9"/>
                    <a:pt x="280" y="16"/>
                    <a:pt x="270" y="23"/>
                  </a:cubicBezTo>
                  <a:cubicBezTo>
                    <a:pt x="267" y="16"/>
                    <a:pt x="260" y="11"/>
                    <a:pt x="251" y="15"/>
                  </a:cubicBezTo>
                  <a:cubicBezTo>
                    <a:pt x="228" y="23"/>
                    <a:pt x="207" y="36"/>
                    <a:pt x="186" y="48"/>
                  </a:cubicBezTo>
                  <a:cubicBezTo>
                    <a:pt x="165" y="60"/>
                    <a:pt x="141" y="81"/>
                    <a:pt x="117" y="78"/>
                  </a:cubicBezTo>
                  <a:cubicBezTo>
                    <a:pt x="86" y="74"/>
                    <a:pt x="56" y="71"/>
                    <a:pt x="38" y="105"/>
                  </a:cubicBezTo>
                  <a:cubicBezTo>
                    <a:pt x="32" y="116"/>
                    <a:pt x="45" y="125"/>
                    <a:pt x="54" y="118"/>
                  </a:cubicBezTo>
                  <a:cubicBezTo>
                    <a:pt x="72" y="102"/>
                    <a:pt x="92" y="111"/>
                    <a:pt x="112" y="116"/>
                  </a:cubicBezTo>
                  <a:cubicBezTo>
                    <a:pt x="127" y="119"/>
                    <a:pt x="139" y="118"/>
                    <a:pt x="154" y="111"/>
                  </a:cubicBezTo>
                  <a:cubicBezTo>
                    <a:pt x="173" y="102"/>
                    <a:pt x="194" y="92"/>
                    <a:pt x="214" y="81"/>
                  </a:cubicBezTo>
                  <a:cubicBezTo>
                    <a:pt x="212" y="85"/>
                    <a:pt x="209" y="88"/>
                    <a:pt x="207" y="92"/>
                  </a:cubicBezTo>
                  <a:cubicBezTo>
                    <a:pt x="181" y="130"/>
                    <a:pt x="176" y="184"/>
                    <a:pt x="136" y="208"/>
                  </a:cubicBezTo>
                  <a:cubicBezTo>
                    <a:pt x="101" y="228"/>
                    <a:pt x="70" y="248"/>
                    <a:pt x="45" y="282"/>
                  </a:cubicBezTo>
                  <a:cubicBezTo>
                    <a:pt x="24" y="309"/>
                    <a:pt x="0" y="347"/>
                    <a:pt x="1" y="383"/>
                  </a:cubicBezTo>
                  <a:cubicBezTo>
                    <a:pt x="1" y="397"/>
                    <a:pt x="15" y="399"/>
                    <a:pt x="22" y="390"/>
                  </a:cubicBezTo>
                  <a:cubicBezTo>
                    <a:pt x="32" y="374"/>
                    <a:pt x="39" y="355"/>
                    <a:pt x="48" y="339"/>
                  </a:cubicBezTo>
                  <a:cubicBezTo>
                    <a:pt x="59" y="321"/>
                    <a:pt x="71" y="305"/>
                    <a:pt x="86" y="291"/>
                  </a:cubicBezTo>
                  <a:cubicBezTo>
                    <a:pt x="114" y="263"/>
                    <a:pt x="148" y="251"/>
                    <a:pt x="181" y="231"/>
                  </a:cubicBezTo>
                  <a:cubicBezTo>
                    <a:pt x="217" y="210"/>
                    <a:pt x="226" y="172"/>
                    <a:pt x="251" y="140"/>
                  </a:cubicBezTo>
                  <a:cubicBezTo>
                    <a:pt x="264" y="124"/>
                    <a:pt x="280" y="111"/>
                    <a:pt x="296" y="98"/>
                  </a:cubicBezTo>
                  <a:cubicBezTo>
                    <a:pt x="295" y="102"/>
                    <a:pt x="294" y="105"/>
                    <a:pt x="294" y="109"/>
                  </a:cubicBezTo>
                  <a:cubicBezTo>
                    <a:pt x="291" y="128"/>
                    <a:pt x="290" y="147"/>
                    <a:pt x="287" y="166"/>
                  </a:cubicBezTo>
                  <a:cubicBezTo>
                    <a:pt x="284" y="187"/>
                    <a:pt x="277" y="207"/>
                    <a:pt x="272" y="228"/>
                  </a:cubicBezTo>
                  <a:cubicBezTo>
                    <a:pt x="263" y="272"/>
                    <a:pt x="268" y="320"/>
                    <a:pt x="270" y="365"/>
                  </a:cubicBezTo>
                  <a:cubicBezTo>
                    <a:pt x="271" y="413"/>
                    <a:pt x="275" y="460"/>
                    <a:pt x="282" y="508"/>
                  </a:cubicBezTo>
                  <a:cubicBezTo>
                    <a:pt x="284" y="521"/>
                    <a:pt x="300" y="516"/>
                    <a:pt x="301" y="505"/>
                  </a:cubicBezTo>
                  <a:cubicBezTo>
                    <a:pt x="306" y="462"/>
                    <a:pt x="308" y="419"/>
                    <a:pt x="309" y="376"/>
                  </a:cubicBezTo>
                  <a:cubicBezTo>
                    <a:pt x="309" y="333"/>
                    <a:pt x="303" y="287"/>
                    <a:pt x="313" y="245"/>
                  </a:cubicBezTo>
                  <a:cubicBezTo>
                    <a:pt x="321" y="211"/>
                    <a:pt x="331" y="178"/>
                    <a:pt x="336" y="143"/>
                  </a:cubicBezTo>
                  <a:cubicBezTo>
                    <a:pt x="339" y="127"/>
                    <a:pt x="341" y="111"/>
                    <a:pt x="345" y="96"/>
                  </a:cubicBezTo>
                  <a:cubicBezTo>
                    <a:pt x="346" y="94"/>
                    <a:pt x="346" y="93"/>
                    <a:pt x="347" y="92"/>
                  </a:cubicBezTo>
                  <a:cubicBezTo>
                    <a:pt x="349" y="102"/>
                    <a:pt x="353" y="111"/>
                    <a:pt x="356" y="119"/>
                  </a:cubicBezTo>
                  <a:cubicBezTo>
                    <a:pt x="362" y="136"/>
                    <a:pt x="377" y="155"/>
                    <a:pt x="377" y="173"/>
                  </a:cubicBezTo>
                  <a:cubicBezTo>
                    <a:pt x="376" y="190"/>
                    <a:pt x="368" y="202"/>
                    <a:pt x="376" y="219"/>
                  </a:cubicBezTo>
                  <a:cubicBezTo>
                    <a:pt x="390" y="248"/>
                    <a:pt x="426" y="242"/>
                    <a:pt x="447" y="260"/>
                  </a:cubicBezTo>
                  <a:cubicBezTo>
                    <a:pt x="462" y="274"/>
                    <a:pt x="460" y="299"/>
                    <a:pt x="461" y="319"/>
                  </a:cubicBezTo>
                  <a:cubicBezTo>
                    <a:pt x="461" y="323"/>
                    <a:pt x="462" y="327"/>
                    <a:pt x="462" y="331"/>
                  </a:cubicBezTo>
                  <a:cubicBezTo>
                    <a:pt x="458" y="357"/>
                    <a:pt x="457" y="384"/>
                    <a:pt x="456" y="410"/>
                  </a:cubicBezTo>
                  <a:cubicBezTo>
                    <a:pt x="454" y="442"/>
                    <a:pt x="450" y="477"/>
                    <a:pt x="459" y="509"/>
                  </a:cubicBezTo>
                  <a:cubicBezTo>
                    <a:pt x="462" y="518"/>
                    <a:pt x="476" y="522"/>
                    <a:pt x="480" y="512"/>
                  </a:cubicBezTo>
                  <a:cubicBezTo>
                    <a:pt x="493" y="482"/>
                    <a:pt x="495" y="447"/>
                    <a:pt x="498" y="415"/>
                  </a:cubicBezTo>
                  <a:cubicBezTo>
                    <a:pt x="502" y="380"/>
                    <a:pt x="506" y="344"/>
                    <a:pt x="502" y="309"/>
                  </a:cubicBezTo>
                  <a:cubicBezTo>
                    <a:pt x="501" y="304"/>
                    <a:pt x="499" y="300"/>
                    <a:pt x="497" y="298"/>
                  </a:cubicBezTo>
                  <a:cubicBezTo>
                    <a:pt x="496" y="287"/>
                    <a:pt x="494" y="276"/>
                    <a:pt x="492" y="266"/>
                  </a:cubicBezTo>
                  <a:cubicBezTo>
                    <a:pt x="486" y="235"/>
                    <a:pt x="464" y="217"/>
                    <a:pt x="439" y="204"/>
                  </a:cubicBezTo>
                  <a:cubicBezTo>
                    <a:pt x="436" y="203"/>
                    <a:pt x="424" y="199"/>
                    <a:pt x="420" y="196"/>
                  </a:cubicBezTo>
                  <a:cubicBezTo>
                    <a:pt x="424" y="197"/>
                    <a:pt x="425" y="180"/>
                    <a:pt x="425" y="180"/>
                  </a:cubicBezTo>
                  <a:cubicBezTo>
                    <a:pt x="428" y="163"/>
                    <a:pt x="425" y="147"/>
                    <a:pt x="419" y="131"/>
                  </a:cubicBezTo>
                  <a:cubicBezTo>
                    <a:pt x="414" y="116"/>
                    <a:pt x="407" y="101"/>
                    <a:pt x="402" y="86"/>
                  </a:cubicBezTo>
                  <a:cubicBezTo>
                    <a:pt x="409" y="90"/>
                    <a:pt x="416" y="95"/>
                    <a:pt x="421" y="101"/>
                  </a:cubicBezTo>
                  <a:cubicBezTo>
                    <a:pt x="429" y="110"/>
                    <a:pt x="433" y="122"/>
                    <a:pt x="441" y="130"/>
                  </a:cubicBezTo>
                  <a:cubicBezTo>
                    <a:pt x="460" y="149"/>
                    <a:pt x="492" y="145"/>
                    <a:pt x="516" y="144"/>
                  </a:cubicBezTo>
                  <a:cubicBezTo>
                    <a:pt x="528" y="144"/>
                    <a:pt x="543" y="144"/>
                    <a:pt x="554" y="151"/>
                  </a:cubicBezTo>
                  <a:cubicBezTo>
                    <a:pt x="569" y="160"/>
                    <a:pt x="567" y="182"/>
                    <a:pt x="569" y="198"/>
                  </a:cubicBezTo>
                  <a:cubicBezTo>
                    <a:pt x="569" y="201"/>
                    <a:pt x="570" y="203"/>
                    <a:pt x="570" y="206"/>
                  </a:cubicBezTo>
                  <a:cubicBezTo>
                    <a:pt x="568" y="209"/>
                    <a:pt x="568" y="212"/>
                    <a:pt x="568" y="216"/>
                  </a:cubicBezTo>
                  <a:cubicBezTo>
                    <a:pt x="569" y="238"/>
                    <a:pt x="577" y="258"/>
                    <a:pt x="582" y="279"/>
                  </a:cubicBezTo>
                  <a:cubicBezTo>
                    <a:pt x="589" y="303"/>
                    <a:pt x="592" y="327"/>
                    <a:pt x="595" y="351"/>
                  </a:cubicBezTo>
                  <a:cubicBezTo>
                    <a:pt x="599" y="389"/>
                    <a:pt x="597" y="441"/>
                    <a:pt x="619" y="472"/>
                  </a:cubicBezTo>
                  <a:cubicBezTo>
                    <a:pt x="626" y="483"/>
                    <a:pt x="639" y="479"/>
                    <a:pt x="640" y="466"/>
                  </a:cubicBezTo>
                  <a:cubicBezTo>
                    <a:pt x="643" y="444"/>
                    <a:pt x="638" y="421"/>
                    <a:pt x="637" y="399"/>
                  </a:cubicBezTo>
                  <a:cubicBezTo>
                    <a:pt x="636" y="376"/>
                    <a:pt x="636" y="353"/>
                    <a:pt x="634" y="330"/>
                  </a:cubicBezTo>
                  <a:cubicBezTo>
                    <a:pt x="631" y="298"/>
                    <a:pt x="626" y="259"/>
                    <a:pt x="613" y="227"/>
                  </a:cubicBezTo>
                  <a:cubicBezTo>
                    <a:pt x="612" y="206"/>
                    <a:pt x="611" y="185"/>
                    <a:pt x="609" y="165"/>
                  </a:cubicBezTo>
                  <a:cubicBezTo>
                    <a:pt x="607" y="139"/>
                    <a:pt x="596" y="119"/>
                    <a:pt x="578" y="106"/>
                  </a:cubicBezTo>
                  <a:cubicBezTo>
                    <a:pt x="583" y="106"/>
                    <a:pt x="587" y="107"/>
                    <a:pt x="592" y="107"/>
                  </a:cubicBezTo>
                  <a:cubicBezTo>
                    <a:pt x="617" y="109"/>
                    <a:pt x="641" y="115"/>
                    <a:pt x="652" y="142"/>
                  </a:cubicBezTo>
                  <a:cubicBezTo>
                    <a:pt x="661" y="164"/>
                    <a:pt x="664" y="188"/>
                    <a:pt x="673" y="210"/>
                  </a:cubicBezTo>
                  <a:cubicBezTo>
                    <a:pt x="681" y="228"/>
                    <a:pt x="692" y="244"/>
                    <a:pt x="708" y="254"/>
                  </a:cubicBezTo>
                  <a:cubicBezTo>
                    <a:pt x="718" y="260"/>
                    <a:pt x="728" y="262"/>
                    <a:pt x="738" y="263"/>
                  </a:cubicBezTo>
                  <a:cubicBezTo>
                    <a:pt x="744" y="264"/>
                    <a:pt x="751" y="263"/>
                    <a:pt x="756" y="265"/>
                  </a:cubicBezTo>
                  <a:cubicBezTo>
                    <a:pt x="765" y="268"/>
                    <a:pt x="763" y="265"/>
                    <a:pt x="764" y="275"/>
                  </a:cubicBezTo>
                  <a:cubicBezTo>
                    <a:pt x="766" y="289"/>
                    <a:pt x="761" y="310"/>
                    <a:pt x="760" y="324"/>
                  </a:cubicBezTo>
                  <a:cubicBezTo>
                    <a:pt x="759" y="339"/>
                    <a:pt x="758" y="354"/>
                    <a:pt x="758" y="369"/>
                  </a:cubicBezTo>
                  <a:cubicBezTo>
                    <a:pt x="759" y="404"/>
                    <a:pt x="760" y="439"/>
                    <a:pt x="762" y="474"/>
                  </a:cubicBezTo>
                  <a:cubicBezTo>
                    <a:pt x="763" y="486"/>
                    <a:pt x="780" y="490"/>
                    <a:pt x="781" y="477"/>
                  </a:cubicBezTo>
                  <a:cubicBezTo>
                    <a:pt x="786" y="441"/>
                    <a:pt x="792" y="405"/>
                    <a:pt x="798" y="369"/>
                  </a:cubicBezTo>
                  <a:cubicBezTo>
                    <a:pt x="803" y="336"/>
                    <a:pt x="812" y="300"/>
                    <a:pt x="812" y="267"/>
                  </a:cubicBezTo>
                  <a:cubicBezTo>
                    <a:pt x="813" y="242"/>
                    <a:pt x="798" y="224"/>
                    <a:pt x="777" y="217"/>
                  </a:cubicBezTo>
                  <a:cubicBezTo>
                    <a:pt x="764" y="213"/>
                    <a:pt x="751" y="216"/>
                    <a:pt x="737" y="214"/>
                  </a:cubicBezTo>
                  <a:cubicBezTo>
                    <a:pt x="721" y="212"/>
                    <a:pt x="715" y="201"/>
                    <a:pt x="709" y="185"/>
                  </a:cubicBezTo>
                  <a:cubicBezTo>
                    <a:pt x="701" y="161"/>
                    <a:pt x="700" y="135"/>
                    <a:pt x="689" y="113"/>
                  </a:cubicBezTo>
                  <a:cubicBezTo>
                    <a:pt x="686" y="108"/>
                    <a:pt x="684" y="104"/>
                    <a:pt x="681" y="100"/>
                  </a:cubicBezTo>
                  <a:cubicBezTo>
                    <a:pt x="682" y="100"/>
                    <a:pt x="682" y="101"/>
                    <a:pt x="683" y="101"/>
                  </a:cubicBezTo>
                  <a:cubicBezTo>
                    <a:pt x="698" y="107"/>
                    <a:pt x="712" y="115"/>
                    <a:pt x="727" y="119"/>
                  </a:cubicBezTo>
                  <a:cubicBezTo>
                    <a:pt x="741" y="123"/>
                    <a:pt x="756" y="124"/>
                    <a:pt x="770" y="121"/>
                  </a:cubicBezTo>
                  <a:cubicBezTo>
                    <a:pt x="779" y="119"/>
                    <a:pt x="785" y="114"/>
                    <a:pt x="794" y="118"/>
                  </a:cubicBezTo>
                  <a:cubicBezTo>
                    <a:pt x="797" y="119"/>
                    <a:pt x="804" y="126"/>
                    <a:pt x="806" y="129"/>
                  </a:cubicBezTo>
                  <a:cubicBezTo>
                    <a:pt x="813" y="134"/>
                    <a:pt x="820" y="126"/>
                    <a:pt x="821" y="120"/>
                  </a:cubicBezTo>
                  <a:cubicBezTo>
                    <a:pt x="822" y="106"/>
                    <a:pt x="818" y="91"/>
                    <a:pt x="808" y="82"/>
                  </a:cubicBezTo>
                  <a:close/>
                </a:path>
              </a:pathLst>
            </a:custGeom>
            <a:solidFill>
              <a:schemeClr val="accent3">
                <a:lumMod val="5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8" name="Freeform 265">
              <a:extLst>
                <a:ext uri="{FF2B5EF4-FFF2-40B4-BE49-F238E27FC236}">
                  <a16:creationId xmlns:a16="http://schemas.microsoft.com/office/drawing/2014/main" id="{2C0A3F86-3011-4A98-8BE2-E71AD431328D}"/>
                </a:ext>
              </a:extLst>
            </p:cNvPr>
            <p:cNvSpPr>
              <a:spLocks/>
            </p:cNvSpPr>
            <p:nvPr/>
          </p:nvSpPr>
          <p:spPr bwMode="auto">
            <a:xfrm>
              <a:off x="5002213" y="1642630"/>
              <a:ext cx="2351088" cy="4068762"/>
            </a:xfrm>
            <a:custGeom>
              <a:avLst/>
              <a:gdLst>
                <a:gd name="T0" fmla="*/ 1114 w 1134"/>
                <a:gd name="T1" fmla="*/ 1157 h 1968"/>
                <a:gd name="T2" fmla="*/ 918 w 1134"/>
                <a:gd name="T3" fmla="*/ 1254 h 1968"/>
                <a:gd name="T4" fmla="*/ 739 w 1134"/>
                <a:gd name="T5" fmla="*/ 1351 h 1968"/>
                <a:gd name="T6" fmla="*/ 613 w 1134"/>
                <a:gd name="T7" fmla="*/ 1474 h 1968"/>
                <a:gd name="T8" fmla="*/ 613 w 1134"/>
                <a:gd name="T9" fmla="*/ 1185 h 1968"/>
                <a:gd name="T10" fmla="*/ 610 w 1134"/>
                <a:gd name="T11" fmla="*/ 805 h 1968"/>
                <a:gd name="T12" fmla="*/ 652 w 1134"/>
                <a:gd name="T13" fmla="*/ 745 h 1968"/>
                <a:gd name="T14" fmla="*/ 728 w 1134"/>
                <a:gd name="T15" fmla="*/ 672 h 1968"/>
                <a:gd name="T16" fmla="*/ 908 w 1134"/>
                <a:gd name="T17" fmla="*/ 557 h 1968"/>
                <a:gd name="T18" fmla="*/ 900 w 1134"/>
                <a:gd name="T19" fmla="*/ 538 h 1968"/>
                <a:gd name="T20" fmla="*/ 698 w 1134"/>
                <a:gd name="T21" fmla="*/ 644 h 1968"/>
                <a:gd name="T22" fmla="*/ 622 w 1134"/>
                <a:gd name="T23" fmla="*/ 713 h 1968"/>
                <a:gd name="T24" fmla="*/ 609 w 1134"/>
                <a:gd name="T25" fmla="*/ 728 h 1968"/>
                <a:gd name="T26" fmla="*/ 607 w 1134"/>
                <a:gd name="T27" fmla="*/ 445 h 1968"/>
                <a:gd name="T28" fmla="*/ 605 w 1134"/>
                <a:gd name="T29" fmla="*/ 19 h 1968"/>
                <a:gd name="T30" fmla="*/ 579 w 1134"/>
                <a:gd name="T31" fmla="*/ 19 h 1968"/>
                <a:gd name="T32" fmla="*/ 566 w 1134"/>
                <a:gd name="T33" fmla="*/ 394 h 1968"/>
                <a:gd name="T34" fmla="*/ 563 w 1134"/>
                <a:gd name="T35" fmla="*/ 483 h 1968"/>
                <a:gd name="T36" fmla="*/ 507 w 1134"/>
                <a:gd name="T37" fmla="*/ 432 h 1968"/>
                <a:gd name="T38" fmla="*/ 370 w 1134"/>
                <a:gd name="T39" fmla="*/ 362 h 1968"/>
                <a:gd name="T40" fmla="*/ 363 w 1134"/>
                <a:gd name="T41" fmla="*/ 381 h 1968"/>
                <a:gd name="T42" fmla="*/ 481 w 1134"/>
                <a:gd name="T43" fmla="*/ 458 h 1968"/>
                <a:gd name="T44" fmla="*/ 525 w 1134"/>
                <a:gd name="T45" fmla="*/ 503 h 1968"/>
                <a:gd name="T46" fmla="*/ 561 w 1134"/>
                <a:gd name="T47" fmla="*/ 556 h 1968"/>
                <a:gd name="T48" fmla="*/ 561 w 1134"/>
                <a:gd name="T49" fmla="*/ 556 h 1968"/>
                <a:gd name="T50" fmla="*/ 554 w 1134"/>
                <a:gd name="T51" fmla="*/ 770 h 1968"/>
                <a:gd name="T52" fmla="*/ 542 w 1134"/>
                <a:gd name="T53" fmla="*/ 1307 h 1968"/>
                <a:gd name="T54" fmla="*/ 484 w 1134"/>
                <a:gd name="T55" fmla="*/ 1246 h 1968"/>
                <a:gd name="T56" fmla="*/ 344 w 1134"/>
                <a:gd name="T57" fmla="*/ 1125 h 1968"/>
                <a:gd name="T58" fmla="*/ 20 w 1134"/>
                <a:gd name="T59" fmla="*/ 937 h 1968"/>
                <a:gd name="T60" fmla="*/ 11 w 1134"/>
                <a:gd name="T61" fmla="*/ 955 h 1968"/>
                <a:gd name="T62" fmla="*/ 315 w 1134"/>
                <a:gd name="T63" fmla="*/ 1159 h 1968"/>
                <a:gd name="T64" fmla="*/ 444 w 1134"/>
                <a:gd name="T65" fmla="*/ 1283 h 1968"/>
                <a:gd name="T66" fmla="*/ 501 w 1134"/>
                <a:gd name="T67" fmla="*/ 1355 h 1968"/>
                <a:gd name="T68" fmla="*/ 541 w 1134"/>
                <a:gd name="T69" fmla="*/ 1415 h 1968"/>
                <a:gd name="T70" fmla="*/ 540 w 1134"/>
                <a:gd name="T71" fmla="*/ 1510 h 1968"/>
                <a:gd name="T72" fmla="*/ 539 w 1134"/>
                <a:gd name="T73" fmla="*/ 1723 h 1968"/>
                <a:gd name="T74" fmla="*/ 544 w 1134"/>
                <a:gd name="T75" fmla="*/ 1934 h 1968"/>
                <a:gd name="T76" fmla="*/ 607 w 1134"/>
                <a:gd name="T77" fmla="*/ 1934 h 1968"/>
                <a:gd name="T78" fmla="*/ 612 w 1134"/>
                <a:gd name="T79" fmla="*/ 1745 h 1968"/>
                <a:gd name="T80" fmla="*/ 613 w 1134"/>
                <a:gd name="T81" fmla="*/ 1584 h 1968"/>
                <a:gd name="T82" fmla="*/ 652 w 1134"/>
                <a:gd name="T83" fmla="*/ 1507 h 1968"/>
                <a:gd name="T84" fmla="*/ 792 w 1134"/>
                <a:gd name="T85" fmla="*/ 1373 h 1968"/>
                <a:gd name="T86" fmla="*/ 956 w 1134"/>
                <a:gd name="T87" fmla="*/ 1274 h 1968"/>
                <a:gd name="T88" fmla="*/ 1125 w 1134"/>
                <a:gd name="T89" fmla="*/ 1173 h 1968"/>
                <a:gd name="T90" fmla="*/ 1114 w 1134"/>
                <a:gd name="T91" fmla="*/ 1157 h 19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134" h="1968">
                  <a:moveTo>
                    <a:pt x="1114" y="1157"/>
                  </a:moveTo>
                  <a:cubicBezTo>
                    <a:pt x="1048" y="1187"/>
                    <a:pt x="985" y="1225"/>
                    <a:pt x="918" y="1254"/>
                  </a:cubicBezTo>
                  <a:cubicBezTo>
                    <a:pt x="856" y="1282"/>
                    <a:pt x="795" y="1311"/>
                    <a:pt x="739" y="1351"/>
                  </a:cubicBezTo>
                  <a:cubicBezTo>
                    <a:pt x="694" y="1383"/>
                    <a:pt x="649" y="1425"/>
                    <a:pt x="613" y="1474"/>
                  </a:cubicBezTo>
                  <a:cubicBezTo>
                    <a:pt x="613" y="1377"/>
                    <a:pt x="613" y="1281"/>
                    <a:pt x="613" y="1185"/>
                  </a:cubicBezTo>
                  <a:cubicBezTo>
                    <a:pt x="614" y="1058"/>
                    <a:pt x="612" y="932"/>
                    <a:pt x="610" y="805"/>
                  </a:cubicBezTo>
                  <a:cubicBezTo>
                    <a:pt x="624" y="785"/>
                    <a:pt x="636" y="763"/>
                    <a:pt x="652" y="745"/>
                  </a:cubicBezTo>
                  <a:cubicBezTo>
                    <a:pt x="675" y="718"/>
                    <a:pt x="701" y="693"/>
                    <a:pt x="728" y="672"/>
                  </a:cubicBezTo>
                  <a:cubicBezTo>
                    <a:pt x="785" y="628"/>
                    <a:pt x="850" y="599"/>
                    <a:pt x="908" y="557"/>
                  </a:cubicBezTo>
                  <a:cubicBezTo>
                    <a:pt x="917" y="551"/>
                    <a:pt x="911" y="535"/>
                    <a:pt x="900" y="538"/>
                  </a:cubicBezTo>
                  <a:cubicBezTo>
                    <a:pt x="829" y="557"/>
                    <a:pt x="759" y="598"/>
                    <a:pt x="698" y="644"/>
                  </a:cubicBezTo>
                  <a:cubicBezTo>
                    <a:pt x="671" y="665"/>
                    <a:pt x="646" y="688"/>
                    <a:pt x="622" y="713"/>
                  </a:cubicBezTo>
                  <a:cubicBezTo>
                    <a:pt x="618" y="718"/>
                    <a:pt x="613" y="723"/>
                    <a:pt x="609" y="728"/>
                  </a:cubicBezTo>
                  <a:cubicBezTo>
                    <a:pt x="608" y="634"/>
                    <a:pt x="607" y="539"/>
                    <a:pt x="607" y="445"/>
                  </a:cubicBezTo>
                  <a:cubicBezTo>
                    <a:pt x="607" y="303"/>
                    <a:pt x="610" y="160"/>
                    <a:pt x="605" y="19"/>
                  </a:cubicBezTo>
                  <a:cubicBezTo>
                    <a:pt x="605" y="0"/>
                    <a:pt x="580" y="0"/>
                    <a:pt x="579" y="19"/>
                  </a:cubicBezTo>
                  <a:cubicBezTo>
                    <a:pt x="570" y="144"/>
                    <a:pt x="569" y="269"/>
                    <a:pt x="566" y="394"/>
                  </a:cubicBezTo>
                  <a:cubicBezTo>
                    <a:pt x="565" y="424"/>
                    <a:pt x="564" y="454"/>
                    <a:pt x="563" y="483"/>
                  </a:cubicBezTo>
                  <a:cubicBezTo>
                    <a:pt x="547" y="463"/>
                    <a:pt x="525" y="446"/>
                    <a:pt x="507" y="432"/>
                  </a:cubicBezTo>
                  <a:cubicBezTo>
                    <a:pt x="465" y="401"/>
                    <a:pt x="418" y="380"/>
                    <a:pt x="370" y="362"/>
                  </a:cubicBezTo>
                  <a:cubicBezTo>
                    <a:pt x="360" y="358"/>
                    <a:pt x="354" y="375"/>
                    <a:pt x="363" y="381"/>
                  </a:cubicBezTo>
                  <a:cubicBezTo>
                    <a:pt x="403" y="405"/>
                    <a:pt x="445" y="427"/>
                    <a:pt x="481" y="458"/>
                  </a:cubicBezTo>
                  <a:cubicBezTo>
                    <a:pt x="497" y="471"/>
                    <a:pt x="512" y="486"/>
                    <a:pt x="525" y="503"/>
                  </a:cubicBezTo>
                  <a:cubicBezTo>
                    <a:pt x="538" y="520"/>
                    <a:pt x="547" y="540"/>
                    <a:pt x="561" y="556"/>
                  </a:cubicBezTo>
                  <a:cubicBezTo>
                    <a:pt x="561" y="556"/>
                    <a:pt x="561" y="556"/>
                    <a:pt x="561" y="556"/>
                  </a:cubicBezTo>
                  <a:cubicBezTo>
                    <a:pt x="559" y="628"/>
                    <a:pt x="556" y="699"/>
                    <a:pt x="554" y="770"/>
                  </a:cubicBezTo>
                  <a:cubicBezTo>
                    <a:pt x="548" y="949"/>
                    <a:pt x="545" y="1128"/>
                    <a:pt x="542" y="1307"/>
                  </a:cubicBezTo>
                  <a:cubicBezTo>
                    <a:pt x="523" y="1285"/>
                    <a:pt x="502" y="1265"/>
                    <a:pt x="484" y="1246"/>
                  </a:cubicBezTo>
                  <a:cubicBezTo>
                    <a:pt x="441" y="1201"/>
                    <a:pt x="394" y="1160"/>
                    <a:pt x="344" y="1125"/>
                  </a:cubicBezTo>
                  <a:cubicBezTo>
                    <a:pt x="241" y="1052"/>
                    <a:pt x="132" y="992"/>
                    <a:pt x="20" y="937"/>
                  </a:cubicBezTo>
                  <a:cubicBezTo>
                    <a:pt x="9" y="931"/>
                    <a:pt x="0" y="948"/>
                    <a:pt x="11" y="955"/>
                  </a:cubicBezTo>
                  <a:cubicBezTo>
                    <a:pt x="115" y="1016"/>
                    <a:pt x="221" y="1079"/>
                    <a:pt x="315" y="1159"/>
                  </a:cubicBezTo>
                  <a:cubicBezTo>
                    <a:pt x="360" y="1198"/>
                    <a:pt x="404" y="1238"/>
                    <a:pt x="444" y="1283"/>
                  </a:cubicBezTo>
                  <a:cubicBezTo>
                    <a:pt x="465" y="1306"/>
                    <a:pt x="484" y="1329"/>
                    <a:pt x="501" y="1355"/>
                  </a:cubicBezTo>
                  <a:cubicBezTo>
                    <a:pt x="514" y="1375"/>
                    <a:pt x="527" y="1396"/>
                    <a:pt x="541" y="1415"/>
                  </a:cubicBezTo>
                  <a:cubicBezTo>
                    <a:pt x="540" y="1447"/>
                    <a:pt x="540" y="1478"/>
                    <a:pt x="540" y="1510"/>
                  </a:cubicBezTo>
                  <a:cubicBezTo>
                    <a:pt x="539" y="1581"/>
                    <a:pt x="539" y="1652"/>
                    <a:pt x="539" y="1723"/>
                  </a:cubicBezTo>
                  <a:cubicBezTo>
                    <a:pt x="538" y="1793"/>
                    <a:pt x="534" y="1865"/>
                    <a:pt x="544" y="1934"/>
                  </a:cubicBezTo>
                  <a:cubicBezTo>
                    <a:pt x="548" y="1968"/>
                    <a:pt x="602" y="1968"/>
                    <a:pt x="607" y="1934"/>
                  </a:cubicBezTo>
                  <a:cubicBezTo>
                    <a:pt x="615" y="1872"/>
                    <a:pt x="612" y="1808"/>
                    <a:pt x="612" y="1745"/>
                  </a:cubicBezTo>
                  <a:cubicBezTo>
                    <a:pt x="612" y="1692"/>
                    <a:pt x="613" y="1638"/>
                    <a:pt x="613" y="1584"/>
                  </a:cubicBezTo>
                  <a:cubicBezTo>
                    <a:pt x="623" y="1557"/>
                    <a:pt x="636" y="1531"/>
                    <a:pt x="652" y="1507"/>
                  </a:cubicBezTo>
                  <a:cubicBezTo>
                    <a:pt x="689" y="1453"/>
                    <a:pt x="740" y="1409"/>
                    <a:pt x="792" y="1373"/>
                  </a:cubicBezTo>
                  <a:cubicBezTo>
                    <a:pt x="844" y="1336"/>
                    <a:pt x="900" y="1305"/>
                    <a:pt x="956" y="1274"/>
                  </a:cubicBezTo>
                  <a:cubicBezTo>
                    <a:pt x="1012" y="1243"/>
                    <a:pt x="1075" y="1217"/>
                    <a:pt x="1125" y="1173"/>
                  </a:cubicBezTo>
                  <a:cubicBezTo>
                    <a:pt x="1134" y="1165"/>
                    <a:pt x="1123" y="1152"/>
                    <a:pt x="1114" y="1157"/>
                  </a:cubicBezTo>
                  <a:close/>
                </a:path>
              </a:pathLst>
            </a:custGeom>
            <a:solidFill>
              <a:schemeClr val="accent3">
                <a:lumMod val="5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9" name="Freeform 266">
              <a:extLst>
                <a:ext uri="{FF2B5EF4-FFF2-40B4-BE49-F238E27FC236}">
                  <a16:creationId xmlns:a16="http://schemas.microsoft.com/office/drawing/2014/main" id="{265114F8-FB90-406B-9476-181D168F33B9}"/>
                </a:ext>
              </a:extLst>
            </p:cNvPr>
            <p:cNvSpPr>
              <a:spLocks/>
            </p:cNvSpPr>
            <p:nvPr/>
          </p:nvSpPr>
          <p:spPr bwMode="auto">
            <a:xfrm>
              <a:off x="5170488" y="5463743"/>
              <a:ext cx="2182813" cy="466725"/>
            </a:xfrm>
            <a:custGeom>
              <a:avLst/>
              <a:gdLst>
                <a:gd name="T0" fmla="*/ 1052 w 1053"/>
                <a:gd name="T1" fmla="*/ 192 h 226"/>
                <a:gd name="T2" fmla="*/ 956 w 1053"/>
                <a:gd name="T3" fmla="*/ 177 h 226"/>
                <a:gd name="T4" fmla="*/ 782 w 1053"/>
                <a:gd name="T5" fmla="*/ 149 h 226"/>
                <a:gd name="T6" fmla="*/ 762 w 1053"/>
                <a:gd name="T7" fmla="*/ 148 h 226"/>
                <a:gd name="T8" fmla="*/ 754 w 1053"/>
                <a:gd name="T9" fmla="*/ 145 h 226"/>
                <a:gd name="T10" fmla="*/ 742 w 1053"/>
                <a:gd name="T11" fmla="*/ 144 h 226"/>
                <a:gd name="T12" fmla="*/ 737 w 1053"/>
                <a:gd name="T13" fmla="*/ 143 h 226"/>
                <a:gd name="T14" fmla="*/ 649 w 1053"/>
                <a:gd name="T15" fmla="*/ 140 h 226"/>
                <a:gd name="T16" fmla="*/ 628 w 1053"/>
                <a:gd name="T17" fmla="*/ 139 h 226"/>
                <a:gd name="T18" fmla="*/ 628 w 1053"/>
                <a:gd name="T19" fmla="*/ 134 h 226"/>
                <a:gd name="T20" fmla="*/ 620 w 1053"/>
                <a:gd name="T21" fmla="*/ 100 h 226"/>
                <a:gd name="T22" fmla="*/ 601 w 1053"/>
                <a:gd name="T23" fmla="*/ 86 h 226"/>
                <a:gd name="T24" fmla="*/ 591 w 1053"/>
                <a:gd name="T25" fmla="*/ 90 h 226"/>
                <a:gd name="T26" fmla="*/ 586 w 1053"/>
                <a:gd name="T27" fmla="*/ 94 h 226"/>
                <a:gd name="T28" fmla="*/ 585 w 1053"/>
                <a:gd name="T29" fmla="*/ 89 h 226"/>
                <a:gd name="T30" fmla="*/ 564 w 1053"/>
                <a:gd name="T31" fmla="*/ 38 h 226"/>
                <a:gd name="T32" fmla="*/ 543 w 1053"/>
                <a:gd name="T33" fmla="*/ 30 h 226"/>
                <a:gd name="T34" fmla="*/ 519 w 1053"/>
                <a:gd name="T35" fmla="*/ 2 h 226"/>
                <a:gd name="T36" fmla="*/ 511 w 1053"/>
                <a:gd name="T37" fmla="*/ 0 h 226"/>
                <a:gd name="T38" fmla="*/ 490 w 1053"/>
                <a:gd name="T39" fmla="*/ 9 h 226"/>
                <a:gd name="T40" fmla="*/ 481 w 1053"/>
                <a:gd name="T41" fmla="*/ 20 h 226"/>
                <a:gd name="T42" fmla="*/ 479 w 1053"/>
                <a:gd name="T43" fmla="*/ 19 h 226"/>
                <a:gd name="T44" fmla="*/ 470 w 1053"/>
                <a:gd name="T45" fmla="*/ 17 h 226"/>
                <a:gd name="T46" fmla="*/ 451 w 1053"/>
                <a:gd name="T47" fmla="*/ 26 h 226"/>
                <a:gd name="T48" fmla="*/ 450 w 1053"/>
                <a:gd name="T49" fmla="*/ 27 h 226"/>
                <a:gd name="T50" fmla="*/ 446 w 1053"/>
                <a:gd name="T51" fmla="*/ 33 h 226"/>
                <a:gd name="T52" fmla="*/ 442 w 1053"/>
                <a:gd name="T53" fmla="*/ 38 h 226"/>
                <a:gd name="T54" fmla="*/ 441 w 1053"/>
                <a:gd name="T55" fmla="*/ 40 h 226"/>
                <a:gd name="T56" fmla="*/ 434 w 1053"/>
                <a:gd name="T57" fmla="*/ 55 h 226"/>
                <a:gd name="T58" fmla="*/ 432 w 1053"/>
                <a:gd name="T59" fmla="*/ 62 h 226"/>
                <a:gd name="T60" fmla="*/ 427 w 1053"/>
                <a:gd name="T61" fmla="*/ 55 h 226"/>
                <a:gd name="T62" fmla="*/ 403 w 1053"/>
                <a:gd name="T63" fmla="*/ 51 h 226"/>
                <a:gd name="T64" fmla="*/ 374 w 1053"/>
                <a:gd name="T65" fmla="*/ 107 h 226"/>
                <a:gd name="T66" fmla="*/ 375 w 1053"/>
                <a:gd name="T67" fmla="*/ 134 h 226"/>
                <a:gd name="T68" fmla="*/ 159 w 1053"/>
                <a:gd name="T69" fmla="*/ 139 h 226"/>
                <a:gd name="T70" fmla="*/ 117 w 1053"/>
                <a:gd name="T71" fmla="*/ 140 h 226"/>
                <a:gd name="T72" fmla="*/ 114 w 1053"/>
                <a:gd name="T73" fmla="*/ 142 h 226"/>
                <a:gd name="T74" fmla="*/ 9 w 1053"/>
                <a:gd name="T75" fmla="*/ 169 h 226"/>
                <a:gd name="T76" fmla="*/ 0 w 1053"/>
                <a:gd name="T77" fmla="*/ 173 h 226"/>
                <a:gd name="T78" fmla="*/ 3 w 1053"/>
                <a:gd name="T79" fmla="*/ 181 h 226"/>
                <a:gd name="T80" fmla="*/ 6 w 1053"/>
                <a:gd name="T81" fmla="*/ 197 h 226"/>
                <a:gd name="T82" fmla="*/ 64 w 1053"/>
                <a:gd name="T83" fmla="*/ 203 h 226"/>
                <a:gd name="T84" fmla="*/ 128 w 1053"/>
                <a:gd name="T85" fmla="*/ 208 h 226"/>
                <a:gd name="T86" fmla="*/ 373 w 1053"/>
                <a:gd name="T87" fmla="*/ 222 h 226"/>
                <a:gd name="T88" fmla="*/ 829 w 1053"/>
                <a:gd name="T89" fmla="*/ 222 h 226"/>
                <a:gd name="T90" fmla="*/ 987 w 1053"/>
                <a:gd name="T91" fmla="*/ 214 h 226"/>
                <a:gd name="T92" fmla="*/ 1023 w 1053"/>
                <a:gd name="T93" fmla="*/ 212 h 226"/>
                <a:gd name="T94" fmla="*/ 1041 w 1053"/>
                <a:gd name="T95" fmla="*/ 208 h 226"/>
                <a:gd name="T96" fmla="*/ 1053 w 1053"/>
                <a:gd name="T97" fmla="*/ 197 h 226"/>
                <a:gd name="T98" fmla="*/ 1052 w 1053"/>
                <a:gd name="T99" fmla="*/ 192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053" h="226">
                  <a:moveTo>
                    <a:pt x="1052" y="192"/>
                  </a:moveTo>
                  <a:cubicBezTo>
                    <a:pt x="1020" y="187"/>
                    <a:pt x="988" y="182"/>
                    <a:pt x="956" y="177"/>
                  </a:cubicBezTo>
                  <a:cubicBezTo>
                    <a:pt x="898" y="168"/>
                    <a:pt x="840" y="158"/>
                    <a:pt x="782" y="149"/>
                  </a:cubicBezTo>
                  <a:cubicBezTo>
                    <a:pt x="776" y="149"/>
                    <a:pt x="769" y="149"/>
                    <a:pt x="762" y="148"/>
                  </a:cubicBezTo>
                  <a:cubicBezTo>
                    <a:pt x="758" y="148"/>
                    <a:pt x="756" y="147"/>
                    <a:pt x="754" y="145"/>
                  </a:cubicBezTo>
                  <a:cubicBezTo>
                    <a:pt x="750" y="145"/>
                    <a:pt x="746" y="145"/>
                    <a:pt x="742" y="144"/>
                  </a:cubicBezTo>
                  <a:cubicBezTo>
                    <a:pt x="740" y="144"/>
                    <a:pt x="738" y="144"/>
                    <a:pt x="737" y="143"/>
                  </a:cubicBezTo>
                  <a:cubicBezTo>
                    <a:pt x="708" y="142"/>
                    <a:pt x="679" y="141"/>
                    <a:pt x="649" y="140"/>
                  </a:cubicBezTo>
                  <a:cubicBezTo>
                    <a:pt x="642" y="139"/>
                    <a:pt x="635" y="139"/>
                    <a:pt x="628" y="139"/>
                  </a:cubicBezTo>
                  <a:cubicBezTo>
                    <a:pt x="628" y="137"/>
                    <a:pt x="628" y="136"/>
                    <a:pt x="628" y="134"/>
                  </a:cubicBezTo>
                  <a:cubicBezTo>
                    <a:pt x="628" y="121"/>
                    <a:pt x="625" y="108"/>
                    <a:pt x="620" y="100"/>
                  </a:cubicBezTo>
                  <a:cubicBezTo>
                    <a:pt x="615" y="91"/>
                    <a:pt x="608" y="86"/>
                    <a:pt x="601" y="86"/>
                  </a:cubicBezTo>
                  <a:cubicBezTo>
                    <a:pt x="597" y="85"/>
                    <a:pt x="594" y="87"/>
                    <a:pt x="591" y="90"/>
                  </a:cubicBezTo>
                  <a:cubicBezTo>
                    <a:pt x="589" y="91"/>
                    <a:pt x="587" y="92"/>
                    <a:pt x="586" y="94"/>
                  </a:cubicBezTo>
                  <a:cubicBezTo>
                    <a:pt x="585" y="92"/>
                    <a:pt x="585" y="91"/>
                    <a:pt x="585" y="89"/>
                  </a:cubicBezTo>
                  <a:cubicBezTo>
                    <a:pt x="582" y="68"/>
                    <a:pt x="575" y="48"/>
                    <a:pt x="564" y="38"/>
                  </a:cubicBezTo>
                  <a:cubicBezTo>
                    <a:pt x="558" y="31"/>
                    <a:pt x="550" y="28"/>
                    <a:pt x="543" y="30"/>
                  </a:cubicBezTo>
                  <a:cubicBezTo>
                    <a:pt x="538" y="14"/>
                    <a:pt x="529" y="4"/>
                    <a:pt x="519" y="2"/>
                  </a:cubicBezTo>
                  <a:cubicBezTo>
                    <a:pt x="516" y="1"/>
                    <a:pt x="514" y="1"/>
                    <a:pt x="511" y="0"/>
                  </a:cubicBezTo>
                  <a:cubicBezTo>
                    <a:pt x="504" y="0"/>
                    <a:pt x="496" y="3"/>
                    <a:pt x="490" y="9"/>
                  </a:cubicBezTo>
                  <a:cubicBezTo>
                    <a:pt x="486" y="12"/>
                    <a:pt x="484" y="16"/>
                    <a:pt x="481" y="20"/>
                  </a:cubicBezTo>
                  <a:cubicBezTo>
                    <a:pt x="481" y="20"/>
                    <a:pt x="480" y="19"/>
                    <a:pt x="479" y="19"/>
                  </a:cubicBezTo>
                  <a:cubicBezTo>
                    <a:pt x="476" y="18"/>
                    <a:pt x="473" y="18"/>
                    <a:pt x="470" y="17"/>
                  </a:cubicBezTo>
                  <a:cubicBezTo>
                    <a:pt x="463" y="17"/>
                    <a:pt x="457" y="20"/>
                    <a:pt x="451" y="26"/>
                  </a:cubicBezTo>
                  <a:cubicBezTo>
                    <a:pt x="451" y="26"/>
                    <a:pt x="450" y="27"/>
                    <a:pt x="450" y="27"/>
                  </a:cubicBezTo>
                  <a:cubicBezTo>
                    <a:pt x="449" y="29"/>
                    <a:pt x="447" y="31"/>
                    <a:pt x="446" y="33"/>
                  </a:cubicBezTo>
                  <a:cubicBezTo>
                    <a:pt x="445" y="35"/>
                    <a:pt x="443" y="36"/>
                    <a:pt x="442" y="38"/>
                  </a:cubicBezTo>
                  <a:cubicBezTo>
                    <a:pt x="441" y="39"/>
                    <a:pt x="441" y="39"/>
                    <a:pt x="441" y="40"/>
                  </a:cubicBezTo>
                  <a:cubicBezTo>
                    <a:pt x="439" y="44"/>
                    <a:pt x="436" y="50"/>
                    <a:pt x="434" y="55"/>
                  </a:cubicBezTo>
                  <a:cubicBezTo>
                    <a:pt x="434" y="57"/>
                    <a:pt x="433" y="59"/>
                    <a:pt x="432" y="62"/>
                  </a:cubicBezTo>
                  <a:cubicBezTo>
                    <a:pt x="431" y="59"/>
                    <a:pt x="429" y="57"/>
                    <a:pt x="427" y="55"/>
                  </a:cubicBezTo>
                  <a:cubicBezTo>
                    <a:pt x="419" y="48"/>
                    <a:pt x="411" y="48"/>
                    <a:pt x="403" y="51"/>
                  </a:cubicBezTo>
                  <a:cubicBezTo>
                    <a:pt x="388" y="58"/>
                    <a:pt x="376" y="80"/>
                    <a:pt x="374" y="107"/>
                  </a:cubicBezTo>
                  <a:cubicBezTo>
                    <a:pt x="373" y="116"/>
                    <a:pt x="374" y="125"/>
                    <a:pt x="375" y="134"/>
                  </a:cubicBezTo>
                  <a:cubicBezTo>
                    <a:pt x="303" y="134"/>
                    <a:pt x="231" y="136"/>
                    <a:pt x="159" y="139"/>
                  </a:cubicBezTo>
                  <a:cubicBezTo>
                    <a:pt x="145" y="139"/>
                    <a:pt x="131" y="140"/>
                    <a:pt x="117" y="140"/>
                  </a:cubicBezTo>
                  <a:cubicBezTo>
                    <a:pt x="116" y="141"/>
                    <a:pt x="115" y="141"/>
                    <a:pt x="114" y="142"/>
                  </a:cubicBezTo>
                  <a:cubicBezTo>
                    <a:pt x="79" y="151"/>
                    <a:pt x="44" y="161"/>
                    <a:pt x="9" y="169"/>
                  </a:cubicBezTo>
                  <a:cubicBezTo>
                    <a:pt x="6" y="171"/>
                    <a:pt x="3" y="172"/>
                    <a:pt x="0" y="173"/>
                  </a:cubicBezTo>
                  <a:cubicBezTo>
                    <a:pt x="2" y="175"/>
                    <a:pt x="3" y="178"/>
                    <a:pt x="3" y="181"/>
                  </a:cubicBezTo>
                  <a:cubicBezTo>
                    <a:pt x="3" y="187"/>
                    <a:pt x="4" y="192"/>
                    <a:pt x="6" y="197"/>
                  </a:cubicBezTo>
                  <a:cubicBezTo>
                    <a:pt x="25" y="198"/>
                    <a:pt x="45" y="200"/>
                    <a:pt x="64" y="203"/>
                  </a:cubicBezTo>
                  <a:cubicBezTo>
                    <a:pt x="85" y="205"/>
                    <a:pt x="107" y="206"/>
                    <a:pt x="128" y="208"/>
                  </a:cubicBezTo>
                  <a:cubicBezTo>
                    <a:pt x="210" y="213"/>
                    <a:pt x="291" y="220"/>
                    <a:pt x="373" y="222"/>
                  </a:cubicBezTo>
                  <a:cubicBezTo>
                    <a:pt x="525" y="226"/>
                    <a:pt x="677" y="219"/>
                    <a:pt x="829" y="222"/>
                  </a:cubicBezTo>
                  <a:cubicBezTo>
                    <a:pt x="881" y="213"/>
                    <a:pt x="934" y="211"/>
                    <a:pt x="987" y="214"/>
                  </a:cubicBezTo>
                  <a:cubicBezTo>
                    <a:pt x="999" y="213"/>
                    <a:pt x="1011" y="212"/>
                    <a:pt x="1023" y="212"/>
                  </a:cubicBezTo>
                  <a:cubicBezTo>
                    <a:pt x="1029" y="210"/>
                    <a:pt x="1035" y="209"/>
                    <a:pt x="1041" y="208"/>
                  </a:cubicBezTo>
                  <a:cubicBezTo>
                    <a:pt x="1046" y="204"/>
                    <a:pt x="1050" y="201"/>
                    <a:pt x="1053" y="197"/>
                  </a:cubicBezTo>
                  <a:cubicBezTo>
                    <a:pt x="1053" y="195"/>
                    <a:pt x="1052" y="193"/>
                    <a:pt x="1052" y="192"/>
                  </a:cubicBez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10" name="Freeform 267">
              <a:extLst>
                <a:ext uri="{FF2B5EF4-FFF2-40B4-BE49-F238E27FC236}">
                  <a16:creationId xmlns:a16="http://schemas.microsoft.com/office/drawing/2014/main" id="{20222479-2A05-4BDF-AA00-AA059752C28B}"/>
                </a:ext>
              </a:extLst>
            </p:cNvPr>
            <p:cNvSpPr>
              <a:spLocks/>
            </p:cNvSpPr>
            <p:nvPr/>
          </p:nvSpPr>
          <p:spPr bwMode="auto">
            <a:xfrm>
              <a:off x="6294438" y="1769630"/>
              <a:ext cx="360363" cy="458787"/>
            </a:xfrm>
            <a:custGeom>
              <a:avLst/>
              <a:gdLst>
                <a:gd name="T0" fmla="*/ 169 w 174"/>
                <a:gd name="T1" fmla="*/ 5 h 222"/>
                <a:gd name="T2" fmla="*/ 48 w 174"/>
                <a:gd name="T3" fmla="*/ 73 h 222"/>
                <a:gd name="T4" fmla="*/ 15 w 174"/>
                <a:gd name="T5" fmla="*/ 112 h 222"/>
                <a:gd name="T6" fmla="*/ 3 w 174"/>
                <a:gd name="T7" fmla="*/ 212 h 222"/>
                <a:gd name="T8" fmla="*/ 3 w 174"/>
                <a:gd name="T9" fmla="*/ 218 h 222"/>
                <a:gd name="T10" fmla="*/ 15 w 174"/>
                <a:gd name="T11" fmla="*/ 221 h 222"/>
                <a:gd name="T12" fmla="*/ 93 w 174"/>
                <a:gd name="T13" fmla="*/ 194 h 222"/>
                <a:gd name="T14" fmla="*/ 152 w 174"/>
                <a:gd name="T15" fmla="*/ 132 h 222"/>
                <a:gd name="T16" fmla="*/ 165 w 174"/>
                <a:gd name="T17" fmla="*/ 93 h 222"/>
                <a:gd name="T18" fmla="*/ 171 w 174"/>
                <a:gd name="T19" fmla="*/ 0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4" h="222">
                  <a:moveTo>
                    <a:pt x="169" y="5"/>
                  </a:moveTo>
                  <a:cubicBezTo>
                    <a:pt x="126" y="20"/>
                    <a:pt x="85" y="43"/>
                    <a:pt x="48" y="73"/>
                  </a:cubicBezTo>
                  <a:cubicBezTo>
                    <a:pt x="35" y="84"/>
                    <a:pt x="22" y="96"/>
                    <a:pt x="15" y="112"/>
                  </a:cubicBezTo>
                  <a:cubicBezTo>
                    <a:pt x="0" y="142"/>
                    <a:pt x="7" y="178"/>
                    <a:pt x="3" y="212"/>
                  </a:cubicBezTo>
                  <a:cubicBezTo>
                    <a:pt x="2" y="214"/>
                    <a:pt x="2" y="216"/>
                    <a:pt x="3" y="218"/>
                  </a:cubicBezTo>
                  <a:cubicBezTo>
                    <a:pt x="5" y="222"/>
                    <a:pt x="11" y="222"/>
                    <a:pt x="15" y="221"/>
                  </a:cubicBezTo>
                  <a:cubicBezTo>
                    <a:pt x="42" y="216"/>
                    <a:pt x="69" y="208"/>
                    <a:pt x="93" y="194"/>
                  </a:cubicBezTo>
                  <a:cubicBezTo>
                    <a:pt x="118" y="180"/>
                    <a:pt x="139" y="159"/>
                    <a:pt x="152" y="132"/>
                  </a:cubicBezTo>
                  <a:cubicBezTo>
                    <a:pt x="158" y="120"/>
                    <a:pt x="162" y="107"/>
                    <a:pt x="165" y="93"/>
                  </a:cubicBezTo>
                  <a:cubicBezTo>
                    <a:pt x="171" y="63"/>
                    <a:pt x="174" y="31"/>
                    <a:pt x="171" y="0"/>
                  </a:cubicBezTo>
                </a:path>
              </a:pathLst>
            </a:custGeom>
            <a:solidFill>
              <a:schemeClr val="accent6">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11" name="Freeform 268">
              <a:extLst>
                <a:ext uri="{FF2B5EF4-FFF2-40B4-BE49-F238E27FC236}">
                  <a16:creationId xmlns:a16="http://schemas.microsoft.com/office/drawing/2014/main" id="{A536530D-D98B-4686-A7FD-88DA1664C72A}"/>
                </a:ext>
              </a:extLst>
            </p:cNvPr>
            <p:cNvSpPr>
              <a:spLocks/>
            </p:cNvSpPr>
            <p:nvPr/>
          </p:nvSpPr>
          <p:spPr bwMode="auto">
            <a:xfrm>
              <a:off x="6156326" y="1190193"/>
              <a:ext cx="273050" cy="457200"/>
            </a:xfrm>
            <a:custGeom>
              <a:avLst/>
              <a:gdLst>
                <a:gd name="T0" fmla="*/ 40 w 131"/>
                <a:gd name="T1" fmla="*/ 220 h 221"/>
                <a:gd name="T2" fmla="*/ 21 w 131"/>
                <a:gd name="T3" fmla="*/ 85 h 221"/>
                <a:gd name="T4" fmla="*/ 127 w 131"/>
                <a:gd name="T5" fmla="*/ 0 h 221"/>
                <a:gd name="T6" fmla="*/ 119 w 131"/>
                <a:gd name="T7" fmla="*/ 130 h 221"/>
                <a:gd name="T8" fmla="*/ 40 w 131"/>
                <a:gd name="T9" fmla="*/ 221 h 221"/>
              </a:gdLst>
              <a:ahLst/>
              <a:cxnLst>
                <a:cxn ang="0">
                  <a:pos x="T0" y="T1"/>
                </a:cxn>
                <a:cxn ang="0">
                  <a:pos x="T2" y="T3"/>
                </a:cxn>
                <a:cxn ang="0">
                  <a:pos x="T4" y="T5"/>
                </a:cxn>
                <a:cxn ang="0">
                  <a:pos x="T6" y="T7"/>
                </a:cxn>
                <a:cxn ang="0">
                  <a:pos x="T8" y="T9"/>
                </a:cxn>
              </a:cxnLst>
              <a:rect l="0" t="0" r="r" b="b"/>
              <a:pathLst>
                <a:path w="131" h="221">
                  <a:moveTo>
                    <a:pt x="40" y="220"/>
                  </a:moveTo>
                  <a:cubicBezTo>
                    <a:pt x="5" y="189"/>
                    <a:pt x="0" y="129"/>
                    <a:pt x="21" y="85"/>
                  </a:cubicBezTo>
                  <a:cubicBezTo>
                    <a:pt x="42" y="41"/>
                    <a:pt x="83" y="13"/>
                    <a:pt x="127" y="0"/>
                  </a:cubicBezTo>
                  <a:cubicBezTo>
                    <a:pt x="129" y="44"/>
                    <a:pt x="131" y="89"/>
                    <a:pt x="119" y="130"/>
                  </a:cubicBezTo>
                  <a:cubicBezTo>
                    <a:pt x="108" y="172"/>
                    <a:pt x="79" y="211"/>
                    <a:pt x="40" y="221"/>
                  </a:cubicBezTo>
                </a:path>
              </a:pathLst>
            </a:custGeom>
            <a:solidFill>
              <a:schemeClr val="accent6">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12" name="Freeform 269">
              <a:extLst>
                <a:ext uri="{FF2B5EF4-FFF2-40B4-BE49-F238E27FC236}">
                  <a16:creationId xmlns:a16="http://schemas.microsoft.com/office/drawing/2014/main" id="{8A03C269-AA64-43BD-8736-DD6945DE5E25}"/>
                </a:ext>
              </a:extLst>
            </p:cNvPr>
            <p:cNvSpPr>
              <a:spLocks/>
            </p:cNvSpPr>
            <p:nvPr/>
          </p:nvSpPr>
          <p:spPr bwMode="auto">
            <a:xfrm>
              <a:off x="6762751" y="4433455"/>
              <a:ext cx="525463" cy="376237"/>
            </a:xfrm>
            <a:custGeom>
              <a:avLst/>
              <a:gdLst>
                <a:gd name="T0" fmla="*/ 248 w 253"/>
                <a:gd name="T1" fmla="*/ 167 h 182"/>
                <a:gd name="T2" fmla="*/ 155 w 253"/>
                <a:gd name="T3" fmla="*/ 41 h 182"/>
                <a:gd name="T4" fmla="*/ 109 w 253"/>
                <a:gd name="T5" fmla="*/ 10 h 182"/>
                <a:gd name="T6" fmla="*/ 10 w 253"/>
                <a:gd name="T7" fmla="*/ 18 h 182"/>
                <a:gd name="T8" fmla="*/ 4 w 253"/>
                <a:gd name="T9" fmla="*/ 20 h 182"/>
                <a:gd name="T10" fmla="*/ 3 w 253"/>
                <a:gd name="T11" fmla="*/ 34 h 182"/>
                <a:gd name="T12" fmla="*/ 47 w 253"/>
                <a:gd name="T13" fmla="*/ 119 h 182"/>
                <a:gd name="T14" fmla="*/ 119 w 253"/>
                <a:gd name="T15" fmla="*/ 174 h 182"/>
                <a:gd name="T16" fmla="*/ 160 w 253"/>
                <a:gd name="T17" fmla="*/ 181 h 182"/>
                <a:gd name="T18" fmla="*/ 253 w 253"/>
                <a:gd name="T19" fmla="*/ 168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3" h="182">
                  <a:moveTo>
                    <a:pt x="248" y="167"/>
                  </a:moveTo>
                  <a:cubicBezTo>
                    <a:pt x="223" y="120"/>
                    <a:pt x="192" y="77"/>
                    <a:pt x="155" y="41"/>
                  </a:cubicBezTo>
                  <a:cubicBezTo>
                    <a:pt x="141" y="28"/>
                    <a:pt x="127" y="16"/>
                    <a:pt x="109" y="10"/>
                  </a:cubicBezTo>
                  <a:cubicBezTo>
                    <a:pt x="77" y="0"/>
                    <a:pt x="43" y="16"/>
                    <a:pt x="10" y="18"/>
                  </a:cubicBezTo>
                  <a:cubicBezTo>
                    <a:pt x="8" y="18"/>
                    <a:pt x="6" y="18"/>
                    <a:pt x="4" y="20"/>
                  </a:cubicBezTo>
                  <a:cubicBezTo>
                    <a:pt x="0" y="23"/>
                    <a:pt x="1" y="30"/>
                    <a:pt x="3" y="34"/>
                  </a:cubicBezTo>
                  <a:cubicBezTo>
                    <a:pt x="14" y="65"/>
                    <a:pt x="28" y="94"/>
                    <a:pt x="47" y="119"/>
                  </a:cubicBezTo>
                  <a:cubicBezTo>
                    <a:pt x="66" y="145"/>
                    <a:pt x="91" y="165"/>
                    <a:pt x="119" y="174"/>
                  </a:cubicBezTo>
                  <a:cubicBezTo>
                    <a:pt x="133" y="178"/>
                    <a:pt x="147" y="180"/>
                    <a:pt x="160" y="181"/>
                  </a:cubicBezTo>
                  <a:cubicBezTo>
                    <a:pt x="192" y="182"/>
                    <a:pt x="223" y="178"/>
                    <a:pt x="253" y="168"/>
                  </a:cubicBezTo>
                </a:path>
              </a:pathLst>
            </a:custGeom>
            <a:solidFill>
              <a:schemeClr val="accent6">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13" name="Freeform 270">
              <a:extLst>
                <a:ext uri="{FF2B5EF4-FFF2-40B4-BE49-F238E27FC236}">
                  <a16:creationId xmlns:a16="http://schemas.microsoft.com/office/drawing/2014/main" id="{CB0FF5E7-4FB3-4AC5-9815-90A44AFF9BAD}"/>
                </a:ext>
              </a:extLst>
            </p:cNvPr>
            <p:cNvSpPr>
              <a:spLocks/>
            </p:cNvSpPr>
            <p:nvPr/>
          </p:nvSpPr>
          <p:spPr bwMode="auto">
            <a:xfrm>
              <a:off x="7099301" y="4182630"/>
              <a:ext cx="463550" cy="266700"/>
            </a:xfrm>
            <a:custGeom>
              <a:avLst/>
              <a:gdLst>
                <a:gd name="T0" fmla="*/ 219 w 224"/>
                <a:gd name="T1" fmla="*/ 97 h 129"/>
                <a:gd name="T2" fmla="*/ 125 w 224"/>
                <a:gd name="T3" fmla="*/ 17 h 129"/>
                <a:gd name="T4" fmla="*/ 84 w 224"/>
                <a:gd name="T5" fmla="*/ 2 h 129"/>
                <a:gd name="T6" fmla="*/ 7 w 224"/>
                <a:gd name="T7" fmla="*/ 28 h 129"/>
                <a:gd name="T8" fmla="*/ 3 w 224"/>
                <a:gd name="T9" fmla="*/ 30 h 129"/>
                <a:gd name="T10" fmla="*/ 5 w 224"/>
                <a:gd name="T11" fmla="*/ 42 h 129"/>
                <a:gd name="T12" fmla="*/ 53 w 224"/>
                <a:gd name="T13" fmla="*/ 100 h 129"/>
                <a:gd name="T14" fmla="*/ 120 w 224"/>
                <a:gd name="T15" fmla="*/ 129 h 129"/>
                <a:gd name="T16" fmla="*/ 153 w 224"/>
                <a:gd name="T17" fmla="*/ 126 h 129"/>
                <a:gd name="T18" fmla="*/ 224 w 224"/>
                <a:gd name="T19" fmla="*/ 97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4" h="129">
                  <a:moveTo>
                    <a:pt x="219" y="97"/>
                  </a:moveTo>
                  <a:cubicBezTo>
                    <a:pt x="192" y="65"/>
                    <a:pt x="160" y="38"/>
                    <a:pt x="125" y="17"/>
                  </a:cubicBezTo>
                  <a:cubicBezTo>
                    <a:pt x="112" y="10"/>
                    <a:pt x="99" y="3"/>
                    <a:pt x="84" y="2"/>
                  </a:cubicBezTo>
                  <a:cubicBezTo>
                    <a:pt x="57" y="0"/>
                    <a:pt x="33" y="19"/>
                    <a:pt x="7" y="28"/>
                  </a:cubicBezTo>
                  <a:cubicBezTo>
                    <a:pt x="6" y="28"/>
                    <a:pt x="4" y="29"/>
                    <a:pt x="3" y="30"/>
                  </a:cubicBezTo>
                  <a:cubicBezTo>
                    <a:pt x="0" y="33"/>
                    <a:pt x="2" y="38"/>
                    <a:pt x="5" y="42"/>
                  </a:cubicBezTo>
                  <a:cubicBezTo>
                    <a:pt x="18" y="64"/>
                    <a:pt x="34" y="84"/>
                    <a:pt x="53" y="100"/>
                  </a:cubicBezTo>
                  <a:cubicBezTo>
                    <a:pt x="72" y="116"/>
                    <a:pt x="96" y="128"/>
                    <a:pt x="120" y="129"/>
                  </a:cubicBezTo>
                  <a:cubicBezTo>
                    <a:pt x="131" y="129"/>
                    <a:pt x="142" y="128"/>
                    <a:pt x="153" y="126"/>
                  </a:cubicBezTo>
                  <a:cubicBezTo>
                    <a:pt x="178" y="120"/>
                    <a:pt x="202" y="111"/>
                    <a:pt x="224" y="97"/>
                  </a:cubicBezTo>
                </a:path>
              </a:pathLst>
            </a:custGeom>
            <a:solidFill>
              <a:schemeClr val="accent6">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14" name="Freeform 271">
              <a:extLst>
                <a:ext uri="{FF2B5EF4-FFF2-40B4-BE49-F238E27FC236}">
                  <a16:creationId xmlns:a16="http://schemas.microsoft.com/office/drawing/2014/main" id="{2A3F646C-4E8A-43A7-8CD2-CFB33DAE9088}"/>
                </a:ext>
              </a:extLst>
            </p:cNvPr>
            <p:cNvSpPr>
              <a:spLocks/>
            </p:cNvSpPr>
            <p:nvPr/>
          </p:nvSpPr>
          <p:spPr bwMode="auto">
            <a:xfrm>
              <a:off x="7237413" y="3698443"/>
              <a:ext cx="180975" cy="301625"/>
            </a:xfrm>
            <a:custGeom>
              <a:avLst/>
              <a:gdLst>
                <a:gd name="T0" fmla="*/ 27 w 87"/>
                <a:gd name="T1" fmla="*/ 146 h 146"/>
                <a:gd name="T2" fmla="*/ 14 w 87"/>
                <a:gd name="T3" fmla="*/ 56 h 146"/>
                <a:gd name="T4" fmla="*/ 85 w 87"/>
                <a:gd name="T5" fmla="*/ 0 h 146"/>
                <a:gd name="T6" fmla="*/ 80 w 87"/>
                <a:gd name="T7" fmla="*/ 86 h 146"/>
                <a:gd name="T8" fmla="*/ 27 w 87"/>
                <a:gd name="T9" fmla="*/ 146 h 146"/>
              </a:gdLst>
              <a:ahLst/>
              <a:cxnLst>
                <a:cxn ang="0">
                  <a:pos x="T0" y="T1"/>
                </a:cxn>
                <a:cxn ang="0">
                  <a:pos x="T2" y="T3"/>
                </a:cxn>
                <a:cxn ang="0">
                  <a:pos x="T4" y="T5"/>
                </a:cxn>
                <a:cxn ang="0">
                  <a:pos x="T6" y="T7"/>
                </a:cxn>
                <a:cxn ang="0">
                  <a:pos x="T8" y="T9"/>
                </a:cxn>
              </a:cxnLst>
              <a:rect l="0" t="0" r="r" b="b"/>
              <a:pathLst>
                <a:path w="87" h="146">
                  <a:moveTo>
                    <a:pt x="27" y="146"/>
                  </a:moveTo>
                  <a:cubicBezTo>
                    <a:pt x="3" y="125"/>
                    <a:pt x="0" y="85"/>
                    <a:pt x="14" y="56"/>
                  </a:cubicBezTo>
                  <a:cubicBezTo>
                    <a:pt x="28" y="27"/>
                    <a:pt x="56" y="8"/>
                    <a:pt x="85" y="0"/>
                  </a:cubicBezTo>
                  <a:cubicBezTo>
                    <a:pt x="86" y="29"/>
                    <a:pt x="87" y="58"/>
                    <a:pt x="80" y="86"/>
                  </a:cubicBezTo>
                  <a:cubicBezTo>
                    <a:pt x="72" y="114"/>
                    <a:pt x="53" y="140"/>
                    <a:pt x="27" y="146"/>
                  </a:cubicBezTo>
                </a:path>
              </a:pathLst>
            </a:custGeom>
            <a:solidFill>
              <a:schemeClr val="accent6">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15" name="Freeform 272">
              <a:extLst>
                <a:ext uri="{FF2B5EF4-FFF2-40B4-BE49-F238E27FC236}">
                  <a16:creationId xmlns:a16="http://schemas.microsoft.com/office/drawing/2014/main" id="{73E905E7-D2D5-4A71-AFCA-84AD480A30D7}"/>
                </a:ext>
              </a:extLst>
            </p:cNvPr>
            <p:cNvSpPr>
              <a:spLocks/>
            </p:cNvSpPr>
            <p:nvPr/>
          </p:nvSpPr>
          <p:spPr bwMode="auto">
            <a:xfrm>
              <a:off x="6821488" y="3595255"/>
              <a:ext cx="279400" cy="576262"/>
            </a:xfrm>
            <a:custGeom>
              <a:avLst/>
              <a:gdLst>
                <a:gd name="T0" fmla="*/ 74 w 135"/>
                <a:gd name="T1" fmla="*/ 279 h 279"/>
                <a:gd name="T2" fmla="*/ 10 w 135"/>
                <a:gd name="T3" fmla="*/ 134 h 279"/>
                <a:gd name="T4" fmla="*/ 103 w 135"/>
                <a:gd name="T5" fmla="*/ 0 h 279"/>
                <a:gd name="T6" fmla="*/ 135 w 135"/>
                <a:gd name="T7" fmla="*/ 148 h 279"/>
                <a:gd name="T8" fmla="*/ 75 w 135"/>
                <a:gd name="T9" fmla="*/ 279 h 279"/>
              </a:gdLst>
              <a:ahLst/>
              <a:cxnLst>
                <a:cxn ang="0">
                  <a:pos x="T0" y="T1"/>
                </a:cxn>
                <a:cxn ang="0">
                  <a:pos x="T2" y="T3"/>
                </a:cxn>
                <a:cxn ang="0">
                  <a:pos x="T4" y="T5"/>
                </a:cxn>
                <a:cxn ang="0">
                  <a:pos x="T6" y="T7"/>
                </a:cxn>
                <a:cxn ang="0">
                  <a:pos x="T8" y="T9"/>
                </a:cxn>
              </a:cxnLst>
              <a:rect l="0" t="0" r="r" b="b"/>
              <a:pathLst>
                <a:path w="135" h="279">
                  <a:moveTo>
                    <a:pt x="74" y="279"/>
                  </a:moveTo>
                  <a:cubicBezTo>
                    <a:pt x="25" y="256"/>
                    <a:pt x="0" y="191"/>
                    <a:pt x="10" y="134"/>
                  </a:cubicBezTo>
                  <a:cubicBezTo>
                    <a:pt x="20" y="78"/>
                    <a:pt x="58" y="30"/>
                    <a:pt x="103" y="0"/>
                  </a:cubicBezTo>
                  <a:cubicBezTo>
                    <a:pt x="119" y="48"/>
                    <a:pt x="135" y="97"/>
                    <a:pt x="135" y="148"/>
                  </a:cubicBezTo>
                  <a:cubicBezTo>
                    <a:pt x="135" y="199"/>
                    <a:pt x="115" y="253"/>
                    <a:pt x="75" y="279"/>
                  </a:cubicBezTo>
                </a:path>
              </a:pathLst>
            </a:custGeom>
            <a:solidFill>
              <a:schemeClr val="accent6">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16" name="Freeform 273">
              <a:extLst>
                <a:ext uri="{FF2B5EF4-FFF2-40B4-BE49-F238E27FC236}">
                  <a16:creationId xmlns:a16="http://schemas.microsoft.com/office/drawing/2014/main" id="{3C8D585A-F34E-467A-8E1B-5834F95394FE}"/>
                </a:ext>
              </a:extLst>
            </p:cNvPr>
            <p:cNvSpPr>
              <a:spLocks/>
            </p:cNvSpPr>
            <p:nvPr/>
          </p:nvSpPr>
          <p:spPr bwMode="auto">
            <a:xfrm>
              <a:off x="5591176" y="3568268"/>
              <a:ext cx="347663" cy="382587"/>
            </a:xfrm>
            <a:custGeom>
              <a:avLst/>
              <a:gdLst>
                <a:gd name="T0" fmla="*/ 111 w 168"/>
                <a:gd name="T1" fmla="*/ 1 h 185"/>
                <a:gd name="T2" fmla="*/ 16 w 168"/>
                <a:gd name="T3" fmla="*/ 60 h 185"/>
                <a:gd name="T4" fmla="*/ 3 w 168"/>
                <a:gd name="T5" fmla="*/ 78 h 185"/>
                <a:gd name="T6" fmla="*/ 1 w 168"/>
                <a:gd name="T7" fmla="*/ 99 h 185"/>
                <a:gd name="T8" fmla="*/ 47 w 168"/>
                <a:gd name="T9" fmla="*/ 164 h 185"/>
                <a:gd name="T10" fmla="*/ 123 w 168"/>
                <a:gd name="T11" fmla="*/ 183 h 185"/>
                <a:gd name="T12" fmla="*/ 151 w 168"/>
                <a:gd name="T13" fmla="*/ 179 h 185"/>
                <a:gd name="T14" fmla="*/ 167 w 168"/>
                <a:gd name="T15" fmla="*/ 132 h 185"/>
                <a:gd name="T16" fmla="*/ 129 w 168"/>
                <a:gd name="T17" fmla="*/ 13 h 185"/>
                <a:gd name="T18" fmla="*/ 119 w 168"/>
                <a:gd name="T19" fmla="*/ 2 h 185"/>
                <a:gd name="T20" fmla="*/ 106 w 168"/>
                <a:gd name="T21" fmla="*/ 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8" h="185">
                  <a:moveTo>
                    <a:pt x="111" y="1"/>
                  </a:moveTo>
                  <a:cubicBezTo>
                    <a:pt x="76" y="13"/>
                    <a:pt x="44" y="34"/>
                    <a:pt x="16" y="60"/>
                  </a:cubicBezTo>
                  <a:cubicBezTo>
                    <a:pt x="11" y="65"/>
                    <a:pt x="6" y="71"/>
                    <a:pt x="3" y="78"/>
                  </a:cubicBezTo>
                  <a:cubicBezTo>
                    <a:pt x="0" y="84"/>
                    <a:pt x="0" y="92"/>
                    <a:pt x="1" y="99"/>
                  </a:cubicBezTo>
                  <a:cubicBezTo>
                    <a:pt x="4" y="128"/>
                    <a:pt x="24" y="151"/>
                    <a:pt x="47" y="164"/>
                  </a:cubicBezTo>
                  <a:cubicBezTo>
                    <a:pt x="70" y="177"/>
                    <a:pt x="97" y="181"/>
                    <a:pt x="123" y="183"/>
                  </a:cubicBezTo>
                  <a:cubicBezTo>
                    <a:pt x="133" y="184"/>
                    <a:pt x="143" y="185"/>
                    <a:pt x="151" y="179"/>
                  </a:cubicBezTo>
                  <a:cubicBezTo>
                    <a:pt x="165" y="171"/>
                    <a:pt x="168" y="150"/>
                    <a:pt x="167" y="132"/>
                  </a:cubicBezTo>
                  <a:cubicBezTo>
                    <a:pt x="165" y="90"/>
                    <a:pt x="152" y="48"/>
                    <a:pt x="129" y="13"/>
                  </a:cubicBezTo>
                  <a:cubicBezTo>
                    <a:pt x="126" y="9"/>
                    <a:pt x="123" y="5"/>
                    <a:pt x="119" y="2"/>
                  </a:cubicBezTo>
                  <a:cubicBezTo>
                    <a:pt x="115" y="0"/>
                    <a:pt x="109" y="1"/>
                    <a:pt x="106" y="5"/>
                  </a:cubicBezTo>
                </a:path>
              </a:pathLst>
            </a:custGeom>
            <a:solidFill>
              <a:schemeClr val="accent6">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17" name="Freeform 274">
              <a:extLst>
                <a:ext uri="{FF2B5EF4-FFF2-40B4-BE49-F238E27FC236}">
                  <a16:creationId xmlns:a16="http://schemas.microsoft.com/office/drawing/2014/main" id="{EF850A44-6DF4-49DF-977E-51B11A0CBF09}"/>
                </a:ext>
              </a:extLst>
            </p:cNvPr>
            <p:cNvSpPr>
              <a:spLocks/>
            </p:cNvSpPr>
            <p:nvPr/>
          </p:nvSpPr>
          <p:spPr bwMode="auto">
            <a:xfrm>
              <a:off x="5308601" y="4088968"/>
              <a:ext cx="487363" cy="452437"/>
            </a:xfrm>
            <a:custGeom>
              <a:avLst/>
              <a:gdLst>
                <a:gd name="T0" fmla="*/ 195 w 235"/>
                <a:gd name="T1" fmla="*/ 9 h 219"/>
                <a:gd name="T2" fmla="*/ 180 w 235"/>
                <a:gd name="T3" fmla="*/ 169 h 219"/>
                <a:gd name="T4" fmla="*/ 0 w 235"/>
                <a:gd name="T5" fmla="*/ 212 h 219"/>
                <a:gd name="T6" fmla="*/ 53 w 235"/>
                <a:gd name="T7" fmla="*/ 71 h 219"/>
                <a:gd name="T8" fmla="*/ 194 w 235"/>
                <a:gd name="T9" fmla="*/ 8 h 219"/>
              </a:gdLst>
              <a:ahLst/>
              <a:cxnLst>
                <a:cxn ang="0">
                  <a:pos x="T0" y="T1"/>
                </a:cxn>
                <a:cxn ang="0">
                  <a:pos x="T2" y="T3"/>
                </a:cxn>
                <a:cxn ang="0">
                  <a:pos x="T4" y="T5"/>
                </a:cxn>
                <a:cxn ang="0">
                  <a:pos x="T6" y="T7"/>
                </a:cxn>
                <a:cxn ang="0">
                  <a:pos x="T8" y="T9"/>
                </a:cxn>
              </a:cxnLst>
              <a:rect l="0" t="0" r="r" b="b"/>
              <a:pathLst>
                <a:path w="235" h="219">
                  <a:moveTo>
                    <a:pt x="195" y="9"/>
                  </a:moveTo>
                  <a:cubicBezTo>
                    <a:pt x="235" y="61"/>
                    <a:pt x="224" y="130"/>
                    <a:pt x="180" y="169"/>
                  </a:cubicBezTo>
                  <a:cubicBezTo>
                    <a:pt x="136" y="208"/>
                    <a:pt x="67" y="219"/>
                    <a:pt x="0" y="212"/>
                  </a:cubicBezTo>
                  <a:cubicBezTo>
                    <a:pt x="11" y="162"/>
                    <a:pt x="23" y="112"/>
                    <a:pt x="53" y="71"/>
                  </a:cubicBezTo>
                  <a:cubicBezTo>
                    <a:pt x="83" y="30"/>
                    <a:pt x="136" y="0"/>
                    <a:pt x="194" y="8"/>
                  </a:cubicBezTo>
                </a:path>
              </a:pathLst>
            </a:custGeom>
            <a:solidFill>
              <a:schemeClr val="accent6">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18" name="Freeform 275">
              <a:extLst>
                <a:ext uri="{FF2B5EF4-FFF2-40B4-BE49-F238E27FC236}">
                  <a16:creationId xmlns:a16="http://schemas.microsoft.com/office/drawing/2014/main" id="{AEEEB2C2-79BD-4C9C-8035-7F170EA91AC9}"/>
                </a:ext>
              </a:extLst>
            </p:cNvPr>
            <p:cNvSpPr>
              <a:spLocks/>
            </p:cNvSpPr>
            <p:nvPr/>
          </p:nvSpPr>
          <p:spPr bwMode="auto">
            <a:xfrm>
              <a:off x="4841876" y="3807980"/>
              <a:ext cx="412750" cy="382587"/>
            </a:xfrm>
            <a:custGeom>
              <a:avLst/>
              <a:gdLst>
                <a:gd name="T0" fmla="*/ 165 w 199"/>
                <a:gd name="T1" fmla="*/ 7 h 185"/>
                <a:gd name="T2" fmla="*/ 152 w 199"/>
                <a:gd name="T3" fmla="*/ 143 h 185"/>
                <a:gd name="T4" fmla="*/ 0 w 199"/>
                <a:gd name="T5" fmla="*/ 179 h 185"/>
                <a:gd name="T6" fmla="*/ 44 w 199"/>
                <a:gd name="T7" fmla="*/ 60 h 185"/>
                <a:gd name="T8" fmla="*/ 164 w 199"/>
                <a:gd name="T9" fmla="*/ 6 h 185"/>
              </a:gdLst>
              <a:ahLst/>
              <a:cxnLst>
                <a:cxn ang="0">
                  <a:pos x="T0" y="T1"/>
                </a:cxn>
                <a:cxn ang="0">
                  <a:pos x="T2" y="T3"/>
                </a:cxn>
                <a:cxn ang="0">
                  <a:pos x="T4" y="T5"/>
                </a:cxn>
                <a:cxn ang="0">
                  <a:pos x="T6" y="T7"/>
                </a:cxn>
                <a:cxn ang="0">
                  <a:pos x="T8" y="T9"/>
                </a:cxn>
              </a:cxnLst>
              <a:rect l="0" t="0" r="r" b="b"/>
              <a:pathLst>
                <a:path w="199" h="185">
                  <a:moveTo>
                    <a:pt x="165" y="7"/>
                  </a:moveTo>
                  <a:cubicBezTo>
                    <a:pt x="199" y="51"/>
                    <a:pt x="189" y="110"/>
                    <a:pt x="152" y="143"/>
                  </a:cubicBezTo>
                  <a:cubicBezTo>
                    <a:pt x="114" y="176"/>
                    <a:pt x="56" y="185"/>
                    <a:pt x="0" y="179"/>
                  </a:cubicBezTo>
                  <a:cubicBezTo>
                    <a:pt x="9" y="137"/>
                    <a:pt x="19" y="94"/>
                    <a:pt x="44" y="60"/>
                  </a:cubicBezTo>
                  <a:cubicBezTo>
                    <a:pt x="69" y="25"/>
                    <a:pt x="114" y="0"/>
                    <a:pt x="164" y="6"/>
                  </a:cubicBezTo>
                </a:path>
              </a:pathLst>
            </a:custGeom>
            <a:solidFill>
              <a:schemeClr val="accent6">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19" name="Freeform 276">
              <a:extLst>
                <a:ext uri="{FF2B5EF4-FFF2-40B4-BE49-F238E27FC236}">
                  <a16:creationId xmlns:a16="http://schemas.microsoft.com/office/drawing/2014/main" id="{E1B7AF21-1F0E-450A-A215-7D013AEDA4C1}"/>
                </a:ext>
              </a:extLst>
            </p:cNvPr>
            <p:cNvSpPr>
              <a:spLocks/>
            </p:cNvSpPr>
            <p:nvPr/>
          </p:nvSpPr>
          <p:spPr bwMode="auto">
            <a:xfrm>
              <a:off x="5021263" y="3098368"/>
              <a:ext cx="295275" cy="519112"/>
            </a:xfrm>
            <a:custGeom>
              <a:avLst/>
              <a:gdLst>
                <a:gd name="T0" fmla="*/ 113 w 143"/>
                <a:gd name="T1" fmla="*/ 239 h 251"/>
                <a:gd name="T2" fmla="*/ 9 w 143"/>
                <a:gd name="T3" fmla="*/ 163 h 251"/>
                <a:gd name="T4" fmla="*/ 51 w 143"/>
                <a:gd name="T5" fmla="*/ 0 h 251"/>
                <a:gd name="T6" fmla="*/ 127 w 143"/>
                <a:gd name="T7" fmla="*/ 98 h 251"/>
                <a:gd name="T8" fmla="*/ 114 w 143"/>
                <a:gd name="T9" fmla="*/ 239 h 251"/>
              </a:gdLst>
              <a:ahLst/>
              <a:cxnLst>
                <a:cxn ang="0">
                  <a:pos x="T0" y="T1"/>
                </a:cxn>
                <a:cxn ang="0">
                  <a:pos x="T2" y="T3"/>
                </a:cxn>
                <a:cxn ang="0">
                  <a:pos x="T4" y="T5"/>
                </a:cxn>
                <a:cxn ang="0">
                  <a:pos x="T6" y="T7"/>
                </a:cxn>
                <a:cxn ang="0">
                  <a:pos x="T8" y="T9"/>
                </a:cxn>
              </a:cxnLst>
              <a:rect l="0" t="0" r="r" b="b"/>
              <a:pathLst>
                <a:path w="143" h="251">
                  <a:moveTo>
                    <a:pt x="113" y="239"/>
                  </a:moveTo>
                  <a:cubicBezTo>
                    <a:pt x="61" y="251"/>
                    <a:pt x="18" y="214"/>
                    <a:pt x="9" y="163"/>
                  </a:cubicBezTo>
                  <a:cubicBezTo>
                    <a:pt x="0" y="112"/>
                    <a:pt x="19" y="51"/>
                    <a:pt x="51" y="0"/>
                  </a:cubicBezTo>
                  <a:cubicBezTo>
                    <a:pt x="80" y="28"/>
                    <a:pt x="111" y="58"/>
                    <a:pt x="127" y="98"/>
                  </a:cubicBezTo>
                  <a:cubicBezTo>
                    <a:pt x="143" y="139"/>
                    <a:pt x="142" y="194"/>
                    <a:pt x="114" y="239"/>
                  </a:cubicBezTo>
                </a:path>
              </a:pathLst>
            </a:custGeom>
            <a:solidFill>
              <a:schemeClr val="accent6">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20" name="Freeform 277">
              <a:extLst>
                <a:ext uri="{FF2B5EF4-FFF2-40B4-BE49-F238E27FC236}">
                  <a16:creationId xmlns:a16="http://schemas.microsoft.com/office/drawing/2014/main" id="{67AD7DBA-D278-405F-98B2-53F09A836301}"/>
                </a:ext>
              </a:extLst>
            </p:cNvPr>
            <p:cNvSpPr>
              <a:spLocks/>
            </p:cNvSpPr>
            <p:nvPr/>
          </p:nvSpPr>
          <p:spPr bwMode="auto">
            <a:xfrm>
              <a:off x="4622801" y="3230130"/>
              <a:ext cx="352425" cy="450850"/>
            </a:xfrm>
            <a:custGeom>
              <a:avLst/>
              <a:gdLst>
                <a:gd name="T0" fmla="*/ 162 w 170"/>
                <a:gd name="T1" fmla="*/ 182 h 218"/>
                <a:gd name="T2" fmla="*/ 38 w 170"/>
                <a:gd name="T3" fmla="*/ 166 h 218"/>
                <a:gd name="T4" fmla="*/ 7 w 170"/>
                <a:gd name="T5" fmla="*/ 0 h 218"/>
                <a:gd name="T6" fmla="*/ 116 w 170"/>
                <a:gd name="T7" fmla="*/ 49 h 218"/>
                <a:gd name="T8" fmla="*/ 163 w 170"/>
                <a:gd name="T9" fmla="*/ 181 h 218"/>
              </a:gdLst>
              <a:ahLst/>
              <a:cxnLst>
                <a:cxn ang="0">
                  <a:pos x="T0" y="T1"/>
                </a:cxn>
                <a:cxn ang="0">
                  <a:pos x="T2" y="T3"/>
                </a:cxn>
                <a:cxn ang="0">
                  <a:pos x="T4" y="T5"/>
                </a:cxn>
                <a:cxn ang="0">
                  <a:pos x="T6" y="T7"/>
                </a:cxn>
                <a:cxn ang="0">
                  <a:pos x="T8" y="T9"/>
                </a:cxn>
              </a:cxnLst>
              <a:rect l="0" t="0" r="r" b="b"/>
              <a:pathLst>
                <a:path w="170" h="218">
                  <a:moveTo>
                    <a:pt x="162" y="182"/>
                  </a:moveTo>
                  <a:cubicBezTo>
                    <a:pt x="121" y="218"/>
                    <a:pt x="67" y="207"/>
                    <a:pt x="38" y="166"/>
                  </a:cubicBezTo>
                  <a:cubicBezTo>
                    <a:pt x="8" y="125"/>
                    <a:pt x="0" y="61"/>
                    <a:pt x="7" y="0"/>
                  </a:cubicBezTo>
                  <a:cubicBezTo>
                    <a:pt x="45" y="10"/>
                    <a:pt x="84" y="21"/>
                    <a:pt x="116" y="49"/>
                  </a:cubicBezTo>
                  <a:cubicBezTo>
                    <a:pt x="147" y="78"/>
                    <a:pt x="170" y="127"/>
                    <a:pt x="163" y="181"/>
                  </a:cubicBezTo>
                </a:path>
              </a:pathLst>
            </a:custGeom>
            <a:solidFill>
              <a:schemeClr val="accent6">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21" name="Freeform 278">
              <a:extLst>
                <a:ext uri="{FF2B5EF4-FFF2-40B4-BE49-F238E27FC236}">
                  <a16:creationId xmlns:a16="http://schemas.microsoft.com/office/drawing/2014/main" id="{9BD8D5CF-E4E0-4828-BE84-94A2ED0F3F27}"/>
                </a:ext>
              </a:extLst>
            </p:cNvPr>
            <p:cNvSpPr>
              <a:spLocks/>
            </p:cNvSpPr>
            <p:nvPr/>
          </p:nvSpPr>
          <p:spPr bwMode="auto">
            <a:xfrm>
              <a:off x="5484813" y="2504643"/>
              <a:ext cx="460375" cy="352425"/>
            </a:xfrm>
            <a:custGeom>
              <a:avLst/>
              <a:gdLst>
                <a:gd name="T0" fmla="*/ 199 w 222"/>
                <a:gd name="T1" fmla="*/ 21 h 170"/>
                <a:gd name="T2" fmla="*/ 156 w 222"/>
                <a:gd name="T3" fmla="*/ 149 h 170"/>
                <a:gd name="T4" fmla="*/ 0 w 222"/>
                <a:gd name="T5" fmla="*/ 143 h 170"/>
                <a:gd name="T6" fmla="*/ 70 w 222"/>
                <a:gd name="T7" fmla="*/ 39 h 170"/>
                <a:gd name="T8" fmla="*/ 199 w 222"/>
                <a:gd name="T9" fmla="*/ 20 h 170"/>
              </a:gdLst>
              <a:ahLst/>
              <a:cxnLst>
                <a:cxn ang="0">
                  <a:pos x="T0" y="T1"/>
                </a:cxn>
                <a:cxn ang="0">
                  <a:pos x="T2" y="T3"/>
                </a:cxn>
                <a:cxn ang="0">
                  <a:pos x="T4" y="T5"/>
                </a:cxn>
                <a:cxn ang="0">
                  <a:pos x="T6" y="T7"/>
                </a:cxn>
                <a:cxn ang="0">
                  <a:pos x="T8" y="T9"/>
                </a:cxn>
              </a:cxnLst>
              <a:rect l="0" t="0" r="r" b="b"/>
              <a:pathLst>
                <a:path w="222" h="170">
                  <a:moveTo>
                    <a:pt x="199" y="21"/>
                  </a:moveTo>
                  <a:cubicBezTo>
                    <a:pt x="222" y="73"/>
                    <a:pt x="199" y="127"/>
                    <a:pt x="156" y="149"/>
                  </a:cubicBezTo>
                  <a:cubicBezTo>
                    <a:pt x="112" y="170"/>
                    <a:pt x="53" y="164"/>
                    <a:pt x="0" y="143"/>
                  </a:cubicBezTo>
                  <a:cubicBezTo>
                    <a:pt x="19" y="105"/>
                    <a:pt x="38" y="66"/>
                    <a:pt x="70" y="39"/>
                  </a:cubicBezTo>
                  <a:cubicBezTo>
                    <a:pt x="103" y="12"/>
                    <a:pt x="152" y="0"/>
                    <a:pt x="199" y="20"/>
                  </a:cubicBezTo>
                </a:path>
              </a:pathLst>
            </a:custGeom>
            <a:solidFill>
              <a:schemeClr val="accent6">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22" name="Freeform 279">
              <a:extLst>
                <a:ext uri="{FF2B5EF4-FFF2-40B4-BE49-F238E27FC236}">
                  <a16:creationId xmlns:a16="http://schemas.microsoft.com/office/drawing/2014/main" id="{EF95B094-2E2D-48C0-93D1-76FA4CF47D1C}"/>
                </a:ext>
              </a:extLst>
            </p:cNvPr>
            <p:cNvSpPr>
              <a:spLocks/>
            </p:cNvSpPr>
            <p:nvPr/>
          </p:nvSpPr>
          <p:spPr bwMode="auto">
            <a:xfrm>
              <a:off x="5684838" y="1868055"/>
              <a:ext cx="322263" cy="504825"/>
            </a:xfrm>
            <a:custGeom>
              <a:avLst/>
              <a:gdLst>
                <a:gd name="T0" fmla="*/ 135 w 156"/>
                <a:gd name="T1" fmla="*/ 220 h 244"/>
                <a:gd name="T2" fmla="*/ 19 w 156"/>
                <a:gd name="T3" fmla="*/ 170 h 244"/>
                <a:gd name="T4" fmla="*/ 28 w 156"/>
                <a:gd name="T5" fmla="*/ 0 h 244"/>
                <a:gd name="T6" fmla="*/ 122 w 156"/>
                <a:gd name="T7" fmla="*/ 79 h 244"/>
                <a:gd name="T8" fmla="*/ 136 w 156"/>
                <a:gd name="T9" fmla="*/ 219 h 244"/>
              </a:gdLst>
              <a:ahLst/>
              <a:cxnLst>
                <a:cxn ang="0">
                  <a:pos x="T0" y="T1"/>
                </a:cxn>
                <a:cxn ang="0">
                  <a:pos x="T2" y="T3"/>
                </a:cxn>
                <a:cxn ang="0">
                  <a:pos x="T4" y="T5"/>
                </a:cxn>
                <a:cxn ang="0">
                  <a:pos x="T6" y="T7"/>
                </a:cxn>
                <a:cxn ang="0">
                  <a:pos x="T8" y="T9"/>
                </a:cxn>
              </a:cxnLst>
              <a:rect l="0" t="0" r="r" b="b"/>
              <a:pathLst>
                <a:path w="156" h="244">
                  <a:moveTo>
                    <a:pt x="135" y="220"/>
                  </a:moveTo>
                  <a:cubicBezTo>
                    <a:pt x="87" y="244"/>
                    <a:pt x="38" y="217"/>
                    <a:pt x="19" y="170"/>
                  </a:cubicBezTo>
                  <a:cubicBezTo>
                    <a:pt x="0" y="122"/>
                    <a:pt x="7" y="58"/>
                    <a:pt x="28" y="0"/>
                  </a:cubicBezTo>
                  <a:cubicBezTo>
                    <a:pt x="63" y="21"/>
                    <a:pt x="98" y="43"/>
                    <a:pt x="122" y="79"/>
                  </a:cubicBezTo>
                  <a:cubicBezTo>
                    <a:pt x="145" y="115"/>
                    <a:pt x="156" y="169"/>
                    <a:pt x="136" y="219"/>
                  </a:cubicBezTo>
                </a:path>
              </a:pathLst>
            </a:custGeom>
            <a:solidFill>
              <a:schemeClr val="accent6">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23" name="Freeform 280">
              <a:extLst>
                <a:ext uri="{FF2B5EF4-FFF2-40B4-BE49-F238E27FC236}">
                  <a16:creationId xmlns:a16="http://schemas.microsoft.com/office/drawing/2014/main" id="{02AD645A-BC05-4181-905F-EB62B61909D9}"/>
                </a:ext>
              </a:extLst>
            </p:cNvPr>
            <p:cNvSpPr>
              <a:spLocks/>
            </p:cNvSpPr>
            <p:nvPr/>
          </p:nvSpPr>
          <p:spPr bwMode="auto">
            <a:xfrm>
              <a:off x="5470526" y="2237943"/>
              <a:ext cx="242888" cy="215900"/>
            </a:xfrm>
            <a:custGeom>
              <a:avLst/>
              <a:gdLst>
                <a:gd name="T0" fmla="*/ 117 w 117"/>
                <a:gd name="T1" fmla="*/ 69 h 104"/>
                <a:gd name="T2" fmla="*/ 47 w 117"/>
                <a:gd name="T3" fmla="*/ 88 h 104"/>
                <a:gd name="T4" fmla="*/ 0 w 117"/>
                <a:gd name="T5" fmla="*/ 6 h 104"/>
                <a:gd name="T6" fmla="*/ 67 w 117"/>
                <a:gd name="T7" fmla="*/ 9 h 104"/>
                <a:gd name="T8" fmla="*/ 117 w 117"/>
                <a:gd name="T9" fmla="*/ 69 h 104"/>
              </a:gdLst>
              <a:ahLst/>
              <a:cxnLst>
                <a:cxn ang="0">
                  <a:pos x="T0" y="T1"/>
                </a:cxn>
                <a:cxn ang="0">
                  <a:pos x="T2" y="T3"/>
                </a:cxn>
                <a:cxn ang="0">
                  <a:pos x="T4" y="T5"/>
                </a:cxn>
                <a:cxn ang="0">
                  <a:pos x="T6" y="T7"/>
                </a:cxn>
                <a:cxn ang="0">
                  <a:pos x="T8" y="T9"/>
                </a:cxn>
              </a:cxnLst>
              <a:rect l="0" t="0" r="r" b="b"/>
              <a:pathLst>
                <a:path w="117" h="104">
                  <a:moveTo>
                    <a:pt x="117" y="69"/>
                  </a:moveTo>
                  <a:cubicBezTo>
                    <a:pt x="102" y="98"/>
                    <a:pt x="71" y="104"/>
                    <a:pt x="47" y="88"/>
                  </a:cubicBezTo>
                  <a:cubicBezTo>
                    <a:pt x="24" y="73"/>
                    <a:pt x="8" y="40"/>
                    <a:pt x="0" y="6"/>
                  </a:cubicBezTo>
                  <a:cubicBezTo>
                    <a:pt x="22" y="3"/>
                    <a:pt x="45" y="0"/>
                    <a:pt x="67" y="9"/>
                  </a:cubicBezTo>
                  <a:cubicBezTo>
                    <a:pt x="89" y="17"/>
                    <a:pt x="110" y="38"/>
                    <a:pt x="117" y="69"/>
                  </a:cubicBezTo>
                </a:path>
              </a:pathLst>
            </a:custGeom>
            <a:solidFill>
              <a:srgbClr val="47B8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24" name="Freeform 281">
              <a:extLst>
                <a:ext uri="{FF2B5EF4-FFF2-40B4-BE49-F238E27FC236}">
                  <a16:creationId xmlns:a16="http://schemas.microsoft.com/office/drawing/2014/main" id="{BD1C1620-0CE1-47D6-AE13-B111A48BE78A}"/>
                </a:ext>
              </a:extLst>
            </p:cNvPr>
            <p:cNvSpPr>
              <a:spLocks/>
            </p:cNvSpPr>
            <p:nvPr/>
          </p:nvSpPr>
          <p:spPr bwMode="auto">
            <a:xfrm>
              <a:off x="6875463" y="2242705"/>
              <a:ext cx="284163" cy="438150"/>
            </a:xfrm>
            <a:custGeom>
              <a:avLst/>
              <a:gdLst>
                <a:gd name="T0" fmla="*/ 33 w 137"/>
                <a:gd name="T1" fmla="*/ 211 h 212"/>
                <a:gd name="T2" fmla="*/ 24 w 137"/>
                <a:gd name="T3" fmla="*/ 75 h 212"/>
                <a:gd name="T4" fmla="*/ 137 w 137"/>
                <a:gd name="T5" fmla="*/ 0 h 212"/>
                <a:gd name="T6" fmla="*/ 120 w 137"/>
                <a:gd name="T7" fmla="*/ 129 h 212"/>
                <a:gd name="T8" fmla="*/ 34 w 137"/>
                <a:gd name="T9" fmla="*/ 212 h 212"/>
              </a:gdLst>
              <a:ahLst/>
              <a:cxnLst>
                <a:cxn ang="0">
                  <a:pos x="T0" y="T1"/>
                </a:cxn>
                <a:cxn ang="0">
                  <a:pos x="T2" y="T3"/>
                </a:cxn>
                <a:cxn ang="0">
                  <a:pos x="T4" y="T5"/>
                </a:cxn>
                <a:cxn ang="0">
                  <a:pos x="T6" y="T7"/>
                </a:cxn>
                <a:cxn ang="0">
                  <a:pos x="T8" y="T9"/>
                </a:cxn>
              </a:cxnLst>
              <a:rect l="0" t="0" r="r" b="b"/>
              <a:pathLst>
                <a:path w="137" h="212">
                  <a:moveTo>
                    <a:pt x="33" y="211"/>
                  </a:moveTo>
                  <a:cubicBezTo>
                    <a:pt x="1" y="177"/>
                    <a:pt x="0" y="116"/>
                    <a:pt x="24" y="75"/>
                  </a:cubicBezTo>
                  <a:cubicBezTo>
                    <a:pt x="49" y="33"/>
                    <a:pt x="92" y="8"/>
                    <a:pt x="137" y="0"/>
                  </a:cubicBezTo>
                  <a:cubicBezTo>
                    <a:pt x="136" y="43"/>
                    <a:pt x="134" y="88"/>
                    <a:pt x="120" y="129"/>
                  </a:cubicBezTo>
                  <a:cubicBezTo>
                    <a:pt x="105" y="169"/>
                    <a:pt x="74" y="205"/>
                    <a:pt x="34" y="212"/>
                  </a:cubicBezTo>
                </a:path>
              </a:pathLst>
            </a:custGeom>
            <a:solidFill>
              <a:schemeClr val="accent6">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25" name="Freeform 282">
              <a:extLst>
                <a:ext uri="{FF2B5EF4-FFF2-40B4-BE49-F238E27FC236}">
                  <a16:creationId xmlns:a16="http://schemas.microsoft.com/office/drawing/2014/main" id="{3162A717-1736-430F-AA80-76E51B89EF1C}"/>
                </a:ext>
              </a:extLst>
            </p:cNvPr>
            <p:cNvSpPr>
              <a:spLocks/>
            </p:cNvSpPr>
            <p:nvPr/>
          </p:nvSpPr>
          <p:spPr bwMode="auto">
            <a:xfrm>
              <a:off x="7031038" y="2687205"/>
              <a:ext cx="254000" cy="203200"/>
            </a:xfrm>
            <a:custGeom>
              <a:avLst/>
              <a:gdLst>
                <a:gd name="T0" fmla="*/ 0 w 123"/>
                <a:gd name="T1" fmla="*/ 40 h 98"/>
                <a:gd name="T2" fmla="*/ 67 w 123"/>
                <a:gd name="T3" fmla="*/ 12 h 98"/>
                <a:gd name="T4" fmla="*/ 123 w 123"/>
                <a:gd name="T5" fmla="*/ 87 h 98"/>
                <a:gd name="T6" fmla="*/ 56 w 123"/>
                <a:gd name="T7" fmla="*/ 93 h 98"/>
                <a:gd name="T8" fmla="*/ 0 w 123"/>
                <a:gd name="T9" fmla="*/ 41 h 98"/>
              </a:gdLst>
              <a:ahLst/>
              <a:cxnLst>
                <a:cxn ang="0">
                  <a:pos x="T0" y="T1"/>
                </a:cxn>
                <a:cxn ang="0">
                  <a:pos x="T2" y="T3"/>
                </a:cxn>
                <a:cxn ang="0">
                  <a:pos x="T4" y="T5"/>
                </a:cxn>
                <a:cxn ang="0">
                  <a:pos x="T6" y="T7"/>
                </a:cxn>
                <a:cxn ang="0">
                  <a:pos x="T8" y="T9"/>
                </a:cxn>
              </a:cxnLst>
              <a:rect l="0" t="0" r="r" b="b"/>
              <a:pathLst>
                <a:path w="123" h="98">
                  <a:moveTo>
                    <a:pt x="0" y="40"/>
                  </a:moveTo>
                  <a:cubicBezTo>
                    <a:pt x="11" y="10"/>
                    <a:pt x="42" y="0"/>
                    <a:pt x="67" y="12"/>
                  </a:cubicBezTo>
                  <a:cubicBezTo>
                    <a:pt x="92" y="24"/>
                    <a:pt x="111" y="54"/>
                    <a:pt x="123" y="87"/>
                  </a:cubicBezTo>
                  <a:cubicBezTo>
                    <a:pt x="101" y="93"/>
                    <a:pt x="79" y="98"/>
                    <a:pt x="56" y="93"/>
                  </a:cubicBezTo>
                  <a:cubicBezTo>
                    <a:pt x="33" y="88"/>
                    <a:pt x="10" y="70"/>
                    <a:pt x="0" y="41"/>
                  </a:cubicBezTo>
                </a:path>
              </a:pathLst>
            </a:custGeom>
            <a:solidFill>
              <a:srgbClr val="47B8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26" name="Freeform 283">
              <a:extLst>
                <a:ext uri="{FF2B5EF4-FFF2-40B4-BE49-F238E27FC236}">
                  <a16:creationId xmlns:a16="http://schemas.microsoft.com/office/drawing/2014/main" id="{82AEFB7A-488B-4D3B-9635-6E199232216D}"/>
                </a:ext>
              </a:extLst>
            </p:cNvPr>
            <p:cNvSpPr>
              <a:spLocks/>
            </p:cNvSpPr>
            <p:nvPr/>
          </p:nvSpPr>
          <p:spPr bwMode="auto">
            <a:xfrm>
              <a:off x="6653213" y="2461780"/>
              <a:ext cx="165100" cy="295275"/>
            </a:xfrm>
            <a:custGeom>
              <a:avLst/>
              <a:gdLst>
                <a:gd name="T0" fmla="*/ 47 w 80"/>
                <a:gd name="T1" fmla="*/ 143 h 143"/>
                <a:gd name="T2" fmla="*/ 3 w 80"/>
                <a:gd name="T3" fmla="*/ 82 h 143"/>
                <a:gd name="T4" fmla="*/ 51 w 80"/>
                <a:gd name="T5" fmla="*/ 0 h 143"/>
                <a:gd name="T6" fmla="*/ 77 w 80"/>
                <a:gd name="T7" fmla="*/ 68 h 143"/>
                <a:gd name="T8" fmla="*/ 48 w 80"/>
                <a:gd name="T9" fmla="*/ 143 h 143"/>
              </a:gdLst>
              <a:ahLst/>
              <a:cxnLst>
                <a:cxn ang="0">
                  <a:pos x="T0" y="T1"/>
                </a:cxn>
                <a:cxn ang="0">
                  <a:pos x="T2" y="T3"/>
                </a:cxn>
                <a:cxn ang="0">
                  <a:pos x="T4" y="T5"/>
                </a:cxn>
                <a:cxn ang="0">
                  <a:pos x="T6" y="T7"/>
                </a:cxn>
                <a:cxn ang="0">
                  <a:pos x="T8" y="T9"/>
                </a:cxn>
              </a:cxnLst>
              <a:rect l="0" t="0" r="r" b="b"/>
              <a:pathLst>
                <a:path w="80" h="143">
                  <a:moveTo>
                    <a:pt x="47" y="143"/>
                  </a:moveTo>
                  <a:cubicBezTo>
                    <a:pt x="17" y="140"/>
                    <a:pt x="0" y="111"/>
                    <a:pt x="3" y="82"/>
                  </a:cubicBezTo>
                  <a:cubicBezTo>
                    <a:pt x="6" y="52"/>
                    <a:pt x="26" y="23"/>
                    <a:pt x="51" y="0"/>
                  </a:cubicBezTo>
                  <a:cubicBezTo>
                    <a:pt x="63" y="21"/>
                    <a:pt x="75" y="43"/>
                    <a:pt x="77" y="68"/>
                  </a:cubicBezTo>
                  <a:cubicBezTo>
                    <a:pt x="80" y="94"/>
                    <a:pt x="71" y="124"/>
                    <a:pt x="48" y="143"/>
                  </a:cubicBezTo>
                </a:path>
              </a:pathLst>
            </a:custGeom>
            <a:solidFill>
              <a:schemeClr val="accent6">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27" name="Freeform 284">
              <a:extLst>
                <a:ext uri="{FF2B5EF4-FFF2-40B4-BE49-F238E27FC236}">
                  <a16:creationId xmlns:a16="http://schemas.microsoft.com/office/drawing/2014/main" id="{7FB9D920-07A6-4467-A3DD-CBAA44B7854E}"/>
                </a:ext>
              </a:extLst>
            </p:cNvPr>
            <p:cNvSpPr>
              <a:spLocks/>
            </p:cNvSpPr>
            <p:nvPr/>
          </p:nvSpPr>
          <p:spPr bwMode="auto">
            <a:xfrm>
              <a:off x="6791326" y="2817380"/>
              <a:ext cx="363538" cy="444500"/>
            </a:xfrm>
            <a:custGeom>
              <a:avLst/>
              <a:gdLst>
                <a:gd name="T0" fmla="*/ 5 w 175"/>
                <a:gd name="T1" fmla="*/ 39 h 215"/>
                <a:gd name="T2" fmla="*/ 132 w 175"/>
                <a:gd name="T3" fmla="*/ 48 h 215"/>
                <a:gd name="T4" fmla="*/ 171 w 175"/>
                <a:gd name="T5" fmla="*/ 215 h 215"/>
                <a:gd name="T6" fmla="*/ 59 w 175"/>
                <a:gd name="T7" fmla="*/ 171 h 215"/>
                <a:gd name="T8" fmla="*/ 4 w 175"/>
                <a:gd name="T9" fmla="*/ 40 h 215"/>
              </a:gdLst>
              <a:ahLst/>
              <a:cxnLst>
                <a:cxn ang="0">
                  <a:pos x="T0" y="T1"/>
                </a:cxn>
                <a:cxn ang="0">
                  <a:pos x="T2" y="T3"/>
                </a:cxn>
                <a:cxn ang="0">
                  <a:pos x="T4" y="T5"/>
                </a:cxn>
                <a:cxn ang="0">
                  <a:pos x="T6" y="T7"/>
                </a:cxn>
                <a:cxn ang="0">
                  <a:pos x="T8" y="T9"/>
                </a:cxn>
              </a:cxnLst>
              <a:rect l="0" t="0" r="r" b="b"/>
              <a:pathLst>
                <a:path w="175" h="215">
                  <a:moveTo>
                    <a:pt x="5" y="39"/>
                  </a:moveTo>
                  <a:cubicBezTo>
                    <a:pt x="45" y="0"/>
                    <a:pt x="100" y="9"/>
                    <a:pt x="132" y="48"/>
                  </a:cubicBezTo>
                  <a:cubicBezTo>
                    <a:pt x="163" y="88"/>
                    <a:pt x="175" y="152"/>
                    <a:pt x="171" y="215"/>
                  </a:cubicBezTo>
                  <a:cubicBezTo>
                    <a:pt x="132" y="206"/>
                    <a:pt x="92" y="197"/>
                    <a:pt x="59" y="171"/>
                  </a:cubicBezTo>
                  <a:cubicBezTo>
                    <a:pt x="25" y="144"/>
                    <a:pt x="0" y="96"/>
                    <a:pt x="4" y="40"/>
                  </a:cubicBezTo>
                </a:path>
              </a:pathLst>
            </a:custGeom>
            <a:solidFill>
              <a:schemeClr val="accent6">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28" name="Oval 285">
              <a:extLst>
                <a:ext uri="{FF2B5EF4-FFF2-40B4-BE49-F238E27FC236}">
                  <a16:creationId xmlns:a16="http://schemas.microsoft.com/office/drawing/2014/main" id="{F5B1CD9C-D842-4E33-92D1-C8698F356590}"/>
                </a:ext>
              </a:extLst>
            </p:cNvPr>
            <p:cNvSpPr>
              <a:spLocks noChangeArrowheads="1"/>
            </p:cNvSpPr>
            <p:nvPr/>
          </p:nvSpPr>
          <p:spPr bwMode="auto">
            <a:xfrm>
              <a:off x="6091238" y="6425768"/>
              <a:ext cx="292100" cy="293687"/>
            </a:xfrm>
            <a:prstGeom prst="ellipse">
              <a:avLst/>
            </a:prstGeom>
            <a:solidFill>
              <a:schemeClr val="accent6"/>
            </a:solidFill>
            <a:ln w="58738"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29" name="Freeform 286">
              <a:extLst>
                <a:ext uri="{FF2B5EF4-FFF2-40B4-BE49-F238E27FC236}">
                  <a16:creationId xmlns:a16="http://schemas.microsoft.com/office/drawing/2014/main" id="{C634DBFA-FE09-403F-BCAF-2F53FE9B0F52}"/>
                </a:ext>
              </a:extLst>
            </p:cNvPr>
            <p:cNvSpPr>
              <a:spLocks/>
            </p:cNvSpPr>
            <p:nvPr/>
          </p:nvSpPr>
          <p:spPr bwMode="auto">
            <a:xfrm>
              <a:off x="6754813" y="4022293"/>
              <a:ext cx="333375" cy="333375"/>
            </a:xfrm>
            <a:custGeom>
              <a:avLst/>
              <a:gdLst>
                <a:gd name="T0" fmla="*/ 52 w 161"/>
                <a:gd name="T1" fmla="*/ 146 h 161"/>
                <a:gd name="T2" fmla="*/ 15 w 161"/>
                <a:gd name="T3" fmla="*/ 52 h 161"/>
                <a:gd name="T4" fmla="*/ 108 w 161"/>
                <a:gd name="T5" fmla="*/ 16 h 161"/>
                <a:gd name="T6" fmla="*/ 145 w 161"/>
                <a:gd name="T7" fmla="*/ 109 h 161"/>
                <a:gd name="T8" fmla="*/ 52 w 161"/>
                <a:gd name="T9" fmla="*/ 146 h 161"/>
              </a:gdLst>
              <a:ahLst/>
              <a:cxnLst>
                <a:cxn ang="0">
                  <a:pos x="T0" y="T1"/>
                </a:cxn>
                <a:cxn ang="0">
                  <a:pos x="T2" y="T3"/>
                </a:cxn>
                <a:cxn ang="0">
                  <a:pos x="T4" y="T5"/>
                </a:cxn>
                <a:cxn ang="0">
                  <a:pos x="T6" y="T7"/>
                </a:cxn>
                <a:cxn ang="0">
                  <a:pos x="T8" y="T9"/>
                </a:cxn>
              </a:cxnLst>
              <a:rect l="0" t="0" r="r" b="b"/>
              <a:pathLst>
                <a:path w="161" h="161">
                  <a:moveTo>
                    <a:pt x="52" y="146"/>
                  </a:moveTo>
                  <a:cubicBezTo>
                    <a:pt x="16" y="130"/>
                    <a:pt x="0" y="88"/>
                    <a:pt x="15" y="52"/>
                  </a:cubicBezTo>
                  <a:cubicBezTo>
                    <a:pt x="31" y="16"/>
                    <a:pt x="73" y="0"/>
                    <a:pt x="108" y="16"/>
                  </a:cubicBezTo>
                  <a:cubicBezTo>
                    <a:pt x="144" y="31"/>
                    <a:pt x="161" y="73"/>
                    <a:pt x="145" y="109"/>
                  </a:cubicBezTo>
                  <a:cubicBezTo>
                    <a:pt x="130" y="145"/>
                    <a:pt x="88" y="161"/>
                    <a:pt x="52" y="146"/>
                  </a:cubicBezTo>
                  <a:close/>
                </a:path>
              </a:pathLst>
            </a:custGeom>
            <a:solidFill>
              <a:schemeClr val="accent4"/>
            </a:solidFill>
            <a:ln w="58738"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30" name="Oval 287">
              <a:extLst>
                <a:ext uri="{FF2B5EF4-FFF2-40B4-BE49-F238E27FC236}">
                  <a16:creationId xmlns:a16="http://schemas.microsoft.com/office/drawing/2014/main" id="{55DBEA82-4F46-4EA7-84EE-BFC371CF7393}"/>
                </a:ext>
              </a:extLst>
            </p:cNvPr>
            <p:cNvSpPr>
              <a:spLocks noChangeArrowheads="1"/>
            </p:cNvSpPr>
            <p:nvPr/>
          </p:nvSpPr>
          <p:spPr bwMode="auto">
            <a:xfrm>
              <a:off x="5942013" y="4903355"/>
              <a:ext cx="293688" cy="292100"/>
            </a:xfrm>
            <a:prstGeom prst="ellipse">
              <a:avLst/>
            </a:prstGeom>
            <a:solidFill>
              <a:schemeClr val="accent5"/>
            </a:solidFill>
            <a:ln w="58738"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31" name="Oval 288">
              <a:extLst>
                <a:ext uri="{FF2B5EF4-FFF2-40B4-BE49-F238E27FC236}">
                  <a16:creationId xmlns:a16="http://schemas.microsoft.com/office/drawing/2014/main" id="{E5ECB1D7-4DF7-4F07-AC2B-9357791521F7}"/>
                </a:ext>
              </a:extLst>
            </p:cNvPr>
            <p:cNvSpPr>
              <a:spLocks noChangeArrowheads="1"/>
            </p:cNvSpPr>
            <p:nvPr/>
          </p:nvSpPr>
          <p:spPr bwMode="auto">
            <a:xfrm>
              <a:off x="5942013" y="3423805"/>
              <a:ext cx="293688" cy="293687"/>
            </a:xfrm>
            <a:prstGeom prst="ellipse">
              <a:avLst/>
            </a:prstGeom>
            <a:solidFill>
              <a:schemeClr val="accent3"/>
            </a:solidFill>
            <a:ln w="58738"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32" name="Oval 289">
              <a:extLst>
                <a:ext uri="{FF2B5EF4-FFF2-40B4-BE49-F238E27FC236}">
                  <a16:creationId xmlns:a16="http://schemas.microsoft.com/office/drawing/2014/main" id="{A2538A3C-0A45-48AB-909D-19020CCC2AA9}"/>
                </a:ext>
              </a:extLst>
            </p:cNvPr>
            <p:cNvSpPr>
              <a:spLocks noChangeArrowheads="1"/>
            </p:cNvSpPr>
            <p:nvPr/>
          </p:nvSpPr>
          <p:spPr bwMode="auto">
            <a:xfrm>
              <a:off x="6675438" y="2649105"/>
              <a:ext cx="295275" cy="292100"/>
            </a:xfrm>
            <a:prstGeom prst="ellipse">
              <a:avLst/>
            </a:prstGeom>
            <a:solidFill>
              <a:schemeClr val="accent2"/>
            </a:solidFill>
            <a:ln w="58738"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33" name="Oval 290">
              <a:extLst>
                <a:ext uri="{FF2B5EF4-FFF2-40B4-BE49-F238E27FC236}">
                  <a16:creationId xmlns:a16="http://schemas.microsoft.com/office/drawing/2014/main" id="{740497A7-4761-430E-BEF7-951B028842D5}"/>
                </a:ext>
              </a:extLst>
            </p:cNvPr>
            <p:cNvSpPr>
              <a:spLocks noChangeArrowheads="1"/>
            </p:cNvSpPr>
            <p:nvPr/>
          </p:nvSpPr>
          <p:spPr bwMode="auto">
            <a:xfrm>
              <a:off x="5984876" y="1599768"/>
              <a:ext cx="292100" cy="293687"/>
            </a:xfrm>
            <a:prstGeom prst="ellipse">
              <a:avLst/>
            </a:prstGeom>
            <a:solidFill>
              <a:schemeClr val="accent1"/>
            </a:solidFill>
            <a:ln w="58738"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grpSp>
      <p:cxnSp>
        <p:nvCxnSpPr>
          <p:cNvPr id="34" name="Connector: Elbow 38">
            <a:extLst>
              <a:ext uri="{FF2B5EF4-FFF2-40B4-BE49-F238E27FC236}">
                <a16:creationId xmlns:a16="http://schemas.microsoft.com/office/drawing/2014/main" id="{6F1B3B56-AE07-4162-82D7-3BEA0EDE308D}"/>
              </a:ext>
            </a:extLst>
          </p:cNvPr>
          <p:cNvCxnSpPr>
            <a:cxnSpLocks/>
            <a:stCxn id="33" idx="1"/>
          </p:cNvCxnSpPr>
          <p:nvPr/>
        </p:nvCxnSpPr>
        <p:spPr>
          <a:xfrm rot="16200000" flipV="1">
            <a:off x="4926959" y="830148"/>
            <a:ext cx="238799" cy="1970469"/>
          </a:xfrm>
          <a:prstGeom prst="bentConnector2">
            <a:avLst/>
          </a:prstGeom>
          <a:ln w="28575">
            <a:solidFill>
              <a:schemeClr val="bg1">
                <a:lumMod val="65000"/>
              </a:schemeClr>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35" name="TextBox 36">
            <a:extLst>
              <a:ext uri="{FF2B5EF4-FFF2-40B4-BE49-F238E27FC236}">
                <a16:creationId xmlns:a16="http://schemas.microsoft.com/office/drawing/2014/main" id="{43FDB260-C203-4D5D-9B02-C1B57DAFF619}"/>
              </a:ext>
            </a:extLst>
          </p:cNvPr>
          <p:cNvSpPr txBox="1"/>
          <p:nvPr/>
        </p:nvSpPr>
        <p:spPr>
          <a:xfrm>
            <a:off x="1015108" y="1571540"/>
            <a:ext cx="2864179" cy="307777"/>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lumMod val="85000"/>
                    <a:lumOff val="15000"/>
                  </a:srgbClr>
                </a:solidFill>
                <a:effectLst/>
                <a:uLnTx/>
                <a:uFillTx/>
                <a:latin typeface="等线 Light" panose="020F0302020204030204"/>
                <a:ea typeface="+mn-ea"/>
                <a:cs typeface="+mn-cs"/>
              </a:rPr>
              <a:t>Insert Your Text Here</a:t>
            </a:r>
          </a:p>
        </p:txBody>
      </p:sp>
      <p:sp>
        <p:nvSpPr>
          <p:cNvPr id="36" name="Rectangle 37">
            <a:extLst>
              <a:ext uri="{FF2B5EF4-FFF2-40B4-BE49-F238E27FC236}">
                <a16:creationId xmlns:a16="http://schemas.microsoft.com/office/drawing/2014/main" id="{9B07DEDD-4F53-4FB2-ABE3-0F9907BA0134}"/>
              </a:ext>
            </a:extLst>
          </p:cNvPr>
          <p:cNvSpPr/>
          <p:nvPr/>
        </p:nvSpPr>
        <p:spPr>
          <a:xfrm>
            <a:off x="1528197" y="1868058"/>
            <a:ext cx="2351088" cy="827021"/>
          </a:xfrm>
          <a:prstGeom prst="rect">
            <a:avLst/>
          </a:prstGeom>
        </p:spPr>
        <p:txBody>
          <a:bodyPr wrap="square">
            <a:spAutoFit/>
          </a:bodyPr>
          <a:lstStyle/>
          <a:p>
            <a:pPr marL="0" marR="0" lvl="0" indent="0" algn="r" defTabSz="914400" rtl="0" eaLnBrk="1" fontAlgn="auto" latinLnBrk="0" hangingPunct="1">
              <a:lnSpc>
                <a:spcPct val="15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lumMod val="50000"/>
                    <a:lumOff val="50000"/>
                  </a:srgbClr>
                </a:solidFill>
                <a:effectLst/>
                <a:uLnTx/>
                <a:uFillTx/>
                <a:latin typeface="等线" panose="020F0502020204030204"/>
                <a:ea typeface="+mn-ea"/>
                <a:cs typeface="+mn-cs"/>
              </a:rPr>
              <a:t>Lorem Ipsum is simply dummy text of the printing and typesetting industry. </a:t>
            </a:r>
          </a:p>
        </p:txBody>
      </p:sp>
      <p:sp>
        <p:nvSpPr>
          <p:cNvPr id="37" name="TextBox 40">
            <a:extLst>
              <a:ext uri="{FF2B5EF4-FFF2-40B4-BE49-F238E27FC236}">
                <a16:creationId xmlns:a16="http://schemas.microsoft.com/office/drawing/2014/main" id="{32012D5E-C5FE-44B8-BFB4-493BA1B48EA8}"/>
              </a:ext>
            </a:extLst>
          </p:cNvPr>
          <p:cNvSpPr txBox="1"/>
          <p:nvPr/>
        </p:nvSpPr>
        <p:spPr>
          <a:xfrm>
            <a:off x="1015108" y="3034412"/>
            <a:ext cx="2864179" cy="307777"/>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lumMod val="85000"/>
                    <a:lumOff val="15000"/>
                  </a:srgbClr>
                </a:solidFill>
                <a:effectLst/>
                <a:uLnTx/>
                <a:uFillTx/>
                <a:latin typeface="等线 Light" panose="020F0302020204030204"/>
                <a:ea typeface="+mn-ea"/>
                <a:cs typeface="+mn-cs"/>
              </a:rPr>
              <a:t>Insert Your Text Here</a:t>
            </a:r>
          </a:p>
        </p:txBody>
      </p:sp>
      <p:sp>
        <p:nvSpPr>
          <p:cNvPr id="38" name="Rectangle 41">
            <a:extLst>
              <a:ext uri="{FF2B5EF4-FFF2-40B4-BE49-F238E27FC236}">
                <a16:creationId xmlns:a16="http://schemas.microsoft.com/office/drawing/2014/main" id="{BE83A6F3-668B-472B-973D-B072BC972B2F}"/>
              </a:ext>
            </a:extLst>
          </p:cNvPr>
          <p:cNvSpPr/>
          <p:nvPr/>
        </p:nvSpPr>
        <p:spPr>
          <a:xfrm>
            <a:off x="1528197" y="3330930"/>
            <a:ext cx="2351088" cy="827021"/>
          </a:xfrm>
          <a:prstGeom prst="rect">
            <a:avLst/>
          </a:prstGeom>
        </p:spPr>
        <p:txBody>
          <a:bodyPr wrap="square">
            <a:spAutoFit/>
          </a:bodyPr>
          <a:lstStyle/>
          <a:p>
            <a:pPr marL="0" marR="0" lvl="0" indent="0" algn="r" defTabSz="914400" rtl="0" eaLnBrk="1" fontAlgn="auto" latinLnBrk="0" hangingPunct="1">
              <a:lnSpc>
                <a:spcPct val="15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lumMod val="50000"/>
                    <a:lumOff val="50000"/>
                  </a:srgbClr>
                </a:solidFill>
                <a:effectLst/>
                <a:uLnTx/>
                <a:uFillTx/>
                <a:latin typeface="等线" panose="020F0502020204030204"/>
                <a:ea typeface="+mn-ea"/>
                <a:cs typeface="+mn-cs"/>
              </a:rPr>
              <a:t>Lorem Ipsum is simply dummy text of the printing and typesetting industry. </a:t>
            </a:r>
          </a:p>
        </p:txBody>
      </p:sp>
      <p:sp>
        <p:nvSpPr>
          <p:cNvPr id="39" name="TextBox 44">
            <a:extLst>
              <a:ext uri="{FF2B5EF4-FFF2-40B4-BE49-F238E27FC236}">
                <a16:creationId xmlns:a16="http://schemas.microsoft.com/office/drawing/2014/main" id="{708FDD24-5143-41D0-8315-203B3BE6D9F3}"/>
              </a:ext>
            </a:extLst>
          </p:cNvPr>
          <p:cNvSpPr txBox="1"/>
          <p:nvPr/>
        </p:nvSpPr>
        <p:spPr>
          <a:xfrm>
            <a:off x="8526257" y="3300645"/>
            <a:ext cx="2864179"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lumMod val="85000"/>
                    <a:lumOff val="15000"/>
                  </a:srgbClr>
                </a:solidFill>
                <a:effectLst/>
                <a:uLnTx/>
                <a:uFillTx/>
                <a:latin typeface="等线 Light" panose="020F0302020204030204"/>
                <a:ea typeface="+mn-ea"/>
                <a:cs typeface="+mn-cs"/>
              </a:rPr>
              <a:t>Insert Your Text Here</a:t>
            </a:r>
          </a:p>
        </p:txBody>
      </p:sp>
      <p:sp>
        <p:nvSpPr>
          <p:cNvPr id="40" name="Rectangle 45">
            <a:extLst>
              <a:ext uri="{FF2B5EF4-FFF2-40B4-BE49-F238E27FC236}">
                <a16:creationId xmlns:a16="http://schemas.microsoft.com/office/drawing/2014/main" id="{9169B9E6-C0C7-46CD-88CB-3519EE443B98}"/>
              </a:ext>
            </a:extLst>
          </p:cNvPr>
          <p:cNvSpPr/>
          <p:nvPr/>
        </p:nvSpPr>
        <p:spPr>
          <a:xfrm>
            <a:off x="8526259" y="3597164"/>
            <a:ext cx="2354263" cy="827021"/>
          </a:xfrm>
          <a:prstGeom prst="rect">
            <a:avLst/>
          </a:prstGeom>
        </p:spPr>
        <p:txBody>
          <a:bodyPr wrap="square">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lumMod val="50000"/>
                    <a:lumOff val="50000"/>
                  </a:srgbClr>
                </a:solidFill>
                <a:effectLst/>
                <a:uLnTx/>
                <a:uFillTx/>
                <a:latin typeface="等线" panose="020F0502020204030204"/>
                <a:ea typeface="+mn-ea"/>
                <a:cs typeface="+mn-cs"/>
              </a:rPr>
              <a:t>Lorem Ipsum is simply dummy text of the printing and typesetting industry. </a:t>
            </a:r>
          </a:p>
        </p:txBody>
      </p:sp>
      <p:sp>
        <p:nvSpPr>
          <p:cNvPr id="41" name="TextBox 46">
            <a:extLst>
              <a:ext uri="{FF2B5EF4-FFF2-40B4-BE49-F238E27FC236}">
                <a16:creationId xmlns:a16="http://schemas.microsoft.com/office/drawing/2014/main" id="{8DE70624-4675-4E16-A785-C6E667E0023B}"/>
              </a:ext>
            </a:extLst>
          </p:cNvPr>
          <p:cNvSpPr txBox="1"/>
          <p:nvPr/>
        </p:nvSpPr>
        <p:spPr>
          <a:xfrm>
            <a:off x="8526257" y="1858093"/>
            <a:ext cx="2864179"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lumMod val="85000"/>
                    <a:lumOff val="15000"/>
                  </a:srgbClr>
                </a:solidFill>
                <a:effectLst/>
                <a:uLnTx/>
                <a:uFillTx/>
                <a:latin typeface="等线 Light" panose="020F0302020204030204"/>
                <a:ea typeface="+mn-ea"/>
                <a:cs typeface="+mn-cs"/>
              </a:rPr>
              <a:t>Insert Your Text Here</a:t>
            </a:r>
          </a:p>
        </p:txBody>
      </p:sp>
      <p:sp>
        <p:nvSpPr>
          <p:cNvPr id="42" name="Rectangle 47">
            <a:extLst>
              <a:ext uri="{FF2B5EF4-FFF2-40B4-BE49-F238E27FC236}">
                <a16:creationId xmlns:a16="http://schemas.microsoft.com/office/drawing/2014/main" id="{4F8686AD-9FFE-4C10-B677-3EE93675137F}"/>
              </a:ext>
            </a:extLst>
          </p:cNvPr>
          <p:cNvSpPr/>
          <p:nvPr/>
        </p:nvSpPr>
        <p:spPr>
          <a:xfrm>
            <a:off x="8526259" y="2154610"/>
            <a:ext cx="2354263" cy="827021"/>
          </a:xfrm>
          <a:prstGeom prst="rect">
            <a:avLst/>
          </a:prstGeom>
        </p:spPr>
        <p:txBody>
          <a:bodyPr wrap="square">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lumMod val="50000"/>
                    <a:lumOff val="50000"/>
                  </a:srgbClr>
                </a:solidFill>
                <a:effectLst/>
                <a:uLnTx/>
                <a:uFillTx/>
                <a:latin typeface="等线" panose="020F0502020204030204"/>
                <a:ea typeface="+mn-ea"/>
                <a:cs typeface="+mn-cs"/>
              </a:rPr>
              <a:t>Lorem Ipsum is simply dummy text of the printing and typesetting industry. </a:t>
            </a:r>
          </a:p>
        </p:txBody>
      </p:sp>
      <p:cxnSp>
        <p:nvCxnSpPr>
          <p:cNvPr id="43" name="Connector: Elbow 48">
            <a:extLst>
              <a:ext uri="{FF2B5EF4-FFF2-40B4-BE49-F238E27FC236}">
                <a16:creationId xmlns:a16="http://schemas.microsoft.com/office/drawing/2014/main" id="{A5DEEBFD-A340-4063-8624-B6DEA1DA3868}"/>
              </a:ext>
            </a:extLst>
          </p:cNvPr>
          <p:cNvCxnSpPr>
            <a:cxnSpLocks/>
            <a:stCxn id="30" idx="2"/>
          </p:cNvCxnSpPr>
          <p:nvPr/>
        </p:nvCxnSpPr>
        <p:spPr>
          <a:xfrm rot="10800000">
            <a:off x="4061121" y="4685196"/>
            <a:ext cx="1890000" cy="450472"/>
          </a:xfrm>
          <a:prstGeom prst="bentConnector3">
            <a:avLst>
              <a:gd name="adj1" fmla="val 50000"/>
            </a:avLst>
          </a:prstGeom>
          <a:ln w="28575">
            <a:solidFill>
              <a:schemeClr val="bg1">
                <a:lumMod val="65000"/>
              </a:schemeClr>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44" name="TextBox 49">
            <a:extLst>
              <a:ext uri="{FF2B5EF4-FFF2-40B4-BE49-F238E27FC236}">
                <a16:creationId xmlns:a16="http://schemas.microsoft.com/office/drawing/2014/main" id="{9CECDB3B-4A5F-4510-837A-C2D0573A4969}"/>
              </a:ext>
            </a:extLst>
          </p:cNvPr>
          <p:cNvSpPr txBox="1"/>
          <p:nvPr/>
        </p:nvSpPr>
        <p:spPr>
          <a:xfrm>
            <a:off x="1015108" y="4541408"/>
            <a:ext cx="2864179" cy="307777"/>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lumMod val="85000"/>
                    <a:lumOff val="15000"/>
                  </a:srgbClr>
                </a:solidFill>
                <a:effectLst/>
                <a:uLnTx/>
                <a:uFillTx/>
                <a:latin typeface="等线 Light" panose="020F0302020204030204"/>
                <a:ea typeface="+mn-ea"/>
                <a:cs typeface="+mn-cs"/>
              </a:rPr>
              <a:t>Insert Your Text Here</a:t>
            </a:r>
          </a:p>
        </p:txBody>
      </p:sp>
      <p:sp>
        <p:nvSpPr>
          <p:cNvPr id="45" name="Rectangle 50">
            <a:extLst>
              <a:ext uri="{FF2B5EF4-FFF2-40B4-BE49-F238E27FC236}">
                <a16:creationId xmlns:a16="http://schemas.microsoft.com/office/drawing/2014/main" id="{3DAF365F-9ADA-4A35-8AFD-30E647CB4EB7}"/>
              </a:ext>
            </a:extLst>
          </p:cNvPr>
          <p:cNvSpPr/>
          <p:nvPr/>
        </p:nvSpPr>
        <p:spPr>
          <a:xfrm>
            <a:off x="1528197" y="4837926"/>
            <a:ext cx="2351088" cy="827021"/>
          </a:xfrm>
          <a:prstGeom prst="rect">
            <a:avLst/>
          </a:prstGeom>
        </p:spPr>
        <p:txBody>
          <a:bodyPr wrap="square">
            <a:spAutoFit/>
          </a:bodyPr>
          <a:lstStyle/>
          <a:p>
            <a:pPr marL="0" marR="0" lvl="0" indent="0" algn="r" defTabSz="914400" rtl="0" eaLnBrk="1" fontAlgn="auto" latinLnBrk="0" hangingPunct="1">
              <a:lnSpc>
                <a:spcPct val="15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lumMod val="50000"/>
                    <a:lumOff val="50000"/>
                  </a:srgbClr>
                </a:solidFill>
                <a:effectLst/>
                <a:uLnTx/>
                <a:uFillTx/>
                <a:latin typeface="等线" panose="020F0502020204030204"/>
                <a:ea typeface="+mn-ea"/>
                <a:cs typeface="+mn-cs"/>
              </a:rPr>
              <a:t>Lorem Ipsum is simply dummy text of the printing and typesetting industry. </a:t>
            </a:r>
          </a:p>
        </p:txBody>
      </p:sp>
      <p:sp>
        <p:nvSpPr>
          <p:cNvPr id="46" name="TextBox 55">
            <a:extLst>
              <a:ext uri="{FF2B5EF4-FFF2-40B4-BE49-F238E27FC236}">
                <a16:creationId xmlns:a16="http://schemas.microsoft.com/office/drawing/2014/main" id="{BFC43F8C-4B15-40F4-B5AA-376A35358D5E}"/>
              </a:ext>
            </a:extLst>
          </p:cNvPr>
          <p:cNvSpPr txBox="1"/>
          <p:nvPr/>
        </p:nvSpPr>
        <p:spPr>
          <a:xfrm>
            <a:off x="8889113" y="5118540"/>
            <a:ext cx="2864179"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lumMod val="85000"/>
                    <a:lumOff val="15000"/>
                  </a:srgbClr>
                </a:solidFill>
                <a:effectLst/>
                <a:uLnTx/>
                <a:uFillTx/>
                <a:latin typeface="等线 Light" panose="020F0302020204030204"/>
                <a:ea typeface="+mn-ea"/>
                <a:cs typeface="+mn-cs"/>
              </a:rPr>
              <a:t>Insert Your Text Here</a:t>
            </a:r>
          </a:p>
        </p:txBody>
      </p:sp>
      <p:sp>
        <p:nvSpPr>
          <p:cNvPr id="47" name="Rectangle 56">
            <a:extLst>
              <a:ext uri="{FF2B5EF4-FFF2-40B4-BE49-F238E27FC236}">
                <a16:creationId xmlns:a16="http://schemas.microsoft.com/office/drawing/2014/main" id="{254DF90A-F9A9-4337-BD01-DB4135C7DC51}"/>
              </a:ext>
            </a:extLst>
          </p:cNvPr>
          <p:cNvSpPr/>
          <p:nvPr/>
        </p:nvSpPr>
        <p:spPr>
          <a:xfrm>
            <a:off x="8889115" y="5415058"/>
            <a:ext cx="2354263" cy="827021"/>
          </a:xfrm>
          <a:prstGeom prst="rect">
            <a:avLst/>
          </a:prstGeom>
        </p:spPr>
        <p:txBody>
          <a:bodyPr wrap="square">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lumMod val="50000"/>
                    <a:lumOff val="50000"/>
                  </a:srgbClr>
                </a:solidFill>
                <a:effectLst/>
                <a:uLnTx/>
                <a:uFillTx/>
                <a:latin typeface="等线" panose="020F0502020204030204"/>
                <a:ea typeface="+mn-ea"/>
                <a:cs typeface="+mn-cs"/>
              </a:rPr>
              <a:t>Lorem Ipsum is simply dummy text of the printing and typesetting industry. </a:t>
            </a:r>
          </a:p>
        </p:txBody>
      </p:sp>
      <p:sp>
        <p:nvSpPr>
          <p:cNvPr id="48" name="TextBox 68">
            <a:extLst>
              <a:ext uri="{FF2B5EF4-FFF2-40B4-BE49-F238E27FC236}">
                <a16:creationId xmlns:a16="http://schemas.microsoft.com/office/drawing/2014/main" id="{3614C0F3-D54E-4EE6-A38A-265512BB4E41}"/>
              </a:ext>
            </a:extLst>
          </p:cNvPr>
          <p:cNvSpPr txBox="1"/>
          <p:nvPr/>
        </p:nvSpPr>
        <p:spPr>
          <a:xfrm>
            <a:off x="3120983" y="560674"/>
            <a:ext cx="5950039"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000000">
                    <a:lumMod val="85000"/>
                    <a:lumOff val="15000"/>
                  </a:srgbClr>
                </a:solidFill>
                <a:effectLst/>
                <a:uLnTx/>
                <a:uFillTx/>
                <a:latin typeface="等线 Light" panose="020F0302020204030204"/>
                <a:ea typeface="+mn-ea"/>
                <a:cs typeface="+mn-cs"/>
              </a:rPr>
              <a:t>INFOGRAPHIC</a:t>
            </a:r>
            <a:r>
              <a:rPr kumimoji="0" lang="en-US" sz="3200" b="1" i="0" u="none" strike="noStrike" kern="1200" cap="none" spc="0" normalizeH="0" baseline="0" noProof="0" dirty="0">
                <a:ln>
                  <a:noFill/>
                </a:ln>
                <a:solidFill>
                  <a:srgbClr val="000000">
                    <a:lumMod val="85000"/>
                    <a:lumOff val="15000"/>
                  </a:srgbClr>
                </a:solidFill>
                <a:effectLst/>
                <a:uLnTx/>
                <a:uFillTx/>
                <a:latin typeface="等线" panose="020F0502020204030204"/>
                <a:ea typeface="+mn-ea"/>
                <a:cs typeface="+mn-cs"/>
              </a:rPr>
              <a:t> </a:t>
            </a:r>
            <a:r>
              <a:rPr kumimoji="0" lang="en-US" sz="3200" b="1" i="0" u="none" strike="noStrike" kern="1200" cap="none" spc="0" normalizeH="0" baseline="0" noProof="0" dirty="0">
                <a:ln>
                  <a:noFill/>
                </a:ln>
                <a:solidFill>
                  <a:srgbClr val="000000">
                    <a:lumMod val="85000"/>
                    <a:lumOff val="15000"/>
                  </a:srgbClr>
                </a:solidFill>
                <a:effectLst/>
                <a:uLnTx/>
                <a:uFillTx/>
                <a:latin typeface="等线 Light" panose="020F0302020204030204"/>
                <a:ea typeface="+mn-ea"/>
                <a:cs typeface="+mn-cs"/>
              </a:rPr>
              <a:t>TREE</a:t>
            </a:r>
          </a:p>
        </p:txBody>
      </p:sp>
    </p:spTree>
    <p:extLst>
      <p:ext uri="{BB962C8B-B14F-4D97-AF65-F5344CB8AC3E}">
        <p14:creationId xmlns:p14="http://schemas.microsoft.com/office/powerpoint/2010/main" val="1229110759"/>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37" fill="hold" grpId="0" nodeType="afterEffect">
                                  <p:stCondLst>
                                    <p:cond delay="0"/>
                                  </p:stCondLst>
                                  <p:childTnLst>
                                    <p:set>
                                      <p:cBhvr>
                                        <p:cTn id="6" dur="1" fill="hold">
                                          <p:stCondLst>
                                            <p:cond delay="0"/>
                                          </p:stCondLst>
                                        </p:cTn>
                                        <p:tgtEl>
                                          <p:spTgt spid="48"/>
                                        </p:tgtEl>
                                        <p:attrNameLst>
                                          <p:attrName>style.visibility</p:attrName>
                                        </p:attrNameLst>
                                      </p:cBhvr>
                                      <p:to>
                                        <p:strVal val="visible"/>
                                      </p:to>
                                    </p:set>
                                    <p:animEffect transition="in" filter="barn(outVertical)">
                                      <p:cBhvr>
                                        <p:cTn id="7" dur="500"/>
                                        <p:tgtEl>
                                          <p:spTgt spid="48"/>
                                        </p:tgtEl>
                                      </p:cBhvr>
                                    </p:animEffect>
                                  </p:childTnLst>
                                </p:cTn>
                              </p:par>
                            </p:childTnLst>
                          </p:cTn>
                        </p:par>
                        <p:par>
                          <p:cTn id="8" fill="hold">
                            <p:stCondLst>
                              <p:cond delay="500"/>
                            </p:stCondLst>
                            <p:childTnLst>
                              <p:par>
                                <p:cTn id="9" presetID="22" presetClass="entr" presetSubtype="4" fill="hold" nodeType="afterEffect">
                                  <p:stCondLst>
                                    <p:cond delay="0"/>
                                  </p:stCondLst>
                                  <p:childTnLst>
                                    <p:set>
                                      <p:cBhvr>
                                        <p:cTn id="10" dur="1" fill="hold">
                                          <p:stCondLst>
                                            <p:cond delay="0"/>
                                          </p:stCondLst>
                                        </p:cTn>
                                        <p:tgtEl>
                                          <p:spTgt spid="6"/>
                                        </p:tgtEl>
                                        <p:attrNameLst>
                                          <p:attrName>style.visibility</p:attrName>
                                        </p:attrNameLst>
                                      </p:cBhvr>
                                      <p:to>
                                        <p:strVal val="visible"/>
                                      </p:to>
                                    </p:set>
                                    <p:animEffect transition="in" filter="wipe(down)">
                                      <p:cBhvr>
                                        <p:cTn id="11" dur="500"/>
                                        <p:tgtEl>
                                          <p:spTgt spid="6"/>
                                        </p:tgtEl>
                                      </p:cBhvr>
                                    </p:animEffect>
                                  </p:childTnLst>
                                </p:cTn>
                              </p:par>
                            </p:childTnLst>
                          </p:cTn>
                        </p:par>
                        <p:par>
                          <p:cTn id="12" fill="hold">
                            <p:stCondLst>
                              <p:cond delay="1000"/>
                            </p:stCondLst>
                            <p:childTnLst>
                              <p:par>
                                <p:cTn id="13" presetID="22" presetClass="entr" presetSubtype="2" fill="hold" nodeType="afterEffect">
                                  <p:stCondLst>
                                    <p:cond delay="0"/>
                                  </p:stCondLst>
                                  <p:childTnLst>
                                    <p:set>
                                      <p:cBhvr>
                                        <p:cTn id="14" dur="1" fill="hold">
                                          <p:stCondLst>
                                            <p:cond delay="0"/>
                                          </p:stCondLst>
                                        </p:cTn>
                                        <p:tgtEl>
                                          <p:spTgt spid="34"/>
                                        </p:tgtEl>
                                        <p:attrNameLst>
                                          <p:attrName>style.visibility</p:attrName>
                                        </p:attrNameLst>
                                      </p:cBhvr>
                                      <p:to>
                                        <p:strVal val="visible"/>
                                      </p:to>
                                    </p:set>
                                    <p:animEffect transition="in" filter="wipe(right)">
                                      <p:cBhvr>
                                        <p:cTn id="15" dur="500"/>
                                        <p:tgtEl>
                                          <p:spTgt spid="34"/>
                                        </p:tgtEl>
                                      </p:cBhvr>
                                    </p:animEffect>
                                  </p:childTnLst>
                                </p:cTn>
                              </p:par>
                            </p:childTnLst>
                          </p:cTn>
                        </p:par>
                        <p:par>
                          <p:cTn id="16" fill="hold">
                            <p:stCondLst>
                              <p:cond delay="1500"/>
                            </p:stCondLst>
                            <p:childTnLst>
                              <p:par>
                                <p:cTn id="17" presetID="22" presetClass="entr" presetSubtype="2" fill="hold" grpId="0" nodeType="afterEffect">
                                  <p:stCondLst>
                                    <p:cond delay="0"/>
                                  </p:stCondLst>
                                  <p:childTnLst>
                                    <p:set>
                                      <p:cBhvr>
                                        <p:cTn id="18" dur="1" fill="hold">
                                          <p:stCondLst>
                                            <p:cond delay="0"/>
                                          </p:stCondLst>
                                        </p:cTn>
                                        <p:tgtEl>
                                          <p:spTgt spid="35"/>
                                        </p:tgtEl>
                                        <p:attrNameLst>
                                          <p:attrName>style.visibility</p:attrName>
                                        </p:attrNameLst>
                                      </p:cBhvr>
                                      <p:to>
                                        <p:strVal val="visible"/>
                                      </p:to>
                                    </p:set>
                                    <p:animEffect transition="in" filter="wipe(right)">
                                      <p:cBhvr>
                                        <p:cTn id="19" dur="500"/>
                                        <p:tgtEl>
                                          <p:spTgt spid="35"/>
                                        </p:tgtEl>
                                      </p:cBhvr>
                                    </p:animEffect>
                                  </p:childTnLst>
                                </p:cTn>
                              </p:par>
                            </p:childTnLst>
                          </p:cTn>
                        </p:par>
                        <p:par>
                          <p:cTn id="20" fill="hold">
                            <p:stCondLst>
                              <p:cond delay="2000"/>
                            </p:stCondLst>
                            <p:childTnLst>
                              <p:par>
                                <p:cTn id="21" presetID="42" presetClass="entr" presetSubtype="0" fill="hold" grpId="0" nodeType="afterEffect">
                                  <p:stCondLst>
                                    <p:cond delay="0"/>
                                  </p:stCondLst>
                                  <p:childTnLst>
                                    <p:set>
                                      <p:cBhvr>
                                        <p:cTn id="22" dur="1" fill="hold">
                                          <p:stCondLst>
                                            <p:cond delay="0"/>
                                          </p:stCondLst>
                                        </p:cTn>
                                        <p:tgtEl>
                                          <p:spTgt spid="36"/>
                                        </p:tgtEl>
                                        <p:attrNameLst>
                                          <p:attrName>style.visibility</p:attrName>
                                        </p:attrNameLst>
                                      </p:cBhvr>
                                      <p:to>
                                        <p:strVal val="visible"/>
                                      </p:to>
                                    </p:set>
                                    <p:animEffect transition="in" filter="fade">
                                      <p:cBhvr>
                                        <p:cTn id="23" dur="500"/>
                                        <p:tgtEl>
                                          <p:spTgt spid="36"/>
                                        </p:tgtEl>
                                      </p:cBhvr>
                                    </p:animEffect>
                                    <p:anim calcmode="lin" valueType="num">
                                      <p:cBhvr>
                                        <p:cTn id="24" dur="500" fill="hold"/>
                                        <p:tgtEl>
                                          <p:spTgt spid="36"/>
                                        </p:tgtEl>
                                        <p:attrNameLst>
                                          <p:attrName>ppt_x</p:attrName>
                                        </p:attrNameLst>
                                      </p:cBhvr>
                                      <p:tavLst>
                                        <p:tav tm="0">
                                          <p:val>
                                            <p:strVal val="#ppt_x"/>
                                          </p:val>
                                        </p:tav>
                                        <p:tav tm="100000">
                                          <p:val>
                                            <p:strVal val="#ppt_x"/>
                                          </p:val>
                                        </p:tav>
                                      </p:tavLst>
                                    </p:anim>
                                    <p:anim calcmode="lin" valueType="num">
                                      <p:cBhvr>
                                        <p:cTn id="25" dur="500" fill="hold"/>
                                        <p:tgtEl>
                                          <p:spTgt spid="36"/>
                                        </p:tgtEl>
                                        <p:attrNameLst>
                                          <p:attrName>ppt_y</p:attrName>
                                        </p:attrNameLst>
                                      </p:cBhvr>
                                      <p:tavLst>
                                        <p:tav tm="0">
                                          <p:val>
                                            <p:strVal val="#ppt_y+.1"/>
                                          </p:val>
                                        </p:tav>
                                        <p:tav tm="100000">
                                          <p:val>
                                            <p:strVal val="#ppt_y"/>
                                          </p:val>
                                        </p:tav>
                                      </p:tavLst>
                                    </p:anim>
                                  </p:childTnLst>
                                </p:cTn>
                              </p:par>
                            </p:childTnLst>
                          </p:cTn>
                        </p:par>
                        <p:par>
                          <p:cTn id="26" fill="hold">
                            <p:stCondLst>
                              <p:cond delay="2500"/>
                            </p:stCondLst>
                            <p:childTnLst>
                              <p:par>
                                <p:cTn id="27" presetID="22" presetClass="entr" presetSubtype="2" fill="hold" nodeType="afterEffect">
                                  <p:stCondLst>
                                    <p:cond delay="0"/>
                                  </p:stCondLst>
                                  <p:childTnLst>
                                    <p:set>
                                      <p:cBhvr>
                                        <p:cTn id="28" dur="1" fill="hold">
                                          <p:stCondLst>
                                            <p:cond delay="0"/>
                                          </p:stCondLst>
                                        </p:cTn>
                                        <p:tgtEl>
                                          <p:spTgt spid="2"/>
                                        </p:tgtEl>
                                        <p:attrNameLst>
                                          <p:attrName>style.visibility</p:attrName>
                                        </p:attrNameLst>
                                      </p:cBhvr>
                                      <p:to>
                                        <p:strVal val="visible"/>
                                      </p:to>
                                    </p:set>
                                    <p:animEffect transition="in" filter="wipe(right)">
                                      <p:cBhvr>
                                        <p:cTn id="29" dur="500"/>
                                        <p:tgtEl>
                                          <p:spTgt spid="2"/>
                                        </p:tgtEl>
                                      </p:cBhvr>
                                    </p:animEffect>
                                  </p:childTnLst>
                                </p:cTn>
                              </p:par>
                            </p:childTnLst>
                          </p:cTn>
                        </p:par>
                        <p:par>
                          <p:cTn id="30" fill="hold">
                            <p:stCondLst>
                              <p:cond delay="3000"/>
                            </p:stCondLst>
                            <p:childTnLst>
                              <p:par>
                                <p:cTn id="31" presetID="22" presetClass="entr" presetSubtype="2" fill="hold" grpId="0" nodeType="afterEffect">
                                  <p:stCondLst>
                                    <p:cond delay="0"/>
                                  </p:stCondLst>
                                  <p:childTnLst>
                                    <p:set>
                                      <p:cBhvr>
                                        <p:cTn id="32" dur="1" fill="hold">
                                          <p:stCondLst>
                                            <p:cond delay="0"/>
                                          </p:stCondLst>
                                        </p:cTn>
                                        <p:tgtEl>
                                          <p:spTgt spid="37"/>
                                        </p:tgtEl>
                                        <p:attrNameLst>
                                          <p:attrName>style.visibility</p:attrName>
                                        </p:attrNameLst>
                                      </p:cBhvr>
                                      <p:to>
                                        <p:strVal val="visible"/>
                                      </p:to>
                                    </p:set>
                                    <p:animEffect transition="in" filter="wipe(right)">
                                      <p:cBhvr>
                                        <p:cTn id="33" dur="500"/>
                                        <p:tgtEl>
                                          <p:spTgt spid="37"/>
                                        </p:tgtEl>
                                      </p:cBhvr>
                                    </p:animEffect>
                                  </p:childTnLst>
                                </p:cTn>
                              </p:par>
                            </p:childTnLst>
                          </p:cTn>
                        </p:par>
                        <p:par>
                          <p:cTn id="34" fill="hold">
                            <p:stCondLst>
                              <p:cond delay="3500"/>
                            </p:stCondLst>
                            <p:childTnLst>
                              <p:par>
                                <p:cTn id="35" presetID="42" presetClass="entr" presetSubtype="0" fill="hold" grpId="0" nodeType="afterEffect">
                                  <p:stCondLst>
                                    <p:cond delay="0"/>
                                  </p:stCondLst>
                                  <p:childTnLst>
                                    <p:set>
                                      <p:cBhvr>
                                        <p:cTn id="36" dur="1" fill="hold">
                                          <p:stCondLst>
                                            <p:cond delay="0"/>
                                          </p:stCondLst>
                                        </p:cTn>
                                        <p:tgtEl>
                                          <p:spTgt spid="38"/>
                                        </p:tgtEl>
                                        <p:attrNameLst>
                                          <p:attrName>style.visibility</p:attrName>
                                        </p:attrNameLst>
                                      </p:cBhvr>
                                      <p:to>
                                        <p:strVal val="visible"/>
                                      </p:to>
                                    </p:set>
                                    <p:animEffect transition="in" filter="fade">
                                      <p:cBhvr>
                                        <p:cTn id="37" dur="500"/>
                                        <p:tgtEl>
                                          <p:spTgt spid="38"/>
                                        </p:tgtEl>
                                      </p:cBhvr>
                                    </p:animEffect>
                                    <p:anim calcmode="lin" valueType="num">
                                      <p:cBhvr>
                                        <p:cTn id="38" dur="500" fill="hold"/>
                                        <p:tgtEl>
                                          <p:spTgt spid="38"/>
                                        </p:tgtEl>
                                        <p:attrNameLst>
                                          <p:attrName>ppt_x</p:attrName>
                                        </p:attrNameLst>
                                      </p:cBhvr>
                                      <p:tavLst>
                                        <p:tav tm="0">
                                          <p:val>
                                            <p:strVal val="#ppt_x"/>
                                          </p:val>
                                        </p:tav>
                                        <p:tav tm="100000">
                                          <p:val>
                                            <p:strVal val="#ppt_x"/>
                                          </p:val>
                                        </p:tav>
                                      </p:tavLst>
                                    </p:anim>
                                    <p:anim calcmode="lin" valueType="num">
                                      <p:cBhvr>
                                        <p:cTn id="39" dur="500" fill="hold"/>
                                        <p:tgtEl>
                                          <p:spTgt spid="38"/>
                                        </p:tgtEl>
                                        <p:attrNameLst>
                                          <p:attrName>ppt_y</p:attrName>
                                        </p:attrNameLst>
                                      </p:cBhvr>
                                      <p:tavLst>
                                        <p:tav tm="0">
                                          <p:val>
                                            <p:strVal val="#ppt_y+.1"/>
                                          </p:val>
                                        </p:tav>
                                        <p:tav tm="100000">
                                          <p:val>
                                            <p:strVal val="#ppt_y"/>
                                          </p:val>
                                        </p:tav>
                                      </p:tavLst>
                                    </p:anim>
                                  </p:childTnLst>
                                </p:cTn>
                              </p:par>
                            </p:childTnLst>
                          </p:cTn>
                        </p:par>
                        <p:par>
                          <p:cTn id="40" fill="hold">
                            <p:stCondLst>
                              <p:cond delay="4000"/>
                            </p:stCondLst>
                            <p:childTnLst>
                              <p:par>
                                <p:cTn id="41" presetID="22" presetClass="entr" presetSubtype="2" fill="hold" nodeType="afterEffect">
                                  <p:stCondLst>
                                    <p:cond delay="0"/>
                                  </p:stCondLst>
                                  <p:childTnLst>
                                    <p:set>
                                      <p:cBhvr>
                                        <p:cTn id="42" dur="1" fill="hold">
                                          <p:stCondLst>
                                            <p:cond delay="0"/>
                                          </p:stCondLst>
                                        </p:cTn>
                                        <p:tgtEl>
                                          <p:spTgt spid="43"/>
                                        </p:tgtEl>
                                        <p:attrNameLst>
                                          <p:attrName>style.visibility</p:attrName>
                                        </p:attrNameLst>
                                      </p:cBhvr>
                                      <p:to>
                                        <p:strVal val="visible"/>
                                      </p:to>
                                    </p:set>
                                    <p:animEffect transition="in" filter="wipe(right)">
                                      <p:cBhvr>
                                        <p:cTn id="43" dur="500"/>
                                        <p:tgtEl>
                                          <p:spTgt spid="43"/>
                                        </p:tgtEl>
                                      </p:cBhvr>
                                    </p:animEffect>
                                  </p:childTnLst>
                                </p:cTn>
                              </p:par>
                            </p:childTnLst>
                          </p:cTn>
                        </p:par>
                        <p:par>
                          <p:cTn id="44" fill="hold">
                            <p:stCondLst>
                              <p:cond delay="4500"/>
                            </p:stCondLst>
                            <p:childTnLst>
                              <p:par>
                                <p:cTn id="45" presetID="22" presetClass="entr" presetSubtype="2" fill="hold" grpId="0" nodeType="afterEffect">
                                  <p:stCondLst>
                                    <p:cond delay="0"/>
                                  </p:stCondLst>
                                  <p:childTnLst>
                                    <p:set>
                                      <p:cBhvr>
                                        <p:cTn id="46" dur="1" fill="hold">
                                          <p:stCondLst>
                                            <p:cond delay="0"/>
                                          </p:stCondLst>
                                        </p:cTn>
                                        <p:tgtEl>
                                          <p:spTgt spid="44"/>
                                        </p:tgtEl>
                                        <p:attrNameLst>
                                          <p:attrName>style.visibility</p:attrName>
                                        </p:attrNameLst>
                                      </p:cBhvr>
                                      <p:to>
                                        <p:strVal val="visible"/>
                                      </p:to>
                                    </p:set>
                                    <p:animEffect transition="in" filter="wipe(right)">
                                      <p:cBhvr>
                                        <p:cTn id="47" dur="500"/>
                                        <p:tgtEl>
                                          <p:spTgt spid="44"/>
                                        </p:tgtEl>
                                      </p:cBhvr>
                                    </p:animEffect>
                                  </p:childTnLst>
                                </p:cTn>
                              </p:par>
                            </p:childTnLst>
                          </p:cTn>
                        </p:par>
                        <p:par>
                          <p:cTn id="48" fill="hold">
                            <p:stCondLst>
                              <p:cond delay="5000"/>
                            </p:stCondLst>
                            <p:childTnLst>
                              <p:par>
                                <p:cTn id="49" presetID="42" presetClass="entr" presetSubtype="0" fill="hold" grpId="0" nodeType="afterEffect">
                                  <p:stCondLst>
                                    <p:cond delay="0"/>
                                  </p:stCondLst>
                                  <p:childTnLst>
                                    <p:set>
                                      <p:cBhvr>
                                        <p:cTn id="50" dur="1" fill="hold">
                                          <p:stCondLst>
                                            <p:cond delay="0"/>
                                          </p:stCondLst>
                                        </p:cTn>
                                        <p:tgtEl>
                                          <p:spTgt spid="45"/>
                                        </p:tgtEl>
                                        <p:attrNameLst>
                                          <p:attrName>style.visibility</p:attrName>
                                        </p:attrNameLst>
                                      </p:cBhvr>
                                      <p:to>
                                        <p:strVal val="visible"/>
                                      </p:to>
                                    </p:set>
                                    <p:animEffect transition="in" filter="fade">
                                      <p:cBhvr>
                                        <p:cTn id="51" dur="500"/>
                                        <p:tgtEl>
                                          <p:spTgt spid="45"/>
                                        </p:tgtEl>
                                      </p:cBhvr>
                                    </p:animEffect>
                                    <p:anim calcmode="lin" valueType="num">
                                      <p:cBhvr>
                                        <p:cTn id="52" dur="500" fill="hold"/>
                                        <p:tgtEl>
                                          <p:spTgt spid="45"/>
                                        </p:tgtEl>
                                        <p:attrNameLst>
                                          <p:attrName>ppt_x</p:attrName>
                                        </p:attrNameLst>
                                      </p:cBhvr>
                                      <p:tavLst>
                                        <p:tav tm="0">
                                          <p:val>
                                            <p:strVal val="#ppt_x"/>
                                          </p:val>
                                        </p:tav>
                                        <p:tav tm="100000">
                                          <p:val>
                                            <p:strVal val="#ppt_x"/>
                                          </p:val>
                                        </p:tav>
                                      </p:tavLst>
                                    </p:anim>
                                    <p:anim calcmode="lin" valueType="num">
                                      <p:cBhvr>
                                        <p:cTn id="53" dur="500" fill="hold"/>
                                        <p:tgtEl>
                                          <p:spTgt spid="45"/>
                                        </p:tgtEl>
                                        <p:attrNameLst>
                                          <p:attrName>ppt_y</p:attrName>
                                        </p:attrNameLst>
                                      </p:cBhvr>
                                      <p:tavLst>
                                        <p:tav tm="0">
                                          <p:val>
                                            <p:strVal val="#ppt_y+.1"/>
                                          </p:val>
                                        </p:tav>
                                        <p:tav tm="100000">
                                          <p:val>
                                            <p:strVal val="#ppt_y"/>
                                          </p:val>
                                        </p:tav>
                                      </p:tavLst>
                                    </p:anim>
                                  </p:childTnLst>
                                </p:cTn>
                              </p:par>
                            </p:childTnLst>
                          </p:cTn>
                        </p:par>
                        <p:par>
                          <p:cTn id="54" fill="hold">
                            <p:stCondLst>
                              <p:cond delay="5500"/>
                            </p:stCondLst>
                            <p:childTnLst>
                              <p:par>
                                <p:cTn id="55" presetID="22" presetClass="entr" presetSubtype="8" fill="hold" nodeType="afterEffect">
                                  <p:stCondLst>
                                    <p:cond delay="0"/>
                                  </p:stCondLst>
                                  <p:childTnLst>
                                    <p:set>
                                      <p:cBhvr>
                                        <p:cTn id="56" dur="1" fill="hold">
                                          <p:stCondLst>
                                            <p:cond delay="0"/>
                                          </p:stCondLst>
                                        </p:cTn>
                                        <p:tgtEl>
                                          <p:spTgt spid="4"/>
                                        </p:tgtEl>
                                        <p:attrNameLst>
                                          <p:attrName>style.visibility</p:attrName>
                                        </p:attrNameLst>
                                      </p:cBhvr>
                                      <p:to>
                                        <p:strVal val="visible"/>
                                      </p:to>
                                    </p:set>
                                    <p:animEffect transition="in" filter="wipe(left)">
                                      <p:cBhvr>
                                        <p:cTn id="57" dur="500"/>
                                        <p:tgtEl>
                                          <p:spTgt spid="4"/>
                                        </p:tgtEl>
                                      </p:cBhvr>
                                    </p:animEffect>
                                  </p:childTnLst>
                                </p:cTn>
                              </p:par>
                            </p:childTnLst>
                          </p:cTn>
                        </p:par>
                        <p:par>
                          <p:cTn id="58" fill="hold">
                            <p:stCondLst>
                              <p:cond delay="6000"/>
                            </p:stCondLst>
                            <p:childTnLst>
                              <p:par>
                                <p:cTn id="59" presetID="22" presetClass="entr" presetSubtype="8" fill="hold" grpId="0" nodeType="afterEffect">
                                  <p:stCondLst>
                                    <p:cond delay="0"/>
                                  </p:stCondLst>
                                  <p:childTnLst>
                                    <p:set>
                                      <p:cBhvr>
                                        <p:cTn id="60" dur="1" fill="hold">
                                          <p:stCondLst>
                                            <p:cond delay="0"/>
                                          </p:stCondLst>
                                        </p:cTn>
                                        <p:tgtEl>
                                          <p:spTgt spid="41"/>
                                        </p:tgtEl>
                                        <p:attrNameLst>
                                          <p:attrName>style.visibility</p:attrName>
                                        </p:attrNameLst>
                                      </p:cBhvr>
                                      <p:to>
                                        <p:strVal val="visible"/>
                                      </p:to>
                                    </p:set>
                                    <p:animEffect transition="in" filter="wipe(left)">
                                      <p:cBhvr>
                                        <p:cTn id="61" dur="500"/>
                                        <p:tgtEl>
                                          <p:spTgt spid="41"/>
                                        </p:tgtEl>
                                      </p:cBhvr>
                                    </p:animEffect>
                                  </p:childTnLst>
                                </p:cTn>
                              </p:par>
                            </p:childTnLst>
                          </p:cTn>
                        </p:par>
                        <p:par>
                          <p:cTn id="62" fill="hold">
                            <p:stCondLst>
                              <p:cond delay="6500"/>
                            </p:stCondLst>
                            <p:childTnLst>
                              <p:par>
                                <p:cTn id="63" presetID="42" presetClass="entr" presetSubtype="0" fill="hold" grpId="0" nodeType="afterEffect">
                                  <p:stCondLst>
                                    <p:cond delay="0"/>
                                  </p:stCondLst>
                                  <p:childTnLst>
                                    <p:set>
                                      <p:cBhvr>
                                        <p:cTn id="64" dur="1" fill="hold">
                                          <p:stCondLst>
                                            <p:cond delay="0"/>
                                          </p:stCondLst>
                                        </p:cTn>
                                        <p:tgtEl>
                                          <p:spTgt spid="42"/>
                                        </p:tgtEl>
                                        <p:attrNameLst>
                                          <p:attrName>style.visibility</p:attrName>
                                        </p:attrNameLst>
                                      </p:cBhvr>
                                      <p:to>
                                        <p:strVal val="visible"/>
                                      </p:to>
                                    </p:set>
                                    <p:animEffect transition="in" filter="fade">
                                      <p:cBhvr>
                                        <p:cTn id="65" dur="500"/>
                                        <p:tgtEl>
                                          <p:spTgt spid="42"/>
                                        </p:tgtEl>
                                      </p:cBhvr>
                                    </p:animEffect>
                                    <p:anim calcmode="lin" valueType="num">
                                      <p:cBhvr>
                                        <p:cTn id="66" dur="500" fill="hold"/>
                                        <p:tgtEl>
                                          <p:spTgt spid="42"/>
                                        </p:tgtEl>
                                        <p:attrNameLst>
                                          <p:attrName>ppt_x</p:attrName>
                                        </p:attrNameLst>
                                      </p:cBhvr>
                                      <p:tavLst>
                                        <p:tav tm="0">
                                          <p:val>
                                            <p:strVal val="#ppt_x"/>
                                          </p:val>
                                        </p:tav>
                                        <p:tav tm="100000">
                                          <p:val>
                                            <p:strVal val="#ppt_x"/>
                                          </p:val>
                                        </p:tav>
                                      </p:tavLst>
                                    </p:anim>
                                    <p:anim calcmode="lin" valueType="num">
                                      <p:cBhvr>
                                        <p:cTn id="67" dur="500" fill="hold"/>
                                        <p:tgtEl>
                                          <p:spTgt spid="42"/>
                                        </p:tgtEl>
                                        <p:attrNameLst>
                                          <p:attrName>ppt_y</p:attrName>
                                        </p:attrNameLst>
                                      </p:cBhvr>
                                      <p:tavLst>
                                        <p:tav tm="0">
                                          <p:val>
                                            <p:strVal val="#ppt_y+.1"/>
                                          </p:val>
                                        </p:tav>
                                        <p:tav tm="100000">
                                          <p:val>
                                            <p:strVal val="#ppt_y"/>
                                          </p:val>
                                        </p:tav>
                                      </p:tavLst>
                                    </p:anim>
                                  </p:childTnLst>
                                </p:cTn>
                              </p:par>
                            </p:childTnLst>
                          </p:cTn>
                        </p:par>
                        <p:par>
                          <p:cTn id="68" fill="hold">
                            <p:stCondLst>
                              <p:cond delay="7000"/>
                            </p:stCondLst>
                            <p:childTnLst>
                              <p:par>
                                <p:cTn id="69" presetID="22" presetClass="entr" presetSubtype="8" fill="hold" nodeType="afterEffect">
                                  <p:stCondLst>
                                    <p:cond delay="0"/>
                                  </p:stCondLst>
                                  <p:childTnLst>
                                    <p:set>
                                      <p:cBhvr>
                                        <p:cTn id="70" dur="1" fill="hold">
                                          <p:stCondLst>
                                            <p:cond delay="0"/>
                                          </p:stCondLst>
                                        </p:cTn>
                                        <p:tgtEl>
                                          <p:spTgt spid="5"/>
                                        </p:tgtEl>
                                        <p:attrNameLst>
                                          <p:attrName>style.visibility</p:attrName>
                                        </p:attrNameLst>
                                      </p:cBhvr>
                                      <p:to>
                                        <p:strVal val="visible"/>
                                      </p:to>
                                    </p:set>
                                    <p:animEffect transition="in" filter="wipe(left)">
                                      <p:cBhvr>
                                        <p:cTn id="71" dur="500"/>
                                        <p:tgtEl>
                                          <p:spTgt spid="5"/>
                                        </p:tgtEl>
                                      </p:cBhvr>
                                    </p:animEffect>
                                  </p:childTnLst>
                                </p:cTn>
                              </p:par>
                            </p:childTnLst>
                          </p:cTn>
                        </p:par>
                        <p:par>
                          <p:cTn id="72" fill="hold">
                            <p:stCondLst>
                              <p:cond delay="7500"/>
                            </p:stCondLst>
                            <p:childTnLst>
                              <p:par>
                                <p:cTn id="73" presetID="22" presetClass="entr" presetSubtype="8" fill="hold" grpId="0" nodeType="afterEffect">
                                  <p:stCondLst>
                                    <p:cond delay="0"/>
                                  </p:stCondLst>
                                  <p:childTnLst>
                                    <p:set>
                                      <p:cBhvr>
                                        <p:cTn id="74" dur="1" fill="hold">
                                          <p:stCondLst>
                                            <p:cond delay="0"/>
                                          </p:stCondLst>
                                        </p:cTn>
                                        <p:tgtEl>
                                          <p:spTgt spid="39"/>
                                        </p:tgtEl>
                                        <p:attrNameLst>
                                          <p:attrName>style.visibility</p:attrName>
                                        </p:attrNameLst>
                                      </p:cBhvr>
                                      <p:to>
                                        <p:strVal val="visible"/>
                                      </p:to>
                                    </p:set>
                                    <p:animEffect transition="in" filter="wipe(left)">
                                      <p:cBhvr>
                                        <p:cTn id="75" dur="500"/>
                                        <p:tgtEl>
                                          <p:spTgt spid="39"/>
                                        </p:tgtEl>
                                      </p:cBhvr>
                                    </p:animEffect>
                                  </p:childTnLst>
                                </p:cTn>
                              </p:par>
                            </p:childTnLst>
                          </p:cTn>
                        </p:par>
                        <p:par>
                          <p:cTn id="76" fill="hold">
                            <p:stCondLst>
                              <p:cond delay="8000"/>
                            </p:stCondLst>
                            <p:childTnLst>
                              <p:par>
                                <p:cTn id="77" presetID="42" presetClass="entr" presetSubtype="0" fill="hold" grpId="0" nodeType="afterEffect">
                                  <p:stCondLst>
                                    <p:cond delay="0"/>
                                  </p:stCondLst>
                                  <p:childTnLst>
                                    <p:set>
                                      <p:cBhvr>
                                        <p:cTn id="78" dur="1" fill="hold">
                                          <p:stCondLst>
                                            <p:cond delay="0"/>
                                          </p:stCondLst>
                                        </p:cTn>
                                        <p:tgtEl>
                                          <p:spTgt spid="40"/>
                                        </p:tgtEl>
                                        <p:attrNameLst>
                                          <p:attrName>style.visibility</p:attrName>
                                        </p:attrNameLst>
                                      </p:cBhvr>
                                      <p:to>
                                        <p:strVal val="visible"/>
                                      </p:to>
                                    </p:set>
                                    <p:animEffect transition="in" filter="fade">
                                      <p:cBhvr>
                                        <p:cTn id="79" dur="500"/>
                                        <p:tgtEl>
                                          <p:spTgt spid="40"/>
                                        </p:tgtEl>
                                      </p:cBhvr>
                                    </p:animEffect>
                                    <p:anim calcmode="lin" valueType="num">
                                      <p:cBhvr>
                                        <p:cTn id="80" dur="500" fill="hold"/>
                                        <p:tgtEl>
                                          <p:spTgt spid="40"/>
                                        </p:tgtEl>
                                        <p:attrNameLst>
                                          <p:attrName>ppt_x</p:attrName>
                                        </p:attrNameLst>
                                      </p:cBhvr>
                                      <p:tavLst>
                                        <p:tav tm="0">
                                          <p:val>
                                            <p:strVal val="#ppt_x"/>
                                          </p:val>
                                        </p:tav>
                                        <p:tav tm="100000">
                                          <p:val>
                                            <p:strVal val="#ppt_x"/>
                                          </p:val>
                                        </p:tav>
                                      </p:tavLst>
                                    </p:anim>
                                    <p:anim calcmode="lin" valueType="num">
                                      <p:cBhvr>
                                        <p:cTn id="81" dur="500" fill="hold"/>
                                        <p:tgtEl>
                                          <p:spTgt spid="40"/>
                                        </p:tgtEl>
                                        <p:attrNameLst>
                                          <p:attrName>ppt_y</p:attrName>
                                        </p:attrNameLst>
                                      </p:cBhvr>
                                      <p:tavLst>
                                        <p:tav tm="0">
                                          <p:val>
                                            <p:strVal val="#ppt_y+.1"/>
                                          </p:val>
                                        </p:tav>
                                        <p:tav tm="100000">
                                          <p:val>
                                            <p:strVal val="#ppt_y"/>
                                          </p:val>
                                        </p:tav>
                                      </p:tavLst>
                                    </p:anim>
                                  </p:childTnLst>
                                </p:cTn>
                              </p:par>
                            </p:childTnLst>
                          </p:cTn>
                        </p:par>
                        <p:par>
                          <p:cTn id="82" fill="hold">
                            <p:stCondLst>
                              <p:cond delay="8500"/>
                            </p:stCondLst>
                            <p:childTnLst>
                              <p:par>
                                <p:cTn id="83" presetID="22" presetClass="entr" presetSubtype="8" fill="hold" nodeType="afterEffect">
                                  <p:stCondLst>
                                    <p:cond delay="0"/>
                                  </p:stCondLst>
                                  <p:childTnLst>
                                    <p:set>
                                      <p:cBhvr>
                                        <p:cTn id="84" dur="1" fill="hold">
                                          <p:stCondLst>
                                            <p:cond delay="0"/>
                                          </p:stCondLst>
                                        </p:cTn>
                                        <p:tgtEl>
                                          <p:spTgt spid="3"/>
                                        </p:tgtEl>
                                        <p:attrNameLst>
                                          <p:attrName>style.visibility</p:attrName>
                                        </p:attrNameLst>
                                      </p:cBhvr>
                                      <p:to>
                                        <p:strVal val="visible"/>
                                      </p:to>
                                    </p:set>
                                    <p:animEffect transition="in" filter="wipe(left)">
                                      <p:cBhvr>
                                        <p:cTn id="85" dur="500"/>
                                        <p:tgtEl>
                                          <p:spTgt spid="3"/>
                                        </p:tgtEl>
                                      </p:cBhvr>
                                    </p:animEffect>
                                  </p:childTnLst>
                                </p:cTn>
                              </p:par>
                            </p:childTnLst>
                          </p:cTn>
                        </p:par>
                        <p:par>
                          <p:cTn id="86" fill="hold">
                            <p:stCondLst>
                              <p:cond delay="9000"/>
                            </p:stCondLst>
                            <p:childTnLst>
                              <p:par>
                                <p:cTn id="87" presetID="22" presetClass="entr" presetSubtype="8" fill="hold" grpId="0" nodeType="afterEffect">
                                  <p:stCondLst>
                                    <p:cond delay="0"/>
                                  </p:stCondLst>
                                  <p:childTnLst>
                                    <p:set>
                                      <p:cBhvr>
                                        <p:cTn id="88" dur="1" fill="hold">
                                          <p:stCondLst>
                                            <p:cond delay="0"/>
                                          </p:stCondLst>
                                        </p:cTn>
                                        <p:tgtEl>
                                          <p:spTgt spid="46"/>
                                        </p:tgtEl>
                                        <p:attrNameLst>
                                          <p:attrName>style.visibility</p:attrName>
                                        </p:attrNameLst>
                                      </p:cBhvr>
                                      <p:to>
                                        <p:strVal val="visible"/>
                                      </p:to>
                                    </p:set>
                                    <p:animEffect transition="in" filter="wipe(left)">
                                      <p:cBhvr>
                                        <p:cTn id="89" dur="500"/>
                                        <p:tgtEl>
                                          <p:spTgt spid="46"/>
                                        </p:tgtEl>
                                      </p:cBhvr>
                                    </p:animEffect>
                                  </p:childTnLst>
                                </p:cTn>
                              </p:par>
                            </p:childTnLst>
                          </p:cTn>
                        </p:par>
                        <p:par>
                          <p:cTn id="90" fill="hold">
                            <p:stCondLst>
                              <p:cond delay="9500"/>
                            </p:stCondLst>
                            <p:childTnLst>
                              <p:par>
                                <p:cTn id="91" presetID="42" presetClass="entr" presetSubtype="0" fill="hold" grpId="0" nodeType="afterEffect">
                                  <p:stCondLst>
                                    <p:cond delay="0"/>
                                  </p:stCondLst>
                                  <p:childTnLst>
                                    <p:set>
                                      <p:cBhvr>
                                        <p:cTn id="92" dur="1" fill="hold">
                                          <p:stCondLst>
                                            <p:cond delay="0"/>
                                          </p:stCondLst>
                                        </p:cTn>
                                        <p:tgtEl>
                                          <p:spTgt spid="47"/>
                                        </p:tgtEl>
                                        <p:attrNameLst>
                                          <p:attrName>style.visibility</p:attrName>
                                        </p:attrNameLst>
                                      </p:cBhvr>
                                      <p:to>
                                        <p:strVal val="visible"/>
                                      </p:to>
                                    </p:set>
                                    <p:animEffect transition="in" filter="fade">
                                      <p:cBhvr>
                                        <p:cTn id="93" dur="500"/>
                                        <p:tgtEl>
                                          <p:spTgt spid="47"/>
                                        </p:tgtEl>
                                      </p:cBhvr>
                                    </p:animEffect>
                                    <p:anim calcmode="lin" valueType="num">
                                      <p:cBhvr>
                                        <p:cTn id="94" dur="500" fill="hold"/>
                                        <p:tgtEl>
                                          <p:spTgt spid="47"/>
                                        </p:tgtEl>
                                        <p:attrNameLst>
                                          <p:attrName>ppt_x</p:attrName>
                                        </p:attrNameLst>
                                      </p:cBhvr>
                                      <p:tavLst>
                                        <p:tav tm="0">
                                          <p:val>
                                            <p:strVal val="#ppt_x"/>
                                          </p:val>
                                        </p:tav>
                                        <p:tav tm="100000">
                                          <p:val>
                                            <p:strVal val="#ppt_x"/>
                                          </p:val>
                                        </p:tav>
                                      </p:tavLst>
                                    </p:anim>
                                    <p:anim calcmode="lin" valueType="num">
                                      <p:cBhvr>
                                        <p:cTn id="95" dur="500" fill="hold"/>
                                        <p:tgtEl>
                                          <p:spTgt spid="4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 grpId="0"/>
      <p:bldP spid="36" grpId="0"/>
      <p:bldP spid="37" grpId="0"/>
      <p:bldP spid="38" grpId="0"/>
      <p:bldP spid="39" grpId="0"/>
      <p:bldP spid="40" grpId="0"/>
      <p:bldP spid="41" grpId="0"/>
      <p:bldP spid="42" grpId="0"/>
      <p:bldP spid="44" grpId="0"/>
      <p:bldP spid="45" grpId="0"/>
      <p:bldP spid="46" grpId="0"/>
      <p:bldP spid="47" grpId="0"/>
      <p:bldP spid="48" grpId="0"/>
    </p:bldLst>
  </p:timing>
</p:sld>
</file>

<file path=ppt/slides/slide5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23">
            <a:extLst>
              <a:ext uri="{FF2B5EF4-FFF2-40B4-BE49-F238E27FC236}">
                <a16:creationId xmlns:a16="http://schemas.microsoft.com/office/drawing/2014/main" id="{971EEFF3-613B-4971-8840-72950A7E7A5D}"/>
              </a:ext>
            </a:extLst>
          </p:cNvPr>
          <p:cNvGrpSpPr/>
          <p:nvPr/>
        </p:nvGrpSpPr>
        <p:grpSpPr>
          <a:xfrm>
            <a:off x="4143157" y="2203592"/>
            <a:ext cx="3905686" cy="4654408"/>
            <a:chOff x="4305656" y="1725312"/>
            <a:chExt cx="3607527" cy="4299092"/>
          </a:xfrm>
        </p:grpSpPr>
        <p:grpSp>
          <p:nvGrpSpPr>
            <p:cNvPr id="3" name="Group 4">
              <a:extLst>
                <a:ext uri="{FF2B5EF4-FFF2-40B4-BE49-F238E27FC236}">
                  <a16:creationId xmlns:a16="http://schemas.microsoft.com/office/drawing/2014/main" id="{FCA7C1DD-A0FB-4D86-AA2C-7CA6736AF9BF}"/>
                </a:ext>
              </a:extLst>
            </p:cNvPr>
            <p:cNvGrpSpPr/>
            <p:nvPr/>
          </p:nvGrpSpPr>
          <p:grpSpPr>
            <a:xfrm flipH="1">
              <a:off x="4305656" y="1725312"/>
              <a:ext cx="3607527" cy="3221128"/>
              <a:chOff x="8478838" y="1366838"/>
              <a:chExt cx="1899929" cy="1696429"/>
            </a:xfrm>
          </p:grpSpPr>
          <p:sp>
            <p:nvSpPr>
              <p:cNvPr id="5" name="Freeform 12">
                <a:extLst>
                  <a:ext uri="{FF2B5EF4-FFF2-40B4-BE49-F238E27FC236}">
                    <a16:creationId xmlns:a16="http://schemas.microsoft.com/office/drawing/2014/main" id="{87FD14E8-E03E-400A-85C1-128118AE0B0C}"/>
                  </a:ext>
                </a:extLst>
              </p:cNvPr>
              <p:cNvSpPr>
                <a:spLocks/>
              </p:cNvSpPr>
              <p:nvPr/>
            </p:nvSpPr>
            <p:spPr bwMode="auto">
              <a:xfrm>
                <a:off x="9431338" y="1630363"/>
                <a:ext cx="439737" cy="865188"/>
              </a:xfrm>
              <a:custGeom>
                <a:avLst/>
                <a:gdLst>
                  <a:gd name="T0" fmla="*/ 249 w 1386"/>
                  <a:gd name="T1" fmla="*/ 2693 h 2722"/>
                  <a:gd name="T2" fmla="*/ 206 w 1386"/>
                  <a:gd name="T3" fmla="*/ 2616 h 2722"/>
                  <a:gd name="T4" fmla="*/ 166 w 1386"/>
                  <a:gd name="T5" fmla="*/ 2533 h 2722"/>
                  <a:gd name="T6" fmla="*/ 122 w 1386"/>
                  <a:gd name="T7" fmla="*/ 2425 h 2722"/>
                  <a:gd name="T8" fmla="*/ 79 w 1386"/>
                  <a:gd name="T9" fmla="*/ 2294 h 2722"/>
                  <a:gd name="T10" fmla="*/ 40 w 1386"/>
                  <a:gd name="T11" fmla="*/ 2143 h 2722"/>
                  <a:gd name="T12" fmla="*/ 13 w 1386"/>
                  <a:gd name="T13" fmla="*/ 1972 h 2722"/>
                  <a:gd name="T14" fmla="*/ 0 w 1386"/>
                  <a:gd name="T15" fmla="*/ 1784 h 2722"/>
                  <a:gd name="T16" fmla="*/ 8 w 1386"/>
                  <a:gd name="T17" fmla="*/ 1581 h 2722"/>
                  <a:gd name="T18" fmla="*/ 40 w 1386"/>
                  <a:gd name="T19" fmla="*/ 1364 h 2722"/>
                  <a:gd name="T20" fmla="*/ 103 w 1386"/>
                  <a:gd name="T21" fmla="*/ 1134 h 2722"/>
                  <a:gd name="T22" fmla="*/ 199 w 1386"/>
                  <a:gd name="T23" fmla="*/ 895 h 2722"/>
                  <a:gd name="T24" fmla="*/ 335 w 1386"/>
                  <a:gd name="T25" fmla="*/ 647 h 2722"/>
                  <a:gd name="T26" fmla="*/ 514 w 1386"/>
                  <a:gd name="T27" fmla="*/ 392 h 2722"/>
                  <a:gd name="T28" fmla="*/ 742 w 1386"/>
                  <a:gd name="T29" fmla="*/ 132 h 2722"/>
                  <a:gd name="T30" fmla="*/ 891 w 1386"/>
                  <a:gd name="T31" fmla="*/ 19 h 2722"/>
                  <a:gd name="T32" fmla="*/ 960 w 1386"/>
                  <a:gd name="T33" fmla="*/ 111 h 2722"/>
                  <a:gd name="T34" fmla="*/ 1026 w 1386"/>
                  <a:gd name="T35" fmla="*/ 210 h 2722"/>
                  <a:gd name="T36" fmla="*/ 1101 w 1386"/>
                  <a:gd name="T37" fmla="*/ 337 h 2722"/>
                  <a:gd name="T38" fmla="*/ 1180 w 1386"/>
                  <a:gd name="T39" fmla="*/ 488 h 2722"/>
                  <a:gd name="T40" fmla="*/ 1254 w 1386"/>
                  <a:gd name="T41" fmla="*/ 659 h 2722"/>
                  <a:gd name="T42" fmla="*/ 1317 w 1386"/>
                  <a:gd name="T43" fmla="*/ 848 h 2722"/>
                  <a:gd name="T44" fmla="*/ 1364 w 1386"/>
                  <a:gd name="T45" fmla="*/ 1052 h 2722"/>
                  <a:gd name="T46" fmla="*/ 1386 w 1386"/>
                  <a:gd name="T47" fmla="*/ 1267 h 2722"/>
                  <a:gd name="T48" fmla="*/ 1378 w 1386"/>
                  <a:gd name="T49" fmla="*/ 1489 h 2722"/>
                  <a:gd name="T50" fmla="*/ 1332 w 1386"/>
                  <a:gd name="T51" fmla="*/ 1718 h 2722"/>
                  <a:gd name="T52" fmla="*/ 1243 w 1386"/>
                  <a:gd name="T53" fmla="*/ 1947 h 2722"/>
                  <a:gd name="T54" fmla="*/ 1103 w 1386"/>
                  <a:gd name="T55" fmla="*/ 2177 h 2722"/>
                  <a:gd name="T56" fmla="*/ 907 w 1386"/>
                  <a:gd name="T57" fmla="*/ 2401 h 2722"/>
                  <a:gd name="T58" fmla="*/ 647 w 1386"/>
                  <a:gd name="T59" fmla="*/ 2617 h 2722"/>
                  <a:gd name="T60" fmla="*/ 493 w 1386"/>
                  <a:gd name="T61" fmla="*/ 2710 h 2722"/>
                  <a:gd name="T62" fmla="*/ 497 w 1386"/>
                  <a:gd name="T63" fmla="*/ 2623 h 2722"/>
                  <a:gd name="T64" fmla="*/ 508 w 1386"/>
                  <a:gd name="T65" fmla="*/ 2466 h 2722"/>
                  <a:gd name="T66" fmla="*/ 525 w 1386"/>
                  <a:gd name="T67" fmla="*/ 2261 h 2722"/>
                  <a:gd name="T68" fmla="*/ 544 w 1386"/>
                  <a:gd name="T69" fmla="*/ 2087 h 2722"/>
                  <a:gd name="T70" fmla="*/ 560 w 1386"/>
                  <a:gd name="T71" fmla="*/ 1965 h 2722"/>
                  <a:gd name="T72" fmla="*/ 578 w 1386"/>
                  <a:gd name="T73" fmla="*/ 1843 h 2722"/>
                  <a:gd name="T74" fmla="*/ 598 w 1386"/>
                  <a:gd name="T75" fmla="*/ 1721 h 2722"/>
                  <a:gd name="T76" fmla="*/ 622 w 1386"/>
                  <a:gd name="T77" fmla="*/ 1602 h 2722"/>
                  <a:gd name="T78" fmla="*/ 649 w 1386"/>
                  <a:gd name="T79" fmla="*/ 1490 h 2722"/>
                  <a:gd name="T80" fmla="*/ 679 w 1386"/>
                  <a:gd name="T81" fmla="*/ 1386 h 2722"/>
                  <a:gd name="T82" fmla="*/ 713 w 1386"/>
                  <a:gd name="T83" fmla="*/ 1293 h 2722"/>
                  <a:gd name="T84" fmla="*/ 725 w 1386"/>
                  <a:gd name="T85" fmla="*/ 1262 h 2722"/>
                  <a:gd name="T86" fmla="*/ 682 w 1386"/>
                  <a:gd name="T87" fmla="*/ 1340 h 2722"/>
                  <a:gd name="T88" fmla="*/ 610 w 1386"/>
                  <a:gd name="T89" fmla="*/ 1482 h 2722"/>
                  <a:gd name="T90" fmla="*/ 544 w 1386"/>
                  <a:gd name="T91" fmla="*/ 1621 h 2722"/>
                  <a:gd name="T92" fmla="*/ 497 w 1386"/>
                  <a:gd name="T93" fmla="*/ 1726 h 2722"/>
                  <a:gd name="T94" fmla="*/ 450 w 1386"/>
                  <a:gd name="T95" fmla="*/ 1838 h 2722"/>
                  <a:gd name="T96" fmla="*/ 405 w 1386"/>
                  <a:gd name="T97" fmla="*/ 1954 h 2722"/>
                  <a:gd name="T98" fmla="*/ 363 w 1386"/>
                  <a:gd name="T99" fmla="*/ 2074 h 2722"/>
                  <a:gd name="T100" fmla="*/ 325 w 1386"/>
                  <a:gd name="T101" fmla="*/ 2196 h 2722"/>
                  <a:gd name="T102" fmla="*/ 294 w 1386"/>
                  <a:gd name="T103" fmla="*/ 2317 h 2722"/>
                  <a:gd name="T104" fmla="*/ 271 w 1386"/>
                  <a:gd name="T105" fmla="*/ 2435 h 2722"/>
                  <a:gd name="T106" fmla="*/ 257 w 1386"/>
                  <a:gd name="T107" fmla="*/ 2549 h 2722"/>
                  <a:gd name="T108" fmla="*/ 255 w 1386"/>
                  <a:gd name="T109" fmla="*/ 2657 h 27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386" h="2722">
                    <a:moveTo>
                      <a:pt x="259" y="2707"/>
                    </a:moveTo>
                    <a:lnTo>
                      <a:pt x="249" y="2693"/>
                    </a:lnTo>
                    <a:lnTo>
                      <a:pt x="224" y="2649"/>
                    </a:lnTo>
                    <a:lnTo>
                      <a:pt x="206" y="2616"/>
                    </a:lnTo>
                    <a:lnTo>
                      <a:pt x="187" y="2578"/>
                    </a:lnTo>
                    <a:lnTo>
                      <a:pt x="166" y="2533"/>
                    </a:lnTo>
                    <a:lnTo>
                      <a:pt x="144" y="2482"/>
                    </a:lnTo>
                    <a:lnTo>
                      <a:pt x="122" y="2425"/>
                    </a:lnTo>
                    <a:lnTo>
                      <a:pt x="100" y="2363"/>
                    </a:lnTo>
                    <a:lnTo>
                      <a:pt x="79" y="2294"/>
                    </a:lnTo>
                    <a:lnTo>
                      <a:pt x="59" y="2221"/>
                    </a:lnTo>
                    <a:lnTo>
                      <a:pt x="40" y="2143"/>
                    </a:lnTo>
                    <a:lnTo>
                      <a:pt x="25" y="2060"/>
                    </a:lnTo>
                    <a:lnTo>
                      <a:pt x="13" y="1972"/>
                    </a:lnTo>
                    <a:lnTo>
                      <a:pt x="4" y="1881"/>
                    </a:lnTo>
                    <a:lnTo>
                      <a:pt x="0" y="1784"/>
                    </a:lnTo>
                    <a:lnTo>
                      <a:pt x="1" y="1685"/>
                    </a:lnTo>
                    <a:lnTo>
                      <a:pt x="8" y="1581"/>
                    </a:lnTo>
                    <a:lnTo>
                      <a:pt x="21" y="1474"/>
                    </a:lnTo>
                    <a:lnTo>
                      <a:pt x="40" y="1364"/>
                    </a:lnTo>
                    <a:lnTo>
                      <a:pt x="68" y="1251"/>
                    </a:lnTo>
                    <a:lnTo>
                      <a:pt x="103" y="1134"/>
                    </a:lnTo>
                    <a:lnTo>
                      <a:pt x="146" y="1015"/>
                    </a:lnTo>
                    <a:lnTo>
                      <a:pt x="199" y="895"/>
                    </a:lnTo>
                    <a:lnTo>
                      <a:pt x="262" y="772"/>
                    </a:lnTo>
                    <a:lnTo>
                      <a:pt x="335" y="647"/>
                    </a:lnTo>
                    <a:lnTo>
                      <a:pt x="418" y="520"/>
                    </a:lnTo>
                    <a:lnTo>
                      <a:pt x="514" y="392"/>
                    </a:lnTo>
                    <a:lnTo>
                      <a:pt x="621" y="263"/>
                    </a:lnTo>
                    <a:lnTo>
                      <a:pt x="742" y="132"/>
                    </a:lnTo>
                    <a:lnTo>
                      <a:pt x="876" y="0"/>
                    </a:lnTo>
                    <a:lnTo>
                      <a:pt x="891" y="19"/>
                    </a:lnTo>
                    <a:lnTo>
                      <a:pt x="932" y="73"/>
                    </a:lnTo>
                    <a:lnTo>
                      <a:pt x="960" y="111"/>
                    </a:lnTo>
                    <a:lnTo>
                      <a:pt x="991" y="157"/>
                    </a:lnTo>
                    <a:lnTo>
                      <a:pt x="1026" y="210"/>
                    </a:lnTo>
                    <a:lnTo>
                      <a:pt x="1063" y="271"/>
                    </a:lnTo>
                    <a:lnTo>
                      <a:pt x="1101" y="337"/>
                    </a:lnTo>
                    <a:lnTo>
                      <a:pt x="1141" y="410"/>
                    </a:lnTo>
                    <a:lnTo>
                      <a:pt x="1180" y="488"/>
                    </a:lnTo>
                    <a:lnTo>
                      <a:pt x="1218" y="572"/>
                    </a:lnTo>
                    <a:lnTo>
                      <a:pt x="1254" y="659"/>
                    </a:lnTo>
                    <a:lnTo>
                      <a:pt x="1287" y="752"/>
                    </a:lnTo>
                    <a:lnTo>
                      <a:pt x="1317" y="848"/>
                    </a:lnTo>
                    <a:lnTo>
                      <a:pt x="1344" y="948"/>
                    </a:lnTo>
                    <a:lnTo>
                      <a:pt x="1364" y="1052"/>
                    </a:lnTo>
                    <a:lnTo>
                      <a:pt x="1379" y="1158"/>
                    </a:lnTo>
                    <a:lnTo>
                      <a:pt x="1386" y="1267"/>
                    </a:lnTo>
                    <a:lnTo>
                      <a:pt x="1386" y="1378"/>
                    </a:lnTo>
                    <a:lnTo>
                      <a:pt x="1378" y="1489"/>
                    </a:lnTo>
                    <a:lnTo>
                      <a:pt x="1360" y="1603"/>
                    </a:lnTo>
                    <a:lnTo>
                      <a:pt x="1332" y="1718"/>
                    </a:lnTo>
                    <a:lnTo>
                      <a:pt x="1293" y="1833"/>
                    </a:lnTo>
                    <a:lnTo>
                      <a:pt x="1243" y="1947"/>
                    </a:lnTo>
                    <a:lnTo>
                      <a:pt x="1180" y="2062"/>
                    </a:lnTo>
                    <a:lnTo>
                      <a:pt x="1103" y="2177"/>
                    </a:lnTo>
                    <a:lnTo>
                      <a:pt x="1013" y="2289"/>
                    </a:lnTo>
                    <a:lnTo>
                      <a:pt x="907" y="2401"/>
                    </a:lnTo>
                    <a:lnTo>
                      <a:pt x="786" y="2510"/>
                    </a:lnTo>
                    <a:lnTo>
                      <a:pt x="647" y="2617"/>
                    </a:lnTo>
                    <a:lnTo>
                      <a:pt x="492" y="2722"/>
                    </a:lnTo>
                    <a:lnTo>
                      <a:pt x="493" y="2710"/>
                    </a:lnTo>
                    <a:lnTo>
                      <a:pt x="494" y="2677"/>
                    </a:lnTo>
                    <a:lnTo>
                      <a:pt x="497" y="2623"/>
                    </a:lnTo>
                    <a:lnTo>
                      <a:pt x="502" y="2552"/>
                    </a:lnTo>
                    <a:lnTo>
                      <a:pt x="508" y="2466"/>
                    </a:lnTo>
                    <a:lnTo>
                      <a:pt x="516" y="2369"/>
                    </a:lnTo>
                    <a:lnTo>
                      <a:pt x="525" y="2261"/>
                    </a:lnTo>
                    <a:lnTo>
                      <a:pt x="537" y="2147"/>
                    </a:lnTo>
                    <a:lnTo>
                      <a:pt x="544" y="2087"/>
                    </a:lnTo>
                    <a:lnTo>
                      <a:pt x="552" y="2027"/>
                    </a:lnTo>
                    <a:lnTo>
                      <a:pt x="560" y="1965"/>
                    </a:lnTo>
                    <a:lnTo>
                      <a:pt x="568" y="1904"/>
                    </a:lnTo>
                    <a:lnTo>
                      <a:pt x="578" y="1843"/>
                    </a:lnTo>
                    <a:lnTo>
                      <a:pt x="588" y="1781"/>
                    </a:lnTo>
                    <a:lnTo>
                      <a:pt x="598" y="1721"/>
                    </a:lnTo>
                    <a:lnTo>
                      <a:pt x="610" y="1660"/>
                    </a:lnTo>
                    <a:lnTo>
                      <a:pt x="622" y="1602"/>
                    </a:lnTo>
                    <a:lnTo>
                      <a:pt x="635" y="1546"/>
                    </a:lnTo>
                    <a:lnTo>
                      <a:pt x="649" y="1490"/>
                    </a:lnTo>
                    <a:lnTo>
                      <a:pt x="663" y="1437"/>
                    </a:lnTo>
                    <a:lnTo>
                      <a:pt x="679" y="1386"/>
                    </a:lnTo>
                    <a:lnTo>
                      <a:pt x="696" y="1338"/>
                    </a:lnTo>
                    <a:lnTo>
                      <a:pt x="713" y="1293"/>
                    </a:lnTo>
                    <a:lnTo>
                      <a:pt x="731" y="1252"/>
                    </a:lnTo>
                    <a:lnTo>
                      <a:pt x="725" y="1262"/>
                    </a:lnTo>
                    <a:lnTo>
                      <a:pt x="708" y="1292"/>
                    </a:lnTo>
                    <a:lnTo>
                      <a:pt x="682" y="1340"/>
                    </a:lnTo>
                    <a:lnTo>
                      <a:pt x="649" y="1405"/>
                    </a:lnTo>
                    <a:lnTo>
                      <a:pt x="610" y="1482"/>
                    </a:lnTo>
                    <a:lnTo>
                      <a:pt x="566" y="1573"/>
                    </a:lnTo>
                    <a:lnTo>
                      <a:pt x="544" y="1621"/>
                    </a:lnTo>
                    <a:lnTo>
                      <a:pt x="521" y="1673"/>
                    </a:lnTo>
                    <a:lnTo>
                      <a:pt x="497" y="1726"/>
                    </a:lnTo>
                    <a:lnTo>
                      <a:pt x="473" y="1781"/>
                    </a:lnTo>
                    <a:lnTo>
                      <a:pt x="450" y="1838"/>
                    </a:lnTo>
                    <a:lnTo>
                      <a:pt x="427" y="1895"/>
                    </a:lnTo>
                    <a:lnTo>
                      <a:pt x="405" y="1954"/>
                    </a:lnTo>
                    <a:lnTo>
                      <a:pt x="383" y="2014"/>
                    </a:lnTo>
                    <a:lnTo>
                      <a:pt x="363" y="2074"/>
                    </a:lnTo>
                    <a:lnTo>
                      <a:pt x="343" y="2135"/>
                    </a:lnTo>
                    <a:lnTo>
                      <a:pt x="325" y="2196"/>
                    </a:lnTo>
                    <a:lnTo>
                      <a:pt x="309" y="2256"/>
                    </a:lnTo>
                    <a:lnTo>
                      <a:pt x="294" y="2317"/>
                    </a:lnTo>
                    <a:lnTo>
                      <a:pt x="282" y="2376"/>
                    </a:lnTo>
                    <a:lnTo>
                      <a:pt x="271" y="2435"/>
                    </a:lnTo>
                    <a:lnTo>
                      <a:pt x="263" y="2493"/>
                    </a:lnTo>
                    <a:lnTo>
                      <a:pt x="257" y="2549"/>
                    </a:lnTo>
                    <a:lnTo>
                      <a:pt x="254" y="2603"/>
                    </a:lnTo>
                    <a:lnTo>
                      <a:pt x="255" y="2657"/>
                    </a:lnTo>
                    <a:lnTo>
                      <a:pt x="259" y="2707"/>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6" name="Freeform 13">
                <a:extLst>
                  <a:ext uri="{FF2B5EF4-FFF2-40B4-BE49-F238E27FC236}">
                    <a16:creationId xmlns:a16="http://schemas.microsoft.com/office/drawing/2014/main" id="{407ABE87-93C6-445D-94DA-0A1FB996EC9F}"/>
                  </a:ext>
                </a:extLst>
              </p:cNvPr>
              <p:cNvSpPr>
                <a:spLocks/>
              </p:cNvSpPr>
              <p:nvPr/>
            </p:nvSpPr>
            <p:spPr bwMode="auto">
              <a:xfrm>
                <a:off x="9704080" y="2295461"/>
                <a:ext cx="674687" cy="369888"/>
              </a:xfrm>
              <a:custGeom>
                <a:avLst/>
                <a:gdLst>
                  <a:gd name="T0" fmla="*/ 6 w 2128"/>
                  <a:gd name="T1" fmla="*/ 775 h 1165"/>
                  <a:gd name="T2" fmla="*/ 41 w 2128"/>
                  <a:gd name="T3" fmla="*/ 713 h 1165"/>
                  <a:gd name="T4" fmla="*/ 84 w 2128"/>
                  <a:gd name="T5" fmla="*/ 651 h 1165"/>
                  <a:gd name="T6" fmla="*/ 140 w 2128"/>
                  <a:gd name="T7" fmla="*/ 576 h 1165"/>
                  <a:gd name="T8" fmla="*/ 213 w 2128"/>
                  <a:gd name="T9" fmla="*/ 493 h 1165"/>
                  <a:gd name="T10" fmla="*/ 303 w 2128"/>
                  <a:gd name="T11" fmla="*/ 405 h 1165"/>
                  <a:gd name="T12" fmla="*/ 409 w 2128"/>
                  <a:gd name="T13" fmla="*/ 317 h 1165"/>
                  <a:gd name="T14" fmla="*/ 535 w 2128"/>
                  <a:gd name="T15" fmla="*/ 231 h 1165"/>
                  <a:gd name="T16" fmla="*/ 679 w 2128"/>
                  <a:gd name="T17" fmla="*/ 154 h 1165"/>
                  <a:gd name="T18" fmla="*/ 843 w 2128"/>
                  <a:gd name="T19" fmla="*/ 87 h 1165"/>
                  <a:gd name="T20" fmla="*/ 1027 w 2128"/>
                  <a:gd name="T21" fmla="*/ 37 h 1165"/>
                  <a:gd name="T22" fmla="*/ 1232 w 2128"/>
                  <a:gd name="T23" fmla="*/ 7 h 1165"/>
                  <a:gd name="T24" fmla="*/ 1460 w 2128"/>
                  <a:gd name="T25" fmla="*/ 0 h 1165"/>
                  <a:gd name="T26" fmla="*/ 1709 w 2128"/>
                  <a:gd name="T27" fmla="*/ 21 h 1165"/>
                  <a:gd name="T28" fmla="*/ 1982 w 2128"/>
                  <a:gd name="T29" fmla="*/ 74 h 1165"/>
                  <a:gd name="T30" fmla="*/ 2121 w 2128"/>
                  <a:gd name="T31" fmla="*/ 132 h 1165"/>
                  <a:gd name="T32" fmla="*/ 2086 w 2128"/>
                  <a:gd name="T33" fmla="*/ 217 h 1165"/>
                  <a:gd name="T34" fmla="*/ 2044 w 2128"/>
                  <a:gd name="T35" fmla="*/ 304 h 1165"/>
                  <a:gd name="T36" fmla="*/ 1986 w 2128"/>
                  <a:gd name="T37" fmla="*/ 408 h 1165"/>
                  <a:gd name="T38" fmla="*/ 1914 w 2128"/>
                  <a:gd name="T39" fmla="*/ 524 h 1165"/>
                  <a:gd name="T40" fmla="*/ 1826 w 2128"/>
                  <a:gd name="T41" fmla="*/ 645 h 1165"/>
                  <a:gd name="T42" fmla="*/ 1720 w 2128"/>
                  <a:gd name="T43" fmla="*/ 767 h 1165"/>
                  <a:gd name="T44" fmla="*/ 1598 w 2128"/>
                  <a:gd name="T45" fmla="*/ 881 h 1165"/>
                  <a:gd name="T46" fmla="*/ 1458 w 2128"/>
                  <a:gd name="T47" fmla="*/ 984 h 1165"/>
                  <a:gd name="T48" fmla="*/ 1300 w 2128"/>
                  <a:gd name="T49" fmla="*/ 1070 h 1165"/>
                  <a:gd name="T50" fmla="*/ 1123 w 2128"/>
                  <a:gd name="T51" fmla="*/ 1130 h 1165"/>
                  <a:gd name="T52" fmla="*/ 928 w 2128"/>
                  <a:gd name="T53" fmla="*/ 1162 h 1165"/>
                  <a:gd name="T54" fmla="*/ 713 w 2128"/>
                  <a:gd name="T55" fmla="*/ 1158 h 1165"/>
                  <a:gd name="T56" fmla="*/ 476 w 2128"/>
                  <a:gd name="T57" fmla="*/ 1113 h 1165"/>
                  <a:gd name="T58" fmla="*/ 220 w 2128"/>
                  <a:gd name="T59" fmla="*/ 1020 h 1165"/>
                  <a:gd name="T60" fmla="*/ 93 w 2128"/>
                  <a:gd name="T61" fmla="*/ 950 h 1165"/>
                  <a:gd name="T62" fmla="*/ 156 w 2128"/>
                  <a:gd name="T63" fmla="*/ 918 h 1165"/>
                  <a:gd name="T64" fmla="*/ 269 w 2128"/>
                  <a:gd name="T65" fmla="*/ 861 h 1165"/>
                  <a:gd name="T66" fmla="*/ 418 w 2128"/>
                  <a:gd name="T67" fmla="*/ 791 h 1165"/>
                  <a:gd name="T68" fmla="*/ 591 w 2128"/>
                  <a:gd name="T69" fmla="*/ 713 h 1165"/>
                  <a:gd name="T70" fmla="*/ 730 w 2128"/>
                  <a:gd name="T71" fmla="*/ 657 h 1165"/>
                  <a:gd name="T72" fmla="*/ 823 w 2128"/>
                  <a:gd name="T73" fmla="*/ 622 h 1165"/>
                  <a:gd name="T74" fmla="*/ 914 w 2128"/>
                  <a:gd name="T75" fmla="*/ 590 h 1165"/>
                  <a:gd name="T76" fmla="*/ 1003 w 2128"/>
                  <a:gd name="T77" fmla="*/ 562 h 1165"/>
                  <a:gd name="T78" fmla="*/ 1087 w 2128"/>
                  <a:gd name="T79" fmla="*/ 541 h 1165"/>
                  <a:gd name="T80" fmla="*/ 1166 w 2128"/>
                  <a:gd name="T81" fmla="*/ 526 h 1165"/>
                  <a:gd name="T82" fmla="*/ 1192 w 2128"/>
                  <a:gd name="T83" fmla="*/ 522 h 1165"/>
                  <a:gd name="T84" fmla="*/ 1120 w 2128"/>
                  <a:gd name="T85" fmla="*/ 525 h 1165"/>
                  <a:gd name="T86" fmla="*/ 992 w 2128"/>
                  <a:gd name="T87" fmla="*/ 532 h 1165"/>
                  <a:gd name="T88" fmla="*/ 824 w 2128"/>
                  <a:gd name="T89" fmla="*/ 547 h 1165"/>
                  <a:gd name="T90" fmla="*/ 681 w 2128"/>
                  <a:gd name="T91" fmla="*/ 565 h 1165"/>
                  <a:gd name="T92" fmla="*/ 582 w 2128"/>
                  <a:gd name="T93" fmla="*/ 581 h 1165"/>
                  <a:gd name="T94" fmla="*/ 481 w 2128"/>
                  <a:gd name="T95" fmla="*/ 602 h 1165"/>
                  <a:gd name="T96" fmla="*/ 382 w 2128"/>
                  <a:gd name="T97" fmla="*/ 625 h 1165"/>
                  <a:gd name="T98" fmla="*/ 286 w 2128"/>
                  <a:gd name="T99" fmla="*/ 652 h 1165"/>
                  <a:gd name="T100" fmla="*/ 194 w 2128"/>
                  <a:gd name="T101" fmla="*/ 684 h 1165"/>
                  <a:gd name="T102" fmla="*/ 110 w 2128"/>
                  <a:gd name="T103" fmla="*/ 721 h 1165"/>
                  <a:gd name="T104" fmla="*/ 33 w 2128"/>
                  <a:gd name="T105" fmla="*/ 764 h 1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128" h="1165">
                    <a:moveTo>
                      <a:pt x="0" y="787"/>
                    </a:moveTo>
                    <a:lnTo>
                      <a:pt x="6" y="775"/>
                    </a:lnTo>
                    <a:lnTo>
                      <a:pt x="26" y="738"/>
                    </a:lnTo>
                    <a:lnTo>
                      <a:pt x="41" y="713"/>
                    </a:lnTo>
                    <a:lnTo>
                      <a:pt x="61" y="684"/>
                    </a:lnTo>
                    <a:lnTo>
                      <a:pt x="84" y="651"/>
                    </a:lnTo>
                    <a:lnTo>
                      <a:pt x="110" y="616"/>
                    </a:lnTo>
                    <a:lnTo>
                      <a:pt x="140" y="576"/>
                    </a:lnTo>
                    <a:lnTo>
                      <a:pt x="174" y="535"/>
                    </a:lnTo>
                    <a:lnTo>
                      <a:pt x="213" y="493"/>
                    </a:lnTo>
                    <a:lnTo>
                      <a:pt x="255" y="450"/>
                    </a:lnTo>
                    <a:lnTo>
                      <a:pt x="303" y="405"/>
                    </a:lnTo>
                    <a:lnTo>
                      <a:pt x="354" y="360"/>
                    </a:lnTo>
                    <a:lnTo>
                      <a:pt x="409" y="317"/>
                    </a:lnTo>
                    <a:lnTo>
                      <a:pt x="469" y="274"/>
                    </a:lnTo>
                    <a:lnTo>
                      <a:pt x="535" y="231"/>
                    </a:lnTo>
                    <a:lnTo>
                      <a:pt x="604" y="191"/>
                    </a:lnTo>
                    <a:lnTo>
                      <a:pt x="679" y="154"/>
                    </a:lnTo>
                    <a:lnTo>
                      <a:pt x="759" y="119"/>
                    </a:lnTo>
                    <a:lnTo>
                      <a:pt x="843" y="87"/>
                    </a:lnTo>
                    <a:lnTo>
                      <a:pt x="933" y="60"/>
                    </a:lnTo>
                    <a:lnTo>
                      <a:pt x="1027" y="37"/>
                    </a:lnTo>
                    <a:lnTo>
                      <a:pt x="1127" y="20"/>
                    </a:lnTo>
                    <a:lnTo>
                      <a:pt x="1232" y="7"/>
                    </a:lnTo>
                    <a:lnTo>
                      <a:pt x="1343" y="1"/>
                    </a:lnTo>
                    <a:lnTo>
                      <a:pt x="1460" y="0"/>
                    </a:lnTo>
                    <a:lnTo>
                      <a:pt x="1582" y="7"/>
                    </a:lnTo>
                    <a:lnTo>
                      <a:pt x="1709" y="21"/>
                    </a:lnTo>
                    <a:lnTo>
                      <a:pt x="1843" y="43"/>
                    </a:lnTo>
                    <a:lnTo>
                      <a:pt x="1982" y="74"/>
                    </a:lnTo>
                    <a:lnTo>
                      <a:pt x="2128" y="114"/>
                    </a:lnTo>
                    <a:lnTo>
                      <a:pt x="2121" y="132"/>
                    </a:lnTo>
                    <a:lnTo>
                      <a:pt x="2101" y="182"/>
                    </a:lnTo>
                    <a:lnTo>
                      <a:pt x="2086" y="217"/>
                    </a:lnTo>
                    <a:lnTo>
                      <a:pt x="2067" y="257"/>
                    </a:lnTo>
                    <a:lnTo>
                      <a:pt x="2044" y="304"/>
                    </a:lnTo>
                    <a:lnTo>
                      <a:pt x="2017" y="354"/>
                    </a:lnTo>
                    <a:lnTo>
                      <a:pt x="1986" y="408"/>
                    </a:lnTo>
                    <a:lnTo>
                      <a:pt x="1952" y="465"/>
                    </a:lnTo>
                    <a:lnTo>
                      <a:pt x="1914" y="524"/>
                    </a:lnTo>
                    <a:lnTo>
                      <a:pt x="1872" y="585"/>
                    </a:lnTo>
                    <a:lnTo>
                      <a:pt x="1826" y="645"/>
                    </a:lnTo>
                    <a:lnTo>
                      <a:pt x="1774" y="706"/>
                    </a:lnTo>
                    <a:lnTo>
                      <a:pt x="1720" y="767"/>
                    </a:lnTo>
                    <a:lnTo>
                      <a:pt x="1661" y="825"/>
                    </a:lnTo>
                    <a:lnTo>
                      <a:pt x="1598" y="881"/>
                    </a:lnTo>
                    <a:lnTo>
                      <a:pt x="1530" y="935"/>
                    </a:lnTo>
                    <a:lnTo>
                      <a:pt x="1458" y="984"/>
                    </a:lnTo>
                    <a:lnTo>
                      <a:pt x="1382" y="1029"/>
                    </a:lnTo>
                    <a:lnTo>
                      <a:pt x="1300" y="1070"/>
                    </a:lnTo>
                    <a:lnTo>
                      <a:pt x="1214" y="1103"/>
                    </a:lnTo>
                    <a:lnTo>
                      <a:pt x="1123" y="1130"/>
                    </a:lnTo>
                    <a:lnTo>
                      <a:pt x="1028" y="1150"/>
                    </a:lnTo>
                    <a:lnTo>
                      <a:pt x="928" y="1162"/>
                    </a:lnTo>
                    <a:lnTo>
                      <a:pt x="823" y="1165"/>
                    </a:lnTo>
                    <a:lnTo>
                      <a:pt x="713" y="1158"/>
                    </a:lnTo>
                    <a:lnTo>
                      <a:pt x="597" y="1141"/>
                    </a:lnTo>
                    <a:lnTo>
                      <a:pt x="476" y="1113"/>
                    </a:lnTo>
                    <a:lnTo>
                      <a:pt x="352" y="1073"/>
                    </a:lnTo>
                    <a:lnTo>
                      <a:pt x="220" y="1020"/>
                    </a:lnTo>
                    <a:lnTo>
                      <a:pt x="85" y="955"/>
                    </a:lnTo>
                    <a:lnTo>
                      <a:pt x="93" y="950"/>
                    </a:lnTo>
                    <a:lnTo>
                      <a:pt x="117" y="938"/>
                    </a:lnTo>
                    <a:lnTo>
                      <a:pt x="156" y="918"/>
                    </a:lnTo>
                    <a:lnTo>
                      <a:pt x="206" y="892"/>
                    </a:lnTo>
                    <a:lnTo>
                      <a:pt x="269" y="861"/>
                    </a:lnTo>
                    <a:lnTo>
                      <a:pt x="339" y="827"/>
                    </a:lnTo>
                    <a:lnTo>
                      <a:pt x="418" y="791"/>
                    </a:lnTo>
                    <a:lnTo>
                      <a:pt x="503" y="752"/>
                    </a:lnTo>
                    <a:lnTo>
                      <a:pt x="591" y="713"/>
                    </a:lnTo>
                    <a:lnTo>
                      <a:pt x="683" y="675"/>
                    </a:lnTo>
                    <a:lnTo>
                      <a:pt x="730" y="657"/>
                    </a:lnTo>
                    <a:lnTo>
                      <a:pt x="776" y="639"/>
                    </a:lnTo>
                    <a:lnTo>
                      <a:pt x="823" y="622"/>
                    </a:lnTo>
                    <a:lnTo>
                      <a:pt x="869" y="605"/>
                    </a:lnTo>
                    <a:lnTo>
                      <a:pt x="914" y="590"/>
                    </a:lnTo>
                    <a:lnTo>
                      <a:pt x="960" y="575"/>
                    </a:lnTo>
                    <a:lnTo>
                      <a:pt x="1003" y="562"/>
                    </a:lnTo>
                    <a:lnTo>
                      <a:pt x="1046" y="551"/>
                    </a:lnTo>
                    <a:lnTo>
                      <a:pt x="1087" y="541"/>
                    </a:lnTo>
                    <a:lnTo>
                      <a:pt x="1127" y="533"/>
                    </a:lnTo>
                    <a:lnTo>
                      <a:pt x="1166" y="526"/>
                    </a:lnTo>
                    <a:lnTo>
                      <a:pt x="1202" y="522"/>
                    </a:lnTo>
                    <a:lnTo>
                      <a:pt x="1192" y="522"/>
                    </a:lnTo>
                    <a:lnTo>
                      <a:pt x="1165" y="523"/>
                    </a:lnTo>
                    <a:lnTo>
                      <a:pt x="1120" y="525"/>
                    </a:lnTo>
                    <a:lnTo>
                      <a:pt x="1062" y="527"/>
                    </a:lnTo>
                    <a:lnTo>
                      <a:pt x="992" y="532"/>
                    </a:lnTo>
                    <a:lnTo>
                      <a:pt x="912" y="538"/>
                    </a:lnTo>
                    <a:lnTo>
                      <a:pt x="824" y="547"/>
                    </a:lnTo>
                    <a:lnTo>
                      <a:pt x="730" y="558"/>
                    </a:lnTo>
                    <a:lnTo>
                      <a:pt x="681" y="565"/>
                    </a:lnTo>
                    <a:lnTo>
                      <a:pt x="631" y="573"/>
                    </a:lnTo>
                    <a:lnTo>
                      <a:pt x="582" y="581"/>
                    </a:lnTo>
                    <a:lnTo>
                      <a:pt x="532" y="591"/>
                    </a:lnTo>
                    <a:lnTo>
                      <a:pt x="481" y="602"/>
                    </a:lnTo>
                    <a:lnTo>
                      <a:pt x="431" y="613"/>
                    </a:lnTo>
                    <a:lnTo>
                      <a:pt x="382" y="625"/>
                    </a:lnTo>
                    <a:lnTo>
                      <a:pt x="333" y="638"/>
                    </a:lnTo>
                    <a:lnTo>
                      <a:pt x="286" y="652"/>
                    </a:lnTo>
                    <a:lnTo>
                      <a:pt x="238" y="668"/>
                    </a:lnTo>
                    <a:lnTo>
                      <a:pt x="194" y="684"/>
                    </a:lnTo>
                    <a:lnTo>
                      <a:pt x="151" y="702"/>
                    </a:lnTo>
                    <a:lnTo>
                      <a:pt x="110" y="721"/>
                    </a:lnTo>
                    <a:lnTo>
                      <a:pt x="71" y="741"/>
                    </a:lnTo>
                    <a:lnTo>
                      <a:pt x="33" y="764"/>
                    </a:lnTo>
                    <a:lnTo>
                      <a:pt x="0" y="787"/>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7" name="Freeform 14">
                <a:extLst>
                  <a:ext uri="{FF2B5EF4-FFF2-40B4-BE49-F238E27FC236}">
                    <a16:creationId xmlns:a16="http://schemas.microsoft.com/office/drawing/2014/main" id="{3E1BFCAB-891E-47E0-BB8F-E858FDD3437D}"/>
                  </a:ext>
                </a:extLst>
              </p:cNvPr>
              <p:cNvSpPr>
                <a:spLocks/>
              </p:cNvSpPr>
              <p:nvPr/>
            </p:nvSpPr>
            <p:spPr bwMode="auto">
              <a:xfrm>
                <a:off x="8478838" y="2252663"/>
                <a:ext cx="701675" cy="355600"/>
              </a:xfrm>
              <a:custGeom>
                <a:avLst/>
                <a:gdLst>
                  <a:gd name="T0" fmla="*/ 2191 w 2212"/>
                  <a:gd name="T1" fmla="*/ 908 h 1122"/>
                  <a:gd name="T2" fmla="*/ 2129 w 2212"/>
                  <a:gd name="T3" fmla="*/ 943 h 1122"/>
                  <a:gd name="T4" fmla="*/ 2062 w 2212"/>
                  <a:gd name="T5" fmla="*/ 977 h 1122"/>
                  <a:gd name="T6" fmla="*/ 1976 w 2212"/>
                  <a:gd name="T7" fmla="*/ 1015 h 1122"/>
                  <a:gd name="T8" fmla="*/ 1870 w 2212"/>
                  <a:gd name="T9" fmla="*/ 1052 h 1122"/>
                  <a:gd name="T10" fmla="*/ 1748 w 2212"/>
                  <a:gd name="T11" fmla="*/ 1085 h 1122"/>
                  <a:gd name="T12" fmla="*/ 1610 w 2212"/>
                  <a:gd name="T13" fmla="*/ 1109 h 1122"/>
                  <a:gd name="T14" fmla="*/ 1458 w 2212"/>
                  <a:gd name="T15" fmla="*/ 1121 h 1122"/>
                  <a:gd name="T16" fmla="*/ 1293 w 2212"/>
                  <a:gd name="T17" fmla="*/ 1118 h 1122"/>
                  <a:gd name="T18" fmla="*/ 1117 w 2212"/>
                  <a:gd name="T19" fmla="*/ 1094 h 1122"/>
                  <a:gd name="T20" fmla="*/ 930 w 2212"/>
                  <a:gd name="T21" fmla="*/ 1047 h 1122"/>
                  <a:gd name="T22" fmla="*/ 735 w 2212"/>
                  <a:gd name="T23" fmla="*/ 971 h 1122"/>
                  <a:gd name="T24" fmla="*/ 532 w 2212"/>
                  <a:gd name="T25" fmla="*/ 865 h 1122"/>
                  <a:gd name="T26" fmla="*/ 323 w 2212"/>
                  <a:gd name="T27" fmla="*/ 722 h 1122"/>
                  <a:gd name="T28" fmla="*/ 109 w 2212"/>
                  <a:gd name="T29" fmla="*/ 540 h 1122"/>
                  <a:gd name="T30" fmla="*/ 15 w 2212"/>
                  <a:gd name="T31" fmla="*/ 420 h 1122"/>
                  <a:gd name="T32" fmla="*/ 90 w 2212"/>
                  <a:gd name="T33" fmla="*/ 364 h 1122"/>
                  <a:gd name="T34" fmla="*/ 169 w 2212"/>
                  <a:gd name="T35" fmla="*/ 307 h 1122"/>
                  <a:gd name="T36" fmla="*/ 271 w 2212"/>
                  <a:gd name="T37" fmla="*/ 245 h 1122"/>
                  <a:gd name="T38" fmla="*/ 392 w 2212"/>
                  <a:gd name="T39" fmla="*/ 179 h 1122"/>
                  <a:gd name="T40" fmla="*/ 530 w 2212"/>
                  <a:gd name="T41" fmla="*/ 116 h 1122"/>
                  <a:gd name="T42" fmla="*/ 683 w 2212"/>
                  <a:gd name="T43" fmla="*/ 63 h 1122"/>
                  <a:gd name="T44" fmla="*/ 846 w 2212"/>
                  <a:gd name="T45" fmla="*/ 22 h 1122"/>
                  <a:gd name="T46" fmla="*/ 1020 w 2212"/>
                  <a:gd name="T47" fmla="*/ 1 h 1122"/>
                  <a:gd name="T48" fmla="*/ 1201 w 2212"/>
                  <a:gd name="T49" fmla="*/ 5 h 1122"/>
                  <a:gd name="T50" fmla="*/ 1387 w 2212"/>
                  <a:gd name="T51" fmla="*/ 40 h 1122"/>
                  <a:gd name="T52" fmla="*/ 1575 w 2212"/>
                  <a:gd name="T53" fmla="*/ 109 h 1122"/>
                  <a:gd name="T54" fmla="*/ 1762 w 2212"/>
                  <a:gd name="T55" fmla="*/ 220 h 1122"/>
                  <a:gd name="T56" fmla="*/ 1945 w 2212"/>
                  <a:gd name="T57" fmla="*/ 377 h 1122"/>
                  <a:gd name="T58" fmla="*/ 2125 w 2212"/>
                  <a:gd name="T59" fmla="*/ 585 h 1122"/>
                  <a:gd name="T60" fmla="*/ 2202 w 2212"/>
                  <a:gd name="T61" fmla="*/ 710 h 1122"/>
                  <a:gd name="T62" fmla="*/ 2131 w 2212"/>
                  <a:gd name="T63" fmla="*/ 708 h 1122"/>
                  <a:gd name="T64" fmla="*/ 2005 w 2212"/>
                  <a:gd name="T65" fmla="*/ 701 h 1122"/>
                  <a:gd name="T66" fmla="*/ 1838 w 2212"/>
                  <a:gd name="T67" fmla="*/ 689 h 1122"/>
                  <a:gd name="T68" fmla="*/ 1647 w 2212"/>
                  <a:gd name="T69" fmla="*/ 670 h 1122"/>
                  <a:gd name="T70" fmla="*/ 1497 w 2212"/>
                  <a:gd name="T71" fmla="*/ 651 h 1122"/>
                  <a:gd name="T72" fmla="*/ 1399 w 2212"/>
                  <a:gd name="T73" fmla="*/ 636 h 1122"/>
                  <a:gd name="T74" fmla="*/ 1302 w 2212"/>
                  <a:gd name="T75" fmla="*/ 618 h 1122"/>
                  <a:gd name="T76" fmla="*/ 1211 w 2212"/>
                  <a:gd name="T77" fmla="*/ 598 h 1122"/>
                  <a:gd name="T78" fmla="*/ 1127 w 2212"/>
                  <a:gd name="T79" fmla="*/ 575 h 1122"/>
                  <a:gd name="T80" fmla="*/ 1050 w 2212"/>
                  <a:gd name="T81" fmla="*/ 549 h 1122"/>
                  <a:gd name="T82" fmla="*/ 1025 w 2212"/>
                  <a:gd name="T83" fmla="*/ 540 h 1122"/>
                  <a:gd name="T84" fmla="*/ 1089 w 2212"/>
                  <a:gd name="T85" fmla="*/ 573 h 1122"/>
                  <a:gd name="T86" fmla="*/ 1205 w 2212"/>
                  <a:gd name="T87" fmla="*/ 630 h 1122"/>
                  <a:gd name="T88" fmla="*/ 1361 w 2212"/>
                  <a:gd name="T89" fmla="*/ 701 h 1122"/>
                  <a:gd name="T90" fmla="*/ 1495 w 2212"/>
                  <a:gd name="T91" fmla="*/ 755 h 1122"/>
                  <a:gd name="T92" fmla="*/ 1591 w 2212"/>
                  <a:gd name="T93" fmla="*/ 791 h 1122"/>
                  <a:gd name="T94" fmla="*/ 1688 w 2212"/>
                  <a:gd name="T95" fmla="*/ 823 h 1122"/>
                  <a:gd name="T96" fmla="*/ 1787 w 2212"/>
                  <a:gd name="T97" fmla="*/ 853 h 1122"/>
                  <a:gd name="T98" fmla="*/ 1885 w 2212"/>
                  <a:gd name="T99" fmla="*/ 876 h 1122"/>
                  <a:gd name="T100" fmla="*/ 1982 w 2212"/>
                  <a:gd name="T101" fmla="*/ 894 h 1122"/>
                  <a:gd name="T102" fmla="*/ 2074 w 2212"/>
                  <a:gd name="T103" fmla="*/ 903 h 1122"/>
                  <a:gd name="T104" fmla="*/ 2161 w 2212"/>
                  <a:gd name="T105" fmla="*/ 903 h 1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212" h="1122">
                    <a:moveTo>
                      <a:pt x="2203" y="900"/>
                    </a:moveTo>
                    <a:lnTo>
                      <a:pt x="2191" y="908"/>
                    </a:lnTo>
                    <a:lnTo>
                      <a:pt x="2155" y="929"/>
                    </a:lnTo>
                    <a:lnTo>
                      <a:pt x="2129" y="943"/>
                    </a:lnTo>
                    <a:lnTo>
                      <a:pt x="2098" y="959"/>
                    </a:lnTo>
                    <a:lnTo>
                      <a:pt x="2062" y="977"/>
                    </a:lnTo>
                    <a:lnTo>
                      <a:pt x="2022" y="996"/>
                    </a:lnTo>
                    <a:lnTo>
                      <a:pt x="1976" y="1015"/>
                    </a:lnTo>
                    <a:lnTo>
                      <a:pt x="1925" y="1034"/>
                    </a:lnTo>
                    <a:lnTo>
                      <a:pt x="1870" y="1052"/>
                    </a:lnTo>
                    <a:lnTo>
                      <a:pt x="1811" y="1069"/>
                    </a:lnTo>
                    <a:lnTo>
                      <a:pt x="1748" y="1085"/>
                    </a:lnTo>
                    <a:lnTo>
                      <a:pt x="1681" y="1098"/>
                    </a:lnTo>
                    <a:lnTo>
                      <a:pt x="1610" y="1109"/>
                    </a:lnTo>
                    <a:lnTo>
                      <a:pt x="1536" y="1117"/>
                    </a:lnTo>
                    <a:lnTo>
                      <a:pt x="1458" y="1121"/>
                    </a:lnTo>
                    <a:lnTo>
                      <a:pt x="1377" y="1122"/>
                    </a:lnTo>
                    <a:lnTo>
                      <a:pt x="1293" y="1118"/>
                    </a:lnTo>
                    <a:lnTo>
                      <a:pt x="1206" y="1109"/>
                    </a:lnTo>
                    <a:lnTo>
                      <a:pt x="1117" y="1094"/>
                    </a:lnTo>
                    <a:lnTo>
                      <a:pt x="1024" y="1074"/>
                    </a:lnTo>
                    <a:lnTo>
                      <a:pt x="930" y="1047"/>
                    </a:lnTo>
                    <a:lnTo>
                      <a:pt x="833" y="1013"/>
                    </a:lnTo>
                    <a:lnTo>
                      <a:pt x="735" y="971"/>
                    </a:lnTo>
                    <a:lnTo>
                      <a:pt x="633" y="922"/>
                    </a:lnTo>
                    <a:lnTo>
                      <a:pt x="532" y="865"/>
                    </a:lnTo>
                    <a:lnTo>
                      <a:pt x="427" y="798"/>
                    </a:lnTo>
                    <a:lnTo>
                      <a:pt x="323" y="722"/>
                    </a:lnTo>
                    <a:lnTo>
                      <a:pt x="216" y="636"/>
                    </a:lnTo>
                    <a:lnTo>
                      <a:pt x="109" y="540"/>
                    </a:lnTo>
                    <a:lnTo>
                      <a:pt x="0" y="432"/>
                    </a:lnTo>
                    <a:lnTo>
                      <a:pt x="15" y="420"/>
                    </a:lnTo>
                    <a:lnTo>
                      <a:pt x="59" y="387"/>
                    </a:lnTo>
                    <a:lnTo>
                      <a:pt x="90" y="364"/>
                    </a:lnTo>
                    <a:lnTo>
                      <a:pt x="127" y="336"/>
                    </a:lnTo>
                    <a:lnTo>
                      <a:pt x="169" y="307"/>
                    </a:lnTo>
                    <a:lnTo>
                      <a:pt x="217" y="277"/>
                    </a:lnTo>
                    <a:lnTo>
                      <a:pt x="271" y="245"/>
                    </a:lnTo>
                    <a:lnTo>
                      <a:pt x="329" y="212"/>
                    </a:lnTo>
                    <a:lnTo>
                      <a:pt x="392" y="179"/>
                    </a:lnTo>
                    <a:lnTo>
                      <a:pt x="460" y="147"/>
                    </a:lnTo>
                    <a:lnTo>
                      <a:pt x="530" y="116"/>
                    </a:lnTo>
                    <a:lnTo>
                      <a:pt x="604" y="88"/>
                    </a:lnTo>
                    <a:lnTo>
                      <a:pt x="683" y="63"/>
                    </a:lnTo>
                    <a:lnTo>
                      <a:pt x="763" y="41"/>
                    </a:lnTo>
                    <a:lnTo>
                      <a:pt x="846" y="22"/>
                    </a:lnTo>
                    <a:lnTo>
                      <a:pt x="933" y="9"/>
                    </a:lnTo>
                    <a:lnTo>
                      <a:pt x="1020" y="1"/>
                    </a:lnTo>
                    <a:lnTo>
                      <a:pt x="1111" y="0"/>
                    </a:lnTo>
                    <a:lnTo>
                      <a:pt x="1201" y="5"/>
                    </a:lnTo>
                    <a:lnTo>
                      <a:pt x="1293" y="18"/>
                    </a:lnTo>
                    <a:lnTo>
                      <a:pt x="1387" y="40"/>
                    </a:lnTo>
                    <a:lnTo>
                      <a:pt x="1480" y="70"/>
                    </a:lnTo>
                    <a:lnTo>
                      <a:pt x="1575" y="109"/>
                    </a:lnTo>
                    <a:lnTo>
                      <a:pt x="1668" y="159"/>
                    </a:lnTo>
                    <a:lnTo>
                      <a:pt x="1762" y="220"/>
                    </a:lnTo>
                    <a:lnTo>
                      <a:pt x="1854" y="292"/>
                    </a:lnTo>
                    <a:lnTo>
                      <a:pt x="1945" y="377"/>
                    </a:lnTo>
                    <a:lnTo>
                      <a:pt x="2036" y="474"/>
                    </a:lnTo>
                    <a:lnTo>
                      <a:pt x="2125" y="585"/>
                    </a:lnTo>
                    <a:lnTo>
                      <a:pt x="2212" y="711"/>
                    </a:lnTo>
                    <a:lnTo>
                      <a:pt x="2202" y="710"/>
                    </a:lnTo>
                    <a:lnTo>
                      <a:pt x="2174" y="709"/>
                    </a:lnTo>
                    <a:lnTo>
                      <a:pt x="2131" y="708"/>
                    </a:lnTo>
                    <a:lnTo>
                      <a:pt x="2074" y="705"/>
                    </a:lnTo>
                    <a:lnTo>
                      <a:pt x="2005" y="701"/>
                    </a:lnTo>
                    <a:lnTo>
                      <a:pt x="1925" y="696"/>
                    </a:lnTo>
                    <a:lnTo>
                      <a:pt x="1838" y="689"/>
                    </a:lnTo>
                    <a:lnTo>
                      <a:pt x="1744" y="681"/>
                    </a:lnTo>
                    <a:lnTo>
                      <a:pt x="1647" y="670"/>
                    </a:lnTo>
                    <a:lnTo>
                      <a:pt x="1548" y="658"/>
                    </a:lnTo>
                    <a:lnTo>
                      <a:pt x="1497" y="651"/>
                    </a:lnTo>
                    <a:lnTo>
                      <a:pt x="1448" y="644"/>
                    </a:lnTo>
                    <a:lnTo>
                      <a:pt x="1399" y="636"/>
                    </a:lnTo>
                    <a:lnTo>
                      <a:pt x="1350" y="627"/>
                    </a:lnTo>
                    <a:lnTo>
                      <a:pt x="1302" y="618"/>
                    </a:lnTo>
                    <a:lnTo>
                      <a:pt x="1256" y="608"/>
                    </a:lnTo>
                    <a:lnTo>
                      <a:pt x="1211" y="598"/>
                    </a:lnTo>
                    <a:lnTo>
                      <a:pt x="1168" y="587"/>
                    </a:lnTo>
                    <a:lnTo>
                      <a:pt x="1127" y="575"/>
                    </a:lnTo>
                    <a:lnTo>
                      <a:pt x="1087" y="562"/>
                    </a:lnTo>
                    <a:lnTo>
                      <a:pt x="1050" y="549"/>
                    </a:lnTo>
                    <a:lnTo>
                      <a:pt x="1017" y="535"/>
                    </a:lnTo>
                    <a:lnTo>
                      <a:pt x="1025" y="540"/>
                    </a:lnTo>
                    <a:lnTo>
                      <a:pt x="1050" y="553"/>
                    </a:lnTo>
                    <a:lnTo>
                      <a:pt x="1089" y="573"/>
                    </a:lnTo>
                    <a:lnTo>
                      <a:pt x="1142" y="599"/>
                    </a:lnTo>
                    <a:lnTo>
                      <a:pt x="1205" y="630"/>
                    </a:lnTo>
                    <a:lnTo>
                      <a:pt x="1279" y="664"/>
                    </a:lnTo>
                    <a:lnTo>
                      <a:pt x="1361" y="701"/>
                    </a:lnTo>
                    <a:lnTo>
                      <a:pt x="1449" y="737"/>
                    </a:lnTo>
                    <a:lnTo>
                      <a:pt x="1495" y="755"/>
                    </a:lnTo>
                    <a:lnTo>
                      <a:pt x="1543" y="773"/>
                    </a:lnTo>
                    <a:lnTo>
                      <a:pt x="1591" y="791"/>
                    </a:lnTo>
                    <a:lnTo>
                      <a:pt x="1639" y="807"/>
                    </a:lnTo>
                    <a:lnTo>
                      <a:pt x="1688" y="823"/>
                    </a:lnTo>
                    <a:lnTo>
                      <a:pt x="1737" y="839"/>
                    </a:lnTo>
                    <a:lnTo>
                      <a:pt x="1787" y="853"/>
                    </a:lnTo>
                    <a:lnTo>
                      <a:pt x="1837" y="865"/>
                    </a:lnTo>
                    <a:lnTo>
                      <a:pt x="1885" y="876"/>
                    </a:lnTo>
                    <a:lnTo>
                      <a:pt x="1934" y="886"/>
                    </a:lnTo>
                    <a:lnTo>
                      <a:pt x="1982" y="894"/>
                    </a:lnTo>
                    <a:lnTo>
                      <a:pt x="2029" y="899"/>
                    </a:lnTo>
                    <a:lnTo>
                      <a:pt x="2074" y="903"/>
                    </a:lnTo>
                    <a:lnTo>
                      <a:pt x="2118" y="904"/>
                    </a:lnTo>
                    <a:lnTo>
                      <a:pt x="2161" y="903"/>
                    </a:lnTo>
                    <a:lnTo>
                      <a:pt x="2203" y="90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8" name="Freeform 15">
                <a:extLst>
                  <a:ext uri="{FF2B5EF4-FFF2-40B4-BE49-F238E27FC236}">
                    <a16:creationId xmlns:a16="http://schemas.microsoft.com/office/drawing/2014/main" id="{4DBEE1F2-5B97-4369-82EE-41E120F2EF37}"/>
                  </a:ext>
                </a:extLst>
              </p:cNvPr>
              <p:cNvSpPr>
                <a:spLocks/>
              </p:cNvSpPr>
              <p:nvPr/>
            </p:nvSpPr>
            <p:spPr bwMode="auto">
              <a:xfrm>
                <a:off x="8918575" y="1697038"/>
                <a:ext cx="446087" cy="730250"/>
              </a:xfrm>
              <a:custGeom>
                <a:avLst/>
                <a:gdLst>
                  <a:gd name="T0" fmla="*/ 1063 w 1401"/>
                  <a:gd name="T1" fmla="*/ 2299 h 2304"/>
                  <a:gd name="T2" fmla="*/ 990 w 1401"/>
                  <a:gd name="T3" fmla="*/ 2267 h 2304"/>
                  <a:gd name="T4" fmla="*/ 915 w 1401"/>
                  <a:gd name="T5" fmla="*/ 2228 h 2304"/>
                  <a:gd name="T6" fmla="*/ 825 w 1401"/>
                  <a:gd name="T7" fmla="*/ 2174 h 2304"/>
                  <a:gd name="T8" fmla="*/ 721 w 1401"/>
                  <a:gd name="T9" fmla="*/ 2104 h 2304"/>
                  <a:gd name="T10" fmla="*/ 611 w 1401"/>
                  <a:gd name="T11" fmla="*/ 2014 h 2304"/>
                  <a:gd name="T12" fmla="*/ 498 w 1401"/>
                  <a:gd name="T13" fmla="*/ 1905 h 2304"/>
                  <a:gd name="T14" fmla="*/ 387 w 1401"/>
                  <a:gd name="T15" fmla="*/ 1775 h 2304"/>
                  <a:gd name="T16" fmla="*/ 281 w 1401"/>
                  <a:gd name="T17" fmla="*/ 1624 h 2304"/>
                  <a:gd name="T18" fmla="*/ 187 w 1401"/>
                  <a:gd name="T19" fmla="*/ 1447 h 2304"/>
                  <a:gd name="T20" fmla="*/ 106 w 1401"/>
                  <a:gd name="T21" fmla="*/ 1247 h 2304"/>
                  <a:gd name="T22" fmla="*/ 45 w 1401"/>
                  <a:gd name="T23" fmla="*/ 1021 h 2304"/>
                  <a:gd name="T24" fmla="*/ 9 w 1401"/>
                  <a:gd name="T25" fmla="*/ 766 h 2304"/>
                  <a:gd name="T26" fmla="*/ 0 w 1401"/>
                  <a:gd name="T27" fmla="*/ 482 h 2304"/>
                  <a:gd name="T28" fmla="*/ 24 w 1401"/>
                  <a:gd name="T29" fmla="*/ 170 h 2304"/>
                  <a:gd name="T30" fmla="*/ 70 w 1401"/>
                  <a:gd name="T31" fmla="*/ 5 h 2304"/>
                  <a:gd name="T32" fmla="*/ 170 w 1401"/>
                  <a:gd name="T33" fmla="*/ 36 h 2304"/>
                  <a:gd name="T34" fmla="*/ 273 w 1401"/>
                  <a:gd name="T35" fmla="*/ 71 h 2304"/>
                  <a:gd name="T36" fmla="*/ 397 w 1401"/>
                  <a:gd name="T37" fmla="*/ 122 h 2304"/>
                  <a:gd name="T38" fmla="*/ 536 w 1401"/>
                  <a:gd name="T39" fmla="*/ 189 h 2304"/>
                  <a:gd name="T40" fmla="*/ 683 w 1401"/>
                  <a:gd name="T41" fmla="*/ 272 h 2304"/>
                  <a:gd name="T42" fmla="*/ 833 w 1401"/>
                  <a:gd name="T43" fmla="*/ 375 h 2304"/>
                  <a:gd name="T44" fmla="*/ 977 w 1401"/>
                  <a:gd name="T45" fmla="*/ 498 h 2304"/>
                  <a:gd name="T46" fmla="*/ 1110 w 1401"/>
                  <a:gd name="T47" fmla="*/ 640 h 2304"/>
                  <a:gd name="T48" fmla="*/ 1226 w 1401"/>
                  <a:gd name="T49" fmla="*/ 807 h 2304"/>
                  <a:gd name="T50" fmla="*/ 1317 w 1401"/>
                  <a:gd name="T51" fmla="*/ 998 h 2304"/>
                  <a:gd name="T52" fmla="*/ 1378 w 1401"/>
                  <a:gd name="T53" fmla="*/ 1214 h 2304"/>
                  <a:gd name="T54" fmla="*/ 1401 w 1401"/>
                  <a:gd name="T55" fmla="*/ 1456 h 2304"/>
                  <a:gd name="T56" fmla="*/ 1381 w 1401"/>
                  <a:gd name="T57" fmla="*/ 1726 h 2304"/>
                  <a:gd name="T58" fmla="*/ 1311 w 1401"/>
                  <a:gd name="T59" fmla="*/ 2026 h 2304"/>
                  <a:gd name="T60" fmla="*/ 1249 w 1401"/>
                  <a:gd name="T61" fmla="*/ 2179 h 2304"/>
                  <a:gd name="T62" fmla="*/ 1204 w 1401"/>
                  <a:gd name="T63" fmla="*/ 2113 h 2304"/>
                  <a:gd name="T64" fmla="*/ 1127 w 1401"/>
                  <a:gd name="T65" fmla="*/ 1994 h 2304"/>
                  <a:gd name="T66" fmla="*/ 1028 w 1401"/>
                  <a:gd name="T67" fmla="*/ 1835 h 2304"/>
                  <a:gd name="T68" fmla="*/ 919 w 1401"/>
                  <a:gd name="T69" fmla="*/ 1650 h 2304"/>
                  <a:gd name="T70" fmla="*/ 838 w 1401"/>
                  <a:gd name="T71" fmla="*/ 1502 h 2304"/>
                  <a:gd name="T72" fmla="*/ 786 w 1401"/>
                  <a:gd name="T73" fmla="*/ 1401 h 2304"/>
                  <a:gd name="T74" fmla="*/ 739 w 1401"/>
                  <a:gd name="T75" fmla="*/ 1303 h 2304"/>
                  <a:gd name="T76" fmla="*/ 697 w 1401"/>
                  <a:gd name="T77" fmla="*/ 1207 h 2304"/>
                  <a:gd name="T78" fmla="*/ 662 w 1401"/>
                  <a:gd name="T79" fmla="*/ 1114 h 2304"/>
                  <a:gd name="T80" fmla="*/ 636 w 1401"/>
                  <a:gd name="T81" fmla="*/ 1029 h 2304"/>
                  <a:gd name="T82" fmla="*/ 628 w 1401"/>
                  <a:gd name="T83" fmla="*/ 1000 h 2304"/>
                  <a:gd name="T84" fmla="*/ 640 w 1401"/>
                  <a:gd name="T85" fmla="*/ 1080 h 2304"/>
                  <a:gd name="T86" fmla="*/ 664 w 1401"/>
                  <a:gd name="T87" fmla="*/ 1223 h 2304"/>
                  <a:gd name="T88" fmla="*/ 692 w 1401"/>
                  <a:gd name="T89" fmla="*/ 1360 h 2304"/>
                  <a:gd name="T90" fmla="*/ 715 w 1401"/>
                  <a:gd name="T91" fmla="*/ 1462 h 2304"/>
                  <a:gd name="T92" fmla="*/ 742 w 1401"/>
                  <a:gd name="T93" fmla="*/ 1568 h 2304"/>
                  <a:gd name="T94" fmla="*/ 772 w 1401"/>
                  <a:gd name="T95" fmla="*/ 1678 h 2304"/>
                  <a:gd name="T96" fmla="*/ 808 w 1401"/>
                  <a:gd name="T97" fmla="*/ 1788 h 2304"/>
                  <a:gd name="T98" fmla="*/ 847 w 1401"/>
                  <a:gd name="T99" fmla="*/ 1896 h 2304"/>
                  <a:gd name="T100" fmla="*/ 890 w 1401"/>
                  <a:gd name="T101" fmla="*/ 2001 h 2304"/>
                  <a:gd name="T102" fmla="*/ 938 w 1401"/>
                  <a:gd name="T103" fmla="*/ 2099 h 2304"/>
                  <a:gd name="T104" fmla="*/ 990 w 1401"/>
                  <a:gd name="T105" fmla="*/ 2190 h 2304"/>
                  <a:gd name="T106" fmla="*/ 1048 w 1401"/>
                  <a:gd name="T107" fmla="*/ 2270 h 2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01" h="2304">
                    <a:moveTo>
                      <a:pt x="1078" y="2304"/>
                    </a:moveTo>
                    <a:lnTo>
                      <a:pt x="1063" y="2299"/>
                    </a:lnTo>
                    <a:lnTo>
                      <a:pt x="1021" y="2281"/>
                    </a:lnTo>
                    <a:lnTo>
                      <a:pt x="990" y="2267"/>
                    </a:lnTo>
                    <a:lnTo>
                      <a:pt x="955" y="2249"/>
                    </a:lnTo>
                    <a:lnTo>
                      <a:pt x="915" y="2228"/>
                    </a:lnTo>
                    <a:lnTo>
                      <a:pt x="872" y="2203"/>
                    </a:lnTo>
                    <a:lnTo>
                      <a:pt x="825" y="2174"/>
                    </a:lnTo>
                    <a:lnTo>
                      <a:pt x="774" y="2141"/>
                    </a:lnTo>
                    <a:lnTo>
                      <a:pt x="721" y="2104"/>
                    </a:lnTo>
                    <a:lnTo>
                      <a:pt x="667" y="2061"/>
                    </a:lnTo>
                    <a:lnTo>
                      <a:pt x="611" y="2014"/>
                    </a:lnTo>
                    <a:lnTo>
                      <a:pt x="554" y="1962"/>
                    </a:lnTo>
                    <a:lnTo>
                      <a:pt x="498" y="1905"/>
                    </a:lnTo>
                    <a:lnTo>
                      <a:pt x="442" y="1843"/>
                    </a:lnTo>
                    <a:lnTo>
                      <a:pt x="387" y="1775"/>
                    </a:lnTo>
                    <a:lnTo>
                      <a:pt x="333" y="1702"/>
                    </a:lnTo>
                    <a:lnTo>
                      <a:pt x="281" y="1624"/>
                    </a:lnTo>
                    <a:lnTo>
                      <a:pt x="232" y="1539"/>
                    </a:lnTo>
                    <a:lnTo>
                      <a:pt x="187" y="1447"/>
                    </a:lnTo>
                    <a:lnTo>
                      <a:pt x="145" y="1351"/>
                    </a:lnTo>
                    <a:lnTo>
                      <a:pt x="106" y="1247"/>
                    </a:lnTo>
                    <a:lnTo>
                      <a:pt x="73" y="1138"/>
                    </a:lnTo>
                    <a:lnTo>
                      <a:pt x="45" y="1021"/>
                    </a:lnTo>
                    <a:lnTo>
                      <a:pt x="24" y="897"/>
                    </a:lnTo>
                    <a:lnTo>
                      <a:pt x="9" y="766"/>
                    </a:lnTo>
                    <a:lnTo>
                      <a:pt x="0" y="628"/>
                    </a:lnTo>
                    <a:lnTo>
                      <a:pt x="0" y="482"/>
                    </a:lnTo>
                    <a:lnTo>
                      <a:pt x="7" y="329"/>
                    </a:lnTo>
                    <a:lnTo>
                      <a:pt x="24" y="170"/>
                    </a:lnTo>
                    <a:lnTo>
                      <a:pt x="49" y="0"/>
                    </a:lnTo>
                    <a:lnTo>
                      <a:pt x="70" y="5"/>
                    </a:lnTo>
                    <a:lnTo>
                      <a:pt x="128" y="23"/>
                    </a:lnTo>
                    <a:lnTo>
                      <a:pt x="170" y="36"/>
                    </a:lnTo>
                    <a:lnTo>
                      <a:pt x="219" y="52"/>
                    </a:lnTo>
                    <a:lnTo>
                      <a:pt x="273" y="71"/>
                    </a:lnTo>
                    <a:lnTo>
                      <a:pt x="332" y="94"/>
                    </a:lnTo>
                    <a:lnTo>
                      <a:pt x="397" y="122"/>
                    </a:lnTo>
                    <a:lnTo>
                      <a:pt x="465" y="153"/>
                    </a:lnTo>
                    <a:lnTo>
                      <a:pt x="536" y="189"/>
                    </a:lnTo>
                    <a:lnTo>
                      <a:pt x="609" y="228"/>
                    </a:lnTo>
                    <a:lnTo>
                      <a:pt x="683" y="272"/>
                    </a:lnTo>
                    <a:lnTo>
                      <a:pt x="758" y="321"/>
                    </a:lnTo>
                    <a:lnTo>
                      <a:pt x="833" y="375"/>
                    </a:lnTo>
                    <a:lnTo>
                      <a:pt x="906" y="433"/>
                    </a:lnTo>
                    <a:lnTo>
                      <a:pt x="977" y="498"/>
                    </a:lnTo>
                    <a:lnTo>
                      <a:pt x="1046" y="566"/>
                    </a:lnTo>
                    <a:lnTo>
                      <a:pt x="1110" y="640"/>
                    </a:lnTo>
                    <a:lnTo>
                      <a:pt x="1170" y="721"/>
                    </a:lnTo>
                    <a:lnTo>
                      <a:pt x="1226" y="807"/>
                    </a:lnTo>
                    <a:lnTo>
                      <a:pt x="1275" y="899"/>
                    </a:lnTo>
                    <a:lnTo>
                      <a:pt x="1317" y="998"/>
                    </a:lnTo>
                    <a:lnTo>
                      <a:pt x="1352" y="1102"/>
                    </a:lnTo>
                    <a:lnTo>
                      <a:pt x="1378" y="1214"/>
                    </a:lnTo>
                    <a:lnTo>
                      <a:pt x="1394" y="1332"/>
                    </a:lnTo>
                    <a:lnTo>
                      <a:pt x="1401" y="1456"/>
                    </a:lnTo>
                    <a:lnTo>
                      <a:pt x="1397" y="1587"/>
                    </a:lnTo>
                    <a:lnTo>
                      <a:pt x="1381" y="1726"/>
                    </a:lnTo>
                    <a:lnTo>
                      <a:pt x="1353" y="1873"/>
                    </a:lnTo>
                    <a:lnTo>
                      <a:pt x="1311" y="2026"/>
                    </a:lnTo>
                    <a:lnTo>
                      <a:pt x="1255" y="2188"/>
                    </a:lnTo>
                    <a:lnTo>
                      <a:pt x="1249" y="2179"/>
                    </a:lnTo>
                    <a:lnTo>
                      <a:pt x="1232" y="2153"/>
                    </a:lnTo>
                    <a:lnTo>
                      <a:pt x="1204" y="2113"/>
                    </a:lnTo>
                    <a:lnTo>
                      <a:pt x="1169" y="2059"/>
                    </a:lnTo>
                    <a:lnTo>
                      <a:pt x="1127" y="1994"/>
                    </a:lnTo>
                    <a:lnTo>
                      <a:pt x="1079" y="1918"/>
                    </a:lnTo>
                    <a:lnTo>
                      <a:pt x="1028" y="1835"/>
                    </a:lnTo>
                    <a:lnTo>
                      <a:pt x="973" y="1744"/>
                    </a:lnTo>
                    <a:lnTo>
                      <a:pt x="919" y="1650"/>
                    </a:lnTo>
                    <a:lnTo>
                      <a:pt x="864" y="1551"/>
                    </a:lnTo>
                    <a:lnTo>
                      <a:pt x="838" y="1502"/>
                    </a:lnTo>
                    <a:lnTo>
                      <a:pt x="812" y="1451"/>
                    </a:lnTo>
                    <a:lnTo>
                      <a:pt x="786" y="1401"/>
                    </a:lnTo>
                    <a:lnTo>
                      <a:pt x="762" y="1352"/>
                    </a:lnTo>
                    <a:lnTo>
                      <a:pt x="739" y="1303"/>
                    </a:lnTo>
                    <a:lnTo>
                      <a:pt x="717" y="1254"/>
                    </a:lnTo>
                    <a:lnTo>
                      <a:pt x="697" y="1207"/>
                    </a:lnTo>
                    <a:lnTo>
                      <a:pt x="679" y="1160"/>
                    </a:lnTo>
                    <a:lnTo>
                      <a:pt x="662" y="1114"/>
                    </a:lnTo>
                    <a:lnTo>
                      <a:pt x="648" y="1071"/>
                    </a:lnTo>
                    <a:lnTo>
                      <a:pt x="636" y="1029"/>
                    </a:lnTo>
                    <a:lnTo>
                      <a:pt x="626" y="989"/>
                    </a:lnTo>
                    <a:lnTo>
                      <a:pt x="628" y="1000"/>
                    </a:lnTo>
                    <a:lnTo>
                      <a:pt x="632" y="1031"/>
                    </a:lnTo>
                    <a:lnTo>
                      <a:pt x="640" y="1080"/>
                    </a:lnTo>
                    <a:lnTo>
                      <a:pt x="650" y="1145"/>
                    </a:lnTo>
                    <a:lnTo>
                      <a:pt x="664" y="1223"/>
                    </a:lnTo>
                    <a:lnTo>
                      <a:pt x="682" y="1312"/>
                    </a:lnTo>
                    <a:lnTo>
                      <a:pt x="692" y="1360"/>
                    </a:lnTo>
                    <a:lnTo>
                      <a:pt x="703" y="1409"/>
                    </a:lnTo>
                    <a:lnTo>
                      <a:pt x="715" y="1462"/>
                    </a:lnTo>
                    <a:lnTo>
                      <a:pt x="728" y="1514"/>
                    </a:lnTo>
                    <a:lnTo>
                      <a:pt x="742" y="1568"/>
                    </a:lnTo>
                    <a:lnTo>
                      <a:pt x="757" y="1623"/>
                    </a:lnTo>
                    <a:lnTo>
                      <a:pt x="772" y="1678"/>
                    </a:lnTo>
                    <a:lnTo>
                      <a:pt x="789" y="1733"/>
                    </a:lnTo>
                    <a:lnTo>
                      <a:pt x="808" y="1788"/>
                    </a:lnTo>
                    <a:lnTo>
                      <a:pt x="827" y="1843"/>
                    </a:lnTo>
                    <a:lnTo>
                      <a:pt x="847" y="1896"/>
                    </a:lnTo>
                    <a:lnTo>
                      <a:pt x="868" y="1950"/>
                    </a:lnTo>
                    <a:lnTo>
                      <a:pt x="890" y="2001"/>
                    </a:lnTo>
                    <a:lnTo>
                      <a:pt x="913" y="2051"/>
                    </a:lnTo>
                    <a:lnTo>
                      <a:pt x="938" y="2099"/>
                    </a:lnTo>
                    <a:lnTo>
                      <a:pt x="963" y="2146"/>
                    </a:lnTo>
                    <a:lnTo>
                      <a:pt x="990" y="2190"/>
                    </a:lnTo>
                    <a:lnTo>
                      <a:pt x="1019" y="2231"/>
                    </a:lnTo>
                    <a:lnTo>
                      <a:pt x="1048" y="2270"/>
                    </a:lnTo>
                    <a:lnTo>
                      <a:pt x="1078" y="2304"/>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9" name="Freeform 16">
                <a:extLst>
                  <a:ext uri="{FF2B5EF4-FFF2-40B4-BE49-F238E27FC236}">
                    <a16:creationId xmlns:a16="http://schemas.microsoft.com/office/drawing/2014/main" id="{AD0D319A-4DE1-490C-B25E-80204EFFBD9A}"/>
                  </a:ext>
                </a:extLst>
              </p:cNvPr>
              <p:cNvSpPr>
                <a:spLocks/>
              </p:cNvSpPr>
              <p:nvPr/>
            </p:nvSpPr>
            <p:spPr bwMode="auto">
              <a:xfrm>
                <a:off x="9934575" y="1854201"/>
                <a:ext cx="338137" cy="363538"/>
              </a:xfrm>
              <a:custGeom>
                <a:avLst/>
                <a:gdLst>
                  <a:gd name="T0" fmla="*/ 0 w 1063"/>
                  <a:gd name="T1" fmla="*/ 1062 h 1145"/>
                  <a:gd name="T2" fmla="*/ 2 w 1063"/>
                  <a:gd name="T3" fmla="*/ 1015 h 1145"/>
                  <a:gd name="T4" fmla="*/ 7 w 1063"/>
                  <a:gd name="T5" fmla="*/ 965 h 1145"/>
                  <a:gd name="T6" fmla="*/ 17 w 1063"/>
                  <a:gd name="T7" fmla="*/ 902 h 1145"/>
                  <a:gd name="T8" fmla="*/ 34 w 1063"/>
                  <a:gd name="T9" fmla="*/ 830 h 1145"/>
                  <a:gd name="T10" fmla="*/ 59 w 1063"/>
                  <a:gd name="T11" fmla="*/ 749 h 1145"/>
                  <a:gd name="T12" fmla="*/ 95 w 1063"/>
                  <a:gd name="T13" fmla="*/ 663 h 1145"/>
                  <a:gd name="T14" fmla="*/ 142 w 1063"/>
                  <a:gd name="T15" fmla="*/ 573 h 1145"/>
                  <a:gd name="T16" fmla="*/ 204 w 1063"/>
                  <a:gd name="T17" fmla="*/ 481 h 1145"/>
                  <a:gd name="T18" fmla="*/ 280 w 1063"/>
                  <a:gd name="T19" fmla="*/ 390 h 1145"/>
                  <a:gd name="T20" fmla="*/ 374 w 1063"/>
                  <a:gd name="T21" fmla="*/ 301 h 1145"/>
                  <a:gd name="T22" fmla="*/ 487 w 1063"/>
                  <a:gd name="T23" fmla="*/ 219 h 1145"/>
                  <a:gd name="T24" fmla="*/ 620 w 1063"/>
                  <a:gd name="T25" fmla="*/ 143 h 1145"/>
                  <a:gd name="T26" fmla="*/ 774 w 1063"/>
                  <a:gd name="T27" fmla="*/ 77 h 1145"/>
                  <a:gd name="T28" fmla="*/ 954 w 1063"/>
                  <a:gd name="T29" fmla="*/ 22 h 1145"/>
                  <a:gd name="T30" fmla="*/ 1055 w 1063"/>
                  <a:gd name="T31" fmla="*/ 12 h 1145"/>
                  <a:gd name="T32" fmla="*/ 1060 w 1063"/>
                  <a:gd name="T33" fmla="*/ 74 h 1145"/>
                  <a:gd name="T34" fmla="*/ 1063 w 1063"/>
                  <a:gd name="T35" fmla="*/ 139 h 1145"/>
                  <a:gd name="T36" fmla="*/ 1062 w 1063"/>
                  <a:gd name="T37" fmla="*/ 219 h 1145"/>
                  <a:gd name="T38" fmla="*/ 1055 w 1063"/>
                  <a:gd name="T39" fmla="*/ 310 h 1145"/>
                  <a:gd name="T40" fmla="*/ 1040 w 1063"/>
                  <a:gd name="T41" fmla="*/ 411 h 1145"/>
                  <a:gd name="T42" fmla="*/ 1015 w 1063"/>
                  <a:gd name="T43" fmla="*/ 516 h 1145"/>
                  <a:gd name="T44" fmla="*/ 979 w 1063"/>
                  <a:gd name="T45" fmla="*/ 623 h 1145"/>
                  <a:gd name="T46" fmla="*/ 929 w 1063"/>
                  <a:gd name="T47" fmla="*/ 728 h 1145"/>
                  <a:gd name="T48" fmla="*/ 862 w 1063"/>
                  <a:gd name="T49" fmla="*/ 829 h 1145"/>
                  <a:gd name="T50" fmla="*/ 775 w 1063"/>
                  <a:gd name="T51" fmla="*/ 921 h 1145"/>
                  <a:gd name="T52" fmla="*/ 669 w 1063"/>
                  <a:gd name="T53" fmla="*/ 1002 h 1145"/>
                  <a:gd name="T54" fmla="*/ 540 w 1063"/>
                  <a:gd name="T55" fmla="*/ 1067 h 1145"/>
                  <a:gd name="T56" fmla="*/ 385 w 1063"/>
                  <a:gd name="T57" fmla="*/ 1115 h 1145"/>
                  <a:gd name="T58" fmla="*/ 205 w 1063"/>
                  <a:gd name="T59" fmla="*/ 1141 h 1145"/>
                  <a:gd name="T60" fmla="*/ 116 w 1063"/>
                  <a:gd name="T61" fmla="*/ 1125 h 1145"/>
                  <a:gd name="T62" fmla="*/ 182 w 1063"/>
                  <a:gd name="T63" fmla="*/ 1032 h 1145"/>
                  <a:gd name="T64" fmla="*/ 249 w 1063"/>
                  <a:gd name="T65" fmla="*/ 942 h 1145"/>
                  <a:gd name="T66" fmla="*/ 328 w 1063"/>
                  <a:gd name="T67" fmla="*/ 841 h 1145"/>
                  <a:gd name="T68" fmla="*/ 415 w 1063"/>
                  <a:gd name="T69" fmla="*/ 738 h 1145"/>
                  <a:gd name="T70" fmla="*/ 481 w 1063"/>
                  <a:gd name="T71" fmla="*/ 666 h 1145"/>
                  <a:gd name="T72" fmla="*/ 525 w 1063"/>
                  <a:gd name="T73" fmla="*/ 621 h 1145"/>
                  <a:gd name="T74" fmla="*/ 568 w 1063"/>
                  <a:gd name="T75" fmla="*/ 582 h 1145"/>
                  <a:gd name="T76" fmla="*/ 610 w 1063"/>
                  <a:gd name="T77" fmla="*/ 549 h 1145"/>
                  <a:gd name="T78" fmla="*/ 608 w 1063"/>
                  <a:gd name="T79" fmla="*/ 547 h 1145"/>
                  <a:gd name="T80" fmla="*/ 509 w 1063"/>
                  <a:gd name="T81" fmla="*/ 607 h 1145"/>
                  <a:gd name="T82" fmla="*/ 414 w 1063"/>
                  <a:gd name="T83" fmla="*/ 669 h 1145"/>
                  <a:gd name="T84" fmla="*/ 308 w 1063"/>
                  <a:gd name="T85" fmla="*/ 745 h 1145"/>
                  <a:gd name="T86" fmla="*/ 227 w 1063"/>
                  <a:gd name="T87" fmla="*/ 810 h 1145"/>
                  <a:gd name="T88" fmla="*/ 175 w 1063"/>
                  <a:gd name="T89" fmla="*/ 855 h 1145"/>
                  <a:gd name="T90" fmla="*/ 126 w 1063"/>
                  <a:gd name="T91" fmla="*/ 902 h 1145"/>
                  <a:gd name="T92" fmla="*/ 82 w 1063"/>
                  <a:gd name="T93" fmla="*/ 949 h 1145"/>
                  <a:gd name="T94" fmla="*/ 44 w 1063"/>
                  <a:gd name="T95" fmla="*/ 999 h 1145"/>
                  <a:gd name="T96" fmla="*/ 13 w 1063"/>
                  <a:gd name="T97" fmla="*/ 1047 h 1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63" h="1145">
                    <a:moveTo>
                      <a:pt x="0" y="1072"/>
                    </a:moveTo>
                    <a:lnTo>
                      <a:pt x="0" y="1062"/>
                    </a:lnTo>
                    <a:lnTo>
                      <a:pt x="0" y="1035"/>
                    </a:lnTo>
                    <a:lnTo>
                      <a:pt x="2" y="1015"/>
                    </a:lnTo>
                    <a:lnTo>
                      <a:pt x="4" y="992"/>
                    </a:lnTo>
                    <a:lnTo>
                      <a:pt x="7" y="965"/>
                    </a:lnTo>
                    <a:lnTo>
                      <a:pt x="11" y="935"/>
                    </a:lnTo>
                    <a:lnTo>
                      <a:pt x="17" y="902"/>
                    </a:lnTo>
                    <a:lnTo>
                      <a:pt x="24" y="867"/>
                    </a:lnTo>
                    <a:lnTo>
                      <a:pt x="34" y="830"/>
                    </a:lnTo>
                    <a:lnTo>
                      <a:pt x="45" y="790"/>
                    </a:lnTo>
                    <a:lnTo>
                      <a:pt x="59" y="749"/>
                    </a:lnTo>
                    <a:lnTo>
                      <a:pt x="75" y="707"/>
                    </a:lnTo>
                    <a:lnTo>
                      <a:pt x="95" y="663"/>
                    </a:lnTo>
                    <a:lnTo>
                      <a:pt x="117" y="618"/>
                    </a:lnTo>
                    <a:lnTo>
                      <a:pt x="142" y="573"/>
                    </a:lnTo>
                    <a:lnTo>
                      <a:pt x="171" y="527"/>
                    </a:lnTo>
                    <a:lnTo>
                      <a:pt x="204" y="481"/>
                    </a:lnTo>
                    <a:lnTo>
                      <a:pt x="240" y="435"/>
                    </a:lnTo>
                    <a:lnTo>
                      <a:pt x="280" y="390"/>
                    </a:lnTo>
                    <a:lnTo>
                      <a:pt x="325" y="346"/>
                    </a:lnTo>
                    <a:lnTo>
                      <a:pt x="374" y="301"/>
                    </a:lnTo>
                    <a:lnTo>
                      <a:pt x="428" y="259"/>
                    </a:lnTo>
                    <a:lnTo>
                      <a:pt x="487" y="219"/>
                    </a:lnTo>
                    <a:lnTo>
                      <a:pt x="550" y="180"/>
                    </a:lnTo>
                    <a:lnTo>
                      <a:pt x="620" y="143"/>
                    </a:lnTo>
                    <a:lnTo>
                      <a:pt x="694" y="108"/>
                    </a:lnTo>
                    <a:lnTo>
                      <a:pt x="774" y="77"/>
                    </a:lnTo>
                    <a:lnTo>
                      <a:pt x="861" y="48"/>
                    </a:lnTo>
                    <a:lnTo>
                      <a:pt x="954" y="22"/>
                    </a:lnTo>
                    <a:lnTo>
                      <a:pt x="1053" y="0"/>
                    </a:lnTo>
                    <a:lnTo>
                      <a:pt x="1055" y="12"/>
                    </a:lnTo>
                    <a:lnTo>
                      <a:pt x="1058" y="48"/>
                    </a:lnTo>
                    <a:lnTo>
                      <a:pt x="1060" y="74"/>
                    </a:lnTo>
                    <a:lnTo>
                      <a:pt x="1062" y="104"/>
                    </a:lnTo>
                    <a:lnTo>
                      <a:pt x="1063" y="139"/>
                    </a:lnTo>
                    <a:lnTo>
                      <a:pt x="1063" y="178"/>
                    </a:lnTo>
                    <a:lnTo>
                      <a:pt x="1062" y="219"/>
                    </a:lnTo>
                    <a:lnTo>
                      <a:pt x="1059" y="263"/>
                    </a:lnTo>
                    <a:lnTo>
                      <a:pt x="1055" y="310"/>
                    </a:lnTo>
                    <a:lnTo>
                      <a:pt x="1049" y="360"/>
                    </a:lnTo>
                    <a:lnTo>
                      <a:pt x="1040" y="411"/>
                    </a:lnTo>
                    <a:lnTo>
                      <a:pt x="1029" y="463"/>
                    </a:lnTo>
                    <a:lnTo>
                      <a:pt x="1015" y="516"/>
                    </a:lnTo>
                    <a:lnTo>
                      <a:pt x="999" y="569"/>
                    </a:lnTo>
                    <a:lnTo>
                      <a:pt x="979" y="623"/>
                    </a:lnTo>
                    <a:lnTo>
                      <a:pt x="956" y="676"/>
                    </a:lnTo>
                    <a:lnTo>
                      <a:pt x="929" y="728"/>
                    </a:lnTo>
                    <a:lnTo>
                      <a:pt x="897" y="779"/>
                    </a:lnTo>
                    <a:lnTo>
                      <a:pt x="862" y="829"/>
                    </a:lnTo>
                    <a:lnTo>
                      <a:pt x="820" y="876"/>
                    </a:lnTo>
                    <a:lnTo>
                      <a:pt x="775" y="921"/>
                    </a:lnTo>
                    <a:lnTo>
                      <a:pt x="725" y="964"/>
                    </a:lnTo>
                    <a:lnTo>
                      <a:pt x="669" y="1002"/>
                    </a:lnTo>
                    <a:lnTo>
                      <a:pt x="607" y="1037"/>
                    </a:lnTo>
                    <a:lnTo>
                      <a:pt x="540" y="1067"/>
                    </a:lnTo>
                    <a:lnTo>
                      <a:pt x="466" y="1093"/>
                    </a:lnTo>
                    <a:lnTo>
                      <a:pt x="385" y="1115"/>
                    </a:lnTo>
                    <a:lnTo>
                      <a:pt x="298" y="1131"/>
                    </a:lnTo>
                    <a:lnTo>
                      <a:pt x="205" y="1141"/>
                    </a:lnTo>
                    <a:lnTo>
                      <a:pt x="102" y="1145"/>
                    </a:lnTo>
                    <a:lnTo>
                      <a:pt x="116" y="1125"/>
                    </a:lnTo>
                    <a:lnTo>
                      <a:pt x="155" y="1069"/>
                    </a:lnTo>
                    <a:lnTo>
                      <a:pt x="182" y="1032"/>
                    </a:lnTo>
                    <a:lnTo>
                      <a:pt x="214" y="989"/>
                    </a:lnTo>
                    <a:lnTo>
                      <a:pt x="249" y="942"/>
                    </a:lnTo>
                    <a:lnTo>
                      <a:pt x="287" y="892"/>
                    </a:lnTo>
                    <a:lnTo>
                      <a:pt x="328" y="841"/>
                    </a:lnTo>
                    <a:lnTo>
                      <a:pt x="370" y="789"/>
                    </a:lnTo>
                    <a:lnTo>
                      <a:pt x="415" y="738"/>
                    </a:lnTo>
                    <a:lnTo>
                      <a:pt x="459" y="689"/>
                    </a:lnTo>
                    <a:lnTo>
                      <a:pt x="481" y="666"/>
                    </a:lnTo>
                    <a:lnTo>
                      <a:pt x="503" y="644"/>
                    </a:lnTo>
                    <a:lnTo>
                      <a:pt x="525" y="621"/>
                    </a:lnTo>
                    <a:lnTo>
                      <a:pt x="547" y="601"/>
                    </a:lnTo>
                    <a:lnTo>
                      <a:pt x="568" y="582"/>
                    </a:lnTo>
                    <a:lnTo>
                      <a:pt x="589" y="565"/>
                    </a:lnTo>
                    <a:lnTo>
                      <a:pt x="610" y="549"/>
                    </a:lnTo>
                    <a:lnTo>
                      <a:pt x="631" y="535"/>
                    </a:lnTo>
                    <a:lnTo>
                      <a:pt x="608" y="547"/>
                    </a:lnTo>
                    <a:lnTo>
                      <a:pt x="549" y="582"/>
                    </a:lnTo>
                    <a:lnTo>
                      <a:pt x="509" y="607"/>
                    </a:lnTo>
                    <a:lnTo>
                      <a:pt x="464" y="636"/>
                    </a:lnTo>
                    <a:lnTo>
                      <a:pt x="414" y="669"/>
                    </a:lnTo>
                    <a:lnTo>
                      <a:pt x="361" y="706"/>
                    </a:lnTo>
                    <a:lnTo>
                      <a:pt x="308" y="745"/>
                    </a:lnTo>
                    <a:lnTo>
                      <a:pt x="254" y="787"/>
                    </a:lnTo>
                    <a:lnTo>
                      <a:pt x="227" y="810"/>
                    </a:lnTo>
                    <a:lnTo>
                      <a:pt x="201" y="832"/>
                    </a:lnTo>
                    <a:lnTo>
                      <a:pt x="175" y="855"/>
                    </a:lnTo>
                    <a:lnTo>
                      <a:pt x="150" y="878"/>
                    </a:lnTo>
                    <a:lnTo>
                      <a:pt x="126" y="902"/>
                    </a:lnTo>
                    <a:lnTo>
                      <a:pt x="104" y="925"/>
                    </a:lnTo>
                    <a:lnTo>
                      <a:pt x="82" y="949"/>
                    </a:lnTo>
                    <a:lnTo>
                      <a:pt x="62" y="974"/>
                    </a:lnTo>
                    <a:lnTo>
                      <a:pt x="44" y="999"/>
                    </a:lnTo>
                    <a:lnTo>
                      <a:pt x="27" y="1023"/>
                    </a:lnTo>
                    <a:lnTo>
                      <a:pt x="13" y="1047"/>
                    </a:lnTo>
                    <a:lnTo>
                      <a:pt x="0" y="1072"/>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0" name="Freeform 17">
                <a:extLst>
                  <a:ext uri="{FF2B5EF4-FFF2-40B4-BE49-F238E27FC236}">
                    <a16:creationId xmlns:a16="http://schemas.microsoft.com/office/drawing/2014/main" id="{8EBF39A0-356F-44AF-91E6-B0A0FBC2F3F4}"/>
                  </a:ext>
                </a:extLst>
              </p:cNvPr>
              <p:cNvSpPr>
                <a:spLocks/>
              </p:cNvSpPr>
              <p:nvPr/>
            </p:nvSpPr>
            <p:spPr bwMode="auto">
              <a:xfrm>
                <a:off x="8516938" y="1916113"/>
                <a:ext cx="373062" cy="290513"/>
              </a:xfrm>
              <a:custGeom>
                <a:avLst/>
                <a:gdLst>
                  <a:gd name="T0" fmla="*/ 1107 w 1173"/>
                  <a:gd name="T1" fmla="*/ 913 h 917"/>
                  <a:gd name="T2" fmla="*/ 1062 w 1173"/>
                  <a:gd name="T3" fmla="*/ 916 h 917"/>
                  <a:gd name="T4" fmla="*/ 1015 w 1173"/>
                  <a:gd name="T5" fmla="*/ 917 h 917"/>
                  <a:gd name="T6" fmla="*/ 955 w 1173"/>
                  <a:gd name="T7" fmla="*/ 914 h 917"/>
                  <a:gd name="T8" fmla="*/ 885 w 1173"/>
                  <a:gd name="T9" fmla="*/ 905 h 917"/>
                  <a:gd name="T10" fmla="*/ 807 w 1173"/>
                  <a:gd name="T11" fmla="*/ 890 h 917"/>
                  <a:gd name="T12" fmla="*/ 722 w 1173"/>
                  <a:gd name="T13" fmla="*/ 865 h 917"/>
                  <a:gd name="T14" fmla="*/ 633 w 1173"/>
                  <a:gd name="T15" fmla="*/ 830 h 917"/>
                  <a:gd name="T16" fmla="*/ 540 w 1173"/>
                  <a:gd name="T17" fmla="*/ 783 h 917"/>
                  <a:gd name="T18" fmla="*/ 447 w 1173"/>
                  <a:gd name="T19" fmla="*/ 720 h 917"/>
                  <a:gd name="T20" fmla="*/ 355 w 1173"/>
                  <a:gd name="T21" fmla="*/ 641 h 917"/>
                  <a:gd name="T22" fmla="*/ 265 w 1173"/>
                  <a:gd name="T23" fmla="*/ 544 h 917"/>
                  <a:gd name="T24" fmla="*/ 180 w 1173"/>
                  <a:gd name="T25" fmla="*/ 426 h 917"/>
                  <a:gd name="T26" fmla="*/ 101 w 1173"/>
                  <a:gd name="T27" fmla="*/ 288 h 917"/>
                  <a:gd name="T28" fmla="*/ 31 w 1173"/>
                  <a:gd name="T29" fmla="*/ 126 h 917"/>
                  <a:gd name="T30" fmla="*/ 12 w 1173"/>
                  <a:gd name="T31" fmla="*/ 32 h 917"/>
                  <a:gd name="T32" fmla="*/ 69 w 1173"/>
                  <a:gd name="T33" fmla="*/ 20 h 917"/>
                  <a:gd name="T34" fmla="*/ 130 w 1173"/>
                  <a:gd name="T35" fmla="*/ 11 h 917"/>
                  <a:gd name="T36" fmla="*/ 205 w 1173"/>
                  <a:gd name="T37" fmla="*/ 4 h 917"/>
                  <a:gd name="T38" fmla="*/ 291 w 1173"/>
                  <a:gd name="T39" fmla="*/ 0 h 917"/>
                  <a:gd name="T40" fmla="*/ 387 w 1173"/>
                  <a:gd name="T41" fmla="*/ 3 h 917"/>
                  <a:gd name="T42" fmla="*/ 488 w 1173"/>
                  <a:gd name="T43" fmla="*/ 15 h 917"/>
                  <a:gd name="T44" fmla="*/ 592 w 1173"/>
                  <a:gd name="T45" fmla="*/ 38 h 917"/>
                  <a:gd name="T46" fmla="*/ 696 w 1173"/>
                  <a:gd name="T47" fmla="*/ 75 h 917"/>
                  <a:gd name="T48" fmla="*/ 798 w 1173"/>
                  <a:gd name="T49" fmla="*/ 128 h 917"/>
                  <a:gd name="T50" fmla="*/ 893 w 1173"/>
                  <a:gd name="T51" fmla="*/ 198 h 917"/>
                  <a:gd name="T52" fmla="*/ 980 w 1173"/>
                  <a:gd name="T53" fmla="*/ 290 h 917"/>
                  <a:gd name="T54" fmla="*/ 1055 w 1173"/>
                  <a:gd name="T55" fmla="*/ 404 h 917"/>
                  <a:gd name="T56" fmla="*/ 1116 w 1173"/>
                  <a:gd name="T57" fmla="*/ 544 h 917"/>
                  <a:gd name="T58" fmla="*/ 1159 w 1173"/>
                  <a:gd name="T59" fmla="*/ 712 h 917"/>
                  <a:gd name="T60" fmla="*/ 1153 w 1173"/>
                  <a:gd name="T61" fmla="*/ 797 h 917"/>
                  <a:gd name="T62" fmla="*/ 1059 w 1173"/>
                  <a:gd name="T63" fmla="*/ 744 h 917"/>
                  <a:gd name="T64" fmla="*/ 967 w 1173"/>
                  <a:gd name="T65" fmla="*/ 691 h 917"/>
                  <a:gd name="T66" fmla="*/ 865 w 1173"/>
                  <a:gd name="T67" fmla="*/ 628 h 917"/>
                  <a:gd name="T68" fmla="*/ 759 w 1173"/>
                  <a:gd name="T69" fmla="*/ 557 h 917"/>
                  <a:gd name="T70" fmla="*/ 684 w 1173"/>
                  <a:gd name="T71" fmla="*/ 502 h 917"/>
                  <a:gd name="T72" fmla="*/ 639 w 1173"/>
                  <a:gd name="T73" fmla="*/ 466 h 917"/>
                  <a:gd name="T74" fmla="*/ 597 w 1173"/>
                  <a:gd name="T75" fmla="*/ 428 h 917"/>
                  <a:gd name="T76" fmla="*/ 562 w 1173"/>
                  <a:gd name="T77" fmla="*/ 393 h 917"/>
                  <a:gd name="T78" fmla="*/ 560 w 1173"/>
                  <a:gd name="T79" fmla="*/ 395 h 917"/>
                  <a:gd name="T80" fmla="*/ 627 w 1173"/>
                  <a:gd name="T81" fmla="*/ 482 h 917"/>
                  <a:gd name="T82" fmla="*/ 694 w 1173"/>
                  <a:gd name="T83" fmla="*/ 565 h 917"/>
                  <a:gd name="T84" fmla="*/ 778 w 1173"/>
                  <a:gd name="T85" fmla="*/ 657 h 917"/>
                  <a:gd name="T86" fmla="*/ 846 w 1173"/>
                  <a:gd name="T87" fmla="*/ 726 h 917"/>
                  <a:gd name="T88" fmla="*/ 894 w 1173"/>
                  <a:gd name="T89" fmla="*/ 770 h 917"/>
                  <a:gd name="T90" fmla="*/ 943 w 1173"/>
                  <a:gd name="T91" fmla="*/ 811 h 917"/>
                  <a:gd name="T92" fmla="*/ 993 w 1173"/>
                  <a:gd name="T93" fmla="*/ 847 h 917"/>
                  <a:gd name="T94" fmla="*/ 1042 w 1173"/>
                  <a:gd name="T95" fmla="*/ 878 h 917"/>
                  <a:gd name="T96" fmla="*/ 1091 w 1173"/>
                  <a:gd name="T97" fmla="*/ 902 h 9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173" h="917">
                    <a:moveTo>
                      <a:pt x="1116" y="912"/>
                    </a:moveTo>
                    <a:lnTo>
                      <a:pt x="1107" y="913"/>
                    </a:lnTo>
                    <a:lnTo>
                      <a:pt x="1081" y="915"/>
                    </a:lnTo>
                    <a:lnTo>
                      <a:pt x="1062" y="916"/>
                    </a:lnTo>
                    <a:lnTo>
                      <a:pt x="1040" y="917"/>
                    </a:lnTo>
                    <a:lnTo>
                      <a:pt x="1015" y="917"/>
                    </a:lnTo>
                    <a:lnTo>
                      <a:pt x="987" y="916"/>
                    </a:lnTo>
                    <a:lnTo>
                      <a:pt x="955" y="914"/>
                    </a:lnTo>
                    <a:lnTo>
                      <a:pt x="921" y="910"/>
                    </a:lnTo>
                    <a:lnTo>
                      <a:pt x="885" y="905"/>
                    </a:lnTo>
                    <a:lnTo>
                      <a:pt x="847" y="899"/>
                    </a:lnTo>
                    <a:lnTo>
                      <a:pt x="807" y="890"/>
                    </a:lnTo>
                    <a:lnTo>
                      <a:pt x="766" y="879"/>
                    </a:lnTo>
                    <a:lnTo>
                      <a:pt x="722" y="865"/>
                    </a:lnTo>
                    <a:lnTo>
                      <a:pt x="678" y="849"/>
                    </a:lnTo>
                    <a:lnTo>
                      <a:pt x="633" y="830"/>
                    </a:lnTo>
                    <a:lnTo>
                      <a:pt x="587" y="808"/>
                    </a:lnTo>
                    <a:lnTo>
                      <a:pt x="540" y="783"/>
                    </a:lnTo>
                    <a:lnTo>
                      <a:pt x="494" y="753"/>
                    </a:lnTo>
                    <a:lnTo>
                      <a:pt x="447" y="720"/>
                    </a:lnTo>
                    <a:lnTo>
                      <a:pt x="401" y="682"/>
                    </a:lnTo>
                    <a:lnTo>
                      <a:pt x="355" y="641"/>
                    </a:lnTo>
                    <a:lnTo>
                      <a:pt x="309" y="594"/>
                    </a:lnTo>
                    <a:lnTo>
                      <a:pt x="265" y="544"/>
                    </a:lnTo>
                    <a:lnTo>
                      <a:pt x="222" y="488"/>
                    </a:lnTo>
                    <a:lnTo>
                      <a:pt x="180" y="426"/>
                    </a:lnTo>
                    <a:lnTo>
                      <a:pt x="140" y="360"/>
                    </a:lnTo>
                    <a:lnTo>
                      <a:pt x="101" y="288"/>
                    </a:lnTo>
                    <a:lnTo>
                      <a:pt x="65" y="210"/>
                    </a:lnTo>
                    <a:lnTo>
                      <a:pt x="31" y="126"/>
                    </a:lnTo>
                    <a:lnTo>
                      <a:pt x="0" y="35"/>
                    </a:lnTo>
                    <a:lnTo>
                      <a:pt x="12" y="32"/>
                    </a:lnTo>
                    <a:lnTo>
                      <a:pt x="45" y="25"/>
                    </a:lnTo>
                    <a:lnTo>
                      <a:pt x="69" y="20"/>
                    </a:lnTo>
                    <a:lnTo>
                      <a:pt x="97" y="16"/>
                    </a:lnTo>
                    <a:lnTo>
                      <a:pt x="130" y="11"/>
                    </a:lnTo>
                    <a:lnTo>
                      <a:pt x="166" y="7"/>
                    </a:lnTo>
                    <a:lnTo>
                      <a:pt x="205" y="4"/>
                    </a:lnTo>
                    <a:lnTo>
                      <a:pt x="247" y="1"/>
                    </a:lnTo>
                    <a:lnTo>
                      <a:pt x="291" y="0"/>
                    </a:lnTo>
                    <a:lnTo>
                      <a:pt x="339" y="1"/>
                    </a:lnTo>
                    <a:lnTo>
                      <a:pt x="387" y="3"/>
                    </a:lnTo>
                    <a:lnTo>
                      <a:pt x="437" y="8"/>
                    </a:lnTo>
                    <a:lnTo>
                      <a:pt x="488" y="15"/>
                    </a:lnTo>
                    <a:lnTo>
                      <a:pt x="539" y="25"/>
                    </a:lnTo>
                    <a:lnTo>
                      <a:pt x="592" y="38"/>
                    </a:lnTo>
                    <a:lnTo>
                      <a:pt x="644" y="55"/>
                    </a:lnTo>
                    <a:lnTo>
                      <a:pt x="696" y="75"/>
                    </a:lnTo>
                    <a:lnTo>
                      <a:pt x="747" y="99"/>
                    </a:lnTo>
                    <a:lnTo>
                      <a:pt x="798" y="128"/>
                    </a:lnTo>
                    <a:lnTo>
                      <a:pt x="846" y="161"/>
                    </a:lnTo>
                    <a:lnTo>
                      <a:pt x="893" y="198"/>
                    </a:lnTo>
                    <a:lnTo>
                      <a:pt x="937" y="241"/>
                    </a:lnTo>
                    <a:lnTo>
                      <a:pt x="980" y="290"/>
                    </a:lnTo>
                    <a:lnTo>
                      <a:pt x="1019" y="344"/>
                    </a:lnTo>
                    <a:lnTo>
                      <a:pt x="1055" y="404"/>
                    </a:lnTo>
                    <a:lnTo>
                      <a:pt x="1087" y="472"/>
                    </a:lnTo>
                    <a:lnTo>
                      <a:pt x="1116" y="544"/>
                    </a:lnTo>
                    <a:lnTo>
                      <a:pt x="1140" y="625"/>
                    </a:lnTo>
                    <a:lnTo>
                      <a:pt x="1159" y="712"/>
                    </a:lnTo>
                    <a:lnTo>
                      <a:pt x="1173" y="808"/>
                    </a:lnTo>
                    <a:lnTo>
                      <a:pt x="1153" y="797"/>
                    </a:lnTo>
                    <a:lnTo>
                      <a:pt x="1097" y="765"/>
                    </a:lnTo>
                    <a:lnTo>
                      <a:pt x="1059" y="744"/>
                    </a:lnTo>
                    <a:lnTo>
                      <a:pt x="1016" y="719"/>
                    </a:lnTo>
                    <a:lnTo>
                      <a:pt x="967" y="691"/>
                    </a:lnTo>
                    <a:lnTo>
                      <a:pt x="917" y="661"/>
                    </a:lnTo>
                    <a:lnTo>
                      <a:pt x="865" y="628"/>
                    </a:lnTo>
                    <a:lnTo>
                      <a:pt x="812" y="593"/>
                    </a:lnTo>
                    <a:lnTo>
                      <a:pt x="759" y="557"/>
                    </a:lnTo>
                    <a:lnTo>
                      <a:pt x="709" y="521"/>
                    </a:lnTo>
                    <a:lnTo>
                      <a:pt x="684" y="502"/>
                    </a:lnTo>
                    <a:lnTo>
                      <a:pt x="661" y="484"/>
                    </a:lnTo>
                    <a:lnTo>
                      <a:pt x="639" y="466"/>
                    </a:lnTo>
                    <a:lnTo>
                      <a:pt x="617" y="447"/>
                    </a:lnTo>
                    <a:lnTo>
                      <a:pt x="597" y="428"/>
                    </a:lnTo>
                    <a:lnTo>
                      <a:pt x="579" y="410"/>
                    </a:lnTo>
                    <a:lnTo>
                      <a:pt x="562" y="393"/>
                    </a:lnTo>
                    <a:lnTo>
                      <a:pt x="547" y="375"/>
                    </a:lnTo>
                    <a:lnTo>
                      <a:pt x="560" y="395"/>
                    </a:lnTo>
                    <a:lnTo>
                      <a:pt x="599" y="447"/>
                    </a:lnTo>
                    <a:lnTo>
                      <a:pt x="627" y="482"/>
                    </a:lnTo>
                    <a:lnTo>
                      <a:pt x="658" y="522"/>
                    </a:lnTo>
                    <a:lnTo>
                      <a:pt x="694" y="565"/>
                    </a:lnTo>
                    <a:lnTo>
                      <a:pt x="734" y="611"/>
                    </a:lnTo>
                    <a:lnTo>
                      <a:pt x="778" y="657"/>
                    </a:lnTo>
                    <a:lnTo>
                      <a:pt x="823" y="703"/>
                    </a:lnTo>
                    <a:lnTo>
                      <a:pt x="846" y="726"/>
                    </a:lnTo>
                    <a:lnTo>
                      <a:pt x="870" y="748"/>
                    </a:lnTo>
                    <a:lnTo>
                      <a:pt x="894" y="770"/>
                    </a:lnTo>
                    <a:lnTo>
                      <a:pt x="918" y="791"/>
                    </a:lnTo>
                    <a:lnTo>
                      <a:pt x="943" y="811"/>
                    </a:lnTo>
                    <a:lnTo>
                      <a:pt x="967" y="830"/>
                    </a:lnTo>
                    <a:lnTo>
                      <a:pt x="993" y="847"/>
                    </a:lnTo>
                    <a:lnTo>
                      <a:pt x="1018" y="863"/>
                    </a:lnTo>
                    <a:lnTo>
                      <a:pt x="1042" y="878"/>
                    </a:lnTo>
                    <a:lnTo>
                      <a:pt x="1067" y="891"/>
                    </a:lnTo>
                    <a:lnTo>
                      <a:pt x="1091" y="902"/>
                    </a:lnTo>
                    <a:lnTo>
                      <a:pt x="1116" y="912"/>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1" name="Freeform 18">
                <a:extLst>
                  <a:ext uri="{FF2B5EF4-FFF2-40B4-BE49-F238E27FC236}">
                    <a16:creationId xmlns:a16="http://schemas.microsoft.com/office/drawing/2014/main" id="{ED6F04A5-A743-46F5-AE69-6FDDBA4B0E9B}"/>
                  </a:ext>
                </a:extLst>
              </p:cNvPr>
              <p:cNvSpPr>
                <a:spLocks/>
              </p:cNvSpPr>
              <p:nvPr/>
            </p:nvSpPr>
            <p:spPr bwMode="auto">
              <a:xfrm>
                <a:off x="9285288" y="1366838"/>
                <a:ext cx="250825" cy="514350"/>
              </a:xfrm>
              <a:custGeom>
                <a:avLst/>
                <a:gdLst>
                  <a:gd name="T0" fmla="*/ 243 w 787"/>
                  <a:gd name="T1" fmla="*/ 1615 h 1622"/>
                  <a:gd name="T2" fmla="*/ 212 w 787"/>
                  <a:gd name="T3" fmla="*/ 1575 h 1622"/>
                  <a:gd name="T4" fmla="*/ 181 w 787"/>
                  <a:gd name="T5" fmla="*/ 1530 h 1622"/>
                  <a:gd name="T6" fmla="*/ 145 w 787"/>
                  <a:gd name="T7" fmla="*/ 1471 h 1622"/>
                  <a:gd name="T8" fmla="*/ 108 w 787"/>
                  <a:gd name="T9" fmla="*/ 1400 h 1622"/>
                  <a:gd name="T10" fmla="*/ 73 w 787"/>
                  <a:gd name="T11" fmla="*/ 1316 h 1622"/>
                  <a:gd name="T12" fmla="*/ 41 w 787"/>
                  <a:gd name="T13" fmla="*/ 1220 h 1622"/>
                  <a:gd name="T14" fmla="*/ 16 w 787"/>
                  <a:gd name="T15" fmla="*/ 1112 h 1622"/>
                  <a:gd name="T16" fmla="*/ 2 w 787"/>
                  <a:gd name="T17" fmla="*/ 994 h 1622"/>
                  <a:gd name="T18" fmla="*/ 1 w 787"/>
                  <a:gd name="T19" fmla="*/ 865 h 1622"/>
                  <a:gd name="T20" fmla="*/ 16 w 787"/>
                  <a:gd name="T21" fmla="*/ 727 h 1622"/>
                  <a:gd name="T22" fmla="*/ 50 w 787"/>
                  <a:gd name="T23" fmla="*/ 580 h 1622"/>
                  <a:gd name="T24" fmla="*/ 107 w 787"/>
                  <a:gd name="T25" fmla="*/ 424 h 1622"/>
                  <a:gd name="T26" fmla="*/ 187 w 787"/>
                  <a:gd name="T27" fmla="*/ 260 h 1622"/>
                  <a:gd name="T28" fmla="*/ 296 w 787"/>
                  <a:gd name="T29" fmla="*/ 89 h 1622"/>
                  <a:gd name="T30" fmla="*/ 371 w 787"/>
                  <a:gd name="T31" fmla="*/ 9 h 1622"/>
                  <a:gd name="T32" fmla="*/ 419 w 787"/>
                  <a:gd name="T33" fmla="*/ 56 h 1622"/>
                  <a:gd name="T34" fmla="*/ 466 w 787"/>
                  <a:gd name="T35" fmla="*/ 108 h 1622"/>
                  <a:gd name="T36" fmla="*/ 523 w 787"/>
                  <a:gd name="T37" fmla="*/ 174 h 1622"/>
                  <a:gd name="T38" fmla="*/ 581 w 787"/>
                  <a:gd name="T39" fmla="*/ 255 h 1622"/>
                  <a:gd name="T40" fmla="*/ 639 w 787"/>
                  <a:gd name="T41" fmla="*/ 347 h 1622"/>
                  <a:gd name="T42" fmla="*/ 693 w 787"/>
                  <a:gd name="T43" fmla="*/ 450 h 1622"/>
                  <a:gd name="T44" fmla="*/ 739 w 787"/>
                  <a:gd name="T45" fmla="*/ 564 h 1622"/>
                  <a:gd name="T46" fmla="*/ 771 w 787"/>
                  <a:gd name="T47" fmla="*/ 686 h 1622"/>
                  <a:gd name="T48" fmla="*/ 787 w 787"/>
                  <a:gd name="T49" fmla="*/ 816 h 1622"/>
                  <a:gd name="T50" fmla="*/ 781 w 787"/>
                  <a:gd name="T51" fmla="*/ 952 h 1622"/>
                  <a:gd name="T52" fmla="*/ 751 w 787"/>
                  <a:gd name="T53" fmla="*/ 1093 h 1622"/>
                  <a:gd name="T54" fmla="*/ 690 w 787"/>
                  <a:gd name="T55" fmla="*/ 1238 h 1622"/>
                  <a:gd name="T56" fmla="*/ 597 w 787"/>
                  <a:gd name="T57" fmla="*/ 1386 h 1622"/>
                  <a:gd name="T58" fmla="*/ 466 w 787"/>
                  <a:gd name="T59" fmla="*/ 1535 h 1622"/>
                  <a:gd name="T60" fmla="*/ 385 w 787"/>
                  <a:gd name="T61" fmla="*/ 1603 h 1622"/>
                  <a:gd name="T62" fmla="*/ 380 w 787"/>
                  <a:gd name="T63" fmla="*/ 1552 h 1622"/>
                  <a:gd name="T64" fmla="*/ 372 w 787"/>
                  <a:gd name="T65" fmla="*/ 1460 h 1622"/>
                  <a:gd name="T66" fmla="*/ 364 w 787"/>
                  <a:gd name="T67" fmla="*/ 1340 h 1622"/>
                  <a:gd name="T68" fmla="*/ 358 w 787"/>
                  <a:gd name="T69" fmla="*/ 1201 h 1622"/>
                  <a:gd name="T70" fmla="*/ 356 w 787"/>
                  <a:gd name="T71" fmla="*/ 1057 h 1622"/>
                  <a:gd name="T72" fmla="*/ 360 w 787"/>
                  <a:gd name="T73" fmla="*/ 950 h 1622"/>
                  <a:gd name="T74" fmla="*/ 365 w 787"/>
                  <a:gd name="T75" fmla="*/ 882 h 1622"/>
                  <a:gd name="T76" fmla="*/ 373 w 787"/>
                  <a:gd name="T77" fmla="*/ 820 h 1622"/>
                  <a:gd name="T78" fmla="*/ 384 w 787"/>
                  <a:gd name="T79" fmla="*/ 763 h 1622"/>
                  <a:gd name="T80" fmla="*/ 388 w 787"/>
                  <a:gd name="T81" fmla="*/ 744 h 1622"/>
                  <a:gd name="T82" fmla="*/ 371 w 787"/>
                  <a:gd name="T83" fmla="*/ 793 h 1622"/>
                  <a:gd name="T84" fmla="*/ 342 w 787"/>
                  <a:gd name="T85" fmla="*/ 881 h 1622"/>
                  <a:gd name="T86" fmla="*/ 308 w 787"/>
                  <a:gd name="T87" fmla="*/ 1000 h 1622"/>
                  <a:gd name="T88" fmla="*/ 281 w 787"/>
                  <a:gd name="T89" fmla="*/ 1102 h 1622"/>
                  <a:gd name="T90" fmla="*/ 266 w 787"/>
                  <a:gd name="T91" fmla="*/ 1173 h 1622"/>
                  <a:gd name="T92" fmla="*/ 252 w 787"/>
                  <a:gd name="T93" fmla="*/ 1247 h 1622"/>
                  <a:gd name="T94" fmla="*/ 242 w 787"/>
                  <a:gd name="T95" fmla="*/ 1320 h 1622"/>
                  <a:gd name="T96" fmla="*/ 235 w 787"/>
                  <a:gd name="T97" fmla="*/ 1394 h 1622"/>
                  <a:gd name="T98" fmla="*/ 232 w 787"/>
                  <a:gd name="T99" fmla="*/ 1464 h 1622"/>
                  <a:gd name="T100" fmla="*/ 235 w 787"/>
                  <a:gd name="T101" fmla="*/ 1531 h 1622"/>
                  <a:gd name="T102" fmla="*/ 243 w 787"/>
                  <a:gd name="T103" fmla="*/ 1593 h 16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787" h="1622">
                    <a:moveTo>
                      <a:pt x="250" y="1622"/>
                    </a:moveTo>
                    <a:lnTo>
                      <a:pt x="243" y="1615"/>
                    </a:lnTo>
                    <a:lnTo>
                      <a:pt x="224" y="1592"/>
                    </a:lnTo>
                    <a:lnTo>
                      <a:pt x="212" y="1575"/>
                    </a:lnTo>
                    <a:lnTo>
                      <a:pt x="197" y="1554"/>
                    </a:lnTo>
                    <a:lnTo>
                      <a:pt x="181" y="1530"/>
                    </a:lnTo>
                    <a:lnTo>
                      <a:pt x="163" y="1502"/>
                    </a:lnTo>
                    <a:lnTo>
                      <a:pt x="145" y="1471"/>
                    </a:lnTo>
                    <a:lnTo>
                      <a:pt x="127" y="1437"/>
                    </a:lnTo>
                    <a:lnTo>
                      <a:pt x="108" y="1400"/>
                    </a:lnTo>
                    <a:lnTo>
                      <a:pt x="90" y="1359"/>
                    </a:lnTo>
                    <a:lnTo>
                      <a:pt x="73" y="1316"/>
                    </a:lnTo>
                    <a:lnTo>
                      <a:pt x="55" y="1269"/>
                    </a:lnTo>
                    <a:lnTo>
                      <a:pt x="41" y="1220"/>
                    </a:lnTo>
                    <a:lnTo>
                      <a:pt x="27" y="1167"/>
                    </a:lnTo>
                    <a:lnTo>
                      <a:pt x="16" y="1112"/>
                    </a:lnTo>
                    <a:lnTo>
                      <a:pt x="8" y="1055"/>
                    </a:lnTo>
                    <a:lnTo>
                      <a:pt x="2" y="994"/>
                    </a:lnTo>
                    <a:lnTo>
                      <a:pt x="0" y="931"/>
                    </a:lnTo>
                    <a:lnTo>
                      <a:pt x="1" y="865"/>
                    </a:lnTo>
                    <a:lnTo>
                      <a:pt x="7" y="797"/>
                    </a:lnTo>
                    <a:lnTo>
                      <a:pt x="16" y="727"/>
                    </a:lnTo>
                    <a:lnTo>
                      <a:pt x="31" y="654"/>
                    </a:lnTo>
                    <a:lnTo>
                      <a:pt x="50" y="580"/>
                    </a:lnTo>
                    <a:lnTo>
                      <a:pt x="76" y="502"/>
                    </a:lnTo>
                    <a:lnTo>
                      <a:pt x="107" y="424"/>
                    </a:lnTo>
                    <a:lnTo>
                      <a:pt x="143" y="342"/>
                    </a:lnTo>
                    <a:lnTo>
                      <a:pt x="187" y="260"/>
                    </a:lnTo>
                    <a:lnTo>
                      <a:pt x="237" y="175"/>
                    </a:lnTo>
                    <a:lnTo>
                      <a:pt x="296" y="89"/>
                    </a:lnTo>
                    <a:lnTo>
                      <a:pt x="361" y="0"/>
                    </a:lnTo>
                    <a:lnTo>
                      <a:pt x="371" y="9"/>
                    </a:lnTo>
                    <a:lnTo>
                      <a:pt x="399" y="36"/>
                    </a:lnTo>
                    <a:lnTo>
                      <a:pt x="419" y="56"/>
                    </a:lnTo>
                    <a:lnTo>
                      <a:pt x="441" y="81"/>
                    </a:lnTo>
                    <a:lnTo>
                      <a:pt x="466" y="108"/>
                    </a:lnTo>
                    <a:lnTo>
                      <a:pt x="493" y="139"/>
                    </a:lnTo>
                    <a:lnTo>
                      <a:pt x="523" y="174"/>
                    </a:lnTo>
                    <a:lnTo>
                      <a:pt x="552" y="212"/>
                    </a:lnTo>
                    <a:lnTo>
                      <a:pt x="581" y="255"/>
                    </a:lnTo>
                    <a:lnTo>
                      <a:pt x="611" y="299"/>
                    </a:lnTo>
                    <a:lnTo>
                      <a:pt x="639" y="347"/>
                    </a:lnTo>
                    <a:lnTo>
                      <a:pt x="667" y="397"/>
                    </a:lnTo>
                    <a:lnTo>
                      <a:pt x="693" y="450"/>
                    </a:lnTo>
                    <a:lnTo>
                      <a:pt x="718" y="506"/>
                    </a:lnTo>
                    <a:lnTo>
                      <a:pt x="739" y="564"/>
                    </a:lnTo>
                    <a:lnTo>
                      <a:pt x="757" y="624"/>
                    </a:lnTo>
                    <a:lnTo>
                      <a:pt x="771" y="686"/>
                    </a:lnTo>
                    <a:lnTo>
                      <a:pt x="781" y="750"/>
                    </a:lnTo>
                    <a:lnTo>
                      <a:pt x="787" y="816"/>
                    </a:lnTo>
                    <a:lnTo>
                      <a:pt x="787" y="882"/>
                    </a:lnTo>
                    <a:lnTo>
                      <a:pt x="781" y="952"/>
                    </a:lnTo>
                    <a:lnTo>
                      <a:pt x="769" y="1021"/>
                    </a:lnTo>
                    <a:lnTo>
                      <a:pt x="751" y="1093"/>
                    </a:lnTo>
                    <a:lnTo>
                      <a:pt x="725" y="1165"/>
                    </a:lnTo>
                    <a:lnTo>
                      <a:pt x="690" y="1238"/>
                    </a:lnTo>
                    <a:lnTo>
                      <a:pt x="648" y="1311"/>
                    </a:lnTo>
                    <a:lnTo>
                      <a:pt x="597" y="1386"/>
                    </a:lnTo>
                    <a:lnTo>
                      <a:pt x="537" y="1460"/>
                    </a:lnTo>
                    <a:lnTo>
                      <a:pt x="466" y="1535"/>
                    </a:lnTo>
                    <a:lnTo>
                      <a:pt x="386" y="1610"/>
                    </a:lnTo>
                    <a:lnTo>
                      <a:pt x="385" y="1603"/>
                    </a:lnTo>
                    <a:lnTo>
                      <a:pt x="383" y="1583"/>
                    </a:lnTo>
                    <a:lnTo>
                      <a:pt x="380" y="1552"/>
                    </a:lnTo>
                    <a:lnTo>
                      <a:pt x="376" y="1510"/>
                    </a:lnTo>
                    <a:lnTo>
                      <a:pt x="372" y="1460"/>
                    </a:lnTo>
                    <a:lnTo>
                      <a:pt x="368" y="1404"/>
                    </a:lnTo>
                    <a:lnTo>
                      <a:pt x="364" y="1340"/>
                    </a:lnTo>
                    <a:lnTo>
                      <a:pt x="360" y="1273"/>
                    </a:lnTo>
                    <a:lnTo>
                      <a:pt x="358" y="1201"/>
                    </a:lnTo>
                    <a:lnTo>
                      <a:pt x="356" y="1129"/>
                    </a:lnTo>
                    <a:lnTo>
                      <a:pt x="356" y="1057"/>
                    </a:lnTo>
                    <a:lnTo>
                      <a:pt x="358" y="985"/>
                    </a:lnTo>
                    <a:lnTo>
                      <a:pt x="360" y="950"/>
                    </a:lnTo>
                    <a:lnTo>
                      <a:pt x="362" y="916"/>
                    </a:lnTo>
                    <a:lnTo>
                      <a:pt x="365" y="882"/>
                    </a:lnTo>
                    <a:lnTo>
                      <a:pt x="369" y="850"/>
                    </a:lnTo>
                    <a:lnTo>
                      <a:pt x="373" y="820"/>
                    </a:lnTo>
                    <a:lnTo>
                      <a:pt x="378" y="790"/>
                    </a:lnTo>
                    <a:lnTo>
                      <a:pt x="384" y="763"/>
                    </a:lnTo>
                    <a:lnTo>
                      <a:pt x="391" y="737"/>
                    </a:lnTo>
                    <a:lnTo>
                      <a:pt x="388" y="744"/>
                    </a:lnTo>
                    <a:lnTo>
                      <a:pt x="381" y="763"/>
                    </a:lnTo>
                    <a:lnTo>
                      <a:pt x="371" y="793"/>
                    </a:lnTo>
                    <a:lnTo>
                      <a:pt x="357" y="833"/>
                    </a:lnTo>
                    <a:lnTo>
                      <a:pt x="342" y="881"/>
                    </a:lnTo>
                    <a:lnTo>
                      <a:pt x="325" y="938"/>
                    </a:lnTo>
                    <a:lnTo>
                      <a:pt x="308" y="1000"/>
                    </a:lnTo>
                    <a:lnTo>
                      <a:pt x="290" y="1067"/>
                    </a:lnTo>
                    <a:lnTo>
                      <a:pt x="281" y="1102"/>
                    </a:lnTo>
                    <a:lnTo>
                      <a:pt x="273" y="1137"/>
                    </a:lnTo>
                    <a:lnTo>
                      <a:pt x="266" y="1173"/>
                    </a:lnTo>
                    <a:lnTo>
                      <a:pt x="259" y="1210"/>
                    </a:lnTo>
                    <a:lnTo>
                      <a:pt x="252" y="1247"/>
                    </a:lnTo>
                    <a:lnTo>
                      <a:pt x="246" y="1284"/>
                    </a:lnTo>
                    <a:lnTo>
                      <a:pt x="242" y="1320"/>
                    </a:lnTo>
                    <a:lnTo>
                      <a:pt x="238" y="1357"/>
                    </a:lnTo>
                    <a:lnTo>
                      <a:pt x="235" y="1394"/>
                    </a:lnTo>
                    <a:lnTo>
                      <a:pt x="233" y="1429"/>
                    </a:lnTo>
                    <a:lnTo>
                      <a:pt x="232" y="1464"/>
                    </a:lnTo>
                    <a:lnTo>
                      <a:pt x="233" y="1498"/>
                    </a:lnTo>
                    <a:lnTo>
                      <a:pt x="235" y="1531"/>
                    </a:lnTo>
                    <a:lnTo>
                      <a:pt x="238" y="1563"/>
                    </a:lnTo>
                    <a:lnTo>
                      <a:pt x="243" y="1593"/>
                    </a:lnTo>
                    <a:lnTo>
                      <a:pt x="250" y="1622"/>
                    </a:ln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2" name="Freeform 19">
                <a:extLst>
                  <a:ext uri="{FF2B5EF4-FFF2-40B4-BE49-F238E27FC236}">
                    <a16:creationId xmlns:a16="http://schemas.microsoft.com/office/drawing/2014/main" id="{4A9B14D8-C70E-472F-8838-9A1B5BE985FF}"/>
                  </a:ext>
                </a:extLst>
              </p:cNvPr>
              <p:cNvSpPr>
                <a:spLocks/>
              </p:cNvSpPr>
              <p:nvPr/>
            </p:nvSpPr>
            <p:spPr bwMode="auto">
              <a:xfrm rot="214592">
                <a:off x="9814180" y="2788629"/>
                <a:ext cx="431800" cy="274638"/>
              </a:xfrm>
              <a:custGeom>
                <a:avLst/>
                <a:gdLst>
                  <a:gd name="T0" fmla="*/ 52 w 1359"/>
                  <a:gd name="T1" fmla="*/ 30 h 862"/>
                  <a:gd name="T2" fmla="*/ 98 w 1359"/>
                  <a:gd name="T3" fmla="*/ 19 h 862"/>
                  <a:gd name="T4" fmla="*/ 148 w 1359"/>
                  <a:gd name="T5" fmla="*/ 10 h 862"/>
                  <a:gd name="T6" fmla="*/ 210 w 1359"/>
                  <a:gd name="T7" fmla="*/ 3 h 862"/>
                  <a:gd name="T8" fmla="*/ 285 w 1359"/>
                  <a:gd name="T9" fmla="*/ 0 h 862"/>
                  <a:gd name="T10" fmla="*/ 369 w 1359"/>
                  <a:gd name="T11" fmla="*/ 3 h 862"/>
                  <a:gd name="T12" fmla="*/ 462 w 1359"/>
                  <a:gd name="T13" fmla="*/ 14 h 862"/>
                  <a:gd name="T14" fmla="*/ 562 w 1359"/>
                  <a:gd name="T15" fmla="*/ 35 h 862"/>
                  <a:gd name="T16" fmla="*/ 666 w 1359"/>
                  <a:gd name="T17" fmla="*/ 69 h 862"/>
                  <a:gd name="T18" fmla="*/ 774 w 1359"/>
                  <a:gd name="T19" fmla="*/ 120 h 862"/>
                  <a:gd name="T20" fmla="*/ 884 w 1359"/>
                  <a:gd name="T21" fmla="*/ 186 h 862"/>
                  <a:gd name="T22" fmla="*/ 995 w 1359"/>
                  <a:gd name="T23" fmla="*/ 272 h 862"/>
                  <a:gd name="T24" fmla="*/ 1103 w 1359"/>
                  <a:gd name="T25" fmla="*/ 379 h 862"/>
                  <a:gd name="T26" fmla="*/ 1209 w 1359"/>
                  <a:gd name="T27" fmla="*/ 511 h 862"/>
                  <a:gd name="T28" fmla="*/ 1310 w 1359"/>
                  <a:gd name="T29" fmla="*/ 669 h 862"/>
                  <a:gd name="T30" fmla="*/ 1346 w 1359"/>
                  <a:gd name="T31" fmla="*/ 764 h 862"/>
                  <a:gd name="T32" fmla="*/ 1289 w 1359"/>
                  <a:gd name="T33" fmla="*/ 786 h 862"/>
                  <a:gd name="T34" fmla="*/ 1227 w 1359"/>
                  <a:gd name="T35" fmla="*/ 805 h 862"/>
                  <a:gd name="T36" fmla="*/ 1150 w 1359"/>
                  <a:gd name="T37" fmla="*/ 826 h 862"/>
                  <a:gd name="T38" fmla="*/ 1060 w 1359"/>
                  <a:gd name="T39" fmla="*/ 844 h 862"/>
                  <a:gd name="T40" fmla="*/ 960 w 1359"/>
                  <a:gd name="T41" fmla="*/ 857 h 862"/>
                  <a:gd name="T42" fmla="*/ 852 w 1359"/>
                  <a:gd name="T43" fmla="*/ 862 h 862"/>
                  <a:gd name="T44" fmla="*/ 740 w 1359"/>
                  <a:gd name="T45" fmla="*/ 856 h 862"/>
                  <a:gd name="T46" fmla="*/ 624 w 1359"/>
                  <a:gd name="T47" fmla="*/ 836 h 862"/>
                  <a:gd name="T48" fmla="*/ 510 w 1359"/>
                  <a:gd name="T49" fmla="*/ 798 h 862"/>
                  <a:gd name="T50" fmla="*/ 398 w 1359"/>
                  <a:gd name="T51" fmla="*/ 740 h 862"/>
                  <a:gd name="T52" fmla="*/ 292 w 1359"/>
                  <a:gd name="T53" fmla="*/ 660 h 862"/>
                  <a:gd name="T54" fmla="*/ 193 w 1359"/>
                  <a:gd name="T55" fmla="*/ 552 h 862"/>
                  <a:gd name="T56" fmla="*/ 106 w 1359"/>
                  <a:gd name="T57" fmla="*/ 416 h 862"/>
                  <a:gd name="T58" fmla="*/ 31 w 1359"/>
                  <a:gd name="T59" fmla="*/ 248 h 862"/>
                  <a:gd name="T60" fmla="*/ 6 w 1359"/>
                  <a:gd name="T61" fmla="*/ 154 h 862"/>
                  <a:gd name="T62" fmla="*/ 51 w 1359"/>
                  <a:gd name="T63" fmla="*/ 169 h 862"/>
                  <a:gd name="T64" fmla="*/ 131 w 1359"/>
                  <a:gd name="T65" fmla="*/ 198 h 862"/>
                  <a:gd name="T66" fmla="*/ 235 w 1359"/>
                  <a:gd name="T67" fmla="*/ 238 h 862"/>
                  <a:gd name="T68" fmla="*/ 354 w 1359"/>
                  <a:gd name="T69" fmla="*/ 287 h 862"/>
                  <a:gd name="T70" fmla="*/ 475 w 1359"/>
                  <a:gd name="T71" fmla="*/ 342 h 862"/>
                  <a:gd name="T72" fmla="*/ 564 w 1359"/>
                  <a:gd name="T73" fmla="*/ 387 h 862"/>
                  <a:gd name="T74" fmla="*/ 618 w 1359"/>
                  <a:gd name="T75" fmla="*/ 417 h 862"/>
                  <a:gd name="T76" fmla="*/ 667 w 1359"/>
                  <a:gd name="T77" fmla="*/ 449 h 862"/>
                  <a:gd name="T78" fmla="*/ 711 w 1359"/>
                  <a:gd name="T79" fmla="*/ 480 h 862"/>
                  <a:gd name="T80" fmla="*/ 712 w 1359"/>
                  <a:gd name="T81" fmla="*/ 478 h 862"/>
                  <a:gd name="T82" fmla="*/ 628 w 1359"/>
                  <a:gd name="T83" fmla="*/ 398 h 862"/>
                  <a:gd name="T84" fmla="*/ 542 w 1359"/>
                  <a:gd name="T85" fmla="*/ 324 h 862"/>
                  <a:gd name="T86" fmla="*/ 440 w 1359"/>
                  <a:gd name="T87" fmla="*/ 241 h 862"/>
                  <a:gd name="T88" fmla="*/ 357 w 1359"/>
                  <a:gd name="T89" fmla="*/ 181 h 862"/>
                  <a:gd name="T90" fmla="*/ 299 w 1359"/>
                  <a:gd name="T91" fmla="*/ 144 h 862"/>
                  <a:gd name="T92" fmla="*/ 240 w 1359"/>
                  <a:gd name="T93" fmla="*/ 109 h 862"/>
                  <a:gd name="T94" fmla="*/ 183 w 1359"/>
                  <a:gd name="T95" fmla="*/ 79 h 862"/>
                  <a:gd name="T96" fmla="*/ 126 w 1359"/>
                  <a:gd name="T97" fmla="*/ 55 h 862"/>
                  <a:gd name="T98" fmla="*/ 70 w 1359"/>
                  <a:gd name="T99" fmla="*/ 38 h 8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359" h="862">
                    <a:moveTo>
                      <a:pt x="43" y="33"/>
                    </a:moveTo>
                    <a:lnTo>
                      <a:pt x="52" y="30"/>
                    </a:lnTo>
                    <a:lnTo>
                      <a:pt x="79" y="23"/>
                    </a:lnTo>
                    <a:lnTo>
                      <a:pt x="98" y="19"/>
                    </a:lnTo>
                    <a:lnTo>
                      <a:pt x="121" y="15"/>
                    </a:lnTo>
                    <a:lnTo>
                      <a:pt x="148" y="10"/>
                    </a:lnTo>
                    <a:lnTo>
                      <a:pt x="177" y="7"/>
                    </a:lnTo>
                    <a:lnTo>
                      <a:pt x="210" y="3"/>
                    </a:lnTo>
                    <a:lnTo>
                      <a:pt x="246" y="1"/>
                    </a:lnTo>
                    <a:lnTo>
                      <a:pt x="285" y="0"/>
                    </a:lnTo>
                    <a:lnTo>
                      <a:pt x="326" y="1"/>
                    </a:lnTo>
                    <a:lnTo>
                      <a:pt x="369" y="3"/>
                    </a:lnTo>
                    <a:lnTo>
                      <a:pt x="414" y="7"/>
                    </a:lnTo>
                    <a:lnTo>
                      <a:pt x="462" y="14"/>
                    </a:lnTo>
                    <a:lnTo>
                      <a:pt x="511" y="23"/>
                    </a:lnTo>
                    <a:lnTo>
                      <a:pt x="562" y="35"/>
                    </a:lnTo>
                    <a:lnTo>
                      <a:pt x="613" y="51"/>
                    </a:lnTo>
                    <a:lnTo>
                      <a:pt x="666" y="69"/>
                    </a:lnTo>
                    <a:lnTo>
                      <a:pt x="720" y="92"/>
                    </a:lnTo>
                    <a:lnTo>
                      <a:pt x="774" y="120"/>
                    </a:lnTo>
                    <a:lnTo>
                      <a:pt x="829" y="150"/>
                    </a:lnTo>
                    <a:lnTo>
                      <a:pt x="884" y="186"/>
                    </a:lnTo>
                    <a:lnTo>
                      <a:pt x="940" y="226"/>
                    </a:lnTo>
                    <a:lnTo>
                      <a:pt x="995" y="272"/>
                    </a:lnTo>
                    <a:lnTo>
                      <a:pt x="1049" y="323"/>
                    </a:lnTo>
                    <a:lnTo>
                      <a:pt x="1103" y="379"/>
                    </a:lnTo>
                    <a:lnTo>
                      <a:pt x="1157" y="442"/>
                    </a:lnTo>
                    <a:lnTo>
                      <a:pt x="1209" y="511"/>
                    </a:lnTo>
                    <a:lnTo>
                      <a:pt x="1260" y="586"/>
                    </a:lnTo>
                    <a:lnTo>
                      <a:pt x="1310" y="669"/>
                    </a:lnTo>
                    <a:lnTo>
                      <a:pt x="1359" y="759"/>
                    </a:lnTo>
                    <a:lnTo>
                      <a:pt x="1346" y="764"/>
                    </a:lnTo>
                    <a:lnTo>
                      <a:pt x="1313" y="777"/>
                    </a:lnTo>
                    <a:lnTo>
                      <a:pt x="1289" y="786"/>
                    </a:lnTo>
                    <a:lnTo>
                      <a:pt x="1260" y="795"/>
                    </a:lnTo>
                    <a:lnTo>
                      <a:pt x="1227" y="805"/>
                    </a:lnTo>
                    <a:lnTo>
                      <a:pt x="1190" y="816"/>
                    </a:lnTo>
                    <a:lnTo>
                      <a:pt x="1150" y="826"/>
                    </a:lnTo>
                    <a:lnTo>
                      <a:pt x="1106" y="835"/>
                    </a:lnTo>
                    <a:lnTo>
                      <a:pt x="1060" y="844"/>
                    </a:lnTo>
                    <a:lnTo>
                      <a:pt x="1011" y="851"/>
                    </a:lnTo>
                    <a:lnTo>
                      <a:pt x="960" y="857"/>
                    </a:lnTo>
                    <a:lnTo>
                      <a:pt x="906" y="861"/>
                    </a:lnTo>
                    <a:lnTo>
                      <a:pt x="852" y="862"/>
                    </a:lnTo>
                    <a:lnTo>
                      <a:pt x="796" y="861"/>
                    </a:lnTo>
                    <a:lnTo>
                      <a:pt x="740" y="856"/>
                    </a:lnTo>
                    <a:lnTo>
                      <a:pt x="681" y="848"/>
                    </a:lnTo>
                    <a:lnTo>
                      <a:pt x="624" y="836"/>
                    </a:lnTo>
                    <a:lnTo>
                      <a:pt x="567" y="819"/>
                    </a:lnTo>
                    <a:lnTo>
                      <a:pt x="510" y="798"/>
                    </a:lnTo>
                    <a:lnTo>
                      <a:pt x="453" y="772"/>
                    </a:lnTo>
                    <a:lnTo>
                      <a:pt x="398" y="740"/>
                    </a:lnTo>
                    <a:lnTo>
                      <a:pt x="344" y="703"/>
                    </a:lnTo>
                    <a:lnTo>
                      <a:pt x="292" y="660"/>
                    </a:lnTo>
                    <a:lnTo>
                      <a:pt x="241" y="610"/>
                    </a:lnTo>
                    <a:lnTo>
                      <a:pt x="193" y="552"/>
                    </a:lnTo>
                    <a:lnTo>
                      <a:pt x="148" y="489"/>
                    </a:lnTo>
                    <a:lnTo>
                      <a:pt x="106" y="416"/>
                    </a:lnTo>
                    <a:lnTo>
                      <a:pt x="67" y="337"/>
                    </a:lnTo>
                    <a:lnTo>
                      <a:pt x="31" y="248"/>
                    </a:lnTo>
                    <a:lnTo>
                      <a:pt x="0" y="152"/>
                    </a:lnTo>
                    <a:lnTo>
                      <a:pt x="6" y="154"/>
                    </a:lnTo>
                    <a:lnTo>
                      <a:pt x="24" y="160"/>
                    </a:lnTo>
                    <a:lnTo>
                      <a:pt x="51" y="169"/>
                    </a:lnTo>
                    <a:lnTo>
                      <a:pt x="88" y="182"/>
                    </a:lnTo>
                    <a:lnTo>
                      <a:pt x="131" y="198"/>
                    </a:lnTo>
                    <a:lnTo>
                      <a:pt x="181" y="217"/>
                    </a:lnTo>
                    <a:lnTo>
                      <a:pt x="235" y="238"/>
                    </a:lnTo>
                    <a:lnTo>
                      <a:pt x="294" y="261"/>
                    </a:lnTo>
                    <a:lnTo>
                      <a:pt x="354" y="287"/>
                    </a:lnTo>
                    <a:lnTo>
                      <a:pt x="415" y="314"/>
                    </a:lnTo>
                    <a:lnTo>
                      <a:pt x="475" y="342"/>
                    </a:lnTo>
                    <a:lnTo>
                      <a:pt x="535" y="372"/>
                    </a:lnTo>
                    <a:lnTo>
                      <a:pt x="564" y="387"/>
                    </a:lnTo>
                    <a:lnTo>
                      <a:pt x="591" y="402"/>
                    </a:lnTo>
                    <a:lnTo>
                      <a:pt x="618" y="417"/>
                    </a:lnTo>
                    <a:lnTo>
                      <a:pt x="643" y="434"/>
                    </a:lnTo>
                    <a:lnTo>
                      <a:pt x="667" y="449"/>
                    </a:lnTo>
                    <a:lnTo>
                      <a:pt x="690" y="465"/>
                    </a:lnTo>
                    <a:lnTo>
                      <a:pt x="711" y="480"/>
                    </a:lnTo>
                    <a:lnTo>
                      <a:pt x="730" y="496"/>
                    </a:lnTo>
                    <a:lnTo>
                      <a:pt x="712" y="478"/>
                    </a:lnTo>
                    <a:lnTo>
                      <a:pt x="662" y="430"/>
                    </a:lnTo>
                    <a:lnTo>
                      <a:pt x="628" y="398"/>
                    </a:lnTo>
                    <a:lnTo>
                      <a:pt x="587" y="362"/>
                    </a:lnTo>
                    <a:lnTo>
                      <a:pt x="542" y="324"/>
                    </a:lnTo>
                    <a:lnTo>
                      <a:pt x="493" y="283"/>
                    </a:lnTo>
                    <a:lnTo>
                      <a:pt x="440" y="241"/>
                    </a:lnTo>
                    <a:lnTo>
                      <a:pt x="385" y="201"/>
                    </a:lnTo>
                    <a:lnTo>
                      <a:pt x="357" y="181"/>
                    </a:lnTo>
                    <a:lnTo>
                      <a:pt x="328" y="162"/>
                    </a:lnTo>
                    <a:lnTo>
                      <a:pt x="299" y="144"/>
                    </a:lnTo>
                    <a:lnTo>
                      <a:pt x="269" y="126"/>
                    </a:lnTo>
                    <a:lnTo>
                      <a:pt x="240" y="109"/>
                    </a:lnTo>
                    <a:lnTo>
                      <a:pt x="211" y="93"/>
                    </a:lnTo>
                    <a:lnTo>
                      <a:pt x="183" y="79"/>
                    </a:lnTo>
                    <a:lnTo>
                      <a:pt x="154" y="66"/>
                    </a:lnTo>
                    <a:lnTo>
                      <a:pt x="126" y="55"/>
                    </a:lnTo>
                    <a:lnTo>
                      <a:pt x="98" y="46"/>
                    </a:lnTo>
                    <a:lnTo>
                      <a:pt x="70" y="38"/>
                    </a:lnTo>
                    <a:lnTo>
                      <a:pt x="43" y="33"/>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3" name="Freeform 20">
                <a:extLst>
                  <a:ext uri="{FF2B5EF4-FFF2-40B4-BE49-F238E27FC236}">
                    <a16:creationId xmlns:a16="http://schemas.microsoft.com/office/drawing/2014/main" id="{A92DFE67-178B-40D4-8EE2-1481604F24CC}"/>
                  </a:ext>
                </a:extLst>
              </p:cNvPr>
              <p:cNvSpPr>
                <a:spLocks/>
              </p:cNvSpPr>
              <p:nvPr/>
            </p:nvSpPr>
            <p:spPr bwMode="auto">
              <a:xfrm>
                <a:off x="8570455" y="2724826"/>
                <a:ext cx="463550" cy="273050"/>
              </a:xfrm>
              <a:custGeom>
                <a:avLst/>
                <a:gdLst>
                  <a:gd name="T0" fmla="*/ 1456 w 1460"/>
                  <a:gd name="T1" fmla="*/ 229 h 862"/>
                  <a:gd name="T2" fmla="*/ 1435 w 1460"/>
                  <a:gd name="T3" fmla="*/ 273 h 862"/>
                  <a:gd name="T4" fmla="*/ 1410 w 1460"/>
                  <a:gd name="T5" fmla="*/ 320 h 862"/>
                  <a:gd name="T6" fmla="*/ 1373 w 1460"/>
                  <a:gd name="T7" fmla="*/ 376 h 862"/>
                  <a:gd name="T8" fmla="*/ 1327 w 1460"/>
                  <a:gd name="T9" fmla="*/ 438 h 862"/>
                  <a:gd name="T10" fmla="*/ 1269 w 1460"/>
                  <a:gd name="T11" fmla="*/ 506 h 862"/>
                  <a:gd name="T12" fmla="*/ 1200 w 1460"/>
                  <a:gd name="T13" fmla="*/ 575 h 862"/>
                  <a:gd name="T14" fmla="*/ 1116 w 1460"/>
                  <a:gd name="T15" fmla="*/ 642 h 862"/>
                  <a:gd name="T16" fmla="*/ 1019 w 1460"/>
                  <a:gd name="T17" fmla="*/ 705 h 862"/>
                  <a:gd name="T18" fmla="*/ 907 w 1460"/>
                  <a:gd name="T19" fmla="*/ 761 h 862"/>
                  <a:gd name="T20" fmla="*/ 781 w 1460"/>
                  <a:gd name="T21" fmla="*/ 808 h 862"/>
                  <a:gd name="T22" fmla="*/ 638 w 1460"/>
                  <a:gd name="T23" fmla="*/ 841 h 862"/>
                  <a:gd name="T24" fmla="*/ 478 w 1460"/>
                  <a:gd name="T25" fmla="*/ 859 h 862"/>
                  <a:gd name="T26" fmla="*/ 300 w 1460"/>
                  <a:gd name="T27" fmla="*/ 859 h 862"/>
                  <a:gd name="T28" fmla="*/ 106 w 1460"/>
                  <a:gd name="T29" fmla="*/ 838 h 862"/>
                  <a:gd name="T30" fmla="*/ 4 w 1460"/>
                  <a:gd name="T31" fmla="*/ 806 h 862"/>
                  <a:gd name="T32" fmla="*/ 24 w 1460"/>
                  <a:gd name="T33" fmla="*/ 743 h 862"/>
                  <a:gd name="T34" fmla="*/ 48 w 1460"/>
                  <a:gd name="T35" fmla="*/ 680 h 862"/>
                  <a:gd name="T36" fmla="*/ 82 w 1460"/>
                  <a:gd name="T37" fmla="*/ 603 h 862"/>
                  <a:gd name="T38" fmla="*/ 127 w 1460"/>
                  <a:gd name="T39" fmla="*/ 517 h 862"/>
                  <a:gd name="T40" fmla="*/ 182 w 1460"/>
                  <a:gd name="T41" fmla="*/ 426 h 862"/>
                  <a:gd name="T42" fmla="*/ 249 w 1460"/>
                  <a:gd name="T43" fmla="*/ 335 h 862"/>
                  <a:gd name="T44" fmla="*/ 329 w 1460"/>
                  <a:gd name="T45" fmla="*/ 247 h 862"/>
                  <a:gd name="T46" fmla="*/ 421 w 1460"/>
                  <a:gd name="T47" fmla="*/ 166 h 862"/>
                  <a:gd name="T48" fmla="*/ 527 w 1460"/>
                  <a:gd name="T49" fmla="*/ 97 h 862"/>
                  <a:gd name="T50" fmla="*/ 648 w 1460"/>
                  <a:gd name="T51" fmla="*/ 43 h 862"/>
                  <a:gd name="T52" fmla="*/ 785 w 1460"/>
                  <a:gd name="T53" fmla="*/ 10 h 862"/>
                  <a:gd name="T54" fmla="*/ 936 w 1460"/>
                  <a:gd name="T55" fmla="*/ 0 h 862"/>
                  <a:gd name="T56" fmla="*/ 1105 w 1460"/>
                  <a:gd name="T57" fmla="*/ 18 h 862"/>
                  <a:gd name="T58" fmla="*/ 1291 w 1460"/>
                  <a:gd name="T59" fmla="*/ 68 h 862"/>
                  <a:gd name="T60" fmla="*/ 1384 w 1460"/>
                  <a:gd name="T61" fmla="*/ 109 h 862"/>
                  <a:gd name="T62" fmla="*/ 1343 w 1460"/>
                  <a:gd name="T63" fmla="*/ 136 h 862"/>
                  <a:gd name="T64" fmla="*/ 1267 w 1460"/>
                  <a:gd name="T65" fmla="*/ 183 h 862"/>
                  <a:gd name="T66" fmla="*/ 1165 w 1460"/>
                  <a:gd name="T67" fmla="*/ 241 h 862"/>
                  <a:gd name="T68" fmla="*/ 1048 w 1460"/>
                  <a:gd name="T69" fmla="*/ 306 h 862"/>
                  <a:gd name="T70" fmla="*/ 922 w 1460"/>
                  <a:gd name="T71" fmla="*/ 370 h 862"/>
                  <a:gd name="T72" fmla="*/ 828 w 1460"/>
                  <a:gd name="T73" fmla="*/ 412 h 862"/>
                  <a:gd name="T74" fmla="*/ 767 w 1460"/>
                  <a:gd name="T75" fmla="*/ 436 h 862"/>
                  <a:gd name="T76" fmla="*/ 708 w 1460"/>
                  <a:gd name="T77" fmla="*/ 456 h 862"/>
                  <a:gd name="T78" fmla="*/ 654 w 1460"/>
                  <a:gd name="T79" fmla="*/ 472 h 862"/>
                  <a:gd name="T80" fmla="*/ 636 w 1460"/>
                  <a:gd name="T81" fmla="*/ 476 h 862"/>
                  <a:gd name="T82" fmla="*/ 686 w 1460"/>
                  <a:gd name="T83" fmla="*/ 470 h 862"/>
                  <a:gd name="T84" fmla="*/ 776 w 1460"/>
                  <a:gd name="T85" fmla="*/ 457 h 862"/>
                  <a:gd name="T86" fmla="*/ 893 w 1460"/>
                  <a:gd name="T87" fmla="*/ 436 h 862"/>
                  <a:gd name="T88" fmla="*/ 993 w 1460"/>
                  <a:gd name="T89" fmla="*/ 415 h 862"/>
                  <a:gd name="T90" fmla="*/ 1062 w 1460"/>
                  <a:gd name="T91" fmla="*/ 398 h 862"/>
                  <a:gd name="T92" fmla="*/ 1132 w 1460"/>
                  <a:gd name="T93" fmla="*/ 378 h 862"/>
                  <a:gd name="T94" fmla="*/ 1201 w 1460"/>
                  <a:gd name="T95" fmla="*/ 356 h 862"/>
                  <a:gd name="T96" fmla="*/ 1267 w 1460"/>
                  <a:gd name="T97" fmla="*/ 331 h 862"/>
                  <a:gd name="T98" fmla="*/ 1329 w 1460"/>
                  <a:gd name="T99" fmla="*/ 302 h 862"/>
                  <a:gd name="T100" fmla="*/ 1386 w 1460"/>
                  <a:gd name="T101" fmla="*/ 272 h 862"/>
                  <a:gd name="T102" fmla="*/ 1438 w 1460"/>
                  <a:gd name="T103" fmla="*/ 237 h 8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60" h="862">
                    <a:moveTo>
                      <a:pt x="1460" y="219"/>
                    </a:moveTo>
                    <a:lnTo>
                      <a:pt x="1456" y="229"/>
                    </a:lnTo>
                    <a:lnTo>
                      <a:pt x="1444" y="255"/>
                    </a:lnTo>
                    <a:lnTo>
                      <a:pt x="1435" y="273"/>
                    </a:lnTo>
                    <a:lnTo>
                      <a:pt x="1424" y="295"/>
                    </a:lnTo>
                    <a:lnTo>
                      <a:pt x="1410" y="320"/>
                    </a:lnTo>
                    <a:lnTo>
                      <a:pt x="1392" y="347"/>
                    </a:lnTo>
                    <a:lnTo>
                      <a:pt x="1373" y="376"/>
                    </a:lnTo>
                    <a:lnTo>
                      <a:pt x="1352" y="406"/>
                    </a:lnTo>
                    <a:lnTo>
                      <a:pt x="1327" y="438"/>
                    </a:lnTo>
                    <a:lnTo>
                      <a:pt x="1300" y="472"/>
                    </a:lnTo>
                    <a:lnTo>
                      <a:pt x="1269" y="506"/>
                    </a:lnTo>
                    <a:lnTo>
                      <a:pt x="1236" y="540"/>
                    </a:lnTo>
                    <a:lnTo>
                      <a:pt x="1200" y="575"/>
                    </a:lnTo>
                    <a:lnTo>
                      <a:pt x="1159" y="608"/>
                    </a:lnTo>
                    <a:lnTo>
                      <a:pt x="1116" y="642"/>
                    </a:lnTo>
                    <a:lnTo>
                      <a:pt x="1069" y="675"/>
                    </a:lnTo>
                    <a:lnTo>
                      <a:pt x="1019" y="705"/>
                    </a:lnTo>
                    <a:lnTo>
                      <a:pt x="964" y="734"/>
                    </a:lnTo>
                    <a:lnTo>
                      <a:pt x="907" y="761"/>
                    </a:lnTo>
                    <a:lnTo>
                      <a:pt x="846" y="785"/>
                    </a:lnTo>
                    <a:lnTo>
                      <a:pt x="781" y="808"/>
                    </a:lnTo>
                    <a:lnTo>
                      <a:pt x="711" y="826"/>
                    </a:lnTo>
                    <a:lnTo>
                      <a:pt x="638" y="841"/>
                    </a:lnTo>
                    <a:lnTo>
                      <a:pt x="560" y="852"/>
                    </a:lnTo>
                    <a:lnTo>
                      <a:pt x="478" y="859"/>
                    </a:lnTo>
                    <a:lnTo>
                      <a:pt x="392" y="862"/>
                    </a:lnTo>
                    <a:lnTo>
                      <a:pt x="300" y="859"/>
                    </a:lnTo>
                    <a:lnTo>
                      <a:pt x="205" y="852"/>
                    </a:lnTo>
                    <a:lnTo>
                      <a:pt x="106" y="838"/>
                    </a:lnTo>
                    <a:lnTo>
                      <a:pt x="0" y="819"/>
                    </a:lnTo>
                    <a:lnTo>
                      <a:pt x="4" y="806"/>
                    </a:lnTo>
                    <a:lnTo>
                      <a:pt x="15" y="769"/>
                    </a:lnTo>
                    <a:lnTo>
                      <a:pt x="24" y="743"/>
                    </a:lnTo>
                    <a:lnTo>
                      <a:pt x="35" y="714"/>
                    </a:lnTo>
                    <a:lnTo>
                      <a:pt x="48" y="680"/>
                    </a:lnTo>
                    <a:lnTo>
                      <a:pt x="64" y="643"/>
                    </a:lnTo>
                    <a:lnTo>
                      <a:pt x="82" y="603"/>
                    </a:lnTo>
                    <a:lnTo>
                      <a:pt x="104" y="561"/>
                    </a:lnTo>
                    <a:lnTo>
                      <a:pt x="127" y="517"/>
                    </a:lnTo>
                    <a:lnTo>
                      <a:pt x="154" y="473"/>
                    </a:lnTo>
                    <a:lnTo>
                      <a:pt x="182" y="426"/>
                    </a:lnTo>
                    <a:lnTo>
                      <a:pt x="214" y="381"/>
                    </a:lnTo>
                    <a:lnTo>
                      <a:pt x="249" y="335"/>
                    </a:lnTo>
                    <a:lnTo>
                      <a:pt x="287" y="290"/>
                    </a:lnTo>
                    <a:lnTo>
                      <a:pt x="329" y="247"/>
                    </a:lnTo>
                    <a:lnTo>
                      <a:pt x="374" y="205"/>
                    </a:lnTo>
                    <a:lnTo>
                      <a:pt x="421" y="166"/>
                    </a:lnTo>
                    <a:lnTo>
                      <a:pt x="472" y="129"/>
                    </a:lnTo>
                    <a:lnTo>
                      <a:pt x="527" y="97"/>
                    </a:lnTo>
                    <a:lnTo>
                      <a:pt x="586" y="68"/>
                    </a:lnTo>
                    <a:lnTo>
                      <a:pt x="648" y="43"/>
                    </a:lnTo>
                    <a:lnTo>
                      <a:pt x="714" y="24"/>
                    </a:lnTo>
                    <a:lnTo>
                      <a:pt x="785" y="10"/>
                    </a:lnTo>
                    <a:lnTo>
                      <a:pt x="858" y="2"/>
                    </a:lnTo>
                    <a:lnTo>
                      <a:pt x="936" y="0"/>
                    </a:lnTo>
                    <a:lnTo>
                      <a:pt x="1019" y="5"/>
                    </a:lnTo>
                    <a:lnTo>
                      <a:pt x="1105" y="18"/>
                    </a:lnTo>
                    <a:lnTo>
                      <a:pt x="1196" y="38"/>
                    </a:lnTo>
                    <a:lnTo>
                      <a:pt x="1291" y="68"/>
                    </a:lnTo>
                    <a:lnTo>
                      <a:pt x="1390" y="106"/>
                    </a:lnTo>
                    <a:lnTo>
                      <a:pt x="1384" y="109"/>
                    </a:lnTo>
                    <a:lnTo>
                      <a:pt x="1368" y="119"/>
                    </a:lnTo>
                    <a:lnTo>
                      <a:pt x="1343" y="136"/>
                    </a:lnTo>
                    <a:lnTo>
                      <a:pt x="1308" y="158"/>
                    </a:lnTo>
                    <a:lnTo>
                      <a:pt x="1267" y="183"/>
                    </a:lnTo>
                    <a:lnTo>
                      <a:pt x="1219" y="211"/>
                    </a:lnTo>
                    <a:lnTo>
                      <a:pt x="1165" y="241"/>
                    </a:lnTo>
                    <a:lnTo>
                      <a:pt x="1108" y="273"/>
                    </a:lnTo>
                    <a:lnTo>
                      <a:pt x="1048" y="306"/>
                    </a:lnTo>
                    <a:lnTo>
                      <a:pt x="986" y="339"/>
                    </a:lnTo>
                    <a:lnTo>
                      <a:pt x="922" y="370"/>
                    </a:lnTo>
                    <a:lnTo>
                      <a:pt x="859" y="398"/>
                    </a:lnTo>
                    <a:lnTo>
                      <a:pt x="828" y="412"/>
                    </a:lnTo>
                    <a:lnTo>
                      <a:pt x="797" y="424"/>
                    </a:lnTo>
                    <a:lnTo>
                      <a:pt x="767" y="436"/>
                    </a:lnTo>
                    <a:lnTo>
                      <a:pt x="737" y="446"/>
                    </a:lnTo>
                    <a:lnTo>
                      <a:pt x="708" y="456"/>
                    </a:lnTo>
                    <a:lnTo>
                      <a:pt x="681" y="465"/>
                    </a:lnTo>
                    <a:lnTo>
                      <a:pt x="654" y="472"/>
                    </a:lnTo>
                    <a:lnTo>
                      <a:pt x="629" y="477"/>
                    </a:lnTo>
                    <a:lnTo>
                      <a:pt x="636" y="476"/>
                    </a:lnTo>
                    <a:lnTo>
                      <a:pt x="655" y="474"/>
                    </a:lnTo>
                    <a:lnTo>
                      <a:pt x="686" y="470"/>
                    </a:lnTo>
                    <a:lnTo>
                      <a:pt x="726" y="465"/>
                    </a:lnTo>
                    <a:lnTo>
                      <a:pt x="776" y="457"/>
                    </a:lnTo>
                    <a:lnTo>
                      <a:pt x="832" y="447"/>
                    </a:lnTo>
                    <a:lnTo>
                      <a:pt x="893" y="436"/>
                    </a:lnTo>
                    <a:lnTo>
                      <a:pt x="959" y="423"/>
                    </a:lnTo>
                    <a:lnTo>
                      <a:pt x="993" y="415"/>
                    </a:lnTo>
                    <a:lnTo>
                      <a:pt x="1028" y="407"/>
                    </a:lnTo>
                    <a:lnTo>
                      <a:pt x="1062" y="398"/>
                    </a:lnTo>
                    <a:lnTo>
                      <a:pt x="1097" y="389"/>
                    </a:lnTo>
                    <a:lnTo>
                      <a:pt x="1132" y="378"/>
                    </a:lnTo>
                    <a:lnTo>
                      <a:pt x="1166" y="368"/>
                    </a:lnTo>
                    <a:lnTo>
                      <a:pt x="1201" y="356"/>
                    </a:lnTo>
                    <a:lnTo>
                      <a:pt x="1234" y="344"/>
                    </a:lnTo>
                    <a:lnTo>
                      <a:pt x="1267" y="331"/>
                    </a:lnTo>
                    <a:lnTo>
                      <a:pt x="1299" y="318"/>
                    </a:lnTo>
                    <a:lnTo>
                      <a:pt x="1329" y="302"/>
                    </a:lnTo>
                    <a:lnTo>
                      <a:pt x="1359" y="287"/>
                    </a:lnTo>
                    <a:lnTo>
                      <a:pt x="1386" y="272"/>
                    </a:lnTo>
                    <a:lnTo>
                      <a:pt x="1414" y="255"/>
                    </a:lnTo>
                    <a:lnTo>
                      <a:pt x="1438" y="237"/>
                    </a:lnTo>
                    <a:lnTo>
                      <a:pt x="1460" y="219"/>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grpSp>
        <p:sp>
          <p:nvSpPr>
            <p:cNvPr id="4" name="Freeform 5">
              <a:extLst>
                <a:ext uri="{FF2B5EF4-FFF2-40B4-BE49-F238E27FC236}">
                  <a16:creationId xmlns:a16="http://schemas.microsoft.com/office/drawing/2014/main" id="{AFE5518B-F0E6-44AC-9AF6-1EC5431CB7FB}"/>
                </a:ext>
              </a:extLst>
            </p:cNvPr>
            <p:cNvSpPr>
              <a:spLocks/>
            </p:cNvSpPr>
            <p:nvPr/>
          </p:nvSpPr>
          <p:spPr bwMode="auto">
            <a:xfrm>
              <a:off x="5464655" y="3812713"/>
              <a:ext cx="1281075" cy="2211691"/>
            </a:xfrm>
            <a:custGeom>
              <a:avLst/>
              <a:gdLst>
                <a:gd name="T0" fmla="*/ 67 w 186"/>
                <a:gd name="T1" fmla="*/ 321 h 321"/>
                <a:gd name="T2" fmla="*/ 73 w 186"/>
                <a:gd name="T3" fmla="*/ 180 h 321"/>
                <a:gd name="T4" fmla="*/ 0 w 186"/>
                <a:gd name="T5" fmla="*/ 81 h 321"/>
                <a:gd name="T6" fmla="*/ 12 w 186"/>
                <a:gd name="T7" fmla="*/ 70 h 321"/>
                <a:gd name="T8" fmla="*/ 81 w 186"/>
                <a:gd name="T9" fmla="*/ 148 h 321"/>
                <a:gd name="T10" fmla="*/ 88 w 186"/>
                <a:gd name="T11" fmla="*/ 0 h 321"/>
                <a:gd name="T12" fmla="*/ 106 w 186"/>
                <a:gd name="T13" fmla="*/ 0 h 321"/>
                <a:gd name="T14" fmla="*/ 113 w 186"/>
                <a:gd name="T15" fmla="*/ 97 h 321"/>
                <a:gd name="T16" fmla="*/ 173 w 186"/>
                <a:gd name="T17" fmla="*/ 32 h 321"/>
                <a:gd name="T18" fmla="*/ 186 w 186"/>
                <a:gd name="T19" fmla="*/ 50 h 321"/>
                <a:gd name="T20" fmla="*/ 123 w 186"/>
                <a:gd name="T21" fmla="*/ 126 h 321"/>
                <a:gd name="T22" fmla="*/ 119 w 186"/>
                <a:gd name="T23" fmla="*/ 202 h 321"/>
                <a:gd name="T24" fmla="*/ 130 w 186"/>
                <a:gd name="T25" fmla="*/ 319 h 321"/>
                <a:gd name="T26" fmla="*/ 67 w 186"/>
                <a:gd name="T27" fmla="*/ 321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6" h="321">
                  <a:moveTo>
                    <a:pt x="67" y="321"/>
                  </a:moveTo>
                  <a:cubicBezTo>
                    <a:pt x="67" y="321"/>
                    <a:pt x="83" y="212"/>
                    <a:pt x="73" y="180"/>
                  </a:cubicBezTo>
                  <a:cubicBezTo>
                    <a:pt x="0" y="81"/>
                    <a:pt x="0" y="81"/>
                    <a:pt x="0" y="81"/>
                  </a:cubicBezTo>
                  <a:cubicBezTo>
                    <a:pt x="12" y="70"/>
                    <a:pt x="12" y="70"/>
                    <a:pt x="12" y="70"/>
                  </a:cubicBezTo>
                  <a:cubicBezTo>
                    <a:pt x="81" y="148"/>
                    <a:pt x="81" y="148"/>
                    <a:pt x="81" y="148"/>
                  </a:cubicBezTo>
                  <a:cubicBezTo>
                    <a:pt x="88" y="0"/>
                    <a:pt x="88" y="0"/>
                    <a:pt x="88" y="0"/>
                  </a:cubicBezTo>
                  <a:cubicBezTo>
                    <a:pt x="106" y="0"/>
                    <a:pt x="106" y="0"/>
                    <a:pt x="106" y="0"/>
                  </a:cubicBezTo>
                  <a:cubicBezTo>
                    <a:pt x="113" y="97"/>
                    <a:pt x="113" y="97"/>
                    <a:pt x="113" y="97"/>
                  </a:cubicBezTo>
                  <a:cubicBezTo>
                    <a:pt x="173" y="32"/>
                    <a:pt x="173" y="32"/>
                    <a:pt x="173" y="32"/>
                  </a:cubicBezTo>
                  <a:cubicBezTo>
                    <a:pt x="186" y="50"/>
                    <a:pt x="186" y="50"/>
                    <a:pt x="186" y="50"/>
                  </a:cubicBezTo>
                  <a:cubicBezTo>
                    <a:pt x="123" y="126"/>
                    <a:pt x="123" y="126"/>
                    <a:pt x="123" y="126"/>
                  </a:cubicBezTo>
                  <a:cubicBezTo>
                    <a:pt x="123" y="126"/>
                    <a:pt x="112" y="126"/>
                    <a:pt x="119" y="202"/>
                  </a:cubicBezTo>
                  <a:cubicBezTo>
                    <a:pt x="125" y="279"/>
                    <a:pt x="130" y="319"/>
                    <a:pt x="130" y="319"/>
                  </a:cubicBezTo>
                  <a:lnTo>
                    <a:pt x="67" y="321"/>
                  </a:ln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sp>
        <p:nvSpPr>
          <p:cNvPr id="14" name="TextBox 47">
            <a:extLst>
              <a:ext uri="{FF2B5EF4-FFF2-40B4-BE49-F238E27FC236}">
                <a16:creationId xmlns:a16="http://schemas.microsoft.com/office/drawing/2014/main" id="{B7A3CB48-8434-47D5-A039-18DF852EC0CC}"/>
              </a:ext>
            </a:extLst>
          </p:cNvPr>
          <p:cNvSpPr txBox="1"/>
          <p:nvPr/>
        </p:nvSpPr>
        <p:spPr>
          <a:xfrm>
            <a:off x="2657474" y="731469"/>
            <a:ext cx="6877050"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1" i="0" u="none" strike="noStrike" kern="1200" cap="none" spc="0" normalizeH="0" baseline="0" noProof="0" dirty="0">
                <a:ln>
                  <a:noFill/>
                </a:ln>
                <a:solidFill>
                  <a:srgbClr val="000000">
                    <a:lumMod val="85000"/>
                    <a:lumOff val="15000"/>
                  </a:srgbClr>
                </a:solidFill>
                <a:effectLst/>
                <a:uLnTx/>
                <a:uFillTx/>
                <a:latin typeface="等线 Light" panose="020F0302020204030204"/>
                <a:ea typeface="+mn-ea"/>
                <a:cs typeface="Arial" panose="020B0604020202020204" pitchFamily="34" charset="0"/>
              </a:rPr>
              <a:t>Your Title Text Goes Here</a:t>
            </a:r>
          </a:p>
        </p:txBody>
      </p:sp>
      <p:grpSp>
        <p:nvGrpSpPr>
          <p:cNvPr id="15" name="Group 52">
            <a:extLst>
              <a:ext uri="{FF2B5EF4-FFF2-40B4-BE49-F238E27FC236}">
                <a16:creationId xmlns:a16="http://schemas.microsoft.com/office/drawing/2014/main" id="{38DE0553-66EE-4E4E-A79D-1D45B9924C8C}"/>
              </a:ext>
            </a:extLst>
          </p:cNvPr>
          <p:cNvGrpSpPr/>
          <p:nvPr/>
        </p:nvGrpSpPr>
        <p:grpSpPr>
          <a:xfrm>
            <a:off x="1143644" y="3827458"/>
            <a:ext cx="2282913" cy="2226766"/>
            <a:chOff x="990600" y="3499747"/>
            <a:chExt cx="2282913" cy="2226766"/>
          </a:xfrm>
        </p:grpSpPr>
        <p:sp>
          <p:nvSpPr>
            <p:cNvPr id="16" name="Rectangle: Rounded Corners 60">
              <a:extLst>
                <a:ext uri="{FF2B5EF4-FFF2-40B4-BE49-F238E27FC236}">
                  <a16:creationId xmlns:a16="http://schemas.microsoft.com/office/drawing/2014/main" id="{2D7CDCFE-0ECB-4104-934C-A7876DDB2E8E}"/>
                </a:ext>
              </a:extLst>
            </p:cNvPr>
            <p:cNvSpPr/>
            <p:nvPr/>
          </p:nvSpPr>
          <p:spPr>
            <a:xfrm>
              <a:off x="990600" y="3499747"/>
              <a:ext cx="2282913" cy="2226766"/>
            </a:xfrm>
            <a:prstGeom prst="roundRect">
              <a:avLst>
                <a:gd name="adj" fmla="val 3010"/>
              </a:avLst>
            </a:prstGeom>
            <a:solidFill>
              <a:schemeClr val="accent4"/>
            </a:solidFill>
            <a:ln>
              <a:noFill/>
            </a:ln>
            <a:effectLst>
              <a:outerShdw blurRad="711200" dist="431800" dir="5400000" sx="87000" sy="87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等线" panose="020F0502020204030204"/>
                <a:ea typeface="+mn-ea"/>
                <a:cs typeface="+mn-cs"/>
              </a:endParaRPr>
            </a:p>
          </p:txBody>
        </p:sp>
        <p:sp>
          <p:nvSpPr>
            <p:cNvPr id="17" name="TextBox 61">
              <a:extLst>
                <a:ext uri="{FF2B5EF4-FFF2-40B4-BE49-F238E27FC236}">
                  <a16:creationId xmlns:a16="http://schemas.microsoft.com/office/drawing/2014/main" id="{3E281B1B-43C3-4CD8-9EA7-41BB86F678F6}"/>
                </a:ext>
              </a:extLst>
            </p:cNvPr>
            <p:cNvSpPr txBox="1"/>
            <p:nvPr/>
          </p:nvSpPr>
          <p:spPr>
            <a:xfrm>
              <a:off x="1149203" y="3864867"/>
              <a:ext cx="1324388"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3600" b="1" i="0" u="none" strike="noStrike" kern="1200" cap="none" spc="0" normalizeH="0" baseline="0" noProof="0" dirty="0">
                  <a:ln>
                    <a:noFill/>
                  </a:ln>
                  <a:solidFill>
                    <a:srgbClr val="FFFFFF"/>
                  </a:solidFill>
                  <a:effectLst/>
                  <a:uLnTx/>
                  <a:uFillTx/>
                  <a:latin typeface="等线 Light" panose="020F0302020204030204"/>
                  <a:ea typeface="+mn-ea"/>
                  <a:cs typeface="+mn-cs"/>
                </a:rPr>
                <a:t>01</a:t>
              </a:r>
            </a:p>
          </p:txBody>
        </p:sp>
        <p:sp>
          <p:nvSpPr>
            <p:cNvPr id="18" name="TextBox 62">
              <a:extLst>
                <a:ext uri="{FF2B5EF4-FFF2-40B4-BE49-F238E27FC236}">
                  <a16:creationId xmlns:a16="http://schemas.microsoft.com/office/drawing/2014/main" id="{AF2A4360-0E96-4AB2-8F0C-50E88CA636F5}"/>
                </a:ext>
              </a:extLst>
            </p:cNvPr>
            <p:cNvSpPr txBox="1"/>
            <p:nvPr/>
          </p:nvSpPr>
          <p:spPr>
            <a:xfrm>
              <a:off x="1149203" y="4633330"/>
              <a:ext cx="1965708" cy="787588"/>
            </a:xfrm>
            <a:prstGeom prst="rect">
              <a:avLst/>
            </a:prstGeom>
            <a:noFill/>
          </p:spPr>
          <p:txBody>
            <a:bodyPr wrap="square" rtlCol="0">
              <a:spAutoFit/>
            </a:bodyPr>
            <a:lstStyle/>
            <a:p>
              <a:pPr marL="0" marR="0" lvl="0" indent="0" algn="l" defTabSz="914400" rtl="0" eaLnBrk="1" fontAlgn="auto" latinLnBrk="0" hangingPunct="1">
                <a:lnSpc>
                  <a:spcPct val="13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等线" panose="020F0502020204030204"/>
                  <a:ea typeface="Open Sans" panose="020B0606030504020204" pitchFamily="34" charset="0"/>
                  <a:cs typeface="Segoe UI" panose="020B0502040204020203" pitchFamily="34" charset="0"/>
                </a:rPr>
                <a:t>Leverage agile frameworks to provide a robust synopsis for</a:t>
              </a:r>
            </a:p>
          </p:txBody>
        </p:sp>
      </p:grpSp>
      <p:grpSp>
        <p:nvGrpSpPr>
          <p:cNvPr id="19" name="Group 63">
            <a:extLst>
              <a:ext uri="{FF2B5EF4-FFF2-40B4-BE49-F238E27FC236}">
                <a16:creationId xmlns:a16="http://schemas.microsoft.com/office/drawing/2014/main" id="{FC452902-6FE8-4FEC-9DBA-6767BE7A18D9}"/>
              </a:ext>
            </a:extLst>
          </p:cNvPr>
          <p:cNvGrpSpPr/>
          <p:nvPr/>
        </p:nvGrpSpPr>
        <p:grpSpPr>
          <a:xfrm>
            <a:off x="8643735" y="3827458"/>
            <a:ext cx="2282913" cy="2226766"/>
            <a:chOff x="3482887" y="3499747"/>
            <a:chExt cx="2282913" cy="2226766"/>
          </a:xfrm>
        </p:grpSpPr>
        <p:sp>
          <p:nvSpPr>
            <p:cNvPr id="20" name="Rectangle: Rounded Corners 64">
              <a:extLst>
                <a:ext uri="{FF2B5EF4-FFF2-40B4-BE49-F238E27FC236}">
                  <a16:creationId xmlns:a16="http://schemas.microsoft.com/office/drawing/2014/main" id="{2C9D74B9-3327-4371-A53F-F534AB7B0021}"/>
                </a:ext>
              </a:extLst>
            </p:cNvPr>
            <p:cNvSpPr/>
            <p:nvPr/>
          </p:nvSpPr>
          <p:spPr>
            <a:xfrm>
              <a:off x="3482887" y="3499747"/>
              <a:ext cx="2282913" cy="2226766"/>
            </a:xfrm>
            <a:prstGeom prst="roundRect">
              <a:avLst>
                <a:gd name="adj" fmla="val 3010"/>
              </a:avLst>
            </a:prstGeom>
            <a:solidFill>
              <a:schemeClr val="accent6"/>
            </a:solidFill>
            <a:ln>
              <a:noFill/>
            </a:ln>
            <a:effectLst>
              <a:outerShdw blurRad="711200" dist="431800" dir="5400000" sx="87000" sy="87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等线" panose="020F0502020204030204"/>
                <a:ea typeface="+mn-ea"/>
                <a:cs typeface="+mn-cs"/>
              </a:endParaRPr>
            </a:p>
          </p:txBody>
        </p:sp>
        <p:sp>
          <p:nvSpPr>
            <p:cNvPr id="21" name="TextBox 65">
              <a:extLst>
                <a:ext uri="{FF2B5EF4-FFF2-40B4-BE49-F238E27FC236}">
                  <a16:creationId xmlns:a16="http://schemas.microsoft.com/office/drawing/2014/main" id="{58F47EB6-6396-458F-8833-E2AD22B8E82F}"/>
                </a:ext>
              </a:extLst>
            </p:cNvPr>
            <p:cNvSpPr txBox="1"/>
            <p:nvPr/>
          </p:nvSpPr>
          <p:spPr>
            <a:xfrm>
              <a:off x="3641490" y="3864867"/>
              <a:ext cx="1324388"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3600" b="1" i="0" u="none" strike="noStrike" kern="1200" cap="none" spc="0" normalizeH="0" baseline="0" noProof="0" dirty="0">
                  <a:ln>
                    <a:noFill/>
                  </a:ln>
                  <a:solidFill>
                    <a:srgbClr val="FFFFFF"/>
                  </a:solidFill>
                  <a:effectLst/>
                  <a:uLnTx/>
                  <a:uFillTx/>
                  <a:latin typeface="等线 Light" panose="020F0302020204030204"/>
                  <a:ea typeface="+mn-ea"/>
                  <a:cs typeface="+mn-cs"/>
                </a:rPr>
                <a:t>02</a:t>
              </a:r>
            </a:p>
          </p:txBody>
        </p:sp>
        <p:sp>
          <p:nvSpPr>
            <p:cNvPr id="22" name="TextBox 66">
              <a:extLst>
                <a:ext uri="{FF2B5EF4-FFF2-40B4-BE49-F238E27FC236}">
                  <a16:creationId xmlns:a16="http://schemas.microsoft.com/office/drawing/2014/main" id="{AE69D734-A258-4D09-83D3-FB1074395B4D}"/>
                </a:ext>
              </a:extLst>
            </p:cNvPr>
            <p:cNvSpPr txBox="1"/>
            <p:nvPr/>
          </p:nvSpPr>
          <p:spPr>
            <a:xfrm>
              <a:off x="3641490" y="4633330"/>
              <a:ext cx="1965708" cy="787588"/>
            </a:xfrm>
            <a:prstGeom prst="rect">
              <a:avLst/>
            </a:prstGeom>
            <a:noFill/>
          </p:spPr>
          <p:txBody>
            <a:bodyPr wrap="square" rtlCol="0">
              <a:spAutoFit/>
            </a:bodyPr>
            <a:lstStyle/>
            <a:p>
              <a:pPr marL="0" marR="0" lvl="0" indent="0" algn="l" defTabSz="914400" rtl="0" eaLnBrk="1" fontAlgn="auto" latinLnBrk="0" hangingPunct="1">
                <a:lnSpc>
                  <a:spcPct val="13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等线" panose="020F0502020204030204"/>
                  <a:ea typeface="Open Sans" panose="020B0606030504020204" pitchFamily="34" charset="0"/>
                  <a:cs typeface="Segoe UI" panose="020B0502040204020203" pitchFamily="34" charset="0"/>
                </a:rPr>
                <a:t>Leverage agile frameworks to provide a robust synopsis for</a:t>
              </a:r>
            </a:p>
          </p:txBody>
        </p:sp>
      </p:grpSp>
      <p:grpSp>
        <p:nvGrpSpPr>
          <p:cNvPr id="23" name="Group 75">
            <a:extLst>
              <a:ext uri="{FF2B5EF4-FFF2-40B4-BE49-F238E27FC236}">
                <a16:creationId xmlns:a16="http://schemas.microsoft.com/office/drawing/2014/main" id="{76198863-55F9-4F30-9183-B9FC2A9007EA}"/>
              </a:ext>
            </a:extLst>
          </p:cNvPr>
          <p:cNvGrpSpPr/>
          <p:nvPr/>
        </p:nvGrpSpPr>
        <p:grpSpPr>
          <a:xfrm>
            <a:off x="8719995" y="2013037"/>
            <a:ext cx="2722370" cy="1364017"/>
            <a:chOff x="6630902" y="1075295"/>
            <a:chExt cx="2722370" cy="1364017"/>
          </a:xfrm>
        </p:grpSpPr>
        <p:sp>
          <p:nvSpPr>
            <p:cNvPr id="24" name="Rectangle 76">
              <a:extLst>
                <a:ext uri="{FF2B5EF4-FFF2-40B4-BE49-F238E27FC236}">
                  <a16:creationId xmlns:a16="http://schemas.microsoft.com/office/drawing/2014/main" id="{AEA7A537-52AB-4009-B1CA-AB50C3AC417B}"/>
                </a:ext>
              </a:extLst>
            </p:cNvPr>
            <p:cNvSpPr/>
            <p:nvPr/>
          </p:nvSpPr>
          <p:spPr>
            <a:xfrm>
              <a:off x="6630902" y="1794215"/>
              <a:ext cx="2348779" cy="645097"/>
            </a:xfrm>
            <a:prstGeom prst="rect">
              <a:avLst/>
            </a:prstGeom>
          </p:spPr>
          <p:txBody>
            <a:bodyPr wrap="square">
              <a:spAutoFit/>
            </a:bodyPr>
            <a:lstStyle/>
            <a:p>
              <a:pPr marL="0" marR="0" lvl="0" indent="0" algn="l" defTabSz="914400" rtl="0" eaLnBrk="1" fontAlgn="auto" latinLnBrk="0" hangingPunct="1">
                <a:lnSpc>
                  <a:spcPct val="13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lumMod val="50000"/>
                      <a:lumOff val="50000"/>
                    </a:srgbClr>
                  </a:solidFill>
                  <a:effectLst/>
                  <a:uLnTx/>
                  <a:uFillTx/>
                  <a:latin typeface="等线" panose="020F0502020204030204"/>
                  <a:ea typeface="Open Sans Light" panose="020B0306030504020204" pitchFamily="34" charset="0"/>
                  <a:cs typeface="Segoe UI" panose="020B0502040204020203" pitchFamily="34" charset="0"/>
                </a:rPr>
                <a:t>Their pronunciation and their most common words. </a:t>
              </a:r>
            </a:p>
          </p:txBody>
        </p:sp>
        <p:sp>
          <p:nvSpPr>
            <p:cNvPr id="25" name="Rectangle 77">
              <a:extLst>
                <a:ext uri="{FF2B5EF4-FFF2-40B4-BE49-F238E27FC236}">
                  <a16:creationId xmlns:a16="http://schemas.microsoft.com/office/drawing/2014/main" id="{66BA2C60-2585-41DF-BE05-0D16DC320DCD}"/>
                </a:ext>
              </a:extLst>
            </p:cNvPr>
            <p:cNvSpPr/>
            <p:nvPr/>
          </p:nvSpPr>
          <p:spPr>
            <a:xfrm>
              <a:off x="6630902" y="1075295"/>
              <a:ext cx="2722370" cy="737574"/>
            </a:xfrm>
            <a:prstGeom prst="rect">
              <a:avLst/>
            </a:prstGeom>
          </p:spPr>
          <p:txBody>
            <a:bodyPr wrap="square">
              <a:spAutoFit/>
            </a:bodyPr>
            <a:lstStyle/>
            <a:p>
              <a:pPr marL="0" marR="0" lvl="0" indent="0" algn="l" defTabSz="914400" rtl="0" eaLnBrk="1" fontAlgn="auto" latinLnBrk="0" hangingPunct="1">
                <a:lnSpc>
                  <a:spcPct val="130000"/>
                </a:lnSpc>
                <a:spcBef>
                  <a:spcPts val="0"/>
                </a:spcBef>
                <a:spcAft>
                  <a:spcPts val="0"/>
                </a:spcAft>
                <a:buClrTx/>
                <a:buSzTx/>
                <a:buFontTx/>
                <a:buNone/>
                <a:tabLst/>
                <a:defRPr/>
              </a:pPr>
              <a:r>
                <a:rPr kumimoji="0" lang="en-US" sz="3600" b="1" i="0" u="none" strike="noStrike" kern="1200" cap="none" spc="0" normalizeH="0" baseline="0" noProof="0" dirty="0">
                  <a:ln>
                    <a:noFill/>
                  </a:ln>
                  <a:solidFill>
                    <a:srgbClr val="385FFF"/>
                  </a:solidFill>
                  <a:effectLst/>
                  <a:uLnTx/>
                  <a:uFillTx/>
                  <a:latin typeface="等线 Light" panose="020F0302020204030204"/>
                  <a:ea typeface="Open Sans Light" panose="020B0306030504020204" pitchFamily="34" charset="0"/>
                  <a:cs typeface="Poppins" panose="02000000000000000000" pitchFamily="2" charset="0"/>
                </a:rPr>
                <a:t>446K</a:t>
              </a:r>
              <a:endParaRPr kumimoji="0" lang="en-US" sz="3600" b="1" i="0" u="none" strike="noStrike" kern="1200" cap="none" spc="0" normalizeH="0" baseline="30000" noProof="0" dirty="0">
                <a:ln>
                  <a:noFill/>
                </a:ln>
                <a:solidFill>
                  <a:srgbClr val="385FFF"/>
                </a:solidFill>
                <a:effectLst/>
                <a:uLnTx/>
                <a:uFillTx/>
                <a:latin typeface="等线 Light" panose="020F0302020204030204"/>
                <a:ea typeface="Open Sans Light" panose="020B0306030504020204" pitchFamily="34" charset="0"/>
                <a:cs typeface="Poppins" panose="02000000000000000000" pitchFamily="2" charset="0"/>
              </a:endParaRPr>
            </a:p>
          </p:txBody>
        </p:sp>
      </p:grpSp>
      <p:grpSp>
        <p:nvGrpSpPr>
          <p:cNvPr id="26" name="Group 78">
            <a:extLst>
              <a:ext uri="{FF2B5EF4-FFF2-40B4-BE49-F238E27FC236}">
                <a16:creationId xmlns:a16="http://schemas.microsoft.com/office/drawing/2014/main" id="{223D8EC0-4E23-4FF6-BF91-EB33D9417FC4}"/>
              </a:ext>
            </a:extLst>
          </p:cNvPr>
          <p:cNvGrpSpPr/>
          <p:nvPr/>
        </p:nvGrpSpPr>
        <p:grpSpPr>
          <a:xfrm>
            <a:off x="627361" y="2013037"/>
            <a:ext cx="2722370" cy="1364017"/>
            <a:chOff x="6630902" y="1075295"/>
            <a:chExt cx="2722370" cy="1364017"/>
          </a:xfrm>
        </p:grpSpPr>
        <p:sp>
          <p:nvSpPr>
            <p:cNvPr id="27" name="Rectangle 79">
              <a:extLst>
                <a:ext uri="{FF2B5EF4-FFF2-40B4-BE49-F238E27FC236}">
                  <a16:creationId xmlns:a16="http://schemas.microsoft.com/office/drawing/2014/main" id="{46DD11FA-3D3A-4B96-9F70-3B4F3807C22A}"/>
                </a:ext>
              </a:extLst>
            </p:cNvPr>
            <p:cNvSpPr/>
            <p:nvPr/>
          </p:nvSpPr>
          <p:spPr>
            <a:xfrm>
              <a:off x="7004493" y="1794215"/>
              <a:ext cx="2348779" cy="645097"/>
            </a:xfrm>
            <a:prstGeom prst="rect">
              <a:avLst/>
            </a:prstGeom>
          </p:spPr>
          <p:txBody>
            <a:bodyPr wrap="square">
              <a:spAutoFit/>
            </a:bodyPr>
            <a:lstStyle/>
            <a:p>
              <a:pPr marL="0" marR="0" lvl="0" indent="0" algn="r" defTabSz="914400" rtl="0" eaLnBrk="1" fontAlgn="auto" latinLnBrk="0" hangingPunct="1">
                <a:lnSpc>
                  <a:spcPct val="13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lumMod val="50000"/>
                      <a:lumOff val="50000"/>
                    </a:srgbClr>
                  </a:solidFill>
                  <a:effectLst/>
                  <a:uLnTx/>
                  <a:uFillTx/>
                  <a:latin typeface="等线" panose="020F0502020204030204"/>
                  <a:ea typeface="Open Sans Light" panose="020B0306030504020204" pitchFamily="34" charset="0"/>
                  <a:cs typeface="Segoe UI" panose="020B0502040204020203" pitchFamily="34" charset="0"/>
                </a:rPr>
                <a:t>Their pronunciation and their most common words. </a:t>
              </a:r>
            </a:p>
          </p:txBody>
        </p:sp>
        <p:sp>
          <p:nvSpPr>
            <p:cNvPr id="28" name="Rectangle 80">
              <a:extLst>
                <a:ext uri="{FF2B5EF4-FFF2-40B4-BE49-F238E27FC236}">
                  <a16:creationId xmlns:a16="http://schemas.microsoft.com/office/drawing/2014/main" id="{A25C6AA5-7C65-4C34-AB25-DC772CD1AAD7}"/>
                </a:ext>
              </a:extLst>
            </p:cNvPr>
            <p:cNvSpPr/>
            <p:nvPr/>
          </p:nvSpPr>
          <p:spPr>
            <a:xfrm>
              <a:off x="6630902" y="1075295"/>
              <a:ext cx="2722370" cy="737574"/>
            </a:xfrm>
            <a:prstGeom prst="rect">
              <a:avLst/>
            </a:prstGeom>
          </p:spPr>
          <p:txBody>
            <a:bodyPr wrap="square">
              <a:spAutoFit/>
            </a:bodyPr>
            <a:lstStyle/>
            <a:p>
              <a:pPr marL="0" marR="0" lvl="0" indent="0" algn="r" defTabSz="914400" rtl="0" eaLnBrk="1" fontAlgn="auto" latinLnBrk="0" hangingPunct="1">
                <a:lnSpc>
                  <a:spcPct val="130000"/>
                </a:lnSpc>
                <a:spcBef>
                  <a:spcPts val="0"/>
                </a:spcBef>
                <a:spcAft>
                  <a:spcPts val="0"/>
                </a:spcAft>
                <a:buClrTx/>
                <a:buSzTx/>
                <a:buFontTx/>
                <a:buNone/>
                <a:tabLst/>
                <a:defRPr/>
              </a:pPr>
              <a:r>
                <a:rPr kumimoji="0" lang="en-US" sz="3600" b="1" i="0" u="none" strike="noStrike" kern="1200" cap="none" spc="0" normalizeH="0" baseline="0" noProof="0" dirty="0">
                  <a:ln>
                    <a:noFill/>
                  </a:ln>
                  <a:solidFill>
                    <a:srgbClr val="8F38FF"/>
                  </a:solidFill>
                  <a:effectLst/>
                  <a:uLnTx/>
                  <a:uFillTx/>
                  <a:latin typeface="等线 Light" panose="020F0302020204030204"/>
                  <a:ea typeface="Open Sans Light" panose="020B0306030504020204" pitchFamily="34" charset="0"/>
                  <a:cs typeface="Poppins" panose="02000000000000000000" pitchFamily="2" charset="0"/>
                </a:rPr>
                <a:t>221K</a:t>
              </a:r>
              <a:endParaRPr kumimoji="0" lang="en-US" sz="3600" b="1" i="0" u="none" strike="noStrike" kern="1200" cap="none" spc="0" normalizeH="0" baseline="30000" noProof="0" dirty="0">
                <a:ln>
                  <a:noFill/>
                </a:ln>
                <a:solidFill>
                  <a:srgbClr val="8F38FF"/>
                </a:solidFill>
                <a:effectLst/>
                <a:uLnTx/>
                <a:uFillTx/>
                <a:latin typeface="等线 Light" panose="020F0302020204030204"/>
                <a:ea typeface="Open Sans Light" panose="020B0306030504020204" pitchFamily="34" charset="0"/>
                <a:cs typeface="Poppins" panose="02000000000000000000" pitchFamily="2" charset="0"/>
              </a:endParaRPr>
            </a:p>
          </p:txBody>
        </p:sp>
      </p:grpSp>
      <p:grpSp>
        <p:nvGrpSpPr>
          <p:cNvPr id="29" name="Group 81">
            <a:extLst>
              <a:ext uri="{FF2B5EF4-FFF2-40B4-BE49-F238E27FC236}">
                <a16:creationId xmlns:a16="http://schemas.microsoft.com/office/drawing/2014/main" id="{A5747D41-FC42-477B-B75A-8B949048DFBF}"/>
              </a:ext>
            </a:extLst>
          </p:cNvPr>
          <p:cNvGrpSpPr/>
          <p:nvPr/>
        </p:nvGrpSpPr>
        <p:grpSpPr>
          <a:xfrm>
            <a:off x="4186593" y="2185632"/>
            <a:ext cx="1158152" cy="572074"/>
            <a:chOff x="5656412" y="3019258"/>
            <a:chExt cx="1158152" cy="572074"/>
          </a:xfrm>
        </p:grpSpPr>
        <p:sp>
          <p:nvSpPr>
            <p:cNvPr id="30" name="Speech Bubble: Rectangle with Corners Rounded 82">
              <a:extLst>
                <a:ext uri="{FF2B5EF4-FFF2-40B4-BE49-F238E27FC236}">
                  <a16:creationId xmlns:a16="http://schemas.microsoft.com/office/drawing/2014/main" id="{6DC0CD1B-D593-4E49-AAF7-146C5100FBFC}"/>
                </a:ext>
              </a:extLst>
            </p:cNvPr>
            <p:cNvSpPr/>
            <p:nvPr/>
          </p:nvSpPr>
          <p:spPr>
            <a:xfrm flipV="1">
              <a:off x="5656412" y="3019258"/>
              <a:ext cx="1158152" cy="572074"/>
            </a:xfrm>
            <a:prstGeom prst="wedgeRoundRectCallout">
              <a:avLst>
                <a:gd name="adj1" fmla="val 37255"/>
                <a:gd name="adj2" fmla="val -73389"/>
                <a:gd name="adj3" fmla="val 16667"/>
              </a:avLst>
            </a:prstGeom>
            <a:solidFill>
              <a:schemeClr val="bg1"/>
            </a:solidFill>
            <a:ln>
              <a:noFill/>
            </a:ln>
            <a:effectLst>
              <a:outerShdw blurRad="838200" dist="469900" dir="5400000" sx="91000" sy="91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388A"/>
                </a:solidFill>
                <a:effectLst/>
                <a:uLnTx/>
                <a:uFillTx/>
                <a:latin typeface="等线" panose="020F0502020204030204"/>
                <a:ea typeface="+mn-ea"/>
                <a:cs typeface="+mn-cs"/>
              </a:endParaRPr>
            </a:p>
          </p:txBody>
        </p:sp>
        <p:sp>
          <p:nvSpPr>
            <p:cNvPr id="31" name="TextBox 83">
              <a:extLst>
                <a:ext uri="{FF2B5EF4-FFF2-40B4-BE49-F238E27FC236}">
                  <a16:creationId xmlns:a16="http://schemas.microsoft.com/office/drawing/2014/main" id="{55D30876-44EF-402A-90F7-05A3A2110204}"/>
                </a:ext>
              </a:extLst>
            </p:cNvPr>
            <p:cNvSpPr txBox="1"/>
            <p:nvPr/>
          </p:nvSpPr>
          <p:spPr>
            <a:xfrm>
              <a:off x="5804333" y="3104592"/>
              <a:ext cx="862310"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FF388A"/>
                  </a:solidFill>
                  <a:effectLst/>
                  <a:uLnTx/>
                  <a:uFillTx/>
                  <a:latin typeface="等线 Light" panose="020F0302020204030204"/>
                  <a:ea typeface="+mn-ea"/>
                  <a:cs typeface="Segoe UI" panose="020B0502040204020203" pitchFamily="34" charset="0"/>
                </a:rPr>
                <a:t>26</a:t>
              </a:r>
              <a:r>
                <a:rPr kumimoji="0" lang="en-US" sz="1800" b="1" i="0" u="none" strike="noStrike" kern="1200" cap="none" spc="0" normalizeH="0" baseline="0" noProof="0" dirty="0">
                  <a:ln>
                    <a:noFill/>
                  </a:ln>
                  <a:solidFill>
                    <a:srgbClr val="FF388A"/>
                  </a:solidFill>
                  <a:effectLst/>
                  <a:uLnTx/>
                  <a:uFillTx/>
                  <a:latin typeface="等线 Light" panose="020F0302020204030204"/>
                  <a:ea typeface="+mn-ea"/>
                  <a:cs typeface="Segoe UI" panose="020B0502040204020203" pitchFamily="34" charset="0"/>
                </a:rPr>
                <a:t>%</a:t>
              </a:r>
              <a:endParaRPr kumimoji="0" lang="id-ID" sz="1800" b="1" i="0" u="none" strike="noStrike" kern="1200" cap="none" spc="0" normalizeH="0" baseline="0" noProof="0" dirty="0">
                <a:ln>
                  <a:noFill/>
                </a:ln>
                <a:solidFill>
                  <a:srgbClr val="FF388A"/>
                </a:solidFill>
                <a:effectLst/>
                <a:uLnTx/>
                <a:uFillTx/>
                <a:latin typeface="等线 Light" panose="020F0302020204030204"/>
                <a:ea typeface="+mn-ea"/>
                <a:cs typeface="Segoe UI" panose="020B0502040204020203" pitchFamily="34" charset="0"/>
              </a:endParaRPr>
            </a:p>
          </p:txBody>
        </p:sp>
      </p:grpSp>
      <p:grpSp>
        <p:nvGrpSpPr>
          <p:cNvPr id="32" name="Group 84">
            <a:extLst>
              <a:ext uri="{FF2B5EF4-FFF2-40B4-BE49-F238E27FC236}">
                <a16:creationId xmlns:a16="http://schemas.microsoft.com/office/drawing/2014/main" id="{DF0E3126-9038-415F-877D-50A8CEAA7805}"/>
              </a:ext>
            </a:extLst>
          </p:cNvPr>
          <p:cNvGrpSpPr/>
          <p:nvPr/>
        </p:nvGrpSpPr>
        <p:grpSpPr>
          <a:xfrm flipH="1">
            <a:off x="6500529" y="2019816"/>
            <a:ext cx="1158152" cy="572074"/>
            <a:chOff x="5656412" y="3019258"/>
            <a:chExt cx="1158152" cy="572074"/>
          </a:xfrm>
        </p:grpSpPr>
        <p:sp>
          <p:nvSpPr>
            <p:cNvPr id="33" name="Speech Bubble: Rectangle with Corners Rounded 85">
              <a:extLst>
                <a:ext uri="{FF2B5EF4-FFF2-40B4-BE49-F238E27FC236}">
                  <a16:creationId xmlns:a16="http://schemas.microsoft.com/office/drawing/2014/main" id="{B28AD44E-7700-44C1-BF58-FF8706F0EF8F}"/>
                </a:ext>
              </a:extLst>
            </p:cNvPr>
            <p:cNvSpPr/>
            <p:nvPr/>
          </p:nvSpPr>
          <p:spPr>
            <a:xfrm flipV="1">
              <a:off x="5656412" y="3019258"/>
              <a:ext cx="1158152" cy="572074"/>
            </a:xfrm>
            <a:prstGeom prst="wedgeRoundRectCallout">
              <a:avLst>
                <a:gd name="adj1" fmla="val 37255"/>
                <a:gd name="adj2" fmla="val -73389"/>
                <a:gd name="adj3" fmla="val 16667"/>
              </a:avLst>
            </a:prstGeom>
            <a:solidFill>
              <a:schemeClr val="accent6"/>
            </a:solidFill>
            <a:ln>
              <a:noFill/>
            </a:ln>
            <a:effectLst>
              <a:outerShdw blurRad="838200" dist="469900" dir="5400000" sx="91000" sy="91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388A"/>
                </a:solidFill>
                <a:effectLst/>
                <a:uLnTx/>
                <a:uFillTx/>
                <a:latin typeface="等线" panose="020F0502020204030204"/>
                <a:ea typeface="+mn-ea"/>
                <a:cs typeface="+mn-cs"/>
              </a:endParaRPr>
            </a:p>
          </p:txBody>
        </p:sp>
        <p:sp>
          <p:nvSpPr>
            <p:cNvPr id="34" name="TextBox 86">
              <a:extLst>
                <a:ext uri="{FF2B5EF4-FFF2-40B4-BE49-F238E27FC236}">
                  <a16:creationId xmlns:a16="http://schemas.microsoft.com/office/drawing/2014/main" id="{CBC5FC53-50D3-4CD7-ADAA-CA3F5EED8D5B}"/>
                </a:ext>
              </a:extLst>
            </p:cNvPr>
            <p:cNvSpPr txBox="1"/>
            <p:nvPr/>
          </p:nvSpPr>
          <p:spPr>
            <a:xfrm>
              <a:off x="5804333" y="3104592"/>
              <a:ext cx="862310"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FFFFFF"/>
                  </a:solidFill>
                  <a:effectLst/>
                  <a:uLnTx/>
                  <a:uFillTx/>
                  <a:latin typeface="等线 Light" panose="020F0302020204030204"/>
                  <a:ea typeface="+mn-ea"/>
                  <a:cs typeface="Segoe UI" panose="020B0502040204020203" pitchFamily="34" charset="0"/>
                </a:rPr>
                <a:t>66</a:t>
              </a:r>
              <a:r>
                <a:rPr kumimoji="0" lang="en-US" sz="1800" b="1" i="0" u="none" strike="noStrike" kern="1200" cap="none" spc="0" normalizeH="0" baseline="0" noProof="0" dirty="0">
                  <a:ln>
                    <a:noFill/>
                  </a:ln>
                  <a:solidFill>
                    <a:srgbClr val="FFFFFF"/>
                  </a:solidFill>
                  <a:effectLst/>
                  <a:uLnTx/>
                  <a:uFillTx/>
                  <a:latin typeface="等线 Light" panose="020F0302020204030204"/>
                  <a:ea typeface="+mn-ea"/>
                  <a:cs typeface="Segoe UI" panose="020B0502040204020203" pitchFamily="34" charset="0"/>
                </a:rPr>
                <a:t>%</a:t>
              </a:r>
              <a:endParaRPr kumimoji="0" lang="id-ID" sz="1800" b="1" i="0" u="none" strike="noStrike" kern="1200" cap="none" spc="0" normalizeH="0" baseline="0" noProof="0" dirty="0">
                <a:ln>
                  <a:noFill/>
                </a:ln>
                <a:solidFill>
                  <a:srgbClr val="FFFFFF"/>
                </a:solidFill>
                <a:effectLst/>
                <a:uLnTx/>
                <a:uFillTx/>
                <a:latin typeface="等线 Light" panose="020F0302020204030204"/>
                <a:ea typeface="+mn-ea"/>
                <a:cs typeface="Segoe UI" panose="020B0502040204020203" pitchFamily="34" charset="0"/>
              </a:endParaRPr>
            </a:p>
          </p:txBody>
        </p:sp>
      </p:grpSp>
    </p:spTree>
    <p:extLst>
      <p:ext uri="{BB962C8B-B14F-4D97-AF65-F5344CB8AC3E}">
        <p14:creationId xmlns:p14="http://schemas.microsoft.com/office/powerpoint/2010/main" val="642815961"/>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8" presetClass="entr" presetSubtype="3" fill="hold" grpId="0" nodeType="withEffect">
                                  <p:stCondLst>
                                    <p:cond delay="250"/>
                                  </p:stCondLst>
                                  <p:childTnLst>
                                    <p:set>
                                      <p:cBhvr>
                                        <p:cTn id="6" dur="1" fill="hold">
                                          <p:stCondLst>
                                            <p:cond delay="0"/>
                                          </p:stCondLst>
                                        </p:cTn>
                                        <p:tgtEl>
                                          <p:spTgt spid="14"/>
                                        </p:tgtEl>
                                        <p:attrNameLst>
                                          <p:attrName>style.visibility</p:attrName>
                                        </p:attrNameLst>
                                      </p:cBhvr>
                                      <p:to>
                                        <p:strVal val="visible"/>
                                      </p:to>
                                    </p:set>
                                    <p:animEffect transition="in" filter="strips(upRight)">
                                      <p:cBhvr>
                                        <p:cTn id="7" dur="500"/>
                                        <p:tgtEl>
                                          <p:spTgt spid="14"/>
                                        </p:tgtEl>
                                      </p:cBhvr>
                                    </p:animEffect>
                                  </p:childTnLst>
                                </p:cTn>
                              </p:par>
                              <p:par>
                                <p:cTn id="8" presetID="6" presetClass="emph" presetSubtype="0" accel="52000" decel="48000" autoRev="1" fill="hold" grpId="1" nodeType="withEffect">
                                  <p:stCondLst>
                                    <p:cond delay="250"/>
                                  </p:stCondLst>
                                  <p:childTnLst>
                                    <p:animScale>
                                      <p:cBhvr>
                                        <p:cTn id="9" dur="350" fill="hold"/>
                                        <p:tgtEl>
                                          <p:spTgt spid="14"/>
                                        </p:tgtEl>
                                      </p:cBhvr>
                                      <p:by x="110000" y="110000"/>
                                    </p:animScale>
                                  </p:childTnLst>
                                </p:cTn>
                              </p:par>
                              <p:par>
                                <p:cTn id="10" presetID="18" presetClass="entr" presetSubtype="3" fill="hold" nodeType="withEffect">
                                  <p:stCondLst>
                                    <p:cond delay="500"/>
                                  </p:stCondLst>
                                  <p:childTnLst>
                                    <p:set>
                                      <p:cBhvr>
                                        <p:cTn id="11" dur="1" fill="hold">
                                          <p:stCondLst>
                                            <p:cond delay="0"/>
                                          </p:stCondLst>
                                        </p:cTn>
                                        <p:tgtEl>
                                          <p:spTgt spid="15"/>
                                        </p:tgtEl>
                                        <p:attrNameLst>
                                          <p:attrName>style.visibility</p:attrName>
                                        </p:attrNameLst>
                                      </p:cBhvr>
                                      <p:to>
                                        <p:strVal val="visible"/>
                                      </p:to>
                                    </p:set>
                                    <p:animEffect transition="in" filter="strips(upRight)">
                                      <p:cBhvr>
                                        <p:cTn id="12" dur="500"/>
                                        <p:tgtEl>
                                          <p:spTgt spid="15"/>
                                        </p:tgtEl>
                                      </p:cBhvr>
                                    </p:animEffect>
                                  </p:childTnLst>
                                </p:cTn>
                              </p:par>
                              <p:par>
                                <p:cTn id="13" presetID="6" presetClass="emph" presetSubtype="0" accel="52000" decel="48000" autoRev="1" fill="hold" nodeType="withEffect">
                                  <p:stCondLst>
                                    <p:cond delay="500"/>
                                  </p:stCondLst>
                                  <p:childTnLst>
                                    <p:animScale>
                                      <p:cBhvr>
                                        <p:cTn id="14" dur="350" fill="hold"/>
                                        <p:tgtEl>
                                          <p:spTgt spid="15"/>
                                        </p:tgtEl>
                                      </p:cBhvr>
                                      <p:by x="110000" y="110000"/>
                                    </p:animScale>
                                  </p:childTnLst>
                                </p:cTn>
                              </p:par>
                              <p:par>
                                <p:cTn id="15" presetID="18" presetClass="entr" presetSubtype="3" fill="hold" nodeType="withEffect">
                                  <p:stCondLst>
                                    <p:cond delay="750"/>
                                  </p:stCondLst>
                                  <p:childTnLst>
                                    <p:set>
                                      <p:cBhvr>
                                        <p:cTn id="16" dur="1" fill="hold">
                                          <p:stCondLst>
                                            <p:cond delay="0"/>
                                          </p:stCondLst>
                                        </p:cTn>
                                        <p:tgtEl>
                                          <p:spTgt spid="19"/>
                                        </p:tgtEl>
                                        <p:attrNameLst>
                                          <p:attrName>style.visibility</p:attrName>
                                        </p:attrNameLst>
                                      </p:cBhvr>
                                      <p:to>
                                        <p:strVal val="visible"/>
                                      </p:to>
                                    </p:set>
                                    <p:animEffect transition="in" filter="strips(upRight)">
                                      <p:cBhvr>
                                        <p:cTn id="17" dur="500"/>
                                        <p:tgtEl>
                                          <p:spTgt spid="19"/>
                                        </p:tgtEl>
                                      </p:cBhvr>
                                    </p:animEffect>
                                  </p:childTnLst>
                                </p:cTn>
                              </p:par>
                              <p:par>
                                <p:cTn id="18" presetID="6" presetClass="emph" presetSubtype="0" accel="52000" decel="48000" autoRev="1" fill="hold" nodeType="withEffect">
                                  <p:stCondLst>
                                    <p:cond delay="750"/>
                                  </p:stCondLst>
                                  <p:childTnLst>
                                    <p:animScale>
                                      <p:cBhvr>
                                        <p:cTn id="19" dur="350" fill="hold"/>
                                        <p:tgtEl>
                                          <p:spTgt spid="19"/>
                                        </p:tgtEl>
                                      </p:cBhvr>
                                      <p:by x="110000" y="110000"/>
                                    </p:animScale>
                                  </p:childTnLst>
                                </p:cTn>
                              </p:par>
                              <p:par>
                                <p:cTn id="20" presetID="18" presetClass="entr" presetSubtype="12" fill="hold" nodeType="withEffect">
                                  <p:stCondLst>
                                    <p:cond delay="500"/>
                                  </p:stCondLst>
                                  <p:childTnLst>
                                    <p:set>
                                      <p:cBhvr>
                                        <p:cTn id="21" dur="1" fill="hold">
                                          <p:stCondLst>
                                            <p:cond delay="0"/>
                                          </p:stCondLst>
                                        </p:cTn>
                                        <p:tgtEl>
                                          <p:spTgt spid="23"/>
                                        </p:tgtEl>
                                        <p:attrNameLst>
                                          <p:attrName>style.visibility</p:attrName>
                                        </p:attrNameLst>
                                      </p:cBhvr>
                                      <p:to>
                                        <p:strVal val="visible"/>
                                      </p:to>
                                    </p:set>
                                    <p:animEffect transition="in" filter="strips(downLeft)">
                                      <p:cBhvr>
                                        <p:cTn id="22" dur="500"/>
                                        <p:tgtEl>
                                          <p:spTgt spid="23"/>
                                        </p:tgtEl>
                                      </p:cBhvr>
                                    </p:animEffect>
                                  </p:childTnLst>
                                </p:cTn>
                              </p:par>
                              <p:par>
                                <p:cTn id="23" presetID="6" presetClass="emph" presetSubtype="0" accel="52000" decel="48000" autoRev="1" fill="hold" nodeType="withEffect">
                                  <p:stCondLst>
                                    <p:cond delay="500"/>
                                  </p:stCondLst>
                                  <p:childTnLst>
                                    <p:animScale>
                                      <p:cBhvr>
                                        <p:cTn id="24" dur="500" fill="hold"/>
                                        <p:tgtEl>
                                          <p:spTgt spid="23"/>
                                        </p:tgtEl>
                                      </p:cBhvr>
                                      <p:by x="120000" y="120000"/>
                                    </p:animScale>
                                  </p:childTnLst>
                                </p:cTn>
                              </p:par>
                              <p:par>
                                <p:cTn id="25" presetID="18" presetClass="entr" presetSubtype="12" fill="hold" nodeType="withEffect">
                                  <p:stCondLst>
                                    <p:cond delay="500"/>
                                  </p:stCondLst>
                                  <p:childTnLst>
                                    <p:set>
                                      <p:cBhvr>
                                        <p:cTn id="26" dur="1" fill="hold">
                                          <p:stCondLst>
                                            <p:cond delay="0"/>
                                          </p:stCondLst>
                                        </p:cTn>
                                        <p:tgtEl>
                                          <p:spTgt spid="26"/>
                                        </p:tgtEl>
                                        <p:attrNameLst>
                                          <p:attrName>style.visibility</p:attrName>
                                        </p:attrNameLst>
                                      </p:cBhvr>
                                      <p:to>
                                        <p:strVal val="visible"/>
                                      </p:to>
                                    </p:set>
                                    <p:animEffect transition="in" filter="strips(downLeft)">
                                      <p:cBhvr>
                                        <p:cTn id="27" dur="500"/>
                                        <p:tgtEl>
                                          <p:spTgt spid="26"/>
                                        </p:tgtEl>
                                      </p:cBhvr>
                                    </p:animEffect>
                                  </p:childTnLst>
                                </p:cTn>
                              </p:par>
                              <p:par>
                                <p:cTn id="28" presetID="6" presetClass="emph" presetSubtype="0" accel="52000" decel="48000" autoRev="1" fill="hold" nodeType="withEffect">
                                  <p:stCondLst>
                                    <p:cond delay="500"/>
                                  </p:stCondLst>
                                  <p:childTnLst>
                                    <p:animScale>
                                      <p:cBhvr>
                                        <p:cTn id="29" dur="500" fill="hold"/>
                                        <p:tgtEl>
                                          <p:spTgt spid="26"/>
                                        </p:tgtEl>
                                      </p:cBhvr>
                                      <p:by x="120000" y="120000"/>
                                    </p:animScale>
                                  </p:childTnLst>
                                </p:cTn>
                              </p:par>
                              <p:par>
                                <p:cTn id="30" presetID="18" presetClass="entr" presetSubtype="3" fill="hold" nodeType="withEffect">
                                  <p:stCondLst>
                                    <p:cond delay="1250"/>
                                  </p:stCondLst>
                                  <p:childTnLst>
                                    <p:set>
                                      <p:cBhvr>
                                        <p:cTn id="31" dur="1" fill="hold">
                                          <p:stCondLst>
                                            <p:cond delay="0"/>
                                          </p:stCondLst>
                                        </p:cTn>
                                        <p:tgtEl>
                                          <p:spTgt spid="29"/>
                                        </p:tgtEl>
                                        <p:attrNameLst>
                                          <p:attrName>style.visibility</p:attrName>
                                        </p:attrNameLst>
                                      </p:cBhvr>
                                      <p:to>
                                        <p:strVal val="visible"/>
                                      </p:to>
                                    </p:set>
                                    <p:animEffect transition="in" filter="strips(upRight)">
                                      <p:cBhvr>
                                        <p:cTn id="32" dur="500"/>
                                        <p:tgtEl>
                                          <p:spTgt spid="29"/>
                                        </p:tgtEl>
                                      </p:cBhvr>
                                    </p:animEffect>
                                  </p:childTnLst>
                                </p:cTn>
                              </p:par>
                              <p:par>
                                <p:cTn id="33" presetID="6" presetClass="emph" presetSubtype="0" accel="52000" decel="48000" autoRev="1" fill="hold" nodeType="withEffect">
                                  <p:stCondLst>
                                    <p:cond delay="1250"/>
                                  </p:stCondLst>
                                  <p:childTnLst>
                                    <p:animScale>
                                      <p:cBhvr>
                                        <p:cTn id="34" dur="350" fill="hold"/>
                                        <p:tgtEl>
                                          <p:spTgt spid="29"/>
                                        </p:tgtEl>
                                      </p:cBhvr>
                                      <p:by x="110000" y="110000"/>
                                    </p:animScale>
                                  </p:childTnLst>
                                </p:cTn>
                              </p:par>
                              <p:par>
                                <p:cTn id="35" presetID="18" presetClass="entr" presetSubtype="3" fill="hold" nodeType="withEffect">
                                  <p:stCondLst>
                                    <p:cond delay="1000"/>
                                  </p:stCondLst>
                                  <p:childTnLst>
                                    <p:set>
                                      <p:cBhvr>
                                        <p:cTn id="36" dur="1" fill="hold">
                                          <p:stCondLst>
                                            <p:cond delay="0"/>
                                          </p:stCondLst>
                                        </p:cTn>
                                        <p:tgtEl>
                                          <p:spTgt spid="32"/>
                                        </p:tgtEl>
                                        <p:attrNameLst>
                                          <p:attrName>style.visibility</p:attrName>
                                        </p:attrNameLst>
                                      </p:cBhvr>
                                      <p:to>
                                        <p:strVal val="visible"/>
                                      </p:to>
                                    </p:set>
                                    <p:animEffect transition="in" filter="strips(upRight)">
                                      <p:cBhvr>
                                        <p:cTn id="37" dur="500"/>
                                        <p:tgtEl>
                                          <p:spTgt spid="32"/>
                                        </p:tgtEl>
                                      </p:cBhvr>
                                    </p:animEffect>
                                  </p:childTnLst>
                                </p:cTn>
                              </p:par>
                              <p:par>
                                <p:cTn id="38" presetID="6" presetClass="emph" presetSubtype="0" accel="52000" decel="48000" autoRev="1" fill="hold" nodeType="withEffect">
                                  <p:stCondLst>
                                    <p:cond delay="1000"/>
                                  </p:stCondLst>
                                  <p:childTnLst>
                                    <p:animScale>
                                      <p:cBhvr>
                                        <p:cTn id="39" dur="350" fill="hold"/>
                                        <p:tgtEl>
                                          <p:spTgt spid="32"/>
                                        </p:tgtEl>
                                      </p:cBhvr>
                                      <p:by x="110000" y="110000"/>
                                    </p:animScale>
                                  </p:childTnLst>
                                </p:cTn>
                              </p:par>
                              <p:par>
                                <p:cTn id="40" presetID="2" presetClass="entr" presetSubtype="4" decel="100000" fill="hold" nodeType="withEffect">
                                  <p:stCondLst>
                                    <p:cond delay="0"/>
                                  </p:stCondLst>
                                  <p:childTnLst>
                                    <p:set>
                                      <p:cBhvr>
                                        <p:cTn id="41" dur="1" fill="hold">
                                          <p:stCondLst>
                                            <p:cond delay="0"/>
                                          </p:stCondLst>
                                        </p:cTn>
                                        <p:tgtEl>
                                          <p:spTgt spid="2"/>
                                        </p:tgtEl>
                                        <p:attrNameLst>
                                          <p:attrName>style.visibility</p:attrName>
                                        </p:attrNameLst>
                                      </p:cBhvr>
                                      <p:to>
                                        <p:strVal val="visible"/>
                                      </p:to>
                                    </p:set>
                                    <p:anim calcmode="lin" valueType="num">
                                      <p:cBhvr additive="base">
                                        <p:cTn id="42" dur="1500" fill="hold"/>
                                        <p:tgtEl>
                                          <p:spTgt spid="2"/>
                                        </p:tgtEl>
                                        <p:attrNameLst>
                                          <p:attrName>ppt_x</p:attrName>
                                        </p:attrNameLst>
                                      </p:cBhvr>
                                      <p:tavLst>
                                        <p:tav tm="0">
                                          <p:val>
                                            <p:strVal val="#ppt_x"/>
                                          </p:val>
                                        </p:tav>
                                        <p:tav tm="100000">
                                          <p:val>
                                            <p:strVal val="#ppt_x"/>
                                          </p:val>
                                        </p:tav>
                                      </p:tavLst>
                                    </p:anim>
                                    <p:anim calcmode="lin" valueType="num">
                                      <p:cBhvr additive="base">
                                        <p:cTn id="43" dur="1500" fill="hold"/>
                                        <p:tgtEl>
                                          <p:spTgt spid="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14" grpId="1"/>
    </p:bldLst>
  </p:timing>
</p:sld>
</file>

<file path=ppt/slides/slide5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74">
            <a:extLst>
              <a:ext uri="{FF2B5EF4-FFF2-40B4-BE49-F238E27FC236}">
                <a16:creationId xmlns:a16="http://schemas.microsoft.com/office/drawing/2014/main" id="{599A8664-319B-4375-BC56-B5117C3B5C8C}"/>
              </a:ext>
            </a:extLst>
          </p:cNvPr>
          <p:cNvGrpSpPr/>
          <p:nvPr/>
        </p:nvGrpSpPr>
        <p:grpSpPr>
          <a:xfrm>
            <a:off x="4346143" y="2229657"/>
            <a:ext cx="3481101" cy="4629931"/>
            <a:chOff x="4346141" y="2229658"/>
            <a:chExt cx="3481101" cy="4629930"/>
          </a:xfrm>
        </p:grpSpPr>
        <p:grpSp>
          <p:nvGrpSpPr>
            <p:cNvPr id="3" name="Group 73">
              <a:extLst>
                <a:ext uri="{FF2B5EF4-FFF2-40B4-BE49-F238E27FC236}">
                  <a16:creationId xmlns:a16="http://schemas.microsoft.com/office/drawing/2014/main" id="{D4849E33-753F-4E14-B4BA-DDB05A7038A7}"/>
                </a:ext>
              </a:extLst>
            </p:cNvPr>
            <p:cNvGrpSpPr/>
            <p:nvPr/>
          </p:nvGrpSpPr>
          <p:grpSpPr>
            <a:xfrm>
              <a:off x="4481924" y="2229658"/>
              <a:ext cx="1562834" cy="4279823"/>
              <a:chOff x="4481924" y="2229658"/>
              <a:chExt cx="1562834" cy="4279823"/>
            </a:xfrm>
          </p:grpSpPr>
          <p:sp>
            <p:nvSpPr>
              <p:cNvPr id="51" name="Freeform 5">
                <a:extLst>
                  <a:ext uri="{FF2B5EF4-FFF2-40B4-BE49-F238E27FC236}">
                    <a16:creationId xmlns:a16="http://schemas.microsoft.com/office/drawing/2014/main" id="{7FFFA066-DD86-4DA2-8D6A-3340DBE30938}"/>
                  </a:ext>
                </a:extLst>
              </p:cNvPr>
              <p:cNvSpPr>
                <a:spLocks/>
              </p:cNvSpPr>
              <p:nvPr/>
            </p:nvSpPr>
            <p:spPr bwMode="auto">
              <a:xfrm>
                <a:off x="5489645" y="2702235"/>
                <a:ext cx="555113" cy="3807246"/>
              </a:xfrm>
              <a:custGeom>
                <a:avLst/>
                <a:gdLst>
                  <a:gd name="T0" fmla="*/ 278 w 310"/>
                  <a:gd name="T1" fmla="*/ 212 h 2130"/>
                  <a:gd name="T2" fmla="*/ 278 w 310"/>
                  <a:gd name="T3" fmla="*/ 2120 h 2130"/>
                  <a:gd name="T4" fmla="*/ 278 w 310"/>
                  <a:gd name="T5" fmla="*/ 2130 h 2130"/>
                  <a:gd name="T6" fmla="*/ 310 w 310"/>
                  <a:gd name="T7" fmla="*/ 2130 h 2130"/>
                  <a:gd name="T8" fmla="*/ 310 w 310"/>
                  <a:gd name="T9" fmla="*/ 2120 h 2130"/>
                  <a:gd name="T10" fmla="*/ 310 w 310"/>
                  <a:gd name="T11" fmla="*/ 212 h 2130"/>
                  <a:gd name="T12" fmla="*/ 150 w 310"/>
                  <a:gd name="T13" fmla="*/ 0 h 2130"/>
                  <a:gd name="T14" fmla="*/ 0 w 310"/>
                  <a:gd name="T15" fmla="*/ 0 h 2130"/>
                  <a:gd name="T16" fmla="*/ 0 w 310"/>
                  <a:gd name="T17" fmla="*/ 42 h 2130"/>
                  <a:gd name="T18" fmla="*/ 150 w 310"/>
                  <a:gd name="T19" fmla="*/ 42 h 2130"/>
                  <a:gd name="T20" fmla="*/ 278 w 310"/>
                  <a:gd name="T21" fmla="*/ 212 h 2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0" h="2130">
                    <a:moveTo>
                      <a:pt x="278" y="212"/>
                    </a:moveTo>
                    <a:cubicBezTo>
                      <a:pt x="278" y="2120"/>
                      <a:pt x="278" y="2120"/>
                      <a:pt x="278" y="2120"/>
                    </a:cubicBezTo>
                    <a:cubicBezTo>
                      <a:pt x="278" y="2124"/>
                      <a:pt x="278" y="2127"/>
                      <a:pt x="278" y="2130"/>
                    </a:cubicBezTo>
                    <a:cubicBezTo>
                      <a:pt x="310" y="2130"/>
                      <a:pt x="310" y="2130"/>
                      <a:pt x="310" y="2130"/>
                    </a:cubicBezTo>
                    <a:cubicBezTo>
                      <a:pt x="310" y="2127"/>
                      <a:pt x="310" y="2124"/>
                      <a:pt x="310" y="2120"/>
                    </a:cubicBezTo>
                    <a:cubicBezTo>
                      <a:pt x="310" y="212"/>
                      <a:pt x="310" y="212"/>
                      <a:pt x="310" y="212"/>
                    </a:cubicBezTo>
                    <a:cubicBezTo>
                      <a:pt x="310" y="95"/>
                      <a:pt x="239" y="0"/>
                      <a:pt x="150" y="0"/>
                    </a:cubicBezTo>
                    <a:cubicBezTo>
                      <a:pt x="0" y="0"/>
                      <a:pt x="0" y="0"/>
                      <a:pt x="0" y="0"/>
                    </a:cubicBezTo>
                    <a:cubicBezTo>
                      <a:pt x="0" y="42"/>
                      <a:pt x="0" y="42"/>
                      <a:pt x="0" y="42"/>
                    </a:cubicBezTo>
                    <a:cubicBezTo>
                      <a:pt x="150" y="42"/>
                      <a:pt x="150" y="42"/>
                      <a:pt x="150" y="42"/>
                    </a:cubicBezTo>
                    <a:cubicBezTo>
                      <a:pt x="221" y="42"/>
                      <a:pt x="278" y="118"/>
                      <a:pt x="278" y="212"/>
                    </a:cubicBezTo>
                    <a:close/>
                  </a:path>
                </a:pathLst>
              </a:custGeom>
              <a:solidFill>
                <a:schemeClr val="accent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nvGrpSpPr>
              <p:cNvPr id="52" name="Group 1">
                <a:extLst>
                  <a:ext uri="{FF2B5EF4-FFF2-40B4-BE49-F238E27FC236}">
                    <a16:creationId xmlns:a16="http://schemas.microsoft.com/office/drawing/2014/main" id="{E5C76B8A-5BB1-4781-906C-6794D4F8C361}"/>
                  </a:ext>
                </a:extLst>
              </p:cNvPr>
              <p:cNvGrpSpPr/>
              <p:nvPr/>
            </p:nvGrpSpPr>
            <p:grpSpPr>
              <a:xfrm>
                <a:off x="4481924" y="2229658"/>
                <a:ext cx="1060970" cy="1059639"/>
                <a:chOff x="4481924" y="2229658"/>
                <a:chExt cx="1060970" cy="1059639"/>
              </a:xfrm>
            </p:grpSpPr>
            <p:sp>
              <p:nvSpPr>
                <p:cNvPr id="53" name="Oval 7">
                  <a:extLst>
                    <a:ext uri="{FF2B5EF4-FFF2-40B4-BE49-F238E27FC236}">
                      <a16:creationId xmlns:a16="http://schemas.microsoft.com/office/drawing/2014/main" id="{C43B7EC6-1188-478F-BBBD-F5DEB0C92D59}"/>
                    </a:ext>
                  </a:extLst>
                </p:cNvPr>
                <p:cNvSpPr>
                  <a:spLocks noChangeArrowheads="1"/>
                </p:cNvSpPr>
                <p:nvPr/>
              </p:nvSpPr>
              <p:spPr bwMode="auto">
                <a:xfrm>
                  <a:off x="4481924" y="2229658"/>
                  <a:ext cx="1060970" cy="1059639"/>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54" name="Freeform 397">
                  <a:extLst>
                    <a:ext uri="{FF2B5EF4-FFF2-40B4-BE49-F238E27FC236}">
                      <a16:creationId xmlns:a16="http://schemas.microsoft.com/office/drawing/2014/main" id="{0F7A749A-41EE-4FAF-BF46-F4B092E80E24}"/>
                    </a:ext>
                  </a:extLst>
                </p:cNvPr>
                <p:cNvSpPr>
                  <a:spLocks noEditPoints="1"/>
                </p:cNvSpPr>
                <p:nvPr/>
              </p:nvSpPr>
              <p:spPr bwMode="auto">
                <a:xfrm>
                  <a:off x="4901837" y="2566583"/>
                  <a:ext cx="221144" cy="385789"/>
                </a:xfrm>
                <a:custGeom>
                  <a:avLst/>
                  <a:gdLst>
                    <a:gd name="T0" fmla="*/ 879 w 1920"/>
                    <a:gd name="T1" fmla="*/ 960 h 3346"/>
                    <a:gd name="T2" fmla="*/ 776 w 1920"/>
                    <a:gd name="T3" fmla="*/ 1017 h 3346"/>
                    <a:gd name="T4" fmla="*/ 706 w 1920"/>
                    <a:gd name="T5" fmla="*/ 1112 h 3346"/>
                    <a:gd name="T6" fmla="*/ 681 w 1920"/>
                    <a:gd name="T7" fmla="*/ 1230 h 3346"/>
                    <a:gd name="T8" fmla="*/ 706 w 1920"/>
                    <a:gd name="T9" fmla="*/ 1349 h 3346"/>
                    <a:gd name="T10" fmla="*/ 776 w 1920"/>
                    <a:gd name="T11" fmla="*/ 1443 h 3346"/>
                    <a:gd name="T12" fmla="*/ 879 w 1920"/>
                    <a:gd name="T13" fmla="*/ 1500 h 3346"/>
                    <a:gd name="T14" fmla="*/ 1001 w 1920"/>
                    <a:gd name="T15" fmla="*/ 1509 h 3346"/>
                    <a:gd name="T16" fmla="*/ 1113 w 1920"/>
                    <a:gd name="T17" fmla="*/ 1467 h 3346"/>
                    <a:gd name="T18" fmla="*/ 1195 w 1920"/>
                    <a:gd name="T19" fmla="*/ 1384 h 3346"/>
                    <a:gd name="T20" fmla="*/ 1237 w 1920"/>
                    <a:gd name="T21" fmla="*/ 1272 h 3346"/>
                    <a:gd name="T22" fmla="*/ 1228 w 1920"/>
                    <a:gd name="T23" fmla="*/ 1149 h 3346"/>
                    <a:gd name="T24" fmla="*/ 1171 w 1920"/>
                    <a:gd name="T25" fmla="*/ 1045 h 3346"/>
                    <a:gd name="T26" fmla="*/ 1078 w 1920"/>
                    <a:gd name="T27" fmla="*/ 974 h 3346"/>
                    <a:gd name="T28" fmla="*/ 960 w 1920"/>
                    <a:gd name="T29" fmla="*/ 948 h 3346"/>
                    <a:gd name="T30" fmla="*/ 986 w 1920"/>
                    <a:gd name="T31" fmla="*/ 2 h 3346"/>
                    <a:gd name="T32" fmla="*/ 1038 w 1920"/>
                    <a:gd name="T33" fmla="*/ 34 h 3346"/>
                    <a:gd name="T34" fmla="*/ 1110 w 1920"/>
                    <a:gd name="T35" fmla="*/ 125 h 3346"/>
                    <a:gd name="T36" fmla="*/ 1196 w 1920"/>
                    <a:gd name="T37" fmla="*/ 253 h 3346"/>
                    <a:gd name="T38" fmla="*/ 1290 w 1920"/>
                    <a:gd name="T39" fmla="*/ 415 h 3346"/>
                    <a:gd name="T40" fmla="*/ 1382 w 1920"/>
                    <a:gd name="T41" fmla="*/ 612 h 3346"/>
                    <a:gd name="T42" fmla="*/ 1468 w 1920"/>
                    <a:gd name="T43" fmla="*/ 844 h 3346"/>
                    <a:gd name="T44" fmla="*/ 1538 w 1920"/>
                    <a:gd name="T45" fmla="*/ 1113 h 3346"/>
                    <a:gd name="T46" fmla="*/ 1585 w 1920"/>
                    <a:gd name="T47" fmla="*/ 1415 h 3346"/>
                    <a:gd name="T48" fmla="*/ 1602 w 1920"/>
                    <a:gd name="T49" fmla="*/ 1753 h 3346"/>
                    <a:gd name="T50" fmla="*/ 1723 w 1920"/>
                    <a:gd name="T51" fmla="*/ 2263 h 3346"/>
                    <a:gd name="T52" fmla="*/ 1829 w 1920"/>
                    <a:gd name="T53" fmla="*/ 2383 h 3346"/>
                    <a:gd name="T54" fmla="*/ 1897 w 1920"/>
                    <a:gd name="T55" fmla="*/ 2526 h 3346"/>
                    <a:gd name="T56" fmla="*/ 1920 w 1920"/>
                    <a:gd name="T57" fmla="*/ 2687 h 3346"/>
                    <a:gd name="T58" fmla="*/ 1913 w 1920"/>
                    <a:gd name="T59" fmla="*/ 3228 h 3346"/>
                    <a:gd name="T60" fmla="*/ 1877 w 1920"/>
                    <a:gd name="T61" fmla="*/ 3266 h 3346"/>
                    <a:gd name="T62" fmla="*/ 1826 w 1920"/>
                    <a:gd name="T63" fmla="*/ 3274 h 3346"/>
                    <a:gd name="T64" fmla="*/ 1541 w 1920"/>
                    <a:gd name="T65" fmla="*/ 3092 h 3346"/>
                    <a:gd name="T66" fmla="*/ 1426 w 1920"/>
                    <a:gd name="T67" fmla="*/ 3038 h 3346"/>
                    <a:gd name="T68" fmla="*/ 1301 w 1920"/>
                    <a:gd name="T69" fmla="*/ 3019 h 3346"/>
                    <a:gd name="T70" fmla="*/ 1113 w 1920"/>
                    <a:gd name="T71" fmla="*/ 3287 h 3346"/>
                    <a:gd name="T72" fmla="*/ 1075 w 1920"/>
                    <a:gd name="T73" fmla="*/ 3335 h 3346"/>
                    <a:gd name="T74" fmla="*/ 886 w 1920"/>
                    <a:gd name="T75" fmla="*/ 3346 h 3346"/>
                    <a:gd name="T76" fmla="*/ 828 w 1920"/>
                    <a:gd name="T77" fmla="*/ 3322 h 3346"/>
                    <a:gd name="T78" fmla="*/ 805 w 1920"/>
                    <a:gd name="T79" fmla="*/ 3265 h 3346"/>
                    <a:gd name="T80" fmla="*/ 568 w 1920"/>
                    <a:gd name="T81" fmla="*/ 3022 h 3346"/>
                    <a:gd name="T82" fmla="*/ 423 w 1920"/>
                    <a:gd name="T83" fmla="*/ 3066 h 3346"/>
                    <a:gd name="T84" fmla="*/ 110 w 1920"/>
                    <a:gd name="T85" fmla="*/ 3270 h 3346"/>
                    <a:gd name="T86" fmla="*/ 59 w 1920"/>
                    <a:gd name="T87" fmla="*/ 3272 h 3346"/>
                    <a:gd name="T88" fmla="*/ 17 w 1920"/>
                    <a:gd name="T89" fmla="*/ 3242 h 3346"/>
                    <a:gd name="T90" fmla="*/ 0 w 1920"/>
                    <a:gd name="T91" fmla="*/ 3194 h 3346"/>
                    <a:gd name="T92" fmla="*/ 10 w 1920"/>
                    <a:gd name="T93" fmla="*/ 2578 h 3346"/>
                    <a:gd name="T94" fmla="*/ 64 w 1920"/>
                    <a:gd name="T95" fmla="*/ 2429 h 3346"/>
                    <a:gd name="T96" fmla="*/ 158 w 1920"/>
                    <a:gd name="T97" fmla="*/ 2299 h 3346"/>
                    <a:gd name="T98" fmla="*/ 319 w 1920"/>
                    <a:gd name="T99" fmla="*/ 2179 h 3346"/>
                    <a:gd name="T100" fmla="*/ 326 w 1920"/>
                    <a:gd name="T101" fmla="*/ 1523 h 3346"/>
                    <a:gd name="T102" fmla="*/ 365 w 1920"/>
                    <a:gd name="T103" fmla="*/ 1209 h 3346"/>
                    <a:gd name="T104" fmla="*/ 429 w 1920"/>
                    <a:gd name="T105" fmla="*/ 929 h 3346"/>
                    <a:gd name="T106" fmla="*/ 512 w 1920"/>
                    <a:gd name="T107" fmla="*/ 685 h 3346"/>
                    <a:gd name="T108" fmla="*/ 605 w 1920"/>
                    <a:gd name="T109" fmla="*/ 475 h 3346"/>
                    <a:gd name="T110" fmla="*/ 701 w 1920"/>
                    <a:gd name="T111" fmla="*/ 301 h 3346"/>
                    <a:gd name="T112" fmla="*/ 792 w 1920"/>
                    <a:gd name="T113" fmla="*/ 163 h 3346"/>
                    <a:gd name="T114" fmla="*/ 871 w 1920"/>
                    <a:gd name="T115" fmla="*/ 59 h 3346"/>
                    <a:gd name="T116" fmla="*/ 926 w 1920"/>
                    <a:gd name="T117" fmla="*/ 9 h 3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920" h="3346">
                      <a:moveTo>
                        <a:pt x="960" y="948"/>
                      </a:moveTo>
                      <a:lnTo>
                        <a:pt x="919" y="950"/>
                      </a:lnTo>
                      <a:lnTo>
                        <a:pt x="879" y="960"/>
                      </a:lnTo>
                      <a:lnTo>
                        <a:pt x="843" y="974"/>
                      </a:lnTo>
                      <a:lnTo>
                        <a:pt x="808" y="993"/>
                      </a:lnTo>
                      <a:lnTo>
                        <a:pt x="776" y="1017"/>
                      </a:lnTo>
                      <a:lnTo>
                        <a:pt x="749" y="1045"/>
                      </a:lnTo>
                      <a:lnTo>
                        <a:pt x="726" y="1077"/>
                      </a:lnTo>
                      <a:lnTo>
                        <a:pt x="706" y="1112"/>
                      </a:lnTo>
                      <a:lnTo>
                        <a:pt x="692" y="1149"/>
                      </a:lnTo>
                      <a:lnTo>
                        <a:pt x="684" y="1188"/>
                      </a:lnTo>
                      <a:lnTo>
                        <a:pt x="681" y="1230"/>
                      </a:lnTo>
                      <a:lnTo>
                        <a:pt x="684" y="1272"/>
                      </a:lnTo>
                      <a:lnTo>
                        <a:pt x="692" y="1312"/>
                      </a:lnTo>
                      <a:lnTo>
                        <a:pt x="706" y="1349"/>
                      </a:lnTo>
                      <a:lnTo>
                        <a:pt x="726" y="1384"/>
                      </a:lnTo>
                      <a:lnTo>
                        <a:pt x="749" y="1415"/>
                      </a:lnTo>
                      <a:lnTo>
                        <a:pt x="776" y="1443"/>
                      </a:lnTo>
                      <a:lnTo>
                        <a:pt x="808" y="1467"/>
                      </a:lnTo>
                      <a:lnTo>
                        <a:pt x="843" y="1486"/>
                      </a:lnTo>
                      <a:lnTo>
                        <a:pt x="879" y="1500"/>
                      </a:lnTo>
                      <a:lnTo>
                        <a:pt x="919" y="1509"/>
                      </a:lnTo>
                      <a:lnTo>
                        <a:pt x="960" y="1513"/>
                      </a:lnTo>
                      <a:lnTo>
                        <a:pt x="1001" y="1509"/>
                      </a:lnTo>
                      <a:lnTo>
                        <a:pt x="1041" y="1500"/>
                      </a:lnTo>
                      <a:lnTo>
                        <a:pt x="1078" y="1486"/>
                      </a:lnTo>
                      <a:lnTo>
                        <a:pt x="1113" y="1467"/>
                      </a:lnTo>
                      <a:lnTo>
                        <a:pt x="1143" y="1443"/>
                      </a:lnTo>
                      <a:lnTo>
                        <a:pt x="1171" y="1415"/>
                      </a:lnTo>
                      <a:lnTo>
                        <a:pt x="1195" y="1384"/>
                      </a:lnTo>
                      <a:lnTo>
                        <a:pt x="1214" y="1349"/>
                      </a:lnTo>
                      <a:lnTo>
                        <a:pt x="1228" y="1312"/>
                      </a:lnTo>
                      <a:lnTo>
                        <a:pt x="1237" y="1272"/>
                      </a:lnTo>
                      <a:lnTo>
                        <a:pt x="1240" y="1230"/>
                      </a:lnTo>
                      <a:lnTo>
                        <a:pt x="1237" y="1188"/>
                      </a:lnTo>
                      <a:lnTo>
                        <a:pt x="1228" y="1149"/>
                      </a:lnTo>
                      <a:lnTo>
                        <a:pt x="1214" y="1112"/>
                      </a:lnTo>
                      <a:lnTo>
                        <a:pt x="1195" y="1077"/>
                      </a:lnTo>
                      <a:lnTo>
                        <a:pt x="1171" y="1045"/>
                      </a:lnTo>
                      <a:lnTo>
                        <a:pt x="1143" y="1017"/>
                      </a:lnTo>
                      <a:lnTo>
                        <a:pt x="1113" y="993"/>
                      </a:lnTo>
                      <a:lnTo>
                        <a:pt x="1078" y="974"/>
                      </a:lnTo>
                      <a:lnTo>
                        <a:pt x="1041" y="960"/>
                      </a:lnTo>
                      <a:lnTo>
                        <a:pt x="1001" y="950"/>
                      </a:lnTo>
                      <a:lnTo>
                        <a:pt x="960" y="948"/>
                      </a:lnTo>
                      <a:close/>
                      <a:moveTo>
                        <a:pt x="966" y="0"/>
                      </a:moveTo>
                      <a:lnTo>
                        <a:pt x="966" y="0"/>
                      </a:lnTo>
                      <a:lnTo>
                        <a:pt x="986" y="2"/>
                      </a:lnTo>
                      <a:lnTo>
                        <a:pt x="1006" y="9"/>
                      </a:lnTo>
                      <a:lnTo>
                        <a:pt x="1023" y="19"/>
                      </a:lnTo>
                      <a:lnTo>
                        <a:pt x="1038" y="34"/>
                      </a:lnTo>
                      <a:lnTo>
                        <a:pt x="1060" y="61"/>
                      </a:lnTo>
                      <a:lnTo>
                        <a:pt x="1084" y="91"/>
                      </a:lnTo>
                      <a:lnTo>
                        <a:pt x="1110" y="125"/>
                      </a:lnTo>
                      <a:lnTo>
                        <a:pt x="1137" y="164"/>
                      </a:lnTo>
                      <a:lnTo>
                        <a:pt x="1167" y="206"/>
                      </a:lnTo>
                      <a:lnTo>
                        <a:pt x="1196" y="253"/>
                      </a:lnTo>
                      <a:lnTo>
                        <a:pt x="1227" y="302"/>
                      </a:lnTo>
                      <a:lnTo>
                        <a:pt x="1258" y="356"/>
                      </a:lnTo>
                      <a:lnTo>
                        <a:pt x="1290" y="415"/>
                      </a:lnTo>
                      <a:lnTo>
                        <a:pt x="1321" y="476"/>
                      </a:lnTo>
                      <a:lnTo>
                        <a:pt x="1352" y="542"/>
                      </a:lnTo>
                      <a:lnTo>
                        <a:pt x="1382" y="612"/>
                      </a:lnTo>
                      <a:lnTo>
                        <a:pt x="1412" y="685"/>
                      </a:lnTo>
                      <a:lnTo>
                        <a:pt x="1440" y="763"/>
                      </a:lnTo>
                      <a:lnTo>
                        <a:pt x="1468" y="844"/>
                      </a:lnTo>
                      <a:lnTo>
                        <a:pt x="1493" y="930"/>
                      </a:lnTo>
                      <a:lnTo>
                        <a:pt x="1516" y="1019"/>
                      </a:lnTo>
                      <a:lnTo>
                        <a:pt x="1538" y="1113"/>
                      </a:lnTo>
                      <a:lnTo>
                        <a:pt x="1556" y="1209"/>
                      </a:lnTo>
                      <a:lnTo>
                        <a:pt x="1572" y="1310"/>
                      </a:lnTo>
                      <a:lnTo>
                        <a:pt x="1585" y="1415"/>
                      </a:lnTo>
                      <a:lnTo>
                        <a:pt x="1595" y="1524"/>
                      </a:lnTo>
                      <a:lnTo>
                        <a:pt x="1600" y="1637"/>
                      </a:lnTo>
                      <a:lnTo>
                        <a:pt x="1602" y="1753"/>
                      </a:lnTo>
                      <a:lnTo>
                        <a:pt x="1602" y="2178"/>
                      </a:lnTo>
                      <a:lnTo>
                        <a:pt x="1680" y="2231"/>
                      </a:lnTo>
                      <a:lnTo>
                        <a:pt x="1723" y="2263"/>
                      </a:lnTo>
                      <a:lnTo>
                        <a:pt x="1762" y="2301"/>
                      </a:lnTo>
                      <a:lnTo>
                        <a:pt x="1798" y="2340"/>
                      </a:lnTo>
                      <a:lnTo>
                        <a:pt x="1829" y="2383"/>
                      </a:lnTo>
                      <a:lnTo>
                        <a:pt x="1856" y="2429"/>
                      </a:lnTo>
                      <a:lnTo>
                        <a:pt x="1879" y="2477"/>
                      </a:lnTo>
                      <a:lnTo>
                        <a:pt x="1897" y="2526"/>
                      </a:lnTo>
                      <a:lnTo>
                        <a:pt x="1909" y="2578"/>
                      </a:lnTo>
                      <a:lnTo>
                        <a:pt x="1918" y="2631"/>
                      </a:lnTo>
                      <a:lnTo>
                        <a:pt x="1920" y="2687"/>
                      </a:lnTo>
                      <a:lnTo>
                        <a:pt x="1920" y="3194"/>
                      </a:lnTo>
                      <a:lnTo>
                        <a:pt x="1918" y="3212"/>
                      </a:lnTo>
                      <a:lnTo>
                        <a:pt x="1913" y="3228"/>
                      </a:lnTo>
                      <a:lnTo>
                        <a:pt x="1904" y="3242"/>
                      </a:lnTo>
                      <a:lnTo>
                        <a:pt x="1891" y="3256"/>
                      </a:lnTo>
                      <a:lnTo>
                        <a:pt x="1877" y="3266"/>
                      </a:lnTo>
                      <a:lnTo>
                        <a:pt x="1861" y="3272"/>
                      </a:lnTo>
                      <a:lnTo>
                        <a:pt x="1844" y="3275"/>
                      </a:lnTo>
                      <a:lnTo>
                        <a:pt x="1826" y="3274"/>
                      </a:lnTo>
                      <a:lnTo>
                        <a:pt x="1809" y="3270"/>
                      </a:lnTo>
                      <a:lnTo>
                        <a:pt x="1795" y="3261"/>
                      </a:lnTo>
                      <a:lnTo>
                        <a:pt x="1541" y="3092"/>
                      </a:lnTo>
                      <a:lnTo>
                        <a:pt x="1505" y="3069"/>
                      </a:lnTo>
                      <a:lnTo>
                        <a:pt x="1466" y="3051"/>
                      </a:lnTo>
                      <a:lnTo>
                        <a:pt x="1426" y="3038"/>
                      </a:lnTo>
                      <a:lnTo>
                        <a:pt x="1385" y="3027"/>
                      </a:lnTo>
                      <a:lnTo>
                        <a:pt x="1344" y="3021"/>
                      </a:lnTo>
                      <a:lnTo>
                        <a:pt x="1301" y="3019"/>
                      </a:lnTo>
                      <a:lnTo>
                        <a:pt x="1116" y="3019"/>
                      </a:lnTo>
                      <a:lnTo>
                        <a:pt x="1116" y="3265"/>
                      </a:lnTo>
                      <a:lnTo>
                        <a:pt x="1113" y="3287"/>
                      </a:lnTo>
                      <a:lnTo>
                        <a:pt x="1105" y="3306"/>
                      </a:lnTo>
                      <a:lnTo>
                        <a:pt x="1092" y="3322"/>
                      </a:lnTo>
                      <a:lnTo>
                        <a:pt x="1075" y="3335"/>
                      </a:lnTo>
                      <a:lnTo>
                        <a:pt x="1056" y="3343"/>
                      </a:lnTo>
                      <a:lnTo>
                        <a:pt x="1034" y="3346"/>
                      </a:lnTo>
                      <a:lnTo>
                        <a:pt x="886" y="3346"/>
                      </a:lnTo>
                      <a:lnTo>
                        <a:pt x="864" y="3343"/>
                      </a:lnTo>
                      <a:lnTo>
                        <a:pt x="845" y="3335"/>
                      </a:lnTo>
                      <a:lnTo>
                        <a:pt x="828" y="3322"/>
                      </a:lnTo>
                      <a:lnTo>
                        <a:pt x="815" y="3306"/>
                      </a:lnTo>
                      <a:lnTo>
                        <a:pt x="807" y="3287"/>
                      </a:lnTo>
                      <a:lnTo>
                        <a:pt x="805" y="3265"/>
                      </a:lnTo>
                      <a:lnTo>
                        <a:pt x="805" y="3019"/>
                      </a:lnTo>
                      <a:lnTo>
                        <a:pt x="619" y="3019"/>
                      </a:lnTo>
                      <a:lnTo>
                        <a:pt x="568" y="3022"/>
                      </a:lnTo>
                      <a:lnTo>
                        <a:pt x="518" y="3030"/>
                      </a:lnTo>
                      <a:lnTo>
                        <a:pt x="469" y="3045"/>
                      </a:lnTo>
                      <a:lnTo>
                        <a:pt x="423" y="3066"/>
                      </a:lnTo>
                      <a:lnTo>
                        <a:pt x="379" y="3092"/>
                      </a:lnTo>
                      <a:lnTo>
                        <a:pt x="126" y="3261"/>
                      </a:lnTo>
                      <a:lnTo>
                        <a:pt x="110" y="3270"/>
                      </a:lnTo>
                      <a:lnTo>
                        <a:pt x="94" y="3274"/>
                      </a:lnTo>
                      <a:lnTo>
                        <a:pt x="77" y="3275"/>
                      </a:lnTo>
                      <a:lnTo>
                        <a:pt x="59" y="3272"/>
                      </a:lnTo>
                      <a:lnTo>
                        <a:pt x="43" y="3266"/>
                      </a:lnTo>
                      <a:lnTo>
                        <a:pt x="28" y="3256"/>
                      </a:lnTo>
                      <a:lnTo>
                        <a:pt x="17" y="3242"/>
                      </a:lnTo>
                      <a:lnTo>
                        <a:pt x="7" y="3228"/>
                      </a:lnTo>
                      <a:lnTo>
                        <a:pt x="2" y="3212"/>
                      </a:lnTo>
                      <a:lnTo>
                        <a:pt x="0" y="3194"/>
                      </a:lnTo>
                      <a:lnTo>
                        <a:pt x="0" y="2687"/>
                      </a:lnTo>
                      <a:lnTo>
                        <a:pt x="3" y="2631"/>
                      </a:lnTo>
                      <a:lnTo>
                        <a:pt x="10" y="2578"/>
                      </a:lnTo>
                      <a:lnTo>
                        <a:pt x="23" y="2526"/>
                      </a:lnTo>
                      <a:lnTo>
                        <a:pt x="41" y="2477"/>
                      </a:lnTo>
                      <a:lnTo>
                        <a:pt x="64" y="2429"/>
                      </a:lnTo>
                      <a:lnTo>
                        <a:pt x="90" y="2382"/>
                      </a:lnTo>
                      <a:lnTo>
                        <a:pt x="122" y="2340"/>
                      </a:lnTo>
                      <a:lnTo>
                        <a:pt x="158" y="2299"/>
                      </a:lnTo>
                      <a:lnTo>
                        <a:pt x="197" y="2263"/>
                      </a:lnTo>
                      <a:lnTo>
                        <a:pt x="240" y="2231"/>
                      </a:lnTo>
                      <a:lnTo>
                        <a:pt x="319" y="2179"/>
                      </a:lnTo>
                      <a:lnTo>
                        <a:pt x="319" y="1753"/>
                      </a:lnTo>
                      <a:lnTo>
                        <a:pt x="320" y="1637"/>
                      </a:lnTo>
                      <a:lnTo>
                        <a:pt x="326" y="1523"/>
                      </a:lnTo>
                      <a:lnTo>
                        <a:pt x="336" y="1415"/>
                      </a:lnTo>
                      <a:lnTo>
                        <a:pt x="349" y="1310"/>
                      </a:lnTo>
                      <a:lnTo>
                        <a:pt x="365" y="1209"/>
                      </a:lnTo>
                      <a:lnTo>
                        <a:pt x="384" y="1112"/>
                      </a:lnTo>
                      <a:lnTo>
                        <a:pt x="406" y="1018"/>
                      </a:lnTo>
                      <a:lnTo>
                        <a:pt x="429" y="929"/>
                      </a:lnTo>
                      <a:lnTo>
                        <a:pt x="455" y="843"/>
                      </a:lnTo>
                      <a:lnTo>
                        <a:pt x="483" y="763"/>
                      </a:lnTo>
                      <a:lnTo>
                        <a:pt x="512" y="685"/>
                      </a:lnTo>
                      <a:lnTo>
                        <a:pt x="542" y="611"/>
                      </a:lnTo>
                      <a:lnTo>
                        <a:pt x="573" y="541"/>
                      </a:lnTo>
                      <a:lnTo>
                        <a:pt x="605" y="475"/>
                      </a:lnTo>
                      <a:lnTo>
                        <a:pt x="636" y="414"/>
                      </a:lnTo>
                      <a:lnTo>
                        <a:pt x="669" y="355"/>
                      </a:lnTo>
                      <a:lnTo>
                        <a:pt x="701" y="301"/>
                      </a:lnTo>
                      <a:lnTo>
                        <a:pt x="732" y="251"/>
                      </a:lnTo>
                      <a:lnTo>
                        <a:pt x="763" y="205"/>
                      </a:lnTo>
                      <a:lnTo>
                        <a:pt x="792" y="163"/>
                      </a:lnTo>
                      <a:lnTo>
                        <a:pt x="819" y="124"/>
                      </a:lnTo>
                      <a:lnTo>
                        <a:pt x="846" y="90"/>
                      </a:lnTo>
                      <a:lnTo>
                        <a:pt x="871" y="59"/>
                      </a:lnTo>
                      <a:lnTo>
                        <a:pt x="893" y="33"/>
                      </a:lnTo>
                      <a:lnTo>
                        <a:pt x="908" y="19"/>
                      </a:lnTo>
                      <a:lnTo>
                        <a:pt x="926" y="9"/>
                      </a:lnTo>
                      <a:lnTo>
                        <a:pt x="945" y="2"/>
                      </a:lnTo>
                      <a:lnTo>
                        <a:pt x="966"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grpSp>
        </p:grpSp>
        <p:grpSp>
          <p:nvGrpSpPr>
            <p:cNvPr id="4" name="Group 72">
              <a:extLst>
                <a:ext uri="{FF2B5EF4-FFF2-40B4-BE49-F238E27FC236}">
                  <a16:creationId xmlns:a16="http://schemas.microsoft.com/office/drawing/2014/main" id="{61C2F89B-927A-4EC9-97F0-257FDDBE0482}"/>
                </a:ext>
              </a:extLst>
            </p:cNvPr>
            <p:cNvGrpSpPr/>
            <p:nvPr/>
          </p:nvGrpSpPr>
          <p:grpSpPr>
            <a:xfrm>
              <a:off x="4579101" y="3445047"/>
              <a:ext cx="1317893" cy="2919332"/>
              <a:chOff x="4579101" y="3445047"/>
              <a:chExt cx="1317893" cy="2919332"/>
            </a:xfrm>
          </p:grpSpPr>
          <p:sp>
            <p:nvSpPr>
              <p:cNvPr id="47" name="Freeform 9">
                <a:extLst>
                  <a:ext uri="{FF2B5EF4-FFF2-40B4-BE49-F238E27FC236}">
                    <a16:creationId xmlns:a16="http://schemas.microsoft.com/office/drawing/2014/main" id="{8E5A34AB-0653-4A4C-8FE2-6F57B9A4EFFD}"/>
                  </a:ext>
                </a:extLst>
              </p:cNvPr>
              <p:cNvSpPr>
                <a:spLocks/>
              </p:cNvSpPr>
              <p:nvPr/>
            </p:nvSpPr>
            <p:spPr bwMode="auto">
              <a:xfrm>
                <a:off x="5324576" y="3976198"/>
                <a:ext cx="572418" cy="2388181"/>
              </a:xfrm>
              <a:custGeom>
                <a:avLst/>
                <a:gdLst>
                  <a:gd name="T0" fmla="*/ 287 w 319"/>
                  <a:gd name="T1" fmla="*/ 266 h 1336"/>
                  <a:gd name="T2" fmla="*/ 287 w 319"/>
                  <a:gd name="T3" fmla="*/ 1335 h 1336"/>
                  <a:gd name="T4" fmla="*/ 287 w 319"/>
                  <a:gd name="T5" fmla="*/ 1336 h 1336"/>
                  <a:gd name="T6" fmla="*/ 296 w 319"/>
                  <a:gd name="T7" fmla="*/ 1336 h 1336"/>
                  <a:gd name="T8" fmla="*/ 304 w 319"/>
                  <a:gd name="T9" fmla="*/ 1336 h 1336"/>
                  <a:gd name="T10" fmla="*/ 304 w 319"/>
                  <a:gd name="T11" fmla="*/ 1336 h 1336"/>
                  <a:gd name="T12" fmla="*/ 319 w 319"/>
                  <a:gd name="T13" fmla="*/ 1336 h 1336"/>
                  <a:gd name="T14" fmla="*/ 319 w 319"/>
                  <a:gd name="T15" fmla="*/ 1335 h 1336"/>
                  <a:gd name="T16" fmla="*/ 319 w 319"/>
                  <a:gd name="T17" fmla="*/ 266 h 1336"/>
                  <a:gd name="T18" fmla="*/ 118 w 319"/>
                  <a:gd name="T19" fmla="*/ 0 h 1336"/>
                  <a:gd name="T20" fmla="*/ 0 w 319"/>
                  <a:gd name="T21" fmla="*/ 0 h 1336"/>
                  <a:gd name="T22" fmla="*/ 0 w 319"/>
                  <a:gd name="T23" fmla="*/ 42 h 1336"/>
                  <a:gd name="T24" fmla="*/ 118 w 319"/>
                  <a:gd name="T25" fmla="*/ 42 h 1336"/>
                  <a:gd name="T26" fmla="*/ 287 w 319"/>
                  <a:gd name="T27" fmla="*/ 266 h 1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19" h="1336">
                    <a:moveTo>
                      <a:pt x="287" y="266"/>
                    </a:moveTo>
                    <a:cubicBezTo>
                      <a:pt x="287" y="1335"/>
                      <a:pt x="287" y="1335"/>
                      <a:pt x="287" y="1335"/>
                    </a:cubicBezTo>
                    <a:cubicBezTo>
                      <a:pt x="287" y="1335"/>
                      <a:pt x="287" y="1335"/>
                      <a:pt x="287" y="1336"/>
                    </a:cubicBezTo>
                    <a:cubicBezTo>
                      <a:pt x="296" y="1336"/>
                      <a:pt x="296" y="1336"/>
                      <a:pt x="296" y="1336"/>
                    </a:cubicBezTo>
                    <a:cubicBezTo>
                      <a:pt x="304" y="1336"/>
                      <a:pt x="304" y="1336"/>
                      <a:pt x="304" y="1336"/>
                    </a:cubicBezTo>
                    <a:cubicBezTo>
                      <a:pt x="304" y="1336"/>
                      <a:pt x="304" y="1336"/>
                      <a:pt x="304" y="1336"/>
                    </a:cubicBezTo>
                    <a:cubicBezTo>
                      <a:pt x="319" y="1336"/>
                      <a:pt x="319" y="1336"/>
                      <a:pt x="319" y="1336"/>
                    </a:cubicBezTo>
                    <a:cubicBezTo>
                      <a:pt x="319" y="1335"/>
                      <a:pt x="319" y="1335"/>
                      <a:pt x="319" y="1335"/>
                    </a:cubicBezTo>
                    <a:cubicBezTo>
                      <a:pt x="319" y="266"/>
                      <a:pt x="319" y="266"/>
                      <a:pt x="319" y="266"/>
                    </a:cubicBezTo>
                    <a:cubicBezTo>
                      <a:pt x="319" y="119"/>
                      <a:pt x="229" y="0"/>
                      <a:pt x="118" y="0"/>
                    </a:cubicBezTo>
                    <a:cubicBezTo>
                      <a:pt x="0" y="0"/>
                      <a:pt x="0" y="0"/>
                      <a:pt x="0" y="0"/>
                    </a:cubicBezTo>
                    <a:cubicBezTo>
                      <a:pt x="0" y="42"/>
                      <a:pt x="0" y="42"/>
                      <a:pt x="0" y="42"/>
                    </a:cubicBezTo>
                    <a:cubicBezTo>
                      <a:pt x="118" y="42"/>
                      <a:pt x="118" y="42"/>
                      <a:pt x="118" y="42"/>
                    </a:cubicBezTo>
                    <a:cubicBezTo>
                      <a:pt x="211" y="42"/>
                      <a:pt x="287" y="143"/>
                      <a:pt x="287" y="266"/>
                    </a:cubicBez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nvGrpSpPr>
              <p:cNvPr id="48" name="Group 71">
                <a:extLst>
                  <a:ext uri="{FF2B5EF4-FFF2-40B4-BE49-F238E27FC236}">
                    <a16:creationId xmlns:a16="http://schemas.microsoft.com/office/drawing/2014/main" id="{F948E23D-B5CA-4ABF-B97E-38A1E268BF8A}"/>
                  </a:ext>
                </a:extLst>
              </p:cNvPr>
              <p:cNvGrpSpPr/>
              <p:nvPr/>
            </p:nvGrpSpPr>
            <p:grpSpPr>
              <a:xfrm>
                <a:off x="4579101" y="3445047"/>
                <a:ext cx="1062302" cy="1060970"/>
                <a:chOff x="4579101" y="3445047"/>
                <a:chExt cx="1062302" cy="1060970"/>
              </a:xfrm>
            </p:grpSpPr>
            <p:sp>
              <p:nvSpPr>
                <p:cNvPr id="49" name="Oval 11">
                  <a:extLst>
                    <a:ext uri="{FF2B5EF4-FFF2-40B4-BE49-F238E27FC236}">
                      <a16:creationId xmlns:a16="http://schemas.microsoft.com/office/drawing/2014/main" id="{4E2093D9-FBDD-412E-909C-8926D21ECB9F}"/>
                    </a:ext>
                  </a:extLst>
                </p:cNvPr>
                <p:cNvSpPr>
                  <a:spLocks noChangeArrowheads="1"/>
                </p:cNvSpPr>
                <p:nvPr/>
              </p:nvSpPr>
              <p:spPr bwMode="auto">
                <a:xfrm>
                  <a:off x="4579101" y="3445047"/>
                  <a:ext cx="1062302" cy="1060970"/>
                </a:xfrm>
                <a:prstGeom prst="ellipse">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50" name="Freeform 711">
                  <a:extLst>
                    <a:ext uri="{FF2B5EF4-FFF2-40B4-BE49-F238E27FC236}">
                      <a16:creationId xmlns:a16="http://schemas.microsoft.com/office/drawing/2014/main" id="{CA903370-2866-409C-BB43-764A93F79A76}"/>
                    </a:ext>
                  </a:extLst>
                </p:cNvPr>
                <p:cNvSpPr>
                  <a:spLocks noEditPoints="1"/>
                </p:cNvSpPr>
                <p:nvPr/>
              </p:nvSpPr>
              <p:spPr bwMode="auto">
                <a:xfrm>
                  <a:off x="4973957" y="3840645"/>
                  <a:ext cx="272590" cy="269774"/>
                </a:xfrm>
                <a:custGeom>
                  <a:avLst/>
                  <a:gdLst>
                    <a:gd name="T0" fmla="*/ 2522 w 3386"/>
                    <a:gd name="T1" fmla="*/ 2763 h 3353"/>
                    <a:gd name="T2" fmla="*/ 866 w 3386"/>
                    <a:gd name="T3" fmla="*/ 2763 h 3353"/>
                    <a:gd name="T4" fmla="*/ 1843 w 3386"/>
                    <a:gd name="T5" fmla="*/ 2545 h 3353"/>
                    <a:gd name="T6" fmla="*/ 2020 w 3386"/>
                    <a:gd name="T7" fmla="*/ 2848 h 3353"/>
                    <a:gd name="T8" fmla="*/ 2094 w 3386"/>
                    <a:gd name="T9" fmla="*/ 2585 h 3353"/>
                    <a:gd name="T10" fmla="*/ 1459 w 3386"/>
                    <a:gd name="T11" fmla="*/ 2555 h 3353"/>
                    <a:gd name="T12" fmla="*/ 1286 w 3386"/>
                    <a:gd name="T13" fmla="*/ 2739 h 3353"/>
                    <a:gd name="T14" fmla="*/ 1498 w 3386"/>
                    <a:gd name="T15" fmla="*/ 2965 h 3353"/>
                    <a:gd name="T16" fmla="*/ 2638 w 3386"/>
                    <a:gd name="T17" fmla="*/ 2080 h 3353"/>
                    <a:gd name="T18" fmla="*/ 2702 w 3386"/>
                    <a:gd name="T19" fmla="*/ 2497 h 3353"/>
                    <a:gd name="T20" fmla="*/ 2956 w 3386"/>
                    <a:gd name="T21" fmla="*/ 2251 h 3353"/>
                    <a:gd name="T22" fmla="*/ 3078 w 3386"/>
                    <a:gd name="T23" fmla="*/ 1839 h 3353"/>
                    <a:gd name="T24" fmla="*/ 2026 w 3386"/>
                    <a:gd name="T25" fmla="*/ 2242 h 3353"/>
                    <a:gd name="T26" fmla="*/ 2328 w 3386"/>
                    <a:gd name="T27" fmla="*/ 2123 h 3353"/>
                    <a:gd name="T28" fmla="*/ 1024 w 3386"/>
                    <a:gd name="T29" fmla="*/ 1839 h 3353"/>
                    <a:gd name="T30" fmla="*/ 1100 w 3386"/>
                    <a:gd name="T31" fmla="*/ 2302 h 3353"/>
                    <a:gd name="T32" fmla="*/ 1544 w 3386"/>
                    <a:gd name="T33" fmla="*/ 2221 h 3353"/>
                    <a:gd name="T34" fmla="*/ 341 w 3386"/>
                    <a:gd name="T35" fmla="*/ 2009 h 3353"/>
                    <a:gd name="T36" fmla="*/ 518 w 3386"/>
                    <a:gd name="T37" fmla="*/ 2401 h 3353"/>
                    <a:gd name="T38" fmla="*/ 817 w 3386"/>
                    <a:gd name="T39" fmla="*/ 2419 h 3353"/>
                    <a:gd name="T40" fmla="*/ 726 w 3386"/>
                    <a:gd name="T41" fmla="*/ 1839 h 3353"/>
                    <a:gd name="T42" fmla="*/ 2026 w 3386"/>
                    <a:gd name="T43" fmla="*/ 1111 h 3353"/>
                    <a:gd name="T44" fmla="*/ 2354 w 3386"/>
                    <a:gd name="T45" fmla="*/ 1418 h 3353"/>
                    <a:gd name="T46" fmla="*/ 1099 w 3386"/>
                    <a:gd name="T47" fmla="*/ 1050 h 3353"/>
                    <a:gd name="T48" fmla="*/ 1024 w 3386"/>
                    <a:gd name="T49" fmla="*/ 1515 h 3353"/>
                    <a:gd name="T50" fmla="*/ 1272 w 3386"/>
                    <a:gd name="T51" fmla="*/ 1095 h 3353"/>
                    <a:gd name="T52" fmla="*/ 518 w 3386"/>
                    <a:gd name="T53" fmla="*/ 952 h 3353"/>
                    <a:gd name="T54" fmla="*/ 341 w 3386"/>
                    <a:gd name="T55" fmla="*/ 1345 h 3353"/>
                    <a:gd name="T56" fmla="*/ 748 w 3386"/>
                    <a:gd name="T57" fmla="*/ 1274 h 3353"/>
                    <a:gd name="T58" fmla="*/ 685 w 3386"/>
                    <a:gd name="T59" fmla="*/ 856 h 3353"/>
                    <a:gd name="T60" fmla="*/ 2568 w 3386"/>
                    <a:gd name="T61" fmla="*/ 935 h 3353"/>
                    <a:gd name="T62" fmla="*/ 2660 w 3386"/>
                    <a:gd name="T63" fmla="*/ 1515 h 3353"/>
                    <a:gd name="T64" fmla="*/ 2991 w 3386"/>
                    <a:gd name="T65" fmla="*/ 1181 h 3353"/>
                    <a:gd name="T66" fmla="*/ 2763 w 3386"/>
                    <a:gd name="T67" fmla="*/ 811 h 3353"/>
                    <a:gd name="T68" fmla="*/ 2461 w 3386"/>
                    <a:gd name="T69" fmla="*/ 549 h 3353"/>
                    <a:gd name="T70" fmla="*/ 897 w 3386"/>
                    <a:gd name="T71" fmla="*/ 609 h 3353"/>
                    <a:gd name="T72" fmla="*/ 1843 w 3386"/>
                    <a:gd name="T73" fmla="*/ 808 h 3353"/>
                    <a:gd name="T74" fmla="*/ 2138 w 3386"/>
                    <a:gd name="T75" fmla="*/ 677 h 3353"/>
                    <a:gd name="T76" fmla="*/ 1933 w 3386"/>
                    <a:gd name="T77" fmla="*/ 421 h 3353"/>
                    <a:gd name="T78" fmla="*/ 1453 w 3386"/>
                    <a:gd name="T79" fmla="*/ 421 h 3353"/>
                    <a:gd name="T80" fmla="*/ 1248 w 3386"/>
                    <a:gd name="T81" fmla="*/ 677 h 3353"/>
                    <a:gd name="T82" fmla="*/ 1544 w 3386"/>
                    <a:gd name="T83" fmla="*/ 808 h 3353"/>
                    <a:gd name="T84" fmla="*/ 1906 w 3386"/>
                    <a:gd name="T85" fmla="*/ 13 h 3353"/>
                    <a:gd name="T86" fmla="*/ 2398 w 3386"/>
                    <a:gd name="T87" fmla="*/ 153 h 3353"/>
                    <a:gd name="T88" fmla="*/ 2818 w 3386"/>
                    <a:gd name="T89" fmla="*/ 424 h 3353"/>
                    <a:gd name="T90" fmla="*/ 3137 w 3386"/>
                    <a:gd name="T91" fmla="*/ 803 h 3353"/>
                    <a:gd name="T92" fmla="*/ 3335 w 3386"/>
                    <a:gd name="T93" fmla="*/ 1264 h 3353"/>
                    <a:gd name="T94" fmla="*/ 3383 w 3386"/>
                    <a:gd name="T95" fmla="*/ 1783 h 3353"/>
                    <a:gd name="T96" fmla="*/ 3273 w 3386"/>
                    <a:gd name="T97" fmla="*/ 2282 h 3353"/>
                    <a:gd name="T98" fmla="*/ 3023 w 3386"/>
                    <a:gd name="T99" fmla="*/ 2713 h 3353"/>
                    <a:gd name="T100" fmla="*/ 2660 w 3386"/>
                    <a:gd name="T101" fmla="*/ 3052 h 3353"/>
                    <a:gd name="T102" fmla="*/ 2209 w 3386"/>
                    <a:gd name="T103" fmla="*/ 3273 h 3353"/>
                    <a:gd name="T104" fmla="*/ 1693 w 3386"/>
                    <a:gd name="T105" fmla="*/ 3353 h 3353"/>
                    <a:gd name="T106" fmla="*/ 1179 w 3386"/>
                    <a:gd name="T107" fmla="*/ 3273 h 3353"/>
                    <a:gd name="T108" fmla="*/ 727 w 3386"/>
                    <a:gd name="T109" fmla="*/ 3052 h 3353"/>
                    <a:gd name="T110" fmla="*/ 363 w 3386"/>
                    <a:gd name="T111" fmla="*/ 2713 h 3353"/>
                    <a:gd name="T112" fmla="*/ 114 w 3386"/>
                    <a:gd name="T113" fmla="*/ 2282 h 3353"/>
                    <a:gd name="T114" fmla="*/ 3 w 3386"/>
                    <a:gd name="T115" fmla="*/ 1783 h 3353"/>
                    <a:gd name="T116" fmla="*/ 52 w 3386"/>
                    <a:gd name="T117" fmla="*/ 1264 h 3353"/>
                    <a:gd name="T118" fmla="*/ 249 w 3386"/>
                    <a:gd name="T119" fmla="*/ 803 h 3353"/>
                    <a:gd name="T120" fmla="*/ 569 w 3386"/>
                    <a:gd name="T121" fmla="*/ 424 h 3353"/>
                    <a:gd name="T122" fmla="*/ 988 w 3386"/>
                    <a:gd name="T123" fmla="*/ 153 h 3353"/>
                    <a:gd name="T124" fmla="*/ 1482 w 3386"/>
                    <a:gd name="T125" fmla="*/ 13 h 3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386" h="3353">
                      <a:moveTo>
                        <a:pt x="2458" y="2726"/>
                      </a:moveTo>
                      <a:lnTo>
                        <a:pt x="2429" y="2786"/>
                      </a:lnTo>
                      <a:lnTo>
                        <a:pt x="2399" y="2842"/>
                      </a:lnTo>
                      <a:lnTo>
                        <a:pt x="2461" y="2805"/>
                      </a:lnTo>
                      <a:lnTo>
                        <a:pt x="2522" y="2763"/>
                      </a:lnTo>
                      <a:lnTo>
                        <a:pt x="2491" y="2745"/>
                      </a:lnTo>
                      <a:lnTo>
                        <a:pt x="2458" y="2726"/>
                      </a:lnTo>
                      <a:close/>
                      <a:moveTo>
                        <a:pt x="930" y="2725"/>
                      </a:moveTo>
                      <a:lnTo>
                        <a:pt x="898" y="2744"/>
                      </a:lnTo>
                      <a:lnTo>
                        <a:pt x="866" y="2763"/>
                      </a:lnTo>
                      <a:lnTo>
                        <a:pt x="925" y="2805"/>
                      </a:lnTo>
                      <a:lnTo>
                        <a:pt x="988" y="2843"/>
                      </a:lnTo>
                      <a:lnTo>
                        <a:pt x="958" y="2785"/>
                      </a:lnTo>
                      <a:lnTo>
                        <a:pt x="930" y="2725"/>
                      </a:lnTo>
                      <a:close/>
                      <a:moveTo>
                        <a:pt x="1843" y="2545"/>
                      </a:moveTo>
                      <a:lnTo>
                        <a:pt x="1843" y="2991"/>
                      </a:lnTo>
                      <a:lnTo>
                        <a:pt x="1888" y="2965"/>
                      </a:lnTo>
                      <a:lnTo>
                        <a:pt x="1933" y="2932"/>
                      </a:lnTo>
                      <a:lnTo>
                        <a:pt x="1977" y="2893"/>
                      </a:lnTo>
                      <a:lnTo>
                        <a:pt x="2020" y="2848"/>
                      </a:lnTo>
                      <a:lnTo>
                        <a:pt x="2061" y="2796"/>
                      </a:lnTo>
                      <a:lnTo>
                        <a:pt x="2101" y="2739"/>
                      </a:lnTo>
                      <a:lnTo>
                        <a:pt x="2138" y="2676"/>
                      </a:lnTo>
                      <a:lnTo>
                        <a:pt x="2175" y="2607"/>
                      </a:lnTo>
                      <a:lnTo>
                        <a:pt x="2094" y="2585"/>
                      </a:lnTo>
                      <a:lnTo>
                        <a:pt x="2013" y="2568"/>
                      </a:lnTo>
                      <a:lnTo>
                        <a:pt x="1928" y="2555"/>
                      </a:lnTo>
                      <a:lnTo>
                        <a:pt x="1843" y="2545"/>
                      </a:lnTo>
                      <a:close/>
                      <a:moveTo>
                        <a:pt x="1544" y="2545"/>
                      </a:moveTo>
                      <a:lnTo>
                        <a:pt x="1459" y="2555"/>
                      </a:lnTo>
                      <a:lnTo>
                        <a:pt x="1375" y="2568"/>
                      </a:lnTo>
                      <a:lnTo>
                        <a:pt x="1293" y="2585"/>
                      </a:lnTo>
                      <a:lnTo>
                        <a:pt x="1213" y="2607"/>
                      </a:lnTo>
                      <a:lnTo>
                        <a:pt x="1248" y="2676"/>
                      </a:lnTo>
                      <a:lnTo>
                        <a:pt x="1286" y="2739"/>
                      </a:lnTo>
                      <a:lnTo>
                        <a:pt x="1325" y="2796"/>
                      </a:lnTo>
                      <a:lnTo>
                        <a:pt x="1366" y="2848"/>
                      </a:lnTo>
                      <a:lnTo>
                        <a:pt x="1409" y="2893"/>
                      </a:lnTo>
                      <a:lnTo>
                        <a:pt x="1453" y="2932"/>
                      </a:lnTo>
                      <a:lnTo>
                        <a:pt x="1498" y="2965"/>
                      </a:lnTo>
                      <a:lnTo>
                        <a:pt x="1544" y="2991"/>
                      </a:lnTo>
                      <a:lnTo>
                        <a:pt x="1544" y="2545"/>
                      </a:lnTo>
                      <a:close/>
                      <a:moveTo>
                        <a:pt x="2660" y="1839"/>
                      </a:moveTo>
                      <a:lnTo>
                        <a:pt x="2652" y="1961"/>
                      </a:lnTo>
                      <a:lnTo>
                        <a:pt x="2638" y="2080"/>
                      </a:lnTo>
                      <a:lnTo>
                        <a:pt x="2620" y="2196"/>
                      </a:lnTo>
                      <a:lnTo>
                        <a:pt x="2597" y="2308"/>
                      </a:lnTo>
                      <a:lnTo>
                        <a:pt x="2569" y="2418"/>
                      </a:lnTo>
                      <a:lnTo>
                        <a:pt x="2637" y="2457"/>
                      </a:lnTo>
                      <a:lnTo>
                        <a:pt x="2702" y="2497"/>
                      </a:lnTo>
                      <a:lnTo>
                        <a:pt x="2763" y="2542"/>
                      </a:lnTo>
                      <a:lnTo>
                        <a:pt x="2819" y="2473"/>
                      </a:lnTo>
                      <a:lnTo>
                        <a:pt x="2870" y="2401"/>
                      </a:lnTo>
                      <a:lnTo>
                        <a:pt x="2915" y="2327"/>
                      </a:lnTo>
                      <a:lnTo>
                        <a:pt x="2956" y="2251"/>
                      </a:lnTo>
                      <a:lnTo>
                        <a:pt x="2991" y="2172"/>
                      </a:lnTo>
                      <a:lnTo>
                        <a:pt x="3021" y="2092"/>
                      </a:lnTo>
                      <a:lnTo>
                        <a:pt x="3045" y="2009"/>
                      </a:lnTo>
                      <a:lnTo>
                        <a:pt x="3064" y="1925"/>
                      </a:lnTo>
                      <a:lnTo>
                        <a:pt x="3078" y="1839"/>
                      </a:lnTo>
                      <a:lnTo>
                        <a:pt x="2660" y="1839"/>
                      </a:lnTo>
                      <a:close/>
                      <a:moveTo>
                        <a:pt x="1843" y="1839"/>
                      </a:moveTo>
                      <a:lnTo>
                        <a:pt x="1843" y="2221"/>
                      </a:lnTo>
                      <a:lnTo>
                        <a:pt x="1934" y="2229"/>
                      </a:lnTo>
                      <a:lnTo>
                        <a:pt x="2026" y="2242"/>
                      </a:lnTo>
                      <a:lnTo>
                        <a:pt x="2115" y="2258"/>
                      </a:lnTo>
                      <a:lnTo>
                        <a:pt x="2201" y="2279"/>
                      </a:lnTo>
                      <a:lnTo>
                        <a:pt x="2286" y="2303"/>
                      </a:lnTo>
                      <a:lnTo>
                        <a:pt x="2309" y="2215"/>
                      </a:lnTo>
                      <a:lnTo>
                        <a:pt x="2328" y="2123"/>
                      </a:lnTo>
                      <a:lnTo>
                        <a:pt x="2343" y="2030"/>
                      </a:lnTo>
                      <a:lnTo>
                        <a:pt x="2354" y="1936"/>
                      </a:lnTo>
                      <a:lnTo>
                        <a:pt x="2363" y="1839"/>
                      </a:lnTo>
                      <a:lnTo>
                        <a:pt x="1843" y="1839"/>
                      </a:lnTo>
                      <a:close/>
                      <a:moveTo>
                        <a:pt x="1024" y="1839"/>
                      </a:moveTo>
                      <a:lnTo>
                        <a:pt x="1032" y="1936"/>
                      </a:lnTo>
                      <a:lnTo>
                        <a:pt x="1044" y="2030"/>
                      </a:lnTo>
                      <a:lnTo>
                        <a:pt x="1059" y="2123"/>
                      </a:lnTo>
                      <a:lnTo>
                        <a:pt x="1078" y="2214"/>
                      </a:lnTo>
                      <a:lnTo>
                        <a:pt x="1100" y="2302"/>
                      </a:lnTo>
                      <a:lnTo>
                        <a:pt x="1185" y="2278"/>
                      </a:lnTo>
                      <a:lnTo>
                        <a:pt x="1272" y="2257"/>
                      </a:lnTo>
                      <a:lnTo>
                        <a:pt x="1362" y="2241"/>
                      </a:lnTo>
                      <a:lnTo>
                        <a:pt x="1452" y="2229"/>
                      </a:lnTo>
                      <a:lnTo>
                        <a:pt x="1544" y="2221"/>
                      </a:lnTo>
                      <a:lnTo>
                        <a:pt x="1544" y="1839"/>
                      </a:lnTo>
                      <a:lnTo>
                        <a:pt x="1024" y="1839"/>
                      </a:lnTo>
                      <a:close/>
                      <a:moveTo>
                        <a:pt x="308" y="1839"/>
                      </a:moveTo>
                      <a:lnTo>
                        <a:pt x="323" y="1925"/>
                      </a:lnTo>
                      <a:lnTo>
                        <a:pt x="341" y="2009"/>
                      </a:lnTo>
                      <a:lnTo>
                        <a:pt x="366" y="2092"/>
                      </a:lnTo>
                      <a:lnTo>
                        <a:pt x="395" y="2172"/>
                      </a:lnTo>
                      <a:lnTo>
                        <a:pt x="431" y="2251"/>
                      </a:lnTo>
                      <a:lnTo>
                        <a:pt x="471" y="2327"/>
                      </a:lnTo>
                      <a:lnTo>
                        <a:pt x="518" y="2401"/>
                      </a:lnTo>
                      <a:lnTo>
                        <a:pt x="568" y="2473"/>
                      </a:lnTo>
                      <a:lnTo>
                        <a:pt x="623" y="2542"/>
                      </a:lnTo>
                      <a:lnTo>
                        <a:pt x="686" y="2498"/>
                      </a:lnTo>
                      <a:lnTo>
                        <a:pt x="750" y="2457"/>
                      </a:lnTo>
                      <a:lnTo>
                        <a:pt x="817" y="2419"/>
                      </a:lnTo>
                      <a:lnTo>
                        <a:pt x="790" y="2308"/>
                      </a:lnTo>
                      <a:lnTo>
                        <a:pt x="767" y="2196"/>
                      </a:lnTo>
                      <a:lnTo>
                        <a:pt x="749" y="2080"/>
                      </a:lnTo>
                      <a:lnTo>
                        <a:pt x="735" y="1961"/>
                      </a:lnTo>
                      <a:lnTo>
                        <a:pt x="726" y="1839"/>
                      </a:lnTo>
                      <a:lnTo>
                        <a:pt x="308" y="1839"/>
                      </a:lnTo>
                      <a:close/>
                      <a:moveTo>
                        <a:pt x="2286" y="1050"/>
                      </a:moveTo>
                      <a:lnTo>
                        <a:pt x="2202" y="1075"/>
                      </a:lnTo>
                      <a:lnTo>
                        <a:pt x="2115" y="1095"/>
                      </a:lnTo>
                      <a:lnTo>
                        <a:pt x="2026" y="1111"/>
                      </a:lnTo>
                      <a:lnTo>
                        <a:pt x="1936" y="1124"/>
                      </a:lnTo>
                      <a:lnTo>
                        <a:pt x="1843" y="1133"/>
                      </a:lnTo>
                      <a:lnTo>
                        <a:pt x="1843" y="1515"/>
                      </a:lnTo>
                      <a:lnTo>
                        <a:pt x="2363" y="1515"/>
                      </a:lnTo>
                      <a:lnTo>
                        <a:pt x="2354" y="1418"/>
                      </a:lnTo>
                      <a:lnTo>
                        <a:pt x="2343" y="1323"/>
                      </a:lnTo>
                      <a:lnTo>
                        <a:pt x="2328" y="1230"/>
                      </a:lnTo>
                      <a:lnTo>
                        <a:pt x="2309" y="1140"/>
                      </a:lnTo>
                      <a:lnTo>
                        <a:pt x="2286" y="1050"/>
                      </a:lnTo>
                      <a:close/>
                      <a:moveTo>
                        <a:pt x="1099" y="1050"/>
                      </a:moveTo>
                      <a:lnTo>
                        <a:pt x="1077" y="1140"/>
                      </a:lnTo>
                      <a:lnTo>
                        <a:pt x="1059" y="1230"/>
                      </a:lnTo>
                      <a:lnTo>
                        <a:pt x="1044" y="1323"/>
                      </a:lnTo>
                      <a:lnTo>
                        <a:pt x="1032" y="1418"/>
                      </a:lnTo>
                      <a:lnTo>
                        <a:pt x="1024" y="1515"/>
                      </a:lnTo>
                      <a:lnTo>
                        <a:pt x="1544" y="1515"/>
                      </a:lnTo>
                      <a:lnTo>
                        <a:pt x="1544" y="1133"/>
                      </a:lnTo>
                      <a:lnTo>
                        <a:pt x="1452" y="1124"/>
                      </a:lnTo>
                      <a:lnTo>
                        <a:pt x="1362" y="1111"/>
                      </a:lnTo>
                      <a:lnTo>
                        <a:pt x="1272" y="1095"/>
                      </a:lnTo>
                      <a:lnTo>
                        <a:pt x="1185" y="1075"/>
                      </a:lnTo>
                      <a:lnTo>
                        <a:pt x="1099" y="1050"/>
                      </a:lnTo>
                      <a:close/>
                      <a:moveTo>
                        <a:pt x="623" y="813"/>
                      </a:moveTo>
                      <a:lnTo>
                        <a:pt x="568" y="881"/>
                      </a:lnTo>
                      <a:lnTo>
                        <a:pt x="518" y="952"/>
                      </a:lnTo>
                      <a:lnTo>
                        <a:pt x="471" y="1026"/>
                      </a:lnTo>
                      <a:lnTo>
                        <a:pt x="431" y="1103"/>
                      </a:lnTo>
                      <a:lnTo>
                        <a:pt x="396" y="1181"/>
                      </a:lnTo>
                      <a:lnTo>
                        <a:pt x="366" y="1262"/>
                      </a:lnTo>
                      <a:lnTo>
                        <a:pt x="341" y="1345"/>
                      </a:lnTo>
                      <a:lnTo>
                        <a:pt x="323" y="1429"/>
                      </a:lnTo>
                      <a:lnTo>
                        <a:pt x="309" y="1515"/>
                      </a:lnTo>
                      <a:lnTo>
                        <a:pt x="726" y="1515"/>
                      </a:lnTo>
                      <a:lnTo>
                        <a:pt x="735" y="1393"/>
                      </a:lnTo>
                      <a:lnTo>
                        <a:pt x="748" y="1274"/>
                      </a:lnTo>
                      <a:lnTo>
                        <a:pt x="767" y="1157"/>
                      </a:lnTo>
                      <a:lnTo>
                        <a:pt x="790" y="1045"/>
                      </a:lnTo>
                      <a:lnTo>
                        <a:pt x="817" y="935"/>
                      </a:lnTo>
                      <a:lnTo>
                        <a:pt x="750" y="897"/>
                      </a:lnTo>
                      <a:lnTo>
                        <a:pt x="685" y="856"/>
                      </a:lnTo>
                      <a:lnTo>
                        <a:pt x="623" y="813"/>
                      </a:lnTo>
                      <a:close/>
                      <a:moveTo>
                        <a:pt x="2763" y="811"/>
                      </a:moveTo>
                      <a:lnTo>
                        <a:pt x="2700" y="855"/>
                      </a:lnTo>
                      <a:lnTo>
                        <a:pt x="2636" y="897"/>
                      </a:lnTo>
                      <a:lnTo>
                        <a:pt x="2568" y="935"/>
                      </a:lnTo>
                      <a:lnTo>
                        <a:pt x="2597" y="1045"/>
                      </a:lnTo>
                      <a:lnTo>
                        <a:pt x="2620" y="1157"/>
                      </a:lnTo>
                      <a:lnTo>
                        <a:pt x="2638" y="1274"/>
                      </a:lnTo>
                      <a:lnTo>
                        <a:pt x="2652" y="1393"/>
                      </a:lnTo>
                      <a:lnTo>
                        <a:pt x="2660" y="1515"/>
                      </a:lnTo>
                      <a:lnTo>
                        <a:pt x="3078" y="1515"/>
                      </a:lnTo>
                      <a:lnTo>
                        <a:pt x="3064" y="1429"/>
                      </a:lnTo>
                      <a:lnTo>
                        <a:pt x="3045" y="1345"/>
                      </a:lnTo>
                      <a:lnTo>
                        <a:pt x="3021" y="1262"/>
                      </a:lnTo>
                      <a:lnTo>
                        <a:pt x="2991" y="1181"/>
                      </a:lnTo>
                      <a:lnTo>
                        <a:pt x="2956" y="1103"/>
                      </a:lnTo>
                      <a:lnTo>
                        <a:pt x="2915" y="1025"/>
                      </a:lnTo>
                      <a:lnTo>
                        <a:pt x="2869" y="951"/>
                      </a:lnTo>
                      <a:lnTo>
                        <a:pt x="2818" y="880"/>
                      </a:lnTo>
                      <a:lnTo>
                        <a:pt x="2763" y="811"/>
                      </a:lnTo>
                      <a:close/>
                      <a:moveTo>
                        <a:pt x="2399" y="512"/>
                      </a:moveTo>
                      <a:lnTo>
                        <a:pt x="2429" y="568"/>
                      </a:lnTo>
                      <a:lnTo>
                        <a:pt x="2458" y="628"/>
                      </a:lnTo>
                      <a:lnTo>
                        <a:pt x="2522" y="590"/>
                      </a:lnTo>
                      <a:lnTo>
                        <a:pt x="2461" y="549"/>
                      </a:lnTo>
                      <a:lnTo>
                        <a:pt x="2399" y="512"/>
                      </a:lnTo>
                      <a:close/>
                      <a:moveTo>
                        <a:pt x="988" y="512"/>
                      </a:moveTo>
                      <a:lnTo>
                        <a:pt x="925" y="549"/>
                      </a:lnTo>
                      <a:lnTo>
                        <a:pt x="866" y="590"/>
                      </a:lnTo>
                      <a:lnTo>
                        <a:pt x="897" y="609"/>
                      </a:lnTo>
                      <a:lnTo>
                        <a:pt x="930" y="627"/>
                      </a:lnTo>
                      <a:lnTo>
                        <a:pt x="958" y="568"/>
                      </a:lnTo>
                      <a:lnTo>
                        <a:pt x="988" y="512"/>
                      </a:lnTo>
                      <a:close/>
                      <a:moveTo>
                        <a:pt x="1843" y="363"/>
                      </a:moveTo>
                      <a:lnTo>
                        <a:pt x="1843" y="808"/>
                      </a:lnTo>
                      <a:lnTo>
                        <a:pt x="1928" y="798"/>
                      </a:lnTo>
                      <a:lnTo>
                        <a:pt x="2012" y="785"/>
                      </a:lnTo>
                      <a:lnTo>
                        <a:pt x="2094" y="768"/>
                      </a:lnTo>
                      <a:lnTo>
                        <a:pt x="2175" y="746"/>
                      </a:lnTo>
                      <a:lnTo>
                        <a:pt x="2138" y="677"/>
                      </a:lnTo>
                      <a:lnTo>
                        <a:pt x="2101" y="614"/>
                      </a:lnTo>
                      <a:lnTo>
                        <a:pt x="2061" y="556"/>
                      </a:lnTo>
                      <a:lnTo>
                        <a:pt x="2020" y="505"/>
                      </a:lnTo>
                      <a:lnTo>
                        <a:pt x="1977" y="460"/>
                      </a:lnTo>
                      <a:lnTo>
                        <a:pt x="1933" y="421"/>
                      </a:lnTo>
                      <a:lnTo>
                        <a:pt x="1888" y="388"/>
                      </a:lnTo>
                      <a:lnTo>
                        <a:pt x="1843" y="363"/>
                      </a:lnTo>
                      <a:close/>
                      <a:moveTo>
                        <a:pt x="1544" y="362"/>
                      </a:moveTo>
                      <a:lnTo>
                        <a:pt x="1498" y="388"/>
                      </a:lnTo>
                      <a:lnTo>
                        <a:pt x="1453" y="421"/>
                      </a:lnTo>
                      <a:lnTo>
                        <a:pt x="1409" y="460"/>
                      </a:lnTo>
                      <a:lnTo>
                        <a:pt x="1366" y="505"/>
                      </a:lnTo>
                      <a:lnTo>
                        <a:pt x="1325" y="556"/>
                      </a:lnTo>
                      <a:lnTo>
                        <a:pt x="1286" y="614"/>
                      </a:lnTo>
                      <a:lnTo>
                        <a:pt x="1248" y="677"/>
                      </a:lnTo>
                      <a:lnTo>
                        <a:pt x="1213" y="746"/>
                      </a:lnTo>
                      <a:lnTo>
                        <a:pt x="1292" y="768"/>
                      </a:lnTo>
                      <a:lnTo>
                        <a:pt x="1375" y="785"/>
                      </a:lnTo>
                      <a:lnTo>
                        <a:pt x="1459" y="798"/>
                      </a:lnTo>
                      <a:lnTo>
                        <a:pt x="1544" y="808"/>
                      </a:lnTo>
                      <a:lnTo>
                        <a:pt x="1544" y="362"/>
                      </a:lnTo>
                      <a:close/>
                      <a:moveTo>
                        <a:pt x="1693" y="0"/>
                      </a:moveTo>
                      <a:lnTo>
                        <a:pt x="1693" y="0"/>
                      </a:lnTo>
                      <a:lnTo>
                        <a:pt x="1800" y="4"/>
                      </a:lnTo>
                      <a:lnTo>
                        <a:pt x="1906" y="13"/>
                      </a:lnTo>
                      <a:lnTo>
                        <a:pt x="2009" y="30"/>
                      </a:lnTo>
                      <a:lnTo>
                        <a:pt x="2110" y="52"/>
                      </a:lnTo>
                      <a:lnTo>
                        <a:pt x="2209" y="80"/>
                      </a:lnTo>
                      <a:lnTo>
                        <a:pt x="2305" y="114"/>
                      </a:lnTo>
                      <a:lnTo>
                        <a:pt x="2398" y="153"/>
                      </a:lnTo>
                      <a:lnTo>
                        <a:pt x="2489" y="198"/>
                      </a:lnTo>
                      <a:lnTo>
                        <a:pt x="2577" y="247"/>
                      </a:lnTo>
                      <a:lnTo>
                        <a:pt x="2660" y="301"/>
                      </a:lnTo>
                      <a:lnTo>
                        <a:pt x="2741" y="360"/>
                      </a:lnTo>
                      <a:lnTo>
                        <a:pt x="2818" y="424"/>
                      </a:lnTo>
                      <a:lnTo>
                        <a:pt x="2891" y="492"/>
                      </a:lnTo>
                      <a:lnTo>
                        <a:pt x="2959" y="564"/>
                      </a:lnTo>
                      <a:lnTo>
                        <a:pt x="3023" y="640"/>
                      </a:lnTo>
                      <a:lnTo>
                        <a:pt x="3083" y="720"/>
                      </a:lnTo>
                      <a:lnTo>
                        <a:pt x="3137" y="803"/>
                      </a:lnTo>
                      <a:lnTo>
                        <a:pt x="3188" y="889"/>
                      </a:lnTo>
                      <a:lnTo>
                        <a:pt x="3233" y="979"/>
                      </a:lnTo>
                      <a:lnTo>
                        <a:pt x="3273" y="1071"/>
                      </a:lnTo>
                      <a:lnTo>
                        <a:pt x="3307" y="1167"/>
                      </a:lnTo>
                      <a:lnTo>
                        <a:pt x="3335" y="1264"/>
                      </a:lnTo>
                      <a:lnTo>
                        <a:pt x="3358" y="1364"/>
                      </a:lnTo>
                      <a:lnTo>
                        <a:pt x="3373" y="1467"/>
                      </a:lnTo>
                      <a:lnTo>
                        <a:pt x="3383" y="1570"/>
                      </a:lnTo>
                      <a:lnTo>
                        <a:pt x="3386" y="1677"/>
                      </a:lnTo>
                      <a:lnTo>
                        <a:pt x="3383" y="1783"/>
                      </a:lnTo>
                      <a:lnTo>
                        <a:pt x="3373" y="1887"/>
                      </a:lnTo>
                      <a:lnTo>
                        <a:pt x="3358" y="1989"/>
                      </a:lnTo>
                      <a:lnTo>
                        <a:pt x="3335" y="2089"/>
                      </a:lnTo>
                      <a:lnTo>
                        <a:pt x="3307" y="2186"/>
                      </a:lnTo>
                      <a:lnTo>
                        <a:pt x="3273" y="2282"/>
                      </a:lnTo>
                      <a:lnTo>
                        <a:pt x="3233" y="2374"/>
                      </a:lnTo>
                      <a:lnTo>
                        <a:pt x="3188" y="2464"/>
                      </a:lnTo>
                      <a:lnTo>
                        <a:pt x="3137" y="2551"/>
                      </a:lnTo>
                      <a:lnTo>
                        <a:pt x="3083" y="2633"/>
                      </a:lnTo>
                      <a:lnTo>
                        <a:pt x="3023" y="2713"/>
                      </a:lnTo>
                      <a:lnTo>
                        <a:pt x="2959" y="2789"/>
                      </a:lnTo>
                      <a:lnTo>
                        <a:pt x="2891" y="2861"/>
                      </a:lnTo>
                      <a:lnTo>
                        <a:pt x="2818" y="2929"/>
                      </a:lnTo>
                      <a:lnTo>
                        <a:pt x="2741" y="2993"/>
                      </a:lnTo>
                      <a:lnTo>
                        <a:pt x="2660" y="3052"/>
                      </a:lnTo>
                      <a:lnTo>
                        <a:pt x="2577" y="3107"/>
                      </a:lnTo>
                      <a:lnTo>
                        <a:pt x="2489" y="3156"/>
                      </a:lnTo>
                      <a:lnTo>
                        <a:pt x="2398" y="3200"/>
                      </a:lnTo>
                      <a:lnTo>
                        <a:pt x="2305" y="3240"/>
                      </a:lnTo>
                      <a:lnTo>
                        <a:pt x="2209" y="3273"/>
                      </a:lnTo>
                      <a:lnTo>
                        <a:pt x="2110" y="3302"/>
                      </a:lnTo>
                      <a:lnTo>
                        <a:pt x="2009" y="3324"/>
                      </a:lnTo>
                      <a:lnTo>
                        <a:pt x="1906" y="3340"/>
                      </a:lnTo>
                      <a:lnTo>
                        <a:pt x="1800" y="3350"/>
                      </a:lnTo>
                      <a:lnTo>
                        <a:pt x="1693" y="3353"/>
                      </a:lnTo>
                      <a:lnTo>
                        <a:pt x="1586" y="3350"/>
                      </a:lnTo>
                      <a:lnTo>
                        <a:pt x="1482" y="3340"/>
                      </a:lnTo>
                      <a:lnTo>
                        <a:pt x="1378" y="3324"/>
                      </a:lnTo>
                      <a:lnTo>
                        <a:pt x="1277" y="3302"/>
                      </a:lnTo>
                      <a:lnTo>
                        <a:pt x="1179" y="3273"/>
                      </a:lnTo>
                      <a:lnTo>
                        <a:pt x="1082" y="3240"/>
                      </a:lnTo>
                      <a:lnTo>
                        <a:pt x="988" y="3200"/>
                      </a:lnTo>
                      <a:lnTo>
                        <a:pt x="898" y="3156"/>
                      </a:lnTo>
                      <a:lnTo>
                        <a:pt x="811" y="3107"/>
                      </a:lnTo>
                      <a:lnTo>
                        <a:pt x="727" y="3052"/>
                      </a:lnTo>
                      <a:lnTo>
                        <a:pt x="647" y="2993"/>
                      </a:lnTo>
                      <a:lnTo>
                        <a:pt x="569" y="2929"/>
                      </a:lnTo>
                      <a:lnTo>
                        <a:pt x="497" y="2861"/>
                      </a:lnTo>
                      <a:lnTo>
                        <a:pt x="427" y="2789"/>
                      </a:lnTo>
                      <a:lnTo>
                        <a:pt x="363" y="2713"/>
                      </a:lnTo>
                      <a:lnTo>
                        <a:pt x="304" y="2633"/>
                      </a:lnTo>
                      <a:lnTo>
                        <a:pt x="249" y="2551"/>
                      </a:lnTo>
                      <a:lnTo>
                        <a:pt x="198" y="2464"/>
                      </a:lnTo>
                      <a:lnTo>
                        <a:pt x="154" y="2374"/>
                      </a:lnTo>
                      <a:lnTo>
                        <a:pt x="114" y="2282"/>
                      </a:lnTo>
                      <a:lnTo>
                        <a:pt x="80" y="2186"/>
                      </a:lnTo>
                      <a:lnTo>
                        <a:pt x="52" y="2089"/>
                      </a:lnTo>
                      <a:lnTo>
                        <a:pt x="30" y="1989"/>
                      </a:lnTo>
                      <a:lnTo>
                        <a:pt x="13" y="1887"/>
                      </a:lnTo>
                      <a:lnTo>
                        <a:pt x="3" y="1783"/>
                      </a:lnTo>
                      <a:lnTo>
                        <a:pt x="0" y="1677"/>
                      </a:lnTo>
                      <a:lnTo>
                        <a:pt x="3" y="1570"/>
                      </a:lnTo>
                      <a:lnTo>
                        <a:pt x="13" y="1467"/>
                      </a:lnTo>
                      <a:lnTo>
                        <a:pt x="30" y="1364"/>
                      </a:lnTo>
                      <a:lnTo>
                        <a:pt x="52" y="1264"/>
                      </a:lnTo>
                      <a:lnTo>
                        <a:pt x="80" y="1167"/>
                      </a:lnTo>
                      <a:lnTo>
                        <a:pt x="114" y="1071"/>
                      </a:lnTo>
                      <a:lnTo>
                        <a:pt x="154" y="979"/>
                      </a:lnTo>
                      <a:lnTo>
                        <a:pt x="198" y="889"/>
                      </a:lnTo>
                      <a:lnTo>
                        <a:pt x="249" y="803"/>
                      </a:lnTo>
                      <a:lnTo>
                        <a:pt x="304" y="720"/>
                      </a:lnTo>
                      <a:lnTo>
                        <a:pt x="363" y="640"/>
                      </a:lnTo>
                      <a:lnTo>
                        <a:pt x="427" y="564"/>
                      </a:lnTo>
                      <a:lnTo>
                        <a:pt x="497" y="492"/>
                      </a:lnTo>
                      <a:lnTo>
                        <a:pt x="569" y="424"/>
                      </a:lnTo>
                      <a:lnTo>
                        <a:pt x="647" y="360"/>
                      </a:lnTo>
                      <a:lnTo>
                        <a:pt x="727" y="301"/>
                      </a:lnTo>
                      <a:lnTo>
                        <a:pt x="811" y="247"/>
                      </a:lnTo>
                      <a:lnTo>
                        <a:pt x="898" y="198"/>
                      </a:lnTo>
                      <a:lnTo>
                        <a:pt x="988" y="153"/>
                      </a:lnTo>
                      <a:lnTo>
                        <a:pt x="1082" y="114"/>
                      </a:lnTo>
                      <a:lnTo>
                        <a:pt x="1179" y="80"/>
                      </a:lnTo>
                      <a:lnTo>
                        <a:pt x="1277" y="52"/>
                      </a:lnTo>
                      <a:lnTo>
                        <a:pt x="1378" y="30"/>
                      </a:lnTo>
                      <a:lnTo>
                        <a:pt x="1482" y="13"/>
                      </a:lnTo>
                      <a:lnTo>
                        <a:pt x="1586" y="4"/>
                      </a:lnTo>
                      <a:lnTo>
                        <a:pt x="1693"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grpSp>
        </p:grpSp>
        <p:grpSp>
          <p:nvGrpSpPr>
            <p:cNvPr id="5" name="Group 70">
              <a:extLst>
                <a:ext uri="{FF2B5EF4-FFF2-40B4-BE49-F238E27FC236}">
                  <a16:creationId xmlns:a16="http://schemas.microsoft.com/office/drawing/2014/main" id="{8A3E9EEE-8B21-487F-8311-43885D86F8C7}"/>
                </a:ext>
              </a:extLst>
            </p:cNvPr>
            <p:cNvGrpSpPr/>
            <p:nvPr/>
          </p:nvGrpSpPr>
          <p:grpSpPr>
            <a:xfrm>
              <a:off x="4346141" y="4611183"/>
              <a:ext cx="1421727" cy="1927584"/>
              <a:chOff x="4346141" y="4611183"/>
              <a:chExt cx="1421727" cy="1927584"/>
            </a:xfrm>
          </p:grpSpPr>
          <p:sp>
            <p:nvSpPr>
              <p:cNvPr id="38" name="Freeform 13">
                <a:extLst>
                  <a:ext uri="{FF2B5EF4-FFF2-40B4-BE49-F238E27FC236}">
                    <a16:creationId xmlns:a16="http://schemas.microsoft.com/office/drawing/2014/main" id="{90D18BD4-E995-4B09-B64B-9B8641FA32F1}"/>
                  </a:ext>
                </a:extLst>
              </p:cNvPr>
              <p:cNvSpPr>
                <a:spLocks/>
              </p:cNvSpPr>
              <p:nvPr/>
            </p:nvSpPr>
            <p:spPr bwMode="auto">
              <a:xfrm>
                <a:off x="5211424" y="5045156"/>
                <a:ext cx="556444" cy="1493611"/>
              </a:xfrm>
              <a:custGeom>
                <a:avLst/>
                <a:gdLst>
                  <a:gd name="T0" fmla="*/ 278 w 310"/>
                  <a:gd name="T1" fmla="*/ 261 h 835"/>
                  <a:gd name="T2" fmla="*/ 278 w 310"/>
                  <a:gd name="T3" fmla="*/ 835 h 835"/>
                  <a:gd name="T4" fmla="*/ 310 w 310"/>
                  <a:gd name="T5" fmla="*/ 835 h 835"/>
                  <a:gd name="T6" fmla="*/ 310 w 310"/>
                  <a:gd name="T7" fmla="*/ 261 h 835"/>
                  <a:gd name="T8" fmla="*/ 113 w 310"/>
                  <a:gd name="T9" fmla="*/ 0 h 835"/>
                  <a:gd name="T10" fmla="*/ 0 w 310"/>
                  <a:gd name="T11" fmla="*/ 0 h 835"/>
                  <a:gd name="T12" fmla="*/ 0 w 310"/>
                  <a:gd name="T13" fmla="*/ 42 h 835"/>
                  <a:gd name="T14" fmla="*/ 113 w 310"/>
                  <a:gd name="T15" fmla="*/ 42 h 835"/>
                  <a:gd name="T16" fmla="*/ 278 w 310"/>
                  <a:gd name="T17" fmla="*/ 261 h 8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0" h="835">
                    <a:moveTo>
                      <a:pt x="278" y="261"/>
                    </a:moveTo>
                    <a:cubicBezTo>
                      <a:pt x="278" y="835"/>
                      <a:pt x="278" y="835"/>
                      <a:pt x="278" y="835"/>
                    </a:cubicBezTo>
                    <a:cubicBezTo>
                      <a:pt x="310" y="835"/>
                      <a:pt x="310" y="835"/>
                      <a:pt x="310" y="835"/>
                    </a:cubicBezTo>
                    <a:cubicBezTo>
                      <a:pt x="310" y="261"/>
                      <a:pt x="310" y="261"/>
                      <a:pt x="310" y="261"/>
                    </a:cubicBezTo>
                    <a:cubicBezTo>
                      <a:pt x="310" y="117"/>
                      <a:pt x="222" y="0"/>
                      <a:pt x="113" y="0"/>
                    </a:cubicBezTo>
                    <a:cubicBezTo>
                      <a:pt x="0" y="0"/>
                      <a:pt x="0" y="0"/>
                      <a:pt x="0" y="0"/>
                    </a:cubicBezTo>
                    <a:cubicBezTo>
                      <a:pt x="0" y="42"/>
                      <a:pt x="0" y="42"/>
                      <a:pt x="0" y="42"/>
                    </a:cubicBezTo>
                    <a:cubicBezTo>
                      <a:pt x="113" y="42"/>
                      <a:pt x="113" y="42"/>
                      <a:pt x="113" y="42"/>
                    </a:cubicBezTo>
                    <a:cubicBezTo>
                      <a:pt x="204" y="42"/>
                      <a:pt x="278" y="140"/>
                      <a:pt x="278" y="261"/>
                    </a:cubicBezTo>
                    <a:close/>
                  </a:path>
                </a:pathLst>
              </a:custGeom>
              <a:solidFill>
                <a:schemeClr val="accent3">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nvGrpSpPr>
              <p:cNvPr id="39" name="Group 69">
                <a:extLst>
                  <a:ext uri="{FF2B5EF4-FFF2-40B4-BE49-F238E27FC236}">
                    <a16:creationId xmlns:a16="http://schemas.microsoft.com/office/drawing/2014/main" id="{8FADBDD4-C868-4EB2-8BCC-3BDA6869E721}"/>
                  </a:ext>
                </a:extLst>
              </p:cNvPr>
              <p:cNvGrpSpPr/>
              <p:nvPr/>
            </p:nvGrpSpPr>
            <p:grpSpPr>
              <a:xfrm>
                <a:off x="4346141" y="4611183"/>
                <a:ext cx="1062302" cy="1059639"/>
                <a:chOff x="4346141" y="4611183"/>
                <a:chExt cx="1062302" cy="1059639"/>
              </a:xfrm>
            </p:grpSpPr>
            <p:sp>
              <p:nvSpPr>
                <p:cNvPr id="40" name="Oval 15">
                  <a:extLst>
                    <a:ext uri="{FF2B5EF4-FFF2-40B4-BE49-F238E27FC236}">
                      <a16:creationId xmlns:a16="http://schemas.microsoft.com/office/drawing/2014/main" id="{E99A8D87-0B0B-4491-894A-8CB86AA234D6}"/>
                    </a:ext>
                  </a:extLst>
                </p:cNvPr>
                <p:cNvSpPr>
                  <a:spLocks noChangeArrowheads="1"/>
                </p:cNvSpPr>
                <p:nvPr/>
              </p:nvSpPr>
              <p:spPr bwMode="auto">
                <a:xfrm>
                  <a:off x="4346141" y="4611183"/>
                  <a:ext cx="1062302" cy="1059639"/>
                </a:xfrm>
                <a:prstGeom prst="ellipse">
                  <a:avLst/>
                </a:pr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nvGrpSpPr>
                <p:cNvPr id="41" name="Group 156">
                  <a:extLst>
                    <a:ext uri="{FF2B5EF4-FFF2-40B4-BE49-F238E27FC236}">
                      <a16:creationId xmlns:a16="http://schemas.microsoft.com/office/drawing/2014/main" id="{CE199D2C-59C9-4D1A-9C9B-179E4BB9D9FB}"/>
                    </a:ext>
                  </a:extLst>
                </p:cNvPr>
                <p:cNvGrpSpPr>
                  <a:grpSpLocks noChangeAspect="1"/>
                </p:cNvGrpSpPr>
                <p:nvPr/>
              </p:nvGrpSpPr>
              <p:grpSpPr bwMode="auto">
                <a:xfrm>
                  <a:off x="4691589" y="4949585"/>
                  <a:ext cx="371407" cy="382835"/>
                  <a:chOff x="3531" y="2829"/>
                  <a:chExt cx="195" cy="201"/>
                </a:xfrm>
                <a:solidFill>
                  <a:schemeClr val="bg1"/>
                </a:solidFill>
              </p:grpSpPr>
              <p:sp>
                <p:nvSpPr>
                  <p:cNvPr id="42" name="Freeform 158">
                    <a:extLst>
                      <a:ext uri="{FF2B5EF4-FFF2-40B4-BE49-F238E27FC236}">
                        <a16:creationId xmlns:a16="http://schemas.microsoft.com/office/drawing/2014/main" id="{AC2F0B18-0782-4B9E-8F14-87E258E7E5AF}"/>
                      </a:ext>
                    </a:extLst>
                  </p:cNvPr>
                  <p:cNvSpPr>
                    <a:spLocks/>
                  </p:cNvSpPr>
                  <p:nvPr/>
                </p:nvSpPr>
                <p:spPr bwMode="auto">
                  <a:xfrm>
                    <a:off x="3698" y="3002"/>
                    <a:ext cx="28" cy="28"/>
                  </a:xfrm>
                  <a:custGeom>
                    <a:avLst/>
                    <a:gdLst>
                      <a:gd name="T0" fmla="*/ 236 w 473"/>
                      <a:gd name="T1" fmla="*/ 0 h 471"/>
                      <a:gd name="T2" fmla="*/ 275 w 473"/>
                      <a:gd name="T3" fmla="*/ 3 h 471"/>
                      <a:gd name="T4" fmla="*/ 311 w 473"/>
                      <a:gd name="T5" fmla="*/ 12 h 471"/>
                      <a:gd name="T6" fmla="*/ 345 w 473"/>
                      <a:gd name="T7" fmla="*/ 26 h 471"/>
                      <a:gd name="T8" fmla="*/ 376 w 473"/>
                      <a:gd name="T9" fmla="*/ 46 h 471"/>
                      <a:gd name="T10" fmla="*/ 403 w 473"/>
                      <a:gd name="T11" fmla="*/ 69 h 471"/>
                      <a:gd name="T12" fmla="*/ 427 w 473"/>
                      <a:gd name="T13" fmla="*/ 97 h 471"/>
                      <a:gd name="T14" fmla="*/ 445 w 473"/>
                      <a:gd name="T15" fmla="*/ 128 h 471"/>
                      <a:gd name="T16" fmla="*/ 460 w 473"/>
                      <a:gd name="T17" fmla="*/ 161 h 471"/>
                      <a:gd name="T18" fmla="*/ 469 w 473"/>
                      <a:gd name="T19" fmla="*/ 198 h 471"/>
                      <a:gd name="T20" fmla="*/ 473 w 473"/>
                      <a:gd name="T21" fmla="*/ 236 h 471"/>
                      <a:gd name="T22" fmla="*/ 469 w 473"/>
                      <a:gd name="T23" fmla="*/ 274 h 471"/>
                      <a:gd name="T24" fmla="*/ 460 w 473"/>
                      <a:gd name="T25" fmla="*/ 310 h 471"/>
                      <a:gd name="T26" fmla="*/ 445 w 473"/>
                      <a:gd name="T27" fmla="*/ 344 h 471"/>
                      <a:gd name="T28" fmla="*/ 427 w 473"/>
                      <a:gd name="T29" fmla="*/ 375 h 471"/>
                      <a:gd name="T30" fmla="*/ 403 w 473"/>
                      <a:gd name="T31" fmla="*/ 403 h 471"/>
                      <a:gd name="T32" fmla="*/ 376 w 473"/>
                      <a:gd name="T33" fmla="*/ 426 h 471"/>
                      <a:gd name="T34" fmla="*/ 345 w 473"/>
                      <a:gd name="T35" fmla="*/ 445 h 471"/>
                      <a:gd name="T36" fmla="*/ 311 w 473"/>
                      <a:gd name="T37" fmla="*/ 460 h 471"/>
                      <a:gd name="T38" fmla="*/ 275 w 473"/>
                      <a:gd name="T39" fmla="*/ 468 h 471"/>
                      <a:gd name="T40" fmla="*/ 236 w 473"/>
                      <a:gd name="T41" fmla="*/ 471 h 471"/>
                      <a:gd name="T42" fmla="*/ 198 w 473"/>
                      <a:gd name="T43" fmla="*/ 468 h 471"/>
                      <a:gd name="T44" fmla="*/ 163 w 473"/>
                      <a:gd name="T45" fmla="*/ 460 h 471"/>
                      <a:gd name="T46" fmla="*/ 128 w 473"/>
                      <a:gd name="T47" fmla="*/ 445 h 471"/>
                      <a:gd name="T48" fmla="*/ 97 w 473"/>
                      <a:gd name="T49" fmla="*/ 426 h 471"/>
                      <a:gd name="T50" fmla="*/ 70 w 473"/>
                      <a:gd name="T51" fmla="*/ 403 h 471"/>
                      <a:gd name="T52" fmla="*/ 46 w 473"/>
                      <a:gd name="T53" fmla="*/ 375 h 471"/>
                      <a:gd name="T54" fmla="*/ 27 w 473"/>
                      <a:gd name="T55" fmla="*/ 344 h 471"/>
                      <a:gd name="T56" fmla="*/ 13 w 473"/>
                      <a:gd name="T57" fmla="*/ 310 h 471"/>
                      <a:gd name="T58" fmla="*/ 3 w 473"/>
                      <a:gd name="T59" fmla="*/ 274 h 471"/>
                      <a:gd name="T60" fmla="*/ 0 w 473"/>
                      <a:gd name="T61" fmla="*/ 236 h 471"/>
                      <a:gd name="T62" fmla="*/ 3 w 473"/>
                      <a:gd name="T63" fmla="*/ 198 h 471"/>
                      <a:gd name="T64" fmla="*/ 13 w 473"/>
                      <a:gd name="T65" fmla="*/ 161 h 471"/>
                      <a:gd name="T66" fmla="*/ 27 w 473"/>
                      <a:gd name="T67" fmla="*/ 128 h 471"/>
                      <a:gd name="T68" fmla="*/ 46 w 473"/>
                      <a:gd name="T69" fmla="*/ 97 h 471"/>
                      <a:gd name="T70" fmla="*/ 70 w 473"/>
                      <a:gd name="T71" fmla="*/ 69 h 471"/>
                      <a:gd name="T72" fmla="*/ 97 w 473"/>
                      <a:gd name="T73" fmla="*/ 46 h 471"/>
                      <a:gd name="T74" fmla="*/ 128 w 473"/>
                      <a:gd name="T75" fmla="*/ 26 h 471"/>
                      <a:gd name="T76" fmla="*/ 163 w 473"/>
                      <a:gd name="T77" fmla="*/ 12 h 471"/>
                      <a:gd name="T78" fmla="*/ 198 w 473"/>
                      <a:gd name="T79" fmla="*/ 3 h 471"/>
                      <a:gd name="T80" fmla="*/ 236 w 473"/>
                      <a:gd name="T81" fmla="*/ 0 h 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73" h="471">
                        <a:moveTo>
                          <a:pt x="236" y="0"/>
                        </a:moveTo>
                        <a:lnTo>
                          <a:pt x="275" y="3"/>
                        </a:lnTo>
                        <a:lnTo>
                          <a:pt x="311" y="12"/>
                        </a:lnTo>
                        <a:lnTo>
                          <a:pt x="345" y="26"/>
                        </a:lnTo>
                        <a:lnTo>
                          <a:pt x="376" y="46"/>
                        </a:lnTo>
                        <a:lnTo>
                          <a:pt x="403" y="69"/>
                        </a:lnTo>
                        <a:lnTo>
                          <a:pt x="427" y="97"/>
                        </a:lnTo>
                        <a:lnTo>
                          <a:pt x="445" y="128"/>
                        </a:lnTo>
                        <a:lnTo>
                          <a:pt x="460" y="161"/>
                        </a:lnTo>
                        <a:lnTo>
                          <a:pt x="469" y="198"/>
                        </a:lnTo>
                        <a:lnTo>
                          <a:pt x="473" y="236"/>
                        </a:lnTo>
                        <a:lnTo>
                          <a:pt x="469" y="274"/>
                        </a:lnTo>
                        <a:lnTo>
                          <a:pt x="460" y="310"/>
                        </a:lnTo>
                        <a:lnTo>
                          <a:pt x="445" y="344"/>
                        </a:lnTo>
                        <a:lnTo>
                          <a:pt x="427" y="375"/>
                        </a:lnTo>
                        <a:lnTo>
                          <a:pt x="403" y="403"/>
                        </a:lnTo>
                        <a:lnTo>
                          <a:pt x="376" y="426"/>
                        </a:lnTo>
                        <a:lnTo>
                          <a:pt x="345" y="445"/>
                        </a:lnTo>
                        <a:lnTo>
                          <a:pt x="311" y="460"/>
                        </a:lnTo>
                        <a:lnTo>
                          <a:pt x="275" y="468"/>
                        </a:lnTo>
                        <a:lnTo>
                          <a:pt x="236" y="471"/>
                        </a:lnTo>
                        <a:lnTo>
                          <a:pt x="198" y="468"/>
                        </a:lnTo>
                        <a:lnTo>
                          <a:pt x="163" y="460"/>
                        </a:lnTo>
                        <a:lnTo>
                          <a:pt x="128" y="445"/>
                        </a:lnTo>
                        <a:lnTo>
                          <a:pt x="97" y="426"/>
                        </a:lnTo>
                        <a:lnTo>
                          <a:pt x="70" y="403"/>
                        </a:lnTo>
                        <a:lnTo>
                          <a:pt x="46" y="375"/>
                        </a:lnTo>
                        <a:lnTo>
                          <a:pt x="27" y="344"/>
                        </a:lnTo>
                        <a:lnTo>
                          <a:pt x="13" y="310"/>
                        </a:lnTo>
                        <a:lnTo>
                          <a:pt x="3" y="274"/>
                        </a:lnTo>
                        <a:lnTo>
                          <a:pt x="0" y="236"/>
                        </a:lnTo>
                        <a:lnTo>
                          <a:pt x="3" y="198"/>
                        </a:lnTo>
                        <a:lnTo>
                          <a:pt x="13" y="161"/>
                        </a:lnTo>
                        <a:lnTo>
                          <a:pt x="27" y="128"/>
                        </a:lnTo>
                        <a:lnTo>
                          <a:pt x="46" y="97"/>
                        </a:lnTo>
                        <a:lnTo>
                          <a:pt x="70" y="69"/>
                        </a:lnTo>
                        <a:lnTo>
                          <a:pt x="97" y="46"/>
                        </a:lnTo>
                        <a:lnTo>
                          <a:pt x="128" y="26"/>
                        </a:lnTo>
                        <a:lnTo>
                          <a:pt x="163" y="12"/>
                        </a:lnTo>
                        <a:lnTo>
                          <a:pt x="198" y="3"/>
                        </a:lnTo>
                        <a:lnTo>
                          <a:pt x="23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43" name="Freeform 159">
                    <a:extLst>
                      <a:ext uri="{FF2B5EF4-FFF2-40B4-BE49-F238E27FC236}">
                        <a16:creationId xmlns:a16="http://schemas.microsoft.com/office/drawing/2014/main" id="{D8F4521D-D0B0-471D-84CB-F7699E1E9BE1}"/>
                      </a:ext>
                    </a:extLst>
                  </p:cNvPr>
                  <p:cNvSpPr>
                    <a:spLocks noEditPoints="1"/>
                  </p:cNvSpPr>
                  <p:nvPr/>
                </p:nvSpPr>
                <p:spPr bwMode="auto">
                  <a:xfrm>
                    <a:off x="3575" y="2829"/>
                    <a:ext cx="107" cy="107"/>
                  </a:xfrm>
                  <a:custGeom>
                    <a:avLst/>
                    <a:gdLst>
                      <a:gd name="T0" fmla="*/ 877 w 1806"/>
                      <a:gd name="T1" fmla="*/ 188 h 1807"/>
                      <a:gd name="T2" fmla="*/ 832 w 1806"/>
                      <a:gd name="T3" fmla="*/ 209 h 1807"/>
                      <a:gd name="T4" fmla="*/ 802 w 1806"/>
                      <a:gd name="T5" fmla="*/ 248 h 1807"/>
                      <a:gd name="T6" fmla="*/ 790 w 1806"/>
                      <a:gd name="T7" fmla="*/ 297 h 1807"/>
                      <a:gd name="T8" fmla="*/ 621 w 1806"/>
                      <a:gd name="T9" fmla="*/ 1025 h 1807"/>
                      <a:gd name="T10" fmla="*/ 596 w 1806"/>
                      <a:gd name="T11" fmla="*/ 1063 h 1807"/>
                      <a:gd name="T12" fmla="*/ 588 w 1806"/>
                      <a:gd name="T13" fmla="*/ 1105 h 1807"/>
                      <a:gd name="T14" fmla="*/ 596 w 1806"/>
                      <a:gd name="T15" fmla="*/ 1147 h 1807"/>
                      <a:gd name="T16" fmla="*/ 621 w 1806"/>
                      <a:gd name="T17" fmla="*/ 1184 h 1807"/>
                      <a:gd name="T18" fmla="*/ 659 w 1806"/>
                      <a:gd name="T19" fmla="*/ 1209 h 1807"/>
                      <a:gd name="T20" fmla="*/ 701 w 1806"/>
                      <a:gd name="T21" fmla="*/ 1218 h 1807"/>
                      <a:gd name="T22" fmla="*/ 744 w 1806"/>
                      <a:gd name="T23" fmla="*/ 1209 h 1807"/>
                      <a:gd name="T24" fmla="*/ 782 w 1806"/>
                      <a:gd name="T25" fmla="*/ 1184 h 1807"/>
                      <a:gd name="T26" fmla="*/ 997 w 1806"/>
                      <a:gd name="T27" fmla="*/ 966 h 1807"/>
                      <a:gd name="T28" fmla="*/ 1014 w 1806"/>
                      <a:gd name="T29" fmla="*/ 925 h 1807"/>
                      <a:gd name="T30" fmla="*/ 1016 w 1806"/>
                      <a:gd name="T31" fmla="*/ 297 h 1807"/>
                      <a:gd name="T32" fmla="*/ 1004 w 1806"/>
                      <a:gd name="T33" fmla="*/ 248 h 1807"/>
                      <a:gd name="T34" fmla="*/ 974 w 1806"/>
                      <a:gd name="T35" fmla="*/ 209 h 1807"/>
                      <a:gd name="T36" fmla="*/ 929 w 1806"/>
                      <a:gd name="T37" fmla="*/ 188 h 1807"/>
                      <a:gd name="T38" fmla="*/ 903 w 1806"/>
                      <a:gd name="T39" fmla="*/ 0 h 1807"/>
                      <a:gd name="T40" fmla="*/ 1057 w 1806"/>
                      <a:gd name="T41" fmla="*/ 13 h 1807"/>
                      <a:gd name="T42" fmla="*/ 1203 w 1806"/>
                      <a:gd name="T43" fmla="*/ 51 h 1807"/>
                      <a:gd name="T44" fmla="*/ 1337 w 1806"/>
                      <a:gd name="T45" fmla="*/ 112 h 1807"/>
                      <a:gd name="T46" fmla="*/ 1460 w 1806"/>
                      <a:gd name="T47" fmla="*/ 192 h 1807"/>
                      <a:gd name="T48" fmla="*/ 1567 w 1806"/>
                      <a:gd name="T49" fmla="*/ 291 h 1807"/>
                      <a:gd name="T50" fmla="*/ 1656 w 1806"/>
                      <a:gd name="T51" fmla="*/ 406 h 1807"/>
                      <a:gd name="T52" fmla="*/ 1728 w 1806"/>
                      <a:gd name="T53" fmla="*/ 535 h 1807"/>
                      <a:gd name="T54" fmla="*/ 1777 w 1806"/>
                      <a:gd name="T55" fmla="*/ 676 h 1807"/>
                      <a:gd name="T56" fmla="*/ 1803 w 1806"/>
                      <a:gd name="T57" fmla="*/ 825 h 1807"/>
                      <a:gd name="T58" fmla="*/ 1803 w 1806"/>
                      <a:gd name="T59" fmla="*/ 980 h 1807"/>
                      <a:gd name="T60" fmla="*/ 1777 w 1806"/>
                      <a:gd name="T61" fmla="*/ 1130 h 1807"/>
                      <a:gd name="T62" fmla="*/ 1728 w 1806"/>
                      <a:gd name="T63" fmla="*/ 1271 h 1807"/>
                      <a:gd name="T64" fmla="*/ 1656 w 1806"/>
                      <a:gd name="T65" fmla="*/ 1400 h 1807"/>
                      <a:gd name="T66" fmla="*/ 1567 w 1806"/>
                      <a:gd name="T67" fmla="*/ 1515 h 1807"/>
                      <a:gd name="T68" fmla="*/ 1460 w 1806"/>
                      <a:gd name="T69" fmla="*/ 1614 h 1807"/>
                      <a:gd name="T70" fmla="*/ 1337 w 1806"/>
                      <a:gd name="T71" fmla="*/ 1695 h 1807"/>
                      <a:gd name="T72" fmla="*/ 1203 w 1806"/>
                      <a:gd name="T73" fmla="*/ 1756 h 1807"/>
                      <a:gd name="T74" fmla="*/ 1057 w 1806"/>
                      <a:gd name="T75" fmla="*/ 1793 h 1807"/>
                      <a:gd name="T76" fmla="*/ 903 w 1806"/>
                      <a:gd name="T77" fmla="*/ 1807 h 1807"/>
                      <a:gd name="T78" fmla="*/ 749 w 1806"/>
                      <a:gd name="T79" fmla="*/ 1793 h 1807"/>
                      <a:gd name="T80" fmla="*/ 604 w 1806"/>
                      <a:gd name="T81" fmla="*/ 1756 h 1807"/>
                      <a:gd name="T82" fmla="*/ 469 w 1806"/>
                      <a:gd name="T83" fmla="*/ 1695 h 1807"/>
                      <a:gd name="T84" fmla="*/ 347 w 1806"/>
                      <a:gd name="T85" fmla="*/ 1614 h 1807"/>
                      <a:gd name="T86" fmla="*/ 240 w 1806"/>
                      <a:gd name="T87" fmla="*/ 1515 h 1807"/>
                      <a:gd name="T88" fmla="*/ 149 w 1806"/>
                      <a:gd name="T89" fmla="*/ 1400 h 1807"/>
                      <a:gd name="T90" fmla="*/ 78 w 1806"/>
                      <a:gd name="T91" fmla="*/ 1271 h 1807"/>
                      <a:gd name="T92" fmla="*/ 29 w 1806"/>
                      <a:gd name="T93" fmla="*/ 1130 h 1807"/>
                      <a:gd name="T94" fmla="*/ 3 w 1806"/>
                      <a:gd name="T95" fmla="*/ 980 h 1807"/>
                      <a:gd name="T96" fmla="*/ 3 w 1806"/>
                      <a:gd name="T97" fmla="*/ 825 h 1807"/>
                      <a:gd name="T98" fmla="*/ 29 w 1806"/>
                      <a:gd name="T99" fmla="*/ 676 h 1807"/>
                      <a:gd name="T100" fmla="*/ 78 w 1806"/>
                      <a:gd name="T101" fmla="*/ 535 h 1807"/>
                      <a:gd name="T102" fmla="*/ 149 w 1806"/>
                      <a:gd name="T103" fmla="*/ 406 h 1807"/>
                      <a:gd name="T104" fmla="*/ 240 w 1806"/>
                      <a:gd name="T105" fmla="*/ 291 h 1807"/>
                      <a:gd name="T106" fmla="*/ 347 w 1806"/>
                      <a:gd name="T107" fmla="*/ 192 h 1807"/>
                      <a:gd name="T108" fmla="*/ 469 w 1806"/>
                      <a:gd name="T109" fmla="*/ 112 h 1807"/>
                      <a:gd name="T110" fmla="*/ 604 w 1806"/>
                      <a:gd name="T111" fmla="*/ 51 h 1807"/>
                      <a:gd name="T112" fmla="*/ 749 w 1806"/>
                      <a:gd name="T113" fmla="*/ 13 h 1807"/>
                      <a:gd name="T114" fmla="*/ 903 w 1806"/>
                      <a:gd name="T115" fmla="*/ 0 h 18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806" h="1807">
                        <a:moveTo>
                          <a:pt x="903" y="184"/>
                        </a:moveTo>
                        <a:lnTo>
                          <a:pt x="877" y="188"/>
                        </a:lnTo>
                        <a:lnTo>
                          <a:pt x="853" y="196"/>
                        </a:lnTo>
                        <a:lnTo>
                          <a:pt x="832" y="209"/>
                        </a:lnTo>
                        <a:lnTo>
                          <a:pt x="815" y="227"/>
                        </a:lnTo>
                        <a:lnTo>
                          <a:pt x="802" y="248"/>
                        </a:lnTo>
                        <a:lnTo>
                          <a:pt x="793" y="272"/>
                        </a:lnTo>
                        <a:lnTo>
                          <a:pt x="790" y="297"/>
                        </a:lnTo>
                        <a:lnTo>
                          <a:pt x="790" y="857"/>
                        </a:lnTo>
                        <a:lnTo>
                          <a:pt x="621" y="1025"/>
                        </a:lnTo>
                        <a:lnTo>
                          <a:pt x="607" y="1043"/>
                        </a:lnTo>
                        <a:lnTo>
                          <a:pt x="596" y="1063"/>
                        </a:lnTo>
                        <a:lnTo>
                          <a:pt x="590" y="1083"/>
                        </a:lnTo>
                        <a:lnTo>
                          <a:pt x="588" y="1105"/>
                        </a:lnTo>
                        <a:lnTo>
                          <a:pt x="590" y="1126"/>
                        </a:lnTo>
                        <a:lnTo>
                          <a:pt x="596" y="1147"/>
                        </a:lnTo>
                        <a:lnTo>
                          <a:pt x="607" y="1167"/>
                        </a:lnTo>
                        <a:lnTo>
                          <a:pt x="621" y="1184"/>
                        </a:lnTo>
                        <a:lnTo>
                          <a:pt x="639" y="1199"/>
                        </a:lnTo>
                        <a:lnTo>
                          <a:pt x="659" y="1209"/>
                        </a:lnTo>
                        <a:lnTo>
                          <a:pt x="680" y="1216"/>
                        </a:lnTo>
                        <a:lnTo>
                          <a:pt x="701" y="1218"/>
                        </a:lnTo>
                        <a:lnTo>
                          <a:pt x="723" y="1216"/>
                        </a:lnTo>
                        <a:lnTo>
                          <a:pt x="744" y="1209"/>
                        </a:lnTo>
                        <a:lnTo>
                          <a:pt x="764" y="1199"/>
                        </a:lnTo>
                        <a:lnTo>
                          <a:pt x="782" y="1184"/>
                        </a:lnTo>
                        <a:lnTo>
                          <a:pt x="983" y="983"/>
                        </a:lnTo>
                        <a:lnTo>
                          <a:pt x="997" y="966"/>
                        </a:lnTo>
                        <a:lnTo>
                          <a:pt x="1007" y="946"/>
                        </a:lnTo>
                        <a:lnTo>
                          <a:pt x="1014" y="925"/>
                        </a:lnTo>
                        <a:lnTo>
                          <a:pt x="1016" y="903"/>
                        </a:lnTo>
                        <a:lnTo>
                          <a:pt x="1016" y="297"/>
                        </a:lnTo>
                        <a:lnTo>
                          <a:pt x="1014" y="272"/>
                        </a:lnTo>
                        <a:lnTo>
                          <a:pt x="1004" y="248"/>
                        </a:lnTo>
                        <a:lnTo>
                          <a:pt x="992" y="227"/>
                        </a:lnTo>
                        <a:lnTo>
                          <a:pt x="974" y="209"/>
                        </a:lnTo>
                        <a:lnTo>
                          <a:pt x="953" y="196"/>
                        </a:lnTo>
                        <a:lnTo>
                          <a:pt x="929" y="188"/>
                        </a:lnTo>
                        <a:lnTo>
                          <a:pt x="903" y="184"/>
                        </a:lnTo>
                        <a:close/>
                        <a:moveTo>
                          <a:pt x="903" y="0"/>
                        </a:moveTo>
                        <a:lnTo>
                          <a:pt x="981" y="3"/>
                        </a:lnTo>
                        <a:lnTo>
                          <a:pt x="1057" y="13"/>
                        </a:lnTo>
                        <a:lnTo>
                          <a:pt x="1131" y="28"/>
                        </a:lnTo>
                        <a:lnTo>
                          <a:pt x="1203" y="51"/>
                        </a:lnTo>
                        <a:lnTo>
                          <a:pt x="1271" y="78"/>
                        </a:lnTo>
                        <a:lnTo>
                          <a:pt x="1337" y="112"/>
                        </a:lnTo>
                        <a:lnTo>
                          <a:pt x="1400" y="149"/>
                        </a:lnTo>
                        <a:lnTo>
                          <a:pt x="1460" y="192"/>
                        </a:lnTo>
                        <a:lnTo>
                          <a:pt x="1515" y="240"/>
                        </a:lnTo>
                        <a:lnTo>
                          <a:pt x="1567" y="291"/>
                        </a:lnTo>
                        <a:lnTo>
                          <a:pt x="1614" y="347"/>
                        </a:lnTo>
                        <a:lnTo>
                          <a:pt x="1656" y="406"/>
                        </a:lnTo>
                        <a:lnTo>
                          <a:pt x="1695" y="468"/>
                        </a:lnTo>
                        <a:lnTo>
                          <a:pt x="1728" y="535"/>
                        </a:lnTo>
                        <a:lnTo>
                          <a:pt x="1755" y="604"/>
                        </a:lnTo>
                        <a:lnTo>
                          <a:pt x="1777" y="676"/>
                        </a:lnTo>
                        <a:lnTo>
                          <a:pt x="1793" y="749"/>
                        </a:lnTo>
                        <a:lnTo>
                          <a:pt x="1803" y="825"/>
                        </a:lnTo>
                        <a:lnTo>
                          <a:pt x="1806" y="903"/>
                        </a:lnTo>
                        <a:lnTo>
                          <a:pt x="1803" y="980"/>
                        </a:lnTo>
                        <a:lnTo>
                          <a:pt x="1793" y="1056"/>
                        </a:lnTo>
                        <a:lnTo>
                          <a:pt x="1777" y="1130"/>
                        </a:lnTo>
                        <a:lnTo>
                          <a:pt x="1755" y="1202"/>
                        </a:lnTo>
                        <a:lnTo>
                          <a:pt x="1728" y="1271"/>
                        </a:lnTo>
                        <a:lnTo>
                          <a:pt x="1695" y="1337"/>
                        </a:lnTo>
                        <a:lnTo>
                          <a:pt x="1656" y="1400"/>
                        </a:lnTo>
                        <a:lnTo>
                          <a:pt x="1614" y="1459"/>
                        </a:lnTo>
                        <a:lnTo>
                          <a:pt x="1567" y="1515"/>
                        </a:lnTo>
                        <a:lnTo>
                          <a:pt x="1515" y="1566"/>
                        </a:lnTo>
                        <a:lnTo>
                          <a:pt x="1460" y="1614"/>
                        </a:lnTo>
                        <a:lnTo>
                          <a:pt x="1400" y="1657"/>
                        </a:lnTo>
                        <a:lnTo>
                          <a:pt x="1337" y="1695"/>
                        </a:lnTo>
                        <a:lnTo>
                          <a:pt x="1271" y="1728"/>
                        </a:lnTo>
                        <a:lnTo>
                          <a:pt x="1203" y="1756"/>
                        </a:lnTo>
                        <a:lnTo>
                          <a:pt x="1131" y="1778"/>
                        </a:lnTo>
                        <a:lnTo>
                          <a:pt x="1057" y="1793"/>
                        </a:lnTo>
                        <a:lnTo>
                          <a:pt x="981" y="1803"/>
                        </a:lnTo>
                        <a:lnTo>
                          <a:pt x="903" y="1807"/>
                        </a:lnTo>
                        <a:lnTo>
                          <a:pt x="825" y="1803"/>
                        </a:lnTo>
                        <a:lnTo>
                          <a:pt x="749" y="1793"/>
                        </a:lnTo>
                        <a:lnTo>
                          <a:pt x="675" y="1778"/>
                        </a:lnTo>
                        <a:lnTo>
                          <a:pt x="604" y="1756"/>
                        </a:lnTo>
                        <a:lnTo>
                          <a:pt x="535" y="1728"/>
                        </a:lnTo>
                        <a:lnTo>
                          <a:pt x="469" y="1695"/>
                        </a:lnTo>
                        <a:lnTo>
                          <a:pt x="406" y="1657"/>
                        </a:lnTo>
                        <a:lnTo>
                          <a:pt x="347" y="1614"/>
                        </a:lnTo>
                        <a:lnTo>
                          <a:pt x="292" y="1566"/>
                        </a:lnTo>
                        <a:lnTo>
                          <a:pt x="240" y="1515"/>
                        </a:lnTo>
                        <a:lnTo>
                          <a:pt x="193" y="1459"/>
                        </a:lnTo>
                        <a:lnTo>
                          <a:pt x="149" y="1400"/>
                        </a:lnTo>
                        <a:lnTo>
                          <a:pt x="112" y="1337"/>
                        </a:lnTo>
                        <a:lnTo>
                          <a:pt x="78" y="1271"/>
                        </a:lnTo>
                        <a:lnTo>
                          <a:pt x="51" y="1202"/>
                        </a:lnTo>
                        <a:lnTo>
                          <a:pt x="29" y="1130"/>
                        </a:lnTo>
                        <a:lnTo>
                          <a:pt x="14" y="1056"/>
                        </a:lnTo>
                        <a:lnTo>
                          <a:pt x="3" y="980"/>
                        </a:lnTo>
                        <a:lnTo>
                          <a:pt x="0" y="903"/>
                        </a:lnTo>
                        <a:lnTo>
                          <a:pt x="3" y="825"/>
                        </a:lnTo>
                        <a:lnTo>
                          <a:pt x="14" y="749"/>
                        </a:lnTo>
                        <a:lnTo>
                          <a:pt x="29" y="676"/>
                        </a:lnTo>
                        <a:lnTo>
                          <a:pt x="51" y="604"/>
                        </a:lnTo>
                        <a:lnTo>
                          <a:pt x="78" y="535"/>
                        </a:lnTo>
                        <a:lnTo>
                          <a:pt x="112" y="468"/>
                        </a:lnTo>
                        <a:lnTo>
                          <a:pt x="149" y="406"/>
                        </a:lnTo>
                        <a:lnTo>
                          <a:pt x="193" y="347"/>
                        </a:lnTo>
                        <a:lnTo>
                          <a:pt x="240" y="291"/>
                        </a:lnTo>
                        <a:lnTo>
                          <a:pt x="292" y="240"/>
                        </a:lnTo>
                        <a:lnTo>
                          <a:pt x="347" y="192"/>
                        </a:lnTo>
                        <a:lnTo>
                          <a:pt x="406" y="149"/>
                        </a:lnTo>
                        <a:lnTo>
                          <a:pt x="469" y="112"/>
                        </a:lnTo>
                        <a:lnTo>
                          <a:pt x="535" y="78"/>
                        </a:lnTo>
                        <a:lnTo>
                          <a:pt x="604" y="51"/>
                        </a:lnTo>
                        <a:lnTo>
                          <a:pt x="675" y="28"/>
                        </a:lnTo>
                        <a:lnTo>
                          <a:pt x="749" y="13"/>
                        </a:lnTo>
                        <a:lnTo>
                          <a:pt x="825" y="3"/>
                        </a:lnTo>
                        <a:lnTo>
                          <a:pt x="90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44" name="Freeform 160">
                    <a:extLst>
                      <a:ext uri="{FF2B5EF4-FFF2-40B4-BE49-F238E27FC236}">
                        <a16:creationId xmlns:a16="http://schemas.microsoft.com/office/drawing/2014/main" id="{0C26CE69-5A5C-43EE-B97C-E81F4A39E637}"/>
                      </a:ext>
                    </a:extLst>
                  </p:cNvPr>
                  <p:cNvSpPr>
                    <a:spLocks/>
                  </p:cNvSpPr>
                  <p:nvPr/>
                </p:nvSpPr>
                <p:spPr bwMode="auto">
                  <a:xfrm>
                    <a:off x="3531" y="3002"/>
                    <a:ext cx="28" cy="28"/>
                  </a:xfrm>
                  <a:custGeom>
                    <a:avLst/>
                    <a:gdLst>
                      <a:gd name="T0" fmla="*/ 236 w 471"/>
                      <a:gd name="T1" fmla="*/ 0 h 471"/>
                      <a:gd name="T2" fmla="*/ 275 w 471"/>
                      <a:gd name="T3" fmla="*/ 3 h 471"/>
                      <a:gd name="T4" fmla="*/ 310 w 471"/>
                      <a:gd name="T5" fmla="*/ 12 h 471"/>
                      <a:gd name="T6" fmla="*/ 344 w 471"/>
                      <a:gd name="T7" fmla="*/ 26 h 471"/>
                      <a:gd name="T8" fmla="*/ 375 w 471"/>
                      <a:gd name="T9" fmla="*/ 46 h 471"/>
                      <a:gd name="T10" fmla="*/ 403 w 471"/>
                      <a:gd name="T11" fmla="*/ 69 h 471"/>
                      <a:gd name="T12" fmla="*/ 426 w 471"/>
                      <a:gd name="T13" fmla="*/ 97 h 471"/>
                      <a:gd name="T14" fmla="*/ 445 w 471"/>
                      <a:gd name="T15" fmla="*/ 128 h 471"/>
                      <a:gd name="T16" fmla="*/ 460 w 471"/>
                      <a:gd name="T17" fmla="*/ 161 h 471"/>
                      <a:gd name="T18" fmla="*/ 469 w 471"/>
                      <a:gd name="T19" fmla="*/ 198 h 471"/>
                      <a:gd name="T20" fmla="*/ 471 w 471"/>
                      <a:gd name="T21" fmla="*/ 236 h 471"/>
                      <a:gd name="T22" fmla="*/ 469 w 471"/>
                      <a:gd name="T23" fmla="*/ 274 h 471"/>
                      <a:gd name="T24" fmla="*/ 460 w 471"/>
                      <a:gd name="T25" fmla="*/ 310 h 471"/>
                      <a:gd name="T26" fmla="*/ 445 w 471"/>
                      <a:gd name="T27" fmla="*/ 344 h 471"/>
                      <a:gd name="T28" fmla="*/ 426 w 471"/>
                      <a:gd name="T29" fmla="*/ 375 h 471"/>
                      <a:gd name="T30" fmla="*/ 403 w 471"/>
                      <a:gd name="T31" fmla="*/ 403 h 471"/>
                      <a:gd name="T32" fmla="*/ 375 w 471"/>
                      <a:gd name="T33" fmla="*/ 426 h 471"/>
                      <a:gd name="T34" fmla="*/ 344 w 471"/>
                      <a:gd name="T35" fmla="*/ 445 h 471"/>
                      <a:gd name="T36" fmla="*/ 310 w 471"/>
                      <a:gd name="T37" fmla="*/ 460 h 471"/>
                      <a:gd name="T38" fmla="*/ 275 w 471"/>
                      <a:gd name="T39" fmla="*/ 468 h 471"/>
                      <a:gd name="T40" fmla="*/ 236 w 471"/>
                      <a:gd name="T41" fmla="*/ 471 h 471"/>
                      <a:gd name="T42" fmla="*/ 198 w 471"/>
                      <a:gd name="T43" fmla="*/ 468 h 471"/>
                      <a:gd name="T44" fmla="*/ 161 w 471"/>
                      <a:gd name="T45" fmla="*/ 460 h 471"/>
                      <a:gd name="T46" fmla="*/ 128 w 471"/>
                      <a:gd name="T47" fmla="*/ 445 h 471"/>
                      <a:gd name="T48" fmla="*/ 97 w 471"/>
                      <a:gd name="T49" fmla="*/ 426 h 471"/>
                      <a:gd name="T50" fmla="*/ 70 w 471"/>
                      <a:gd name="T51" fmla="*/ 403 h 471"/>
                      <a:gd name="T52" fmla="*/ 46 w 471"/>
                      <a:gd name="T53" fmla="*/ 375 h 471"/>
                      <a:gd name="T54" fmla="*/ 27 w 471"/>
                      <a:gd name="T55" fmla="*/ 344 h 471"/>
                      <a:gd name="T56" fmla="*/ 12 w 471"/>
                      <a:gd name="T57" fmla="*/ 310 h 471"/>
                      <a:gd name="T58" fmla="*/ 3 w 471"/>
                      <a:gd name="T59" fmla="*/ 274 h 471"/>
                      <a:gd name="T60" fmla="*/ 0 w 471"/>
                      <a:gd name="T61" fmla="*/ 236 h 471"/>
                      <a:gd name="T62" fmla="*/ 3 w 471"/>
                      <a:gd name="T63" fmla="*/ 198 h 471"/>
                      <a:gd name="T64" fmla="*/ 12 w 471"/>
                      <a:gd name="T65" fmla="*/ 161 h 471"/>
                      <a:gd name="T66" fmla="*/ 27 w 471"/>
                      <a:gd name="T67" fmla="*/ 128 h 471"/>
                      <a:gd name="T68" fmla="*/ 46 w 471"/>
                      <a:gd name="T69" fmla="*/ 97 h 471"/>
                      <a:gd name="T70" fmla="*/ 70 w 471"/>
                      <a:gd name="T71" fmla="*/ 69 h 471"/>
                      <a:gd name="T72" fmla="*/ 97 w 471"/>
                      <a:gd name="T73" fmla="*/ 46 h 471"/>
                      <a:gd name="T74" fmla="*/ 128 w 471"/>
                      <a:gd name="T75" fmla="*/ 26 h 471"/>
                      <a:gd name="T76" fmla="*/ 161 w 471"/>
                      <a:gd name="T77" fmla="*/ 12 h 471"/>
                      <a:gd name="T78" fmla="*/ 198 w 471"/>
                      <a:gd name="T79" fmla="*/ 3 h 471"/>
                      <a:gd name="T80" fmla="*/ 236 w 471"/>
                      <a:gd name="T81" fmla="*/ 0 h 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71" h="471">
                        <a:moveTo>
                          <a:pt x="236" y="0"/>
                        </a:moveTo>
                        <a:lnTo>
                          <a:pt x="275" y="3"/>
                        </a:lnTo>
                        <a:lnTo>
                          <a:pt x="310" y="12"/>
                        </a:lnTo>
                        <a:lnTo>
                          <a:pt x="344" y="26"/>
                        </a:lnTo>
                        <a:lnTo>
                          <a:pt x="375" y="46"/>
                        </a:lnTo>
                        <a:lnTo>
                          <a:pt x="403" y="69"/>
                        </a:lnTo>
                        <a:lnTo>
                          <a:pt x="426" y="97"/>
                        </a:lnTo>
                        <a:lnTo>
                          <a:pt x="445" y="128"/>
                        </a:lnTo>
                        <a:lnTo>
                          <a:pt x="460" y="161"/>
                        </a:lnTo>
                        <a:lnTo>
                          <a:pt x="469" y="198"/>
                        </a:lnTo>
                        <a:lnTo>
                          <a:pt x="471" y="236"/>
                        </a:lnTo>
                        <a:lnTo>
                          <a:pt x="469" y="274"/>
                        </a:lnTo>
                        <a:lnTo>
                          <a:pt x="460" y="310"/>
                        </a:lnTo>
                        <a:lnTo>
                          <a:pt x="445" y="344"/>
                        </a:lnTo>
                        <a:lnTo>
                          <a:pt x="426" y="375"/>
                        </a:lnTo>
                        <a:lnTo>
                          <a:pt x="403" y="403"/>
                        </a:lnTo>
                        <a:lnTo>
                          <a:pt x="375" y="426"/>
                        </a:lnTo>
                        <a:lnTo>
                          <a:pt x="344" y="445"/>
                        </a:lnTo>
                        <a:lnTo>
                          <a:pt x="310" y="460"/>
                        </a:lnTo>
                        <a:lnTo>
                          <a:pt x="275" y="468"/>
                        </a:lnTo>
                        <a:lnTo>
                          <a:pt x="236" y="471"/>
                        </a:lnTo>
                        <a:lnTo>
                          <a:pt x="198" y="468"/>
                        </a:lnTo>
                        <a:lnTo>
                          <a:pt x="161" y="460"/>
                        </a:lnTo>
                        <a:lnTo>
                          <a:pt x="128" y="445"/>
                        </a:lnTo>
                        <a:lnTo>
                          <a:pt x="97" y="426"/>
                        </a:lnTo>
                        <a:lnTo>
                          <a:pt x="70" y="403"/>
                        </a:lnTo>
                        <a:lnTo>
                          <a:pt x="46" y="375"/>
                        </a:lnTo>
                        <a:lnTo>
                          <a:pt x="27" y="344"/>
                        </a:lnTo>
                        <a:lnTo>
                          <a:pt x="12" y="310"/>
                        </a:lnTo>
                        <a:lnTo>
                          <a:pt x="3" y="274"/>
                        </a:lnTo>
                        <a:lnTo>
                          <a:pt x="0" y="236"/>
                        </a:lnTo>
                        <a:lnTo>
                          <a:pt x="3" y="198"/>
                        </a:lnTo>
                        <a:lnTo>
                          <a:pt x="12" y="161"/>
                        </a:lnTo>
                        <a:lnTo>
                          <a:pt x="27" y="128"/>
                        </a:lnTo>
                        <a:lnTo>
                          <a:pt x="46" y="97"/>
                        </a:lnTo>
                        <a:lnTo>
                          <a:pt x="70" y="69"/>
                        </a:lnTo>
                        <a:lnTo>
                          <a:pt x="97" y="46"/>
                        </a:lnTo>
                        <a:lnTo>
                          <a:pt x="128" y="26"/>
                        </a:lnTo>
                        <a:lnTo>
                          <a:pt x="161" y="12"/>
                        </a:lnTo>
                        <a:lnTo>
                          <a:pt x="198" y="3"/>
                        </a:lnTo>
                        <a:lnTo>
                          <a:pt x="23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45" name="Freeform 161">
                    <a:extLst>
                      <a:ext uri="{FF2B5EF4-FFF2-40B4-BE49-F238E27FC236}">
                        <a16:creationId xmlns:a16="http://schemas.microsoft.com/office/drawing/2014/main" id="{D7BE1F2E-2078-405A-8F70-5506C2594F26}"/>
                      </a:ext>
                    </a:extLst>
                  </p:cNvPr>
                  <p:cNvSpPr>
                    <a:spLocks/>
                  </p:cNvSpPr>
                  <p:nvPr/>
                </p:nvSpPr>
                <p:spPr bwMode="auto">
                  <a:xfrm>
                    <a:off x="3615" y="3002"/>
                    <a:ext cx="27" cy="28"/>
                  </a:xfrm>
                  <a:custGeom>
                    <a:avLst/>
                    <a:gdLst>
                      <a:gd name="T0" fmla="*/ 236 w 472"/>
                      <a:gd name="T1" fmla="*/ 0 h 471"/>
                      <a:gd name="T2" fmla="*/ 275 w 472"/>
                      <a:gd name="T3" fmla="*/ 3 h 471"/>
                      <a:gd name="T4" fmla="*/ 311 w 472"/>
                      <a:gd name="T5" fmla="*/ 12 h 471"/>
                      <a:gd name="T6" fmla="*/ 344 w 472"/>
                      <a:gd name="T7" fmla="*/ 26 h 471"/>
                      <a:gd name="T8" fmla="*/ 376 w 472"/>
                      <a:gd name="T9" fmla="*/ 46 h 471"/>
                      <a:gd name="T10" fmla="*/ 403 w 472"/>
                      <a:gd name="T11" fmla="*/ 69 h 471"/>
                      <a:gd name="T12" fmla="*/ 427 w 472"/>
                      <a:gd name="T13" fmla="*/ 97 h 471"/>
                      <a:gd name="T14" fmla="*/ 445 w 472"/>
                      <a:gd name="T15" fmla="*/ 128 h 471"/>
                      <a:gd name="T16" fmla="*/ 460 w 472"/>
                      <a:gd name="T17" fmla="*/ 161 h 471"/>
                      <a:gd name="T18" fmla="*/ 469 w 472"/>
                      <a:gd name="T19" fmla="*/ 198 h 471"/>
                      <a:gd name="T20" fmla="*/ 472 w 472"/>
                      <a:gd name="T21" fmla="*/ 236 h 471"/>
                      <a:gd name="T22" fmla="*/ 469 w 472"/>
                      <a:gd name="T23" fmla="*/ 274 h 471"/>
                      <a:gd name="T24" fmla="*/ 460 w 472"/>
                      <a:gd name="T25" fmla="*/ 310 h 471"/>
                      <a:gd name="T26" fmla="*/ 445 w 472"/>
                      <a:gd name="T27" fmla="*/ 344 h 471"/>
                      <a:gd name="T28" fmla="*/ 427 w 472"/>
                      <a:gd name="T29" fmla="*/ 375 h 471"/>
                      <a:gd name="T30" fmla="*/ 403 w 472"/>
                      <a:gd name="T31" fmla="*/ 403 h 471"/>
                      <a:gd name="T32" fmla="*/ 376 w 472"/>
                      <a:gd name="T33" fmla="*/ 426 h 471"/>
                      <a:gd name="T34" fmla="*/ 344 w 472"/>
                      <a:gd name="T35" fmla="*/ 445 h 471"/>
                      <a:gd name="T36" fmla="*/ 311 w 472"/>
                      <a:gd name="T37" fmla="*/ 460 h 471"/>
                      <a:gd name="T38" fmla="*/ 275 w 472"/>
                      <a:gd name="T39" fmla="*/ 468 h 471"/>
                      <a:gd name="T40" fmla="*/ 236 w 472"/>
                      <a:gd name="T41" fmla="*/ 471 h 471"/>
                      <a:gd name="T42" fmla="*/ 198 w 472"/>
                      <a:gd name="T43" fmla="*/ 468 h 471"/>
                      <a:gd name="T44" fmla="*/ 161 w 472"/>
                      <a:gd name="T45" fmla="*/ 460 h 471"/>
                      <a:gd name="T46" fmla="*/ 128 w 472"/>
                      <a:gd name="T47" fmla="*/ 445 h 471"/>
                      <a:gd name="T48" fmla="*/ 97 w 472"/>
                      <a:gd name="T49" fmla="*/ 426 h 471"/>
                      <a:gd name="T50" fmla="*/ 70 w 472"/>
                      <a:gd name="T51" fmla="*/ 403 h 471"/>
                      <a:gd name="T52" fmla="*/ 46 w 472"/>
                      <a:gd name="T53" fmla="*/ 375 h 471"/>
                      <a:gd name="T54" fmla="*/ 27 w 472"/>
                      <a:gd name="T55" fmla="*/ 344 h 471"/>
                      <a:gd name="T56" fmla="*/ 13 w 472"/>
                      <a:gd name="T57" fmla="*/ 310 h 471"/>
                      <a:gd name="T58" fmla="*/ 3 w 472"/>
                      <a:gd name="T59" fmla="*/ 274 h 471"/>
                      <a:gd name="T60" fmla="*/ 0 w 472"/>
                      <a:gd name="T61" fmla="*/ 236 h 471"/>
                      <a:gd name="T62" fmla="*/ 3 w 472"/>
                      <a:gd name="T63" fmla="*/ 198 h 471"/>
                      <a:gd name="T64" fmla="*/ 13 w 472"/>
                      <a:gd name="T65" fmla="*/ 161 h 471"/>
                      <a:gd name="T66" fmla="*/ 27 w 472"/>
                      <a:gd name="T67" fmla="*/ 128 h 471"/>
                      <a:gd name="T68" fmla="*/ 46 w 472"/>
                      <a:gd name="T69" fmla="*/ 97 h 471"/>
                      <a:gd name="T70" fmla="*/ 70 w 472"/>
                      <a:gd name="T71" fmla="*/ 69 h 471"/>
                      <a:gd name="T72" fmla="*/ 97 w 472"/>
                      <a:gd name="T73" fmla="*/ 46 h 471"/>
                      <a:gd name="T74" fmla="*/ 128 w 472"/>
                      <a:gd name="T75" fmla="*/ 26 h 471"/>
                      <a:gd name="T76" fmla="*/ 161 w 472"/>
                      <a:gd name="T77" fmla="*/ 12 h 471"/>
                      <a:gd name="T78" fmla="*/ 198 w 472"/>
                      <a:gd name="T79" fmla="*/ 3 h 471"/>
                      <a:gd name="T80" fmla="*/ 236 w 472"/>
                      <a:gd name="T81" fmla="*/ 0 h 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72" h="471">
                        <a:moveTo>
                          <a:pt x="236" y="0"/>
                        </a:moveTo>
                        <a:lnTo>
                          <a:pt x="275" y="3"/>
                        </a:lnTo>
                        <a:lnTo>
                          <a:pt x="311" y="12"/>
                        </a:lnTo>
                        <a:lnTo>
                          <a:pt x="344" y="26"/>
                        </a:lnTo>
                        <a:lnTo>
                          <a:pt x="376" y="46"/>
                        </a:lnTo>
                        <a:lnTo>
                          <a:pt x="403" y="69"/>
                        </a:lnTo>
                        <a:lnTo>
                          <a:pt x="427" y="97"/>
                        </a:lnTo>
                        <a:lnTo>
                          <a:pt x="445" y="128"/>
                        </a:lnTo>
                        <a:lnTo>
                          <a:pt x="460" y="161"/>
                        </a:lnTo>
                        <a:lnTo>
                          <a:pt x="469" y="198"/>
                        </a:lnTo>
                        <a:lnTo>
                          <a:pt x="472" y="236"/>
                        </a:lnTo>
                        <a:lnTo>
                          <a:pt x="469" y="274"/>
                        </a:lnTo>
                        <a:lnTo>
                          <a:pt x="460" y="310"/>
                        </a:lnTo>
                        <a:lnTo>
                          <a:pt x="445" y="344"/>
                        </a:lnTo>
                        <a:lnTo>
                          <a:pt x="427" y="375"/>
                        </a:lnTo>
                        <a:lnTo>
                          <a:pt x="403" y="403"/>
                        </a:lnTo>
                        <a:lnTo>
                          <a:pt x="376" y="426"/>
                        </a:lnTo>
                        <a:lnTo>
                          <a:pt x="344" y="445"/>
                        </a:lnTo>
                        <a:lnTo>
                          <a:pt x="311" y="460"/>
                        </a:lnTo>
                        <a:lnTo>
                          <a:pt x="275" y="468"/>
                        </a:lnTo>
                        <a:lnTo>
                          <a:pt x="236" y="471"/>
                        </a:lnTo>
                        <a:lnTo>
                          <a:pt x="198" y="468"/>
                        </a:lnTo>
                        <a:lnTo>
                          <a:pt x="161" y="460"/>
                        </a:lnTo>
                        <a:lnTo>
                          <a:pt x="128" y="445"/>
                        </a:lnTo>
                        <a:lnTo>
                          <a:pt x="97" y="426"/>
                        </a:lnTo>
                        <a:lnTo>
                          <a:pt x="70" y="403"/>
                        </a:lnTo>
                        <a:lnTo>
                          <a:pt x="46" y="375"/>
                        </a:lnTo>
                        <a:lnTo>
                          <a:pt x="27" y="344"/>
                        </a:lnTo>
                        <a:lnTo>
                          <a:pt x="13" y="310"/>
                        </a:lnTo>
                        <a:lnTo>
                          <a:pt x="3" y="274"/>
                        </a:lnTo>
                        <a:lnTo>
                          <a:pt x="0" y="236"/>
                        </a:lnTo>
                        <a:lnTo>
                          <a:pt x="3" y="198"/>
                        </a:lnTo>
                        <a:lnTo>
                          <a:pt x="13" y="161"/>
                        </a:lnTo>
                        <a:lnTo>
                          <a:pt x="27" y="128"/>
                        </a:lnTo>
                        <a:lnTo>
                          <a:pt x="46" y="97"/>
                        </a:lnTo>
                        <a:lnTo>
                          <a:pt x="70" y="69"/>
                        </a:lnTo>
                        <a:lnTo>
                          <a:pt x="97" y="46"/>
                        </a:lnTo>
                        <a:lnTo>
                          <a:pt x="128" y="26"/>
                        </a:lnTo>
                        <a:lnTo>
                          <a:pt x="161" y="12"/>
                        </a:lnTo>
                        <a:lnTo>
                          <a:pt x="198" y="3"/>
                        </a:lnTo>
                        <a:lnTo>
                          <a:pt x="23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46" name="Freeform 162">
                    <a:extLst>
                      <a:ext uri="{FF2B5EF4-FFF2-40B4-BE49-F238E27FC236}">
                        <a16:creationId xmlns:a16="http://schemas.microsoft.com/office/drawing/2014/main" id="{8FF8483E-8512-462D-9DD2-C761A1BE192E}"/>
                      </a:ext>
                    </a:extLst>
                  </p:cNvPr>
                  <p:cNvSpPr>
                    <a:spLocks/>
                  </p:cNvSpPr>
                  <p:nvPr/>
                </p:nvSpPr>
                <p:spPr bwMode="auto">
                  <a:xfrm>
                    <a:off x="3539" y="2948"/>
                    <a:ext cx="180" cy="44"/>
                  </a:xfrm>
                  <a:custGeom>
                    <a:avLst/>
                    <a:gdLst>
                      <a:gd name="T0" fmla="*/ 1416 w 3058"/>
                      <a:gd name="T1" fmla="*/ 0 h 760"/>
                      <a:gd name="T2" fmla="*/ 1472 w 3058"/>
                      <a:gd name="T3" fmla="*/ 4 h 760"/>
                      <a:gd name="T4" fmla="*/ 1529 w 3058"/>
                      <a:gd name="T5" fmla="*/ 6 h 760"/>
                      <a:gd name="T6" fmla="*/ 1586 w 3058"/>
                      <a:gd name="T7" fmla="*/ 4 h 760"/>
                      <a:gd name="T8" fmla="*/ 1642 w 3058"/>
                      <a:gd name="T9" fmla="*/ 0 h 760"/>
                      <a:gd name="T10" fmla="*/ 1642 w 3058"/>
                      <a:gd name="T11" fmla="*/ 384 h 760"/>
                      <a:gd name="T12" fmla="*/ 2945 w 3058"/>
                      <a:gd name="T13" fmla="*/ 384 h 760"/>
                      <a:gd name="T14" fmla="*/ 2971 w 3058"/>
                      <a:gd name="T15" fmla="*/ 387 h 760"/>
                      <a:gd name="T16" fmla="*/ 2995 w 3058"/>
                      <a:gd name="T17" fmla="*/ 396 h 760"/>
                      <a:gd name="T18" fmla="*/ 3016 w 3058"/>
                      <a:gd name="T19" fmla="*/ 409 h 760"/>
                      <a:gd name="T20" fmla="*/ 3033 w 3058"/>
                      <a:gd name="T21" fmla="*/ 426 h 760"/>
                      <a:gd name="T22" fmla="*/ 3047 w 3058"/>
                      <a:gd name="T23" fmla="*/ 447 h 760"/>
                      <a:gd name="T24" fmla="*/ 3055 w 3058"/>
                      <a:gd name="T25" fmla="*/ 471 h 760"/>
                      <a:gd name="T26" fmla="*/ 3058 w 3058"/>
                      <a:gd name="T27" fmla="*/ 497 h 760"/>
                      <a:gd name="T28" fmla="*/ 3058 w 3058"/>
                      <a:gd name="T29" fmla="*/ 756 h 760"/>
                      <a:gd name="T30" fmla="*/ 3024 w 3058"/>
                      <a:gd name="T31" fmla="*/ 749 h 760"/>
                      <a:gd name="T32" fmla="*/ 2989 w 3058"/>
                      <a:gd name="T33" fmla="*/ 745 h 760"/>
                      <a:gd name="T34" fmla="*/ 2953 w 3058"/>
                      <a:gd name="T35" fmla="*/ 743 h 760"/>
                      <a:gd name="T36" fmla="*/ 2912 w 3058"/>
                      <a:gd name="T37" fmla="*/ 745 h 760"/>
                      <a:gd name="T38" fmla="*/ 2871 w 3058"/>
                      <a:gd name="T39" fmla="*/ 751 h 760"/>
                      <a:gd name="T40" fmla="*/ 2833 w 3058"/>
                      <a:gd name="T41" fmla="*/ 760 h 760"/>
                      <a:gd name="T42" fmla="*/ 2833 w 3058"/>
                      <a:gd name="T43" fmla="*/ 610 h 760"/>
                      <a:gd name="T44" fmla="*/ 1642 w 3058"/>
                      <a:gd name="T45" fmla="*/ 610 h 760"/>
                      <a:gd name="T46" fmla="*/ 1642 w 3058"/>
                      <a:gd name="T47" fmla="*/ 758 h 760"/>
                      <a:gd name="T48" fmla="*/ 1605 w 3058"/>
                      <a:gd name="T49" fmla="*/ 750 h 760"/>
                      <a:gd name="T50" fmla="*/ 1568 w 3058"/>
                      <a:gd name="T51" fmla="*/ 745 h 760"/>
                      <a:gd name="T52" fmla="*/ 1529 w 3058"/>
                      <a:gd name="T53" fmla="*/ 743 h 760"/>
                      <a:gd name="T54" fmla="*/ 1491 w 3058"/>
                      <a:gd name="T55" fmla="*/ 745 h 760"/>
                      <a:gd name="T56" fmla="*/ 1453 w 3058"/>
                      <a:gd name="T57" fmla="*/ 750 h 760"/>
                      <a:gd name="T58" fmla="*/ 1416 w 3058"/>
                      <a:gd name="T59" fmla="*/ 758 h 760"/>
                      <a:gd name="T60" fmla="*/ 1416 w 3058"/>
                      <a:gd name="T61" fmla="*/ 610 h 760"/>
                      <a:gd name="T62" fmla="*/ 226 w 3058"/>
                      <a:gd name="T63" fmla="*/ 610 h 760"/>
                      <a:gd name="T64" fmla="*/ 226 w 3058"/>
                      <a:gd name="T65" fmla="*/ 760 h 760"/>
                      <a:gd name="T66" fmla="*/ 187 w 3058"/>
                      <a:gd name="T67" fmla="*/ 751 h 760"/>
                      <a:gd name="T68" fmla="*/ 147 w 3058"/>
                      <a:gd name="T69" fmla="*/ 745 h 760"/>
                      <a:gd name="T70" fmla="*/ 105 w 3058"/>
                      <a:gd name="T71" fmla="*/ 743 h 760"/>
                      <a:gd name="T72" fmla="*/ 70 w 3058"/>
                      <a:gd name="T73" fmla="*/ 745 h 760"/>
                      <a:gd name="T74" fmla="*/ 34 w 3058"/>
                      <a:gd name="T75" fmla="*/ 749 h 760"/>
                      <a:gd name="T76" fmla="*/ 0 w 3058"/>
                      <a:gd name="T77" fmla="*/ 756 h 760"/>
                      <a:gd name="T78" fmla="*/ 0 w 3058"/>
                      <a:gd name="T79" fmla="*/ 497 h 760"/>
                      <a:gd name="T80" fmla="*/ 3 w 3058"/>
                      <a:gd name="T81" fmla="*/ 471 h 760"/>
                      <a:gd name="T82" fmla="*/ 11 w 3058"/>
                      <a:gd name="T83" fmla="*/ 447 h 760"/>
                      <a:gd name="T84" fmla="*/ 25 w 3058"/>
                      <a:gd name="T85" fmla="*/ 426 h 760"/>
                      <a:gd name="T86" fmla="*/ 43 w 3058"/>
                      <a:gd name="T87" fmla="*/ 409 h 760"/>
                      <a:gd name="T88" fmla="*/ 63 w 3058"/>
                      <a:gd name="T89" fmla="*/ 396 h 760"/>
                      <a:gd name="T90" fmla="*/ 87 w 3058"/>
                      <a:gd name="T91" fmla="*/ 387 h 760"/>
                      <a:gd name="T92" fmla="*/ 113 w 3058"/>
                      <a:gd name="T93" fmla="*/ 384 h 760"/>
                      <a:gd name="T94" fmla="*/ 1416 w 3058"/>
                      <a:gd name="T95" fmla="*/ 384 h 760"/>
                      <a:gd name="T96" fmla="*/ 1416 w 3058"/>
                      <a:gd name="T97" fmla="*/ 0 h 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058" h="760">
                        <a:moveTo>
                          <a:pt x="1416" y="0"/>
                        </a:moveTo>
                        <a:lnTo>
                          <a:pt x="1472" y="4"/>
                        </a:lnTo>
                        <a:lnTo>
                          <a:pt x="1529" y="6"/>
                        </a:lnTo>
                        <a:lnTo>
                          <a:pt x="1586" y="4"/>
                        </a:lnTo>
                        <a:lnTo>
                          <a:pt x="1642" y="0"/>
                        </a:lnTo>
                        <a:lnTo>
                          <a:pt x="1642" y="384"/>
                        </a:lnTo>
                        <a:lnTo>
                          <a:pt x="2945" y="384"/>
                        </a:lnTo>
                        <a:lnTo>
                          <a:pt x="2971" y="387"/>
                        </a:lnTo>
                        <a:lnTo>
                          <a:pt x="2995" y="396"/>
                        </a:lnTo>
                        <a:lnTo>
                          <a:pt x="3016" y="409"/>
                        </a:lnTo>
                        <a:lnTo>
                          <a:pt x="3033" y="426"/>
                        </a:lnTo>
                        <a:lnTo>
                          <a:pt x="3047" y="447"/>
                        </a:lnTo>
                        <a:lnTo>
                          <a:pt x="3055" y="471"/>
                        </a:lnTo>
                        <a:lnTo>
                          <a:pt x="3058" y="497"/>
                        </a:lnTo>
                        <a:lnTo>
                          <a:pt x="3058" y="756"/>
                        </a:lnTo>
                        <a:lnTo>
                          <a:pt x="3024" y="749"/>
                        </a:lnTo>
                        <a:lnTo>
                          <a:pt x="2989" y="745"/>
                        </a:lnTo>
                        <a:lnTo>
                          <a:pt x="2953" y="743"/>
                        </a:lnTo>
                        <a:lnTo>
                          <a:pt x="2912" y="745"/>
                        </a:lnTo>
                        <a:lnTo>
                          <a:pt x="2871" y="751"/>
                        </a:lnTo>
                        <a:lnTo>
                          <a:pt x="2833" y="760"/>
                        </a:lnTo>
                        <a:lnTo>
                          <a:pt x="2833" y="610"/>
                        </a:lnTo>
                        <a:lnTo>
                          <a:pt x="1642" y="610"/>
                        </a:lnTo>
                        <a:lnTo>
                          <a:pt x="1642" y="758"/>
                        </a:lnTo>
                        <a:lnTo>
                          <a:pt x="1605" y="750"/>
                        </a:lnTo>
                        <a:lnTo>
                          <a:pt x="1568" y="745"/>
                        </a:lnTo>
                        <a:lnTo>
                          <a:pt x="1529" y="743"/>
                        </a:lnTo>
                        <a:lnTo>
                          <a:pt x="1491" y="745"/>
                        </a:lnTo>
                        <a:lnTo>
                          <a:pt x="1453" y="750"/>
                        </a:lnTo>
                        <a:lnTo>
                          <a:pt x="1416" y="758"/>
                        </a:lnTo>
                        <a:lnTo>
                          <a:pt x="1416" y="610"/>
                        </a:lnTo>
                        <a:lnTo>
                          <a:pt x="226" y="610"/>
                        </a:lnTo>
                        <a:lnTo>
                          <a:pt x="226" y="760"/>
                        </a:lnTo>
                        <a:lnTo>
                          <a:pt x="187" y="751"/>
                        </a:lnTo>
                        <a:lnTo>
                          <a:pt x="147" y="745"/>
                        </a:lnTo>
                        <a:lnTo>
                          <a:pt x="105" y="743"/>
                        </a:lnTo>
                        <a:lnTo>
                          <a:pt x="70" y="745"/>
                        </a:lnTo>
                        <a:lnTo>
                          <a:pt x="34" y="749"/>
                        </a:lnTo>
                        <a:lnTo>
                          <a:pt x="0" y="756"/>
                        </a:lnTo>
                        <a:lnTo>
                          <a:pt x="0" y="497"/>
                        </a:lnTo>
                        <a:lnTo>
                          <a:pt x="3" y="471"/>
                        </a:lnTo>
                        <a:lnTo>
                          <a:pt x="11" y="447"/>
                        </a:lnTo>
                        <a:lnTo>
                          <a:pt x="25" y="426"/>
                        </a:lnTo>
                        <a:lnTo>
                          <a:pt x="43" y="409"/>
                        </a:lnTo>
                        <a:lnTo>
                          <a:pt x="63" y="396"/>
                        </a:lnTo>
                        <a:lnTo>
                          <a:pt x="87" y="387"/>
                        </a:lnTo>
                        <a:lnTo>
                          <a:pt x="113" y="384"/>
                        </a:lnTo>
                        <a:lnTo>
                          <a:pt x="1416" y="384"/>
                        </a:lnTo>
                        <a:lnTo>
                          <a:pt x="141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grpSp>
          </p:grpSp>
        </p:grpSp>
        <p:grpSp>
          <p:nvGrpSpPr>
            <p:cNvPr id="6" name="Group 68">
              <a:extLst>
                <a:ext uri="{FF2B5EF4-FFF2-40B4-BE49-F238E27FC236}">
                  <a16:creationId xmlns:a16="http://schemas.microsoft.com/office/drawing/2014/main" id="{A657ADCE-ECE6-4CEC-B9C9-2ACAE1CE4EB0}"/>
                </a:ext>
              </a:extLst>
            </p:cNvPr>
            <p:cNvGrpSpPr/>
            <p:nvPr/>
          </p:nvGrpSpPr>
          <p:grpSpPr>
            <a:xfrm>
              <a:off x="6127293" y="2229658"/>
              <a:ext cx="1699949" cy="4309109"/>
              <a:chOff x="6127293" y="2229658"/>
              <a:chExt cx="1699949" cy="4309109"/>
            </a:xfrm>
          </p:grpSpPr>
          <p:grpSp>
            <p:nvGrpSpPr>
              <p:cNvPr id="12" name="Group 65">
                <a:extLst>
                  <a:ext uri="{FF2B5EF4-FFF2-40B4-BE49-F238E27FC236}">
                    <a16:creationId xmlns:a16="http://schemas.microsoft.com/office/drawing/2014/main" id="{0FF2828A-C2BD-4F8E-9F32-0F7418D949A6}"/>
                  </a:ext>
                </a:extLst>
              </p:cNvPr>
              <p:cNvGrpSpPr/>
              <p:nvPr/>
            </p:nvGrpSpPr>
            <p:grpSpPr>
              <a:xfrm>
                <a:off x="6405514" y="4611183"/>
                <a:ext cx="1421728" cy="1927584"/>
                <a:chOff x="6405514" y="4611183"/>
                <a:chExt cx="1421728" cy="1927584"/>
              </a:xfrm>
            </p:grpSpPr>
            <p:sp>
              <p:nvSpPr>
                <p:cNvPr id="31" name="Freeform 14">
                  <a:extLst>
                    <a:ext uri="{FF2B5EF4-FFF2-40B4-BE49-F238E27FC236}">
                      <a16:creationId xmlns:a16="http://schemas.microsoft.com/office/drawing/2014/main" id="{A3CBFDB0-129A-4BDD-90E1-B7D2267B9A05}"/>
                    </a:ext>
                  </a:extLst>
                </p:cNvPr>
                <p:cNvSpPr>
                  <a:spLocks/>
                </p:cNvSpPr>
                <p:nvPr/>
              </p:nvSpPr>
              <p:spPr bwMode="auto">
                <a:xfrm>
                  <a:off x="6405514" y="5045156"/>
                  <a:ext cx="556444" cy="1493611"/>
                </a:xfrm>
                <a:custGeom>
                  <a:avLst/>
                  <a:gdLst>
                    <a:gd name="T0" fmla="*/ 32 w 310"/>
                    <a:gd name="T1" fmla="*/ 261 h 835"/>
                    <a:gd name="T2" fmla="*/ 32 w 310"/>
                    <a:gd name="T3" fmla="*/ 835 h 835"/>
                    <a:gd name="T4" fmla="*/ 0 w 310"/>
                    <a:gd name="T5" fmla="*/ 835 h 835"/>
                    <a:gd name="T6" fmla="*/ 0 w 310"/>
                    <a:gd name="T7" fmla="*/ 261 h 835"/>
                    <a:gd name="T8" fmla="*/ 197 w 310"/>
                    <a:gd name="T9" fmla="*/ 0 h 835"/>
                    <a:gd name="T10" fmla="*/ 310 w 310"/>
                    <a:gd name="T11" fmla="*/ 0 h 835"/>
                    <a:gd name="T12" fmla="*/ 310 w 310"/>
                    <a:gd name="T13" fmla="*/ 42 h 835"/>
                    <a:gd name="T14" fmla="*/ 197 w 310"/>
                    <a:gd name="T15" fmla="*/ 42 h 835"/>
                    <a:gd name="T16" fmla="*/ 32 w 310"/>
                    <a:gd name="T17" fmla="*/ 261 h 8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0" h="835">
                      <a:moveTo>
                        <a:pt x="32" y="261"/>
                      </a:moveTo>
                      <a:cubicBezTo>
                        <a:pt x="32" y="835"/>
                        <a:pt x="32" y="835"/>
                        <a:pt x="32" y="835"/>
                      </a:cubicBezTo>
                      <a:cubicBezTo>
                        <a:pt x="0" y="835"/>
                        <a:pt x="0" y="835"/>
                        <a:pt x="0" y="835"/>
                      </a:cubicBezTo>
                      <a:cubicBezTo>
                        <a:pt x="0" y="261"/>
                        <a:pt x="0" y="261"/>
                        <a:pt x="0" y="261"/>
                      </a:cubicBezTo>
                      <a:cubicBezTo>
                        <a:pt x="0" y="117"/>
                        <a:pt x="88" y="0"/>
                        <a:pt x="197" y="0"/>
                      </a:cubicBezTo>
                      <a:cubicBezTo>
                        <a:pt x="310" y="0"/>
                        <a:pt x="310" y="0"/>
                        <a:pt x="310" y="0"/>
                      </a:cubicBezTo>
                      <a:cubicBezTo>
                        <a:pt x="310" y="42"/>
                        <a:pt x="310" y="42"/>
                        <a:pt x="310" y="42"/>
                      </a:cubicBezTo>
                      <a:cubicBezTo>
                        <a:pt x="197" y="42"/>
                        <a:pt x="197" y="42"/>
                        <a:pt x="197" y="42"/>
                      </a:cubicBezTo>
                      <a:cubicBezTo>
                        <a:pt x="106" y="42"/>
                        <a:pt x="32" y="140"/>
                        <a:pt x="32" y="261"/>
                      </a:cubicBezTo>
                      <a:close/>
                    </a:path>
                  </a:pathLst>
                </a:custGeom>
                <a:solidFill>
                  <a:schemeClr val="accent6">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nvGrpSpPr>
                <p:cNvPr id="32" name="Group 64">
                  <a:extLst>
                    <a:ext uri="{FF2B5EF4-FFF2-40B4-BE49-F238E27FC236}">
                      <a16:creationId xmlns:a16="http://schemas.microsoft.com/office/drawing/2014/main" id="{F0FD2E75-E774-42CF-88C1-7E0C69659F01}"/>
                    </a:ext>
                  </a:extLst>
                </p:cNvPr>
                <p:cNvGrpSpPr/>
                <p:nvPr/>
              </p:nvGrpSpPr>
              <p:grpSpPr>
                <a:xfrm>
                  <a:off x="6763609" y="4611183"/>
                  <a:ext cx="1063633" cy="1059639"/>
                  <a:chOff x="6763609" y="4611183"/>
                  <a:chExt cx="1063633" cy="1059639"/>
                </a:xfrm>
              </p:grpSpPr>
              <p:sp>
                <p:nvSpPr>
                  <p:cNvPr id="33" name="Oval 16">
                    <a:extLst>
                      <a:ext uri="{FF2B5EF4-FFF2-40B4-BE49-F238E27FC236}">
                        <a16:creationId xmlns:a16="http://schemas.microsoft.com/office/drawing/2014/main" id="{9B66B921-C761-4351-B041-4A161ECF8202}"/>
                      </a:ext>
                    </a:extLst>
                  </p:cNvPr>
                  <p:cNvSpPr>
                    <a:spLocks noChangeArrowheads="1"/>
                  </p:cNvSpPr>
                  <p:nvPr/>
                </p:nvSpPr>
                <p:spPr bwMode="auto">
                  <a:xfrm>
                    <a:off x="6763609" y="4611183"/>
                    <a:ext cx="1063633" cy="1059639"/>
                  </a:xfrm>
                  <a:prstGeom prst="ellipse">
                    <a:avLst/>
                  </a:pr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nvGrpSpPr>
                  <p:cNvPr id="34" name="Group 362">
                    <a:extLst>
                      <a:ext uri="{FF2B5EF4-FFF2-40B4-BE49-F238E27FC236}">
                        <a16:creationId xmlns:a16="http://schemas.microsoft.com/office/drawing/2014/main" id="{B1C414AB-F643-4CBD-ACD9-84C2D12BDAD7}"/>
                      </a:ext>
                    </a:extLst>
                  </p:cNvPr>
                  <p:cNvGrpSpPr>
                    <a:grpSpLocks noChangeAspect="1"/>
                  </p:cNvGrpSpPr>
                  <p:nvPr/>
                </p:nvGrpSpPr>
                <p:grpSpPr bwMode="auto">
                  <a:xfrm>
                    <a:off x="7160985" y="5016304"/>
                    <a:ext cx="268881" cy="249397"/>
                    <a:chOff x="3907" y="1313"/>
                    <a:chExt cx="483" cy="448"/>
                  </a:xfrm>
                  <a:solidFill>
                    <a:schemeClr val="bg1"/>
                  </a:solidFill>
                </p:grpSpPr>
                <p:sp>
                  <p:nvSpPr>
                    <p:cNvPr id="35" name="Freeform 364">
                      <a:extLst>
                        <a:ext uri="{FF2B5EF4-FFF2-40B4-BE49-F238E27FC236}">
                          <a16:creationId xmlns:a16="http://schemas.microsoft.com/office/drawing/2014/main" id="{912E4FDC-F527-4CFD-9B6B-A96C8BFA9939}"/>
                        </a:ext>
                      </a:extLst>
                    </p:cNvPr>
                    <p:cNvSpPr>
                      <a:spLocks/>
                    </p:cNvSpPr>
                    <p:nvPr/>
                  </p:nvSpPr>
                  <p:spPr bwMode="auto">
                    <a:xfrm>
                      <a:off x="3907" y="1313"/>
                      <a:ext cx="456" cy="448"/>
                    </a:xfrm>
                    <a:custGeom>
                      <a:avLst/>
                      <a:gdLst>
                        <a:gd name="T0" fmla="*/ 287 w 3193"/>
                        <a:gd name="T1" fmla="*/ 0 h 3137"/>
                        <a:gd name="T2" fmla="*/ 1044 w 3193"/>
                        <a:gd name="T3" fmla="*/ 539 h 3137"/>
                        <a:gd name="T4" fmla="*/ 951 w 3193"/>
                        <a:gd name="T5" fmla="*/ 630 h 3137"/>
                        <a:gd name="T6" fmla="*/ 1796 w 3193"/>
                        <a:gd name="T7" fmla="*/ 1457 h 3137"/>
                        <a:gd name="T8" fmla="*/ 1917 w 3193"/>
                        <a:gd name="T9" fmla="*/ 1335 h 3137"/>
                        <a:gd name="T10" fmla="*/ 3193 w 3193"/>
                        <a:gd name="T11" fmla="*/ 2584 h 3137"/>
                        <a:gd name="T12" fmla="*/ 2626 w 3193"/>
                        <a:gd name="T13" fmla="*/ 3137 h 3137"/>
                        <a:gd name="T14" fmla="*/ 1350 w 3193"/>
                        <a:gd name="T15" fmla="*/ 1887 h 3137"/>
                        <a:gd name="T16" fmla="*/ 1486 w 3193"/>
                        <a:gd name="T17" fmla="*/ 1760 h 3137"/>
                        <a:gd name="T18" fmla="*/ 642 w 3193"/>
                        <a:gd name="T19" fmla="*/ 933 h 3137"/>
                        <a:gd name="T20" fmla="*/ 550 w 3193"/>
                        <a:gd name="T21" fmla="*/ 1024 h 3137"/>
                        <a:gd name="T22" fmla="*/ 0 w 3193"/>
                        <a:gd name="T23" fmla="*/ 283 h 3137"/>
                        <a:gd name="T24" fmla="*/ 287 w 3193"/>
                        <a:gd name="T25" fmla="*/ 0 h 3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193" h="3137">
                          <a:moveTo>
                            <a:pt x="287" y="0"/>
                          </a:moveTo>
                          <a:lnTo>
                            <a:pt x="1044" y="539"/>
                          </a:lnTo>
                          <a:lnTo>
                            <a:pt x="951" y="630"/>
                          </a:lnTo>
                          <a:lnTo>
                            <a:pt x="1796" y="1457"/>
                          </a:lnTo>
                          <a:lnTo>
                            <a:pt x="1917" y="1335"/>
                          </a:lnTo>
                          <a:lnTo>
                            <a:pt x="3193" y="2584"/>
                          </a:lnTo>
                          <a:lnTo>
                            <a:pt x="2626" y="3137"/>
                          </a:lnTo>
                          <a:lnTo>
                            <a:pt x="1350" y="1887"/>
                          </a:lnTo>
                          <a:lnTo>
                            <a:pt x="1486" y="1760"/>
                          </a:lnTo>
                          <a:lnTo>
                            <a:pt x="642" y="933"/>
                          </a:lnTo>
                          <a:lnTo>
                            <a:pt x="550" y="1024"/>
                          </a:lnTo>
                          <a:lnTo>
                            <a:pt x="0" y="283"/>
                          </a:lnTo>
                          <a:lnTo>
                            <a:pt x="28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36" name="Freeform 365">
                      <a:extLst>
                        <a:ext uri="{FF2B5EF4-FFF2-40B4-BE49-F238E27FC236}">
                          <a16:creationId xmlns:a16="http://schemas.microsoft.com/office/drawing/2014/main" id="{74F9EEDD-D90B-4EBD-B416-9A513B97F8A0}"/>
                        </a:ext>
                      </a:extLst>
                    </p:cNvPr>
                    <p:cNvSpPr>
                      <a:spLocks/>
                    </p:cNvSpPr>
                    <p:nvPr/>
                  </p:nvSpPr>
                  <p:spPr bwMode="auto">
                    <a:xfrm>
                      <a:off x="4144" y="1313"/>
                      <a:ext cx="246" cy="222"/>
                    </a:xfrm>
                    <a:custGeom>
                      <a:avLst/>
                      <a:gdLst>
                        <a:gd name="T0" fmla="*/ 964 w 1727"/>
                        <a:gd name="T1" fmla="*/ 0 h 1551"/>
                        <a:gd name="T2" fmla="*/ 1026 w 1727"/>
                        <a:gd name="T3" fmla="*/ 4 h 1551"/>
                        <a:gd name="T4" fmla="*/ 1089 w 1727"/>
                        <a:gd name="T5" fmla="*/ 14 h 1551"/>
                        <a:gd name="T6" fmla="*/ 1150 w 1727"/>
                        <a:gd name="T7" fmla="*/ 28 h 1551"/>
                        <a:gd name="T8" fmla="*/ 630 w 1727"/>
                        <a:gd name="T9" fmla="*/ 538 h 1551"/>
                        <a:gd name="T10" fmla="*/ 1177 w 1727"/>
                        <a:gd name="T11" fmla="*/ 1076 h 1551"/>
                        <a:gd name="T12" fmla="*/ 1699 w 1727"/>
                        <a:gd name="T13" fmla="*/ 564 h 1551"/>
                        <a:gd name="T14" fmla="*/ 1714 w 1727"/>
                        <a:gd name="T15" fmla="*/ 625 h 1551"/>
                        <a:gd name="T16" fmla="*/ 1723 w 1727"/>
                        <a:gd name="T17" fmla="*/ 686 h 1551"/>
                        <a:gd name="T18" fmla="*/ 1727 w 1727"/>
                        <a:gd name="T19" fmla="*/ 748 h 1551"/>
                        <a:gd name="T20" fmla="*/ 1727 w 1727"/>
                        <a:gd name="T21" fmla="*/ 810 h 1551"/>
                        <a:gd name="T22" fmla="*/ 1721 w 1727"/>
                        <a:gd name="T23" fmla="*/ 871 h 1551"/>
                        <a:gd name="T24" fmla="*/ 1711 w 1727"/>
                        <a:gd name="T25" fmla="*/ 932 h 1551"/>
                        <a:gd name="T26" fmla="*/ 1696 w 1727"/>
                        <a:gd name="T27" fmla="*/ 992 h 1551"/>
                        <a:gd name="T28" fmla="*/ 1675 w 1727"/>
                        <a:gd name="T29" fmla="*/ 1052 h 1551"/>
                        <a:gd name="T30" fmla="*/ 1649 w 1727"/>
                        <a:gd name="T31" fmla="*/ 1109 h 1551"/>
                        <a:gd name="T32" fmla="*/ 1619 w 1727"/>
                        <a:gd name="T33" fmla="*/ 1165 h 1551"/>
                        <a:gd name="T34" fmla="*/ 1583 w 1727"/>
                        <a:gd name="T35" fmla="*/ 1219 h 1551"/>
                        <a:gd name="T36" fmla="*/ 1543 w 1727"/>
                        <a:gd name="T37" fmla="*/ 1270 h 1551"/>
                        <a:gd name="T38" fmla="*/ 1497 w 1727"/>
                        <a:gd name="T39" fmla="*/ 1319 h 1551"/>
                        <a:gd name="T40" fmla="*/ 1448 w 1727"/>
                        <a:gd name="T41" fmla="*/ 1362 h 1551"/>
                        <a:gd name="T42" fmla="*/ 1398 w 1727"/>
                        <a:gd name="T43" fmla="*/ 1402 h 1551"/>
                        <a:gd name="T44" fmla="*/ 1343 w 1727"/>
                        <a:gd name="T45" fmla="*/ 1436 h 1551"/>
                        <a:gd name="T46" fmla="*/ 1288 w 1727"/>
                        <a:gd name="T47" fmla="*/ 1465 h 1551"/>
                        <a:gd name="T48" fmla="*/ 1231 w 1727"/>
                        <a:gd name="T49" fmla="*/ 1490 h 1551"/>
                        <a:gd name="T50" fmla="*/ 1172 w 1727"/>
                        <a:gd name="T51" fmla="*/ 1510 h 1551"/>
                        <a:gd name="T52" fmla="*/ 1112 w 1727"/>
                        <a:gd name="T53" fmla="*/ 1524 h 1551"/>
                        <a:gd name="T54" fmla="*/ 1052 w 1727"/>
                        <a:gd name="T55" fmla="*/ 1536 h 1551"/>
                        <a:gd name="T56" fmla="*/ 990 w 1727"/>
                        <a:gd name="T57" fmla="*/ 1541 h 1551"/>
                        <a:gd name="T58" fmla="*/ 929 w 1727"/>
                        <a:gd name="T59" fmla="*/ 1542 h 1551"/>
                        <a:gd name="T60" fmla="*/ 867 w 1727"/>
                        <a:gd name="T61" fmla="*/ 1539 h 1551"/>
                        <a:gd name="T62" fmla="*/ 806 w 1727"/>
                        <a:gd name="T63" fmla="*/ 1532 h 1551"/>
                        <a:gd name="T64" fmla="*/ 745 w 1727"/>
                        <a:gd name="T65" fmla="*/ 1518 h 1551"/>
                        <a:gd name="T66" fmla="*/ 711 w 1727"/>
                        <a:gd name="T67" fmla="*/ 1551 h 1551"/>
                        <a:gd name="T68" fmla="*/ 292 w 1727"/>
                        <a:gd name="T69" fmla="*/ 1142 h 1551"/>
                        <a:gd name="T70" fmla="*/ 139 w 1727"/>
                        <a:gd name="T71" fmla="*/ 1293 h 1551"/>
                        <a:gd name="T72" fmla="*/ 0 w 1727"/>
                        <a:gd name="T73" fmla="*/ 1156 h 1551"/>
                        <a:gd name="T74" fmla="*/ 182 w 1727"/>
                        <a:gd name="T75" fmla="*/ 977 h 1551"/>
                        <a:gd name="T76" fmla="*/ 167 w 1727"/>
                        <a:gd name="T77" fmla="*/ 917 h 1551"/>
                        <a:gd name="T78" fmla="*/ 158 w 1727"/>
                        <a:gd name="T79" fmla="*/ 856 h 1551"/>
                        <a:gd name="T80" fmla="*/ 153 w 1727"/>
                        <a:gd name="T81" fmla="*/ 795 h 1551"/>
                        <a:gd name="T82" fmla="*/ 153 w 1727"/>
                        <a:gd name="T83" fmla="*/ 733 h 1551"/>
                        <a:gd name="T84" fmla="*/ 159 w 1727"/>
                        <a:gd name="T85" fmla="*/ 671 h 1551"/>
                        <a:gd name="T86" fmla="*/ 169 w 1727"/>
                        <a:gd name="T87" fmla="*/ 611 h 1551"/>
                        <a:gd name="T88" fmla="*/ 184 w 1727"/>
                        <a:gd name="T89" fmla="*/ 551 h 1551"/>
                        <a:gd name="T90" fmla="*/ 204 w 1727"/>
                        <a:gd name="T91" fmla="*/ 492 h 1551"/>
                        <a:gd name="T92" fmla="*/ 230 w 1727"/>
                        <a:gd name="T93" fmla="*/ 434 h 1551"/>
                        <a:gd name="T94" fmla="*/ 260 w 1727"/>
                        <a:gd name="T95" fmla="*/ 379 h 1551"/>
                        <a:gd name="T96" fmla="*/ 296 w 1727"/>
                        <a:gd name="T97" fmla="*/ 325 h 1551"/>
                        <a:gd name="T98" fmla="*/ 336 w 1727"/>
                        <a:gd name="T99" fmla="*/ 274 h 1551"/>
                        <a:gd name="T100" fmla="*/ 381 w 1727"/>
                        <a:gd name="T101" fmla="*/ 226 h 1551"/>
                        <a:gd name="T102" fmla="*/ 430 w 1727"/>
                        <a:gd name="T103" fmla="*/ 181 h 1551"/>
                        <a:gd name="T104" fmla="*/ 483 w 1727"/>
                        <a:gd name="T105" fmla="*/ 141 h 1551"/>
                        <a:gd name="T106" fmla="*/ 538 w 1727"/>
                        <a:gd name="T107" fmla="*/ 106 h 1551"/>
                        <a:gd name="T108" fmla="*/ 595 w 1727"/>
                        <a:gd name="T109" fmla="*/ 76 h 1551"/>
                        <a:gd name="T110" fmla="*/ 654 w 1727"/>
                        <a:gd name="T111" fmla="*/ 51 h 1551"/>
                        <a:gd name="T112" fmla="*/ 715 w 1727"/>
                        <a:gd name="T113" fmla="*/ 31 h 1551"/>
                        <a:gd name="T114" fmla="*/ 775 w 1727"/>
                        <a:gd name="T115" fmla="*/ 16 h 1551"/>
                        <a:gd name="T116" fmla="*/ 838 w 1727"/>
                        <a:gd name="T117" fmla="*/ 5 h 1551"/>
                        <a:gd name="T118" fmla="*/ 901 w 1727"/>
                        <a:gd name="T119" fmla="*/ 0 h 1551"/>
                        <a:gd name="T120" fmla="*/ 964 w 1727"/>
                        <a:gd name="T121" fmla="*/ 0 h 15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727" h="1551">
                          <a:moveTo>
                            <a:pt x="964" y="0"/>
                          </a:moveTo>
                          <a:lnTo>
                            <a:pt x="1026" y="4"/>
                          </a:lnTo>
                          <a:lnTo>
                            <a:pt x="1089" y="14"/>
                          </a:lnTo>
                          <a:lnTo>
                            <a:pt x="1150" y="28"/>
                          </a:lnTo>
                          <a:lnTo>
                            <a:pt x="630" y="538"/>
                          </a:lnTo>
                          <a:lnTo>
                            <a:pt x="1177" y="1076"/>
                          </a:lnTo>
                          <a:lnTo>
                            <a:pt x="1699" y="564"/>
                          </a:lnTo>
                          <a:lnTo>
                            <a:pt x="1714" y="625"/>
                          </a:lnTo>
                          <a:lnTo>
                            <a:pt x="1723" y="686"/>
                          </a:lnTo>
                          <a:lnTo>
                            <a:pt x="1727" y="748"/>
                          </a:lnTo>
                          <a:lnTo>
                            <a:pt x="1727" y="810"/>
                          </a:lnTo>
                          <a:lnTo>
                            <a:pt x="1721" y="871"/>
                          </a:lnTo>
                          <a:lnTo>
                            <a:pt x="1711" y="932"/>
                          </a:lnTo>
                          <a:lnTo>
                            <a:pt x="1696" y="992"/>
                          </a:lnTo>
                          <a:lnTo>
                            <a:pt x="1675" y="1052"/>
                          </a:lnTo>
                          <a:lnTo>
                            <a:pt x="1649" y="1109"/>
                          </a:lnTo>
                          <a:lnTo>
                            <a:pt x="1619" y="1165"/>
                          </a:lnTo>
                          <a:lnTo>
                            <a:pt x="1583" y="1219"/>
                          </a:lnTo>
                          <a:lnTo>
                            <a:pt x="1543" y="1270"/>
                          </a:lnTo>
                          <a:lnTo>
                            <a:pt x="1497" y="1319"/>
                          </a:lnTo>
                          <a:lnTo>
                            <a:pt x="1448" y="1362"/>
                          </a:lnTo>
                          <a:lnTo>
                            <a:pt x="1398" y="1402"/>
                          </a:lnTo>
                          <a:lnTo>
                            <a:pt x="1343" y="1436"/>
                          </a:lnTo>
                          <a:lnTo>
                            <a:pt x="1288" y="1465"/>
                          </a:lnTo>
                          <a:lnTo>
                            <a:pt x="1231" y="1490"/>
                          </a:lnTo>
                          <a:lnTo>
                            <a:pt x="1172" y="1510"/>
                          </a:lnTo>
                          <a:lnTo>
                            <a:pt x="1112" y="1524"/>
                          </a:lnTo>
                          <a:lnTo>
                            <a:pt x="1052" y="1536"/>
                          </a:lnTo>
                          <a:lnTo>
                            <a:pt x="990" y="1541"/>
                          </a:lnTo>
                          <a:lnTo>
                            <a:pt x="929" y="1542"/>
                          </a:lnTo>
                          <a:lnTo>
                            <a:pt x="867" y="1539"/>
                          </a:lnTo>
                          <a:lnTo>
                            <a:pt x="806" y="1532"/>
                          </a:lnTo>
                          <a:lnTo>
                            <a:pt x="745" y="1518"/>
                          </a:lnTo>
                          <a:lnTo>
                            <a:pt x="711" y="1551"/>
                          </a:lnTo>
                          <a:lnTo>
                            <a:pt x="292" y="1142"/>
                          </a:lnTo>
                          <a:lnTo>
                            <a:pt x="139" y="1293"/>
                          </a:lnTo>
                          <a:lnTo>
                            <a:pt x="0" y="1156"/>
                          </a:lnTo>
                          <a:lnTo>
                            <a:pt x="182" y="977"/>
                          </a:lnTo>
                          <a:lnTo>
                            <a:pt x="167" y="917"/>
                          </a:lnTo>
                          <a:lnTo>
                            <a:pt x="158" y="856"/>
                          </a:lnTo>
                          <a:lnTo>
                            <a:pt x="153" y="795"/>
                          </a:lnTo>
                          <a:lnTo>
                            <a:pt x="153" y="733"/>
                          </a:lnTo>
                          <a:lnTo>
                            <a:pt x="159" y="671"/>
                          </a:lnTo>
                          <a:lnTo>
                            <a:pt x="169" y="611"/>
                          </a:lnTo>
                          <a:lnTo>
                            <a:pt x="184" y="551"/>
                          </a:lnTo>
                          <a:lnTo>
                            <a:pt x="204" y="492"/>
                          </a:lnTo>
                          <a:lnTo>
                            <a:pt x="230" y="434"/>
                          </a:lnTo>
                          <a:lnTo>
                            <a:pt x="260" y="379"/>
                          </a:lnTo>
                          <a:lnTo>
                            <a:pt x="296" y="325"/>
                          </a:lnTo>
                          <a:lnTo>
                            <a:pt x="336" y="274"/>
                          </a:lnTo>
                          <a:lnTo>
                            <a:pt x="381" y="226"/>
                          </a:lnTo>
                          <a:lnTo>
                            <a:pt x="430" y="181"/>
                          </a:lnTo>
                          <a:lnTo>
                            <a:pt x="483" y="141"/>
                          </a:lnTo>
                          <a:lnTo>
                            <a:pt x="538" y="106"/>
                          </a:lnTo>
                          <a:lnTo>
                            <a:pt x="595" y="76"/>
                          </a:lnTo>
                          <a:lnTo>
                            <a:pt x="654" y="51"/>
                          </a:lnTo>
                          <a:lnTo>
                            <a:pt x="715" y="31"/>
                          </a:lnTo>
                          <a:lnTo>
                            <a:pt x="775" y="16"/>
                          </a:lnTo>
                          <a:lnTo>
                            <a:pt x="838" y="5"/>
                          </a:lnTo>
                          <a:lnTo>
                            <a:pt x="901" y="0"/>
                          </a:lnTo>
                          <a:lnTo>
                            <a:pt x="96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37" name="Freeform 366">
                      <a:extLst>
                        <a:ext uri="{FF2B5EF4-FFF2-40B4-BE49-F238E27FC236}">
                          <a16:creationId xmlns:a16="http://schemas.microsoft.com/office/drawing/2014/main" id="{69159760-C0C0-47F6-B369-80E619ED4C2F}"/>
                        </a:ext>
                      </a:extLst>
                    </p:cNvPr>
                    <p:cNvSpPr>
                      <a:spLocks/>
                    </p:cNvSpPr>
                    <p:nvPr/>
                  </p:nvSpPr>
                  <p:spPr bwMode="auto">
                    <a:xfrm>
                      <a:off x="3935" y="1545"/>
                      <a:ext cx="198" cy="216"/>
                    </a:xfrm>
                    <a:custGeom>
                      <a:avLst/>
                      <a:gdLst>
                        <a:gd name="T0" fmla="*/ 986 w 1391"/>
                        <a:gd name="T1" fmla="*/ 0 h 1513"/>
                        <a:gd name="T2" fmla="*/ 1125 w 1391"/>
                        <a:gd name="T3" fmla="*/ 136 h 1513"/>
                        <a:gd name="T4" fmla="*/ 972 w 1391"/>
                        <a:gd name="T5" fmla="*/ 287 h 1513"/>
                        <a:gd name="T6" fmla="*/ 1391 w 1391"/>
                        <a:gd name="T7" fmla="*/ 696 h 1513"/>
                        <a:gd name="T8" fmla="*/ 557 w 1391"/>
                        <a:gd name="T9" fmla="*/ 1513 h 1513"/>
                        <a:gd name="T10" fmla="*/ 0 w 1391"/>
                        <a:gd name="T11" fmla="*/ 966 h 1513"/>
                        <a:gd name="T12" fmla="*/ 986 w 1391"/>
                        <a:gd name="T13" fmla="*/ 0 h 1513"/>
                      </a:gdLst>
                      <a:ahLst/>
                      <a:cxnLst>
                        <a:cxn ang="0">
                          <a:pos x="T0" y="T1"/>
                        </a:cxn>
                        <a:cxn ang="0">
                          <a:pos x="T2" y="T3"/>
                        </a:cxn>
                        <a:cxn ang="0">
                          <a:pos x="T4" y="T5"/>
                        </a:cxn>
                        <a:cxn ang="0">
                          <a:pos x="T6" y="T7"/>
                        </a:cxn>
                        <a:cxn ang="0">
                          <a:pos x="T8" y="T9"/>
                        </a:cxn>
                        <a:cxn ang="0">
                          <a:pos x="T10" y="T11"/>
                        </a:cxn>
                        <a:cxn ang="0">
                          <a:pos x="T12" y="T13"/>
                        </a:cxn>
                      </a:cxnLst>
                      <a:rect l="0" t="0" r="r" b="b"/>
                      <a:pathLst>
                        <a:path w="1391" h="1513">
                          <a:moveTo>
                            <a:pt x="986" y="0"/>
                          </a:moveTo>
                          <a:lnTo>
                            <a:pt x="1125" y="136"/>
                          </a:lnTo>
                          <a:lnTo>
                            <a:pt x="972" y="287"/>
                          </a:lnTo>
                          <a:lnTo>
                            <a:pt x="1391" y="696"/>
                          </a:lnTo>
                          <a:lnTo>
                            <a:pt x="557" y="1513"/>
                          </a:lnTo>
                          <a:lnTo>
                            <a:pt x="0" y="966"/>
                          </a:lnTo>
                          <a:lnTo>
                            <a:pt x="98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grpSp>
            </p:grpSp>
          </p:grpSp>
          <p:grpSp>
            <p:nvGrpSpPr>
              <p:cNvPr id="13" name="Group 66">
                <a:extLst>
                  <a:ext uri="{FF2B5EF4-FFF2-40B4-BE49-F238E27FC236}">
                    <a16:creationId xmlns:a16="http://schemas.microsoft.com/office/drawing/2014/main" id="{C7D0DCF9-1BCF-4294-AE56-74E96E0A9F41}"/>
                  </a:ext>
                </a:extLst>
              </p:cNvPr>
              <p:cNvGrpSpPr/>
              <p:nvPr/>
            </p:nvGrpSpPr>
            <p:grpSpPr>
              <a:xfrm>
                <a:off x="6276388" y="3445047"/>
                <a:ext cx="1307243" cy="2919332"/>
                <a:chOff x="6276388" y="3445047"/>
                <a:chExt cx="1307243" cy="2919332"/>
              </a:xfrm>
            </p:grpSpPr>
            <p:sp>
              <p:nvSpPr>
                <p:cNvPr id="25" name="Freeform 10">
                  <a:extLst>
                    <a:ext uri="{FF2B5EF4-FFF2-40B4-BE49-F238E27FC236}">
                      <a16:creationId xmlns:a16="http://schemas.microsoft.com/office/drawing/2014/main" id="{91F3EF3C-253D-4E39-A1B4-CF56F200A8EE}"/>
                    </a:ext>
                  </a:extLst>
                </p:cNvPr>
                <p:cNvSpPr>
                  <a:spLocks/>
                </p:cNvSpPr>
                <p:nvPr/>
              </p:nvSpPr>
              <p:spPr bwMode="auto">
                <a:xfrm>
                  <a:off x="6276388" y="3976198"/>
                  <a:ext cx="572418" cy="2388181"/>
                </a:xfrm>
                <a:custGeom>
                  <a:avLst/>
                  <a:gdLst>
                    <a:gd name="T0" fmla="*/ 32 w 319"/>
                    <a:gd name="T1" fmla="*/ 266 h 1336"/>
                    <a:gd name="T2" fmla="*/ 32 w 319"/>
                    <a:gd name="T3" fmla="*/ 1335 h 1336"/>
                    <a:gd name="T4" fmla="*/ 32 w 319"/>
                    <a:gd name="T5" fmla="*/ 1336 h 1336"/>
                    <a:gd name="T6" fmla="*/ 23 w 319"/>
                    <a:gd name="T7" fmla="*/ 1336 h 1336"/>
                    <a:gd name="T8" fmla="*/ 15 w 319"/>
                    <a:gd name="T9" fmla="*/ 1336 h 1336"/>
                    <a:gd name="T10" fmla="*/ 15 w 319"/>
                    <a:gd name="T11" fmla="*/ 1336 h 1336"/>
                    <a:gd name="T12" fmla="*/ 0 w 319"/>
                    <a:gd name="T13" fmla="*/ 1336 h 1336"/>
                    <a:gd name="T14" fmla="*/ 0 w 319"/>
                    <a:gd name="T15" fmla="*/ 1335 h 1336"/>
                    <a:gd name="T16" fmla="*/ 0 w 319"/>
                    <a:gd name="T17" fmla="*/ 266 h 1336"/>
                    <a:gd name="T18" fmla="*/ 201 w 319"/>
                    <a:gd name="T19" fmla="*/ 0 h 1336"/>
                    <a:gd name="T20" fmla="*/ 319 w 319"/>
                    <a:gd name="T21" fmla="*/ 0 h 1336"/>
                    <a:gd name="T22" fmla="*/ 319 w 319"/>
                    <a:gd name="T23" fmla="*/ 42 h 1336"/>
                    <a:gd name="T24" fmla="*/ 201 w 319"/>
                    <a:gd name="T25" fmla="*/ 42 h 1336"/>
                    <a:gd name="T26" fmla="*/ 32 w 319"/>
                    <a:gd name="T27" fmla="*/ 266 h 1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19" h="1336">
                      <a:moveTo>
                        <a:pt x="32" y="266"/>
                      </a:moveTo>
                      <a:cubicBezTo>
                        <a:pt x="32" y="1335"/>
                        <a:pt x="32" y="1335"/>
                        <a:pt x="32" y="1335"/>
                      </a:cubicBezTo>
                      <a:cubicBezTo>
                        <a:pt x="32" y="1335"/>
                        <a:pt x="32" y="1335"/>
                        <a:pt x="32" y="1336"/>
                      </a:cubicBezTo>
                      <a:cubicBezTo>
                        <a:pt x="23" y="1336"/>
                        <a:pt x="23" y="1336"/>
                        <a:pt x="23" y="1336"/>
                      </a:cubicBezTo>
                      <a:cubicBezTo>
                        <a:pt x="15" y="1336"/>
                        <a:pt x="15" y="1336"/>
                        <a:pt x="15" y="1336"/>
                      </a:cubicBezTo>
                      <a:cubicBezTo>
                        <a:pt x="15" y="1336"/>
                        <a:pt x="15" y="1336"/>
                        <a:pt x="15" y="1336"/>
                      </a:cubicBezTo>
                      <a:cubicBezTo>
                        <a:pt x="0" y="1336"/>
                        <a:pt x="0" y="1336"/>
                        <a:pt x="0" y="1336"/>
                      </a:cubicBezTo>
                      <a:cubicBezTo>
                        <a:pt x="0" y="1335"/>
                        <a:pt x="0" y="1335"/>
                        <a:pt x="0" y="1335"/>
                      </a:cubicBezTo>
                      <a:cubicBezTo>
                        <a:pt x="0" y="266"/>
                        <a:pt x="0" y="266"/>
                        <a:pt x="0" y="266"/>
                      </a:cubicBezTo>
                      <a:cubicBezTo>
                        <a:pt x="0" y="119"/>
                        <a:pt x="90" y="0"/>
                        <a:pt x="201" y="0"/>
                      </a:cubicBezTo>
                      <a:cubicBezTo>
                        <a:pt x="319" y="0"/>
                        <a:pt x="319" y="0"/>
                        <a:pt x="319" y="0"/>
                      </a:cubicBezTo>
                      <a:cubicBezTo>
                        <a:pt x="319" y="42"/>
                        <a:pt x="319" y="42"/>
                        <a:pt x="319" y="42"/>
                      </a:cubicBezTo>
                      <a:cubicBezTo>
                        <a:pt x="201" y="42"/>
                        <a:pt x="201" y="42"/>
                        <a:pt x="201" y="42"/>
                      </a:cubicBezTo>
                      <a:cubicBezTo>
                        <a:pt x="108" y="42"/>
                        <a:pt x="32" y="143"/>
                        <a:pt x="32" y="266"/>
                      </a:cubicBezTo>
                      <a:close/>
                    </a:path>
                  </a:pathLst>
                </a:custGeom>
                <a:solidFill>
                  <a:schemeClr val="accent5">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nvGrpSpPr>
                <p:cNvPr id="26" name="Group 63">
                  <a:extLst>
                    <a:ext uri="{FF2B5EF4-FFF2-40B4-BE49-F238E27FC236}">
                      <a16:creationId xmlns:a16="http://schemas.microsoft.com/office/drawing/2014/main" id="{7336C4F9-6982-4FBD-ABB1-22DE3070728C}"/>
                    </a:ext>
                  </a:extLst>
                </p:cNvPr>
                <p:cNvGrpSpPr/>
                <p:nvPr/>
              </p:nvGrpSpPr>
              <p:grpSpPr>
                <a:xfrm>
                  <a:off x="6522660" y="3445047"/>
                  <a:ext cx="1060971" cy="1060970"/>
                  <a:chOff x="6522660" y="3445047"/>
                  <a:chExt cx="1060971" cy="1060970"/>
                </a:xfrm>
              </p:grpSpPr>
              <p:sp>
                <p:nvSpPr>
                  <p:cNvPr id="27" name="Oval 12">
                    <a:extLst>
                      <a:ext uri="{FF2B5EF4-FFF2-40B4-BE49-F238E27FC236}">
                        <a16:creationId xmlns:a16="http://schemas.microsoft.com/office/drawing/2014/main" id="{ECC46244-870A-4062-A103-FA5BF00A7C1F}"/>
                      </a:ext>
                    </a:extLst>
                  </p:cNvPr>
                  <p:cNvSpPr>
                    <a:spLocks noChangeArrowheads="1"/>
                  </p:cNvSpPr>
                  <p:nvPr/>
                </p:nvSpPr>
                <p:spPr bwMode="auto">
                  <a:xfrm>
                    <a:off x="6522660" y="3445047"/>
                    <a:ext cx="1060971" cy="1060970"/>
                  </a:xfrm>
                  <a:prstGeom prst="ellipse">
                    <a:avLst/>
                  </a:pr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grpSp>
                <p:nvGrpSpPr>
                  <p:cNvPr id="28" name="Group 3">
                    <a:extLst>
                      <a:ext uri="{FF2B5EF4-FFF2-40B4-BE49-F238E27FC236}">
                        <a16:creationId xmlns:a16="http://schemas.microsoft.com/office/drawing/2014/main" id="{DB44E089-25FB-4107-9EEB-BF2A7B48194A}"/>
                      </a:ext>
                    </a:extLst>
                  </p:cNvPr>
                  <p:cNvGrpSpPr/>
                  <p:nvPr/>
                </p:nvGrpSpPr>
                <p:grpSpPr>
                  <a:xfrm>
                    <a:off x="6919314" y="3855774"/>
                    <a:ext cx="267663" cy="239517"/>
                    <a:chOff x="6917318" y="3828435"/>
                    <a:chExt cx="267663" cy="239517"/>
                  </a:xfrm>
                </p:grpSpPr>
                <p:sp>
                  <p:nvSpPr>
                    <p:cNvPr id="29" name="Rectangle 66">
                      <a:extLst>
                        <a:ext uri="{FF2B5EF4-FFF2-40B4-BE49-F238E27FC236}">
                          <a16:creationId xmlns:a16="http://schemas.microsoft.com/office/drawing/2014/main" id="{E32B0A8F-08C0-4CD5-9C71-349B77A54F23}"/>
                        </a:ext>
                      </a:extLst>
                    </p:cNvPr>
                    <p:cNvSpPr>
                      <a:spLocks noChangeArrowheads="1"/>
                    </p:cNvSpPr>
                    <p:nvPr/>
                  </p:nvSpPr>
                  <p:spPr bwMode="auto">
                    <a:xfrm>
                      <a:off x="6917318" y="3932189"/>
                      <a:ext cx="267663" cy="135763"/>
                    </a:xfrm>
                    <a:prstGeom prst="rect">
                      <a:avLst/>
                    </a:prstGeom>
                    <a:solidFill>
                      <a:schemeClr val="bg1"/>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30" name="Freeform 67">
                      <a:extLst>
                        <a:ext uri="{FF2B5EF4-FFF2-40B4-BE49-F238E27FC236}">
                          <a16:creationId xmlns:a16="http://schemas.microsoft.com/office/drawing/2014/main" id="{B5F3C0A4-D5BA-419E-A229-BEC88BBCA864}"/>
                        </a:ext>
                      </a:extLst>
                    </p:cNvPr>
                    <p:cNvSpPr>
                      <a:spLocks noEditPoints="1"/>
                    </p:cNvSpPr>
                    <p:nvPr/>
                  </p:nvSpPr>
                  <p:spPr bwMode="auto">
                    <a:xfrm>
                      <a:off x="6917318" y="3828435"/>
                      <a:ext cx="267663" cy="86646"/>
                    </a:xfrm>
                    <a:custGeom>
                      <a:avLst/>
                      <a:gdLst>
                        <a:gd name="T0" fmla="*/ 1225 w 3396"/>
                        <a:gd name="T1" fmla="*/ 367 h 1103"/>
                        <a:gd name="T2" fmla="*/ 1225 w 3396"/>
                        <a:gd name="T3" fmla="*/ 665 h 1103"/>
                        <a:gd name="T4" fmla="*/ 2172 w 3396"/>
                        <a:gd name="T5" fmla="*/ 665 h 1103"/>
                        <a:gd name="T6" fmla="*/ 2172 w 3396"/>
                        <a:gd name="T7" fmla="*/ 367 h 1103"/>
                        <a:gd name="T8" fmla="*/ 1225 w 3396"/>
                        <a:gd name="T9" fmla="*/ 367 h 1103"/>
                        <a:gd name="T10" fmla="*/ 851 w 3396"/>
                        <a:gd name="T11" fmla="*/ 0 h 1103"/>
                        <a:gd name="T12" fmla="*/ 2545 w 3396"/>
                        <a:gd name="T13" fmla="*/ 0 h 1103"/>
                        <a:gd name="T14" fmla="*/ 2545 w 3396"/>
                        <a:gd name="T15" fmla="*/ 665 h 1103"/>
                        <a:gd name="T16" fmla="*/ 3396 w 3396"/>
                        <a:gd name="T17" fmla="*/ 665 h 1103"/>
                        <a:gd name="T18" fmla="*/ 3396 w 3396"/>
                        <a:gd name="T19" fmla="*/ 1103 h 1103"/>
                        <a:gd name="T20" fmla="*/ 0 w 3396"/>
                        <a:gd name="T21" fmla="*/ 1103 h 1103"/>
                        <a:gd name="T22" fmla="*/ 0 w 3396"/>
                        <a:gd name="T23" fmla="*/ 665 h 1103"/>
                        <a:gd name="T24" fmla="*/ 851 w 3396"/>
                        <a:gd name="T25" fmla="*/ 665 h 1103"/>
                        <a:gd name="T26" fmla="*/ 851 w 3396"/>
                        <a:gd name="T27" fmla="*/ 0 h 1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96" h="1103">
                          <a:moveTo>
                            <a:pt x="1225" y="367"/>
                          </a:moveTo>
                          <a:lnTo>
                            <a:pt x="1225" y="665"/>
                          </a:lnTo>
                          <a:lnTo>
                            <a:pt x="2172" y="665"/>
                          </a:lnTo>
                          <a:lnTo>
                            <a:pt x="2172" y="367"/>
                          </a:lnTo>
                          <a:lnTo>
                            <a:pt x="1225" y="367"/>
                          </a:lnTo>
                          <a:close/>
                          <a:moveTo>
                            <a:pt x="851" y="0"/>
                          </a:moveTo>
                          <a:lnTo>
                            <a:pt x="2545" y="0"/>
                          </a:lnTo>
                          <a:lnTo>
                            <a:pt x="2545" y="665"/>
                          </a:lnTo>
                          <a:lnTo>
                            <a:pt x="3396" y="665"/>
                          </a:lnTo>
                          <a:lnTo>
                            <a:pt x="3396" y="1103"/>
                          </a:lnTo>
                          <a:lnTo>
                            <a:pt x="0" y="1103"/>
                          </a:lnTo>
                          <a:lnTo>
                            <a:pt x="0" y="665"/>
                          </a:lnTo>
                          <a:lnTo>
                            <a:pt x="851" y="665"/>
                          </a:lnTo>
                          <a:lnTo>
                            <a:pt x="851"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grpSp>
            </p:grpSp>
          </p:grpSp>
          <p:grpSp>
            <p:nvGrpSpPr>
              <p:cNvPr id="14" name="Group 67">
                <a:extLst>
                  <a:ext uri="{FF2B5EF4-FFF2-40B4-BE49-F238E27FC236}">
                    <a16:creationId xmlns:a16="http://schemas.microsoft.com/office/drawing/2014/main" id="{AB89150E-1F0F-45AB-99E7-C55DB5432547}"/>
                  </a:ext>
                </a:extLst>
              </p:cNvPr>
              <p:cNvGrpSpPr/>
              <p:nvPr/>
            </p:nvGrpSpPr>
            <p:grpSpPr>
              <a:xfrm>
                <a:off x="6127293" y="2229658"/>
                <a:ext cx="1542866" cy="4279823"/>
                <a:chOff x="6127293" y="2229658"/>
                <a:chExt cx="1542866" cy="4279823"/>
              </a:xfrm>
            </p:grpSpPr>
            <p:sp>
              <p:nvSpPr>
                <p:cNvPr id="15" name="Freeform 6">
                  <a:extLst>
                    <a:ext uri="{FF2B5EF4-FFF2-40B4-BE49-F238E27FC236}">
                      <a16:creationId xmlns:a16="http://schemas.microsoft.com/office/drawing/2014/main" id="{3F1CB33F-9E40-481B-BC43-6C0658B00153}"/>
                    </a:ext>
                  </a:extLst>
                </p:cNvPr>
                <p:cNvSpPr>
                  <a:spLocks/>
                </p:cNvSpPr>
                <p:nvPr/>
              </p:nvSpPr>
              <p:spPr bwMode="auto">
                <a:xfrm>
                  <a:off x="6127293" y="2702235"/>
                  <a:ext cx="556444" cy="3807246"/>
                </a:xfrm>
                <a:custGeom>
                  <a:avLst/>
                  <a:gdLst>
                    <a:gd name="T0" fmla="*/ 32 w 310"/>
                    <a:gd name="T1" fmla="*/ 212 h 2130"/>
                    <a:gd name="T2" fmla="*/ 32 w 310"/>
                    <a:gd name="T3" fmla="*/ 2120 h 2130"/>
                    <a:gd name="T4" fmla="*/ 32 w 310"/>
                    <a:gd name="T5" fmla="*/ 2130 h 2130"/>
                    <a:gd name="T6" fmla="*/ 0 w 310"/>
                    <a:gd name="T7" fmla="*/ 2130 h 2130"/>
                    <a:gd name="T8" fmla="*/ 0 w 310"/>
                    <a:gd name="T9" fmla="*/ 2120 h 2130"/>
                    <a:gd name="T10" fmla="*/ 0 w 310"/>
                    <a:gd name="T11" fmla="*/ 212 h 2130"/>
                    <a:gd name="T12" fmla="*/ 160 w 310"/>
                    <a:gd name="T13" fmla="*/ 0 h 2130"/>
                    <a:gd name="T14" fmla="*/ 310 w 310"/>
                    <a:gd name="T15" fmla="*/ 0 h 2130"/>
                    <a:gd name="T16" fmla="*/ 310 w 310"/>
                    <a:gd name="T17" fmla="*/ 42 h 2130"/>
                    <a:gd name="T18" fmla="*/ 160 w 310"/>
                    <a:gd name="T19" fmla="*/ 42 h 2130"/>
                    <a:gd name="T20" fmla="*/ 32 w 310"/>
                    <a:gd name="T21" fmla="*/ 212 h 2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0" h="2130">
                      <a:moveTo>
                        <a:pt x="32" y="212"/>
                      </a:moveTo>
                      <a:cubicBezTo>
                        <a:pt x="32" y="2120"/>
                        <a:pt x="32" y="2120"/>
                        <a:pt x="32" y="2120"/>
                      </a:cubicBezTo>
                      <a:cubicBezTo>
                        <a:pt x="32" y="2124"/>
                        <a:pt x="32" y="2127"/>
                        <a:pt x="32" y="2130"/>
                      </a:cubicBezTo>
                      <a:cubicBezTo>
                        <a:pt x="0" y="2130"/>
                        <a:pt x="0" y="2130"/>
                        <a:pt x="0" y="2130"/>
                      </a:cubicBezTo>
                      <a:cubicBezTo>
                        <a:pt x="0" y="2127"/>
                        <a:pt x="0" y="2124"/>
                        <a:pt x="0" y="2120"/>
                      </a:cubicBezTo>
                      <a:cubicBezTo>
                        <a:pt x="0" y="212"/>
                        <a:pt x="0" y="212"/>
                        <a:pt x="0" y="212"/>
                      </a:cubicBezTo>
                      <a:cubicBezTo>
                        <a:pt x="0" y="95"/>
                        <a:pt x="71" y="0"/>
                        <a:pt x="160" y="0"/>
                      </a:cubicBezTo>
                      <a:cubicBezTo>
                        <a:pt x="310" y="0"/>
                        <a:pt x="310" y="0"/>
                        <a:pt x="310" y="0"/>
                      </a:cubicBezTo>
                      <a:cubicBezTo>
                        <a:pt x="310" y="42"/>
                        <a:pt x="310" y="42"/>
                        <a:pt x="310" y="42"/>
                      </a:cubicBezTo>
                      <a:cubicBezTo>
                        <a:pt x="160" y="42"/>
                        <a:pt x="160" y="42"/>
                        <a:pt x="160" y="42"/>
                      </a:cubicBezTo>
                      <a:cubicBezTo>
                        <a:pt x="89" y="42"/>
                        <a:pt x="32" y="118"/>
                        <a:pt x="32" y="212"/>
                      </a:cubicBezTo>
                      <a:close/>
                    </a:path>
                  </a:pathLst>
                </a:custGeom>
                <a:solidFill>
                  <a:schemeClr val="accent4">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nvGrpSpPr>
                <p:cNvPr id="16" name="Group 2">
                  <a:extLst>
                    <a:ext uri="{FF2B5EF4-FFF2-40B4-BE49-F238E27FC236}">
                      <a16:creationId xmlns:a16="http://schemas.microsoft.com/office/drawing/2014/main" id="{B5E8F29E-C0A4-4B0C-B105-F1473699E27B}"/>
                    </a:ext>
                  </a:extLst>
                </p:cNvPr>
                <p:cNvGrpSpPr/>
                <p:nvPr/>
              </p:nvGrpSpPr>
              <p:grpSpPr>
                <a:xfrm>
                  <a:off x="6607858" y="2229658"/>
                  <a:ext cx="1062301" cy="1059639"/>
                  <a:chOff x="6607858" y="2229658"/>
                  <a:chExt cx="1062301" cy="1059639"/>
                </a:xfrm>
              </p:grpSpPr>
              <p:sp>
                <p:nvSpPr>
                  <p:cNvPr id="17" name="Oval 8">
                    <a:extLst>
                      <a:ext uri="{FF2B5EF4-FFF2-40B4-BE49-F238E27FC236}">
                        <a16:creationId xmlns:a16="http://schemas.microsoft.com/office/drawing/2014/main" id="{853949BA-955C-4C5C-B411-071EA350879C}"/>
                      </a:ext>
                    </a:extLst>
                  </p:cNvPr>
                  <p:cNvSpPr>
                    <a:spLocks noChangeArrowheads="1"/>
                  </p:cNvSpPr>
                  <p:nvPr/>
                </p:nvSpPr>
                <p:spPr bwMode="auto">
                  <a:xfrm>
                    <a:off x="6607858" y="2229658"/>
                    <a:ext cx="1062301" cy="1059639"/>
                  </a:xfrm>
                  <a:prstGeom prst="ellipse">
                    <a:avLst/>
                  </a:pr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grpSp>
                <p:nvGrpSpPr>
                  <p:cNvPr id="18" name="Group 35">
                    <a:extLst>
                      <a:ext uri="{FF2B5EF4-FFF2-40B4-BE49-F238E27FC236}">
                        <a16:creationId xmlns:a16="http://schemas.microsoft.com/office/drawing/2014/main" id="{C615EE56-1D40-4086-89FF-0BC24D8465F3}"/>
                      </a:ext>
                    </a:extLst>
                  </p:cNvPr>
                  <p:cNvGrpSpPr/>
                  <p:nvPr/>
                </p:nvGrpSpPr>
                <p:grpSpPr>
                  <a:xfrm>
                    <a:off x="7009262" y="2567245"/>
                    <a:ext cx="259492" cy="384464"/>
                    <a:chOff x="-1328738" y="1311275"/>
                    <a:chExt cx="517525" cy="766763"/>
                  </a:xfrm>
                  <a:solidFill>
                    <a:schemeClr val="bg1"/>
                  </a:solidFill>
                </p:grpSpPr>
                <p:sp>
                  <p:nvSpPr>
                    <p:cNvPr id="19" name="Freeform 666">
                      <a:extLst>
                        <a:ext uri="{FF2B5EF4-FFF2-40B4-BE49-F238E27FC236}">
                          <a16:creationId xmlns:a16="http://schemas.microsoft.com/office/drawing/2014/main" id="{34E05C00-7880-47CE-9962-5CC194F8984A}"/>
                        </a:ext>
                      </a:extLst>
                    </p:cNvPr>
                    <p:cNvSpPr>
                      <a:spLocks/>
                    </p:cNvSpPr>
                    <p:nvPr/>
                  </p:nvSpPr>
                  <p:spPr bwMode="auto">
                    <a:xfrm>
                      <a:off x="-1147763" y="1311275"/>
                      <a:ext cx="155575" cy="157162"/>
                    </a:xfrm>
                    <a:custGeom>
                      <a:avLst/>
                      <a:gdLst>
                        <a:gd name="T0" fmla="*/ 345 w 691"/>
                        <a:gd name="T1" fmla="*/ 0 h 694"/>
                        <a:gd name="T2" fmla="*/ 393 w 691"/>
                        <a:gd name="T3" fmla="*/ 3 h 694"/>
                        <a:gd name="T4" fmla="*/ 438 w 691"/>
                        <a:gd name="T5" fmla="*/ 12 h 694"/>
                        <a:gd name="T6" fmla="*/ 480 w 691"/>
                        <a:gd name="T7" fmla="*/ 27 h 694"/>
                        <a:gd name="T8" fmla="*/ 521 w 691"/>
                        <a:gd name="T9" fmla="*/ 47 h 694"/>
                        <a:gd name="T10" fmla="*/ 558 w 691"/>
                        <a:gd name="T11" fmla="*/ 72 h 694"/>
                        <a:gd name="T12" fmla="*/ 590 w 691"/>
                        <a:gd name="T13" fmla="*/ 101 h 694"/>
                        <a:gd name="T14" fmla="*/ 620 w 691"/>
                        <a:gd name="T15" fmla="*/ 134 h 694"/>
                        <a:gd name="T16" fmla="*/ 645 w 691"/>
                        <a:gd name="T17" fmla="*/ 171 h 694"/>
                        <a:gd name="T18" fmla="*/ 664 w 691"/>
                        <a:gd name="T19" fmla="*/ 212 h 694"/>
                        <a:gd name="T20" fmla="*/ 679 w 691"/>
                        <a:gd name="T21" fmla="*/ 254 h 694"/>
                        <a:gd name="T22" fmla="*/ 688 w 691"/>
                        <a:gd name="T23" fmla="*/ 299 h 694"/>
                        <a:gd name="T24" fmla="*/ 691 w 691"/>
                        <a:gd name="T25" fmla="*/ 346 h 694"/>
                        <a:gd name="T26" fmla="*/ 688 w 691"/>
                        <a:gd name="T27" fmla="*/ 393 h 694"/>
                        <a:gd name="T28" fmla="*/ 679 w 691"/>
                        <a:gd name="T29" fmla="*/ 439 h 694"/>
                        <a:gd name="T30" fmla="*/ 664 w 691"/>
                        <a:gd name="T31" fmla="*/ 482 h 694"/>
                        <a:gd name="T32" fmla="*/ 645 w 691"/>
                        <a:gd name="T33" fmla="*/ 522 h 694"/>
                        <a:gd name="T34" fmla="*/ 620 w 691"/>
                        <a:gd name="T35" fmla="*/ 558 h 694"/>
                        <a:gd name="T36" fmla="*/ 590 w 691"/>
                        <a:gd name="T37" fmla="*/ 592 h 694"/>
                        <a:gd name="T38" fmla="*/ 558 w 691"/>
                        <a:gd name="T39" fmla="*/ 621 h 694"/>
                        <a:gd name="T40" fmla="*/ 521 w 691"/>
                        <a:gd name="T41" fmla="*/ 647 h 694"/>
                        <a:gd name="T42" fmla="*/ 480 w 691"/>
                        <a:gd name="T43" fmla="*/ 666 h 694"/>
                        <a:gd name="T44" fmla="*/ 438 w 691"/>
                        <a:gd name="T45" fmla="*/ 682 h 694"/>
                        <a:gd name="T46" fmla="*/ 393 w 691"/>
                        <a:gd name="T47" fmla="*/ 690 h 694"/>
                        <a:gd name="T48" fmla="*/ 345 w 691"/>
                        <a:gd name="T49" fmla="*/ 694 h 694"/>
                        <a:gd name="T50" fmla="*/ 299 w 691"/>
                        <a:gd name="T51" fmla="*/ 690 h 694"/>
                        <a:gd name="T52" fmla="*/ 254 w 691"/>
                        <a:gd name="T53" fmla="*/ 682 h 694"/>
                        <a:gd name="T54" fmla="*/ 212 w 691"/>
                        <a:gd name="T55" fmla="*/ 666 h 694"/>
                        <a:gd name="T56" fmla="*/ 171 w 691"/>
                        <a:gd name="T57" fmla="*/ 647 h 694"/>
                        <a:gd name="T58" fmla="*/ 135 w 691"/>
                        <a:gd name="T59" fmla="*/ 621 h 694"/>
                        <a:gd name="T60" fmla="*/ 102 w 691"/>
                        <a:gd name="T61" fmla="*/ 592 h 694"/>
                        <a:gd name="T62" fmla="*/ 72 w 691"/>
                        <a:gd name="T63" fmla="*/ 558 h 694"/>
                        <a:gd name="T64" fmla="*/ 48 w 691"/>
                        <a:gd name="T65" fmla="*/ 522 h 694"/>
                        <a:gd name="T66" fmla="*/ 28 w 691"/>
                        <a:gd name="T67" fmla="*/ 482 h 694"/>
                        <a:gd name="T68" fmla="*/ 14 w 691"/>
                        <a:gd name="T69" fmla="*/ 439 h 694"/>
                        <a:gd name="T70" fmla="*/ 4 w 691"/>
                        <a:gd name="T71" fmla="*/ 393 h 694"/>
                        <a:gd name="T72" fmla="*/ 0 w 691"/>
                        <a:gd name="T73" fmla="*/ 346 h 694"/>
                        <a:gd name="T74" fmla="*/ 4 w 691"/>
                        <a:gd name="T75" fmla="*/ 299 h 694"/>
                        <a:gd name="T76" fmla="*/ 14 w 691"/>
                        <a:gd name="T77" fmla="*/ 254 h 694"/>
                        <a:gd name="T78" fmla="*/ 28 w 691"/>
                        <a:gd name="T79" fmla="*/ 212 h 694"/>
                        <a:gd name="T80" fmla="*/ 48 w 691"/>
                        <a:gd name="T81" fmla="*/ 171 h 694"/>
                        <a:gd name="T82" fmla="*/ 72 w 691"/>
                        <a:gd name="T83" fmla="*/ 134 h 694"/>
                        <a:gd name="T84" fmla="*/ 102 w 691"/>
                        <a:gd name="T85" fmla="*/ 101 h 694"/>
                        <a:gd name="T86" fmla="*/ 135 w 691"/>
                        <a:gd name="T87" fmla="*/ 72 h 694"/>
                        <a:gd name="T88" fmla="*/ 171 w 691"/>
                        <a:gd name="T89" fmla="*/ 47 h 694"/>
                        <a:gd name="T90" fmla="*/ 212 w 691"/>
                        <a:gd name="T91" fmla="*/ 27 h 694"/>
                        <a:gd name="T92" fmla="*/ 254 w 691"/>
                        <a:gd name="T93" fmla="*/ 12 h 694"/>
                        <a:gd name="T94" fmla="*/ 299 w 691"/>
                        <a:gd name="T95" fmla="*/ 3 h 694"/>
                        <a:gd name="T96" fmla="*/ 345 w 691"/>
                        <a:gd name="T97" fmla="*/ 0 h 6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691" h="694">
                          <a:moveTo>
                            <a:pt x="345" y="0"/>
                          </a:moveTo>
                          <a:lnTo>
                            <a:pt x="393" y="3"/>
                          </a:lnTo>
                          <a:lnTo>
                            <a:pt x="438" y="12"/>
                          </a:lnTo>
                          <a:lnTo>
                            <a:pt x="480" y="27"/>
                          </a:lnTo>
                          <a:lnTo>
                            <a:pt x="521" y="47"/>
                          </a:lnTo>
                          <a:lnTo>
                            <a:pt x="558" y="72"/>
                          </a:lnTo>
                          <a:lnTo>
                            <a:pt x="590" y="101"/>
                          </a:lnTo>
                          <a:lnTo>
                            <a:pt x="620" y="134"/>
                          </a:lnTo>
                          <a:lnTo>
                            <a:pt x="645" y="171"/>
                          </a:lnTo>
                          <a:lnTo>
                            <a:pt x="664" y="212"/>
                          </a:lnTo>
                          <a:lnTo>
                            <a:pt x="679" y="254"/>
                          </a:lnTo>
                          <a:lnTo>
                            <a:pt x="688" y="299"/>
                          </a:lnTo>
                          <a:lnTo>
                            <a:pt x="691" y="346"/>
                          </a:lnTo>
                          <a:lnTo>
                            <a:pt x="688" y="393"/>
                          </a:lnTo>
                          <a:lnTo>
                            <a:pt x="679" y="439"/>
                          </a:lnTo>
                          <a:lnTo>
                            <a:pt x="664" y="482"/>
                          </a:lnTo>
                          <a:lnTo>
                            <a:pt x="645" y="522"/>
                          </a:lnTo>
                          <a:lnTo>
                            <a:pt x="620" y="558"/>
                          </a:lnTo>
                          <a:lnTo>
                            <a:pt x="590" y="592"/>
                          </a:lnTo>
                          <a:lnTo>
                            <a:pt x="558" y="621"/>
                          </a:lnTo>
                          <a:lnTo>
                            <a:pt x="521" y="647"/>
                          </a:lnTo>
                          <a:lnTo>
                            <a:pt x="480" y="666"/>
                          </a:lnTo>
                          <a:lnTo>
                            <a:pt x="438" y="682"/>
                          </a:lnTo>
                          <a:lnTo>
                            <a:pt x="393" y="690"/>
                          </a:lnTo>
                          <a:lnTo>
                            <a:pt x="345" y="694"/>
                          </a:lnTo>
                          <a:lnTo>
                            <a:pt x="299" y="690"/>
                          </a:lnTo>
                          <a:lnTo>
                            <a:pt x="254" y="682"/>
                          </a:lnTo>
                          <a:lnTo>
                            <a:pt x="212" y="666"/>
                          </a:lnTo>
                          <a:lnTo>
                            <a:pt x="171" y="647"/>
                          </a:lnTo>
                          <a:lnTo>
                            <a:pt x="135" y="621"/>
                          </a:lnTo>
                          <a:lnTo>
                            <a:pt x="102" y="592"/>
                          </a:lnTo>
                          <a:lnTo>
                            <a:pt x="72" y="558"/>
                          </a:lnTo>
                          <a:lnTo>
                            <a:pt x="48" y="522"/>
                          </a:lnTo>
                          <a:lnTo>
                            <a:pt x="28" y="482"/>
                          </a:lnTo>
                          <a:lnTo>
                            <a:pt x="14" y="439"/>
                          </a:lnTo>
                          <a:lnTo>
                            <a:pt x="4" y="393"/>
                          </a:lnTo>
                          <a:lnTo>
                            <a:pt x="0" y="346"/>
                          </a:lnTo>
                          <a:lnTo>
                            <a:pt x="4" y="299"/>
                          </a:lnTo>
                          <a:lnTo>
                            <a:pt x="14" y="254"/>
                          </a:lnTo>
                          <a:lnTo>
                            <a:pt x="28" y="212"/>
                          </a:lnTo>
                          <a:lnTo>
                            <a:pt x="48" y="171"/>
                          </a:lnTo>
                          <a:lnTo>
                            <a:pt x="72" y="134"/>
                          </a:lnTo>
                          <a:lnTo>
                            <a:pt x="102" y="101"/>
                          </a:lnTo>
                          <a:lnTo>
                            <a:pt x="135" y="72"/>
                          </a:lnTo>
                          <a:lnTo>
                            <a:pt x="171" y="47"/>
                          </a:lnTo>
                          <a:lnTo>
                            <a:pt x="212" y="27"/>
                          </a:lnTo>
                          <a:lnTo>
                            <a:pt x="254" y="12"/>
                          </a:lnTo>
                          <a:lnTo>
                            <a:pt x="299" y="3"/>
                          </a:lnTo>
                          <a:lnTo>
                            <a:pt x="34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20" name="Freeform 667">
                      <a:extLst>
                        <a:ext uri="{FF2B5EF4-FFF2-40B4-BE49-F238E27FC236}">
                          <a16:creationId xmlns:a16="http://schemas.microsoft.com/office/drawing/2014/main" id="{8191FC94-A476-4E4C-8B20-E670A9A1F37C}"/>
                        </a:ext>
                      </a:extLst>
                    </p:cNvPr>
                    <p:cNvSpPr>
                      <a:spLocks/>
                    </p:cNvSpPr>
                    <p:nvPr/>
                  </p:nvSpPr>
                  <p:spPr bwMode="auto">
                    <a:xfrm>
                      <a:off x="-1192213" y="1481138"/>
                      <a:ext cx="244475" cy="596900"/>
                    </a:xfrm>
                    <a:custGeom>
                      <a:avLst/>
                      <a:gdLst>
                        <a:gd name="T0" fmla="*/ 931 w 1080"/>
                        <a:gd name="T1" fmla="*/ 1 h 2635"/>
                        <a:gd name="T2" fmla="*/ 989 w 1080"/>
                        <a:gd name="T3" fmla="*/ 12 h 2635"/>
                        <a:gd name="T4" fmla="*/ 1037 w 1080"/>
                        <a:gd name="T5" fmla="*/ 45 h 2635"/>
                        <a:gd name="T6" fmla="*/ 1068 w 1080"/>
                        <a:gd name="T7" fmla="*/ 92 h 2635"/>
                        <a:gd name="T8" fmla="*/ 1080 w 1080"/>
                        <a:gd name="T9" fmla="*/ 151 h 2635"/>
                        <a:gd name="T10" fmla="*/ 1077 w 1080"/>
                        <a:gd name="T11" fmla="*/ 1435 h 2635"/>
                        <a:gd name="T12" fmla="*/ 1055 w 1080"/>
                        <a:gd name="T13" fmla="*/ 1489 h 2635"/>
                        <a:gd name="T14" fmla="*/ 1014 w 1080"/>
                        <a:gd name="T15" fmla="*/ 1529 h 2635"/>
                        <a:gd name="T16" fmla="*/ 961 w 1080"/>
                        <a:gd name="T17" fmla="*/ 1552 h 2635"/>
                        <a:gd name="T18" fmla="*/ 906 w 1080"/>
                        <a:gd name="T19" fmla="*/ 1553 h 2635"/>
                        <a:gd name="T20" fmla="*/ 860 w 1080"/>
                        <a:gd name="T21" fmla="*/ 1537 h 2635"/>
                        <a:gd name="T22" fmla="*/ 841 w 1080"/>
                        <a:gd name="T23" fmla="*/ 2484 h 2635"/>
                        <a:gd name="T24" fmla="*/ 830 w 1080"/>
                        <a:gd name="T25" fmla="*/ 2543 h 2635"/>
                        <a:gd name="T26" fmla="*/ 797 w 1080"/>
                        <a:gd name="T27" fmla="*/ 2590 h 2635"/>
                        <a:gd name="T28" fmla="*/ 749 w 1080"/>
                        <a:gd name="T29" fmla="*/ 2623 h 2635"/>
                        <a:gd name="T30" fmla="*/ 692 w 1080"/>
                        <a:gd name="T31" fmla="*/ 2635 h 2635"/>
                        <a:gd name="T32" fmla="*/ 633 w 1080"/>
                        <a:gd name="T33" fmla="*/ 2623 h 2635"/>
                        <a:gd name="T34" fmla="*/ 586 w 1080"/>
                        <a:gd name="T35" fmla="*/ 2590 h 2635"/>
                        <a:gd name="T36" fmla="*/ 555 w 1080"/>
                        <a:gd name="T37" fmla="*/ 2543 h 2635"/>
                        <a:gd name="T38" fmla="*/ 543 w 1080"/>
                        <a:gd name="T39" fmla="*/ 2484 h 2635"/>
                        <a:gd name="T40" fmla="*/ 535 w 1080"/>
                        <a:gd name="T41" fmla="*/ 2515 h 2635"/>
                        <a:gd name="T42" fmla="*/ 512 w 1080"/>
                        <a:gd name="T43" fmla="*/ 2568 h 2635"/>
                        <a:gd name="T44" fmla="*/ 472 w 1080"/>
                        <a:gd name="T45" fmla="*/ 2609 h 2635"/>
                        <a:gd name="T46" fmla="*/ 419 w 1080"/>
                        <a:gd name="T47" fmla="*/ 2631 h 2635"/>
                        <a:gd name="T48" fmla="*/ 359 w 1080"/>
                        <a:gd name="T49" fmla="*/ 2631 h 2635"/>
                        <a:gd name="T50" fmla="*/ 305 w 1080"/>
                        <a:gd name="T51" fmla="*/ 2609 h 2635"/>
                        <a:gd name="T52" fmla="*/ 264 w 1080"/>
                        <a:gd name="T53" fmla="*/ 2568 h 2635"/>
                        <a:gd name="T54" fmla="*/ 242 w 1080"/>
                        <a:gd name="T55" fmla="*/ 2515 h 2635"/>
                        <a:gd name="T56" fmla="*/ 239 w 1080"/>
                        <a:gd name="T57" fmla="*/ 1524 h 2635"/>
                        <a:gd name="T58" fmla="*/ 198 w 1080"/>
                        <a:gd name="T59" fmla="*/ 1547 h 2635"/>
                        <a:gd name="T60" fmla="*/ 149 w 1080"/>
                        <a:gd name="T61" fmla="*/ 1555 h 2635"/>
                        <a:gd name="T62" fmla="*/ 91 w 1080"/>
                        <a:gd name="T63" fmla="*/ 1543 h 2635"/>
                        <a:gd name="T64" fmla="*/ 43 w 1080"/>
                        <a:gd name="T65" fmla="*/ 1512 h 2635"/>
                        <a:gd name="T66" fmla="*/ 12 w 1080"/>
                        <a:gd name="T67" fmla="*/ 1464 h 2635"/>
                        <a:gd name="T68" fmla="*/ 0 w 1080"/>
                        <a:gd name="T69" fmla="*/ 1405 h 2635"/>
                        <a:gd name="T70" fmla="*/ 3 w 1080"/>
                        <a:gd name="T71" fmla="*/ 120 h 2635"/>
                        <a:gd name="T72" fmla="*/ 25 w 1080"/>
                        <a:gd name="T73" fmla="*/ 68 h 2635"/>
                        <a:gd name="T74" fmla="*/ 64 w 1080"/>
                        <a:gd name="T75" fmla="*/ 27 h 2635"/>
                        <a:gd name="T76" fmla="*/ 116 w 1080"/>
                        <a:gd name="T77" fmla="*/ 4 h 2635"/>
                        <a:gd name="T78" fmla="*/ 145 w 1080"/>
                        <a:gd name="T79" fmla="*/ 0 h 26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080" h="2635">
                          <a:moveTo>
                            <a:pt x="145" y="0"/>
                          </a:moveTo>
                          <a:lnTo>
                            <a:pt x="931" y="1"/>
                          </a:lnTo>
                          <a:lnTo>
                            <a:pt x="961" y="3"/>
                          </a:lnTo>
                          <a:lnTo>
                            <a:pt x="989" y="12"/>
                          </a:lnTo>
                          <a:lnTo>
                            <a:pt x="1014" y="26"/>
                          </a:lnTo>
                          <a:lnTo>
                            <a:pt x="1037" y="45"/>
                          </a:lnTo>
                          <a:lnTo>
                            <a:pt x="1055" y="66"/>
                          </a:lnTo>
                          <a:lnTo>
                            <a:pt x="1068" y="92"/>
                          </a:lnTo>
                          <a:lnTo>
                            <a:pt x="1077" y="120"/>
                          </a:lnTo>
                          <a:lnTo>
                            <a:pt x="1080" y="151"/>
                          </a:lnTo>
                          <a:lnTo>
                            <a:pt x="1080" y="1405"/>
                          </a:lnTo>
                          <a:lnTo>
                            <a:pt x="1077" y="1435"/>
                          </a:lnTo>
                          <a:lnTo>
                            <a:pt x="1068" y="1464"/>
                          </a:lnTo>
                          <a:lnTo>
                            <a:pt x="1055" y="1489"/>
                          </a:lnTo>
                          <a:lnTo>
                            <a:pt x="1037" y="1512"/>
                          </a:lnTo>
                          <a:lnTo>
                            <a:pt x="1014" y="1529"/>
                          </a:lnTo>
                          <a:lnTo>
                            <a:pt x="989" y="1543"/>
                          </a:lnTo>
                          <a:lnTo>
                            <a:pt x="961" y="1552"/>
                          </a:lnTo>
                          <a:lnTo>
                            <a:pt x="931" y="1555"/>
                          </a:lnTo>
                          <a:lnTo>
                            <a:pt x="906" y="1553"/>
                          </a:lnTo>
                          <a:lnTo>
                            <a:pt x="882" y="1547"/>
                          </a:lnTo>
                          <a:lnTo>
                            <a:pt x="860" y="1537"/>
                          </a:lnTo>
                          <a:lnTo>
                            <a:pt x="841" y="1525"/>
                          </a:lnTo>
                          <a:lnTo>
                            <a:pt x="841" y="2484"/>
                          </a:lnTo>
                          <a:lnTo>
                            <a:pt x="839" y="2515"/>
                          </a:lnTo>
                          <a:lnTo>
                            <a:pt x="830" y="2543"/>
                          </a:lnTo>
                          <a:lnTo>
                            <a:pt x="816" y="2568"/>
                          </a:lnTo>
                          <a:lnTo>
                            <a:pt x="797" y="2590"/>
                          </a:lnTo>
                          <a:lnTo>
                            <a:pt x="776" y="2609"/>
                          </a:lnTo>
                          <a:lnTo>
                            <a:pt x="749" y="2623"/>
                          </a:lnTo>
                          <a:lnTo>
                            <a:pt x="722" y="2631"/>
                          </a:lnTo>
                          <a:lnTo>
                            <a:pt x="692" y="2635"/>
                          </a:lnTo>
                          <a:lnTo>
                            <a:pt x="661" y="2631"/>
                          </a:lnTo>
                          <a:lnTo>
                            <a:pt x="633" y="2623"/>
                          </a:lnTo>
                          <a:lnTo>
                            <a:pt x="608" y="2609"/>
                          </a:lnTo>
                          <a:lnTo>
                            <a:pt x="586" y="2590"/>
                          </a:lnTo>
                          <a:lnTo>
                            <a:pt x="568" y="2568"/>
                          </a:lnTo>
                          <a:lnTo>
                            <a:pt x="555" y="2543"/>
                          </a:lnTo>
                          <a:lnTo>
                            <a:pt x="546" y="2515"/>
                          </a:lnTo>
                          <a:lnTo>
                            <a:pt x="543" y="2484"/>
                          </a:lnTo>
                          <a:lnTo>
                            <a:pt x="538" y="2484"/>
                          </a:lnTo>
                          <a:lnTo>
                            <a:pt x="535" y="2515"/>
                          </a:lnTo>
                          <a:lnTo>
                            <a:pt x="526" y="2543"/>
                          </a:lnTo>
                          <a:lnTo>
                            <a:pt x="512" y="2568"/>
                          </a:lnTo>
                          <a:lnTo>
                            <a:pt x="495" y="2590"/>
                          </a:lnTo>
                          <a:lnTo>
                            <a:pt x="472" y="2609"/>
                          </a:lnTo>
                          <a:lnTo>
                            <a:pt x="447" y="2623"/>
                          </a:lnTo>
                          <a:lnTo>
                            <a:pt x="419" y="2631"/>
                          </a:lnTo>
                          <a:lnTo>
                            <a:pt x="388" y="2635"/>
                          </a:lnTo>
                          <a:lnTo>
                            <a:pt x="359" y="2631"/>
                          </a:lnTo>
                          <a:lnTo>
                            <a:pt x="330" y="2623"/>
                          </a:lnTo>
                          <a:lnTo>
                            <a:pt x="305" y="2609"/>
                          </a:lnTo>
                          <a:lnTo>
                            <a:pt x="283" y="2590"/>
                          </a:lnTo>
                          <a:lnTo>
                            <a:pt x="264" y="2568"/>
                          </a:lnTo>
                          <a:lnTo>
                            <a:pt x="251" y="2543"/>
                          </a:lnTo>
                          <a:lnTo>
                            <a:pt x="242" y="2515"/>
                          </a:lnTo>
                          <a:lnTo>
                            <a:pt x="239" y="2484"/>
                          </a:lnTo>
                          <a:lnTo>
                            <a:pt x="239" y="1524"/>
                          </a:lnTo>
                          <a:lnTo>
                            <a:pt x="219" y="1537"/>
                          </a:lnTo>
                          <a:lnTo>
                            <a:pt x="198" y="1547"/>
                          </a:lnTo>
                          <a:lnTo>
                            <a:pt x="174" y="1553"/>
                          </a:lnTo>
                          <a:lnTo>
                            <a:pt x="149" y="1555"/>
                          </a:lnTo>
                          <a:lnTo>
                            <a:pt x="119" y="1552"/>
                          </a:lnTo>
                          <a:lnTo>
                            <a:pt x="91" y="1543"/>
                          </a:lnTo>
                          <a:lnTo>
                            <a:pt x="66" y="1529"/>
                          </a:lnTo>
                          <a:lnTo>
                            <a:pt x="43" y="1512"/>
                          </a:lnTo>
                          <a:lnTo>
                            <a:pt x="25" y="1489"/>
                          </a:lnTo>
                          <a:lnTo>
                            <a:pt x="12" y="1464"/>
                          </a:lnTo>
                          <a:lnTo>
                            <a:pt x="3" y="1435"/>
                          </a:lnTo>
                          <a:lnTo>
                            <a:pt x="0" y="1405"/>
                          </a:lnTo>
                          <a:lnTo>
                            <a:pt x="0" y="151"/>
                          </a:lnTo>
                          <a:lnTo>
                            <a:pt x="3" y="120"/>
                          </a:lnTo>
                          <a:lnTo>
                            <a:pt x="11" y="93"/>
                          </a:lnTo>
                          <a:lnTo>
                            <a:pt x="25" y="68"/>
                          </a:lnTo>
                          <a:lnTo>
                            <a:pt x="42" y="46"/>
                          </a:lnTo>
                          <a:lnTo>
                            <a:pt x="64" y="27"/>
                          </a:lnTo>
                          <a:lnTo>
                            <a:pt x="89" y="13"/>
                          </a:lnTo>
                          <a:lnTo>
                            <a:pt x="116" y="4"/>
                          </a:lnTo>
                          <a:lnTo>
                            <a:pt x="145" y="1"/>
                          </a:lnTo>
                          <a:lnTo>
                            <a:pt x="14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21" name="Freeform 668">
                      <a:extLst>
                        <a:ext uri="{FF2B5EF4-FFF2-40B4-BE49-F238E27FC236}">
                          <a16:creationId xmlns:a16="http://schemas.microsoft.com/office/drawing/2014/main" id="{59834B84-697F-4ACA-8DDC-42420247236A}"/>
                        </a:ext>
                      </a:extLst>
                    </p:cNvPr>
                    <p:cNvSpPr>
                      <a:spLocks/>
                    </p:cNvSpPr>
                    <p:nvPr/>
                  </p:nvSpPr>
                  <p:spPr bwMode="auto">
                    <a:xfrm>
                      <a:off x="-1287463" y="1311275"/>
                      <a:ext cx="128588" cy="144462"/>
                    </a:xfrm>
                    <a:custGeom>
                      <a:avLst/>
                      <a:gdLst>
                        <a:gd name="T0" fmla="*/ 316 w 569"/>
                        <a:gd name="T1" fmla="*/ 0 h 637"/>
                        <a:gd name="T2" fmla="*/ 360 w 569"/>
                        <a:gd name="T3" fmla="*/ 3 h 637"/>
                        <a:gd name="T4" fmla="*/ 402 w 569"/>
                        <a:gd name="T5" fmla="*/ 12 h 637"/>
                        <a:gd name="T6" fmla="*/ 441 w 569"/>
                        <a:gd name="T7" fmla="*/ 25 h 637"/>
                        <a:gd name="T8" fmla="*/ 477 w 569"/>
                        <a:gd name="T9" fmla="*/ 45 h 637"/>
                        <a:gd name="T10" fmla="*/ 511 w 569"/>
                        <a:gd name="T11" fmla="*/ 68 h 637"/>
                        <a:gd name="T12" fmla="*/ 541 w 569"/>
                        <a:gd name="T13" fmla="*/ 95 h 637"/>
                        <a:gd name="T14" fmla="*/ 569 w 569"/>
                        <a:gd name="T15" fmla="*/ 127 h 637"/>
                        <a:gd name="T16" fmla="*/ 548 w 569"/>
                        <a:gd name="T17" fmla="*/ 167 h 637"/>
                        <a:gd name="T18" fmla="*/ 532 w 569"/>
                        <a:gd name="T19" fmla="*/ 209 h 637"/>
                        <a:gd name="T20" fmla="*/ 520 w 569"/>
                        <a:gd name="T21" fmla="*/ 253 h 637"/>
                        <a:gd name="T22" fmla="*/ 512 w 569"/>
                        <a:gd name="T23" fmla="*/ 299 h 637"/>
                        <a:gd name="T24" fmla="*/ 510 w 569"/>
                        <a:gd name="T25" fmla="*/ 346 h 637"/>
                        <a:gd name="T26" fmla="*/ 512 w 569"/>
                        <a:gd name="T27" fmla="*/ 395 h 637"/>
                        <a:gd name="T28" fmla="*/ 521 w 569"/>
                        <a:gd name="T29" fmla="*/ 442 h 637"/>
                        <a:gd name="T30" fmla="*/ 534 w 569"/>
                        <a:gd name="T31" fmla="*/ 488 h 637"/>
                        <a:gd name="T32" fmla="*/ 551 w 569"/>
                        <a:gd name="T33" fmla="*/ 531 h 637"/>
                        <a:gd name="T34" fmla="*/ 521 w 569"/>
                        <a:gd name="T35" fmla="*/ 561 h 637"/>
                        <a:gd name="T36" fmla="*/ 486 w 569"/>
                        <a:gd name="T37" fmla="*/ 588 h 637"/>
                        <a:gd name="T38" fmla="*/ 448 w 569"/>
                        <a:gd name="T39" fmla="*/ 608 h 637"/>
                        <a:gd name="T40" fmla="*/ 407 w 569"/>
                        <a:gd name="T41" fmla="*/ 624 h 637"/>
                        <a:gd name="T42" fmla="*/ 363 w 569"/>
                        <a:gd name="T43" fmla="*/ 633 h 637"/>
                        <a:gd name="T44" fmla="*/ 316 w 569"/>
                        <a:gd name="T45" fmla="*/ 637 h 637"/>
                        <a:gd name="T46" fmla="*/ 274 w 569"/>
                        <a:gd name="T47" fmla="*/ 635 h 637"/>
                        <a:gd name="T48" fmla="*/ 232 w 569"/>
                        <a:gd name="T49" fmla="*/ 626 h 637"/>
                        <a:gd name="T50" fmla="*/ 193 w 569"/>
                        <a:gd name="T51" fmla="*/ 612 h 637"/>
                        <a:gd name="T52" fmla="*/ 156 w 569"/>
                        <a:gd name="T53" fmla="*/ 594 h 637"/>
                        <a:gd name="T54" fmla="*/ 123 w 569"/>
                        <a:gd name="T55" fmla="*/ 571 h 637"/>
                        <a:gd name="T56" fmla="*/ 92 w 569"/>
                        <a:gd name="T57" fmla="*/ 544 h 637"/>
                        <a:gd name="T58" fmla="*/ 66 w 569"/>
                        <a:gd name="T59" fmla="*/ 513 h 637"/>
                        <a:gd name="T60" fmla="*/ 43 w 569"/>
                        <a:gd name="T61" fmla="*/ 479 h 637"/>
                        <a:gd name="T62" fmla="*/ 25 w 569"/>
                        <a:gd name="T63" fmla="*/ 442 h 637"/>
                        <a:gd name="T64" fmla="*/ 10 w 569"/>
                        <a:gd name="T65" fmla="*/ 403 h 637"/>
                        <a:gd name="T66" fmla="*/ 2 w 569"/>
                        <a:gd name="T67" fmla="*/ 361 h 637"/>
                        <a:gd name="T68" fmla="*/ 0 w 569"/>
                        <a:gd name="T69" fmla="*/ 319 h 637"/>
                        <a:gd name="T70" fmla="*/ 3 w 569"/>
                        <a:gd name="T71" fmla="*/ 272 h 637"/>
                        <a:gd name="T72" fmla="*/ 13 w 569"/>
                        <a:gd name="T73" fmla="*/ 226 h 637"/>
                        <a:gd name="T74" fmla="*/ 29 w 569"/>
                        <a:gd name="T75" fmla="*/ 184 h 637"/>
                        <a:gd name="T76" fmla="*/ 51 w 569"/>
                        <a:gd name="T77" fmla="*/ 145 h 637"/>
                        <a:gd name="T78" fmla="*/ 77 w 569"/>
                        <a:gd name="T79" fmla="*/ 109 h 637"/>
                        <a:gd name="T80" fmla="*/ 108 w 569"/>
                        <a:gd name="T81" fmla="*/ 77 h 637"/>
                        <a:gd name="T82" fmla="*/ 144 w 569"/>
                        <a:gd name="T83" fmla="*/ 51 h 637"/>
                        <a:gd name="T84" fmla="*/ 183 w 569"/>
                        <a:gd name="T85" fmla="*/ 29 h 637"/>
                        <a:gd name="T86" fmla="*/ 225 w 569"/>
                        <a:gd name="T87" fmla="*/ 13 h 637"/>
                        <a:gd name="T88" fmla="*/ 269 w 569"/>
                        <a:gd name="T89" fmla="*/ 3 h 637"/>
                        <a:gd name="T90" fmla="*/ 316 w 569"/>
                        <a:gd name="T91" fmla="*/ 0 h 6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69" h="637">
                          <a:moveTo>
                            <a:pt x="316" y="0"/>
                          </a:moveTo>
                          <a:lnTo>
                            <a:pt x="360" y="3"/>
                          </a:lnTo>
                          <a:lnTo>
                            <a:pt x="402" y="12"/>
                          </a:lnTo>
                          <a:lnTo>
                            <a:pt x="441" y="25"/>
                          </a:lnTo>
                          <a:lnTo>
                            <a:pt x="477" y="45"/>
                          </a:lnTo>
                          <a:lnTo>
                            <a:pt x="511" y="68"/>
                          </a:lnTo>
                          <a:lnTo>
                            <a:pt x="541" y="95"/>
                          </a:lnTo>
                          <a:lnTo>
                            <a:pt x="569" y="127"/>
                          </a:lnTo>
                          <a:lnTo>
                            <a:pt x="548" y="167"/>
                          </a:lnTo>
                          <a:lnTo>
                            <a:pt x="532" y="209"/>
                          </a:lnTo>
                          <a:lnTo>
                            <a:pt x="520" y="253"/>
                          </a:lnTo>
                          <a:lnTo>
                            <a:pt x="512" y="299"/>
                          </a:lnTo>
                          <a:lnTo>
                            <a:pt x="510" y="346"/>
                          </a:lnTo>
                          <a:lnTo>
                            <a:pt x="512" y="395"/>
                          </a:lnTo>
                          <a:lnTo>
                            <a:pt x="521" y="442"/>
                          </a:lnTo>
                          <a:lnTo>
                            <a:pt x="534" y="488"/>
                          </a:lnTo>
                          <a:lnTo>
                            <a:pt x="551" y="531"/>
                          </a:lnTo>
                          <a:lnTo>
                            <a:pt x="521" y="561"/>
                          </a:lnTo>
                          <a:lnTo>
                            <a:pt x="486" y="588"/>
                          </a:lnTo>
                          <a:lnTo>
                            <a:pt x="448" y="608"/>
                          </a:lnTo>
                          <a:lnTo>
                            <a:pt x="407" y="624"/>
                          </a:lnTo>
                          <a:lnTo>
                            <a:pt x="363" y="633"/>
                          </a:lnTo>
                          <a:lnTo>
                            <a:pt x="316" y="637"/>
                          </a:lnTo>
                          <a:lnTo>
                            <a:pt x="274" y="635"/>
                          </a:lnTo>
                          <a:lnTo>
                            <a:pt x="232" y="626"/>
                          </a:lnTo>
                          <a:lnTo>
                            <a:pt x="193" y="612"/>
                          </a:lnTo>
                          <a:lnTo>
                            <a:pt x="156" y="594"/>
                          </a:lnTo>
                          <a:lnTo>
                            <a:pt x="123" y="571"/>
                          </a:lnTo>
                          <a:lnTo>
                            <a:pt x="92" y="544"/>
                          </a:lnTo>
                          <a:lnTo>
                            <a:pt x="66" y="513"/>
                          </a:lnTo>
                          <a:lnTo>
                            <a:pt x="43" y="479"/>
                          </a:lnTo>
                          <a:lnTo>
                            <a:pt x="25" y="442"/>
                          </a:lnTo>
                          <a:lnTo>
                            <a:pt x="10" y="403"/>
                          </a:lnTo>
                          <a:lnTo>
                            <a:pt x="2" y="361"/>
                          </a:lnTo>
                          <a:lnTo>
                            <a:pt x="0" y="319"/>
                          </a:lnTo>
                          <a:lnTo>
                            <a:pt x="3" y="272"/>
                          </a:lnTo>
                          <a:lnTo>
                            <a:pt x="13" y="226"/>
                          </a:lnTo>
                          <a:lnTo>
                            <a:pt x="29" y="184"/>
                          </a:lnTo>
                          <a:lnTo>
                            <a:pt x="51" y="145"/>
                          </a:lnTo>
                          <a:lnTo>
                            <a:pt x="77" y="109"/>
                          </a:lnTo>
                          <a:lnTo>
                            <a:pt x="108" y="77"/>
                          </a:lnTo>
                          <a:lnTo>
                            <a:pt x="144" y="51"/>
                          </a:lnTo>
                          <a:lnTo>
                            <a:pt x="183" y="29"/>
                          </a:lnTo>
                          <a:lnTo>
                            <a:pt x="225" y="13"/>
                          </a:lnTo>
                          <a:lnTo>
                            <a:pt x="269" y="3"/>
                          </a:lnTo>
                          <a:lnTo>
                            <a:pt x="31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22" name="Freeform 669">
                      <a:extLst>
                        <a:ext uri="{FF2B5EF4-FFF2-40B4-BE49-F238E27FC236}">
                          <a16:creationId xmlns:a16="http://schemas.microsoft.com/office/drawing/2014/main" id="{A673045B-5404-4A6E-97E2-BCD75016D546}"/>
                        </a:ext>
                      </a:extLst>
                    </p:cNvPr>
                    <p:cNvSpPr>
                      <a:spLocks/>
                    </p:cNvSpPr>
                    <p:nvPr/>
                  </p:nvSpPr>
                  <p:spPr bwMode="auto">
                    <a:xfrm>
                      <a:off x="-1328738" y="1466850"/>
                      <a:ext cx="166688" cy="549275"/>
                    </a:xfrm>
                    <a:custGeom>
                      <a:avLst/>
                      <a:gdLst>
                        <a:gd name="T0" fmla="*/ 375 w 735"/>
                        <a:gd name="T1" fmla="*/ 0 h 2422"/>
                        <a:gd name="T2" fmla="*/ 514 w 735"/>
                        <a:gd name="T3" fmla="*/ 0 h 2422"/>
                        <a:gd name="T4" fmla="*/ 605 w 735"/>
                        <a:gd name="T5" fmla="*/ 0 h 2422"/>
                        <a:gd name="T6" fmla="*/ 554 w 735"/>
                        <a:gd name="T7" fmla="*/ 47 h 2422"/>
                        <a:gd name="T8" fmla="*/ 517 w 735"/>
                        <a:gd name="T9" fmla="*/ 106 h 2422"/>
                        <a:gd name="T10" fmla="*/ 497 w 735"/>
                        <a:gd name="T11" fmla="*/ 173 h 2422"/>
                        <a:gd name="T12" fmla="*/ 494 w 735"/>
                        <a:gd name="T13" fmla="*/ 1465 h 2422"/>
                        <a:gd name="T14" fmla="*/ 506 w 735"/>
                        <a:gd name="T15" fmla="*/ 1543 h 2422"/>
                        <a:gd name="T16" fmla="*/ 540 w 735"/>
                        <a:gd name="T17" fmla="*/ 1612 h 2422"/>
                        <a:gd name="T18" fmla="*/ 592 w 735"/>
                        <a:gd name="T19" fmla="*/ 1667 h 2422"/>
                        <a:gd name="T20" fmla="*/ 657 w 735"/>
                        <a:gd name="T21" fmla="*/ 1704 h 2422"/>
                        <a:gd name="T22" fmla="*/ 735 w 735"/>
                        <a:gd name="T23" fmla="*/ 1721 h 2422"/>
                        <a:gd name="T24" fmla="*/ 714 w 735"/>
                        <a:gd name="T25" fmla="*/ 2398 h 2422"/>
                        <a:gd name="T26" fmla="*/ 664 w 735"/>
                        <a:gd name="T27" fmla="*/ 2419 h 2422"/>
                        <a:gd name="T28" fmla="*/ 608 w 735"/>
                        <a:gd name="T29" fmla="*/ 2419 h 2422"/>
                        <a:gd name="T30" fmla="*/ 559 w 735"/>
                        <a:gd name="T31" fmla="*/ 2399 h 2422"/>
                        <a:gd name="T32" fmla="*/ 522 w 735"/>
                        <a:gd name="T33" fmla="*/ 2362 h 2422"/>
                        <a:gd name="T34" fmla="*/ 502 w 735"/>
                        <a:gd name="T35" fmla="*/ 2311 h 2422"/>
                        <a:gd name="T36" fmla="*/ 495 w 735"/>
                        <a:gd name="T37" fmla="*/ 2284 h 2422"/>
                        <a:gd name="T38" fmla="*/ 484 w 735"/>
                        <a:gd name="T39" fmla="*/ 2338 h 2422"/>
                        <a:gd name="T40" fmla="*/ 455 w 735"/>
                        <a:gd name="T41" fmla="*/ 2381 h 2422"/>
                        <a:gd name="T42" fmla="*/ 411 w 735"/>
                        <a:gd name="T43" fmla="*/ 2411 h 2422"/>
                        <a:gd name="T44" fmla="*/ 358 w 735"/>
                        <a:gd name="T45" fmla="*/ 2422 h 2422"/>
                        <a:gd name="T46" fmla="*/ 304 w 735"/>
                        <a:gd name="T47" fmla="*/ 2411 h 2422"/>
                        <a:gd name="T48" fmla="*/ 260 w 735"/>
                        <a:gd name="T49" fmla="*/ 2381 h 2422"/>
                        <a:gd name="T50" fmla="*/ 231 w 735"/>
                        <a:gd name="T51" fmla="*/ 2338 h 2422"/>
                        <a:gd name="T52" fmla="*/ 220 w 735"/>
                        <a:gd name="T53" fmla="*/ 2284 h 2422"/>
                        <a:gd name="T54" fmla="*/ 202 w 735"/>
                        <a:gd name="T55" fmla="*/ 1413 h 2422"/>
                        <a:gd name="T56" fmla="*/ 160 w 735"/>
                        <a:gd name="T57" fmla="*/ 1428 h 2422"/>
                        <a:gd name="T58" fmla="*/ 110 w 735"/>
                        <a:gd name="T59" fmla="*/ 1426 h 2422"/>
                        <a:gd name="T60" fmla="*/ 61 w 735"/>
                        <a:gd name="T61" fmla="*/ 1406 h 2422"/>
                        <a:gd name="T62" fmla="*/ 24 w 735"/>
                        <a:gd name="T63" fmla="*/ 1369 h 2422"/>
                        <a:gd name="T64" fmla="*/ 3 w 735"/>
                        <a:gd name="T65" fmla="*/ 1319 h 2422"/>
                        <a:gd name="T66" fmla="*/ 0 w 735"/>
                        <a:gd name="T67" fmla="*/ 138 h 2422"/>
                        <a:gd name="T68" fmla="*/ 11 w 735"/>
                        <a:gd name="T69" fmla="*/ 85 h 2422"/>
                        <a:gd name="T70" fmla="*/ 39 w 735"/>
                        <a:gd name="T71" fmla="*/ 42 h 2422"/>
                        <a:gd name="T72" fmla="*/ 82 w 735"/>
                        <a:gd name="T73" fmla="*/ 12 h 2422"/>
                        <a:gd name="T74" fmla="*/ 134 w 735"/>
                        <a:gd name="T75" fmla="*/ 1 h 2422"/>
                        <a:gd name="T76" fmla="*/ 292 w 735"/>
                        <a:gd name="T77" fmla="*/ 0 h 2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35" h="2422">
                          <a:moveTo>
                            <a:pt x="332" y="0"/>
                          </a:moveTo>
                          <a:lnTo>
                            <a:pt x="375" y="0"/>
                          </a:lnTo>
                          <a:lnTo>
                            <a:pt x="467" y="0"/>
                          </a:lnTo>
                          <a:lnTo>
                            <a:pt x="514" y="0"/>
                          </a:lnTo>
                          <a:lnTo>
                            <a:pt x="560" y="0"/>
                          </a:lnTo>
                          <a:lnTo>
                            <a:pt x="605" y="0"/>
                          </a:lnTo>
                          <a:lnTo>
                            <a:pt x="578" y="22"/>
                          </a:lnTo>
                          <a:lnTo>
                            <a:pt x="554" y="47"/>
                          </a:lnTo>
                          <a:lnTo>
                            <a:pt x="533" y="75"/>
                          </a:lnTo>
                          <a:lnTo>
                            <a:pt x="517" y="106"/>
                          </a:lnTo>
                          <a:lnTo>
                            <a:pt x="505" y="138"/>
                          </a:lnTo>
                          <a:lnTo>
                            <a:pt x="497" y="173"/>
                          </a:lnTo>
                          <a:lnTo>
                            <a:pt x="494" y="211"/>
                          </a:lnTo>
                          <a:lnTo>
                            <a:pt x="494" y="1465"/>
                          </a:lnTo>
                          <a:lnTo>
                            <a:pt x="497" y="1505"/>
                          </a:lnTo>
                          <a:lnTo>
                            <a:pt x="506" y="1543"/>
                          </a:lnTo>
                          <a:lnTo>
                            <a:pt x="520" y="1579"/>
                          </a:lnTo>
                          <a:lnTo>
                            <a:pt x="540" y="1612"/>
                          </a:lnTo>
                          <a:lnTo>
                            <a:pt x="564" y="1641"/>
                          </a:lnTo>
                          <a:lnTo>
                            <a:pt x="592" y="1667"/>
                          </a:lnTo>
                          <a:lnTo>
                            <a:pt x="624" y="1688"/>
                          </a:lnTo>
                          <a:lnTo>
                            <a:pt x="657" y="1704"/>
                          </a:lnTo>
                          <a:lnTo>
                            <a:pt x="695" y="1716"/>
                          </a:lnTo>
                          <a:lnTo>
                            <a:pt x="735" y="1721"/>
                          </a:lnTo>
                          <a:lnTo>
                            <a:pt x="735" y="2381"/>
                          </a:lnTo>
                          <a:lnTo>
                            <a:pt x="714" y="2398"/>
                          </a:lnTo>
                          <a:lnTo>
                            <a:pt x="690" y="2411"/>
                          </a:lnTo>
                          <a:lnTo>
                            <a:pt x="664" y="2419"/>
                          </a:lnTo>
                          <a:lnTo>
                            <a:pt x="637" y="2422"/>
                          </a:lnTo>
                          <a:lnTo>
                            <a:pt x="608" y="2419"/>
                          </a:lnTo>
                          <a:lnTo>
                            <a:pt x="583" y="2411"/>
                          </a:lnTo>
                          <a:lnTo>
                            <a:pt x="559" y="2399"/>
                          </a:lnTo>
                          <a:lnTo>
                            <a:pt x="539" y="2381"/>
                          </a:lnTo>
                          <a:lnTo>
                            <a:pt x="522" y="2362"/>
                          </a:lnTo>
                          <a:lnTo>
                            <a:pt x="509" y="2338"/>
                          </a:lnTo>
                          <a:lnTo>
                            <a:pt x="502" y="2311"/>
                          </a:lnTo>
                          <a:lnTo>
                            <a:pt x="498" y="2284"/>
                          </a:lnTo>
                          <a:lnTo>
                            <a:pt x="495" y="2284"/>
                          </a:lnTo>
                          <a:lnTo>
                            <a:pt x="492" y="2311"/>
                          </a:lnTo>
                          <a:lnTo>
                            <a:pt x="484" y="2338"/>
                          </a:lnTo>
                          <a:lnTo>
                            <a:pt x="472" y="2362"/>
                          </a:lnTo>
                          <a:lnTo>
                            <a:pt x="455" y="2381"/>
                          </a:lnTo>
                          <a:lnTo>
                            <a:pt x="434" y="2399"/>
                          </a:lnTo>
                          <a:lnTo>
                            <a:pt x="411" y="2411"/>
                          </a:lnTo>
                          <a:lnTo>
                            <a:pt x="385" y="2419"/>
                          </a:lnTo>
                          <a:lnTo>
                            <a:pt x="358" y="2422"/>
                          </a:lnTo>
                          <a:lnTo>
                            <a:pt x="330" y="2419"/>
                          </a:lnTo>
                          <a:lnTo>
                            <a:pt x="304" y="2411"/>
                          </a:lnTo>
                          <a:lnTo>
                            <a:pt x="281" y="2399"/>
                          </a:lnTo>
                          <a:lnTo>
                            <a:pt x="260" y="2381"/>
                          </a:lnTo>
                          <a:lnTo>
                            <a:pt x="244" y="2362"/>
                          </a:lnTo>
                          <a:lnTo>
                            <a:pt x="231" y="2338"/>
                          </a:lnTo>
                          <a:lnTo>
                            <a:pt x="223" y="2311"/>
                          </a:lnTo>
                          <a:lnTo>
                            <a:pt x="220" y="2284"/>
                          </a:lnTo>
                          <a:lnTo>
                            <a:pt x="220" y="1401"/>
                          </a:lnTo>
                          <a:lnTo>
                            <a:pt x="202" y="1413"/>
                          </a:lnTo>
                          <a:lnTo>
                            <a:pt x="182" y="1422"/>
                          </a:lnTo>
                          <a:lnTo>
                            <a:pt x="160" y="1428"/>
                          </a:lnTo>
                          <a:lnTo>
                            <a:pt x="138" y="1430"/>
                          </a:lnTo>
                          <a:lnTo>
                            <a:pt x="110" y="1426"/>
                          </a:lnTo>
                          <a:lnTo>
                            <a:pt x="84" y="1419"/>
                          </a:lnTo>
                          <a:lnTo>
                            <a:pt x="61" y="1406"/>
                          </a:lnTo>
                          <a:lnTo>
                            <a:pt x="40" y="1389"/>
                          </a:lnTo>
                          <a:lnTo>
                            <a:pt x="24" y="1369"/>
                          </a:lnTo>
                          <a:lnTo>
                            <a:pt x="11" y="1346"/>
                          </a:lnTo>
                          <a:lnTo>
                            <a:pt x="3" y="1319"/>
                          </a:lnTo>
                          <a:lnTo>
                            <a:pt x="0" y="1291"/>
                          </a:lnTo>
                          <a:lnTo>
                            <a:pt x="0" y="138"/>
                          </a:lnTo>
                          <a:lnTo>
                            <a:pt x="2" y="111"/>
                          </a:lnTo>
                          <a:lnTo>
                            <a:pt x="11" y="85"/>
                          </a:lnTo>
                          <a:lnTo>
                            <a:pt x="23" y="62"/>
                          </a:lnTo>
                          <a:lnTo>
                            <a:pt x="39" y="42"/>
                          </a:lnTo>
                          <a:lnTo>
                            <a:pt x="59" y="25"/>
                          </a:lnTo>
                          <a:lnTo>
                            <a:pt x="82" y="12"/>
                          </a:lnTo>
                          <a:lnTo>
                            <a:pt x="107" y="4"/>
                          </a:lnTo>
                          <a:lnTo>
                            <a:pt x="134" y="1"/>
                          </a:lnTo>
                          <a:lnTo>
                            <a:pt x="134" y="0"/>
                          </a:lnTo>
                          <a:lnTo>
                            <a:pt x="292" y="0"/>
                          </a:lnTo>
                          <a:lnTo>
                            <a:pt x="33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23" name="Freeform 670">
                      <a:extLst>
                        <a:ext uri="{FF2B5EF4-FFF2-40B4-BE49-F238E27FC236}">
                          <a16:creationId xmlns:a16="http://schemas.microsoft.com/office/drawing/2014/main" id="{155D2F0E-36D8-4BCD-92D6-1B1C1CEEE85D}"/>
                        </a:ext>
                      </a:extLst>
                    </p:cNvPr>
                    <p:cNvSpPr>
                      <a:spLocks/>
                    </p:cNvSpPr>
                    <p:nvPr/>
                  </p:nvSpPr>
                  <p:spPr bwMode="auto">
                    <a:xfrm>
                      <a:off x="-981076" y="1311275"/>
                      <a:ext cx="128588" cy="144462"/>
                    </a:xfrm>
                    <a:custGeom>
                      <a:avLst/>
                      <a:gdLst>
                        <a:gd name="T0" fmla="*/ 252 w 569"/>
                        <a:gd name="T1" fmla="*/ 0 h 637"/>
                        <a:gd name="T2" fmla="*/ 299 w 569"/>
                        <a:gd name="T3" fmla="*/ 3 h 637"/>
                        <a:gd name="T4" fmla="*/ 344 w 569"/>
                        <a:gd name="T5" fmla="*/ 13 h 637"/>
                        <a:gd name="T6" fmla="*/ 385 w 569"/>
                        <a:gd name="T7" fmla="*/ 29 h 637"/>
                        <a:gd name="T8" fmla="*/ 425 w 569"/>
                        <a:gd name="T9" fmla="*/ 51 h 637"/>
                        <a:gd name="T10" fmla="*/ 461 w 569"/>
                        <a:gd name="T11" fmla="*/ 77 h 637"/>
                        <a:gd name="T12" fmla="*/ 492 w 569"/>
                        <a:gd name="T13" fmla="*/ 109 h 637"/>
                        <a:gd name="T14" fmla="*/ 518 w 569"/>
                        <a:gd name="T15" fmla="*/ 145 h 637"/>
                        <a:gd name="T16" fmla="*/ 540 w 569"/>
                        <a:gd name="T17" fmla="*/ 184 h 637"/>
                        <a:gd name="T18" fmla="*/ 556 w 569"/>
                        <a:gd name="T19" fmla="*/ 226 h 637"/>
                        <a:gd name="T20" fmla="*/ 566 w 569"/>
                        <a:gd name="T21" fmla="*/ 272 h 637"/>
                        <a:gd name="T22" fmla="*/ 569 w 569"/>
                        <a:gd name="T23" fmla="*/ 319 h 637"/>
                        <a:gd name="T24" fmla="*/ 567 w 569"/>
                        <a:gd name="T25" fmla="*/ 361 h 637"/>
                        <a:gd name="T26" fmla="*/ 558 w 569"/>
                        <a:gd name="T27" fmla="*/ 403 h 637"/>
                        <a:gd name="T28" fmla="*/ 544 w 569"/>
                        <a:gd name="T29" fmla="*/ 442 h 637"/>
                        <a:gd name="T30" fmla="*/ 526 w 569"/>
                        <a:gd name="T31" fmla="*/ 479 h 637"/>
                        <a:gd name="T32" fmla="*/ 503 w 569"/>
                        <a:gd name="T33" fmla="*/ 513 h 637"/>
                        <a:gd name="T34" fmla="*/ 477 w 569"/>
                        <a:gd name="T35" fmla="*/ 544 h 637"/>
                        <a:gd name="T36" fmla="*/ 446 w 569"/>
                        <a:gd name="T37" fmla="*/ 571 h 637"/>
                        <a:gd name="T38" fmla="*/ 413 w 569"/>
                        <a:gd name="T39" fmla="*/ 594 h 637"/>
                        <a:gd name="T40" fmla="*/ 376 w 569"/>
                        <a:gd name="T41" fmla="*/ 612 h 637"/>
                        <a:gd name="T42" fmla="*/ 336 w 569"/>
                        <a:gd name="T43" fmla="*/ 626 h 637"/>
                        <a:gd name="T44" fmla="*/ 295 w 569"/>
                        <a:gd name="T45" fmla="*/ 635 h 637"/>
                        <a:gd name="T46" fmla="*/ 252 w 569"/>
                        <a:gd name="T47" fmla="*/ 637 h 637"/>
                        <a:gd name="T48" fmla="*/ 206 w 569"/>
                        <a:gd name="T49" fmla="*/ 633 h 637"/>
                        <a:gd name="T50" fmla="*/ 162 w 569"/>
                        <a:gd name="T51" fmla="*/ 624 h 637"/>
                        <a:gd name="T52" fmla="*/ 121 w 569"/>
                        <a:gd name="T53" fmla="*/ 608 h 637"/>
                        <a:gd name="T54" fmla="*/ 83 w 569"/>
                        <a:gd name="T55" fmla="*/ 588 h 637"/>
                        <a:gd name="T56" fmla="*/ 48 w 569"/>
                        <a:gd name="T57" fmla="*/ 561 h 637"/>
                        <a:gd name="T58" fmla="*/ 18 w 569"/>
                        <a:gd name="T59" fmla="*/ 532 h 637"/>
                        <a:gd name="T60" fmla="*/ 35 w 569"/>
                        <a:gd name="T61" fmla="*/ 488 h 637"/>
                        <a:gd name="T62" fmla="*/ 48 w 569"/>
                        <a:gd name="T63" fmla="*/ 443 h 637"/>
                        <a:gd name="T64" fmla="*/ 57 w 569"/>
                        <a:gd name="T65" fmla="*/ 395 h 637"/>
                        <a:gd name="T66" fmla="*/ 60 w 569"/>
                        <a:gd name="T67" fmla="*/ 346 h 637"/>
                        <a:gd name="T68" fmla="*/ 57 w 569"/>
                        <a:gd name="T69" fmla="*/ 299 h 637"/>
                        <a:gd name="T70" fmla="*/ 49 w 569"/>
                        <a:gd name="T71" fmla="*/ 253 h 637"/>
                        <a:gd name="T72" fmla="*/ 37 w 569"/>
                        <a:gd name="T73" fmla="*/ 209 h 637"/>
                        <a:gd name="T74" fmla="*/ 21 w 569"/>
                        <a:gd name="T75" fmla="*/ 166 h 637"/>
                        <a:gd name="T76" fmla="*/ 0 w 569"/>
                        <a:gd name="T77" fmla="*/ 125 h 637"/>
                        <a:gd name="T78" fmla="*/ 27 w 569"/>
                        <a:gd name="T79" fmla="*/ 95 h 637"/>
                        <a:gd name="T80" fmla="*/ 58 w 569"/>
                        <a:gd name="T81" fmla="*/ 68 h 637"/>
                        <a:gd name="T82" fmla="*/ 92 w 569"/>
                        <a:gd name="T83" fmla="*/ 45 h 637"/>
                        <a:gd name="T84" fmla="*/ 128 w 569"/>
                        <a:gd name="T85" fmla="*/ 25 h 637"/>
                        <a:gd name="T86" fmla="*/ 167 w 569"/>
                        <a:gd name="T87" fmla="*/ 12 h 637"/>
                        <a:gd name="T88" fmla="*/ 209 w 569"/>
                        <a:gd name="T89" fmla="*/ 3 h 637"/>
                        <a:gd name="T90" fmla="*/ 252 w 569"/>
                        <a:gd name="T91" fmla="*/ 0 h 6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69" h="637">
                          <a:moveTo>
                            <a:pt x="252" y="0"/>
                          </a:moveTo>
                          <a:lnTo>
                            <a:pt x="299" y="3"/>
                          </a:lnTo>
                          <a:lnTo>
                            <a:pt x="344" y="13"/>
                          </a:lnTo>
                          <a:lnTo>
                            <a:pt x="385" y="29"/>
                          </a:lnTo>
                          <a:lnTo>
                            <a:pt x="425" y="51"/>
                          </a:lnTo>
                          <a:lnTo>
                            <a:pt x="461" y="77"/>
                          </a:lnTo>
                          <a:lnTo>
                            <a:pt x="492" y="109"/>
                          </a:lnTo>
                          <a:lnTo>
                            <a:pt x="518" y="145"/>
                          </a:lnTo>
                          <a:lnTo>
                            <a:pt x="540" y="184"/>
                          </a:lnTo>
                          <a:lnTo>
                            <a:pt x="556" y="226"/>
                          </a:lnTo>
                          <a:lnTo>
                            <a:pt x="566" y="272"/>
                          </a:lnTo>
                          <a:lnTo>
                            <a:pt x="569" y="319"/>
                          </a:lnTo>
                          <a:lnTo>
                            <a:pt x="567" y="361"/>
                          </a:lnTo>
                          <a:lnTo>
                            <a:pt x="558" y="403"/>
                          </a:lnTo>
                          <a:lnTo>
                            <a:pt x="544" y="442"/>
                          </a:lnTo>
                          <a:lnTo>
                            <a:pt x="526" y="479"/>
                          </a:lnTo>
                          <a:lnTo>
                            <a:pt x="503" y="513"/>
                          </a:lnTo>
                          <a:lnTo>
                            <a:pt x="477" y="544"/>
                          </a:lnTo>
                          <a:lnTo>
                            <a:pt x="446" y="571"/>
                          </a:lnTo>
                          <a:lnTo>
                            <a:pt x="413" y="594"/>
                          </a:lnTo>
                          <a:lnTo>
                            <a:pt x="376" y="612"/>
                          </a:lnTo>
                          <a:lnTo>
                            <a:pt x="336" y="626"/>
                          </a:lnTo>
                          <a:lnTo>
                            <a:pt x="295" y="635"/>
                          </a:lnTo>
                          <a:lnTo>
                            <a:pt x="252" y="637"/>
                          </a:lnTo>
                          <a:lnTo>
                            <a:pt x="206" y="633"/>
                          </a:lnTo>
                          <a:lnTo>
                            <a:pt x="162" y="624"/>
                          </a:lnTo>
                          <a:lnTo>
                            <a:pt x="121" y="608"/>
                          </a:lnTo>
                          <a:lnTo>
                            <a:pt x="83" y="588"/>
                          </a:lnTo>
                          <a:lnTo>
                            <a:pt x="48" y="561"/>
                          </a:lnTo>
                          <a:lnTo>
                            <a:pt x="18" y="532"/>
                          </a:lnTo>
                          <a:lnTo>
                            <a:pt x="35" y="488"/>
                          </a:lnTo>
                          <a:lnTo>
                            <a:pt x="48" y="443"/>
                          </a:lnTo>
                          <a:lnTo>
                            <a:pt x="57" y="395"/>
                          </a:lnTo>
                          <a:lnTo>
                            <a:pt x="60" y="346"/>
                          </a:lnTo>
                          <a:lnTo>
                            <a:pt x="57" y="299"/>
                          </a:lnTo>
                          <a:lnTo>
                            <a:pt x="49" y="253"/>
                          </a:lnTo>
                          <a:lnTo>
                            <a:pt x="37" y="209"/>
                          </a:lnTo>
                          <a:lnTo>
                            <a:pt x="21" y="166"/>
                          </a:lnTo>
                          <a:lnTo>
                            <a:pt x="0" y="125"/>
                          </a:lnTo>
                          <a:lnTo>
                            <a:pt x="27" y="95"/>
                          </a:lnTo>
                          <a:lnTo>
                            <a:pt x="58" y="68"/>
                          </a:lnTo>
                          <a:lnTo>
                            <a:pt x="92" y="45"/>
                          </a:lnTo>
                          <a:lnTo>
                            <a:pt x="128" y="25"/>
                          </a:lnTo>
                          <a:lnTo>
                            <a:pt x="167" y="12"/>
                          </a:lnTo>
                          <a:lnTo>
                            <a:pt x="209" y="3"/>
                          </a:lnTo>
                          <a:lnTo>
                            <a:pt x="25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24" name="Freeform 671">
                      <a:extLst>
                        <a:ext uri="{FF2B5EF4-FFF2-40B4-BE49-F238E27FC236}">
                          <a16:creationId xmlns:a16="http://schemas.microsoft.com/office/drawing/2014/main" id="{2BA30816-E5CC-4CA1-A76F-065878A009EB}"/>
                        </a:ext>
                      </a:extLst>
                    </p:cNvPr>
                    <p:cNvSpPr>
                      <a:spLocks/>
                    </p:cNvSpPr>
                    <p:nvPr/>
                  </p:nvSpPr>
                  <p:spPr bwMode="auto">
                    <a:xfrm>
                      <a:off x="-977901" y="1466850"/>
                      <a:ext cx="166688" cy="549275"/>
                    </a:xfrm>
                    <a:custGeom>
                      <a:avLst/>
                      <a:gdLst>
                        <a:gd name="T0" fmla="*/ 514 w 734"/>
                        <a:gd name="T1" fmla="*/ 0 h 2422"/>
                        <a:gd name="T2" fmla="*/ 584 w 734"/>
                        <a:gd name="T3" fmla="*/ 0 h 2422"/>
                        <a:gd name="T4" fmla="*/ 599 w 734"/>
                        <a:gd name="T5" fmla="*/ 0 h 2422"/>
                        <a:gd name="T6" fmla="*/ 626 w 734"/>
                        <a:gd name="T7" fmla="*/ 4 h 2422"/>
                        <a:gd name="T8" fmla="*/ 675 w 734"/>
                        <a:gd name="T9" fmla="*/ 25 h 2422"/>
                        <a:gd name="T10" fmla="*/ 711 w 734"/>
                        <a:gd name="T11" fmla="*/ 62 h 2422"/>
                        <a:gd name="T12" fmla="*/ 731 w 734"/>
                        <a:gd name="T13" fmla="*/ 111 h 2422"/>
                        <a:gd name="T14" fmla="*/ 734 w 734"/>
                        <a:gd name="T15" fmla="*/ 1291 h 2422"/>
                        <a:gd name="T16" fmla="*/ 723 w 734"/>
                        <a:gd name="T17" fmla="*/ 1346 h 2422"/>
                        <a:gd name="T18" fmla="*/ 694 w 734"/>
                        <a:gd name="T19" fmla="*/ 1389 h 2422"/>
                        <a:gd name="T20" fmla="*/ 650 w 734"/>
                        <a:gd name="T21" fmla="*/ 1419 h 2422"/>
                        <a:gd name="T22" fmla="*/ 597 w 734"/>
                        <a:gd name="T23" fmla="*/ 1430 h 2422"/>
                        <a:gd name="T24" fmla="*/ 552 w 734"/>
                        <a:gd name="T25" fmla="*/ 1422 h 2422"/>
                        <a:gd name="T26" fmla="*/ 513 w 734"/>
                        <a:gd name="T27" fmla="*/ 1401 h 2422"/>
                        <a:gd name="T28" fmla="*/ 511 w 734"/>
                        <a:gd name="T29" fmla="*/ 2311 h 2422"/>
                        <a:gd name="T30" fmla="*/ 490 w 734"/>
                        <a:gd name="T31" fmla="*/ 2362 h 2422"/>
                        <a:gd name="T32" fmla="*/ 453 w 734"/>
                        <a:gd name="T33" fmla="*/ 2399 h 2422"/>
                        <a:gd name="T34" fmla="*/ 404 w 734"/>
                        <a:gd name="T35" fmla="*/ 2419 h 2422"/>
                        <a:gd name="T36" fmla="*/ 349 w 734"/>
                        <a:gd name="T37" fmla="*/ 2419 h 2422"/>
                        <a:gd name="T38" fmla="*/ 300 w 734"/>
                        <a:gd name="T39" fmla="*/ 2399 h 2422"/>
                        <a:gd name="T40" fmla="*/ 263 w 734"/>
                        <a:gd name="T41" fmla="*/ 2362 h 2422"/>
                        <a:gd name="T42" fmla="*/ 242 w 734"/>
                        <a:gd name="T43" fmla="*/ 2311 h 2422"/>
                        <a:gd name="T44" fmla="*/ 236 w 734"/>
                        <a:gd name="T45" fmla="*/ 2284 h 2422"/>
                        <a:gd name="T46" fmla="*/ 225 w 734"/>
                        <a:gd name="T47" fmla="*/ 2338 h 2422"/>
                        <a:gd name="T48" fmla="*/ 194 w 734"/>
                        <a:gd name="T49" fmla="*/ 2381 h 2422"/>
                        <a:gd name="T50" fmla="*/ 151 w 734"/>
                        <a:gd name="T51" fmla="*/ 2411 h 2422"/>
                        <a:gd name="T52" fmla="*/ 97 w 734"/>
                        <a:gd name="T53" fmla="*/ 2422 h 2422"/>
                        <a:gd name="T54" fmla="*/ 44 w 734"/>
                        <a:gd name="T55" fmla="*/ 2411 h 2422"/>
                        <a:gd name="T56" fmla="*/ 0 w 734"/>
                        <a:gd name="T57" fmla="*/ 2381 h 2422"/>
                        <a:gd name="T58" fmla="*/ 40 w 734"/>
                        <a:gd name="T59" fmla="*/ 1716 h 2422"/>
                        <a:gd name="T60" fmla="*/ 110 w 734"/>
                        <a:gd name="T61" fmla="*/ 1688 h 2422"/>
                        <a:gd name="T62" fmla="*/ 170 w 734"/>
                        <a:gd name="T63" fmla="*/ 1641 h 2422"/>
                        <a:gd name="T64" fmla="*/ 213 w 734"/>
                        <a:gd name="T65" fmla="*/ 1578 h 2422"/>
                        <a:gd name="T66" fmla="*/ 237 w 734"/>
                        <a:gd name="T67" fmla="*/ 1505 h 2422"/>
                        <a:gd name="T68" fmla="*/ 239 w 734"/>
                        <a:gd name="T69" fmla="*/ 211 h 2422"/>
                        <a:gd name="T70" fmla="*/ 229 w 734"/>
                        <a:gd name="T71" fmla="*/ 138 h 2422"/>
                        <a:gd name="T72" fmla="*/ 201 w 734"/>
                        <a:gd name="T73" fmla="*/ 75 h 2422"/>
                        <a:gd name="T74" fmla="*/ 157 w 734"/>
                        <a:gd name="T75" fmla="*/ 22 h 2422"/>
                        <a:gd name="T76" fmla="*/ 442 w 734"/>
                        <a:gd name="T77" fmla="*/ 0 h 2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34" h="2422">
                          <a:moveTo>
                            <a:pt x="480" y="0"/>
                          </a:moveTo>
                          <a:lnTo>
                            <a:pt x="514" y="0"/>
                          </a:lnTo>
                          <a:lnTo>
                            <a:pt x="566" y="0"/>
                          </a:lnTo>
                          <a:lnTo>
                            <a:pt x="584" y="0"/>
                          </a:lnTo>
                          <a:lnTo>
                            <a:pt x="596" y="0"/>
                          </a:lnTo>
                          <a:lnTo>
                            <a:pt x="599" y="0"/>
                          </a:lnTo>
                          <a:lnTo>
                            <a:pt x="599" y="1"/>
                          </a:lnTo>
                          <a:lnTo>
                            <a:pt x="626" y="4"/>
                          </a:lnTo>
                          <a:lnTo>
                            <a:pt x="652" y="12"/>
                          </a:lnTo>
                          <a:lnTo>
                            <a:pt x="675" y="25"/>
                          </a:lnTo>
                          <a:lnTo>
                            <a:pt x="695" y="42"/>
                          </a:lnTo>
                          <a:lnTo>
                            <a:pt x="711" y="62"/>
                          </a:lnTo>
                          <a:lnTo>
                            <a:pt x="723" y="85"/>
                          </a:lnTo>
                          <a:lnTo>
                            <a:pt x="731" y="111"/>
                          </a:lnTo>
                          <a:lnTo>
                            <a:pt x="734" y="138"/>
                          </a:lnTo>
                          <a:lnTo>
                            <a:pt x="734" y="1291"/>
                          </a:lnTo>
                          <a:lnTo>
                            <a:pt x="731" y="1319"/>
                          </a:lnTo>
                          <a:lnTo>
                            <a:pt x="723" y="1346"/>
                          </a:lnTo>
                          <a:lnTo>
                            <a:pt x="710" y="1369"/>
                          </a:lnTo>
                          <a:lnTo>
                            <a:pt x="694" y="1389"/>
                          </a:lnTo>
                          <a:lnTo>
                            <a:pt x="673" y="1406"/>
                          </a:lnTo>
                          <a:lnTo>
                            <a:pt x="650" y="1419"/>
                          </a:lnTo>
                          <a:lnTo>
                            <a:pt x="624" y="1426"/>
                          </a:lnTo>
                          <a:lnTo>
                            <a:pt x="597" y="1430"/>
                          </a:lnTo>
                          <a:lnTo>
                            <a:pt x="574" y="1428"/>
                          </a:lnTo>
                          <a:lnTo>
                            <a:pt x="552" y="1422"/>
                          </a:lnTo>
                          <a:lnTo>
                            <a:pt x="532" y="1413"/>
                          </a:lnTo>
                          <a:lnTo>
                            <a:pt x="513" y="1401"/>
                          </a:lnTo>
                          <a:lnTo>
                            <a:pt x="513" y="2284"/>
                          </a:lnTo>
                          <a:lnTo>
                            <a:pt x="511" y="2311"/>
                          </a:lnTo>
                          <a:lnTo>
                            <a:pt x="503" y="2338"/>
                          </a:lnTo>
                          <a:lnTo>
                            <a:pt x="490" y="2362"/>
                          </a:lnTo>
                          <a:lnTo>
                            <a:pt x="474" y="2381"/>
                          </a:lnTo>
                          <a:lnTo>
                            <a:pt x="453" y="2399"/>
                          </a:lnTo>
                          <a:lnTo>
                            <a:pt x="430" y="2411"/>
                          </a:lnTo>
                          <a:lnTo>
                            <a:pt x="404" y="2419"/>
                          </a:lnTo>
                          <a:lnTo>
                            <a:pt x="376" y="2422"/>
                          </a:lnTo>
                          <a:lnTo>
                            <a:pt x="349" y="2419"/>
                          </a:lnTo>
                          <a:lnTo>
                            <a:pt x="323" y="2411"/>
                          </a:lnTo>
                          <a:lnTo>
                            <a:pt x="300" y="2399"/>
                          </a:lnTo>
                          <a:lnTo>
                            <a:pt x="279" y="2381"/>
                          </a:lnTo>
                          <a:lnTo>
                            <a:pt x="263" y="2362"/>
                          </a:lnTo>
                          <a:lnTo>
                            <a:pt x="250" y="2338"/>
                          </a:lnTo>
                          <a:lnTo>
                            <a:pt x="242" y="2311"/>
                          </a:lnTo>
                          <a:lnTo>
                            <a:pt x="239" y="2284"/>
                          </a:lnTo>
                          <a:lnTo>
                            <a:pt x="236" y="2284"/>
                          </a:lnTo>
                          <a:lnTo>
                            <a:pt x="232" y="2311"/>
                          </a:lnTo>
                          <a:lnTo>
                            <a:pt x="225" y="2338"/>
                          </a:lnTo>
                          <a:lnTo>
                            <a:pt x="212" y="2362"/>
                          </a:lnTo>
                          <a:lnTo>
                            <a:pt x="194" y="2381"/>
                          </a:lnTo>
                          <a:lnTo>
                            <a:pt x="175" y="2399"/>
                          </a:lnTo>
                          <a:lnTo>
                            <a:pt x="151" y="2411"/>
                          </a:lnTo>
                          <a:lnTo>
                            <a:pt x="125" y="2419"/>
                          </a:lnTo>
                          <a:lnTo>
                            <a:pt x="97" y="2422"/>
                          </a:lnTo>
                          <a:lnTo>
                            <a:pt x="70" y="2419"/>
                          </a:lnTo>
                          <a:lnTo>
                            <a:pt x="44" y="2411"/>
                          </a:lnTo>
                          <a:lnTo>
                            <a:pt x="20" y="2399"/>
                          </a:lnTo>
                          <a:lnTo>
                            <a:pt x="0" y="2381"/>
                          </a:lnTo>
                          <a:lnTo>
                            <a:pt x="0" y="1721"/>
                          </a:lnTo>
                          <a:lnTo>
                            <a:pt x="40" y="1716"/>
                          </a:lnTo>
                          <a:lnTo>
                            <a:pt x="77" y="1704"/>
                          </a:lnTo>
                          <a:lnTo>
                            <a:pt x="110" y="1688"/>
                          </a:lnTo>
                          <a:lnTo>
                            <a:pt x="142" y="1667"/>
                          </a:lnTo>
                          <a:lnTo>
                            <a:pt x="170" y="1641"/>
                          </a:lnTo>
                          <a:lnTo>
                            <a:pt x="193" y="1611"/>
                          </a:lnTo>
                          <a:lnTo>
                            <a:pt x="213" y="1578"/>
                          </a:lnTo>
                          <a:lnTo>
                            <a:pt x="227" y="1543"/>
                          </a:lnTo>
                          <a:lnTo>
                            <a:pt x="237" y="1505"/>
                          </a:lnTo>
                          <a:lnTo>
                            <a:pt x="239" y="1465"/>
                          </a:lnTo>
                          <a:lnTo>
                            <a:pt x="239" y="211"/>
                          </a:lnTo>
                          <a:lnTo>
                            <a:pt x="237" y="173"/>
                          </a:lnTo>
                          <a:lnTo>
                            <a:pt x="229" y="138"/>
                          </a:lnTo>
                          <a:lnTo>
                            <a:pt x="217" y="106"/>
                          </a:lnTo>
                          <a:lnTo>
                            <a:pt x="201" y="75"/>
                          </a:lnTo>
                          <a:lnTo>
                            <a:pt x="180" y="47"/>
                          </a:lnTo>
                          <a:lnTo>
                            <a:pt x="157" y="22"/>
                          </a:lnTo>
                          <a:lnTo>
                            <a:pt x="130" y="0"/>
                          </a:lnTo>
                          <a:lnTo>
                            <a:pt x="442" y="0"/>
                          </a:lnTo>
                          <a:lnTo>
                            <a:pt x="48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grpSp>
            </p:grpSp>
          </p:grpSp>
        </p:grpSp>
        <p:grpSp>
          <p:nvGrpSpPr>
            <p:cNvPr id="7" name="Group 43">
              <a:extLst>
                <a:ext uri="{FF2B5EF4-FFF2-40B4-BE49-F238E27FC236}">
                  <a16:creationId xmlns:a16="http://schemas.microsoft.com/office/drawing/2014/main" id="{5009A0B1-CD75-4624-AFCE-6552D499E766}"/>
                </a:ext>
              </a:extLst>
            </p:cNvPr>
            <p:cNvGrpSpPr/>
            <p:nvPr/>
          </p:nvGrpSpPr>
          <p:grpSpPr>
            <a:xfrm>
              <a:off x="5609454" y="6221941"/>
              <a:ext cx="945155" cy="637647"/>
              <a:chOff x="3046125" y="6099175"/>
              <a:chExt cx="1127125" cy="760413"/>
            </a:xfrm>
          </p:grpSpPr>
          <p:sp>
            <p:nvSpPr>
              <p:cNvPr id="8" name="Freeform 17">
                <a:extLst>
                  <a:ext uri="{FF2B5EF4-FFF2-40B4-BE49-F238E27FC236}">
                    <a16:creationId xmlns:a16="http://schemas.microsoft.com/office/drawing/2014/main" id="{FFA27A8F-6930-44D6-8F7C-C4F5909168E2}"/>
                  </a:ext>
                </a:extLst>
              </p:cNvPr>
              <p:cNvSpPr>
                <a:spLocks/>
              </p:cNvSpPr>
              <p:nvPr/>
            </p:nvSpPr>
            <p:spPr bwMode="auto">
              <a:xfrm>
                <a:off x="3084225" y="6272213"/>
                <a:ext cx="523875" cy="587375"/>
              </a:xfrm>
              <a:custGeom>
                <a:avLst/>
                <a:gdLst>
                  <a:gd name="T0" fmla="*/ 0 w 330"/>
                  <a:gd name="T1" fmla="*/ 0 h 370"/>
                  <a:gd name="T2" fmla="*/ 151 w 330"/>
                  <a:gd name="T3" fmla="*/ 370 h 370"/>
                  <a:gd name="T4" fmla="*/ 330 w 330"/>
                  <a:gd name="T5" fmla="*/ 370 h 370"/>
                  <a:gd name="T6" fmla="*/ 330 w 330"/>
                  <a:gd name="T7" fmla="*/ 0 h 370"/>
                  <a:gd name="T8" fmla="*/ 0 w 330"/>
                  <a:gd name="T9" fmla="*/ 0 h 370"/>
                </a:gdLst>
                <a:ahLst/>
                <a:cxnLst>
                  <a:cxn ang="0">
                    <a:pos x="T0" y="T1"/>
                  </a:cxn>
                  <a:cxn ang="0">
                    <a:pos x="T2" y="T3"/>
                  </a:cxn>
                  <a:cxn ang="0">
                    <a:pos x="T4" y="T5"/>
                  </a:cxn>
                  <a:cxn ang="0">
                    <a:pos x="T6" y="T7"/>
                  </a:cxn>
                  <a:cxn ang="0">
                    <a:pos x="T8" y="T9"/>
                  </a:cxn>
                </a:cxnLst>
                <a:rect l="0" t="0" r="r" b="b"/>
                <a:pathLst>
                  <a:path w="330" h="370">
                    <a:moveTo>
                      <a:pt x="0" y="0"/>
                    </a:moveTo>
                    <a:lnTo>
                      <a:pt x="151" y="370"/>
                    </a:lnTo>
                    <a:lnTo>
                      <a:pt x="330" y="370"/>
                    </a:lnTo>
                    <a:lnTo>
                      <a:pt x="330" y="0"/>
                    </a:lnTo>
                    <a:lnTo>
                      <a:pt x="0" y="0"/>
                    </a:lnTo>
                    <a:close/>
                  </a:path>
                </a:pathLst>
              </a:custGeom>
              <a:solidFill>
                <a:schemeClr val="tx1">
                  <a:lumMod val="90000"/>
                  <a:lumOff val="1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9" name="Freeform 18">
                <a:extLst>
                  <a:ext uri="{FF2B5EF4-FFF2-40B4-BE49-F238E27FC236}">
                    <a16:creationId xmlns:a16="http://schemas.microsoft.com/office/drawing/2014/main" id="{FD4FED41-9823-48A0-A844-36BF092112CE}"/>
                  </a:ext>
                </a:extLst>
              </p:cNvPr>
              <p:cNvSpPr>
                <a:spLocks/>
              </p:cNvSpPr>
              <p:nvPr/>
            </p:nvSpPr>
            <p:spPr bwMode="auto">
              <a:xfrm>
                <a:off x="3608100" y="6272213"/>
                <a:ext cx="527050" cy="587375"/>
              </a:xfrm>
              <a:custGeom>
                <a:avLst/>
                <a:gdLst>
                  <a:gd name="T0" fmla="*/ 0 w 332"/>
                  <a:gd name="T1" fmla="*/ 370 h 370"/>
                  <a:gd name="T2" fmla="*/ 189 w 332"/>
                  <a:gd name="T3" fmla="*/ 370 h 370"/>
                  <a:gd name="T4" fmla="*/ 332 w 332"/>
                  <a:gd name="T5" fmla="*/ 0 h 370"/>
                  <a:gd name="T6" fmla="*/ 0 w 332"/>
                  <a:gd name="T7" fmla="*/ 0 h 370"/>
                  <a:gd name="T8" fmla="*/ 0 w 332"/>
                  <a:gd name="T9" fmla="*/ 370 h 370"/>
                </a:gdLst>
                <a:ahLst/>
                <a:cxnLst>
                  <a:cxn ang="0">
                    <a:pos x="T0" y="T1"/>
                  </a:cxn>
                  <a:cxn ang="0">
                    <a:pos x="T2" y="T3"/>
                  </a:cxn>
                  <a:cxn ang="0">
                    <a:pos x="T4" y="T5"/>
                  </a:cxn>
                  <a:cxn ang="0">
                    <a:pos x="T6" y="T7"/>
                  </a:cxn>
                  <a:cxn ang="0">
                    <a:pos x="T8" y="T9"/>
                  </a:cxn>
                </a:cxnLst>
                <a:rect l="0" t="0" r="r" b="b"/>
                <a:pathLst>
                  <a:path w="332" h="370">
                    <a:moveTo>
                      <a:pt x="0" y="370"/>
                    </a:moveTo>
                    <a:lnTo>
                      <a:pt x="189" y="370"/>
                    </a:lnTo>
                    <a:lnTo>
                      <a:pt x="332" y="0"/>
                    </a:lnTo>
                    <a:lnTo>
                      <a:pt x="0" y="0"/>
                    </a:lnTo>
                    <a:lnTo>
                      <a:pt x="0" y="370"/>
                    </a:lnTo>
                    <a:close/>
                  </a:path>
                </a:pathLst>
              </a:custGeom>
              <a:solidFill>
                <a:schemeClr val="tx1">
                  <a:lumMod val="90000"/>
                  <a:lumOff val="1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0" name="Freeform 19">
                <a:extLst>
                  <a:ext uri="{FF2B5EF4-FFF2-40B4-BE49-F238E27FC236}">
                    <a16:creationId xmlns:a16="http://schemas.microsoft.com/office/drawing/2014/main" id="{BCDB3801-4D99-4D2A-B96E-712902D9860D}"/>
                  </a:ext>
                </a:extLst>
              </p:cNvPr>
              <p:cNvSpPr>
                <a:spLocks/>
              </p:cNvSpPr>
              <p:nvPr/>
            </p:nvSpPr>
            <p:spPr bwMode="auto">
              <a:xfrm>
                <a:off x="3046125" y="6099175"/>
                <a:ext cx="561975" cy="173037"/>
              </a:xfrm>
              <a:custGeom>
                <a:avLst/>
                <a:gdLst>
                  <a:gd name="T0" fmla="*/ 354 w 354"/>
                  <a:gd name="T1" fmla="*/ 0 h 109"/>
                  <a:gd name="T2" fmla="*/ 0 w 354"/>
                  <a:gd name="T3" fmla="*/ 0 h 109"/>
                  <a:gd name="T4" fmla="*/ 0 w 354"/>
                  <a:gd name="T5" fmla="*/ 109 h 109"/>
                  <a:gd name="T6" fmla="*/ 24 w 354"/>
                  <a:gd name="T7" fmla="*/ 109 h 109"/>
                  <a:gd name="T8" fmla="*/ 354 w 354"/>
                  <a:gd name="T9" fmla="*/ 109 h 109"/>
                  <a:gd name="T10" fmla="*/ 354 w 354"/>
                  <a:gd name="T11" fmla="*/ 0 h 109"/>
                </a:gdLst>
                <a:ahLst/>
                <a:cxnLst>
                  <a:cxn ang="0">
                    <a:pos x="T0" y="T1"/>
                  </a:cxn>
                  <a:cxn ang="0">
                    <a:pos x="T2" y="T3"/>
                  </a:cxn>
                  <a:cxn ang="0">
                    <a:pos x="T4" y="T5"/>
                  </a:cxn>
                  <a:cxn ang="0">
                    <a:pos x="T6" y="T7"/>
                  </a:cxn>
                  <a:cxn ang="0">
                    <a:pos x="T8" y="T9"/>
                  </a:cxn>
                  <a:cxn ang="0">
                    <a:pos x="T10" y="T11"/>
                  </a:cxn>
                </a:cxnLst>
                <a:rect l="0" t="0" r="r" b="b"/>
                <a:pathLst>
                  <a:path w="354" h="109">
                    <a:moveTo>
                      <a:pt x="354" y="0"/>
                    </a:moveTo>
                    <a:lnTo>
                      <a:pt x="0" y="0"/>
                    </a:lnTo>
                    <a:lnTo>
                      <a:pt x="0" y="109"/>
                    </a:lnTo>
                    <a:lnTo>
                      <a:pt x="24" y="109"/>
                    </a:lnTo>
                    <a:lnTo>
                      <a:pt x="354" y="109"/>
                    </a:lnTo>
                    <a:lnTo>
                      <a:pt x="354" y="0"/>
                    </a:lnTo>
                    <a:close/>
                  </a:path>
                </a:pathLst>
              </a:custGeom>
              <a:solidFill>
                <a:schemeClr val="bg2">
                  <a:lumMod val="2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1" name="Freeform 20">
                <a:extLst>
                  <a:ext uri="{FF2B5EF4-FFF2-40B4-BE49-F238E27FC236}">
                    <a16:creationId xmlns:a16="http://schemas.microsoft.com/office/drawing/2014/main" id="{487DE66B-1E9F-471F-A103-A583C969B106}"/>
                  </a:ext>
                </a:extLst>
              </p:cNvPr>
              <p:cNvSpPr>
                <a:spLocks/>
              </p:cNvSpPr>
              <p:nvPr/>
            </p:nvSpPr>
            <p:spPr bwMode="auto">
              <a:xfrm>
                <a:off x="3608100" y="6099175"/>
                <a:ext cx="565150" cy="173037"/>
              </a:xfrm>
              <a:custGeom>
                <a:avLst/>
                <a:gdLst>
                  <a:gd name="T0" fmla="*/ 0 w 356"/>
                  <a:gd name="T1" fmla="*/ 0 h 109"/>
                  <a:gd name="T2" fmla="*/ 0 w 356"/>
                  <a:gd name="T3" fmla="*/ 109 h 109"/>
                  <a:gd name="T4" fmla="*/ 332 w 356"/>
                  <a:gd name="T5" fmla="*/ 109 h 109"/>
                  <a:gd name="T6" fmla="*/ 356 w 356"/>
                  <a:gd name="T7" fmla="*/ 109 h 109"/>
                  <a:gd name="T8" fmla="*/ 356 w 356"/>
                  <a:gd name="T9" fmla="*/ 0 h 109"/>
                  <a:gd name="T10" fmla="*/ 0 w 356"/>
                  <a:gd name="T11" fmla="*/ 0 h 109"/>
                </a:gdLst>
                <a:ahLst/>
                <a:cxnLst>
                  <a:cxn ang="0">
                    <a:pos x="T0" y="T1"/>
                  </a:cxn>
                  <a:cxn ang="0">
                    <a:pos x="T2" y="T3"/>
                  </a:cxn>
                  <a:cxn ang="0">
                    <a:pos x="T4" y="T5"/>
                  </a:cxn>
                  <a:cxn ang="0">
                    <a:pos x="T6" y="T7"/>
                  </a:cxn>
                  <a:cxn ang="0">
                    <a:pos x="T8" y="T9"/>
                  </a:cxn>
                  <a:cxn ang="0">
                    <a:pos x="T10" y="T11"/>
                  </a:cxn>
                </a:cxnLst>
                <a:rect l="0" t="0" r="r" b="b"/>
                <a:pathLst>
                  <a:path w="356" h="109">
                    <a:moveTo>
                      <a:pt x="0" y="0"/>
                    </a:moveTo>
                    <a:lnTo>
                      <a:pt x="0" y="109"/>
                    </a:lnTo>
                    <a:lnTo>
                      <a:pt x="332" y="109"/>
                    </a:lnTo>
                    <a:lnTo>
                      <a:pt x="356" y="109"/>
                    </a:lnTo>
                    <a:lnTo>
                      <a:pt x="356" y="0"/>
                    </a:lnTo>
                    <a:lnTo>
                      <a:pt x="0" y="0"/>
                    </a:lnTo>
                    <a:close/>
                  </a:path>
                </a:pathLst>
              </a:custGeom>
              <a:solidFill>
                <a:schemeClr val="bg2">
                  <a:lumMod val="2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grpSp>
      <p:sp>
        <p:nvSpPr>
          <p:cNvPr id="55" name="TextBox 42">
            <a:extLst>
              <a:ext uri="{FF2B5EF4-FFF2-40B4-BE49-F238E27FC236}">
                <a16:creationId xmlns:a16="http://schemas.microsoft.com/office/drawing/2014/main" id="{41E0DE0C-CBD1-4ED3-A1E5-DCC45DA2DDC3}"/>
              </a:ext>
            </a:extLst>
          </p:cNvPr>
          <p:cNvSpPr txBox="1"/>
          <p:nvPr/>
        </p:nvSpPr>
        <p:spPr>
          <a:xfrm>
            <a:off x="3181603" y="1181421"/>
            <a:ext cx="5828796"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000000">
                    <a:lumMod val="85000"/>
                    <a:lumOff val="15000"/>
                  </a:srgbClr>
                </a:solidFill>
                <a:effectLst/>
                <a:uLnTx/>
                <a:uFillTx/>
                <a:latin typeface="等线 Light" panose="020F0302020204030204"/>
                <a:ea typeface="+mn-ea"/>
                <a:cs typeface="+mn-cs"/>
              </a:rPr>
              <a:t>INFOGRAPHICTHREE</a:t>
            </a:r>
          </a:p>
        </p:txBody>
      </p:sp>
      <p:sp>
        <p:nvSpPr>
          <p:cNvPr id="56" name="TextBox 50">
            <a:extLst>
              <a:ext uri="{FF2B5EF4-FFF2-40B4-BE49-F238E27FC236}">
                <a16:creationId xmlns:a16="http://schemas.microsoft.com/office/drawing/2014/main" id="{97A4220B-9C67-4E4E-A8D9-180C2239C2CA}"/>
              </a:ext>
            </a:extLst>
          </p:cNvPr>
          <p:cNvSpPr txBox="1"/>
          <p:nvPr/>
        </p:nvSpPr>
        <p:spPr>
          <a:xfrm>
            <a:off x="7895757" y="2219512"/>
            <a:ext cx="1667081"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lumMod val="85000"/>
                    <a:lumOff val="15000"/>
                  </a:srgbClr>
                </a:solidFill>
                <a:effectLst/>
                <a:uLnTx/>
                <a:uFillTx/>
                <a:latin typeface="等线 Light" panose="020F0302020204030204"/>
                <a:ea typeface="+mn-ea"/>
                <a:cs typeface="+mn-cs"/>
              </a:rPr>
              <a:t>Subtitle Here</a:t>
            </a:r>
          </a:p>
        </p:txBody>
      </p:sp>
      <p:sp>
        <p:nvSpPr>
          <p:cNvPr id="57" name="TextBox 51">
            <a:extLst>
              <a:ext uri="{FF2B5EF4-FFF2-40B4-BE49-F238E27FC236}">
                <a16:creationId xmlns:a16="http://schemas.microsoft.com/office/drawing/2014/main" id="{72EECA15-6CB5-4E82-896E-81CA07F78D14}"/>
              </a:ext>
            </a:extLst>
          </p:cNvPr>
          <p:cNvSpPr txBox="1"/>
          <p:nvPr/>
        </p:nvSpPr>
        <p:spPr>
          <a:xfrm>
            <a:off x="7895757" y="3570769"/>
            <a:ext cx="1667081"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lumMod val="85000"/>
                    <a:lumOff val="15000"/>
                  </a:srgbClr>
                </a:solidFill>
                <a:effectLst/>
                <a:uLnTx/>
                <a:uFillTx/>
                <a:latin typeface="等线 Light" panose="020F0302020204030204"/>
                <a:ea typeface="+mn-ea"/>
                <a:cs typeface="+mn-cs"/>
              </a:rPr>
              <a:t>Subtitle Here</a:t>
            </a:r>
          </a:p>
        </p:txBody>
      </p:sp>
      <p:sp>
        <p:nvSpPr>
          <p:cNvPr id="58" name="TextBox 52">
            <a:extLst>
              <a:ext uri="{FF2B5EF4-FFF2-40B4-BE49-F238E27FC236}">
                <a16:creationId xmlns:a16="http://schemas.microsoft.com/office/drawing/2014/main" id="{BD910842-3358-478F-872A-29FA727978CF}"/>
              </a:ext>
            </a:extLst>
          </p:cNvPr>
          <p:cNvSpPr txBox="1"/>
          <p:nvPr/>
        </p:nvSpPr>
        <p:spPr>
          <a:xfrm>
            <a:off x="7895757" y="4759429"/>
            <a:ext cx="1667081"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lumMod val="85000"/>
                    <a:lumOff val="15000"/>
                  </a:srgbClr>
                </a:solidFill>
                <a:effectLst/>
                <a:uLnTx/>
                <a:uFillTx/>
                <a:latin typeface="等线 Light" panose="020F0302020204030204"/>
                <a:ea typeface="+mn-ea"/>
                <a:cs typeface="+mn-cs"/>
              </a:rPr>
              <a:t>Subtitle Here</a:t>
            </a:r>
          </a:p>
        </p:txBody>
      </p:sp>
      <p:sp>
        <p:nvSpPr>
          <p:cNvPr id="59" name="TextBox 54">
            <a:extLst>
              <a:ext uri="{FF2B5EF4-FFF2-40B4-BE49-F238E27FC236}">
                <a16:creationId xmlns:a16="http://schemas.microsoft.com/office/drawing/2014/main" id="{B1EF6340-C70A-4E5C-AC2F-2484FE4301FC}"/>
              </a:ext>
            </a:extLst>
          </p:cNvPr>
          <p:cNvSpPr txBox="1"/>
          <p:nvPr/>
        </p:nvSpPr>
        <p:spPr>
          <a:xfrm>
            <a:off x="2427841" y="2354096"/>
            <a:ext cx="1667081" cy="307777"/>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lumMod val="85000"/>
                    <a:lumOff val="15000"/>
                  </a:srgbClr>
                </a:solidFill>
                <a:effectLst/>
                <a:uLnTx/>
                <a:uFillTx/>
                <a:latin typeface="等线 Light" panose="020F0302020204030204"/>
                <a:ea typeface="+mn-ea"/>
                <a:cs typeface="+mn-cs"/>
              </a:rPr>
              <a:t>Subtitle Here</a:t>
            </a:r>
          </a:p>
        </p:txBody>
      </p:sp>
      <p:sp>
        <p:nvSpPr>
          <p:cNvPr id="60" name="TextBox 55">
            <a:extLst>
              <a:ext uri="{FF2B5EF4-FFF2-40B4-BE49-F238E27FC236}">
                <a16:creationId xmlns:a16="http://schemas.microsoft.com/office/drawing/2014/main" id="{D17AAEFC-6DD5-4E99-8A4A-D8F94421F943}"/>
              </a:ext>
            </a:extLst>
          </p:cNvPr>
          <p:cNvSpPr txBox="1"/>
          <p:nvPr/>
        </p:nvSpPr>
        <p:spPr>
          <a:xfrm>
            <a:off x="2431526" y="3570769"/>
            <a:ext cx="1667081" cy="307777"/>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lumMod val="85000"/>
                    <a:lumOff val="15000"/>
                  </a:srgbClr>
                </a:solidFill>
                <a:effectLst/>
                <a:uLnTx/>
                <a:uFillTx/>
                <a:latin typeface="等线 Light" panose="020F0302020204030204"/>
                <a:ea typeface="+mn-ea"/>
                <a:cs typeface="+mn-cs"/>
              </a:rPr>
              <a:t>Subtitle Here</a:t>
            </a:r>
          </a:p>
        </p:txBody>
      </p:sp>
      <p:sp>
        <p:nvSpPr>
          <p:cNvPr id="61" name="TextBox 56">
            <a:extLst>
              <a:ext uri="{FF2B5EF4-FFF2-40B4-BE49-F238E27FC236}">
                <a16:creationId xmlns:a16="http://schemas.microsoft.com/office/drawing/2014/main" id="{FDB40030-A30C-48F3-91C9-4883858DDB12}"/>
              </a:ext>
            </a:extLst>
          </p:cNvPr>
          <p:cNvSpPr txBox="1"/>
          <p:nvPr/>
        </p:nvSpPr>
        <p:spPr>
          <a:xfrm>
            <a:off x="2431526" y="4760723"/>
            <a:ext cx="1667081" cy="307777"/>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lumMod val="85000"/>
                    <a:lumOff val="15000"/>
                  </a:srgbClr>
                </a:solidFill>
                <a:effectLst/>
                <a:uLnTx/>
                <a:uFillTx/>
                <a:latin typeface="等线 Light" panose="020F0302020204030204"/>
                <a:ea typeface="+mn-ea"/>
                <a:cs typeface="+mn-cs"/>
              </a:rPr>
              <a:t>Subtitle Here</a:t>
            </a:r>
          </a:p>
        </p:txBody>
      </p:sp>
      <p:sp>
        <p:nvSpPr>
          <p:cNvPr id="62" name="Rectangle 57">
            <a:extLst>
              <a:ext uri="{FF2B5EF4-FFF2-40B4-BE49-F238E27FC236}">
                <a16:creationId xmlns:a16="http://schemas.microsoft.com/office/drawing/2014/main" id="{A0AD77FF-B38A-4151-BD9A-B08A3AE77C3F}"/>
              </a:ext>
            </a:extLst>
          </p:cNvPr>
          <p:cNvSpPr/>
          <p:nvPr/>
        </p:nvSpPr>
        <p:spPr>
          <a:xfrm>
            <a:off x="1178779" y="2652418"/>
            <a:ext cx="2916143" cy="573106"/>
          </a:xfrm>
          <a:prstGeom prst="rect">
            <a:avLst/>
          </a:prstGeom>
        </p:spPr>
        <p:txBody>
          <a:bodyPr wrap="square">
            <a:spAutoFit/>
          </a:bodyPr>
          <a:lstStyle/>
          <a:p>
            <a:pPr marL="0" marR="0" lvl="0" indent="0" algn="r" defTabSz="914400" rtl="0" eaLnBrk="1" fontAlgn="auto" latinLnBrk="0" hangingPunct="1">
              <a:lnSpc>
                <a:spcPct val="15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lumMod val="50000"/>
                    <a:lumOff val="50000"/>
                  </a:srgbClr>
                </a:solidFill>
                <a:effectLst/>
                <a:uLnTx/>
                <a:uFillTx/>
                <a:latin typeface="等线" panose="020F0502020204030204"/>
                <a:ea typeface="+mn-ea"/>
                <a:cs typeface="+mn-cs"/>
              </a:rPr>
              <a:t>Lorem Ipsum is simply dummy text of the printing and typesetting industry</a:t>
            </a:r>
          </a:p>
        </p:txBody>
      </p:sp>
      <p:sp>
        <p:nvSpPr>
          <p:cNvPr id="63" name="Rectangle 58">
            <a:extLst>
              <a:ext uri="{FF2B5EF4-FFF2-40B4-BE49-F238E27FC236}">
                <a16:creationId xmlns:a16="http://schemas.microsoft.com/office/drawing/2014/main" id="{A8353357-DBB4-4DD0-B96E-26DD07C21E53}"/>
              </a:ext>
            </a:extLst>
          </p:cNvPr>
          <p:cNvSpPr/>
          <p:nvPr/>
        </p:nvSpPr>
        <p:spPr>
          <a:xfrm>
            <a:off x="1182463" y="3878549"/>
            <a:ext cx="2916143" cy="573106"/>
          </a:xfrm>
          <a:prstGeom prst="rect">
            <a:avLst/>
          </a:prstGeom>
        </p:spPr>
        <p:txBody>
          <a:bodyPr wrap="square">
            <a:spAutoFit/>
          </a:bodyPr>
          <a:lstStyle/>
          <a:p>
            <a:pPr marL="0" marR="0" lvl="0" indent="0" algn="r" defTabSz="914400" rtl="0" eaLnBrk="1" fontAlgn="auto" latinLnBrk="0" hangingPunct="1">
              <a:lnSpc>
                <a:spcPct val="15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lumMod val="50000"/>
                    <a:lumOff val="50000"/>
                  </a:srgbClr>
                </a:solidFill>
                <a:effectLst/>
                <a:uLnTx/>
                <a:uFillTx/>
                <a:latin typeface="等线" panose="020F0502020204030204"/>
                <a:ea typeface="+mn-ea"/>
                <a:cs typeface="+mn-cs"/>
              </a:rPr>
              <a:t>Lorem Ipsum is simply dummy text of the printing and typesetting industry</a:t>
            </a:r>
          </a:p>
        </p:txBody>
      </p:sp>
      <p:sp>
        <p:nvSpPr>
          <p:cNvPr id="64" name="Rectangle 59">
            <a:extLst>
              <a:ext uri="{FF2B5EF4-FFF2-40B4-BE49-F238E27FC236}">
                <a16:creationId xmlns:a16="http://schemas.microsoft.com/office/drawing/2014/main" id="{81C864F7-85FB-4A18-8924-61499F6901E6}"/>
              </a:ext>
            </a:extLst>
          </p:cNvPr>
          <p:cNvSpPr/>
          <p:nvPr/>
        </p:nvSpPr>
        <p:spPr>
          <a:xfrm>
            <a:off x="1182463" y="5084118"/>
            <a:ext cx="2916143" cy="573106"/>
          </a:xfrm>
          <a:prstGeom prst="rect">
            <a:avLst/>
          </a:prstGeom>
        </p:spPr>
        <p:txBody>
          <a:bodyPr wrap="square">
            <a:spAutoFit/>
          </a:bodyPr>
          <a:lstStyle/>
          <a:p>
            <a:pPr marL="0" marR="0" lvl="0" indent="0" algn="r" defTabSz="914400" rtl="0" eaLnBrk="1" fontAlgn="auto" latinLnBrk="0" hangingPunct="1">
              <a:lnSpc>
                <a:spcPct val="15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lumMod val="50000"/>
                    <a:lumOff val="50000"/>
                  </a:srgbClr>
                </a:solidFill>
                <a:effectLst/>
                <a:uLnTx/>
                <a:uFillTx/>
                <a:latin typeface="等线" panose="020F0502020204030204"/>
                <a:ea typeface="+mn-ea"/>
                <a:cs typeface="+mn-cs"/>
              </a:rPr>
              <a:t>Lorem Ipsum is simply dummy text of the printing and typesetting industry</a:t>
            </a:r>
          </a:p>
        </p:txBody>
      </p:sp>
      <p:sp>
        <p:nvSpPr>
          <p:cNvPr id="65" name="Rectangle 60">
            <a:extLst>
              <a:ext uri="{FF2B5EF4-FFF2-40B4-BE49-F238E27FC236}">
                <a16:creationId xmlns:a16="http://schemas.microsoft.com/office/drawing/2014/main" id="{755C2148-6E38-417E-8FF2-EA008FA4FEA6}"/>
              </a:ext>
            </a:extLst>
          </p:cNvPr>
          <p:cNvSpPr/>
          <p:nvPr/>
        </p:nvSpPr>
        <p:spPr>
          <a:xfrm>
            <a:off x="7895755" y="2517834"/>
            <a:ext cx="2916143" cy="573106"/>
          </a:xfrm>
          <a:prstGeom prst="rect">
            <a:avLst/>
          </a:prstGeom>
        </p:spPr>
        <p:txBody>
          <a:bodyPr wrap="square">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lumMod val="50000"/>
                    <a:lumOff val="50000"/>
                  </a:srgbClr>
                </a:solidFill>
                <a:effectLst/>
                <a:uLnTx/>
                <a:uFillTx/>
                <a:latin typeface="等线" panose="020F0502020204030204"/>
                <a:ea typeface="+mn-ea"/>
                <a:cs typeface="+mn-cs"/>
              </a:rPr>
              <a:t>Lorem Ipsum is simply dummy text of the printing and typesetting industry</a:t>
            </a:r>
          </a:p>
        </p:txBody>
      </p:sp>
      <p:sp>
        <p:nvSpPr>
          <p:cNvPr id="66" name="Rectangle 61">
            <a:extLst>
              <a:ext uri="{FF2B5EF4-FFF2-40B4-BE49-F238E27FC236}">
                <a16:creationId xmlns:a16="http://schemas.microsoft.com/office/drawing/2014/main" id="{F5D135FF-131C-428F-B12D-A6FBA8998438}"/>
              </a:ext>
            </a:extLst>
          </p:cNvPr>
          <p:cNvSpPr/>
          <p:nvPr/>
        </p:nvSpPr>
        <p:spPr>
          <a:xfrm>
            <a:off x="7895755" y="3878549"/>
            <a:ext cx="2916143" cy="573106"/>
          </a:xfrm>
          <a:prstGeom prst="rect">
            <a:avLst/>
          </a:prstGeom>
        </p:spPr>
        <p:txBody>
          <a:bodyPr wrap="square">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lumMod val="50000"/>
                    <a:lumOff val="50000"/>
                  </a:srgbClr>
                </a:solidFill>
                <a:effectLst/>
                <a:uLnTx/>
                <a:uFillTx/>
                <a:latin typeface="等线" panose="020F0502020204030204"/>
                <a:ea typeface="+mn-ea"/>
                <a:cs typeface="+mn-cs"/>
              </a:rPr>
              <a:t>Lorem Ipsum is simply dummy text of the printing and typesetting industry</a:t>
            </a:r>
          </a:p>
        </p:txBody>
      </p:sp>
      <p:sp>
        <p:nvSpPr>
          <p:cNvPr id="67" name="Rectangle 62">
            <a:extLst>
              <a:ext uri="{FF2B5EF4-FFF2-40B4-BE49-F238E27FC236}">
                <a16:creationId xmlns:a16="http://schemas.microsoft.com/office/drawing/2014/main" id="{C3C6D871-53A5-4146-9045-7E5BB0A2341A}"/>
              </a:ext>
            </a:extLst>
          </p:cNvPr>
          <p:cNvSpPr/>
          <p:nvPr/>
        </p:nvSpPr>
        <p:spPr>
          <a:xfrm>
            <a:off x="7895755" y="5082826"/>
            <a:ext cx="2916143" cy="573106"/>
          </a:xfrm>
          <a:prstGeom prst="rect">
            <a:avLst/>
          </a:prstGeom>
        </p:spPr>
        <p:txBody>
          <a:bodyPr wrap="square">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lumMod val="50000"/>
                    <a:lumOff val="50000"/>
                  </a:srgbClr>
                </a:solidFill>
                <a:effectLst/>
                <a:uLnTx/>
                <a:uFillTx/>
                <a:latin typeface="等线" panose="020F0502020204030204"/>
                <a:ea typeface="+mn-ea"/>
                <a:cs typeface="+mn-cs"/>
              </a:rPr>
              <a:t>Lorem Ipsum is simply dummy text of the printing and typesetting industry</a:t>
            </a:r>
          </a:p>
        </p:txBody>
      </p:sp>
    </p:spTree>
    <p:extLst>
      <p:ext uri="{BB962C8B-B14F-4D97-AF65-F5344CB8AC3E}">
        <p14:creationId xmlns:p14="http://schemas.microsoft.com/office/powerpoint/2010/main" val="4165454973"/>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37" fill="hold" grpId="0" nodeType="afterEffect">
                                  <p:stCondLst>
                                    <p:cond delay="0"/>
                                  </p:stCondLst>
                                  <p:childTnLst>
                                    <p:set>
                                      <p:cBhvr>
                                        <p:cTn id="6" dur="1" fill="hold">
                                          <p:stCondLst>
                                            <p:cond delay="0"/>
                                          </p:stCondLst>
                                        </p:cTn>
                                        <p:tgtEl>
                                          <p:spTgt spid="55"/>
                                        </p:tgtEl>
                                        <p:attrNameLst>
                                          <p:attrName>style.visibility</p:attrName>
                                        </p:attrNameLst>
                                      </p:cBhvr>
                                      <p:to>
                                        <p:strVal val="visible"/>
                                      </p:to>
                                    </p:set>
                                    <p:animEffect transition="in" filter="barn(outVertical)">
                                      <p:cBhvr>
                                        <p:cTn id="7" dur="500"/>
                                        <p:tgtEl>
                                          <p:spTgt spid="55"/>
                                        </p:tgtEl>
                                      </p:cBhvr>
                                    </p:animEffect>
                                  </p:childTnLst>
                                </p:cTn>
                              </p:par>
                            </p:childTnLst>
                          </p:cTn>
                        </p:par>
                        <p:par>
                          <p:cTn id="8" fill="hold">
                            <p:stCondLst>
                              <p:cond delay="500"/>
                            </p:stCondLst>
                            <p:childTnLst>
                              <p:par>
                                <p:cTn id="9" presetID="22" presetClass="entr" presetSubtype="4" fill="hold" nodeType="afterEffect">
                                  <p:stCondLst>
                                    <p:cond delay="0"/>
                                  </p:stCondLst>
                                  <p:childTnLst>
                                    <p:set>
                                      <p:cBhvr>
                                        <p:cTn id="10" dur="1" fill="hold">
                                          <p:stCondLst>
                                            <p:cond delay="0"/>
                                          </p:stCondLst>
                                        </p:cTn>
                                        <p:tgtEl>
                                          <p:spTgt spid="2"/>
                                        </p:tgtEl>
                                        <p:attrNameLst>
                                          <p:attrName>style.visibility</p:attrName>
                                        </p:attrNameLst>
                                      </p:cBhvr>
                                      <p:to>
                                        <p:strVal val="visible"/>
                                      </p:to>
                                    </p:set>
                                    <p:animEffect transition="in" filter="wipe(down)">
                                      <p:cBhvr>
                                        <p:cTn id="11" dur="500"/>
                                        <p:tgtEl>
                                          <p:spTgt spid="2"/>
                                        </p:tgtEl>
                                      </p:cBhvr>
                                    </p:animEffect>
                                  </p:childTnLst>
                                </p:cTn>
                              </p:par>
                            </p:childTnLst>
                          </p:cTn>
                        </p:par>
                        <p:par>
                          <p:cTn id="12" fill="hold">
                            <p:stCondLst>
                              <p:cond delay="1000"/>
                            </p:stCondLst>
                            <p:childTnLst>
                              <p:par>
                                <p:cTn id="13" presetID="22" presetClass="entr" presetSubtype="2" fill="hold" grpId="0" nodeType="afterEffect">
                                  <p:stCondLst>
                                    <p:cond delay="0"/>
                                  </p:stCondLst>
                                  <p:childTnLst>
                                    <p:set>
                                      <p:cBhvr>
                                        <p:cTn id="14" dur="1" fill="hold">
                                          <p:stCondLst>
                                            <p:cond delay="0"/>
                                          </p:stCondLst>
                                        </p:cTn>
                                        <p:tgtEl>
                                          <p:spTgt spid="61"/>
                                        </p:tgtEl>
                                        <p:attrNameLst>
                                          <p:attrName>style.visibility</p:attrName>
                                        </p:attrNameLst>
                                      </p:cBhvr>
                                      <p:to>
                                        <p:strVal val="visible"/>
                                      </p:to>
                                    </p:set>
                                    <p:animEffect transition="in" filter="wipe(right)">
                                      <p:cBhvr>
                                        <p:cTn id="15" dur="500"/>
                                        <p:tgtEl>
                                          <p:spTgt spid="61"/>
                                        </p:tgtEl>
                                      </p:cBhvr>
                                    </p:animEffect>
                                  </p:childTnLst>
                                </p:cTn>
                              </p:par>
                            </p:childTnLst>
                          </p:cTn>
                        </p:par>
                        <p:par>
                          <p:cTn id="16" fill="hold">
                            <p:stCondLst>
                              <p:cond delay="1500"/>
                            </p:stCondLst>
                            <p:childTnLst>
                              <p:par>
                                <p:cTn id="17" presetID="42" presetClass="entr" presetSubtype="0" fill="hold" grpId="0" nodeType="afterEffect">
                                  <p:stCondLst>
                                    <p:cond delay="0"/>
                                  </p:stCondLst>
                                  <p:childTnLst>
                                    <p:set>
                                      <p:cBhvr>
                                        <p:cTn id="18" dur="1" fill="hold">
                                          <p:stCondLst>
                                            <p:cond delay="0"/>
                                          </p:stCondLst>
                                        </p:cTn>
                                        <p:tgtEl>
                                          <p:spTgt spid="64"/>
                                        </p:tgtEl>
                                        <p:attrNameLst>
                                          <p:attrName>style.visibility</p:attrName>
                                        </p:attrNameLst>
                                      </p:cBhvr>
                                      <p:to>
                                        <p:strVal val="visible"/>
                                      </p:to>
                                    </p:set>
                                    <p:animEffect transition="in" filter="fade">
                                      <p:cBhvr>
                                        <p:cTn id="19" dur="500"/>
                                        <p:tgtEl>
                                          <p:spTgt spid="64"/>
                                        </p:tgtEl>
                                      </p:cBhvr>
                                    </p:animEffect>
                                    <p:anim calcmode="lin" valueType="num">
                                      <p:cBhvr>
                                        <p:cTn id="20" dur="500" fill="hold"/>
                                        <p:tgtEl>
                                          <p:spTgt spid="64"/>
                                        </p:tgtEl>
                                        <p:attrNameLst>
                                          <p:attrName>ppt_x</p:attrName>
                                        </p:attrNameLst>
                                      </p:cBhvr>
                                      <p:tavLst>
                                        <p:tav tm="0">
                                          <p:val>
                                            <p:strVal val="#ppt_x"/>
                                          </p:val>
                                        </p:tav>
                                        <p:tav tm="100000">
                                          <p:val>
                                            <p:strVal val="#ppt_x"/>
                                          </p:val>
                                        </p:tav>
                                      </p:tavLst>
                                    </p:anim>
                                    <p:anim calcmode="lin" valueType="num">
                                      <p:cBhvr>
                                        <p:cTn id="21" dur="500" fill="hold"/>
                                        <p:tgtEl>
                                          <p:spTgt spid="64"/>
                                        </p:tgtEl>
                                        <p:attrNameLst>
                                          <p:attrName>ppt_y</p:attrName>
                                        </p:attrNameLst>
                                      </p:cBhvr>
                                      <p:tavLst>
                                        <p:tav tm="0">
                                          <p:val>
                                            <p:strVal val="#ppt_y+.1"/>
                                          </p:val>
                                        </p:tav>
                                        <p:tav tm="100000">
                                          <p:val>
                                            <p:strVal val="#ppt_y"/>
                                          </p:val>
                                        </p:tav>
                                      </p:tavLst>
                                    </p:anim>
                                  </p:childTnLst>
                                </p:cTn>
                              </p:par>
                            </p:childTnLst>
                          </p:cTn>
                        </p:par>
                        <p:par>
                          <p:cTn id="22" fill="hold">
                            <p:stCondLst>
                              <p:cond delay="2000"/>
                            </p:stCondLst>
                            <p:childTnLst>
                              <p:par>
                                <p:cTn id="23" presetID="22" presetClass="entr" presetSubtype="2" fill="hold" grpId="0" nodeType="afterEffect">
                                  <p:stCondLst>
                                    <p:cond delay="0"/>
                                  </p:stCondLst>
                                  <p:childTnLst>
                                    <p:set>
                                      <p:cBhvr>
                                        <p:cTn id="24" dur="1" fill="hold">
                                          <p:stCondLst>
                                            <p:cond delay="0"/>
                                          </p:stCondLst>
                                        </p:cTn>
                                        <p:tgtEl>
                                          <p:spTgt spid="60"/>
                                        </p:tgtEl>
                                        <p:attrNameLst>
                                          <p:attrName>style.visibility</p:attrName>
                                        </p:attrNameLst>
                                      </p:cBhvr>
                                      <p:to>
                                        <p:strVal val="visible"/>
                                      </p:to>
                                    </p:set>
                                    <p:animEffect transition="in" filter="wipe(right)">
                                      <p:cBhvr>
                                        <p:cTn id="25" dur="500"/>
                                        <p:tgtEl>
                                          <p:spTgt spid="60"/>
                                        </p:tgtEl>
                                      </p:cBhvr>
                                    </p:animEffect>
                                  </p:childTnLst>
                                </p:cTn>
                              </p:par>
                            </p:childTnLst>
                          </p:cTn>
                        </p:par>
                        <p:par>
                          <p:cTn id="26" fill="hold">
                            <p:stCondLst>
                              <p:cond delay="2500"/>
                            </p:stCondLst>
                            <p:childTnLst>
                              <p:par>
                                <p:cTn id="27" presetID="42" presetClass="entr" presetSubtype="0" fill="hold" grpId="0" nodeType="afterEffect">
                                  <p:stCondLst>
                                    <p:cond delay="0"/>
                                  </p:stCondLst>
                                  <p:childTnLst>
                                    <p:set>
                                      <p:cBhvr>
                                        <p:cTn id="28" dur="1" fill="hold">
                                          <p:stCondLst>
                                            <p:cond delay="0"/>
                                          </p:stCondLst>
                                        </p:cTn>
                                        <p:tgtEl>
                                          <p:spTgt spid="63"/>
                                        </p:tgtEl>
                                        <p:attrNameLst>
                                          <p:attrName>style.visibility</p:attrName>
                                        </p:attrNameLst>
                                      </p:cBhvr>
                                      <p:to>
                                        <p:strVal val="visible"/>
                                      </p:to>
                                    </p:set>
                                    <p:animEffect transition="in" filter="fade">
                                      <p:cBhvr>
                                        <p:cTn id="29" dur="500"/>
                                        <p:tgtEl>
                                          <p:spTgt spid="63"/>
                                        </p:tgtEl>
                                      </p:cBhvr>
                                    </p:animEffect>
                                    <p:anim calcmode="lin" valueType="num">
                                      <p:cBhvr>
                                        <p:cTn id="30" dur="500" fill="hold"/>
                                        <p:tgtEl>
                                          <p:spTgt spid="63"/>
                                        </p:tgtEl>
                                        <p:attrNameLst>
                                          <p:attrName>ppt_x</p:attrName>
                                        </p:attrNameLst>
                                      </p:cBhvr>
                                      <p:tavLst>
                                        <p:tav tm="0">
                                          <p:val>
                                            <p:strVal val="#ppt_x"/>
                                          </p:val>
                                        </p:tav>
                                        <p:tav tm="100000">
                                          <p:val>
                                            <p:strVal val="#ppt_x"/>
                                          </p:val>
                                        </p:tav>
                                      </p:tavLst>
                                    </p:anim>
                                    <p:anim calcmode="lin" valueType="num">
                                      <p:cBhvr>
                                        <p:cTn id="31" dur="500" fill="hold"/>
                                        <p:tgtEl>
                                          <p:spTgt spid="63"/>
                                        </p:tgtEl>
                                        <p:attrNameLst>
                                          <p:attrName>ppt_y</p:attrName>
                                        </p:attrNameLst>
                                      </p:cBhvr>
                                      <p:tavLst>
                                        <p:tav tm="0">
                                          <p:val>
                                            <p:strVal val="#ppt_y+.1"/>
                                          </p:val>
                                        </p:tav>
                                        <p:tav tm="100000">
                                          <p:val>
                                            <p:strVal val="#ppt_y"/>
                                          </p:val>
                                        </p:tav>
                                      </p:tavLst>
                                    </p:anim>
                                  </p:childTnLst>
                                </p:cTn>
                              </p:par>
                            </p:childTnLst>
                          </p:cTn>
                        </p:par>
                        <p:par>
                          <p:cTn id="32" fill="hold">
                            <p:stCondLst>
                              <p:cond delay="3000"/>
                            </p:stCondLst>
                            <p:childTnLst>
                              <p:par>
                                <p:cTn id="33" presetID="22" presetClass="entr" presetSubtype="2" fill="hold" grpId="0" nodeType="afterEffect">
                                  <p:stCondLst>
                                    <p:cond delay="0"/>
                                  </p:stCondLst>
                                  <p:childTnLst>
                                    <p:set>
                                      <p:cBhvr>
                                        <p:cTn id="34" dur="1" fill="hold">
                                          <p:stCondLst>
                                            <p:cond delay="0"/>
                                          </p:stCondLst>
                                        </p:cTn>
                                        <p:tgtEl>
                                          <p:spTgt spid="59"/>
                                        </p:tgtEl>
                                        <p:attrNameLst>
                                          <p:attrName>style.visibility</p:attrName>
                                        </p:attrNameLst>
                                      </p:cBhvr>
                                      <p:to>
                                        <p:strVal val="visible"/>
                                      </p:to>
                                    </p:set>
                                    <p:animEffect transition="in" filter="wipe(right)">
                                      <p:cBhvr>
                                        <p:cTn id="35" dur="500"/>
                                        <p:tgtEl>
                                          <p:spTgt spid="59"/>
                                        </p:tgtEl>
                                      </p:cBhvr>
                                    </p:animEffect>
                                  </p:childTnLst>
                                </p:cTn>
                              </p:par>
                            </p:childTnLst>
                          </p:cTn>
                        </p:par>
                        <p:par>
                          <p:cTn id="36" fill="hold">
                            <p:stCondLst>
                              <p:cond delay="3500"/>
                            </p:stCondLst>
                            <p:childTnLst>
                              <p:par>
                                <p:cTn id="37" presetID="42" presetClass="entr" presetSubtype="0" fill="hold" grpId="0" nodeType="afterEffect">
                                  <p:stCondLst>
                                    <p:cond delay="0"/>
                                  </p:stCondLst>
                                  <p:childTnLst>
                                    <p:set>
                                      <p:cBhvr>
                                        <p:cTn id="38" dur="1" fill="hold">
                                          <p:stCondLst>
                                            <p:cond delay="0"/>
                                          </p:stCondLst>
                                        </p:cTn>
                                        <p:tgtEl>
                                          <p:spTgt spid="62"/>
                                        </p:tgtEl>
                                        <p:attrNameLst>
                                          <p:attrName>style.visibility</p:attrName>
                                        </p:attrNameLst>
                                      </p:cBhvr>
                                      <p:to>
                                        <p:strVal val="visible"/>
                                      </p:to>
                                    </p:set>
                                    <p:animEffect transition="in" filter="fade">
                                      <p:cBhvr>
                                        <p:cTn id="39" dur="500"/>
                                        <p:tgtEl>
                                          <p:spTgt spid="62"/>
                                        </p:tgtEl>
                                      </p:cBhvr>
                                    </p:animEffect>
                                    <p:anim calcmode="lin" valueType="num">
                                      <p:cBhvr>
                                        <p:cTn id="40" dur="500" fill="hold"/>
                                        <p:tgtEl>
                                          <p:spTgt spid="62"/>
                                        </p:tgtEl>
                                        <p:attrNameLst>
                                          <p:attrName>ppt_x</p:attrName>
                                        </p:attrNameLst>
                                      </p:cBhvr>
                                      <p:tavLst>
                                        <p:tav tm="0">
                                          <p:val>
                                            <p:strVal val="#ppt_x"/>
                                          </p:val>
                                        </p:tav>
                                        <p:tav tm="100000">
                                          <p:val>
                                            <p:strVal val="#ppt_x"/>
                                          </p:val>
                                        </p:tav>
                                      </p:tavLst>
                                    </p:anim>
                                    <p:anim calcmode="lin" valueType="num">
                                      <p:cBhvr>
                                        <p:cTn id="41" dur="500" fill="hold"/>
                                        <p:tgtEl>
                                          <p:spTgt spid="62"/>
                                        </p:tgtEl>
                                        <p:attrNameLst>
                                          <p:attrName>ppt_y</p:attrName>
                                        </p:attrNameLst>
                                      </p:cBhvr>
                                      <p:tavLst>
                                        <p:tav tm="0">
                                          <p:val>
                                            <p:strVal val="#ppt_y+.1"/>
                                          </p:val>
                                        </p:tav>
                                        <p:tav tm="100000">
                                          <p:val>
                                            <p:strVal val="#ppt_y"/>
                                          </p:val>
                                        </p:tav>
                                      </p:tavLst>
                                    </p:anim>
                                  </p:childTnLst>
                                </p:cTn>
                              </p:par>
                            </p:childTnLst>
                          </p:cTn>
                        </p:par>
                        <p:par>
                          <p:cTn id="42" fill="hold">
                            <p:stCondLst>
                              <p:cond delay="4000"/>
                            </p:stCondLst>
                            <p:childTnLst>
                              <p:par>
                                <p:cTn id="43" presetID="22" presetClass="entr" presetSubtype="8" fill="hold" grpId="0" nodeType="afterEffect">
                                  <p:stCondLst>
                                    <p:cond delay="0"/>
                                  </p:stCondLst>
                                  <p:childTnLst>
                                    <p:set>
                                      <p:cBhvr>
                                        <p:cTn id="44" dur="1" fill="hold">
                                          <p:stCondLst>
                                            <p:cond delay="0"/>
                                          </p:stCondLst>
                                        </p:cTn>
                                        <p:tgtEl>
                                          <p:spTgt spid="56"/>
                                        </p:tgtEl>
                                        <p:attrNameLst>
                                          <p:attrName>style.visibility</p:attrName>
                                        </p:attrNameLst>
                                      </p:cBhvr>
                                      <p:to>
                                        <p:strVal val="visible"/>
                                      </p:to>
                                    </p:set>
                                    <p:animEffect transition="in" filter="wipe(left)">
                                      <p:cBhvr>
                                        <p:cTn id="45" dur="500"/>
                                        <p:tgtEl>
                                          <p:spTgt spid="56"/>
                                        </p:tgtEl>
                                      </p:cBhvr>
                                    </p:animEffect>
                                  </p:childTnLst>
                                </p:cTn>
                              </p:par>
                            </p:childTnLst>
                          </p:cTn>
                        </p:par>
                        <p:par>
                          <p:cTn id="46" fill="hold">
                            <p:stCondLst>
                              <p:cond delay="4500"/>
                            </p:stCondLst>
                            <p:childTnLst>
                              <p:par>
                                <p:cTn id="47" presetID="42" presetClass="entr" presetSubtype="0" fill="hold" grpId="0" nodeType="afterEffect">
                                  <p:stCondLst>
                                    <p:cond delay="0"/>
                                  </p:stCondLst>
                                  <p:childTnLst>
                                    <p:set>
                                      <p:cBhvr>
                                        <p:cTn id="48" dur="1" fill="hold">
                                          <p:stCondLst>
                                            <p:cond delay="0"/>
                                          </p:stCondLst>
                                        </p:cTn>
                                        <p:tgtEl>
                                          <p:spTgt spid="65"/>
                                        </p:tgtEl>
                                        <p:attrNameLst>
                                          <p:attrName>style.visibility</p:attrName>
                                        </p:attrNameLst>
                                      </p:cBhvr>
                                      <p:to>
                                        <p:strVal val="visible"/>
                                      </p:to>
                                    </p:set>
                                    <p:animEffect transition="in" filter="fade">
                                      <p:cBhvr>
                                        <p:cTn id="49" dur="500"/>
                                        <p:tgtEl>
                                          <p:spTgt spid="65"/>
                                        </p:tgtEl>
                                      </p:cBhvr>
                                    </p:animEffect>
                                    <p:anim calcmode="lin" valueType="num">
                                      <p:cBhvr>
                                        <p:cTn id="50" dur="500" fill="hold"/>
                                        <p:tgtEl>
                                          <p:spTgt spid="65"/>
                                        </p:tgtEl>
                                        <p:attrNameLst>
                                          <p:attrName>ppt_x</p:attrName>
                                        </p:attrNameLst>
                                      </p:cBhvr>
                                      <p:tavLst>
                                        <p:tav tm="0">
                                          <p:val>
                                            <p:strVal val="#ppt_x"/>
                                          </p:val>
                                        </p:tav>
                                        <p:tav tm="100000">
                                          <p:val>
                                            <p:strVal val="#ppt_x"/>
                                          </p:val>
                                        </p:tav>
                                      </p:tavLst>
                                    </p:anim>
                                    <p:anim calcmode="lin" valueType="num">
                                      <p:cBhvr>
                                        <p:cTn id="51" dur="500" fill="hold"/>
                                        <p:tgtEl>
                                          <p:spTgt spid="65"/>
                                        </p:tgtEl>
                                        <p:attrNameLst>
                                          <p:attrName>ppt_y</p:attrName>
                                        </p:attrNameLst>
                                      </p:cBhvr>
                                      <p:tavLst>
                                        <p:tav tm="0">
                                          <p:val>
                                            <p:strVal val="#ppt_y+.1"/>
                                          </p:val>
                                        </p:tav>
                                        <p:tav tm="100000">
                                          <p:val>
                                            <p:strVal val="#ppt_y"/>
                                          </p:val>
                                        </p:tav>
                                      </p:tavLst>
                                    </p:anim>
                                  </p:childTnLst>
                                </p:cTn>
                              </p:par>
                            </p:childTnLst>
                          </p:cTn>
                        </p:par>
                        <p:par>
                          <p:cTn id="52" fill="hold">
                            <p:stCondLst>
                              <p:cond delay="5000"/>
                            </p:stCondLst>
                            <p:childTnLst>
                              <p:par>
                                <p:cTn id="53" presetID="22" presetClass="entr" presetSubtype="8" fill="hold" grpId="0" nodeType="afterEffect">
                                  <p:stCondLst>
                                    <p:cond delay="0"/>
                                  </p:stCondLst>
                                  <p:childTnLst>
                                    <p:set>
                                      <p:cBhvr>
                                        <p:cTn id="54" dur="1" fill="hold">
                                          <p:stCondLst>
                                            <p:cond delay="0"/>
                                          </p:stCondLst>
                                        </p:cTn>
                                        <p:tgtEl>
                                          <p:spTgt spid="57"/>
                                        </p:tgtEl>
                                        <p:attrNameLst>
                                          <p:attrName>style.visibility</p:attrName>
                                        </p:attrNameLst>
                                      </p:cBhvr>
                                      <p:to>
                                        <p:strVal val="visible"/>
                                      </p:to>
                                    </p:set>
                                    <p:animEffect transition="in" filter="wipe(left)">
                                      <p:cBhvr>
                                        <p:cTn id="55" dur="500"/>
                                        <p:tgtEl>
                                          <p:spTgt spid="57"/>
                                        </p:tgtEl>
                                      </p:cBhvr>
                                    </p:animEffect>
                                  </p:childTnLst>
                                </p:cTn>
                              </p:par>
                            </p:childTnLst>
                          </p:cTn>
                        </p:par>
                        <p:par>
                          <p:cTn id="56" fill="hold">
                            <p:stCondLst>
                              <p:cond delay="5500"/>
                            </p:stCondLst>
                            <p:childTnLst>
                              <p:par>
                                <p:cTn id="57" presetID="42" presetClass="entr" presetSubtype="0" fill="hold" grpId="0" nodeType="afterEffect">
                                  <p:stCondLst>
                                    <p:cond delay="0"/>
                                  </p:stCondLst>
                                  <p:childTnLst>
                                    <p:set>
                                      <p:cBhvr>
                                        <p:cTn id="58" dur="1" fill="hold">
                                          <p:stCondLst>
                                            <p:cond delay="0"/>
                                          </p:stCondLst>
                                        </p:cTn>
                                        <p:tgtEl>
                                          <p:spTgt spid="66"/>
                                        </p:tgtEl>
                                        <p:attrNameLst>
                                          <p:attrName>style.visibility</p:attrName>
                                        </p:attrNameLst>
                                      </p:cBhvr>
                                      <p:to>
                                        <p:strVal val="visible"/>
                                      </p:to>
                                    </p:set>
                                    <p:animEffect transition="in" filter="fade">
                                      <p:cBhvr>
                                        <p:cTn id="59" dur="500"/>
                                        <p:tgtEl>
                                          <p:spTgt spid="66"/>
                                        </p:tgtEl>
                                      </p:cBhvr>
                                    </p:animEffect>
                                    <p:anim calcmode="lin" valueType="num">
                                      <p:cBhvr>
                                        <p:cTn id="60" dur="500" fill="hold"/>
                                        <p:tgtEl>
                                          <p:spTgt spid="66"/>
                                        </p:tgtEl>
                                        <p:attrNameLst>
                                          <p:attrName>ppt_x</p:attrName>
                                        </p:attrNameLst>
                                      </p:cBhvr>
                                      <p:tavLst>
                                        <p:tav tm="0">
                                          <p:val>
                                            <p:strVal val="#ppt_x"/>
                                          </p:val>
                                        </p:tav>
                                        <p:tav tm="100000">
                                          <p:val>
                                            <p:strVal val="#ppt_x"/>
                                          </p:val>
                                        </p:tav>
                                      </p:tavLst>
                                    </p:anim>
                                    <p:anim calcmode="lin" valueType="num">
                                      <p:cBhvr>
                                        <p:cTn id="61" dur="500" fill="hold"/>
                                        <p:tgtEl>
                                          <p:spTgt spid="66"/>
                                        </p:tgtEl>
                                        <p:attrNameLst>
                                          <p:attrName>ppt_y</p:attrName>
                                        </p:attrNameLst>
                                      </p:cBhvr>
                                      <p:tavLst>
                                        <p:tav tm="0">
                                          <p:val>
                                            <p:strVal val="#ppt_y+.1"/>
                                          </p:val>
                                        </p:tav>
                                        <p:tav tm="100000">
                                          <p:val>
                                            <p:strVal val="#ppt_y"/>
                                          </p:val>
                                        </p:tav>
                                      </p:tavLst>
                                    </p:anim>
                                  </p:childTnLst>
                                </p:cTn>
                              </p:par>
                            </p:childTnLst>
                          </p:cTn>
                        </p:par>
                        <p:par>
                          <p:cTn id="62" fill="hold">
                            <p:stCondLst>
                              <p:cond delay="6000"/>
                            </p:stCondLst>
                            <p:childTnLst>
                              <p:par>
                                <p:cTn id="63" presetID="22" presetClass="entr" presetSubtype="8" fill="hold" grpId="0" nodeType="afterEffect">
                                  <p:stCondLst>
                                    <p:cond delay="0"/>
                                  </p:stCondLst>
                                  <p:childTnLst>
                                    <p:set>
                                      <p:cBhvr>
                                        <p:cTn id="64" dur="1" fill="hold">
                                          <p:stCondLst>
                                            <p:cond delay="0"/>
                                          </p:stCondLst>
                                        </p:cTn>
                                        <p:tgtEl>
                                          <p:spTgt spid="58"/>
                                        </p:tgtEl>
                                        <p:attrNameLst>
                                          <p:attrName>style.visibility</p:attrName>
                                        </p:attrNameLst>
                                      </p:cBhvr>
                                      <p:to>
                                        <p:strVal val="visible"/>
                                      </p:to>
                                    </p:set>
                                    <p:animEffect transition="in" filter="wipe(left)">
                                      <p:cBhvr>
                                        <p:cTn id="65" dur="500"/>
                                        <p:tgtEl>
                                          <p:spTgt spid="58"/>
                                        </p:tgtEl>
                                      </p:cBhvr>
                                    </p:animEffect>
                                  </p:childTnLst>
                                </p:cTn>
                              </p:par>
                            </p:childTnLst>
                          </p:cTn>
                        </p:par>
                        <p:par>
                          <p:cTn id="66" fill="hold">
                            <p:stCondLst>
                              <p:cond delay="6500"/>
                            </p:stCondLst>
                            <p:childTnLst>
                              <p:par>
                                <p:cTn id="67" presetID="42" presetClass="entr" presetSubtype="0" fill="hold" grpId="0" nodeType="afterEffect">
                                  <p:stCondLst>
                                    <p:cond delay="0"/>
                                  </p:stCondLst>
                                  <p:childTnLst>
                                    <p:set>
                                      <p:cBhvr>
                                        <p:cTn id="68" dur="1" fill="hold">
                                          <p:stCondLst>
                                            <p:cond delay="0"/>
                                          </p:stCondLst>
                                        </p:cTn>
                                        <p:tgtEl>
                                          <p:spTgt spid="67"/>
                                        </p:tgtEl>
                                        <p:attrNameLst>
                                          <p:attrName>style.visibility</p:attrName>
                                        </p:attrNameLst>
                                      </p:cBhvr>
                                      <p:to>
                                        <p:strVal val="visible"/>
                                      </p:to>
                                    </p:set>
                                    <p:animEffect transition="in" filter="fade">
                                      <p:cBhvr>
                                        <p:cTn id="69" dur="500"/>
                                        <p:tgtEl>
                                          <p:spTgt spid="67"/>
                                        </p:tgtEl>
                                      </p:cBhvr>
                                    </p:animEffect>
                                    <p:anim calcmode="lin" valueType="num">
                                      <p:cBhvr>
                                        <p:cTn id="70" dur="500" fill="hold"/>
                                        <p:tgtEl>
                                          <p:spTgt spid="67"/>
                                        </p:tgtEl>
                                        <p:attrNameLst>
                                          <p:attrName>ppt_x</p:attrName>
                                        </p:attrNameLst>
                                      </p:cBhvr>
                                      <p:tavLst>
                                        <p:tav tm="0">
                                          <p:val>
                                            <p:strVal val="#ppt_x"/>
                                          </p:val>
                                        </p:tav>
                                        <p:tav tm="100000">
                                          <p:val>
                                            <p:strVal val="#ppt_x"/>
                                          </p:val>
                                        </p:tav>
                                      </p:tavLst>
                                    </p:anim>
                                    <p:anim calcmode="lin" valueType="num">
                                      <p:cBhvr>
                                        <p:cTn id="71" dur="500" fill="hold"/>
                                        <p:tgtEl>
                                          <p:spTgt spid="6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5" grpId="0"/>
      <p:bldP spid="56" grpId="0"/>
      <p:bldP spid="57" grpId="0"/>
      <p:bldP spid="58" grpId="0"/>
      <p:bldP spid="59" grpId="0"/>
      <p:bldP spid="60" grpId="0"/>
      <p:bldP spid="61" grpId="0"/>
      <p:bldP spid="62" grpId="0"/>
      <p:bldP spid="63" grpId="0"/>
      <p:bldP spid="64" grpId="0"/>
      <p:bldP spid="65" grpId="0"/>
      <p:bldP spid="66" grpId="0"/>
      <p:bldP spid="67" grpId="0"/>
    </p:bldLst>
  </p:timing>
</p:sld>
</file>

<file path=ppt/slides/slide5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Connector: Elbow 15">
            <a:extLst>
              <a:ext uri="{FF2B5EF4-FFF2-40B4-BE49-F238E27FC236}">
                <a16:creationId xmlns:a16="http://schemas.microsoft.com/office/drawing/2014/main" id="{F8BF148D-60F5-4CAF-835B-CFEE0B89E182}"/>
              </a:ext>
            </a:extLst>
          </p:cNvPr>
          <p:cNvCxnSpPr>
            <a:cxnSpLocks/>
          </p:cNvCxnSpPr>
          <p:nvPr/>
        </p:nvCxnSpPr>
        <p:spPr>
          <a:xfrm rot="10800000">
            <a:off x="3229963" y="2071689"/>
            <a:ext cx="1423228" cy="475899"/>
          </a:xfrm>
          <a:prstGeom prst="bentConnector3">
            <a:avLst>
              <a:gd name="adj1" fmla="val -620"/>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3" name="Rectangle 20">
            <a:extLst>
              <a:ext uri="{FF2B5EF4-FFF2-40B4-BE49-F238E27FC236}">
                <a16:creationId xmlns:a16="http://schemas.microsoft.com/office/drawing/2014/main" id="{78A46F45-AB29-4701-87AD-22D9857EB4E2}"/>
              </a:ext>
            </a:extLst>
          </p:cNvPr>
          <p:cNvSpPr/>
          <p:nvPr/>
        </p:nvSpPr>
        <p:spPr>
          <a:xfrm>
            <a:off x="993818" y="2234016"/>
            <a:ext cx="2236145" cy="693395"/>
          </a:xfrm>
          <a:prstGeom prst="rect">
            <a:avLst/>
          </a:prstGeom>
        </p:spPr>
        <p:txBody>
          <a:bodyPr wrap="square">
            <a:spAutoFit/>
          </a:bodyPr>
          <a:lstStyle/>
          <a:p>
            <a:pPr marL="0" marR="0" lvl="0" indent="0" algn="r" defTabSz="914400" rtl="0" eaLnBrk="1" fontAlgn="auto" latinLnBrk="0" hangingPunct="1">
              <a:lnSpc>
                <a:spcPct val="15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lumMod val="50000"/>
                    <a:lumOff val="50000"/>
                  </a:srgbClr>
                </a:solidFill>
                <a:effectLst/>
                <a:uLnTx/>
                <a:uFillTx/>
                <a:latin typeface="等线" panose="020F0502020204030204"/>
                <a:ea typeface="+mn-ea"/>
                <a:cs typeface="+mn-cs"/>
              </a:rPr>
              <a:t>Lorem Ipsum is simply dummy text of the printing and typesetting industry. Lorem Ipsum has been to.</a:t>
            </a:r>
          </a:p>
        </p:txBody>
      </p:sp>
      <p:sp>
        <p:nvSpPr>
          <p:cNvPr id="4" name="TextBox 21">
            <a:extLst>
              <a:ext uri="{FF2B5EF4-FFF2-40B4-BE49-F238E27FC236}">
                <a16:creationId xmlns:a16="http://schemas.microsoft.com/office/drawing/2014/main" id="{837CE3A0-689C-4782-A24B-6D2E6FA930F1}"/>
              </a:ext>
            </a:extLst>
          </p:cNvPr>
          <p:cNvSpPr txBox="1"/>
          <p:nvPr/>
        </p:nvSpPr>
        <p:spPr>
          <a:xfrm>
            <a:off x="677890" y="1917801"/>
            <a:ext cx="2552073" cy="307777"/>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lumMod val="85000"/>
                    <a:lumOff val="15000"/>
                  </a:srgbClr>
                </a:solidFill>
                <a:effectLst/>
                <a:uLnTx/>
                <a:uFillTx/>
                <a:latin typeface="等线 Light" panose="020F0302020204030204"/>
                <a:ea typeface="+mn-ea"/>
                <a:cs typeface="+mn-cs"/>
              </a:rPr>
              <a:t>Subtitle Here</a:t>
            </a:r>
          </a:p>
        </p:txBody>
      </p:sp>
      <p:cxnSp>
        <p:nvCxnSpPr>
          <p:cNvPr id="5" name="Connector: Elbow 23">
            <a:extLst>
              <a:ext uri="{FF2B5EF4-FFF2-40B4-BE49-F238E27FC236}">
                <a16:creationId xmlns:a16="http://schemas.microsoft.com/office/drawing/2014/main" id="{80BD0AA9-A41A-4287-92C3-E5D8038B4BA7}"/>
              </a:ext>
            </a:extLst>
          </p:cNvPr>
          <p:cNvCxnSpPr>
            <a:cxnSpLocks/>
          </p:cNvCxnSpPr>
          <p:nvPr/>
        </p:nvCxnSpPr>
        <p:spPr>
          <a:xfrm rot="10800000">
            <a:off x="3229963" y="3602040"/>
            <a:ext cx="1423228" cy="475899"/>
          </a:xfrm>
          <a:prstGeom prst="bentConnector3">
            <a:avLst>
              <a:gd name="adj1" fmla="val -620"/>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6" name="Connector: Elbow 24">
            <a:extLst>
              <a:ext uri="{FF2B5EF4-FFF2-40B4-BE49-F238E27FC236}">
                <a16:creationId xmlns:a16="http://schemas.microsoft.com/office/drawing/2014/main" id="{899B3361-1EBB-4315-8D84-DD9017C1DBA6}"/>
              </a:ext>
            </a:extLst>
          </p:cNvPr>
          <p:cNvCxnSpPr>
            <a:cxnSpLocks/>
          </p:cNvCxnSpPr>
          <p:nvPr/>
        </p:nvCxnSpPr>
        <p:spPr>
          <a:xfrm rot="10800000" flipH="1">
            <a:off x="7362827" y="1351349"/>
            <a:ext cx="1423228" cy="475899"/>
          </a:xfrm>
          <a:prstGeom prst="bentConnector3">
            <a:avLst>
              <a:gd name="adj1" fmla="val -620"/>
            </a:avLst>
          </a:prstGeom>
          <a:ln>
            <a:solidFill>
              <a:schemeClr val="accent2"/>
            </a:solidFill>
            <a:tailEnd type="triangle"/>
          </a:ln>
        </p:spPr>
        <p:style>
          <a:lnRef idx="1">
            <a:schemeClr val="accent1"/>
          </a:lnRef>
          <a:fillRef idx="0">
            <a:schemeClr val="accent1"/>
          </a:fillRef>
          <a:effectRef idx="0">
            <a:schemeClr val="accent1"/>
          </a:effectRef>
          <a:fontRef idx="minor">
            <a:schemeClr val="tx1"/>
          </a:fontRef>
        </p:style>
      </p:cxnSp>
      <p:cxnSp>
        <p:nvCxnSpPr>
          <p:cNvPr id="7" name="Connector: Elbow 25">
            <a:extLst>
              <a:ext uri="{FF2B5EF4-FFF2-40B4-BE49-F238E27FC236}">
                <a16:creationId xmlns:a16="http://schemas.microsoft.com/office/drawing/2014/main" id="{3930C8FC-AA42-4EC6-A36B-C649A69C6EC7}"/>
              </a:ext>
            </a:extLst>
          </p:cNvPr>
          <p:cNvCxnSpPr>
            <a:cxnSpLocks/>
          </p:cNvCxnSpPr>
          <p:nvPr/>
        </p:nvCxnSpPr>
        <p:spPr>
          <a:xfrm rot="10800000" flipH="1">
            <a:off x="7362827" y="2881697"/>
            <a:ext cx="1423228" cy="475899"/>
          </a:xfrm>
          <a:prstGeom prst="bentConnector3">
            <a:avLst>
              <a:gd name="adj1" fmla="val -620"/>
            </a:avLst>
          </a:prstGeom>
          <a:ln>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8" name="Connector: Elbow 26">
            <a:extLst>
              <a:ext uri="{FF2B5EF4-FFF2-40B4-BE49-F238E27FC236}">
                <a16:creationId xmlns:a16="http://schemas.microsoft.com/office/drawing/2014/main" id="{C330D393-224F-4D96-9EA6-802335CC4FCD}"/>
              </a:ext>
            </a:extLst>
          </p:cNvPr>
          <p:cNvCxnSpPr>
            <a:cxnSpLocks/>
          </p:cNvCxnSpPr>
          <p:nvPr/>
        </p:nvCxnSpPr>
        <p:spPr>
          <a:xfrm rot="10800000" flipH="1">
            <a:off x="7362827" y="4404769"/>
            <a:ext cx="1423228" cy="475899"/>
          </a:xfrm>
          <a:prstGeom prst="bentConnector3">
            <a:avLst>
              <a:gd name="adj1" fmla="val -620"/>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sp>
        <p:nvSpPr>
          <p:cNvPr id="9" name="Rectangle 27">
            <a:extLst>
              <a:ext uri="{FF2B5EF4-FFF2-40B4-BE49-F238E27FC236}">
                <a16:creationId xmlns:a16="http://schemas.microsoft.com/office/drawing/2014/main" id="{346C3577-FD88-48FD-906C-00CCEDF33730}"/>
              </a:ext>
            </a:extLst>
          </p:cNvPr>
          <p:cNvSpPr/>
          <p:nvPr/>
        </p:nvSpPr>
        <p:spPr>
          <a:xfrm>
            <a:off x="993818" y="3763294"/>
            <a:ext cx="2236145" cy="693395"/>
          </a:xfrm>
          <a:prstGeom prst="rect">
            <a:avLst/>
          </a:prstGeom>
        </p:spPr>
        <p:txBody>
          <a:bodyPr wrap="square">
            <a:spAutoFit/>
          </a:bodyPr>
          <a:lstStyle/>
          <a:p>
            <a:pPr marL="0" marR="0" lvl="0" indent="0" algn="r" defTabSz="914400" rtl="0" eaLnBrk="1" fontAlgn="auto" latinLnBrk="0" hangingPunct="1">
              <a:lnSpc>
                <a:spcPct val="15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lumMod val="50000"/>
                    <a:lumOff val="50000"/>
                  </a:srgbClr>
                </a:solidFill>
                <a:effectLst/>
                <a:uLnTx/>
                <a:uFillTx/>
                <a:latin typeface="等线" panose="020F0502020204030204"/>
                <a:ea typeface="+mn-ea"/>
                <a:cs typeface="+mn-cs"/>
              </a:rPr>
              <a:t>Lorem Ipsum is simply dummy text of the printing and typesetting industry. Lorem Ipsum has been to.</a:t>
            </a:r>
          </a:p>
        </p:txBody>
      </p:sp>
      <p:sp>
        <p:nvSpPr>
          <p:cNvPr id="10" name="TextBox 28">
            <a:extLst>
              <a:ext uri="{FF2B5EF4-FFF2-40B4-BE49-F238E27FC236}">
                <a16:creationId xmlns:a16="http://schemas.microsoft.com/office/drawing/2014/main" id="{9EE46476-FD08-4627-858E-C4FBEBF8B9F5}"/>
              </a:ext>
            </a:extLst>
          </p:cNvPr>
          <p:cNvSpPr txBox="1"/>
          <p:nvPr/>
        </p:nvSpPr>
        <p:spPr>
          <a:xfrm>
            <a:off x="677890" y="3447078"/>
            <a:ext cx="2552073" cy="307777"/>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lumMod val="85000"/>
                    <a:lumOff val="15000"/>
                  </a:srgbClr>
                </a:solidFill>
                <a:effectLst/>
                <a:uLnTx/>
                <a:uFillTx/>
                <a:latin typeface="等线 Light" panose="020F0302020204030204"/>
                <a:ea typeface="+mn-ea"/>
                <a:cs typeface="+mn-cs"/>
              </a:rPr>
              <a:t>Subtitle Here</a:t>
            </a:r>
          </a:p>
        </p:txBody>
      </p:sp>
      <p:sp>
        <p:nvSpPr>
          <p:cNvPr id="11" name="Rectangle 29">
            <a:extLst>
              <a:ext uri="{FF2B5EF4-FFF2-40B4-BE49-F238E27FC236}">
                <a16:creationId xmlns:a16="http://schemas.microsoft.com/office/drawing/2014/main" id="{8A22842E-BFC6-4952-B0DB-C18414BCF425}"/>
              </a:ext>
            </a:extLst>
          </p:cNvPr>
          <p:cNvSpPr/>
          <p:nvPr/>
        </p:nvSpPr>
        <p:spPr>
          <a:xfrm>
            <a:off x="9093230" y="1513291"/>
            <a:ext cx="2236145" cy="693395"/>
          </a:xfrm>
          <a:prstGeom prst="rect">
            <a:avLst/>
          </a:prstGeom>
        </p:spPr>
        <p:txBody>
          <a:bodyPr wrap="square">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lumMod val="50000"/>
                    <a:lumOff val="50000"/>
                  </a:srgbClr>
                </a:solidFill>
                <a:effectLst/>
                <a:uLnTx/>
                <a:uFillTx/>
                <a:latin typeface="等线" panose="020F0502020204030204"/>
                <a:ea typeface="+mn-ea"/>
                <a:cs typeface="+mn-cs"/>
              </a:rPr>
              <a:t>Lorem Ipsum is simply dummy text of the printing and typesetting industry. Lorem Ipsum has been to.</a:t>
            </a:r>
          </a:p>
        </p:txBody>
      </p:sp>
      <p:sp>
        <p:nvSpPr>
          <p:cNvPr id="12" name="TextBox 30">
            <a:extLst>
              <a:ext uri="{FF2B5EF4-FFF2-40B4-BE49-F238E27FC236}">
                <a16:creationId xmlns:a16="http://schemas.microsoft.com/office/drawing/2014/main" id="{10586E4D-8A9F-47EB-B611-EA03D000C14C}"/>
              </a:ext>
            </a:extLst>
          </p:cNvPr>
          <p:cNvSpPr txBox="1"/>
          <p:nvPr/>
        </p:nvSpPr>
        <p:spPr>
          <a:xfrm>
            <a:off x="9093230" y="1197077"/>
            <a:ext cx="2552073"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lumMod val="85000"/>
                    <a:lumOff val="15000"/>
                  </a:srgbClr>
                </a:solidFill>
                <a:effectLst/>
                <a:uLnTx/>
                <a:uFillTx/>
                <a:latin typeface="等线 Light" panose="020F0302020204030204"/>
                <a:ea typeface="+mn-ea"/>
                <a:cs typeface="+mn-cs"/>
              </a:rPr>
              <a:t>Subtitle Here</a:t>
            </a:r>
          </a:p>
        </p:txBody>
      </p:sp>
      <p:sp>
        <p:nvSpPr>
          <p:cNvPr id="13" name="Rectangle 31">
            <a:extLst>
              <a:ext uri="{FF2B5EF4-FFF2-40B4-BE49-F238E27FC236}">
                <a16:creationId xmlns:a16="http://schemas.microsoft.com/office/drawing/2014/main" id="{590DBCDA-4630-4C7B-9341-AAD5314C50D5}"/>
              </a:ext>
            </a:extLst>
          </p:cNvPr>
          <p:cNvSpPr/>
          <p:nvPr/>
        </p:nvSpPr>
        <p:spPr>
          <a:xfrm>
            <a:off x="9093230" y="3042568"/>
            <a:ext cx="2236145" cy="693395"/>
          </a:xfrm>
          <a:prstGeom prst="rect">
            <a:avLst/>
          </a:prstGeom>
        </p:spPr>
        <p:txBody>
          <a:bodyPr wrap="square">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lumMod val="50000"/>
                    <a:lumOff val="50000"/>
                  </a:srgbClr>
                </a:solidFill>
                <a:effectLst/>
                <a:uLnTx/>
                <a:uFillTx/>
                <a:latin typeface="等线" panose="020F0502020204030204"/>
                <a:ea typeface="+mn-ea"/>
                <a:cs typeface="+mn-cs"/>
              </a:rPr>
              <a:t>Lorem Ipsum is simply dummy text of the printing and typesetting industry. Lorem Ipsum has been to.</a:t>
            </a:r>
          </a:p>
        </p:txBody>
      </p:sp>
      <p:sp>
        <p:nvSpPr>
          <p:cNvPr id="14" name="TextBox 32">
            <a:extLst>
              <a:ext uri="{FF2B5EF4-FFF2-40B4-BE49-F238E27FC236}">
                <a16:creationId xmlns:a16="http://schemas.microsoft.com/office/drawing/2014/main" id="{DACAB812-55F5-4EE4-84C8-C5CE09F5B032}"/>
              </a:ext>
            </a:extLst>
          </p:cNvPr>
          <p:cNvSpPr txBox="1"/>
          <p:nvPr/>
        </p:nvSpPr>
        <p:spPr>
          <a:xfrm>
            <a:off x="9093230" y="2726353"/>
            <a:ext cx="2552073"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lumMod val="85000"/>
                    <a:lumOff val="15000"/>
                  </a:srgbClr>
                </a:solidFill>
                <a:effectLst/>
                <a:uLnTx/>
                <a:uFillTx/>
                <a:latin typeface="等线 Light" panose="020F0302020204030204"/>
                <a:ea typeface="+mn-ea"/>
                <a:cs typeface="+mn-cs"/>
              </a:rPr>
              <a:t>Subtitle Here</a:t>
            </a:r>
          </a:p>
        </p:txBody>
      </p:sp>
      <p:sp>
        <p:nvSpPr>
          <p:cNvPr id="15" name="Rectangle 33">
            <a:extLst>
              <a:ext uri="{FF2B5EF4-FFF2-40B4-BE49-F238E27FC236}">
                <a16:creationId xmlns:a16="http://schemas.microsoft.com/office/drawing/2014/main" id="{1BC54729-E4EB-4902-B3E5-421A9BDEA27C}"/>
              </a:ext>
            </a:extLst>
          </p:cNvPr>
          <p:cNvSpPr/>
          <p:nvPr/>
        </p:nvSpPr>
        <p:spPr>
          <a:xfrm>
            <a:off x="9093230" y="4605643"/>
            <a:ext cx="2236145" cy="693395"/>
          </a:xfrm>
          <a:prstGeom prst="rect">
            <a:avLst/>
          </a:prstGeom>
        </p:spPr>
        <p:txBody>
          <a:bodyPr wrap="square">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lumMod val="50000"/>
                    <a:lumOff val="50000"/>
                  </a:srgbClr>
                </a:solidFill>
                <a:effectLst/>
                <a:uLnTx/>
                <a:uFillTx/>
                <a:latin typeface="等线" panose="020F0502020204030204"/>
                <a:ea typeface="+mn-ea"/>
                <a:cs typeface="+mn-cs"/>
              </a:rPr>
              <a:t>Lorem Ipsum is simply dummy text of the printing and typesetting industry. Lorem Ipsum has been to.</a:t>
            </a:r>
          </a:p>
        </p:txBody>
      </p:sp>
      <p:sp>
        <p:nvSpPr>
          <p:cNvPr id="16" name="TextBox 34">
            <a:extLst>
              <a:ext uri="{FF2B5EF4-FFF2-40B4-BE49-F238E27FC236}">
                <a16:creationId xmlns:a16="http://schemas.microsoft.com/office/drawing/2014/main" id="{CD28BCAF-3D11-4E7C-A2AE-A80FB2A4C011}"/>
              </a:ext>
            </a:extLst>
          </p:cNvPr>
          <p:cNvSpPr txBox="1"/>
          <p:nvPr/>
        </p:nvSpPr>
        <p:spPr>
          <a:xfrm>
            <a:off x="9093230" y="4289429"/>
            <a:ext cx="2552073"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lumMod val="85000"/>
                    <a:lumOff val="15000"/>
                  </a:srgbClr>
                </a:solidFill>
                <a:effectLst/>
                <a:uLnTx/>
                <a:uFillTx/>
                <a:latin typeface="等线 Light" panose="020F0302020204030204"/>
                <a:ea typeface="+mn-ea"/>
                <a:cs typeface="+mn-cs"/>
              </a:rPr>
              <a:t>Subtitle Here</a:t>
            </a:r>
          </a:p>
        </p:txBody>
      </p:sp>
      <p:grpSp>
        <p:nvGrpSpPr>
          <p:cNvPr id="17" name="Group 19">
            <a:extLst>
              <a:ext uri="{FF2B5EF4-FFF2-40B4-BE49-F238E27FC236}">
                <a16:creationId xmlns:a16="http://schemas.microsoft.com/office/drawing/2014/main" id="{84BC04C2-3CF9-40F9-81BA-E750BA374EA3}"/>
              </a:ext>
            </a:extLst>
          </p:cNvPr>
          <p:cNvGrpSpPr/>
          <p:nvPr/>
        </p:nvGrpSpPr>
        <p:grpSpPr>
          <a:xfrm>
            <a:off x="4048127" y="1350963"/>
            <a:ext cx="4095751" cy="5510788"/>
            <a:chOff x="4048126" y="1350963"/>
            <a:chExt cx="4095750" cy="5510788"/>
          </a:xfrm>
        </p:grpSpPr>
        <p:sp>
          <p:nvSpPr>
            <p:cNvPr id="18" name="Freeform 9">
              <a:extLst>
                <a:ext uri="{FF2B5EF4-FFF2-40B4-BE49-F238E27FC236}">
                  <a16:creationId xmlns:a16="http://schemas.microsoft.com/office/drawing/2014/main" id="{EBEF0EE9-2037-453A-B016-C0BFBF4A0B12}"/>
                </a:ext>
              </a:extLst>
            </p:cNvPr>
            <p:cNvSpPr>
              <a:spLocks/>
            </p:cNvSpPr>
            <p:nvPr/>
          </p:nvSpPr>
          <p:spPr bwMode="auto">
            <a:xfrm>
              <a:off x="6027738" y="4922838"/>
              <a:ext cx="803275" cy="1760538"/>
            </a:xfrm>
            <a:custGeom>
              <a:avLst/>
              <a:gdLst>
                <a:gd name="T0" fmla="*/ 506 w 506"/>
                <a:gd name="T1" fmla="*/ 102 h 1109"/>
                <a:gd name="T2" fmla="*/ 506 w 506"/>
                <a:gd name="T3" fmla="*/ 0 h 1109"/>
                <a:gd name="T4" fmla="*/ 0 w 506"/>
                <a:gd name="T5" fmla="*/ 255 h 1109"/>
                <a:gd name="T6" fmla="*/ 0 w 506"/>
                <a:gd name="T7" fmla="*/ 1109 h 1109"/>
                <a:gd name="T8" fmla="*/ 102 w 506"/>
                <a:gd name="T9" fmla="*/ 1109 h 1109"/>
                <a:gd name="T10" fmla="*/ 102 w 506"/>
                <a:gd name="T11" fmla="*/ 743 h 1109"/>
                <a:gd name="T12" fmla="*/ 102 w 506"/>
                <a:gd name="T13" fmla="*/ 743 h 1109"/>
                <a:gd name="T14" fmla="*/ 102 w 506"/>
                <a:gd name="T15" fmla="*/ 306 h 1109"/>
                <a:gd name="T16" fmla="*/ 506 w 506"/>
                <a:gd name="T17" fmla="*/ 102 h 1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6" h="1109">
                  <a:moveTo>
                    <a:pt x="506" y="102"/>
                  </a:moveTo>
                  <a:lnTo>
                    <a:pt x="506" y="0"/>
                  </a:lnTo>
                  <a:lnTo>
                    <a:pt x="0" y="255"/>
                  </a:lnTo>
                  <a:lnTo>
                    <a:pt x="0" y="1109"/>
                  </a:lnTo>
                  <a:lnTo>
                    <a:pt x="102" y="1109"/>
                  </a:lnTo>
                  <a:lnTo>
                    <a:pt x="102" y="743"/>
                  </a:lnTo>
                  <a:lnTo>
                    <a:pt x="102" y="743"/>
                  </a:lnTo>
                  <a:lnTo>
                    <a:pt x="102" y="306"/>
                  </a:lnTo>
                  <a:lnTo>
                    <a:pt x="506" y="102"/>
                  </a:lnTo>
                  <a:close/>
                </a:path>
              </a:pathLst>
            </a:custGeom>
            <a:solidFill>
              <a:schemeClr val="accent4"/>
            </a:solidFill>
            <a:ln w="33338"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19" name="Rectangle 10">
              <a:extLst>
                <a:ext uri="{FF2B5EF4-FFF2-40B4-BE49-F238E27FC236}">
                  <a16:creationId xmlns:a16="http://schemas.microsoft.com/office/drawing/2014/main" id="{16AE9CBD-11A0-4872-BF3E-E94ECB7C421E}"/>
                </a:ext>
              </a:extLst>
            </p:cNvPr>
            <p:cNvSpPr>
              <a:spLocks noChangeArrowheads="1"/>
            </p:cNvSpPr>
            <p:nvPr/>
          </p:nvSpPr>
          <p:spPr bwMode="auto">
            <a:xfrm>
              <a:off x="4770438" y="6555363"/>
              <a:ext cx="2690813" cy="3063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grpSp>
          <p:nvGrpSpPr>
            <p:cNvPr id="20" name="Group 18">
              <a:extLst>
                <a:ext uri="{FF2B5EF4-FFF2-40B4-BE49-F238E27FC236}">
                  <a16:creationId xmlns:a16="http://schemas.microsoft.com/office/drawing/2014/main" id="{87BD104D-70AF-4024-A62D-34364C610C5B}"/>
                </a:ext>
              </a:extLst>
            </p:cNvPr>
            <p:cNvGrpSpPr/>
            <p:nvPr/>
          </p:nvGrpSpPr>
          <p:grpSpPr>
            <a:xfrm>
              <a:off x="4048126" y="1350963"/>
              <a:ext cx="4095750" cy="4919663"/>
              <a:chOff x="4048126" y="1350963"/>
              <a:chExt cx="4095750" cy="4919663"/>
            </a:xfrm>
          </p:grpSpPr>
          <p:sp>
            <p:nvSpPr>
              <p:cNvPr id="21" name="Freeform 5">
                <a:extLst>
                  <a:ext uri="{FF2B5EF4-FFF2-40B4-BE49-F238E27FC236}">
                    <a16:creationId xmlns:a16="http://schemas.microsoft.com/office/drawing/2014/main" id="{46C23C07-1223-4726-B09C-51F4191FCC1F}"/>
                  </a:ext>
                </a:extLst>
              </p:cNvPr>
              <p:cNvSpPr>
                <a:spLocks/>
              </p:cNvSpPr>
              <p:nvPr/>
            </p:nvSpPr>
            <p:spPr bwMode="auto">
              <a:xfrm>
                <a:off x="6027738" y="2281238"/>
                <a:ext cx="803275" cy="2008188"/>
              </a:xfrm>
              <a:custGeom>
                <a:avLst/>
                <a:gdLst>
                  <a:gd name="T0" fmla="*/ 506 w 506"/>
                  <a:gd name="T1" fmla="*/ 118 h 1265"/>
                  <a:gd name="T2" fmla="*/ 506 w 506"/>
                  <a:gd name="T3" fmla="*/ 0 h 1265"/>
                  <a:gd name="T4" fmla="*/ 0 w 506"/>
                  <a:gd name="T5" fmla="*/ 291 h 1265"/>
                  <a:gd name="T6" fmla="*/ 0 w 506"/>
                  <a:gd name="T7" fmla="*/ 1265 h 1265"/>
                  <a:gd name="T8" fmla="*/ 102 w 506"/>
                  <a:gd name="T9" fmla="*/ 1265 h 1265"/>
                  <a:gd name="T10" fmla="*/ 102 w 506"/>
                  <a:gd name="T11" fmla="*/ 849 h 1265"/>
                  <a:gd name="T12" fmla="*/ 102 w 506"/>
                  <a:gd name="T13" fmla="*/ 849 h 1265"/>
                  <a:gd name="T14" fmla="*/ 102 w 506"/>
                  <a:gd name="T15" fmla="*/ 350 h 1265"/>
                  <a:gd name="T16" fmla="*/ 506 w 506"/>
                  <a:gd name="T17" fmla="*/ 118 h 1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6" h="1265">
                    <a:moveTo>
                      <a:pt x="506" y="118"/>
                    </a:moveTo>
                    <a:lnTo>
                      <a:pt x="506" y="0"/>
                    </a:lnTo>
                    <a:lnTo>
                      <a:pt x="0" y="291"/>
                    </a:lnTo>
                    <a:lnTo>
                      <a:pt x="0" y="1265"/>
                    </a:lnTo>
                    <a:lnTo>
                      <a:pt x="102" y="1265"/>
                    </a:lnTo>
                    <a:lnTo>
                      <a:pt x="102" y="849"/>
                    </a:lnTo>
                    <a:lnTo>
                      <a:pt x="102" y="849"/>
                    </a:lnTo>
                    <a:lnTo>
                      <a:pt x="102" y="350"/>
                    </a:lnTo>
                    <a:lnTo>
                      <a:pt x="506" y="118"/>
                    </a:lnTo>
                    <a:close/>
                  </a:path>
                </a:pathLst>
              </a:custGeom>
              <a:solidFill>
                <a:schemeClr val="accent2"/>
              </a:solidFill>
              <a:ln w="3492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22" name="Freeform 6">
                <a:extLst>
                  <a:ext uri="{FF2B5EF4-FFF2-40B4-BE49-F238E27FC236}">
                    <a16:creationId xmlns:a16="http://schemas.microsoft.com/office/drawing/2014/main" id="{3656E8D5-B635-47C8-A3CE-03046027147D}"/>
                  </a:ext>
                </a:extLst>
              </p:cNvPr>
              <p:cNvSpPr>
                <a:spLocks/>
              </p:cNvSpPr>
              <p:nvPr/>
            </p:nvSpPr>
            <p:spPr bwMode="auto">
              <a:xfrm>
                <a:off x="5375276" y="2941638"/>
                <a:ext cx="803275" cy="2008188"/>
              </a:xfrm>
              <a:custGeom>
                <a:avLst/>
                <a:gdLst>
                  <a:gd name="T0" fmla="*/ 0 w 506"/>
                  <a:gd name="T1" fmla="*/ 117 h 1265"/>
                  <a:gd name="T2" fmla="*/ 0 w 506"/>
                  <a:gd name="T3" fmla="*/ 0 h 1265"/>
                  <a:gd name="T4" fmla="*/ 506 w 506"/>
                  <a:gd name="T5" fmla="*/ 290 h 1265"/>
                  <a:gd name="T6" fmla="*/ 506 w 506"/>
                  <a:gd name="T7" fmla="*/ 1265 h 1265"/>
                  <a:gd name="T8" fmla="*/ 404 w 506"/>
                  <a:gd name="T9" fmla="*/ 1265 h 1265"/>
                  <a:gd name="T10" fmla="*/ 404 w 506"/>
                  <a:gd name="T11" fmla="*/ 848 h 1265"/>
                  <a:gd name="T12" fmla="*/ 404 w 506"/>
                  <a:gd name="T13" fmla="*/ 848 h 1265"/>
                  <a:gd name="T14" fmla="*/ 404 w 506"/>
                  <a:gd name="T15" fmla="*/ 350 h 1265"/>
                  <a:gd name="T16" fmla="*/ 0 w 506"/>
                  <a:gd name="T17" fmla="*/ 117 h 1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6" h="1265">
                    <a:moveTo>
                      <a:pt x="0" y="117"/>
                    </a:moveTo>
                    <a:lnTo>
                      <a:pt x="0" y="0"/>
                    </a:lnTo>
                    <a:lnTo>
                      <a:pt x="506" y="290"/>
                    </a:lnTo>
                    <a:lnTo>
                      <a:pt x="506" y="1265"/>
                    </a:lnTo>
                    <a:lnTo>
                      <a:pt x="404" y="1265"/>
                    </a:lnTo>
                    <a:lnTo>
                      <a:pt x="404" y="848"/>
                    </a:lnTo>
                    <a:lnTo>
                      <a:pt x="404" y="848"/>
                    </a:lnTo>
                    <a:lnTo>
                      <a:pt x="404" y="350"/>
                    </a:lnTo>
                    <a:lnTo>
                      <a:pt x="0" y="117"/>
                    </a:lnTo>
                    <a:close/>
                  </a:path>
                </a:pathLst>
              </a:custGeom>
              <a:solidFill>
                <a:schemeClr val="accent1"/>
              </a:solidFill>
              <a:ln w="3492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23" name="Freeform 7">
                <a:extLst>
                  <a:ext uri="{FF2B5EF4-FFF2-40B4-BE49-F238E27FC236}">
                    <a16:creationId xmlns:a16="http://schemas.microsoft.com/office/drawing/2014/main" id="{C53A2B6C-F7C1-401A-8063-6E7E3310A37E}"/>
                  </a:ext>
                </a:extLst>
              </p:cNvPr>
              <p:cNvSpPr>
                <a:spLocks/>
              </p:cNvSpPr>
              <p:nvPr/>
            </p:nvSpPr>
            <p:spPr bwMode="auto">
              <a:xfrm>
                <a:off x="6027738" y="3602038"/>
                <a:ext cx="803275" cy="2008188"/>
              </a:xfrm>
              <a:custGeom>
                <a:avLst/>
                <a:gdLst>
                  <a:gd name="T0" fmla="*/ 506 w 506"/>
                  <a:gd name="T1" fmla="*/ 116 h 1265"/>
                  <a:gd name="T2" fmla="*/ 506 w 506"/>
                  <a:gd name="T3" fmla="*/ 0 h 1265"/>
                  <a:gd name="T4" fmla="*/ 0 w 506"/>
                  <a:gd name="T5" fmla="*/ 290 h 1265"/>
                  <a:gd name="T6" fmla="*/ 0 w 506"/>
                  <a:gd name="T7" fmla="*/ 1265 h 1265"/>
                  <a:gd name="T8" fmla="*/ 102 w 506"/>
                  <a:gd name="T9" fmla="*/ 1265 h 1265"/>
                  <a:gd name="T10" fmla="*/ 102 w 506"/>
                  <a:gd name="T11" fmla="*/ 848 h 1265"/>
                  <a:gd name="T12" fmla="*/ 102 w 506"/>
                  <a:gd name="T13" fmla="*/ 848 h 1265"/>
                  <a:gd name="T14" fmla="*/ 102 w 506"/>
                  <a:gd name="T15" fmla="*/ 349 h 1265"/>
                  <a:gd name="T16" fmla="*/ 506 w 506"/>
                  <a:gd name="T17" fmla="*/ 116 h 1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6" h="1265">
                    <a:moveTo>
                      <a:pt x="506" y="116"/>
                    </a:moveTo>
                    <a:lnTo>
                      <a:pt x="506" y="0"/>
                    </a:lnTo>
                    <a:lnTo>
                      <a:pt x="0" y="290"/>
                    </a:lnTo>
                    <a:lnTo>
                      <a:pt x="0" y="1265"/>
                    </a:lnTo>
                    <a:lnTo>
                      <a:pt x="102" y="1265"/>
                    </a:lnTo>
                    <a:lnTo>
                      <a:pt x="102" y="848"/>
                    </a:lnTo>
                    <a:lnTo>
                      <a:pt x="102" y="848"/>
                    </a:lnTo>
                    <a:lnTo>
                      <a:pt x="102" y="349"/>
                    </a:lnTo>
                    <a:lnTo>
                      <a:pt x="506" y="116"/>
                    </a:lnTo>
                    <a:close/>
                  </a:path>
                </a:pathLst>
              </a:custGeom>
              <a:solidFill>
                <a:schemeClr val="accent3"/>
              </a:solidFill>
              <a:ln w="3492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24" name="Freeform 8">
                <a:extLst>
                  <a:ext uri="{FF2B5EF4-FFF2-40B4-BE49-F238E27FC236}">
                    <a16:creationId xmlns:a16="http://schemas.microsoft.com/office/drawing/2014/main" id="{27A79017-3C51-4DAE-93D6-5CEAD5CA2DD8}"/>
                  </a:ext>
                </a:extLst>
              </p:cNvPr>
              <p:cNvSpPr>
                <a:spLocks/>
              </p:cNvSpPr>
              <p:nvPr/>
            </p:nvSpPr>
            <p:spPr bwMode="auto">
              <a:xfrm>
                <a:off x="5375276" y="4262438"/>
                <a:ext cx="803275" cy="2008188"/>
              </a:xfrm>
              <a:custGeom>
                <a:avLst/>
                <a:gdLst>
                  <a:gd name="T0" fmla="*/ 0 w 506"/>
                  <a:gd name="T1" fmla="*/ 116 h 1265"/>
                  <a:gd name="T2" fmla="*/ 0 w 506"/>
                  <a:gd name="T3" fmla="*/ 0 h 1265"/>
                  <a:gd name="T4" fmla="*/ 506 w 506"/>
                  <a:gd name="T5" fmla="*/ 290 h 1265"/>
                  <a:gd name="T6" fmla="*/ 506 w 506"/>
                  <a:gd name="T7" fmla="*/ 1265 h 1265"/>
                  <a:gd name="T8" fmla="*/ 404 w 506"/>
                  <a:gd name="T9" fmla="*/ 1265 h 1265"/>
                  <a:gd name="T10" fmla="*/ 404 w 506"/>
                  <a:gd name="T11" fmla="*/ 848 h 1265"/>
                  <a:gd name="T12" fmla="*/ 404 w 506"/>
                  <a:gd name="T13" fmla="*/ 848 h 1265"/>
                  <a:gd name="T14" fmla="*/ 404 w 506"/>
                  <a:gd name="T15" fmla="*/ 349 h 1265"/>
                  <a:gd name="T16" fmla="*/ 0 w 506"/>
                  <a:gd name="T17" fmla="*/ 116 h 1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6" h="1265">
                    <a:moveTo>
                      <a:pt x="0" y="116"/>
                    </a:moveTo>
                    <a:lnTo>
                      <a:pt x="0" y="0"/>
                    </a:lnTo>
                    <a:lnTo>
                      <a:pt x="506" y="290"/>
                    </a:lnTo>
                    <a:lnTo>
                      <a:pt x="506" y="1265"/>
                    </a:lnTo>
                    <a:lnTo>
                      <a:pt x="404" y="1265"/>
                    </a:lnTo>
                    <a:lnTo>
                      <a:pt x="404" y="848"/>
                    </a:lnTo>
                    <a:lnTo>
                      <a:pt x="404" y="848"/>
                    </a:lnTo>
                    <a:lnTo>
                      <a:pt x="404" y="349"/>
                    </a:lnTo>
                    <a:lnTo>
                      <a:pt x="0" y="116"/>
                    </a:lnTo>
                    <a:close/>
                  </a:path>
                </a:pathLst>
              </a:custGeom>
              <a:solidFill>
                <a:schemeClr val="tx2"/>
              </a:solidFill>
              <a:ln w="3492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grpSp>
            <p:nvGrpSpPr>
              <p:cNvPr id="25" name="Group 17">
                <a:extLst>
                  <a:ext uri="{FF2B5EF4-FFF2-40B4-BE49-F238E27FC236}">
                    <a16:creationId xmlns:a16="http://schemas.microsoft.com/office/drawing/2014/main" id="{572D594D-1317-4F83-9C35-BAE1107F4F06}"/>
                  </a:ext>
                </a:extLst>
              </p:cNvPr>
              <p:cNvGrpSpPr/>
              <p:nvPr/>
            </p:nvGrpSpPr>
            <p:grpSpPr>
              <a:xfrm>
                <a:off x="6651626" y="1350963"/>
                <a:ext cx="1450975" cy="1444625"/>
                <a:chOff x="6651626" y="1350963"/>
                <a:chExt cx="1450975" cy="1444625"/>
              </a:xfrm>
            </p:grpSpPr>
            <p:sp>
              <p:nvSpPr>
                <p:cNvPr id="71" name="Oval 13">
                  <a:extLst>
                    <a:ext uri="{FF2B5EF4-FFF2-40B4-BE49-F238E27FC236}">
                      <a16:creationId xmlns:a16="http://schemas.microsoft.com/office/drawing/2014/main" id="{FEC435A0-EEC2-4B14-BF0E-3428ED1468B5}"/>
                    </a:ext>
                  </a:extLst>
                </p:cNvPr>
                <p:cNvSpPr>
                  <a:spLocks noChangeArrowheads="1"/>
                </p:cNvSpPr>
                <p:nvPr/>
              </p:nvSpPr>
              <p:spPr bwMode="auto">
                <a:xfrm>
                  <a:off x="6651626" y="1350963"/>
                  <a:ext cx="1450975" cy="1444625"/>
                </a:xfrm>
                <a:prstGeom prst="ellipse">
                  <a:avLst/>
                </a:pr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grpSp>
              <p:nvGrpSpPr>
                <p:cNvPr id="72" name="Group 35">
                  <a:extLst>
                    <a:ext uri="{FF2B5EF4-FFF2-40B4-BE49-F238E27FC236}">
                      <a16:creationId xmlns:a16="http://schemas.microsoft.com/office/drawing/2014/main" id="{CB1BE09D-A8C0-4A42-BAC3-91DE400F2850}"/>
                    </a:ext>
                  </a:extLst>
                </p:cNvPr>
                <p:cNvGrpSpPr/>
                <p:nvPr/>
              </p:nvGrpSpPr>
              <p:grpSpPr>
                <a:xfrm>
                  <a:off x="7204076" y="1908969"/>
                  <a:ext cx="346075" cy="328613"/>
                  <a:chOff x="2257425" y="1412875"/>
                  <a:chExt cx="346075" cy="328613"/>
                </a:xfrm>
                <a:solidFill>
                  <a:schemeClr val="bg1"/>
                </a:solidFill>
              </p:grpSpPr>
              <p:sp>
                <p:nvSpPr>
                  <p:cNvPr id="73" name="Freeform 5">
                    <a:extLst>
                      <a:ext uri="{FF2B5EF4-FFF2-40B4-BE49-F238E27FC236}">
                        <a16:creationId xmlns:a16="http://schemas.microsoft.com/office/drawing/2014/main" id="{F01D99DB-81A5-46A8-A984-6EC72CD48088}"/>
                      </a:ext>
                    </a:extLst>
                  </p:cNvPr>
                  <p:cNvSpPr>
                    <a:spLocks noEditPoints="1"/>
                  </p:cNvSpPr>
                  <p:nvPr/>
                </p:nvSpPr>
                <p:spPr bwMode="auto">
                  <a:xfrm>
                    <a:off x="2493963" y="1520825"/>
                    <a:ext cx="74612" cy="74613"/>
                  </a:xfrm>
                  <a:custGeom>
                    <a:avLst/>
                    <a:gdLst>
                      <a:gd name="T0" fmla="*/ 11 w 23"/>
                      <a:gd name="T1" fmla="*/ 23 h 23"/>
                      <a:gd name="T2" fmla="*/ 23 w 23"/>
                      <a:gd name="T3" fmla="*/ 12 h 23"/>
                      <a:gd name="T4" fmla="*/ 11 w 23"/>
                      <a:gd name="T5" fmla="*/ 0 h 23"/>
                      <a:gd name="T6" fmla="*/ 0 w 23"/>
                      <a:gd name="T7" fmla="*/ 12 h 23"/>
                      <a:gd name="T8" fmla="*/ 11 w 23"/>
                      <a:gd name="T9" fmla="*/ 23 h 23"/>
                      <a:gd name="T10" fmla="*/ 11 w 23"/>
                      <a:gd name="T11" fmla="*/ 23 h 23"/>
                      <a:gd name="T12" fmla="*/ 11 w 23"/>
                      <a:gd name="T13" fmla="*/ 23 h 23"/>
                    </a:gdLst>
                    <a:ahLst/>
                    <a:cxnLst>
                      <a:cxn ang="0">
                        <a:pos x="T0" y="T1"/>
                      </a:cxn>
                      <a:cxn ang="0">
                        <a:pos x="T2" y="T3"/>
                      </a:cxn>
                      <a:cxn ang="0">
                        <a:pos x="T4" y="T5"/>
                      </a:cxn>
                      <a:cxn ang="0">
                        <a:pos x="T6" y="T7"/>
                      </a:cxn>
                      <a:cxn ang="0">
                        <a:pos x="T8" y="T9"/>
                      </a:cxn>
                      <a:cxn ang="0">
                        <a:pos x="T10" y="T11"/>
                      </a:cxn>
                      <a:cxn ang="0">
                        <a:pos x="T12" y="T13"/>
                      </a:cxn>
                    </a:cxnLst>
                    <a:rect l="0" t="0" r="r" b="b"/>
                    <a:pathLst>
                      <a:path w="23" h="23">
                        <a:moveTo>
                          <a:pt x="11" y="23"/>
                        </a:moveTo>
                        <a:cubicBezTo>
                          <a:pt x="18" y="23"/>
                          <a:pt x="23" y="18"/>
                          <a:pt x="23" y="12"/>
                        </a:cubicBezTo>
                        <a:cubicBezTo>
                          <a:pt x="23" y="6"/>
                          <a:pt x="18" y="0"/>
                          <a:pt x="11" y="0"/>
                        </a:cubicBezTo>
                        <a:cubicBezTo>
                          <a:pt x="5" y="0"/>
                          <a:pt x="0" y="6"/>
                          <a:pt x="0" y="12"/>
                        </a:cubicBezTo>
                        <a:cubicBezTo>
                          <a:pt x="0" y="18"/>
                          <a:pt x="5" y="23"/>
                          <a:pt x="11" y="23"/>
                        </a:cubicBezTo>
                        <a:close/>
                        <a:moveTo>
                          <a:pt x="11" y="23"/>
                        </a:moveTo>
                        <a:cubicBezTo>
                          <a:pt x="11" y="23"/>
                          <a:pt x="11" y="23"/>
                          <a:pt x="11" y="2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74" name="Freeform 6">
                    <a:extLst>
                      <a:ext uri="{FF2B5EF4-FFF2-40B4-BE49-F238E27FC236}">
                        <a16:creationId xmlns:a16="http://schemas.microsoft.com/office/drawing/2014/main" id="{33FA1AA1-FE8C-4ED7-A21F-B8B6325B0AAC}"/>
                      </a:ext>
                    </a:extLst>
                  </p:cNvPr>
                  <p:cNvSpPr>
                    <a:spLocks noEditPoints="1"/>
                  </p:cNvSpPr>
                  <p:nvPr/>
                </p:nvSpPr>
                <p:spPr bwMode="auto">
                  <a:xfrm>
                    <a:off x="2257425" y="1703388"/>
                    <a:ext cx="346075" cy="38100"/>
                  </a:xfrm>
                  <a:custGeom>
                    <a:avLst/>
                    <a:gdLst>
                      <a:gd name="T0" fmla="*/ 105 w 107"/>
                      <a:gd name="T1" fmla="*/ 0 h 12"/>
                      <a:gd name="T2" fmla="*/ 2 w 107"/>
                      <a:gd name="T3" fmla="*/ 0 h 12"/>
                      <a:gd name="T4" fmla="*/ 0 w 107"/>
                      <a:gd name="T5" fmla="*/ 2 h 12"/>
                      <a:gd name="T6" fmla="*/ 0 w 107"/>
                      <a:gd name="T7" fmla="*/ 10 h 12"/>
                      <a:gd name="T8" fmla="*/ 2 w 107"/>
                      <a:gd name="T9" fmla="*/ 12 h 12"/>
                      <a:gd name="T10" fmla="*/ 105 w 107"/>
                      <a:gd name="T11" fmla="*/ 12 h 12"/>
                      <a:gd name="T12" fmla="*/ 107 w 107"/>
                      <a:gd name="T13" fmla="*/ 10 h 12"/>
                      <a:gd name="T14" fmla="*/ 107 w 107"/>
                      <a:gd name="T15" fmla="*/ 2 h 12"/>
                      <a:gd name="T16" fmla="*/ 105 w 107"/>
                      <a:gd name="T17" fmla="*/ 0 h 12"/>
                      <a:gd name="T18" fmla="*/ 105 w 107"/>
                      <a:gd name="T19" fmla="*/ 0 h 12"/>
                      <a:gd name="T20" fmla="*/ 105 w 107"/>
                      <a:gd name="T21"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7" h="12">
                        <a:moveTo>
                          <a:pt x="105" y="0"/>
                        </a:moveTo>
                        <a:cubicBezTo>
                          <a:pt x="2" y="0"/>
                          <a:pt x="2" y="0"/>
                          <a:pt x="2" y="0"/>
                        </a:cubicBezTo>
                        <a:cubicBezTo>
                          <a:pt x="1" y="0"/>
                          <a:pt x="0" y="1"/>
                          <a:pt x="0" y="2"/>
                        </a:cubicBezTo>
                        <a:cubicBezTo>
                          <a:pt x="0" y="10"/>
                          <a:pt x="0" y="10"/>
                          <a:pt x="0" y="10"/>
                        </a:cubicBezTo>
                        <a:cubicBezTo>
                          <a:pt x="0" y="11"/>
                          <a:pt x="1" y="12"/>
                          <a:pt x="2" y="12"/>
                        </a:cubicBezTo>
                        <a:cubicBezTo>
                          <a:pt x="105" y="12"/>
                          <a:pt x="105" y="12"/>
                          <a:pt x="105" y="12"/>
                        </a:cubicBezTo>
                        <a:cubicBezTo>
                          <a:pt x="106" y="12"/>
                          <a:pt x="107" y="11"/>
                          <a:pt x="107" y="10"/>
                        </a:cubicBezTo>
                        <a:cubicBezTo>
                          <a:pt x="107" y="2"/>
                          <a:pt x="107" y="2"/>
                          <a:pt x="107" y="2"/>
                        </a:cubicBezTo>
                        <a:cubicBezTo>
                          <a:pt x="107" y="1"/>
                          <a:pt x="106" y="0"/>
                          <a:pt x="105" y="0"/>
                        </a:cubicBezTo>
                        <a:close/>
                        <a:moveTo>
                          <a:pt x="105" y="0"/>
                        </a:moveTo>
                        <a:cubicBezTo>
                          <a:pt x="105" y="0"/>
                          <a:pt x="105" y="0"/>
                          <a:pt x="10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75" name="Freeform 7">
                    <a:extLst>
                      <a:ext uri="{FF2B5EF4-FFF2-40B4-BE49-F238E27FC236}">
                        <a16:creationId xmlns:a16="http://schemas.microsoft.com/office/drawing/2014/main" id="{A1E0EB82-F6D2-4075-91E6-713E5E2E26DE}"/>
                      </a:ext>
                    </a:extLst>
                  </p:cNvPr>
                  <p:cNvSpPr>
                    <a:spLocks noEditPoints="1"/>
                  </p:cNvSpPr>
                  <p:nvPr/>
                </p:nvSpPr>
                <p:spPr bwMode="auto">
                  <a:xfrm>
                    <a:off x="2457450" y="1608138"/>
                    <a:ext cx="142875" cy="77788"/>
                  </a:xfrm>
                  <a:custGeom>
                    <a:avLst/>
                    <a:gdLst>
                      <a:gd name="T0" fmla="*/ 0 w 44"/>
                      <a:gd name="T1" fmla="*/ 11 h 24"/>
                      <a:gd name="T2" fmla="*/ 0 w 44"/>
                      <a:gd name="T3" fmla="*/ 24 h 24"/>
                      <a:gd name="T4" fmla="*/ 43 w 44"/>
                      <a:gd name="T5" fmla="*/ 24 h 24"/>
                      <a:gd name="T6" fmla="*/ 44 w 44"/>
                      <a:gd name="T7" fmla="*/ 24 h 24"/>
                      <a:gd name="T8" fmla="*/ 44 w 44"/>
                      <a:gd name="T9" fmla="*/ 11 h 24"/>
                      <a:gd name="T10" fmla="*/ 37 w 44"/>
                      <a:gd name="T11" fmla="*/ 1 h 24"/>
                      <a:gd name="T12" fmla="*/ 37 w 44"/>
                      <a:gd name="T13" fmla="*/ 1 h 24"/>
                      <a:gd name="T14" fmla="*/ 31 w 44"/>
                      <a:gd name="T15" fmla="*/ 0 h 24"/>
                      <a:gd name="T16" fmla="*/ 30 w 44"/>
                      <a:gd name="T17" fmla="*/ 1 h 24"/>
                      <a:gd name="T18" fmla="*/ 23 w 44"/>
                      <a:gd name="T19" fmla="*/ 20 h 24"/>
                      <a:gd name="T20" fmla="*/ 21 w 44"/>
                      <a:gd name="T21" fmla="*/ 20 h 24"/>
                      <a:gd name="T22" fmla="*/ 14 w 44"/>
                      <a:gd name="T23" fmla="*/ 1 h 24"/>
                      <a:gd name="T24" fmla="*/ 13 w 44"/>
                      <a:gd name="T25" fmla="*/ 0 h 24"/>
                      <a:gd name="T26" fmla="*/ 13 w 44"/>
                      <a:gd name="T27" fmla="*/ 0 h 24"/>
                      <a:gd name="T28" fmla="*/ 7 w 44"/>
                      <a:gd name="T29" fmla="*/ 1 h 24"/>
                      <a:gd name="T30" fmla="*/ 0 w 44"/>
                      <a:gd name="T31" fmla="*/ 11 h 24"/>
                      <a:gd name="T32" fmla="*/ 0 w 44"/>
                      <a:gd name="T33" fmla="*/ 11 h 24"/>
                      <a:gd name="T34" fmla="*/ 0 w 44"/>
                      <a:gd name="T35" fmla="*/ 11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4" h="24">
                        <a:moveTo>
                          <a:pt x="0" y="11"/>
                        </a:moveTo>
                        <a:cubicBezTo>
                          <a:pt x="0" y="24"/>
                          <a:pt x="0" y="24"/>
                          <a:pt x="0" y="24"/>
                        </a:cubicBezTo>
                        <a:cubicBezTo>
                          <a:pt x="43" y="24"/>
                          <a:pt x="43" y="24"/>
                          <a:pt x="43" y="24"/>
                        </a:cubicBezTo>
                        <a:cubicBezTo>
                          <a:pt x="44" y="24"/>
                          <a:pt x="44" y="24"/>
                          <a:pt x="44" y="24"/>
                        </a:cubicBezTo>
                        <a:cubicBezTo>
                          <a:pt x="44" y="11"/>
                          <a:pt x="44" y="11"/>
                          <a:pt x="44" y="11"/>
                        </a:cubicBezTo>
                        <a:cubicBezTo>
                          <a:pt x="44" y="7"/>
                          <a:pt x="41" y="3"/>
                          <a:pt x="37" y="1"/>
                        </a:cubicBezTo>
                        <a:cubicBezTo>
                          <a:pt x="37" y="1"/>
                          <a:pt x="37" y="1"/>
                          <a:pt x="37" y="1"/>
                        </a:cubicBezTo>
                        <a:cubicBezTo>
                          <a:pt x="31" y="0"/>
                          <a:pt x="31" y="0"/>
                          <a:pt x="31" y="0"/>
                        </a:cubicBezTo>
                        <a:cubicBezTo>
                          <a:pt x="31" y="0"/>
                          <a:pt x="30" y="1"/>
                          <a:pt x="30" y="1"/>
                        </a:cubicBezTo>
                        <a:cubicBezTo>
                          <a:pt x="23" y="20"/>
                          <a:pt x="23" y="20"/>
                          <a:pt x="23" y="20"/>
                        </a:cubicBezTo>
                        <a:cubicBezTo>
                          <a:pt x="23" y="21"/>
                          <a:pt x="22" y="21"/>
                          <a:pt x="21" y="20"/>
                        </a:cubicBezTo>
                        <a:cubicBezTo>
                          <a:pt x="14" y="1"/>
                          <a:pt x="14" y="1"/>
                          <a:pt x="14" y="1"/>
                        </a:cubicBezTo>
                        <a:cubicBezTo>
                          <a:pt x="14" y="1"/>
                          <a:pt x="14" y="0"/>
                          <a:pt x="13" y="0"/>
                        </a:cubicBezTo>
                        <a:cubicBezTo>
                          <a:pt x="13" y="0"/>
                          <a:pt x="13" y="0"/>
                          <a:pt x="13" y="0"/>
                        </a:cubicBezTo>
                        <a:cubicBezTo>
                          <a:pt x="7" y="1"/>
                          <a:pt x="7" y="1"/>
                          <a:pt x="7" y="1"/>
                        </a:cubicBezTo>
                        <a:cubicBezTo>
                          <a:pt x="3" y="3"/>
                          <a:pt x="0" y="7"/>
                          <a:pt x="0" y="11"/>
                        </a:cubicBezTo>
                        <a:close/>
                        <a:moveTo>
                          <a:pt x="0" y="11"/>
                        </a:moveTo>
                        <a:cubicBezTo>
                          <a:pt x="0" y="11"/>
                          <a:pt x="0" y="11"/>
                          <a:pt x="0" y="1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76" name="Freeform 8">
                    <a:extLst>
                      <a:ext uri="{FF2B5EF4-FFF2-40B4-BE49-F238E27FC236}">
                        <a16:creationId xmlns:a16="http://schemas.microsoft.com/office/drawing/2014/main" id="{64F6F52B-D261-4D9A-A5D2-E39928E5BEC3}"/>
                      </a:ext>
                    </a:extLst>
                  </p:cNvPr>
                  <p:cNvSpPr>
                    <a:spLocks noEditPoints="1"/>
                  </p:cNvSpPr>
                  <p:nvPr/>
                </p:nvSpPr>
                <p:spPr bwMode="auto">
                  <a:xfrm>
                    <a:off x="2273300" y="1412875"/>
                    <a:ext cx="200025" cy="163513"/>
                  </a:xfrm>
                  <a:custGeom>
                    <a:avLst/>
                    <a:gdLst>
                      <a:gd name="T0" fmla="*/ 10 w 62"/>
                      <a:gd name="T1" fmla="*/ 40 h 50"/>
                      <a:gd name="T2" fmla="*/ 39 w 62"/>
                      <a:gd name="T3" fmla="*/ 40 h 50"/>
                      <a:gd name="T4" fmla="*/ 48 w 62"/>
                      <a:gd name="T5" fmla="*/ 49 h 50"/>
                      <a:gd name="T6" fmla="*/ 50 w 62"/>
                      <a:gd name="T7" fmla="*/ 50 h 50"/>
                      <a:gd name="T8" fmla="*/ 51 w 62"/>
                      <a:gd name="T9" fmla="*/ 50 h 50"/>
                      <a:gd name="T10" fmla="*/ 52 w 62"/>
                      <a:gd name="T11" fmla="*/ 47 h 50"/>
                      <a:gd name="T12" fmla="*/ 52 w 62"/>
                      <a:gd name="T13" fmla="*/ 40 h 50"/>
                      <a:gd name="T14" fmla="*/ 62 w 62"/>
                      <a:gd name="T15" fmla="*/ 29 h 50"/>
                      <a:gd name="T16" fmla="*/ 62 w 62"/>
                      <a:gd name="T17" fmla="*/ 10 h 50"/>
                      <a:gd name="T18" fmla="*/ 52 w 62"/>
                      <a:gd name="T19" fmla="*/ 0 h 50"/>
                      <a:gd name="T20" fmla="*/ 10 w 62"/>
                      <a:gd name="T21" fmla="*/ 0 h 50"/>
                      <a:gd name="T22" fmla="*/ 0 w 62"/>
                      <a:gd name="T23" fmla="*/ 10 h 50"/>
                      <a:gd name="T24" fmla="*/ 0 w 62"/>
                      <a:gd name="T25" fmla="*/ 29 h 50"/>
                      <a:gd name="T26" fmla="*/ 10 w 62"/>
                      <a:gd name="T27" fmla="*/ 40 h 50"/>
                      <a:gd name="T28" fmla="*/ 13 w 62"/>
                      <a:gd name="T29" fmla="*/ 26 h 50"/>
                      <a:gd name="T30" fmla="*/ 22 w 62"/>
                      <a:gd name="T31" fmla="*/ 16 h 50"/>
                      <a:gd name="T32" fmla="*/ 26 w 62"/>
                      <a:gd name="T33" fmla="*/ 16 h 50"/>
                      <a:gd name="T34" fmla="*/ 30 w 62"/>
                      <a:gd name="T35" fmla="*/ 21 h 50"/>
                      <a:gd name="T36" fmla="*/ 35 w 62"/>
                      <a:gd name="T37" fmla="*/ 16 h 50"/>
                      <a:gd name="T38" fmla="*/ 33 w 62"/>
                      <a:gd name="T39" fmla="*/ 13 h 50"/>
                      <a:gd name="T40" fmla="*/ 36 w 62"/>
                      <a:gd name="T41" fmla="*/ 10 h 50"/>
                      <a:gd name="T42" fmla="*/ 42 w 62"/>
                      <a:gd name="T43" fmla="*/ 10 h 50"/>
                      <a:gd name="T44" fmla="*/ 45 w 62"/>
                      <a:gd name="T45" fmla="*/ 13 h 50"/>
                      <a:gd name="T46" fmla="*/ 45 w 62"/>
                      <a:gd name="T47" fmla="*/ 19 h 50"/>
                      <a:gd name="T48" fmla="*/ 42 w 62"/>
                      <a:gd name="T49" fmla="*/ 22 h 50"/>
                      <a:gd name="T50" fmla="*/ 39 w 62"/>
                      <a:gd name="T51" fmla="*/ 20 h 50"/>
                      <a:gd name="T52" fmla="*/ 32 w 62"/>
                      <a:gd name="T53" fmla="*/ 27 h 50"/>
                      <a:gd name="T54" fmla="*/ 28 w 62"/>
                      <a:gd name="T55" fmla="*/ 27 h 50"/>
                      <a:gd name="T56" fmla="*/ 24 w 62"/>
                      <a:gd name="T57" fmla="*/ 23 h 50"/>
                      <a:gd name="T58" fmla="*/ 17 w 62"/>
                      <a:gd name="T59" fmla="*/ 30 h 50"/>
                      <a:gd name="T60" fmla="*/ 15 w 62"/>
                      <a:gd name="T61" fmla="*/ 31 h 50"/>
                      <a:gd name="T62" fmla="*/ 13 w 62"/>
                      <a:gd name="T63" fmla="*/ 30 h 50"/>
                      <a:gd name="T64" fmla="*/ 13 w 62"/>
                      <a:gd name="T65" fmla="*/ 26 h 50"/>
                      <a:gd name="T66" fmla="*/ 13 w 62"/>
                      <a:gd name="T67" fmla="*/ 26 h 50"/>
                      <a:gd name="T68" fmla="*/ 13 w 62"/>
                      <a:gd name="T69" fmla="*/ 26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2" h="50">
                        <a:moveTo>
                          <a:pt x="10" y="40"/>
                        </a:moveTo>
                        <a:cubicBezTo>
                          <a:pt x="39" y="40"/>
                          <a:pt x="39" y="40"/>
                          <a:pt x="39" y="40"/>
                        </a:cubicBezTo>
                        <a:cubicBezTo>
                          <a:pt x="48" y="49"/>
                          <a:pt x="48" y="49"/>
                          <a:pt x="48" y="49"/>
                        </a:cubicBezTo>
                        <a:cubicBezTo>
                          <a:pt x="48" y="50"/>
                          <a:pt x="49" y="50"/>
                          <a:pt x="50" y="50"/>
                        </a:cubicBezTo>
                        <a:cubicBezTo>
                          <a:pt x="50" y="50"/>
                          <a:pt x="50" y="50"/>
                          <a:pt x="51" y="50"/>
                        </a:cubicBezTo>
                        <a:cubicBezTo>
                          <a:pt x="52" y="49"/>
                          <a:pt x="52" y="48"/>
                          <a:pt x="52" y="47"/>
                        </a:cubicBezTo>
                        <a:cubicBezTo>
                          <a:pt x="52" y="40"/>
                          <a:pt x="52" y="40"/>
                          <a:pt x="52" y="40"/>
                        </a:cubicBezTo>
                        <a:cubicBezTo>
                          <a:pt x="58" y="40"/>
                          <a:pt x="62" y="35"/>
                          <a:pt x="62" y="29"/>
                        </a:cubicBezTo>
                        <a:cubicBezTo>
                          <a:pt x="62" y="10"/>
                          <a:pt x="62" y="10"/>
                          <a:pt x="62" y="10"/>
                        </a:cubicBezTo>
                        <a:cubicBezTo>
                          <a:pt x="62" y="4"/>
                          <a:pt x="58" y="0"/>
                          <a:pt x="52" y="0"/>
                        </a:cubicBezTo>
                        <a:cubicBezTo>
                          <a:pt x="10" y="0"/>
                          <a:pt x="10" y="0"/>
                          <a:pt x="10" y="0"/>
                        </a:cubicBezTo>
                        <a:cubicBezTo>
                          <a:pt x="4" y="0"/>
                          <a:pt x="0" y="4"/>
                          <a:pt x="0" y="10"/>
                        </a:cubicBezTo>
                        <a:cubicBezTo>
                          <a:pt x="0" y="29"/>
                          <a:pt x="0" y="29"/>
                          <a:pt x="0" y="29"/>
                        </a:cubicBezTo>
                        <a:cubicBezTo>
                          <a:pt x="0" y="35"/>
                          <a:pt x="4" y="40"/>
                          <a:pt x="10" y="40"/>
                        </a:cubicBezTo>
                        <a:close/>
                        <a:moveTo>
                          <a:pt x="13" y="26"/>
                        </a:moveTo>
                        <a:cubicBezTo>
                          <a:pt x="22" y="16"/>
                          <a:pt x="22" y="16"/>
                          <a:pt x="22" y="16"/>
                        </a:cubicBezTo>
                        <a:cubicBezTo>
                          <a:pt x="23" y="15"/>
                          <a:pt x="25" y="15"/>
                          <a:pt x="26" y="16"/>
                        </a:cubicBezTo>
                        <a:cubicBezTo>
                          <a:pt x="30" y="21"/>
                          <a:pt x="30" y="21"/>
                          <a:pt x="30" y="21"/>
                        </a:cubicBezTo>
                        <a:cubicBezTo>
                          <a:pt x="35" y="16"/>
                          <a:pt x="35" y="16"/>
                          <a:pt x="35" y="16"/>
                        </a:cubicBezTo>
                        <a:cubicBezTo>
                          <a:pt x="34" y="16"/>
                          <a:pt x="33" y="14"/>
                          <a:pt x="33" y="13"/>
                        </a:cubicBezTo>
                        <a:cubicBezTo>
                          <a:pt x="33" y="11"/>
                          <a:pt x="34" y="10"/>
                          <a:pt x="36" y="10"/>
                        </a:cubicBezTo>
                        <a:cubicBezTo>
                          <a:pt x="42" y="10"/>
                          <a:pt x="42" y="10"/>
                          <a:pt x="42" y="10"/>
                        </a:cubicBezTo>
                        <a:cubicBezTo>
                          <a:pt x="44" y="10"/>
                          <a:pt x="45" y="11"/>
                          <a:pt x="45" y="13"/>
                        </a:cubicBezTo>
                        <a:cubicBezTo>
                          <a:pt x="45" y="19"/>
                          <a:pt x="45" y="19"/>
                          <a:pt x="45" y="19"/>
                        </a:cubicBezTo>
                        <a:cubicBezTo>
                          <a:pt x="45" y="21"/>
                          <a:pt x="44" y="22"/>
                          <a:pt x="42" y="22"/>
                        </a:cubicBezTo>
                        <a:cubicBezTo>
                          <a:pt x="41" y="22"/>
                          <a:pt x="40" y="21"/>
                          <a:pt x="39" y="20"/>
                        </a:cubicBezTo>
                        <a:cubicBezTo>
                          <a:pt x="32" y="27"/>
                          <a:pt x="32" y="27"/>
                          <a:pt x="32" y="27"/>
                        </a:cubicBezTo>
                        <a:cubicBezTo>
                          <a:pt x="31" y="28"/>
                          <a:pt x="29" y="28"/>
                          <a:pt x="28" y="27"/>
                        </a:cubicBezTo>
                        <a:cubicBezTo>
                          <a:pt x="24" y="23"/>
                          <a:pt x="24" y="23"/>
                          <a:pt x="24" y="23"/>
                        </a:cubicBezTo>
                        <a:cubicBezTo>
                          <a:pt x="17" y="30"/>
                          <a:pt x="17" y="30"/>
                          <a:pt x="17" y="30"/>
                        </a:cubicBezTo>
                        <a:cubicBezTo>
                          <a:pt x="16" y="31"/>
                          <a:pt x="15" y="31"/>
                          <a:pt x="15" y="31"/>
                        </a:cubicBezTo>
                        <a:cubicBezTo>
                          <a:pt x="14" y="31"/>
                          <a:pt x="13" y="31"/>
                          <a:pt x="13" y="30"/>
                        </a:cubicBezTo>
                        <a:cubicBezTo>
                          <a:pt x="11" y="29"/>
                          <a:pt x="11" y="27"/>
                          <a:pt x="13" y="26"/>
                        </a:cubicBezTo>
                        <a:close/>
                        <a:moveTo>
                          <a:pt x="13" y="26"/>
                        </a:moveTo>
                        <a:cubicBezTo>
                          <a:pt x="13" y="26"/>
                          <a:pt x="13" y="26"/>
                          <a:pt x="13" y="2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77" name="Freeform 9">
                    <a:extLst>
                      <a:ext uri="{FF2B5EF4-FFF2-40B4-BE49-F238E27FC236}">
                        <a16:creationId xmlns:a16="http://schemas.microsoft.com/office/drawing/2014/main" id="{A1199F00-C856-48C6-B75E-F12847D1D175}"/>
                      </a:ext>
                    </a:extLst>
                  </p:cNvPr>
                  <p:cNvSpPr>
                    <a:spLocks noEditPoints="1"/>
                  </p:cNvSpPr>
                  <p:nvPr/>
                </p:nvSpPr>
                <p:spPr bwMode="auto">
                  <a:xfrm>
                    <a:off x="2519363" y="1608138"/>
                    <a:ext cx="19050" cy="46038"/>
                  </a:xfrm>
                  <a:custGeom>
                    <a:avLst/>
                    <a:gdLst>
                      <a:gd name="T0" fmla="*/ 6 w 6"/>
                      <a:gd name="T1" fmla="*/ 0 h 14"/>
                      <a:gd name="T2" fmla="*/ 5 w 6"/>
                      <a:gd name="T3" fmla="*/ 0 h 14"/>
                      <a:gd name="T4" fmla="*/ 2 w 6"/>
                      <a:gd name="T5" fmla="*/ 0 h 14"/>
                      <a:gd name="T6" fmla="*/ 1 w 6"/>
                      <a:gd name="T7" fmla="*/ 0 h 14"/>
                      <a:gd name="T8" fmla="*/ 1 w 6"/>
                      <a:gd name="T9" fmla="*/ 2 h 14"/>
                      <a:gd name="T10" fmla="*/ 2 w 6"/>
                      <a:gd name="T11" fmla="*/ 4 h 14"/>
                      <a:gd name="T12" fmla="*/ 2 w 6"/>
                      <a:gd name="T13" fmla="*/ 10 h 14"/>
                      <a:gd name="T14" fmla="*/ 3 w 6"/>
                      <a:gd name="T15" fmla="*/ 14 h 14"/>
                      <a:gd name="T16" fmla="*/ 4 w 6"/>
                      <a:gd name="T17" fmla="*/ 14 h 14"/>
                      <a:gd name="T18" fmla="*/ 5 w 6"/>
                      <a:gd name="T19" fmla="*/ 10 h 14"/>
                      <a:gd name="T20" fmla="*/ 4 w 6"/>
                      <a:gd name="T21" fmla="*/ 4 h 14"/>
                      <a:gd name="T22" fmla="*/ 6 w 6"/>
                      <a:gd name="T23" fmla="*/ 2 h 14"/>
                      <a:gd name="T24" fmla="*/ 6 w 6"/>
                      <a:gd name="T25" fmla="*/ 0 h 14"/>
                      <a:gd name="T26" fmla="*/ 6 w 6"/>
                      <a:gd name="T27" fmla="*/ 0 h 14"/>
                      <a:gd name="T28" fmla="*/ 6 w 6"/>
                      <a:gd name="T2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14">
                        <a:moveTo>
                          <a:pt x="6" y="0"/>
                        </a:moveTo>
                        <a:cubicBezTo>
                          <a:pt x="5" y="0"/>
                          <a:pt x="5" y="0"/>
                          <a:pt x="5" y="0"/>
                        </a:cubicBezTo>
                        <a:cubicBezTo>
                          <a:pt x="2" y="0"/>
                          <a:pt x="2" y="0"/>
                          <a:pt x="2" y="0"/>
                        </a:cubicBezTo>
                        <a:cubicBezTo>
                          <a:pt x="2" y="0"/>
                          <a:pt x="1" y="0"/>
                          <a:pt x="1" y="0"/>
                        </a:cubicBezTo>
                        <a:cubicBezTo>
                          <a:pt x="0" y="1"/>
                          <a:pt x="0" y="1"/>
                          <a:pt x="1" y="2"/>
                        </a:cubicBezTo>
                        <a:cubicBezTo>
                          <a:pt x="2" y="4"/>
                          <a:pt x="2" y="4"/>
                          <a:pt x="2" y="4"/>
                        </a:cubicBezTo>
                        <a:cubicBezTo>
                          <a:pt x="2" y="10"/>
                          <a:pt x="2" y="10"/>
                          <a:pt x="2" y="10"/>
                        </a:cubicBezTo>
                        <a:cubicBezTo>
                          <a:pt x="3" y="14"/>
                          <a:pt x="3" y="14"/>
                          <a:pt x="3" y="14"/>
                        </a:cubicBezTo>
                        <a:cubicBezTo>
                          <a:pt x="3" y="14"/>
                          <a:pt x="4" y="14"/>
                          <a:pt x="4" y="14"/>
                        </a:cubicBezTo>
                        <a:cubicBezTo>
                          <a:pt x="5" y="10"/>
                          <a:pt x="5" y="10"/>
                          <a:pt x="5" y="10"/>
                        </a:cubicBezTo>
                        <a:cubicBezTo>
                          <a:pt x="4" y="4"/>
                          <a:pt x="4" y="4"/>
                          <a:pt x="4" y="4"/>
                        </a:cubicBezTo>
                        <a:cubicBezTo>
                          <a:pt x="6" y="2"/>
                          <a:pt x="6" y="2"/>
                          <a:pt x="6" y="2"/>
                        </a:cubicBezTo>
                        <a:cubicBezTo>
                          <a:pt x="6" y="1"/>
                          <a:pt x="6" y="1"/>
                          <a:pt x="6" y="0"/>
                        </a:cubicBezTo>
                        <a:close/>
                        <a:moveTo>
                          <a:pt x="6" y="0"/>
                        </a:moveTo>
                        <a:cubicBezTo>
                          <a:pt x="6" y="0"/>
                          <a:pt x="6"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grpSp>
          <p:grpSp>
            <p:nvGrpSpPr>
              <p:cNvPr id="26" name="Group 2">
                <a:extLst>
                  <a:ext uri="{FF2B5EF4-FFF2-40B4-BE49-F238E27FC236}">
                    <a16:creationId xmlns:a16="http://schemas.microsoft.com/office/drawing/2014/main" id="{309D561D-D42B-4FFB-9DEE-3F6EBEBCF478}"/>
                  </a:ext>
                </a:extLst>
              </p:cNvPr>
              <p:cNvGrpSpPr/>
              <p:nvPr/>
            </p:nvGrpSpPr>
            <p:grpSpPr>
              <a:xfrm>
                <a:off x="4048126" y="3602038"/>
                <a:ext cx="1447800" cy="1444625"/>
                <a:chOff x="4048126" y="3602038"/>
                <a:chExt cx="1447800" cy="1444625"/>
              </a:xfrm>
            </p:grpSpPr>
            <p:sp>
              <p:nvSpPr>
                <p:cNvPr id="55" name="Oval 11">
                  <a:extLst>
                    <a:ext uri="{FF2B5EF4-FFF2-40B4-BE49-F238E27FC236}">
                      <a16:creationId xmlns:a16="http://schemas.microsoft.com/office/drawing/2014/main" id="{5163557D-88CA-4A46-84EC-81C2CB9DEF70}"/>
                    </a:ext>
                  </a:extLst>
                </p:cNvPr>
                <p:cNvSpPr>
                  <a:spLocks noChangeArrowheads="1"/>
                </p:cNvSpPr>
                <p:nvPr/>
              </p:nvSpPr>
              <p:spPr bwMode="auto">
                <a:xfrm>
                  <a:off x="4048126" y="3602038"/>
                  <a:ext cx="1447800" cy="1444625"/>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grpSp>
              <p:nvGrpSpPr>
                <p:cNvPr id="56" name="Group 41">
                  <a:extLst>
                    <a:ext uri="{FF2B5EF4-FFF2-40B4-BE49-F238E27FC236}">
                      <a16:creationId xmlns:a16="http://schemas.microsoft.com/office/drawing/2014/main" id="{3648E6BA-F456-4208-B942-D30E5C409F4B}"/>
                    </a:ext>
                  </a:extLst>
                </p:cNvPr>
                <p:cNvGrpSpPr/>
                <p:nvPr/>
              </p:nvGrpSpPr>
              <p:grpSpPr>
                <a:xfrm>
                  <a:off x="4591845" y="4155282"/>
                  <a:ext cx="360362" cy="338137"/>
                  <a:chOff x="722313" y="2049463"/>
                  <a:chExt cx="360362" cy="338137"/>
                </a:xfrm>
                <a:solidFill>
                  <a:schemeClr val="bg1"/>
                </a:solidFill>
              </p:grpSpPr>
              <p:sp>
                <p:nvSpPr>
                  <p:cNvPr id="57" name="Freeform 135">
                    <a:extLst>
                      <a:ext uri="{FF2B5EF4-FFF2-40B4-BE49-F238E27FC236}">
                        <a16:creationId xmlns:a16="http://schemas.microsoft.com/office/drawing/2014/main" id="{7948C380-4AFE-417A-9398-77239A26783A}"/>
                      </a:ext>
                    </a:extLst>
                  </p:cNvPr>
                  <p:cNvSpPr>
                    <a:spLocks noEditPoints="1"/>
                  </p:cNvSpPr>
                  <p:nvPr/>
                </p:nvSpPr>
                <p:spPr bwMode="auto">
                  <a:xfrm>
                    <a:off x="968375" y="2157413"/>
                    <a:ext cx="74612" cy="74613"/>
                  </a:xfrm>
                  <a:custGeom>
                    <a:avLst/>
                    <a:gdLst>
                      <a:gd name="T0" fmla="*/ 11 w 23"/>
                      <a:gd name="T1" fmla="*/ 23 h 23"/>
                      <a:gd name="T2" fmla="*/ 23 w 23"/>
                      <a:gd name="T3" fmla="*/ 11 h 23"/>
                      <a:gd name="T4" fmla="*/ 11 w 23"/>
                      <a:gd name="T5" fmla="*/ 0 h 23"/>
                      <a:gd name="T6" fmla="*/ 0 w 23"/>
                      <a:gd name="T7" fmla="*/ 11 h 23"/>
                      <a:gd name="T8" fmla="*/ 11 w 23"/>
                      <a:gd name="T9" fmla="*/ 23 h 23"/>
                      <a:gd name="T10" fmla="*/ 11 w 23"/>
                      <a:gd name="T11" fmla="*/ 23 h 23"/>
                      <a:gd name="T12" fmla="*/ 11 w 23"/>
                      <a:gd name="T13" fmla="*/ 23 h 23"/>
                    </a:gdLst>
                    <a:ahLst/>
                    <a:cxnLst>
                      <a:cxn ang="0">
                        <a:pos x="T0" y="T1"/>
                      </a:cxn>
                      <a:cxn ang="0">
                        <a:pos x="T2" y="T3"/>
                      </a:cxn>
                      <a:cxn ang="0">
                        <a:pos x="T4" y="T5"/>
                      </a:cxn>
                      <a:cxn ang="0">
                        <a:pos x="T6" y="T7"/>
                      </a:cxn>
                      <a:cxn ang="0">
                        <a:pos x="T8" y="T9"/>
                      </a:cxn>
                      <a:cxn ang="0">
                        <a:pos x="T10" y="T11"/>
                      </a:cxn>
                      <a:cxn ang="0">
                        <a:pos x="T12" y="T13"/>
                      </a:cxn>
                    </a:cxnLst>
                    <a:rect l="0" t="0" r="r" b="b"/>
                    <a:pathLst>
                      <a:path w="23" h="23">
                        <a:moveTo>
                          <a:pt x="11" y="23"/>
                        </a:moveTo>
                        <a:cubicBezTo>
                          <a:pt x="18" y="23"/>
                          <a:pt x="23" y="18"/>
                          <a:pt x="23" y="11"/>
                        </a:cubicBezTo>
                        <a:cubicBezTo>
                          <a:pt x="23" y="5"/>
                          <a:pt x="18" y="0"/>
                          <a:pt x="11" y="0"/>
                        </a:cubicBezTo>
                        <a:cubicBezTo>
                          <a:pt x="5" y="0"/>
                          <a:pt x="0" y="5"/>
                          <a:pt x="0" y="11"/>
                        </a:cubicBezTo>
                        <a:cubicBezTo>
                          <a:pt x="0" y="18"/>
                          <a:pt x="5" y="23"/>
                          <a:pt x="11" y="23"/>
                        </a:cubicBezTo>
                        <a:close/>
                        <a:moveTo>
                          <a:pt x="11" y="23"/>
                        </a:moveTo>
                        <a:cubicBezTo>
                          <a:pt x="11" y="23"/>
                          <a:pt x="11" y="23"/>
                          <a:pt x="11" y="2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58" name="Freeform 136">
                    <a:extLst>
                      <a:ext uri="{FF2B5EF4-FFF2-40B4-BE49-F238E27FC236}">
                        <a16:creationId xmlns:a16="http://schemas.microsoft.com/office/drawing/2014/main" id="{CCC5FD2D-6AA2-43BC-8D9D-AE28D1DE4189}"/>
                      </a:ext>
                    </a:extLst>
                  </p:cNvPr>
                  <p:cNvSpPr>
                    <a:spLocks noEditPoints="1"/>
                  </p:cNvSpPr>
                  <p:nvPr/>
                </p:nvSpPr>
                <p:spPr bwMode="auto">
                  <a:xfrm>
                    <a:off x="828675" y="2049463"/>
                    <a:ext cx="19050" cy="36513"/>
                  </a:xfrm>
                  <a:custGeom>
                    <a:avLst/>
                    <a:gdLst>
                      <a:gd name="T0" fmla="*/ 3 w 6"/>
                      <a:gd name="T1" fmla="*/ 11 h 11"/>
                      <a:gd name="T2" fmla="*/ 6 w 6"/>
                      <a:gd name="T3" fmla="*/ 8 h 11"/>
                      <a:gd name="T4" fmla="*/ 6 w 6"/>
                      <a:gd name="T5" fmla="*/ 3 h 11"/>
                      <a:gd name="T6" fmla="*/ 3 w 6"/>
                      <a:gd name="T7" fmla="*/ 0 h 11"/>
                      <a:gd name="T8" fmla="*/ 0 w 6"/>
                      <a:gd name="T9" fmla="*/ 3 h 11"/>
                      <a:gd name="T10" fmla="*/ 0 w 6"/>
                      <a:gd name="T11" fmla="*/ 8 h 11"/>
                      <a:gd name="T12" fmla="*/ 3 w 6"/>
                      <a:gd name="T13" fmla="*/ 11 h 11"/>
                      <a:gd name="T14" fmla="*/ 3 w 6"/>
                      <a:gd name="T15" fmla="*/ 11 h 11"/>
                      <a:gd name="T16" fmla="*/ 3 w 6"/>
                      <a:gd name="T17"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1">
                        <a:moveTo>
                          <a:pt x="3" y="11"/>
                        </a:moveTo>
                        <a:cubicBezTo>
                          <a:pt x="5" y="11"/>
                          <a:pt x="6" y="10"/>
                          <a:pt x="6" y="8"/>
                        </a:cubicBezTo>
                        <a:cubicBezTo>
                          <a:pt x="6" y="3"/>
                          <a:pt x="6" y="3"/>
                          <a:pt x="6" y="3"/>
                        </a:cubicBezTo>
                        <a:cubicBezTo>
                          <a:pt x="6" y="1"/>
                          <a:pt x="5" y="0"/>
                          <a:pt x="3" y="0"/>
                        </a:cubicBezTo>
                        <a:cubicBezTo>
                          <a:pt x="1" y="0"/>
                          <a:pt x="0" y="1"/>
                          <a:pt x="0" y="3"/>
                        </a:cubicBezTo>
                        <a:cubicBezTo>
                          <a:pt x="0" y="8"/>
                          <a:pt x="0" y="8"/>
                          <a:pt x="0" y="8"/>
                        </a:cubicBezTo>
                        <a:cubicBezTo>
                          <a:pt x="0" y="10"/>
                          <a:pt x="1" y="11"/>
                          <a:pt x="3" y="11"/>
                        </a:cubicBezTo>
                        <a:close/>
                        <a:moveTo>
                          <a:pt x="3" y="11"/>
                        </a:moveTo>
                        <a:cubicBezTo>
                          <a:pt x="3" y="11"/>
                          <a:pt x="3" y="11"/>
                          <a:pt x="3" y="1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59" name="Freeform 137">
                    <a:extLst>
                      <a:ext uri="{FF2B5EF4-FFF2-40B4-BE49-F238E27FC236}">
                        <a16:creationId xmlns:a16="http://schemas.microsoft.com/office/drawing/2014/main" id="{3B8A7908-5356-4B8E-BAE5-AEB1657A8EA3}"/>
                      </a:ext>
                    </a:extLst>
                  </p:cNvPr>
                  <p:cNvSpPr>
                    <a:spLocks noEditPoints="1"/>
                  </p:cNvSpPr>
                  <p:nvPr/>
                </p:nvSpPr>
                <p:spPr bwMode="auto">
                  <a:xfrm>
                    <a:off x="735013" y="2144713"/>
                    <a:ext cx="34925" cy="19050"/>
                  </a:xfrm>
                  <a:custGeom>
                    <a:avLst/>
                    <a:gdLst>
                      <a:gd name="T0" fmla="*/ 3 w 11"/>
                      <a:gd name="T1" fmla="*/ 6 h 6"/>
                      <a:gd name="T2" fmla="*/ 8 w 11"/>
                      <a:gd name="T3" fmla="*/ 6 h 6"/>
                      <a:gd name="T4" fmla="*/ 11 w 11"/>
                      <a:gd name="T5" fmla="*/ 3 h 6"/>
                      <a:gd name="T6" fmla="*/ 8 w 11"/>
                      <a:gd name="T7" fmla="*/ 0 h 6"/>
                      <a:gd name="T8" fmla="*/ 3 w 11"/>
                      <a:gd name="T9" fmla="*/ 0 h 6"/>
                      <a:gd name="T10" fmla="*/ 0 w 11"/>
                      <a:gd name="T11" fmla="*/ 3 h 6"/>
                      <a:gd name="T12" fmla="*/ 3 w 11"/>
                      <a:gd name="T13" fmla="*/ 6 h 6"/>
                      <a:gd name="T14" fmla="*/ 3 w 11"/>
                      <a:gd name="T15" fmla="*/ 6 h 6"/>
                      <a:gd name="T16" fmla="*/ 3 w 11"/>
                      <a:gd name="T1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6">
                        <a:moveTo>
                          <a:pt x="3" y="6"/>
                        </a:moveTo>
                        <a:cubicBezTo>
                          <a:pt x="8" y="6"/>
                          <a:pt x="8" y="6"/>
                          <a:pt x="8" y="6"/>
                        </a:cubicBezTo>
                        <a:cubicBezTo>
                          <a:pt x="10" y="6"/>
                          <a:pt x="11" y="5"/>
                          <a:pt x="11" y="3"/>
                        </a:cubicBezTo>
                        <a:cubicBezTo>
                          <a:pt x="11" y="1"/>
                          <a:pt x="10" y="0"/>
                          <a:pt x="8" y="0"/>
                        </a:cubicBezTo>
                        <a:cubicBezTo>
                          <a:pt x="3" y="0"/>
                          <a:pt x="3" y="0"/>
                          <a:pt x="3" y="0"/>
                        </a:cubicBezTo>
                        <a:cubicBezTo>
                          <a:pt x="1" y="0"/>
                          <a:pt x="0" y="1"/>
                          <a:pt x="0" y="3"/>
                        </a:cubicBezTo>
                        <a:cubicBezTo>
                          <a:pt x="0" y="5"/>
                          <a:pt x="1" y="6"/>
                          <a:pt x="3" y="6"/>
                        </a:cubicBezTo>
                        <a:close/>
                        <a:moveTo>
                          <a:pt x="3" y="6"/>
                        </a:moveTo>
                        <a:cubicBezTo>
                          <a:pt x="3" y="6"/>
                          <a:pt x="3" y="6"/>
                          <a:pt x="3"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60" name="Freeform 138">
                    <a:extLst>
                      <a:ext uri="{FF2B5EF4-FFF2-40B4-BE49-F238E27FC236}">
                        <a16:creationId xmlns:a16="http://schemas.microsoft.com/office/drawing/2014/main" id="{8330C43E-45A9-4CFE-8C51-35AE66ED6ADF}"/>
                      </a:ext>
                    </a:extLst>
                  </p:cNvPr>
                  <p:cNvSpPr>
                    <a:spLocks noEditPoints="1"/>
                  </p:cNvSpPr>
                  <p:nvPr/>
                </p:nvSpPr>
                <p:spPr bwMode="auto">
                  <a:xfrm>
                    <a:off x="906463" y="2144713"/>
                    <a:ext cx="36512" cy="19050"/>
                  </a:xfrm>
                  <a:custGeom>
                    <a:avLst/>
                    <a:gdLst>
                      <a:gd name="T0" fmla="*/ 0 w 11"/>
                      <a:gd name="T1" fmla="*/ 3 h 6"/>
                      <a:gd name="T2" fmla="*/ 3 w 11"/>
                      <a:gd name="T3" fmla="*/ 6 h 6"/>
                      <a:gd name="T4" fmla="*/ 8 w 11"/>
                      <a:gd name="T5" fmla="*/ 6 h 6"/>
                      <a:gd name="T6" fmla="*/ 11 w 11"/>
                      <a:gd name="T7" fmla="*/ 3 h 6"/>
                      <a:gd name="T8" fmla="*/ 8 w 11"/>
                      <a:gd name="T9" fmla="*/ 0 h 6"/>
                      <a:gd name="T10" fmla="*/ 3 w 11"/>
                      <a:gd name="T11" fmla="*/ 0 h 6"/>
                      <a:gd name="T12" fmla="*/ 0 w 11"/>
                      <a:gd name="T13" fmla="*/ 3 h 6"/>
                      <a:gd name="T14" fmla="*/ 0 w 11"/>
                      <a:gd name="T15" fmla="*/ 3 h 6"/>
                      <a:gd name="T16" fmla="*/ 0 w 11"/>
                      <a:gd name="T17"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6">
                        <a:moveTo>
                          <a:pt x="0" y="3"/>
                        </a:moveTo>
                        <a:cubicBezTo>
                          <a:pt x="0" y="5"/>
                          <a:pt x="1" y="6"/>
                          <a:pt x="3" y="6"/>
                        </a:cubicBezTo>
                        <a:cubicBezTo>
                          <a:pt x="8" y="6"/>
                          <a:pt x="8" y="6"/>
                          <a:pt x="8" y="6"/>
                        </a:cubicBezTo>
                        <a:cubicBezTo>
                          <a:pt x="10" y="6"/>
                          <a:pt x="11" y="5"/>
                          <a:pt x="11" y="3"/>
                        </a:cubicBezTo>
                        <a:cubicBezTo>
                          <a:pt x="11" y="1"/>
                          <a:pt x="10" y="0"/>
                          <a:pt x="8" y="0"/>
                        </a:cubicBezTo>
                        <a:cubicBezTo>
                          <a:pt x="3" y="0"/>
                          <a:pt x="3" y="0"/>
                          <a:pt x="3" y="0"/>
                        </a:cubicBezTo>
                        <a:cubicBezTo>
                          <a:pt x="1" y="0"/>
                          <a:pt x="0" y="1"/>
                          <a:pt x="0" y="3"/>
                        </a:cubicBezTo>
                        <a:close/>
                        <a:moveTo>
                          <a:pt x="0" y="3"/>
                        </a:moveTo>
                        <a:cubicBezTo>
                          <a:pt x="0" y="3"/>
                          <a:pt x="0" y="3"/>
                          <a:pt x="0" y="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61" name="Freeform 139">
                    <a:extLst>
                      <a:ext uri="{FF2B5EF4-FFF2-40B4-BE49-F238E27FC236}">
                        <a16:creationId xmlns:a16="http://schemas.microsoft.com/office/drawing/2014/main" id="{B37B998C-5A5A-4E54-9BC4-D7A7E0B8C90B}"/>
                      </a:ext>
                    </a:extLst>
                  </p:cNvPr>
                  <p:cNvSpPr>
                    <a:spLocks noEditPoints="1"/>
                  </p:cNvSpPr>
                  <p:nvPr/>
                </p:nvSpPr>
                <p:spPr bwMode="auto">
                  <a:xfrm>
                    <a:off x="887413" y="2073275"/>
                    <a:ext cx="34925" cy="31750"/>
                  </a:xfrm>
                  <a:custGeom>
                    <a:avLst/>
                    <a:gdLst>
                      <a:gd name="T0" fmla="*/ 4 w 11"/>
                      <a:gd name="T1" fmla="*/ 10 h 10"/>
                      <a:gd name="T2" fmla="*/ 6 w 11"/>
                      <a:gd name="T3" fmla="*/ 10 h 10"/>
                      <a:gd name="T4" fmla="*/ 9 w 11"/>
                      <a:gd name="T5" fmla="*/ 6 h 10"/>
                      <a:gd name="T6" fmla="*/ 9 w 11"/>
                      <a:gd name="T7" fmla="*/ 1 h 10"/>
                      <a:gd name="T8" fmla="*/ 5 w 11"/>
                      <a:gd name="T9" fmla="*/ 1 h 10"/>
                      <a:gd name="T10" fmla="*/ 1 w 11"/>
                      <a:gd name="T11" fmla="*/ 5 h 10"/>
                      <a:gd name="T12" fmla="*/ 1 w 11"/>
                      <a:gd name="T13" fmla="*/ 10 h 10"/>
                      <a:gd name="T14" fmla="*/ 4 w 11"/>
                      <a:gd name="T15" fmla="*/ 10 h 10"/>
                      <a:gd name="T16" fmla="*/ 4 w 11"/>
                      <a:gd name="T17" fmla="*/ 10 h 10"/>
                      <a:gd name="T18" fmla="*/ 4 w 11"/>
                      <a:gd name="T19"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 h="10">
                        <a:moveTo>
                          <a:pt x="4" y="10"/>
                        </a:moveTo>
                        <a:cubicBezTo>
                          <a:pt x="4" y="10"/>
                          <a:pt x="5" y="10"/>
                          <a:pt x="6" y="10"/>
                        </a:cubicBezTo>
                        <a:cubicBezTo>
                          <a:pt x="9" y="6"/>
                          <a:pt x="9" y="6"/>
                          <a:pt x="9" y="6"/>
                        </a:cubicBezTo>
                        <a:cubicBezTo>
                          <a:pt x="11" y="5"/>
                          <a:pt x="11" y="3"/>
                          <a:pt x="9" y="1"/>
                        </a:cubicBezTo>
                        <a:cubicBezTo>
                          <a:pt x="8" y="0"/>
                          <a:pt x="6" y="0"/>
                          <a:pt x="5" y="1"/>
                        </a:cubicBezTo>
                        <a:cubicBezTo>
                          <a:pt x="1" y="5"/>
                          <a:pt x="1" y="5"/>
                          <a:pt x="1" y="5"/>
                        </a:cubicBezTo>
                        <a:cubicBezTo>
                          <a:pt x="0" y="6"/>
                          <a:pt x="0" y="8"/>
                          <a:pt x="1" y="10"/>
                        </a:cubicBezTo>
                        <a:cubicBezTo>
                          <a:pt x="2" y="10"/>
                          <a:pt x="3" y="10"/>
                          <a:pt x="4" y="10"/>
                        </a:cubicBezTo>
                        <a:close/>
                        <a:moveTo>
                          <a:pt x="4" y="10"/>
                        </a:moveTo>
                        <a:cubicBezTo>
                          <a:pt x="4" y="10"/>
                          <a:pt x="4" y="10"/>
                          <a:pt x="4" y="1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62" name="Freeform 140">
                    <a:extLst>
                      <a:ext uri="{FF2B5EF4-FFF2-40B4-BE49-F238E27FC236}">
                        <a16:creationId xmlns:a16="http://schemas.microsoft.com/office/drawing/2014/main" id="{E3AFCDB4-1DCF-41E2-B7AC-1C55BA3AD7BA}"/>
                      </a:ext>
                    </a:extLst>
                  </p:cNvPr>
                  <p:cNvSpPr>
                    <a:spLocks noEditPoints="1"/>
                  </p:cNvSpPr>
                  <p:nvPr/>
                </p:nvSpPr>
                <p:spPr bwMode="auto">
                  <a:xfrm>
                    <a:off x="757238" y="2073275"/>
                    <a:ext cx="33337" cy="31750"/>
                  </a:xfrm>
                  <a:custGeom>
                    <a:avLst/>
                    <a:gdLst>
                      <a:gd name="T0" fmla="*/ 4 w 10"/>
                      <a:gd name="T1" fmla="*/ 10 h 10"/>
                      <a:gd name="T2" fmla="*/ 7 w 10"/>
                      <a:gd name="T3" fmla="*/ 10 h 10"/>
                      <a:gd name="T4" fmla="*/ 9 w 10"/>
                      <a:gd name="T5" fmla="*/ 10 h 10"/>
                      <a:gd name="T6" fmla="*/ 9 w 10"/>
                      <a:gd name="T7" fmla="*/ 5 h 10"/>
                      <a:gd name="T8" fmla="*/ 6 w 10"/>
                      <a:gd name="T9" fmla="*/ 1 h 10"/>
                      <a:gd name="T10" fmla="*/ 1 w 10"/>
                      <a:gd name="T11" fmla="*/ 1 h 10"/>
                      <a:gd name="T12" fmla="*/ 1 w 10"/>
                      <a:gd name="T13" fmla="*/ 6 h 10"/>
                      <a:gd name="T14" fmla="*/ 4 w 10"/>
                      <a:gd name="T15" fmla="*/ 10 h 10"/>
                      <a:gd name="T16" fmla="*/ 4 w 10"/>
                      <a:gd name="T17" fmla="*/ 10 h 10"/>
                      <a:gd name="T18" fmla="*/ 4 w 10"/>
                      <a:gd name="T19"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 h="10">
                        <a:moveTo>
                          <a:pt x="4" y="10"/>
                        </a:moveTo>
                        <a:cubicBezTo>
                          <a:pt x="5" y="10"/>
                          <a:pt x="6" y="10"/>
                          <a:pt x="7" y="10"/>
                        </a:cubicBezTo>
                        <a:cubicBezTo>
                          <a:pt x="8" y="10"/>
                          <a:pt x="8" y="10"/>
                          <a:pt x="9" y="10"/>
                        </a:cubicBezTo>
                        <a:cubicBezTo>
                          <a:pt x="10" y="8"/>
                          <a:pt x="10" y="6"/>
                          <a:pt x="9" y="5"/>
                        </a:cubicBezTo>
                        <a:cubicBezTo>
                          <a:pt x="6" y="1"/>
                          <a:pt x="6" y="1"/>
                          <a:pt x="6" y="1"/>
                        </a:cubicBezTo>
                        <a:cubicBezTo>
                          <a:pt x="4" y="0"/>
                          <a:pt x="2" y="0"/>
                          <a:pt x="1" y="1"/>
                        </a:cubicBezTo>
                        <a:cubicBezTo>
                          <a:pt x="0" y="3"/>
                          <a:pt x="0" y="5"/>
                          <a:pt x="1" y="6"/>
                        </a:cubicBezTo>
                        <a:lnTo>
                          <a:pt x="4" y="10"/>
                        </a:lnTo>
                        <a:close/>
                        <a:moveTo>
                          <a:pt x="4" y="10"/>
                        </a:moveTo>
                        <a:cubicBezTo>
                          <a:pt x="4" y="10"/>
                          <a:pt x="4" y="10"/>
                          <a:pt x="4" y="1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63" name="Freeform 141">
                    <a:extLst>
                      <a:ext uri="{FF2B5EF4-FFF2-40B4-BE49-F238E27FC236}">
                        <a16:creationId xmlns:a16="http://schemas.microsoft.com/office/drawing/2014/main" id="{6154CFF1-6385-4309-AC5D-B3DE69A65513}"/>
                      </a:ext>
                    </a:extLst>
                  </p:cNvPr>
                  <p:cNvSpPr>
                    <a:spLocks noEditPoints="1"/>
                  </p:cNvSpPr>
                  <p:nvPr/>
                </p:nvSpPr>
                <p:spPr bwMode="auto">
                  <a:xfrm>
                    <a:off x="722313" y="2349500"/>
                    <a:ext cx="360362" cy="38100"/>
                  </a:xfrm>
                  <a:custGeom>
                    <a:avLst/>
                    <a:gdLst>
                      <a:gd name="T0" fmla="*/ 109 w 111"/>
                      <a:gd name="T1" fmla="*/ 0 h 12"/>
                      <a:gd name="T2" fmla="*/ 2 w 111"/>
                      <a:gd name="T3" fmla="*/ 0 h 12"/>
                      <a:gd name="T4" fmla="*/ 0 w 111"/>
                      <a:gd name="T5" fmla="*/ 2 h 12"/>
                      <a:gd name="T6" fmla="*/ 0 w 111"/>
                      <a:gd name="T7" fmla="*/ 10 h 12"/>
                      <a:gd name="T8" fmla="*/ 2 w 111"/>
                      <a:gd name="T9" fmla="*/ 12 h 12"/>
                      <a:gd name="T10" fmla="*/ 109 w 111"/>
                      <a:gd name="T11" fmla="*/ 12 h 12"/>
                      <a:gd name="T12" fmla="*/ 111 w 111"/>
                      <a:gd name="T13" fmla="*/ 10 h 12"/>
                      <a:gd name="T14" fmla="*/ 111 w 111"/>
                      <a:gd name="T15" fmla="*/ 2 h 12"/>
                      <a:gd name="T16" fmla="*/ 109 w 111"/>
                      <a:gd name="T17" fmla="*/ 0 h 12"/>
                      <a:gd name="T18" fmla="*/ 109 w 111"/>
                      <a:gd name="T19" fmla="*/ 0 h 12"/>
                      <a:gd name="T20" fmla="*/ 109 w 111"/>
                      <a:gd name="T21"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1" h="12">
                        <a:moveTo>
                          <a:pt x="109" y="0"/>
                        </a:moveTo>
                        <a:cubicBezTo>
                          <a:pt x="2" y="0"/>
                          <a:pt x="2" y="0"/>
                          <a:pt x="2" y="0"/>
                        </a:cubicBezTo>
                        <a:cubicBezTo>
                          <a:pt x="1" y="0"/>
                          <a:pt x="0" y="1"/>
                          <a:pt x="0" y="2"/>
                        </a:cubicBezTo>
                        <a:cubicBezTo>
                          <a:pt x="0" y="10"/>
                          <a:pt x="0" y="10"/>
                          <a:pt x="0" y="10"/>
                        </a:cubicBezTo>
                        <a:cubicBezTo>
                          <a:pt x="0" y="11"/>
                          <a:pt x="1" y="12"/>
                          <a:pt x="2" y="12"/>
                        </a:cubicBezTo>
                        <a:cubicBezTo>
                          <a:pt x="109" y="12"/>
                          <a:pt x="109" y="12"/>
                          <a:pt x="109" y="12"/>
                        </a:cubicBezTo>
                        <a:cubicBezTo>
                          <a:pt x="110" y="12"/>
                          <a:pt x="111" y="11"/>
                          <a:pt x="111" y="10"/>
                        </a:cubicBezTo>
                        <a:cubicBezTo>
                          <a:pt x="111" y="2"/>
                          <a:pt x="111" y="2"/>
                          <a:pt x="111" y="2"/>
                        </a:cubicBezTo>
                        <a:cubicBezTo>
                          <a:pt x="111" y="1"/>
                          <a:pt x="110" y="0"/>
                          <a:pt x="109" y="0"/>
                        </a:cubicBezTo>
                        <a:close/>
                        <a:moveTo>
                          <a:pt x="109" y="0"/>
                        </a:moveTo>
                        <a:cubicBezTo>
                          <a:pt x="109" y="0"/>
                          <a:pt x="109" y="0"/>
                          <a:pt x="10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64" name="Freeform 142">
                    <a:extLst>
                      <a:ext uri="{FF2B5EF4-FFF2-40B4-BE49-F238E27FC236}">
                        <a16:creationId xmlns:a16="http://schemas.microsoft.com/office/drawing/2014/main" id="{7ED37CF2-E233-4012-BA54-59739A73C088}"/>
                      </a:ext>
                    </a:extLst>
                  </p:cNvPr>
                  <p:cNvSpPr>
                    <a:spLocks noEditPoints="1"/>
                  </p:cNvSpPr>
                  <p:nvPr/>
                </p:nvSpPr>
                <p:spPr bwMode="auto">
                  <a:xfrm>
                    <a:off x="933450" y="2247900"/>
                    <a:ext cx="146050" cy="85725"/>
                  </a:xfrm>
                  <a:custGeom>
                    <a:avLst/>
                    <a:gdLst>
                      <a:gd name="T0" fmla="*/ 0 w 45"/>
                      <a:gd name="T1" fmla="*/ 11 h 26"/>
                      <a:gd name="T2" fmla="*/ 0 w 45"/>
                      <a:gd name="T3" fmla="*/ 25 h 26"/>
                      <a:gd name="T4" fmla="*/ 1 w 45"/>
                      <a:gd name="T5" fmla="*/ 26 h 26"/>
                      <a:gd name="T6" fmla="*/ 44 w 45"/>
                      <a:gd name="T7" fmla="*/ 26 h 26"/>
                      <a:gd name="T8" fmla="*/ 45 w 45"/>
                      <a:gd name="T9" fmla="*/ 25 h 26"/>
                      <a:gd name="T10" fmla="*/ 45 w 45"/>
                      <a:gd name="T11" fmla="*/ 11 h 26"/>
                      <a:gd name="T12" fmla="*/ 38 w 45"/>
                      <a:gd name="T13" fmla="*/ 1 h 26"/>
                      <a:gd name="T14" fmla="*/ 38 w 45"/>
                      <a:gd name="T15" fmla="*/ 1 h 26"/>
                      <a:gd name="T16" fmla="*/ 32 w 45"/>
                      <a:gd name="T17" fmla="*/ 0 h 26"/>
                      <a:gd name="T18" fmla="*/ 30 w 45"/>
                      <a:gd name="T19" fmla="*/ 0 h 26"/>
                      <a:gd name="T20" fmla="*/ 23 w 45"/>
                      <a:gd name="T21" fmla="*/ 20 h 26"/>
                      <a:gd name="T22" fmla="*/ 21 w 45"/>
                      <a:gd name="T23" fmla="*/ 20 h 26"/>
                      <a:gd name="T24" fmla="*/ 14 w 45"/>
                      <a:gd name="T25" fmla="*/ 0 h 26"/>
                      <a:gd name="T26" fmla="*/ 13 w 45"/>
                      <a:gd name="T27" fmla="*/ 0 h 26"/>
                      <a:gd name="T28" fmla="*/ 7 w 45"/>
                      <a:gd name="T29" fmla="*/ 1 h 26"/>
                      <a:gd name="T30" fmla="*/ 0 w 45"/>
                      <a:gd name="T31" fmla="*/ 11 h 26"/>
                      <a:gd name="T32" fmla="*/ 0 w 45"/>
                      <a:gd name="T33" fmla="*/ 11 h 26"/>
                      <a:gd name="T34" fmla="*/ 0 w 45"/>
                      <a:gd name="T35" fmla="*/ 11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5" h="26">
                        <a:moveTo>
                          <a:pt x="0" y="11"/>
                        </a:moveTo>
                        <a:cubicBezTo>
                          <a:pt x="0" y="25"/>
                          <a:pt x="0" y="25"/>
                          <a:pt x="0" y="25"/>
                        </a:cubicBezTo>
                        <a:cubicBezTo>
                          <a:pt x="0" y="26"/>
                          <a:pt x="0" y="26"/>
                          <a:pt x="1" y="26"/>
                        </a:cubicBezTo>
                        <a:cubicBezTo>
                          <a:pt x="44" y="26"/>
                          <a:pt x="44" y="26"/>
                          <a:pt x="44" y="26"/>
                        </a:cubicBezTo>
                        <a:cubicBezTo>
                          <a:pt x="44" y="26"/>
                          <a:pt x="45" y="26"/>
                          <a:pt x="45" y="25"/>
                        </a:cubicBezTo>
                        <a:cubicBezTo>
                          <a:pt x="45" y="11"/>
                          <a:pt x="45" y="11"/>
                          <a:pt x="45" y="11"/>
                        </a:cubicBezTo>
                        <a:cubicBezTo>
                          <a:pt x="45" y="6"/>
                          <a:pt x="42" y="2"/>
                          <a:pt x="38" y="1"/>
                        </a:cubicBezTo>
                        <a:cubicBezTo>
                          <a:pt x="38" y="1"/>
                          <a:pt x="38" y="1"/>
                          <a:pt x="38" y="1"/>
                        </a:cubicBezTo>
                        <a:cubicBezTo>
                          <a:pt x="32" y="0"/>
                          <a:pt x="32" y="0"/>
                          <a:pt x="32" y="0"/>
                        </a:cubicBezTo>
                        <a:cubicBezTo>
                          <a:pt x="31" y="0"/>
                          <a:pt x="31" y="0"/>
                          <a:pt x="30" y="0"/>
                        </a:cubicBezTo>
                        <a:cubicBezTo>
                          <a:pt x="23" y="20"/>
                          <a:pt x="23" y="20"/>
                          <a:pt x="23" y="20"/>
                        </a:cubicBezTo>
                        <a:cubicBezTo>
                          <a:pt x="23" y="21"/>
                          <a:pt x="21" y="21"/>
                          <a:pt x="21" y="20"/>
                        </a:cubicBezTo>
                        <a:cubicBezTo>
                          <a:pt x="14" y="0"/>
                          <a:pt x="14" y="0"/>
                          <a:pt x="14" y="0"/>
                        </a:cubicBezTo>
                        <a:cubicBezTo>
                          <a:pt x="14" y="0"/>
                          <a:pt x="14" y="0"/>
                          <a:pt x="13" y="0"/>
                        </a:cubicBezTo>
                        <a:cubicBezTo>
                          <a:pt x="13" y="0"/>
                          <a:pt x="7" y="1"/>
                          <a:pt x="7" y="1"/>
                        </a:cubicBezTo>
                        <a:cubicBezTo>
                          <a:pt x="2" y="2"/>
                          <a:pt x="0" y="6"/>
                          <a:pt x="0" y="11"/>
                        </a:cubicBezTo>
                        <a:close/>
                        <a:moveTo>
                          <a:pt x="0" y="11"/>
                        </a:moveTo>
                        <a:cubicBezTo>
                          <a:pt x="0" y="11"/>
                          <a:pt x="0" y="11"/>
                          <a:pt x="0" y="1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65" name="Freeform 143">
                    <a:extLst>
                      <a:ext uri="{FF2B5EF4-FFF2-40B4-BE49-F238E27FC236}">
                        <a16:creationId xmlns:a16="http://schemas.microsoft.com/office/drawing/2014/main" id="{0833E41B-E050-433F-84EE-E5A4FD7B4247}"/>
                      </a:ext>
                    </a:extLst>
                  </p:cNvPr>
                  <p:cNvSpPr>
                    <a:spLocks noEditPoints="1"/>
                  </p:cNvSpPr>
                  <p:nvPr/>
                </p:nvSpPr>
                <p:spPr bwMode="auto">
                  <a:xfrm>
                    <a:off x="776288" y="2092325"/>
                    <a:ext cx="127000" cy="123825"/>
                  </a:xfrm>
                  <a:custGeom>
                    <a:avLst/>
                    <a:gdLst>
                      <a:gd name="T0" fmla="*/ 8 w 39"/>
                      <a:gd name="T1" fmla="*/ 35 h 38"/>
                      <a:gd name="T2" fmla="*/ 9 w 39"/>
                      <a:gd name="T3" fmla="*/ 38 h 38"/>
                      <a:gd name="T4" fmla="*/ 15 w 39"/>
                      <a:gd name="T5" fmla="*/ 38 h 38"/>
                      <a:gd name="T6" fmla="*/ 13 w 39"/>
                      <a:gd name="T7" fmla="*/ 26 h 38"/>
                      <a:gd name="T8" fmla="*/ 13 w 39"/>
                      <a:gd name="T9" fmla="*/ 24 h 38"/>
                      <a:gd name="T10" fmla="*/ 15 w 39"/>
                      <a:gd name="T11" fmla="*/ 23 h 38"/>
                      <a:gd name="T12" fmla="*/ 23 w 39"/>
                      <a:gd name="T13" fmla="*/ 23 h 38"/>
                      <a:gd name="T14" fmla="*/ 25 w 39"/>
                      <a:gd name="T15" fmla="*/ 24 h 38"/>
                      <a:gd name="T16" fmla="*/ 26 w 39"/>
                      <a:gd name="T17" fmla="*/ 26 h 38"/>
                      <a:gd name="T18" fmla="*/ 23 w 39"/>
                      <a:gd name="T19" fmla="*/ 38 h 38"/>
                      <a:gd name="T20" fmla="*/ 30 w 39"/>
                      <a:gd name="T21" fmla="*/ 38 h 38"/>
                      <a:gd name="T22" fmla="*/ 30 w 39"/>
                      <a:gd name="T23" fmla="*/ 35 h 38"/>
                      <a:gd name="T24" fmla="*/ 39 w 39"/>
                      <a:gd name="T25" fmla="*/ 19 h 38"/>
                      <a:gd name="T26" fmla="*/ 19 w 39"/>
                      <a:gd name="T27" fmla="*/ 0 h 38"/>
                      <a:gd name="T28" fmla="*/ 0 w 39"/>
                      <a:gd name="T29" fmla="*/ 19 h 38"/>
                      <a:gd name="T30" fmla="*/ 8 w 39"/>
                      <a:gd name="T31" fmla="*/ 35 h 38"/>
                      <a:gd name="T32" fmla="*/ 8 w 39"/>
                      <a:gd name="T33" fmla="*/ 35 h 38"/>
                      <a:gd name="T34" fmla="*/ 8 w 39"/>
                      <a:gd name="T35" fmla="*/ 35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9" h="38">
                        <a:moveTo>
                          <a:pt x="8" y="35"/>
                        </a:moveTo>
                        <a:cubicBezTo>
                          <a:pt x="9" y="36"/>
                          <a:pt x="9" y="38"/>
                          <a:pt x="9" y="38"/>
                        </a:cubicBezTo>
                        <a:cubicBezTo>
                          <a:pt x="15" y="38"/>
                          <a:pt x="15" y="38"/>
                          <a:pt x="15" y="38"/>
                        </a:cubicBezTo>
                        <a:cubicBezTo>
                          <a:pt x="13" y="26"/>
                          <a:pt x="13" y="26"/>
                          <a:pt x="13" y="26"/>
                        </a:cubicBezTo>
                        <a:cubicBezTo>
                          <a:pt x="13" y="25"/>
                          <a:pt x="13" y="24"/>
                          <a:pt x="13" y="24"/>
                        </a:cubicBezTo>
                        <a:cubicBezTo>
                          <a:pt x="14" y="23"/>
                          <a:pt x="14" y="23"/>
                          <a:pt x="15" y="23"/>
                        </a:cubicBezTo>
                        <a:cubicBezTo>
                          <a:pt x="23" y="23"/>
                          <a:pt x="23" y="23"/>
                          <a:pt x="23" y="23"/>
                        </a:cubicBezTo>
                        <a:cubicBezTo>
                          <a:pt x="24" y="23"/>
                          <a:pt x="25" y="23"/>
                          <a:pt x="25" y="24"/>
                        </a:cubicBezTo>
                        <a:cubicBezTo>
                          <a:pt x="26" y="24"/>
                          <a:pt x="26" y="25"/>
                          <a:pt x="26" y="26"/>
                        </a:cubicBezTo>
                        <a:cubicBezTo>
                          <a:pt x="23" y="38"/>
                          <a:pt x="23" y="38"/>
                          <a:pt x="23" y="38"/>
                        </a:cubicBezTo>
                        <a:cubicBezTo>
                          <a:pt x="30" y="38"/>
                          <a:pt x="30" y="38"/>
                          <a:pt x="30" y="38"/>
                        </a:cubicBezTo>
                        <a:cubicBezTo>
                          <a:pt x="30" y="38"/>
                          <a:pt x="30" y="36"/>
                          <a:pt x="30" y="35"/>
                        </a:cubicBezTo>
                        <a:cubicBezTo>
                          <a:pt x="35" y="32"/>
                          <a:pt x="39" y="26"/>
                          <a:pt x="39" y="19"/>
                        </a:cubicBezTo>
                        <a:cubicBezTo>
                          <a:pt x="39" y="9"/>
                          <a:pt x="30" y="0"/>
                          <a:pt x="19" y="0"/>
                        </a:cubicBezTo>
                        <a:cubicBezTo>
                          <a:pt x="8" y="0"/>
                          <a:pt x="0" y="9"/>
                          <a:pt x="0" y="19"/>
                        </a:cubicBezTo>
                        <a:cubicBezTo>
                          <a:pt x="0" y="26"/>
                          <a:pt x="3" y="32"/>
                          <a:pt x="8" y="35"/>
                        </a:cubicBezTo>
                        <a:close/>
                        <a:moveTo>
                          <a:pt x="8" y="35"/>
                        </a:moveTo>
                        <a:cubicBezTo>
                          <a:pt x="8" y="35"/>
                          <a:pt x="8" y="35"/>
                          <a:pt x="8" y="3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66" name="Freeform 144">
                    <a:extLst>
                      <a:ext uri="{FF2B5EF4-FFF2-40B4-BE49-F238E27FC236}">
                        <a16:creationId xmlns:a16="http://schemas.microsoft.com/office/drawing/2014/main" id="{A8831947-4659-4DD4-9EFD-F1A1F229E6D0}"/>
                      </a:ext>
                    </a:extLst>
                  </p:cNvPr>
                  <p:cNvSpPr>
                    <a:spLocks noEditPoints="1"/>
                  </p:cNvSpPr>
                  <p:nvPr/>
                </p:nvSpPr>
                <p:spPr bwMode="auto">
                  <a:xfrm>
                    <a:off x="806450" y="2232025"/>
                    <a:ext cx="65087" cy="9525"/>
                  </a:xfrm>
                  <a:custGeom>
                    <a:avLst/>
                    <a:gdLst>
                      <a:gd name="T0" fmla="*/ 20 w 20"/>
                      <a:gd name="T1" fmla="*/ 2 h 3"/>
                      <a:gd name="T2" fmla="*/ 20 w 20"/>
                      <a:gd name="T3" fmla="*/ 0 h 3"/>
                      <a:gd name="T4" fmla="*/ 0 w 20"/>
                      <a:gd name="T5" fmla="*/ 0 h 3"/>
                      <a:gd name="T6" fmla="*/ 1 w 20"/>
                      <a:gd name="T7" fmla="*/ 2 h 3"/>
                      <a:gd name="T8" fmla="*/ 1 w 20"/>
                      <a:gd name="T9" fmla="*/ 3 h 3"/>
                      <a:gd name="T10" fmla="*/ 20 w 20"/>
                      <a:gd name="T11" fmla="*/ 3 h 3"/>
                      <a:gd name="T12" fmla="*/ 20 w 20"/>
                      <a:gd name="T13" fmla="*/ 2 h 3"/>
                      <a:gd name="T14" fmla="*/ 20 w 20"/>
                      <a:gd name="T15" fmla="*/ 2 h 3"/>
                      <a:gd name="T16" fmla="*/ 20 w 20"/>
                      <a:gd name="T17" fmla="*/ 2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3">
                        <a:moveTo>
                          <a:pt x="20" y="2"/>
                        </a:moveTo>
                        <a:cubicBezTo>
                          <a:pt x="20" y="1"/>
                          <a:pt x="20" y="1"/>
                          <a:pt x="20" y="0"/>
                        </a:cubicBezTo>
                        <a:cubicBezTo>
                          <a:pt x="0" y="0"/>
                          <a:pt x="0" y="0"/>
                          <a:pt x="0" y="0"/>
                        </a:cubicBezTo>
                        <a:cubicBezTo>
                          <a:pt x="0" y="1"/>
                          <a:pt x="1" y="1"/>
                          <a:pt x="1" y="2"/>
                        </a:cubicBezTo>
                        <a:cubicBezTo>
                          <a:pt x="1" y="2"/>
                          <a:pt x="1" y="3"/>
                          <a:pt x="1" y="3"/>
                        </a:cubicBezTo>
                        <a:cubicBezTo>
                          <a:pt x="20" y="3"/>
                          <a:pt x="20" y="3"/>
                          <a:pt x="20" y="3"/>
                        </a:cubicBezTo>
                        <a:cubicBezTo>
                          <a:pt x="20" y="3"/>
                          <a:pt x="20" y="2"/>
                          <a:pt x="20" y="2"/>
                        </a:cubicBezTo>
                        <a:close/>
                        <a:moveTo>
                          <a:pt x="20" y="2"/>
                        </a:moveTo>
                        <a:cubicBezTo>
                          <a:pt x="20" y="2"/>
                          <a:pt x="20" y="2"/>
                          <a:pt x="20" y="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67" name="Freeform 145">
                    <a:extLst>
                      <a:ext uri="{FF2B5EF4-FFF2-40B4-BE49-F238E27FC236}">
                        <a16:creationId xmlns:a16="http://schemas.microsoft.com/office/drawing/2014/main" id="{926AACF7-3581-4F0F-B7E7-8D58BF9C52E1}"/>
                      </a:ext>
                    </a:extLst>
                  </p:cNvPr>
                  <p:cNvSpPr>
                    <a:spLocks noEditPoints="1"/>
                  </p:cNvSpPr>
                  <p:nvPr/>
                </p:nvSpPr>
                <p:spPr bwMode="auto">
                  <a:xfrm>
                    <a:off x="835025" y="2182813"/>
                    <a:ext cx="9525" cy="23813"/>
                  </a:xfrm>
                  <a:custGeom>
                    <a:avLst/>
                    <a:gdLst>
                      <a:gd name="T0" fmla="*/ 0 w 6"/>
                      <a:gd name="T1" fmla="*/ 0 h 15"/>
                      <a:gd name="T2" fmla="*/ 2 w 6"/>
                      <a:gd name="T3" fmla="*/ 15 h 15"/>
                      <a:gd name="T4" fmla="*/ 6 w 6"/>
                      <a:gd name="T5" fmla="*/ 0 h 15"/>
                      <a:gd name="T6" fmla="*/ 0 w 6"/>
                      <a:gd name="T7" fmla="*/ 0 h 15"/>
                      <a:gd name="T8" fmla="*/ 0 w 6"/>
                      <a:gd name="T9" fmla="*/ 0 h 15"/>
                      <a:gd name="T10" fmla="*/ 0 w 6"/>
                      <a:gd name="T11" fmla="*/ 0 h 15"/>
                    </a:gdLst>
                    <a:ahLst/>
                    <a:cxnLst>
                      <a:cxn ang="0">
                        <a:pos x="T0" y="T1"/>
                      </a:cxn>
                      <a:cxn ang="0">
                        <a:pos x="T2" y="T3"/>
                      </a:cxn>
                      <a:cxn ang="0">
                        <a:pos x="T4" y="T5"/>
                      </a:cxn>
                      <a:cxn ang="0">
                        <a:pos x="T6" y="T7"/>
                      </a:cxn>
                      <a:cxn ang="0">
                        <a:pos x="T8" y="T9"/>
                      </a:cxn>
                      <a:cxn ang="0">
                        <a:pos x="T10" y="T11"/>
                      </a:cxn>
                    </a:cxnLst>
                    <a:rect l="0" t="0" r="r" b="b"/>
                    <a:pathLst>
                      <a:path w="6" h="15">
                        <a:moveTo>
                          <a:pt x="0" y="0"/>
                        </a:moveTo>
                        <a:lnTo>
                          <a:pt x="2" y="15"/>
                        </a:lnTo>
                        <a:lnTo>
                          <a:pt x="6" y="0"/>
                        </a:lnTo>
                        <a:lnTo>
                          <a:pt x="0" y="0"/>
                        </a:lnTo>
                        <a:close/>
                        <a:moveTo>
                          <a:pt x="0" y="0"/>
                        </a:move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68" name="Freeform 146">
                    <a:extLst>
                      <a:ext uri="{FF2B5EF4-FFF2-40B4-BE49-F238E27FC236}">
                        <a16:creationId xmlns:a16="http://schemas.microsoft.com/office/drawing/2014/main" id="{18C70CED-0DA5-41FA-82D5-18B735B0472A}"/>
                      </a:ext>
                    </a:extLst>
                  </p:cNvPr>
                  <p:cNvSpPr>
                    <a:spLocks noEditPoints="1"/>
                  </p:cNvSpPr>
                  <p:nvPr/>
                </p:nvSpPr>
                <p:spPr bwMode="auto">
                  <a:xfrm>
                    <a:off x="835025" y="2182813"/>
                    <a:ext cx="9525" cy="23813"/>
                  </a:xfrm>
                  <a:custGeom>
                    <a:avLst/>
                    <a:gdLst>
                      <a:gd name="T0" fmla="*/ 0 w 6"/>
                      <a:gd name="T1" fmla="*/ 0 h 15"/>
                      <a:gd name="T2" fmla="*/ 2 w 6"/>
                      <a:gd name="T3" fmla="*/ 15 h 15"/>
                      <a:gd name="T4" fmla="*/ 6 w 6"/>
                      <a:gd name="T5" fmla="*/ 0 h 15"/>
                      <a:gd name="T6" fmla="*/ 0 w 6"/>
                      <a:gd name="T7" fmla="*/ 0 h 15"/>
                      <a:gd name="T8" fmla="*/ 0 w 6"/>
                      <a:gd name="T9" fmla="*/ 0 h 15"/>
                      <a:gd name="T10" fmla="*/ 0 w 6"/>
                      <a:gd name="T11" fmla="*/ 0 h 15"/>
                    </a:gdLst>
                    <a:ahLst/>
                    <a:cxnLst>
                      <a:cxn ang="0">
                        <a:pos x="T0" y="T1"/>
                      </a:cxn>
                      <a:cxn ang="0">
                        <a:pos x="T2" y="T3"/>
                      </a:cxn>
                      <a:cxn ang="0">
                        <a:pos x="T4" y="T5"/>
                      </a:cxn>
                      <a:cxn ang="0">
                        <a:pos x="T6" y="T7"/>
                      </a:cxn>
                      <a:cxn ang="0">
                        <a:pos x="T8" y="T9"/>
                      </a:cxn>
                      <a:cxn ang="0">
                        <a:pos x="T10" y="T11"/>
                      </a:cxn>
                    </a:cxnLst>
                    <a:rect l="0" t="0" r="r" b="b"/>
                    <a:pathLst>
                      <a:path w="6" h="15">
                        <a:moveTo>
                          <a:pt x="0" y="0"/>
                        </a:moveTo>
                        <a:lnTo>
                          <a:pt x="2" y="15"/>
                        </a:lnTo>
                        <a:lnTo>
                          <a:pt x="6" y="0"/>
                        </a:lnTo>
                        <a:lnTo>
                          <a:pt x="0" y="0"/>
                        </a:lnTo>
                        <a:moveTo>
                          <a:pt x="0" y="0"/>
                        </a:move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69" name="Freeform 147">
                    <a:extLst>
                      <a:ext uri="{FF2B5EF4-FFF2-40B4-BE49-F238E27FC236}">
                        <a16:creationId xmlns:a16="http://schemas.microsoft.com/office/drawing/2014/main" id="{87ADF9B2-B47B-40BB-9807-EE6832D339B7}"/>
                      </a:ext>
                    </a:extLst>
                  </p:cNvPr>
                  <p:cNvSpPr>
                    <a:spLocks noEditPoints="1"/>
                  </p:cNvSpPr>
                  <p:nvPr/>
                </p:nvSpPr>
                <p:spPr bwMode="auto">
                  <a:xfrm>
                    <a:off x="812800" y="2257425"/>
                    <a:ext cx="52387" cy="14288"/>
                  </a:xfrm>
                  <a:custGeom>
                    <a:avLst/>
                    <a:gdLst>
                      <a:gd name="T0" fmla="*/ 8 w 16"/>
                      <a:gd name="T1" fmla="*/ 4 h 4"/>
                      <a:gd name="T2" fmla="*/ 16 w 16"/>
                      <a:gd name="T3" fmla="*/ 0 h 4"/>
                      <a:gd name="T4" fmla="*/ 0 w 16"/>
                      <a:gd name="T5" fmla="*/ 0 h 4"/>
                      <a:gd name="T6" fmla="*/ 8 w 16"/>
                      <a:gd name="T7" fmla="*/ 4 h 4"/>
                      <a:gd name="T8" fmla="*/ 8 w 16"/>
                      <a:gd name="T9" fmla="*/ 4 h 4"/>
                      <a:gd name="T10" fmla="*/ 8 w 16"/>
                      <a:gd name="T11" fmla="*/ 4 h 4"/>
                    </a:gdLst>
                    <a:ahLst/>
                    <a:cxnLst>
                      <a:cxn ang="0">
                        <a:pos x="T0" y="T1"/>
                      </a:cxn>
                      <a:cxn ang="0">
                        <a:pos x="T2" y="T3"/>
                      </a:cxn>
                      <a:cxn ang="0">
                        <a:pos x="T4" y="T5"/>
                      </a:cxn>
                      <a:cxn ang="0">
                        <a:pos x="T6" y="T7"/>
                      </a:cxn>
                      <a:cxn ang="0">
                        <a:pos x="T8" y="T9"/>
                      </a:cxn>
                      <a:cxn ang="0">
                        <a:pos x="T10" y="T11"/>
                      </a:cxn>
                    </a:cxnLst>
                    <a:rect l="0" t="0" r="r" b="b"/>
                    <a:pathLst>
                      <a:path w="16" h="4">
                        <a:moveTo>
                          <a:pt x="8" y="4"/>
                        </a:moveTo>
                        <a:cubicBezTo>
                          <a:pt x="12" y="4"/>
                          <a:pt x="14" y="2"/>
                          <a:pt x="16" y="0"/>
                        </a:cubicBezTo>
                        <a:cubicBezTo>
                          <a:pt x="0" y="0"/>
                          <a:pt x="0" y="0"/>
                          <a:pt x="0" y="0"/>
                        </a:cubicBezTo>
                        <a:cubicBezTo>
                          <a:pt x="2" y="2"/>
                          <a:pt x="5" y="4"/>
                          <a:pt x="8" y="4"/>
                        </a:cubicBezTo>
                        <a:close/>
                        <a:moveTo>
                          <a:pt x="8" y="4"/>
                        </a:moveTo>
                        <a:cubicBezTo>
                          <a:pt x="8" y="4"/>
                          <a:pt x="8" y="4"/>
                          <a:pt x="8" y="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70" name="Freeform 148">
                    <a:extLst>
                      <a:ext uri="{FF2B5EF4-FFF2-40B4-BE49-F238E27FC236}">
                        <a16:creationId xmlns:a16="http://schemas.microsoft.com/office/drawing/2014/main" id="{F91F0211-07C4-4576-8483-09554E5ED4E0}"/>
                      </a:ext>
                    </a:extLst>
                  </p:cNvPr>
                  <p:cNvSpPr>
                    <a:spLocks noEditPoints="1"/>
                  </p:cNvSpPr>
                  <p:nvPr/>
                </p:nvSpPr>
                <p:spPr bwMode="auto">
                  <a:xfrm>
                    <a:off x="993775" y="2244725"/>
                    <a:ext cx="20637" cy="49213"/>
                  </a:xfrm>
                  <a:custGeom>
                    <a:avLst/>
                    <a:gdLst>
                      <a:gd name="T0" fmla="*/ 6 w 6"/>
                      <a:gd name="T1" fmla="*/ 0 h 15"/>
                      <a:gd name="T2" fmla="*/ 5 w 6"/>
                      <a:gd name="T3" fmla="*/ 0 h 15"/>
                      <a:gd name="T4" fmla="*/ 2 w 6"/>
                      <a:gd name="T5" fmla="*/ 0 h 15"/>
                      <a:gd name="T6" fmla="*/ 1 w 6"/>
                      <a:gd name="T7" fmla="*/ 0 h 15"/>
                      <a:gd name="T8" fmla="*/ 0 w 6"/>
                      <a:gd name="T9" fmla="*/ 2 h 15"/>
                      <a:gd name="T10" fmla="*/ 2 w 6"/>
                      <a:gd name="T11" fmla="*/ 5 h 15"/>
                      <a:gd name="T12" fmla="*/ 1 w 6"/>
                      <a:gd name="T13" fmla="*/ 11 h 15"/>
                      <a:gd name="T14" fmla="*/ 3 w 6"/>
                      <a:gd name="T15" fmla="*/ 15 h 15"/>
                      <a:gd name="T16" fmla="*/ 4 w 6"/>
                      <a:gd name="T17" fmla="*/ 15 h 15"/>
                      <a:gd name="T18" fmla="*/ 5 w 6"/>
                      <a:gd name="T19" fmla="*/ 11 h 15"/>
                      <a:gd name="T20" fmla="*/ 4 w 6"/>
                      <a:gd name="T21" fmla="*/ 5 h 15"/>
                      <a:gd name="T22" fmla="*/ 6 w 6"/>
                      <a:gd name="T23" fmla="*/ 2 h 15"/>
                      <a:gd name="T24" fmla="*/ 6 w 6"/>
                      <a:gd name="T25" fmla="*/ 0 h 15"/>
                      <a:gd name="T26" fmla="*/ 6 w 6"/>
                      <a:gd name="T27" fmla="*/ 0 h 15"/>
                      <a:gd name="T28" fmla="*/ 6 w 6"/>
                      <a:gd name="T29"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15">
                        <a:moveTo>
                          <a:pt x="6" y="0"/>
                        </a:moveTo>
                        <a:cubicBezTo>
                          <a:pt x="6" y="0"/>
                          <a:pt x="5" y="0"/>
                          <a:pt x="5" y="0"/>
                        </a:cubicBezTo>
                        <a:cubicBezTo>
                          <a:pt x="2" y="0"/>
                          <a:pt x="2" y="0"/>
                          <a:pt x="2" y="0"/>
                        </a:cubicBezTo>
                        <a:cubicBezTo>
                          <a:pt x="1" y="0"/>
                          <a:pt x="1" y="0"/>
                          <a:pt x="1" y="0"/>
                        </a:cubicBezTo>
                        <a:cubicBezTo>
                          <a:pt x="0" y="1"/>
                          <a:pt x="0" y="1"/>
                          <a:pt x="0" y="2"/>
                        </a:cubicBezTo>
                        <a:cubicBezTo>
                          <a:pt x="2" y="5"/>
                          <a:pt x="2" y="5"/>
                          <a:pt x="2" y="5"/>
                        </a:cubicBezTo>
                        <a:cubicBezTo>
                          <a:pt x="1" y="11"/>
                          <a:pt x="1" y="11"/>
                          <a:pt x="1" y="11"/>
                        </a:cubicBezTo>
                        <a:cubicBezTo>
                          <a:pt x="3" y="15"/>
                          <a:pt x="3" y="15"/>
                          <a:pt x="3" y="15"/>
                        </a:cubicBezTo>
                        <a:cubicBezTo>
                          <a:pt x="3" y="15"/>
                          <a:pt x="4" y="15"/>
                          <a:pt x="4" y="15"/>
                        </a:cubicBezTo>
                        <a:cubicBezTo>
                          <a:pt x="5" y="11"/>
                          <a:pt x="5" y="11"/>
                          <a:pt x="5" y="11"/>
                        </a:cubicBezTo>
                        <a:cubicBezTo>
                          <a:pt x="4" y="5"/>
                          <a:pt x="4" y="5"/>
                          <a:pt x="4" y="5"/>
                        </a:cubicBezTo>
                        <a:cubicBezTo>
                          <a:pt x="6" y="2"/>
                          <a:pt x="6" y="2"/>
                          <a:pt x="6" y="2"/>
                        </a:cubicBezTo>
                        <a:cubicBezTo>
                          <a:pt x="6" y="1"/>
                          <a:pt x="6" y="1"/>
                          <a:pt x="6" y="0"/>
                        </a:cubicBezTo>
                        <a:close/>
                        <a:moveTo>
                          <a:pt x="6" y="0"/>
                        </a:moveTo>
                        <a:cubicBezTo>
                          <a:pt x="6" y="0"/>
                          <a:pt x="6"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grpSp>
          <p:grpSp>
            <p:nvGrpSpPr>
              <p:cNvPr id="27" name="Group 16">
                <a:extLst>
                  <a:ext uri="{FF2B5EF4-FFF2-40B4-BE49-F238E27FC236}">
                    <a16:creationId xmlns:a16="http://schemas.microsoft.com/office/drawing/2014/main" id="{C925B610-DFD8-49CA-BC66-091CB30D5D0D}"/>
                  </a:ext>
                </a:extLst>
              </p:cNvPr>
              <p:cNvGrpSpPr/>
              <p:nvPr/>
            </p:nvGrpSpPr>
            <p:grpSpPr>
              <a:xfrm>
                <a:off x="6651626" y="2878138"/>
                <a:ext cx="1450975" cy="1447800"/>
                <a:chOff x="6651626" y="2878138"/>
                <a:chExt cx="1450975" cy="1447800"/>
              </a:xfrm>
            </p:grpSpPr>
            <p:sp>
              <p:nvSpPr>
                <p:cNvPr id="45" name="Oval 14">
                  <a:extLst>
                    <a:ext uri="{FF2B5EF4-FFF2-40B4-BE49-F238E27FC236}">
                      <a16:creationId xmlns:a16="http://schemas.microsoft.com/office/drawing/2014/main" id="{DBCF95E4-C79D-440B-B5B3-C29937D6CDDD}"/>
                    </a:ext>
                  </a:extLst>
                </p:cNvPr>
                <p:cNvSpPr>
                  <a:spLocks noChangeArrowheads="1"/>
                </p:cNvSpPr>
                <p:nvPr/>
              </p:nvSpPr>
              <p:spPr bwMode="auto">
                <a:xfrm>
                  <a:off x="6651626" y="2878138"/>
                  <a:ext cx="1450975" cy="1447800"/>
                </a:xfrm>
                <a:prstGeom prst="ellipse">
                  <a:avLst/>
                </a:pr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grpSp>
              <p:nvGrpSpPr>
                <p:cNvPr id="46" name="Group 56">
                  <a:extLst>
                    <a:ext uri="{FF2B5EF4-FFF2-40B4-BE49-F238E27FC236}">
                      <a16:creationId xmlns:a16="http://schemas.microsoft.com/office/drawing/2014/main" id="{BF7FDC5A-2AE7-4248-A33B-60CB9FA0A4EB}"/>
                    </a:ext>
                  </a:extLst>
                </p:cNvPr>
                <p:cNvGrpSpPr/>
                <p:nvPr/>
              </p:nvGrpSpPr>
              <p:grpSpPr>
                <a:xfrm>
                  <a:off x="7200107" y="3417095"/>
                  <a:ext cx="354012" cy="369887"/>
                  <a:chOff x="2252663" y="741363"/>
                  <a:chExt cx="354012" cy="369887"/>
                </a:xfrm>
                <a:solidFill>
                  <a:schemeClr val="bg1"/>
                </a:solidFill>
              </p:grpSpPr>
              <p:sp>
                <p:nvSpPr>
                  <p:cNvPr id="47" name="Freeform 287">
                    <a:extLst>
                      <a:ext uri="{FF2B5EF4-FFF2-40B4-BE49-F238E27FC236}">
                        <a16:creationId xmlns:a16="http://schemas.microsoft.com/office/drawing/2014/main" id="{6E2C9210-C6BC-4DFB-A82F-2A6D3D7DEB59}"/>
                      </a:ext>
                    </a:extLst>
                  </p:cNvPr>
                  <p:cNvSpPr>
                    <a:spLocks noEditPoints="1"/>
                  </p:cNvSpPr>
                  <p:nvPr/>
                </p:nvSpPr>
                <p:spPr bwMode="auto">
                  <a:xfrm>
                    <a:off x="2435225" y="968375"/>
                    <a:ext cx="106362" cy="111125"/>
                  </a:xfrm>
                  <a:custGeom>
                    <a:avLst/>
                    <a:gdLst>
                      <a:gd name="T0" fmla="*/ 20 w 33"/>
                      <a:gd name="T1" fmla="*/ 16 h 34"/>
                      <a:gd name="T2" fmla="*/ 20 w 33"/>
                      <a:gd name="T3" fmla="*/ 0 h 34"/>
                      <a:gd name="T4" fmla="*/ 13 w 33"/>
                      <a:gd name="T5" fmla="*/ 0 h 34"/>
                      <a:gd name="T6" fmla="*/ 13 w 33"/>
                      <a:gd name="T7" fmla="*/ 16 h 34"/>
                      <a:gd name="T8" fmla="*/ 1 w 33"/>
                      <a:gd name="T9" fmla="*/ 28 h 34"/>
                      <a:gd name="T10" fmla="*/ 1 w 33"/>
                      <a:gd name="T11" fmla="*/ 33 h 34"/>
                      <a:gd name="T12" fmla="*/ 6 w 33"/>
                      <a:gd name="T13" fmla="*/ 33 h 34"/>
                      <a:gd name="T14" fmla="*/ 13 w 33"/>
                      <a:gd name="T15" fmla="*/ 26 h 34"/>
                      <a:gd name="T16" fmla="*/ 13 w 33"/>
                      <a:gd name="T17" fmla="*/ 31 h 34"/>
                      <a:gd name="T18" fmla="*/ 17 w 33"/>
                      <a:gd name="T19" fmla="*/ 34 h 34"/>
                      <a:gd name="T20" fmla="*/ 20 w 33"/>
                      <a:gd name="T21" fmla="*/ 31 h 34"/>
                      <a:gd name="T22" fmla="*/ 20 w 33"/>
                      <a:gd name="T23" fmla="*/ 26 h 34"/>
                      <a:gd name="T24" fmla="*/ 27 w 33"/>
                      <a:gd name="T25" fmla="*/ 33 h 34"/>
                      <a:gd name="T26" fmla="*/ 30 w 33"/>
                      <a:gd name="T27" fmla="*/ 34 h 34"/>
                      <a:gd name="T28" fmla="*/ 32 w 33"/>
                      <a:gd name="T29" fmla="*/ 33 h 34"/>
                      <a:gd name="T30" fmla="*/ 32 w 33"/>
                      <a:gd name="T31" fmla="*/ 28 h 34"/>
                      <a:gd name="T32" fmla="*/ 20 w 33"/>
                      <a:gd name="T33" fmla="*/ 16 h 34"/>
                      <a:gd name="T34" fmla="*/ 20 w 33"/>
                      <a:gd name="T35" fmla="*/ 16 h 34"/>
                      <a:gd name="T36" fmla="*/ 20 w 33"/>
                      <a:gd name="T37" fmla="*/ 16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 h="34">
                        <a:moveTo>
                          <a:pt x="20" y="16"/>
                        </a:moveTo>
                        <a:cubicBezTo>
                          <a:pt x="20" y="0"/>
                          <a:pt x="20" y="0"/>
                          <a:pt x="20" y="0"/>
                        </a:cubicBezTo>
                        <a:cubicBezTo>
                          <a:pt x="13" y="0"/>
                          <a:pt x="13" y="0"/>
                          <a:pt x="13" y="0"/>
                        </a:cubicBezTo>
                        <a:cubicBezTo>
                          <a:pt x="13" y="16"/>
                          <a:pt x="13" y="16"/>
                          <a:pt x="13" y="16"/>
                        </a:cubicBezTo>
                        <a:cubicBezTo>
                          <a:pt x="1" y="28"/>
                          <a:pt x="1" y="28"/>
                          <a:pt x="1" y="28"/>
                        </a:cubicBezTo>
                        <a:cubicBezTo>
                          <a:pt x="0" y="29"/>
                          <a:pt x="0" y="32"/>
                          <a:pt x="1" y="33"/>
                        </a:cubicBezTo>
                        <a:cubicBezTo>
                          <a:pt x="3" y="34"/>
                          <a:pt x="5" y="34"/>
                          <a:pt x="6" y="33"/>
                        </a:cubicBezTo>
                        <a:cubicBezTo>
                          <a:pt x="13" y="26"/>
                          <a:pt x="13" y="26"/>
                          <a:pt x="13" y="26"/>
                        </a:cubicBezTo>
                        <a:cubicBezTo>
                          <a:pt x="13" y="31"/>
                          <a:pt x="13" y="31"/>
                          <a:pt x="13" y="31"/>
                        </a:cubicBezTo>
                        <a:cubicBezTo>
                          <a:pt x="13" y="32"/>
                          <a:pt x="15" y="34"/>
                          <a:pt x="17" y="34"/>
                        </a:cubicBezTo>
                        <a:cubicBezTo>
                          <a:pt x="19" y="34"/>
                          <a:pt x="20" y="32"/>
                          <a:pt x="20" y="31"/>
                        </a:cubicBezTo>
                        <a:cubicBezTo>
                          <a:pt x="20" y="26"/>
                          <a:pt x="20" y="26"/>
                          <a:pt x="20" y="26"/>
                        </a:cubicBezTo>
                        <a:cubicBezTo>
                          <a:pt x="27" y="33"/>
                          <a:pt x="27" y="33"/>
                          <a:pt x="27" y="33"/>
                        </a:cubicBezTo>
                        <a:cubicBezTo>
                          <a:pt x="28" y="34"/>
                          <a:pt x="29" y="34"/>
                          <a:pt x="30" y="34"/>
                        </a:cubicBezTo>
                        <a:cubicBezTo>
                          <a:pt x="31" y="34"/>
                          <a:pt x="31" y="34"/>
                          <a:pt x="32" y="33"/>
                        </a:cubicBezTo>
                        <a:cubicBezTo>
                          <a:pt x="33" y="32"/>
                          <a:pt x="33" y="29"/>
                          <a:pt x="32" y="28"/>
                        </a:cubicBezTo>
                        <a:lnTo>
                          <a:pt x="20" y="16"/>
                        </a:lnTo>
                        <a:close/>
                        <a:moveTo>
                          <a:pt x="20" y="16"/>
                        </a:moveTo>
                        <a:cubicBezTo>
                          <a:pt x="20" y="16"/>
                          <a:pt x="20" y="16"/>
                          <a:pt x="20" y="1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48" name="Rectangle 288">
                    <a:extLst>
                      <a:ext uri="{FF2B5EF4-FFF2-40B4-BE49-F238E27FC236}">
                        <a16:creationId xmlns:a16="http://schemas.microsoft.com/office/drawing/2014/main" id="{A90C2408-06AA-400A-8795-0C0B9057816B}"/>
                      </a:ext>
                    </a:extLst>
                  </p:cNvPr>
                  <p:cNvSpPr>
                    <a:spLocks noChangeArrowheads="1"/>
                  </p:cNvSpPr>
                  <p:nvPr/>
                </p:nvSpPr>
                <p:spPr bwMode="auto">
                  <a:xfrm>
                    <a:off x="2409825" y="893763"/>
                    <a:ext cx="22225" cy="222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49" name="Rectangle 289">
                    <a:extLst>
                      <a:ext uri="{FF2B5EF4-FFF2-40B4-BE49-F238E27FC236}">
                        <a16:creationId xmlns:a16="http://schemas.microsoft.com/office/drawing/2014/main" id="{D4839A52-4347-4BC8-B3A1-35E6C0321007}"/>
                      </a:ext>
                    </a:extLst>
                  </p:cNvPr>
                  <p:cNvSpPr>
                    <a:spLocks noChangeArrowheads="1"/>
                  </p:cNvSpPr>
                  <p:nvPr/>
                </p:nvSpPr>
                <p:spPr bwMode="auto">
                  <a:xfrm>
                    <a:off x="2547938" y="819150"/>
                    <a:ext cx="23812" cy="968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50" name="Rectangle 290">
                    <a:extLst>
                      <a:ext uri="{FF2B5EF4-FFF2-40B4-BE49-F238E27FC236}">
                        <a16:creationId xmlns:a16="http://schemas.microsoft.com/office/drawing/2014/main" id="{52B4DFA8-51B2-4326-9960-703497FFF0A3}"/>
                      </a:ext>
                    </a:extLst>
                  </p:cNvPr>
                  <p:cNvSpPr>
                    <a:spLocks noChangeArrowheads="1"/>
                  </p:cNvSpPr>
                  <p:nvPr/>
                </p:nvSpPr>
                <p:spPr bwMode="auto">
                  <a:xfrm>
                    <a:off x="2478088" y="857250"/>
                    <a:ext cx="22225" cy="587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51" name="Freeform 291">
                    <a:extLst>
                      <a:ext uri="{FF2B5EF4-FFF2-40B4-BE49-F238E27FC236}">
                        <a16:creationId xmlns:a16="http://schemas.microsoft.com/office/drawing/2014/main" id="{4CF657AD-1C05-4DD2-8BF1-8617A42FFCBA}"/>
                      </a:ext>
                    </a:extLst>
                  </p:cNvPr>
                  <p:cNvSpPr>
                    <a:spLocks noEditPoints="1"/>
                  </p:cNvSpPr>
                  <p:nvPr/>
                </p:nvSpPr>
                <p:spPr bwMode="auto">
                  <a:xfrm>
                    <a:off x="2478088" y="741363"/>
                    <a:ext cx="22225" cy="22225"/>
                  </a:xfrm>
                  <a:custGeom>
                    <a:avLst/>
                    <a:gdLst>
                      <a:gd name="T0" fmla="*/ 7 w 7"/>
                      <a:gd name="T1" fmla="*/ 3 h 7"/>
                      <a:gd name="T2" fmla="*/ 4 w 7"/>
                      <a:gd name="T3" fmla="*/ 0 h 7"/>
                      <a:gd name="T4" fmla="*/ 0 w 7"/>
                      <a:gd name="T5" fmla="*/ 3 h 7"/>
                      <a:gd name="T6" fmla="*/ 0 w 7"/>
                      <a:gd name="T7" fmla="*/ 7 h 7"/>
                      <a:gd name="T8" fmla="*/ 7 w 7"/>
                      <a:gd name="T9" fmla="*/ 7 h 7"/>
                      <a:gd name="T10" fmla="*/ 7 w 7"/>
                      <a:gd name="T11" fmla="*/ 3 h 7"/>
                      <a:gd name="T12" fmla="*/ 7 w 7"/>
                      <a:gd name="T13" fmla="*/ 3 h 7"/>
                      <a:gd name="T14" fmla="*/ 7 w 7"/>
                      <a:gd name="T15" fmla="*/ 3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7">
                        <a:moveTo>
                          <a:pt x="7" y="3"/>
                        </a:moveTo>
                        <a:cubicBezTo>
                          <a:pt x="7" y="2"/>
                          <a:pt x="6" y="0"/>
                          <a:pt x="4" y="0"/>
                        </a:cubicBezTo>
                        <a:cubicBezTo>
                          <a:pt x="2" y="0"/>
                          <a:pt x="0" y="2"/>
                          <a:pt x="0" y="3"/>
                        </a:cubicBezTo>
                        <a:cubicBezTo>
                          <a:pt x="0" y="7"/>
                          <a:pt x="0" y="7"/>
                          <a:pt x="0" y="7"/>
                        </a:cubicBezTo>
                        <a:cubicBezTo>
                          <a:pt x="7" y="7"/>
                          <a:pt x="7" y="7"/>
                          <a:pt x="7" y="7"/>
                        </a:cubicBezTo>
                        <a:cubicBezTo>
                          <a:pt x="7" y="3"/>
                          <a:pt x="7" y="3"/>
                          <a:pt x="7" y="3"/>
                        </a:cubicBezTo>
                        <a:close/>
                        <a:moveTo>
                          <a:pt x="7" y="3"/>
                        </a:moveTo>
                        <a:cubicBezTo>
                          <a:pt x="7" y="3"/>
                          <a:pt x="7" y="3"/>
                          <a:pt x="7" y="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52" name="Freeform 292">
                    <a:extLst>
                      <a:ext uri="{FF2B5EF4-FFF2-40B4-BE49-F238E27FC236}">
                        <a16:creationId xmlns:a16="http://schemas.microsoft.com/office/drawing/2014/main" id="{EB7F1299-C239-459C-A2DC-0221A1C5933C}"/>
                      </a:ext>
                    </a:extLst>
                  </p:cNvPr>
                  <p:cNvSpPr>
                    <a:spLocks noEditPoints="1"/>
                  </p:cNvSpPr>
                  <p:nvPr/>
                </p:nvSpPr>
                <p:spPr bwMode="auto">
                  <a:xfrm>
                    <a:off x="2370138" y="779463"/>
                    <a:ext cx="236537" cy="176213"/>
                  </a:xfrm>
                  <a:custGeom>
                    <a:avLst/>
                    <a:gdLst>
                      <a:gd name="T0" fmla="*/ 71 w 73"/>
                      <a:gd name="T1" fmla="*/ 0 h 54"/>
                      <a:gd name="T2" fmla="*/ 3 w 73"/>
                      <a:gd name="T3" fmla="*/ 0 h 54"/>
                      <a:gd name="T4" fmla="*/ 0 w 73"/>
                      <a:gd name="T5" fmla="*/ 2 h 54"/>
                      <a:gd name="T6" fmla="*/ 0 w 73"/>
                      <a:gd name="T7" fmla="*/ 51 h 54"/>
                      <a:gd name="T8" fmla="*/ 3 w 73"/>
                      <a:gd name="T9" fmla="*/ 54 h 54"/>
                      <a:gd name="T10" fmla="*/ 71 w 73"/>
                      <a:gd name="T11" fmla="*/ 54 h 54"/>
                      <a:gd name="T12" fmla="*/ 73 w 73"/>
                      <a:gd name="T13" fmla="*/ 51 h 54"/>
                      <a:gd name="T14" fmla="*/ 73 w 73"/>
                      <a:gd name="T15" fmla="*/ 2 h 54"/>
                      <a:gd name="T16" fmla="*/ 71 w 73"/>
                      <a:gd name="T17" fmla="*/ 0 h 54"/>
                      <a:gd name="T18" fmla="*/ 24 w 73"/>
                      <a:gd name="T19" fmla="*/ 44 h 54"/>
                      <a:gd name="T20" fmla="*/ 21 w 73"/>
                      <a:gd name="T21" fmla="*/ 47 h 54"/>
                      <a:gd name="T22" fmla="*/ 9 w 73"/>
                      <a:gd name="T23" fmla="*/ 47 h 54"/>
                      <a:gd name="T24" fmla="*/ 6 w 73"/>
                      <a:gd name="T25" fmla="*/ 44 h 54"/>
                      <a:gd name="T26" fmla="*/ 6 w 73"/>
                      <a:gd name="T27" fmla="*/ 33 h 54"/>
                      <a:gd name="T28" fmla="*/ 9 w 73"/>
                      <a:gd name="T29" fmla="*/ 30 h 54"/>
                      <a:gd name="T30" fmla="*/ 21 w 73"/>
                      <a:gd name="T31" fmla="*/ 30 h 54"/>
                      <a:gd name="T32" fmla="*/ 24 w 73"/>
                      <a:gd name="T33" fmla="*/ 33 h 54"/>
                      <a:gd name="T34" fmla="*/ 24 w 73"/>
                      <a:gd name="T35" fmla="*/ 44 h 54"/>
                      <a:gd name="T36" fmla="*/ 46 w 73"/>
                      <a:gd name="T37" fmla="*/ 44 h 54"/>
                      <a:gd name="T38" fmla="*/ 43 w 73"/>
                      <a:gd name="T39" fmla="*/ 47 h 54"/>
                      <a:gd name="T40" fmla="*/ 30 w 73"/>
                      <a:gd name="T41" fmla="*/ 47 h 54"/>
                      <a:gd name="T42" fmla="*/ 28 w 73"/>
                      <a:gd name="T43" fmla="*/ 44 h 54"/>
                      <a:gd name="T44" fmla="*/ 28 w 73"/>
                      <a:gd name="T45" fmla="*/ 21 h 54"/>
                      <a:gd name="T46" fmla="*/ 30 w 73"/>
                      <a:gd name="T47" fmla="*/ 18 h 54"/>
                      <a:gd name="T48" fmla="*/ 43 w 73"/>
                      <a:gd name="T49" fmla="*/ 18 h 54"/>
                      <a:gd name="T50" fmla="*/ 46 w 73"/>
                      <a:gd name="T51" fmla="*/ 21 h 54"/>
                      <a:gd name="T52" fmla="*/ 46 w 73"/>
                      <a:gd name="T53" fmla="*/ 44 h 54"/>
                      <a:gd name="T54" fmla="*/ 67 w 73"/>
                      <a:gd name="T55" fmla="*/ 44 h 54"/>
                      <a:gd name="T56" fmla="*/ 64 w 73"/>
                      <a:gd name="T57" fmla="*/ 47 h 54"/>
                      <a:gd name="T58" fmla="*/ 52 w 73"/>
                      <a:gd name="T59" fmla="*/ 47 h 54"/>
                      <a:gd name="T60" fmla="*/ 49 w 73"/>
                      <a:gd name="T61" fmla="*/ 44 h 54"/>
                      <a:gd name="T62" fmla="*/ 49 w 73"/>
                      <a:gd name="T63" fmla="*/ 9 h 54"/>
                      <a:gd name="T64" fmla="*/ 52 w 73"/>
                      <a:gd name="T65" fmla="*/ 6 h 54"/>
                      <a:gd name="T66" fmla="*/ 64 w 73"/>
                      <a:gd name="T67" fmla="*/ 6 h 54"/>
                      <a:gd name="T68" fmla="*/ 67 w 73"/>
                      <a:gd name="T69" fmla="*/ 9 h 54"/>
                      <a:gd name="T70" fmla="*/ 67 w 73"/>
                      <a:gd name="T71" fmla="*/ 44 h 54"/>
                      <a:gd name="T72" fmla="*/ 67 w 73"/>
                      <a:gd name="T73" fmla="*/ 44 h 54"/>
                      <a:gd name="T74" fmla="*/ 67 w 73"/>
                      <a:gd name="T75" fmla="*/ 4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3" h="54">
                        <a:moveTo>
                          <a:pt x="71" y="0"/>
                        </a:moveTo>
                        <a:cubicBezTo>
                          <a:pt x="3" y="0"/>
                          <a:pt x="3" y="0"/>
                          <a:pt x="3" y="0"/>
                        </a:cubicBezTo>
                        <a:cubicBezTo>
                          <a:pt x="1" y="0"/>
                          <a:pt x="0" y="1"/>
                          <a:pt x="0" y="2"/>
                        </a:cubicBezTo>
                        <a:cubicBezTo>
                          <a:pt x="0" y="51"/>
                          <a:pt x="0" y="51"/>
                          <a:pt x="0" y="51"/>
                        </a:cubicBezTo>
                        <a:cubicBezTo>
                          <a:pt x="0" y="53"/>
                          <a:pt x="1" y="54"/>
                          <a:pt x="3" y="54"/>
                        </a:cubicBezTo>
                        <a:cubicBezTo>
                          <a:pt x="71" y="54"/>
                          <a:pt x="71" y="54"/>
                          <a:pt x="71" y="54"/>
                        </a:cubicBezTo>
                        <a:cubicBezTo>
                          <a:pt x="72" y="54"/>
                          <a:pt x="73" y="53"/>
                          <a:pt x="73" y="51"/>
                        </a:cubicBezTo>
                        <a:cubicBezTo>
                          <a:pt x="73" y="2"/>
                          <a:pt x="73" y="2"/>
                          <a:pt x="73" y="2"/>
                        </a:cubicBezTo>
                        <a:cubicBezTo>
                          <a:pt x="73" y="1"/>
                          <a:pt x="72" y="0"/>
                          <a:pt x="71" y="0"/>
                        </a:cubicBezTo>
                        <a:close/>
                        <a:moveTo>
                          <a:pt x="24" y="44"/>
                        </a:moveTo>
                        <a:cubicBezTo>
                          <a:pt x="24" y="46"/>
                          <a:pt x="23" y="47"/>
                          <a:pt x="21" y="47"/>
                        </a:cubicBezTo>
                        <a:cubicBezTo>
                          <a:pt x="9" y="47"/>
                          <a:pt x="9" y="47"/>
                          <a:pt x="9" y="47"/>
                        </a:cubicBezTo>
                        <a:cubicBezTo>
                          <a:pt x="7" y="47"/>
                          <a:pt x="6" y="46"/>
                          <a:pt x="6" y="44"/>
                        </a:cubicBezTo>
                        <a:cubicBezTo>
                          <a:pt x="6" y="33"/>
                          <a:pt x="6" y="33"/>
                          <a:pt x="6" y="33"/>
                        </a:cubicBezTo>
                        <a:cubicBezTo>
                          <a:pt x="6" y="31"/>
                          <a:pt x="7" y="30"/>
                          <a:pt x="9" y="30"/>
                        </a:cubicBezTo>
                        <a:cubicBezTo>
                          <a:pt x="21" y="30"/>
                          <a:pt x="21" y="30"/>
                          <a:pt x="21" y="30"/>
                        </a:cubicBezTo>
                        <a:cubicBezTo>
                          <a:pt x="23" y="30"/>
                          <a:pt x="24" y="31"/>
                          <a:pt x="24" y="33"/>
                        </a:cubicBezTo>
                        <a:lnTo>
                          <a:pt x="24" y="44"/>
                        </a:lnTo>
                        <a:close/>
                        <a:moveTo>
                          <a:pt x="46" y="44"/>
                        </a:moveTo>
                        <a:cubicBezTo>
                          <a:pt x="46" y="46"/>
                          <a:pt x="44" y="47"/>
                          <a:pt x="43" y="47"/>
                        </a:cubicBezTo>
                        <a:cubicBezTo>
                          <a:pt x="30" y="47"/>
                          <a:pt x="30" y="47"/>
                          <a:pt x="30" y="47"/>
                        </a:cubicBezTo>
                        <a:cubicBezTo>
                          <a:pt x="29" y="47"/>
                          <a:pt x="28" y="46"/>
                          <a:pt x="28" y="44"/>
                        </a:cubicBezTo>
                        <a:cubicBezTo>
                          <a:pt x="28" y="21"/>
                          <a:pt x="28" y="21"/>
                          <a:pt x="28" y="21"/>
                        </a:cubicBezTo>
                        <a:cubicBezTo>
                          <a:pt x="28" y="19"/>
                          <a:pt x="29" y="18"/>
                          <a:pt x="30" y="18"/>
                        </a:cubicBezTo>
                        <a:cubicBezTo>
                          <a:pt x="43" y="18"/>
                          <a:pt x="43" y="18"/>
                          <a:pt x="43" y="18"/>
                        </a:cubicBezTo>
                        <a:cubicBezTo>
                          <a:pt x="44" y="18"/>
                          <a:pt x="46" y="19"/>
                          <a:pt x="46" y="21"/>
                        </a:cubicBezTo>
                        <a:lnTo>
                          <a:pt x="46" y="44"/>
                        </a:lnTo>
                        <a:close/>
                        <a:moveTo>
                          <a:pt x="67" y="44"/>
                        </a:moveTo>
                        <a:cubicBezTo>
                          <a:pt x="67" y="46"/>
                          <a:pt x="66" y="47"/>
                          <a:pt x="64" y="47"/>
                        </a:cubicBezTo>
                        <a:cubicBezTo>
                          <a:pt x="52" y="47"/>
                          <a:pt x="52" y="47"/>
                          <a:pt x="52" y="47"/>
                        </a:cubicBezTo>
                        <a:cubicBezTo>
                          <a:pt x="50" y="47"/>
                          <a:pt x="49" y="46"/>
                          <a:pt x="49" y="44"/>
                        </a:cubicBezTo>
                        <a:cubicBezTo>
                          <a:pt x="49" y="9"/>
                          <a:pt x="49" y="9"/>
                          <a:pt x="49" y="9"/>
                        </a:cubicBezTo>
                        <a:cubicBezTo>
                          <a:pt x="49" y="8"/>
                          <a:pt x="50" y="6"/>
                          <a:pt x="52" y="6"/>
                        </a:cubicBezTo>
                        <a:cubicBezTo>
                          <a:pt x="64" y="6"/>
                          <a:pt x="64" y="6"/>
                          <a:pt x="64" y="6"/>
                        </a:cubicBezTo>
                        <a:cubicBezTo>
                          <a:pt x="66" y="6"/>
                          <a:pt x="67" y="8"/>
                          <a:pt x="67" y="9"/>
                        </a:cubicBezTo>
                        <a:lnTo>
                          <a:pt x="67" y="44"/>
                        </a:lnTo>
                        <a:close/>
                        <a:moveTo>
                          <a:pt x="67" y="44"/>
                        </a:moveTo>
                        <a:cubicBezTo>
                          <a:pt x="67" y="44"/>
                          <a:pt x="67" y="44"/>
                          <a:pt x="67" y="4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53" name="Freeform 293">
                    <a:extLst>
                      <a:ext uri="{FF2B5EF4-FFF2-40B4-BE49-F238E27FC236}">
                        <a16:creationId xmlns:a16="http://schemas.microsoft.com/office/drawing/2014/main" id="{2F848AA5-CE7F-4CA2-B55D-3BC0170E72FA}"/>
                      </a:ext>
                    </a:extLst>
                  </p:cNvPr>
                  <p:cNvSpPr>
                    <a:spLocks noEditPoints="1"/>
                  </p:cNvSpPr>
                  <p:nvPr/>
                </p:nvSpPr>
                <p:spPr bwMode="auto">
                  <a:xfrm>
                    <a:off x="2252663" y="766763"/>
                    <a:ext cx="85725" cy="84138"/>
                  </a:xfrm>
                  <a:custGeom>
                    <a:avLst/>
                    <a:gdLst>
                      <a:gd name="T0" fmla="*/ 13 w 26"/>
                      <a:gd name="T1" fmla="*/ 0 h 26"/>
                      <a:gd name="T2" fmla="*/ 0 w 26"/>
                      <a:gd name="T3" fmla="*/ 13 h 26"/>
                      <a:gd name="T4" fmla="*/ 13 w 26"/>
                      <a:gd name="T5" fmla="*/ 26 h 26"/>
                      <a:gd name="T6" fmla="*/ 26 w 26"/>
                      <a:gd name="T7" fmla="*/ 13 h 26"/>
                      <a:gd name="T8" fmla="*/ 13 w 26"/>
                      <a:gd name="T9" fmla="*/ 0 h 26"/>
                      <a:gd name="T10" fmla="*/ 13 w 26"/>
                      <a:gd name="T11" fmla="*/ 0 h 26"/>
                      <a:gd name="T12" fmla="*/ 13 w 26"/>
                      <a:gd name="T13" fmla="*/ 0 h 26"/>
                    </a:gdLst>
                    <a:ahLst/>
                    <a:cxnLst>
                      <a:cxn ang="0">
                        <a:pos x="T0" y="T1"/>
                      </a:cxn>
                      <a:cxn ang="0">
                        <a:pos x="T2" y="T3"/>
                      </a:cxn>
                      <a:cxn ang="0">
                        <a:pos x="T4" y="T5"/>
                      </a:cxn>
                      <a:cxn ang="0">
                        <a:pos x="T6" y="T7"/>
                      </a:cxn>
                      <a:cxn ang="0">
                        <a:pos x="T8" y="T9"/>
                      </a:cxn>
                      <a:cxn ang="0">
                        <a:pos x="T10" y="T11"/>
                      </a:cxn>
                      <a:cxn ang="0">
                        <a:pos x="T12" y="T13"/>
                      </a:cxn>
                    </a:cxnLst>
                    <a:rect l="0" t="0" r="r" b="b"/>
                    <a:pathLst>
                      <a:path w="26" h="26">
                        <a:moveTo>
                          <a:pt x="13" y="0"/>
                        </a:moveTo>
                        <a:cubicBezTo>
                          <a:pt x="6" y="0"/>
                          <a:pt x="0" y="6"/>
                          <a:pt x="0" y="13"/>
                        </a:cubicBezTo>
                        <a:cubicBezTo>
                          <a:pt x="0" y="20"/>
                          <a:pt x="6" y="26"/>
                          <a:pt x="13" y="26"/>
                        </a:cubicBezTo>
                        <a:cubicBezTo>
                          <a:pt x="20" y="26"/>
                          <a:pt x="26" y="20"/>
                          <a:pt x="26" y="13"/>
                        </a:cubicBezTo>
                        <a:cubicBezTo>
                          <a:pt x="26" y="6"/>
                          <a:pt x="20" y="0"/>
                          <a:pt x="13" y="0"/>
                        </a:cubicBezTo>
                        <a:close/>
                        <a:moveTo>
                          <a:pt x="13" y="0"/>
                        </a:moveTo>
                        <a:cubicBezTo>
                          <a:pt x="13" y="0"/>
                          <a:pt x="13" y="0"/>
                          <a:pt x="1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54" name="Freeform 294">
                    <a:extLst>
                      <a:ext uri="{FF2B5EF4-FFF2-40B4-BE49-F238E27FC236}">
                        <a16:creationId xmlns:a16="http://schemas.microsoft.com/office/drawing/2014/main" id="{263F4CA2-FBFA-4375-9938-18521F0758AF}"/>
                      </a:ext>
                    </a:extLst>
                  </p:cNvPr>
                  <p:cNvSpPr>
                    <a:spLocks noEditPoints="1"/>
                  </p:cNvSpPr>
                  <p:nvPr/>
                </p:nvSpPr>
                <p:spPr bwMode="auto">
                  <a:xfrm>
                    <a:off x="2257425" y="857250"/>
                    <a:ext cx="80962" cy="254000"/>
                  </a:xfrm>
                  <a:custGeom>
                    <a:avLst/>
                    <a:gdLst>
                      <a:gd name="T0" fmla="*/ 13 w 25"/>
                      <a:gd name="T1" fmla="*/ 0 h 78"/>
                      <a:gd name="T2" fmla="*/ 0 w 25"/>
                      <a:gd name="T3" fmla="*/ 13 h 78"/>
                      <a:gd name="T4" fmla="*/ 0 w 25"/>
                      <a:gd name="T5" fmla="*/ 32 h 78"/>
                      <a:gd name="T6" fmla="*/ 1 w 25"/>
                      <a:gd name="T7" fmla="*/ 37 h 78"/>
                      <a:gd name="T8" fmla="*/ 4 w 25"/>
                      <a:gd name="T9" fmla="*/ 45 h 78"/>
                      <a:gd name="T10" fmla="*/ 5 w 25"/>
                      <a:gd name="T11" fmla="*/ 48 h 78"/>
                      <a:gd name="T12" fmla="*/ 5 w 25"/>
                      <a:gd name="T13" fmla="*/ 75 h 78"/>
                      <a:gd name="T14" fmla="*/ 8 w 25"/>
                      <a:gd name="T15" fmla="*/ 78 h 78"/>
                      <a:gd name="T16" fmla="*/ 22 w 25"/>
                      <a:gd name="T17" fmla="*/ 78 h 78"/>
                      <a:gd name="T18" fmla="*/ 25 w 25"/>
                      <a:gd name="T19" fmla="*/ 75 h 78"/>
                      <a:gd name="T20" fmla="*/ 25 w 25"/>
                      <a:gd name="T21" fmla="*/ 13 h 78"/>
                      <a:gd name="T22" fmla="*/ 13 w 25"/>
                      <a:gd name="T23" fmla="*/ 0 h 78"/>
                      <a:gd name="T24" fmla="*/ 13 w 25"/>
                      <a:gd name="T25" fmla="*/ 0 h 78"/>
                      <a:gd name="T26" fmla="*/ 13 w 25"/>
                      <a:gd name="T27"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 h="78">
                        <a:moveTo>
                          <a:pt x="13" y="0"/>
                        </a:moveTo>
                        <a:cubicBezTo>
                          <a:pt x="6" y="0"/>
                          <a:pt x="0" y="6"/>
                          <a:pt x="0" y="13"/>
                        </a:cubicBezTo>
                        <a:cubicBezTo>
                          <a:pt x="0" y="32"/>
                          <a:pt x="0" y="32"/>
                          <a:pt x="0" y="32"/>
                        </a:cubicBezTo>
                        <a:cubicBezTo>
                          <a:pt x="0" y="33"/>
                          <a:pt x="1" y="35"/>
                          <a:pt x="1" y="37"/>
                        </a:cubicBezTo>
                        <a:cubicBezTo>
                          <a:pt x="4" y="45"/>
                          <a:pt x="4" y="45"/>
                          <a:pt x="4" y="45"/>
                        </a:cubicBezTo>
                        <a:cubicBezTo>
                          <a:pt x="4" y="46"/>
                          <a:pt x="5" y="47"/>
                          <a:pt x="5" y="48"/>
                        </a:cubicBezTo>
                        <a:cubicBezTo>
                          <a:pt x="5" y="75"/>
                          <a:pt x="5" y="75"/>
                          <a:pt x="5" y="75"/>
                        </a:cubicBezTo>
                        <a:cubicBezTo>
                          <a:pt x="5" y="76"/>
                          <a:pt x="6" y="78"/>
                          <a:pt x="8" y="78"/>
                        </a:cubicBezTo>
                        <a:cubicBezTo>
                          <a:pt x="22" y="78"/>
                          <a:pt x="22" y="78"/>
                          <a:pt x="22" y="78"/>
                        </a:cubicBezTo>
                        <a:cubicBezTo>
                          <a:pt x="23" y="78"/>
                          <a:pt x="25" y="76"/>
                          <a:pt x="25" y="75"/>
                        </a:cubicBezTo>
                        <a:cubicBezTo>
                          <a:pt x="25" y="13"/>
                          <a:pt x="25" y="13"/>
                          <a:pt x="25" y="13"/>
                        </a:cubicBezTo>
                        <a:cubicBezTo>
                          <a:pt x="25" y="6"/>
                          <a:pt x="19" y="0"/>
                          <a:pt x="13" y="0"/>
                        </a:cubicBezTo>
                        <a:close/>
                        <a:moveTo>
                          <a:pt x="13" y="0"/>
                        </a:moveTo>
                        <a:cubicBezTo>
                          <a:pt x="13" y="0"/>
                          <a:pt x="13" y="0"/>
                          <a:pt x="1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grpSp>
          <p:grpSp>
            <p:nvGrpSpPr>
              <p:cNvPr id="28" name="Group 1">
                <a:extLst>
                  <a:ext uri="{FF2B5EF4-FFF2-40B4-BE49-F238E27FC236}">
                    <a16:creationId xmlns:a16="http://schemas.microsoft.com/office/drawing/2014/main" id="{BBF3D387-C503-47A3-9FA1-D3B60AD9EB1E}"/>
                  </a:ext>
                </a:extLst>
              </p:cNvPr>
              <p:cNvGrpSpPr/>
              <p:nvPr/>
            </p:nvGrpSpPr>
            <p:grpSpPr>
              <a:xfrm>
                <a:off x="4048126" y="2071688"/>
                <a:ext cx="1447800" cy="1446213"/>
                <a:chOff x="4048126" y="2071688"/>
                <a:chExt cx="1447800" cy="1446213"/>
              </a:xfrm>
            </p:grpSpPr>
            <p:sp>
              <p:nvSpPr>
                <p:cNvPr id="39" name="Oval 12">
                  <a:extLst>
                    <a:ext uri="{FF2B5EF4-FFF2-40B4-BE49-F238E27FC236}">
                      <a16:creationId xmlns:a16="http://schemas.microsoft.com/office/drawing/2014/main" id="{0CDFEC70-C4AA-49EB-9B0B-ACF9FF7646A8}"/>
                    </a:ext>
                  </a:extLst>
                </p:cNvPr>
                <p:cNvSpPr>
                  <a:spLocks noChangeArrowheads="1"/>
                </p:cNvSpPr>
                <p:nvPr/>
              </p:nvSpPr>
              <p:spPr bwMode="auto">
                <a:xfrm>
                  <a:off x="4048126" y="2071688"/>
                  <a:ext cx="1447800" cy="1446213"/>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grpSp>
              <p:nvGrpSpPr>
                <p:cNvPr id="40" name="Group 65">
                  <a:extLst>
                    <a:ext uri="{FF2B5EF4-FFF2-40B4-BE49-F238E27FC236}">
                      <a16:creationId xmlns:a16="http://schemas.microsoft.com/office/drawing/2014/main" id="{08363B0E-BA99-452F-8C77-6A0F3A86FA16}"/>
                    </a:ext>
                  </a:extLst>
                </p:cNvPr>
                <p:cNvGrpSpPr/>
                <p:nvPr/>
              </p:nvGrpSpPr>
              <p:grpSpPr>
                <a:xfrm>
                  <a:off x="4595020" y="2613025"/>
                  <a:ext cx="354012" cy="363538"/>
                  <a:chOff x="828675" y="744538"/>
                  <a:chExt cx="354012" cy="363538"/>
                </a:xfrm>
                <a:solidFill>
                  <a:schemeClr val="bg1"/>
                </a:solidFill>
              </p:grpSpPr>
              <p:sp>
                <p:nvSpPr>
                  <p:cNvPr id="41" name="Freeform 305">
                    <a:extLst>
                      <a:ext uri="{FF2B5EF4-FFF2-40B4-BE49-F238E27FC236}">
                        <a16:creationId xmlns:a16="http://schemas.microsoft.com/office/drawing/2014/main" id="{146E4E56-F48E-47F5-A81C-25A4B5EE9814}"/>
                      </a:ext>
                    </a:extLst>
                  </p:cNvPr>
                  <p:cNvSpPr>
                    <a:spLocks noEditPoints="1"/>
                  </p:cNvSpPr>
                  <p:nvPr/>
                </p:nvSpPr>
                <p:spPr bwMode="auto">
                  <a:xfrm>
                    <a:off x="828675" y="744538"/>
                    <a:ext cx="354012" cy="249238"/>
                  </a:xfrm>
                  <a:custGeom>
                    <a:avLst/>
                    <a:gdLst>
                      <a:gd name="T0" fmla="*/ 106 w 109"/>
                      <a:gd name="T1" fmla="*/ 0 h 77"/>
                      <a:gd name="T2" fmla="*/ 4 w 109"/>
                      <a:gd name="T3" fmla="*/ 0 h 77"/>
                      <a:gd name="T4" fmla="*/ 0 w 109"/>
                      <a:gd name="T5" fmla="*/ 4 h 77"/>
                      <a:gd name="T6" fmla="*/ 0 w 109"/>
                      <a:gd name="T7" fmla="*/ 74 h 77"/>
                      <a:gd name="T8" fmla="*/ 4 w 109"/>
                      <a:gd name="T9" fmla="*/ 77 h 77"/>
                      <a:gd name="T10" fmla="*/ 60 w 109"/>
                      <a:gd name="T11" fmla="*/ 77 h 77"/>
                      <a:gd name="T12" fmla="*/ 59 w 109"/>
                      <a:gd name="T13" fmla="*/ 75 h 77"/>
                      <a:gd name="T14" fmla="*/ 58 w 109"/>
                      <a:gd name="T15" fmla="*/ 73 h 77"/>
                      <a:gd name="T16" fmla="*/ 58 w 109"/>
                      <a:gd name="T17" fmla="*/ 54 h 77"/>
                      <a:gd name="T18" fmla="*/ 67 w 109"/>
                      <a:gd name="T19" fmla="*/ 41 h 77"/>
                      <a:gd name="T20" fmla="*/ 67 w 109"/>
                      <a:gd name="T21" fmla="*/ 41 h 77"/>
                      <a:gd name="T22" fmla="*/ 70 w 109"/>
                      <a:gd name="T23" fmla="*/ 40 h 77"/>
                      <a:gd name="T24" fmla="*/ 72 w 109"/>
                      <a:gd name="T25" fmla="*/ 40 h 77"/>
                      <a:gd name="T26" fmla="*/ 74 w 109"/>
                      <a:gd name="T27" fmla="*/ 41 h 77"/>
                      <a:gd name="T28" fmla="*/ 75 w 109"/>
                      <a:gd name="T29" fmla="*/ 41 h 77"/>
                      <a:gd name="T30" fmla="*/ 66 w 109"/>
                      <a:gd name="T31" fmla="*/ 28 h 77"/>
                      <a:gd name="T32" fmla="*/ 80 w 109"/>
                      <a:gd name="T33" fmla="*/ 13 h 77"/>
                      <a:gd name="T34" fmla="*/ 95 w 109"/>
                      <a:gd name="T35" fmla="*/ 28 h 77"/>
                      <a:gd name="T36" fmla="*/ 86 w 109"/>
                      <a:gd name="T37" fmla="*/ 41 h 77"/>
                      <a:gd name="T38" fmla="*/ 87 w 109"/>
                      <a:gd name="T39" fmla="*/ 41 h 77"/>
                      <a:gd name="T40" fmla="*/ 90 w 109"/>
                      <a:gd name="T41" fmla="*/ 40 h 77"/>
                      <a:gd name="T42" fmla="*/ 94 w 109"/>
                      <a:gd name="T43" fmla="*/ 41 h 77"/>
                      <a:gd name="T44" fmla="*/ 102 w 109"/>
                      <a:gd name="T45" fmla="*/ 54 h 77"/>
                      <a:gd name="T46" fmla="*/ 102 w 109"/>
                      <a:gd name="T47" fmla="*/ 73 h 77"/>
                      <a:gd name="T48" fmla="*/ 102 w 109"/>
                      <a:gd name="T49" fmla="*/ 75 h 77"/>
                      <a:gd name="T50" fmla="*/ 101 w 109"/>
                      <a:gd name="T51" fmla="*/ 77 h 77"/>
                      <a:gd name="T52" fmla="*/ 106 w 109"/>
                      <a:gd name="T53" fmla="*/ 77 h 77"/>
                      <a:gd name="T54" fmla="*/ 109 w 109"/>
                      <a:gd name="T55" fmla="*/ 74 h 77"/>
                      <a:gd name="T56" fmla="*/ 109 w 109"/>
                      <a:gd name="T57" fmla="*/ 4 h 77"/>
                      <a:gd name="T58" fmla="*/ 106 w 109"/>
                      <a:gd name="T59" fmla="*/ 0 h 77"/>
                      <a:gd name="T60" fmla="*/ 58 w 109"/>
                      <a:gd name="T61" fmla="*/ 35 h 77"/>
                      <a:gd name="T62" fmla="*/ 55 w 109"/>
                      <a:gd name="T63" fmla="*/ 39 h 77"/>
                      <a:gd name="T64" fmla="*/ 52 w 109"/>
                      <a:gd name="T65" fmla="*/ 35 h 77"/>
                      <a:gd name="T66" fmla="*/ 52 w 109"/>
                      <a:gd name="T67" fmla="*/ 31 h 77"/>
                      <a:gd name="T68" fmla="*/ 38 w 109"/>
                      <a:gd name="T69" fmla="*/ 44 h 77"/>
                      <a:gd name="T70" fmla="*/ 33 w 109"/>
                      <a:gd name="T71" fmla="*/ 44 h 77"/>
                      <a:gd name="T72" fmla="*/ 29 w 109"/>
                      <a:gd name="T73" fmla="*/ 40 h 77"/>
                      <a:gd name="T74" fmla="*/ 19 w 109"/>
                      <a:gd name="T75" fmla="*/ 51 h 77"/>
                      <a:gd name="T76" fmla="*/ 16 w 109"/>
                      <a:gd name="T77" fmla="*/ 52 h 77"/>
                      <a:gd name="T78" fmla="*/ 14 w 109"/>
                      <a:gd name="T79" fmla="*/ 51 h 77"/>
                      <a:gd name="T80" fmla="*/ 14 w 109"/>
                      <a:gd name="T81" fmla="*/ 46 h 77"/>
                      <a:gd name="T82" fmla="*/ 27 w 109"/>
                      <a:gd name="T83" fmla="*/ 33 h 77"/>
                      <a:gd name="T84" fmla="*/ 31 w 109"/>
                      <a:gd name="T85" fmla="*/ 33 h 77"/>
                      <a:gd name="T86" fmla="*/ 35 w 109"/>
                      <a:gd name="T87" fmla="*/ 37 h 77"/>
                      <a:gd name="T88" fmla="*/ 47 w 109"/>
                      <a:gd name="T89" fmla="*/ 26 h 77"/>
                      <a:gd name="T90" fmla="*/ 42 w 109"/>
                      <a:gd name="T91" fmla="*/ 26 h 77"/>
                      <a:gd name="T92" fmla="*/ 39 w 109"/>
                      <a:gd name="T93" fmla="*/ 23 h 77"/>
                      <a:gd name="T94" fmla="*/ 42 w 109"/>
                      <a:gd name="T95" fmla="*/ 19 h 77"/>
                      <a:gd name="T96" fmla="*/ 55 w 109"/>
                      <a:gd name="T97" fmla="*/ 19 h 77"/>
                      <a:gd name="T98" fmla="*/ 58 w 109"/>
                      <a:gd name="T99" fmla="*/ 23 h 77"/>
                      <a:gd name="T100" fmla="*/ 58 w 109"/>
                      <a:gd name="T101" fmla="*/ 35 h 77"/>
                      <a:gd name="T102" fmla="*/ 58 w 109"/>
                      <a:gd name="T103" fmla="*/ 35 h 77"/>
                      <a:gd name="T104" fmla="*/ 58 w 109"/>
                      <a:gd name="T105" fmla="*/ 3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9" h="77">
                        <a:moveTo>
                          <a:pt x="106" y="0"/>
                        </a:moveTo>
                        <a:cubicBezTo>
                          <a:pt x="4" y="0"/>
                          <a:pt x="4" y="0"/>
                          <a:pt x="4" y="0"/>
                        </a:cubicBezTo>
                        <a:cubicBezTo>
                          <a:pt x="2" y="0"/>
                          <a:pt x="0" y="2"/>
                          <a:pt x="0" y="4"/>
                        </a:cubicBezTo>
                        <a:cubicBezTo>
                          <a:pt x="0" y="74"/>
                          <a:pt x="0" y="74"/>
                          <a:pt x="0" y="74"/>
                        </a:cubicBezTo>
                        <a:cubicBezTo>
                          <a:pt x="0" y="76"/>
                          <a:pt x="2" y="77"/>
                          <a:pt x="4" y="77"/>
                        </a:cubicBezTo>
                        <a:cubicBezTo>
                          <a:pt x="60" y="77"/>
                          <a:pt x="60" y="77"/>
                          <a:pt x="60" y="77"/>
                        </a:cubicBezTo>
                        <a:cubicBezTo>
                          <a:pt x="59" y="75"/>
                          <a:pt x="59" y="75"/>
                          <a:pt x="59" y="75"/>
                        </a:cubicBezTo>
                        <a:cubicBezTo>
                          <a:pt x="59" y="75"/>
                          <a:pt x="58" y="74"/>
                          <a:pt x="58" y="73"/>
                        </a:cubicBezTo>
                        <a:cubicBezTo>
                          <a:pt x="58" y="54"/>
                          <a:pt x="58" y="54"/>
                          <a:pt x="58" y="54"/>
                        </a:cubicBezTo>
                        <a:cubicBezTo>
                          <a:pt x="58" y="48"/>
                          <a:pt x="62" y="43"/>
                          <a:pt x="67" y="41"/>
                        </a:cubicBezTo>
                        <a:cubicBezTo>
                          <a:pt x="67" y="41"/>
                          <a:pt x="67" y="41"/>
                          <a:pt x="67" y="41"/>
                        </a:cubicBezTo>
                        <a:cubicBezTo>
                          <a:pt x="70" y="40"/>
                          <a:pt x="70" y="40"/>
                          <a:pt x="70" y="40"/>
                        </a:cubicBezTo>
                        <a:cubicBezTo>
                          <a:pt x="71" y="40"/>
                          <a:pt x="71" y="40"/>
                          <a:pt x="72" y="40"/>
                        </a:cubicBezTo>
                        <a:cubicBezTo>
                          <a:pt x="73" y="40"/>
                          <a:pt x="74" y="41"/>
                          <a:pt x="74" y="41"/>
                        </a:cubicBezTo>
                        <a:cubicBezTo>
                          <a:pt x="75" y="41"/>
                          <a:pt x="75" y="41"/>
                          <a:pt x="75" y="41"/>
                        </a:cubicBezTo>
                        <a:cubicBezTo>
                          <a:pt x="70" y="38"/>
                          <a:pt x="66" y="33"/>
                          <a:pt x="66" y="28"/>
                        </a:cubicBezTo>
                        <a:cubicBezTo>
                          <a:pt x="66" y="20"/>
                          <a:pt x="73" y="13"/>
                          <a:pt x="80" y="13"/>
                        </a:cubicBezTo>
                        <a:cubicBezTo>
                          <a:pt x="88" y="13"/>
                          <a:pt x="95" y="20"/>
                          <a:pt x="95" y="28"/>
                        </a:cubicBezTo>
                        <a:cubicBezTo>
                          <a:pt x="95" y="33"/>
                          <a:pt x="91" y="38"/>
                          <a:pt x="86" y="41"/>
                        </a:cubicBezTo>
                        <a:cubicBezTo>
                          <a:pt x="86" y="41"/>
                          <a:pt x="86" y="41"/>
                          <a:pt x="87" y="41"/>
                        </a:cubicBezTo>
                        <a:cubicBezTo>
                          <a:pt x="88" y="40"/>
                          <a:pt x="89" y="40"/>
                          <a:pt x="90" y="40"/>
                        </a:cubicBezTo>
                        <a:cubicBezTo>
                          <a:pt x="94" y="41"/>
                          <a:pt x="94" y="41"/>
                          <a:pt x="94" y="41"/>
                        </a:cubicBezTo>
                        <a:cubicBezTo>
                          <a:pt x="99" y="43"/>
                          <a:pt x="102" y="48"/>
                          <a:pt x="102" y="54"/>
                        </a:cubicBezTo>
                        <a:cubicBezTo>
                          <a:pt x="102" y="73"/>
                          <a:pt x="102" y="73"/>
                          <a:pt x="102" y="73"/>
                        </a:cubicBezTo>
                        <a:cubicBezTo>
                          <a:pt x="102" y="74"/>
                          <a:pt x="102" y="75"/>
                          <a:pt x="102" y="75"/>
                        </a:cubicBezTo>
                        <a:cubicBezTo>
                          <a:pt x="101" y="77"/>
                          <a:pt x="101" y="77"/>
                          <a:pt x="101" y="77"/>
                        </a:cubicBezTo>
                        <a:cubicBezTo>
                          <a:pt x="106" y="77"/>
                          <a:pt x="106" y="77"/>
                          <a:pt x="106" y="77"/>
                        </a:cubicBezTo>
                        <a:cubicBezTo>
                          <a:pt x="108" y="77"/>
                          <a:pt x="109" y="76"/>
                          <a:pt x="109" y="74"/>
                        </a:cubicBezTo>
                        <a:cubicBezTo>
                          <a:pt x="109" y="4"/>
                          <a:pt x="109" y="4"/>
                          <a:pt x="109" y="4"/>
                        </a:cubicBezTo>
                        <a:cubicBezTo>
                          <a:pt x="109" y="2"/>
                          <a:pt x="108" y="0"/>
                          <a:pt x="106" y="0"/>
                        </a:cubicBezTo>
                        <a:close/>
                        <a:moveTo>
                          <a:pt x="58" y="35"/>
                        </a:moveTo>
                        <a:cubicBezTo>
                          <a:pt x="58" y="37"/>
                          <a:pt x="57" y="39"/>
                          <a:pt x="55" y="39"/>
                        </a:cubicBezTo>
                        <a:cubicBezTo>
                          <a:pt x="53" y="39"/>
                          <a:pt x="52" y="37"/>
                          <a:pt x="52" y="35"/>
                        </a:cubicBezTo>
                        <a:cubicBezTo>
                          <a:pt x="52" y="31"/>
                          <a:pt x="52" y="31"/>
                          <a:pt x="52" y="31"/>
                        </a:cubicBezTo>
                        <a:cubicBezTo>
                          <a:pt x="38" y="44"/>
                          <a:pt x="38" y="44"/>
                          <a:pt x="38" y="44"/>
                        </a:cubicBezTo>
                        <a:cubicBezTo>
                          <a:pt x="37" y="46"/>
                          <a:pt x="34" y="46"/>
                          <a:pt x="33" y="44"/>
                        </a:cubicBezTo>
                        <a:cubicBezTo>
                          <a:pt x="29" y="40"/>
                          <a:pt x="29" y="40"/>
                          <a:pt x="29" y="40"/>
                        </a:cubicBezTo>
                        <a:cubicBezTo>
                          <a:pt x="19" y="51"/>
                          <a:pt x="19" y="51"/>
                          <a:pt x="19" y="51"/>
                        </a:cubicBezTo>
                        <a:cubicBezTo>
                          <a:pt x="18" y="51"/>
                          <a:pt x="17" y="52"/>
                          <a:pt x="16" y="52"/>
                        </a:cubicBezTo>
                        <a:cubicBezTo>
                          <a:pt x="15" y="52"/>
                          <a:pt x="15" y="51"/>
                          <a:pt x="14" y="51"/>
                        </a:cubicBezTo>
                        <a:cubicBezTo>
                          <a:pt x="13" y="49"/>
                          <a:pt x="13" y="47"/>
                          <a:pt x="14" y="46"/>
                        </a:cubicBezTo>
                        <a:cubicBezTo>
                          <a:pt x="27" y="33"/>
                          <a:pt x="27" y="33"/>
                          <a:pt x="27" y="33"/>
                        </a:cubicBezTo>
                        <a:cubicBezTo>
                          <a:pt x="28" y="32"/>
                          <a:pt x="30" y="32"/>
                          <a:pt x="31" y="33"/>
                        </a:cubicBezTo>
                        <a:cubicBezTo>
                          <a:pt x="35" y="37"/>
                          <a:pt x="35" y="37"/>
                          <a:pt x="35" y="37"/>
                        </a:cubicBezTo>
                        <a:cubicBezTo>
                          <a:pt x="47" y="26"/>
                          <a:pt x="47" y="26"/>
                          <a:pt x="47" y="26"/>
                        </a:cubicBezTo>
                        <a:cubicBezTo>
                          <a:pt x="42" y="26"/>
                          <a:pt x="42" y="26"/>
                          <a:pt x="42" y="26"/>
                        </a:cubicBezTo>
                        <a:cubicBezTo>
                          <a:pt x="40" y="26"/>
                          <a:pt x="39" y="24"/>
                          <a:pt x="39" y="23"/>
                        </a:cubicBezTo>
                        <a:cubicBezTo>
                          <a:pt x="39" y="21"/>
                          <a:pt x="40" y="19"/>
                          <a:pt x="42" y="19"/>
                        </a:cubicBezTo>
                        <a:cubicBezTo>
                          <a:pt x="55" y="19"/>
                          <a:pt x="55" y="19"/>
                          <a:pt x="55" y="19"/>
                        </a:cubicBezTo>
                        <a:cubicBezTo>
                          <a:pt x="57" y="19"/>
                          <a:pt x="58" y="21"/>
                          <a:pt x="58" y="23"/>
                        </a:cubicBezTo>
                        <a:lnTo>
                          <a:pt x="58" y="35"/>
                        </a:lnTo>
                        <a:close/>
                        <a:moveTo>
                          <a:pt x="58" y="35"/>
                        </a:moveTo>
                        <a:cubicBezTo>
                          <a:pt x="58" y="35"/>
                          <a:pt x="58" y="35"/>
                          <a:pt x="58" y="3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42" name="Freeform 306">
                    <a:extLst>
                      <a:ext uri="{FF2B5EF4-FFF2-40B4-BE49-F238E27FC236}">
                        <a16:creationId xmlns:a16="http://schemas.microsoft.com/office/drawing/2014/main" id="{8ECA26ED-6CCB-4660-94C7-B29766F6E181}"/>
                      </a:ext>
                    </a:extLst>
                  </p:cNvPr>
                  <p:cNvSpPr>
                    <a:spLocks noEditPoints="1"/>
                  </p:cNvSpPr>
                  <p:nvPr/>
                </p:nvSpPr>
                <p:spPr bwMode="auto">
                  <a:xfrm>
                    <a:off x="1055688" y="800100"/>
                    <a:ext cx="68262" cy="68263"/>
                  </a:xfrm>
                  <a:custGeom>
                    <a:avLst/>
                    <a:gdLst>
                      <a:gd name="T0" fmla="*/ 21 w 21"/>
                      <a:gd name="T1" fmla="*/ 11 h 21"/>
                      <a:gd name="T2" fmla="*/ 10 w 21"/>
                      <a:gd name="T3" fmla="*/ 0 h 21"/>
                      <a:gd name="T4" fmla="*/ 0 w 21"/>
                      <a:gd name="T5" fmla="*/ 11 h 21"/>
                      <a:gd name="T6" fmla="*/ 10 w 21"/>
                      <a:gd name="T7" fmla="*/ 21 h 21"/>
                      <a:gd name="T8" fmla="*/ 21 w 21"/>
                      <a:gd name="T9" fmla="*/ 11 h 21"/>
                      <a:gd name="T10" fmla="*/ 21 w 21"/>
                      <a:gd name="T11" fmla="*/ 11 h 21"/>
                      <a:gd name="T12" fmla="*/ 21 w 21"/>
                      <a:gd name="T13" fmla="*/ 11 h 21"/>
                    </a:gdLst>
                    <a:ahLst/>
                    <a:cxnLst>
                      <a:cxn ang="0">
                        <a:pos x="T0" y="T1"/>
                      </a:cxn>
                      <a:cxn ang="0">
                        <a:pos x="T2" y="T3"/>
                      </a:cxn>
                      <a:cxn ang="0">
                        <a:pos x="T4" y="T5"/>
                      </a:cxn>
                      <a:cxn ang="0">
                        <a:pos x="T6" y="T7"/>
                      </a:cxn>
                      <a:cxn ang="0">
                        <a:pos x="T8" y="T9"/>
                      </a:cxn>
                      <a:cxn ang="0">
                        <a:pos x="T10" y="T11"/>
                      </a:cxn>
                      <a:cxn ang="0">
                        <a:pos x="T12" y="T13"/>
                      </a:cxn>
                    </a:cxnLst>
                    <a:rect l="0" t="0" r="r" b="b"/>
                    <a:pathLst>
                      <a:path w="21" h="21">
                        <a:moveTo>
                          <a:pt x="21" y="11"/>
                        </a:moveTo>
                        <a:cubicBezTo>
                          <a:pt x="21" y="5"/>
                          <a:pt x="16" y="0"/>
                          <a:pt x="10" y="0"/>
                        </a:cubicBezTo>
                        <a:cubicBezTo>
                          <a:pt x="5" y="0"/>
                          <a:pt x="0" y="5"/>
                          <a:pt x="0" y="11"/>
                        </a:cubicBezTo>
                        <a:cubicBezTo>
                          <a:pt x="0" y="16"/>
                          <a:pt x="5" y="21"/>
                          <a:pt x="10" y="21"/>
                        </a:cubicBezTo>
                        <a:cubicBezTo>
                          <a:pt x="16" y="21"/>
                          <a:pt x="21" y="16"/>
                          <a:pt x="21" y="11"/>
                        </a:cubicBezTo>
                        <a:close/>
                        <a:moveTo>
                          <a:pt x="21" y="11"/>
                        </a:moveTo>
                        <a:cubicBezTo>
                          <a:pt x="21" y="11"/>
                          <a:pt x="21" y="11"/>
                          <a:pt x="21" y="1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43" name="Freeform 307">
                    <a:extLst>
                      <a:ext uri="{FF2B5EF4-FFF2-40B4-BE49-F238E27FC236}">
                        <a16:creationId xmlns:a16="http://schemas.microsoft.com/office/drawing/2014/main" id="{CAE0A4D2-7F6E-482A-94E6-F074DE993B4E}"/>
                      </a:ext>
                    </a:extLst>
                  </p:cNvPr>
                  <p:cNvSpPr>
                    <a:spLocks noEditPoints="1"/>
                  </p:cNvSpPr>
                  <p:nvPr/>
                </p:nvSpPr>
                <p:spPr bwMode="auto">
                  <a:xfrm>
                    <a:off x="1030288" y="887413"/>
                    <a:ext cx="120650" cy="220663"/>
                  </a:xfrm>
                  <a:custGeom>
                    <a:avLst/>
                    <a:gdLst>
                      <a:gd name="T0" fmla="*/ 30 w 37"/>
                      <a:gd name="T1" fmla="*/ 1 h 68"/>
                      <a:gd name="T2" fmla="*/ 30 w 37"/>
                      <a:gd name="T3" fmla="*/ 1 h 68"/>
                      <a:gd name="T4" fmla="*/ 27 w 37"/>
                      <a:gd name="T5" fmla="*/ 0 h 68"/>
                      <a:gd name="T6" fmla="*/ 20 w 37"/>
                      <a:gd name="T7" fmla="*/ 19 h 68"/>
                      <a:gd name="T8" fmla="*/ 18 w 37"/>
                      <a:gd name="T9" fmla="*/ 20 h 68"/>
                      <a:gd name="T10" fmla="*/ 16 w 37"/>
                      <a:gd name="T11" fmla="*/ 19 h 68"/>
                      <a:gd name="T12" fmla="*/ 10 w 37"/>
                      <a:gd name="T13" fmla="*/ 0 h 68"/>
                      <a:gd name="T14" fmla="*/ 6 w 37"/>
                      <a:gd name="T15" fmla="*/ 1 h 68"/>
                      <a:gd name="T16" fmla="*/ 0 w 37"/>
                      <a:gd name="T17" fmla="*/ 10 h 68"/>
                      <a:gd name="T18" fmla="*/ 0 w 37"/>
                      <a:gd name="T19" fmla="*/ 29 h 68"/>
                      <a:gd name="T20" fmla="*/ 7 w 37"/>
                      <a:gd name="T21" fmla="*/ 40 h 68"/>
                      <a:gd name="T22" fmla="*/ 7 w 37"/>
                      <a:gd name="T23" fmla="*/ 67 h 68"/>
                      <a:gd name="T24" fmla="*/ 8 w 37"/>
                      <a:gd name="T25" fmla="*/ 68 h 68"/>
                      <a:gd name="T26" fmla="*/ 29 w 37"/>
                      <a:gd name="T27" fmla="*/ 68 h 68"/>
                      <a:gd name="T28" fmla="*/ 29 w 37"/>
                      <a:gd name="T29" fmla="*/ 67 h 68"/>
                      <a:gd name="T30" fmla="*/ 29 w 37"/>
                      <a:gd name="T31" fmla="*/ 40 h 68"/>
                      <a:gd name="T32" fmla="*/ 37 w 37"/>
                      <a:gd name="T33" fmla="*/ 29 h 68"/>
                      <a:gd name="T34" fmla="*/ 37 w 37"/>
                      <a:gd name="T35" fmla="*/ 10 h 68"/>
                      <a:gd name="T36" fmla="*/ 30 w 37"/>
                      <a:gd name="T37" fmla="*/ 1 h 68"/>
                      <a:gd name="T38" fmla="*/ 30 w 37"/>
                      <a:gd name="T39" fmla="*/ 1 h 68"/>
                      <a:gd name="T40" fmla="*/ 30 w 37"/>
                      <a:gd name="T41" fmla="*/ 1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7" h="68">
                        <a:moveTo>
                          <a:pt x="30" y="1"/>
                        </a:moveTo>
                        <a:cubicBezTo>
                          <a:pt x="30" y="1"/>
                          <a:pt x="30" y="1"/>
                          <a:pt x="30" y="1"/>
                        </a:cubicBezTo>
                        <a:cubicBezTo>
                          <a:pt x="27" y="0"/>
                          <a:pt x="27" y="0"/>
                          <a:pt x="27" y="0"/>
                        </a:cubicBezTo>
                        <a:cubicBezTo>
                          <a:pt x="20" y="19"/>
                          <a:pt x="20" y="19"/>
                          <a:pt x="20" y="19"/>
                        </a:cubicBezTo>
                        <a:cubicBezTo>
                          <a:pt x="20" y="19"/>
                          <a:pt x="19" y="20"/>
                          <a:pt x="18" y="20"/>
                        </a:cubicBezTo>
                        <a:cubicBezTo>
                          <a:pt x="18" y="20"/>
                          <a:pt x="17" y="19"/>
                          <a:pt x="16" y="19"/>
                        </a:cubicBezTo>
                        <a:cubicBezTo>
                          <a:pt x="10" y="0"/>
                          <a:pt x="10" y="0"/>
                          <a:pt x="10" y="0"/>
                        </a:cubicBezTo>
                        <a:cubicBezTo>
                          <a:pt x="6" y="1"/>
                          <a:pt x="6" y="1"/>
                          <a:pt x="6" y="1"/>
                        </a:cubicBezTo>
                        <a:cubicBezTo>
                          <a:pt x="3" y="2"/>
                          <a:pt x="0" y="6"/>
                          <a:pt x="0" y="10"/>
                        </a:cubicBezTo>
                        <a:cubicBezTo>
                          <a:pt x="0" y="29"/>
                          <a:pt x="0" y="29"/>
                          <a:pt x="0" y="29"/>
                        </a:cubicBezTo>
                        <a:cubicBezTo>
                          <a:pt x="7" y="40"/>
                          <a:pt x="7" y="40"/>
                          <a:pt x="7" y="40"/>
                        </a:cubicBezTo>
                        <a:cubicBezTo>
                          <a:pt x="7" y="67"/>
                          <a:pt x="7" y="67"/>
                          <a:pt x="7" y="67"/>
                        </a:cubicBezTo>
                        <a:cubicBezTo>
                          <a:pt x="7" y="67"/>
                          <a:pt x="8" y="68"/>
                          <a:pt x="8" y="68"/>
                        </a:cubicBezTo>
                        <a:cubicBezTo>
                          <a:pt x="29" y="68"/>
                          <a:pt x="29" y="68"/>
                          <a:pt x="29" y="68"/>
                        </a:cubicBezTo>
                        <a:cubicBezTo>
                          <a:pt x="29" y="68"/>
                          <a:pt x="29" y="67"/>
                          <a:pt x="29" y="67"/>
                        </a:cubicBezTo>
                        <a:cubicBezTo>
                          <a:pt x="29" y="40"/>
                          <a:pt x="29" y="40"/>
                          <a:pt x="29" y="40"/>
                        </a:cubicBezTo>
                        <a:cubicBezTo>
                          <a:pt x="37" y="29"/>
                          <a:pt x="37" y="29"/>
                          <a:pt x="37" y="29"/>
                        </a:cubicBezTo>
                        <a:cubicBezTo>
                          <a:pt x="37" y="10"/>
                          <a:pt x="37" y="10"/>
                          <a:pt x="37" y="10"/>
                        </a:cubicBezTo>
                        <a:cubicBezTo>
                          <a:pt x="37" y="6"/>
                          <a:pt x="34" y="2"/>
                          <a:pt x="30" y="1"/>
                        </a:cubicBezTo>
                        <a:close/>
                        <a:moveTo>
                          <a:pt x="30" y="1"/>
                        </a:moveTo>
                        <a:cubicBezTo>
                          <a:pt x="30" y="1"/>
                          <a:pt x="30" y="1"/>
                          <a:pt x="30"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44" name="Freeform 308">
                    <a:extLst>
                      <a:ext uri="{FF2B5EF4-FFF2-40B4-BE49-F238E27FC236}">
                        <a16:creationId xmlns:a16="http://schemas.microsoft.com/office/drawing/2014/main" id="{30EAE6B4-FFDA-4139-8288-76101E7AF5E3}"/>
                      </a:ext>
                    </a:extLst>
                  </p:cNvPr>
                  <p:cNvSpPr>
                    <a:spLocks noEditPoints="1"/>
                  </p:cNvSpPr>
                  <p:nvPr/>
                </p:nvSpPr>
                <p:spPr bwMode="auto">
                  <a:xfrm>
                    <a:off x="1079500" y="887413"/>
                    <a:ext cx="22225" cy="52388"/>
                  </a:xfrm>
                  <a:custGeom>
                    <a:avLst/>
                    <a:gdLst>
                      <a:gd name="T0" fmla="*/ 2 w 7"/>
                      <a:gd name="T1" fmla="*/ 5 h 16"/>
                      <a:gd name="T2" fmla="*/ 1 w 7"/>
                      <a:gd name="T3" fmla="*/ 11 h 16"/>
                      <a:gd name="T4" fmla="*/ 3 w 7"/>
                      <a:gd name="T5" fmla="*/ 15 h 16"/>
                      <a:gd name="T6" fmla="*/ 4 w 7"/>
                      <a:gd name="T7" fmla="*/ 15 h 16"/>
                      <a:gd name="T8" fmla="*/ 5 w 7"/>
                      <a:gd name="T9" fmla="*/ 11 h 16"/>
                      <a:gd name="T10" fmla="*/ 5 w 7"/>
                      <a:gd name="T11" fmla="*/ 5 h 16"/>
                      <a:gd name="T12" fmla="*/ 6 w 7"/>
                      <a:gd name="T13" fmla="*/ 2 h 16"/>
                      <a:gd name="T14" fmla="*/ 6 w 7"/>
                      <a:gd name="T15" fmla="*/ 0 h 16"/>
                      <a:gd name="T16" fmla="*/ 5 w 7"/>
                      <a:gd name="T17" fmla="*/ 0 h 16"/>
                      <a:gd name="T18" fmla="*/ 2 w 7"/>
                      <a:gd name="T19" fmla="*/ 0 h 16"/>
                      <a:gd name="T20" fmla="*/ 1 w 7"/>
                      <a:gd name="T21" fmla="*/ 0 h 16"/>
                      <a:gd name="T22" fmla="*/ 1 w 7"/>
                      <a:gd name="T23" fmla="*/ 2 h 16"/>
                      <a:gd name="T24" fmla="*/ 2 w 7"/>
                      <a:gd name="T25" fmla="*/ 5 h 16"/>
                      <a:gd name="T26" fmla="*/ 2 w 7"/>
                      <a:gd name="T27" fmla="*/ 5 h 16"/>
                      <a:gd name="T28" fmla="*/ 2 w 7"/>
                      <a:gd name="T29" fmla="*/ 5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 h="16">
                        <a:moveTo>
                          <a:pt x="2" y="5"/>
                        </a:moveTo>
                        <a:cubicBezTo>
                          <a:pt x="1" y="11"/>
                          <a:pt x="1" y="11"/>
                          <a:pt x="1" y="11"/>
                        </a:cubicBezTo>
                        <a:cubicBezTo>
                          <a:pt x="3" y="15"/>
                          <a:pt x="3" y="15"/>
                          <a:pt x="3" y="15"/>
                        </a:cubicBezTo>
                        <a:cubicBezTo>
                          <a:pt x="3" y="16"/>
                          <a:pt x="4" y="16"/>
                          <a:pt x="4" y="15"/>
                        </a:cubicBezTo>
                        <a:cubicBezTo>
                          <a:pt x="5" y="11"/>
                          <a:pt x="5" y="11"/>
                          <a:pt x="5" y="11"/>
                        </a:cubicBezTo>
                        <a:cubicBezTo>
                          <a:pt x="5" y="5"/>
                          <a:pt x="5" y="5"/>
                          <a:pt x="5" y="5"/>
                        </a:cubicBezTo>
                        <a:cubicBezTo>
                          <a:pt x="6" y="2"/>
                          <a:pt x="6" y="2"/>
                          <a:pt x="6" y="2"/>
                        </a:cubicBezTo>
                        <a:cubicBezTo>
                          <a:pt x="7" y="2"/>
                          <a:pt x="7" y="1"/>
                          <a:pt x="6" y="0"/>
                        </a:cubicBezTo>
                        <a:cubicBezTo>
                          <a:pt x="6" y="0"/>
                          <a:pt x="5" y="0"/>
                          <a:pt x="5" y="0"/>
                        </a:cubicBezTo>
                        <a:cubicBezTo>
                          <a:pt x="2" y="0"/>
                          <a:pt x="2" y="0"/>
                          <a:pt x="2" y="0"/>
                        </a:cubicBezTo>
                        <a:cubicBezTo>
                          <a:pt x="1" y="0"/>
                          <a:pt x="1" y="0"/>
                          <a:pt x="1" y="0"/>
                        </a:cubicBezTo>
                        <a:cubicBezTo>
                          <a:pt x="0" y="1"/>
                          <a:pt x="0" y="2"/>
                          <a:pt x="1" y="2"/>
                        </a:cubicBezTo>
                        <a:lnTo>
                          <a:pt x="2" y="5"/>
                        </a:lnTo>
                        <a:close/>
                        <a:moveTo>
                          <a:pt x="2" y="5"/>
                        </a:moveTo>
                        <a:cubicBezTo>
                          <a:pt x="2" y="5"/>
                          <a:pt x="2" y="5"/>
                          <a:pt x="2" y="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grpSp>
          <p:grpSp>
            <p:nvGrpSpPr>
              <p:cNvPr id="29" name="Group 3">
                <a:extLst>
                  <a:ext uri="{FF2B5EF4-FFF2-40B4-BE49-F238E27FC236}">
                    <a16:creationId xmlns:a16="http://schemas.microsoft.com/office/drawing/2014/main" id="{C2894667-548F-4E9B-9451-09178B3591F9}"/>
                  </a:ext>
                </a:extLst>
              </p:cNvPr>
              <p:cNvGrpSpPr/>
              <p:nvPr/>
            </p:nvGrpSpPr>
            <p:grpSpPr>
              <a:xfrm>
                <a:off x="6694488" y="4408488"/>
                <a:ext cx="1449388" cy="1444625"/>
                <a:chOff x="6694488" y="4408488"/>
                <a:chExt cx="1449388" cy="1444625"/>
              </a:xfrm>
            </p:grpSpPr>
            <p:sp>
              <p:nvSpPr>
                <p:cNvPr id="30" name="Oval 15">
                  <a:extLst>
                    <a:ext uri="{FF2B5EF4-FFF2-40B4-BE49-F238E27FC236}">
                      <a16:creationId xmlns:a16="http://schemas.microsoft.com/office/drawing/2014/main" id="{767E6E96-7626-4D6E-99E7-8B6916C0FB10}"/>
                    </a:ext>
                  </a:extLst>
                </p:cNvPr>
                <p:cNvSpPr>
                  <a:spLocks noChangeArrowheads="1"/>
                </p:cNvSpPr>
                <p:nvPr/>
              </p:nvSpPr>
              <p:spPr bwMode="auto">
                <a:xfrm>
                  <a:off x="6694488" y="4408488"/>
                  <a:ext cx="1449388" cy="1444625"/>
                </a:xfrm>
                <a:prstGeom prst="ellipse">
                  <a:avLst/>
                </a:prstGeom>
                <a:solidFill>
                  <a:schemeClr val="accent4"/>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grpSp>
              <p:nvGrpSpPr>
                <p:cNvPr id="31" name="Group 70">
                  <a:extLst>
                    <a:ext uri="{FF2B5EF4-FFF2-40B4-BE49-F238E27FC236}">
                      <a16:creationId xmlns:a16="http://schemas.microsoft.com/office/drawing/2014/main" id="{5926ADE4-02BA-47BA-A4AD-B1E6F40B0D7B}"/>
                    </a:ext>
                  </a:extLst>
                </p:cNvPr>
                <p:cNvGrpSpPr/>
                <p:nvPr/>
              </p:nvGrpSpPr>
              <p:grpSpPr>
                <a:xfrm>
                  <a:off x="7237414" y="4968081"/>
                  <a:ext cx="363537" cy="325438"/>
                  <a:chOff x="5335588" y="763588"/>
                  <a:chExt cx="363537" cy="325438"/>
                </a:xfrm>
                <a:solidFill>
                  <a:schemeClr val="bg1"/>
                </a:solidFill>
              </p:grpSpPr>
              <p:sp>
                <p:nvSpPr>
                  <p:cNvPr id="32" name="Freeform 309">
                    <a:extLst>
                      <a:ext uri="{FF2B5EF4-FFF2-40B4-BE49-F238E27FC236}">
                        <a16:creationId xmlns:a16="http://schemas.microsoft.com/office/drawing/2014/main" id="{659DBEF3-220B-405D-9389-E26D46B5F019}"/>
                      </a:ext>
                    </a:extLst>
                  </p:cNvPr>
                  <p:cNvSpPr>
                    <a:spLocks noEditPoints="1"/>
                  </p:cNvSpPr>
                  <p:nvPr/>
                </p:nvSpPr>
                <p:spPr bwMode="auto">
                  <a:xfrm>
                    <a:off x="5387975" y="968375"/>
                    <a:ext cx="28575" cy="28575"/>
                  </a:xfrm>
                  <a:custGeom>
                    <a:avLst/>
                    <a:gdLst>
                      <a:gd name="T0" fmla="*/ 5 w 9"/>
                      <a:gd name="T1" fmla="*/ 0 h 9"/>
                      <a:gd name="T2" fmla="*/ 0 w 9"/>
                      <a:gd name="T3" fmla="*/ 5 h 9"/>
                      <a:gd name="T4" fmla="*/ 5 w 9"/>
                      <a:gd name="T5" fmla="*/ 9 h 9"/>
                      <a:gd name="T6" fmla="*/ 9 w 9"/>
                      <a:gd name="T7" fmla="*/ 5 h 9"/>
                      <a:gd name="T8" fmla="*/ 5 w 9"/>
                      <a:gd name="T9" fmla="*/ 0 h 9"/>
                      <a:gd name="T10" fmla="*/ 5 w 9"/>
                      <a:gd name="T11" fmla="*/ 0 h 9"/>
                      <a:gd name="T12" fmla="*/ 5 w 9"/>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9" h="9">
                        <a:moveTo>
                          <a:pt x="5" y="0"/>
                        </a:moveTo>
                        <a:cubicBezTo>
                          <a:pt x="2" y="0"/>
                          <a:pt x="0" y="2"/>
                          <a:pt x="0" y="5"/>
                        </a:cubicBezTo>
                        <a:cubicBezTo>
                          <a:pt x="0" y="7"/>
                          <a:pt x="2" y="9"/>
                          <a:pt x="5" y="9"/>
                        </a:cubicBezTo>
                        <a:cubicBezTo>
                          <a:pt x="7" y="9"/>
                          <a:pt x="9" y="7"/>
                          <a:pt x="9" y="5"/>
                        </a:cubicBezTo>
                        <a:cubicBezTo>
                          <a:pt x="9" y="2"/>
                          <a:pt x="7" y="0"/>
                          <a:pt x="5" y="0"/>
                        </a:cubicBezTo>
                        <a:close/>
                        <a:moveTo>
                          <a:pt x="5" y="0"/>
                        </a:moveTo>
                        <a:cubicBezTo>
                          <a:pt x="5" y="0"/>
                          <a:pt x="5"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3" name="Freeform 310">
                    <a:extLst>
                      <a:ext uri="{FF2B5EF4-FFF2-40B4-BE49-F238E27FC236}">
                        <a16:creationId xmlns:a16="http://schemas.microsoft.com/office/drawing/2014/main" id="{DC1D031E-B24E-48E0-A0EA-550E1BDFA722}"/>
                      </a:ext>
                    </a:extLst>
                  </p:cNvPr>
                  <p:cNvSpPr>
                    <a:spLocks noEditPoints="1"/>
                  </p:cNvSpPr>
                  <p:nvPr/>
                </p:nvSpPr>
                <p:spPr bwMode="auto">
                  <a:xfrm>
                    <a:off x="5592763" y="1036638"/>
                    <a:ext cx="77787" cy="52388"/>
                  </a:xfrm>
                  <a:custGeom>
                    <a:avLst/>
                    <a:gdLst>
                      <a:gd name="T0" fmla="*/ 21 w 24"/>
                      <a:gd name="T1" fmla="*/ 0 h 16"/>
                      <a:gd name="T2" fmla="*/ 19 w 24"/>
                      <a:gd name="T3" fmla="*/ 0 h 16"/>
                      <a:gd name="T4" fmla="*/ 13 w 24"/>
                      <a:gd name="T5" fmla="*/ 2 h 16"/>
                      <a:gd name="T6" fmla="*/ 11 w 24"/>
                      <a:gd name="T7" fmla="*/ 2 h 16"/>
                      <a:gd name="T8" fmla="*/ 5 w 24"/>
                      <a:gd name="T9" fmla="*/ 0 h 16"/>
                      <a:gd name="T10" fmla="*/ 3 w 24"/>
                      <a:gd name="T11" fmla="*/ 0 h 16"/>
                      <a:gd name="T12" fmla="*/ 0 w 24"/>
                      <a:gd name="T13" fmla="*/ 4 h 16"/>
                      <a:gd name="T14" fmla="*/ 0 w 24"/>
                      <a:gd name="T15" fmla="*/ 13 h 16"/>
                      <a:gd name="T16" fmla="*/ 3 w 24"/>
                      <a:gd name="T17" fmla="*/ 16 h 16"/>
                      <a:gd name="T18" fmla="*/ 21 w 24"/>
                      <a:gd name="T19" fmla="*/ 16 h 16"/>
                      <a:gd name="T20" fmla="*/ 24 w 24"/>
                      <a:gd name="T21" fmla="*/ 13 h 16"/>
                      <a:gd name="T22" fmla="*/ 24 w 24"/>
                      <a:gd name="T23" fmla="*/ 4 h 16"/>
                      <a:gd name="T24" fmla="*/ 21 w 24"/>
                      <a:gd name="T25" fmla="*/ 0 h 16"/>
                      <a:gd name="T26" fmla="*/ 21 w 24"/>
                      <a:gd name="T27" fmla="*/ 0 h 16"/>
                      <a:gd name="T28" fmla="*/ 21 w 24"/>
                      <a:gd name="T29"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 h="16">
                        <a:moveTo>
                          <a:pt x="21" y="0"/>
                        </a:moveTo>
                        <a:cubicBezTo>
                          <a:pt x="19" y="0"/>
                          <a:pt x="19" y="0"/>
                          <a:pt x="19" y="0"/>
                        </a:cubicBezTo>
                        <a:cubicBezTo>
                          <a:pt x="13" y="2"/>
                          <a:pt x="13" y="2"/>
                          <a:pt x="13" y="2"/>
                        </a:cubicBezTo>
                        <a:cubicBezTo>
                          <a:pt x="12" y="3"/>
                          <a:pt x="12" y="3"/>
                          <a:pt x="11" y="2"/>
                        </a:cubicBezTo>
                        <a:cubicBezTo>
                          <a:pt x="5" y="0"/>
                          <a:pt x="5" y="0"/>
                          <a:pt x="5" y="0"/>
                        </a:cubicBezTo>
                        <a:cubicBezTo>
                          <a:pt x="3" y="0"/>
                          <a:pt x="3" y="0"/>
                          <a:pt x="3" y="0"/>
                        </a:cubicBezTo>
                        <a:cubicBezTo>
                          <a:pt x="2" y="1"/>
                          <a:pt x="0" y="3"/>
                          <a:pt x="0" y="4"/>
                        </a:cubicBezTo>
                        <a:cubicBezTo>
                          <a:pt x="0" y="13"/>
                          <a:pt x="0" y="13"/>
                          <a:pt x="0" y="13"/>
                        </a:cubicBezTo>
                        <a:cubicBezTo>
                          <a:pt x="0" y="15"/>
                          <a:pt x="2" y="16"/>
                          <a:pt x="3" y="16"/>
                        </a:cubicBezTo>
                        <a:cubicBezTo>
                          <a:pt x="21" y="16"/>
                          <a:pt x="21" y="16"/>
                          <a:pt x="21" y="16"/>
                        </a:cubicBezTo>
                        <a:cubicBezTo>
                          <a:pt x="22" y="16"/>
                          <a:pt x="24" y="15"/>
                          <a:pt x="24" y="13"/>
                        </a:cubicBezTo>
                        <a:cubicBezTo>
                          <a:pt x="24" y="4"/>
                          <a:pt x="24" y="4"/>
                          <a:pt x="24" y="4"/>
                        </a:cubicBezTo>
                        <a:cubicBezTo>
                          <a:pt x="24" y="3"/>
                          <a:pt x="23" y="1"/>
                          <a:pt x="21" y="0"/>
                        </a:cubicBezTo>
                        <a:close/>
                        <a:moveTo>
                          <a:pt x="21" y="0"/>
                        </a:moveTo>
                        <a:cubicBezTo>
                          <a:pt x="21" y="0"/>
                          <a:pt x="21" y="0"/>
                          <a:pt x="2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4" name="Freeform 311">
                    <a:extLst>
                      <a:ext uri="{FF2B5EF4-FFF2-40B4-BE49-F238E27FC236}">
                        <a16:creationId xmlns:a16="http://schemas.microsoft.com/office/drawing/2014/main" id="{821C7EB0-CA53-4B96-BC23-31D1B802BA04}"/>
                      </a:ext>
                    </a:extLst>
                  </p:cNvPr>
                  <p:cNvSpPr>
                    <a:spLocks noEditPoints="1"/>
                  </p:cNvSpPr>
                  <p:nvPr/>
                </p:nvSpPr>
                <p:spPr bwMode="auto">
                  <a:xfrm>
                    <a:off x="5462588" y="1011238"/>
                    <a:ext cx="109537" cy="77788"/>
                  </a:xfrm>
                  <a:custGeom>
                    <a:avLst/>
                    <a:gdLst>
                      <a:gd name="T0" fmla="*/ 29 w 34"/>
                      <a:gd name="T1" fmla="*/ 1 h 24"/>
                      <a:gd name="T2" fmla="*/ 27 w 34"/>
                      <a:gd name="T3" fmla="*/ 0 h 24"/>
                      <a:gd name="T4" fmla="*/ 18 w 34"/>
                      <a:gd name="T5" fmla="*/ 4 h 24"/>
                      <a:gd name="T6" fmla="*/ 16 w 34"/>
                      <a:gd name="T7" fmla="*/ 4 h 24"/>
                      <a:gd name="T8" fmla="*/ 7 w 34"/>
                      <a:gd name="T9" fmla="*/ 0 h 24"/>
                      <a:gd name="T10" fmla="*/ 5 w 34"/>
                      <a:gd name="T11" fmla="*/ 1 h 24"/>
                      <a:gd name="T12" fmla="*/ 0 w 34"/>
                      <a:gd name="T13" fmla="*/ 7 h 24"/>
                      <a:gd name="T14" fmla="*/ 0 w 34"/>
                      <a:gd name="T15" fmla="*/ 21 h 24"/>
                      <a:gd name="T16" fmla="*/ 3 w 34"/>
                      <a:gd name="T17" fmla="*/ 24 h 24"/>
                      <a:gd name="T18" fmla="*/ 31 w 34"/>
                      <a:gd name="T19" fmla="*/ 24 h 24"/>
                      <a:gd name="T20" fmla="*/ 34 w 34"/>
                      <a:gd name="T21" fmla="*/ 21 h 24"/>
                      <a:gd name="T22" fmla="*/ 34 w 34"/>
                      <a:gd name="T23" fmla="*/ 7 h 24"/>
                      <a:gd name="T24" fmla="*/ 29 w 34"/>
                      <a:gd name="T25" fmla="*/ 1 h 24"/>
                      <a:gd name="T26" fmla="*/ 29 w 34"/>
                      <a:gd name="T27" fmla="*/ 1 h 24"/>
                      <a:gd name="T28" fmla="*/ 29 w 34"/>
                      <a:gd name="T29" fmla="*/ 1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4" h="24">
                        <a:moveTo>
                          <a:pt x="29" y="1"/>
                        </a:moveTo>
                        <a:cubicBezTo>
                          <a:pt x="27" y="0"/>
                          <a:pt x="27" y="0"/>
                          <a:pt x="27" y="0"/>
                        </a:cubicBezTo>
                        <a:cubicBezTo>
                          <a:pt x="18" y="4"/>
                          <a:pt x="18" y="4"/>
                          <a:pt x="18" y="4"/>
                        </a:cubicBezTo>
                        <a:cubicBezTo>
                          <a:pt x="17" y="4"/>
                          <a:pt x="17" y="4"/>
                          <a:pt x="16" y="4"/>
                        </a:cubicBezTo>
                        <a:cubicBezTo>
                          <a:pt x="7" y="0"/>
                          <a:pt x="7" y="0"/>
                          <a:pt x="7" y="0"/>
                        </a:cubicBezTo>
                        <a:cubicBezTo>
                          <a:pt x="5" y="1"/>
                          <a:pt x="5" y="1"/>
                          <a:pt x="5" y="1"/>
                        </a:cubicBezTo>
                        <a:cubicBezTo>
                          <a:pt x="2" y="2"/>
                          <a:pt x="0" y="4"/>
                          <a:pt x="0" y="7"/>
                        </a:cubicBezTo>
                        <a:cubicBezTo>
                          <a:pt x="0" y="21"/>
                          <a:pt x="0" y="21"/>
                          <a:pt x="0" y="21"/>
                        </a:cubicBezTo>
                        <a:cubicBezTo>
                          <a:pt x="0" y="23"/>
                          <a:pt x="1" y="24"/>
                          <a:pt x="3" y="24"/>
                        </a:cubicBezTo>
                        <a:cubicBezTo>
                          <a:pt x="31" y="24"/>
                          <a:pt x="31" y="24"/>
                          <a:pt x="31" y="24"/>
                        </a:cubicBezTo>
                        <a:cubicBezTo>
                          <a:pt x="33" y="24"/>
                          <a:pt x="34" y="23"/>
                          <a:pt x="34" y="21"/>
                        </a:cubicBezTo>
                        <a:cubicBezTo>
                          <a:pt x="34" y="7"/>
                          <a:pt x="34" y="7"/>
                          <a:pt x="34" y="7"/>
                        </a:cubicBezTo>
                        <a:cubicBezTo>
                          <a:pt x="34" y="4"/>
                          <a:pt x="32" y="2"/>
                          <a:pt x="29" y="1"/>
                        </a:cubicBezTo>
                        <a:close/>
                        <a:moveTo>
                          <a:pt x="29" y="1"/>
                        </a:moveTo>
                        <a:cubicBezTo>
                          <a:pt x="29" y="1"/>
                          <a:pt x="29" y="1"/>
                          <a:pt x="29"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5" name="Freeform 312">
                    <a:extLst>
                      <a:ext uri="{FF2B5EF4-FFF2-40B4-BE49-F238E27FC236}">
                        <a16:creationId xmlns:a16="http://schemas.microsoft.com/office/drawing/2014/main" id="{9567637D-B512-409F-A83E-C4FD9CB447A7}"/>
                      </a:ext>
                    </a:extLst>
                  </p:cNvPr>
                  <p:cNvSpPr>
                    <a:spLocks noEditPoints="1"/>
                  </p:cNvSpPr>
                  <p:nvPr/>
                </p:nvSpPr>
                <p:spPr bwMode="auto">
                  <a:xfrm>
                    <a:off x="5494338" y="919163"/>
                    <a:ext cx="46037" cy="46038"/>
                  </a:xfrm>
                  <a:custGeom>
                    <a:avLst/>
                    <a:gdLst>
                      <a:gd name="T0" fmla="*/ 7 w 14"/>
                      <a:gd name="T1" fmla="*/ 0 h 14"/>
                      <a:gd name="T2" fmla="*/ 0 w 14"/>
                      <a:gd name="T3" fmla="*/ 7 h 14"/>
                      <a:gd name="T4" fmla="*/ 7 w 14"/>
                      <a:gd name="T5" fmla="*/ 14 h 14"/>
                      <a:gd name="T6" fmla="*/ 14 w 14"/>
                      <a:gd name="T7" fmla="*/ 7 h 14"/>
                      <a:gd name="T8" fmla="*/ 7 w 14"/>
                      <a:gd name="T9" fmla="*/ 0 h 14"/>
                      <a:gd name="T10" fmla="*/ 7 w 14"/>
                      <a:gd name="T11" fmla="*/ 0 h 14"/>
                      <a:gd name="T12" fmla="*/ 7 w 14"/>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14" h="14">
                        <a:moveTo>
                          <a:pt x="7" y="0"/>
                        </a:moveTo>
                        <a:cubicBezTo>
                          <a:pt x="3" y="0"/>
                          <a:pt x="0" y="3"/>
                          <a:pt x="0" y="7"/>
                        </a:cubicBezTo>
                        <a:cubicBezTo>
                          <a:pt x="0" y="11"/>
                          <a:pt x="3" y="14"/>
                          <a:pt x="7" y="14"/>
                        </a:cubicBezTo>
                        <a:cubicBezTo>
                          <a:pt x="11" y="14"/>
                          <a:pt x="14" y="11"/>
                          <a:pt x="14" y="7"/>
                        </a:cubicBezTo>
                        <a:cubicBezTo>
                          <a:pt x="14" y="3"/>
                          <a:pt x="11" y="0"/>
                          <a:pt x="7" y="0"/>
                        </a:cubicBezTo>
                        <a:close/>
                        <a:moveTo>
                          <a:pt x="7" y="0"/>
                        </a:moveTo>
                        <a:cubicBezTo>
                          <a:pt x="7" y="0"/>
                          <a:pt x="7" y="0"/>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6" name="Freeform 313">
                    <a:extLst>
                      <a:ext uri="{FF2B5EF4-FFF2-40B4-BE49-F238E27FC236}">
                        <a16:creationId xmlns:a16="http://schemas.microsoft.com/office/drawing/2014/main" id="{C24DB471-7745-489E-92C6-DB446F1D37EC}"/>
                      </a:ext>
                    </a:extLst>
                  </p:cNvPr>
                  <p:cNvSpPr>
                    <a:spLocks noEditPoints="1"/>
                  </p:cNvSpPr>
                  <p:nvPr/>
                </p:nvSpPr>
                <p:spPr bwMode="auto">
                  <a:xfrm>
                    <a:off x="5365750" y="1036638"/>
                    <a:ext cx="77787" cy="52388"/>
                  </a:xfrm>
                  <a:custGeom>
                    <a:avLst/>
                    <a:gdLst>
                      <a:gd name="T0" fmla="*/ 21 w 24"/>
                      <a:gd name="T1" fmla="*/ 0 h 16"/>
                      <a:gd name="T2" fmla="*/ 19 w 24"/>
                      <a:gd name="T3" fmla="*/ 0 h 16"/>
                      <a:gd name="T4" fmla="*/ 13 w 24"/>
                      <a:gd name="T5" fmla="*/ 2 h 16"/>
                      <a:gd name="T6" fmla="*/ 11 w 24"/>
                      <a:gd name="T7" fmla="*/ 2 h 16"/>
                      <a:gd name="T8" fmla="*/ 5 w 24"/>
                      <a:gd name="T9" fmla="*/ 0 h 16"/>
                      <a:gd name="T10" fmla="*/ 3 w 24"/>
                      <a:gd name="T11" fmla="*/ 0 h 16"/>
                      <a:gd name="T12" fmla="*/ 0 w 24"/>
                      <a:gd name="T13" fmla="*/ 4 h 16"/>
                      <a:gd name="T14" fmla="*/ 0 w 24"/>
                      <a:gd name="T15" fmla="*/ 13 h 16"/>
                      <a:gd name="T16" fmla="*/ 3 w 24"/>
                      <a:gd name="T17" fmla="*/ 16 h 16"/>
                      <a:gd name="T18" fmla="*/ 21 w 24"/>
                      <a:gd name="T19" fmla="*/ 16 h 16"/>
                      <a:gd name="T20" fmla="*/ 24 w 24"/>
                      <a:gd name="T21" fmla="*/ 13 h 16"/>
                      <a:gd name="T22" fmla="*/ 24 w 24"/>
                      <a:gd name="T23" fmla="*/ 4 h 16"/>
                      <a:gd name="T24" fmla="*/ 21 w 24"/>
                      <a:gd name="T25" fmla="*/ 0 h 16"/>
                      <a:gd name="T26" fmla="*/ 21 w 24"/>
                      <a:gd name="T27" fmla="*/ 0 h 16"/>
                      <a:gd name="T28" fmla="*/ 21 w 24"/>
                      <a:gd name="T29"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 h="16">
                        <a:moveTo>
                          <a:pt x="21" y="0"/>
                        </a:moveTo>
                        <a:cubicBezTo>
                          <a:pt x="19" y="0"/>
                          <a:pt x="19" y="0"/>
                          <a:pt x="19" y="0"/>
                        </a:cubicBezTo>
                        <a:cubicBezTo>
                          <a:pt x="13" y="2"/>
                          <a:pt x="13" y="2"/>
                          <a:pt x="13" y="2"/>
                        </a:cubicBezTo>
                        <a:cubicBezTo>
                          <a:pt x="12" y="3"/>
                          <a:pt x="11" y="3"/>
                          <a:pt x="11" y="2"/>
                        </a:cubicBezTo>
                        <a:cubicBezTo>
                          <a:pt x="5" y="0"/>
                          <a:pt x="5" y="0"/>
                          <a:pt x="5" y="0"/>
                        </a:cubicBezTo>
                        <a:cubicBezTo>
                          <a:pt x="3" y="0"/>
                          <a:pt x="3" y="0"/>
                          <a:pt x="3" y="0"/>
                        </a:cubicBezTo>
                        <a:cubicBezTo>
                          <a:pt x="1" y="1"/>
                          <a:pt x="0" y="3"/>
                          <a:pt x="0" y="4"/>
                        </a:cubicBezTo>
                        <a:cubicBezTo>
                          <a:pt x="0" y="13"/>
                          <a:pt x="0" y="13"/>
                          <a:pt x="0" y="13"/>
                        </a:cubicBezTo>
                        <a:cubicBezTo>
                          <a:pt x="0" y="15"/>
                          <a:pt x="1" y="16"/>
                          <a:pt x="3" y="16"/>
                        </a:cubicBezTo>
                        <a:cubicBezTo>
                          <a:pt x="21" y="16"/>
                          <a:pt x="21" y="16"/>
                          <a:pt x="21" y="16"/>
                        </a:cubicBezTo>
                        <a:cubicBezTo>
                          <a:pt x="22" y="16"/>
                          <a:pt x="24" y="15"/>
                          <a:pt x="24" y="13"/>
                        </a:cubicBezTo>
                        <a:cubicBezTo>
                          <a:pt x="24" y="4"/>
                          <a:pt x="24" y="4"/>
                          <a:pt x="24" y="4"/>
                        </a:cubicBezTo>
                        <a:cubicBezTo>
                          <a:pt x="24" y="3"/>
                          <a:pt x="22" y="1"/>
                          <a:pt x="21" y="0"/>
                        </a:cubicBezTo>
                        <a:close/>
                        <a:moveTo>
                          <a:pt x="21" y="0"/>
                        </a:moveTo>
                        <a:cubicBezTo>
                          <a:pt x="21" y="0"/>
                          <a:pt x="21" y="0"/>
                          <a:pt x="2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7" name="Freeform 314">
                    <a:extLst>
                      <a:ext uri="{FF2B5EF4-FFF2-40B4-BE49-F238E27FC236}">
                        <a16:creationId xmlns:a16="http://schemas.microsoft.com/office/drawing/2014/main" id="{393F4E95-1BB1-4C33-A971-4A3F0A10FFDD}"/>
                      </a:ext>
                    </a:extLst>
                  </p:cNvPr>
                  <p:cNvSpPr>
                    <a:spLocks noEditPoints="1"/>
                  </p:cNvSpPr>
                  <p:nvPr/>
                </p:nvSpPr>
                <p:spPr bwMode="auto">
                  <a:xfrm>
                    <a:off x="5618163" y="968375"/>
                    <a:ext cx="28575" cy="28575"/>
                  </a:xfrm>
                  <a:custGeom>
                    <a:avLst/>
                    <a:gdLst>
                      <a:gd name="T0" fmla="*/ 4 w 9"/>
                      <a:gd name="T1" fmla="*/ 0 h 9"/>
                      <a:gd name="T2" fmla="*/ 0 w 9"/>
                      <a:gd name="T3" fmla="*/ 5 h 9"/>
                      <a:gd name="T4" fmla="*/ 4 w 9"/>
                      <a:gd name="T5" fmla="*/ 9 h 9"/>
                      <a:gd name="T6" fmla="*/ 9 w 9"/>
                      <a:gd name="T7" fmla="*/ 5 h 9"/>
                      <a:gd name="T8" fmla="*/ 4 w 9"/>
                      <a:gd name="T9" fmla="*/ 0 h 9"/>
                      <a:gd name="T10" fmla="*/ 4 w 9"/>
                      <a:gd name="T11" fmla="*/ 0 h 9"/>
                      <a:gd name="T12" fmla="*/ 4 w 9"/>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9" h="9">
                        <a:moveTo>
                          <a:pt x="4" y="0"/>
                        </a:moveTo>
                        <a:cubicBezTo>
                          <a:pt x="2" y="0"/>
                          <a:pt x="0" y="2"/>
                          <a:pt x="0" y="5"/>
                        </a:cubicBezTo>
                        <a:cubicBezTo>
                          <a:pt x="0" y="7"/>
                          <a:pt x="2" y="9"/>
                          <a:pt x="4" y="9"/>
                        </a:cubicBezTo>
                        <a:cubicBezTo>
                          <a:pt x="7" y="9"/>
                          <a:pt x="9" y="7"/>
                          <a:pt x="9" y="5"/>
                        </a:cubicBezTo>
                        <a:cubicBezTo>
                          <a:pt x="9" y="2"/>
                          <a:pt x="7" y="0"/>
                          <a:pt x="4" y="0"/>
                        </a:cubicBezTo>
                        <a:close/>
                        <a:moveTo>
                          <a:pt x="4" y="0"/>
                        </a:moveTo>
                        <a:cubicBezTo>
                          <a:pt x="4" y="0"/>
                          <a:pt x="4"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8" name="Freeform 315">
                    <a:extLst>
                      <a:ext uri="{FF2B5EF4-FFF2-40B4-BE49-F238E27FC236}">
                        <a16:creationId xmlns:a16="http://schemas.microsoft.com/office/drawing/2014/main" id="{CD33CBD4-EF24-4353-AA9B-E848966EB2C5}"/>
                      </a:ext>
                    </a:extLst>
                  </p:cNvPr>
                  <p:cNvSpPr>
                    <a:spLocks noEditPoints="1"/>
                  </p:cNvSpPr>
                  <p:nvPr/>
                </p:nvSpPr>
                <p:spPr bwMode="auto">
                  <a:xfrm>
                    <a:off x="5335588" y="763588"/>
                    <a:ext cx="363537" cy="301625"/>
                  </a:xfrm>
                  <a:custGeom>
                    <a:avLst/>
                    <a:gdLst>
                      <a:gd name="T0" fmla="*/ 4 w 112"/>
                      <a:gd name="T1" fmla="*/ 0 h 93"/>
                      <a:gd name="T2" fmla="*/ 0 w 112"/>
                      <a:gd name="T3" fmla="*/ 90 h 93"/>
                      <a:gd name="T4" fmla="*/ 4 w 112"/>
                      <a:gd name="T5" fmla="*/ 93 h 93"/>
                      <a:gd name="T6" fmla="*/ 11 w 112"/>
                      <a:gd name="T7" fmla="*/ 79 h 93"/>
                      <a:gd name="T8" fmla="*/ 13 w 112"/>
                      <a:gd name="T9" fmla="*/ 78 h 93"/>
                      <a:gd name="T10" fmla="*/ 21 w 112"/>
                      <a:gd name="T11" fmla="*/ 81 h 93"/>
                      <a:gd name="T12" fmla="*/ 29 w 112"/>
                      <a:gd name="T13" fmla="*/ 78 h 93"/>
                      <a:gd name="T14" fmla="*/ 31 w 112"/>
                      <a:gd name="T15" fmla="*/ 79 h 93"/>
                      <a:gd name="T16" fmla="*/ 42 w 112"/>
                      <a:gd name="T17" fmla="*/ 72 h 93"/>
                      <a:gd name="T18" fmla="*/ 46 w 112"/>
                      <a:gd name="T19" fmla="*/ 71 h 93"/>
                      <a:gd name="T20" fmla="*/ 56 w 112"/>
                      <a:gd name="T21" fmla="*/ 74 h 93"/>
                      <a:gd name="T22" fmla="*/ 66 w 112"/>
                      <a:gd name="T23" fmla="*/ 71 h 93"/>
                      <a:gd name="T24" fmla="*/ 70 w 112"/>
                      <a:gd name="T25" fmla="*/ 72 h 93"/>
                      <a:gd name="T26" fmla="*/ 81 w 112"/>
                      <a:gd name="T27" fmla="*/ 79 h 93"/>
                      <a:gd name="T28" fmla="*/ 83 w 112"/>
                      <a:gd name="T29" fmla="*/ 78 h 93"/>
                      <a:gd name="T30" fmla="*/ 91 w 112"/>
                      <a:gd name="T31" fmla="*/ 81 h 93"/>
                      <a:gd name="T32" fmla="*/ 99 w 112"/>
                      <a:gd name="T33" fmla="*/ 78 h 93"/>
                      <a:gd name="T34" fmla="*/ 101 w 112"/>
                      <a:gd name="T35" fmla="*/ 79 h 93"/>
                      <a:gd name="T36" fmla="*/ 108 w 112"/>
                      <a:gd name="T37" fmla="*/ 93 h 93"/>
                      <a:gd name="T38" fmla="*/ 112 w 112"/>
                      <a:gd name="T39" fmla="*/ 90 h 93"/>
                      <a:gd name="T40" fmla="*/ 108 w 112"/>
                      <a:gd name="T41" fmla="*/ 0 h 93"/>
                      <a:gd name="T42" fmla="*/ 11 w 112"/>
                      <a:gd name="T43" fmla="*/ 68 h 93"/>
                      <a:gd name="T44" fmla="*/ 31 w 112"/>
                      <a:gd name="T45" fmla="*/ 68 h 93"/>
                      <a:gd name="T46" fmla="*/ 56 w 112"/>
                      <a:gd name="T47" fmla="*/ 68 h 93"/>
                      <a:gd name="T48" fmla="*/ 56 w 112"/>
                      <a:gd name="T49" fmla="*/ 43 h 93"/>
                      <a:gd name="T50" fmla="*/ 56 w 112"/>
                      <a:gd name="T51" fmla="*/ 68 h 93"/>
                      <a:gd name="T52" fmla="*/ 75 w 112"/>
                      <a:gd name="T53" fmla="*/ 35 h 93"/>
                      <a:gd name="T54" fmla="*/ 72 w 112"/>
                      <a:gd name="T55" fmla="*/ 31 h 93"/>
                      <a:gd name="T56" fmla="*/ 56 w 112"/>
                      <a:gd name="T57" fmla="*/ 35 h 93"/>
                      <a:gd name="T58" fmla="*/ 54 w 112"/>
                      <a:gd name="T59" fmla="*/ 35 h 93"/>
                      <a:gd name="T60" fmla="*/ 50 w 112"/>
                      <a:gd name="T61" fmla="*/ 28 h 93"/>
                      <a:gd name="T62" fmla="*/ 33 w 112"/>
                      <a:gd name="T63" fmla="*/ 32 h 93"/>
                      <a:gd name="T64" fmla="*/ 50 w 112"/>
                      <a:gd name="T65" fmla="*/ 21 h 93"/>
                      <a:gd name="T66" fmla="*/ 55 w 112"/>
                      <a:gd name="T67" fmla="*/ 23 h 93"/>
                      <a:gd name="T68" fmla="*/ 72 w 112"/>
                      <a:gd name="T69" fmla="*/ 21 h 93"/>
                      <a:gd name="T70" fmla="*/ 65 w 112"/>
                      <a:gd name="T71" fmla="*/ 15 h 93"/>
                      <a:gd name="T72" fmla="*/ 81 w 112"/>
                      <a:gd name="T73" fmla="*/ 18 h 93"/>
                      <a:gd name="T74" fmla="*/ 78 w 112"/>
                      <a:gd name="T75" fmla="*/ 33 h 93"/>
                      <a:gd name="T76" fmla="*/ 81 w 112"/>
                      <a:gd name="T77" fmla="*/ 68 h 93"/>
                      <a:gd name="T78" fmla="*/ 101 w 112"/>
                      <a:gd name="T79" fmla="*/ 68 h 93"/>
                      <a:gd name="T80" fmla="*/ 91 w 112"/>
                      <a:gd name="T81" fmla="*/ 78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12" h="93">
                        <a:moveTo>
                          <a:pt x="108" y="0"/>
                        </a:moveTo>
                        <a:cubicBezTo>
                          <a:pt x="4" y="0"/>
                          <a:pt x="4" y="0"/>
                          <a:pt x="4" y="0"/>
                        </a:cubicBezTo>
                        <a:cubicBezTo>
                          <a:pt x="2" y="0"/>
                          <a:pt x="0" y="1"/>
                          <a:pt x="0" y="3"/>
                        </a:cubicBezTo>
                        <a:cubicBezTo>
                          <a:pt x="0" y="90"/>
                          <a:pt x="0" y="90"/>
                          <a:pt x="0" y="90"/>
                        </a:cubicBezTo>
                        <a:cubicBezTo>
                          <a:pt x="0" y="92"/>
                          <a:pt x="2" y="93"/>
                          <a:pt x="4" y="93"/>
                        </a:cubicBezTo>
                        <a:cubicBezTo>
                          <a:pt x="4" y="93"/>
                          <a:pt x="4" y="93"/>
                          <a:pt x="4" y="93"/>
                        </a:cubicBezTo>
                        <a:cubicBezTo>
                          <a:pt x="4" y="88"/>
                          <a:pt x="4" y="88"/>
                          <a:pt x="4" y="88"/>
                        </a:cubicBezTo>
                        <a:cubicBezTo>
                          <a:pt x="4" y="84"/>
                          <a:pt x="7" y="81"/>
                          <a:pt x="11" y="79"/>
                        </a:cubicBezTo>
                        <a:cubicBezTo>
                          <a:pt x="11" y="79"/>
                          <a:pt x="11" y="79"/>
                          <a:pt x="11" y="79"/>
                        </a:cubicBezTo>
                        <a:cubicBezTo>
                          <a:pt x="13" y="78"/>
                          <a:pt x="13" y="78"/>
                          <a:pt x="13" y="78"/>
                        </a:cubicBezTo>
                        <a:cubicBezTo>
                          <a:pt x="14" y="78"/>
                          <a:pt x="14" y="78"/>
                          <a:pt x="15" y="79"/>
                        </a:cubicBezTo>
                        <a:cubicBezTo>
                          <a:pt x="21" y="81"/>
                          <a:pt x="21" y="81"/>
                          <a:pt x="21" y="81"/>
                        </a:cubicBezTo>
                        <a:cubicBezTo>
                          <a:pt x="27" y="79"/>
                          <a:pt x="27" y="79"/>
                          <a:pt x="27" y="79"/>
                        </a:cubicBezTo>
                        <a:cubicBezTo>
                          <a:pt x="27" y="78"/>
                          <a:pt x="28" y="78"/>
                          <a:pt x="29" y="78"/>
                        </a:cubicBezTo>
                        <a:cubicBezTo>
                          <a:pt x="31" y="79"/>
                          <a:pt x="31" y="79"/>
                          <a:pt x="31" y="79"/>
                        </a:cubicBezTo>
                        <a:cubicBezTo>
                          <a:pt x="31" y="79"/>
                          <a:pt x="31" y="79"/>
                          <a:pt x="31" y="79"/>
                        </a:cubicBezTo>
                        <a:cubicBezTo>
                          <a:pt x="32" y="80"/>
                          <a:pt x="33" y="80"/>
                          <a:pt x="34" y="81"/>
                        </a:cubicBezTo>
                        <a:cubicBezTo>
                          <a:pt x="35" y="77"/>
                          <a:pt x="38" y="73"/>
                          <a:pt x="42" y="72"/>
                        </a:cubicBezTo>
                        <a:cubicBezTo>
                          <a:pt x="42" y="72"/>
                          <a:pt x="42" y="72"/>
                          <a:pt x="42" y="72"/>
                        </a:cubicBezTo>
                        <a:cubicBezTo>
                          <a:pt x="46" y="71"/>
                          <a:pt x="46" y="71"/>
                          <a:pt x="46" y="71"/>
                        </a:cubicBezTo>
                        <a:cubicBezTo>
                          <a:pt x="46" y="70"/>
                          <a:pt x="47" y="71"/>
                          <a:pt x="48" y="71"/>
                        </a:cubicBezTo>
                        <a:cubicBezTo>
                          <a:pt x="56" y="74"/>
                          <a:pt x="56" y="74"/>
                          <a:pt x="56" y="74"/>
                        </a:cubicBezTo>
                        <a:cubicBezTo>
                          <a:pt x="64" y="71"/>
                          <a:pt x="64" y="71"/>
                          <a:pt x="64" y="71"/>
                        </a:cubicBezTo>
                        <a:cubicBezTo>
                          <a:pt x="65" y="71"/>
                          <a:pt x="66" y="70"/>
                          <a:pt x="66" y="71"/>
                        </a:cubicBezTo>
                        <a:cubicBezTo>
                          <a:pt x="70" y="72"/>
                          <a:pt x="70" y="72"/>
                          <a:pt x="70" y="72"/>
                        </a:cubicBezTo>
                        <a:cubicBezTo>
                          <a:pt x="70" y="72"/>
                          <a:pt x="70" y="72"/>
                          <a:pt x="70" y="72"/>
                        </a:cubicBezTo>
                        <a:cubicBezTo>
                          <a:pt x="74" y="73"/>
                          <a:pt x="77" y="77"/>
                          <a:pt x="78" y="81"/>
                        </a:cubicBezTo>
                        <a:cubicBezTo>
                          <a:pt x="79" y="80"/>
                          <a:pt x="80" y="80"/>
                          <a:pt x="81" y="79"/>
                        </a:cubicBezTo>
                        <a:cubicBezTo>
                          <a:pt x="81" y="79"/>
                          <a:pt x="81" y="79"/>
                          <a:pt x="81" y="79"/>
                        </a:cubicBezTo>
                        <a:cubicBezTo>
                          <a:pt x="83" y="78"/>
                          <a:pt x="83" y="78"/>
                          <a:pt x="83" y="78"/>
                        </a:cubicBezTo>
                        <a:cubicBezTo>
                          <a:pt x="84" y="78"/>
                          <a:pt x="85" y="78"/>
                          <a:pt x="85" y="79"/>
                        </a:cubicBezTo>
                        <a:cubicBezTo>
                          <a:pt x="91" y="81"/>
                          <a:pt x="91" y="81"/>
                          <a:pt x="91" y="81"/>
                        </a:cubicBezTo>
                        <a:cubicBezTo>
                          <a:pt x="97" y="79"/>
                          <a:pt x="97" y="79"/>
                          <a:pt x="97" y="79"/>
                        </a:cubicBezTo>
                        <a:cubicBezTo>
                          <a:pt x="98" y="78"/>
                          <a:pt x="98" y="78"/>
                          <a:pt x="99" y="78"/>
                        </a:cubicBezTo>
                        <a:cubicBezTo>
                          <a:pt x="101" y="79"/>
                          <a:pt x="101" y="79"/>
                          <a:pt x="101" y="79"/>
                        </a:cubicBezTo>
                        <a:cubicBezTo>
                          <a:pt x="101" y="79"/>
                          <a:pt x="101" y="79"/>
                          <a:pt x="101" y="79"/>
                        </a:cubicBezTo>
                        <a:cubicBezTo>
                          <a:pt x="105" y="81"/>
                          <a:pt x="108" y="84"/>
                          <a:pt x="108" y="88"/>
                        </a:cubicBezTo>
                        <a:cubicBezTo>
                          <a:pt x="108" y="93"/>
                          <a:pt x="108" y="93"/>
                          <a:pt x="108" y="93"/>
                        </a:cubicBezTo>
                        <a:cubicBezTo>
                          <a:pt x="108" y="93"/>
                          <a:pt x="108" y="93"/>
                          <a:pt x="108" y="93"/>
                        </a:cubicBezTo>
                        <a:cubicBezTo>
                          <a:pt x="110" y="93"/>
                          <a:pt x="112" y="92"/>
                          <a:pt x="112" y="90"/>
                        </a:cubicBezTo>
                        <a:cubicBezTo>
                          <a:pt x="112" y="3"/>
                          <a:pt x="112" y="3"/>
                          <a:pt x="112" y="3"/>
                        </a:cubicBezTo>
                        <a:cubicBezTo>
                          <a:pt x="112" y="1"/>
                          <a:pt x="110" y="0"/>
                          <a:pt x="108" y="0"/>
                        </a:cubicBezTo>
                        <a:close/>
                        <a:moveTo>
                          <a:pt x="21" y="78"/>
                        </a:moveTo>
                        <a:cubicBezTo>
                          <a:pt x="15" y="78"/>
                          <a:pt x="11" y="73"/>
                          <a:pt x="11" y="68"/>
                        </a:cubicBezTo>
                        <a:cubicBezTo>
                          <a:pt x="11" y="62"/>
                          <a:pt x="15" y="58"/>
                          <a:pt x="21" y="58"/>
                        </a:cubicBezTo>
                        <a:cubicBezTo>
                          <a:pt x="26" y="58"/>
                          <a:pt x="31" y="62"/>
                          <a:pt x="31" y="68"/>
                        </a:cubicBezTo>
                        <a:cubicBezTo>
                          <a:pt x="31" y="73"/>
                          <a:pt x="26" y="78"/>
                          <a:pt x="21" y="78"/>
                        </a:cubicBezTo>
                        <a:close/>
                        <a:moveTo>
                          <a:pt x="56" y="68"/>
                        </a:moveTo>
                        <a:cubicBezTo>
                          <a:pt x="49" y="68"/>
                          <a:pt x="44" y="62"/>
                          <a:pt x="44" y="55"/>
                        </a:cubicBezTo>
                        <a:cubicBezTo>
                          <a:pt x="44" y="48"/>
                          <a:pt x="49" y="43"/>
                          <a:pt x="56" y="43"/>
                        </a:cubicBezTo>
                        <a:cubicBezTo>
                          <a:pt x="63" y="43"/>
                          <a:pt x="68" y="48"/>
                          <a:pt x="68" y="55"/>
                        </a:cubicBezTo>
                        <a:cubicBezTo>
                          <a:pt x="68" y="62"/>
                          <a:pt x="63" y="68"/>
                          <a:pt x="56" y="68"/>
                        </a:cubicBezTo>
                        <a:close/>
                        <a:moveTo>
                          <a:pt x="78" y="33"/>
                        </a:moveTo>
                        <a:cubicBezTo>
                          <a:pt x="78" y="35"/>
                          <a:pt x="77" y="35"/>
                          <a:pt x="75" y="35"/>
                        </a:cubicBezTo>
                        <a:cubicBezTo>
                          <a:pt x="75" y="35"/>
                          <a:pt x="75" y="35"/>
                          <a:pt x="74" y="35"/>
                        </a:cubicBezTo>
                        <a:cubicBezTo>
                          <a:pt x="72" y="35"/>
                          <a:pt x="72" y="33"/>
                          <a:pt x="72" y="31"/>
                        </a:cubicBezTo>
                        <a:cubicBezTo>
                          <a:pt x="74" y="27"/>
                          <a:pt x="74" y="27"/>
                          <a:pt x="74" y="27"/>
                        </a:cubicBezTo>
                        <a:cubicBezTo>
                          <a:pt x="56" y="35"/>
                          <a:pt x="56" y="35"/>
                          <a:pt x="56" y="35"/>
                        </a:cubicBezTo>
                        <a:cubicBezTo>
                          <a:pt x="56" y="35"/>
                          <a:pt x="56" y="35"/>
                          <a:pt x="55" y="35"/>
                        </a:cubicBezTo>
                        <a:cubicBezTo>
                          <a:pt x="55" y="35"/>
                          <a:pt x="54" y="35"/>
                          <a:pt x="54" y="35"/>
                        </a:cubicBezTo>
                        <a:cubicBezTo>
                          <a:pt x="53" y="35"/>
                          <a:pt x="53" y="34"/>
                          <a:pt x="52" y="33"/>
                        </a:cubicBezTo>
                        <a:cubicBezTo>
                          <a:pt x="50" y="28"/>
                          <a:pt x="50" y="28"/>
                          <a:pt x="50" y="28"/>
                        </a:cubicBezTo>
                        <a:cubicBezTo>
                          <a:pt x="37" y="34"/>
                          <a:pt x="37" y="34"/>
                          <a:pt x="37" y="34"/>
                        </a:cubicBezTo>
                        <a:cubicBezTo>
                          <a:pt x="35" y="34"/>
                          <a:pt x="33" y="34"/>
                          <a:pt x="33" y="32"/>
                        </a:cubicBezTo>
                        <a:cubicBezTo>
                          <a:pt x="32" y="31"/>
                          <a:pt x="33" y="29"/>
                          <a:pt x="34" y="28"/>
                        </a:cubicBezTo>
                        <a:cubicBezTo>
                          <a:pt x="50" y="21"/>
                          <a:pt x="50" y="21"/>
                          <a:pt x="50" y="21"/>
                        </a:cubicBezTo>
                        <a:cubicBezTo>
                          <a:pt x="51" y="21"/>
                          <a:pt x="52" y="21"/>
                          <a:pt x="53" y="21"/>
                        </a:cubicBezTo>
                        <a:cubicBezTo>
                          <a:pt x="54" y="21"/>
                          <a:pt x="54" y="22"/>
                          <a:pt x="55" y="23"/>
                        </a:cubicBezTo>
                        <a:cubicBezTo>
                          <a:pt x="57" y="28"/>
                          <a:pt x="57" y="28"/>
                          <a:pt x="57" y="28"/>
                        </a:cubicBezTo>
                        <a:cubicBezTo>
                          <a:pt x="72" y="21"/>
                          <a:pt x="72" y="21"/>
                          <a:pt x="72" y="21"/>
                        </a:cubicBezTo>
                        <a:cubicBezTo>
                          <a:pt x="67" y="19"/>
                          <a:pt x="67" y="19"/>
                          <a:pt x="67" y="19"/>
                        </a:cubicBezTo>
                        <a:cubicBezTo>
                          <a:pt x="66" y="19"/>
                          <a:pt x="65" y="17"/>
                          <a:pt x="65" y="15"/>
                        </a:cubicBezTo>
                        <a:cubicBezTo>
                          <a:pt x="66" y="13"/>
                          <a:pt x="68" y="13"/>
                          <a:pt x="69" y="13"/>
                        </a:cubicBezTo>
                        <a:cubicBezTo>
                          <a:pt x="81" y="18"/>
                          <a:pt x="81" y="18"/>
                          <a:pt x="81" y="18"/>
                        </a:cubicBezTo>
                        <a:cubicBezTo>
                          <a:pt x="83" y="18"/>
                          <a:pt x="83" y="20"/>
                          <a:pt x="83" y="22"/>
                        </a:cubicBezTo>
                        <a:lnTo>
                          <a:pt x="78" y="33"/>
                        </a:lnTo>
                        <a:close/>
                        <a:moveTo>
                          <a:pt x="91" y="78"/>
                        </a:moveTo>
                        <a:cubicBezTo>
                          <a:pt x="86" y="78"/>
                          <a:pt x="81" y="73"/>
                          <a:pt x="81" y="68"/>
                        </a:cubicBezTo>
                        <a:cubicBezTo>
                          <a:pt x="81" y="62"/>
                          <a:pt x="86" y="58"/>
                          <a:pt x="91" y="58"/>
                        </a:cubicBezTo>
                        <a:cubicBezTo>
                          <a:pt x="96" y="58"/>
                          <a:pt x="101" y="62"/>
                          <a:pt x="101" y="68"/>
                        </a:cubicBezTo>
                        <a:cubicBezTo>
                          <a:pt x="101" y="73"/>
                          <a:pt x="96" y="78"/>
                          <a:pt x="91" y="78"/>
                        </a:cubicBezTo>
                        <a:close/>
                        <a:moveTo>
                          <a:pt x="91" y="78"/>
                        </a:moveTo>
                        <a:cubicBezTo>
                          <a:pt x="91" y="78"/>
                          <a:pt x="91" y="78"/>
                          <a:pt x="91" y="7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grpSp>
        </p:grpSp>
      </p:grpSp>
      <p:sp>
        <p:nvSpPr>
          <p:cNvPr id="78" name="TextBox 78">
            <a:extLst>
              <a:ext uri="{FF2B5EF4-FFF2-40B4-BE49-F238E27FC236}">
                <a16:creationId xmlns:a16="http://schemas.microsoft.com/office/drawing/2014/main" id="{F260B415-6DF2-49DC-8EAB-C646158D80EC}"/>
              </a:ext>
            </a:extLst>
          </p:cNvPr>
          <p:cNvSpPr txBox="1"/>
          <p:nvPr/>
        </p:nvSpPr>
        <p:spPr>
          <a:xfrm>
            <a:off x="1427077" y="700743"/>
            <a:ext cx="5950039"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000000">
                    <a:lumMod val="85000"/>
                    <a:lumOff val="15000"/>
                  </a:srgbClr>
                </a:solidFill>
                <a:effectLst/>
                <a:uLnTx/>
                <a:uFillTx/>
                <a:latin typeface="等线 Light" panose="020F0302020204030204"/>
                <a:ea typeface="+mn-ea"/>
                <a:cs typeface="+mn-cs"/>
              </a:rPr>
              <a:t>INFOGRAPHIC</a:t>
            </a:r>
            <a:r>
              <a:rPr kumimoji="0" lang="en-US" sz="3200" b="1" i="0" u="none" strike="noStrike" kern="1200" cap="none" spc="0" normalizeH="0" baseline="0" noProof="0" dirty="0">
                <a:ln>
                  <a:noFill/>
                </a:ln>
                <a:solidFill>
                  <a:srgbClr val="000000">
                    <a:lumMod val="85000"/>
                    <a:lumOff val="15000"/>
                  </a:srgbClr>
                </a:solidFill>
                <a:effectLst/>
                <a:uLnTx/>
                <a:uFillTx/>
                <a:latin typeface="等线" panose="020F0502020204030204"/>
                <a:ea typeface="+mn-ea"/>
                <a:cs typeface="+mn-cs"/>
              </a:rPr>
              <a:t> </a:t>
            </a:r>
            <a:r>
              <a:rPr kumimoji="0" lang="en-US" sz="3200" b="1" i="0" u="none" strike="noStrike" kern="1200" cap="none" spc="0" normalizeH="0" baseline="0" noProof="0" dirty="0">
                <a:ln>
                  <a:noFill/>
                </a:ln>
                <a:solidFill>
                  <a:srgbClr val="000000">
                    <a:lumMod val="85000"/>
                    <a:lumOff val="15000"/>
                  </a:srgbClr>
                </a:solidFill>
                <a:effectLst/>
                <a:uLnTx/>
                <a:uFillTx/>
                <a:latin typeface="等线 Light" panose="020F0302020204030204"/>
                <a:ea typeface="+mn-ea"/>
                <a:cs typeface="+mn-cs"/>
              </a:rPr>
              <a:t>TREE</a:t>
            </a:r>
          </a:p>
        </p:txBody>
      </p:sp>
    </p:spTree>
    <p:extLst>
      <p:ext uri="{BB962C8B-B14F-4D97-AF65-F5344CB8AC3E}">
        <p14:creationId xmlns:p14="http://schemas.microsoft.com/office/powerpoint/2010/main" val="2852253782"/>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78"/>
                                        </p:tgtEl>
                                        <p:attrNameLst>
                                          <p:attrName>style.visibility</p:attrName>
                                        </p:attrNameLst>
                                      </p:cBhvr>
                                      <p:to>
                                        <p:strVal val="visible"/>
                                      </p:to>
                                    </p:set>
                                    <p:animEffect transition="in" filter="wipe(left)">
                                      <p:cBhvr>
                                        <p:cTn id="7" dur="500"/>
                                        <p:tgtEl>
                                          <p:spTgt spid="78"/>
                                        </p:tgtEl>
                                      </p:cBhvr>
                                    </p:animEffect>
                                  </p:childTnLst>
                                </p:cTn>
                              </p:par>
                            </p:childTnLst>
                          </p:cTn>
                        </p:par>
                        <p:par>
                          <p:cTn id="8" fill="hold">
                            <p:stCondLst>
                              <p:cond delay="500"/>
                            </p:stCondLst>
                            <p:childTnLst>
                              <p:par>
                                <p:cTn id="9" presetID="22" presetClass="entr" presetSubtype="4" fill="hold" nodeType="afterEffect">
                                  <p:stCondLst>
                                    <p:cond delay="0"/>
                                  </p:stCondLst>
                                  <p:childTnLst>
                                    <p:set>
                                      <p:cBhvr>
                                        <p:cTn id="10" dur="1" fill="hold">
                                          <p:stCondLst>
                                            <p:cond delay="0"/>
                                          </p:stCondLst>
                                        </p:cTn>
                                        <p:tgtEl>
                                          <p:spTgt spid="17"/>
                                        </p:tgtEl>
                                        <p:attrNameLst>
                                          <p:attrName>style.visibility</p:attrName>
                                        </p:attrNameLst>
                                      </p:cBhvr>
                                      <p:to>
                                        <p:strVal val="visible"/>
                                      </p:to>
                                    </p:set>
                                    <p:animEffect transition="in" filter="wipe(down)">
                                      <p:cBhvr>
                                        <p:cTn id="11" dur="500"/>
                                        <p:tgtEl>
                                          <p:spTgt spid="17"/>
                                        </p:tgtEl>
                                      </p:cBhvr>
                                    </p:animEffect>
                                  </p:childTnLst>
                                </p:cTn>
                              </p:par>
                            </p:childTnLst>
                          </p:cTn>
                        </p:par>
                        <p:par>
                          <p:cTn id="12" fill="hold">
                            <p:stCondLst>
                              <p:cond delay="1000"/>
                            </p:stCondLst>
                            <p:childTnLst>
                              <p:par>
                                <p:cTn id="13" presetID="22" presetClass="entr" presetSubtype="2" fill="hold" nodeType="afterEffect">
                                  <p:stCondLst>
                                    <p:cond delay="0"/>
                                  </p:stCondLst>
                                  <p:childTnLst>
                                    <p:set>
                                      <p:cBhvr>
                                        <p:cTn id="14" dur="1" fill="hold">
                                          <p:stCondLst>
                                            <p:cond delay="0"/>
                                          </p:stCondLst>
                                        </p:cTn>
                                        <p:tgtEl>
                                          <p:spTgt spid="2"/>
                                        </p:tgtEl>
                                        <p:attrNameLst>
                                          <p:attrName>style.visibility</p:attrName>
                                        </p:attrNameLst>
                                      </p:cBhvr>
                                      <p:to>
                                        <p:strVal val="visible"/>
                                      </p:to>
                                    </p:set>
                                    <p:animEffect transition="in" filter="wipe(right)">
                                      <p:cBhvr>
                                        <p:cTn id="15" dur="500"/>
                                        <p:tgtEl>
                                          <p:spTgt spid="2"/>
                                        </p:tgtEl>
                                      </p:cBhvr>
                                    </p:animEffect>
                                  </p:childTnLst>
                                </p:cTn>
                              </p:par>
                            </p:childTnLst>
                          </p:cTn>
                        </p:par>
                        <p:par>
                          <p:cTn id="16" fill="hold">
                            <p:stCondLst>
                              <p:cond delay="1500"/>
                            </p:stCondLst>
                            <p:childTnLst>
                              <p:par>
                                <p:cTn id="17" presetID="22" presetClass="entr" presetSubtype="2" fill="hold" grpId="0" nodeType="afterEffect">
                                  <p:stCondLst>
                                    <p:cond delay="0"/>
                                  </p:stCondLst>
                                  <p:childTnLst>
                                    <p:set>
                                      <p:cBhvr>
                                        <p:cTn id="18" dur="1" fill="hold">
                                          <p:stCondLst>
                                            <p:cond delay="0"/>
                                          </p:stCondLst>
                                        </p:cTn>
                                        <p:tgtEl>
                                          <p:spTgt spid="4"/>
                                        </p:tgtEl>
                                        <p:attrNameLst>
                                          <p:attrName>style.visibility</p:attrName>
                                        </p:attrNameLst>
                                      </p:cBhvr>
                                      <p:to>
                                        <p:strVal val="visible"/>
                                      </p:to>
                                    </p:set>
                                    <p:animEffect transition="in" filter="wipe(right)">
                                      <p:cBhvr>
                                        <p:cTn id="19" dur="500"/>
                                        <p:tgtEl>
                                          <p:spTgt spid="4"/>
                                        </p:tgtEl>
                                      </p:cBhvr>
                                    </p:animEffect>
                                  </p:childTnLst>
                                </p:cTn>
                              </p:par>
                            </p:childTnLst>
                          </p:cTn>
                        </p:par>
                        <p:par>
                          <p:cTn id="20" fill="hold">
                            <p:stCondLst>
                              <p:cond delay="2000"/>
                            </p:stCondLst>
                            <p:childTnLst>
                              <p:par>
                                <p:cTn id="21" presetID="42" presetClass="entr" presetSubtype="0" fill="hold" grpId="0" nodeType="afterEffect">
                                  <p:stCondLst>
                                    <p:cond delay="0"/>
                                  </p:stCondLst>
                                  <p:childTnLst>
                                    <p:set>
                                      <p:cBhvr>
                                        <p:cTn id="22" dur="1" fill="hold">
                                          <p:stCondLst>
                                            <p:cond delay="0"/>
                                          </p:stCondLst>
                                        </p:cTn>
                                        <p:tgtEl>
                                          <p:spTgt spid="3"/>
                                        </p:tgtEl>
                                        <p:attrNameLst>
                                          <p:attrName>style.visibility</p:attrName>
                                        </p:attrNameLst>
                                      </p:cBhvr>
                                      <p:to>
                                        <p:strVal val="visible"/>
                                      </p:to>
                                    </p:set>
                                    <p:animEffect transition="in" filter="fade">
                                      <p:cBhvr>
                                        <p:cTn id="23" dur="500"/>
                                        <p:tgtEl>
                                          <p:spTgt spid="3"/>
                                        </p:tgtEl>
                                      </p:cBhvr>
                                    </p:animEffect>
                                    <p:anim calcmode="lin" valueType="num">
                                      <p:cBhvr>
                                        <p:cTn id="24" dur="500" fill="hold"/>
                                        <p:tgtEl>
                                          <p:spTgt spid="3"/>
                                        </p:tgtEl>
                                        <p:attrNameLst>
                                          <p:attrName>ppt_x</p:attrName>
                                        </p:attrNameLst>
                                      </p:cBhvr>
                                      <p:tavLst>
                                        <p:tav tm="0">
                                          <p:val>
                                            <p:strVal val="#ppt_x"/>
                                          </p:val>
                                        </p:tav>
                                        <p:tav tm="100000">
                                          <p:val>
                                            <p:strVal val="#ppt_x"/>
                                          </p:val>
                                        </p:tav>
                                      </p:tavLst>
                                    </p:anim>
                                    <p:anim calcmode="lin" valueType="num">
                                      <p:cBhvr>
                                        <p:cTn id="25" dur="500" fill="hold"/>
                                        <p:tgtEl>
                                          <p:spTgt spid="3"/>
                                        </p:tgtEl>
                                        <p:attrNameLst>
                                          <p:attrName>ppt_y</p:attrName>
                                        </p:attrNameLst>
                                      </p:cBhvr>
                                      <p:tavLst>
                                        <p:tav tm="0">
                                          <p:val>
                                            <p:strVal val="#ppt_y+.1"/>
                                          </p:val>
                                        </p:tav>
                                        <p:tav tm="100000">
                                          <p:val>
                                            <p:strVal val="#ppt_y"/>
                                          </p:val>
                                        </p:tav>
                                      </p:tavLst>
                                    </p:anim>
                                  </p:childTnLst>
                                </p:cTn>
                              </p:par>
                            </p:childTnLst>
                          </p:cTn>
                        </p:par>
                        <p:par>
                          <p:cTn id="26" fill="hold">
                            <p:stCondLst>
                              <p:cond delay="2500"/>
                            </p:stCondLst>
                            <p:childTnLst>
                              <p:par>
                                <p:cTn id="27" presetID="22" presetClass="entr" presetSubtype="2" fill="hold" nodeType="afterEffect">
                                  <p:stCondLst>
                                    <p:cond delay="0"/>
                                  </p:stCondLst>
                                  <p:childTnLst>
                                    <p:set>
                                      <p:cBhvr>
                                        <p:cTn id="28" dur="1" fill="hold">
                                          <p:stCondLst>
                                            <p:cond delay="0"/>
                                          </p:stCondLst>
                                        </p:cTn>
                                        <p:tgtEl>
                                          <p:spTgt spid="5"/>
                                        </p:tgtEl>
                                        <p:attrNameLst>
                                          <p:attrName>style.visibility</p:attrName>
                                        </p:attrNameLst>
                                      </p:cBhvr>
                                      <p:to>
                                        <p:strVal val="visible"/>
                                      </p:to>
                                    </p:set>
                                    <p:animEffect transition="in" filter="wipe(right)">
                                      <p:cBhvr>
                                        <p:cTn id="29" dur="500"/>
                                        <p:tgtEl>
                                          <p:spTgt spid="5"/>
                                        </p:tgtEl>
                                      </p:cBhvr>
                                    </p:animEffect>
                                  </p:childTnLst>
                                </p:cTn>
                              </p:par>
                            </p:childTnLst>
                          </p:cTn>
                        </p:par>
                        <p:par>
                          <p:cTn id="30" fill="hold">
                            <p:stCondLst>
                              <p:cond delay="3000"/>
                            </p:stCondLst>
                            <p:childTnLst>
                              <p:par>
                                <p:cTn id="31" presetID="22" presetClass="entr" presetSubtype="2" fill="hold" grpId="0" nodeType="afterEffect">
                                  <p:stCondLst>
                                    <p:cond delay="0"/>
                                  </p:stCondLst>
                                  <p:childTnLst>
                                    <p:set>
                                      <p:cBhvr>
                                        <p:cTn id="32" dur="1" fill="hold">
                                          <p:stCondLst>
                                            <p:cond delay="0"/>
                                          </p:stCondLst>
                                        </p:cTn>
                                        <p:tgtEl>
                                          <p:spTgt spid="10"/>
                                        </p:tgtEl>
                                        <p:attrNameLst>
                                          <p:attrName>style.visibility</p:attrName>
                                        </p:attrNameLst>
                                      </p:cBhvr>
                                      <p:to>
                                        <p:strVal val="visible"/>
                                      </p:to>
                                    </p:set>
                                    <p:animEffect transition="in" filter="wipe(right)">
                                      <p:cBhvr>
                                        <p:cTn id="33" dur="500"/>
                                        <p:tgtEl>
                                          <p:spTgt spid="10"/>
                                        </p:tgtEl>
                                      </p:cBhvr>
                                    </p:animEffect>
                                  </p:childTnLst>
                                </p:cTn>
                              </p:par>
                            </p:childTnLst>
                          </p:cTn>
                        </p:par>
                        <p:par>
                          <p:cTn id="34" fill="hold">
                            <p:stCondLst>
                              <p:cond delay="3500"/>
                            </p:stCondLst>
                            <p:childTnLst>
                              <p:par>
                                <p:cTn id="35" presetID="42" presetClass="entr" presetSubtype="0" fill="hold" grpId="0" nodeType="afterEffect">
                                  <p:stCondLst>
                                    <p:cond delay="0"/>
                                  </p:stCondLst>
                                  <p:childTnLst>
                                    <p:set>
                                      <p:cBhvr>
                                        <p:cTn id="36" dur="1" fill="hold">
                                          <p:stCondLst>
                                            <p:cond delay="0"/>
                                          </p:stCondLst>
                                        </p:cTn>
                                        <p:tgtEl>
                                          <p:spTgt spid="9"/>
                                        </p:tgtEl>
                                        <p:attrNameLst>
                                          <p:attrName>style.visibility</p:attrName>
                                        </p:attrNameLst>
                                      </p:cBhvr>
                                      <p:to>
                                        <p:strVal val="visible"/>
                                      </p:to>
                                    </p:set>
                                    <p:animEffect transition="in" filter="fade">
                                      <p:cBhvr>
                                        <p:cTn id="37" dur="500"/>
                                        <p:tgtEl>
                                          <p:spTgt spid="9"/>
                                        </p:tgtEl>
                                      </p:cBhvr>
                                    </p:animEffect>
                                    <p:anim calcmode="lin" valueType="num">
                                      <p:cBhvr>
                                        <p:cTn id="38" dur="500" fill="hold"/>
                                        <p:tgtEl>
                                          <p:spTgt spid="9"/>
                                        </p:tgtEl>
                                        <p:attrNameLst>
                                          <p:attrName>ppt_x</p:attrName>
                                        </p:attrNameLst>
                                      </p:cBhvr>
                                      <p:tavLst>
                                        <p:tav tm="0">
                                          <p:val>
                                            <p:strVal val="#ppt_x"/>
                                          </p:val>
                                        </p:tav>
                                        <p:tav tm="100000">
                                          <p:val>
                                            <p:strVal val="#ppt_x"/>
                                          </p:val>
                                        </p:tav>
                                      </p:tavLst>
                                    </p:anim>
                                    <p:anim calcmode="lin" valueType="num">
                                      <p:cBhvr>
                                        <p:cTn id="39" dur="500" fill="hold"/>
                                        <p:tgtEl>
                                          <p:spTgt spid="9"/>
                                        </p:tgtEl>
                                        <p:attrNameLst>
                                          <p:attrName>ppt_y</p:attrName>
                                        </p:attrNameLst>
                                      </p:cBhvr>
                                      <p:tavLst>
                                        <p:tav tm="0">
                                          <p:val>
                                            <p:strVal val="#ppt_y+.1"/>
                                          </p:val>
                                        </p:tav>
                                        <p:tav tm="100000">
                                          <p:val>
                                            <p:strVal val="#ppt_y"/>
                                          </p:val>
                                        </p:tav>
                                      </p:tavLst>
                                    </p:anim>
                                  </p:childTnLst>
                                </p:cTn>
                              </p:par>
                            </p:childTnLst>
                          </p:cTn>
                        </p:par>
                        <p:par>
                          <p:cTn id="40" fill="hold">
                            <p:stCondLst>
                              <p:cond delay="4000"/>
                            </p:stCondLst>
                            <p:childTnLst>
                              <p:par>
                                <p:cTn id="41" presetID="22" presetClass="entr" presetSubtype="8" fill="hold" nodeType="afterEffect">
                                  <p:stCondLst>
                                    <p:cond delay="0"/>
                                  </p:stCondLst>
                                  <p:childTnLst>
                                    <p:set>
                                      <p:cBhvr>
                                        <p:cTn id="42" dur="1" fill="hold">
                                          <p:stCondLst>
                                            <p:cond delay="0"/>
                                          </p:stCondLst>
                                        </p:cTn>
                                        <p:tgtEl>
                                          <p:spTgt spid="6"/>
                                        </p:tgtEl>
                                        <p:attrNameLst>
                                          <p:attrName>style.visibility</p:attrName>
                                        </p:attrNameLst>
                                      </p:cBhvr>
                                      <p:to>
                                        <p:strVal val="visible"/>
                                      </p:to>
                                    </p:set>
                                    <p:animEffect transition="in" filter="wipe(left)">
                                      <p:cBhvr>
                                        <p:cTn id="43" dur="500"/>
                                        <p:tgtEl>
                                          <p:spTgt spid="6"/>
                                        </p:tgtEl>
                                      </p:cBhvr>
                                    </p:animEffect>
                                  </p:childTnLst>
                                </p:cTn>
                              </p:par>
                            </p:childTnLst>
                          </p:cTn>
                        </p:par>
                        <p:par>
                          <p:cTn id="44" fill="hold">
                            <p:stCondLst>
                              <p:cond delay="4500"/>
                            </p:stCondLst>
                            <p:childTnLst>
                              <p:par>
                                <p:cTn id="45" presetID="22" presetClass="entr" presetSubtype="8" fill="hold" grpId="0" nodeType="afterEffect">
                                  <p:stCondLst>
                                    <p:cond delay="0"/>
                                  </p:stCondLst>
                                  <p:childTnLst>
                                    <p:set>
                                      <p:cBhvr>
                                        <p:cTn id="46" dur="1" fill="hold">
                                          <p:stCondLst>
                                            <p:cond delay="0"/>
                                          </p:stCondLst>
                                        </p:cTn>
                                        <p:tgtEl>
                                          <p:spTgt spid="12"/>
                                        </p:tgtEl>
                                        <p:attrNameLst>
                                          <p:attrName>style.visibility</p:attrName>
                                        </p:attrNameLst>
                                      </p:cBhvr>
                                      <p:to>
                                        <p:strVal val="visible"/>
                                      </p:to>
                                    </p:set>
                                    <p:animEffect transition="in" filter="wipe(left)">
                                      <p:cBhvr>
                                        <p:cTn id="47" dur="500"/>
                                        <p:tgtEl>
                                          <p:spTgt spid="12"/>
                                        </p:tgtEl>
                                      </p:cBhvr>
                                    </p:animEffect>
                                  </p:childTnLst>
                                </p:cTn>
                              </p:par>
                            </p:childTnLst>
                          </p:cTn>
                        </p:par>
                        <p:par>
                          <p:cTn id="48" fill="hold">
                            <p:stCondLst>
                              <p:cond delay="5000"/>
                            </p:stCondLst>
                            <p:childTnLst>
                              <p:par>
                                <p:cTn id="49" presetID="42" presetClass="entr" presetSubtype="0" fill="hold" grpId="0" nodeType="afterEffect">
                                  <p:stCondLst>
                                    <p:cond delay="0"/>
                                  </p:stCondLst>
                                  <p:childTnLst>
                                    <p:set>
                                      <p:cBhvr>
                                        <p:cTn id="50" dur="1" fill="hold">
                                          <p:stCondLst>
                                            <p:cond delay="0"/>
                                          </p:stCondLst>
                                        </p:cTn>
                                        <p:tgtEl>
                                          <p:spTgt spid="11"/>
                                        </p:tgtEl>
                                        <p:attrNameLst>
                                          <p:attrName>style.visibility</p:attrName>
                                        </p:attrNameLst>
                                      </p:cBhvr>
                                      <p:to>
                                        <p:strVal val="visible"/>
                                      </p:to>
                                    </p:set>
                                    <p:animEffect transition="in" filter="fade">
                                      <p:cBhvr>
                                        <p:cTn id="51" dur="500"/>
                                        <p:tgtEl>
                                          <p:spTgt spid="11"/>
                                        </p:tgtEl>
                                      </p:cBhvr>
                                    </p:animEffect>
                                    <p:anim calcmode="lin" valueType="num">
                                      <p:cBhvr>
                                        <p:cTn id="52" dur="500" fill="hold"/>
                                        <p:tgtEl>
                                          <p:spTgt spid="11"/>
                                        </p:tgtEl>
                                        <p:attrNameLst>
                                          <p:attrName>ppt_x</p:attrName>
                                        </p:attrNameLst>
                                      </p:cBhvr>
                                      <p:tavLst>
                                        <p:tav tm="0">
                                          <p:val>
                                            <p:strVal val="#ppt_x"/>
                                          </p:val>
                                        </p:tav>
                                        <p:tav tm="100000">
                                          <p:val>
                                            <p:strVal val="#ppt_x"/>
                                          </p:val>
                                        </p:tav>
                                      </p:tavLst>
                                    </p:anim>
                                    <p:anim calcmode="lin" valueType="num">
                                      <p:cBhvr>
                                        <p:cTn id="53" dur="500" fill="hold"/>
                                        <p:tgtEl>
                                          <p:spTgt spid="11"/>
                                        </p:tgtEl>
                                        <p:attrNameLst>
                                          <p:attrName>ppt_y</p:attrName>
                                        </p:attrNameLst>
                                      </p:cBhvr>
                                      <p:tavLst>
                                        <p:tav tm="0">
                                          <p:val>
                                            <p:strVal val="#ppt_y+.1"/>
                                          </p:val>
                                        </p:tav>
                                        <p:tav tm="100000">
                                          <p:val>
                                            <p:strVal val="#ppt_y"/>
                                          </p:val>
                                        </p:tav>
                                      </p:tavLst>
                                    </p:anim>
                                  </p:childTnLst>
                                </p:cTn>
                              </p:par>
                            </p:childTnLst>
                          </p:cTn>
                        </p:par>
                        <p:par>
                          <p:cTn id="54" fill="hold">
                            <p:stCondLst>
                              <p:cond delay="5500"/>
                            </p:stCondLst>
                            <p:childTnLst>
                              <p:par>
                                <p:cTn id="55" presetID="22" presetClass="entr" presetSubtype="8" fill="hold" nodeType="afterEffect">
                                  <p:stCondLst>
                                    <p:cond delay="0"/>
                                  </p:stCondLst>
                                  <p:childTnLst>
                                    <p:set>
                                      <p:cBhvr>
                                        <p:cTn id="56" dur="1" fill="hold">
                                          <p:stCondLst>
                                            <p:cond delay="0"/>
                                          </p:stCondLst>
                                        </p:cTn>
                                        <p:tgtEl>
                                          <p:spTgt spid="7"/>
                                        </p:tgtEl>
                                        <p:attrNameLst>
                                          <p:attrName>style.visibility</p:attrName>
                                        </p:attrNameLst>
                                      </p:cBhvr>
                                      <p:to>
                                        <p:strVal val="visible"/>
                                      </p:to>
                                    </p:set>
                                    <p:animEffect transition="in" filter="wipe(left)">
                                      <p:cBhvr>
                                        <p:cTn id="57" dur="500"/>
                                        <p:tgtEl>
                                          <p:spTgt spid="7"/>
                                        </p:tgtEl>
                                      </p:cBhvr>
                                    </p:animEffect>
                                  </p:childTnLst>
                                </p:cTn>
                              </p:par>
                            </p:childTnLst>
                          </p:cTn>
                        </p:par>
                        <p:par>
                          <p:cTn id="58" fill="hold">
                            <p:stCondLst>
                              <p:cond delay="6000"/>
                            </p:stCondLst>
                            <p:childTnLst>
                              <p:par>
                                <p:cTn id="59" presetID="22" presetClass="entr" presetSubtype="8" fill="hold" grpId="0" nodeType="afterEffect">
                                  <p:stCondLst>
                                    <p:cond delay="0"/>
                                  </p:stCondLst>
                                  <p:childTnLst>
                                    <p:set>
                                      <p:cBhvr>
                                        <p:cTn id="60" dur="1" fill="hold">
                                          <p:stCondLst>
                                            <p:cond delay="0"/>
                                          </p:stCondLst>
                                        </p:cTn>
                                        <p:tgtEl>
                                          <p:spTgt spid="14"/>
                                        </p:tgtEl>
                                        <p:attrNameLst>
                                          <p:attrName>style.visibility</p:attrName>
                                        </p:attrNameLst>
                                      </p:cBhvr>
                                      <p:to>
                                        <p:strVal val="visible"/>
                                      </p:to>
                                    </p:set>
                                    <p:animEffect transition="in" filter="wipe(left)">
                                      <p:cBhvr>
                                        <p:cTn id="61" dur="500"/>
                                        <p:tgtEl>
                                          <p:spTgt spid="14"/>
                                        </p:tgtEl>
                                      </p:cBhvr>
                                    </p:animEffect>
                                  </p:childTnLst>
                                </p:cTn>
                              </p:par>
                            </p:childTnLst>
                          </p:cTn>
                        </p:par>
                        <p:par>
                          <p:cTn id="62" fill="hold">
                            <p:stCondLst>
                              <p:cond delay="6500"/>
                            </p:stCondLst>
                            <p:childTnLst>
                              <p:par>
                                <p:cTn id="63" presetID="42" presetClass="entr" presetSubtype="0" fill="hold" grpId="0" nodeType="afterEffect">
                                  <p:stCondLst>
                                    <p:cond delay="0"/>
                                  </p:stCondLst>
                                  <p:childTnLst>
                                    <p:set>
                                      <p:cBhvr>
                                        <p:cTn id="64" dur="1" fill="hold">
                                          <p:stCondLst>
                                            <p:cond delay="0"/>
                                          </p:stCondLst>
                                        </p:cTn>
                                        <p:tgtEl>
                                          <p:spTgt spid="13"/>
                                        </p:tgtEl>
                                        <p:attrNameLst>
                                          <p:attrName>style.visibility</p:attrName>
                                        </p:attrNameLst>
                                      </p:cBhvr>
                                      <p:to>
                                        <p:strVal val="visible"/>
                                      </p:to>
                                    </p:set>
                                    <p:animEffect transition="in" filter="fade">
                                      <p:cBhvr>
                                        <p:cTn id="65" dur="500"/>
                                        <p:tgtEl>
                                          <p:spTgt spid="13"/>
                                        </p:tgtEl>
                                      </p:cBhvr>
                                    </p:animEffect>
                                    <p:anim calcmode="lin" valueType="num">
                                      <p:cBhvr>
                                        <p:cTn id="66" dur="500" fill="hold"/>
                                        <p:tgtEl>
                                          <p:spTgt spid="13"/>
                                        </p:tgtEl>
                                        <p:attrNameLst>
                                          <p:attrName>ppt_x</p:attrName>
                                        </p:attrNameLst>
                                      </p:cBhvr>
                                      <p:tavLst>
                                        <p:tav tm="0">
                                          <p:val>
                                            <p:strVal val="#ppt_x"/>
                                          </p:val>
                                        </p:tav>
                                        <p:tav tm="100000">
                                          <p:val>
                                            <p:strVal val="#ppt_x"/>
                                          </p:val>
                                        </p:tav>
                                      </p:tavLst>
                                    </p:anim>
                                    <p:anim calcmode="lin" valueType="num">
                                      <p:cBhvr>
                                        <p:cTn id="67" dur="500" fill="hold"/>
                                        <p:tgtEl>
                                          <p:spTgt spid="13"/>
                                        </p:tgtEl>
                                        <p:attrNameLst>
                                          <p:attrName>ppt_y</p:attrName>
                                        </p:attrNameLst>
                                      </p:cBhvr>
                                      <p:tavLst>
                                        <p:tav tm="0">
                                          <p:val>
                                            <p:strVal val="#ppt_y+.1"/>
                                          </p:val>
                                        </p:tav>
                                        <p:tav tm="100000">
                                          <p:val>
                                            <p:strVal val="#ppt_y"/>
                                          </p:val>
                                        </p:tav>
                                      </p:tavLst>
                                    </p:anim>
                                  </p:childTnLst>
                                </p:cTn>
                              </p:par>
                            </p:childTnLst>
                          </p:cTn>
                        </p:par>
                        <p:par>
                          <p:cTn id="68" fill="hold">
                            <p:stCondLst>
                              <p:cond delay="7000"/>
                            </p:stCondLst>
                            <p:childTnLst>
                              <p:par>
                                <p:cTn id="69" presetID="22" presetClass="entr" presetSubtype="8" fill="hold" nodeType="afterEffect">
                                  <p:stCondLst>
                                    <p:cond delay="0"/>
                                  </p:stCondLst>
                                  <p:childTnLst>
                                    <p:set>
                                      <p:cBhvr>
                                        <p:cTn id="70" dur="1" fill="hold">
                                          <p:stCondLst>
                                            <p:cond delay="0"/>
                                          </p:stCondLst>
                                        </p:cTn>
                                        <p:tgtEl>
                                          <p:spTgt spid="8"/>
                                        </p:tgtEl>
                                        <p:attrNameLst>
                                          <p:attrName>style.visibility</p:attrName>
                                        </p:attrNameLst>
                                      </p:cBhvr>
                                      <p:to>
                                        <p:strVal val="visible"/>
                                      </p:to>
                                    </p:set>
                                    <p:animEffect transition="in" filter="wipe(left)">
                                      <p:cBhvr>
                                        <p:cTn id="71" dur="500"/>
                                        <p:tgtEl>
                                          <p:spTgt spid="8"/>
                                        </p:tgtEl>
                                      </p:cBhvr>
                                    </p:animEffect>
                                  </p:childTnLst>
                                </p:cTn>
                              </p:par>
                            </p:childTnLst>
                          </p:cTn>
                        </p:par>
                        <p:par>
                          <p:cTn id="72" fill="hold">
                            <p:stCondLst>
                              <p:cond delay="7500"/>
                            </p:stCondLst>
                            <p:childTnLst>
                              <p:par>
                                <p:cTn id="73" presetID="22" presetClass="entr" presetSubtype="8" fill="hold" grpId="0" nodeType="afterEffect">
                                  <p:stCondLst>
                                    <p:cond delay="0"/>
                                  </p:stCondLst>
                                  <p:childTnLst>
                                    <p:set>
                                      <p:cBhvr>
                                        <p:cTn id="74" dur="1" fill="hold">
                                          <p:stCondLst>
                                            <p:cond delay="0"/>
                                          </p:stCondLst>
                                        </p:cTn>
                                        <p:tgtEl>
                                          <p:spTgt spid="16"/>
                                        </p:tgtEl>
                                        <p:attrNameLst>
                                          <p:attrName>style.visibility</p:attrName>
                                        </p:attrNameLst>
                                      </p:cBhvr>
                                      <p:to>
                                        <p:strVal val="visible"/>
                                      </p:to>
                                    </p:set>
                                    <p:animEffect transition="in" filter="wipe(left)">
                                      <p:cBhvr>
                                        <p:cTn id="75" dur="500"/>
                                        <p:tgtEl>
                                          <p:spTgt spid="16"/>
                                        </p:tgtEl>
                                      </p:cBhvr>
                                    </p:animEffect>
                                  </p:childTnLst>
                                </p:cTn>
                              </p:par>
                            </p:childTnLst>
                          </p:cTn>
                        </p:par>
                        <p:par>
                          <p:cTn id="76" fill="hold">
                            <p:stCondLst>
                              <p:cond delay="8000"/>
                            </p:stCondLst>
                            <p:childTnLst>
                              <p:par>
                                <p:cTn id="77" presetID="42" presetClass="entr" presetSubtype="0" fill="hold" grpId="0" nodeType="afterEffect">
                                  <p:stCondLst>
                                    <p:cond delay="0"/>
                                  </p:stCondLst>
                                  <p:childTnLst>
                                    <p:set>
                                      <p:cBhvr>
                                        <p:cTn id="78" dur="1" fill="hold">
                                          <p:stCondLst>
                                            <p:cond delay="0"/>
                                          </p:stCondLst>
                                        </p:cTn>
                                        <p:tgtEl>
                                          <p:spTgt spid="15"/>
                                        </p:tgtEl>
                                        <p:attrNameLst>
                                          <p:attrName>style.visibility</p:attrName>
                                        </p:attrNameLst>
                                      </p:cBhvr>
                                      <p:to>
                                        <p:strVal val="visible"/>
                                      </p:to>
                                    </p:set>
                                    <p:animEffect transition="in" filter="fade">
                                      <p:cBhvr>
                                        <p:cTn id="79" dur="500"/>
                                        <p:tgtEl>
                                          <p:spTgt spid="15"/>
                                        </p:tgtEl>
                                      </p:cBhvr>
                                    </p:animEffect>
                                    <p:anim calcmode="lin" valueType="num">
                                      <p:cBhvr>
                                        <p:cTn id="80" dur="500" fill="hold"/>
                                        <p:tgtEl>
                                          <p:spTgt spid="15"/>
                                        </p:tgtEl>
                                        <p:attrNameLst>
                                          <p:attrName>ppt_x</p:attrName>
                                        </p:attrNameLst>
                                      </p:cBhvr>
                                      <p:tavLst>
                                        <p:tav tm="0">
                                          <p:val>
                                            <p:strVal val="#ppt_x"/>
                                          </p:val>
                                        </p:tav>
                                        <p:tav tm="100000">
                                          <p:val>
                                            <p:strVal val="#ppt_x"/>
                                          </p:val>
                                        </p:tav>
                                      </p:tavLst>
                                    </p:anim>
                                    <p:anim calcmode="lin" valueType="num">
                                      <p:cBhvr>
                                        <p:cTn id="81" dur="500" fill="hold"/>
                                        <p:tgtEl>
                                          <p:spTgt spid="1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4" grpId="0"/>
      <p:bldP spid="9" grpId="0"/>
      <p:bldP spid="10" grpId="0"/>
      <p:bldP spid="11" grpId="0"/>
      <p:bldP spid="12" grpId="0"/>
      <p:bldP spid="13" grpId="0"/>
      <p:bldP spid="14" grpId="0"/>
      <p:bldP spid="15" grpId="0"/>
      <p:bldP spid="16" grpId="0"/>
      <p:bldP spid="78" grpId="0"/>
    </p:bldLst>
  </p:timing>
</p:sld>
</file>

<file path=ppt/slides/slide5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6">
            <a:extLst>
              <a:ext uri="{FF2B5EF4-FFF2-40B4-BE49-F238E27FC236}">
                <a16:creationId xmlns:a16="http://schemas.microsoft.com/office/drawing/2014/main" id="{6169B81E-CDA7-475D-8DCD-0C7DF7A135C8}"/>
              </a:ext>
            </a:extLst>
          </p:cNvPr>
          <p:cNvGrpSpPr/>
          <p:nvPr/>
        </p:nvGrpSpPr>
        <p:grpSpPr>
          <a:xfrm>
            <a:off x="4289873" y="3748459"/>
            <a:ext cx="1886233" cy="1922547"/>
            <a:chOff x="4289873" y="3748459"/>
            <a:chExt cx="1886233" cy="1922547"/>
          </a:xfrm>
        </p:grpSpPr>
        <p:sp>
          <p:nvSpPr>
            <p:cNvPr id="3" name="Freeform: Shape 3">
              <a:extLst>
                <a:ext uri="{FF2B5EF4-FFF2-40B4-BE49-F238E27FC236}">
                  <a16:creationId xmlns:a16="http://schemas.microsoft.com/office/drawing/2014/main" id="{7086602C-1082-4099-BC62-1024E7E31042}"/>
                </a:ext>
              </a:extLst>
            </p:cNvPr>
            <p:cNvSpPr/>
            <p:nvPr/>
          </p:nvSpPr>
          <p:spPr>
            <a:xfrm>
              <a:off x="5422040" y="4629627"/>
              <a:ext cx="754066" cy="1041379"/>
            </a:xfrm>
            <a:custGeom>
              <a:avLst/>
              <a:gdLst>
                <a:gd name="connsiteX0" fmla="*/ 672465 w 672465"/>
                <a:gd name="connsiteY0" fmla="*/ 442913 h 928687"/>
                <a:gd name="connsiteX1" fmla="*/ 672465 w 672465"/>
                <a:gd name="connsiteY1" fmla="*/ 815340 h 928687"/>
                <a:gd name="connsiteX2" fmla="*/ 625793 w 672465"/>
                <a:gd name="connsiteY2" fmla="*/ 839152 h 928687"/>
                <a:gd name="connsiteX3" fmla="*/ 535305 w 672465"/>
                <a:gd name="connsiteY3" fmla="*/ 928688 h 928687"/>
                <a:gd name="connsiteX4" fmla="*/ 535305 w 672465"/>
                <a:gd name="connsiteY4" fmla="*/ 441960 h 928687"/>
                <a:gd name="connsiteX5" fmla="*/ 500063 w 672465"/>
                <a:gd name="connsiteY5" fmla="*/ 369570 h 928687"/>
                <a:gd name="connsiteX6" fmla="*/ 0 w 672465"/>
                <a:gd name="connsiteY6" fmla="*/ 115252 h 928687"/>
                <a:gd name="connsiteX7" fmla="*/ 75248 w 672465"/>
                <a:gd name="connsiteY7" fmla="*/ 0 h 928687"/>
                <a:gd name="connsiteX8" fmla="*/ 562928 w 672465"/>
                <a:gd name="connsiteY8" fmla="*/ 248602 h 928687"/>
                <a:gd name="connsiteX9" fmla="*/ 672465 w 672465"/>
                <a:gd name="connsiteY9" fmla="*/ 442913 h 9286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72465" h="928687">
                  <a:moveTo>
                    <a:pt x="672465" y="442913"/>
                  </a:moveTo>
                  <a:lnTo>
                    <a:pt x="672465" y="815340"/>
                  </a:lnTo>
                  <a:lnTo>
                    <a:pt x="625793" y="839152"/>
                  </a:lnTo>
                  <a:cubicBezTo>
                    <a:pt x="589597" y="858202"/>
                    <a:pt x="558165" y="890588"/>
                    <a:pt x="535305" y="928688"/>
                  </a:cubicBezTo>
                  <a:lnTo>
                    <a:pt x="535305" y="441960"/>
                  </a:lnTo>
                  <a:cubicBezTo>
                    <a:pt x="535305" y="421005"/>
                    <a:pt x="517208" y="380047"/>
                    <a:pt x="500063" y="369570"/>
                  </a:cubicBezTo>
                  <a:lnTo>
                    <a:pt x="0" y="115252"/>
                  </a:lnTo>
                  <a:cubicBezTo>
                    <a:pt x="34290" y="83820"/>
                    <a:pt x="60008" y="44767"/>
                    <a:pt x="75248" y="0"/>
                  </a:cubicBezTo>
                  <a:lnTo>
                    <a:pt x="562928" y="248602"/>
                  </a:lnTo>
                  <a:cubicBezTo>
                    <a:pt x="622935" y="280035"/>
                    <a:pt x="672465" y="366713"/>
                    <a:pt x="672465" y="442913"/>
                  </a:cubicBezTo>
                  <a:close/>
                </a:path>
              </a:pathLst>
            </a:custGeom>
            <a:solidFill>
              <a:schemeClr val="accent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4" name="Freeform: Shape 9">
              <a:extLst>
                <a:ext uri="{FF2B5EF4-FFF2-40B4-BE49-F238E27FC236}">
                  <a16:creationId xmlns:a16="http://schemas.microsoft.com/office/drawing/2014/main" id="{EA917E9B-4653-46C5-9FFE-263D1D67971F}"/>
                </a:ext>
              </a:extLst>
            </p:cNvPr>
            <p:cNvSpPr/>
            <p:nvPr/>
          </p:nvSpPr>
          <p:spPr>
            <a:xfrm>
              <a:off x="4289873" y="3748459"/>
              <a:ext cx="1185571" cy="1045651"/>
            </a:xfrm>
            <a:custGeom>
              <a:avLst/>
              <a:gdLst>
                <a:gd name="connsiteX0" fmla="*/ 823913 w 1057275"/>
                <a:gd name="connsiteY0" fmla="*/ 932498 h 932497"/>
                <a:gd name="connsiteX1" fmla="*/ 379095 w 1057275"/>
                <a:gd name="connsiteY1" fmla="*/ 932498 h 932497"/>
                <a:gd name="connsiteX2" fmla="*/ 0 w 1057275"/>
                <a:gd name="connsiteY2" fmla="*/ 465773 h 932497"/>
                <a:gd name="connsiteX3" fmla="*/ 0 w 1057275"/>
                <a:gd name="connsiteY3" fmla="*/ 0 h 932497"/>
                <a:gd name="connsiteX4" fmla="*/ 702945 w 1057275"/>
                <a:gd name="connsiteY4" fmla="*/ 953 h 932497"/>
                <a:gd name="connsiteX5" fmla="*/ 1057275 w 1057275"/>
                <a:gd name="connsiteY5" fmla="*/ 465773 h 932497"/>
                <a:gd name="connsiteX6" fmla="*/ 1057275 w 1057275"/>
                <a:gd name="connsiteY6" fmla="*/ 698183 h 932497"/>
                <a:gd name="connsiteX7" fmla="*/ 823913 w 1057275"/>
                <a:gd name="connsiteY7" fmla="*/ 932498 h 9324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7275" h="932497">
                  <a:moveTo>
                    <a:pt x="823913" y="932498"/>
                  </a:moveTo>
                  <a:lnTo>
                    <a:pt x="379095" y="932498"/>
                  </a:lnTo>
                  <a:cubicBezTo>
                    <a:pt x="170498" y="932498"/>
                    <a:pt x="0" y="721995"/>
                    <a:pt x="0" y="465773"/>
                  </a:cubicBezTo>
                  <a:lnTo>
                    <a:pt x="0" y="0"/>
                  </a:lnTo>
                  <a:lnTo>
                    <a:pt x="702945" y="953"/>
                  </a:lnTo>
                  <a:cubicBezTo>
                    <a:pt x="901065" y="17145"/>
                    <a:pt x="1057275" y="221933"/>
                    <a:pt x="1057275" y="465773"/>
                  </a:cubicBezTo>
                  <a:lnTo>
                    <a:pt x="1057275" y="698183"/>
                  </a:lnTo>
                  <a:cubicBezTo>
                    <a:pt x="1057275" y="826770"/>
                    <a:pt x="952500" y="932498"/>
                    <a:pt x="823913" y="932498"/>
                  </a:cubicBezTo>
                  <a:close/>
                </a:path>
              </a:pathLst>
            </a:custGeom>
            <a:solidFill>
              <a:schemeClr val="accent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grpSp>
        <p:nvGrpSpPr>
          <p:cNvPr id="5" name="Group 17">
            <a:extLst>
              <a:ext uri="{FF2B5EF4-FFF2-40B4-BE49-F238E27FC236}">
                <a16:creationId xmlns:a16="http://schemas.microsoft.com/office/drawing/2014/main" id="{AAA39432-E4EB-4B72-9267-D375124C4720}"/>
              </a:ext>
            </a:extLst>
          </p:cNvPr>
          <p:cNvGrpSpPr/>
          <p:nvPr/>
        </p:nvGrpSpPr>
        <p:grpSpPr>
          <a:xfrm>
            <a:off x="6022301" y="3171695"/>
            <a:ext cx="1887301" cy="1795445"/>
            <a:chOff x="6022301" y="3171695"/>
            <a:chExt cx="1887301" cy="1795445"/>
          </a:xfrm>
        </p:grpSpPr>
        <p:sp>
          <p:nvSpPr>
            <p:cNvPr id="6" name="Freeform: Shape 4">
              <a:extLst>
                <a:ext uri="{FF2B5EF4-FFF2-40B4-BE49-F238E27FC236}">
                  <a16:creationId xmlns:a16="http://schemas.microsoft.com/office/drawing/2014/main" id="{246B6D32-57EB-4AC2-A229-7590B46097A5}"/>
                </a:ext>
              </a:extLst>
            </p:cNvPr>
            <p:cNvSpPr/>
            <p:nvPr/>
          </p:nvSpPr>
          <p:spPr>
            <a:xfrm>
              <a:off x="6022301" y="4050727"/>
              <a:ext cx="755133" cy="916413"/>
            </a:xfrm>
            <a:custGeom>
              <a:avLst/>
              <a:gdLst>
                <a:gd name="connsiteX0" fmla="*/ 673418 w 673417"/>
                <a:gd name="connsiteY0" fmla="*/ 116205 h 817244"/>
                <a:gd name="connsiteX1" fmla="*/ 172403 w 673417"/>
                <a:gd name="connsiteY1" fmla="*/ 371475 h 817244"/>
                <a:gd name="connsiteX2" fmla="*/ 137160 w 673417"/>
                <a:gd name="connsiteY2" fmla="*/ 443865 h 817244"/>
                <a:gd name="connsiteX3" fmla="*/ 137160 w 673417"/>
                <a:gd name="connsiteY3" fmla="*/ 817245 h 817244"/>
                <a:gd name="connsiteX4" fmla="*/ 46673 w 673417"/>
                <a:gd name="connsiteY4" fmla="*/ 727710 h 817244"/>
                <a:gd name="connsiteX5" fmla="*/ 0 w 673417"/>
                <a:gd name="connsiteY5" fmla="*/ 703897 h 817244"/>
                <a:gd name="connsiteX6" fmla="*/ 0 w 673417"/>
                <a:gd name="connsiteY6" fmla="*/ 443865 h 817244"/>
                <a:gd name="connsiteX7" fmla="*/ 109538 w 673417"/>
                <a:gd name="connsiteY7" fmla="*/ 249555 h 817244"/>
                <a:gd name="connsiteX8" fmla="*/ 597218 w 673417"/>
                <a:gd name="connsiteY8" fmla="*/ 0 h 817244"/>
                <a:gd name="connsiteX9" fmla="*/ 673418 w 673417"/>
                <a:gd name="connsiteY9" fmla="*/ 116205 h 8172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73417" h="817244">
                  <a:moveTo>
                    <a:pt x="673418" y="116205"/>
                  </a:moveTo>
                  <a:lnTo>
                    <a:pt x="172403" y="371475"/>
                  </a:lnTo>
                  <a:cubicBezTo>
                    <a:pt x="155258" y="381953"/>
                    <a:pt x="137160" y="422910"/>
                    <a:pt x="137160" y="443865"/>
                  </a:cubicBezTo>
                  <a:lnTo>
                    <a:pt x="137160" y="817245"/>
                  </a:lnTo>
                  <a:cubicBezTo>
                    <a:pt x="114300" y="779145"/>
                    <a:pt x="82867" y="745807"/>
                    <a:pt x="46673" y="727710"/>
                  </a:cubicBezTo>
                  <a:lnTo>
                    <a:pt x="0" y="703897"/>
                  </a:lnTo>
                  <a:lnTo>
                    <a:pt x="0" y="443865"/>
                  </a:lnTo>
                  <a:cubicBezTo>
                    <a:pt x="0" y="367665"/>
                    <a:pt x="49530" y="280035"/>
                    <a:pt x="109538" y="249555"/>
                  </a:cubicBezTo>
                  <a:lnTo>
                    <a:pt x="597218" y="0"/>
                  </a:lnTo>
                  <a:cubicBezTo>
                    <a:pt x="612458" y="45720"/>
                    <a:pt x="639128" y="84772"/>
                    <a:pt x="673418" y="116205"/>
                  </a:cubicBezTo>
                  <a:close/>
                </a:path>
              </a:pathLst>
            </a:custGeom>
            <a:solidFill>
              <a:schemeClr val="accent4"/>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7" name="Freeform: Shape 10">
              <a:extLst>
                <a:ext uri="{FF2B5EF4-FFF2-40B4-BE49-F238E27FC236}">
                  <a16:creationId xmlns:a16="http://schemas.microsoft.com/office/drawing/2014/main" id="{3DABF448-C377-435F-AD0D-98FE5BE24FB8}"/>
                </a:ext>
              </a:extLst>
            </p:cNvPr>
            <p:cNvSpPr/>
            <p:nvPr/>
          </p:nvSpPr>
          <p:spPr>
            <a:xfrm>
              <a:off x="6724031" y="3171695"/>
              <a:ext cx="1185571" cy="1044584"/>
            </a:xfrm>
            <a:custGeom>
              <a:avLst/>
              <a:gdLst>
                <a:gd name="connsiteX0" fmla="*/ 233363 w 1057275"/>
                <a:gd name="connsiteY0" fmla="*/ 931545 h 931545"/>
                <a:gd name="connsiteX1" fmla="*/ 678180 w 1057275"/>
                <a:gd name="connsiteY1" fmla="*/ 931545 h 931545"/>
                <a:gd name="connsiteX2" fmla="*/ 1057275 w 1057275"/>
                <a:gd name="connsiteY2" fmla="*/ 465773 h 931545"/>
                <a:gd name="connsiteX3" fmla="*/ 1057275 w 1057275"/>
                <a:gd name="connsiteY3" fmla="*/ 0 h 931545"/>
                <a:gd name="connsiteX4" fmla="*/ 354330 w 1057275"/>
                <a:gd name="connsiteY4" fmla="*/ 953 h 931545"/>
                <a:gd name="connsiteX5" fmla="*/ 0 w 1057275"/>
                <a:gd name="connsiteY5" fmla="*/ 465773 h 931545"/>
                <a:gd name="connsiteX6" fmla="*/ 0 w 1057275"/>
                <a:gd name="connsiteY6" fmla="*/ 698183 h 931545"/>
                <a:gd name="connsiteX7" fmla="*/ 233363 w 1057275"/>
                <a:gd name="connsiteY7" fmla="*/ 931545 h 931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7275" h="931545">
                  <a:moveTo>
                    <a:pt x="233363" y="931545"/>
                  </a:moveTo>
                  <a:lnTo>
                    <a:pt x="678180" y="931545"/>
                  </a:lnTo>
                  <a:cubicBezTo>
                    <a:pt x="886778" y="931545"/>
                    <a:pt x="1057275" y="721995"/>
                    <a:pt x="1057275" y="465773"/>
                  </a:cubicBezTo>
                  <a:lnTo>
                    <a:pt x="1057275" y="0"/>
                  </a:lnTo>
                  <a:lnTo>
                    <a:pt x="354330" y="953"/>
                  </a:lnTo>
                  <a:cubicBezTo>
                    <a:pt x="156210" y="17145"/>
                    <a:pt x="0" y="221933"/>
                    <a:pt x="0" y="465773"/>
                  </a:cubicBezTo>
                  <a:lnTo>
                    <a:pt x="0" y="698183"/>
                  </a:lnTo>
                  <a:cubicBezTo>
                    <a:pt x="0" y="825818"/>
                    <a:pt x="104775" y="931545"/>
                    <a:pt x="233363" y="931545"/>
                  </a:cubicBezTo>
                  <a:close/>
                </a:path>
              </a:pathLst>
            </a:custGeom>
            <a:solidFill>
              <a:schemeClr val="accent4"/>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grpSp>
        <p:nvGrpSpPr>
          <p:cNvPr id="8" name="Group 2">
            <a:extLst>
              <a:ext uri="{FF2B5EF4-FFF2-40B4-BE49-F238E27FC236}">
                <a16:creationId xmlns:a16="http://schemas.microsoft.com/office/drawing/2014/main" id="{56178494-BBB2-4B6B-B1E3-D04B8836F5D8}"/>
              </a:ext>
            </a:extLst>
          </p:cNvPr>
          <p:cNvGrpSpPr/>
          <p:nvPr/>
        </p:nvGrpSpPr>
        <p:grpSpPr>
          <a:xfrm>
            <a:off x="4289873" y="5031225"/>
            <a:ext cx="1886233" cy="2087829"/>
            <a:chOff x="4289873" y="5031225"/>
            <a:chExt cx="1886233" cy="2087829"/>
          </a:xfrm>
        </p:grpSpPr>
        <p:sp>
          <p:nvSpPr>
            <p:cNvPr id="9" name="Freeform: Shape 5">
              <a:extLst>
                <a:ext uri="{FF2B5EF4-FFF2-40B4-BE49-F238E27FC236}">
                  <a16:creationId xmlns:a16="http://schemas.microsoft.com/office/drawing/2014/main" id="{8113D766-2A06-4538-8085-315A305ACF5B}"/>
                </a:ext>
              </a:extLst>
            </p:cNvPr>
            <p:cNvSpPr/>
            <p:nvPr/>
          </p:nvSpPr>
          <p:spPr>
            <a:xfrm>
              <a:off x="5422040" y="5911325"/>
              <a:ext cx="754066" cy="1207729"/>
            </a:xfrm>
            <a:custGeom>
              <a:avLst/>
              <a:gdLst>
                <a:gd name="connsiteX0" fmla="*/ 672465 w 672465"/>
                <a:gd name="connsiteY0" fmla="*/ 443865 h 1077036"/>
                <a:gd name="connsiteX1" fmla="*/ 672465 w 672465"/>
                <a:gd name="connsiteY1" fmla="*/ 983932 h 1077036"/>
                <a:gd name="connsiteX2" fmla="*/ 562928 w 672465"/>
                <a:gd name="connsiteY2" fmla="*/ 1065848 h 1077036"/>
                <a:gd name="connsiteX3" fmla="*/ 535305 w 672465"/>
                <a:gd name="connsiteY3" fmla="*/ 1051560 h 1077036"/>
                <a:gd name="connsiteX4" fmla="*/ 535305 w 672465"/>
                <a:gd name="connsiteY4" fmla="*/ 442913 h 1077036"/>
                <a:gd name="connsiteX5" fmla="*/ 500063 w 672465"/>
                <a:gd name="connsiteY5" fmla="*/ 370522 h 1077036"/>
                <a:gd name="connsiteX6" fmla="*/ 0 w 672465"/>
                <a:gd name="connsiteY6" fmla="*/ 115252 h 1077036"/>
                <a:gd name="connsiteX7" fmla="*/ 75248 w 672465"/>
                <a:gd name="connsiteY7" fmla="*/ 0 h 1077036"/>
                <a:gd name="connsiteX8" fmla="*/ 562928 w 672465"/>
                <a:gd name="connsiteY8" fmla="*/ 248602 h 1077036"/>
                <a:gd name="connsiteX9" fmla="*/ 672465 w 672465"/>
                <a:gd name="connsiteY9" fmla="*/ 443865 h 1077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72465" h="1077036">
                  <a:moveTo>
                    <a:pt x="672465" y="443865"/>
                  </a:moveTo>
                  <a:lnTo>
                    <a:pt x="672465" y="983932"/>
                  </a:lnTo>
                  <a:cubicBezTo>
                    <a:pt x="672465" y="1060132"/>
                    <a:pt x="622935" y="1097280"/>
                    <a:pt x="562928" y="1065848"/>
                  </a:cubicBezTo>
                  <a:lnTo>
                    <a:pt x="535305" y="1051560"/>
                  </a:lnTo>
                  <a:lnTo>
                    <a:pt x="535305" y="442913"/>
                  </a:lnTo>
                  <a:cubicBezTo>
                    <a:pt x="535305" y="421957"/>
                    <a:pt x="517208" y="381000"/>
                    <a:pt x="500063" y="370522"/>
                  </a:cubicBezTo>
                  <a:lnTo>
                    <a:pt x="0" y="115252"/>
                  </a:lnTo>
                  <a:cubicBezTo>
                    <a:pt x="34290" y="83820"/>
                    <a:pt x="60008" y="44767"/>
                    <a:pt x="75248" y="0"/>
                  </a:cubicBezTo>
                  <a:lnTo>
                    <a:pt x="562928" y="248602"/>
                  </a:lnTo>
                  <a:cubicBezTo>
                    <a:pt x="622935" y="280035"/>
                    <a:pt x="672465" y="367665"/>
                    <a:pt x="672465" y="443865"/>
                  </a:cubicBezTo>
                  <a:close/>
                </a:path>
              </a:pathLst>
            </a:custGeom>
            <a:solidFill>
              <a:schemeClr val="accent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0" name="Freeform: Shape 11">
              <a:extLst>
                <a:ext uri="{FF2B5EF4-FFF2-40B4-BE49-F238E27FC236}">
                  <a16:creationId xmlns:a16="http://schemas.microsoft.com/office/drawing/2014/main" id="{16B81ED1-53DE-4989-A836-34E38D75FDB4}"/>
                </a:ext>
              </a:extLst>
            </p:cNvPr>
            <p:cNvSpPr/>
            <p:nvPr/>
          </p:nvSpPr>
          <p:spPr>
            <a:xfrm>
              <a:off x="4289873" y="5031225"/>
              <a:ext cx="1185571" cy="1044584"/>
            </a:xfrm>
            <a:custGeom>
              <a:avLst/>
              <a:gdLst>
                <a:gd name="connsiteX0" fmla="*/ 823913 w 1057275"/>
                <a:gd name="connsiteY0" fmla="*/ 931545 h 931545"/>
                <a:gd name="connsiteX1" fmla="*/ 379095 w 1057275"/>
                <a:gd name="connsiteY1" fmla="*/ 931545 h 931545"/>
                <a:gd name="connsiteX2" fmla="*/ 0 w 1057275"/>
                <a:gd name="connsiteY2" fmla="*/ 465773 h 931545"/>
                <a:gd name="connsiteX3" fmla="*/ 0 w 1057275"/>
                <a:gd name="connsiteY3" fmla="*/ 0 h 931545"/>
                <a:gd name="connsiteX4" fmla="*/ 702945 w 1057275"/>
                <a:gd name="connsiteY4" fmla="*/ 953 h 931545"/>
                <a:gd name="connsiteX5" fmla="*/ 1057275 w 1057275"/>
                <a:gd name="connsiteY5" fmla="*/ 465773 h 931545"/>
                <a:gd name="connsiteX6" fmla="*/ 1057275 w 1057275"/>
                <a:gd name="connsiteY6" fmla="*/ 698183 h 931545"/>
                <a:gd name="connsiteX7" fmla="*/ 823913 w 1057275"/>
                <a:gd name="connsiteY7" fmla="*/ 931545 h 931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7275" h="931545">
                  <a:moveTo>
                    <a:pt x="823913" y="931545"/>
                  </a:moveTo>
                  <a:lnTo>
                    <a:pt x="379095" y="931545"/>
                  </a:lnTo>
                  <a:cubicBezTo>
                    <a:pt x="170498" y="931545"/>
                    <a:pt x="0" y="721995"/>
                    <a:pt x="0" y="465773"/>
                  </a:cubicBezTo>
                  <a:lnTo>
                    <a:pt x="0" y="0"/>
                  </a:lnTo>
                  <a:lnTo>
                    <a:pt x="702945" y="953"/>
                  </a:lnTo>
                  <a:cubicBezTo>
                    <a:pt x="901065" y="17145"/>
                    <a:pt x="1057275" y="221933"/>
                    <a:pt x="1057275" y="465773"/>
                  </a:cubicBezTo>
                  <a:lnTo>
                    <a:pt x="1057275" y="698183"/>
                  </a:lnTo>
                  <a:cubicBezTo>
                    <a:pt x="1057275" y="825818"/>
                    <a:pt x="952500" y="931545"/>
                    <a:pt x="823913" y="931545"/>
                  </a:cubicBezTo>
                  <a:close/>
                </a:path>
              </a:pathLst>
            </a:custGeom>
            <a:solidFill>
              <a:schemeClr val="accent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grpSp>
        <p:nvGrpSpPr>
          <p:cNvPr id="11" name="Group 15">
            <a:extLst>
              <a:ext uri="{FF2B5EF4-FFF2-40B4-BE49-F238E27FC236}">
                <a16:creationId xmlns:a16="http://schemas.microsoft.com/office/drawing/2014/main" id="{96724E50-072E-4B88-8760-961ECC9398A6}"/>
              </a:ext>
            </a:extLst>
          </p:cNvPr>
          <p:cNvGrpSpPr/>
          <p:nvPr/>
        </p:nvGrpSpPr>
        <p:grpSpPr>
          <a:xfrm>
            <a:off x="6022301" y="4453393"/>
            <a:ext cx="1887301" cy="1795444"/>
            <a:chOff x="6022301" y="4453393"/>
            <a:chExt cx="1887301" cy="1795444"/>
          </a:xfrm>
        </p:grpSpPr>
        <p:sp>
          <p:nvSpPr>
            <p:cNvPr id="12" name="Freeform: Shape 6">
              <a:extLst>
                <a:ext uri="{FF2B5EF4-FFF2-40B4-BE49-F238E27FC236}">
                  <a16:creationId xmlns:a16="http://schemas.microsoft.com/office/drawing/2014/main" id="{9FFA731A-624C-41CF-A0B1-D7E2E0D617AD}"/>
                </a:ext>
              </a:extLst>
            </p:cNvPr>
            <p:cNvSpPr/>
            <p:nvPr/>
          </p:nvSpPr>
          <p:spPr>
            <a:xfrm>
              <a:off x="6022301" y="5332424"/>
              <a:ext cx="755133" cy="916413"/>
            </a:xfrm>
            <a:custGeom>
              <a:avLst/>
              <a:gdLst>
                <a:gd name="connsiteX0" fmla="*/ 673418 w 673417"/>
                <a:gd name="connsiteY0" fmla="*/ 116205 h 817244"/>
                <a:gd name="connsiteX1" fmla="*/ 172403 w 673417"/>
                <a:gd name="connsiteY1" fmla="*/ 371475 h 817244"/>
                <a:gd name="connsiteX2" fmla="*/ 137160 w 673417"/>
                <a:gd name="connsiteY2" fmla="*/ 443865 h 817244"/>
                <a:gd name="connsiteX3" fmla="*/ 137160 w 673417"/>
                <a:gd name="connsiteY3" fmla="*/ 817245 h 817244"/>
                <a:gd name="connsiteX4" fmla="*/ 46673 w 673417"/>
                <a:gd name="connsiteY4" fmla="*/ 727710 h 817244"/>
                <a:gd name="connsiteX5" fmla="*/ 0 w 673417"/>
                <a:gd name="connsiteY5" fmla="*/ 703897 h 817244"/>
                <a:gd name="connsiteX6" fmla="*/ 0 w 673417"/>
                <a:gd name="connsiteY6" fmla="*/ 443865 h 817244"/>
                <a:gd name="connsiteX7" fmla="*/ 109538 w 673417"/>
                <a:gd name="connsiteY7" fmla="*/ 249555 h 817244"/>
                <a:gd name="connsiteX8" fmla="*/ 597218 w 673417"/>
                <a:gd name="connsiteY8" fmla="*/ 0 h 817244"/>
                <a:gd name="connsiteX9" fmla="*/ 673418 w 673417"/>
                <a:gd name="connsiteY9" fmla="*/ 116205 h 8172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73417" h="817244">
                  <a:moveTo>
                    <a:pt x="673418" y="116205"/>
                  </a:moveTo>
                  <a:lnTo>
                    <a:pt x="172403" y="371475"/>
                  </a:lnTo>
                  <a:cubicBezTo>
                    <a:pt x="155258" y="381953"/>
                    <a:pt x="137160" y="422910"/>
                    <a:pt x="137160" y="443865"/>
                  </a:cubicBezTo>
                  <a:lnTo>
                    <a:pt x="137160" y="817245"/>
                  </a:lnTo>
                  <a:cubicBezTo>
                    <a:pt x="114300" y="779145"/>
                    <a:pt x="82867" y="745807"/>
                    <a:pt x="46673" y="727710"/>
                  </a:cubicBezTo>
                  <a:lnTo>
                    <a:pt x="0" y="703897"/>
                  </a:lnTo>
                  <a:lnTo>
                    <a:pt x="0" y="443865"/>
                  </a:lnTo>
                  <a:cubicBezTo>
                    <a:pt x="0" y="367665"/>
                    <a:pt x="49530" y="280035"/>
                    <a:pt x="109538" y="249555"/>
                  </a:cubicBezTo>
                  <a:lnTo>
                    <a:pt x="597218" y="0"/>
                  </a:lnTo>
                  <a:cubicBezTo>
                    <a:pt x="612458" y="45720"/>
                    <a:pt x="639128" y="85725"/>
                    <a:pt x="673418" y="116205"/>
                  </a:cubicBezTo>
                  <a:close/>
                </a:path>
              </a:pathLst>
            </a:custGeom>
            <a:solidFill>
              <a:schemeClr val="accent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3" name="Freeform: Shape 12">
              <a:extLst>
                <a:ext uri="{FF2B5EF4-FFF2-40B4-BE49-F238E27FC236}">
                  <a16:creationId xmlns:a16="http://schemas.microsoft.com/office/drawing/2014/main" id="{A19B0D46-D293-4A3E-AE46-C1191EF56830}"/>
                </a:ext>
              </a:extLst>
            </p:cNvPr>
            <p:cNvSpPr/>
            <p:nvPr/>
          </p:nvSpPr>
          <p:spPr>
            <a:xfrm>
              <a:off x="6724031" y="4453393"/>
              <a:ext cx="1185571" cy="1044584"/>
            </a:xfrm>
            <a:custGeom>
              <a:avLst/>
              <a:gdLst>
                <a:gd name="connsiteX0" fmla="*/ 233363 w 1057275"/>
                <a:gd name="connsiteY0" fmla="*/ 931545 h 931545"/>
                <a:gd name="connsiteX1" fmla="*/ 678180 w 1057275"/>
                <a:gd name="connsiteY1" fmla="*/ 931545 h 931545"/>
                <a:gd name="connsiteX2" fmla="*/ 1057275 w 1057275"/>
                <a:gd name="connsiteY2" fmla="*/ 465773 h 931545"/>
                <a:gd name="connsiteX3" fmla="*/ 1057275 w 1057275"/>
                <a:gd name="connsiteY3" fmla="*/ 0 h 931545"/>
                <a:gd name="connsiteX4" fmla="*/ 354330 w 1057275"/>
                <a:gd name="connsiteY4" fmla="*/ 953 h 931545"/>
                <a:gd name="connsiteX5" fmla="*/ 0 w 1057275"/>
                <a:gd name="connsiteY5" fmla="*/ 465773 h 931545"/>
                <a:gd name="connsiteX6" fmla="*/ 0 w 1057275"/>
                <a:gd name="connsiteY6" fmla="*/ 698183 h 931545"/>
                <a:gd name="connsiteX7" fmla="*/ 233363 w 1057275"/>
                <a:gd name="connsiteY7" fmla="*/ 931545 h 931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7275" h="931545">
                  <a:moveTo>
                    <a:pt x="233363" y="931545"/>
                  </a:moveTo>
                  <a:lnTo>
                    <a:pt x="678180" y="931545"/>
                  </a:lnTo>
                  <a:cubicBezTo>
                    <a:pt x="886778" y="931545"/>
                    <a:pt x="1057275" y="721995"/>
                    <a:pt x="1057275" y="465773"/>
                  </a:cubicBezTo>
                  <a:lnTo>
                    <a:pt x="1057275" y="0"/>
                  </a:lnTo>
                  <a:lnTo>
                    <a:pt x="354330" y="953"/>
                  </a:lnTo>
                  <a:cubicBezTo>
                    <a:pt x="156210" y="17145"/>
                    <a:pt x="0" y="221933"/>
                    <a:pt x="0" y="465773"/>
                  </a:cubicBezTo>
                  <a:lnTo>
                    <a:pt x="0" y="698183"/>
                  </a:lnTo>
                  <a:cubicBezTo>
                    <a:pt x="0" y="825818"/>
                    <a:pt x="104775" y="931545"/>
                    <a:pt x="233363" y="931545"/>
                  </a:cubicBezTo>
                  <a:close/>
                </a:path>
              </a:pathLst>
            </a:custGeom>
            <a:solidFill>
              <a:schemeClr val="accent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grpSp>
        <p:nvGrpSpPr>
          <p:cNvPr id="14" name="Group 18">
            <a:extLst>
              <a:ext uri="{FF2B5EF4-FFF2-40B4-BE49-F238E27FC236}">
                <a16:creationId xmlns:a16="http://schemas.microsoft.com/office/drawing/2014/main" id="{4DB729C3-8F72-424D-B906-E0F15BEA8C5C}"/>
              </a:ext>
            </a:extLst>
          </p:cNvPr>
          <p:cNvGrpSpPr/>
          <p:nvPr/>
        </p:nvGrpSpPr>
        <p:grpSpPr>
          <a:xfrm>
            <a:off x="4289873" y="2465694"/>
            <a:ext cx="1886233" cy="1924682"/>
            <a:chOff x="4289873" y="2465694"/>
            <a:chExt cx="1886233" cy="1924682"/>
          </a:xfrm>
        </p:grpSpPr>
        <p:sp>
          <p:nvSpPr>
            <p:cNvPr id="15" name="Freeform: Shape 7">
              <a:extLst>
                <a:ext uri="{FF2B5EF4-FFF2-40B4-BE49-F238E27FC236}">
                  <a16:creationId xmlns:a16="http://schemas.microsoft.com/office/drawing/2014/main" id="{8A218813-E32A-4E95-8E86-11A436D75094}"/>
                </a:ext>
              </a:extLst>
            </p:cNvPr>
            <p:cNvSpPr/>
            <p:nvPr/>
          </p:nvSpPr>
          <p:spPr>
            <a:xfrm>
              <a:off x="5422040" y="3346861"/>
              <a:ext cx="754066" cy="1043515"/>
            </a:xfrm>
            <a:custGeom>
              <a:avLst/>
              <a:gdLst>
                <a:gd name="connsiteX0" fmla="*/ 672465 w 672465"/>
                <a:gd name="connsiteY0" fmla="*/ 443865 h 930592"/>
                <a:gd name="connsiteX1" fmla="*/ 672465 w 672465"/>
                <a:gd name="connsiteY1" fmla="*/ 817245 h 930592"/>
                <a:gd name="connsiteX2" fmla="*/ 625793 w 672465"/>
                <a:gd name="connsiteY2" fmla="*/ 841057 h 930592"/>
                <a:gd name="connsiteX3" fmla="*/ 535305 w 672465"/>
                <a:gd name="connsiteY3" fmla="*/ 930593 h 930592"/>
                <a:gd name="connsiteX4" fmla="*/ 535305 w 672465"/>
                <a:gd name="connsiteY4" fmla="*/ 443865 h 930592"/>
                <a:gd name="connsiteX5" fmla="*/ 500063 w 672465"/>
                <a:gd name="connsiteY5" fmla="*/ 371475 h 930592"/>
                <a:gd name="connsiteX6" fmla="*/ 0 w 672465"/>
                <a:gd name="connsiteY6" fmla="*/ 115252 h 930592"/>
                <a:gd name="connsiteX7" fmla="*/ 75248 w 672465"/>
                <a:gd name="connsiteY7" fmla="*/ 0 h 930592"/>
                <a:gd name="connsiteX8" fmla="*/ 562928 w 672465"/>
                <a:gd name="connsiteY8" fmla="*/ 249555 h 930592"/>
                <a:gd name="connsiteX9" fmla="*/ 672465 w 672465"/>
                <a:gd name="connsiteY9" fmla="*/ 443865 h 9305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72465" h="930592">
                  <a:moveTo>
                    <a:pt x="672465" y="443865"/>
                  </a:moveTo>
                  <a:lnTo>
                    <a:pt x="672465" y="817245"/>
                  </a:lnTo>
                  <a:lnTo>
                    <a:pt x="625793" y="841057"/>
                  </a:lnTo>
                  <a:cubicBezTo>
                    <a:pt x="589597" y="860107"/>
                    <a:pt x="558165" y="892493"/>
                    <a:pt x="535305" y="930593"/>
                  </a:cubicBezTo>
                  <a:lnTo>
                    <a:pt x="535305" y="443865"/>
                  </a:lnTo>
                  <a:cubicBezTo>
                    <a:pt x="535305" y="422910"/>
                    <a:pt x="517208" y="381952"/>
                    <a:pt x="500063" y="371475"/>
                  </a:cubicBezTo>
                  <a:lnTo>
                    <a:pt x="0" y="115252"/>
                  </a:lnTo>
                  <a:cubicBezTo>
                    <a:pt x="34290" y="83820"/>
                    <a:pt x="60008" y="44767"/>
                    <a:pt x="75248" y="0"/>
                  </a:cubicBezTo>
                  <a:lnTo>
                    <a:pt x="562928" y="249555"/>
                  </a:lnTo>
                  <a:cubicBezTo>
                    <a:pt x="622935" y="280035"/>
                    <a:pt x="672465" y="367665"/>
                    <a:pt x="672465" y="443865"/>
                  </a:cubicBezTo>
                  <a:close/>
                </a:path>
              </a:pathLst>
            </a:custGeom>
            <a:solidFill>
              <a:schemeClr val="accent5"/>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6" name="Freeform: Shape 13">
              <a:extLst>
                <a:ext uri="{FF2B5EF4-FFF2-40B4-BE49-F238E27FC236}">
                  <a16:creationId xmlns:a16="http://schemas.microsoft.com/office/drawing/2014/main" id="{6E7DA281-94E4-4E9E-847D-D3C816D01D21}"/>
                </a:ext>
              </a:extLst>
            </p:cNvPr>
            <p:cNvSpPr/>
            <p:nvPr/>
          </p:nvSpPr>
          <p:spPr>
            <a:xfrm>
              <a:off x="4289873" y="2465694"/>
              <a:ext cx="1185571" cy="1045651"/>
            </a:xfrm>
            <a:custGeom>
              <a:avLst/>
              <a:gdLst>
                <a:gd name="connsiteX0" fmla="*/ 823913 w 1057275"/>
                <a:gd name="connsiteY0" fmla="*/ 932498 h 932497"/>
                <a:gd name="connsiteX1" fmla="*/ 379095 w 1057275"/>
                <a:gd name="connsiteY1" fmla="*/ 932498 h 932497"/>
                <a:gd name="connsiteX2" fmla="*/ 0 w 1057275"/>
                <a:gd name="connsiteY2" fmla="*/ 465773 h 932497"/>
                <a:gd name="connsiteX3" fmla="*/ 0 w 1057275"/>
                <a:gd name="connsiteY3" fmla="*/ 0 h 932497"/>
                <a:gd name="connsiteX4" fmla="*/ 702945 w 1057275"/>
                <a:gd name="connsiteY4" fmla="*/ 953 h 932497"/>
                <a:gd name="connsiteX5" fmla="*/ 1057275 w 1057275"/>
                <a:gd name="connsiteY5" fmla="*/ 465773 h 932497"/>
                <a:gd name="connsiteX6" fmla="*/ 1057275 w 1057275"/>
                <a:gd name="connsiteY6" fmla="*/ 698183 h 932497"/>
                <a:gd name="connsiteX7" fmla="*/ 823913 w 1057275"/>
                <a:gd name="connsiteY7" fmla="*/ 932498 h 9324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7275" h="932497">
                  <a:moveTo>
                    <a:pt x="823913" y="932498"/>
                  </a:moveTo>
                  <a:lnTo>
                    <a:pt x="379095" y="932498"/>
                  </a:lnTo>
                  <a:cubicBezTo>
                    <a:pt x="170498" y="932498"/>
                    <a:pt x="0" y="722948"/>
                    <a:pt x="0" y="465773"/>
                  </a:cubicBezTo>
                  <a:lnTo>
                    <a:pt x="0" y="0"/>
                  </a:lnTo>
                  <a:lnTo>
                    <a:pt x="702945" y="953"/>
                  </a:lnTo>
                  <a:cubicBezTo>
                    <a:pt x="901065" y="17145"/>
                    <a:pt x="1057275" y="221933"/>
                    <a:pt x="1057275" y="465773"/>
                  </a:cubicBezTo>
                  <a:lnTo>
                    <a:pt x="1057275" y="698183"/>
                  </a:lnTo>
                  <a:cubicBezTo>
                    <a:pt x="1057275" y="826770"/>
                    <a:pt x="952500" y="932498"/>
                    <a:pt x="823913" y="932498"/>
                  </a:cubicBezTo>
                  <a:close/>
                </a:path>
              </a:pathLst>
            </a:custGeom>
            <a:solidFill>
              <a:schemeClr val="accent5"/>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grpSp>
        <p:nvGrpSpPr>
          <p:cNvPr id="17" name="Group 44">
            <a:extLst>
              <a:ext uri="{FF2B5EF4-FFF2-40B4-BE49-F238E27FC236}">
                <a16:creationId xmlns:a16="http://schemas.microsoft.com/office/drawing/2014/main" id="{E51F9F68-382B-4D51-8D4B-A0FC33DDDF99}"/>
              </a:ext>
            </a:extLst>
          </p:cNvPr>
          <p:cNvGrpSpPr/>
          <p:nvPr/>
        </p:nvGrpSpPr>
        <p:grpSpPr>
          <a:xfrm>
            <a:off x="6022301" y="1887862"/>
            <a:ext cx="1887301" cy="1796512"/>
            <a:chOff x="6022301" y="1887862"/>
            <a:chExt cx="1887301" cy="1796512"/>
          </a:xfrm>
        </p:grpSpPr>
        <p:sp>
          <p:nvSpPr>
            <p:cNvPr id="18" name="Freeform: Shape 8">
              <a:extLst>
                <a:ext uri="{FF2B5EF4-FFF2-40B4-BE49-F238E27FC236}">
                  <a16:creationId xmlns:a16="http://schemas.microsoft.com/office/drawing/2014/main" id="{9379180E-2546-4DCB-A84D-1E004CF9FD85}"/>
                </a:ext>
              </a:extLst>
            </p:cNvPr>
            <p:cNvSpPr/>
            <p:nvPr/>
          </p:nvSpPr>
          <p:spPr>
            <a:xfrm>
              <a:off x="6022301" y="2769029"/>
              <a:ext cx="755133" cy="915345"/>
            </a:xfrm>
            <a:custGeom>
              <a:avLst/>
              <a:gdLst>
                <a:gd name="connsiteX0" fmla="*/ 673418 w 673417"/>
                <a:gd name="connsiteY0" fmla="*/ 115252 h 816292"/>
                <a:gd name="connsiteX1" fmla="*/ 172403 w 673417"/>
                <a:gd name="connsiteY1" fmla="*/ 370523 h 816292"/>
                <a:gd name="connsiteX2" fmla="*/ 137160 w 673417"/>
                <a:gd name="connsiteY2" fmla="*/ 442913 h 816292"/>
                <a:gd name="connsiteX3" fmla="*/ 137160 w 673417"/>
                <a:gd name="connsiteY3" fmla="*/ 816293 h 816292"/>
                <a:gd name="connsiteX4" fmla="*/ 46673 w 673417"/>
                <a:gd name="connsiteY4" fmla="*/ 726758 h 816292"/>
                <a:gd name="connsiteX5" fmla="*/ 0 w 673417"/>
                <a:gd name="connsiteY5" fmla="*/ 702945 h 816292"/>
                <a:gd name="connsiteX6" fmla="*/ 0 w 673417"/>
                <a:gd name="connsiteY6" fmla="*/ 442913 h 816292"/>
                <a:gd name="connsiteX7" fmla="*/ 109538 w 673417"/>
                <a:gd name="connsiteY7" fmla="*/ 248602 h 816292"/>
                <a:gd name="connsiteX8" fmla="*/ 598170 w 673417"/>
                <a:gd name="connsiteY8" fmla="*/ 0 h 816292"/>
                <a:gd name="connsiteX9" fmla="*/ 673418 w 673417"/>
                <a:gd name="connsiteY9" fmla="*/ 115252 h 816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73417" h="816292">
                  <a:moveTo>
                    <a:pt x="673418" y="115252"/>
                  </a:moveTo>
                  <a:lnTo>
                    <a:pt x="172403" y="370523"/>
                  </a:lnTo>
                  <a:cubicBezTo>
                    <a:pt x="155258" y="381000"/>
                    <a:pt x="137160" y="421958"/>
                    <a:pt x="137160" y="442913"/>
                  </a:cubicBezTo>
                  <a:lnTo>
                    <a:pt x="137160" y="816293"/>
                  </a:lnTo>
                  <a:cubicBezTo>
                    <a:pt x="114300" y="778193"/>
                    <a:pt x="82867" y="744855"/>
                    <a:pt x="46673" y="726758"/>
                  </a:cubicBezTo>
                  <a:lnTo>
                    <a:pt x="0" y="702945"/>
                  </a:lnTo>
                  <a:lnTo>
                    <a:pt x="0" y="442913"/>
                  </a:lnTo>
                  <a:cubicBezTo>
                    <a:pt x="0" y="366713"/>
                    <a:pt x="49530" y="279083"/>
                    <a:pt x="109538" y="248602"/>
                  </a:cubicBezTo>
                  <a:lnTo>
                    <a:pt x="598170" y="0"/>
                  </a:lnTo>
                  <a:cubicBezTo>
                    <a:pt x="612458" y="44767"/>
                    <a:pt x="639128" y="84773"/>
                    <a:pt x="673418" y="115252"/>
                  </a:cubicBezTo>
                  <a:close/>
                </a:path>
              </a:pathLst>
            </a:custGeom>
            <a:solidFill>
              <a:schemeClr val="accent6"/>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9" name="Freeform: Shape 14">
              <a:extLst>
                <a:ext uri="{FF2B5EF4-FFF2-40B4-BE49-F238E27FC236}">
                  <a16:creationId xmlns:a16="http://schemas.microsoft.com/office/drawing/2014/main" id="{F0351644-0D5B-400C-88AA-60E1066DF22C}"/>
                </a:ext>
              </a:extLst>
            </p:cNvPr>
            <p:cNvSpPr/>
            <p:nvPr/>
          </p:nvSpPr>
          <p:spPr>
            <a:xfrm>
              <a:off x="6724031" y="1887862"/>
              <a:ext cx="1185571" cy="1045651"/>
            </a:xfrm>
            <a:custGeom>
              <a:avLst/>
              <a:gdLst>
                <a:gd name="connsiteX0" fmla="*/ 233363 w 1057275"/>
                <a:gd name="connsiteY0" fmla="*/ 932498 h 932497"/>
                <a:gd name="connsiteX1" fmla="*/ 678180 w 1057275"/>
                <a:gd name="connsiteY1" fmla="*/ 932498 h 932497"/>
                <a:gd name="connsiteX2" fmla="*/ 1057275 w 1057275"/>
                <a:gd name="connsiteY2" fmla="*/ 466725 h 932497"/>
                <a:gd name="connsiteX3" fmla="*/ 1057275 w 1057275"/>
                <a:gd name="connsiteY3" fmla="*/ 0 h 932497"/>
                <a:gd name="connsiteX4" fmla="*/ 354330 w 1057275"/>
                <a:gd name="connsiteY4" fmla="*/ 953 h 932497"/>
                <a:gd name="connsiteX5" fmla="*/ 0 w 1057275"/>
                <a:gd name="connsiteY5" fmla="*/ 465773 h 932497"/>
                <a:gd name="connsiteX6" fmla="*/ 0 w 1057275"/>
                <a:gd name="connsiteY6" fmla="*/ 698183 h 932497"/>
                <a:gd name="connsiteX7" fmla="*/ 233363 w 1057275"/>
                <a:gd name="connsiteY7" fmla="*/ 932498 h 9324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7275" h="932497">
                  <a:moveTo>
                    <a:pt x="233363" y="932498"/>
                  </a:moveTo>
                  <a:lnTo>
                    <a:pt x="678180" y="932498"/>
                  </a:lnTo>
                  <a:cubicBezTo>
                    <a:pt x="886778" y="932498"/>
                    <a:pt x="1057275" y="722948"/>
                    <a:pt x="1057275" y="466725"/>
                  </a:cubicBezTo>
                  <a:lnTo>
                    <a:pt x="1057275" y="0"/>
                  </a:lnTo>
                  <a:lnTo>
                    <a:pt x="354330" y="953"/>
                  </a:lnTo>
                  <a:cubicBezTo>
                    <a:pt x="156210" y="17145"/>
                    <a:pt x="0" y="221933"/>
                    <a:pt x="0" y="465773"/>
                  </a:cubicBezTo>
                  <a:lnTo>
                    <a:pt x="0" y="698183"/>
                  </a:lnTo>
                  <a:cubicBezTo>
                    <a:pt x="0" y="826770"/>
                    <a:pt x="104775" y="932498"/>
                    <a:pt x="233363" y="932498"/>
                  </a:cubicBezTo>
                  <a:close/>
                </a:path>
              </a:pathLst>
            </a:custGeom>
            <a:solidFill>
              <a:schemeClr val="accent6"/>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sp>
        <p:nvSpPr>
          <p:cNvPr id="20" name="Title 1">
            <a:extLst>
              <a:ext uri="{FF2B5EF4-FFF2-40B4-BE49-F238E27FC236}">
                <a16:creationId xmlns:a16="http://schemas.microsoft.com/office/drawing/2014/main" id="{8E0D2191-1786-4868-BC9C-8C4D2085BBE7}"/>
              </a:ext>
            </a:extLst>
          </p:cNvPr>
          <p:cNvSpPr txBox="1">
            <a:spLocks/>
          </p:cNvSpPr>
          <p:nvPr/>
        </p:nvSpPr>
        <p:spPr>
          <a:xfrm>
            <a:off x="2043113" y="304800"/>
            <a:ext cx="8105775" cy="1105808"/>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ID" sz="4400" b="0" i="0" u="none" strike="noStrike" kern="1200" cap="none" spc="0" normalizeH="0" baseline="0" noProof="0">
                <a:ln>
                  <a:noFill/>
                </a:ln>
                <a:solidFill>
                  <a:srgbClr val="000000"/>
                </a:solidFill>
                <a:effectLst/>
                <a:uLnTx/>
                <a:uFillTx/>
                <a:latin typeface="等线 Light" panose="020F0302020204030204"/>
                <a:ea typeface="+mj-ea"/>
                <a:cs typeface="+mj-cs"/>
              </a:rPr>
              <a:t>Tree Infographic</a:t>
            </a:r>
          </a:p>
        </p:txBody>
      </p:sp>
      <p:sp>
        <p:nvSpPr>
          <p:cNvPr id="21" name="Freeform: Shape 19">
            <a:extLst>
              <a:ext uri="{FF2B5EF4-FFF2-40B4-BE49-F238E27FC236}">
                <a16:creationId xmlns:a16="http://schemas.microsoft.com/office/drawing/2014/main" id="{1739A232-908F-4017-98D4-976588F90549}"/>
              </a:ext>
            </a:extLst>
          </p:cNvPr>
          <p:cNvSpPr/>
          <p:nvPr/>
        </p:nvSpPr>
        <p:spPr>
          <a:xfrm>
            <a:off x="7153546" y="3300694"/>
            <a:ext cx="326540" cy="461214"/>
          </a:xfrm>
          <a:custGeom>
            <a:avLst/>
            <a:gdLst>
              <a:gd name="connsiteX0" fmla="*/ 337185 w 674370"/>
              <a:gd name="connsiteY0" fmla="*/ 0 h 952500"/>
              <a:gd name="connsiteX1" fmla="*/ 0 w 674370"/>
              <a:gd name="connsiteY1" fmla="*/ 615315 h 952500"/>
              <a:gd name="connsiteX2" fmla="*/ 337185 w 674370"/>
              <a:gd name="connsiteY2" fmla="*/ 952500 h 952500"/>
              <a:gd name="connsiteX3" fmla="*/ 674370 w 674370"/>
              <a:gd name="connsiteY3" fmla="*/ 615315 h 952500"/>
              <a:gd name="connsiteX4" fmla="*/ 337185 w 674370"/>
              <a:gd name="connsiteY4" fmla="*/ 0 h 952500"/>
              <a:gd name="connsiteX5" fmla="*/ 332423 w 674370"/>
              <a:gd name="connsiteY5" fmla="*/ 876300 h 952500"/>
              <a:gd name="connsiteX6" fmla="*/ 76200 w 674370"/>
              <a:gd name="connsiteY6" fmla="*/ 654368 h 952500"/>
              <a:gd name="connsiteX7" fmla="*/ 121920 w 674370"/>
              <a:gd name="connsiteY7" fmla="*/ 641985 h 952500"/>
              <a:gd name="connsiteX8" fmla="*/ 341948 w 674370"/>
              <a:gd name="connsiteY8" fmla="*/ 830580 h 952500"/>
              <a:gd name="connsiteX9" fmla="*/ 332423 w 674370"/>
              <a:gd name="connsiteY9" fmla="*/ 876300 h 952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74370" h="952500">
                <a:moveTo>
                  <a:pt x="337185" y="0"/>
                </a:moveTo>
                <a:cubicBezTo>
                  <a:pt x="337185" y="0"/>
                  <a:pt x="0" y="429578"/>
                  <a:pt x="0" y="615315"/>
                </a:cubicBezTo>
                <a:cubicBezTo>
                  <a:pt x="0" y="801053"/>
                  <a:pt x="150495" y="952500"/>
                  <a:pt x="337185" y="952500"/>
                </a:cubicBezTo>
                <a:cubicBezTo>
                  <a:pt x="522923" y="952500"/>
                  <a:pt x="674370" y="802005"/>
                  <a:pt x="674370" y="615315"/>
                </a:cubicBezTo>
                <a:cubicBezTo>
                  <a:pt x="674370" y="429578"/>
                  <a:pt x="337185" y="0"/>
                  <a:pt x="337185" y="0"/>
                </a:cubicBezTo>
                <a:close/>
                <a:moveTo>
                  <a:pt x="332423" y="876300"/>
                </a:moveTo>
                <a:cubicBezTo>
                  <a:pt x="128588" y="834390"/>
                  <a:pt x="78105" y="661988"/>
                  <a:pt x="76200" y="654368"/>
                </a:cubicBezTo>
                <a:lnTo>
                  <a:pt x="121920" y="641985"/>
                </a:lnTo>
                <a:cubicBezTo>
                  <a:pt x="123825" y="648653"/>
                  <a:pt x="167640" y="794385"/>
                  <a:pt x="341948" y="830580"/>
                </a:cubicBezTo>
                <a:lnTo>
                  <a:pt x="332423" y="876300"/>
                </a:lnTo>
                <a:close/>
              </a:path>
            </a:pathLst>
          </a:custGeom>
          <a:solidFill>
            <a:schemeClr val="bg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nvGrpSpPr>
          <p:cNvPr id="22" name="Graphic 1">
            <a:extLst>
              <a:ext uri="{FF2B5EF4-FFF2-40B4-BE49-F238E27FC236}">
                <a16:creationId xmlns:a16="http://schemas.microsoft.com/office/drawing/2014/main" id="{05FC8385-6F7E-4656-A841-9E8098CF47DB}"/>
              </a:ext>
            </a:extLst>
          </p:cNvPr>
          <p:cNvGrpSpPr/>
          <p:nvPr/>
        </p:nvGrpSpPr>
        <p:grpSpPr>
          <a:xfrm>
            <a:off x="7086440" y="2010536"/>
            <a:ext cx="460752" cy="461214"/>
            <a:chOff x="3504247" y="1264920"/>
            <a:chExt cx="951547" cy="952500"/>
          </a:xfrm>
          <a:solidFill>
            <a:schemeClr val="bg2"/>
          </a:solidFill>
        </p:grpSpPr>
        <p:sp>
          <p:nvSpPr>
            <p:cNvPr id="23" name="Freeform: Shape 21">
              <a:extLst>
                <a:ext uri="{FF2B5EF4-FFF2-40B4-BE49-F238E27FC236}">
                  <a16:creationId xmlns:a16="http://schemas.microsoft.com/office/drawing/2014/main" id="{69E47AC8-0C54-4B24-8FDD-2BE9F8551341}"/>
                </a:ext>
              </a:extLst>
            </p:cNvPr>
            <p:cNvSpPr/>
            <p:nvPr/>
          </p:nvSpPr>
          <p:spPr>
            <a:xfrm>
              <a:off x="3643311" y="1403985"/>
              <a:ext cx="674369" cy="674369"/>
            </a:xfrm>
            <a:custGeom>
              <a:avLst/>
              <a:gdLst>
                <a:gd name="connsiteX0" fmla="*/ 674370 w 674369"/>
                <a:gd name="connsiteY0" fmla="*/ 337185 h 674369"/>
                <a:gd name="connsiteX1" fmla="*/ 337185 w 674369"/>
                <a:gd name="connsiteY1" fmla="*/ 674370 h 674369"/>
                <a:gd name="connsiteX2" fmla="*/ 0 w 674369"/>
                <a:gd name="connsiteY2" fmla="*/ 337185 h 674369"/>
                <a:gd name="connsiteX3" fmla="*/ 337185 w 674369"/>
                <a:gd name="connsiteY3" fmla="*/ 0 h 674369"/>
                <a:gd name="connsiteX4" fmla="*/ 674370 w 674369"/>
                <a:gd name="connsiteY4" fmla="*/ 337185 h 6743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4369" h="674369">
                  <a:moveTo>
                    <a:pt x="674370" y="337185"/>
                  </a:moveTo>
                  <a:cubicBezTo>
                    <a:pt x="674370" y="523407"/>
                    <a:pt x="523407" y="674370"/>
                    <a:pt x="337185" y="674370"/>
                  </a:cubicBezTo>
                  <a:cubicBezTo>
                    <a:pt x="150963" y="674370"/>
                    <a:pt x="0" y="523407"/>
                    <a:pt x="0" y="337185"/>
                  </a:cubicBezTo>
                  <a:cubicBezTo>
                    <a:pt x="0" y="150963"/>
                    <a:pt x="150963" y="0"/>
                    <a:pt x="337185" y="0"/>
                  </a:cubicBezTo>
                  <a:cubicBezTo>
                    <a:pt x="523407" y="0"/>
                    <a:pt x="674370" y="150963"/>
                    <a:pt x="674370" y="337185"/>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4" name="Freeform: Shape 22">
              <a:extLst>
                <a:ext uri="{FF2B5EF4-FFF2-40B4-BE49-F238E27FC236}">
                  <a16:creationId xmlns:a16="http://schemas.microsoft.com/office/drawing/2014/main" id="{DE85658C-2782-4CAA-ADB5-BD4478ADF766}"/>
                </a:ext>
              </a:extLst>
            </p:cNvPr>
            <p:cNvSpPr/>
            <p:nvPr/>
          </p:nvSpPr>
          <p:spPr>
            <a:xfrm>
              <a:off x="3956684" y="1264920"/>
              <a:ext cx="47625" cy="75247"/>
            </a:xfrm>
            <a:custGeom>
              <a:avLst/>
              <a:gdLst>
                <a:gd name="connsiteX0" fmla="*/ 0 w 47625"/>
                <a:gd name="connsiteY0" fmla="*/ 0 h 75247"/>
                <a:gd name="connsiteX1" fmla="*/ 47625 w 47625"/>
                <a:gd name="connsiteY1" fmla="*/ 0 h 75247"/>
                <a:gd name="connsiteX2" fmla="*/ 47625 w 47625"/>
                <a:gd name="connsiteY2" fmla="*/ 75248 h 75247"/>
                <a:gd name="connsiteX3" fmla="*/ 0 w 47625"/>
                <a:gd name="connsiteY3" fmla="*/ 75248 h 75247"/>
              </a:gdLst>
              <a:ahLst/>
              <a:cxnLst>
                <a:cxn ang="0">
                  <a:pos x="connsiteX0" y="connsiteY0"/>
                </a:cxn>
                <a:cxn ang="0">
                  <a:pos x="connsiteX1" y="connsiteY1"/>
                </a:cxn>
                <a:cxn ang="0">
                  <a:pos x="connsiteX2" y="connsiteY2"/>
                </a:cxn>
                <a:cxn ang="0">
                  <a:pos x="connsiteX3" y="connsiteY3"/>
                </a:cxn>
              </a:cxnLst>
              <a:rect l="l" t="t" r="r" b="b"/>
              <a:pathLst>
                <a:path w="47625" h="75247">
                  <a:moveTo>
                    <a:pt x="0" y="0"/>
                  </a:moveTo>
                  <a:lnTo>
                    <a:pt x="47625" y="0"/>
                  </a:lnTo>
                  <a:lnTo>
                    <a:pt x="47625" y="75248"/>
                  </a:lnTo>
                  <a:lnTo>
                    <a:pt x="0" y="75248"/>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5" name="Freeform: Shape 23">
              <a:extLst>
                <a:ext uri="{FF2B5EF4-FFF2-40B4-BE49-F238E27FC236}">
                  <a16:creationId xmlns:a16="http://schemas.microsoft.com/office/drawing/2014/main" id="{4D4151F6-03FE-494B-98CC-D1979905554A}"/>
                </a:ext>
              </a:extLst>
            </p:cNvPr>
            <p:cNvSpPr/>
            <p:nvPr/>
          </p:nvSpPr>
          <p:spPr>
            <a:xfrm rot="-2700000">
              <a:off x="3646166" y="1393671"/>
              <a:ext cx="47624" cy="75246"/>
            </a:xfrm>
            <a:custGeom>
              <a:avLst/>
              <a:gdLst>
                <a:gd name="connsiteX0" fmla="*/ 0 w 47624"/>
                <a:gd name="connsiteY0" fmla="*/ 0 h 75246"/>
                <a:gd name="connsiteX1" fmla="*/ 47625 w 47624"/>
                <a:gd name="connsiteY1" fmla="*/ 0 h 75246"/>
                <a:gd name="connsiteX2" fmla="*/ 47625 w 47624"/>
                <a:gd name="connsiteY2" fmla="*/ 75247 h 75246"/>
                <a:gd name="connsiteX3" fmla="*/ 0 w 47624"/>
                <a:gd name="connsiteY3" fmla="*/ 75247 h 75246"/>
              </a:gdLst>
              <a:ahLst/>
              <a:cxnLst>
                <a:cxn ang="0">
                  <a:pos x="connsiteX0" y="connsiteY0"/>
                </a:cxn>
                <a:cxn ang="0">
                  <a:pos x="connsiteX1" y="connsiteY1"/>
                </a:cxn>
                <a:cxn ang="0">
                  <a:pos x="connsiteX2" y="connsiteY2"/>
                </a:cxn>
                <a:cxn ang="0">
                  <a:pos x="connsiteX3" y="connsiteY3"/>
                </a:cxn>
              </a:cxnLst>
              <a:rect l="l" t="t" r="r" b="b"/>
              <a:pathLst>
                <a:path w="47624" h="75246">
                  <a:moveTo>
                    <a:pt x="0" y="0"/>
                  </a:moveTo>
                  <a:lnTo>
                    <a:pt x="47625" y="0"/>
                  </a:lnTo>
                  <a:lnTo>
                    <a:pt x="47625" y="75247"/>
                  </a:lnTo>
                  <a:lnTo>
                    <a:pt x="0" y="75247"/>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6" name="Freeform: Shape 24">
              <a:extLst>
                <a:ext uri="{FF2B5EF4-FFF2-40B4-BE49-F238E27FC236}">
                  <a16:creationId xmlns:a16="http://schemas.microsoft.com/office/drawing/2014/main" id="{ADDCB7FC-3234-44DE-8F61-A9C6DB5C46DA}"/>
                </a:ext>
              </a:extLst>
            </p:cNvPr>
            <p:cNvSpPr/>
            <p:nvPr/>
          </p:nvSpPr>
          <p:spPr>
            <a:xfrm>
              <a:off x="3504247" y="1717357"/>
              <a:ext cx="75247" cy="47625"/>
            </a:xfrm>
            <a:custGeom>
              <a:avLst/>
              <a:gdLst>
                <a:gd name="connsiteX0" fmla="*/ 0 w 75247"/>
                <a:gd name="connsiteY0" fmla="*/ 0 h 47625"/>
                <a:gd name="connsiteX1" fmla="*/ 75247 w 75247"/>
                <a:gd name="connsiteY1" fmla="*/ 0 h 47625"/>
                <a:gd name="connsiteX2" fmla="*/ 75247 w 75247"/>
                <a:gd name="connsiteY2" fmla="*/ 47625 h 47625"/>
                <a:gd name="connsiteX3" fmla="*/ 0 w 75247"/>
                <a:gd name="connsiteY3" fmla="*/ 47625 h 47625"/>
              </a:gdLst>
              <a:ahLst/>
              <a:cxnLst>
                <a:cxn ang="0">
                  <a:pos x="connsiteX0" y="connsiteY0"/>
                </a:cxn>
                <a:cxn ang="0">
                  <a:pos x="connsiteX1" y="connsiteY1"/>
                </a:cxn>
                <a:cxn ang="0">
                  <a:pos x="connsiteX2" y="connsiteY2"/>
                </a:cxn>
                <a:cxn ang="0">
                  <a:pos x="connsiteX3" y="connsiteY3"/>
                </a:cxn>
              </a:cxnLst>
              <a:rect l="l" t="t" r="r" b="b"/>
              <a:pathLst>
                <a:path w="75247" h="47625">
                  <a:moveTo>
                    <a:pt x="0" y="0"/>
                  </a:moveTo>
                  <a:lnTo>
                    <a:pt x="75247" y="0"/>
                  </a:lnTo>
                  <a:lnTo>
                    <a:pt x="75247" y="47625"/>
                  </a:lnTo>
                  <a:lnTo>
                    <a:pt x="0" y="47625"/>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7" name="Freeform: Shape 25">
              <a:extLst>
                <a:ext uri="{FF2B5EF4-FFF2-40B4-BE49-F238E27FC236}">
                  <a16:creationId xmlns:a16="http://schemas.microsoft.com/office/drawing/2014/main" id="{9AF646E1-4099-4967-A32C-C37931411312}"/>
                </a:ext>
              </a:extLst>
            </p:cNvPr>
            <p:cNvSpPr/>
            <p:nvPr/>
          </p:nvSpPr>
          <p:spPr>
            <a:xfrm rot="-2700000">
              <a:off x="3632314" y="2028140"/>
              <a:ext cx="75246" cy="47624"/>
            </a:xfrm>
            <a:custGeom>
              <a:avLst/>
              <a:gdLst>
                <a:gd name="connsiteX0" fmla="*/ 0 w 75246"/>
                <a:gd name="connsiteY0" fmla="*/ 0 h 47624"/>
                <a:gd name="connsiteX1" fmla="*/ 75247 w 75246"/>
                <a:gd name="connsiteY1" fmla="*/ 0 h 47624"/>
                <a:gd name="connsiteX2" fmla="*/ 75247 w 75246"/>
                <a:gd name="connsiteY2" fmla="*/ 47625 h 47624"/>
                <a:gd name="connsiteX3" fmla="*/ 0 w 75246"/>
                <a:gd name="connsiteY3" fmla="*/ 47625 h 47624"/>
              </a:gdLst>
              <a:ahLst/>
              <a:cxnLst>
                <a:cxn ang="0">
                  <a:pos x="connsiteX0" y="connsiteY0"/>
                </a:cxn>
                <a:cxn ang="0">
                  <a:pos x="connsiteX1" y="connsiteY1"/>
                </a:cxn>
                <a:cxn ang="0">
                  <a:pos x="connsiteX2" y="connsiteY2"/>
                </a:cxn>
                <a:cxn ang="0">
                  <a:pos x="connsiteX3" y="connsiteY3"/>
                </a:cxn>
              </a:cxnLst>
              <a:rect l="l" t="t" r="r" b="b"/>
              <a:pathLst>
                <a:path w="75246" h="47624">
                  <a:moveTo>
                    <a:pt x="0" y="0"/>
                  </a:moveTo>
                  <a:lnTo>
                    <a:pt x="75247" y="0"/>
                  </a:lnTo>
                  <a:lnTo>
                    <a:pt x="75247" y="47625"/>
                  </a:lnTo>
                  <a:lnTo>
                    <a:pt x="0" y="47625"/>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8" name="Freeform: Shape 26">
              <a:extLst>
                <a:ext uri="{FF2B5EF4-FFF2-40B4-BE49-F238E27FC236}">
                  <a16:creationId xmlns:a16="http://schemas.microsoft.com/office/drawing/2014/main" id="{A82D36AB-12F3-4095-BC7C-D14511F8BEA0}"/>
                </a:ext>
              </a:extLst>
            </p:cNvPr>
            <p:cNvSpPr/>
            <p:nvPr/>
          </p:nvSpPr>
          <p:spPr>
            <a:xfrm>
              <a:off x="3956684" y="2142172"/>
              <a:ext cx="47625" cy="75247"/>
            </a:xfrm>
            <a:custGeom>
              <a:avLst/>
              <a:gdLst>
                <a:gd name="connsiteX0" fmla="*/ 0 w 47625"/>
                <a:gd name="connsiteY0" fmla="*/ 0 h 75247"/>
                <a:gd name="connsiteX1" fmla="*/ 47625 w 47625"/>
                <a:gd name="connsiteY1" fmla="*/ 0 h 75247"/>
                <a:gd name="connsiteX2" fmla="*/ 47625 w 47625"/>
                <a:gd name="connsiteY2" fmla="*/ 75248 h 75247"/>
                <a:gd name="connsiteX3" fmla="*/ 0 w 47625"/>
                <a:gd name="connsiteY3" fmla="*/ 75248 h 75247"/>
              </a:gdLst>
              <a:ahLst/>
              <a:cxnLst>
                <a:cxn ang="0">
                  <a:pos x="connsiteX0" y="connsiteY0"/>
                </a:cxn>
                <a:cxn ang="0">
                  <a:pos x="connsiteX1" y="connsiteY1"/>
                </a:cxn>
                <a:cxn ang="0">
                  <a:pos x="connsiteX2" y="connsiteY2"/>
                </a:cxn>
                <a:cxn ang="0">
                  <a:pos x="connsiteX3" y="connsiteY3"/>
                </a:cxn>
              </a:cxnLst>
              <a:rect l="l" t="t" r="r" b="b"/>
              <a:pathLst>
                <a:path w="47625" h="75247">
                  <a:moveTo>
                    <a:pt x="0" y="0"/>
                  </a:moveTo>
                  <a:lnTo>
                    <a:pt x="47625" y="0"/>
                  </a:lnTo>
                  <a:lnTo>
                    <a:pt x="47625" y="75248"/>
                  </a:lnTo>
                  <a:lnTo>
                    <a:pt x="0" y="75248"/>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9" name="Freeform: Shape 27">
              <a:extLst>
                <a:ext uri="{FF2B5EF4-FFF2-40B4-BE49-F238E27FC236}">
                  <a16:creationId xmlns:a16="http://schemas.microsoft.com/office/drawing/2014/main" id="{8B160EF0-1D31-42B3-BFDC-B193A1A48ADB}"/>
                </a:ext>
              </a:extLst>
            </p:cNvPr>
            <p:cNvSpPr/>
            <p:nvPr/>
          </p:nvSpPr>
          <p:spPr>
            <a:xfrm rot="-2699514">
              <a:off x="4266268" y="2013785"/>
              <a:ext cx="47624" cy="75246"/>
            </a:xfrm>
            <a:custGeom>
              <a:avLst/>
              <a:gdLst>
                <a:gd name="connsiteX0" fmla="*/ 0 w 47624"/>
                <a:gd name="connsiteY0" fmla="*/ 0 h 75246"/>
                <a:gd name="connsiteX1" fmla="*/ 47624 w 47624"/>
                <a:gd name="connsiteY1" fmla="*/ 0 h 75246"/>
                <a:gd name="connsiteX2" fmla="*/ 47624 w 47624"/>
                <a:gd name="connsiteY2" fmla="*/ 75247 h 75246"/>
                <a:gd name="connsiteX3" fmla="*/ 0 w 47624"/>
                <a:gd name="connsiteY3" fmla="*/ 75247 h 75246"/>
              </a:gdLst>
              <a:ahLst/>
              <a:cxnLst>
                <a:cxn ang="0">
                  <a:pos x="connsiteX0" y="connsiteY0"/>
                </a:cxn>
                <a:cxn ang="0">
                  <a:pos x="connsiteX1" y="connsiteY1"/>
                </a:cxn>
                <a:cxn ang="0">
                  <a:pos x="connsiteX2" y="connsiteY2"/>
                </a:cxn>
                <a:cxn ang="0">
                  <a:pos x="connsiteX3" y="connsiteY3"/>
                </a:cxn>
              </a:cxnLst>
              <a:rect l="l" t="t" r="r" b="b"/>
              <a:pathLst>
                <a:path w="47624" h="75246">
                  <a:moveTo>
                    <a:pt x="0" y="0"/>
                  </a:moveTo>
                  <a:lnTo>
                    <a:pt x="47624" y="0"/>
                  </a:lnTo>
                  <a:lnTo>
                    <a:pt x="47624" y="75247"/>
                  </a:lnTo>
                  <a:lnTo>
                    <a:pt x="0" y="75247"/>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0" name="Freeform: Shape 28">
              <a:extLst>
                <a:ext uri="{FF2B5EF4-FFF2-40B4-BE49-F238E27FC236}">
                  <a16:creationId xmlns:a16="http://schemas.microsoft.com/office/drawing/2014/main" id="{540E01DC-761C-4DF4-8189-C64AA1FD79B4}"/>
                </a:ext>
              </a:extLst>
            </p:cNvPr>
            <p:cNvSpPr/>
            <p:nvPr/>
          </p:nvSpPr>
          <p:spPr>
            <a:xfrm>
              <a:off x="4380547" y="1717357"/>
              <a:ext cx="75247" cy="47625"/>
            </a:xfrm>
            <a:custGeom>
              <a:avLst/>
              <a:gdLst>
                <a:gd name="connsiteX0" fmla="*/ 0 w 75247"/>
                <a:gd name="connsiteY0" fmla="*/ 0 h 47625"/>
                <a:gd name="connsiteX1" fmla="*/ 75247 w 75247"/>
                <a:gd name="connsiteY1" fmla="*/ 0 h 47625"/>
                <a:gd name="connsiteX2" fmla="*/ 75247 w 75247"/>
                <a:gd name="connsiteY2" fmla="*/ 47625 h 47625"/>
                <a:gd name="connsiteX3" fmla="*/ 0 w 75247"/>
                <a:gd name="connsiteY3" fmla="*/ 47625 h 47625"/>
              </a:gdLst>
              <a:ahLst/>
              <a:cxnLst>
                <a:cxn ang="0">
                  <a:pos x="connsiteX0" y="connsiteY0"/>
                </a:cxn>
                <a:cxn ang="0">
                  <a:pos x="connsiteX1" y="connsiteY1"/>
                </a:cxn>
                <a:cxn ang="0">
                  <a:pos x="connsiteX2" y="connsiteY2"/>
                </a:cxn>
                <a:cxn ang="0">
                  <a:pos x="connsiteX3" y="connsiteY3"/>
                </a:cxn>
              </a:cxnLst>
              <a:rect l="l" t="t" r="r" b="b"/>
              <a:pathLst>
                <a:path w="75247" h="47625">
                  <a:moveTo>
                    <a:pt x="0" y="0"/>
                  </a:moveTo>
                  <a:lnTo>
                    <a:pt x="75247" y="0"/>
                  </a:lnTo>
                  <a:lnTo>
                    <a:pt x="75247" y="47625"/>
                  </a:lnTo>
                  <a:lnTo>
                    <a:pt x="0" y="47625"/>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1" name="Freeform: Shape 29">
              <a:extLst>
                <a:ext uri="{FF2B5EF4-FFF2-40B4-BE49-F238E27FC236}">
                  <a16:creationId xmlns:a16="http://schemas.microsoft.com/office/drawing/2014/main" id="{A41A7151-4C7E-4E0E-9A30-58EDFE04EB9B}"/>
                </a:ext>
              </a:extLst>
            </p:cNvPr>
            <p:cNvSpPr/>
            <p:nvPr/>
          </p:nvSpPr>
          <p:spPr>
            <a:xfrm rot="-2700000">
              <a:off x="4252353" y="1408059"/>
              <a:ext cx="75246" cy="47624"/>
            </a:xfrm>
            <a:custGeom>
              <a:avLst/>
              <a:gdLst>
                <a:gd name="connsiteX0" fmla="*/ 0 w 75246"/>
                <a:gd name="connsiteY0" fmla="*/ 0 h 47624"/>
                <a:gd name="connsiteX1" fmla="*/ 75247 w 75246"/>
                <a:gd name="connsiteY1" fmla="*/ 0 h 47624"/>
                <a:gd name="connsiteX2" fmla="*/ 75247 w 75246"/>
                <a:gd name="connsiteY2" fmla="*/ 47625 h 47624"/>
                <a:gd name="connsiteX3" fmla="*/ 0 w 75246"/>
                <a:gd name="connsiteY3" fmla="*/ 47625 h 47624"/>
              </a:gdLst>
              <a:ahLst/>
              <a:cxnLst>
                <a:cxn ang="0">
                  <a:pos x="connsiteX0" y="connsiteY0"/>
                </a:cxn>
                <a:cxn ang="0">
                  <a:pos x="connsiteX1" y="connsiteY1"/>
                </a:cxn>
                <a:cxn ang="0">
                  <a:pos x="connsiteX2" y="connsiteY2"/>
                </a:cxn>
                <a:cxn ang="0">
                  <a:pos x="connsiteX3" y="connsiteY3"/>
                </a:cxn>
              </a:cxnLst>
              <a:rect l="l" t="t" r="r" b="b"/>
              <a:pathLst>
                <a:path w="75246" h="47624">
                  <a:moveTo>
                    <a:pt x="0" y="0"/>
                  </a:moveTo>
                  <a:lnTo>
                    <a:pt x="75247" y="0"/>
                  </a:lnTo>
                  <a:lnTo>
                    <a:pt x="75247" y="47625"/>
                  </a:lnTo>
                  <a:lnTo>
                    <a:pt x="0" y="47625"/>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sp>
        <p:nvSpPr>
          <p:cNvPr id="32" name="Freeform: Shape 30">
            <a:extLst>
              <a:ext uri="{FF2B5EF4-FFF2-40B4-BE49-F238E27FC236}">
                <a16:creationId xmlns:a16="http://schemas.microsoft.com/office/drawing/2014/main" id="{39E5419F-0508-4ACD-935D-78068EAB6276}"/>
              </a:ext>
            </a:extLst>
          </p:cNvPr>
          <p:cNvSpPr/>
          <p:nvPr/>
        </p:nvSpPr>
        <p:spPr>
          <a:xfrm>
            <a:off x="4652022" y="2672881"/>
            <a:ext cx="461272" cy="249992"/>
          </a:xfrm>
          <a:custGeom>
            <a:avLst/>
            <a:gdLst>
              <a:gd name="connsiteX0" fmla="*/ 714375 w 952622"/>
              <a:gd name="connsiteY0" fmla="*/ 269590 h 516287"/>
              <a:gd name="connsiteX1" fmla="*/ 476250 w 952622"/>
              <a:gd name="connsiteY1" fmla="*/ 33 h 516287"/>
              <a:gd name="connsiteX2" fmla="*/ 307658 w 952622"/>
              <a:gd name="connsiteY2" fmla="*/ 209583 h 516287"/>
              <a:gd name="connsiteX3" fmla="*/ 139065 w 952622"/>
              <a:gd name="connsiteY3" fmla="*/ 359125 h 516287"/>
              <a:gd name="connsiteX4" fmla="*/ 0 w 952622"/>
              <a:gd name="connsiteY4" fmla="*/ 516288 h 516287"/>
              <a:gd name="connsiteX5" fmla="*/ 952500 w 952622"/>
              <a:gd name="connsiteY5" fmla="*/ 516288 h 516287"/>
              <a:gd name="connsiteX6" fmla="*/ 714375 w 952622"/>
              <a:gd name="connsiteY6" fmla="*/ 269590 h 516287"/>
              <a:gd name="connsiteX7" fmla="*/ 590550 w 952622"/>
              <a:gd name="connsiteY7" fmla="*/ 229585 h 516287"/>
              <a:gd name="connsiteX8" fmla="*/ 504825 w 952622"/>
              <a:gd name="connsiteY8" fmla="*/ 112428 h 516287"/>
              <a:gd name="connsiteX9" fmla="*/ 525780 w 952622"/>
              <a:gd name="connsiteY9" fmla="*/ 69565 h 516287"/>
              <a:gd name="connsiteX10" fmla="*/ 638175 w 952622"/>
              <a:gd name="connsiteY10" fmla="*/ 221013 h 516287"/>
              <a:gd name="connsiteX11" fmla="*/ 590550 w 952622"/>
              <a:gd name="connsiteY11" fmla="*/ 229585 h 516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52622" h="516287">
                <a:moveTo>
                  <a:pt x="714375" y="269590"/>
                </a:moveTo>
                <a:cubicBezTo>
                  <a:pt x="714375" y="269590"/>
                  <a:pt x="720090" y="33"/>
                  <a:pt x="476250" y="33"/>
                </a:cubicBezTo>
                <a:cubicBezTo>
                  <a:pt x="476250" y="33"/>
                  <a:pt x="307658" y="-7587"/>
                  <a:pt x="307658" y="209583"/>
                </a:cubicBezTo>
                <a:cubicBezTo>
                  <a:pt x="307658" y="209583"/>
                  <a:pt x="139065" y="179103"/>
                  <a:pt x="139065" y="359125"/>
                </a:cubicBezTo>
                <a:cubicBezTo>
                  <a:pt x="139065" y="359125"/>
                  <a:pt x="0" y="308643"/>
                  <a:pt x="0" y="516288"/>
                </a:cubicBezTo>
                <a:lnTo>
                  <a:pt x="952500" y="516288"/>
                </a:lnTo>
                <a:cubicBezTo>
                  <a:pt x="952500" y="516288"/>
                  <a:pt x="965835" y="269590"/>
                  <a:pt x="714375" y="269590"/>
                </a:cubicBezTo>
                <a:close/>
                <a:moveTo>
                  <a:pt x="590550" y="229585"/>
                </a:moveTo>
                <a:cubicBezTo>
                  <a:pt x="579120" y="174340"/>
                  <a:pt x="550545" y="134335"/>
                  <a:pt x="504825" y="112428"/>
                </a:cubicBezTo>
                <a:lnTo>
                  <a:pt x="525780" y="69565"/>
                </a:lnTo>
                <a:cubicBezTo>
                  <a:pt x="566738" y="89568"/>
                  <a:pt x="620078" y="132430"/>
                  <a:pt x="638175" y="221013"/>
                </a:cubicBezTo>
                <a:lnTo>
                  <a:pt x="590550" y="229585"/>
                </a:lnTo>
                <a:close/>
              </a:path>
            </a:pathLst>
          </a:custGeom>
          <a:solidFill>
            <a:schemeClr val="bg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nvGrpSpPr>
          <p:cNvPr id="33" name="Graphic 1">
            <a:extLst>
              <a:ext uri="{FF2B5EF4-FFF2-40B4-BE49-F238E27FC236}">
                <a16:creationId xmlns:a16="http://schemas.microsoft.com/office/drawing/2014/main" id="{72B47C9F-91E7-4E01-A11E-4B7AD2D5B7FF}"/>
              </a:ext>
            </a:extLst>
          </p:cNvPr>
          <p:cNvGrpSpPr/>
          <p:nvPr/>
        </p:nvGrpSpPr>
        <p:grpSpPr>
          <a:xfrm>
            <a:off x="4683645" y="5188494"/>
            <a:ext cx="398026" cy="397566"/>
            <a:chOff x="3634739" y="2474595"/>
            <a:chExt cx="822007" cy="821054"/>
          </a:xfrm>
          <a:solidFill>
            <a:schemeClr val="bg2"/>
          </a:solidFill>
        </p:grpSpPr>
        <p:sp>
          <p:nvSpPr>
            <p:cNvPr id="34" name="Freeform: Shape 32">
              <a:extLst>
                <a:ext uri="{FF2B5EF4-FFF2-40B4-BE49-F238E27FC236}">
                  <a16:creationId xmlns:a16="http://schemas.microsoft.com/office/drawing/2014/main" id="{1500221B-854E-4C2D-8382-7F612EFD1B98}"/>
                </a:ext>
              </a:extLst>
            </p:cNvPr>
            <p:cNvSpPr/>
            <p:nvPr/>
          </p:nvSpPr>
          <p:spPr>
            <a:xfrm>
              <a:off x="3672702" y="2474595"/>
              <a:ext cx="784044" cy="784044"/>
            </a:xfrm>
            <a:custGeom>
              <a:avLst/>
              <a:gdLst>
                <a:gd name="connsiteX0" fmla="*/ 784045 w 784044"/>
                <a:gd name="connsiteY0" fmla="*/ 0 h 784044"/>
                <a:gd name="connsiteX1" fmla="*/ 584020 w 784044"/>
                <a:gd name="connsiteY1" fmla="*/ 683895 h 784044"/>
                <a:gd name="connsiteX2" fmla="*/ 115390 w 784044"/>
                <a:gd name="connsiteY2" fmla="*/ 698183 h 784044"/>
                <a:gd name="connsiteX3" fmla="*/ 180160 w 784044"/>
                <a:gd name="connsiteY3" fmla="*/ 633413 h 784044"/>
                <a:gd name="connsiteX4" fmla="*/ 387805 w 784044"/>
                <a:gd name="connsiteY4" fmla="*/ 609600 h 784044"/>
                <a:gd name="connsiteX5" fmla="*/ 383042 w 784044"/>
                <a:gd name="connsiteY5" fmla="*/ 568643 h 784044"/>
                <a:gd name="connsiteX6" fmla="*/ 226832 w 784044"/>
                <a:gd name="connsiteY6" fmla="*/ 586740 h 784044"/>
                <a:gd name="connsiteX7" fmla="*/ 302080 w 784044"/>
                <a:gd name="connsiteY7" fmla="*/ 511492 h 784044"/>
                <a:gd name="connsiteX8" fmla="*/ 509725 w 784044"/>
                <a:gd name="connsiteY8" fmla="*/ 487680 h 784044"/>
                <a:gd name="connsiteX9" fmla="*/ 504962 w 784044"/>
                <a:gd name="connsiteY9" fmla="*/ 446722 h 784044"/>
                <a:gd name="connsiteX10" fmla="*/ 348752 w 784044"/>
                <a:gd name="connsiteY10" fmla="*/ 464820 h 784044"/>
                <a:gd name="connsiteX11" fmla="*/ 504962 w 784044"/>
                <a:gd name="connsiteY11" fmla="*/ 308610 h 784044"/>
                <a:gd name="connsiteX12" fmla="*/ 475435 w 784044"/>
                <a:gd name="connsiteY12" fmla="*/ 279083 h 784044"/>
                <a:gd name="connsiteX13" fmla="*/ 323035 w 784044"/>
                <a:gd name="connsiteY13" fmla="*/ 431483 h 784044"/>
                <a:gd name="connsiteX14" fmla="*/ 344942 w 784044"/>
                <a:gd name="connsiteY14" fmla="*/ 293370 h 784044"/>
                <a:gd name="connsiteX15" fmla="*/ 303985 w 784044"/>
                <a:gd name="connsiteY15" fmla="*/ 286702 h 784044"/>
                <a:gd name="connsiteX16" fmla="*/ 273505 w 784044"/>
                <a:gd name="connsiteY16" fmla="*/ 481013 h 784044"/>
                <a:gd name="connsiteX17" fmla="*/ 201115 w 784044"/>
                <a:gd name="connsiteY17" fmla="*/ 553402 h 784044"/>
                <a:gd name="connsiteX18" fmla="*/ 223022 w 784044"/>
                <a:gd name="connsiteY18" fmla="*/ 415290 h 784044"/>
                <a:gd name="connsiteX19" fmla="*/ 182065 w 784044"/>
                <a:gd name="connsiteY19" fmla="*/ 408622 h 784044"/>
                <a:gd name="connsiteX20" fmla="*/ 151585 w 784044"/>
                <a:gd name="connsiteY20" fmla="*/ 602933 h 784044"/>
                <a:gd name="connsiteX21" fmla="*/ 85862 w 784044"/>
                <a:gd name="connsiteY21" fmla="*/ 668655 h 784044"/>
                <a:gd name="connsiteX22" fmla="*/ 100150 w 784044"/>
                <a:gd name="connsiteY22" fmla="*/ 200025 h 784044"/>
                <a:gd name="connsiteX23" fmla="*/ 784045 w 784044"/>
                <a:gd name="connsiteY23" fmla="*/ 0 h 784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784044" h="784044">
                  <a:moveTo>
                    <a:pt x="784045" y="0"/>
                  </a:moveTo>
                  <a:cubicBezTo>
                    <a:pt x="784045" y="0"/>
                    <a:pt x="717370" y="549593"/>
                    <a:pt x="584020" y="683895"/>
                  </a:cubicBezTo>
                  <a:cubicBezTo>
                    <a:pt x="455432" y="812483"/>
                    <a:pt x="249692" y="817245"/>
                    <a:pt x="115390" y="698183"/>
                  </a:cubicBezTo>
                  <a:lnTo>
                    <a:pt x="180160" y="633413"/>
                  </a:lnTo>
                  <a:lnTo>
                    <a:pt x="387805" y="609600"/>
                  </a:lnTo>
                  <a:lnTo>
                    <a:pt x="383042" y="568643"/>
                  </a:lnTo>
                  <a:lnTo>
                    <a:pt x="226832" y="586740"/>
                  </a:lnTo>
                  <a:lnTo>
                    <a:pt x="302080" y="511492"/>
                  </a:lnTo>
                  <a:lnTo>
                    <a:pt x="509725" y="487680"/>
                  </a:lnTo>
                  <a:lnTo>
                    <a:pt x="504962" y="446722"/>
                  </a:lnTo>
                  <a:lnTo>
                    <a:pt x="348752" y="464820"/>
                  </a:lnTo>
                  <a:lnTo>
                    <a:pt x="504962" y="308610"/>
                  </a:lnTo>
                  <a:lnTo>
                    <a:pt x="475435" y="279083"/>
                  </a:lnTo>
                  <a:lnTo>
                    <a:pt x="323035" y="431483"/>
                  </a:lnTo>
                  <a:lnTo>
                    <a:pt x="344942" y="293370"/>
                  </a:lnTo>
                  <a:lnTo>
                    <a:pt x="303985" y="286702"/>
                  </a:lnTo>
                  <a:lnTo>
                    <a:pt x="273505" y="481013"/>
                  </a:lnTo>
                  <a:lnTo>
                    <a:pt x="201115" y="553402"/>
                  </a:lnTo>
                  <a:lnTo>
                    <a:pt x="223022" y="415290"/>
                  </a:lnTo>
                  <a:lnTo>
                    <a:pt x="182065" y="408622"/>
                  </a:lnTo>
                  <a:lnTo>
                    <a:pt x="151585" y="602933"/>
                  </a:lnTo>
                  <a:lnTo>
                    <a:pt x="85862" y="668655"/>
                  </a:lnTo>
                  <a:cubicBezTo>
                    <a:pt x="-33200" y="534352"/>
                    <a:pt x="-28438" y="328613"/>
                    <a:pt x="100150" y="200025"/>
                  </a:cubicBezTo>
                  <a:cubicBezTo>
                    <a:pt x="233500" y="66675"/>
                    <a:pt x="784045" y="0"/>
                    <a:pt x="784045" y="0"/>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5" name="Freeform: Shape 33">
              <a:extLst>
                <a:ext uri="{FF2B5EF4-FFF2-40B4-BE49-F238E27FC236}">
                  <a16:creationId xmlns:a16="http://schemas.microsoft.com/office/drawing/2014/main" id="{C2BFCB4F-A4CE-4D23-97AF-48E691AF0EBC}"/>
                </a:ext>
              </a:extLst>
            </p:cNvPr>
            <p:cNvSpPr/>
            <p:nvPr/>
          </p:nvSpPr>
          <p:spPr>
            <a:xfrm>
              <a:off x="3634739" y="3143250"/>
              <a:ext cx="153352" cy="152400"/>
            </a:xfrm>
            <a:custGeom>
              <a:avLst/>
              <a:gdLst>
                <a:gd name="connsiteX0" fmla="*/ 153353 w 153352"/>
                <a:gd name="connsiteY0" fmla="*/ 29528 h 152400"/>
                <a:gd name="connsiteX1" fmla="*/ 29527 w 153352"/>
                <a:gd name="connsiteY1" fmla="*/ 152400 h 152400"/>
                <a:gd name="connsiteX2" fmla="*/ 0 w 153352"/>
                <a:gd name="connsiteY2" fmla="*/ 122872 h 152400"/>
                <a:gd name="connsiteX3" fmla="*/ 122872 w 153352"/>
                <a:gd name="connsiteY3" fmla="*/ 0 h 152400"/>
                <a:gd name="connsiteX4" fmla="*/ 137160 w 153352"/>
                <a:gd name="connsiteY4" fmla="*/ 15240 h 152400"/>
                <a:gd name="connsiteX5" fmla="*/ 153353 w 153352"/>
                <a:gd name="connsiteY5" fmla="*/ 29528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3352" h="152400">
                  <a:moveTo>
                    <a:pt x="153353" y="29528"/>
                  </a:moveTo>
                  <a:lnTo>
                    <a:pt x="29527" y="152400"/>
                  </a:lnTo>
                  <a:lnTo>
                    <a:pt x="0" y="122872"/>
                  </a:lnTo>
                  <a:lnTo>
                    <a:pt x="122872" y="0"/>
                  </a:lnTo>
                  <a:cubicBezTo>
                    <a:pt x="127635" y="4763"/>
                    <a:pt x="132397" y="10478"/>
                    <a:pt x="137160" y="15240"/>
                  </a:cubicBezTo>
                  <a:cubicBezTo>
                    <a:pt x="142875" y="20003"/>
                    <a:pt x="147638" y="24765"/>
                    <a:pt x="153353" y="2952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grpSp>
        <p:nvGrpSpPr>
          <p:cNvPr id="36" name="Graphic 1">
            <a:extLst>
              <a:ext uri="{FF2B5EF4-FFF2-40B4-BE49-F238E27FC236}">
                <a16:creationId xmlns:a16="http://schemas.microsoft.com/office/drawing/2014/main" id="{FE970AAA-B757-4245-8513-929E381FA97D}"/>
              </a:ext>
            </a:extLst>
          </p:cNvPr>
          <p:cNvGrpSpPr/>
          <p:nvPr/>
        </p:nvGrpSpPr>
        <p:grpSpPr>
          <a:xfrm>
            <a:off x="4620919" y="3879094"/>
            <a:ext cx="523478" cy="420166"/>
            <a:chOff x="6348412" y="2426970"/>
            <a:chExt cx="1081087" cy="867727"/>
          </a:xfrm>
          <a:solidFill>
            <a:schemeClr val="bg2"/>
          </a:solidFill>
        </p:grpSpPr>
        <p:grpSp>
          <p:nvGrpSpPr>
            <p:cNvPr id="37" name="Graphic 1">
              <a:extLst>
                <a:ext uri="{FF2B5EF4-FFF2-40B4-BE49-F238E27FC236}">
                  <a16:creationId xmlns:a16="http://schemas.microsoft.com/office/drawing/2014/main" id="{235DE243-B9D6-4F50-BD51-A56842435B2A}"/>
                </a:ext>
              </a:extLst>
            </p:cNvPr>
            <p:cNvGrpSpPr/>
            <p:nvPr/>
          </p:nvGrpSpPr>
          <p:grpSpPr>
            <a:xfrm>
              <a:off x="6348412" y="2426970"/>
              <a:ext cx="1081087" cy="529589"/>
              <a:chOff x="6348412" y="2426970"/>
              <a:chExt cx="1081087" cy="529589"/>
            </a:xfrm>
            <a:grpFill/>
          </p:grpSpPr>
          <p:sp>
            <p:nvSpPr>
              <p:cNvPr id="39" name="Freeform: Shape 37">
                <a:extLst>
                  <a:ext uri="{FF2B5EF4-FFF2-40B4-BE49-F238E27FC236}">
                    <a16:creationId xmlns:a16="http://schemas.microsoft.com/office/drawing/2014/main" id="{5CB6A9CD-AF06-40DB-B065-6C8D3117C58D}"/>
                  </a:ext>
                </a:extLst>
              </p:cNvPr>
              <p:cNvSpPr/>
              <p:nvPr/>
            </p:nvSpPr>
            <p:spPr>
              <a:xfrm>
                <a:off x="6348412" y="2426970"/>
                <a:ext cx="463867" cy="333375"/>
              </a:xfrm>
              <a:custGeom>
                <a:avLst/>
                <a:gdLst>
                  <a:gd name="connsiteX0" fmla="*/ 442913 w 463867"/>
                  <a:gd name="connsiteY0" fmla="*/ 189547 h 333375"/>
                  <a:gd name="connsiteX1" fmla="*/ 462915 w 463867"/>
                  <a:gd name="connsiteY1" fmla="*/ 194310 h 333375"/>
                  <a:gd name="connsiteX2" fmla="*/ 299085 w 463867"/>
                  <a:gd name="connsiteY2" fmla="*/ 333375 h 333375"/>
                  <a:gd name="connsiteX3" fmla="*/ 22860 w 463867"/>
                  <a:gd name="connsiteY3" fmla="*/ 184785 h 333375"/>
                  <a:gd name="connsiteX4" fmla="*/ 0 w 463867"/>
                  <a:gd name="connsiteY4" fmla="*/ 166688 h 333375"/>
                  <a:gd name="connsiteX5" fmla="*/ 22860 w 463867"/>
                  <a:gd name="connsiteY5" fmla="*/ 148590 h 333375"/>
                  <a:gd name="connsiteX6" fmla="*/ 299085 w 463867"/>
                  <a:gd name="connsiteY6" fmla="*/ 0 h 333375"/>
                  <a:gd name="connsiteX7" fmla="*/ 463868 w 463867"/>
                  <a:gd name="connsiteY7" fmla="*/ 146685 h 333375"/>
                  <a:gd name="connsiteX8" fmla="*/ 442913 w 463867"/>
                  <a:gd name="connsiteY8" fmla="*/ 143827 h 333375"/>
                  <a:gd name="connsiteX9" fmla="*/ 293370 w 463867"/>
                  <a:gd name="connsiteY9" fmla="*/ 143827 h 333375"/>
                  <a:gd name="connsiteX10" fmla="*/ 293370 w 463867"/>
                  <a:gd name="connsiteY10" fmla="*/ 189547 h 333375"/>
                  <a:gd name="connsiteX11" fmla="*/ 442913 w 463867"/>
                  <a:gd name="connsiteY11" fmla="*/ 189547 h 333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63867" h="333375">
                    <a:moveTo>
                      <a:pt x="442913" y="189547"/>
                    </a:moveTo>
                    <a:cubicBezTo>
                      <a:pt x="450532" y="189547"/>
                      <a:pt x="457200" y="191452"/>
                      <a:pt x="462915" y="194310"/>
                    </a:cubicBezTo>
                    <a:cubicBezTo>
                      <a:pt x="449580" y="273367"/>
                      <a:pt x="381000" y="333375"/>
                      <a:pt x="299085" y="333375"/>
                    </a:cubicBezTo>
                    <a:cubicBezTo>
                      <a:pt x="214313" y="333375"/>
                      <a:pt x="41910" y="200025"/>
                      <a:pt x="22860" y="184785"/>
                    </a:cubicBezTo>
                    <a:lnTo>
                      <a:pt x="0" y="166688"/>
                    </a:lnTo>
                    <a:lnTo>
                      <a:pt x="22860" y="148590"/>
                    </a:lnTo>
                    <a:cubicBezTo>
                      <a:pt x="41910" y="133350"/>
                      <a:pt x="215265" y="0"/>
                      <a:pt x="299085" y="0"/>
                    </a:cubicBezTo>
                    <a:cubicBezTo>
                      <a:pt x="383857" y="0"/>
                      <a:pt x="454343" y="63817"/>
                      <a:pt x="463868" y="146685"/>
                    </a:cubicBezTo>
                    <a:cubicBezTo>
                      <a:pt x="457200" y="144780"/>
                      <a:pt x="449580" y="143827"/>
                      <a:pt x="442913" y="143827"/>
                    </a:cubicBezTo>
                    <a:lnTo>
                      <a:pt x="293370" y="143827"/>
                    </a:lnTo>
                    <a:lnTo>
                      <a:pt x="293370" y="189547"/>
                    </a:lnTo>
                    <a:lnTo>
                      <a:pt x="442913" y="189547"/>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40" name="Freeform: Shape 38">
                <a:extLst>
                  <a:ext uri="{FF2B5EF4-FFF2-40B4-BE49-F238E27FC236}">
                    <a16:creationId xmlns:a16="http://schemas.microsoft.com/office/drawing/2014/main" id="{41444079-4FBD-4C04-9A06-6FA89136B2C7}"/>
                  </a:ext>
                </a:extLst>
              </p:cNvPr>
              <p:cNvSpPr/>
              <p:nvPr/>
            </p:nvSpPr>
            <p:spPr>
              <a:xfrm>
                <a:off x="7052309" y="2685097"/>
                <a:ext cx="377189" cy="271462"/>
              </a:xfrm>
              <a:custGeom>
                <a:avLst/>
                <a:gdLst>
                  <a:gd name="connsiteX0" fmla="*/ 377190 w 377189"/>
                  <a:gd name="connsiteY0" fmla="*/ 135255 h 271462"/>
                  <a:gd name="connsiteX1" fmla="*/ 354330 w 377189"/>
                  <a:gd name="connsiteY1" fmla="*/ 153353 h 271462"/>
                  <a:gd name="connsiteX2" fmla="*/ 133350 w 377189"/>
                  <a:gd name="connsiteY2" fmla="*/ 271463 h 271462"/>
                  <a:gd name="connsiteX3" fmla="*/ 0 w 377189"/>
                  <a:gd name="connsiteY3" fmla="*/ 160973 h 271462"/>
                  <a:gd name="connsiteX4" fmla="*/ 28575 w 377189"/>
                  <a:gd name="connsiteY4" fmla="*/ 158115 h 271462"/>
                  <a:gd name="connsiteX5" fmla="*/ 155257 w 377189"/>
                  <a:gd name="connsiteY5" fmla="*/ 158115 h 271462"/>
                  <a:gd name="connsiteX6" fmla="*/ 155257 w 377189"/>
                  <a:gd name="connsiteY6" fmla="*/ 112395 h 271462"/>
                  <a:gd name="connsiteX7" fmla="*/ 29527 w 377189"/>
                  <a:gd name="connsiteY7" fmla="*/ 112395 h 271462"/>
                  <a:gd name="connsiteX8" fmla="*/ 0 w 377189"/>
                  <a:gd name="connsiteY8" fmla="*/ 115253 h 271462"/>
                  <a:gd name="connsiteX9" fmla="*/ 134302 w 377189"/>
                  <a:gd name="connsiteY9" fmla="*/ 0 h 271462"/>
                  <a:gd name="connsiteX10" fmla="*/ 355282 w 377189"/>
                  <a:gd name="connsiteY10" fmla="*/ 118110 h 271462"/>
                  <a:gd name="connsiteX11" fmla="*/ 377190 w 377189"/>
                  <a:gd name="connsiteY11" fmla="*/ 135255 h 2714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77189" h="271462">
                    <a:moveTo>
                      <a:pt x="377190" y="135255"/>
                    </a:moveTo>
                    <a:lnTo>
                      <a:pt x="354330" y="153353"/>
                    </a:lnTo>
                    <a:cubicBezTo>
                      <a:pt x="339090" y="165735"/>
                      <a:pt x="201930" y="271463"/>
                      <a:pt x="133350" y="271463"/>
                    </a:cubicBezTo>
                    <a:cubicBezTo>
                      <a:pt x="67627" y="271463"/>
                      <a:pt x="12382" y="223838"/>
                      <a:pt x="0" y="160973"/>
                    </a:cubicBezTo>
                    <a:cubicBezTo>
                      <a:pt x="8572" y="159068"/>
                      <a:pt x="18097" y="158115"/>
                      <a:pt x="28575" y="158115"/>
                    </a:cubicBezTo>
                    <a:lnTo>
                      <a:pt x="155257" y="158115"/>
                    </a:lnTo>
                    <a:lnTo>
                      <a:pt x="155257" y="112395"/>
                    </a:lnTo>
                    <a:lnTo>
                      <a:pt x="29527" y="112395"/>
                    </a:lnTo>
                    <a:cubicBezTo>
                      <a:pt x="19050" y="112395"/>
                      <a:pt x="9525" y="113348"/>
                      <a:pt x="0" y="115253"/>
                    </a:cubicBezTo>
                    <a:cubicBezTo>
                      <a:pt x="9525" y="49530"/>
                      <a:pt x="66675" y="0"/>
                      <a:pt x="134302" y="0"/>
                    </a:cubicBezTo>
                    <a:cubicBezTo>
                      <a:pt x="202882" y="0"/>
                      <a:pt x="340042" y="105728"/>
                      <a:pt x="355282" y="118110"/>
                    </a:cubicBezTo>
                    <a:lnTo>
                      <a:pt x="377190" y="135255"/>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sp>
          <p:nvSpPr>
            <p:cNvPr id="38" name="Freeform: Shape 36">
              <a:extLst>
                <a:ext uri="{FF2B5EF4-FFF2-40B4-BE49-F238E27FC236}">
                  <a16:creationId xmlns:a16="http://schemas.microsoft.com/office/drawing/2014/main" id="{BB19468E-18CB-4FC0-8928-99A7E044B2E5}"/>
                </a:ext>
              </a:extLst>
            </p:cNvPr>
            <p:cNvSpPr/>
            <p:nvPr/>
          </p:nvSpPr>
          <p:spPr>
            <a:xfrm>
              <a:off x="6679881" y="2572702"/>
              <a:ext cx="498157" cy="721994"/>
            </a:xfrm>
            <a:custGeom>
              <a:avLst/>
              <a:gdLst>
                <a:gd name="connsiteX0" fmla="*/ 272415 w 498157"/>
                <a:gd name="connsiteY0" fmla="*/ 452438 h 721994"/>
                <a:gd name="connsiteX1" fmla="*/ 324803 w 498157"/>
                <a:gd name="connsiteY1" fmla="*/ 300990 h 721994"/>
                <a:gd name="connsiteX2" fmla="*/ 373380 w 498157"/>
                <a:gd name="connsiteY2" fmla="*/ 273367 h 721994"/>
                <a:gd name="connsiteX3" fmla="*/ 370523 w 498157"/>
                <a:gd name="connsiteY3" fmla="*/ 247650 h 721994"/>
                <a:gd name="connsiteX4" fmla="*/ 372428 w 498157"/>
                <a:gd name="connsiteY4" fmla="*/ 227647 h 721994"/>
                <a:gd name="connsiteX5" fmla="*/ 292418 w 498157"/>
                <a:gd name="connsiteY5" fmla="*/ 269557 h 721994"/>
                <a:gd name="connsiteX6" fmla="*/ 265748 w 498157"/>
                <a:gd name="connsiteY6" fmla="*/ 304800 h 721994"/>
                <a:gd name="connsiteX7" fmla="*/ 181928 w 498157"/>
                <a:gd name="connsiteY7" fmla="*/ 29527 h 721994"/>
                <a:gd name="connsiteX8" fmla="*/ 132398 w 498157"/>
                <a:gd name="connsiteY8" fmla="*/ 0 h 721994"/>
                <a:gd name="connsiteX9" fmla="*/ 133350 w 498157"/>
                <a:gd name="connsiteY9" fmla="*/ 20002 h 721994"/>
                <a:gd name="connsiteX10" fmla="*/ 131445 w 498157"/>
                <a:gd name="connsiteY10" fmla="*/ 47625 h 721994"/>
                <a:gd name="connsiteX11" fmla="*/ 149543 w 498157"/>
                <a:gd name="connsiteY11" fmla="*/ 60960 h 721994"/>
                <a:gd name="connsiteX12" fmla="*/ 226695 w 498157"/>
                <a:gd name="connsiteY12" fmla="*/ 451485 h 721994"/>
                <a:gd name="connsiteX13" fmla="*/ 0 w 498157"/>
                <a:gd name="connsiteY13" fmla="*/ 699135 h 721994"/>
                <a:gd name="connsiteX14" fmla="*/ 0 w 498157"/>
                <a:gd name="connsiteY14" fmla="*/ 721995 h 721994"/>
                <a:gd name="connsiteX15" fmla="*/ 498157 w 498157"/>
                <a:gd name="connsiteY15" fmla="*/ 721995 h 721994"/>
                <a:gd name="connsiteX16" fmla="*/ 498157 w 498157"/>
                <a:gd name="connsiteY16" fmla="*/ 699135 h 721994"/>
                <a:gd name="connsiteX17" fmla="*/ 272415 w 498157"/>
                <a:gd name="connsiteY17" fmla="*/ 452438 h 721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98157" h="721994">
                  <a:moveTo>
                    <a:pt x="272415" y="452438"/>
                  </a:moveTo>
                  <a:cubicBezTo>
                    <a:pt x="274320" y="416242"/>
                    <a:pt x="283845" y="342900"/>
                    <a:pt x="324803" y="300990"/>
                  </a:cubicBezTo>
                  <a:cubicBezTo>
                    <a:pt x="339090" y="286702"/>
                    <a:pt x="354330" y="277177"/>
                    <a:pt x="373380" y="273367"/>
                  </a:cubicBezTo>
                  <a:cubicBezTo>
                    <a:pt x="371475" y="264795"/>
                    <a:pt x="370523" y="256222"/>
                    <a:pt x="370523" y="247650"/>
                  </a:cubicBezTo>
                  <a:cubicBezTo>
                    <a:pt x="370523" y="240982"/>
                    <a:pt x="371475" y="234315"/>
                    <a:pt x="372428" y="227647"/>
                  </a:cubicBezTo>
                  <a:cubicBezTo>
                    <a:pt x="340995" y="233363"/>
                    <a:pt x="314325" y="247650"/>
                    <a:pt x="292418" y="269557"/>
                  </a:cubicBezTo>
                  <a:cubicBezTo>
                    <a:pt x="281940" y="280035"/>
                    <a:pt x="273368" y="292417"/>
                    <a:pt x="265748" y="304800"/>
                  </a:cubicBezTo>
                  <a:cubicBezTo>
                    <a:pt x="256223" y="202882"/>
                    <a:pt x="234315" y="83820"/>
                    <a:pt x="181928" y="29527"/>
                  </a:cubicBezTo>
                  <a:cubicBezTo>
                    <a:pt x="167640" y="14288"/>
                    <a:pt x="150495" y="4763"/>
                    <a:pt x="132398" y="0"/>
                  </a:cubicBezTo>
                  <a:cubicBezTo>
                    <a:pt x="133350" y="6667"/>
                    <a:pt x="133350" y="13335"/>
                    <a:pt x="133350" y="20002"/>
                  </a:cubicBezTo>
                  <a:cubicBezTo>
                    <a:pt x="133350" y="29527"/>
                    <a:pt x="132398" y="38100"/>
                    <a:pt x="131445" y="47625"/>
                  </a:cubicBezTo>
                  <a:cubicBezTo>
                    <a:pt x="137160" y="50482"/>
                    <a:pt x="143828" y="55245"/>
                    <a:pt x="149543" y="60960"/>
                  </a:cubicBezTo>
                  <a:cubicBezTo>
                    <a:pt x="214313" y="127635"/>
                    <a:pt x="227648" y="348615"/>
                    <a:pt x="226695" y="451485"/>
                  </a:cubicBezTo>
                  <a:cubicBezTo>
                    <a:pt x="100013" y="462915"/>
                    <a:pt x="0" y="569595"/>
                    <a:pt x="0" y="699135"/>
                  </a:cubicBezTo>
                  <a:lnTo>
                    <a:pt x="0" y="721995"/>
                  </a:lnTo>
                  <a:lnTo>
                    <a:pt x="498157" y="721995"/>
                  </a:lnTo>
                  <a:lnTo>
                    <a:pt x="498157" y="699135"/>
                  </a:lnTo>
                  <a:cubicBezTo>
                    <a:pt x="498157" y="571500"/>
                    <a:pt x="398145" y="464820"/>
                    <a:pt x="272415" y="45243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grpSp>
        <p:nvGrpSpPr>
          <p:cNvPr id="41" name="Graphic 1">
            <a:extLst>
              <a:ext uri="{FF2B5EF4-FFF2-40B4-BE49-F238E27FC236}">
                <a16:creationId xmlns:a16="http://schemas.microsoft.com/office/drawing/2014/main" id="{7D61DD5F-833B-485F-AD03-9565BCC27C25}"/>
              </a:ext>
            </a:extLst>
          </p:cNvPr>
          <p:cNvGrpSpPr/>
          <p:nvPr/>
        </p:nvGrpSpPr>
        <p:grpSpPr>
          <a:xfrm>
            <a:off x="7140632" y="4638718"/>
            <a:ext cx="352368" cy="353290"/>
            <a:chOff x="8959214" y="2548890"/>
            <a:chExt cx="727710" cy="729614"/>
          </a:xfrm>
          <a:solidFill>
            <a:schemeClr val="bg2"/>
          </a:solidFill>
        </p:grpSpPr>
        <p:sp>
          <p:nvSpPr>
            <p:cNvPr id="42" name="Freeform: Shape 40">
              <a:extLst>
                <a:ext uri="{FF2B5EF4-FFF2-40B4-BE49-F238E27FC236}">
                  <a16:creationId xmlns:a16="http://schemas.microsoft.com/office/drawing/2014/main" id="{F9BDA700-B368-48A4-B1E0-CD471D43318B}"/>
                </a:ext>
              </a:extLst>
            </p:cNvPr>
            <p:cNvSpPr/>
            <p:nvPr/>
          </p:nvSpPr>
          <p:spPr>
            <a:xfrm>
              <a:off x="8959214" y="3156584"/>
              <a:ext cx="120967" cy="121920"/>
            </a:xfrm>
            <a:custGeom>
              <a:avLst/>
              <a:gdLst>
                <a:gd name="connsiteX0" fmla="*/ 120968 w 120967"/>
                <a:gd name="connsiteY0" fmla="*/ 33338 h 121920"/>
                <a:gd name="connsiteX1" fmla="*/ 33338 w 120967"/>
                <a:gd name="connsiteY1" fmla="*/ 121920 h 121920"/>
                <a:gd name="connsiteX2" fmla="*/ 0 w 120967"/>
                <a:gd name="connsiteY2" fmla="*/ 88583 h 121920"/>
                <a:gd name="connsiteX3" fmla="*/ 87630 w 120967"/>
                <a:gd name="connsiteY3" fmla="*/ 0 h 121920"/>
                <a:gd name="connsiteX4" fmla="*/ 103823 w 120967"/>
                <a:gd name="connsiteY4" fmla="*/ 18098 h 121920"/>
                <a:gd name="connsiteX5" fmla="*/ 120968 w 120967"/>
                <a:gd name="connsiteY5" fmla="*/ 33338 h 121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0967" h="121920">
                  <a:moveTo>
                    <a:pt x="120968" y="33338"/>
                  </a:moveTo>
                  <a:lnTo>
                    <a:pt x="33338" y="121920"/>
                  </a:lnTo>
                  <a:lnTo>
                    <a:pt x="0" y="88583"/>
                  </a:lnTo>
                  <a:lnTo>
                    <a:pt x="87630" y="0"/>
                  </a:lnTo>
                  <a:cubicBezTo>
                    <a:pt x="92393" y="5715"/>
                    <a:pt x="98108" y="12383"/>
                    <a:pt x="103823" y="18098"/>
                  </a:cubicBezTo>
                  <a:cubicBezTo>
                    <a:pt x="109538" y="22860"/>
                    <a:pt x="115253" y="27623"/>
                    <a:pt x="120968" y="3333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nvGrpSpPr>
            <p:cNvPr id="43" name="Graphic 1">
              <a:extLst>
                <a:ext uri="{FF2B5EF4-FFF2-40B4-BE49-F238E27FC236}">
                  <a16:creationId xmlns:a16="http://schemas.microsoft.com/office/drawing/2014/main" id="{0ED727BF-098B-4C42-B30F-7A45EC46A2BF}"/>
                </a:ext>
              </a:extLst>
            </p:cNvPr>
            <p:cNvGrpSpPr/>
            <p:nvPr/>
          </p:nvGrpSpPr>
          <p:grpSpPr>
            <a:xfrm>
              <a:off x="8971174" y="2548890"/>
              <a:ext cx="715750" cy="716279"/>
              <a:chOff x="8971174" y="2548890"/>
              <a:chExt cx="715750" cy="716279"/>
            </a:xfrm>
            <a:grpFill/>
          </p:grpSpPr>
          <p:sp>
            <p:nvSpPr>
              <p:cNvPr id="44" name="Freeform: Shape 42">
                <a:extLst>
                  <a:ext uri="{FF2B5EF4-FFF2-40B4-BE49-F238E27FC236}">
                    <a16:creationId xmlns:a16="http://schemas.microsoft.com/office/drawing/2014/main" id="{466A0859-592B-4392-AAAE-C5F19807EB8D}"/>
                  </a:ext>
                </a:extLst>
              </p:cNvPr>
              <p:cNvSpPr/>
              <p:nvPr/>
            </p:nvSpPr>
            <p:spPr>
              <a:xfrm>
                <a:off x="8971174" y="2548890"/>
                <a:ext cx="715750" cy="716279"/>
              </a:xfrm>
              <a:custGeom>
                <a:avLst/>
                <a:gdLst>
                  <a:gd name="connsiteX0" fmla="*/ 686223 w 715750"/>
                  <a:gd name="connsiteY0" fmla="*/ 3810 h 716279"/>
                  <a:gd name="connsiteX1" fmla="*/ 91863 w 715750"/>
                  <a:gd name="connsiteY1" fmla="*/ 180975 h 716279"/>
                  <a:gd name="connsiteX2" fmla="*/ 75670 w 715750"/>
                  <a:gd name="connsiteY2" fmla="*/ 606743 h 716279"/>
                  <a:gd name="connsiteX3" fmla="*/ 149965 w 715750"/>
                  <a:gd name="connsiteY3" fmla="*/ 532447 h 716279"/>
                  <a:gd name="connsiteX4" fmla="*/ 183303 w 715750"/>
                  <a:gd name="connsiteY4" fmla="*/ 565785 h 716279"/>
                  <a:gd name="connsiteX5" fmla="*/ 109008 w 715750"/>
                  <a:gd name="connsiteY5" fmla="*/ 640080 h 716279"/>
                  <a:gd name="connsiteX6" fmla="*/ 313795 w 715750"/>
                  <a:gd name="connsiteY6" fmla="*/ 716280 h 716279"/>
                  <a:gd name="connsiteX7" fmla="*/ 535728 w 715750"/>
                  <a:gd name="connsiteY7" fmla="*/ 624840 h 716279"/>
                  <a:gd name="connsiteX8" fmla="*/ 711940 w 715750"/>
                  <a:gd name="connsiteY8" fmla="*/ 30480 h 716279"/>
                  <a:gd name="connsiteX9" fmla="*/ 715750 w 715750"/>
                  <a:gd name="connsiteY9" fmla="*/ 0 h 716279"/>
                  <a:gd name="connsiteX10" fmla="*/ 686223 w 715750"/>
                  <a:gd name="connsiteY10" fmla="*/ 3810 h 716279"/>
                  <a:gd name="connsiteX11" fmla="*/ 390948 w 715750"/>
                  <a:gd name="connsiteY11" fmla="*/ 454342 h 716279"/>
                  <a:gd name="connsiteX12" fmla="*/ 303318 w 715750"/>
                  <a:gd name="connsiteY12" fmla="*/ 488632 h 716279"/>
                  <a:gd name="connsiteX13" fmla="*/ 215688 w 715750"/>
                  <a:gd name="connsiteY13" fmla="*/ 455295 h 716279"/>
                  <a:gd name="connsiteX14" fmla="*/ 183303 w 715750"/>
                  <a:gd name="connsiteY14" fmla="*/ 362902 h 716279"/>
                  <a:gd name="connsiteX15" fmla="*/ 194733 w 715750"/>
                  <a:gd name="connsiteY15" fmla="*/ 299085 h 716279"/>
                  <a:gd name="connsiteX16" fmla="*/ 217593 w 715750"/>
                  <a:gd name="connsiteY16" fmla="*/ 264795 h 716279"/>
                  <a:gd name="connsiteX17" fmla="*/ 249978 w 715750"/>
                  <a:gd name="connsiteY17" fmla="*/ 242888 h 716279"/>
                  <a:gd name="connsiteX18" fmla="*/ 303318 w 715750"/>
                  <a:gd name="connsiteY18" fmla="*/ 233363 h 716279"/>
                  <a:gd name="connsiteX19" fmla="*/ 390948 w 715750"/>
                  <a:gd name="connsiteY19" fmla="*/ 267652 h 716279"/>
                  <a:gd name="connsiteX20" fmla="*/ 424286 w 715750"/>
                  <a:gd name="connsiteY20" fmla="*/ 361950 h 716279"/>
                  <a:gd name="connsiteX21" fmla="*/ 390948 w 715750"/>
                  <a:gd name="connsiteY21" fmla="*/ 454342 h 716279"/>
                  <a:gd name="connsiteX22" fmla="*/ 500486 w 715750"/>
                  <a:gd name="connsiteY22" fmla="*/ 500063 h 716279"/>
                  <a:gd name="connsiteX23" fmla="*/ 500486 w 715750"/>
                  <a:gd name="connsiteY23" fmla="*/ 516255 h 716279"/>
                  <a:gd name="connsiteX24" fmla="*/ 439525 w 715750"/>
                  <a:gd name="connsiteY24" fmla="*/ 516255 h 716279"/>
                  <a:gd name="connsiteX25" fmla="*/ 445240 w 715750"/>
                  <a:gd name="connsiteY25" fmla="*/ 499110 h 716279"/>
                  <a:gd name="connsiteX26" fmla="*/ 465243 w 715750"/>
                  <a:gd name="connsiteY26" fmla="*/ 477202 h 716279"/>
                  <a:gd name="connsiteX27" fmla="*/ 479530 w 715750"/>
                  <a:gd name="connsiteY27" fmla="*/ 461963 h 716279"/>
                  <a:gd name="connsiteX28" fmla="*/ 483340 w 715750"/>
                  <a:gd name="connsiteY28" fmla="*/ 451485 h 716279"/>
                  <a:gd name="connsiteX29" fmla="*/ 480483 w 715750"/>
                  <a:gd name="connsiteY29" fmla="*/ 442913 h 716279"/>
                  <a:gd name="connsiteX30" fmla="*/ 471911 w 715750"/>
                  <a:gd name="connsiteY30" fmla="*/ 440055 h 716279"/>
                  <a:gd name="connsiteX31" fmla="*/ 463338 w 715750"/>
                  <a:gd name="connsiteY31" fmla="*/ 442913 h 716279"/>
                  <a:gd name="connsiteX32" fmla="*/ 459528 w 715750"/>
                  <a:gd name="connsiteY32" fmla="*/ 454342 h 716279"/>
                  <a:gd name="connsiteX33" fmla="*/ 442383 w 715750"/>
                  <a:gd name="connsiteY33" fmla="*/ 452438 h 716279"/>
                  <a:gd name="connsiteX34" fmla="*/ 451908 w 715750"/>
                  <a:gd name="connsiteY34" fmla="*/ 431482 h 716279"/>
                  <a:gd name="connsiteX35" fmla="*/ 472863 w 715750"/>
                  <a:gd name="connsiteY35" fmla="*/ 424815 h 716279"/>
                  <a:gd name="connsiteX36" fmla="*/ 493818 w 715750"/>
                  <a:gd name="connsiteY36" fmla="*/ 432435 h 716279"/>
                  <a:gd name="connsiteX37" fmla="*/ 501438 w 715750"/>
                  <a:gd name="connsiteY37" fmla="*/ 450532 h 716279"/>
                  <a:gd name="connsiteX38" fmla="*/ 499533 w 715750"/>
                  <a:gd name="connsiteY38" fmla="*/ 461963 h 716279"/>
                  <a:gd name="connsiteX39" fmla="*/ 492865 w 715750"/>
                  <a:gd name="connsiteY39" fmla="*/ 473392 h 716279"/>
                  <a:gd name="connsiteX40" fmla="*/ 481436 w 715750"/>
                  <a:gd name="connsiteY40" fmla="*/ 484822 h 716279"/>
                  <a:gd name="connsiteX41" fmla="*/ 470958 w 715750"/>
                  <a:gd name="connsiteY41" fmla="*/ 495300 h 716279"/>
                  <a:gd name="connsiteX42" fmla="*/ 467148 w 715750"/>
                  <a:gd name="connsiteY42" fmla="*/ 500063 h 716279"/>
                  <a:gd name="connsiteX43" fmla="*/ 500486 w 715750"/>
                  <a:gd name="connsiteY43" fmla="*/ 500063 h 716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715750" h="716279">
                    <a:moveTo>
                      <a:pt x="686223" y="3810"/>
                    </a:moveTo>
                    <a:cubicBezTo>
                      <a:pt x="667173" y="6667"/>
                      <a:pt x="209973" y="62865"/>
                      <a:pt x="91863" y="180975"/>
                    </a:cubicBezTo>
                    <a:cubicBezTo>
                      <a:pt x="-25295" y="297180"/>
                      <a:pt x="-30057" y="483870"/>
                      <a:pt x="75670" y="606743"/>
                    </a:cubicBezTo>
                    <a:lnTo>
                      <a:pt x="149965" y="532447"/>
                    </a:lnTo>
                    <a:lnTo>
                      <a:pt x="183303" y="565785"/>
                    </a:lnTo>
                    <a:lnTo>
                      <a:pt x="109008" y="640080"/>
                    </a:lnTo>
                    <a:cubicBezTo>
                      <a:pt x="168063" y="690563"/>
                      <a:pt x="240453" y="716280"/>
                      <a:pt x="313795" y="716280"/>
                    </a:cubicBezTo>
                    <a:cubicBezTo>
                      <a:pt x="393805" y="716280"/>
                      <a:pt x="474768" y="685800"/>
                      <a:pt x="535728" y="624840"/>
                    </a:cubicBezTo>
                    <a:cubicBezTo>
                      <a:pt x="653838" y="506730"/>
                      <a:pt x="710036" y="50482"/>
                      <a:pt x="711940" y="30480"/>
                    </a:cubicBezTo>
                    <a:lnTo>
                      <a:pt x="715750" y="0"/>
                    </a:lnTo>
                    <a:lnTo>
                      <a:pt x="686223" y="3810"/>
                    </a:lnTo>
                    <a:close/>
                    <a:moveTo>
                      <a:pt x="390948" y="454342"/>
                    </a:moveTo>
                    <a:cubicBezTo>
                      <a:pt x="369040" y="477202"/>
                      <a:pt x="340465" y="488632"/>
                      <a:pt x="303318" y="488632"/>
                    </a:cubicBezTo>
                    <a:cubicBezTo>
                      <a:pt x="266170" y="488632"/>
                      <a:pt x="237595" y="477202"/>
                      <a:pt x="215688" y="455295"/>
                    </a:cubicBezTo>
                    <a:cubicBezTo>
                      <a:pt x="193780" y="432435"/>
                      <a:pt x="183303" y="401955"/>
                      <a:pt x="183303" y="362902"/>
                    </a:cubicBezTo>
                    <a:cubicBezTo>
                      <a:pt x="183303" y="338138"/>
                      <a:pt x="187113" y="316230"/>
                      <a:pt x="194733" y="299085"/>
                    </a:cubicBezTo>
                    <a:cubicBezTo>
                      <a:pt x="200448" y="286702"/>
                      <a:pt x="208068" y="275272"/>
                      <a:pt x="217593" y="264795"/>
                    </a:cubicBezTo>
                    <a:cubicBezTo>
                      <a:pt x="227118" y="254317"/>
                      <a:pt x="237595" y="247650"/>
                      <a:pt x="249978" y="242888"/>
                    </a:cubicBezTo>
                    <a:cubicBezTo>
                      <a:pt x="265218" y="236220"/>
                      <a:pt x="283315" y="233363"/>
                      <a:pt x="303318" y="233363"/>
                    </a:cubicBezTo>
                    <a:cubicBezTo>
                      <a:pt x="339513" y="233363"/>
                      <a:pt x="369040" y="244792"/>
                      <a:pt x="390948" y="267652"/>
                    </a:cubicBezTo>
                    <a:cubicBezTo>
                      <a:pt x="412855" y="290513"/>
                      <a:pt x="424286" y="321945"/>
                      <a:pt x="424286" y="361950"/>
                    </a:cubicBezTo>
                    <a:cubicBezTo>
                      <a:pt x="423333" y="400050"/>
                      <a:pt x="412855" y="431482"/>
                      <a:pt x="390948" y="454342"/>
                    </a:cubicBezTo>
                    <a:close/>
                    <a:moveTo>
                      <a:pt x="500486" y="500063"/>
                    </a:moveTo>
                    <a:lnTo>
                      <a:pt x="500486" y="516255"/>
                    </a:lnTo>
                    <a:lnTo>
                      <a:pt x="439525" y="516255"/>
                    </a:lnTo>
                    <a:cubicBezTo>
                      <a:pt x="440478" y="510540"/>
                      <a:pt x="442383" y="503872"/>
                      <a:pt x="445240" y="499110"/>
                    </a:cubicBezTo>
                    <a:cubicBezTo>
                      <a:pt x="448098" y="493395"/>
                      <a:pt x="454765" y="486727"/>
                      <a:pt x="465243" y="477202"/>
                    </a:cubicBezTo>
                    <a:cubicBezTo>
                      <a:pt x="472863" y="469582"/>
                      <a:pt x="477625" y="464820"/>
                      <a:pt x="479530" y="461963"/>
                    </a:cubicBezTo>
                    <a:cubicBezTo>
                      <a:pt x="482388" y="458152"/>
                      <a:pt x="483340" y="454342"/>
                      <a:pt x="483340" y="451485"/>
                    </a:cubicBezTo>
                    <a:cubicBezTo>
                      <a:pt x="483340" y="447675"/>
                      <a:pt x="482388" y="444817"/>
                      <a:pt x="480483" y="442913"/>
                    </a:cubicBezTo>
                    <a:cubicBezTo>
                      <a:pt x="478578" y="441007"/>
                      <a:pt x="475720" y="440055"/>
                      <a:pt x="471911" y="440055"/>
                    </a:cubicBezTo>
                    <a:cubicBezTo>
                      <a:pt x="468100" y="440055"/>
                      <a:pt x="465243" y="441007"/>
                      <a:pt x="463338" y="442913"/>
                    </a:cubicBezTo>
                    <a:cubicBezTo>
                      <a:pt x="461433" y="444817"/>
                      <a:pt x="459528" y="448627"/>
                      <a:pt x="459528" y="454342"/>
                    </a:cubicBezTo>
                    <a:lnTo>
                      <a:pt x="442383" y="452438"/>
                    </a:lnTo>
                    <a:cubicBezTo>
                      <a:pt x="443336" y="442913"/>
                      <a:pt x="447145" y="436245"/>
                      <a:pt x="451908" y="431482"/>
                    </a:cubicBezTo>
                    <a:cubicBezTo>
                      <a:pt x="456670" y="426720"/>
                      <a:pt x="464290" y="424815"/>
                      <a:pt x="472863" y="424815"/>
                    </a:cubicBezTo>
                    <a:cubicBezTo>
                      <a:pt x="481436" y="424815"/>
                      <a:pt x="489055" y="427672"/>
                      <a:pt x="493818" y="432435"/>
                    </a:cubicBezTo>
                    <a:cubicBezTo>
                      <a:pt x="498580" y="437197"/>
                      <a:pt x="501438" y="442913"/>
                      <a:pt x="501438" y="450532"/>
                    </a:cubicBezTo>
                    <a:cubicBezTo>
                      <a:pt x="501438" y="454342"/>
                      <a:pt x="500486" y="458152"/>
                      <a:pt x="499533" y="461963"/>
                    </a:cubicBezTo>
                    <a:cubicBezTo>
                      <a:pt x="497628" y="465772"/>
                      <a:pt x="495723" y="469582"/>
                      <a:pt x="492865" y="473392"/>
                    </a:cubicBezTo>
                    <a:cubicBezTo>
                      <a:pt x="490961" y="476250"/>
                      <a:pt x="487150" y="480060"/>
                      <a:pt x="481436" y="484822"/>
                    </a:cubicBezTo>
                    <a:cubicBezTo>
                      <a:pt x="475720" y="489585"/>
                      <a:pt x="472863" y="493395"/>
                      <a:pt x="470958" y="495300"/>
                    </a:cubicBezTo>
                    <a:cubicBezTo>
                      <a:pt x="469053" y="497205"/>
                      <a:pt x="468100" y="498157"/>
                      <a:pt x="467148" y="500063"/>
                    </a:cubicBezTo>
                    <a:lnTo>
                      <a:pt x="500486" y="500063"/>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45" name="Freeform: Shape 43">
                <a:extLst>
                  <a:ext uri="{FF2B5EF4-FFF2-40B4-BE49-F238E27FC236}">
                    <a16:creationId xmlns:a16="http://schemas.microsoft.com/office/drawing/2014/main" id="{6FEEE6A5-2936-479E-B174-CD3A41811048}"/>
                  </a:ext>
                </a:extLst>
              </p:cNvPr>
              <p:cNvSpPr/>
              <p:nvPr/>
            </p:nvSpPr>
            <p:spPr>
              <a:xfrm>
                <a:off x="9205912" y="2824162"/>
                <a:ext cx="137160" cy="170497"/>
              </a:xfrm>
              <a:custGeom>
                <a:avLst/>
                <a:gdLst>
                  <a:gd name="connsiteX0" fmla="*/ 68580 w 137160"/>
                  <a:gd name="connsiteY0" fmla="*/ 0 h 170497"/>
                  <a:gd name="connsiteX1" fmla="*/ 19050 w 137160"/>
                  <a:gd name="connsiteY1" fmla="*/ 20955 h 170497"/>
                  <a:gd name="connsiteX2" fmla="*/ 0 w 137160"/>
                  <a:gd name="connsiteY2" fmla="*/ 84772 h 170497"/>
                  <a:gd name="connsiteX3" fmla="*/ 19050 w 137160"/>
                  <a:gd name="connsiteY3" fmla="*/ 148590 h 170497"/>
                  <a:gd name="connsiteX4" fmla="*/ 68580 w 137160"/>
                  <a:gd name="connsiteY4" fmla="*/ 170497 h 170497"/>
                  <a:gd name="connsiteX5" fmla="*/ 118110 w 137160"/>
                  <a:gd name="connsiteY5" fmla="*/ 148590 h 170497"/>
                  <a:gd name="connsiteX6" fmla="*/ 137160 w 137160"/>
                  <a:gd name="connsiteY6" fmla="*/ 83820 h 170497"/>
                  <a:gd name="connsiteX7" fmla="*/ 118110 w 137160"/>
                  <a:gd name="connsiteY7" fmla="*/ 20003 h 170497"/>
                  <a:gd name="connsiteX8" fmla="*/ 68580 w 137160"/>
                  <a:gd name="connsiteY8" fmla="*/ 0 h 1704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7160" h="170497">
                    <a:moveTo>
                      <a:pt x="68580" y="0"/>
                    </a:moveTo>
                    <a:cubicBezTo>
                      <a:pt x="47625" y="0"/>
                      <a:pt x="31432" y="6667"/>
                      <a:pt x="19050" y="20955"/>
                    </a:cubicBezTo>
                    <a:cubicBezTo>
                      <a:pt x="6668" y="35242"/>
                      <a:pt x="0" y="56197"/>
                      <a:pt x="0" y="84772"/>
                    </a:cubicBezTo>
                    <a:cubicBezTo>
                      <a:pt x="0" y="112395"/>
                      <a:pt x="6668" y="134303"/>
                      <a:pt x="19050" y="148590"/>
                    </a:cubicBezTo>
                    <a:cubicBezTo>
                      <a:pt x="32385" y="162878"/>
                      <a:pt x="48577" y="170497"/>
                      <a:pt x="68580" y="170497"/>
                    </a:cubicBezTo>
                    <a:cubicBezTo>
                      <a:pt x="88582" y="170497"/>
                      <a:pt x="104775" y="162878"/>
                      <a:pt x="118110" y="148590"/>
                    </a:cubicBezTo>
                    <a:cubicBezTo>
                      <a:pt x="130493" y="134303"/>
                      <a:pt x="137160" y="112395"/>
                      <a:pt x="137160" y="83820"/>
                    </a:cubicBezTo>
                    <a:cubicBezTo>
                      <a:pt x="137160" y="55245"/>
                      <a:pt x="130493" y="34290"/>
                      <a:pt x="118110" y="20003"/>
                    </a:cubicBezTo>
                    <a:cubicBezTo>
                      <a:pt x="105727" y="6667"/>
                      <a:pt x="89535" y="0"/>
                      <a:pt x="68580" y="0"/>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grpSp>
      <p:sp>
        <p:nvSpPr>
          <p:cNvPr id="46" name="TextBox 48">
            <a:extLst>
              <a:ext uri="{FF2B5EF4-FFF2-40B4-BE49-F238E27FC236}">
                <a16:creationId xmlns:a16="http://schemas.microsoft.com/office/drawing/2014/main" id="{2296A35B-0EFD-4739-B6FD-F1450A4E2067}"/>
              </a:ext>
            </a:extLst>
          </p:cNvPr>
          <p:cNvSpPr txBox="1"/>
          <p:nvPr/>
        </p:nvSpPr>
        <p:spPr>
          <a:xfrm>
            <a:off x="1783584" y="2893413"/>
            <a:ext cx="2251643" cy="616836"/>
          </a:xfrm>
          <a:prstGeom prst="rect">
            <a:avLst/>
          </a:prstGeom>
          <a:noFill/>
        </p:spPr>
        <p:txBody>
          <a:bodyPr wrap="square" rtlCol="0">
            <a:spAutoFit/>
          </a:bodyPr>
          <a:lstStyle/>
          <a:p>
            <a:pPr marL="0" marR="0" lvl="0" indent="0" algn="r" defTabSz="914400" rtl="0" eaLnBrk="1" fontAlgn="auto" latinLnBrk="0" hangingPunct="1">
              <a:lnSpc>
                <a:spcPct val="15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rPr>
              <a:t>A wonderful serenity </a:t>
            </a:r>
            <a:r>
              <a:rPr kumimoji="0" lang="en-US" sz="1200" b="0" i="0" u="none" strike="noStrike" kern="1200" cap="none" spc="0" normalizeH="0" baseline="0" noProof="0">
                <a:ln>
                  <a:noFill/>
                </a:ln>
                <a:solidFill>
                  <a:srgbClr val="000000"/>
                </a:solidFill>
                <a:effectLst/>
                <a:uLnTx/>
                <a:uFillTx/>
                <a:latin typeface="等线" panose="020F0502020204030204"/>
                <a:ea typeface="+mn-ea"/>
                <a:cs typeface="+mn-cs"/>
              </a:rPr>
              <a:t>has taken has this </a:t>
            </a:r>
            <a:r>
              <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rPr>
              <a:t>possession of </a:t>
            </a:r>
            <a:r>
              <a:rPr kumimoji="0" lang="en-US" sz="1200" b="0" i="0" u="none" strike="noStrike" kern="1200" cap="none" spc="0" normalizeH="0" baseline="0" noProof="0">
                <a:ln>
                  <a:noFill/>
                </a:ln>
                <a:solidFill>
                  <a:srgbClr val="000000"/>
                </a:solidFill>
                <a:effectLst/>
                <a:uLnTx/>
                <a:uFillTx/>
                <a:latin typeface="等线" panose="020F0502020204030204"/>
                <a:ea typeface="+mn-ea"/>
                <a:cs typeface="+mn-cs"/>
              </a:rPr>
              <a:t>my entire</a:t>
            </a:r>
            <a:endPar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47" name="TextBox 49">
            <a:extLst>
              <a:ext uri="{FF2B5EF4-FFF2-40B4-BE49-F238E27FC236}">
                <a16:creationId xmlns:a16="http://schemas.microsoft.com/office/drawing/2014/main" id="{7B3C1C89-87F7-4BAF-B4BA-2B2B2133CB03}"/>
              </a:ext>
            </a:extLst>
          </p:cNvPr>
          <p:cNvSpPr txBox="1"/>
          <p:nvPr/>
        </p:nvSpPr>
        <p:spPr>
          <a:xfrm>
            <a:off x="4324072" y="2986776"/>
            <a:ext cx="1117172" cy="276999"/>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0F0F0"/>
                </a:solidFill>
                <a:effectLst/>
                <a:uLnTx/>
                <a:uFillTx/>
                <a:latin typeface="等线 Light" panose="020F0302020204030204"/>
                <a:ea typeface="+mn-ea"/>
                <a:cs typeface="+mn-cs"/>
              </a:rPr>
              <a:t>Description</a:t>
            </a:r>
          </a:p>
        </p:txBody>
      </p:sp>
      <p:sp>
        <p:nvSpPr>
          <p:cNvPr id="48" name="TextBox 50">
            <a:extLst>
              <a:ext uri="{FF2B5EF4-FFF2-40B4-BE49-F238E27FC236}">
                <a16:creationId xmlns:a16="http://schemas.microsoft.com/office/drawing/2014/main" id="{87E579D9-EED1-4E38-90CF-ACE44415B378}"/>
              </a:ext>
            </a:extLst>
          </p:cNvPr>
          <p:cNvSpPr txBox="1"/>
          <p:nvPr/>
        </p:nvSpPr>
        <p:spPr>
          <a:xfrm>
            <a:off x="2890185" y="2463556"/>
            <a:ext cx="1103574" cy="523220"/>
          </a:xfrm>
          <a:prstGeom prst="rect">
            <a:avLst/>
          </a:prstGeom>
          <a:noFill/>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00D99B"/>
                </a:solidFill>
                <a:effectLst/>
                <a:uLnTx/>
                <a:uFillTx/>
                <a:latin typeface="等线 Light" panose="020F0302020204030204"/>
                <a:ea typeface="+mn-ea"/>
                <a:cs typeface="+mn-cs"/>
              </a:rPr>
              <a:t>140K</a:t>
            </a:r>
          </a:p>
        </p:txBody>
      </p:sp>
      <p:sp>
        <p:nvSpPr>
          <p:cNvPr id="49" name="TextBox 53">
            <a:extLst>
              <a:ext uri="{FF2B5EF4-FFF2-40B4-BE49-F238E27FC236}">
                <a16:creationId xmlns:a16="http://schemas.microsoft.com/office/drawing/2014/main" id="{068AE426-DDDB-4B68-8265-E176079EF44D}"/>
              </a:ext>
            </a:extLst>
          </p:cNvPr>
          <p:cNvSpPr txBox="1"/>
          <p:nvPr/>
        </p:nvSpPr>
        <p:spPr>
          <a:xfrm>
            <a:off x="2806559" y="3748459"/>
            <a:ext cx="1183440" cy="523220"/>
          </a:xfrm>
          <a:prstGeom prst="rect">
            <a:avLst/>
          </a:prstGeom>
          <a:noFill/>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FF388A"/>
                </a:solidFill>
                <a:effectLst/>
                <a:uLnTx/>
                <a:uFillTx/>
                <a:latin typeface="等线 Light" panose="020F0302020204030204"/>
                <a:ea typeface="+mn-ea"/>
                <a:cs typeface="+mn-cs"/>
              </a:rPr>
              <a:t>360K</a:t>
            </a:r>
          </a:p>
        </p:txBody>
      </p:sp>
      <p:sp>
        <p:nvSpPr>
          <p:cNvPr id="50" name="TextBox 56">
            <a:extLst>
              <a:ext uri="{FF2B5EF4-FFF2-40B4-BE49-F238E27FC236}">
                <a16:creationId xmlns:a16="http://schemas.microsoft.com/office/drawing/2014/main" id="{45AFF838-F442-43FF-8079-2949753DB623}"/>
              </a:ext>
            </a:extLst>
          </p:cNvPr>
          <p:cNvSpPr txBox="1"/>
          <p:nvPr/>
        </p:nvSpPr>
        <p:spPr>
          <a:xfrm>
            <a:off x="2894526" y="5029765"/>
            <a:ext cx="1103574" cy="523220"/>
          </a:xfrm>
          <a:prstGeom prst="rect">
            <a:avLst/>
          </a:prstGeom>
          <a:noFill/>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FFD229"/>
                </a:solidFill>
                <a:effectLst/>
                <a:uLnTx/>
                <a:uFillTx/>
                <a:latin typeface="等线 Light" panose="020F0302020204030204"/>
                <a:ea typeface="+mn-ea"/>
                <a:cs typeface="+mn-cs"/>
              </a:rPr>
              <a:t>250K</a:t>
            </a:r>
          </a:p>
        </p:txBody>
      </p:sp>
      <p:sp>
        <p:nvSpPr>
          <p:cNvPr id="51" name="TextBox 57">
            <a:extLst>
              <a:ext uri="{FF2B5EF4-FFF2-40B4-BE49-F238E27FC236}">
                <a16:creationId xmlns:a16="http://schemas.microsoft.com/office/drawing/2014/main" id="{DAB70F4F-421B-49C8-9F56-37FBF134E888}"/>
              </a:ext>
            </a:extLst>
          </p:cNvPr>
          <p:cNvSpPr txBox="1"/>
          <p:nvPr/>
        </p:nvSpPr>
        <p:spPr>
          <a:xfrm>
            <a:off x="8167743" y="2305050"/>
            <a:ext cx="2261988" cy="616836"/>
          </a:xfrm>
          <a:prstGeom prst="rect">
            <a:avLst/>
          </a:prstGeom>
          <a:noFill/>
        </p:spPr>
        <p:txBody>
          <a:bodyPr wrap="square" rtlCol="0">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rPr>
              <a:t>A wonderful serenity </a:t>
            </a:r>
            <a:r>
              <a:rPr kumimoji="0" lang="en-US" sz="1200" b="0" i="0" u="none" strike="noStrike" kern="1200" cap="none" spc="0" normalizeH="0" baseline="0" noProof="0">
                <a:ln>
                  <a:noFill/>
                </a:ln>
                <a:solidFill>
                  <a:srgbClr val="000000"/>
                </a:solidFill>
                <a:effectLst/>
                <a:uLnTx/>
                <a:uFillTx/>
                <a:latin typeface="等线" panose="020F0502020204030204"/>
                <a:ea typeface="+mn-ea"/>
                <a:cs typeface="+mn-cs"/>
              </a:rPr>
              <a:t>has taken has this </a:t>
            </a:r>
            <a:r>
              <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rPr>
              <a:t>possession of </a:t>
            </a:r>
            <a:r>
              <a:rPr kumimoji="0" lang="en-US" sz="1200" b="0" i="0" u="none" strike="noStrike" kern="1200" cap="none" spc="0" normalizeH="0" baseline="0" noProof="0">
                <a:ln>
                  <a:noFill/>
                </a:ln>
                <a:solidFill>
                  <a:srgbClr val="000000"/>
                </a:solidFill>
                <a:effectLst/>
                <a:uLnTx/>
                <a:uFillTx/>
                <a:latin typeface="等线" panose="020F0502020204030204"/>
                <a:ea typeface="+mn-ea"/>
                <a:cs typeface="+mn-cs"/>
              </a:rPr>
              <a:t>my entire</a:t>
            </a:r>
            <a:endPar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52" name="TextBox 59">
            <a:extLst>
              <a:ext uri="{FF2B5EF4-FFF2-40B4-BE49-F238E27FC236}">
                <a16:creationId xmlns:a16="http://schemas.microsoft.com/office/drawing/2014/main" id="{0F7B6D6F-2619-458D-B7D3-40E54EB8F238}"/>
              </a:ext>
            </a:extLst>
          </p:cNvPr>
          <p:cNvSpPr txBox="1"/>
          <p:nvPr/>
        </p:nvSpPr>
        <p:spPr>
          <a:xfrm>
            <a:off x="8167743" y="1888036"/>
            <a:ext cx="1029098" cy="52322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385FFF"/>
                </a:solidFill>
                <a:effectLst/>
                <a:uLnTx/>
                <a:uFillTx/>
                <a:latin typeface="等线 Light" panose="020F0302020204030204"/>
                <a:ea typeface="+mn-ea"/>
                <a:cs typeface="+mn-cs"/>
              </a:rPr>
              <a:t>423K</a:t>
            </a:r>
          </a:p>
        </p:txBody>
      </p:sp>
      <p:sp>
        <p:nvSpPr>
          <p:cNvPr id="53" name="TextBox 62">
            <a:extLst>
              <a:ext uri="{FF2B5EF4-FFF2-40B4-BE49-F238E27FC236}">
                <a16:creationId xmlns:a16="http://schemas.microsoft.com/office/drawing/2014/main" id="{0A780A11-A298-4514-8BAC-87FFD9A4CA82}"/>
              </a:ext>
            </a:extLst>
          </p:cNvPr>
          <p:cNvSpPr txBox="1"/>
          <p:nvPr/>
        </p:nvSpPr>
        <p:spPr>
          <a:xfrm>
            <a:off x="8167743" y="3170767"/>
            <a:ext cx="1029098" cy="52322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8F38FF"/>
                </a:solidFill>
                <a:effectLst/>
                <a:uLnTx/>
                <a:uFillTx/>
                <a:latin typeface="等线 Light" panose="020F0302020204030204"/>
                <a:ea typeface="+mn-ea"/>
                <a:cs typeface="+mn-cs"/>
              </a:rPr>
              <a:t>515K</a:t>
            </a:r>
          </a:p>
        </p:txBody>
      </p:sp>
      <p:sp>
        <p:nvSpPr>
          <p:cNvPr id="54" name="TextBox 65">
            <a:extLst>
              <a:ext uri="{FF2B5EF4-FFF2-40B4-BE49-F238E27FC236}">
                <a16:creationId xmlns:a16="http://schemas.microsoft.com/office/drawing/2014/main" id="{940949F2-99C9-4ADD-8F9D-A55C18D2B5E0}"/>
              </a:ext>
            </a:extLst>
          </p:cNvPr>
          <p:cNvSpPr txBox="1"/>
          <p:nvPr/>
        </p:nvSpPr>
        <p:spPr>
          <a:xfrm>
            <a:off x="8167743" y="4452465"/>
            <a:ext cx="1029098" cy="52322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FF4C38"/>
                </a:solidFill>
                <a:effectLst/>
                <a:uLnTx/>
                <a:uFillTx/>
                <a:latin typeface="等线 Light" panose="020F0302020204030204"/>
                <a:ea typeface="+mn-ea"/>
                <a:cs typeface="+mn-cs"/>
              </a:rPr>
              <a:t>435K</a:t>
            </a:r>
          </a:p>
        </p:txBody>
      </p:sp>
      <p:sp>
        <p:nvSpPr>
          <p:cNvPr id="55" name="TextBox 66">
            <a:extLst>
              <a:ext uri="{FF2B5EF4-FFF2-40B4-BE49-F238E27FC236}">
                <a16:creationId xmlns:a16="http://schemas.microsoft.com/office/drawing/2014/main" id="{88AEA20B-1F29-4F76-99AC-6D3D644CE11A}"/>
              </a:ext>
            </a:extLst>
          </p:cNvPr>
          <p:cNvSpPr txBox="1"/>
          <p:nvPr/>
        </p:nvSpPr>
        <p:spPr>
          <a:xfrm>
            <a:off x="6758230" y="2468691"/>
            <a:ext cx="1117172" cy="276999"/>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0F0F0"/>
                </a:solidFill>
                <a:effectLst/>
                <a:uLnTx/>
                <a:uFillTx/>
                <a:latin typeface="等线 Light" panose="020F0302020204030204"/>
                <a:ea typeface="+mn-ea"/>
                <a:cs typeface="+mn-cs"/>
              </a:rPr>
              <a:t>Description</a:t>
            </a:r>
          </a:p>
        </p:txBody>
      </p:sp>
      <p:sp>
        <p:nvSpPr>
          <p:cNvPr id="56" name="TextBox 67">
            <a:extLst>
              <a:ext uri="{FF2B5EF4-FFF2-40B4-BE49-F238E27FC236}">
                <a16:creationId xmlns:a16="http://schemas.microsoft.com/office/drawing/2014/main" id="{D72F0EF7-76C1-4557-A726-B5C0F2A457D3}"/>
              </a:ext>
            </a:extLst>
          </p:cNvPr>
          <p:cNvSpPr txBox="1"/>
          <p:nvPr/>
        </p:nvSpPr>
        <p:spPr>
          <a:xfrm>
            <a:off x="4324072" y="4328201"/>
            <a:ext cx="1117172" cy="276999"/>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0F0F0"/>
                </a:solidFill>
                <a:effectLst/>
                <a:uLnTx/>
                <a:uFillTx/>
                <a:latin typeface="等线 Light" panose="020F0302020204030204"/>
                <a:ea typeface="+mn-ea"/>
                <a:cs typeface="+mn-cs"/>
              </a:rPr>
              <a:t>Description</a:t>
            </a:r>
          </a:p>
        </p:txBody>
      </p:sp>
      <p:sp>
        <p:nvSpPr>
          <p:cNvPr id="57" name="TextBox 68">
            <a:extLst>
              <a:ext uri="{FF2B5EF4-FFF2-40B4-BE49-F238E27FC236}">
                <a16:creationId xmlns:a16="http://schemas.microsoft.com/office/drawing/2014/main" id="{FD8055CE-8D3C-45A1-8858-0265522290D8}"/>
              </a:ext>
            </a:extLst>
          </p:cNvPr>
          <p:cNvSpPr txBox="1"/>
          <p:nvPr/>
        </p:nvSpPr>
        <p:spPr>
          <a:xfrm>
            <a:off x="4324072" y="5614912"/>
            <a:ext cx="1117172" cy="276999"/>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0F0F0"/>
                </a:solidFill>
                <a:effectLst/>
                <a:uLnTx/>
                <a:uFillTx/>
                <a:latin typeface="等线 Light" panose="020F0302020204030204"/>
                <a:ea typeface="+mn-ea"/>
                <a:cs typeface="+mn-cs"/>
              </a:rPr>
              <a:t>Description</a:t>
            </a:r>
          </a:p>
        </p:txBody>
      </p:sp>
      <p:sp>
        <p:nvSpPr>
          <p:cNvPr id="58" name="TextBox 69">
            <a:extLst>
              <a:ext uri="{FF2B5EF4-FFF2-40B4-BE49-F238E27FC236}">
                <a16:creationId xmlns:a16="http://schemas.microsoft.com/office/drawing/2014/main" id="{86BAD2BC-EC91-480E-BAE0-C4C9A9C3A40D}"/>
              </a:ext>
            </a:extLst>
          </p:cNvPr>
          <p:cNvSpPr txBox="1"/>
          <p:nvPr/>
        </p:nvSpPr>
        <p:spPr>
          <a:xfrm>
            <a:off x="6758230" y="3778202"/>
            <a:ext cx="1117172" cy="276999"/>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0F0F0"/>
                </a:solidFill>
                <a:effectLst/>
                <a:uLnTx/>
                <a:uFillTx/>
                <a:latin typeface="等线 Light" panose="020F0302020204030204"/>
                <a:ea typeface="+mn-ea"/>
                <a:cs typeface="+mn-cs"/>
              </a:rPr>
              <a:t>Description</a:t>
            </a:r>
          </a:p>
        </p:txBody>
      </p:sp>
      <p:sp>
        <p:nvSpPr>
          <p:cNvPr id="59" name="TextBox 70">
            <a:extLst>
              <a:ext uri="{FF2B5EF4-FFF2-40B4-BE49-F238E27FC236}">
                <a16:creationId xmlns:a16="http://schemas.microsoft.com/office/drawing/2014/main" id="{1DC29A18-1F8B-4E07-ADA5-4EC773D9C0D9}"/>
              </a:ext>
            </a:extLst>
          </p:cNvPr>
          <p:cNvSpPr txBox="1"/>
          <p:nvPr/>
        </p:nvSpPr>
        <p:spPr>
          <a:xfrm>
            <a:off x="6758230" y="5042558"/>
            <a:ext cx="1117172" cy="276999"/>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0F0F0"/>
                </a:solidFill>
                <a:effectLst/>
                <a:uLnTx/>
                <a:uFillTx/>
                <a:latin typeface="等线 Light" panose="020F0302020204030204"/>
                <a:ea typeface="+mn-ea"/>
                <a:cs typeface="+mn-cs"/>
              </a:rPr>
              <a:t>Description</a:t>
            </a:r>
          </a:p>
        </p:txBody>
      </p:sp>
      <p:sp>
        <p:nvSpPr>
          <p:cNvPr id="60" name="TextBox 71">
            <a:extLst>
              <a:ext uri="{FF2B5EF4-FFF2-40B4-BE49-F238E27FC236}">
                <a16:creationId xmlns:a16="http://schemas.microsoft.com/office/drawing/2014/main" id="{5FB71DD0-58A5-4AE9-BB8C-B8AEF68A9EF1}"/>
              </a:ext>
            </a:extLst>
          </p:cNvPr>
          <p:cNvSpPr txBox="1"/>
          <p:nvPr/>
        </p:nvSpPr>
        <p:spPr>
          <a:xfrm>
            <a:off x="1783584" y="4177274"/>
            <a:ext cx="2251643" cy="616836"/>
          </a:xfrm>
          <a:prstGeom prst="rect">
            <a:avLst/>
          </a:prstGeom>
          <a:noFill/>
        </p:spPr>
        <p:txBody>
          <a:bodyPr wrap="square" rtlCol="0">
            <a:spAutoFit/>
          </a:bodyPr>
          <a:lstStyle/>
          <a:p>
            <a:pPr marL="0" marR="0" lvl="0" indent="0" algn="r" defTabSz="914400" rtl="0" eaLnBrk="1" fontAlgn="auto" latinLnBrk="0" hangingPunct="1">
              <a:lnSpc>
                <a:spcPct val="15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rPr>
              <a:t>A wonderful serenity </a:t>
            </a:r>
            <a:r>
              <a:rPr kumimoji="0" lang="en-US" sz="1200" b="0" i="0" u="none" strike="noStrike" kern="1200" cap="none" spc="0" normalizeH="0" baseline="0" noProof="0">
                <a:ln>
                  <a:noFill/>
                </a:ln>
                <a:solidFill>
                  <a:srgbClr val="000000"/>
                </a:solidFill>
                <a:effectLst/>
                <a:uLnTx/>
                <a:uFillTx/>
                <a:latin typeface="等线" panose="020F0502020204030204"/>
                <a:ea typeface="+mn-ea"/>
                <a:cs typeface="+mn-cs"/>
              </a:rPr>
              <a:t>has taken has this </a:t>
            </a:r>
            <a:r>
              <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rPr>
              <a:t>possession of </a:t>
            </a:r>
            <a:r>
              <a:rPr kumimoji="0" lang="en-US" sz="1200" b="0" i="0" u="none" strike="noStrike" kern="1200" cap="none" spc="0" normalizeH="0" baseline="0" noProof="0">
                <a:ln>
                  <a:noFill/>
                </a:ln>
                <a:solidFill>
                  <a:srgbClr val="000000"/>
                </a:solidFill>
                <a:effectLst/>
                <a:uLnTx/>
                <a:uFillTx/>
                <a:latin typeface="等线" panose="020F0502020204030204"/>
                <a:ea typeface="+mn-ea"/>
                <a:cs typeface="+mn-cs"/>
              </a:rPr>
              <a:t>my entire</a:t>
            </a:r>
            <a:endPar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61" name="TextBox 72">
            <a:extLst>
              <a:ext uri="{FF2B5EF4-FFF2-40B4-BE49-F238E27FC236}">
                <a16:creationId xmlns:a16="http://schemas.microsoft.com/office/drawing/2014/main" id="{62394A36-4ED1-4AA1-BC50-7AE46EEB39D8}"/>
              </a:ext>
            </a:extLst>
          </p:cNvPr>
          <p:cNvSpPr txBox="1"/>
          <p:nvPr/>
        </p:nvSpPr>
        <p:spPr>
          <a:xfrm>
            <a:off x="1783584" y="5458973"/>
            <a:ext cx="2251643" cy="616836"/>
          </a:xfrm>
          <a:prstGeom prst="rect">
            <a:avLst/>
          </a:prstGeom>
          <a:noFill/>
        </p:spPr>
        <p:txBody>
          <a:bodyPr wrap="square" rtlCol="0">
            <a:spAutoFit/>
          </a:bodyPr>
          <a:lstStyle/>
          <a:p>
            <a:pPr marL="0" marR="0" lvl="0" indent="0" algn="r" defTabSz="914400" rtl="0" eaLnBrk="1" fontAlgn="auto" latinLnBrk="0" hangingPunct="1">
              <a:lnSpc>
                <a:spcPct val="15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rPr>
              <a:t>A wonderful serenity </a:t>
            </a:r>
            <a:r>
              <a:rPr kumimoji="0" lang="en-US" sz="1200" b="0" i="0" u="none" strike="noStrike" kern="1200" cap="none" spc="0" normalizeH="0" baseline="0" noProof="0">
                <a:ln>
                  <a:noFill/>
                </a:ln>
                <a:solidFill>
                  <a:srgbClr val="000000"/>
                </a:solidFill>
                <a:effectLst/>
                <a:uLnTx/>
                <a:uFillTx/>
                <a:latin typeface="等线" panose="020F0502020204030204"/>
                <a:ea typeface="+mn-ea"/>
                <a:cs typeface="+mn-cs"/>
              </a:rPr>
              <a:t>has taken has this </a:t>
            </a:r>
            <a:r>
              <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rPr>
              <a:t>possession of </a:t>
            </a:r>
            <a:r>
              <a:rPr kumimoji="0" lang="en-US" sz="1200" b="0" i="0" u="none" strike="noStrike" kern="1200" cap="none" spc="0" normalizeH="0" baseline="0" noProof="0">
                <a:ln>
                  <a:noFill/>
                </a:ln>
                <a:solidFill>
                  <a:srgbClr val="000000"/>
                </a:solidFill>
                <a:effectLst/>
                <a:uLnTx/>
                <a:uFillTx/>
                <a:latin typeface="等线" panose="020F0502020204030204"/>
                <a:ea typeface="+mn-ea"/>
                <a:cs typeface="+mn-cs"/>
              </a:rPr>
              <a:t>my entire</a:t>
            </a:r>
            <a:endPar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62" name="TextBox 73">
            <a:extLst>
              <a:ext uri="{FF2B5EF4-FFF2-40B4-BE49-F238E27FC236}">
                <a16:creationId xmlns:a16="http://schemas.microsoft.com/office/drawing/2014/main" id="{AA193B32-31EA-4531-8236-8B910483A091}"/>
              </a:ext>
            </a:extLst>
          </p:cNvPr>
          <p:cNvSpPr txBox="1"/>
          <p:nvPr/>
        </p:nvSpPr>
        <p:spPr>
          <a:xfrm>
            <a:off x="8167743" y="3560200"/>
            <a:ext cx="2261988" cy="616836"/>
          </a:xfrm>
          <a:prstGeom prst="rect">
            <a:avLst/>
          </a:prstGeom>
          <a:noFill/>
        </p:spPr>
        <p:txBody>
          <a:bodyPr wrap="square" rtlCol="0">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rPr>
              <a:t>A wonderful serenity </a:t>
            </a:r>
            <a:r>
              <a:rPr kumimoji="0" lang="en-US" sz="1200" b="0" i="0" u="none" strike="noStrike" kern="1200" cap="none" spc="0" normalizeH="0" baseline="0" noProof="0">
                <a:ln>
                  <a:noFill/>
                </a:ln>
                <a:solidFill>
                  <a:srgbClr val="000000"/>
                </a:solidFill>
                <a:effectLst/>
                <a:uLnTx/>
                <a:uFillTx/>
                <a:latin typeface="等线" panose="020F0502020204030204"/>
                <a:ea typeface="+mn-ea"/>
                <a:cs typeface="+mn-cs"/>
              </a:rPr>
              <a:t>has taken has this </a:t>
            </a:r>
            <a:r>
              <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rPr>
              <a:t>possession of </a:t>
            </a:r>
            <a:r>
              <a:rPr kumimoji="0" lang="en-US" sz="1200" b="0" i="0" u="none" strike="noStrike" kern="1200" cap="none" spc="0" normalizeH="0" baseline="0" noProof="0">
                <a:ln>
                  <a:noFill/>
                </a:ln>
                <a:solidFill>
                  <a:srgbClr val="000000"/>
                </a:solidFill>
                <a:effectLst/>
                <a:uLnTx/>
                <a:uFillTx/>
                <a:latin typeface="等线" panose="020F0502020204030204"/>
                <a:ea typeface="+mn-ea"/>
                <a:cs typeface="+mn-cs"/>
              </a:rPr>
              <a:t>my entire</a:t>
            </a:r>
            <a:endPar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63" name="TextBox 74">
            <a:extLst>
              <a:ext uri="{FF2B5EF4-FFF2-40B4-BE49-F238E27FC236}">
                <a16:creationId xmlns:a16="http://schemas.microsoft.com/office/drawing/2014/main" id="{447BEE64-75F2-4D28-8C51-25F10A0E1F3A}"/>
              </a:ext>
            </a:extLst>
          </p:cNvPr>
          <p:cNvSpPr txBox="1"/>
          <p:nvPr/>
        </p:nvSpPr>
        <p:spPr>
          <a:xfrm>
            <a:off x="8167743" y="4881141"/>
            <a:ext cx="2261988" cy="616836"/>
          </a:xfrm>
          <a:prstGeom prst="rect">
            <a:avLst/>
          </a:prstGeom>
          <a:noFill/>
        </p:spPr>
        <p:txBody>
          <a:bodyPr wrap="square" rtlCol="0">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rPr>
              <a:t>A wonderful serenity </a:t>
            </a:r>
            <a:r>
              <a:rPr kumimoji="0" lang="en-US" sz="1200" b="0" i="0" u="none" strike="noStrike" kern="1200" cap="none" spc="0" normalizeH="0" baseline="0" noProof="0">
                <a:ln>
                  <a:noFill/>
                </a:ln>
                <a:solidFill>
                  <a:srgbClr val="000000"/>
                </a:solidFill>
                <a:effectLst/>
                <a:uLnTx/>
                <a:uFillTx/>
                <a:latin typeface="等线" panose="020F0502020204030204"/>
                <a:ea typeface="+mn-ea"/>
                <a:cs typeface="+mn-cs"/>
              </a:rPr>
              <a:t>has taken has this </a:t>
            </a:r>
            <a:r>
              <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rPr>
              <a:t>possession of </a:t>
            </a:r>
            <a:r>
              <a:rPr kumimoji="0" lang="en-US" sz="1200" b="0" i="0" u="none" strike="noStrike" kern="1200" cap="none" spc="0" normalizeH="0" baseline="0" noProof="0">
                <a:ln>
                  <a:noFill/>
                </a:ln>
                <a:solidFill>
                  <a:srgbClr val="000000"/>
                </a:solidFill>
                <a:effectLst/>
                <a:uLnTx/>
                <a:uFillTx/>
                <a:latin typeface="等线" panose="020F0502020204030204"/>
                <a:ea typeface="+mn-ea"/>
                <a:cs typeface="+mn-cs"/>
              </a:rPr>
              <a:t>my entire</a:t>
            </a:r>
            <a:endPar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Tree>
    <p:extLst>
      <p:ext uri="{BB962C8B-B14F-4D97-AF65-F5344CB8AC3E}">
        <p14:creationId xmlns:p14="http://schemas.microsoft.com/office/powerpoint/2010/main" val="1203357271"/>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500"/>
                                        <p:tgtEl>
                                          <p:spTgt spid="20"/>
                                        </p:tgtEl>
                                      </p:cBhvr>
                                    </p:animEffect>
                                  </p:childTnLst>
                                </p:cTn>
                              </p:par>
                            </p:childTnLst>
                          </p:cTn>
                        </p:par>
                        <p:par>
                          <p:cTn id="8" fill="hold">
                            <p:stCondLst>
                              <p:cond delay="500"/>
                            </p:stCondLst>
                            <p:childTnLst>
                              <p:par>
                                <p:cTn id="9" presetID="22" presetClass="entr" presetSubtype="2" fill="hold" nodeType="after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wipe(right)">
                                      <p:cBhvr>
                                        <p:cTn id="11" dur="500"/>
                                        <p:tgtEl>
                                          <p:spTgt spid="8"/>
                                        </p:tgtEl>
                                      </p:cBhvr>
                                    </p:animEffect>
                                  </p:childTnLst>
                                </p:cTn>
                              </p:par>
                              <p:par>
                                <p:cTn id="12" presetID="10" presetClass="entr" presetSubtype="0" fill="hold" nodeType="withEffect">
                                  <p:stCondLst>
                                    <p:cond delay="0"/>
                                  </p:stCondLst>
                                  <p:childTnLst>
                                    <p:set>
                                      <p:cBhvr>
                                        <p:cTn id="13" dur="1" fill="hold">
                                          <p:stCondLst>
                                            <p:cond delay="0"/>
                                          </p:stCondLst>
                                        </p:cTn>
                                        <p:tgtEl>
                                          <p:spTgt spid="33"/>
                                        </p:tgtEl>
                                        <p:attrNameLst>
                                          <p:attrName>style.visibility</p:attrName>
                                        </p:attrNameLst>
                                      </p:cBhvr>
                                      <p:to>
                                        <p:strVal val="visible"/>
                                      </p:to>
                                    </p:set>
                                    <p:animEffect transition="in" filter="fade">
                                      <p:cBhvr>
                                        <p:cTn id="14" dur="500"/>
                                        <p:tgtEl>
                                          <p:spTgt spid="33"/>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57"/>
                                        </p:tgtEl>
                                        <p:attrNameLst>
                                          <p:attrName>style.visibility</p:attrName>
                                        </p:attrNameLst>
                                      </p:cBhvr>
                                      <p:to>
                                        <p:strVal val="visible"/>
                                      </p:to>
                                    </p:set>
                                    <p:animEffect transition="in" filter="fade">
                                      <p:cBhvr>
                                        <p:cTn id="17" dur="500"/>
                                        <p:tgtEl>
                                          <p:spTgt spid="57"/>
                                        </p:tgtEl>
                                      </p:cBhvr>
                                    </p:animEffect>
                                  </p:childTnLst>
                                </p:cTn>
                              </p:par>
                            </p:childTnLst>
                          </p:cTn>
                        </p:par>
                        <p:par>
                          <p:cTn id="18" fill="hold">
                            <p:stCondLst>
                              <p:cond delay="1000"/>
                            </p:stCondLst>
                            <p:childTnLst>
                              <p:par>
                                <p:cTn id="19" presetID="10" presetClass="entr" presetSubtype="0" fill="hold" grpId="0" nodeType="afterEffect">
                                  <p:stCondLst>
                                    <p:cond delay="0"/>
                                  </p:stCondLst>
                                  <p:childTnLst>
                                    <p:set>
                                      <p:cBhvr>
                                        <p:cTn id="20" dur="1" fill="hold">
                                          <p:stCondLst>
                                            <p:cond delay="0"/>
                                          </p:stCondLst>
                                        </p:cTn>
                                        <p:tgtEl>
                                          <p:spTgt spid="50"/>
                                        </p:tgtEl>
                                        <p:attrNameLst>
                                          <p:attrName>style.visibility</p:attrName>
                                        </p:attrNameLst>
                                      </p:cBhvr>
                                      <p:to>
                                        <p:strVal val="visible"/>
                                      </p:to>
                                    </p:set>
                                    <p:animEffect transition="in" filter="fade">
                                      <p:cBhvr>
                                        <p:cTn id="21" dur="500"/>
                                        <p:tgtEl>
                                          <p:spTgt spid="50"/>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61"/>
                                        </p:tgtEl>
                                        <p:attrNameLst>
                                          <p:attrName>style.visibility</p:attrName>
                                        </p:attrNameLst>
                                      </p:cBhvr>
                                      <p:to>
                                        <p:strVal val="visible"/>
                                      </p:to>
                                    </p:set>
                                    <p:animEffect transition="in" filter="fade">
                                      <p:cBhvr>
                                        <p:cTn id="24" dur="500"/>
                                        <p:tgtEl>
                                          <p:spTgt spid="61"/>
                                        </p:tgtEl>
                                      </p:cBhvr>
                                    </p:animEffect>
                                  </p:childTnLst>
                                </p:cTn>
                              </p:par>
                            </p:childTnLst>
                          </p:cTn>
                        </p:par>
                        <p:par>
                          <p:cTn id="25" fill="hold">
                            <p:stCondLst>
                              <p:cond delay="1500"/>
                            </p:stCondLst>
                            <p:childTnLst>
                              <p:par>
                                <p:cTn id="26" presetID="22" presetClass="entr" presetSubtype="8" fill="hold" nodeType="afterEffect">
                                  <p:stCondLst>
                                    <p:cond delay="0"/>
                                  </p:stCondLst>
                                  <p:childTnLst>
                                    <p:set>
                                      <p:cBhvr>
                                        <p:cTn id="27" dur="1" fill="hold">
                                          <p:stCondLst>
                                            <p:cond delay="0"/>
                                          </p:stCondLst>
                                        </p:cTn>
                                        <p:tgtEl>
                                          <p:spTgt spid="11"/>
                                        </p:tgtEl>
                                        <p:attrNameLst>
                                          <p:attrName>style.visibility</p:attrName>
                                        </p:attrNameLst>
                                      </p:cBhvr>
                                      <p:to>
                                        <p:strVal val="visible"/>
                                      </p:to>
                                    </p:set>
                                    <p:animEffect transition="in" filter="wipe(left)">
                                      <p:cBhvr>
                                        <p:cTn id="28" dur="500"/>
                                        <p:tgtEl>
                                          <p:spTgt spid="11"/>
                                        </p:tgtEl>
                                      </p:cBhvr>
                                    </p:animEffect>
                                  </p:childTnLst>
                                </p:cTn>
                              </p:par>
                              <p:par>
                                <p:cTn id="29" presetID="10" presetClass="entr" presetSubtype="0" fill="hold" nodeType="withEffect">
                                  <p:stCondLst>
                                    <p:cond delay="0"/>
                                  </p:stCondLst>
                                  <p:childTnLst>
                                    <p:set>
                                      <p:cBhvr>
                                        <p:cTn id="30" dur="1" fill="hold">
                                          <p:stCondLst>
                                            <p:cond delay="0"/>
                                          </p:stCondLst>
                                        </p:cTn>
                                        <p:tgtEl>
                                          <p:spTgt spid="41"/>
                                        </p:tgtEl>
                                        <p:attrNameLst>
                                          <p:attrName>style.visibility</p:attrName>
                                        </p:attrNameLst>
                                      </p:cBhvr>
                                      <p:to>
                                        <p:strVal val="visible"/>
                                      </p:to>
                                    </p:set>
                                    <p:animEffect transition="in" filter="fade">
                                      <p:cBhvr>
                                        <p:cTn id="31" dur="500"/>
                                        <p:tgtEl>
                                          <p:spTgt spid="41"/>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59"/>
                                        </p:tgtEl>
                                        <p:attrNameLst>
                                          <p:attrName>style.visibility</p:attrName>
                                        </p:attrNameLst>
                                      </p:cBhvr>
                                      <p:to>
                                        <p:strVal val="visible"/>
                                      </p:to>
                                    </p:set>
                                    <p:animEffect transition="in" filter="fade">
                                      <p:cBhvr>
                                        <p:cTn id="34" dur="500"/>
                                        <p:tgtEl>
                                          <p:spTgt spid="59"/>
                                        </p:tgtEl>
                                      </p:cBhvr>
                                    </p:animEffect>
                                  </p:childTnLst>
                                </p:cTn>
                              </p:par>
                            </p:childTnLst>
                          </p:cTn>
                        </p:par>
                        <p:par>
                          <p:cTn id="35" fill="hold">
                            <p:stCondLst>
                              <p:cond delay="2000"/>
                            </p:stCondLst>
                            <p:childTnLst>
                              <p:par>
                                <p:cTn id="36" presetID="10" presetClass="entr" presetSubtype="0" fill="hold" grpId="0" nodeType="afterEffect">
                                  <p:stCondLst>
                                    <p:cond delay="0"/>
                                  </p:stCondLst>
                                  <p:childTnLst>
                                    <p:set>
                                      <p:cBhvr>
                                        <p:cTn id="37" dur="1" fill="hold">
                                          <p:stCondLst>
                                            <p:cond delay="0"/>
                                          </p:stCondLst>
                                        </p:cTn>
                                        <p:tgtEl>
                                          <p:spTgt spid="54"/>
                                        </p:tgtEl>
                                        <p:attrNameLst>
                                          <p:attrName>style.visibility</p:attrName>
                                        </p:attrNameLst>
                                      </p:cBhvr>
                                      <p:to>
                                        <p:strVal val="visible"/>
                                      </p:to>
                                    </p:set>
                                    <p:animEffect transition="in" filter="fade">
                                      <p:cBhvr>
                                        <p:cTn id="38" dur="500"/>
                                        <p:tgtEl>
                                          <p:spTgt spid="54"/>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63"/>
                                        </p:tgtEl>
                                        <p:attrNameLst>
                                          <p:attrName>style.visibility</p:attrName>
                                        </p:attrNameLst>
                                      </p:cBhvr>
                                      <p:to>
                                        <p:strVal val="visible"/>
                                      </p:to>
                                    </p:set>
                                    <p:animEffect transition="in" filter="fade">
                                      <p:cBhvr>
                                        <p:cTn id="41" dur="500"/>
                                        <p:tgtEl>
                                          <p:spTgt spid="63"/>
                                        </p:tgtEl>
                                      </p:cBhvr>
                                    </p:animEffect>
                                  </p:childTnLst>
                                </p:cTn>
                              </p:par>
                            </p:childTnLst>
                          </p:cTn>
                        </p:par>
                        <p:par>
                          <p:cTn id="42" fill="hold">
                            <p:stCondLst>
                              <p:cond delay="2500"/>
                            </p:stCondLst>
                            <p:childTnLst>
                              <p:par>
                                <p:cTn id="43" presetID="22" presetClass="entr" presetSubtype="2" fill="hold" nodeType="afterEffect">
                                  <p:stCondLst>
                                    <p:cond delay="0"/>
                                  </p:stCondLst>
                                  <p:childTnLst>
                                    <p:set>
                                      <p:cBhvr>
                                        <p:cTn id="44" dur="1" fill="hold">
                                          <p:stCondLst>
                                            <p:cond delay="0"/>
                                          </p:stCondLst>
                                        </p:cTn>
                                        <p:tgtEl>
                                          <p:spTgt spid="2"/>
                                        </p:tgtEl>
                                        <p:attrNameLst>
                                          <p:attrName>style.visibility</p:attrName>
                                        </p:attrNameLst>
                                      </p:cBhvr>
                                      <p:to>
                                        <p:strVal val="visible"/>
                                      </p:to>
                                    </p:set>
                                    <p:animEffect transition="in" filter="wipe(right)">
                                      <p:cBhvr>
                                        <p:cTn id="45" dur="500"/>
                                        <p:tgtEl>
                                          <p:spTgt spid="2"/>
                                        </p:tgtEl>
                                      </p:cBhvr>
                                    </p:animEffect>
                                  </p:childTnLst>
                                </p:cTn>
                              </p:par>
                            </p:childTnLst>
                          </p:cTn>
                        </p:par>
                        <p:par>
                          <p:cTn id="46" fill="hold">
                            <p:stCondLst>
                              <p:cond delay="3000"/>
                            </p:stCondLst>
                            <p:childTnLst>
                              <p:par>
                                <p:cTn id="47" presetID="10" presetClass="entr" presetSubtype="0" fill="hold" nodeType="afterEffect">
                                  <p:stCondLst>
                                    <p:cond delay="0"/>
                                  </p:stCondLst>
                                  <p:childTnLst>
                                    <p:set>
                                      <p:cBhvr>
                                        <p:cTn id="48" dur="1" fill="hold">
                                          <p:stCondLst>
                                            <p:cond delay="0"/>
                                          </p:stCondLst>
                                        </p:cTn>
                                        <p:tgtEl>
                                          <p:spTgt spid="36"/>
                                        </p:tgtEl>
                                        <p:attrNameLst>
                                          <p:attrName>style.visibility</p:attrName>
                                        </p:attrNameLst>
                                      </p:cBhvr>
                                      <p:to>
                                        <p:strVal val="visible"/>
                                      </p:to>
                                    </p:set>
                                    <p:animEffect transition="in" filter="fade">
                                      <p:cBhvr>
                                        <p:cTn id="49" dur="500"/>
                                        <p:tgtEl>
                                          <p:spTgt spid="36"/>
                                        </p:tgtEl>
                                      </p:cBhvr>
                                    </p:animEffect>
                                  </p:childTnLst>
                                </p:cTn>
                              </p:par>
                              <p:par>
                                <p:cTn id="50" presetID="10" presetClass="entr" presetSubtype="0" fill="hold" grpId="0" nodeType="withEffect">
                                  <p:stCondLst>
                                    <p:cond delay="0"/>
                                  </p:stCondLst>
                                  <p:childTnLst>
                                    <p:set>
                                      <p:cBhvr>
                                        <p:cTn id="51" dur="1" fill="hold">
                                          <p:stCondLst>
                                            <p:cond delay="0"/>
                                          </p:stCondLst>
                                        </p:cTn>
                                        <p:tgtEl>
                                          <p:spTgt spid="56"/>
                                        </p:tgtEl>
                                        <p:attrNameLst>
                                          <p:attrName>style.visibility</p:attrName>
                                        </p:attrNameLst>
                                      </p:cBhvr>
                                      <p:to>
                                        <p:strVal val="visible"/>
                                      </p:to>
                                    </p:set>
                                    <p:animEffect transition="in" filter="fade">
                                      <p:cBhvr>
                                        <p:cTn id="52" dur="500"/>
                                        <p:tgtEl>
                                          <p:spTgt spid="56"/>
                                        </p:tgtEl>
                                      </p:cBhvr>
                                    </p:animEffect>
                                  </p:childTnLst>
                                </p:cTn>
                              </p:par>
                            </p:childTnLst>
                          </p:cTn>
                        </p:par>
                        <p:par>
                          <p:cTn id="53" fill="hold">
                            <p:stCondLst>
                              <p:cond delay="3500"/>
                            </p:stCondLst>
                            <p:childTnLst>
                              <p:par>
                                <p:cTn id="54" presetID="10" presetClass="entr" presetSubtype="0" fill="hold" grpId="0" nodeType="afterEffect">
                                  <p:stCondLst>
                                    <p:cond delay="0"/>
                                  </p:stCondLst>
                                  <p:childTnLst>
                                    <p:set>
                                      <p:cBhvr>
                                        <p:cTn id="55" dur="1" fill="hold">
                                          <p:stCondLst>
                                            <p:cond delay="0"/>
                                          </p:stCondLst>
                                        </p:cTn>
                                        <p:tgtEl>
                                          <p:spTgt spid="49"/>
                                        </p:tgtEl>
                                        <p:attrNameLst>
                                          <p:attrName>style.visibility</p:attrName>
                                        </p:attrNameLst>
                                      </p:cBhvr>
                                      <p:to>
                                        <p:strVal val="visible"/>
                                      </p:to>
                                    </p:set>
                                    <p:animEffect transition="in" filter="fade">
                                      <p:cBhvr>
                                        <p:cTn id="56" dur="500"/>
                                        <p:tgtEl>
                                          <p:spTgt spid="49"/>
                                        </p:tgtEl>
                                      </p:cBhvr>
                                    </p:animEffect>
                                  </p:childTnLst>
                                </p:cTn>
                              </p:par>
                              <p:par>
                                <p:cTn id="57" presetID="10" presetClass="entr" presetSubtype="0" fill="hold" grpId="0" nodeType="withEffect">
                                  <p:stCondLst>
                                    <p:cond delay="0"/>
                                  </p:stCondLst>
                                  <p:childTnLst>
                                    <p:set>
                                      <p:cBhvr>
                                        <p:cTn id="58" dur="1" fill="hold">
                                          <p:stCondLst>
                                            <p:cond delay="0"/>
                                          </p:stCondLst>
                                        </p:cTn>
                                        <p:tgtEl>
                                          <p:spTgt spid="60"/>
                                        </p:tgtEl>
                                        <p:attrNameLst>
                                          <p:attrName>style.visibility</p:attrName>
                                        </p:attrNameLst>
                                      </p:cBhvr>
                                      <p:to>
                                        <p:strVal val="visible"/>
                                      </p:to>
                                    </p:set>
                                    <p:animEffect transition="in" filter="fade">
                                      <p:cBhvr>
                                        <p:cTn id="59" dur="500"/>
                                        <p:tgtEl>
                                          <p:spTgt spid="60"/>
                                        </p:tgtEl>
                                      </p:cBhvr>
                                    </p:animEffect>
                                  </p:childTnLst>
                                </p:cTn>
                              </p:par>
                            </p:childTnLst>
                          </p:cTn>
                        </p:par>
                        <p:par>
                          <p:cTn id="60" fill="hold">
                            <p:stCondLst>
                              <p:cond delay="4000"/>
                            </p:stCondLst>
                            <p:childTnLst>
                              <p:par>
                                <p:cTn id="61" presetID="22" presetClass="entr" presetSubtype="8" fill="hold" nodeType="afterEffect">
                                  <p:stCondLst>
                                    <p:cond delay="0"/>
                                  </p:stCondLst>
                                  <p:childTnLst>
                                    <p:set>
                                      <p:cBhvr>
                                        <p:cTn id="62" dur="1" fill="hold">
                                          <p:stCondLst>
                                            <p:cond delay="0"/>
                                          </p:stCondLst>
                                        </p:cTn>
                                        <p:tgtEl>
                                          <p:spTgt spid="5"/>
                                        </p:tgtEl>
                                        <p:attrNameLst>
                                          <p:attrName>style.visibility</p:attrName>
                                        </p:attrNameLst>
                                      </p:cBhvr>
                                      <p:to>
                                        <p:strVal val="visible"/>
                                      </p:to>
                                    </p:set>
                                    <p:animEffect transition="in" filter="wipe(left)">
                                      <p:cBhvr>
                                        <p:cTn id="63" dur="500"/>
                                        <p:tgtEl>
                                          <p:spTgt spid="5"/>
                                        </p:tgtEl>
                                      </p:cBhvr>
                                    </p:animEffect>
                                  </p:childTnLst>
                                </p:cTn>
                              </p:par>
                            </p:childTnLst>
                          </p:cTn>
                        </p:par>
                        <p:par>
                          <p:cTn id="64" fill="hold">
                            <p:stCondLst>
                              <p:cond delay="4500"/>
                            </p:stCondLst>
                            <p:childTnLst>
                              <p:par>
                                <p:cTn id="65" presetID="10" presetClass="entr" presetSubtype="0" fill="hold" grpId="0" nodeType="afterEffect">
                                  <p:stCondLst>
                                    <p:cond delay="0"/>
                                  </p:stCondLst>
                                  <p:childTnLst>
                                    <p:set>
                                      <p:cBhvr>
                                        <p:cTn id="66" dur="1" fill="hold">
                                          <p:stCondLst>
                                            <p:cond delay="0"/>
                                          </p:stCondLst>
                                        </p:cTn>
                                        <p:tgtEl>
                                          <p:spTgt spid="21"/>
                                        </p:tgtEl>
                                        <p:attrNameLst>
                                          <p:attrName>style.visibility</p:attrName>
                                        </p:attrNameLst>
                                      </p:cBhvr>
                                      <p:to>
                                        <p:strVal val="visible"/>
                                      </p:to>
                                    </p:set>
                                    <p:animEffect transition="in" filter="fade">
                                      <p:cBhvr>
                                        <p:cTn id="67" dur="500"/>
                                        <p:tgtEl>
                                          <p:spTgt spid="21"/>
                                        </p:tgtEl>
                                      </p:cBhvr>
                                    </p:animEffect>
                                  </p:childTnLst>
                                </p:cTn>
                              </p:par>
                              <p:par>
                                <p:cTn id="68" presetID="10" presetClass="entr" presetSubtype="0" fill="hold" grpId="0" nodeType="withEffect">
                                  <p:stCondLst>
                                    <p:cond delay="0"/>
                                  </p:stCondLst>
                                  <p:childTnLst>
                                    <p:set>
                                      <p:cBhvr>
                                        <p:cTn id="69" dur="1" fill="hold">
                                          <p:stCondLst>
                                            <p:cond delay="0"/>
                                          </p:stCondLst>
                                        </p:cTn>
                                        <p:tgtEl>
                                          <p:spTgt spid="58"/>
                                        </p:tgtEl>
                                        <p:attrNameLst>
                                          <p:attrName>style.visibility</p:attrName>
                                        </p:attrNameLst>
                                      </p:cBhvr>
                                      <p:to>
                                        <p:strVal val="visible"/>
                                      </p:to>
                                    </p:set>
                                    <p:animEffect transition="in" filter="fade">
                                      <p:cBhvr>
                                        <p:cTn id="70" dur="500"/>
                                        <p:tgtEl>
                                          <p:spTgt spid="58"/>
                                        </p:tgtEl>
                                      </p:cBhvr>
                                    </p:animEffect>
                                  </p:childTnLst>
                                </p:cTn>
                              </p:par>
                            </p:childTnLst>
                          </p:cTn>
                        </p:par>
                        <p:par>
                          <p:cTn id="71" fill="hold">
                            <p:stCondLst>
                              <p:cond delay="5000"/>
                            </p:stCondLst>
                            <p:childTnLst>
                              <p:par>
                                <p:cTn id="72" presetID="10" presetClass="entr" presetSubtype="0" fill="hold" grpId="0" nodeType="afterEffect">
                                  <p:stCondLst>
                                    <p:cond delay="0"/>
                                  </p:stCondLst>
                                  <p:childTnLst>
                                    <p:set>
                                      <p:cBhvr>
                                        <p:cTn id="73" dur="1" fill="hold">
                                          <p:stCondLst>
                                            <p:cond delay="0"/>
                                          </p:stCondLst>
                                        </p:cTn>
                                        <p:tgtEl>
                                          <p:spTgt spid="53"/>
                                        </p:tgtEl>
                                        <p:attrNameLst>
                                          <p:attrName>style.visibility</p:attrName>
                                        </p:attrNameLst>
                                      </p:cBhvr>
                                      <p:to>
                                        <p:strVal val="visible"/>
                                      </p:to>
                                    </p:set>
                                    <p:animEffect transition="in" filter="fade">
                                      <p:cBhvr>
                                        <p:cTn id="74" dur="500"/>
                                        <p:tgtEl>
                                          <p:spTgt spid="53"/>
                                        </p:tgtEl>
                                      </p:cBhvr>
                                    </p:animEffect>
                                  </p:childTnLst>
                                </p:cTn>
                              </p:par>
                              <p:par>
                                <p:cTn id="75" presetID="10" presetClass="entr" presetSubtype="0" fill="hold" grpId="0" nodeType="withEffect">
                                  <p:stCondLst>
                                    <p:cond delay="0"/>
                                  </p:stCondLst>
                                  <p:childTnLst>
                                    <p:set>
                                      <p:cBhvr>
                                        <p:cTn id="76" dur="1" fill="hold">
                                          <p:stCondLst>
                                            <p:cond delay="0"/>
                                          </p:stCondLst>
                                        </p:cTn>
                                        <p:tgtEl>
                                          <p:spTgt spid="62"/>
                                        </p:tgtEl>
                                        <p:attrNameLst>
                                          <p:attrName>style.visibility</p:attrName>
                                        </p:attrNameLst>
                                      </p:cBhvr>
                                      <p:to>
                                        <p:strVal val="visible"/>
                                      </p:to>
                                    </p:set>
                                    <p:animEffect transition="in" filter="fade">
                                      <p:cBhvr>
                                        <p:cTn id="77" dur="500"/>
                                        <p:tgtEl>
                                          <p:spTgt spid="62"/>
                                        </p:tgtEl>
                                      </p:cBhvr>
                                    </p:animEffect>
                                  </p:childTnLst>
                                </p:cTn>
                              </p:par>
                            </p:childTnLst>
                          </p:cTn>
                        </p:par>
                        <p:par>
                          <p:cTn id="78" fill="hold">
                            <p:stCondLst>
                              <p:cond delay="5500"/>
                            </p:stCondLst>
                            <p:childTnLst>
                              <p:par>
                                <p:cTn id="79" presetID="22" presetClass="entr" presetSubtype="2" fill="hold" nodeType="afterEffect">
                                  <p:stCondLst>
                                    <p:cond delay="0"/>
                                  </p:stCondLst>
                                  <p:childTnLst>
                                    <p:set>
                                      <p:cBhvr>
                                        <p:cTn id="80" dur="1" fill="hold">
                                          <p:stCondLst>
                                            <p:cond delay="0"/>
                                          </p:stCondLst>
                                        </p:cTn>
                                        <p:tgtEl>
                                          <p:spTgt spid="14"/>
                                        </p:tgtEl>
                                        <p:attrNameLst>
                                          <p:attrName>style.visibility</p:attrName>
                                        </p:attrNameLst>
                                      </p:cBhvr>
                                      <p:to>
                                        <p:strVal val="visible"/>
                                      </p:to>
                                    </p:set>
                                    <p:animEffect transition="in" filter="wipe(right)">
                                      <p:cBhvr>
                                        <p:cTn id="81" dur="500"/>
                                        <p:tgtEl>
                                          <p:spTgt spid="14"/>
                                        </p:tgtEl>
                                      </p:cBhvr>
                                    </p:animEffect>
                                  </p:childTnLst>
                                </p:cTn>
                              </p:par>
                            </p:childTnLst>
                          </p:cTn>
                        </p:par>
                        <p:par>
                          <p:cTn id="82" fill="hold">
                            <p:stCondLst>
                              <p:cond delay="6000"/>
                            </p:stCondLst>
                            <p:childTnLst>
                              <p:par>
                                <p:cTn id="83" presetID="10" presetClass="entr" presetSubtype="0" fill="hold" grpId="0" nodeType="afterEffect">
                                  <p:stCondLst>
                                    <p:cond delay="0"/>
                                  </p:stCondLst>
                                  <p:childTnLst>
                                    <p:set>
                                      <p:cBhvr>
                                        <p:cTn id="84" dur="1" fill="hold">
                                          <p:stCondLst>
                                            <p:cond delay="0"/>
                                          </p:stCondLst>
                                        </p:cTn>
                                        <p:tgtEl>
                                          <p:spTgt spid="47"/>
                                        </p:tgtEl>
                                        <p:attrNameLst>
                                          <p:attrName>style.visibility</p:attrName>
                                        </p:attrNameLst>
                                      </p:cBhvr>
                                      <p:to>
                                        <p:strVal val="visible"/>
                                      </p:to>
                                    </p:set>
                                    <p:animEffect transition="in" filter="fade">
                                      <p:cBhvr>
                                        <p:cTn id="85" dur="500"/>
                                        <p:tgtEl>
                                          <p:spTgt spid="47"/>
                                        </p:tgtEl>
                                      </p:cBhvr>
                                    </p:animEffect>
                                  </p:childTnLst>
                                </p:cTn>
                              </p:par>
                              <p:par>
                                <p:cTn id="86" presetID="10" presetClass="entr" presetSubtype="0" fill="hold" grpId="0" nodeType="withEffect">
                                  <p:stCondLst>
                                    <p:cond delay="0"/>
                                  </p:stCondLst>
                                  <p:childTnLst>
                                    <p:set>
                                      <p:cBhvr>
                                        <p:cTn id="87" dur="1" fill="hold">
                                          <p:stCondLst>
                                            <p:cond delay="0"/>
                                          </p:stCondLst>
                                        </p:cTn>
                                        <p:tgtEl>
                                          <p:spTgt spid="32"/>
                                        </p:tgtEl>
                                        <p:attrNameLst>
                                          <p:attrName>style.visibility</p:attrName>
                                        </p:attrNameLst>
                                      </p:cBhvr>
                                      <p:to>
                                        <p:strVal val="visible"/>
                                      </p:to>
                                    </p:set>
                                    <p:animEffect transition="in" filter="fade">
                                      <p:cBhvr>
                                        <p:cTn id="88" dur="500"/>
                                        <p:tgtEl>
                                          <p:spTgt spid="32"/>
                                        </p:tgtEl>
                                      </p:cBhvr>
                                    </p:animEffect>
                                  </p:childTnLst>
                                </p:cTn>
                              </p:par>
                            </p:childTnLst>
                          </p:cTn>
                        </p:par>
                        <p:par>
                          <p:cTn id="89" fill="hold">
                            <p:stCondLst>
                              <p:cond delay="6500"/>
                            </p:stCondLst>
                            <p:childTnLst>
                              <p:par>
                                <p:cTn id="90" presetID="10" presetClass="entr" presetSubtype="0" fill="hold" grpId="0" nodeType="afterEffect">
                                  <p:stCondLst>
                                    <p:cond delay="0"/>
                                  </p:stCondLst>
                                  <p:childTnLst>
                                    <p:set>
                                      <p:cBhvr>
                                        <p:cTn id="91" dur="1" fill="hold">
                                          <p:stCondLst>
                                            <p:cond delay="0"/>
                                          </p:stCondLst>
                                        </p:cTn>
                                        <p:tgtEl>
                                          <p:spTgt spid="48"/>
                                        </p:tgtEl>
                                        <p:attrNameLst>
                                          <p:attrName>style.visibility</p:attrName>
                                        </p:attrNameLst>
                                      </p:cBhvr>
                                      <p:to>
                                        <p:strVal val="visible"/>
                                      </p:to>
                                    </p:set>
                                    <p:animEffect transition="in" filter="fade">
                                      <p:cBhvr>
                                        <p:cTn id="92" dur="500"/>
                                        <p:tgtEl>
                                          <p:spTgt spid="48"/>
                                        </p:tgtEl>
                                      </p:cBhvr>
                                    </p:animEffect>
                                  </p:childTnLst>
                                </p:cTn>
                              </p:par>
                              <p:par>
                                <p:cTn id="93" presetID="10" presetClass="entr" presetSubtype="0" fill="hold" grpId="0" nodeType="withEffect">
                                  <p:stCondLst>
                                    <p:cond delay="0"/>
                                  </p:stCondLst>
                                  <p:childTnLst>
                                    <p:set>
                                      <p:cBhvr>
                                        <p:cTn id="94" dur="1" fill="hold">
                                          <p:stCondLst>
                                            <p:cond delay="0"/>
                                          </p:stCondLst>
                                        </p:cTn>
                                        <p:tgtEl>
                                          <p:spTgt spid="46"/>
                                        </p:tgtEl>
                                        <p:attrNameLst>
                                          <p:attrName>style.visibility</p:attrName>
                                        </p:attrNameLst>
                                      </p:cBhvr>
                                      <p:to>
                                        <p:strVal val="visible"/>
                                      </p:to>
                                    </p:set>
                                    <p:animEffect transition="in" filter="fade">
                                      <p:cBhvr>
                                        <p:cTn id="95" dur="500"/>
                                        <p:tgtEl>
                                          <p:spTgt spid="46"/>
                                        </p:tgtEl>
                                      </p:cBhvr>
                                    </p:animEffect>
                                  </p:childTnLst>
                                </p:cTn>
                              </p:par>
                            </p:childTnLst>
                          </p:cTn>
                        </p:par>
                        <p:par>
                          <p:cTn id="96" fill="hold">
                            <p:stCondLst>
                              <p:cond delay="7000"/>
                            </p:stCondLst>
                            <p:childTnLst>
                              <p:par>
                                <p:cTn id="97" presetID="22" presetClass="entr" presetSubtype="8" fill="hold" nodeType="afterEffect">
                                  <p:stCondLst>
                                    <p:cond delay="0"/>
                                  </p:stCondLst>
                                  <p:childTnLst>
                                    <p:set>
                                      <p:cBhvr>
                                        <p:cTn id="98" dur="1" fill="hold">
                                          <p:stCondLst>
                                            <p:cond delay="0"/>
                                          </p:stCondLst>
                                        </p:cTn>
                                        <p:tgtEl>
                                          <p:spTgt spid="17"/>
                                        </p:tgtEl>
                                        <p:attrNameLst>
                                          <p:attrName>style.visibility</p:attrName>
                                        </p:attrNameLst>
                                      </p:cBhvr>
                                      <p:to>
                                        <p:strVal val="visible"/>
                                      </p:to>
                                    </p:set>
                                    <p:animEffect transition="in" filter="wipe(left)">
                                      <p:cBhvr>
                                        <p:cTn id="99" dur="500"/>
                                        <p:tgtEl>
                                          <p:spTgt spid="17"/>
                                        </p:tgtEl>
                                      </p:cBhvr>
                                    </p:animEffect>
                                  </p:childTnLst>
                                </p:cTn>
                              </p:par>
                            </p:childTnLst>
                          </p:cTn>
                        </p:par>
                        <p:par>
                          <p:cTn id="100" fill="hold">
                            <p:stCondLst>
                              <p:cond delay="7500"/>
                            </p:stCondLst>
                            <p:childTnLst>
                              <p:par>
                                <p:cTn id="101" presetID="10" presetClass="entr" presetSubtype="0" fill="hold" nodeType="afterEffect">
                                  <p:stCondLst>
                                    <p:cond delay="0"/>
                                  </p:stCondLst>
                                  <p:childTnLst>
                                    <p:set>
                                      <p:cBhvr>
                                        <p:cTn id="102" dur="1" fill="hold">
                                          <p:stCondLst>
                                            <p:cond delay="0"/>
                                          </p:stCondLst>
                                        </p:cTn>
                                        <p:tgtEl>
                                          <p:spTgt spid="22"/>
                                        </p:tgtEl>
                                        <p:attrNameLst>
                                          <p:attrName>style.visibility</p:attrName>
                                        </p:attrNameLst>
                                      </p:cBhvr>
                                      <p:to>
                                        <p:strVal val="visible"/>
                                      </p:to>
                                    </p:set>
                                    <p:animEffect transition="in" filter="fade">
                                      <p:cBhvr>
                                        <p:cTn id="103" dur="500"/>
                                        <p:tgtEl>
                                          <p:spTgt spid="22"/>
                                        </p:tgtEl>
                                      </p:cBhvr>
                                    </p:animEffect>
                                  </p:childTnLst>
                                </p:cTn>
                              </p:par>
                              <p:par>
                                <p:cTn id="104" presetID="10" presetClass="entr" presetSubtype="0" fill="hold" grpId="0" nodeType="withEffect">
                                  <p:stCondLst>
                                    <p:cond delay="0"/>
                                  </p:stCondLst>
                                  <p:childTnLst>
                                    <p:set>
                                      <p:cBhvr>
                                        <p:cTn id="105" dur="1" fill="hold">
                                          <p:stCondLst>
                                            <p:cond delay="0"/>
                                          </p:stCondLst>
                                        </p:cTn>
                                        <p:tgtEl>
                                          <p:spTgt spid="55"/>
                                        </p:tgtEl>
                                        <p:attrNameLst>
                                          <p:attrName>style.visibility</p:attrName>
                                        </p:attrNameLst>
                                      </p:cBhvr>
                                      <p:to>
                                        <p:strVal val="visible"/>
                                      </p:to>
                                    </p:set>
                                    <p:animEffect transition="in" filter="fade">
                                      <p:cBhvr>
                                        <p:cTn id="106" dur="500"/>
                                        <p:tgtEl>
                                          <p:spTgt spid="55"/>
                                        </p:tgtEl>
                                      </p:cBhvr>
                                    </p:animEffect>
                                  </p:childTnLst>
                                </p:cTn>
                              </p:par>
                            </p:childTnLst>
                          </p:cTn>
                        </p:par>
                        <p:par>
                          <p:cTn id="107" fill="hold">
                            <p:stCondLst>
                              <p:cond delay="8000"/>
                            </p:stCondLst>
                            <p:childTnLst>
                              <p:par>
                                <p:cTn id="108" presetID="10" presetClass="entr" presetSubtype="0" fill="hold" grpId="0" nodeType="afterEffect">
                                  <p:stCondLst>
                                    <p:cond delay="0"/>
                                  </p:stCondLst>
                                  <p:childTnLst>
                                    <p:set>
                                      <p:cBhvr>
                                        <p:cTn id="109" dur="1" fill="hold">
                                          <p:stCondLst>
                                            <p:cond delay="0"/>
                                          </p:stCondLst>
                                        </p:cTn>
                                        <p:tgtEl>
                                          <p:spTgt spid="52"/>
                                        </p:tgtEl>
                                        <p:attrNameLst>
                                          <p:attrName>style.visibility</p:attrName>
                                        </p:attrNameLst>
                                      </p:cBhvr>
                                      <p:to>
                                        <p:strVal val="visible"/>
                                      </p:to>
                                    </p:set>
                                    <p:animEffect transition="in" filter="fade">
                                      <p:cBhvr>
                                        <p:cTn id="110" dur="500"/>
                                        <p:tgtEl>
                                          <p:spTgt spid="52"/>
                                        </p:tgtEl>
                                      </p:cBhvr>
                                    </p:animEffect>
                                  </p:childTnLst>
                                </p:cTn>
                              </p:par>
                              <p:par>
                                <p:cTn id="111" presetID="10" presetClass="entr" presetSubtype="0" fill="hold" grpId="0" nodeType="withEffect">
                                  <p:stCondLst>
                                    <p:cond delay="0"/>
                                  </p:stCondLst>
                                  <p:childTnLst>
                                    <p:set>
                                      <p:cBhvr>
                                        <p:cTn id="112" dur="1" fill="hold">
                                          <p:stCondLst>
                                            <p:cond delay="0"/>
                                          </p:stCondLst>
                                        </p:cTn>
                                        <p:tgtEl>
                                          <p:spTgt spid="51"/>
                                        </p:tgtEl>
                                        <p:attrNameLst>
                                          <p:attrName>style.visibility</p:attrName>
                                        </p:attrNameLst>
                                      </p:cBhvr>
                                      <p:to>
                                        <p:strVal val="visible"/>
                                      </p:to>
                                    </p:set>
                                    <p:animEffect transition="in" filter="fade">
                                      <p:cBhvr>
                                        <p:cTn id="113" dur="500"/>
                                        <p:tgtEl>
                                          <p:spTgt spid="5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p:bldP spid="21" grpId="0" animBg="1"/>
      <p:bldP spid="32" grpId="0" animBg="1"/>
      <p:bldP spid="46" grpId="0"/>
      <p:bldP spid="47" grpId="0"/>
      <p:bldP spid="48" grpId="0"/>
      <p:bldP spid="49" grpId="0"/>
      <p:bldP spid="50" grpId="0"/>
      <p:bldP spid="51" grpId="0"/>
      <p:bldP spid="52" grpId="0"/>
      <p:bldP spid="53" grpId="0"/>
      <p:bldP spid="54" grpId="0"/>
      <p:bldP spid="55" grpId="0"/>
      <p:bldP spid="56" grpId="0"/>
      <p:bldP spid="57" grpId="0"/>
      <p:bldP spid="58" grpId="0"/>
      <p:bldP spid="59" grpId="0"/>
      <p:bldP spid="60" grpId="0"/>
      <p:bldP spid="61" grpId="0"/>
      <p:bldP spid="62" grpId="0"/>
      <p:bldP spid="63" grpId="0"/>
    </p:bldLst>
  </p:timing>
</p:sld>
</file>

<file path=ppt/slides/slide5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Shape 44">
            <a:extLst>
              <a:ext uri="{FF2B5EF4-FFF2-40B4-BE49-F238E27FC236}">
                <a16:creationId xmlns:a16="http://schemas.microsoft.com/office/drawing/2014/main" id="{114483C0-146B-41A7-A63E-1F7925B47AB1}"/>
              </a:ext>
            </a:extLst>
          </p:cNvPr>
          <p:cNvSpPr/>
          <p:nvPr/>
        </p:nvSpPr>
        <p:spPr>
          <a:xfrm>
            <a:off x="3251596" y="2287361"/>
            <a:ext cx="597802" cy="323986"/>
          </a:xfrm>
          <a:custGeom>
            <a:avLst/>
            <a:gdLst>
              <a:gd name="connsiteX0" fmla="*/ 714375 w 952622"/>
              <a:gd name="connsiteY0" fmla="*/ 269590 h 516287"/>
              <a:gd name="connsiteX1" fmla="*/ 476250 w 952622"/>
              <a:gd name="connsiteY1" fmla="*/ 33 h 516287"/>
              <a:gd name="connsiteX2" fmla="*/ 307658 w 952622"/>
              <a:gd name="connsiteY2" fmla="*/ 209583 h 516287"/>
              <a:gd name="connsiteX3" fmla="*/ 139065 w 952622"/>
              <a:gd name="connsiteY3" fmla="*/ 359125 h 516287"/>
              <a:gd name="connsiteX4" fmla="*/ 0 w 952622"/>
              <a:gd name="connsiteY4" fmla="*/ 516288 h 516287"/>
              <a:gd name="connsiteX5" fmla="*/ 952500 w 952622"/>
              <a:gd name="connsiteY5" fmla="*/ 516288 h 516287"/>
              <a:gd name="connsiteX6" fmla="*/ 714375 w 952622"/>
              <a:gd name="connsiteY6" fmla="*/ 269590 h 516287"/>
              <a:gd name="connsiteX7" fmla="*/ 590550 w 952622"/>
              <a:gd name="connsiteY7" fmla="*/ 229585 h 516287"/>
              <a:gd name="connsiteX8" fmla="*/ 504825 w 952622"/>
              <a:gd name="connsiteY8" fmla="*/ 112428 h 516287"/>
              <a:gd name="connsiteX9" fmla="*/ 525780 w 952622"/>
              <a:gd name="connsiteY9" fmla="*/ 69565 h 516287"/>
              <a:gd name="connsiteX10" fmla="*/ 638175 w 952622"/>
              <a:gd name="connsiteY10" fmla="*/ 221013 h 516287"/>
              <a:gd name="connsiteX11" fmla="*/ 590550 w 952622"/>
              <a:gd name="connsiteY11" fmla="*/ 229585 h 516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52622" h="516287">
                <a:moveTo>
                  <a:pt x="714375" y="269590"/>
                </a:moveTo>
                <a:cubicBezTo>
                  <a:pt x="714375" y="269590"/>
                  <a:pt x="720090" y="33"/>
                  <a:pt x="476250" y="33"/>
                </a:cubicBezTo>
                <a:cubicBezTo>
                  <a:pt x="476250" y="33"/>
                  <a:pt x="307658" y="-7587"/>
                  <a:pt x="307658" y="209583"/>
                </a:cubicBezTo>
                <a:cubicBezTo>
                  <a:pt x="307658" y="209583"/>
                  <a:pt x="139065" y="179103"/>
                  <a:pt x="139065" y="359125"/>
                </a:cubicBezTo>
                <a:cubicBezTo>
                  <a:pt x="139065" y="359125"/>
                  <a:pt x="0" y="308643"/>
                  <a:pt x="0" y="516288"/>
                </a:cubicBezTo>
                <a:lnTo>
                  <a:pt x="952500" y="516288"/>
                </a:lnTo>
                <a:cubicBezTo>
                  <a:pt x="952500" y="516288"/>
                  <a:pt x="965835" y="269590"/>
                  <a:pt x="714375" y="269590"/>
                </a:cubicBezTo>
                <a:close/>
                <a:moveTo>
                  <a:pt x="590550" y="229585"/>
                </a:moveTo>
                <a:cubicBezTo>
                  <a:pt x="579120" y="174340"/>
                  <a:pt x="550545" y="134335"/>
                  <a:pt x="504825" y="112428"/>
                </a:cubicBezTo>
                <a:lnTo>
                  <a:pt x="525780" y="69565"/>
                </a:lnTo>
                <a:cubicBezTo>
                  <a:pt x="566738" y="89568"/>
                  <a:pt x="620078" y="132430"/>
                  <a:pt x="638175" y="221013"/>
                </a:cubicBezTo>
                <a:lnTo>
                  <a:pt x="590550" y="229585"/>
                </a:lnTo>
                <a:close/>
              </a:path>
            </a:pathLst>
          </a:custGeom>
          <a:solidFill>
            <a:schemeClr val="accent5"/>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nvGrpSpPr>
          <p:cNvPr id="3" name="Graphic 1">
            <a:extLst>
              <a:ext uri="{FF2B5EF4-FFF2-40B4-BE49-F238E27FC236}">
                <a16:creationId xmlns:a16="http://schemas.microsoft.com/office/drawing/2014/main" id="{841E5D7D-D3C4-4E8C-80FF-3F7623AF1DFF}"/>
              </a:ext>
            </a:extLst>
          </p:cNvPr>
          <p:cNvGrpSpPr/>
          <p:nvPr/>
        </p:nvGrpSpPr>
        <p:grpSpPr>
          <a:xfrm>
            <a:off x="3292578" y="5171821"/>
            <a:ext cx="515838" cy="515242"/>
            <a:chOff x="3634739" y="2474595"/>
            <a:chExt cx="822007" cy="821054"/>
          </a:xfrm>
          <a:solidFill>
            <a:schemeClr val="accent1"/>
          </a:solidFill>
        </p:grpSpPr>
        <p:sp>
          <p:nvSpPr>
            <p:cNvPr id="4" name="Freeform: Shape 46">
              <a:extLst>
                <a:ext uri="{FF2B5EF4-FFF2-40B4-BE49-F238E27FC236}">
                  <a16:creationId xmlns:a16="http://schemas.microsoft.com/office/drawing/2014/main" id="{7FDC3DA9-E7A7-4ECB-A5CC-971F04AC603B}"/>
                </a:ext>
              </a:extLst>
            </p:cNvPr>
            <p:cNvSpPr/>
            <p:nvPr/>
          </p:nvSpPr>
          <p:spPr>
            <a:xfrm>
              <a:off x="3672702" y="2474595"/>
              <a:ext cx="784044" cy="784044"/>
            </a:xfrm>
            <a:custGeom>
              <a:avLst/>
              <a:gdLst>
                <a:gd name="connsiteX0" fmla="*/ 784045 w 784044"/>
                <a:gd name="connsiteY0" fmla="*/ 0 h 784044"/>
                <a:gd name="connsiteX1" fmla="*/ 584020 w 784044"/>
                <a:gd name="connsiteY1" fmla="*/ 683895 h 784044"/>
                <a:gd name="connsiteX2" fmla="*/ 115390 w 784044"/>
                <a:gd name="connsiteY2" fmla="*/ 698183 h 784044"/>
                <a:gd name="connsiteX3" fmla="*/ 180160 w 784044"/>
                <a:gd name="connsiteY3" fmla="*/ 633413 h 784044"/>
                <a:gd name="connsiteX4" fmla="*/ 387805 w 784044"/>
                <a:gd name="connsiteY4" fmla="*/ 609600 h 784044"/>
                <a:gd name="connsiteX5" fmla="*/ 383042 w 784044"/>
                <a:gd name="connsiteY5" fmla="*/ 568643 h 784044"/>
                <a:gd name="connsiteX6" fmla="*/ 226832 w 784044"/>
                <a:gd name="connsiteY6" fmla="*/ 586740 h 784044"/>
                <a:gd name="connsiteX7" fmla="*/ 302080 w 784044"/>
                <a:gd name="connsiteY7" fmla="*/ 511492 h 784044"/>
                <a:gd name="connsiteX8" fmla="*/ 509725 w 784044"/>
                <a:gd name="connsiteY8" fmla="*/ 487680 h 784044"/>
                <a:gd name="connsiteX9" fmla="*/ 504962 w 784044"/>
                <a:gd name="connsiteY9" fmla="*/ 446722 h 784044"/>
                <a:gd name="connsiteX10" fmla="*/ 348752 w 784044"/>
                <a:gd name="connsiteY10" fmla="*/ 464820 h 784044"/>
                <a:gd name="connsiteX11" fmla="*/ 504962 w 784044"/>
                <a:gd name="connsiteY11" fmla="*/ 308610 h 784044"/>
                <a:gd name="connsiteX12" fmla="*/ 475435 w 784044"/>
                <a:gd name="connsiteY12" fmla="*/ 279083 h 784044"/>
                <a:gd name="connsiteX13" fmla="*/ 323035 w 784044"/>
                <a:gd name="connsiteY13" fmla="*/ 431483 h 784044"/>
                <a:gd name="connsiteX14" fmla="*/ 344942 w 784044"/>
                <a:gd name="connsiteY14" fmla="*/ 293370 h 784044"/>
                <a:gd name="connsiteX15" fmla="*/ 303985 w 784044"/>
                <a:gd name="connsiteY15" fmla="*/ 286702 h 784044"/>
                <a:gd name="connsiteX16" fmla="*/ 273505 w 784044"/>
                <a:gd name="connsiteY16" fmla="*/ 481013 h 784044"/>
                <a:gd name="connsiteX17" fmla="*/ 201115 w 784044"/>
                <a:gd name="connsiteY17" fmla="*/ 553402 h 784044"/>
                <a:gd name="connsiteX18" fmla="*/ 223022 w 784044"/>
                <a:gd name="connsiteY18" fmla="*/ 415290 h 784044"/>
                <a:gd name="connsiteX19" fmla="*/ 182065 w 784044"/>
                <a:gd name="connsiteY19" fmla="*/ 408622 h 784044"/>
                <a:gd name="connsiteX20" fmla="*/ 151585 w 784044"/>
                <a:gd name="connsiteY20" fmla="*/ 602933 h 784044"/>
                <a:gd name="connsiteX21" fmla="*/ 85862 w 784044"/>
                <a:gd name="connsiteY21" fmla="*/ 668655 h 784044"/>
                <a:gd name="connsiteX22" fmla="*/ 100150 w 784044"/>
                <a:gd name="connsiteY22" fmla="*/ 200025 h 784044"/>
                <a:gd name="connsiteX23" fmla="*/ 784045 w 784044"/>
                <a:gd name="connsiteY23" fmla="*/ 0 h 784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784044" h="784044">
                  <a:moveTo>
                    <a:pt x="784045" y="0"/>
                  </a:moveTo>
                  <a:cubicBezTo>
                    <a:pt x="784045" y="0"/>
                    <a:pt x="717370" y="549593"/>
                    <a:pt x="584020" y="683895"/>
                  </a:cubicBezTo>
                  <a:cubicBezTo>
                    <a:pt x="455432" y="812483"/>
                    <a:pt x="249692" y="817245"/>
                    <a:pt x="115390" y="698183"/>
                  </a:cubicBezTo>
                  <a:lnTo>
                    <a:pt x="180160" y="633413"/>
                  </a:lnTo>
                  <a:lnTo>
                    <a:pt x="387805" y="609600"/>
                  </a:lnTo>
                  <a:lnTo>
                    <a:pt x="383042" y="568643"/>
                  </a:lnTo>
                  <a:lnTo>
                    <a:pt x="226832" y="586740"/>
                  </a:lnTo>
                  <a:lnTo>
                    <a:pt x="302080" y="511492"/>
                  </a:lnTo>
                  <a:lnTo>
                    <a:pt x="509725" y="487680"/>
                  </a:lnTo>
                  <a:lnTo>
                    <a:pt x="504962" y="446722"/>
                  </a:lnTo>
                  <a:lnTo>
                    <a:pt x="348752" y="464820"/>
                  </a:lnTo>
                  <a:lnTo>
                    <a:pt x="504962" y="308610"/>
                  </a:lnTo>
                  <a:lnTo>
                    <a:pt x="475435" y="279083"/>
                  </a:lnTo>
                  <a:lnTo>
                    <a:pt x="323035" y="431483"/>
                  </a:lnTo>
                  <a:lnTo>
                    <a:pt x="344942" y="293370"/>
                  </a:lnTo>
                  <a:lnTo>
                    <a:pt x="303985" y="286702"/>
                  </a:lnTo>
                  <a:lnTo>
                    <a:pt x="273505" y="481013"/>
                  </a:lnTo>
                  <a:lnTo>
                    <a:pt x="201115" y="553402"/>
                  </a:lnTo>
                  <a:lnTo>
                    <a:pt x="223022" y="415290"/>
                  </a:lnTo>
                  <a:lnTo>
                    <a:pt x="182065" y="408622"/>
                  </a:lnTo>
                  <a:lnTo>
                    <a:pt x="151585" y="602933"/>
                  </a:lnTo>
                  <a:lnTo>
                    <a:pt x="85862" y="668655"/>
                  </a:lnTo>
                  <a:cubicBezTo>
                    <a:pt x="-33200" y="534352"/>
                    <a:pt x="-28438" y="328613"/>
                    <a:pt x="100150" y="200025"/>
                  </a:cubicBezTo>
                  <a:cubicBezTo>
                    <a:pt x="233500" y="66675"/>
                    <a:pt x="784045" y="0"/>
                    <a:pt x="784045" y="0"/>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5" name="Freeform: Shape 47">
              <a:extLst>
                <a:ext uri="{FF2B5EF4-FFF2-40B4-BE49-F238E27FC236}">
                  <a16:creationId xmlns:a16="http://schemas.microsoft.com/office/drawing/2014/main" id="{B16785AA-2229-4D26-8B85-B0CE525A0666}"/>
                </a:ext>
              </a:extLst>
            </p:cNvPr>
            <p:cNvSpPr/>
            <p:nvPr/>
          </p:nvSpPr>
          <p:spPr>
            <a:xfrm>
              <a:off x="3634739" y="3143250"/>
              <a:ext cx="153352" cy="152400"/>
            </a:xfrm>
            <a:custGeom>
              <a:avLst/>
              <a:gdLst>
                <a:gd name="connsiteX0" fmla="*/ 153353 w 153352"/>
                <a:gd name="connsiteY0" fmla="*/ 29528 h 152400"/>
                <a:gd name="connsiteX1" fmla="*/ 29527 w 153352"/>
                <a:gd name="connsiteY1" fmla="*/ 152400 h 152400"/>
                <a:gd name="connsiteX2" fmla="*/ 0 w 153352"/>
                <a:gd name="connsiteY2" fmla="*/ 122872 h 152400"/>
                <a:gd name="connsiteX3" fmla="*/ 122872 w 153352"/>
                <a:gd name="connsiteY3" fmla="*/ 0 h 152400"/>
                <a:gd name="connsiteX4" fmla="*/ 137160 w 153352"/>
                <a:gd name="connsiteY4" fmla="*/ 15240 h 152400"/>
                <a:gd name="connsiteX5" fmla="*/ 153353 w 153352"/>
                <a:gd name="connsiteY5" fmla="*/ 29528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3352" h="152400">
                  <a:moveTo>
                    <a:pt x="153353" y="29528"/>
                  </a:moveTo>
                  <a:lnTo>
                    <a:pt x="29527" y="152400"/>
                  </a:lnTo>
                  <a:lnTo>
                    <a:pt x="0" y="122872"/>
                  </a:lnTo>
                  <a:lnTo>
                    <a:pt x="122872" y="0"/>
                  </a:lnTo>
                  <a:cubicBezTo>
                    <a:pt x="127635" y="4763"/>
                    <a:pt x="132397" y="10478"/>
                    <a:pt x="137160" y="15240"/>
                  </a:cubicBezTo>
                  <a:cubicBezTo>
                    <a:pt x="142875" y="20003"/>
                    <a:pt x="147638" y="24765"/>
                    <a:pt x="153353" y="2952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grpSp>
        <p:nvGrpSpPr>
          <p:cNvPr id="6" name="Graphic 1">
            <a:extLst>
              <a:ext uri="{FF2B5EF4-FFF2-40B4-BE49-F238E27FC236}">
                <a16:creationId xmlns:a16="http://schemas.microsoft.com/office/drawing/2014/main" id="{12A72990-3800-4AE5-B9A5-9552EDFF144E}"/>
              </a:ext>
            </a:extLst>
          </p:cNvPr>
          <p:cNvGrpSpPr/>
          <p:nvPr/>
        </p:nvGrpSpPr>
        <p:grpSpPr>
          <a:xfrm>
            <a:off x="3252894" y="3704343"/>
            <a:ext cx="595206" cy="477738"/>
            <a:chOff x="6348412" y="2426970"/>
            <a:chExt cx="1081087" cy="867727"/>
          </a:xfrm>
          <a:solidFill>
            <a:schemeClr val="accent3"/>
          </a:solidFill>
        </p:grpSpPr>
        <p:grpSp>
          <p:nvGrpSpPr>
            <p:cNvPr id="7" name="Graphic 1">
              <a:extLst>
                <a:ext uri="{FF2B5EF4-FFF2-40B4-BE49-F238E27FC236}">
                  <a16:creationId xmlns:a16="http://schemas.microsoft.com/office/drawing/2014/main" id="{DEB5A672-95DA-4674-8FF1-E719D46737EC}"/>
                </a:ext>
              </a:extLst>
            </p:cNvPr>
            <p:cNvGrpSpPr/>
            <p:nvPr/>
          </p:nvGrpSpPr>
          <p:grpSpPr>
            <a:xfrm>
              <a:off x="6348412" y="2426970"/>
              <a:ext cx="1081087" cy="529589"/>
              <a:chOff x="6348412" y="2426970"/>
              <a:chExt cx="1081087" cy="529589"/>
            </a:xfrm>
            <a:grpFill/>
          </p:grpSpPr>
          <p:sp>
            <p:nvSpPr>
              <p:cNvPr id="9" name="Freeform: Shape 51">
                <a:extLst>
                  <a:ext uri="{FF2B5EF4-FFF2-40B4-BE49-F238E27FC236}">
                    <a16:creationId xmlns:a16="http://schemas.microsoft.com/office/drawing/2014/main" id="{FC67E1AE-19E5-49D5-8247-8B77E06ED10E}"/>
                  </a:ext>
                </a:extLst>
              </p:cNvPr>
              <p:cNvSpPr/>
              <p:nvPr/>
            </p:nvSpPr>
            <p:spPr>
              <a:xfrm>
                <a:off x="6348412" y="2426970"/>
                <a:ext cx="463867" cy="333375"/>
              </a:xfrm>
              <a:custGeom>
                <a:avLst/>
                <a:gdLst>
                  <a:gd name="connsiteX0" fmla="*/ 442913 w 463867"/>
                  <a:gd name="connsiteY0" fmla="*/ 189547 h 333375"/>
                  <a:gd name="connsiteX1" fmla="*/ 462915 w 463867"/>
                  <a:gd name="connsiteY1" fmla="*/ 194310 h 333375"/>
                  <a:gd name="connsiteX2" fmla="*/ 299085 w 463867"/>
                  <a:gd name="connsiteY2" fmla="*/ 333375 h 333375"/>
                  <a:gd name="connsiteX3" fmla="*/ 22860 w 463867"/>
                  <a:gd name="connsiteY3" fmla="*/ 184785 h 333375"/>
                  <a:gd name="connsiteX4" fmla="*/ 0 w 463867"/>
                  <a:gd name="connsiteY4" fmla="*/ 166688 h 333375"/>
                  <a:gd name="connsiteX5" fmla="*/ 22860 w 463867"/>
                  <a:gd name="connsiteY5" fmla="*/ 148590 h 333375"/>
                  <a:gd name="connsiteX6" fmla="*/ 299085 w 463867"/>
                  <a:gd name="connsiteY6" fmla="*/ 0 h 333375"/>
                  <a:gd name="connsiteX7" fmla="*/ 463868 w 463867"/>
                  <a:gd name="connsiteY7" fmla="*/ 146685 h 333375"/>
                  <a:gd name="connsiteX8" fmla="*/ 442913 w 463867"/>
                  <a:gd name="connsiteY8" fmla="*/ 143827 h 333375"/>
                  <a:gd name="connsiteX9" fmla="*/ 293370 w 463867"/>
                  <a:gd name="connsiteY9" fmla="*/ 143827 h 333375"/>
                  <a:gd name="connsiteX10" fmla="*/ 293370 w 463867"/>
                  <a:gd name="connsiteY10" fmla="*/ 189547 h 333375"/>
                  <a:gd name="connsiteX11" fmla="*/ 442913 w 463867"/>
                  <a:gd name="connsiteY11" fmla="*/ 189547 h 333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63867" h="333375">
                    <a:moveTo>
                      <a:pt x="442913" y="189547"/>
                    </a:moveTo>
                    <a:cubicBezTo>
                      <a:pt x="450532" y="189547"/>
                      <a:pt x="457200" y="191452"/>
                      <a:pt x="462915" y="194310"/>
                    </a:cubicBezTo>
                    <a:cubicBezTo>
                      <a:pt x="449580" y="273367"/>
                      <a:pt x="381000" y="333375"/>
                      <a:pt x="299085" y="333375"/>
                    </a:cubicBezTo>
                    <a:cubicBezTo>
                      <a:pt x="214313" y="333375"/>
                      <a:pt x="41910" y="200025"/>
                      <a:pt x="22860" y="184785"/>
                    </a:cubicBezTo>
                    <a:lnTo>
                      <a:pt x="0" y="166688"/>
                    </a:lnTo>
                    <a:lnTo>
                      <a:pt x="22860" y="148590"/>
                    </a:lnTo>
                    <a:cubicBezTo>
                      <a:pt x="41910" y="133350"/>
                      <a:pt x="215265" y="0"/>
                      <a:pt x="299085" y="0"/>
                    </a:cubicBezTo>
                    <a:cubicBezTo>
                      <a:pt x="383857" y="0"/>
                      <a:pt x="454343" y="63817"/>
                      <a:pt x="463868" y="146685"/>
                    </a:cubicBezTo>
                    <a:cubicBezTo>
                      <a:pt x="457200" y="144780"/>
                      <a:pt x="449580" y="143827"/>
                      <a:pt x="442913" y="143827"/>
                    </a:cubicBezTo>
                    <a:lnTo>
                      <a:pt x="293370" y="143827"/>
                    </a:lnTo>
                    <a:lnTo>
                      <a:pt x="293370" y="189547"/>
                    </a:lnTo>
                    <a:lnTo>
                      <a:pt x="442913" y="189547"/>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0" name="Freeform: Shape 52">
                <a:extLst>
                  <a:ext uri="{FF2B5EF4-FFF2-40B4-BE49-F238E27FC236}">
                    <a16:creationId xmlns:a16="http://schemas.microsoft.com/office/drawing/2014/main" id="{220F6860-996A-4F4F-9541-15B87D5D2B73}"/>
                  </a:ext>
                </a:extLst>
              </p:cNvPr>
              <p:cNvSpPr/>
              <p:nvPr/>
            </p:nvSpPr>
            <p:spPr>
              <a:xfrm>
                <a:off x="7052309" y="2685097"/>
                <a:ext cx="377189" cy="271462"/>
              </a:xfrm>
              <a:custGeom>
                <a:avLst/>
                <a:gdLst>
                  <a:gd name="connsiteX0" fmla="*/ 377190 w 377189"/>
                  <a:gd name="connsiteY0" fmla="*/ 135255 h 271462"/>
                  <a:gd name="connsiteX1" fmla="*/ 354330 w 377189"/>
                  <a:gd name="connsiteY1" fmla="*/ 153353 h 271462"/>
                  <a:gd name="connsiteX2" fmla="*/ 133350 w 377189"/>
                  <a:gd name="connsiteY2" fmla="*/ 271463 h 271462"/>
                  <a:gd name="connsiteX3" fmla="*/ 0 w 377189"/>
                  <a:gd name="connsiteY3" fmla="*/ 160973 h 271462"/>
                  <a:gd name="connsiteX4" fmla="*/ 28575 w 377189"/>
                  <a:gd name="connsiteY4" fmla="*/ 158115 h 271462"/>
                  <a:gd name="connsiteX5" fmla="*/ 155257 w 377189"/>
                  <a:gd name="connsiteY5" fmla="*/ 158115 h 271462"/>
                  <a:gd name="connsiteX6" fmla="*/ 155257 w 377189"/>
                  <a:gd name="connsiteY6" fmla="*/ 112395 h 271462"/>
                  <a:gd name="connsiteX7" fmla="*/ 29527 w 377189"/>
                  <a:gd name="connsiteY7" fmla="*/ 112395 h 271462"/>
                  <a:gd name="connsiteX8" fmla="*/ 0 w 377189"/>
                  <a:gd name="connsiteY8" fmla="*/ 115253 h 271462"/>
                  <a:gd name="connsiteX9" fmla="*/ 134302 w 377189"/>
                  <a:gd name="connsiteY9" fmla="*/ 0 h 271462"/>
                  <a:gd name="connsiteX10" fmla="*/ 355282 w 377189"/>
                  <a:gd name="connsiteY10" fmla="*/ 118110 h 271462"/>
                  <a:gd name="connsiteX11" fmla="*/ 377190 w 377189"/>
                  <a:gd name="connsiteY11" fmla="*/ 135255 h 2714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77189" h="271462">
                    <a:moveTo>
                      <a:pt x="377190" y="135255"/>
                    </a:moveTo>
                    <a:lnTo>
                      <a:pt x="354330" y="153353"/>
                    </a:lnTo>
                    <a:cubicBezTo>
                      <a:pt x="339090" y="165735"/>
                      <a:pt x="201930" y="271463"/>
                      <a:pt x="133350" y="271463"/>
                    </a:cubicBezTo>
                    <a:cubicBezTo>
                      <a:pt x="67627" y="271463"/>
                      <a:pt x="12382" y="223838"/>
                      <a:pt x="0" y="160973"/>
                    </a:cubicBezTo>
                    <a:cubicBezTo>
                      <a:pt x="8572" y="159068"/>
                      <a:pt x="18097" y="158115"/>
                      <a:pt x="28575" y="158115"/>
                    </a:cubicBezTo>
                    <a:lnTo>
                      <a:pt x="155257" y="158115"/>
                    </a:lnTo>
                    <a:lnTo>
                      <a:pt x="155257" y="112395"/>
                    </a:lnTo>
                    <a:lnTo>
                      <a:pt x="29527" y="112395"/>
                    </a:lnTo>
                    <a:cubicBezTo>
                      <a:pt x="19050" y="112395"/>
                      <a:pt x="9525" y="113348"/>
                      <a:pt x="0" y="115253"/>
                    </a:cubicBezTo>
                    <a:cubicBezTo>
                      <a:pt x="9525" y="49530"/>
                      <a:pt x="66675" y="0"/>
                      <a:pt x="134302" y="0"/>
                    </a:cubicBezTo>
                    <a:cubicBezTo>
                      <a:pt x="202882" y="0"/>
                      <a:pt x="340042" y="105728"/>
                      <a:pt x="355282" y="118110"/>
                    </a:cubicBezTo>
                    <a:lnTo>
                      <a:pt x="377190" y="135255"/>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sp>
          <p:nvSpPr>
            <p:cNvPr id="8" name="Freeform: Shape 50">
              <a:extLst>
                <a:ext uri="{FF2B5EF4-FFF2-40B4-BE49-F238E27FC236}">
                  <a16:creationId xmlns:a16="http://schemas.microsoft.com/office/drawing/2014/main" id="{3536AB2C-E9CC-40B2-AF62-9E762F4C66A5}"/>
                </a:ext>
              </a:extLst>
            </p:cNvPr>
            <p:cNvSpPr/>
            <p:nvPr/>
          </p:nvSpPr>
          <p:spPr>
            <a:xfrm>
              <a:off x="6679881" y="2572702"/>
              <a:ext cx="498157" cy="721994"/>
            </a:xfrm>
            <a:custGeom>
              <a:avLst/>
              <a:gdLst>
                <a:gd name="connsiteX0" fmla="*/ 272415 w 498157"/>
                <a:gd name="connsiteY0" fmla="*/ 452438 h 721994"/>
                <a:gd name="connsiteX1" fmla="*/ 324803 w 498157"/>
                <a:gd name="connsiteY1" fmla="*/ 300990 h 721994"/>
                <a:gd name="connsiteX2" fmla="*/ 373380 w 498157"/>
                <a:gd name="connsiteY2" fmla="*/ 273367 h 721994"/>
                <a:gd name="connsiteX3" fmla="*/ 370523 w 498157"/>
                <a:gd name="connsiteY3" fmla="*/ 247650 h 721994"/>
                <a:gd name="connsiteX4" fmla="*/ 372428 w 498157"/>
                <a:gd name="connsiteY4" fmla="*/ 227647 h 721994"/>
                <a:gd name="connsiteX5" fmla="*/ 292418 w 498157"/>
                <a:gd name="connsiteY5" fmla="*/ 269557 h 721994"/>
                <a:gd name="connsiteX6" fmla="*/ 265748 w 498157"/>
                <a:gd name="connsiteY6" fmla="*/ 304800 h 721994"/>
                <a:gd name="connsiteX7" fmla="*/ 181928 w 498157"/>
                <a:gd name="connsiteY7" fmla="*/ 29527 h 721994"/>
                <a:gd name="connsiteX8" fmla="*/ 132398 w 498157"/>
                <a:gd name="connsiteY8" fmla="*/ 0 h 721994"/>
                <a:gd name="connsiteX9" fmla="*/ 133350 w 498157"/>
                <a:gd name="connsiteY9" fmla="*/ 20002 h 721994"/>
                <a:gd name="connsiteX10" fmla="*/ 131445 w 498157"/>
                <a:gd name="connsiteY10" fmla="*/ 47625 h 721994"/>
                <a:gd name="connsiteX11" fmla="*/ 149543 w 498157"/>
                <a:gd name="connsiteY11" fmla="*/ 60960 h 721994"/>
                <a:gd name="connsiteX12" fmla="*/ 226695 w 498157"/>
                <a:gd name="connsiteY12" fmla="*/ 451485 h 721994"/>
                <a:gd name="connsiteX13" fmla="*/ 0 w 498157"/>
                <a:gd name="connsiteY13" fmla="*/ 699135 h 721994"/>
                <a:gd name="connsiteX14" fmla="*/ 0 w 498157"/>
                <a:gd name="connsiteY14" fmla="*/ 721995 h 721994"/>
                <a:gd name="connsiteX15" fmla="*/ 498157 w 498157"/>
                <a:gd name="connsiteY15" fmla="*/ 721995 h 721994"/>
                <a:gd name="connsiteX16" fmla="*/ 498157 w 498157"/>
                <a:gd name="connsiteY16" fmla="*/ 699135 h 721994"/>
                <a:gd name="connsiteX17" fmla="*/ 272415 w 498157"/>
                <a:gd name="connsiteY17" fmla="*/ 452438 h 721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98157" h="721994">
                  <a:moveTo>
                    <a:pt x="272415" y="452438"/>
                  </a:moveTo>
                  <a:cubicBezTo>
                    <a:pt x="274320" y="416242"/>
                    <a:pt x="283845" y="342900"/>
                    <a:pt x="324803" y="300990"/>
                  </a:cubicBezTo>
                  <a:cubicBezTo>
                    <a:pt x="339090" y="286702"/>
                    <a:pt x="354330" y="277177"/>
                    <a:pt x="373380" y="273367"/>
                  </a:cubicBezTo>
                  <a:cubicBezTo>
                    <a:pt x="371475" y="264795"/>
                    <a:pt x="370523" y="256222"/>
                    <a:pt x="370523" y="247650"/>
                  </a:cubicBezTo>
                  <a:cubicBezTo>
                    <a:pt x="370523" y="240982"/>
                    <a:pt x="371475" y="234315"/>
                    <a:pt x="372428" y="227647"/>
                  </a:cubicBezTo>
                  <a:cubicBezTo>
                    <a:pt x="340995" y="233363"/>
                    <a:pt x="314325" y="247650"/>
                    <a:pt x="292418" y="269557"/>
                  </a:cubicBezTo>
                  <a:cubicBezTo>
                    <a:pt x="281940" y="280035"/>
                    <a:pt x="273368" y="292417"/>
                    <a:pt x="265748" y="304800"/>
                  </a:cubicBezTo>
                  <a:cubicBezTo>
                    <a:pt x="256223" y="202882"/>
                    <a:pt x="234315" y="83820"/>
                    <a:pt x="181928" y="29527"/>
                  </a:cubicBezTo>
                  <a:cubicBezTo>
                    <a:pt x="167640" y="14288"/>
                    <a:pt x="150495" y="4763"/>
                    <a:pt x="132398" y="0"/>
                  </a:cubicBezTo>
                  <a:cubicBezTo>
                    <a:pt x="133350" y="6667"/>
                    <a:pt x="133350" y="13335"/>
                    <a:pt x="133350" y="20002"/>
                  </a:cubicBezTo>
                  <a:cubicBezTo>
                    <a:pt x="133350" y="29527"/>
                    <a:pt x="132398" y="38100"/>
                    <a:pt x="131445" y="47625"/>
                  </a:cubicBezTo>
                  <a:cubicBezTo>
                    <a:pt x="137160" y="50482"/>
                    <a:pt x="143828" y="55245"/>
                    <a:pt x="149543" y="60960"/>
                  </a:cubicBezTo>
                  <a:cubicBezTo>
                    <a:pt x="214313" y="127635"/>
                    <a:pt x="227648" y="348615"/>
                    <a:pt x="226695" y="451485"/>
                  </a:cubicBezTo>
                  <a:cubicBezTo>
                    <a:pt x="100013" y="462915"/>
                    <a:pt x="0" y="569595"/>
                    <a:pt x="0" y="699135"/>
                  </a:cubicBezTo>
                  <a:lnTo>
                    <a:pt x="0" y="721995"/>
                  </a:lnTo>
                  <a:lnTo>
                    <a:pt x="498157" y="721995"/>
                  </a:lnTo>
                  <a:lnTo>
                    <a:pt x="498157" y="699135"/>
                  </a:lnTo>
                  <a:cubicBezTo>
                    <a:pt x="498157" y="571500"/>
                    <a:pt x="398145" y="464820"/>
                    <a:pt x="272415" y="45243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sp>
        <p:nvSpPr>
          <p:cNvPr id="11" name="Title 1">
            <a:extLst>
              <a:ext uri="{FF2B5EF4-FFF2-40B4-BE49-F238E27FC236}">
                <a16:creationId xmlns:a16="http://schemas.microsoft.com/office/drawing/2014/main" id="{35BD3962-213D-459B-A26C-0C3596E1BE02}"/>
              </a:ext>
            </a:extLst>
          </p:cNvPr>
          <p:cNvSpPr txBox="1">
            <a:spLocks/>
          </p:cNvSpPr>
          <p:nvPr/>
        </p:nvSpPr>
        <p:spPr>
          <a:xfrm>
            <a:off x="2043113" y="304800"/>
            <a:ext cx="8105775" cy="1105808"/>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ID" sz="4400" b="0" i="0" u="none" strike="noStrike" kern="1200" cap="none" spc="0" normalizeH="0" baseline="0" noProof="0">
                <a:ln>
                  <a:noFill/>
                </a:ln>
                <a:solidFill>
                  <a:srgbClr val="000000"/>
                </a:solidFill>
                <a:effectLst/>
                <a:uLnTx/>
                <a:uFillTx/>
                <a:latin typeface="等线 Light" panose="020F0302020204030204"/>
                <a:ea typeface="+mj-ea"/>
                <a:cs typeface="+mj-cs"/>
              </a:rPr>
              <a:t>Tree Infographic</a:t>
            </a:r>
          </a:p>
        </p:txBody>
      </p:sp>
      <p:grpSp>
        <p:nvGrpSpPr>
          <p:cNvPr id="12" name="Group 9">
            <a:extLst>
              <a:ext uri="{FF2B5EF4-FFF2-40B4-BE49-F238E27FC236}">
                <a16:creationId xmlns:a16="http://schemas.microsoft.com/office/drawing/2014/main" id="{CCFC59D0-B9DB-4DA8-8F33-32AA8431A860}"/>
              </a:ext>
            </a:extLst>
          </p:cNvPr>
          <p:cNvGrpSpPr/>
          <p:nvPr/>
        </p:nvGrpSpPr>
        <p:grpSpPr>
          <a:xfrm>
            <a:off x="4273821" y="3375886"/>
            <a:ext cx="1920739" cy="1948383"/>
            <a:chOff x="4273821" y="3375886"/>
            <a:chExt cx="1920739" cy="1948383"/>
          </a:xfrm>
        </p:grpSpPr>
        <p:sp>
          <p:nvSpPr>
            <p:cNvPr id="13" name="Freeform: Shape 4">
              <a:extLst>
                <a:ext uri="{FF2B5EF4-FFF2-40B4-BE49-F238E27FC236}">
                  <a16:creationId xmlns:a16="http://schemas.microsoft.com/office/drawing/2014/main" id="{DAEBDBDD-D3AD-4A36-B661-6AD18A7B0DE7}"/>
                </a:ext>
              </a:extLst>
            </p:cNvPr>
            <p:cNvSpPr/>
            <p:nvPr/>
          </p:nvSpPr>
          <p:spPr>
            <a:xfrm>
              <a:off x="5344772" y="4151152"/>
              <a:ext cx="849788" cy="1173117"/>
            </a:xfrm>
            <a:custGeom>
              <a:avLst/>
              <a:gdLst>
                <a:gd name="connsiteX0" fmla="*/ 673418 w 673417"/>
                <a:gd name="connsiteY0" fmla="*/ 443865 h 929640"/>
                <a:gd name="connsiteX1" fmla="*/ 673418 w 673417"/>
                <a:gd name="connsiteY1" fmla="*/ 816293 h 929640"/>
                <a:gd name="connsiteX2" fmla="*/ 626745 w 673417"/>
                <a:gd name="connsiteY2" fmla="*/ 840105 h 929640"/>
                <a:gd name="connsiteX3" fmla="*/ 536258 w 673417"/>
                <a:gd name="connsiteY3" fmla="*/ 929640 h 929640"/>
                <a:gd name="connsiteX4" fmla="*/ 536258 w 673417"/>
                <a:gd name="connsiteY4" fmla="*/ 442913 h 929640"/>
                <a:gd name="connsiteX5" fmla="*/ 501015 w 673417"/>
                <a:gd name="connsiteY5" fmla="*/ 370522 h 929640"/>
                <a:gd name="connsiteX6" fmla="*/ 0 w 673417"/>
                <a:gd name="connsiteY6" fmla="*/ 115253 h 929640"/>
                <a:gd name="connsiteX7" fmla="*/ 75248 w 673417"/>
                <a:gd name="connsiteY7" fmla="*/ 0 h 929640"/>
                <a:gd name="connsiteX8" fmla="*/ 562928 w 673417"/>
                <a:gd name="connsiteY8" fmla="*/ 248603 h 929640"/>
                <a:gd name="connsiteX9" fmla="*/ 673418 w 673417"/>
                <a:gd name="connsiteY9" fmla="*/ 443865 h 929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73417" h="929640">
                  <a:moveTo>
                    <a:pt x="673418" y="443865"/>
                  </a:moveTo>
                  <a:lnTo>
                    <a:pt x="673418" y="816293"/>
                  </a:lnTo>
                  <a:lnTo>
                    <a:pt x="626745" y="840105"/>
                  </a:lnTo>
                  <a:cubicBezTo>
                    <a:pt x="590550" y="859155"/>
                    <a:pt x="559118" y="891540"/>
                    <a:pt x="536258" y="929640"/>
                  </a:cubicBezTo>
                  <a:lnTo>
                    <a:pt x="536258" y="442913"/>
                  </a:lnTo>
                  <a:cubicBezTo>
                    <a:pt x="536258" y="421958"/>
                    <a:pt x="518160" y="381000"/>
                    <a:pt x="501015" y="370522"/>
                  </a:cubicBezTo>
                  <a:lnTo>
                    <a:pt x="0" y="115253"/>
                  </a:lnTo>
                  <a:cubicBezTo>
                    <a:pt x="34290" y="83820"/>
                    <a:pt x="60008" y="44767"/>
                    <a:pt x="75248" y="0"/>
                  </a:cubicBezTo>
                  <a:lnTo>
                    <a:pt x="562928" y="248603"/>
                  </a:lnTo>
                  <a:cubicBezTo>
                    <a:pt x="623888" y="280988"/>
                    <a:pt x="673418" y="367665"/>
                    <a:pt x="673418" y="443865"/>
                  </a:cubicBezTo>
                  <a:close/>
                </a:path>
              </a:pathLst>
            </a:custGeom>
            <a:solidFill>
              <a:schemeClr val="accent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4" name="Freeform: Shape 10">
              <a:extLst>
                <a:ext uri="{FF2B5EF4-FFF2-40B4-BE49-F238E27FC236}">
                  <a16:creationId xmlns:a16="http://schemas.microsoft.com/office/drawing/2014/main" id="{C401C260-B66E-4E4E-819C-0C748F9F7121}"/>
                </a:ext>
              </a:extLst>
            </p:cNvPr>
            <p:cNvSpPr/>
            <p:nvPr/>
          </p:nvSpPr>
          <p:spPr>
            <a:xfrm>
              <a:off x="4273821" y="3375886"/>
              <a:ext cx="1311342" cy="1134653"/>
            </a:xfrm>
            <a:custGeom>
              <a:avLst/>
              <a:gdLst>
                <a:gd name="connsiteX0" fmla="*/ 779145 w 1039177"/>
                <a:gd name="connsiteY0" fmla="*/ 0 h 899159"/>
                <a:gd name="connsiteX1" fmla="*/ 260033 w 1039177"/>
                <a:gd name="connsiteY1" fmla="*/ 0 h 899159"/>
                <a:gd name="connsiteX2" fmla="*/ 0 w 1039177"/>
                <a:gd name="connsiteY2" fmla="*/ 449580 h 899159"/>
                <a:gd name="connsiteX3" fmla="*/ 260033 w 1039177"/>
                <a:gd name="connsiteY3" fmla="*/ 899160 h 899159"/>
                <a:gd name="connsiteX4" fmla="*/ 779145 w 1039177"/>
                <a:gd name="connsiteY4" fmla="*/ 899160 h 899159"/>
                <a:gd name="connsiteX5" fmla="*/ 1039178 w 1039177"/>
                <a:gd name="connsiteY5" fmla="*/ 449580 h 899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39177" h="899159">
                  <a:moveTo>
                    <a:pt x="779145" y="0"/>
                  </a:moveTo>
                  <a:lnTo>
                    <a:pt x="260033" y="0"/>
                  </a:lnTo>
                  <a:lnTo>
                    <a:pt x="0" y="449580"/>
                  </a:lnTo>
                  <a:lnTo>
                    <a:pt x="260033" y="899160"/>
                  </a:lnTo>
                  <a:lnTo>
                    <a:pt x="779145" y="899160"/>
                  </a:lnTo>
                  <a:lnTo>
                    <a:pt x="1039178" y="449580"/>
                  </a:lnTo>
                  <a:close/>
                </a:path>
              </a:pathLst>
            </a:custGeom>
            <a:solidFill>
              <a:schemeClr val="accent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grpSp>
        <p:nvGrpSpPr>
          <p:cNvPr id="15" name="Group 22">
            <a:extLst>
              <a:ext uri="{FF2B5EF4-FFF2-40B4-BE49-F238E27FC236}">
                <a16:creationId xmlns:a16="http://schemas.microsoft.com/office/drawing/2014/main" id="{0F97620D-AB8E-423C-A69E-1AFCC7759A02}"/>
              </a:ext>
            </a:extLst>
          </p:cNvPr>
          <p:cNvGrpSpPr/>
          <p:nvPr/>
        </p:nvGrpSpPr>
        <p:grpSpPr>
          <a:xfrm>
            <a:off x="4255792" y="1945548"/>
            <a:ext cx="1938768" cy="1937564"/>
            <a:chOff x="4255792" y="1945548"/>
            <a:chExt cx="1938768" cy="1937564"/>
          </a:xfrm>
        </p:grpSpPr>
        <p:sp>
          <p:nvSpPr>
            <p:cNvPr id="16" name="Freeform: Shape 8">
              <a:extLst>
                <a:ext uri="{FF2B5EF4-FFF2-40B4-BE49-F238E27FC236}">
                  <a16:creationId xmlns:a16="http://schemas.microsoft.com/office/drawing/2014/main" id="{D7204791-5B77-464F-A885-89F177DB5167}"/>
                </a:ext>
              </a:extLst>
            </p:cNvPr>
            <p:cNvSpPr/>
            <p:nvPr/>
          </p:nvSpPr>
          <p:spPr>
            <a:xfrm>
              <a:off x="5344772" y="2709996"/>
              <a:ext cx="849788" cy="1173116"/>
            </a:xfrm>
            <a:custGeom>
              <a:avLst/>
              <a:gdLst>
                <a:gd name="connsiteX0" fmla="*/ 673418 w 673417"/>
                <a:gd name="connsiteY0" fmla="*/ 442913 h 929639"/>
                <a:gd name="connsiteX1" fmla="*/ 673418 w 673417"/>
                <a:gd name="connsiteY1" fmla="*/ 816293 h 929639"/>
                <a:gd name="connsiteX2" fmla="*/ 626745 w 673417"/>
                <a:gd name="connsiteY2" fmla="*/ 840105 h 929639"/>
                <a:gd name="connsiteX3" fmla="*/ 536258 w 673417"/>
                <a:gd name="connsiteY3" fmla="*/ 929640 h 929639"/>
                <a:gd name="connsiteX4" fmla="*/ 536258 w 673417"/>
                <a:gd name="connsiteY4" fmla="*/ 442913 h 929639"/>
                <a:gd name="connsiteX5" fmla="*/ 501015 w 673417"/>
                <a:gd name="connsiteY5" fmla="*/ 370523 h 929639"/>
                <a:gd name="connsiteX6" fmla="*/ 0 w 673417"/>
                <a:gd name="connsiteY6" fmla="*/ 115252 h 929639"/>
                <a:gd name="connsiteX7" fmla="*/ 75248 w 673417"/>
                <a:gd name="connsiteY7" fmla="*/ 0 h 929639"/>
                <a:gd name="connsiteX8" fmla="*/ 562928 w 673417"/>
                <a:gd name="connsiteY8" fmla="*/ 249555 h 929639"/>
                <a:gd name="connsiteX9" fmla="*/ 673418 w 673417"/>
                <a:gd name="connsiteY9" fmla="*/ 442913 h 9296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73417" h="929639">
                  <a:moveTo>
                    <a:pt x="673418" y="442913"/>
                  </a:moveTo>
                  <a:lnTo>
                    <a:pt x="673418" y="816293"/>
                  </a:lnTo>
                  <a:lnTo>
                    <a:pt x="626745" y="840105"/>
                  </a:lnTo>
                  <a:cubicBezTo>
                    <a:pt x="590550" y="859155"/>
                    <a:pt x="559118" y="891540"/>
                    <a:pt x="536258" y="929640"/>
                  </a:cubicBezTo>
                  <a:lnTo>
                    <a:pt x="536258" y="442913"/>
                  </a:lnTo>
                  <a:cubicBezTo>
                    <a:pt x="536258" y="421958"/>
                    <a:pt x="518160" y="381000"/>
                    <a:pt x="501015" y="370523"/>
                  </a:cubicBezTo>
                  <a:lnTo>
                    <a:pt x="0" y="115252"/>
                  </a:lnTo>
                  <a:cubicBezTo>
                    <a:pt x="34290" y="83820"/>
                    <a:pt x="60008" y="44768"/>
                    <a:pt x="75248" y="0"/>
                  </a:cubicBezTo>
                  <a:lnTo>
                    <a:pt x="562928" y="249555"/>
                  </a:lnTo>
                  <a:cubicBezTo>
                    <a:pt x="623888" y="279083"/>
                    <a:pt x="673418" y="366713"/>
                    <a:pt x="673418" y="442913"/>
                  </a:cubicBezTo>
                  <a:close/>
                </a:path>
              </a:pathLst>
            </a:custGeom>
            <a:solidFill>
              <a:schemeClr val="accent5"/>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7" name="Freeform: Shape 11">
              <a:extLst>
                <a:ext uri="{FF2B5EF4-FFF2-40B4-BE49-F238E27FC236}">
                  <a16:creationId xmlns:a16="http://schemas.microsoft.com/office/drawing/2014/main" id="{4EF6619C-32FA-4933-A983-D8D8CECF236A}"/>
                </a:ext>
              </a:extLst>
            </p:cNvPr>
            <p:cNvSpPr/>
            <p:nvPr/>
          </p:nvSpPr>
          <p:spPr>
            <a:xfrm>
              <a:off x="4255792" y="1945548"/>
              <a:ext cx="1310141" cy="1135856"/>
            </a:xfrm>
            <a:custGeom>
              <a:avLst/>
              <a:gdLst>
                <a:gd name="connsiteX0" fmla="*/ 779145 w 1038225"/>
                <a:gd name="connsiteY0" fmla="*/ 0 h 900112"/>
                <a:gd name="connsiteX1" fmla="*/ 259080 w 1038225"/>
                <a:gd name="connsiteY1" fmla="*/ 0 h 900112"/>
                <a:gd name="connsiteX2" fmla="*/ 0 w 1038225"/>
                <a:gd name="connsiteY2" fmla="*/ 449580 h 900112"/>
                <a:gd name="connsiteX3" fmla="*/ 259080 w 1038225"/>
                <a:gd name="connsiteY3" fmla="*/ 900113 h 900112"/>
                <a:gd name="connsiteX4" fmla="*/ 779145 w 1038225"/>
                <a:gd name="connsiteY4" fmla="*/ 900113 h 900112"/>
                <a:gd name="connsiteX5" fmla="*/ 1038225 w 1038225"/>
                <a:gd name="connsiteY5" fmla="*/ 449580 h 9001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38225" h="900112">
                  <a:moveTo>
                    <a:pt x="779145" y="0"/>
                  </a:moveTo>
                  <a:lnTo>
                    <a:pt x="259080" y="0"/>
                  </a:lnTo>
                  <a:lnTo>
                    <a:pt x="0" y="449580"/>
                  </a:lnTo>
                  <a:lnTo>
                    <a:pt x="259080" y="900113"/>
                  </a:lnTo>
                  <a:lnTo>
                    <a:pt x="779145" y="900113"/>
                  </a:lnTo>
                  <a:lnTo>
                    <a:pt x="1038225" y="449580"/>
                  </a:lnTo>
                  <a:close/>
                </a:path>
              </a:pathLst>
            </a:custGeom>
            <a:solidFill>
              <a:schemeClr val="accent5"/>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grpSp>
        <p:nvGrpSpPr>
          <p:cNvPr id="18" name="Group 2">
            <a:extLst>
              <a:ext uri="{FF2B5EF4-FFF2-40B4-BE49-F238E27FC236}">
                <a16:creationId xmlns:a16="http://schemas.microsoft.com/office/drawing/2014/main" id="{66D1176D-89EA-4894-9D68-C544200222EA}"/>
              </a:ext>
            </a:extLst>
          </p:cNvPr>
          <p:cNvGrpSpPr/>
          <p:nvPr/>
        </p:nvGrpSpPr>
        <p:grpSpPr>
          <a:xfrm>
            <a:off x="4288246" y="4861514"/>
            <a:ext cx="1906314" cy="2091114"/>
            <a:chOff x="4288246" y="4861514"/>
            <a:chExt cx="1906314" cy="2091114"/>
          </a:xfrm>
        </p:grpSpPr>
        <p:sp>
          <p:nvSpPr>
            <p:cNvPr id="19" name="Freeform: Shape 6">
              <a:extLst>
                <a:ext uri="{FF2B5EF4-FFF2-40B4-BE49-F238E27FC236}">
                  <a16:creationId xmlns:a16="http://schemas.microsoft.com/office/drawing/2014/main" id="{FBC653DC-9FAD-41AC-8E14-7EDD1F01862B}"/>
                </a:ext>
              </a:extLst>
            </p:cNvPr>
            <p:cNvSpPr/>
            <p:nvPr/>
          </p:nvSpPr>
          <p:spPr>
            <a:xfrm>
              <a:off x="5344772" y="5593510"/>
              <a:ext cx="849788" cy="1359118"/>
            </a:xfrm>
            <a:custGeom>
              <a:avLst/>
              <a:gdLst>
                <a:gd name="connsiteX0" fmla="*/ 673418 w 673417"/>
                <a:gd name="connsiteY0" fmla="*/ 443865 h 1077037"/>
                <a:gd name="connsiteX1" fmla="*/ 673418 w 673417"/>
                <a:gd name="connsiteY1" fmla="*/ 983932 h 1077037"/>
                <a:gd name="connsiteX2" fmla="*/ 563880 w 673417"/>
                <a:gd name="connsiteY2" fmla="*/ 1065848 h 1077037"/>
                <a:gd name="connsiteX3" fmla="*/ 536258 w 673417"/>
                <a:gd name="connsiteY3" fmla="*/ 1051560 h 1077037"/>
                <a:gd name="connsiteX4" fmla="*/ 536258 w 673417"/>
                <a:gd name="connsiteY4" fmla="*/ 442913 h 1077037"/>
                <a:gd name="connsiteX5" fmla="*/ 501015 w 673417"/>
                <a:gd name="connsiteY5" fmla="*/ 370522 h 1077037"/>
                <a:gd name="connsiteX6" fmla="*/ 0 w 673417"/>
                <a:gd name="connsiteY6" fmla="*/ 115253 h 1077037"/>
                <a:gd name="connsiteX7" fmla="*/ 75248 w 673417"/>
                <a:gd name="connsiteY7" fmla="*/ 0 h 1077037"/>
                <a:gd name="connsiteX8" fmla="*/ 562928 w 673417"/>
                <a:gd name="connsiteY8" fmla="*/ 248603 h 1077037"/>
                <a:gd name="connsiteX9" fmla="*/ 673418 w 673417"/>
                <a:gd name="connsiteY9" fmla="*/ 443865 h 1077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73417" h="1077037">
                  <a:moveTo>
                    <a:pt x="673418" y="443865"/>
                  </a:moveTo>
                  <a:lnTo>
                    <a:pt x="673418" y="983932"/>
                  </a:lnTo>
                  <a:cubicBezTo>
                    <a:pt x="673418" y="1060132"/>
                    <a:pt x="623888" y="1097280"/>
                    <a:pt x="563880" y="1065848"/>
                  </a:cubicBezTo>
                  <a:lnTo>
                    <a:pt x="536258" y="1051560"/>
                  </a:lnTo>
                  <a:lnTo>
                    <a:pt x="536258" y="442913"/>
                  </a:lnTo>
                  <a:cubicBezTo>
                    <a:pt x="536258" y="421957"/>
                    <a:pt x="518160" y="381000"/>
                    <a:pt x="501015" y="370522"/>
                  </a:cubicBezTo>
                  <a:lnTo>
                    <a:pt x="0" y="115253"/>
                  </a:lnTo>
                  <a:cubicBezTo>
                    <a:pt x="34290" y="83820"/>
                    <a:pt x="60008" y="44768"/>
                    <a:pt x="75248" y="0"/>
                  </a:cubicBezTo>
                  <a:lnTo>
                    <a:pt x="562928" y="248603"/>
                  </a:lnTo>
                  <a:cubicBezTo>
                    <a:pt x="623888" y="280988"/>
                    <a:pt x="673418" y="368618"/>
                    <a:pt x="673418" y="443865"/>
                  </a:cubicBezTo>
                  <a:close/>
                </a:path>
              </a:pathLst>
            </a:custGeom>
            <a:solidFill>
              <a:schemeClr val="accent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0" name="Freeform: Shape 12">
              <a:extLst>
                <a:ext uri="{FF2B5EF4-FFF2-40B4-BE49-F238E27FC236}">
                  <a16:creationId xmlns:a16="http://schemas.microsoft.com/office/drawing/2014/main" id="{8D4BCDCD-AF81-4C2C-A336-A9919C851125}"/>
                </a:ext>
              </a:extLst>
            </p:cNvPr>
            <p:cNvSpPr/>
            <p:nvPr/>
          </p:nvSpPr>
          <p:spPr>
            <a:xfrm>
              <a:off x="4288246" y="4861514"/>
              <a:ext cx="1311342" cy="1135856"/>
            </a:xfrm>
            <a:custGeom>
              <a:avLst/>
              <a:gdLst>
                <a:gd name="connsiteX0" fmla="*/ 779145 w 1039177"/>
                <a:gd name="connsiteY0" fmla="*/ 0 h 900112"/>
                <a:gd name="connsiteX1" fmla="*/ 260033 w 1039177"/>
                <a:gd name="connsiteY1" fmla="*/ 0 h 900112"/>
                <a:gd name="connsiteX2" fmla="*/ 0 w 1039177"/>
                <a:gd name="connsiteY2" fmla="*/ 449580 h 900112"/>
                <a:gd name="connsiteX3" fmla="*/ 260033 w 1039177"/>
                <a:gd name="connsiteY3" fmla="*/ 900113 h 900112"/>
                <a:gd name="connsiteX4" fmla="*/ 779145 w 1039177"/>
                <a:gd name="connsiteY4" fmla="*/ 900113 h 900112"/>
                <a:gd name="connsiteX5" fmla="*/ 1039177 w 1039177"/>
                <a:gd name="connsiteY5" fmla="*/ 449580 h 9001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39177" h="900112">
                  <a:moveTo>
                    <a:pt x="779145" y="0"/>
                  </a:moveTo>
                  <a:lnTo>
                    <a:pt x="260033" y="0"/>
                  </a:lnTo>
                  <a:lnTo>
                    <a:pt x="0" y="449580"/>
                  </a:lnTo>
                  <a:lnTo>
                    <a:pt x="260033" y="900113"/>
                  </a:lnTo>
                  <a:lnTo>
                    <a:pt x="779145" y="900113"/>
                  </a:lnTo>
                  <a:lnTo>
                    <a:pt x="1039177" y="449580"/>
                  </a:lnTo>
                  <a:close/>
                </a:path>
              </a:pathLst>
            </a:custGeom>
            <a:solidFill>
              <a:schemeClr val="accent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grpSp>
        <p:nvGrpSpPr>
          <p:cNvPr id="21" name="Group 21">
            <a:extLst>
              <a:ext uri="{FF2B5EF4-FFF2-40B4-BE49-F238E27FC236}">
                <a16:creationId xmlns:a16="http://schemas.microsoft.com/office/drawing/2014/main" id="{C6149C72-6D29-409C-A6A3-02BBF9EDEEE0}"/>
              </a:ext>
            </a:extLst>
          </p:cNvPr>
          <p:cNvGrpSpPr/>
          <p:nvPr/>
        </p:nvGrpSpPr>
        <p:grpSpPr>
          <a:xfrm>
            <a:off x="6020276" y="2756873"/>
            <a:ext cx="1894294" cy="1775302"/>
            <a:chOff x="6020276" y="2756873"/>
            <a:chExt cx="1894294" cy="1775302"/>
          </a:xfrm>
        </p:grpSpPr>
        <p:sp>
          <p:nvSpPr>
            <p:cNvPr id="22" name="Freeform: Shape 5">
              <a:extLst>
                <a:ext uri="{FF2B5EF4-FFF2-40B4-BE49-F238E27FC236}">
                  <a16:creationId xmlns:a16="http://schemas.microsoft.com/office/drawing/2014/main" id="{FC25DF29-90AF-4AEF-AE02-3147923E2365}"/>
                </a:ext>
              </a:extLst>
            </p:cNvPr>
            <p:cNvSpPr/>
            <p:nvPr/>
          </p:nvSpPr>
          <p:spPr>
            <a:xfrm>
              <a:off x="6020276" y="3500889"/>
              <a:ext cx="849788" cy="1031286"/>
            </a:xfrm>
            <a:custGeom>
              <a:avLst/>
              <a:gdLst>
                <a:gd name="connsiteX0" fmla="*/ 673418 w 673417"/>
                <a:gd name="connsiteY0" fmla="*/ 116205 h 817245"/>
                <a:gd name="connsiteX1" fmla="*/ 172403 w 673417"/>
                <a:gd name="connsiteY1" fmla="*/ 371475 h 817245"/>
                <a:gd name="connsiteX2" fmla="*/ 137160 w 673417"/>
                <a:gd name="connsiteY2" fmla="*/ 443865 h 817245"/>
                <a:gd name="connsiteX3" fmla="*/ 137160 w 673417"/>
                <a:gd name="connsiteY3" fmla="*/ 817245 h 817245"/>
                <a:gd name="connsiteX4" fmla="*/ 46673 w 673417"/>
                <a:gd name="connsiteY4" fmla="*/ 727710 h 817245"/>
                <a:gd name="connsiteX5" fmla="*/ 0 w 673417"/>
                <a:gd name="connsiteY5" fmla="*/ 703898 h 817245"/>
                <a:gd name="connsiteX6" fmla="*/ 0 w 673417"/>
                <a:gd name="connsiteY6" fmla="*/ 443865 h 817245"/>
                <a:gd name="connsiteX7" fmla="*/ 109538 w 673417"/>
                <a:gd name="connsiteY7" fmla="*/ 249555 h 817245"/>
                <a:gd name="connsiteX8" fmla="*/ 597218 w 673417"/>
                <a:gd name="connsiteY8" fmla="*/ 0 h 817245"/>
                <a:gd name="connsiteX9" fmla="*/ 673418 w 673417"/>
                <a:gd name="connsiteY9" fmla="*/ 116205 h 817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73417" h="817245">
                  <a:moveTo>
                    <a:pt x="673418" y="116205"/>
                  </a:moveTo>
                  <a:lnTo>
                    <a:pt x="172403" y="371475"/>
                  </a:lnTo>
                  <a:cubicBezTo>
                    <a:pt x="155258" y="381953"/>
                    <a:pt x="137160" y="422910"/>
                    <a:pt x="137160" y="443865"/>
                  </a:cubicBezTo>
                  <a:lnTo>
                    <a:pt x="137160" y="817245"/>
                  </a:lnTo>
                  <a:cubicBezTo>
                    <a:pt x="114300" y="779145"/>
                    <a:pt x="82867" y="745808"/>
                    <a:pt x="46673" y="727710"/>
                  </a:cubicBezTo>
                  <a:lnTo>
                    <a:pt x="0" y="703898"/>
                  </a:lnTo>
                  <a:lnTo>
                    <a:pt x="0" y="443865"/>
                  </a:lnTo>
                  <a:cubicBezTo>
                    <a:pt x="0" y="367665"/>
                    <a:pt x="49530" y="280035"/>
                    <a:pt x="109538" y="249555"/>
                  </a:cubicBezTo>
                  <a:lnTo>
                    <a:pt x="597218" y="0"/>
                  </a:lnTo>
                  <a:cubicBezTo>
                    <a:pt x="613410" y="45720"/>
                    <a:pt x="640080" y="84773"/>
                    <a:pt x="673418" y="116205"/>
                  </a:cubicBezTo>
                  <a:close/>
                </a:path>
              </a:pathLst>
            </a:custGeom>
            <a:solidFill>
              <a:schemeClr val="accent4"/>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3" name="Freeform: Shape 13">
              <a:extLst>
                <a:ext uri="{FF2B5EF4-FFF2-40B4-BE49-F238E27FC236}">
                  <a16:creationId xmlns:a16="http://schemas.microsoft.com/office/drawing/2014/main" id="{46DD9400-0A15-46EA-A497-64AA07947880}"/>
                </a:ext>
              </a:extLst>
            </p:cNvPr>
            <p:cNvSpPr/>
            <p:nvPr/>
          </p:nvSpPr>
          <p:spPr>
            <a:xfrm>
              <a:off x="6603228" y="2756873"/>
              <a:ext cx="1311342" cy="1134653"/>
            </a:xfrm>
            <a:custGeom>
              <a:avLst/>
              <a:gdLst>
                <a:gd name="connsiteX0" fmla="*/ 779145 w 1039177"/>
                <a:gd name="connsiteY0" fmla="*/ 0 h 899159"/>
                <a:gd name="connsiteX1" fmla="*/ 260033 w 1039177"/>
                <a:gd name="connsiteY1" fmla="*/ 0 h 899159"/>
                <a:gd name="connsiteX2" fmla="*/ 0 w 1039177"/>
                <a:gd name="connsiteY2" fmla="*/ 449580 h 899159"/>
                <a:gd name="connsiteX3" fmla="*/ 260033 w 1039177"/>
                <a:gd name="connsiteY3" fmla="*/ 899160 h 899159"/>
                <a:gd name="connsiteX4" fmla="*/ 779145 w 1039177"/>
                <a:gd name="connsiteY4" fmla="*/ 899160 h 899159"/>
                <a:gd name="connsiteX5" fmla="*/ 1039177 w 1039177"/>
                <a:gd name="connsiteY5" fmla="*/ 449580 h 899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39177" h="899159">
                  <a:moveTo>
                    <a:pt x="779145" y="0"/>
                  </a:moveTo>
                  <a:lnTo>
                    <a:pt x="260033" y="0"/>
                  </a:lnTo>
                  <a:lnTo>
                    <a:pt x="0" y="449580"/>
                  </a:lnTo>
                  <a:lnTo>
                    <a:pt x="260033" y="899160"/>
                  </a:lnTo>
                  <a:lnTo>
                    <a:pt x="779145" y="899160"/>
                  </a:lnTo>
                  <a:lnTo>
                    <a:pt x="1039177" y="449580"/>
                  </a:lnTo>
                  <a:close/>
                </a:path>
              </a:pathLst>
            </a:custGeom>
            <a:solidFill>
              <a:schemeClr val="accent4"/>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grpSp>
        <p:nvGrpSpPr>
          <p:cNvPr id="24" name="Group 3">
            <a:extLst>
              <a:ext uri="{FF2B5EF4-FFF2-40B4-BE49-F238E27FC236}">
                <a16:creationId xmlns:a16="http://schemas.microsoft.com/office/drawing/2014/main" id="{9206E626-EC07-43A3-AA8D-23D0EBC657E7}"/>
              </a:ext>
            </a:extLst>
          </p:cNvPr>
          <p:cNvGrpSpPr/>
          <p:nvPr/>
        </p:nvGrpSpPr>
        <p:grpSpPr>
          <a:xfrm>
            <a:off x="6020276" y="4242502"/>
            <a:ext cx="1908717" cy="1732030"/>
            <a:chOff x="6020276" y="4242502"/>
            <a:chExt cx="1908717" cy="1732030"/>
          </a:xfrm>
        </p:grpSpPr>
        <p:sp>
          <p:nvSpPr>
            <p:cNvPr id="25" name="Freeform: Shape 7">
              <a:extLst>
                <a:ext uri="{FF2B5EF4-FFF2-40B4-BE49-F238E27FC236}">
                  <a16:creationId xmlns:a16="http://schemas.microsoft.com/office/drawing/2014/main" id="{6CCDD9C9-43C8-4CA1-BC51-AF91BB20F9B4}"/>
                </a:ext>
              </a:extLst>
            </p:cNvPr>
            <p:cNvSpPr/>
            <p:nvPr/>
          </p:nvSpPr>
          <p:spPr>
            <a:xfrm>
              <a:off x="6020276" y="4943246"/>
              <a:ext cx="849788" cy="1031286"/>
            </a:xfrm>
            <a:custGeom>
              <a:avLst/>
              <a:gdLst>
                <a:gd name="connsiteX0" fmla="*/ 673418 w 673417"/>
                <a:gd name="connsiteY0" fmla="*/ 116205 h 817245"/>
                <a:gd name="connsiteX1" fmla="*/ 172403 w 673417"/>
                <a:gd name="connsiteY1" fmla="*/ 371475 h 817245"/>
                <a:gd name="connsiteX2" fmla="*/ 137160 w 673417"/>
                <a:gd name="connsiteY2" fmla="*/ 443865 h 817245"/>
                <a:gd name="connsiteX3" fmla="*/ 137160 w 673417"/>
                <a:gd name="connsiteY3" fmla="*/ 817245 h 817245"/>
                <a:gd name="connsiteX4" fmla="*/ 46673 w 673417"/>
                <a:gd name="connsiteY4" fmla="*/ 727710 h 817245"/>
                <a:gd name="connsiteX5" fmla="*/ 0 w 673417"/>
                <a:gd name="connsiteY5" fmla="*/ 703897 h 817245"/>
                <a:gd name="connsiteX6" fmla="*/ 0 w 673417"/>
                <a:gd name="connsiteY6" fmla="*/ 443865 h 817245"/>
                <a:gd name="connsiteX7" fmla="*/ 109538 w 673417"/>
                <a:gd name="connsiteY7" fmla="*/ 249555 h 817245"/>
                <a:gd name="connsiteX8" fmla="*/ 597218 w 673417"/>
                <a:gd name="connsiteY8" fmla="*/ 0 h 817245"/>
                <a:gd name="connsiteX9" fmla="*/ 673418 w 673417"/>
                <a:gd name="connsiteY9" fmla="*/ 116205 h 817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73417" h="817245">
                  <a:moveTo>
                    <a:pt x="673418" y="116205"/>
                  </a:moveTo>
                  <a:lnTo>
                    <a:pt x="172403" y="371475"/>
                  </a:lnTo>
                  <a:cubicBezTo>
                    <a:pt x="155258" y="381953"/>
                    <a:pt x="137160" y="422910"/>
                    <a:pt x="137160" y="443865"/>
                  </a:cubicBezTo>
                  <a:lnTo>
                    <a:pt x="137160" y="817245"/>
                  </a:lnTo>
                  <a:cubicBezTo>
                    <a:pt x="114300" y="779145"/>
                    <a:pt x="82867" y="745808"/>
                    <a:pt x="46673" y="727710"/>
                  </a:cubicBezTo>
                  <a:lnTo>
                    <a:pt x="0" y="703897"/>
                  </a:lnTo>
                  <a:lnTo>
                    <a:pt x="0" y="443865"/>
                  </a:lnTo>
                  <a:cubicBezTo>
                    <a:pt x="0" y="367665"/>
                    <a:pt x="49530" y="280035"/>
                    <a:pt x="109538" y="249555"/>
                  </a:cubicBezTo>
                  <a:lnTo>
                    <a:pt x="597218" y="0"/>
                  </a:lnTo>
                  <a:cubicBezTo>
                    <a:pt x="613410" y="45720"/>
                    <a:pt x="640080" y="84772"/>
                    <a:pt x="673418" y="116205"/>
                  </a:cubicBezTo>
                  <a:close/>
                </a:path>
              </a:pathLst>
            </a:custGeom>
            <a:solidFill>
              <a:schemeClr val="accent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6" name="Freeform: Shape 14">
              <a:extLst>
                <a:ext uri="{FF2B5EF4-FFF2-40B4-BE49-F238E27FC236}">
                  <a16:creationId xmlns:a16="http://schemas.microsoft.com/office/drawing/2014/main" id="{65AC6D87-AB14-4C13-8449-6B6EAF47D24E}"/>
                </a:ext>
              </a:extLst>
            </p:cNvPr>
            <p:cNvSpPr/>
            <p:nvPr/>
          </p:nvSpPr>
          <p:spPr>
            <a:xfrm>
              <a:off x="6617651" y="4242502"/>
              <a:ext cx="1311342" cy="1135856"/>
            </a:xfrm>
            <a:custGeom>
              <a:avLst/>
              <a:gdLst>
                <a:gd name="connsiteX0" fmla="*/ 779145 w 1039177"/>
                <a:gd name="connsiteY0" fmla="*/ 0 h 900112"/>
                <a:gd name="connsiteX1" fmla="*/ 259080 w 1039177"/>
                <a:gd name="connsiteY1" fmla="*/ 0 h 900112"/>
                <a:gd name="connsiteX2" fmla="*/ 0 w 1039177"/>
                <a:gd name="connsiteY2" fmla="*/ 450532 h 900112"/>
                <a:gd name="connsiteX3" fmla="*/ 259080 w 1039177"/>
                <a:gd name="connsiteY3" fmla="*/ 900113 h 900112"/>
                <a:gd name="connsiteX4" fmla="*/ 779145 w 1039177"/>
                <a:gd name="connsiteY4" fmla="*/ 900113 h 900112"/>
                <a:gd name="connsiteX5" fmla="*/ 1039178 w 1039177"/>
                <a:gd name="connsiteY5" fmla="*/ 450532 h 9001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39177" h="900112">
                  <a:moveTo>
                    <a:pt x="779145" y="0"/>
                  </a:moveTo>
                  <a:lnTo>
                    <a:pt x="259080" y="0"/>
                  </a:lnTo>
                  <a:lnTo>
                    <a:pt x="0" y="450532"/>
                  </a:lnTo>
                  <a:lnTo>
                    <a:pt x="259080" y="900113"/>
                  </a:lnTo>
                  <a:lnTo>
                    <a:pt x="779145" y="900113"/>
                  </a:lnTo>
                  <a:lnTo>
                    <a:pt x="1039178" y="450532"/>
                  </a:lnTo>
                  <a:close/>
                </a:path>
              </a:pathLst>
            </a:custGeom>
            <a:solidFill>
              <a:schemeClr val="accent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sp>
        <p:nvSpPr>
          <p:cNvPr id="27" name="TextBox 15">
            <a:extLst>
              <a:ext uri="{FF2B5EF4-FFF2-40B4-BE49-F238E27FC236}">
                <a16:creationId xmlns:a16="http://schemas.microsoft.com/office/drawing/2014/main" id="{C010099F-C399-4A14-8A9C-1A7179EC1A64}"/>
              </a:ext>
            </a:extLst>
          </p:cNvPr>
          <p:cNvSpPr txBox="1"/>
          <p:nvPr/>
        </p:nvSpPr>
        <p:spPr>
          <a:xfrm>
            <a:off x="758721" y="2275065"/>
            <a:ext cx="2251643" cy="616836"/>
          </a:xfrm>
          <a:prstGeom prst="rect">
            <a:avLst/>
          </a:prstGeom>
          <a:noFill/>
        </p:spPr>
        <p:txBody>
          <a:bodyPr wrap="square" rtlCol="0">
            <a:spAutoFit/>
          </a:bodyPr>
          <a:lstStyle/>
          <a:p>
            <a:pPr marL="0" marR="0" lvl="0" indent="0" algn="r" defTabSz="914400" rtl="0" eaLnBrk="1" fontAlgn="auto" latinLnBrk="0" hangingPunct="1">
              <a:lnSpc>
                <a:spcPct val="15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rPr>
              <a:t>A wonderful serenity </a:t>
            </a:r>
            <a:r>
              <a:rPr kumimoji="0" lang="en-US" sz="1200" b="0" i="0" u="none" strike="noStrike" kern="1200" cap="none" spc="0" normalizeH="0" baseline="0" noProof="0">
                <a:ln>
                  <a:noFill/>
                </a:ln>
                <a:solidFill>
                  <a:srgbClr val="000000"/>
                </a:solidFill>
                <a:effectLst/>
                <a:uLnTx/>
                <a:uFillTx/>
                <a:latin typeface="等线" panose="020F0502020204030204"/>
                <a:ea typeface="+mn-ea"/>
                <a:cs typeface="+mn-cs"/>
              </a:rPr>
              <a:t>has taken has this </a:t>
            </a:r>
            <a:r>
              <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rPr>
              <a:t>possession of </a:t>
            </a:r>
            <a:r>
              <a:rPr kumimoji="0" lang="en-US" sz="1200" b="0" i="0" u="none" strike="noStrike" kern="1200" cap="none" spc="0" normalizeH="0" baseline="0" noProof="0">
                <a:ln>
                  <a:noFill/>
                </a:ln>
                <a:solidFill>
                  <a:srgbClr val="000000"/>
                </a:solidFill>
                <a:effectLst/>
                <a:uLnTx/>
                <a:uFillTx/>
                <a:latin typeface="等线" panose="020F0502020204030204"/>
                <a:ea typeface="+mn-ea"/>
                <a:cs typeface="+mn-cs"/>
              </a:rPr>
              <a:t>my entire</a:t>
            </a:r>
            <a:endPar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28" name="TextBox 16">
            <a:extLst>
              <a:ext uri="{FF2B5EF4-FFF2-40B4-BE49-F238E27FC236}">
                <a16:creationId xmlns:a16="http://schemas.microsoft.com/office/drawing/2014/main" id="{2B7DE0B8-7B5D-4484-A2DD-0A70AC84E719}"/>
              </a:ext>
            </a:extLst>
          </p:cNvPr>
          <p:cNvSpPr txBox="1"/>
          <p:nvPr/>
        </p:nvSpPr>
        <p:spPr>
          <a:xfrm>
            <a:off x="862342" y="2012929"/>
            <a:ext cx="2148023" cy="338554"/>
          </a:xfrm>
          <a:prstGeom prst="rect">
            <a:avLst/>
          </a:prstGeom>
          <a:noFill/>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等线 Light" panose="020F0302020204030204"/>
                <a:ea typeface="+mn-ea"/>
                <a:cs typeface="+mn-cs"/>
              </a:rPr>
              <a:t>Description</a:t>
            </a:r>
          </a:p>
        </p:txBody>
      </p:sp>
      <p:sp>
        <p:nvSpPr>
          <p:cNvPr id="29" name="TextBox 17">
            <a:extLst>
              <a:ext uri="{FF2B5EF4-FFF2-40B4-BE49-F238E27FC236}">
                <a16:creationId xmlns:a16="http://schemas.microsoft.com/office/drawing/2014/main" id="{03E25794-8D8A-498C-B6A5-E53D112595D0}"/>
              </a:ext>
            </a:extLst>
          </p:cNvPr>
          <p:cNvSpPr txBox="1"/>
          <p:nvPr/>
        </p:nvSpPr>
        <p:spPr>
          <a:xfrm>
            <a:off x="4359075" y="2251866"/>
            <a:ext cx="1103574" cy="52322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F0F0F0"/>
                </a:solidFill>
                <a:effectLst/>
                <a:uLnTx/>
                <a:uFillTx/>
                <a:latin typeface="等线 Light" panose="020F0302020204030204"/>
                <a:ea typeface="+mn-ea"/>
                <a:cs typeface="+mn-cs"/>
              </a:rPr>
              <a:t>140K</a:t>
            </a:r>
          </a:p>
        </p:txBody>
      </p:sp>
      <p:sp>
        <p:nvSpPr>
          <p:cNvPr id="30" name="TextBox 18">
            <a:extLst>
              <a:ext uri="{FF2B5EF4-FFF2-40B4-BE49-F238E27FC236}">
                <a16:creationId xmlns:a16="http://schemas.microsoft.com/office/drawing/2014/main" id="{23FF313C-F58E-4350-9FC2-3C35FCA6B077}"/>
              </a:ext>
            </a:extLst>
          </p:cNvPr>
          <p:cNvSpPr txBox="1"/>
          <p:nvPr/>
        </p:nvSpPr>
        <p:spPr>
          <a:xfrm>
            <a:off x="9171291" y="3112079"/>
            <a:ext cx="2261988" cy="616836"/>
          </a:xfrm>
          <a:prstGeom prst="rect">
            <a:avLst/>
          </a:prstGeom>
          <a:noFill/>
        </p:spPr>
        <p:txBody>
          <a:bodyPr wrap="square" rtlCol="0">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rPr>
              <a:t>A wonderful serenity </a:t>
            </a:r>
            <a:r>
              <a:rPr kumimoji="0" lang="en-US" sz="1200" b="0" i="0" u="none" strike="noStrike" kern="1200" cap="none" spc="0" normalizeH="0" baseline="0" noProof="0">
                <a:ln>
                  <a:noFill/>
                </a:ln>
                <a:solidFill>
                  <a:srgbClr val="000000"/>
                </a:solidFill>
                <a:effectLst/>
                <a:uLnTx/>
                <a:uFillTx/>
                <a:latin typeface="等线" panose="020F0502020204030204"/>
                <a:ea typeface="+mn-ea"/>
                <a:cs typeface="+mn-cs"/>
              </a:rPr>
              <a:t>has taken has this </a:t>
            </a:r>
            <a:r>
              <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rPr>
              <a:t>possession of </a:t>
            </a:r>
            <a:r>
              <a:rPr kumimoji="0" lang="en-US" sz="1200" b="0" i="0" u="none" strike="noStrike" kern="1200" cap="none" spc="0" normalizeH="0" baseline="0" noProof="0">
                <a:ln>
                  <a:noFill/>
                </a:ln>
                <a:solidFill>
                  <a:srgbClr val="000000"/>
                </a:solidFill>
                <a:effectLst/>
                <a:uLnTx/>
                <a:uFillTx/>
                <a:latin typeface="等线" panose="020F0502020204030204"/>
                <a:ea typeface="+mn-ea"/>
                <a:cs typeface="+mn-cs"/>
              </a:rPr>
              <a:t>my entire</a:t>
            </a:r>
            <a:endPar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31" name="TextBox 19">
            <a:extLst>
              <a:ext uri="{FF2B5EF4-FFF2-40B4-BE49-F238E27FC236}">
                <a16:creationId xmlns:a16="http://schemas.microsoft.com/office/drawing/2014/main" id="{D1FCC9AF-E0F9-4BDA-A686-45C821FEF35D}"/>
              </a:ext>
            </a:extLst>
          </p:cNvPr>
          <p:cNvSpPr txBox="1"/>
          <p:nvPr/>
        </p:nvSpPr>
        <p:spPr>
          <a:xfrm>
            <a:off x="9171291" y="2859847"/>
            <a:ext cx="2148023" cy="33855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等线 Light" panose="020F0302020204030204"/>
                <a:ea typeface="+mn-ea"/>
                <a:cs typeface="+mn-cs"/>
              </a:rPr>
              <a:t>Description</a:t>
            </a:r>
          </a:p>
        </p:txBody>
      </p:sp>
      <p:sp>
        <p:nvSpPr>
          <p:cNvPr id="32" name="TextBox 20">
            <a:extLst>
              <a:ext uri="{FF2B5EF4-FFF2-40B4-BE49-F238E27FC236}">
                <a16:creationId xmlns:a16="http://schemas.microsoft.com/office/drawing/2014/main" id="{77650CC1-AC4D-4521-9AFC-ABA2C5AB8D48}"/>
              </a:ext>
            </a:extLst>
          </p:cNvPr>
          <p:cNvSpPr txBox="1"/>
          <p:nvPr/>
        </p:nvSpPr>
        <p:spPr>
          <a:xfrm>
            <a:off x="6744350" y="3062589"/>
            <a:ext cx="1029098" cy="52322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F0F0F0"/>
                </a:solidFill>
                <a:effectLst/>
                <a:uLnTx/>
                <a:uFillTx/>
                <a:latin typeface="等线 Light" panose="020F0302020204030204"/>
                <a:ea typeface="+mn-ea"/>
                <a:cs typeface="+mn-cs"/>
              </a:rPr>
              <a:t>423K</a:t>
            </a:r>
          </a:p>
        </p:txBody>
      </p:sp>
      <p:sp>
        <p:nvSpPr>
          <p:cNvPr id="33" name="TextBox 24">
            <a:extLst>
              <a:ext uri="{FF2B5EF4-FFF2-40B4-BE49-F238E27FC236}">
                <a16:creationId xmlns:a16="http://schemas.microsoft.com/office/drawing/2014/main" id="{CCD6F73F-5CDB-4882-A2EC-EAB7FD578692}"/>
              </a:ext>
            </a:extLst>
          </p:cNvPr>
          <p:cNvSpPr txBox="1"/>
          <p:nvPr/>
        </p:nvSpPr>
        <p:spPr>
          <a:xfrm>
            <a:off x="758721" y="3778578"/>
            <a:ext cx="2251643" cy="616836"/>
          </a:xfrm>
          <a:prstGeom prst="rect">
            <a:avLst/>
          </a:prstGeom>
          <a:noFill/>
        </p:spPr>
        <p:txBody>
          <a:bodyPr wrap="square" rtlCol="0">
            <a:spAutoFit/>
          </a:bodyPr>
          <a:lstStyle/>
          <a:p>
            <a:pPr marL="0" marR="0" lvl="0" indent="0" algn="r" defTabSz="914400" rtl="0" eaLnBrk="1" fontAlgn="auto" latinLnBrk="0" hangingPunct="1">
              <a:lnSpc>
                <a:spcPct val="15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rPr>
              <a:t>A wonderful serenity </a:t>
            </a:r>
            <a:r>
              <a:rPr kumimoji="0" lang="en-US" sz="1200" b="0" i="0" u="none" strike="noStrike" kern="1200" cap="none" spc="0" normalizeH="0" baseline="0" noProof="0">
                <a:ln>
                  <a:noFill/>
                </a:ln>
                <a:solidFill>
                  <a:srgbClr val="000000"/>
                </a:solidFill>
                <a:effectLst/>
                <a:uLnTx/>
                <a:uFillTx/>
                <a:latin typeface="等线" panose="020F0502020204030204"/>
                <a:ea typeface="+mn-ea"/>
                <a:cs typeface="+mn-cs"/>
              </a:rPr>
              <a:t>has taken has this </a:t>
            </a:r>
            <a:r>
              <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rPr>
              <a:t>possession of </a:t>
            </a:r>
            <a:r>
              <a:rPr kumimoji="0" lang="en-US" sz="1200" b="0" i="0" u="none" strike="noStrike" kern="1200" cap="none" spc="0" normalizeH="0" baseline="0" noProof="0">
                <a:ln>
                  <a:noFill/>
                </a:ln>
                <a:solidFill>
                  <a:srgbClr val="000000"/>
                </a:solidFill>
                <a:effectLst/>
                <a:uLnTx/>
                <a:uFillTx/>
                <a:latin typeface="等线" panose="020F0502020204030204"/>
                <a:ea typeface="+mn-ea"/>
                <a:cs typeface="+mn-cs"/>
              </a:rPr>
              <a:t>my entire</a:t>
            </a:r>
            <a:endPar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34" name="TextBox 25">
            <a:extLst>
              <a:ext uri="{FF2B5EF4-FFF2-40B4-BE49-F238E27FC236}">
                <a16:creationId xmlns:a16="http://schemas.microsoft.com/office/drawing/2014/main" id="{9B9C069B-FABF-4D8B-A9C9-20BF4F8975D1}"/>
              </a:ext>
            </a:extLst>
          </p:cNvPr>
          <p:cNvSpPr txBox="1"/>
          <p:nvPr/>
        </p:nvSpPr>
        <p:spPr>
          <a:xfrm>
            <a:off x="862342" y="3516442"/>
            <a:ext cx="2148023" cy="338554"/>
          </a:xfrm>
          <a:prstGeom prst="rect">
            <a:avLst/>
          </a:prstGeom>
          <a:noFill/>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等线 Light" panose="020F0302020204030204"/>
                <a:ea typeface="+mn-ea"/>
                <a:cs typeface="+mn-cs"/>
              </a:rPr>
              <a:t>Description</a:t>
            </a:r>
          </a:p>
        </p:txBody>
      </p:sp>
      <p:sp>
        <p:nvSpPr>
          <p:cNvPr id="35" name="TextBox 26">
            <a:extLst>
              <a:ext uri="{FF2B5EF4-FFF2-40B4-BE49-F238E27FC236}">
                <a16:creationId xmlns:a16="http://schemas.microsoft.com/office/drawing/2014/main" id="{58345A3F-5853-4D53-9648-0120BC9C02F2}"/>
              </a:ext>
            </a:extLst>
          </p:cNvPr>
          <p:cNvSpPr txBox="1"/>
          <p:nvPr/>
        </p:nvSpPr>
        <p:spPr>
          <a:xfrm>
            <a:off x="4377705" y="3681602"/>
            <a:ext cx="1103574" cy="52322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F0F0F0"/>
                </a:solidFill>
                <a:effectLst/>
                <a:uLnTx/>
                <a:uFillTx/>
                <a:latin typeface="等线 Light" panose="020F0302020204030204"/>
                <a:ea typeface="+mn-ea"/>
                <a:cs typeface="+mn-cs"/>
              </a:rPr>
              <a:t>154K</a:t>
            </a:r>
          </a:p>
        </p:txBody>
      </p:sp>
      <p:sp>
        <p:nvSpPr>
          <p:cNvPr id="36" name="TextBox 27">
            <a:extLst>
              <a:ext uri="{FF2B5EF4-FFF2-40B4-BE49-F238E27FC236}">
                <a16:creationId xmlns:a16="http://schemas.microsoft.com/office/drawing/2014/main" id="{3B214A4B-2CC4-42E4-82A1-655826D87A1B}"/>
              </a:ext>
            </a:extLst>
          </p:cNvPr>
          <p:cNvSpPr txBox="1"/>
          <p:nvPr/>
        </p:nvSpPr>
        <p:spPr>
          <a:xfrm>
            <a:off x="758721" y="5276925"/>
            <a:ext cx="2251643" cy="616836"/>
          </a:xfrm>
          <a:prstGeom prst="rect">
            <a:avLst/>
          </a:prstGeom>
          <a:noFill/>
        </p:spPr>
        <p:txBody>
          <a:bodyPr wrap="square" rtlCol="0">
            <a:spAutoFit/>
          </a:bodyPr>
          <a:lstStyle/>
          <a:p>
            <a:pPr marL="0" marR="0" lvl="0" indent="0" algn="r" defTabSz="914400" rtl="0" eaLnBrk="1" fontAlgn="auto" latinLnBrk="0" hangingPunct="1">
              <a:lnSpc>
                <a:spcPct val="15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rPr>
              <a:t>A wonderful serenity </a:t>
            </a:r>
            <a:r>
              <a:rPr kumimoji="0" lang="en-US" sz="1200" b="0" i="0" u="none" strike="noStrike" kern="1200" cap="none" spc="0" normalizeH="0" baseline="0" noProof="0">
                <a:ln>
                  <a:noFill/>
                </a:ln>
                <a:solidFill>
                  <a:srgbClr val="000000"/>
                </a:solidFill>
                <a:effectLst/>
                <a:uLnTx/>
                <a:uFillTx/>
                <a:latin typeface="等线" panose="020F0502020204030204"/>
                <a:ea typeface="+mn-ea"/>
                <a:cs typeface="+mn-cs"/>
              </a:rPr>
              <a:t>has taken has this </a:t>
            </a:r>
            <a:r>
              <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rPr>
              <a:t>possession of </a:t>
            </a:r>
            <a:r>
              <a:rPr kumimoji="0" lang="en-US" sz="1200" b="0" i="0" u="none" strike="noStrike" kern="1200" cap="none" spc="0" normalizeH="0" baseline="0" noProof="0">
                <a:ln>
                  <a:noFill/>
                </a:ln>
                <a:solidFill>
                  <a:srgbClr val="000000"/>
                </a:solidFill>
                <a:effectLst/>
                <a:uLnTx/>
                <a:uFillTx/>
                <a:latin typeface="等线" panose="020F0502020204030204"/>
                <a:ea typeface="+mn-ea"/>
                <a:cs typeface="+mn-cs"/>
              </a:rPr>
              <a:t>my entire</a:t>
            </a:r>
            <a:endPar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37" name="TextBox 28">
            <a:extLst>
              <a:ext uri="{FF2B5EF4-FFF2-40B4-BE49-F238E27FC236}">
                <a16:creationId xmlns:a16="http://schemas.microsoft.com/office/drawing/2014/main" id="{2CD79796-B338-4812-9217-762E8A9CC728}"/>
              </a:ext>
            </a:extLst>
          </p:cNvPr>
          <p:cNvSpPr txBox="1"/>
          <p:nvPr/>
        </p:nvSpPr>
        <p:spPr>
          <a:xfrm>
            <a:off x="862342" y="5014789"/>
            <a:ext cx="2148023" cy="338554"/>
          </a:xfrm>
          <a:prstGeom prst="rect">
            <a:avLst/>
          </a:prstGeom>
          <a:noFill/>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等线 Light" panose="020F0302020204030204"/>
                <a:ea typeface="+mn-ea"/>
                <a:cs typeface="+mn-cs"/>
              </a:rPr>
              <a:t>Description</a:t>
            </a:r>
          </a:p>
        </p:txBody>
      </p:sp>
      <p:sp>
        <p:nvSpPr>
          <p:cNvPr id="38" name="TextBox 29">
            <a:extLst>
              <a:ext uri="{FF2B5EF4-FFF2-40B4-BE49-F238E27FC236}">
                <a16:creationId xmlns:a16="http://schemas.microsoft.com/office/drawing/2014/main" id="{24697C17-1803-4DA9-8248-C8E945A83D02}"/>
              </a:ext>
            </a:extLst>
          </p:cNvPr>
          <p:cNvSpPr txBox="1"/>
          <p:nvPr/>
        </p:nvSpPr>
        <p:spPr>
          <a:xfrm>
            <a:off x="4392130" y="5167832"/>
            <a:ext cx="1103574" cy="52322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F0F0F0"/>
                </a:solidFill>
                <a:effectLst/>
                <a:uLnTx/>
                <a:uFillTx/>
                <a:latin typeface="等线 Light" panose="020F0302020204030204"/>
                <a:ea typeface="+mn-ea"/>
                <a:cs typeface="+mn-cs"/>
              </a:rPr>
              <a:t>254K</a:t>
            </a:r>
          </a:p>
        </p:txBody>
      </p:sp>
      <p:sp>
        <p:nvSpPr>
          <p:cNvPr id="39" name="TextBox 30">
            <a:extLst>
              <a:ext uri="{FF2B5EF4-FFF2-40B4-BE49-F238E27FC236}">
                <a16:creationId xmlns:a16="http://schemas.microsoft.com/office/drawing/2014/main" id="{F1B4743D-5264-4EFC-B7A0-0631B6406E2E}"/>
              </a:ext>
            </a:extLst>
          </p:cNvPr>
          <p:cNvSpPr txBox="1"/>
          <p:nvPr/>
        </p:nvSpPr>
        <p:spPr>
          <a:xfrm>
            <a:off x="9171291" y="4689461"/>
            <a:ext cx="2261988" cy="616836"/>
          </a:xfrm>
          <a:prstGeom prst="rect">
            <a:avLst/>
          </a:prstGeom>
          <a:noFill/>
        </p:spPr>
        <p:txBody>
          <a:bodyPr wrap="square" rtlCol="0">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rPr>
              <a:t>A wonderful serenity </a:t>
            </a:r>
            <a:r>
              <a:rPr kumimoji="0" lang="en-US" sz="1200" b="0" i="0" u="none" strike="noStrike" kern="1200" cap="none" spc="0" normalizeH="0" baseline="0" noProof="0">
                <a:ln>
                  <a:noFill/>
                </a:ln>
                <a:solidFill>
                  <a:srgbClr val="000000"/>
                </a:solidFill>
                <a:effectLst/>
                <a:uLnTx/>
                <a:uFillTx/>
                <a:latin typeface="等线" panose="020F0502020204030204"/>
                <a:ea typeface="+mn-ea"/>
                <a:cs typeface="+mn-cs"/>
              </a:rPr>
              <a:t>has taken has this </a:t>
            </a:r>
            <a:r>
              <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rPr>
              <a:t>possession of </a:t>
            </a:r>
            <a:r>
              <a:rPr kumimoji="0" lang="en-US" sz="1200" b="0" i="0" u="none" strike="noStrike" kern="1200" cap="none" spc="0" normalizeH="0" baseline="0" noProof="0">
                <a:ln>
                  <a:noFill/>
                </a:ln>
                <a:solidFill>
                  <a:srgbClr val="000000"/>
                </a:solidFill>
                <a:effectLst/>
                <a:uLnTx/>
                <a:uFillTx/>
                <a:latin typeface="等线" panose="020F0502020204030204"/>
                <a:ea typeface="+mn-ea"/>
                <a:cs typeface="+mn-cs"/>
              </a:rPr>
              <a:t>my entire</a:t>
            </a:r>
            <a:endPar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40" name="TextBox 31">
            <a:extLst>
              <a:ext uri="{FF2B5EF4-FFF2-40B4-BE49-F238E27FC236}">
                <a16:creationId xmlns:a16="http://schemas.microsoft.com/office/drawing/2014/main" id="{DC75F738-7D32-46BB-B80B-9C21B25A36C9}"/>
              </a:ext>
            </a:extLst>
          </p:cNvPr>
          <p:cNvSpPr txBox="1"/>
          <p:nvPr/>
        </p:nvSpPr>
        <p:spPr>
          <a:xfrm>
            <a:off x="9171291" y="4437229"/>
            <a:ext cx="2148023" cy="33855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等线 Light" panose="020F0302020204030204"/>
                <a:ea typeface="+mn-ea"/>
                <a:cs typeface="+mn-cs"/>
              </a:rPr>
              <a:t>Description</a:t>
            </a:r>
          </a:p>
        </p:txBody>
      </p:sp>
      <p:sp>
        <p:nvSpPr>
          <p:cNvPr id="41" name="TextBox 32">
            <a:extLst>
              <a:ext uri="{FF2B5EF4-FFF2-40B4-BE49-F238E27FC236}">
                <a16:creationId xmlns:a16="http://schemas.microsoft.com/office/drawing/2014/main" id="{85DB7267-D543-4498-A0DC-52671F7BCA50}"/>
              </a:ext>
            </a:extLst>
          </p:cNvPr>
          <p:cNvSpPr txBox="1"/>
          <p:nvPr/>
        </p:nvSpPr>
        <p:spPr>
          <a:xfrm>
            <a:off x="6758773" y="4548820"/>
            <a:ext cx="1029098" cy="52322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F0F0F0"/>
                </a:solidFill>
                <a:effectLst/>
                <a:uLnTx/>
                <a:uFillTx/>
                <a:latin typeface="等线 Light" panose="020F0302020204030204"/>
                <a:ea typeface="+mn-ea"/>
                <a:cs typeface="+mn-cs"/>
              </a:rPr>
              <a:t>423K</a:t>
            </a:r>
          </a:p>
        </p:txBody>
      </p:sp>
      <p:sp>
        <p:nvSpPr>
          <p:cNvPr id="42" name="Freeform: Shape 33">
            <a:extLst>
              <a:ext uri="{FF2B5EF4-FFF2-40B4-BE49-F238E27FC236}">
                <a16:creationId xmlns:a16="http://schemas.microsoft.com/office/drawing/2014/main" id="{CEB30C43-BF48-40A8-9D0C-6B1DFBBBAFE4}"/>
              </a:ext>
            </a:extLst>
          </p:cNvPr>
          <p:cNvSpPr/>
          <p:nvPr/>
        </p:nvSpPr>
        <p:spPr>
          <a:xfrm>
            <a:off x="8368821" y="2943032"/>
            <a:ext cx="423192" cy="597728"/>
          </a:xfrm>
          <a:custGeom>
            <a:avLst/>
            <a:gdLst>
              <a:gd name="connsiteX0" fmla="*/ 337185 w 674370"/>
              <a:gd name="connsiteY0" fmla="*/ 0 h 952500"/>
              <a:gd name="connsiteX1" fmla="*/ 0 w 674370"/>
              <a:gd name="connsiteY1" fmla="*/ 615315 h 952500"/>
              <a:gd name="connsiteX2" fmla="*/ 337185 w 674370"/>
              <a:gd name="connsiteY2" fmla="*/ 952500 h 952500"/>
              <a:gd name="connsiteX3" fmla="*/ 674370 w 674370"/>
              <a:gd name="connsiteY3" fmla="*/ 615315 h 952500"/>
              <a:gd name="connsiteX4" fmla="*/ 337185 w 674370"/>
              <a:gd name="connsiteY4" fmla="*/ 0 h 952500"/>
              <a:gd name="connsiteX5" fmla="*/ 332423 w 674370"/>
              <a:gd name="connsiteY5" fmla="*/ 876300 h 952500"/>
              <a:gd name="connsiteX6" fmla="*/ 76200 w 674370"/>
              <a:gd name="connsiteY6" fmla="*/ 654368 h 952500"/>
              <a:gd name="connsiteX7" fmla="*/ 121920 w 674370"/>
              <a:gd name="connsiteY7" fmla="*/ 641985 h 952500"/>
              <a:gd name="connsiteX8" fmla="*/ 341948 w 674370"/>
              <a:gd name="connsiteY8" fmla="*/ 830580 h 952500"/>
              <a:gd name="connsiteX9" fmla="*/ 332423 w 674370"/>
              <a:gd name="connsiteY9" fmla="*/ 876300 h 952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74370" h="952500">
                <a:moveTo>
                  <a:pt x="337185" y="0"/>
                </a:moveTo>
                <a:cubicBezTo>
                  <a:pt x="337185" y="0"/>
                  <a:pt x="0" y="429578"/>
                  <a:pt x="0" y="615315"/>
                </a:cubicBezTo>
                <a:cubicBezTo>
                  <a:pt x="0" y="801053"/>
                  <a:pt x="150495" y="952500"/>
                  <a:pt x="337185" y="952500"/>
                </a:cubicBezTo>
                <a:cubicBezTo>
                  <a:pt x="522923" y="952500"/>
                  <a:pt x="674370" y="802005"/>
                  <a:pt x="674370" y="615315"/>
                </a:cubicBezTo>
                <a:cubicBezTo>
                  <a:pt x="674370" y="429578"/>
                  <a:pt x="337185" y="0"/>
                  <a:pt x="337185" y="0"/>
                </a:cubicBezTo>
                <a:close/>
                <a:moveTo>
                  <a:pt x="332423" y="876300"/>
                </a:moveTo>
                <a:cubicBezTo>
                  <a:pt x="128588" y="834390"/>
                  <a:pt x="78105" y="661988"/>
                  <a:pt x="76200" y="654368"/>
                </a:cubicBezTo>
                <a:lnTo>
                  <a:pt x="121920" y="641985"/>
                </a:lnTo>
                <a:cubicBezTo>
                  <a:pt x="123825" y="648653"/>
                  <a:pt x="167640" y="794385"/>
                  <a:pt x="341948" y="830580"/>
                </a:cubicBezTo>
                <a:lnTo>
                  <a:pt x="332423" y="876300"/>
                </a:lnTo>
                <a:close/>
              </a:path>
            </a:pathLst>
          </a:custGeom>
          <a:solidFill>
            <a:schemeClr val="accent4"/>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nvGrpSpPr>
          <p:cNvPr id="43" name="Graphic 1">
            <a:extLst>
              <a:ext uri="{FF2B5EF4-FFF2-40B4-BE49-F238E27FC236}">
                <a16:creationId xmlns:a16="http://schemas.microsoft.com/office/drawing/2014/main" id="{AD427575-6ED7-41FB-8E7B-C08C88504C75}"/>
              </a:ext>
            </a:extLst>
          </p:cNvPr>
          <p:cNvGrpSpPr/>
          <p:nvPr/>
        </p:nvGrpSpPr>
        <p:grpSpPr>
          <a:xfrm>
            <a:off x="8352084" y="4581500"/>
            <a:ext cx="456666" cy="457860"/>
            <a:chOff x="8959214" y="2548890"/>
            <a:chExt cx="727710" cy="729614"/>
          </a:xfrm>
          <a:solidFill>
            <a:schemeClr val="accent2"/>
          </a:solidFill>
        </p:grpSpPr>
        <p:sp>
          <p:nvSpPr>
            <p:cNvPr id="44" name="Freeform: Shape 54">
              <a:extLst>
                <a:ext uri="{FF2B5EF4-FFF2-40B4-BE49-F238E27FC236}">
                  <a16:creationId xmlns:a16="http://schemas.microsoft.com/office/drawing/2014/main" id="{80F4BB80-6605-4C21-B01D-DF3F248CE44F}"/>
                </a:ext>
              </a:extLst>
            </p:cNvPr>
            <p:cNvSpPr/>
            <p:nvPr/>
          </p:nvSpPr>
          <p:spPr>
            <a:xfrm>
              <a:off x="8959214" y="3156584"/>
              <a:ext cx="120967" cy="121920"/>
            </a:xfrm>
            <a:custGeom>
              <a:avLst/>
              <a:gdLst>
                <a:gd name="connsiteX0" fmla="*/ 120968 w 120967"/>
                <a:gd name="connsiteY0" fmla="*/ 33338 h 121920"/>
                <a:gd name="connsiteX1" fmla="*/ 33338 w 120967"/>
                <a:gd name="connsiteY1" fmla="*/ 121920 h 121920"/>
                <a:gd name="connsiteX2" fmla="*/ 0 w 120967"/>
                <a:gd name="connsiteY2" fmla="*/ 88583 h 121920"/>
                <a:gd name="connsiteX3" fmla="*/ 87630 w 120967"/>
                <a:gd name="connsiteY3" fmla="*/ 0 h 121920"/>
                <a:gd name="connsiteX4" fmla="*/ 103823 w 120967"/>
                <a:gd name="connsiteY4" fmla="*/ 18098 h 121920"/>
                <a:gd name="connsiteX5" fmla="*/ 120968 w 120967"/>
                <a:gd name="connsiteY5" fmla="*/ 33338 h 121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0967" h="121920">
                  <a:moveTo>
                    <a:pt x="120968" y="33338"/>
                  </a:moveTo>
                  <a:lnTo>
                    <a:pt x="33338" y="121920"/>
                  </a:lnTo>
                  <a:lnTo>
                    <a:pt x="0" y="88583"/>
                  </a:lnTo>
                  <a:lnTo>
                    <a:pt x="87630" y="0"/>
                  </a:lnTo>
                  <a:cubicBezTo>
                    <a:pt x="92393" y="5715"/>
                    <a:pt x="98108" y="12383"/>
                    <a:pt x="103823" y="18098"/>
                  </a:cubicBezTo>
                  <a:cubicBezTo>
                    <a:pt x="109538" y="22860"/>
                    <a:pt x="115253" y="27623"/>
                    <a:pt x="120968" y="3333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nvGrpSpPr>
            <p:cNvPr id="45" name="Graphic 1">
              <a:extLst>
                <a:ext uri="{FF2B5EF4-FFF2-40B4-BE49-F238E27FC236}">
                  <a16:creationId xmlns:a16="http://schemas.microsoft.com/office/drawing/2014/main" id="{8CCFAB3D-E595-4137-B7E6-E8292340C03E}"/>
                </a:ext>
              </a:extLst>
            </p:cNvPr>
            <p:cNvGrpSpPr/>
            <p:nvPr/>
          </p:nvGrpSpPr>
          <p:grpSpPr>
            <a:xfrm>
              <a:off x="8971174" y="2548890"/>
              <a:ext cx="715750" cy="716279"/>
              <a:chOff x="8971174" y="2548890"/>
              <a:chExt cx="715750" cy="716279"/>
            </a:xfrm>
            <a:grpFill/>
          </p:grpSpPr>
          <p:sp>
            <p:nvSpPr>
              <p:cNvPr id="46" name="Freeform: Shape 56">
                <a:extLst>
                  <a:ext uri="{FF2B5EF4-FFF2-40B4-BE49-F238E27FC236}">
                    <a16:creationId xmlns:a16="http://schemas.microsoft.com/office/drawing/2014/main" id="{555D775F-32BC-453C-B196-1305FF1F93CF}"/>
                  </a:ext>
                </a:extLst>
              </p:cNvPr>
              <p:cNvSpPr/>
              <p:nvPr/>
            </p:nvSpPr>
            <p:spPr>
              <a:xfrm>
                <a:off x="8971174" y="2548890"/>
                <a:ext cx="715750" cy="716279"/>
              </a:xfrm>
              <a:custGeom>
                <a:avLst/>
                <a:gdLst>
                  <a:gd name="connsiteX0" fmla="*/ 686223 w 715750"/>
                  <a:gd name="connsiteY0" fmla="*/ 3810 h 716279"/>
                  <a:gd name="connsiteX1" fmla="*/ 91863 w 715750"/>
                  <a:gd name="connsiteY1" fmla="*/ 180975 h 716279"/>
                  <a:gd name="connsiteX2" fmla="*/ 75670 w 715750"/>
                  <a:gd name="connsiteY2" fmla="*/ 606743 h 716279"/>
                  <a:gd name="connsiteX3" fmla="*/ 149965 w 715750"/>
                  <a:gd name="connsiteY3" fmla="*/ 532447 h 716279"/>
                  <a:gd name="connsiteX4" fmla="*/ 183303 w 715750"/>
                  <a:gd name="connsiteY4" fmla="*/ 565785 h 716279"/>
                  <a:gd name="connsiteX5" fmla="*/ 109008 w 715750"/>
                  <a:gd name="connsiteY5" fmla="*/ 640080 h 716279"/>
                  <a:gd name="connsiteX6" fmla="*/ 313795 w 715750"/>
                  <a:gd name="connsiteY6" fmla="*/ 716280 h 716279"/>
                  <a:gd name="connsiteX7" fmla="*/ 535728 w 715750"/>
                  <a:gd name="connsiteY7" fmla="*/ 624840 h 716279"/>
                  <a:gd name="connsiteX8" fmla="*/ 711940 w 715750"/>
                  <a:gd name="connsiteY8" fmla="*/ 30480 h 716279"/>
                  <a:gd name="connsiteX9" fmla="*/ 715750 w 715750"/>
                  <a:gd name="connsiteY9" fmla="*/ 0 h 716279"/>
                  <a:gd name="connsiteX10" fmla="*/ 686223 w 715750"/>
                  <a:gd name="connsiteY10" fmla="*/ 3810 h 716279"/>
                  <a:gd name="connsiteX11" fmla="*/ 390948 w 715750"/>
                  <a:gd name="connsiteY11" fmla="*/ 454342 h 716279"/>
                  <a:gd name="connsiteX12" fmla="*/ 303318 w 715750"/>
                  <a:gd name="connsiteY12" fmla="*/ 488632 h 716279"/>
                  <a:gd name="connsiteX13" fmla="*/ 215688 w 715750"/>
                  <a:gd name="connsiteY13" fmla="*/ 455295 h 716279"/>
                  <a:gd name="connsiteX14" fmla="*/ 183303 w 715750"/>
                  <a:gd name="connsiteY14" fmla="*/ 362902 h 716279"/>
                  <a:gd name="connsiteX15" fmla="*/ 194733 w 715750"/>
                  <a:gd name="connsiteY15" fmla="*/ 299085 h 716279"/>
                  <a:gd name="connsiteX16" fmla="*/ 217593 w 715750"/>
                  <a:gd name="connsiteY16" fmla="*/ 264795 h 716279"/>
                  <a:gd name="connsiteX17" fmla="*/ 249978 w 715750"/>
                  <a:gd name="connsiteY17" fmla="*/ 242888 h 716279"/>
                  <a:gd name="connsiteX18" fmla="*/ 303318 w 715750"/>
                  <a:gd name="connsiteY18" fmla="*/ 233363 h 716279"/>
                  <a:gd name="connsiteX19" fmla="*/ 390948 w 715750"/>
                  <a:gd name="connsiteY19" fmla="*/ 267652 h 716279"/>
                  <a:gd name="connsiteX20" fmla="*/ 424286 w 715750"/>
                  <a:gd name="connsiteY20" fmla="*/ 361950 h 716279"/>
                  <a:gd name="connsiteX21" fmla="*/ 390948 w 715750"/>
                  <a:gd name="connsiteY21" fmla="*/ 454342 h 716279"/>
                  <a:gd name="connsiteX22" fmla="*/ 500486 w 715750"/>
                  <a:gd name="connsiteY22" fmla="*/ 500063 h 716279"/>
                  <a:gd name="connsiteX23" fmla="*/ 500486 w 715750"/>
                  <a:gd name="connsiteY23" fmla="*/ 516255 h 716279"/>
                  <a:gd name="connsiteX24" fmla="*/ 439525 w 715750"/>
                  <a:gd name="connsiteY24" fmla="*/ 516255 h 716279"/>
                  <a:gd name="connsiteX25" fmla="*/ 445240 w 715750"/>
                  <a:gd name="connsiteY25" fmla="*/ 499110 h 716279"/>
                  <a:gd name="connsiteX26" fmla="*/ 465243 w 715750"/>
                  <a:gd name="connsiteY26" fmla="*/ 477202 h 716279"/>
                  <a:gd name="connsiteX27" fmla="*/ 479530 w 715750"/>
                  <a:gd name="connsiteY27" fmla="*/ 461963 h 716279"/>
                  <a:gd name="connsiteX28" fmla="*/ 483340 w 715750"/>
                  <a:gd name="connsiteY28" fmla="*/ 451485 h 716279"/>
                  <a:gd name="connsiteX29" fmla="*/ 480483 w 715750"/>
                  <a:gd name="connsiteY29" fmla="*/ 442913 h 716279"/>
                  <a:gd name="connsiteX30" fmla="*/ 471911 w 715750"/>
                  <a:gd name="connsiteY30" fmla="*/ 440055 h 716279"/>
                  <a:gd name="connsiteX31" fmla="*/ 463338 w 715750"/>
                  <a:gd name="connsiteY31" fmla="*/ 442913 h 716279"/>
                  <a:gd name="connsiteX32" fmla="*/ 459528 w 715750"/>
                  <a:gd name="connsiteY32" fmla="*/ 454342 h 716279"/>
                  <a:gd name="connsiteX33" fmla="*/ 442383 w 715750"/>
                  <a:gd name="connsiteY33" fmla="*/ 452438 h 716279"/>
                  <a:gd name="connsiteX34" fmla="*/ 451908 w 715750"/>
                  <a:gd name="connsiteY34" fmla="*/ 431482 h 716279"/>
                  <a:gd name="connsiteX35" fmla="*/ 472863 w 715750"/>
                  <a:gd name="connsiteY35" fmla="*/ 424815 h 716279"/>
                  <a:gd name="connsiteX36" fmla="*/ 493818 w 715750"/>
                  <a:gd name="connsiteY36" fmla="*/ 432435 h 716279"/>
                  <a:gd name="connsiteX37" fmla="*/ 501438 w 715750"/>
                  <a:gd name="connsiteY37" fmla="*/ 450532 h 716279"/>
                  <a:gd name="connsiteX38" fmla="*/ 499533 w 715750"/>
                  <a:gd name="connsiteY38" fmla="*/ 461963 h 716279"/>
                  <a:gd name="connsiteX39" fmla="*/ 492865 w 715750"/>
                  <a:gd name="connsiteY39" fmla="*/ 473392 h 716279"/>
                  <a:gd name="connsiteX40" fmla="*/ 481436 w 715750"/>
                  <a:gd name="connsiteY40" fmla="*/ 484822 h 716279"/>
                  <a:gd name="connsiteX41" fmla="*/ 470958 w 715750"/>
                  <a:gd name="connsiteY41" fmla="*/ 495300 h 716279"/>
                  <a:gd name="connsiteX42" fmla="*/ 467148 w 715750"/>
                  <a:gd name="connsiteY42" fmla="*/ 500063 h 716279"/>
                  <a:gd name="connsiteX43" fmla="*/ 500486 w 715750"/>
                  <a:gd name="connsiteY43" fmla="*/ 500063 h 716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715750" h="716279">
                    <a:moveTo>
                      <a:pt x="686223" y="3810"/>
                    </a:moveTo>
                    <a:cubicBezTo>
                      <a:pt x="667173" y="6667"/>
                      <a:pt x="209973" y="62865"/>
                      <a:pt x="91863" y="180975"/>
                    </a:cubicBezTo>
                    <a:cubicBezTo>
                      <a:pt x="-25295" y="297180"/>
                      <a:pt x="-30057" y="483870"/>
                      <a:pt x="75670" y="606743"/>
                    </a:cubicBezTo>
                    <a:lnTo>
                      <a:pt x="149965" y="532447"/>
                    </a:lnTo>
                    <a:lnTo>
                      <a:pt x="183303" y="565785"/>
                    </a:lnTo>
                    <a:lnTo>
                      <a:pt x="109008" y="640080"/>
                    </a:lnTo>
                    <a:cubicBezTo>
                      <a:pt x="168063" y="690563"/>
                      <a:pt x="240453" y="716280"/>
                      <a:pt x="313795" y="716280"/>
                    </a:cubicBezTo>
                    <a:cubicBezTo>
                      <a:pt x="393805" y="716280"/>
                      <a:pt x="474768" y="685800"/>
                      <a:pt x="535728" y="624840"/>
                    </a:cubicBezTo>
                    <a:cubicBezTo>
                      <a:pt x="653838" y="506730"/>
                      <a:pt x="710036" y="50482"/>
                      <a:pt x="711940" y="30480"/>
                    </a:cubicBezTo>
                    <a:lnTo>
                      <a:pt x="715750" y="0"/>
                    </a:lnTo>
                    <a:lnTo>
                      <a:pt x="686223" y="3810"/>
                    </a:lnTo>
                    <a:close/>
                    <a:moveTo>
                      <a:pt x="390948" y="454342"/>
                    </a:moveTo>
                    <a:cubicBezTo>
                      <a:pt x="369040" y="477202"/>
                      <a:pt x="340465" y="488632"/>
                      <a:pt x="303318" y="488632"/>
                    </a:cubicBezTo>
                    <a:cubicBezTo>
                      <a:pt x="266170" y="488632"/>
                      <a:pt x="237595" y="477202"/>
                      <a:pt x="215688" y="455295"/>
                    </a:cubicBezTo>
                    <a:cubicBezTo>
                      <a:pt x="193780" y="432435"/>
                      <a:pt x="183303" y="401955"/>
                      <a:pt x="183303" y="362902"/>
                    </a:cubicBezTo>
                    <a:cubicBezTo>
                      <a:pt x="183303" y="338138"/>
                      <a:pt x="187113" y="316230"/>
                      <a:pt x="194733" y="299085"/>
                    </a:cubicBezTo>
                    <a:cubicBezTo>
                      <a:pt x="200448" y="286702"/>
                      <a:pt x="208068" y="275272"/>
                      <a:pt x="217593" y="264795"/>
                    </a:cubicBezTo>
                    <a:cubicBezTo>
                      <a:pt x="227118" y="254317"/>
                      <a:pt x="237595" y="247650"/>
                      <a:pt x="249978" y="242888"/>
                    </a:cubicBezTo>
                    <a:cubicBezTo>
                      <a:pt x="265218" y="236220"/>
                      <a:pt x="283315" y="233363"/>
                      <a:pt x="303318" y="233363"/>
                    </a:cubicBezTo>
                    <a:cubicBezTo>
                      <a:pt x="339513" y="233363"/>
                      <a:pt x="369040" y="244792"/>
                      <a:pt x="390948" y="267652"/>
                    </a:cubicBezTo>
                    <a:cubicBezTo>
                      <a:pt x="412855" y="290513"/>
                      <a:pt x="424286" y="321945"/>
                      <a:pt x="424286" y="361950"/>
                    </a:cubicBezTo>
                    <a:cubicBezTo>
                      <a:pt x="423333" y="400050"/>
                      <a:pt x="412855" y="431482"/>
                      <a:pt x="390948" y="454342"/>
                    </a:cubicBezTo>
                    <a:close/>
                    <a:moveTo>
                      <a:pt x="500486" y="500063"/>
                    </a:moveTo>
                    <a:lnTo>
                      <a:pt x="500486" y="516255"/>
                    </a:lnTo>
                    <a:lnTo>
                      <a:pt x="439525" y="516255"/>
                    </a:lnTo>
                    <a:cubicBezTo>
                      <a:pt x="440478" y="510540"/>
                      <a:pt x="442383" y="503872"/>
                      <a:pt x="445240" y="499110"/>
                    </a:cubicBezTo>
                    <a:cubicBezTo>
                      <a:pt x="448098" y="493395"/>
                      <a:pt x="454765" y="486727"/>
                      <a:pt x="465243" y="477202"/>
                    </a:cubicBezTo>
                    <a:cubicBezTo>
                      <a:pt x="472863" y="469582"/>
                      <a:pt x="477625" y="464820"/>
                      <a:pt x="479530" y="461963"/>
                    </a:cubicBezTo>
                    <a:cubicBezTo>
                      <a:pt x="482388" y="458152"/>
                      <a:pt x="483340" y="454342"/>
                      <a:pt x="483340" y="451485"/>
                    </a:cubicBezTo>
                    <a:cubicBezTo>
                      <a:pt x="483340" y="447675"/>
                      <a:pt x="482388" y="444817"/>
                      <a:pt x="480483" y="442913"/>
                    </a:cubicBezTo>
                    <a:cubicBezTo>
                      <a:pt x="478578" y="441007"/>
                      <a:pt x="475720" y="440055"/>
                      <a:pt x="471911" y="440055"/>
                    </a:cubicBezTo>
                    <a:cubicBezTo>
                      <a:pt x="468100" y="440055"/>
                      <a:pt x="465243" y="441007"/>
                      <a:pt x="463338" y="442913"/>
                    </a:cubicBezTo>
                    <a:cubicBezTo>
                      <a:pt x="461433" y="444817"/>
                      <a:pt x="459528" y="448627"/>
                      <a:pt x="459528" y="454342"/>
                    </a:cubicBezTo>
                    <a:lnTo>
                      <a:pt x="442383" y="452438"/>
                    </a:lnTo>
                    <a:cubicBezTo>
                      <a:pt x="443336" y="442913"/>
                      <a:pt x="447145" y="436245"/>
                      <a:pt x="451908" y="431482"/>
                    </a:cubicBezTo>
                    <a:cubicBezTo>
                      <a:pt x="456670" y="426720"/>
                      <a:pt x="464290" y="424815"/>
                      <a:pt x="472863" y="424815"/>
                    </a:cubicBezTo>
                    <a:cubicBezTo>
                      <a:pt x="481436" y="424815"/>
                      <a:pt x="489055" y="427672"/>
                      <a:pt x="493818" y="432435"/>
                    </a:cubicBezTo>
                    <a:cubicBezTo>
                      <a:pt x="498580" y="437197"/>
                      <a:pt x="501438" y="442913"/>
                      <a:pt x="501438" y="450532"/>
                    </a:cubicBezTo>
                    <a:cubicBezTo>
                      <a:pt x="501438" y="454342"/>
                      <a:pt x="500486" y="458152"/>
                      <a:pt x="499533" y="461963"/>
                    </a:cubicBezTo>
                    <a:cubicBezTo>
                      <a:pt x="497628" y="465772"/>
                      <a:pt x="495723" y="469582"/>
                      <a:pt x="492865" y="473392"/>
                    </a:cubicBezTo>
                    <a:cubicBezTo>
                      <a:pt x="490961" y="476250"/>
                      <a:pt x="487150" y="480060"/>
                      <a:pt x="481436" y="484822"/>
                    </a:cubicBezTo>
                    <a:cubicBezTo>
                      <a:pt x="475720" y="489585"/>
                      <a:pt x="472863" y="493395"/>
                      <a:pt x="470958" y="495300"/>
                    </a:cubicBezTo>
                    <a:cubicBezTo>
                      <a:pt x="469053" y="497205"/>
                      <a:pt x="468100" y="498157"/>
                      <a:pt x="467148" y="500063"/>
                    </a:cubicBezTo>
                    <a:lnTo>
                      <a:pt x="500486" y="500063"/>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47" name="Freeform: Shape 57">
                <a:extLst>
                  <a:ext uri="{FF2B5EF4-FFF2-40B4-BE49-F238E27FC236}">
                    <a16:creationId xmlns:a16="http://schemas.microsoft.com/office/drawing/2014/main" id="{B2BA8A7C-C4EC-47DB-813F-23E545125333}"/>
                  </a:ext>
                </a:extLst>
              </p:cNvPr>
              <p:cNvSpPr/>
              <p:nvPr/>
            </p:nvSpPr>
            <p:spPr>
              <a:xfrm>
                <a:off x="9205912" y="2824162"/>
                <a:ext cx="137160" cy="170497"/>
              </a:xfrm>
              <a:custGeom>
                <a:avLst/>
                <a:gdLst>
                  <a:gd name="connsiteX0" fmla="*/ 68580 w 137160"/>
                  <a:gd name="connsiteY0" fmla="*/ 0 h 170497"/>
                  <a:gd name="connsiteX1" fmla="*/ 19050 w 137160"/>
                  <a:gd name="connsiteY1" fmla="*/ 20955 h 170497"/>
                  <a:gd name="connsiteX2" fmla="*/ 0 w 137160"/>
                  <a:gd name="connsiteY2" fmla="*/ 84772 h 170497"/>
                  <a:gd name="connsiteX3" fmla="*/ 19050 w 137160"/>
                  <a:gd name="connsiteY3" fmla="*/ 148590 h 170497"/>
                  <a:gd name="connsiteX4" fmla="*/ 68580 w 137160"/>
                  <a:gd name="connsiteY4" fmla="*/ 170497 h 170497"/>
                  <a:gd name="connsiteX5" fmla="*/ 118110 w 137160"/>
                  <a:gd name="connsiteY5" fmla="*/ 148590 h 170497"/>
                  <a:gd name="connsiteX6" fmla="*/ 137160 w 137160"/>
                  <a:gd name="connsiteY6" fmla="*/ 83820 h 170497"/>
                  <a:gd name="connsiteX7" fmla="*/ 118110 w 137160"/>
                  <a:gd name="connsiteY7" fmla="*/ 20003 h 170497"/>
                  <a:gd name="connsiteX8" fmla="*/ 68580 w 137160"/>
                  <a:gd name="connsiteY8" fmla="*/ 0 h 1704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7160" h="170497">
                    <a:moveTo>
                      <a:pt x="68580" y="0"/>
                    </a:moveTo>
                    <a:cubicBezTo>
                      <a:pt x="47625" y="0"/>
                      <a:pt x="31432" y="6667"/>
                      <a:pt x="19050" y="20955"/>
                    </a:cubicBezTo>
                    <a:cubicBezTo>
                      <a:pt x="6668" y="35242"/>
                      <a:pt x="0" y="56197"/>
                      <a:pt x="0" y="84772"/>
                    </a:cubicBezTo>
                    <a:cubicBezTo>
                      <a:pt x="0" y="112395"/>
                      <a:pt x="6668" y="134303"/>
                      <a:pt x="19050" y="148590"/>
                    </a:cubicBezTo>
                    <a:cubicBezTo>
                      <a:pt x="32385" y="162878"/>
                      <a:pt x="48577" y="170497"/>
                      <a:pt x="68580" y="170497"/>
                    </a:cubicBezTo>
                    <a:cubicBezTo>
                      <a:pt x="88582" y="170497"/>
                      <a:pt x="104775" y="162878"/>
                      <a:pt x="118110" y="148590"/>
                    </a:cubicBezTo>
                    <a:cubicBezTo>
                      <a:pt x="130493" y="134303"/>
                      <a:pt x="137160" y="112395"/>
                      <a:pt x="137160" y="83820"/>
                    </a:cubicBezTo>
                    <a:cubicBezTo>
                      <a:pt x="137160" y="55245"/>
                      <a:pt x="130493" y="34290"/>
                      <a:pt x="118110" y="20003"/>
                    </a:cubicBezTo>
                    <a:cubicBezTo>
                      <a:pt x="105727" y="6667"/>
                      <a:pt x="89535" y="0"/>
                      <a:pt x="68580" y="0"/>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grpSp>
    </p:spTree>
    <p:extLst>
      <p:ext uri="{BB962C8B-B14F-4D97-AF65-F5344CB8AC3E}">
        <p14:creationId xmlns:p14="http://schemas.microsoft.com/office/powerpoint/2010/main" val="383266924"/>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childTnLst>
                          </p:cTn>
                        </p:par>
                        <p:par>
                          <p:cTn id="8" fill="hold">
                            <p:stCondLst>
                              <p:cond delay="500"/>
                            </p:stCondLst>
                            <p:childTnLst>
                              <p:par>
                                <p:cTn id="9" presetID="22" presetClass="entr" presetSubtype="2" fill="hold" nodeType="afterEffect">
                                  <p:stCondLst>
                                    <p:cond delay="0"/>
                                  </p:stCondLst>
                                  <p:childTnLst>
                                    <p:set>
                                      <p:cBhvr>
                                        <p:cTn id="10" dur="1" fill="hold">
                                          <p:stCondLst>
                                            <p:cond delay="0"/>
                                          </p:stCondLst>
                                        </p:cTn>
                                        <p:tgtEl>
                                          <p:spTgt spid="18"/>
                                        </p:tgtEl>
                                        <p:attrNameLst>
                                          <p:attrName>style.visibility</p:attrName>
                                        </p:attrNameLst>
                                      </p:cBhvr>
                                      <p:to>
                                        <p:strVal val="visible"/>
                                      </p:to>
                                    </p:set>
                                    <p:animEffect transition="in" filter="wipe(right)">
                                      <p:cBhvr>
                                        <p:cTn id="11" dur="500"/>
                                        <p:tgtEl>
                                          <p:spTgt spid="18"/>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38"/>
                                        </p:tgtEl>
                                        <p:attrNameLst>
                                          <p:attrName>style.visibility</p:attrName>
                                        </p:attrNameLst>
                                      </p:cBhvr>
                                      <p:to>
                                        <p:strVal val="visible"/>
                                      </p:to>
                                    </p:set>
                                    <p:animEffect transition="in" filter="fade">
                                      <p:cBhvr>
                                        <p:cTn id="14" dur="500"/>
                                        <p:tgtEl>
                                          <p:spTgt spid="38"/>
                                        </p:tgtEl>
                                      </p:cBhvr>
                                    </p:animEffect>
                                  </p:childTnLst>
                                </p:cTn>
                              </p:par>
                            </p:childTnLst>
                          </p:cTn>
                        </p:par>
                        <p:par>
                          <p:cTn id="15" fill="hold">
                            <p:stCondLst>
                              <p:cond delay="1000"/>
                            </p:stCondLst>
                            <p:childTnLst>
                              <p:par>
                                <p:cTn id="16" presetID="10" presetClass="entr" presetSubtype="0" fill="hold" nodeType="afterEffect">
                                  <p:stCondLst>
                                    <p:cond delay="0"/>
                                  </p:stCondLst>
                                  <p:childTnLst>
                                    <p:set>
                                      <p:cBhvr>
                                        <p:cTn id="17" dur="1" fill="hold">
                                          <p:stCondLst>
                                            <p:cond delay="0"/>
                                          </p:stCondLst>
                                        </p:cTn>
                                        <p:tgtEl>
                                          <p:spTgt spid="3"/>
                                        </p:tgtEl>
                                        <p:attrNameLst>
                                          <p:attrName>style.visibility</p:attrName>
                                        </p:attrNameLst>
                                      </p:cBhvr>
                                      <p:to>
                                        <p:strVal val="visible"/>
                                      </p:to>
                                    </p:set>
                                    <p:animEffect transition="in" filter="fade">
                                      <p:cBhvr>
                                        <p:cTn id="18" dur="500"/>
                                        <p:tgtEl>
                                          <p:spTgt spid="3"/>
                                        </p:tgtEl>
                                      </p:cBhvr>
                                    </p:animEffect>
                                  </p:childTnLst>
                                </p:cTn>
                              </p:par>
                            </p:childTnLst>
                          </p:cTn>
                        </p:par>
                        <p:par>
                          <p:cTn id="19" fill="hold">
                            <p:stCondLst>
                              <p:cond delay="1500"/>
                            </p:stCondLst>
                            <p:childTnLst>
                              <p:par>
                                <p:cTn id="20" presetID="10" presetClass="entr" presetSubtype="0" fill="hold" grpId="0" nodeType="afterEffect">
                                  <p:stCondLst>
                                    <p:cond delay="0"/>
                                  </p:stCondLst>
                                  <p:childTnLst>
                                    <p:set>
                                      <p:cBhvr>
                                        <p:cTn id="21" dur="1" fill="hold">
                                          <p:stCondLst>
                                            <p:cond delay="0"/>
                                          </p:stCondLst>
                                        </p:cTn>
                                        <p:tgtEl>
                                          <p:spTgt spid="37"/>
                                        </p:tgtEl>
                                        <p:attrNameLst>
                                          <p:attrName>style.visibility</p:attrName>
                                        </p:attrNameLst>
                                      </p:cBhvr>
                                      <p:to>
                                        <p:strVal val="visible"/>
                                      </p:to>
                                    </p:set>
                                    <p:animEffect transition="in" filter="fade">
                                      <p:cBhvr>
                                        <p:cTn id="22" dur="500"/>
                                        <p:tgtEl>
                                          <p:spTgt spid="37"/>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36"/>
                                        </p:tgtEl>
                                        <p:attrNameLst>
                                          <p:attrName>style.visibility</p:attrName>
                                        </p:attrNameLst>
                                      </p:cBhvr>
                                      <p:to>
                                        <p:strVal val="visible"/>
                                      </p:to>
                                    </p:set>
                                    <p:animEffect transition="in" filter="fade">
                                      <p:cBhvr>
                                        <p:cTn id="25" dur="500"/>
                                        <p:tgtEl>
                                          <p:spTgt spid="36"/>
                                        </p:tgtEl>
                                      </p:cBhvr>
                                    </p:animEffect>
                                  </p:childTnLst>
                                </p:cTn>
                              </p:par>
                            </p:childTnLst>
                          </p:cTn>
                        </p:par>
                        <p:par>
                          <p:cTn id="26" fill="hold">
                            <p:stCondLst>
                              <p:cond delay="2000"/>
                            </p:stCondLst>
                            <p:childTnLst>
                              <p:par>
                                <p:cTn id="27" presetID="22" presetClass="entr" presetSubtype="8" fill="hold" nodeType="afterEffect">
                                  <p:stCondLst>
                                    <p:cond delay="0"/>
                                  </p:stCondLst>
                                  <p:childTnLst>
                                    <p:set>
                                      <p:cBhvr>
                                        <p:cTn id="28" dur="1" fill="hold">
                                          <p:stCondLst>
                                            <p:cond delay="0"/>
                                          </p:stCondLst>
                                        </p:cTn>
                                        <p:tgtEl>
                                          <p:spTgt spid="24"/>
                                        </p:tgtEl>
                                        <p:attrNameLst>
                                          <p:attrName>style.visibility</p:attrName>
                                        </p:attrNameLst>
                                      </p:cBhvr>
                                      <p:to>
                                        <p:strVal val="visible"/>
                                      </p:to>
                                    </p:set>
                                    <p:animEffect transition="in" filter="wipe(left)">
                                      <p:cBhvr>
                                        <p:cTn id="29" dur="500"/>
                                        <p:tgtEl>
                                          <p:spTgt spid="24"/>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41"/>
                                        </p:tgtEl>
                                        <p:attrNameLst>
                                          <p:attrName>style.visibility</p:attrName>
                                        </p:attrNameLst>
                                      </p:cBhvr>
                                      <p:to>
                                        <p:strVal val="visible"/>
                                      </p:to>
                                    </p:set>
                                    <p:animEffect transition="in" filter="fade">
                                      <p:cBhvr>
                                        <p:cTn id="32" dur="500"/>
                                        <p:tgtEl>
                                          <p:spTgt spid="41"/>
                                        </p:tgtEl>
                                      </p:cBhvr>
                                    </p:animEffect>
                                  </p:childTnLst>
                                </p:cTn>
                              </p:par>
                            </p:childTnLst>
                          </p:cTn>
                        </p:par>
                        <p:par>
                          <p:cTn id="33" fill="hold">
                            <p:stCondLst>
                              <p:cond delay="2500"/>
                            </p:stCondLst>
                            <p:childTnLst>
                              <p:par>
                                <p:cTn id="34" presetID="10" presetClass="entr" presetSubtype="0" fill="hold" nodeType="afterEffect">
                                  <p:stCondLst>
                                    <p:cond delay="0"/>
                                  </p:stCondLst>
                                  <p:childTnLst>
                                    <p:set>
                                      <p:cBhvr>
                                        <p:cTn id="35" dur="1" fill="hold">
                                          <p:stCondLst>
                                            <p:cond delay="0"/>
                                          </p:stCondLst>
                                        </p:cTn>
                                        <p:tgtEl>
                                          <p:spTgt spid="43"/>
                                        </p:tgtEl>
                                        <p:attrNameLst>
                                          <p:attrName>style.visibility</p:attrName>
                                        </p:attrNameLst>
                                      </p:cBhvr>
                                      <p:to>
                                        <p:strVal val="visible"/>
                                      </p:to>
                                    </p:set>
                                    <p:animEffect transition="in" filter="fade">
                                      <p:cBhvr>
                                        <p:cTn id="36" dur="500"/>
                                        <p:tgtEl>
                                          <p:spTgt spid="43"/>
                                        </p:tgtEl>
                                      </p:cBhvr>
                                    </p:animEffect>
                                  </p:childTnLst>
                                </p:cTn>
                              </p:par>
                            </p:childTnLst>
                          </p:cTn>
                        </p:par>
                        <p:par>
                          <p:cTn id="37" fill="hold">
                            <p:stCondLst>
                              <p:cond delay="3000"/>
                            </p:stCondLst>
                            <p:childTnLst>
                              <p:par>
                                <p:cTn id="38" presetID="10" presetClass="entr" presetSubtype="0" fill="hold" grpId="0" nodeType="afterEffect">
                                  <p:stCondLst>
                                    <p:cond delay="0"/>
                                  </p:stCondLst>
                                  <p:childTnLst>
                                    <p:set>
                                      <p:cBhvr>
                                        <p:cTn id="39" dur="1" fill="hold">
                                          <p:stCondLst>
                                            <p:cond delay="0"/>
                                          </p:stCondLst>
                                        </p:cTn>
                                        <p:tgtEl>
                                          <p:spTgt spid="40"/>
                                        </p:tgtEl>
                                        <p:attrNameLst>
                                          <p:attrName>style.visibility</p:attrName>
                                        </p:attrNameLst>
                                      </p:cBhvr>
                                      <p:to>
                                        <p:strVal val="visible"/>
                                      </p:to>
                                    </p:set>
                                    <p:animEffect transition="in" filter="fade">
                                      <p:cBhvr>
                                        <p:cTn id="40" dur="500"/>
                                        <p:tgtEl>
                                          <p:spTgt spid="40"/>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39"/>
                                        </p:tgtEl>
                                        <p:attrNameLst>
                                          <p:attrName>style.visibility</p:attrName>
                                        </p:attrNameLst>
                                      </p:cBhvr>
                                      <p:to>
                                        <p:strVal val="visible"/>
                                      </p:to>
                                    </p:set>
                                    <p:animEffect transition="in" filter="fade">
                                      <p:cBhvr>
                                        <p:cTn id="43" dur="500"/>
                                        <p:tgtEl>
                                          <p:spTgt spid="39"/>
                                        </p:tgtEl>
                                      </p:cBhvr>
                                    </p:animEffect>
                                  </p:childTnLst>
                                </p:cTn>
                              </p:par>
                            </p:childTnLst>
                          </p:cTn>
                        </p:par>
                        <p:par>
                          <p:cTn id="44" fill="hold">
                            <p:stCondLst>
                              <p:cond delay="3500"/>
                            </p:stCondLst>
                            <p:childTnLst>
                              <p:par>
                                <p:cTn id="45" presetID="22" presetClass="entr" presetSubtype="2" fill="hold" nodeType="afterEffect">
                                  <p:stCondLst>
                                    <p:cond delay="0"/>
                                  </p:stCondLst>
                                  <p:childTnLst>
                                    <p:set>
                                      <p:cBhvr>
                                        <p:cTn id="46" dur="1" fill="hold">
                                          <p:stCondLst>
                                            <p:cond delay="0"/>
                                          </p:stCondLst>
                                        </p:cTn>
                                        <p:tgtEl>
                                          <p:spTgt spid="12"/>
                                        </p:tgtEl>
                                        <p:attrNameLst>
                                          <p:attrName>style.visibility</p:attrName>
                                        </p:attrNameLst>
                                      </p:cBhvr>
                                      <p:to>
                                        <p:strVal val="visible"/>
                                      </p:to>
                                    </p:set>
                                    <p:animEffect transition="in" filter="wipe(right)">
                                      <p:cBhvr>
                                        <p:cTn id="47" dur="500"/>
                                        <p:tgtEl>
                                          <p:spTgt spid="12"/>
                                        </p:tgtEl>
                                      </p:cBhvr>
                                    </p:animEffect>
                                  </p:childTnLst>
                                </p:cTn>
                              </p:par>
                              <p:par>
                                <p:cTn id="48" presetID="10" presetClass="entr" presetSubtype="0" fill="hold" nodeType="withEffect">
                                  <p:stCondLst>
                                    <p:cond delay="0"/>
                                  </p:stCondLst>
                                  <p:childTnLst>
                                    <p:set>
                                      <p:cBhvr>
                                        <p:cTn id="49" dur="1" fill="hold">
                                          <p:stCondLst>
                                            <p:cond delay="0"/>
                                          </p:stCondLst>
                                        </p:cTn>
                                        <p:tgtEl>
                                          <p:spTgt spid="35">
                                            <p:txEl>
                                              <p:pRg st="0" end="0"/>
                                            </p:txEl>
                                          </p:spTgt>
                                        </p:tgtEl>
                                        <p:attrNameLst>
                                          <p:attrName>style.visibility</p:attrName>
                                        </p:attrNameLst>
                                      </p:cBhvr>
                                      <p:to>
                                        <p:strVal val="visible"/>
                                      </p:to>
                                    </p:set>
                                    <p:animEffect transition="in" filter="fade">
                                      <p:cBhvr>
                                        <p:cTn id="50" dur="500"/>
                                        <p:tgtEl>
                                          <p:spTgt spid="35">
                                            <p:txEl>
                                              <p:pRg st="0" end="0"/>
                                            </p:txEl>
                                          </p:spTgt>
                                        </p:tgtEl>
                                      </p:cBhvr>
                                    </p:animEffect>
                                  </p:childTnLst>
                                </p:cTn>
                              </p:par>
                            </p:childTnLst>
                          </p:cTn>
                        </p:par>
                        <p:par>
                          <p:cTn id="51" fill="hold">
                            <p:stCondLst>
                              <p:cond delay="4000"/>
                            </p:stCondLst>
                            <p:childTnLst>
                              <p:par>
                                <p:cTn id="52" presetID="10" presetClass="entr" presetSubtype="0" fill="hold" nodeType="afterEffect">
                                  <p:stCondLst>
                                    <p:cond delay="0"/>
                                  </p:stCondLst>
                                  <p:childTnLst>
                                    <p:set>
                                      <p:cBhvr>
                                        <p:cTn id="53" dur="1" fill="hold">
                                          <p:stCondLst>
                                            <p:cond delay="0"/>
                                          </p:stCondLst>
                                        </p:cTn>
                                        <p:tgtEl>
                                          <p:spTgt spid="6"/>
                                        </p:tgtEl>
                                        <p:attrNameLst>
                                          <p:attrName>style.visibility</p:attrName>
                                        </p:attrNameLst>
                                      </p:cBhvr>
                                      <p:to>
                                        <p:strVal val="visible"/>
                                      </p:to>
                                    </p:set>
                                    <p:animEffect transition="in" filter="fade">
                                      <p:cBhvr>
                                        <p:cTn id="54" dur="500"/>
                                        <p:tgtEl>
                                          <p:spTgt spid="6"/>
                                        </p:tgtEl>
                                      </p:cBhvr>
                                    </p:animEffect>
                                  </p:childTnLst>
                                </p:cTn>
                              </p:par>
                            </p:childTnLst>
                          </p:cTn>
                        </p:par>
                        <p:par>
                          <p:cTn id="55" fill="hold">
                            <p:stCondLst>
                              <p:cond delay="4500"/>
                            </p:stCondLst>
                            <p:childTnLst>
                              <p:par>
                                <p:cTn id="56" presetID="10" presetClass="entr" presetSubtype="0" fill="hold" grpId="0" nodeType="afterEffect">
                                  <p:stCondLst>
                                    <p:cond delay="0"/>
                                  </p:stCondLst>
                                  <p:childTnLst>
                                    <p:set>
                                      <p:cBhvr>
                                        <p:cTn id="57" dur="1" fill="hold">
                                          <p:stCondLst>
                                            <p:cond delay="0"/>
                                          </p:stCondLst>
                                        </p:cTn>
                                        <p:tgtEl>
                                          <p:spTgt spid="34"/>
                                        </p:tgtEl>
                                        <p:attrNameLst>
                                          <p:attrName>style.visibility</p:attrName>
                                        </p:attrNameLst>
                                      </p:cBhvr>
                                      <p:to>
                                        <p:strVal val="visible"/>
                                      </p:to>
                                    </p:set>
                                    <p:animEffect transition="in" filter="fade">
                                      <p:cBhvr>
                                        <p:cTn id="58" dur="500"/>
                                        <p:tgtEl>
                                          <p:spTgt spid="34"/>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33"/>
                                        </p:tgtEl>
                                        <p:attrNameLst>
                                          <p:attrName>style.visibility</p:attrName>
                                        </p:attrNameLst>
                                      </p:cBhvr>
                                      <p:to>
                                        <p:strVal val="visible"/>
                                      </p:to>
                                    </p:set>
                                    <p:animEffect transition="in" filter="fade">
                                      <p:cBhvr>
                                        <p:cTn id="61" dur="500"/>
                                        <p:tgtEl>
                                          <p:spTgt spid="33"/>
                                        </p:tgtEl>
                                      </p:cBhvr>
                                    </p:animEffect>
                                  </p:childTnLst>
                                </p:cTn>
                              </p:par>
                            </p:childTnLst>
                          </p:cTn>
                        </p:par>
                        <p:par>
                          <p:cTn id="62" fill="hold">
                            <p:stCondLst>
                              <p:cond delay="5000"/>
                            </p:stCondLst>
                            <p:childTnLst>
                              <p:par>
                                <p:cTn id="63" presetID="22" presetClass="entr" presetSubtype="8" fill="hold" nodeType="afterEffect">
                                  <p:stCondLst>
                                    <p:cond delay="0"/>
                                  </p:stCondLst>
                                  <p:childTnLst>
                                    <p:set>
                                      <p:cBhvr>
                                        <p:cTn id="64" dur="1" fill="hold">
                                          <p:stCondLst>
                                            <p:cond delay="0"/>
                                          </p:stCondLst>
                                        </p:cTn>
                                        <p:tgtEl>
                                          <p:spTgt spid="21"/>
                                        </p:tgtEl>
                                        <p:attrNameLst>
                                          <p:attrName>style.visibility</p:attrName>
                                        </p:attrNameLst>
                                      </p:cBhvr>
                                      <p:to>
                                        <p:strVal val="visible"/>
                                      </p:to>
                                    </p:set>
                                    <p:animEffect transition="in" filter="wipe(left)">
                                      <p:cBhvr>
                                        <p:cTn id="65" dur="500"/>
                                        <p:tgtEl>
                                          <p:spTgt spid="21"/>
                                        </p:tgtEl>
                                      </p:cBhvr>
                                    </p:animEffect>
                                  </p:childTnLst>
                                </p:cTn>
                              </p:par>
                              <p:par>
                                <p:cTn id="66" presetID="10" presetClass="entr" presetSubtype="0" fill="hold" grpId="0" nodeType="withEffect">
                                  <p:stCondLst>
                                    <p:cond delay="0"/>
                                  </p:stCondLst>
                                  <p:childTnLst>
                                    <p:set>
                                      <p:cBhvr>
                                        <p:cTn id="67" dur="1" fill="hold">
                                          <p:stCondLst>
                                            <p:cond delay="0"/>
                                          </p:stCondLst>
                                        </p:cTn>
                                        <p:tgtEl>
                                          <p:spTgt spid="32"/>
                                        </p:tgtEl>
                                        <p:attrNameLst>
                                          <p:attrName>style.visibility</p:attrName>
                                        </p:attrNameLst>
                                      </p:cBhvr>
                                      <p:to>
                                        <p:strVal val="visible"/>
                                      </p:to>
                                    </p:set>
                                    <p:animEffect transition="in" filter="fade">
                                      <p:cBhvr>
                                        <p:cTn id="68" dur="500"/>
                                        <p:tgtEl>
                                          <p:spTgt spid="32"/>
                                        </p:tgtEl>
                                      </p:cBhvr>
                                    </p:animEffect>
                                  </p:childTnLst>
                                </p:cTn>
                              </p:par>
                            </p:childTnLst>
                          </p:cTn>
                        </p:par>
                        <p:par>
                          <p:cTn id="69" fill="hold">
                            <p:stCondLst>
                              <p:cond delay="5500"/>
                            </p:stCondLst>
                            <p:childTnLst>
                              <p:par>
                                <p:cTn id="70" presetID="10" presetClass="entr" presetSubtype="0" fill="hold" grpId="0" nodeType="afterEffect">
                                  <p:stCondLst>
                                    <p:cond delay="0"/>
                                  </p:stCondLst>
                                  <p:childTnLst>
                                    <p:set>
                                      <p:cBhvr>
                                        <p:cTn id="71" dur="1" fill="hold">
                                          <p:stCondLst>
                                            <p:cond delay="0"/>
                                          </p:stCondLst>
                                        </p:cTn>
                                        <p:tgtEl>
                                          <p:spTgt spid="42"/>
                                        </p:tgtEl>
                                        <p:attrNameLst>
                                          <p:attrName>style.visibility</p:attrName>
                                        </p:attrNameLst>
                                      </p:cBhvr>
                                      <p:to>
                                        <p:strVal val="visible"/>
                                      </p:to>
                                    </p:set>
                                    <p:animEffect transition="in" filter="fade">
                                      <p:cBhvr>
                                        <p:cTn id="72" dur="500"/>
                                        <p:tgtEl>
                                          <p:spTgt spid="42"/>
                                        </p:tgtEl>
                                      </p:cBhvr>
                                    </p:animEffect>
                                  </p:childTnLst>
                                </p:cTn>
                              </p:par>
                            </p:childTnLst>
                          </p:cTn>
                        </p:par>
                        <p:par>
                          <p:cTn id="73" fill="hold">
                            <p:stCondLst>
                              <p:cond delay="6000"/>
                            </p:stCondLst>
                            <p:childTnLst>
                              <p:par>
                                <p:cTn id="74" presetID="10" presetClass="entr" presetSubtype="0" fill="hold" grpId="0" nodeType="afterEffect">
                                  <p:stCondLst>
                                    <p:cond delay="0"/>
                                  </p:stCondLst>
                                  <p:childTnLst>
                                    <p:set>
                                      <p:cBhvr>
                                        <p:cTn id="75" dur="1" fill="hold">
                                          <p:stCondLst>
                                            <p:cond delay="0"/>
                                          </p:stCondLst>
                                        </p:cTn>
                                        <p:tgtEl>
                                          <p:spTgt spid="31"/>
                                        </p:tgtEl>
                                        <p:attrNameLst>
                                          <p:attrName>style.visibility</p:attrName>
                                        </p:attrNameLst>
                                      </p:cBhvr>
                                      <p:to>
                                        <p:strVal val="visible"/>
                                      </p:to>
                                    </p:set>
                                    <p:animEffect transition="in" filter="fade">
                                      <p:cBhvr>
                                        <p:cTn id="76" dur="500"/>
                                        <p:tgtEl>
                                          <p:spTgt spid="31"/>
                                        </p:tgtEl>
                                      </p:cBhvr>
                                    </p:animEffect>
                                  </p:childTnLst>
                                </p:cTn>
                              </p:par>
                              <p:par>
                                <p:cTn id="77" presetID="10" presetClass="entr" presetSubtype="0" fill="hold" grpId="0" nodeType="withEffect">
                                  <p:stCondLst>
                                    <p:cond delay="0"/>
                                  </p:stCondLst>
                                  <p:childTnLst>
                                    <p:set>
                                      <p:cBhvr>
                                        <p:cTn id="78" dur="1" fill="hold">
                                          <p:stCondLst>
                                            <p:cond delay="0"/>
                                          </p:stCondLst>
                                        </p:cTn>
                                        <p:tgtEl>
                                          <p:spTgt spid="30"/>
                                        </p:tgtEl>
                                        <p:attrNameLst>
                                          <p:attrName>style.visibility</p:attrName>
                                        </p:attrNameLst>
                                      </p:cBhvr>
                                      <p:to>
                                        <p:strVal val="visible"/>
                                      </p:to>
                                    </p:set>
                                    <p:animEffect transition="in" filter="fade">
                                      <p:cBhvr>
                                        <p:cTn id="79" dur="500"/>
                                        <p:tgtEl>
                                          <p:spTgt spid="30"/>
                                        </p:tgtEl>
                                      </p:cBhvr>
                                    </p:animEffect>
                                  </p:childTnLst>
                                </p:cTn>
                              </p:par>
                            </p:childTnLst>
                          </p:cTn>
                        </p:par>
                        <p:par>
                          <p:cTn id="80" fill="hold">
                            <p:stCondLst>
                              <p:cond delay="6500"/>
                            </p:stCondLst>
                            <p:childTnLst>
                              <p:par>
                                <p:cTn id="81" presetID="22" presetClass="entr" presetSubtype="2" fill="hold" nodeType="afterEffect">
                                  <p:stCondLst>
                                    <p:cond delay="0"/>
                                  </p:stCondLst>
                                  <p:childTnLst>
                                    <p:set>
                                      <p:cBhvr>
                                        <p:cTn id="82" dur="1" fill="hold">
                                          <p:stCondLst>
                                            <p:cond delay="0"/>
                                          </p:stCondLst>
                                        </p:cTn>
                                        <p:tgtEl>
                                          <p:spTgt spid="15"/>
                                        </p:tgtEl>
                                        <p:attrNameLst>
                                          <p:attrName>style.visibility</p:attrName>
                                        </p:attrNameLst>
                                      </p:cBhvr>
                                      <p:to>
                                        <p:strVal val="visible"/>
                                      </p:to>
                                    </p:set>
                                    <p:animEffect transition="in" filter="wipe(right)">
                                      <p:cBhvr>
                                        <p:cTn id="83" dur="500"/>
                                        <p:tgtEl>
                                          <p:spTgt spid="15"/>
                                        </p:tgtEl>
                                      </p:cBhvr>
                                    </p:animEffect>
                                  </p:childTnLst>
                                </p:cTn>
                              </p:par>
                              <p:par>
                                <p:cTn id="84" presetID="10" presetClass="entr" presetSubtype="0" fill="hold" nodeType="withEffect">
                                  <p:stCondLst>
                                    <p:cond delay="0"/>
                                  </p:stCondLst>
                                  <p:childTnLst>
                                    <p:set>
                                      <p:cBhvr>
                                        <p:cTn id="85" dur="1" fill="hold">
                                          <p:stCondLst>
                                            <p:cond delay="0"/>
                                          </p:stCondLst>
                                        </p:cTn>
                                        <p:tgtEl>
                                          <p:spTgt spid="29">
                                            <p:txEl>
                                              <p:pRg st="0" end="0"/>
                                            </p:txEl>
                                          </p:spTgt>
                                        </p:tgtEl>
                                        <p:attrNameLst>
                                          <p:attrName>style.visibility</p:attrName>
                                        </p:attrNameLst>
                                      </p:cBhvr>
                                      <p:to>
                                        <p:strVal val="visible"/>
                                      </p:to>
                                    </p:set>
                                    <p:animEffect transition="in" filter="fade">
                                      <p:cBhvr>
                                        <p:cTn id="86" dur="500"/>
                                        <p:tgtEl>
                                          <p:spTgt spid="29">
                                            <p:txEl>
                                              <p:pRg st="0" end="0"/>
                                            </p:txEl>
                                          </p:spTgt>
                                        </p:tgtEl>
                                      </p:cBhvr>
                                    </p:animEffect>
                                  </p:childTnLst>
                                </p:cTn>
                              </p:par>
                            </p:childTnLst>
                          </p:cTn>
                        </p:par>
                        <p:par>
                          <p:cTn id="87" fill="hold">
                            <p:stCondLst>
                              <p:cond delay="7000"/>
                            </p:stCondLst>
                            <p:childTnLst>
                              <p:par>
                                <p:cTn id="88" presetID="10" presetClass="entr" presetSubtype="0" fill="hold" grpId="0" nodeType="afterEffect">
                                  <p:stCondLst>
                                    <p:cond delay="0"/>
                                  </p:stCondLst>
                                  <p:childTnLst>
                                    <p:set>
                                      <p:cBhvr>
                                        <p:cTn id="89" dur="1" fill="hold">
                                          <p:stCondLst>
                                            <p:cond delay="0"/>
                                          </p:stCondLst>
                                        </p:cTn>
                                        <p:tgtEl>
                                          <p:spTgt spid="2"/>
                                        </p:tgtEl>
                                        <p:attrNameLst>
                                          <p:attrName>style.visibility</p:attrName>
                                        </p:attrNameLst>
                                      </p:cBhvr>
                                      <p:to>
                                        <p:strVal val="visible"/>
                                      </p:to>
                                    </p:set>
                                    <p:animEffect transition="in" filter="fade">
                                      <p:cBhvr>
                                        <p:cTn id="90" dur="500"/>
                                        <p:tgtEl>
                                          <p:spTgt spid="2"/>
                                        </p:tgtEl>
                                      </p:cBhvr>
                                    </p:animEffect>
                                  </p:childTnLst>
                                </p:cTn>
                              </p:par>
                            </p:childTnLst>
                          </p:cTn>
                        </p:par>
                        <p:par>
                          <p:cTn id="91" fill="hold">
                            <p:stCondLst>
                              <p:cond delay="7500"/>
                            </p:stCondLst>
                            <p:childTnLst>
                              <p:par>
                                <p:cTn id="92" presetID="10" presetClass="entr" presetSubtype="0" fill="hold" grpId="0" nodeType="afterEffect">
                                  <p:stCondLst>
                                    <p:cond delay="0"/>
                                  </p:stCondLst>
                                  <p:childTnLst>
                                    <p:set>
                                      <p:cBhvr>
                                        <p:cTn id="93" dur="1" fill="hold">
                                          <p:stCondLst>
                                            <p:cond delay="0"/>
                                          </p:stCondLst>
                                        </p:cTn>
                                        <p:tgtEl>
                                          <p:spTgt spid="27"/>
                                        </p:tgtEl>
                                        <p:attrNameLst>
                                          <p:attrName>style.visibility</p:attrName>
                                        </p:attrNameLst>
                                      </p:cBhvr>
                                      <p:to>
                                        <p:strVal val="visible"/>
                                      </p:to>
                                    </p:set>
                                    <p:animEffect transition="in" filter="fade">
                                      <p:cBhvr>
                                        <p:cTn id="94" dur="500"/>
                                        <p:tgtEl>
                                          <p:spTgt spid="27"/>
                                        </p:tgtEl>
                                      </p:cBhvr>
                                    </p:animEffect>
                                  </p:childTnLst>
                                </p:cTn>
                              </p:par>
                              <p:par>
                                <p:cTn id="95" presetID="10" presetClass="entr" presetSubtype="0" fill="hold" grpId="0" nodeType="withEffect">
                                  <p:stCondLst>
                                    <p:cond delay="0"/>
                                  </p:stCondLst>
                                  <p:childTnLst>
                                    <p:set>
                                      <p:cBhvr>
                                        <p:cTn id="96" dur="1" fill="hold">
                                          <p:stCondLst>
                                            <p:cond delay="0"/>
                                          </p:stCondLst>
                                        </p:cTn>
                                        <p:tgtEl>
                                          <p:spTgt spid="28"/>
                                        </p:tgtEl>
                                        <p:attrNameLst>
                                          <p:attrName>style.visibility</p:attrName>
                                        </p:attrNameLst>
                                      </p:cBhvr>
                                      <p:to>
                                        <p:strVal val="visible"/>
                                      </p:to>
                                    </p:set>
                                    <p:animEffect transition="in" filter="fade">
                                      <p:cBhvr>
                                        <p:cTn id="97" dur="500"/>
                                        <p:tgtEl>
                                          <p:spTgt spid="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11" grpId="0"/>
      <p:bldP spid="27" grpId="0"/>
      <p:bldP spid="28" grpId="0"/>
      <p:bldP spid="30" grpId="0"/>
      <p:bldP spid="31" grpId="0"/>
      <p:bldP spid="32" grpId="0"/>
      <p:bldP spid="33" grpId="0"/>
      <p:bldP spid="34" grpId="0"/>
      <p:bldP spid="36" grpId="0"/>
      <p:bldP spid="37" grpId="0"/>
      <p:bldP spid="38" grpId="0"/>
      <p:bldP spid="39" grpId="0"/>
      <p:bldP spid="40" grpId="0"/>
      <p:bldP spid="41" grpId="0"/>
      <p:bldP spid="42" grpId="0" animBg="1"/>
    </p:bldLst>
  </p:timing>
</p:sld>
</file>

<file path=ppt/slides/slide5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3">
            <a:extLst>
              <a:ext uri="{FF2B5EF4-FFF2-40B4-BE49-F238E27FC236}">
                <a16:creationId xmlns:a16="http://schemas.microsoft.com/office/drawing/2014/main" id="{D71925A6-7346-43EA-AE0E-5807109487E1}"/>
              </a:ext>
            </a:extLst>
          </p:cNvPr>
          <p:cNvGrpSpPr/>
          <p:nvPr/>
        </p:nvGrpSpPr>
        <p:grpSpPr>
          <a:xfrm>
            <a:off x="3880153" y="4689484"/>
            <a:ext cx="2294825" cy="2279007"/>
            <a:chOff x="3880153" y="4689484"/>
            <a:chExt cx="2294825" cy="2279007"/>
          </a:xfrm>
        </p:grpSpPr>
        <p:sp>
          <p:nvSpPr>
            <p:cNvPr id="3" name="Freeform: Shape 27">
              <a:extLst>
                <a:ext uri="{FF2B5EF4-FFF2-40B4-BE49-F238E27FC236}">
                  <a16:creationId xmlns:a16="http://schemas.microsoft.com/office/drawing/2014/main" id="{4FDA52A4-FBF9-4945-B398-208C17F392A7}"/>
                </a:ext>
              </a:extLst>
            </p:cNvPr>
            <p:cNvSpPr/>
            <p:nvPr/>
          </p:nvSpPr>
          <p:spPr>
            <a:xfrm>
              <a:off x="5084854" y="5435337"/>
              <a:ext cx="881605" cy="876958"/>
            </a:xfrm>
            <a:custGeom>
              <a:avLst/>
              <a:gdLst>
                <a:gd name="connsiteX0" fmla="*/ 271463 w 541972"/>
                <a:gd name="connsiteY0" fmla="*/ 539115 h 539115"/>
                <a:gd name="connsiteX1" fmla="*/ 541972 w 541972"/>
                <a:gd name="connsiteY1" fmla="*/ 269558 h 539115"/>
                <a:gd name="connsiteX2" fmla="*/ 271463 w 541972"/>
                <a:gd name="connsiteY2" fmla="*/ 0 h 539115"/>
                <a:gd name="connsiteX3" fmla="*/ 0 w 541972"/>
                <a:gd name="connsiteY3" fmla="*/ 269558 h 539115"/>
                <a:gd name="connsiteX4" fmla="*/ 271463 w 541972"/>
                <a:gd name="connsiteY4" fmla="*/ 539115 h 5391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1972" h="539115">
                  <a:moveTo>
                    <a:pt x="271463" y="539115"/>
                  </a:moveTo>
                  <a:cubicBezTo>
                    <a:pt x="421005" y="539115"/>
                    <a:pt x="541972" y="418148"/>
                    <a:pt x="541972" y="269558"/>
                  </a:cubicBezTo>
                  <a:cubicBezTo>
                    <a:pt x="541972" y="120968"/>
                    <a:pt x="420053" y="0"/>
                    <a:pt x="271463" y="0"/>
                  </a:cubicBezTo>
                  <a:cubicBezTo>
                    <a:pt x="121920" y="0"/>
                    <a:pt x="0" y="120968"/>
                    <a:pt x="0" y="269558"/>
                  </a:cubicBezTo>
                  <a:cubicBezTo>
                    <a:pt x="952" y="418148"/>
                    <a:pt x="122873" y="539115"/>
                    <a:pt x="271463" y="539115"/>
                  </a:cubicBezTo>
                  <a:close/>
                </a:path>
              </a:pathLst>
            </a:custGeom>
            <a:solidFill>
              <a:schemeClr val="accent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4" name="Freeform: Shape 24">
              <a:extLst>
                <a:ext uri="{FF2B5EF4-FFF2-40B4-BE49-F238E27FC236}">
                  <a16:creationId xmlns:a16="http://schemas.microsoft.com/office/drawing/2014/main" id="{15E26C28-7354-418C-A9F9-97DFD6D57251}"/>
                </a:ext>
              </a:extLst>
            </p:cNvPr>
            <p:cNvSpPr/>
            <p:nvPr/>
          </p:nvSpPr>
          <p:spPr>
            <a:xfrm>
              <a:off x="4965669" y="5493532"/>
              <a:ext cx="1209309" cy="1474959"/>
            </a:xfrm>
            <a:custGeom>
              <a:avLst/>
              <a:gdLst>
                <a:gd name="connsiteX0" fmla="*/ 800100 w 889635"/>
                <a:gd name="connsiteY0" fmla="*/ 408622 h 1085063"/>
                <a:gd name="connsiteX1" fmla="*/ 100965 w 889635"/>
                <a:gd name="connsiteY1" fmla="*/ 51435 h 1085063"/>
                <a:gd name="connsiteX2" fmla="*/ 0 w 889635"/>
                <a:gd name="connsiteY2" fmla="*/ 0 h 1085063"/>
                <a:gd name="connsiteX3" fmla="*/ 0 w 889635"/>
                <a:gd name="connsiteY3" fmla="*/ 125730 h 1085063"/>
                <a:gd name="connsiteX4" fmla="*/ 749618 w 889635"/>
                <a:gd name="connsiteY4" fmla="*/ 508635 h 1085063"/>
                <a:gd name="connsiteX5" fmla="*/ 778193 w 889635"/>
                <a:gd name="connsiteY5" fmla="*/ 567690 h 1085063"/>
                <a:gd name="connsiteX6" fmla="*/ 778193 w 889635"/>
                <a:gd name="connsiteY6" fmla="*/ 784860 h 1085063"/>
                <a:gd name="connsiteX7" fmla="*/ 778193 w 889635"/>
                <a:gd name="connsiteY7" fmla="*/ 939165 h 1085063"/>
                <a:gd name="connsiteX8" fmla="*/ 778193 w 889635"/>
                <a:gd name="connsiteY8" fmla="*/ 1064895 h 1085063"/>
                <a:gd name="connsiteX9" fmla="*/ 800100 w 889635"/>
                <a:gd name="connsiteY9" fmla="*/ 1076325 h 1085063"/>
                <a:gd name="connsiteX10" fmla="*/ 889635 w 889635"/>
                <a:gd name="connsiteY10" fmla="*/ 1008697 h 1085063"/>
                <a:gd name="connsiteX11" fmla="*/ 889635 w 889635"/>
                <a:gd name="connsiteY11" fmla="*/ 567690 h 1085063"/>
                <a:gd name="connsiteX12" fmla="*/ 800100 w 889635"/>
                <a:gd name="connsiteY12" fmla="*/ 408622 h 10850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89635" h="1085063">
                  <a:moveTo>
                    <a:pt x="800100" y="408622"/>
                  </a:moveTo>
                  <a:lnTo>
                    <a:pt x="100965" y="51435"/>
                  </a:lnTo>
                  <a:lnTo>
                    <a:pt x="0" y="0"/>
                  </a:lnTo>
                  <a:lnTo>
                    <a:pt x="0" y="125730"/>
                  </a:lnTo>
                  <a:lnTo>
                    <a:pt x="749618" y="508635"/>
                  </a:lnTo>
                  <a:cubicBezTo>
                    <a:pt x="763905" y="517207"/>
                    <a:pt x="778193" y="550545"/>
                    <a:pt x="778193" y="567690"/>
                  </a:cubicBezTo>
                  <a:lnTo>
                    <a:pt x="778193" y="784860"/>
                  </a:lnTo>
                  <a:lnTo>
                    <a:pt x="778193" y="939165"/>
                  </a:lnTo>
                  <a:lnTo>
                    <a:pt x="778193" y="1064895"/>
                  </a:lnTo>
                  <a:lnTo>
                    <a:pt x="800100" y="1076325"/>
                  </a:lnTo>
                  <a:cubicBezTo>
                    <a:pt x="849630" y="1101090"/>
                    <a:pt x="889635" y="1071563"/>
                    <a:pt x="889635" y="1008697"/>
                  </a:cubicBezTo>
                  <a:lnTo>
                    <a:pt x="889635" y="567690"/>
                  </a:lnTo>
                  <a:cubicBezTo>
                    <a:pt x="889635" y="505777"/>
                    <a:pt x="848678" y="434340"/>
                    <a:pt x="800100" y="408622"/>
                  </a:cubicBezTo>
                  <a:close/>
                </a:path>
              </a:pathLst>
            </a:custGeom>
            <a:solidFill>
              <a:schemeClr val="accent1"/>
            </a:solidFill>
            <a:ln w="9525" cap="flat">
              <a:noFill/>
              <a:prstDash val="solid"/>
              <a:miter/>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5" name="Freeform: Shape 26">
              <a:extLst>
                <a:ext uri="{FF2B5EF4-FFF2-40B4-BE49-F238E27FC236}">
                  <a16:creationId xmlns:a16="http://schemas.microsoft.com/office/drawing/2014/main" id="{C6C80DC3-ED73-4A31-962F-8ADB5795A997}"/>
                </a:ext>
              </a:extLst>
            </p:cNvPr>
            <p:cNvSpPr/>
            <p:nvPr/>
          </p:nvSpPr>
          <p:spPr>
            <a:xfrm>
              <a:off x="3880153" y="4689484"/>
              <a:ext cx="1174350" cy="1035809"/>
            </a:xfrm>
            <a:custGeom>
              <a:avLst/>
              <a:gdLst>
                <a:gd name="connsiteX0" fmla="*/ 672465 w 863917"/>
                <a:gd name="connsiteY0" fmla="*/ 762000 h 762000"/>
                <a:gd name="connsiteX1" fmla="*/ 309563 w 863917"/>
                <a:gd name="connsiteY1" fmla="*/ 762000 h 762000"/>
                <a:gd name="connsiteX2" fmla="*/ 0 w 863917"/>
                <a:gd name="connsiteY2" fmla="*/ 381000 h 762000"/>
                <a:gd name="connsiteX3" fmla="*/ 0 w 863917"/>
                <a:gd name="connsiteY3" fmla="*/ 0 h 762000"/>
                <a:gd name="connsiteX4" fmla="*/ 574358 w 863917"/>
                <a:gd name="connsiteY4" fmla="*/ 952 h 762000"/>
                <a:gd name="connsiteX5" fmla="*/ 863918 w 863917"/>
                <a:gd name="connsiteY5" fmla="*/ 381000 h 762000"/>
                <a:gd name="connsiteX6" fmla="*/ 863918 w 863917"/>
                <a:gd name="connsiteY6" fmla="*/ 570547 h 762000"/>
                <a:gd name="connsiteX7" fmla="*/ 672465 w 863917"/>
                <a:gd name="connsiteY7" fmla="*/ 762000 h 76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63917" h="762000">
                  <a:moveTo>
                    <a:pt x="672465" y="762000"/>
                  </a:moveTo>
                  <a:lnTo>
                    <a:pt x="309563" y="762000"/>
                  </a:lnTo>
                  <a:cubicBezTo>
                    <a:pt x="139065" y="762000"/>
                    <a:pt x="0" y="590550"/>
                    <a:pt x="0" y="381000"/>
                  </a:cubicBezTo>
                  <a:lnTo>
                    <a:pt x="0" y="0"/>
                  </a:lnTo>
                  <a:lnTo>
                    <a:pt x="574358" y="952"/>
                  </a:lnTo>
                  <a:cubicBezTo>
                    <a:pt x="736283" y="14288"/>
                    <a:pt x="863918" y="180975"/>
                    <a:pt x="863918" y="381000"/>
                  </a:cubicBezTo>
                  <a:lnTo>
                    <a:pt x="863918" y="570547"/>
                  </a:lnTo>
                  <a:cubicBezTo>
                    <a:pt x="862965" y="676275"/>
                    <a:pt x="777240" y="762000"/>
                    <a:pt x="672465" y="762000"/>
                  </a:cubicBezTo>
                  <a:close/>
                </a:path>
              </a:pathLst>
            </a:custGeom>
            <a:solidFill>
              <a:schemeClr val="accent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useBgFill="1">
          <p:nvSpPr>
            <p:cNvPr id="6" name="Freeform: Shape 28">
              <a:extLst>
                <a:ext uri="{FF2B5EF4-FFF2-40B4-BE49-F238E27FC236}">
                  <a16:creationId xmlns:a16="http://schemas.microsoft.com/office/drawing/2014/main" id="{1673C58C-D857-46BC-A36C-691C86865FB6}"/>
                </a:ext>
              </a:extLst>
            </p:cNvPr>
            <p:cNvSpPr/>
            <p:nvPr/>
          </p:nvSpPr>
          <p:spPr>
            <a:xfrm>
              <a:off x="5166196" y="5517455"/>
              <a:ext cx="718921" cy="712722"/>
            </a:xfrm>
            <a:custGeom>
              <a:avLst/>
              <a:gdLst>
                <a:gd name="connsiteX0" fmla="*/ 220980 w 441959"/>
                <a:gd name="connsiteY0" fmla="*/ 438150 h 438150"/>
                <a:gd name="connsiteX1" fmla="*/ 441960 w 441959"/>
                <a:gd name="connsiteY1" fmla="*/ 219075 h 438150"/>
                <a:gd name="connsiteX2" fmla="*/ 220980 w 441959"/>
                <a:gd name="connsiteY2" fmla="*/ 0 h 438150"/>
                <a:gd name="connsiteX3" fmla="*/ 0 w 441959"/>
                <a:gd name="connsiteY3" fmla="*/ 219075 h 438150"/>
                <a:gd name="connsiteX4" fmla="*/ 220980 w 441959"/>
                <a:gd name="connsiteY4" fmla="*/ 438150 h 438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1959" h="438150">
                  <a:moveTo>
                    <a:pt x="220980" y="438150"/>
                  </a:moveTo>
                  <a:cubicBezTo>
                    <a:pt x="342900" y="438150"/>
                    <a:pt x="441960" y="339090"/>
                    <a:pt x="441960" y="219075"/>
                  </a:cubicBezTo>
                  <a:cubicBezTo>
                    <a:pt x="441960" y="99060"/>
                    <a:pt x="342900" y="0"/>
                    <a:pt x="220980" y="0"/>
                  </a:cubicBezTo>
                  <a:cubicBezTo>
                    <a:pt x="99060" y="0"/>
                    <a:pt x="0" y="99060"/>
                    <a:pt x="0" y="219075"/>
                  </a:cubicBezTo>
                  <a:cubicBezTo>
                    <a:pt x="0" y="339090"/>
                    <a:pt x="99060" y="438150"/>
                    <a:pt x="220980" y="438150"/>
                  </a:cubicBezTo>
                  <a:close/>
                </a:path>
              </a:pathLst>
            </a:custGeom>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sp>
        <p:nvSpPr>
          <p:cNvPr id="7" name="Title 1">
            <a:extLst>
              <a:ext uri="{FF2B5EF4-FFF2-40B4-BE49-F238E27FC236}">
                <a16:creationId xmlns:a16="http://schemas.microsoft.com/office/drawing/2014/main" id="{C5B0FBD4-75A5-407E-8BA4-10A24AE28AE9}"/>
              </a:ext>
            </a:extLst>
          </p:cNvPr>
          <p:cNvSpPr txBox="1">
            <a:spLocks/>
          </p:cNvSpPr>
          <p:nvPr/>
        </p:nvSpPr>
        <p:spPr>
          <a:xfrm>
            <a:off x="2043113" y="304800"/>
            <a:ext cx="8105775" cy="1105808"/>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ID" sz="4400" b="0" i="0" u="none" strike="noStrike" kern="1200" cap="none" spc="0" normalizeH="0" baseline="0" noProof="0">
                <a:ln>
                  <a:noFill/>
                </a:ln>
                <a:solidFill>
                  <a:srgbClr val="000000"/>
                </a:solidFill>
                <a:effectLst/>
                <a:uLnTx/>
                <a:uFillTx/>
                <a:latin typeface="等线 Light" panose="020F0302020204030204"/>
                <a:ea typeface="+mj-ea"/>
                <a:cs typeface="+mj-cs"/>
              </a:rPr>
              <a:t>Tree Infographic</a:t>
            </a:r>
          </a:p>
        </p:txBody>
      </p:sp>
      <p:grpSp>
        <p:nvGrpSpPr>
          <p:cNvPr id="8" name="Group 32">
            <a:extLst>
              <a:ext uri="{FF2B5EF4-FFF2-40B4-BE49-F238E27FC236}">
                <a16:creationId xmlns:a16="http://schemas.microsoft.com/office/drawing/2014/main" id="{7F43A2D6-95DC-44AD-AB95-3836ED741CAF}"/>
              </a:ext>
            </a:extLst>
          </p:cNvPr>
          <p:cNvGrpSpPr/>
          <p:nvPr/>
        </p:nvGrpSpPr>
        <p:grpSpPr>
          <a:xfrm>
            <a:off x="3880154" y="1988610"/>
            <a:ext cx="2293554" cy="2279006"/>
            <a:chOff x="3880154" y="1988610"/>
            <a:chExt cx="2293554" cy="2279006"/>
          </a:xfrm>
        </p:grpSpPr>
        <p:sp>
          <p:nvSpPr>
            <p:cNvPr id="9" name="Freeform: Shape 6">
              <a:extLst>
                <a:ext uri="{FF2B5EF4-FFF2-40B4-BE49-F238E27FC236}">
                  <a16:creationId xmlns:a16="http://schemas.microsoft.com/office/drawing/2014/main" id="{73DD45F7-EBC4-402B-AD8F-3AFBFEB283CC}"/>
                </a:ext>
              </a:extLst>
            </p:cNvPr>
            <p:cNvSpPr/>
            <p:nvPr/>
          </p:nvSpPr>
          <p:spPr>
            <a:xfrm>
              <a:off x="3880154" y="1988610"/>
              <a:ext cx="1174350" cy="1035809"/>
            </a:xfrm>
            <a:custGeom>
              <a:avLst/>
              <a:gdLst>
                <a:gd name="connsiteX0" fmla="*/ 672465 w 863917"/>
                <a:gd name="connsiteY0" fmla="*/ 762000 h 762000"/>
                <a:gd name="connsiteX1" fmla="*/ 309563 w 863917"/>
                <a:gd name="connsiteY1" fmla="*/ 762000 h 762000"/>
                <a:gd name="connsiteX2" fmla="*/ 0 w 863917"/>
                <a:gd name="connsiteY2" fmla="*/ 381000 h 762000"/>
                <a:gd name="connsiteX3" fmla="*/ 0 w 863917"/>
                <a:gd name="connsiteY3" fmla="*/ 0 h 762000"/>
                <a:gd name="connsiteX4" fmla="*/ 574358 w 863917"/>
                <a:gd name="connsiteY4" fmla="*/ 952 h 762000"/>
                <a:gd name="connsiteX5" fmla="*/ 863918 w 863917"/>
                <a:gd name="connsiteY5" fmla="*/ 381000 h 762000"/>
                <a:gd name="connsiteX6" fmla="*/ 863918 w 863917"/>
                <a:gd name="connsiteY6" fmla="*/ 570548 h 762000"/>
                <a:gd name="connsiteX7" fmla="*/ 672465 w 863917"/>
                <a:gd name="connsiteY7" fmla="*/ 762000 h 76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63917" h="762000">
                  <a:moveTo>
                    <a:pt x="672465" y="762000"/>
                  </a:moveTo>
                  <a:lnTo>
                    <a:pt x="309563" y="762000"/>
                  </a:lnTo>
                  <a:cubicBezTo>
                    <a:pt x="139065" y="762000"/>
                    <a:pt x="0" y="590550"/>
                    <a:pt x="0" y="381000"/>
                  </a:cubicBezTo>
                  <a:lnTo>
                    <a:pt x="0" y="0"/>
                  </a:lnTo>
                  <a:lnTo>
                    <a:pt x="574358" y="952"/>
                  </a:lnTo>
                  <a:cubicBezTo>
                    <a:pt x="736283" y="14288"/>
                    <a:pt x="863918" y="180975"/>
                    <a:pt x="863918" y="381000"/>
                  </a:cubicBezTo>
                  <a:lnTo>
                    <a:pt x="863918" y="570548"/>
                  </a:lnTo>
                  <a:cubicBezTo>
                    <a:pt x="862965" y="676275"/>
                    <a:pt x="777240" y="762000"/>
                    <a:pt x="672465" y="762000"/>
                  </a:cubicBezTo>
                  <a:close/>
                </a:path>
              </a:pathLst>
            </a:custGeom>
            <a:solidFill>
              <a:schemeClr val="accent5"/>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0" name="Freeform: Shape 4">
              <a:extLst>
                <a:ext uri="{FF2B5EF4-FFF2-40B4-BE49-F238E27FC236}">
                  <a16:creationId xmlns:a16="http://schemas.microsoft.com/office/drawing/2014/main" id="{9F4E7A30-F449-4DBB-AEE3-E4B4E4A14732}"/>
                </a:ext>
              </a:extLst>
            </p:cNvPr>
            <p:cNvSpPr/>
            <p:nvPr/>
          </p:nvSpPr>
          <p:spPr>
            <a:xfrm>
              <a:off x="4964377" y="2792657"/>
              <a:ext cx="1209331" cy="1474959"/>
            </a:xfrm>
            <a:custGeom>
              <a:avLst/>
              <a:gdLst>
                <a:gd name="connsiteX0" fmla="*/ 801053 w 889651"/>
                <a:gd name="connsiteY0" fmla="*/ 408623 h 1085063"/>
                <a:gd name="connsiteX1" fmla="*/ 100965 w 889651"/>
                <a:gd name="connsiteY1" fmla="*/ 51435 h 1085063"/>
                <a:gd name="connsiteX2" fmla="*/ 0 w 889651"/>
                <a:gd name="connsiteY2" fmla="*/ 0 h 1085063"/>
                <a:gd name="connsiteX3" fmla="*/ 0 w 889651"/>
                <a:gd name="connsiteY3" fmla="*/ 125730 h 1085063"/>
                <a:gd name="connsiteX4" fmla="*/ 749618 w 889651"/>
                <a:gd name="connsiteY4" fmla="*/ 508635 h 1085063"/>
                <a:gd name="connsiteX5" fmla="*/ 778193 w 889651"/>
                <a:gd name="connsiteY5" fmla="*/ 567690 h 1085063"/>
                <a:gd name="connsiteX6" fmla="*/ 778193 w 889651"/>
                <a:gd name="connsiteY6" fmla="*/ 784860 h 1085063"/>
                <a:gd name="connsiteX7" fmla="*/ 778193 w 889651"/>
                <a:gd name="connsiteY7" fmla="*/ 939165 h 1085063"/>
                <a:gd name="connsiteX8" fmla="*/ 778193 w 889651"/>
                <a:gd name="connsiteY8" fmla="*/ 1064895 h 1085063"/>
                <a:gd name="connsiteX9" fmla="*/ 800100 w 889651"/>
                <a:gd name="connsiteY9" fmla="*/ 1076325 h 1085063"/>
                <a:gd name="connsiteX10" fmla="*/ 889635 w 889651"/>
                <a:gd name="connsiteY10" fmla="*/ 1008698 h 1085063"/>
                <a:gd name="connsiteX11" fmla="*/ 889635 w 889651"/>
                <a:gd name="connsiteY11" fmla="*/ 567690 h 1085063"/>
                <a:gd name="connsiteX12" fmla="*/ 801053 w 889651"/>
                <a:gd name="connsiteY12" fmla="*/ 408623 h 10850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89651" h="1085063">
                  <a:moveTo>
                    <a:pt x="801053" y="408623"/>
                  </a:moveTo>
                  <a:lnTo>
                    <a:pt x="100965" y="51435"/>
                  </a:lnTo>
                  <a:lnTo>
                    <a:pt x="0" y="0"/>
                  </a:lnTo>
                  <a:lnTo>
                    <a:pt x="0" y="125730"/>
                  </a:lnTo>
                  <a:lnTo>
                    <a:pt x="749618" y="508635"/>
                  </a:lnTo>
                  <a:cubicBezTo>
                    <a:pt x="763905" y="517208"/>
                    <a:pt x="778193" y="550545"/>
                    <a:pt x="778193" y="567690"/>
                  </a:cubicBezTo>
                  <a:lnTo>
                    <a:pt x="778193" y="784860"/>
                  </a:lnTo>
                  <a:lnTo>
                    <a:pt x="778193" y="939165"/>
                  </a:lnTo>
                  <a:lnTo>
                    <a:pt x="778193" y="1064895"/>
                  </a:lnTo>
                  <a:lnTo>
                    <a:pt x="800100" y="1076325"/>
                  </a:lnTo>
                  <a:cubicBezTo>
                    <a:pt x="849630" y="1101090"/>
                    <a:pt x="889635" y="1071563"/>
                    <a:pt x="889635" y="1008698"/>
                  </a:cubicBezTo>
                  <a:lnTo>
                    <a:pt x="889635" y="567690"/>
                  </a:lnTo>
                  <a:cubicBezTo>
                    <a:pt x="890588" y="504825"/>
                    <a:pt x="849630" y="433388"/>
                    <a:pt x="801053" y="408623"/>
                  </a:cubicBezTo>
                  <a:close/>
                </a:path>
              </a:pathLst>
            </a:custGeom>
            <a:solidFill>
              <a:schemeClr val="accent5"/>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1" name="Freeform: Shape 7">
              <a:extLst>
                <a:ext uri="{FF2B5EF4-FFF2-40B4-BE49-F238E27FC236}">
                  <a16:creationId xmlns:a16="http://schemas.microsoft.com/office/drawing/2014/main" id="{BE9E6559-175D-4ED8-9097-0EFD87462518}"/>
                </a:ext>
              </a:extLst>
            </p:cNvPr>
            <p:cNvSpPr/>
            <p:nvPr/>
          </p:nvSpPr>
          <p:spPr>
            <a:xfrm>
              <a:off x="5084854" y="2734467"/>
              <a:ext cx="881605" cy="876959"/>
            </a:xfrm>
            <a:custGeom>
              <a:avLst/>
              <a:gdLst>
                <a:gd name="connsiteX0" fmla="*/ 271463 w 541972"/>
                <a:gd name="connsiteY0" fmla="*/ 539115 h 539115"/>
                <a:gd name="connsiteX1" fmla="*/ 541972 w 541972"/>
                <a:gd name="connsiteY1" fmla="*/ 269558 h 539115"/>
                <a:gd name="connsiteX2" fmla="*/ 271463 w 541972"/>
                <a:gd name="connsiteY2" fmla="*/ 0 h 539115"/>
                <a:gd name="connsiteX3" fmla="*/ 0 w 541972"/>
                <a:gd name="connsiteY3" fmla="*/ 269558 h 539115"/>
                <a:gd name="connsiteX4" fmla="*/ 271463 w 541972"/>
                <a:gd name="connsiteY4" fmla="*/ 539115 h 5391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1972" h="539115">
                  <a:moveTo>
                    <a:pt x="271463" y="539115"/>
                  </a:moveTo>
                  <a:cubicBezTo>
                    <a:pt x="421005" y="539115"/>
                    <a:pt x="541972" y="418148"/>
                    <a:pt x="541972" y="269558"/>
                  </a:cubicBezTo>
                  <a:cubicBezTo>
                    <a:pt x="541972" y="120968"/>
                    <a:pt x="420053" y="0"/>
                    <a:pt x="271463" y="0"/>
                  </a:cubicBezTo>
                  <a:cubicBezTo>
                    <a:pt x="121920" y="0"/>
                    <a:pt x="0" y="120968"/>
                    <a:pt x="0" y="269558"/>
                  </a:cubicBezTo>
                  <a:cubicBezTo>
                    <a:pt x="952" y="418148"/>
                    <a:pt x="122873" y="539115"/>
                    <a:pt x="271463" y="539115"/>
                  </a:cubicBezTo>
                  <a:close/>
                </a:path>
              </a:pathLst>
            </a:custGeom>
            <a:solidFill>
              <a:schemeClr val="accent5"/>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useBgFill="1">
          <p:nvSpPr>
            <p:cNvPr id="12" name="Freeform: Shape 8">
              <a:extLst>
                <a:ext uri="{FF2B5EF4-FFF2-40B4-BE49-F238E27FC236}">
                  <a16:creationId xmlns:a16="http://schemas.microsoft.com/office/drawing/2014/main" id="{D7DF3535-C298-4B41-ACED-6C67D51615BA}"/>
                </a:ext>
              </a:extLst>
            </p:cNvPr>
            <p:cNvSpPr/>
            <p:nvPr/>
          </p:nvSpPr>
          <p:spPr>
            <a:xfrm>
              <a:off x="5166196" y="2816585"/>
              <a:ext cx="718921" cy="712722"/>
            </a:xfrm>
            <a:custGeom>
              <a:avLst/>
              <a:gdLst>
                <a:gd name="connsiteX0" fmla="*/ 220980 w 441959"/>
                <a:gd name="connsiteY0" fmla="*/ 438150 h 438150"/>
                <a:gd name="connsiteX1" fmla="*/ 441960 w 441959"/>
                <a:gd name="connsiteY1" fmla="*/ 219075 h 438150"/>
                <a:gd name="connsiteX2" fmla="*/ 220980 w 441959"/>
                <a:gd name="connsiteY2" fmla="*/ 0 h 438150"/>
                <a:gd name="connsiteX3" fmla="*/ 0 w 441959"/>
                <a:gd name="connsiteY3" fmla="*/ 219075 h 438150"/>
                <a:gd name="connsiteX4" fmla="*/ 220980 w 441959"/>
                <a:gd name="connsiteY4" fmla="*/ 438150 h 438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1959" h="438150">
                  <a:moveTo>
                    <a:pt x="220980" y="438150"/>
                  </a:moveTo>
                  <a:cubicBezTo>
                    <a:pt x="342900" y="438150"/>
                    <a:pt x="441960" y="339090"/>
                    <a:pt x="441960" y="219075"/>
                  </a:cubicBezTo>
                  <a:cubicBezTo>
                    <a:pt x="441960" y="99060"/>
                    <a:pt x="342900" y="0"/>
                    <a:pt x="220980" y="0"/>
                  </a:cubicBezTo>
                  <a:cubicBezTo>
                    <a:pt x="99060" y="0"/>
                    <a:pt x="0" y="99060"/>
                    <a:pt x="0" y="219075"/>
                  </a:cubicBezTo>
                  <a:cubicBezTo>
                    <a:pt x="0" y="339090"/>
                    <a:pt x="99060" y="438150"/>
                    <a:pt x="220980" y="438150"/>
                  </a:cubicBezTo>
                  <a:close/>
                </a:path>
              </a:pathLst>
            </a:custGeom>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grpSp>
        <p:nvGrpSpPr>
          <p:cNvPr id="13" name="Group 31">
            <a:extLst>
              <a:ext uri="{FF2B5EF4-FFF2-40B4-BE49-F238E27FC236}">
                <a16:creationId xmlns:a16="http://schemas.microsoft.com/office/drawing/2014/main" id="{0364C3C8-660D-45C2-87C7-7403E3AC3D4B}"/>
              </a:ext>
            </a:extLst>
          </p:cNvPr>
          <p:cNvGrpSpPr/>
          <p:nvPr/>
        </p:nvGrpSpPr>
        <p:grpSpPr>
          <a:xfrm>
            <a:off x="6022199" y="2664477"/>
            <a:ext cx="2294824" cy="2279006"/>
            <a:chOff x="6022199" y="2664477"/>
            <a:chExt cx="2294824" cy="2279006"/>
          </a:xfrm>
        </p:grpSpPr>
        <p:sp>
          <p:nvSpPr>
            <p:cNvPr id="14" name="Freeform: Shape 9">
              <a:extLst>
                <a:ext uri="{FF2B5EF4-FFF2-40B4-BE49-F238E27FC236}">
                  <a16:creationId xmlns:a16="http://schemas.microsoft.com/office/drawing/2014/main" id="{D82FB7A7-F8FA-4F97-91A4-DFE94E42B0A8}"/>
                </a:ext>
              </a:extLst>
            </p:cNvPr>
            <p:cNvSpPr/>
            <p:nvPr/>
          </p:nvSpPr>
          <p:spPr>
            <a:xfrm>
              <a:off x="6022199" y="3468524"/>
              <a:ext cx="1209309" cy="1474959"/>
            </a:xfrm>
            <a:custGeom>
              <a:avLst/>
              <a:gdLst>
                <a:gd name="connsiteX0" fmla="*/ 89535 w 889635"/>
                <a:gd name="connsiteY0" fmla="*/ 408622 h 1085063"/>
                <a:gd name="connsiteX1" fmla="*/ 788670 w 889635"/>
                <a:gd name="connsiteY1" fmla="*/ 51435 h 1085063"/>
                <a:gd name="connsiteX2" fmla="*/ 889635 w 889635"/>
                <a:gd name="connsiteY2" fmla="*/ 0 h 1085063"/>
                <a:gd name="connsiteX3" fmla="*/ 889635 w 889635"/>
                <a:gd name="connsiteY3" fmla="*/ 125730 h 1085063"/>
                <a:gd name="connsiteX4" fmla="*/ 140017 w 889635"/>
                <a:gd name="connsiteY4" fmla="*/ 508635 h 1085063"/>
                <a:gd name="connsiteX5" fmla="*/ 111442 w 889635"/>
                <a:gd name="connsiteY5" fmla="*/ 567690 h 1085063"/>
                <a:gd name="connsiteX6" fmla="*/ 111442 w 889635"/>
                <a:gd name="connsiteY6" fmla="*/ 784860 h 1085063"/>
                <a:gd name="connsiteX7" fmla="*/ 111442 w 889635"/>
                <a:gd name="connsiteY7" fmla="*/ 939165 h 1085063"/>
                <a:gd name="connsiteX8" fmla="*/ 111442 w 889635"/>
                <a:gd name="connsiteY8" fmla="*/ 1064895 h 1085063"/>
                <a:gd name="connsiteX9" fmla="*/ 89535 w 889635"/>
                <a:gd name="connsiteY9" fmla="*/ 1076325 h 1085063"/>
                <a:gd name="connsiteX10" fmla="*/ 0 w 889635"/>
                <a:gd name="connsiteY10" fmla="*/ 1008697 h 1085063"/>
                <a:gd name="connsiteX11" fmla="*/ 0 w 889635"/>
                <a:gd name="connsiteY11" fmla="*/ 567690 h 1085063"/>
                <a:gd name="connsiteX12" fmla="*/ 89535 w 889635"/>
                <a:gd name="connsiteY12" fmla="*/ 408622 h 10850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89635" h="1085063">
                  <a:moveTo>
                    <a:pt x="89535" y="408622"/>
                  </a:moveTo>
                  <a:lnTo>
                    <a:pt x="788670" y="51435"/>
                  </a:lnTo>
                  <a:lnTo>
                    <a:pt x="889635" y="0"/>
                  </a:lnTo>
                  <a:lnTo>
                    <a:pt x="889635" y="125730"/>
                  </a:lnTo>
                  <a:lnTo>
                    <a:pt x="140017" y="508635"/>
                  </a:lnTo>
                  <a:cubicBezTo>
                    <a:pt x="125730" y="517208"/>
                    <a:pt x="111442" y="550545"/>
                    <a:pt x="111442" y="567690"/>
                  </a:cubicBezTo>
                  <a:lnTo>
                    <a:pt x="111442" y="784860"/>
                  </a:lnTo>
                  <a:lnTo>
                    <a:pt x="111442" y="939165"/>
                  </a:lnTo>
                  <a:lnTo>
                    <a:pt x="111442" y="1064895"/>
                  </a:lnTo>
                  <a:lnTo>
                    <a:pt x="89535" y="1076325"/>
                  </a:lnTo>
                  <a:cubicBezTo>
                    <a:pt x="40005" y="1101090"/>
                    <a:pt x="0" y="1071563"/>
                    <a:pt x="0" y="1008697"/>
                  </a:cubicBezTo>
                  <a:lnTo>
                    <a:pt x="0" y="567690"/>
                  </a:lnTo>
                  <a:cubicBezTo>
                    <a:pt x="0" y="504825"/>
                    <a:pt x="40958" y="433388"/>
                    <a:pt x="89535" y="408622"/>
                  </a:cubicBezTo>
                  <a:close/>
                </a:path>
              </a:pathLst>
            </a:custGeom>
            <a:solidFill>
              <a:schemeClr val="accent4"/>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5" name="Freeform: Shape 11">
              <a:extLst>
                <a:ext uri="{FF2B5EF4-FFF2-40B4-BE49-F238E27FC236}">
                  <a16:creationId xmlns:a16="http://schemas.microsoft.com/office/drawing/2014/main" id="{56824E94-756D-4160-BB8A-811A8D8761D1}"/>
                </a:ext>
              </a:extLst>
            </p:cNvPr>
            <p:cNvSpPr/>
            <p:nvPr/>
          </p:nvSpPr>
          <p:spPr>
            <a:xfrm>
              <a:off x="7142673" y="2664477"/>
              <a:ext cx="1174350" cy="1035809"/>
            </a:xfrm>
            <a:custGeom>
              <a:avLst/>
              <a:gdLst>
                <a:gd name="connsiteX0" fmla="*/ 191453 w 863917"/>
                <a:gd name="connsiteY0" fmla="*/ 762000 h 761999"/>
                <a:gd name="connsiteX1" fmla="*/ 554355 w 863917"/>
                <a:gd name="connsiteY1" fmla="*/ 762000 h 761999"/>
                <a:gd name="connsiteX2" fmla="*/ 863917 w 863917"/>
                <a:gd name="connsiteY2" fmla="*/ 381000 h 761999"/>
                <a:gd name="connsiteX3" fmla="*/ 863917 w 863917"/>
                <a:gd name="connsiteY3" fmla="*/ 0 h 761999"/>
                <a:gd name="connsiteX4" fmla="*/ 289560 w 863917"/>
                <a:gd name="connsiteY4" fmla="*/ 952 h 761999"/>
                <a:gd name="connsiteX5" fmla="*/ 0 w 863917"/>
                <a:gd name="connsiteY5" fmla="*/ 381000 h 761999"/>
                <a:gd name="connsiteX6" fmla="*/ 0 w 863917"/>
                <a:gd name="connsiteY6" fmla="*/ 570548 h 761999"/>
                <a:gd name="connsiteX7" fmla="*/ 191453 w 863917"/>
                <a:gd name="connsiteY7" fmla="*/ 762000 h 761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63917" h="761999">
                  <a:moveTo>
                    <a:pt x="191453" y="762000"/>
                  </a:moveTo>
                  <a:lnTo>
                    <a:pt x="554355" y="762000"/>
                  </a:lnTo>
                  <a:cubicBezTo>
                    <a:pt x="724853" y="762000"/>
                    <a:pt x="863917" y="590550"/>
                    <a:pt x="863917" y="381000"/>
                  </a:cubicBezTo>
                  <a:lnTo>
                    <a:pt x="863917" y="0"/>
                  </a:lnTo>
                  <a:lnTo>
                    <a:pt x="289560" y="952"/>
                  </a:lnTo>
                  <a:cubicBezTo>
                    <a:pt x="127635" y="14288"/>
                    <a:pt x="0" y="180975"/>
                    <a:pt x="0" y="381000"/>
                  </a:cubicBezTo>
                  <a:lnTo>
                    <a:pt x="0" y="570548"/>
                  </a:lnTo>
                  <a:cubicBezTo>
                    <a:pt x="953" y="676275"/>
                    <a:pt x="86678" y="762000"/>
                    <a:pt x="191453" y="762000"/>
                  </a:cubicBezTo>
                  <a:close/>
                </a:path>
              </a:pathLst>
            </a:custGeom>
            <a:solidFill>
              <a:schemeClr val="accent4"/>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6" name="Freeform: Shape 12">
              <a:extLst>
                <a:ext uri="{FF2B5EF4-FFF2-40B4-BE49-F238E27FC236}">
                  <a16:creationId xmlns:a16="http://schemas.microsoft.com/office/drawing/2014/main" id="{D1FEBB49-757C-464D-A790-21AF045C7E6D}"/>
                </a:ext>
              </a:extLst>
            </p:cNvPr>
            <p:cNvSpPr/>
            <p:nvPr/>
          </p:nvSpPr>
          <p:spPr>
            <a:xfrm>
              <a:off x="6229296" y="3409040"/>
              <a:ext cx="883156" cy="876954"/>
            </a:xfrm>
            <a:custGeom>
              <a:avLst/>
              <a:gdLst>
                <a:gd name="connsiteX0" fmla="*/ 271463 w 542925"/>
                <a:gd name="connsiteY0" fmla="*/ 539115 h 539114"/>
                <a:gd name="connsiteX1" fmla="*/ 542925 w 542925"/>
                <a:gd name="connsiteY1" fmla="*/ 269558 h 539114"/>
                <a:gd name="connsiteX2" fmla="*/ 271463 w 542925"/>
                <a:gd name="connsiteY2" fmla="*/ 0 h 539114"/>
                <a:gd name="connsiteX3" fmla="*/ 0 w 542925"/>
                <a:gd name="connsiteY3" fmla="*/ 269558 h 539114"/>
                <a:gd name="connsiteX4" fmla="*/ 271463 w 542925"/>
                <a:gd name="connsiteY4" fmla="*/ 539115 h 5391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2925" h="539114">
                  <a:moveTo>
                    <a:pt x="271463" y="539115"/>
                  </a:moveTo>
                  <a:cubicBezTo>
                    <a:pt x="421005" y="539115"/>
                    <a:pt x="542925" y="418147"/>
                    <a:pt x="542925" y="269558"/>
                  </a:cubicBezTo>
                  <a:cubicBezTo>
                    <a:pt x="542925" y="120967"/>
                    <a:pt x="421005" y="0"/>
                    <a:pt x="271463" y="0"/>
                  </a:cubicBezTo>
                  <a:cubicBezTo>
                    <a:pt x="121920" y="0"/>
                    <a:pt x="0" y="120967"/>
                    <a:pt x="0" y="269558"/>
                  </a:cubicBezTo>
                  <a:cubicBezTo>
                    <a:pt x="0" y="418147"/>
                    <a:pt x="121920" y="539115"/>
                    <a:pt x="271463" y="539115"/>
                  </a:cubicBezTo>
                  <a:close/>
                </a:path>
              </a:pathLst>
            </a:custGeom>
            <a:solidFill>
              <a:schemeClr val="accent4"/>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useBgFill="1">
          <p:nvSpPr>
            <p:cNvPr id="17" name="Freeform: Shape 13">
              <a:extLst>
                <a:ext uri="{FF2B5EF4-FFF2-40B4-BE49-F238E27FC236}">
                  <a16:creationId xmlns:a16="http://schemas.microsoft.com/office/drawing/2014/main" id="{5664C5BB-45A0-4C7B-9E31-3D8F0199ED56}"/>
                </a:ext>
              </a:extLst>
            </p:cNvPr>
            <p:cNvSpPr/>
            <p:nvPr/>
          </p:nvSpPr>
          <p:spPr>
            <a:xfrm>
              <a:off x="6311414" y="3491156"/>
              <a:ext cx="718921" cy="712722"/>
            </a:xfrm>
            <a:custGeom>
              <a:avLst/>
              <a:gdLst>
                <a:gd name="connsiteX0" fmla="*/ 220980 w 441960"/>
                <a:gd name="connsiteY0" fmla="*/ 438150 h 438150"/>
                <a:gd name="connsiteX1" fmla="*/ 441960 w 441960"/>
                <a:gd name="connsiteY1" fmla="*/ 219075 h 438150"/>
                <a:gd name="connsiteX2" fmla="*/ 220980 w 441960"/>
                <a:gd name="connsiteY2" fmla="*/ 0 h 438150"/>
                <a:gd name="connsiteX3" fmla="*/ 0 w 441960"/>
                <a:gd name="connsiteY3" fmla="*/ 219075 h 438150"/>
                <a:gd name="connsiteX4" fmla="*/ 220980 w 441960"/>
                <a:gd name="connsiteY4" fmla="*/ 438150 h 438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1960" h="438150">
                  <a:moveTo>
                    <a:pt x="220980" y="438150"/>
                  </a:moveTo>
                  <a:cubicBezTo>
                    <a:pt x="342900" y="438150"/>
                    <a:pt x="441960" y="339090"/>
                    <a:pt x="441960" y="219075"/>
                  </a:cubicBezTo>
                  <a:cubicBezTo>
                    <a:pt x="441960" y="98108"/>
                    <a:pt x="342900" y="0"/>
                    <a:pt x="220980" y="0"/>
                  </a:cubicBezTo>
                  <a:cubicBezTo>
                    <a:pt x="99060" y="0"/>
                    <a:pt x="0" y="99060"/>
                    <a:pt x="0" y="219075"/>
                  </a:cubicBezTo>
                  <a:cubicBezTo>
                    <a:pt x="0" y="339090"/>
                    <a:pt x="99060" y="438150"/>
                    <a:pt x="220980" y="438150"/>
                  </a:cubicBezTo>
                  <a:close/>
                </a:path>
              </a:pathLst>
            </a:custGeom>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grpSp>
        <p:nvGrpSpPr>
          <p:cNvPr id="18" name="Group 30">
            <a:extLst>
              <a:ext uri="{FF2B5EF4-FFF2-40B4-BE49-F238E27FC236}">
                <a16:creationId xmlns:a16="http://schemas.microsoft.com/office/drawing/2014/main" id="{A1945335-11AC-4478-906D-335D4E6E38AF}"/>
              </a:ext>
            </a:extLst>
          </p:cNvPr>
          <p:cNvGrpSpPr/>
          <p:nvPr/>
        </p:nvGrpSpPr>
        <p:grpSpPr>
          <a:xfrm>
            <a:off x="3880153" y="3339048"/>
            <a:ext cx="2294827" cy="2279006"/>
            <a:chOff x="3880153" y="3339048"/>
            <a:chExt cx="2294827" cy="2279006"/>
          </a:xfrm>
        </p:grpSpPr>
        <p:sp>
          <p:nvSpPr>
            <p:cNvPr id="19" name="Freeform: Shape 14">
              <a:extLst>
                <a:ext uri="{FF2B5EF4-FFF2-40B4-BE49-F238E27FC236}">
                  <a16:creationId xmlns:a16="http://schemas.microsoft.com/office/drawing/2014/main" id="{8049C3C3-90C5-465F-9C10-B81B82EEBD23}"/>
                </a:ext>
              </a:extLst>
            </p:cNvPr>
            <p:cNvSpPr/>
            <p:nvPr/>
          </p:nvSpPr>
          <p:spPr>
            <a:xfrm>
              <a:off x="4965671" y="4143095"/>
              <a:ext cx="1209309" cy="1474959"/>
            </a:xfrm>
            <a:custGeom>
              <a:avLst/>
              <a:gdLst>
                <a:gd name="connsiteX0" fmla="*/ 800100 w 889635"/>
                <a:gd name="connsiteY0" fmla="*/ 408623 h 1085063"/>
                <a:gd name="connsiteX1" fmla="*/ 100965 w 889635"/>
                <a:gd name="connsiteY1" fmla="*/ 51435 h 1085063"/>
                <a:gd name="connsiteX2" fmla="*/ 0 w 889635"/>
                <a:gd name="connsiteY2" fmla="*/ 0 h 1085063"/>
                <a:gd name="connsiteX3" fmla="*/ 0 w 889635"/>
                <a:gd name="connsiteY3" fmla="*/ 125730 h 1085063"/>
                <a:gd name="connsiteX4" fmla="*/ 749618 w 889635"/>
                <a:gd name="connsiteY4" fmla="*/ 508635 h 1085063"/>
                <a:gd name="connsiteX5" fmla="*/ 778193 w 889635"/>
                <a:gd name="connsiteY5" fmla="*/ 567690 h 1085063"/>
                <a:gd name="connsiteX6" fmla="*/ 778193 w 889635"/>
                <a:gd name="connsiteY6" fmla="*/ 784860 h 1085063"/>
                <a:gd name="connsiteX7" fmla="*/ 778193 w 889635"/>
                <a:gd name="connsiteY7" fmla="*/ 939165 h 1085063"/>
                <a:gd name="connsiteX8" fmla="*/ 778193 w 889635"/>
                <a:gd name="connsiteY8" fmla="*/ 1064895 h 1085063"/>
                <a:gd name="connsiteX9" fmla="*/ 800100 w 889635"/>
                <a:gd name="connsiteY9" fmla="*/ 1076325 h 1085063"/>
                <a:gd name="connsiteX10" fmla="*/ 889635 w 889635"/>
                <a:gd name="connsiteY10" fmla="*/ 1008697 h 1085063"/>
                <a:gd name="connsiteX11" fmla="*/ 889635 w 889635"/>
                <a:gd name="connsiteY11" fmla="*/ 567690 h 1085063"/>
                <a:gd name="connsiteX12" fmla="*/ 800100 w 889635"/>
                <a:gd name="connsiteY12" fmla="*/ 408623 h 10850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89635" h="1085063">
                  <a:moveTo>
                    <a:pt x="800100" y="408623"/>
                  </a:moveTo>
                  <a:lnTo>
                    <a:pt x="100965" y="51435"/>
                  </a:lnTo>
                  <a:lnTo>
                    <a:pt x="0" y="0"/>
                  </a:lnTo>
                  <a:lnTo>
                    <a:pt x="0" y="125730"/>
                  </a:lnTo>
                  <a:lnTo>
                    <a:pt x="749618" y="508635"/>
                  </a:lnTo>
                  <a:cubicBezTo>
                    <a:pt x="763905" y="517208"/>
                    <a:pt x="778193" y="550545"/>
                    <a:pt x="778193" y="567690"/>
                  </a:cubicBezTo>
                  <a:lnTo>
                    <a:pt x="778193" y="784860"/>
                  </a:lnTo>
                  <a:lnTo>
                    <a:pt x="778193" y="939165"/>
                  </a:lnTo>
                  <a:lnTo>
                    <a:pt x="778193" y="1064895"/>
                  </a:lnTo>
                  <a:lnTo>
                    <a:pt x="800100" y="1076325"/>
                  </a:lnTo>
                  <a:cubicBezTo>
                    <a:pt x="849630" y="1101090"/>
                    <a:pt x="889635" y="1071563"/>
                    <a:pt x="889635" y="1008697"/>
                  </a:cubicBezTo>
                  <a:lnTo>
                    <a:pt x="889635" y="567690"/>
                  </a:lnTo>
                  <a:cubicBezTo>
                    <a:pt x="889635" y="504825"/>
                    <a:pt x="848678" y="433388"/>
                    <a:pt x="800100" y="408623"/>
                  </a:cubicBezTo>
                  <a:close/>
                </a:path>
              </a:pathLst>
            </a:custGeom>
            <a:solidFill>
              <a:schemeClr val="accent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0" name="Freeform: Shape 16">
              <a:extLst>
                <a:ext uri="{FF2B5EF4-FFF2-40B4-BE49-F238E27FC236}">
                  <a16:creationId xmlns:a16="http://schemas.microsoft.com/office/drawing/2014/main" id="{BD30EBCF-B937-427B-9AC1-51B4E740B601}"/>
                </a:ext>
              </a:extLst>
            </p:cNvPr>
            <p:cNvSpPr/>
            <p:nvPr/>
          </p:nvSpPr>
          <p:spPr>
            <a:xfrm>
              <a:off x="3880153" y="3339048"/>
              <a:ext cx="1174350" cy="1035809"/>
            </a:xfrm>
            <a:custGeom>
              <a:avLst/>
              <a:gdLst>
                <a:gd name="connsiteX0" fmla="*/ 672465 w 863917"/>
                <a:gd name="connsiteY0" fmla="*/ 762000 h 762000"/>
                <a:gd name="connsiteX1" fmla="*/ 309563 w 863917"/>
                <a:gd name="connsiteY1" fmla="*/ 762000 h 762000"/>
                <a:gd name="connsiteX2" fmla="*/ 0 w 863917"/>
                <a:gd name="connsiteY2" fmla="*/ 381000 h 762000"/>
                <a:gd name="connsiteX3" fmla="*/ 0 w 863917"/>
                <a:gd name="connsiteY3" fmla="*/ 0 h 762000"/>
                <a:gd name="connsiteX4" fmla="*/ 574358 w 863917"/>
                <a:gd name="connsiteY4" fmla="*/ 952 h 762000"/>
                <a:gd name="connsiteX5" fmla="*/ 863918 w 863917"/>
                <a:gd name="connsiteY5" fmla="*/ 381000 h 762000"/>
                <a:gd name="connsiteX6" fmla="*/ 863918 w 863917"/>
                <a:gd name="connsiteY6" fmla="*/ 570547 h 762000"/>
                <a:gd name="connsiteX7" fmla="*/ 672465 w 863917"/>
                <a:gd name="connsiteY7" fmla="*/ 762000 h 76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63917" h="762000">
                  <a:moveTo>
                    <a:pt x="672465" y="762000"/>
                  </a:moveTo>
                  <a:lnTo>
                    <a:pt x="309563" y="762000"/>
                  </a:lnTo>
                  <a:cubicBezTo>
                    <a:pt x="139065" y="762000"/>
                    <a:pt x="0" y="590550"/>
                    <a:pt x="0" y="381000"/>
                  </a:cubicBezTo>
                  <a:lnTo>
                    <a:pt x="0" y="0"/>
                  </a:lnTo>
                  <a:lnTo>
                    <a:pt x="574358" y="952"/>
                  </a:lnTo>
                  <a:cubicBezTo>
                    <a:pt x="736283" y="14288"/>
                    <a:pt x="863918" y="180975"/>
                    <a:pt x="863918" y="381000"/>
                  </a:cubicBezTo>
                  <a:lnTo>
                    <a:pt x="863918" y="570547"/>
                  </a:lnTo>
                  <a:cubicBezTo>
                    <a:pt x="862965" y="676275"/>
                    <a:pt x="777240" y="762000"/>
                    <a:pt x="672465" y="762000"/>
                  </a:cubicBezTo>
                  <a:close/>
                </a:path>
              </a:pathLst>
            </a:custGeom>
            <a:solidFill>
              <a:schemeClr val="accent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1" name="Freeform: Shape 17">
              <a:extLst>
                <a:ext uri="{FF2B5EF4-FFF2-40B4-BE49-F238E27FC236}">
                  <a16:creationId xmlns:a16="http://schemas.microsoft.com/office/drawing/2014/main" id="{AFEE3EEA-0352-49BB-ADE4-72C7B1D7C7B8}"/>
                </a:ext>
              </a:extLst>
            </p:cNvPr>
            <p:cNvSpPr/>
            <p:nvPr/>
          </p:nvSpPr>
          <p:spPr>
            <a:xfrm>
              <a:off x="5084853" y="4084903"/>
              <a:ext cx="881605" cy="876959"/>
            </a:xfrm>
            <a:custGeom>
              <a:avLst/>
              <a:gdLst>
                <a:gd name="connsiteX0" fmla="*/ 271463 w 541972"/>
                <a:gd name="connsiteY0" fmla="*/ 539115 h 539115"/>
                <a:gd name="connsiteX1" fmla="*/ 541972 w 541972"/>
                <a:gd name="connsiteY1" fmla="*/ 269558 h 539115"/>
                <a:gd name="connsiteX2" fmla="*/ 271463 w 541972"/>
                <a:gd name="connsiteY2" fmla="*/ 0 h 539115"/>
                <a:gd name="connsiteX3" fmla="*/ 0 w 541972"/>
                <a:gd name="connsiteY3" fmla="*/ 269558 h 539115"/>
                <a:gd name="connsiteX4" fmla="*/ 271463 w 541972"/>
                <a:gd name="connsiteY4" fmla="*/ 539115 h 5391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1972" h="539115">
                  <a:moveTo>
                    <a:pt x="271463" y="539115"/>
                  </a:moveTo>
                  <a:cubicBezTo>
                    <a:pt x="421005" y="539115"/>
                    <a:pt x="541972" y="418147"/>
                    <a:pt x="541972" y="269558"/>
                  </a:cubicBezTo>
                  <a:cubicBezTo>
                    <a:pt x="541972" y="120967"/>
                    <a:pt x="420053" y="0"/>
                    <a:pt x="271463" y="0"/>
                  </a:cubicBezTo>
                  <a:cubicBezTo>
                    <a:pt x="121920" y="0"/>
                    <a:pt x="0" y="120967"/>
                    <a:pt x="0" y="269558"/>
                  </a:cubicBezTo>
                  <a:cubicBezTo>
                    <a:pt x="952" y="418147"/>
                    <a:pt x="122873" y="539115"/>
                    <a:pt x="271463" y="539115"/>
                  </a:cubicBezTo>
                  <a:close/>
                </a:path>
              </a:pathLst>
            </a:custGeom>
            <a:solidFill>
              <a:schemeClr val="accent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useBgFill="1">
          <p:nvSpPr>
            <p:cNvPr id="22" name="Freeform: Shape 18">
              <a:extLst>
                <a:ext uri="{FF2B5EF4-FFF2-40B4-BE49-F238E27FC236}">
                  <a16:creationId xmlns:a16="http://schemas.microsoft.com/office/drawing/2014/main" id="{5C709BB8-C6F7-492B-802F-82DB110655D6}"/>
                </a:ext>
              </a:extLst>
            </p:cNvPr>
            <p:cNvSpPr/>
            <p:nvPr/>
          </p:nvSpPr>
          <p:spPr>
            <a:xfrm>
              <a:off x="5166195" y="4167021"/>
              <a:ext cx="718921" cy="712722"/>
            </a:xfrm>
            <a:custGeom>
              <a:avLst/>
              <a:gdLst>
                <a:gd name="connsiteX0" fmla="*/ 220980 w 441959"/>
                <a:gd name="connsiteY0" fmla="*/ 438150 h 438150"/>
                <a:gd name="connsiteX1" fmla="*/ 441960 w 441959"/>
                <a:gd name="connsiteY1" fmla="*/ 219075 h 438150"/>
                <a:gd name="connsiteX2" fmla="*/ 220980 w 441959"/>
                <a:gd name="connsiteY2" fmla="*/ 0 h 438150"/>
                <a:gd name="connsiteX3" fmla="*/ 0 w 441959"/>
                <a:gd name="connsiteY3" fmla="*/ 219075 h 438150"/>
                <a:gd name="connsiteX4" fmla="*/ 220980 w 441959"/>
                <a:gd name="connsiteY4" fmla="*/ 438150 h 438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1959" h="438150">
                  <a:moveTo>
                    <a:pt x="220980" y="438150"/>
                  </a:moveTo>
                  <a:cubicBezTo>
                    <a:pt x="342900" y="438150"/>
                    <a:pt x="441960" y="339090"/>
                    <a:pt x="441960" y="219075"/>
                  </a:cubicBezTo>
                  <a:cubicBezTo>
                    <a:pt x="441960" y="98108"/>
                    <a:pt x="342900" y="0"/>
                    <a:pt x="220980" y="0"/>
                  </a:cubicBezTo>
                  <a:cubicBezTo>
                    <a:pt x="99060" y="0"/>
                    <a:pt x="0" y="99060"/>
                    <a:pt x="0" y="219075"/>
                  </a:cubicBezTo>
                  <a:cubicBezTo>
                    <a:pt x="0" y="340042"/>
                    <a:pt x="99060" y="438150"/>
                    <a:pt x="220980" y="438150"/>
                  </a:cubicBezTo>
                  <a:close/>
                </a:path>
              </a:pathLst>
            </a:custGeom>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grpSp>
        <p:nvGrpSpPr>
          <p:cNvPr id="23" name="Group 29">
            <a:extLst>
              <a:ext uri="{FF2B5EF4-FFF2-40B4-BE49-F238E27FC236}">
                <a16:creationId xmlns:a16="http://schemas.microsoft.com/office/drawing/2014/main" id="{794A7A2F-2352-421B-A9CF-48945541F723}"/>
              </a:ext>
            </a:extLst>
          </p:cNvPr>
          <p:cNvGrpSpPr/>
          <p:nvPr/>
        </p:nvGrpSpPr>
        <p:grpSpPr>
          <a:xfrm>
            <a:off x="6022199" y="4014914"/>
            <a:ext cx="2294824" cy="2279005"/>
            <a:chOff x="6022199" y="4014914"/>
            <a:chExt cx="2294824" cy="2279005"/>
          </a:xfrm>
        </p:grpSpPr>
        <p:sp>
          <p:nvSpPr>
            <p:cNvPr id="24" name="Freeform: Shape 21">
              <a:extLst>
                <a:ext uri="{FF2B5EF4-FFF2-40B4-BE49-F238E27FC236}">
                  <a16:creationId xmlns:a16="http://schemas.microsoft.com/office/drawing/2014/main" id="{A6375579-1A0D-4FC9-9295-B834D0C0DDE6}"/>
                </a:ext>
              </a:extLst>
            </p:cNvPr>
            <p:cNvSpPr/>
            <p:nvPr/>
          </p:nvSpPr>
          <p:spPr>
            <a:xfrm>
              <a:off x="7142673" y="4014914"/>
              <a:ext cx="1174350" cy="1035809"/>
            </a:xfrm>
            <a:custGeom>
              <a:avLst/>
              <a:gdLst>
                <a:gd name="connsiteX0" fmla="*/ 191453 w 863917"/>
                <a:gd name="connsiteY0" fmla="*/ 762000 h 762000"/>
                <a:gd name="connsiteX1" fmla="*/ 554355 w 863917"/>
                <a:gd name="connsiteY1" fmla="*/ 762000 h 762000"/>
                <a:gd name="connsiteX2" fmla="*/ 863917 w 863917"/>
                <a:gd name="connsiteY2" fmla="*/ 381000 h 762000"/>
                <a:gd name="connsiteX3" fmla="*/ 863917 w 863917"/>
                <a:gd name="connsiteY3" fmla="*/ 0 h 762000"/>
                <a:gd name="connsiteX4" fmla="*/ 289560 w 863917"/>
                <a:gd name="connsiteY4" fmla="*/ 953 h 762000"/>
                <a:gd name="connsiteX5" fmla="*/ 0 w 863917"/>
                <a:gd name="connsiteY5" fmla="*/ 381000 h 762000"/>
                <a:gd name="connsiteX6" fmla="*/ 0 w 863917"/>
                <a:gd name="connsiteY6" fmla="*/ 570547 h 762000"/>
                <a:gd name="connsiteX7" fmla="*/ 191453 w 863917"/>
                <a:gd name="connsiteY7" fmla="*/ 762000 h 76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63917" h="762000">
                  <a:moveTo>
                    <a:pt x="191453" y="762000"/>
                  </a:moveTo>
                  <a:lnTo>
                    <a:pt x="554355" y="762000"/>
                  </a:lnTo>
                  <a:cubicBezTo>
                    <a:pt x="724853" y="762000"/>
                    <a:pt x="863917" y="590550"/>
                    <a:pt x="863917" y="381000"/>
                  </a:cubicBezTo>
                  <a:lnTo>
                    <a:pt x="863917" y="0"/>
                  </a:lnTo>
                  <a:lnTo>
                    <a:pt x="289560" y="953"/>
                  </a:lnTo>
                  <a:cubicBezTo>
                    <a:pt x="127635" y="14288"/>
                    <a:pt x="0" y="180975"/>
                    <a:pt x="0" y="381000"/>
                  </a:cubicBezTo>
                  <a:lnTo>
                    <a:pt x="0" y="570547"/>
                  </a:lnTo>
                  <a:cubicBezTo>
                    <a:pt x="953" y="676275"/>
                    <a:pt x="86678" y="762000"/>
                    <a:pt x="191453" y="762000"/>
                  </a:cubicBezTo>
                  <a:close/>
                </a:path>
              </a:pathLst>
            </a:custGeom>
            <a:solidFill>
              <a:schemeClr val="accent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5" name="Freeform: Shape 19">
              <a:extLst>
                <a:ext uri="{FF2B5EF4-FFF2-40B4-BE49-F238E27FC236}">
                  <a16:creationId xmlns:a16="http://schemas.microsoft.com/office/drawing/2014/main" id="{7FBC06DB-CCB8-4526-AC0B-BBE22AB7BC9F}"/>
                </a:ext>
              </a:extLst>
            </p:cNvPr>
            <p:cNvSpPr/>
            <p:nvPr/>
          </p:nvSpPr>
          <p:spPr>
            <a:xfrm>
              <a:off x="6022199" y="4818960"/>
              <a:ext cx="1209309" cy="1474959"/>
            </a:xfrm>
            <a:custGeom>
              <a:avLst/>
              <a:gdLst>
                <a:gd name="connsiteX0" fmla="*/ 89535 w 889635"/>
                <a:gd name="connsiteY0" fmla="*/ 408622 h 1085063"/>
                <a:gd name="connsiteX1" fmla="*/ 788670 w 889635"/>
                <a:gd name="connsiteY1" fmla="*/ 51435 h 1085063"/>
                <a:gd name="connsiteX2" fmla="*/ 889635 w 889635"/>
                <a:gd name="connsiteY2" fmla="*/ 0 h 1085063"/>
                <a:gd name="connsiteX3" fmla="*/ 889635 w 889635"/>
                <a:gd name="connsiteY3" fmla="*/ 125730 h 1085063"/>
                <a:gd name="connsiteX4" fmla="*/ 140017 w 889635"/>
                <a:gd name="connsiteY4" fmla="*/ 508635 h 1085063"/>
                <a:gd name="connsiteX5" fmla="*/ 111442 w 889635"/>
                <a:gd name="connsiteY5" fmla="*/ 567690 h 1085063"/>
                <a:gd name="connsiteX6" fmla="*/ 111442 w 889635"/>
                <a:gd name="connsiteY6" fmla="*/ 784860 h 1085063"/>
                <a:gd name="connsiteX7" fmla="*/ 111442 w 889635"/>
                <a:gd name="connsiteY7" fmla="*/ 939165 h 1085063"/>
                <a:gd name="connsiteX8" fmla="*/ 111442 w 889635"/>
                <a:gd name="connsiteY8" fmla="*/ 1064895 h 1085063"/>
                <a:gd name="connsiteX9" fmla="*/ 89535 w 889635"/>
                <a:gd name="connsiteY9" fmla="*/ 1076325 h 1085063"/>
                <a:gd name="connsiteX10" fmla="*/ 0 w 889635"/>
                <a:gd name="connsiteY10" fmla="*/ 1008697 h 1085063"/>
                <a:gd name="connsiteX11" fmla="*/ 0 w 889635"/>
                <a:gd name="connsiteY11" fmla="*/ 567690 h 1085063"/>
                <a:gd name="connsiteX12" fmla="*/ 89535 w 889635"/>
                <a:gd name="connsiteY12" fmla="*/ 408622 h 10850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89635" h="1085063">
                  <a:moveTo>
                    <a:pt x="89535" y="408622"/>
                  </a:moveTo>
                  <a:lnTo>
                    <a:pt x="788670" y="51435"/>
                  </a:lnTo>
                  <a:lnTo>
                    <a:pt x="889635" y="0"/>
                  </a:lnTo>
                  <a:lnTo>
                    <a:pt x="889635" y="125730"/>
                  </a:lnTo>
                  <a:lnTo>
                    <a:pt x="140017" y="508635"/>
                  </a:lnTo>
                  <a:cubicBezTo>
                    <a:pt x="125730" y="517207"/>
                    <a:pt x="111442" y="550545"/>
                    <a:pt x="111442" y="567690"/>
                  </a:cubicBezTo>
                  <a:lnTo>
                    <a:pt x="111442" y="784860"/>
                  </a:lnTo>
                  <a:lnTo>
                    <a:pt x="111442" y="939165"/>
                  </a:lnTo>
                  <a:lnTo>
                    <a:pt x="111442" y="1064895"/>
                  </a:lnTo>
                  <a:lnTo>
                    <a:pt x="89535" y="1076325"/>
                  </a:lnTo>
                  <a:cubicBezTo>
                    <a:pt x="40005" y="1101090"/>
                    <a:pt x="0" y="1071563"/>
                    <a:pt x="0" y="1008697"/>
                  </a:cubicBezTo>
                  <a:lnTo>
                    <a:pt x="0" y="567690"/>
                  </a:lnTo>
                  <a:cubicBezTo>
                    <a:pt x="0" y="504825"/>
                    <a:pt x="40958" y="433388"/>
                    <a:pt x="89535" y="408622"/>
                  </a:cubicBezTo>
                  <a:close/>
                </a:path>
              </a:pathLst>
            </a:custGeom>
            <a:solidFill>
              <a:schemeClr val="accent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6" name="Freeform: Shape 22">
              <a:extLst>
                <a:ext uri="{FF2B5EF4-FFF2-40B4-BE49-F238E27FC236}">
                  <a16:creationId xmlns:a16="http://schemas.microsoft.com/office/drawing/2014/main" id="{A1C88127-5BDA-4924-8D2F-6552B7D0ABE8}"/>
                </a:ext>
              </a:extLst>
            </p:cNvPr>
            <p:cNvSpPr/>
            <p:nvPr/>
          </p:nvSpPr>
          <p:spPr>
            <a:xfrm>
              <a:off x="6229296" y="4759476"/>
              <a:ext cx="883156" cy="876959"/>
            </a:xfrm>
            <a:custGeom>
              <a:avLst/>
              <a:gdLst>
                <a:gd name="connsiteX0" fmla="*/ 271463 w 542925"/>
                <a:gd name="connsiteY0" fmla="*/ 539115 h 539115"/>
                <a:gd name="connsiteX1" fmla="*/ 542925 w 542925"/>
                <a:gd name="connsiteY1" fmla="*/ 269557 h 539115"/>
                <a:gd name="connsiteX2" fmla="*/ 271463 w 542925"/>
                <a:gd name="connsiteY2" fmla="*/ 0 h 539115"/>
                <a:gd name="connsiteX3" fmla="*/ 0 w 542925"/>
                <a:gd name="connsiteY3" fmla="*/ 269557 h 539115"/>
                <a:gd name="connsiteX4" fmla="*/ 271463 w 542925"/>
                <a:gd name="connsiteY4" fmla="*/ 539115 h 5391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2925" h="539115">
                  <a:moveTo>
                    <a:pt x="271463" y="539115"/>
                  </a:moveTo>
                  <a:cubicBezTo>
                    <a:pt x="421005" y="539115"/>
                    <a:pt x="542925" y="418147"/>
                    <a:pt x="542925" y="269557"/>
                  </a:cubicBezTo>
                  <a:cubicBezTo>
                    <a:pt x="542925" y="120967"/>
                    <a:pt x="421005" y="0"/>
                    <a:pt x="271463" y="0"/>
                  </a:cubicBezTo>
                  <a:cubicBezTo>
                    <a:pt x="121920" y="0"/>
                    <a:pt x="0" y="120967"/>
                    <a:pt x="0" y="269557"/>
                  </a:cubicBezTo>
                  <a:cubicBezTo>
                    <a:pt x="0" y="418147"/>
                    <a:pt x="121920" y="539115"/>
                    <a:pt x="271463" y="539115"/>
                  </a:cubicBezTo>
                  <a:close/>
                </a:path>
              </a:pathLst>
            </a:custGeom>
            <a:solidFill>
              <a:schemeClr val="accent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useBgFill="1">
          <p:nvSpPr>
            <p:cNvPr id="27" name="Freeform: Shape 23">
              <a:extLst>
                <a:ext uri="{FF2B5EF4-FFF2-40B4-BE49-F238E27FC236}">
                  <a16:creationId xmlns:a16="http://schemas.microsoft.com/office/drawing/2014/main" id="{D2339EF9-2057-4F10-A364-ECCED19361E1}"/>
                </a:ext>
              </a:extLst>
            </p:cNvPr>
            <p:cNvSpPr/>
            <p:nvPr/>
          </p:nvSpPr>
          <p:spPr>
            <a:xfrm>
              <a:off x="6311414" y="4841594"/>
              <a:ext cx="718921" cy="712722"/>
            </a:xfrm>
            <a:custGeom>
              <a:avLst/>
              <a:gdLst>
                <a:gd name="connsiteX0" fmla="*/ 220980 w 441960"/>
                <a:gd name="connsiteY0" fmla="*/ 438150 h 438150"/>
                <a:gd name="connsiteX1" fmla="*/ 441960 w 441960"/>
                <a:gd name="connsiteY1" fmla="*/ 219075 h 438150"/>
                <a:gd name="connsiteX2" fmla="*/ 220980 w 441960"/>
                <a:gd name="connsiteY2" fmla="*/ 0 h 438150"/>
                <a:gd name="connsiteX3" fmla="*/ 0 w 441960"/>
                <a:gd name="connsiteY3" fmla="*/ 219075 h 438150"/>
                <a:gd name="connsiteX4" fmla="*/ 220980 w 441960"/>
                <a:gd name="connsiteY4" fmla="*/ 438150 h 438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1960" h="438150">
                  <a:moveTo>
                    <a:pt x="220980" y="438150"/>
                  </a:moveTo>
                  <a:cubicBezTo>
                    <a:pt x="342900" y="438150"/>
                    <a:pt x="441960" y="339090"/>
                    <a:pt x="441960" y="219075"/>
                  </a:cubicBezTo>
                  <a:cubicBezTo>
                    <a:pt x="441960" y="98108"/>
                    <a:pt x="342900" y="0"/>
                    <a:pt x="220980" y="0"/>
                  </a:cubicBezTo>
                  <a:cubicBezTo>
                    <a:pt x="99060" y="0"/>
                    <a:pt x="0" y="99060"/>
                    <a:pt x="0" y="219075"/>
                  </a:cubicBezTo>
                  <a:cubicBezTo>
                    <a:pt x="0" y="339090"/>
                    <a:pt x="99060" y="438150"/>
                    <a:pt x="220980" y="438150"/>
                  </a:cubicBezTo>
                  <a:close/>
                </a:path>
              </a:pathLst>
            </a:custGeom>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sp>
        <p:nvSpPr>
          <p:cNvPr id="28" name="Freeform: Shape 43">
            <a:extLst>
              <a:ext uri="{FF2B5EF4-FFF2-40B4-BE49-F238E27FC236}">
                <a16:creationId xmlns:a16="http://schemas.microsoft.com/office/drawing/2014/main" id="{4B6B1B04-4C40-45BB-85F1-25D402981D86}"/>
              </a:ext>
            </a:extLst>
          </p:cNvPr>
          <p:cNvSpPr/>
          <p:nvPr/>
        </p:nvSpPr>
        <p:spPr>
          <a:xfrm>
            <a:off x="6540272" y="3663051"/>
            <a:ext cx="261204" cy="368932"/>
          </a:xfrm>
          <a:custGeom>
            <a:avLst/>
            <a:gdLst>
              <a:gd name="connsiteX0" fmla="*/ 337185 w 674370"/>
              <a:gd name="connsiteY0" fmla="*/ 0 h 952500"/>
              <a:gd name="connsiteX1" fmla="*/ 0 w 674370"/>
              <a:gd name="connsiteY1" fmla="*/ 615315 h 952500"/>
              <a:gd name="connsiteX2" fmla="*/ 337185 w 674370"/>
              <a:gd name="connsiteY2" fmla="*/ 952500 h 952500"/>
              <a:gd name="connsiteX3" fmla="*/ 674370 w 674370"/>
              <a:gd name="connsiteY3" fmla="*/ 615315 h 952500"/>
              <a:gd name="connsiteX4" fmla="*/ 337185 w 674370"/>
              <a:gd name="connsiteY4" fmla="*/ 0 h 952500"/>
              <a:gd name="connsiteX5" fmla="*/ 332423 w 674370"/>
              <a:gd name="connsiteY5" fmla="*/ 876300 h 952500"/>
              <a:gd name="connsiteX6" fmla="*/ 76200 w 674370"/>
              <a:gd name="connsiteY6" fmla="*/ 654368 h 952500"/>
              <a:gd name="connsiteX7" fmla="*/ 121920 w 674370"/>
              <a:gd name="connsiteY7" fmla="*/ 641985 h 952500"/>
              <a:gd name="connsiteX8" fmla="*/ 341948 w 674370"/>
              <a:gd name="connsiteY8" fmla="*/ 830580 h 952500"/>
              <a:gd name="connsiteX9" fmla="*/ 332423 w 674370"/>
              <a:gd name="connsiteY9" fmla="*/ 876300 h 952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74370" h="952500">
                <a:moveTo>
                  <a:pt x="337185" y="0"/>
                </a:moveTo>
                <a:cubicBezTo>
                  <a:pt x="337185" y="0"/>
                  <a:pt x="0" y="429578"/>
                  <a:pt x="0" y="615315"/>
                </a:cubicBezTo>
                <a:cubicBezTo>
                  <a:pt x="0" y="801053"/>
                  <a:pt x="150495" y="952500"/>
                  <a:pt x="337185" y="952500"/>
                </a:cubicBezTo>
                <a:cubicBezTo>
                  <a:pt x="522923" y="952500"/>
                  <a:pt x="674370" y="802005"/>
                  <a:pt x="674370" y="615315"/>
                </a:cubicBezTo>
                <a:cubicBezTo>
                  <a:pt x="674370" y="429578"/>
                  <a:pt x="337185" y="0"/>
                  <a:pt x="337185" y="0"/>
                </a:cubicBezTo>
                <a:close/>
                <a:moveTo>
                  <a:pt x="332423" y="876300"/>
                </a:moveTo>
                <a:cubicBezTo>
                  <a:pt x="128588" y="834390"/>
                  <a:pt x="78105" y="661988"/>
                  <a:pt x="76200" y="654368"/>
                </a:cubicBezTo>
                <a:lnTo>
                  <a:pt x="121920" y="641985"/>
                </a:lnTo>
                <a:cubicBezTo>
                  <a:pt x="123825" y="648653"/>
                  <a:pt x="167640" y="794385"/>
                  <a:pt x="341948" y="830580"/>
                </a:cubicBezTo>
                <a:lnTo>
                  <a:pt x="332423" y="876300"/>
                </a:lnTo>
                <a:close/>
              </a:path>
            </a:pathLst>
          </a:custGeom>
          <a:solidFill>
            <a:schemeClr val="accent4"/>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9" name="Freeform: Shape 44">
            <a:extLst>
              <a:ext uri="{FF2B5EF4-FFF2-40B4-BE49-F238E27FC236}">
                <a16:creationId xmlns:a16="http://schemas.microsoft.com/office/drawing/2014/main" id="{1F003A02-27D5-4FDE-B3AD-E9229D9BF0E2}"/>
              </a:ext>
            </a:extLst>
          </p:cNvPr>
          <p:cNvSpPr/>
          <p:nvPr/>
        </p:nvSpPr>
        <p:spPr>
          <a:xfrm>
            <a:off x="5341167" y="3072960"/>
            <a:ext cx="368978" cy="199972"/>
          </a:xfrm>
          <a:custGeom>
            <a:avLst/>
            <a:gdLst>
              <a:gd name="connsiteX0" fmla="*/ 714375 w 952622"/>
              <a:gd name="connsiteY0" fmla="*/ 269590 h 516287"/>
              <a:gd name="connsiteX1" fmla="*/ 476250 w 952622"/>
              <a:gd name="connsiteY1" fmla="*/ 33 h 516287"/>
              <a:gd name="connsiteX2" fmla="*/ 307658 w 952622"/>
              <a:gd name="connsiteY2" fmla="*/ 209583 h 516287"/>
              <a:gd name="connsiteX3" fmla="*/ 139065 w 952622"/>
              <a:gd name="connsiteY3" fmla="*/ 359125 h 516287"/>
              <a:gd name="connsiteX4" fmla="*/ 0 w 952622"/>
              <a:gd name="connsiteY4" fmla="*/ 516288 h 516287"/>
              <a:gd name="connsiteX5" fmla="*/ 952500 w 952622"/>
              <a:gd name="connsiteY5" fmla="*/ 516288 h 516287"/>
              <a:gd name="connsiteX6" fmla="*/ 714375 w 952622"/>
              <a:gd name="connsiteY6" fmla="*/ 269590 h 516287"/>
              <a:gd name="connsiteX7" fmla="*/ 590550 w 952622"/>
              <a:gd name="connsiteY7" fmla="*/ 229585 h 516287"/>
              <a:gd name="connsiteX8" fmla="*/ 504825 w 952622"/>
              <a:gd name="connsiteY8" fmla="*/ 112428 h 516287"/>
              <a:gd name="connsiteX9" fmla="*/ 525780 w 952622"/>
              <a:gd name="connsiteY9" fmla="*/ 69565 h 516287"/>
              <a:gd name="connsiteX10" fmla="*/ 638175 w 952622"/>
              <a:gd name="connsiteY10" fmla="*/ 221013 h 516287"/>
              <a:gd name="connsiteX11" fmla="*/ 590550 w 952622"/>
              <a:gd name="connsiteY11" fmla="*/ 229585 h 516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52622" h="516287">
                <a:moveTo>
                  <a:pt x="714375" y="269590"/>
                </a:moveTo>
                <a:cubicBezTo>
                  <a:pt x="714375" y="269590"/>
                  <a:pt x="720090" y="33"/>
                  <a:pt x="476250" y="33"/>
                </a:cubicBezTo>
                <a:cubicBezTo>
                  <a:pt x="476250" y="33"/>
                  <a:pt x="307658" y="-7587"/>
                  <a:pt x="307658" y="209583"/>
                </a:cubicBezTo>
                <a:cubicBezTo>
                  <a:pt x="307658" y="209583"/>
                  <a:pt x="139065" y="179103"/>
                  <a:pt x="139065" y="359125"/>
                </a:cubicBezTo>
                <a:cubicBezTo>
                  <a:pt x="139065" y="359125"/>
                  <a:pt x="0" y="308643"/>
                  <a:pt x="0" y="516288"/>
                </a:cubicBezTo>
                <a:lnTo>
                  <a:pt x="952500" y="516288"/>
                </a:lnTo>
                <a:cubicBezTo>
                  <a:pt x="952500" y="516288"/>
                  <a:pt x="965835" y="269590"/>
                  <a:pt x="714375" y="269590"/>
                </a:cubicBezTo>
                <a:close/>
                <a:moveTo>
                  <a:pt x="590550" y="229585"/>
                </a:moveTo>
                <a:cubicBezTo>
                  <a:pt x="579120" y="174340"/>
                  <a:pt x="550545" y="134335"/>
                  <a:pt x="504825" y="112428"/>
                </a:cubicBezTo>
                <a:lnTo>
                  <a:pt x="525780" y="69565"/>
                </a:lnTo>
                <a:cubicBezTo>
                  <a:pt x="566738" y="89568"/>
                  <a:pt x="620078" y="132430"/>
                  <a:pt x="638175" y="221013"/>
                </a:cubicBezTo>
                <a:lnTo>
                  <a:pt x="590550" y="229585"/>
                </a:lnTo>
                <a:close/>
              </a:path>
            </a:pathLst>
          </a:custGeom>
          <a:solidFill>
            <a:schemeClr val="accent5"/>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nvGrpSpPr>
          <p:cNvPr id="30" name="Graphic 1">
            <a:extLst>
              <a:ext uri="{FF2B5EF4-FFF2-40B4-BE49-F238E27FC236}">
                <a16:creationId xmlns:a16="http://schemas.microsoft.com/office/drawing/2014/main" id="{4D396759-5FE5-40C5-95E7-79023827B8F0}"/>
              </a:ext>
            </a:extLst>
          </p:cNvPr>
          <p:cNvGrpSpPr/>
          <p:nvPr/>
        </p:nvGrpSpPr>
        <p:grpSpPr>
          <a:xfrm>
            <a:off x="5366462" y="5714806"/>
            <a:ext cx="318388" cy="318020"/>
            <a:chOff x="3634739" y="2474595"/>
            <a:chExt cx="822007" cy="821054"/>
          </a:xfrm>
          <a:solidFill>
            <a:schemeClr val="accent1"/>
          </a:solidFill>
        </p:grpSpPr>
        <p:sp>
          <p:nvSpPr>
            <p:cNvPr id="31" name="Freeform: Shape 46">
              <a:extLst>
                <a:ext uri="{FF2B5EF4-FFF2-40B4-BE49-F238E27FC236}">
                  <a16:creationId xmlns:a16="http://schemas.microsoft.com/office/drawing/2014/main" id="{57B05D0D-191B-4954-B28F-DC6A4C4EFD11}"/>
                </a:ext>
              </a:extLst>
            </p:cNvPr>
            <p:cNvSpPr/>
            <p:nvPr/>
          </p:nvSpPr>
          <p:spPr>
            <a:xfrm>
              <a:off x="3672702" y="2474595"/>
              <a:ext cx="784044" cy="784044"/>
            </a:xfrm>
            <a:custGeom>
              <a:avLst/>
              <a:gdLst>
                <a:gd name="connsiteX0" fmla="*/ 784045 w 784044"/>
                <a:gd name="connsiteY0" fmla="*/ 0 h 784044"/>
                <a:gd name="connsiteX1" fmla="*/ 584020 w 784044"/>
                <a:gd name="connsiteY1" fmla="*/ 683895 h 784044"/>
                <a:gd name="connsiteX2" fmla="*/ 115390 w 784044"/>
                <a:gd name="connsiteY2" fmla="*/ 698183 h 784044"/>
                <a:gd name="connsiteX3" fmla="*/ 180160 w 784044"/>
                <a:gd name="connsiteY3" fmla="*/ 633413 h 784044"/>
                <a:gd name="connsiteX4" fmla="*/ 387805 w 784044"/>
                <a:gd name="connsiteY4" fmla="*/ 609600 h 784044"/>
                <a:gd name="connsiteX5" fmla="*/ 383042 w 784044"/>
                <a:gd name="connsiteY5" fmla="*/ 568643 h 784044"/>
                <a:gd name="connsiteX6" fmla="*/ 226832 w 784044"/>
                <a:gd name="connsiteY6" fmla="*/ 586740 h 784044"/>
                <a:gd name="connsiteX7" fmla="*/ 302080 w 784044"/>
                <a:gd name="connsiteY7" fmla="*/ 511492 h 784044"/>
                <a:gd name="connsiteX8" fmla="*/ 509725 w 784044"/>
                <a:gd name="connsiteY8" fmla="*/ 487680 h 784044"/>
                <a:gd name="connsiteX9" fmla="*/ 504962 w 784044"/>
                <a:gd name="connsiteY9" fmla="*/ 446722 h 784044"/>
                <a:gd name="connsiteX10" fmla="*/ 348752 w 784044"/>
                <a:gd name="connsiteY10" fmla="*/ 464820 h 784044"/>
                <a:gd name="connsiteX11" fmla="*/ 504962 w 784044"/>
                <a:gd name="connsiteY11" fmla="*/ 308610 h 784044"/>
                <a:gd name="connsiteX12" fmla="*/ 475435 w 784044"/>
                <a:gd name="connsiteY12" fmla="*/ 279083 h 784044"/>
                <a:gd name="connsiteX13" fmla="*/ 323035 w 784044"/>
                <a:gd name="connsiteY13" fmla="*/ 431483 h 784044"/>
                <a:gd name="connsiteX14" fmla="*/ 344942 w 784044"/>
                <a:gd name="connsiteY14" fmla="*/ 293370 h 784044"/>
                <a:gd name="connsiteX15" fmla="*/ 303985 w 784044"/>
                <a:gd name="connsiteY15" fmla="*/ 286702 h 784044"/>
                <a:gd name="connsiteX16" fmla="*/ 273505 w 784044"/>
                <a:gd name="connsiteY16" fmla="*/ 481013 h 784044"/>
                <a:gd name="connsiteX17" fmla="*/ 201115 w 784044"/>
                <a:gd name="connsiteY17" fmla="*/ 553402 h 784044"/>
                <a:gd name="connsiteX18" fmla="*/ 223022 w 784044"/>
                <a:gd name="connsiteY18" fmla="*/ 415290 h 784044"/>
                <a:gd name="connsiteX19" fmla="*/ 182065 w 784044"/>
                <a:gd name="connsiteY19" fmla="*/ 408622 h 784044"/>
                <a:gd name="connsiteX20" fmla="*/ 151585 w 784044"/>
                <a:gd name="connsiteY20" fmla="*/ 602933 h 784044"/>
                <a:gd name="connsiteX21" fmla="*/ 85862 w 784044"/>
                <a:gd name="connsiteY21" fmla="*/ 668655 h 784044"/>
                <a:gd name="connsiteX22" fmla="*/ 100150 w 784044"/>
                <a:gd name="connsiteY22" fmla="*/ 200025 h 784044"/>
                <a:gd name="connsiteX23" fmla="*/ 784045 w 784044"/>
                <a:gd name="connsiteY23" fmla="*/ 0 h 784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784044" h="784044">
                  <a:moveTo>
                    <a:pt x="784045" y="0"/>
                  </a:moveTo>
                  <a:cubicBezTo>
                    <a:pt x="784045" y="0"/>
                    <a:pt x="717370" y="549593"/>
                    <a:pt x="584020" y="683895"/>
                  </a:cubicBezTo>
                  <a:cubicBezTo>
                    <a:pt x="455432" y="812483"/>
                    <a:pt x="249692" y="817245"/>
                    <a:pt x="115390" y="698183"/>
                  </a:cubicBezTo>
                  <a:lnTo>
                    <a:pt x="180160" y="633413"/>
                  </a:lnTo>
                  <a:lnTo>
                    <a:pt x="387805" y="609600"/>
                  </a:lnTo>
                  <a:lnTo>
                    <a:pt x="383042" y="568643"/>
                  </a:lnTo>
                  <a:lnTo>
                    <a:pt x="226832" y="586740"/>
                  </a:lnTo>
                  <a:lnTo>
                    <a:pt x="302080" y="511492"/>
                  </a:lnTo>
                  <a:lnTo>
                    <a:pt x="509725" y="487680"/>
                  </a:lnTo>
                  <a:lnTo>
                    <a:pt x="504962" y="446722"/>
                  </a:lnTo>
                  <a:lnTo>
                    <a:pt x="348752" y="464820"/>
                  </a:lnTo>
                  <a:lnTo>
                    <a:pt x="504962" y="308610"/>
                  </a:lnTo>
                  <a:lnTo>
                    <a:pt x="475435" y="279083"/>
                  </a:lnTo>
                  <a:lnTo>
                    <a:pt x="323035" y="431483"/>
                  </a:lnTo>
                  <a:lnTo>
                    <a:pt x="344942" y="293370"/>
                  </a:lnTo>
                  <a:lnTo>
                    <a:pt x="303985" y="286702"/>
                  </a:lnTo>
                  <a:lnTo>
                    <a:pt x="273505" y="481013"/>
                  </a:lnTo>
                  <a:lnTo>
                    <a:pt x="201115" y="553402"/>
                  </a:lnTo>
                  <a:lnTo>
                    <a:pt x="223022" y="415290"/>
                  </a:lnTo>
                  <a:lnTo>
                    <a:pt x="182065" y="408622"/>
                  </a:lnTo>
                  <a:lnTo>
                    <a:pt x="151585" y="602933"/>
                  </a:lnTo>
                  <a:lnTo>
                    <a:pt x="85862" y="668655"/>
                  </a:lnTo>
                  <a:cubicBezTo>
                    <a:pt x="-33200" y="534352"/>
                    <a:pt x="-28438" y="328613"/>
                    <a:pt x="100150" y="200025"/>
                  </a:cubicBezTo>
                  <a:cubicBezTo>
                    <a:pt x="233500" y="66675"/>
                    <a:pt x="784045" y="0"/>
                    <a:pt x="784045" y="0"/>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2" name="Freeform: Shape 47">
              <a:extLst>
                <a:ext uri="{FF2B5EF4-FFF2-40B4-BE49-F238E27FC236}">
                  <a16:creationId xmlns:a16="http://schemas.microsoft.com/office/drawing/2014/main" id="{76CF2E38-7C7A-4BFA-9875-A26DB0163F4C}"/>
                </a:ext>
              </a:extLst>
            </p:cNvPr>
            <p:cNvSpPr/>
            <p:nvPr/>
          </p:nvSpPr>
          <p:spPr>
            <a:xfrm>
              <a:off x="3634739" y="3143250"/>
              <a:ext cx="153352" cy="152400"/>
            </a:xfrm>
            <a:custGeom>
              <a:avLst/>
              <a:gdLst>
                <a:gd name="connsiteX0" fmla="*/ 153353 w 153352"/>
                <a:gd name="connsiteY0" fmla="*/ 29528 h 152400"/>
                <a:gd name="connsiteX1" fmla="*/ 29527 w 153352"/>
                <a:gd name="connsiteY1" fmla="*/ 152400 h 152400"/>
                <a:gd name="connsiteX2" fmla="*/ 0 w 153352"/>
                <a:gd name="connsiteY2" fmla="*/ 122872 h 152400"/>
                <a:gd name="connsiteX3" fmla="*/ 122872 w 153352"/>
                <a:gd name="connsiteY3" fmla="*/ 0 h 152400"/>
                <a:gd name="connsiteX4" fmla="*/ 137160 w 153352"/>
                <a:gd name="connsiteY4" fmla="*/ 15240 h 152400"/>
                <a:gd name="connsiteX5" fmla="*/ 153353 w 153352"/>
                <a:gd name="connsiteY5" fmla="*/ 29528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3352" h="152400">
                  <a:moveTo>
                    <a:pt x="153353" y="29528"/>
                  </a:moveTo>
                  <a:lnTo>
                    <a:pt x="29527" y="152400"/>
                  </a:lnTo>
                  <a:lnTo>
                    <a:pt x="0" y="122872"/>
                  </a:lnTo>
                  <a:lnTo>
                    <a:pt x="122872" y="0"/>
                  </a:lnTo>
                  <a:cubicBezTo>
                    <a:pt x="127635" y="4763"/>
                    <a:pt x="132397" y="10478"/>
                    <a:pt x="137160" y="15240"/>
                  </a:cubicBezTo>
                  <a:cubicBezTo>
                    <a:pt x="142875" y="20003"/>
                    <a:pt x="147638" y="24765"/>
                    <a:pt x="153353" y="2952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grpSp>
        <p:nvGrpSpPr>
          <p:cNvPr id="33" name="Graphic 1">
            <a:extLst>
              <a:ext uri="{FF2B5EF4-FFF2-40B4-BE49-F238E27FC236}">
                <a16:creationId xmlns:a16="http://schemas.microsoft.com/office/drawing/2014/main" id="{EB3C5572-A158-4D38-A9B3-96A7B8A6B9DD}"/>
              </a:ext>
            </a:extLst>
          </p:cNvPr>
          <p:cNvGrpSpPr/>
          <p:nvPr/>
        </p:nvGrpSpPr>
        <p:grpSpPr>
          <a:xfrm>
            <a:off x="5316285" y="4355333"/>
            <a:ext cx="418740" cy="336098"/>
            <a:chOff x="6348412" y="2426970"/>
            <a:chExt cx="1081087" cy="867727"/>
          </a:xfrm>
          <a:solidFill>
            <a:schemeClr val="accent3"/>
          </a:solidFill>
        </p:grpSpPr>
        <p:grpSp>
          <p:nvGrpSpPr>
            <p:cNvPr id="34" name="Graphic 1">
              <a:extLst>
                <a:ext uri="{FF2B5EF4-FFF2-40B4-BE49-F238E27FC236}">
                  <a16:creationId xmlns:a16="http://schemas.microsoft.com/office/drawing/2014/main" id="{8AB7C6C2-B7ED-4EC8-83ED-BA01F8EEB088}"/>
                </a:ext>
              </a:extLst>
            </p:cNvPr>
            <p:cNvGrpSpPr/>
            <p:nvPr/>
          </p:nvGrpSpPr>
          <p:grpSpPr>
            <a:xfrm>
              <a:off x="6348412" y="2426970"/>
              <a:ext cx="1081087" cy="529589"/>
              <a:chOff x="6348412" y="2426970"/>
              <a:chExt cx="1081087" cy="529589"/>
            </a:xfrm>
            <a:grpFill/>
          </p:grpSpPr>
          <p:sp>
            <p:nvSpPr>
              <p:cNvPr id="36" name="Freeform: Shape 51">
                <a:extLst>
                  <a:ext uri="{FF2B5EF4-FFF2-40B4-BE49-F238E27FC236}">
                    <a16:creationId xmlns:a16="http://schemas.microsoft.com/office/drawing/2014/main" id="{76173AF2-EF73-47D5-B6FF-62BA80A258F3}"/>
                  </a:ext>
                </a:extLst>
              </p:cNvPr>
              <p:cNvSpPr/>
              <p:nvPr/>
            </p:nvSpPr>
            <p:spPr>
              <a:xfrm>
                <a:off x="6348412" y="2426970"/>
                <a:ext cx="463867" cy="333375"/>
              </a:xfrm>
              <a:custGeom>
                <a:avLst/>
                <a:gdLst>
                  <a:gd name="connsiteX0" fmla="*/ 442913 w 463867"/>
                  <a:gd name="connsiteY0" fmla="*/ 189547 h 333375"/>
                  <a:gd name="connsiteX1" fmla="*/ 462915 w 463867"/>
                  <a:gd name="connsiteY1" fmla="*/ 194310 h 333375"/>
                  <a:gd name="connsiteX2" fmla="*/ 299085 w 463867"/>
                  <a:gd name="connsiteY2" fmla="*/ 333375 h 333375"/>
                  <a:gd name="connsiteX3" fmla="*/ 22860 w 463867"/>
                  <a:gd name="connsiteY3" fmla="*/ 184785 h 333375"/>
                  <a:gd name="connsiteX4" fmla="*/ 0 w 463867"/>
                  <a:gd name="connsiteY4" fmla="*/ 166688 h 333375"/>
                  <a:gd name="connsiteX5" fmla="*/ 22860 w 463867"/>
                  <a:gd name="connsiteY5" fmla="*/ 148590 h 333375"/>
                  <a:gd name="connsiteX6" fmla="*/ 299085 w 463867"/>
                  <a:gd name="connsiteY6" fmla="*/ 0 h 333375"/>
                  <a:gd name="connsiteX7" fmla="*/ 463868 w 463867"/>
                  <a:gd name="connsiteY7" fmla="*/ 146685 h 333375"/>
                  <a:gd name="connsiteX8" fmla="*/ 442913 w 463867"/>
                  <a:gd name="connsiteY8" fmla="*/ 143827 h 333375"/>
                  <a:gd name="connsiteX9" fmla="*/ 293370 w 463867"/>
                  <a:gd name="connsiteY9" fmla="*/ 143827 h 333375"/>
                  <a:gd name="connsiteX10" fmla="*/ 293370 w 463867"/>
                  <a:gd name="connsiteY10" fmla="*/ 189547 h 333375"/>
                  <a:gd name="connsiteX11" fmla="*/ 442913 w 463867"/>
                  <a:gd name="connsiteY11" fmla="*/ 189547 h 333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63867" h="333375">
                    <a:moveTo>
                      <a:pt x="442913" y="189547"/>
                    </a:moveTo>
                    <a:cubicBezTo>
                      <a:pt x="450532" y="189547"/>
                      <a:pt x="457200" y="191452"/>
                      <a:pt x="462915" y="194310"/>
                    </a:cubicBezTo>
                    <a:cubicBezTo>
                      <a:pt x="449580" y="273367"/>
                      <a:pt x="381000" y="333375"/>
                      <a:pt x="299085" y="333375"/>
                    </a:cubicBezTo>
                    <a:cubicBezTo>
                      <a:pt x="214313" y="333375"/>
                      <a:pt x="41910" y="200025"/>
                      <a:pt x="22860" y="184785"/>
                    </a:cubicBezTo>
                    <a:lnTo>
                      <a:pt x="0" y="166688"/>
                    </a:lnTo>
                    <a:lnTo>
                      <a:pt x="22860" y="148590"/>
                    </a:lnTo>
                    <a:cubicBezTo>
                      <a:pt x="41910" y="133350"/>
                      <a:pt x="215265" y="0"/>
                      <a:pt x="299085" y="0"/>
                    </a:cubicBezTo>
                    <a:cubicBezTo>
                      <a:pt x="383857" y="0"/>
                      <a:pt x="454343" y="63817"/>
                      <a:pt x="463868" y="146685"/>
                    </a:cubicBezTo>
                    <a:cubicBezTo>
                      <a:pt x="457200" y="144780"/>
                      <a:pt x="449580" y="143827"/>
                      <a:pt x="442913" y="143827"/>
                    </a:cubicBezTo>
                    <a:lnTo>
                      <a:pt x="293370" y="143827"/>
                    </a:lnTo>
                    <a:lnTo>
                      <a:pt x="293370" y="189547"/>
                    </a:lnTo>
                    <a:lnTo>
                      <a:pt x="442913" y="189547"/>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7" name="Freeform: Shape 52">
                <a:extLst>
                  <a:ext uri="{FF2B5EF4-FFF2-40B4-BE49-F238E27FC236}">
                    <a16:creationId xmlns:a16="http://schemas.microsoft.com/office/drawing/2014/main" id="{42A39F60-DFC7-470A-8405-CB525BE0A5AA}"/>
                  </a:ext>
                </a:extLst>
              </p:cNvPr>
              <p:cNvSpPr/>
              <p:nvPr/>
            </p:nvSpPr>
            <p:spPr>
              <a:xfrm>
                <a:off x="7052309" y="2685097"/>
                <a:ext cx="377189" cy="271462"/>
              </a:xfrm>
              <a:custGeom>
                <a:avLst/>
                <a:gdLst>
                  <a:gd name="connsiteX0" fmla="*/ 377190 w 377189"/>
                  <a:gd name="connsiteY0" fmla="*/ 135255 h 271462"/>
                  <a:gd name="connsiteX1" fmla="*/ 354330 w 377189"/>
                  <a:gd name="connsiteY1" fmla="*/ 153353 h 271462"/>
                  <a:gd name="connsiteX2" fmla="*/ 133350 w 377189"/>
                  <a:gd name="connsiteY2" fmla="*/ 271463 h 271462"/>
                  <a:gd name="connsiteX3" fmla="*/ 0 w 377189"/>
                  <a:gd name="connsiteY3" fmla="*/ 160973 h 271462"/>
                  <a:gd name="connsiteX4" fmla="*/ 28575 w 377189"/>
                  <a:gd name="connsiteY4" fmla="*/ 158115 h 271462"/>
                  <a:gd name="connsiteX5" fmla="*/ 155257 w 377189"/>
                  <a:gd name="connsiteY5" fmla="*/ 158115 h 271462"/>
                  <a:gd name="connsiteX6" fmla="*/ 155257 w 377189"/>
                  <a:gd name="connsiteY6" fmla="*/ 112395 h 271462"/>
                  <a:gd name="connsiteX7" fmla="*/ 29527 w 377189"/>
                  <a:gd name="connsiteY7" fmla="*/ 112395 h 271462"/>
                  <a:gd name="connsiteX8" fmla="*/ 0 w 377189"/>
                  <a:gd name="connsiteY8" fmla="*/ 115253 h 271462"/>
                  <a:gd name="connsiteX9" fmla="*/ 134302 w 377189"/>
                  <a:gd name="connsiteY9" fmla="*/ 0 h 271462"/>
                  <a:gd name="connsiteX10" fmla="*/ 355282 w 377189"/>
                  <a:gd name="connsiteY10" fmla="*/ 118110 h 271462"/>
                  <a:gd name="connsiteX11" fmla="*/ 377190 w 377189"/>
                  <a:gd name="connsiteY11" fmla="*/ 135255 h 2714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77189" h="271462">
                    <a:moveTo>
                      <a:pt x="377190" y="135255"/>
                    </a:moveTo>
                    <a:lnTo>
                      <a:pt x="354330" y="153353"/>
                    </a:lnTo>
                    <a:cubicBezTo>
                      <a:pt x="339090" y="165735"/>
                      <a:pt x="201930" y="271463"/>
                      <a:pt x="133350" y="271463"/>
                    </a:cubicBezTo>
                    <a:cubicBezTo>
                      <a:pt x="67627" y="271463"/>
                      <a:pt x="12382" y="223838"/>
                      <a:pt x="0" y="160973"/>
                    </a:cubicBezTo>
                    <a:cubicBezTo>
                      <a:pt x="8572" y="159068"/>
                      <a:pt x="18097" y="158115"/>
                      <a:pt x="28575" y="158115"/>
                    </a:cubicBezTo>
                    <a:lnTo>
                      <a:pt x="155257" y="158115"/>
                    </a:lnTo>
                    <a:lnTo>
                      <a:pt x="155257" y="112395"/>
                    </a:lnTo>
                    <a:lnTo>
                      <a:pt x="29527" y="112395"/>
                    </a:lnTo>
                    <a:cubicBezTo>
                      <a:pt x="19050" y="112395"/>
                      <a:pt x="9525" y="113348"/>
                      <a:pt x="0" y="115253"/>
                    </a:cubicBezTo>
                    <a:cubicBezTo>
                      <a:pt x="9525" y="49530"/>
                      <a:pt x="66675" y="0"/>
                      <a:pt x="134302" y="0"/>
                    </a:cubicBezTo>
                    <a:cubicBezTo>
                      <a:pt x="202882" y="0"/>
                      <a:pt x="340042" y="105728"/>
                      <a:pt x="355282" y="118110"/>
                    </a:cubicBezTo>
                    <a:lnTo>
                      <a:pt x="377190" y="135255"/>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sp>
          <p:nvSpPr>
            <p:cNvPr id="35" name="Freeform: Shape 50">
              <a:extLst>
                <a:ext uri="{FF2B5EF4-FFF2-40B4-BE49-F238E27FC236}">
                  <a16:creationId xmlns:a16="http://schemas.microsoft.com/office/drawing/2014/main" id="{02903BF6-EA4B-46C0-AF4B-BEE15ECC237E}"/>
                </a:ext>
              </a:extLst>
            </p:cNvPr>
            <p:cNvSpPr/>
            <p:nvPr/>
          </p:nvSpPr>
          <p:spPr>
            <a:xfrm>
              <a:off x="6679881" y="2572702"/>
              <a:ext cx="498157" cy="721994"/>
            </a:xfrm>
            <a:custGeom>
              <a:avLst/>
              <a:gdLst>
                <a:gd name="connsiteX0" fmla="*/ 272415 w 498157"/>
                <a:gd name="connsiteY0" fmla="*/ 452438 h 721994"/>
                <a:gd name="connsiteX1" fmla="*/ 324803 w 498157"/>
                <a:gd name="connsiteY1" fmla="*/ 300990 h 721994"/>
                <a:gd name="connsiteX2" fmla="*/ 373380 w 498157"/>
                <a:gd name="connsiteY2" fmla="*/ 273367 h 721994"/>
                <a:gd name="connsiteX3" fmla="*/ 370523 w 498157"/>
                <a:gd name="connsiteY3" fmla="*/ 247650 h 721994"/>
                <a:gd name="connsiteX4" fmla="*/ 372428 w 498157"/>
                <a:gd name="connsiteY4" fmla="*/ 227647 h 721994"/>
                <a:gd name="connsiteX5" fmla="*/ 292418 w 498157"/>
                <a:gd name="connsiteY5" fmla="*/ 269557 h 721994"/>
                <a:gd name="connsiteX6" fmla="*/ 265748 w 498157"/>
                <a:gd name="connsiteY6" fmla="*/ 304800 h 721994"/>
                <a:gd name="connsiteX7" fmla="*/ 181928 w 498157"/>
                <a:gd name="connsiteY7" fmla="*/ 29527 h 721994"/>
                <a:gd name="connsiteX8" fmla="*/ 132398 w 498157"/>
                <a:gd name="connsiteY8" fmla="*/ 0 h 721994"/>
                <a:gd name="connsiteX9" fmla="*/ 133350 w 498157"/>
                <a:gd name="connsiteY9" fmla="*/ 20002 h 721994"/>
                <a:gd name="connsiteX10" fmla="*/ 131445 w 498157"/>
                <a:gd name="connsiteY10" fmla="*/ 47625 h 721994"/>
                <a:gd name="connsiteX11" fmla="*/ 149543 w 498157"/>
                <a:gd name="connsiteY11" fmla="*/ 60960 h 721994"/>
                <a:gd name="connsiteX12" fmla="*/ 226695 w 498157"/>
                <a:gd name="connsiteY12" fmla="*/ 451485 h 721994"/>
                <a:gd name="connsiteX13" fmla="*/ 0 w 498157"/>
                <a:gd name="connsiteY13" fmla="*/ 699135 h 721994"/>
                <a:gd name="connsiteX14" fmla="*/ 0 w 498157"/>
                <a:gd name="connsiteY14" fmla="*/ 721995 h 721994"/>
                <a:gd name="connsiteX15" fmla="*/ 498157 w 498157"/>
                <a:gd name="connsiteY15" fmla="*/ 721995 h 721994"/>
                <a:gd name="connsiteX16" fmla="*/ 498157 w 498157"/>
                <a:gd name="connsiteY16" fmla="*/ 699135 h 721994"/>
                <a:gd name="connsiteX17" fmla="*/ 272415 w 498157"/>
                <a:gd name="connsiteY17" fmla="*/ 452438 h 721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98157" h="721994">
                  <a:moveTo>
                    <a:pt x="272415" y="452438"/>
                  </a:moveTo>
                  <a:cubicBezTo>
                    <a:pt x="274320" y="416242"/>
                    <a:pt x="283845" y="342900"/>
                    <a:pt x="324803" y="300990"/>
                  </a:cubicBezTo>
                  <a:cubicBezTo>
                    <a:pt x="339090" y="286702"/>
                    <a:pt x="354330" y="277177"/>
                    <a:pt x="373380" y="273367"/>
                  </a:cubicBezTo>
                  <a:cubicBezTo>
                    <a:pt x="371475" y="264795"/>
                    <a:pt x="370523" y="256222"/>
                    <a:pt x="370523" y="247650"/>
                  </a:cubicBezTo>
                  <a:cubicBezTo>
                    <a:pt x="370523" y="240982"/>
                    <a:pt x="371475" y="234315"/>
                    <a:pt x="372428" y="227647"/>
                  </a:cubicBezTo>
                  <a:cubicBezTo>
                    <a:pt x="340995" y="233363"/>
                    <a:pt x="314325" y="247650"/>
                    <a:pt x="292418" y="269557"/>
                  </a:cubicBezTo>
                  <a:cubicBezTo>
                    <a:pt x="281940" y="280035"/>
                    <a:pt x="273368" y="292417"/>
                    <a:pt x="265748" y="304800"/>
                  </a:cubicBezTo>
                  <a:cubicBezTo>
                    <a:pt x="256223" y="202882"/>
                    <a:pt x="234315" y="83820"/>
                    <a:pt x="181928" y="29527"/>
                  </a:cubicBezTo>
                  <a:cubicBezTo>
                    <a:pt x="167640" y="14288"/>
                    <a:pt x="150495" y="4763"/>
                    <a:pt x="132398" y="0"/>
                  </a:cubicBezTo>
                  <a:cubicBezTo>
                    <a:pt x="133350" y="6667"/>
                    <a:pt x="133350" y="13335"/>
                    <a:pt x="133350" y="20002"/>
                  </a:cubicBezTo>
                  <a:cubicBezTo>
                    <a:pt x="133350" y="29527"/>
                    <a:pt x="132398" y="38100"/>
                    <a:pt x="131445" y="47625"/>
                  </a:cubicBezTo>
                  <a:cubicBezTo>
                    <a:pt x="137160" y="50482"/>
                    <a:pt x="143828" y="55245"/>
                    <a:pt x="149543" y="60960"/>
                  </a:cubicBezTo>
                  <a:cubicBezTo>
                    <a:pt x="214313" y="127635"/>
                    <a:pt x="227648" y="348615"/>
                    <a:pt x="226695" y="451485"/>
                  </a:cubicBezTo>
                  <a:cubicBezTo>
                    <a:pt x="100013" y="462915"/>
                    <a:pt x="0" y="569595"/>
                    <a:pt x="0" y="699135"/>
                  </a:cubicBezTo>
                  <a:lnTo>
                    <a:pt x="0" y="721995"/>
                  </a:lnTo>
                  <a:lnTo>
                    <a:pt x="498157" y="721995"/>
                  </a:lnTo>
                  <a:lnTo>
                    <a:pt x="498157" y="699135"/>
                  </a:lnTo>
                  <a:cubicBezTo>
                    <a:pt x="498157" y="571500"/>
                    <a:pt x="398145" y="464820"/>
                    <a:pt x="272415" y="45243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grpSp>
        <p:nvGrpSpPr>
          <p:cNvPr id="38" name="Graphic 1">
            <a:extLst>
              <a:ext uri="{FF2B5EF4-FFF2-40B4-BE49-F238E27FC236}">
                <a16:creationId xmlns:a16="http://schemas.microsoft.com/office/drawing/2014/main" id="{4CA9E3AE-4515-4624-A952-85416AE2EFAA}"/>
              </a:ext>
            </a:extLst>
          </p:cNvPr>
          <p:cNvGrpSpPr/>
          <p:nvPr/>
        </p:nvGrpSpPr>
        <p:grpSpPr>
          <a:xfrm>
            <a:off x="6529941" y="5056654"/>
            <a:ext cx="281866" cy="282602"/>
            <a:chOff x="8959214" y="2548890"/>
            <a:chExt cx="727710" cy="729614"/>
          </a:xfrm>
          <a:solidFill>
            <a:schemeClr val="accent2"/>
          </a:solidFill>
        </p:grpSpPr>
        <p:sp>
          <p:nvSpPr>
            <p:cNvPr id="39" name="Freeform: Shape 54">
              <a:extLst>
                <a:ext uri="{FF2B5EF4-FFF2-40B4-BE49-F238E27FC236}">
                  <a16:creationId xmlns:a16="http://schemas.microsoft.com/office/drawing/2014/main" id="{8C22EC8C-CE4A-404B-8949-CABFAC35301E}"/>
                </a:ext>
              </a:extLst>
            </p:cNvPr>
            <p:cNvSpPr/>
            <p:nvPr/>
          </p:nvSpPr>
          <p:spPr>
            <a:xfrm>
              <a:off x="8959214" y="3156584"/>
              <a:ext cx="120967" cy="121920"/>
            </a:xfrm>
            <a:custGeom>
              <a:avLst/>
              <a:gdLst>
                <a:gd name="connsiteX0" fmla="*/ 120968 w 120967"/>
                <a:gd name="connsiteY0" fmla="*/ 33338 h 121920"/>
                <a:gd name="connsiteX1" fmla="*/ 33338 w 120967"/>
                <a:gd name="connsiteY1" fmla="*/ 121920 h 121920"/>
                <a:gd name="connsiteX2" fmla="*/ 0 w 120967"/>
                <a:gd name="connsiteY2" fmla="*/ 88583 h 121920"/>
                <a:gd name="connsiteX3" fmla="*/ 87630 w 120967"/>
                <a:gd name="connsiteY3" fmla="*/ 0 h 121920"/>
                <a:gd name="connsiteX4" fmla="*/ 103823 w 120967"/>
                <a:gd name="connsiteY4" fmla="*/ 18098 h 121920"/>
                <a:gd name="connsiteX5" fmla="*/ 120968 w 120967"/>
                <a:gd name="connsiteY5" fmla="*/ 33338 h 121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0967" h="121920">
                  <a:moveTo>
                    <a:pt x="120968" y="33338"/>
                  </a:moveTo>
                  <a:lnTo>
                    <a:pt x="33338" y="121920"/>
                  </a:lnTo>
                  <a:lnTo>
                    <a:pt x="0" y="88583"/>
                  </a:lnTo>
                  <a:lnTo>
                    <a:pt x="87630" y="0"/>
                  </a:lnTo>
                  <a:cubicBezTo>
                    <a:pt x="92393" y="5715"/>
                    <a:pt x="98108" y="12383"/>
                    <a:pt x="103823" y="18098"/>
                  </a:cubicBezTo>
                  <a:cubicBezTo>
                    <a:pt x="109538" y="22860"/>
                    <a:pt x="115253" y="27623"/>
                    <a:pt x="120968" y="3333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nvGrpSpPr>
            <p:cNvPr id="40" name="Graphic 1">
              <a:extLst>
                <a:ext uri="{FF2B5EF4-FFF2-40B4-BE49-F238E27FC236}">
                  <a16:creationId xmlns:a16="http://schemas.microsoft.com/office/drawing/2014/main" id="{9FEDE496-E6D6-4BBC-B5E6-1AC8855F948F}"/>
                </a:ext>
              </a:extLst>
            </p:cNvPr>
            <p:cNvGrpSpPr/>
            <p:nvPr/>
          </p:nvGrpSpPr>
          <p:grpSpPr>
            <a:xfrm>
              <a:off x="8971174" y="2548890"/>
              <a:ext cx="715750" cy="716279"/>
              <a:chOff x="8971174" y="2548890"/>
              <a:chExt cx="715750" cy="716279"/>
            </a:xfrm>
            <a:grpFill/>
          </p:grpSpPr>
          <p:sp>
            <p:nvSpPr>
              <p:cNvPr id="41" name="Freeform: Shape 56">
                <a:extLst>
                  <a:ext uri="{FF2B5EF4-FFF2-40B4-BE49-F238E27FC236}">
                    <a16:creationId xmlns:a16="http://schemas.microsoft.com/office/drawing/2014/main" id="{A482F927-21E0-4E83-AF69-A975D0B6E88D}"/>
                  </a:ext>
                </a:extLst>
              </p:cNvPr>
              <p:cNvSpPr/>
              <p:nvPr/>
            </p:nvSpPr>
            <p:spPr>
              <a:xfrm>
                <a:off x="8971174" y="2548890"/>
                <a:ext cx="715750" cy="716279"/>
              </a:xfrm>
              <a:custGeom>
                <a:avLst/>
                <a:gdLst>
                  <a:gd name="connsiteX0" fmla="*/ 686223 w 715750"/>
                  <a:gd name="connsiteY0" fmla="*/ 3810 h 716279"/>
                  <a:gd name="connsiteX1" fmla="*/ 91863 w 715750"/>
                  <a:gd name="connsiteY1" fmla="*/ 180975 h 716279"/>
                  <a:gd name="connsiteX2" fmla="*/ 75670 w 715750"/>
                  <a:gd name="connsiteY2" fmla="*/ 606743 h 716279"/>
                  <a:gd name="connsiteX3" fmla="*/ 149965 w 715750"/>
                  <a:gd name="connsiteY3" fmla="*/ 532447 h 716279"/>
                  <a:gd name="connsiteX4" fmla="*/ 183303 w 715750"/>
                  <a:gd name="connsiteY4" fmla="*/ 565785 h 716279"/>
                  <a:gd name="connsiteX5" fmla="*/ 109008 w 715750"/>
                  <a:gd name="connsiteY5" fmla="*/ 640080 h 716279"/>
                  <a:gd name="connsiteX6" fmla="*/ 313795 w 715750"/>
                  <a:gd name="connsiteY6" fmla="*/ 716280 h 716279"/>
                  <a:gd name="connsiteX7" fmla="*/ 535728 w 715750"/>
                  <a:gd name="connsiteY7" fmla="*/ 624840 h 716279"/>
                  <a:gd name="connsiteX8" fmla="*/ 711940 w 715750"/>
                  <a:gd name="connsiteY8" fmla="*/ 30480 h 716279"/>
                  <a:gd name="connsiteX9" fmla="*/ 715750 w 715750"/>
                  <a:gd name="connsiteY9" fmla="*/ 0 h 716279"/>
                  <a:gd name="connsiteX10" fmla="*/ 686223 w 715750"/>
                  <a:gd name="connsiteY10" fmla="*/ 3810 h 716279"/>
                  <a:gd name="connsiteX11" fmla="*/ 390948 w 715750"/>
                  <a:gd name="connsiteY11" fmla="*/ 454342 h 716279"/>
                  <a:gd name="connsiteX12" fmla="*/ 303318 w 715750"/>
                  <a:gd name="connsiteY12" fmla="*/ 488632 h 716279"/>
                  <a:gd name="connsiteX13" fmla="*/ 215688 w 715750"/>
                  <a:gd name="connsiteY13" fmla="*/ 455295 h 716279"/>
                  <a:gd name="connsiteX14" fmla="*/ 183303 w 715750"/>
                  <a:gd name="connsiteY14" fmla="*/ 362902 h 716279"/>
                  <a:gd name="connsiteX15" fmla="*/ 194733 w 715750"/>
                  <a:gd name="connsiteY15" fmla="*/ 299085 h 716279"/>
                  <a:gd name="connsiteX16" fmla="*/ 217593 w 715750"/>
                  <a:gd name="connsiteY16" fmla="*/ 264795 h 716279"/>
                  <a:gd name="connsiteX17" fmla="*/ 249978 w 715750"/>
                  <a:gd name="connsiteY17" fmla="*/ 242888 h 716279"/>
                  <a:gd name="connsiteX18" fmla="*/ 303318 w 715750"/>
                  <a:gd name="connsiteY18" fmla="*/ 233363 h 716279"/>
                  <a:gd name="connsiteX19" fmla="*/ 390948 w 715750"/>
                  <a:gd name="connsiteY19" fmla="*/ 267652 h 716279"/>
                  <a:gd name="connsiteX20" fmla="*/ 424286 w 715750"/>
                  <a:gd name="connsiteY20" fmla="*/ 361950 h 716279"/>
                  <a:gd name="connsiteX21" fmla="*/ 390948 w 715750"/>
                  <a:gd name="connsiteY21" fmla="*/ 454342 h 716279"/>
                  <a:gd name="connsiteX22" fmla="*/ 500486 w 715750"/>
                  <a:gd name="connsiteY22" fmla="*/ 500063 h 716279"/>
                  <a:gd name="connsiteX23" fmla="*/ 500486 w 715750"/>
                  <a:gd name="connsiteY23" fmla="*/ 516255 h 716279"/>
                  <a:gd name="connsiteX24" fmla="*/ 439525 w 715750"/>
                  <a:gd name="connsiteY24" fmla="*/ 516255 h 716279"/>
                  <a:gd name="connsiteX25" fmla="*/ 445240 w 715750"/>
                  <a:gd name="connsiteY25" fmla="*/ 499110 h 716279"/>
                  <a:gd name="connsiteX26" fmla="*/ 465243 w 715750"/>
                  <a:gd name="connsiteY26" fmla="*/ 477202 h 716279"/>
                  <a:gd name="connsiteX27" fmla="*/ 479530 w 715750"/>
                  <a:gd name="connsiteY27" fmla="*/ 461963 h 716279"/>
                  <a:gd name="connsiteX28" fmla="*/ 483340 w 715750"/>
                  <a:gd name="connsiteY28" fmla="*/ 451485 h 716279"/>
                  <a:gd name="connsiteX29" fmla="*/ 480483 w 715750"/>
                  <a:gd name="connsiteY29" fmla="*/ 442913 h 716279"/>
                  <a:gd name="connsiteX30" fmla="*/ 471911 w 715750"/>
                  <a:gd name="connsiteY30" fmla="*/ 440055 h 716279"/>
                  <a:gd name="connsiteX31" fmla="*/ 463338 w 715750"/>
                  <a:gd name="connsiteY31" fmla="*/ 442913 h 716279"/>
                  <a:gd name="connsiteX32" fmla="*/ 459528 w 715750"/>
                  <a:gd name="connsiteY32" fmla="*/ 454342 h 716279"/>
                  <a:gd name="connsiteX33" fmla="*/ 442383 w 715750"/>
                  <a:gd name="connsiteY33" fmla="*/ 452438 h 716279"/>
                  <a:gd name="connsiteX34" fmla="*/ 451908 w 715750"/>
                  <a:gd name="connsiteY34" fmla="*/ 431482 h 716279"/>
                  <a:gd name="connsiteX35" fmla="*/ 472863 w 715750"/>
                  <a:gd name="connsiteY35" fmla="*/ 424815 h 716279"/>
                  <a:gd name="connsiteX36" fmla="*/ 493818 w 715750"/>
                  <a:gd name="connsiteY36" fmla="*/ 432435 h 716279"/>
                  <a:gd name="connsiteX37" fmla="*/ 501438 w 715750"/>
                  <a:gd name="connsiteY37" fmla="*/ 450532 h 716279"/>
                  <a:gd name="connsiteX38" fmla="*/ 499533 w 715750"/>
                  <a:gd name="connsiteY38" fmla="*/ 461963 h 716279"/>
                  <a:gd name="connsiteX39" fmla="*/ 492865 w 715750"/>
                  <a:gd name="connsiteY39" fmla="*/ 473392 h 716279"/>
                  <a:gd name="connsiteX40" fmla="*/ 481436 w 715750"/>
                  <a:gd name="connsiteY40" fmla="*/ 484822 h 716279"/>
                  <a:gd name="connsiteX41" fmla="*/ 470958 w 715750"/>
                  <a:gd name="connsiteY41" fmla="*/ 495300 h 716279"/>
                  <a:gd name="connsiteX42" fmla="*/ 467148 w 715750"/>
                  <a:gd name="connsiteY42" fmla="*/ 500063 h 716279"/>
                  <a:gd name="connsiteX43" fmla="*/ 500486 w 715750"/>
                  <a:gd name="connsiteY43" fmla="*/ 500063 h 716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715750" h="716279">
                    <a:moveTo>
                      <a:pt x="686223" y="3810"/>
                    </a:moveTo>
                    <a:cubicBezTo>
                      <a:pt x="667173" y="6667"/>
                      <a:pt x="209973" y="62865"/>
                      <a:pt x="91863" y="180975"/>
                    </a:cubicBezTo>
                    <a:cubicBezTo>
                      <a:pt x="-25295" y="297180"/>
                      <a:pt x="-30057" y="483870"/>
                      <a:pt x="75670" y="606743"/>
                    </a:cubicBezTo>
                    <a:lnTo>
                      <a:pt x="149965" y="532447"/>
                    </a:lnTo>
                    <a:lnTo>
                      <a:pt x="183303" y="565785"/>
                    </a:lnTo>
                    <a:lnTo>
                      <a:pt x="109008" y="640080"/>
                    </a:lnTo>
                    <a:cubicBezTo>
                      <a:pt x="168063" y="690563"/>
                      <a:pt x="240453" y="716280"/>
                      <a:pt x="313795" y="716280"/>
                    </a:cubicBezTo>
                    <a:cubicBezTo>
                      <a:pt x="393805" y="716280"/>
                      <a:pt x="474768" y="685800"/>
                      <a:pt x="535728" y="624840"/>
                    </a:cubicBezTo>
                    <a:cubicBezTo>
                      <a:pt x="653838" y="506730"/>
                      <a:pt x="710036" y="50482"/>
                      <a:pt x="711940" y="30480"/>
                    </a:cubicBezTo>
                    <a:lnTo>
                      <a:pt x="715750" y="0"/>
                    </a:lnTo>
                    <a:lnTo>
                      <a:pt x="686223" y="3810"/>
                    </a:lnTo>
                    <a:close/>
                    <a:moveTo>
                      <a:pt x="390948" y="454342"/>
                    </a:moveTo>
                    <a:cubicBezTo>
                      <a:pt x="369040" y="477202"/>
                      <a:pt x="340465" y="488632"/>
                      <a:pt x="303318" y="488632"/>
                    </a:cubicBezTo>
                    <a:cubicBezTo>
                      <a:pt x="266170" y="488632"/>
                      <a:pt x="237595" y="477202"/>
                      <a:pt x="215688" y="455295"/>
                    </a:cubicBezTo>
                    <a:cubicBezTo>
                      <a:pt x="193780" y="432435"/>
                      <a:pt x="183303" y="401955"/>
                      <a:pt x="183303" y="362902"/>
                    </a:cubicBezTo>
                    <a:cubicBezTo>
                      <a:pt x="183303" y="338138"/>
                      <a:pt x="187113" y="316230"/>
                      <a:pt x="194733" y="299085"/>
                    </a:cubicBezTo>
                    <a:cubicBezTo>
                      <a:pt x="200448" y="286702"/>
                      <a:pt x="208068" y="275272"/>
                      <a:pt x="217593" y="264795"/>
                    </a:cubicBezTo>
                    <a:cubicBezTo>
                      <a:pt x="227118" y="254317"/>
                      <a:pt x="237595" y="247650"/>
                      <a:pt x="249978" y="242888"/>
                    </a:cubicBezTo>
                    <a:cubicBezTo>
                      <a:pt x="265218" y="236220"/>
                      <a:pt x="283315" y="233363"/>
                      <a:pt x="303318" y="233363"/>
                    </a:cubicBezTo>
                    <a:cubicBezTo>
                      <a:pt x="339513" y="233363"/>
                      <a:pt x="369040" y="244792"/>
                      <a:pt x="390948" y="267652"/>
                    </a:cubicBezTo>
                    <a:cubicBezTo>
                      <a:pt x="412855" y="290513"/>
                      <a:pt x="424286" y="321945"/>
                      <a:pt x="424286" y="361950"/>
                    </a:cubicBezTo>
                    <a:cubicBezTo>
                      <a:pt x="423333" y="400050"/>
                      <a:pt x="412855" y="431482"/>
                      <a:pt x="390948" y="454342"/>
                    </a:cubicBezTo>
                    <a:close/>
                    <a:moveTo>
                      <a:pt x="500486" y="500063"/>
                    </a:moveTo>
                    <a:lnTo>
                      <a:pt x="500486" y="516255"/>
                    </a:lnTo>
                    <a:lnTo>
                      <a:pt x="439525" y="516255"/>
                    </a:lnTo>
                    <a:cubicBezTo>
                      <a:pt x="440478" y="510540"/>
                      <a:pt x="442383" y="503872"/>
                      <a:pt x="445240" y="499110"/>
                    </a:cubicBezTo>
                    <a:cubicBezTo>
                      <a:pt x="448098" y="493395"/>
                      <a:pt x="454765" y="486727"/>
                      <a:pt x="465243" y="477202"/>
                    </a:cubicBezTo>
                    <a:cubicBezTo>
                      <a:pt x="472863" y="469582"/>
                      <a:pt x="477625" y="464820"/>
                      <a:pt x="479530" y="461963"/>
                    </a:cubicBezTo>
                    <a:cubicBezTo>
                      <a:pt x="482388" y="458152"/>
                      <a:pt x="483340" y="454342"/>
                      <a:pt x="483340" y="451485"/>
                    </a:cubicBezTo>
                    <a:cubicBezTo>
                      <a:pt x="483340" y="447675"/>
                      <a:pt x="482388" y="444817"/>
                      <a:pt x="480483" y="442913"/>
                    </a:cubicBezTo>
                    <a:cubicBezTo>
                      <a:pt x="478578" y="441007"/>
                      <a:pt x="475720" y="440055"/>
                      <a:pt x="471911" y="440055"/>
                    </a:cubicBezTo>
                    <a:cubicBezTo>
                      <a:pt x="468100" y="440055"/>
                      <a:pt x="465243" y="441007"/>
                      <a:pt x="463338" y="442913"/>
                    </a:cubicBezTo>
                    <a:cubicBezTo>
                      <a:pt x="461433" y="444817"/>
                      <a:pt x="459528" y="448627"/>
                      <a:pt x="459528" y="454342"/>
                    </a:cubicBezTo>
                    <a:lnTo>
                      <a:pt x="442383" y="452438"/>
                    </a:lnTo>
                    <a:cubicBezTo>
                      <a:pt x="443336" y="442913"/>
                      <a:pt x="447145" y="436245"/>
                      <a:pt x="451908" y="431482"/>
                    </a:cubicBezTo>
                    <a:cubicBezTo>
                      <a:pt x="456670" y="426720"/>
                      <a:pt x="464290" y="424815"/>
                      <a:pt x="472863" y="424815"/>
                    </a:cubicBezTo>
                    <a:cubicBezTo>
                      <a:pt x="481436" y="424815"/>
                      <a:pt x="489055" y="427672"/>
                      <a:pt x="493818" y="432435"/>
                    </a:cubicBezTo>
                    <a:cubicBezTo>
                      <a:pt x="498580" y="437197"/>
                      <a:pt x="501438" y="442913"/>
                      <a:pt x="501438" y="450532"/>
                    </a:cubicBezTo>
                    <a:cubicBezTo>
                      <a:pt x="501438" y="454342"/>
                      <a:pt x="500486" y="458152"/>
                      <a:pt x="499533" y="461963"/>
                    </a:cubicBezTo>
                    <a:cubicBezTo>
                      <a:pt x="497628" y="465772"/>
                      <a:pt x="495723" y="469582"/>
                      <a:pt x="492865" y="473392"/>
                    </a:cubicBezTo>
                    <a:cubicBezTo>
                      <a:pt x="490961" y="476250"/>
                      <a:pt x="487150" y="480060"/>
                      <a:pt x="481436" y="484822"/>
                    </a:cubicBezTo>
                    <a:cubicBezTo>
                      <a:pt x="475720" y="489585"/>
                      <a:pt x="472863" y="493395"/>
                      <a:pt x="470958" y="495300"/>
                    </a:cubicBezTo>
                    <a:cubicBezTo>
                      <a:pt x="469053" y="497205"/>
                      <a:pt x="468100" y="498157"/>
                      <a:pt x="467148" y="500063"/>
                    </a:cubicBezTo>
                    <a:lnTo>
                      <a:pt x="500486" y="500063"/>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42" name="Freeform: Shape 57">
                <a:extLst>
                  <a:ext uri="{FF2B5EF4-FFF2-40B4-BE49-F238E27FC236}">
                    <a16:creationId xmlns:a16="http://schemas.microsoft.com/office/drawing/2014/main" id="{50DB8E34-0433-405A-82D5-070D648AC2DD}"/>
                  </a:ext>
                </a:extLst>
              </p:cNvPr>
              <p:cNvSpPr/>
              <p:nvPr/>
            </p:nvSpPr>
            <p:spPr>
              <a:xfrm>
                <a:off x="9205912" y="2824162"/>
                <a:ext cx="137160" cy="170497"/>
              </a:xfrm>
              <a:custGeom>
                <a:avLst/>
                <a:gdLst>
                  <a:gd name="connsiteX0" fmla="*/ 68580 w 137160"/>
                  <a:gd name="connsiteY0" fmla="*/ 0 h 170497"/>
                  <a:gd name="connsiteX1" fmla="*/ 19050 w 137160"/>
                  <a:gd name="connsiteY1" fmla="*/ 20955 h 170497"/>
                  <a:gd name="connsiteX2" fmla="*/ 0 w 137160"/>
                  <a:gd name="connsiteY2" fmla="*/ 84772 h 170497"/>
                  <a:gd name="connsiteX3" fmla="*/ 19050 w 137160"/>
                  <a:gd name="connsiteY3" fmla="*/ 148590 h 170497"/>
                  <a:gd name="connsiteX4" fmla="*/ 68580 w 137160"/>
                  <a:gd name="connsiteY4" fmla="*/ 170497 h 170497"/>
                  <a:gd name="connsiteX5" fmla="*/ 118110 w 137160"/>
                  <a:gd name="connsiteY5" fmla="*/ 148590 h 170497"/>
                  <a:gd name="connsiteX6" fmla="*/ 137160 w 137160"/>
                  <a:gd name="connsiteY6" fmla="*/ 83820 h 170497"/>
                  <a:gd name="connsiteX7" fmla="*/ 118110 w 137160"/>
                  <a:gd name="connsiteY7" fmla="*/ 20003 h 170497"/>
                  <a:gd name="connsiteX8" fmla="*/ 68580 w 137160"/>
                  <a:gd name="connsiteY8" fmla="*/ 0 h 1704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7160" h="170497">
                    <a:moveTo>
                      <a:pt x="68580" y="0"/>
                    </a:moveTo>
                    <a:cubicBezTo>
                      <a:pt x="47625" y="0"/>
                      <a:pt x="31432" y="6667"/>
                      <a:pt x="19050" y="20955"/>
                    </a:cubicBezTo>
                    <a:cubicBezTo>
                      <a:pt x="6668" y="35242"/>
                      <a:pt x="0" y="56197"/>
                      <a:pt x="0" y="84772"/>
                    </a:cubicBezTo>
                    <a:cubicBezTo>
                      <a:pt x="0" y="112395"/>
                      <a:pt x="6668" y="134303"/>
                      <a:pt x="19050" y="148590"/>
                    </a:cubicBezTo>
                    <a:cubicBezTo>
                      <a:pt x="32385" y="162878"/>
                      <a:pt x="48577" y="170497"/>
                      <a:pt x="68580" y="170497"/>
                    </a:cubicBezTo>
                    <a:cubicBezTo>
                      <a:pt x="88582" y="170497"/>
                      <a:pt x="104775" y="162878"/>
                      <a:pt x="118110" y="148590"/>
                    </a:cubicBezTo>
                    <a:cubicBezTo>
                      <a:pt x="130493" y="134303"/>
                      <a:pt x="137160" y="112395"/>
                      <a:pt x="137160" y="83820"/>
                    </a:cubicBezTo>
                    <a:cubicBezTo>
                      <a:pt x="137160" y="55245"/>
                      <a:pt x="130493" y="34290"/>
                      <a:pt x="118110" y="20003"/>
                    </a:cubicBezTo>
                    <a:cubicBezTo>
                      <a:pt x="105727" y="6667"/>
                      <a:pt x="89535" y="0"/>
                      <a:pt x="68580" y="0"/>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grpSp>
      <p:sp>
        <p:nvSpPr>
          <p:cNvPr id="43" name="TextBox 58">
            <a:extLst>
              <a:ext uri="{FF2B5EF4-FFF2-40B4-BE49-F238E27FC236}">
                <a16:creationId xmlns:a16="http://schemas.microsoft.com/office/drawing/2014/main" id="{41D7F0B5-AB89-4410-9309-D4AF66062C2E}"/>
              </a:ext>
            </a:extLst>
          </p:cNvPr>
          <p:cNvSpPr txBox="1"/>
          <p:nvPr/>
        </p:nvSpPr>
        <p:spPr>
          <a:xfrm>
            <a:off x="1192387" y="2323176"/>
            <a:ext cx="2251643" cy="616836"/>
          </a:xfrm>
          <a:prstGeom prst="rect">
            <a:avLst/>
          </a:prstGeom>
          <a:noFill/>
        </p:spPr>
        <p:txBody>
          <a:bodyPr wrap="square" rtlCol="0">
            <a:spAutoFit/>
          </a:bodyPr>
          <a:lstStyle/>
          <a:p>
            <a:pPr marL="0" marR="0" lvl="0" indent="0" algn="r" defTabSz="914400" rtl="0" eaLnBrk="1" fontAlgn="auto" latinLnBrk="0" hangingPunct="1">
              <a:lnSpc>
                <a:spcPct val="15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rPr>
              <a:t>A wonderful serenity </a:t>
            </a:r>
            <a:r>
              <a:rPr kumimoji="0" lang="en-US" sz="1200" b="0" i="0" u="none" strike="noStrike" kern="1200" cap="none" spc="0" normalizeH="0" baseline="0" noProof="0">
                <a:ln>
                  <a:noFill/>
                </a:ln>
                <a:solidFill>
                  <a:srgbClr val="000000"/>
                </a:solidFill>
                <a:effectLst/>
                <a:uLnTx/>
                <a:uFillTx/>
                <a:latin typeface="等线" panose="020F0502020204030204"/>
                <a:ea typeface="+mn-ea"/>
                <a:cs typeface="+mn-cs"/>
              </a:rPr>
              <a:t>has taken has this </a:t>
            </a:r>
            <a:r>
              <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rPr>
              <a:t>possession of </a:t>
            </a:r>
            <a:r>
              <a:rPr kumimoji="0" lang="en-US" sz="1200" b="0" i="0" u="none" strike="noStrike" kern="1200" cap="none" spc="0" normalizeH="0" baseline="0" noProof="0">
                <a:ln>
                  <a:noFill/>
                </a:ln>
                <a:solidFill>
                  <a:srgbClr val="000000"/>
                </a:solidFill>
                <a:effectLst/>
                <a:uLnTx/>
                <a:uFillTx/>
                <a:latin typeface="等线" panose="020F0502020204030204"/>
                <a:ea typeface="+mn-ea"/>
                <a:cs typeface="+mn-cs"/>
              </a:rPr>
              <a:t>my entire</a:t>
            </a:r>
            <a:endPar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44" name="TextBox 59">
            <a:extLst>
              <a:ext uri="{FF2B5EF4-FFF2-40B4-BE49-F238E27FC236}">
                <a16:creationId xmlns:a16="http://schemas.microsoft.com/office/drawing/2014/main" id="{3B0CCF89-C9F8-4A92-98EE-EBF7133CD4F7}"/>
              </a:ext>
            </a:extLst>
          </p:cNvPr>
          <p:cNvSpPr txBox="1"/>
          <p:nvPr/>
        </p:nvSpPr>
        <p:spPr>
          <a:xfrm>
            <a:off x="1296008" y="2061040"/>
            <a:ext cx="2148023" cy="338554"/>
          </a:xfrm>
          <a:prstGeom prst="rect">
            <a:avLst/>
          </a:prstGeom>
          <a:noFill/>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等线 Light" panose="020F0302020204030204"/>
                <a:ea typeface="+mn-ea"/>
                <a:cs typeface="+mn-cs"/>
              </a:rPr>
              <a:t>Description</a:t>
            </a:r>
          </a:p>
        </p:txBody>
      </p:sp>
      <p:sp>
        <p:nvSpPr>
          <p:cNvPr id="45" name="TextBox 60">
            <a:extLst>
              <a:ext uri="{FF2B5EF4-FFF2-40B4-BE49-F238E27FC236}">
                <a16:creationId xmlns:a16="http://schemas.microsoft.com/office/drawing/2014/main" id="{00885752-4A5D-490E-9057-0D1F8B115A4F}"/>
              </a:ext>
            </a:extLst>
          </p:cNvPr>
          <p:cNvSpPr txBox="1"/>
          <p:nvPr/>
        </p:nvSpPr>
        <p:spPr>
          <a:xfrm>
            <a:off x="3952780" y="2244904"/>
            <a:ext cx="1029098" cy="52322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F0F0F0"/>
                </a:solidFill>
                <a:effectLst/>
                <a:uLnTx/>
                <a:uFillTx/>
                <a:latin typeface="等线 Light" panose="020F0302020204030204"/>
                <a:ea typeface="+mn-ea"/>
                <a:cs typeface="+mn-cs"/>
              </a:rPr>
              <a:t>55%</a:t>
            </a:r>
          </a:p>
        </p:txBody>
      </p:sp>
      <p:sp>
        <p:nvSpPr>
          <p:cNvPr id="46" name="TextBox 63">
            <a:extLst>
              <a:ext uri="{FF2B5EF4-FFF2-40B4-BE49-F238E27FC236}">
                <a16:creationId xmlns:a16="http://schemas.microsoft.com/office/drawing/2014/main" id="{EB96D024-B0FB-4F01-8BDD-7FA595A3A4D9}"/>
              </a:ext>
            </a:extLst>
          </p:cNvPr>
          <p:cNvSpPr txBox="1"/>
          <p:nvPr/>
        </p:nvSpPr>
        <p:spPr>
          <a:xfrm>
            <a:off x="3952779" y="3595342"/>
            <a:ext cx="1029098" cy="52322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F0F0F0"/>
                </a:solidFill>
                <a:effectLst/>
                <a:uLnTx/>
                <a:uFillTx/>
                <a:latin typeface="等线 Light" panose="020F0302020204030204"/>
                <a:ea typeface="+mn-ea"/>
                <a:cs typeface="+mn-cs"/>
              </a:rPr>
              <a:t>65%</a:t>
            </a:r>
          </a:p>
        </p:txBody>
      </p:sp>
      <p:sp>
        <p:nvSpPr>
          <p:cNvPr id="47" name="TextBox 67">
            <a:extLst>
              <a:ext uri="{FF2B5EF4-FFF2-40B4-BE49-F238E27FC236}">
                <a16:creationId xmlns:a16="http://schemas.microsoft.com/office/drawing/2014/main" id="{D23C3112-7FA5-4908-AABD-8858CEA62DCA}"/>
              </a:ext>
            </a:extLst>
          </p:cNvPr>
          <p:cNvSpPr txBox="1"/>
          <p:nvPr/>
        </p:nvSpPr>
        <p:spPr>
          <a:xfrm>
            <a:off x="1191022" y="3670478"/>
            <a:ext cx="2251643" cy="616836"/>
          </a:xfrm>
          <a:prstGeom prst="rect">
            <a:avLst/>
          </a:prstGeom>
          <a:noFill/>
        </p:spPr>
        <p:txBody>
          <a:bodyPr wrap="square" rtlCol="0">
            <a:spAutoFit/>
          </a:bodyPr>
          <a:lstStyle/>
          <a:p>
            <a:pPr marL="0" marR="0" lvl="0" indent="0" algn="r" defTabSz="914400" rtl="0" eaLnBrk="1" fontAlgn="auto" latinLnBrk="0" hangingPunct="1">
              <a:lnSpc>
                <a:spcPct val="15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rPr>
              <a:t>A wonderful serenity </a:t>
            </a:r>
            <a:r>
              <a:rPr kumimoji="0" lang="en-US" sz="1200" b="0" i="0" u="none" strike="noStrike" kern="1200" cap="none" spc="0" normalizeH="0" baseline="0" noProof="0">
                <a:ln>
                  <a:noFill/>
                </a:ln>
                <a:solidFill>
                  <a:srgbClr val="000000"/>
                </a:solidFill>
                <a:effectLst/>
                <a:uLnTx/>
                <a:uFillTx/>
                <a:latin typeface="等线" panose="020F0502020204030204"/>
                <a:ea typeface="+mn-ea"/>
                <a:cs typeface="+mn-cs"/>
              </a:rPr>
              <a:t>has taken has this </a:t>
            </a:r>
            <a:r>
              <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rPr>
              <a:t>possession of </a:t>
            </a:r>
            <a:r>
              <a:rPr kumimoji="0" lang="en-US" sz="1200" b="0" i="0" u="none" strike="noStrike" kern="1200" cap="none" spc="0" normalizeH="0" baseline="0" noProof="0">
                <a:ln>
                  <a:noFill/>
                </a:ln>
                <a:solidFill>
                  <a:srgbClr val="000000"/>
                </a:solidFill>
                <a:effectLst/>
                <a:uLnTx/>
                <a:uFillTx/>
                <a:latin typeface="等线" panose="020F0502020204030204"/>
                <a:ea typeface="+mn-ea"/>
                <a:cs typeface="+mn-cs"/>
              </a:rPr>
              <a:t>my entire</a:t>
            </a:r>
            <a:endPar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48" name="TextBox 68">
            <a:extLst>
              <a:ext uri="{FF2B5EF4-FFF2-40B4-BE49-F238E27FC236}">
                <a16:creationId xmlns:a16="http://schemas.microsoft.com/office/drawing/2014/main" id="{4FBB038B-20C6-4C35-BB4A-CBFFC9495F01}"/>
              </a:ext>
            </a:extLst>
          </p:cNvPr>
          <p:cNvSpPr txBox="1"/>
          <p:nvPr/>
        </p:nvSpPr>
        <p:spPr>
          <a:xfrm>
            <a:off x="1294643" y="3408342"/>
            <a:ext cx="2148023" cy="338554"/>
          </a:xfrm>
          <a:prstGeom prst="rect">
            <a:avLst/>
          </a:prstGeom>
          <a:noFill/>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等线 Light" panose="020F0302020204030204"/>
                <a:ea typeface="+mn-ea"/>
                <a:cs typeface="+mn-cs"/>
              </a:rPr>
              <a:t>Description</a:t>
            </a:r>
          </a:p>
        </p:txBody>
      </p:sp>
      <p:sp>
        <p:nvSpPr>
          <p:cNvPr id="49" name="TextBox 69">
            <a:extLst>
              <a:ext uri="{FF2B5EF4-FFF2-40B4-BE49-F238E27FC236}">
                <a16:creationId xmlns:a16="http://schemas.microsoft.com/office/drawing/2014/main" id="{9D13B285-FA66-40F7-8A52-84F1CE303B5D}"/>
              </a:ext>
            </a:extLst>
          </p:cNvPr>
          <p:cNvSpPr txBox="1"/>
          <p:nvPr/>
        </p:nvSpPr>
        <p:spPr>
          <a:xfrm>
            <a:off x="1189657" y="5017780"/>
            <a:ext cx="2251643" cy="616836"/>
          </a:xfrm>
          <a:prstGeom prst="rect">
            <a:avLst/>
          </a:prstGeom>
          <a:noFill/>
        </p:spPr>
        <p:txBody>
          <a:bodyPr wrap="square" rtlCol="0">
            <a:spAutoFit/>
          </a:bodyPr>
          <a:lstStyle/>
          <a:p>
            <a:pPr marL="0" marR="0" lvl="0" indent="0" algn="r" defTabSz="914400" rtl="0" eaLnBrk="1" fontAlgn="auto" latinLnBrk="0" hangingPunct="1">
              <a:lnSpc>
                <a:spcPct val="15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rPr>
              <a:t>A wonderful serenity </a:t>
            </a:r>
            <a:r>
              <a:rPr kumimoji="0" lang="en-US" sz="1200" b="0" i="0" u="none" strike="noStrike" kern="1200" cap="none" spc="0" normalizeH="0" baseline="0" noProof="0">
                <a:ln>
                  <a:noFill/>
                </a:ln>
                <a:solidFill>
                  <a:srgbClr val="000000"/>
                </a:solidFill>
                <a:effectLst/>
                <a:uLnTx/>
                <a:uFillTx/>
                <a:latin typeface="等线" panose="020F0502020204030204"/>
                <a:ea typeface="+mn-ea"/>
                <a:cs typeface="+mn-cs"/>
              </a:rPr>
              <a:t>has taken has this </a:t>
            </a:r>
            <a:r>
              <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rPr>
              <a:t>possession of </a:t>
            </a:r>
            <a:r>
              <a:rPr kumimoji="0" lang="en-US" sz="1200" b="0" i="0" u="none" strike="noStrike" kern="1200" cap="none" spc="0" normalizeH="0" baseline="0" noProof="0">
                <a:ln>
                  <a:noFill/>
                </a:ln>
                <a:solidFill>
                  <a:srgbClr val="000000"/>
                </a:solidFill>
                <a:effectLst/>
                <a:uLnTx/>
                <a:uFillTx/>
                <a:latin typeface="等线" panose="020F0502020204030204"/>
                <a:ea typeface="+mn-ea"/>
                <a:cs typeface="+mn-cs"/>
              </a:rPr>
              <a:t>my entire</a:t>
            </a:r>
            <a:endPar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50" name="TextBox 70">
            <a:extLst>
              <a:ext uri="{FF2B5EF4-FFF2-40B4-BE49-F238E27FC236}">
                <a16:creationId xmlns:a16="http://schemas.microsoft.com/office/drawing/2014/main" id="{8E606D7B-C71D-41DD-9AB9-FDAAB1A7B957}"/>
              </a:ext>
            </a:extLst>
          </p:cNvPr>
          <p:cNvSpPr txBox="1"/>
          <p:nvPr/>
        </p:nvSpPr>
        <p:spPr>
          <a:xfrm>
            <a:off x="1293278" y="4755644"/>
            <a:ext cx="2148023" cy="338554"/>
          </a:xfrm>
          <a:prstGeom prst="rect">
            <a:avLst/>
          </a:prstGeom>
          <a:noFill/>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等线 Light" panose="020F0302020204030204"/>
                <a:ea typeface="+mn-ea"/>
                <a:cs typeface="+mn-cs"/>
              </a:rPr>
              <a:t>Description</a:t>
            </a:r>
          </a:p>
        </p:txBody>
      </p:sp>
      <p:sp>
        <p:nvSpPr>
          <p:cNvPr id="51" name="TextBox 71">
            <a:extLst>
              <a:ext uri="{FF2B5EF4-FFF2-40B4-BE49-F238E27FC236}">
                <a16:creationId xmlns:a16="http://schemas.microsoft.com/office/drawing/2014/main" id="{917B6E27-8993-44C3-A39D-7FD8E577377C}"/>
              </a:ext>
            </a:extLst>
          </p:cNvPr>
          <p:cNvSpPr txBox="1"/>
          <p:nvPr/>
        </p:nvSpPr>
        <p:spPr>
          <a:xfrm>
            <a:off x="7215299" y="2920771"/>
            <a:ext cx="1029098" cy="52322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F0F0F0"/>
                </a:solidFill>
                <a:effectLst/>
                <a:uLnTx/>
                <a:uFillTx/>
                <a:latin typeface="等线 Light" panose="020F0302020204030204"/>
                <a:ea typeface="+mn-ea"/>
                <a:cs typeface="+mn-cs"/>
              </a:rPr>
              <a:t>75%</a:t>
            </a:r>
          </a:p>
        </p:txBody>
      </p:sp>
      <p:sp>
        <p:nvSpPr>
          <p:cNvPr id="52" name="TextBox 72">
            <a:extLst>
              <a:ext uri="{FF2B5EF4-FFF2-40B4-BE49-F238E27FC236}">
                <a16:creationId xmlns:a16="http://schemas.microsoft.com/office/drawing/2014/main" id="{E6848DBB-EEFC-47EF-914A-5FC5BD0C855E}"/>
              </a:ext>
            </a:extLst>
          </p:cNvPr>
          <p:cNvSpPr txBox="1"/>
          <p:nvPr/>
        </p:nvSpPr>
        <p:spPr>
          <a:xfrm>
            <a:off x="7215299" y="4271208"/>
            <a:ext cx="1029098" cy="52322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F0F0F0"/>
                </a:solidFill>
                <a:effectLst/>
                <a:uLnTx/>
                <a:uFillTx/>
                <a:latin typeface="等线 Light" panose="020F0302020204030204"/>
                <a:ea typeface="+mn-ea"/>
                <a:cs typeface="+mn-cs"/>
              </a:rPr>
              <a:t>80%</a:t>
            </a:r>
          </a:p>
        </p:txBody>
      </p:sp>
      <p:sp>
        <p:nvSpPr>
          <p:cNvPr id="53" name="TextBox 73">
            <a:extLst>
              <a:ext uri="{FF2B5EF4-FFF2-40B4-BE49-F238E27FC236}">
                <a16:creationId xmlns:a16="http://schemas.microsoft.com/office/drawing/2014/main" id="{FFD25485-988A-43F2-B5D7-28FE884E41B1}"/>
              </a:ext>
            </a:extLst>
          </p:cNvPr>
          <p:cNvSpPr txBox="1"/>
          <p:nvPr/>
        </p:nvSpPr>
        <p:spPr>
          <a:xfrm>
            <a:off x="8754329" y="2974505"/>
            <a:ext cx="2261988" cy="616836"/>
          </a:xfrm>
          <a:prstGeom prst="rect">
            <a:avLst/>
          </a:prstGeom>
          <a:noFill/>
        </p:spPr>
        <p:txBody>
          <a:bodyPr wrap="square" rtlCol="0">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rPr>
              <a:t>A wonderful serenity </a:t>
            </a:r>
            <a:r>
              <a:rPr kumimoji="0" lang="en-US" sz="1200" b="0" i="0" u="none" strike="noStrike" kern="1200" cap="none" spc="0" normalizeH="0" baseline="0" noProof="0">
                <a:ln>
                  <a:noFill/>
                </a:ln>
                <a:solidFill>
                  <a:srgbClr val="000000"/>
                </a:solidFill>
                <a:effectLst/>
                <a:uLnTx/>
                <a:uFillTx/>
                <a:latin typeface="等线" panose="020F0502020204030204"/>
                <a:ea typeface="+mn-ea"/>
                <a:cs typeface="+mn-cs"/>
              </a:rPr>
              <a:t>has taken has this </a:t>
            </a:r>
            <a:r>
              <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rPr>
              <a:t>possession of </a:t>
            </a:r>
            <a:r>
              <a:rPr kumimoji="0" lang="en-US" sz="1200" b="0" i="0" u="none" strike="noStrike" kern="1200" cap="none" spc="0" normalizeH="0" baseline="0" noProof="0">
                <a:ln>
                  <a:noFill/>
                </a:ln>
                <a:solidFill>
                  <a:srgbClr val="000000"/>
                </a:solidFill>
                <a:effectLst/>
                <a:uLnTx/>
                <a:uFillTx/>
                <a:latin typeface="等线" panose="020F0502020204030204"/>
                <a:ea typeface="+mn-ea"/>
                <a:cs typeface="+mn-cs"/>
              </a:rPr>
              <a:t>my entire</a:t>
            </a:r>
            <a:endPar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54" name="TextBox 74">
            <a:extLst>
              <a:ext uri="{FF2B5EF4-FFF2-40B4-BE49-F238E27FC236}">
                <a16:creationId xmlns:a16="http://schemas.microsoft.com/office/drawing/2014/main" id="{C82D839A-A421-4396-8F58-912A354728C2}"/>
              </a:ext>
            </a:extLst>
          </p:cNvPr>
          <p:cNvSpPr txBox="1"/>
          <p:nvPr/>
        </p:nvSpPr>
        <p:spPr>
          <a:xfrm>
            <a:off x="8754329" y="2722273"/>
            <a:ext cx="2148023" cy="33855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等线 Light" panose="020F0302020204030204"/>
                <a:ea typeface="+mn-ea"/>
                <a:cs typeface="+mn-cs"/>
              </a:rPr>
              <a:t>Description</a:t>
            </a:r>
          </a:p>
        </p:txBody>
      </p:sp>
      <p:sp>
        <p:nvSpPr>
          <p:cNvPr id="55" name="TextBox 75">
            <a:extLst>
              <a:ext uri="{FF2B5EF4-FFF2-40B4-BE49-F238E27FC236}">
                <a16:creationId xmlns:a16="http://schemas.microsoft.com/office/drawing/2014/main" id="{90260D01-CAB9-4D1D-9D8E-EEDE45064704}"/>
              </a:ext>
            </a:extLst>
          </p:cNvPr>
          <p:cNvSpPr txBox="1"/>
          <p:nvPr/>
        </p:nvSpPr>
        <p:spPr>
          <a:xfrm>
            <a:off x="8754329" y="4337135"/>
            <a:ext cx="2261988" cy="616836"/>
          </a:xfrm>
          <a:prstGeom prst="rect">
            <a:avLst/>
          </a:prstGeom>
          <a:noFill/>
        </p:spPr>
        <p:txBody>
          <a:bodyPr wrap="square" rtlCol="0">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rPr>
              <a:t>A wonderful serenity </a:t>
            </a:r>
            <a:r>
              <a:rPr kumimoji="0" lang="en-US" sz="1200" b="0" i="0" u="none" strike="noStrike" kern="1200" cap="none" spc="0" normalizeH="0" baseline="0" noProof="0">
                <a:ln>
                  <a:noFill/>
                </a:ln>
                <a:solidFill>
                  <a:srgbClr val="000000"/>
                </a:solidFill>
                <a:effectLst/>
                <a:uLnTx/>
                <a:uFillTx/>
                <a:latin typeface="等线" panose="020F0502020204030204"/>
                <a:ea typeface="+mn-ea"/>
                <a:cs typeface="+mn-cs"/>
              </a:rPr>
              <a:t>has taken has this </a:t>
            </a:r>
            <a:r>
              <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rPr>
              <a:t>possession of </a:t>
            </a:r>
            <a:r>
              <a:rPr kumimoji="0" lang="en-US" sz="1200" b="0" i="0" u="none" strike="noStrike" kern="1200" cap="none" spc="0" normalizeH="0" baseline="0" noProof="0">
                <a:ln>
                  <a:noFill/>
                </a:ln>
                <a:solidFill>
                  <a:srgbClr val="000000"/>
                </a:solidFill>
                <a:effectLst/>
                <a:uLnTx/>
                <a:uFillTx/>
                <a:latin typeface="等线" panose="020F0502020204030204"/>
                <a:ea typeface="+mn-ea"/>
                <a:cs typeface="+mn-cs"/>
              </a:rPr>
              <a:t>my entire</a:t>
            </a:r>
            <a:endPar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56" name="TextBox 76">
            <a:extLst>
              <a:ext uri="{FF2B5EF4-FFF2-40B4-BE49-F238E27FC236}">
                <a16:creationId xmlns:a16="http://schemas.microsoft.com/office/drawing/2014/main" id="{4F9218E4-2E6D-4CA0-BE1D-4CE764C54321}"/>
              </a:ext>
            </a:extLst>
          </p:cNvPr>
          <p:cNvSpPr txBox="1"/>
          <p:nvPr/>
        </p:nvSpPr>
        <p:spPr>
          <a:xfrm>
            <a:off x="8754329" y="4084903"/>
            <a:ext cx="2148023" cy="33855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等线 Light" panose="020F0302020204030204"/>
                <a:ea typeface="+mn-ea"/>
                <a:cs typeface="+mn-cs"/>
              </a:rPr>
              <a:t>Description</a:t>
            </a:r>
          </a:p>
        </p:txBody>
      </p:sp>
      <p:sp>
        <p:nvSpPr>
          <p:cNvPr id="57" name="TextBox 66">
            <a:extLst>
              <a:ext uri="{FF2B5EF4-FFF2-40B4-BE49-F238E27FC236}">
                <a16:creationId xmlns:a16="http://schemas.microsoft.com/office/drawing/2014/main" id="{214A5CD1-93A5-47FB-8ECA-A32A3EE81BFC}"/>
              </a:ext>
            </a:extLst>
          </p:cNvPr>
          <p:cNvSpPr txBox="1"/>
          <p:nvPr/>
        </p:nvSpPr>
        <p:spPr>
          <a:xfrm>
            <a:off x="3952779" y="4945778"/>
            <a:ext cx="1029098" cy="52322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F0F0F0"/>
                </a:solidFill>
                <a:effectLst/>
                <a:uLnTx/>
                <a:uFillTx/>
                <a:latin typeface="等线 Light" panose="020F0302020204030204"/>
                <a:ea typeface="+mn-ea"/>
                <a:cs typeface="+mn-cs"/>
              </a:rPr>
              <a:t>50%</a:t>
            </a:r>
          </a:p>
        </p:txBody>
      </p:sp>
    </p:spTree>
    <p:extLst>
      <p:ext uri="{BB962C8B-B14F-4D97-AF65-F5344CB8AC3E}">
        <p14:creationId xmlns:p14="http://schemas.microsoft.com/office/powerpoint/2010/main" val="3236054887"/>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par>
                          <p:cTn id="8" fill="hold">
                            <p:stCondLst>
                              <p:cond delay="500"/>
                            </p:stCondLst>
                            <p:childTnLst>
                              <p:par>
                                <p:cTn id="9" presetID="22" presetClass="entr" presetSubtype="2" fill="hold" nodeType="afterEffect">
                                  <p:stCondLst>
                                    <p:cond delay="0"/>
                                  </p:stCondLst>
                                  <p:childTnLst>
                                    <p:set>
                                      <p:cBhvr>
                                        <p:cTn id="10" dur="1" fill="hold">
                                          <p:stCondLst>
                                            <p:cond delay="0"/>
                                          </p:stCondLst>
                                        </p:cTn>
                                        <p:tgtEl>
                                          <p:spTgt spid="2"/>
                                        </p:tgtEl>
                                        <p:attrNameLst>
                                          <p:attrName>style.visibility</p:attrName>
                                        </p:attrNameLst>
                                      </p:cBhvr>
                                      <p:to>
                                        <p:strVal val="visible"/>
                                      </p:to>
                                    </p:set>
                                    <p:animEffect transition="in" filter="wipe(right)">
                                      <p:cBhvr>
                                        <p:cTn id="11" dur="500"/>
                                        <p:tgtEl>
                                          <p:spTgt spid="2"/>
                                        </p:tgtEl>
                                      </p:cBhvr>
                                    </p:animEffect>
                                  </p:childTnLst>
                                </p:cTn>
                              </p:par>
                              <p:par>
                                <p:cTn id="12" presetID="10" presetClass="entr" presetSubtype="0" fill="hold" nodeType="withEffect">
                                  <p:stCondLst>
                                    <p:cond delay="0"/>
                                  </p:stCondLst>
                                  <p:childTnLst>
                                    <p:set>
                                      <p:cBhvr>
                                        <p:cTn id="13" dur="1" fill="hold">
                                          <p:stCondLst>
                                            <p:cond delay="0"/>
                                          </p:stCondLst>
                                        </p:cTn>
                                        <p:tgtEl>
                                          <p:spTgt spid="30"/>
                                        </p:tgtEl>
                                        <p:attrNameLst>
                                          <p:attrName>style.visibility</p:attrName>
                                        </p:attrNameLst>
                                      </p:cBhvr>
                                      <p:to>
                                        <p:strVal val="visible"/>
                                      </p:to>
                                    </p:set>
                                    <p:animEffect transition="in" filter="fade">
                                      <p:cBhvr>
                                        <p:cTn id="14" dur="500"/>
                                        <p:tgtEl>
                                          <p:spTgt spid="30"/>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57"/>
                                        </p:tgtEl>
                                        <p:attrNameLst>
                                          <p:attrName>style.visibility</p:attrName>
                                        </p:attrNameLst>
                                      </p:cBhvr>
                                      <p:to>
                                        <p:strVal val="visible"/>
                                      </p:to>
                                    </p:set>
                                    <p:animEffect transition="in" filter="fade">
                                      <p:cBhvr>
                                        <p:cTn id="17" dur="500"/>
                                        <p:tgtEl>
                                          <p:spTgt spid="57"/>
                                        </p:tgtEl>
                                      </p:cBhvr>
                                    </p:animEffect>
                                  </p:childTnLst>
                                </p:cTn>
                              </p:par>
                            </p:childTnLst>
                          </p:cTn>
                        </p:par>
                        <p:par>
                          <p:cTn id="18" fill="hold">
                            <p:stCondLst>
                              <p:cond delay="1000"/>
                            </p:stCondLst>
                            <p:childTnLst>
                              <p:par>
                                <p:cTn id="19" presetID="10" presetClass="entr" presetSubtype="0" fill="hold" grpId="0" nodeType="afterEffect">
                                  <p:stCondLst>
                                    <p:cond delay="0"/>
                                  </p:stCondLst>
                                  <p:childTnLst>
                                    <p:set>
                                      <p:cBhvr>
                                        <p:cTn id="20" dur="1" fill="hold">
                                          <p:stCondLst>
                                            <p:cond delay="0"/>
                                          </p:stCondLst>
                                        </p:cTn>
                                        <p:tgtEl>
                                          <p:spTgt spid="50"/>
                                        </p:tgtEl>
                                        <p:attrNameLst>
                                          <p:attrName>style.visibility</p:attrName>
                                        </p:attrNameLst>
                                      </p:cBhvr>
                                      <p:to>
                                        <p:strVal val="visible"/>
                                      </p:to>
                                    </p:set>
                                    <p:animEffect transition="in" filter="fade">
                                      <p:cBhvr>
                                        <p:cTn id="21" dur="500"/>
                                        <p:tgtEl>
                                          <p:spTgt spid="50"/>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49"/>
                                        </p:tgtEl>
                                        <p:attrNameLst>
                                          <p:attrName>style.visibility</p:attrName>
                                        </p:attrNameLst>
                                      </p:cBhvr>
                                      <p:to>
                                        <p:strVal val="visible"/>
                                      </p:to>
                                    </p:set>
                                    <p:animEffect transition="in" filter="fade">
                                      <p:cBhvr>
                                        <p:cTn id="24" dur="500"/>
                                        <p:tgtEl>
                                          <p:spTgt spid="49"/>
                                        </p:tgtEl>
                                      </p:cBhvr>
                                    </p:animEffect>
                                  </p:childTnLst>
                                </p:cTn>
                              </p:par>
                            </p:childTnLst>
                          </p:cTn>
                        </p:par>
                        <p:par>
                          <p:cTn id="25" fill="hold">
                            <p:stCondLst>
                              <p:cond delay="1500"/>
                            </p:stCondLst>
                            <p:childTnLst>
                              <p:par>
                                <p:cTn id="26" presetID="22" presetClass="entr" presetSubtype="8" fill="hold" nodeType="afterEffect">
                                  <p:stCondLst>
                                    <p:cond delay="0"/>
                                  </p:stCondLst>
                                  <p:childTnLst>
                                    <p:set>
                                      <p:cBhvr>
                                        <p:cTn id="27" dur="1" fill="hold">
                                          <p:stCondLst>
                                            <p:cond delay="0"/>
                                          </p:stCondLst>
                                        </p:cTn>
                                        <p:tgtEl>
                                          <p:spTgt spid="23"/>
                                        </p:tgtEl>
                                        <p:attrNameLst>
                                          <p:attrName>style.visibility</p:attrName>
                                        </p:attrNameLst>
                                      </p:cBhvr>
                                      <p:to>
                                        <p:strVal val="visible"/>
                                      </p:to>
                                    </p:set>
                                    <p:animEffect transition="in" filter="wipe(left)">
                                      <p:cBhvr>
                                        <p:cTn id="28" dur="500"/>
                                        <p:tgtEl>
                                          <p:spTgt spid="23"/>
                                        </p:tgtEl>
                                      </p:cBhvr>
                                    </p:animEffect>
                                  </p:childTnLst>
                                </p:cTn>
                              </p:par>
                              <p:par>
                                <p:cTn id="29" presetID="10" presetClass="entr" presetSubtype="0" fill="hold" nodeType="withEffect">
                                  <p:stCondLst>
                                    <p:cond delay="0"/>
                                  </p:stCondLst>
                                  <p:childTnLst>
                                    <p:set>
                                      <p:cBhvr>
                                        <p:cTn id="30" dur="1" fill="hold">
                                          <p:stCondLst>
                                            <p:cond delay="0"/>
                                          </p:stCondLst>
                                        </p:cTn>
                                        <p:tgtEl>
                                          <p:spTgt spid="38"/>
                                        </p:tgtEl>
                                        <p:attrNameLst>
                                          <p:attrName>style.visibility</p:attrName>
                                        </p:attrNameLst>
                                      </p:cBhvr>
                                      <p:to>
                                        <p:strVal val="visible"/>
                                      </p:to>
                                    </p:set>
                                    <p:animEffect transition="in" filter="fade">
                                      <p:cBhvr>
                                        <p:cTn id="31" dur="500"/>
                                        <p:tgtEl>
                                          <p:spTgt spid="38"/>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52"/>
                                        </p:tgtEl>
                                        <p:attrNameLst>
                                          <p:attrName>style.visibility</p:attrName>
                                        </p:attrNameLst>
                                      </p:cBhvr>
                                      <p:to>
                                        <p:strVal val="visible"/>
                                      </p:to>
                                    </p:set>
                                    <p:animEffect transition="in" filter="fade">
                                      <p:cBhvr>
                                        <p:cTn id="34" dur="500"/>
                                        <p:tgtEl>
                                          <p:spTgt spid="52"/>
                                        </p:tgtEl>
                                      </p:cBhvr>
                                    </p:animEffect>
                                  </p:childTnLst>
                                </p:cTn>
                              </p:par>
                            </p:childTnLst>
                          </p:cTn>
                        </p:par>
                        <p:par>
                          <p:cTn id="35" fill="hold">
                            <p:stCondLst>
                              <p:cond delay="2000"/>
                            </p:stCondLst>
                            <p:childTnLst>
                              <p:par>
                                <p:cTn id="36" presetID="10" presetClass="entr" presetSubtype="0" fill="hold" grpId="0" nodeType="afterEffect">
                                  <p:stCondLst>
                                    <p:cond delay="0"/>
                                  </p:stCondLst>
                                  <p:childTnLst>
                                    <p:set>
                                      <p:cBhvr>
                                        <p:cTn id="37" dur="1" fill="hold">
                                          <p:stCondLst>
                                            <p:cond delay="0"/>
                                          </p:stCondLst>
                                        </p:cTn>
                                        <p:tgtEl>
                                          <p:spTgt spid="56"/>
                                        </p:tgtEl>
                                        <p:attrNameLst>
                                          <p:attrName>style.visibility</p:attrName>
                                        </p:attrNameLst>
                                      </p:cBhvr>
                                      <p:to>
                                        <p:strVal val="visible"/>
                                      </p:to>
                                    </p:set>
                                    <p:animEffect transition="in" filter="fade">
                                      <p:cBhvr>
                                        <p:cTn id="38" dur="500"/>
                                        <p:tgtEl>
                                          <p:spTgt spid="56"/>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55"/>
                                        </p:tgtEl>
                                        <p:attrNameLst>
                                          <p:attrName>style.visibility</p:attrName>
                                        </p:attrNameLst>
                                      </p:cBhvr>
                                      <p:to>
                                        <p:strVal val="visible"/>
                                      </p:to>
                                    </p:set>
                                    <p:animEffect transition="in" filter="fade">
                                      <p:cBhvr>
                                        <p:cTn id="41" dur="500"/>
                                        <p:tgtEl>
                                          <p:spTgt spid="55"/>
                                        </p:tgtEl>
                                      </p:cBhvr>
                                    </p:animEffect>
                                  </p:childTnLst>
                                </p:cTn>
                              </p:par>
                            </p:childTnLst>
                          </p:cTn>
                        </p:par>
                        <p:par>
                          <p:cTn id="42" fill="hold">
                            <p:stCondLst>
                              <p:cond delay="2500"/>
                            </p:stCondLst>
                            <p:childTnLst>
                              <p:par>
                                <p:cTn id="43" presetID="22" presetClass="entr" presetSubtype="2" fill="hold" nodeType="afterEffect">
                                  <p:stCondLst>
                                    <p:cond delay="0"/>
                                  </p:stCondLst>
                                  <p:childTnLst>
                                    <p:set>
                                      <p:cBhvr>
                                        <p:cTn id="44" dur="1" fill="hold">
                                          <p:stCondLst>
                                            <p:cond delay="0"/>
                                          </p:stCondLst>
                                        </p:cTn>
                                        <p:tgtEl>
                                          <p:spTgt spid="18"/>
                                        </p:tgtEl>
                                        <p:attrNameLst>
                                          <p:attrName>style.visibility</p:attrName>
                                        </p:attrNameLst>
                                      </p:cBhvr>
                                      <p:to>
                                        <p:strVal val="visible"/>
                                      </p:to>
                                    </p:set>
                                    <p:animEffect transition="in" filter="wipe(right)">
                                      <p:cBhvr>
                                        <p:cTn id="45" dur="500"/>
                                        <p:tgtEl>
                                          <p:spTgt spid="18"/>
                                        </p:tgtEl>
                                      </p:cBhvr>
                                    </p:animEffect>
                                  </p:childTnLst>
                                </p:cTn>
                              </p:par>
                              <p:par>
                                <p:cTn id="46" presetID="10" presetClass="entr" presetSubtype="0" fill="hold" nodeType="withEffect">
                                  <p:stCondLst>
                                    <p:cond delay="0"/>
                                  </p:stCondLst>
                                  <p:childTnLst>
                                    <p:set>
                                      <p:cBhvr>
                                        <p:cTn id="47" dur="1" fill="hold">
                                          <p:stCondLst>
                                            <p:cond delay="0"/>
                                          </p:stCondLst>
                                        </p:cTn>
                                        <p:tgtEl>
                                          <p:spTgt spid="33"/>
                                        </p:tgtEl>
                                        <p:attrNameLst>
                                          <p:attrName>style.visibility</p:attrName>
                                        </p:attrNameLst>
                                      </p:cBhvr>
                                      <p:to>
                                        <p:strVal val="visible"/>
                                      </p:to>
                                    </p:set>
                                    <p:animEffect transition="in" filter="fade">
                                      <p:cBhvr>
                                        <p:cTn id="48" dur="500"/>
                                        <p:tgtEl>
                                          <p:spTgt spid="33"/>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46"/>
                                        </p:tgtEl>
                                        <p:attrNameLst>
                                          <p:attrName>style.visibility</p:attrName>
                                        </p:attrNameLst>
                                      </p:cBhvr>
                                      <p:to>
                                        <p:strVal val="visible"/>
                                      </p:to>
                                    </p:set>
                                    <p:animEffect transition="in" filter="fade">
                                      <p:cBhvr>
                                        <p:cTn id="51" dur="500"/>
                                        <p:tgtEl>
                                          <p:spTgt spid="46"/>
                                        </p:tgtEl>
                                      </p:cBhvr>
                                    </p:animEffect>
                                  </p:childTnLst>
                                </p:cTn>
                              </p:par>
                            </p:childTnLst>
                          </p:cTn>
                        </p:par>
                        <p:par>
                          <p:cTn id="52" fill="hold">
                            <p:stCondLst>
                              <p:cond delay="3000"/>
                            </p:stCondLst>
                            <p:childTnLst>
                              <p:par>
                                <p:cTn id="53" presetID="10" presetClass="entr" presetSubtype="0" fill="hold" grpId="0" nodeType="afterEffect">
                                  <p:stCondLst>
                                    <p:cond delay="0"/>
                                  </p:stCondLst>
                                  <p:childTnLst>
                                    <p:set>
                                      <p:cBhvr>
                                        <p:cTn id="54" dur="1" fill="hold">
                                          <p:stCondLst>
                                            <p:cond delay="0"/>
                                          </p:stCondLst>
                                        </p:cTn>
                                        <p:tgtEl>
                                          <p:spTgt spid="48"/>
                                        </p:tgtEl>
                                        <p:attrNameLst>
                                          <p:attrName>style.visibility</p:attrName>
                                        </p:attrNameLst>
                                      </p:cBhvr>
                                      <p:to>
                                        <p:strVal val="visible"/>
                                      </p:to>
                                    </p:set>
                                    <p:animEffect transition="in" filter="fade">
                                      <p:cBhvr>
                                        <p:cTn id="55" dur="500"/>
                                        <p:tgtEl>
                                          <p:spTgt spid="48"/>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47"/>
                                        </p:tgtEl>
                                        <p:attrNameLst>
                                          <p:attrName>style.visibility</p:attrName>
                                        </p:attrNameLst>
                                      </p:cBhvr>
                                      <p:to>
                                        <p:strVal val="visible"/>
                                      </p:to>
                                    </p:set>
                                    <p:animEffect transition="in" filter="fade">
                                      <p:cBhvr>
                                        <p:cTn id="58" dur="500"/>
                                        <p:tgtEl>
                                          <p:spTgt spid="47"/>
                                        </p:tgtEl>
                                      </p:cBhvr>
                                    </p:animEffect>
                                  </p:childTnLst>
                                </p:cTn>
                              </p:par>
                            </p:childTnLst>
                          </p:cTn>
                        </p:par>
                        <p:par>
                          <p:cTn id="59" fill="hold">
                            <p:stCondLst>
                              <p:cond delay="3500"/>
                            </p:stCondLst>
                            <p:childTnLst>
                              <p:par>
                                <p:cTn id="60" presetID="22" presetClass="entr" presetSubtype="8" fill="hold" nodeType="afterEffect">
                                  <p:stCondLst>
                                    <p:cond delay="0"/>
                                  </p:stCondLst>
                                  <p:childTnLst>
                                    <p:set>
                                      <p:cBhvr>
                                        <p:cTn id="61" dur="1" fill="hold">
                                          <p:stCondLst>
                                            <p:cond delay="0"/>
                                          </p:stCondLst>
                                        </p:cTn>
                                        <p:tgtEl>
                                          <p:spTgt spid="13"/>
                                        </p:tgtEl>
                                        <p:attrNameLst>
                                          <p:attrName>style.visibility</p:attrName>
                                        </p:attrNameLst>
                                      </p:cBhvr>
                                      <p:to>
                                        <p:strVal val="visible"/>
                                      </p:to>
                                    </p:set>
                                    <p:animEffect transition="in" filter="wipe(left)">
                                      <p:cBhvr>
                                        <p:cTn id="62" dur="500"/>
                                        <p:tgtEl>
                                          <p:spTgt spid="13"/>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28"/>
                                        </p:tgtEl>
                                        <p:attrNameLst>
                                          <p:attrName>style.visibility</p:attrName>
                                        </p:attrNameLst>
                                      </p:cBhvr>
                                      <p:to>
                                        <p:strVal val="visible"/>
                                      </p:to>
                                    </p:set>
                                    <p:animEffect transition="in" filter="fade">
                                      <p:cBhvr>
                                        <p:cTn id="65" dur="500"/>
                                        <p:tgtEl>
                                          <p:spTgt spid="28"/>
                                        </p:tgtEl>
                                      </p:cBhvr>
                                    </p:animEffect>
                                  </p:childTnLst>
                                </p:cTn>
                              </p:par>
                              <p:par>
                                <p:cTn id="66" presetID="10" presetClass="entr" presetSubtype="0" fill="hold" grpId="0" nodeType="withEffect">
                                  <p:stCondLst>
                                    <p:cond delay="0"/>
                                  </p:stCondLst>
                                  <p:childTnLst>
                                    <p:set>
                                      <p:cBhvr>
                                        <p:cTn id="67" dur="1" fill="hold">
                                          <p:stCondLst>
                                            <p:cond delay="0"/>
                                          </p:stCondLst>
                                        </p:cTn>
                                        <p:tgtEl>
                                          <p:spTgt spid="51"/>
                                        </p:tgtEl>
                                        <p:attrNameLst>
                                          <p:attrName>style.visibility</p:attrName>
                                        </p:attrNameLst>
                                      </p:cBhvr>
                                      <p:to>
                                        <p:strVal val="visible"/>
                                      </p:to>
                                    </p:set>
                                    <p:animEffect transition="in" filter="fade">
                                      <p:cBhvr>
                                        <p:cTn id="68" dur="500"/>
                                        <p:tgtEl>
                                          <p:spTgt spid="51"/>
                                        </p:tgtEl>
                                      </p:cBhvr>
                                    </p:animEffect>
                                  </p:childTnLst>
                                </p:cTn>
                              </p:par>
                            </p:childTnLst>
                          </p:cTn>
                        </p:par>
                        <p:par>
                          <p:cTn id="69" fill="hold">
                            <p:stCondLst>
                              <p:cond delay="4000"/>
                            </p:stCondLst>
                            <p:childTnLst>
                              <p:par>
                                <p:cTn id="70" presetID="10" presetClass="entr" presetSubtype="0" fill="hold" grpId="0" nodeType="afterEffect">
                                  <p:stCondLst>
                                    <p:cond delay="0"/>
                                  </p:stCondLst>
                                  <p:childTnLst>
                                    <p:set>
                                      <p:cBhvr>
                                        <p:cTn id="71" dur="1" fill="hold">
                                          <p:stCondLst>
                                            <p:cond delay="0"/>
                                          </p:stCondLst>
                                        </p:cTn>
                                        <p:tgtEl>
                                          <p:spTgt spid="54"/>
                                        </p:tgtEl>
                                        <p:attrNameLst>
                                          <p:attrName>style.visibility</p:attrName>
                                        </p:attrNameLst>
                                      </p:cBhvr>
                                      <p:to>
                                        <p:strVal val="visible"/>
                                      </p:to>
                                    </p:set>
                                    <p:animEffect transition="in" filter="fade">
                                      <p:cBhvr>
                                        <p:cTn id="72" dur="500"/>
                                        <p:tgtEl>
                                          <p:spTgt spid="54"/>
                                        </p:tgtEl>
                                      </p:cBhvr>
                                    </p:animEffect>
                                  </p:childTnLst>
                                </p:cTn>
                              </p:par>
                              <p:par>
                                <p:cTn id="73" presetID="10" presetClass="entr" presetSubtype="0" fill="hold" grpId="0" nodeType="withEffect">
                                  <p:stCondLst>
                                    <p:cond delay="0"/>
                                  </p:stCondLst>
                                  <p:childTnLst>
                                    <p:set>
                                      <p:cBhvr>
                                        <p:cTn id="74" dur="1" fill="hold">
                                          <p:stCondLst>
                                            <p:cond delay="0"/>
                                          </p:stCondLst>
                                        </p:cTn>
                                        <p:tgtEl>
                                          <p:spTgt spid="53"/>
                                        </p:tgtEl>
                                        <p:attrNameLst>
                                          <p:attrName>style.visibility</p:attrName>
                                        </p:attrNameLst>
                                      </p:cBhvr>
                                      <p:to>
                                        <p:strVal val="visible"/>
                                      </p:to>
                                    </p:set>
                                    <p:animEffect transition="in" filter="fade">
                                      <p:cBhvr>
                                        <p:cTn id="75" dur="500"/>
                                        <p:tgtEl>
                                          <p:spTgt spid="53"/>
                                        </p:tgtEl>
                                      </p:cBhvr>
                                    </p:animEffect>
                                  </p:childTnLst>
                                </p:cTn>
                              </p:par>
                            </p:childTnLst>
                          </p:cTn>
                        </p:par>
                        <p:par>
                          <p:cTn id="76" fill="hold">
                            <p:stCondLst>
                              <p:cond delay="4500"/>
                            </p:stCondLst>
                            <p:childTnLst>
                              <p:par>
                                <p:cTn id="77" presetID="22" presetClass="entr" presetSubtype="2" fill="hold" nodeType="afterEffect">
                                  <p:stCondLst>
                                    <p:cond delay="0"/>
                                  </p:stCondLst>
                                  <p:childTnLst>
                                    <p:set>
                                      <p:cBhvr>
                                        <p:cTn id="78" dur="1" fill="hold">
                                          <p:stCondLst>
                                            <p:cond delay="0"/>
                                          </p:stCondLst>
                                        </p:cTn>
                                        <p:tgtEl>
                                          <p:spTgt spid="8"/>
                                        </p:tgtEl>
                                        <p:attrNameLst>
                                          <p:attrName>style.visibility</p:attrName>
                                        </p:attrNameLst>
                                      </p:cBhvr>
                                      <p:to>
                                        <p:strVal val="visible"/>
                                      </p:to>
                                    </p:set>
                                    <p:animEffect transition="in" filter="wipe(right)">
                                      <p:cBhvr>
                                        <p:cTn id="79" dur="500"/>
                                        <p:tgtEl>
                                          <p:spTgt spid="8"/>
                                        </p:tgtEl>
                                      </p:cBhvr>
                                    </p:animEffect>
                                  </p:childTnLst>
                                </p:cTn>
                              </p:par>
                              <p:par>
                                <p:cTn id="80" presetID="10" presetClass="entr" presetSubtype="0" fill="hold" grpId="0" nodeType="withEffect">
                                  <p:stCondLst>
                                    <p:cond delay="0"/>
                                  </p:stCondLst>
                                  <p:childTnLst>
                                    <p:set>
                                      <p:cBhvr>
                                        <p:cTn id="81" dur="1" fill="hold">
                                          <p:stCondLst>
                                            <p:cond delay="0"/>
                                          </p:stCondLst>
                                        </p:cTn>
                                        <p:tgtEl>
                                          <p:spTgt spid="29"/>
                                        </p:tgtEl>
                                        <p:attrNameLst>
                                          <p:attrName>style.visibility</p:attrName>
                                        </p:attrNameLst>
                                      </p:cBhvr>
                                      <p:to>
                                        <p:strVal val="visible"/>
                                      </p:to>
                                    </p:set>
                                    <p:animEffect transition="in" filter="fade">
                                      <p:cBhvr>
                                        <p:cTn id="82" dur="500"/>
                                        <p:tgtEl>
                                          <p:spTgt spid="29"/>
                                        </p:tgtEl>
                                      </p:cBhvr>
                                    </p:animEffect>
                                  </p:childTnLst>
                                </p:cTn>
                              </p:par>
                              <p:par>
                                <p:cTn id="83" presetID="10" presetClass="entr" presetSubtype="0" fill="hold" grpId="0" nodeType="withEffect">
                                  <p:stCondLst>
                                    <p:cond delay="0"/>
                                  </p:stCondLst>
                                  <p:childTnLst>
                                    <p:set>
                                      <p:cBhvr>
                                        <p:cTn id="84" dur="1" fill="hold">
                                          <p:stCondLst>
                                            <p:cond delay="0"/>
                                          </p:stCondLst>
                                        </p:cTn>
                                        <p:tgtEl>
                                          <p:spTgt spid="45"/>
                                        </p:tgtEl>
                                        <p:attrNameLst>
                                          <p:attrName>style.visibility</p:attrName>
                                        </p:attrNameLst>
                                      </p:cBhvr>
                                      <p:to>
                                        <p:strVal val="visible"/>
                                      </p:to>
                                    </p:set>
                                    <p:animEffect transition="in" filter="fade">
                                      <p:cBhvr>
                                        <p:cTn id="85" dur="500"/>
                                        <p:tgtEl>
                                          <p:spTgt spid="45"/>
                                        </p:tgtEl>
                                      </p:cBhvr>
                                    </p:animEffect>
                                  </p:childTnLst>
                                </p:cTn>
                              </p:par>
                            </p:childTnLst>
                          </p:cTn>
                        </p:par>
                        <p:par>
                          <p:cTn id="86" fill="hold">
                            <p:stCondLst>
                              <p:cond delay="5000"/>
                            </p:stCondLst>
                            <p:childTnLst>
                              <p:par>
                                <p:cTn id="87" presetID="10" presetClass="entr" presetSubtype="0" fill="hold" grpId="0" nodeType="afterEffect">
                                  <p:stCondLst>
                                    <p:cond delay="0"/>
                                  </p:stCondLst>
                                  <p:childTnLst>
                                    <p:set>
                                      <p:cBhvr>
                                        <p:cTn id="88" dur="1" fill="hold">
                                          <p:stCondLst>
                                            <p:cond delay="0"/>
                                          </p:stCondLst>
                                        </p:cTn>
                                        <p:tgtEl>
                                          <p:spTgt spid="44"/>
                                        </p:tgtEl>
                                        <p:attrNameLst>
                                          <p:attrName>style.visibility</p:attrName>
                                        </p:attrNameLst>
                                      </p:cBhvr>
                                      <p:to>
                                        <p:strVal val="visible"/>
                                      </p:to>
                                    </p:set>
                                    <p:animEffect transition="in" filter="fade">
                                      <p:cBhvr>
                                        <p:cTn id="89" dur="500"/>
                                        <p:tgtEl>
                                          <p:spTgt spid="44"/>
                                        </p:tgtEl>
                                      </p:cBhvr>
                                    </p:animEffect>
                                  </p:childTnLst>
                                </p:cTn>
                              </p:par>
                              <p:par>
                                <p:cTn id="90" presetID="10" presetClass="entr" presetSubtype="0" fill="hold" grpId="0" nodeType="withEffect">
                                  <p:stCondLst>
                                    <p:cond delay="0"/>
                                  </p:stCondLst>
                                  <p:childTnLst>
                                    <p:set>
                                      <p:cBhvr>
                                        <p:cTn id="91" dur="1" fill="hold">
                                          <p:stCondLst>
                                            <p:cond delay="0"/>
                                          </p:stCondLst>
                                        </p:cTn>
                                        <p:tgtEl>
                                          <p:spTgt spid="43"/>
                                        </p:tgtEl>
                                        <p:attrNameLst>
                                          <p:attrName>style.visibility</p:attrName>
                                        </p:attrNameLst>
                                      </p:cBhvr>
                                      <p:to>
                                        <p:strVal val="visible"/>
                                      </p:to>
                                    </p:set>
                                    <p:animEffect transition="in" filter="fade">
                                      <p:cBhvr>
                                        <p:cTn id="92" dur="500"/>
                                        <p:tgtEl>
                                          <p:spTgt spid="4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28" grpId="0" animBg="1"/>
      <p:bldP spid="29" grpId="0" animBg="1"/>
      <p:bldP spid="43" grpId="0"/>
      <p:bldP spid="44" grpId="0"/>
      <p:bldP spid="45" grpId="0"/>
      <p:bldP spid="46" grpId="0"/>
      <p:bldP spid="47" grpId="0"/>
      <p:bldP spid="48" grpId="0"/>
      <p:bldP spid="49" grpId="0"/>
      <p:bldP spid="50" grpId="0"/>
      <p:bldP spid="51" grpId="0"/>
      <p:bldP spid="52" grpId="0"/>
      <p:bldP spid="53" grpId="0"/>
      <p:bldP spid="54" grpId="0"/>
      <p:bldP spid="55" grpId="0"/>
      <p:bldP spid="56" grpId="0"/>
      <p:bldP spid="57" grpId="0"/>
    </p:bldLst>
  </p:timing>
</p:sld>
</file>

<file path=ppt/slides/slide5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4">
            <a:extLst>
              <a:ext uri="{FF2B5EF4-FFF2-40B4-BE49-F238E27FC236}">
                <a16:creationId xmlns:a16="http://schemas.microsoft.com/office/drawing/2014/main" id="{2C7963CB-93FA-47CA-811C-16F2A554A4BC}"/>
              </a:ext>
            </a:extLst>
          </p:cNvPr>
          <p:cNvGrpSpPr/>
          <p:nvPr/>
        </p:nvGrpSpPr>
        <p:grpSpPr>
          <a:xfrm>
            <a:off x="4137811" y="1727200"/>
            <a:ext cx="1989060" cy="2241976"/>
            <a:chOff x="4137811" y="1727200"/>
            <a:chExt cx="1989060" cy="2241976"/>
          </a:xfrm>
        </p:grpSpPr>
        <p:sp>
          <p:nvSpPr>
            <p:cNvPr id="3" name="Freeform: Shape 95">
              <a:extLst>
                <a:ext uri="{FF2B5EF4-FFF2-40B4-BE49-F238E27FC236}">
                  <a16:creationId xmlns:a16="http://schemas.microsoft.com/office/drawing/2014/main" id="{06FCA7AA-558F-4874-9B9B-EE81F3ED23F4}"/>
                </a:ext>
              </a:extLst>
            </p:cNvPr>
            <p:cNvSpPr/>
            <p:nvPr/>
          </p:nvSpPr>
          <p:spPr>
            <a:xfrm>
              <a:off x="5070793" y="2596974"/>
              <a:ext cx="1056078" cy="1372202"/>
            </a:xfrm>
            <a:custGeom>
              <a:avLst/>
              <a:gdLst>
                <a:gd name="connsiteX0" fmla="*/ 838200 w 944879"/>
                <a:gd name="connsiteY0" fmla="*/ 427673 h 1227718"/>
                <a:gd name="connsiteX1" fmla="*/ 120015 w 944879"/>
                <a:gd name="connsiteY1" fmla="*/ 60960 h 1227718"/>
                <a:gd name="connsiteX2" fmla="*/ 0 w 944879"/>
                <a:gd name="connsiteY2" fmla="*/ 0 h 1227718"/>
                <a:gd name="connsiteX3" fmla="*/ 0 w 944879"/>
                <a:gd name="connsiteY3" fmla="*/ 148590 h 1227718"/>
                <a:gd name="connsiteX4" fmla="*/ 777240 w 944879"/>
                <a:gd name="connsiteY4" fmla="*/ 545783 h 1227718"/>
                <a:gd name="connsiteX5" fmla="*/ 811530 w 944879"/>
                <a:gd name="connsiteY5" fmla="*/ 615315 h 1227718"/>
                <a:gd name="connsiteX6" fmla="*/ 811530 w 944879"/>
                <a:gd name="connsiteY6" fmla="*/ 872490 h 1227718"/>
                <a:gd name="connsiteX7" fmla="*/ 811530 w 944879"/>
                <a:gd name="connsiteY7" fmla="*/ 1055370 h 1227718"/>
                <a:gd name="connsiteX8" fmla="*/ 811530 w 944879"/>
                <a:gd name="connsiteY8" fmla="*/ 1203960 h 1227718"/>
                <a:gd name="connsiteX9" fmla="*/ 838200 w 944879"/>
                <a:gd name="connsiteY9" fmla="*/ 1217295 h 1227718"/>
                <a:gd name="connsiteX10" fmla="*/ 944880 w 944879"/>
                <a:gd name="connsiteY10" fmla="*/ 1137285 h 1227718"/>
                <a:gd name="connsiteX11" fmla="*/ 944880 w 944879"/>
                <a:gd name="connsiteY11" fmla="*/ 614363 h 1227718"/>
                <a:gd name="connsiteX12" fmla="*/ 838200 w 944879"/>
                <a:gd name="connsiteY12" fmla="*/ 427673 h 12277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44879" h="1227718">
                  <a:moveTo>
                    <a:pt x="838200" y="427673"/>
                  </a:moveTo>
                  <a:lnTo>
                    <a:pt x="120015" y="60960"/>
                  </a:lnTo>
                  <a:lnTo>
                    <a:pt x="0" y="0"/>
                  </a:lnTo>
                  <a:lnTo>
                    <a:pt x="0" y="148590"/>
                  </a:lnTo>
                  <a:lnTo>
                    <a:pt x="777240" y="545783"/>
                  </a:lnTo>
                  <a:cubicBezTo>
                    <a:pt x="794385" y="556260"/>
                    <a:pt x="811530" y="595313"/>
                    <a:pt x="811530" y="615315"/>
                  </a:cubicBezTo>
                  <a:lnTo>
                    <a:pt x="811530" y="872490"/>
                  </a:lnTo>
                  <a:lnTo>
                    <a:pt x="811530" y="1055370"/>
                  </a:lnTo>
                  <a:lnTo>
                    <a:pt x="811530" y="1203960"/>
                  </a:lnTo>
                  <a:lnTo>
                    <a:pt x="838200" y="1217295"/>
                  </a:lnTo>
                  <a:cubicBezTo>
                    <a:pt x="896303" y="1246823"/>
                    <a:pt x="944880" y="1211580"/>
                    <a:pt x="944880" y="1137285"/>
                  </a:cubicBezTo>
                  <a:lnTo>
                    <a:pt x="944880" y="614363"/>
                  </a:lnTo>
                  <a:cubicBezTo>
                    <a:pt x="943928" y="541973"/>
                    <a:pt x="896303" y="457200"/>
                    <a:pt x="838200" y="427673"/>
                  </a:cubicBezTo>
                  <a:close/>
                </a:path>
              </a:pathLst>
            </a:custGeom>
            <a:solidFill>
              <a:schemeClr val="accent6"/>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4" name="Freeform: Shape 96">
              <a:extLst>
                <a:ext uri="{FF2B5EF4-FFF2-40B4-BE49-F238E27FC236}">
                  <a16:creationId xmlns:a16="http://schemas.microsoft.com/office/drawing/2014/main" id="{F8631DDF-009C-45C5-9129-BA6CD65BA64F}"/>
                </a:ext>
              </a:extLst>
            </p:cNvPr>
            <p:cNvSpPr/>
            <p:nvPr/>
          </p:nvSpPr>
          <p:spPr>
            <a:xfrm>
              <a:off x="4137811" y="1727200"/>
              <a:ext cx="879355" cy="775025"/>
            </a:xfrm>
            <a:custGeom>
              <a:avLst/>
              <a:gdLst>
                <a:gd name="connsiteX0" fmla="*/ 174308 w 786764"/>
                <a:gd name="connsiteY0" fmla="*/ 0 h 693420"/>
                <a:gd name="connsiteX1" fmla="*/ 504825 w 786764"/>
                <a:gd name="connsiteY1" fmla="*/ 0 h 693420"/>
                <a:gd name="connsiteX2" fmla="*/ 786765 w 786764"/>
                <a:gd name="connsiteY2" fmla="*/ 346710 h 693420"/>
                <a:gd name="connsiteX3" fmla="*/ 786765 w 786764"/>
                <a:gd name="connsiteY3" fmla="*/ 693420 h 693420"/>
                <a:gd name="connsiteX4" fmla="*/ 262890 w 786764"/>
                <a:gd name="connsiteY4" fmla="*/ 692468 h 693420"/>
                <a:gd name="connsiteX5" fmla="*/ 0 w 786764"/>
                <a:gd name="connsiteY5" fmla="*/ 346710 h 693420"/>
                <a:gd name="connsiteX6" fmla="*/ 0 w 786764"/>
                <a:gd name="connsiteY6" fmla="*/ 174308 h 693420"/>
                <a:gd name="connsiteX7" fmla="*/ 174308 w 786764"/>
                <a:gd name="connsiteY7" fmla="*/ 0 h 693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764" h="693420">
                  <a:moveTo>
                    <a:pt x="174308" y="0"/>
                  </a:moveTo>
                  <a:lnTo>
                    <a:pt x="504825" y="0"/>
                  </a:lnTo>
                  <a:cubicBezTo>
                    <a:pt x="660083" y="0"/>
                    <a:pt x="786765" y="156210"/>
                    <a:pt x="786765" y="346710"/>
                  </a:cubicBezTo>
                  <a:lnTo>
                    <a:pt x="786765" y="693420"/>
                  </a:lnTo>
                  <a:lnTo>
                    <a:pt x="262890" y="692468"/>
                  </a:lnTo>
                  <a:cubicBezTo>
                    <a:pt x="116205" y="681990"/>
                    <a:pt x="0" y="529590"/>
                    <a:pt x="0" y="346710"/>
                  </a:cubicBezTo>
                  <a:lnTo>
                    <a:pt x="0" y="174308"/>
                  </a:lnTo>
                  <a:cubicBezTo>
                    <a:pt x="0" y="78105"/>
                    <a:pt x="78105" y="0"/>
                    <a:pt x="174308" y="0"/>
                  </a:cubicBezTo>
                  <a:close/>
                </a:path>
              </a:pathLst>
            </a:custGeom>
            <a:solidFill>
              <a:schemeClr val="accent6"/>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5" name="Freeform: Shape 97">
              <a:extLst>
                <a:ext uri="{FF2B5EF4-FFF2-40B4-BE49-F238E27FC236}">
                  <a16:creationId xmlns:a16="http://schemas.microsoft.com/office/drawing/2014/main" id="{49EFB106-F16B-4158-93A5-2297F51B94B1}"/>
                </a:ext>
              </a:extLst>
            </p:cNvPr>
            <p:cNvSpPr/>
            <p:nvPr/>
          </p:nvSpPr>
          <p:spPr>
            <a:xfrm>
              <a:off x="5058019" y="2534163"/>
              <a:ext cx="568493" cy="502488"/>
            </a:xfrm>
            <a:custGeom>
              <a:avLst/>
              <a:gdLst>
                <a:gd name="connsiteX0" fmla="*/ 396240 w 508634"/>
                <a:gd name="connsiteY0" fmla="*/ 449580 h 449579"/>
                <a:gd name="connsiteX1" fmla="*/ 181927 w 508634"/>
                <a:gd name="connsiteY1" fmla="*/ 449580 h 449579"/>
                <a:gd name="connsiteX2" fmla="*/ 0 w 508634"/>
                <a:gd name="connsiteY2" fmla="*/ 224790 h 449579"/>
                <a:gd name="connsiteX3" fmla="*/ 0 w 508634"/>
                <a:gd name="connsiteY3" fmla="*/ 0 h 449579"/>
                <a:gd name="connsiteX4" fmla="*/ 338138 w 508634"/>
                <a:gd name="connsiteY4" fmla="*/ 952 h 449579"/>
                <a:gd name="connsiteX5" fmla="*/ 508635 w 508634"/>
                <a:gd name="connsiteY5" fmla="*/ 224790 h 449579"/>
                <a:gd name="connsiteX6" fmla="*/ 508635 w 508634"/>
                <a:gd name="connsiteY6" fmla="*/ 336232 h 449579"/>
                <a:gd name="connsiteX7" fmla="*/ 396240 w 508634"/>
                <a:gd name="connsiteY7" fmla="*/ 449580 h 449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8634" h="449579">
                  <a:moveTo>
                    <a:pt x="396240" y="449580"/>
                  </a:moveTo>
                  <a:lnTo>
                    <a:pt x="181927" y="449580"/>
                  </a:lnTo>
                  <a:cubicBezTo>
                    <a:pt x="81915" y="449580"/>
                    <a:pt x="0" y="348615"/>
                    <a:pt x="0" y="224790"/>
                  </a:cubicBezTo>
                  <a:lnTo>
                    <a:pt x="0" y="0"/>
                  </a:lnTo>
                  <a:lnTo>
                    <a:pt x="338138" y="952"/>
                  </a:lnTo>
                  <a:cubicBezTo>
                    <a:pt x="433388" y="8572"/>
                    <a:pt x="508635" y="106680"/>
                    <a:pt x="508635" y="224790"/>
                  </a:cubicBezTo>
                  <a:lnTo>
                    <a:pt x="508635" y="336232"/>
                  </a:lnTo>
                  <a:cubicBezTo>
                    <a:pt x="508635" y="398145"/>
                    <a:pt x="458153" y="449580"/>
                    <a:pt x="396240" y="449580"/>
                  </a:cubicBezTo>
                  <a:close/>
                </a:path>
              </a:pathLst>
            </a:custGeom>
            <a:solidFill>
              <a:schemeClr val="accent6"/>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useBgFill="1">
          <p:nvSpPr>
            <p:cNvPr id="6" name="Freeform: Shape 98">
              <a:extLst>
                <a:ext uri="{FF2B5EF4-FFF2-40B4-BE49-F238E27FC236}">
                  <a16:creationId xmlns:a16="http://schemas.microsoft.com/office/drawing/2014/main" id="{E1706E26-AA1E-41B3-9EBC-09A10007B02F}"/>
                </a:ext>
              </a:extLst>
            </p:cNvPr>
            <p:cNvSpPr/>
            <p:nvPr/>
          </p:nvSpPr>
          <p:spPr>
            <a:xfrm>
              <a:off x="5104328" y="2582070"/>
              <a:ext cx="475874" cy="406675"/>
            </a:xfrm>
            <a:custGeom>
              <a:avLst/>
              <a:gdLst>
                <a:gd name="connsiteX0" fmla="*/ 0 w 425767"/>
                <a:gd name="connsiteY0" fmla="*/ 0 h 363855"/>
                <a:gd name="connsiteX1" fmla="*/ 295275 w 425767"/>
                <a:gd name="connsiteY1" fmla="*/ 0 h 363855"/>
                <a:gd name="connsiteX2" fmla="*/ 425768 w 425767"/>
                <a:gd name="connsiteY2" fmla="*/ 181928 h 363855"/>
                <a:gd name="connsiteX3" fmla="*/ 425768 w 425767"/>
                <a:gd name="connsiteY3" fmla="*/ 293370 h 363855"/>
                <a:gd name="connsiteX4" fmla="*/ 355282 w 425767"/>
                <a:gd name="connsiteY4" fmla="*/ 363855 h 363855"/>
                <a:gd name="connsiteX5" fmla="*/ 140970 w 425767"/>
                <a:gd name="connsiteY5" fmla="*/ 363855 h 363855"/>
                <a:gd name="connsiteX6" fmla="*/ 0 w 425767"/>
                <a:gd name="connsiteY6" fmla="*/ 180975 h 363855"/>
                <a:gd name="connsiteX7" fmla="*/ 0 w 425767"/>
                <a:gd name="connsiteY7" fmla="*/ 0 h 363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5767" h="363855">
                  <a:moveTo>
                    <a:pt x="0" y="0"/>
                  </a:moveTo>
                  <a:lnTo>
                    <a:pt x="295275" y="0"/>
                  </a:lnTo>
                  <a:cubicBezTo>
                    <a:pt x="381000" y="7620"/>
                    <a:pt x="425768" y="105728"/>
                    <a:pt x="425768" y="181928"/>
                  </a:cubicBezTo>
                  <a:lnTo>
                    <a:pt x="425768" y="293370"/>
                  </a:lnTo>
                  <a:cubicBezTo>
                    <a:pt x="425768" y="332423"/>
                    <a:pt x="393382" y="363855"/>
                    <a:pt x="355282" y="363855"/>
                  </a:cubicBezTo>
                  <a:lnTo>
                    <a:pt x="140970" y="363855"/>
                  </a:lnTo>
                  <a:cubicBezTo>
                    <a:pt x="50482" y="363855"/>
                    <a:pt x="0" y="260985"/>
                    <a:pt x="0" y="180975"/>
                  </a:cubicBezTo>
                  <a:lnTo>
                    <a:pt x="0" y="0"/>
                  </a:lnTo>
                  <a:close/>
                </a:path>
              </a:pathLst>
            </a:custGeom>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7" name="Freeform: Shape 99">
              <a:extLst>
                <a:ext uri="{FF2B5EF4-FFF2-40B4-BE49-F238E27FC236}">
                  <a16:creationId xmlns:a16="http://schemas.microsoft.com/office/drawing/2014/main" id="{AB02A959-C1D1-4243-A239-003FBFE6CA54}"/>
                </a:ext>
              </a:extLst>
            </p:cNvPr>
            <p:cNvSpPr/>
            <p:nvPr/>
          </p:nvSpPr>
          <p:spPr>
            <a:xfrm>
              <a:off x="4642827" y="2534163"/>
              <a:ext cx="371543" cy="341734"/>
            </a:xfrm>
            <a:custGeom>
              <a:avLst/>
              <a:gdLst>
                <a:gd name="connsiteX0" fmla="*/ 263842 w 332422"/>
                <a:gd name="connsiteY0" fmla="*/ 0 h 305752"/>
                <a:gd name="connsiteX1" fmla="*/ 119063 w 332422"/>
                <a:gd name="connsiteY1" fmla="*/ 0 h 305752"/>
                <a:gd name="connsiteX2" fmla="*/ 96202 w 332422"/>
                <a:gd name="connsiteY2" fmla="*/ 2857 h 305752"/>
                <a:gd name="connsiteX3" fmla="*/ 96202 w 332422"/>
                <a:gd name="connsiteY3" fmla="*/ 2857 h 305752"/>
                <a:gd name="connsiteX4" fmla="*/ 90488 w 332422"/>
                <a:gd name="connsiteY4" fmla="*/ 4763 h 305752"/>
                <a:gd name="connsiteX5" fmla="*/ 89535 w 332422"/>
                <a:gd name="connsiteY5" fmla="*/ 4763 h 305752"/>
                <a:gd name="connsiteX6" fmla="*/ 87630 w 332422"/>
                <a:gd name="connsiteY6" fmla="*/ 5715 h 305752"/>
                <a:gd name="connsiteX7" fmla="*/ 87630 w 332422"/>
                <a:gd name="connsiteY7" fmla="*/ 5715 h 305752"/>
                <a:gd name="connsiteX8" fmla="*/ 85725 w 332422"/>
                <a:gd name="connsiteY8" fmla="*/ 6667 h 305752"/>
                <a:gd name="connsiteX9" fmla="*/ 84773 w 332422"/>
                <a:gd name="connsiteY9" fmla="*/ 6667 h 305752"/>
                <a:gd name="connsiteX10" fmla="*/ 83820 w 332422"/>
                <a:gd name="connsiteY10" fmla="*/ 6667 h 305752"/>
                <a:gd name="connsiteX11" fmla="*/ 81915 w 332422"/>
                <a:gd name="connsiteY11" fmla="*/ 7620 h 305752"/>
                <a:gd name="connsiteX12" fmla="*/ 80010 w 332422"/>
                <a:gd name="connsiteY12" fmla="*/ 8572 h 305752"/>
                <a:gd name="connsiteX13" fmla="*/ 80010 w 332422"/>
                <a:gd name="connsiteY13" fmla="*/ 8572 h 305752"/>
                <a:gd name="connsiteX14" fmla="*/ 76200 w 332422"/>
                <a:gd name="connsiteY14" fmla="*/ 9525 h 305752"/>
                <a:gd name="connsiteX15" fmla="*/ 76200 w 332422"/>
                <a:gd name="connsiteY15" fmla="*/ 9525 h 305752"/>
                <a:gd name="connsiteX16" fmla="*/ 73343 w 332422"/>
                <a:gd name="connsiteY16" fmla="*/ 11430 h 305752"/>
                <a:gd name="connsiteX17" fmla="*/ 73343 w 332422"/>
                <a:gd name="connsiteY17" fmla="*/ 11430 h 305752"/>
                <a:gd name="connsiteX18" fmla="*/ 70485 w 332422"/>
                <a:gd name="connsiteY18" fmla="*/ 12382 h 305752"/>
                <a:gd name="connsiteX19" fmla="*/ 70485 w 332422"/>
                <a:gd name="connsiteY19" fmla="*/ 12382 h 305752"/>
                <a:gd name="connsiteX20" fmla="*/ 67627 w 332422"/>
                <a:gd name="connsiteY20" fmla="*/ 14288 h 305752"/>
                <a:gd name="connsiteX21" fmla="*/ 67627 w 332422"/>
                <a:gd name="connsiteY21" fmla="*/ 14288 h 305752"/>
                <a:gd name="connsiteX22" fmla="*/ 64770 w 332422"/>
                <a:gd name="connsiteY22" fmla="*/ 16192 h 305752"/>
                <a:gd name="connsiteX23" fmla="*/ 64770 w 332422"/>
                <a:gd name="connsiteY23" fmla="*/ 16192 h 305752"/>
                <a:gd name="connsiteX24" fmla="*/ 61913 w 332422"/>
                <a:gd name="connsiteY24" fmla="*/ 18097 h 305752"/>
                <a:gd name="connsiteX25" fmla="*/ 61913 w 332422"/>
                <a:gd name="connsiteY25" fmla="*/ 18097 h 305752"/>
                <a:gd name="connsiteX26" fmla="*/ 60007 w 332422"/>
                <a:gd name="connsiteY26" fmla="*/ 20002 h 305752"/>
                <a:gd name="connsiteX27" fmla="*/ 60007 w 332422"/>
                <a:gd name="connsiteY27" fmla="*/ 20002 h 305752"/>
                <a:gd name="connsiteX28" fmla="*/ 58102 w 332422"/>
                <a:gd name="connsiteY28" fmla="*/ 21907 h 305752"/>
                <a:gd name="connsiteX29" fmla="*/ 58102 w 332422"/>
                <a:gd name="connsiteY29" fmla="*/ 21907 h 305752"/>
                <a:gd name="connsiteX30" fmla="*/ 58102 w 332422"/>
                <a:gd name="connsiteY30" fmla="*/ 21907 h 305752"/>
                <a:gd name="connsiteX31" fmla="*/ 48577 w 332422"/>
                <a:gd name="connsiteY31" fmla="*/ 29527 h 305752"/>
                <a:gd name="connsiteX32" fmla="*/ 48577 w 332422"/>
                <a:gd name="connsiteY32" fmla="*/ 29527 h 305752"/>
                <a:gd name="connsiteX33" fmla="*/ 46673 w 332422"/>
                <a:gd name="connsiteY33" fmla="*/ 30480 h 305752"/>
                <a:gd name="connsiteX34" fmla="*/ 46673 w 332422"/>
                <a:gd name="connsiteY34" fmla="*/ 30480 h 305752"/>
                <a:gd name="connsiteX35" fmla="*/ 45720 w 332422"/>
                <a:gd name="connsiteY35" fmla="*/ 31432 h 305752"/>
                <a:gd name="connsiteX36" fmla="*/ 44768 w 332422"/>
                <a:gd name="connsiteY36" fmla="*/ 32385 h 305752"/>
                <a:gd name="connsiteX37" fmla="*/ 43815 w 332422"/>
                <a:gd name="connsiteY37" fmla="*/ 33338 h 305752"/>
                <a:gd name="connsiteX38" fmla="*/ 42863 w 332422"/>
                <a:gd name="connsiteY38" fmla="*/ 34290 h 305752"/>
                <a:gd name="connsiteX39" fmla="*/ 42863 w 332422"/>
                <a:gd name="connsiteY39" fmla="*/ 34290 h 305752"/>
                <a:gd name="connsiteX40" fmla="*/ 40957 w 332422"/>
                <a:gd name="connsiteY40" fmla="*/ 36195 h 305752"/>
                <a:gd name="connsiteX41" fmla="*/ 40957 w 332422"/>
                <a:gd name="connsiteY41" fmla="*/ 36195 h 305752"/>
                <a:gd name="connsiteX42" fmla="*/ 38100 w 332422"/>
                <a:gd name="connsiteY42" fmla="*/ 37147 h 305752"/>
                <a:gd name="connsiteX43" fmla="*/ 37148 w 332422"/>
                <a:gd name="connsiteY43" fmla="*/ 38100 h 305752"/>
                <a:gd name="connsiteX44" fmla="*/ 37148 w 332422"/>
                <a:gd name="connsiteY44" fmla="*/ 38100 h 305752"/>
                <a:gd name="connsiteX45" fmla="*/ 35243 w 332422"/>
                <a:gd name="connsiteY45" fmla="*/ 40005 h 305752"/>
                <a:gd name="connsiteX46" fmla="*/ 35243 w 332422"/>
                <a:gd name="connsiteY46" fmla="*/ 40005 h 305752"/>
                <a:gd name="connsiteX47" fmla="*/ 34290 w 332422"/>
                <a:gd name="connsiteY47" fmla="*/ 40957 h 305752"/>
                <a:gd name="connsiteX48" fmla="*/ 33338 w 332422"/>
                <a:gd name="connsiteY48" fmla="*/ 41910 h 305752"/>
                <a:gd name="connsiteX49" fmla="*/ 33338 w 332422"/>
                <a:gd name="connsiteY49" fmla="*/ 42863 h 305752"/>
                <a:gd name="connsiteX50" fmla="*/ 32385 w 332422"/>
                <a:gd name="connsiteY50" fmla="*/ 44767 h 305752"/>
                <a:gd name="connsiteX51" fmla="*/ 32385 w 332422"/>
                <a:gd name="connsiteY51" fmla="*/ 44767 h 305752"/>
                <a:gd name="connsiteX52" fmla="*/ 31432 w 332422"/>
                <a:gd name="connsiteY52" fmla="*/ 46672 h 305752"/>
                <a:gd name="connsiteX53" fmla="*/ 28575 w 332422"/>
                <a:gd name="connsiteY53" fmla="*/ 48577 h 305752"/>
                <a:gd name="connsiteX54" fmla="*/ 28575 w 332422"/>
                <a:gd name="connsiteY54" fmla="*/ 49530 h 305752"/>
                <a:gd name="connsiteX55" fmla="*/ 26670 w 332422"/>
                <a:gd name="connsiteY55" fmla="*/ 51435 h 305752"/>
                <a:gd name="connsiteX56" fmla="*/ 26670 w 332422"/>
                <a:gd name="connsiteY56" fmla="*/ 51435 h 305752"/>
                <a:gd name="connsiteX57" fmla="*/ 24765 w 332422"/>
                <a:gd name="connsiteY57" fmla="*/ 54292 h 305752"/>
                <a:gd name="connsiteX58" fmla="*/ 23813 w 332422"/>
                <a:gd name="connsiteY58" fmla="*/ 56197 h 305752"/>
                <a:gd name="connsiteX59" fmla="*/ 23813 w 332422"/>
                <a:gd name="connsiteY59" fmla="*/ 57150 h 305752"/>
                <a:gd name="connsiteX60" fmla="*/ 23813 w 332422"/>
                <a:gd name="connsiteY60" fmla="*/ 58102 h 305752"/>
                <a:gd name="connsiteX61" fmla="*/ 5715 w 332422"/>
                <a:gd name="connsiteY61" fmla="*/ 96202 h 305752"/>
                <a:gd name="connsiteX62" fmla="*/ 5715 w 332422"/>
                <a:gd name="connsiteY62" fmla="*/ 97155 h 305752"/>
                <a:gd name="connsiteX63" fmla="*/ 3810 w 332422"/>
                <a:gd name="connsiteY63" fmla="*/ 103822 h 305752"/>
                <a:gd name="connsiteX64" fmla="*/ 3810 w 332422"/>
                <a:gd name="connsiteY64" fmla="*/ 103822 h 305752"/>
                <a:gd name="connsiteX65" fmla="*/ 0 w 332422"/>
                <a:gd name="connsiteY65" fmla="*/ 120967 h 305752"/>
                <a:gd name="connsiteX66" fmla="*/ 0 w 332422"/>
                <a:gd name="connsiteY66" fmla="*/ 121920 h 305752"/>
                <a:gd name="connsiteX67" fmla="*/ 0 w 332422"/>
                <a:gd name="connsiteY67" fmla="*/ 124777 h 305752"/>
                <a:gd name="connsiteX68" fmla="*/ 0 w 332422"/>
                <a:gd name="connsiteY68" fmla="*/ 124777 h 305752"/>
                <a:gd name="connsiteX69" fmla="*/ 0 w 332422"/>
                <a:gd name="connsiteY69" fmla="*/ 127635 h 305752"/>
                <a:gd name="connsiteX70" fmla="*/ 0 w 332422"/>
                <a:gd name="connsiteY70" fmla="*/ 128588 h 305752"/>
                <a:gd name="connsiteX71" fmla="*/ 0 w 332422"/>
                <a:gd name="connsiteY71" fmla="*/ 131445 h 305752"/>
                <a:gd name="connsiteX72" fmla="*/ 0 w 332422"/>
                <a:gd name="connsiteY72" fmla="*/ 132397 h 305752"/>
                <a:gd name="connsiteX73" fmla="*/ 0 w 332422"/>
                <a:gd name="connsiteY73" fmla="*/ 135255 h 305752"/>
                <a:gd name="connsiteX74" fmla="*/ 0 w 332422"/>
                <a:gd name="connsiteY74" fmla="*/ 136207 h 305752"/>
                <a:gd name="connsiteX75" fmla="*/ 0 w 332422"/>
                <a:gd name="connsiteY75" fmla="*/ 139065 h 305752"/>
                <a:gd name="connsiteX76" fmla="*/ 0 w 332422"/>
                <a:gd name="connsiteY76" fmla="*/ 140017 h 305752"/>
                <a:gd name="connsiteX77" fmla="*/ 0 w 332422"/>
                <a:gd name="connsiteY77" fmla="*/ 142875 h 305752"/>
                <a:gd name="connsiteX78" fmla="*/ 0 w 332422"/>
                <a:gd name="connsiteY78" fmla="*/ 143827 h 305752"/>
                <a:gd name="connsiteX79" fmla="*/ 0 w 332422"/>
                <a:gd name="connsiteY79" fmla="*/ 146685 h 305752"/>
                <a:gd name="connsiteX80" fmla="*/ 0 w 332422"/>
                <a:gd name="connsiteY80" fmla="*/ 146685 h 305752"/>
                <a:gd name="connsiteX81" fmla="*/ 0 w 332422"/>
                <a:gd name="connsiteY81" fmla="*/ 150495 h 305752"/>
                <a:gd name="connsiteX82" fmla="*/ 0 w 332422"/>
                <a:gd name="connsiteY82" fmla="*/ 150495 h 305752"/>
                <a:gd name="connsiteX83" fmla="*/ 0 w 332422"/>
                <a:gd name="connsiteY83" fmla="*/ 154305 h 305752"/>
                <a:gd name="connsiteX84" fmla="*/ 0 w 332422"/>
                <a:gd name="connsiteY84" fmla="*/ 229552 h 305752"/>
                <a:gd name="connsiteX85" fmla="*/ 0 w 332422"/>
                <a:gd name="connsiteY85" fmla="*/ 305753 h 305752"/>
                <a:gd name="connsiteX86" fmla="*/ 72390 w 332422"/>
                <a:gd name="connsiteY86" fmla="*/ 305753 h 305752"/>
                <a:gd name="connsiteX87" fmla="*/ 76200 w 332422"/>
                <a:gd name="connsiteY87" fmla="*/ 305753 h 305752"/>
                <a:gd name="connsiteX88" fmla="*/ 220980 w 332422"/>
                <a:gd name="connsiteY88" fmla="*/ 305753 h 305752"/>
                <a:gd name="connsiteX89" fmla="*/ 243840 w 332422"/>
                <a:gd name="connsiteY89" fmla="*/ 302895 h 305752"/>
                <a:gd name="connsiteX90" fmla="*/ 243840 w 332422"/>
                <a:gd name="connsiteY90" fmla="*/ 302895 h 305752"/>
                <a:gd name="connsiteX91" fmla="*/ 249555 w 332422"/>
                <a:gd name="connsiteY91" fmla="*/ 300990 h 305752"/>
                <a:gd name="connsiteX92" fmla="*/ 250508 w 332422"/>
                <a:gd name="connsiteY92" fmla="*/ 300990 h 305752"/>
                <a:gd name="connsiteX93" fmla="*/ 252413 w 332422"/>
                <a:gd name="connsiteY93" fmla="*/ 300038 h 305752"/>
                <a:gd name="connsiteX94" fmla="*/ 252413 w 332422"/>
                <a:gd name="connsiteY94" fmla="*/ 300038 h 305752"/>
                <a:gd name="connsiteX95" fmla="*/ 254317 w 332422"/>
                <a:gd name="connsiteY95" fmla="*/ 299085 h 305752"/>
                <a:gd name="connsiteX96" fmla="*/ 255270 w 332422"/>
                <a:gd name="connsiteY96" fmla="*/ 299085 h 305752"/>
                <a:gd name="connsiteX97" fmla="*/ 256223 w 332422"/>
                <a:gd name="connsiteY97" fmla="*/ 299085 h 305752"/>
                <a:gd name="connsiteX98" fmla="*/ 258127 w 332422"/>
                <a:gd name="connsiteY98" fmla="*/ 298132 h 305752"/>
                <a:gd name="connsiteX99" fmla="*/ 260033 w 332422"/>
                <a:gd name="connsiteY99" fmla="*/ 297180 h 305752"/>
                <a:gd name="connsiteX100" fmla="*/ 260033 w 332422"/>
                <a:gd name="connsiteY100" fmla="*/ 297180 h 305752"/>
                <a:gd name="connsiteX101" fmla="*/ 262890 w 332422"/>
                <a:gd name="connsiteY101" fmla="*/ 296228 h 305752"/>
                <a:gd name="connsiteX102" fmla="*/ 262890 w 332422"/>
                <a:gd name="connsiteY102" fmla="*/ 296228 h 305752"/>
                <a:gd name="connsiteX103" fmla="*/ 265748 w 332422"/>
                <a:gd name="connsiteY103" fmla="*/ 295275 h 305752"/>
                <a:gd name="connsiteX104" fmla="*/ 265748 w 332422"/>
                <a:gd name="connsiteY104" fmla="*/ 295275 h 305752"/>
                <a:gd name="connsiteX105" fmla="*/ 268605 w 332422"/>
                <a:gd name="connsiteY105" fmla="*/ 294322 h 305752"/>
                <a:gd name="connsiteX106" fmla="*/ 268605 w 332422"/>
                <a:gd name="connsiteY106" fmla="*/ 294322 h 305752"/>
                <a:gd name="connsiteX107" fmla="*/ 271463 w 332422"/>
                <a:gd name="connsiteY107" fmla="*/ 292417 h 305752"/>
                <a:gd name="connsiteX108" fmla="*/ 271463 w 332422"/>
                <a:gd name="connsiteY108" fmla="*/ 292417 h 305752"/>
                <a:gd name="connsiteX109" fmla="*/ 274320 w 332422"/>
                <a:gd name="connsiteY109" fmla="*/ 290513 h 305752"/>
                <a:gd name="connsiteX110" fmla="*/ 274320 w 332422"/>
                <a:gd name="connsiteY110" fmla="*/ 290513 h 305752"/>
                <a:gd name="connsiteX111" fmla="*/ 277178 w 332422"/>
                <a:gd name="connsiteY111" fmla="*/ 288607 h 305752"/>
                <a:gd name="connsiteX112" fmla="*/ 277178 w 332422"/>
                <a:gd name="connsiteY112" fmla="*/ 288607 h 305752"/>
                <a:gd name="connsiteX113" fmla="*/ 279083 w 332422"/>
                <a:gd name="connsiteY113" fmla="*/ 286703 h 305752"/>
                <a:gd name="connsiteX114" fmla="*/ 279083 w 332422"/>
                <a:gd name="connsiteY114" fmla="*/ 286703 h 305752"/>
                <a:gd name="connsiteX115" fmla="*/ 280988 w 332422"/>
                <a:gd name="connsiteY115" fmla="*/ 284797 h 305752"/>
                <a:gd name="connsiteX116" fmla="*/ 280988 w 332422"/>
                <a:gd name="connsiteY116" fmla="*/ 284797 h 305752"/>
                <a:gd name="connsiteX117" fmla="*/ 280988 w 332422"/>
                <a:gd name="connsiteY117" fmla="*/ 284797 h 305752"/>
                <a:gd name="connsiteX118" fmla="*/ 290513 w 332422"/>
                <a:gd name="connsiteY118" fmla="*/ 277178 h 305752"/>
                <a:gd name="connsiteX119" fmla="*/ 290513 w 332422"/>
                <a:gd name="connsiteY119" fmla="*/ 277178 h 305752"/>
                <a:gd name="connsiteX120" fmla="*/ 292417 w 332422"/>
                <a:gd name="connsiteY120" fmla="*/ 276225 h 305752"/>
                <a:gd name="connsiteX121" fmla="*/ 292417 w 332422"/>
                <a:gd name="connsiteY121" fmla="*/ 276225 h 305752"/>
                <a:gd name="connsiteX122" fmla="*/ 293370 w 332422"/>
                <a:gd name="connsiteY122" fmla="*/ 275272 h 305752"/>
                <a:gd name="connsiteX123" fmla="*/ 294323 w 332422"/>
                <a:gd name="connsiteY123" fmla="*/ 274320 h 305752"/>
                <a:gd name="connsiteX124" fmla="*/ 295275 w 332422"/>
                <a:gd name="connsiteY124" fmla="*/ 273367 h 305752"/>
                <a:gd name="connsiteX125" fmla="*/ 296228 w 332422"/>
                <a:gd name="connsiteY125" fmla="*/ 272415 h 305752"/>
                <a:gd name="connsiteX126" fmla="*/ 296228 w 332422"/>
                <a:gd name="connsiteY126" fmla="*/ 272415 h 305752"/>
                <a:gd name="connsiteX127" fmla="*/ 295275 w 332422"/>
                <a:gd name="connsiteY127" fmla="*/ 268605 h 305752"/>
                <a:gd name="connsiteX128" fmla="*/ 295275 w 332422"/>
                <a:gd name="connsiteY128" fmla="*/ 268605 h 305752"/>
                <a:gd name="connsiteX129" fmla="*/ 296228 w 332422"/>
                <a:gd name="connsiteY129" fmla="*/ 267653 h 305752"/>
                <a:gd name="connsiteX130" fmla="*/ 297180 w 332422"/>
                <a:gd name="connsiteY130" fmla="*/ 266700 h 305752"/>
                <a:gd name="connsiteX131" fmla="*/ 297180 w 332422"/>
                <a:gd name="connsiteY131" fmla="*/ 266700 h 305752"/>
                <a:gd name="connsiteX132" fmla="*/ 299085 w 332422"/>
                <a:gd name="connsiteY132" fmla="*/ 264795 h 305752"/>
                <a:gd name="connsiteX133" fmla="*/ 299085 w 332422"/>
                <a:gd name="connsiteY133" fmla="*/ 264795 h 305752"/>
                <a:gd name="connsiteX134" fmla="*/ 300038 w 332422"/>
                <a:gd name="connsiteY134" fmla="*/ 263842 h 305752"/>
                <a:gd name="connsiteX135" fmla="*/ 300990 w 332422"/>
                <a:gd name="connsiteY135" fmla="*/ 262890 h 305752"/>
                <a:gd name="connsiteX136" fmla="*/ 300990 w 332422"/>
                <a:gd name="connsiteY136" fmla="*/ 261938 h 305752"/>
                <a:gd name="connsiteX137" fmla="*/ 301942 w 332422"/>
                <a:gd name="connsiteY137" fmla="*/ 260032 h 305752"/>
                <a:gd name="connsiteX138" fmla="*/ 301942 w 332422"/>
                <a:gd name="connsiteY138" fmla="*/ 260032 h 305752"/>
                <a:gd name="connsiteX139" fmla="*/ 302895 w 332422"/>
                <a:gd name="connsiteY139" fmla="*/ 258127 h 305752"/>
                <a:gd name="connsiteX140" fmla="*/ 303848 w 332422"/>
                <a:gd name="connsiteY140" fmla="*/ 257175 h 305752"/>
                <a:gd name="connsiteX141" fmla="*/ 303848 w 332422"/>
                <a:gd name="connsiteY141" fmla="*/ 256222 h 305752"/>
                <a:gd name="connsiteX142" fmla="*/ 305753 w 332422"/>
                <a:gd name="connsiteY142" fmla="*/ 254317 h 305752"/>
                <a:gd name="connsiteX143" fmla="*/ 305753 w 332422"/>
                <a:gd name="connsiteY143" fmla="*/ 254317 h 305752"/>
                <a:gd name="connsiteX144" fmla="*/ 307658 w 332422"/>
                <a:gd name="connsiteY144" fmla="*/ 251460 h 305752"/>
                <a:gd name="connsiteX145" fmla="*/ 308610 w 332422"/>
                <a:gd name="connsiteY145" fmla="*/ 249555 h 305752"/>
                <a:gd name="connsiteX146" fmla="*/ 308610 w 332422"/>
                <a:gd name="connsiteY146" fmla="*/ 248602 h 305752"/>
                <a:gd name="connsiteX147" fmla="*/ 308610 w 332422"/>
                <a:gd name="connsiteY147" fmla="*/ 247650 h 305752"/>
                <a:gd name="connsiteX148" fmla="*/ 326708 w 332422"/>
                <a:gd name="connsiteY148" fmla="*/ 209550 h 305752"/>
                <a:gd name="connsiteX149" fmla="*/ 326708 w 332422"/>
                <a:gd name="connsiteY149" fmla="*/ 208597 h 305752"/>
                <a:gd name="connsiteX150" fmla="*/ 328613 w 332422"/>
                <a:gd name="connsiteY150" fmla="*/ 201930 h 305752"/>
                <a:gd name="connsiteX151" fmla="*/ 328613 w 332422"/>
                <a:gd name="connsiteY151" fmla="*/ 201930 h 305752"/>
                <a:gd name="connsiteX152" fmla="*/ 332423 w 332422"/>
                <a:gd name="connsiteY152" fmla="*/ 184785 h 305752"/>
                <a:gd name="connsiteX153" fmla="*/ 332423 w 332422"/>
                <a:gd name="connsiteY153" fmla="*/ 183832 h 305752"/>
                <a:gd name="connsiteX154" fmla="*/ 332423 w 332422"/>
                <a:gd name="connsiteY154" fmla="*/ 180975 h 305752"/>
                <a:gd name="connsiteX155" fmla="*/ 332423 w 332422"/>
                <a:gd name="connsiteY155" fmla="*/ 180975 h 305752"/>
                <a:gd name="connsiteX156" fmla="*/ 332423 w 332422"/>
                <a:gd name="connsiteY156" fmla="*/ 178117 h 305752"/>
                <a:gd name="connsiteX157" fmla="*/ 332423 w 332422"/>
                <a:gd name="connsiteY157" fmla="*/ 177165 h 305752"/>
                <a:gd name="connsiteX158" fmla="*/ 332423 w 332422"/>
                <a:gd name="connsiteY158" fmla="*/ 174307 h 305752"/>
                <a:gd name="connsiteX159" fmla="*/ 332423 w 332422"/>
                <a:gd name="connsiteY159" fmla="*/ 173355 h 305752"/>
                <a:gd name="connsiteX160" fmla="*/ 332423 w 332422"/>
                <a:gd name="connsiteY160" fmla="*/ 170497 h 305752"/>
                <a:gd name="connsiteX161" fmla="*/ 332423 w 332422"/>
                <a:gd name="connsiteY161" fmla="*/ 169545 h 305752"/>
                <a:gd name="connsiteX162" fmla="*/ 332423 w 332422"/>
                <a:gd name="connsiteY162" fmla="*/ 166688 h 305752"/>
                <a:gd name="connsiteX163" fmla="*/ 332423 w 332422"/>
                <a:gd name="connsiteY163" fmla="*/ 165735 h 305752"/>
                <a:gd name="connsiteX164" fmla="*/ 332423 w 332422"/>
                <a:gd name="connsiteY164" fmla="*/ 162877 h 305752"/>
                <a:gd name="connsiteX165" fmla="*/ 332423 w 332422"/>
                <a:gd name="connsiteY165" fmla="*/ 161925 h 305752"/>
                <a:gd name="connsiteX166" fmla="*/ 332423 w 332422"/>
                <a:gd name="connsiteY166" fmla="*/ 159067 h 305752"/>
                <a:gd name="connsiteX167" fmla="*/ 332423 w 332422"/>
                <a:gd name="connsiteY167" fmla="*/ 159067 h 305752"/>
                <a:gd name="connsiteX168" fmla="*/ 332423 w 332422"/>
                <a:gd name="connsiteY168" fmla="*/ 155257 h 305752"/>
                <a:gd name="connsiteX169" fmla="*/ 332423 w 332422"/>
                <a:gd name="connsiteY169" fmla="*/ 155257 h 305752"/>
                <a:gd name="connsiteX170" fmla="*/ 332423 w 332422"/>
                <a:gd name="connsiteY170" fmla="*/ 151447 h 305752"/>
                <a:gd name="connsiteX171" fmla="*/ 332423 w 332422"/>
                <a:gd name="connsiteY171" fmla="*/ 76200 h 305752"/>
                <a:gd name="connsiteX172" fmla="*/ 332423 w 332422"/>
                <a:gd name="connsiteY172" fmla="*/ 0 h 305752"/>
                <a:gd name="connsiteX173" fmla="*/ 260033 w 332422"/>
                <a:gd name="connsiteY173" fmla="*/ 0 h 305752"/>
                <a:gd name="connsiteX174" fmla="*/ 263842 w 332422"/>
                <a:gd name="connsiteY174" fmla="*/ 0 h 3057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Lst>
              <a:rect l="l" t="t" r="r" b="b"/>
              <a:pathLst>
                <a:path w="332422" h="305752">
                  <a:moveTo>
                    <a:pt x="263842" y="0"/>
                  </a:moveTo>
                  <a:lnTo>
                    <a:pt x="119063" y="0"/>
                  </a:lnTo>
                  <a:cubicBezTo>
                    <a:pt x="111443" y="0"/>
                    <a:pt x="103823" y="952"/>
                    <a:pt x="96202" y="2857"/>
                  </a:cubicBezTo>
                  <a:lnTo>
                    <a:pt x="96202" y="2857"/>
                  </a:lnTo>
                  <a:cubicBezTo>
                    <a:pt x="94298" y="2857"/>
                    <a:pt x="92393" y="3810"/>
                    <a:pt x="90488" y="4763"/>
                  </a:cubicBezTo>
                  <a:lnTo>
                    <a:pt x="89535" y="4763"/>
                  </a:lnTo>
                  <a:lnTo>
                    <a:pt x="87630" y="5715"/>
                  </a:lnTo>
                  <a:lnTo>
                    <a:pt x="87630" y="5715"/>
                  </a:lnTo>
                  <a:lnTo>
                    <a:pt x="85725" y="6667"/>
                  </a:lnTo>
                  <a:lnTo>
                    <a:pt x="84773" y="6667"/>
                  </a:lnTo>
                  <a:lnTo>
                    <a:pt x="83820" y="6667"/>
                  </a:lnTo>
                  <a:lnTo>
                    <a:pt x="81915" y="7620"/>
                  </a:lnTo>
                  <a:lnTo>
                    <a:pt x="80010" y="8572"/>
                  </a:lnTo>
                  <a:lnTo>
                    <a:pt x="80010" y="8572"/>
                  </a:lnTo>
                  <a:lnTo>
                    <a:pt x="76200" y="9525"/>
                  </a:lnTo>
                  <a:lnTo>
                    <a:pt x="76200" y="9525"/>
                  </a:lnTo>
                  <a:lnTo>
                    <a:pt x="73343" y="11430"/>
                  </a:lnTo>
                  <a:lnTo>
                    <a:pt x="73343" y="11430"/>
                  </a:lnTo>
                  <a:lnTo>
                    <a:pt x="70485" y="12382"/>
                  </a:lnTo>
                  <a:lnTo>
                    <a:pt x="70485" y="12382"/>
                  </a:lnTo>
                  <a:lnTo>
                    <a:pt x="67627" y="14288"/>
                  </a:lnTo>
                  <a:lnTo>
                    <a:pt x="67627" y="14288"/>
                  </a:lnTo>
                  <a:lnTo>
                    <a:pt x="64770" y="16192"/>
                  </a:lnTo>
                  <a:lnTo>
                    <a:pt x="64770" y="16192"/>
                  </a:lnTo>
                  <a:lnTo>
                    <a:pt x="61913" y="18097"/>
                  </a:lnTo>
                  <a:lnTo>
                    <a:pt x="61913" y="18097"/>
                  </a:lnTo>
                  <a:lnTo>
                    <a:pt x="60007" y="20002"/>
                  </a:lnTo>
                  <a:lnTo>
                    <a:pt x="60007" y="20002"/>
                  </a:lnTo>
                  <a:lnTo>
                    <a:pt x="58102" y="21907"/>
                  </a:lnTo>
                  <a:lnTo>
                    <a:pt x="58102" y="21907"/>
                  </a:lnTo>
                  <a:lnTo>
                    <a:pt x="58102" y="21907"/>
                  </a:lnTo>
                  <a:cubicBezTo>
                    <a:pt x="55245" y="23813"/>
                    <a:pt x="51435" y="26670"/>
                    <a:pt x="48577" y="29527"/>
                  </a:cubicBezTo>
                  <a:lnTo>
                    <a:pt x="48577" y="29527"/>
                  </a:lnTo>
                  <a:lnTo>
                    <a:pt x="46673" y="30480"/>
                  </a:lnTo>
                  <a:lnTo>
                    <a:pt x="46673" y="30480"/>
                  </a:lnTo>
                  <a:lnTo>
                    <a:pt x="45720" y="31432"/>
                  </a:lnTo>
                  <a:lnTo>
                    <a:pt x="44768" y="32385"/>
                  </a:lnTo>
                  <a:lnTo>
                    <a:pt x="43815" y="33338"/>
                  </a:lnTo>
                  <a:lnTo>
                    <a:pt x="42863" y="34290"/>
                  </a:lnTo>
                  <a:lnTo>
                    <a:pt x="42863" y="34290"/>
                  </a:lnTo>
                  <a:lnTo>
                    <a:pt x="40957" y="36195"/>
                  </a:lnTo>
                  <a:lnTo>
                    <a:pt x="40957" y="36195"/>
                  </a:lnTo>
                  <a:lnTo>
                    <a:pt x="38100" y="37147"/>
                  </a:lnTo>
                  <a:lnTo>
                    <a:pt x="37148" y="38100"/>
                  </a:lnTo>
                  <a:lnTo>
                    <a:pt x="37148" y="38100"/>
                  </a:lnTo>
                  <a:lnTo>
                    <a:pt x="35243" y="40005"/>
                  </a:lnTo>
                  <a:lnTo>
                    <a:pt x="35243" y="40005"/>
                  </a:lnTo>
                  <a:lnTo>
                    <a:pt x="34290" y="40957"/>
                  </a:lnTo>
                  <a:lnTo>
                    <a:pt x="33338" y="41910"/>
                  </a:lnTo>
                  <a:lnTo>
                    <a:pt x="33338" y="42863"/>
                  </a:lnTo>
                  <a:lnTo>
                    <a:pt x="32385" y="44767"/>
                  </a:lnTo>
                  <a:lnTo>
                    <a:pt x="32385" y="44767"/>
                  </a:lnTo>
                  <a:lnTo>
                    <a:pt x="31432" y="46672"/>
                  </a:lnTo>
                  <a:lnTo>
                    <a:pt x="28575" y="48577"/>
                  </a:lnTo>
                  <a:lnTo>
                    <a:pt x="28575" y="49530"/>
                  </a:lnTo>
                  <a:lnTo>
                    <a:pt x="26670" y="51435"/>
                  </a:lnTo>
                  <a:lnTo>
                    <a:pt x="26670" y="51435"/>
                  </a:lnTo>
                  <a:lnTo>
                    <a:pt x="24765" y="54292"/>
                  </a:lnTo>
                  <a:lnTo>
                    <a:pt x="23813" y="56197"/>
                  </a:lnTo>
                  <a:lnTo>
                    <a:pt x="23813" y="57150"/>
                  </a:lnTo>
                  <a:lnTo>
                    <a:pt x="23813" y="58102"/>
                  </a:lnTo>
                  <a:cubicBezTo>
                    <a:pt x="16193" y="69532"/>
                    <a:pt x="10477" y="82867"/>
                    <a:pt x="5715" y="96202"/>
                  </a:cubicBezTo>
                  <a:lnTo>
                    <a:pt x="5715" y="97155"/>
                  </a:lnTo>
                  <a:cubicBezTo>
                    <a:pt x="4763" y="99060"/>
                    <a:pt x="4763" y="100965"/>
                    <a:pt x="3810" y="103822"/>
                  </a:cubicBezTo>
                  <a:lnTo>
                    <a:pt x="3810" y="103822"/>
                  </a:lnTo>
                  <a:cubicBezTo>
                    <a:pt x="1905" y="109538"/>
                    <a:pt x="952" y="115252"/>
                    <a:pt x="0" y="120967"/>
                  </a:cubicBezTo>
                  <a:lnTo>
                    <a:pt x="0" y="121920"/>
                  </a:lnTo>
                  <a:lnTo>
                    <a:pt x="0" y="124777"/>
                  </a:lnTo>
                  <a:lnTo>
                    <a:pt x="0" y="124777"/>
                  </a:lnTo>
                  <a:lnTo>
                    <a:pt x="0" y="127635"/>
                  </a:lnTo>
                  <a:lnTo>
                    <a:pt x="0" y="128588"/>
                  </a:lnTo>
                  <a:lnTo>
                    <a:pt x="0" y="131445"/>
                  </a:lnTo>
                  <a:lnTo>
                    <a:pt x="0" y="132397"/>
                  </a:lnTo>
                  <a:lnTo>
                    <a:pt x="0" y="135255"/>
                  </a:lnTo>
                  <a:lnTo>
                    <a:pt x="0" y="136207"/>
                  </a:lnTo>
                  <a:lnTo>
                    <a:pt x="0" y="139065"/>
                  </a:lnTo>
                  <a:lnTo>
                    <a:pt x="0" y="140017"/>
                  </a:lnTo>
                  <a:lnTo>
                    <a:pt x="0" y="142875"/>
                  </a:lnTo>
                  <a:lnTo>
                    <a:pt x="0" y="143827"/>
                  </a:lnTo>
                  <a:lnTo>
                    <a:pt x="0" y="146685"/>
                  </a:lnTo>
                  <a:lnTo>
                    <a:pt x="0" y="146685"/>
                  </a:lnTo>
                  <a:lnTo>
                    <a:pt x="0" y="150495"/>
                  </a:lnTo>
                  <a:lnTo>
                    <a:pt x="0" y="150495"/>
                  </a:lnTo>
                  <a:lnTo>
                    <a:pt x="0" y="154305"/>
                  </a:lnTo>
                  <a:lnTo>
                    <a:pt x="0" y="229552"/>
                  </a:lnTo>
                  <a:lnTo>
                    <a:pt x="0" y="305753"/>
                  </a:lnTo>
                  <a:lnTo>
                    <a:pt x="72390" y="305753"/>
                  </a:lnTo>
                  <a:cubicBezTo>
                    <a:pt x="73343" y="305753"/>
                    <a:pt x="75248" y="305753"/>
                    <a:pt x="76200" y="305753"/>
                  </a:cubicBezTo>
                  <a:lnTo>
                    <a:pt x="220980" y="305753"/>
                  </a:lnTo>
                  <a:cubicBezTo>
                    <a:pt x="228600" y="305753"/>
                    <a:pt x="236220" y="304800"/>
                    <a:pt x="243840" y="302895"/>
                  </a:cubicBezTo>
                  <a:lnTo>
                    <a:pt x="243840" y="302895"/>
                  </a:lnTo>
                  <a:cubicBezTo>
                    <a:pt x="245745" y="302895"/>
                    <a:pt x="247650" y="301942"/>
                    <a:pt x="249555" y="300990"/>
                  </a:cubicBezTo>
                  <a:lnTo>
                    <a:pt x="250508" y="300990"/>
                  </a:lnTo>
                  <a:lnTo>
                    <a:pt x="252413" y="300038"/>
                  </a:lnTo>
                  <a:lnTo>
                    <a:pt x="252413" y="300038"/>
                  </a:lnTo>
                  <a:lnTo>
                    <a:pt x="254317" y="299085"/>
                  </a:lnTo>
                  <a:lnTo>
                    <a:pt x="255270" y="299085"/>
                  </a:lnTo>
                  <a:lnTo>
                    <a:pt x="256223" y="299085"/>
                  </a:lnTo>
                  <a:lnTo>
                    <a:pt x="258127" y="298132"/>
                  </a:lnTo>
                  <a:lnTo>
                    <a:pt x="260033" y="297180"/>
                  </a:lnTo>
                  <a:lnTo>
                    <a:pt x="260033" y="297180"/>
                  </a:lnTo>
                  <a:lnTo>
                    <a:pt x="262890" y="296228"/>
                  </a:lnTo>
                  <a:lnTo>
                    <a:pt x="262890" y="296228"/>
                  </a:lnTo>
                  <a:lnTo>
                    <a:pt x="265748" y="295275"/>
                  </a:lnTo>
                  <a:lnTo>
                    <a:pt x="265748" y="295275"/>
                  </a:lnTo>
                  <a:lnTo>
                    <a:pt x="268605" y="294322"/>
                  </a:lnTo>
                  <a:lnTo>
                    <a:pt x="268605" y="294322"/>
                  </a:lnTo>
                  <a:lnTo>
                    <a:pt x="271463" y="292417"/>
                  </a:lnTo>
                  <a:lnTo>
                    <a:pt x="271463" y="292417"/>
                  </a:lnTo>
                  <a:lnTo>
                    <a:pt x="274320" y="290513"/>
                  </a:lnTo>
                  <a:lnTo>
                    <a:pt x="274320" y="290513"/>
                  </a:lnTo>
                  <a:lnTo>
                    <a:pt x="277178" y="288607"/>
                  </a:lnTo>
                  <a:lnTo>
                    <a:pt x="277178" y="288607"/>
                  </a:lnTo>
                  <a:lnTo>
                    <a:pt x="279083" y="286703"/>
                  </a:lnTo>
                  <a:lnTo>
                    <a:pt x="279083" y="286703"/>
                  </a:lnTo>
                  <a:lnTo>
                    <a:pt x="280988" y="284797"/>
                  </a:lnTo>
                  <a:lnTo>
                    <a:pt x="280988" y="284797"/>
                  </a:lnTo>
                  <a:lnTo>
                    <a:pt x="280988" y="284797"/>
                  </a:lnTo>
                  <a:cubicBezTo>
                    <a:pt x="283845" y="282892"/>
                    <a:pt x="287655" y="280035"/>
                    <a:pt x="290513" y="277178"/>
                  </a:cubicBezTo>
                  <a:lnTo>
                    <a:pt x="290513" y="277178"/>
                  </a:lnTo>
                  <a:lnTo>
                    <a:pt x="292417" y="276225"/>
                  </a:lnTo>
                  <a:lnTo>
                    <a:pt x="292417" y="276225"/>
                  </a:lnTo>
                  <a:lnTo>
                    <a:pt x="293370" y="275272"/>
                  </a:lnTo>
                  <a:lnTo>
                    <a:pt x="294323" y="274320"/>
                  </a:lnTo>
                  <a:lnTo>
                    <a:pt x="295275" y="273367"/>
                  </a:lnTo>
                  <a:lnTo>
                    <a:pt x="296228" y="272415"/>
                  </a:lnTo>
                  <a:lnTo>
                    <a:pt x="296228" y="272415"/>
                  </a:lnTo>
                  <a:lnTo>
                    <a:pt x="295275" y="268605"/>
                  </a:lnTo>
                  <a:lnTo>
                    <a:pt x="295275" y="268605"/>
                  </a:lnTo>
                  <a:lnTo>
                    <a:pt x="296228" y="267653"/>
                  </a:lnTo>
                  <a:lnTo>
                    <a:pt x="297180" y="266700"/>
                  </a:lnTo>
                  <a:lnTo>
                    <a:pt x="297180" y="266700"/>
                  </a:lnTo>
                  <a:lnTo>
                    <a:pt x="299085" y="264795"/>
                  </a:lnTo>
                  <a:lnTo>
                    <a:pt x="299085" y="264795"/>
                  </a:lnTo>
                  <a:lnTo>
                    <a:pt x="300038" y="263842"/>
                  </a:lnTo>
                  <a:lnTo>
                    <a:pt x="300990" y="262890"/>
                  </a:lnTo>
                  <a:lnTo>
                    <a:pt x="300990" y="261938"/>
                  </a:lnTo>
                  <a:lnTo>
                    <a:pt x="301942" y="260032"/>
                  </a:lnTo>
                  <a:lnTo>
                    <a:pt x="301942" y="260032"/>
                  </a:lnTo>
                  <a:lnTo>
                    <a:pt x="302895" y="258127"/>
                  </a:lnTo>
                  <a:lnTo>
                    <a:pt x="303848" y="257175"/>
                  </a:lnTo>
                  <a:lnTo>
                    <a:pt x="303848" y="256222"/>
                  </a:lnTo>
                  <a:lnTo>
                    <a:pt x="305753" y="254317"/>
                  </a:lnTo>
                  <a:lnTo>
                    <a:pt x="305753" y="254317"/>
                  </a:lnTo>
                  <a:lnTo>
                    <a:pt x="307658" y="251460"/>
                  </a:lnTo>
                  <a:lnTo>
                    <a:pt x="308610" y="249555"/>
                  </a:lnTo>
                  <a:lnTo>
                    <a:pt x="308610" y="248602"/>
                  </a:lnTo>
                  <a:lnTo>
                    <a:pt x="308610" y="247650"/>
                  </a:lnTo>
                  <a:cubicBezTo>
                    <a:pt x="316230" y="236220"/>
                    <a:pt x="321945" y="222885"/>
                    <a:pt x="326708" y="209550"/>
                  </a:cubicBezTo>
                  <a:lnTo>
                    <a:pt x="326708" y="208597"/>
                  </a:lnTo>
                  <a:cubicBezTo>
                    <a:pt x="327660" y="206692"/>
                    <a:pt x="327660" y="204788"/>
                    <a:pt x="328613" y="201930"/>
                  </a:cubicBezTo>
                  <a:lnTo>
                    <a:pt x="328613" y="201930"/>
                  </a:lnTo>
                  <a:cubicBezTo>
                    <a:pt x="330517" y="196215"/>
                    <a:pt x="331470" y="190500"/>
                    <a:pt x="332423" y="184785"/>
                  </a:cubicBezTo>
                  <a:lnTo>
                    <a:pt x="332423" y="183832"/>
                  </a:lnTo>
                  <a:lnTo>
                    <a:pt x="332423" y="180975"/>
                  </a:lnTo>
                  <a:lnTo>
                    <a:pt x="332423" y="180975"/>
                  </a:lnTo>
                  <a:lnTo>
                    <a:pt x="332423" y="178117"/>
                  </a:lnTo>
                  <a:lnTo>
                    <a:pt x="332423" y="177165"/>
                  </a:lnTo>
                  <a:lnTo>
                    <a:pt x="332423" y="174307"/>
                  </a:lnTo>
                  <a:lnTo>
                    <a:pt x="332423" y="173355"/>
                  </a:lnTo>
                  <a:lnTo>
                    <a:pt x="332423" y="170497"/>
                  </a:lnTo>
                  <a:lnTo>
                    <a:pt x="332423" y="169545"/>
                  </a:lnTo>
                  <a:lnTo>
                    <a:pt x="332423" y="166688"/>
                  </a:lnTo>
                  <a:lnTo>
                    <a:pt x="332423" y="165735"/>
                  </a:lnTo>
                  <a:lnTo>
                    <a:pt x="332423" y="162877"/>
                  </a:lnTo>
                  <a:lnTo>
                    <a:pt x="332423" y="161925"/>
                  </a:lnTo>
                  <a:lnTo>
                    <a:pt x="332423" y="159067"/>
                  </a:lnTo>
                  <a:lnTo>
                    <a:pt x="332423" y="159067"/>
                  </a:lnTo>
                  <a:lnTo>
                    <a:pt x="332423" y="155257"/>
                  </a:lnTo>
                  <a:lnTo>
                    <a:pt x="332423" y="155257"/>
                  </a:lnTo>
                  <a:lnTo>
                    <a:pt x="332423" y="151447"/>
                  </a:lnTo>
                  <a:lnTo>
                    <a:pt x="332423" y="76200"/>
                  </a:lnTo>
                  <a:lnTo>
                    <a:pt x="332423" y="0"/>
                  </a:lnTo>
                  <a:lnTo>
                    <a:pt x="260033" y="0"/>
                  </a:lnTo>
                  <a:cubicBezTo>
                    <a:pt x="265748" y="0"/>
                    <a:pt x="264795" y="0"/>
                    <a:pt x="263842" y="0"/>
                  </a:cubicBezTo>
                  <a:close/>
                </a:path>
              </a:pathLst>
            </a:custGeom>
            <a:solidFill>
              <a:schemeClr val="accent6"/>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8" name="Freeform: Shape 100">
              <a:extLst>
                <a:ext uri="{FF2B5EF4-FFF2-40B4-BE49-F238E27FC236}">
                  <a16:creationId xmlns:a16="http://schemas.microsoft.com/office/drawing/2014/main" id="{29666D4A-E16C-4941-B1BB-0EE3ED9611F2}"/>
                </a:ext>
              </a:extLst>
            </p:cNvPr>
            <p:cNvSpPr/>
            <p:nvPr/>
          </p:nvSpPr>
          <p:spPr>
            <a:xfrm>
              <a:off x="5059083" y="2163684"/>
              <a:ext cx="370479" cy="341734"/>
            </a:xfrm>
            <a:custGeom>
              <a:avLst/>
              <a:gdLst>
                <a:gd name="connsiteX0" fmla="*/ 263843 w 331470"/>
                <a:gd name="connsiteY0" fmla="*/ 0 h 305752"/>
                <a:gd name="connsiteX1" fmla="*/ 119063 w 331470"/>
                <a:gd name="connsiteY1" fmla="*/ 0 h 305752"/>
                <a:gd name="connsiteX2" fmla="*/ 96202 w 331470"/>
                <a:gd name="connsiteY2" fmla="*/ 2857 h 305752"/>
                <a:gd name="connsiteX3" fmla="*/ 96202 w 331470"/>
                <a:gd name="connsiteY3" fmla="*/ 2857 h 305752"/>
                <a:gd name="connsiteX4" fmla="*/ 90488 w 331470"/>
                <a:gd name="connsiteY4" fmla="*/ 4763 h 305752"/>
                <a:gd name="connsiteX5" fmla="*/ 89535 w 331470"/>
                <a:gd name="connsiteY5" fmla="*/ 4763 h 305752"/>
                <a:gd name="connsiteX6" fmla="*/ 87630 w 331470"/>
                <a:gd name="connsiteY6" fmla="*/ 5715 h 305752"/>
                <a:gd name="connsiteX7" fmla="*/ 87630 w 331470"/>
                <a:gd name="connsiteY7" fmla="*/ 5715 h 305752"/>
                <a:gd name="connsiteX8" fmla="*/ 84773 w 331470"/>
                <a:gd name="connsiteY8" fmla="*/ 5715 h 305752"/>
                <a:gd name="connsiteX9" fmla="*/ 83820 w 331470"/>
                <a:gd name="connsiteY9" fmla="*/ 5715 h 305752"/>
                <a:gd name="connsiteX10" fmla="*/ 82868 w 331470"/>
                <a:gd name="connsiteY10" fmla="*/ 5715 h 305752"/>
                <a:gd name="connsiteX11" fmla="*/ 80963 w 331470"/>
                <a:gd name="connsiteY11" fmla="*/ 6668 h 305752"/>
                <a:gd name="connsiteX12" fmla="*/ 79058 w 331470"/>
                <a:gd name="connsiteY12" fmla="*/ 7620 h 305752"/>
                <a:gd name="connsiteX13" fmla="*/ 79058 w 331470"/>
                <a:gd name="connsiteY13" fmla="*/ 7620 h 305752"/>
                <a:gd name="connsiteX14" fmla="*/ 76200 w 331470"/>
                <a:gd name="connsiteY14" fmla="*/ 9525 h 305752"/>
                <a:gd name="connsiteX15" fmla="*/ 76200 w 331470"/>
                <a:gd name="connsiteY15" fmla="*/ 9525 h 305752"/>
                <a:gd name="connsiteX16" fmla="*/ 73343 w 331470"/>
                <a:gd name="connsiteY16" fmla="*/ 10477 h 305752"/>
                <a:gd name="connsiteX17" fmla="*/ 73343 w 331470"/>
                <a:gd name="connsiteY17" fmla="*/ 10477 h 305752"/>
                <a:gd name="connsiteX18" fmla="*/ 70485 w 331470"/>
                <a:gd name="connsiteY18" fmla="*/ 11430 h 305752"/>
                <a:gd name="connsiteX19" fmla="*/ 70485 w 331470"/>
                <a:gd name="connsiteY19" fmla="*/ 11430 h 305752"/>
                <a:gd name="connsiteX20" fmla="*/ 67627 w 331470"/>
                <a:gd name="connsiteY20" fmla="*/ 13335 h 305752"/>
                <a:gd name="connsiteX21" fmla="*/ 67627 w 331470"/>
                <a:gd name="connsiteY21" fmla="*/ 13335 h 305752"/>
                <a:gd name="connsiteX22" fmla="*/ 65723 w 331470"/>
                <a:gd name="connsiteY22" fmla="*/ 15240 h 305752"/>
                <a:gd name="connsiteX23" fmla="*/ 65723 w 331470"/>
                <a:gd name="connsiteY23" fmla="*/ 15240 h 305752"/>
                <a:gd name="connsiteX24" fmla="*/ 62865 w 331470"/>
                <a:gd name="connsiteY24" fmla="*/ 17145 h 305752"/>
                <a:gd name="connsiteX25" fmla="*/ 62865 w 331470"/>
                <a:gd name="connsiteY25" fmla="*/ 17145 h 305752"/>
                <a:gd name="connsiteX26" fmla="*/ 60960 w 331470"/>
                <a:gd name="connsiteY26" fmla="*/ 19050 h 305752"/>
                <a:gd name="connsiteX27" fmla="*/ 60960 w 331470"/>
                <a:gd name="connsiteY27" fmla="*/ 19050 h 305752"/>
                <a:gd name="connsiteX28" fmla="*/ 59055 w 331470"/>
                <a:gd name="connsiteY28" fmla="*/ 20955 h 305752"/>
                <a:gd name="connsiteX29" fmla="*/ 59055 w 331470"/>
                <a:gd name="connsiteY29" fmla="*/ 20955 h 305752"/>
                <a:gd name="connsiteX30" fmla="*/ 59055 w 331470"/>
                <a:gd name="connsiteY30" fmla="*/ 20955 h 305752"/>
                <a:gd name="connsiteX31" fmla="*/ 49530 w 331470"/>
                <a:gd name="connsiteY31" fmla="*/ 28575 h 305752"/>
                <a:gd name="connsiteX32" fmla="*/ 49530 w 331470"/>
                <a:gd name="connsiteY32" fmla="*/ 28575 h 305752"/>
                <a:gd name="connsiteX33" fmla="*/ 47625 w 331470"/>
                <a:gd name="connsiteY33" fmla="*/ 29527 h 305752"/>
                <a:gd name="connsiteX34" fmla="*/ 47625 w 331470"/>
                <a:gd name="connsiteY34" fmla="*/ 29527 h 305752"/>
                <a:gd name="connsiteX35" fmla="*/ 46673 w 331470"/>
                <a:gd name="connsiteY35" fmla="*/ 30480 h 305752"/>
                <a:gd name="connsiteX36" fmla="*/ 45720 w 331470"/>
                <a:gd name="connsiteY36" fmla="*/ 31432 h 305752"/>
                <a:gd name="connsiteX37" fmla="*/ 44768 w 331470"/>
                <a:gd name="connsiteY37" fmla="*/ 32385 h 305752"/>
                <a:gd name="connsiteX38" fmla="*/ 43815 w 331470"/>
                <a:gd name="connsiteY38" fmla="*/ 33338 h 305752"/>
                <a:gd name="connsiteX39" fmla="*/ 43815 w 331470"/>
                <a:gd name="connsiteY39" fmla="*/ 33338 h 305752"/>
                <a:gd name="connsiteX40" fmla="*/ 41910 w 331470"/>
                <a:gd name="connsiteY40" fmla="*/ 35243 h 305752"/>
                <a:gd name="connsiteX41" fmla="*/ 41910 w 331470"/>
                <a:gd name="connsiteY41" fmla="*/ 35243 h 305752"/>
                <a:gd name="connsiteX42" fmla="*/ 40958 w 331470"/>
                <a:gd name="connsiteY42" fmla="*/ 36195 h 305752"/>
                <a:gd name="connsiteX43" fmla="*/ 37148 w 331470"/>
                <a:gd name="connsiteY43" fmla="*/ 38100 h 305752"/>
                <a:gd name="connsiteX44" fmla="*/ 37148 w 331470"/>
                <a:gd name="connsiteY44" fmla="*/ 38100 h 305752"/>
                <a:gd name="connsiteX45" fmla="*/ 35243 w 331470"/>
                <a:gd name="connsiteY45" fmla="*/ 40005 h 305752"/>
                <a:gd name="connsiteX46" fmla="*/ 35243 w 331470"/>
                <a:gd name="connsiteY46" fmla="*/ 40005 h 305752"/>
                <a:gd name="connsiteX47" fmla="*/ 34290 w 331470"/>
                <a:gd name="connsiteY47" fmla="*/ 40957 h 305752"/>
                <a:gd name="connsiteX48" fmla="*/ 33338 w 331470"/>
                <a:gd name="connsiteY48" fmla="*/ 41910 h 305752"/>
                <a:gd name="connsiteX49" fmla="*/ 33338 w 331470"/>
                <a:gd name="connsiteY49" fmla="*/ 42863 h 305752"/>
                <a:gd name="connsiteX50" fmla="*/ 32385 w 331470"/>
                <a:gd name="connsiteY50" fmla="*/ 44768 h 305752"/>
                <a:gd name="connsiteX51" fmla="*/ 32385 w 331470"/>
                <a:gd name="connsiteY51" fmla="*/ 44768 h 305752"/>
                <a:gd name="connsiteX52" fmla="*/ 29527 w 331470"/>
                <a:gd name="connsiteY52" fmla="*/ 47625 h 305752"/>
                <a:gd name="connsiteX53" fmla="*/ 28575 w 331470"/>
                <a:gd name="connsiteY53" fmla="*/ 48577 h 305752"/>
                <a:gd name="connsiteX54" fmla="*/ 28575 w 331470"/>
                <a:gd name="connsiteY54" fmla="*/ 49530 h 305752"/>
                <a:gd name="connsiteX55" fmla="*/ 26670 w 331470"/>
                <a:gd name="connsiteY55" fmla="*/ 51435 h 305752"/>
                <a:gd name="connsiteX56" fmla="*/ 26670 w 331470"/>
                <a:gd name="connsiteY56" fmla="*/ 51435 h 305752"/>
                <a:gd name="connsiteX57" fmla="*/ 24765 w 331470"/>
                <a:gd name="connsiteY57" fmla="*/ 54293 h 305752"/>
                <a:gd name="connsiteX58" fmla="*/ 23813 w 331470"/>
                <a:gd name="connsiteY58" fmla="*/ 56198 h 305752"/>
                <a:gd name="connsiteX59" fmla="*/ 23813 w 331470"/>
                <a:gd name="connsiteY59" fmla="*/ 57150 h 305752"/>
                <a:gd name="connsiteX60" fmla="*/ 23813 w 331470"/>
                <a:gd name="connsiteY60" fmla="*/ 58102 h 305752"/>
                <a:gd name="connsiteX61" fmla="*/ 5715 w 331470"/>
                <a:gd name="connsiteY61" fmla="*/ 96202 h 305752"/>
                <a:gd name="connsiteX62" fmla="*/ 5715 w 331470"/>
                <a:gd name="connsiteY62" fmla="*/ 97155 h 305752"/>
                <a:gd name="connsiteX63" fmla="*/ 3810 w 331470"/>
                <a:gd name="connsiteY63" fmla="*/ 103823 h 305752"/>
                <a:gd name="connsiteX64" fmla="*/ 3810 w 331470"/>
                <a:gd name="connsiteY64" fmla="*/ 103823 h 305752"/>
                <a:gd name="connsiteX65" fmla="*/ 0 w 331470"/>
                <a:gd name="connsiteY65" fmla="*/ 120968 h 305752"/>
                <a:gd name="connsiteX66" fmla="*/ 0 w 331470"/>
                <a:gd name="connsiteY66" fmla="*/ 121920 h 305752"/>
                <a:gd name="connsiteX67" fmla="*/ 0 w 331470"/>
                <a:gd name="connsiteY67" fmla="*/ 124777 h 305752"/>
                <a:gd name="connsiteX68" fmla="*/ 0 w 331470"/>
                <a:gd name="connsiteY68" fmla="*/ 124777 h 305752"/>
                <a:gd name="connsiteX69" fmla="*/ 0 w 331470"/>
                <a:gd name="connsiteY69" fmla="*/ 127635 h 305752"/>
                <a:gd name="connsiteX70" fmla="*/ 0 w 331470"/>
                <a:gd name="connsiteY70" fmla="*/ 128588 h 305752"/>
                <a:gd name="connsiteX71" fmla="*/ 0 w 331470"/>
                <a:gd name="connsiteY71" fmla="*/ 131445 h 305752"/>
                <a:gd name="connsiteX72" fmla="*/ 0 w 331470"/>
                <a:gd name="connsiteY72" fmla="*/ 132398 h 305752"/>
                <a:gd name="connsiteX73" fmla="*/ 0 w 331470"/>
                <a:gd name="connsiteY73" fmla="*/ 135255 h 305752"/>
                <a:gd name="connsiteX74" fmla="*/ 0 w 331470"/>
                <a:gd name="connsiteY74" fmla="*/ 136208 h 305752"/>
                <a:gd name="connsiteX75" fmla="*/ 0 w 331470"/>
                <a:gd name="connsiteY75" fmla="*/ 139065 h 305752"/>
                <a:gd name="connsiteX76" fmla="*/ 0 w 331470"/>
                <a:gd name="connsiteY76" fmla="*/ 140018 h 305752"/>
                <a:gd name="connsiteX77" fmla="*/ 0 w 331470"/>
                <a:gd name="connsiteY77" fmla="*/ 142875 h 305752"/>
                <a:gd name="connsiteX78" fmla="*/ 0 w 331470"/>
                <a:gd name="connsiteY78" fmla="*/ 143827 h 305752"/>
                <a:gd name="connsiteX79" fmla="*/ 0 w 331470"/>
                <a:gd name="connsiteY79" fmla="*/ 146685 h 305752"/>
                <a:gd name="connsiteX80" fmla="*/ 0 w 331470"/>
                <a:gd name="connsiteY80" fmla="*/ 146685 h 305752"/>
                <a:gd name="connsiteX81" fmla="*/ 0 w 331470"/>
                <a:gd name="connsiteY81" fmla="*/ 150495 h 305752"/>
                <a:gd name="connsiteX82" fmla="*/ 0 w 331470"/>
                <a:gd name="connsiteY82" fmla="*/ 150495 h 305752"/>
                <a:gd name="connsiteX83" fmla="*/ 0 w 331470"/>
                <a:gd name="connsiteY83" fmla="*/ 154305 h 305752"/>
                <a:gd name="connsiteX84" fmla="*/ 0 w 331470"/>
                <a:gd name="connsiteY84" fmla="*/ 229552 h 305752"/>
                <a:gd name="connsiteX85" fmla="*/ 0 w 331470"/>
                <a:gd name="connsiteY85" fmla="*/ 305753 h 305752"/>
                <a:gd name="connsiteX86" fmla="*/ 72390 w 331470"/>
                <a:gd name="connsiteY86" fmla="*/ 305753 h 305752"/>
                <a:gd name="connsiteX87" fmla="*/ 76200 w 331470"/>
                <a:gd name="connsiteY87" fmla="*/ 305753 h 305752"/>
                <a:gd name="connsiteX88" fmla="*/ 220980 w 331470"/>
                <a:gd name="connsiteY88" fmla="*/ 305753 h 305752"/>
                <a:gd name="connsiteX89" fmla="*/ 243840 w 331470"/>
                <a:gd name="connsiteY89" fmla="*/ 302895 h 305752"/>
                <a:gd name="connsiteX90" fmla="*/ 243840 w 331470"/>
                <a:gd name="connsiteY90" fmla="*/ 302895 h 305752"/>
                <a:gd name="connsiteX91" fmla="*/ 249555 w 331470"/>
                <a:gd name="connsiteY91" fmla="*/ 300990 h 305752"/>
                <a:gd name="connsiteX92" fmla="*/ 250508 w 331470"/>
                <a:gd name="connsiteY92" fmla="*/ 300990 h 305752"/>
                <a:gd name="connsiteX93" fmla="*/ 252413 w 331470"/>
                <a:gd name="connsiteY93" fmla="*/ 300038 h 305752"/>
                <a:gd name="connsiteX94" fmla="*/ 252413 w 331470"/>
                <a:gd name="connsiteY94" fmla="*/ 300038 h 305752"/>
                <a:gd name="connsiteX95" fmla="*/ 254318 w 331470"/>
                <a:gd name="connsiteY95" fmla="*/ 299085 h 305752"/>
                <a:gd name="connsiteX96" fmla="*/ 255270 w 331470"/>
                <a:gd name="connsiteY96" fmla="*/ 299085 h 305752"/>
                <a:gd name="connsiteX97" fmla="*/ 256223 w 331470"/>
                <a:gd name="connsiteY97" fmla="*/ 299085 h 305752"/>
                <a:gd name="connsiteX98" fmla="*/ 258127 w 331470"/>
                <a:gd name="connsiteY98" fmla="*/ 298133 h 305752"/>
                <a:gd name="connsiteX99" fmla="*/ 260033 w 331470"/>
                <a:gd name="connsiteY99" fmla="*/ 297180 h 305752"/>
                <a:gd name="connsiteX100" fmla="*/ 260033 w 331470"/>
                <a:gd name="connsiteY100" fmla="*/ 297180 h 305752"/>
                <a:gd name="connsiteX101" fmla="*/ 262890 w 331470"/>
                <a:gd name="connsiteY101" fmla="*/ 296228 h 305752"/>
                <a:gd name="connsiteX102" fmla="*/ 262890 w 331470"/>
                <a:gd name="connsiteY102" fmla="*/ 296228 h 305752"/>
                <a:gd name="connsiteX103" fmla="*/ 265748 w 331470"/>
                <a:gd name="connsiteY103" fmla="*/ 295275 h 305752"/>
                <a:gd name="connsiteX104" fmla="*/ 265748 w 331470"/>
                <a:gd name="connsiteY104" fmla="*/ 295275 h 305752"/>
                <a:gd name="connsiteX105" fmla="*/ 268605 w 331470"/>
                <a:gd name="connsiteY105" fmla="*/ 294323 h 305752"/>
                <a:gd name="connsiteX106" fmla="*/ 268605 w 331470"/>
                <a:gd name="connsiteY106" fmla="*/ 294323 h 305752"/>
                <a:gd name="connsiteX107" fmla="*/ 271463 w 331470"/>
                <a:gd name="connsiteY107" fmla="*/ 292417 h 305752"/>
                <a:gd name="connsiteX108" fmla="*/ 271463 w 331470"/>
                <a:gd name="connsiteY108" fmla="*/ 292417 h 305752"/>
                <a:gd name="connsiteX109" fmla="*/ 274320 w 331470"/>
                <a:gd name="connsiteY109" fmla="*/ 290513 h 305752"/>
                <a:gd name="connsiteX110" fmla="*/ 274320 w 331470"/>
                <a:gd name="connsiteY110" fmla="*/ 290513 h 305752"/>
                <a:gd name="connsiteX111" fmla="*/ 277178 w 331470"/>
                <a:gd name="connsiteY111" fmla="*/ 288608 h 305752"/>
                <a:gd name="connsiteX112" fmla="*/ 277178 w 331470"/>
                <a:gd name="connsiteY112" fmla="*/ 288608 h 305752"/>
                <a:gd name="connsiteX113" fmla="*/ 275273 w 331470"/>
                <a:gd name="connsiteY113" fmla="*/ 285750 h 305752"/>
                <a:gd name="connsiteX114" fmla="*/ 275273 w 331470"/>
                <a:gd name="connsiteY114" fmla="*/ 285750 h 305752"/>
                <a:gd name="connsiteX115" fmla="*/ 277178 w 331470"/>
                <a:gd name="connsiteY115" fmla="*/ 283845 h 305752"/>
                <a:gd name="connsiteX116" fmla="*/ 277178 w 331470"/>
                <a:gd name="connsiteY116" fmla="*/ 283845 h 305752"/>
                <a:gd name="connsiteX117" fmla="*/ 277178 w 331470"/>
                <a:gd name="connsiteY117" fmla="*/ 283845 h 305752"/>
                <a:gd name="connsiteX118" fmla="*/ 286703 w 331470"/>
                <a:gd name="connsiteY118" fmla="*/ 276225 h 305752"/>
                <a:gd name="connsiteX119" fmla="*/ 286703 w 331470"/>
                <a:gd name="connsiteY119" fmla="*/ 276225 h 305752"/>
                <a:gd name="connsiteX120" fmla="*/ 288608 w 331470"/>
                <a:gd name="connsiteY120" fmla="*/ 275273 h 305752"/>
                <a:gd name="connsiteX121" fmla="*/ 288608 w 331470"/>
                <a:gd name="connsiteY121" fmla="*/ 275273 h 305752"/>
                <a:gd name="connsiteX122" fmla="*/ 289560 w 331470"/>
                <a:gd name="connsiteY122" fmla="*/ 274320 h 305752"/>
                <a:gd name="connsiteX123" fmla="*/ 290513 w 331470"/>
                <a:gd name="connsiteY123" fmla="*/ 273367 h 305752"/>
                <a:gd name="connsiteX124" fmla="*/ 291465 w 331470"/>
                <a:gd name="connsiteY124" fmla="*/ 272415 h 305752"/>
                <a:gd name="connsiteX125" fmla="*/ 292418 w 331470"/>
                <a:gd name="connsiteY125" fmla="*/ 271463 h 305752"/>
                <a:gd name="connsiteX126" fmla="*/ 292418 w 331470"/>
                <a:gd name="connsiteY126" fmla="*/ 271463 h 305752"/>
                <a:gd name="connsiteX127" fmla="*/ 294323 w 331470"/>
                <a:gd name="connsiteY127" fmla="*/ 269558 h 305752"/>
                <a:gd name="connsiteX128" fmla="*/ 294323 w 331470"/>
                <a:gd name="connsiteY128" fmla="*/ 269558 h 305752"/>
                <a:gd name="connsiteX129" fmla="*/ 295275 w 331470"/>
                <a:gd name="connsiteY129" fmla="*/ 268605 h 305752"/>
                <a:gd name="connsiteX130" fmla="*/ 296228 w 331470"/>
                <a:gd name="connsiteY130" fmla="*/ 267653 h 305752"/>
                <a:gd name="connsiteX131" fmla="*/ 296228 w 331470"/>
                <a:gd name="connsiteY131" fmla="*/ 267653 h 305752"/>
                <a:gd name="connsiteX132" fmla="*/ 298133 w 331470"/>
                <a:gd name="connsiteY132" fmla="*/ 265748 h 305752"/>
                <a:gd name="connsiteX133" fmla="*/ 298133 w 331470"/>
                <a:gd name="connsiteY133" fmla="*/ 265748 h 305752"/>
                <a:gd name="connsiteX134" fmla="*/ 299085 w 331470"/>
                <a:gd name="connsiteY134" fmla="*/ 264795 h 305752"/>
                <a:gd name="connsiteX135" fmla="*/ 300038 w 331470"/>
                <a:gd name="connsiteY135" fmla="*/ 263842 h 305752"/>
                <a:gd name="connsiteX136" fmla="*/ 300038 w 331470"/>
                <a:gd name="connsiteY136" fmla="*/ 262890 h 305752"/>
                <a:gd name="connsiteX137" fmla="*/ 300990 w 331470"/>
                <a:gd name="connsiteY137" fmla="*/ 260985 h 305752"/>
                <a:gd name="connsiteX138" fmla="*/ 300990 w 331470"/>
                <a:gd name="connsiteY138" fmla="*/ 260985 h 305752"/>
                <a:gd name="connsiteX139" fmla="*/ 301943 w 331470"/>
                <a:gd name="connsiteY139" fmla="*/ 259080 h 305752"/>
                <a:gd name="connsiteX140" fmla="*/ 302895 w 331470"/>
                <a:gd name="connsiteY140" fmla="*/ 258127 h 305752"/>
                <a:gd name="connsiteX141" fmla="*/ 302895 w 331470"/>
                <a:gd name="connsiteY141" fmla="*/ 257175 h 305752"/>
                <a:gd name="connsiteX142" fmla="*/ 304800 w 331470"/>
                <a:gd name="connsiteY142" fmla="*/ 255270 h 305752"/>
                <a:gd name="connsiteX143" fmla="*/ 304800 w 331470"/>
                <a:gd name="connsiteY143" fmla="*/ 255270 h 305752"/>
                <a:gd name="connsiteX144" fmla="*/ 306705 w 331470"/>
                <a:gd name="connsiteY144" fmla="*/ 252413 h 305752"/>
                <a:gd name="connsiteX145" fmla="*/ 307658 w 331470"/>
                <a:gd name="connsiteY145" fmla="*/ 250508 h 305752"/>
                <a:gd name="connsiteX146" fmla="*/ 307658 w 331470"/>
                <a:gd name="connsiteY146" fmla="*/ 249555 h 305752"/>
                <a:gd name="connsiteX147" fmla="*/ 307658 w 331470"/>
                <a:gd name="connsiteY147" fmla="*/ 248602 h 305752"/>
                <a:gd name="connsiteX148" fmla="*/ 325755 w 331470"/>
                <a:gd name="connsiteY148" fmla="*/ 210502 h 305752"/>
                <a:gd name="connsiteX149" fmla="*/ 325755 w 331470"/>
                <a:gd name="connsiteY149" fmla="*/ 209550 h 305752"/>
                <a:gd name="connsiteX150" fmla="*/ 327660 w 331470"/>
                <a:gd name="connsiteY150" fmla="*/ 202883 h 305752"/>
                <a:gd name="connsiteX151" fmla="*/ 327660 w 331470"/>
                <a:gd name="connsiteY151" fmla="*/ 202883 h 305752"/>
                <a:gd name="connsiteX152" fmla="*/ 331470 w 331470"/>
                <a:gd name="connsiteY152" fmla="*/ 185738 h 305752"/>
                <a:gd name="connsiteX153" fmla="*/ 331470 w 331470"/>
                <a:gd name="connsiteY153" fmla="*/ 184785 h 305752"/>
                <a:gd name="connsiteX154" fmla="*/ 331470 w 331470"/>
                <a:gd name="connsiteY154" fmla="*/ 181927 h 305752"/>
                <a:gd name="connsiteX155" fmla="*/ 331470 w 331470"/>
                <a:gd name="connsiteY155" fmla="*/ 181927 h 305752"/>
                <a:gd name="connsiteX156" fmla="*/ 331470 w 331470"/>
                <a:gd name="connsiteY156" fmla="*/ 179070 h 305752"/>
                <a:gd name="connsiteX157" fmla="*/ 331470 w 331470"/>
                <a:gd name="connsiteY157" fmla="*/ 178118 h 305752"/>
                <a:gd name="connsiteX158" fmla="*/ 331470 w 331470"/>
                <a:gd name="connsiteY158" fmla="*/ 175260 h 305752"/>
                <a:gd name="connsiteX159" fmla="*/ 331470 w 331470"/>
                <a:gd name="connsiteY159" fmla="*/ 174308 h 305752"/>
                <a:gd name="connsiteX160" fmla="*/ 331470 w 331470"/>
                <a:gd name="connsiteY160" fmla="*/ 171450 h 305752"/>
                <a:gd name="connsiteX161" fmla="*/ 331470 w 331470"/>
                <a:gd name="connsiteY161" fmla="*/ 170498 h 305752"/>
                <a:gd name="connsiteX162" fmla="*/ 331470 w 331470"/>
                <a:gd name="connsiteY162" fmla="*/ 167640 h 305752"/>
                <a:gd name="connsiteX163" fmla="*/ 331470 w 331470"/>
                <a:gd name="connsiteY163" fmla="*/ 166688 h 305752"/>
                <a:gd name="connsiteX164" fmla="*/ 331470 w 331470"/>
                <a:gd name="connsiteY164" fmla="*/ 163830 h 305752"/>
                <a:gd name="connsiteX165" fmla="*/ 331470 w 331470"/>
                <a:gd name="connsiteY165" fmla="*/ 162877 h 305752"/>
                <a:gd name="connsiteX166" fmla="*/ 331470 w 331470"/>
                <a:gd name="connsiteY166" fmla="*/ 160020 h 305752"/>
                <a:gd name="connsiteX167" fmla="*/ 331470 w 331470"/>
                <a:gd name="connsiteY167" fmla="*/ 160020 h 305752"/>
                <a:gd name="connsiteX168" fmla="*/ 331470 w 331470"/>
                <a:gd name="connsiteY168" fmla="*/ 156210 h 305752"/>
                <a:gd name="connsiteX169" fmla="*/ 331470 w 331470"/>
                <a:gd name="connsiteY169" fmla="*/ 156210 h 305752"/>
                <a:gd name="connsiteX170" fmla="*/ 331470 w 331470"/>
                <a:gd name="connsiteY170" fmla="*/ 152400 h 305752"/>
                <a:gd name="connsiteX171" fmla="*/ 331470 w 331470"/>
                <a:gd name="connsiteY171" fmla="*/ 76200 h 305752"/>
                <a:gd name="connsiteX172" fmla="*/ 331470 w 331470"/>
                <a:gd name="connsiteY172" fmla="*/ 0 h 305752"/>
                <a:gd name="connsiteX173" fmla="*/ 259080 w 331470"/>
                <a:gd name="connsiteY173" fmla="*/ 0 h 305752"/>
                <a:gd name="connsiteX174" fmla="*/ 263843 w 331470"/>
                <a:gd name="connsiteY174" fmla="*/ 0 h 3057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Lst>
              <a:rect l="l" t="t" r="r" b="b"/>
              <a:pathLst>
                <a:path w="331470" h="305752">
                  <a:moveTo>
                    <a:pt x="263843" y="0"/>
                  </a:moveTo>
                  <a:lnTo>
                    <a:pt x="119063" y="0"/>
                  </a:lnTo>
                  <a:cubicBezTo>
                    <a:pt x="111443" y="0"/>
                    <a:pt x="103823" y="952"/>
                    <a:pt x="96202" y="2857"/>
                  </a:cubicBezTo>
                  <a:lnTo>
                    <a:pt x="96202" y="2857"/>
                  </a:lnTo>
                  <a:cubicBezTo>
                    <a:pt x="94298" y="2857"/>
                    <a:pt x="92393" y="3810"/>
                    <a:pt x="90488" y="4763"/>
                  </a:cubicBezTo>
                  <a:lnTo>
                    <a:pt x="89535" y="4763"/>
                  </a:lnTo>
                  <a:lnTo>
                    <a:pt x="87630" y="5715"/>
                  </a:lnTo>
                  <a:lnTo>
                    <a:pt x="87630" y="5715"/>
                  </a:lnTo>
                  <a:lnTo>
                    <a:pt x="84773" y="5715"/>
                  </a:lnTo>
                  <a:lnTo>
                    <a:pt x="83820" y="5715"/>
                  </a:lnTo>
                  <a:lnTo>
                    <a:pt x="82868" y="5715"/>
                  </a:lnTo>
                  <a:lnTo>
                    <a:pt x="80963" y="6668"/>
                  </a:lnTo>
                  <a:lnTo>
                    <a:pt x="79058" y="7620"/>
                  </a:lnTo>
                  <a:lnTo>
                    <a:pt x="79058" y="7620"/>
                  </a:lnTo>
                  <a:lnTo>
                    <a:pt x="76200" y="9525"/>
                  </a:lnTo>
                  <a:lnTo>
                    <a:pt x="76200" y="9525"/>
                  </a:lnTo>
                  <a:lnTo>
                    <a:pt x="73343" y="10477"/>
                  </a:lnTo>
                  <a:lnTo>
                    <a:pt x="73343" y="10477"/>
                  </a:lnTo>
                  <a:lnTo>
                    <a:pt x="70485" y="11430"/>
                  </a:lnTo>
                  <a:lnTo>
                    <a:pt x="70485" y="11430"/>
                  </a:lnTo>
                  <a:lnTo>
                    <a:pt x="67627" y="13335"/>
                  </a:lnTo>
                  <a:lnTo>
                    <a:pt x="67627" y="13335"/>
                  </a:lnTo>
                  <a:lnTo>
                    <a:pt x="65723" y="15240"/>
                  </a:lnTo>
                  <a:lnTo>
                    <a:pt x="65723" y="15240"/>
                  </a:lnTo>
                  <a:lnTo>
                    <a:pt x="62865" y="17145"/>
                  </a:lnTo>
                  <a:lnTo>
                    <a:pt x="62865" y="17145"/>
                  </a:lnTo>
                  <a:lnTo>
                    <a:pt x="60960" y="19050"/>
                  </a:lnTo>
                  <a:lnTo>
                    <a:pt x="60960" y="19050"/>
                  </a:lnTo>
                  <a:lnTo>
                    <a:pt x="59055" y="20955"/>
                  </a:lnTo>
                  <a:lnTo>
                    <a:pt x="59055" y="20955"/>
                  </a:lnTo>
                  <a:lnTo>
                    <a:pt x="59055" y="20955"/>
                  </a:lnTo>
                  <a:cubicBezTo>
                    <a:pt x="56198" y="22860"/>
                    <a:pt x="52388" y="25718"/>
                    <a:pt x="49530" y="28575"/>
                  </a:cubicBezTo>
                  <a:lnTo>
                    <a:pt x="49530" y="28575"/>
                  </a:lnTo>
                  <a:lnTo>
                    <a:pt x="47625" y="29527"/>
                  </a:lnTo>
                  <a:lnTo>
                    <a:pt x="47625" y="29527"/>
                  </a:lnTo>
                  <a:lnTo>
                    <a:pt x="46673" y="30480"/>
                  </a:lnTo>
                  <a:lnTo>
                    <a:pt x="45720" y="31432"/>
                  </a:lnTo>
                  <a:lnTo>
                    <a:pt x="44768" y="32385"/>
                  </a:lnTo>
                  <a:lnTo>
                    <a:pt x="43815" y="33338"/>
                  </a:lnTo>
                  <a:lnTo>
                    <a:pt x="43815" y="33338"/>
                  </a:lnTo>
                  <a:lnTo>
                    <a:pt x="41910" y="35243"/>
                  </a:lnTo>
                  <a:lnTo>
                    <a:pt x="41910" y="35243"/>
                  </a:lnTo>
                  <a:lnTo>
                    <a:pt x="40958" y="36195"/>
                  </a:lnTo>
                  <a:lnTo>
                    <a:pt x="37148" y="38100"/>
                  </a:lnTo>
                  <a:lnTo>
                    <a:pt x="37148" y="38100"/>
                  </a:lnTo>
                  <a:lnTo>
                    <a:pt x="35243" y="40005"/>
                  </a:lnTo>
                  <a:lnTo>
                    <a:pt x="35243" y="40005"/>
                  </a:lnTo>
                  <a:lnTo>
                    <a:pt x="34290" y="40957"/>
                  </a:lnTo>
                  <a:lnTo>
                    <a:pt x="33338" y="41910"/>
                  </a:lnTo>
                  <a:lnTo>
                    <a:pt x="33338" y="42863"/>
                  </a:lnTo>
                  <a:lnTo>
                    <a:pt x="32385" y="44768"/>
                  </a:lnTo>
                  <a:lnTo>
                    <a:pt x="32385" y="44768"/>
                  </a:lnTo>
                  <a:lnTo>
                    <a:pt x="29527" y="47625"/>
                  </a:lnTo>
                  <a:lnTo>
                    <a:pt x="28575" y="48577"/>
                  </a:lnTo>
                  <a:lnTo>
                    <a:pt x="28575" y="49530"/>
                  </a:lnTo>
                  <a:lnTo>
                    <a:pt x="26670" y="51435"/>
                  </a:lnTo>
                  <a:lnTo>
                    <a:pt x="26670" y="51435"/>
                  </a:lnTo>
                  <a:lnTo>
                    <a:pt x="24765" y="54293"/>
                  </a:lnTo>
                  <a:lnTo>
                    <a:pt x="23813" y="56198"/>
                  </a:lnTo>
                  <a:lnTo>
                    <a:pt x="23813" y="57150"/>
                  </a:lnTo>
                  <a:lnTo>
                    <a:pt x="23813" y="58102"/>
                  </a:lnTo>
                  <a:cubicBezTo>
                    <a:pt x="16193" y="69532"/>
                    <a:pt x="10477" y="82868"/>
                    <a:pt x="5715" y="96202"/>
                  </a:cubicBezTo>
                  <a:lnTo>
                    <a:pt x="5715" y="97155"/>
                  </a:lnTo>
                  <a:cubicBezTo>
                    <a:pt x="4763" y="99060"/>
                    <a:pt x="4763" y="100965"/>
                    <a:pt x="3810" y="103823"/>
                  </a:cubicBezTo>
                  <a:lnTo>
                    <a:pt x="3810" y="103823"/>
                  </a:lnTo>
                  <a:cubicBezTo>
                    <a:pt x="1905" y="109538"/>
                    <a:pt x="952" y="115252"/>
                    <a:pt x="0" y="120968"/>
                  </a:cubicBezTo>
                  <a:lnTo>
                    <a:pt x="0" y="121920"/>
                  </a:lnTo>
                  <a:lnTo>
                    <a:pt x="0" y="124777"/>
                  </a:lnTo>
                  <a:lnTo>
                    <a:pt x="0" y="124777"/>
                  </a:lnTo>
                  <a:lnTo>
                    <a:pt x="0" y="127635"/>
                  </a:lnTo>
                  <a:lnTo>
                    <a:pt x="0" y="128588"/>
                  </a:lnTo>
                  <a:lnTo>
                    <a:pt x="0" y="131445"/>
                  </a:lnTo>
                  <a:lnTo>
                    <a:pt x="0" y="132398"/>
                  </a:lnTo>
                  <a:lnTo>
                    <a:pt x="0" y="135255"/>
                  </a:lnTo>
                  <a:lnTo>
                    <a:pt x="0" y="136208"/>
                  </a:lnTo>
                  <a:lnTo>
                    <a:pt x="0" y="139065"/>
                  </a:lnTo>
                  <a:lnTo>
                    <a:pt x="0" y="140018"/>
                  </a:lnTo>
                  <a:lnTo>
                    <a:pt x="0" y="142875"/>
                  </a:lnTo>
                  <a:lnTo>
                    <a:pt x="0" y="143827"/>
                  </a:lnTo>
                  <a:lnTo>
                    <a:pt x="0" y="146685"/>
                  </a:lnTo>
                  <a:lnTo>
                    <a:pt x="0" y="146685"/>
                  </a:lnTo>
                  <a:lnTo>
                    <a:pt x="0" y="150495"/>
                  </a:lnTo>
                  <a:lnTo>
                    <a:pt x="0" y="150495"/>
                  </a:lnTo>
                  <a:lnTo>
                    <a:pt x="0" y="154305"/>
                  </a:lnTo>
                  <a:lnTo>
                    <a:pt x="0" y="229552"/>
                  </a:lnTo>
                  <a:lnTo>
                    <a:pt x="0" y="305753"/>
                  </a:lnTo>
                  <a:lnTo>
                    <a:pt x="72390" y="305753"/>
                  </a:lnTo>
                  <a:cubicBezTo>
                    <a:pt x="73343" y="305753"/>
                    <a:pt x="75248" y="305753"/>
                    <a:pt x="76200" y="305753"/>
                  </a:cubicBezTo>
                  <a:lnTo>
                    <a:pt x="220980" y="305753"/>
                  </a:lnTo>
                  <a:cubicBezTo>
                    <a:pt x="228600" y="305753"/>
                    <a:pt x="236220" y="304800"/>
                    <a:pt x="243840" y="302895"/>
                  </a:cubicBezTo>
                  <a:lnTo>
                    <a:pt x="243840" y="302895"/>
                  </a:lnTo>
                  <a:cubicBezTo>
                    <a:pt x="245745" y="302895"/>
                    <a:pt x="247650" y="301942"/>
                    <a:pt x="249555" y="300990"/>
                  </a:cubicBezTo>
                  <a:lnTo>
                    <a:pt x="250508" y="300990"/>
                  </a:lnTo>
                  <a:lnTo>
                    <a:pt x="252413" y="300038"/>
                  </a:lnTo>
                  <a:lnTo>
                    <a:pt x="252413" y="300038"/>
                  </a:lnTo>
                  <a:lnTo>
                    <a:pt x="254318" y="299085"/>
                  </a:lnTo>
                  <a:lnTo>
                    <a:pt x="255270" y="299085"/>
                  </a:lnTo>
                  <a:lnTo>
                    <a:pt x="256223" y="299085"/>
                  </a:lnTo>
                  <a:lnTo>
                    <a:pt x="258127" y="298133"/>
                  </a:lnTo>
                  <a:lnTo>
                    <a:pt x="260033" y="297180"/>
                  </a:lnTo>
                  <a:lnTo>
                    <a:pt x="260033" y="297180"/>
                  </a:lnTo>
                  <a:lnTo>
                    <a:pt x="262890" y="296228"/>
                  </a:lnTo>
                  <a:lnTo>
                    <a:pt x="262890" y="296228"/>
                  </a:lnTo>
                  <a:lnTo>
                    <a:pt x="265748" y="295275"/>
                  </a:lnTo>
                  <a:lnTo>
                    <a:pt x="265748" y="295275"/>
                  </a:lnTo>
                  <a:lnTo>
                    <a:pt x="268605" y="294323"/>
                  </a:lnTo>
                  <a:lnTo>
                    <a:pt x="268605" y="294323"/>
                  </a:lnTo>
                  <a:lnTo>
                    <a:pt x="271463" y="292417"/>
                  </a:lnTo>
                  <a:lnTo>
                    <a:pt x="271463" y="292417"/>
                  </a:lnTo>
                  <a:lnTo>
                    <a:pt x="274320" y="290513"/>
                  </a:lnTo>
                  <a:lnTo>
                    <a:pt x="274320" y="290513"/>
                  </a:lnTo>
                  <a:lnTo>
                    <a:pt x="277178" y="288608"/>
                  </a:lnTo>
                  <a:lnTo>
                    <a:pt x="277178" y="288608"/>
                  </a:lnTo>
                  <a:lnTo>
                    <a:pt x="275273" y="285750"/>
                  </a:lnTo>
                  <a:lnTo>
                    <a:pt x="275273" y="285750"/>
                  </a:lnTo>
                  <a:lnTo>
                    <a:pt x="277178" y="283845"/>
                  </a:lnTo>
                  <a:lnTo>
                    <a:pt x="277178" y="283845"/>
                  </a:lnTo>
                  <a:lnTo>
                    <a:pt x="277178" y="283845"/>
                  </a:lnTo>
                  <a:cubicBezTo>
                    <a:pt x="280035" y="281940"/>
                    <a:pt x="283845" y="279083"/>
                    <a:pt x="286703" y="276225"/>
                  </a:cubicBezTo>
                  <a:lnTo>
                    <a:pt x="286703" y="276225"/>
                  </a:lnTo>
                  <a:lnTo>
                    <a:pt x="288608" y="275273"/>
                  </a:lnTo>
                  <a:lnTo>
                    <a:pt x="288608" y="275273"/>
                  </a:lnTo>
                  <a:lnTo>
                    <a:pt x="289560" y="274320"/>
                  </a:lnTo>
                  <a:lnTo>
                    <a:pt x="290513" y="273367"/>
                  </a:lnTo>
                  <a:lnTo>
                    <a:pt x="291465" y="272415"/>
                  </a:lnTo>
                  <a:lnTo>
                    <a:pt x="292418" y="271463"/>
                  </a:lnTo>
                  <a:lnTo>
                    <a:pt x="292418" y="271463"/>
                  </a:lnTo>
                  <a:lnTo>
                    <a:pt x="294323" y="269558"/>
                  </a:lnTo>
                  <a:lnTo>
                    <a:pt x="294323" y="269558"/>
                  </a:lnTo>
                  <a:lnTo>
                    <a:pt x="295275" y="268605"/>
                  </a:lnTo>
                  <a:lnTo>
                    <a:pt x="296228" y="267653"/>
                  </a:lnTo>
                  <a:lnTo>
                    <a:pt x="296228" y="267653"/>
                  </a:lnTo>
                  <a:lnTo>
                    <a:pt x="298133" y="265748"/>
                  </a:lnTo>
                  <a:lnTo>
                    <a:pt x="298133" y="265748"/>
                  </a:lnTo>
                  <a:lnTo>
                    <a:pt x="299085" y="264795"/>
                  </a:lnTo>
                  <a:lnTo>
                    <a:pt x="300038" y="263842"/>
                  </a:lnTo>
                  <a:lnTo>
                    <a:pt x="300038" y="262890"/>
                  </a:lnTo>
                  <a:lnTo>
                    <a:pt x="300990" y="260985"/>
                  </a:lnTo>
                  <a:lnTo>
                    <a:pt x="300990" y="260985"/>
                  </a:lnTo>
                  <a:lnTo>
                    <a:pt x="301943" y="259080"/>
                  </a:lnTo>
                  <a:lnTo>
                    <a:pt x="302895" y="258127"/>
                  </a:lnTo>
                  <a:lnTo>
                    <a:pt x="302895" y="257175"/>
                  </a:lnTo>
                  <a:lnTo>
                    <a:pt x="304800" y="255270"/>
                  </a:lnTo>
                  <a:lnTo>
                    <a:pt x="304800" y="255270"/>
                  </a:lnTo>
                  <a:lnTo>
                    <a:pt x="306705" y="252413"/>
                  </a:lnTo>
                  <a:lnTo>
                    <a:pt x="307658" y="250508"/>
                  </a:lnTo>
                  <a:lnTo>
                    <a:pt x="307658" y="249555"/>
                  </a:lnTo>
                  <a:lnTo>
                    <a:pt x="307658" y="248602"/>
                  </a:lnTo>
                  <a:cubicBezTo>
                    <a:pt x="315278" y="237173"/>
                    <a:pt x="320993" y="223838"/>
                    <a:pt x="325755" y="210502"/>
                  </a:cubicBezTo>
                  <a:lnTo>
                    <a:pt x="325755" y="209550"/>
                  </a:lnTo>
                  <a:cubicBezTo>
                    <a:pt x="326708" y="207645"/>
                    <a:pt x="326708" y="205740"/>
                    <a:pt x="327660" y="202883"/>
                  </a:cubicBezTo>
                  <a:lnTo>
                    <a:pt x="327660" y="202883"/>
                  </a:lnTo>
                  <a:cubicBezTo>
                    <a:pt x="329565" y="197168"/>
                    <a:pt x="330518" y="191452"/>
                    <a:pt x="331470" y="185738"/>
                  </a:cubicBezTo>
                  <a:lnTo>
                    <a:pt x="331470" y="184785"/>
                  </a:lnTo>
                  <a:lnTo>
                    <a:pt x="331470" y="181927"/>
                  </a:lnTo>
                  <a:lnTo>
                    <a:pt x="331470" y="181927"/>
                  </a:lnTo>
                  <a:lnTo>
                    <a:pt x="331470" y="179070"/>
                  </a:lnTo>
                  <a:lnTo>
                    <a:pt x="331470" y="178118"/>
                  </a:lnTo>
                  <a:lnTo>
                    <a:pt x="331470" y="175260"/>
                  </a:lnTo>
                  <a:lnTo>
                    <a:pt x="331470" y="174308"/>
                  </a:lnTo>
                  <a:lnTo>
                    <a:pt x="331470" y="171450"/>
                  </a:lnTo>
                  <a:lnTo>
                    <a:pt x="331470" y="170498"/>
                  </a:lnTo>
                  <a:lnTo>
                    <a:pt x="331470" y="167640"/>
                  </a:lnTo>
                  <a:lnTo>
                    <a:pt x="331470" y="166688"/>
                  </a:lnTo>
                  <a:lnTo>
                    <a:pt x="331470" y="163830"/>
                  </a:lnTo>
                  <a:lnTo>
                    <a:pt x="331470" y="162877"/>
                  </a:lnTo>
                  <a:lnTo>
                    <a:pt x="331470" y="160020"/>
                  </a:lnTo>
                  <a:lnTo>
                    <a:pt x="331470" y="160020"/>
                  </a:lnTo>
                  <a:lnTo>
                    <a:pt x="331470" y="156210"/>
                  </a:lnTo>
                  <a:lnTo>
                    <a:pt x="331470" y="156210"/>
                  </a:lnTo>
                  <a:lnTo>
                    <a:pt x="331470" y="152400"/>
                  </a:lnTo>
                  <a:lnTo>
                    <a:pt x="331470" y="76200"/>
                  </a:lnTo>
                  <a:lnTo>
                    <a:pt x="331470" y="0"/>
                  </a:lnTo>
                  <a:lnTo>
                    <a:pt x="259080" y="0"/>
                  </a:lnTo>
                  <a:cubicBezTo>
                    <a:pt x="266700" y="0"/>
                    <a:pt x="264795" y="0"/>
                    <a:pt x="263843" y="0"/>
                  </a:cubicBezTo>
                  <a:close/>
                </a:path>
              </a:pathLst>
            </a:custGeom>
            <a:solidFill>
              <a:schemeClr val="accent6"/>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grpSp>
        <p:nvGrpSpPr>
          <p:cNvPr id="9" name="Group 13">
            <a:extLst>
              <a:ext uri="{FF2B5EF4-FFF2-40B4-BE49-F238E27FC236}">
                <a16:creationId xmlns:a16="http://schemas.microsoft.com/office/drawing/2014/main" id="{BCF6D71A-456D-4B70-A9CF-338F1E6C0825}"/>
              </a:ext>
            </a:extLst>
          </p:cNvPr>
          <p:cNvGrpSpPr/>
          <p:nvPr/>
        </p:nvGrpSpPr>
        <p:grpSpPr>
          <a:xfrm>
            <a:off x="5977829" y="2335083"/>
            <a:ext cx="2060794" cy="2293077"/>
            <a:chOff x="5977829" y="2335083"/>
            <a:chExt cx="2060794" cy="2293077"/>
          </a:xfrm>
        </p:grpSpPr>
        <p:sp>
          <p:nvSpPr>
            <p:cNvPr id="10" name="Freeform: Shape 94">
              <a:extLst>
                <a:ext uri="{FF2B5EF4-FFF2-40B4-BE49-F238E27FC236}">
                  <a16:creationId xmlns:a16="http://schemas.microsoft.com/office/drawing/2014/main" id="{DA0003B6-0744-4020-B608-37B99E90B8E2}"/>
                </a:ext>
              </a:extLst>
            </p:cNvPr>
            <p:cNvSpPr/>
            <p:nvPr/>
          </p:nvSpPr>
          <p:spPr>
            <a:xfrm>
              <a:off x="5977829" y="3255958"/>
              <a:ext cx="1056079" cy="1372202"/>
            </a:xfrm>
            <a:custGeom>
              <a:avLst/>
              <a:gdLst>
                <a:gd name="connsiteX0" fmla="*/ 106680 w 944880"/>
                <a:gd name="connsiteY0" fmla="*/ 427672 h 1227718"/>
                <a:gd name="connsiteX1" fmla="*/ 824865 w 944880"/>
                <a:gd name="connsiteY1" fmla="*/ 60960 h 1227718"/>
                <a:gd name="connsiteX2" fmla="*/ 944880 w 944880"/>
                <a:gd name="connsiteY2" fmla="*/ 0 h 1227718"/>
                <a:gd name="connsiteX3" fmla="*/ 944880 w 944880"/>
                <a:gd name="connsiteY3" fmla="*/ 148590 h 1227718"/>
                <a:gd name="connsiteX4" fmla="*/ 167640 w 944880"/>
                <a:gd name="connsiteY4" fmla="*/ 545782 h 1227718"/>
                <a:gd name="connsiteX5" fmla="*/ 133350 w 944880"/>
                <a:gd name="connsiteY5" fmla="*/ 615315 h 1227718"/>
                <a:gd name="connsiteX6" fmla="*/ 133350 w 944880"/>
                <a:gd name="connsiteY6" fmla="*/ 872490 h 1227718"/>
                <a:gd name="connsiteX7" fmla="*/ 133350 w 944880"/>
                <a:gd name="connsiteY7" fmla="*/ 1055370 h 1227718"/>
                <a:gd name="connsiteX8" fmla="*/ 133350 w 944880"/>
                <a:gd name="connsiteY8" fmla="*/ 1203960 h 1227718"/>
                <a:gd name="connsiteX9" fmla="*/ 106680 w 944880"/>
                <a:gd name="connsiteY9" fmla="*/ 1217295 h 1227718"/>
                <a:gd name="connsiteX10" fmla="*/ 0 w 944880"/>
                <a:gd name="connsiteY10" fmla="*/ 1137285 h 1227718"/>
                <a:gd name="connsiteX11" fmla="*/ 0 w 944880"/>
                <a:gd name="connsiteY11" fmla="*/ 614363 h 1227718"/>
                <a:gd name="connsiteX12" fmla="*/ 106680 w 944880"/>
                <a:gd name="connsiteY12" fmla="*/ 427672 h 12277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44880" h="1227718">
                  <a:moveTo>
                    <a:pt x="106680" y="427672"/>
                  </a:moveTo>
                  <a:lnTo>
                    <a:pt x="824865" y="60960"/>
                  </a:lnTo>
                  <a:lnTo>
                    <a:pt x="944880" y="0"/>
                  </a:lnTo>
                  <a:lnTo>
                    <a:pt x="944880" y="148590"/>
                  </a:lnTo>
                  <a:lnTo>
                    <a:pt x="167640" y="545782"/>
                  </a:lnTo>
                  <a:cubicBezTo>
                    <a:pt x="150495" y="556260"/>
                    <a:pt x="133350" y="595313"/>
                    <a:pt x="133350" y="615315"/>
                  </a:cubicBezTo>
                  <a:lnTo>
                    <a:pt x="133350" y="872490"/>
                  </a:lnTo>
                  <a:lnTo>
                    <a:pt x="133350" y="1055370"/>
                  </a:lnTo>
                  <a:lnTo>
                    <a:pt x="133350" y="1203960"/>
                  </a:lnTo>
                  <a:lnTo>
                    <a:pt x="106680" y="1217295"/>
                  </a:lnTo>
                  <a:cubicBezTo>
                    <a:pt x="48578" y="1246823"/>
                    <a:pt x="0" y="1211580"/>
                    <a:pt x="0" y="1137285"/>
                  </a:cubicBezTo>
                  <a:lnTo>
                    <a:pt x="0" y="614363"/>
                  </a:lnTo>
                  <a:cubicBezTo>
                    <a:pt x="0" y="541972"/>
                    <a:pt x="47625" y="457200"/>
                    <a:pt x="106680" y="427672"/>
                  </a:cubicBezTo>
                  <a:close/>
                </a:path>
              </a:pathLst>
            </a:custGeom>
            <a:solidFill>
              <a:schemeClr val="accent5"/>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1" name="Freeform: Shape 101">
              <a:extLst>
                <a:ext uri="{FF2B5EF4-FFF2-40B4-BE49-F238E27FC236}">
                  <a16:creationId xmlns:a16="http://schemas.microsoft.com/office/drawing/2014/main" id="{4AE47D51-B636-495D-B0AB-A5B9A1103DD5}"/>
                </a:ext>
              </a:extLst>
            </p:cNvPr>
            <p:cNvSpPr/>
            <p:nvPr/>
          </p:nvSpPr>
          <p:spPr>
            <a:xfrm>
              <a:off x="7158203" y="2335083"/>
              <a:ext cx="880420" cy="776089"/>
            </a:xfrm>
            <a:custGeom>
              <a:avLst/>
              <a:gdLst>
                <a:gd name="connsiteX0" fmla="*/ 613410 w 787717"/>
                <a:gd name="connsiteY0" fmla="*/ 0 h 694372"/>
                <a:gd name="connsiteX1" fmla="*/ 281940 w 787717"/>
                <a:gd name="connsiteY1" fmla="*/ 0 h 694372"/>
                <a:gd name="connsiteX2" fmla="*/ 0 w 787717"/>
                <a:gd name="connsiteY2" fmla="*/ 346710 h 694372"/>
                <a:gd name="connsiteX3" fmla="*/ 0 w 787717"/>
                <a:gd name="connsiteY3" fmla="*/ 694373 h 694372"/>
                <a:gd name="connsiteX4" fmla="*/ 523875 w 787717"/>
                <a:gd name="connsiteY4" fmla="*/ 693420 h 694372"/>
                <a:gd name="connsiteX5" fmla="*/ 787718 w 787717"/>
                <a:gd name="connsiteY5" fmla="*/ 346710 h 694372"/>
                <a:gd name="connsiteX6" fmla="*/ 787718 w 787717"/>
                <a:gd name="connsiteY6" fmla="*/ 174308 h 694372"/>
                <a:gd name="connsiteX7" fmla="*/ 613410 w 787717"/>
                <a:gd name="connsiteY7" fmla="*/ 0 h 694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7717" h="694372">
                  <a:moveTo>
                    <a:pt x="613410" y="0"/>
                  </a:moveTo>
                  <a:lnTo>
                    <a:pt x="281940" y="0"/>
                  </a:lnTo>
                  <a:cubicBezTo>
                    <a:pt x="126683" y="0"/>
                    <a:pt x="0" y="156210"/>
                    <a:pt x="0" y="346710"/>
                  </a:cubicBezTo>
                  <a:lnTo>
                    <a:pt x="0" y="694373"/>
                  </a:lnTo>
                  <a:lnTo>
                    <a:pt x="523875" y="693420"/>
                  </a:lnTo>
                  <a:cubicBezTo>
                    <a:pt x="671513" y="681990"/>
                    <a:pt x="787718" y="529590"/>
                    <a:pt x="787718" y="346710"/>
                  </a:cubicBezTo>
                  <a:lnTo>
                    <a:pt x="787718" y="174308"/>
                  </a:lnTo>
                  <a:cubicBezTo>
                    <a:pt x="786765" y="78105"/>
                    <a:pt x="708660" y="0"/>
                    <a:pt x="613410" y="0"/>
                  </a:cubicBezTo>
                  <a:close/>
                </a:path>
              </a:pathLst>
            </a:custGeom>
            <a:solidFill>
              <a:schemeClr val="accent5"/>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2" name="Freeform: Shape 102">
              <a:extLst>
                <a:ext uri="{FF2B5EF4-FFF2-40B4-BE49-F238E27FC236}">
                  <a16:creationId xmlns:a16="http://schemas.microsoft.com/office/drawing/2014/main" id="{5950B678-44A9-4691-B2E6-92A8961CDA54}"/>
                </a:ext>
              </a:extLst>
            </p:cNvPr>
            <p:cNvSpPr/>
            <p:nvPr/>
          </p:nvSpPr>
          <p:spPr>
            <a:xfrm>
              <a:off x="6565487" y="3143111"/>
              <a:ext cx="568493" cy="501424"/>
            </a:xfrm>
            <a:custGeom>
              <a:avLst/>
              <a:gdLst>
                <a:gd name="connsiteX0" fmla="*/ 112395 w 508634"/>
                <a:gd name="connsiteY0" fmla="*/ 448628 h 448627"/>
                <a:gd name="connsiteX1" fmla="*/ 326707 w 508634"/>
                <a:gd name="connsiteY1" fmla="*/ 448628 h 448627"/>
                <a:gd name="connsiteX2" fmla="*/ 508635 w 508634"/>
                <a:gd name="connsiteY2" fmla="*/ 223838 h 448627"/>
                <a:gd name="connsiteX3" fmla="*/ 508635 w 508634"/>
                <a:gd name="connsiteY3" fmla="*/ 0 h 448627"/>
                <a:gd name="connsiteX4" fmla="*/ 170497 w 508634"/>
                <a:gd name="connsiteY4" fmla="*/ 953 h 448627"/>
                <a:gd name="connsiteX5" fmla="*/ 0 w 508634"/>
                <a:gd name="connsiteY5" fmla="*/ 224790 h 448627"/>
                <a:gd name="connsiteX6" fmla="*/ 0 w 508634"/>
                <a:gd name="connsiteY6" fmla="*/ 336233 h 448627"/>
                <a:gd name="connsiteX7" fmla="*/ 112395 w 508634"/>
                <a:gd name="connsiteY7" fmla="*/ 448628 h 448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8634" h="448627">
                  <a:moveTo>
                    <a:pt x="112395" y="448628"/>
                  </a:moveTo>
                  <a:lnTo>
                    <a:pt x="326707" y="448628"/>
                  </a:lnTo>
                  <a:cubicBezTo>
                    <a:pt x="426720" y="448628"/>
                    <a:pt x="508635" y="347663"/>
                    <a:pt x="508635" y="223838"/>
                  </a:cubicBezTo>
                  <a:lnTo>
                    <a:pt x="508635" y="0"/>
                  </a:lnTo>
                  <a:lnTo>
                    <a:pt x="170497" y="953"/>
                  </a:lnTo>
                  <a:cubicBezTo>
                    <a:pt x="75247" y="8572"/>
                    <a:pt x="0" y="106680"/>
                    <a:pt x="0" y="224790"/>
                  </a:cubicBezTo>
                  <a:lnTo>
                    <a:pt x="0" y="336233"/>
                  </a:lnTo>
                  <a:cubicBezTo>
                    <a:pt x="0" y="397192"/>
                    <a:pt x="50482" y="448628"/>
                    <a:pt x="112395" y="448628"/>
                  </a:cubicBezTo>
                  <a:close/>
                </a:path>
              </a:pathLst>
            </a:custGeom>
            <a:solidFill>
              <a:schemeClr val="accent5"/>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useBgFill="1">
          <p:nvSpPr>
            <p:cNvPr id="13" name="Freeform: Shape 103">
              <a:extLst>
                <a:ext uri="{FF2B5EF4-FFF2-40B4-BE49-F238E27FC236}">
                  <a16:creationId xmlns:a16="http://schemas.microsoft.com/office/drawing/2014/main" id="{8C535058-DF79-4C81-BA9A-79BD80371FA2}"/>
                </a:ext>
              </a:extLst>
            </p:cNvPr>
            <p:cNvSpPr/>
            <p:nvPr/>
          </p:nvSpPr>
          <p:spPr>
            <a:xfrm>
              <a:off x="6611796" y="3190486"/>
              <a:ext cx="475874" cy="406674"/>
            </a:xfrm>
            <a:custGeom>
              <a:avLst/>
              <a:gdLst>
                <a:gd name="connsiteX0" fmla="*/ 425768 w 425767"/>
                <a:gd name="connsiteY0" fmla="*/ 0 h 363854"/>
                <a:gd name="connsiteX1" fmla="*/ 130492 w 425767"/>
                <a:gd name="connsiteY1" fmla="*/ 0 h 363854"/>
                <a:gd name="connsiteX2" fmla="*/ 0 w 425767"/>
                <a:gd name="connsiteY2" fmla="*/ 181927 h 363854"/>
                <a:gd name="connsiteX3" fmla="*/ 0 w 425767"/>
                <a:gd name="connsiteY3" fmla="*/ 293370 h 363854"/>
                <a:gd name="connsiteX4" fmla="*/ 70485 w 425767"/>
                <a:gd name="connsiteY4" fmla="*/ 363855 h 363854"/>
                <a:gd name="connsiteX5" fmla="*/ 284797 w 425767"/>
                <a:gd name="connsiteY5" fmla="*/ 363855 h 363854"/>
                <a:gd name="connsiteX6" fmla="*/ 425768 w 425767"/>
                <a:gd name="connsiteY6" fmla="*/ 180975 h 363854"/>
                <a:gd name="connsiteX7" fmla="*/ 425768 w 425767"/>
                <a:gd name="connsiteY7" fmla="*/ 0 h 3638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5767" h="363854">
                  <a:moveTo>
                    <a:pt x="425768" y="0"/>
                  </a:moveTo>
                  <a:lnTo>
                    <a:pt x="130492" y="0"/>
                  </a:lnTo>
                  <a:cubicBezTo>
                    <a:pt x="44767" y="7620"/>
                    <a:pt x="0" y="105727"/>
                    <a:pt x="0" y="181927"/>
                  </a:cubicBezTo>
                  <a:lnTo>
                    <a:pt x="0" y="293370"/>
                  </a:lnTo>
                  <a:cubicBezTo>
                    <a:pt x="0" y="332422"/>
                    <a:pt x="32385" y="363855"/>
                    <a:pt x="70485" y="363855"/>
                  </a:cubicBezTo>
                  <a:lnTo>
                    <a:pt x="284797" y="363855"/>
                  </a:lnTo>
                  <a:cubicBezTo>
                    <a:pt x="375285" y="363855"/>
                    <a:pt x="425768" y="260985"/>
                    <a:pt x="425768" y="180975"/>
                  </a:cubicBezTo>
                  <a:lnTo>
                    <a:pt x="425768" y="0"/>
                  </a:lnTo>
                  <a:close/>
                </a:path>
              </a:pathLst>
            </a:custGeom>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4" name="Freeform: Shape 104">
              <a:extLst>
                <a:ext uri="{FF2B5EF4-FFF2-40B4-BE49-F238E27FC236}">
                  <a16:creationId xmlns:a16="http://schemas.microsoft.com/office/drawing/2014/main" id="{0532A676-C56A-446C-80C3-511776D17A12}"/>
                </a:ext>
              </a:extLst>
            </p:cNvPr>
            <p:cNvSpPr/>
            <p:nvPr/>
          </p:nvSpPr>
          <p:spPr>
            <a:xfrm>
              <a:off x="7170176" y="3143111"/>
              <a:ext cx="374738" cy="339605"/>
            </a:xfrm>
            <a:custGeom>
              <a:avLst/>
              <a:gdLst>
                <a:gd name="connsiteX0" fmla="*/ 76200 w 335280"/>
                <a:gd name="connsiteY0" fmla="*/ 0 h 303847"/>
                <a:gd name="connsiteX1" fmla="*/ 220980 w 335280"/>
                <a:gd name="connsiteY1" fmla="*/ 0 h 303847"/>
                <a:gd name="connsiteX2" fmla="*/ 243840 w 335280"/>
                <a:gd name="connsiteY2" fmla="*/ 2858 h 303847"/>
                <a:gd name="connsiteX3" fmla="*/ 243840 w 335280"/>
                <a:gd name="connsiteY3" fmla="*/ 2858 h 303847"/>
                <a:gd name="connsiteX4" fmla="*/ 249555 w 335280"/>
                <a:gd name="connsiteY4" fmla="*/ 4763 h 303847"/>
                <a:gd name="connsiteX5" fmla="*/ 250508 w 335280"/>
                <a:gd name="connsiteY5" fmla="*/ 4763 h 303847"/>
                <a:gd name="connsiteX6" fmla="*/ 252413 w 335280"/>
                <a:gd name="connsiteY6" fmla="*/ 5715 h 303847"/>
                <a:gd name="connsiteX7" fmla="*/ 252413 w 335280"/>
                <a:gd name="connsiteY7" fmla="*/ 5715 h 303847"/>
                <a:gd name="connsiteX8" fmla="*/ 254318 w 335280"/>
                <a:gd name="connsiteY8" fmla="*/ 6667 h 303847"/>
                <a:gd name="connsiteX9" fmla="*/ 255270 w 335280"/>
                <a:gd name="connsiteY9" fmla="*/ 6667 h 303847"/>
                <a:gd name="connsiteX10" fmla="*/ 256222 w 335280"/>
                <a:gd name="connsiteY10" fmla="*/ 6667 h 303847"/>
                <a:gd name="connsiteX11" fmla="*/ 258128 w 335280"/>
                <a:gd name="connsiteY11" fmla="*/ 7620 h 303847"/>
                <a:gd name="connsiteX12" fmla="*/ 260033 w 335280"/>
                <a:gd name="connsiteY12" fmla="*/ 8572 h 303847"/>
                <a:gd name="connsiteX13" fmla="*/ 260033 w 335280"/>
                <a:gd name="connsiteY13" fmla="*/ 8572 h 303847"/>
                <a:gd name="connsiteX14" fmla="*/ 262890 w 335280"/>
                <a:gd name="connsiteY14" fmla="*/ 9525 h 303847"/>
                <a:gd name="connsiteX15" fmla="*/ 262890 w 335280"/>
                <a:gd name="connsiteY15" fmla="*/ 9525 h 303847"/>
                <a:gd name="connsiteX16" fmla="*/ 265747 w 335280"/>
                <a:gd name="connsiteY16" fmla="*/ 10478 h 303847"/>
                <a:gd name="connsiteX17" fmla="*/ 265747 w 335280"/>
                <a:gd name="connsiteY17" fmla="*/ 10478 h 303847"/>
                <a:gd name="connsiteX18" fmla="*/ 268605 w 335280"/>
                <a:gd name="connsiteY18" fmla="*/ 11430 h 303847"/>
                <a:gd name="connsiteX19" fmla="*/ 268605 w 335280"/>
                <a:gd name="connsiteY19" fmla="*/ 11430 h 303847"/>
                <a:gd name="connsiteX20" fmla="*/ 271463 w 335280"/>
                <a:gd name="connsiteY20" fmla="*/ 13335 h 303847"/>
                <a:gd name="connsiteX21" fmla="*/ 271463 w 335280"/>
                <a:gd name="connsiteY21" fmla="*/ 13335 h 303847"/>
                <a:gd name="connsiteX22" fmla="*/ 274320 w 335280"/>
                <a:gd name="connsiteY22" fmla="*/ 15240 h 303847"/>
                <a:gd name="connsiteX23" fmla="*/ 274320 w 335280"/>
                <a:gd name="connsiteY23" fmla="*/ 15240 h 303847"/>
                <a:gd name="connsiteX24" fmla="*/ 277178 w 335280"/>
                <a:gd name="connsiteY24" fmla="*/ 17145 h 303847"/>
                <a:gd name="connsiteX25" fmla="*/ 277178 w 335280"/>
                <a:gd name="connsiteY25" fmla="*/ 17145 h 303847"/>
                <a:gd name="connsiteX26" fmla="*/ 279083 w 335280"/>
                <a:gd name="connsiteY26" fmla="*/ 19050 h 303847"/>
                <a:gd name="connsiteX27" fmla="*/ 279083 w 335280"/>
                <a:gd name="connsiteY27" fmla="*/ 19050 h 303847"/>
                <a:gd name="connsiteX28" fmla="*/ 280988 w 335280"/>
                <a:gd name="connsiteY28" fmla="*/ 20955 h 303847"/>
                <a:gd name="connsiteX29" fmla="*/ 280988 w 335280"/>
                <a:gd name="connsiteY29" fmla="*/ 20955 h 303847"/>
                <a:gd name="connsiteX30" fmla="*/ 280988 w 335280"/>
                <a:gd name="connsiteY30" fmla="*/ 20955 h 303847"/>
                <a:gd name="connsiteX31" fmla="*/ 290513 w 335280"/>
                <a:gd name="connsiteY31" fmla="*/ 28575 h 303847"/>
                <a:gd name="connsiteX32" fmla="*/ 290513 w 335280"/>
                <a:gd name="connsiteY32" fmla="*/ 28575 h 303847"/>
                <a:gd name="connsiteX33" fmla="*/ 292418 w 335280"/>
                <a:gd name="connsiteY33" fmla="*/ 29528 h 303847"/>
                <a:gd name="connsiteX34" fmla="*/ 292418 w 335280"/>
                <a:gd name="connsiteY34" fmla="*/ 29528 h 303847"/>
                <a:gd name="connsiteX35" fmla="*/ 293370 w 335280"/>
                <a:gd name="connsiteY35" fmla="*/ 30480 h 303847"/>
                <a:gd name="connsiteX36" fmla="*/ 294322 w 335280"/>
                <a:gd name="connsiteY36" fmla="*/ 31433 h 303847"/>
                <a:gd name="connsiteX37" fmla="*/ 295275 w 335280"/>
                <a:gd name="connsiteY37" fmla="*/ 32385 h 303847"/>
                <a:gd name="connsiteX38" fmla="*/ 296228 w 335280"/>
                <a:gd name="connsiteY38" fmla="*/ 33338 h 303847"/>
                <a:gd name="connsiteX39" fmla="*/ 296228 w 335280"/>
                <a:gd name="connsiteY39" fmla="*/ 33338 h 303847"/>
                <a:gd name="connsiteX40" fmla="*/ 298133 w 335280"/>
                <a:gd name="connsiteY40" fmla="*/ 35242 h 303847"/>
                <a:gd name="connsiteX41" fmla="*/ 298133 w 335280"/>
                <a:gd name="connsiteY41" fmla="*/ 35242 h 303847"/>
                <a:gd name="connsiteX42" fmla="*/ 299085 w 335280"/>
                <a:gd name="connsiteY42" fmla="*/ 36195 h 303847"/>
                <a:gd name="connsiteX43" fmla="*/ 300038 w 335280"/>
                <a:gd name="connsiteY43" fmla="*/ 37147 h 303847"/>
                <a:gd name="connsiteX44" fmla="*/ 300038 w 335280"/>
                <a:gd name="connsiteY44" fmla="*/ 37147 h 303847"/>
                <a:gd name="connsiteX45" fmla="*/ 301943 w 335280"/>
                <a:gd name="connsiteY45" fmla="*/ 39053 h 303847"/>
                <a:gd name="connsiteX46" fmla="*/ 301943 w 335280"/>
                <a:gd name="connsiteY46" fmla="*/ 39053 h 303847"/>
                <a:gd name="connsiteX47" fmla="*/ 302895 w 335280"/>
                <a:gd name="connsiteY47" fmla="*/ 40005 h 303847"/>
                <a:gd name="connsiteX48" fmla="*/ 303847 w 335280"/>
                <a:gd name="connsiteY48" fmla="*/ 40958 h 303847"/>
                <a:gd name="connsiteX49" fmla="*/ 303847 w 335280"/>
                <a:gd name="connsiteY49" fmla="*/ 41910 h 303847"/>
                <a:gd name="connsiteX50" fmla="*/ 304800 w 335280"/>
                <a:gd name="connsiteY50" fmla="*/ 43815 h 303847"/>
                <a:gd name="connsiteX51" fmla="*/ 304800 w 335280"/>
                <a:gd name="connsiteY51" fmla="*/ 43815 h 303847"/>
                <a:gd name="connsiteX52" fmla="*/ 305753 w 335280"/>
                <a:gd name="connsiteY52" fmla="*/ 45720 h 303847"/>
                <a:gd name="connsiteX53" fmla="*/ 306705 w 335280"/>
                <a:gd name="connsiteY53" fmla="*/ 46672 h 303847"/>
                <a:gd name="connsiteX54" fmla="*/ 306705 w 335280"/>
                <a:gd name="connsiteY54" fmla="*/ 47625 h 303847"/>
                <a:gd name="connsiteX55" fmla="*/ 308610 w 335280"/>
                <a:gd name="connsiteY55" fmla="*/ 49530 h 303847"/>
                <a:gd name="connsiteX56" fmla="*/ 308610 w 335280"/>
                <a:gd name="connsiteY56" fmla="*/ 49530 h 303847"/>
                <a:gd name="connsiteX57" fmla="*/ 310515 w 335280"/>
                <a:gd name="connsiteY57" fmla="*/ 52388 h 303847"/>
                <a:gd name="connsiteX58" fmla="*/ 311468 w 335280"/>
                <a:gd name="connsiteY58" fmla="*/ 54292 h 303847"/>
                <a:gd name="connsiteX59" fmla="*/ 311468 w 335280"/>
                <a:gd name="connsiteY59" fmla="*/ 55245 h 303847"/>
                <a:gd name="connsiteX60" fmla="*/ 311468 w 335280"/>
                <a:gd name="connsiteY60" fmla="*/ 56197 h 303847"/>
                <a:gd name="connsiteX61" fmla="*/ 329565 w 335280"/>
                <a:gd name="connsiteY61" fmla="*/ 94297 h 303847"/>
                <a:gd name="connsiteX62" fmla="*/ 329565 w 335280"/>
                <a:gd name="connsiteY62" fmla="*/ 95250 h 303847"/>
                <a:gd name="connsiteX63" fmla="*/ 331470 w 335280"/>
                <a:gd name="connsiteY63" fmla="*/ 101917 h 303847"/>
                <a:gd name="connsiteX64" fmla="*/ 331470 w 335280"/>
                <a:gd name="connsiteY64" fmla="*/ 101917 h 303847"/>
                <a:gd name="connsiteX65" fmla="*/ 335280 w 335280"/>
                <a:gd name="connsiteY65" fmla="*/ 119063 h 303847"/>
                <a:gd name="connsiteX66" fmla="*/ 335280 w 335280"/>
                <a:gd name="connsiteY66" fmla="*/ 120015 h 303847"/>
                <a:gd name="connsiteX67" fmla="*/ 335280 w 335280"/>
                <a:gd name="connsiteY67" fmla="*/ 122872 h 303847"/>
                <a:gd name="connsiteX68" fmla="*/ 335280 w 335280"/>
                <a:gd name="connsiteY68" fmla="*/ 122872 h 303847"/>
                <a:gd name="connsiteX69" fmla="*/ 335280 w 335280"/>
                <a:gd name="connsiteY69" fmla="*/ 125730 h 303847"/>
                <a:gd name="connsiteX70" fmla="*/ 335280 w 335280"/>
                <a:gd name="connsiteY70" fmla="*/ 126683 h 303847"/>
                <a:gd name="connsiteX71" fmla="*/ 335280 w 335280"/>
                <a:gd name="connsiteY71" fmla="*/ 129540 h 303847"/>
                <a:gd name="connsiteX72" fmla="*/ 335280 w 335280"/>
                <a:gd name="connsiteY72" fmla="*/ 130492 h 303847"/>
                <a:gd name="connsiteX73" fmla="*/ 335280 w 335280"/>
                <a:gd name="connsiteY73" fmla="*/ 133350 h 303847"/>
                <a:gd name="connsiteX74" fmla="*/ 335280 w 335280"/>
                <a:gd name="connsiteY74" fmla="*/ 134303 h 303847"/>
                <a:gd name="connsiteX75" fmla="*/ 335280 w 335280"/>
                <a:gd name="connsiteY75" fmla="*/ 137160 h 303847"/>
                <a:gd name="connsiteX76" fmla="*/ 335280 w 335280"/>
                <a:gd name="connsiteY76" fmla="*/ 138113 h 303847"/>
                <a:gd name="connsiteX77" fmla="*/ 335280 w 335280"/>
                <a:gd name="connsiteY77" fmla="*/ 140970 h 303847"/>
                <a:gd name="connsiteX78" fmla="*/ 335280 w 335280"/>
                <a:gd name="connsiteY78" fmla="*/ 141922 h 303847"/>
                <a:gd name="connsiteX79" fmla="*/ 335280 w 335280"/>
                <a:gd name="connsiteY79" fmla="*/ 144780 h 303847"/>
                <a:gd name="connsiteX80" fmla="*/ 335280 w 335280"/>
                <a:gd name="connsiteY80" fmla="*/ 144780 h 303847"/>
                <a:gd name="connsiteX81" fmla="*/ 335280 w 335280"/>
                <a:gd name="connsiteY81" fmla="*/ 148590 h 303847"/>
                <a:gd name="connsiteX82" fmla="*/ 335280 w 335280"/>
                <a:gd name="connsiteY82" fmla="*/ 148590 h 303847"/>
                <a:gd name="connsiteX83" fmla="*/ 335280 w 335280"/>
                <a:gd name="connsiteY83" fmla="*/ 152400 h 303847"/>
                <a:gd name="connsiteX84" fmla="*/ 335280 w 335280"/>
                <a:gd name="connsiteY84" fmla="*/ 227647 h 303847"/>
                <a:gd name="connsiteX85" fmla="*/ 335280 w 335280"/>
                <a:gd name="connsiteY85" fmla="*/ 303847 h 303847"/>
                <a:gd name="connsiteX86" fmla="*/ 262890 w 335280"/>
                <a:gd name="connsiteY86" fmla="*/ 303847 h 303847"/>
                <a:gd name="connsiteX87" fmla="*/ 259080 w 335280"/>
                <a:gd name="connsiteY87" fmla="*/ 303847 h 303847"/>
                <a:gd name="connsiteX88" fmla="*/ 114300 w 335280"/>
                <a:gd name="connsiteY88" fmla="*/ 303847 h 303847"/>
                <a:gd name="connsiteX89" fmla="*/ 91440 w 335280"/>
                <a:gd name="connsiteY89" fmla="*/ 300990 h 303847"/>
                <a:gd name="connsiteX90" fmla="*/ 91440 w 335280"/>
                <a:gd name="connsiteY90" fmla="*/ 300990 h 303847"/>
                <a:gd name="connsiteX91" fmla="*/ 85725 w 335280"/>
                <a:gd name="connsiteY91" fmla="*/ 299085 h 303847"/>
                <a:gd name="connsiteX92" fmla="*/ 84772 w 335280"/>
                <a:gd name="connsiteY92" fmla="*/ 299085 h 303847"/>
                <a:gd name="connsiteX93" fmla="*/ 82868 w 335280"/>
                <a:gd name="connsiteY93" fmla="*/ 298133 h 303847"/>
                <a:gd name="connsiteX94" fmla="*/ 82868 w 335280"/>
                <a:gd name="connsiteY94" fmla="*/ 298133 h 303847"/>
                <a:gd name="connsiteX95" fmla="*/ 80963 w 335280"/>
                <a:gd name="connsiteY95" fmla="*/ 297180 h 303847"/>
                <a:gd name="connsiteX96" fmla="*/ 80010 w 335280"/>
                <a:gd name="connsiteY96" fmla="*/ 297180 h 303847"/>
                <a:gd name="connsiteX97" fmla="*/ 79058 w 335280"/>
                <a:gd name="connsiteY97" fmla="*/ 297180 h 303847"/>
                <a:gd name="connsiteX98" fmla="*/ 77153 w 335280"/>
                <a:gd name="connsiteY98" fmla="*/ 296228 h 303847"/>
                <a:gd name="connsiteX99" fmla="*/ 75247 w 335280"/>
                <a:gd name="connsiteY99" fmla="*/ 295275 h 303847"/>
                <a:gd name="connsiteX100" fmla="*/ 75247 w 335280"/>
                <a:gd name="connsiteY100" fmla="*/ 295275 h 303847"/>
                <a:gd name="connsiteX101" fmla="*/ 72390 w 335280"/>
                <a:gd name="connsiteY101" fmla="*/ 294322 h 303847"/>
                <a:gd name="connsiteX102" fmla="*/ 72390 w 335280"/>
                <a:gd name="connsiteY102" fmla="*/ 294322 h 303847"/>
                <a:gd name="connsiteX103" fmla="*/ 69533 w 335280"/>
                <a:gd name="connsiteY103" fmla="*/ 293370 h 303847"/>
                <a:gd name="connsiteX104" fmla="*/ 69533 w 335280"/>
                <a:gd name="connsiteY104" fmla="*/ 293370 h 303847"/>
                <a:gd name="connsiteX105" fmla="*/ 66675 w 335280"/>
                <a:gd name="connsiteY105" fmla="*/ 292417 h 303847"/>
                <a:gd name="connsiteX106" fmla="*/ 66675 w 335280"/>
                <a:gd name="connsiteY106" fmla="*/ 292417 h 303847"/>
                <a:gd name="connsiteX107" fmla="*/ 63818 w 335280"/>
                <a:gd name="connsiteY107" fmla="*/ 290513 h 303847"/>
                <a:gd name="connsiteX108" fmla="*/ 63818 w 335280"/>
                <a:gd name="connsiteY108" fmla="*/ 290513 h 303847"/>
                <a:gd name="connsiteX109" fmla="*/ 60960 w 335280"/>
                <a:gd name="connsiteY109" fmla="*/ 288608 h 303847"/>
                <a:gd name="connsiteX110" fmla="*/ 60960 w 335280"/>
                <a:gd name="connsiteY110" fmla="*/ 288608 h 303847"/>
                <a:gd name="connsiteX111" fmla="*/ 58103 w 335280"/>
                <a:gd name="connsiteY111" fmla="*/ 286703 h 303847"/>
                <a:gd name="connsiteX112" fmla="*/ 58103 w 335280"/>
                <a:gd name="connsiteY112" fmla="*/ 286703 h 303847"/>
                <a:gd name="connsiteX113" fmla="*/ 56197 w 335280"/>
                <a:gd name="connsiteY113" fmla="*/ 284797 h 303847"/>
                <a:gd name="connsiteX114" fmla="*/ 56197 w 335280"/>
                <a:gd name="connsiteY114" fmla="*/ 284797 h 303847"/>
                <a:gd name="connsiteX115" fmla="*/ 54293 w 335280"/>
                <a:gd name="connsiteY115" fmla="*/ 282892 h 303847"/>
                <a:gd name="connsiteX116" fmla="*/ 54293 w 335280"/>
                <a:gd name="connsiteY116" fmla="*/ 282892 h 303847"/>
                <a:gd name="connsiteX117" fmla="*/ 54293 w 335280"/>
                <a:gd name="connsiteY117" fmla="*/ 282892 h 303847"/>
                <a:gd name="connsiteX118" fmla="*/ 44768 w 335280"/>
                <a:gd name="connsiteY118" fmla="*/ 275272 h 303847"/>
                <a:gd name="connsiteX119" fmla="*/ 44768 w 335280"/>
                <a:gd name="connsiteY119" fmla="*/ 275272 h 303847"/>
                <a:gd name="connsiteX120" fmla="*/ 42863 w 335280"/>
                <a:gd name="connsiteY120" fmla="*/ 274320 h 303847"/>
                <a:gd name="connsiteX121" fmla="*/ 42863 w 335280"/>
                <a:gd name="connsiteY121" fmla="*/ 274320 h 303847"/>
                <a:gd name="connsiteX122" fmla="*/ 41910 w 335280"/>
                <a:gd name="connsiteY122" fmla="*/ 273367 h 303847"/>
                <a:gd name="connsiteX123" fmla="*/ 40958 w 335280"/>
                <a:gd name="connsiteY123" fmla="*/ 272415 h 303847"/>
                <a:gd name="connsiteX124" fmla="*/ 40005 w 335280"/>
                <a:gd name="connsiteY124" fmla="*/ 271463 h 303847"/>
                <a:gd name="connsiteX125" fmla="*/ 39053 w 335280"/>
                <a:gd name="connsiteY125" fmla="*/ 270510 h 303847"/>
                <a:gd name="connsiteX126" fmla="*/ 39053 w 335280"/>
                <a:gd name="connsiteY126" fmla="*/ 270510 h 303847"/>
                <a:gd name="connsiteX127" fmla="*/ 37147 w 335280"/>
                <a:gd name="connsiteY127" fmla="*/ 268605 h 303847"/>
                <a:gd name="connsiteX128" fmla="*/ 37147 w 335280"/>
                <a:gd name="connsiteY128" fmla="*/ 268605 h 303847"/>
                <a:gd name="connsiteX129" fmla="*/ 36195 w 335280"/>
                <a:gd name="connsiteY129" fmla="*/ 267653 h 303847"/>
                <a:gd name="connsiteX130" fmla="*/ 35243 w 335280"/>
                <a:gd name="connsiteY130" fmla="*/ 266700 h 303847"/>
                <a:gd name="connsiteX131" fmla="*/ 35243 w 335280"/>
                <a:gd name="connsiteY131" fmla="*/ 266700 h 303847"/>
                <a:gd name="connsiteX132" fmla="*/ 33338 w 335280"/>
                <a:gd name="connsiteY132" fmla="*/ 264795 h 303847"/>
                <a:gd name="connsiteX133" fmla="*/ 33338 w 335280"/>
                <a:gd name="connsiteY133" fmla="*/ 264795 h 303847"/>
                <a:gd name="connsiteX134" fmla="*/ 32385 w 335280"/>
                <a:gd name="connsiteY134" fmla="*/ 263842 h 303847"/>
                <a:gd name="connsiteX135" fmla="*/ 31433 w 335280"/>
                <a:gd name="connsiteY135" fmla="*/ 262890 h 303847"/>
                <a:gd name="connsiteX136" fmla="*/ 31433 w 335280"/>
                <a:gd name="connsiteY136" fmla="*/ 261938 h 303847"/>
                <a:gd name="connsiteX137" fmla="*/ 30480 w 335280"/>
                <a:gd name="connsiteY137" fmla="*/ 260033 h 303847"/>
                <a:gd name="connsiteX138" fmla="*/ 30480 w 335280"/>
                <a:gd name="connsiteY138" fmla="*/ 260033 h 303847"/>
                <a:gd name="connsiteX139" fmla="*/ 29528 w 335280"/>
                <a:gd name="connsiteY139" fmla="*/ 258128 h 303847"/>
                <a:gd name="connsiteX140" fmla="*/ 28575 w 335280"/>
                <a:gd name="connsiteY140" fmla="*/ 257175 h 303847"/>
                <a:gd name="connsiteX141" fmla="*/ 28575 w 335280"/>
                <a:gd name="connsiteY141" fmla="*/ 256222 h 303847"/>
                <a:gd name="connsiteX142" fmla="*/ 26670 w 335280"/>
                <a:gd name="connsiteY142" fmla="*/ 254317 h 303847"/>
                <a:gd name="connsiteX143" fmla="*/ 26670 w 335280"/>
                <a:gd name="connsiteY143" fmla="*/ 254317 h 303847"/>
                <a:gd name="connsiteX144" fmla="*/ 24765 w 335280"/>
                <a:gd name="connsiteY144" fmla="*/ 251460 h 303847"/>
                <a:gd name="connsiteX145" fmla="*/ 23813 w 335280"/>
                <a:gd name="connsiteY145" fmla="*/ 249555 h 303847"/>
                <a:gd name="connsiteX146" fmla="*/ 23813 w 335280"/>
                <a:gd name="connsiteY146" fmla="*/ 248603 h 303847"/>
                <a:gd name="connsiteX147" fmla="*/ 23813 w 335280"/>
                <a:gd name="connsiteY147" fmla="*/ 247650 h 303847"/>
                <a:gd name="connsiteX148" fmla="*/ 5715 w 335280"/>
                <a:gd name="connsiteY148" fmla="*/ 209550 h 303847"/>
                <a:gd name="connsiteX149" fmla="*/ 5715 w 335280"/>
                <a:gd name="connsiteY149" fmla="*/ 208597 h 303847"/>
                <a:gd name="connsiteX150" fmla="*/ 3810 w 335280"/>
                <a:gd name="connsiteY150" fmla="*/ 201930 h 303847"/>
                <a:gd name="connsiteX151" fmla="*/ 3810 w 335280"/>
                <a:gd name="connsiteY151" fmla="*/ 201930 h 303847"/>
                <a:gd name="connsiteX152" fmla="*/ 0 w 335280"/>
                <a:gd name="connsiteY152" fmla="*/ 184785 h 303847"/>
                <a:gd name="connsiteX153" fmla="*/ 0 w 335280"/>
                <a:gd name="connsiteY153" fmla="*/ 183833 h 303847"/>
                <a:gd name="connsiteX154" fmla="*/ 0 w 335280"/>
                <a:gd name="connsiteY154" fmla="*/ 180975 h 303847"/>
                <a:gd name="connsiteX155" fmla="*/ 0 w 335280"/>
                <a:gd name="connsiteY155" fmla="*/ 180975 h 303847"/>
                <a:gd name="connsiteX156" fmla="*/ 0 w 335280"/>
                <a:gd name="connsiteY156" fmla="*/ 178117 h 303847"/>
                <a:gd name="connsiteX157" fmla="*/ 0 w 335280"/>
                <a:gd name="connsiteY157" fmla="*/ 177165 h 303847"/>
                <a:gd name="connsiteX158" fmla="*/ 0 w 335280"/>
                <a:gd name="connsiteY158" fmla="*/ 174308 h 303847"/>
                <a:gd name="connsiteX159" fmla="*/ 0 w 335280"/>
                <a:gd name="connsiteY159" fmla="*/ 173355 h 303847"/>
                <a:gd name="connsiteX160" fmla="*/ 0 w 335280"/>
                <a:gd name="connsiteY160" fmla="*/ 170497 h 303847"/>
                <a:gd name="connsiteX161" fmla="*/ 0 w 335280"/>
                <a:gd name="connsiteY161" fmla="*/ 169545 h 303847"/>
                <a:gd name="connsiteX162" fmla="*/ 0 w 335280"/>
                <a:gd name="connsiteY162" fmla="*/ 166688 h 303847"/>
                <a:gd name="connsiteX163" fmla="*/ 0 w 335280"/>
                <a:gd name="connsiteY163" fmla="*/ 165735 h 303847"/>
                <a:gd name="connsiteX164" fmla="*/ 0 w 335280"/>
                <a:gd name="connsiteY164" fmla="*/ 162878 h 303847"/>
                <a:gd name="connsiteX165" fmla="*/ 0 w 335280"/>
                <a:gd name="connsiteY165" fmla="*/ 161925 h 303847"/>
                <a:gd name="connsiteX166" fmla="*/ 0 w 335280"/>
                <a:gd name="connsiteY166" fmla="*/ 159067 h 303847"/>
                <a:gd name="connsiteX167" fmla="*/ 0 w 335280"/>
                <a:gd name="connsiteY167" fmla="*/ 159067 h 303847"/>
                <a:gd name="connsiteX168" fmla="*/ 0 w 335280"/>
                <a:gd name="connsiteY168" fmla="*/ 155258 h 303847"/>
                <a:gd name="connsiteX169" fmla="*/ 0 w 335280"/>
                <a:gd name="connsiteY169" fmla="*/ 155258 h 303847"/>
                <a:gd name="connsiteX170" fmla="*/ 0 w 335280"/>
                <a:gd name="connsiteY170" fmla="*/ 151447 h 303847"/>
                <a:gd name="connsiteX171" fmla="*/ 0 w 335280"/>
                <a:gd name="connsiteY171" fmla="*/ 76200 h 303847"/>
                <a:gd name="connsiteX172" fmla="*/ 0 w 335280"/>
                <a:gd name="connsiteY172" fmla="*/ 0 h 303847"/>
                <a:gd name="connsiteX173" fmla="*/ 72390 w 335280"/>
                <a:gd name="connsiteY173" fmla="*/ 0 h 303847"/>
                <a:gd name="connsiteX174" fmla="*/ 76200 w 335280"/>
                <a:gd name="connsiteY174" fmla="*/ 0 h 303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Lst>
              <a:rect l="l" t="t" r="r" b="b"/>
              <a:pathLst>
                <a:path w="335280" h="303847">
                  <a:moveTo>
                    <a:pt x="76200" y="0"/>
                  </a:moveTo>
                  <a:lnTo>
                    <a:pt x="220980" y="0"/>
                  </a:lnTo>
                  <a:cubicBezTo>
                    <a:pt x="228600" y="0"/>
                    <a:pt x="236220" y="953"/>
                    <a:pt x="243840" y="2858"/>
                  </a:cubicBezTo>
                  <a:lnTo>
                    <a:pt x="243840" y="2858"/>
                  </a:lnTo>
                  <a:cubicBezTo>
                    <a:pt x="245745" y="2858"/>
                    <a:pt x="247650" y="3810"/>
                    <a:pt x="249555" y="4763"/>
                  </a:cubicBezTo>
                  <a:lnTo>
                    <a:pt x="250508" y="4763"/>
                  </a:lnTo>
                  <a:lnTo>
                    <a:pt x="252413" y="5715"/>
                  </a:lnTo>
                  <a:lnTo>
                    <a:pt x="252413" y="5715"/>
                  </a:lnTo>
                  <a:lnTo>
                    <a:pt x="254318" y="6667"/>
                  </a:lnTo>
                  <a:lnTo>
                    <a:pt x="255270" y="6667"/>
                  </a:lnTo>
                  <a:lnTo>
                    <a:pt x="256222" y="6667"/>
                  </a:lnTo>
                  <a:lnTo>
                    <a:pt x="258128" y="7620"/>
                  </a:lnTo>
                  <a:lnTo>
                    <a:pt x="260033" y="8572"/>
                  </a:lnTo>
                  <a:lnTo>
                    <a:pt x="260033" y="8572"/>
                  </a:lnTo>
                  <a:lnTo>
                    <a:pt x="262890" y="9525"/>
                  </a:lnTo>
                  <a:lnTo>
                    <a:pt x="262890" y="9525"/>
                  </a:lnTo>
                  <a:lnTo>
                    <a:pt x="265747" y="10478"/>
                  </a:lnTo>
                  <a:lnTo>
                    <a:pt x="265747" y="10478"/>
                  </a:lnTo>
                  <a:lnTo>
                    <a:pt x="268605" y="11430"/>
                  </a:lnTo>
                  <a:lnTo>
                    <a:pt x="268605" y="11430"/>
                  </a:lnTo>
                  <a:lnTo>
                    <a:pt x="271463" y="13335"/>
                  </a:lnTo>
                  <a:lnTo>
                    <a:pt x="271463" y="13335"/>
                  </a:lnTo>
                  <a:lnTo>
                    <a:pt x="274320" y="15240"/>
                  </a:lnTo>
                  <a:lnTo>
                    <a:pt x="274320" y="15240"/>
                  </a:lnTo>
                  <a:lnTo>
                    <a:pt x="277178" y="17145"/>
                  </a:lnTo>
                  <a:lnTo>
                    <a:pt x="277178" y="17145"/>
                  </a:lnTo>
                  <a:lnTo>
                    <a:pt x="279083" y="19050"/>
                  </a:lnTo>
                  <a:lnTo>
                    <a:pt x="279083" y="19050"/>
                  </a:lnTo>
                  <a:lnTo>
                    <a:pt x="280988" y="20955"/>
                  </a:lnTo>
                  <a:lnTo>
                    <a:pt x="280988" y="20955"/>
                  </a:lnTo>
                  <a:lnTo>
                    <a:pt x="280988" y="20955"/>
                  </a:lnTo>
                  <a:cubicBezTo>
                    <a:pt x="283845" y="22860"/>
                    <a:pt x="287655" y="25717"/>
                    <a:pt x="290513" y="28575"/>
                  </a:cubicBezTo>
                  <a:lnTo>
                    <a:pt x="290513" y="28575"/>
                  </a:lnTo>
                  <a:lnTo>
                    <a:pt x="292418" y="29528"/>
                  </a:lnTo>
                  <a:lnTo>
                    <a:pt x="292418" y="29528"/>
                  </a:lnTo>
                  <a:lnTo>
                    <a:pt x="293370" y="30480"/>
                  </a:lnTo>
                  <a:lnTo>
                    <a:pt x="294322" y="31433"/>
                  </a:lnTo>
                  <a:lnTo>
                    <a:pt x="295275" y="32385"/>
                  </a:lnTo>
                  <a:lnTo>
                    <a:pt x="296228" y="33338"/>
                  </a:lnTo>
                  <a:lnTo>
                    <a:pt x="296228" y="33338"/>
                  </a:lnTo>
                  <a:lnTo>
                    <a:pt x="298133" y="35242"/>
                  </a:lnTo>
                  <a:lnTo>
                    <a:pt x="298133" y="35242"/>
                  </a:lnTo>
                  <a:lnTo>
                    <a:pt x="299085" y="36195"/>
                  </a:lnTo>
                  <a:lnTo>
                    <a:pt x="300038" y="37147"/>
                  </a:lnTo>
                  <a:lnTo>
                    <a:pt x="300038" y="37147"/>
                  </a:lnTo>
                  <a:lnTo>
                    <a:pt x="301943" y="39053"/>
                  </a:lnTo>
                  <a:lnTo>
                    <a:pt x="301943" y="39053"/>
                  </a:lnTo>
                  <a:lnTo>
                    <a:pt x="302895" y="40005"/>
                  </a:lnTo>
                  <a:lnTo>
                    <a:pt x="303847" y="40958"/>
                  </a:lnTo>
                  <a:lnTo>
                    <a:pt x="303847" y="41910"/>
                  </a:lnTo>
                  <a:lnTo>
                    <a:pt x="304800" y="43815"/>
                  </a:lnTo>
                  <a:lnTo>
                    <a:pt x="304800" y="43815"/>
                  </a:lnTo>
                  <a:lnTo>
                    <a:pt x="305753" y="45720"/>
                  </a:lnTo>
                  <a:lnTo>
                    <a:pt x="306705" y="46672"/>
                  </a:lnTo>
                  <a:lnTo>
                    <a:pt x="306705" y="47625"/>
                  </a:lnTo>
                  <a:lnTo>
                    <a:pt x="308610" y="49530"/>
                  </a:lnTo>
                  <a:lnTo>
                    <a:pt x="308610" y="49530"/>
                  </a:lnTo>
                  <a:lnTo>
                    <a:pt x="310515" y="52388"/>
                  </a:lnTo>
                  <a:lnTo>
                    <a:pt x="311468" y="54292"/>
                  </a:lnTo>
                  <a:lnTo>
                    <a:pt x="311468" y="55245"/>
                  </a:lnTo>
                  <a:lnTo>
                    <a:pt x="311468" y="56197"/>
                  </a:lnTo>
                  <a:cubicBezTo>
                    <a:pt x="319088" y="67628"/>
                    <a:pt x="324803" y="80963"/>
                    <a:pt x="329565" y="94297"/>
                  </a:cubicBezTo>
                  <a:lnTo>
                    <a:pt x="329565" y="95250"/>
                  </a:lnTo>
                  <a:cubicBezTo>
                    <a:pt x="330518" y="97155"/>
                    <a:pt x="330518" y="99060"/>
                    <a:pt x="331470" y="101917"/>
                  </a:cubicBezTo>
                  <a:lnTo>
                    <a:pt x="331470" y="101917"/>
                  </a:lnTo>
                  <a:cubicBezTo>
                    <a:pt x="333375" y="107633"/>
                    <a:pt x="334328" y="113347"/>
                    <a:pt x="335280" y="119063"/>
                  </a:cubicBezTo>
                  <a:lnTo>
                    <a:pt x="335280" y="120015"/>
                  </a:lnTo>
                  <a:lnTo>
                    <a:pt x="335280" y="122872"/>
                  </a:lnTo>
                  <a:lnTo>
                    <a:pt x="335280" y="122872"/>
                  </a:lnTo>
                  <a:lnTo>
                    <a:pt x="335280" y="125730"/>
                  </a:lnTo>
                  <a:lnTo>
                    <a:pt x="335280" y="126683"/>
                  </a:lnTo>
                  <a:lnTo>
                    <a:pt x="335280" y="129540"/>
                  </a:lnTo>
                  <a:lnTo>
                    <a:pt x="335280" y="130492"/>
                  </a:lnTo>
                  <a:lnTo>
                    <a:pt x="335280" y="133350"/>
                  </a:lnTo>
                  <a:lnTo>
                    <a:pt x="335280" y="134303"/>
                  </a:lnTo>
                  <a:lnTo>
                    <a:pt x="335280" y="137160"/>
                  </a:lnTo>
                  <a:lnTo>
                    <a:pt x="335280" y="138113"/>
                  </a:lnTo>
                  <a:lnTo>
                    <a:pt x="335280" y="140970"/>
                  </a:lnTo>
                  <a:lnTo>
                    <a:pt x="335280" y="141922"/>
                  </a:lnTo>
                  <a:lnTo>
                    <a:pt x="335280" y="144780"/>
                  </a:lnTo>
                  <a:lnTo>
                    <a:pt x="335280" y="144780"/>
                  </a:lnTo>
                  <a:lnTo>
                    <a:pt x="335280" y="148590"/>
                  </a:lnTo>
                  <a:lnTo>
                    <a:pt x="335280" y="148590"/>
                  </a:lnTo>
                  <a:lnTo>
                    <a:pt x="335280" y="152400"/>
                  </a:lnTo>
                  <a:lnTo>
                    <a:pt x="335280" y="227647"/>
                  </a:lnTo>
                  <a:lnTo>
                    <a:pt x="335280" y="303847"/>
                  </a:lnTo>
                  <a:lnTo>
                    <a:pt x="262890" y="303847"/>
                  </a:lnTo>
                  <a:cubicBezTo>
                    <a:pt x="261938" y="303847"/>
                    <a:pt x="260033" y="303847"/>
                    <a:pt x="259080" y="303847"/>
                  </a:cubicBezTo>
                  <a:lnTo>
                    <a:pt x="114300" y="303847"/>
                  </a:lnTo>
                  <a:cubicBezTo>
                    <a:pt x="106680" y="303847"/>
                    <a:pt x="99060" y="302895"/>
                    <a:pt x="91440" y="300990"/>
                  </a:cubicBezTo>
                  <a:lnTo>
                    <a:pt x="91440" y="300990"/>
                  </a:lnTo>
                  <a:cubicBezTo>
                    <a:pt x="89535" y="300990"/>
                    <a:pt x="87630" y="300038"/>
                    <a:pt x="85725" y="299085"/>
                  </a:cubicBezTo>
                  <a:lnTo>
                    <a:pt x="84772" y="299085"/>
                  </a:lnTo>
                  <a:lnTo>
                    <a:pt x="82868" y="298133"/>
                  </a:lnTo>
                  <a:lnTo>
                    <a:pt x="82868" y="298133"/>
                  </a:lnTo>
                  <a:lnTo>
                    <a:pt x="80963" y="297180"/>
                  </a:lnTo>
                  <a:lnTo>
                    <a:pt x="80010" y="297180"/>
                  </a:lnTo>
                  <a:lnTo>
                    <a:pt x="79058" y="297180"/>
                  </a:lnTo>
                  <a:lnTo>
                    <a:pt x="77153" y="296228"/>
                  </a:lnTo>
                  <a:lnTo>
                    <a:pt x="75247" y="295275"/>
                  </a:lnTo>
                  <a:lnTo>
                    <a:pt x="75247" y="295275"/>
                  </a:lnTo>
                  <a:lnTo>
                    <a:pt x="72390" y="294322"/>
                  </a:lnTo>
                  <a:lnTo>
                    <a:pt x="72390" y="294322"/>
                  </a:lnTo>
                  <a:lnTo>
                    <a:pt x="69533" y="293370"/>
                  </a:lnTo>
                  <a:lnTo>
                    <a:pt x="69533" y="293370"/>
                  </a:lnTo>
                  <a:lnTo>
                    <a:pt x="66675" y="292417"/>
                  </a:lnTo>
                  <a:lnTo>
                    <a:pt x="66675" y="292417"/>
                  </a:lnTo>
                  <a:lnTo>
                    <a:pt x="63818" y="290513"/>
                  </a:lnTo>
                  <a:lnTo>
                    <a:pt x="63818" y="290513"/>
                  </a:lnTo>
                  <a:lnTo>
                    <a:pt x="60960" y="288608"/>
                  </a:lnTo>
                  <a:lnTo>
                    <a:pt x="60960" y="288608"/>
                  </a:lnTo>
                  <a:lnTo>
                    <a:pt x="58103" y="286703"/>
                  </a:lnTo>
                  <a:lnTo>
                    <a:pt x="58103" y="286703"/>
                  </a:lnTo>
                  <a:lnTo>
                    <a:pt x="56197" y="284797"/>
                  </a:lnTo>
                  <a:lnTo>
                    <a:pt x="56197" y="284797"/>
                  </a:lnTo>
                  <a:lnTo>
                    <a:pt x="54293" y="282892"/>
                  </a:lnTo>
                  <a:lnTo>
                    <a:pt x="54293" y="282892"/>
                  </a:lnTo>
                  <a:lnTo>
                    <a:pt x="54293" y="282892"/>
                  </a:lnTo>
                  <a:cubicBezTo>
                    <a:pt x="51435" y="280988"/>
                    <a:pt x="47625" y="278130"/>
                    <a:pt x="44768" y="275272"/>
                  </a:cubicBezTo>
                  <a:lnTo>
                    <a:pt x="44768" y="275272"/>
                  </a:lnTo>
                  <a:lnTo>
                    <a:pt x="42863" y="274320"/>
                  </a:lnTo>
                  <a:lnTo>
                    <a:pt x="42863" y="274320"/>
                  </a:lnTo>
                  <a:lnTo>
                    <a:pt x="41910" y="273367"/>
                  </a:lnTo>
                  <a:lnTo>
                    <a:pt x="40958" y="272415"/>
                  </a:lnTo>
                  <a:lnTo>
                    <a:pt x="40005" y="271463"/>
                  </a:lnTo>
                  <a:lnTo>
                    <a:pt x="39053" y="270510"/>
                  </a:lnTo>
                  <a:lnTo>
                    <a:pt x="39053" y="270510"/>
                  </a:lnTo>
                  <a:lnTo>
                    <a:pt x="37147" y="268605"/>
                  </a:lnTo>
                  <a:lnTo>
                    <a:pt x="37147" y="268605"/>
                  </a:lnTo>
                  <a:lnTo>
                    <a:pt x="36195" y="267653"/>
                  </a:lnTo>
                  <a:lnTo>
                    <a:pt x="35243" y="266700"/>
                  </a:lnTo>
                  <a:lnTo>
                    <a:pt x="35243" y="266700"/>
                  </a:lnTo>
                  <a:lnTo>
                    <a:pt x="33338" y="264795"/>
                  </a:lnTo>
                  <a:lnTo>
                    <a:pt x="33338" y="264795"/>
                  </a:lnTo>
                  <a:lnTo>
                    <a:pt x="32385" y="263842"/>
                  </a:lnTo>
                  <a:lnTo>
                    <a:pt x="31433" y="262890"/>
                  </a:lnTo>
                  <a:lnTo>
                    <a:pt x="31433" y="261938"/>
                  </a:lnTo>
                  <a:lnTo>
                    <a:pt x="30480" y="260033"/>
                  </a:lnTo>
                  <a:lnTo>
                    <a:pt x="30480" y="260033"/>
                  </a:lnTo>
                  <a:lnTo>
                    <a:pt x="29528" y="258128"/>
                  </a:lnTo>
                  <a:lnTo>
                    <a:pt x="28575" y="257175"/>
                  </a:lnTo>
                  <a:lnTo>
                    <a:pt x="28575" y="256222"/>
                  </a:lnTo>
                  <a:lnTo>
                    <a:pt x="26670" y="254317"/>
                  </a:lnTo>
                  <a:lnTo>
                    <a:pt x="26670" y="254317"/>
                  </a:lnTo>
                  <a:lnTo>
                    <a:pt x="24765" y="251460"/>
                  </a:lnTo>
                  <a:lnTo>
                    <a:pt x="23813" y="249555"/>
                  </a:lnTo>
                  <a:lnTo>
                    <a:pt x="23813" y="248603"/>
                  </a:lnTo>
                  <a:lnTo>
                    <a:pt x="23813" y="247650"/>
                  </a:lnTo>
                  <a:cubicBezTo>
                    <a:pt x="16193" y="236220"/>
                    <a:pt x="10478" y="222885"/>
                    <a:pt x="5715" y="209550"/>
                  </a:cubicBezTo>
                  <a:lnTo>
                    <a:pt x="5715" y="208597"/>
                  </a:lnTo>
                  <a:cubicBezTo>
                    <a:pt x="4763" y="206692"/>
                    <a:pt x="4763" y="204788"/>
                    <a:pt x="3810" y="201930"/>
                  </a:cubicBezTo>
                  <a:lnTo>
                    <a:pt x="3810" y="201930"/>
                  </a:lnTo>
                  <a:cubicBezTo>
                    <a:pt x="1905" y="196215"/>
                    <a:pt x="953" y="190500"/>
                    <a:pt x="0" y="184785"/>
                  </a:cubicBezTo>
                  <a:lnTo>
                    <a:pt x="0" y="183833"/>
                  </a:lnTo>
                  <a:lnTo>
                    <a:pt x="0" y="180975"/>
                  </a:lnTo>
                  <a:lnTo>
                    <a:pt x="0" y="180975"/>
                  </a:lnTo>
                  <a:lnTo>
                    <a:pt x="0" y="178117"/>
                  </a:lnTo>
                  <a:lnTo>
                    <a:pt x="0" y="177165"/>
                  </a:lnTo>
                  <a:lnTo>
                    <a:pt x="0" y="174308"/>
                  </a:lnTo>
                  <a:lnTo>
                    <a:pt x="0" y="173355"/>
                  </a:lnTo>
                  <a:lnTo>
                    <a:pt x="0" y="170497"/>
                  </a:lnTo>
                  <a:lnTo>
                    <a:pt x="0" y="169545"/>
                  </a:lnTo>
                  <a:lnTo>
                    <a:pt x="0" y="166688"/>
                  </a:lnTo>
                  <a:lnTo>
                    <a:pt x="0" y="165735"/>
                  </a:lnTo>
                  <a:lnTo>
                    <a:pt x="0" y="162878"/>
                  </a:lnTo>
                  <a:lnTo>
                    <a:pt x="0" y="161925"/>
                  </a:lnTo>
                  <a:lnTo>
                    <a:pt x="0" y="159067"/>
                  </a:lnTo>
                  <a:lnTo>
                    <a:pt x="0" y="159067"/>
                  </a:lnTo>
                  <a:lnTo>
                    <a:pt x="0" y="155258"/>
                  </a:lnTo>
                  <a:lnTo>
                    <a:pt x="0" y="155258"/>
                  </a:lnTo>
                  <a:lnTo>
                    <a:pt x="0" y="151447"/>
                  </a:lnTo>
                  <a:lnTo>
                    <a:pt x="0" y="76200"/>
                  </a:lnTo>
                  <a:lnTo>
                    <a:pt x="0" y="0"/>
                  </a:lnTo>
                  <a:lnTo>
                    <a:pt x="72390" y="0"/>
                  </a:lnTo>
                  <a:cubicBezTo>
                    <a:pt x="73343" y="0"/>
                    <a:pt x="74295" y="0"/>
                    <a:pt x="76200" y="0"/>
                  </a:cubicBezTo>
                  <a:close/>
                </a:path>
              </a:pathLst>
            </a:custGeom>
            <a:solidFill>
              <a:schemeClr val="accent5"/>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5" name="Freeform: Shape 105">
              <a:extLst>
                <a:ext uri="{FF2B5EF4-FFF2-40B4-BE49-F238E27FC236}">
                  <a16:creationId xmlns:a16="http://schemas.microsoft.com/office/drawing/2014/main" id="{D27435CD-49C3-4082-8510-757489F6969E}"/>
                </a:ext>
              </a:extLst>
            </p:cNvPr>
            <p:cNvSpPr/>
            <p:nvPr/>
          </p:nvSpPr>
          <p:spPr>
            <a:xfrm>
              <a:off x="6753920" y="2771567"/>
              <a:ext cx="374737" cy="339605"/>
            </a:xfrm>
            <a:custGeom>
              <a:avLst/>
              <a:gdLst>
                <a:gd name="connsiteX0" fmla="*/ 76200 w 335279"/>
                <a:gd name="connsiteY0" fmla="*/ 0 h 303847"/>
                <a:gd name="connsiteX1" fmla="*/ 220980 w 335279"/>
                <a:gd name="connsiteY1" fmla="*/ 0 h 303847"/>
                <a:gd name="connsiteX2" fmla="*/ 243840 w 335279"/>
                <a:gd name="connsiteY2" fmla="*/ 2858 h 303847"/>
                <a:gd name="connsiteX3" fmla="*/ 243840 w 335279"/>
                <a:gd name="connsiteY3" fmla="*/ 2858 h 303847"/>
                <a:gd name="connsiteX4" fmla="*/ 249555 w 335279"/>
                <a:gd name="connsiteY4" fmla="*/ 4763 h 303847"/>
                <a:gd name="connsiteX5" fmla="*/ 250508 w 335279"/>
                <a:gd name="connsiteY5" fmla="*/ 4763 h 303847"/>
                <a:gd name="connsiteX6" fmla="*/ 252412 w 335279"/>
                <a:gd name="connsiteY6" fmla="*/ 5715 h 303847"/>
                <a:gd name="connsiteX7" fmla="*/ 252412 w 335279"/>
                <a:gd name="connsiteY7" fmla="*/ 5715 h 303847"/>
                <a:gd name="connsiteX8" fmla="*/ 254317 w 335279"/>
                <a:gd name="connsiteY8" fmla="*/ 6668 h 303847"/>
                <a:gd name="connsiteX9" fmla="*/ 255270 w 335279"/>
                <a:gd name="connsiteY9" fmla="*/ 6668 h 303847"/>
                <a:gd name="connsiteX10" fmla="*/ 256223 w 335279"/>
                <a:gd name="connsiteY10" fmla="*/ 6668 h 303847"/>
                <a:gd name="connsiteX11" fmla="*/ 258127 w 335279"/>
                <a:gd name="connsiteY11" fmla="*/ 7620 h 303847"/>
                <a:gd name="connsiteX12" fmla="*/ 260033 w 335279"/>
                <a:gd name="connsiteY12" fmla="*/ 8573 h 303847"/>
                <a:gd name="connsiteX13" fmla="*/ 260033 w 335279"/>
                <a:gd name="connsiteY13" fmla="*/ 8573 h 303847"/>
                <a:gd name="connsiteX14" fmla="*/ 262890 w 335279"/>
                <a:gd name="connsiteY14" fmla="*/ 9525 h 303847"/>
                <a:gd name="connsiteX15" fmla="*/ 262890 w 335279"/>
                <a:gd name="connsiteY15" fmla="*/ 9525 h 303847"/>
                <a:gd name="connsiteX16" fmla="*/ 265748 w 335279"/>
                <a:gd name="connsiteY16" fmla="*/ 10477 h 303847"/>
                <a:gd name="connsiteX17" fmla="*/ 265748 w 335279"/>
                <a:gd name="connsiteY17" fmla="*/ 10477 h 303847"/>
                <a:gd name="connsiteX18" fmla="*/ 268605 w 335279"/>
                <a:gd name="connsiteY18" fmla="*/ 11430 h 303847"/>
                <a:gd name="connsiteX19" fmla="*/ 268605 w 335279"/>
                <a:gd name="connsiteY19" fmla="*/ 11430 h 303847"/>
                <a:gd name="connsiteX20" fmla="*/ 271462 w 335279"/>
                <a:gd name="connsiteY20" fmla="*/ 13335 h 303847"/>
                <a:gd name="connsiteX21" fmla="*/ 271462 w 335279"/>
                <a:gd name="connsiteY21" fmla="*/ 13335 h 303847"/>
                <a:gd name="connsiteX22" fmla="*/ 274320 w 335279"/>
                <a:gd name="connsiteY22" fmla="*/ 15240 h 303847"/>
                <a:gd name="connsiteX23" fmla="*/ 274320 w 335279"/>
                <a:gd name="connsiteY23" fmla="*/ 15240 h 303847"/>
                <a:gd name="connsiteX24" fmla="*/ 277177 w 335279"/>
                <a:gd name="connsiteY24" fmla="*/ 17145 h 303847"/>
                <a:gd name="connsiteX25" fmla="*/ 277177 w 335279"/>
                <a:gd name="connsiteY25" fmla="*/ 17145 h 303847"/>
                <a:gd name="connsiteX26" fmla="*/ 279083 w 335279"/>
                <a:gd name="connsiteY26" fmla="*/ 19050 h 303847"/>
                <a:gd name="connsiteX27" fmla="*/ 279083 w 335279"/>
                <a:gd name="connsiteY27" fmla="*/ 19050 h 303847"/>
                <a:gd name="connsiteX28" fmla="*/ 280987 w 335279"/>
                <a:gd name="connsiteY28" fmla="*/ 20955 h 303847"/>
                <a:gd name="connsiteX29" fmla="*/ 280987 w 335279"/>
                <a:gd name="connsiteY29" fmla="*/ 20955 h 303847"/>
                <a:gd name="connsiteX30" fmla="*/ 280987 w 335279"/>
                <a:gd name="connsiteY30" fmla="*/ 20955 h 303847"/>
                <a:gd name="connsiteX31" fmla="*/ 290512 w 335279"/>
                <a:gd name="connsiteY31" fmla="*/ 28575 h 303847"/>
                <a:gd name="connsiteX32" fmla="*/ 290512 w 335279"/>
                <a:gd name="connsiteY32" fmla="*/ 28575 h 303847"/>
                <a:gd name="connsiteX33" fmla="*/ 292417 w 335279"/>
                <a:gd name="connsiteY33" fmla="*/ 29527 h 303847"/>
                <a:gd name="connsiteX34" fmla="*/ 292417 w 335279"/>
                <a:gd name="connsiteY34" fmla="*/ 29527 h 303847"/>
                <a:gd name="connsiteX35" fmla="*/ 293370 w 335279"/>
                <a:gd name="connsiteY35" fmla="*/ 30480 h 303847"/>
                <a:gd name="connsiteX36" fmla="*/ 294323 w 335279"/>
                <a:gd name="connsiteY36" fmla="*/ 31433 h 303847"/>
                <a:gd name="connsiteX37" fmla="*/ 295275 w 335279"/>
                <a:gd name="connsiteY37" fmla="*/ 32385 h 303847"/>
                <a:gd name="connsiteX38" fmla="*/ 296227 w 335279"/>
                <a:gd name="connsiteY38" fmla="*/ 33338 h 303847"/>
                <a:gd name="connsiteX39" fmla="*/ 296227 w 335279"/>
                <a:gd name="connsiteY39" fmla="*/ 33338 h 303847"/>
                <a:gd name="connsiteX40" fmla="*/ 298133 w 335279"/>
                <a:gd name="connsiteY40" fmla="*/ 35243 h 303847"/>
                <a:gd name="connsiteX41" fmla="*/ 298133 w 335279"/>
                <a:gd name="connsiteY41" fmla="*/ 35243 h 303847"/>
                <a:gd name="connsiteX42" fmla="*/ 299085 w 335279"/>
                <a:gd name="connsiteY42" fmla="*/ 36195 h 303847"/>
                <a:gd name="connsiteX43" fmla="*/ 300037 w 335279"/>
                <a:gd name="connsiteY43" fmla="*/ 37148 h 303847"/>
                <a:gd name="connsiteX44" fmla="*/ 300037 w 335279"/>
                <a:gd name="connsiteY44" fmla="*/ 37148 h 303847"/>
                <a:gd name="connsiteX45" fmla="*/ 301942 w 335279"/>
                <a:gd name="connsiteY45" fmla="*/ 39052 h 303847"/>
                <a:gd name="connsiteX46" fmla="*/ 301942 w 335279"/>
                <a:gd name="connsiteY46" fmla="*/ 39052 h 303847"/>
                <a:gd name="connsiteX47" fmla="*/ 302895 w 335279"/>
                <a:gd name="connsiteY47" fmla="*/ 40005 h 303847"/>
                <a:gd name="connsiteX48" fmla="*/ 303848 w 335279"/>
                <a:gd name="connsiteY48" fmla="*/ 40958 h 303847"/>
                <a:gd name="connsiteX49" fmla="*/ 303848 w 335279"/>
                <a:gd name="connsiteY49" fmla="*/ 41910 h 303847"/>
                <a:gd name="connsiteX50" fmla="*/ 304800 w 335279"/>
                <a:gd name="connsiteY50" fmla="*/ 43815 h 303847"/>
                <a:gd name="connsiteX51" fmla="*/ 304800 w 335279"/>
                <a:gd name="connsiteY51" fmla="*/ 43815 h 303847"/>
                <a:gd name="connsiteX52" fmla="*/ 305752 w 335279"/>
                <a:gd name="connsiteY52" fmla="*/ 45720 h 303847"/>
                <a:gd name="connsiteX53" fmla="*/ 306705 w 335279"/>
                <a:gd name="connsiteY53" fmla="*/ 46673 h 303847"/>
                <a:gd name="connsiteX54" fmla="*/ 306705 w 335279"/>
                <a:gd name="connsiteY54" fmla="*/ 47625 h 303847"/>
                <a:gd name="connsiteX55" fmla="*/ 308610 w 335279"/>
                <a:gd name="connsiteY55" fmla="*/ 49530 h 303847"/>
                <a:gd name="connsiteX56" fmla="*/ 308610 w 335279"/>
                <a:gd name="connsiteY56" fmla="*/ 49530 h 303847"/>
                <a:gd name="connsiteX57" fmla="*/ 310515 w 335279"/>
                <a:gd name="connsiteY57" fmla="*/ 52388 h 303847"/>
                <a:gd name="connsiteX58" fmla="*/ 311467 w 335279"/>
                <a:gd name="connsiteY58" fmla="*/ 54293 h 303847"/>
                <a:gd name="connsiteX59" fmla="*/ 311467 w 335279"/>
                <a:gd name="connsiteY59" fmla="*/ 55245 h 303847"/>
                <a:gd name="connsiteX60" fmla="*/ 311467 w 335279"/>
                <a:gd name="connsiteY60" fmla="*/ 56198 h 303847"/>
                <a:gd name="connsiteX61" fmla="*/ 329565 w 335279"/>
                <a:gd name="connsiteY61" fmla="*/ 94298 h 303847"/>
                <a:gd name="connsiteX62" fmla="*/ 329565 w 335279"/>
                <a:gd name="connsiteY62" fmla="*/ 95250 h 303847"/>
                <a:gd name="connsiteX63" fmla="*/ 331470 w 335279"/>
                <a:gd name="connsiteY63" fmla="*/ 101918 h 303847"/>
                <a:gd name="connsiteX64" fmla="*/ 331470 w 335279"/>
                <a:gd name="connsiteY64" fmla="*/ 101918 h 303847"/>
                <a:gd name="connsiteX65" fmla="*/ 335280 w 335279"/>
                <a:gd name="connsiteY65" fmla="*/ 119063 h 303847"/>
                <a:gd name="connsiteX66" fmla="*/ 335280 w 335279"/>
                <a:gd name="connsiteY66" fmla="*/ 120015 h 303847"/>
                <a:gd name="connsiteX67" fmla="*/ 335280 w 335279"/>
                <a:gd name="connsiteY67" fmla="*/ 122873 h 303847"/>
                <a:gd name="connsiteX68" fmla="*/ 335280 w 335279"/>
                <a:gd name="connsiteY68" fmla="*/ 122873 h 303847"/>
                <a:gd name="connsiteX69" fmla="*/ 335280 w 335279"/>
                <a:gd name="connsiteY69" fmla="*/ 125730 h 303847"/>
                <a:gd name="connsiteX70" fmla="*/ 335280 w 335279"/>
                <a:gd name="connsiteY70" fmla="*/ 126683 h 303847"/>
                <a:gd name="connsiteX71" fmla="*/ 335280 w 335279"/>
                <a:gd name="connsiteY71" fmla="*/ 129540 h 303847"/>
                <a:gd name="connsiteX72" fmla="*/ 335280 w 335279"/>
                <a:gd name="connsiteY72" fmla="*/ 130493 h 303847"/>
                <a:gd name="connsiteX73" fmla="*/ 335280 w 335279"/>
                <a:gd name="connsiteY73" fmla="*/ 133350 h 303847"/>
                <a:gd name="connsiteX74" fmla="*/ 335280 w 335279"/>
                <a:gd name="connsiteY74" fmla="*/ 134302 h 303847"/>
                <a:gd name="connsiteX75" fmla="*/ 335280 w 335279"/>
                <a:gd name="connsiteY75" fmla="*/ 137160 h 303847"/>
                <a:gd name="connsiteX76" fmla="*/ 335280 w 335279"/>
                <a:gd name="connsiteY76" fmla="*/ 138113 h 303847"/>
                <a:gd name="connsiteX77" fmla="*/ 335280 w 335279"/>
                <a:gd name="connsiteY77" fmla="*/ 140970 h 303847"/>
                <a:gd name="connsiteX78" fmla="*/ 335280 w 335279"/>
                <a:gd name="connsiteY78" fmla="*/ 141923 h 303847"/>
                <a:gd name="connsiteX79" fmla="*/ 335280 w 335279"/>
                <a:gd name="connsiteY79" fmla="*/ 144780 h 303847"/>
                <a:gd name="connsiteX80" fmla="*/ 335280 w 335279"/>
                <a:gd name="connsiteY80" fmla="*/ 144780 h 303847"/>
                <a:gd name="connsiteX81" fmla="*/ 335280 w 335279"/>
                <a:gd name="connsiteY81" fmla="*/ 148590 h 303847"/>
                <a:gd name="connsiteX82" fmla="*/ 335280 w 335279"/>
                <a:gd name="connsiteY82" fmla="*/ 148590 h 303847"/>
                <a:gd name="connsiteX83" fmla="*/ 335280 w 335279"/>
                <a:gd name="connsiteY83" fmla="*/ 152400 h 303847"/>
                <a:gd name="connsiteX84" fmla="*/ 335280 w 335279"/>
                <a:gd name="connsiteY84" fmla="*/ 227648 h 303847"/>
                <a:gd name="connsiteX85" fmla="*/ 335280 w 335279"/>
                <a:gd name="connsiteY85" fmla="*/ 303848 h 303847"/>
                <a:gd name="connsiteX86" fmla="*/ 262890 w 335279"/>
                <a:gd name="connsiteY86" fmla="*/ 303848 h 303847"/>
                <a:gd name="connsiteX87" fmla="*/ 259080 w 335279"/>
                <a:gd name="connsiteY87" fmla="*/ 303848 h 303847"/>
                <a:gd name="connsiteX88" fmla="*/ 114300 w 335279"/>
                <a:gd name="connsiteY88" fmla="*/ 303848 h 303847"/>
                <a:gd name="connsiteX89" fmla="*/ 91440 w 335279"/>
                <a:gd name="connsiteY89" fmla="*/ 300990 h 303847"/>
                <a:gd name="connsiteX90" fmla="*/ 91440 w 335279"/>
                <a:gd name="connsiteY90" fmla="*/ 300990 h 303847"/>
                <a:gd name="connsiteX91" fmla="*/ 85725 w 335279"/>
                <a:gd name="connsiteY91" fmla="*/ 299085 h 303847"/>
                <a:gd name="connsiteX92" fmla="*/ 84772 w 335279"/>
                <a:gd name="connsiteY92" fmla="*/ 299085 h 303847"/>
                <a:gd name="connsiteX93" fmla="*/ 82867 w 335279"/>
                <a:gd name="connsiteY93" fmla="*/ 298132 h 303847"/>
                <a:gd name="connsiteX94" fmla="*/ 82867 w 335279"/>
                <a:gd name="connsiteY94" fmla="*/ 298132 h 303847"/>
                <a:gd name="connsiteX95" fmla="*/ 80963 w 335279"/>
                <a:gd name="connsiteY95" fmla="*/ 297180 h 303847"/>
                <a:gd name="connsiteX96" fmla="*/ 80010 w 335279"/>
                <a:gd name="connsiteY96" fmla="*/ 297180 h 303847"/>
                <a:gd name="connsiteX97" fmla="*/ 79058 w 335279"/>
                <a:gd name="connsiteY97" fmla="*/ 297180 h 303847"/>
                <a:gd name="connsiteX98" fmla="*/ 77152 w 335279"/>
                <a:gd name="connsiteY98" fmla="*/ 296228 h 303847"/>
                <a:gd name="connsiteX99" fmla="*/ 75247 w 335279"/>
                <a:gd name="connsiteY99" fmla="*/ 295275 h 303847"/>
                <a:gd name="connsiteX100" fmla="*/ 75247 w 335279"/>
                <a:gd name="connsiteY100" fmla="*/ 295275 h 303847"/>
                <a:gd name="connsiteX101" fmla="*/ 72390 w 335279"/>
                <a:gd name="connsiteY101" fmla="*/ 294323 h 303847"/>
                <a:gd name="connsiteX102" fmla="*/ 72390 w 335279"/>
                <a:gd name="connsiteY102" fmla="*/ 294323 h 303847"/>
                <a:gd name="connsiteX103" fmla="*/ 69533 w 335279"/>
                <a:gd name="connsiteY103" fmla="*/ 293370 h 303847"/>
                <a:gd name="connsiteX104" fmla="*/ 69533 w 335279"/>
                <a:gd name="connsiteY104" fmla="*/ 293370 h 303847"/>
                <a:gd name="connsiteX105" fmla="*/ 66675 w 335279"/>
                <a:gd name="connsiteY105" fmla="*/ 292418 h 303847"/>
                <a:gd name="connsiteX106" fmla="*/ 66675 w 335279"/>
                <a:gd name="connsiteY106" fmla="*/ 292418 h 303847"/>
                <a:gd name="connsiteX107" fmla="*/ 63817 w 335279"/>
                <a:gd name="connsiteY107" fmla="*/ 291465 h 303847"/>
                <a:gd name="connsiteX108" fmla="*/ 63817 w 335279"/>
                <a:gd name="connsiteY108" fmla="*/ 291465 h 303847"/>
                <a:gd name="connsiteX109" fmla="*/ 60960 w 335279"/>
                <a:gd name="connsiteY109" fmla="*/ 289560 h 303847"/>
                <a:gd name="connsiteX110" fmla="*/ 60960 w 335279"/>
                <a:gd name="connsiteY110" fmla="*/ 289560 h 303847"/>
                <a:gd name="connsiteX111" fmla="*/ 58102 w 335279"/>
                <a:gd name="connsiteY111" fmla="*/ 287655 h 303847"/>
                <a:gd name="connsiteX112" fmla="*/ 58102 w 335279"/>
                <a:gd name="connsiteY112" fmla="*/ 287655 h 303847"/>
                <a:gd name="connsiteX113" fmla="*/ 56197 w 335279"/>
                <a:gd name="connsiteY113" fmla="*/ 285750 h 303847"/>
                <a:gd name="connsiteX114" fmla="*/ 56197 w 335279"/>
                <a:gd name="connsiteY114" fmla="*/ 285750 h 303847"/>
                <a:gd name="connsiteX115" fmla="*/ 54292 w 335279"/>
                <a:gd name="connsiteY115" fmla="*/ 283845 h 303847"/>
                <a:gd name="connsiteX116" fmla="*/ 54292 w 335279"/>
                <a:gd name="connsiteY116" fmla="*/ 283845 h 303847"/>
                <a:gd name="connsiteX117" fmla="*/ 54292 w 335279"/>
                <a:gd name="connsiteY117" fmla="*/ 283845 h 303847"/>
                <a:gd name="connsiteX118" fmla="*/ 44767 w 335279"/>
                <a:gd name="connsiteY118" fmla="*/ 276225 h 303847"/>
                <a:gd name="connsiteX119" fmla="*/ 44767 w 335279"/>
                <a:gd name="connsiteY119" fmla="*/ 276225 h 303847"/>
                <a:gd name="connsiteX120" fmla="*/ 42863 w 335279"/>
                <a:gd name="connsiteY120" fmla="*/ 275273 h 303847"/>
                <a:gd name="connsiteX121" fmla="*/ 42863 w 335279"/>
                <a:gd name="connsiteY121" fmla="*/ 275273 h 303847"/>
                <a:gd name="connsiteX122" fmla="*/ 41910 w 335279"/>
                <a:gd name="connsiteY122" fmla="*/ 274320 h 303847"/>
                <a:gd name="connsiteX123" fmla="*/ 40958 w 335279"/>
                <a:gd name="connsiteY123" fmla="*/ 273368 h 303847"/>
                <a:gd name="connsiteX124" fmla="*/ 40005 w 335279"/>
                <a:gd name="connsiteY124" fmla="*/ 272415 h 303847"/>
                <a:gd name="connsiteX125" fmla="*/ 39052 w 335279"/>
                <a:gd name="connsiteY125" fmla="*/ 271463 h 303847"/>
                <a:gd name="connsiteX126" fmla="*/ 39052 w 335279"/>
                <a:gd name="connsiteY126" fmla="*/ 271463 h 303847"/>
                <a:gd name="connsiteX127" fmla="*/ 37147 w 335279"/>
                <a:gd name="connsiteY127" fmla="*/ 269558 h 303847"/>
                <a:gd name="connsiteX128" fmla="*/ 37147 w 335279"/>
                <a:gd name="connsiteY128" fmla="*/ 269558 h 303847"/>
                <a:gd name="connsiteX129" fmla="*/ 36195 w 335279"/>
                <a:gd name="connsiteY129" fmla="*/ 268605 h 303847"/>
                <a:gd name="connsiteX130" fmla="*/ 35242 w 335279"/>
                <a:gd name="connsiteY130" fmla="*/ 267653 h 303847"/>
                <a:gd name="connsiteX131" fmla="*/ 35242 w 335279"/>
                <a:gd name="connsiteY131" fmla="*/ 267653 h 303847"/>
                <a:gd name="connsiteX132" fmla="*/ 33338 w 335279"/>
                <a:gd name="connsiteY132" fmla="*/ 265748 h 303847"/>
                <a:gd name="connsiteX133" fmla="*/ 33338 w 335279"/>
                <a:gd name="connsiteY133" fmla="*/ 265748 h 303847"/>
                <a:gd name="connsiteX134" fmla="*/ 32385 w 335279"/>
                <a:gd name="connsiteY134" fmla="*/ 264795 h 303847"/>
                <a:gd name="connsiteX135" fmla="*/ 31433 w 335279"/>
                <a:gd name="connsiteY135" fmla="*/ 263843 h 303847"/>
                <a:gd name="connsiteX136" fmla="*/ 31433 w 335279"/>
                <a:gd name="connsiteY136" fmla="*/ 262890 h 303847"/>
                <a:gd name="connsiteX137" fmla="*/ 30480 w 335279"/>
                <a:gd name="connsiteY137" fmla="*/ 260985 h 303847"/>
                <a:gd name="connsiteX138" fmla="*/ 30480 w 335279"/>
                <a:gd name="connsiteY138" fmla="*/ 260985 h 303847"/>
                <a:gd name="connsiteX139" fmla="*/ 29527 w 335279"/>
                <a:gd name="connsiteY139" fmla="*/ 259080 h 303847"/>
                <a:gd name="connsiteX140" fmla="*/ 28575 w 335279"/>
                <a:gd name="connsiteY140" fmla="*/ 258127 h 303847"/>
                <a:gd name="connsiteX141" fmla="*/ 28575 w 335279"/>
                <a:gd name="connsiteY141" fmla="*/ 257175 h 303847"/>
                <a:gd name="connsiteX142" fmla="*/ 26670 w 335279"/>
                <a:gd name="connsiteY142" fmla="*/ 255270 h 303847"/>
                <a:gd name="connsiteX143" fmla="*/ 26670 w 335279"/>
                <a:gd name="connsiteY143" fmla="*/ 255270 h 303847"/>
                <a:gd name="connsiteX144" fmla="*/ 24765 w 335279"/>
                <a:gd name="connsiteY144" fmla="*/ 252413 h 303847"/>
                <a:gd name="connsiteX145" fmla="*/ 23813 w 335279"/>
                <a:gd name="connsiteY145" fmla="*/ 250508 h 303847"/>
                <a:gd name="connsiteX146" fmla="*/ 23813 w 335279"/>
                <a:gd name="connsiteY146" fmla="*/ 249555 h 303847"/>
                <a:gd name="connsiteX147" fmla="*/ 23813 w 335279"/>
                <a:gd name="connsiteY147" fmla="*/ 248602 h 303847"/>
                <a:gd name="connsiteX148" fmla="*/ 5715 w 335279"/>
                <a:gd name="connsiteY148" fmla="*/ 210502 h 303847"/>
                <a:gd name="connsiteX149" fmla="*/ 5715 w 335279"/>
                <a:gd name="connsiteY149" fmla="*/ 209550 h 303847"/>
                <a:gd name="connsiteX150" fmla="*/ 3810 w 335279"/>
                <a:gd name="connsiteY150" fmla="*/ 202883 h 303847"/>
                <a:gd name="connsiteX151" fmla="*/ 3810 w 335279"/>
                <a:gd name="connsiteY151" fmla="*/ 202883 h 303847"/>
                <a:gd name="connsiteX152" fmla="*/ 0 w 335279"/>
                <a:gd name="connsiteY152" fmla="*/ 185738 h 303847"/>
                <a:gd name="connsiteX153" fmla="*/ 0 w 335279"/>
                <a:gd name="connsiteY153" fmla="*/ 184785 h 303847"/>
                <a:gd name="connsiteX154" fmla="*/ 0 w 335279"/>
                <a:gd name="connsiteY154" fmla="*/ 181927 h 303847"/>
                <a:gd name="connsiteX155" fmla="*/ 0 w 335279"/>
                <a:gd name="connsiteY155" fmla="*/ 181927 h 303847"/>
                <a:gd name="connsiteX156" fmla="*/ 0 w 335279"/>
                <a:gd name="connsiteY156" fmla="*/ 179070 h 303847"/>
                <a:gd name="connsiteX157" fmla="*/ 0 w 335279"/>
                <a:gd name="connsiteY157" fmla="*/ 178118 h 303847"/>
                <a:gd name="connsiteX158" fmla="*/ 0 w 335279"/>
                <a:gd name="connsiteY158" fmla="*/ 175260 h 303847"/>
                <a:gd name="connsiteX159" fmla="*/ 0 w 335279"/>
                <a:gd name="connsiteY159" fmla="*/ 174308 h 303847"/>
                <a:gd name="connsiteX160" fmla="*/ 0 w 335279"/>
                <a:gd name="connsiteY160" fmla="*/ 171450 h 303847"/>
                <a:gd name="connsiteX161" fmla="*/ 0 w 335279"/>
                <a:gd name="connsiteY161" fmla="*/ 170498 h 303847"/>
                <a:gd name="connsiteX162" fmla="*/ 0 w 335279"/>
                <a:gd name="connsiteY162" fmla="*/ 167640 h 303847"/>
                <a:gd name="connsiteX163" fmla="*/ 0 w 335279"/>
                <a:gd name="connsiteY163" fmla="*/ 166688 h 303847"/>
                <a:gd name="connsiteX164" fmla="*/ 0 w 335279"/>
                <a:gd name="connsiteY164" fmla="*/ 163830 h 303847"/>
                <a:gd name="connsiteX165" fmla="*/ 0 w 335279"/>
                <a:gd name="connsiteY165" fmla="*/ 162877 h 303847"/>
                <a:gd name="connsiteX166" fmla="*/ 0 w 335279"/>
                <a:gd name="connsiteY166" fmla="*/ 160020 h 303847"/>
                <a:gd name="connsiteX167" fmla="*/ 0 w 335279"/>
                <a:gd name="connsiteY167" fmla="*/ 160020 h 303847"/>
                <a:gd name="connsiteX168" fmla="*/ 0 w 335279"/>
                <a:gd name="connsiteY168" fmla="*/ 156210 h 303847"/>
                <a:gd name="connsiteX169" fmla="*/ 0 w 335279"/>
                <a:gd name="connsiteY169" fmla="*/ 156210 h 303847"/>
                <a:gd name="connsiteX170" fmla="*/ 0 w 335279"/>
                <a:gd name="connsiteY170" fmla="*/ 152400 h 303847"/>
                <a:gd name="connsiteX171" fmla="*/ 0 w 335279"/>
                <a:gd name="connsiteY171" fmla="*/ 77152 h 303847"/>
                <a:gd name="connsiteX172" fmla="*/ 0 w 335279"/>
                <a:gd name="connsiteY172" fmla="*/ 952 h 303847"/>
                <a:gd name="connsiteX173" fmla="*/ 72390 w 335279"/>
                <a:gd name="connsiteY173" fmla="*/ 952 h 303847"/>
                <a:gd name="connsiteX174" fmla="*/ 76200 w 335279"/>
                <a:gd name="connsiteY174" fmla="*/ 0 h 303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Lst>
              <a:rect l="l" t="t" r="r" b="b"/>
              <a:pathLst>
                <a:path w="335279" h="303847">
                  <a:moveTo>
                    <a:pt x="76200" y="0"/>
                  </a:moveTo>
                  <a:lnTo>
                    <a:pt x="220980" y="0"/>
                  </a:lnTo>
                  <a:cubicBezTo>
                    <a:pt x="228600" y="0"/>
                    <a:pt x="236220" y="952"/>
                    <a:pt x="243840" y="2858"/>
                  </a:cubicBezTo>
                  <a:lnTo>
                    <a:pt x="243840" y="2858"/>
                  </a:lnTo>
                  <a:cubicBezTo>
                    <a:pt x="245745" y="2858"/>
                    <a:pt x="247650" y="3810"/>
                    <a:pt x="249555" y="4763"/>
                  </a:cubicBezTo>
                  <a:lnTo>
                    <a:pt x="250508" y="4763"/>
                  </a:lnTo>
                  <a:lnTo>
                    <a:pt x="252412" y="5715"/>
                  </a:lnTo>
                  <a:lnTo>
                    <a:pt x="252412" y="5715"/>
                  </a:lnTo>
                  <a:lnTo>
                    <a:pt x="254317" y="6668"/>
                  </a:lnTo>
                  <a:lnTo>
                    <a:pt x="255270" y="6668"/>
                  </a:lnTo>
                  <a:lnTo>
                    <a:pt x="256223" y="6668"/>
                  </a:lnTo>
                  <a:lnTo>
                    <a:pt x="258127" y="7620"/>
                  </a:lnTo>
                  <a:lnTo>
                    <a:pt x="260033" y="8573"/>
                  </a:lnTo>
                  <a:lnTo>
                    <a:pt x="260033" y="8573"/>
                  </a:lnTo>
                  <a:lnTo>
                    <a:pt x="262890" y="9525"/>
                  </a:lnTo>
                  <a:lnTo>
                    <a:pt x="262890" y="9525"/>
                  </a:lnTo>
                  <a:lnTo>
                    <a:pt x="265748" y="10477"/>
                  </a:lnTo>
                  <a:lnTo>
                    <a:pt x="265748" y="10477"/>
                  </a:lnTo>
                  <a:lnTo>
                    <a:pt x="268605" y="11430"/>
                  </a:lnTo>
                  <a:lnTo>
                    <a:pt x="268605" y="11430"/>
                  </a:lnTo>
                  <a:lnTo>
                    <a:pt x="271462" y="13335"/>
                  </a:lnTo>
                  <a:lnTo>
                    <a:pt x="271462" y="13335"/>
                  </a:lnTo>
                  <a:lnTo>
                    <a:pt x="274320" y="15240"/>
                  </a:lnTo>
                  <a:lnTo>
                    <a:pt x="274320" y="15240"/>
                  </a:lnTo>
                  <a:lnTo>
                    <a:pt x="277177" y="17145"/>
                  </a:lnTo>
                  <a:lnTo>
                    <a:pt x="277177" y="17145"/>
                  </a:lnTo>
                  <a:lnTo>
                    <a:pt x="279083" y="19050"/>
                  </a:lnTo>
                  <a:lnTo>
                    <a:pt x="279083" y="19050"/>
                  </a:lnTo>
                  <a:lnTo>
                    <a:pt x="280987" y="20955"/>
                  </a:lnTo>
                  <a:lnTo>
                    <a:pt x="280987" y="20955"/>
                  </a:lnTo>
                  <a:lnTo>
                    <a:pt x="280987" y="20955"/>
                  </a:lnTo>
                  <a:cubicBezTo>
                    <a:pt x="283845" y="22860"/>
                    <a:pt x="287655" y="25718"/>
                    <a:pt x="290512" y="28575"/>
                  </a:cubicBezTo>
                  <a:lnTo>
                    <a:pt x="290512" y="28575"/>
                  </a:lnTo>
                  <a:lnTo>
                    <a:pt x="292417" y="29527"/>
                  </a:lnTo>
                  <a:lnTo>
                    <a:pt x="292417" y="29527"/>
                  </a:lnTo>
                  <a:lnTo>
                    <a:pt x="293370" y="30480"/>
                  </a:lnTo>
                  <a:lnTo>
                    <a:pt x="294323" y="31433"/>
                  </a:lnTo>
                  <a:lnTo>
                    <a:pt x="295275" y="32385"/>
                  </a:lnTo>
                  <a:lnTo>
                    <a:pt x="296227" y="33338"/>
                  </a:lnTo>
                  <a:lnTo>
                    <a:pt x="296227" y="33338"/>
                  </a:lnTo>
                  <a:lnTo>
                    <a:pt x="298133" y="35243"/>
                  </a:lnTo>
                  <a:lnTo>
                    <a:pt x="298133" y="35243"/>
                  </a:lnTo>
                  <a:lnTo>
                    <a:pt x="299085" y="36195"/>
                  </a:lnTo>
                  <a:lnTo>
                    <a:pt x="300037" y="37148"/>
                  </a:lnTo>
                  <a:lnTo>
                    <a:pt x="300037" y="37148"/>
                  </a:lnTo>
                  <a:lnTo>
                    <a:pt x="301942" y="39052"/>
                  </a:lnTo>
                  <a:lnTo>
                    <a:pt x="301942" y="39052"/>
                  </a:lnTo>
                  <a:lnTo>
                    <a:pt x="302895" y="40005"/>
                  </a:lnTo>
                  <a:lnTo>
                    <a:pt x="303848" y="40958"/>
                  </a:lnTo>
                  <a:lnTo>
                    <a:pt x="303848" y="41910"/>
                  </a:lnTo>
                  <a:lnTo>
                    <a:pt x="304800" y="43815"/>
                  </a:lnTo>
                  <a:lnTo>
                    <a:pt x="304800" y="43815"/>
                  </a:lnTo>
                  <a:lnTo>
                    <a:pt x="305752" y="45720"/>
                  </a:lnTo>
                  <a:lnTo>
                    <a:pt x="306705" y="46673"/>
                  </a:lnTo>
                  <a:lnTo>
                    <a:pt x="306705" y="47625"/>
                  </a:lnTo>
                  <a:lnTo>
                    <a:pt x="308610" y="49530"/>
                  </a:lnTo>
                  <a:lnTo>
                    <a:pt x="308610" y="49530"/>
                  </a:lnTo>
                  <a:lnTo>
                    <a:pt x="310515" y="52388"/>
                  </a:lnTo>
                  <a:lnTo>
                    <a:pt x="311467" y="54293"/>
                  </a:lnTo>
                  <a:lnTo>
                    <a:pt x="311467" y="55245"/>
                  </a:lnTo>
                  <a:lnTo>
                    <a:pt x="311467" y="56198"/>
                  </a:lnTo>
                  <a:cubicBezTo>
                    <a:pt x="319087" y="67627"/>
                    <a:pt x="324802" y="80963"/>
                    <a:pt x="329565" y="94298"/>
                  </a:cubicBezTo>
                  <a:lnTo>
                    <a:pt x="329565" y="95250"/>
                  </a:lnTo>
                  <a:cubicBezTo>
                    <a:pt x="330517" y="97155"/>
                    <a:pt x="330517" y="99060"/>
                    <a:pt x="331470" y="101918"/>
                  </a:cubicBezTo>
                  <a:lnTo>
                    <a:pt x="331470" y="101918"/>
                  </a:lnTo>
                  <a:cubicBezTo>
                    <a:pt x="333375" y="107633"/>
                    <a:pt x="334327" y="113348"/>
                    <a:pt x="335280" y="119063"/>
                  </a:cubicBezTo>
                  <a:lnTo>
                    <a:pt x="335280" y="120015"/>
                  </a:lnTo>
                  <a:lnTo>
                    <a:pt x="335280" y="122873"/>
                  </a:lnTo>
                  <a:lnTo>
                    <a:pt x="335280" y="122873"/>
                  </a:lnTo>
                  <a:lnTo>
                    <a:pt x="335280" y="125730"/>
                  </a:lnTo>
                  <a:lnTo>
                    <a:pt x="335280" y="126683"/>
                  </a:lnTo>
                  <a:lnTo>
                    <a:pt x="335280" y="129540"/>
                  </a:lnTo>
                  <a:lnTo>
                    <a:pt x="335280" y="130493"/>
                  </a:lnTo>
                  <a:lnTo>
                    <a:pt x="335280" y="133350"/>
                  </a:lnTo>
                  <a:lnTo>
                    <a:pt x="335280" y="134302"/>
                  </a:lnTo>
                  <a:lnTo>
                    <a:pt x="335280" y="137160"/>
                  </a:lnTo>
                  <a:lnTo>
                    <a:pt x="335280" y="138113"/>
                  </a:lnTo>
                  <a:lnTo>
                    <a:pt x="335280" y="140970"/>
                  </a:lnTo>
                  <a:lnTo>
                    <a:pt x="335280" y="141923"/>
                  </a:lnTo>
                  <a:lnTo>
                    <a:pt x="335280" y="144780"/>
                  </a:lnTo>
                  <a:lnTo>
                    <a:pt x="335280" y="144780"/>
                  </a:lnTo>
                  <a:lnTo>
                    <a:pt x="335280" y="148590"/>
                  </a:lnTo>
                  <a:lnTo>
                    <a:pt x="335280" y="148590"/>
                  </a:lnTo>
                  <a:lnTo>
                    <a:pt x="335280" y="152400"/>
                  </a:lnTo>
                  <a:lnTo>
                    <a:pt x="335280" y="227648"/>
                  </a:lnTo>
                  <a:lnTo>
                    <a:pt x="335280" y="303848"/>
                  </a:lnTo>
                  <a:lnTo>
                    <a:pt x="262890" y="303848"/>
                  </a:lnTo>
                  <a:cubicBezTo>
                    <a:pt x="261937" y="303848"/>
                    <a:pt x="260033" y="303848"/>
                    <a:pt x="259080" y="303848"/>
                  </a:cubicBezTo>
                  <a:lnTo>
                    <a:pt x="114300" y="303848"/>
                  </a:lnTo>
                  <a:cubicBezTo>
                    <a:pt x="106680" y="303848"/>
                    <a:pt x="99060" y="302895"/>
                    <a:pt x="91440" y="300990"/>
                  </a:cubicBezTo>
                  <a:lnTo>
                    <a:pt x="91440" y="300990"/>
                  </a:lnTo>
                  <a:cubicBezTo>
                    <a:pt x="89535" y="300990"/>
                    <a:pt x="87630" y="300038"/>
                    <a:pt x="85725" y="299085"/>
                  </a:cubicBezTo>
                  <a:lnTo>
                    <a:pt x="84772" y="299085"/>
                  </a:lnTo>
                  <a:lnTo>
                    <a:pt x="82867" y="298132"/>
                  </a:lnTo>
                  <a:lnTo>
                    <a:pt x="82867" y="298132"/>
                  </a:lnTo>
                  <a:lnTo>
                    <a:pt x="80963" y="297180"/>
                  </a:lnTo>
                  <a:lnTo>
                    <a:pt x="80010" y="297180"/>
                  </a:lnTo>
                  <a:lnTo>
                    <a:pt x="79058" y="297180"/>
                  </a:lnTo>
                  <a:lnTo>
                    <a:pt x="77152" y="296228"/>
                  </a:lnTo>
                  <a:lnTo>
                    <a:pt x="75247" y="295275"/>
                  </a:lnTo>
                  <a:lnTo>
                    <a:pt x="75247" y="295275"/>
                  </a:lnTo>
                  <a:lnTo>
                    <a:pt x="72390" y="294323"/>
                  </a:lnTo>
                  <a:lnTo>
                    <a:pt x="72390" y="294323"/>
                  </a:lnTo>
                  <a:lnTo>
                    <a:pt x="69533" y="293370"/>
                  </a:lnTo>
                  <a:lnTo>
                    <a:pt x="69533" y="293370"/>
                  </a:lnTo>
                  <a:lnTo>
                    <a:pt x="66675" y="292418"/>
                  </a:lnTo>
                  <a:lnTo>
                    <a:pt x="66675" y="292418"/>
                  </a:lnTo>
                  <a:lnTo>
                    <a:pt x="63817" y="291465"/>
                  </a:lnTo>
                  <a:lnTo>
                    <a:pt x="63817" y="291465"/>
                  </a:lnTo>
                  <a:lnTo>
                    <a:pt x="60960" y="289560"/>
                  </a:lnTo>
                  <a:lnTo>
                    <a:pt x="60960" y="289560"/>
                  </a:lnTo>
                  <a:lnTo>
                    <a:pt x="58102" y="287655"/>
                  </a:lnTo>
                  <a:lnTo>
                    <a:pt x="58102" y="287655"/>
                  </a:lnTo>
                  <a:lnTo>
                    <a:pt x="56197" y="285750"/>
                  </a:lnTo>
                  <a:lnTo>
                    <a:pt x="56197" y="285750"/>
                  </a:lnTo>
                  <a:lnTo>
                    <a:pt x="54292" y="283845"/>
                  </a:lnTo>
                  <a:lnTo>
                    <a:pt x="54292" y="283845"/>
                  </a:lnTo>
                  <a:lnTo>
                    <a:pt x="54292" y="283845"/>
                  </a:lnTo>
                  <a:cubicBezTo>
                    <a:pt x="51435" y="281940"/>
                    <a:pt x="47625" y="279083"/>
                    <a:pt x="44767" y="276225"/>
                  </a:cubicBezTo>
                  <a:lnTo>
                    <a:pt x="44767" y="276225"/>
                  </a:lnTo>
                  <a:lnTo>
                    <a:pt x="42863" y="275273"/>
                  </a:lnTo>
                  <a:lnTo>
                    <a:pt x="42863" y="275273"/>
                  </a:lnTo>
                  <a:lnTo>
                    <a:pt x="41910" y="274320"/>
                  </a:lnTo>
                  <a:lnTo>
                    <a:pt x="40958" y="273368"/>
                  </a:lnTo>
                  <a:lnTo>
                    <a:pt x="40005" y="272415"/>
                  </a:lnTo>
                  <a:lnTo>
                    <a:pt x="39052" y="271463"/>
                  </a:lnTo>
                  <a:lnTo>
                    <a:pt x="39052" y="271463"/>
                  </a:lnTo>
                  <a:lnTo>
                    <a:pt x="37147" y="269558"/>
                  </a:lnTo>
                  <a:lnTo>
                    <a:pt x="37147" y="269558"/>
                  </a:lnTo>
                  <a:lnTo>
                    <a:pt x="36195" y="268605"/>
                  </a:lnTo>
                  <a:lnTo>
                    <a:pt x="35242" y="267653"/>
                  </a:lnTo>
                  <a:lnTo>
                    <a:pt x="35242" y="267653"/>
                  </a:lnTo>
                  <a:lnTo>
                    <a:pt x="33338" y="265748"/>
                  </a:lnTo>
                  <a:lnTo>
                    <a:pt x="33338" y="265748"/>
                  </a:lnTo>
                  <a:lnTo>
                    <a:pt x="32385" y="264795"/>
                  </a:lnTo>
                  <a:lnTo>
                    <a:pt x="31433" y="263843"/>
                  </a:lnTo>
                  <a:lnTo>
                    <a:pt x="31433" y="262890"/>
                  </a:lnTo>
                  <a:lnTo>
                    <a:pt x="30480" y="260985"/>
                  </a:lnTo>
                  <a:lnTo>
                    <a:pt x="30480" y="260985"/>
                  </a:lnTo>
                  <a:lnTo>
                    <a:pt x="29527" y="259080"/>
                  </a:lnTo>
                  <a:lnTo>
                    <a:pt x="28575" y="258127"/>
                  </a:lnTo>
                  <a:lnTo>
                    <a:pt x="28575" y="257175"/>
                  </a:lnTo>
                  <a:lnTo>
                    <a:pt x="26670" y="255270"/>
                  </a:lnTo>
                  <a:lnTo>
                    <a:pt x="26670" y="255270"/>
                  </a:lnTo>
                  <a:lnTo>
                    <a:pt x="24765" y="252413"/>
                  </a:lnTo>
                  <a:lnTo>
                    <a:pt x="23813" y="250508"/>
                  </a:lnTo>
                  <a:lnTo>
                    <a:pt x="23813" y="249555"/>
                  </a:lnTo>
                  <a:lnTo>
                    <a:pt x="23813" y="248602"/>
                  </a:lnTo>
                  <a:cubicBezTo>
                    <a:pt x="16192" y="237173"/>
                    <a:pt x="10477" y="223838"/>
                    <a:pt x="5715" y="210502"/>
                  </a:cubicBezTo>
                  <a:lnTo>
                    <a:pt x="5715" y="209550"/>
                  </a:lnTo>
                  <a:cubicBezTo>
                    <a:pt x="4763" y="207645"/>
                    <a:pt x="4763" y="205740"/>
                    <a:pt x="3810" y="202883"/>
                  </a:cubicBezTo>
                  <a:lnTo>
                    <a:pt x="3810" y="202883"/>
                  </a:lnTo>
                  <a:cubicBezTo>
                    <a:pt x="1905" y="197168"/>
                    <a:pt x="952" y="191452"/>
                    <a:pt x="0" y="185738"/>
                  </a:cubicBezTo>
                  <a:lnTo>
                    <a:pt x="0" y="184785"/>
                  </a:lnTo>
                  <a:lnTo>
                    <a:pt x="0" y="181927"/>
                  </a:lnTo>
                  <a:lnTo>
                    <a:pt x="0" y="181927"/>
                  </a:lnTo>
                  <a:lnTo>
                    <a:pt x="0" y="179070"/>
                  </a:lnTo>
                  <a:lnTo>
                    <a:pt x="0" y="178118"/>
                  </a:lnTo>
                  <a:lnTo>
                    <a:pt x="0" y="175260"/>
                  </a:lnTo>
                  <a:lnTo>
                    <a:pt x="0" y="174308"/>
                  </a:lnTo>
                  <a:lnTo>
                    <a:pt x="0" y="171450"/>
                  </a:lnTo>
                  <a:lnTo>
                    <a:pt x="0" y="170498"/>
                  </a:lnTo>
                  <a:lnTo>
                    <a:pt x="0" y="167640"/>
                  </a:lnTo>
                  <a:lnTo>
                    <a:pt x="0" y="166688"/>
                  </a:lnTo>
                  <a:lnTo>
                    <a:pt x="0" y="163830"/>
                  </a:lnTo>
                  <a:lnTo>
                    <a:pt x="0" y="162877"/>
                  </a:lnTo>
                  <a:lnTo>
                    <a:pt x="0" y="160020"/>
                  </a:lnTo>
                  <a:lnTo>
                    <a:pt x="0" y="160020"/>
                  </a:lnTo>
                  <a:lnTo>
                    <a:pt x="0" y="156210"/>
                  </a:lnTo>
                  <a:lnTo>
                    <a:pt x="0" y="156210"/>
                  </a:lnTo>
                  <a:lnTo>
                    <a:pt x="0" y="152400"/>
                  </a:lnTo>
                  <a:lnTo>
                    <a:pt x="0" y="77152"/>
                  </a:lnTo>
                  <a:lnTo>
                    <a:pt x="0" y="952"/>
                  </a:lnTo>
                  <a:lnTo>
                    <a:pt x="72390" y="952"/>
                  </a:lnTo>
                  <a:cubicBezTo>
                    <a:pt x="73342" y="0"/>
                    <a:pt x="74295" y="0"/>
                    <a:pt x="76200" y="0"/>
                  </a:cubicBezTo>
                  <a:close/>
                </a:path>
              </a:pathLst>
            </a:custGeom>
            <a:solidFill>
              <a:schemeClr val="accent5"/>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grpSp>
        <p:nvGrpSpPr>
          <p:cNvPr id="16" name="Group 12">
            <a:extLst>
              <a:ext uri="{FF2B5EF4-FFF2-40B4-BE49-F238E27FC236}">
                <a16:creationId xmlns:a16="http://schemas.microsoft.com/office/drawing/2014/main" id="{4D78817A-4C0F-41AF-9370-0BBA4A768164}"/>
              </a:ext>
            </a:extLst>
          </p:cNvPr>
          <p:cNvGrpSpPr/>
          <p:nvPr/>
        </p:nvGrpSpPr>
        <p:grpSpPr>
          <a:xfrm>
            <a:off x="4138315" y="3003649"/>
            <a:ext cx="1988556" cy="2282430"/>
            <a:chOff x="4138315" y="3003649"/>
            <a:chExt cx="1988556" cy="2282430"/>
          </a:xfrm>
        </p:grpSpPr>
        <p:sp>
          <p:nvSpPr>
            <p:cNvPr id="17" name="Freeform: Shape 93">
              <a:extLst>
                <a:ext uri="{FF2B5EF4-FFF2-40B4-BE49-F238E27FC236}">
                  <a16:creationId xmlns:a16="http://schemas.microsoft.com/office/drawing/2014/main" id="{FDBF393B-7E54-42D4-A3A1-D6A9B24FEFD4}"/>
                </a:ext>
              </a:extLst>
            </p:cNvPr>
            <p:cNvSpPr/>
            <p:nvPr/>
          </p:nvSpPr>
          <p:spPr>
            <a:xfrm>
              <a:off x="5070793" y="3913877"/>
              <a:ext cx="1056078" cy="1372202"/>
            </a:xfrm>
            <a:custGeom>
              <a:avLst/>
              <a:gdLst>
                <a:gd name="connsiteX0" fmla="*/ 838200 w 944879"/>
                <a:gd name="connsiteY0" fmla="*/ 427673 h 1227718"/>
                <a:gd name="connsiteX1" fmla="*/ 120015 w 944879"/>
                <a:gd name="connsiteY1" fmla="*/ 60960 h 1227718"/>
                <a:gd name="connsiteX2" fmla="*/ 0 w 944879"/>
                <a:gd name="connsiteY2" fmla="*/ 0 h 1227718"/>
                <a:gd name="connsiteX3" fmla="*/ 0 w 944879"/>
                <a:gd name="connsiteY3" fmla="*/ 148590 h 1227718"/>
                <a:gd name="connsiteX4" fmla="*/ 777240 w 944879"/>
                <a:gd name="connsiteY4" fmla="*/ 545783 h 1227718"/>
                <a:gd name="connsiteX5" fmla="*/ 811530 w 944879"/>
                <a:gd name="connsiteY5" fmla="*/ 615315 h 1227718"/>
                <a:gd name="connsiteX6" fmla="*/ 811530 w 944879"/>
                <a:gd name="connsiteY6" fmla="*/ 872490 h 1227718"/>
                <a:gd name="connsiteX7" fmla="*/ 811530 w 944879"/>
                <a:gd name="connsiteY7" fmla="*/ 1055370 h 1227718"/>
                <a:gd name="connsiteX8" fmla="*/ 811530 w 944879"/>
                <a:gd name="connsiteY8" fmla="*/ 1203960 h 1227718"/>
                <a:gd name="connsiteX9" fmla="*/ 838200 w 944879"/>
                <a:gd name="connsiteY9" fmla="*/ 1217295 h 1227718"/>
                <a:gd name="connsiteX10" fmla="*/ 944880 w 944879"/>
                <a:gd name="connsiteY10" fmla="*/ 1137285 h 1227718"/>
                <a:gd name="connsiteX11" fmla="*/ 944880 w 944879"/>
                <a:gd name="connsiteY11" fmla="*/ 614363 h 1227718"/>
                <a:gd name="connsiteX12" fmla="*/ 838200 w 944879"/>
                <a:gd name="connsiteY12" fmla="*/ 427673 h 12277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44879" h="1227718">
                  <a:moveTo>
                    <a:pt x="838200" y="427673"/>
                  </a:moveTo>
                  <a:lnTo>
                    <a:pt x="120015" y="60960"/>
                  </a:lnTo>
                  <a:lnTo>
                    <a:pt x="0" y="0"/>
                  </a:lnTo>
                  <a:lnTo>
                    <a:pt x="0" y="148590"/>
                  </a:lnTo>
                  <a:lnTo>
                    <a:pt x="777240" y="545783"/>
                  </a:lnTo>
                  <a:cubicBezTo>
                    <a:pt x="794385" y="556260"/>
                    <a:pt x="811530" y="595313"/>
                    <a:pt x="811530" y="615315"/>
                  </a:cubicBezTo>
                  <a:lnTo>
                    <a:pt x="811530" y="872490"/>
                  </a:lnTo>
                  <a:lnTo>
                    <a:pt x="811530" y="1055370"/>
                  </a:lnTo>
                  <a:lnTo>
                    <a:pt x="811530" y="1203960"/>
                  </a:lnTo>
                  <a:lnTo>
                    <a:pt x="838200" y="1217295"/>
                  </a:lnTo>
                  <a:cubicBezTo>
                    <a:pt x="896303" y="1246823"/>
                    <a:pt x="944880" y="1211580"/>
                    <a:pt x="944880" y="1137285"/>
                  </a:cubicBezTo>
                  <a:lnTo>
                    <a:pt x="944880" y="614363"/>
                  </a:lnTo>
                  <a:cubicBezTo>
                    <a:pt x="943928" y="541972"/>
                    <a:pt x="896303" y="457200"/>
                    <a:pt x="838200" y="427673"/>
                  </a:cubicBezTo>
                  <a:close/>
                </a:path>
              </a:pathLst>
            </a:custGeom>
            <a:solidFill>
              <a:schemeClr val="accent4"/>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8" name="Freeform: Shape 116">
              <a:extLst>
                <a:ext uri="{FF2B5EF4-FFF2-40B4-BE49-F238E27FC236}">
                  <a16:creationId xmlns:a16="http://schemas.microsoft.com/office/drawing/2014/main" id="{9EE7363A-5713-4494-B7A6-F922B3DECDB0}"/>
                </a:ext>
              </a:extLst>
            </p:cNvPr>
            <p:cNvSpPr/>
            <p:nvPr/>
          </p:nvSpPr>
          <p:spPr>
            <a:xfrm>
              <a:off x="4138315" y="3003649"/>
              <a:ext cx="879355" cy="775024"/>
            </a:xfrm>
            <a:custGeom>
              <a:avLst/>
              <a:gdLst>
                <a:gd name="connsiteX0" fmla="*/ 174308 w 786764"/>
                <a:gd name="connsiteY0" fmla="*/ 0 h 693419"/>
                <a:gd name="connsiteX1" fmla="*/ 504825 w 786764"/>
                <a:gd name="connsiteY1" fmla="*/ 0 h 693419"/>
                <a:gd name="connsiteX2" fmla="*/ 786765 w 786764"/>
                <a:gd name="connsiteY2" fmla="*/ 346710 h 693419"/>
                <a:gd name="connsiteX3" fmla="*/ 786765 w 786764"/>
                <a:gd name="connsiteY3" fmla="*/ 693420 h 693419"/>
                <a:gd name="connsiteX4" fmla="*/ 262890 w 786764"/>
                <a:gd name="connsiteY4" fmla="*/ 692468 h 693419"/>
                <a:gd name="connsiteX5" fmla="*/ 0 w 786764"/>
                <a:gd name="connsiteY5" fmla="*/ 346710 h 693419"/>
                <a:gd name="connsiteX6" fmla="*/ 0 w 786764"/>
                <a:gd name="connsiteY6" fmla="*/ 173355 h 693419"/>
                <a:gd name="connsiteX7" fmla="*/ 174308 w 786764"/>
                <a:gd name="connsiteY7" fmla="*/ 0 h 6934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764" h="693419">
                  <a:moveTo>
                    <a:pt x="174308" y="0"/>
                  </a:moveTo>
                  <a:lnTo>
                    <a:pt x="504825" y="0"/>
                  </a:lnTo>
                  <a:cubicBezTo>
                    <a:pt x="660083" y="0"/>
                    <a:pt x="786765" y="156210"/>
                    <a:pt x="786765" y="346710"/>
                  </a:cubicBezTo>
                  <a:lnTo>
                    <a:pt x="786765" y="693420"/>
                  </a:lnTo>
                  <a:lnTo>
                    <a:pt x="262890" y="692468"/>
                  </a:lnTo>
                  <a:cubicBezTo>
                    <a:pt x="116205" y="681037"/>
                    <a:pt x="0" y="528637"/>
                    <a:pt x="0" y="346710"/>
                  </a:cubicBezTo>
                  <a:lnTo>
                    <a:pt x="0" y="173355"/>
                  </a:lnTo>
                  <a:cubicBezTo>
                    <a:pt x="0" y="78105"/>
                    <a:pt x="78105" y="0"/>
                    <a:pt x="174308" y="0"/>
                  </a:cubicBezTo>
                  <a:close/>
                </a:path>
              </a:pathLst>
            </a:custGeom>
            <a:solidFill>
              <a:schemeClr val="accent4"/>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9" name="Freeform: Shape 117">
              <a:extLst>
                <a:ext uri="{FF2B5EF4-FFF2-40B4-BE49-F238E27FC236}">
                  <a16:creationId xmlns:a16="http://schemas.microsoft.com/office/drawing/2014/main" id="{F96468F6-4A27-494D-8A7F-29C46B5076F7}"/>
                </a:ext>
              </a:extLst>
            </p:cNvPr>
            <p:cNvSpPr/>
            <p:nvPr/>
          </p:nvSpPr>
          <p:spPr>
            <a:xfrm>
              <a:off x="5058019" y="3809548"/>
              <a:ext cx="568493" cy="502488"/>
            </a:xfrm>
            <a:custGeom>
              <a:avLst/>
              <a:gdLst>
                <a:gd name="connsiteX0" fmla="*/ 396240 w 508634"/>
                <a:gd name="connsiteY0" fmla="*/ 449580 h 449579"/>
                <a:gd name="connsiteX1" fmla="*/ 181927 w 508634"/>
                <a:gd name="connsiteY1" fmla="*/ 449580 h 449579"/>
                <a:gd name="connsiteX2" fmla="*/ 0 w 508634"/>
                <a:gd name="connsiteY2" fmla="*/ 224790 h 449579"/>
                <a:gd name="connsiteX3" fmla="*/ 0 w 508634"/>
                <a:gd name="connsiteY3" fmla="*/ 0 h 449579"/>
                <a:gd name="connsiteX4" fmla="*/ 338138 w 508634"/>
                <a:gd name="connsiteY4" fmla="*/ 952 h 449579"/>
                <a:gd name="connsiteX5" fmla="*/ 508635 w 508634"/>
                <a:gd name="connsiteY5" fmla="*/ 224790 h 449579"/>
                <a:gd name="connsiteX6" fmla="*/ 508635 w 508634"/>
                <a:gd name="connsiteY6" fmla="*/ 337185 h 449579"/>
                <a:gd name="connsiteX7" fmla="*/ 396240 w 508634"/>
                <a:gd name="connsiteY7" fmla="*/ 449580 h 449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8634" h="449579">
                  <a:moveTo>
                    <a:pt x="396240" y="449580"/>
                  </a:moveTo>
                  <a:lnTo>
                    <a:pt x="181927" y="449580"/>
                  </a:lnTo>
                  <a:cubicBezTo>
                    <a:pt x="81915" y="449580"/>
                    <a:pt x="0" y="348615"/>
                    <a:pt x="0" y="224790"/>
                  </a:cubicBezTo>
                  <a:lnTo>
                    <a:pt x="0" y="0"/>
                  </a:lnTo>
                  <a:lnTo>
                    <a:pt x="338138" y="952"/>
                  </a:lnTo>
                  <a:cubicBezTo>
                    <a:pt x="433388" y="8572"/>
                    <a:pt x="508635" y="106680"/>
                    <a:pt x="508635" y="224790"/>
                  </a:cubicBezTo>
                  <a:lnTo>
                    <a:pt x="508635" y="337185"/>
                  </a:lnTo>
                  <a:cubicBezTo>
                    <a:pt x="508635" y="399097"/>
                    <a:pt x="458153" y="449580"/>
                    <a:pt x="396240" y="449580"/>
                  </a:cubicBezTo>
                  <a:close/>
                </a:path>
              </a:pathLst>
            </a:custGeom>
            <a:solidFill>
              <a:schemeClr val="accent4"/>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useBgFill="1">
          <p:nvSpPr>
            <p:cNvPr id="20" name="Freeform: Shape 118">
              <a:extLst>
                <a:ext uri="{FF2B5EF4-FFF2-40B4-BE49-F238E27FC236}">
                  <a16:creationId xmlns:a16="http://schemas.microsoft.com/office/drawing/2014/main" id="{4C9AB557-17C2-4A82-8B50-B8A441D4B551}"/>
                </a:ext>
              </a:extLst>
            </p:cNvPr>
            <p:cNvSpPr/>
            <p:nvPr/>
          </p:nvSpPr>
          <p:spPr>
            <a:xfrm>
              <a:off x="5104328" y="3856923"/>
              <a:ext cx="475874" cy="407739"/>
            </a:xfrm>
            <a:custGeom>
              <a:avLst/>
              <a:gdLst>
                <a:gd name="connsiteX0" fmla="*/ 0 w 425767"/>
                <a:gd name="connsiteY0" fmla="*/ 0 h 364807"/>
                <a:gd name="connsiteX1" fmla="*/ 295275 w 425767"/>
                <a:gd name="connsiteY1" fmla="*/ 0 h 364807"/>
                <a:gd name="connsiteX2" fmla="*/ 425768 w 425767"/>
                <a:gd name="connsiteY2" fmla="*/ 181927 h 364807"/>
                <a:gd name="connsiteX3" fmla="*/ 425768 w 425767"/>
                <a:gd name="connsiteY3" fmla="*/ 294322 h 364807"/>
                <a:gd name="connsiteX4" fmla="*/ 355282 w 425767"/>
                <a:gd name="connsiteY4" fmla="*/ 364807 h 364807"/>
                <a:gd name="connsiteX5" fmla="*/ 140970 w 425767"/>
                <a:gd name="connsiteY5" fmla="*/ 364807 h 364807"/>
                <a:gd name="connsiteX6" fmla="*/ 0 w 425767"/>
                <a:gd name="connsiteY6" fmla="*/ 181927 h 364807"/>
                <a:gd name="connsiteX7" fmla="*/ 0 w 425767"/>
                <a:gd name="connsiteY7" fmla="*/ 0 h 364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5767" h="364807">
                  <a:moveTo>
                    <a:pt x="0" y="0"/>
                  </a:moveTo>
                  <a:lnTo>
                    <a:pt x="295275" y="0"/>
                  </a:lnTo>
                  <a:cubicBezTo>
                    <a:pt x="381000" y="7620"/>
                    <a:pt x="425768" y="105727"/>
                    <a:pt x="425768" y="181927"/>
                  </a:cubicBezTo>
                  <a:lnTo>
                    <a:pt x="425768" y="294322"/>
                  </a:lnTo>
                  <a:cubicBezTo>
                    <a:pt x="425768" y="333375"/>
                    <a:pt x="393382" y="364807"/>
                    <a:pt x="355282" y="364807"/>
                  </a:cubicBezTo>
                  <a:lnTo>
                    <a:pt x="140970" y="364807"/>
                  </a:lnTo>
                  <a:cubicBezTo>
                    <a:pt x="50482" y="364807"/>
                    <a:pt x="0" y="261938"/>
                    <a:pt x="0" y="181927"/>
                  </a:cubicBezTo>
                  <a:lnTo>
                    <a:pt x="0" y="0"/>
                  </a:lnTo>
                  <a:close/>
                </a:path>
              </a:pathLst>
            </a:custGeom>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1" name="Freeform: Shape 119">
              <a:extLst>
                <a:ext uri="{FF2B5EF4-FFF2-40B4-BE49-F238E27FC236}">
                  <a16:creationId xmlns:a16="http://schemas.microsoft.com/office/drawing/2014/main" id="{BC2CF6DB-208D-4E33-856D-C4F631F8D4D5}"/>
                </a:ext>
              </a:extLst>
            </p:cNvPr>
            <p:cNvSpPr/>
            <p:nvPr/>
          </p:nvSpPr>
          <p:spPr>
            <a:xfrm>
              <a:off x="4648149" y="3810612"/>
              <a:ext cx="374737" cy="339605"/>
            </a:xfrm>
            <a:custGeom>
              <a:avLst/>
              <a:gdLst>
                <a:gd name="connsiteX0" fmla="*/ 259080 w 335279"/>
                <a:gd name="connsiteY0" fmla="*/ 0 h 303847"/>
                <a:gd name="connsiteX1" fmla="*/ 114300 w 335279"/>
                <a:gd name="connsiteY1" fmla="*/ 0 h 303847"/>
                <a:gd name="connsiteX2" fmla="*/ 91440 w 335279"/>
                <a:gd name="connsiteY2" fmla="*/ 2858 h 303847"/>
                <a:gd name="connsiteX3" fmla="*/ 91440 w 335279"/>
                <a:gd name="connsiteY3" fmla="*/ 2858 h 303847"/>
                <a:gd name="connsiteX4" fmla="*/ 85725 w 335279"/>
                <a:gd name="connsiteY4" fmla="*/ 4763 h 303847"/>
                <a:gd name="connsiteX5" fmla="*/ 84773 w 335279"/>
                <a:gd name="connsiteY5" fmla="*/ 4763 h 303847"/>
                <a:gd name="connsiteX6" fmla="*/ 82868 w 335279"/>
                <a:gd name="connsiteY6" fmla="*/ 5715 h 303847"/>
                <a:gd name="connsiteX7" fmla="*/ 82868 w 335279"/>
                <a:gd name="connsiteY7" fmla="*/ 5715 h 303847"/>
                <a:gd name="connsiteX8" fmla="*/ 80963 w 335279"/>
                <a:gd name="connsiteY8" fmla="*/ 6667 h 303847"/>
                <a:gd name="connsiteX9" fmla="*/ 80010 w 335279"/>
                <a:gd name="connsiteY9" fmla="*/ 6667 h 303847"/>
                <a:gd name="connsiteX10" fmla="*/ 79057 w 335279"/>
                <a:gd name="connsiteY10" fmla="*/ 6667 h 303847"/>
                <a:gd name="connsiteX11" fmla="*/ 77152 w 335279"/>
                <a:gd name="connsiteY11" fmla="*/ 7620 h 303847"/>
                <a:gd name="connsiteX12" fmla="*/ 75248 w 335279"/>
                <a:gd name="connsiteY12" fmla="*/ 8573 h 303847"/>
                <a:gd name="connsiteX13" fmla="*/ 75248 w 335279"/>
                <a:gd name="connsiteY13" fmla="*/ 8573 h 303847"/>
                <a:gd name="connsiteX14" fmla="*/ 72390 w 335279"/>
                <a:gd name="connsiteY14" fmla="*/ 9525 h 303847"/>
                <a:gd name="connsiteX15" fmla="*/ 72390 w 335279"/>
                <a:gd name="connsiteY15" fmla="*/ 9525 h 303847"/>
                <a:gd name="connsiteX16" fmla="*/ 69532 w 335279"/>
                <a:gd name="connsiteY16" fmla="*/ 10478 h 303847"/>
                <a:gd name="connsiteX17" fmla="*/ 69532 w 335279"/>
                <a:gd name="connsiteY17" fmla="*/ 10478 h 303847"/>
                <a:gd name="connsiteX18" fmla="*/ 66675 w 335279"/>
                <a:gd name="connsiteY18" fmla="*/ 11430 h 303847"/>
                <a:gd name="connsiteX19" fmla="*/ 66675 w 335279"/>
                <a:gd name="connsiteY19" fmla="*/ 11430 h 303847"/>
                <a:gd name="connsiteX20" fmla="*/ 63818 w 335279"/>
                <a:gd name="connsiteY20" fmla="*/ 13335 h 303847"/>
                <a:gd name="connsiteX21" fmla="*/ 63818 w 335279"/>
                <a:gd name="connsiteY21" fmla="*/ 13335 h 303847"/>
                <a:gd name="connsiteX22" fmla="*/ 60960 w 335279"/>
                <a:gd name="connsiteY22" fmla="*/ 15240 h 303847"/>
                <a:gd name="connsiteX23" fmla="*/ 60960 w 335279"/>
                <a:gd name="connsiteY23" fmla="*/ 15240 h 303847"/>
                <a:gd name="connsiteX24" fmla="*/ 58102 w 335279"/>
                <a:gd name="connsiteY24" fmla="*/ 17145 h 303847"/>
                <a:gd name="connsiteX25" fmla="*/ 58102 w 335279"/>
                <a:gd name="connsiteY25" fmla="*/ 17145 h 303847"/>
                <a:gd name="connsiteX26" fmla="*/ 56198 w 335279"/>
                <a:gd name="connsiteY26" fmla="*/ 19050 h 303847"/>
                <a:gd name="connsiteX27" fmla="*/ 56198 w 335279"/>
                <a:gd name="connsiteY27" fmla="*/ 19050 h 303847"/>
                <a:gd name="connsiteX28" fmla="*/ 54293 w 335279"/>
                <a:gd name="connsiteY28" fmla="*/ 20955 h 303847"/>
                <a:gd name="connsiteX29" fmla="*/ 54293 w 335279"/>
                <a:gd name="connsiteY29" fmla="*/ 20955 h 303847"/>
                <a:gd name="connsiteX30" fmla="*/ 54293 w 335279"/>
                <a:gd name="connsiteY30" fmla="*/ 20955 h 303847"/>
                <a:gd name="connsiteX31" fmla="*/ 44768 w 335279"/>
                <a:gd name="connsiteY31" fmla="*/ 28575 h 303847"/>
                <a:gd name="connsiteX32" fmla="*/ 44768 w 335279"/>
                <a:gd name="connsiteY32" fmla="*/ 28575 h 303847"/>
                <a:gd name="connsiteX33" fmla="*/ 42863 w 335279"/>
                <a:gd name="connsiteY33" fmla="*/ 29528 h 303847"/>
                <a:gd name="connsiteX34" fmla="*/ 42863 w 335279"/>
                <a:gd name="connsiteY34" fmla="*/ 29528 h 303847"/>
                <a:gd name="connsiteX35" fmla="*/ 41910 w 335279"/>
                <a:gd name="connsiteY35" fmla="*/ 30480 h 303847"/>
                <a:gd name="connsiteX36" fmla="*/ 40957 w 335279"/>
                <a:gd name="connsiteY36" fmla="*/ 31433 h 303847"/>
                <a:gd name="connsiteX37" fmla="*/ 40005 w 335279"/>
                <a:gd name="connsiteY37" fmla="*/ 32385 h 303847"/>
                <a:gd name="connsiteX38" fmla="*/ 39052 w 335279"/>
                <a:gd name="connsiteY38" fmla="*/ 33338 h 303847"/>
                <a:gd name="connsiteX39" fmla="*/ 39052 w 335279"/>
                <a:gd name="connsiteY39" fmla="*/ 33338 h 303847"/>
                <a:gd name="connsiteX40" fmla="*/ 37148 w 335279"/>
                <a:gd name="connsiteY40" fmla="*/ 35242 h 303847"/>
                <a:gd name="connsiteX41" fmla="*/ 37148 w 335279"/>
                <a:gd name="connsiteY41" fmla="*/ 35242 h 303847"/>
                <a:gd name="connsiteX42" fmla="*/ 36195 w 335279"/>
                <a:gd name="connsiteY42" fmla="*/ 36195 h 303847"/>
                <a:gd name="connsiteX43" fmla="*/ 35243 w 335279"/>
                <a:gd name="connsiteY43" fmla="*/ 37148 h 303847"/>
                <a:gd name="connsiteX44" fmla="*/ 35243 w 335279"/>
                <a:gd name="connsiteY44" fmla="*/ 37148 h 303847"/>
                <a:gd name="connsiteX45" fmla="*/ 33338 w 335279"/>
                <a:gd name="connsiteY45" fmla="*/ 39053 h 303847"/>
                <a:gd name="connsiteX46" fmla="*/ 33338 w 335279"/>
                <a:gd name="connsiteY46" fmla="*/ 39053 h 303847"/>
                <a:gd name="connsiteX47" fmla="*/ 32385 w 335279"/>
                <a:gd name="connsiteY47" fmla="*/ 40005 h 303847"/>
                <a:gd name="connsiteX48" fmla="*/ 31432 w 335279"/>
                <a:gd name="connsiteY48" fmla="*/ 40958 h 303847"/>
                <a:gd name="connsiteX49" fmla="*/ 31432 w 335279"/>
                <a:gd name="connsiteY49" fmla="*/ 41910 h 303847"/>
                <a:gd name="connsiteX50" fmla="*/ 30480 w 335279"/>
                <a:gd name="connsiteY50" fmla="*/ 43815 h 303847"/>
                <a:gd name="connsiteX51" fmla="*/ 30480 w 335279"/>
                <a:gd name="connsiteY51" fmla="*/ 43815 h 303847"/>
                <a:gd name="connsiteX52" fmla="*/ 29527 w 335279"/>
                <a:gd name="connsiteY52" fmla="*/ 45720 h 303847"/>
                <a:gd name="connsiteX53" fmla="*/ 28575 w 335279"/>
                <a:gd name="connsiteY53" fmla="*/ 46673 h 303847"/>
                <a:gd name="connsiteX54" fmla="*/ 28575 w 335279"/>
                <a:gd name="connsiteY54" fmla="*/ 47625 h 303847"/>
                <a:gd name="connsiteX55" fmla="*/ 26670 w 335279"/>
                <a:gd name="connsiteY55" fmla="*/ 49530 h 303847"/>
                <a:gd name="connsiteX56" fmla="*/ 26670 w 335279"/>
                <a:gd name="connsiteY56" fmla="*/ 49530 h 303847"/>
                <a:gd name="connsiteX57" fmla="*/ 24765 w 335279"/>
                <a:gd name="connsiteY57" fmla="*/ 52388 h 303847"/>
                <a:gd name="connsiteX58" fmla="*/ 23813 w 335279"/>
                <a:gd name="connsiteY58" fmla="*/ 54292 h 303847"/>
                <a:gd name="connsiteX59" fmla="*/ 23813 w 335279"/>
                <a:gd name="connsiteY59" fmla="*/ 55245 h 303847"/>
                <a:gd name="connsiteX60" fmla="*/ 23813 w 335279"/>
                <a:gd name="connsiteY60" fmla="*/ 56198 h 303847"/>
                <a:gd name="connsiteX61" fmla="*/ 5715 w 335279"/>
                <a:gd name="connsiteY61" fmla="*/ 94298 h 303847"/>
                <a:gd name="connsiteX62" fmla="*/ 5715 w 335279"/>
                <a:gd name="connsiteY62" fmla="*/ 95250 h 303847"/>
                <a:gd name="connsiteX63" fmla="*/ 3810 w 335279"/>
                <a:gd name="connsiteY63" fmla="*/ 101917 h 303847"/>
                <a:gd name="connsiteX64" fmla="*/ 3810 w 335279"/>
                <a:gd name="connsiteY64" fmla="*/ 101917 h 303847"/>
                <a:gd name="connsiteX65" fmla="*/ 0 w 335279"/>
                <a:gd name="connsiteY65" fmla="*/ 119063 h 303847"/>
                <a:gd name="connsiteX66" fmla="*/ 0 w 335279"/>
                <a:gd name="connsiteY66" fmla="*/ 120015 h 303847"/>
                <a:gd name="connsiteX67" fmla="*/ 0 w 335279"/>
                <a:gd name="connsiteY67" fmla="*/ 122873 h 303847"/>
                <a:gd name="connsiteX68" fmla="*/ 0 w 335279"/>
                <a:gd name="connsiteY68" fmla="*/ 122873 h 303847"/>
                <a:gd name="connsiteX69" fmla="*/ 0 w 335279"/>
                <a:gd name="connsiteY69" fmla="*/ 125730 h 303847"/>
                <a:gd name="connsiteX70" fmla="*/ 0 w 335279"/>
                <a:gd name="connsiteY70" fmla="*/ 126683 h 303847"/>
                <a:gd name="connsiteX71" fmla="*/ 0 w 335279"/>
                <a:gd name="connsiteY71" fmla="*/ 129540 h 303847"/>
                <a:gd name="connsiteX72" fmla="*/ 0 w 335279"/>
                <a:gd name="connsiteY72" fmla="*/ 130492 h 303847"/>
                <a:gd name="connsiteX73" fmla="*/ 0 w 335279"/>
                <a:gd name="connsiteY73" fmla="*/ 133350 h 303847"/>
                <a:gd name="connsiteX74" fmla="*/ 0 w 335279"/>
                <a:gd name="connsiteY74" fmla="*/ 134303 h 303847"/>
                <a:gd name="connsiteX75" fmla="*/ 0 w 335279"/>
                <a:gd name="connsiteY75" fmla="*/ 137160 h 303847"/>
                <a:gd name="connsiteX76" fmla="*/ 0 w 335279"/>
                <a:gd name="connsiteY76" fmla="*/ 138113 h 303847"/>
                <a:gd name="connsiteX77" fmla="*/ 0 w 335279"/>
                <a:gd name="connsiteY77" fmla="*/ 140970 h 303847"/>
                <a:gd name="connsiteX78" fmla="*/ 0 w 335279"/>
                <a:gd name="connsiteY78" fmla="*/ 141923 h 303847"/>
                <a:gd name="connsiteX79" fmla="*/ 0 w 335279"/>
                <a:gd name="connsiteY79" fmla="*/ 144780 h 303847"/>
                <a:gd name="connsiteX80" fmla="*/ 0 w 335279"/>
                <a:gd name="connsiteY80" fmla="*/ 144780 h 303847"/>
                <a:gd name="connsiteX81" fmla="*/ 0 w 335279"/>
                <a:gd name="connsiteY81" fmla="*/ 148590 h 303847"/>
                <a:gd name="connsiteX82" fmla="*/ 0 w 335279"/>
                <a:gd name="connsiteY82" fmla="*/ 148590 h 303847"/>
                <a:gd name="connsiteX83" fmla="*/ 0 w 335279"/>
                <a:gd name="connsiteY83" fmla="*/ 152400 h 303847"/>
                <a:gd name="connsiteX84" fmla="*/ 0 w 335279"/>
                <a:gd name="connsiteY84" fmla="*/ 227648 h 303847"/>
                <a:gd name="connsiteX85" fmla="*/ 0 w 335279"/>
                <a:gd name="connsiteY85" fmla="*/ 303848 h 303847"/>
                <a:gd name="connsiteX86" fmla="*/ 72390 w 335279"/>
                <a:gd name="connsiteY86" fmla="*/ 303848 h 303847"/>
                <a:gd name="connsiteX87" fmla="*/ 76200 w 335279"/>
                <a:gd name="connsiteY87" fmla="*/ 303848 h 303847"/>
                <a:gd name="connsiteX88" fmla="*/ 220980 w 335279"/>
                <a:gd name="connsiteY88" fmla="*/ 303848 h 303847"/>
                <a:gd name="connsiteX89" fmla="*/ 243840 w 335279"/>
                <a:gd name="connsiteY89" fmla="*/ 300990 h 303847"/>
                <a:gd name="connsiteX90" fmla="*/ 243840 w 335279"/>
                <a:gd name="connsiteY90" fmla="*/ 300990 h 303847"/>
                <a:gd name="connsiteX91" fmla="*/ 249555 w 335279"/>
                <a:gd name="connsiteY91" fmla="*/ 299085 h 303847"/>
                <a:gd name="connsiteX92" fmla="*/ 250508 w 335279"/>
                <a:gd name="connsiteY92" fmla="*/ 299085 h 303847"/>
                <a:gd name="connsiteX93" fmla="*/ 252413 w 335279"/>
                <a:gd name="connsiteY93" fmla="*/ 298133 h 303847"/>
                <a:gd name="connsiteX94" fmla="*/ 252413 w 335279"/>
                <a:gd name="connsiteY94" fmla="*/ 298133 h 303847"/>
                <a:gd name="connsiteX95" fmla="*/ 254317 w 335279"/>
                <a:gd name="connsiteY95" fmla="*/ 297180 h 303847"/>
                <a:gd name="connsiteX96" fmla="*/ 255270 w 335279"/>
                <a:gd name="connsiteY96" fmla="*/ 297180 h 303847"/>
                <a:gd name="connsiteX97" fmla="*/ 256223 w 335279"/>
                <a:gd name="connsiteY97" fmla="*/ 297180 h 303847"/>
                <a:gd name="connsiteX98" fmla="*/ 258127 w 335279"/>
                <a:gd name="connsiteY98" fmla="*/ 296228 h 303847"/>
                <a:gd name="connsiteX99" fmla="*/ 260033 w 335279"/>
                <a:gd name="connsiteY99" fmla="*/ 295275 h 303847"/>
                <a:gd name="connsiteX100" fmla="*/ 260033 w 335279"/>
                <a:gd name="connsiteY100" fmla="*/ 295275 h 303847"/>
                <a:gd name="connsiteX101" fmla="*/ 262890 w 335279"/>
                <a:gd name="connsiteY101" fmla="*/ 294323 h 303847"/>
                <a:gd name="connsiteX102" fmla="*/ 262890 w 335279"/>
                <a:gd name="connsiteY102" fmla="*/ 294323 h 303847"/>
                <a:gd name="connsiteX103" fmla="*/ 265748 w 335279"/>
                <a:gd name="connsiteY103" fmla="*/ 293370 h 303847"/>
                <a:gd name="connsiteX104" fmla="*/ 265748 w 335279"/>
                <a:gd name="connsiteY104" fmla="*/ 293370 h 303847"/>
                <a:gd name="connsiteX105" fmla="*/ 268605 w 335279"/>
                <a:gd name="connsiteY105" fmla="*/ 292417 h 303847"/>
                <a:gd name="connsiteX106" fmla="*/ 268605 w 335279"/>
                <a:gd name="connsiteY106" fmla="*/ 292417 h 303847"/>
                <a:gd name="connsiteX107" fmla="*/ 271463 w 335279"/>
                <a:gd name="connsiteY107" fmla="*/ 290513 h 303847"/>
                <a:gd name="connsiteX108" fmla="*/ 271463 w 335279"/>
                <a:gd name="connsiteY108" fmla="*/ 290513 h 303847"/>
                <a:gd name="connsiteX109" fmla="*/ 274320 w 335279"/>
                <a:gd name="connsiteY109" fmla="*/ 288608 h 303847"/>
                <a:gd name="connsiteX110" fmla="*/ 274320 w 335279"/>
                <a:gd name="connsiteY110" fmla="*/ 288608 h 303847"/>
                <a:gd name="connsiteX111" fmla="*/ 277178 w 335279"/>
                <a:gd name="connsiteY111" fmla="*/ 286703 h 303847"/>
                <a:gd name="connsiteX112" fmla="*/ 277178 w 335279"/>
                <a:gd name="connsiteY112" fmla="*/ 286703 h 303847"/>
                <a:gd name="connsiteX113" fmla="*/ 279083 w 335279"/>
                <a:gd name="connsiteY113" fmla="*/ 284798 h 303847"/>
                <a:gd name="connsiteX114" fmla="*/ 279083 w 335279"/>
                <a:gd name="connsiteY114" fmla="*/ 284798 h 303847"/>
                <a:gd name="connsiteX115" fmla="*/ 280988 w 335279"/>
                <a:gd name="connsiteY115" fmla="*/ 282892 h 303847"/>
                <a:gd name="connsiteX116" fmla="*/ 280988 w 335279"/>
                <a:gd name="connsiteY116" fmla="*/ 282892 h 303847"/>
                <a:gd name="connsiteX117" fmla="*/ 280988 w 335279"/>
                <a:gd name="connsiteY117" fmla="*/ 282892 h 303847"/>
                <a:gd name="connsiteX118" fmla="*/ 290513 w 335279"/>
                <a:gd name="connsiteY118" fmla="*/ 275273 h 303847"/>
                <a:gd name="connsiteX119" fmla="*/ 290513 w 335279"/>
                <a:gd name="connsiteY119" fmla="*/ 275273 h 303847"/>
                <a:gd name="connsiteX120" fmla="*/ 292417 w 335279"/>
                <a:gd name="connsiteY120" fmla="*/ 274320 h 303847"/>
                <a:gd name="connsiteX121" fmla="*/ 292417 w 335279"/>
                <a:gd name="connsiteY121" fmla="*/ 274320 h 303847"/>
                <a:gd name="connsiteX122" fmla="*/ 293370 w 335279"/>
                <a:gd name="connsiteY122" fmla="*/ 273367 h 303847"/>
                <a:gd name="connsiteX123" fmla="*/ 294323 w 335279"/>
                <a:gd name="connsiteY123" fmla="*/ 272415 h 303847"/>
                <a:gd name="connsiteX124" fmla="*/ 295275 w 335279"/>
                <a:gd name="connsiteY124" fmla="*/ 271463 h 303847"/>
                <a:gd name="connsiteX125" fmla="*/ 296228 w 335279"/>
                <a:gd name="connsiteY125" fmla="*/ 270510 h 303847"/>
                <a:gd name="connsiteX126" fmla="*/ 296228 w 335279"/>
                <a:gd name="connsiteY126" fmla="*/ 270510 h 303847"/>
                <a:gd name="connsiteX127" fmla="*/ 298133 w 335279"/>
                <a:gd name="connsiteY127" fmla="*/ 268605 h 303847"/>
                <a:gd name="connsiteX128" fmla="*/ 298133 w 335279"/>
                <a:gd name="connsiteY128" fmla="*/ 268605 h 303847"/>
                <a:gd name="connsiteX129" fmla="*/ 299085 w 335279"/>
                <a:gd name="connsiteY129" fmla="*/ 267653 h 303847"/>
                <a:gd name="connsiteX130" fmla="*/ 300038 w 335279"/>
                <a:gd name="connsiteY130" fmla="*/ 266700 h 303847"/>
                <a:gd name="connsiteX131" fmla="*/ 300038 w 335279"/>
                <a:gd name="connsiteY131" fmla="*/ 266700 h 303847"/>
                <a:gd name="connsiteX132" fmla="*/ 301942 w 335279"/>
                <a:gd name="connsiteY132" fmla="*/ 264795 h 303847"/>
                <a:gd name="connsiteX133" fmla="*/ 301942 w 335279"/>
                <a:gd name="connsiteY133" fmla="*/ 264795 h 303847"/>
                <a:gd name="connsiteX134" fmla="*/ 302895 w 335279"/>
                <a:gd name="connsiteY134" fmla="*/ 263842 h 303847"/>
                <a:gd name="connsiteX135" fmla="*/ 303848 w 335279"/>
                <a:gd name="connsiteY135" fmla="*/ 262890 h 303847"/>
                <a:gd name="connsiteX136" fmla="*/ 303848 w 335279"/>
                <a:gd name="connsiteY136" fmla="*/ 261938 h 303847"/>
                <a:gd name="connsiteX137" fmla="*/ 304800 w 335279"/>
                <a:gd name="connsiteY137" fmla="*/ 260033 h 303847"/>
                <a:gd name="connsiteX138" fmla="*/ 304800 w 335279"/>
                <a:gd name="connsiteY138" fmla="*/ 260033 h 303847"/>
                <a:gd name="connsiteX139" fmla="*/ 305753 w 335279"/>
                <a:gd name="connsiteY139" fmla="*/ 258128 h 303847"/>
                <a:gd name="connsiteX140" fmla="*/ 306705 w 335279"/>
                <a:gd name="connsiteY140" fmla="*/ 257175 h 303847"/>
                <a:gd name="connsiteX141" fmla="*/ 306705 w 335279"/>
                <a:gd name="connsiteY141" fmla="*/ 256223 h 303847"/>
                <a:gd name="connsiteX142" fmla="*/ 308610 w 335279"/>
                <a:gd name="connsiteY142" fmla="*/ 254317 h 303847"/>
                <a:gd name="connsiteX143" fmla="*/ 308610 w 335279"/>
                <a:gd name="connsiteY143" fmla="*/ 254317 h 303847"/>
                <a:gd name="connsiteX144" fmla="*/ 310515 w 335279"/>
                <a:gd name="connsiteY144" fmla="*/ 251460 h 303847"/>
                <a:gd name="connsiteX145" fmla="*/ 311467 w 335279"/>
                <a:gd name="connsiteY145" fmla="*/ 249555 h 303847"/>
                <a:gd name="connsiteX146" fmla="*/ 311467 w 335279"/>
                <a:gd name="connsiteY146" fmla="*/ 248603 h 303847"/>
                <a:gd name="connsiteX147" fmla="*/ 311467 w 335279"/>
                <a:gd name="connsiteY147" fmla="*/ 247650 h 303847"/>
                <a:gd name="connsiteX148" fmla="*/ 329565 w 335279"/>
                <a:gd name="connsiteY148" fmla="*/ 209550 h 303847"/>
                <a:gd name="connsiteX149" fmla="*/ 329565 w 335279"/>
                <a:gd name="connsiteY149" fmla="*/ 208598 h 303847"/>
                <a:gd name="connsiteX150" fmla="*/ 331470 w 335279"/>
                <a:gd name="connsiteY150" fmla="*/ 201930 h 303847"/>
                <a:gd name="connsiteX151" fmla="*/ 331470 w 335279"/>
                <a:gd name="connsiteY151" fmla="*/ 201930 h 303847"/>
                <a:gd name="connsiteX152" fmla="*/ 335280 w 335279"/>
                <a:gd name="connsiteY152" fmla="*/ 184785 h 303847"/>
                <a:gd name="connsiteX153" fmla="*/ 335280 w 335279"/>
                <a:gd name="connsiteY153" fmla="*/ 183833 h 303847"/>
                <a:gd name="connsiteX154" fmla="*/ 335280 w 335279"/>
                <a:gd name="connsiteY154" fmla="*/ 180975 h 303847"/>
                <a:gd name="connsiteX155" fmla="*/ 335280 w 335279"/>
                <a:gd name="connsiteY155" fmla="*/ 180975 h 303847"/>
                <a:gd name="connsiteX156" fmla="*/ 335280 w 335279"/>
                <a:gd name="connsiteY156" fmla="*/ 178117 h 303847"/>
                <a:gd name="connsiteX157" fmla="*/ 335280 w 335279"/>
                <a:gd name="connsiteY157" fmla="*/ 177165 h 303847"/>
                <a:gd name="connsiteX158" fmla="*/ 335280 w 335279"/>
                <a:gd name="connsiteY158" fmla="*/ 174308 h 303847"/>
                <a:gd name="connsiteX159" fmla="*/ 335280 w 335279"/>
                <a:gd name="connsiteY159" fmla="*/ 173355 h 303847"/>
                <a:gd name="connsiteX160" fmla="*/ 335280 w 335279"/>
                <a:gd name="connsiteY160" fmla="*/ 170498 h 303847"/>
                <a:gd name="connsiteX161" fmla="*/ 335280 w 335279"/>
                <a:gd name="connsiteY161" fmla="*/ 169545 h 303847"/>
                <a:gd name="connsiteX162" fmla="*/ 335280 w 335279"/>
                <a:gd name="connsiteY162" fmla="*/ 166688 h 303847"/>
                <a:gd name="connsiteX163" fmla="*/ 335280 w 335279"/>
                <a:gd name="connsiteY163" fmla="*/ 165735 h 303847"/>
                <a:gd name="connsiteX164" fmla="*/ 335280 w 335279"/>
                <a:gd name="connsiteY164" fmla="*/ 162878 h 303847"/>
                <a:gd name="connsiteX165" fmla="*/ 335280 w 335279"/>
                <a:gd name="connsiteY165" fmla="*/ 161925 h 303847"/>
                <a:gd name="connsiteX166" fmla="*/ 335280 w 335279"/>
                <a:gd name="connsiteY166" fmla="*/ 159067 h 303847"/>
                <a:gd name="connsiteX167" fmla="*/ 335280 w 335279"/>
                <a:gd name="connsiteY167" fmla="*/ 159067 h 303847"/>
                <a:gd name="connsiteX168" fmla="*/ 335280 w 335279"/>
                <a:gd name="connsiteY168" fmla="*/ 155258 h 303847"/>
                <a:gd name="connsiteX169" fmla="*/ 335280 w 335279"/>
                <a:gd name="connsiteY169" fmla="*/ 155258 h 303847"/>
                <a:gd name="connsiteX170" fmla="*/ 335280 w 335279"/>
                <a:gd name="connsiteY170" fmla="*/ 151448 h 303847"/>
                <a:gd name="connsiteX171" fmla="*/ 335280 w 335279"/>
                <a:gd name="connsiteY171" fmla="*/ 76200 h 303847"/>
                <a:gd name="connsiteX172" fmla="*/ 335280 w 335279"/>
                <a:gd name="connsiteY172" fmla="*/ 0 h 303847"/>
                <a:gd name="connsiteX173" fmla="*/ 262890 w 335279"/>
                <a:gd name="connsiteY173" fmla="*/ 0 h 303847"/>
                <a:gd name="connsiteX174" fmla="*/ 259080 w 335279"/>
                <a:gd name="connsiteY174" fmla="*/ 0 h 303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Lst>
              <a:rect l="l" t="t" r="r" b="b"/>
              <a:pathLst>
                <a:path w="335279" h="303847">
                  <a:moveTo>
                    <a:pt x="259080" y="0"/>
                  </a:moveTo>
                  <a:lnTo>
                    <a:pt x="114300" y="0"/>
                  </a:lnTo>
                  <a:cubicBezTo>
                    <a:pt x="106680" y="0"/>
                    <a:pt x="99060" y="953"/>
                    <a:pt x="91440" y="2858"/>
                  </a:cubicBezTo>
                  <a:lnTo>
                    <a:pt x="91440" y="2858"/>
                  </a:lnTo>
                  <a:cubicBezTo>
                    <a:pt x="89535" y="2858"/>
                    <a:pt x="87630" y="3810"/>
                    <a:pt x="85725" y="4763"/>
                  </a:cubicBezTo>
                  <a:lnTo>
                    <a:pt x="84773" y="4763"/>
                  </a:lnTo>
                  <a:lnTo>
                    <a:pt x="82868" y="5715"/>
                  </a:lnTo>
                  <a:lnTo>
                    <a:pt x="82868" y="5715"/>
                  </a:lnTo>
                  <a:lnTo>
                    <a:pt x="80963" y="6667"/>
                  </a:lnTo>
                  <a:lnTo>
                    <a:pt x="80010" y="6667"/>
                  </a:lnTo>
                  <a:lnTo>
                    <a:pt x="79057" y="6667"/>
                  </a:lnTo>
                  <a:lnTo>
                    <a:pt x="77152" y="7620"/>
                  </a:lnTo>
                  <a:lnTo>
                    <a:pt x="75248" y="8573"/>
                  </a:lnTo>
                  <a:lnTo>
                    <a:pt x="75248" y="8573"/>
                  </a:lnTo>
                  <a:lnTo>
                    <a:pt x="72390" y="9525"/>
                  </a:lnTo>
                  <a:lnTo>
                    <a:pt x="72390" y="9525"/>
                  </a:lnTo>
                  <a:lnTo>
                    <a:pt x="69532" y="10478"/>
                  </a:lnTo>
                  <a:lnTo>
                    <a:pt x="69532" y="10478"/>
                  </a:lnTo>
                  <a:lnTo>
                    <a:pt x="66675" y="11430"/>
                  </a:lnTo>
                  <a:lnTo>
                    <a:pt x="66675" y="11430"/>
                  </a:lnTo>
                  <a:lnTo>
                    <a:pt x="63818" y="13335"/>
                  </a:lnTo>
                  <a:lnTo>
                    <a:pt x="63818" y="13335"/>
                  </a:lnTo>
                  <a:lnTo>
                    <a:pt x="60960" y="15240"/>
                  </a:lnTo>
                  <a:lnTo>
                    <a:pt x="60960" y="15240"/>
                  </a:lnTo>
                  <a:lnTo>
                    <a:pt x="58102" y="17145"/>
                  </a:lnTo>
                  <a:lnTo>
                    <a:pt x="58102" y="17145"/>
                  </a:lnTo>
                  <a:lnTo>
                    <a:pt x="56198" y="19050"/>
                  </a:lnTo>
                  <a:lnTo>
                    <a:pt x="56198" y="19050"/>
                  </a:lnTo>
                  <a:lnTo>
                    <a:pt x="54293" y="20955"/>
                  </a:lnTo>
                  <a:lnTo>
                    <a:pt x="54293" y="20955"/>
                  </a:lnTo>
                  <a:lnTo>
                    <a:pt x="54293" y="20955"/>
                  </a:lnTo>
                  <a:cubicBezTo>
                    <a:pt x="51435" y="22860"/>
                    <a:pt x="47625" y="25717"/>
                    <a:pt x="44768" y="28575"/>
                  </a:cubicBezTo>
                  <a:lnTo>
                    <a:pt x="44768" y="28575"/>
                  </a:lnTo>
                  <a:lnTo>
                    <a:pt x="42863" y="29528"/>
                  </a:lnTo>
                  <a:lnTo>
                    <a:pt x="42863" y="29528"/>
                  </a:lnTo>
                  <a:lnTo>
                    <a:pt x="41910" y="30480"/>
                  </a:lnTo>
                  <a:lnTo>
                    <a:pt x="40957" y="31433"/>
                  </a:lnTo>
                  <a:lnTo>
                    <a:pt x="40005" y="32385"/>
                  </a:lnTo>
                  <a:lnTo>
                    <a:pt x="39052" y="33338"/>
                  </a:lnTo>
                  <a:lnTo>
                    <a:pt x="39052" y="33338"/>
                  </a:lnTo>
                  <a:lnTo>
                    <a:pt x="37148" y="35242"/>
                  </a:lnTo>
                  <a:lnTo>
                    <a:pt x="37148" y="35242"/>
                  </a:lnTo>
                  <a:lnTo>
                    <a:pt x="36195" y="36195"/>
                  </a:lnTo>
                  <a:lnTo>
                    <a:pt x="35243" y="37148"/>
                  </a:lnTo>
                  <a:lnTo>
                    <a:pt x="35243" y="37148"/>
                  </a:lnTo>
                  <a:lnTo>
                    <a:pt x="33338" y="39053"/>
                  </a:lnTo>
                  <a:lnTo>
                    <a:pt x="33338" y="39053"/>
                  </a:lnTo>
                  <a:lnTo>
                    <a:pt x="32385" y="40005"/>
                  </a:lnTo>
                  <a:lnTo>
                    <a:pt x="31432" y="40958"/>
                  </a:lnTo>
                  <a:lnTo>
                    <a:pt x="31432" y="41910"/>
                  </a:lnTo>
                  <a:lnTo>
                    <a:pt x="30480" y="43815"/>
                  </a:lnTo>
                  <a:lnTo>
                    <a:pt x="30480" y="43815"/>
                  </a:lnTo>
                  <a:lnTo>
                    <a:pt x="29527" y="45720"/>
                  </a:lnTo>
                  <a:lnTo>
                    <a:pt x="28575" y="46673"/>
                  </a:lnTo>
                  <a:lnTo>
                    <a:pt x="28575" y="47625"/>
                  </a:lnTo>
                  <a:lnTo>
                    <a:pt x="26670" y="49530"/>
                  </a:lnTo>
                  <a:lnTo>
                    <a:pt x="26670" y="49530"/>
                  </a:lnTo>
                  <a:lnTo>
                    <a:pt x="24765" y="52388"/>
                  </a:lnTo>
                  <a:lnTo>
                    <a:pt x="23813" y="54292"/>
                  </a:lnTo>
                  <a:lnTo>
                    <a:pt x="23813" y="55245"/>
                  </a:lnTo>
                  <a:lnTo>
                    <a:pt x="23813" y="56198"/>
                  </a:lnTo>
                  <a:cubicBezTo>
                    <a:pt x="16193" y="67628"/>
                    <a:pt x="10477" y="80963"/>
                    <a:pt x="5715" y="94298"/>
                  </a:cubicBezTo>
                  <a:lnTo>
                    <a:pt x="5715" y="95250"/>
                  </a:lnTo>
                  <a:cubicBezTo>
                    <a:pt x="4763" y="97155"/>
                    <a:pt x="4763" y="99060"/>
                    <a:pt x="3810" y="101917"/>
                  </a:cubicBezTo>
                  <a:lnTo>
                    <a:pt x="3810" y="101917"/>
                  </a:lnTo>
                  <a:cubicBezTo>
                    <a:pt x="1905" y="107633"/>
                    <a:pt x="952" y="113348"/>
                    <a:pt x="0" y="119063"/>
                  </a:cubicBezTo>
                  <a:lnTo>
                    <a:pt x="0" y="120015"/>
                  </a:lnTo>
                  <a:lnTo>
                    <a:pt x="0" y="122873"/>
                  </a:lnTo>
                  <a:lnTo>
                    <a:pt x="0" y="122873"/>
                  </a:lnTo>
                  <a:lnTo>
                    <a:pt x="0" y="125730"/>
                  </a:lnTo>
                  <a:lnTo>
                    <a:pt x="0" y="126683"/>
                  </a:lnTo>
                  <a:lnTo>
                    <a:pt x="0" y="129540"/>
                  </a:lnTo>
                  <a:lnTo>
                    <a:pt x="0" y="130492"/>
                  </a:lnTo>
                  <a:lnTo>
                    <a:pt x="0" y="133350"/>
                  </a:lnTo>
                  <a:lnTo>
                    <a:pt x="0" y="134303"/>
                  </a:lnTo>
                  <a:lnTo>
                    <a:pt x="0" y="137160"/>
                  </a:lnTo>
                  <a:lnTo>
                    <a:pt x="0" y="138113"/>
                  </a:lnTo>
                  <a:lnTo>
                    <a:pt x="0" y="140970"/>
                  </a:lnTo>
                  <a:lnTo>
                    <a:pt x="0" y="141923"/>
                  </a:lnTo>
                  <a:lnTo>
                    <a:pt x="0" y="144780"/>
                  </a:lnTo>
                  <a:lnTo>
                    <a:pt x="0" y="144780"/>
                  </a:lnTo>
                  <a:lnTo>
                    <a:pt x="0" y="148590"/>
                  </a:lnTo>
                  <a:lnTo>
                    <a:pt x="0" y="148590"/>
                  </a:lnTo>
                  <a:lnTo>
                    <a:pt x="0" y="152400"/>
                  </a:lnTo>
                  <a:lnTo>
                    <a:pt x="0" y="227648"/>
                  </a:lnTo>
                  <a:lnTo>
                    <a:pt x="0" y="303848"/>
                  </a:lnTo>
                  <a:lnTo>
                    <a:pt x="72390" y="303848"/>
                  </a:lnTo>
                  <a:cubicBezTo>
                    <a:pt x="73343" y="303848"/>
                    <a:pt x="75248" y="303848"/>
                    <a:pt x="76200" y="303848"/>
                  </a:cubicBezTo>
                  <a:lnTo>
                    <a:pt x="220980" y="303848"/>
                  </a:lnTo>
                  <a:cubicBezTo>
                    <a:pt x="228600" y="303848"/>
                    <a:pt x="236220" y="302895"/>
                    <a:pt x="243840" y="300990"/>
                  </a:cubicBezTo>
                  <a:lnTo>
                    <a:pt x="243840" y="300990"/>
                  </a:lnTo>
                  <a:cubicBezTo>
                    <a:pt x="245745" y="300990"/>
                    <a:pt x="247650" y="300038"/>
                    <a:pt x="249555" y="299085"/>
                  </a:cubicBezTo>
                  <a:lnTo>
                    <a:pt x="250508" y="299085"/>
                  </a:lnTo>
                  <a:lnTo>
                    <a:pt x="252413" y="298133"/>
                  </a:lnTo>
                  <a:lnTo>
                    <a:pt x="252413" y="298133"/>
                  </a:lnTo>
                  <a:lnTo>
                    <a:pt x="254317" y="297180"/>
                  </a:lnTo>
                  <a:lnTo>
                    <a:pt x="255270" y="297180"/>
                  </a:lnTo>
                  <a:lnTo>
                    <a:pt x="256223" y="297180"/>
                  </a:lnTo>
                  <a:lnTo>
                    <a:pt x="258127" y="296228"/>
                  </a:lnTo>
                  <a:lnTo>
                    <a:pt x="260033" y="295275"/>
                  </a:lnTo>
                  <a:lnTo>
                    <a:pt x="260033" y="295275"/>
                  </a:lnTo>
                  <a:lnTo>
                    <a:pt x="262890" y="294323"/>
                  </a:lnTo>
                  <a:lnTo>
                    <a:pt x="262890" y="294323"/>
                  </a:lnTo>
                  <a:lnTo>
                    <a:pt x="265748" y="293370"/>
                  </a:lnTo>
                  <a:lnTo>
                    <a:pt x="265748" y="293370"/>
                  </a:lnTo>
                  <a:lnTo>
                    <a:pt x="268605" y="292417"/>
                  </a:lnTo>
                  <a:lnTo>
                    <a:pt x="268605" y="292417"/>
                  </a:lnTo>
                  <a:lnTo>
                    <a:pt x="271463" y="290513"/>
                  </a:lnTo>
                  <a:lnTo>
                    <a:pt x="271463" y="290513"/>
                  </a:lnTo>
                  <a:lnTo>
                    <a:pt x="274320" y="288608"/>
                  </a:lnTo>
                  <a:lnTo>
                    <a:pt x="274320" y="288608"/>
                  </a:lnTo>
                  <a:lnTo>
                    <a:pt x="277178" y="286703"/>
                  </a:lnTo>
                  <a:lnTo>
                    <a:pt x="277178" y="286703"/>
                  </a:lnTo>
                  <a:lnTo>
                    <a:pt x="279083" y="284798"/>
                  </a:lnTo>
                  <a:lnTo>
                    <a:pt x="279083" y="284798"/>
                  </a:lnTo>
                  <a:lnTo>
                    <a:pt x="280988" y="282892"/>
                  </a:lnTo>
                  <a:lnTo>
                    <a:pt x="280988" y="282892"/>
                  </a:lnTo>
                  <a:lnTo>
                    <a:pt x="280988" y="282892"/>
                  </a:lnTo>
                  <a:cubicBezTo>
                    <a:pt x="283845" y="280988"/>
                    <a:pt x="287655" y="278130"/>
                    <a:pt x="290513" y="275273"/>
                  </a:cubicBezTo>
                  <a:lnTo>
                    <a:pt x="290513" y="275273"/>
                  </a:lnTo>
                  <a:lnTo>
                    <a:pt x="292417" y="274320"/>
                  </a:lnTo>
                  <a:lnTo>
                    <a:pt x="292417" y="274320"/>
                  </a:lnTo>
                  <a:lnTo>
                    <a:pt x="293370" y="273367"/>
                  </a:lnTo>
                  <a:lnTo>
                    <a:pt x="294323" y="272415"/>
                  </a:lnTo>
                  <a:lnTo>
                    <a:pt x="295275" y="271463"/>
                  </a:lnTo>
                  <a:lnTo>
                    <a:pt x="296228" y="270510"/>
                  </a:lnTo>
                  <a:lnTo>
                    <a:pt x="296228" y="270510"/>
                  </a:lnTo>
                  <a:lnTo>
                    <a:pt x="298133" y="268605"/>
                  </a:lnTo>
                  <a:lnTo>
                    <a:pt x="298133" y="268605"/>
                  </a:lnTo>
                  <a:lnTo>
                    <a:pt x="299085" y="267653"/>
                  </a:lnTo>
                  <a:lnTo>
                    <a:pt x="300038" y="266700"/>
                  </a:lnTo>
                  <a:lnTo>
                    <a:pt x="300038" y="266700"/>
                  </a:lnTo>
                  <a:lnTo>
                    <a:pt x="301942" y="264795"/>
                  </a:lnTo>
                  <a:lnTo>
                    <a:pt x="301942" y="264795"/>
                  </a:lnTo>
                  <a:lnTo>
                    <a:pt x="302895" y="263842"/>
                  </a:lnTo>
                  <a:lnTo>
                    <a:pt x="303848" y="262890"/>
                  </a:lnTo>
                  <a:lnTo>
                    <a:pt x="303848" y="261938"/>
                  </a:lnTo>
                  <a:lnTo>
                    <a:pt x="304800" y="260033"/>
                  </a:lnTo>
                  <a:lnTo>
                    <a:pt x="304800" y="260033"/>
                  </a:lnTo>
                  <a:lnTo>
                    <a:pt x="305753" y="258128"/>
                  </a:lnTo>
                  <a:lnTo>
                    <a:pt x="306705" y="257175"/>
                  </a:lnTo>
                  <a:lnTo>
                    <a:pt x="306705" y="256223"/>
                  </a:lnTo>
                  <a:lnTo>
                    <a:pt x="308610" y="254317"/>
                  </a:lnTo>
                  <a:lnTo>
                    <a:pt x="308610" y="254317"/>
                  </a:lnTo>
                  <a:lnTo>
                    <a:pt x="310515" y="251460"/>
                  </a:lnTo>
                  <a:lnTo>
                    <a:pt x="311467" y="249555"/>
                  </a:lnTo>
                  <a:lnTo>
                    <a:pt x="311467" y="248603"/>
                  </a:lnTo>
                  <a:lnTo>
                    <a:pt x="311467" y="247650"/>
                  </a:lnTo>
                  <a:cubicBezTo>
                    <a:pt x="319088" y="236220"/>
                    <a:pt x="324803" y="222885"/>
                    <a:pt x="329565" y="209550"/>
                  </a:cubicBezTo>
                  <a:lnTo>
                    <a:pt x="329565" y="208598"/>
                  </a:lnTo>
                  <a:cubicBezTo>
                    <a:pt x="330517" y="206692"/>
                    <a:pt x="330517" y="204788"/>
                    <a:pt x="331470" y="201930"/>
                  </a:cubicBezTo>
                  <a:lnTo>
                    <a:pt x="331470" y="201930"/>
                  </a:lnTo>
                  <a:cubicBezTo>
                    <a:pt x="333375" y="196215"/>
                    <a:pt x="334328" y="190500"/>
                    <a:pt x="335280" y="184785"/>
                  </a:cubicBezTo>
                  <a:lnTo>
                    <a:pt x="335280" y="183833"/>
                  </a:lnTo>
                  <a:lnTo>
                    <a:pt x="335280" y="180975"/>
                  </a:lnTo>
                  <a:lnTo>
                    <a:pt x="335280" y="180975"/>
                  </a:lnTo>
                  <a:lnTo>
                    <a:pt x="335280" y="178117"/>
                  </a:lnTo>
                  <a:lnTo>
                    <a:pt x="335280" y="177165"/>
                  </a:lnTo>
                  <a:lnTo>
                    <a:pt x="335280" y="174308"/>
                  </a:lnTo>
                  <a:lnTo>
                    <a:pt x="335280" y="173355"/>
                  </a:lnTo>
                  <a:lnTo>
                    <a:pt x="335280" y="170498"/>
                  </a:lnTo>
                  <a:lnTo>
                    <a:pt x="335280" y="169545"/>
                  </a:lnTo>
                  <a:lnTo>
                    <a:pt x="335280" y="166688"/>
                  </a:lnTo>
                  <a:lnTo>
                    <a:pt x="335280" y="165735"/>
                  </a:lnTo>
                  <a:lnTo>
                    <a:pt x="335280" y="162878"/>
                  </a:lnTo>
                  <a:lnTo>
                    <a:pt x="335280" y="161925"/>
                  </a:lnTo>
                  <a:lnTo>
                    <a:pt x="335280" y="159067"/>
                  </a:lnTo>
                  <a:lnTo>
                    <a:pt x="335280" y="159067"/>
                  </a:lnTo>
                  <a:lnTo>
                    <a:pt x="335280" y="155258"/>
                  </a:lnTo>
                  <a:lnTo>
                    <a:pt x="335280" y="155258"/>
                  </a:lnTo>
                  <a:lnTo>
                    <a:pt x="335280" y="151448"/>
                  </a:lnTo>
                  <a:lnTo>
                    <a:pt x="335280" y="76200"/>
                  </a:lnTo>
                  <a:lnTo>
                    <a:pt x="335280" y="0"/>
                  </a:lnTo>
                  <a:lnTo>
                    <a:pt x="262890" y="0"/>
                  </a:lnTo>
                  <a:cubicBezTo>
                    <a:pt x="260985" y="0"/>
                    <a:pt x="260033" y="0"/>
                    <a:pt x="259080" y="0"/>
                  </a:cubicBezTo>
                  <a:close/>
                </a:path>
              </a:pathLst>
            </a:custGeom>
            <a:solidFill>
              <a:schemeClr val="accent4"/>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2" name="Freeform: Shape 120">
              <a:extLst>
                <a:ext uri="{FF2B5EF4-FFF2-40B4-BE49-F238E27FC236}">
                  <a16:creationId xmlns:a16="http://schemas.microsoft.com/office/drawing/2014/main" id="{104F4799-62B9-44E9-B50F-F59596234EEE}"/>
                </a:ext>
              </a:extLst>
            </p:cNvPr>
            <p:cNvSpPr/>
            <p:nvPr/>
          </p:nvSpPr>
          <p:spPr>
            <a:xfrm>
              <a:off x="5064406" y="3440133"/>
              <a:ext cx="374738" cy="339605"/>
            </a:xfrm>
            <a:custGeom>
              <a:avLst/>
              <a:gdLst>
                <a:gd name="connsiteX0" fmla="*/ 259080 w 335280"/>
                <a:gd name="connsiteY0" fmla="*/ 0 h 303847"/>
                <a:gd name="connsiteX1" fmla="*/ 114300 w 335280"/>
                <a:gd name="connsiteY1" fmla="*/ 0 h 303847"/>
                <a:gd name="connsiteX2" fmla="*/ 91440 w 335280"/>
                <a:gd name="connsiteY2" fmla="*/ 2858 h 303847"/>
                <a:gd name="connsiteX3" fmla="*/ 91440 w 335280"/>
                <a:gd name="connsiteY3" fmla="*/ 2858 h 303847"/>
                <a:gd name="connsiteX4" fmla="*/ 85725 w 335280"/>
                <a:gd name="connsiteY4" fmla="*/ 4763 h 303847"/>
                <a:gd name="connsiteX5" fmla="*/ 84773 w 335280"/>
                <a:gd name="connsiteY5" fmla="*/ 4763 h 303847"/>
                <a:gd name="connsiteX6" fmla="*/ 82868 w 335280"/>
                <a:gd name="connsiteY6" fmla="*/ 5715 h 303847"/>
                <a:gd name="connsiteX7" fmla="*/ 82868 w 335280"/>
                <a:gd name="connsiteY7" fmla="*/ 5715 h 303847"/>
                <a:gd name="connsiteX8" fmla="*/ 80963 w 335280"/>
                <a:gd name="connsiteY8" fmla="*/ 6668 h 303847"/>
                <a:gd name="connsiteX9" fmla="*/ 80010 w 335280"/>
                <a:gd name="connsiteY9" fmla="*/ 6668 h 303847"/>
                <a:gd name="connsiteX10" fmla="*/ 79058 w 335280"/>
                <a:gd name="connsiteY10" fmla="*/ 6668 h 303847"/>
                <a:gd name="connsiteX11" fmla="*/ 77152 w 335280"/>
                <a:gd name="connsiteY11" fmla="*/ 7620 h 303847"/>
                <a:gd name="connsiteX12" fmla="*/ 75248 w 335280"/>
                <a:gd name="connsiteY12" fmla="*/ 8573 h 303847"/>
                <a:gd name="connsiteX13" fmla="*/ 75248 w 335280"/>
                <a:gd name="connsiteY13" fmla="*/ 8573 h 303847"/>
                <a:gd name="connsiteX14" fmla="*/ 72390 w 335280"/>
                <a:gd name="connsiteY14" fmla="*/ 9525 h 303847"/>
                <a:gd name="connsiteX15" fmla="*/ 72390 w 335280"/>
                <a:gd name="connsiteY15" fmla="*/ 9525 h 303847"/>
                <a:gd name="connsiteX16" fmla="*/ 69533 w 335280"/>
                <a:gd name="connsiteY16" fmla="*/ 10478 h 303847"/>
                <a:gd name="connsiteX17" fmla="*/ 69533 w 335280"/>
                <a:gd name="connsiteY17" fmla="*/ 10478 h 303847"/>
                <a:gd name="connsiteX18" fmla="*/ 66675 w 335280"/>
                <a:gd name="connsiteY18" fmla="*/ 11430 h 303847"/>
                <a:gd name="connsiteX19" fmla="*/ 66675 w 335280"/>
                <a:gd name="connsiteY19" fmla="*/ 11430 h 303847"/>
                <a:gd name="connsiteX20" fmla="*/ 63818 w 335280"/>
                <a:gd name="connsiteY20" fmla="*/ 13335 h 303847"/>
                <a:gd name="connsiteX21" fmla="*/ 63818 w 335280"/>
                <a:gd name="connsiteY21" fmla="*/ 13335 h 303847"/>
                <a:gd name="connsiteX22" fmla="*/ 60960 w 335280"/>
                <a:gd name="connsiteY22" fmla="*/ 15240 h 303847"/>
                <a:gd name="connsiteX23" fmla="*/ 60960 w 335280"/>
                <a:gd name="connsiteY23" fmla="*/ 15240 h 303847"/>
                <a:gd name="connsiteX24" fmla="*/ 58102 w 335280"/>
                <a:gd name="connsiteY24" fmla="*/ 17145 h 303847"/>
                <a:gd name="connsiteX25" fmla="*/ 58102 w 335280"/>
                <a:gd name="connsiteY25" fmla="*/ 17145 h 303847"/>
                <a:gd name="connsiteX26" fmla="*/ 56198 w 335280"/>
                <a:gd name="connsiteY26" fmla="*/ 19050 h 303847"/>
                <a:gd name="connsiteX27" fmla="*/ 56198 w 335280"/>
                <a:gd name="connsiteY27" fmla="*/ 19050 h 303847"/>
                <a:gd name="connsiteX28" fmla="*/ 54293 w 335280"/>
                <a:gd name="connsiteY28" fmla="*/ 20955 h 303847"/>
                <a:gd name="connsiteX29" fmla="*/ 54293 w 335280"/>
                <a:gd name="connsiteY29" fmla="*/ 20955 h 303847"/>
                <a:gd name="connsiteX30" fmla="*/ 54293 w 335280"/>
                <a:gd name="connsiteY30" fmla="*/ 20955 h 303847"/>
                <a:gd name="connsiteX31" fmla="*/ 44768 w 335280"/>
                <a:gd name="connsiteY31" fmla="*/ 28575 h 303847"/>
                <a:gd name="connsiteX32" fmla="*/ 44768 w 335280"/>
                <a:gd name="connsiteY32" fmla="*/ 28575 h 303847"/>
                <a:gd name="connsiteX33" fmla="*/ 42863 w 335280"/>
                <a:gd name="connsiteY33" fmla="*/ 29528 h 303847"/>
                <a:gd name="connsiteX34" fmla="*/ 42863 w 335280"/>
                <a:gd name="connsiteY34" fmla="*/ 29528 h 303847"/>
                <a:gd name="connsiteX35" fmla="*/ 41910 w 335280"/>
                <a:gd name="connsiteY35" fmla="*/ 30480 h 303847"/>
                <a:gd name="connsiteX36" fmla="*/ 40958 w 335280"/>
                <a:gd name="connsiteY36" fmla="*/ 31433 h 303847"/>
                <a:gd name="connsiteX37" fmla="*/ 40005 w 335280"/>
                <a:gd name="connsiteY37" fmla="*/ 32385 h 303847"/>
                <a:gd name="connsiteX38" fmla="*/ 39052 w 335280"/>
                <a:gd name="connsiteY38" fmla="*/ 33338 h 303847"/>
                <a:gd name="connsiteX39" fmla="*/ 39052 w 335280"/>
                <a:gd name="connsiteY39" fmla="*/ 33338 h 303847"/>
                <a:gd name="connsiteX40" fmla="*/ 37148 w 335280"/>
                <a:gd name="connsiteY40" fmla="*/ 35243 h 303847"/>
                <a:gd name="connsiteX41" fmla="*/ 37148 w 335280"/>
                <a:gd name="connsiteY41" fmla="*/ 35243 h 303847"/>
                <a:gd name="connsiteX42" fmla="*/ 36195 w 335280"/>
                <a:gd name="connsiteY42" fmla="*/ 36195 h 303847"/>
                <a:gd name="connsiteX43" fmla="*/ 35243 w 335280"/>
                <a:gd name="connsiteY43" fmla="*/ 37148 h 303847"/>
                <a:gd name="connsiteX44" fmla="*/ 35243 w 335280"/>
                <a:gd name="connsiteY44" fmla="*/ 37148 h 303847"/>
                <a:gd name="connsiteX45" fmla="*/ 33338 w 335280"/>
                <a:gd name="connsiteY45" fmla="*/ 39053 h 303847"/>
                <a:gd name="connsiteX46" fmla="*/ 33338 w 335280"/>
                <a:gd name="connsiteY46" fmla="*/ 39053 h 303847"/>
                <a:gd name="connsiteX47" fmla="*/ 32385 w 335280"/>
                <a:gd name="connsiteY47" fmla="*/ 40005 h 303847"/>
                <a:gd name="connsiteX48" fmla="*/ 31433 w 335280"/>
                <a:gd name="connsiteY48" fmla="*/ 40958 h 303847"/>
                <a:gd name="connsiteX49" fmla="*/ 31433 w 335280"/>
                <a:gd name="connsiteY49" fmla="*/ 41910 h 303847"/>
                <a:gd name="connsiteX50" fmla="*/ 30480 w 335280"/>
                <a:gd name="connsiteY50" fmla="*/ 43815 h 303847"/>
                <a:gd name="connsiteX51" fmla="*/ 30480 w 335280"/>
                <a:gd name="connsiteY51" fmla="*/ 43815 h 303847"/>
                <a:gd name="connsiteX52" fmla="*/ 29527 w 335280"/>
                <a:gd name="connsiteY52" fmla="*/ 45720 h 303847"/>
                <a:gd name="connsiteX53" fmla="*/ 28575 w 335280"/>
                <a:gd name="connsiteY53" fmla="*/ 46673 h 303847"/>
                <a:gd name="connsiteX54" fmla="*/ 28575 w 335280"/>
                <a:gd name="connsiteY54" fmla="*/ 47625 h 303847"/>
                <a:gd name="connsiteX55" fmla="*/ 26670 w 335280"/>
                <a:gd name="connsiteY55" fmla="*/ 49530 h 303847"/>
                <a:gd name="connsiteX56" fmla="*/ 26670 w 335280"/>
                <a:gd name="connsiteY56" fmla="*/ 49530 h 303847"/>
                <a:gd name="connsiteX57" fmla="*/ 24765 w 335280"/>
                <a:gd name="connsiteY57" fmla="*/ 52388 h 303847"/>
                <a:gd name="connsiteX58" fmla="*/ 23813 w 335280"/>
                <a:gd name="connsiteY58" fmla="*/ 54293 h 303847"/>
                <a:gd name="connsiteX59" fmla="*/ 23813 w 335280"/>
                <a:gd name="connsiteY59" fmla="*/ 55245 h 303847"/>
                <a:gd name="connsiteX60" fmla="*/ 23813 w 335280"/>
                <a:gd name="connsiteY60" fmla="*/ 56198 h 303847"/>
                <a:gd name="connsiteX61" fmla="*/ 5715 w 335280"/>
                <a:gd name="connsiteY61" fmla="*/ 94298 h 303847"/>
                <a:gd name="connsiteX62" fmla="*/ 5715 w 335280"/>
                <a:gd name="connsiteY62" fmla="*/ 95250 h 303847"/>
                <a:gd name="connsiteX63" fmla="*/ 3810 w 335280"/>
                <a:gd name="connsiteY63" fmla="*/ 101918 h 303847"/>
                <a:gd name="connsiteX64" fmla="*/ 3810 w 335280"/>
                <a:gd name="connsiteY64" fmla="*/ 101918 h 303847"/>
                <a:gd name="connsiteX65" fmla="*/ 0 w 335280"/>
                <a:gd name="connsiteY65" fmla="*/ 119063 h 303847"/>
                <a:gd name="connsiteX66" fmla="*/ 0 w 335280"/>
                <a:gd name="connsiteY66" fmla="*/ 120015 h 303847"/>
                <a:gd name="connsiteX67" fmla="*/ 0 w 335280"/>
                <a:gd name="connsiteY67" fmla="*/ 122873 h 303847"/>
                <a:gd name="connsiteX68" fmla="*/ 0 w 335280"/>
                <a:gd name="connsiteY68" fmla="*/ 122873 h 303847"/>
                <a:gd name="connsiteX69" fmla="*/ 0 w 335280"/>
                <a:gd name="connsiteY69" fmla="*/ 125730 h 303847"/>
                <a:gd name="connsiteX70" fmla="*/ 0 w 335280"/>
                <a:gd name="connsiteY70" fmla="*/ 126683 h 303847"/>
                <a:gd name="connsiteX71" fmla="*/ 0 w 335280"/>
                <a:gd name="connsiteY71" fmla="*/ 129540 h 303847"/>
                <a:gd name="connsiteX72" fmla="*/ 0 w 335280"/>
                <a:gd name="connsiteY72" fmla="*/ 130493 h 303847"/>
                <a:gd name="connsiteX73" fmla="*/ 0 w 335280"/>
                <a:gd name="connsiteY73" fmla="*/ 133350 h 303847"/>
                <a:gd name="connsiteX74" fmla="*/ 0 w 335280"/>
                <a:gd name="connsiteY74" fmla="*/ 134303 h 303847"/>
                <a:gd name="connsiteX75" fmla="*/ 0 w 335280"/>
                <a:gd name="connsiteY75" fmla="*/ 137160 h 303847"/>
                <a:gd name="connsiteX76" fmla="*/ 0 w 335280"/>
                <a:gd name="connsiteY76" fmla="*/ 138113 h 303847"/>
                <a:gd name="connsiteX77" fmla="*/ 0 w 335280"/>
                <a:gd name="connsiteY77" fmla="*/ 140970 h 303847"/>
                <a:gd name="connsiteX78" fmla="*/ 0 w 335280"/>
                <a:gd name="connsiteY78" fmla="*/ 141923 h 303847"/>
                <a:gd name="connsiteX79" fmla="*/ 0 w 335280"/>
                <a:gd name="connsiteY79" fmla="*/ 144780 h 303847"/>
                <a:gd name="connsiteX80" fmla="*/ 0 w 335280"/>
                <a:gd name="connsiteY80" fmla="*/ 144780 h 303847"/>
                <a:gd name="connsiteX81" fmla="*/ 0 w 335280"/>
                <a:gd name="connsiteY81" fmla="*/ 148590 h 303847"/>
                <a:gd name="connsiteX82" fmla="*/ 0 w 335280"/>
                <a:gd name="connsiteY82" fmla="*/ 148590 h 303847"/>
                <a:gd name="connsiteX83" fmla="*/ 0 w 335280"/>
                <a:gd name="connsiteY83" fmla="*/ 152400 h 303847"/>
                <a:gd name="connsiteX84" fmla="*/ 0 w 335280"/>
                <a:gd name="connsiteY84" fmla="*/ 227648 h 303847"/>
                <a:gd name="connsiteX85" fmla="*/ 0 w 335280"/>
                <a:gd name="connsiteY85" fmla="*/ 303848 h 303847"/>
                <a:gd name="connsiteX86" fmla="*/ 72390 w 335280"/>
                <a:gd name="connsiteY86" fmla="*/ 303848 h 303847"/>
                <a:gd name="connsiteX87" fmla="*/ 76200 w 335280"/>
                <a:gd name="connsiteY87" fmla="*/ 303848 h 303847"/>
                <a:gd name="connsiteX88" fmla="*/ 220980 w 335280"/>
                <a:gd name="connsiteY88" fmla="*/ 303848 h 303847"/>
                <a:gd name="connsiteX89" fmla="*/ 243840 w 335280"/>
                <a:gd name="connsiteY89" fmla="*/ 300990 h 303847"/>
                <a:gd name="connsiteX90" fmla="*/ 243840 w 335280"/>
                <a:gd name="connsiteY90" fmla="*/ 300990 h 303847"/>
                <a:gd name="connsiteX91" fmla="*/ 249555 w 335280"/>
                <a:gd name="connsiteY91" fmla="*/ 299085 h 303847"/>
                <a:gd name="connsiteX92" fmla="*/ 250508 w 335280"/>
                <a:gd name="connsiteY92" fmla="*/ 299085 h 303847"/>
                <a:gd name="connsiteX93" fmla="*/ 252413 w 335280"/>
                <a:gd name="connsiteY93" fmla="*/ 298133 h 303847"/>
                <a:gd name="connsiteX94" fmla="*/ 252413 w 335280"/>
                <a:gd name="connsiteY94" fmla="*/ 298133 h 303847"/>
                <a:gd name="connsiteX95" fmla="*/ 254318 w 335280"/>
                <a:gd name="connsiteY95" fmla="*/ 297180 h 303847"/>
                <a:gd name="connsiteX96" fmla="*/ 255270 w 335280"/>
                <a:gd name="connsiteY96" fmla="*/ 297180 h 303847"/>
                <a:gd name="connsiteX97" fmla="*/ 256223 w 335280"/>
                <a:gd name="connsiteY97" fmla="*/ 297180 h 303847"/>
                <a:gd name="connsiteX98" fmla="*/ 258127 w 335280"/>
                <a:gd name="connsiteY98" fmla="*/ 296228 h 303847"/>
                <a:gd name="connsiteX99" fmla="*/ 260033 w 335280"/>
                <a:gd name="connsiteY99" fmla="*/ 295275 h 303847"/>
                <a:gd name="connsiteX100" fmla="*/ 260033 w 335280"/>
                <a:gd name="connsiteY100" fmla="*/ 295275 h 303847"/>
                <a:gd name="connsiteX101" fmla="*/ 262890 w 335280"/>
                <a:gd name="connsiteY101" fmla="*/ 294323 h 303847"/>
                <a:gd name="connsiteX102" fmla="*/ 262890 w 335280"/>
                <a:gd name="connsiteY102" fmla="*/ 294323 h 303847"/>
                <a:gd name="connsiteX103" fmla="*/ 265748 w 335280"/>
                <a:gd name="connsiteY103" fmla="*/ 293370 h 303847"/>
                <a:gd name="connsiteX104" fmla="*/ 265748 w 335280"/>
                <a:gd name="connsiteY104" fmla="*/ 293370 h 303847"/>
                <a:gd name="connsiteX105" fmla="*/ 268605 w 335280"/>
                <a:gd name="connsiteY105" fmla="*/ 292418 h 303847"/>
                <a:gd name="connsiteX106" fmla="*/ 268605 w 335280"/>
                <a:gd name="connsiteY106" fmla="*/ 292418 h 303847"/>
                <a:gd name="connsiteX107" fmla="*/ 271463 w 335280"/>
                <a:gd name="connsiteY107" fmla="*/ 290513 h 303847"/>
                <a:gd name="connsiteX108" fmla="*/ 271463 w 335280"/>
                <a:gd name="connsiteY108" fmla="*/ 290513 h 303847"/>
                <a:gd name="connsiteX109" fmla="*/ 274320 w 335280"/>
                <a:gd name="connsiteY109" fmla="*/ 288608 h 303847"/>
                <a:gd name="connsiteX110" fmla="*/ 274320 w 335280"/>
                <a:gd name="connsiteY110" fmla="*/ 288608 h 303847"/>
                <a:gd name="connsiteX111" fmla="*/ 277178 w 335280"/>
                <a:gd name="connsiteY111" fmla="*/ 286703 h 303847"/>
                <a:gd name="connsiteX112" fmla="*/ 277178 w 335280"/>
                <a:gd name="connsiteY112" fmla="*/ 286703 h 303847"/>
                <a:gd name="connsiteX113" fmla="*/ 279083 w 335280"/>
                <a:gd name="connsiteY113" fmla="*/ 284798 h 303847"/>
                <a:gd name="connsiteX114" fmla="*/ 279083 w 335280"/>
                <a:gd name="connsiteY114" fmla="*/ 284798 h 303847"/>
                <a:gd name="connsiteX115" fmla="*/ 280988 w 335280"/>
                <a:gd name="connsiteY115" fmla="*/ 282893 h 303847"/>
                <a:gd name="connsiteX116" fmla="*/ 280988 w 335280"/>
                <a:gd name="connsiteY116" fmla="*/ 282893 h 303847"/>
                <a:gd name="connsiteX117" fmla="*/ 280988 w 335280"/>
                <a:gd name="connsiteY117" fmla="*/ 282893 h 303847"/>
                <a:gd name="connsiteX118" fmla="*/ 290513 w 335280"/>
                <a:gd name="connsiteY118" fmla="*/ 275273 h 303847"/>
                <a:gd name="connsiteX119" fmla="*/ 290513 w 335280"/>
                <a:gd name="connsiteY119" fmla="*/ 275273 h 303847"/>
                <a:gd name="connsiteX120" fmla="*/ 292418 w 335280"/>
                <a:gd name="connsiteY120" fmla="*/ 274320 h 303847"/>
                <a:gd name="connsiteX121" fmla="*/ 292418 w 335280"/>
                <a:gd name="connsiteY121" fmla="*/ 274320 h 303847"/>
                <a:gd name="connsiteX122" fmla="*/ 293370 w 335280"/>
                <a:gd name="connsiteY122" fmla="*/ 273368 h 303847"/>
                <a:gd name="connsiteX123" fmla="*/ 294323 w 335280"/>
                <a:gd name="connsiteY123" fmla="*/ 272415 h 303847"/>
                <a:gd name="connsiteX124" fmla="*/ 295275 w 335280"/>
                <a:gd name="connsiteY124" fmla="*/ 271463 h 303847"/>
                <a:gd name="connsiteX125" fmla="*/ 296228 w 335280"/>
                <a:gd name="connsiteY125" fmla="*/ 270510 h 303847"/>
                <a:gd name="connsiteX126" fmla="*/ 296228 w 335280"/>
                <a:gd name="connsiteY126" fmla="*/ 270510 h 303847"/>
                <a:gd name="connsiteX127" fmla="*/ 298133 w 335280"/>
                <a:gd name="connsiteY127" fmla="*/ 268605 h 303847"/>
                <a:gd name="connsiteX128" fmla="*/ 298133 w 335280"/>
                <a:gd name="connsiteY128" fmla="*/ 268605 h 303847"/>
                <a:gd name="connsiteX129" fmla="*/ 299085 w 335280"/>
                <a:gd name="connsiteY129" fmla="*/ 267653 h 303847"/>
                <a:gd name="connsiteX130" fmla="*/ 300038 w 335280"/>
                <a:gd name="connsiteY130" fmla="*/ 266700 h 303847"/>
                <a:gd name="connsiteX131" fmla="*/ 300038 w 335280"/>
                <a:gd name="connsiteY131" fmla="*/ 266700 h 303847"/>
                <a:gd name="connsiteX132" fmla="*/ 301943 w 335280"/>
                <a:gd name="connsiteY132" fmla="*/ 264795 h 303847"/>
                <a:gd name="connsiteX133" fmla="*/ 301943 w 335280"/>
                <a:gd name="connsiteY133" fmla="*/ 264795 h 303847"/>
                <a:gd name="connsiteX134" fmla="*/ 302895 w 335280"/>
                <a:gd name="connsiteY134" fmla="*/ 263843 h 303847"/>
                <a:gd name="connsiteX135" fmla="*/ 303848 w 335280"/>
                <a:gd name="connsiteY135" fmla="*/ 262890 h 303847"/>
                <a:gd name="connsiteX136" fmla="*/ 303848 w 335280"/>
                <a:gd name="connsiteY136" fmla="*/ 261938 h 303847"/>
                <a:gd name="connsiteX137" fmla="*/ 304800 w 335280"/>
                <a:gd name="connsiteY137" fmla="*/ 260033 h 303847"/>
                <a:gd name="connsiteX138" fmla="*/ 304800 w 335280"/>
                <a:gd name="connsiteY138" fmla="*/ 260033 h 303847"/>
                <a:gd name="connsiteX139" fmla="*/ 305753 w 335280"/>
                <a:gd name="connsiteY139" fmla="*/ 258128 h 303847"/>
                <a:gd name="connsiteX140" fmla="*/ 306705 w 335280"/>
                <a:gd name="connsiteY140" fmla="*/ 257175 h 303847"/>
                <a:gd name="connsiteX141" fmla="*/ 306705 w 335280"/>
                <a:gd name="connsiteY141" fmla="*/ 256223 h 303847"/>
                <a:gd name="connsiteX142" fmla="*/ 308610 w 335280"/>
                <a:gd name="connsiteY142" fmla="*/ 254318 h 303847"/>
                <a:gd name="connsiteX143" fmla="*/ 308610 w 335280"/>
                <a:gd name="connsiteY143" fmla="*/ 254318 h 303847"/>
                <a:gd name="connsiteX144" fmla="*/ 310515 w 335280"/>
                <a:gd name="connsiteY144" fmla="*/ 251460 h 303847"/>
                <a:gd name="connsiteX145" fmla="*/ 311468 w 335280"/>
                <a:gd name="connsiteY145" fmla="*/ 249555 h 303847"/>
                <a:gd name="connsiteX146" fmla="*/ 311468 w 335280"/>
                <a:gd name="connsiteY146" fmla="*/ 248603 h 303847"/>
                <a:gd name="connsiteX147" fmla="*/ 311468 w 335280"/>
                <a:gd name="connsiteY147" fmla="*/ 247650 h 303847"/>
                <a:gd name="connsiteX148" fmla="*/ 329565 w 335280"/>
                <a:gd name="connsiteY148" fmla="*/ 209550 h 303847"/>
                <a:gd name="connsiteX149" fmla="*/ 329565 w 335280"/>
                <a:gd name="connsiteY149" fmla="*/ 208598 h 303847"/>
                <a:gd name="connsiteX150" fmla="*/ 331470 w 335280"/>
                <a:gd name="connsiteY150" fmla="*/ 201930 h 303847"/>
                <a:gd name="connsiteX151" fmla="*/ 331470 w 335280"/>
                <a:gd name="connsiteY151" fmla="*/ 201930 h 303847"/>
                <a:gd name="connsiteX152" fmla="*/ 335280 w 335280"/>
                <a:gd name="connsiteY152" fmla="*/ 184785 h 303847"/>
                <a:gd name="connsiteX153" fmla="*/ 335280 w 335280"/>
                <a:gd name="connsiteY153" fmla="*/ 183833 h 303847"/>
                <a:gd name="connsiteX154" fmla="*/ 335280 w 335280"/>
                <a:gd name="connsiteY154" fmla="*/ 180975 h 303847"/>
                <a:gd name="connsiteX155" fmla="*/ 335280 w 335280"/>
                <a:gd name="connsiteY155" fmla="*/ 180975 h 303847"/>
                <a:gd name="connsiteX156" fmla="*/ 335280 w 335280"/>
                <a:gd name="connsiteY156" fmla="*/ 178118 h 303847"/>
                <a:gd name="connsiteX157" fmla="*/ 335280 w 335280"/>
                <a:gd name="connsiteY157" fmla="*/ 177165 h 303847"/>
                <a:gd name="connsiteX158" fmla="*/ 335280 w 335280"/>
                <a:gd name="connsiteY158" fmla="*/ 174308 h 303847"/>
                <a:gd name="connsiteX159" fmla="*/ 335280 w 335280"/>
                <a:gd name="connsiteY159" fmla="*/ 173355 h 303847"/>
                <a:gd name="connsiteX160" fmla="*/ 335280 w 335280"/>
                <a:gd name="connsiteY160" fmla="*/ 170498 h 303847"/>
                <a:gd name="connsiteX161" fmla="*/ 335280 w 335280"/>
                <a:gd name="connsiteY161" fmla="*/ 169545 h 303847"/>
                <a:gd name="connsiteX162" fmla="*/ 335280 w 335280"/>
                <a:gd name="connsiteY162" fmla="*/ 166688 h 303847"/>
                <a:gd name="connsiteX163" fmla="*/ 335280 w 335280"/>
                <a:gd name="connsiteY163" fmla="*/ 165735 h 303847"/>
                <a:gd name="connsiteX164" fmla="*/ 335280 w 335280"/>
                <a:gd name="connsiteY164" fmla="*/ 162878 h 303847"/>
                <a:gd name="connsiteX165" fmla="*/ 335280 w 335280"/>
                <a:gd name="connsiteY165" fmla="*/ 161925 h 303847"/>
                <a:gd name="connsiteX166" fmla="*/ 335280 w 335280"/>
                <a:gd name="connsiteY166" fmla="*/ 159068 h 303847"/>
                <a:gd name="connsiteX167" fmla="*/ 335280 w 335280"/>
                <a:gd name="connsiteY167" fmla="*/ 159068 h 303847"/>
                <a:gd name="connsiteX168" fmla="*/ 335280 w 335280"/>
                <a:gd name="connsiteY168" fmla="*/ 155258 h 303847"/>
                <a:gd name="connsiteX169" fmla="*/ 335280 w 335280"/>
                <a:gd name="connsiteY169" fmla="*/ 155258 h 303847"/>
                <a:gd name="connsiteX170" fmla="*/ 335280 w 335280"/>
                <a:gd name="connsiteY170" fmla="*/ 151448 h 303847"/>
                <a:gd name="connsiteX171" fmla="*/ 335280 w 335280"/>
                <a:gd name="connsiteY171" fmla="*/ 76200 h 303847"/>
                <a:gd name="connsiteX172" fmla="*/ 335280 w 335280"/>
                <a:gd name="connsiteY172" fmla="*/ 0 h 303847"/>
                <a:gd name="connsiteX173" fmla="*/ 262890 w 335280"/>
                <a:gd name="connsiteY173" fmla="*/ 0 h 303847"/>
                <a:gd name="connsiteX174" fmla="*/ 259080 w 335280"/>
                <a:gd name="connsiteY174" fmla="*/ 0 h 303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Lst>
              <a:rect l="l" t="t" r="r" b="b"/>
              <a:pathLst>
                <a:path w="335280" h="303847">
                  <a:moveTo>
                    <a:pt x="259080" y="0"/>
                  </a:moveTo>
                  <a:lnTo>
                    <a:pt x="114300" y="0"/>
                  </a:lnTo>
                  <a:cubicBezTo>
                    <a:pt x="106680" y="0"/>
                    <a:pt x="99060" y="953"/>
                    <a:pt x="91440" y="2858"/>
                  </a:cubicBezTo>
                  <a:lnTo>
                    <a:pt x="91440" y="2858"/>
                  </a:lnTo>
                  <a:cubicBezTo>
                    <a:pt x="89535" y="2858"/>
                    <a:pt x="87630" y="3810"/>
                    <a:pt x="85725" y="4763"/>
                  </a:cubicBezTo>
                  <a:lnTo>
                    <a:pt x="84773" y="4763"/>
                  </a:lnTo>
                  <a:lnTo>
                    <a:pt x="82868" y="5715"/>
                  </a:lnTo>
                  <a:lnTo>
                    <a:pt x="82868" y="5715"/>
                  </a:lnTo>
                  <a:lnTo>
                    <a:pt x="80963" y="6668"/>
                  </a:lnTo>
                  <a:lnTo>
                    <a:pt x="80010" y="6668"/>
                  </a:lnTo>
                  <a:lnTo>
                    <a:pt x="79058" y="6668"/>
                  </a:lnTo>
                  <a:lnTo>
                    <a:pt x="77152" y="7620"/>
                  </a:lnTo>
                  <a:lnTo>
                    <a:pt x="75248" y="8573"/>
                  </a:lnTo>
                  <a:lnTo>
                    <a:pt x="75248" y="8573"/>
                  </a:lnTo>
                  <a:lnTo>
                    <a:pt x="72390" y="9525"/>
                  </a:lnTo>
                  <a:lnTo>
                    <a:pt x="72390" y="9525"/>
                  </a:lnTo>
                  <a:lnTo>
                    <a:pt x="69533" y="10478"/>
                  </a:lnTo>
                  <a:lnTo>
                    <a:pt x="69533" y="10478"/>
                  </a:lnTo>
                  <a:lnTo>
                    <a:pt x="66675" y="11430"/>
                  </a:lnTo>
                  <a:lnTo>
                    <a:pt x="66675" y="11430"/>
                  </a:lnTo>
                  <a:lnTo>
                    <a:pt x="63818" y="13335"/>
                  </a:lnTo>
                  <a:lnTo>
                    <a:pt x="63818" y="13335"/>
                  </a:lnTo>
                  <a:lnTo>
                    <a:pt x="60960" y="15240"/>
                  </a:lnTo>
                  <a:lnTo>
                    <a:pt x="60960" y="15240"/>
                  </a:lnTo>
                  <a:lnTo>
                    <a:pt x="58102" y="17145"/>
                  </a:lnTo>
                  <a:lnTo>
                    <a:pt x="58102" y="17145"/>
                  </a:lnTo>
                  <a:lnTo>
                    <a:pt x="56198" y="19050"/>
                  </a:lnTo>
                  <a:lnTo>
                    <a:pt x="56198" y="19050"/>
                  </a:lnTo>
                  <a:lnTo>
                    <a:pt x="54293" y="20955"/>
                  </a:lnTo>
                  <a:lnTo>
                    <a:pt x="54293" y="20955"/>
                  </a:lnTo>
                  <a:lnTo>
                    <a:pt x="54293" y="20955"/>
                  </a:lnTo>
                  <a:cubicBezTo>
                    <a:pt x="51435" y="22860"/>
                    <a:pt x="47625" y="25718"/>
                    <a:pt x="44768" y="28575"/>
                  </a:cubicBezTo>
                  <a:lnTo>
                    <a:pt x="44768" y="28575"/>
                  </a:lnTo>
                  <a:lnTo>
                    <a:pt x="42863" y="29528"/>
                  </a:lnTo>
                  <a:lnTo>
                    <a:pt x="42863" y="29528"/>
                  </a:lnTo>
                  <a:lnTo>
                    <a:pt x="41910" y="30480"/>
                  </a:lnTo>
                  <a:lnTo>
                    <a:pt x="40958" y="31433"/>
                  </a:lnTo>
                  <a:lnTo>
                    <a:pt x="40005" y="32385"/>
                  </a:lnTo>
                  <a:lnTo>
                    <a:pt x="39052" y="33338"/>
                  </a:lnTo>
                  <a:lnTo>
                    <a:pt x="39052" y="33338"/>
                  </a:lnTo>
                  <a:lnTo>
                    <a:pt x="37148" y="35243"/>
                  </a:lnTo>
                  <a:lnTo>
                    <a:pt x="37148" y="35243"/>
                  </a:lnTo>
                  <a:lnTo>
                    <a:pt x="36195" y="36195"/>
                  </a:lnTo>
                  <a:lnTo>
                    <a:pt x="35243" y="37148"/>
                  </a:lnTo>
                  <a:lnTo>
                    <a:pt x="35243" y="37148"/>
                  </a:lnTo>
                  <a:lnTo>
                    <a:pt x="33338" y="39053"/>
                  </a:lnTo>
                  <a:lnTo>
                    <a:pt x="33338" y="39053"/>
                  </a:lnTo>
                  <a:lnTo>
                    <a:pt x="32385" y="40005"/>
                  </a:lnTo>
                  <a:lnTo>
                    <a:pt x="31433" y="40958"/>
                  </a:lnTo>
                  <a:lnTo>
                    <a:pt x="31433" y="41910"/>
                  </a:lnTo>
                  <a:lnTo>
                    <a:pt x="30480" y="43815"/>
                  </a:lnTo>
                  <a:lnTo>
                    <a:pt x="30480" y="43815"/>
                  </a:lnTo>
                  <a:lnTo>
                    <a:pt x="29527" y="45720"/>
                  </a:lnTo>
                  <a:lnTo>
                    <a:pt x="28575" y="46673"/>
                  </a:lnTo>
                  <a:lnTo>
                    <a:pt x="28575" y="47625"/>
                  </a:lnTo>
                  <a:lnTo>
                    <a:pt x="26670" y="49530"/>
                  </a:lnTo>
                  <a:lnTo>
                    <a:pt x="26670" y="49530"/>
                  </a:lnTo>
                  <a:lnTo>
                    <a:pt x="24765" y="52388"/>
                  </a:lnTo>
                  <a:lnTo>
                    <a:pt x="23813" y="54293"/>
                  </a:lnTo>
                  <a:lnTo>
                    <a:pt x="23813" y="55245"/>
                  </a:lnTo>
                  <a:lnTo>
                    <a:pt x="23813" y="56198"/>
                  </a:lnTo>
                  <a:cubicBezTo>
                    <a:pt x="16193" y="67628"/>
                    <a:pt x="10477" y="80963"/>
                    <a:pt x="5715" y="94298"/>
                  </a:cubicBezTo>
                  <a:lnTo>
                    <a:pt x="5715" y="95250"/>
                  </a:lnTo>
                  <a:cubicBezTo>
                    <a:pt x="4763" y="97155"/>
                    <a:pt x="4763" y="99060"/>
                    <a:pt x="3810" y="101918"/>
                  </a:cubicBezTo>
                  <a:lnTo>
                    <a:pt x="3810" y="101918"/>
                  </a:lnTo>
                  <a:cubicBezTo>
                    <a:pt x="1905" y="107633"/>
                    <a:pt x="952" y="113348"/>
                    <a:pt x="0" y="119063"/>
                  </a:cubicBezTo>
                  <a:lnTo>
                    <a:pt x="0" y="120015"/>
                  </a:lnTo>
                  <a:lnTo>
                    <a:pt x="0" y="122873"/>
                  </a:lnTo>
                  <a:lnTo>
                    <a:pt x="0" y="122873"/>
                  </a:lnTo>
                  <a:lnTo>
                    <a:pt x="0" y="125730"/>
                  </a:lnTo>
                  <a:lnTo>
                    <a:pt x="0" y="126683"/>
                  </a:lnTo>
                  <a:lnTo>
                    <a:pt x="0" y="129540"/>
                  </a:lnTo>
                  <a:lnTo>
                    <a:pt x="0" y="130493"/>
                  </a:lnTo>
                  <a:lnTo>
                    <a:pt x="0" y="133350"/>
                  </a:lnTo>
                  <a:lnTo>
                    <a:pt x="0" y="134303"/>
                  </a:lnTo>
                  <a:lnTo>
                    <a:pt x="0" y="137160"/>
                  </a:lnTo>
                  <a:lnTo>
                    <a:pt x="0" y="138113"/>
                  </a:lnTo>
                  <a:lnTo>
                    <a:pt x="0" y="140970"/>
                  </a:lnTo>
                  <a:lnTo>
                    <a:pt x="0" y="141923"/>
                  </a:lnTo>
                  <a:lnTo>
                    <a:pt x="0" y="144780"/>
                  </a:lnTo>
                  <a:lnTo>
                    <a:pt x="0" y="144780"/>
                  </a:lnTo>
                  <a:lnTo>
                    <a:pt x="0" y="148590"/>
                  </a:lnTo>
                  <a:lnTo>
                    <a:pt x="0" y="148590"/>
                  </a:lnTo>
                  <a:lnTo>
                    <a:pt x="0" y="152400"/>
                  </a:lnTo>
                  <a:lnTo>
                    <a:pt x="0" y="227648"/>
                  </a:lnTo>
                  <a:lnTo>
                    <a:pt x="0" y="303848"/>
                  </a:lnTo>
                  <a:lnTo>
                    <a:pt x="72390" y="303848"/>
                  </a:lnTo>
                  <a:cubicBezTo>
                    <a:pt x="73343" y="303848"/>
                    <a:pt x="75248" y="303848"/>
                    <a:pt x="76200" y="303848"/>
                  </a:cubicBezTo>
                  <a:lnTo>
                    <a:pt x="220980" y="303848"/>
                  </a:lnTo>
                  <a:cubicBezTo>
                    <a:pt x="228600" y="303848"/>
                    <a:pt x="236220" y="302895"/>
                    <a:pt x="243840" y="300990"/>
                  </a:cubicBezTo>
                  <a:lnTo>
                    <a:pt x="243840" y="300990"/>
                  </a:lnTo>
                  <a:cubicBezTo>
                    <a:pt x="245745" y="300990"/>
                    <a:pt x="247650" y="300038"/>
                    <a:pt x="249555" y="299085"/>
                  </a:cubicBezTo>
                  <a:lnTo>
                    <a:pt x="250508" y="299085"/>
                  </a:lnTo>
                  <a:lnTo>
                    <a:pt x="252413" y="298133"/>
                  </a:lnTo>
                  <a:lnTo>
                    <a:pt x="252413" y="298133"/>
                  </a:lnTo>
                  <a:lnTo>
                    <a:pt x="254318" y="297180"/>
                  </a:lnTo>
                  <a:lnTo>
                    <a:pt x="255270" y="297180"/>
                  </a:lnTo>
                  <a:lnTo>
                    <a:pt x="256223" y="297180"/>
                  </a:lnTo>
                  <a:lnTo>
                    <a:pt x="258127" y="296228"/>
                  </a:lnTo>
                  <a:lnTo>
                    <a:pt x="260033" y="295275"/>
                  </a:lnTo>
                  <a:lnTo>
                    <a:pt x="260033" y="295275"/>
                  </a:lnTo>
                  <a:lnTo>
                    <a:pt x="262890" y="294323"/>
                  </a:lnTo>
                  <a:lnTo>
                    <a:pt x="262890" y="294323"/>
                  </a:lnTo>
                  <a:lnTo>
                    <a:pt x="265748" y="293370"/>
                  </a:lnTo>
                  <a:lnTo>
                    <a:pt x="265748" y="293370"/>
                  </a:lnTo>
                  <a:lnTo>
                    <a:pt x="268605" y="292418"/>
                  </a:lnTo>
                  <a:lnTo>
                    <a:pt x="268605" y="292418"/>
                  </a:lnTo>
                  <a:lnTo>
                    <a:pt x="271463" y="290513"/>
                  </a:lnTo>
                  <a:lnTo>
                    <a:pt x="271463" y="290513"/>
                  </a:lnTo>
                  <a:lnTo>
                    <a:pt x="274320" y="288608"/>
                  </a:lnTo>
                  <a:lnTo>
                    <a:pt x="274320" y="288608"/>
                  </a:lnTo>
                  <a:lnTo>
                    <a:pt x="277178" y="286703"/>
                  </a:lnTo>
                  <a:lnTo>
                    <a:pt x="277178" y="286703"/>
                  </a:lnTo>
                  <a:lnTo>
                    <a:pt x="279083" y="284798"/>
                  </a:lnTo>
                  <a:lnTo>
                    <a:pt x="279083" y="284798"/>
                  </a:lnTo>
                  <a:lnTo>
                    <a:pt x="280988" y="282893"/>
                  </a:lnTo>
                  <a:lnTo>
                    <a:pt x="280988" y="282893"/>
                  </a:lnTo>
                  <a:lnTo>
                    <a:pt x="280988" y="282893"/>
                  </a:lnTo>
                  <a:cubicBezTo>
                    <a:pt x="283845" y="280988"/>
                    <a:pt x="287655" y="278130"/>
                    <a:pt x="290513" y="275273"/>
                  </a:cubicBezTo>
                  <a:lnTo>
                    <a:pt x="290513" y="275273"/>
                  </a:lnTo>
                  <a:lnTo>
                    <a:pt x="292418" y="274320"/>
                  </a:lnTo>
                  <a:lnTo>
                    <a:pt x="292418" y="274320"/>
                  </a:lnTo>
                  <a:lnTo>
                    <a:pt x="293370" y="273368"/>
                  </a:lnTo>
                  <a:lnTo>
                    <a:pt x="294323" y="272415"/>
                  </a:lnTo>
                  <a:lnTo>
                    <a:pt x="295275" y="271463"/>
                  </a:lnTo>
                  <a:lnTo>
                    <a:pt x="296228" y="270510"/>
                  </a:lnTo>
                  <a:lnTo>
                    <a:pt x="296228" y="270510"/>
                  </a:lnTo>
                  <a:lnTo>
                    <a:pt x="298133" y="268605"/>
                  </a:lnTo>
                  <a:lnTo>
                    <a:pt x="298133" y="268605"/>
                  </a:lnTo>
                  <a:lnTo>
                    <a:pt x="299085" y="267653"/>
                  </a:lnTo>
                  <a:lnTo>
                    <a:pt x="300038" y="266700"/>
                  </a:lnTo>
                  <a:lnTo>
                    <a:pt x="300038" y="266700"/>
                  </a:lnTo>
                  <a:lnTo>
                    <a:pt x="301943" y="264795"/>
                  </a:lnTo>
                  <a:lnTo>
                    <a:pt x="301943" y="264795"/>
                  </a:lnTo>
                  <a:lnTo>
                    <a:pt x="302895" y="263843"/>
                  </a:lnTo>
                  <a:lnTo>
                    <a:pt x="303848" y="262890"/>
                  </a:lnTo>
                  <a:lnTo>
                    <a:pt x="303848" y="261938"/>
                  </a:lnTo>
                  <a:lnTo>
                    <a:pt x="304800" y="260033"/>
                  </a:lnTo>
                  <a:lnTo>
                    <a:pt x="304800" y="260033"/>
                  </a:lnTo>
                  <a:lnTo>
                    <a:pt x="305753" y="258128"/>
                  </a:lnTo>
                  <a:lnTo>
                    <a:pt x="306705" y="257175"/>
                  </a:lnTo>
                  <a:lnTo>
                    <a:pt x="306705" y="256223"/>
                  </a:lnTo>
                  <a:lnTo>
                    <a:pt x="308610" y="254318"/>
                  </a:lnTo>
                  <a:lnTo>
                    <a:pt x="308610" y="254318"/>
                  </a:lnTo>
                  <a:lnTo>
                    <a:pt x="310515" y="251460"/>
                  </a:lnTo>
                  <a:lnTo>
                    <a:pt x="311468" y="249555"/>
                  </a:lnTo>
                  <a:lnTo>
                    <a:pt x="311468" y="248603"/>
                  </a:lnTo>
                  <a:lnTo>
                    <a:pt x="311468" y="247650"/>
                  </a:lnTo>
                  <a:cubicBezTo>
                    <a:pt x="319088" y="236220"/>
                    <a:pt x="324803" y="222885"/>
                    <a:pt x="329565" y="209550"/>
                  </a:cubicBezTo>
                  <a:lnTo>
                    <a:pt x="329565" y="208598"/>
                  </a:lnTo>
                  <a:cubicBezTo>
                    <a:pt x="330518" y="206693"/>
                    <a:pt x="330518" y="204788"/>
                    <a:pt x="331470" y="201930"/>
                  </a:cubicBezTo>
                  <a:lnTo>
                    <a:pt x="331470" y="201930"/>
                  </a:lnTo>
                  <a:cubicBezTo>
                    <a:pt x="333375" y="196215"/>
                    <a:pt x="334328" y="190500"/>
                    <a:pt x="335280" y="184785"/>
                  </a:cubicBezTo>
                  <a:lnTo>
                    <a:pt x="335280" y="183833"/>
                  </a:lnTo>
                  <a:lnTo>
                    <a:pt x="335280" y="180975"/>
                  </a:lnTo>
                  <a:lnTo>
                    <a:pt x="335280" y="180975"/>
                  </a:lnTo>
                  <a:lnTo>
                    <a:pt x="335280" y="178118"/>
                  </a:lnTo>
                  <a:lnTo>
                    <a:pt x="335280" y="177165"/>
                  </a:lnTo>
                  <a:lnTo>
                    <a:pt x="335280" y="174308"/>
                  </a:lnTo>
                  <a:lnTo>
                    <a:pt x="335280" y="173355"/>
                  </a:lnTo>
                  <a:lnTo>
                    <a:pt x="335280" y="170498"/>
                  </a:lnTo>
                  <a:lnTo>
                    <a:pt x="335280" y="169545"/>
                  </a:lnTo>
                  <a:lnTo>
                    <a:pt x="335280" y="166688"/>
                  </a:lnTo>
                  <a:lnTo>
                    <a:pt x="335280" y="165735"/>
                  </a:lnTo>
                  <a:lnTo>
                    <a:pt x="335280" y="162878"/>
                  </a:lnTo>
                  <a:lnTo>
                    <a:pt x="335280" y="161925"/>
                  </a:lnTo>
                  <a:lnTo>
                    <a:pt x="335280" y="159068"/>
                  </a:lnTo>
                  <a:lnTo>
                    <a:pt x="335280" y="159068"/>
                  </a:lnTo>
                  <a:lnTo>
                    <a:pt x="335280" y="155258"/>
                  </a:lnTo>
                  <a:lnTo>
                    <a:pt x="335280" y="155258"/>
                  </a:lnTo>
                  <a:lnTo>
                    <a:pt x="335280" y="151448"/>
                  </a:lnTo>
                  <a:lnTo>
                    <a:pt x="335280" y="76200"/>
                  </a:lnTo>
                  <a:lnTo>
                    <a:pt x="335280" y="0"/>
                  </a:lnTo>
                  <a:lnTo>
                    <a:pt x="262890" y="0"/>
                  </a:lnTo>
                  <a:cubicBezTo>
                    <a:pt x="261938" y="0"/>
                    <a:pt x="260033" y="0"/>
                    <a:pt x="259080" y="0"/>
                  </a:cubicBezTo>
                  <a:close/>
                </a:path>
              </a:pathLst>
            </a:custGeom>
            <a:solidFill>
              <a:schemeClr val="accent4"/>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grpSp>
        <p:nvGrpSpPr>
          <p:cNvPr id="23" name="Group 11">
            <a:extLst>
              <a:ext uri="{FF2B5EF4-FFF2-40B4-BE49-F238E27FC236}">
                <a16:creationId xmlns:a16="http://schemas.microsoft.com/office/drawing/2014/main" id="{5051B9EA-0CE9-4074-AD99-917FA9FECAEA}"/>
              </a:ext>
            </a:extLst>
          </p:cNvPr>
          <p:cNvGrpSpPr/>
          <p:nvPr/>
        </p:nvGrpSpPr>
        <p:grpSpPr>
          <a:xfrm>
            <a:off x="5977829" y="3654117"/>
            <a:ext cx="2072767" cy="2289883"/>
            <a:chOff x="5977829" y="3654117"/>
            <a:chExt cx="2072767" cy="2289883"/>
          </a:xfrm>
        </p:grpSpPr>
        <p:sp>
          <p:nvSpPr>
            <p:cNvPr id="24" name="Freeform: Shape 92">
              <a:extLst>
                <a:ext uri="{FF2B5EF4-FFF2-40B4-BE49-F238E27FC236}">
                  <a16:creationId xmlns:a16="http://schemas.microsoft.com/office/drawing/2014/main" id="{61E91BFD-6696-45C2-9C9E-EA7EF5B6DE27}"/>
                </a:ext>
              </a:extLst>
            </p:cNvPr>
            <p:cNvSpPr/>
            <p:nvPr/>
          </p:nvSpPr>
          <p:spPr>
            <a:xfrm>
              <a:off x="5977829" y="4571798"/>
              <a:ext cx="1056079" cy="1372202"/>
            </a:xfrm>
            <a:custGeom>
              <a:avLst/>
              <a:gdLst>
                <a:gd name="connsiteX0" fmla="*/ 106680 w 944880"/>
                <a:gd name="connsiteY0" fmla="*/ 427672 h 1227718"/>
                <a:gd name="connsiteX1" fmla="*/ 824865 w 944880"/>
                <a:gd name="connsiteY1" fmla="*/ 60960 h 1227718"/>
                <a:gd name="connsiteX2" fmla="*/ 944880 w 944880"/>
                <a:gd name="connsiteY2" fmla="*/ 0 h 1227718"/>
                <a:gd name="connsiteX3" fmla="*/ 944880 w 944880"/>
                <a:gd name="connsiteY3" fmla="*/ 148590 h 1227718"/>
                <a:gd name="connsiteX4" fmla="*/ 167640 w 944880"/>
                <a:gd name="connsiteY4" fmla="*/ 545782 h 1227718"/>
                <a:gd name="connsiteX5" fmla="*/ 133350 w 944880"/>
                <a:gd name="connsiteY5" fmla="*/ 615315 h 1227718"/>
                <a:gd name="connsiteX6" fmla="*/ 133350 w 944880"/>
                <a:gd name="connsiteY6" fmla="*/ 872490 h 1227718"/>
                <a:gd name="connsiteX7" fmla="*/ 133350 w 944880"/>
                <a:gd name="connsiteY7" fmla="*/ 1055370 h 1227718"/>
                <a:gd name="connsiteX8" fmla="*/ 133350 w 944880"/>
                <a:gd name="connsiteY8" fmla="*/ 1203960 h 1227718"/>
                <a:gd name="connsiteX9" fmla="*/ 106680 w 944880"/>
                <a:gd name="connsiteY9" fmla="*/ 1217295 h 1227718"/>
                <a:gd name="connsiteX10" fmla="*/ 0 w 944880"/>
                <a:gd name="connsiteY10" fmla="*/ 1137285 h 1227718"/>
                <a:gd name="connsiteX11" fmla="*/ 0 w 944880"/>
                <a:gd name="connsiteY11" fmla="*/ 614363 h 1227718"/>
                <a:gd name="connsiteX12" fmla="*/ 106680 w 944880"/>
                <a:gd name="connsiteY12" fmla="*/ 427672 h 12277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44880" h="1227718">
                  <a:moveTo>
                    <a:pt x="106680" y="427672"/>
                  </a:moveTo>
                  <a:lnTo>
                    <a:pt x="824865" y="60960"/>
                  </a:lnTo>
                  <a:lnTo>
                    <a:pt x="944880" y="0"/>
                  </a:lnTo>
                  <a:lnTo>
                    <a:pt x="944880" y="148590"/>
                  </a:lnTo>
                  <a:lnTo>
                    <a:pt x="167640" y="545782"/>
                  </a:lnTo>
                  <a:cubicBezTo>
                    <a:pt x="150495" y="556260"/>
                    <a:pt x="133350" y="595313"/>
                    <a:pt x="133350" y="615315"/>
                  </a:cubicBezTo>
                  <a:lnTo>
                    <a:pt x="133350" y="872490"/>
                  </a:lnTo>
                  <a:lnTo>
                    <a:pt x="133350" y="1055370"/>
                  </a:lnTo>
                  <a:lnTo>
                    <a:pt x="133350" y="1203960"/>
                  </a:lnTo>
                  <a:lnTo>
                    <a:pt x="106680" y="1217295"/>
                  </a:lnTo>
                  <a:cubicBezTo>
                    <a:pt x="48578" y="1246823"/>
                    <a:pt x="0" y="1211580"/>
                    <a:pt x="0" y="1137285"/>
                  </a:cubicBezTo>
                  <a:lnTo>
                    <a:pt x="0" y="614363"/>
                  </a:lnTo>
                  <a:cubicBezTo>
                    <a:pt x="0" y="542925"/>
                    <a:pt x="47625" y="458152"/>
                    <a:pt x="106680" y="427672"/>
                  </a:cubicBezTo>
                  <a:close/>
                </a:path>
              </a:pathLst>
            </a:custGeom>
            <a:solidFill>
              <a:schemeClr val="accent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5" name="Freeform: Shape 106">
              <a:extLst>
                <a:ext uri="{FF2B5EF4-FFF2-40B4-BE49-F238E27FC236}">
                  <a16:creationId xmlns:a16="http://schemas.microsoft.com/office/drawing/2014/main" id="{DA76E29C-26E8-4A4D-8AE1-C34BE03A2E2B}"/>
                </a:ext>
              </a:extLst>
            </p:cNvPr>
            <p:cNvSpPr/>
            <p:nvPr/>
          </p:nvSpPr>
          <p:spPr>
            <a:xfrm>
              <a:off x="7170176" y="3654117"/>
              <a:ext cx="880420" cy="775025"/>
            </a:xfrm>
            <a:custGeom>
              <a:avLst/>
              <a:gdLst>
                <a:gd name="connsiteX0" fmla="*/ 613410 w 787717"/>
                <a:gd name="connsiteY0" fmla="*/ 0 h 693420"/>
                <a:gd name="connsiteX1" fmla="*/ 281940 w 787717"/>
                <a:gd name="connsiteY1" fmla="*/ 0 h 693420"/>
                <a:gd name="connsiteX2" fmla="*/ 0 w 787717"/>
                <a:gd name="connsiteY2" fmla="*/ 346710 h 693420"/>
                <a:gd name="connsiteX3" fmla="*/ 0 w 787717"/>
                <a:gd name="connsiteY3" fmla="*/ 693420 h 693420"/>
                <a:gd name="connsiteX4" fmla="*/ 523875 w 787717"/>
                <a:gd name="connsiteY4" fmla="*/ 692468 h 693420"/>
                <a:gd name="connsiteX5" fmla="*/ 787718 w 787717"/>
                <a:gd name="connsiteY5" fmla="*/ 345758 h 693420"/>
                <a:gd name="connsiteX6" fmla="*/ 787718 w 787717"/>
                <a:gd name="connsiteY6" fmla="*/ 172403 h 693420"/>
                <a:gd name="connsiteX7" fmla="*/ 613410 w 787717"/>
                <a:gd name="connsiteY7" fmla="*/ 0 h 693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7717" h="693420">
                  <a:moveTo>
                    <a:pt x="613410" y="0"/>
                  </a:moveTo>
                  <a:lnTo>
                    <a:pt x="281940" y="0"/>
                  </a:lnTo>
                  <a:cubicBezTo>
                    <a:pt x="126683" y="0"/>
                    <a:pt x="0" y="156210"/>
                    <a:pt x="0" y="346710"/>
                  </a:cubicBezTo>
                  <a:lnTo>
                    <a:pt x="0" y="693420"/>
                  </a:lnTo>
                  <a:lnTo>
                    <a:pt x="523875" y="692468"/>
                  </a:lnTo>
                  <a:cubicBezTo>
                    <a:pt x="671513" y="681038"/>
                    <a:pt x="787718" y="528638"/>
                    <a:pt x="787718" y="345758"/>
                  </a:cubicBezTo>
                  <a:lnTo>
                    <a:pt x="787718" y="172403"/>
                  </a:lnTo>
                  <a:cubicBezTo>
                    <a:pt x="786765" y="78105"/>
                    <a:pt x="708660" y="0"/>
                    <a:pt x="613410" y="0"/>
                  </a:cubicBezTo>
                  <a:close/>
                </a:path>
              </a:pathLst>
            </a:custGeom>
            <a:solidFill>
              <a:schemeClr val="accent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6" name="Freeform: Shape 107">
              <a:extLst>
                <a:ext uri="{FF2B5EF4-FFF2-40B4-BE49-F238E27FC236}">
                  <a16:creationId xmlns:a16="http://schemas.microsoft.com/office/drawing/2014/main" id="{5A92524C-2C8E-4AC9-9292-B4B144611D1E}"/>
                </a:ext>
              </a:extLst>
            </p:cNvPr>
            <p:cNvSpPr/>
            <p:nvPr/>
          </p:nvSpPr>
          <p:spPr>
            <a:xfrm>
              <a:off x="6565487" y="4461079"/>
              <a:ext cx="568493" cy="502489"/>
            </a:xfrm>
            <a:custGeom>
              <a:avLst/>
              <a:gdLst>
                <a:gd name="connsiteX0" fmla="*/ 112395 w 508634"/>
                <a:gd name="connsiteY0" fmla="*/ 449580 h 449580"/>
                <a:gd name="connsiteX1" fmla="*/ 326707 w 508634"/>
                <a:gd name="connsiteY1" fmla="*/ 449580 h 449580"/>
                <a:gd name="connsiteX2" fmla="*/ 508635 w 508634"/>
                <a:gd name="connsiteY2" fmla="*/ 224790 h 449580"/>
                <a:gd name="connsiteX3" fmla="*/ 508635 w 508634"/>
                <a:gd name="connsiteY3" fmla="*/ 0 h 449580"/>
                <a:gd name="connsiteX4" fmla="*/ 170497 w 508634"/>
                <a:gd name="connsiteY4" fmla="*/ 953 h 449580"/>
                <a:gd name="connsiteX5" fmla="*/ 0 w 508634"/>
                <a:gd name="connsiteY5" fmla="*/ 224790 h 449580"/>
                <a:gd name="connsiteX6" fmla="*/ 0 w 508634"/>
                <a:gd name="connsiteY6" fmla="*/ 336233 h 449580"/>
                <a:gd name="connsiteX7" fmla="*/ 112395 w 508634"/>
                <a:gd name="connsiteY7" fmla="*/ 449580 h 449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8634" h="449580">
                  <a:moveTo>
                    <a:pt x="112395" y="449580"/>
                  </a:moveTo>
                  <a:lnTo>
                    <a:pt x="326707" y="449580"/>
                  </a:lnTo>
                  <a:cubicBezTo>
                    <a:pt x="426720" y="449580"/>
                    <a:pt x="508635" y="348615"/>
                    <a:pt x="508635" y="224790"/>
                  </a:cubicBezTo>
                  <a:lnTo>
                    <a:pt x="508635" y="0"/>
                  </a:lnTo>
                  <a:lnTo>
                    <a:pt x="170497" y="953"/>
                  </a:lnTo>
                  <a:cubicBezTo>
                    <a:pt x="75247" y="8573"/>
                    <a:pt x="0" y="106680"/>
                    <a:pt x="0" y="224790"/>
                  </a:cubicBezTo>
                  <a:lnTo>
                    <a:pt x="0" y="336233"/>
                  </a:lnTo>
                  <a:cubicBezTo>
                    <a:pt x="0" y="398145"/>
                    <a:pt x="50482" y="449580"/>
                    <a:pt x="112395" y="449580"/>
                  </a:cubicBezTo>
                  <a:close/>
                </a:path>
              </a:pathLst>
            </a:custGeom>
            <a:solidFill>
              <a:schemeClr val="accent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useBgFill="1">
          <p:nvSpPr>
            <p:cNvPr id="27" name="Freeform: Shape 108">
              <a:extLst>
                <a:ext uri="{FF2B5EF4-FFF2-40B4-BE49-F238E27FC236}">
                  <a16:creationId xmlns:a16="http://schemas.microsoft.com/office/drawing/2014/main" id="{87BA5FD2-8766-41FE-9BFD-47B488FA1519}"/>
                </a:ext>
              </a:extLst>
            </p:cNvPr>
            <p:cNvSpPr/>
            <p:nvPr/>
          </p:nvSpPr>
          <p:spPr>
            <a:xfrm>
              <a:off x="6611796" y="4508986"/>
              <a:ext cx="475874" cy="406674"/>
            </a:xfrm>
            <a:custGeom>
              <a:avLst/>
              <a:gdLst>
                <a:gd name="connsiteX0" fmla="*/ 425768 w 425767"/>
                <a:gd name="connsiteY0" fmla="*/ 0 h 363854"/>
                <a:gd name="connsiteX1" fmla="*/ 130492 w 425767"/>
                <a:gd name="connsiteY1" fmla="*/ 0 h 363854"/>
                <a:gd name="connsiteX2" fmla="*/ 0 w 425767"/>
                <a:gd name="connsiteY2" fmla="*/ 181927 h 363854"/>
                <a:gd name="connsiteX3" fmla="*/ 0 w 425767"/>
                <a:gd name="connsiteY3" fmla="*/ 293370 h 363854"/>
                <a:gd name="connsiteX4" fmla="*/ 70485 w 425767"/>
                <a:gd name="connsiteY4" fmla="*/ 363855 h 363854"/>
                <a:gd name="connsiteX5" fmla="*/ 284797 w 425767"/>
                <a:gd name="connsiteY5" fmla="*/ 363855 h 363854"/>
                <a:gd name="connsiteX6" fmla="*/ 425768 w 425767"/>
                <a:gd name="connsiteY6" fmla="*/ 180975 h 363854"/>
                <a:gd name="connsiteX7" fmla="*/ 425768 w 425767"/>
                <a:gd name="connsiteY7" fmla="*/ 0 h 3638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5767" h="363854">
                  <a:moveTo>
                    <a:pt x="425768" y="0"/>
                  </a:moveTo>
                  <a:lnTo>
                    <a:pt x="130492" y="0"/>
                  </a:lnTo>
                  <a:cubicBezTo>
                    <a:pt x="44767" y="7620"/>
                    <a:pt x="0" y="105727"/>
                    <a:pt x="0" y="181927"/>
                  </a:cubicBezTo>
                  <a:lnTo>
                    <a:pt x="0" y="293370"/>
                  </a:lnTo>
                  <a:cubicBezTo>
                    <a:pt x="0" y="332422"/>
                    <a:pt x="32385" y="363855"/>
                    <a:pt x="70485" y="363855"/>
                  </a:cubicBezTo>
                  <a:lnTo>
                    <a:pt x="284797" y="363855"/>
                  </a:lnTo>
                  <a:cubicBezTo>
                    <a:pt x="375285" y="363855"/>
                    <a:pt x="425768" y="260985"/>
                    <a:pt x="425768" y="180975"/>
                  </a:cubicBezTo>
                  <a:lnTo>
                    <a:pt x="425768" y="0"/>
                  </a:lnTo>
                  <a:close/>
                </a:path>
              </a:pathLst>
            </a:custGeom>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8" name="Freeform: Shape 109">
              <a:extLst>
                <a:ext uri="{FF2B5EF4-FFF2-40B4-BE49-F238E27FC236}">
                  <a16:creationId xmlns:a16="http://schemas.microsoft.com/office/drawing/2014/main" id="{0B82EB7E-F2DF-453B-80E4-43BB63449C7F}"/>
                </a:ext>
              </a:extLst>
            </p:cNvPr>
            <p:cNvSpPr/>
            <p:nvPr/>
          </p:nvSpPr>
          <p:spPr>
            <a:xfrm>
              <a:off x="7177629" y="4461079"/>
              <a:ext cx="367285" cy="339605"/>
            </a:xfrm>
            <a:custGeom>
              <a:avLst/>
              <a:gdLst>
                <a:gd name="connsiteX0" fmla="*/ 69532 w 328612"/>
                <a:gd name="connsiteY0" fmla="*/ 0 h 303847"/>
                <a:gd name="connsiteX1" fmla="*/ 214313 w 328612"/>
                <a:gd name="connsiteY1" fmla="*/ 0 h 303847"/>
                <a:gd name="connsiteX2" fmla="*/ 237172 w 328612"/>
                <a:gd name="connsiteY2" fmla="*/ 2858 h 303847"/>
                <a:gd name="connsiteX3" fmla="*/ 237172 w 328612"/>
                <a:gd name="connsiteY3" fmla="*/ 2858 h 303847"/>
                <a:gd name="connsiteX4" fmla="*/ 242888 w 328612"/>
                <a:gd name="connsiteY4" fmla="*/ 4763 h 303847"/>
                <a:gd name="connsiteX5" fmla="*/ 243840 w 328612"/>
                <a:gd name="connsiteY5" fmla="*/ 4763 h 303847"/>
                <a:gd name="connsiteX6" fmla="*/ 245745 w 328612"/>
                <a:gd name="connsiteY6" fmla="*/ 5715 h 303847"/>
                <a:gd name="connsiteX7" fmla="*/ 245745 w 328612"/>
                <a:gd name="connsiteY7" fmla="*/ 5715 h 303847"/>
                <a:gd name="connsiteX8" fmla="*/ 247650 w 328612"/>
                <a:gd name="connsiteY8" fmla="*/ 6668 h 303847"/>
                <a:gd name="connsiteX9" fmla="*/ 248603 w 328612"/>
                <a:gd name="connsiteY9" fmla="*/ 6668 h 303847"/>
                <a:gd name="connsiteX10" fmla="*/ 249555 w 328612"/>
                <a:gd name="connsiteY10" fmla="*/ 6668 h 303847"/>
                <a:gd name="connsiteX11" fmla="*/ 251460 w 328612"/>
                <a:gd name="connsiteY11" fmla="*/ 7620 h 303847"/>
                <a:gd name="connsiteX12" fmla="*/ 253365 w 328612"/>
                <a:gd name="connsiteY12" fmla="*/ 8573 h 303847"/>
                <a:gd name="connsiteX13" fmla="*/ 253365 w 328612"/>
                <a:gd name="connsiteY13" fmla="*/ 8573 h 303847"/>
                <a:gd name="connsiteX14" fmla="*/ 256222 w 328612"/>
                <a:gd name="connsiteY14" fmla="*/ 9525 h 303847"/>
                <a:gd name="connsiteX15" fmla="*/ 256222 w 328612"/>
                <a:gd name="connsiteY15" fmla="*/ 9525 h 303847"/>
                <a:gd name="connsiteX16" fmla="*/ 259080 w 328612"/>
                <a:gd name="connsiteY16" fmla="*/ 10478 h 303847"/>
                <a:gd name="connsiteX17" fmla="*/ 259080 w 328612"/>
                <a:gd name="connsiteY17" fmla="*/ 10478 h 303847"/>
                <a:gd name="connsiteX18" fmla="*/ 261938 w 328612"/>
                <a:gd name="connsiteY18" fmla="*/ 11430 h 303847"/>
                <a:gd name="connsiteX19" fmla="*/ 261938 w 328612"/>
                <a:gd name="connsiteY19" fmla="*/ 11430 h 303847"/>
                <a:gd name="connsiteX20" fmla="*/ 264795 w 328612"/>
                <a:gd name="connsiteY20" fmla="*/ 13335 h 303847"/>
                <a:gd name="connsiteX21" fmla="*/ 264795 w 328612"/>
                <a:gd name="connsiteY21" fmla="*/ 13335 h 303847"/>
                <a:gd name="connsiteX22" fmla="*/ 267653 w 328612"/>
                <a:gd name="connsiteY22" fmla="*/ 15240 h 303847"/>
                <a:gd name="connsiteX23" fmla="*/ 267653 w 328612"/>
                <a:gd name="connsiteY23" fmla="*/ 15240 h 303847"/>
                <a:gd name="connsiteX24" fmla="*/ 270510 w 328612"/>
                <a:gd name="connsiteY24" fmla="*/ 17145 h 303847"/>
                <a:gd name="connsiteX25" fmla="*/ 270510 w 328612"/>
                <a:gd name="connsiteY25" fmla="*/ 17145 h 303847"/>
                <a:gd name="connsiteX26" fmla="*/ 272415 w 328612"/>
                <a:gd name="connsiteY26" fmla="*/ 19050 h 303847"/>
                <a:gd name="connsiteX27" fmla="*/ 272415 w 328612"/>
                <a:gd name="connsiteY27" fmla="*/ 19050 h 303847"/>
                <a:gd name="connsiteX28" fmla="*/ 274320 w 328612"/>
                <a:gd name="connsiteY28" fmla="*/ 20955 h 303847"/>
                <a:gd name="connsiteX29" fmla="*/ 274320 w 328612"/>
                <a:gd name="connsiteY29" fmla="*/ 20955 h 303847"/>
                <a:gd name="connsiteX30" fmla="*/ 274320 w 328612"/>
                <a:gd name="connsiteY30" fmla="*/ 20955 h 303847"/>
                <a:gd name="connsiteX31" fmla="*/ 283845 w 328612"/>
                <a:gd name="connsiteY31" fmla="*/ 28575 h 303847"/>
                <a:gd name="connsiteX32" fmla="*/ 283845 w 328612"/>
                <a:gd name="connsiteY32" fmla="*/ 28575 h 303847"/>
                <a:gd name="connsiteX33" fmla="*/ 285750 w 328612"/>
                <a:gd name="connsiteY33" fmla="*/ 29528 h 303847"/>
                <a:gd name="connsiteX34" fmla="*/ 285750 w 328612"/>
                <a:gd name="connsiteY34" fmla="*/ 29528 h 303847"/>
                <a:gd name="connsiteX35" fmla="*/ 286703 w 328612"/>
                <a:gd name="connsiteY35" fmla="*/ 30480 h 303847"/>
                <a:gd name="connsiteX36" fmla="*/ 287655 w 328612"/>
                <a:gd name="connsiteY36" fmla="*/ 31433 h 303847"/>
                <a:gd name="connsiteX37" fmla="*/ 288607 w 328612"/>
                <a:gd name="connsiteY37" fmla="*/ 32385 h 303847"/>
                <a:gd name="connsiteX38" fmla="*/ 289560 w 328612"/>
                <a:gd name="connsiteY38" fmla="*/ 33338 h 303847"/>
                <a:gd name="connsiteX39" fmla="*/ 289560 w 328612"/>
                <a:gd name="connsiteY39" fmla="*/ 33338 h 303847"/>
                <a:gd name="connsiteX40" fmla="*/ 291465 w 328612"/>
                <a:gd name="connsiteY40" fmla="*/ 35243 h 303847"/>
                <a:gd name="connsiteX41" fmla="*/ 291465 w 328612"/>
                <a:gd name="connsiteY41" fmla="*/ 35243 h 303847"/>
                <a:gd name="connsiteX42" fmla="*/ 292417 w 328612"/>
                <a:gd name="connsiteY42" fmla="*/ 36195 h 303847"/>
                <a:gd name="connsiteX43" fmla="*/ 293370 w 328612"/>
                <a:gd name="connsiteY43" fmla="*/ 37148 h 303847"/>
                <a:gd name="connsiteX44" fmla="*/ 293370 w 328612"/>
                <a:gd name="connsiteY44" fmla="*/ 37148 h 303847"/>
                <a:gd name="connsiteX45" fmla="*/ 295275 w 328612"/>
                <a:gd name="connsiteY45" fmla="*/ 39053 h 303847"/>
                <a:gd name="connsiteX46" fmla="*/ 295275 w 328612"/>
                <a:gd name="connsiteY46" fmla="*/ 39053 h 303847"/>
                <a:gd name="connsiteX47" fmla="*/ 296228 w 328612"/>
                <a:gd name="connsiteY47" fmla="*/ 40005 h 303847"/>
                <a:gd name="connsiteX48" fmla="*/ 297180 w 328612"/>
                <a:gd name="connsiteY48" fmla="*/ 40958 h 303847"/>
                <a:gd name="connsiteX49" fmla="*/ 297180 w 328612"/>
                <a:gd name="connsiteY49" fmla="*/ 41910 h 303847"/>
                <a:gd name="connsiteX50" fmla="*/ 298132 w 328612"/>
                <a:gd name="connsiteY50" fmla="*/ 43815 h 303847"/>
                <a:gd name="connsiteX51" fmla="*/ 298132 w 328612"/>
                <a:gd name="connsiteY51" fmla="*/ 43815 h 303847"/>
                <a:gd name="connsiteX52" fmla="*/ 299085 w 328612"/>
                <a:gd name="connsiteY52" fmla="*/ 45720 h 303847"/>
                <a:gd name="connsiteX53" fmla="*/ 300038 w 328612"/>
                <a:gd name="connsiteY53" fmla="*/ 46673 h 303847"/>
                <a:gd name="connsiteX54" fmla="*/ 300038 w 328612"/>
                <a:gd name="connsiteY54" fmla="*/ 47625 h 303847"/>
                <a:gd name="connsiteX55" fmla="*/ 301942 w 328612"/>
                <a:gd name="connsiteY55" fmla="*/ 49530 h 303847"/>
                <a:gd name="connsiteX56" fmla="*/ 301942 w 328612"/>
                <a:gd name="connsiteY56" fmla="*/ 49530 h 303847"/>
                <a:gd name="connsiteX57" fmla="*/ 303847 w 328612"/>
                <a:gd name="connsiteY57" fmla="*/ 52388 h 303847"/>
                <a:gd name="connsiteX58" fmla="*/ 304800 w 328612"/>
                <a:gd name="connsiteY58" fmla="*/ 54293 h 303847"/>
                <a:gd name="connsiteX59" fmla="*/ 304800 w 328612"/>
                <a:gd name="connsiteY59" fmla="*/ 55245 h 303847"/>
                <a:gd name="connsiteX60" fmla="*/ 304800 w 328612"/>
                <a:gd name="connsiteY60" fmla="*/ 56198 h 303847"/>
                <a:gd name="connsiteX61" fmla="*/ 322897 w 328612"/>
                <a:gd name="connsiteY61" fmla="*/ 94298 h 303847"/>
                <a:gd name="connsiteX62" fmla="*/ 322897 w 328612"/>
                <a:gd name="connsiteY62" fmla="*/ 95250 h 303847"/>
                <a:gd name="connsiteX63" fmla="*/ 324803 w 328612"/>
                <a:gd name="connsiteY63" fmla="*/ 101918 h 303847"/>
                <a:gd name="connsiteX64" fmla="*/ 324803 w 328612"/>
                <a:gd name="connsiteY64" fmla="*/ 101918 h 303847"/>
                <a:gd name="connsiteX65" fmla="*/ 328613 w 328612"/>
                <a:gd name="connsiteY65" fmla="*/ 119063 h 303847"/>
                <a:gd name="connsiteX66" fmla="*/ 328613 w 328612"/>
                <a:gd name="connsiteY66" fmla="*/ 120015 h 303847"/>
                <a:gd name="connsiteX67" fmla="*/ 328613 w 328612"/>
                <a:gd name="connsiteY67" fmla="*/ 122873 h 303847"/>
                <a:gd name="connsiteX68" fmla="*/ 328613 w 328612"/>
                <a:gd name="connsiteY68" fmla="*/ 122873 h 303847"/>
                <a:gd name="connsiteX69" fmla="*/ 328613 w 328612"/>
                <a:gd name="connsiteY69" fmla="*/ 125730 h 303847"/>
                <a:gd name="connsiteX70" fmla="*/ 328613 w 328612"/>
                <a:gd name="connsiteY70" fmla="*/ 126683 h 303847"/>
                <a:gd name="connsiteX71" fmla="*/ 328613 w 328612"/>
                <a:gd name="connsiteY71" fmla="*/ 129540 h 303847"/>
                <a:gd name="connsiteX72" fmla="*/ 328613 w 328612"/>
                <a:gd name="connsiteY72" fmla="*/ 130493 h 303847"/>
                <a:gd name="connsiteX73" fmla="*/ 328613 w 328612"/>
                <a:gd name="connsiteY73" fmla="*/ 133350 h 303847"/>
                <a:gd name="connsiteX74" fmla="*/ 328613 w 328612"/>
                <a:gd name="connsiteY74" fmla="*/ 134303 h 303847"/>
                <a:gd name="connsiteX75" fmla="*/ 328613 w 328612"/>
                <a:gd name="connsiteY75" fmla="*/ 137160 h 303847"/>
                <a:gd name="connsiteX76" fmla="*/ 328613 w 328612"/>
                <a:gd name="connsiteY76" fmla="*/ 138113 h 303847"/>
                <a:gd name="connsiteX77" fmla="*/ 328613 w 328612"/>
                <a:gd name="connsiteY77" fmla="*/ 140970 h 303847"/>
                <a:gd name="connsiteX78" fmla="*/ 328613 w 328612"/>
                <a:gd name="connsiteY78" fmla="*/ 141923 h 303847"/>
                <a:gd name="connsiteX79" fmla="*/ 328613 w 328612"/>
                <a:gd name="connsiteY79" fmla="*/ 144780 h 303847"/>
                <a:gd name="connsiteX80" fmla="*/ 328613 w 328612"/>
                <a:gd name="connsiteY80" fmla="*/ 144780 h 303847"/>
                <a:gd name="connsiteX81" fmla="*/ 328613 w 328612"/>
                <a:gd name="connsiteY81" fmla="*/ 148590 h 303847"/>
                <a:gd name="connsiteX82" fmla="*/ 328613 w 328612"/>
                <a:gd name="connsiteY82" fmla="*/ 148590 h 303847"/>
                <a:gd name="connsiteX83" fmla="*/ 328613 w 328612"/>
                <a:gd name="connsiteY83" fmla="*/ 152400 h 303847"/>
                <a:gd name="connsiteX84" fmla="*/ 328613 w 328612"/>
                <a:gd name="connsiteY84" fmla="*/ 227648 h 303847"/>
                <a:gd name="connsiteX85" fmla="*/ 328613 w 328612"/>
                <a:gd name="connsiteY85" fmla="*/ 303848 h 303847"/>
                <a:gd name="connsiteX86" fmla="*/ 256222 w 328612"/>
                <a:gd name="connsiteY86" fmla="*/ 303848 h 303847"/>
                <a:gd name="connsiteX87" fmla="*/ 252413 w 328612"/>
                <a:gd name="connsiteY87" fmla="*/ 303848 h 303847"/>
                <a:gd name="connsiteX88" fmla="*/ 107632 w 328612"/>
                <a:gd name="connsiteY88" fmla="*/ 303848 h 303847"/>
                <a:gd name="connsiteX89" fmla="*/ 84772 w 328612"/>
                <a:gd name="connsiteY89" fmla="*/ 300990 h 303847"/>
                <a:gd name="connsiteX90" fmla="*/ 84772 w 328612"/>
                <a:gd name="connsiteY90" fmla="*/ 300990 h 303847"/>
                <a:gd name="connsiteX91" fmla="*/ 79057 w 328612"/>
                <a:gd name="connsiteY91" fmla="*/ 299085 h 303847"/>
                <a:gd name="connsiteX92" fmla="*/ 78105 w 328612"/>
                <a:gd name="connsiteY92" fmla="*/ 299085 h 303847"/>
                <a:gd name="connsiteX93" fmla="*/ 76200 w 328612"/>
                <a:gd name="connsiteY93" fmla="*/ 298133 h 303847"/>
                <a:gd name="connsiteX94" fmla="*/ 76200 w 328612"/>
                <a:gd name="connsiteY94" fmla="*/ 298133 h 303847"/>
                <a:gd name="connsiteX95" fmla="*/ 74295 w 328612"/>
                <a:gd name="connsiteY95" fmla="*/ 297180 h 303847"/>
                <a:gd name="connsiteX96" fmla="*/ 73342 w 328612"/>
                <a:gd name="connsiteY96" fmla="*/ 297180 h 303847"/>
                <a:gd name="connsiteX97" fmla="*/ 72390 w 328612"/>
                <a:gd name="connsiteY97" fmla="*/ 297180 h 303847"/>
                <a:gd name="connsiteX98" fmla="*/ 70485 w 328612"/>
                <a:gd name="connsiteY98" fmla="*/ 296228 h 303847"/>
                <a:gd name="connsiteX99" fmla="*/ 68580 w 328612"/>
                <a:gd name="connsiteY99" fmla="*/ 295275 h 303847"/>
                <a:gd name="connsiteX100" fmla="*/ 68580 w 328612"/>
                <a:gd name="connsiteY100" fmla="*/ 295275 h 303847"/>
                <a:gd name="connsiteX101" fmla="*/ 65722 w 328612"/>
                <a:gd name="connsiteY101" fmla="*/ 294323 h 303847"/>
                <a:gd name="connsiteX102" fmla="*/ 65722 w 328612"/>
                <a:gd name="connsiteY102" fmla="*/ 294323 h 303847"/>
                <a:gd name="connsiteX103" fmla="*/ 62865 w 328612"/>
                <a:gd name="connsiteY103" fmla="*/ 293370 h 303847"/>
                <a:gd name="connsiteX104" fmla="*/ 62865 w 328612"/>
                <a:gd name="connsiteY104" fmla="*/ 293370 h 303847"/>
                <a:gd name="connsiteX105" fmla="*/ 60007 w 328612"/>
                <a:gd name="connsiteY105" fmla="*/ 292418 h 303847"/>
                <a:gd name="connsiteX106" fmla="*/ 60007 w 328612"/>
                <a:gd name="connsiteY106" fmla="*/ 292418 h 303847"/>
                <a:gd name="connsiteX107" fmla="*/ 57150 w 328612"/>
                <a:gd name="connsiteY107" fmla="*/ 290513 h 303847"/>
                <a:gd name="connsiteX108" fmla="*/ 57150 w 328612"/>
                <a:gd name="connsiteY108" fmla="*/ 290513 h 303847"/>
                <a:gd name="connsiteX109" fmla="*/ 54292 w 328612"/>
                <a:gd name="connsiteY109" fmla="*/ 288608 h 303847"/>
                <a:gd name="connsiteX110" fmla="*/ 54292 w 328612"/>
                <a:gd name="connsiteY110" fmla="*/ 288608 h 303847"/>
                <a:gd name="connsiteX111" fmla="*/ 51435 w 328612"/>
                <a:gd name="connsiteY111" fmla="*/ 286703 h 303847"/>
                <a:gd name="connsiteX112" fmla="*/ 51435 w 328612"/>
                <a:gd name="connsiteY112" fmla="*/ 286703 h 303847"/>
                <a:gd name="connsiteX113" fmla="*/ 49530 w 328612"/>
                <a:gd name="connsiteY113" fmla="*/ 284798 h 303847"/>
                <a:gd name="connsiteX114" fmla="*/ 49530 w 328612"/>
                <a:gd name="connsiteY114" fmla="*/ 284798 h 303847"/>
                <a:gd name="connsiteX115" fmla="*/ 47625 w 328612"/>
                <a:gd name="connsiteY115" fmla="*/ 282893 h 303847"/>
                <a:gd name="connsiteX116" fmla="*/ 47625 w 328612"/>
                <a:gd name="connsiteY116" fmla="*/ 282893 h 303847"/>
                <a:gd name="connsiteX117" fmla="*/ 47625 w 328612"/>
                <a:gd name="connsiteY117" fmla="*/ 282893 h 303847"/>
                <a:gd name="connsiteX118" fmla="*/ 38100 w 328612"/>
                <a:gd name="connsiteY118" fmla="*/ 275273 h 303847"/>
                <a:gd name="connsiteX119" fmla="*/ 38100 w 328612"/>
                <a:gd name="connsiteY119" fmla="*/ 275273 h 303847"/>
                <a:gd name="connsiteX120" fmla="*/ 36195 w 328612"/>
                <a:gd name="connsiteY120" fmla="*/ 274320 h 303847"/>
                <a:gd name="connsiteX121" fmla="*/ 36195 w 328612"/>
                <a:gd name="connsiteY121" fmla="*/ 274320 h 303847"/>
                <a:gd name="connsiteX122" fmla="*/ 35242 w 328612"/>
                <a:gd name="connsiteY122" fmla="*/ 273368 h 303847"/>
                <a:gd name="connsiteX123" fmla="*/ 34290 w 328612"/>
                <a:gd name="connsiteY123" fmla="*/ 272415 h 303847"/>
                <a:gd name="connsiteX124" fmla="*/ 33338 w 328612"/>
                <a:gd name="connsiteY124" fmla="*/ 271463 h 303847"/>
                <a:gd name="connsiteX125" fmla="*/ 32385 w 328612"/>
                <a:gd name="connsiteY125" fmla="*/ 270510 h 303847"/>
                <a:gd name="connsiteX126" fmla="*/ 32385 w 328612"/>
                <a:gd name="connsiteY126" fmla="*/ 270510 h 303847"/>
                <a:gd name="connsiteX127" fmla="*/ 37147 w 328612"/>
                <a:gd name="connsiteY127" fmla="*/ 268605 h 303847"/>
                <a:gd name="connsiteX128" fmla="*/ 37147 w 328612"/>
                <a:gd name="connsiteY128" fmla="*/ 268605 h 303847"/>
                <a:gd name="connsiteX129" fmla="*/ 36195 w 328612"/>
                <a:gd name="connsiteY129" fmla="*/ 267653 h 303847"/>
                <a:gd name="connsiteX130" fmla="*/ 35242 w 328612"/>
                <a:gd name="connsiteY130" fmla="*/ 266700 h 303847"/>
                <a:gd name="connsiteX131" fmla="*/ 35242 w 328612"/>
                <a:gd name="connsiteY131" fmla="*/ 266700 h 303847"/>
                <a:gd name="connsiteX132" fmla="*/ 33338 w 328612"/>
                <a:gd name="connsiteY132" fmla="*/ 264795 h 303847"/>
                <a:gd name="connsiteX133" fmla="*/ 33338 w 328612"/>
                <a:gd name="connsiteY133" fmla="*/ 264795 h 303847"/>
                <a:gd name="connsiteX134" fmla="*/ 32385 w 328612"/>
                <a:gd name="connsiteY134" fmla="*/ 263843 h 303847"/>
                <a:gd name="connsiteX135" fmla="*/ 31432 w 328612"/>
                <a:gd name="connsiteY135" fmla="*/ 262890 h 303847"/>
                <a:gd name="connsiteX136" fmla="*/ 31432 w 328612"/>
                <a:gd name="connsiteY136" fmla="*/ 261938 h 303847"/>
                <a:gd name="connsiteX137" fmla="*/ 30480 w 328612"/>
                <a:gd name="connsiteY137" fmla="*/ 260033 h 303847"/>
                <a:gd name="connsiteX138" fmla="*/ 30480 w 328612"/>
                <a:gd name="connsiteY138" fmla="*/ 260033 h 303847"/>
                <a:gd name="connsiteX139" fmla="*/ 29528 w 328612"/>
                <a:gd name="connsiteY139" fmla="*/ 258128 h 303847"/>
                <a:gd name="connsiteX140" fmla="*/ 28575 w 328612"/>
                <a:gd name="connsiteY140" fmla="*/ 257175 h 303847"/>
                <a:gd name="connsiteX141" fmla="*/ 28575 w 328612"/>
                <a:gd name="connsiteY141" fmla="*/ 256223 h 303847"/>
                <a:gd name="connsiteX142" fmla="*/ 26670 w 328612"/>
                <a:gd name="connsiteY142" fmla="*/ 254318 h 303847"/>
                <a:gd name="connsiteX143" fmla="*/ 26670 w 328612"/>
                <a:gd name="connsiteY143" fmla="*/ 254318 h 303847"/>
                <a:gd name="connsiteX144" fmla="*/ 24765 w 328612"/>
                <a:gd name="connsiteY144" fmla="*/ 251460 h 303847"/>
                <a:gd name="connsiteX145" fmla="*/ 23813 w 328612"/>
                <a:gd name="connsiteY145" fmla="*/ 249555 h 303847"/>
                <a:gd name="connsiteX146" fmla="*/ 23813 w 328612"/>
                <a:gd name="connsiteY146" fmla="*/ 248603 h 303847"/>
                <a:gd name="connsiteX147" fmla="*/ 23813 w 328612"/>
                <a:gd name="connsiteY147" fmla="*/ 247650 h 303847"/>
                <a:gd name="connsiteX148" fmla="*/ 5715 w 328612"/>
                <a:gd name="connsiteY148" fmla="*/ 209550 h 303847"/>
                <a:gd name="connsiteX149" fmla="*/ 5715 w 328612"/>
                <a:gd name="connsiteY149" fmla="*/ 208598 h 303847"/>
                <a:gd name="connsiteX150" fmla="*/ 3810 w 328612"/>
                <a:gd name="connsiteY150" fmla="*/ 201930 h 303847"/>
                <a:gd name="connsiteX151" fmla="*/ 3810 w 328612"/>
                <a:gd name="connsiteY151" fmla="*/ 201930 h 303847"/>
                <a:gd name="connsiteX152" fmla="*/ 0 w 328612"/>
                <a:gd name="connsiteY152" fmla="*/ 184785 h 303847"/>
                <a:gd name="connsiteX153" fmla="*/ 0 w 328612"/>
                <a:gd name="connsiteY153" fmla="*/ 183833 h 303847"/>
                <a:gd name="connsiteX154" fmla="*/ 0 w 328612"/>
                <a:gd name="connsiteY154" fmla="*/ 180975 h 303847"/>
                <a:gd name="connsiteX155" fmla="*/ 0 w 328612"/>
                <a:gd name="connsiteY155" fmla="*/ 180975 h 303847"/>
                <a:gd name="connsiteX156" fmla="*/ 0 w 328612"/>
                <a:gd name="connsiteY156" fmla="*/ 178118 h 303847"/>
                <a:gd name="connsiteX157" fmla="*/ 0 w 328612"/>
                <a:gd name="connsiteY157" fmla="*/ 177165 h 303847"/>
                <a:gd name="connsiteX158" fmla="*/ 0 w 328612"/>
                <a:gd name="connsiteY158" fmla="*/ 174308 h 303847"/>
                <a:gd name="connsiteX159" fmla="*/ 0 w 328612"/>
                <a:gd name="connsiteY159" fmla="*/ 173355 h 303847"/>
                <a:gd name="connsiteX160" fmla="*/ 0 w 328612"/>
                <a:gd name="connsiteY160" fmla="*/ 170498 h 303847"/>
                <a:gd name="connsiteX161" fmla="*/ 0 w 328612"/>
                <a:gd name="connsiteY161" fmla="*/ 169545 h 303847"/>
                <a:gd name="connsiteX162" fmla="*/ 0 w 328612"/>
                <a:gd name="connsiteY162" fmla="*/ 166688 h 303847"/>
                <a:gd name="connsiteX163" fmla="*/ 0 w 328612"/>
                <a:gd name="connsiteY163" fmla="*/ 165735 h 303847"/>
                <a:gd name="connsiteX164" fmla="*/ 0 w 328612"/>
                <a:gd name="connsiteY164" fmla="*/ 162878 h 303847"/>
                <a:gd name="connsiteX165" fmla="*/ 0 w 328612"/>
                <a:gd name="connsiteY165" fmla="*/ 161925 h 303847"/>
                <a:gd name="connsiteX166" fmla="*/ 0 w 328612"/>
                <a:gd name="connsiteY166" fmla="*/ 159068 h 303847"/>
                <a:gd name="connsiteX167" fmla="*/ 0 w 328612"/>
                <a:gd name="connsiteY167" fmla="*/ 159068 h 303847"/>
                <a:gd name="connsiteX168" fmla="*/ 0 w 328612"/>
                <a:gd name="connsiteY168" fmla="*/ 155258 h 303847"/>
                <a:gd name="connsiteX169" fmla="*/ 0 w 328612"/>
                <a:gd name="connsiteY169" fmla="*/ 155258 h 303847"/>
                <a:gd name="connsiteX170" fmla="*/ 0 w 328612"/>
                <a:gd name="connsiteY170" fmla="*/ 151448 h 303847"/>
                <a:gd name="connsiteX171" fmla="*/ 0 w 328612"/>
                <a:gd name="connsiteY171" fmla="*/ 76200 h 303847"/>
                <a:gd name="connsiteX172" fmla="*/ 0 w 328612"/>
                <a:gd name="connsiteY172" fmla="*/ 0 h 303847"/>
                <a:gd name="connsiteX173" fmla="*/ 72390 w 328612"/>
                <a:gd name="connsiteY173" fmla="*/ 0 h 303847"/>
                <a:gd name="connsiteX174" fmla="*/ 69532 w 328612"/>
                <a:gd name="connsiteY174" fmla="*/ 0 h 303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Lst>
              <a:rect l="l" t="t" r="r" b="b"/>
              <a:pathLst>
                <a:path w="328612" h="303847">
                  <a:moveTo>
                    <a:pt x="69532" y="0"/>
                  </a:moveTo>
                  <a:lnTo>
                    <a:pt x="214313" y="0"/>
                  </a:lnTo>
                  <a:cubicBezTo>
                    <a:pt x="221932" y="0"/>
                    <a:pt x="229553" y="953"/>
                    <a:pt x="237172" y="2858"/>
                  </a:cubicBezTo>
                  <a:lnTo>
                    <a:pt x="237172" y="2858"/>
                  </a:lnTo>
                  <a:cubicBezTo>
                    <a:pt x="239078" y="2858"/>
                    <a:pt x="240982" y="3810"/>
                    <a:pt x="242888" y="4763"/>
                  </a:cubicBezTo>
                  <a:lnTo>
                    <a:pt x="243840" y="4763"/>
                  </a:lnTo>
                  <a:lnTo>
                    <a:pt x="245745" y="5715"/>
                  </a:lnTo>
                  <a:lnTo>
                    <a:pt x="245745" y="5715"/>
                  </a:lnTo>
                  <a:lnTo>
                    <a:pt x="247650" y="6668"/>
                  </a:lnTo>
                  <a:lnTo>
                    <a:pt x="248603" y="6668"/>
                  </a:lnTo>
                  <a:lnTo>
                    <a:pt x="249555" y="6668"/>
                  </a:lnTo>
                  <a:lnTo>
                    <a:pt x="251460" y="7620"/>
                  </a:lnTo>
                  <a:lnTo>
                    <a:pt x="253365" y="8573"/>
                  </a:lnTo>
                  <a:lnTo>
                    <a:pt x="253365" y="8573"/>
                  </a:lnTo>
                  <a:lnTo>
                    <a:pt x="256222" y="9525"/>
                  </a:lnTo>
                  <a:lnTo>
                    <a:pt x="256222" y="9525"/>
                  </a:lnTo>
                  <a:lnTo>
                    <a:pt x="259080" y="10478"/>
                  </a:lnTo>
                  <a:lnTo>
                    <a:pt x="259080" y="10478"/>
                  </a:lnTo>
                  <a:lnTo>
                    <a:pt x="261938" y="11430"/>
                  </a:lnTo>
                  <a:lnTo>
                    <a:pt x="261938" y="11430"/>
                  </a:lnTo>
                  <a:lnTo>
                    <a:pt x="264795" y="13335"/>
                  </a:lnTo>
                  <a:lnTo>
                    <a:pt x="264795" y="13335"/>
                  </a:lnTo>
                  <a:lnTo>
                    <a:pt x="267653" y="15240"/>
                  </a:lnTo>
                  <a:lnTo>
                    <a:pt x="267653" y="15240"/>
                  </a:lnTo>
                  <a:lnTo>
                    <a:pt x="270510" y="17145"/>
                  </a:lnTo>
                  <a:lnTo>
                    <a:pt x="270510" y="17145"/>
                  </a:lnTo>
                  <a:lnTo>
                    <a:pt x="272415" y="19050"/>
                  </a:lnTo>
                  <a:lnTo>
                    <a:pt x="272415" y="19050"/>
                  </a:lnTo>
                  <a:lnTo>
                    <a:pt x="274320" y="20955"/>
                  </a:lnTo>
                  <a:lnTo>
                    <a:pt x="274320" y="20955"/>
                  </a:lnTo>
                  <a:lnTo>
                    <a:pt x="274320" y="20955"/>
                  </a:lnTo>
                  <a:cubicBezTo>
                    <a:pt x="277178" y="22860"/>
                    <a:pt x="280988" y="25718"/>
                    <a:pt x="283845" y="28575"/>
                  </a:cubicBezTo>
                  <a:lnTo>
                    <a:pt x="283845" y="28575"/>
                  </a:lnTo>
                  <a:lnTo>
                    <a:pt x="285750" y="29528"/>
                  </a:lnTo>
                  <a:lnTo>
                    <a:pt x="285750" y="29528"/>
                  </a:lnTo>
                  <a:lnTo>
                    <a:pt x="286703" y="30480"/>
                  </a:lnTo>
                  <a:lnTo>
                    <a:pt x="287655" y="31433"/>
                  </a:lnTo>
                  <a:lnTo>
                    <a:pt x="288607" y="32385"/>
                  </a:lnTo>
                  <a:lnTo>
                    <a:pt x="289560" y="33338"/>
                  </a:lnTo>
                  <a:lnTo>
                    <a:pt x="289560" y="33338"/>
                  </a:lnTo>
                  <a:lnTo>
                    <a:pt x="291465" y="35243"/>
                  </a:lnTo>
                  <a:lnTo>
                    <a:pt x="291465" y="35243"/>
                  </a:lnTo>
                  <a:lnTo>
                    <a:pt x="292417" y="36195"/>
                  </a:lnTo>
                  <a:lnTo>
                    <a:pt x="293370" y="37148"/>
                  </a:lnTo>
                  <a:lnTo>
                    <a:pt x="293370" y="37148"/>
                  </a:lnTo>
                  <a:lnTo>
                    <a:pt x="295275" y="39053"/>
                  </a:lnTo>
                  <a:lnTo>
                    <a:pt x="295275" y="39053"/>
                  </a:lnTo>
                  <a:lnTo>
                    <a:pt x="296228" y="40005"/>
                  </a:lnTo>
                  <a:lnTo>
                    <a:pt x="297180" y="40958"/>
                  </a:lnTo>
                  <a:lnTo>
                    <a:pt x="297180" y="41910"/>
                  </a:lnTo>
                  <a:lnTo>
                    <a:pt x="298132" y="43815"/>
                  </a:lnTo>
                  <a:lnTo>
                    <a:pt x="298132" y="43815"/>
                  </a:lnTo>
                  <a:lnTo>
                    <a:pt x="299085" y="45720"/>
                  </a:lnTo>
                  <a:lnTo>
                    <a:pt x="300038" y="46673"/>
                  </a:lnTo>
                  <a:lnTo>
                    <a:pt x="300038" y="47625"/>
                  </a:lnTo>
                  <a:lnTo>
                    <a:pt x="301942" y="49530"/>
                  </a:lnTo>
                  <a:lnTo>
                    <a:pt x="301942" y="49530"/>
                  </a:lnTo>
                  <a:lnTo>
                    <a:pt x="303847" y="52388"/>
                  </a:lnTo>
                  <a:lnTo>
                    <a:pt x="304800" y="54293"/>
                  </a:lnTo>
                  <a:lnTo>
                    <a:pt x="304800" y="55245"/>
                  </a:lnTo>
                  <a:lnTo>
                    <a:pt x="304800" y="56198"/>
                  </a:lnTo>
                  <a:cubicBezTo>
                    <a:pt x="312420" y="67628"/>
                    <a:pt x="318135" y="80963"/>
                    <a:pt x="322897" y="94298"/>
                  </a:cubicBezTo>
                  <a:lnTo>
                    <a:pt x="322897" y="95250"/>
                  </a:lnTo>
                  <a:cubicBezTo>
                    <a:pt x="323850" y="97155"/>
                    <a:pt x="323850" y="99060"/>
                    <a:pt x="324803" y="101918"/>
                  </a:cubicBezTo>
                  <a:lnTo>
                    <a:pt x="324803" y="101918"/>
                  </a:lnTo>
                  <a:cubicBezTo>
                    <a:pt x="326707" y="107633"/>
                    <a:pt x="327660" y="113348"/>
                    <a:pt x="328613" y="119063"/>
                  </a:cubicBezTo>
                  <a:lnTo>
                    <a:pt x="328613" y="120015"/>
                  </a:lnTo>
                  <a:lnTo>
                    <a:pt x="328613" y="122873"/>
                  </a:lnTo>
                  <a:lnTo>
                    <a:pt x="328613" y="122873"/>
                  </a:lnTo>
                  <a:lnTo>
                    <a:pt x="328613" y="125730"/>
                  </a:lnTo>
                  <a:lnTo>
                    <a:pt x="328613" y="126683"/>
                  </a:lnTo>
                  <a:lnTo>
                    <a:pt x="328613" y="129540"/>
                  </a:lnTo>
                  <a:lnTo>
                    <a:pt x="328613" y="130493"/>
                  </a:lnTo>
                  <a:lnTo>
                    <a:pt x="328613" y="133350"/>
                  </a:lnTo>
                  <a:lnTo>
                    <a:pt x="328613" y="134303"/>
                  </a:lnTo>
                  <a:lnTo>
                    <a:pt x="328613" y="137160"/>
                  </a:lnTo>
                  <a:lnTo>
                    <a:pt x="328613" y="138113"/>
                  </a:lnTo>
                  <a:lnTo>
                    <a:pt x="328613" y="140970"/>
                  </a:lnTo>
                  <a:lnTo>
                    <a:pt x="328613" y="141923"/>
                  </a:lnTo>
                  <a:lnTo>
                    <a:pt x="328613" y="144780"/>
                  </a:lnTo>
                  <a:lnTo>
                    <a:pt x="328613" y="144780"/>
                  </a:lnTo>
                  <a:lnTo>
                    <a:pt x="328613" y="148590"/>
                  </a:lnTo>
                  <a:lnTo>
                    <a:pt x="328613" y="148590"/>
                  </a:lnTo>
                  <a:lnTo>
                    <a:pt x="328613" y="152400"/>
                  </a:lnTo>
                  <a:lnTo>
                    <a:pt x="328613" y="227648"/>
                  </a:lnTo>
                  <a:lnTo>
                    <a:pt x="328613" y="303848"/>
                  </a:lnTo>
                  <a:lnTo>
                    <a:pt x="256222" y="303848"/>
                  </a:lnTo>
                  <a:cubicBezTo>
                    <a:pt x="255270" y="303848"/>
                    <a:pt x="253365" y="303848"/>
                    <a:pt x="252413" y="303848"/>
                  </a:cubicBezTo>
                  <a:lnTo>
                    <a:pt x="107632" y="303848"/>
                  </a:lnTo>
                  <a:cubicBezTo>
                    <a:pt x="100013" y="303848"/>
                    <a:pt x="92392" y="302895"/>
                    <a:pt x="84772" y="300990"/>
                  </a:cubicBezTo>
                  <a:lnTo>
                    <a:pt x="84772" y="300990"/>
                  </a:lnTo>
                  <a:cubicBezTo>
                    <a:pt x="82867" y="300990"/>
                    <a:pt x="80963" y="300038"/>
                    <a:pt x="79057" y="299085"/>
                  </a:cubicBezTo>
                  <a:lnTo>
                    <a:pt x="78105" y="299085"/>
                  </a:lnTo>
                  <a:lnTo>
                    <a:pt x="76200" y="298133"/>
                  </a:lnTo>
                  <a:lnTo>
                    <a:pt x="76200" y="298133"/>
                  </a:lnTo>
                  <a:lnTo>
                    <a:pt x="74295" y="297180"/>
                  </a:lnTo>
                  <a:lnTo>
                    <a:pt x="73342" y="297180"/>
                  </a:lnTo>
                  <a:lnTo>
                    <a:pt x="72390" y="297180"/>
                  </a:lnTo>
                  <a:lnTo>
                    <a:pt x="70485" y="296228"/>
                  </a:lnTo>
                  <a:lnTo>
                    <a:pt x="68580" y="295275"/>
                  </a:lnTo>
                  <a:lnTo>
                    <a:pt x="68580" y="295275"/>
                  </a:lnTo>
                  <a:lnTo>
                    <a:pt x="65722" y="294323"/>
                  </a:lnTo>
                  <a:lnTo>
                    <a:pt x="65722" y="294323"/>
                  </a:lnTo>
                  <a:lnTo>
                    <a:pt x="62865" y="293370"/>
                  </a:lnTo>
                  <a:lnTo>
                    <a:pt x="62865" y="293370"/>
                  </a:lnTo>
                  <a:lnTo>
                    <a:pt x="60007" y="292418"/>
                  </a:lnTo>
                  <a:lnTo>
                    <a:pt x="60007" y="292418"/>
                  </a:lnTo>
                  <a:lnTo>
                    <a:pt x="57150" y="290513"/>
                  </a:lnTo>
                  <a:lnTo>
                    <a:pt x="57150" y="290513"/>
                  </a:lnTo>
                  <a:lnTo>
                    <a:pt x="54292" y="288608"/>
                  </a:lnTo>
                  <a:lnTo>
                    <a:pt x="54292" y="288608"/>
                  </a:lnTo>
                  <a:lnTo>
                    <a:pt x="51435" y="286703"/>
                  </a:lnTo>
                  <a:lnTo>
                    <a:pt x="51435" y="286703"/>
                  </a:lnTo>
                  <a:lnTo>
                    <a:pt x="49530" y="284798"/>
                  </a:lnTo>
                  <a:lnTo>
                    <a:pt x="49530" y="284798"/>
                  </a:lnTo>
                  <a:lnTo>
                    <a:pt x="47625" y="282893"/>
                  </a:lnTo>
                  <a:lnTo>
                    <a:pt x="47625" y="282893"/>
                  </a:lnTo>
                  <a:lnTo>
                    <a:pt x="47625" y="282893"/>
                  </a:lnTo>
                  <a:cubicBezTo>
                    <a:pt x="44767" y="280988"/>
                    <a:pt x="40957" y="278130"/>
                    <a:pt x="38100" y="275273"/>
                  </a:cubicBezTo>
                  <a:lnTo>
                    <a:pt x="38100" y="275273"/>
                  </a:lnTo>
                  <a:lnTo>
                    <a:pt x="36195" y="274320"/>
                  </a:lnTo>
                  <a:lnTo>
                    <a:pt x="36195" y="274320"/>
                  </a:lnTo>
                  <a:lnTo>
                    <a:pt x="35242" y="273368"/>
                  </a:lnTo>
                  <a:lnTo>
                    <a:pt x="34290" y="272415"/>
                  </a:lnTo>
                  <a:lnTo>
                    <a:pt x="33338" y="271463"/>
                  </a:lnTo>
                  <a:lnTo>
                    <a:pt x="32385" y="270510"/>
                  </a:lnTo>
                  <a:lnTo>
                    <a:pt x="32385" y="270510"/>
                  </a:lnTo>
                  <a:lnTo>
                    <a:pt x="37147" y="268605"/>
                  </a:lnTo>
                  <a:lnTo>
                    <a:pt x="37147" y="268605"/>
                  </a:lnTo>
                  <a:lnTo>
                    <a:pt x="36195" y="267653"/>
                  </a:lnTo>
                  <a:lnTo>
                    <a:pt x="35242" y="266700"/>
                  </a:lnTo>
                  <a:lnTo>
                    <a:pt x="35242" y="266700"/>
                  </a:lnTo>
                  <a:lnTo>
                    <a:pt x="33338" y="264795"/>
                  </a:lnTo>
                  <a:lnTo>
                    <a:pt x="33338" y="264795"/>
                  </a:lnTo>
                  <a:lnTo>
                    <a:pt x="32385" y="263843"/>
                  </a:lnTo>
                  <a:lnTo>
                    <a:pt x="31432" y="262890"/>
                  </a:lnTo>
                  <a:lnTo>
                    <a:pt x="31432" y="261938"/>
                  </a:lnTo>
                  <a:lnTo>
                    <a:pt x="30480" y="260033"/>
                  </a:lnTo>
                  <a:lnTo>
                    <a:pt x="30480" y="260033"/>
                  </a:lnTo>
                  <a:lnTo>
                    <a:pt x="29528" y="258128"/>
                  </a:lnTo>
                  <a:lnTo>
                    <a:pt x="28575" y="257175"/>
                  </a:lnTo>
                  <a:lnTo>
                    <a:pt x="28575" y="256223"/>
                  </a:lnTo>
                  <a:lnTo>
                    <a:pt x="26670" y="254318"/>
                  </a:lnTo>
                  <a:lnTo>
                    <a:pt x="26670" y="254318"/>
                  </a:lnTo>
                  <a:lnTo>
                    <a:pt x="24765" y="251460"/>
                  </a:lnTo>
                  <a:lnTo>
                    <a:pt x="23813" y="249555"/>
                  </a:lnTo>
                  <a:lnTo>
                    <a:pt x="23813" y="248603"/>
                  </a:lnTo>
                  <a:lnTo>
                    <a:pt x="23813" y="247650"/>
                  </a:lnTo>
                  <a:cubicBezTo>
                    <a:pt x="16192" y="236220"/>
                    <a:pt x="10478" y="222885"/>
                    <a:pt x="5715" y="209550"/>
                  </a:cubicBezTo>
                  <a:lnTo>
                    <a:pt x="5715" y="208598"/>
                  </a:lnTo>
                  <a:cubicBezTo>
                    <a:pt x="4763" y="206693"/>
                    <a:pt x="4763" y="204788"/>
                    <a:pt x="3810" y="201930"/>
                  </a:cubicBezTo>
                  <a:lnTo>
                    <a:pt x="3810" y="201930"/>
                  </a:lnTo>
                  <a:cubicBezTo>
                    <a:pt x="1905" y="196215"/>
                    <a:pt x="953" y="190500"/>
                    <a:pt x="0" y="184785"/>
                  </a:cubicBezTo>
                  <a:lnTo>
                    <a:pt x="0" y="183833"/>
                  </a:lnTo>
                  <a:lnTo>
                    <a:pt x="0" y="180975"/>
                  </a:lnTo>
                  <a:lnTo>
                    <a:pt x="0" y="180975"/>
                  </a:lnTo>
                  <a:lnTo>
                    <a:pt x="0" y="178118"/>
                  </a:lnTo>
                  <a:lnTo>
                    <a:pt x="0" y="177165"/>
                  </a:lnTo>
                  <a:lnTo>
                    <a:pt x="0" y="174308"/>
                  </a:lnTo>
                  <a:lnTo>
                    <a:pt x="0" y="173355"/>
                  </a:lnTo>
                  <a:lnTo>
                    <a:pt x="0" y="170498"/>
                  </a:lnTo>
                  <a:lnTo>
                    <a:pt x="0" y="169545"/>
                  </a:lnTo>
                  <a:lnTo>
                    <a:pt x="0" y="166688"/>
                  </a:lnTo>
                  <a:lnTo>
                    <a:pt x="0" y="165735"/>
                  </a:lnTo>
                  <a:lnTo>
                    <a:pt x="0" y="162878"/>
                  </a:lnTo>
                  <a:lnTo>
                    <a:pt x="0" y="161925"/>
                  </a:lnTo>
                  <a:lnTo>
                    <a:pt x="0" y="159068"/>
                  </a:lnTo>
                  <a:lnTo>
                    <a:pt x="0" y="159068"/>
                  </a:lnTo>
                  <a:lnTo>
                    <a:pt x="0" y="155258"/>
                  </a:lnTo>
                  <a:lnTo>
                    <a:pt x="0" y="155258"/>
                  </a:lnTo>
                  <a:lnTo>
                    <a:pt x="0" y="151448"/>
                  </a:lnTo>
                  <a:lnTo>
                    <a:pt x="0" y="76200"/>
                  </a:lnTo>
                  <a:lnTo>
                    <a:pt x="0" y="0"/>
                  </a:lnTo>
                  <a:lnTo>
                    <a:pt x="72390" y="0"/>
                  </a:lnTo>
                  <a:cubicBezTo>
                    <a:pt x="66675" y="953"/>
                    <a:pt x="67628" y="0"/>
                    <a:pt x="69532" y="0"/>
                  </a:cubicBezTo>
                  <a:close/>
                </a:path>
              </a:pathLst>
            </a:custGeom>
            <a:solidFill>
              <a:schemeClr val="accent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9" name="Freeform: Shape 110">
              <a:extLst>
                <a:ext uri="{FF2B5EF4-FFF2-40B4-BE49-F238E27FC236}">
                  <a16:creationId xmlns:a16="http://schemas.microsoft.com/office/drawing/2014/main" id="{6342E3B0-2E2D-4CE3-A9D9-1E4E497A1860}"/>
                </a:ext>
              </a:extLst>
            </p:cNvPr>
            <p:cNvSpPr/>
            <p:nvPr/>
          </p:nvSpPr>
          <p:spPr>
            <a:xfrm>
              <a:off x="6753920" y="4090601"/>
              <a:ext cx="374737" cy="339605"/>
            </a:xfrm>
            <a:custGeom>
              <a:avLst/>
              <a:gdLst>
                <a:gd name="connsiteX0" fmla="*/ 76200 w 335279"/>
                <a:gd name="connsiteY0" fmla="*/ 0 h 303847"/>
                <a:gd name="connsiteX1" fmla="*/ 220980 w 335279"/>
                <a:gd name="connsiteY1" fmla="*/ 0 h 303847"/>
                <a:gd name="connsiteX2" fmla="*/ 243840 w 335279"/>
                <a:gd name="connsiteY2" fmla="*/ 2858 h 303847"/>
                <a:gd name="connsiteX3" fmla="*/ 243840 w 335279"/>
                <a:gd name="connsiteY3" fmla="*/ 2858 h 303847"/>
                <a:gd name="connsiteX4" fmla="*/ 249555 w 335279"/>
                <a:gd name="connsiteY4" fmla="*/ 4763 h 303847"/>
                <a:gd name="connsiteX5" fmla="*/ 250508 w 335279"/>
                <a:gd name="connsiteY5" fmla="*/ 4763 h 303847"/>
                <a:gd name="connsiteX6" fmla="*/ 252412 w 335279"/>
                <a:gd name="connsiteY6" fmla="*/ 5715 h 303847"/>
                <a:gd name="connsiteX7" fmla="*/ 252412 w 335279"/>
                <a:gd name="connsiteY7" fmla="*/ 5715 h 303847"/>
                <a:gd name="connsiteX8" fmla="*/ 254317 w 335279"/>
                <a:gd name="connsiteY8" fmla="*/ 6667 h 303847"/>
                <a:gd name="connsiteX9" fmla="*/ 255270 w 335279"/>
                <a:gd name="connsiteY9" fmla="*/ 6667 h 303847"/>
                <a:gd name="connsiteX10" fmla="*/ 256223 w 335279"/>
                <a:gd name="connsiteY10" fmla="*/ 6667 h 303847"/>
                <a:gd name="connsiteX11" fmla="*/ 258127 w 335279"/>
                <a:gd name="connsiteY11" fmla="*/ 7620 h 303847"/>
                <a:gd name="connsiteX12" fmla="*/ 260033 w 335279"/>
                <a:gd name="connsiteY12" fmla="*/ 8572 h 303847"/>
                <a:gd name="connsiteX13" fmla="*/ 260033 w 335279"/>
                <a:gd name="connsiteY13" fmla="*/ 8572 h 303847"/>
                <a:gd name="connsiteX14" fmla="*/ 262890 w 335279"/>
                <a:gd name="connsiteY14" fmla="*/ 9525 h 303847"/>
                <a:gd name="connsiteX15" fmla="*/ 262890 w 335279"/>
                <a:gd name="connsiteY15" fmla="*/ 9525 h 303847"/>
                <a:gd name="connsiteX16" fmla="*/ 265748 w 335279"/>
                <a:gd name="connsiteY16" fmla="*/ 10478 h 303847"/>
                <a:gd name="connsiteX17" fmla="*/ 265748 w 335279"/>
                <a:gd name="connsiteY17" fmla="*/ 10478 h 303847"/>
                <a:gd name="connsiteX18" fmla="*/ 268605 w 335279"/>
                <a:gd name="connsiteY18" fmla="*/ 11430 h 303847"/>
                <a:gd name="connsiteX19" fmla="*/ 268605 w 335279"/>
                <a:gd name="connsiteY19" fmla="*/ 11430 h 303847"/>
                <a:gd name="connsiteX20" fmla="*/ 271462 w 335279"/>
                <a:gd name="connsiteY20" fmla="*/ 13335 h 303847"/>
                <a:gd name="connsiteX21" fmla="*/ 271462 w 335279"/>
                <a:gd name="connsiteY21" fmla="*/ 13335 h 303847"/>
                <a:gd name="connsiteX22" fmla="*/ 274320 w 335279"/>
                <a:gd name="connsiteY22" fmla="*/ 15240 h 303847"/>
                <a:gd name="connsiteX23" fmla="*/ 274320 w 335279"/>
                <a:gd name="connsiteY23" fmla="*/ 15240 h 303847"/>
                <a:gd name="connsiteX24" fmla="*/ 277177 w 335279"/>
                <a:gd name="connsiteY24" fmla="*/ 17145 h 303847"/>
                <a:gd name="connsiteX25" fmla="*/ 277177 w 335279"/>
                <a:gd name="connsiteY25" fmla="*/ 17145 h 303847"/>
                <a:gd name="connsiteX26" fmla="*/ 279083 w 335279"/>
                <a:gd name="connsiteY26" fmla="*/ 19050 h 303847"/>
                <a:gd name="connsiteX27" fmla="*/ 279083 w 335279"/>
                <a:gd name="connsiteY27" fmla="*/ 19050 h 303847"/>
                <a:gd name="connsiteX28" fmla="*/ 280987 w 335279"/>
                <a:gd name="connsiteY28" fmla="*/ 20955 h 303847"/>
                <a:gd name="connsiteX29" fmla="*/ 280987 w 335279"/>
                <a:gd name="connsiteY29" fmla="*/ 20955 h 303847"/>
                <a:gd name="connsiteX30" fmla="*/ 280987 w 335279"/>
                <a:gd name="connsiteY30" fmla="*/ 20955 h 303847"/>
                <a:gd name="connsiteX31" fmla="*/ 290512 w 335279"/>
                <a:gd name="connsiteY31" fmla="*/ 28575 h 303847"/>
                <a:gd name="connsiteX32" fmla="*/ 290512 w 335279"/>
                <a:gd name="connsiteY32" fmla="*/ 28575 h 303847"/>
                <a:gd name="connsiteX33" fmla="*/ 292417 w 335279"/>
                <a:gd name="connsiteY33" fmla="*/ 29528 h 303847"/>
                <a:gd name="connsiteX34" fmla="*/ 292417 w 335279"/>
                <a:gd name="connsiteY34" fmla="*/ 29528 h 303847"/>
                <a:gd name="connsiteX35" fmla="*/ 293370 w 335279"/>
                <a:gd name="connsiteY35" fmla="*/ 30480 h 303847"/>
                <a:gd name="connsiteX36" fmla="*/ 294323 w 335279"/>
                <a:gd name="connsiteY36" fmla="*/ 31433 h 303847"/>
                <a:gd name="connsiteX37" fmla="*/ 295275 w 335279"/>
                <a:gd name="connsiteY37" fmla="*/ 32385 h 303847"/>
                <a:gd name="connsiteX38" fmla="*/ 296227 w 335279"/>
                <a:gd name="connsiteY38" fmla="*/ 33338 h 303847"/>
                <a:gd name="connsiteX39" fmla="*/ 296227 w 335279"/>
                <a:gd name="connsiteY39" fmla="*/ 33338 h 303847"/>
                <a:gd name="connsiteX40" fmla="*/ 298133 w 335279"/>
                <a:gd name="connsiteY40" fmla="*/ 35242 h 303847"/>
                <a:gd name="connsiteX41" fmla="*/ 298133 w 335279"/>
                <a:gd name="connsiteY41" fmla="*/ 35242 h 303847"/>
                <a:gd name="connsiteX42" fmla="*/ 299085 w 335279"/>
                <a:gd name="connsiteY42" fmla="*/ 36195 h 303847"/>
                <a:gd name="connsiteX43" fmla="*/ 300037 w 335279"/>
                <a:gd name="connsiteY43" fmla="*/ 37147 h 303847"/>
                <a:gd name="connsiteX44" fmla="*/ 300037 w 335279"/>
                <a:gd name="connsiteY44" fmla="*/ 37147 h 303847"/>
                <a:gd name="connsiteX45" fmla="*/ 301942 w 335279"/>
                <a:gd name="connsiteY45" fmla="*/ 39053 h 303847"/>
                <a:gd name="connsiteX46" fmla="*/ 301942 w 335279"/>
                <a:gd name="connsiteY46" fmla="*/ 39053 h 303847"/>
                <a:gd name="connsiteX47" fmla="*/ 302895 w 335279"/>
                <a:gd name="connsiteY47" fmla="*/ 40005 h 303847"/>
                <a:gd name="connsiteX48" fmla="*/ 303848 w 335279"/>
                <a:gd name="connsiteY48" fmla="*/ 40958 h 303847"/>
                <a:gd name="connsiteX49" fmla="*/ 303848 w 335279"/>
                <a:gd name="connsiteY49" fmla="*/ 41910 h 303847"/>
                <a:gd name="connsiteX50" fmla="*/ 304800 w 335279"/>
                <a:gd name="connsiteY50" fmla="*/ 43815 h 303847"/>
                <a:gd name="connsiteX51" fmla="*/ 304800 w 335279"/>
                <a:gd name="connsiteY51" fmla="*/ 43815 h 303847"/>
                <a:gd name="connsiteX52" fmla="*/ 305752 w 335279"/>
                <a:gd name="connsiteY52" fmla="*/ 45720 h 303847"/>
                <a:gd name="connsiteX53" fmla="*/ 306705 w 335279"/>
                <a:gd name="connsiteY53" fmla="*/ 46672 h 303847"/>
                <a:gd name="connsiteX54" fmla="*/ 306705 w 335279"/>
                <a:gd name="connsiteY54" fmla="*/ 47625 h 303847"/>
                <a:gd name="connsiteX55" fmla="*/ 308610 w 335279"/>
                <a:gd name="connsiteY55" fmla="*/ 49530 h 303847"/>
                <a:gd name="connsiteX56" fmla="*/ 308610 w 335279"/>
                <a:gd name="connsiteY56" fmla="*/ 49530 h 303847"/>
                <a:gd name="connsiteX57" fmla="*/ 310515 w 335279"/>
                <a:gd name="connsiteY57" fmla="*/ 52388 h 303847"/>
                <a:gd name="connsiteX58" fmla="*/ 311467 w 335279"/>
                <a:gd name="connsiteY58" fmla="*/ 54292 h 303847"/>
                <a:gd name="connsiteX59" fmla="*/ 311467 w 335279"/>
                <a:gd name="connsiteY59" fmla="*/ 55245 h 303847"/>
                <a:gd name="connsiteX60" fmla="*/ 311467 w 335279"/>
                <a:gd name="connsiteY60" fmla="*/ 56197 h 303847"/>
                <a:gd name="connsiteX61" fmla="*/ 329565 w 335279"/>
                <a:gd name="connsiteY61" fmla="*/ 94297 h 303847"/>
                <a:gd name="connsiteX62" fmla="*/ 329565 w 335279"/>
                <a:gd name="connsiteY62" fmla="*/ 95250 h 303847"/>
                <a:gd name="connsiteX63" fmla="*/ 331470 w 335279"/>
                <a:gd name="connsiteY63" fmla="*/ 101917 h 303847"/>
                <a:gd name="connsiteX64" fmla="*/ 331470 w 335279"/>
                <a:gd name="connsiteY64" fmla="*/ 101917 h 303847"/>
                <a:gd name="connsiteX65" fmla="*/ 335280 w 335279"/>
                <a:gd name="connsiteY65" fmla="*/ 119063 h 303847"/>
                <a:gd name="connsiteX66" fmla="*/ 335280 w 335279"/>
                <a:gd name="connsiteY66" fmla="*/ 120015 h 303847"/>
                <a:gd name="connsiteX67" fmla="*/ 335280 w 335279"/>
                <a:gd name="connsiteY67" fmla="*/ 122872 h 303847"/>
                <a:gd name="connsiteX68" fmla="*/ 335280 w 335279"/>
                <a:gd name="connsiteY68" fmla="*/ 122872 h 303847"/>
                <a:gd name="connsiteX69" fmla="*/ 335280 w 335279"/>
                <a:gd name="connsiteY69" fmla="*/ 125730 h 303847"/>
                <a:gd name="connsiteX70" fmla="*/ 335280 w 335279"/>
                <a:gd name="connsiteY70" fmla="*/ 126683 h 303847"/>
                <a:gd name="connsiteX71" fmla="*/ 335280 w 335279"/>
                <a:gd name="connsiteY71" fmla="*/ 129540 h 303847"/>
                <a:gd name="connsiteX72" fmla="*/ 335280 w 335279"/>
                <a:gd name="connsiteY72" fmla="*/ 130492 h 303847"/>
                <a:gd name="connsiteX73" fmla="*/ 335280 w 335279"/>
                <a:gd name="connsiteY73" fmla="*/ 133350 h 303847"/>
                <a:gd name="connsiteX74" fmla="*/ 335280 w 335279"/>
                <a:gd name="connsiteY74" fmla="*/ 134303 h 303847"/>
                <a:gd name="connsiteX75" fmla="*/ 335280 w 335279"/>
                <a:gd name="connsiteY75" fmla="*/ 137160 h 303847"/>
                <a:gd name="connsiteX76" fmla="*/ 335280 w 335279"/>
                <a:gd name="connsiteY76" fmla="*/ 138113 h 303847"/>
                <a:gd name="connsiteX77" fmla="*/ 335280 w 335279"/>
                <a:gd name="connsiteY77" fmla="*/ 140970 h 303847"/>
                <a:gd name="connsiteX78" fmla="*/ 335280 w 335279"/>
                <a:gd name="connsiteY78" fmla="*/ 141922 h 303847"/>
                <a:gd name="connsiteX79" fmla="*/ 335280 w 335279"/>
                <a:gd name="connsiteY79" fmla="*/ 144780 h 303847"/>
                <a:gd name="connsiteX80" fmla="*/ 335280 w 335279"/>
                <a:gd name="connsiteY80" fmla="*/ 144780 h 303847"/>
                <a:gd name="connsiteX81" fmla="*/ 335280 w 335279"/>
                <a:gd name="connsiteY81" fmla="*/ 148590 h 303847"/>
                <a:gd name="connsiteX82" fmla="*/ 335280 w 335279"/>
                <a:gd name="connsiteY82" fmla="*/ 148590 h 303847"/>
                <a:gd name="connsiteX83" fmla="*/ 335280 w 335279"/>
                <a:gd name="connsiteY83" fmla="*/ 152400 h 303847"/>
                <a:gd name="connsiteX84" fmla="*/ 335280 w 335279"/>
                <a:gd name="connsiteY84" fmla="*/ 227647 h 303847"/>
                <a:gd name="connsiteX85" fmla="*/ 335280 w 335279"/>
                <a:gd name="connsiteY85" fmla="*/ 303847 h 303847"/>
                <a:gd name="connsiteX86" fmla="*/ 262890 w 335279"/>
                <a:gd name="connsiteY86" fmla="*/ 303847 h 303847"/>
                <a:gd name="connsiteX87" fmla="*/ 259080 w 335279"/>
                <a:gd name="connsiteY87" fmla="*/ 303847 h 303847"/>
                <a:gd name="connsiteX88" fmla="*/ 114300 w 335279"/>
                <a:gd name="connsiteY88" fmla="*/ 303847 h 303847"/>
                <a:gd name="connsiteX89" fmla="*/ 91440 w 335279"/>
                <a:gd name="connsiteY89" fmla="*/ 300990 h 303847"/>
                <a:gd name="connsiteX90" fmla="*/ 91440 w 335279"/>
                <a:gd name="connsiteY90" fmla="*/ 300990 h 303847"/>
                <a:gd name="connsiteX91" fmla="*/ 85725 w 335279"/>
                <a:gd name="connsiteY91" fmla="*/ 299085 h 303847"/>
                <a:gd name="connsiteX92" fmla="*/ 84772 w 335279"/>
                <a:gd name="connsiteY92" fmla="*/ 299085 h 303847"/>
                <a:gd name="connsiteX93" fmla="*/ 82867 w 335279"/>
                <a:gd name="connsiteY93" fmla="*/ 298133 h 303847"/>
                <a:gd name="connsiteX94" fmla="*/ 82867 w 335279"/>
                <a:gd name="connsiteY94" fmla="*/ 298133 h 303847"/>
                <a:gd name="connsiteX95" fmla="*/ 80963 w 335279"/>
                <a:gd name="connsiteY95" fmla="*/ 297180 h 303847"/>
                <a:gd name="connsiteX96" fmla="*/ 80010 w 335279"/>
                <a:gd name="connsiteY96" fmla="*/ 297180 h 303847"/>
                <a:gd name="connsiteX97" fmla="*/ 79058 w 335279"/>
                <a:gd name="connsiteY97" fmla="*/ 297180 h 303847"/>
                <a:gd name="connsiteX98" fmla="*/ 77152 w 335279"/>
                <a:gd name="connsiteY98" fmla="*/ 296228 h 303847"/>
                <a:gd name="connsiteX99" fmla="*/ 75247 w 335279"/>
                <a:gd name="connsiteY99" fmla="*/ 295275 h 303847"/>
                <a:gd name="connsiteX100" fmla="*/ 75247 w 335279"/>
                <a:gd name="connsiteY100" fmla="*/ 295275 h 303847"/>
                <a:gd name="connsiteX101" fmla="*/ 72390 w 335279"/>
                <a:gd name="connsiteY101" fmla="*/ 294322 h 303847"/>
                <a:gd name="connsiteX102" fmla="*/ 72390 w 335279"/>
                <a:gd name="connsiteY102" fmla="*/ 294322 h 303847"/>
                <a:gd name="connsiteX103" fmla="*/ 69533 w 335279"/>
                <a:gd name="connsiteY103" fmla="*/ 293370 h 303847"/>
                <a:gd name="connsiteX104" fmla="*/ 69533 w 335279"/>
                <a:gd name="connsiteY104" fmla="*/ 293370 h 303847"/>
                <a:gd name="connsiteX105" fmla="*/ 66675 w 335279"/>
                <a:gd name="connsiteY105" fmla="*/ 292417 h 303847"/>
                <a:gd name="connsiteX106" fmla="*/ 66675 w 335279"/>
                <a:gd name="connsiteY106" fmla="*/ 292417 h 303847"/>
                <a:gd name="connsiteX107" fmla="*/ 63817 w 335279"/>
                <a:gd name="connsiteY107" fmla="*/ 291465 h 303847"/>
                <a:gd name="connsiteX108" fmla="*/ 63817 w 335279"/>
                <a:gd name="connsiteY108" fmla="*/ 291465 h 303847"/>
                <a:gd name="connsiteX109" fmla="*/ 60960 w 335279"/>
                <a:gd name="connsiteY109" fmla="*/ 289560 h 303847"/>
                <a:gd name="connsiteX110" fmla="*/ 60960 w 335279"/>
                <a:gd name="connsiteY110" fmla="*/ 289560 h 303847"/>
                <a:gd name="connsiteX111" fmla="*/ 58102 w 335279"/>
                <a:gd name="connsiteY111" fmla="*/ 287655 h 303847"/>
                <a:gd name="connsiteX112" fmla="*/ 58102 w 335279"/>
                <a:gd name="connsiteY112" fmla="*/ 287655 h 303847"/>
                <a:gd name="connsiteX113" fmla="*/ 56197 w 335279"/>
                <a:gd name="connsiteY113" fmla="*/ 285750 h 303847"/>
                <a:gd name="connsiteX114" fmla="*/ 56197 w 335279"/>
                <a:gd name="connsiteY114" fmla="*/ 285750 h 303847"/>
                <a:gd name="connsiteX115" fmla="*/ 54292 w 335279"/>
                <a:gd name="connsiteY115" fmla="*/ 283845 h 303847"/>
                <a:gd name="connsiteX116" fmla="*/ 54292 w 335279"/>
                <a:gd name="connsiteY116" fmla="*/ 283845 h 303847"/>
                <a:gd name="connsiteX117" fmla="*/ 54292 w 335279"/>
                <a:gd name="connsiteY117" fmla="*/ 283845 h 303847"/>
                <a:gd name="connsiteX118" fmla="*/ 44767 w 335279"/>
                <a:gd name="connsiteY118" fmla="*/ 276225 h 303847"/>
                <a:gd name="connsiteX119" fmla="*/ 44767 w 335279"/>
                <a:gd name="connsiteY119" fmla="*/ 276225 h 303847"/>
                <a:gd name="connsiteX120" fmla="*/ 42863 w 335279"/>
                <a:gd name="connsiteY120" fmla="*/ 275272 h 303847"/>
                <a:gd name="connsiteX121" fmla="*/ 42863 w 335279"/>
                <a:gd name="connsiteY121" fmla="*/ 275272 h 303847"/>
                <a:gd name="connsiteX122" fmla="*/ 41910 w 335279"/>
                <a:gd name="connsiteY122" fmla="*/ 274320 h 303847"/>
                <a:gd name="connsiteX123" fmla="*/ 40958 w 335279"/>
                <a:gd name="connsiteY123" fmla="*/ 273367 h 303847"/>
                <a:gd name="connsiteX124" fmla="*/ 40005 w 335279"/>
                <a:gd name="connsiteY124" fmla="*/ 272415 h 303847"/>
                <a:gd name="connsiteX125" fmla="*/ 39052 w 335279"/>
                <a:gd name="connsiteY125" fmla="*/ 271463 h 303847"/>
                <a:gd name="connsiteX126" fmla="*/ 39052 w 335279"/>
                <a:gd name="connsiteY126" fmla="*/ 271463 h 303847"/>
                <a:gd name="connsiteX127" fmla="*/ 37147 w 335279"/>
                <a:gd name="connsiteY127" fmla="*/ 269558 h 303847"/>
                <a:gd name="connsiteX128" fmla="*/ 37147 w 335279"/>
                <a:gd name="connsiteY128" fmla="*/ 269558 h 303847"/>
                <a:gd name="connsiteX129" fmla="*/ 36195 w 335279"/>
                <a:gd name="connsiteY129" fmla="*/ 268605 h 303847"/>
                <a:gd name="connsiteX130" fmla="*/ 35242 w 335279"/>
                <a:gd name="connsiteY130" fmla="*/ 267653 h 303847"/>
                <a:gd name="connsiteX131" fmla="*/ 35242 w 335279"/>
                <a:gd name="connsiteY131" fmla="*/ 267653 h 303847"/>
                <a:gd name="connsiteX132" fmla="*/ 33338 w 335279"/>
                <a:gd name="connsiteY132" fmla="*/ 265747 h 303847"/>
                <a:gd name="connsiteX133" fmla="*/ 33338 w 335279"/>
                <a:gd name="connsiteY133" fmla="*/ 265747 h 303847"/>
                <a:gd name="connsiteX134" fmla="*/ 32385 w 335279"/>
                <a:gd name="connsiteY134" fmla="*/ 264795 h 303847"/>
                <a:gd name="connsiteX135" fmla="*/ 31433 w 335279"/>
                <a:gd name="connsiteY135" fmla="*/ 263842 h 303847"/>
                <a:gd name="connsiteX136" fmla="*/ 31433 w 335279"/>
                <a:gd name="connsiteY136" fmla="*/ 262890 h 303847"/>
                <a:gd name="connsiteX137" fmla="*/ 30480 w 335279"/>
                <a:gd name="connsiteY137" fmla="*/ 260985 h 303847"/>
                <a:gd name="connsiteX138" fmla="*/ 30480 w 335279"/>
                <a:gd name="connsiteY138" fmla="*/ 260985 h 303847"/>
                <a:gd name="connsiteX139" fmla="*/ 29527 w 335279"/>
                <a:gd name="connsiteY139" fmla="*/ 259080 h 303847"/>
                <a:gd name="connsiteX140" fmla="*/ 28575 w 335279"/>
                <a:gd name="connsiteY140" fmla="*/ 258128 h 303847"/>
                <a:gd name="connsiteX141" fmla="*/ 28575 w 335279"/>
                <a:gd name="connsiteY141" fmla="*/ 257175 h 303847"/>
                <a:gd name="connsiteX142" fmla="*/ 26670 w 335279"/>
                <a:gd name="connsiteY142" fmla="*/ 255270 h 303847"/>
                <a:gd name="connsiteX143" fmla="*/ 26670 w 335279"/>
                <a:gd name="connsiteY143" fmla="*/ 255270 h 303847"/>
                <a:gd name="connsiteX144" fmla="*/ 24765 w 335279"/>
                <a:gd name="connsiteY144" fmla="*/ 252413 h 303847"/>
                <a:gd name="connsiteX145" fmla="*/ 23813 w 335279"/>
                <a:gd name="connsiteY145" fmla="*/ 250508 h 303847"/>
                <a:gd name="connsiteX146" fmla="*/ 23813 w 335279"/>
                <a:gd name="connsiteY146" fmla="*/ 249555 h 303847"/>
                <a:gd name="connsiteX147" fmla="*/ 23813 w 335279"/>
                <a:gd name="connsiteY147" fmla="*/ 248603 h 303847"/>
                <a:gd name="connsiteX148" fmla="*/ 5715 w 335279"/>
                <a:gd name="connsiteY148" fmla="*/ 210503 h 303847"/>
                <a:gd name="connsiteX149" fmla="*/ 5715 w 335279"/>
                <a:gd name="connsiteY149" fmla="*/ 209550 h 303847"/>
                <a:gd name="connsiteX150" fmla="*/ 3810 w 335279"/>
                <a:gd name="connsiteY150" fmla="*/ 202883 h 303847"/>
                <a:gd name="connsiteX151" fmla="*/ 3810 w 335279"/>
                <a:gd name="connsiteY151" fmla="*/ 202883 h 303847"/>
                <a:gd name="connsiteX152" fmla="*/ 0 w 335279"/>
                <a:gd name="connsiteY152" fmla="*/ 185738 h 303847"/>
                <a:gd name="connsiteX153" fmla="*/ 0 w 335279"/>
                <a:gd name="connsiteY153" fmla="*/ 184785 h 303847"/>
                <a:gd name="connsiteX154" fmla="*/ 0 w 335279"/>
                <a:gd name="connsiteY154" fmla="*/ 181928 h 303847"/>
                <a:gd name="connsiteX155" fmla="*/ 0 w 335279"/>
                <a:gd name="connsiteY155" fmla="*/ 181928 h 303847"/>
                <a:gd name="connsiteX156" fmla="*/ 0 w 335279"/>
                <a:gd name="connsiteY156" fmla="*/ 179070 h 303847"/>
                <a:gd name="connsiteX157" fmla="*/ 0 w 335279"/>
                <a:gd name="connsiteY157" fmla="*/ 178117 h 303847"/>
                <a:gd name="connsiteX158" fmla="*/ 0 w 335279"/>
                <a:gd name="connsiteY158" fmla="*/ 175260 h 303847"/>
                <a:gd name="connsiteX159" fmla="*/ 0 w 335279"/>
                <a:gd name="connsiteY159" fmla="*/ 174308 h 303847"/>
                <a:gd name="connsiteX160" fmla="*/ 0 w 335279"/>
                <a:gd name="connsiteY160" fmla="*/ 171450 h 303847"/>
                <a:gd name="connsiteX161" fmla="*/ 0 w 335279"/>
                <a:gd name="connsiteY161" fmla="*/ 170497 h 303847"/>
                <a:gd name="connsiteX162" fmla="*/ 0 w 335279"/>
                <a:gd name="connsiteY162" fmla="*/ 167640 h 303847"/>
                <a:gd name="connsiteX163" fmla="*/ 0 w 335279"/>
                <a:gd name="connsiteY163" fmla="*/ 166688 h 303847"/>
                <a:gd name="connsiteX164" fmla="*/ 0 w 335279"/>
                <a:gd name="connsiteY164" fmla="*/ 163830 h 303847"/>
                <a:gd name="connsiteX165" fmla="*/ 0 w 335279"/>
                <a:gd name="connsiteY165" fmla="*/ 162878 h 303847"/>
                <a:gd name="connsiteX166" fmla="*/ 0 w 335279"/>
                <a:gd name="connsiteY166" fmla="*/ 160020 h 303847"/>
                <a:gd name="connsiteX167" fmla="*/ 0 w 335279"/>
                <a:gd name="connsiteY167" fmla="*/ 160020 h 303847"/>
                <a:gd name="connsiteX168" fmla="*/ 0 w 335279"/>
                <a:gd name="connsiteY168" fmla="*/ 156210 h 303847"/>
                <a:gd name="connsiteX169" fmla="*/ 0 w 335279"/>
                <a:gd name="connsiteY169" fmla="*/ 156210 h 303847"/>
                <a:gd name="connsiteX170" fmla="*/ 0 w 335279"/>
                <a:gd name="connsiteY170" fmla="*/ 152400 h 303847"/>
                <a:gd name="connsiteX171" fmla="*/ 0 w 335279"/>
                <a:gd name="connsiteY171" fmla="*/ 76200 h 303847"/>
                <a:gd name="connsiteX172" fmla="*/ 0 w 335279"/>
                <a:gd name="connsiteY172" fmla="*/ 0 h 303847"/>
                <a:gd name="connsiteX173" fmla="*/ 72390 w 335279"/>
                <a:gd name="connsiteY173" fmla="*/ 0 h 303847"/>
                <a:gd name="connsiteX174" fmla="*/ 76200 w 335279"/>
                <a:gd name="connsiteY174" fmla="*/ 0 h 303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Lst>
              <a:rect l="l" t="t" r="r" b="b"/>
              <a:pathLst>
                <a:path w="335279" h="303847">
                  <a:moveTo>
                    <a:pt x="76200" y="0"/>
                  </a:moveTo>
                  <a:lnTo>
                    <a:pt x="220980" y="0"/>
                  </a:lnTo>
                  <a:cubicBezTo>
                    <a:pt x="228600" y="0"/>
                    <a:pt x="236220" y="953"/>
                    <a:pt x="243840" y="2858"/>
                  </a:cubicBezTo>
                  <a:lnTo>
                    <a:pt x="243840" y="2858"/>
                  </a:lnTo>
                  <a:cubicBezTo>
                    <a:pt x="245745" y="2858"/>
                    <a:pt x="247650" y="3810"/>
                    <a:pt x="249555" y="4763"/>
                  </a:cubicBezTo>
                  <a:lnTo>
                    <a:pt x="250508" y="4763"/>
                  </a:lnTo>
                  <a:lnTo>
                    <a:pt x="252412" y="5715"/>
                  </a:lnTo>
                  <a:lnTo>
                    <a:pt x="252412" y="5715"/>
                  </a:lnTo>
                  <a:lnTo>
                    <a:pt x="254317" y="6667"/>
                  </a:lnTo>
                  <a:lnTo>
                    <a:pt x="255270" y="6667"/>
                  </a:lnTo>
                  <a:lnTo>
                    <a:pt x="256223" y="6667"/>
                  </a:lnTo>
                  <a:lnTo>
                    <a:pt x="258127" y="7620"/>
                  </a:lnTo>
                  <a:lnTo>
                    <a:pt x="260033" y="8572"/>
                  </a:lnTo>
                  <a:lnTo>
                    <a:pt x="260033" y="8572"/>
                  </a:lnTo>
                  <a:lnTo>
                    <a:pt x="262890" y="9525"/>
                  </a:lnTo>
                  <a:lnTo>
                    <a:pt x="262890" y="9525"/>
                  </a:lnTo>
                  <a:lnTo>
                    <a:pt x="265748" y="10478"/>
                  </a:lnTo>
                  <a:lnTo>
                    <a:pt x="265748" y="10478"/>
                  </a:lnTo>
                  <a:lnTo>
                    <a:pt x="268605" y="11430"/>
                  </a:lnTo>
                  <a:lnTo>
                    <a:pt x="268605" y="11430"/>
                  </a:lnTo>
                  <a:lnTo>
                    <a:pt x="271462" y="13335"/>
                  </a:lnTo>
                  <a:lnTo>
                    <a:pt x="271462" y="13335"/>
                  </a:lnTo>
                  <a:lnTo>
                    <a:pt x="274320" y="15240"/>
                  </a:lnTo>
                  <a:lnTo>
                    <a:pt x="274320" y="15240"/>
                  </a:lnTo>
                  <a:lnTo>
                    <a:pt x="277177" y="17145"/>
                  </a:lnTo>
                  <a:lnTo>
                    <a:pt x="277177" y="17145"/>
                  </a:lnTo>
                  <a:lnTo>
                    <a:pt x="279083" y="19050"/>
                  </a:lnTo>
                  <a:lnTo>
                    <a:pt x="279083" y="19050"/>
                  </a:lnTo>
                  <a:lnTo>
                    <a:pt x="280987" y="20955"/>
                  </a:lnTo>
                  <a:lnTo>
                    <a:pt x="280987" y="20955"/>
                  </a:lnTo>
                  <a:lnTo>
                    <a:pt x="280987" y="20955"/>
                  </a:lnTo>
                  <a:cubicBezTo>
                    <a:pt x="283845" y="22860"/>
                    <a:pt x="287655" y="25717"/>
                    <a:pt x="290512" y="28575"/>
                  </a:cubicBezTo>
                  <a:lnTo>
                    <a:pt x="290512" y="28575"/>
                  </a:lnTo>
                  <a:lnTo>
                    <a:pt x="292417" y="29528"/>
                  </a:lnTo>
                  <a:lnTo>
                    <a:pt x="292417" y="29528"/>
                  </a:lnTo>
                  <a:lnTo>
                    <a:pt x="293370" y="30480"/>
                  </a:lnTo>
                  <a:lnTo>
                    <a:pt x="294323" y="31433"/>
                  </a:lnTo>
                  <a:lnTo>
                    <a:pt x="295275" y="32385"/>
                  </a:lnTo>
                  <a:lnTo>
                    <a:pt x="296227" y="33338"/>
                  </a:lnTo>
                  <a:lnTo>
                    <a:pt x="296227" y="33338"/>
                  </a:lnTo>
                  <a:lnTo>
                    <a:pt x="298133" y="35242"/>
                  </a:lnTo>
                  <a:lnTo>
                    <a:pt x="298133" y="35242"/>
                  </a:lnTo>
                  <a:lnTo>
                    <a:pt x="299085" y="36195"/>
                  </a:lnTo>
                  <a:lnTo>
                    <a:pt x="300037" y="37147"/>
                  </a:lnTo>
                  <a:lnTo>
                    <a:pt x="300037" y="37147"/>
                  </a:lnTo>
                  <a:lnTo>
                    <a:pt x="301942" y="39053"/>
                  </a:lnTo>
                  <a:lnTo>
                    <a:pt x="301942" y="39053"/>
                  </a:lnTo>
                  <a:lnTo>
                    <a:pt x="302895" y="40005"/>
                  </a:lnTo>
                  <a:lnTo>
                    <a:pt x="303848" y="40958"/>
                  </a:lnTo>
                  <a:lnTo>
                    <a:pt x="303848" y="41910"/>
                  </a:lnTo>
                  <a:lnTo>
                    <a:pt x="304800" y="43815"/>
                  </a:lnTo>
                  <a:lnTo>
                    <a:pt x="304800" y="43815"/>
                  </a:lnTo>
                  <a:lnTo>
                    <a:pt x="305752" y="45720"/>
                  </a:lnTo>
                  <a:lnTo>
                    <a:pt x="306705" y="46672"/>
                  </a:lnTo>
                  <a:lnTo>
                    <a:pt x="306705" y="47625"/>
                  </a:lnTo>
                  <a:lnTo>
                    <a:pt x="308610" y="49530"/>
                  </a:lnTo>
                  <a:lnTo>
                    <a:pt x="308610" y="49530"/>
                  </a:lnTo>
                  <a:lnTo>
                    <a:pt x="310515" y="52388"/>
                  </a:lnTo>
                  <a:lnTo>
                    <a:pt x="311467" y="54292"/>
                  </a:lnTo>
                  <a:lnTo>
                    <a:pt x="311467" y="55245"/>
                  </a:lnTo>
                  <a:lnTo>
                    <a:pt x="311467" y="56197"/>
                  </a:lnTo>
                  <a:cubicBezTo>
                    <a:pt x="319087" y="67628"/>
                    <a:pt x="324802" y="80963"/>
                    <a:pt x="329565" y="94297"/>
                  </a:cubicBezTo>
                  <a:lnTo>
                    <a:pt x="329565" y="95250"/>
                  </a:lnTo>
                  <a:cubicBezTo>
                    <a:pt x="330517" y="97155"/>
                    <a:pt x="330517" y="99060"/>
                    <a:pt x="331470" y="101917"/>
                  </a:cubicBezTo>
                  <a:lnTo>
                    <a:pt x="331470" y="101917"/>
                  </a:lnTo>
                  <a:cubicBezTo>
                    <a:pt x="333375" y="107633"/>
                    <a:pt x="334327" y="113347"/>
                    <a:pt x="335280" y="119063"/>
                  </a:cubicBezTo>
                  <a:lnTo>
                    <a:pt x="335280" y="120015"/>
                  </a:lnTo>
                  <a:lnTo>
                    <a:pt x="335280" y="122872"/>
                  </a:lnTo>
                  <a:lnTo>
                    <a:pt x="335280" y="122872"/>
                  </a:lnTo>
                  <a:lnTo>
                    <a:pt x="335280" y="125730"/>
                  </a:lnTo>
                  <a:lnTo>
                    <a:pt x="335280" y="126683"/>
                  </a:lnTo>
                  <a:lnTo>
                    <a:pt x="335280" y="129540"/>
                  </a:lnTo>
                  <a:lnTo>
                    <a:pt x="335280" y="130492"/>
                  </a:lnTo>
                  <a:lnTo>
                    <a:pt x="335280" y="133350"/>
                  </a:lnTo>
                  <a:lnTo>
                    <a:pt x="335280" y="134303"/>
                  </a:lnTo>
                  <a:lnTo>
                    <a:pt x="335280" y="137160"/>
                  </a:lnTo>
                  <a:lnTo>
                    <a:pt x="335280" y="138113"/>
                  </a:lnTo>
                  <a:lnTo>
                    <a:pt x="335280" y="140970"/>
                  </a:lnTo>
                  <a:lnTo>
                    <a:pt x="335280" y="141922"/>
                  </a:lnTo>
                  <a:lnTo>
                    <a:pt x="335280" y="144780"/>
                  </a:lnTo>
                  <a:lnTo>
                    <a:pt x="335280" y="144780"/>
                  </a:lnTo>
                  <a:lnTo>
                    <a:pt x="335280" y="148590"/>
                  </a:lnTo>
                  <a:lnTo>
                    <a:pt x="335280" y="148590"/>
                  </a:lnTo>
                  <a:lnTo>
                    <a:pt x="335280" y="152400"/>
                  </a:lnTo>
                  <a:lnTo>
                    <a:pt x="335280" y="227647"/>
                  </a:lnTo>
                  <a:lnTo>
                    <a:pt x="335280" y="303847"/>
                  </a:lnTo>
                  <a:lnTo>
                    <a:pt x="262890" y="303847"/>
                  </a:lnTo>
                  <a:cubicBezTo>
                    <a:pt x="261937" y="303847"/>
                    <a:pt x="260033" y="303847"/>
                    <a:pt x="259080" y="303847"/>
                  </a:cubicBezTo>
                  <a:lnTo>
                    <a:pt x="114300" y="303847"/>
                  </a:lnTo>
                  <a:cubicBezTo>
                    <a:pt x="106680" y="303847"/>
                    <a:pt x="99060" y="302895"/>
                    <a:pt x="91440" y="300990"/>
                  </a:cubicBezTo>
                  <a:lnTo>
                    <a:pt x="91440" y="300990"/>
                  </a:lnTo>
                  <a:cubicBezTo>
                    <a:pt x="89535" y="300990"/>
                    <a:pt x="87630" y="300038"/>
                    <a:pt x="85725" y="299085"/>
                  </a:cubicBezTo>
                  <a:lnTo>
                    <a:pt x="84772" y="299085"/>
                  </a:lnTo>
                  <a:lnTo>
                    <a:pt x="82867" y="298133"/>
                  </a:lnTo>
                  <a:lnTo>
                    <a:pt x="82867" y="298133"/>
                  </a:lnTo>
                  <a:lnTo>
                    <a:pt x="80963" y="297180"/>
                  </a:lnTo>
                  <a:lnTo>
                    <a:pt x="80010" y="297180"/>
                  </a:lnTo>
                  <a:lnTo>
                    <a:pt x="79058" y="297180"/>
                  </a:lnTo>
                  <a:lnTo>
                    <a:pt x="77152" y="296228"/>
                  </a:lnTo>
                  <a:lnTo>
                    <a:pt x="75247" y="295275"/>
                  </a:lnTo>
                  <a:lnTo>
                    <a:pt x="75247" y="295275"/>
                  </a:lnTo>
                  <a:lnTo>
                    <a:pt x="72390" y="294322"/>
                  </a:lnTo>
                  <a:lnTo>
                    <a:pt x="72390" y="294322"/>
                  </a:lnTo>
                  <a:lnTo>
                    <a:pt x="69533" y="293370"/>
                  </a:lnTo>
                  <a:lnTo>
                    <a:pt x="69533" y="293370"/>
                  </a:lnTo>
                  <a:lnTo>
                    <a:pt x="66675" y="292417"/>
                  </a:lnTo>
                  <a:lnTo>
                    <a:pt x="66675" y="292417"/>
                  </a:lnTo>
                  <a:lnTo>
                    <a:pt x="63817" y="291465"/>
                  </a:lnTo>
                  <a:lnTo>
                    <a:pt x="63817" y="291465"/>
                  </a:lnTo>
                  <a:lnTo>
                    <a:pt x="60960" y="289560"/>
                  </a:lnTo>
                  <a:lnTo>
                    <a:pt x="60960" y="289560"/>
                  </a:lnTo>
                  <a:lnTo>
                    <a:pt x="58102" y="287655"/>
                  </a:lnTo>
                  <a:lnTo>
                    <a:pt x="58102" y="287655"/>
                  </a:lnTo>
                  <a:lnTo>
                    <a:pt x="56197" y="285750"/>
                  </a:lnTo>
                  <a:lnTo>
                    <a:pt x="56197" y="285750"/>
                  </a:lnTo>
                  <a:lnTo>
                    <a:pt x="54292" y="283845"/>
                  </a:lnTo>
                  <a:lnTo>
                    <a:pt x="54292" y="283845"/>
                  </a:lnTo>
                  <a:lnTo>
                    <a:pt x="54292" y="283845"/>
                  </a:lnTo>
                  <a:cubicBezTo>
                    <a:pt x="51435" y="281940"/>
                    <a:pt x="47625" y="279083"/>
                    <a:pt x="44767" y="276225"/>
                  </a:cubicBezTo>
                  <a:lnTo>
                    <a:pt x="44767" y="276225"/>
                  </a:lnTo>
                  <a:lnTo>
                    <a:pt x="42863" y="275272"/>
                  </a:lnTo>
                  <a:lnTo>
                    <a:pt x="42863" y="275272"/>
                  </a:lnTo>
                  <a:lnTo>
                    <a:pt x="41910" y="274320"/>
                  </a:lnTo>
                  <a:lnTo>
                    <a:pt x="40958" y="273367"/>
                  </a:lnTo>
                  <a:lnTo>
                    <a:pt x="40005" y="272415"/>
                  </a:lnTo>
                  <a:lnTo>
                    <a:pt x="39052" y="271463"/>
                  </a:lnTo>
                  <a:lnTo>
                    <a:pt x="39052" y="271463"/>
                  </a:lnTo>
                  <a:lnTo>
                    <a:pt x="37147" y="269558"/>
                  </a:lnTo>
                  <a:lnTo>
                    <a:pt x="37147" y="269558"/>
                  </a:lnTo>
                  <a:lnTo>
                    <a:pt x="36195" y="268605"/>
                  </a:lnTo>
                  <a:lnTo>
                    <a:pt x="35242" y="267653"/>
                  </a:lnTo>
                  <a:lnTo>
                    <a:pt x="35242" y="267653"/>
                  </a:lnTo>
                  <a:lnTo>
                    <a:pt x="33338" y="265747"/>
                  </a:lnTo>
                  <a:lnTo>
                    <a:pt x="33338" y="265747"/>
                  </a:lnTo>
                  <a:lnTo>
                    <a:pt x="32385" y="264795"/>
                  </a:lnTo>
                  <a:lnTo>
                    <a:pt x="31433" y="263842"/>
                  </a:lnTo>
                  <a:lnTo>
                    <a:pt x="31433" y="262890"/>
                  </a:lnTo>
                  <a:lnTo>
                    <a:pt x="30480" y="260985"/>
                  </a:lnTo>
                  <a:lnTo>
                    <a:pt x="30480" y="260985"/>
                  </a:lnTo>
                  <a:lnTo>
                    <a:pt x="29527" y="259080"/>
                  </a:lnTo>
                  <a:lnTo>
                    <a:pt x="28575" y="258128"/>
                  </a:lnTo>
                  <a:lnTo>
                    <a:pt x="28575" y="257175"/>
                  </a:lnTo>
                  <a:lnTo>
                    <a:pt x="26670" y="255270"/>
                  </a:lnTo>
                  <a:lnTo>
                    <a:pt x="26670" y="255270"/>
                  </a:lnTo>
                  <a:lnTo>
                    <a:pt x="24765" y="252413"/>
                  </a:lnTo>
                  <a:lnTo>
                    <a:pt x="23813" y="250508"/>
                  </a:lnTo>
                  <a:lnTo>
                    <a:pt x="23813" y="249555"/>
                  </a:lnTo>
                  <a:lnTo>
                    <a:pt x="23813" y="248603"/>
                  </a:lnTo>
                  <a:cubicBezTo>
                    <a:pt x="16192" y="237172"/>
                    <a:pt x="10477" y="223838"/>
                    <a:pt x="5715" y="210503"/>
                  </a:cubicBezTo>
                  <a:lnTo>
                    <a:pt x="5715" y="209550"/>
                  </a:lnTo>
                  <a:cubicBezTo>
                    <a:pt x="4763" y="207645"/>
                    <a:pt x="4763" y="205740"/>
                    <a:pt x="3810" y="202883"/>
                  </a:cubicBezTo>
                  <a:lnTo>
                    <a:pt x="3810" y="202883"/>
                  </a:lnTo>
                  <a:cubicBezTo>
                    <a:pt x="1905" y="197167"/>
                    <a:pt x="952" y="191453"/>
                    <a:pt x="0" y="185738"/>
                  </a:cubicBezTo>
                  <a:lnTo>
                    <a:pt x="0" y="184785"/>
                  </a:lnTo>
                  <a:lnTo>
                    <a:pt x="0" y="181928"/>
                  </a:lnTo>
                  <a:lnTo>
                    <a:pt x="0" y="181928"/>
                  </a:lnTo>
                  <a:lnTo>
                    <a:pt x="0" y="179070"/>
                  </a:lnTo>
                  <a:lnTo>
                    <a:pt x="0" y="178117"/>
                  </a:lnTo>
                  <a:lnTo>
                    <a:pt x="0" y="175260"/>
                  </a:lnTo>
                  <a:lnTo>
                    <a:pt x="0" y="174308"/>
                  </a:lnTo>
                  <a:lnTo>
                    <a:pt x="0" y="171450"/>
                  </a:lnTo>
                  <a:lnTo>
                    <a:pt x="0" y="170497"/>
                  </a:lnTo>
                  <a:lnTo>
                    <a:pt x="0" y="167640"/>
                  </a:lnTo>
                  <a:lnTo>
                    <a:pt x="0" y="166688"/>
                  </a:lnTo>
                  <a:lnTo>
                    <a:pt x="0" y="163830"/>
                  </a:lnTo>
                  <a:lnTo>
                    <a:pt x="0" y="162878"/>
                  </a:lnTo>
                  <a:lnTo>
                    <a:pt x="0" y="160020"/>
                  </a:lnTo>
                  <a:lnTo>
                    <a:pt x="0" y="160020"/>
                  </a:lnTo>
                  <a:lnTo>
                    <a:pt x="0" y="156210"/>
                  </a:lnTo>
                  <a:lnTo>
                    <a:pt x="0" y="156210"/>
                  </a:lnTo>
                  <a:lnTo>
                    <a:pt x="0" y="152400"/>
                  </a:lnTo>
                  <a:lnTo>
                    <a:pt x="0" y="76200"/>
                  </a:lnTo>
                  <a:lnTo>
                    <a:pt x="0" y="0"/>
                  </a:lnTo>
                  <a:lnTo>
                    <a:pt x="72390" y="0"/>
                  </a:lnTo>
                  <a:cubicBezTo>
                    <a:pt x="73342" y="0"/>
                    <a:pt x="74295" y="0"/>
                    <a:pt x="76200" y="0"/>
                  </a:cubicBezTo>
                  <a:close/>
                </a:path>
              </a:pathLst>
            </a:custGeom>
            <a:solidFill>
              <a:schemeClr val="accent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sp>
        <p:nvSpPr>
          <p:cNvPr id="30" name="Title 1">
            <a:extLst>
              <a:ext uri="{FF2B5EF4-FFF2-40B4-BE49-F238E27FC236}">
                <a16:creationId xmlns:a16="http://schemas.microsoft.com/office/drawing/2014/main" id="{604CA12F-7E81-421C-B46E-DBB8B2F76576}"/>
              </a:ext>
            </a:extLst>
          </p:cNvPr>
          <p:cNvSpPr txBox="1">
            <a:spLocks/>
          </p:cNvSpPr>
          <p:nvPr/>
        </p:nvSpPr>
        <p:spPr>
          <a:xfrm>
            <a:off x="2043113" y="304800"/>
            <a:ext cx="8105775" cy="1105808"/>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ID" sz="4400" b="0" i="0" u="none" strike="noStrike" kern="1200" cap="none" spc="0" normalizeH="0" baseline="0" noProof="0">
                <a:ln>
                  <a:noFill/>
                </a:ln>
                <a:solidFill>
                  <a:srgbClr val="000000"/>
                </a:solidFill>
                <a:effectLst/>
                <a:uLnTx/>
                <a:uFillTx/>
                <a:latin typeface="等线 Light" panose="020F0302020204030204"/>
                <a:ea typeface="+mj-ea"/>
                <a:cs typeface="+mj-cs"/>
              </a:rPr>
              <a:t>Tree Infographic</a:t>
            </a:r>
          </a:p>
        </p:txBody>
      </p:sp>
      <p:sp>
        <p:nvSpPr>
          <p:cNvPr id="31" name="Freeform: Shape 127">
            <a:extLst>
              <a:ext uri="{FF2B5EF4-FFF2-40B4-BE49-F238E27FC236}">
                <a16:creationId xmlns:a16="http://schemas.microsoft.com/office/drawing/2014/main" id="{61E57674-688F-4933-B9B3-E22A732CE557}"/>
              </a:ext>
            </a:extLst>
          </p:cNvPr>
          <p:cNvSpPr/>
          <p:nvPr/>
        </p:nvSpPr>
        <p:spPr>
          <a:xfrm>
            <a:off x="5264210" y="2675160"/>
            <a:ext cx="156110" cy="220494"/>
          </a:xfrm>
          <a:custGeom>
            <a:avLst/>
            <a:gdLst>
              <a:gd name="connsiteX0" fmla="*/ 337185 w 674370"/>
              <a:gd name="connsiteY0" fmla="*/ 0 h 952500"/>
              <a:gd name="connsiteX1" fmla="*/ 0 w 674370"/>
              <a:gd name="connsiteY1" fmla="*/ 615315 h 952500"/>
              <a:gd name="connsiteX2" fmla="*/ 337185 w 674370"/>
              <a:gd name="connsiteY2" fmla="*/ 952500 h 952500"/>
              <a:gd name="connsiteX3" fmla="*/ 674370 w 674370"/>
              <a:gd name="connsiteY3" fmla="*/ 615315 h 952500"/>
              <a:gd name="connsiteX4" fmla="*/ 337185 w 674370"/>
              <a:gd name="connsiteY4" fmla="*/ 0 h 952500"/>
              <a:gd name="connsiteX5" fmla="*/ 332423 w 674370"/>
              <a:gd name="connsiteY5" fmla="*/ 876300 h 952500"/>
              <a:gd name="connsiteX6" fmla="*/ 76200 w 674370"/>
              <a:gd name="connsiteY6" fmla="*/ 654368 h 952500"/>
              <a:gd name="connsiteX7" fmla="*/ 121920 w 674370"/>
              <a:gd name="connsiteY7" fmla="*/ 641985 h 952500"/>
              <a:gd name="connsiteX8" fmla="*/ 341948 w 674370"/>
              <a:gd name="connsiteY8" fmla="*/ 830580 h 952500"/>
              <a:gd name="connsiteX9" fmla="*/ 332423 w 674370"/>
              <a:gd name="connsiteY9" fmla="*/ 876300 h 952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74370" h="952500">
                <a:moveTo>
                  <a:pt x="337185" y="0"/>
                </a:moveTo>
                <a:cubicBezTo>
                  <a:pt x="337185" y="0"/>
                  <a:pt x="0" y="429578"/>
                  <a:pt x="0" y="615315"/>
                </a:cubicBezTo>
                <a:cubicBezTo>
                  <a:pt x="0" y="801053"/>
                  <a:pt x="150495" y="952500"/>
                  <a:pt x="337185" y="952500"/>
                </a:cubicBezTo>
                <a:cubicBezTo>
                  <a:pt x="522923" y="952500"/>
                  <a:pt x="674370" y="802005"/>
                  <a:pt x="674370" y="615315"/>
                </a:cubicBezTo>
                <a:cubicBezTo>
                  <a:pt x="674370" y="429578"/>
                  <a:pt x="337185" y="0"/>
                  <a:pt x="337185" y="0"/>
                </a:cubicBezTo>
                <a:close/>
                <a:moveTo>
                  <a:pt x="332423" y="876300"/>
                </a:moveTo>
                <a:cubicBezTo>
                  <a:pt x="128588" y="834390"/>
                  <a:pt x="78105" y="661988"/>
                  <a:pt x="76200" y="654368"/>
                </a:cubicBezTo>
                <a:lnTo>
                  <a:pt x="121920" y="641985"/>
                </a:lnTo>
                <a:cubicBezTo>
                  <a:pt x="123825" y="648653"/>
                  <a:pt x="167640" y="794385"/>
                  <a:pt x="341948" y="830580"/>
                </a:cubicBezTo>
                <a:lnTo>
                  <a:pt x="332423" y="876300"/>
                </a:lnTo>
                <a:close/>
              </a:path>
            </a:pathLst>
          </a:custGeom>
          <a:solidFill>
            <a:schemeClr val="accent6"/>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nvGrpSpPr>
          <p:cNvPr id="32" name="Graphic 1">
            <a:extLst>
              <a:ext uri="{FF2B5EF4-FFF2-40B4-BE49-F238E27FC236}">
                <a16:creationId xmlns:a16="http://schemas.microsoft.com/office/drawing/2014/main" id="{F423B679-7F5A-461B-8EAF-CF43D6C7DE6F}"/>
              </a:ext>
            </a:extLst>
          </p:cNvPr>
          <p:cNvGrpSpPr/>
          <p:nvPr/>
        </p:nvGrpSpPr>
        <p:grpSpPr>
          <a:xfrm>
            <a:off x="6739595" y="3283575"/>
            <a:ext cx="220276" cy="220496"/>
            <a:chOff x="3504247" y="1264920"/>
            <a:chExt cx="951547" cy="952500"/>
          </a:xfrm>
          <a:solidFill>
            <a:schemeClr val="accent5"/>
          </a:solidFill>
        </p:grpSpPr>
        <p:sp>
          <p:nvSpPr>
            <p:cNvPr id="33" name="Freeform: Shape 129">
              <a:extLst>
                <a:ext uri="{FF2B5EF4-FFF2-40B4-BE49-F238E27FC236}">
                  <a16:creationId xmlns:a16="http://schemas.microsoft.com/office/drawing/2014/main" id="{58020C6C-7026-478D-9B50-4DB3A5960753}"/>
                </a:ext>
              </a:extLst>
            </p:cNvPr>
            <p:cNvSpPr/>
            <p:nvPr/>
          </p:nvSpPr>
          <p:spPr>
            <a:xfrm>
              <a:off x="3643311" y="1403985"/>
              <a:ext cx="674369" cy="674369"/>
            </a:xfrm>
            <a:custGeom>
              <a:avLst/>
              <a:gdLst>
                <a:gd name="connsiteX0" fmla="*/ 674370 w 674369"/>
                <a:gd name="connsiteY0" fmla="*/ 337185 h 674369"/>
                <a:gd name="connsiteX1" fmla="*/ 337185 w 674369"/>
                <a:gd name="connsiteY1" fmla="*/ 674370 h 674369"/>
                <a:gd name="connsiteX2" fmla="*/ 0 w 674369"/>
                <a:gd name="connsiteY2" fmla="*/ 337185 h 674369"/>
                <a:gd name="connsiteX3" fmla="*/ 337185 w 674369"/>
                <a:gd name="connsiteY3" fmla="*/ 0 h 674369"/>
                <a:gd name="connsiteX4" fmla="*/ 674370 w 674369"/>
                <a:gd name="connsiteY4" fmla="*/ 337185 h 6743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4369" h="674369">
                  <a:moveTo>
                    <a:pt x="674370" y="337185"/>
                  </a:moveTo>
                  <a:cubicBezTo>
                    <a:pt x="674370" y="523407"/>
                    <a:pt x="523407" y="674370"/>
                    <a:pt x="337185" y="674370"/>
                  </a:cubicBezTo>
                  <a:cubicBezTo>
                    <a:pt x="150963" y="674370"/>
                    <a:pt x="0" y="523407"/>
                    <a:pt x="0" y="337185"/>
                  </a:cubicBezTo>
                  <a:cubicBezTo>
                    <a:pt x="0" y="150963"/>
                    <a:pt x="150963" y="0"/>
                    <a:pt x="337185" y="0"/>
                  </a:cubicBezTo>
                  <a:cubicBezTo>
                    <a:pt x="523407" y="0"/>
                    <a:pt x="674370" y="150963"/>
                    <a:pt x="674370" y="337185"/>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4" name="Freeform: Shape 130">
              <a:extLst>
                <a:ext uri="{FF2B5EF4-FFF2-40B4-BE49-F238E27FC236}">
                  <a16:creationId xmlns:a16="http://schemas.microsoft.com/office/drawing/2014/main" id="{F6CB161B-02BE-4BF1-9809-12718A8529A5}"/>
                </a:ext>
              </a:extLst>
            </p:cNvPr>
            <p:cNvSpPr/>
            <p:nvPr/>
          </p:nvSpPr>
          <p:spPr>
            <a:xfrm>
              <a:off x="3956684" y="1264920"/>
              <a:ext cx="47625" cy="75247"/>
            </a:xfrm>
            <a:custGeom>
              <a:avLst/>
              <a:gdLst>
                <a:gd name="connsiteX0" fmla="*/ 0 w 47625"/>
                <a:gd name="connsiteY0" fmla="*/ 0 h 75247"/>
                <a:gd name="connsiteX1" fmla="*/ 47625 w 47625"/>
                <a:gd name="connsiteY1" fmla="*/ 0 h 75247"/>
                <a:gd name="connsiteX2" fmla="*/ 47625 w 47625"/>
                <a:gd name="connsiteY2" fmla="*/ 75248 h 75247"/>
                <a:gd name="connsiteX3" fmla="*/ 0 w 47625"/>
                <a:gd name="connsiteY3" fmla="*/ 75248 h 75247"/>
              </a:gdLst>
              <a:ahLst/>
              <a:cxnLst>
                <a:cxn ang="0">
                  <a:pos x="connsiteX0" y="connsiteY0"/>
                </a:cxn>
                <a:cxn ang="0">
                  <a:pos x="connsiteX1" y="connsiteY1"/>
                </a:cxn>
                <a:cxn ang="0">
                  <a:pos x="connsiteX2" y="connsiteY2"/>
                </a:cxn>
                <a:cxn ang="0">
                  <a:pos x="connsiteX3" y="connsiteY3"/>
                </a:cxn>
              </a:cxnLst>
              <a:rect l="l" t="t" r="r" b="b"/>
              <a:pathLst>
                <a:path w="47625" h="75247">
                  <a:moveTo>
                    <a:pt x="0" y="0"/>
                  </a:moveTo>
                  <a:lnTo>
                    <a:pt x="47625" y="0"/>
                  </a:lnTo>
                  <a:lnTo>
                    <a:pt x="47625" y="75248"/>
                  </a:lnTo>
                  <a:lnTo>
                    <a:pt x="0" y="75248"/>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5" name="Freeform: Shape 131">
              <a:extLst>
                <a:ext uri="{FF2B5EF4-FFF2-40B4-BE49-F238E27FC236}">
                  <a16:creationId xmlns:a16="http://schemas.microsoft.com/office/drawing/2014/main" id="{8F34CBB6-8626-4ACE-BD0D-89B7CD5DA786}"/>
                </a:ext>
              </a:extLst>
            </p:cNvPr>
            <p:cNvSpPr/>
            <p:nvPr/>
          </p:nvSpPr>
          <p:spPr>
            <a:xfrm rot="-2700000">
              <a:off x="3646166" y="1393671"/>
              <a:ext cx="47624" cy="75246"/>
            </a:xfrm>
            <a:custGeom>
              <a:avLst/>
              <a:gdLst>
                <a:gd name="connsiteX0" fmla="*/ 0 w 47624"/>
                <a:gd name="connsiteY0" fmla="*/ 0 h 75246"/>
                <a:gd name="connsiteX1" fmla="*/ 47625 w 47624"/>
                <a:gd name="connsiteY1" fmla="*/ 0 h 75246"/>
                <a:gd name="connsiteX2" fmla="*/ 47625 w 47624"/>
                <a:gd name="connsiteY2" fmla="*/ 75247 h 75246"/>
                <a:gd name="connsiteX3" fmla="*/ 0 w 47624"/>
                <a:gd name="connsiteY3" fmla="*/ 75247 h 75246"/>
              </a:gdLst>
              <a:ahLst/>
              <a:cxnLst>
                <a:cxn ang="0">
                  <a:pos x="connsiteX0" y="connsiteY0"/>
                </a:cxn>
                <a:cxn ang="0">
                  <a:pos x="connsiteX1" y="connsiteY1"/>
                </a:cxn>
                <a:cxn ang="0">
                  <a:pos x="connsiteX2" y="connsiteY2"/>
                </a:cxn>
                <a:cxn ang="0">
                  <a:pos x="connsiteX3" y="connsiteY3"/>
                </a:cxn>
              </a:cxnLst>
              <a:rect l="l" t="t" r="r" b="b"/>
              <a:pathLst>
                <a:path w="47624" h="75246">
                  <a:moveTo>
                    <a:pt x="0" y="0"/>
                  </a:moveTo>
                  <a:lnTo>
                    <a:pt x="47625" y="0"/>
                  </a:lnTo>
                  <a:lnTo>
                    <a:pt x="47625" y="75247"/>
                  </a:lnTo>
                  <a:lnTo>
                    <a:pt x="0" y="75247"/>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6" name="Freeform: Shape 132">
              <a:extLst>
                <a:ext uri="{FF2B5EF4-FFF2-40B4-BE49-F238E27FC236}">
                  <a16:creationId xmlns:a16="http://schemas.microsoft.com/office/drawing/2014/main" id="{0361901F-7C4D-49DF-BC0E-AC15D5156D0A}"/>
                </a:ext>
              </a:extLst>
            </p:cNvPr>
            <p:cNvSpPr/>
            <p:nvPr/>
          </p:nvSpPr>
          <p:spPr>
            <a:xfrm>
              <a:off x="3504247" y="1717357"/>
              <a:ext cx="75247" cy="47625"/>
            </a:xfrm>
            <a:custGeom>
              <a:avLst/>
              <a:gdLst>
                <a:gd name="connsiteX0" fmla="*/ 0 w 75247"/>
                <a:gd name="connsiteY0" fmla="*/ 0 h 47625"/>
                <a:gd name="connsiteX1" fmla="*/ 75247 w 75247"/>
                <a:gd name="connsiteY1" fmla="*/ 0 h 47625"/>
                <a:gd name="connsiteX2" fmla="*/ 75247 w 75247"/>
                <a:gd name="connsiteY2" fmla="*/ 47625 h 47625"/>
                <a:gd name="connsiteX3" fmla="*/ 0 w 75247"/>
                <a:gd name="connsiteY3" fmla="*/ 47625 h 47625"/>
              </a:gdLst>
              <a:ahLst/>
              <a:cxnLst>
                <a:cxn ang="0">
                  <a:pos x="connsiteX0" y="connsiteY0"/>
                </a:cxn>
                <a:cxn ang="0">
                  <a:pos x="connsiteX1" y="connsiteY1"/>
                </a:cxn>
                <a:cxn ang="0">
                  <a:pos x="connsiteX2" y="connsiteY2"/>
                </a:cxn>
                <a:cxn ang="0">
                  <a:pos x="connsiteX3" y="connsiteY3"/>
                </a:cxn>
              </a:cxnLst>
              <a:rect l="l" t="t" r="r" b="b"/>
              <a:pathLst>
                <a:path w="75247" h="47625">
                  <a:moveTo>
                    <a:pt x="0" y="0"/>
                  </a:moveTo>
                  <a:lnTo>
                    <a:pt x="75247" y="0"/>
                  </a:lnTo>
                  <a:lnTo>
                    <a:pt x="75247" y="47625"/>
                  </a:lnTo>
                  <a:lnTo>
                    <a:pt x="0" y="47625"/>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7" name="Freeform: Shape 133">
              <a:extLst>
                <a:ext uri="{FF2B5EF4-FFF2-40B4-BE49-F238E27FC236}">
                  <a16:creationId xmlns:a16="http://schemas.microsoft.com/office/drawing/2014/main" id="{0B638368-4D74-4219-8212-EE378D0D76C7}"/>
                </a:ext>
              </a:extLst>
            </p:cNvPr>
            <p:cNvSpPr/>
            <p:nvPr/>
          </p:nvSpPr>
          <p:spPr>
            <a:xfrm rot="-2700000">
              <a:off x="3632314" y="2028140"/>
              <a:ext cx="75246" cy="47624"/>
            </a:xfrm>
            <a:custGeom>
              <a:avLst/>
              <a:gdLst>
                <a:gd name="connsiteX0" fmla="*/ 0 w 75246"/>
                <a:gd name="connsiteY0" fmla="*/ 0 h 47624"/>
                <a:gd name="connsiteX1" fmla="*/ 75247 w 75246"/>
                <a:gd name="connsiteY1" fmla="*/ 0 h 47624"/>
                <a:gd name="connsiteX2" fmla="*/ 75247 w 75246"/>
                <a:gd name="connsiteY2" fmla="*/ 47625 h 47624"/>
                <a:gd name="connsiteX3" fmla="*/ 0 w 75246"/>
                <a:gd name="connsiteY3" fmla="*/ 47625 h 47624"/>
              </a:gdLst>
              <a:ahLst/>
              <a:cxnLst>
                <a:cxn ang="0">
                  <a:pos x="connsiteX0" y="connsiteY0"/>
                </a:cxn>
                <a:cxn ang="0">
                  <a:pos x="connsiteX1" y="connsiteY1"/>
                </a:cxn>
                <a:cxn ang="0">
                  <a:pos x="connsiteX2" y="connsiteY2"/>
                </a:cxn>
                <a:cxn ang="0">
                  <a:pos x="connsiteX3" y="connsiteY3"/>
                </a:cxn>
              </a:cxnLst>
              <a:rect l="l" t="t" r="r" b="b"/>
              <a:pathLst>
                <a:path w="75246" h="47624">
                  <a:moveTo>
                    <a:pt x="0" y="0"/>
                  </a:moveTo>
                  <a:lnTo>
                    <a:pt x="75247" y="0"/>
                  </a:lnTo>
                  <a:lnTo>
                    <a:pt x="75247" y="47625"/>
                  </a:lnTo>
                  <a:lnTo>
                    <a:pt x="0" y="47625"/>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8" name="Freeform: Shape 134">
              <a:extLst>
                <a:ext uri="{FF2B5EF4-FFF2-40B4-BE49-F238E27FC236}">
                  <a16:creationId xmlns:a16="http://schemas.microsoft.com/office/drawing/2014/main" id="{C2B6FE23-D5A3-41BF-92DE-33F35EED9761}"/>
                </a:ext>
              </a:extLst>
            </p:cNvPr>
            <p:cNvSpPr/>
            <p:nvPr/>
          </p:nvSpPr>
          <p:spPr>
            <a:xfrm>
              <a:off x="3956684" y="2142172"/>
              <a:ext cx="47625" cy="75247"/>
            </a:xfrm>
            <a:custGeom>
              <a:avLst/>
              <a:gdLst>
                <a:gd name="connsiteX0" fmla="*/ 0 w 47625"/>
                <a:gd name="connsiteY0" fmla="*/ 0 h 75247"/>
                <a:gd name="connsiteX1" fmla="*/ 47625 w 47625"/>
                <a:gd name="connsiteY1" fmla="*/ 0 h 75247"/>
                <a:gd name="connsiteX2" fmla="*/ 47625 w 47625"/>
                <a:gd name="connsiteY2" fmla="*/ 75248 h 75247"/>
                <a:gd name="connsiteX3" fmla="*/ 0 w 47625"/>
                <a:gd name="connsiteY3" fmla="*/ 75248 h 75247"/>
              </a:gdLst>
              <a:ahLst/>
              <a:cxnLst>
                <a:cxn ang="0">
                  <a:pos x="connsiteX0" y="connsiteY0"/>
                </a:cxn>
                <a:cxn ang="0">
                  <a:pos x="connsiteX1" y="connsiteY1"/>
                </a:cxn>
                <a:cxn ang="0">
                  <a:pos x="connsiteX2" y="connsiteY2"/>
                </a:cxn>
                <a:cxn ang="0">
                  <a:pos x="connsiteX3" y="connsiteY3"/>
                </a:cxn>
              </a:cxnLst>
              <a:rect l="l" t="t" r="r" b="b"/>
              <a:pathLst>
                <a:path w="47625" h="75247">
                  <a:moveTo>
                    <a:pt x="0" y="0"/>
                  </a:moveTo>
                  <a:lnTo>
                    <a:pt x="47625" y="0"/>
                  </a:lnTo>
                  <a:lnTo>
                    <a:pt x="47625" y="75248"/>
                  </a:lnTo>
                  <a:lnTo>
                    <a:pt x="0" y="75248"/>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9" name="Freeform: Shape 135">
              <a:extLst>
                <a:ext uri="{FF2B5EF4-FFF2-40B4-BE49-F238E27FC236}">
                  <a16:creationId xmlns:a16="http://schemas.microsoft.com/office/drawing/2014/main" id="{1478D5B9-F5A7-4ED9-B472-D8CCE19DE495}"/>
                </a:ext>
              </a:extLst>
            </p:cNvPr>
            <p:cNvSpPr/>
            <p:nvPr/>
          </p:nvSpPr>
          <p:spPr>
            <a:xfrm rot="-2699514">
              <a:off x="4266268" y="2013785"/>
              <a:ext cx="47624" cy="75246"/>
            </a:xfrm>
            <a:custGeom>
              <a:avLst/>
              <a:gdLst>
                <a:gd name="connsiteX0" fmla="*/ 0 w 47624"/>
                <a:gd name="connsiteY0" fmla="*/ 0 h 75246"/>
                <a:gd name="connsiteX1" fmla="*/ 47624 w 47624"/>
                <a:gd name="connsiteY1" fmla="*/ 0 h 75246"/>
                <a:gd name="connsiteX2" fmla="*/ 47624 w 47624"/>
                <a:gd name="connsiteY2" fmla="*/ 75247 h 75246"/>
                <a:gd name="connsiteX3" fmla="*/ 0 w 47624"/>
                <a:gd name="connsiteY3" fmla="*/ 75247 h 75246"/>
              </a:gdLst>
              <a:ahLst/>
              <a:cxnLst>
                <a:cxn ang="0">
                  <a:pos x="connsiteX0" y="connsiteY0"/>
                </a:cxn>
                <a:cxn ang="0">
                  <a:pos x="connsiteX1" y="connsiteY1"/>
                </a:cxn>
                <a:cxn ang="0">
                  <a:pos x="connsiteX2" y="connsiteY2"/>
                </a:cxn>
                <a:cxn ang="0">
                  <a:pos x="connsiteX3" y="connsiteY3"/>
                </a:cxn>
              </a:cxnLst>
              <a:rect l="l" t="t" r="r" b="b"/>
              <a:pathLst>
                <a:path w="47624" h="75246">
                  <a:moveTo>
                    <a:pt x="0" y="0"/>
                  </a:moveTo>
                  <a:lnTo>
                    <a:pt x="47624" y="0"/>
                  </a:lnTo>
                  <a:lnTo>
                    <a:pt x="47624" y="75247"/>
                  </a:lnTo>
                  <a:lnTo>
                    <a:pt x="0" y="75247"/>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40" name="Freeform: Shape 136">
              <a:extLst>
                <a:ext uri="{FF2B5EF4-FFF2-40B4-BE49-F238E27FC236}">
                  <a16:creationId xmlns:a16="http://schemas.microsoft.com/office/drawing/2014/main" id="{8773430A-30F7-4D8E-88EF-653C0448D9AA}"/>
                </a:ext>
              </a:extLst>
            </p:cNvPr>
            <p:cNvSpPr/>
            <p:nvPr/>
          </p:nvSpPr>
          <p:spPr>
            <a:xfrm>
              <a:off x="4380547" y="1717357"/>
              <a:ext cx="75247" cy="47625"/>
            </a:xfrm>
            <a:custGeom>
              <a:avLst/>
              <a:gdLst>
                <a:gd name="connsiteX0" fmla="*/ 0 w 75247"/>
                <a:gd name="connsiteY0" fmla="*/ 0 h 47625"/>
                <a:gd name="connsiteX1" fmla="*/ 75247 w 75247"/>
                <a:gd name="connsiteY1" fmla="*/ 0 h 47625"/>
                <a:gd name="connsiteX2" fmla="*/ 75247 w 75247"/>
                <a:gd name="connsiteY2" fmla="*/ 47625 h 47625"/>
                <a:gd name="connsiteX3" fmla="*/ 0 w 75247"/>
                <a:gd name="connsiteY3" fmla="*/ 47625 h 47625"/>
              </a:gdLst>
              <a:ahLst/>
              <a:cxnLst>
                <a:cxn ang="0">
                  <a:pos x="connsiteX0" y="connsiteY0"/>
                </a:cxn>
                <a:cxn ang="0">
                  <a:pos x="connsiteX1" y="connsiteY1"/>
                </a:cxn>
                <a:cxn ang="0">
                  <a:pos x="connsiteX2" y="connsiteY2"/>
                </a:cxn>
                <a:cxn ang="0">
                  <a:pos x="connsiteX3" y="connsiteY3"/>
                </a:cxn>
              </a:cxnLst>
              <a:rect l="l" t="t" r="r" b="b"/>
              <a:pathLst>
                <a:path w="75247" h="47625">
                  <a:moveTo>
                    <a:pt x="0" y="0"/>
                  </a:moveTo>
                  <a:lnTo>
                    <a:pt x="75247" y="0"/>
                  </a:lnTo>
                  <a:lnTo>
                    <a:pt x="75247" y="47625"/>
                  </a:lnTo>
                  <a:lnTo>
                    <a:pt x="0" y="47625"/>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41" name="Freeform: Shape 137">
              <a:extLst>
                <a:ext uri="{FF2B5EF4-FFF2-40B4-BE49-F238E27FC236}">
                  <a16:creationId xmlns:a16="http://schemas.microsoft.com/office/drawing/2014/main" id="{C1DFD6EC-EE57-4DBD-910B-E6C205E46540}"/>
                </a:ext>
              </a:extLst>
            </p:cNvPr>
            <p:cNvSpPr/>
            <p:nvPr/>
          </p:nvSpPr>
          <p:spPr>
            <a:xfrm rot="-2700000">
              <a:off x="4252353" y="1408059"/>
              <a:ext cx="75246" cy="47624"/>
            </a:xfrm>
            <a:custGeom>
              <a:avLst/>
              <a:gdLst>
                <a:gd name="connsiteX0" fmla="*/ 0 w 75246"/>
                <a:gd name="connsiteY0" fmla="*/ 0 h 47624"/>
                <a:gd name="connsiteX1" fmla="*/ 75247 w 75246"/>
                <a:gd name="connsiteY1" fmla="*/ 0 h 47624"/>
                <a:gd name="connsiteX2" fmla="*/ 75247 w 75246"/>
                <a:gd name="connsiteY2" fmla="*/ 47625 h 47624"/>
                <a:gd name="connsiteX3" fmla="*/ 0 w 75246"/>
                <a:gd name="connsiteY3" fmla="*/ 47625 h 47624"/>
              </a:gdLst>
              <a:ahLst/>
              <a:cxnLst>
                <a:cxn ang="0">
                  <a:pos x="connsiteX0" y="connsiteY0"/>
                </a:cxn>
                <a:cxn ang="0">
                  <a:pos x="connsiteX1" y="connsiteY1"/>
                </a:cxn>
                <a:cxn ang="0">
                  <a:pos x="connsiteX2" y="connsiteY2"/>
                </a:cxn>
                <a:cxn ang="0">
                  <a:pos x="connsiteX3" y="connsiteY3"/>
                </a:cxn>
              </a:cxnLst>
              <a:rect l="l" t="t" r="r" b="b"/>
              <a:pathLst>
                <a:path w="75246" h="47624">
                  <a:moveTo>
                    <a:pt x="0" y="0"/>
                  </a:moveTo>
                  <a:lnTo>
                    <a:pt x="75247" y="0"/>
                  </a:lnTo>
                  <a:lnTo>
                    <a:pt x="75247" y="47625"/>
                  </a:lnTo>
                  <a:lnTo>
                    <a:pt x="0" y="47625"/>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grpSp>
        <p:nvGrpSpPr>
          <p:cNvPr id="42" name="Graphic 1">
            <a:extLst>
              <a:ext uri="{FF2B5EF4-FFF2-40B4-BE49-F238E27FC236}">
                <a16:creationId xmlns:a16="http://schemas.microsoft.com/office/drawing/2014/main" id="{DAC0B941-A8EA-40A9-B957-E7675A54D0DC}"/>
              </a:ext>
            </a:extLst>
          </p:cNvPr>
          <p:cNvGrpSpPr/>
          <p:nvPr/>
        </p:nvGrpSpPr>
        <p:grpSpPr>
          <a:xfrm>
            <a:off x="5247122" y="3965759"/>
            <a:ext cx="190286" cy="190066"/>
            <a:chOff x="3634739" y="2474595"/>
            <a:chExt cx="822007" cy="821054"/>
          </a:xfrm>
          <a:solidFill>
            <a:schemeClr val="accent4"/>
          </a:solidFill>
        </p:grpSpPr>
        <p:sp>
          <p:nvSpPr>
            <p:cNvPr id="43" name="Freeform: Shape 139">
              <a:extLst>
                <a:ext uri="{FF2B5EF4-FFF2-40B4-BE49-F238E27FC236}">
                  <a16:creationId xmlns:a16="http://schemas.microsoft.com/office/drawing/2014/main" id="{8FBEEED2-A3BA-4FDF-AB78-00E651CBB9F5}"/>
                </a:ext>
              </a:extLst>
            </p:cNvPr>
            <p:cNvSpPr/>
            <p:nvPr/>
          </p:nvSpPr>
          <p:spPr>
            <a:xfrm>
              <a:off x="3672702" y="2474595"/>
              <a:ext cx="784044" cy="784044"/>
            </a:xfrm>
            <a:custGeom>
              <a:avLst/>
              <a:gdLst>
                <a:gd name="connsiteX0" fmla="*/ 784045 w 784044"/>
                <a:gd name="connsiteY0" fmla="*/ 0 h 784044"/>
                <a:gd name="connsiteX1" fmla="*/ 584020 w 784044"/>
                <a:gd name="connsiteY1" fmla="*/ 683895 h 784044"/>
                <a:gd name="connsiteX2" fmla="*/ 115390 w 784044"/>
                <a:gd name="connsiteY2" fmla="*/ 698183 h 784044"/>
                <a:gd name="connsiteX3" fmla="*/ 180160 w 784044"/>
                <a:gd name="connsiteY3" fmla="*/ 633413 h 784044"/>
                <a:gd name="connsiteX4" fmla="*/ 387805 w 784044"/>
                <a:gd name="connsiteY4" fmla="*/ 609600 h 784044"/>
                <a:gd name="connsiteX5" fmla="*/ 383042 w 784044"/>
                <a:gd name="connsiteY5" fmla="*/ 568643 h 784044"/>
                <a:gd name="connsiteX6" fmla="*/ 226832 w 784044"/>
                <a:gd name="connsiteY6" fmla="*/ 586740 h 784044"/>
                <a:gd name="connsiteX7" fmla="*/ 302080 w 784044"/>
                <a:gd name="connsiteY7" fmla="*/ 511492 h 784044"/>
                <a:gd name="connsiteX8" fmla="*/ 509725 w 784044"/>
                <a:gd name="connsiteY8" fmla="*/ 487680 h 784044"/>
                <a:gd name="connsiteX9" fmla="*/ 504962 w 784044"/>
                <a:gd name="connsiteY9" fmla="*/ 446722 h 784044"/>
                <a:gd name="connsiteX10" fmla="*/ 348752 w 784044"/>
                <a:gd name="connsiteY10" fmla="*/ 464820 h 784044"/>
                <a:gd name="connsiteX11" fmla="*/ 504962 w 784044"/>
                <a:gd name="connsiteY11" fmla="*/ 308610 h 784044"/>
                <a:gd name="connsiteX12" fmla="*/ 475435 w 784044"/>
                <a:gd name="connsiteY12" fmla="*/ 279083 h 784044"/>
                <a:gd name="connsiteX13" fmla="*/ 323035 w 784044"/>
                <a:gd name="connsiteY13" fmla="*/ 431483 h 784044"/>
                <a:gd name="connsiteX14" fmla="*/ 344942 w 784044"/>
                <a:gd name="connsiteY14" fmla="*/ 293370 h 784044"/>
                <a:gd name="connsiteX15" fmla="*/ 303985 w 784044"/>
                <a:gd name="connsiteY15" fmla="*/ 286702 h 784044"/>
                <a:gd name="connsiteX16" fmla="*/ 273505 w 784044"/>
                <a:gd name="connsiteY16" fmla="*/ 481013 h 784044"/>
                <a:gd name="connsiteX17" fmla="*/ 201115 w 784044"/>
                <a:gd name="connsiteY17" fmla="*/ 553402 h 784044"/>
                <a:gd name="connsiteX18" fmla="*/ 223022 w 784044"/>
                <a:gd name="connsiteY18" fmla="*/ 415290 h 784044"/>
                <a:gd name="connsiteX19" fmla="*/ 182065 w 784044"/>
                <a:gd name="connsiteY19" fmla="*/ 408622 h 784044"/>
                <a:gd name="connsiteX20" fmla="*/ 151585 w 784044"/>
                <a:gd name="connsiteY20" fmla="*/ 602933 h 784044"/>
                <a:gd name="connsiteX21" fmla="*/ 85862 w 784044"/>
                <a:gd name="connsiteY21" fmla="*/ 668655 h 784044"/>
                <a:gd name="connsiteX22" fmla="*/ 100150 w 784044"/>
                <a:gd name="connsiteY22" fmla="*/ 200025 h 784044"/>
                <a:gd name="connsiteX23" fmla="*/ 784045 w 784044"/>
                <a:gd name="connsiteY23" fmla="*/ 0 h 784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784044" h="784044">
                  <a:moveTo>
                    <a:pt x="784045" y="0"/>
                  </a:moveTo>
                  <a:cubicBezTo>
                    <a:pt x="784045" y="0"/>
                    <a:pt x="717370" y="549593"/>
                    <a:pt x="584020" y="683895"/>
                  </a:cubicBezTo>
                  <a:cubicBezTo>
                    <a:pt x="455432" y="812483"/>
                    <a:pt x="249692" y="817245"/>
                    <a:pt x="115390" y="698183"/>
                  </a:cubicBezTo>
                  <a:lnTo>
                    <a:pt x="180160" y="633413"/>
                  </a:lnTo>
                  <a:lnTo>
                    <a:pt x="387805" y="609600"/>
                  </a:lnTo>
                  <a:lnTo>
                    <a:pt x="383042" y="568643"/>
                  </a:lnTo>
                  <a:lnTo>
                    <a:pt x="226832" y="586740"/>
                  </a:lnTo>
                  <a:lnTo>
                    <a:pt x="302080" y="511492"/>
                  </a:lnTo>
                  <a:lnTo>
                    <a:pt x="509725" y="487680"/>
                  </a:lnTo>
                  <a:lnTo>
                    <a:pt x="504962" y="446722"/>
                  </a:lnTo>
                  <a:lnTo>
                    <a:pt x="348752" y="464820"/>
                  </a:lnTo>
                  <a:lnTo>
                    <a:pt x="504962" y="308610"/>
                  </a:lnTo>
                  <a:lnTo>
                    <a:pt x="475435" y="279083"/>
                  </a:lnTo>
                  <a:lnTo>
                    <a:pt x="323035" y="431483"/>
                  </a:lnTo>
                  <a:lnTo>
                    <a:pt x="344942" y="293370"/>
                  </a:lnTo>
                  <a:lnTo>
                    <a:pt x="303985" y="286702"/>
                  </a:lnTo>
                  <a:lnTo>
                    <a:pt x="273505" y="481013"/>
                  </a:lnTo>
                  <a:lnTo>
                    <a:pt x="201115" y="553402"/>
                  </a:lnTo>
                  <a:lnTo>
                    <a:pt x="223022" y="415290"/>
                  </a:lnTo>
                  <a:lnTo>
                    <a:pt x="182065" y="408622"/>
                  </a:lnTo>
                  <a:lnTo>
                    <a:pt x="151585" y="602933"/>
                  </a:lnTo>
                  <a:lnTo>
                    <a:pt x="85862" y="668655"/>
                  </a:lnTo>
                  <a:cubicBezTo>
                    <a:pt x="-33200" y="534352"/>
                    <a:pt x="-28438" y="328613"/>
                    <a:pt x="100150" y="200025"/>
                  </a:cubicBezTo>
                  <a:cubicBezTo>
                    <a:pt x="233500" y="66675"/>
                    <a:pt x="784045" y="0"/>
                    <a:pt x="784045" y="0"/>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44" name="Freeform: Shape 140">
              <a:extLst>
                <a:ext uri="{FF2B5EF4-FFF2-40B4-BE49-F238E27FC236}">
                  <a16:creationId xmlns:a16="http://schemas.microsoft.com/office/drawing/2014/main" id="{7A66A744-1304-44DA-AD81-FC1754485040}"/>
                </a:ext>
              </a:extLst>
            </p:cNvPr>
            <p:cNvSpPr/>
            <p:nvPr/>
          </p:nvSpPr>
          <p:spPr>
            <a:xfrm>
              <a:off x="3634739" y="3143250"/>
              <a:ext cx="153352" cy="152400"/>
            </a:xfrm>
            <a:custGeom>
              <a:avLst/>
              <a:gdLst>
                <a:gd name="connsiteX0" fmla="*/ 153353 w 153352"/>
                <a:gd name="connsiteY0" fmla="*/ 29528 h 152400"/>
                <a:gd name="connsiteX1" fmla="*/ 29527 w 153352"/>
                <a:gd name="connsiteY1" fmla="*/ 152400 h 152400"/>
                <a:gd name="connsiteX2" fmla="*/ 0 w 153352"/>
                <a:gd name="connsiteY2" fmla="*/ 122872 h 152400"/>
                <a:gd name="connsiteX3" fmla="*/ 122872 w 153352"/>
                <a:gd name="connsiteY3" fmla="*/ 0 h 152400"/>
                <a:gd name="connsiteX4" fmla="*/ 137160 w 153352"/>
                <a:gd name="connsiteY4" fmla="*/ 15240 h 152400"/>
                <a:gd name="connsiteX5" fmla="*/ 153353 w 153352"/>
                <a:gd name="connsiteY5" fmla="*/ 29528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3352" h="152400">
                  <a:moveTo>
                    <a:pt x="153353" y="29528"/>
                  </a:moveTo>
                  <a:lnTo>
                    <a:pt x="29527" y="152400"/>
                  </a:lnTo>
                  <a:lnTo>
                    <a:pt x="0" y="122872"/>
                  </a:lnTo>
                  <a:lnTo>
                    <a:pt x="122872" y="0"/>
                  </a:lnTo>
                  <a:cubicBezTo>
                    <a:pt x="127635" y="4763"/>
                    <a:pt x="132397" y="10478"/>
                    <a:pt x="137160" y="15240"/>
                  </a:cubicBezTo>
                  <a:cubicBezTo>
                    <a:pt x="142875" y="20003"/>
                    <a:pt x="147638" y="24765"/>
                    <a:pt x="153353" y="2952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grpSp>
        <p:nvGrpSpPr>
          <p:cNvPr id="45" name="Group 10">
            <a:extLst>
              <a:ext uri="{FF2B5EF4-FFF2-40B4-BE49-F238E27FC236}">
                <a16:creationId xmlns:a16="http://schemas.microsoft.com/office/drawing/2014/main" id="{2A02A692-C8A8-470A-B079-97EB397FF360}"/>
              </a:ext>
            </a:extLst>
          </p:cNvPr>
          <p:cNvGrpSpPr/>
          <p:nvPr/>
        </p:nvGrpSpPr>
        <p:grpSpPr>
          <a:xfrm>
            <a:off x="4142467" y="4329069"/>
            <a:ext cx="1984404" cy="2273915"/>
            <a:chOff x="4142467" y="4329069"/>
            <a:chExt cx="1984404" cy="2273915"/>
          </a:xfrm>
        </p:grpSpPr>
        <p:sp>
          <p:nvSpPr>
            <p:cNvPr id="46" name="Freeform: Shape 121">
              <a:extLst>
                <a:ext uri="{FF2B5EF4-FFF2-40B4-BE49-F238E27FC236}">
                  <a16:creationId xmlns:a16="http://schemas.microsoft.com/office/drawing/2014/main" id="{EF3E30EA-1FDF-4EFA-900D-4F6382FC0FCB}"/>
                </a:ext>
              </a:extLst>
            </p:cNvPr>
            <p:cNvSpPr/>
            <p:nvPr/>
          </p:nvSpPr>
          <p:spPr>
            <a:xfrm>
              <a:off x="4142467" y="4329069"/>
              <a:ext cx="879355" cy="775025"/>
            </a:xfrm>
            <a:custGeom>
              <a:avLst/>
              <a:gdLst>
                <a:gd name="connsiteX0" fmla="*/ 174308 w 786764"/>
                <a:gd name="connsiteY0" fmla="*/ 0 h 693420"/>
                <a:gd name="connsiteX1" fmla="*/ 504825 w 786764"/>
                <a:gd name="connsiteY1" fmla="*/ 0 h 693420"/>
                <a:gd name="connsiteX2" fmla="*/ 786765 w 786764"/>
                <a:gd name="connsiteY2" fmla="*/ 346710 h 693420"/>
                <a:gd name="connsiteX3" fmla="*/ 786765 w 786764"/>
                <a:gd name="connsiteY3" fmla="*/ 693420 h 693420"/>
                <a:gd name="connsiteX4" fmla="*/ 262890 w 786764"/>
                <a:gd name="connsiteY4" fmla="*/ 692468 h 693420"/>
                <a:gd name="connsiteX5" fmla="*/ 0 w 786764"/>
                <a:gd name="connsiteY5" fmla="*/ 346710 h 693420"/>
                <a:gd name="connsiteX6" fmla="*/ 0 w 786764"/>
                <a:gd name="connsiteY6" fmla="*/ 173355 h 693420"/>
                <a:gd name="connsiteX7" fmla="*/ 174308 w 786764"/>
                <a:gd name="connsiteY7" fmla="*/ 0 h 693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764" h="693420">
                  <a:moveTo>
                    <a:pt x="174308" y="0"/>
                  </a:moveTo>
                  <a:lnTo>
                    <a:pt x="504825" y="0"/>
                  </a:lnTo>
                  <a:cubicBezTo>
                    <a:pt x="660083" y="0"/>
                    <a:pt x="786765" y="156210"/>
                    <a:pt x="786765" y="346710"/>
                  </a:cubicBezTo>
                  <a:lnTo>
                    <a:pt x="786765" y="693420"/>
                  </a:lnTo>
                  <a:lnTo>
                    <a:pt x="262890" y="692468"/>
                  </a:lnTo>
                  <a:cubicBezTo>
                    <a:pt x="116205" y="681038"/>
                    <a:pt x="0" y="528638"/>
                    <a:pt x="0" y="346710"/>
                  </a:cubicBezTo>
                  <a:lnTo>
                    <a:pt x="0" y="173355"/>
                  </a:lnTo>
                  <a:cubicBezTo>
                    <a:pt x="0" y="78105"/>
                    <a:pt x="78105" y="0"/>
                    <a:pt x="174308" y="0"/>
                  </a:cubicBezTo>
                  <a:close/>
                </a:path>
              </a:pathLst>
            </a:custGeom>
            <a:solidFill>
              <a:schemeClr val="accent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47" name="Freeform: Shape 91">
              <a:extLst>
                <a:ext uri="{FF2B5EF4-FFF2-40B4-BE49-F238E27FC236}">
                  <a16:creationId xmlns:a16="http://schemas.microsoft.com/office/drawing/2014/main" id="{8522F81C-86D9-4722-AD23-9DF18230E10D}"/>
                </a:ext>
              </a:extLst>
            </p:cNvPr>
            <p:cNvSpPr/>
            <p:nvPr/>
          </p:nvSpPr>
          <p:spPr>
            <a:xfrm>
              <a:off x="5070793" y="5230782"/>
              <a:ext cx="1056078" cy="1372202"/>
            </a:xfrm>
            <a:custGeom>
              <a:avLst/>
              <a:gdLst>
                <a:gd name="connsiteX0" fmla="*/ 838200 w 944879"/>
                <a:gd name="connsiteY0" fmla="*/ 427672 h 1227718"/>
                <a:gd name="connsiteX1" fmla="*/ 120015 w 944879"/>
                <a:gd name="connsiteY1" fmla="*/ 60960 h 1227718"/>
                <a:gd name="connsiteX2" fmla="*/ 0 w 944879"/>
                <a:gd name="connsiteY2" fmla="*/ 0 h 1227718"/>
                <a:gd name="connsiteX3" fmla="*/ 0 w 944879"/>
                <a:gd name="connsiteY3" fmla="*/ 148590 h 1227718"/>
                <a:gd name="connsiteX4" fmla="*/ 777240 w 944879"/>
                <a:gd name="connsiteY4" fmla="*/ 545782 h 1227718"/>
                <a:gd name="connsiteX5" fmla="*/ 811530 w 944879"/>
                <a:gd name="connsiteY5" fmla="*/ 615315 h 1227718"/>
                <a:gd name="connsiteX6" fmla="*/ 811530 w 944879"/>
                <a:gd name="connsiteY6" fmla="*/ 872490 h 1227718"/>
                <a:gd name="connsiteX7" fmla="*/ 811530 w 944879"/>
                <a:gd name="connsiteY7" fmla="*/ 1055370 h 1227718"/>
                <a:gd name="connsiteX8" fmla="*/ 811530 w 944879"/>
                <a:gd name="connsiteY8" fmla="*/ 1203960 h 1227718"/>
                <a:gd name="connsiteX9" fmla="*/ 838200 w 944879"/>
                <a:gd name="connsiteY9" fmla="*/ 1217295 h 1227718"/>
                <a:gd name="connsiteX10" fmla="*/ 944880 w 944879"/>
                <a:gd name="connsiteY10" fmla="*/ 1137285 h 1227718"/>
                <a:gd name="connsiteX11" fmla="*/ 944880 w 944879"/>
                <a:gd name="connsiteY11" fmla="*/ 614363 h 1227718"/>
                <a:gd name="connsiteX12" fmla="*/ 838200 w 944879"/>
                <a:gd name="connsiteY12" fmla="*/ 427672 h 12277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44879" h="1227718">
                  <a:moveTo>
                    <a:pt x="838200" y="427672"/>
                  </a:moveTo>
                  <a:lnTo>
                    <a:pt x="120015" y="60960"/>
                  </a:lnTo>
                  <a:lnTo>
                    <a:pt x="0" y="0"/>
                  </a:lnTo>
                  <a:lnTo>
                    <a:pt x="0" y="148590"/>
                  </a:lnTo>
                  <a:lnTo>
                    <a:pt x="777240" y="545782"/>
                  </a:lnTo>
                  <a:cubicBezTo>
                    <a:pt x="794385" y="556260"/>
                    <a:pt x="811530" y="595313"/>
                    <a:pt x="811530" y="615315"/>
                  </a:cubicBezTo>
                  <a:lnTo>
                    <a:pt x="811530" y="872490"/>
                  </a:lnTo>
                  <a:lnTo>
                    <a:pt x="811530" y="1055370"/>
                  </a:lnTo>
                  <a:lnTo>
                    <a:pt x="811530" y="1203960"/>
                  </a:lnTo>
                  <a:lnTo>
                    <a:pt x="838200" y="1217295"/>
                  </a:lnTo>
                  <a:cubicBezTo>
                    <a:pt x="896303" y="1246823"/>
                    <a:pt x="944880" y="1211580"/>
                    <a:pt x="944880" y="1137285"/>
                  </a:cubicBezTo>
                  <a:lnTo>
                    <a:pt x="944880" y="614363"/>
                  </a:lnTo>
                  <a:cubicBezTo>
                    <a:pt x="943928" y="541972"/>
                    <a:pt x="896303" y="457200"/>
                    <a:pt x="838200" y="427672"/>
                  </a:cubicBezTo>
                  <a:close/>
                </a:path>
              </a:pathLst>
            </a:custGeom>
            <a:solidFill>
              <a:schemeClr val="accent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48" name="Freeform: Shape 122">
              <a:extLst>
                <a:ext uri="{FF2B5EF4-FFF2-40B4-BE49-F238E27FC236}">
                  <a16:creationId xmlns:a16="http://schemas.microsoft.com/office/drawing/2014/main" id="{26620579-6CF9-4FA0-AD8F-F2ABE43F41D0}"/>
                </a:ext>
              </a:extLst>
            </p:cNvPr>
            <p:cNvSpPr/>
            <p:nvPr/>
          </p:nvSpPr>
          <p:spPr>
            <a:xfrm>
              <a:off x="5058019" y="5134968"/>
              <a:ext cx="568493" cy="502488"/>
            </a:xfrm>
            <a:custGeom>
              <a:avLst/>
              <a:gdLst>
                <a:gd name="connsiteX0" fmla="*/ 396240 w 508634"/>
                <a:gd name="connsiteY0" fmla="*/ 449580 h 449579"/>
                <a:gd name="connsiteX1" fmla="*/ 181927 w 508634"/>
                <a:gd name="connsiteY1" fmla="*/ 449580 h 449579"/>
                <a:gd name="connsiteX2" fmla="*/ 0 w 508634"/>
                <a:gd name="connsiteY2" fmla="*/ 224790 h 449579"/>
                <a:gd name="connsiteX3" fmla="*/ 0 w 508634"/>
                <a:gd name="connsiteY3" fmla="*/ 0 h 449579"/>
                <a:gd name="connsiteX4" fmla="*/ 338138 w 508634"/>
                <a:gd name="connsiteY4" fmla="*/ 953 h 449579"/>
                <a:gd name="connsiteX5" fmla="*/ 508635 w 508634"/>
                <a:gd name="connsiteY5" fmla="*/ 224790 h 449579"/>
                <a:gd name="connsiteX6" fmla="*/ 508635 w 508634"/>
                <a:gd name="connsiteY6" fmla="*/ 336232 h 449579"/>
                <a:gd name="connsiteX7" fmla="*/ 396240 w 508634"/>
                <a:gd name="connsiteY7" fmla="*/ 449580 h 449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8634" h="449579">
                  <a:moveTo>
                    <a:pt x="396240" y="449580"/>
                  </a:moveTo>
                  <a:lnTo>
                    <a:pt x="181927" y="449580"/>
                  </a:lnTo>
                  <a:cubicBezTo>
                    <a:pt x="81915" y="449580"/>
                    <a:pt x="0" y="348615"/>
                    <a:pt x="0" y="224790"/>
                  </a:cubicBezTo>
                  <a:lnTo>
                    <a:pt x="0" y="0"/>
                  </a:lnTo>
                  <a:lnTo>
                    <a:pt x="338138" y="953"/>
                  </a:lnTo>
                  <a:cubicBezTo>
                    <a:pt x="433388" y="8572"/>
                    <a:pt x="508635" y="106680"/>
                    <a:pt x="508635" y="224790"/>
                  </a:cubicBezTo>
                  <a:lnTo>
                    <a:pt x="508635" y="336232"/>
                  </a:lnTo>
                  <a:cubicBezTo>
                    <a:pt x="508635" y="399097"/>
                    <a:pt x="458153" y="449580"/>
                    <a:pt x="396240" y="449580"/>
                  </a:cubicBezTo>
                  <a:close/>
                </a:path>
              </a:pathLst>
            </a:custGeom>
            <a:solidFill>
              <a:schemeClr val="accent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useBgFill="1">
          <p:nvSpPr>
            <p:cNvPr id="49" name="Freeform: Shape 123">
              <a:extLst>
                <a:ext uri="{FF2B5EF4-FFF2-40B4-BE49-F238E27FC236}">
                  <a16:creationId xmlns:a16="http://schemas.microsoft.com/office/drawing/2014/main" id="{26B073E1-AE0A-4829-8CE8-1EC9EF2D944A}"/>
                </a:ext>
              </a:extLst>
            </p:cNvPr>
            <p:cNvSpPr/>
            <p:nvPr/>
          </p:nvSpPr>
          <p:spPr>
            <a:xfrm>
              <a:off x="5104328" y="5182875"/>
              <a:ext cx="475874" cy="406674"/>
            </a:xfrm>
            <a:custGeom>
              <a:avLst/>
              <a:gdLst>
                <a:gd name="connsiteX0" fmla="*/ 0 w 425767"/>
                <a:gd name="connsiteY0" fmla="*/ 0 h 363854"/>
                <a:gd name="connsiteX1" fmla="*/ 295275 w 425767"/>
                <a:gd name="connsiteY1" fmla="*/ 0 h 363854"/>
                <a:gd name="connsiteX2" fmla="*/ 425768 w 425767"/>
                <a:gd name="connsiteY2" fmla="*/ 181928 h 363854"/>
                <a:gd name="connsiteX3" fmla="*/ 425768 w 425767"/>
                <a:gd name="connsiteY3" fmla="*/ 293370 h 363854"/>
                <a:gd name="connsiteX4" fmla="*/ 355282 w 425767"/>
                <a:gd name="connsiteY4" fmla="*/ 363855 h 363854"/>
                <a:gd name="connsiteX5" fmla="*/ 140970 w 425767"/>
                <a:gd name="connsiteY5" fmla="*/ 363855 h 363854"/>
                <a:gd name="connsiteX6" fmla="*/ 0 w 425767"/>
                <a:gd name="connsiteY6" fmla="*/ 180975 h 363854"/>
                <a:gd name="connsiteX7" fmla="*/ 0 w 425767"/>
                <a:gd name="connsiteY7" fmla="*/ 0 h 3638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5767" h="363854">
                  <a:moveTo>
                    <a:pt x="0" y="0"/>
                  </a:moveTo>
                  <a:lnTo>
                    <a:pt x="295275" y="0"/>
                  </a:lnTo>
                  <a:cubicBezTo>
                    <a:pt x="381000" y="7620"/>
                    <a:pt x="425768" y="105728"/>
                    <a:pt x="425768" y="181928"/>
                  </a:cubicBezTo>
                  <a:lnTo>
                    <a:pt x="425768" y="293370"/>
                  </a:lnTo>
                  <a:cubicBezTo>
                    <a:pt x="425768" y="332422"/>
                    <a:pt x="393382" y="363855"/>
                    <a:pt x="355282" y="363855"/>
                  </a:cubicBezTo>
                  <a:lnTo>
                    <a:pt x="140970" y="363855"/>
                  </a:lnTo>
                  <a:cubicBezTo>
                    <a:pt x="50482" y="363855"/>
                    <a:pt x="0" y="260985"/>
                    <a:pt x="0" y="180975"/>
                  </a:cubicBezTo>
                  <a:lnTo>
                    <a:pt x="0" y="0"/>
                  </a:lnTo>
                  <a:close/>
                </a:path>
              </a:pathLst>
            </a:custGeom>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50" name="Freeform: Shape 124">
              <a:extLst>
                <a:ext uri="{FF2B5EF4-FFF2-40B4-BE49-F238E27FC236}">
                  <a16:creationId xmlns:a16="http://schemas.microsoft.com/office/drawing/2014/main" id="{05D8105A-EA38-4050-9760-BB3236770F61}"/>
                </a:ext>
              </a:extLst>
            </p:cNvPr>
            <p:cNvSpPr/>
            <p:nvPr/>
          </p:nvSpPr>
          <p:spPr>
            <a:xfrm>
              <a:off x="4648149" y="5136033"/>
              <a:ext cx="374737" cy="339605"/>
            </a:xfrm>
            <a:custGeom>
              <a:avLst/>
              <a:gdLst>
                <a:gd name="connsiteX0" fmla="*/ 259080 w 335279"/>
                <a:gd name="connsiteY0" fmla="*/ 0 h 303847"/>
                <a:gd name="connsiteX1" fmla="*/ 114300 w 335279"/>
                <a:gd name="connsiteY1" fmla="*/ 0 h 303847"/>
                <a:gd name="connsiteX2" fmla="*/ 91440 w 335279"/>
                <a:gd name="connsiteY2" fmla="*/ 2857 h 303847"/>
                <a:gd name="connsiteX3" fmla="*/ 91440 w 335279"/>
                <a:gd name="connsiteY3" fmla="*/ 2857 h 303847"/>
                <a:gd name="connsiteX4" fmla="*/ 85725 w 335279"/>
                <a:gd name="connsiteY4" fmla="*/ 4763 h 303847"/>
                <a:gd name="connsiteX5" fmla="*/ 84773 w 335279"/>
                <a:gd name="connsiteY5" fmla="*/ 4763 h 303847"/>
                <a:gd name="connsiteX6" fmla="*/ 82868 w 335279"/>
                <a:gd name="connsiteY6" fmla="*/ 5715 h 303847"/>
                <a:gd name="connsiteX7" fmla="*/ 82868 w 335279"/>
                <a:gd name="connsiteY7" fmla="*/ 5715 h 303847"/>
                <a:gd name="connsiteX8" fmla="*/ 80963 w 335279"/>
                <a:gd name="connsiteY8" fmla="*/ 6667 h 303847"/>
                <a:gd name="connsiteX9" fmla="*/ 80010 w 335279"/>
                <a:gd name="connsiteY9" fmla="*/ 6667 h 303847"/>
                <a:gd name="connsiteX10" fmla="*/ 79057 w 335279"/>
                <a:gd name="connsiteY10" fmla="*/ 6667 h 303847"/>
                <a:gd name="connsiteX11" fmla="*/ 77152 w 335279"/>
                <a:gd name="connsiteY11" fmla="*/ 7620 h 303847"/>
                <a:gd name="connsiteX12" fmla="*/ 75248 w 335279"/>
                <a:gd name="connsiteY12" fmla="*/ 8572 h 303847"/>
                <a:gd name="connsiteX13" fmla="*/ 75248 w 335279"/>
                <a:gd name="connsiteY13" fmla="*/ 8572 h 303847"/>
                <a:gd name="connsiteX14" fmla="*/ 72390 w 335279"/>
                <a:gd name="connsiteY14" fmla="*/ 9525 h 303847"/>
                <a:gd name="connsiteX15" fmla="*/ 72390 w 335279"/>
                <a:gd name="connsiteY15" fmla="*/ 9525 h 303847"/>
                <a:gd name="connsiteX16" fmla="*/ 69532 w 335279"/>
                <a:gd name="connsiteY16" fmla="*/ 10477 h 303847"/>
                <a:gd name="connsiteX17" fmla="*/ 69532 w 335279"/>
                <a:gd name="connsiteY17" fmla="*/ 10477 h 303847"/>
                <a:gd name="connsiteX18" fmla="*/ 66675 w 335279"/>
                <a:gd name="connsiteY18" fmla="*/ 11430 h 303847"/>
                <a:gd name="connsiteX19" fmla="*/ 66675 w 335279"/>
                <a:gd name="connsiteY19" fmla="*/ 11430 h 303847"/>
                <a:gd name="connsiteX20" fmla="*/ 63818 w 335279"/>
                <a:gd name="connsiteY20" fmla="*/ 13335 h 303847"/>
                <a:gd name="connsiteX21" fmla="*/ 63818 w 335279"/>
                <a:gd name="connsiteY21" fmla="*/ 13335 h 303847"/>
                <a:gd name="connsiteX22" fmla="*/ 60960 w 335279"/>
                <a:gd name="connsiteY22" fmla="*/ 15240 h 303847"/>
                <a:gd name="connsiteX23" fmla="*/ 60960 w 335279"/>
                <a:gd name="connsiteY23" fmla="*/ 15240 h 303847"/>
                <a:gd name="connsiteX24" fmla="*/ 58102 w 335279"/>
                <a:gd name="connsiteY24" fmla="*/ 17145 h 303847"/>
                <a:gd name="connsiteX25" fmla="*/ 58102 w 335279"/>
                <a:gd name="connsiteY25" fmla="*/ 17145 h 303847"/>
                <a:gd name="connsiteX26" fmla="*/ 56198 w 335279"/>
                <a:gd name="connsiteY26" fmla="*/ 19050 h 303847"/>
                <a:gd name="connsiteX27" fmla="*/ 56198 w 335279"/>
                <a:gd name="connsiteY27" fmla="*/ 19050 h 303847"/>
                <a:gd name="connsiteX28" fmla="*/ 54293 w 335279"/>
                <a:gd name="connsiteY28" fmla="*/ 20955 h 303847"/>
                <a:gd name="connsiteX29" fmla="*/ 54293 w 335279"/>
                <a:gd name="connsiteY29" fmla="*/ 20955 h 303847"/>
                <a:gd name="connsiteX30" fmla="*/ 54293 w 335279"/>
                <a:gd name="connsiteY30" fmla="*/ 20955 h 303847"/>
                <a:gd name="connsiteX31" fmla="*/ 44768 w 335279"/>
                <a:gd name="connsiteY31" fmla="*/ 28575 h 303847"/>
                <a:gd name="connsiteX32" fmla="*/ 44768 w 335279"/>
                <a:gd name="connsiteY32" fmla="*/ 28575 h 303847"/>
                <a:gd name="connsiteX33" fmla="*/ 42863 w 335279"/>
                <a:gd name="connsiteY33" fmla="*/ 29527 h 303847"/>
                <a:gd name="connsiteX34" fmla="*/ 42863 w 335279"/>
                <a:gd name="connsiteY34" fmla="*/ 29527 h 303847"/>
                <a:gd name="connsiteX35" fmla="*/ 41910 w 335279"/>
                <a:gd name="connsiteY35" fmla="*/ 30480 h 303847"/>
                <a:gd name="connsiteX36" fmla="*/ 40957 w 335279"/>
                <a:gd name="connsiteY36" fmla="*/ 31432 h 303847"/>
                <a:gd name="connsiteX37" fmla="*/ 40005 w 335279"/>
                <a:gd name="connsiteY37" fmla="*/ 32385 h 303847"/>
                <a:gd name="connsiteX38" fmla="*/ 39052 w 335279"/>
                <a:gd name="connsiteY38" fmla="*/ 33338 h 303847"/>
                <a:gd name="connsiteX39" fmla="*/ 39052 w 335279"/>
                <a:gd name="connsiteY39" fmla="*/ 33338 h 303847"/>
                <a:gd name="connsiteX40" fmla="*/ 37148 w 335279"/>
                <a:gd name="connsiteY40" fmla="*/ 35242 h 303847"/>
                <a:gd name="connsiteX41" fmla="*/ 37148 w 335279"/>
                <a:gd name="connsiteY41" fmla="*/ 35242 h 303847"/>
                <a:gd name="connsiteX42" fmla="*/ 36195 w 335279"/>
                <a:gd name="connsiteY42" fmla="*/ 36195 h 303847"/>
                <a:gd name="connsiteX43" fmla="*/ 35243 w 335279"/>
                <a:gd name="connsiteY43" fmla="*/ 37147 h 303847"/>
                <a:gd name="connsiteX44" fmla="*/ 35243 w 335279"/>
                <a:gd name="connsiteY44" fmla="*/ 37147 h 303847"/>
                <a:gd name="connsiteX45" fmla="*/ 33338 w 335279"/>
                <a:gd name="connsiteY45" fmla="*/ 39052 h 303847"/>
                <a:gd name="connsiteX46" fmla="*/ 33338 w 335279"/>
                <a:gd name="connsiteY46" fmla="*/ 39052 h 303847"/>
                <a:gd name="connsiteX47" fmla="*/ 32385 w 335279"/>
                <a:gd name="connsiteY47" fmla="*/ 40005 h 303847"/>
                <a:gd name="connsiteX48" fmla="*/ 31432 w 335279"/>
                <a:gd name="connsiteY48" fmla="*/ 40957 h 303847"/>
                <a:gd name="connsiteX49" fmla="*/ 31432 w 335279"/>
                <a:gd name="connsiteY49" fmla="*/ 41910 h 303847"/>
                <a:gd name="connsiteX50" fmla="*/ 30480 w 335279"/>
                <a:gd name="connsiteY50" fmla="*/ 43815 h 303847"/>
                <a:gd name="connsiteX51" fmla="*/ 30480 w 335279"/>
                <a:gd name="connsiteY51" fmla="*/ 43815 h 303847"/>
                <a:gd name="connsiteX52" fmla="*/ 29527 w 335279"/>
                <a:gd name="connsiteY52" fmla="*/ 45720 h 303847"/>
                <a:gd name="connsiteX53" fmla="*/ 28575 w 335279"/>
                <a:gd name="connsiteY53" fmla="*/ 46672 h 303847"/>
                <a:gd name="connsiteX54" fmla="*/ 28575 w 335279"/>
                <a:gd name="connsiteY54" fmla="*/ 47625 h 303847"/>
                <a:gd name="connsiteX55" fmla="*/ 26670 w 335279"/>
                <a:gd name="connsiteY55" fmla="*/ 49530 h 303847"/>
                <a:gd name="connsiteX56" fmla="*/ 26670 w 335279"/>
                <a:gd name="connsiteY56" fmla="*/ 49530 h 303847"/>
                <a:gd name="connsiteX57" fmla="*/ 24765 w 335279"/>
                <a:gd name="connsiteY57" fmla="*/ 52388 h 303847"/>
                <a:gd name="connsiteX58" fmla="*/ 23813 w 335279"/>
                <a:gd name="connsiteY58" fmla="*/ 54292 h 303847"/>
                <a:gd name="connsiteX59" fmla="*/ 23813 w 335279"/>
                <a:gd name="connsiteY59" fmla="*/ 55245 h 303847"/>
                <a:gd name="connsiteX60" fmla="*/ 23813 w 335279"/>
                <a:gd name="connsiteY60" fmla="*/ 56197 h 303847"/>
                <a:gd name="connsiteX61" fmla="*/ 5715 w 335279"/>
                <a:gd name="connsiteY61" fmla="*/ 94297 h 303847"/>
                <a:gd name="connsiteX62" fmla="*/ 5715 w 335279"/>
                <a:gd name="connsiteY62" fmla="*/ 95250 h 303847"/>
                <a:gd name="connsiteX63" fmla="*/ 3810 w 335279"/>
                <a:gd name="connsiteY63" fmla="*/ 101917 h 303847"/>
                <a:gd name="connsiteX64" fmla="*/ 3810 w 335279"/>
                <a:gd name="connsiteY64" fmla="*/ 101917 h 303847"/>
                <a:gd name="connsiteX65" fmla="*/ 0 w 335279"/>
                <a:gd name="connsiteY65" fmla="*/ 119063 h 303847"/>
                <a:gd name="connsiteX66" fmla="*/ 0 w 335279"/>
                <a:gd name="connsiteY66" fmla="*/ 120015 h 303847"/>
                <a:gd name="connsiteX67" fmla="*/ 0 w 335279"/>
                <a:gd name="connsiteY67" fmla="*/ 122872 h 303847"/>
                <a:gd name="connsiteX68" fmla="*/ 0 w 335279"/>
                <a:gd name="connsiteY68" fmla="*/ 122872 h 303847"/>
                <a:gd name="connsiteX69" fmla="*/ 0 w 335279"/>
                <a:gd name="connsiteY69" fmla="*/ 125730 h 303847"/>
                <a:gd name="connsiteX70" fmla="*/ 0 w 335279"/>
                <a:gd name="connsiteY70" fmla="*/ 126682 h 303847"/>
                <a:gd name="connsiteX71" fmla="*/ 0 w 335279"/>
                <a:gd name="connsiteY71" fmla="*/ 129540 h 303847"/>
                <a:gd name="connsiteX72" fmla="*/ 0 w 335279"/>
                <a:gd name="connsiteY72" fmla="*/ 130492 h 303847"/>
                <a:gd name="connsiteX73" fmla="*/ 0 w 335279"/>
                <a:gd name="connsiteY73" fmla="*/ 133350 h 303847"/>
                <a:gd name="connsiteX74" fmla="*/ 0 w 335279"/>
                <a:gd name="connsiteY74" fmla="*/ 134302 h 303847"/>
                <a:gd name="connsiteX75" fmla="*/ 0 w 335279"/>
                <a:gd name="connsiteY75" fmla="*/ 137160 h 303847"/>
                <a:gd name="connsiteX76" fmla="*/ 0 w 335279"/>
                <a:gd name="connsiteY76" fmla="*/ 138113 h 303847"/>
                <a:gd name="connsiteX77" fmla="*/ 0 w 335279"/>
                <a:gd name="connsiteY77" fmla="*/ 140970 h 303847"/>
                <a:gd name="connsiteX78" fmla="*/ 0 w 335279"/>
                <a:gd name="connsiteY78" fmla="*/ 141922 h 303847"/>
                <a:gd name="connsiteX79" fmla="*/ 0 w 335279"/>
                <a:gd name="connsiteY79" fmla="*/ 144780 h 303847"/>
                <a:gd name="connsiteX80" fmla="*/ 0 w 335279"/>
                <a:gd name="connsiteY80" fmla="*/ 144780 h 303847"/>
                <a:gd name="connsiteX81" fmla="*/ 0 w 335279"/>
                <a:gd name="connsiteY81" fmla="*/ 148590 h 303847"/>
                <a:gd name="connsiteX82" fmla="*/ 0 w 335279"/>
                <a:gd name="connsiteY82" fmla="*/ 148590 h 303847"/>
                <a:gd name="connsiteX83" fmla="*/ 0 w 335279"/>
                <a:gd name="connsiteY83" fmla="*/ 152400 h 303847"/>
                <a:gd name="connsiteX84" fmla="*/ 0 w 335279"/>
                <a:gd name="connsiteY84" fmla="*/ 227647 h 303847"/>
                <a:gd name="connsiteX85" fmla="*/ 0 w 335279"/>
                <a:gd name="connsiteY85" fmla="*/ 303847 h 303847"/>
                <a:gd name="connsiteX86" fmla="*/ 72390 w 335279"/>
                <a:gd name="connsiteY86" fmla="*/ 303847 h 303847"/>
                <a:gd name="connsiteX87" fmla="*/ 76200 w 335279"/>
                <a:gd name="connsiteY87" fmla="*/ 303847 h 303847"/>
                <a:gd name="connsiteX88" fmla="*/ 220980 w 335279"/>
                <a:gd name="connsiteY88" fmla="*/ 303847 h 303847"/>
                <a:gd name="connsiteX89" fmla="*/ 243840 w 335279"/>
                <a:gd name="connsiteY89" fmla="*/ 300990 h 303847"/>
                <a:gd name="connsiteX90" fmla="*/ 243840 w 335279"/>
                <a:gd name="connsiteY90" fmla="*/ 300990 h 303847"/>
                <a:gd name="connsiteX91" fmla="*/ 249555 w 335279"/>
                <a:gd name="connsiteY91" fmla="*/ 299085 h 303847"/>
                <a:gd name="connsiteX92" fmla="*/ 250508 w 335279"/>
                <a:gd name="connsiteY92" fmla="*/ 299085 h 303847"/>
                <a:gd name="connsiteX93" fmla="*/ 252413 w 335279"/>
                <a:gd name="connsiteY93" fmla="*/ 298132 h 303847"/>
                <a:gd name="connsiteX94" fmla="*/ 252413 w 335279"/>
                <a:gd name="connsiteY94" fmla="*/ 298132 h 303847"/>
                <a:gd name="connsiteX95" fmla="*/ 254317 w 335279"/>
                <a:gd name="connsiteY95" fmla="*/ 297180 h 303847"/>
                <a:gd name="connsiteX96" fmla="*/ 255270 w 335279"/>
                <a:gd name="connsiteY96" fmla="*/ 297180 h 303847"/>
                <a:gd name="connsiteX97" fmla="*/ 256223 w 335279"/>
                <a:gd name="connsiteY97" fmla="*/ 297180 h 303847"/>
                <a:gd name="connsiteX98" fmla="*/ 258127 w 335279"/>
                <a:gd name="connsiteY98" fmla="*/ 296227 h 303847"/>
                <a:gd name="connsiteX99" fmla="*/ 260033 w 335279"/>
                <a:gd name="connsiteY99" fmla="*/ 295275 h 303847"/>
                <a:gd name="connsiteX100" fmla="*/ 260033 w 335279"/>
                <a:gd name="connsiteY100" fmla="*/ 295275 h 303847"/>
                <a:gd name="connsiteX101" fmla="*/ 262890 w 335279"/>
                <a:gd name="connsiteY101" fmla="*/ 294322 h 303847"/>
                <a:gd name="connsiteX102" fmla="*/ 262890 w 335279"/>
                <a:gd name="connsiteY102" fmla="*/ 294322 h 303847"/>
                <a:gd name="connsiteX103" fmla="*/ 265748 w 335279"/>
                <a:gd name="connsiteY103" fmla="*/ 293370 h 303847"/>
                <a:gd name="connsiteX104" fmla="*/ 265748 w 335279"/>
                <a:gd name="connsiteY104" fmla="*/ 293370 h 303847"/>
                <a:gd name="connsiteX105" fmla="*/ 268605 w 335279"/>
                <a:gd name="connsiteY105" fmla="*/ 292417 h 303847"/>
                <a:gd name="connsiteX106" fmla="*/ 268605 w 335279"/>
                <a:gd name="connsiteY106" fmla="*/ 292417 h 303847"/>
                <a:gd name="connsiteX107" fmla="*/ 271463 w 335279"/>
                <a:gd name="connsiteY107" fmla="*/ 290513 h 303847"/>
                <a:gd name="connsiteX108" fmla="*/ 271463 w 335279"/>
                <a:gd name="connsiteY108" fmla="*/ 290513 h 303847"/>
                <a:gd name="connsiteX109" fmla="*/ 274320 w 335279"/>
                <a:gd name="connsiteY109" fmla="*/ 288607 h 303847"/>
                <a:gd name="connsiteX110" fmla="*/ 274320 w 335279"/>
                <a:gd name="connsiteY110" fmla="*/ 288607 h 303847"/>
                <a:gd name="connsiteX111" fmla="*/ 277178 w 335279"/>
                <a:gd name="connsiteY111" fmla="*/ 286702 h 303847"/>
                <a:gd name="connsiteX112" fmla="*/ 277178 w 335279"/>
                <a:gd name="connsiteY112" fmla="*/ 286702 h 303847"/>
                <a:gd name="connsiteX113" fmla="*/ 279083 w 335279"/>
                <a:gd name="connsiteY113" fmla="*/ 284797 h 303847"/>
                <a:gd name="connsiteX114" fmla="*/ 279083 w 335279"/>
                <a:gd name="connsiteY114" fmla="*/ 284797 h 303847"/>
                <a:gd name="connsiteX115" fmla="*/ 280988 w 335279"/>
                <a:gd name="connsiteY115" fmla="*/ 282892 h 303847"/>
                <a:gd name="connsiteX116" fmla="*/ 280988 w 335279"/>
                <a:gd name="connsiteY116" fmla="*/ 282892 h 303847"/>
                <a:gd name="connsiteX117" fmla="*/ 280988 w 335279"/>
                <a:gd name="connsiteY117" fmla="*/ 282892 h 303847"/>
                <a:gd name="connsiteX118" fmla="*/ 290513 w 335279"/>
                <a:gd name="connsiteY118" fmla="*/ 275272 h 303847"/>
                <a:gd name="connsiteX119" fmla="*/ 290513 w 335279"/>
                <a:gd name="connsiteY119" fmla="*/ 275272 h 303847"/>
                <a:gd name="connsiteX120" fmla="*/ 292417 w 335279"/>
                <a:gd name="connsiteY120" fmla="*/ 274320 h 303847"/>
                <a:gd name="connsiteX121" fmla="*/ 292417 w 335279"/>
                <a:gd name="connsiteY121" fmla="*/ 274320 h 303847"/>
                <a:gd name="connsiteX122" fmla="*/ 293370 w 335279"/>
                <a:gd name="connsiteY122" fmla="*/ 273367 h 303847"/>
                <a:gd name="connsiteX123" fmla="*/ 294323 w 335279"/>
                <a:gd name="connsiteY123" fmla="*/ 272415 h 303847"/>
                <a:gd name="connsiteX124" fmla="*/ 295275 w 335279"/>
                <a:gd name="connsiteY124" fmla="*/ 271463 h 303847"/>
                <a:gd name="connsiteX125" fmla="*/ 296228 w 335279"/>
                <a:gd name="connsiteY125" fmla="*/ 270510 h 303847"/>
                <a:gd name="connsiteX126" fmla="*/ 296228 w 335279"/>
                <a:gd name="connsiteY126" fmla="*/ 270510 h 303847"/>
                <a:gd name="connsiteX127" fmla="*/ 298133 w 335279"/>
                <a:gd name="connsiteY127" fmla="*/ 268605 h 303847"/>
                <a:gd name="connsiteX128" fmla="*/ 298133 w 335279"/>
                <a:gd name="connsiteY128" fmla="*/ 268605 h 303847"/>
                <a:gd name="connsiteX129" fmla="*/ 299085 w 335279"/>
                <a:gd name="connsiteY129" fmla="*/ 267652 h 303847"/>
                <a:gd name="connsiteX130" fmla="*/ 300038 w 335279"/>
                <a:gd name="connsiteY130" fmla="*/ 266700 h 303847"/>
                <a:gd name="connsiteX131" fmla="*/ 300038 w 335279"/>
                <a:gd name="connsiteY131" fmla="*/ 266700 h 303847"/>
                <a:gd name="connsiteX132" fmla="*/ 301942 w 335279"/>
                <a:gd name="connsiteY132" fmla="*/ 264795 h 303847"/>
                <a:gd name="connsiteX133" fmla="*/ 301942 w 335279"/>
                <a:gd name="connsiteY133" fmla="*/ 264795 h 303847"/>
                <a:gd name="connsiteX134" fmla="*/ 302895 w 335279"/>
                <a:gd name="connsiteY134" fmla="*/ 263842 h 303847"/>
                <a:gd name="connsiteX135" fmla="*/ 303848 w 335279"/>
                <a:gd name="connsiteY135" fmla="*/ 262890 h 303847"/>
                <a:gd name="connsiteX136" fmla="*/ 303848 w 335279"/>
                <a:gd name="connsiteY136" fmla="*/ 261938 h 303847"/>
                <a:gd name="connsiteX137" fmla="*/ 304800 w 335279"/>
                <a:gd name="connsiteY137" fmla="*/ 260032 h 303847"/>
                <a:gd name="connsiteX138" fmla="*/ 304800 w 335279"/>
                <a:gd name="connsiteY138" fmla="*/ 260032 h 303847"/>
                <a:gd name="connsiteX139" fmla="*/ 305753 w 335279"/>
                <a:gd name="connsiteY139" fmla="*/ 258127 h 303847"/>
                <a:gd name="connsiteX140" fmla="*/ 306705 w 335279"/>
                <a:gd name="connsiteY140" fmla="*/ 257175 h 303847"/>
                <a:gd name="connsiteX141" fmla="*/ 306705 w 335279"/>
                <a:gd name="connsiteY141" fmla="*/ 256222 h 303847"/>
                <a:gd name="connsiteX142" fmla="*/ 308610 w 335279"/>
                <a:gd name="connsiteY142" fmla="*/ 254317 h 303847"/>
                <a:gd name="connsiteX143" fmla="*/ 308610 w 335279"/>
                <a:gd name="connsiteY143" fmla="*/ 254317 h 303847"/>
                <a:gd name="connsiteX144" fmla="*/ 310515 w 335279"/>
                <a:gd name="connsiteY144" fmla="*/ 251460 h 303847"/>
                <a:gd name="connsiteX145" fmla="*/ 311467 w 335279"/>
                <a:gd name="connsiteY145" fmla="*/ 249555 h 303847"/>
                <a:gd name="connsiteX146" fmla="*/ 311467 w 335279"/>
                <a:gd name="connsiteY146" fmla="*/ 248602 h 303847"/>
                <a:gd name="connsiteX147" fmla="*/ 311467 w 335279"/>
                <a:gd name="connsiteY147" fmla="*/ 247650 h 303847"/>
                <a:gd name="connsiteX148" fmla="*/ 329565 w 335279"/>
                <a:gd name="connsiteY148" fmla="*/ 209550 h 303847"/>
                <a:gd name="connsiteX149" fmla="*/ 329565 w 335279"/>
                <a:gd name="connsiteY149" fmla="*/ 208597 h 303847"/>
                <a:gd name="connsiteX150" fmla="*/ 331470 w 335279"/>
                <a:gd name="connsiteY150" fmla="*/ 201930 h 303847"/>
                <a:gd name="connsiteX151" fmla="*/ 331470 w 335279"/>
                <a:gd name="connsiteY151" fmla="*/ 201930 h 303847"/>
                <a:gd name="connsiteX152" fmla="*/ 335280 w 335279"/>
                <a:gd name="connsiteY152" fmla="*/ 184785 h 303847"/>
                <a:gd name="connsiteX153" fmla="*/ 335280 w 335279"/>
                <a:gd name="connsiteY153" fmla="*/ 183832 h 303847"/>
                <a:gd name="connsiteX154" fmla="*/ 335280 w 335279"/>
                <a:gd name="connsiteY154" fmla="*/ 180975 h 303847"/>
                <a:gd name="connsiteX155" fmla="*/ 335280 w 335279"/>
                <a:gd name="connsiteY155" fmla="*/ 180975 h 303847"/>
                <a:gd name="connsiteX156" fmla="*/ 335280 w 335279"/>
                <a:gd name="connsiteY156" fmla="*/ 178117 h 303847"/>
                <a:gd name="connsiteX157" fmla="*/ 335280 w 335279"/>
                <a:gd name="connsiteY157" fmla="*/ 177165 h 303847"/>
                <a:gd name="connsiteX158" fmla="*/ 335280 w 335279"/>
                <a:gd name="connsiteY158" fmla="*/ 174307 h 303847"/>
                <a:gd name="connsiteX159" fmla="*/ 335280 w 335279"/>
                <a:gd name="connsiteY159" fmla="*/ 173355 h 303847"/>
                <a:gd name="connsiteX160" fmla="*/ 335280 w 335279"/>
                <a:gd name="connsiteY160" fmla="*/ 170497 h 303847"/>
                <a:gd name="connsiteX161" fmla="*/ 335280 w 335279"/>
                <a:gd name="connsiteY161" fmla="*/ 169545 h 303847"/>
                <a:gd name="connsiteX162" fmla="*/ 335280 w 335279"/>
                <a:gd name="connsiteY162" fmla="*/ 166688 h 303847"/>
                <a:gd name="connsiteX163" fmla="*/ 335280 w 335279"/>
                <a:gd name="connsiteY163" fmla="*/ 165735 h 303847"/>
                <a:gd name="connsiteX164" fmla="*/ 335280 w 335279"/>
                <a:gd name="connsiteY164" fmla="*/ 162877 h 303847"/>
                <a:gd name="connsiteX165" fmla="*/ 335280 w 335279"/>
                <a:gd name="connsiteY165" fmla="*/ 161925 h 303847"/>
                <a:gd name="connsiteX166" fmla="*/ 335280 w 335279"/>
                <a:gd name="connsiteY166" fmla="*/ 159067 h 303847"/>
                <a:gd name="connsiteX167" fmla="*/ 335280 w 335279"/>
                <a:gd name="connsiteY167" fmla="*/ 159067 h 303847"/>
                <a:gd name="connsiteX168" fmla="*/ 335280 w 335279"/>
                <a:gd name="connsiteY168" fmla="*/ 155257 h 303847"/>
                <a:gd name="connsiteX169" fmla="*/ 335280 w 335279"/>
                <a:gd name="connsiteY169" fmla="*/ 155257 h 303847"/>
                <a:gd name="connsiteX170" fmla="*/ 335280 w 335279"/>
                <a:gd name="connsiteY170" fmla="*/ 151447 h 303847"/>
                <a:gd name="connsiteX171" fmla="*/ 335280 w 335279"/>
                <a:gd name="connsiteY171" fmla="*/ 76200 h 303847"/>
                <a:gd name="connsiteX172" fmla="*/ 335280 w 335279"/>
                <a:gd name="connsiteY172" fmla="*/ 0 h 303847"/>
                <a:gd name="connsiteX173" fmla="*/ 262890 w 335279"/>
                <a:gd name="connsiteY173" fmla="*/ 0 h 303847"/>
                <a:gd name="connsiteX174" fmla="*/ 259080 w 335279"/>
                <a:gd name="connsiteY174" fmla="*/ 0 h 303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Lst>
              <a:rect l="l" t="t" r="r" b="b"/>
              <a:pathLst>
                <a:path w="335279" h="303847">
                  <a:moveTo>
                    <a:pt x="259080" y="0"/>
                  </a:moveTo>
                  <a:lnTo>
                    <a:pt x="114300" y="0"/>
                  </a:lnTo>
                  <a:cubicBezTo>
                    <a:pt x="106680" y="0"/>
                    <a:pt x="99060" y="952"/>
                    <a:pt x="91440" y="2857"/>
                  </a:cubicBezTo>
                  <a:lnTo>
                    <a:pt x="91440" y="2857"/>
                  </a:lnTo>
                  <a:cubicBezTo>
                    <a:pt x="89535" y="2857"/>
                    <a:pt x="87630" y="3810"/>
                    <a:pt x="85725" y="4763"/>
                  </a:cubicBezTo>
                  <a:lnTo>
                    <a:pt x="84773" y="4763"/>
                  </a:lnTo>
                  <a:lnTo>
                    <a:pt x="82868" y="5715"/>
                  </a:lnTo>
                  <a:lnTo>
                    <a:pt x="82868" y="5715"/>
                  </a:lnTo>
                  <a:lnTo>
                    <a:pt x="80963" y="6667"/>
                  </a:lnTo>
                  <a:lnTo>
                    <a:pt x="80010" y="6667"/>
                  </a:lnTo>
                  <a:lnTo>
                    <a:pt x="79057" y="6667"/>
                  </a:lnTo>
                  <a:lnTo>
                    <a:pt x="77152" y="7620"/>
                  </a:lnTo>
                  <a:lnTo>
                    <a:pt x="75248" y="8572"/>
                  </a:lnTo>
                  <a:lnTo>
                    <a:pt x="75248" y="8572"/>
                  </a:lnTo>
                  <a:lnTo>
                    <a:pt x="72390" y="9525"/>
                  </a:lnTo>
                  <a:lnTo>
                    <a:pt x="72390" y="9525"/>
                  </a:lnTo>
                  <a:lnTo>
                    <a:pt x="69532" y="10477"/>
                  </a:lnTo>
                  <a:lnTo>
                    <a:pt x="69532" y="10477"/>
                  </a:lnTo>
                  <a:lnTo>
                    <a:pt x="66675" y="11430"/>
                  </a:lnTo>
                  <a:lnTo>
                    <a:pt x="66675" y="11430"/>
                  </a:lnTo>
                  <a:lnTo>
                    <a:pt x="63818" y="13335"/>
                  </a:lnTo>
                  <a:lnTo>
                    <a:pt x="63818" y="13335"/>
                  </a:lnTo>
                  <a:lnTo>
                    <a:pt x="60960" y="15240"/>
                  </a:lnTo>
                  <a:lnTo>
                    <a:pt x="60960" y="15240"/>
                  </a:lnTo>
                  <a:lnTo>
                    <a:pt x="58102" y="17145"/>
                  </a:lnTo>
                  <a:lnTo>
                    <a:pt x="58102" y="17145"/>
                  </a:lnTo>
                  <a:lnTo>
                    <a:pt x="56198" y="19050"/>
                  </a:lnTo>
                  <a:lnTo>
                    <a:pt x="56198" y="19050"/>
                  </a:lnTo>
                  <a:lnTo>
                    <a:pt x="54293" y="20955"/>
                  </a:lnTo>
                  <a:lnTo>
                    <a:pt x="54293" y="20955"/>
                  </a:lnTo>
                  <a:lnTo>
                    <a:pt x="54293" y="20955"/>
                  </a:lnTo>
                  <a:cubicBezTo>
                    <a:pt x="51435" y="22860"/>
                    <a:pt x="47625" y="25717"/>
                    <a:pt x="44768" y="28575"/>
                  </a:cubicBezTo>
                  <a:lnTo>
                    <a:pt x="44768" y="28575"/>
                  </a:lnTo>
                  <a:lnTo>
                    <a:pt x="42863" y="29527"/>
                  </a:lnTo>
                  <a:lnTo>
                    <a:pt x="42863" y="29527"/>
                  </a:lnTo>
                  <a:lnTo>
                    <a:pt x="41910" y="30480"/>
                  </a:lnTo>
                  <a:lnTo>
                    <a:pt x="40957" y="31432"/>
                  </a:lnTo>
                  <a:lnTo>
                    <a:pt x="40005" y="32385"/>
                  </a:lnTo>
                  <a:lnTo>
                    <a:pt x="39052" y="33338"/>
                  </a:lnTo>
                  <a:lnTo>
                    <a:pt x="39052" y="33338"/>
                  </a:lnTo>
                  <a:lnTo>
                    <a:pt x="37148" y="35242"/>
                  </a:lnTo>
                  <a:lnTo>
                    <a:pt x="37148" y="35242"/>
                  </a:lnTo>
                  <a:lnTo>
                    <a:pt x="36195" y="36195"/>
                  </a:lnTo>
                  <a:lnTo>
                    <a:pt x="35243" y="37147"/>
                  </a:lnTo>
                  <a:lnTo>
                    <a:pt x="35243" y="37147"/>
                  </a:lnTo>
                  <a:lnTo>
                    <a:pt x="33338" y="39052"/>
                  </a:lnTo>
                  <a:lnTo>
                    <a:pt x="33338" y="39052"/>
                  </a:lnTo>
                  <a:lnTo>
                    <a:pt x="32385" y="40005"/>
                  </a:lnTo>
                  <a:lnTo>
                    <a:pt x="31432" y="40957"/>
                  </a:lnTo>
                  <a:lnTo>
                    <a:pt x="31432" y="41910"/>
                  </a:lnTo>
                  <a:lnTo>
                    <a:pt x="30480" y="43815"/>
                  </a:lnTo>
                  <a:lnTo>
                    <a:pt x="30480" y="43815"/>
                  </a:lnTo>
                  <a:lnTo>
                    <a:pt x="29527" y="45720"/>
                  </a:lnTo>
                  <a:lnTo>
                    <a:pt x="28575" y="46672"/>
                  </a:lnTo>
                  <a:lnTo>
                    <a:pt x="28575" y="47625"/>
                  </a:lnTo>
                  <a:lnTo>
                    <a:pt x="26670" y="49530"/>
                  </a:lnTo>
                  <a:lnTo>
                    <a:pt x="26670" y="49530"/>
                  </a:lnTo>
                  <a:lnTo>
                    <a:pt x="24765" y="52388"/>
                  </a:lnTo>
                  <a:lnTo>
                    <a:pt x="23813" y="54292"/>
                  </a:lnTo>
                  <a:lnTo>
                    <a:pt x="23813" y="55245"/>
                  </a:lnTo>
                  <a:lnTo>
                    <a:pt x="23813" y="56197"/>
                  </a:lnTo>
                  <a:cubicBezTo>
                    <a:pt x="16193" y="67627"/>
                    <a:pt x="10477" y="80963"/>
                    <a:pt x="5715" y="94297"/>
                  </a:cubicBezTo>
                  <a:lnTo>
                    <a:pt x="5715" y="95250"/>
                  </a:lnTo>
                  <a:cubicBezTo>
                    <a:pt x="4763" y="97155"/>
                    <a:pt x="4763" y="99060"/>
                    <a:pt x="3810" y="101917"/>
                  </a:cubicBezTo>
                  <a:lnTo>
                    <a:pt x="3810" y="101917"/>
                  </a:lnTo>
                  <a:cubicBezTo>
                    <a:pt x="1905" y="107632"/>
                    <a:pt x="952" y="113347"/>
                    <a:pt x="0" y="119063"/>
                  </a:cubicBezTo>
                  <a:lnTo>
                    <a:pt x="0" y="120015"/>
                  </a:lnTo>
                  <a:lnTo>
                    <a:pt x="0" y="122872"/>
                  </a:lnTo>
                  <a:lnTo>
                    <a:pt x="0" y="122872"/>
                  </a:lnTo>
                  <a:lnTo>
                    <a:pt x="0" y="125730"/>
                  </a:lnTo>
                  <a:lnTo>
                    <a:pt x="0" y="126682"/>
                  </a:lnTo>
                  <a:lnTo>
                    <a:pt x="0" y="129540"/>
                  </a:lnTo>
                  <a:lnTo>
                    <a:pt x="0" y="130492"/>
                  </a:lnTo>
                  <a:lnTo>
                    <a:pt x="0" y="133350"/>
                  </a:lnTo>
                  <a:lnTo>
                    <a:pt x="0" y="134302"/>
                  </a:lnTo>
                  <a:lnTo>
                    <a:pt x="0" y="137160"/>
                  </a:lnTo>
                  <a:lnTo>
                    <a:pt x="0" y="138113"/>
                  </a:lnTo>
                  <a:lnTo>
                    <a:pt x="0" y="140970"/>
                  </a:lnTo>
                  <a:lnTo>
                    <a:pt x="0" y="141922"/>
                  </a:lnTo>
                  <a:lnTo>
                    <a:pt x="0" y="144780"/>
                  </a:lnTo>
                  <a:lnTo>
                    <a:pt x="0" y="144780"/>
                  </a:lnTo>
                  <a:lnTo>
                    <a:pt x="0" y="148590"/>
                  </a:lnTo>
                  <a:lnTo>
                    <a:pt x="0" y="148590"/>
                  </a:lnTo>
                  <a:lnTo>
                    <a:pt x="0" y="152400"/>
                  </a:lnTo>
                  <a:lnTo>
                    <a:pt x="0" y="227647"/>
                  </a:lnTo>
                  <a:lnTo>
                    <a:pt x="0" y="303847"/>
                  </a:lnTo>
                  <a:lnTo>
                    <a:pt x="72390" y="303847"/>
                  </a:lnTo>
                  <a:cubicBezTo>
                    <a:pt x="73343" y="303847"/>
                    <a:pt x="75248" y="303847"/>
                    <a:pt x="76200" y="303847"/>
                  </a:cubicBezTo>
                  <a:lnTo>
                    <a:pt x="220980" y="303847"/>
                  </a:lnTo>
                  <a:cubicBezTo>
                    <a:pt x="228600" y="303847"/>
                    <a:pt x="236220" y="302895"/>
                    <a:pt x="243840" y="300990"/>
                  </a:cubicBezTo>
                  <a:lnTo>
                    <a:pt x="243840" y="300990"/>
                  </a:lnTo>
                  <a:cubicBezTo>
                    <a:pt x="245745" y="300990"/>
                    <a:pt x="247650" y="300038"/>
                    <a:pt x="249555" y="299085"/>
                  </a:cubicBezTo>
                  <a:lnTo>
                    <a:pt x="250508" y="299085"/>
                  </a:lnTo>
                  <a:lnTo>
                    <a:pt x="252413" y="298132"/>
                  </a:lnTo>
                  <a:lnTo>
                    <a:pt x="252413" y="298132"/>
                  </a:lnTo>
                  <a:lnTo>
                    <a:pt x="254317" y="297180"/>
                  </a:lnTo>
                  <a:lnTo>
                    <a:pt x="255270" y="297180"/>
                  </a:lnTo>
                  <a:lnTo>
                    <a:pt x="256223" y="297180"/>
                  </a:lnTo>
                  <a:lnTo>
                    <a:pt x="258127" y="296227"/>
                  </a:lnTo>
                  <a:lnTo>
                    <a:pt x="260033" y="295275"/>
                  </a:lnTo>
                  <a:lnTo>
                    <a:pt x="260033" y="295275"/>
                  </a:lnTo>
                  <a:lnTo>
                    <a:pt x="262890" y="294322"/>
                  </a:lnTo>
                  <a:lnTo>
                    <a:pt x="262890" y="294322"/>
                  </a:lnTo>
                  <a:lnTo>
                    <a:pt x="265748" y="293370"/>
                  </a:lnTo>
                  <a:lnTo>
                    <a:pt x="265748" y="293370"/>
                  </a:lnTo>
                  <a:lnTo>
                    <a:pt x="268605" y="292417"/>
                  </a:lnTo>
                  <a:lnTo>
                    <a:pt x="268605" y="292417"/>
                  </a:lnTo>
                  <a:lnTo>
                    <a:pt x="271463" y="290513"/>
                  </a:lnTo>
                  <a:lnTo>
                    <a:pt x="271463" y="290513"/>
                  </a:lnTo>
                  <a:lnTo>
                    <a:pt x="274320" y="288607"/>
                  </a:lnTo>
                  <a:lnTo>
                    <a:pt x="274320" y="288607"/>
                  </a:lnTo>
                  <a:lnTo>
                    <a:pt x="277178" y="286702"/>
                  </a:lnTo>
                  <a:lnTo>
                    <a:pt x="277178" y="286702"/>
                  </a:lnTo>
                  <a:lnTo>
                    <a:pt x="279083" y="284797"/>
                  </a:lnTo>
                  <a:lnTo>
                    <a:pt x="279083" y="284797"/>
                  </a:lnTo>
                  <a:lnTo>
                    <a:pt x="280988" y="282892"/>
                  </a:lnTo>
                  <a:lnTo>
                    <a:pt x="280988" y="282892"/>
                  </a:lnTo>
                  <a:lnTo>
                    <a:pt x="280988" y="282892"/>
                  </a:lnTo>
                  <a:cubicBezTo>
                    <a:pt x="283845" y="280988"/>
                    <a:pt x="287655" y="278130"/>
                    <a:pt x="290513" y="275272"/>
                  </a:cubicBezTo>
                  <a:lnTo>
                    <a:pt x="290513" y="275272"/>
                  </a:lnTo>
                  <a:lnTo>
                    <a:pt x="292417" y="274320"/>
                  </a:lnTo>
                  <a:lnTo>
                    <a:pt x="292417" y="274320"/>
                  </a:lnTo>
                  <a:lnTo>
                    <a:pt x="293370" y="273367"/>
                  </a:lnTo>
                  <a:lnTo>
                    <a:pt x="294323" y="272415"/>
                  </a:lnTo>
                  <a:lnTo>
                    <a:pt x="295275" y="271463"/>
                  </a:lnTo>
                  <a:lnTo>
                    <a:pt x="296228" y="270510"/>
                  </a:lnTo>
                  <a:lnTo>
                    <a:pt x="296228" y="270510"/>
                  </a:lnTo>
                  <a:lnTo>
                    <a:pt x="298133" y="268605"/>
                  </a:lnTo>
                  <a:lnTo>
                    <a:pt x="298133" y="268605"/>
                  </a:lnTo>
                  <a:lnTo>
                    <a:pt x="299085" y="267652"/>
                  </a:lnTo>
                  <a:lnTo>
                    <a:pt x="300038" y="266700"/>
                  </a:lnTo>
                  <a:lnTo>
                    <a:pt x="300038" y="266700"/>
                  </a:lnTo>
                  <a:lnTo>
                    <a:pt x="301942" y="264795"/>
                  </a:lnTo>
                  <a:lnTo>
                    <a:pt x="301942" y="264795"/>
                  </a:lnTo>
                  <a:lnTo>
                    <a:pt x="302895" y="263842"/>
                  </a:lnTo>
                  <a:lnTo>
                    <a:pt x="303848" y="262890"/>
                  </a:lnTo>
                  <a:lnTo>
                    <a:pt x="303848" y="261938"/>
                  </a:lnTo>
                  <a:lnTo>
                    <a:pt x="304800" y="260032"/>
                  </a:lnTo>
                  <a:lnTo>
                    <a:pt x="304800" y="260032"/>
                  </a:lnTo>
                  <a:lnTo>
                    <a:pt x="305753" y="258127"/>
                  </a:lnTo>
                  <a:lnTo>
                    <a:pt x="306705" y="257175"/>
                  </a:lnTo>
                  <a:lnTo>
                    <a:pt x="306705" y="256222"/>
                  </a:lnTo>
                  <a:lnTo>
                    <a:pt x="308610" y="254317"/>
                  </a:lnTo>
                  <a:lnTo>
                    <a:pt x="308610" y="254317"/>
                  </a:lnTo>
                  <a:lnTo>
                    <a:pt x="310515" y="251460"/>
                  </a:lnTo>
                  <a:lnTo>
                    <a:pt x="311467" y="249555"/>
                  </a:lnTo>
                  <a:lnTo>
                    <a:pt x="311467" y="248602"/>
                  </a:lnTo>
                  <a:lnTo>
                    <a:pt x="311467" y="247650"/>
                  </a:lnTo>
                  <a:cubicBezTo>
                    <a:pt x="319088" y="236220"/>
                    <a:pt x="324803" y="222885"/>
                    <a:pt x="329565" y="209550"/>
                  </a:cubicBezTo>
                  <a:lnTo>
                    <a:pt x="329565" y="208597"/>
                  </a:lnTo>
                  <a:cubicBezTo>
                    <a:pt x="330517" y="206692"/>
                    <a:pt x="330517" y="204788"/>
                    <a:pt x="331470" y="201930"/>
                  </a:cubicBezTo>
                  <a:lnTo>
                    <a:pt x="331470" y="201930"/>
                  </a:lnTo>
                  <a:cubicBezTo>
                    <a:pt x="333375" y="196215"/>
                    <a:pt x="334328" y="190500"/>
                    <a:pt x="335280" y="184785"/>
                  </a:cubicBezTo>
                  <a:lnTo>
                    <a:pt x="335280" y="183832"/>
                  </a:lnTo>
                  <a:lnTo>
                    <a:pt x="335280" y="180975"/>
                  </a:lnTo>
                  <a:lnTo>
                    <a:pt x="335280" y="180975"/>
                  </a:lnTo>
                  <a:lnTo>
                    <a:pt x="335280" y="178117"/>
                  </a:lnTo>
                  <a:lnTo>
                    <a:pt x="335280" y="177165"/>
                  </a:lnTo>
                  <a:lnTo>
                    <a:pt x="335280" y="174307"/>
                  </a:lnTo>
                  <a:lnTo>
                    <a:pt x="335280" y="173355"/>
                  </a:lnTo>
                  <a:lnTo>
                    <a:pt x="335280" y="170497"/>
                  </a:lnTo>
                  <a:lnTo>
                    <a:pt x="335280" y="169545"/>
                  </a:lnTo>
                  <a:lnTo>
                    <a:pt x="335280" y="166688"/>
                  </a:lnTo>
                  <a:lnTo>
                    <a:pt x="335280" y="165735"/>
                  </a:lnTo>
                  <a:lnTo>
                    <a:pt x="335280" y="162877"/>
                  </a:lnTo>
                  <a:lnTo>
                    <a:pt x="335280" y="161925"/>
                  </a:lnTo>
                  <a:lnTo>
                    <a:pt x="335280" y="159067"/>
                  </a:lnTo>
                  <a:lnTo>
                    <a:pt x="335280" y="159067"/>
                  </a:lnTo>
                  <a:lnTo>
                    <a:pt x="335280" y="155257"/>
                  </a:lnTo>
                  <a:lnTo>
                    <a:pt x="335280" y="155257"/>
                  </a:lnTo>
                  <a:lnTo>
                    <a:pt x="335280" y="151447"/>
                  </a:lnTo>
                  <a:lnTo>
                    <a:pt x="335280" y="76200"/>
                  </a:lnTo>
                  <a:lnTo>
                    <a:pt x="335280" y="0"/>
                  </a:lnTo>
                  <a:lnTo>
                    <a:pt x="262890" y="0"/>
                  </a:lnTo>
                  <a:cubicBezTo>
                    <a:pt x="260985" y="0"/>
                    <a:pt x="260033" y="0"/>
                    <a:pt x="259080" y="0"/>
                  </a:cubicBezTo>
                  <a:close/>
                </a:path>
              </a:pathLst>
            </a:custGeom>
            <a:solidFill>
              <a:schemeClr val="accent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51" name="Freeform: Shape 125">
              <a:extLst>
                <a:ext uri="{FF2B5EF4-FFF2-40B4-BE49-F238E27FC236}">
                  <a16:creationId xmlns:a16="http://schemas.microsoft.com/office/drawing/2014/main" id="{5F666F21-9757-4FE7-B74B-CDC3A3706C46}"/>
                </a:ext>
              </a:extLst>
            </p:cNvPr>
            <p:cNvSpPr/>
            <p:nvPr/>
          </p:nvSpPr>
          <p:spPr>
            <a:xfrm>
              <a:off x="5063342" y="4765553"/>
              <a:ext cx="374737" cy="338541"/>
            </a:xfrm>
            <a:custGeom>
              <a:avLst/>
              <a:gdLst>
                <a:gd name="connsiteX0" fmla="*/ 260033 w 335279"/>
                <a:gd name="connsiteY0" fmla="*/ 0 h 302895"/>
                <a:gd name="connsiteX1" fmla="*/ 115252 w 335279"/>
                <a:gd name="connsiteY1" fmla="*/ 0 h 302895"/>
                <a:gd name="connsiteX2" fmla="*/ 92392 w 335279"/>
                <a:gd name="connsiteY2" fmla="*/ 2858 h 302895"/>
                <a:gd name="connsiteX3" fmla="*/ 92392 w 335279"/>
                <a:gd name="connsiteY3" fmla="*/ 2858 h 302895"/>
                <a:gd name="connsiteX4" fmla="*/ 86677 w 335279"/>
                <a:gd name="connsiteY4" fmla="*/ 4763 h 302895"/>
                <a:gd name="connsiteX5" fmla="*/ 85725 w 335279"/>
                <a:gd name="connsiteY5" fmla="*/ 4763 h 302895"/>
                <a:gd name="connsiteX6" fmla="*/ 83820 w 335279"/>
                <a:gd name="connsiteY6" fmla="*/ 5715 h 302895"/>
                <a:gd name="connsiteX7" fmla="*/ 83820 w 335279"/>
                <a:gd name="connsiteY7" fmla="*/ 5715 h 302895"/>
                <a:gd name="connsiteX8" fmla="*/ 80963 w 335279"/>
                <a:gd name="connsiteY8" fmla="*/ 5715 h 302895"/>
                <a:gd name="connsiteX9" fmla="*/ 80010 w 335279"/>
                <a:gd name="connsiteY9" fmla="*/ 5715 h 302895"/>
                <a:gd name="connsiteX10" fmla="*/ 79058 w 335279"/>
                <a:gd name="connsiteY10" fmla="*/ 5715 h 302895"/>
                <a:gd name="connsiteX11" fmla="*/ 77152 w 335279"/>
                <a:gd name="connsiteY11" fmla="*/ 6668 h 302895"/>
                <a:gd name="connsiteX12" fmla="*/ 75248 w 335279"/>
                <a:gd name="connsiteY12" fmla="*/ 7620 h 302895"/>
                <a:gd name="connsiteX13" fmla="*/ 75248 w 335279"/>
                <a:gd name="connsiteY13" fmla="*/ 7620 h 302895"/>
                <a:gd name="connsiteX14" fmla="*/ 72390 w 335279"/>
                <a:gd name="connsiteY14" fmla="*/ 8572 h 302895"/>
                <a:gd name="connsiteX15" fmla="*/ 72390 w 335279"/>
                <a:gd name="connsiteY15" fmla="*/ 8572 h 302895"/>
                <a:gd name="connsiteX16" fmla="*/ 69533 w 335279"/>
                <a:gd name="connsiteY16" fmla="*/ 9525 h 302895"/>
                <a:gd name="connsiteX17" fmla="*/ 69533 w 335279"/>
                <a:gd name="connsiteY17" fmla="*/ 9525 h 302895"/>
                <a:gd name="connsiteX18" fmla="*/ 66675 w 335279"/>
                <a:gd name="connsiteY18" fmla="*/ 10478 h 302895"/>
                <a:gd name="connsiteX19" fmla="*/ 66675 w 335279"/>
                <a:gd name="connsiteY19" fmla="*/ 10478 h 302895"/>
                <a:gd name="connsiteX20" fmla="*/ 63817 w 335279"/>
                <a:gd name="connsiteY20" fmla="*/ 12383 h 302895"/>
                <a:gd name="connsiteX21" fmla="*/ 63817 w 335279"/>
                <a:gd name="connsiteY21" fmla="*/ 12383 h 302895"/>
                <a:gd name="connsiteX22" fmla="*/ 60960 w 335279"/>
                <a:gd name="connsiteY22" fmla="*/ 14288 h 302895"/>
                <a:gd name="connsiteX23" fmla="*/ 60960 w 335279"/>
                <a:gd name="connsiteY23" fmla="*/ 14288 h 302895"/>
                <a:gd name="connsiteX24" fmla="*/ 58102 w 335279"/>
                <a:gd name="connsiteY24" fmla="*/ 16193 h 302895"/>
                <a:gd name="connsiteX25" fmla="*/ 58102 w 335279"/>
                <a:gd name="connsiteY25" fmla="*/ 16193 h 302895"/>
                <a:gd name="connsiteX26" fmla="*/ 56198 w 335279"/>
                <a:gd name="connsiteY26" fmla="*/ 18097 h 302895"/>
                <a:gd name="connsiteX27" fmla="*/ 56198 w 335279"/>
                <a:gd name="connsiteY27" fmla="*/ 18097 h 302895"/>
                <a:gd name="connsiteX28" fmla="*/ 54292 w 335279"/>
                <a:gd name="connsiteY28" fmla="*/ 20003 h 302895"/>
                <a:gd name="connsiteX29" fmla="*/ 54292 w 335279"/>
                <a:gd name="connsiteY29" fmla="*/ 20003 h 302895"/>
                <a:gd name="connsiteX30" fmla="*/ 54292 w 335279"/>
                <a:gd name="connsiteY30" fmla="*/ 20003 h 302895"/>
                <a:gd name="connsiteX31" fmla="*/ 44767 w 335279"/>
                <a:gd name="connsiteY31" fmla="*/ 27622 h 302895"/>
                <a:gd name="connsiteX32" fmla="*/ 44767 w 335279"/>
                <a:gd name="connsiteY32" fmla="*/ 27622 h 302895"/>
                <a:gd name="connsiteX33" fmla="*/ 42863 w 335279"/>
                <a:gd name="connsiteY33" fmla="*/ 28575 h 302895"/>
                <a:gd name="connsiteX34" fmla="*/ 42863 w 335279"/>
                <a:gd name="connsiteY34" fmla="*/ 28575 h 302895"/>
                <a:gd name="connsiteX35" fmla="*/ 41910 w 335279"/>
                <a:gd name="connsiteY35" fmla="*/ 29528 h 302895"/>
                <a:gd name="connsiteX36" fmla="*/ 40958 w 335279"/>
                <a:gd name="connsiteY36" fmla="*/ 30480 h 302895"/>
                <a:gd name="connsiteX37" fmla="*/ 40005 w 335279"/>
                <a:gd name="connsiteY37" fmla="*/ 31433 h 302895"/>
                <a:gd name="connsiteX38" fmla="*/ 39052 w 335279"/>
                <a:gd name="connsiteY38" fmla="*/ 32385 h 302895"/>
                <a:gd name="connsiteX39" fmla="*/ 39052 w 335279"/>
                <a:gd name="connsiteY39" fmla="*/ 32385 h 302895"/>
                <a:gd name="connsiteX40" fmla="*/ 37148 w 335279"/>
                <a:gd name="connsiteY40" fmla="*/ 34290 h 302895"/>
                <a:gd name="connsiteX41" fmla="*/ 37148 w 335279"/>
                <a:gd name="connsiteY41" fmla="*/ 34290 h 302895"/>
                <a:gd name="connsiteX42" fmla="*/ 36195 w 335279"/>
                <a:gd name="connsiteY42" fmla="*/ 35243 h 302895"/>
                <a:gd name="connsiteX43" fmla="*/ 35242 w 335279"/>
                <a:gd name="connsiteY43" fmla="*/ 36195 h 302895"/>
                <a:gd name="connsiteX44" fmla="*/ 35242 w 335279"/>
                <a:gd name="connsiteY44" fmla="*/ 36195 h 302895"/>
                <a:gd name="connsiteX45" fmla="*/ 33338 w 335279"/>
                <a:gd name="connsiteY45" fmla="*/ 38100 h 302895"/>
                <a:gd name="connsiteX46" fmla="*/ 33338 w 335279"/>
                <a:gd name="connsiteY46" fmla="*/ 38100 h 302895"/>
                <a:gd name="connsiteX47" fmla="*/ 32385 w 335279"/>
                <a:gd name="connsiteY47" fmla="*/ 39053 h 302895"/>
                <a:gd name="connsiteX48" fmla="*/ 31433 w 335279"/>
                <a:gd name="connsiteY48" fmla="*/ 40005 h 302895"/>
                <a:gd name="connsiteX49" fmla="*/ 31433 w 335279"/>
                <a:gd name="connsiteY49" fmla="*/ 40958 h 302895"/>
                <a:gd name="connsiteX50" fmla="*/ 30480 w 335279"/>
                <a:gd name="connsiteY50" fmla="*/ 42863 h 302895"/>
                <a:gd name="connsiteX51" fmla="*/ 30480 w 335279"/>
                <a:gd name="connsiteY51" fmla="*/ 42863 h 302895"/>
                <a:gd name="connsiteX52" fmla="*/ 29527 w 335279"/>
                <a:gd name="connsiteY52" fmla="*/ 44768 h 302895"/>
                <a:gd name="connsiteX53" fmla="*/ 28575 w 335279"/>
                <a:gd name="connsiteY53" fmla="*/ 45720 h 302895"/>
                <a:gd name="connsiteX54" fmla="*/ 28575 w 335279"/>
                <a:gd name="connsiteY54" fmla="*/ 46672 h 302895"/>
                <a:gd name="connsiteX55" fmla="*/ 26670 w 335279"/>
                <a:gd name="connsiteY55" fmla="*/ 48578 h 302895"/>
                <a:gd name="connsiteX56" fmla="*/ 26670 w 335279"/>
                <a:gd name="connsiteY56" fmla="*/ 48578 h 302895"/>
                <a:gd name="connsiteX57" fmla="*/ 24765 w 335279"/>
                <a:gd name="connsiteY57" fmla="*/ 51435 h 302895"/>
                <a:gd name="connsiteX58" fmla="*/ 23813 w 335279"/>
                <a:gd name="connsiteY58" fmla="*/ 53340 h 302895"/>
                <a:gd name="connsiteX59" fmla="*/ 23813 w 335279"/>
                <a:gd name="connsiteY59" fmla="*/ 54293 h 302895"/>
                <a:gd name="connsiteX60" fmla="*/ 23813 w 335279"/>
                <a:gd name="connsiteY60" fmla="*/ 55245 h 302895"/>
                <a:gd name="connsiteX61" fmla="*/ 5715 w 335279"/>
                <a:gd name="connsiteY61" fmla="*/ 93345 h 302895"/>
                <a:gd name="connsiteX62" fmla="*/ 5715 w 335279"/>
                <a:gd name="connsiteY62" fmla="*/ 94297 h 302895"/>
                <a:gd name="connsiteX63" fmla="*/ 3810 w 335279"/>
                <a:gd name="connsiteY63" fmla="*/ 100965 h 302895"/>
                <a:gd name="connsiteX64" fmla="*/ 3810 w 335279"/>
                <a:gd name="connsiteY64" fmla="*/ 100965 h 302895"/>
                <a:gd name="connsiteX65" fmla="*/ 0 w 335279"/>
                <a:gd name="connsiteY65" fmla="*/ 118110 h 302895"/>
                <a:gd name="connsiteX66" fmla="*/ 0 w 335279"/>
                <a:gd name="connsiteY66" fmla="*/ 119063 h 302895"/>
                <a:gd name="connsiteX67" fmla="*/ 0 w 335279"/>
                <a:gd name="connsiteY67" fmla="*/ 121920 h 302895"/>
                <a:gd name="connsiteX68" fmla="*/ 0 w 335279"/>
                <a:gd name="connsiteY68" fmla="*/ 121920 h 302895"/>
                <a:gd name="connsiteX69" fmla="*/ 0 w 335279"/>
                <a:gd name="connsiteY69" fmla="*/ 124778 h 302895"/>
                <a:gd name="connsiteX70" fmla="*/ 0 w 335279"/>
                <a:gd name="connsiteY70" fmla="*/ 125730 h 302895"/>
                <a:gd name="connsiteX71" fmla="*/ 0 w 335279"/>
                <a:gd name="connsiteY71" fmla="*/ 128588 h 302895"/>
                <a:gd name="connsiteX72" fmla="*/ 0 w 335279"/>
                <a:gd name="connsiteY72" fmla="*/ 129540 h 302895"/>
                <a:gd name="connsiteX73" fmla="*/ 0 w 335279"/>
                <a:gd name="connsiteY73" fmla="*/ 132397 h 302895"/>
                <a:gd name="connsiteX74" fmla="*/ 0 w 335279"/>
                <a:gd name="connsiteY74" fmla="*/ 133350 h 302895"/>
                <a:gd name="connsiteX75" fmla="*/ 0 w 335279"/>
                <a:gd name="connsiteY75" fmla="*/ 136208 h 302895"/>
                <a:gd name="connsiteX76" fmla="*/ 0 w 335279"/>
                <a:gd name="connsiteY76" fmla="*/ 137160 h 302895"/>
                <a:gd name="connsiteX77" fmla="*/ 0 w 335279"/>
                <a:gd name="connsiteY77" fmla="*/ 140018 h 302895"/>
                <a:gd name="connsiteX78" fmla="*/ 0 w 335279"/>
                <a:gd name="connsiteY78" fmla="*/ 140970 h 302895"/>
                <a:gd name="connsiteX79" fmla="*/ 0 w 335279"/>
                <a:gd name="connsiteY79" fmla="*/ 143828 h 302895"/>
                <a:gd name="connsiteX80" fmla="*/ 0 w 335279"/>
                <a:gd name="connsiteY80" fmla="*/ 143828 h 302895"/>
                <a:gd name="connsiteX81" fmla="*/ 0 w 335279"/>
                <a:gd name="connsiteY81" fmla="*/ 147638 h 302895"/>
                <a:gd name="connsiteX82" fmla="*/ 0 w 335279"/>
                <a:gd name="connsiteY82" fmla="*/ 147638 h 302895"/>
                <a:gd name="connsiteX83" fmla="*/ 0 w 335279"/>
                <a:gd name="connsiteY83" fmla="*/ 151447 h 302895"/>
                <a:gd name="connsiteX84" fmla="*/ 0 w 335279"/>
                <a:gd name="connsiteY84" fmla="*/ 226695 h 302895"/>
                <a:gd name="connsiteX85" fmla="*/ 0 w 335279"/>
                <a:gd name="connsiteY85" fmla="*/ 302895 h 302895"/>
                <a:gd name="connsiteX86" fmla="*/ 72390 w 335279"/>
                <a:gd name="connsiteY86" fmla="*/ 302895 h 302895"/>
                <a:gd name="connsiteX87" fmla="*/ 76200 w 335279"/>
                <a:gd name="connsiteY87" fmla="*/ 302895 h 302895"/>
                <a:gd name="connsiteX88" fmla="*/ 220980 w 335279"/>
                <a:gd name="connsiteY88" fmla="*/ 302895 h 302895"/>
                <a:gd name="connsiteX89" fmla="*/ 243840 w 335279"/>
                <a:gd name="connsiteY89" fmla="*/ 300038 h 302895"/>
                <a:gd name="connsiteX90" fmla="*/ 243840 w 335279"/>
                <a:gd name="connsiteY90" fmla="*/ 300038 h 302895"/>
                <a:gd name="connsiteX91" fmla="*/ 249555 w 335279"/>
                <a:gd name="connsiteY91" fmla="*/ 298133 h 302895"/>
                <a:gd name="connsiteX92" fmla="*/ 250508 w 335279"/>
                <a:gd name="connsiteY92" fmla="*/ 298133 h 302895"/>
                <a:gd name="connsiteX93" fmla="*/ 252413 w 335279"/>
                <a:gd name="connsiteY93" fmla="*/ 297180 h 302895"/>
                <a:gd name="connsiteX94" fmla="*/ 252413 w 335279"/>
                <a:gd name="connsiteY94" fmla="*/ 297180 h 302895"/>
                <a:gd name="connsiteX95" fmla="*/ 254317 w 335279"/>
                <a:gd name="connsiteY95" fmla="*/ 296228 h 302895"/>
                <a:gd name="connsiteX96" fmla="*/ 255270 w 335279"/>
                <a:gd name="connsiteY96" fmla="*/ 296228 h 302895"/>
                <a:gd name="connsiteX97" fmla="*/ 256223 w 335279"/>
                <a:gd name="connsiteY97" fmla="*/ 296228 h 302895"/>
                <a:gd name="connsiteX98" fmla="*/ 258127 w 335279"/>
                <a:gd name="connsiteY98" fmla="*/ 295275 h 302895"/>
                <a:gd name="connsiteX99" fmla="*/ 260033 w 335279"/>
                <a:gd name="connsiteY99" fmla="*/ 294322 h 302895"/>
                <a:gd name="connsiteX100" fmla="*/ 260033 w 335279"/>
                <a:gd name="connsiteY100" fmla="*/ 294322 h 302895"/>
                <a:gd name="connsiteX101" fmla="*/ 262890 w 335279"/>
                <a:gd name="connsiteY101" fmla="*/ 293370 h 302895"/>
                <a:gd name="connsiteX102" fmla="*/ 262890 w 335279"/>
                <a:gd name="connsiteY102" fmla="*/ 293370 h 302895"/>
                <a:gd name="connsiteX103" fmla="*/ 265748 w 335279"/>
                <a:gd name="connsiteY103" fmla="*/ 292418 h 302895"/>
                <a:gd name="connsiteX104" fmla="*/ 265748 w 335279"/>
                <a:gd name="connsiteY104" fmla="*/ 292418 h 302895"/>
                <a:gd name="connsiteX105" fmla="*/ 268605 w 335279"/>
                <a:gd name="connsiteY105" fmla="*/ 291465 h 302895"/>
                <a:gd name="connsiteX106" fmla="*/ 268605 w 335279"/>
                <a:gd name="connsiteY106" fmla="*/ 291465 h 302895"/>
                <a:gd name="connsiteX107" fmla="*/ 271463 w 335279"/>
                <a:gd name="connsiteY107" fmla="*/ 290513 h 302895"/>
                <a:gd name="connsiteX108" fmla="*/ 271463 w 335279"/>
                <a:gd name="connsiteY108" fmla="*/ 290513 h 302895"/>
                <a:gd name="connsiteX109" fmla="*/ 274320 w 335279"/>
                <a:gd name="connsiteY109" fmla="*/ 288608 h 302895"/>
                <a:gd name="connsiteX110" fmla="*/ 274320 w 335279"/>
                <a:gd name="connsiteY110" fmla="*/ 288608 h 302895"/>
                <a:gd name="connsiteX111" fmla="*/ 277178 w 335279"/>
                <a:gd name="connsiteY111" fmla="*/ 286703 h 302895"/>
                <a:gd name="connsiteX112" fmla="*/ 277178 w 335279"/>
                <a:gd name="connsiteY112" fmla="*/ 286703 h 302895"/>
                <a:gd name="connsiteX113" fmla="*/ 279083 w 335279"/>
                <a:gd name="connsiteY113" fmla="*/ 284797 h 302895"/>
                <a:gd name="connsiteX114" fmla="*/ 279083 w 335279"/>
                <a:gd name="connsiteY114" fmla="*/ 284797 h 302895"/>
                <a:gd name="connsiteX115" fmla="*/ 280988 w 335279"/>
                <a:gd name="connsiteY115" fmla="*/ 282893 h 302895"/>
                <a:gd name="connsiteX116" fmla="*/ 280988 w 335279"/>
                <a:gd name="connsiteY116" fmla="*/ 282893 h 302895"/>
                <a:gd name="connsiteX117" fmla="*/ 280988 w 335279"/>
                <a:gd name="connsiteY117" fmla="*/ 282893 h 302895"/>
                <a:gd name="connsiteX118" fmla="*/ 290513 w 335279"/>
                <a:gd name="connsiteY118" fmla="*/ 275272 h 302895"/>
                <a:gd name="connsiteX119" fmla="*/ 290513 w 335279"/>
                <a:gd name="connsiteY119" fmla="*/ 275272 h 302895"/>
                <a:gd name="connsiteX120" fmla="*/ 292417 w 335279"/>
                <a:gd name="connsiteY120" fmla="*/ 274320 h 302895"/>
                <a:gd name="connsiteX121" fmla="*/ 292417 w 335279"/>
                <a:gd name="connsiteY121" fmla="*/ 274320 h 302895"/>
                <a:gd name="connsiteX122" fmla="*/ 293370 w 335279"/>
                <a:gd name="connsiteY122" fmla="*/ 273368 h 302895"/>
                <a:gd name="connsiteX123" fmla="*/ 294323 w 335279"/>
                <a:gd name="connsiteY123" fmla="*/ 272415 h 302895"/>
                <a:gd name="connsiteX124" fmla="*/ 295275 w 335279"/>
                <a:gd name="connsiteY124" fmla="*/ 271463 h 302895"/>
                <a:gd name="connsiteX125" fmla="*/ 296228 w 335279"/>
                <a:gd name="connsiteY125" fmla="*/ 270510 h 302895"/>
                <a:gd name="connsiteX126" fmla="*/ 296228 w 335279"/>
                <a:gd name="connsiteY126" fmla="*/ 270510 h 302895"/>
                <a:gd name="connsiteX127" fmla="*/ 298133 w 335279"/>
                <a:gd name="connsiteY127" fmla="*/ 268605 h 302895"/>
                <a:gd name="connsiteX128" fmla="*/ 298133 w 335279"/>
                <a:gd name="connsiteY128" fmla="*/ 268605 h 302895"/>
                <a:gd name="connsiteX129" fmla="*/ 299085 w 335279"/>
                <a:gd name="connsiteY129" fmla="*/ 267653 h 302895"/>
                <a:gd name="connsiteX130" fmla="*/ 300038 w 335279"/>
                <a:gd name="connsiteY130" fmla="*/ 266700 h 302895"/>
                <a:gd name="connsiteX131" fmla="*/ 300038 w 335279"/>
                <a:gd name="connsiteY131" fmla="*/ 266700 h 302895"/>
                <a:gd name="connsiteX132" fmla="*/ 301942 w 335279"/>
                <a:gd name="connsiteY132" fmla="*/ 264795 h 302895"/>
                <a:gd name="connsiteX133" fmla="*/ 301942 w 335279"/>
                <a:gd name="connsiteY133" fmla="*/ 264795 h 302895"/>
                <a:gd name="connsiteX134" fmla="*/ 302895 w 335279"/>
                <a:gd name="connsiteY134" fmla="*/ 263843 h 302895"/>
                <a:gd name="connsiteX135" fmla="*/ 303848 w 335279"/>
                <a:gd name="connsiteY135" fmla="*/ 262890 h 302895"/>
                <a:gd name="connsiteX136" fmla="*/ 303848 w 335279"/>
                <a:gd name="connsiteY136" fmla="*/ 261938 h 302895"/>
                <a:gd name="connsiteX137" fmla="*/ 304800 w 335279"/>
                <a:gd name="connsiteY137" fmla="*/ 260033 h 302895"/>
                <a:gd name="connsiteX138" fmla="*/ 304800 w 335279"/>
                <a:gd name="connsiteY138" fmla="*/ 260033 h 302895"/>
                <a:gd name="connsiteX139" fmla="*/ 305753 w 335279"/>
                <a:gd name="connsiteY139" fmla="*/ 258128 h 302895"/>
                <a:gd name="connsiteX140" fmla="*/ 306705 w 335279"/>
                <a:gd name="connsiteY140" fmla="*/ 257175 h 302895"/>
                <a:gd name="connsiteX141" fmla="*/ 306705 w 335279"/>
                <a:gd name="connsiteY141" fmla="*/ 256222 h 302895"/>
                <a:gd name="connsiteX142" fmla="*/ 308610 w 335279"/>
                <a:gd name="connsiteY142" fmla="*/ 254318 h 302895"/>
                <a:gd name="connsiteX143" fmla="*/ 308610 w 335279"/>
                <a:gd name="connsiteY143" fmla="*/ 254318 h 302895"/>
                <a:gd name="connsiteX144" fmla="*/ 310515 w 335279"/>
                <a:gd name="connsiteY144" fmla="*/ 251460 h 302895"/>
                <a:gd name="connsiteX145" fmla="*/ 311467 w 335279"/>
                <a:gd name="connsiteY145" fmla="*/ 249555 h 302895"/>
                <a:gd name="connsiteX146" fmla="*/ 311467 w 335279"/>
                <a:gd name="connsiteY146" fmla="*/ 248603 h 302895"/>
                <a:gd name="connsiteX147" fmla="*/ 311467 w 335279"/>
                <a:gd name="connsiteY147" fmla="*/ 247650 h 302895"/>
                <a:gd name="connsiteX148" fmla="*/ 329565 w 335279"/>
                <a:gd name="connsiteY148" fmla="*/ 209550 h 302895"/>
                <a:gd name="connsiteX149" fmla="*/ 329565 w 335279"/>
                <a:gd name="connsiteY149" fmla="*/ 208597 h 302895"/>
                <a:gd name="connsiteX150" fmla="*/ 331470 w 335279"/>
                <a:gd name="connsiteY150" fmla="*/ 201930 h 302895"/>
                <a:gd name="connsiteX151" fmla="*/ 331470 w 335279"/>
                <a:gd name="connsiteY151" fmla="*/ 201930 h 302895"/>
                <a:gd name="connsiteX152" fmla="*/ 335280 w 335279"/>
                <a:gd name="connsiteY152" fmla="*/ 184785 h 302895"/>
                <a:gd name="connsiteX153" fmla="*/ 335280 w 335279"/>
                <a:gd name="connsiteY153" fmla="*/ 183833 h 302895"/>
                <a:gd name="connsiteX154" fmla="*/ 335280 w 335279"/>
                <a:gd name="connsiteY154" fmla="*/ 180975 h 302895"/>
                <a:gd name="connsiteX155" fmla="*/ 335280 w 335279"/>
                <a:gd name="connsiteY155" fmla="*/ 180975 h 302895"/>
                <a:gd name="connsiteX156" fmla="*/ 335280 w 335279"/>
                <a:gd name="connsiteY156" fmla="*/ 178118 h 302895"/>
                <a:gd name="connsiteX157" fmla="*/ 335280 w 335279"/>
                <a:gd name="connsiteY157" fmla="*/ 177165 h 302895"/>
                <a:gd name="connsiteX158" fmla="*/ 335280 w 335279"/>
                <a:gd name="connsiteY158" fmla="*/ 174308 h 302895"/>
                <a:gd name="connsiteX159" fmla="*/ 335280 w 335279"/>
                <a:gd name="connsiteY159" fmla="*/ 173355 h 302895"/>
                <a:gd name="connsiteX160" fmla="*/ 335280 w 335279"/>
                <a:gd name="connsiteY160" fmla="*/ 170497 h 302895"/>
                <a:gd name="connsiteX161" fmla="*/ 335280 w 335279"/>
                <a:gd name="connsiteY161" fmla="*/ 169545 h 302895"/>
                <a:gd name="connsiteX162" fmla="*/ 335280 w 335279"/>
                <a:gd name="connsiteY162" fmla="*/ 166688 h 302895"/>
                <a:gd name="connsiteX163" fmla="*/ 335280 w 335279"/>
                <a:gd name="connsiteY163" fmla="*/ 165735 h 302895"/>
                <a:gd name="connsiteX164" fmla="*/ 335280 w 335279"/>
                <a:gd name="connsiteY164" fmla="*/ 162878 h 302895"/>
                <a:gd name="connsiteX165" fmla="*/ 335280 w 335279"/>
                <a:gd name="connsiteY165" fmla="*/ 161925 h 302895"/>
                <a:gd name="connsiteX166" fmla="*/ 335280 w 335279"/>
                <a:gd name="connsiteY166" fmla="*/ 159068 h 302895"/>
                <a:gd name="connsiteX167" fmla="*/ 335280 w 335279"/>
                <a:gd name="connsiteY167" fmla="*/ 159068 h 302895"/>
                <a:gd name="connsiteX168" fmla="*/ 335280 w 335279"/>
                <a:gd name="connsiteY168" fmla="*/ 155258 h 302895"/>
                <a:gd name="connsiteX169" fmla="*/ 335280 w 335279"/>
                <a:gd name="connsiteY169" fmla="*/ 155258 h 302895"/>
                <a:gd name="connsiteX170" fmla="*/ 335280 w 335279"/>
                <a:gd name="connsiteY170" fmla="*/ 151447 h 302895"/>
                <a:gd name="connsiteX171" fmla="*/ 335280 w 335279"/>
                <a:gd name="connsiteY171" fmla="*/ 76200 h 302895"/>
                <a:gd name="connsiteX172" fmla="*/ 335280 w 335279"/>
                <a:gd name="connsiteY172" fmla="*/ 0 h 302895"/>
                <a:gd name="connsiteX173" fmla="*/ 262890 w 335279"/>
                <a:gd name="connsiteY173" fmla="*/ 0 h 302895"/>
                <a:gd name="connsiteX174" fmla="*/ 260033 w 335279"/>
                <a:gd name="connsiteY174" fmla="*/ 0 h 3028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Lst>
              <a:rect l="l" t="t" r="r" b="b"/>
              <a:pathLst>
                <a:path w="335279" h="302895">
                  <a:moveTo>
                    <a:pt x="260033" y="0"/>
                  </a:moveTo>
                  <a:lnTo>
                    <a:pt x="115252" y="0"/>
                  </a:lnTo>
                  <a:cubicBezTo>
                    <a:pt x="107633" y="0"/>
                    <a:pt x="100013" y="953"/>
                    <a:pt x="92392" y="2858"/>
                  </a:cubicBezTo>
                  <a:lnTo>
                    <a:pt x="92392" y="2858"/>
                  </a:lnTo>
                  <a:cubicBezTo>
                    <a:pt x="90488" y="2858"/>
                    <a:pt x="88583" y="3810"/>
                    <a:pt x="86677" y="4763"/>
                  </a:cubicBezTo>
                  <a:lnTo>
                    <a:pt x="85725" y="4763"/>
                  </a:lnTo>
                  <a:lnTo>
                    <a:pt x="83820" y="5715"/>
                  </a:lnTo>
                  <a:lnTo>
                    <a:pt x="83820" y="5715"/>
                  </a:lnTo>
                  <a:lnTo>
                    <a:pt x="80963" y="5715"/>
                  </a:lnTo>
                  <a:lnTo>
                    <a:pt x="80010" y="5715"/>
                  </a:lnTo>
                  <a:lnTo>
                    <a:pt x="79058" y="5715"/>
                  </a:lnTo>
                  <a:lnTo>
                    <a:pt x="77152" y="6668"/>
                  </a:lnTo>
                  <a:lnTo>
                    <a:pt x="75248" y="7620"/>
                  </a:lnTo>
                  <a:lnTo>
                    <a:pt x="75248" y="7620"/>
                  </a:lnTo>
                  <a:lnTo>
                    <a:pt x="72390" y="8572"/>
                  </a:lnTo>
                  <a:lnTo>
                    <a:pt x="72390" y="8572"/>
                  </a:lnTo>
                  <a:lnTo>
                    <a:pt x="69533" y="9525"/>
                  </a:lnTo>
                  <a:lnTo>
                    <a:pt x="69533" y="9525"/>
                  </a:lnTo>
                  <a:lnTo>
                    <a:pt x="66675" y="10478"/>
                  </a:lnTo>
                  <a:lnTo>
                    <a:pt x="66675" y="10478"/>
                  </a:lnTo>
                  <a:lnTo>
                    <a:pt x="63817" y="12383"/>
                  </a:lnTo>
                  <a:lnTo>
                    <a:pt x="63817" y="12383"/>
                  </a:lnTo>
                  <a:lnTo>
                    <a:pt x="60960" y="14288"/>
                  </a:lnTo>
                  <a:lnTo>
                    <a:pt x="60960" y="14288"/>
                  </a:lnTo>
                  <a:lnTo>
                    <a:pt x="58102" y="16193"/>
                  </a:lnTo>
                  <a:lnTo>
                    <a:pt x="58102" y="16193"/>
                  </a:lnTo>
                  <a:lnTo>
                    <a:pt x="56198" y="18097"/>
                  </a:lnTo>
                  <a:lnTo>
                    <a:pt x="56198" y="18097"/>
                  </a:lnTo>
                  <a:lnTo>
                    <a:pt x="54292" y="20003"/>
                  </a:lnTo>
                  <a:lnTo>
                    <a:pt x="54292" y="20003"/>
                  </a:lnTo>
                  <a:lnTo>
                    <a:pt x="54292" y="20003"/>
                  </a:lnTo>
                  <a:cubicBezTo>
                    <a:pt x="51435" y="21908"/>
                    <a:pt x="47625" y="24765"/>
                    <a:pt x="44767" y="27622"/>
                  </a:cubicBezTo>
                  <a:lnTo>
                    <a:pt x="44767" y="27622"/>
                  </a:lnTo>
                  <a:lnTo>
                    <a:pt x="42863" y="28575"/>
                  </a:lnTo>
                  <a:lnTo>
                    <a:pt x="42863" y="28575"/>
                  </a:lnTo>
                  <a:lnTo>
                    <a:pt x="41910" y="29528"/>
                  </a:lnTo>
                  <a:lnTo>
                    <a:pt x="40958" y="30480"/>
                  </a:lnTo>
                  <a:lnTo>
                    <a:pt x="40005" y="31433"/>
                  </a:lnTo>
                  <a:lnTo>
                    <a:pt x="39052" y="32385"/>
                  </a:lnTo>
                  <a:lnTo>
                    <a:pt x="39052" y="32385"/>
                  </a:lnTo>
                  <a:lnTo>
                    <a:pt x="37148" y="34290"/>
                  </a:lnTo>
                  <a:lnTo>
                    <a:pt x="37148" y="34290"/>
                  </a:lnTo>
                  <a:lnTo>
                    <a:pt x="36195" y="35243"/>
                  </a:lnTo>
                  <a:lnTo>
                    <a:pt x="35242" y="36195"/>
                  </a:lnTo>
                  <a:lnTo>
                    <a:pt x="35242" y="36195"/>
                  </a:lnTo>
                  <a:lnTo>
                    <a:pt x="33338" y="38100"/>
                  </a:lnTo>
                  <a:lnTo>
                    <a:pt x="33338" y="38100"/>
                  </a:lnTo>
                  <a:lnTo>
                    <a:pt x="32385" y="39053"/>
                  </a:lnTo>
                  <a:lnTo>
                    <a:pt x="31433" y="40005"/>
                  </a:lnTo>
                  <a:lnTo>
                    <a:pt x="31433" y="40958"/>
                  </a:lnTo>
                  <a:lnTo>
                    <a:pt x="30480" y="42863"/>
                  </a:lnTo>
                  <a:lnTo>
                    <a:pt x="30480" y="42863"/>
                  </a:lnTo>
                  <a:lnTo>
                    <a:pt x="29527" y="44768"/>
                  </a:lnTo>
                  <a:lnTo>
                    <a:pt x="28575" y="45720"/>
                  </a:lnTo>
                  <a:lnTo>
                    <a:pt x="28575" y="46672"/>
                  </a:lnTo>
                  <a:lnTo>
                    <a:pt x="26670" y="48578"/>
                  </a:lnTo>
                  <a:lnTo>
                    <a:pt x="26670" y="48578"/>
                  </a:lnTo>
                  <a:lnTo>
                    <a:pt x="24765" y="51435"/>
                  </a:lnTo>
                  <a:lnTo>
                    <a:pt x="23813" y="53340"/>
                  </a:lnTo>
                  <a:lnTo>
                    <a:pt x="23813" y="54293"/>
                  </a:lnTo>
                  <a:lnTo>
                    <a:pt x="23813" y="55245"/>
                  </a:lnTo>
                  <a:cubicBezTo>
                    <a:pt x="16192" y="66675"/>
                    <a:pt x="10477" y="80010"/>
                    <a:pt x="5715" y="93345"/>
                  </a:cubicBezTo>
                  <a:lnTo>
                    <a:pt x="5715" y="94297"/>
                  </a:lnTo>
                  <a:cubicBezTo>
                    <a:pt x="4763" y="96203"/>
                    <a:pt x="4763" y="98108"/>
                    <a:pt x="3810" y="100965"/>
                  </a:cubicBezTo>
                  <a:lnTo>
                    <a:pt x="3810" y="100965"/>
                  </a:lnTo>
                  <a:cubicBezTo>
                    <a:pt x="1905" y="106680"/>
                    <a:pt x="952" y="112395"/>
                    <a:pt x="0" y="118110"/>
                  </a:cubicBezTo>
                  <a:lnTo>
                    <a:pt x="0" y="119063"/>
                  </a:lnTo>
                  <a:lnTo>
                    <a:pt x="0" y="121920"/>
                  </a:lnTo>
                  <a:lnTo>
                    <a:pt x="0" y="121920"/>
                  </a:lnTo>
                  <a:lnTo>
                    <a:pt x="0" y="124778"/>
                  </a:lnTo>
                  <a:lnTo>
                    <a:pt x="0" y="125730"/>
                  </a:lnTo>
                  <a:lnTo>
                    <a:pt x="0" y="128588"/>
                  </a:lnTo>
                  <a:lnTo>
                    <a:pt x="0" y="129540"/>
                  </a:lnTo>
                  <a:lnTo>
                    <a:pt x="0" y="132397"/>
                  </a:lnTo>
                  <a:lnTo>
                    <a:pt x="0" y="133350"/>
                  </a:lnTo>
                  <a:lnTo>
                    <a:pt x="0" y="136208"/>
                  </a:lnTo>
                  <a:lnTo>
                    <a:pt x="0" y="137160"/>
                  </a:lnTo>
                  <a:lnTo>
                    <a:pt x="0" y="140018"/>
                  </a:lnTo>
                  <a:lnTo>
                    <a:pt x="0" y="140970"/>
                  </a:lnTo>
                  <a:lnTo>
                    <a:pt x="0" y="143828"/>
                  </a:lnTo>
                  <a:lnTo>
                    <a:pt x="0" y="143828"/>
                  </a:lnTo>
                  <a:lnTo>
                    <a:pt x="0" y="147638"/>
                  </a:lnTo>
                  <a:lnTo>
                    <a:pt x="0" y="147638"/>
                  </a:lnTo>
                  <a:lnTo>
                    <a:pt x="0" y="151447"/>
                  </a:lnTo>
                  <a:lnTo>
                    <a:pt x="0" y="226695"/>
                  </a:lnTo>
                  <a:lnTo>
                    <a:pt x="0" y="302895"/>
                  </a:lnTo>
                  <a:lnTo>
                    <a:pt x="72390" y="302895"/>
                  </a:lnTo>
                  <a:cubicBezTo>
                    <a:pt x="73342" y="302895"/>
                    <a:pt x="75248" y="302895"/>
                    <a:pt x="76200" y="302895"/>
                  </a:cubicBezTo>
                  <a:lnTo>
                    <a:pt x="220980" y="302895"/>
                  </a:lnTo>
                  <a:cubicBezTo>
                    <a:pt x="228600" y="302895"/>
                    <a:pt x="236220" y="301943"/>
                    <a:pt x="243840" y="300038"/>
                  </a:cubicBezTo>
                  <a:lnTo>
                    <a:pt x="243840" y="300038"/>
                  </a:lnTo>
                  <a:cubicBezTo>
                    <a:pt x="245745" y="300038"/>
                    <a:pt x="247650" y="299085"/>
                    <a:pt x="249555" y="298133"/>
                  </a:cubicBezTo>
                  <a:lnTo>
                    <a:pt x="250508" y="298133"/>
                  </a:lnTo>
                  <a:lnTo>
                    <a:pt x="252413" y="297180"/>
                  </a:lnTo>
                  <a:lnTo>
                    <a:pt x="252413" y="297180"/>
                  </a:lnTo>
                  <a:lnTo>
                    <a:pt x="254317" y="296228"/>
                  </a:lnTo>
                  <a:lnTo>
                    <a:pt x="255270" y="296228"/>
                  </a:lnTo>
                  <a:lnTo>
                    <a:pt x="256223" y="296228"/>
                  </a:lnTo>
                  <a:lnTo>
                    <a:pt x="258127" y="295275"/>
                  </a:lnTo>
                  <a:lnTo>
                    <a:pt x="260033" y="294322"/>
                  </a:lnTo>
                  <a:lnTo>
                    <a:pt x="260033" y="294322"/>
                  </a:lnTo>
                  <a:lnTo>
                    <a:pt x="262890" y="293370"/>
                  </a:lnTo>
                  <a:lnTo>
                    <a:pt x="262890" y="293370"/>
                  </a:lnTo>
                  <a:lnTo>
                    <a:pt x="265748" y="292418"/>
                  </a:lnTo>
                  <a:lnTo>
                    <a:pt x="265748" y="292418"/>
                  </a:lnTo>
                  <a:lnTo>
                    <a:pt x="268605" y="291465"/>
                  </a:lnTo>
                  <a:lnTo>
                    <a:pt x="268605" y="291465"/>
                  </a:lnTo>
                  <a:lnTo>
                    <a:pt x="271463" y="290513"/>
                  </a:lnTo>
                  <a:lnTo>
                    <a:pt x="271463" y="290513"/>
                  </a:lnTo>
                  <a:lnTo>
                    <a:pt x="274320" y="288608"/>
                  </a:lnTo>
                  <a:lnTo>
                    <a:pt x="274320" y="288608"/>
                  </a:lnTo>
                  <a:lnTo>
                    <a:pt x="277178" y="286703"/>
                  </a:lnTo>
                  <a:lnTo>
                    <a:pt x="277178" y="286703"/>
                  </a:lnTo>
                  <a:lnTo>
                    <a:pt x="279083" y="284797"/>
                  </a:lnTo>
                  <a:lnTo>
                    <a:pt x="279083" y="284797"/>
                  </a:lnTo>
                  <a:lnTo>
                    <a:pt x="280988" y="282893"/>
                  </a:lnTo>
                  <a:lnTo>
                    <a:pt x="280988" y="282893"/>
                  </a:lnTo>
                  <a:lnTo>
                    <a:pt x="280988" y="282893"/>
                  </a:lnTo>
                  <a:cubicBezTo>
                    <a:pt x="283845" y="280988"/>
                    <a:pt x="287655" y="278130"/>
                    <a:pt x="290513" y="275272"/>
                  </a:cubicBezTo>
                  <a:lnTo>
                    <a:pt x="290513" y="275272"/>
                  </a:lnTo>
                  <a:lnTo>
                    <a:pt x="292417" y="274320"/>
                  </a:lnTo>
                  <a:lnTo>
                    <a:pt x="292417" y="274320"/>
                  </a:lnTo>
                  <a:lnTo>
                    <a:pt x="293370" y="273368"/>
                  </a:lnTo>
                  <a:lnTo>
                    <a:pt x="294323" y="272415"/>
                  </a:lnTo>
                  <a:lnTo>
                    <a:pt x="295275" y="271463"/>
                  </a:lnTo>
                  <a:lnTo>
                    <a:pt x="296228" y="270510"/>
                  </a:lnTo>
                  <a:lnTo>
                    <a:pt x="296228" y="270510"/>
                  </a:lnTo>
                  <a:lnTo>
                    <a:pt x="298133" y="268605"/>
                  </a:lnTo>
                  <a:lnTo>
                    <a:pt x="298133" y="268605"/>
                  </a:lnTo>
                  <a:lnTo>
                    <a:pt x="299085" y="267653"/>
                  </a:lnTo>
                  <a:lnTo>
                    <a:pt x="300038" y="266700"/>
                  </a:lnTo>
                  <a:lnTo>
                    <a:pt x="300038" y="266700"/>
                  </a:lnTo>
                  <a:lnTo>
                    <a:pt x="301942" y="264795"/>
                  </a:lnTo>
                  <a:lnTo>
                    <a:pt x="301942" y="264795"/>
                  </a:lnTo>
                  <a:lnTo>
                    <a:pt x="302895" y="263843"/>
                  </a:lnTo>
                  <a:lnTo>
                    <a:pt x="303848" y="262890"/>
                  </a:lnTo>
                  <a:lnTo>
                    <a:pt x="303848" y="261938"/>
                  </a:lnTo>
                  <a:lnTo>
                    <a:pt x="304800" y="260033"/>
                  </a:lnTo>
                  <a:lnTo>
                    <a:pt x="304800" y="260033"/>
                  </a:lnTo>
                  <a:lnTo>
                    <a:pt x="305753" y="258128"/>
                  </a:lnTo>
                  <a:lnTo>
                    <a:pt x="306705" y="257175"/>
                  </a:lnTo>
                  <a:lnTo>
                    <a:pt x="306705" y="256222"/>
                  </a:lnTo>
                  <a:lnTo>
                    <a:pt x="308610" y="254318"/>
                  </a:lnTo>
                  <a:lnTo>
                    <a:pt x="308610" y="254318"/>
                  </a:lnTo>
                  <a:lnTo>
                    <a:pt x="310515" y="251460"/>
                  </a:lnTo>
                  <a:lnTo>
                    <a:pt x="311467" y="249555"/>
                  </a:lnTo>
                  <a:lnTo>
                    <a:pt x="311467" y="248603"/>
                  </a:lnTo>
                  <a:lnTo>
                    <a:pt x="311467" y="247650"/>
                  </a:lnTo>
                  <a:cubicBezTo>
                    <a:pt x="319088" y="236220"/>
                    <a:pt x="324803" y="222885"/>
                    <a:pt x="329565" y="209550"/>
                  </a:cubicBezTo>
                  <a:lnTo>
                    <a:pt x="329565" y="208597"/>
                  </a:lnTo>
                  <a:cubicBezTo>
                    <a:pt x="330517" y="206693"/>
                    <a:pt x="330517" y="204788"/>
                    <a:pt x="331470" y="201930"/>
                  </a:cubicBezTo>
                  <a:lnTo>
                    <a:pt x="331470" y="201930"/>
                  </a:lnTo>
                  <a:cubicBezTo>
                    <a:pt x="333375" y="196215"/>
                    <a:pt x="334328" y="190500"/>
                    <a:pt x="335280" y="184785"/>
                  </a:cubicBezTo>
                  <a:lnTo>
                    <a:pt x="335280" y="183833"/>
                  </a:lnTo>
                  <a:lnTo>
                    <a:pt x="335280" y="180975"/>
                  </a:lnTo>
                  <a:lnTo>
                    <a:pt x="335280" y="180975"/>
                  </a:lnTo>
                  <a:lnTo>
                    <a:pt x="335280" y="178118"/>
                  </a:lnTo>
                  <a:lnTo>
                    <a:pt x="335280" y="177165"/>
                  </a:lnTo>
                  <a:lnTo>
                    <a:pt x="335280" y="174308"/>
                  </a:lnTo>
                  <a:lnTo>
                    <a:pt x="335280" y="173355"/>
                  </a:lnTo>
                  <a:lnTo>
                    <a:pt x="335280" y="170497"/>
                  </a:lnTo>
                  <a:lnTo>
                    <a:pt x="335280" y="169545"/>
                  </a:lnTo>
                  <a:lnTo>
                    <a:pt x="335280" y="166688"/>
                  </a:lnTo>
                  <a:lnTo>
                    <a:pt x="335280" y="165735"/>
                  </a:lnTo>
                  <a:lnTo>
                    <a:pt x="335280" y="162878"/>
                  </a:lnTo>
                  <a:lnTo>
                    <a:pt x="335280" y="161925"/>
                  </a:lnTo>
                  <a:lnTo>
                    <a:pt x="335280" y="159068"/>
                  </a:lnTo>
                  <a:lnTo>
                    <a:pt x="335280" y="159068"/>
                  </a:lnTo>
                  <a:lnTo>
                    <a:pt x="335280" y="155258"/>
                  </a:lnTo>
                  <a:lnTo>
                    <a:pt x="335280" y="155258"/>
                  </a:lnTo>
                  <a:lnTo>
                    <a:pt x="335280" y="151447"/>
                  </a:lnTo>
                  <a:lnTo>
                    <a:pt x="335280" y="76200"/>
                  </a:lnTo>
                  <a:lnTo>
                    <a:pt x="335280" y="0"/>
                  </a:lnTo>
                  <a:lnTo>
                    <a:pt x="262890" y="0"/>
                  </a:lnTo>
                  <a:cubicBezTo>
                    <a:pt x="262890" y="0"/>
                    <a:pt x="260985" y="0"/>
                    <a:pt x="260033" y="0"/>
                  </a:cubicBezTo>
                  <a:close/>
                </a:path>
              </a:pathLst>
            </a:custGeom>
            <a:solidFill>
              <a:schemeClr val="accent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grpSp>
        <p:nvGrpSpPr>
          <p:cNvPr id="52" name="Graphic 1">
            <a:extLst>
              <a:ext uri="{FF2B5EF4-FFF2-40B4-BE49-F238E27FC236}">
                <a16:creationId xmlns:a16="http://schemas.microsoft.com/office/drawing/2014/main" id="{F9DA1C11-784A-4F1A-82CB-5F377838BFCD}"/>
              </a:ext>
            </a:extLst>
          </p:cNvPr>
          <p:cNvGrpSpPr/>
          <p:nvPr/>
        </p:nvGrpSpPr>
        <p:grpSpPr>
          <a:xfrm>
            <a:off x="5277660" y="5264279"/>
            <a:ext cx="129210" cy="243866"/>
            <a:chOff x="1558289" y="3338512"/>
            <a:chExt cx="558164" cy="1053465"/>
          </a:xfrm>
          <a:solidFill>
            <a:schemeClr val="accent2"/>
          </a:solidFill>
        </p:grpSpPr>
        <p:sp>
          <p:nvSpPr>
            <p:cNvPr id="53" name="Freeform: Shape 142">
              <a:extLst>
                <a:ext uri="{FF2B5EF4-FFF2-40B4-BE49-F238E27FC236}">
                  <a16:creationId xmlns:a16="http://schemas.microsoft.com/office/drawing/2014/main" id="{051967B5-266A-459F-BCCF-83AD4177CFAF}"/>
                </a:ext>
              </a:extLst>
            </p:cNvPr>
            <p:cNvSpPr/>
            <p:nvPr/>
          </p:nvSpPr>
          <p:spPr>
            <a:xfrm>
              <a:off x="1558289" y="3338512"/>
              <a:ext cx="558164" cy="781050"/>
            </a:xfrm>
            <a:custGeom>
              <a:avLst/>
              <a:gdLst>
                <a:gd name="connsiteX0" fmla="*/ 558165 w 558164"/>
                <a:gd name="connsiteY0" fmla="*/ 503872 h 781050"/>
                <a:gd name="connsiteX1" fmla="*/ 304800 w 558164"/>
                <a:gd name="connsiteY1" fmla="*/ 781050 h 781050"/>
                <a:gd name="connsiteX2" fmla="*/ 304800 w 558164"/>
                <a:gd name="connsiteY2" fmla="*/ 702945 h 781050"/>
                <a:gd name="connsiteX3" fmla="*/ 426720 w 558164"/>
                <a:gd name="connsiteY3" fmla="*/ 549593 h 781050"/>
                <a:gd name="connsiteX4" fmla="*/ 386715 w 558164"/>
                <a:gd name="connsiteY4" fmla="*/ 518160 h 781050"/>
                <a:gd name="connsiteX5" fmla="*/ 303848 w 558164"/>
                <a:gd name="connsiteY5" fmla="*/ 621982 h 781050"/>
                <a:gd name="connsiteX6" fmla="*/ 303848 w 558164"/>
                <a:gd name="connsiteY6" fmla="*/ 347663 h 781050"/>
                <a:gd name="connsiteX7" fmla="*/ 253365 w 558164"/>
                <a:gd name="connsiteY7" fmla="*/ 347663 h 781050"/>
                <a:gd name="connsiteX8" fmla="*/ 253365 w 558164"/>
                <a:gd name="connsiteY8" fmla="*/ 461010 h 781050"/>
                <a:gd name="connsiteX9" fmla="*/ 213360 w 558164"/>
                <a:gd name="connsiteY9" fmla="*/ 406718 h 781050"/>
                <a:gd name="connsiteX10" fmla="*/ 172403 w 558164"/>
                <a:gd name="connsiteY10" fmla="*/ 436245 h 781050"/>
                <a:gd name="connsiteX11" fmla="*/ 253365 w 558164"/>
                <a:gd name="connsiteY11" fmla="*/ 546735 h 781050"/>
                <a:gd name="connsiteX12" fmla="*/ 253365 w 558164"/>
                <a:gd name="connsiteY12" fmla="*/ 781050 h 781050"/>
                <a:gd name="connsiteX13" fmla="*/ 0 w 558164"/>
                <a:gd name="connsiteY13" fmla="*/ 503872 h 781050"/>
                <a:gd name="connsiteX14" fmla="*/ 258128 w 558164"/>
                <a:gd name="connsiteY14" fmla="*/ 25717 h 781050"/>
                <a:gd name="connsiteX15" fmla="*/ 278130 w 558164"/>
                <a:gd name="connsiteY15" fmla="*/ 0 h 781050"/>
                <a:gd name="connsiteX16" fmla="*/ 298133 w 558164"/>
                <a:gd name="connsiteY16" fmla="*/ 25717 h 781050"/>
                <a:gd name="connsiteX17" fmla="*/ 558165 w 558164"/>
                <a:gd name="connsiteY17" fmla="*/ 503872 h 781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58164" h="781050">
                  <a:moveTo>
                    <a:pt x="558165" y="503872"/>
                  </a:moveTo>
                  <a:cubicBezTo>
                    <a:pt x="558165" y="648653"/>
                    <a:pt x="446723" y="768668"/>
                    <a:pt x="304800" y="781050"/>
                  </a:cubicBezTo>
                  <a:lnTo>
                    <a:pt x="304800" y="702945"/>
                  </a:lnTo>
                  <a:lnTo>
                    <a:pt x="426720" y="549593"/>
                  </a:lnTo>
                  <a:lnTo>
                    <a:pt x="386715" y="518160"/>
                  </a:lnTo>
                  <a:lnTo>
                    <a:pt x="303848" y="621982"/>
                  </a:lnTo>
                  <a:lnTo>
                    <a:pt x="303848" y="347663"/>
                  </a:lnTo>
                  <a:lnTo>
                    <a:pt x="253365" y="347663"/>
                  </a:lnTo>
                  <a:lnTo>
                    <a:pt x="253365" y="461010"/>
                  </a:lnTo>
                  <a:lnTo>
                    <a:pt x="213360" y="406718"/>
                  </a:lnTo>
                  <a:lnTo>
                    <a:pt x="172403" y="436245"/>
                  </a:lnTo>
                  <a:lnTo>
                    <a:pt x="253365" y="546735"/>
                  </a:lnTo>
                  <a:lnTo>
                    <a:pt x="253365" y="781050"/>
                  </a:lnTo>
                  <a:cubicBezTo>
                    <a:pt x="111442" y="768668"/>
                    <a:pt x="0" y="648653"/>
                    <a:pt x="0" y="503872"/>
                  </a:cubicBezTo>
                  <a:cubicBezTo>
                    <a:pt x="0" y="357188"/>
                    <a:pt x="247650" y="39053"/>
                    <a:pt x="258128" y="25717"/>
                  </a:cubicBezTo>
                  <a:lnTo>
                    <a:pt x="278130" y="0"/>
                  </a:lnTo>
                  <a:lnTo>
                    <a:pt x="298133" y="25717"/>
                  </a:lnTo>
                  <a:cubicBezTo>
                    <a:pt x="309562" y="40005"/>
                    <a:pt x="558165" y="357188"/>
                    <a:pt x="558165" y="503872"/>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54" name="Freeform: Shape 143">
              <a:extLst>
                <a:ext uri="{FF2B5EF4-FFF2-40B4-BE49-F238E27FC236}">
                  <a16:creationId xmlns:a16="http://schemas.microsoft.com/office/drawing/2014/main" id="{25731EB7-1457-4C20-9DBB-9D3AB16D0391}"/>
                </a:ext>
              </a:extLst>
            </p:cNvPr>
            <p:cNvSpPr/>
            <p:nvPr/>
          </p:nvSpPr>
          <p:spPr>
            <a:xfrm>
              <a:off x="1812606" y="4119562"/>
              <a:ext cx="50482" cy="272415"/>
            </a:xfrm>
            <a:custGeom>
              <a:avLst/>
              <a:gdLst>
                <a:gd name="connsiteX0" fmla="*/ 50482 w 50482"/>
                <a:gd name="connsiteY0" fmla="*/ 0 h 272415"/>
                <a:gd name="connsiteX1" fmla="*/ 50482 w 50482"/>
                <a:gd name="connsiteY1" fmla="*/ 272415 h 272415"/>
                <a:gd name="connsiteX2" fmla="*/ 0 w 50482"/>
                <a:gd name="connsiteY2" fmla="*/ 272415 h 272415"/>
                <a:gd name="connsiteX3" fmla="*/ 0 w 50482"/>
                <a:gd name="connsiteY3" fmla="*/ 0 h 272415"/>
                <a:gd name="connsiteX4" fmla="*/ 25718 w 50482"/>
                <a:gd name="connsiteY4" fmla="*/ 953 h 272415"/>
                <a:gd name="connsiteX5" fmla="*/ 50482 w 50482"/>
                <a:gd name="connsiteY5" fmla="*/ 0 h 2724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482" h="272415">
                  <a:moveTo>
                    <a:pt x="50482" y="0"/>
                  </a:moveTo>
                  <a:lnTo>
                    <a:pt x="50482" y="272415"/>
                  </a:lnTo>
                  <a:lnTo>
                    <a:pt x="0" y="272415"/>
                  </a:lnTo>
                  <a:lnTo>
                    <a:pt x="0" y="0"/>
                  </a:lnTo>
                  <a:cubicBezTo>
                    <a:pt x="8573" y="953"/>
                    <a:pt x="17145" y="953"/>
                    <a:pt x="25718" y="953"/>
                  </a:cubicBezTo>
                  <a:cubicBezTo>
                    <a:pt x="33338" y="1905"/>
                    <a:pt x="41910" y="953"/>
                    <a:pt x="50482" y="0"/>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grpSp>
        <p:nvGrpSpPr>
          <p:cNvPr id="55" name="Graphic 1">
            <a:extLst>
              <a:ext uri="{FF2B5EF4-FFF2-40B4-BE49-F238E27FC236}">
                <a16:creationId xmlns:a16="http://schemas.microsoft.com/office/drawing/2014/main" id="{663D6B2D-C41B-459C-BA0A-77E7D401B33A}"/>
              </a:ext>
            </a:extLst>
          </p:cNvPr>
          <p:cNvGrpSpPr/>
          <p:nvPr/>
        </p:nvGrpSpPr>
        <p:grpSpPr>
          <a:xfrm>
            <a:off x="6724602" y="4611887"/>
            <a:ext cx="250262" cy="200872"/>
            <a:chOff x="6348412" y="2426970"/>
            <a:chExt cx="1081087" cy="867727"/>
          </a:xfrm>
          <a:solidFill>
            <a:schemeClr val="accent3"/>
          </a:solidFill>
        </p:grpSpPr>
        <p:grpSp>
          <p:nvGrpSpPr>
            <p:cNvPr id="56" name="Graphic 1">
              <a:extLst>
                <a:ext uri="{FF2B5EF4-FFF2-40B4-BE49-F238E27FC236}">
                  <a16:creationId xmlns:a16="http://schemas.microsoft.com/office/drawing/2014/main" id="{EC7FB01A-10B5-4E90-8C03-E394A64D8137}"/>
                </a:ext>
              </a:extLst>
            </p:cNvPr>
            <p:cNvGrpSpPr/>
            <p:nvPr/>
          </p:nvGrpSpPr>
          <p:grpSpPr>
            <a:xfrm>
              <a:off x="6348412" y="2426970"/>
              <a:ext cx="1081087" cy="529589"/>
              <a:chOff x="6348412" y="2426970"/>
              <a:chExt cx="1081087" cy="529589"/>
            </a:xfrm>
            <a:grpFill/>
          </p:grpSpPr>
          <p:sp>
            <p:nvSpPr>
              <p:cNvPr id="58" name="Freeform: Shape 147">
                <a:extLst>
                  <a:ext uri="{FF2B5EF4-FFF2-40B4-BE49-F238E27FC236}">
                    <a16:creationId xmlns:a16="http://schemas.microsoft.com/office/drawing/2014/main" id="{A0EB03E4-6045-488F-9C10-A140252D6608}"/>
                  </a:ext>
                </a:extLst>
              </p:cNvPr>
              <p:cNvSpPr/>
              <p:nvPr/>
            </p:nvSpPr>
            <p:spPr>
              <a:xfrm>
                <a:off x="6348412" y="2426970"/>
                <a:ext cx="463867" cy="333375"/>
              </a:xfrm>
              <a:custGeom>
                <a:avLst/>
                <a:gdLst>
                  <a:gd name="connsiteX0" fmla="*/ 442913 w 463867"/>
                  <a:gd name="connsiteY0" fmla="*/ 189547 h 333375"/>
                  <a:gd name="connsiteX1" fmla="*/ 462915 w 463867"/>
                  <a:gd name="connsiteY1" fmla="*/ 194310 h 333375"/>
                  <a:gd name="connsiteX2" fmla="*/ 299085 w 463867"/>
                  <a:gd name="connsiteY2" fmla="*/ 333375 h 333375"/>
                  <a:gd name="connsiteX3" fmla="*/ 22860 w 463867"/>
                  <a:gd name="connsiteY3" fmla="*/ 184785 h 333375"/>
                  <a:gd name="connsiteX4" fmla="*/ 0 w 463867"/>
                  <a:gd name="connsiteY4" fmla="*/ 166688 h 333375"/>
                  <a:gd name="connsiteX5" fmla="*/ 22860 w 463867"/>
                  <a:gd name="connsiteY5" fmla="*/ 148590 h 333375"/>
                  <a:gd name="connsiteX6" fmla="*/ 299085 w 463867"/>
                  <a:gd name="connsiteY6" fmla="*/ 0 h 333375"/>
                  <a:gd name="connsiteX7" fmla="*/ 463868 w 463867"/>
                  <a:gd name="connsiteY7" fmla="*/ 146685 h 333375"/>
                  <a:gd name="connsiteX8" fmla="*/ 442913 w 463867"/>
                  <a:gd name="connsiteY8" fmla="*/ 143827 h 333375"/>
                  <a:gd name="connsiteX9" fmla="*/ 293370 w 463867"/>
                  <a:gd name="connsiteY9" fmla="*/ 143827 h 333375"/>
                  <a:gd name="connsiteX10" fmla="*/ 293370 w 463867"/>
                  <a:gd name="connsiteY10" fmla="*/ 189547 h 333375"/>
                  <a:gd name="connsiteX11" fmla="*/ 442913 w 463867"/>
                  <a:gd name="connsiteY11" fmla="*/ 189547 h 333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63867" h="333375">
                    <a:moveTo>
                      <a:pt x="442913" y="189547"/>
                    </a:moveTo>
                    <a:cubicBezTo>
                      <a:pt x="450532" y="189547"/>
                      <a:pt x="457200" y="191452"/>
                      <a:pt x="462915" y="194310"/>
                    </a:cubicBezTo>
                    <a:cubicBezTo>
                      <a:pt x="449580" y="273367"/>
                      <a:pt x="381000" y="333375"/>
                      <a:pt x="299085" y="333375"/>
                    </a:cubicBezTo>
                    <a:cubicBezTo>
                      <a:pt x="214313" y="333375"/>
                      <a:pt x="41910" y="200025"/>
                      <a:pt x="22860" y="184785"/>
                    </a:cubicBezTo>
                    <a:lnTo>
                      <a:pt x="0" y="166688"/>
                    </a:lnTo>
                    <a:lnTo>
                      <a:pt x="22860" y="148590"/>
                    </a:lnTo>
                    <a:cubicBezTo>
                      <a:pt x="41910" y="133350"/>
                      <a:pt x="215265" y="0"/>
                      <a:pt x="299085" y="0"/>
                    </a:cubicBezTo>
                    <a:cubicBezTo>
                      <a:pt x="383857" y="0"/>
                      <a:pt x="454343" y="63817"/>
                      <a:pt x="463868" y="146685"/>
                    </a:cubicBezTo>
                    <a:cubicBezTo>
                      <a:pt x="457200" y="144780"/>
                      <a:pt x="449580" y="143827"/>
                      <a:pt x="442913" y="143827"/>
                    </a:cubicBezTo>
                    <a:lnTo>
                      <a:pt x="293370" y="143827"/>
                    </a:lnTo>
                    <a:lnTo>
                      <a:pt x="293370" y="189547"/>
                    </a:lnTo>
                    <a:lnTo>
                      <a:pt x="442913" y="189547"/>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59" name="Freeform: Shape 148">
                <a:extLst>
                  <a:ext uri="{FF2B5EF4-FFF2-40B4-BE49-F238E27FC236}">
                    <a16:creationId xmlns:a16="http://schemas.microsoft.com/office/drawing/2014/main" id="{523EAFB9-8E5C-431D-848A-9C8FE10F057E}"/>
                  </a:ext>
                </a:extLst>
              </p:cNvPr>
              <p:cNvSpPr/>
              <p:nvPr/>
            </p:nvSpPr>
            <p:spPr>
              <a:xfrm>
                <a:off x="7052309" y="2685097"/>
                <a:ext cx="377189" cy="271462"/>
              </a:xfrm>
              <a:custGeom>
                <a:avLst/>
                <a:gdLst>
                  <a:gd name="connsiteX0" fmla="*/ 377190 w 377189"/>
                  <a:gd name="connsiteY0" fmla="*/ 135255 h 271462"/>
                  <a:gd name="connsiteX1" fmla="*/ 354330 w 377189"/>
                  <a:gd name="connsiteY1" fmla="*/ 153353 h 271462"/>
                  <a:gd name="connsiteX2" fmla="*/ 133350 w 377189"/>
                  <a:gd name="connsiteY2" fmla="*/ 271463 h 271462"/>
                  <a:gd name="connsiteX3" fmla="*/ 0 w 377189"/>
                  <a:gd name="connsiteY3" fmla="*/ 160973 h 271462"/>
                  <a:gd name="connsiteX4" fmla="*/ 28575 w 377189"/>
                  <a:gd name="connsiteY4" fmla="*/ 158115 h 271462"/>
                  <a:gd name="connsiteX5" fmla="*/ 155257 w 377189"/>
                  <a:gd name="connsiteY5" fmla="*/ 158115 h 271462"/>
                  <a:gd name="connsiteX6" fmla="*/ 155257 w 377189"/>
                  <a:gd name="connsiteY6" fmla="*/ 112395 h 271462"/>
                  <a:gd name="connsiteX7" fmla="*/ 29527 w 377189"/>
                  <a:gd name="connsiteY7" fmla="*/ 112395 h 271462"/>
                  <a:gd name="connsiteX8" fmla="*/ 0 w 377189"/>
                  <a:gd name="connsiteY8" fmla="*/ 115253 h 271462"/>
                  <a:gd name="connsiteX9" fmla="*/ 134302 w 377189"/>
                  <a:gd name="connsiteY9" fmla="*/ 0 h 271462"/>
                  <a:gd name="connsiteX10" fmla="*/ 355282 w 377189"/>
                  <a:gd name="connsiteY10" fmla="*/ 118110 h 271462"/>
                  <a:gd name="connsiteX11" fmla="*/ 377190 w 377189"/>
                  <a:gd name="connsiteY11" fmla="*/ 135255 h 2714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77189" h="271462">
                    <a:moveTo>
                      <a:pt x="377190" y="135255"/>
                    </a:moveTo>
                    <a:lnTo>
                      <a:pt x="354330" y="153353"/>
                    </a:lnTo>
                    <a:cubicBezTo>
                      <a:pt x="339090" y="165735"/>
                      <a:pt x="201930" y="271463"/>
                      <a:pt x="133350" y="271463"/>
                    </a:cubicBezTo>
                    <a:cubicBezTo>
                      <a:pt x="67627" y="271463"/>
                      <a:pt x="12382" y="223838"/>
                      <a:pt x="0" y="160973"/>
                    </a:cubicBezTo>
                    <a:cubicBezTo>
                      <a:pt x="8572" y="159068"/>
                      <a:pt x="18097" y="158115"/>
                      <a:pt x="28575" y="158115"/>
                    </a:cubicBezTo>
                    <a:lnTo>
                      <a:pt x="155257" y="158115"/>
                    </a:lnTo>
                    <a:lnTo>
                      <a:pt x="155257" y="112395"/>
                    </a:lnTo>
                    <a:lnTo>
                      <a:pt x="29527" y="112395"/>
                    </a:lnTo>
                    <a:cubicBezTo>
                      <a:pt x="19050" y="112395"/>
                      <a:pt x="9525" y="113348"/>
                      <a:pt x="0" y="115253"/>
                    </a:cubicBezTo>
                    <a:cubicBezTo>
                      <a:pt x="9525" y="49530"/>
                      <a:pt x="66675" y="0"/>
                      <a:pt x="134302" y="0"/>
                    </a:cubicBezTo>
                    <a:cubicBezTo>
                      <a:pt x="202882" y="0"/>
                      <a:pt x="340042" y="105728"/>
                      <a:pt x="355282" y="118110"/>
                    </a:cubicBezTo>
                    <a:lnTo>
                      <a:pt x="377190" y="135255"/>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sp>
          <p:nvSpPr>
            <p:cNvPr id="57" name="Freeform: Shape 146">
              <a:extLst>
                <a:ext uri="{FF2B5EF4-FFF2-40B4-BE49-F238E27FC236}">
                  <a16:creationId xmlns:a16="http://schemas.microsoft.com/office/drawing/2014/main" id="{35AA435E-19F3-4E74-9B09-B3CEB708AA7D}"/>
                </a:ext>
              </a:extLst>
            </p:cNvPr>
            <p:cNvSpPr/>
            <p:nvPr/>
          </p:nvSpPr>
          <p:spPr>
            <a:xfrm>
              <a:off x="6679881" y="2572702"/>
              <a:ext cx="498157" cy="721994"/>
            </a:xfrm>
            <a:custGeom>
              <a:avLst/>
              <a:gdLst>
                <a:gd name="connsiteX0" fmla="*/ 272415 w 498157"/>
                <a:gd name="connsiteY0" fmla="*/ 452438 h 721994"/>
                <a:gd name="connsiteX1" fmla="*/ 324803 w 498157"/>
                <a:gd name="connsiteY1" fmla="*/ 300990 h 721994"/>
                <a:gd name="connsiteX2" fmla="*/ 373380 w 498157"/>
                <a:gd name="connsiteY2" fmla="*/ 273367 h 721994"/>
                <a:gd name="connsiteX3" fmla="*/ 370523 w 498157"/>
                <a:gd name="connsiteY3" fmla="*/ 247650 h 721994"/>
                <a:gd name="connsiteX4" fmla="*/ 372428 w 498157"/>
                <a:gd name="connsiteY4" fmla="*/ 227647 h 721994"/>
                <a:gd name="connsiteX5" fmla="*/ 292418 w 498157"/>
                <a:gd name="connsiteY5" fmla="*/ 269557 h 721994"/>
                <a:gd name="connsiteX6" fmla="*/ 265748 w 498157"/>
                <a:gd name="connsiteY6" fmla="*/ 304800 h 721994"/>
                <a:gd name="connsiteX7" fmla="*/ 181928 w 498157"/>
                <a:gd name="connsiteY7" fmla="*/ 29527 h 721994"/>
                <a:gd name="connsiteX8" fmla="*/ 132398 w 498157"/>
                <a:gd name="connsiteY8" fmla="*/ 0 h 721994"/>
                <a:gd name="connsiteX9" fmla="*/ 133350 w 498157"/>
                <a:gd name="connsiteY9" fmla="*/ 20002 h 721994"/>
                <a:gd name="connsiteX10" fmla="*/ 131445 w 498157"/>
                <a:gd name="connsiteY10" fmla="*/ 47625 h 721994"/>
                <a:gd name="connsiteX11" fmla="*/ 149543 w 498157"/>
                <a:gd name="connsiteY11" fmla="*/ 60960 h 721994"/>
                <a:gd name="connsiteX12" fmla="*/ 226695 w 498157"/>
                <a:gd name="connsiteY12" fmla="*/ 451485 h 721994"/>
                <a:gd name="connsiteX13" fmla="*/ 0 w 498157"/>
                <a:gd name="connsiteY13" fmla="*/ 699135 h 721994"/>
                <a:gd name="connsiteX14" fmla="*/ 0 w 498157"/>
                <a:gd name="connsiteY14" fmla="*/ 721995 h 721994"/>
                <a:gd name="connsiteX15" fmla="*/ 498157 w 498157"/>
                <a:gd name="connsiteY15" fmla="*/ 721995 h 721994"/>
                <a:gd name="connsiteX16" fmla="*/ 498157 w 498157"/>
                <a:gd name="connsiteY16" fmla="*/ 699135 h 721994"/>
                <a:gd name="connsiteX17" fmla="*/ 272415 w 498157"/>
                <a:gd name="connsiteY17" fmla="*/ 452438 h 721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98157" h="721994">
                  <a:moveTo>
                    <a:pt x="272415" y="452438"/>
                  </a:moveTo>
                  <a:cubicBezTo>
                    <a:pt x="274320" y="416242"/>
                    <a:pt x="283845" y="342900"/>
                    <a:pt x="324803" y="300990"/>
                  </a:cubicBezTo>
                  <a:cubicBezTo>
                    <a:pt x="339090" y="286702"/>
                    <a:pt x="354330" y="277177"/>
                    <a:pt x="373380" y="273367"/>
                  </a:cubicBezTo>
                  <a:cubicBezTo>
                    <a:pt x="371475" y="264795"/>
                    <a:pt x="370523" y="256222"/>
                    <a:pt x="370523" y="247650"/>
                  </a:cubicBezTo>
                  <a:cubicBezTo>
                    <a:pt x="370523" y="240982"/>
                    <a:pt x="371475" y="234315"/>
                    <a:pt x="372428" y="227647"/>
                  </a:cubicBezTo>
                  <a:cubicBezTo>
                    <a:pt x="340995" y="233363"/>
                    <a:pt x="314325" y="247650"/>
                    <a:pt x="292418" y="269557"/>
                  </a:cubicBezTo>
                  <a:cubicBezTo>
                    <a:pt x="281940" y="280035"/>
                    <a:pt x="273368" y="292417"/>
                    <a:pt x="265748" y="304800"/>
                  </a:cubicBezTo>
                  <a:cubicBezTo>
                    <a:pt x="256223" y="202882"/>
                    <a:pt x="234315" y="83820"/>
                    <a:pt x="181928" y="29527"/>
                  </a:cubicBezTo>
                  <a:cubicBezTo>
                    <a:pt x="167640" y="14288"/>
                    <a:pt x="150495" y="4763"/>
                    <a:pt x="132398" y="0"/>
                  </a:cubicBezTo>
                  <a:cubicBezTo>
                    <a:pt x="133350" y="6667"/>
                    <a:pt x="133350" y="13335"/>
                    <a:pt x="133350" y="20002"/>
                  </a:cubicBezTo>
                  <a:cubicBezTo>
                    <a:pt x="133350" y="29527"/>
                    <a:pt x="132398" y="38100"/>
                    <a:pt x="131445" y="47625"/>
                  </a:cubicBezTo>
                  <a:cubicBezTo>
                    <a:pt x="137160" y="50482"/>
                    <a:pt x="143828" y="55245"/>
                    <a:pt x="149543" y="60960"/>
                  </a:cubicBezTo>
                  <a:cubicBezTo>
                    <a:pt x="214313" y="127635"/>
                    <a:pt x="227648" y="348615"/>
                    <a:pt x="226695" y="451485"/>
                  </a:cubicBezTo>
                  <a:cubicBezTo>
                    <a:pt x="100013" y="462915"/>
                    <a:pt x="0" y="569595"/>
                    <a:pt x="0" y="699135"/>
                  </a:cubicBezTo>
                  <a:lnTo>
                    <a:pt x="0" y="721995"/>
                  </a:lnTo>
                  <a:lnTo>
                    <a:pt x="498157" y="721995"/>
                  </a:lnTo>
                  <a:lnTo>
                    <a:pt x="498157" y="699135"/>
                  </a:lnTo>
                  <a:cubicBezTo>
                    <a:pt x="498157" y="571500"/>
                    <a:pt x="398145" y="464820"/>
                    <a:pt x="272415" y="45243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grpSp>
        <p:nvGrpSpPr>
          <p:cNvPr id="60" name="Group 9">
            <a:extLst>
              <a:ext uri="{FF2B5EF4-FFF2-40B4-BE49-F238E27FC236}">
                <a16:creationId xmlns:a16="http://schemas.microsoft.com/office/drawing/2014/main" id="{B9247CE7-31A1-4EBB-B6CB-077AF6FCBBD0}"/>
              </a:ext>
            </a:extLst>
          </p:cNvPr>
          <p:cNvGrpSpPr/>
          <p:nvPr/>
        </p:nvGrpSpPr>
        <p:grpSpPr>
          <a:xfrm>
            <a:off x="5977829" y="4973150"/>
            <a:ext cx="2072767" cy="2287753"/>
            <a:chOff x="5977829" y="4973150"/>
            <a:chExt cx="2072767" cy="2287753"/>
          </a:xfrm>
        </p:grpSpPr>
        <p:sp>
          <p:nvSpPr>
            <p:cNvPr id="61" name="Freeform: Shape 112">
              <a:extLst>
                <a:ext uri="{FF2B5EF4-FFF2-40B4-BE49-F238E27FC236}">
                  <a16:creationId xmlns:a16="http://schemas.microsoft.com/office/drawing/2014/main" id="{D4B4DC52-BDA9-4667-9799-1F4E82FB579E}"/>
                </a:ext>
              </a:extLst>
            </p:cNvPr>
            <p:cNvSpPr/>
            <p:nvPr/>
          </p:nvSpPr>
          <p:spPr>
            <a:xfrm>
              <a:off x="6565487" y="5780113"/>
              <a:ext cx="568493" cy="502488"/>
            </a:xfrm>
            <a:custGeom>
              <a:avLst/>
              <a:gdLst>
                <a:gd name="connsiteX0" fmla="*/ 112395 w 508634"/>
                <a:gd name="connsiteY0" fmla="*/ 449580 h 449579"/>
                <a:gd name="connsiteX1" fmla="*/ 326707 w 508634"/>
                <a:gd name="connsiteY1" fmla="*/ 449580 h 449579"/>
                <a:gd name="connsiteX2" fmla="*/ 508635 w 508634"/>
                <a:gd name="connsiteY2" fmla="*/ 224790 h 449579"/>
                <a:gd name="connsiteX3" fmla="*/ 508635 w 508634"/>
                <a:gd name="connsiteY3" fmla="*/ 0 h 449579"/>
                <a:gd name="connsiteX4" fmla="*/ 170497 w 508634"/>
                <a:gd name="connsiteY4" fmla="*/ 952 h 449579"/>
                <a:gd name="connsiteX5" fmla="*/ 0 w 508634"/>
                <a:gd name="connsiteY5" fmla="*/ 224790 h 449579"/>
                <a:gd name="connsiteX6" fmla="*/ 0 w 508634"/>
                <a:gd name="connsiteY6" fmla="*/ 336232 h 449579"/>
                <a:gd name="connsiteX7" fmla="*/ 112395 w 508634"/>
                <a:gd name="connsiteY7" fmla="*/ 449580 h 449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8634" h="449579">
                  <a:moveTo>
                    <a:pt x="112395" y="449580"/>
                  </a:moveTo>
                  <a:lnTo>
                    <a:pt x="326707" y="449580"/>
                  </a:lnTo>
                  <a:cubicBezTo>
                    <a:pt x="426720" y="449580"/>
                    <a:pt x="508635" y="348615"/>
                    <a:pt x="508635" y="224790"/>
                  </a:cubicBezTo>
                  <a:lnTo>
                    <a:pt x="508635" y="0"/>
                  </a:lnTo>
                  <a:lnTo>
                    <a:pt x="170497" y="952"/>
                  </a:lnTo>
                  <a:cubicBezTo>
                    <a:pt x="75247" y="8572"/>
                    <a:pt x="0" y="106680"/>
                    <a:pt x="0" y="224790"/>
                  </a:cubicBezTo>
                  <a:lnTo>
                    <a:pt x="0" y="336232"/>
                  </a:lnTo>
                  <a:cubicBezTo>
                    <a:pt x="0" y="398145"/>
                    <a:pt x="50482" y="449580"/>
                    <a:pt x="112395" y="449580"/>
                  </a:cubicBezTo>
                  <a:close/>
                </a:path>
              </a:pathLst>
            </a:custGeom>
            <a:solidFill>
              <a:schemeClr val="accent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62" name="Freeform: Shape 90">
              <a:extLst>
                <a:ext uri="{FF2B5EF4-FFF2-40B4-BE49-F238E27FC236}">
                  <a16:creationId xmlns:a16="http://schemas.microsoft.com/office/drawing/2014/main" id="{F39EBB85-D099-4BF1-B21B-F61171C8CFC8}"/>
                </a:ext>
              </a:extLst>
            </p:cNvPr>
            <p:cNvSpPr/>
            <p:nvPr/>
          </p:nvSpPr>
          <p:spPr>
            <a:xfrm>
              <a:off x="5977829" y="5888701"/>
              <a:ext cx="1056079" cy="1372202"/>
            </a:xfrm>
            <a:custGeom>
              <a:avLst/>
              <a:gdLst>
                <a:gd name="connsiteX0" fmla="*/ 106680 w 944880"/>
                <a:gd name="connsiteY0" fmla="*/ 427672 h 1227718"/>
                <a:gd name="connsiteX1" fmla="*/ 824865 w 944880"/>
                <a:gd name="connsiteY1" fmla="*/ 60960 h 1227718"/>
                <a:gd name="connsiteX2" fmla="*/ 944880 w 944880"/>
                <a:gd name="connsiteY2" fmla="*/ 0 h 1227718"/>
                <a:gd name="connsiteX3" fmla="*/ 944880 w 944880"/>
                <a:gd name="connsiteY3" fmla="*/ 148590 h 1227718"/>
                <a:gd name="connsiteX4" fmla="*/ 167640 w 944880"/>
                <a:gd name="connsiteY4" fmla="*/ 545783 h 1227718"/>
                <a:gd name="connsiteX5" fmla="*/ 133350 w 944880"/>
                <a:gd name="connsiteY5" fmla="*/ 615315 h 1227718"/>
                <a:gd name="connsiteX6" fmla="*/ 133350 w 944880"/>
                <a:gd name="connsiteY6" fmla="*/ 872490 h 1227718"/>
                <a:gd name="connsiteX7" fmla="*/ 133350 w 944880"/>
                <a:gd name="connsiteY7" fmla="*/ 1055370 h 1227718"/>
                <a:gd name="connsiteX8" fmla="*/ 133350 w 944880"/>
                <a:gd name="connsiteY8" fmla="*/ 1203960 h 1227718"/>
                <a:gd name="connsiteX9" fmla="*/ 106680 w 944880"/>
                <a:gd name="connsiteY9" fmla="*/ 1217295 h 1227718"/>
                <a:gd name="connsiteX10" fmla="*/ 0 w 944880"/>
                <a:gd name="connsiteY10" fmla="*/ 1137285 h 1227718"/>
                <a:gd name="connsiteX11" fmla="*/ 0 w 944880"/>
                <a:gd name="connsiteY11" fmla="*/ 614363 h 1227718"/>
                <a:gd name="connsiteX12" fmla="*/ 106680 w 944880"/>
                <a:gd name="connsiteY12" fmla="*/ 427672 h 12277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44880" h="1227718">
                  <a:moveTo>
                    <a:pt x="106680" y="427672"/>
                  </a:moveTo>
                  <a:lnTo>
                    <a:pt x="824865" y="60960"/>
                  </a:lnTo>
                  <a:lnTo>
                    <a:pt x="944880" y="0"/>
                  </a:lnTo>
                  <a:lnTo>
                    <a:pt x="944880" y="148590"/>
                  </a:lnTo>
                  <a:lnTo>
                    <a:pt x="167640" y="545783"/>
                  </a:lnTo>
                  <a:cubicBezTo>
                    <a:pt x="150495" y="556260"/>
                    <a:pt x="133350" y="595313"/>
                    <a:pt x="133350" y="615315"/>
                  </a:cubicBezTo>
                  <a:lnTo>
                    <a:pt x="133350" y="872490"/>
                  </a:lnTo>
                  <a:lnTo>
                    <a:pt x="133350" y="1055370"/>
                  </a:lnTo>
                  <a:lnTo>
                    <a:pt x="133350" y="1203960"/>
                  </a:lnTo>
                  <a:lnTo>
                    <a:pt x="106680" y="1217295"/>
                  </a:lnTo>
                  <a:cubicBezTo>
                    <a:pt x="48578" y="1246823"/>
                    <a:pt x="0" y="1211580"/>
                    <a:pt x="0" y="1137285"/>
                  </a:cubicBezTo>
                  <a:lnTo>
                    <a:pt x="0" y="614363"/>
                  </a:lnTo>
                  <a:cubicBezTo>
                    <a:pt x="0" y="541972"/>
                    <a:pt x="47625" y="457200"/>
                    <a:pt x="106680" y="427672"/>
                  </a:cubicBezTo>
                  <a:close/>
                </a:path>
              </a:pathLst>
            </a:custGeom>
            <a:solidFill>
              <a:schemeClr val="accent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63" name="Freeform: Shape 111">
              <a:extLst>
                <a:ext uri="{FF2B5EF4-FFF2-40B4-BE49-F238E27FC236}">
                  <a16:creationId xmlns:a16="http://schemas.microsoft.com/office/drawing/2014/main" id="{A6032A08-4415-4D8E-B0FE-185387B18E9B}"/>
                </a:ext>
              </a:extLst>
            </p:cNvPr>
            <p:cNvSpPr/>
            <p:nvPr/>
          </p:nvSpPr>
          <p:spPr>
            <a:xfrm>
              <a:off x="7170176" y="4973150"/>
              <a:ext cx="880420" cy="775025"/>
            </a:xfrm>
            <a:custGeom>
              <a:avLst/>
              <a:gdLst>
                <a:gd name="connsiteX0" fmla="*/ 613410 w 787717"/>
                <a:gd name="connsiteY0" fmla="*/ 0 h 693420"/>
                <a:gd name="connsiteX1" fmla="*/ 281940 w 787717"/>
                <a:gd name="connsiteY1" fmla="*/ 0 h 693420"/>
                <a:gd name="connsiteX2" fmla="*/ 0 w 787717"/>
                <a:gd name="connsiteY2" fmla="*/ 346710 h 693420"/>
                <a:gd name="connsiteX3" fmla="*/ 0 w 787717"/>
                <a:gd name="connsiteY3" fmla="*/ 693420 h 693420"/>
                <a:gd name="connsiteX4" fmla="*/ 523875 w 787717"/>
                <a:gd name="connsiteY4" fmla="*/ 692468 h 693420"/>
                <a:gd name="connsiteX5" fmla="*/ 787718 w 787717"/>
                <a:gd name="connsiteY5" fmla="*/ 345758 h 693420"/>
                <a:gd name="connsiteX6" fmla="*/ 787718 w 787717"/>
                <a:gd name="connsiteY6" fmla="*/ 172403 h 693420"/>
                <a:gd name="connsiteX7" fmla="*/ 613410 w 787717"/>
                <a:gd name="connsiteY7" fmla="*/ 0 h 693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7717" h="693420">
                  <a:moveTo>
                    <a:pt x="613410" y="0"/>
                  </a:moveTo>
                  <a:lnTo>
                    <a:pt x="281940" y="0"/>
                  </a:lnTo>
                  <a:cubicBezTo>
                    <a:pt x="126683" y="0"/>
                    <a:pt x="0" y="156210"/>
                    <a:pt x="0" y="346710"/>
                  </a:cubicBezTo>
                  <a:lnTo>
                    <a:pt x="0" y="693420"/>
                  </a:lnTo>
                  <a:lnTo>
                    <a:pt x="523875" y="692468"/>
                  </a:lnTo>
                  <a:cubicBezTo>
                    <a:pt x="671513" y="681038"/>
                    <a:pt x="787718" y="528638"/>
                    <a:pt x="787718" y="345758"/>
                  </a:cubicBezTo>
                  <a:lnTo>
                    <a:pt x="787718" y="172403"/>
                  </a:lnTo>
                  <a:cubicBezTo>
                    <a:pt x="786765" y="78105"/>
                    <a:pt x="708660" y="0"/>
                    <a:pt x="613410" y="0"/>
                  </a:cubicBezTo>
                  <a:close/>
                </a:path>
              </a:pathLst>
            </a:custGeom>
            <a:solidFill>
              <a:schemeClr val="accent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useBgFill="1">
          <p:nvSpPr>
            <p:cNvPr id="64" name="Freeform: Shape 113">
              <a:extLst>
                <a:ext uri="{FF2B5EF4-FFF2-40B4-BE49-F238E27FC236}">
                  <a16:creationId xmlns:a16="http://schemas.microsoft.com/office/drawing/2014/main" id="{F9B9183C-F53F-4556-87A4-B31F4C7B8972}"/>
                </a:ext>
              </a:extLst>
            </p:cNvPr>
            <p:cNvSpPr/>
            <p:nvPr/>
          </p:nvSpPr>
          <p:spPr>
            <a:xfrm>
              <a:off x="6611796" y="5827488"/>
              <a:ext cx="475874" cy="407739"/>
            </a:xfrm>
            <a:custGeom>
              <a:avLst/>
              <a:gdLst>
                <a:gd name="connsiteX0" fmla="*/ 425768 w 425767"/>
                <a:gd name="connsiteY0" fmla="*/ 0 h 364807"/>
                <a:gd name="connsiteX1" fmla="*/ 130492 w 425767"/>
                <a:gd name="connsiteY1" fmla="*/ 0 h 364807"/>
                <a:gd name="connsiteX2" fmla="*/ 0 w 425767"/>
                <a:gd name="connsiteY2" fmla="*/ 181928 h 364807"/>
                <a:gd name="connsiteX3" fmla="*/ 0 w 425767"/>
                <a:gd name="connsiteY3" fmla="*/ 294322 h 364807"/>
                <a:gd name="connsiteX4" fmla="*/ 70485 w 425767"/>
                <a:gd name="connsiteY4" fmla="*/ 364807 h 364807"/>
                <a:gd name="connsiteX5" fmla="*/ 284797 w 425767"/>
                <a:gd name="connsiteY5" fmla="*/ 364807 h 364807"/>
                <a:gd name="connsiteX6" fmla="*/ 425768 w 425767"/>
                <a:gd name="connsiteY6" fmla="*/ 181928 h 364807"/>
                <a:gd name="connsiteX7" fmla="*/ 425768 w 425767"/>
                <a:gd name="connsiteY7" fmla="*/ 0 h 364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5767" h="364807">
                  <a:moveTo>
                    <a:pt x="425768" y="0"/>
                  </a:moveTo>
                  <a:lnTo>
                    <a:pt x="130492" y="0"/>
                  </a:lnTo>
                  <a:cubicBezTo>
                    <a:pt x="44767" y="7620"/>
                    <a:pt x="0" y="105728"/>
                    <a:pt x="0" y="181928"/>
                  </a:cubicBezTo>
                  <a:lnTo>
                    <a:pt x="0" y="294322"/>
                  </a:lnTo>
                  <a:cubicBezTo>
                    <a:pt x="0" y="333375"/>
                    <a:pt x="32385" y="364807"/>
                    <a:pt x="70485" y="364807"/>
                  </a:cubicBezTo>
                  <a:lnTo>
                    <a:pt x="284797" y="364807"/>
                  </a:lnTo>
                  <a:cubicBezTo>
                    <a:pt x="375285" y="364807"/>
                    <a:pt x="425768" y="261938"/>
                    <a:pt x="425768" y="181928"/>
                  </a:cubicBezTo>
                  <a:lnTo>
                    <a:pt x="425768" y="0"/>
                  </a:lnTo>
                  <a:close/>
                </a:path>
              </a:pathLst>
            </a:custGeom>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65" name="Freeform: Shape 114">
              <a:extLst>
                <a:ext uri="{FF2B5EF4-FFF2-40B4-BE49-F238E27FC236}">
                  <a16:creationId xmlns:a16="http://schemas.microsoft.com/office/drawing/2014/main" id="{584B6038-DA68-484D-B596-AC3E7148B1AC}"/>
                </a:ext>
              </a:extLst>
            </p:cNvPr>
            <p:cNvSpPr/>
            <p:nvPr/>
          </p:nvSpPr>
          <p:spPr>
            <a:xfrm>
              <a:off x="7170176" y="5781177"/>
              <a:ext cx="374738" cy="339605"/>
            </a:xfrm>
            <a:custGeom>
              <a:avLst/>
              <a:gdLst>
                <a:gd name="connsiteX0" fmla="*/ 76200 w 335280"/>
                <a:gd name="connsiteY0" fmla="*/ 0 h 303847"/>
                <a:gd name="connsiteX1" fmla="*/ 220980 w 335280"/>
                <a:gd name="connsiteY1" fmla="*/ 0 h 303847"/>
                <a:gd name="connsiteX2" fmla="*/ 243840 w 335280"/>
                <a:gd name="connsiteY2" fmla="*/ 2858 h 303847"/>
                <a:gd name="connsiteX3" fmla="*/ 243840 w 335280"/>
                <a:gd name="connsiteY3" fmla="*/ 2858 h 303847"/>
                <a:gd name="connsiteX4" fmla="*/ 249555 w 335280"/>
                <a:gd name="connsiteY4" fmla="*/ 4763 h 303847"/>
                <a:gd name="connsiteX5" fmla="*/ 250508 w 335280"/>
                <a:gd name="connsiteY5" fmla="*/ 4763 h 303847"/>
                <a:gd name="connsiteX6" fmla="*/ 252413 w 335280"/>
                <a:gd name="connsiteY6" fmla="*/ 5715 h 303847"/>
                <a:gd name="connsiteX7" fmla="*/ 252413 w 335280"/>
                <a:gd name="connsiteY7" fmla="*/ 5715 h 303847"/>
                <a:gd name="connsiteX8" fmla="*/ 254318 w 335280"/>
                <a:gd name="connsiteY8" fmla="*/ 6668 h 303847"/>
                <a:gd name="connsiteX9" fmla="*/ 255270 w 335280"/>
                <a:gd name="connsiteY9" fmla="*/ 6668 h 303847"/>
                <a:gd name="connsiteX10" fmla="*/ 256222 w 335280"/>
                <a:gd name="connsiteY10" fmla="*/ 6668 h 303847"/>
                <a:gd name="connsiteX11" fmla="*/ 258128 w 335280"/>
                <a:gd name="connsiteY11" fmla="*/ 7620 h 303847"/>
                <a:gd name="connsiteX12" fmla="*/ 260033 w 335280"/>
                <a:gd name="connsiteY12" fmla="*/ 8573 h 303847"/>
                <a:gd name="connsiteX13" fmla="*/ 260033 w 335280"/>
                <a:gd name="connsiteY13" fmla="*/ 8573 h 303847"/>
                <a:gd name="connsiteX14" fmla="*/ 262890 w 335280"/>
                <a:gd name="connsiteY14" fmla="*/ 9525 h 303847"/>
                <a:gd name="connsiteX15" fmla="*/ 262890 w 335280"/>
                <a:gd name="connsiteY15" fmla="*/ 9525 h 303847"/>
                <a:gd name="connsiteX16" fmla="*/ 265747 w 335280"/>
                <a:gd name="connsiteY16" fmla="*/ 10478 h 303847"/>
                <a:gd name="connsiteX17" fmla="*/ 265747 w 335280"/>
                <a:gd name="connsiteY17" fmla="*/ 10478 h 303847"/>
                <a:gd name="connsiteX18" fmla="*/ 268605 w 335280"/>
                <a:gd name="connsiteY18" fmla="*/ 11430 h 303847"/>
                <a:gd name="connsiteX19" fmla="*/ 268605 w 335280"/>
                <a:gd name="connsiteY19" fmla="*/ 11430 h 303847"/>
                <a:gd name="connsiteX20" fmla="*/ 271463 w 335280"/>
                <a:gd name="connsiteY20" fmla="*/ 13335 h 303847"/>
                <a:gd name="connsiteX21" fmla="*/ 271463 w 335280"/>
                <a:gd name="connsiteY21" fmla="*/ 13335 h 303847"/>
                <a:gd name="connsiteX22" fmla="*/ 274320 w 335280"/>
                <a:gd name="connsiteY22" fmla="*/ 15240 h 303847"/>
                <a:gd name="connsiteX23" fmla="*/ 274320 w 335280"/>
                <a:gd name="connsiteY23" fmla="*/ 15240 h 303847"/>
                <a:gd name="connsiteX24" fmla="*/ 277178 w 335280"/>
                <a:gd name="connsiteY24" fmla="*/ 17145 h 303847"/>
                <a:gd name="connsiteX25" fmla="*/ 277178 w 335280"/>
                <a:gd name="connsiteY25" fmla="*/ 17145 h 303847"/>
                <a:gd name="connsiteX26" fmla="*/ 279083 w 335280"/>
                <a:gd name="connsiteY26" fmla="*/ 19050 h 303847"/>
                <a:gd name="connsiteX27" fmla="*/ 279083 w 335280"/>
                <a:gd name="connsiteY27" fmla="*/ 19050 h 303847"/>
                <a:gd name="connsiteX28" fmla="*/ 280988 w 335280"/>
                <a:gd name="connsiteY28" fmla="*/ 20955 h 303847"/>
                <a:gd name="connsiteX29" fmla="*/ 280988 w 335280"/>
                <a:gd name="connsiteY29" fmla="*/ 20955 h 303847"/>
                <a:gd name="connsiteX30" fmla="*/ 280988 w 335280"/>
                <a:gd name="connsiteY30" fmla="*/ 20955 h 303847"/>
                <a:gd name="connsiteX31" fmla="*/ 290513 w 335280"/>
                <a:gd name="connsiteY31" fmla="*/ 28575 h 303847"/>
                <a:gd name="connsiteX32" fmla="*/ 290513 w 335280"/>
                <a:gd name="connsiteY32" fmla="*/ 28575 h 303847"/>
                <a:gd name="connsiteX33" fmla="*/ 292418 w 335280"/>
                <a:gd name="connsiteY33" fmla="*/ 29528 h 303847"/>
                <a:gd name="connsiteX34" fmla="*/ 292418 w 335280"/>
                <a:gd name="connsiteY34" fmla="*/ 29528 h 303847"/>
                <a:gd name="connsiteX35" fmla="*/ 293370 w 335280"/>
                <a:gd name="connsiteY35" fmla="*/ 30480 h 303847"/>
                <a:gd name="connsiteX36" fmla="*/ 294322 w 335280"/>
                <a:gd name="connsiteY36" fmla="*/ 31433 h 303847"/>
                <a:gd name="connsiteX37" fmla="*/ 295275 w 335280"/>
                <a:gd name="connsiteY37" fmla="*/ 32385 h 303847"/>
                <a:gd name="connsiteX38" fmla="*/ 296228 w 335280"/>
                <a:gd name="connsiteY38" fmla="*/ 33338 h 303847"/>
                <a:gd name="connsiteX39" fmla="*/ 296228 w 335280"/>
                <a:gd name="connsiteY39" fmla="*/ 33338 h 303847"/>
                <a:gd name="connsiteX40" fmla="*/ 298133 w 335280"/>
                <a:gd name="connsiteY40" fmla="*/ 35243 h 303847"/>
                <a:gd name="connsiteX41" fmla="*/ 298133 w 335280"/>
                <a:gd name="connsiteY41" fmla="*/ 35243 h 303847"/>
                <a:gd name="connsiteX42" fmla="*/ 299085 w 335280"/>
                <a:gd name="connsiteY42" fmla="*/ 36195 h 303847"/>
                <a:gd name="connsiteX43" fmla="*/ 300038 w 335280"/>
                <a:gd name="connsiteY43" fmla="*/ 37148 h 303847"/>
                <a:gd name="connsiteX44" fmla="*/ 300038 w 335280"/>
                <a:gd name="connsiteY44" fmla="*/ 37148 h 303847"/>
                <a:gd name="connsiteX45" fmla="*/ 301943 w 335280"/>
                <a:gd name="connsiteY45" fmla="*/ 39053 h 303847"/>
                <a:gd name="connsiteX46" fmla="*/ 301943 w 335280"/>
                <a:gd name="connsiteY46" fmla="*/ 39053 h 303847"/>
                <a:gd name="connsiteX47" fmla="*/ 302895 w 335280"/>
                <a:gd name="connsiteY47" fmla="*/ 40005 h 303847"/>
                <a:gd name="connsiteX48" fmla="*/ 303847 w 335280"/>
                <a:gd name="connsiteY48" fmla="*/ 40958 h 303847"/>
                <a:gd name="connsiteX49" fmla="*/ 303847 w 335280"/>
                <a:gd name="connsiteY49" fmla="*/ 41910 h 303847"/>
                <a:gd name="connsiteX50" fmla="*/ 304800 w 335280"/>
                <a:gd name="connsiteY50" fmla="*/ 43815 h 303847"/>
                <a:gd name="connsiteX51" fmla="*/ 304800 w 335280"/>
                <a:gd name="connsiteY51" fmla="*/ 43815 h 303847"/>
                <a:gd name="connsiteX52" fmla="*/ 305753 w 335280"/>
                <a:gd name="connsiteY52" fmla="*/ 45720 h 303847"/>
                <a:gd name="connsiteX53" fmla="*/ 306705 w 335280"/>
                <a:gd name="connsiteY53" fmla="*/ 46673 h 303847"/>
                <a:gd name="connsiteX54" fmla="*/ 306705 w 335280"/>
                <a:gd name="connsiteY54" fmla="*/ 47625 h 303847"/>
                <a:gd name="connsiteX55" fmla="*/ 308610 w 335280"/>
                <a:gd name="connsiteY55" fmla="*/ 49530 h 303847"/>
                <a:gd name="connsiteX56" fmla="*/ 308610 w 335280"/>
                <a:gd name="connsiteY56" fmla="*/ 49530 h 303847"/>
                <a:gd name="connsiteX57" fmla="*/ 310515 w 335280"/>
                <a:gd name="connsiteY57" fmla="*/ 52388 h 303847"/>
                <a:gd name="connsiteX58" fmla="*/ 311468 w 335280"/>
                <a:gd name="connsiteY58" fmla="*/ 54293 h 303847"/>
                <a:gd name="connsiteX59" fmla="*/ 311468 w 335280"/>
                <a:gd name="connsiteY59" fmla="*/ 55245 h 303847"/>
                <a:gd name="connsiteX60" fmla="*/ 311468 w 335280"/>
                <a:gd name="connsiteY60" fmla="*/ 56198 h 303847"/>
                <a:gd name="connsiteX61" fmla="*/ 329565 w 335280"/>
                <a:gd name="connsiteY61" fmla="*/ 94298 h 303847"/>
                <a:gd name="connsiteX62" fmla="*/ 329565 w 335280"/>
                <a:gd name="connsiteY62" fmla="*/ 95250 h 303847"/>
                <a:gd name="connsiteX63" fmla="*/ 331470 w 335280"/>
                <a:gd name="connsiteY63" fmla="*/ 101918 h 303847"/>
                <a:gd name="connsiteX64" fmla="*/ 331470 w 335280"/>
                <a:gd name="connsiteY64" fmla="*/ 101918 h 303847"/>
                <a:gd name="connsiteX65" fmla="*/ 335280 w 335280"/>
                <a:gd name="connsiteY65" fmla="*/ 119063 h 303847"/>
                <a:gd name="connsiteX66" fmla="*/ 335280 w 335280"/>
                <a:gd name="connsiteY66" fmla="*/ 120015 h 303847"/>
                <a:gd name="connsiteX67" fmla="*/ 335280 w 335280"/>
                <a:gd name="connsiteY67" fmla="*/ 122873 h 303847"/>
                <a:gd name="connsiteX68" fmla="*/ 335280 w 335280"/>
                <a:gd name="connsiteY68" fmla="*/ 122873 h 303847"/>
                <a:gd name="connsiteX69" fmla="*/ 335280 w 335280"/>
                <a:gd name="connsiteY69" fmla="*/ 125730 h 303847"/>
                <a:gd name="connsiteX70" fmla="*/ 335280 w 335280"/>
                <a:gd name="connsiteY70" fmla="*/ 126683 h 303847"/>
                <a:gd name="connsiteX71" fmla="*/ 335280 w 335280"/>
                <a:gd name="connsiteY71" fmla="*/ 129540 h 303847"/>
                <a:gd name="connsiteX72" fmla="*/ 335280 w 335280"/>
                <a:gd name="connsiteY72" fmla="*/ 130493 h 303847"/>
                <a:gd name="connsiteX73" fmla="*/ 335280 w 335280"/>
                <a:gd name="connsiteY73" fmla="*/ 133350 h 303847"/>
                <a:gd name="connsiteX74" fmla="*/ 335280 w 335280"/>
                <a:gd name="connsiteY74" fmla="*/ 134303 h 303847"/>
                <a:gd name="connsiteX75" fmla="*/ 335280 w 335280"/>
                <a:gd name="connsiteY75" fmla="*/ 137160 h 303847"/>
                <a:gd name="connsiteX76" fmla="*/ 335280 w 335280"/>
                <a:gd name="connsiteY76" fmla="*/ 138113 h 303847"/>
                <a:gd name="connsiteX77" fmla="*/ 335280 w 335280"/>
                <a:gd name="connsiteY77" fmla="*/ 140970 h 303847"/>
                <a:gd name="connsiteX78" fmla="*/ 335280 w 335280"/>
                <a:gd name="connsiteY78" fmla="*/ 141923 h 303847"/>
                <a:gd name="connsiteX79" fmla="*/ 335280 w 335280"/>
                <a:gd name="connsiteY79" fmla="*/ 144780 h 303847"/>
                <a:gd name="connsiteX80" fmla="*/ 335280 w 335280"/>
                <a:gd name="connsiteY80" fmla="*/ 144780 h 303847"/>
                <a:gd name="connsiteX81" fmla="*/ 335280 w 335280"/>
                <a:gd name="connsiteY81" fmla="*/ 148590 h 303847"/>
                <a:gd name="connsiteX82" fmla="*/ 335280 w 335280"/>
                <a:gd name="connsiteY82" fmla="*/ 148590 h 303847"/>
                <a:gd name="connsiteX83" fmla="*/ 335280 w 335280"/>
                <a:gd name="connsiteY83" fmla="*/ 152400 h 303847"/>
                <a:gd name="connsiteX84" fmla="*/ 335280 w 335280"/>
                <a:gd name="connsiteY84" fmla="*/ 227648 h 303847"/>
                <a:gd name="connsiteX85" fmla="*/ 335280 w 335280"/>
                <a:gd name="connsiteY85" fmla="*/ 303848 h 303847"/>
                <a:gd name="connsiteX86" fmla="*/ 262890 w 335280"/>
                <a:gd name="connsiteY86" fmla="*/ 303848 h 303847"/>
                <a:gd name="connsiteX87" fmla="*/ 259080 w 335280"/>
                <a:gd name="connsiteY87" fmla="*/ 303848 h 303847"/>
                <a:gd name="connsiteX88" fmla="*/ 114300 w 335280"/>
                <a:gd name="connsiteY88" fmla="*/ 303848 h 303847"/>
                <a:gd name="connsiteX89" fmla="*/ 91440 w 335280"/>
                <a:gd name="connsiteY89" fmla="*/ 300990 h 303847"/>
                <a:gd name="connsiteX90" fmla="*/ 91440 w 335280"/>
                <a:gd name="connsiteY90" fmla="*/ 300990 h 303847"/>
                <a:gd name="connsiteX91" fmla="*/ 85725 w 335280"/>
                <a:gd name="connsiteY91" fmla="*/ 299085 h 303847"/>
                <a:gd name="connsiteX92" fmla="*/ 84772 w 335280"/>
                <a:gd name="connsiteY92" fmla="*/ 299085 h 303847"/>
                <a:gd name="connsiteX93" fmla="*/ 82868 w 335280"/>
                <a:gd name="connsiteY93" fmla="*/ 298133 h 303847"/>
                <a:gd name="connsiteX94" fmla="*/ 82868 w 335280"/>
                <a:gd name="connsiteY94" fmla="*/ 298133 h 303847"/>
                <a:gd name="connsiteX95" fmla="*/ 80963 w 335280"/>
                <a:gd name="connsiteY95" fmla="*/ 297180 h 303847"/>
                <a:gd name="connsiteX96" fmla="*/ 80010 w 335280"/>
                <a:gd name="connsiteY96" fmla="*/ 297180 h 303847"/>
                <a:gd name="connsiteX97" fmla="*/ 79058 w 335280"/>
                <a:gd name="connsiteY97" fmla="*/ 297180 h 303847"/>
                <a:gd name="connsiteX98" fmla="*/ 77153 w 335280"/>
                <a:gd name="connsiteY98" fmla="*/ 296228 h 303847"/>
                <a:gd name="connsiteX99" fmla="*/ 75247 w 335280"/>
                <a:gd name="connsiteY99" fmla="*/ 295275 h 303847"/>
                <a:gd name="connsiteX100" fmla="*/ 75247 w 335280"/>
                <a:gd name="connsiteY100" fmla="*/ 295275 h 303847"/>
                <a:gd name="connsiteX101" fmla="*/ 72390 w 335280"/>
                <a:gd name="connsiteY101" fmla="*/ 294323 h 303847"/>
                <a:gd name="connsiteX102" fmla="*/ 72390 w 335280"/>
                <a:gd name="connsiteY102" fmla="*/ 294323 h 303847"/>
                <a:gd name="connsiteX103" fmla="*/ 69533 w 335280"/>
                <a:gd name="connsiteY103" fmla="*/ 293370 h 303847"/>
                <a:gd name="connsiteX104" fmla="*/ 69533 w 335280"/>
                <a:gd name="connsiteY104" fmla="*/ 293370 h 303847"/>
                <a:gd name="connsiteX105" fmla="*/ 66675 w 335280"/>
                <a:gd name="connsiteY105" fmla="*/ 292418 h 303847"/>
                <a:gd name="connsiteX106" fmla="*/ 66675 w 335280"/>
                <a:gd name="connsiteY106" fmla="*/ 292418 h 303847"/>
                <a:gd name="connsiteX107" fmla="*/ 63818 w 335280"/>
                <a:gd name="connsiteY107" fmla="*/ 290513 h 303847"/>
                <a:gd name="connsiteX108" fmla="*/ 63818 w 335280"/>
                <a:gd name="connsiteY108" fmla="*/ 290513 h 303847"/>
                <a:gd name="connsiteX109" fmla="*/ 60960 w 335280"/>
                <a:gd name="connsiteY109" fmla="*/ 288608 h 303847"/>
                <a:gd name="connsiteX110" fmla="*/ 60960 w 335280"/>
                <a:gd name="connsiteY110" fmla="*/ 288608 h 303847"/>
                <a:gd name="connsiteX111" fmla="*/ 58103 w 335280"/>
                <a:gd name="connsiteY111" fmla="*/ 286703 h 303847"/>
                <a:gd name="connsiteX112" fmla="*/ 58103 w 335280"/>
                <a:gd name="connsiteY112" fmla="*/ 286703 h 303847"/>
                <a:gd name="connsiteX113" fmla="*/ 56197 w 335280"/>
                <a:gd name="connsiteY113" fmla="*/ 284798 h 303847"/>
                <a:gd name="connsiteX114" fmla="*/ 56197 w 335280"/>
                <a:gd name="connsiteY114" fmla="*/ 284798 h 303847"/>
                <a:gd name="connsiteX115" fmla="*/ 54293 w 335280"/>
                <a:gd name="connsiteY115" fmla="*/ 282893 h 303847"/>
                <a:gd name="connsiteX116" fmla="*/ 54293 w 335280"/>
                <a:gd name="connsiteY116" fmla="*/ 282893 h 303847"/>
                <a:gd name="connsiteX117" fmla="*/ 54293 w 335280"/>
                <a:gd name="connsiteY117" fmla="*/ 282893 h 303847"/>
                <a:gd name="connsiteX118" fmla="*/ 44768 w 335280"/>
                <a:gd name="connsiteY118" fmla="*/ 275273 h 303847"/>
                <a:gd name="connsiteX119" fmla="*/ 44768 w 335280"/>
                <a:gd name="connsiteY119" fmla="*/ 275273 h 303847"/>
                <a:gd name="connsiteX120" fmla="*/ 42863 w 335280"/>
                <a:gd name="connsiteY120" fmla="*/ 274320 h 303847"/>
                <a:gd name="connsiteX121" fmla="*/ 42863 w 335280"/>
                <a:gd name="connsiteY121" fmla="*/ 274320 h 303847"/>
                <a:gd name="connsiteX122" fmla="*/ 41910 w 335280"/>
                <a:gd name="connsiteY122" fmla="*/ 273368 h 303847"/>
                <a:gd name="connsiteX123" fmla="*/ 40958 w 335280"/>
                <a:gd name="connsiteY123" fmla="*/ 272415 h 303847"/>
                <a:gd name="connsiteX124" fmla="*/ 40005 w 335280"/>
                <a:gd name="connsiteY124" fmla="*/ 271463 h 303847"/>
                <a:gd name="connsiteX125" fmla="*/ 39053 w 335280"/>
                <a:gd name="connsiteY125" fmla="*/ 270510 h 303847"/>
                <a:gd name="connsiteX126" fmla="*/ 39053 w 335280"/>
                <a:gd name="connsiteY126" fmla="*/ 270510 h 303847"/>
                <a:gd name="connsiteX127" fmla="*/ 37147 w 335280"/>
                <a:gd name="connsiteY127" fmla="*/ 268605 h 303847"/>
                <a:gd name="connsiteX128" fmla="*/ 37147 w 335280"/>
                <a:gd name="connsiteY128" fmla="*/ 268605 h 303847"/>
                <a:gd name="connsiteX129" fmla="*/ 36195 w 335280"/>
                <a:gd name="connsiteY129" fmla="*/ 267653 h 303847"/>
                <a:gd name="connsiteX130" fmla="*/ 35243 w 335280"/>
                <a:gd name="connsiteY130" fmla="*/ 266700 h 303847"/>
                <a:gd name="connsiteX131" fmla="*/ 35243 w 335280"/>
                <a:gd name="connsiteY131" fmla="*/ 266700 h 303847"/>
                <a:gd name="connsiteX132" fmla="*/ 33338 w 335280"/>
                <a:gd name="connsiteY132" fmla="*/ 264795 h 303847"/>
                <a:gd name="connsiteX133" fmla="*/ 33338 w 335280"/>
                <a:gd name="connsiteY133" fmla="*/ 264795 h 303847"/>
                <a:gd name="connsiteX134" fmla="*/ 32385 w 335280"/>
                <a:gd name="connsiteY134" fmla="*/ 263843 h 303847"/>
                <a:gd name="connsiteX135" fmla="*/ 31433 w 335280"/>
                <a:gd name="connsiteY135" fmla="*/ 262890 h 303847"/>
                <a:gd name="connsiteX136" fmla="*/ 31433 w 335280"/>
                <a:gd name="connsiteY136" fmla="*/ 261938 h 303847"/>
                <a:gd name="connsiteX137" fmla="*/ 30480 w 335280"/>
                <a:gd name="connsiteY137" fmla="*/ 260033 h 303847"/>
                <a:gd name="connsiteX138" fmla="*/ 30480 w 335280"/>
                <a:gd name="connsiteY138" fmla="*/ 260033 h 303847"/>
                <a:gd name="connsiteX139" fmla="*/ 29528 w 335280"/>
                <a:gd name="connsiteY139" fmla="*/ 258128 h 303847"/>
                <a:gd name="connsiteX140" fmla="*/ 28575 w 335280"/>
                <a:gd name="connsiteY140" fmla="*/ 257175 h 303847"/>
                <a:gd name="connsiteX141" fmla="*/ 28575 w 335280"/>
                <a:gd name="connsiteY141" fmla="*/ 256223 h 303847"/>
                <a:gd name="connsiteX142" fmla="*/ 26670 w 335280"/>
                <a:gd name="connsiteY142" fmla="*/ 254318 h 303847"/>
                <a:gd name="connsiteX143" fmla="*/ 26670 w 335280"/>
                <a:gd name="connsiteY143" fmla="*/ 254318 h 303847"/>
                <a:gd name="connsiteX144" fmla="*/ 24765 w 335280"/>
                <a:gd name="connsiteY144" fmla="*/ 251460 h 303847"/>
                <a:gd name="connsiteX145" fmla="*/ 23813 w 335280"/>
                <a:gd name="connsiteY145" fmla="*/ 249555 h 303847"/>
                <a:gd name="connsiteX146" fmla="*/ 23813 w 335280"/>
                <a:gd name="connsiteY146" fmla="*/ 248603 h 303847"/>
                <a:gd name="connsiteX147" fmla="*/ 23813 w 335280"/>
                <a:gd name="connsiteY147" fmla="*/ 247650 h 303847"/>
                <a:gd name="connsiteX148" fmla="*/ 5715 w 335280"/>
                <a:gd name="connsiteY148" fmla="*/ 209550 h 303847"/>
                <a:gd name="connsiteX149" fmla="*/ 5715 w 335280"/>
                <a:gd name="connsiteY149" fmla="*/ 208598 h 303847"/>
                <a:gd name="connsiteX150" fmla="*/ 3810 w 335280"/>
                <a:gd name="connsiteY150" fmla="*/ 201930 h 303847"/>
                <a:gd name="connsiteX151" fmla="*/ 3810 w 335280"/>
                <a:gd name="connsiteY151" fmla="*/ 201930 h 303847"/>
                <a:gd name="connsiteX152" fmla="*/ 0 w 335280"/>
                <a:gd name="connsiteY152" fmla="*/ 184785 h 303847"/>
                <a:gd name="connsiteX153" fmla="*/ 0 w 335280"/>
                <a:gd name="connsiteY153" fmla="*/ 183833 h 303847"/>
                <a:gd name="connsiteX154" fmla="*/ 0 w 335280"/>
                <a:gd name="connsiteY154" fmla="*/ 180975 h 303847"/>
                <a:gd name="connsiteX155" fmla="*/ 0 w 335280"/>
                <a:gd name="connsiteY155" fmla="*/ 180975 h 303847"/>
                <a:gd name="connsiteX156" fmla="*/ 0 w 335280"/>
                <a:gd name="connsiteY156" fmla="*/ 178118 h 303847"/>
                <a:gd name="connsiteX157" fmla="*/ 0 w 335280"/>
                <a:gd name="connsiteY157" fmla="*/ 177165 h 303847"/>
                <a:gd name="connsiteX158" fmla="*/ 0 w 335280"/>
                <a:gd name="connsiteY158" fmla="*/ 174308 h 303847"/>
                <a:gd name="connsiteX159" fmla="*/ 0 w 335280"/>
                <a:gd name="connsiteY159" fmla="*/ 173355 h 303847"/>
                <a:gd name="connsiteX160" fmla="*/ 0 w 335280"/>
                <a:gd name="connsiteY160" fmla="*/ 170498 h 303847"/>
                <a:gd name="connsiteX161" fmla="*/ 0 w 335280"/>
                <a:gd name="connsiteY161" fmla="*/ 169545 h 303847"/>
                <a:gd name="connsiteX162" fmla="*/ 0 w 335280"/>
                <a:gd name="connsiteY162" fmla="*/ 166688 h 303847"/>
                <a:gd name="connsiteX163" fmla="*/ 0 w 335280"/>
                <a:gd name="connsiteY163" fmla="*/ 165735 h 303847"/>
                <a:gd name="connsiteX164" fmla="*/ 0 w 335280"/>
                <a:gd name="connsiteY164" fmla="*/ 162878 h 303847"/>
                <a:gd name="connsiteX165" fmla="*/ 0 w 335280"/>
                <a:gd name="connsiteY165" fmla="*/ 161925 h 303847"/>
                <a:gd name="connsiteX166" fmla="*/ 0 w 335280"/>
                <a:gd name="connsiteY166" fmla="*/ 159068 h 303847"/>
                <a:gd name="connsiteX167" fmla="*/ 0 w 335280"/>
                <a:gd name="connsiteY167" fmla="*/ 159068 h 303847"/>
                <a:gd name="connsiteX168" fmla="*/ 0 w 335280"/>
                <a:gd name="connsiteY168" fmla="*/ 155258 h 303847"/>
                <a:gd name="connsiteX169" fmla="*/ 0 w 335280"/>
                <a:gd name="connsiteY169" fmla="*/ 155258 h 303847"/>
                <a:gd name="connsiteX170" fmla="*/ 0 w 335280"/>
                <a:gd name="connsiteY170" fmla="*/ 151448 h 303847"/>
                <a:gd name="connsiteX171" fmla="*/ 0 w 335280"/>
                <a:gd name="connsiteY171" fmla="*/ 76200 h 303847"/>
                <a:gd name="connsiteX172" fmla="*/ 0 w 335280"/>
                <a:gd name="connsiteY172" fmla="*/ 0 h 303847"/>
                <a:gd name="connsiteX173" fmla="*/ 72390 w 335280"/>
                <a:gd name="connsiteY173" fmla="*/ 0 h 303847"/>
                <a:gd name="connsiteX174" fmla="*/ 76200 w 335280"/>
                <a:gd name="connsiteY174" fmla="*/ 0 h 303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Lst>
              <a:rect l="l" t="t" r="r" b="b"/>
              <a:pathLst>
                <a:path w="335280" h="303847">
                  <a:moveTo>
                    <a:pt x="76200" y="0"/>
                  </a:moveTo>
                  <a:lnTo>
                    <a:pt x="220980" y="0"/>
                  </a:lnTo>
                  <a:cubicBezTo>
                    <a:pt x="228600" y="0"/>
                    <a:pt x="236220" y="953"/>
                    <a:pt x="243840" y="2858"/>
                  </a:cubicBezTo>
                  <a:lnTo>
                    <a:pt x="243840" y="2858"/>
                  </a:lnTo>
                  <a:cubicBezTo>
                    <a:pt x="245745" y="2858"/>
                    <a:pt x="247650" y="3810"/>
                    <a:pt x="249555" y="4763"/>
                  </a:cubicBezTo>
                  <a:lnTo>
                    <a:pt x="250508" y="4763"/>
                  </a:lnTo>
                  <a:lnTo>
                    <a:pt x="252413" y="5715"/>
                  </a:lnTo>
                  <a:lnTo>
                    <a:pt x="252413" y="5715"/>
                  </a:lnTo>
                  <a:lnTo>
                    <a:pt x="254318" y="6668"/>
                  </a:lnTo>
                  <a:lnTo>
                    <a:pt x="255270" y="6668"/>
                  </a:lnTo>
                  <a:lnTo>
                    <a:pt x="256222" y="6668"/>
                  </a:lnTo>
                  <a:lnTo>
                    <a:pt x="258128" y="7620"/>
                  </a:lnTo>
                  <a:lnTo>
                    <a:pt x="260033" y="8573"/>
                  </a:lnTo>
                  <a:lnTo>
                    <a:pt x="260033" y="8573"/>
                  </a:lnTo>
                  <a:lnTo>
                    <a:pt x="262890" y="9525"/>
                  </a:lnTo>
                  <a:lnTo>
                    <a:pt x="262890" y="9525"/>
                  </a:lnTo>
                  <a:lnTo>
                    <a:pt x="265747" y="10478"/>
                  </a:lnTo>
                  <a:lnTo>
                    <a:pt x="265747" y="10478"/>
                  </a:lnTo>
                  <a:lnTo>
                    <a:pt x="268605" y="11430"/>
                  </a:lnTo>
                  <a:lnTo>
                    <a:pt x="268605" y="11430"/>
                  </a:lnTo>
                  <a:lnTo>
                    <a:pt x="271463" y="13335"/>
                  </a:lnTo>
                  <a:lnTo>
                    <a:pt x="271463" y="13335"/>
                  </a:lnTo>
                  <a:lnTo>
                    <a:pt x="274320" y="15240"/>
                  </a:lnTo>
                  <a:lnTo>
                    <a:pt x="274320" y="15240"/>
                  </a:lnTo>
                  <a:lnTo>
                    <a:pt x="277178" y="17145"/>
                  </a:lnTo>
                  <a:lnTo>
                    <a:pt x="277178" y="17145"/>
                  </a:lnTo>
                  <a:lnTo>
                    <a:pt x="279083" y="19050"/>
                  </a:lnTo>
                  <a:lnTo>
                    <a:pt x="279083" y="19050"/>
                  </a:lnTo>
                  <a:lnTo>
                    <a:pt x="280988" y="20955"/>
                  </a:lnTo>
                  <a:lnTo>
                    <a:pt x="280988" y="20955"/>
                  </a:lnTo>
                  <a:lnTo>
                    <a:pt x="280988" y="20955"/>
                  </a:lnTo>
                  <a:cubicBezTo>
                    <a:pt x="283845" y="22860"/>
                    <a:pt x="287655" y="25718"/>
                    <a:pt x="290513" y="28575"/>
                  </a:cubicBezTo>
                  <a:lnTo>
                    <a:pt x="290513" y="28575"/>
                  </a:lnTo>
                  <a:lnTo>
                    <a:pt x="292418" y="29528"/>
                  </a:lnTo>
                  <a:lnTo>
                    <a:pt x="292418" y="29528"/>
                  </a:lnTo>
                  <a:lnTo>
                    <a:pt x="293370" y="30480"/>
                  </a:lnTo>
                  <a:lnTo>
                    <a:pt x="294322" y="31433"/>
                  </a:lnTo>
                  <a:lnTo>
                    <a:pt x="295275" y="32385"/>
                  </a:lnTo>
                  <a:lnTo>
                    <a:pt x="296228" y="33338"/>
                  </a:lnTo>
                  <a:lnTo>
                    <a:pt x="296228" y="33338"/>
                  </a:lnTo>
                  <a:lnTo>
                    <a:pt x="298133" y="35243"/>
                  </a:lnTo>
                  <a:lnTo>
                    <a:pt x="298133" y="35243"/>
                  </a:lnTo>
                  <a:lnTo>
                    <a:pt x="299085" y="36195"/>
                  </a:lnTo>
                  <a:lnTo>
                    <a:pt x="300038" y="37148"/>
                  </a:lnTo>
                  <a:lnTo>
                    <a:pt x="300038" y="37148"/>
                  </a:lnTo>
                  <a:lnTo>
                    <a:pt x="301943" y="39053"/>
                  </a:lnTo>
                  <a:lnTo>
                    <a:pt x="301943" y="39053"/>
                  </a:lnTo>
                  <a:lnTo>
                    <a:pt x="302895" y="40005"/>
                  </a:lnTo>
                  <a:lnTo>
                    <a:pt x="303847" y="40958"/>
                  </a:lnTo>
                  <a:lnTo>
                    <a:pt x="303847" y="41910"/>
                  </a:lnTo>
                  <a:lnTo>
                    <a:pt x="304800" y="43815"/>
                  </a:lnTo>
                  <a:lnTo>
                    <a:pt x="304800" y="43815"/>
                  </a:lnTo>
                  <a:lnTo>
                    <a:pt x="305753" y="45720"/>
                  </a:lnTo>
                  <a:lnTo>
                    <a:pt x="306705" y="46673"/>
                  </a:lnTo>
                  <a:lnTo>
                    <a:pt x="306705" y="47625"/>
                  </a:lnTo>
                  <a:lnTo>
                    <a:pt x="308610" y="49530"/>
                  </a:lnTo>
                  <a:lnTo>
                    <a:pt x="308610" y="49530"/>
                  </a:lnTo>
                  <a:lnTo>
                    <a:pt x="310515" y="52388"/>
                  </a:lnTo>
                  <a:lnTo>
                    <a:pt x="311468" y="54293"/>
                  </a:lnTo>
                  <a:lnTo>
                    <a:pt x="311468" y="55245"/>
                  </a:lnTo>
                  <a:lnTo>
                    <a:pt x="311468" y="56198"/>
                  </a:lnTo>
                  <a:cubicBezTo>
                    <a:pt x="319088" y="67628"/>
                    <a:pt x="324803" y="80963"/>
                    <a:pt x="329565" y="94298"/>
                  </a:cubicBezTo>
                  <a:lnTo>
                    <a:pt x="329565" y="95250"/>
                  </a:lnTo>
                  <a:cubicBezTo>
                    <a:pt x="330518" y="97155"/>
                    <a:pt x="330518" y="99060"/>
                    <a:pt x="331470" y="101918"/>
                  </a:cubicBezTo>
                  <a:lnTo>
                    <a:pt x="331470" y="101918"/>
                  </a:lnTo>
                  <a:cubicBezTo>
                    <a:pt x="333375" y="107633"/>
                    <a:pt x="334328" y="113348"/>
                    <a:pt x="335280" y="119063"/>
                  </a:cubicBezTo>
                  <a:lnTo>
                    <a:pt x="335280" y="120015"/>
                  </a:lnTo>
                  <a:lnTo>
                    <a:pt x="335280" y="122873"/>
                  </a:lnTo>
                  <a:lnTo>
                    <a:pt x="335280" y="122873"/>
                  </a:lnTo>
                  <a:lnTo>
                    <a:pt x="335280" y="125730"/>
                  </a:lnTo>
                  <a:lnTo>
                    <a:pt x="335280" y="126683"/>
                  </a:lnTo>
                  <a:lnTo>
                    <a:pt x="335280" y="129540"/>
                  </a:lnTo>
                  <a:lnTo>
                    <a:pt x="335280" y="130493"/>
                  </a:lnTo>
                  <a:lnTo>
                    <a:pt x="335280" y="133350"/>
                  </a:lnTo>
                  <a:lnTo>
                    <a:pt x="335280" y="134303"/>
                  </a:lnTo>
                  <a:lnTo>
                    <a:pt x="335280" y="137160"/>
                  </a:lnTo>
                  <a:lnTo>
                    <a:pt x="335280" y="138113"/>
                  </a:lnTo>
                  <a:lnTo>
                    <a:pt x="335280" y="140970"/>
                  </a:lnTo>
                  <a:lnTo>
                    <a:pt x="335280" y="141923"/>
                  </a:lnTo>
                  <a:lnTo>
                    <a:pt x="335280" y="144780"/>
                  </a:lnTo>
                  <a:lnTo>
                    <a:pt x="335280" y="144780"/>
                  </a:lnTo>
                  <a:lnTo>
                    <a:pt x="335280" y="148590"/>
                  </a:lnTo>
                  <a:lnTo>
                    <a:pt x="335280" y="148590"/>
                  </a:lnTo>
                  <a:lnTo>
                    <a:pt x="335280" y="152400"/>
                  </a:lnTo>
                  <a:lnTo>
                    <a:pt x="335280" y="227648"/>
                  </a:lnTo>
                  <a:lnTo>
                    <a:pt x="335280" y="303848"/>
                  </a:lnTo>
                  <a:lnTo>
                    <a:pt x="262890" y="303848"/>
                  </a:lnTo>
                  <a:cubicBezTo>
                    <a:pt x="261938" y="303848"/>
                    <a:pt x="260033" y="303848"/>
                    <a:pt x="259080" y="303848"/>
                  </a:cubicBezTo>
                  <a:lnTo>
                    <a:pt x="114300" y="303848"/>
                  </a:lnTo>
                  <a:cubicBezTo>
                    <a:pt x="106680" y="303848"/>
                    <a:pt x="99060" y="302895"/>
                    <a:pt x="91440" y="300990"/>
                  </a:cubicBezTo>
                  <a:lnTo>
                    <a:pt x="91440" y="300990"/>
                  </a:lnTo>
                  <a:cubicBezTo>
                    <a:pt x="89535" y="300990"/>
                    <a:pt x="87630" y="300038"/>
                    <a:pt x="85725" y="299085"/>
                  </a:cubicBezTo>
                  <a:lnTo>
                    <a:pt x="84772" y="299085"/>
                  </a:lnTo>
                  <a:lnTo>
                    <a:pt x="82868" y="298133"/>
                  </a:lnTo>
                  <a:lnTo>
                    <a:pt x="82868" y="298133"/>
                  </a:lnTo>
                  <a:lnTo>
                    <a:pt x="80963" y="297180"/>
                  </a:lnTo>
                  <a:lnTo>
                    <a:pt x="80010" y="297180"/>
                  </a:lnTo>
                  <a:lnTo>
                    <a:pt x="79058" y="297180"/>
                  </a:lnTo>
                  <a:lnTo>
                    <a:pt x="77153" y="296228"/>
                  </a:lnTo>
                  <a:lnTo>
                    <a:pt x="75247" y="295275"/>
                  </a:lnTo>
                  <a:lnTo>
                    <a:pt x="75247" y="295275"/>
                  </a:lnTo>
                  <a:lnTo>
                    <a:pt x="72390" y="294323"/>
                  </a:lnTo>
                  <a:lnTo>
                    <a:pt x="72390" y="294323"/>
                  </a:lnTo>
                  <a:lnTo>
                    <a:pt x="69533" y="293370"/>
                  </a:lnTo>
                  <a:lnTo>
                    <a:pt x="69533" y="293370"/>
                  </a:lnTo>
                  <a:lnTo>
                    <a:pt x="66675" y="292418"/>
                  </a:lnTo>
                  <a:lnTo>
                    <a:pt x="66675" y="292418"/>
                  </a:lnTo>
                  <a:lnTo>
                    <a:pt x="63818" y="290513"/>
                  </a:lnTo>
                  <a:lnTo>
                    <a:pt x="63818" y="290513"/>
                  </a:lnTo>
                  <a:lnTo>
                    <a:pt x="60960" y="288608"/>
                  </a:lnTo>
                  <a:lnTo>
                    <a:pt x="60960" y="288608"/>
                  </a:lnTo>
                  <a:lnTo>
                    <a:pt x="58103" y="286703"/>
                  </a:lnTo>
                  <a:lnTo>
                    <a:pt x="58103" y="286703"/>
                  </a:lnTo>
                  <a:lnTo>
                    <a:pt x="56197" y="284798"/>
                  </a:lnTo>
                  <a:lnTo>
                    <a:pt x="56197" y="284798"/>
                  </a:lnTo>
                  <a:lnTo>
                    <a:pt x="54293" y="282893"/>
                  </a:lnTo>
                  <a:lnTo>
                    <a:pt x="54293" y="282893"/>
                  </a:lnTo>
                  <a:lnTo>
                    <a:pt x="54293" y="282893"/>
                  </a:lnTo>
                  <a:cubicBezTo>
                    <a:pt x="51435" y="280988"/>
                    <a:pt x="47625" y="278130"/>
                    <a:pt x="44768" y="275273"/>
                  </a:cubicBezTo>
                  <a:lnTo>
                    <a:pt x="44768" y="275273"/>
                  </a:lnTo>
                  <a:lnTo>
                    <a:pt x="42863" y="274320"/>
                  </a:lnTo>
                  <a:lnTo>
                    <a:pt x="42863" y="274320"/>
                  </a:lnTo>
                  <a:lnTo>
                    <a:pt x="41910" y="273368"/>
                  </a:lnTo>
                  <a:lnTo>
                    <a:pt x="40958" y="272415"/>
                  </a:lnTo>
                  <a:lnTo>
                    <a:pt x="40005" y="271463"/>
                  </a:lnTo>
                  <a:lnTo>
                    <a:pt x="39053" y="270510"/>
                  </a:lnTo>
                  <a:lnTo>
                    <a:pt x="39053" y="270510"/>
                  </a:lnTo>
                  <a:lnTo>
                    <a:pt x="37147" y="268605"/>
                  </a:lnTo>
                  <a:lnTo>
                    <a:pt x="37147" y="268605"/>
                  </a:lnTo>
                  <a:lnTo>
                    <a:pt x="36195" y="267653"/>
                  </a:lnTo>
                  <a:lnTo>
                    <a:pt x="35243" y="266700"/>
                  </a:lnTo>
                  <a:lnTo>
                    <a:pt x="35243" y="266700"/>
                  </a:lnTo>
                  <a:lnTo>
                    <a:pt x="33338" y="264795"/>
                  </a:lnTo>
                  <a:lnTo>
                    <a:pt x="33338" y="264795"/>
                  </a:lnTo>
                  <a:lnTo>
                    <a:pt x="32385" y="263843"/>
                  </a:lnTo>
                  <a:lnTo>
                    <a:pt x="31433" y="262890"/>
                  </a:lnTo>
                  <a:lnTo>
                    <a:pt x="31433" y="261938"/>
                  </a:lnTo>
                  <a:lnTo>
                    <a:pt x="30480" y="260033"/>
                  </a:lnTo>
                  <a:lnTo>
                    <a:pt x="30480" y="260033"/>
                  </a:lnTo>
                  <a:lnTo>
                    <a:pt x="29528" y="258128"/>
                  </a:lnTo>
                  <a:lnTo>
                    <a:pt x="28575" y="257175"/>
                  </a:lnTo>
                  <a:lnTo>
                    <a:pt x="28575" y="256223"/>
                  </a:lnTo>
                  <a:lnTo>
                    <a:pt x="26670" y="254318"/>
                  </a:lnTo>
                  <a:lnTo>
                    <a:pt x="26670" y="254318"/>
                  </a:lnTo>
                  <a:lnTo>
                    <a:pt x="24765" y="251460"/>
                  </a:lnTo>
                  <a:lnTo>
                    <a:pt x="23813" y="249555"/>
                  </a:lnTo>
                  <a:lnTo>
                    <a:pt x="23813" y="248603"/>
                  </a:lnTo>
                  <a:lnTo>
                    <a:pt x="23813" y="247650"/>
                  </a:lnTo>
                  <a:cubicBezTo>
                    <a:pt x="16193" y="236220"/>
                    <a:pt x="10478" y="222885"/>
                    <a:pt x="5715" y="209550"/>
                  </a:cubicBezTo>
                  <a:lnTo>
                    <a:pt x="5715" y="208598"/>
                  </a:lnTo>
                  <a:cubicBezTo>
                    <a:pt x="4763" y="206693"/>
                    <a:pt x="4763" y="204788"/>
                    <a:pt x="3810" y="201930"/>
                  </a:cubicBezTo>
                  <a:lnTo>
                    <a:pt x="3810" y="201930"/>
                  </a:lnTo>
                  <a:cubicBezTo>
                    <a:pt x="1905" y="196215"/>
                    <a:pt x="953" y="190500"/>
                    <a:pt x="0" y="184785"/>
                  </a:cubicBezTo>
                  <a:lnTo>
                    <a:pt x="0" y="183833"/>
                  </a:lnTo>
                  <a:lnTo>
                    <a:pt x="0" y="180975"/>
                  </a:lnTo>
                  <a:lnTo>
                    <a:pt x="0" y="180975"/>
                  </a:lnTo>
                  <a:lnTo>
                    <a:pt x="0" y="178118"/>
                  </a:lnTo>
                  <a:lnTo>
                    <a:pt x="0" y="177165"/>
                  </a:lnTo>
                  <a:lnTo>
                    <a:pt x="0" y="174308"/>
                  </a:lnTo>
                  <a:lnTo>
                    <a:pt x="0" y="173355"/>
                  </a:lnTo>
                  <a:lnTo>
                    <a:pt x="0" y="170498"/>
                  </a:lnTo>
                  <a:lnTo>
                    <a:pt x="0" y="169545"/>
                  </a:lnTo>
                  <a:lnTo>
                    <a:pt x="0" y="166688"/>
                  </a:lnTo>
                  <a:lnTo>
                    <a:pt x="0" y="165735"/>
                  </a:lnTo>
                  <a:lnTo>
                    <a:pt x="0" y="162878"/>
                  </a:lnTo>
                  <a:lnTo>
                    <a:pt x="0" y="161925"/>
                  </a:lnTo>
                  <a:lnTo>
                    <a:pt x="0" y="159068"/>
                  </a:lnTo>
                  <a:lnTo>
                    <a:pt x="0" y="159068"/>
                  </a:lnTo>
                  <a:lnTo>
                    <a:pt x="0" y="155258"/>
                  </a:lnTo>
                  <a:lnTo>
                    <a:pt x="0" y="155258"/>
                  </a:lnTo>
                  <a:lnTo>
                    <a:pt x="0" y="151448"/>
                  </a:lnTo>
                  <a:lnTo>
                    <a:pt x="0" y="76200"/>
                  </a:lnTo>
                  <a:lnTo>
                    <a:pt x="0" y="0"/>
                  </a:lnTo>
                  <a:lnTo>
                    <a:pt x="72390" y="0"/>
                  </a:lnTo>
                  <a:cubicBezTo>
                    <a:pt x="73343" y="0"/>
                    <a:pt x="74295" y="0"/>
                    <a:pt x="76200" y="0"/>
                  </a:cubicBezTo>
                  <a:close/>
                </a:path>
              </a:pathLst>
            </a:custGeom>
            <a:solidFill>
              <a:schemeClr val="accent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66" name="Freeform: Shape 115">
              <a:extLst>
                <a:ext uri="{FF2B5EF4-FFF2-40B4-BE49-F238E27FC236}">
                  <a16:creationId xmlns:a16="http://schemas.microsoft.com/office/drawing/2014/main" id="{050EBE9E-6C35-44E3-864F-B68CD1B88267}"/>
                </a:ext>
              </a:extLst>
            </p:cNvPr>
            <p:cNvSpPr/>
            <p:nvPr/>
          </p:nvSpPr>
          <p:spPr>
            <a:xfrm>
              <a:off x="6759243" y="5407505"/>
              <a:ext cx="369414" cy="341734"/>
            </a:xfrm>
            <a:custGeom>
              <a:avLst/>
              <a:gdLst>
                <a:gd name="connsiteX0" fmla="*/ 71438 w 330517"/>
                <a:gd name="connsiteY0" fmla="*/ 1905 h 305752"/>
                <a:gd name="connsiteX1" fmla="*/ 216217 w 330517"/>
                <a:gd name="connsiteY1" fmla="*/ 1905 h 305752"/>
                <a:gd name="connsiteX2" fmla="*/ 239077 w 330517"/>
                <a:gd name="connsiteY2" fmla="*/ 4763 h 305752"/>
                <a:gd name="connsiteX3" fmla="*/ 239077 w 330517"/>
                <a:gd name="connsiteY3" fmla="*/ 4763 h 305752"/>
                <a:gd name="connsiteX4" fmla="*/ 244792 w 330517"/>
                <a:gd name="connsiteY4" fmla="*/ 6667 h 305752"/>
                <a:gd name="connsiteX5" fmla="*/ 245745 w 330517"/>
                <a:gd name="connsiteY5" fmla="*/ 6667 h 305752"/>
                <a:gd name="connsiteX6" fmla="*/ 247650 w 330517"/>
                <a:gd name="connsiteY6" fmla="*/ 7620 h 305752"/>
                <a:gd name="connsiteX7" fmla="*/ 247650 w 330517"/>
                <a:gd name="connsiteY7" fmla="*/ 7620 h 305752"/>
                <a:gd name="connsiteX8" fmla="*/ 249555 w 330517"/>
                <a:gd name="connsiteY8" fmla="*/ 8572 h 305752"/>
                <a:gd name="connsiteX9" fmla="*/ 250508 w 330517"/>
                <a:gd name="connsiteY9" fmla="*/ 8572 h 305752"/>
                <a:gd name="connsiteX10" fmla="*/ 251460 w 330517"/>
                <a:gd name="connsiteY10" fmla="*/ 8572 h 305752"/>
                <a:gd name="connsiteX11" fmla="*/ 253365 w 330517"/>
                <a:gd name="connsiteY11" fmla="*/ 9525 h 305752"/>
                <a:gd name="connsiteX12" fmla="*/ 255270 w 330517"/>
                <a:gd name="connsiteY12" fmla="*/ 10477 h 305752"/>
                <a:gd name="connsiteX13" fmla="*/ 255270 w 330517"/>
                <a:gd name="connsiteY13" fmla="*/ 10477 h 305752"/>
                <a:gd name="connsiteX14" fmla="*/ 258127 w 330517"/>
                <a:gd name="connsiteY14" fmla="*/ 11430 h 305752"/>
                <a:gd name="connsiteX15" fmla="*/ 258127 w 330517"/>
                <a:gd name="connsiteY15" fmla="*/ 11430 h 305752"/>
                <a:gd name="connsiteX16" fmla="*/ 260985 w 330517"/>
                <a:gd name="connsiteY16" fmla="*/ 12382 h 305752"/>
                <a:gd name="connsiteX17" fmla="*/ 260985 w 330517"/>
                <a:gd name="connsiteY17" fmla="*/ 12382 h 305752"/>
                <a:gd name="connsiteX18" fmla="*/ 263842 w 330517"/>
                <a:gd name="connsiteY18" fmla="*/ 13335 h 305752"/>
                <a:gd name="connsiteX19" fmla="*/ 263842 w 330517"/>
                <a:gd name="connsiteY19" fmla="*/ 13335 h 305752"/>
                <a:gd name="connsiteX20" fmla="*/ 266700 w 330517"/>
                <a:gd name="connsiteY20" fmla="*/ 15240 h 305752"/>
                <a:gd name="connsiteX21" fmla="*/ 266700 w 330517"/>
                <a:gd name="connsiteY21" fmla="*/ 15240 h 305752"/>
                <a:gd name="connsiteX22" fmla="*/ 269558 w 330517"/>
                <a:gd name="connsiteY22" fmla="*/ 17145 h 305752"/>
                <a:gd name="connsiteX23" fmla="*/ 269558 w 330517"/>
                <a:gd name="connsiteY23" fmla="*/ 17145 h 305752"/>
                <a:gd name="connsiteX24" fmla="*/ 272415 w 330517"/>
                <a:gd name="connsiteY24" fmla="*/ 19050 h 305752"/>
                <a:gd name="connsiteX25" fmla="*/ 272415 w 330517"/>
                <a:gd name="connsiteY25" fmla="*/ 19050 h 305752"/>
                <a:gd name="connsiteX26" fmla="*/ 274320 w 330517"/>
                <a:gd name="connsiteY26" fmla="*/ 20955 h 305752"/>
                <a:gd name="connsiteX27" fmla="*/ 274320 w 330517"/>
                <a:gd name="connsiteY27" fmla="*/ 20955 h 305752"/>
                <a:gd name="connsiteX28" fmla="*/ 276225 w 330517"/>
                <a:gd name="connsiteY28" fmla="*/ 22860 h 305752"/>
                <a:gd name="connsiteX29" fmla="*/ 276225 w 330517"/>
                <a:gd name="connsiteY29" fmla="*/ 22860 h 305752"/>
                <a:gd name="connsiteX30" fmla="*/ 276225 w 330517"/>
                <a:gd name="connsiteY30" fmla="*/ 22860 h 305752"/>
                <a:gd name="connsiteX31" fmla="*/ 285750 w 330517"/>
                <a:gd name="connsiteY31" fmla="*/ 30480 h 305752"/>
                <a:gd name="connsiteX32" fmla="*/ 285750 w 330517"/>
                <a:gd name="connsiteY32" fmla="*/ 30480 h 305752"/>
                <a:gd name="connsiteX33" fmla="*/ 287655 w 330517"/>
                <a:gd name="connsiteY33" fmla="*/ 31432 h 305752"/>
                <a:gd name="connsiteX34" fmla="*/ 287655 w 330517"/>
                <a:gd name="connsiteY34" fmla="*/ 31432 h 305752"/>
                <a:gd name="connsiteX35" fmla="*/ 288608 w 330517"/>
                <a:gd name="connsiteY35" fmla="*/ 32385 h 305752"/>
                <a:gd name="connsiteX36" fmla="*/ 289560 w 330517"/>
                <a:gd name="connsiteY36" fmla="*/ 33338 h 305752"/>
                <a:gd name="connsiteX37" fmla="*/ 290512 w 330517"/>
                <a:gd name="connsiteY37" fmla="*/ 34290 h 305752"/>
                <a:gd name="connsiteX38" fmla="*/ 291465 w 330517"/>
                <a:gd name="connsiteY38" fmla="*/ 35242 h 305752"/>
                <a:gd name="connsiteX39" fmla="*/ 291465 w 330517"/>
                <a:gd name="connsiteY39" fmla="*/ 35242 h 305752"/>
                <a:gd name="connsiteX40" fmla="*/ 293370 w 330517"/>
                <a:gd name="connsiteY40" fmla="*/ 37147 h 305752"/>
                <a:gd name="connsiteX41" fmla="*/ 293370 w 330517"/>
                <a:gd name="connsiteY41" fmla="*/ 37147 h 305752"/>
                <a:gd name="connsiteX42" fmla="*/ 294323 w 330517"/>
                <a:gd name="connsiteY42" fmla="*/ 38100 h 305752"/>
                <a:gd name="connsiteX43" fmla="*/ 295275 w 330517"/>
                <a:gd name="connsiteY43" fmla="*/ 39052 h 305752"/>
                <a:gd name="connsiteX44" fmla="*/ 295275 w 330517"/>
                <a:gd name="connsiteY44" fmla="*/ 39052 h 305752"/>
                <a:gd name="connsiteX45" fmla="*/ 297180 w 330517"/>
                <a:gd name="connsiteY45" fmla="*/ 40957 h 305752"/>
                <a:gd name="connsiteX46" fmla="*/ 297180 w 330517"/>
                <a:gd name="connsiteY46" fmla="*/ 40957 h 305752"/>
                <a:gd name="connsiteX47" fmla="*/ 298133 w 330517"/>
                <a:gd name="connsiteY47" fmla="*/ 41910 h 305752"/>
                <a:gd name="connsiteX48" fmla="*/ 299085 w 330517"/>
                <a:gd name="connsiteY48" fmla="*/ 42863 h 305752"/>
                <a:gd name="connsiteX49" fmla="*/ 299085 w 330517"/>
                <a:gd name="connsiteY49" fmla="*/ 43815 h 305752"/>
                <a:gd name="connsiteX50" fmla="*/ 300037 w 330517"/>
                <a:gd name="connsiteY50" fmla="*/ 45720 h 305752"/>
                <a:gd name="connsiteX51" fmla="*/ 300037 w 330517"/>
                <a:gd name="connsiteY51" fmla="*/ 45720 h 305752"/>
                <a:gd name="connsiteX52" fmla="*/ 300990 w 330517"/>
                <a:gd name="connsiteY52" fmla="*/ 47625 h 305752"/>
                <a:gd name="connsiteX53" fmla="*/ 301942 w 330517"/>
                <a:gd name="connsiteY53" fmla="*/ 48577 h 305752"/>
                <a:gd name="connsiteX54" fmla="*/ 301942 w 330517"/>
                <a:gd name="connsiteY54" fmla="*/ 49530 h 305752"/>
                <a:gd name="connsiteX55" fmla="*/ 303848 w 330517"/>
                <a:gd name="connsiteY55" fmla="*/ 51435 h 305752"/>
                <a:gd name="connsiteX56" fmla="*/ 303848 w 330517"/>
                <a:gd name="connsiteY56" fmla="*/ 51435 h 305752"/>
                <a:gd name="connsiteX57" fmla="*/ 305752 w 330517"/>
                <a:gd name="connsiteY57" fmla="*/ 54292 h 305752"/>
                <a:gd name="connsiteX58" fmla="*/ 306705 w 330517"/>
                <a:gd name="connsiteY58" fmla="*/ 56197 h 305752"/>
                <a:gd name="connsiteX59" fmla="*/ 306705 w 330517"/>
                <a:gd name="connsiteY59" fmla="*/ 57150 h 305752"/>
                <a:gd name="connsiteX60" fmla="*/ 306705 w 330517"/>
                <a:gd name="connsiteY60" fmla="*/ 58102 h 305752"/>
                <a:gd name="connsiteX61" fmla="*/ 324802 w 330517"/>
                <a:gd name="connsiteY61" fmla="*/ 96202 h 305752"/>
                <a:gd name="connsiteX62" fmla="*/ 324802 w 330517"/>
                <a:gd name="connsiteY62" fmla="*/ 97155 h 305752"/>
                <a:gd name="connsiteX63" fmla="*/ 326708 w 330517"/>
                <a:gd name="connsiteY63" fmla="*/ 103822 h 305752"/>
                <a:gd name="connsiteX64" fmla="*/ 326708 w 330517"/>
                <a:gd name="connsiteY64" fmla="*/ 103822 h 305752"/>
                <a:gd name="connsiteX65" fmla="*/ 330517 w 330517"/>
                <a:gd name="connsiteY65" fmla="*/ 120967 h 305752"/>
                <a:gd name="connsiteX66" fmla="*/ 330517 w 330517"/>
                <a:gd name="connsiteY66" fmla="*/ 121920 h 305752"/>
                <a:gd name="connsiteX67" fmla="*/ 330517 w 330517"/>
                <a:gd name="connsiteY67" fmla="*/ 124777 h 305752"/>
                <a:gd name="connsiteX68" fmla="*/ 330517 w 330517"/>
                <a:gd name="connsiteY68" fmla="*/ 124777 h 305752"/>
                <a:gd name="connsiteX69" fmla="*/ 330517 w 330517"/>
                <a:gd name="connsiteY69" fmla="*/ 127635 h 305752"/>
                <a:gd name="connsiteX70" fmla="*/ 330517 w 330517"/>
                <a:gd name="connsiteY70" fmla="*/ 128588 h 305752"/>
                <a:gd name="connsiteX71" fmla="*/ 330517 w 330517"/>
                <a:gd name="connsiteY71" fmla="*/ 131445 h 305752"/>
                <a:gd name="connsiteX72" fmla="*/ 330517 w 330517"/>
                <a:gd name="connsiteY72" fmla="*/ 132397 h 305752"/>
                <a:gd name="connsiteX73" fmla="*/ 330517 w 330517"/>
                <a:gd name="connsiteY73" fmla="*/ 135255 h 305752"/>
                <a:gd name="connsiteX74" fmla="*/ 330517 w 330517"/>
                <a:gd name="connsiteY74" fmla="*/ 136207 h 305752"/>
                <a:gd name="connsiteX75" fmla="*/ 330517 w 330517"/>
                <a:gd name="connsiteY75" fmla="*/ 139065 h 305752"/>
                <a:gd name="connsiteX76" fmla="*/ 330517 w 330517"/>
                <a:gd name="connsiteY76" fmla="*/ 140017 h 305752"/>
                <a:gd name="connsiteX77" fmla="*/ 330517 w 330517"/>
                <a:gd name="connsiteY77" fmla="*/ 142875 h 305752"/>
                <a:gd name="connsiteX78" fmla="*/ 330517 w 330517"/>
                <a:gd name="connsiteY78" fmla="*/ 143827 h 305752"/>
                <a:gd name="connsiteX79" fmla="*/ 330517 w 330517"/>
                <a:gd name="connsiteY79" fmla="*/ 146685 h 305752"/>
                <a:gd name="connsiteX80" fmla="*/ 330517 w 330517"/>
                <a:gd name="connsiteY80" fmla="*/ 146685 h 305752"/>
                <a:gd name="connsiteX81" fmla="*/ 330517 w 330517"/>
                <a:gd name="connsiteY81" fmla="*/ 150495 h 305752"/>
                <a:gd name="connsiteX82" fmla="*/ 330517 w 330517"/>
                <a:gd name="connsiteY82" fmla="*/ 150495 h 305752"/>
                <a:gd name="connsiteX83" fmla="*/ 330517 w 330517"/>
                <a:gd name="connsiteY83" fmla="*/ 154305 h 305752"/>
                <a:gd name="connsiteX84" fmla="*/ 330517 w 330517"/>
                <a:gd name="connsiteY84" fmla="*/ 229552 h 305752"/>
                <a:gd name="connsiteX85" fmla="*/ 330517 w 330517"/>
                <a:gd name="connsiteY85" fmla="*/ 305752 h 305752"/>
                <a:gd name="connsiteX86" fmla="*/ 258127 w 330517"/>
                <a:gd name="connsiteY86" fmla="*/ 305752 h 305752"/>
                <a:gd name="connsiteX87" fmla="*/ 254317 w 330517"/>
                <a:gd name="connsiteY87" fmla="*/ 305752 h 305752"/>
                <a:gd name="connsiteX88" fmla="*/ 109537 w 330517"/>
                <a:gd name="connsiteY88" fmla="*/ 305752 h 305752"/>
                <a:gd name="connsiteX89" fmla="*/ 86677 w 330517"/>
                <a:gd name="connsiteY89" fmla="*/ 302895 h 305752"/>
                <a:gd name="connsiteX90" fmla="*/ 86677 w 330517"/>
                <a:gd name="connsiteY90" fmla="*/ 302895 h 305752"/>
                <a:gd name="connsiteX91" fmla="*/ 80963 w 330517"/>
                <a:gd name="connsiteY91" fmla="*/ 300990 h 305752"/>
                <a:gd name="connsiteX92" fmla="*/ 80010 w 330517"/>
                <a:gd name="connsiteY92" fmla="*/ 300990 h 305752"/>
                <a:gd name="connsiteX93" fmla="*/ 78105 w 330517"/>
                <a:gd name="connsiteY93" fmla="*/ 300038 h 305752"/>
                <a:gd name="connsiteX94" fmla="*/ 78105 w 330517"/>
                <a:gd name="connsiteY94" fmla="*/ 300038 h 305752"/>
                <a:gd name="connsiteX95" fmla="*/ 76200 w 330517"/>
                <a:gd name="connsiteY95" fmla="*/ 299085 h 305752"/>
                <a:gd name="connsiteX96" fmla="*/ 75247 w 330517"/>
                <a:gd name="connsiteY96" fmla="*/ 299085 h 305752"/>
                <a:gd name="connsiteX97" fmla="*/ 74295 w 330517"/>
                <a:gd name="connsiteY97" fmla="*/ 299085 h 305752"/>
                <a:gd name="connsiteX98" fmla="*/ 72390 w 330517"/>
                <a:gd name="connsiteY98" fmla="*/ 298132 h 305752"/>
                <a:gd name="connsiteX99" fmla="*/ 70485 w 330517"/>
                <a:gd name="connsiteY99" fmla="*/ 297180 h 305752"/>
                <a:gd name="connsiteX100" fmla="*/ 70485 w 330517"/>
                <a:gd name="connsiteY100" fmla="*/ 297180 h 305752"/>
                <a:gd name="connsiteX101" fmla="*/ 67627 w 330517"/>
                <a:gd name="connsiteY101" fmla="*/ 296227 h 305752"/>
                <a:gd name="connsiteX102" fmla="*/ 67627 w 330517"/>
                <a:gd name="connsiteY102" fmla="*/ 296227 h 305752"/>
                <a:gd name="connsiteX103" fmla="*/ 64770 w 330517"/>
                <a:gd name="connsiteY103" fmla="*/ 295275 h 305752"/>
                <a:gd name="connsiteX104" fmla="*/ 64770 w 330517"/>
                <a:gd name="connsiteY104" fmla="*/ 295275 h 305752"/>
                <a:gd name="connsiteX105" fmla="*/ 61913 w 330517"/>
                <a:gd name="connsiteY105" fmla="*/ 294322 h 305752"/>
                <a:gd name="connsiteX106" fmla="*/ 61913 w 330517"/>
                <a:gd name="connsiteY106" fmla="*/ 294322 h 305752"/>
                <a:gd name="connsiteX107" fmla="*/ 59055 w 330517"/>
                <a:gd name="connsiteY107" fmla="*/ 293370 h 305752"/>
                <a:gd name="connsiteX108" fmla="*/ 59055 w 330517"/>
                <a:gd name="connsiteY108" fmla="*/ 293370 h 305752"/>
                <a:gd name="connsiteX109" fmla="*/ 56197 w 330517"/>
                <a:gd name="connsiteY109" fmla="*/ 291465 h 305752"/>
                <a:gd name="connsiteX110" fmla="*/ 56197 w 330517"/>
                <a:gd name="connsiteY110" fmla="*/ 291465 h 305752"/>
                <a:gd name="connsiteX111" fmla="*/ 53340 w 330517"/>
                <a:gd name="connsiteY111" fmla="*/ 289560 h 305752"/>
                <a:gd name="connsiteX112" fmla="*/ 53340 w 330517"/>
                <a:gd name="connsiteY112" fmla="*/ 289560 h 305752"/>
                <a:gd name="connsiteX113" fmla="*/ 51435 w 330517"/>
                <a:gd name="connsiteY113" fmla="*/ 287655 h 305752"/>
                <a:gd name="connsiteX114" fmla="*/ 51435 w 330517"/>
                <a:gd name="connsiteY114" fmla="*/ 287655 h 305752"/>
                <a:gd name="connsiteX115" fmla="*/ 49530 w 330517"/>
                <a:gd name="connsiteY115" fmla="*/ 285750 h 305752"/>
                <a:gd name="connsiteX116" fmla="*/ 49530 w 330517"/>
                <a:gd name="connsiteY116" fmla="*/ 285750 h 305752"/>
                <a:gd name="connsiteX117" fmla="*/ 49530 w 330517"/>
                <a:gd name="connsiteY117" fmla="*/ 285750 h 305752"/>
                <a:gd name="connsiteX118" fmla="*/ 40005 w 330517"/>
                <a:gd name="connsiteY118" fmla="*/ 278130 h 305752"/>
                <a:gd name="connsiteX119" fmla="*/ 40005 w 330517"/>
                <a:gd name="connsiteY119" fmla="*/ 278130 h 305752"/>
                <a:gd name="connsiteX120" fmla="*/ 38100 w 330517"/>
                <a:gd name="connsiteY120" fmla="*/ 277177 h 305752"/>
                <a:gd name="connsiteX121" fmla="*/ 38100 w 330517"/>
                <a:gd name="connsiteY121" fmla="*/ 277177 h 305752"/>
                <a:gd name="connsiteX122" fmla="*/ 37147 w 330517"/>
                <a:gd name="connsiteY122" fmla="*/ 276225 h 305752"/>
                <a:gd name="connsiteX123" fmla="*/ 36195 w 330517"/>
                <a:gd name="connsiteY123" fmla="*/ 275272 h 305752"/>
                <a:gd name="connsiteX124" fmla="*/ 35242 w 330517"/>
                <a:gd name="connsiteY124" fmla="*/ 274320 h 305752"/>
                <a:gd name="connsiteX125" fmla="*/ 34290 w 330517"/>
                <a:gd name="connsiteY125" fmla="*/ 273367 h 305752"/>
                <a:gd name="connsiteX126" fmla="*/ 34290 w 330517"/>
                <a:gd name="connsiteY126" fmla="*/ 273367 h 305752"/>
                <a:gd name="connsiteX127" fmla="*/ 32385 w 330517"/>
                <a:gd name="connsiteY127" fmla="*/ 271463 h 305752"/>
                <a:gd name="connsiteX128" fmla="*/ 32385 w 330517"/>
                <a:gd name="connsiteY128" fmla="*/ 271463 h 305752"/>
                <a:gd name="connsiteX129" fmla="*/ 31433 w 330517"/>
                <a:gd name="connsiteY129" fmla="*/ 270510 h 305752"/>
                <a:gd name="connsiteX130" fmla="*/ 30480 w 330517"/>
                <a:gd name="connsiteY130" fmla="*/ 269557 h 305752"/>
                <a:gd name="connsiteX131" fmla="*/ 30480 w 330517"/>
                <a:gd name="connsiteY131" fmla="*/ 269557 h 305752"/>
                <a:gd name="connsiteX132" fmla="*/ 28575 w 330517"/>
                <a:gd name="connsiteY132" fmla="*/ 267652 h 305752"/>
                <a:gd name="connsiteX133" fmla="*/ 28575 w 330517"/>
                <a:gd name="connsiteY133" fmla="*/ 267652 h 305752"/>
                <a:gd name="connsiteX134" fmla="*/ 27622 w 330517"/>
                <a:gd name="connsiteY134" fmla="*/ 266700 h 305752"/>
                <a:gd name="connsiteX135" fmla="*/ 26670 w 330517"/>
                <a:gd name="connsiteY135" fmla="*/ 265747 h 305752"/>
                <a:gd name="connsiteX136" fmla="*/ 26670 w 330517"/>
                <a:gd name="connsiteY136" fmla="*/ 264795 h 305752"/>
                <a:gd name="connsiteX137" fmla="*/ 30480 w 330517"/>
                <a:gd name="connsiteY137" fmla="*/ 260032 h 305752"/>
                <a:gd name="connsiteX138" fmla="*/ 30480 w 330517"/>
                <a:gd name="connsiteY138" fmla="*/ 260032 h 305752"/>
                <a:gd name="connsiteX139" fmla="*/ 29527 w 330517"/>
                <a:gd name="connsiteY139" fmla="*/ 258127 h 305752"/>
                <a:gd name="connsiteX140" fmla="*/ 28575 w 330517"/>
                <a:gd name="connsiteY140" fmla="*/ 257175 h 305752"/>
                <a:gd name="connsiteX141" fmla="*/ 28575 w 330517"/>
                <a:gd name="connsiteY141" fmla="*/ 256222 h 305752"/>
                <a:gd name="connsiteX142" fmla="*/ 26670 w 330517"/>
                <a:gd name="connsiteY142" fmla="*/ 254317 h 305752"/>
                <a:gd name="connsiteX143" fmla="*/ 26670 w 330517"/>
                <a:gd name="connsiteY143" fmla="*/ 254317 h 305752"/>
                <a:gd name="connsiteX144" fmla="*/ 24765 w 330517"/>
                <a:gd name="connsiteY144" fmla="*/ 251460 h 305752"/>
                <a:gd name="connsiteX145" fmla="*/ 23813 w 330517"/>
                <a:gd name="connsiteY145" fmla="*/ 249555 h 305752"/>
                <a:gd name="connsiteX146" fmla="*/ 23813 w 330517"/>
                <a:gd name="connsiteY146" fmla="*/ 248602 h 305752"/>
                <a:gd name="connsiteX147" fmla="*/ 23813 w 330517"/>
                <a:gd name="connsiteY147" fmla="*/ 247650 h 305752"/>
                <a:gd name="connsiteX148" fmla="*/ 5715 w 330517"/>
                <a:gd name="connsiteY148" fmla="*/ 209550 h 305752"/>
                <a:gd name="connsiteX149" fmla="*/ 5715 w 330517"/>
                <a:gd name="connsiteY149" fmla="*/ 208597 h 305752"/>
                <a:gd name="connsiteX150" fmla="*/ 3810 w 330517"/>
                <a:gd name="connsiteY150" fmla="*/ 201930 h 305752"/>
                <a:gd name="connsiteX151" fmla="*/ 3810 w 330517"/>
                <a:gd name="connsiteY151" fmla="*/ 201930 h 305752"/>
                <a:gd name="connsiteX152" fmla="*/ 0 w 330517"/>
                <a:gd name="connsiteY152" fmla="*/ 184785 h 305752"/>
                <a:gd name="connsiteX153" fmla="*/ 0 w 330517"/>
                <a:gd name="connsiteY153" fmla="*/ 183832 h 305752"/>
                <a:gd name="connsiteX154" fmla="*/ 0 w 330517"/>
                <a:gd name="connsiteY154" fmla="*/ 180975 h 305752"/>
                <a:gd name="connsiteX155" fmla="*/ 0 w 330517"/>
                <a:gd name="connsiteY155" fmla="*/ 180975 h 305752"/>
                <a:gd name="connsiteX156" fmla="*/ 0 w 330517"/>
                <a:gd name="connsiteY156" fmla="*/ 178117 h 305752"/>
                <a:gd name="connsiteX157" fmla="*/ 0 w 330517"/>
                <a:gd name="connsiteY157" fmla="*/ 177165 h 305752"/>
                <a:gd name="connsiteX158" fmla="*/ 0 w 330517"/>
                <a:gd name="connsiteY158" fmla="*/ 174307 h 305752"/>
                <a:gd name="connsiteX159" fmla="*/ 0 w 330517"/>
                <a:gd name="connsiteY159" fmla="*/ 173355 h 305752"/>
                <a:gd name="connsiteX160" fmla="*/ 0 w 330517"/>
                <a:gd name="connsiteY160" fmla="*/ 170497 h 305752"/>
                <a:gd name="connsiteX161" fmla="*/ 0 w 330517"/>
                <a:gd name="connsiteY161" fmla="*/ 169545 h 305752"/>
                <a:gd name="connsiteX162" fmla="*/ 0 w 330517"/>
                <a:gd name="connsiteY162" fmla="*/ 166688 h 305752"/>
                <a:gd name="connsiteX163" fmla="*/ 0 w 330517"/>
                <a:gd name="connsiteY163" fmla="*/ 165735 h 305752"/>
                <a:gd name="connsiteX164" fmla="*/ 0 w 330517"/>
                <a:gd name="connsiteY164" fmla="*/ 162877 h 305752"/>
                <a:gd name="connsiteX165" fmla="*/ 0 w 330517"/>
                <a:gd name="connsiteY165" fmla="*/ 161925 h 305752"/>
                <a:gd name="connsiteX166" fmla="*/ 0 w 330517"/>
                <a:gd name="connsiteY166" fmla="*/ 159067 h 305752"/>
                <a:gd name="connsiteX167" fmla="*/ 0 w 330517"/>
                <a:gd name="connsiteY167" fmla="*/ 159067 h 305752"/>
                <a:gd name="connsiteX168" fmla="*/ 0 w 330517"/>
                <a:gd name="connsiteY168" fmla="*/ 155257 h 305752"/>
                <a:gd name="connsiteX169" fmla="*/ 0 w 330517"/>
                <a:gd name="connsiteY169" fmla="*/ 155257 h 305752"/>
                <a:gd name="connsiteX170" fmla="*/ 0 w 330517"/>
                <a:gd name="connsiteY170" fmla="*/ 151447 h 305752"/>
                <a:gd name="connsiteX171" fmla="*/ 0 w 330517"/>
                <a:gd name="connsiteY171" fmla="*/ 76200 h 305752"/>
                <a:gd name="connsiteX172" fmla="*/ 0 w 330517"/>
                <a:gd name="connsiteY172" fmla="*/ 0 h 305752"/>
                <a:gd name="connsiteX173" fmla="*/ 72390 w 330517"/>
                <a:gd name="connsiteY173" fmla="*/ 0 h 305752"/>
                <a:gd name="connsiteX174" fmla="*/ 71438 w 330517"/>
                <a:gd name="connsiteY174" fmla="*/ 1905 h 3057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Lst>
              <a:rect l="l" t="t" r="r" b="b"/>
              <a:pathLst>
                <a:path w="330517" h="305752">
                  <a:moveTo>
                    <a:pt x="71438" y="1905"/>
                  </a:moveTo>
                  <a:lnTo>
                    <a:pt x="216217" y="1905"/>
                  </a:lnTo>
                  <a:cubicBezTo>
                    <a:pt x="223837" y="1905"/>
                    <a:pt x="231458" y="2857"/>
                    <a:pt x="239077" y="4763"/>
                  </a:cubicBezTo>
                  <a:lnTo>
                    <a:pt x="239077" y="4763"/>
                  </a:lnTo>
                  <a:cubicBezTo>
                    <a:pt x="240983" y="4763"/>
                    <a:pt x="242887" y="5715"/>
                    <a:pt x="244792" y="6667"/>
                  </a:cubicBezTo>
                  <a:lnTo>
                    <a:pt x="245745" y="6667"/>
                  </a:lnTo>
                  <a:lnTo>
                    <a:pt x="247650" y="7620"/>
                  </a:lnTo>
                  <a:lnTo>
                    <a:pt x="247650" y="7620"/>
                  </a:lnTo>
                  <a:lnTo>
                    <a:pt x="249555" y="8572"/>
                  </a:lnTo>
                  <a:lnTo>
                    <a:pt x="250508" y="8572"/>
                  </a:lnTo>
                  <a:lnTo>
                    <a:pt x="251460" y="8572"/>
                  </a:lnTo>
                  <a:lnTo>
                    <a:pt x="253365" y="9525"/>
                  </a:lnTo>
                  <a:lnTo>
                    <a:pt x="255270" y="10477"/>
                  </a:lnTo>
                  <a:lnTo>
                    <a:pt x="255270" y="10477"/>
                  </a:lnTo>
                  <a:lnTo>
                    <a:pt x="258127" y="11430"/>
                  </a:lnTo>
                  <a:lnTo>
                    <a:pt x="258127" y="11430"/>
                  </a:lnTo>
                  <a:lnTo>
                    <a:pt x="260985" y="12382"/>
                  </a:lnTo>
                  <a:lnTo>
                    <a:pt x="260985" y="12382"/>
                  </a:lnTo>
                  <a:lnTo>
                    <a:pt x="263842" y="13335"/>
                  </a:lnTo>
                  <a:lnTo>
                    <a:pt x="263842" y="13335"/>
                  </a:lnTo>
                  <a:lnTo>
                    <a:pt x="266700" y="15240"/>
                  </a:lnTo>
                  <a:lnTo>
                    <a:pt x="266700" y="15240"/>
                  </a:lnTo>
                  <a:lnTo>
                    <a:pt x="269558" y="17145"/>
                  </a:lnTo>
                  <a:lnTo>
                    <a:pt x="269558" y="17145"/>
                  </a:lnTo>
                  <a:lnTo>
                    <a:pt x="272415" y="19050"/>
                  </a:lnTo>
                  <a:lnTo>
                    <a:pt x="272415" y="19050"/>
                  </a:lnTo>
                  <a:lnTo>
                    <a:pt x="274320" y="20955"/>
                  </a:lnTo>
                  <a:lnTo>
                    <a:pt x="274320" y="20955"/>
                  </a:lnTo>
                  <a:lnTo>
                    <a:pt x="276225" y="22860"/>
                  </a:lnTo>
                  <a:lnTo>
                    <a:pt x="276225" y="22860"/>
                  </a:lnTo>
                  <a:lnTo>
                    <a:pt x="276225" y="22860"/>
                  </a:lnTo>
                  <a:cubicBezTo>
                    <a:pt x="279083" y="24765"/>
                    <a:pt x="282892" y="27622"/>
                    <a:pt x="285750" y="30480"/>
                  </a:cubicBezTo>
                  <a:lnTo>
                    <a:pt x="285750" y="30480"/>
                  </a:lnTo>
                  <a:lnTo>
                    <a:pt x="287655" y="31432"/>
                  </a:lnTo>
                  <a:lnTo>
                    <a:pt x="287655" y="31432"/>
                  </a:lnTo>
                  <a:lnTo>
                    <a:pt x="288608" y="32385"/>
                  </a:lnTo>
                  <a:lnTo>
                    <a:pt x="289560" y="33338"/>
                  </a:lnTo>
                  <a:lnTo>
                    <a:pt x="290512" y="34290"/>
                  </a:lnTo>
                  <a:lnTo>
                    <a:pt x="291465" y="35242"/>
                  </a:lnTo>
                  <a:lnTo>
                    <a:pt x="291465" y="35242"/>
                  </a:lnTo>
                  <a:lnTo>
                    <a:pt x="293370" y="37147"/>
                  </a:lnTo>
                  <a:lnTo>
                    <a:pt x="293370" y="37147"/>
                  </a:lnTo>
                  <a:lnTo>
                    <a:pt x="294323" y="38100"/>
                  </a:lnTo>
                  <a:lnTo>
                    <a:pt x="295275" y="39052"/>
                  </a:lnTo>
                  <a:lnTo>
                    <a:pt x="295275" y="39052"/>
                  </a:lnTo>
                  <a:lnTo>
                    <a:pt x="297180" y="40957"/>
                  </a:lnTo>
                  <a:lnTo>
                    <a:pt x="297180" y="40957"/>
                  </a:lnTo>
                  <a:lnTo>
                    <a:pt x="298133" y="41910"/>
                  </a:lnTo>
                  <a:lnTo>
                    <a:pt x="299085" y="42863"/>
                  </a:lnTo>
                  <a:lnTo>
                    <a:pt x="299085" y="43815"/>
                  </a:lnTo>
                  <a:lnTo>
                    <a:pt x="300037" y="45720"/>
                  </a:lnTo>
                  <a:lnTo>
                    <a:pt x="300037" y="45720"/>
                  </a:lnTo>
                  <a:lnTo>
                    <a:pt x="300990" y="47625"/>
                  </a:lnTo>
                  <a:lnTo>
                    <a:pt x="301942" y="48577"/>
                  </a:lnTo>
                  <a:lnTo>
                    <a:pt x="301942" y="49530"/>
                  </a:lnTo>
                  <a:lnTo>
                    <a:pt x="303848" y="51435"/>
                  </a:lnTo>
                  <a:lnTo>
                    <a:pt x="303848" y="51435"/>
                  </a:lnTo>
                  <a:lnTo>
                    <a:pt x="305752" y="54292"/>
                  </a:lnTo>
                  <a:lnTo>
                    <a:pt x="306705" y="56197"/>
                  </a:lnTo>
                  <a:lnTo>
                    <a:pt x="306705" y="57150"/>
                  </a:lnTo>
                  <a:lnTo>
                    <a:pt x="306705" y="58102"/>
                  </a:lnTo>
                  <a:cubicBezTo>
                    <a:pt x="314325" y="69532"/>
                    <a:pt x="320040" y="82867"/>
                    <a:pt x="324802" y="96202"/>
                  </a:cubicBezTo>
                  <a:lnTo>
                    <a:pt x="324802" y="97155"/>
                  </a:lnTo>
                  <a:cubicBezTo>
                    <a:pt x="325755" y="99060"/>
                    <a:pt x="325755" y="100965"/>
                    <a:pt x="326708" y="103822"/>
                  </a:cubicBezTo>
                  <a:lnTo>
                    <a:pt x="326708" y="103822"/>
                  </a:lnTo>
                  <a:cubicBezTo>
                    <a:pt x="328612" y="109538"/>
                    <a:pt x="329565" y="115252"/>
                    <a:pt x="330517" y="120967"/>
                  </a:cubicBezTo>
                  <a:lnTo>
                    <a:pt x="330517" y="121920"/>
                  </a:lnTo>
                  <a:lnTo>
                    <a:pt x="330517" y="124777"/>
                  </a:lnTo>
                  <a:lnTo>
                    <a:pt x="330517" y="124777"/>
                  </a:lnTo>
                  <a:lnTo>
                    <a:pt x="330517" y="127635"/>
                  </a:lnTo>
                  <a:lnTo>
                    <a:pt x="330517" y="128588"/>
                  </a:lnTo>
                  <a:lnTo>
                    <a:pt x="330517" y="131445"/>
                  </a:lnTo>
                  <a:lnTo>
                    <a:pt x="330517" y="132397"/>
                  </a:lnTo>
                  <a:lnTo>
                    <a:pt x="330517" y="135255"/>
                  </a:lnTo>
                  <a:lnTo>
                    <a:pt x="330517" y="136207"/>
                  </a:lnTo>
                  <a:lnTo>
                    <a:pt x="330517" y="139065"/>
                  </a:lnTo>
                  <a:lnTo>
                    <a:pt x="330517" y="140017"/>
                  </a:lnTo>
                  <a:lnTo>
                    <a:pt x="330517" y="142875"/>
                  </a:lnTo>
                  <a:lnTo>
                    <a:pt x="330517" y="143827"/>
                  </a:lnTo>
                  <a:lnTo>
                    <a:pt x="330517" y="146685"/>
                  </a:lnTo>
                  <a:lnTo>
                    <a:pt x="330517" y="146685"/>
                  </a:lnTo>
                  <a:lnTo>
                    <a:pt x="330517" y="150495"/>
                  </a:lnTo>
                  <a:lnTo>
                    <a:pt x="330517" y="150495"/>
                  </a:lnTo>
                  <a:lnTo>
                    <a:pt x="330517" y="154305"/>
                  </a:lnTo>
                  <a:lnTo>
                    <a:pt x="330517" y="229552"/>
                  </a:lnTo>
                  <a:lnTo>
                    <a:pt x="330517" y="305752"/>
                  </a:lnTo>
                  <a:lnTo>
                    <a:pt x="258127" y="305752"/>
                  </a:lnTo>
                  <a:cubicBezTo>
                    <a:pt x="257175" y="305752"/>
                    <a:pt x="255270" y="305752"/>
                    <a:pt x="254317" y="305752"/>
                  </a:cubicBezTo>
                  <a:lnTo>
                    <a:pt x="109537" y="305752"/>
                  </a:lnTo>
                  <a:cubicBezTo>
                    <a:pt x="101917" y="305752"/>
                    <a:pt x="94297" y="304800"/>
                    <a:pt x="86677" y="302895"/>
                  </a:cubicBezTo>
                  <a:lnTo>
                    <a:pt x="86677" y="302895"/>
                  </a:lnTo>
                  <a:cubicBezTo>
                    <a:pt x="84772" y="302895"/>
                    <a:pt x="82867" y="301942"/>
                    <a:pt x="80963" y="300990"/>
                  </a:cubicBezTo>
                  <a:lnTo>
                    <a:pt x="80010" y="300990"/>
                  </a:lnTo>
                  <a:lnTo>
                    <a:pt x="78105" y="300038"/>
                  </a:lnTo>
                  <a:lnTo>
                    <a:pt x="78105" y="300038"/>
                  </a:lnTo>
                  <a:lnTo>
                    <a:pt x="76200" y="299085"/>
                  </a:lnTo>
                  <a:lnTo>
                    <a:pt x="75247" y="299085"/>
                  </a:lnTo>
                  <a:lnTo>
                    <a:pt x="74295" y="299085"/>
                  </a:lnTo>
                  <a:lnTo>
                    <a:pt x="72390" y="298132"/>
                  </a:lnTo>
                  <a:lnTo>
                    <a:pt x="70485" y="297180"/>
                  </a:lnTo>
                  <a:lnTo>
                    <a:pt x="70485" y="297180"/>
                  </a:lnTo>
                  <a:lnTo>
                    <a:pt x="67627" y="296227"/>
                  </a:lnTo>
                  <a:lnTo>
                    <a:pt x="67627" y="296227"/>
                  </a:lnTo>
                  <a:lnTo>
                    <a:pt x="64770" y="295275"/>
                  </a:lnTo>
                  <a:lnTo>
                    <a:pt x="64770" y="295275"/>
                  </a:lnTo>
                  <a:lnTo>
                    <a:pt x="61913" y="294322"/>
                  </a:lnTo>
                  <a:lnTo>
                    <a:pt x="61913" y="294322"/>
                  </a:lnTo>
                  <a:lnTo>
                    <a:pt x="59055" y="293370"/>
                  </a:lnTo>
                  <a:lnTo>
                    <a:pt x="59055" y="293370"/>
                  </a:lnTo>
                  <a:lnTo>
                    <a:pt x="56197" y="291465"/>
                  </a:lnTo>
                  <a:lnTo>
                    <a:pt x="56197" y="291465"/>
                  </a:lnTo>
                  <a:lnTo>
                    <a:pt x="53340" y="289560"/>
                  </a:lnTo>
                  <a:lnTo>
                    <a:pt x="53340" y="289560"/>
                  </a:lnTo>
                  <a:lnTo>
                    <a:pt x="51435" y="287655"/>
                  </a:lnTo>
                  <a:lnTo>
                    <a:pt x="51435" y="287655"/>
                  </a:lnTo>
                  <a:lnTo>
                    <a:pt x="49530" y="285750"/>
                  </a:lnTo>
                  <a:lnTo>
                    <a:pt x="49530" y="285750"/>
                  </a:lnTo>
                  <a:lnTo>
                    <a:pt x="49530" y="285750"/>
                  </a:lnTo>
                  <a:cubicBezTo>
                    <a:pt x="46672" y="283845"/>
                    <a:pt x="42863" y="280988"/>
                    <a:pt x="40005" y="278130"/>
                  </a:cubicBezTo>
                  <a:lnTo>
                    <a:pt x="40005" y="278130"/>
                  </a:lnTo>
                  <a:lnTo>
                    <a:pt x="38100" y="277177"/>
                  </a:lnTo>
                  <a:lnTo>
                    <a:pt x="38100" y="277177"/>
                  </a:lnTo>
                  <a:lnTo>
                    <a:pt x="37147" y="276225"/>
                  </a:lnTo>
                  <a:lnTo>
                    <a:pt x="36195" y="275272"/>
                  </a:lnTo>
                  <a:lnTo>
                    <a:pt x="35242" y="274320"/>
                  </a:lnTo>
                  <a:lnTo>
                    <a:pt x="34290" y="273367"/>
                  </a:lnTo>
                  <a:lnTo>
                    <a:pt x="34290" y="273367"/>
                  </a:lnTo>
                  <a:lnTo>
                    <a:pt x="32385" y="271463"/>
                  </a:lnTo>
                  <a:lnTo>
                    <a:pt x="32385" y="271463"/>
                  </a:lnTo>
                  <a:lnTo>
                    <a:pt x="31433" y="270510"/>
                  </a:lnTo>
                  <a:lnTo>
                    <a:pt x="30480" y="269557"/>
                  </a:lnTo>
                  <a:lnTo>
                    <a:pt x="30480" y="269557"/>
                  </a:lnTo>
                  <a:lnTo>
                    <a:pt x="28575" y="267652"/>
                  </a:lnTo>
                  <a:lnTo>
                    <a:pt x="28575" y="267652"/>
                  </a:lnTo>
                  <a:lnTo>
                    <a:pt x="27622" y="266700"/>
                  </a:lnTo>
                  <a:lnTo>
                    <a:pt x="26670" y="265747"/>
                  </a:lnTo>
                  <a:lnTo>
                    <a:pt x="26670" y="264795"/>
                  </a:lnTo>
                  <a:lnTo>
                    <a:pt x="30480" y="260032"/>
                  </a:lnTo>
                  <a:lnTo>
                    <a:pt x="30480" y="260032"/>
                  </a:lnTo>
                  <a:lnTo>
                    <a:pt x="29527" y="258127"/>
                  </a:lnTo>
                  <a:lnTo>
                    <a:pt x="28575" y="257175"/>
                  </a:lnTo>
                  <a:lnTo>
                    <a:pt x="28575" y="256222"/>
                  </a:lnTo>
                  <a:lnTo>
                    <a:pt x="26670" y="254317"/>
                  </a:lnTo>
                  <a:lnTo>
                    <a:pt x="26670" y="254317"/>
                  </a:lnTo>
                  <a:lnTo>
                    <a:pt x="24765" y="251460"/>
                  </a:lnTo>
                  <a:lnTo>
                    <a:pt x="23813" y="249555"/>
                  </a:lnTo>
                  <a:lnTo>
                    <a:pt x="23813" y="248602"/>
                  </a:lnTo>
                  <a:lnTo>
                    <a:pt x="23813" y="247650"/>
                  </a:lnTo>
                  <a:cubicBezTo>
                    <a:pt x="16192" y="236220"/>
                    <a:pt x="10477" y="222885"/>
                    <a:pt x="5715" y="209550"/>
                  </a:cubicBezTo>
                  <a:lnTo>
                    <a:pt x="5715" y="208597"/>
                  </a:lnTo>
                  <a:cubicBezTo>
                    <a:pt x="4763" y="206692"/>
                    <a:pt x="4763" y="204788"/>
                    <a:pt x="3810" y="201930"/>
                  </a:cubicBezTo>
                  <a:lnTo>
                    <a:pt x="3810" y="201930"/>
                  </a:lnTo>
                  <a:cubicBezTo>
                    <a:pt x="1905" y="196215"/>
                    <a:pt x="952" y="190500"/>
                    <a:pt x="0" y="184785"/>
                  </a:cubicBezTo>
                  <a:lnTo>
                    <a:pt x="0" y="183832"/>
                  </a:lnTo>
                  <a:lnTo>
                    <a:pt x="0" y="180975"/>
                  </a:lnTo>
                  <a:lnTo>
                    <a:pt x="0" y="180975"/>
                  </a:lnTo>
                  <a:lnTo>
                    <a:pt x="0" y="178117"/>
                  </a:lnTo>
                  <a:lnTo>
                    <a:pt x="0" y="177165"/>
                  </a:lnTo>
                  <a:lnTo>
                    <a:pt x="0" y="174307"/>
                  </a:lnTo>
                  <a:lnTo>
                    <a:pt x="0" y="173355"/>
                  </a:lnTo>
                  <a:lnTo>
                    <a:pt x="0" y="170497"/>
                  </a:lnTo>
                  <a:lnTo>
                    <a:pt x="0" y="169545"/>
                  </a:lnTo>
                  <a:lnTo>
                    <a:pt x="0" y="166688"/>
                  </a:lnTo>
                  <a:lnTo>
                    <a:pt x="0" y="165735"/>
                  </a:lnTo>
                  <a:lnTo>
                    <a:pt x="0" y="162877"/>
                  </a:lnTo>
                  <a:lnTo>
                    <a:pt x="0" y="161925"/>
                  </a:lnTo>
                  <a:lnTo>
                    <a:pt x="0" y="159067"/>
                  </a:lnTo>
                  <a:lnTo>
                    <a:pt x="0" y="159067"/>
                  </a:lnTo>
                  <a:lnTo>
                    <a:pt x="0" y="155257"/>
                  </a:lnTo>
                  <a:lnTo>
                    <a:pt x="0" y="155257"/>
                  </a:lnTo>
                  <a:lnTo>
                    <a:pt x="0" y="151447"/>
                  </a:lnTo>
                  <a:lnTo>
                    <a:pt x="0" y="76200"/>
                  </a:lnTo>
                  <a:lnTo>
                    <a:pt x="0" y="0"/>
                  </a:lnTo>
                  <a:lnTo>
                    <a:pt x="72390" y="0"/>
                  </a:lnTo>
                  <a:cubicBezTo>
                    <a:pt x="68580" y="1905"/>
                    <a:pt x="69533" y="1905"/>
                    <a:pt x="71438" y="1905"/>
                  </a:cubicBezTo>
                  <a:close/>
                </a:path>
              </a:pathLst>
            </a:custGeom>
            <a:solidFill>
              <a:schemeClr val="accent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grpSp>
        <p:nvGrpSpPr>
          <p:cNvPr id="67" name="Graphic 1">
            <a:extLst>
              <a:ext uri="{FF2B5EF4-FFF2-40B4-BE49-F238E27FC236}">
                <a16:creationId xmlns:a16="http://schemas.microsoft.com/office/drawing/2014/main" id="{2E543218-0D1B-4F56-B2B2-27D0FE016E44}"/>
              </a:ext>
            </a:extLst>
          </p:cNvPr>
          <p:cNvGrpSpPr/>
          <p:nvPr/>
        </p:nvGrpSpPr>
        <p:grpSpPr>
          <a:xfrm>
            <a:off x="6765504" y="5946908"/>
            <a:ext cx="168458" cy="168898"/>
            <a:chOff x="8959214" y="2548890"/>
            <a:chExt cx="727710" cy="729614"/>
          </a:xfrm>
          <a:solidFill>
            <a:schemeClr val="accent1"/>
          </a:solidFill>
        </p:grpSpPr>
        <p:sp>
          <p:nvSpPr>
            <p:cNvPr id="68" name="Freeform: Shape 150">
              <a:extLst>
                <a:ext uri="{FF2B5EF4-FFF2-40B4-BE49-F238E27FC236}">
                  <a16:creationId xmlns:a16="http://schemas.microsoft.com/office/drawing/2014/main" id="{D8B1C909-C0A1-44E0-A3B9-B8240914A4EC}"/>
                </a:ext>
              </a:extLst>
            </p:cNvPr>
            <p:cNvSpPr/>
            <p:nvPr/>
          </p:nvSpPr>
          <p:spPr>
            <a:xfrm>
              <a:off x="8959214" y="3156584"/>
              <a:ext cx="120967" cy="121920"/>
            </a:xfrm>
            <a:custGeom>
              <a:avLst/>
              <a:gdLst>
                <a:gd name="connsiteX0" fmla="*/ 120968 w 120967"/>
                <a:gd name="connsiteY0" fmla="*/ 33338 h 121920"/>
                <a:gd name="connsiteX1" fmla="*/ 33338 w 120967"/>
                <a:gd name="connsiteY1" fmla="*/ 121920 h 121920"/>
                <a:gd name="connsiteX2" fmla="*/ 0 w 120967"/>
                <a:gd name="connsiteY2" fmla="*/ 88583 h 121920"/>
                <a:gd name="connsiteX3" fmla="*/ 87630 w 120967"/>
                <a:gd name="connsiteY3" fmla="*/ 0 h 121920"/>
                <a:gd name="connsiteX4" fmla="*/ 103823 w 120967"/>
                <a:gd name="connsiteY4" fmla="*/ 18098 h 121920"/>
                <a:gd name="connsiteX5" fmla="*/ 120968 w 120967"/>
                <a:gd name="connsiteY5" fmla="*/ 33338 h 121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0967" h="121920">
                  <a:moveTo>
                    <a:pt x="120968" y="33338"/>
                  </a:moveTo>
                  <a:lnTo>
                    <a:pt x="33338" y="121920"/>
                  </a:lnTo>
                  <a:lnTo>
                    <a:pt x="0" y="88583"/>
                  </a:lnTo>
                  <a:lnTo>
                    <a:pt x="87630" y="0"/>
                  </a:lnTo>
                  <a:cubicBezTo>
                    <a:pt x="92393" y="5715"/>
                    <a:pt x="98108" y="12383"/>
                    <a:pt x="103823" y="18098"/>
                  </a:cubicBezTo>
                  <a:cubicBezTo>
                    <a:pt x="109538" y="22860"/>
                    <a:pt x="115253" y="27623"/>
                    <a:pt x="120968" y="3333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nvGrpSpPr>
            <p:cNvPr id="69" name="Graphic 1">
              <a:extLst>
                <a:ext uri="{FF2B5EF4-FFF2-40B4-BE49-F238E27FC236}">
                  <a16:creationId xmlns:a16="http://schemas.microsoft.com/office/drawing/2014/main" id="{DBD2A668-FBB6-479E-9B1D-52DB1E5506FC}"/>
                </a:ext>
              </a:extLst>
            </p:cNvPr>
            <p:cNvGrpSpPr/>
            <p:nvPr/>
          </p:nvGrpSpPr>
          <p:grpSpPr>
            <a:xfrm>
              <a:off x="8971174" y="2548890"/>
              <a:ext cx="715750" cy="716279"/>
              <a:chOff x="8971174" y="2548890"/>
              <a:chExt cx="715750" cy="716279"/>
            </a:xfrm>
            <a:grpFill/>
          </p:grpSpPr>
          <p:sp>
            <p:nvSpPr>
              <p:cNvPr id="70" name="Freeform: Shape 152">
                <a:extLst>
                  <a:ext uri="{FF2B5EF4-FFF2-40B4-BE49-F238E27FC236}">
                    <a16:creationId xmlns:a16="http://schemas.microsoft.com/office/drawing/2014/main" id="{3BB34244-CFB6-46D3-98D4-D4F13E5A00FA}"/>
                  </a:ext>
                </a:extLst>
              </p:cNvPr>
              <p:cNvSpPr/>
              <p:nvPr/>
            </p:nvSpPr>
            <p:spPr>
              <a:xfrm>
                <a:off x="8971174" y="2548890"/>
                <a:ext cx="715750" cy="716279"/>
              </a:xfrm>
              <a:custGeom>
                <a:avLst/>
                <a:gdLst>
                  <a:gd name="connsiteX0" fmla="*/ 686223 w 715750"/>
                  <a:gd name="connsiteY0" fmla="*/ 3810 h 716279"/>
                  <a:gd name="connsiteX1" fmla="*/ 91863 w 715750"/>
                  <a:gd name="connsiteY1" fmla="*/ 180975 h 716279"/>
                  <a:gd name="connsiteX2" fmla="*/ 75670 w 715750"/>
                  <a:gd name="connsiteY2" fmla="*/ 606743 h 716279"/>
                  <a:gd name="connsiteX3" fmla="*/ 149965 w 715750"/>
                  <a:gd name="connsiteY3" fmla="*/ 532447 h 716279"/>
                  <a:gd name="connsiteX4" fmla="*/ 183303 w 715750"/>
                  <a:gd name="connsiteY4" fmla="*/ 565785 h 716279"/>
                  <a:gd name="connsiteX5" fmla="*/ 109008 w 715750"/>
                  <a:gd name="connsiteY5" fmla="*/ 640080 h 716279"/>
                  <a:gd name="connsiteX6" fmla="*/ 313795 w 715750"/>
                  <a:gd name="connsiteY6" fmla="*/ 716280 h 716279"/>
                  <a:gd name="connsiteX7" fmla="*/ 535728 w 715750"/>
                  <a:gd name="connsiteY7" fmla="*/ 624840 h 716279"/>
                  <a:gd name="connsiteX8" fmla="*/ 711940 w 715750"/>
                  <a:gd name="connsiteY8" fmla="*/ 30480 h 716279"/>
                  <a:gd name="connsiteX9" fmla="*/ 715750 w 715750"/>
                  <a:gd name="connsiteY9" fmla="*/ 0 h 716279"/>
                  <a:gd name="connsiteX10" fmla="*/ 686223 w 715750"/>
                  <a:gd name="connsiteY10" fmla="*/ 3810 h 716279"/>
                  <a:gd name="connsiteX11" fmla="*/ 390948 w 715750"/>
                  <a:gd name="connsiteY11" fmla="*/ 454342 h 716279"/>
                  <a:gd name="connsiteX12" fmla="*/ 303318 w 715750"/>
                  <a:gd name="connsiteY12" fmla="*/ 488632 h 716279"/>
                  <a:gd name="connsiteX13" fmla="*/ 215688 w 715750"/>
                  <a:gd name="connsiteY13" fmla="*/ 455295 h 716279"/>
                  <a:gd name="connsiteX14" fmla="*/ 183303 w 715750"/>
                  <a:gd name="connsiteY14" fmla="*/ 362902 h 716279"/>
                  <a:gd name="connsiteX15" fmla="*/ 194733 w 715750"/>
                  <a:gd name="connsiteY15" fmla="*/ 299085 h 716279"/>
                  <a:gd name="connsiteX16" fmla="*/ 217593 w 715750"/>
                  <a:gd name="connsiteY16" fmla="*/ 264795 h 716279"/>
                  <a:gd name="connsiteX17" fmla="*/ 249978 w 715750"/>
                  <a:gd name="connsiteY17" fmla="*/ 242888 h 716279"/>
                  <a:gd name="connsiteX18" fmla="*/ 303318 w 715750"/>
                  <a:gd name="connsiteY18" fmla="*/ 233363 h 716279"/>
                  <a:gd name="connsiteX19" fmla="*/ 390948 w 715750"/>
                  <a:gd name="connsiteY19" fmla="*/ 267652 h 716279"/>
                  <a:gd name="connsiteX20" fmla="*/ 424286 w 715750"/>
                  <a:gd name="connsiteY20" fmla="*/ 361950 h 716279"/>
                  <a:gd name="connsiteX21" fmla="*/ 390948 w 715750"/>
                  <a:gd name="connsiteY21" fmla="*/ 454342 h 716279"/>
                  <a:gd name="connsiteX22" fmla="*/ 500486 w 715750"/>
                  <a:gd name="connsiteY22" fmla="*/ 500063 h 716279"/>
                  <a:gd name="connsiteX23" fmla="*/ 500486 w 715750"/>
                  <a:gd name="connsiteY23" fmla="*/ 516255 h 716279"/>
                  <a:gd name="connsiteX24" fmla="*/ 439525 w 715750"/>
                  <a:gd name="connsiteY24" fmla="*/ 516255 h 716279"/>
                  <a:gd name="connsiteX25" fmla="*/ 445240 w 715750"/>
                  <a:gd name="connsiteY25" fmla="*/ 499110 h 716279"/>
                  <a:gd name="connsiteX26" fmla="*/ 465243 w 715750"/>
                  <a:gd name="connsiteY26" fmla="*/ 477202 h 716279"/>
                  <a:gd name="connsiteX27" fmla="*/ 479530 w 715750"/>
                  <a:gd name="connsiteY27" fmla="*/ 461963 h 716279"/>
                  <a:gd name="connsiteX28" fmla="*/ 483340 w 715750"/>
                  <a:gd name="connsiteY28" fmla="*/ 451485 h 716279"/>
                  <a:gd name="connsiteX29" fmla="*/ 480483 w 715750"/>
                  <a:gd name="connsiteY29" fmla="*/ 442913 h 716279"/>
                  <a:gd name="connsiteX30" fmla="*/ 471911 w 715750"/>
                  <a:gd name="connsiteY30" fmla="*/ 440055 h 716279"/>
                  <a:gd name="connsiteX31" fmla="*/ 463338 w 715750"/>
                  <a:gd name="connsiteY31" fmla="*/ 442913 h 716279"/>
                  <a:gd name="connsiteX32" fmla="*/ 459528 w 715750"/>
                  <a:gd name="connsiteY32" fmla="*/ 454342 h 716279"/>
                  <a:gd name="connsiteX33" fmla="*/ 442383 w 715750"/>
                  <a:gd name="connsiteY33" fmla="*/ 452438 h 716279"/>
                  <a:gd name="connsiteX34" fmla="*/ 451908 w 715750"/>
                  <a:gd name="connsiteY34" fmla="*/ 431482 h 716279"/>
                  <a:gd name="connsiteX35" fmla="*/ 472863 w 715750"/>
                  <a:gd name="connsiteY35" fmla="*/ 424815 h 716279"/>
                  <a:gd name="connsiteX36" fmla="*/ 493818 w 715750"/>
                  <a:gd name="connsiteY36" fmla="*/ 432435 h 716279"/>
                  <a:gd name="connsiteX37" fmla="*/ 501438 w 715750"/>
                  <a:gd name="connsiteY37" fmla="*/ 450532 h 716279"/>
                  <a:gd name="connsiteX38" fmla="*/ 499533 w 715750"/>
                  <a:gd name="connsiteY38" fmla="*/ 461963 h 716279"/>
                  <a:gd name="connsiteX39" fmla="*/ 492865 w 715750"/>
                  <a:gd name="connsiteY39" fmla="*/ 473392 h 716279"/>
                  <a:gd name="connsiteX40" fmla="*/ 481436 w 715750"/>
                  <a:gd name="connsiteY40" fmla="*/ 484822 h 716279"/>
                  <a:gd name="connsiteX41" fmla="*/ 470958 w 715750"/>
                  <a:gd name="connsiteY41" fmla="*/ 495300 h 716279"/>
                  <a:gd name="connsiteX42" fmla="*/ 467148 w 715750"/>
                  <a:gd name="connsiteY42" fmla="*/ 500063 h 716279"/>
                  <a:gd name="connsiteX43" fmla="*/ 500486 w 715750"/>
                  <a:gd name="connsiteY43" fmla="*/ 500063 h 716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715750" h="716279">
                    <a:moveTo>
                      <a:pt x="686223" y="3810"/>
                    </a:moveTo>
                    <a:cubicBezTo>
                      <a:pt x="667173" y="6667"/>
                      <a:pt x="209973" y="62865"/>
                      <a:pt x="91863" y="180975"/>
                    </a:cubicBezTo>
                    <a:cubicBezTo>
                      <a:pt x="-25295" y="297180"/>
                      <a:pt x="-30057" y="483870"/>
                      <a:pt x="75670" y="606743"/>
                    </a:cubicBezTo>
                    <a:lnTo>
                      <a:pt x="149965" y="532447"/>
                    </a:lnTo>
                    <a:lnTo>
                      <a:pt x="183303" y="565785"/>
                    </a:lnTo>
                    <a:lnTo>
                      <a:pt x="109008" y="640080"/>
                    </a:lnTo>
                    <a:cubicBezTo>
                      <a:pt x="168063" y="690563"/>
                      <a:pt x="240453" y="716280"/>
                      <a:pt x="313795" y="716280"/>
                    </a:cubicBezTo>
                    <a:cubicBezTo>
                      <a:pt x="393805" y="716280"/>
                      <a:pt x="474768" y="685800"/>
                      <a:pt x="535728" y="624840"/>
                    </a:cubicBezTo>
                    <a:cubicBezTo>
                      <a:pt x="653838" y="506730"/>
                      <a:pt x="710036" y="50482"/>
                      <a:pt x="711940" y="30480"/>
                    </a:cubicBezTo>
                    <a:lnTo>
                      <a:pt x="715750" y="0"/>
                    </a:lnTo>
                    <a:lnTo>
                      <a:pt x="686223" y="3810"/>
                    </a:lnTo>
                    <a:close/>
                    <a:moveTo>
                      <a:pt x="390948" y="454342"/>
                    </a:moveTo>
                    <a:cubicBezTo>
                      <a:pt x="369040" y="477202"/>
                      <a:pt x="340465" y="488632"/>
                      <a:pt x="303318" y="488632"/>
                    </a:cubicBezTo>
                    <a:cubicBezTo>
                      <a:pt x="266170" y="488632"/>
                      <a:pt x="237595" y="477202"/>
                      <a:pt x="215688" y="455295"/>
                    </a:cubicBezTo>
                    <a:cubicBezTo>
                      <a:pt x="193780" y="432435"/>
                      <a:pt x="183303" y="401955"/>
                      <a:pt x="183303" y="362902"/>
                    </a:cubicBezTo>
                    <a:cubicBezTo>
                      <a:pt x="183303" y="338138"/>
                      <a:pt x="187113" y="316230"/>
                      <a:pt x="194733" y="299085"/>
                    </a:cubicBezTo>
                    <a:cubicBezTo>
                      <a:pt x="200448" y="286702"/>
                      <a:pt x="208068" y="275272"/>
                      <a:pt x="217593" y="264795"/>
                    </a:cubicBezTo>
                    <a:cubicBezTo>
                      <a:pt x="227118" y="254317"/>
                      <a:pt x="237595" y="247650"/>
                      <a:pt x="249978" y="242888"/>
                    </a:cubicBezTo>
                    <a:cubicBezTo>
                      <a:pt x="265218" y="236220"/>
                      <a:pt x="283315" y="233363"/>
                      <a:pt x="303318" y="233363"/>
                    </a:cubicBezTo>
                    <a:cubicBezTo>
                      <a:pt x="339513" y="233363"/>
                      <a:pt x="369040" y="244792"/>
                      <a:pt x="390948" y="267652"/>
                    </a:cubicBezTo>
                    <a:cubicBezTo>
                      <a:pt x="412855" y="290513"/>
                      <a:pt x="424286" y="321945"/>
                      <a:pt x="424286" y="361950"/>
                    </a:cubicBezTo>
                    <a:cubicBezTo>
                      <a:pt x="423333" y="400050"/>
                      <a:pt x="412855" y="431482"/>
                      <a:pt x="390948" y="454342"/>
                    </a:cubicBezTo>
                    <a:close/>
                    <a:moveTo>
                      <a:pt x="500486" y="500063"/>
                    </a:moveTo>
                    <a:lnTo>
                      <a:pt x="500486" y="516255"/>
                    </a:lnTo>
                    <a:lnTo>
                      <a:pt x="439525" y="516255"/>
                    </a:lnTo>
                    <a:cubicBezTo>
                      <a:pt x="440478" y="510540"/>
                      <a:pt x="442383" y="503872"/>
                      <a:pt x="445240" y="499110"/>
                    </a:cubicBezTo>
                    <a:cubicBezTo>
                      <a:pt x="448098" y="493395"/>
                      <a:pt x="454765" y="486727"/>
                      <a:pt x="465243" y="477202"/>
                    </a:cubicBezTo>
                    <a:cubicBezTo>
                      <a:pt x="472863" y="469582"/>
                      <a:pt x="477625" y="464820"/>
                      <a:pt x="479530" y="461963"/>
                    </a:cubicBezTo>
                    <a:cubicBezTo>
                      <a:pt x="482388" y="458152"/>
                      <a:pt x="483340" y="454342"/>
                      <a:pt x="483340" y="451485"/>
                    </a:cubicBezTo>
                    <a:cubicBezTo>
                      <a:pt x="483340" y="447675"/>
                      <a:pt x="482388" y="444817"/>
                      <a:pt x="480483" y="442913"/>
                    </a:cubicBezTo>
                    <a:cubicBezTo>
                      <a:pt x="478578" y="441007"/>
                      <a:pt x="475720" y="440055"/>
                      <a:pt x="471911" y="440055"/>
                    </a:cubicBezTo>
                    <a:cubicBezTo>
                      <a:pt x="468100" y="440055"/>
                      <a:pt x="465243" y="441007"/>
                      <a:pt x="463338" y="442913"/>
                    </a:cubicBezTo>
                    <a:cubicBezTo>
                      <a:pt x="461433" y="444817"/>
                      <a:pt x="459528" y="448627"/>
                      <a:pt x="459528" y="454342"/>
                    </a:cubicBezTo>
                    <a:lnTo>
                      <a:pt x="442383" y="452438"/>
                    </a:lnTo>
                    <a:cubicBezTo>
                      <a:pt x="443336" y="442913"/>
                      <a:pt x="447145" y="436245"/>
                      <a:pt x="451908" y="431482"/>
                    </a:cubicBezTo>
                    <a:cubicBezTo>
                      <a:pt x="456670" y="426720"/>
                      <a:pt x="464290" y="424815"/>
                      <a:pt x="472863" y="424815"/>
                    </a:cubicBezTo>
                    <a:cubicBezTo>
                      <a:pt x="481436" y="424815"/>
                      <a:pt x="489055" y="427672"/>
                      <a:pt x="493818" y="432435"/>
                    </a:cubicBezTo>
                    <a:cubicBezTo>
                      <a:pt x="498580" y="437197"/>
                      <a:pt x="501438" y="442913"/>
                      <a:pt x="501438" y="450532"/>
                    </a:cubicBezTo>
                    <a:cubicBezTo>
                      <a:pt x="501438" y="454342"/>
                      <a:pt x="500486" y="458152"/>
                      <a:pt x="499533" y="461963"/>
                    </a:cubicBezTo>
                    <a:cubicBezTo>
                      <a:pt x="497628" y="465772"/>
                      <a:pt x="495723" y="469582"/>
                      <a:pt x="492865" y="473392"/>
                    </a:cubicBezTo>
                    <a:cubicBezTo>
                      <a:pt x="490961" y="476250"/>
                      <a:pt x="487150" y="480060"/>
                      <a:pt x="481436" y="484822"/>
                    </a:cubicBezTo>
                    <a:cubicBezTo>
                      <a:pt x="475720" y="489585"/>
                      <a:pt x="472863" y="493395"/>
                      <a:pt x="470958" y="495300"/>
                    </a:cubicBezTo>
                    <a:cubicBezTo>
                      <a:pt x="469053" y="497205"/>
                      <a:pt x="468100" y="498157"/>
                      <a:pt x="467148" y="500063"/>
                    </a:cubicBezTo>
                    <a:lnTo>
                      <a:pt x="500486" y="500063"/>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71" name="Freeform: Shape 153">
                <a:extLst>
                  <a:ext uri="{FF2B5EF4-FFF2-40B4-BE49-F238E27FC236}">
                    <a16:creationId xmlns:a16="http://schemas.microsoft.com/office/drawing/2014/main" id="{55526530-E7D1-468E-9059-E4AF623163ED}"/>
                  </a:ext>
                </a:extLst>
              </p:cNvPr>
              <p:cNvSpPr/>
              <p:nvPr/>
            </p:nvSpPr>
            <p:spPr>
              <a:xfrm>
                <a:off x="9205912" y="2824162"/>
                <a:ext cx="137160" cy="170497"/>
              </a:xfrm>
              <a:custGeom>
                <a:avLst/>
                <a:gdLst>
                  <a:gd name="connsiteX0" fmla="*/ 68580 w 137160"/>
                  <a:gd name="connsiteY0" fmla="*/ 0 h 170497"/>
                  <a:gd name="connsiteX1" fmla="*/ 19050 w 137160"/>
                  <a:gd name="connsiteY1" fmla="*/ 20955 h 170497"/>
                  <a:gd name="connsiteX2" fmla="*/ 0 w 137160"/>
                  <a:gd name="connsiteY2" fmla="*/ 84772 h 170497"/>
                  <a:gd name="connsiteX3" fmla="*/ 19050 w 137160"/>
                  <a:gd name="connsiteY3" fmla="*/ 148590 h 170497"/>
                  <a:gd name="connsiteX4" fmla="*/ 68580 w 137160"/>
                  <a:gd name="connsiteY4" fmla="*/ 170497 h 170497"/>
                  <a:gd name="connsiteX5" fmla="*/ 118110 w 137160"/>
                  <a:gd name="connsiteY5" fmla="*/ 148590 h 170497"/>
                  <a:gd name="connsiteX6" fmla="*/ 137160 w 137160"/>
                  <a:gd name="connsiteY6" fmla="*/ 83820 h 170497"/>
                  <a:gd name="connsiteX7" fmla="*/ 118110 w 137160"/>
                  <a:gd name="connsiteY7" fmla="*/ 20003 h 170497"/>
                  <a:gd name="connsiteX8" fmla="*/ 68580 w 137160"/>
                  <a:gd name="connsiteY8" fmla="*/ 0 h 1704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7160" h="170497">
                    <a:moveTo>
                      <a:pt x="68580" y="0"/>
                    </a:moveTo>
                    <a:cubicBezTo>
                      <a:pt x="47625" y="0"/>
                      <a:pt x="31432" y="6667"/>
                      <a:pt x="19050" y="20955"/>
                    </a:cubicBezTo>
                    <a:cubicBezTo>
                      <a:pt x="6668" y="35242"/>
                      <a:pt x="0" y="56197"/>
                      <a:pt x="0" y="84772"/>
                    </a:cubicBezTo>
                    <a:cubicBezTo>
                      <a:pt x="0" y="112395"/>
                      <a:pt x="6668" y="134303"/>
                      <a:pt x="19050" y="148590"/>
                    </a:cubicBezTo>
                    <a:cubicBezTo>
                      <a:pt x="32385" y="162878"/>
                      <a:pt x="48577" y="170497"/>
                      <a:pt x="68580" y="170497"/>
                    </a:cubicBezTo>
                    <a:cubicBezTo>
                      <a:pt x="88582" y="170497"/>
                      <a:pt x="104775" y="162878"/>
                      <a:pt x="118110" y="148590"/>
                    </a:cubicBezTo>
                    <a:cubicBezTo>
                      <a:pt x="130493" y="134303"/>
                      <a:pt x="137160" y="112395"/>
                      <a:pt x="137160" y="83820"/>
                    </a:cubicBezTo>
                    <a:cubicBezTo>
                      <a:pt x="137160" y="55245"/>
                      <a:pt x="130493" y="34290"/>
                      <a:pt x="118110" y="20003"/>
                    </a:cubicBezTo>
                    <a:cubicBezTo>
                      <a:pt x="105727" y="6667"/>
                      <a:pt x="89535" y="0"/>
                      <a:pt x="68580" y="0"/>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grpSp>
      <p:sp>
        <p:nvSpPr>
          <p:cNvPr id="72" name="TextBox 162">
            <a:extLst>
              <a:ext uri="{FF2B5EF4-FFF2-40B4-BE49-F238E27FC236}">
                <a16:creationId xmlns:a16="http://schemas.microsoft.com/office/drawing/2014/main" id="{F23991F6-2EF8-4459-8AD0-EEAA3C69B215}"/>
              </a:ext>
            </a:extLst>
          </p:cNvPr>
          <p:cNvSpPr txBox="1"/>
          <p:nvPr/>
        </p:nvSpPr>
        <p:spPr>
          <a:xfrm>
            <a:off x="4147592" y="1883880"/>
            <a:ext cx="859792" cy="46166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F0F0F0"/>
                </a:solidFill>
                <a:effectLst/>
                <a:uLnTx/>
                <a:uFillTx/>
                <a:latin typeface="等线 Light" panose="020F0302020204030204"/>
                <a:ea typeface="+mn-ea"/>
                <a:cs typeface="+mn-cs"/>
              </a:rPr>
              <a:t>35%</a:t>
            </a:r>
          </a:p>
        </p:txBody>
      </p:sp>
      <p:sp>
        <p:nvSpPr>
          <p:cNvPr id="73" name="TextBox 163">
            <a:extLst>
              <a:ext uri="{FF2B5EF4-FFF2-40B4-BE49-F238E27FC236}">
                <a16:creationId xmlns:a16="http://schemas.microsoft.com/office/drawing/2014/main" id="{2E71D70B-D0D3-40FD-8C7C-F4549125DA63}"/>
              </a:ext>
            </a:extLst>
          </p:cNvPr>
          <p:cNvSpPr txBox="1"/>
          <p:nvPr/>
        </p:nvSpPr>
        <p:spPr>
          <a:xfrm>
            <a:off x="7168517" y="2492295"/>
            <a:ext cx="859792" cy="46166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F0F0F0"/>
                </a:solidFill>
                <a:effectLst/>
                <a:uLnTx/>
                <a:uFillTx/>
                <a:latin typeface="等线 Light" panose="020F0302020204030204"/>
                <a:ea typeface="+mn-ea"/>
                <a:cs typeface="+mn-cs"/>
              </a:rPr>
              <a:t>65%</a:t>
            </a:r>
          </a:p>
        </p:txBody>
      </p:sp>
      <p:sp>
        <p:nvSpPr>
          <p:cNvPr id="74" name="TextBox 164">
            <a:extLst>
              <a:ext uri="{FF2B5EF4-FFF2-40B4-BE49-F238E27FC236}">
                <a16:creationId xmlns:a16="http://schemas.microsoft.com/office/drawing/2014/main" id="{44AE52C2-E241-4105-BE84-5771CC93BB04}"/>
              </a:ext>
            </a:extLst>
          </p:cNvPr>
          <p:cNvSpPr txBox="1"/>
          <p:nvPr/>
        </p:nvSpPr>
        <p:spPr>
          <a:xfrm>
            <a:off x="7180490" y="3810797"/>
            <a:ext cx="859792" cy="46166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F0F0F0"/>
                </a:solidFill>
                <a:effectLst/>
                <a:uLnTx/>
                <a:uFillTx/>
                <a:latin typeface="等线 Light" panose="020F0302020204030204"/>
                <a:ea typeface="+mn-ea"/>
                <a:cs typeface="+mn-cs"/>
              </a:rPr>
              <a:t>40%</a:t>
            </a:r>
          </a:p>
        </p:txBody>
      </p:sp>
      <p:sp>
        <p:nvSpPr>
          <p:cNvPr id="75" name="TextBox 167">
            <a:extLst>
              <a:ext uri="{FF2B5EF4-FFF2-40B4-BE49-F238E27FC236}">
                <a16:creationId xmlns:a16="http://schemas.microsoft.com/office/drawing/2014/main" id="{CAB58703-CC18-4C94-B69B-0E85B459FA83}"/>
              </a:ext>
            </a:extLst>
          </p:cNvPr>
          <p:cNvSpPr txBox="1"/>
          <p:nvPr/>
        </p:nvSpPr>
        <p:spPr>
          <a:xfrm>
            <a:off x="7180490" y="5129830"/>
            <a:ext cx="859792" cy="46166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F0F0F0"/>
                </a:solidFill>
                <a:effectLst/>
                <a:uLnTx/>
                <a:uFillTx/>
                <a:latin typeface="等线 Light" panose="020F0302020204030204"/>
                <a:ea typeface="+mn-ea"/>
                <a:cs typeface="+mn-cs"/>
              </a:rPr>
              <a:t>25%</a:t>
            </a:r>
          </a:p>
        </p:txBody>
      </p:sp>
      <p:sp>
        <p:nvSpPr>
          <p:cNvPr id="76" name="TextBox 168">
            <a:extLst>
              <a:ext uri="{FF2B5EF4-FFF2-40B4-BE49-F238E27FC236}">
                <a16:creationId xmlns:a16="http://schemas.microsoft.com/office/drawing/2014/main" id="{20E18B2D-45BD-48F2-BDAF-6639377C4742}"/>
              </a:ext>
            </a:extLst>
          </p:cNvPr>
          <p:cNvSpPr txBox="1"/>
          <p:nvPr/>
        </p:nvSpPr>
        <p:spPr>
          <a:xfrm>
            <a:off x="4152248" y="4485749"/>
            <a:ext cx="859792" cy="46166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F0F0F0"/>
                </a:solidFill>
                <a:effectLst/>
                <a:uLnTx/>
                <a:uFillTx/>
                <a:latin typeface="等线 Light" panose="020F0302020204030204"/>
                <a:ea typeface="+mn-ea"/>
                <a:cs typeface="+mn-cs"/>
              </a:rPr>
              <a:t>30%</a:t>
            </a:r>
          </a:p>
        </p:txBody>
      </p:sp>
      <p:sp>
        <p:nvSpPr>
          <p:cNvPr id="77" name="TextBox 169">
            <a:extLst>
              <a:ext uri="{FF2B5EF4-FFF2-40B4-BE49-F238E27FC236}">
                <a16:creationId xmlns:a16="http://schemas.microsoft.com/office/drawing/2014/main" id="{3D13026F-8B89-4EE4-B897-F03E7594AAFA}"/>
              </a:ext>
            </a:extLst>
          </p:cNvPr>
          <p:cNvSpPr txBox="1"/>
          <p:nvPr/>
        </p:nvSpPr>
        <p:spPr>
          <a:xfrm>
            <a:off x="4148096" y="3160329"/>
            <a:ext cx="859792" cy="46166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F0F0F0"/>
                </a:solidFill>
                <a:effectLst/>
                <a:uLnTx/>
                <a:uFillTx/>
                <a:latin typeface="等线 Light" panose="020F0302020204030204"/>
                <a:ea typeface="+mn-ea"/>
                <a:cs typeface="+mn-cs"/>
              </a:rPr>
              <a:t>75%</a:t>
            </a:r>
          </a:p>
        </p:txBody>
      </p:sp>
      <p:sp>
        <p:nvSpPr>
          <p:cNvPr id="78" name="TextBox 170">
            <a:extLst>
              <a:ext uri="{FF2B5EF4-FFF2-40B4-BE49-F238E27FC236}">
                <a16:creationId xmlns:a16="http://schemas.microsoft.com/office/drawing/2014/main" id="{4C14F521-FF1A-483B-8A2C-CF687B9061D6}"/>
              </a:ext>
            </a:extLst>
          </p:cNvPr>
          <p:cNvSpPr txBox="1"/>
          <p:nvPr/>
        </p:nvSpPr>
        <p:spPr>
          <a:xfrm>
            <a:off x="1687687" y="1879640"/>
            <a:ext cx="2251643" cy="616836"/>
          </a:xfrm>
          <a:prstGeom prst="rect">
            <a:avLst/>
          </a:prstGeom>
          <a:noFill/>
        </p:spPr>
        <p:txBody>
          <a:bodyPr wrap="square" rtlCol="0">
            <a:spAutoFit/>
          </a:bodyPr>
          <a:lstStyle/>
          <a:p>
            <a:pPr marL="0" marR="0" lvl="0" indent="0" algn="r" defTabSz="914400" rtl="0" eaLnBrk="1" fontAlgn="auto" latinLnBrk="0" hangingPunct="1">
              <a:lnSpc>
                <a:spcPct val="15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rPr>
              <a:t>A wonderful serenity </a:t>
            </a:r>
            <a:r>
              <a:rPr kumimoji="0" lang="en-US" sz="1200" b="0" i="0" u="none" strike="noStrike" kern="1200" cap="none" spc="0" normalizeH="0" baseline="0" noProof="0">
                <a:ln>
                  <a:noFill/>
                </a:ln>
                <a:solidFill>
                  <a:srgbClr val="000000"/>
                </a:solidFill>
                <a:effectLst/>
                <a:uLnTx/>
                <a:uFillTx/>
                <a:latin typeface="等线" panose="020F0502020204030204"/>
                <a:ea typeface="+mn-ea"/>
                <a:cs typeface="+mn-cs"/>
              </a:rPr>
              <a:t>has taken has this </a:t>
            </a:r>
            <a:r>
              <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rPr>
              <a:t>possession of </a:t>
            </a:r>
            <a:r>
              <a:rPr kumimoji="0" lang="en-US" sz="1200" b="0" i="0" u="none" strike="noStrike" kern="1200" cap="none" spc="0" normalizeH="0" baseline="0" noProof="0">
                <a:ln>
                  <a:noFill/>
                </a:ln>
                <a:solidFill>
                  <a:srgbClr val="000000"/>
                </a:solidFill>
                <a:effectLst/>
                <a:uLnTx/>
                <a:uFillTx/>
                <a:latin typeface="等线" panose="020F0502020204030204"/>
                <a:ea typeface="+mn-ea"/>
                <a:cs typeface="+mn-cs"/>
              </a:rPr>
              <a:t>my entire</a:t>
            </a:r>
            <a:endPar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79" name="TextBox 171">
            <a:extLst>
              <a:ext uri="{FF2B5EF4-FFF2-40B4-BE49-F238E27FC236}">
                <a16:creationId xmlns:a16="http://schemas.microsoft.com/office/drawing/2014/main" id="{81D610B7-DC04-4E2D-9644-4BE7D3428606}"/>
              </a:ext>
            </a:extLst>
          </p:cNvPr>
          <p:cNvSpPr txBox="1"/>
          <p:nvPr/>
        </p:nvSpPr>
        <p:spPr>
          <a:xfrm>
            <a:off x="1791308" y="1617504"/>
            <a:ext cx="2148023" cy="338554"/>
          </a:xfrm>
          <a:prstGeom prst="rect">
            <a:avLst/>
          </a:prstGeom>
          <a:noFill/>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等线 Light" panose="020F0302020204030204"/>
                <a:ea typeface="+mn-ea"/>
                <a:cs typeface="+mn-cs"/>
              </a:rPr>
              <a:t>Description</a:t>
            </a:r>
          </a:p>
        </p:txBody>
      </p:sp>
      <p:sp>
        <p:nvSpPr>
          <p:cNvPr id="80" name="TextBox 172">
            <a:extLst>
              <a:ext uri="{FF2B5EF4-FFF2-40B4-BE49-F238E27FC236}">
                <a16:creationId xmlns:a16="http://schemas.microsoft.com/office/drawing/2014/main" id="{A96C2AE7-89EC-4D39-9D42-10D541336567}"/>
              </a:ext>
            </a:extLst>
          </p:cNvPr>
          <p:cNvSpPr txBox="1"/>
          <p:nvPr/>
        </p:nvSpPr>
        <p:spPr>
          <a:xfrm>
            <a:off x="8233243" y="2495748"/>
            <a:ext cx="2261988" cy="616836"/>
          </a:xfrm>
          <a:prstGeom prst="rect">
            <a:avLst/>
          </a:prstGeom>
          <a:noFill/>
        </p:spPr>
        <p:txBody>
          <a:bodyPr wrap="square" rtlCol="0">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rPr>
              <a:t>A wonderful serenity </a:t>
            </a:r>
            <a:r>
              <a:rPr kumimoji="0" lang="en-US" sz="1200" b="0" i="0" u="none" strike="noStrike" kern="1200" cap="none" spc="0" normalizeH="0" baseline="0" noProof="0">
                <a:ln>
                  <a:noFill/>
                </a:ln>
                <a:solidFill>
                  <a:srgbClr val="000000"/>
                </a:solidFill>
                <a:effectLst/>
                <a:uLnTx/>
                <a:uFillTx/>
                <a:latin typeface="等线" panose="020F0502020204030204"/>
                <a:ea typeface="+mn-ea"/>
                <a:cs typeface="+mn-cs"/>
              </a:rPr>
              <a:t>has taken has this </a:t>
            </a:r>
            <a:r>
              <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rPr>
              <a:t>possession of </a:t>
            </a:r>
            <a:r>
              <a:rPr kumimoji="0" lang="en-US" sz="1200" b="0" i="0" u="none" strike="noStrike" kern="1200" cap="none" spc="0" normalizeH="0" baseline="0" noProof="0">
                <a:ln>
                  <a:noFill/>
                </a:ln>
                <a:solidFill>
                  <a:srgbClr val="000000"/>
                </a:solidFill>
                <a:effectLst/>
                <a:uLnTx/>
                <a:uFillTx/>
                <a:latin typeface="等线" panose="020F0502020204030204"/>
                <a:ea typeface="+mn-ea"/>
                <a:cs typeface="+mn-cs"/>
              </a:rPr>
              <a:t>my entire</a:t>
            </a:r>
            <a:endPar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81" name="TextBox 173">
            <a:extLst>
              <a:ext uri="{FF2B5EF4-FFF2-40B4-BE49-F238E27FC236}">
                <a16:creationId xmlns:a16="http://schemas.microsoft.com/office/drawing/2014/main" id="{9902E0FE-6BBC-4BAB-BE23-6BC275E76FDA}"/>
              </a:ext>
            </a:extLst>
          </p:cNvPr>
          <p:cNvSpPr txBox="1"/>
          <p:nvPr/>
        </p:nvSpPr>
        <p:spPr>
          <a:xfrm>
            <a:off x="8233243" y="2243516"/>
            <a:ext cx="2148023" cy="33855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等线 Light" panose="020F0302020204030204"/>
                <a:ea typeface="+mn-ea"/>
                <a:cs typeface="+mn-cs"/>
              </a:rPr>
              <a:t>Description</a:t>
            </a:r>
          </a:p>
        </p:txBody>
      </p:sp>
      <p:sp>
        <p:nvSpPr>
          <p:cNvPr id="82" name="TextBox 174">
            <a:extLst>
              <a:ext uri="{FF2B5EF4-FFF2-40B4-BE49-F238E27FC236}">
                <a16:creationId xmlns:a16="http://schemas.microsoft.com/office/drawing/2014/main" id="{28B7D3D3-EE5D-4844-ABF3-BAA600250F68}"/>
              </a:ext>
            </a:extLst>
          </p:cNvPr>
          <p:cNvSpPr txBox="1"/>
          <p:nvPr/>
        </p:nvSpPr>
        <p:spPr>
          <a:xfrm>
            <a:off x="1687687" y="3157790"/>
            <a:ext cx="2251643" cy="616836"/>
          </a:xfrm>
          <a:prstGeom prst="rect">
            <a:avLst/>
          </a:prstGeom>
          <a:noFill/>
        </p:spPr>
        <p:txBody>
          <a:bodyPr wrap="square" rtlCol="0">
            <a:spAutoFit/>
          </a:bodyPr>
          <a:lstStyle/>
          <a:p>
            <a:pPr marL="0" marR="0" lvl="0" indent="0" algn="r" defTabSz="914400" rtl="0" eaLnBrk="1" fontAlgn="auto" latinLnBrk="0" hangingPunct="1">
              <a:lnSpc>
                <a:spcPct val="15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rPr>
              <a:t>A wonderful serenity </a:t>
            </a:r>
            <a:r>
              <a:rPr kumimoji="0" lang="en-US" sz="1200" b="0" i="0" u="none" strike="noStrike" kern="1200" cap="none" spc="0" normalizeH="0" baseline="0" noProof="0">
                <a:ln>
                  <a:noFill/>
                </a:ln>
                <a:solidFill>
                  <a:srgbClr val="000000"/>
                </a:solidFill>
                <a:effectLst/>
                <a:uLnTx/>
                <a:uFillTx/>
                <a:latin typeface="等线" panose="020F0502020204030204"/>
                <a:ea typeface="+mn-ea"/>
                <a:cs typeface="+mn-cs"/>
              </a:rPr>
              <a:t>has taken has this </a:t>
            </a:r>
            <a:r>
              <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rPr>
              <a:t>possession of </a:t>
            </a:r>
            <a:r>
              <a:rPr kumimoji="0" lang="en-US" sz="1200" b="0" i="0" u="none" strike="noStrike" kern="1200" cap="none" spc="0" normalizeH="0" baseline="0" noProof="0">
                <a:ln>
                  <a:noFill/>
                </a:ln>
                <a:solidFill>
                  <a:srgbClr val="000000"/>
                </a:solidFill>
                <a:effectLst/>
                <a:uLnTx/>
                <a:uFillTx/>
                <a:latin typeface="等线" panose="020F0502020204030204"/>
                <a:ea typeface="+mn-ea"/>
                <a:cs typeface="+mn-cs"/>
              </a:rPr>
              <a:t>my entire</a:t>
            </a:r>
            <a:endPar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83" name="TextBox 175">
            <a:extLst>
              <a:ext uri="{FF2B5EF4-FFF2-40B4-BE49-F238E27FC236}">
                <a16:creationId xmlns:a16="http://schemas.microsoft.com/office/drawing/2014/main" id="{66FEE02B-D915-4223-8220-63E5B25683BF}"/>
              </a:ext>
            </a:extLst>
          </p:cNvPr>
          <p:cNvSpPr txBox="1"/>
          <p:nvPr/>
        </p:nvSpPr>
        <p:spPr>
          <a:xfrm>
            <a:off x="1791308" y="2895654"/>
            <a:ext cx="2148023" cy="338554"/>
          </a:xfrm>
          <a:prstGeom prst="rect">
            <a:avLst/>
          </a:prstGeom>
          <a:noFill/>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等线 Light" panose="020F0302020204030204"/>
                <a:ea typeface="+mn-ea"/>
                <a:cs typeface="+mn-cs"/>
              </a:rPr>
              <a:t>Description</a:t>
            </a:r>
          </a:p>
        </p:txBody>
      </p:sp>
      <p:sp>
        <p:nvSpPr>
          <p:cNvPr id="84" name="TextBox 176">
            <a:extLst>
              <a:ext uri="{FF2B5EF4-FFF2-40B4-BE49-F238E27FC236}">
                <a16:creationId xmlns:a16="http://schemas.microsoft.com/office/drawing/2014/main" id="{F970667D-B6C5-4AD7-93D9-92B9AB94CA3F}"/>
              </a:ext>
            </a:extLst>
          </p:cNvPr>
          <p:cNvSpPr txBox="1"/>
          <p:nvPr/>
        </p:nvSpPr>
        <p:spPr>
          <a:xfrm>
            <a:off x="1687687" y="4491141"/>
            <a:ext cx="2251643" cy="616836"/>
          </a:xfrm>
          <a:prstGeom prst="rect">
            <a:avLst/>
          </a:prstGeom>
          <a:noFill/>
        </p:spPr>
        <p:txBody>
          <a:bodyPr wrap="square" rtlCol="0">
            <a:spAutoFit/>
          </a:bodyPr>
          <a:lstStyle/>
          <a:p>
            <a:pPr marL="0" marR="0" lvl="0" indent="0" algn="r" defTabSz="914400" rtl="0" eaLnBrk="1" fontAlgn="auto" latinLnBrk="0" hangingPunct="1">
              <a:lnSpc>
                <a:spcPct val="15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rPr>
              <a:t>A wonderful serenity </a:t>
            </a:r>
            <a:r>
              <a:rPr kumimoji="0" lang="en-US" sz="1200" b="0" i="0" u="none" strike="noStrike" kern="1200" cap="none" spc="0" normalizeH="0" baseline="0" noProof="0">
                <a:ln>
                  <a:noFill/>
                </a:ln>
                <a:solidFill>
                  <a:srgbClr val="000000"/>
                </a:solidFill>
                <a:effectLst/>
                <a:uLnTx/>
                <a:uFillTx/>
                <a:latin typeface="等线" panose="020F0502020204030204"/>
                <a:ea typeface="+mn-ea"/>
                <a:cs typeface="+mn-cs"/>
              </a:rPr>
              <a:t>has taken has this </a:t>
            </a:r>
            <a:r>
              <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rPr>
              <a:t>possession of </a:t>
            </a:r>
            <a:r>
              <a:rPr kumimoji="0" lang="en-US" sz="1200" b="0" i="0" u="none" strike="noStrike" kern="1200" cap="none" spc="0" normalizeH="0" baseline="0" noProof="0">
                <a:ln>
                  <a:noFill/>
                </a:ln>
                <a:solidFill>
                  <a:srgbClr val="000000"/>
                </a:solidFill>
                <a:effectLst/>
                <a:uLnTx/>
                <a:uFillTx/>
                <a:latin typeface="等线" panose="020F0502020204030204"/>
                <a:ea typeface="+mn-ea"/>
                <a:cs typeface="+mn-cs"/>
              </a:rPr>
              <a:t>my entire</a:t>
            </a:r>
            <a:endPar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85" name="TextBox 177">
            <a:extLst>
              <a:ext uri="{FF2B5EF4-FFF2-40B4-BE49-F238E27FC236}">
                <a16:creationId xmlns:a16="http://schemas.microsoft.com/office/drawing/2014/main" id="{C13212A2-5398-4444-ADE0-169A567034A3}"/>
              </a:ext>
            </a:extLst>
          </p:cNvPr>
          <p:cNvSpPr txBox="1"/>
          <p:nvPr/>
        </p:nvSpPr>
        <p:spPr>
          <a:xfrm>
            <a:off x="1791308" y="4229005"/>
            <a:ext cx="2148023" cy="338554"/>
          </a:xfrm>
          <a:prstGeom prst="rect">
            <a:avLst/>
          </a:prstGeom>
          <a:noFill/>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等线 Light" panose="020F0302020204030204"/>
                <a:ea typeface="+mn-ea"/>
                <a:cs typeface="+mn-cs"/>
              </a:rPr>
              <a:t>Description</a:t>
            </a:r>
          </a:p>
        </p:txBody>
      </p:sp>
      <p:sp>
        <p:nvSpPr>
          <p:cNvPr id="86" name="TextBox 178">
            <a:extLst>
              <a:ext uri="{FF2B5EF4-FFF2-40B4-BE49-F238E27FC236}">
                <a16:creationId xmlns:a16="http://schemas.microsoft.com/office/drawing/2014/main" id="{5E81E5B0-0DFB-408F-9B32-73B53C0D407B}"/>
              </a:ext>
            </a:extLst>
          </p:cNvPr>
          <p:cNvSpPr txBox="1"/>
          <p:nvPr/>
        </p:nvSpPr>
        <p:spPr>
          <a:xfrm>
            <a:off x="8293779" y="3814539"/>
            <a:ext cx="2261988" cy="616836"/>
          </a:xfrm>
          <a:prstGeom prst="rect">
            <a:avLst/>
          </a:prstGeom>
          <a:noFill/>
        </p:spPr>
        <p:txBody>
          <a:bodyPr wrap="square" rtlCol="0">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rPr>
              <a:t>A wonderful serenity </a:t>
            </a:r>
            <a:r>
              <a:rPr kumimoji="0" lang="en-US" sz="1200" b="0" i="0" u="none" strike="noStrike" kern="1200" cap="none" spc="0" normalizeH="0" baseline="0" noProof="0">
                <a:ln>
                  <a:noFill/>
                </a:ln>
                <a:solidFill>
                  <a:srgbClr val="000000"/>
                </a:solidFill>
                <a:effectLst/>
                <a:uLnTx/>
                <a:uFillTx/>
                <a:latin typeface="等线" panose="020F0502020204030204"/>
                <a:ea typeface="+mn-ea"/>
                <a:cs typeface="+mn-cs"/>
              </a:rPr>
              <a:t>has taken has this </a:t>
            </a:r>
            <a:r>
              <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rPr>
              <a:t>possession of </a:t>
            </a:r>
            <a:r>
              <a:rPr kumimoji="0" lang="en-US" sz="1200" b="0" i="0" u="none" strike="noStrike" kern="1200" cap="none" spc="0" normalizeH="0" baseline="0" noProof="0">
                <a:ln>
                  <a:noFill/>
                </a:ln>
                <a:solidFill>
                  <a:srgbClr val="000000"/>
                </a:solidFill>
                <a:effectLst/>
                <a:uLnTx/>
                <a:uFillTx/>
                <a:latin typeface="等线" panose="020F0502020204030204"/>
                <a:ea typeface="+mn-ea"/>
                <a:cs typeface="+mn-cs"/>
              </a:rPr>
              <a:t>my entire</a:t>
            </a:r>
            <a:endPar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87" name="TextBox 179">
            <a:extLst>
              <a:ext uri="{FF2B5EF4-FFF2-40B4-BE49-F238E27FC236}">
                <a16:creationId xmlns:a16="http://schemas.microsoft.com/office/drawing/2014/main" id="{BA508635-B429-404F-AF9E-040C7DFD121D}"/>
              </a:ext>
            </a:extLst>
          </p:cNvPr>
          <p:cNvSpPr txBox="1"/>
          <p:nvPr/>
        </p:nvSpPr>
        <p:spPr>
          <a:xfrm>
            <a:off x="8293779" y="3562307"/>
            <a:ext cx="2148023" cy="33855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等线 Light" panose="020F0302020204030204"/>
                <a:ea typeface="+mn-ea"/>
                <a:cs typeface="+mn-cs"/>
              </a:rPr>
              <a:t>Description</a:t>
            </a:r>
          </a:p>
        </p:txBody>
      </p:sp>
      <p:sp>
        <p:nvSpPr>
          <p:cNvPr id="88" name="TextBox 180">
            <a:extLst>
              <a:ext uri="{FF2B5EF4-FFF2-40B4-BE49-F238E27FC236}">
                <a16:creationId xmlns:a16="http://schemas.microsoft.com/office/drawing/2014/main" id="{4B4830C6-A5A4-4576-88A9-B31EEBDC8062}"/>
              </a:ext>
            </a:extLst>
          </p:cNvPr>
          <p:cNvSpPr txBox="1"/>
          <p:nvPr/>
        </p:nvSpPr>
        <p:spPr>
          <a:xfrm>
            <a:off x="8293779" y="5115603"/>
            <a:ext cx="2261988" cy="616836"/>
          </a:xfrm>
          <a:prstGeom prst="rect">
            <a:avLst/>
          </a:prstGeom>
          <a:noFill/>
        </p:spPr>
        <p:txBody>
          <a:bodyPr wrap="square" rtlCol="0">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rPr>
              <a:t>A wonderful serenity </a:t>
            </a:r>
            <a:r>
              <a:rPr kumimoji="0" lang="en-US" sz="1200" b="0" i="0" u="none" strike="noStrike" kern="1200" cap="none" spc="0" normalizeH="0" baseline="0" noProof="0">
                <a:ln>
                  <a:noFill/>
                </a:ln>
                <a:solidFill>
                  <a:srgbClr val="000000"/>
                </a:solidFill>
                <a:effectLst/>
                <a:uLnTx/>
                <a:uFillTx/>
                <a:latin typeface="等线" panose="020F0502020204030204"/>
                <a:ea typeface="+mn-ea"/>
                <a:cs typeface="+mn-cs"/>
              </a:rPr>
              <a:t>has taken has this </a:t>
            </a:r>
            <a:r>
              <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rPr>
              <a:t>possession of </a:t>
            </a:r>
            <a:r>
              <a:rPr kumimoji="0" lang="en-US" sz="1200" b="0" i="0" u="none" strike="noStrike" kern="1200" cap="none" spc="0" normalizeH="0" baseline="0" noProof="0">
                <a:ln>
                  <a:noFill/>
                </a:ln>
                <a:solidFill>
                  <a:srgbClr val="000000"/>
                </a:solidFill>
                <a:effectLst/>
                <a:uLnTx/>
                <a:uFillTx/>
                <a:latin typeface="等线" panose="020F0502020204030204"/>
                <a:ea typeface="+mn-ea"/>
                <a:cs typeface="+mn-cs"/>
              </a:rPr>
              <a:t>my entire</a:t>
            </a:r>
            <a:endPar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89" name="TextBox 181">
            <a:extLst>
              <a:ext uri="{FF2B5EF4-FFF2-40B4-BE49-F238E27FC236}">
                <a16:creationId xmlns:a16="http://schemas.microsoft.com/office/drawing/2014/main" id="{475FE7F9-A6DE-4063-A27F-D2A96E1BA3D9}"/>
              </a:ext>
            </a:extLst>
          </p:cNvPr>
          <p:cNvSpPr txBox="1"/>
          <p:nvPr/>
        </p:nvSpPr>
        <p:spPr>
          <a:xfrm>
            <a:off x="8293779" y="4863371"/>
            <a:ext cx="2148023" cy="33855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等线 Light" panose="020F0302020204030204"/>
                <a:ea typeface="+mn-ea"/>
                <a:cs typeface="+mn-cs"/>
              </a:rPr>
              <a:t>Description</a:t>
            </a:r>
          </a:p>
        </p:txBody>
      </p:sp>
    </p:spTree>
    <p:extLst>
      <p:ext uri="{BB962C8B-B14F-4D97-AF65-F5344CB8AC3E}">
        <p14:creationId xmlns:p14="http://schemas.microsoft.com/office/powerpoint/2010/main" val="3698375543"/>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0"/>
                                        </p:tgtEl>
                                        <p:attrNameLst>
                                          <p:attrName>style.visibility</p:attrName>
                                        </p:attrNameLst>
                                      </p:cBhvr>
                                      <p:to>
                                        <p:strVal val="visible"/>
                                      </p:to>
                                    </p:set>
                                    <p:animEffect transition="in" filter="fade">
                                      <p:cBhvr>
                                        <p:cTn id="7" dur="500"/>
                                        <p:tgtEl>
                                          <p:spTgt spid="30"/>
                                        </p:tgtEl>
                                      </p:cBhvr>
                                    </p:animEffect>
                                  </p:childTnLst>
                                </p:cTn>
                              </p:par>
                            </p:childTnLst>
                          </p:cTn>
                        </p:par>
                        <p:par>
                          <p:cTn id="8" fill="hold">
                            <p:stCondLst>
                              <p:cond delay="500"/>
                            </p:stCondLst>
                            <p:childTnLst>
                              <p:par>
                                <p:cTn id="9" presetID="22" presetClass="entr" presetSubtype="8" fill="hold" nodeType="afterEffect">
                                  <p:stCondLst>
                                    <p:cond delay="0"/>
                                  </p:stCondLst>
                                  <p:childTnLst>
                                    <p:set>
                                      <p:cBhvr>
                                        <p:cTn id="10" dur="1" fill="hold">
                                          <p:stCondLst>
                                            <p:cond delay="0"/>
                                          </p:stCondLst>
                                        </p:cTn>
                                        <p:tgtEl>
                                          <p:spTgt spid="60"/>
                                        </p:tgtEl>
                                        <p:attrNameLst>
                                          <p:attrName>style.visibility</p:attrName>
                                        </p:attrNameLst>
                                      </p:cBhvr>
                                      <p:to>
                                        <p:strVal val="visible"/>
                                      </p:to>
                                    </p:set>
                                    <p:animEffect transition="in" filter="wipe(left)">
                                      <p:cBhvr>
                                        <p:cTn id="11" dur="500"/>
                                        <p:tgtEl>
                                          <p:spTgt spid="60"/>
                                        </p:tgtEl>
                                      </p:cBhvr>
                                    </p:animEffect>
                                  </p:childTnLst>
                                </p:cTn>
                              </p:par>
                              <p:par>
                                <p:cTn id="12" presetID="10" presetClass="entr" presetSubtype="0" fill="hold" nodeType="withEffect">
                                  <p:stCondLst>
                                    <p:cond delay="0"/>
                                  </p:stCondLst>
                                  <p:childTnLst>
                                    <p:set>
                                      <p:cBhvr>
                                        <p:cTn id="13" dur="1" fill="hold">
                                          <p:stCondLst>
                                            <p:cond delay="0"/>
                                          </p:stCondLst>
                                        </p:cTn>
                                        <p:tgtEl>
                                          <p:spTgt spid="67"/>
                                        </p:tgtEl>
                                        <p:attrNameLst>
                                          <p:attrName>style.visibility</p:attrName>
                                        </p:attrNameLst>
                                      </p:cBhvr>
                                      <p:to>
                                        <p:strVal val="visible"/>
                                      </p:to>
                                    </p:set>
                                    <p:animEffect transition="in" filter="fade">
                                      <p:cBhvr>
                                        <p:cTn id="14" dur="500"/>
                                        <p:tgtEl>
                                          <p:spTgt spid="67"/>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75"/>
                                        </p:tgtEl>
                                        <p:attrNameLst>
                                          <p:attrName>style.visibility</p:attrName>
                                        </p:attrNameLst>
                                      </p:cBhvr>
                                      <p:to>
                                        <p:strVal val="visible"/>
                                      </p:to>
                                    </p:set>
                                    <p:animEffect transition="in" filter="fade">
                                      <p:cBhvr>
                                        <p:cTn id="17" dur="500"/>
                                        <p:tgtEl>
                                          <p:spTgt spid="75"/>
                                        </p:tgtEl>
                                      </p:cBhvr>
                                    </p:animEffect>
                                  </p:childTnLst>
                                </p:cTn>
                              </p:par>
                            </p:childTnLst>
                          </p:cTn>
                        </p:par>
                        <p:par>
                          <p:cTn id="18" fill="hold">
                            <p:stCondLst>
                              <p:cond delay="1000"/>
                            </p:stCondLst>
                            <p:childTnLst>
                              <p:par>
                                <p:cTn id="19" presetID="10" presetClass="entr" presetSubtype="0" fill="hold" grpId="0" nodeType="afterEffect">
                                  <p:stCondLst>
                                    <p:cond delay="0"/>
                                  </p:stCondLst>
                                  <p:childTnLst>
                                    <p:set>
                                      <p:cBhvr>
                                        <p:cTn id="20" dur="1" fill="hold">
                                          <p:stCondLst>
                                            <p:cond delay="0"/>
                                          </p:stCondLst>
                                        </p:cTn>
                                        <p:tgtEl>
                                          <p:spTgt spid="89"/>
                                        </p:tgtEl>
                                        <p:attrNameLst>
                                          <p:attrName>style.visibility</p:attrName>
                                        </p:attrNameLst>
                                      </p:cBhvr>
                                      <p:to>
                                        <p:strVal val="visible"/>
                                      </p:to>
                                    </p:set>
                                    <p:animEffect transition="in" filter="fade">
                                      <p:cBhvr>
                                        <p:cTn id="21" dur="500"/>
                                        <p:tgtEl>
                                          <p:spTgt spid="89"/>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88"/>
                                        </p:tgtEl>
                                        <p:attrNameLst>
                                          <p:attrName>style.visibility</p:attrName>
                                        </p:attrNameLst>
                                      </p:cBhvr>
                                      <p:to>
                                        <p:strVal val="visible"/>
                                      </p:to>
                                    </p:set>
                                    <p:animEffect transition="in" filter="fade">
                                      <p:cBhvr>
                                        <p:cTn id="24" dur="500"/>
                                        <p:tgtEl>
                                          <p:spTgt spid="88"/>
                                        </p:tgtEl>
                                      </p:cBhvr>
                                    </p:animEffect>
                                  </p:childTnLst>
                                </p:cTn>
                              </p:par>
                            </p:childTnLst>
                          </p:cTn>
                        </p:par>
                        <p:par>
                          <p:cTn id="25" fill="hold">
                            <p:stCondLst>
                              <p:cond delay="1500"/>
                            </p:stCondLst>
                            <p:childTnLst>
                              <p:par>
                                <p:cTn id="26" presetID="22" presetClass="entr" presetSubtype="2" fill="hold" nodeType="afterEffect">
                                  <p:stCondLst>
                                    <p:cond delay="0"/>
                                  </p:stCondLst>
                                  <p:childTnLst>
                                    <p:set>
                                      <p:cBhvr>
                                        <p:cTn id="27" dur="1" fill="hold">
                                          <p:stCondLst>
                                            <p:cond delay="0"/>
                                          </p:stCondLst>
                                        </p:cTn>
                                        <p:tgtEl>
                                          <p:spTgt spid="45"/>
                                        </p:tgtEl>
                                        <p:attrNameLst>
                                          <p:attrName>style.visibility</p:attrName>
                                        </p:attrNameLst>
                                      </p:cBhvr>
                                      <p:to>
                                        <p:strVal val="visible"/>
                                      </p:to>
                                    </p:set>
                                    <p:animEffect transition="in" filter="wipe(right)">
                                      <p:cBhvr>
                                        <p:cTn id="28" dur="500"/>
                                        <p:tgtEl>
                                          <p:spTgt spid="45"/>
                                        </p:tgtEl>
                                      </p:cBhvr>
                                    </p:animEffect>
                                  </p:childTnLst>
                                </p:cTn>
                              </p:par>
                              <p:par>
                                <p:cTn id="29" presetID="10" presetClass="entr" presetSubtype="0" fill="hold" nodeType="withEffect">
                                  <p:stCondLst>
                                    <p:cond delay="0"/>
                                  </p:stCondLst>
                                  <p:childTnLst>
                                    <p:set>
                                      <p:cBhvr>
                                        <p:cTn id="30" dur="1" fill="hold">
                                          <p:stCondLst>
                                            <p:cond delay="0"/>
                                          </p:stCondLst>
                                        </p:cTn>
                                        <p:tgtEl>
                                          <p:spTgt spid="52"/>
                                        </p:tgtEl>
                                        <p:attrNameLst>
                                          <p:attrName>style.visibility</p:attrName>
                                        </p:attrNameLst>
                                      </p:cBhvr>
                                      <p:to>
                                        <p:strVal val="visible"/>
                                      </p:to>
                                    </p:set>
                                    <p:animEffect transition="in" filter="fade">
                                      <p:cBhvr>
                                        <p:cTn id="31" dur="500"/>
                                        <p:tgtEl>
                                          <p:spTgt spid="52"/>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76"/>
                                        </p:tgtEl>
                                        <p:attrNameLst>
                                          <p:attrName>style.visibility</p:attrName>
                                        </p:attrNameLst>
                                      </p:cBhvr>
                                      <p:to>
                                        <p:strVal val="visible"/>
                                      </p:to>
                                    </p:set>
                                    <p:animEffect transition="in" filter="fade">
                                      <p:cBhvr>
                                        <p:cTn id="34" dur="500"/>
                                        <p:tgtEl>
                                          <p:spTgt spid="76"/>
                                        </p:tgtEl>
                                      </p:cBhvr>
                                    </p:animEffect>
                                  </p:childTnLst>
                                </p:cTn>
                              </p:par>
                            </p:childTnLst>
                          </p:cTn>
                        </p:par>
                        <p:par>
                          <p:cTn id="35" fill="hold">
                            <p:stCondLst>
                              <p:cond delay="2000"/>
                            </p:stCondLst>
                            <p:childTnLst>
                              <p:par>
                                <p:cTn id="36" presetID="10" presetClass="entr" presetSubtype="0" fill="hold" grpId="0" nodeType="afterEffect">
                                  <p:stCondLst>
                                    <p:cond delay="0"/>
                                  </p:stCondLst>
                                  <p:childTnLst>
                                    <p:set>
                                      <p:cBhvr>
                                        <p:cTn id="37" dur="1" fill="hold">
                                          <p:stCondLst>
                                            <p:cond delay="0"/>
                                          </p:stCondLst>
                                        </p:cTn>
                                        <p:tgtEl>
                                          <p:spTgt spid="85"/>
                                        </p:tgtEl>
                                        <p:attrNameLst>
                                          <p:attrName>style.visibility</p:attrName>
                                        </p:attrNameLst>
                                      </p:cBhvr>
                                      <p:to>
                                        <p:strVal val="visible"/>
                                      </p:to>
                                    </p:set>
                                    <p:animEffect transition="in" filter="fade">
                                      <p:cBhvr>
                                        <p:cTn id="38" dur="500"/>
                                        <p:tgtEl>
                                          <p:spTgt spid="85"/>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84"/>
                                        </p:tgtEl>
                                        <p:attrNameLst>
                                          <p:attrName>style.visibility</p:attrName>
                                        </p:attrNameLst>
                                      </p:cBhvr>
                                      <p:to>
                                        <p:strVal val="visible"/>
                                      </p:to>
                                    </p:set>
                                    <p:animEffect transition="in" filter="fade">
                                      <p:cBhvr>
                                        <p:cTn id="41" dur="500"/>
                                        <p:tgtEl>
                                          <p:spTgt spid="84"/>
                                        </p:tgtEl>
                                      </p:cBhvr>
                                    </p:animEffect>
                                  </p:childTnLst>
                                </p:cTn>
                              </p:par>
                            </p:childTnLst>
                          </p:cTn>
                        </p:par>
                        <p:par>
                          <p:cTn id="42" fill="hold">
                            <p:stCondLst>
                              <p:cond delay="2500"/>
                            </p:stCondLst>
                            <p:childTnLst>
                              <p:par>
                                <p:cTn id="43" presetID="22" presetClass="entr" presetSubtype="8" fill="hold" nodeType="afterEffect">
                                  <p:stCondLst>
                                    <p:cond delay="0"/>
                                  </p:stCondLst>
                                  <p:childTnLst>
                                    <p:set>
                                      <p:cBhvr>
                                        <p:cTn id="44" dur="1" fill="hold">
                                          <p:stCondLst>
                                            <p:cond delay="0"/>
                                          </p:stCondLst>
                                        </p:cTn>
                                        <p:tgtEl>
                                          <p:spTgt spid="23"/>
                                        </p:tgtEl>
                                        <p:attrNameLst>
                                          <p:attrName>style.visibility</p:attrName>
                                        </p:attrNameLst>
                                      </p:cBhvr>
                                      <p:to>
                                        <p:strVal val="visible"/>
                                      </p:to>
                                    </p:set>
                                    <p:animEffect transition="in" filter="wipe(left)">
                                      <p:cBhvr>
                                        <p:cTn id="45" dur="500"/>
                                        <p:tgtEl>
                                          <p:spTgt spid="23"/>
                                        </p:tgtEl>
                                      </p:cBhvr>
                                    </p:animEffect>
                                  </p:childTnLst>
                                </p:cTn>
                              </p:par>
                              <p:par>
                                <p:cTn id="46" presetID="10" presetClass="entr" presetSubtype="0" fill="hold" nodeType="withEffect">
                                  <p:stCondLst>
                                    <p:cond delay="0"/>
                                  </p:stCondLst>
                                  <p:childTnLst>
                                    <p:set>
                                      <p:cBhvr>
                                        <p:cTn id="47" dur="1" fill="hold">
                                          <p:stCondLst>
                                            <p:cond delay="0"/>
                                          </p:stCondLst>
                                        </p:cTn>
                                        <p:tgtEl>
                                          <p:spTgt spid="55"/>
                                        </p:tgtEl>
                                        <p:attrNameLst>
                                          <p:attrName>style.visibility</p:attrName>
                                        </p:attrNameLst>
                                      </p:cBhvr>
                                      <p:to>
                                        <p:strVal val="visible"/>
                                      </p:to>
                                    </p:set>
                                    <p:animEffect transition="in" filter="fade">
                                      <p:cBhvr>
                                        <p:cTn id="48" dur="500"/>
                                        <p:tgtEl>
                                          <p:spTgt spid="55"/>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74"/>
                                        </p:tgtEl>
                                        <p:attrNameLst>
                                          <p:attrName>style.visibility</p:attrName>
                                        </p:attrNameLst>
                                      </p:cBhvr>
                                      <p:to>
                                        <p:strVal val="visible"/>
                                      </p:to>
                                    </p:set>
                                    <p:animEffect transition="in" filter="fade">
                                      <p:cBhvr>
                                        <p:cTn id="51" dur="500"/>
                                        <p:tgtEl>
                                          <p:spTgt spid="74"/>
                                        </p:tgtEl>
                                      </p:cBhvr>
                                    </p:animEffect>
                                  </p:childTnLst>
                                </p:cTn>
                              </p:par>
                            </p:childTnLst>
                          </p:cTn>
                        </p:par>
                        <p:par>
                          <p:cTn id="52" fill="hold">
                            <p:stCondLst>
                              <p:cond delay="3000"/>
                            </p:stCondLst>
                            <p:childTnLst>
                              <p:par>
                                <p:cTn id="53" presetID="10" presetClass="entr" presetSubtype="0" fill="hold" grpId="0" nodeType="afterEffect">
                                  <p:stCondLst>
                                    <p:cond delay="0"/>
                                  </p:stCondLst>
                                  <p:childTnLst>
                                    <p:set>
                                      <p:cBhvr>
                                        <p:cTn id="54" dur="1" fill="hold">
                                          <p:stCondLst>
                                            <p:cond delay="0"/>
                                          </p:stCondLst>
                                        </p:cTn>
                                        <p:tgtEl>
                                          <p:spTgt spid="87"/>
                                        </p:tgtEl>
                                        <p:attrNameLst>
                                          <p:attrName>style.visibility</p:attrName>
                                        </p:attrNameLst>
                                      </p:cBhvr>
                                      <p:to>
                                        <p:strVal val="visible"/>
                                      </p:to>
                                    </p:set>
                                    <p:animEffect transition="in" filter="fade">
                                      <p:cBhvr>
                                        <p:cTn id="55" dur="500"/>
                                        <p:tgtEl>
                                          <p:spTgt spid="87"/>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86"/>
                                        </p:tgtEl>
                                        <p:attrNameLst>
                                          <p:attrName>style.visibility</p:attrName>
                                        </p:attrNameLst>
                                      </p:cBhvr>
                                      <p:to>
                                        <p:strVal val="visible"/>
                                      </p:to>
                                    </p:set>
                                    <p:animEffect transition="in" filter="fade">
                                      <p:cBhvr>
                                        <p:cTn id="58" dur="500"/>
                                        <p:tgtEl>
                                          <p:spTgt spid="86"/>
                                        </p:tgtEl>
                                      </p:cBhvr>
                                    </p:animEffect>
                                  </p:childTnLst>
                                </p:cTn>
                              </p:par>
                            </p:childTnLst>
                          </p:cTn>
                        </p:par>
                        <p:par>
                          <p:cTn id="59" fill="hold">
                            <p:stCondLst>
                              <p:cond delay="3500"/>
                            </p:stCondLst>
                            <p:childTnLst>
                              <p:par>
                                <p:cTn id="60" presetID="22" presetClass="entr" presetSubtype="2" fill="hold" nodeType="afterEffect">
                                  <p:stCondLst>
                                    <p:cond delay="0"/>
                                  </p:stCondLst>
                                  <p:childTnLst>
                                    <p:set>
                                      <p:cBhvr>
                                        <p:cTn id="61" dur="1" fill="hold">
                                          <p:stCondLst>
                                            <p:cond delay="0"/>
                                          </p:stCondLst>
                                        </p:cTn>
                                        <p:tgtEl>
                                          <p:spTgt spid="16"/>
                                        </p:tgtEl>
                                        <p:attrNameLst>
                                          <p:attrName>style.visibility</p:attrName>
                                        </p:attrNameLst>
                                      </p:cBhvr>
                                      <p:to>
                                        <p:strVal val="visible"/>
                                      </p:to>
                                    </p:set>
                                    <p:animEffect transition="in" filter="wipe(right)">
                                      <p:cBhvr>
                                        <p:cTn id="62" dur="500"/>
                                        <p:tgtEl>
                                          <p:spTgt spid="16"/>
                                        </p:tgtEl>
                                      </p:cBhvr>
                                    </p:animEffect>
                                  </p:childTnLst>
                                </p:cTn>
                              </p:par>
                              <p:par>
                                <p:cTn id="63" presetID="10" presetClass="entr" presetSubtype="0" fill="hold" nodeType="withEffect">
                                  <p:stCondLst>
                                    <p:cond delay="0"/>
                                  </p:stCondLst>
                                  <p:childTnLst>
                                    <p:set>
                                      <p:cBhvr>
                                        <p:cTn id="64" dur="1" fill="hold">
                                          <p:stCondLst>
                                            <p:cond delay="0"/>
                                          </p:stCondLst>
                                        </p:cTn>
                                        <p:tgtEl>
                                          <p:spTgt spid="42"/>
                                        </p:tgtEl>
                                        <p:attrNameLst>
                                          <p:attrName>style.visibility</p:attrName>
                                        </p:attrNameLst>
                                      </p:cBhvr>
                                      <p:to>
                                        <p:strVal val="visible"/>
                                      </p:to>
                                    </p:set>
                                    <p:animEffect transition="in" filter="fade">
                                      <p:cBhvr>
                                        <p:cTn id="65" dur="500"/>
                                        <p:tgtEl>
                                          <p:spTgt spid="42"/>
                                        </p:tgtEl>
                                      </p:cBhvr>
                                    </p:animEffect>
                                  </p:childTnLst>
                                </p:cTn>
                              </p:par>
                              <p:par>
                                <p:cTn id="66" presetID="10" presetClass="entr" presetSubtype="0" fill="hold" grpId="0" nodeType="withEffect">
                                  <p:stCondLst>
                                    <p:cond delay="0"/>
                                  </p:stCondLst>
                                  <p:childTnLst>
                                    <p:set>
                                      <p:cBhvr>
                                        <p:cTn id="67" dur="1" fill="hold">
                                          <p:stCondLst>
                                            <p:cond delay="0"/>
                                          </p:stCondLst>
                                        </p:cTn>
                                        <p:tgtEl>
                                          <p:spTgt spid="77"/>
                                        </p:tgtEl>
                                        <p:attrNameLst>
                                          <p:attrName>style.visibility</p:attrName>
                                        </p:attrNameLst>
                                      </p:cBhvr>
                                      <p:to>
                                        <p:strVal val="visible"/>
                                      </p:to>
                                    </p:set>
                                    <p:animEffect transition="in" filter="fade">
                                      <p:cBhvr>
                                        <p:cTn id="68" dur="500"/>
                                        <p:tgtEl>
                                          <p:spTgt spid="77"/>
                                        </p:tgtEl>
                                      </p:cBhvr>
                                    </p:animEffect>
                                  </p:childTnLst>
                                </p:cTn>
                              </p:par>
                            </p:childTnLst>
                          </p:cTn>
                        </p:par>
                        <p:par>
                          <p:cTn id="69" fill="hold">
                            <p:stCondLst>
                              <p:cond delay="4000"/>
                            </p:stCondLst>
                            <p:childTnLst>
                              <p:par>
                                <p:cTn id="70" presetID="10" presetClass="entr" presetSubtype="0" fill="hold" grpId="0" nodeType="afterEffect">
                                  <p:stCondLst>
                                    <p:cond delay="0"/>
                                  </p:stCondLst>
                                  <p:childTnLst>
                                    <p:set>
                                      <p:cBhvr>
                                        <p:cTn id="71" dur="1" fill="hold">
                                          <p:stCondLst>
                                            <p:cond delay="0"/>
                                          </p:stCondLst>
                                        </p:cTn>
                                        <p:tgtEl>
                                          <p:spTgt spid="83"/>
                                        </p:tgtEl>
                                        <p:attrNameLst>
                                          <p:attrName>style.visibility</p:attrName>
                                        </p:attrNameLst>
                                      </p:cBhvr>
                                      <p:to>
                                        <p:strVal val="visible"/>
                                      </p:to>
                                    </p:set>
                                    <p:animEffect transition="in" filter="fade">
                                      <p:cBhvr>
                                        <p:cTn id="72" dur="500"/>
                                        <p:tgtEl>
                                          <p:spTgt spid="83"/>
                                        </p:tgtEl>
                                      </p:cBhvr>
                                    </p:animEffect>
                                  </p:childTnLst>
                                </p:cTn>
                              </p:par>
                              <p:par>
                                <p:cTn id="73" presetID="10" presetClass="entr" presetSubtype="0" fill="hold" grpId="0" nodeType="withEffect">
                                  <p:stCondLst>
                                    <p:cond delay="0"/>
                                  </p:stCondLst>
                                  <p:childTnLst>
                                    <p:set>
                                      <p:cBhvr>
                                        <p:cTn id="74" dur="1" fill="hold">
                                          <p:stCondLst>
                                            <p:cond delay="0"/>
                                          </p:stCondLst>
                                        </p:cTn>
                                        <p:tgtEl>
                                          <p:spTgt spid="82"/>
                                        </p:tgtEl>
                                        <p:attrNameLst>
                                          <p:attrName>style.visibility</p:attrName>
                                        </p:attrNameLst>
                                      </p:cBhvr>
                                      <p:to>
                                        <p:strVal val="visible"/>
                                      </p:to>
                                    </p:set>
                                    <p:animEffect transition="in" filter="fade">
                                      <p:cBhvr>
                                        <p:cTn id="75" dur="500"/>
                                        <p:tgtEl>
                                          <p:spTgt spid="82"/>
                                        </p:tgtEl>
                                      </p:cBhvr>
                                    </p:animEffect>
                                  </p:childTnLst>
                                </p:cTn>
                              </p:par>
                            </p:childTnLst>
                          </p:cTn>
                        </p:par>
                        <p:par>
                          <p:cTn id="76" fill="hold">
                            <p:stCondLst>
                              <p:cond delay="4500"/>
                            </p:stCondLst>
                            <p:childTnLst>
                              <p:par>
                                <p:cTn id="77" presetID="22" presetClass="entr" presetSubtype="8" fill="hold" nodeType="afterEffect">
                                  <p:stCondLst>
                                    <p:cond delay="0"/>
                                  </p:stCondLst>
                                  <p:childTnLst>
                                    <p:set>
                                      <p:cBhvr>
                                        <p:cTn id="78" dur="1" fill="hold">
                                          <p:stCondLst>
                                            <p:cond delay="0"/>
                                          </p:stCondLst>
                                        </p:cTn>
                                        <p:tgtEl>
                                          <p:spTgt spid="9"/>
                                        </p:tgtEl>
                                        <p:attrNameLst>
                                          <p:attrName>style.visibility</p:attrName>
                                        </p:attrNameLst>
                                      </p:cBhvr>
                                      <p:to>
                                        <p:strVal val="visible"/>
                                      </p:to>
                                    </p:set>
                                    <p:animEffect transition="in" filter="wipe(left)">
                                      <p:cBhvr>
                                        <p:cTn id="79" dur="500"/>
                                        <p:tgtEl>
                                          <p:spTgt spid="9"/>
                                        </p:tgtEl>
                                      </p:cBhvr>
                                    </p:animEffect>
                                  </p:childTnLst>
                                </p:cTn>
                              </p:par>
                              <p:par>
                                <p:cTn id="80" presetID="10" presetClass="entr" presetSubtype="0" fill="hold" nodeType="withEffect">
                                  <p:stCondLst>
                                    <p:cond delay="0"/>
                                  </p:stCondLst>
                                  <p:childTnLst>
                                    <p:set>
                                      <p:cBhvr>
                                        <p:cTn id="81" dur="1" fill="hold">
                                          <p:stCondLst>
                                            <p:cond delay="0"/>
                                          </p:stCondLst>
                                        </p:cTn>
                                        <p:tgtEl>
                                          <p:spTgt spid="32"/>
                                        </p:tgtEl>
                                        <p:attrNameLst>
                                          <p:attrName>style.visibility</p:attrName>
                                        </p:attrNameLst>
                                      </p:cBhvr>
                                      <p:to>
                                        <p:strVal val="visible"/>
                                      </p:to>
                                    </p:set>
                                    <p:animEffect transition="in" filter="fade">
                                      <p:cBhvr>
                                        <p:cTn id="82" dur="500"/>
                                        <p:tgtEl>
                                          <p:spTgt spid="32"/>
                                        </p:tgtEl>
                                      </p:cBhvr>
                                    </p:animEffect>
                                  </p:childTnLst>
                                </p:cTn>
                              </p:par>
                              <p:par>
                                <p:cTn id="83" presetID="10" presetClass="entr" presetSubtype="0" fill="hold" grpId="0" nodeType="withEffect">
                                  <p:stCondLst>
                                    <p:cond delay="0"/>
                                  </p:stCondLst>
                                  <p:childTnLst>
                                    <p:set>
                                      <p:cBhvr>
                                        <p:cTn id="84" dur="1" fill="hold">
                                          <p:stCondLst>
                                            <p:cond delay="0"/>
                                          </p:stCondLst>
                                        </p:cTn>
                                        <p:tgtEl>
                                          <p:spTgt spid="73"/>
                                        </p:tgtEl>
                                        <p:attrNameLst>
                                          <p:attrName>style.visibility</p:attrName>
                                        </p:attrNameLst>
                                      </p:cBhvr>
                                      <p:to>
                                        <p:strVal val="visible"/>
                                      </p:to>
                                    </p:set>
                                    <p:animEffect transition="in" filter="fade">
                                      <p:cBhvr>
                                        <p:cTn id="85" dur="500"/>
                                        <p:tgtEl>
                                          <p:spTgt spid="73"/>
                                        </p:tgtEl>
                                      </p:cBhvr>
                                    </p:animEffect>
                                  </p:childTnLst>
                                </p:cTn>
                              </p:par>
                            </p:childTnLst>
                          </p:cTn>
                        </p:par>
                        <p:par>
                          <p:cTn id="86" fill="hold">
                            <p:stCondLst>
                              <p:cond delay="5000"/>
                            </p:stCondLst>
                            <p:childTnLst>
                              <p:par>
                                <p:cTn id="87" presetID="10" presetClass="entr" presetSubtype="0" fill="hold" grpId="0" nodeType="afterEffect">
                                  <p:stCondLst>
                                    <p:cond delay="0"/>
                                  </p:stCondLst>
                                  <p:childTnLst>
                                    <p:set>
                                      <p:cBhvr>
                                        <p:cTn id="88" dur="1" fill="hold">
                                          <p:stCondLst>
                                            <p:cond delay="0"/>
                                          </p:stCondLst>
                                        </p:cTn>
                                        <p:tgtEl>
                                          <p:spTgt spid="81"/>
                                        </p:tgtEl>
                                        <p:attrNameLst>
                                          <p:attrName>style.visibility</p:attrName>
                                        </p:attrNameLst>
                                      </p:cBhvr>
                                      <p:to>
                                        <p:strVal val="visible"/>
                                      </p:to>
                                    </p:set>
                                    <p:animEffect transition="in" filter="fade">
                                      <p:cBhvr>
                                        <p:cTn id="89" dur="500"/>
                                        <p:tgtEl>
                                          <p:spTgt spid="81"/>
                                        </p:tgtEl>
                                      </p:cBhvr>
                                    </p:animEffect>
                                  </p:childTnLst>
                                </p:cTn>
                              </p:par>
                              <p:par>
                                <p:cTn id="90" presetID="10" presetClass="entr" presetSubtype="0" fill="hold" grpId="0" nodeType="withEffect">
                                  <p:stCondLst>
                                    <p:cond delay="0"/>
                                  </p:stCondLst>
                                  <p:childTnLst>
                                    <p:set>
                                      <p:cBhvr>
                                        <p:cTn id="91" dur="1" fill="hold">
                                          <p:stCondLst>
                                            <p:cond delay="0"/>
                                          </p:stCondLst>
                                        </p:cTn>
                                        <p:tgtEl>
                                          <p:spTgt spid="80"/>
                                        </p:tgtEl>
                                        <p:attrNameLst>
                                          <p:attrName>style.visibility</p:attrName>
                                        </p:attrNameLst>
                                      </p:cBhvr>
                                      <p:to>
                                        <p:strVal val="visible"/>
                                      </p:to>
                                    </p:set>
                                    <p:animEffect transition="in" filter="fade">
                                      <p:cBhvr>
                                        <p:cTn id="92" dur="500"/>
                                        <p:tgtEl>
                                          <p:spTgt spid="80"/>
                                        </p:tgtEl>
                                      </p:cBhvr>
                                    </p:animEffect>
                                  </p:childTnLst>
                                </p:cTn>
                              </p:par>
                            </p:childTnLst>
                          </p:cTn>
                        </p:par>
                        <p:par>
                          <p:cTn id="93" fill="hold">
                            <p:stCondLst>
                              <p:cond delay="5500"/>
                            </p:stCondLst>
                            <p:childTnLst>
                              <p:par>
                                <p:cTn id="94" presetID="22" presetClass="entr" presetSubtype="2" fill="hold" nodeType="afterEffect">
                                  <p:stCondLst>
                                    <p:cond delay="0"/>
                                  </p:stCondLst>
                                  <p:childTnLst>
                                    <p:set>
                                      <p:cBhvr>
                                        <p:cTn id="95" dur="1" fill="hold">
                                          <p:stCondLst>
                                            <p:cond delay="0"/>
                                          </p:stCondLst>
                                        </p:cTn>
                                        <p:tgtEl>
                                          <p:spTgt spid="2"/>
                                        </p:tgtEl>
                                        <p:attrNameLst>
                                          <p:attrName>style.visibility</p:attrName>
                                        </p:attrNameLst>
                                      </p:cBhvr>
                                      <p:to>
                                        <p:strVal val="visible"/>
                                      </p:to>
                                    </p:set>
                                    <p:animEffect transition="in" filter="wipe(right)">
                                      <p:cBhvr>
                                        <p:cTn id="96" dur="500"/>
                                        <p:tgtEl>
                                          <p:spTgt spid="2"/>
                                        </p:tgtEl>
                                      </p:cBhvr>
                                    </p:animEffect>
                                  </p:childTnLst>
                                </p:cTn>
                              </p:par>
                              <p:par>
                                <p:cTn id="97" presetID="10" presetClass="entr" presetSubtype="0" fill="hold" grpId="0" nodeType="withEffect">
                                  <p:stCondLst>
                                    <p:cond delay="0"/>
                                  </p:stCondLst>
                                  <p:childTnLst>
                                    <p:set>
                                      <p:cBhvr>
                                        <p:cTn id="98" dur="1" fill="hold">
                                          <p:stCondLst>
                                            <p:cond delay="0"/>
                                          </p:stCondLst>
                                        </p:cTn>
                                        <p:tgtEl>
                                          <p:spTgt spid="31"/>
                                        </p:tgtEl>
                                        <p:attrNameLst>
                                          <p:attrName>style.visibility</p:attrName>
                                        </p:attrNameLst>
                                      </p:cBhvr>
                                      <p:to>
                                        <p:strVal val="visible"/>
                                      </p:to>
                                    </p:set>
                                    <p:animEffect transition="in" filter="fade">
                                      <p:cBhvr>
                                        <p:cTn id="99" dur="500"/>
                                        <p:tgtEl>
                                          <p:spTgt spid="31"/>
                                        </p:tgtEl>
                                      </p:cBhvr>
                                    </p:animEffect>
                                  </p:childTnLst>
                                </p:cTn>
                              </p:par>
                              <p:par>
                                <p:cTn id="100" presetID="10" presetClass="entr" presetSubtype="0" fill="hold" grpId="0" nodeType="withEffect">
                                  <p:stCondLst>
                                    <p:cond delay="0"/>
                                  </p:stCondLst>
                                  <p:childTnLst>
                                    <p:set>
                                      <p:cBhvr>
                                        <p:cTn id="101" dur="1" fill="hold">
                                          <p:stCondLst>
                                            <p:cond delay="0"/>
                                          </p:stCondLst>
                                        </p:cTn>
                                        <p:tgtEl>
                                          <p:spTgt spid="72"/>
                                        </p:tgtEl>
                                        <p:attrNameLst>
                                          <p:attrName>style.visibility</p:attrName>
                                        </p:attrNameLst>
                                      </p:cBhvr>
                                      <p:to>
                                        <p:strVal val="visible"/>
                                      </p:to>
                                    </p:set>
                                    <p:animEffect transition="in" filter="fade">
                                      <p:cBhvr>
                                        <p:cTn id="102" dur="500"/>
                                        <p:tgtEl>
                                          <p:spTgt spid="72"/>
                                        </p:tgtEl>
                                      </p:cBhvr>
                                    </p:animEffect>
                                  </p:childTnLst>
                                </p:cTn>
                              </p:par>
                            </p:childTnLst>
                          </p:cTn>
                        </p:par>
                        <p:par>
                          <p:cTn id="103" fill="hold">
                            <p:stCondLst>
                              <p:cond delay="6000"/>
                            </p:stCondLst>
                            <p:childTnLst>
                              <p:par>
                                <p:cTn id="104" presetID="10" presetClass="entr" presetSubtype="0" fill="hold" grpId="0" nodeType="afterEffect">
                                  <p:stCondLst>
                                    <p:cond delay="0"/>
                                  </p:stCondLst>
                                  <p:childTnLst>
                                    <p:set>
                                      <p:cBhvr>
                                        <p:cTn id="105" dur="1" fill="hold">
                                          <p:stCondLst>
                                            <p:cond delay="0"/>
                                          </p:stCondLst>
                                        </p:cTn>
                                        <p:tgtEl>
                                          <p:spTgt spid="79"/>
                                        </p:tgtEl>
                                        <p:attrNameLst>
                                          <p:attrName>style.visibility</p:attrName>
                                        </p:attrNameLst>
                                      </p:cBhvr>
                                      <p:to>
                                        <p:strVal val="visible"/>
                                      </p:to>
                                    </p:set>
                                    <p:animEffect transition="in" filter="fade">
                                      <p:cBhvr>
                                        <p:cTn id="106" dur="500"/>
                                        <p:tgtEl>
                                          <p:spTgt spid="79"/>
                                        </p:tgtEl>
                                      </p:cBhvr>
                                    </p:animEffect>
                                  </p:childTnLst>
                                </p:cTn>
                              </p:par>
                              <p:par>
                                <p:cTn id="107" presetID="10" presetClass="entr" presetSubtype="0" fill="hold" grpId="0" nodeType="withEffect">
                                  <p:stCondLst>
                                    <p:cond delay="0"/>
                                  </p:stCondLst>
                                  <p:childTnLst>
                                    <p:set>
                                      <p:cBhvr>
                                        <p:cTn id="108" dur="1" fill="hold">
                                          <p:stCondLst>
                                            <p:cond delay="0"/>
                                          </p:stCondLst>
                                        </p:cTn>
                                        <p:tgtEl>
                                          <p:spTgt spid="78"/>
                                        </p:tgtEl>
                                        <p:attrNameLst>
                                          <p:attrName>style.visibility</p:attrName>
                                        </p:attrNameLst>
                                      </p:cBhvr>
                                      <p:to>
                                        <p:strVal val="visible"/>
                                      </p:to>
                                    </p:set>
                                    <p:animEffect transition="in" filter="fade">
                                      <p:cBhvr>
                                        <p:cTn id="109" dur="500"/>
                                        <p:tgtEl>
                                          <p:spTgt spid="7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p:bldP spid="31" grpId="0" animBg="1"/>
      <p:bldP spid="72" grpId="0"/>
      <p:bldP spid="73" grpId="0"/>
      <p:bldP spid="74" grpId="0"/>
      <p:bldP spid="75" grpId="0"/>
      <p:bldP spid="76" grpId="0"/>
      <p:bldP spid="77" grpId="0"/>
      <p:bldP spid="78" grpId="0"/>
      <p:bldP spid="79" grpId="0"/>
      <p:bldP spid="80" grpId="0"/>
      <p:bldP spid="81" grpId="0"/>
      <p:bldP spid="82" grpId="0"/>
      <p:bldP spid="83" grpId="0"/>
      <p:bldP spid="84" grpId="0"/>
      <p:bldP spid="85" grpId="0"/>
      <p:bldP spid="86" grpId="0"/>
      <p:bldP spid="87" grpId="0"/>
      <p:bldP spid="88" grpId="0"/>
      <p:bldP spid="89" grpId="0"/>
    </p:bldLst>
  </p:timing>
</p:sld>
</file>

<file path=ppt/slides/slide5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94">
            <a:extLst>
              <a:ext uri="{FF2B5EF4-FFF2-40B4-BE49-F238E27FC236}">
                <a16:creationId xmlns:a16="http://schemas.microsoft.com/office/drawing/2014/main" id="{32E97553-B9DE-4AAB-81C9-20AF47574B51}"/>
              </a:ext>
            </a:extLst>
          </p:cNvPr>
          <p:cNvGrpSpPr/>
          <p:nvPr/>
        </p:nvGrpSpPr>
        <p:grpSpPr>
          <a:xfrm>
            <a:off x="4009035" y="2122052"/>
            <a:ext cx="4173930" cy="4735947"/>
            <a:chOff x="3732125" y="1507026"/>
            <a:chExt cx="4715971" cy="5350974"/>
          </a:xfrm>
        </p:grpSpPr>
        <p:grpSp>
          <p:nvGrpSpPr>
            <p:cNvPr id="3" name="Group 2">
              <a:extLst>
                <a:ext uri="{FF2B5EF4-FFF2-40B4-BE49-F238E27FC236}">
                  <a16:creationId xmlns:a16="http://schemas.microsoft.com/office/drawing/2014/main" id="{6E2E973D-1852-4FDC-BA05-E6A174D58AAB}"/>
                </a:ext>
              </a:extLst>
            </p:cNvPr>
            <p:cNvGrpSpPr/>
            <p:nvPr/>
          </p:nvGrpSpPr>
          <p:grpSpPr>
            <a:xfrm rot="5400000">
              <a:off x="5584147" y="3994050"/>
              <a:ext cx="1023708" cy="4704191"/>
              <a:chOff x="5178576" y="1858213"/>
              <a:chExt cx="1227376" cy="4688993"/>
            </a:xfrm>
          </p:grpSpPr>
          <p:sp>
            <p:nvSpPr>
              <p:cNvPr id="30" name="Freeform 17">
                <a:extLst>
                  <a:ext uri="{FF2B5EF4-FFF2-40B4-BE49-F238E27FC236}">
                    <a16:creationId xmlns:a16="http://schemas.microsoft.com/office/drawing/2014/main" id="{CCA27485-69F8-4504-8C1A-E6F0CE23AE76}"/>
                  </a:ext>
                </a:extLst>
              </p:cNvPr>
              <p:cNvSpPr>
                <a:spLocks/>
              </p:cNvSpPr>
              <p:nvPr/>
            </p:nvSpPr>
            <p:spPr bwMode="auto">
              <a:xfrm flipH="1">
                <a:off x="5189204" y="1858213"/>
                <a:ext cx="510077" cy="2021713"/>
              </a:xfrm>
              <a:custGeom>
                <a:avLst/>
                <a:gdLst>
                  <a:gd name="T0" fmla="*/ 192 w 192"/>
                  <a:gd name="T1" fmla="*/ 724 h 761"/>
                  <a:gd name="T2" fmla="*/ 0 w 192"/>
                  <a:gd name="T3" fmla="*/ 0 h 761"/>
                  <a:gd name="T4" fmla="*/ 0 w 192"/>
                  <a:gd name="T5" fmla="*/ 223 h 761"/>
                  <a:gd name="T6" fmla="*/ 192 w 192"/>
                  <a:gd name="T7" fmla="*/ 761 h 761"/>
                  <a:gd name="T8" fmla="*/ 192 w 192"/>
                  <a:gd name="T9" fmla="*/ 724 h 761"/>
                </a:gdLst>
                <a:ahLst/>
                <a:cxnLst>
                  <a:cxn ang="0">
                    <a:pos x="T0" y="T1"/>
                  </a:cxn>
                  <a:cxn ang="0">
                    <a:pos x="T2" y="T3"/>
                  </a:cxn>
                  <a:cxn ang="0">
                    <a:pos x="T4" y="T5"/>
                  </a:cxn>
                  <a:cxn ang="0">
                    <a:pos x="T6" y="T7"/>
                  </a:cxn>
                  <a:cxn ang="0">
                    <a:pos x="T8" y="T9"/>
                  </a:cxn>
                </a:cxnLst>
                <a:rect l="0" t="0" r="r" b="b"/>
                <a:pathLst>
                  <a:path w="192" h="761">
                    <a:moveTo>
                      <a:pt x="192" y="724"/>
                    </a:moveTo>
                    <a:lnTo>
                      <a:pt x="0" y="0"/>
                    </a:lnTo>
                    <a:lnTo>
                      <a:pt x="0" y="223"/>
                    </a:lnTo>
                    <a:lnTo>
                      <a:pt x="192" y="761"/>
                    </a:lnTo>
                    <a:lnTo>
                      <a:pt x="192" y="724"/>
                    </a:lnTo>
                    <a:close/>
                  </a:path>
                </a:pathLst>
              </a:custGeom>
              <a:solidFill>
                <a:schemeClr val="accent5">
                  <a:lumMod val="75000"/>
                </a:schemeClr>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35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1" name="Freeform 18">
                <a:extLst>
                  <a:ext uri="{FF2B5EF4-FFF2-40B4-BE49-F238E27FC236}">
                    <a16:creationId xmlns:a16="http://schemas.microsoft.com/office/drawing/2014/main" id="{88FEBFDD-DC33-4ED7-927C-5B5FFC4B8FD1}"/>
                  </a:ext>
                </a:extLst>
              </p:cNvPr>
              <p:cNvSpPr>
                <a:spLocks/>
              </p:cNvSpPr>
              <p:nvPr/>
            </p:nvSpPr>
            <p:spPr bwMode="auto">
              <a:xfrm flipH="1">
                <a:off x="5183888" y="2878369"/>
                <a:ext cx="528675" cy="1179554"/>
              </a:xfrm>
              <a:custGeom>
                <a:avLst/>
                <a:gdLst>
                  <a:gd name="T0" fmla="*/ 199 w 199"/>
                  <a:gd name="T1" fmla="*/ 408 h 444"/>
                  <a:gd name="T2" fmla="*/ 0 w 199"/>
                  <a:gd name="T3" fmla="*/ 0 h 444"/>
                  <a:gd name="T4" fmla="*/ 0 w 199"/>
                  <a:gd name="T5" fmla="*/ 228 h 444"/>
                  <a:gd name="T6" fmla="*/ 199 w 199"/>
                  <a:gd name="T7" fmla="*/ 444 h 444"/>
                  <a:gd name="T8" fmla="*/ 199 w 199"/>
                  <a:gd name="T9" fmla="*/ 408 h 444"/>
                </a:gdLst>
                <a:ahLst/>
                <a:cxnLst>
                  <a:cxn ang="0">
                    <a:pos x="T0" y="T1"/>
                  </a:cxn>
                  <a:cxn ang="0">
                    <a:pos x="T2" y="T3"/>
                  </a:cxn>
                  <a:cxn ang="0">
                    <a:pos x="T4" y="T5"/>
                  </a:cxn>
                  <a:cxn ang="0">
                    <a:pos x="T6" y="T7"/>
                  </a:cxn>
                  <a:cxn ang="0">
                    <a:pos x="T8" y="T9"/>
                  </a:cxn>
                </a:cxnLst>
                <a:rect l="0" t="0" r="r" b="b"/>
                <a:pathLst>
                  <a:path w="199" h="444">
                    <a:moveTo>
                      <a:pt x="199" y="408"/>
                    </a:moveTo>
                    <a:lnTo>
                      <a:pt x="0" y="0"/>
                    </a:lnTo>
                    <a:lnTo>
                      <a:pt x="0" y="228"/>
                    </a:lnTo>
                    <a:lnTo>
                      <a:pt x="199" y="444"/>
                    </a:lnTo>
                    <a:lnTo>
                      <a:pt x="199" y="408"/>
                    </a:lnTo>
                    <a:close/>
                  </a:path>
                </a:pathLst>
              </a:custGeom>
              <a:solidFill>
                <a:schemeClr val="accent4">
                  <a:lumMod val="75000"/>
                </a:schemeClr>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35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2" name="Freeform 19">
                <a:extLst>
                  <a:ext uri="{FF2B5EF4-FFF2-40B4-BE49-F238E27FC236}">
                    <a16:creationId xmlns:a16="http://schemas.microsoft.com/office/drawing/2014/main" id="{0482F880-71C0-4345-A544-899E9B96AF29}"/>
                  </a:ext>
                </a:extLst>
              </p:cNvPr>
              <p:cNvSpPr>
                <a:spLocks/>
              </p:cNvSpPr>
              <p:nvPr/>
            </p:nvSpPr>
            <p:spPr bwMode="auto">
              <a:xfrm flipH="1">
                <a:off x="5197172" y="3893209"/>
                <a:ext cx="515391" cy="600404"/>
              </a:xfrm>
              <a:custGeom>
                <a:avLst/>
                <a:gdLst>
                  <a:gd name="T0" fmla="*/ 194 w 194"/>
                  <a:gd name="T1" fmla="*/ 98 h 226"/>
                  <a:gd name="T2" fmla="*/ 0 w 194"/>
                  <a:gd name="T3" fmla="*/ 0 h 226"/>
                  <a:gd name="T4" fmla="*/ 0 w 194"/>
                  <a:gd name="T5" fmla="*/ 226 h 226"/>
                  <a:gd name="T6" fmla="*/ 194 w 194"/>
                  <a:gd name="T7" fmla="*/ 133 h 226"/>
                  <a:gd name="T8" fmla="*/ 194 w 194"/>
                  <a:gd name="T9" fmla="*/ 98 h 226"/>
                </a:gdLst>
                <a:ahLst/>
                <a:cxnLst>
                  <a:cxn ang="0">
                    <a:pos x="T0" y="T1"/>
                  </a:cxn>
                  <a:cxn ang="0">
                    <a:pos x="T2" y="T3"/>
                  </a:cxn>
                  <a:cxn ang="0">
                    <a:pos x="T4" y="T5"/>
                  </a:cxn>
                  <a:cxn ang="0">
                    <a:pos x="T6" y="T7"/>
                  </a:cxn>
                  <a:cxn ang="0">
                    <a:pos x="T8" y="T9"/>
                  </a:cxn>
                </a:cxnLst>
                <a:rect l="0" t="0" r="r" b="b"/>
                <a:pathLst>
                  <a:path w="194" h="226">
                    <a:moveTo>
                      <a:pt x="194" y="98"/>
                    </a:moveTo>
                    <a:lnTo>
                      <a:pt x="0" y="0"/>
                    </a:lnTo>
                    <a:lnTo>
                      <a:pt x="0" y="226"/>
                    </a:lnTo>
                    <a:lnTo>
                      <a:pt x="194" y="133"/>
                    </a:lnTo>
                    <a:lnTo>
                      <a:pt x="194" y="98"/>
                    </a:lnTo>
                    <a:close/>
                  </a:path>
                </a:pathLst>
              </a:custGeom>
              <a:solidFill>
                <a:schemeClr val="accent3">
                  <a:lumMod val="75000"/>
                </a:schemeClr>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35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3" name="Freeform 20">
                <a:extLst>
                  <a:ext uri="{FF2B5EF4-FFF2-40B4-BE49-F238E27FC236}">
                    <a16:creationId xmlns:a16="http://schemas.microsoft.com/office/drawing/2014/main" id="{482215BE-AB53-4A07-9B05-F93F15C06139}"/>
                  </a:ext>
                </a:extLst>
              </p:cNvPr>
              <p:cNvSpPr>
                <a:spLocks/>
              </p:cNvSpPr>
              <p:nvPr/>
            </p:nvSpPr>
            <p:spPr bwMode="auto">
              <a:xfrm flipH="1">
                <a:off x="5183888" y="4342184"/>
                <a:ext cx="528675" cy="1176897"/>
              </a:xfrm>
              <a:custGeom>
                <a:avLst/>
                <a:gdLst>
                  <a:gd name="T0" fmla="*/ 199 w 199"/>
                  <a:gd name="T1" fmla="*/ 0 h 443"/>
                  <a:gd name="T2" fmla="*/ 0 w 199"/>
                  <a:gd name="T3" fmla="*/ 218 h 443"/>
                  <a:gd name="T4" fmla="*/ 0 w 199"/>
                  <a:gd name="T5" fmla="*/ 443 h 443"/>
                  <a:gd name="T6" fmla="*/ 199 w 199"/>
                  <a:gd name="T7" fmla="*/ 35 h 443"/>
                  <a:gd name="T8" fmla="*/ 199 w 199"/>
                  <a:gd name="T9" fmla="*/ 0 h 443"/>
                </a:gdLst>
                <a:ahLst/>
                <a:cxnLst>
                  <a:cxn ang="0">
                    <a:pos x="T0" y="T1"/>
                  </a:cxn>
                  <a:cxn ang="0">
                    <a:pos x="T2" y="T3"/>
                  </a:cxn>
                  <a:cxn ang="0">
                    <a:pos x="T4" y="T5"/>
                  </a:cxn>
                  <a:cxn ang="0">
                    <a:pos x="T6" y="T7"/>
                  </a:cxn>
                  <a:cxn ang="0">
                    <a:pos x="T8" y="T9"/>
                  </a:cxn>
                </a:cxnLst>
                <a:rect l="0" t="0" r="r" b="b"/>
                <a:pathLst>
                  <a:path w="199" h="443">
                    <a:moveTo>
                      <a:pt x="199" y="0"/>
                    </a:moveTo>
                    <a:lnTo>
                      <a:pt x="0" y="218"/>
                    </a:lnTo>
                    <a:lnTo>
                      <a:pt x="0" y="443"/>
                    </a:lnTo>
                    <a:lnTo>
                      <a:pt x="199" y="35"/>
                    </a:lnTo>
                    <a:lnTo>
                      <a:pt x="199" y="0"/>
                    </a:lnTo>
                    <a:close/>
                  </a:path>
                </a:pathLst>
              </a:custGeom>
              <a:solidFill>
                <a:schemeClr val="accent2">
                  <a:lumMod val="75000"/>
                </a:schemeClr>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35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4" name="Freeform 21">
                <a:extLst>
                  <a:ext uri="{FF2B5EF4-FFF2-40B4-BE49-F238E27FC236}">
                    <a16:creationId xmlns:a16="http://schemas.microsoft.com/office/drawing/2014/main" id="{27F187DB-4A4F-4B17-87C5-CDBC37C1FC19}"/>
                  </a:ext>
                </a:extLst>
              </p:cNvPr>
              <p:cNvSpPr>
                <a:spLocks/>
              </p:cNvSpPr>
              <p:nvPr/>
            </p:nvSpPr>
            <p:spPr bwMode="auto">
              <a:xfrm flipH="1">
                <a:off x="5178576" y="4512210"/>
                <a:ext cx="539302" cy="2029684"/>
              </a:xfrm>
              <a:custGeom>
                <a:avLst/>
                <a:gdLst>
                  <a:gd name="T0" fmla="*/ 203 w 203"/>
                  <a:gd name="T1" fmla="*/ 0 h 764"/>
                  <a:gd name="T2" fmla="*/ 0 w 203"/>
                  <a:gd name="T3" fmla="*/ 536 h 764"/>
                  <a:gd name="T4" fmla="*/ 0 w 203"/>
                  <a:gd name="T5" fmla="*/ 764 h 764"/>
                  <a:gd name="T6" fmla="*/ 203 w 203"/>
                  <a:gd name="T7" fmla="*/ 35 h 764"/>
                  <a:gd name="T8" fmla="*/ 203 w 203"/>
                  <a:gd name="T9" fmla="*/ 0 h 764"/>
                </a:gdLst>
                <a:ahLst/>
                <a:cxnLst>
                  <a:cxn ang="0">
                    <a:pos x="T0" y="T1"/>
                  </a:cxn>
                  <a:cxn ang="0">
                    <a:pos x="T2" y="T3"/>
                  </a:cxn>
                  <a:cxn ang="0">
                    <a:pos x="T4" y="T5"/>
                  </a:cxn>
                  <a:cxn ang="0">
                    <a:pos x="T6" y="T7"/>
                  </a:cxn>
                  <a:cxn ang="0">
                    <a:pos x="T8" y="T9"/>
                  </a:cxn>
                </a:cxnLst>
                <a:rect l="0" t="0" r="r" b="b"/>
                <a:pathLst>
                  <a:path w="203" h="764">
                    <a:moveTo>
                      <a:pt x="203" y="0"/>
                    </a:moveTo>
                    <a:lnTo>
                      <a:pt x="0" y="536"/>
                    </a:lnTo>
                    <a:lnTo>
                      <a:pt x="0" y="764"/>
                    </a:lnTo>
                    <a:lnTo>
                      <a:pt x="203" y="35"/>
                    </a:lnTo>
                    <a:lnTo>
                      <a:pt x="203" y="0"/>
                    </a:lnTo>
                    <a:close/>
                  </a:path>
                </a:pathLst>
              </a:custGeom>
              <a:solidFill>
                <a:schemeClr val="accent1">
                  <a:lumMod val="75000"/>
                </a:schemeClr>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35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5" name="Rectangle 37">
                <a:extLst>
                  <a:ext uri="{FF2B5EF4-FFF2-40B4-BE49-F238E27FC236}">
                    <a16:creationId xmlns:a16="http://schemas.microsoft.com/office/drawing/2014/main" id="{0F289AE6-9CBC-4D41-966C-0EE6023F673C}"/>
                  </a:ext>
                </a:extLst>
              </p:cNvPr>
              <p:cNvSpPr>
                <a:spLocks noChangeArrowheads="1"/>
              </p:cNvSpPr>
              <p:nvPr/>
            </p:nvSpPr>
            <p:spPr bwMode="auto">
              <a:xfrm flipH="1">
                <a:off x="5699281" y="1858213"/>
                <a:ext cx="706670" cy="592433"/>
              </a:xfrm>
              <a:prstGeom prst="rect">
                <a:avLst/>
              </a:prstGeom>
              <a:solidFill>
                <a:schemeClr val="accent5"/>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35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6" name="Rectangle 38">
                <a:extLst>
                  <a:ext uri="{FF2B5EF4-FFF2-40B4-BE49-F238E27FC236}">
                    <a16:creationId xmlns:a16="http://schemas.microsoft.com/office/drawing/2014/main" id="{314E0C0E-BD85-46EB-BB06-1010D9C785E4}"/>
                  </a:ext>
                </a:extLst>
              </p:cNvPr>
              <p:cNvSpPr>
                <a:spLocks noChangeArrowheads="1"/>
              </p:cNvSpPr>
              <p:nvPr/>
            </p:nvSpPr>
            <p:spPr bwMode="auto">
              <a:xfrm flipH="1">
                <a:off x="5712564" y="2878369"/>
                <a:ext cx="693388" cy="605717"/>
              </a:xfrm>
              <a:prstGeom prst="rect">
                <a:avLst/>
              </a:prstGeom>
              <a:solidFill>
                <a:schemeClr val="accent4"/>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35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7" name="Rectangle 39">
                <a:extLst>
                  <a:ext uri="{FF2B5EF4-FFF2-40B4-BE49-F238E27FC236}">
                    <a16:creationId xmlns:a16="http://schemas.microsoft.com/office/drawing/2014/main" id="{9D2A3026-F097-400A-B20A-2DDA702481D7}"/>
                  </a:ext>
                </a:extLst>
              </p:cNvPr>
              <p:cNvSpPr>
                <a:spLocks noChangeArrowheads="1"/>
              </p:cNvSpPr>
              <p:nvPr/>
            </p:nvSpPr>
            <p:spPr bwMode="auto">
              <a:xfrm flipH="1">
                <a:off x="5712564" y="3893209"/>
                <a:ext cx="693388" cy="600404"/>
              </a:xfrm>
              <a:prstGeom prst="rect">
                <a:avLst/>
              </a:prstGeom>
              <a:solidFill>
                <a:schemeClr val="accent3"/>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35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8" name="Rectangle 40">
                <a:extLst>
                  <a:ext uri="{FF2B5EF4-FFF2-40B4-BE49-F238E27FC236}">
                    <a16:creationId xmlns:a16="http://schemas.microsoft.com/office/drawing/2014/main" id="{F9D4279F-F1F4-4E2F-B1F5-F14D29A8AA3C}"/>
                  </a:ext>
                </a:extLst>
              </p:cNvPr>
              <p:cNvSpPr>
                <a:spLocks noChangeArrowheads="1"/>
              </p:cNvSpPr>
              <p:nvPr/>
            </p:nvSpPr>
            <p:spPr bwMode="auto">
              <a:xfrm flipH="1">
                <a:off x="5707251" y="4916021"/>
                <a:ext cx="698701" cy="597746"/>
              </a:xfrm>
              <a:prstGeom prst="rect">
                <a:avLst/>
              </a:prstGeom>
              <a:solidFill>
                <a:schemeClr val="accent2"/>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35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9" name="Rectangle 41">
                <a:extLst>
                  <a:ext uri="{FF2B5EF4-FFF2-40B4-BE49-F238E27FC236}">
                    <a16:creationId xmlns:a16="http://schemas.microsoft.com/office/drawing/2014/main" id="{A62BA3E6-9DD0-4C05-AF08-782B083EB387}"/>
                  </a:ext>
                </a:extLst>
              </p:cNvPr>
              <p:cNvSpPr>
                <a:spLocks noChangeArrowheads="1"/>
              </p:cNvSpPr>
              <p:nvPr/>
            </p:nvSpPr>
            <p:spPr bwMode="auto">
              <a:xfrm flipH="1">
                <a:off x="5717877" y="5936176"/>
                <a:ext cx="688074" cy="611030"/>
              </a:xfrm>
              <a:prstGeom prst="rect">
                <a:avLst/>
              </a:prstGeom>
              <a:solidFill>
                <a:schemeClr val="accent1"/>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35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sp>
          <p:nvSpPr>
            <p:cNvPr id="4" name="Rectangle 45">
              <a:extLst>
                <a:ext uri="{FF2B5EF4-FFF2-40B4-BE49-F238E27FC236}">
                  <a16:creationId xmlns:a16="http://schemas.microsoft.com/office/drawing/2014/main" id="{E9959FC8-093D-4622-A826-BAF40A0F2C87}"/>
                </a:ext>
              </a:extLst>
            </p:cNvPr>
            <p:cNvSpPr>
              <a:spLocks noChangeArrowheads="1"/>
            </p:cNvSpPr>
            <p:nvPr/>
          </p:nvSpPr>
          <p:spPr bwMode="auto">
            <a:xfrm rot="5400000" flipH="1">
              <a:off x="5094970" y="4593390"/>
              <a:ext cx="2401200" cy="104400"/>
            </a:xfrm>
            <a:prstGeom prst="rect">
              <a:avLst/>
            </a:prstGeom>
            <a:solidFill>
              <a:schemeClr val="accent4"/>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35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5" name="Rectangle 48">
              <a:extLst>
                <a:ext uri="{FF2B5EF4-FFF2-40B4-BE49-F238E27FC236}">
                  <a16:creationId xmlns:a16="http://schemas.microsoft.com/office/drawing/2014/main" id="{2375756A-650C-470B-A86C-B795E96F436F}"/>
                </a:ext>
              </a:extLst>
            </p:cNvPr>
            <p:cNvSpPr>
              <a:spLocks noChangeArrowheads="1"/>
            </p:cNvSpPr>
            <p:nvPr/>
          </p:nvSpPr>
          <p:spPr bwMode="auto">
            <a:xfrm rot="5400000" flipH="1">
              <a:off x="4592123" y="4306476"/>
              <a:ext cx="3002625" cy="93283"/>
            </a:xfrm>
            <a:prstGeom prst="rect">
              <a:avLst/>
            </a:prstGeom>
            <a:solidFill>
              <a:schemeClr val="accent3"/>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35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6" name="Freeform 52">
              <a:extLst>
                <a:ext uri="{FF2B5EF4-FFF2-40B4-BE49-F238E27FC236}">
                  <a16:creationId xmlns:a16="http://schemas.microsoft.com/office/drawing/2014/main" id="{B8B4BC49-AB04-4484-971A-3D9E275286F6}"/>
                </a:ext>
              </a:extLst>
            </p:cNvPr>
            <p:cNvSpPr>
              <a:spLocks/>
            </p:cNvSpPr>
            <p:nvPr/>
          </p:nvSpPr>
          <p:spPr bwMode="auto">
            <a:xfrm rot="5400000" flipH="1">
              <a:off x="4706796" y="4601648"/>
              <a:ext cx="2402100" cy="93600"/>
            </a:xfrm>
            <a:custGeom>
              <a:avLst/>
              <a:gdLst>
                <a:gd name="T0" fmla="*/ 0 w 501"/>
                <a:gd name="T1" fmla="*/ 2 h 17"/>
                <a:gd name="T2" fmla="*/ 0 w 501"/>
                <a:gd name="T3" fmla="*/ 17 h 17"/>
                <a:gd name="T4" fmla="*/ 501 w 501"/>
                <a:gd name="T5" fmla="*/ 17 h 17"/>
                <a:gd name="T6" fmla="*/ 501 w 501"/>
                <a:gd name="T7" fmla="*/ 1 h 17"/>
                <a:gd name="T8" fmla="*/ 0 w 501"/>
                <a:gd name="T9" fmla="*/ 2 h 17"/>
              </a:gdLst>
              <a:ahLst/>
              <a:cxnLst>
                <a:cxn ang="0">
                  <a:pos x="T0" y="T1"/>
                </a:cxn>
                <a:cxn ang="0">
                  <a:pos x="T2" y="T3"/>
                </a:cxn>
                <a:cxn ang="0">
                  <a:pos x="T4" y="T5"/>
                </a:cxn>
                <a:cxn ang="0">
                  <a:pos x="T6" y="T7"/>
                </a:cxn>
                <a:cxn ang="0">
                  <a:pos x="T8" y="T9"/>
                </a:cxn>
              </a:cxnLst>
              <a:rect l="0" t="0" r="r" b="b"/>
              <a:pathLst>
                <a:path w="501" h="17">
                  <a:moveTo>
                    <a:pt x="0" y="2"/>
                  </a:moveTo>
                  <a:cubicBezTo>
                    <a:pt x="0" y="17"/>
                    <a:pt x="0" y="17"/>
                    <a:pt x="0" y="17"/>
                  </a:cubicBezTo>
                  <a:cubicBezTo>
                    <a:pt x="4" y="17"/>
                    <a:pt x="447" y="15"/>
                    <a:pt x="501" y="17"/>
                  </a:cubicBezTo>
                  <a:cubicBezTo>
                    <a:pt x="501" y="1"/>
                    <a:pt x="501" y="1"/>
                    <a:pt x="501" y="1"/>
                  </a:cubicBezTo>
                  <a:cubicBezTo>
                    <a:pt x="443" y="0"/>
                    <a:pt x="18" y="2"/>
                    <a:pt x="0" y="2"/>
                  </a:cubicBezTo>
                  <a:close/>
                </a:path>
              </a:pathLst>
            </a:custGeom>
            <a:solidFill>
              <a:schemeClr val="accent2"/>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35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7" name="Rectangle 48">
              <a:extLst>
                <a:ext uri="{FF2B5EF4-FFF2-40B4-BE49-F238E27FC236}">
                  <a16:creationId xmlns:a16="http://schemas.microsoft.com/office/drawing/2014/main" id="{37248FA1-8A0B-43D5-95F3-F65114DF0E83}"/>
                </a:ext>
              </a:extLst>
            </p:cNvPr>
            <p:cNvSpPr>
              <a:spLocks noChangeArrowheads="1"/>
            </p:cNvSpPr>
            <p:nvPr/>
          </p:nvSpPr>
          <p:spPr bwMode="auto">
            <a:xfrm rot="5400000" flipH="1">
              <a:off x="5731857" y="5044964"/>
              <a:ext cx="1501312" cy="106718"/>
            </a:xfrm>
            <a:prstGeom prst="rect">
              <a:avLst/>
            </a:prstGeom>
            <a:solidFill>
              <a:schemeClr val="accent1">
                <a:lumMod val="50000"/>
              </a:schemeClr>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8" name="Freeform 50">
              <a:extLst>
                <a:ext uri="{FF2B5EF4-FFF2-40B4-BE49-F238E27FC236}">
                  <a16:creationId xmlns:a16="http://schemas.microsoft.com/office/drawing/2014/main" id="{9B2CC37D-8CCF-4F39-9355-1A9845D0EFAE}"/>
                </a:ext>
              </a:extLst>
            </p:cNvPr>
            <p:cNvSpPr>
              <a:spLocks/>
            </p:cNvSpPr>
            <p:nvPr/>
          </p:nvSpPr>
          <p:spPr bwMode="auto">
            <a:xfrm rot="5400000" flipH="1">
              <a:off x="6558288" y="3830373"/>
              <a:ext cx="392400" cy="648000"/>
            </a:xfrm>
            <a:custGeom>
              <a:avLst/>
              <a:gdLst>
                <a:gd name="T0" fmla="*/ 58 w 73"/>
                <a:gd name="T1" fmla="*/ 0 h 89"/>
                <a:gd name="T2" fmla="*/ 58 w 73"/>
                <a:gd name="T3" fmla="*/ 1 h 89"/>
                <a:gd name="T4" fmla="*/ 1 w 73"/>
                <a:gd name="T5" fmla="*/ 74 h 89"/>
                <a:gd name="T6" fmla="*/ 0 w 73"/>
                <a:gd name="T7" fmla="*/ 74 h 89"/>
                <a:gd name="T8" fmla="*/ 0 w 73"/>
                <a:gd name="T9" fmla="*/ 89 h 89"/>
                <a:gd name="T10" fmla="*/ 1 w 73"/>
                <a:gd name="T11" fmla="*/ 89 h 89"/>
                <a:gd name="T12" fmla="*/ 58 w 73"/>
                <a:gd name="T13" fmla="*/ 60 h 89"/>
                <a:gd name="T14" fmla="*/ 73 w 73"/>
                <a:gd name="T15" fmla="*/ 1 h 89"/>
                <a:gd name="T16" fmla="*/ 73 w 73"/>
                <a:gd name="T17" fmla="*/ 0 h 89"/>
                <a:gd name="T18" fmla="*/ 58 w 73"/>
                <a:gd name="T19"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 h="89">
                  <a:moveTo>
                    <a:pt x="58" y="0"/>
                  </a:moveTo>
                  <a:cubicBezTo>
                    <a:pt x="58" y="1"/>
                    <a:pt x="58" y="1"/>
                    <a:pt x="58" y="1"/>
                  </a:cubicBezTo>
                  <a:cubicBezTo>
                    <a:pt x="58" y="23"/>
                    <a:pt x="52" y="74"/>
                    <a:pt x="1" y="74"/>
                  </a:cubicBezTo>
                  <a:cubicBezTo>
                    <a:pt x="0" y="74"/>
                    <a:pt x="0" y="74"/>
                    <a:pt x="0" y="74"/>
                  </a:cubicBezTo>
                  <a:cubicBezTo>
                    <a:pt x="0" y="89"/>
                    <a:pt x="0" y="89"/>
                    <a:pt x="0" y="89"/>
                  </a:cubicBezTo>
                  <a:cubicBezTo>
                    <a:pt x="1" y="89"/>
                    <a:pt x="1" y="89"/>
                    <a:pt x="1" y="89"/>
                  </a:cubicBezTo>
                  <a:cubicBezTo>
                    <a:pt x="26" y="89"/>
                    <a:pt x="45" y="79"/>
                    <a:pt x="58" y="60"/>
                  </a:cubicBezTo>
                  <a:cubicBezTo>
                    <a:pt x="71" y="41"/>
                    <a:pt x="73" y="17"/>
                    <a:pt x="73" y="1"/>
                  </a:cubicBezTo>
                  <a:cubicBezTo>
                    <a:pt x="73" y="0"/>
                    <a:pt x="73" y="0"/>
                    <a:pt x="73" y="0"/>
                  </a:cubicBezTo>
                  <a:lnTo>
                    <a:pt x="58" y="0"/>
                  </a:lnTo>
                  <a:close/>
                </a:path>
              </a:pathLst>
            </a:custGeom>
            <a:solidFill>
              <a:schemeClr val="accent1">
                <a:lumMod val="50000"/>
              </a:schemeClr>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9" name="Rectangle 48">
              <a:extLst>
                <a:ext uri="{FF2B5EF4-FFF2-40B4-BE49-F238E27FC236}">
                  <a16:creationId xmlns:a16="http://schemas.microsoft.com/office/drawing/2014/main" id="{A4D50001-7CBD-40C4-B036-1C07A5CDADB5}"/>
                </a:ext>
              </a:extLst>
            </p:cNvPr>
            <p:cNvSpPr>
              <a:spLocks noChangeArrowheads="1"/>
            </p:cNvSpPr>
            <p:nvPr/>
          </p:nvSpPr>
          <p:spPr bwMode="auto">
            <a:xfrm rot="5400000" flipH="1" flipV="1">
              <a:off x="4971883" y="5038090"/>
              <a:ext cx="1501312" cy="93283"/>
            </a:xfrm>
            <a:prstGeom prst="rect">
              <a:avLst/>
            </a:prstGeom>
            <a:solidFill>
              <a:schemeClr val="accent1"/>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0" name="Freeform 50">
              <a:extLst>
                <a:ext uri="{FF2B5EF4-FFF2-40B4-BE49-F238E27FC236}">
                  <a16:creationId xmlns:a16="http://schemas.microsoft.com/office/drawing/2014/main" id="{80E1D1FA-E391-4CAB-89FB-3D515ED47561}"/>
                </a:ext>
              </a:extLst>
            </p:cNvPr>
            <p:cNvSpPr>
              <a:spLocks/>
            </p:cNvSpPr>
            <p:nvPr/>
          </p:nvSpPr>
          <p:spPr bwMode="auto">
            <a:xfrm rot="5400000" flipH="1" flipV="1">
              <a:off x="5287911" y="3862330"/>
              <a:ext cx="381120" cy="562370"/>
            </a:xfrm>
            <a:custGeom>
              <a:avLst/>
              <a:gdLst>
                <a:gd name="T0" fmla="*/ 58 w 73"/>
                <a:gd name="T1" fmla="*/ 0 h 89"/>
                <a:gd name="T2" fmla="*/ 58 w 73"/>
                <a:gd name="T3" fmla="*/ 1 h 89"/>
                <a:gd name="T4" fmla="*/ 1 w 73"/>
                <a:gd name="T5" fmla="*/ 74 h 89"/>
                <a:gd name="T6" fmla="*/ 0 w 73"/>
                <a:gd name="T7" fmla="*/ 74 h 89"/>
                <a:gd name="T8" fmla="*/ 0 w 73"/>
                <a:gd name="T9" fmla="*/ 89 h 89"/>
                <a:gd name="T10" fmla="*/ 1 w 73"/>
                <a:gd name="T11" fmla="*/ 89 h 89"/>
                <a:gd name="T12" fmla="*/ 58 w 73"/>
                <a:gd name="T13" fmla="*/ 60 h 89"/>
                <a:gd name="T14" fmla="*/ 73 w 73"/>
                <a:gd name="T15" fmla="*/ 1 h 89"/>
                <a:gd name="T16" fmla="*/ 73 w 73"/>
                <a:gd name="T17" fmla="*/ 0 h 89"/>
                <a:gd name="T18" fmla="*/ 58 w 73"/>
                <a:gd name="T19"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 h="89">
                  <a:moveTo>
                    <a:pt x="58" y="0"/>
                  </a:moveTo>
                  <a:cubicBezTo>
                    <a:pt x="58" y="1"/>
                    <a:pt x="58" y="1"/>
                    <a:pt x="58" y="1"/>
                  </a:cubicBezTo>
                  <a:cubicBezTo>
                    <a:pt x="58" y="23"/>
                    <a:pt x="52" y="74"/>
                    <a:pt x="1" y="74"/>
                  </a:cubicBezTo>
                  <a:cubicBezTo>
                    <a:pt x="0" y="74"/>
                    <a:pt x="0" y="74"/>
                    <a:pt x="0" y="74"/>
                  </a:cubicBezTo>
                  <a:cubicBezTo>
                    <a:pt x="0" y="89"/>
                    <a:pt x="0" y="89"/>
                    <a:pt x="0" y="89"/>
                  </a:cubicBezTo>
                  <a:cubicBezTo>
                    <a:pt x="1" y="89"/>
                    <a:pt x="1" y="89"/>
                    <a:pt x="1" y="89"/>
                  </a:cubicBezTo>
                  <a:cubicBezTo>
                    <a:pt x="26" y="89"/>
                    <a:pt x="45" y="79"/>
                    <a:pt x="58" y="60"/>
                  </a:cubicBezTo>
                  <a:cubicBezTo>
                    <a:pt x="71" y="41"/>
                    <a:pt x="73" y="17"/>
                    <a:pt x="73" y="1"/>
                  </a:cubicBezTo>
                  <a:cubicBezTo>
                    <a:pt x="73" y="0"/>
                    <a:pt x="73" y="0"/>
                    <a:pt x="73" y="0"/>
                  </a:cubicBezTo>
                  <a:lnTo>
                    <a:pt x="58" y="0"/>
                  </a:lnTo>
                  <a:close/>
                </a:path>
              </a:pathLst>
            </a:custGeom>
            <a:solidFill>
              <a:schemeClr val="accent1"/>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1" name="Freeform 50">
              <a:extLst>
                <a:ext uri="{FF2B5EF4-FFF2-40B4-BE49-F238E27FC236}">
                  <a16:creationId xmlns:a16="http://schemas.microsoft.com/office/drawing/2014/main" id="{FACEC576-C381-445A-AF5A-5B05EEA2CD1E}"/>
                </a:ext>
              </a:extLst>
            </p:cNvPr>
            <p:cNvSpPr>
              <a:spLocks/>
            </p:cNvSpPr>
            <p:nvPr/>
          </p:nvSpPr>
          <p:spPr bwMode="auto">
            <a:xfrm rot="5400000" flipH="1" flipV="1">
              <a:off x="5468404" y="2981629"/>
              <a:ext cx="381120" cy="562370"/>
            </a:xfrm>
            <a:custGeom>
              <a:avLst/>
              <a:gdLst>
                <a:gd name="T0" fmla="*/ 58 w 73"/>
                <a:gd name="T1" fmla="*/ 0 h 89"/>
                <a:gd name="T2" fmla="*/ 58 w 73"/>
                <a:gd name="T3" fmla="*/ 1 h 89"/>
                <a:gd name="T4" fmla="*/ 1 w 73"/>
                <a:gd name="T5" fmla="*/ 74 h 89"/>
                <a:gd name="T6" fmla="*/ 0 w 73"/>
                <a:gd name="T7" fmla="*/ 74 h 89"/>
                <a:gd name="T8" fmla="*/ 0 w 73"/>
                <a:gd name="T9" fmla="*/ 89 h 89"/>
                <a:gd name="T10" fmla="*/ 1 w 73"/>
                <a:gd name="T11" fmla="*/ 89 h 89"/>
                <a:gd name="T12" fmla="*/ 58 w 73"/>
                <a:gd name="T13" fmla="*/ 60 h 89"/>
                <a:gd name="T14" fmla="*/ 73 w 73"/>
                <a:gd name="T15" fmla="*/ 1 h 89"/>
                <a:gd name="T16" fmla="*/ 73 w 73"/>
                <a:gd name="T17" fmla="*/ 0 h 89"/>
                <a:gd name="T18" fmla="*/ 58 w 73"/>
                <a:gd name="T19"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 h="89">
                  <a:moveTo>
                    <a:pt x="58" y="0"/>
                  </a:moveTo>
                  <a:cubicBezTo>
                    <a:pt x="58" y="1"/>
                    <a:pt x="58" y="1"/>
                    <a:pt x="58" y="1"/>
                  </a:cubicBezTo>
                  <a:cubicBezTo>
                    <a:pt x="58" y="23"/>
                    <a:pt x="52" y="74"/>
                    <a:pt x="1" y="74"/>
                  </a:cubicBezTo>
                  <a:cubicBezTo>
                    <a:pt x="0" y="74"/>
                    <a:pt x="0" y="74"/>
                    <a:pt x="0" y="74"/>
                  </a:cubicBezTo>
                  <a:cubicBezTo>
                    <a:pt x="0" y="89"/>
                    <a:pt x="0" y="89"/>
                    <a:pt x="0" y="89"/>
                  </a:cubicBezTo>
                  <a:cubicBezTo>
                    <a:pt x="1" y="89"/>
                    <a:pt x="1" y="89"/>
                    <a:pt x="1" y="89"/>
                  </a:cubicBezTo>
                  <a:cubicBezTo>
                    <a:pt x="26" y="89"/>
                    <a:pt x="45" y="79"/>
                    <a:pt x="58" y="60"/>
                  </a:cubicBezTo>
                  <a:cubicBezTo>
                    <a:pt x="71" y="41"/>
                    <a:pt x="73" y="17"/>
                    <a:pt x="73" y="1"/>
                  </a:cubicBezTo>
                  <a:cubicBezTo>
                    <a:pt x="73" y="0"/>
                    <a:pt x="73" y="0"/>
                    <a:pt x="73" y="0"/>
                  </a:cubicBezTo>
                  <a:lnTo>
                    <a:pt x="58" y="0"/>
                  </a:lnTo>
                  <a:close/>
                </a:path>
              </a:pathLst>
            </a:custGeom>
            <a:solidFill>
              <a:schemeClr val="accent2"/>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2" name="Freeform 50">
              <a:extLst>
                <a:ext uri="{FF2B5EF4-FFF2-40B4-BE49-F238E27FC236}">
                  <a16:creationId xmlns:a16="http://schemas.microsoft.com/office/drawing/2014/main" id="{88B5C629-9C2D-4428-A888-3BD3A80E1BFF}"/>
                </a:ext>
              </a:extLst>
            </p:cNvPr>
            <p:cNvSpPr>
              <a:spLocks/>
            </p:cNvSpPr>
            <p:nvPr/>
          </p:nvSpPr>
          <p:spPr bwMode="auto">
            <a:xfrm rot="16200000" flipV="1">
              <a:off x="6332295" y="2991885"/>
              <a:ext cx="378000" cy="558000"/>
            </a:xfrm>
            <a:custGeom>
              <a:avLst/>
              <a:gdLst>
                <a:gd name="T0" fmla="*/ 58 w 73"/>
                <a:gd name="T1" fmla="*/ 0 h 89"/>
                <a:gd name="T2" fmla="*/ 58 w 73"/>
                <a:gd name="T3" fmla="*/ 1 h 89"/>
                <a:gd name="T4" fmla="*/ 1 w 73"/>
                <a:gd name="T5" fmla="*/ 74 h 89"/>
                <a:gd name="T6" fmla="*/ 0 w 73"/>
                <a:gd name="T7" fmla="*/ 74 h 89"/>
                <a:gd name="T8" fmla="*/ 0 w 73"/>
                <a:gd name="T9" fmla="*/ 89 h 89"/>
                <a:gd name="T10" fmla="*/ 1 w 73"/>
                <a:gd name="T11" fmla="*/ 89 h 89"/>
                <a:gd name="T12" fmla="*/ 58 w 73"/>
                <a:gd name="T13" fmla="*/ 60 h 89"/>
                <a:gd name="T14" fmla="*/ 73 w 73"/>
                <a:gd name="T15" fmla="*/ 1 h 89"/>
                <a:gd name="T16" fmla="*/ 73 w 73"/>
                <a:gd name="T17" fmla="*/ 0 h 89"/>
                <a:gd name="T18" fmla="*/ 58 w 73"/>
                <a:gd name="T19"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 h="89">
                  <a:moveTo>
                    <a:pt x="58" y="0"/>
                  </a:moveTo>
                  <a:cubicBezTo>
                    <a:pt x="58" y="1"/>
                    <a:pt x="58" y="1"/>
                    <a:pt x="58" y="1"/>
                  </a:cubicBezTo>
                  <a:cubicBezTo>
                    <a:pt x="58" y="23"/>
                    <a:pt x="52" y="74"/>
                    <a:pt x="1" y="74"/>
                  </a:cubicBezTo>
                  <a:cubicBezTo>
                    <a:pt x="0" y="74"/>
                    <a:pt x="0" y="74"/>
                    <a:pt x="0" y="74"/>
                  </a:cubicBezTo>
                  <a:cubicBezTo>
                    <a:pt x="0" y="89"/>
                    <a:pt x="0" y="89"/>
                    <a:pt x="0" y="89"/>
                  </a:cubicBezTo>
                  <a:cubicBezTo>
                    <a:pt x="1" y="89"/>
                    <a:pt x="1" y="89"/>
                    <a:pt x="1" y="89"/>
                  </a:cubicBezTo>
                  <a:cubicBezTo>
                    <a:pt x="26" y="89"/>
                    <a:pt x="45" y="79"/>
                    <a:pt x="58" y="60"/>
                  </a:cubicBezTo>
                  <a:cubicBezTo>
                    <a:pt x="71" y="41"/>
                    <a:pt x="73" y="17"/>
                    <a:pt x="73" y="1"/>
                  </a:cubicBezTo>
                  <a:cubicBezTo>
                    <a:pt x="73" y="0"/>
                    <a:pt x="73" y="0"/>
                    <a:pt x="73" y="0"/>
                  </a:cubicBezTo>
                  <a:lnTo>
                    <a:pt x="58" y="0"/>
                  </a:lnTo>
                  <a:close/>
                </a:path>
              </a:pathLst>
            </a:custGeom>
            <a:solidFill>
              <a:schemeClr val="accent4"/>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3" name="Freeform 33">
              <a:extLst>
                <a:ext uri="{FF2B5EF4-FFF2-40B4-BE49-F238E27FC236}">
                  <a16:creationId xmlns:a16="http://schemas.microsoft.com/office/drawing/2014/main" id="{E00B4452-FC5C-4EE9-907A-DF4026B65837}"/>
                </a:ext>
              </a:extLst>
            </p:cNvPr>
            <p:cNvSpPr>
              <a:spLocks/>
            </p:cNvSpPr>
            <p:nvPr/>
          </p:nvSpPr>
          <p:spPr bwMode="auto">
            <a:xfrm rot="20192702" flipH="1">
              <a:off x="6055524" y="1507026"/>
              <a:ext cx="779920" cy="635236"/>
            </a:xfrm>
            <a:custGeom>
              <a:avLst/>
              <a:gdLst>
                <a:gd name="T0" fmla="*/ 167 w 196"/>
                <a:gd name="T1" fmla="*/ 142 h 163"/>
                <a:gd name="T2" fmla="*/ 170 w 196"/>
                <a:gd name="T3" fmla="*/ 48 h 163"/>
                <a:gd name="T4" fmla="*/ 167 w 196"/>
                <a:gd name="T5" fmla="*/ 57 h 163"/>
                <a:gd name="T6" fmla="*/ 75 w 196"/>
                <a:gd name="T7" fmla="*/ 3 h 163"/>
                <a:gd name="T8" fmla="*/ 0 w 196"/>
                <a:gd name="T9" fmla="*/ 26 h 163"/>
                <a:gd name="T10" fmla="*/ 20 w 196"/>
                <a:gd name="T11" fmla="*/ 60 h 163"/>
                <a:gd name="T12" fmla="*/ 77 w 196"/>
                <a:gd name="T13" fmla="*/ 124 h 163"/>
                <a:gd name="T14" fmla="*/ 119 w 196"/>
                <a:gd name="T15" fmla="*/ 134 h 163"/>
                <a:gd name="T16" fmla="*/ 102 w 196"/>
                <a:gd name="T17" fmla="*/ 139 h 163"/>
                <a:gd name="T18" fmla="*/ 161 w 196"/>
                <a:gd name="T19" fmla="*/ 163 h 163"/>
                <a:gd name="T20" fmla="*/ 81 w 196"/>
                <a:gd name="T21" fmla="*/ 35 h 163"/>
                <a:gd name="T22" fmla="*/ 167 w 196"/>
                <a:gd name="T23" fmla="*/ 14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6" h="163">
                  <a:moveTo>
                    <a:pt x="167" y="142"/>
                  </a:moveTo>
                  <a:cubicBezTo>
                    <a:pt x="167" y="142"/>
                    <a:pt x="196" y="98"/>
                    <a:pt x="170" y="48"/>
                  </a:cubicBezTo>
                  <a:cubicBezTo>
                    <a:pt x="167" y="57"/>
                    <a:pt x="167" y="57"/>
                    <a:pt x="167" y="57"/>
                  </a:cubicBezTo>
                  <a:cubicBezTo>
                    <a:pt x="167" y="57"/>
                    <a:pt x="152" y="0"/>
                    <a:pt x="75" y="3"/>
                  </a:cubicBezTo>
                  <a:cubicBezTo>
                    <a:pt x="21" y="6"/>
                    <a:pt x="0" y="26"/>
                    <a:pt x="0" y="26"/>
                  </a:cubicBezTo>
                  <a:cubicBezTo>
                    <a:pt x="0" y="26"/>
                    <a:pt x="19" y="23"/>
                    <a:pt x="20" y="60"/>
                  </a:cubicBezTo>
                  <a:cubicBezTo>
                    <a:pt x="21" y="81"/>
                    <a:pt x="43" y="116"/>
                    <a:pt x="77" y="124"/>
                  </a:cubicBezTo>
                  <a:cubicBezTo>
                    <a:pt x="111" y="131"/>
                    <a:pt x="119" y="134"/>
                    <a:pt x="119" y="134"/>
                  </a:cubicBezTo>
                  <a:cubicBezTo>
                    <a:pt x="102" y="139"/>
                    <a:pt x="102" y="139"/>
                    <a:pt x="102" y="139"/>
                  </a:cubicBezTo>
                  <a:cubicBezTo>
                    <a:pt x="102" y="139"/>
                    <a:pt x="159" y="140"/>
                    <a:pt x="161" y="163"/>
                  </a:cubicBezTo>
                  <a:cubicBezTo>
                    <a:pt x="161" y="163"/>
                    <a:pt x="157" y="56"/>
                    <a:pt x="81" y="35"/>
                  </a:cubicBezTo>
                  <a:cubicBezTo>
                    <a:pt x="81" y="35"/>
                    <a:pt x="153" y="45"/>
                    <a:pt x="167" y="142"/>
                  </a:cubicBezTo>
                  <a:close/>
                </a:path>
              </a:pathLst>
            </a:custGeom>
            <a:solidFill>
              <a:schemeClr val="tx1">
                <a:lumMod val="65000"/>
                <a:lumOff val="35000"/>
              </a:schemeClr>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35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4" name="Freeform 36">
              <a:extLst>
                <a:ext uri="{FF2B5EF4-FFF2-40B4-BE49-F238E27FC236}">
                  <a16:creationId xmlns:a16="http://schemas.microsoft.com/office/drawing/2014/main" id="{554FEBEA-C9D5-4124-8BF5-51FD91CCA658}"/>
                </a:ext>
              </a:extLst>
            </p:cNvPr>
            <p:cNvSpPr>
              <a:spLocks/>
            </p:cNvSpPr>
            <p:nvPr/>
          </p:nvSpPr>
          <p:spPr bwMode="auto">
            <a:xfrm rot="1695130">
              <a:off x="7397651" y="2210090"/>
              <a:ext cx="368887" cy="464531"/>
            </a:xfrm>
            <a:custGeom>
              <a:avLst/>
              <a:gdLst>
                <a:gd name="T0" fmla="*/ 4 w 79"/>
                <a:gd name="T1" fmla="*/ 55 h 101"/>
                <a:gd name="T2" fmla="*/ 37 w 79"/>
                <a:gd name="T3" fmla="*/ 10 h 101"/>
                <a:gd name="T4" fmla="*/ 77 w 79"/>
                <a:gd name="T5" fmla="*/ 5 h 101"/>
                <a:gd name="T6" fmla="*/ 75 w 79"/>
                <a:gd name="T7" fmla="*/ 25 h 101"/>
                <a:gd name="T8" fmla="*/ 61 w 79"/>
                <a:gd name="T9" fmla="*/ 67 h 101"/>
                <a:gd name="T10" fmla="*/ 43 w 79"/>
                <a:gd name="T11" fmla="*/ 81 h 101"/>
                <a:gd name="T12" fmla="*/ 52 w 79"/>
                <a:gd name="T13" fmla="*/ 80 h 101"/>
                <a:gd name="T14" fmla="*/ 30 w 79"/>
                <a:gd name="T15" fmla="*/ 101 h 101"/>
                <a:gd name="T16" fmla="*/ 27 w 79"/>
                <a:gd name="T17" fmla="*/ 87 h 101"/>
                <a:gd name="T18" fmla="*/ 48 w 79"/>
                <a:gd name="T19" fmla="*/ 20 h 101"/>
                <a:gd name="T20" fmla="*/ 18 w 79"/>
                <a:gd name="T21" fmla="*/ 91 h 101"/>
                <a:gd name="T22" fmla="*/ 1 w 79"/>
                <a:gd name="T23" fmla="*/ 51 h 101"/>
                <a:gd name="T24" fmla="*/ 4 w 79"/>
                <a:gd name="T25" fmla="*/ 55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9" h="101">
                  <a:moveTo>
                    <a:pt x="4" y="55"/>
                  </a:moveTo>
                  <a:cubicBezTo>
                    <a:pt x="4" y="55"/>
                    <a:pt x="0" y="25"/>
                    <a:pt x="37" y="10"/>
                  </a:cubicBezTo>
                  <a:cubicBezTo>
                    <a:pt x="63" y="0"/>
                    <a:pt x="77" y="5"/>
                    <a:pt x="77" y="5"/>
                  </a:cubicBezTo>
                  <a:cubicBezTo>
                    <a:pt x="77" y="5"/>
                    <a:pt x="67" y="7"/>
                    <a:pt x="75" y="25"/>
                  </a:cubicBezTo>
                  <a:cubicBezTo>
                    <a:pt x="79" y="35"/>
                    <a:pt x="76" y="57"/>
                    <a:pt x="61" y="67"/>
                  </a:cubicBezTo>
                  <a:cubicBezTo>
                    <a:pt x="47" y="78"/>
                    <a:pt x="43" y="81"/>
                    <a:pt x="43" y="81"/>
                  </a:cubicBezTo>
                  <a:cubicBezTo>
                    <a:pt x="52" y="80"/>
                    <a:pt x="52" y="80"/>
                    <a:pt x="52" y="80"/>
                  </a:cubicBezTo>
                  <a:cubicBezTo>
                    <a:pt x="52" y="80"/>
                    <a:pt x="29" y="91"/>
                    <a:pt x="30" y="101"/>
                  </a:cubicBezTo>
                  <a:cubicBezTo>
                    <a:pt x="28" y="97"/>
                    <a:pt x="28" y="92"/>
                    <a:pt x="27" y="87"/>
                  </a:cubicBezTo>
                  <a:cubicBezTo>
                    <a:pt x="24" y="59"/>
                    <a:pt x="33" y="34"/>
                    <a:pt x="48" y="20"/>
                  </a:cubicBezTo>
                  <a:cubicBezTo>
                    <a:pt x="30" y="31"/>
                    <a:pt x="14" y="52"/>
                    <a:pt x="18" y="91"/>
                  </a:cubicBezTo>
                  <a:cubicBezTo>
                    <a:pt x="11" y="85"/>
                    <a:pt x="0" y="71"/>
                    <a:pt x="1" y="51"/>
                  </a:cubicBezTo>
                  <a:lnTo>
                    <a:pt x="4" y="55"/>
                  </a:lnTo>
                  <a:close/>
                </a:path>
              </a:pathLst>
            </a:custGeom>
            <a:solidFill>
              <a:schemeClr val="accent4"/>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35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5" name="Freeform 30">
              <a:extLst>
                <a:ext uri="{FF2B5EF4-FFF2-40B4-BE49-F238E27FC236}">
                  <a16:creationId xmlns:a16="http://schemas.microsoft.com/office/drawing/2014/main" id="{20593B1B-174C-451B-9D0A-3B503A76FD2E}"/>
                </a:ext>
              </a:extLst>
            </p:cNvPr>
            <p:cNvSpPr>
              <a:spLocks/>
            </p:cNvSpPr>
            <p:nvPr/>
          </p:nvSpPr>
          <p:spPr bwMode="auto">
            <a:xfrm rot="19798984">
              <a:off x="5994444" y="1890075"/>
              <a:ext cx="1348215" cy="994401"/>
            </a:xfrm>
            <a:custGeom>
              <a:avLst/>
              <a:gdLst>
                <a:gd name="T0" fmla="*/ 9 w 246"/>
                <a:gd name="T1" fmla="*/ 121 h 185"/>
                <a:gd name="T2" fmla="*/ 73 w 246"/>
                <a:gd name="T3" fmla="*/ 31 h 185"/>
                <a:gd name="T4" fmla="*/ 69 w 246"/>
                <a:gd name="T5" fmla="*/ 42 h 185"/>
                <a:gd name="T6" fmla="*/ 192 w 246"/>
                <a:gd name="T7" fmla="*/ 58 h 185"/>
                <a:gd name="T8" fmla="*/ 246 w 246"/>
                <a:gd name="T9" fmla="*/ 133 h 185"/>
                <a:gd name="T10" fmla="*/ 203 w 246"/>
                <a:gd name="T11" fmla="*/ 150 h 185"/>
                <a:gd name="T12" fmla="*/ 105 w 246"/>
                <a:gd name="T13" fmla="*/ 168 h 185"/>
                <a:gd name="T14" fmla="*/ 59 w 246"/>
                <a:gd name="T15" fmla="*/ 147 h 185"/>
                <a:gd name="T16" fmla="*/ 71 w 246"/>
                <a:gd name="T17" fmla="*/ 164 h 185"/>
                <a:gd name="T18" fmla="*/ 0 w 246"/>
                <a:gd name="T19" fmla="*/ 145 h 185"/>
                <a:gd name="T20" fmla="*/ 165 w 246"/>
                <a:gd name="T21" fmla="*/ 83 h 185"/>
                <a:gd name="T22" fmla="*/ 9 w 246"/>
                <a:gd name="T23" fmla="*/ 121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6" h="185">
                  <a:moveTo>
                    <a:pt x="9" y="121"/>
                  </a:moveTo>
                  <a:cubicBezTo>
                    <a:pt x="9" y="121"/>
                    <a:pt x="14" y="59"/>
                    <a:pt x="73" y="31"/>
                  </a:cubicBezTo>
                  <a:cubicBezTo>
                    <a:pt x="69" y="42"/>
                    <a:pt x="69" y="42"/>
                    <a:pt x="69" y="42"/>
                  </a:cubicBezTo>
                  <a:cubicBezTo>
                    <a:pt x="69" y="42"/>
                    <a:pt x="124" y="0"/>
                    <a:pt x="192" y="58"/>
                  </a:cubicBezTo>
                  <a:cubicBezTo>
                    <a:pt x="241" y="99"/>
                    <a:pt x="246" y="133"/>
                    <a:pt x="246" y="133"/>
                  </a:cubicBezTo>
                  <a:cubicBezTo>
                    <a:pt x="246" y="133"/>
                    <a:pt x="230" y="116"/>
                    <a:pt x="203" y="150"/>
                  </a:cubicBezTo>
                  <a:cubicBezTo>
                    <a:pt x="187" y="169"/>
                    <a:pt x="142" y="185"/>
                    <a:pt x="105" y="168"/>
                  </a:cubicBezTo>
                  <a:cubicBezTo>
                    <a:pt x="68" y="151"/>
                    <a:pt x="59" y="147"/>
                    <a:pt x="59" y="147"/>
                  </a:cubicBezTo>
                  <a:cubicBezTo>
                    <a:pt x="71" y="164"/>
                    <a:pt x="71" y="164"/>
                    <a:pt x="71" y="164"/>
                  </a:cubicBezTo>
                  <a:cubicBezTo>
                    <a:pt x="71" y="164"/>
                    <a:pt x="17" y="124"/>
                    <a:pt x="0" y="145"/>
                  </a:cubicBezTo>
                  <a:cubicBezTo>
                    <a:pt x="0" y="145"/>
                    <a:pt x="79" y="49"/>
                    <a:pt x="165" y="83"/>
                  </a:cubicBezTo>
                  <a:cubicBezTo>
                    <a:pt x="165" y="83"/>
                    <a:pt x="91" y="41"/>
                    <a:pt x="9" y="121"/>
                  </a:cubicBezTo>
                  <a:close/>
                </a:path>
              </a:pathLst>
            </a:custGeom>
            <a:solidFill>
              <a:schemeClr val="bg1">
                <a:lumMod val="50000"/>
              </a:schemeClr>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35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6" name="Freeform 36">
              <a:extLst>
                <a:ext uri="{FF2B5EF4-FFF2-40B4-BE49-F238E27FC236}">
                  <a16:creationId xmlns:a16="http://schemas.microsoft.com/office/drawing/2014/main" id="{BA9141ED-8849-41ED-8696-2165656DADD9}"/>
                </a:ext>
              </a:extLst>
            </p:cNvPr>
            <p:cNvSpPr>
              <a:spLocks/>
            </p:cNvSpPr>
            <p:nvPr/>
          </p:nvSpPr>
          <p:spPr bwMode="auto">
            <a:xfrm rot="20742510">
              <a:off x="5833823" y="2048634"/>
              <a:ext cx="368887" cy="464531"/>
            </a:xfrm>
            <a:custGeom>
              <a:avLst/>
              <a:gdLst>
                <a:gd name="T0" fmla="*/ 4 w 79"/>
                <a:gd name="T1" fmla="*/ 55 h 101"/>
                <a:gd name="T2" fmla="*/ 37 w 79"/>
                <a:gd name="T3" fmla="*/ 10 h 101"/>
                <a:gd name="T4" fmla="*/ 77 w 79"/>
                <a:gd name="T5" fmla="*/ 5 h 101"/>
                <a:gd name="T6" fmla="*/ 75 w 79"/>
                <a:gd name="T7" fmla="*/ 25 h 101"/>
                <a:gd name="T8" fmla="*/ 61 w 79"/>
                <a:gd name="T9" fmla="*/ 67 h 101"/>
                <a:gd name="T10" fmla="*/ 43 w 79"/>
                <a:gd name="T11" fmla="*/ 81 h 101"/>
                <a:gd name="T12" fmla="*/ 52 w 79"/>
                <a:gd name="T13" fmla="*/ 80 h 101"/>
                <a:gd name="T14" fmla="*/ 30 w 79"/>
                <a:gd name="T15" fmla="*/ 101 h 101"/>
                <a:gd name="T16" fmla="*/ 27 w 79"/>
                <a:gd name="T17" fmla="*/ 87 h 101"/>
                <a:gd name="T18" fmla="*/ 48 w 79"/>
                <a:gd name="T19" fmla="*/ 20 h 101"/>
                <a:gd name="T20" fmla="*/ 18 w 79"/>
                <a:gd name="T21" fmla="*/ 91 h 101"/>
                <a:gd name="T22" fmla="*/ 1 w 79"/>
                <a:gd name="T23" fmla="*/ 51 h 101"/>
                <a:gd name="T24" fmla="*/ 4 w 79"/>
                <a:gd name="T25" fmla="*/ 55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9" h="101">
                  <a:moveTo>
                    <a:pt x="4" y="55"/>
                  </a:moveTo>
                  <a:cubicBezTo>
                    <a:pt x="4" y="55"/>
                    <a:pt x="0" y="25"/>
                    <a:pt x="37" y="10"/>
                  </a:cubicBezTo>
                  <a:cubicBezTo>
                    <a:pt x="63" y="0"/>
                    <a:pt x="77" y="5"/>
                    <a:pt x="77" y="5"/>
                  </a:cubicBezTo>
                  <a:cubicBezTo>
                    <a:pt x="77" y="5"/>
                    <a:pt x="67" y="7"/>
                    <a:pt x="75" y="25"/>
                  </a:cubicBezTo>
                  <a:cubicBezTo>
                    <a:pt x="79" y="35"/>
                    <a:pt x="76" y="57"/>
                    <a:pt x="61" y="67"/>
                  </a:cubicBezTo>
                  <a:cubicBezTo>
                    <a:pt x="47" y="78"/>
                    <a:pt x="43" y="81"/>
                    <a:pt x="43" y="81"/>
                  </a:cubicBezTo>
                  <a:cubicBezTo>
                    <a:pt x="52" y="80"/>
                    <a:pt x="52" y="80"/>
                    <a:pt x="52" y="80"/>
                  </a:cubicBezTo>
                  <a:cubicBezTo>
                    <a:pt x="52" y="80"/>
                    <a:pt x="29" y="91"/>
                    <a:pt x="30" y="101"/>
                  </a:cubicBezTo>
                  <a:cubicBezTo>
                    <a:pt x="28" y="97"/>
                    <a:pt x="28" y="92"/>
                    <a:pt x="27" y="87"/>
                  </a:cubicBezTo>
                  <a:cubicBezTo>
                    <a:pt x="24" y="59"/>
                    <a:pt x="33" y="34"/>
                    <a:pt x="48" y="20"/>
                  </a:cubicBezTo>
                  <a:cubicBezTo>
                    <a:pt x="30" y="31"/>
                    <a:pt x="14" y="52"/>
                    <a:pt x="18" y="91"/>
                  </a:cubicBezTo>
                  <a:cubicBezTo>
                    <a:pt x="11" y="85"/>
                    <a:pt x="0" y="71"/>
                    <a:pt x="1" y="51"/>
                  </a:cubicBezTo>
                  <a:lnTo>
                    <a:pt x="4" y="55"/>
                  </a:lnTo>
                  <a:close/>
                </a:path>
              </a:pathLst>
            </a:custGeom>
            <a:solidFill>
              <a:schemeClr val="bg1">
                <a:lumMod val="50000"/>
              </a:schemeClr>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35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7" name="Freeform 30">
              <a:extLst>
                <a:ext uri="{FF2B5EF4-FFF2-40B4-BE49-F238E27FC236}">
                  <a16:creationId xmlns:a16="http://schemas.microsoft.com/office/drawing/2014/main" id="{FA63B7D4-792B-4557-AB12-472AEFA6C9B6}"/>
                </a:ext>
              </a:extLst>
            </p:cNvPr>
            <p:cNvSpPr>
              <a:spLocks/>
            </p:cNvSpPr>
            <p:nvPr/>
          </p:nvSpPr>
          <p:spPr bwMode="auto">
            <a:xfrm rot="1801016" flipH="1">
              <a:off x="5134464" y="3212730"/>
              <a:ext cx="876952" cy="646813"/>
            </a:xfrm>
            <a:custGeom>
              <a:avLst/>
              <a:gdLst>
                <a:gd name="T0" fmla="*/ 9 w 246"/>
                <a:gd name="T1" fmla="*/ 121 h 185"/>
                <a:gd name="T2" fmla="*/ 73 w 246"/>
                <a:gd name="T3" fmla="*/ 31 h 185"/>
                <a:gd name="T4" fmla="*/ 69 w 246"/>
                <a:gd name="T5" fmla="*/ 42 h 185"/>
                <a:gd name="T6" fmla="*/ 192 w 246"/>
                <a:gd name="T7" fmla="*/ 58 h 185"/>
                <a:gd name="T8" fmla="*/ 246 w 246"/>
                <a:gd name="T9" fmla="*/ 133 h 185"/>
                <a:gd name="T10" fmla="*/ 203 w 246"/>
                <a:gd name="T11" fmla="*/ 150 h 185"/>
                <a:gd name="T12" fmla="*/ 105 w 246"/>
                <a:gd name="T13" fmla="*/ 168 h 185"/>
                <a:gd name="T14" fmla="*/ 59 w 246"/>
                <a:gd name="T15" fmla="*/ 147 h 185"/>
                <a:gd name="T16" fmla="*/ 71 w 246"/>
                <a:gd name="T17" fmla="*/ 164 h 185"/>
                <a:gd name="T18" fmla="*/ 0 w 246"/>
                <a:gd name="T19" fmla="*/ 145 h 185"/>
                <a:gd name="T20" fmla="*/ 165 w 246"/>
                <a:gd name="T21" fmla="*/ 83 h 185"/>
                <a:gd name="T22" fmla="*/ 9 w 246"/>
                <a:gd name="T23" fmla="*/ 121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6" h="185">
                  <a:moveTo>
                    <a:pt x="9" y="121"/>
                  </a:moveTo>
                  <a:cubicBezTo>
                    <a:pt x="9" y="121"/>
                    <a:pt x="14" y="59"/>
                    <a:pt x="73" y="31"/>
                  </a:cubicBezTo>
                  <a:cubicBezTo>
                    <a:pt x="69" y="42"/>
                    <a:pt x="69" y="42"/>
                    <a:pt x="69" y="42"/>
                  </a:cubicBezTo>
                  <a:cubicBezTo>
                    <a:pt x="69" y="42"/>
                    <a:pt x="124" y="0"/>
                    <a:pt x="192" y="58"/>
                  </a:cubicBezTo>
                  <a:cubicBezTo>
                    <a:pt x="241" y="99"/>
                    <a:pt x="246" y="133"/>
                    <a:pt x="246" y="133"/>
                  </a:cubicBezTo>
                  <a:cubicBezTo>
                    <a:pt x="246" y="133"/>
                    <a:pt x="230" y="116"/>
                    <a:pt x="203" y="150"/>
                  </a:cubicBezTo>
                  <a:cubicBezTo>
                    <a:pt x="187" y="169"/>
                    <a:pt x="142" y="185"/>
                    <a:pt x="105" y="168"/>
                  </a:cubicBezTo>
                  <a:cubicBezTo>
                    <a:pt x="68" y="151"/>
                    <a:pt x="59" y="147"/>
                    <a:pt x="59" y="147"/>
                  </a:cubicBezTo>
                  <a:cubicBezTo>
                    <a:pt x="71" y="164"/>
                    <a:pt x="71" y="164"/>
                    <a:pt x="71" y="164"/>
                  </a:cubicBezTo>
                  <a:cubicBezTo>
                    <a:pt x="71" y="164"/>
                    <a:pt x="17" y="124"/>
                    <a:pt x="0" y="145"/>
                  </a:cubicBezTo>
                  <a:cubicBezTo>
                    <a:pt x="0" y="145"/>
                    <a:pt x="79" y="49"/>
                    <a:pt x="165" y="83"/>
                  </a:cubicBezTo>
                  <a:cubicBezTo>
                    <a:pt x="165" y="83"/>
                    <a:pt x="91" y="41"/>
                    <a:pt x="9" y="121"/>
                  </a:cubicBezTo>
                  <a:close/>
                </a:path>
              </a:pathLst>
            </a:custGeom>
            <a:solidFill>
              <a:schemeClr val="accent2"/>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35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8" name="Freeform 28">
              <a:extLst>
                <a:ext uri="{FF2B5EF4-FFF2-40B4-BE49-F238E27FC236}">
                  <a16:creationId xmlns:a16="http://schemas.microsoft.com/office/drawing/2014/main" id="{327793A3-BA67-4B36-AE05-3046786930B0}"/>
                </a:ext>
              </a:extLst>
            </p:cNvPr>
            <p:cNvSpPr>
              <a:spLocks/>
            </p:cNvSpPr>
            <p:nvPr/>
          </p:nvSpPr>
          <p:spPr bwMode="auto">
            <a:xfrm>
              <a:off x="3732125" y="2926233"/>
              <a:ext cx="1324889" cy="1196364"/>
            </a:xfrm>
            <a:custGeom>
              <a:avLst/>
              <a:gdLst>
                <a:gd name="T0" fmla="*/ 105 w 164"/>
                <a:gd name="T1" fmla="*/ 85 h 151"/>
                <a:gd name="T2" fmla="*/ 149 w 164"/>
                <a:gd name="T3" fmla="*/ 140 h 151"/>
                <a:gd name="T4" fmla="*/ 60 w 164"/>
                <a:gd name="T5" fmla="*/ 126 h 151"/>
                <a:gd name="T6" fmla="*/ 33 w 164"/>
                <a:gd name="T7" fmla="*/ 0 h 151"/>
                <a:gd name="T8" fmla="*/ 126 w 164"/>
                <a:gd name="T9" fmla="*/ 54 h 151"/>
                <a:gd name="T10" fmla="*/ 164 w 164"/>
                <a:gd name="T11" fmla="*/ 127 h 151"/>
                <a:gd name="T12" fmla="*/ 105 w 164"/>
                <a:gd name="T13" fmla="*/ 85 h 151"/>
              </a:gdLst>
              <a:ahLst/>
              <a:cxnLst>
                <a:cxn ang="0">
                  <a:pos x="T0" y="T1"/>
                </a:cxn>
                <a:cxn ang="0">
                  <a:pos x="T2" y="T3"/>
                </a:cxn>
                <a:cxn ang="0">
                  <a:pos x="T4" y="T5"/>
                </a:cxn>
                <a:cxn ang="0">
                  <a:pos x="T6" y="T7"/>
                </a:cxn>
                <a:cxn ang="0">
                  <a:pos x="T8" y="T9"/>
                </a:cxn>
                <a:cxn ang="0">
                  <a:pos x="T10" y="T11"/>
                </a:cxn>
                <a:cxn ang="0">
                  <a:pos x="T12" y="T13"/>
                </a:cxn>
              </a:cxnLst>
              <a:rect l="0" t="0" r="r" b="b"/>
              <a:pathLst>
                <a:path w="164" h="151">
                  <a:moveTo>
                    <a:pt x="105" y="85"/>
                  </a:moveTo>
                  <a:cubicBezTo>
                    <a:pt x="105" y="85"/>
                    <a:pt x="156" y="110"/>
                    <a:pt x="149" y="140"/>
                  </a:cubicBezTo>
                  <a:cubicBezTo>
                    <a:pt x="134" y="131"/>
                    <a:pt x="88" y="151"/>
                    <a:pt x="60" y="126"/>
                  </a:cubicBezTo>
                  <a:cubicBezTo>
                    <a:pt x="0" y="69"/>
                    <a:pt x="33" y="0"/>
                    <a:pt x="33" y="0"/>
                  </a:cubicBezTo>
                  <a:cubicBezTo>
                    <a:pt x="39" y="49"/>
                    <a:pt x="90" y="22"/>
                    <a:pt x="126" y="54"/>
                  </a:cubicBezTo>
                  <a:cubicBezTo>
                    <a:pt x="159" y="83"/>
                    <a:pt x="162" y="111"/>
                    <a:pt x="164" y="127"/>
                  </a:cubicBezTo>
                  <a:cubicBezTo>
                    <a:pt x="162" y="121"/>
                    <a:pt x="142" y="91"/>
                    <a:pt x="105" y="85"/>
                  </a:cubicBezTo>
                  <a:close/>
                </a:path>
              </a:pathLst>
            </a:custGeom>
            <a:solidFill>
              <a:schemeClr val="accent1"/>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35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9" name="Freeform 30">
              <a:extLst>
                <a:ext uri="{FF2B5EF4-FFF2-40B4-BE49-F238E27FC236}">
                  <a16:creationId xmlns:a16="http://schemas.microsoft.com/office/drawing/2014/main" id="{6B3A209A-385F-43E7-896A-AE7DCBB61425}"/>
                </a:ext>
              </a:extLst>
            </p:cNvPr>
            <p:cNvSpPr>
              <a:spLocks/>
            </p:cNvSpPr>
            <p:nvPr/>
          </p:nvSpPr>
          <p:spPr bwMode="auto">
            <a:xfrm>
              <a:off x="6535872" y="2450330"/>
              <a:ext cx="1506509" cy="1111153"/>
            </a:xfrm>
            <a:custGeom>
              <a:avLst/>
              <a:gdLst>
                <a:gd name="T0" fmla="*/ 9 w 246"/>
                <a:gd name="T1" fmla="*/ 121 h 185"/>
                <a:gd name="T2" fmla="*/ 73 w 246"/>
                <a:gd name="T3" fmla="*/ 31 h 185"/>
                <a:gd name="T4" fmla="*/ 69 w 246"/>
                <a:gd name="T5" fmla="*/ 42 h 185"/>
                <a:gd name="T6" fmla="*/ 192 w 246"/>
                <a:gd name="T7" fmla="*/ 58 h 185"/>
                <a:gd name="T8" fmla="*/ 246 w 246"/>
                <a:gd name="T9" fmla="*/ 133 h 185"/>
                <a:gd name="T10" fmla="*/ 203 w 246"/>
                <a:gd name="T11" fmla="*/ 150 h 185"/>
                <a:gd name="T12" fmla="*/ 105 w 246"/>
                <a:gd name="T13" fmla="*/ 168 h 185"/>
                <a:gd name="T14" fmla="*/ 59 w 246"/>
                <a:gd name="T15" fmla="*/ 147 h 185"/>
                <a:gd name="T16" fmla="*/ 71 w 246"/>
                <a:gd name="T17" fmla="*/ 164 h 185"/>
                <a:gd name="T18" fmla="*/ 0 w 246"/>
                <a:gd name="T19" fmla="*/ 145 h 185"/>
                <a:gd name="T20" fmla="*/ 165 w 246"/>
                <a:gd name="T21" fmla="*/ 83 h 185"/>
                <a:gd name="T22" fmla="*/ 9 w 246"/>
                <a:gd name="T23" fmla="*/ 121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6" h="185">
                  <a:moveTo>
                    <a:pt x="9" y="121"/>
                  </a:moveTo>
                  <a:cubicBezTo>
                    <a:pt x="9" y="121"/>
                    <a:pt x="14" y="59"/>
                    <a:pt x="73" y="31"/>
                  </a:cubicBezTo>
                  <a:cubicBezTo>
                    <a:pt x="69" y="42"/>
                    <a:pt x="69" y="42"/>
                    <a:pt x="69" y="42"/>
                  </a:cubicBezTo>
                  <a:cubicBezTo>
                    <a:pt x="69" y="42"/>
                    <a:pt x="124" y="0"/>
                    <a:pt x="192" y="58"/>
                  </a:cubicBezTo>
                  <a:cubicBezTo>
                    <a:pt x="241" y="99"/>
                    <a:pt x="246" y="133"/>
                    <a:pt x="246" y="133"/>
                  </a:cubicBezTo>
                  <a:cubicBezTo>
                    <a:pt x="246" y="133"/>
                    <a:pt x="230" y="116"/>
                    <a:pt x="203" y="150"/>
                  </a:cubicBezTo>
                  <a:cubicBezTo>
                    <a:pt x="187" y="169"/>
                    <a:pt x="142" y="185"/>
                    <a:pt x="105" y="168"/>
                  </a:cubicBezTo>
                  <a:cubicBezTo>
                    <a:pt x="68" y="151"/>
                    <a:pt x="59" y="147"/>
                    <a:pt x="59" y="147"/>
                  </a:cubicBezTo>
                  <a:cubicBezTo>
                    <a:pt x="71" y="164"/>
                    <a:pt x="71" y="164"/>
                    <a:pt x="71" y="164"/>
                  </a:cubicBezTo>
                  <a:cubicBezTo>
                    <a:pt x="71" y="164"/>
                    <a:pt x="17" y="124"/>
                    <a:pt x="0" y="145"/>
                  </a:cubicBezTo>
                  <a:cubicBezTo>
                    <a:pt x="0" y="145"/>
                    <a:pt x="79" y="49"/>
                    <a:pt x="165" y="83"/>
                  </a:cubicBezTo>
                  <a:cubicBezTo>
                    <a:pt x="165" y="83"/>
                    <a:pt x="91" y="41"/>
                    <a:pt x="9" y="121"/>
                  </a:cubicBezTo>
                  <a:close/>
                </a:path>
              </a:pathLst>
            </a:custGeom>
            <a:solidFill>
              <a:schemeClr val="accent1">
                <a:lumMod val="75000"/>
              </a:schemeClr>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35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0" name="Freeform 33">
              <a:extLst>
                <a:ext uri="{FF2B5EF4-FFF2-40B4-BE49-F238E27FC236}">
                  <a16:creationId xmlns:a16="http://schemas.microsoft.com/office/drawing/2014/main" id="{D38E9E97-80D5-488B-B797-337CCAFA91C1}"/>
                </a:ext>
              </a:extLst>
            </p:cNvPr>
            <p:cNvSpPr>
              <a:spLocks/>
            </p:cNvSpPr>
            <p:nvPr/>
          </p:nvSpPr>
          <p:spPr bwMode="auto">
            <a:xfrm>
              <a:off x="5318746" y="2553723"/>
              <a:ext cx="926540" cy="754656"/>
            </a:xfrm>
            <a:custGeom>
              <a:avLst/>
              <a:gdLst>
                <a:gd name="T0" fmla="*/ 167 w 196"/>
                <a:gd name="T1" fmla="*/ 142 h 163"/>
                <a:gd name="T2" fmla="*/ 170 w 196"/>
                <a:gd name="T3" fmla="*/ 48 h 163"/>
                <a:gd name="T4" fmla="*/ 167 w 196"/>
                <a:gd name="T5" fmla="*/ 57 h 163"/>
                <a:gd name="T6" fmla="*/ 75 w 196"/>
                <a:gd name="T7" fmla="*/ 3 h 163"/>
                <a:gd name="T8" fmla="*/ 0 w 196"/>
                <a:gd name="T9" fmla="*/ 26 h 163"/>
                <a:gd name="T10" fmla="*/ 20 w 196"/>
                <a:gd name="T11" fmla="*/ 60 h 163"/>
                <a:gd name="T12" fmla="*/ 77 w 196"/>
                <a:gd name="T13" fmla="*/ 124 h 163"/>
                <a:gd name="T14" fmla="*/ 119 w 196"/>
                <a:gd name="T15" fmla="*/ 134 h 163"/>
                <a:gd name="T16" fmla="*/ 102 w 196"/>
                <a:gd name="T17" fmla="*/ 139 h 163"/>
                <a:gd name="T18" fmla="*/ 161 w 196"/>
                <a:gd name="T19" fmla="*/ 163 h 163"/>
                <a:gd name="T20" fmla="*/ 81 w 196"/>
                <a:gd name="T21" fmla="*/ 35 h 163"/>
                <a:gd name="T22" fmla="*/ 167 w 196"/>
                <a:gd name="T23" fmla="*/ 14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6" h="163">
                  <a:moveTo>
                    <a:pt x="167" y="142"/>
                  </a:moveTo>
                  <a:cubicBezTo>
                    <a:pt x="167" y="142"/>
                    <a:pt x="196" y="98"/>
                    <a:pt x="170" y="48"/>
                  </a:cubicBezTo>
                  <a:cubicBezTo>
                    <a:pt x="167" y="57"/>
                    <a:pt x="167" y="57"/>
                    <a:pt x="167" y="57"/>
                  </a:cubicBezTo>
                  <a:cubicBezTo>
                    <a:pt x="167" y="57"/>
                    <a:pt x="152" y="0"/>
                    <a:pt x="75" y="3"/>
                  </a:cubicBezTo>
                  <a:cubicBezTo>
                    <a:pt x="21" y="6"/>
                    <a:pt x="0" y="26"/>
                    <a:pt x="0" y="26"/>
                  </a:cubicBezTo>
                  <a:cubicBezTo>
                    <a:pt x="0" y="26"/>
                    <a:pt x="19" y="23"/>
                    <a:pt x="20" y="60"/>
                  </a:cubicBezTo>
                  <a:cubicBezTo>
                    <a:pt x="21" y="81"/>
                    <a:pt x="43" y="116"/>
                    <a:pt x="77" y="124"/>
                  </a:cubicBezTo>
                  <a:cubicBezTo>
                    <a:pt x="111" y="131"/>
                    <a:pt x="119" y="134"/>
                    <a:pt x="119" y="134"/>
                  </a:cubicBezTo>
                  <a:cubicBezTo>
                    <a:pt x="102" y="139"/>
                    <a:pt x="102" y="139"/>
                    <a:pt x="102" y="139"/>
                  </a:cubicBezTo>
                  <a:cubicBezTo>
                    <a:pt x="102" y="139"/>
                    <a:pt x="159" y="140"/>
                    <a:pt x="161" y="163"/>
                  </a:cubicBezTo>
                  <a:cubicBezTo>
                    <a:pt x="161" y="163"/>
                    <a:pt x="157" y="56"/>
                    <a:pt x="81" y="35"/>
                  </a:cubicBezTo>
                  <a:cubicBezTo>
                    <a:pt x="81" y="35"/>
                    <a:pt x="153" y="45"/>
                    <a:pt x="167" y="142"/>
                  </a:cubicBezTo>
                  <a:close/>
                </a:path>
              </a:pathLst>
            </a:custGeom>
            <a:solidFill>
              <a:schemeClr val="accent3"/>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35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1" name="Freeform 34">
              <a:extLst>
                <a:ext uri="{FF2B5EF4-FFF2-40B4-BE49-F238E27FC236}">
                  <a16:creationId xmlns:a16="http://schemas.microsoft.com/office/drawing/2014/main" id="{D7EC10D6-2644-4E3D-96A5-4A29401F559C}"/>
                </a:ext>
              </a:extLst>
            </p:cNvPr>
            <p:cNvSpPr>
              <a:spLocks/>
            </p:cNvSpPr>
            <p:nvPr/>
          </p:nvSpPr>
          <p:spPr bwMode="auto">
            <a:xfrm>
              <a:off x="4793093" y="1847163"/>
              <a:ext cx="477232" cy="625182"/>
            </a:xfrm>
            <a:custGeom>
              <a:avLst/>
              <a:gdLst>
                <a:gd name="T0" fmla="*/ 23 w 78"/>
                <a:gd name="T1" fmla="*/ 85 h 104"/>
                <a:gd name="T2" fmla="*/ 18 w 78"/>
                <a:gd name="T3" fmla="*/ 31 h 104"/>
                <a:gd name="T4" fmla="*/ 45 w 78"/>
                <a:gd name="T5" fmla="*/ 0 h 104"/>
                <a:gd name="T6" fmla="*/ 57 w 78"/>
                <a:gd name="T7" fmla="*/ 17 h 104"/>
                <a:gd name="T8" fmla="*/ 75 w 78"/>
                <a:gd name="T9" fmla="*/ 57 h 104"/>
                <a:gd name="T10" fmla="*/ 70 w 78"/>
                <a:gd name="T11" fmla="*/ 79 h 104"/>
                <a:gd name="T12" fmla="*/ 76 w 78"/>
                <a:gd name="T13" fmla="*/ 72 h 104"/>
                <a:gd name="T14" fmla="*/ 73 w 78"/>
                <a:gd name="T15" fmla="*/ 104 h 104"/>
                <a:gd name="T16" fmla="*/ 62 w 78"/>
                <a:gd name="T17" fmla="*/ 95 h 104"/>
                <a:gd name="T18" fmla="*/ 33 w 78"/>
                <a:gd name="T19" fmla="*/ 30 h 104"/>
                <a:gd name="T20" fmla="*/ 57 w 78"/>
                <a:gd name="T21" fmla="*/ 104 h 104"/>
                <a:gd name="T22" fmla="*/ 19 w 78"/>
                <a:gd name="T23" fmla="*/ 85 h 104"/>
                <a:gd name="T24" fmla="*/ 23 w 78"/>
                <a:gd name="T25" fmla="*/ 85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104">
                  <a:moveTo>
                    <a:pt x="23" y="85"/>
                  </a:moveTo>
                  <a:cubicBezTo>
                    <a:pt x="23" y="85"/>
                    <a:pt x="0" y="66"/>
                    <a:pt x="18" y="31"/>
                  </a:cubicBezTo>
                  <a:cubicBezTo>
                    <a:pt x="31" y="5"/>
                    <a:pt x="45" y="0"/>
                    <a:pt x="45" y="0"/>
                  </a:cubicBezTo>
                  <a:cubicBezTo>
                    <a:pt x="45" y="0"/>
                    <a:pt x="40" y="8"/>
                    <a:pt x="57" y="17"/>
                  </a:cubicBezTo>
                  <a:cubicBezTo>
                    <a:pt x="67" y="22"/>
                    <a:pt x="78" y="40"/>
                    <a:pt x="75" y="57"/>
                  </a:cubicBezTo>
                  <a:cubicBezTo>
                    <a:pt x="71" y="75"/>
                    <a:pt x="70" y="79"/>
                    <a:pt x="70" y="79"/>
                  </a:cubicBezTo>
                  <a:cubicBezTo>
                    <a:pt x="76" y="72"/>
                    <a:pt x="76" y="72"/>
                    <a:pt x="76" y="72"/>
                  </a:cubicBezTo>
                  <a:cubicBezTo>
                    <a:pt x="76" y="72"/>
                    <a:pt x="66" y="96"/>
                    <a:pt x="73" y="104"/>
                  </a:cubicBezTo>
                  <a:cubicBezTo>
                    <a:pt x="69" y="101"/>
                    <a:pt x="66" y="98"/>
                    <a:pt x="62" y="95"/>
                  </a:cubicBezTo>
                  <a:cubicBezTo>
                    <a:pt x="41" y="76"/>
                    <a:pt x="31" y="51"/>
                    <a:pt x="33" y="30"/>
                  </a:cubicBezTo>
                  <a:cubicBezTo>
                    <a:pt x="27" y="50"/>
                    <a:pt x="29" y="77"/>
                    <a:pt x="57" y="104"/>
                  </a:cubicBezTo>
                  <a:cubicBezTo>
                    <a:pt x="48" y="104"/>
                    <a:pt x="31" y="101"/>
                    <a:pt x="19" y="85"/>
                  </a:cubicBezTo>
                  <a:lnTo>
                    <a:pt x="23" y="85"/>
                  </a:lnTo>
                  <a:close/>
                </a:path>
              </a:pathLst>
            </a:custGeom>
            <a:solidFill>
              <a:schemeClr val="tx1">
                <a:lumMod val="65000"/>
                <a:lumOff val="35000"/>
              </a:schemeClr>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35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2" name="Freeform 35">
              <a:extLst>
                <a:ext uri="{FF2B5EF4-FFF2-40B4-BE49-F238E27FC236}">
                  <a16:creationId xmlns:a16="http://schemas.microsoft.com/office/drawing/2014/main" id="{F2C13C98-13B1-402A-AAEE-977DAEB93F7B}"/>
                </a:ext>
              </a:extLst>
            </p:cNvPr>
            <p:cNvSpPr>
              <a:spLocks/>
            </p:cNvSpPr>
            <p:nvPr/>
          </p:nvSpPr>
          <p:spPr bwMode="auto">
            <a:xfrm>
              <a:off x="6898424" y="3640799"/>
              <a:ext cx="570099" cy="534063"/>
            </a:xfrm>
            <a:custGeom>
              <a:avLst/>
              <a:gdLst>
                <a:gd name="T0" fmla="*/ 9 w 93"/>
                <a:gd name="T1" fmla="*/ 37 h 89"/>
                <a:gd name="T2" fmla="*/ 52 w 93"/>
                <a:gd name="T3" fmla="*/ 3 h 89"/>
                <a:gd name="T4" fmla="*/ 93 w 93"/>
                <a:gd name="T5" fmla="*/ 9 h 89"/>
                <a:gd name="T6" fmla="*/ 85 w 93"/>
                <a:gd name="T7" fmla="*/ 28 h 89"/>
                <a:gd name="T8" fmla="*/ 60 w 93"/>
                <a:gd name="T9" fmla="*/ 65 h 89"/>
                <a:gd name="T10" fmla="*/ 40 w 93"/>
                <a:gd name="T11" fmla="*/ 73 h 89"/>
                <a:gd name="T12" fmla="*/ 49 w 93"/>
                <a:gd name="T13" fmla="*/ 74 h 89"/>
                <a:gd name="T14" fmla="*/ 21 w 93"/>
                <a:gd name="T15" fmla="*/ 89 h 89"/>
                <a:gd name="T16" fmla="*/ 22 w 93"/>
                <a:gd name="T17" fmla="*/ 74 h 89"/>
                <a:gd name="T18" fmla="*/ 60 w 93"/>
                <a:gd name="T19" fmla="*/ 15 h 89"/>
                <a:gd name="T20" fmla="*/ 12 w 93"/>
                <a:gd name="T21" fmla="*/ 76 h 89"/>
                <a:gd name="T22" fmla="*/ 7 w 93"/>
                <a:gd name="T23" fmla="*/ 33 h 89"/>
                <a:gd name="T24" fmla="*/ 9 w 93"/>
                <a:gd name="T25" fmla="*/ 37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3" h="89">
                  <a:moveTo>
                    <a:pt x="9" y="37"/>
                  </a:moveTo>
                  <a:cubicBezTo>
                    <a:pt x="9" y="37"/>
                    <a:pt x="13" y="7"/>
                    <a:pt x="52" y="3"/>
                  </a:cubicBezTo>
                  <a:cubicBezTo>
                    <a:pt x="80" y="0"/>
                    <a:pt x="93" y="9"/>
                    <a:pt x="93" y="9"/>
                  </a:cubicBezTo>
                  <a:cubicBezTo>
                    <a:pt x="93" y="9"/>
                    <a:pt x="83" y="9"/>
                    <a:pt x="85" y="28"/>
                  </a:cubicBezTo>
                  <a:cubicBezTo>
                    <a:pt x="86" y="39"/>
                    <a:pt x="77" y="58"/>
                    <a:pt x="60" y="65"/>
                  </a:cubicBezTo>
                  <a:cubicBezTo>
                    <a:pt x="44" y="71"/>
                    <a:pt x="40" y="73"/>
                    <a:pt x="40" y="73"/>
                  </a:cubicBezTo>
                  <a:cubicBezTo>
                    <a:pt x="49" y="74"/>
                    <a:pt x="49" y="74"/>
                    <a:pt x="49" y="74"/>
                  </a:cubicBezTo>
                  <a:cubicBezTo>
                    <a:pt x="49" y="74"/>
                    <a:pt x="23" y="78"/>
                    <a:pt x="21" y="89"/>
                  </a:cubicBezTo>
                  <a:cubicBezTo>
                    <a:pt x="21" y="84"/>
                    <a:pt x="21" y="79"/>
                    <a:pt x="22" y="74"/>
                  </a:cubicBezTo>
                  <a:cubicBezTo>
                    <a:pt x="27" y="47"/>
                    <a:pt x="42" y="25"/>
                    <a:pt x="60" y="15"/>
                  </a:cubicBezTo>
                  <a:cubicBezTo>
                    <a:pt x="41" y="21"/>
                    <a:pt x="19" y="37"/>
                    <a:pt x="12" y="76"/>
                  </a:cubicBezTo>
                  <a:cubicBezTo>
                    <a:pt x="7" y="68"/>
                    <a:pt x="0" y="52"/>
                    <a:pt x="7" y="33"/>
                  </a:cubicBezTo>
                  <a:lnTo>
                    <a:pt x="9" y="37"/>
                  </a:lnTo>
                  <a:close/>
                </a:path>
              </a:pathLst>
            </a:custGeom>
            <a:solidFill>
              <a:schemeClr val="accent1">
                <a:lumMod val="50000"/>
              </a:schemeClr>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35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3" name="Freeform 36">
              <a:extLst>
                <a:ext uri="{FF2B5EF4-FFF2-40B4-BE49-F238E27FC236}">
                  <a16:creationId xmlns:a16="http://schemas.microsoft.com/office/drawing/2014/main" id="{83A3FE8E-77D4-479D-83BE-A642BBCB7DFA}"/>
                </a:ext>
              </a:extLst>
            </p:cNvPr>
            <p:cNvSpPr>
              <a:spLocks/>
            </p:cNvSpPr>
            <p:nvPr/>
          </p:nvSpPr>
          <p:spPr bwMode="auto">
            <a:xfrm>
              <a:off x="6144958" y="3010186"/>
              <a:ext cx="482392" cy="607464"/>
            </a:xfrm>
            <a:custGeom>
              <a:avLst/>
              <a:gdLst>
                <a:gd name="T0" fmla="*/ 4 w 79"/>
                <a:gd name="T1" fmla="*/ 55 h 101"/>
                <a:gd name="T2" fmla="*/ 37 w 79"/>
                <a:gd name="T3" fmla="*/ 10 h 101"/>
                <a:gd name="T4" fmla="*/ 77 w 79"/>
                <a:gd name="T5" fmla="*/ 5 h 101"/>
                <a:gd name="T6" fmla="*/ 75 w 79"/>
                <a:gd name="T7" fmla="*/ 25 h 101"/>
                <a:gd name="T8" fmla="*/ 61 w 79"/>
                <a:gd name="T9" fmla="*/ 67 h 101"/>
                <a:gd name="T10" fmla="*/ 43 w 79"/>
                <a:gd name="T11" fmla="*/ 81 h 101"/>
                <a:gd name="T12" fmla="*/ 52 w 79"/>
                <a:gd name="T13" fmla="*/ 80 h 101"/>
                <a:gd name="T14" fmla="*/ 30 w 79"/>
                <a:gd name="T15" fmla="*/ 101 h 101"/>
                <a:gd name="T16" fmla="*/ 27 w 79"/>
                <a:gd name="T17" fmla="*/ 87 h 101"/>
                <a:gd name="T18" fmla="*/ 48 w 79"/>
                <a:gd name="T19" fmla="*/ 20 h 101"/>
                <a:gd name="T20" fmla="*/ 18 w 79"/>
                <a:gd name="T21" fmla="*/ 91 h 101"/>
                <a:gd name="T22" fmla="*/ 1 w 79"/>
                <a:gd name="T23" fmla="*/ 51 h 101"/>
                <a:gd name="T24" fmla="*/ 4 w 79"/>
                <a:gd name="T25" fmla="*/ 55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9" h="101">
                  <a:moveTo>
                    <a:pt x="4" y="55"/>
                  </a:moveTo>
                  <a:cubicBezTo>
                    <a:pt x="4" y="55"/>
                    <a:pt x="0" y="25"/>
                    <a:pt x="37" y="10"/>
                  </a:cubicBezTo>
                  <a:cubicBezTo>
                    <a:pt x="63" y="0"/>
                    <a:pt x="77" y="5"/>
                    <a:pt x="77" y="5"/>
                  </a:cubicBezTo>
                  <a:cubicBezTo>
                    <a:pt x="77" y="5"/>
                    <a:pt x="67" y="7"/>
                    <a:pt x="75" y="25"/>
                  </a:cubicBezTo>
                  <a:cubicBezTo>
                    <a:pt x="79" y="35"/>
                    <a:pt x="76" y="57"/>
                    <a:pt x="61" y="67"/>
                  </a:cubicBezTo>
                  <a:cubicBezTo>
                    <a:pt x="47" y="78"/>
                    <a:pt x="43" y="81"/>
                    <a:pt x="43" y="81"/>
                  </a:cubicBezTo>
                  <a:cubicBezTo>
                    <a:pt x="52" y="80"/>
                    <a:pt x="52" y="80"/>
                    <a:pt x="52" y="80"/>
                  </a:cubicBezTo>
                  <a:cubicBezTo>
                    <a:pt x="52" y="80"/>
                    <a:pt x="29" y="91"/>
                    <a:pt x="30" y="101"/>
                  </a:cubicBezTo>
                  <a:cubicBezTo>
                    <a:pt x="28" y="97"/>
                    <a:pt x="28" y="92"/>
                    <a:pt x="27" y="87"/>
                  </a:cubicBezTo>
                  <a:cubicBezTo>
                    <a:pt x="24" y="59"/>
                    <a:pt x="33" y="34"/>
                    <a:pt x="48" y="20"/>
                  </a:cubicBezTo>
                  <a:cubicBezTo>
                    <a:pt x="30" y="31"/>
                    <a:pt x="14" y="52"/>
                    <a:pt x="18" y="91"/>
                  </a:cubicBezTo>
                  <a:cubicBezTo>
                    <a:pt x="11" y="85"/>
                    <a:pt x="0" y="71"/>
                    <a:pt x="1" y="51"/>
                  </a:cubicBezTo>
                  <a:lnTo>
                    <a:pt x="4" y="55"/>
                  </a:lnTo>
                  <a:close/>
                </a:path>
              </a:pathLst>
            </a:custGeom>
            <a:solidFill>
              <a:schemeClr val="accent4">
                <a:lumMod val="75000"/>
              </a:schemeClr>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35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4" name="Freeform 37">
              <a:extLst>
                <a:ext uri="{FF2B5EF4-FFF2-40B4-BE49-F238E27FC236}">
                  <a16:creationId xmlns:a16="http://schemas.microsoft.com/office/drawing/2014/main" id="{D1815C38-0B49-494A-A5E7-46FC6841FF9B}"/>
                </a:ext>
              </a:extLst>
            </p:cNvPr>
            <p:cNvSpPr>
              <a:spLocks/>
            </p:cNvSpPr>
            <p:nvPr/>
          </p:nvSpPr>
          <p:spPr bwMode="auto">
            <a:xfrm>
              <a:off x="5250494" y="1571657"/>
              <a:ext cx="678443" cy="870698"/>
            </a:xfrm>
            <a:custGeom>
              <a:avLst/>
              <a:gdLst>
                <a:gd name="T0" fmla="*/ 15 w 111"/>
                <a:gd name="T1" fmla="*/ 90 h 145"/>
                <a:gd name="T2" fmla="*/ 45 w 111"/>
                <a:gd name="T3" fmla="*/ 21 h 145"/>
                <a:gd name="T4" fmla="*/ 98 w 111"/>
                <a:gd name="T5" fmla="*/ 2 h 145"/>
                <a:gd name="T6" fmla="*/ 101 w 111"/>
                <a:gd name="T7" fmla="*/ 31 h 145"/>
                <a:gd name="T8" fmla="*/ 94 w 111"/>
                <a:gd name="T9" fmla="*/ 91 h 145"/>
                <a:gd name="T10" fmla="*/ 74 w 111"/>
                <a:gd name="T11" fmla="*/ 114 h 145"/>
                <a:gd name="T12" fmla="*/ 86 w 111"/>
                <a:gd name="T13" fmla="*/ 110 h 145"/>
                <a:gd name="T14" fmla="*/ 61 w 111"/>
                <a:gd name="T15" fmla="*/ 145 h 145"/>
                <a:gd name="T16" fmla="*/ 54 w 111"/>
                <a:gd name="T17" fmla="*/ 126 h 145"/>
                <a:gd name="T18" fmla="*/ 63 w 111"/>
                <a:gd name="T19" fmla="*/ 30 h 145"/>
                <a:gd name="T20" fmla="*/ 42 w 111"/>
                <a:gd name="T21" fmla="*/ 134 h 145"/>
                <a:gd name="T22" fmla="*/ 9 w 111"/>
                <a:gd name="T23" fmla="*/ 86 h 145"/>
                <a:gd name="T24" fmla="*/ 15 w 111"/>
                <a:gd name="T25" fmla="*/ 90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1" h="145">
                  <a:moveTo>
                    <a:pt x="15" y="90"/>
                  </a:moveTo>
                  <a:cubicBezTo>
                    <a:pt x="15" y="90"/>
                    <a:pt x="0" y="50"/>
                    <a:pt x="45" y="21"/>
                  </a:cubicBezTo>
                  <a:cubicBezTo>
                    <a:pt x="78" y="0"/>
                    <a:pt x="98" y="2"/>
                    <a:pt x="98" y="2"/>
                  </a:cubicBezTo>
                  <a:cubicBezTo>
                    <a:pt x="98" y="2"/>
                    <a:pt x="86" y="9"/>
                    <a:pt x="101" y="31"/>
                  </a:cubicBezTo>
                  <a:cubicBezTo>
                    <a:pt x="109" y="43"/>
                    <a:pt x="111" y="72"/>
                    <a:pt x="94" y="91"/>
                  </a:cubicBezTo>
                  <a:cubicBezTo>
                    <a:pt x="78" y="109"/>
                    <a:pt x="74" y="114"/>
                    <a:pt x="74" y="114"/>
                  </a:cubicBezTo>
                  <a:cubicBezTo>
                    <a:pt x="86" y="110"/>
                    <a:pt x="86" y="110"/>
                    <a:pt x="86" y="110"/>
                  </a:cubicBezTo>
                  <a:cubicBezTo>
                    <a:pt x="86" y="110"/>
                    <a:pt x="58" y="131"/>
                    <a:pt x="61" y="145"/>
                  </a:cubicBezTo>
                  <a:cubicBezTo>
                    <a:pt x="59" y="139"/>
                    <a:pt x="56" y="133"/>
                    <a:pt x="54" y="126"/>
                  </a:cubicBezTo>
                  <a:cubicBezTo>
                    <a:pt x="42" y="90"/>
                    <a:pt x="47" y="53"/>
                    <a:pt x="63" y="30"/>
                  </a:cubicBezTo>
                  <a:cubicBezTo>
                    <a:pt x="43" y="50"/>
                    <a:pt x="27" y="84"/>
                    <a:pt x="42" y="134"/>
                  </a:cubicBezTo>
                  <a:cubicBezTo>
                    <a:pt x="32" y="128"/>
                    <a:pt x="14" y="113"/>
                    <a:pt x="9" y="86"/>
                  </a:cubicBezTo>
                  <a:lnTo>
                    <a:pt x="15" y="90"/>
                  </a:lnTo>
                  <a:close/>
                </a:path>
              </a:pathLst>
            </a:custGeom>
            <a:solidFill>
              <a:schemeClr val="accent1">
                <a:lumMod val="75000"/>
              </a:schemeClr>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35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5" name="Freeform 33">
              <a:extLst>
                <a:ext uri="{FF2B5EF4-FFF2-40B4-BE49-F238E27FC236}">
                  <a16:creationId xmlns:a16="http://schemas.microsoft.com/office/drawing/2014/main" id="{E0CE41AF-C898-4CBF-9682-D9AE36D7B610}"/>
                </a:ext>
              </a:extLst>
            </p:cNvPr>
            <p:cNvSpPr>
              <a:spLocks/>
            </p:cNvSpPr>
            <p:nvPr/>
          </p:nvSpPr>
          <p:spPr bwMode="auto">
            <a:xfrm>
              <a:off x="4273612" y="2173469"/>
              <a:ext cx="682916" cy="556227"/>
            </a:xfrm>
            <a:custGeom>
              <a:avLst/>
              <a:gdLst>
                <a:gd name="T0" fmla="*/ 167 w 196"/>
                <a:gd name="T1" fmla="*/ 142 h 163"/>
                <a:gd name="T2" fmla="*/ 170 w 196"/>
                <a:gd name="T3" fmla="*/ 48 h 163"/>
                <a:gd name="T4" fmla="*/ 167 w 196"/>
                <a:gd name="T5" fmla="*/ 57 h 163"/>
                <a:gd name="T6" fmla="*/ 75 w 196"/>
                <a:gd name="T7" fmla="*/ 3 h 163"/>
                <a:gd name="T8" fmla="*/ 0 w 196"/>
                <a:gd name="T9" fmla="*/ 26 h 163"/>
                <a:gd name="T10" fmla="*/ 20 w 196"/>
                <a:gd name="T11" fmla="*/ 60 h 163"/>
                <a:gd name="T12" fmla="*/ 77 w 196"/>
                <a:gd name="T13" fmla="*/ 124 h 163"/>
                <a:gd name="T14" fmla="*/ 119 w 196"/>
                <a:gd name="T15" fmla="*/ 134 h 163"/>
                <a:gd name="T16" fmla="*/ 102 w 196"/>
                <a:gd name="T17" fmla="*/ 139 h 163"/>
                <a:gd name="T18" fmla="*/ 161 w 196"/>
                <a:gd name="T19" fmla="*/ 163 h 163"/>
                <a:gd name="T20" fmla="*/ 81 w 196"/>
                <a:gd name="T21" fmla="*/ 35 h 163"/>
                <a:gd name="T22" fmla="*/ 167 w 196"/>
                <a:gd name="T23" fmla="*/ 14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6" h="163">
                  <a:moveTo>
                    <a:pt x="167" y="142"/>
                  </a:moveTo>
                  <a:cubicBezTo>
                    <a:pt x="167" y="142"/>
                    <a:pt x="196" y="98"/>
                    <a:pt x="170" y="48"/>
                  </a:cubicBezTo>
                  <a:cubicBezTo>
                    <a:pt x="167" y="57"/>
                    <a:pt x="167" y="57"/>
                    <a:pt x="167" y="57"/>
                  </a:cubicBezTo>
                  <a:cubicBezTo>
                    <a:pt x="167" y="57"/>
                    <a:pt x="152" y="0"/>
                    <a:pt x="75" y="3"/>
                  </a:cubicBezTo>
                  <a:cubicBezTo>
                    <a:pt x="21" y="6"/>
                    <a:pt x="0" y="26"/>
                    <a:pt x="0" y="26"/>
                  </a:cubicBezTo>
                  <a:cubicBezTo>
                    <a:pt x="0" y="26"/>
                    <a:pt x="19" y="23"/>
                    <a:pt x="20" y="60"/>
                  </a:cubicBezTo>
                  <a:cubicBezTo>
                    <a:pt x="21" y="81"/>
                    <a:pt x="43" y="116"/>
                    <a:pt x="77" y="124"/>
                  </a:cubicBezTo>
                  <a:cubicBezTo>
                    <a:pt x="111" y="131"/>
                    <a:pt x="119" y="134"/>
                    <a:pt x="119" y="134"/>
                  </a:cubicBezTo>
                  <a:cubicBezTo>
                    <a:pt x="102" y="139"/>
                    <a:pt x="102" y="139"/>
                    <a:pt x="102" y="139"/>
                  </a:cubicBezTo>
                  <a:cubicBezTo>
                    <a:pt x="102" y="139"/>
                    <a:pt x="159" y="140"/>
                    <a:pt x="161" y="163"/>
                  </a:cubicBezTo>
                  <a:cubicBezTo>
                    <a:pt x="161" y="163"/>
                    <a:pt x="157" y="56"/>
                    <a:pt x="81" y="35"/>
                  </a:cubicBezTo>
                  <a:cubicBezTo>
                    <a:pt x="81" y="35"/>
                    <a:pt x="153" y="45"/>
                    <a:pt x="167" y="142"/>
                  </a:cubicBezTo>
                  <a:close/>
                </a:path>
              </a:pathLst>
            </a:custGeom>
            <a:solidFill>
              <a:schemeClr val="accent3">
                <a:lumMod val="75000"/>
              </a:schemeClr>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35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6" name="Freeform 36">
              <a:extLst>
                <a:ext uri="{FF2B5EF4-FFF2-40B4-BE49-F238E27FC236}">
                  <a16:creationId xmlns:a16="http://schemas.microsoft.com/office/drawing/2014/main" id="{5266E5CA-A268-4100-A20C-3D14FBE51BAE}"/>
                </a:ext>
              </a:extLst>
            </p:cNvPr>
            <p:cNvSpPr>
              <a:spLocks/>
            </p:cNvSpPr>
            <p:nvPr/>
          </p:nvSpPr>
          <p:spPr bwMode="auto">
            <a:xfrm rot="1695130">
              <a:off x="6482976" y="3365386"/>
              <a:ext cx="368887" cy="464531"/>
            </a:xfrm>
            <a:custGeom>
              <a:avLst/>
              <a:gdLst>
                <a:gd name="T0" fmla="*/ 4 w 79"/>
                <a:gd name="T1" fmla="*/ 55 h 101"/>
                <a:gd name="T2" fmla="*/ 37 w 79"/>
                <a:gd name="T3" fmla="*/ 10 h 101"/>
                <a:gd name="T4" fmla="*/ 77 w 79"/>
                <a:gd name="T5" fmla="*/ 5 h 101"/>
                <a:gd name="T6" fmla="*/ 75 w 79"/>
                <a:gd name="T7" fmla="*/ 25 h 101"/>
                <a:gd name="T8" fmla="*/ 61 w 79"/>
                <a:gd name="T9" fmla="*/ 67 h 101"/>
                <a:gd name="T10" fmla="*/ 43 w 79"/>
                <a:gd name="T11" fmla="*/ 81 h 101"/>
                <a:gd name="T12" fmla="*/ 52 w 79"/>
                <a:gd name="T13" fmla="*/ 80 h 101"/>
                <a:gd name="T14" fmla="*/ 30 w 79"/>
                <a:gd name="T15" fmla="*/ 101 h 101"/>
                <a:gd name="T16" fmla="*/ 27 w 79"/>
                <a:gd name="T17" fmla="*/ 87 h 101"/>
                <a:gd name="T18" fmla="*/ 48 w 79"/>
                <a:gd name="T19" fmla="*/ 20 h 101"/>
                <a:gd name="T20" fmla="*/ 18 w 79"/>
                <a:gd name="T21" fmla="*/ 91 h 101"/>
                <a:gd name="T22" fmla="*/ 1 w 79"/>
                <a:gd name="T23" fmla="*/ 51 h 101"/>
                <a:gd name="T24" fmla="*/ 4 w 79"/>
                <a:gd name="T25" fmla="*/ 55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9" h="101">
                  <a:moveTo>
                    <a:pt x="4" y="55"/>
                  </a:moveTo>
                  <a:cubicBezTo>
                    <a:pt x="4" y="55"/>
                    <a:pt x="0" y="25"/>
                    <a:pt x="37" y="10"/>
                  </a:cubicBezTo>
                  <a:cubicBezTo>
                    <a:pt x="63" y="0"/>
                    <a:pt x="77" y="5"/>
                    <a:pt x="77" y="5"/>
                  </a:cubicBezTo>
                  <a:cubicBezTo>
                    <a:pt x="77" y="5"/>
                    <a:pt x="67" y="7"/>
                    <a:pt x="75" y="25"/>
                  </a:cubicBezTo>
                  <a:cubicBezTo>
                    <a:pt x="79" y="35"/>
                    <a:pt x="76" y="57"/>
                    <a:pt x="61" y="67"/>
                  </a:cubicBezTo>
                  <a:cubicBezTo>
                    <a:pt x="47" y="78"/>
                    <a:pt x="43" y="81"/>
                    <a:pt x="43" y="81"/>
                  </a:cubicBezTo>
                  <a:cubicBezTo>
                    <a:pt x="52" y="80"/>
                    <a:pt x="52" y="80"/>
                    <a:pt x="52" y="80"/>
                  </a:cubicBezTo>
                  <a:cubicBezTo>
                    <a:pt x="52" y="80"/>
                    <a:pt x="29" y="91"/>
                    <a:pt x="30" y="101"/>
                  </a:cubicBezTo>
                  <a:cubicBezTo>
                    <a:pt x="28" y="97"/>
                    <a:pt x="28" y="92"/>
                    <a:pt x="27" y="87"/>
                  </a:cubicBezTo>
                  <a:cubicBezTo>
                    <a:pt x="24" y="59"/>
                    <a:pt x="33" y="34"/>
                    <a:pt x="48" y="20"/>
                  </a:cubicBezTo>
                  <a:cubicBezTo>
                    <a:pt x="30" y="31"/>
                    <a:pt x="14" y="52"/>
                    <a:pt x="18" y="91"/>
                  </a:cubicBezTo>
                  <a:cubicBezTo>
                    <a:pt x="11" y="85"/>
                    <a:pt x="0" y="71"/>
                    <a:pt x="1" y="51"/>
                  </a:cubicBezTo>
                  <a:lnTo>
                    <a:pt x="4" y="55"/>
                  </a:lnTo>
                  <a:close/>
                </a:path>
              </a:pathLst>
            </a:custGeom>
            <a:solidFill>
              <a:schemeClr val="bg1">
                <a:lumMod val="65000"/>
              </a:schemeClr>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35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7" name="Freeform 30">
              <a:extLst>
                <a:ext uri="{FF2B5EF4-FFF2-40B4-BE49-F238E27FC236}">
                  <a16:creationId xmlns:a16="http://schemas.microsoft.com/office/drawing/2014/main" id="{FF594797-66BF-4578-A385-3299C88FB4C8}"/>
                </a:ext>
              </a:extLst>
            </p:cNvPr>
            <p:cNvSpPr>
              <a:spLocks/>
            </p:cNvSpPr>
            <p:nvPr/>
          </p:nvSpPr>
          <p:spPr bwMode="auto">
            <a:xfrm rot="797170" flipH="1">
              <a:off x="4676251" y="2739347"/>
              <a:ext cx="782910" cy="547504"/>
            </a:xfrm>
            <a:custGeom>
              <a:avLst/>
              <a:gdLst>
                <a:gd name="T0" fmla="*/ 9 w 246"/>
                <a:gd name="T1" fmla="*/ 121 h 185"/>
                <a:gd name="T2" fmla="*/ 73 w 246"/>
                <a:gd name="T3" fmla="*/ 31 h 185"/>
                <a:gd name="T4" fmla="*/ 69 w 246"/>
                <a:gd name="T5" fmla="*/ 42 h 185"/>
                <a:gd name="T6" fmla="*/ 192 w 246"/>
                <a:gd name="T7" fmla="*/ 58 h 185"/>
                <a:gd name="T8" fmla="*/ 246 w 246"/>
                <a:gd name="T9" fmla="*/ 133 h 185"/>
                <a:gd name="T10" fmla="*/ 203 w 246"/>
                <a:gd name="T11" fmla="*/ 150 h 185"/>
                <a:gd name="T12" fmla="*/ 105 w 246"/>
                <a:gd name="T13" fmla="*/ 168 h 185"/>
                <a:gd name="T14" fmla="*/ 59 w 246"/>
                <a:gd name="T15" fmla="*/ 147 h 185"/>
                <a:gd name="T16" fmla="*/ 71 w 246"/>
                <a:gd name="T17" fmla="*/ 164 h 185"/>
                <a:gd name="T18" fmla="*/ 0 w 246"/>
                <a:gd name="T19" fmla="*/ 145 h 185"/>
                <a:gd name="T20" fmla="*/ 165 w 246"/>
                <a:gd name="T21" fmla="*/ 83 h 185"/>
                <a:gd name="T22" fmla="*/ 9 w 246"/>
                <a:gd name="T23" fmla="*/ 121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6" h="185">
                  <a:moveTo>
                    <a:pt x="9" y="121"/>
                  </a:moveTo>
                  <a:cubicBezTo>
                    <a:pt x="9" y="121"/>
                    <a:pt x="14" y="59"/>
                    <a:pt x="73" y="31"/>
                  </a:cubicBezTo>
                  <a:cubicBezTo>
                    <a:pt x="69" y="42"/>
                    <a:pt x="69" y="42"/>
                    <a:pt x="69" y="42"/>
                  </a:cubicBezTo>
                  <a:cubicBezTo>
                    <a:pt x="69" y="42"/>
                    <a:pt x="124" y="0"/>
                    <a:pt x="192" y="58"/>
                  </a:cubicBezTo>
                  <a:cubicBezTo>
                    <a:pt x="241" y="99"/>
                    <a:pt x="246" y="133"/>
                    <a:pt x="246" y="133"/>
                  </a:cubicBezTo>
                  <a:cubicBezTo>
                    <a:pt x="246" y="133"/>
                    <a:pt x="230" y="116"/>
                    <a:pt x="203" y="150"/>
                  </a:cubicBezTo>
                  <a:cubicBezTo>
                    <a:pt x="187" y="169"/>
                    <a:pt x="142" y="185"/>
                    <a:pt x="105" y="168"/>
                  </a:cubicBezTo>
                  <a:cubicBezTo>
                    <a:pt x="68" y="151"/>
                    <a:pt x="59" y="147"/>
                    <a:pt x="59" y="147"/>
                  </a:cubicBezTo>
                  <a:cubicBezTo>
                    <a:pt x="71" y="164"/>
                    <a:pt x="71" y="164"/>
                    <a:pt x="71" y="164"/>
                  </a:cubicBezTo>
                  <a:cubicBezTo>
                    <a:pt x="71" y="164"/>
                    <a:pt x="17" y="124"/>
                    <a:pt x="0" y="145"/>
                  </a:cubicBezTo>
                  <a:cubicBezTo>
                    <a:pt x="0" y="145"/>
                    <a:pt x="79" y="49"/>
                    <a:pt x="165" y="83"/>
                  </a:cubicBezTo>
                  <a:cubicBezTo>
                    <a:pt x="165" y="83"/>
                    <a:pt x="91" y="41"/>
                    <a:pt x="9" y="121"/>
                  </a:cubicBezTo>
                  <a:close/>
                </a:path>
              </a:pathLst>
            </a:custGeom>
            <a:solidFill>
              <a:schemeClr val="accent2">
                <a:lumMod val="75000"/>
              </a:schemeClr>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35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8" name="Freeform 33">
              <a:extLst>
                <a:ext uri="{FF2B5EF4-FFF2-40B4-BE49-F238E27FC236}">
                  <a16:creationId xmlns:a16="http://schemas.microsoft.com/office/drawing/2014/main" id="{8B7DA980-5327-4C72-8132-B4A8D6986947}"/>
                </a:ext>
              </a:extLst>
            </p:cNvPr>
            <p:cNvSpPr>
              <a:spLocks/>
            </p:cNvSpPr>
            <p:nvPr/>
          </p:nvSpPr>
          <p:spPr bwMode="auto">
            <a:xfrm>
              <a:off x="5080535" y="3925400"/>
              <a:ext cx="682916" cy="556227"/>
            </a:xfrm>
            <a:custGeom>
              <a:avLst/>
              <a:gdLst>
                <a:gd name="T0" fmla="*/ 167 w 196"/>
                <a:gd name="T1" fmla="*/ 142 h 163"/>
                <a:gd name="T2" fmla="*/ 170 w 196"/>
                <a:gd name="T3" fmla="*/ 48 h 163"/>
                <a:gd name="T4" fmla="*/ 167 w 196"/>
                <a:gd name="T5" fmla="*/ 57 h 163"/>
                <a:gd name="T6" fmla="*/ 75 w 196"/>
                <a:gd name="T7" fmla="*/ 3 h 163"/>
                <a:gd name="T8" fmla="*/ 0 w 196"/>
                <a:gd name="T9" fmla="*/ 26 h 163"/>
                <a:gd name="T10" fmla="*/ 20 w 196"/>
                <a:gd name="T11" fmla="*/ 60 h 163"/>
                <a:gd name="T12" fmla="*/ 77 w 196"/>
                <a:gd name="T13" fmla="*/ 124 h 163"/>
                <a:gd name="T14" fmla="*/ 119 w 196"/>
                <a:gd name="T15" fmla="*/ 134 h 163"/>
                <a:gd name="T16" fmla="*/ 102 w 196"/>
                <a:gd name="T17" fmla="*/ 139 h 163"/>
                <a:gd name="T18" fmla="*/ 161 w 196"/>
                <a:gd name="T19" fmla="*/ 163 h 163"/>
                <a:gd name="T20" fmla="*/ 81 w 196"/>
                <a:gd name="T21" fmla="*/ 35 h 163"/>
                <a:gd name="T22" fmla="*/ 167 w 196"/>
                <a:gd name="T23" fmla="*/ 14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6" h="163">
                  <a:moveTo>
                    <a:pt x="167" y="142"/>
                  </a:moveTo>
                  <a:cubicBezTo>
                    <a:pt x="167" y="142"/>
                    <a:pt x="196" y="98"/>
                    <a:pt x="170" y="48"/>
                  </a:cubicBezTo>
                  <a:cubicBezTo>
                    <a:pt x="167" y="57"/>
                    <a:pt x="167" y="57"/>
                    <a:pt x="167" y="57"/>
                  </a:cubicBezTo>
                  <a:cubicBezTo>
                    <a:pt x="167" y="57"/>
                    <a:pt x="152" y="0"/>
                    <a:pt x="75" y="3"/>
                  </a:cubicBezTo>
                  <a:cubicBezTo>
                    <a:pt x="21" y="6"/>
                    <a:pt x="0" y="26"/>
                    <a:pt x="0" y="26"/>
                  </a:cubicBezTo>
                  <a:cubicBezTo>
                    <a:pt x="0" y="26"/>
                    <a:pt x="19" y="23"/>
                    <a:pt x="20" y="60"/>
                  </a:cubicBezTo>
                  <a:cubicBezTo>
                    <a:pt x="21" y="81"/>
                    <a:pt x="43" y="116"/>
                    <a:pt x="77" y="124"/>
                  </a:cubicBezTo>
                  <a:cubicBezTo>
                    <a:pt x="111" y="131"/>
                    <a:pt x="119" y="134"/>
                    <a:pt x="119" y="134"/>
                  </a:cubicBezTo>
                  <a:cubicBezTo>
                    <a:pt x="102" y="139"/>
                    <a:pt x="102" y="139"/>
                    <a:pt x="102" y="139"/>
                  </a:cubicBezTo>
                  <a:cubicBezTo>
                    <a:pt x="102" y="139"/>
                    <a:pt x="159" y="140"/>
                    <a:pt x="161" y="163"/>
                  </a:cubicBezTo>
                  <a:cubicBezTo>
                    <a:pt x="161" y="163"/>
                    <a:pt x="157" y="56"/>
                    <a:pt x="81" y="35"/>
                  </a:cubicBezTo>
                  <a:cubicBezTo>
                    <a:pt x="81" y="35"/>
                    <a:pt x="153" y="45"/>
                    <a:pt x="167" y="142"/>
                  </a:cubicBezTo>
                  <a:close/>
                </a:path>
              </a:pathLst>
            </a:custGeom>
            <a:solidFill>
              <a:schemeClr val="accent1"/>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35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9" name="Freeform 36">
              <a:extLst>
                <a:ext uri="{FF2B5EF4-FFF2-40B4-BE49-F238E27FC236}">
                  <a16:creationId xmlns:a16="http://schemas.microsoft.com/office/drawing/2014/main" id="{7E7C7615-2604-41F0-A922-F4096B222268}"/>
                </a:ext>
              </a:extLst>
            </p:cNvPr>
            <p:cNvSpPr>
              <a:spLocks/>
            </p:cNvSpPr>
            <p:nvPr/>
          </p:nvSpPr>
          <p:spPr bwMode="auto">
            <a:xfrm rot="1224812">
              <a:off x="6233029" y="3762296"/>
              <a:ext cx="368887" cy="464531"/>
            </a:xfrm>
            <a:custGeom>
              <a:avLst/>
              <a:gdLst>
                <a:gd name="T0" fmla="*/ 4 w 79"/>
                <a:gd name="T1" fmla="*/ 55 h 101"/>
                <a:gd name="T2" fmla="*/ 37 w 79"/>
                <a:gd name="T3" fmla="*/ 10 h 101"/>
                <a:gd name="T4" fmla="*/ 77 w 79"/>
                <a:gd name="T5" fmla="*/ 5 h 101"/>
                <a:gd name="T6" fmla="*/ 75 w 79"/>
                <a:gd name="T7" fmla="*/ 25 h 101"/>
                <a:gd name="T8" fmla="*/ 61 w 79"/>
                <a:gd name="T9" fmla="*/ 67 h 101"/>
                <a:gd name="T10" fmla="*/ 43 w 79"/>
                <a:gd name="T11" fmla="*/ 81 h 101"/>
                <a:gd name="T12" fmla="*/ 52 w 79"/>
                <a:gd name="T13" fmla="*/ 80 h 101"/>
                <a:gd name="T14" fmla="*/ 30 w 79"/>
                <a:gd name="T15" fmla="*/ 101 h 101"/>
                <a:gd name="T16" fmla="*/ 27 w 79"/>
                <a:gd name="T17" fmla="*/ 87 h 101"/>
                <a:gd name="T18" fmla="*/ 48 w 79"/>
                <a:gd name="T19" fmla="*/ 20 h 101"/>
                <a:gd name="T20" fmla="*/ 18 w 79"/>
                <a:gd name="T21" fmla="*/ 91 h 101"/>
                <a:gd name="T22" fmla="*/ 1 w 79"/>
                <a:gd name="T23" fmla="*/ 51 h 101"/>
                <a:gd name="T24" fmla="*/ 4 w 79"/>
                <a:gd name="T25" fmla="*/ 55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9" h="101">
                  <a:moveTo>
                    <a:pt x="4" y="55"/>
                  </a:moveTo>
                  <a:cubicBezTo>
                    <a:pt x="4" y="55"/>
                    <a:pt x="0" y="25"/>
                    <a:pt x="37" y="10"/>
                  </a:cubicBezTo>
                  <a:cubicBezTo>
                    <a:pt x="63" y="0"/>
                    <a:pt x="77" y="5"/>
                    <a:pt x="77" y="5"/>
                  </a:cubicBezTo>
                  <a:cubicBezTo>
                    <a:pt x="77" y="5"/>
                    <a:pt x="67" y="7"/>
                    <a:pt x="75" y="25"/>
                  </a:cubicBezTo>
                  <a:cubicBezTo>
                    <a:pt x="79" y="35"/>
                    <a:pt x="76" y="57"/>
                    <a:pt x="61" y="67"/>
                  </a:cubicBezTo>
                  <a:cubicBezTo>
                    <a:pt x="47" y="78"/>
                    <a:pt x="43" y="81"/>
                    <a:pt x="43" y="81"/>
                  </a:cubicBezTo>
                  <a:cubicBezTo>
                    <a:pt x="52" y="80"/>
                    <a:pt x="52" y="80"/>
                    <a:pt x="52" y="80"/>
                  </a:cubicBezTo>
                  <a:cubicBezTo>
                    <a:pt x="52" y="80"/>
                    <a:pt x="29" y="91"/>
                    <a:pt x="30" y="101"/>
                  </a:cubicBezTo>
                  <a:cubicBezTo>
                    <a:pt x="28" y="97"/>
                    <a:pt x="28" y="92"/>
                    <a:pt x="27" y="87"/>
                  </a:cubicBezTo>
                  <a:cubicBezTo>
                    <a:pt x="24" y="59"/>
                    <a:pt x="33" y="34"/>
                    <a:pt x="48" y="20"/>
                  </a:cubicBezTo>
                  <a:cubicBezTo>
                    <a:pt x="30" y="31"/>
                    <a:pt x="14" y="52"/>
                    <a:pt x="18" y="91"/>
                  </a:cubicBezTo>
                  <a:cubicBezTo>
                    <a:pt x="11" y="85"/>
                    <a:pt x="0" y="71"/>
                    <a:pt x="1" y="51"/>
                  </a:cubicBezTo>
                  <a:lnTo>
                    <a:pt x="4" y="55"/>
                  </a:lnTo>
                  <a:close/>
                </a:path>
              </a:pathLst>
            </a:custGeom>
            <a:solidFill>
              <a:schemeClr val="bg1">
                <a:lumMod val="50000"/>
              </a:schemeClr>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35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cxnSp>
        <p:nvCxnSpPr>
          <p:cNvPr id="40" name="Straight Connector 54">
            <a:extLst>
              <a:ext uri="{FF2B5EF4-FFF2-40B4-BE49-F238E27FC236}">
                <a16:creationId xmlns:a16="http://schemas.microsoft.com/office/drawing/2014/main" id="{228E4D07-D148-4A94-BA53-744A6D3CFE1E}"/>
              </a:ext>
            </a:extLst>
          </p:cNvPr>
          <p:cNvCxnSpPr>
            <a:cxnSpLocks/>
          </p:cNvCxnSpPr>
          <p:nvPr/>
        </p:nvCxnSpPr>
        <p:spPr>
          <a:xfrm>
            <a:off x="7241097" y="2272830"/>
            <a:ext cx="712876" cy="1"/>
          </a:xfrm>
          <a:prstGeom prst="line">
            <a:avLst/>
          </a:prstGeom>
          <a:ln w="15875" cap="rnd">
            <a:solidFill>
              <a:schemeClr val="bg1">
                <a:lumMod val="75000"/>
              </a:schemeClr>
            </a:solidFill>
            <a:prstDash val="dash"/>
            <a:headEnd type="none"/>
            <a:tailEnd type="oval" w="med" len="med"/>
          </a:ln>
        </p:spPr>
        <p:style>
          <a:lnRef idx="1">
            <a:schemeClr val="accent1"/>
          </a:lnRef>
          <a:fillRef idx="0">
            <a:schemeClr val="accent1"/>
          </a:fillRef>
          <a:effectRef idx="0">
            <a:schemeClr val="accent1"/>
          </a:effectRef>
          <a:fontRef idx="minor">
            <a:schemeClr val="tx1"/>
          </a:fontRef>
        </p:style>
      </p:cxnSp>
      <p:cxnSp>
        <p:nvCxnSpPr>
          <p:cNvPr id="41" name="Straight Connector 59">
            <a:extLst>
              <a:ext uri="{FF2B5EF4-FFF2-40B4-BE49-F238E27FC236}">
                <a16:creationId xmlns:a16="http://schemas.microsoft.com/office/drawing/2014/main" id="{6EF95335-986F-4E0F-AAE2-B75AB7092B37}"/>
              </a:ext>
            </a:extLst>
          </p:cNvPr>
          <p:cNvCxnSpPr>
            <a:cxnSpLocks/>
          </p:cNvCxnSpPr>
          <p:nvPr/>
        </p:nvCxnSpPr>
        <p:spPr>
          <a:xfrm>
            <a:off x="7656926" y="3907567"/>
            <a:ext cx="729461" cy="0"/>
          </a:xfrm>
          <a:prstGeom prst="line">
            <a:avLst/>
          </a:prstGeom>
          <a:ln w="15875" cap="rnd">
            <a:solidFill>
              <a:schemeClr val="bg1">
                <a:lumMod val="75000"/>
              </a:schemeClr>
            </a:solidFill>
            <a:prstDash val="dash"/>
            <a:headEnd type="none"/>
            <a:tailEnd type="oval" w="med" len="med"/>
          </a:ln>
        </p:spPr>
        <p:style>
          <a:lnRef idx="1">
            <a:schemeClr val="accent1"/>
          </a:lnRef>
          <a:fillRef idx="0">
            <a:schemeClr val="accent1"/>
          </a:fillRef>
          <a:effectRef idx="0">
            <a:schemeClr val="accent1"/>
          </a:effectRef>
          <a:fontRef idx="minor">
            <a:schemeClr val="tx1"/>
          </a:fontRef>
        </p:style>
      </p:cxnSp>
      <p:cxnSp>
        <p:nvCxnSpPr>
          <p:cNvPr id="42" name="Straight Connector 64">
            <a:extLst>
              <a:ext uri="{FF2B5EF4-FFF2-40B4-BE49-F238E27FC236}">
                <a16:creationId xmlns:a16="http://schemas.microsoft.com/office/drawing/2014/main" id="{7F7D041F-5D39-4FD1-9C33-56FE2498B8DB}"/>
              </a:ext>
            </a:extLst>
          </p:cNvPr>
          <p:cNvCxnSpPr>
            <a:cxnSpLocks/>
          </p:cNvCxnSpPr>
          <p:nvPr/>
        </p:nvCxnSpPr>
        <p:spPr>
          <a:xfrm>
            <a:off x="6978207" y="5320639"/>
            <a:ext cx="844131" cy="1"/>
          </a:xfrm>
          <a:prstGeom prst="line">
            <a:avLst/>
          </a:prstGeom>
          <a:ln w="15875" cap="rnd">
            <a:solidFill>
              <a:schemeClr val="bg1">
                <a:lumMod val="75000"/>
              </a:schemeClr>
            </a:solidFill>
            <a:prstDash val="dash"/>
            <a:headEnd type="none"/>
            <a:tailEnd type="oval" w="med" len="med"/>
          </a:ln>
        </p:spPr>
        <p:style>
          <a:lnRef idx="1">
            <a:schemeClr val="accent1"/>
          </a:lnRef>
          <a:fillRef idx="0">
            <a:schemeClr val="accent1"/>
          </a:fillRef>
          <a:effectRef idx="0">
            <a:schemeClr val="accent1"/>
          </a:effectRef>
          <a:fontRef idx="minor">
            <a:schemeClr val="tx1"/>
          </a:fontRef>
        </p:style>
      </p:cxnSp>
      <p:cxnSp>
        <p:nvCxnSpPr>
          <p:cNvPr id="43" name="Straight Connector 69">
            <a:extLst>
              <a:ext uri="{FF2B5EF4-FFF2-40B4-BE49-F238E27FC236}">
                <a16:creationId xmlns:a16="http://schemas.microsoft.com/office/drawing/2014/main" id="{634FDBA9-424C-4EC9-90A5-D2D4239FDF12}"/>
              </a:ext>
            </a:extLst>
          </p:cNvPr>
          <p:cNvCxnSpPr>
            <a:cxnSpLocks/>
          </p:cNvCxnSpPr>
          <p:nvPr/>
        </p:nvCxnSpPr>
        <p:spPr>
          <a:xfrm flipH="1">
            <a:off x="4617407" y="4982786"/>
            <a:ext cx="926851" cy="1"/>
          </a:xfrm>
          <a:prstGeom prst="line">
            <a:avLst/>
          </a:prstGeom>
          <a:ln w="15875" cap="rnd">
            <a:solidFill>
              <a:schemeClr val="bg1">
                <a:lumMod val="75000"/>
              </a:schemeClr>
            </a:solidFill>
            <a:prstDash val="dash"/>
            <a:headEnd type="none"/>
            <a:tailEnd type="oval" w="med" len="med"/>
          </a:ln>
        </p:spPr>
        <p:style>
          <a:lnRef idx="1">
            <a:schemeClr val="accent1"/>
          </a:lnRef>
          <a:fillRef idx="0">
            <a:schemeClr val="accent1"/>
          </a:fillRef>
          <a:effectRef idx="0">
            <a:schemeClr val="accent1"/>
          </a:effectRef>
          <a:fontRef idx="minor">
            <a:schemeClr val="tx1"/>
          </a:fontRef>
        </p:style>
      </p:cxnSp>
      <p:cxnSp>
        <p:nvCxnSpPr>
          <p:cNvPr id="44" name="Straight Connector 74">
            <a:extLst>
              <a:ext uri="{FF2B5EF4-FFF2-40B4-BE49-F238E27FC236}">
                <a16:creationId xmlns:a16="http://schemas.microsoft.com/office/drawing/2014/main" id="{E7CD07B4-0B86-44C6-9355-7D0A8BA631CE}"/>
              </a:ext>
            </a:extLst>
          </p:cNvPr>
          <p:cNvCxnSpPr>
            <a:cxnSpLocks/>
          </p:cNvCxnSpPr>
          <p:nvPr/>
        </p:nvCxnSpPr>
        <p:spPr>
          <a:xfrm flipH="1" flipV="1">
            <a:off x="3974265" y="3126825"/>
            <a:ext cx="534957" cy="1"/>
          </a:xfrm>
          <a:prstGeom prst="line">
            <a:avLst/>
          </a:prstGeom>
          <a:ln w="15875" cap="rnd">
            <a:solidFill>
              <a:schemeClr val="bg1">
                <a:lumMod val="75000"/>
              </a:schemeClr>
            </a:solidFill>
            <a:prstDash val="dash"/>
            <a:headEnd type="none"/>
            <a:tailEnd type="oval" w="med" len="med"/>
          </a:ln>
        </p:spPr>
        <p:style>
          <a:lnRef idx="1">
            <a:schemeClr val="accent1"/>
          </a:lnRef>
          <a:fillRef idx="0">
            <a:schemeClr val="accent1"/>
          </a:fillRef>
          <a:effectRef idx="0">
            <a:schemeClr val="accent1"/>
          </a:effectRef>
          <a:fontRef idx="minor">
            <a:schemeClr val="tx1"/>
          </a:fontRef>
        </p:style>
      </p:cxnSp>
      <p:sp>
        <p:nvSpPr>
          <p:cNvPr id="45" name="TextBox 53">
            <a:extLst>
              <a:ext uri="{FF2B5EF4-FFF2-40B4-BE49-F238E27FC236}">
                <a16:creationId xmlns:a16="http://schemas.microsoft.com/office/drawing/2014/main" id="{8AC23701-4137-4C49-BE77-32702C973F19}"/>
              </a:ext>
            </a:extLst>
          </p:cNvPr>
          <p:cNvSpPr txBox="1"/>
          <p:nvPr/>
        </p:nvSpPr>
        <p:spPr>
          <a:xfrm>
            <a:off x="2657474" y="731469"/>
            <a:ext cx="6877050"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1" i="0" u="none" strike="noStrike" kern="1200" cap="none" spc="0" normalizeH="0" baseline="0" noProof="0" dirty="0">
                <a:ln>
                  <a:noFill/>
                </a:ln>
                <a:solidFill>
                  <a:srgbClr val="000000">
                    <a:lumMod val="85000"/>
                    <a:lumOff val="15000"/>
                  </a:srgbClr>
                </a:solidFill>
                <a:effectLst/>
                <a:uLnTx/>
                <a:uFillTx/>
                <a:latin typeface="等线 Light" panose="020F0302020204030204"/>
                <a:ea typeface="+mn-ea"/>
                <a:cs typeface="Arial" panose="020B0604020202020204" pitchFamily="34" charset="0"/>
              </a:rPr>
              <a:t>Your Title Text Goes Here</a:t>
            </a:r>
          </a:p>
        </p:txBody>
      </p:sp>
      <p:grpSp>
        <p:nvGrpSpPr>
          <p:cNvPr id="46" name="Group 55">
            <a:extLst>
              <a:ext uri="{FF2B5EF4-FFF2-40B4-BE49-F238E27FC236}">
                <a16:creationId xmlns:a16="http://schemas.microsoft.com/office/drawing/2014/main" id="{EDCD3D4F-3664-4DA6-A254-F2B7D2351C95}"/>
              </a:ext>
            </a:extLst>
          </p:cNvPr>
          <p:cNvGrpSpPr/>
          <p:nvPr/>
        </p:nvGrpSpPr>
        <p:grpSpPr>
          <a:xfrm>
            <a:off x="8191216" y="1633760"/>
            <a:ext cx="2877452" cy="1342660"/>
            <a:chOff x="1351648" y="3610341"/>
            <a:chExt cx="2877452" cy="1342660"/>
          </a:xfrm>
        </p:grpSpPr>
        <p:sp>
          <p:nvSpPr>
            <p:cNvPr id="47" name="Rectangle: Rounded Corners 5">
              <a:extLst>
                <a:ext uri="{FF2B5EF4-FFF2-40B4-BE49-F238E27FC236}">
                  <a16:creationId xmlns:a16="http://schemas.microsoft.com/office/drawing/2014/main" id="{D07B0C0C-49B6-49D8-81C0-1EB22F7D7579}"/>
                </a:ext>
              </a:extLst>
            </p:cNvPr>
            <p:cNvSpPr/>
            <p:nvPr/>
          </p:nvSpPr>
          <p:spPr>
            <a:xfrm>
              <a:off x="1351648" y="3610341"/>
              <a:ext cx="2877452" cy="1342660"/>
            </a:xfrm>
            <a:prstGeom prst="roundRect">
              <a:avLst>
                <a:gd name="adj" fmla="val 9455"/>
              </a:avLst>
            </a:prstGeom>
            <a:solidFill>
              <a:schemeClr val="bg1"/>
            </a:solidFill>
            <a:ln>
              <a:noFill/>
            </a:ln>
            <a:effectLst>
              <a:outerShdw blurRad="63500" dist="38100" dir="5400000" algn="t" rotWithShape="0">
                <a:prstClr val="black">
                  <a:alpha val="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等线" panose="020F0502020204030204"/>
                <a:ea typeface="+mn-ea"/>
                <a:cs typeface="+mn-cs"/>
              </a:endParaRPr>
            </a:p>
          </p:txBody>
        </p:sp>
        <p:grpSp>
          <p:nvGrpSpPr>
            <p:cNvPr id="48" name="Group 58">
              <a:extLst>
                <a:ext uri="{FF2B5EF4-FFF2-40B4-BE49-F238E27FC236}">
                  <a16:creationId xmlns:a16="http://schemas.microsoft.com/office/drawing/2014/main" id="{D4A71BF6-205A-42A4-919E-64B9ACCF5A4C}"/>
                </a:ext>
              </a:extLst>
            </p:cNvPr>
            <p:cNvGrpSpPr/>
            <p:nvPr/>
          </p:nvGrpSpPr>
          <p:grpSpPr>
            <a:xfrm>
              <a:off x="1410512" y="3768797"/>
              <a:ext cx="2759724" cy="1022824"/>
              <a:chOff x="7678371" y="1910085"/>
              <a:chExt cx="2759724" cy="1022824"/>
            </a:xfrm>
          </p:grpSpPr>
          <p:sp>
            <p:nvSpPr>
              <p:cNvPr id="49" name="TextBox 60">
                <a:extLst>
                  <a:ext uri="{FF2B5EF4-FFF2-40B4-BE49-F238E27FC236}">
                    <a16:creationId xmlns:a16="http://schemas.microsoft.com/office/drawing/2014/main" id="{6CB25C24-19A5-4DB8-BF86-62E163B9524F}"/>
                  </a:ext>
                </a:extLst>
              </p:cNvPr>
              <p:cNvSpPr txBox="1"/>
              <p:nvPr/>
            </p:nvSpPr>
            <p:spPr>
              <a:xfrm>
                <a:off x="7678371" y="2320754"/>
                <a:ext cx="2759724" cy="612155"/>
              </a:xfrm>
              <a:prstGeom prst="rect">
                <a:avLst/>
              </a:prstGeom>
              <a:noFill/>
            </p:spPr>
            <p:txBody>
              <a:bodyPr wrap="square" rtlCol="0">
                <a:sp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A0A1A3"/>
                    </a:solidFill>
                    <a:effectLst/>
                    <a:uLnTx/>
                    <a:uFillTx/>
                    <a:latin typeface="等线" panose="020F0502020204030204"/>
                    <a:ea typeface="+mn-ea"/>
                    <a:cs typeface="Arial" panose="020B0604020202020204" pitchFamily="34" charset="0"/>
                  </a:rPr>
                  <a:t>A wonderful serenity has taken possession of my entire soul.</a:t>
                </a:r>
              </a:p>
            </p:txBody>
          </p:sp>
          <p:sp>
            <p:nvSpPr>
              <p:cNvPr id="50" name="TextBox 62">
                <a:extLst>
                  <a:ext uri="{FF2B5EF4-FFF2-40B4-BE49-F238E27FC236}">
                    <a16:creationId xmlns:a16="http://schemas.microsoft.com/office/drawing/2014/main" id="{94B53263-3336-491B-B37E-1200E66F35BB}"/>
                  </a:ext>
                </a:extLst>
              </p:cNvPr>
              <p:cNvSpPr txBox="1"/>
              <p:nvPr/>
            </p:nvSpPr>
            <p:spPr>
              <a:xfrm>
                <a:off x="7881845" y="1910085"/>
                <a:ext cx="2352777" cy="375552"/>
              </a:xfrm>
              <a:prstGeom prst="rect">
                <a:avLst/>
              </a:prstGeom>
              <a:noFill/>
            </p:spPr>
            <p:txBody>
              <a:bodyPr wrap="square" rtlCol="0">
                <a:sp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4C38"/>
                    </a:solidFill>
                    <a:effectLst/>
                    <a:uLnTx/>
                    <a:uFillTx/>
                    <a:latin typeface="等线" panose="020F0502020204030204"/>
                    <a:ea typeface="+mn-ea"/>
                    <a:cs typeface="Arial" panose="020B0604020202020204" pitchFamily="34" charset="0"/>
                  </a:rPr>
                  <a:t>A wonderful serenity</a:t>
                </a:r>
              </a:p>
            </p:txBody>
          </p:sp>
        </p:grpSp>
      </p:grpSp>
      <p:grpSp>
        <p:nvGrpSpPr>
          <p:cNvPr id="51" name="Group 63">
            <a:extLst>
              <a:ext uri="{FF2B5EF4-FFF2-40B4-BE49-F238E27FC236}">
                <a16:creationId xmlns:a16="http://schemas.microsoft.com/office/drawing/2014/main" id="{29AD21DD-272B-4444-AF23-0751CD757C36}"/>
              </a:ext>
            </a:extLst>
          </p:cNvPr>
          <p:cNvGrpSpPr/>
          <p:nvPr/>
        </p:nvGrpSpPr>
        <p:grpSpPr>
          <a:xfrm>
            <a:off x="8528997" y="3211769"/>
            <a:ext cx="2877452" cy="1342660"/>
            <a:chOff x="1351648" y="3610341"/>
            <a:chExt cx="2877452" cy="1342660"/>
          </a:xfrm>
        </p:grpSpPr>
        <p:sp>
          <p:nvSpPr>
            <p:cNvPr id="52" name="Rectangle: Rounded Corners 5">
              <a:extLst>
                <a:ext uri="{FF2B5EF4-FFF2-40B4-BE49-F238E27FC236}">
                  <a16:creationId xmlns:a16="http://schemas.microsoft.com/office/drawing/2014/main" id="{A7252468-FD81-4B97-8F16-29A2BFCBD352}"/>
                </a:ext>
              </a:extLst>
            </p:cNvPr>
            <p:cNvSpPr/>
            <p:nvPr/>
          </p:nvSpPr>
          <p:spPr>
            <a:xfrm>
              <a:off x="1351648" y="3610341"/>
              <a:ext cx="2877452" cy="1342660"/>
            </a:xfrm>
            <a:prstGeom prst="roundRect">
              <a:avLst>
                <a:gd name="adj" fmla="val 9455"/>
              </a:avLst>
            </a:prstGeom>
            <a:solidFill>
              <a:schemeClr val="bg1"/>
            </a:solidFill>
            <a:ln>
              <a:noFill/>
            </a:ln>
            <a:effectLst>
              <a:outerShdw blurRad="63500" dist="38100" dir="5400000" algn="t" rotWithShape="0">
                <a:prstClr val="black">
                  <a:alpha val="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等线" panose="020F0502020204030204"/>
                <a:ea typeface="+mn-ea"/>
                <a:cs typeface="+mn-cs"/>
              </a:endParaRPr>
            </a:p>
          </p:txBody>
        </p:sp>
        <p:grpSp>
          <p:nvGrpSpPr>
            <p:cNvPr id="53" name="Group 67">
              <a:extLst>
                <a:ext uri="{FF2B5EF4-FFF2-40B4-BE49-F238E27FC236}">
                  <a16:creationId xmlns:a16="http://schemas.microsoft.com/office/drawing/2014/main" id="{8A9C992A-8273-46AA-A1F7-A3F61934D9AF}"/>
                </a:ext>
              </a:extLst>
            </p:cNvPr>
            <p:cNvGrpSpPr/>
            <p:nvPr/>
          </p:nvGrpSpPr>
          <p:grpSpPr>
            <a:xfrm>
              <a:off x="1410512" y="3768797"/>
              <a:ext cx="2759724" cy="1022824"/>
              <a:chOff x="7678371" y="1910085"/>
              <a:chExt cx="2759724" cy="1022824"/>
            </a:xfrm>
          </p:grpSpPr>
          <p:sp>
            <p:nvSpPr>
              <p:cNvPr id="54" name="TextBox 68">
                <a:extLst>
                  <a:ext uri="{FF2B5EF4-FFF2-40B4-BE49-F238E27FC236}">
                    <a16:creationId xmlns:a16="http://schemas.microsoft.com/office/drawing/2014/main" id="{06805FF1-7873-4B8D-B702-F806351BEC79}"/>
                  </a:ext>
                </a:extLst>
              </p:cNvPr>
              <p:cNvSpPr txBox="1"/>
              <p:nvPr/>
            </p:nvSpPr>
            <p:spPr>
              <a:xfrm>
                <a:off x="7678371" y="2320754"/>
                <a:ext cx="2759724" cy="612155"/>
              </a:xfrm>
              <a:prstGeom prst="rect">
                <a:avLst/>
              </a:prstGeom>
              <a:noFill/>
            </p:spPr>
            <p:txBody>
              <a:bodyPr wrap="square" rtlCol="0">
                <a:sp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A0A1A3"/>
                    </a:solidFill>
                    <a:effectLst/>
                    <a:uLnTx/>
                    <a:uFillTx/>
                    <a:latin typeface="等线" panose="020F0502020204030204"/>
                    <a:ea typeface="+mn-ea"/>
                    <a:cs typeface="Arial" panose="020B0604020202020204" pitchFamily="34" charset="0"/>
                  </a:rPr>
                  <a:t>A wonderful serenity has taken possession of my entire soul.</a:t>
                </a:r>
              </a:p>
            </p:txBody>
          </p:sp>
          <p:sp>
            <p:nvSpPr>
              <p:cNvPr id="55" name="TextBox 70">
                <a:extLst>
                  <a:ext uri="{FF2B5EF4-FFF2-40B4-BE49-F238E27FC236}">
                    <a16:creationId xmlns:a16="http://schemas.microsoft.com/office/drawing/2014/main" id="{B768D6A7-33A1-4FB4-AE4A-362AB5482209}"/>
                  </a:ext>
                </a:extLst>
              </p:cNvPr>
              <p:cNvSpPr txBox="1"/>
              <p:nvPr/>
            </p:nvSpPr>
            <p:spPr>
              <a:xfrm>
                <a:off x="7881845" y="1910085"/>
                <a:ext cx="2352777" cy="375552"/>
              </a:xfrm>
              <a:prstGeom prst="rect">
                <a:avLst/>
              </a:prstGeom>
              <a:noFill/>
            </p:spPr>
            <p:txBody>
              <a:bodyPr wrap="square" rtlCol="0">
                <a:sp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D99B"/>
                    </a:solidFill>
                    <a:effectLst/>
                    <a:uLnTx/>
                    <a:uFillTx/>
                    <a:latin typeface="等线" panose="020F0502020204030204"/>
                    <a:ea typeface="+mn-ea"/>
                    <a:cs typeface="Arial" panose="020B0604020202020204" pitchFamily="34" charset="0"/>
                  </a:rPr>
                  <a:t>A wonderful serenity</a:t>
                </a:r>
              </a:p>
            </p:txBody>
          </p:sp>
        </p:grpSp>
      </p:grpSp>
      <p:grpSp>
        <p:nvGrpSpPr>
          <p:cNvPr id="56" name="Group 72">
            <a:extLst>
              <a:ext uri="{FF2B5EF4-FFF2-40B4-BE49-F238E27FC236}">
                <a16:creationId xmlns:a16="http://schemas.microsoft.com/office/drawing/2014/main" id="{4EAABA49-89D9-42E7-B613-335CCD2BE66D}"/>
              </a:ext>
            </a:extLst>
          </p:cNvPr>
          <p:cNvGrpSpPr/>
          <p:nvPr/>
        </p:nvGrpSpPr>
        <p:grpSpPr>
          <a:xfrm>
            <a:off x="7922903" y="4789778"/>
            <a:ext cx="2877452" cy="1342660"/>
            <a:chOff x="1351648" y="3610341"/>
            <a:chExt cx="2877452" cy="1342660"/>
          </a:xfrm>
        </p:grpSpPr>
        <p:sp>
          <p:nvSpPr>
            <p:cNvPr id="57" name="Rectangle: Rounded Corners 5">
              <a:extLst>
                <a:ext uri="{FF2B5EF4-FFF2-40B4-BE49-F238E27FC236}">
                  <a16:creationId xmlns:a16="http://schemas.microsoft.com/office/drawing/2014/main" id="{B7B288F9-2CD0-477B-8674-8D84693E83EB}"/>
                </a:ext>
              </a:extLst>
            </p:cNvPr>
            <p:cNvSpPr/>
            <p:nvPr/>
          </p:nvSpPr>
          <p:spPr>
            <a:xfrm>
              <a:off x="1351648" y="3610341"/>
              <a:ext cx="2877452" cy="1342660"/>
            </a:xfrm>
            <a:prstGeom prst="roundRect">
              <a:avLst>
                <a:gd name="adj" fmla="val 9455"/>
              </a:avLst>
            </a:prstGeom>
            <a:solidFill>
              <a:schemeClr val="bg1"/>
            </a:solidFill>
            <a:ln>
              <a:noFill/>
            </a:ln>
            <a:effectLst>
              <a:outerShdw blurRad="63500" dist="38100" dir="5400000" algn="t" rotWithShape="0">
                <a:prstClr val="black">
                  <a:alpha val="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等线" panose="020F0502020204030204"/>
                <a:ea typeface="+mn-ea"/>
                <a:cs typeface="+mn-cs"/>
              </a:endParaRPr>
            </a:p>
          </p:txBody>
        </p:sp>
        <p:grpSp>
          <p:nvGrpSpPr>
            <p:cNvPr id="58" name="Group 75">
              <a:extLst>
                <a:ext uri="{FF2B5EF4-FFF2-40B4-BE49-F238E27FC236}">
                  <a16:creationId xmlns:a16="http://schemas.microsoft.com/office/drawing/2014/main" id="{AFD0D30D-33B6-48AC-9B51-C4E615A2DE14}"/>
                </a:ext>
              </a:extLst>
            </p:cNvPr>
            <p:cNvGrpSpPr/>
            <p:nvPr/>
          </p:nvGrpSpPr>
          <p:grpSpPr>
            <a:xfrm>
              <a:off x="1410512" y="3768797"/>
              <a:ext cx="2759724" cy="1022824"/>
              <a:chOff x="7678371" y="1910085"/>
              <a:chExt cx="2759724" cy="1022824"/>
            </a:xfrm>
          </p:grpSpPr>
          <p:sp>
            <p:nvSpPr>
              <p:cNvPr id="59" name="TextBox 77">
                <a:extLst>
                  <a:ext uri="{FF2B5EF4-FFF2-40B4-BE49-F238E27FC236}">
                    <a16:creationId xmlns:a16="http://schemas.microsoft.com/office/drawing/2014/main" id="{F12ABFB5-6EE8-48CF-B4C5-7548387D4D82}"/>
                  </a:ext>
                </a:extLst>
              </p:cNvPr>
              <p:cNvSpPr txBox="1"/>
              <p:nvPr/>
            </p:nvSpPr>
            <p:spPr>
              <a:xfrm>
                <a:off x="7678371" y="2320754"/>
                <a:ext cx="2759724" cy="612155"/>
              </a:xfrm>
              <a:prstGeom prst="rect">
                <a:avLst/>
              </a:prstGeom>
              <a:noFill/>
            </p:spPr>
            <p:txBody>
              <a:bodyPr wrap="square" rtlCol="0">
                <a:sp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A0A1A3"/>
                    </a:solidFill>
                    <a:effectLst/>
                    <a:uLnTx/>
                    <a:uFillTx/>
                    <a:latin typeface="等线" panose="020F0502020204030204"/>
                    <a:ea typeface="+mn-ea"/>
                    <a:cs typeface="Arial" panose="020B0604020202020204" pitchFamily="34" charset="0"/>
                  </a:rPr>
                  <a:t>A wonderful serenity has taken possession of my entire soul.</a:t>
                </a:r>
              </a:p>
            </p:txBody>
          </p:sp>
          <p:sp>
            <p:nvSpPr>
              <p:cNvPr id="60" name="TextBox 78">
                <a:extLst>
                  <a:ext uri="{FF2B5EF4-FFF2-40B4-BE49-F238E27FC236}">
                    <a16:creationId xmlns:a16="http://schemas.microsoft.com/office/drawing/2014/main" id="{E93C6F9D-A419-40A5-A148-ECD92888272C}"/>
                  </a:ext>
                </a:extLst>
              </p:cNvPr>
              <p:cNvSpPr txBox="1"/>
              <p:nvPr/>
            </p:nvSpPr>
            <p:spPr>
              <a:xfrm>
                <a:off x="7881845" y="1910085"/>
                <a:ext cx="2352777" cy="375552"/>
              </a:xfrm>
              <a:prstGeom prst="rect">
                <a:avLst/>
              </a:prstGeom>
              <a:noFill/>
            </p:spPr>
            <p:txBody>
              <a:bodyPr wrap="square" rtlCol="0">
                <a:sp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8F38FF"/>
                    </a:solidFill>
                    <a:effectLst/>
                    <a:uLnTx/>
                    <a:uFillTx/>
                    <a:latin typeface="等线" panose="020F0502020204030204"/>
                    <a:ea typeface="+mn-ea"/>
                    <a:cs typeface="Arial" panose="020B0604020202020204" pitchFamily="34" charset="0"/>
                  </a:rPr>
                  <a:t>A wonderful serenity</a:t>
                </a:r>
              </a:p>
            </p:txBody>
          </p:sp>
        </p:grpSp>
      </p:grpSp>
      <p:grpSp>
        <p:nvGrpSpPr>
          <p:cNvPr id="61" name="Group 79">
            <a:extLst>
              <a:ext uri="{FF2B5EF4-FFF2-40B4-BE49-F238E27FC236}">
                <a16:creationId xmlns:a16="http://schemas.microsoft.com/office/drawing/2014/main" id="{F5E757F8-E0C5-4FBA-9942-14E5AF0CA8CB}"/>
              </a:ext>
            </a:extLst>
          </p:cNvPr>
          <p:cNvGrpSpPr/>
          <p:nvPr/>
        </p:nvGrpSpPr>
        <p:grpSpPr>
          <a:xfrm>
            <a:off x="1472401" y="4411343"/>
            <a:ext cx="2877452" cy="1342660"/>
            <a:chOff x="1351648" y="3610341"/>
            <a:chExt cx="2877452" cy="1342660"/>
          </a:xfrm>
        </p:grpSpPr>
        <p:sp>
          <p:nvSpPr>
            <p:cNvPr id="62" name="Rectangle: Rounded Corners 5">
              <a:extLst>
                <a:ext uri="{FF2B5EF4-FFF2-40B4-BE49-F238E27FC236}">
                  <a16:creationId xmlns:a16="http://schemas.microsoft.com/office/drawing/2014/main" id="{DC1B614B-0DC5-4F52-AE46-6EBDE87057B9}"/>
                </a:ext>
              </a:extLst>
            </p:cNvPr>
            <p:cNvSpPr/>
            <p:nvPr/>
          </p:nvSpPr>
          <p:spPr>
            <a:xfrm>
              <a:off x="1351648" y="3610341"/>
              <a:ext cx="2877452" cy="1342660"/>
            </a:xfrm>
            <a:prstGeom prst="roundRect">
              <a:avLst>
                <a:gd name="adj" fmla="val 9455"/>
              </a:avLst>
            </a:prstGeom>
            <a:solidFill>
              <a:schemeClr val="bg1"/>
            </a:solidFill>
            <a:ln>
              <a:noFill/>
            </a:ln>
            <a:effectLst>
              <a:outerShdw blurRad="63500" dist="38100" dir="5400000" algn="t" rotWithShape="0">
                <a:prstClr val="black">
                  <a:alpha val="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等线" panose="020F0502020204030204"/>
                <a:ea typeface="+mn-ea"/>
                <a:cs typeface="+mn-cs"/>
              </a:endParaRPr>
            </a:p>
          </p:txBody>
        </p:sp>
        <p:grpSp>
          <p:nvGrpSpPr>
            <p:cNvPr id="63" name="Group 81">
              <a:extLst>
                <a:ext uri="{FF2B5EF4-FFF2-40B4-BE49-F238E27FC236}">
                  <a16:creationId xmlns:a16="http://schemas.microsoft.com/office/drawing/2014/main" id="{A678F6CA-677A-41DE-BAF0-DEA3D55BDAFF}"/>
                </a:ext>
              </a:extLst>
            </p:cNvPr>
            <p:cNvGrpSpPr/>
            <p:nvPr/>
          </p:nvGrpSpPr>
          <p:grpSpPr>
            <a:xfrm>
              <a:off x="1410512" y="3768797"/>
              <a:ext cx="2759724" cy="1022824"/>
              <a:chOff x="7678371" y="1910085"/>
              <a:chExt cx="2759724" cy="1022824"/>
            </a:xfrm>
          </p:grpSpPr>
          <p:sp>
            <p:nvSpPr>
              <p:cNvPr id="64" name="TextBox 82">
                <a:extLst>
                  <a:ext uri="{FF2B5EF4-FFF2-40B4-BE49-F238E27FC236}">
                    <a16:creationId xmlns:a16="http://schemas.microsoft.com/office/drawing/2014/main" id="{FC8D8148-432A-4118-8037-9F2A8F9F1869}"/>
                  </a:ext>
                </a:extLst>
              </p:cNvPr>
              <p:cNvSpPr txBox="1"/>
              <p:nvPr/>
            </p:nvSpPr>
            <p:spPr>
              <a:xfrm>
                <a:off x="7678371" y="2320754"/>
                <a:ext cx="2759724" cy="612155"/>
              </a:xfrm>
              <a:prstGeom prst="rect">
                <a:avLst/>
              </a:prstGeom>
              <a:noFill/>
            </p:spPr>
            <p:txBody>
              <a:bodyPr wrap="square" rtlCol="0">
                <a:sp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A0A1A3"/>
                    </a:solidFill>
                    <a:effectLst/>
                    <a:uLnTx/>
                    <a:uFillTx/>
                    <a:latin typeface="等线" panose="020F0502020204030204"/>
                    <a:ea typeface="+mn-ea"/>
                    <a:cs typeface="Arial" panose="020B0604020202020204" pitchFamily="34" charset="0"/>
                  </a:rPr>
                  <a:t>A wonderful serenity has taken possession of my entire soul.</a:t>
                </a:r>
              </a:p>
            </p:txBody>
          </p:sp>
          <p:sp>
            <p:nvSpPr>
              <p:cNvPr id="65" name="TextBox 83">
                <a:extLst>
                  <a:ext uri="{FF2B5EF4-FFF2-40B4-BE49-F238E27FC236}">
                    <a16:creationId xmlns:a16="http://schemas.microsoft.com/office/drawing/2014/main" id="{04F2A5F8-DA31-4CDD-B05E-D23AFBFEEA2B}"/>
                  </a:ext>
                </a:extLst>
              </p:cNvPr>
              <p:cNvSpPr txBox="1"/>
              <p:nvPr/>
            </p:nvSpPr>
            <p:spPr>
              <a:xfrm>
                <a:off x="7881845" y="1910085"/>
                <a:ext cx="2352777" cy="375552"/>
              </a:xfrm>
              <a:prstGeom prst="rect">
                <a:avLst/>
              </a:prstGeom>
              <a:noFill/>
            </p:spPr>
            <p:txBody>
              <a:bodyPr wrap="square" rtlCol="0">
                <a:sp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D229"/>
                    </a:solidFill>
                    <a:effectLst/>
                    <a:uLnTx/>
                    <a:uFillTx/>
                    <a:latin typeface="等线" panose="020F0502020204030204"/>
                    <a:ea typeface="+mn-ea"/>
                    <a:cs typeface="Arial" panose="020B0604020202020204" pitchFamily="34" charset="0"/>
                  </a:rPr>
                  <a:t>A wonderful serenity</a:t>
                </a:r>
              </a:p>
            </p:txBody>
          </p:sp>
        </p:grpSp>
      </p:grpSp>
      <p:grpSp>
        <p:nvGrpSpPr>
          <p:cNvPr id="66" name="Group 84">
            <a:extLst>
              <a:ext uri="{FF2B5EF4-FFF2-40B4-BE49-F238E27FC236}">
                <a16:creationId xmlns:a16="http://schemas.microsoft.com/office/drawing/2014/main" id="{850DE8EC-4BD7-4B4E-B6B9-F97FA319FCD6}"/>
              </a:ext>
            </a:extLst>
          </p:cNvPr>
          <p:cNvGrpSpPr/>
          <p:nvPr/>
        </p:nvGrpSpPr>
        <p:grpSpPr>
          <a:xfrm>
            <a:off x="861178" y="2399326"/>
            <a:ext cx="2877452" cy="1342660"/>
            <a:chOff x="1351648" y="3610341"/>
            <a:chExt cx="2877452" cy="1342660"/>
          </a:xfrm>
        </p:grpSpPr>
        <p:sp>
          <p:nvSpPr>
            <p:cNvPr id="67" name="Rectangle: Rounded Corners 5">
              <a:extLst>
                <a:ext uri="{FF2B5EF4-FFF2-40B4-BE49-F238E27FC236}">
                  <a16:creationId xmlns:a16="http://schemas.microsoft.com/office/drawing/2014/main" id="{CD727B4B-2910-4AA6-9F6F-B963305C893B}"/>
                </a:ext>
              </a:extLst>
            </p:cNvPr>
            <p:cNvSpPr/>
            <p:nvPr/>
          </p:nvSpPr>
          <p:spPr>
            <a:xfrm>
              <a:off x="1351648" y="3610341"/>
              <a:ext cx="2877452" cy="1342660"/>
            </a:xfrm>
            <a:prstGeom prst="roundRect">
              <a:avLst>
                <a:gd name="adj" fmla="val 9455"/>
              </a:avLst>
            </a:prstGeom>
            <a:solidFill>
              <a:schemeClr val="bg1"/>
            </a:solidFill>
            <a:ln>
              <a:noFill/>
            </a:ln>
            <a:effectLst>
              <a:outerShdw blurRad="63500" dist="38100" dir="5400000" algn="t" rotWithShape="0">
                <a:prstClr val="black">
                  <a:alpha val="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等线" panose="020F0502020204030204"/>
                <a:ea typeface="+mn-ea"/>
                <a:cs typeface="+mn-cs"/>
              </a:endParaRPr>
            </a:p>
          </p:txBody>
        </p:sp>
        <p:grpSp>
          <p:nvGrpSpPr>
            <p:cNvPr id="68" name="Group 86">
              <a:extLst>
                <a:ext uri="{FF2B5EF4-FFF2-40B4-BE49-F238E27FC236}">
                  <a16:creationId xmlns:a16="http://schemas.microsoft.com/office/drawing/2014/main" id="{DA50BF07-8650-4B5B-B6F6-BD2290FA6DB1}"/>
                </a:ext>
              </a:extLst>
            </p:cNvPr>
            <p:cNvGrpSpPr/>
            <p:nvPr/>
          </p:nvGrpSpPr>
          <p:grpSpPr>
            <a:xfrm>
              <a:off x="1410512" y="3768797"/>
              <a:ext cx="2759724" cy="1022824"/>
              <a:chOff x="7678371" y="1910085"/>
              <a:chExt cx="2759724" cy="1022824"/>
            </a:xfrm>
          </p:grpSpPr>
          <p:sp>
            <p:nvSpPr>
              <p:cNvPr id="69" name="TextBox 87">
                <a:extLst>
                  <a:ext uri="{FF2B5EF4-FFF2-40B4-BE49-F238E27FC236}">
                    <a16:creationId xmlns:a16="http://schemas.microsoft.com/office/drawing/2014/main" id="{2DB155C5-339A-4FA7-900B-3CA17EACE33B}"/>
                  </a:ext>
                </a:extLst>
              </p:cNvPr>
              <p:cNvSpPr txBox="1"/>
              <p:nvPr/>
            </p:nvSpPr>
            <p:spPr>
              <a:xfrm>
                <a:off x="7678371" y="2320754"/>
                <a:ext cx="2759724" cy="612155"/>
              </a:xfrm>
              <a:prstGeom prst="rect">
                <a:avLst/>
              </a:prstGeom>
              <a:noFill/>
            </p:spPr>
            <p:txBody>
              <a:bodyPr wrap="square" rtlCol="0">
                <a:sp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A0A1A3"/>
                    </a:solidFill>
                    <a:effectLst/>
                    <a:uLnTx/>
                    <a:uFillTx/>
                    <a:latin typeface="等线" panose="020F0502020204030204"/>
                    <a:ea typeface="+mn-ea"/>
                    <a:cs typeface="Arial" panose="020B0604020202020204" pitchFamily="34" charset="0"/>
                  </a:rPr>
                  <a:t>A wonderful serenity has taken possession of my entire soul.</a:t>
                </a:r>
              </a:p>
            </p:txBody>
          </p:sp>
          <p:sp>
            <p:nvSpPr>
              <p:cNvPr id="70" name="TextBox 88">
                <a:extLst>
                  <a:ext uri="{FF2B5EF4-FFF2-40B4-BE49-F238E27FC236}">
                    <a16:creationId xmlns:a16="http://schemas.microsoft.com/office/drawing/2014/main" id="{0F8BBA45-6FF3-4C44-AD12-572C27948A6A}"/>
                  </a:ext>
                </a:extLst>
              </p:cNvPr>
              <p:cNvSpPr txBox="1"/>
              <p:nvPr/>
            </p:nvSpPr>
            <p:spPr>
              <a:xfrm>
                <a:off x="7881845" y="1910085"/>
                <a:ext cx="2352777" cy="375552"/>
              </a:xfrm>
              <a:prstGeom prst="rect">
                <a:avLst/>
              </a:prstGeom>
              <a:noFill/>
            </p:spPr>
            <p:txBody>
              <a:bodyPr wrap="square" rtlCol="0">
                <a:sp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388A"/>
                    </a:solidFill>
                    <a:effectLst/>
                    <a:uLnTx/>
                    <a:uFillTx/>
                    <a:latin typeface="等线" panose="020F0502020204030204"/>
                    <a:ea typeface="+mn-ea"/>
                    <a:cs typeface="Arial" panose="020B0604020202020204" pitchFamily="34" charset="0"/>
                  </a:rPr>
                  <a:t>A wonderful serenity</a:t>
                </a:r>
              </a:p>
            </p:txBody>
          </p:sp>
        </p:grpSp>
      </p:grpSp>
    </p:spTree>
    <p:extLst>
      <p:ext uri="{BB962C8B-B14F-4D97-AF65-F5344CB8AC3E}">
        <p14:creationId xmlns:p14="http://schemas.microsoft.com/office/powerpoint/2010/main" val="3216037887"/>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8" presetClass="entr" presetSubtype="3" fill="hold" grpId="0" nodeType="withEffect">
                                  <p:stCondLst>
                                    <p:cond delay="250"/>
                                  </p:stCondLst>
                                  <p:childTnLst>
                                    <p:set>
                                      <p:cBhvr>
                                        <p:cTn id="6" dur="1" fill="hold">
                                          <p:stCondLst>
                                            <p:cond delay="0"/>
                                          </p:stCondLst>
                                        </p:cTn>
                                        <p:tgtEl>
                                          <p:spTgt spid="45"/>
                                        </p:tgtEl>
                                        <p:attrNameLst>
                                          <p:attrName>style.visibility</p:attrName>
                                        </p:attrNameLst>
                                      </p:cBhvr>
                                      <p:to>
                                        <p:strVal val="visible"/>
                                      </p:to>
                                    </p:set>
                                    <p:animEffect transition="in" filter="strips(upRight)">
                                      <p:cBhvr>
                                        <p:cTn id="7" dur="500"/>
                                        <p:tgtEl>
                                          <p:spTgt spid="45"/>
                                        </p:tgtEl>
                                      </p:cBhvr>
                                    </p:animEffect>
                                  </p:childTnLst>
                                </p:cTn>
                              </p:par>
                              <p:par>
                                <p:cTn id="8" presetID="6" presetClass="emph" presetSubtype="0" accel="52000" decel="48000" autoRev="1" fill="hold" grpId="1" nodeType="withEffect">
                                  <p:stCondLst>
                                    <p:cond delay="250"/>
                                  </p:stCondLst>
                                  <p:childTnLst>
                                    <p:animScale>
                                      <p:cBhvr>
                                        <p:cTn id="9" dur="350" fill="hold"/>
                                        <p:tgtEl>
                                          <p:spTgt spid="45"/>
                                        </p:tgtEl>
                                      </p:cBhvr>
                                      <p:by x="110000" y="110000"/>
                                    </p:animScale>
                                  </p:childTnLst>
                                </p:cTn>
                              </p:par>
                              <p:par>
                                <p:cTn id="10" presetID="18" presetClass="entr" presetSubtype="3" fill="hold" nodeType="withEffect">
                                  <p:stCondLst>
                                    <p:cond delay="500"/>
                                  </p:stCondLst>
                                  <p:childTnLst>
                                    <p:set>
                                      <p:cBhvr>
                                        <p:cTn id="11" dur="1" fill="hold">
                                          <p:stCondLst>
                                            <p:cond delay="0"/>
                                          </p:stCondLst>
                                        </p:cTn>
                                        <p:tgtEl>
                                          <p:spTgt spid="46"/>
                                        </p:tgtEl>
                                        <p:attrNameLst>
                                          <p:attrName>style.visibility</p:attrName>
                                        </p:attrNameLst>
                                      </p:cBhvr>
                                      <p:to>
                                        <p:strVal val="visible"/>
                                      </p:to>
                                    </p:set>
                                    <p:animEffect transition="in" filter="strips(upRight)">
                                      <p:cBhvr>
                                        <p:cTn id="12" dur="500"/>
                                        <p:tgtEl>
                                          <p:spTgt spid="46"/>
                                        </p:tgtEl>
                                      </p:cBhvr>
                                    </p:animEffect>
                                  </p:childTnLst>
                                </p:cTn>
                              </p:par>
                              <p:par>
                                <p:cTn id="13" presetID="6" presetClass="emph" presetSubtype="0" accel="52000" decel="48000" autoRev="1" fill="hold" nodeType="withEffect">
                                  <p:stCondLst>
                                    <p:cond delay="500"/>
                                  </p:stCondLst>
                                  <p:childTnLst>
                                    <p:animScale>
                                      <p:cBhvr>
                                        <p:cTn id="14" dur="350" fill="hold"/>
                                        <p:tgtEl>
                                          <p:spTgt spid="46"/>
                                        </p:tgtEl>
                                      </p:cBhvr>
                                      <p:by x="110000" y="110000"/>
                                    </p:animScale>
                                  </p:childTnLst>
                                </p:cTn>
                              </p:par>
                              <p:par>
                                <p:cTn id="15" presetID="18" presetClass="entr" presetSubtype="3" fill="hold" nodeType="withEffect">
                                  <p:stCondLst>
                                    <p:cond delay="750"/>
                                  </p:stCondLst>
                                  <p:childTnLst>
                                    <p:set>
                                      <p:cBhvr>
                                        <p:cTn id="16" dur="1" fill="hold">
                                          <p:stCondLst>
                                            <p:cond delay="0"/>
                                          </p:stCondLst>
                                        </p:cTn>
                                        <p:tgtEl>
                                          <p:spTgt spid="51"/>
                                        </p:tgtEl>
                                        <p:attrNameLst>
                                          <p:attrName>style.visibility</p:attrName>
                                        </p:attrNameLst>
                                      </p:cBhvr>
                                      <p:to>
                                        <p:strVal val="visible"/>
                                      </p:to>
                                    </p:set>
                                    <p:animEffect transition="in" filter="strips(upRight)">
                                      <p:cBhvr>
                                        <p:cTn id="17" dur="500"/>
                                        <p:tgtEl>
                                          <p:spTgt spid="51"/>
                                        </p:tgtEl>
                                      </p:cBhvr>
                                    </p:animEffect>
                                  </p:childTnLst>
                                </p:cTn>
                              </p:par>
                              <p:par>
                                <p:cTn id="18" presetID="6" presetClass="emph" presetSubtype="0" accel="52000" decel="48000" autoRev="1" fill="hold" nodeType="withEffect">
                                  <p:stCondLst>
                                    <p:cond delay="750"/>
                                  </p:stCondLst>
                                  <p:childTnLst>
                                    <p:animScale>
                                      <p:cBhvr>
                                        <p:cTn id="19" dur="350" fill="hold"/>
                                        <p:tgtEl>
                                          <p:spTgt spid="51"/>
                                        </p:tgtEl>
                                      </p:cBhvr>
                                      <p:by x="110000" y="110000"/>
                                    </p:animScale>
                                  </p:childTnLst>
                                </p:cTn>
                              </p:par>
                              <p:par>
                                <p:cTn id="20" presetID="18" presetClass="entr" presetSubtype="3" fill="hold" nodeType="withEffect">
                                  <p:stCondLst>
                                    <p:cond delay="1000"/>
                                  </p:stCondLst>
                                  <p:childTnLst>
                                    <p:set>
                                      <p:cBhvr>
                                        <p:cTn id="21" dur="1" fill="hold">
                                          <p:stCondLst>
                                            <p:cond delay="0"/>
                                          </p:stCondLst>
                                        </p:cTn>
                                        <p:tgtEl>
                                          <p:spTgt spid="56"/>
                                        </p:tgtEl>
                                        <p:attrNameLst>
                                          <p:attrName>style.visibility</p:attrName>
                                        </p:attrNameLst>
                                      </p:cBhvr>
                                      <p:to>
                                        <p:strVal val="visible"/>
                                      </p:to>
                                    </p:set>
                                    <p:animEffect transition="in" filter="strips(upRight)">
                                      <p:cBhvr>
                                        <p:cTn id="22" dur="500"/>
                                        <p:tgtEl>
                                          <p:spTgt spid="56"/>
                                        </p:tgtEl>
                                      </p:cBhvr>
                                    </p:animEffect>
                                  </p:childTnLst>
                                </p:cTn>
                              </p:par>
                              <p:par>
                                <p:cTn id="23" presetID="6" presetClass="emph" presetSubtype="0" accel="52000" decel="48000" autoRev="1" fill="hold" nodeType="withEffect">
                                  <p:stCondLst>
                                    <p:cond delay="1000"/>
                                  </p:stCondLst>
                                  <p:childTnLst>
                                    <p:animScale>
                                      <p:cBhvr>
                                        <p:cTn id="24" dur="350" fill="hold"/>
                                        <p:tgtEl>
                                          <p:spTgt spid="56"/>
                                        </p:tgtEl>
                                      </p:cBhvr>
                                      <p:by x="110000" y="110000"/>
                                    </p:animScale>
                                  </p:childTnLst>
                                </p:cTn>
                              </p:par>
                              <p:par>
                                <p:cTn id="25" presetID="18" presetClass="entr" presetSubtype="3" fill="hold" nodeType="withEffect">
                                  <p:stCondLst>
                                    <p:cond delay="1500"/>
                                  </p:stCondLst>
                                  <p:childTnLst>
                                    <p:set>
                                      <p:cBhvr>
                                        <p:cTn id="26" dur="1" fill="hold">
                                          <p:stCondLst>
                                            <p:cond delay="0"/>
                                          </p:stCondLst>
                                        </p:cTn>
                                        <p:tgtEl>
                                          <p:spTgt spid="61"/>
                                        </p:tgtEl>
                                        <p:attrNameLst>
                                          <p:attrName>style.visibility</p:attrName>
                                        </p:attrNameLst>
                                      </p:cBhvr>
                                      <p:to>
                                        <p:strVal val="visible"/>
                                      </p:to>
                                    </p:set>
                                    <p:animEffect transition="in" filter="strips(upRight)">
                                      <p:cBhvr>
                                        <p:cTn id="27" dur="500"/>
                                        <p:tgtEl>
                                          <p:spTgt spid="61"/>
                                        </p:tgtEl>
                                      </p:cBhvr>
                                    </p:animEffect>
                                  </p:childTnLst>
                                </p:cTn>
                              </p:par>
                              <p:par>
                                <p:cTn id="28" presetID="6" presetClass="emph" presetSubtype="0" accel="52000" decel="48000" autoRev="1" fill="hold" nodeType="withEffect">
                                  <p:stCondLst>
                                    <p:cond delay="1500"/>
                                  </p:stCondLst>
                                  <p:childTnLst>
                                    <p:animScale>
                                      <p:cBhvr>
                                        <p:cTn id="29" dur="350" fill="hold"/>
                                        <p:tgtEl>
                                          <p:spTgt spid="61"/>
                                        </p:tgtEl>
                                      </p:cBhvr>
                                      <p:by x="110000" y="110000"/>
                                    </p:animScale>
                                  </p:childTnLst>
                                </p:cTn>
                              </p:par>
                              <p:par>
                                <p:cTn id="30" presetID="18" presetClass="entr" presetSubtype="3" fill="hold" nodeType="withEffect">
                                  <p:stCondLst>
                                    <p:cond delay="1250"/>
                                  </p:stCondLst>
                                  <p:childTnLst>
                                    <p:set>
                                      <p:cBhvr>
                                        <p:cTn id="31" dur="1" fill="hold">
                                          <p:stCondLst>
                                            <p:cond delay="0"/>
                                          </p:stCondLst>
                                        </p:cTn>
                                        <p:tgtEl>
                                          <p:spTgt spid="66"/>
                                        </p:tgtEl>
                                        <p:attrNameLst>
                                          <p:attrName>style.visibility</p:attrName>
                                        </p:attrNameLst>
                                      </p:cBhvr>
                                      <p:to>
                                        <p:strVal val="visible"/>
                                      </p:to>
                                    </p:set>
                                    <p:animEffect transition="in" filter="strips(upRight)">
                                      <p:cBhvr>
                                        <p:cTn id="32" dur="500"/>
                                        <p:tgtEl>
                                          <p:spTgt spid="66"/>
                                        </p:tgtEl>
                                      </p:cBhvr>
                                    </p:animEffect>
                                  </p:childTnLst>
                                </p:cTn>
                              </p:par>
                              <p:par>
                                <p:cTn id="33" presetID="6" presetClass="emph" presetSubtype="0" accel="52000" decel="48000" autoRev="1" fill="hold" nodeType="withEffect">
                                  <p:stCondLst>
                                    <p:cond delay="1250"/>
                                  </p:stCondLst>
                                  <p:childTnLst>
                                    <p:animScale>
                                      <p:cBhvr>
                                        <p:cTn id="34" dur="350" fill="hold"/>
                                        <p:tgtEl>
                                          <p:spTgt spid="66"/>
                                        </p:tgtEl>
                                      </p:cBhvr>
                                      <p:by x="110000" y="110000"/>
                                    </p:animScale>
                                  </p:childTnLst>
                                </p:cTn>
                              </p:par>
                              <p:par>
                                <p:cTn id="35" presetID="18" presetClass="entr" presetSubtype="3" fill="hold" nodeType="withEffect">
                                  <p:stCondLst>
                                    <p:cond delay="500"/>
                                  </p:stCondLst>
                                  <p:childTnLst>
                                    <p:set>
                                      <p:cBhvr>
                                        <p:cTn id="36" dur="1" fill="hold">
                                          <p:stCondLst>
                                            <p:cond delay="0"/>
                                          </p:stCondLst>
                                        </p:cTn>
                                        <p:tgtEl>
                                          <p:spTgt spid="2"/>
                                        </p:tgtEl>
                                        <p:attrNameLst>
                                          <p:attrName>style.visibility</p:attrName>
                                        </p:attrNameLst>
                                      </p:cBhvr>
                                      <p:to>
                                        <p:strVal val="visible"/>
                                      </p:to>
                                    </p:set>
                                    <p:animEffect transition="in" filter="strips(upRight)">
                                      <p:cBhvr>
                                        <p:cTn id="37" dur="500"/>
                                        <p:tgtEl>
                                          <p:spTgt spid="2"/>
                                        </p:tgtEl>
                                      </p:cBhvr>
                                    </p:animEffect>
                                  </p:childTnLst>
                                </p:cTn>
                              </p:par>
                              <p:par>
                                <p:cTn id="38" presetID="6" presetClass="emph" presetSubtype="0" accel="52000" decel="48000" autoRev="1" fill="hold" nodeType="withEffect">
                                  <p:stCondLst>
                                    <p:cond delay="500"/>
                                  </p:stCondLst>
                                  <p:childTnLst>
                                    <p:animScale>
                                      <p:cBhvr>
                                        <p:cTn id="39" dur="350" fill="hold"/>
                                        <p:tgtEl>
                                          <p:spTgt spid="2"/>
                                        </p:tgtEl>
                                      </p:cBhvr>
                                      <p:by x="110000" y="110000"/>
                                    </p:animScale>
                                  </p:childTnLst>
                                </p:cTn>
                              </p:par>
                              <p:par>
                                <p:cTn id="40" presetID="22" presetClass="entr" presetSubtype="8" fill="hold" nodeType="withEffect">
                                  <p:stCondLst>
                                    <p:cond delay="500"/>
                                  </p:stCondLst>
                                  <p:childTnLst>
                                    <p:set>
                                      <p:cBhvr>
                                        <p:cTn id="41" dur="1" fill="hold">
                                          <p:stCondLst>
                                            <p:cond delay="0"/>
                                          </p:stCondLst>
                                        </p:cTn>
                                        <p:tgtEl>
                                          <p:spTgt spid="40"/>
                                        </p:tgtEl>
                                        <p:attrNameLst>
                                          <p:attrName>style.visibility</p:attrName>
                                        </p:attrNameLst>
                                      </p:cBhvr>
                                      <p:to>
                                        <p:strVal val="visible"/>
                                      </p:to>
                                    </p:set>
                                    <p:animEffect transition="in" filter="wipe(left)">
                                      <p:cBhvr>
                                        <p:cTn id="42" dur="500"/>
                                        <p:tgtEl>
                                          <p:spTgt spid="40"/>
                                        </p:tgtEl>
                                      </p:cBhvr>
                                    </p:animEffect>
                                  </p:childTnLst>
                                </p:cTn>
                              </p:par>
                              <p:par>
                                <p:cTn id="43" presetID="22" presetClass="entr" presetSubtype="8" fill="hold" nodeType="withEffect">
                                  <p:stCondLst>
                                    <p:cond delay="750"/>
                                  </p:stCondLst>
                                  <p:childTnLst>
                                    <p:set>
                                      <p:cBhvr>
                                        <p:cTn id="44" dur="1" fill="hold">
                                          <p:stCondLst>
                                            <p:cond delay="0"/>
                                          </p:stCondLst>
                                        </p:cTn>
                                        <p:tgtEl>
                                          <p:spTgt spid="41"/>
                                        </p:tgtEl>
                                        <p:attrNameLst>
                                          <p:attrName>style.visibility</p:attrName>
                                        </p:attrNameLst>
                                      </p:cBhvr>
                                      <p:to>
                                        <p:strVal val="visible"/>
                                      </p:to>
                                    </p:set>
                                    <p:animEffect transition="in" filter="wipe(left)">
                                      <p:cBhvr>
                                        <p:cTn id="45" dur="500"/>
                                        <p:tgtEl>
                                          <p:spTgt spid="41"/>
                                        </p:tgtEl>
                                      </p:cBhvr>
                                    </p:animEffect>
                                  </p:childTnLst>
                                </p:cTn>
                              </p:par>
                              <p:par>
                                <p:cTn id="46" presetID="22" presetClass="entr" presetSubtype="8" fill="hold" nodeType="withEffect">
                                  <p:stCondLst>
                                    <p:cond delay="1000"/>
                                  </p:stCondLst>
                                  <p:childTnLst>
                                    <p:set>
                                      <p:cBhvr>
                                        <p:cTn id="47" dur="1" fill="hold">
                                          <p:stCondLst>
                                            <p:cond delay="0"/>
                                          </p:stCondLst>
                                        </p:cTn>
                                        <p:tgtEl>
                                          <p:spTgt spid="42"/>
                                        </p:tgtEl>
                                        <p:attrNameLst>
                                          <p:attrName>style.visibility</p:attrName>
                                        </p:attrNameLst>
                                      </p:cBhvr>
                                      <p:to>
                                        <p:strVal val="visible"/>
                                      </p:to>
                                    </p:set>
                                    <p:animEffect transition="in" filter="wipe(left)">
                                      <p:cBhvr>
                                        <p:cTn id="48" dur="500"/>
                                        <p:tgtEl>
                                          <p:spTgt spid="42"/>
                                        </p:tgtEl>
                                      </p:cBhvr>
                                    </p:animEffect>
                                  </p:childTnLst>
                                </p:cTn>
                              </p:par>
                              <p:par>
                                <p:cTn id="49" presetID="22" presetClass="entr" presetSubtype="2" fill="hold" nodeType="withEffect">
                                  <p:stCondLst>
                                    <p:cond delay="1500"/>
                                  </p:stCondLst>
                                  <p:childTnLst>
                                    <p:set>
                                      <p:cBhvr>
                                        <p:cTn id="50" dur="1" fill="hold">
                                          <p:stCondLst>
                                            <p:cond delay="0"/>
                                          </p:stCondLst>
                                        </p:cTn>
                                        <p:tgtEl>
                                          <p:spTgt spid="43"/>
                                        </p:tgtEl>
                                        <p:attrNameLst>
                                          <p:attrName>style.visibility</p:attrName>
                                        </p:attrNameLst>
                                      </p:cBhvr>
                                      <p:to>
                                        <p:strVal val="visible"/>
                                      </p:to>
                                    </p:set>
                                    <p:animEffect transition="in" filter="wipe(right)">
                                      <p:cBhvr>
                                        <p:cTn id="51" dur="500"/>
                                        <p:tgtEl>
                                          <p:spTgt spid="43"/>
                                        </p:tgtEl>
                                      </p:cBhvr>
                                    </p:animEffect>
                                  </p:childTnLst>
                                </p:cTn>
                              </p:par>
                              <p:par>
                                <p:cTn id="52" presetID="22" presetClass="entr" presetSubtype="2" fill="hold" nodeType="withEffect">
                                  <p:stCondLst>
                                    <p:cond delay="1250"/>
                                  </p:stCondLst>
                                  <p:childTnLst>
                                    <p:set>
                                      <p:cBhvr>
                                        <p:cTn id="53" dur="1" fill="hold">
                                          <p:stCondLst>
                                            <p:cond delay="0"/>
                                          </p:stCondLst>
                                        </p:cTn>
                                        <p:tgtEl>
                                          <p:spTgt spid="44"/>
                                        </p:tgtEl>
                                        <p:attrNameLst>
                                          <p:attrName>style.visibility</p:attrName>
                                        </p:attrNameLst>
                                      </p:cBhvr>
                                      <p:to>
                                        <p:strVal val="visible"/>
                                      </p:to>
                                    </p:set>
                                    <p:animEffect transition="in" filter="wipe(right)">
                                      <p:cBhvr>
                                        <p:cTn id="54" dur="500"/>
                                        <p:tgtEl>
                                          <p:spTgt spid="4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5" grpId="0"/>
      <p:bldP spid="45" grpId="1"/>
    </p:bldLst>
  </p:timing>
</p:sld>
</file>

<file path=ppt/slides/slide5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1B47AC-A21A-409D-8014-A60172044B83}"/>
              </a:ext>
            </a:extLst>
          </p:cNvPr>
          <p:cNvSpPr txBox="1">
            <a:spLocks/>
          </p:cNvSpPr>
          <p:nvPr/>
        </p:nvSpPr>
        <p:spPr>
          <a:xfrm>
            <a:off x="2043113" y="304800"/>
            <a:ext cx="8105775" cy="1105808"/>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ID" sz="4400" b="0" i="0" u="none" strike="noStrike" kern="1200" cap="none" spc="0" normalizeH="0" baseline="0" noProof="0">
                <a:ln>
                  <a:noFill/>
                </a:ln>
                <a:solidFill>
                  <a:srgbClr val="000000"/>
                </a:solidFill>
                <a:effectLst/>
                <a:uLnTx/>
                <a:uFillTx/>
                <a:latin typeface="等线 Light" panose="020F0302020204030204"/>
                <a:ea typeface="+mj-ea"/>
                <a:cs typeface="+mj-cs"/>
              </a:rPr>
              <a:t>Tree Infographic</a:t>
            </a:r>
          </a:p>
        </p:txBody>
      </p:sp>
      <p:sp>
        <p:nvSpPr>
          <p:cNvPr id="3" name="Freeform: Shape 4">
            <a:extLst>
              <a:ext uri="{FF2B5EF4-FFF2-40B4-BE49-F238E27FC236}">
                <a16:creationId xmlns:a16="http://schemas.microsoft.com/office/drawing/2014/main" id="{59ED9779-72BF-418F-A71E-F469AD69F91E}"/>
              </a:ext>
            </a:extLst>
          </p:cNvPr>
          <p:cNvSpPr/>
          <p:nvPr/>
        </p:nvSpPr>
        <p:spPr>
          <a:xfrm>
            <a:off x="3722115" y="2260593"/>
            <a:ext cx="4747772" cy="4597406"/>
          </a:xfrm>
          <a:custGeom>
            <a:avLst/>
            <a:gdLst>
              <a:gd name="connsiteX0" fmla="*/ 4496753 w 4601527"/>
              <a:gd name="connsiteY0" fmla="*/ 2555558 h 4455794"/>
              <a:gd name="connsiteX1" fmla="*/ 4218623 w 4601527"/>
              <a:gd name="connsiteY1" fmla="*/ 2740343 h 4455794"/>
              <a:gd name="connsiteX2" fmla="*/ 4024313 w 4601527"/>
              <a:gd name="connsiteY2" fmla="*/ 2861310 h 4455794"/>
              <a:gd name="connsiteX3" fmla="*/ 3970020 w 4601527"/>
              <a:gd name="connsiteY3" fmla="*/ 2891790 h 4455794"/>
              <a:gd name="connsiteX4" fmla="*/ 3912870 w 4601527"/>
              <a:gd name="connsiteY4" fmla="*/ 2921318 h 4455794"/>
              <a:gd name="connsiteX5" fmla="*/ 3791903 w 4601527"/>
              <a:gd name="connsiteY5" fmla="*/ 2975610 h 4455794"/>
              <a:gd name="connsiteX6" fmla="*/ 3660458 w 4601527"/>
              <a:gd name="connsiteY6" fmla="*/ 3018473 h 4455794"/>
              <a:gd name="connsiteX7" fmla="*/ 3518535 w 4601527"/>
              <a:gd name="connsiteY7" fmla="*/ 3047048 h 4455794"/>
              <a:gd name="connsiteX8" fmla="*/ 3208973 w 4601527"/>
              <a:gd name="connsiteY8" fmla="*/ 3083243 h 4455794"/>
              <a:gd name="connsiteX9" fmla="*/ 3048953 w 4601527"/>
              <a:gd name="connsiteY9" fmla="*/ 3106103 h 4455794"/>
              <a:gd name="connsiteX10" fmla="*/ 2894648 w 4601527"/>
              <a:gd name="connsiteY10" fmla="*/ 3144203 h 4455794"/>
              <a:gd name="connsiteX11" fmla="*/ 2624138 w 4601527"/>
              <a:gd name="connsiteY11" fmla="*/ 3284220 h 4455794"/>
              <a:gd name="connsiteX12" fmla="*/ 2453640 w 4601527"/>
              <a:gd name="connsiteY12" fmla="*/ 3501390 h 4455794"/>
              <a:gd name="connsiteX13" fmla="*/ 2452688 w 4601527"/>
              <a:gd name="connsiteY13" fmla="*/ 3503295 h 4455794"/>
              <a:gd name="connsiteX14" fmla="*/ 2452688 w 4601527"/>
              <a:gd name="connsiteY14" fmla="*/ 3414713 h 4455794"/>
              <a:gd name="connsiteX15" fmla="*/ 2461260 w 4601527"/>
              <a:gd name="connsiteY15" fmla="*/ 3278505 h 4455794"/>
              <a:gd name="connsiteX16" fmla="*/ 2477453 w 4601527"/>
              <a:gd name="connsiteY16" fmla="*/ 3133725 h 4455794"/>
              <a:gd name="connsiteX17" fmla="*/ 2488883 w 4601527"/>
              <a:gd name="connsiteY17" fmla="*/ 3060383 h 4455794"/>
              <a:gd name="connsiteX18" fmla="*/ 2495550 w 4601527"/>
              <a:gd name="connsiteY18" fmla="*/ 3023235 h 4455794"/>
              <a:gd name="connsiteX19" fmla="*/ 2503170 w 4601527"/>
              <a:gd name="connsiteY19" fmla="*/ 2986088 h 4455794"/>
              <a:gd name="connsiteX20" fmla="*/ 2511743 w 4601527"/>
              <a:gd name="connsiteY20" fmla="*/ 2948940 h 4455794"/>
              <a:gd name="connsiteX21" fmla="*/ 2521268 w 4601527"/>
              <a:gd name="connsiteY21" fmla="*/ 2911793 h 4455794"/>
              <a:gd name="connsiteX22" fmla="*/ 2542223 w 4601527"/>
              <a:gd name="connsiteY22" fmla="*/ 2837498 h 4455794"/>
              <a:gd name="connsiteX23" fmla="*/ 2554605 w 4601527"/>
              <a:gd name="connsiteY23" fmla="*/ 2800350 h 4455794"/>
              <a:gd name="connsiteX24" fmla="*/ 2561273 w 4601527"/>
              <a:gd name="connsiteY24" fmla="*/ 2782253 h 4455794"/>
              <a:gd name="connsiteX25" fmla="*/ 2567940 w 4601527"/>
              <a:gd name="connsiteY25" fmla="*/ 2764155 h 4455794"/>
              <a:gd name="connsiteX26" fmla="*/ 2582228 w 4601527"/>
              <a:gd name="connsiteY26" fmla="*/ 2727960 h 4455794"/>
              <a:gd name="connsiteX27" fmla="*/ 2597468 w 4601527"/>
              <a:gd name="connsiteY27" fmla="*/ 2691765 h 4455794"/>
              <a:gd name="connsiteX28" fmla="*/ 2614613 w 4601527"/>
              <a:gd name="connsiteY28" fmla="*/ 2656523 h 4455794"/>
              <a:gd name="connsiteX29" fmla="*/ 2631758 w 4601527"/>
              <a:gd name="connsiteY29" fmla="*/ 2621280 h 4455794"/>
              <a:gd name="connsiteX30" fmla="*/ 2649855 w 4601527"/>
              <a:gd name="connsiteY30" fmla="*/ 2586990 h 4455794"/>
              <a:gd name="connsiteX31" fmla="*/ 2669858 w 4601527"/>
              <a:gd name="connsiteY31" fmla="*/ 2554605 h 4455794"/>
              <a:gd name="connsiteX32" fmla="*/ 2679383 w 4601527"/>
              <a:gd name="connsiteY32" fmla="*/ 2538413 h 4455794"/>
              <a:gd name="connsiteX33" fmla="*/ 2689860 w 4601527"/>
              <a:gd name="connsiteY33" fmla="*/ 2523173 h 4455794"/>
              <a:gd name="connsiteX34" fmla="*/ 2710815 w 4601527"/>
              <a:gd name="connsiteY34" fmla="*/ 2492693 h 4455794"/>
              <a:gd name="connsiteX35" fmla="*/ 2756535 w 4601527"/>
              <a:gd name="connsiteY35" fmla="*/ 2435543 h 4455794"/>
              <a:gd name="connsiteX36" fmla="*/ 2971800 w 4601527"/>
              <a:gd name="connsiteY36" fmla="*/ 2259330 h 4455794"/>
              <a:gd name="connsiteX37" fmla="*/ 3159443 w 4601527"/>
              <a:gd name="connsiteY37" fmla="*/ 2184083 h 4455794"/>
              <a:gd name="connsiteX38" fmla="*/ 3231833 w 4601527"/>
              <a:gd name="connsiteY38" fmla="*/ 2222183 h 4455794"/>
              <a:gd name="connsiteX39" fmla="*/ 3340418 w 4601527"/>
              <a:gd name="connsiteY39" fmla="*/ 2297430 h 4455794"/>
              <a:gd name="connsiteX40" fmla="*/ 3464243 w 4601527"/>
              <a:gd name="connsiteY40" fmla="*/ 2359343 h 4455794"/>
              <a:gd name="connsiteX41" fmla="*/ 3588068 w 4601527"/>
              <a:gd name="connsiteY41" fmla="*/ 2394585 h 4455794"/>
              <a:gd name="connsiteX42" fmla="*/ 3617595 w 4601527"/>
              <a:gd name="connsiteY42" fmla="*/ 2399348 h 4455794"/>
              <a:gd name="connsiteX43" fmla="*/ 3647123 w 4601527"/>
              <a:gd name="connsiteY43" fmla="*/ 2403158 h 4455794"/>
              <a:gd name="connsiteX44" fmla="*/ 3675698 w 4601527"/>
              <a:gd name="connsiteY44" fmla="*/ 2405063 h 4455794"/>
              <a:gd name="connsiteX45" fmla="*/ 3703320 w 4601527"/>
              <a:gd name="connsiteY45" fmla="*/ 2406968 h 4455794"/>
              <a:gd name="connsiteX46" fmla="*/ 3803333 w 4601527"/>
              <a:gd name="connsiteY46" fmla="*/ 2402205 h 4455794"/>
              <a:gd name="connsiteX47" fmla="*/ 3846195 w 4601527"/>
              <a:gd name="connsiteY47" fmla="*/ 2395538 h 4455794"/>
              <a:gd name="connsiteX48" fmla="*/ 3884295 w 4601527"/>
              <a:gd name="connsiteY48" fmla="*/ 2387918 h 4455794"/>
              <a:gd name="connsiteX49" fmla="*/ 3916680 w 4601527"/>
              <a:gd name="connsiteY49" fmla="*/ 2379345 h 4455794"/>
              <a:gd name="connsiteX50" fmla="*/ 3943350 w 4601527"/>
              <a:gd name="connsiteY50" fmla="*/ 2370773 h 4455794"/>
              <a:gd name="connsiteX51" fmla="*/ 3964305 w 4601527"/>
              <a:gd name="connsiteY51" fmla="*/ 2363153 h 4455794"/>
              <a:gd name="connsiteX52" fmla="*/ 3979545 w 4601527"/>
              <a:gd name="connsiteY52" fmla="*/ 2357438 h 4455794"/>
              <a:gd name="connsiteX53" fmla="*/ 3991928 w 4601527"/>
              <a:gd name="connsiteY53" fmla="*/ 2352675 h 4455794"/>
              <a:gd name="connsiteX54" fmla="*/ 3978593 w 4601527"/>
              <a:gd name="connsiteY54" fmla="*/ 2354580 h 4455794"/>
              <a:gd name="connsiteX55" fmla="*/ 3962400 w 4601527"/>
              <a:gd name="connsiteY55" fmla="*/ 2357438 h 4455794"/>
              <a:gd name="connsiteX56" fmla="*/ 3940493 w 4601527"/>
              <a:gd name="connsiteY56" fmla="*/ 2360295 h 4455794"/>
              <a:gd name="connsiteX57" fmla="*/ 3801428 w 4601527"/>
              <a:gd name="connsiteY57" fmla="*/ 2366010 h 4455794"/>
              <a:gd name="connsiteX58" fmla="*/ 3707130 w 4601527"/>
              <a:gd name="connsiteY58" fmla="*/ 2357438 h 4455794"/>
              <a:gd name="connsiteX59" fmla="*/ 3681413 w 4601527"/>
              <a:gd name="connsiteY59" fmla="*/ 2352675 h 4455794"/>
              <a:gd name="connsiteX60" fmla="*/ 3655695 w 4601527"/>
              <a:gd name="connsiteY60" fmla="*/ 2347913 h 4455794"/>
              <a:gd name="connsiteX61" fmla="*/ 3629025 w 4601527"/>
              <a:gd name="connsiteY61" fmla="*/ 2342198 h 4455794"/>
              <a:gd name="connsiteX62" fmla="*/ 3602355 w 4601527"/>
              <a:gd name="connsiteY62" fmla="*/ 2334578 h 4455794"/>
              <a:gd name="connsiteX63" fmla="*/ 3490913 w 4601527"/>
              <a:gd name="connsiteY63" fmla="*/ 2294573 h 4455794"/>
              <a:gd name="connsiteX64" fmla="*/ 3379470 w 4601527"/>
              <a:gd name="connsiteY64" fmla="*/ 2235518 h 4455794"/>
              <a:gd name="connsiteX65" fmla="*/ 3267075 w 4601527"/>
              <a:gd name="connsiteY65" fmla="*/ 2162175 h 4455794"/>
              <a:gd name="connsiteX66" fmla="*/ 3267075 w 4601527"/>
              <a:gd name="connsiteY66" fmla="*/ 2162175 h 4455794"/>
              <a:gd name="connsiteX67" fmla="*/ 3448050 w 4601527"/>
              <a:gd name="connsiteY67" fmla="*/ 2142173 h 4455794"/>
              <a:gd name="connsiteX68" fmla="*/ 3554730 w 4601527"/>
              <a:gd name="connsiteY68" fmla="*/ 2113598 h 4455794"/>
              <a:gd name="connsiteX69" fmla="*/ 3575685 w 4601527"/>
              <a:gd name="connsiteY69" fmla="*/ 2105025 h 4455794"/>
              <a:gd name="connsiteX70" fmla="*/ 3577590 w 4601527"/>
              <a:gd name="connsiteY70" fmla="*/ 2105025 h 4455794"/>
              <a:gd name="connsiteX71" fmla="*/ 3800475 w 4601527"/>
              <a:gd name="connsiteY71" fmla="*/ 1992630 h 4455794"/>
              <a:gd name="connsiteX72" fmla="*/ 3900488 w 4601527"/>
              <a:gd name="connsiteY72" fmla="*/ 1914525 h 4455794"/>
              <a:gd name="connsiteX73" fmla="*/ 3988118 w 4601527"/>
              <a:gd name="connsiteY73" fmla="*/ 1837373 h 4455794"/>
              <a:gd name="connsiteX74" fmla="*/ 4127183 w 4601527"/>
              <a:gd name="connsiteY74" fmla="*/ 1693545 h 4455794"/>
              <a:gd name="connsiteX75" fmla="*/ 4203383 w 4601527"/>
              <a:gd name="connsiteY75" fmla="*/ 1582103 h 4455794"/>
              <a:gd name="connsiteX76" fmla="*/ 4212908 w 4601527"/>
              <a:gd name="connsiteY76" fmla="*/ 1563053 h 4455794"/>
              <a:gd name="connsiteX77" fmla="*/ 4219575 w 4601527"/>
              <a:gd name="connsiteY77" fmla="*/ 1548765 h 4455794"/>
              <a:gd name="connsiteX78" fmla="*/ 4224338 w 4601527"/>
              <a:gd name="connsiteY78" fmla="*/ 1537335 h 4455794"/>
              <a:gd name="connsiteX79" fmla="*/ 4216718 w 4601527"/>
              <a:gd name="connsiteY79" fmla="*/ 1546860 h 4455794"/>
              <a:gd name="connsiteX80" fmla="*/ 4207193 w 4601527"/>
              <a:gd name="connsiteY80" fmla="*/ 1559243 h 4455794"/>
              <a:gd name="connsiteX81" fmla="*/ 4193858 w 4601527"/>
              <a:gd name="connsiteY81" fmla="*/ 1575435 h 4455794"/>
              <a:gd name="connsiteX82" fmla="*/ 4101465 w 4601527"/>
              <a:gd name="connsiteY82" fmla="*/ 1668780 h 4455794"/>
              <a:gd name="connsiteX83" fmla="*/ 3950018 w 4601527"/>
              <a:gd name="connsiteY83" fmla="*/ 1790700 h 4455794"/>
              <a:gd name="connsiteX84" fmla="*/ 3759518 w 4601527"/>
              <a:gd name="connsiteY84" fmla="*/ 1934528 h 4455794"/>
              <a:gd name="connsiteX85" fmla="*/ 3558540 w 4601527"/>
              <a:gd name="connsiteY85" fmla="*/ 2047875 h 4455794"/>
              <a:gd name="connsiteX86" fmla="*/ 3507105 w 4601527"/>
              <a:gd name="connsiteY86" fmla="*/ 2065020 h 4455794"/>
              <a:gd name="connsiteX87" fmla="*/ 3439478 w 4601527"/>
              <a:gd name="connsiteY87" fmla="*/ 2072640 h 4455794"/>
              <a:gd name="connsiteX88" fmla="*/ 3327083 w 4601527"/>
              <a:gd name="connsiteY88" fmla="*/ 2072640 h 4455794"/>
              <a:gd name="connsiteX89" fmla="*/ 3197543 w 4601527"/>
              <a:gd name="connsiteY89" fmla="*/ 2075498 h 4455794"/>
              <a:gd name="connsiteX90" fmla="*/ 3114675 w 4601527"/>
              <a:gd name="connsiteY90" fmla="*/ 2087880 h 4455794"/>
              <a:gd name="connsiteX91" fmla="*/ 3230880 w 4601527"/>
              <a:gd name="connsiteY91" fmla="*/ 1999298 h 4455794"/>
              <a:gd name="connsiteX92" fmla="*/ 3331845 w 4601527"/>
              <a:gd name="connsiteY92" fmla="*/ 1892618 h 4455794"/>
              <a:gd name="connsiteX93" fmla="*/ 3405188 w 4601527"/>
              <a:gd name="connsiteY93" fmla="*/ 1746885 h 4455794"/>
              <a:gd name="connsiteX94" fmla="*/ 3410903 w 4601527"/>
              <a:gd name="connsiteY94" fmla="*/ 1725930 h 4455794"/>
              <a:gd name="connsiteX95" fmla="*/ 3414713 w 4601527"/>
              <a:gd name="connsiteY95" fmla="*/ 1704975 h 4455794"/>
              <a:gd name="connsiteX96" fmla="*/ 3419475 w 4601527"/>
              <a:gd name="connsiteY96" fmla="*/ 1663065 h 4455794"/>
              <a:gd name="connsiteX97" fmla="*/ 3417570 w 4601527"/>
              <a:gd name="connsiteY97" fmla="*/ 1584960 h 4455794"/>
              <a:gd name="connsiteX98" fmla="*/ 3416618 w 4601527"/>
              <a:gd name="connsiteY98" fmla="*/ 1450658 h 4455794"/>
              <a:gd name="connsiteX99" fmla="*/ 3450908 w 4601527"/>
              <a:gd name="connsiteY99" fmla="*/ 1337310 h 4455794"/>
              <a:gd name="connsiteX100" fmla="*/ 3508058 w 4601527"/>
              <a:gd name="connsiteY100" fmla="*/ 1248728 h 4455794"/>
              <a:gd name="connsiteX101" fmla="*/ 3626168 w 4601527"/>
              <a:gd name="connsiteY101" fmla="*/ 1145858 h 4455794"/>
              <a:gd name="connsiteX102" fmla="*/ 3648075 w 4601527"/>
              <a:gd name="connsiteY102" fmla="*/ 1133475 h 4455794"/>
              <a:gd name="connsiteX103" fmla="*/ 3664268 w 4601527"/>
              <a:gd name="connsiteY103" fmla="*/ 1124903 h 4455794"/>
              <a:gd name="connsiteX104" fmla="*/ 3677603 w 4601527"/>
              <a:gd name="connsiteY104" fmla="*/ 1118235 h 4455794"/>
              <a:gd name="connsiteX105" fmla="*/ 3663315 w 4601527"/>
              <a:gd name="connsiteY105" fmla="*/ 1122045 h 4455794"/>
              <a:gd name="connsiteX106" fmla="*/ 3645218 w 4601527"/>
              <a:gd name="connsiteY106" fmla="*/ 1127760 h 4455794"/>
              <a:gd name="connsiteX107" fmla="*/ 3621405 w 4601527"/>
              <a:gd name="connsiteY107" fmla="*/ 1136333 h 4455794"/>
              <a:gd name="connsiteX108" fmla="*/ 3591878 w 4601527"/>
              <a:gd name="connsiteY108" fmla="*/ 1149668 h 4455794"/>
              <a:gd name="connsiteX109" fmla="*/ 3558540 w 4601527"/>
              <a:gd name="connsiteY109" fmla="*/ 1167765 h 4455794"/>
              <a:gd name="connsiteX110" fmla="*/ 3483293 w 4601527"/>
              <a:gd name="connsiteY110" fmla="*/ 1224915 h 4455794"/>
              <a:gd name="connsiteX111" fmla="*/ 3408998 w 4601527"/>
              <a:gd name="connsiteY111" fmla="*/ 1314450 h 4455794"/>
              <a:gd name="connsiteX112" fmla="*/ 3358515 w 4601527"/>
              <a:gd name="connsiteY112" fmla="*/ 1441133 h 4455794"/>
              <a:gd name="connsiteX113" fmla="*/ 3350895 w 4601527"/>
              <a:gd name="connsiteY113" fmla="*/ 1587818 h 4455794"/>
              <a:gd name="connsiteX114" fmla="*/ 3349943 w 4601527"/>
              <a:gd name="connsiteY114" fmla="*/ 1659255 h 4455794"/>
              <a:gd name="connsiteX115" fmla="*/ 3346133 w 4601527"/>
              <a:gd name="connsiteY115" fmla="*/ 1693545 h 4455794"/>
              <a:gd name="connsiteX116" fmla="*/ 3343275 w 4601527"/>
              <a:gd name="connsiteY116" fmla="*/ 1710690 h 4455794"/>
              <a:gd name="connsiteX117" fmla="*/ 3338513 w 4601527"/>
              <a:gd name="connsiteY117" fmla="*/ 1727835 h 4455794"/>
              <a:gd name="connsiteX118" fmla="*/ 3278505 w 4601527"/>
              <a:gd name="connsiteY118" fmla="*/ 1852613 h 4455794"/>
              <a:gd name="connsiteX119" fmla="*/ 3190875 w 4601527"/>
              <a:gd name="connsiteY119" fmla="*/ 1954530 h 4455794"/>
              <a:gd name="connsiteX120" fmla="*/ 3010853 w 4601527"/>
              <a:gd name="connsiteY120" fmla="*/ 2114550 h 4455794"/>
              <a:gd name="connsiteX121" fmla="*/ 3010853 w 4601527"/>
              <a:gd name="connsiteY121" fmla="*/ 2114550 h 4455794"/>
              <a:gd name="connsiteX122" fmla="*/ 2917508 w 4601527"/>
              <a:gd name="connsiteY122" fmla="*/ 2151698 h 4455794"/>
              <a:gd name="connsiteX123" fmla="*/ 2711768 w 4601527"/>
              <a:gd name="connsiteY123" fmla="*/ 2287905 h 4455794"/>
              <a:gd name="connsiteX124" fmla="*/ 2715578 w 4601527"/>
              <a:gd name="connsiteY124" fmla="*/ 2230755 h 4455794"/>
              <a:gd name="connsiteX125" fmla="*/ 2683193 w 4601527"/>
              <a:gd name="connsiteY125" fmla="*/ 1998345 h 4455794"/>
              <a:gd name="connsiteX126" fmla="*/ 2586038 w 4601527"/>
              <a:gd name="connsiteY126" fmla="*/ 1796415 h 4455794"/>
              <a:gd name="connsiteX127" fmla="*/ 2481263 w 4601527"/>
              <a:gd name="connsiteY127" fmla="*/ 1657350 h 4455794"/>
              <a:gd name="connsiteX128" fmla="*/ 2473643 w 4601527"/>
              <a:gd name="connsiteY128" fmla="*/ 1642110 h 4455794"/>
              <a:gd name="connsiteX129" fmla="*/ 2433638 w 4601527"/>
              <a:gd name="connsiteY129" fmla="*/ 1499235 h 4455794"/>
              <a:gd name="connsiteX130" fmla="*/ 2565083 w 4601527"/>
              <a:gd name="connsiteY130" fmla="*/ 1103948 h 4455794"/>
              <a:gd name="connsiteX131" fmla="*/ 3490913 w 4601527"/>
              <a:gd name="connsiteY131" fmla="*/ 582930 h 4455794"/>
              <a:gd name="connsiteX132" fmla="*/ 3558540 w 4601527"/>
              <a:gd name="connsiteY132" fmla="*/ 540068 h 4455794"/>
              <a:gd name="connsiteX133" fmla="*/ 3617595 w 4601527"/>
              <a:gd name="connsiteY133" fmla="*/ 490538 h 4455794"/>
              <a:gd name="connsiteX134" fmla="*/ 3862388 w 4601527"/>
              <a:gd name="connsiteY134" fmla="*/ 192405 h 4455794"/>
              <a:gd name="connsiteX135" fmla="*/ 3945255 w 4601527"/>
              <a:gd name="connsiteY135" fmla="*/ 52388 h 4455794"/>
              <a:gd name="connsiteX136" fmla="*/ 3973830 w 4601527"/>
              <a:gd name="connsiteY136" fmla="*/ 0 h 4455794"/>
              <a:gd name="connsiteX137" fmla="*/ 3967163 w 4601527"/>
              <a:gd name="connsiteY137" fmla="*/ 8572 h 4455794"/>
              <a:gd name="connsiteX138" fmla="*/ 3968115 w 4601527"/>
              <a:gd name="connsiteY138" fmla="*/ 6668 h 4455794"/>
              <a:gd name="connsiteX139" fmla="*/ 3961448 w 4601527"/>
              <a:gd name="connsiteY139" fmla="*/ 17145 h 4455794"/>
              <a:gd name="connsiteX140" fmla="*/ 3939540 w 4601527"/>
              <a:gd name="connsiteY140" fmla="*/ 48578 h 4455794"/>
              <a:gd name="connsiteX141" fmla="*/ 3898583 w 4601527"/>
              <a:gd name="connsiteY141" fmla="*/ 106680 h 4455794"/>
              <a:gd name="connsiteX142" fmla="*/ 3485198 w 4601527"/>
              <a:gd name="connsiteY142" fmla="*/ 510540 h 4455794"/>
              <a:gd name="connsiteX143" fmla="*/ 3412808 w 4601527"/>
              <a:gd name="connsiteY143" fmla="*/ 559118 h 4455794"/>
              <a:gd name="connsiteX144" fmla="*/ 2752725 w 4601527"/>
              <a:gd name="connsiteY144" fmla="*/ 897255 h 4455794"/>
              <a:gd name="connsiteX145" fmla="*/ 2481263 w 4601527"/>
              <a:gd name="connsiteY145" fmla="*/ 1084898 h 4455794"/>
              <a:gd name="connsiteX146" fmla="*/ 2481263 w 4601527"/>
              <a:gd name="connsiteY146" fmla="*/ 1084898 h 4455794"/>
              <a:gd name="connsiteX147" fmla="*/ 2481263 w 4601527"/>
              <a:gd name="connsiteY147" fmla="*/ 958215 h 4455794"/>
              <a:gd name="connsiteX148" fmla="*/ 2483168 w 4601527"/>
              <a:gd name="connsiteY148" fmla="*/ 802005 h 4455794"/>
              <a:gd name="connsiteX149" fmla="*/ 2509838 w 4601527"/>
              <a:gd name="connsiteY149" fmla="*/ 662940 h 4455794"/>
              <a:gd name="connsiteX150" fmla="*/ 2626995 w 4601527"/>
              <a:gd name="connsiteY150" fmla="*/ 450533 h 4455794"/>
              <a:gd name="connsiteX151" fmla="*/ 2748915 w 4601527"/>
              <a:gd name="connsiteY151" fmla="*/ 336233 h 4455794"/>
              <a:gd name="connsiteX152" fmla="*/ 2770823 w 4601527"/>
              <a:gd name="connsiteY152" fmla="*/ 320993 h 4455794"/>
              <a:gd name="connsiteX153" fmla="*/ 2787968 w 4601527"/>
              <a:gd name="connsiteY153" fmla="*/ 310515 h 4455794"/>
              <a:gd name="connsiteX154" fmla="*/ 2802255 w 4601527"/>
              <a:gd name="connsiteY154" fmla="*/ 301943 h 4455794"/>
              <a:gd name="connsiteX155" fmla="*/ 2787015 w 4601527"/>
              <a:gd name="connsiteY155" fmla="*/ 307658 h 4455794"/>
              <a:gd name="connsiteX156" fmla="*/ 2768918 w 4601527"/>
              <a:gd name="connsiteY156" fmla="*/ 315278 h 4455794"/>
              <a:gd name="connsiteX157" fmla="*/ 2744153 w 4601527"/>
              <a:gd name="connsiteY157" fmla="*/ 326708 h 4455794"/>
              <a:gd name="connsiteX158" fmla="*/ 2714625 w 4601527"/>
              <a:gd name="connsiteY158" fmla="*/ 342900 h 4455794"/>
              <a:gd name="connsiteX159" fmla="*/ 2697480 w 4601527"/>
              <a:gd name="connsiteY159" fmla="*/ 352425 h 4455794"/>
              <a:gd name="connsiteX160" fmla="*/ 2679383 w 4601527"/>
              <a:gd name="connsiteY160" fmla="*/ 363855 h 4455794"/>
              <a:gd name="connsiteX161" fmla="*/ 2641283 w 4601527"/>
              <a:gd name="connsiteY161" fmla="*/ 391478 h 4455794"/>
              <a:gd name="connsiteX162" fmla="*/ 2621280 w 4601527"/>
              <a:gd name="connsiteY162" fmla="*/ 407670 h 4455794"/>
              <a:gd name="connsiteX163" fmla="*/ 2601278 w 4601527"/>
              <a:gd name="connsiteY163" fmla="*/ 425767 h 4455794"/>
              <a:gd name="connsiteX164" fmla="*/ 2581275 w 4601527"/>
              <a:gd name="connsiteY164" fmla="*/ 445770 h 4455794"/>
              <a:gd name="connsiteX165" fmla="*/ 2561273 w 4601527"/>
              <a:gd name="connsiteY165" fmla="*/ 467678 h 4455794"/>
              <a:gd name="connsiteX166" fmla="*/ 2541270 w 4601527"/>
              <a:gd name="connsiteY166" fmla="*/ 491490 h 4455794"/>
              <a:gd name="connsiteX167" fmla="*/ 2531745 w 4601527"/>
              <a:gd name="connsiteY167" fmla="*/ 503873 h 4455794"/>
              <a:gd name="connsiteX168" fmla="*/ 2522220 w 4601527"/>
              <a:gd name="connsiteY168" fmla="*/ 517208 h 4455794"/>
              <a:gd name="connsiteX169" fmla="*/ 2454593 w 4601527"/>
              <a:gd name="connsiteY169" fmla="*/ 641033 h 4455794"/>
              <a:gd name="connsiteX170" fmla="*/ 2416493 w 4601527"/>
              <a:gd name="connsiteY170" fmla="*/ 793433 h 4455794"/>
              <a:gd name="connsiteX171" fmla="*/ 2410778 w 4601527"/>
              <a:gd name="connsiteY171" fmla="*/ 958215 h 4455794"/>
              <a:gd name="connsiteX172" fmla="*/ 2412683 w 4601527"/>
              <a:gd name="connsiteY172" fmla="*/ 1116330 h 4455794"/>
              <a:gd name="connsiteX173" fmla="*/ 2404110 w 4601527"/>
              <a:gd name="connsiteY173" fmla="*/ 1218248 h 4455794"/>
              <a:gd name="connsiteX174" fmla="*/ 2367915 w 4601527"/>
              <a:gd name="connsiteY174" fmla="*/ 1506855 h 4455794"/>
              <a:gd name="connsiteX175" fmla="*/ 2367915 w 4601527"/>
              <a:gd name="connsiteY175" fmla="*/ 1508760 h 4455794"/>
              <a:gd name="connsiteX176" fmla="*/ 2367915 w 4601527"/>
              <a:gd name="connsiteY176" fmla="*/ 1516380 h 4455794"/>
              <a:gd name="connsiteX177" fmla="*/ 2367915 w 4601527"/>
              <a:gd name="connsiteY177" fmla="*/ 1528763 h 4455794"/>
              <a:gd name="connsiteX178" fmla="*/ 2330768 w 4601527"/>
              <a:gd name="connsiteY178" fmla="*/ 1488758 h 4455794"/>
              <a:gd name="connsiteX179" fmla="*/ 2213610 w 4601527"/>
              <a:gd name="connsiteY179" fmla="*/ 1355408 h 4455794"/>
              <a:gd name="connsiteX180" fmla="*/ 2118360 w 4601527"/>
              <a:gd name="connsiteY180" fmla="*/ 1221105 h 4455794"/>
              <a:gd name="connsiteX181" fmla="*/ 1989773 w 4601527"/>
              <a:gd name="connsiteY181" fmla="*/ 953453 h 4455794"/>
              <a:gd name="connsiteX182" fmla="*/ 1928813 w 4601527"/>
              <a:gd name="connsiteY182" fmla="*/ 712470 h 4455794"/>
              <a:gd name="connsiteX183" fmla="*/ 1914525 w 4601527"/>
              <a:gd name="connsiteY183" fmla="*/ 609600 h 4455794"/>
              <a:gd name="connsiteX184" fmla="*/ 1901190 w 4601527"/>
              <a:gd name="connsiteY184" fmla="*/ 521970 h 4455794"/>
              <a:gd name="connsiteX185" fmla="*/ 1884045 w 4601527"/>
              <a:gd name="connsiteY185" fmla="*/ 449580 h 4455794"/>
              <a:gd name="connsiteX186" fmla="*/ 1860233 w 4601527"/>
              <a:gd name="connsiteY186" fmla="*/ 374333 h 4455794"/>
              <a:gd name="connsiteX187" fmla="*/ 1791653 w 4601527"/>
              <a:gd name="connsiteY187" fmla="*/ 241935 h 4455794"/>
              <a:gd name="connsiteX188" fmla="*/ 1767840 w 4601527"/>
              <a:gd name="connsiteY188" fmla="*/ 209550 h 4455794"/>
              <a:gd name="connsiteX189" fmla="*/ 1759268 w 4601527"/>
              <a:gd name="connsiteY189" fmla="*/ 199073 h 4455794"/>
              <a:gd name="connsiteX190" fmla="*/ 1766888 w 4601527"/>
              <a:gd name="connsiteY190" fmla="*/ 210502 h 4455794"/>
              <a:gd name="connsiteX191" fmla="*/ 1786890 w 4601527"/>
              <a:gd name="connsiteY191" fmla="*/ 244793 h 4455794"/>
              <a:gd name="connsiteX192" fmla="*/ 1843088 w 4601527"/>
              <a:gd name="connsiteY192" fmla="*/ 380048 h 4455794"/>
              <a:gd name="connsiteX193" fmla="*/ 1864995 w 4601527"/>
              <a:gd name="connsiteY193" fmla="*/ 478155 h 4455794"/>
              <a:gd name="connsiteX194" fmla="*/ 1874520 w 4601527"/>
              <a:gd name="connsiteY194" fmla="*/ 593408 h 4455794"/>
              <a:gd name="connsiteX195" fmla="*/ 1881188 w 4601527"/>
              <a:gd name="connsiteY195" fmla="*/ 723900 h 4455794"/>
              <a:gd name="connsiteX196" fmla="*/ 1884998 w 4601527"/>
              <a:gd name="connsiteY196" fmla="*/ 758190 h 4455794"/>
              <a:gd name="connsiteX197" fmla="*/ 1889760 w 4601527"/>
              <a:gd name="connsiteY197" fmla="*/ 793433 h 4455794"/>
              <a:gd name="connsiteX198" fmla="*/ 1892618 w 4601527"/>
              <a:gd name="connsiteY198" fmla="*/ 812483 h 4455794"/>
              <a:gd name="connsiteX199" fmla="*/ 1922145 w 4601527"/>
              <a:gd name="connsiteY199" fmla="*/ 972503 h 4455794"/>
              <a:gd name="connsiteX200" fmla="*/ 1967865 w 4601527"/>
              <a:gd name="connsiteY200" fmla="*/ 1118235 h 4455794"/>
              <a:gd name="connsiteX201" fmla="*/ 1857375 w 4601527"/>
              <a:gd name="connsiteY201" fmla="*/ 1030605 h 4455794"/>
              <a:gd name="connsiteX202" fmla="*/ 1603058 w 4601527"/>
              <a:gd name="connsiteY202" fmla="*/ 900113 h 4455794"/>
              <a:gd name="connsiteX203" fmla="*/ 1336358 w 4601527"/>
              <a:gd name="connsiteY203" fmla="*/ 816293 h 4455794"/>
              <a:gd name="connsiteX204" fmla="*/ 1091565 w 4601527"/>
              <a:gd name="connsiteY204" fmla="*/ 749618 h 4455794"/>
              <a:gd name="connsiteX205" fmla="*/ 706755 w 4601527"/>
              <a:gd name="connsiteY205" fmla="*/ 579120 h 4455794"/>
              <a:gd name="connsiteX206" fmla="*/ 501968 w 4601527"/>
              <a:gd name="connsiteY206" fmla="*/ 381953 h 4455794"/>
              <a:gd name="connsiteX207" fmla="*/ 462915 w 4601527"/>
              <a:gd name="connsiteY207" fmla="*/ 313373 h 4455794"/>
              <a:gd name="connsiteX208" fmla="*/ 450533 w 4601527"/>
              <a:gd name="connsiteY208" fmla="*/ 288608 h 4455794"/>
              <a:gd name="connsiteX209" fmla="*/ 458153 w 4601527"/>
              <a:gd name="connsiteY209" fmla="*/ 315278 h 4455794"/>
              <a:gd name="connsiteX210" fmla="*/ 487680 w 4601527"/>
              <a:gd name="connsiteY210" fmla="*/ 390525 h 4455794"/>
              <a:gd name="connsiteX211" fmla="*/ 501015 w 4601527"/>
              <a:gd name="connsiteY211" fmla="*/ 415290 h 4455794"/>
              <a:gd name="connsiteX212" fmla="*/ 507683 w 4601527"/>
              <a:gd name="connsiteY212" fmla="*/ 428625 h 4455794"/>
              <a:gd name="connsiteX213" fmla="*/ 516255 w 4601527"/>
              <a:gd name="connsiteY213" fmla="*/ 441960 h 4455794"/>
              <a:gd name="connsiteX214" fmla="*/ 534353 w 4601527"/>
              <a:gd name="connsiteY214" fmla="*/ 470535 h 4455794"/>
              <a:gd name="connsiteX215" fmla="*/ 556260 w 4601527"/>
              <a:gd name="connsiteY215" fmla="*/ 500063 h 4455794"/>
              <a:gd name="connsiteX216" fmla="*/ 675323 w 4601527"/>
              <a:gd name="connsiteY216" fmla="*/ 622935 h 4455794"/>
              <a:gd name="connsiteX217" fmla="*/ 1063943 w 4601527"/>
              <a:gd name="connsiteY217" fmla="*/ 836295 h 4455794"/>
              <a:gd name="connsiteX218" fmla="*/ 1308735 w 4601527"/>
              <a:gd name="connsiteY218" fmla="*/ 916305 h 4455794"/>
              <a:gd name="connsiteX219" fmla="*/ 1564958 w 4601527"/>
              <a:gd name="connsiteY219" fmla="*/ 1002030 h 4455794"/>
              <a:gd name="connsiteX220" fmla="*/ 1801178 w 4601527"/>
              <a:gd name="connsiteY220" fmla="*/ 1118235 h 4455794"/>
              <a:gd name="connsiteX221" fmla="*/ 1995488 w 4601527"/>
              <a:gd name="connsiteY221" fmla="*/ 1271588 h 4455794"/>
              <a:gd name="connsiteX222" fmla="*/ 2082165 w 4601527"/>
              <a:gd name="connsiteY222" fmla="*/ 1351598 h 4455794"/>
              <a:gd name="connsiteX223" fmla="*/ 2128838 w 4601527"/>
              <a:gd name="connsiteY223" fmla="*/ 1422083 h 4455794"/>
              <a:gd name="connsiteX224" fmla="*/ 2242185 w 4601527"/>
              <a:gd name="connsiteY224" fmla="*/ 1568768 h 4455794"/>
              <a:gd name="connsiteX225" fmla="*/ 2473643 w 4601527"/>
              <a:gd name="connsiteY225" fmla="*/ 1868805 h 4455794"/>
              <a:gd name="connsiteX226" fmla="*/ 2551748 w 4601527"/>
              <a:gd name="connsiteY226" fmla="*/ 2039303 h 4455794"/>
              <a:gd name="connsiteX227" fmla="*/ 2576513 w 4601527"/>
              <a:gd name="connsiteY227" fmla="*/ 2225993 h 4455794"/>
              <a:gd name="connsiteX228" fmla="*/ 2542223 w 4601527"/>
              <a:gd name="connsiteY228" fmla="*/ 2411730 h 4455794"/>
              <a:gd name="connsiteX229" fmla="*/ 2525078 w 4601527"/>
              <a:gd name="connsiteY229" fmla="*/ 2455545 h 4455794"/>
              <a:gd name="connsiteX230" fmla="*/ 2505075 w 4601527"/>
              <a:gd name="connsiteY230" fmla="*/ 2499360 h 4455794"/>
              <a:gd name="connsiteX231" fmla="*/ 2458403 w 4601527"/>
              <a:gd name="connsiteY231" fmla="*/ 2586038 h 4455794"/>
              <a:gd name="connsiteX232" fmla="*/ 2360295 w 4601527"/>
              <a:gd name="connsiteY232" fmla="*/ 2762250 h 4455794"/>
              <a:gd name="connsiteX233" fmla="*/ 2318385 w 4601527"/>
              <a:gd name="connsiteY233" fmla="*/ 2855595 h 4455794"/>
              <a:gd name="connsiteX234" fmla="*/ 2309813 w 4601527"/>
              <a:gd name="connsiteY234" fmla="*/ 2879408 h 4455794"/>
              <a:gd name="connsiteX235" fmla="*/ 2301240 w 4601527"/>
              <a:gd name="connsiteY235" fmla="*/ 2904173 h 4455794"/>
              <a:gd name="connsiteX236" fmla="*/ 2287905 w 4601527"/>
              <a:gd name="connsiteY236" fmla="*/ 2952750 h 4455794"/>
              <a:gd name="connsiteX237" fmla="*/ 2279333 w 4601527"/>
              <a:gd name="connsiteY237" fmla="*/ 2992755 h 4455794"/>
              <a:gd name="connsiteX238" fmla="*/ 2238375 w 4601527"/>
              <a:gd name="connsiteY238" fmla="*/ 2917508 h 4455794"/>
              <a:gd name="connsiteX239" fmla="*/ 2184083 w 4601527"/>
              <a:gd name="connsiteY239" fmla="*/ 2847023 h 4455794"/>
              <a:gd name="connsiteX240" fmla="*/ 2119313 w 4601527"/>
              <a:gd name="connsiteY240" fmla="*/ 2785110 h 4455794"/>
              <a:gd name="connsiteX241" fmla="*/ 2046923 w 4601527"/>
              <a:gd name="connsiteY241" fmla="*/ 2731770 h 4455794"/>
              <a:gd name="connsiteX242" fmla="*/ 1886903 w 4601527"/>
              <a:gd name="connsiteY242" fmla="*/ 2650808 h 4455794"/>
              <a:gd name="connsiteX243" fmla="*/ 1754505 w 4601527"/>
              <a:gd name="connsiteY243" fmla="*/ 2606040 h 4455794"/>
              <a:gd name="connsiteX244" fmla="*/ 1728788 w 4601527"/>
              <a:gd name="connsiteY244" fmla="*/ 2535555 h 4455794"/>
              <a:gd name="connsiteX245" fmla="*/ 1732598 w 4601527"/>
              <a:gd name="connsiteY245" fmla="*/ 2426018 h 4455794"/>
              <a:gd name="connsiteX246" fmla="*/ 1769745 w 4601527"/>
              <a:gd name="connsiteY246" fmla="*/ 2325053 h 4455794"/>
              <a:gd name="connsiteX247" fmla="*/ 1877378 w 4601527"/>
              <a:gd name="connsiteY247" fmla="*/ 2169795 h 4455794"/>
              <a:gd name="connsiteX248" fmla="*/ 1974533 w 4601527"/>
              <a:gd name="connsiteY248" fmla="*/ 2083118 h 4455794"/>
              <a:gd name="connsiteX249" fmla="*/ 2004060 w 4601527"/>
              <a:gd name="connsiteY249" fmla="*/ 2062163 h 4455794"/>
              <a:gd name="connsiteX250" fmla="*/ 2014538 w 4601527"/>
              <a:gd name="connsiteY250" fmla="*/ 2055495 h 4455794"/>
              <a:gd name="connsiteX251" fmla="*/ 2003108 w 4601527"/>
              <a:gd name="connsiteY251" fmla="*/ 2059305 h 4455794"/>
              <a:gd name="connsiteX252" fmla="*/ 1969770 w 4601527"/>
              <a:gd name="connsiteY252" fmla="*/ 2072640 h 4455794"/>
              <a:gd name="connsiteX253" fmla="*/ 1854518 w 4601527"/>
              <a:gd name="connsiteY253" fmla="*/ 2142173 h 4455794"/>
              <a:gd name="connsiteX254" fmla="*/ 1718310 w 4601527"/>
              <a:gd name="connsiteY254" fmla="*/ 2293620 h 4455794"/>
              <a:gd name="connsiteX255" fmla="*/ 1701165 w 4601527"/>
              <a:gd name="connsiteY255" fmla="*/ 2325053 h 4455794"/>
              <a:gd name="connsiteX256" fmla="*/ 1709738 w 4601527"/>
              <a:gd name="connsiteY256" fmla="*/ 2121218 h 4455794"/>
              <a:gd name="connsiteX257" fmla="*/ 1687830 w 4601527"/>
              <a:gd name="connsiteY257" fmla="*/ 1907858 h 4455794"/>
              <a:gd name="connsiteX258" fmla="*/ 1638300 w 4601527"/>
              <a:gd name="connsiteY258" fmla="*/ 1738313 h 4455794"/>
              <a:gd name="connsiteX259" fmla="*/ 1584008 w 4601527"/>
              <a:gd name="connsiteY259" fmla="*/ 1633538 h 4455794"/>
              <a:gd name="connsiteX260" fmla="*/ 1565910 w 4601527"/>
              <a:gd name="connsiteY260" fmla="*/ 1606868 h 4455794"/>
              <a:gd name="connsiteX261" fmla="*/ 1559243 w 4601527"/>
              <a:gd name="connsiteY261" fmla="*/ 1598295 h 4455794"/>
              <a:gd name="connsiteX262" fmla="*/ 1563053 w 4601527"/>
              <a:gd name="connsiteY262" fmla="*/ 1608773 h 4455794"/>
              <a:gd name="connsiteX263" fmla="*/ 1573530 w 4601527"/>
              <a:gd name="connsiteY263" fmla="*/ 1638300 h 4455794"/>
              <a:gd name="connsiteX264" fmla="*/ 1604010 w 4601527"/>
              <a:gd name="connsiteY264" fmla="*/ 1748790 h 4455794"/>
              <a:gd name="connsiteX265" fmla="*/ 1628775 w 4601527"/>
              <a:gd name="connsiteY265" fmla="*/ 1915478 h 4455794"/>
              <a:gd name="connsiteX266" fmla="*/ 1639253 w 4601527"/>
              <a:gd name="connsiteY266" fmla="*/ 2122170 h 4455794"/>
              <a:gd name="connsiteX267" fmla="*/ 1641158 w 4601527"/>
              <a:gd name="connsiteY267" fmla="*/ 2330768 h 4455794"/>
              <a:gd name="connsiteX268" fmla="*/ 1639253 w 4601527"/>
              <a:gd name="connsiteY268" fmla="*/ 2440305 h 4455794"/>
              <a:gd name="connsiteX269" fmla="*/ 1639253 w 4601527"/>
              <a:gd name="connsiteY269" fmla="*/ 2441258 h 4455794"/>
              <a:gd name="connsiteX270" fmla="*/ 1622108 w 4601527"/>
              <a:gd name="connsiteY270" fmla="*/ 2482215 h 4455794"/>
              <a:gd name="connsiteX271" fmla="*/ 1617345 w 4601527"/>
              <a:gd name="connsiteY271" fmla="*/ 2535555 h 4455794"/>
              <a:gd name="connsiteX272" fmla="*/ 1624965 w 4601527"/>
              <a:gd name="connsiteY272" fmla="*/ 2568893 h 4455794"/>
              <a:gd name="connsiteX273" fmla="*/ 1566863 w 4601527"/>
              <a:gd name="connsiteY273" fmla="*/ 2554605 h 4455794"/>
              <a:gd name="connsiteX274" fmla="*/ 1274445 w 4601527"/>
              <a:gd name="connsiteY274" fmla="*/ 2478405 h 4455794"/>
              <a:gd name="connsiteX275" fmla="*/ 1141095 w 4601527"/>
              <a:gd name="connsiteY275" fmla="*/ 2436495 h 4455794"/>
              <a:gd name="connsiteX276" fmla="*/ 1078230 w 4601527"/>
              <a:gd name="connsiteY276" fmla="*/ 2414588 h 4455794"/>
              <a:gd name="connsiteX277" fmla="*/ 1018223 w 4601527"/>
              <a:gd name="connsiteY277" fmla="*/ 2390775 h 4455794"/>
              <a:gd name="connsiteX278" fmla="*/ 906780 w 4601527"/>
              <a:gd name="connsiteY278" fmla="*/ 2340293 h 4455794"/>
              <a:gd name="connsiteX279" fmla="*/ 809625 w 4601527"/>
              <a:gd name="connsiteY279" fmla="*/ 2286000 h 4455794"/>
              <a:gd name="connsiteX280" fmla="*/ 726758 w 4601527"/>
              <a:gd name="connsiteY280" fmla="*/ 2226945 h 4455794"/>
              <a:gd name="connsiteX281" fmla="*/ 659130 w 4601527"/>
              <a:gd name="connsiteY281" fmla="*/ 2165985 h 4455794"/>
              <a:gd name="connsiteX282" fmla="*/ 571500 w 4601527"/>
              <a:gd name="connsiteY282" fmla="*/ 2049780 h 4455794"/>
              <a:gd name="connsiteX283" fmla="*/ 563880 w 4601527"/>
              <a:gd name="connsiteY283" fmla="*/ 2036445 h 4455794"/>
              <a:gd name="connsiteX284" fmla="*/ 558165 w 4601527"/>
              <a:gd name="connsiteY284" fmla="*/ 2024063 h 4455794"/>
              <a:gd name="connsiteX285" fmla="*/ 547688 w 4601527"/>
              <a:gd name="connsiteY285" fmla="*/ 2001203 h 4455794"/>
              <a:gd name="connsiteX286" fmla="*/ 534353 w 4601527"/>
              <a:gd name="connsiteY286" fmla="*/ 1964055 h 4455794"/>
              <a:gd name="connsiteX287" fmla="*/ 525780 w 4601527"/>
              <a:gd name="connsiteY287" fmla="*/ 1931670 h 4455794"/>
              <a:gd name="connsiteX288" fmla="*/ 528638 w 4601527"/>
              <a:gd name="connsiteY288" fmla="*/ 1965008 h 4455794"/>
              <a:gd name="connsiteX289" fmla="*/ 536258 w 4601527"/>
              <a:gd name="connsiteY289" fmla="*/ 2005013 h 4455794"/>
              <a:gd name="connsiteX290" fmla="*/ 542925 w 4601527"/>
              <a:gd name="connsiteY290" fmla="*/ 2030730 h 4455794"/>
              <a:gd name="connsiteX291" fmla="*/ 546735 w 4601527"/>
              <a:gd name="connsiteY291" fmla="*/ 2045018 h 4455794"/>
              <a:gd name="connsiteX292" fmla="*/ 552450 w 4601527"/>
              <a:gd name="connsiteY292" fmla="*/ 2059305 h 4455794"/>
              <a:gd name="connsiteX293" fmla="*/ 626745 w 4601527"/>
              <a:gd name="connsiteY293" fmla="*/ 2195513 h 4455794"/>
              <a:gd name="connsiteX294" fmla="*/ 689610 w 4601527"/>
              <a:gd name="connsiteY294" fmla="*/ 2269808 h 4455794"/>
              <a:gd name="connsiteX295" fmla="*/ 769620 w 4601527"/>
              <a:gd name="connsiteY295" fmla="*/ 2343150 h 4455794"/>
              <a:gd name="connsiteX296" fmla="*/ 866775 w 4601527"/>
              <a:gd name="connsiteY296" fmla="*/ 2413635 h 4455794"/>
              <a:gd name="connsiteX297" fmla="*/ 978218 w 4601527"/>
              <a:gd name="connsiteY297" fmla="*/ 2478405 h 4455794"/>
              <a:gd name="connsiteX298" fmla="*/ 1039178 w 4601527"/>
              <a:gd name="connsiteY298" fmla="*/ 2508885 h 4455794"/>
              <a:gd name="connsiteX299" fmla="*/ 1102995 w 4601527"/>
              <a:gd name="connsiteY299" fmla="*/ 2537460 h 4455794"/>
              <a:gd name="connsiteX300" fmla="*/ 1238250 w 4601527"/>
              <a:gd name="connsiteY300" fmla="*/ 2590800 h 4455794"/>
              <a:gd name="connsiteX301" fmla="*/ 1298258 w 4601527"/>
              <a:gd name="connsiteY301" fmla="*/ 2611755 h 4455794"/>
              <a:gd name="connsiteX302" fmla="*/ 1173480 w 4601527"/>
              <a:gd name="connsiteY302" fmla="*/ 2620328 h 4455794"/>
              <a:gd name="connsiteX303" fmla="*/ 971550 w 4601527"/>
              <a:gd name="connsiteY303" fmla="*/ 2660333 h 4455794"/>
              <a:gd name="connsiteX304" fmla="*/ 774383 w 4601527"/>
              <a:gd name="connsiteY304" fmla="*/ 2687003 h 4455794"/>
              <a:gd name="connsiteX305" fmla="*/ 588645 w 4601527"/>
              <a:gd name="connsiteY305" fmla="*/ 2687003 h 4455794"/>
              <a:gd name="connsiteX306" fmla="*/ 276225 w 4601527"/>
              <a:gd name="connsiteY306" fmla="*/ 2634615 h 4455794"/>
              <a:gd name="connsiteX307" fmla="*/ 159068 w 4601527"/>
              <a:gd name="connsiteY307" fmla="*/ 2597468 h 4455794"/>
              <a:gd name="connsiteX308" fmla="*/ 111443 w 4601527"/>
              <a:gd name="connsiteY308" fmla="*/ 2579370 h 4455794"/>
              <a:gd name="connsiteX309" fmla="*/ 72390 w 4601527"/>
              <a:gd name="connsiteY309" fmla="*/ 2562225 h 4455794"/>
              <a:gd name="connsiteX310" fmla="*/ 55245 w 4601527"/>
              <a:gd name="connsiteY310" fmla="*/ 2555558 h 4455794"/>
              <a:gd name="connsiteX311" fmla="*/ 40958 w 4601527"/>
              <a:gd name="connsiteY311" fmla="*/ 2548890 h 4455794"/>
              <a:gd name="connsiteX312" fmla="*/ 18098 w 4601527"/>
              <a:gd name="connsiteY312" fmla="*/ 2538413 h 4455794"/>
              <a:gd name="connsiteX313" fmla="*/ 0 w 4601527"/>
              <a:gd name="connsiteY313" fmla="*/ 2529840 h 4455794"/>
              <a:gd name="connsiteX314" fmla="*/ 17145 w 4601527"/>
              <a:gd name="connsiteY314" fmla="*/ 2541270 h 4455794"/>
              <a:gd name="connsiteX315" fmla="*/ 38100 w 4601527"/>
              <a:gd name="connsiteY315" fmla="*/ 2555558 h 4455794"/>
              <a:gd name="connsiteX316" fmla="*/ 51435 w 4601527"/>
              <a:gd name="connsiteY316" fmla="*/ 2564130 h 4455794"/>
              <a:gd name="connsiteX317" fmla="*/ 66675 w 4601527"/>
              <a:gd name="connsiteY317" fmla="*/ 2573655 h 4455794"/>
              <a:gd name="connsiteX318" fmla="*/ 103823 w 4601527"/>
              <a:gd name="connsiteY318" fmla="*/ 2595563 h 4455794"/>
              <a:gd name="connsiteX319" fmla="*/ 149543 w 4601527"/>
              <a:gd name="connsiteY319" fmla="*/ 2619375 h 4455794"/>
              <a:gd name="connsiteX320" fmla="*/ 263843 w 4601527"/>
              <a:gd name="connsiteY320" fmla="*/ 2669858 h 4455794"/>
              <a:gd name="connsiteX321" fmla="*/ 581978 w 4601527"/>
              <a:gd name="connsiteY321" fmla="*/ 2747963 h 4455794"/>
              <a:gd name="connsiteX322" fmla="*/ 776288 w 4601527"/>
              <a:gd name="connsiteY322" fmla="*/ 2755583 h 4455794"/>
              <a:gd name="connsiteX323" fmla="*/ 983933 w 4601527"/>
              <a:gd name="connsiteY323" fmla="*/ 2730818 h 4455794"/>
              <a:gd name="connsiteX324" fmla="*/ 1182053 w 4601527"/>
              <a:gd name="connsiteY324" fmla="*/ 2687955 h 4455794"/>
              <a:gd name="connsiteX325" fmla="*/ 1365885 w 4601527"/>
              <a:gd name="connsiteY325" fmla="*/ 2674620 h 4455794"/>
              <a:gd name="connsiteX326" fmla="*/ 1534478 w 4601527"/>
              <a:gd name="connsiteY326" fmla="*/ 2687003 h 4455794"/>
              <a:gd name="connsiteX327" fmla="*/ 1550670 w 4601527"/>
              <a:gd name="connsiteY327" fmla="*/ 2689860 h 4455794"/>
              <a:gd name="connsiteX328" fmla="*/ 1837373 w 4601527"/>
              <a:gd name="connsiteY328" fmla="*/ 2779395 h 4455794"/>
              <a:gd name="connsiteX329" fmla="*/ 1974533 w 4601527"/>
              <a:gd name="connsiteY329" fmla="*/ 2847023 h 4455794"/>
              <a:gd name="connsiteX330" fmla="*/ 2034540 w 4601527"/>
              <a:gd name="connsiteY330" fmla="*/ 2888933 h 4455794"/>
              <a:gd name="connsiteX331" fmla="*/ 2087880 w 4601527"/>
              <a:gd name="connsiteY331" fmla="*/ 2936558 h 4455794"/>
              <a:gd name="connsiteX332" fmla="*/ 2132648 w 4601527"/>
              <a:gd name="connsiteY332" fmla="*/ 2988945 h 4455794"/>
              <a:gd name="connsiteX333" fmla="*/ 2166938 w 4601527"/>
              <a:gd name="connsiteY333" fmla="*/ 3045143 h 4455794"/>
              <a:gd name="connsiteX334" fmla="*/ 2190750 w 4601527"/>
              <a:gd name="connsiteY334" fmla="*/ 3105150 h 4455794"/>
              <a:gd name="connsiteX335" fmla="*/ 2205038 w 4601527"/>
              <a:gd name="connsiteY335" fmla="*/ 3168968 h 4455794"/>
              <a:gd name="connsiteX336" fmla="*/ 2213610 w 4601527"/>
              <a:gd name="connsiteY336" fmla="*/ 3301365 h 4455794"/>
              <a:gd name="connsiteX337" fmla="*/ 2209800 w 4601527"/>
              <a:gd name="connsiteY337" fmla="*/ 3433763 h 4455794"/>
              <a:gd name="connsiteX338" fmla="*/ 2204085 w 4601527"/>
              <a:gd name="connsiteY338" fmla="*/ 3593783 h 4455794"/>
              <a:gd name="connsiteX339" fmla="*/ 2183130 w 4601527"/>
              <a:gd name="connsiteY339" fmla="*/ 3585210 h 4455794"/>
              <a:gd name="connsiteX340" fmla="*/ 2138363 w 4601527"/>
              <a:gd name="connsiteY340" fmla="*/ 3569018 h 4455794"/>
              <a:gd name="connsiteX341" fmla="*/ 2092643 w 4601527"/>
              <a:gd name="connsiteY341" fmla="*/ 3553778 h 4455794"/>
              <a:gd name="connsiteX342" fmla="*/ 1994535 w 4601527"/>
              <a:gd name="connsiteY342" fmla="*/ 3526155 h 4455794"/>
              <a:gd name="connsiteX343" fmla="*/ 1884998 w 4601527"/>
              <a:gd name="connsiteY343" fmla="*/ 3509963 h 4455794"/>
              <a:gd name="connsiteX344" fmla="*/ 1826895 w 4601527"/>
              <a:gd name="connsiteY344" fmla="*/ 3509963 h 4455794"/>
              <a:gd name="connsiteX345" fmla="*/ 1769745 w 4601527"/>
              <a:gd name="connsiteY345" fmla="*/ 3516630 h 4455794"/>
              <a:gd name="connsiteX346" fmla="*/ 1662113 w 4601527"/>
              <a:gd name="connsiteY346" fmla="*/ 3535680 h 4455794"/>
              <a:gd name="connsiteX347" fmla="*/ 1564005 w 4601527"/>
              <a:gd name="connsiteY347" fmla="*/ 3541395 h 4455794"/>
              <a:gd name="connsiteX348" fmla="*/ 1470660 w 4601527"/>
              <a:gd name="connsiteY348" fmla="*/ 3526155 h 4455794"/>
              <a:gd name="connsiteX349" fmla="*/ 1385888 w 4601527"/>
              <a:gd name="connsiteY349" fmla="*/ 3492818 h 4455794"/>
              <a:gd name="connsiteX350" fmla="*/ 1309688 w 4601527"/>
              <a:gd name="connsiteY350" fmla="*/ 3443288 h 4455794"/>
              <a:gd name="connsiteX351" fmla="*/ 1236345 w 4601527"/>
              <a:gd name="connsiteY351" fmla="*/ 3386138 h 4455794"/>
              <a:gd name="connsiteX352" fmla="*/ 1199198 w 4601527"/>
              <a:gd name="connsiteY352" fmla="*/ 3358515 h 4455794"/>
              <a:gd name="connsiteX353" fmla="*/ 1161098 w 4601527"/>
              <a:gd name="connsiteY353" fmla="*/ 3333750 h 4455794"/>
              <a:gd name="connsiteX354" fmla="*/ 1011555 w 4601527"/>
              <a:gd name="connsiteY354" fmla="*/ 3264218 h 4455794"/>
              <a:gd name="connsiteX355" fmla="*/ 880110 w 4601527"/>
              <a:gd name="connsiteY355" fmla="*/ 3232785 h 4455794"/>
              <a:gd name="connsiteX356" fmla="*/ 825818 w 4601527"/>
              <a:gd name="connsiteY356" fmla="*/ 3227070 h 4455794"/>
              <a:gd name="connsiteX357" fmla="*/ 780098 w 4601527"/>
              <a:gd name="connsiteY357" fmla="*/ 3226118 h 4455794"/>
              <a:gd name="connsiteX358" fmla="*/ 761048 w 4601527"/>
              <a:gd name="connsiteY358" fmla="*/ 3226118 h 4455794"/>
              <a:gd name="connsiteX359" fmla="*/ 743903 w 4601527"/>
              <a:gd name="connsiteY359" fmla="*/ 3227070 h 4455794"/>
              <a:gd name="connsiteX360" fmla="*/ 717233 w 4601527"/>
              <a:gd name="connsiteY360" fmla="*/ 3228975 h 4455794"/>
              <a:gd name="connsiteX361" fmla="*/ 695325 w 4601527"/>
              <a:gd name="connsiteY361" fmla="*/ 3230880 h 4455794"/>
              <a:gd name="connsiteX362" fmla="*/ 717233 w 4601527"/>
              <a:gd name="connsiteY362" fmla="*/ 3232785 h 4455794"/>
              <a:gd name="connsiteX363" fmla="*/ 742950 w 4601527"/>
              <a:gd name="connsiteY363" fmla="*/ 3235643 h 4455794"/>
              <a:gd name="connsiteX364" fmla="*/ 759143 w 4601527"/>
              <a:gd name="connsiteY364" fmla="*/ 3237548 h 4455794"/>
              <a:gd name="connsiteX365" fmla="*/ 778193 w 4601527"/>
              <a:gd name="connsiteY365" fmla="*/ 3241358 h 4455794"/>
              <a:gd name="connsiteX366" fmla="*/ 822008 w 4601527"/>
              <a:gd name="connsiteY366" fmla="*/ 3250883 h 4455794"/>
              <a:gd name="connsiteX367" fmla="*/ 872490 w 4601527"/>
              <a:gd name="connsiteY367" fmla="*/ 3265170 h 4455794"/>
              <a:gd name="connsiteX368" fmla="*/ 990600 w 4601527"/>
              <a:gd name="connsiteY368" fmla="*/ 3312795 h 4455794"/>
              <a:gd name="connsiteX369" fmla="*/ 1119188 w 4601527"/>
              <a:gd name="connsiteY369" fmla="*/ 3393758 h 4455794"/>
              <a:gd name="connsiteX370" fmla="*/ 1183005 w 4601527"/>
              <a:gd name="connsiteY370" fmla="*/ 3449003 h 4455794"/>
              <a:gd name="connsiteX371" fmla="*/ 1252538 w 4601527"/>
              <a:gd name="connsiteY371" fmla="*/ 3513773 h 4455794"/>
              <a:gd name="connsiteX372" fmla="*/ 1337310 w 4601527"/>
              <a:gd name="connsiteY372" fmla="*/ 3577590 h 4455794"/>
              <a:gd name="connsiteX373" fmla="*/ 1441133 w 4601527"/>
              <a:gd name="connsiteY373" fmla="*/ 3624263 h 4455794"/>
              <a:gd name="connsiteX374" fmla="*/ 1557338 w 4601527"/>
              <a:gd name="connsiteY374" fmla="*/ 3646170 h 4455794"/>
              <a:gd name="connsiteX375" fmla="*/ 1677353 w 4601527"/>
              <a:gd name="connsiteY375" fmla="*/ 3640455 h 4455794"/>
              <a:gd name="connsiteX376" fmla="*/ 1784985 w 4601527"/>
              <a:gd name="connsiteY376" fmla="*/ 3620453 h 4455794"/>
              <a:gd name="connsiteX377" fmla="*/ 2187893 w 4601527"/>
              <a:gd name="connsiteY377" fmla="*/ 3732848 h 4455794"/>
              <a:gd name="connsiteX378" fmla="*/ 2179320 w 4601527"/>
              <a:gd name="connsiteY378" fmla="*/ 4099560 h 4455794"/>
              <a:gd name="connsiteX379" fmla="*/ 2156460 w 4601527"/>
              <a:gd name="connsiteY379" fmla="*/ 4232910 h 4455794"/>
              <a:gd name="connsiteX380" fmla="*/ 2107883 w 4601527"/>
              <a:gd name="connsiteY380" fmla="*/ 4342448 h 4455794"/>
              <a:gd name="connsiteX381" fmla="*/ 2041208 w 4601527"/>
              <a:gd name="connsiteY381" fmla="*/ 4426268 h 4455794"/>
              <a:gd name="connsiteX382" fmla="*/ 2011680 w 4601527"/>
              <a:gd name="connsiteY382" fmla="*/ 4455795 h 4455794"/>
              <a:gd name="connsiteX383" fmla="*/ 2564130 w 4601527"/>
              <a:gd name="connsiteY383" fmla="*/ 4455795 h 4455794"/>
              <a:gd name="connsiteX384" fmla="*/ 2511743 w 4601527"/>
              <a:gd name="connsiteY384" fmla="*/ 4330065 h 4455794"/>
              <a:gd name="connsiteX385" fmla="*/ 2488883 w 4601527"/>
              <a:gd name="connsiteY385" fmla="*/ 4210050 h 4455794"/>
              <a:gd name="connsiteX386" fmla="*/ 2479358 w 4601527"/>
              <a:gd name="connsiteY386" fmla="*/ 4075748 h 4455794"/>
              <a:gd name="connsiteX387" fmla="*/ 2466023 w 4601527"/>
              <a:gd name="connsiteY387" fmla="*/ 3856673 h 4455794"/>
              <a:gd name="connsiteX388" fmla="*/ 2464118 w 4601527"/>
              <a:gd name="connsiteY388" fmla="*/ 3820478 h 4455794"/>
              <a:gd name="connsiteX389" fmla="*/ 2506980 w 4601527"/>
              <a:gd name="connsiteY389" fmla="*/ 3620453 h 4455794"/>
              <a:gd name="connsiteX390" fmla="*/ 2518410 w 4601527"/>
              <a:gd name="connsiteY390" fmla="*/ 3589020 h 4455794"/>
              <a:gd name="connsiteX391" fmla="*/ 2540318 w 4601527"/>
              <a:gd name="connsiteY391" fmla="*/ 3543300 h 4455794"/>
              <a:gd name="connsiteX392" fmla="*/ 2545080 w 4601527"/>
              <a:gd name="connsiteY392" fmla="*/ 3532823 h 4455794"/>
              <a:gd name="connsiteX393" fmla="*/ 2563178 w 4601527"/>
              <a:gd name="connsiteY393" fmla="*/ 3501390 h 4455794"/>
              <a:gd name="connsiteX394" fmla="*/ 2607945 w 4601527"/>
              <a:gd name="connsiteY394" fmla="*/ 3441383 h 4455794"/>
              <a:gd name="connsiteX395" fmla="*/ 2608898 w 4601527"/>
              <a:gd name="connsiteY395" fmla="*/ 3441383 h 4455794"/>
              <a:gd name="connsiteX396" fmla="*/ 2669858 w 4601527"/>
              <a:gd name="connsiteY396" fmla="*/ 3406140 h 4455794"/>
              <a:gd name="connsiteX397" fmla="*/ 2743200 w 4601527"/>
              <a:gd name="connsiteY397" fmla="*/ 3372803 h 4455794"/>
              <a:gd name="connsiteX398" fmla="*/ 2899410 w 4601527"/>
              <a:gd name="connsiteY398" fmla="*/ 3319463 h 4455794"/>
              <a:gd name="connsiteX399" fmla="*/ 2981325 w 4601527"/>
              <a:gd name="connsiteY399" fmla="*/ 3313748 h 4455794"/>
              <a:gd name="connsiteX400" fmla="*/ 3023235 w 4601527"/>
              <a:gd name="connsiteY400" fmla="*/ 3317558 h 4455794"/>
              <a:gd name="connsiteX401" fmla="*/ 3044190 w 4601527"/>
              <a:gd name="connsiteY401" fmla="*/ 3321368 h 4455794"/>
              <a:gd name="connsiteX402" fmla="*/ 3065145 w 4601527"/>
              <a:gd name="connsiteY402" fmla="*/ 3326130 h 4455794"/>
              <a:gd name="connsiteX403" fmla="*/ 3231833 w 4601527"/>
              <a:gd name="connsiteY403" fmla="*/ 3390900 h 4455794"/>
              <a:gd name="connsiteX404" fmla="*/ 3394710 w 4601527"/>
              <a:gd name="connsiteY404" fmla="*/ 3460433 h 4455794"/>
              <a:gd name="connsiteX405" fmla="*/ 3557588 w 4601527"/>
              <a:gd name="connsiteY405" fmla="*/ 3495675 h 4455794"/>
              <a:gd name="connsiteX406" fmla="*/ 3633788 w 4601527"/>
              <a:gd name="connsiteY406" fmla="*/ 3492818 h 4455794"/>
              <a:gd name="connsiteX407" fmla="*/ 3701415 w 4601527"/>
              <a:gd name="connsiteY407" fmla="*/ 3481388 h 4455794"/>
              <a:gd name="connsiteX408" fmla="*/ 3811905 w 4601527"/>
              <a:gd name="connsiteY408" fmla="*/ 3452813 h 4455794"/>
              <a:gd name="connsiteX409" fmla="*/ 3894773 w 4601527"/>
              <a:gd name="connsiteY409" fmla="*/ 3432810 h 4455794"/>
              <a:gd name="connsiteX410" fmla="*/ 3948113 w 4601527"/>
              <a:gd name="connsiteY410" fmla="*/ 3425190 h 4455794"/>
              <a:gd name="connsiteX411" fmla="*/ 3967163 w 4601527"/>
              <a:gd name="connsiteY411" fmla="*/ 3423285 h 4455794"/>
              <a:gd name="connsiteX412" fmla="*/ 3948113 w 4601527"/>
              <a:gd name="connsiteY412" fmla="*/ 3421380 h 4455794"/>
              <a:gd name="connsiteX413" fmla="*/ 3892868 w 4601527"/>
              <a:gd name="connsiteY413" fmla="*/ 3419475 h 4455794"/>
              <a:gd name="connsiteX414" fmla="*/ 3806190 w 4601527"/>
              <a:gd name="connsiteY414" fmla="*/ 3426143 h 4455794"/>
              <a:gd name="connsiteX415" fmla="*/ 3693795 w 4601527"/>
              <a:gd name="connsiteY415" fmla="*/ 3439478 h 4455794"/>
              <a:gd name="connsiteX416" fmla="*/ 3563303 w 4601527"/>
              <a:gd name="connsiteY416" fmla="*/ 3437573 h 4455794"/>
              <a:gd name="connsiteX417" fmla="*/ 3421380 w 4601527"/>
              <a:gd name="connsiteY417" fmla="*/ 3393758 h 4455794"/>
              <a:gd name="connsiteX418" fmla="*/ 3267075 w 4601527"/>
              <a:gd name="connsiteY418" fmla="*/ 3317558 h 4455794"/>
              <a:gd name="connsiteX419" fmla="*/ 3078480 w 4601527"/>
              <a:gd name="connsiteY419" fmla="*/ 3242310 h 4455794"/>
              <a:gd name="connsiteX420" fmla="*/ 3064193 w 4601527"/>
              <a:gd name="connsiteY420" fmla="*/ 3239453 h 4455794"/>
              <a:gd name="connsiteX421" fmla="*/ 3035618 w 4601527"/>
              <a:gd name="connsiteY421" fmla="*/ 3234690 h 4455794"/>
              <a:gd name="connsiteX422" fmla="*/ 2983230 w 4601527"/>
              <a:gd name="connsiteY422" fmla="*/ 3230880 h 4455794"/>
              <a:gd name="connsiteX423" fmla="*/ 2881313 w 4601527"/>
              <a:gd name="connsiteY423" fmla="*/ 3241358 h 4455794"/>
              <a:gd name="connsiteX424" fmla="*/ 2864168 w 4601527"/>
              <a:gd name="connsiteY424" fmla="*/ 3246120 h 4455794"/>
              <a:gd name="connsiteX425" fmla="*/ 2897505 w 4601527"/>
              <a:gd name="connsiteY425" fmla="*/ 3227070 h 4455794"/>
              <a:gd name="connsiteX426" fmla="*/ 2919413 w 4601527"/>
              <a:gd name="connsiteY426" fmla="*/ 3220403 h 4455794"/>
              <a:gd name="connsiteX427" fmla="*/ 3065145 w 4601527"/>
              <a:gd name="connsiteY427" fmla="*/ 3187065 h 4455794"/>
              <a:gd name="connsiteX428" fmla="*/ 3220403 w 4601527"/>
              <a:gd name="connsiteY428" fmla="*/ 3165158 h 4455794"/>
              <a:gd name="connsiteX429" fmla="*/ 3533775 w 4601527"/>
              <a:gd name="connsiteY429" fmla="*/ 3125153 h 4455794"/>
              <a:gd name="connsiteX430" fmla="*/ 3683318 w 4601527"/>
              <a:gd name="connsiteY430" fmla="*/ 3089910 h 4455794"/>
              <a:gd name="connsiteX431" fmla="*/ 3821430 w 4601527"/>
              <a:gd name="connsiteY431" fmla="*/ 3038475 h 4455794"/>
              <a:gd name="connsiteX432" fmla="*/ 3946208 w 4601527"/>
              <a:gd name="connsiteY432" fmla="*/ 2975610 h 4455794"/>
              <a:gd name="connsiteX433" fmla="*/ 4003358 w 4601527"/>
              <a:gd name="connsiteY433" fmla="*/ 2942273 h 4455794"/>
              <a:gd name="connsiteX434" fmla="*/ 4057650 w 4601527"/>
              <a:gd name="connsiteY434" fmla="*/ 2907983 h 4455794"/>
              <a:gd name="connsiteX435" fmla="*/ 4246245 w 4601527"/>
              <a:gd name="connsiteY435" fmla="*/ 2771775 h 4455794"/>
              <a:gd name="connsiteX436" fmla="*/ 4507230 w 4601527"/>
              <a:gd name="connsiteY436" fmla="*/ 2563178 h 4455794"/>
              <a:gd name="connsiteX437" fmla="*/ 4601528 w 4601527"/>
              <a:gd name="connsiteY437" fmla="*/ 2485073 h 4455794"/>
              <a:gd name="connsiteX438" fmla="*/ 4496753 w 4601527"/>
              <a:gd name="connsiteY438" fmla="*/ 2555558 h 44557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Lst>
            <a:rect l="l" t="t" r="r" b="b"/>
            <a:pathLst>
              <a:path w="4601527" h="4455794">
                <a:moveTo>
                  <a:pt x="4496753" y="2555558"/>
                </a:moveTo>
                <a:cubicBezTo>
                  <a:pt x="4431030" y="2598420"/>
                  <a:pt x="4335780" y="2662238"/>
                  <a:pt x="4218623" y="2740343"/>
                </a:cubicBezTo>
                <a:cubicBezTo>
                  <a:pt x="4159568" y="2779395"/>
                  <a:pt x="4095750" y="2820353"/>
                  <a:pt x="4024313" y="2861310"/>
                </a:cubicBezTo>
                <a:cubicBezTo>
                  <a:pt x="4007168" y="2871788"/>
                  <a:pt x="3988118" y="2881313"/>
                  <a:pt x="3970020" y="2891790"/>
                </a:cubicBezTo>
                <a:cubicBezTo>
                  <a:pt x="3950970" y="2901315"/>
                  <a:pt x="3932873" y="2911793"/>
                  <a:pt x="3912870" y="2921318"/>
                </a:cubicBezTo>
                <a:cubicBezTo>
                  <a:pt x="3873818" y="2940368"/>
                  <a:pt x="3833813" y="2958465"/>
                  <a:pt x="3791903" y="2975610"/>
                </a:cubicBezTo>
                <a:cubicBezTo>
                  <a:pt x="3749993" y="2992755"/>
                  <a:pt x="3706178" y="3006090"/>
                  <a:pt x="3660458" y="3018473"/>
                </a:cubicBezTo>
                <a:cubicBezTo>
                  <a:pt x="3614738" y="3030855"/>
                  <a:pt x="3567113" y="3039428"/>
                  <a:pt x="3518535" y="3047048"/>
                </a:cubicBezTo>
                <a:cubicBezTo>
                  <a:pt x="3420428" y="3062288"/>
                  <a:pt x="3316605" y="3070860"/>
                  <a:pt x="3208973" y="3083243"/>
                </a:cubicBezTo>
                <a:cubicBezTo>
                  <a:pt x="3155633" y="3089910"/>
                  <a:pt x="3101340" y="3096578"/>
                  <a:pt x="3048953" y="3106103"/>
                </a:cubicBezTo>
                <a:cubicBezTo>
                  <a:pt x="2996565" y="3115628"/>
                  <a:pt x="2944178" y="3128010"/>
                  <a:pt x="2894648" y="3144203"/>
                </a:cubicBezTo>
                <a:cubicBezTo>
                  <a:pt x="2794635" y="3175635"/>
                  <a:pt x="2700338" y="3221355"/>
                  <a:pt x="2624138" y="3284220"/>
                </a:cubicBezTo>
                <a:cubicBezTo>
                  <a:pt x="2547938" y="3347085"/>
                  <a:pt x="2491740" y="3424238"/>
                  <a:pt x="2453640" y="3501390"/>
                </a:cubicBezTo>
                <a:cubicBezTo>
                  <a:pt x="2453640" y="3502343"/>
                  <a:pt x="2452688" y="3503295"/>
                  <a:pt x="2452688" y="3503295"/>
                </a:cubicBezTo>
                <a:cubicBezTo>
                  <a:pt x="2452688" y="3473768"/>
                  <a:pt x="2451735" y="3443288"/>
                  <a:pt x="2452688" y="3414713"/>
                </a:cubicBezTo>
                <a:cubicBezTo>
                  <a:pt x="2454593" y="3369945"/>
                  <a:pt x="2457450" y="3324225"/>
                  <a:pt x="2461260" y="3278505"/>
                </a:cubicBezTo>
                <a:cubicBezTo>
                  <a:pt x="2466023" y="3230880"/>
                  <a:pt x="2469833" y="3183255"/>
                  <a:pt x="2477453" y="3133725"/>
                </a:cubicBezTo>
                <a:cubicBezTo>
                  <a:pt x="2480310" y="3108960"/>
                  <a:pt x="2485073" y="3085148"/>
                  <a:pt x="2488883" y="3060383"/>
                </a:cubicBezTo>
                <a:cubicBezTo>
                  <a:pt x="2490788" y="3048000"/>
                  <a:pt x="2493645" y="3035618"/>
                  <a:pt x="2495550" y="3023235"/>
                </a:cubicBezTo>
                <a:cubicBezTo>
                  <a:pt x="2497455" y="3010853"/>
                  <a:pt x="2500313" y="2998470"/>
                  <a:pt x="2503170" y="2986088"/>
                </a:cubicBezTo>
                <a:cubicBezTo>
                  <a:pt x="2506028" y="2973705"/>
                  <a:pt x="2508885" y="2961323"/>
                  <a:pt x="2511743" y="2948940"/>
                </a:cubicBezTo>
                <a:cubicBezTo>
                  <a:pt x="2514600" y="2936558"/>
                  <a:pt x="2518410" y="2924175"/>
                  <a:pt x="2521268" y="2911793"/>
                </a:cubicBezTo>
                <a:cubicBezTo>
                  <a:pt x="2526983" y="2887028"/>
                  <a:pt x="2535555" y="2862263"/>
                  <a:pt x="2542223" y="2837498"/>
                </a:cubicBezTo>
                <a:cubicBezTo>
                  <a:pt x="2546033" y="2825115"/>
                  <a:pt x="2550795" y="2812733"/>
                  <a:pt x="2554605" y="2800350"/>
                </a:cubicBezTo>
                <a:lnTo>
                  <a:pt x="2561273" y="2782253"/>
                </a:lnTo>
                <a:lnTo>
                  <a:pt x="2567940" y="2764155"/>
                </a:lnTo>
                <a:cubicBezTo>
                  <a:pt x="2572703" y="2751773"/>
                  <a:pt x="2577465" y="2739390"/>
                  <a:pt x="2582228" y="2727960"/>
                </a:cubicBezTo>
                <a:cubicBezTo>
                  <a:pt x="2586990" y="2715578"/>
                  <a:pt x="2592705" y="2704148"/>
                  <a:pt x="2597468" y="2691765"/>
                </a:cubicBezTo>
                <a:cubicBezTo>
                  <a:pt x="2602230" y="2679383"/>
                  <a:pt x="2608898" y="2667953"/>
                  <a:pt x="2614613" y="2656523"/>
                </a:cubicBezTo>
                <a:cubicBezTo>
                  <a:pt x="2620328" y="2645093"/>
                  <a:pt x="2626043" y="2632710"/>
                  <a:pt x="2631758" y="2621280"/>
                </a:cubicBezTo>
                <a:cubicBezTo>
                  <a:pt x="2637473" y="2609850"/>
                  <a:pt x="2644140" y="2598420"/>
                  <a:pt x="2649855" y="2586990"/>
                </a:cubicBezTo>
                <a:cubicBezTo>
                  <a:pt x="2656523" y="2576513"/>
                  <a:pt x="2663190" y="2565083"/>
                  <a:pt x="2669858" y="2554605"/>
                </a:cubicBezTo>
                <a:cubicBezTo>
                  <a:pt x="2673668" y="2548890"/>
                  <a:pt x="2676525" y="2543175"/>
                  <a:pt x="2679383" y="2538413"/>
                </a:cubicBezTo>
                <a:lnTo>
                  <a:pt x="2689860" y="2523173"/>
                </a:lnTo>
                <a:cubicBezTo>
                  <a:pt x="2697480" y="2512695"/>
                  <a:pt x="2704148" y="2502218"/>
                  <a:pt x="2710815" y="2492693"/>
                </a:cubicBezTo>
                <a:cubicBezTo>
                  <a:pt x="2726055" y="2472690"/>
                  <a:pt x="2740343" y="2452688"/>
                  <a:pt x="2756535" y="2435543"/>
                </a:cubicBezTo>
                <a:cubicBezTo>
                  <a:pt x="2820353" y="2361248"/>
                  <a:pt x="2893695" y="2302193"/>
                  <a:pt x="2971800" y="2259330"/>
                </a:cubicBezTo>
                <a:cubicBezTo>
                  <a:pt x="3032760" y="2225040"/>
                  <a:pt x="3096578" y="2200275"/>
                  <a:pt x="3159443" y="2184083"/>
                </a:cubicBezTo>
                <a:cubicBezTo>
                  <a:pt x="3183255" y="2192655"/>
                  <a:pt x="3208020" y="2205990"/>
                  <a:pt x="3231833" y="2222183"/>
                </a:cubicBezTo>
                <a:cubicBezTo>
                  <a:pt x="3266123" y="2244090"/>
                  <a:pt x="3300413" y="2271713"/>
                  <a:pt x="3340418" y="2297430"/>
                </a:cubicBezTo>
                <a:cubicBezTo>
                  <a:pt x="3380423" y="2323148"/>
                  <a:pt x="3422333" y="2343150"/>
                  <a:pt x="3464243" y="2359343"/>
                </a:cubicBezTo>
                <a:cubicBezTo>
                  <a:pt x="3506153" y="2375535"/>
                  <a:pt x="3548063" y="2386965"/>
                  <a:pt x="3588068" y="2394585"/>
                </a:cubicBezTo>
                <a:cubicBezTo>
                  <a:pt x="3598545" y="2396490"/>
                  <a:pt x="3608070" y="2398395"/>
                  <a:pt x="3617595" y="2399348"/>
                </a:cubicBezTo>
                <a:cubicBezTo>
                  <a:pt x="3627120" y="2400300"/>
                  <a:pt x="3637598" y="2401253"/>
                  <a:pt x="3647123" y="2403158"/>
                </a:cubicBezTo>
                <a:cubicBezTo>
                  <a:pt x="3656648" y="2404110"/>
                  <a:pt x="3666173" y="2405063"/>
                  <a:pt x="3675698" y="2405063"/>
                </a:cubicBezTo>
                <a:cubicBezTo>
                  <a:pt x="3685223" y="2406015"/>
                  <a:pt x="3693795" y="2406015"/>
                  <a:pt x="3703320" y="2406968"/>
                </a:cubicBezTo>
                <a:cubicBezTo>
                  <a:pt x="3739515" y="2406968"/>
                  <a:pt x="3772853" y="2406015"/>
                  <a:pt x="3803333" y="2402205"/>
                </a:cubicBezTo>
                <a:cubicBezTo>
                  <a:pt x="3818573" y="2400300"/>
                  <a:pt x="3832860" y="2398395"/>
                  <a:pt x="3846195" y="2395538"/>
                </a:cubicBezTo>
                <a:cubicBezTo>
                  <a:pt x="3859530" y="2392680"/>
                  <a:pt x="3871913" y="2390775"/>
                  <a:pt x="3884295" y="2387918"/>
                </a:cubicBezTo>
                <a:cubicBezTo>
                  <a:pt x="3895725" y="2385060"/>
                  <a:pt x="3907155" y="2382203"/>
                  <a:pt x="3916680" y="2379345"/>
                </a:cubicBezTo>
                <a:cubicBezTo>
                  <a:pt x="3926205" y="2376488"/>
                  <a:pt x="3935730" y="2373630"/>
                  <a:pt x="3943350" y="2370773"/>
                </a:cubicBezTo>
                <a:cubicBezTo>
                  <a:pt x="3950970" y="2367915"/>
                  <a:pt x="3958590" y="2366010"/>
                  <a:pt x="3964305" y="2363153"/>
                </a:cubicBezTo>
                <a:cubicBezTo>
                  <a:pt x="3970020" y="2361248"/>
                  <a:pt x="3975735" y="2358390"/>
                  <a:pt x="3979545" y="2357438"/>
                </a:cubicBezTo>
                <a:cubicBezTo>
                  <a:pt x="3987165" y="2354580"/>
                  <a:pt x="3990975" y="2352675"/>
                  <a:pt x="3991928" y="2352675"/>
                </a:cubicBezTo>
                <a:cubicBezTo>
                  <a:pt x="3990975" y="2352675"/>
                  <a:pt x="3986213" y="2353628"/>
                  <a:pt x="3978593" y="2354580"/>
                </a:cubicBezTo>
                <a:cubicBezTo>
                  <a:pt x="3973830" y="2355533"/>
                  <a:pt x="3969068" y="2356485"/>
                  <a:pt x="3962400" y="2357438"/>
                </a:cubicBezTo>
                <a:cubicBezTo>
                  <a:pt x="3955733" y="2358390"/>
                  <a:pt x="3949065" y="2359343"/>
                  <a:pt x="3940493" y="2360295"/>
                </a:cubicBezTo>
                <a:cubicBezTo>
                  <a:pt x="3908108" y="2365058"/>
                  <a:pt x="3859530" y="2368868"/>
                  <a:pt x="3801428" y="2366010"/>
                </a:cubicBezTo>
                <a:cubicBezTo>
                  <a:pt x="3771900" y="2365058"/>
                  <a:pt x="3740468" y="2362200"/>
                  <a:pt x="3707130" y="2357438"/>
                </a:cubicBezTo>
                <a:cubicBezTo>
                  <a:pt x="3698558" y="2356485"/>
                  <a:pt x="3689985" y="2354580"/>
                  <a:pt x="3681413" y="2352675"/>
                </a:cubicBezTo>
                <a:cubicBezTo>
                  <a:pt x="3672840" y="2351723"/>
                  <a:pt x="3664268" y="2349818"/>
                  <a:pt x="3655695" y="2347913"/>
                </a:cubicBezTo>
                <a:cubicBezTo>
                  <a:pt x="3647123" y="2346008"/>
                  <a:pt x="3637598" y="2344103"/>
                  <a:pt x="3629025" y="2342198"/>
                </a:cubicBezTo>
                <a:cubicBezTo>
                  <a:pt x="3620453" y="2340293"/>
                  <a:pt x="3610928" y="2337435"/>
                  <a:pt x="3602355" y="2334578"/>
                </a:cubicBezTo>
                <a:cubicBezTo>
                  <a:pt x="3566160" y="2324100"/>
                  <a:pt x="3528060" y="2311718"/>
                  <a:pt x="3490913" y="2294573"/>
                </a:cubicBezTo>
                <a:cubicBezTo>
                  <a:pt x="3453765" y="2278380"/>
                  <a:pt x="3415665" y="2258378"/>
                  <a:pt x="3379470" y="2235518"/>
                </a:cubicBezTo>
                <a:cubicBezTo>
                  <a:pt x="3342323" y="2211705"/>
                  <a:pt x="3306128" y="2185035"/>
                  <a:pt x="3267075" y="2162175"/>
                </a:cubicBezTo>
                <a:cubicBezTo>
                  <a:pt x="3267075" y="2162175"/>
                  <a:pt x="3267075" y="2162175"/>
                  <a:pt x="3267075" y="2162175"/>
                </a:cubicBezTo>
                <a:cubicBezTo>
                  <a:pt x="3328035" y="2154555"/>
                  <a:pt x="3389948" y="2151698"/>
                  <a:pt x="3448050" y="2142173"/>
                </a:cubicBezTo>
                <a:cubicBezTo>
                  <a:pt x="3486150" y="2135505"/>
                  <a:pt x="3522345" y="2125980"/>
                  <a:pt x="3554730" y="2113598"/>
                </a:cubicBezTo>
                <a:cubicBezTo>
                  <a:pt x="3562350" y="2110740"/>
                  <a:pt x="3569018" y="2107883"/>
                  <a:pt x="3575685" y="2105025"/>
                </a:cubicBezTo>
                <a:cubicBezTo>
                  <a:pt x="3576638" y="2105025"/>
                  <a:pt x="3576638" y="2105025"/>
                  <a:pt x="3577590" y="2105025"/>
                </a:cubicBezTo>
                <a:cubicBezTo>
                  <a:pt x="3652838" y="2084070"/>
                  <a:pt x="3729038" y="2044065"/>
                  <a:pt x="3800475" y="1992630"/>
                </a:cubicBezTo>
                <a:cubicBezTo>
                  <a:pt x="3836670" y="1966913"/>
                  <a:pt x="3869055" y="1940243"/>
                  <a:pt x="3900488" y="1914525"/>
                </a:cubicBezTo>
                <a:cubicBezTo>
                  <a:pt x="3931920" y="1887855"/>
                  <a:pt x="3960495" y="1862138"/>
                  <a:pt x="3988118" y="1837373"/>
                </a:cubicBezTo>
                <a:cubicBezTo>
                  <a:pt x="4043363" y="1786890"/>
                  <a:pt x="4090988" y="1738313"/>
                  <a:pt x="4127183" y="1693545"/>
                </a:cubicBezTo>
                <a:cubicBezTo>
                  <a:pt x="4163378" y="1648778"/>
                  <a:pt x="4188143" y="1609725"/>
                  <a:pt x="4203383" y="1582103"/>
                </a:cubicBezTo>
                <a:cubicBezTo>
                  <a:pt x="4207193" y="1575435"/>
                  <a:pt x="4210050" y="1568768"/>
                  <a:pt x="4212908" y="1563053"/>
                </a:cubicBezTo>
                <a:cubicBezTo>
                  <a:pt x="4215765" y="1557338"/>
                  <a:pt x="4217670" y="1552575"/>
                  <a:pt x="4219575" y="1548765"/>
                </a:cubicBezTo>
                <a:cubicBezTo>
                  <a:pt x="4222433" y="1542098"/>
                  <a:pt x="4224338" y="1538288"/>
                  <a:pt x="4224338" y="1537335"/>
                </a:cubicBezTo>
                <a:cubicBezTo>
                  <a:pt x="4223385" y="1538288"/>
                  <a:pt x="4221480" y="1541145"/>
                  <a:pt x="4216718" y="1546860"/>
                </a:cubicBezTo>
                <a:cubicBezTo>
                  <a:pt x="4213860" y="1549718"/>
                  <a:pt x="4211003" y="1554480"/>
                  <a:pt x="4207193" y="1559243"/>
                </a:cubicBezTo>
                <a:cubicBezTo>
                  <a:pt x="4203383" y="1564005"/>
                  <a:pt x="4198620" y="1568768"/>
                  <a:pt x="4193858" y="1575435"/>
                </a:cubicBezTo>
                <a:cubicBezTo>
                  <a:pt x="4173855" y="1599248"/>
                  <a:pt x="4142423" y="1632585"/>
                  <a:pt x="4101465" y="1668780"/>
                </a:cubicBezTo>
                <a:cubicBezTo>
                  <a:pt x="4060508" y="1705928"/>
                  <a:pt x="4008120" y="1745933"/>
                  <a:pt x="3950018" y="1790700"/>
                </a:cubicBezTo>
                <a:cubicBezTo>
                  <a:pt x="3890963" y="1835468"/>
                  <a:pt x="3827145" y="1885950"/>
                  <a:pt x="3759518" y="1934528"/>
                </a:cubicBezTo>
                <a:cubicBezTo>
                  <a:pt x="3691890" y="1983105"/>
                  <a:pt x="3624263" y="2023110"/>
                  <a:pt x="3558540" y="2047875"/>
                </a:cubicBezTo>
                <a:cubicBezTo>
                  <a:pt x="3541395" y="2054543"/>
                  <a:pt x="3524250" y="2060258"/>
                  <a:pt x="3507105" y="2065020"/>
                </a:cubicBezTo>
                <a:cubicBezTo>
                  <a:pt x="3485198" y="2068830"/>
                  <a:pt x="3463290" y="2071688"/>
                  <a:pt x="3439478" y="2072640"/>
                </a:cubicBezTo>
                <a:cubicBezTo>
                  <a:pt x="3405188" y="2074545"/>
                  <a:pt x="3368040" y="2073593"/>
                  <a:pt x="3327083" y="2072640"/>
                </a:cubicBezTo>
                <a:cubicBezTo>
                  <a:pt x="3287078" y="2071688"/>
                  <a:pt x="3243263" y="2071688"/>
                  <a:pt x="3197543" y="2075498"/>
                </a:cubicBezTo>
                <a:cubicBezTo>
                  <a:pt x="3170873" y="2078355"/>
                  <a:pt x="3142298" y="2082165"/>
                  <a:pt x="3114675" y="2087880"/>
                </a:cubicBezTo>
                <a:cubicBezTo>
                  <a:pt x="3151823" y="2062163"/>
                  <a:pt x="3190875" y="2033588"/>
                  <a:pt x="3230880" y="1999298"/>
                </a:cubicBezTo>
                <a:cubicBezTo>
                  <a:pt x="3266123" y="1968818"/>
                  <a:pt x="3301365" y="1934528"/>
                  <a:pt x="3331845" y="1892618"/>
                </a:cubicBezTo>
                <a:cubicBezTo>
                  <a:pt x="3363278" y="1851660"/>
                  <a:pt x="3389948" y="1802130"/>
                  <a:pt x="3405188" y="1746885"/>
                </a:cubicBezTo>
                <a:cubicBezTo>
                  <a:pt x="3407093" y="1740218"/>
                  <a:pt x="3408998" y="1733550"/>
                  <a:pt x="3410903" y="1725930"/>
                </a:cubicBezTo>
                <a:cubicBezTo>
                  <a:pt x="3411855" y="1719263"/>
                  <a:pt x="3413760" y="1711643"/>
                  <a:pt x="3414713" y="1704975"/>
                </a:cubicBezTo>
                <a:cubicBezTo>
                  <a:pt x="3417570" y="1690688"/>
                  <a:pt x="3418523" y="1677353"/>
                  <a:pt x="3419475" y="1663065"/>
                </a:cubicBezTo>
                <a:cubicBezTo>
                  <a:pt x="3420428" y="1635443"/>
                  <a:pt x="3419475" y="1609725"/>
                  <a:pt x="3417570" y="1584960"/>
                </a:cubicBezTo>
                <a:cubicBezTo>
                  <a:pt x="3414713" y="1535430"/>
                  <a:pt x="3410903" y="1490663"/>
                  <a:pt x="3416618" y="1450658"/>
                </a:cubicBezTo>
                <a:cubicBezTo>
                  <a:pt x="3421380" y="1409700"/>
                  <a:pt x="3433763" y="1371600"/>
                  <a:pt x="3450908" y="1337310"/>
                </a:cubicBezTo>
                <a:cubicBezTo>
                  <a:pt x="3467100" y="1303020"/>
                  <a:pt x="3487103" y="1273493"/>
                  <a:pt x="3508058" y="1248728"/>
                </a:cubicBezTo>
                <a:cubicBezTo>
                  <a:pt x="3549968" y="1198245"/>
                  <a:pt x="3593783" y="1165860"/>
                  <a:pt x="3626168" y="1145858"/>
                </a:cubicBezTo>
                <a:cubicBezTo>
                  <a:pt x="3634740" y="1141095"/>
                  <a:pt x="3641408" y="1137285"/>
                  <a:pt x="3648075" y="1133475"/>
                </a:cubicBezTo>
                <a:cubicBezTo>
                  <a:pt x="3654743" y="1129665"/>
                  <a:pt x="3660458" y="1127760"/>
                  <a:pt x="3664268" y="1124903"/>
                </a:cubicBezTo>
                <a:cubicBezTo>
                  <a:pt x="3671888" y="1121093"/>
                  <a:pt x="3676650" y="1118235"/>
                  <a:pt x="3677603" y="1118235"/>
                </a:cubicBezTo>
                <a:cubicBezTo>
                  <a:pt x="3676650" y="1118235"/>
                  <a:pt x="3671888" y="1120140"/>
                  <a:pt x="3663315" y="1122045"/>
                </a:cubicBezTo>
                <a:cubicBezTo>
                  <a:pt x="3658553" y="1122998"/>
                  <a:pt x="3652838" y="1124903"/>
                  <a:pt x="3645218" y="1127760"/>
                </a:cubicBezTo>
                <a:cubicBezTo>
                  <a:pt x="3638550" y="1130618"/>
                  <a:pt x="3629978" y="1133475"/>
                  <a:pt x="3621405" y="1136333"/>
                </a:cubicBezTo>
                <a:cubicBezTo>
                  <a:pt x="3612833" y="1140143"/>
                  <a:pt x="3603308" y="1144905"/>
                  <a:pt x="3591878" y="1149668"/>
                </a:cubicBezTo>
                <a:cubicBezTo>
                  <a:pt x="3581400" y="1155383"/>
                  <a:pt x="3569970" y="1161098"/>
                  <a:pt x="3558540" y="1167765"/>
                </a:cubicBezTo>
                <a:cubicBezTo>
                  <a:pt x="3534728" y="1182053"/>
                  <a:pt x="3509010" y="1201103"/>
                  <a:pt x="3483293" y="1224915"/>
                </a:cubicBezTo>
                <a:cubicBezTo>
                  <a:pt x="3457575" y="1248728"/>
                  <a:pt x="3430905" y="1278255"/>
                  <a:pt x="3408998" y="1314450"/>
                </a:cubicBezTo>
                <a:cubicBezTo>
                  <a:pt x="3387090" y="1350645"/>
                  <a:pt x="3368040" y="1393508"/>
                  <a:pt x="3358515" y="1441133"/>
                </a:cubicBezTo>
                <a:cubicBezTo>
                  <a:pt x="3348038" y="1489710"/>
                  <a:pt x="3349943" y="1540193"/>
                  <a:pt x="3350895" y="1587818"/>
                </a:cubicBezTo>
                <a:cubicBezTo>
                  <a:pt x="3351848" y="1611630"/>
                  <a:pt x="3351848" y="1635443"/>
                  <a:pt x="3349943" y="1659255"/>
                </a:cubicBezTo>
                <a:cubicBezTo>
                  <a:pt x="3348990" y="1670685"/>
                  <a:pt x="3348038" y="1682115"/>
                  <a:pt x="3346133" y="1693545"/>
                </a:cubicBezTo>
                <a:cubicBezTo>
                  <a:pt x="3345180" y="1699260"/>
                  <a:pt x="3344228" y="1704975"/>
                  <a:pt x="3343275" y="1710690"/>
                </a:cubicBezTo>
                <a:cubicBezTo>
                  <a:pt x="3342323" y="1716405"/>
                  <a:pt x="3340418" y="1722120"/>
                  <a:pt x="3338513" y="1727835"/>
                </a:cubicBezTo>
                <a:cubicBezTo>
                  <a:pt x="3326130" y="1772603"/>
                  <a:pt x="3305175" y="1814513"/>
                  <a:pt x="3278505" y="1852613"/>
                </a:cubicBezTo>
                <a:cubicBezTo>
                  <a:pt x="3251835" y="1889760"/>
                  <a:pt x="3222308" y="1924050"/>
                  <a:pt x="3190875" y="1954530"/>
                </a:cubicBezTo>
                <a:cubicBezTo>
                  <a:pt x="3128010" y="2017395"/>
                  <a:pt x="3063240" y="2069783"/>
                  <a:pt x="3010853" y="2114550"/>
                </a:cubicBezTo>
                <a:cubicBezTo>
                  <a:pt x="3010853" y="2114550"/>
                  <a:pt x="3010853" y="2114550"/>
                  <a:pt x="3010853" y="2114550"/>
                </a:cubicBezTo>
                <a:cubicBezTo>
                  <a:pt x="2979420" y="2125028"/>
                  <a:pt x="2947988" y="2137410"/>
                  <a:pt x="2917508" y="2151698"/>
                </a:cubicBezTo>
                <a:cubicBezTo>
                  <a:pt x="2846070" y="2185035"/>
                  <a:pt x="2775585" y="2230755"/>
                  <a:pt x="2711768" y="2287905"/>
                </a:cubicBezTo>
                <a:cubicBezTo>
                  <a:pt x="2713673" y="2268855"/>
                  <a:pt x="2714625" y="2249805"/>
                  <a:pt x="2715578" y="2230755"/>
                </a:cubicBezTo>
                <a:cubicBezTo>
                  <a:pt x="2717483" y="2151698"/>
                  <a:pt x="2707005" y="2072640"/>
                  <a:pt x="2683193" y="1998345"/>
                </a:cubicBezTo>
                <a:cubicBezTo>
                  <a:pt x="2659380" y="1924050"/>
                  <a:pt x="2625090" y="1857375"/>
                  <a:pt x="2586038" y="1796415"/>
                </a:cubicBezTo>
                <a:cubicBezTo>
                  <a:pt x="2553653" y="1745933"/>
                  <a:pt x="2517458" y="1700213"/>
                  <a:pt x="2481263" y="1657350"/>
                </a:cubicBezTo>
                <a:cubicBezTo>
                  <a:pt x="2478405" y="1652588"/>
                  <a:pt x="2476500" y="1646873"/>
                  <a:pt x="2473643" y="1642110"/>
                </a:cubicBezTo>
                <a:cubicBezTo>
                  <a:pt x="2453640" y="1597343"/>
                  <a:pt x="2439353" y="1549718"/>
                  <a:pt x="2433638" y="1499235"/>
                </a:cubicBezTo>
                <a:cubicBezTo>
                  <a:pt x="2421255" y="1398270"/>
                  <a:pt x="2476500" y="1175385"/>
                  <a:pt x="2565083" y="1103948"/>
                </a:cubicBezTo>
                <a:cubicBezTo>
                  <a:pt x="2672715" y="1016318"/>
                  <a:pt x="3406140" y="628650"/>
                  <a:pt x="3490913" y="582930"/>
                </a:cubicBezTo>
                <a:cubicBezTo>
                  <a:pt x="3513773" y="569595"/>
                  <a:pt x="3536633" y="555308"/>
                  <a:pt x="3558540" y="540068"/>
                </a:cubicBezTo>
                <a:cubicBezTo>
                  <a:pt x="3579495" y="524828"/>
                  <a:pt x="3599498" y="507683"/>
                  <a:pt x="3617595" y="490538"/>
                </a:cubicBezTo>
                <a:cubicBezTo>
                  <a:pt x="3654743" y="456248"/>
                  <a:pt x="3824288" y="250508"/>
                  <a:pt x="3862388" y="192405"/>
                </a:cubicBezTo>
                <a:cubicBezTo>
                  <a:pt x="3899535" y="134302"/>
                  <a:pt x="3927158" y="86678"/>
                  <a:pt x="3945255" y="52388"/>
                </a:cubicBezTo>
                <a:cubicBezTo>
                  <a:pt x="3964305" y="19050"/>
                  <a:pt x="3973830" y="0"/>
                  <a:pt x="3973830" y="0"/>
                </a:cubicBezTo>
                <a:cubicBezTo>
                  <a:pt x="3973830" y="0"/>
                  <a:pt x="3971925" y="2857"/>
                  <a:pt x="3967163" y="8572"/>
                </a:cubicBezTo>
                <a:cubicBezTo>
                  <a:pt x="3968115" y="7620"/>
                  <a:pt x="3968115" y="6668"/>
                  <a:pt x="3968115" y="6668"/>
                </a:cubicBezTo>
                <a:cubicBezTo>
                  <a:pt x="3968115" y="6668"/>
                  <a:pt x="3965258" y="10478"/>
                  <a:pt x="3961448" y="17145"/>
                </a:cubicBezTo>
                <a:cubicBezTo>
                  <a:pt x="3955733" y="24765"/>
                  <a:pt x="3949065" y="35243"/>
                  <a:pt x="3939540" y="48578"/>
                </a:cubicBezTo>
                <a:cubicBezTo>
                  <a:pt x="3928110" y="64770"/>
                  <a:pt x="3916680" y="85725"/>
                  <a:pt x="3898583" y="106680"/>
                </a:cubicBezTo>
                <a:cubicBezTo>
                  <a:pt x="3589020" y="459105"/>
                  <a:pt x="3540443" y="470535"/>
                  <a:pt x="3485198" y="510540"/>
                </a:cubicBezTo>
                <a:cubicBezTo>
                  <a:pt x="3462338" y="526733"/>
                  <a:pt x="3437573" y="542925"/>
                  <a:pt x="3412808" y="559118"/>
                </a:cubicBezTo>
                <a:cubicBezTo>
                  <a:pt x="3298508" y="617220"/>
                  <a:pt x="2793683" y="876300"/>
                  <a:pt x="2752725" y="897255"/>
                </a:cubicBezTo>
                <a:cubicBezTo>
                  <a:pt x="2653665" y="945833"/>
                  <a:pt x="2562225" y="1009650"/>
                  <a:pt x="2481263" y="1084898"/>
                </a:cubicBezTo>
                <a:lnTo>
                  <a:pt x="2481263" y="1084898"/>
                </a:lnTo>
                <a:cubicBezTo>
                  <a:pt x="2482215" y="1042988"/>
                  <a:pt x="2481263" y="1000125"/>
                  <a:pt x="2481263" y="958215"/>
                </a:cubicBezTo>
                <a:cubicBezTo>
                  <a:pt x="2480310" y="903923"/>
                  <a:pt x="2479358" y="850583"/>
                  <a:pt x="2483168" y="802005"/>
                </a:cubicBezTo>
                <a:cubicBezTo>
                  <a:pt x="2486978" y="752475"/>
                  <a:pt x="2496503" y="706755"/>
                  <a:pt x="2509838" y="662940"/>
                </a:cubicBezTo>
                <a:cubicBezTo>
                  <a:pt x="2537460" y="576263"/>
                  <a:pt x="2582228" y="504825"/>
                  <a:pt x="2626995" y="450533"/>
                </a:cubicBezTo>
                <a:cubicBezTo>
                  <a:pt x="2671763" y="396240"/>
                  <a:pt x="2716530" y="360045"/>
                  <a:pt x="2748915" y="336233"/>
                </a:cubicBezTo>
                <a:cubicBezTo>
                  <a:pt x="2757488" y="330518"/>
                  <a:pt x="2764155" y="324803"/>
                  <a:pt x="2770823" y="320993"/>
                </a:cubicBezTo>
                <a:cubicBezTo>
                  <a:pt x="2777490" y="317183"/>
                  <a:pt x="2783205" y="313373"/>
                  <a:pt x="2787968" y="310515"/>
                </a:cubicBezTo>
                <a:cubicBezTo>
                  <a:pt x="2796540" y="304800"/>
                  <a:pt x="2802255" y="301943"/>
                  <a:pt x="2802255" y="301943"/>
                </a:cubicBezTo>
                <a:cubicBezTo>
                  <a:pt x="2802255" y="301943"/>
                  <a:pt x="2796540" y="303848"/>
                  <a:pt x="2787015" y="307658"/>
                </a:cubicBezTo>
                <a:cubicBezTo>
                  <a:pt x="2782253" y="309563"/>
                  <a:pt x="2775585" y="312420"/>
                  <a:pt x="2768918" y="315278"/>
                </a:cubicBezTo>
                <a:cubicBezTo>
                  <a:pt x="2761298" y="318135"/>
                  <a:pt x="2753678" y="321945"/>
                  <a:pt x="2744153" y="326708"/>
                </a:cubicBezTo>
                <a:cubicBezTo>
                  <a:pt x="2734628" y="330518"/>
                  <a:pt x="2725103" y="336233"/>
                  <a:pt x="2714625" y="342900"/>
                </a:cubicBezTo>
                <a:cubicBezTo>
                  <a:pt x="2708910" y="345758"/>
                  <a:pt x="2703195" y="348615"/>
                  <a:pt x="2697480" y="352425"/>
                </a:cubicBezTo>
                <a:cubicBezTo>
                  <a:pt x="2691765" y="356235"/>
                  <a:pt x="2686050" y="360045"/>
                  <a:pt x="2679383" y="363855"/>
                </a:cubicBezTo>
                <a:cubicBezTo>
                  <a:pt x="2667000" y="371475"/>
                  <a:pt x="2654618" y="381000"/>
                  <a:pt x="2641283" y="391478"/>
                </a:cubicBezTo>
                <a:cubicBezTo>
                  <a:pt x="2634615" y="396240"/>
                  <a:pt x="2627948" y="401955"/>
                  <a:pt x="2621280" y="407670"/>
                </a:cubicBezTo>
                <a:cubicBezTo>
                  <a:pt x="2614613" y="413385"/>
                  <a:pt x="2607945" y="419100"/>
                  <a:pt x="2601278" y="425767"/>
                </a:cubicBezTo>
                <a:cubicBezTo>
                  <a:pt x="2594610" y="432435"/>
                  <a:pt x="2587943" y="439103"/>
                  <a:pt x="2581275" y="445770"/>
                </a:cubicBezTo>
                <a:cubicBezTo>
                  <a:pt x="2574608" y="453390"/>
                  <a:pt x="2567940" y="460058"/>
                  <a:pt x="2561273" y="467678"/>
                </a:cubicBezTo>
                <a:cubicBezTo>
                  <a:pt x="2554605" y="475298"/>
                  <a:pt x="2547938" y="483870"/>
                  <a:pt x="2541270" y="491490"/>
                </a:cubicBezTo>
                <a:cubicBezTo>
                  <a:pt x="2538413" y="495300"/>
                  <a:pt x="2534603" y="500063"/>
                  <a:pt x="2531745" y="503873"/>
                </a:cubicBezTo>
                <a:cubicBezTo>
                  <a:pt x="2528888" y="508635"/>
                  <a:pt x="2525078" y="512445"/>
                  <a:pt x="2522220" y="517208"/>
                </a:cubicBezTo>
                <a:cubicBezTo>
                  <a:pt x="2496503" y="553403"/>
                  <a:pt x="2473643" y="594360"/>
                  <a:pt x="2454593" y="641033"/>
                </a:cubicBezTo>
                <a:cubicBezTo>
                  <a:pt x="2435543" y="687705"/>
                  <a:pt x="2422208" y="739140"/>
                  <a:pt x="2416493" y="793433"/>
                </a:cubicBezTo>
                <a:cubicBezTo>
                  <a:pt x="2409825" y="847725"/>
                  <a:pt x="2409825" y="902970"/>
                  <a:pt x="2410778" y="958215"/>
                </a:cubicBezTo>
                <a:cubicBezTo>
                  <a:pt x="2411730" y="1013460"/>
                  <a:pt x="2413635" y="1066800"/>
                  <a:pt x="2412683" y="1116330"/>
                </a:cubicBezTo>
                <a:cubicBezTo>
                  <a:pt x="2411730" y="1151573"/>
                  <a:pt x="2408873" y="1184910"/>
                  <a:pt x="2404110" y="1218248"/>
                </a:cubicBezTo>
                <a:cubicBezTo>
                  <a:pt x="2366963" y="1311593"/>
                  <a:pt x="2355533" y="1411605"/>
                  <a:pt x="2367915" y="1506855"/>
                </a:cubicBezTo>
                <a:cubicBezTo>
                  <a:pt x="2367915" y="1507808"/>
                  <a:pt x="2367915" y="1507808"/>
                  <a:pt x="2367915" y="1508760"/>
                </a:cubicBezTo>
                <a:cubicBezTo>
                  <a:pt x="2367915" y="1510665"/>
                  <a:pt x="2367915" y="1513523"/>
                  <a:pt x="2367915" y="1516380"/>
                </a:cubicBezTo>
                <a:cubicBezTo>
                  <a:pt x="2367915" y="1520190"/>
                  <a:pt x="2367915" y="1524953"/>
                  <a:pt x="2367915" y="1528763"/>
                </a:cubicBezTo>
                <a:cubicBezTo>
                  <a:pt x="2355533" y="1515428"/>
                  <a:pt x="2343150" y="1502093"/>
                  <a:pt x="2330768" y="1488758"/>
                </a:cubicBezTo>
                <a:cubicBezTo>
                  <a:pt x="2288858" y="1443990"/>
                  <a:pt x="2249805" y="1399223"/>
                  <a:pt x="2213610" y="1355408"/>
                </a:cubicBezTo>
                <a:cubicBezTo>
                  <a:pt x="2178368" y="1311593"/>
                  <a:pt x="2145983" y="1266825"/>
                  <a:pt x="2118360" y="1221105"/>
                </a:cubicBezTo>
                <a:cubicBezTo>
                  <a:pt x="2062163" y="1130618"/>
                  <a:pt x="2020253" y="1039178"/>
                  <a:pt x="1989773" y="953453"/>
                </a:cubicBezTo>
                <a:cubicBezTo>
                  <a:pt x="1959293" y="866775"/>
                  <a:pt x="1940243" y="785813"/>
                  <a:pt x="1928813" y="712470"/>
                </a:cubicBezTo>
                <a:cubicBezTo>
                  <a:pt x="1923098" y="676275"/>
                  <a:pt x="1919288" y="641985"/>
                  <a:pt x="1914525" y="609600"/>
                </a:cubicBezTo>
                <a:cubicBezTo>
                  <a:pt x="1910715" y="578168"/>
                  <a:pt x="1905953" y="548640"/>
                  <a:pt x="1901190" y="521970"/>
                </a:cubicBezTo>
                <a:cubicBezTo>
                  <a:pt x="1895475" y="494348"/>
                  <a:pt x="1889760" y="469583"/>
                  <a:pt x="1884045" y="449580"/>
                </a:cubicBezTo>
                <a:cubicBezTo>
                  <a:pt x="1877378" y="421958"/>
                  <a:pt x="1868805" y="397193"/>
                  <a:pt x="1860233" y="374333"/>
                </a:cubicBezTo>
                <a:cubicBezTo>
                  <a:pt x="1837373" y="315278"/>
                  <a:pt x="1811655" y="270510"/>
                  <a:pt x="1791653" y="241935"/>
                </a:cubicBezTo>
                <a:cubicBezTo>
                  <a:pt x="1782128" y="227648"/>
                  <a:pt x="1773555" y="216218"/>
                  <a:pt x="1767840" y="209550"/>
                </a:cubicBezTo>
                <a:cubicBezTo>
                  <a:pt x="1763078" y="202883"/>
                  <a:pt x="1760220" y="199073"/>
                  <a:pt x="1759268" y="199073"/>
                </a:cubicBezTo>
                <a:cubicBezTo>
                  <a:pt x="1760220" y="200025"/>
                  <a:pt x="1762125" y="203835"/>
                  <a:pt x="1766888" y="210502"/>
                </a:cubicBezTo>
                <a:cubicBezTo>
                  <a:pt x="1771650" y="218123"/>
                  <a:pt x="1778318" y="229552"/>
                  <a:pt x="1786890" y="244793"/>
                </a:cubicBezTo>
                <a:cubicBezTo>
                  <a:pt x="1803083" y="275273"/>
                  <a:pt x="1825943" y="320993"/>
                  <a:pt x="1843088" y="380048"/>
                </a:cubicBezTo>
                <a:cubicBezTo>
                  <a:pt x="1851660" y="409575"/>
                  <a:pt x="1860233" y="442913"/>
                  <a:pt x="1864995" y="478155"/>
                </a:cubicBezTo>
                <a:cubicBezTo>
                  <a:pt x="1870710" y="514350"/>
                  <a:pt x="1872615" y="552450"/>
                  <a:pt x="1874520" y="593408"/>
                </a:cubicBezTo>
                <a:cubicBezTo>
                  <a:pt x="1876425" y="634365"/>
                  <a:pt x="1876425" y="678180"/>
                  <a:pt x="1881188" y="723900"/>
                </a:cubicBezTo>
                <a:cubicBezTo>
                  <a:pt x="1882140" y="735330"/>
                  <a:pt x="1883093" y="746760"/>
                  <a:pt x="1884998" y="758190"/>
                </a:cubicBezTo>
                <a:cubicBezTo>
                  <a:pt x="1885950" y="769620"/>
                  <a:pt x="1887855" y="781050"/>
                  <a:pt x="1889760" y="793433"/>
                </a:cubicBezTo>
                <a:cubicBezTo>
                  <a:pt x="1890713" y="800100"/>
                  <a:pt x="1891665" y="806768"/>
                  <a:pt x="1892618" y="812483"/>
                </a:cubicBezTo>
                <a:cubicBezTo>
                  <a:pt x="1898333" y="862965"/>
                  <a:pt x="1907858" y="916305"/>
                  <a:pt x="1922145" y="972503"/>
                </a:cubicBezTo>
                <a:cubicBezTo>
                  <a:pt x="1933575" y="1019175"/>
                  <a:pt x="1948815" y="1067753"/>
                  <a:pt x="1967865" y="1118235"/>
                </a:cubicBezTo>
                <a:cubicBezTo>
                  <a:pt x="1933575" y="1087755"/>
                  <a:pt x="1897380" y="1058228"/>
                  <a:pt x="1857375" y="1030605"/>
                </a:cubicBezTo>
                <a:cubicBezTo>
                  <a:pt x="1780223" y="978218"/>
                  <a:pt x="1693545" y="934403"/>
                  <a:pt x="1603058" y="900113"/>
                </a:cubicBezTo>
                <a:cubicBezTo>
                  <a:pt x="1512570" y="864870"/>
                  <a:pt x="1423035" y="840105"/>
                  <a:pt x="1336358" y="816293"/>
                </a:cubicBezTo>
                <a:cubicBezTo>
                  <a:pt x="1250633" y="793433"/>
                  <a:pt x="1167765" y="771525"/>
                  <a:pt x="1091565" y="749618"/>
                </a:cubicBezTo>
                <a:cubicBezTo>
                  <a:pt x="938213" y="704850"/>
                  <a:pt x="806768" y="645795"/>
                  <a:pt x="706755" y="579120"/>
                </a:cubicBezTo>
                <a:cubicBezTo>
                  <a:pt x="606743" y="512445"/>
                  <a:pt x="540068" y="438150"/>
                  <a:pt x="501968" y="381953"/>
                </a:cubicBezTo>
                <a:cubicBezTo>
                  <a:pt x="483870" y="353378"/>
                  <a:pt x="469583" y="330518"/>
                  <a:pt x="462915" y="313373"/>
                </a:cubicBezTo>
                <a:cubicBezTo>
                  <a:pt x="456248" y="299085"/>
                  <a:pt x="451485" y="290513"/>
                  <a:pt x="450533" y="288608"/>
                </a:cubicBezTo>
                <a:cubicBezTo>
                  <a:pt x="451485" y="290513"/>
                  <a:pt x="453390" y="300038"/>
                  <a:pt x="458153" y="315278"/>
                </a:cubicBezTo>
                <a:cubicBezTo>
                  <a:pt x="462915" y="333375"/>
                  <a:pt x="472440" y="358140"/>
                  <a:pt x="487680" y="390525"/>
                </a:cubicBezTo>
                <a:cubicBezTo>
                  <a:pt x="491490" y="398145"/>
                  <a:pt x="496253" y="406717"/>
                  <a:pt x="501015" y="415290"/>
                </a:cubicBezTo>
                <a:cubicBezTo>
                  <a:pt x="502920" y="420053"/>
                  <a:pt x="505778" y="423863"/>
                  <a:pt x="507683" y="428625"/>
                </a:cubicBezTo>
                <a:cubicBezTo>
                  <a:pt x="510540" y="433388"/>
                  <a:pt x="513398" y="437198"/>
                  <a:pt x="516255" y="441960"/>
                </a:cubicBezTo>
                <a:cubicBezTo>
                  <a:pt x="521970" y="451485"/>
                  <a:pt x="527685" y="460058"/>
                  <a:pt x="534353" y="470535"/>
                </a:cubicBezTo>
                <a:cubicBezTo>
                  <a:pt x="541020" y="480060"/>
                  <a:pt x="548640" y="489585"/>
                  <a:pt x="556260" y="500063"/>
                </a:cubicBezTo>
                <a:cubicBezTo>
                  <a:pt x="586740" y="540068"/>
                  <a:pt x="626745" y="582930"/>
                  <a:pt x="675323" y="622935"/>
                </a:cubicBezTo>
                <a:cubicBezTo>
                  <a:pt x="773430" y="703898"/>
                  <a:pt x="906780" y="779145"/>
                  <a:pt x="1063943" y="836295"/>
                </a:cubicBezTo>
                <a:cubicBezTo>
                  <a:pt x="1142048" y="864870"/>
                  <a:pt x="1224915" y="889635"/>
                  <a:pt x="1308735" y="916305"/>
                </a:cubicBezTo>
                <a:cubicBezTo>
                  <a:pt x="1393508" y="942023"/>
                  <a:pt x="1480185" y="968693"/>
                  <a:pt x="1564958" y="1002030"/>
                </a:cubicBezTo>
                <a:cubicBezTo>
                  <a:pt x="1650683" y="1034415"/>
                  <a:pt x="1729740" y="1072515"/>
                  <a:pt x="1801178" y="1118235"/>
                </a:cubicBezTo>
                <a:cubicBezTo>
                  <a:pt x="1871663" y="1163955"/>
                  <a:pt x="1935480" y="1217295"/>
                  <a:pt x="1995488" y="1271588"/>
                </a:cubicBezTo>
                <a:cubicBezTo>
                  <a:pt x="2025015" y="1299210"/>
                  <a:pt x="2053590" y="1325880"/>
                  <a:pt x="2082165" y="1351598"/>
                </a:cubicBezTo>
                <a:cubicBezTo>
                  <a:pt x="2096453" y="1375410"/>
                  <a:pt x="2112645" y="1399223"/>
                  <a:pt x="2128838" y="1422083"/>
                </a:cubicBezTo>
                <a:cubicBezTo>
                  <a:pt x="2164080" y="1471613"/>
                  <a:pt x="2203133" y="1520190"/>
                  <a:pt x="2242185" y="1568768"/>
                </a:cubicBezTo>
                <a:cubicBezTo>
                  <a:pt x="2322195" y="1664970"/>
                  <a:pt x="2407920" y="1761173"/>
                  <a:pt x="2473643" y="1868805"/>
                </a:cubicBezTo>
                <a:cubicBezTo>
                  <a:pt x="2506980" y="1922145"/>
                  <a:pt x="2533650" y="1979295"/>
                  <a:pt x="2551748" y="2039303"/>
                </a:cubicBezTo>
                <a:cubicBezTo>
                  <a:pt x="2569845" y="2099310"/>
                  <a:pt x="2577465" y="2162175"/>
                  <a:pt x="2576513" y="2225993"/>
                </a:cubicBezTo>
                <a:cubicBezTo>
                  <a:pt x="2574608" y="2289810"/>
                  <a:pt x="2563178" y="2352675"/>
                  <a:pt x="2542223" y="2411730"/>
                </a:cubicBezTo>
                <a:cubicBezTo>
                  <a:pt x="2537460" y="2426970"/>
                  <a:pt x="2530793" y="2441258"/>
                  <a:pt x="2525078" y="2455545"/>
                </a:cubicBezTo>
                <a:cubicBezTo>
                  <a:pt x="2518410" y="2469833"/>
                  <a:pt x="2511743" y="2485073"/>
                  <a:pt x="2505075" y="2499360"/>
                </a:cubicBezTo>
                <a:cubicBezTo>
                  <a:pt x="2490788" y="2527935"/>
                  <a:pt x="2475548" y="2557463"/>
                  <a:pt x="2458403" y="2586038"/>
                </a:cubicBezTo>
                <a:cubicBezTo>
                  <a:pt x="2426018" y="2643188"/>
                  <a:pt x="2390775" y="2701290"/>
                  <a:pt x="2360295" y="2762250"/>
                </a:cubicBezTo>
                <a:cubicBezTo>
                  <a:pt x="2345055" y="2792730"/>
                  <a:pt x="2330768" y="2824163"/>
                  <a:pt x="2318385" y="2855595"/>
                </a:cubicBezTo>
                <a:cubicBezTo>
                  <a:pt x="2315528" y="2863215"/>
                  <a:pt x="2312670" y="2871788"/>
                  <a:pt x="2309813" y="2879408"/>
                </a:cubicBezTo>
                <a:cubicBezTo>
                  <a:pt x="2306955" y="2887980"/>
                  <a:pt x="2304098" y="2895600"/>
                  <a:pt x="2301240" y="2904173"/>
                </a:cubicBezTo>
                <a:cubicBezTo>
                  <a:pt x="2296478" y="2920365"/>
                  <a:pt x="2291715" y="2936558"/>
                  <a:pt x="2287905" y="2952750"/>
                </a:cubicBezTo>
                <a:cubicBezTo>
                  <a:pt x="2285048" y="2966085"/>
                  <a:pt x="2282190" y="2979420"/>
                  <a:pt x="2279333" y="2992755"/>
                </a:cubicBezTo>
                <a:cubicBezTo>
                  <a:pt x="2267903" y="2967038"/>
                  <a:pt x="2253615" y="2941320"/>
                  <a:pt x="2238375" y="2917508"/>
                </a:cubicBezTo>
                <a:cubicBezTo>
                  <a:pt x="2222183" y="2892743"/>
                  <a:pt x="2203133" y="2869883"/>
                  <a:pt x="2184083" y="2847023"/>
                </a:cubicBezTo>
                <a:cubicBezTo>
                  <a:pt x="2164080" y="2825115"/>
                  <a:pt x="2142173" y="2804160"/>
                  <a:pt x="2119313" y="2785110"/>
                </a:cubicBezTo>
                <a:cubicBezTo>
                  <a:pt x="2096453" y="2766060"/>
                  <a:pt x="2072640" y="2747963"/>
                  <a:pt x="2046923" y="2731770"/>
                </a:cubicBezTo>
                <a:cubicBezTo>
                  <a:pt x="1996440" y="2699385"/>
                  <a:pt x="1942148" y="2672715"/>
                  <a:pt x="1886903" y="2650808"/>
                </a:cubicBezTo>
                <a:cubicBezTo>
                  <a:pt x="1842135" y="2633663"/>
                  <a:pt x="1798320" y="2618423"/>
                  <a:pt x="1754505" y="2606040"/>
                </a:cubicBezTo>
                <a:cubicBezTo>
                  <a:pt x="1742123" y="2585085"/>
                  <a:pt x="1733550" y="2561273"/>
                  <a:pt x="1728788" y="2535555"/>
                </a:cubicBezTo>
                <a:cubicBezTo>
                  <a:pt x="1722120" y="2499360"/>
                  <a:pt x="1724025" y="2462213"/>
                  <a:pt x="1732598" y="2426018"/>
                </a:cubicBezTo>
                <a:cubicBezTo>
                  <a:pt x="1740218" y="2390775"/>
                  <a:pt x="1753553" y="2356485"/>
                  <a:pt x="1769745" y="2325053"/>
                </a:cubicBezTo>
                <a:cubicBezTo>
                  <a:pt x="1801178" y="2262188"/>
                  <a:pt x="1840230" y="2209800"/>
                  <a:pt x="1877378" y="2169795"/>
                </a:cubicBezTo>
                <a:cubicBezTo>
                  <a:pt x="1914525" y="2129790"/>
                  <a:pt x="1949768" y="2101215"/>
                  <a:pt x="1974533" y="2083118"/>
                </a:cubicBezTo>
                <a:cubicBezTo>
                  <a:pt x="1986915" y="2073593"/>
                  <a:pt x="1997393" y="2066925"/>
                  <a:pt x="2004060" y="2062163"/>
                </a:cubicBezTo>
                <a:cubicBezTo>
                  <a:pt x="2009775" y="2058353"/>
                  <a:pt x="2013585" y="2055495"/>
                  <a:pt x="2014538" y="2055495"/>
                </a:cubicBezTo>
                <a:cubicBezTo>
                  <a:pt x="2013585" y="2055495"/>
                  <a:pt x="2009775" y="2057400"/>
                  <a:pt x="2003108" y="2059305"/>
                </a:cubicBezTo>
                <a:cubicBezTo>
                  <a:pt x="1995488" y="2062163"/>
                  <a:pt x="1984058" y="2066925"/>
                  <a:pt x="1969770" y="2072640"/>
                </a:cubicBezTo>
                <a:cubicBezTo>
                  <a:pt x="1941195" y="2085975"/>
                  <a:pt x="1899285" y="2106930"/>
                  <a:pt x="1854518" y="2142173"/>
                </a:cubicBezTo>
                <a:cubicBezTo>
                  <a:pt x="1808798" y="2177415"/>
                  <a:pt x="1759268" y="2227898"/>
                  <a:pt x="1718310" y="2293620"/>
                </a:cubicBezTo>
                <a:cubicBezTo>
                  <a:pt x="1712595" y="2303145"/>
                  <a:pt x="1705928" y="2313623"/>
                  <a:pt x="1701165" y="2325053"/>
                </a:cubicBezTo>
                <a:cubicBezTo>
                  <a:pt x="1707833" y="2262188"/>
                  <a:pt x="1711643" y="2193608"/>
                  <a:pt x="1709738" y="2121218"/>
                </a:cubicBezTo>
                <a:cubicBezTo>
                  <a:pt x="1707833" y="2045018"/>
                  <a:pt x="1700213" y="1972628"/>
                  <a:pt x="1687830" y="1907858"/>
                </a:cubicBezTo>
                <a:cubicBezTo>
                  <a:pt x="1675448" y="1843088"/>
                  <a:pt x="1657350" y="1784985"/>
                  <a:pt x="1638300" y="1738313"/>
                </a:cubicBezTo>
                <a:cubicBezTo>
                  <a:pt x="1619250" y="1691640"/>
                  <a:pt x="1599248" y="1656398"/>
                  <a:pt x="1584008" y="1633538"/>
                </a:cubicBezTo>
                <a:cubicBezTo>
                  <a:pt x="1576388" y="1621155"/>
                  <a:pt x="1569720" y="1612583"/>
                  <a:pt x="1565910" y="1606868"/>
                </a:cubicBezTo>
                <a:cubicBezTo>
                  <a:pt x="1562100" y="1602105"/>
                  <a:pt x="1560195" y="1598295"/>
                  <a:pt x="1559243" y="1598295"/>
                </a:cubicBezTo>
                <a:cubicBezTo>
                  <a:pt x="1559243" y="1599248"/>
                  <a:pt x="1561148" y="1603058"/>
                  <a:pt x="1563053" y="1608773"/>
                </a:cubicBezTo>
                <a:cubicBezTo>
                  <a:pt x="1564958" y="1615440"/>
                  <a:pt x="1569720" y="1624965"/>
                  <a:pt x="1573530" y="1638300"/>
                </a:cubicBezTo>
                <a:cubicBezTo>
                  <a:pt x="1582103" y="1664018"/>
                  <a:pt x="1593533" y="1702118"/>
                  <a:pt x="1604010" y="1748790"/>
                </a:cubicBezTo>
                <a:cubicBezTo>
                  <a:pt x="1613535" y="1796415"/>
                  <a:pt x="1623060" y="1852613"/>
                  <a:pt x="1628775" y="1915478"/>
                </a:cubicBezTo>
                <a:cubicBezTo>
                  <a:pt x="1634490" y="1978343"/>
                  <a:pt x="1637348" y="2048828"/>
                  <a:pt x="1639253" y="2122170"/>
                </a:cubicBezTo>
                <a:cubicBezTo>
                  <a:pt x="1641158" y="2195513"/>
                  <a:pt x="1641158" y="2265998"/>
                  <a:pt x="1641158" y="2330768"/>
                </a:cubicBezTo>
                <a:cubicBezTo>
                  <a:pt x="1641158" y="2369820"/>
                  <a:pt x="1640205" y="2406015"/>
                  <a:pt x="1639253" y="2440305"/>
                </a:cubicBezTo>
                <a:cubicBezTo>
                  <a:pt x="1639253" y="2440305"/>
                  <a:pt x="1639253" y="2440305"/>
                  <a:pt x="1639253" y="2441258"/>
                </a:cubicBezTo>
                <a:cubicBezTo>
                  <a:pt x="1632585" y="2452688"/>
                  <a:pt x="1626870" y="2466023"/>
                  <a:pt x="1622108" y="2482215"/>
                </a:cubicBezTo>
                <a:cubicBezTo>
                  <a:pt x="1618298" y="2498408"/>
                  <a:pt x="1615440" y="2516505"/>
                  <a:pt x="1617345" y="2535555"/>
                </a:cubicBezTo>
                <a:cubicBezTo>
                  <a:pt x="1618298" y="2546985"/>
                  <a:pt x="1621155" y="2558415"/>
                  <a:pt x="1624965" y="2568893"/>
                </a:cubicBezTo>
                <a:cubicBezTo>
                  <a:pt x="1605915" y="2564130"/>
                  <a:pt x="1585913" y="2559368"/>
                  <a:pt x="1566863" y="2554605"/>
                </a:cubicBezTo>
                <a:cubicBezTo>
                  <a:pt x="1463993" y="2529840"/>
                  <a:pt x="1365885" y="2505075"/>
                  <a:pt x="1274445" y="2478405"/>
                </a:cubicBezTo>
                <a:cubicBezTo>
                  <a:pt x="1228725" y="2465070"/>
                  <a:pt x="1183958" y="2451735"/>
                  <a:pt x="1141095" y="2436495"/>
                </a:cubicBezTo>
                <a:cubicBezTo>
                  <a:pt x="1120140" y="2429828"/>
                  <a:pt x="1099185" y="2421255"/>
                  <a:pt x="1078230" y="2414588"/>
                </a:cubicBezTo>
                <a:cubicBezTo>
                  <a:pt x="1058228" y="2406968"/>
                  <a:pt x="1037273" y="2399348"/>
                  <a:pt x="1018223" y="2390775"/>
                </a:cubicBezTo>
                <a:cubicBezTo>
                  <a:pt x="979170" y="2375535"/>
                  <a:pt x="942023" y="2357438"/>
                  <a:pt x="906780" y="2340293"/>
                </a:cubicBezTo>
                <a:cubicBezTo>
                  <a:pt x="871538" y="2323148"/>
                  <a:pt x="839153" y="2304098"/>
                  <a:pt x="809625" y="2286000"/>
                </a:cubicBezTo>
                <a:cubicBezTo>
                  <a:pt x="779145" y="2266950"/>
                  <a:pt x="752475" y="2246948"/>
                  <a:pt x="726758" y="2226945"/>
                </a:cubicBezTo>
                <a:cubicBezTo>
                  <a:pt x="701993" y="2206943"/>
                  <a:pt x="679133" y="2186940"/>
                  <a:pt x="659130" y="2165985"/>
                </a:cubicBezTo>
                <a:cubicBezTo>
                  <a:pt x="619125" y="2125028"/>
                  <a:pt x="590550" y="2085023"/>
                  <a:pt x="571500" y="2049780"/>
                </a:cubicBezTo>
                <a:cubicBezTo>
                  <a:pt x="568643" y="2045018"/>
                  <a:pt x="566738" y="2041208"/>
                  <a:pt x="563880" y="2036445"/>
                </a:cubicBezTo>
                <a:cubicBezTo>
                  <a:pt x="561975" y="2032635"/>
                  <a:pt x="560070" y="2027873"/>
                  <a:pt x="558165" y="2024063"/>
                </a:cubicBezTo>
                <a:cubicBezTo>
                  <a:pt x="554355" y="2015490"/>
                  <a:pt x="550545" y="2007870"/>
                  <a:pt x="547688" y="2001203"/>
                </a:cubicBezTo>
                <a:cubicBezTo>
                  <a:pt x="541973" y="1986915"/>
                  <a:pt x="537210" y="1973580"/>
                  <a:pt x="534353" y="1964055"/>
                </a:cubicBezTo>
                <a:cubicBezTo>
                  <a:pt x="528638" y="1943100"/>
                  <a:pt x="525780" y="1931670"/>
                  <a:pt x="525780" y="1931670"/>
                </a:cubicBezTo>
                <a:cubicBezTo>
                  <a:pt x="525780" y="1931670"/>
                  <a:pt x="526733" y="1943100"/>
                  <a:pt x="528638" y="1965008"/>
                </a:cubicBezTo>
                <a:cubicBezTo>
                  <a:pt x="529590" y="1975485"/>
                  <a:pt x="533400" y="1988820"/>
                  <a:pt x="536258" y="2005013"/>
                </a:cubicBezTo>
                <a:cubicBezTo>
                  <a:pt x="538163" y="2012633"/>
                  <a:pt x="541020" y="2021205"/>
                  <a:pt x="542925" y="2030730"/>
                </a:cubicBezTo>
                <a:cubicBezTo>
                  <a:pt x="543878" y="2035493"/>
                  <a:pt x="544830" y="2040255"/>
                  <a:pt x="546735" y="2045018"/>
                </a:cubicBezTo>
                <a:cubicBezTo>
                  <a:pt x="548640" y="2049780"/>
                  <a:pt x="550545" y="2054543"/>
                  <a:pt x="552450" y="2059305"/>
                </a:cubicBezTo>
                <a:cubicBezTo>
                  <a:pt x="566738" y="2099310"/>
                  <a:pt x="590550" y="2145983"/>
                  <a:pt x="626745" y="2195513"/>
                </a:cubicBezTo>
                <a:cubicBezTo>
                  <a:pt x="644843" y="2220278"/>
                  <a:pt x="665798" y="2245043"/>
                  <a:pt x="689610" y="2269808"/>
                </a:cubicBezTo>
                <a:cubicBezTo>
                  <a:pt x="713423" y="2294573"/>
                  <a:pt x="740093" y="2319338"/>
                  <a:pt x="769620" y="2343150"/>
                </a:cubicBezTo>
                <a:cubicBezTo>
                  <a:pt x="799148" y="2366963"/>
                  <a:pt x="831533" y="2390775"/>
                  <a:pt x="866775" y="2413635"/>
                </a:cubicBezTo>
                <a:cubicBezTo>
                  <a:pt x="902018" y="2435543"/>
                  <a:pt x="939165" y="2458403"/>
                  <a:pt x="978218" y="2478405"/>
                </a:cubicBezTo>
                <a:cubicBezTo>
                  <a:pt x="998220" y="2488883"/>
                  <a:pt x="1018223" y="2498408"/>
                  <a:pt x="1039178" y="2508885"/>
                </a:cubicBezTo>
                <a:cubicBezTo>
                  <a:pt x="1060133" y="2518410"/>
                  <a:pt x="1081088" y="2528888"/>
                  <a:pt x="1102995" y="2537460"/>
                </a:cubicBezTo>
                <a:cubicBezTo>
                  <a:pt x="1146810" y="2556510"/>
                  <a:pt x="1191578" y="2574608"/>
                  <a:pt x="1238250" y="2590800"/>
                </a:cubicBezTo>
                <a:cubicBezTo>
                  <a:pt x="1258253" y="2597468"/>
                  <a:pt x="1278255" y="2605088"/>
                  <a:pt x="1298258" y="2611755"/>
                </a:cubicBezTo>
                <a:cubicBezTo>
                  <a:pt x="1257300" y="2611755"/>
                  <a:pt x="1215390" y="2614613"/>
                  <a:pt x="1173480" y="2620328"/>
                </a:cubicBezTo>
                <a:cubicBezTo>
                  <a:pt x="1105853" y="2629853"/>
                  <a:pt x="1038225" y="2646998"/>
                  <a:pt x="971550" y="2660333"/>
                </a:cubicBezTo>
                <a:cubicBezTo>
                  <a:pt x="904875" y="2673668"/>
                  <a:pt x="838200" y="2682240"/>
                  <a:pt x="774383" y="2687003"/>
                </a:cubicBezTo>
                <a:cubicBezTo>
                  <a:pt x="709613" y="2690813"/>
                  <a:pt x="647700" y="2690813"/>
                  <a:pt x="588645" y="2687003"/>
                </a:cubicBezTo>
                <a:cubicBezTo>
                  <a:pt x="469583" y="2679383"/>
                  <a:pt x="363855" y="2659380"/>
                  <a:pt x="276225" y="2634615"/>
                </a:cubicBezTo>
                <a:cubicBezTo>
                  <a:pt x="232410" y="2622233"/>
                  <a:pt x="193358" y="2609850"/>
                  <a:pt x="159068" y="2597468"/>
                </a:cubicBezTo>
                <a:cubicBezTo>
                  <a:pt x="141923" y="2590800"/>
                  <a:pt x="126683" y="2585085"/>
                  <a:pt x="111443" y="2579370"/>
                </a:cubicBezTo>
                <a:cubicBezTo>
                  <a:pt x="97155" y="2573655"/>
                  <a:pt x="83820" y="2567940"/>
                  <a:pt x="72390" y="2562225"/>
                </a:cubicBezTo>
                <a:cubicBezTo>
                  <a:pt x="66675" y="2559368"/>
                  <a:pt x="60960" y="2557463"/>
                  <a:pt x="55245" y="2555558"/>
                </a:cubicBezTo>
                <a:cubicBezTo>
                  <a:pt x="50483" y="2552700"/>
                  <a:pt x="45720" y="2550795"/>
                  <a:pt x="40958" y="2548890"/>
                </a:cubicBezTo>
                <a:cubicBezTo>
                  <a:pt x="32385" y="2545080"/>
                  <a:pt x="24765" y="2541270"/>
                  <a:pt x="18098" y="2538413"/>
                </a:cubicBezTo>
                <a:cubicBezTo>
                  <a:pt x="7620" y="2533650"/>
                  <a:pt x="952" y="2530793"/>
                  <a:pt x="0" y="2529840"/>
                </a:cubicBezTo>
                <a:cubicBezTo>
                  <a:pt x="952" y="2530793"/>
                  <a:pt x="6667" y="2534603"/>
                  <a:pt x="17145" y="2541270"/>
                </a:cubicBezTo>
                <a:cubicBezTo>
                  <a:pt x="22860" y="2545080"/>
                  <a:pt x="29528" y="2549843"/>
                  <a:pt x="38100" y="2555558"/>
                </a:cubicBezTo>
                <a:cubicBezTo>
                  <a:pt x="41910" y="2558415"/>
                  <a:pt x="46673" y="2561273"/>
                  <a:pt x="51435" y="2564130"/>
                </a:cubicBezTo>
                <a:cubicBezTo>
                  <a:pt x="56198" y="2566988"/>
                  <a:pt x="61913" y="2569845"/>
                  <a:pt x="66675" y="2573655"/>
                </a:cubicBezTo>
                <a:cubicBezTo>
                  <a:pt x="78105" y="2580323"/>
                  <a:pt x="90488" y="2587943"/>
                  <a:pt x="103823" y="2595563"/>
                </a:cubicBezTo>
                <a:cubicBezTo>
                  <a:pt x="118110" y="2603183"/>
                  <a:pt x="133350" y="2610803"/>
                  <a:pt x="149543" y="2619375"/>
                </a:cubicBezTo>
                <a:cubicBezTo>
                  <a:pt x="182880" y="2635568"/>
                  <a:pt x="220980" y="2653665"/>
                  <a:pt x="263843" y="2669858"/>
                </a:cubicBezTo>
                <a:cubicBezTo>
                  <a:pt x="350520" y="2704148"/>
                  <a:pt x="459105" y="2732723"/>
                  <a:pt x="581978" y="2747963"/>
                </a:cubicBezTo>
                <a:cubicBezTo>
                  <a:pt x="643890" y="2754630"/>
                  <a:pt x="708660" y="2757488"/>
                  <a:pt x="776288" y="2755583"/>
                </a:cubicBezTo>
                <a:cubicBezTo>
                  <a:pt x="843915" y="2752725"/>
                  <a:pt x="913448" y="2745105"/>
                  <a:pt x="983933" y="2730818"/>
                </a:cubicBezTo>
                <a:cubicBezTo>
                  <a:pt x="1053465" y="2716530"/>
                  <a:pt x="1119188" y="2699385"/>
                  <a:pt x="1182053" y="2687955"/>
                </a:cubicBezTo>
                <a:cubicBezTo>
                  <a:pt x="1244918" y="2677478"/>
                  <a:pt x="1306830" y="2673668"/>
                  <a:pt x="1365885" y="2674620"/>
                </a:cubicBezTo>
                <a:cubicBezTo>
                  <a:pt x="1424940" y="2675573"/>
                  <a:pt x="1481138" y="2680335"/>
                  <a:pt x="1534478" y="2687003"/>
                </a:cubicBezTo>
                <a:cubicBezTo>
                  <a:pt x="1540193" y="2687955"/>
                  <a:pt x="1545908" y="2688908"/>
                  <a:pt x="1550670" y="2689860"/>
                </a:cubicBezTo>
                <a:cubicBezTo>
                  <a:pt x="1646873" y="2717483"/>
                  <a:pt x="1744980" y="2743200"/>
                  <a:pt x="1837373" y="2779395"/>
                </a:cubicBezTo>
                <a:cubicBezTo>
                  <a:pt x="1886903" y="2798445"/>
                  <a:pt x="1932623" y="2821305"/>
                  <a:pt x="1974533" y="2847023"/>
                </a:cubicBezTo>
                <a:cubicBezTo>
                  <a:pt x="1995488" y="2860358"/>
                  <a:pt x="2015490" y="2874645"/>
                  <a:pt x="2034540" y="2888933"/>
                </a:cubicBezTo>
                <a:cubicBezTo>
                  <a:pt x="2053590" y="2904173"/>
                  <a:pt x="2071688" y="2919413"/>
                  <a:pt x="2087880" y="2936558"/>
                </a:cubicBezTo>
                <a:cubicBezTo>
                  <a:pt x="2104073" y="2953703"/>
                  <a:pt x="2119313" y="2970848"/>
                  <a:pt x="2132648" y="2988945"/>
                </a:cubicBezTo>
                <a:cubicBezTo>
                  <a:pt x="2145983" y="3007043"/>
                  <a:pt x="2157413" y="3026093"/>
                  <a:pt x="2166938" y="3045143"/>
                </a:cubicBezTo>
                <a:cubicBezTo>
                  <a:pt x="2176463" y="3064193"/>
                  <a:pt x="2184083" y="3085148"/>
                  <a:pt x="2190750" y="3105150"/>
                </a:cubicBezTo>
                <a:cubicBezTo>
                  <a:pt x="2197418" y="3126105"/>
                  <a:pt x="2201228" y="3147060"/>
                  <a:pt x="2205038" y="3168968"/>
                </a:cubicBezTo>
                <a:cubicBezTo>
                  <a:pt x="2211705" y="3212783"/>
                  <a:pt x="2214563" y="3257550"/>
                  <a:pt x="2213610" y="3301365"/>
                </a:cubicBezTo>
                <a:cubicBezTo>
                  <a:pt x="2213610" y="3346133"/>
                  <a:pt x="2211705" y="3389948"/>
                  <a:pt x="2209800" y="3433763"/>
                </a:cubicBezTo>
                <a:cubicBezTo>
                  <a:pt x="2206943" y="3489008"/>
                  <a:pt x="2205038" y="3542348"/>
                  <a:pt x="2204085" y="3593783"/>
                </a:cubicBezTo>
                <a:cubicBezTo>
                  <a:pt x="2197418" y="3590925"/>
                  <a:pt x="2189798" y="3587115"/>
                  <a:pt x="2183130" y="3585210"/>
                </a:cubicBezTo>
                <a:cubicBezTo>
                  <a:pt x="2166938" y="3579495"/>
                  <a:pt x="2153603" y="3574733"/>
                  <a:pt x="2138363" y="3569018"/>
                </a:cubicBezTo>
                <a:cubicBezTo>
                  <a:pt x="2123123" y="3563303"/>
                  <a:pt x="2107883" y="3558540"/>
                  <a:pt x="2092643" y="3553778"/>
                </a:cubicBezTo>
                <a:cubicBezTo>
                  <a:pt x="2061210" y="3543300"/>
                  <a:pt x="2028825" y="3533775"/>
                  <a:pt x="1994535" y="3526155"/>
                </a:cubicBezTo>
                <a:cubicBezTo>
                  <a:pt x="1960245" y="3518535"/>
                  <a:pt x="1923098" y="3511868"/>
                  <a:pt x="1884998" y="3509963"/>
                </a:cubicBezTo>
                <a:cubicBezTo>
                  <a:pt x="1865948" y="3509010"/>
                  <a:pt x="1845945" y="3509010"/>
                  <a:pt x="1826895" y="3509963"/>
                </a:cubicBezTo>
                <a:cubicBezTo>
                  <a:pt x="1806893" y="3510915"/>
                  <a:pt x="1787843" y="3513773"/>
                  <a:pt x="1769745" y="3516630"/>
                </a:cubicBezTo>
                <a:cubicBezTo>
                  <a:pt x="1732598" y="3522345"/>
                  <a:pt x="1696403" y="3529965"/>
                  <a:pt x="1662113" y="3535680"/>
                </a:cubicBezTo>
                <a:cubicBezTo>
                  <a:pt x="1627823" y="3541395"/>
                  <a:pt x="1596390" y="3543300"/>
                  <a:pt x="1564005" y="3541395"/>
                </a:cubicBezTo>
                <a:cubicBezTo>
                  <a:pt x="1532573" y="3539490"/>
                  <a:pt x="1501140" y="3534728"/>
                  <a:pt x="1470660" y="3526155"/>
                </a:cubicBezTo>
                <a:cubicBezTo>
                  <a:pt x="1441133" y="3517583"/>
                  <a:pt x="1412558" y="3507105"/>
                  <a:pt x="1385888" y="3492818"/>
                </a:cubicBezTo>
                <a:cubicBezTo>
                  <a:pt x="1359218" y="3479483"/>
                  <a:pt x="1334453" y="3462338"/>
                  <a:pt x="1309688" y="3443288"/>
                </a:cubicBezTo>
                <a:cubicBezTo>
                  <a:pt x="1284923" y="3425190"/>
                  <a:pt x="1261110" y="3405188"/>
                  <a:pt x="1236345" y="3386138"/>
                </a:cubicBezTo>
                <a:cubicBezTo>
                  <a:pt x="1223963" y="3376613"/>
                  <a:pt x="1211580" y="3367088"/>
                  <a:pt x="1199198" y="3358515"/>
                </a:cubicBezTo>
                <a:cubicBezTo>
                  <a:pt x="1185863" y="3349943"/>
                  <a:pt x="1173480" y="3341370"/>
                  <a:pt x="1161098" y="3333750"/>
                </a:cubicBezTo>
                <a:cubicBezTo>
                  <a:pt x="1109663" y="3302318"/>
                  <a:pt x="1059180" y="3279458"/>
                  <a:pt x="1011555" y="3264218"/>
                </a:cubicBezTo>
                <a:cubicBezTo>
                  <a:pt x="963930" y="3248025"/>
                  <a:pt x="919163" y="3238500"/>
                  <a:pt x="880110" y="3232785"/>
                </a:cubicBezTo>
                <a:cubicBezTo>
                  <a:pt x="861060" y="3229928"/>
                  <a:pt x="842010" y="3228023"/>
                  <a:pt x="825818" y="3227070"/>
                </a:cubicBezTo>
                <a:cubicBezTo>
                  <a:pt x="808673" y="3226118"/>
                  <a:pt x="793433" y="3225165"/>
                  <a:pt x="780098" y="3226118"/>
                </a:cubicBezTo>
                <a:cubicBezTo>
                  <a:pt x="773430" y="3226118"/>
                  <a:pt x="766763" y="3226118"/>
                  <a:pt x="761048" y="3226118"/>
                </a:cubicBezTo>
                <a:cubicBezTo>
                  <a:pt x="755333" y="3226118"/>
                  <a:pt x="749618" y="3227070"/>
                  <a:pt x="743903" y="3227070"/>
                </a:cubicBezTo>
                <a:cubicBezTo>
                  <a:pt x="733425" y="3228023"/>
                  <a:pt x="724853" y="3228023"/>
                  <a:pt x="717233" y="3228975"/>
                </a:cubicBezTo>
                <a:cubicBezTo>
                  <a:pt x="702945" y="3230880"/>
                  <a:pt x="695325" y="3230880"/>
                  <a:pt x="695325" y="3230880"/>
                </a:cubicBezTo>
                <a:cubicBezTo>
                  <a:pt x="695325" y="3230880"/>
                  <a:pt x="702945" y="3231833"/>
                  <a:pt x="717233" y="3232785"/>
                </a:cubicBezTo>
                <a:cubicBezTo>
                  <a:pt x="723900" y="3233738"/>
                  <a:pt x="733425" y="3234690"/>
                  <a:pt x="742950" y="3235643"/>
                </a:cubicBezTo>
                <a:cubicBezTo>
                  <a:pt x="747713" y="3236595"/>
                  <a:pt x="753428" y="3237548"/>
                  <a:pt x="759143" y="3237548"/>
                </a:cubicBezTo>
                <a:cubicBezTo>
                  <a:pt x="764858" y="3238500"/>
                  <a:pt x="771525" y="3239453"/>
                  <a:pt x="778193" y="3241358"/>
                </a:cubicBezTo>
                <a:cubicBezTo>
                  <a:pt x="791528" y="3243263"/>
                  <a:pt x="805815" y="3247073"/>
                  <a:pt x="822008" y="3250883"/>
                </a:cubicBezTo>
                <a:cubicBezTo>
                  <a:pt x="838200" y="3254693"/>
                  <a:pt x="854393" y="3259455"/>
                  <a:pt x="872490" y="3265170"/>
                </a:cubicBezTo>
                <a:cubicBezTo>
                  <a:pt x="908685" y="3276600"/>
                  <a:pt x="948690" y="3291840"/>
                  <a:pt x="990600" y="3312795"/>
                </a:cubicBezTo>
                <a:cubicBezTo>
                  <a:pt x="1032510" y="3333750"/>
                  <a:pt x="1076325" y="3360420"/>
                  <a:pt x="1119188" y="3393758"/>
                </a:cubicBezTo>
                <a:cubicBezTo>
                  <a:pt x="1141095" y="3409950"/>
                  <a:pt x="1162050" y="3428048"/>
                  <a:pt x="1183005" y="3449003"/>
                </a:cubicBezTo>
                <a:cubicBezTo>
                  <a:pt x="1204913" y="3469005"/>
                  <a:pt x="1226820" y="3490913"/>
                  <a:pt x="1252538" y="3513773"/>
                </a:cubicBezTo>
                <a:cubicBezTo>
                  <a:pt x="1277303" y="3535680"/>
                  <a:pt x="1305878" y="3558540"/>
                  <a:pt x="1337310" y="3577590"/>
                </a:cubicBezTo>
                <a:cubicBezTo>
                  <a:pt x="1368743" y="3596640"/>
                  <a:pt x="1403985" y="3612833"/>
                  <a:pt x="1441133" y="3624263"/>
                </a:cubicBezTo>
                <a:cubicBezTo>
                  <a:pt x="1478280" y="3635693"/>
                  <a:pt x="1517333" y="3643313"/>
                  <a:pt x="1557338" y="3646170"/>
                </a:cubicBezTo>
                <a:cubicBezTo>
                  <a:pt x="1597343" y="3649028"/>
                  <a:pt x="1639253" y="3646170"/>
                  <a:pt x="1677353" y="3640455"/>
                </a:cubicBezTo>
                <a:cubicBezTo>
                  <a:pt x="1716405" y="3634740"/>
                  <a:pt x="1751648" y="3626168"/>
                  <a:pt x="1784985" y="3620453"/>
                </a:cubicBezTo>
                <a:cubicBezTo>
                  <a:pt x="1818323" y="3614738"/>
                  <a:pt x="2022158" y="3589973"/>
                  <a:pt x="2187893" y="3732848"/>
                </a:cubicBezTo>
                <a:cubicBezTo>
                  <a:pt x="2226945" y="3767138"/>
                  <a:pt x="2184083" y="4052888"/>
                  <a:pt x="2179320" y="4099560"/>
                </a:cubicBezTo>
                <a:cubicBezTo>
                  <a:pt x="2174558" y="4147185"/>
                  <a:pt x="2167890" y="4191953"/>
                  <a:pt x="2156460" y="4232910"/>
                </a:cubicBezTo>
                <a:cubicBezTo>
                  <a:pt x="2145030" y="4273868"/>
                  <a:pt x="2127885" y="4310063"/>
                  <a:pt x="2107883" y="4342448"/>
                </a:cubicBezTo>
                <a:cubicBezTo>
                  <a:pt x="2087880" y="4374833"/>
                  <a:pt x="2064068" y="4402455"/>
                  <a:pt x="2041208" y="4426268"/>
                </a:cubicBezTo>
                <a:cubicBezTo>
                  <a:pt x="2031683" y="4436745"/>
                  <a:pt x="2021205" y="4447223"/>
                  <a:pt x="2011680" y="4455795"/>
                </a:cubicBezTo>
                <a:lnTo>
                  <a:pt x="2564130" y="4455795"/>
                </a:lnTo>
                <a:cubicBezTo>
                  <a:pt x="2544128" y="4418648"/>
                  <a:pt x="2525078" y="4376738"/>
                  <a:pt x="2511743" y="4330065"/>
                </a:cubicBezTo>
                <a:cubicBezTo>
                  <a:pt x="2500313" y="4292918"/>
                  <a:pt x="2493645" y="4252913"/>
                  <a:pt x="2488883" y="4210050"/>
                </a:cubicBezTo>
                <a:cubicBezTo>
                  <a:pt x="2484120" y="4167188"/>
                  <a:pt x="2482215" y="4122420"/>
                  <a:pt x="2479358" y="4075748"/>
                </a:cubicBezTo>
                <a:cubicBezTo>
                  <a:pt x="2475548" y="3998595"/>
                  <a:pt x="2470785" y="3925253"/>
                  <a:pt x="2466023" y="3856673"/>
                </a:cubicBezTo>
                <a:cubicBezTo>
                  <a:pt x="2466023" y="3844290"/>
                  <a:pt x="2465070" y="3832860"/>
                  <a:pt x="2464118" y="3820478"/>
                </a:cubicBezTo>
                <a:cubicBezTo>
                  <a:pt x="2472690" y="3754755"/>
                  <a:pt x="2485073" y="3686175"/>
                  <a:pt x="2506980" y="3620453"/>
                </a:cubicBezTo>
                <a:cubicBezTo>
                  <a:pt x="2510790" y="3609975"/>
                  <a:pt x="2514600" y="3599498"/>
                  <a:pt x="2518410" y="3589020"/>
                </a:cubicBezTo>
                <a:cubicBezTo>
                  <a:pt x="2525078" y="3574733"/>
                  <a:pt x="2532698" y="3559493"/>
                  <a:pt x="2540318" y="3543300"/>
                </a:cubicBezTo>
                <a:cubicBezTo>
                  <a:pt x="2542223" y="3539490"/>
                  <a:pt x="2543175" y="3536633"/>
                  <a:pt x="2545080" y="3532823"/>
                </a:cubicBezTo>
                <a:cubicBezTo>
                  <a:pt x="2550795" y="3522345"/>
                  <a:pt x="2557463" y="3511868"/>
                  <a:pt x="2563178" y="3501390"/>
                </a:cubicBezTo>
                <a:cubicBezTo>
                  <a:pt x="2576513" y="3480435"/>
                  <a:pt x="2591753" y="3460433"/>
                  <a:pt x="2607945" y="3441383"/>
                </a:cubicBezTo>
                <a:cubicBezTo>
                  <a:pt x="2607945" y="3441383"/>
                  <a:pt x="2607945" y="3441383"/>
                  <a:pt x="2608898" y="3441383"/>
                </a:cubicBezTo>
                <a:cubicBezTo>
                  <a:pt x="2626043" y="3428048"/>
                  <a:pt x="2646998" y="3417570"/>
                  <a:pt x="2669858" y="3406140"/>
                </a:cubicBezTo>
                <a:cubicBezTo>
                  <a:pt x="2693670" y="3395663"/>
                  <a:pt x="2718435" y="3383280"/>
                  <a:pt x="2743200" y="3372803"/>
                </a:cubicBezTo>
                <a:cubicBezTo>
                  <a:pt x="2792730" y="3350895"/>
                  <a:pt x="2845118" y="3329940"/>
                  <a:pt x="2899410" y="3319463"/>
                </a:cubicBezTo>
                <a:cubicBezTo>
                  <a:pt x="2926080" y="3314700"/>
                  <a:pt x="2953703" y="3311843"/>
                  <a:pt x="2981325" y="3313748"/>
                </a:cubicBezTo>
                <a:cubicBezTo>
                  <a:pt x="2995613" y="3313748"/>
                  <a:pt x="3008948" y="3316605"/>
                  <a:pt x="3023235" y="3317558"/>
                </a:cubicBezTo>
                <a:cubicBezTo>
                  <a:pt x="3029903" y="3318510"/>
                  <a:pt x="3037523" y="3320415"/>
                  <a:pt x="3044190" y="3321368"/>
                </a:cubicBezTo>
                <a:cubicBezTo>
                  <a:pt x="3050858" y="3323273"/>
                  <a:pt x="3058478" y="3324225"/>
                  <a:pt x="3065145" y="3326130"/>
                </a:cubicBezTo>
                <a:cubicBezTo>
                  <a:pt x="3122295" y="3341370"/>
                  <a:pt x="3177540" y="3366135"/>
                  <a:pt x="3231833" y="3390900"/>
                </a:cubicBezTo>
                <a:cubicBezTo>
                  <a:pt x="3286125" y="3415665"/>
                  <a:pt x="3340418" y="3441383"/>
                  <a:pt x="3394710" y="3460433"/>
                </a:cubicBezTo>
                <a:cubicBezTo>
                  <a:pt x="3449003" y="3480435"/>
                  <a:pt x="3504248" y="3492818"/>
                  <a:pt x="3557588" y="3495675"/>
                </a:cubicBezTo>
                <a:cubicBezTo>
                  <a:pt x="3584258" y="3497580"/>
                  <a:pt x="3609975" y="3495675"/>
                  <a:pt x="3633788" y="3492818"/>
                </a:cubicBezTo>
                <a:cubicBezTo>
                  <a:pt x="3657600" y="3489960"/>
                  <a:pt x="3680460" y="3485198"/>
                  <a:pt x="3701415" y="3481388"/>
                </a:cubicBezTo>
                <a:cubicBezTo>
                  <a:pt x="3743325" y="3471863"/>
                  <a:pt x="3779520" y="3461385"/>
                  <a:pt x="3811905" y="3452813"/>
                </a:cubicBezTo>
                <a:cubicBezTo>
                  <a:pt x="3844290" y="3444240"/>
                  <a:pt x="3871913" y="3437573"/>
                  <a:pt x="3894773" y="3432810"/>
                </a:cubicBezTo>
                <a:cubicBezTo>
                  <a:pt x="3917633" y="3429000"/>
                  <a:pt x="3935730" y="3426143"/>
                  <a:pt x="3948113" y="3425190"/>
                </a:cubicBezTo>
                <a:cubicBezTo>
                  <a:pt x="3960495" y="3424238"/>
                  <a:pt x="3967163" y="3423285"/>
                  <a:pt x="3967163" y="3423285"/>
                </a:cubicBezTo>
                <a:cubicBezTo>
                  <a:pt x="3967163" y="3423285"/>
                  <a:pt x="3960495" y="3422333"/>
                  <a:pt x="3948113" y="3421380"/>
                </a:cubicBezTo>
                <a:cubicBezTo>
                  <a:pt x="3935730" y="3420428"/>
                  <a:pt x="3917633" y="3419475"/>
                  <a:pt x="3892868" y="3419475"/>
                </a:cubicBezTo>
                <a:cubicBezTo>
                  <a:pt x="3869055" y="3420428"/>
                  <a:pt x="3839528" y="3422333"/>
                  <a:pt x="3806190" y="3426143"/>
                </a:cubicBezTo>
                <a:cubicBezTo>
                  <a:pt x="3772853" y="3429953"/>
                  <a:pt x="3734753" y="3435668"/>
                  <a:pt x="3693795" y="3439478"/>
                </a:cubicBezTo>
                <a:cubicBezTo>
                  <a:pt x="3652838" y="3443288"/>
                  <a:pt x="3608070" y="3446145"/>
                  <a:pt x="3563303" y="3437573"/>
                </a:cubicBezTo>
                <a:cubicBezTo>
                  <a:pt x="3517583" y="3430905"/>
                  <a:pt x="3469958" y="3414713"/>
                  <a:pt x="3421380" y="3393758"/>
                </a:cubicBezTo>
                <a:cubicBezTo>
                  <a:pt x="3372803" y="3371850"/>
                  <a:pt x="3322320" y="3345180"/>
                  <a:pt x="3267075" y="3317558"/>
                </a:cubicBezTo>
                <a:cubicBezTo>
                  <a:pt x="3209925" y="3288983"/>
                  <a:pt x="3148965" y="3259455"/>
                  <a:pt x="3078480" y="3242310"/>
                </a:cubicBezTo>
                <a:cubicBezTo>
                  <a:pt x="3073718" y="3241358"/>
                  <a:pt x="3068955" y="3240405"/>
                  <a:pt x="3064193" y="3239453"/>
                </a:cubicBezTo>
                <a:cubicBezTo>
                  <a:pt x="3054668" y="3237548"/>
                  <a:pt x="3045143" y="3234690"/>
                  <a:pt x="3035618" y="3234690"/>
                </a:cubicBezTo>
                <a:cubicBezTo>
                  <a:pt x="3018473" y="3232785"/>
                  <a:pt x="3001328" y="3229928"/>
                  <a:pt x="2983230" y="3230880"/>
                </a:cubicBezTo>
                <a:cubicBezTo>
                  <a:pt x="2947988" y="3228975"/>
                  <a:pt x="2913698" y="3233738"/>
                  <a:pt x="2881313" y="3241358"/>
                </a:cubicBezTo>
                <a:cubicBezTo>
                  <a:pt x="2875598" y="3242310"/>
                  <a:pt x="2869883" y="3244215"/>
                  <a:pt x="2864168" y="3246120"/>
                </a:cubicBezTo>
                <a:cubicBezTo>
                  <a:pt x="2875598" y="3239453"/>
                  <a:pt x="2887028" y="3232785"/>
                  <a:pt x="2897505" y="3227070"/>
                </a:cubicBezTo>
                <a:cubicBezTo>
                  <a:pt x="2905125" y="3225165"/>
                  <a:pt x="2911793" y="3222308"/>
                  <a:pt x="2919413" y="3220403"/>
                </a:cubicBezTo>
                <a:cubicBezTo>
                  <a:pt x="2966085" y="3207068"/>
                  <a:pt x="3015615" y="3195638"/>
                  <a:pt x="3065145" y="3187065"/>
                </a:cubicBezTo>
                <a:cubicBezTo>
                  <a:pt x="3115628" y="3178493"/>
                  <a:pt x="3167063" y="3171825"/>
                  <a:pt x="3220403" y="3165158"/>
                </a:cubicBezTo>
                <a:cubicBezTo>
                  <a:pt x="3326130" y="3152775"/>
                  <a:pt x="3431858" y="3143250"/>
                  <a:pt x="3533775" y="3125153"/>
                </a:cubicBezTo>
                <a:cubicBezTo>
                  <a:pt x="3585210" y="3115628"/>
                  <a:pt x="3634740" y="3104198"/>
                  <a:pt x="3683318" y="3089910"/>
                </a:cubicBezTo>
                <a:cubicBezTo>
                  <a:pt x="3731895" y="3075623"/>
                  <a:pt x="3777615" y="3058478"/>
                  <a:pt x="3821430" y="3038475"/>
                </a:cubicBezTo>
                <a:cubicBezTo>
                  <a:pt x="3865245" y="3019425"/>
                  <a:pt x="3907155" y="2998470"/>
                  <a:pt x="3946208" y="2975610"/>
                </a:cubicBezTo>
                <a:cubicBezTo>
                  <a:pt x="3966210" y="2965133"/>
                  <a:pt x="3984308" y="2952750"/>
                  <a:pt x="4003358" y="2942273"/>
                </a:cubicBezTo>
                <a:cubicBezTo>
                  <a:pt x="4021455" y="2930843"/>
                  <a:pt x="4039553" y="2919413"/>
                  <a:pt x="4057650" y="2907983"/>
                </a:cubicBezTo>
                <a:cubicBezTo>
                  <a:pt x="4128135" y="2861310"/>
                  <a:pt x="4190048" y="2815590"/>
                  <a:pt x="4246245" y="2771775"/>
                </a:cubicBezTo>
                <a:cubicBezTo>
                  <a:pt x="4357688" y="2685098"/>
                  <a:pt x="4445318" y="2612708"/>
                  <a:pt x="4507230" y="2563178"/>
                </a:cubicBezTo>
                <a:cubicBezTo>
                  <a:pt x="4568190" y="2512695"/>
                  <a:pt x="4601528" y="2485073"/>
                  <a:pt x="4601528" y="2485073"/>
                </a:cubicBezTo>
                <a:cubicBezTo>
                  <a:pt x="4601528" y="2485073"/>
                  <a:pt x="4563428" y="2512695"/>
                  <a:pt x="4496753" y="2555558"/>
                </a:cubicBezTo>
                <a:close/>
              </a:path>
            </a:pathLst>
          </a:custGeom>
          <a:solidFill>
            <a:schemeClr val="bg2">
              <a:lumMod val="75000"/>
            </a:scheme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4" name="Freeform: Shape 5">
            <a:extLst>
              <a:ext uri="{FF2B5EF4-FFF2-40B4-BE49-F238E27FC236}">
                <a16:creationId xmlns:a16="http://schemas.microsoft.com/office/drawing/2014/main" id="{835A1B64-251F-49A0-9BC6-2B92203BA4D1}"/>
              </a:ext>
            </a:extLst>
          </p:cNvPr>
          <p:cNvSpPr/>
          <p:nvPr/>
        </p:nvSpPr>
        <p:spPr>
          <a:xfrm>
            <a:off x="6939824" y="2992379"/>
            <a:ext cx="977367" cy="867786"/>
          </a:xfrm>
          <a:custGeom>
            <a:avLst/>
            <a:gdLst>
              <a:gd name="connsiteX0" fmla="*/ 675084 w 947261"/>
              <a:gd name="connsiteY0" fmla="*/ 0 h 841057"/>
              <a:gd name="connsiteX1" fmla="*/ 272177 w 947261"/>
              <a:gd name="connsiteY1" fmla="*/ 0 h 841057"/>
              <a:gd name="connsiteX2" fmla="*/ 210264 w 947261"/>
              <a:gd name="connsiteY2" fmla="*/ 36195 h 841057"/>
              <a:gd name="connsiteX3" fmla="*/ 9287 w 947261"/>
              <a:gd name="connsiteY3" fmla="*/ 384810 h 841057"/>
              <a:gd name="connsiteX4" fmla="*/ 9287 w 947261"/>
              <a:gd name="connsiteY4" fmla="*/ 456248 h 841057"/>
              <a:gd name="connsiteX5" fmla="*/ 210264 w 947261"/>
              <a:gd name="connsiteY5" fmla="*/ 804863 h 841057"/>
              <a:gd name="connsiteX6" fmla="*/ 272177 w 947261"/>
              <a:gd name="connsiteY6" fmla="*/ 841057 h 841057"/>
              <a:gd name="connsiteX7" fmla="*/ 675084 w 947261"/>
              <a:gd name="connsiteY7" fmla="*/ 841057 h 841057"/>
              <a:gd name="connsiteX8" fmla="*/ 736997 w 947261"/>
              <a:gd name="connsiteY8" fmla="*/ 804863 h 841057"/>
              <a:gd name="connsiteX9" fmla="*/ 937974 w 947261"/>
              <a:gd name="connsiteY9" fmla="*/ 456248 h 841057"/>
              <a:gd name="connsiteX10" fmla="*/ 937974 w 947261"/>
              <a:gd name="connsiteY10" fmla="*/ 384810 h 841057"/>
              <a:gd name="connsiteX11" fmla="*/ 736997 w 947261"/>
              <a:gd name="connsiteY11" fmla="*/ 36195 h 841057"/>
              <a:gd name="connsiteX12" fmla="*/ 675084 w 947261"/>
              <a:gd name="connsiteY12" fmla="*/ 0 h 841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47261" h="841057">
                <a:moveTo>
                  <a:pt x="675084" y="0"/>
                </a:moveTo>
                <a:lnTo>
                  <a:pt x="272177" y="0"/>
                </a:lnTo>
                <a:cubicBezTo>
                  <a:pt x="246459" y="0"/>
                  <a:pt x="222647" y="13335"/>
                  <a:pt x="210264" y="36195"/>
                </a:cubicBezTo>
                <a:lnTo>
                  <a:pt x="9287" y="384810"/>
                </a:lnTo>
                <a:cubicBezTo>
                  <a:pt x="-3096" y="406718"/>
                  <a:pt x="-3096" y="434340"/>
                  <a:pt x="9287" y="456248"/>
                </a:cubicBezTo>
                <a:lnTo>
                  <a:pt x="210264" y="804863"/>
                </a:lnTo>
                <a:cubicBezTo>
                  <a:pt x="222647" y="826770"/>
                  <a:pt x="246459" y="841057"/>
                  <a:pt x="272177" y="841057"/>
                </a:cubicBezTo>
                <a:lnTo>
                  <a:pt x="675084" y="841057"/>
                </a:lnTo>
                <a:cubicBezTo>
                  <a:pt x="700802" y="841057"/>
                  <a:pt x="724614" y="827723"/>
                  <a:pt x="736997" y="804863"/>
                </a:cubicBezTo>
                <a:lnTo>
                  <a:pt x="937974" y="456248"/>
                </a:lnTo>
                <a:cubicBezTo>
                  <a:pt x="950357" y="434340"/>
                  <a:pt x="950357" y="406718"/>
                  <a:pt x="937974" y="384810"/>
                </a:cubicBezTo>
                <a:lnTo>
                  <a:pt x="736997" y="36195"/>
                </a:lnTo>
                <a:cubicBezTo>
                  <a:pt x="724614" y="13335"/>
                  <a:pt x="700802" y="0"/>
                  <a:pt x="675084" y="0"/>
                </a:cubicBezTo>
                <a:close/>
              </a:path>
            </a:pathLst>
          </a:custGeom>
          <a:solidFill>
            <a:schemeClr val="accent5"/>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5" name="Freeform: Shape 6">
            <a:extLst>
              <a:ext uri="{FF2B5EF4-FFF2-40B4-BE49-F238E27FC236}">
                <a16:creationId xmlns:a16="http://schemas.microsoft.com/office/drawing/2014/main" id="{3CD6BA7E-8B64-40C8-9426-37B7D8F6B0E4}"/>
              </a:ext>
            </a:extLst>
          </p:cNvPr>
          <p:cNvSpPr/>
          <p:nvPr/>
        </p:nvSpPr>
        <p:spPr>
          <a:xfrm>
            <a:off x="5915432" y="2218062"/>
            <a:ext cx="977367" cy="866805"/>
          </a:xfrm>
          <a:custGeom>
            <a:avLst/>
            <a:gdLst>
              <a:gd name="connsiteX0" fmla="*/ 675084 w 947261"/>
              <a:gd name="connsiteY0" fmla="*/ 0 h 840105"/>
              <a:gd name="connsiteX1" fmla="*/ 272177 w 947261"/>
              <a:gd name="connsiteY1" fmla="*/ 0 h 840105"/>
              <a:gd name="connsiteX2" fmla="*/ 210264 w 947261"/>
              <a:gd name="connsiteY2" fmla="*/ 36195 h 840105"/>
              <a:gd name="connsiteX3" fmla="*/ 9287 w 947261"/>
              <a:gd name="connsiteY3" fmla="*/ 383858 h 840105"/>
              <a:gd name="connsiteX4" fmla="*/ 9287 w 947261"/>
              <a:gd name="connsiteY4" fmla="*/ 455295 h 840105"/>
              <a:gd name="connsiteX5" fmla="*/ 210264 w 947261"/>
              <a:gd name="connsiteY5" fmla="*/ 803910 h 840105"/>
              <a:gd name="connsiteX6" fmla="*/ 272177 w 947261"/>
              <a:gd name="connsiteY6" fmla="*/ 840105 h 840105"/>
              <a:gd name="connsiteX7" fmla="*/ 675084 w 947261"/>
              <a:gd name="connsiteY7" fmla="*/ 840105 h 840105"/>
              <a:gd name="connsiteX8" fmla="*/ 736997 w 947261"/>
              <a:gd name="connsiteY8" fmla="*/ 803910 h 840105"/>
              <a:gd name="connsiteX9" fmla="*/ 937974 w 947261"/>
              <a:gd name="connsiteY9" fmla="*/ 455295 h 840105"/>
              <a:gd name="connsiteX10" fmla="*/ 937974 w 947261"/>
              <a:gd name="connsiteY10" fmla="*/ 383858 h 840105"/>
              <a:gd name="connsiteX11" fmla="*/ 736997 w 947261"/>
              <a:gd name="connsiteY11" fmla="*/ 35243 h 840105"/>
              <a:gd name="connsiteX12" fmla="*/ 675084 w 947261"/>
              <a:gd name="connsiteY12" fmla="*/ 0 h 8401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47261" h="840105">
                <a:moveTo>
                  <a:pt x="675084" y="0"/>
                </a:moveTo>
                <a:lnTo>
                  <a:pt x="272177" y="0"/>
                </a:lnTo>
                <a:cubicBezTo>
                  <a:pt x="246459" y="0"/>
                  <a:pt x="222647" y="13335"/>
                  <a:pt x="210264" y="36195"/>
                </a:cubicBezTo>
                <a:lnTo>
                  <a:pt x="9287" y="383858"/>
                </a:lnTo>
                <a:cubicBezTo>
                  <a:pt x="-3096" y="405765"/>
                  <a:pt x="-3096" y="433388"/>
                  <a:pt x="9287" y="455295"/>
                </a:cubicBezTo>
                <a:lnTo>
                  <a:pt x="210264" y="803910"/>
                </a:lnTo>
                <a:cubicBezTo>
                  <a:pt x="222647" y="825818"/>
                  <a:pt x="246459" y="840105"/>
                  <a:pt x="272177" y="840105"/>
                </a:cubicBezTo>
                <a:lnTo>
                  <a:pt x="675084" y="840105"/>
                </a:lnTo>
                <a:cubicBezTo>
                  <a:pt x="700802" y="840105"/>
                  <a:pt x="724614" y="826770"/>
                  <a:pt x="736997" y="803910"/>
                </a:cubicBezTo>
                <a:lnTo>
                  <a:pt x="937974" y="455295"/>
                </a:lnTo>
                <a:cubicBezTo>
                  <a:pt x="950357" y="433388"/>
                  <a:pt x="950357" y="405765"/>
                  <a:pt x="937974" y="383858"/>
                </a:cubicBezTo>
                <a:lnTo>
                  <a:pt x="736997" y="35243"/>
                </a:lnTo>
                <a:cubicBezTo>
                  <a:pt x="724614" y="13335"/>
                  <a:pt x="700802" y="0"/>
                  <a:pt x="675084" y="0"/>
                </a:cubicBezTo>
                <a:close/>
              </a:path>
            </a:pathLst>
          </a:custGeom>
          <a:solidFill>
            <a:schemeClr val="accent4"/>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6" name="Freeform: Shape 7">
            <a:extLst>
              <a:ext uri="{FF2B5EF4-FFF2-40B4-BE49-F238E27FC236}">
                <a16:creationId xmlns:a16="http://schemas.microsoft.com/office/drawing/2014/main" id="{D9141432-C60C-4DB4-B75D-A8051763985B}"/>
              </a:ext>
            </a:extLst>
          </p:cNvPr>
          <p:cNvSpPr/>
          <p:nvPr/>
        </p:nvSpPr>
        <p:spPr>
          <a:xfrm>
            <a:off x="6705809" y="4192722"/>
            <a:ext cx="504162" cy="456005"/>
          </a:xfrm>
          <a:custGeom>
            <a:avLst/>
            <a:gdLst>
              <a:gd name="connsiteX0" fmla="*/ 333375 w 488632"/>
              <a:gd name="connsiteY0" fmla="*/ 0 h 441959"/>
              <a:gd name="connsiteX1" fmla="*/ 155258 w 488632"/>
              <a:gd name="connsiteY1" fmla="*/ 0 h 441959"/>
              <a:gd name="connsiteX2" fmla="*/ 98108 w 488632"/>
              <a:gd name="connsiteY2" fmla="*/ 33338 h 441959"/>
              <a:gd name="connsiteX3" fmla="*/ 8573 w 488632"/>
              <a:gd name="connsiteY3" fmla="*/ 187642 h 441959"/>
              <a:gd name="connsiteX4" fmla="*/ 8573 w 488632"/>
              <a:gd name="connsiteY4" fmla="*/ 254317 h 441959"/>
              <a:gd name="connsiteX5" fmla="*/ 98108 w 488632"/>
              <a:gd name="connsiteY5" fmla="*/ 408622 h 441959"/>
              <a:gd name="connsiteX6" fmla="*/ 155258 w 488632"/>
              <a:gd name="connsiteY6" fmla="*/ 441960 h 441959"/>
              <a:gd name="connsiteX7" fmla="*/ 333375 w 488632"/>
              <a:gd name="connsiteY7" fmla="*/ 441960 h 441959"/>
              <a:gd name="connsiteX8" fmla="*/ 390525 w 488632"/>
              <a:gd name="connsiteY8" fmla="*/ 408622 h 441959"/>
              <a:gd name="connsiteX9" fmla="*/ 480060 w 488632"/>
              <a:gd name="connsiteY9" fmla="*/ 254317 h 441959"/>
              <a:gd name="connsiteX10" fmla="*/ 480060 w 488632"/>
              <a:gd name="connsiteY10" fmla="*/ 187642 h 441959"/>
              <a:gd name="connsiteX11" fmla="*/ 390525 w 488632"/>
              <a:gd name="connsiteY11" fmla="*/ 33338 h 441959"/>
              <a:gd name="connsiteX12" fmla="*/ 333375 w 488632"/>
              <a:gd name="connsiteY12" fmla="*/ 0 h 4419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88632" h="441959">
                <a:moveTo>
                  <a:pt x="333375" y="0"/>
                </a:moveTo>
                <a:lnTo>
                  <a:pt x="155258" y="0"/>
                </a:lnTo>
                <a:cubicBezTo>
                  <a:pt x="131445" y="0"/>
                  <a:pt x="109538" y="12382"/>
                  <a:pt x="98108" y="33338"/>
                </a:cubicBezTo>
                <a:lnTo>
                  <a:pt x="8573" y="187642"/>
                </a:lnTo>
                <a:cubicBezTo>
                  <a:pt x="-2858" y="208597"/>
                  <a:pt x="-2858" y="233363"/>
                  <a:pt x="8573" y="254317"/>
                </a:cubicBezTo>
                <a:lnTo>
                  <a:pt x="98108" y="408622"/>
                </a:lnTo>
                <a:cubicBezTo>
                  <a:pt x="109538" y="429578"/>
                  <a:pt x="131445" y="441960"/>
                  <a:pt x="155258" y="441960"/>
                </a:cubicBezTo>
                <a:lnTo>
                  <a:pt x="333375" y="441960"/>
                </a:lnTo>
                <a:cubicBezTo>
                  <a:pt x="357188" y="441960"/>
                  <a:pt x="379095" y="429578"/>
                  <a:pt x="390525" y="408622"/>
                </a:cubicBezTo>
                <a:lnTo>
                  <a:pt x="480060" y="254317"/>
                </a:lnTo>
                <a:cubicBezTo>
                  <a:pt x="491490" y="233363"/>
                  <a:pt x="491490" y="208597"/>
                  <a:pt x="480060" y="187642"/>
                </a:cubicBezTo>
                <a:lnTo>
                  <a:pt x="390525" y="33338"/>
                </a:lnTo>
                <a:cubicBezTo>
                  <a:pt x="379095" y="12382"/>
                  <a:pt x="357188" y="0"/>
                  <a:pt x="333375" y="0"/>
                </a:cubicBezTo>
                <a:close/>
              </a:path>
            </a:pathLst>
          </a:custGeom>
          <a:solidFill>
            <a:schemeClr val="accent5"/>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7" name="Freeform: Shape 8">
            <a:extLst>
              <a:ext uri="{FF2B5EF4-FFF2-40B4-BE49-F238E27FC236}">
                <a16:creationId xmlns:a16="http://schemas.microsoft.com/office/drawing/2014/main" id="{3E01FDA3-6CD0-4F6C-AB5E-0D82D9FA74A9}"/>
              </a:ext>
            </a:extLst>
          </p:cNvPr>
          <p:cNvSpPr/>
          <p:nvPr/>
        </p:nvSpPr>
        <p:spPr>
          <a:xfrm>
            <a:off x="5477922" y="4034366"/>
            <a:ext cx="761962" cy="689182"/>
          </a:xfrm>
          <a:custGeom>
            <a:avLst/>
            <a:gdLst>
              <a:gd name="connsiteX0" fmla="*/ 333375 w 488632"/>
              <a:gd name="connsiteY0" fmla="*/ 0 h 441959"/>
              <a:gd name="connsiteX1" fmla="*/ 155257 w 488632"/>
              <a:gd name="connsiteY1" fmla="*/ 0 h 441959"/>
              <a:gd name="connsiteX2" fmla="*/ 98107 w 488632"/>
              <a:gd name="connsiteY2" fmla="*/ 33338 h 441959"/>
              <a:gd name="connsiteX3" fmla="*/ 8572 w 488632"/>
              <a:gd name="connsiteY3" fmla="*/ 187642 h 441959"/>
              <a:gd name="connsiteX4" fmla="*/ 8572 w 488632"/>
              <a:gd name="connsiteY4" fmla="*/ 254317 h 441959"/>
              <a:gd name="connsiteX5" fmla="*/ 98107 w 488632"/>
              <a:gd name="connsiteY5" fmla="*/ 408622 h 441959"/>
              <a:gd name="connsiteX6" fmla="*/ 155257 w 488632"/>
              <a:gd name="connsiteY6" fmla="*/ 441960 h 441959"/>
              <a:gd name="connsiteX7" fmla="*/ 333375 w 488632"/>
              <a:gd name="connsiteY7" fmla="*/ 441960 h 441959"/>
              <a:gd name="connsiteX8" fmla="*/ 390525 w 488632"/>
              <a:gd name="connsiteY8" fmla="*/ 408622 h 441959"/>
              <a:gd name="connsiteX9" fmla="*/ 480060 w 488632"/>
              <a:gd name="connsiteY9" fmla="*/ 254317 h 441959"/>
              <a:gd name="connsiteX10" fmla="*/ 480060 w 488632"/>
              <a:gd name="connsiteY10" fmla="*/ 187642 h 441959"/>
              <a:gd name="connsiteX11" fmla="*/ 390525 w 488632"/>
              <a:gd name="connsiteY11" fmla="*/ 33338 h 441959"/>
              <a:gd name="connsiteX12" fmla="*/ 333375 w 488632"/>
              <a:gd name="connsiteY12" fmla="*/ 0 h 4419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88632" h="441959">
                <a:moveTo>
                  <a:pt x="333375" y="0"/>
                </a:moveTo>
                <a:lnTo>
                  <a:pt x="155257" y="0"/>
                </a:lnTo>
                <a:cubicBezTo>
                  <a:pt x="131445" y="0"/>
                  <a:pt x="109537" y="12382"/>
                  <a:pt x="98107" y="33338"/>
                </a:cubicBezTo>
                <a:lnTo>
                  <a:pt x="8572" y="187642"/>
                </a:lnTo>
                <a:cubicBezTo>
                  <a:pt x="-2857" y="208597"/>
                  <a:pt x="-2857" y="233363"/>
                  <a:pt x="8572" y="254317"/>
                </a:cubicBezTo>
                <a:lnTo>
                  <a:pt x="98107" y="408622"/>
                </a:lnTo>
                <a:cubicBezTo>
                  <a:pt x="109537" y="429577"/>
                  <a:pt x="131445" y="441960"/>
                  <a:pt x="155257" y="441960"/>
                </a:cubicBezTo>
                <a:lnTo>
                  <a:pt x="333375" y="441960"/>
                </a:lnTo>
                <a:cubicBezTo>
                  <a:pt x="357187" y="441960"/>
                  <a:pt x="379095" y="429577"/>
                  <a:pt x="390525" y="408622"/>
                </a:cubicBezTo>
                <a:lnTo>
                  <a:pt x="480060" y="254317"/>
                </a:lnTo>
                <a:cubicBezTo>
                  <a:pt x="491490" y="233363"/>
                  <a:pt x="491490" y="208597"/>
                  <a:pt x="480060" y="187642"/>
                </a:cubicBezTo>
                <a:lnTo>
                  <a:pt x="390525" y="33338"/>
                </a:lnTo>
                <a:cubicBezTo>
                  <a:pt x="379095" y="12382"/>
                  <a:pt x="357187" y="0"/>
                  <a:pt x="333375" y="0"/>
                </a:cubicBezTo>
                <a:close/>
              </a:path>
            </a:pathLst>
          </a:custGeom>
          <a:solidFill>
            <a:schemeClr val="accent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8" name="Freeform: Shape 9">
            <a:extLst>
              <a:ext uri="{FF2B5EF4-FFF2-40B4-BE49-F238E27FC236}">
                <a16:creationId xmlns:a16="http://schemas.microsoft.com/office/drawing/2014/main" id="{FFDB4923-1E1A-4A1D-9469-9FC89476C7C2}"/>
              </a:ext>
            </a:extLst>
          </p:cNvPr>
          <p:cNvSpPr/>
          <p:nvPr/>
        </p:nvSpPr>
        <p:spPr>
          <a:xfrm>
            <a:off x="6409860" y="5052029"/>
            <a:ext cx="932610" cy="843530"/>
          </a:xfrm>
          <a:custGeom>
            <a:avLst/>
            <a:gdLst>
              <a:gd name="connsiteX0" fmla="*/ 333375 w 488632"/>
              <a:gd name="connsiteY0" fmla="*/ 0 h 441960"/>
              <a:gd name="connsiteX1" fmla="*/ 155258 w 488632"/>
              <a:gd name="connsiteY1" fmla="*/ 0 h 441960"/>
              <a:gd name="connsiteX2" fmla="*/ 98108 w 488632"/>
              <a:gd name="connsiteY2" fmla="*/ 33338 h 441960"/>
              <a:gd name="connsiteX3" fmla="*/ 8572 w 488632"/>
              <a:gd name="connsiteY3" fmla="*/ 187642 h 441960"/>
              <a:gd name="connsiteX4" fmla="*/ 8572 w 488632"/>
              <a:gd name="connsiteY4" fmla="*/ 254317 h 441960"/>
              <a:gd name="connsiteX5" fmla="*/ 98108 w 488632"/>
              <a:gd name="connsiteY5" fmla="*/ 408623 h 441960"/>
              <a:gd name="connsiteX6" fmla="*/ 155258 w 488632"/>
              <a:gd name="connsiteY6" fmla="*/ 441960 h 441960"/>
              <a:gd name="connsiteX7" fmla="*/ 333375 w 488632"/>
              <a:gd name="connsiteY7" fmla="*/ 441960 h 441960"/>
              <a:gd name="connsiteX8" fmla="*/ 390525 w 488632"/>
              <a:gd name="connsiteY8" fmla="*/ 408623 h 441960"/>
              <a:gd name="connsiteX9" fmla="*/ 480060 w 488632"/>
              <a:gd name="connsiteY9" fmla="*/ 254317 h 441960"/>
              <a:gd name="connsiteX10" fmla="*/ 480060 w 488632"/>
              <a:gd name="connsiteY10" fmla="*/ 187642 h 441960"/>
              <a:gd name="connsiteX11" fmla="*/ 390525 w 488632"/>
              <a:gd name="connsiteY11" fmla="*/ 33338 h 441960"/>
              <a:gd name="connsiteX12" fmla="*/ 333375 w 488632"/>
              <a:gd name="connsiteY12" fmla="*/ 0 h 4419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88632" h="441960">
                <a:moveTo>
                  <a:pt x="333375" y="0"/>
                </a:moveTo>
                <a:lnTo>
                  <a:pt x="155258" y="0"/>
                </a:lnTo>
                <a:cubicBezTo>
                  <a:pt x="131445" y="0"/>
                  <a:pt x="109537" y="12383"/>
                  <a:pt x="98108" y="33338"/>
                </a:cubicBezTo>
                <a:lnTo>
                  <a:pt x="8572" y="187642"/>
                </a:lnTo>
                <a:cubicBezTo>
                  <a:pt x="-2857" y="208598"/>
                  <a:pt x="-2857" y="233363"/>
                  <a:pt x="8572" y="254317"/>
                </a:cubicBezTo>
                <a:lnTo>
                  <a:pt x="98108" y="408623"/>
                </a:lnTo>
                <a:cubicBezTo>
                  <a:pt x="109537" y="429578"/>
                  <a:pt x="131445" y="441960"/>
                  <a:pt x="155258" y="441960"/>
                </a:cubicBezTo>
                <a:lnTo>
                  <a:pt x="333375" y="441960"/>
                </a:lnTo>
                <a:cubicBezTo>
                  <a:pt x="357187" y="441960"/>
                  <a:pt x="379095" y="429578"/>
                  <a:pt x="390525" y="408623"/>
                </a:cubicBezTo>
                <a:lnTo>
                  <a:pt x="480060" y="254317"/>
                </a:lnTo>
                <a:cubicBezTo>
                  <a:pt x="491490" y="233363"/>
                  <a:pt x="491490" y="208598"/>
                  <a:pt x="480060" y="187642"/>
                </a:cubicBezTo>
                <a:lnTo>
                  <a:pt x="390525" y="33338"/>
                </a:lnTo>
                <a:cubicBezTo>
                  <a:pt x="378143" y="12383"/>
                  <a:pt x="356235" y="0"/>
                  <a:pt x="333375" y="0"/>
                </a:cubicBezTo>
                <a:close/>
              </a:path>
            </a:pathLst>
          </a:custGeom>
          <a:solidFill>
            <a:schemeClr val="accent6"/>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9" name="Freeform: Shape 10">
            <a:extLst>
              <a:ext uri="{FF2B5EF4-FFF2-40B4-BE49-F238E27FC236}">
                <a16:creationId xmlns:a16="http://schemas.microsoft.com/office/drawing/2014/main" id="{37E74EFA-EFF1-4F44-9CFD-88A83B1FE3E9}"/>
              </a:ext>
            </a:extLst>
          </p:cNvPr>
          <p:cNvSpPr/>
          <p:nvPr/>
        </p:nvSpPr>
        <p:spPr>
          <a:xfrm>
            <a:off x="7701337" y="4890488"/>
            <a:ext cx="977367" cy="867786"/>
          </a:xfrm>
          <a:custGeom>
            <a:avLst/>
            <a:gdLst>
              <a:gd name="connsiteX0" fmla="*/ 675084 w 947261"/>
              <a:gd name="connsiteY0" fmla="*/ 0 h 841057"/>
              <a:gd name="connsiteX1" fmla="*/ 272177 w 947261"/>
              <a:gd name="connsiteY1" fmla="*/ 0 h 841057"/>
              <a:gd name="connsiteX2" fmla="*/ 210265 w 947261"/>
              <a:gd name="connsiteY2" fmla="*/ 36195 h 841057"/>
              <a:gd name="connsiteX3" fmla="*/ 9287 w 947261"/>
              <a:gd name="connsiteY3" fmla="*/ 384810 h 841057"/>
              <a:gd name="connsiteX4" fmla="*/ 9287 w 947261"/>
              <a:gd name="connsiteY4" fmla="*/ 456247 h 841057"/>
              <a:gd name="connsiteX5" fmla="*/ 210265 w 947261"/>
              <a:gd name="connsiteY5" fmla="*/ 804863 h 841057"/>
              <a:gd name="connsiteX6" fmla="*/ 272177 w 947261"/>
              <a:gd name="connsiteY6" fmla="*/ 841057 h 841057"/>
              <a:gd name="connsiteX7" fmla="*/ 675084 w 947261"/>
              <a:gd name="connsiteY7" fmla="*/ 841057 h 841057"/>
              <a:gd name="connsiteX8" fmla="*/ 736997 w 947261"/>
              <a:gd name="connsiteY8" fmla="*/ 804863 h 841057"/>
              <a:gd name="connsiteX9" fmla="*/ 937975 w 947261"/>
              <a:gd name="connsiteY9" fmla="*/ 456247 h 841057"/>
              <a:gd name="connsiteX10" fmla="*/ 937975 w 947261"/>
              <a:gd name="connsiteY10" fmla="*/ 384810 h 841057"/>
              <a:gd name="connsiteX11" fmla="*/ 736997 w 947261"/>
              <a:gd name="connsiteY11" fmla="*/ 36195 h 841057"/>
              <a:gd name="connsiteX12" fmla="*/ 675084 w 947261"/>
              <a:gd name="connsiteY12" fmla="*/ 0 h 841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47261" h="841057">
                <a:moveTo>
                  <a:pt x="675084" y="0"/>
                </a:moveTo>
                <a:lnTo>
                  <a:pt x="272177" y="0"/>
                </a:lnTo>
                <a:cubicBezTo>
                  <a:pt x="246459" y="0"/>
                  <a:pt x="222647" y="13335"/>
                  <a:pt x="210265" y="36195"/>
                </a:cubicBezTo>
                <a:lnTo>
                  <a:pt x="9287" y="384810"/>
                </a:lnTo>
                <a:cubicBezTo>
                  <a:pt x="-3096" y="406717"/>
                  <a:pt x="-3096" y="434340"/>
                  <a:pt x="9287" y="456247"/>
                </a:cubicBezTo>
                <a:lnTo>
                  <a:pt x="210265" y="804863"/>
                </a:lnTo>
                <a:cubicBezTo>
                  <a:pt x="222647" y="826770"/>
                  <a:pt x="246459" y="841057"/>
                  <a:pt x="272177" y="841057"/>
                </a:cubicBezTo>
                <a:lnTo>
                  <a:pt x="675084" y="841057"/>
                </a:lnTo>
                <a:cubicBezTo>
                  <a:pt x="700802" y="841057"/>
                  <a:pt x="724615" y="827722"/>
                  <a:pt x="736997" y="804863"/>
                </a:cubicBezTo>
                <a:lnTo>
                  <a:pt x="937975" y="456247"/>
                </a:lnTo>
                <a:cubicBezTo>
                  <a:pt x="950357" y="434340"/>
                  <a:pt x="950357" y="406717"/>
                  <a:pt x="937975" y="384810"/>
                </a:cubicBezTo>
                <a:lnTo>
                  <a:pt x="736997" y="36195"/>
                </a:lnTo>
                <a:cubicBezTo>
                  <a:pt x="723662" y="13335"/>
                  <a:pt x="700802" y="0"/>
                  <a:pt x="675084" y="0"/>
                </a:cubicBezTo>
                <a:close/>
              </a:path>
            </a:pathLst>
          </a:custGeom>
          <a:solidFill>
            <a:schemeClr val="accent6"/>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0" name="Freeform: Shape 12">
            <a:extLst>
              <a:ext uri="{FF2B5EF4-FFF2-40B4-BE49-F238E27FC236}">
                <a16:creationId xmlns:a16="http://schemas.microsoft.com/office/drawing/2014/main" id="{54CD0357-9F99-4641-8C51-36187DF5D3B5}"/>
              </a:ext>
            </a:extLst>
          </p:cNvPr>
          <p:cNvSpPr/>
          <p:nvPr/>
        </p:nvSpPr>
        <p:spPr>
          <a:xfrm>
            <a:off x="4768867" y="3520525"/>
            <a:ext cx="424580" cy="424270"/>
          </a:xfrm>
          <a:custGeom>
            <a:avLst/>
            <a:gdLst>
              <a:gd name="connsiteX0" fmla="*/ 325517 w 651033"/>
              <a:gd name="connsiteY0" fmla="*/ 0 h 650557"/>
              <a:gd name="connsiteX1" fmla="*/ 325517 w 651033"/>
              <a:gd name="connsiteY1" fmla="*/ 0 h 650557"/>
              <a:gd name="connsiteX2" fmla="*/ 43577 w 651033"/>
              <a:gd name="connsiteY2" fmla="*/ 162878 h 650557"/>
              <a:gd name="connsiteX3" fmla="*/ 43577 w 651033"/>
              <a:gd name="connsiteY3" fmla="*/ 162878 h 650557"/>
              <a:gd name="connsiteX4" fmla="*/ 43577 w 651033"/>
              <a:gd name="connsiteY4" fmla="*/ 487680 h 650557"/>
              <a:gd name="connsiteX5" fmla="*/ 43577 w 651033"/>
              <a:gd name="connsiteY5" fmla="*/ 487680 h 650557"/>
              <a:gd name="connsiteX6" fmla="*/ 325517 w 651033"/>
              <a:gd name="connsiteY6" fmla="*/ 650558 h 650557"/>
              <a:gd name="connsiteX7" fmla="*/ 325517 w 651033"/>
              <a:gd name="connsiteY7" fmla="*/ 650558 h 650557"/>
              <a:gd name="connsiteX8" fmla="*/ 607457 w 651033"/>
              <a:gd name="connsiteY8" fmla="*/ 487680 h 650557"/>
              <a:gd name="connsiteX9" fmla="*/ 607457 w 651033"/>
              <a:gd name="connsiteY9" fmla="*/ 487680 h 650557"/>
              <a:gd name="connsiteX10" fmla="*/ 607457 w 651033"/>
              <a:gd name="connsiteY10" fmla="*/ 162878 h 650557"/>
              <a:gd name="connsiteX11" fmla="*/ 607457 w 651033"/>
              <a:gd name="connsiteY11" fmla="*/ 162878 h 650557"/>
              <a:gd name="connsiteX12" fmla="*/ 325517 w 651033"/>
              <a:gd name="connsiteY12" fmla="*/ 0 h 6505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1033" h="650557">
                <a:moveTo>
                  <a:pt x="325517" y="0"/>
                </a:moveTo>
                <a:lnTo>
                  <a:pt x="325517" y="0"/>
                </a:lnTo>
                <a:cubicBezTo>
                  <a:pt x="209312" y="0"/>
                  <a:pt x="101679" y="61913"/>
                  <a:pt x="43577" y="162878"/>
                </a:cubicBezTo>
                <a:lnTo>
                  <a:pt x="43577" y="162878"/>
                </a:lnTo>
                <a:cubicBezTo>
                  <a:pt x="-14526" y="263843"/>
                  <a:pt x="-14526" y="387668"/>
                  <a:pt x="43577" y="487680"/>
                </a:cubicBezTo>
                <a:lnTo>
                  <a:pt x="43577" y="487680"/>
                </a:lnTo>
                <a:cubicBezTo>
                  <a:pt x="101679" y="588645"/>
                  <a:pt x="209312" y="650558"/>
                  <a:pt x="325517" y="650558"/>
                </a:cubicBezTo>
                <a:lnTo>
                  <a:pt x="325517" y="650558"/>
                </a:lnTo>
                <a:cubicBezTo>
                  <a:pt x="441722" y="650558"/>
                  <a:pt x="549354" y="588645"/>
                  <a:pt x="607457" y="487680"/>
                </a:cubicBezTo>
                <a:lnTo>
                  <a:pt x="607457" y="487680"/>
                </a:lnTo>
                <a:cubicBezTo>
                  <a:pt x="665559" y="386715"/>
                  <a:pt x="665559" y="262890"/>
                  <a:pt x="607457" y="162878"/>
                </a:cubicBezTo>
                <a:lnTo>
                  <a:pt x="607457" y="162878"/>
                </a:lnTo>
                <a:cubicBezTo>
                  <a:pt x="549354" y="61913"/>
                  <a:pt x="441722" y="0"/>
                  <a:pt x="325517" y="0"/>
                </a:cubicBezTo>
                <a:close/>
              </a:path>
            </a:pathLst>
          </a:custGeom>
          <a:solidFill>
            <a:schemeClr val="accent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1" name="Freeform: Shape 13">
            <a:extLst>
              <a:ext uri="{FF2B5EF4-FFF2-40B4-BE49-F238E27FC236}">
                <a16:creationId xmlns:a16="http://schemas.microsoft.com/office/drawing/2014/main" id="{E32B58A8-A205-438B-954B-A3E506785BF6}"/>
              </a:ext>
            </a:extLst>
          </p:cNvPr>
          <p:cNvSpPr/>
          <p:nvPr/>
        </p:nvSpPr>
        <p:spPr>
          <a:xfrm>
            <a:off x="4852370" y="1966753"/>
            <a:ext cx="989486" cy="873152"/>
          </a:xfrm>
          <a:custGeom>
            <a:avLst/>
            <a:gdLst>
              <a:gd name="connsiteX0" fmla="*/ 530543 w 737234"/>
              <a:gd name="connsiteY0" fmla="*/ 0 h 650557"/>
              <a:gd name="connsiteX1" fmla="*/ 206692 w 737234"/>
              <a:gd name="connsiteY1" fmla="*/ 0 h 650557"/>
              <a:gd name="connsiteX2" fmla="*/ 167640 w 737234"/>
              <a:gd name="connsiteY2" fmla="*/ 21908 h 650557"/>
              <a:gd name="connsiteX3" fmla="*/ 5715 w 737234"/>
              <a:gd name="connsiteY3" fmla="*/ 302895 h 650557"/>
              <a:gd name="connsiteX4" fmla="*/ 5715 w 737234"/>
              <a:gd name="connsiteY4" fmla="*/ 347663 h 650557"/>
              <a:gd name="connsiteX5" fmla="*/ 167640 w 737234"/>
              <a:gd name="connsiteY5" fmla="*/ 628650 h 650557"/>
              <a:gd name="connsiteX6" fmla="*/ 206692 w 737234"/>
              <a:gd name="connsiteY6" fmla="*/ 650558 h 650557"/>
              <a:gd name="connsiteX7" fmla="*/ 530543 w 737234"/>
              <a:gd name="connsiteY7" fmla="*/ 650558 h 650557"/>
              <a:gd name="connsiteX8" fmla="*/ 569595 w 737234"/>
              <a:gd name="connsiteY8" fmla="*/ 628650 h 650557"/>
              <a:gd name="connsiteX9" fmla="*/ 731520 w 737234"/>
              <a:gd name="connsiteY9" fmla="*/ 347663 h 650557"/>
              <a:gd name="connsiteX10" fmla="*/ 731520 w 737234"/>
              <a:gd name="connsiteY10" fmla="*/ 302895 h 650557"/>
              <a:gd name="connsiteX11" fmla="*/ 569595 w 737234"/>
              <a:gd name="connsiteY11" fmla="*/ 21908 h 650557"/>
              <a:gd name="connsiteX12" fmla="*/ 530543 w 737234"/>
              <a:gd name="connsiteY12" fmla="*/ 0 h 6505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37234" h="650557">
                <a:moveTo>
                  <a:pt x="530543" y="0"/>
                </a:moveTo>
                <a:lnTo>
                  <a:pt x="206692" y="0"/>
                </a:lnTo>
                <a:cubicBezTo>
                  <a:pt x="190500" y="0"/>
                  <a:pt x="176213" y="8573"/>
                  <a:pt x="167640" y="21908"/>
                </a:cubicBezTo>
                <a:lnTo>
                  <a:pt x="5715" y="302895"/>
                </a:lnTo>
                <a:cubicBezTo>
                  <a:pt x="-1905" y="316230"/>
                  <a:pt x="-1905" y="333375"/>
                  <a:pt x="5715" y="347663"/>
                </a:cubicBezTo>
                <a:lnTo>
                  <a:pt x="167640" y="628650"/>
                </a:lnTo>
                <a:cubicBezTo>
                  <a:pt x="175260" y="641985"/>
                  <a:pt x="190500" y="650558"/>
                  <a:pt x="206692" y="650558"/>
                </a:cubicBezTo>
                <a:lnTo>
                  <a:pt x="530543" y="650558"/>
                </a:lnTo>
                <a:cubicBezTo>
                  <a:pt x="546735" y="650558"/>
                  <a:pt x="561022" y="641985"/>
                  <a:pt x="569595" y="628650"/>
                </a:cubicBezTo>
                <a:lnTo>
                  <a:pt x="731520" y="347663"/>
                </a:lnTo>
                <a:cubicBezTo>
                  <a:pt x="739140" y="334328"/>
                  <a:pt x="739140" y="317183"/>
                  <a:pt x="731520" y="302895"/>
                </a:cubicBezTo>
                <a:lnTo>
                  <a:pt x="569595" y="21908"/>
                </a:lnTo>
                <a:cubicBezTo>
                  <a:pt x="561022" y="8573"/>
                  <a:pt x="545783" y="0"/>
                  <a:pt x="530543" y="0"/>
                </a:cubicBezTo>
                <a:close/>
              </a:path>
            </a:pathLst>
          </a:custGeom>
          <a:solidFill>
            <a:schemeClr val="accent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2" name="Freeform: Shape 14">
            <a:extLst>
              <a:ext uri="{FF2B5EF4-FFF2-40B4-BE49-F238E27FC236}">
                <a16:creationId xmlns:a16="http://schemas.microsoft.com/office/drawing/2014/main" id="{47B23B86-CC42-4E2F-8187-AA1289B78F9E}"/>
              </a:ext>
            </a:extLst>
          </p:cNvPr>
          <p:cNvSpPr/>
          <p:nvPr/>
        </p:nvSpPr>
        <p:spPr>
          <a:xfrm>
            <a:off x="5168384" y="5712851"/>
            <a:ext cx="792150" cy="709506"/>
          </a:xfrm>
          <a:custGeom>
            <a:avLst/>
            <a:gdLst>
              <a:gd name="connsiteX0" fmla="*/ 467439 w 671036"/>
              <a:gd name="connsiteY0" fmla="*/ 0 h 601027"/>
              <a:gd name="connsiteX1" fmla="*/ 203597 w 671036"/>
              <a:gd name="connsiteY1" fmla="*/ 0 h 601027"/>
              <a:gd name="connsiteX2" fmla="*/ 141684 w 671036"/>
              <a:gd name="connsiteY2" fmla="*/ 36195 h 601027"/>
              <a:gd name="connsiteX3" fmla="*/ 9287 w 671036"/>
              <a:gd name="connsiteY3" fmla="*/ 264795 h 601027"/>
              <a:gd name="connsiteX4" fmla="*/ 9287 w 671036"/>
              <a:gd name="connsiteY4" fmla="*/ 336232 h 601027"/>
              <a:gd name="connsiteX5" fmla="*/ 141684 w 671036"/>
              <a:gd name="connsiteY5" fmla="*/ 564832 h 601027"/>
              <a:gd name="connsiteX6" fmla="*/ 203597 w 671036"/>
              <a:gd name="connsiteY6" fmla="*/ 601028 h 601027"/>
              <a:gd name="connsiteX7" fmla="*/ 467439 w 671036"/>
              <a:gd name="connsiteY7" fmla="*/ 601028 h 601027"/>
              <a:gd name="connsiteX8" fmla="*/ 529352 w 671036"/>
              <a:gd name="connsiteY8" fmla="*/ 564832 h 601027"/>
              <a:gd name="connsiteX9" fmla="*/ 661749 w 671036"/>
              <a:gd name="connsiteY9" fmla="*/ 336232 h 601027"/>
              <a:gd name="connsiteX10" fmla="*/ 661749 w 671036"/>
              <a:gd name="connsiteY10" fmla="*/ 264795 h 601027"/>
              <a:gd name="connsiteX11" fmla="*/ 529352 w 671036"/>
              <a:gd name="connsiteY11" fmla="*/ 36195 h 601027"/>
              <a:gd name="connsiteX12" fmla="*/ 467439 w 671036"/>
              <a:gd name="connsiteY12" fmla="*/ 0 h 601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1036" h="601027">
                <a:moveTo>
                  <a:pt x="467439" y="0"/>
                </a:moveTo>
                <a:lnTo>
                  <a:pt x="203597" y="0"/>
                </a:lnTo>
                <a:cubicBezTo>
                  <a:pt x="177879" y="0"/>
                  <a:pt x="154067" y="13335"/>
                  <a:pt x="141684" y="36195"/>
                </a:cubicBezTo>
                <a:lnTo>
                  <a:pt x="9287" y="264795"/>
                </a:lnTo>
                <a:cubicBezTo>
                  <a:pt x="-3096" y="286703"/>
                  <a:pt x="-3096" y="314325"/>
                  <a:pt x="9287" y="336232"/>
                </a:cubicBezTo>
                <a:lnTo>
                  <a:pt x="141684" y="564832"/>
                </a:lnTo>
                <a:cubicBezTo>
                  <a:pt x="154067" y="586740"/>
                  <a:pt x="177879" y="601028"/>
                  <a:pt x="203597" y="601028"/>
                </a:cubicBezTo>
                <a:lnTo>
                  <a:pt x="467439" y="601028"/>
                </a:lnTo>
                <a:cubicBezTo>
                  <a:pt x="493157" y="601028"/>
                  <a:pt x="516969" y="587693"/>
                  <a:pt x="529352" y="564832"/>
                </a:cubicBezTo>
                <a:lnTo>
                  <a:pt x="661749" y="336232"/>
                </a:lnTo>
                <a:cubicBezTo>
                  <a:pt x="674132" y="314325"/>
                  <a:pt x="674132" y="286703"/>
                  <a:pt x="661749" y="264795"/>
                </a:cubicBezTo>
                <a:lnTo>
                  <a:pt x="529352" y="36195"/>
                </a:lnTo>
                <a:cubicBezTo>
                  <a:pt x="516017" y="13335"/>
                  <a:pt x="493157" y="0"/>
                  <a:pt x="467439" y="0"/>
                </a:cubicBezTo>
                <a:close/>
              </a:path>
            </a:pathLst>
          </a:custGeom>
          <a:solidFill>
            <a:schemeClr val="accent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3" name="Freeform: Shape 15">
            <a:extLst>
              <a:ext uri="{FF2B5EF4-FFF2-40B4-BE49-F238E27FC236}">
                <a16:creationId xmlns:a16="http://schemas.microsoft.com/office/drawing/2014/main" id="{BEADA322-5F93-4793-8D8B-DFC334F506B4}"/>
              </a:ext>
            </a:extLst>
          </p:cNvPr>
          <p:cNvSpPr/>
          <p:nvPr/>
        </p:nvSpPr>
        <p:spPr>
          <a:xfrm>
            <a:off x="3392225" y="3676428"/>
            <a:ext cx="1064388" cy="953342"/>
          </a:xfrm>
          <a:custGeom>
            <a:avLst/>
            <a:gdLst>
              <a:gd name="connsiteX0" fmla="*/ 467439 w 671036"/>
              <a:gd name="connsiteY0" fmla="*/ 0 h 601027"/>
              <a:gd name="connsiteX1" fmla="*/ 203597 w 671036"/>
              <a:gd name="connsiteY1" fmla="*/ 0 h 601027"/>
              <a:gd name="connsiteX2" fmla="*/ 141684 w 671036"/>
              <a:gd name="connsiteY2" fmla="*/ 36195 h 601027"/>
              <a:gd name="connsiteX3" fmla="*/ 9287 w 671036"/>
              <a:gd name="connsiteY3" fmla="*/ 264795 h 601027"/>
              <a:gd name="connsiteX4" fmla="*/ 9287 w 671036"/>
              <a:gd name="connsiteY4" fmla="*/ 336232 h 601027"/>
              <a:gd name="connsiteX5" fmla="*/ 141684 w 671036"/>
              <a:gd name="connsiteY5" fmla="*/ 564832 h 601027"/>
              <a:gd name="connsiteX6" fmla="*/ 203597 w 671036"/>
              <a:gd name="connsiteY6" fmla="*/ 601027 h 601027"/>
              <a:gd name="connsiteX7" fmla="*/ 467439 w 671036"/>
              <a:gd name="connsiteY7" fmla="*/ 601027 h 601027"/>
              <a:gd name="connsiteX8" fmla="*/ 529352 w 671036"/>
              <a:gd name="connsiteY8" fmla="*/ 564832 h 601027"/>
              <a:gd name="connsiteX9" fmla="*/ 661749 w 671036"/>
              <a:gd name="connsiteY9" fmla="*/ 336232 h 601027"/>
              <a:gd name="connsiteX10" fmla="*/ 661749 w 671036"/>
              <a:gd name="connsiteY10" fmla="*/ 264795 h 601027"/>
              <a:gd name="connsiteX11" fmla="*/ 529352 w 671036"/>
              <a:gd name="connsiteY11" fmla="*/ 36195 h 601027"/>
              <a:gd name="connsiteX12" fmla="*/ 467439 w 671036"/>
              <a:gd name="connsiteY12" fmla="*/ 0 h 601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1036" h="601027">
                <a:moveTo>
                  <a:pt x="467439" y="0"/>
                </a:moveTo>
                <a:lnTo>
                  <a:pt x="203597" y="0"/>
                </a:lnTo>
                <a:cubicBezTo>
                  <a:pt x="177879" y="0"/>
                  <a:pt x="154067" y="13335"/>
                  <a:pt x="141684" y="36195"/>
                </a:cubicBezTo>
                <a:lnTo>
                  <a:pt x="9287" y="264795"/>
                </a:lnTo>
                <a:cubicBezTo>
                  <a:pt x="-3096" y="286702"/>
                  <a:pt x="-3096" y="314325"/>
                  <a:pt x="9287" y="336232"/>
                </a:cubicBezTo>
                <a:lnTo>
                  <a:pt x="141684" y="564832"/>
                </a:lnTo>
                <a:cubicBezTo>
                  <a:pt x="154067" y="586740"/>
                  <a:pt x="177879" y="601027"/>
                  <a:pt x="203597" y="601027"/>
                </a:cubicBezTo>
                <a:lnTo>
                  <a:pt x="467439" y="601027"/>
                </a:lnTo>
                <a:cubicBezTo>
                  <a:pt x="493157" y="601027"/>
                  <a:pt x="516969" y="587692"/>
                  <a:pt x="529352" y="564832"/>
                </a:cubicBezTo>
                <a:lnTo>
                  <a:pt x="661749" y="336232"/>
                </a:lnTo>
                <a:cubicBezTo>
                  <a:pt x="674132" y="314325"/>
                  <a:pt x="674132" y="286702"/>
                  <a:pt x="661749" y="264795"/>
                </a:cubicBezTo>
                <a:lnTo>
                  <a:pt x="529352" y="36195"/>
                </a:lnTo>
                <a:cubicBezTo>
                  <a:pt x="516017" y="13335"/>
                  <a:pt x="493157" y="0"/>
                  <a:pt x="467439" y="0"/>
                </a:cubicBezTo>
                <a:close/>
              </a:path>
            </a:pathLst>
          </a:custGeom>
          <a:solidFill>
            <a:schemeClr val="accent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4" name="Freeform: Shape 16">
            <a:extLst>
              <a:ext uri="{FF2B5EF4-FFF2-40B4-BE49-F238E27FC236}">
                <a16:creationId xmlns:a16="http://schemas.microsoft.com/office/drawing/2014/main" id="{74468856-1B02-4DC4-8F33-0BBB8B97193D}"/>
              </a:ext>
            </a:extLst>
          </p:cNvPr>
          <p:cNvSpPr/>
          <p:nvPr/>
        </p:nvSpPr>
        <p:spPr>
          <a:xfrm>
            <a:off x="3973952" y="2542350"/>
            <a:ext cx="929404" cy="826642"/>
          </a:xfrm>
          <a:custGeom>
            <a:avLst/>
            <a:gdLst>
              <a:gd name="connsiteX0" fmla="*/ 416242 w 585787"/>
              <a:gd name="connsiteY0" fmla="*/ 0 h 521017"/>
              <a:gd name="connsiteX1" fmla="*/ 168592 w 585787"/>
              <a:gd name="connsiteY1" fmla="*/ 0 h 521017"/>
              <a:gd name="connsiteX2" fmla="*/ 129540 w 585787"/>
              <a:gd name="connsiteY2" fmla="*/ 22860 h 521017"/>
              <a:gd name="connsiteX3" fmla="*/ 5715 w 585787"/>
              <a:gd name="connsiteY3" fmla="*/ 238125 h 521017"/>
              <a:gd name="connsiteX4" fmla="*/ 5715 w 585787"/>
              <a:gd name="connsiteY4" fmla="*/ 282892 h 521017"/>
              <a:gd name="connsiteX5" fmla="*/ 129540 w 585787"/>
              <a:gd name="connsiteY5" fmla="*/ 498158 h 521017"/>
              <a:gd name="connsiteX6" fmla="*/ 168592 w 585787"/>
              <a:gd name="connsiteY6" fmla="*/ 521017 h 521017"/>
              <a:gd name="connsiteX7" fmla="*/ 417195 w 585787"/>
              <a:gd name="connsiteY7" fmla="*/ 521017 h 521017"/>
              <a:gd name="connsiteX8" fmla="*/ 456248 w 585787"/>
              <a:gd name="connsiteY8" fmla="*/ 498158 h 521017"/>
              <a:gd name="connsiteX9" fmla="*/ 580072 w 585787"/>
              <a:gd name="connsiteY9" fmla="*/ 282892 h 521017"/>
              <a:gd name="connsiteX10" fmla="*/ 580072 w 585787"/>
              <a:gd name="connsiteY10" fmla="*/ 238125 h 521017"/>
              <a:gd name="connsiteX11" fmla="*/ 456248 w 585787"/>
              <a:gd name="connsiteY11" fmla="*/ 22860 h 521017"/>
              <a:gd name="connsiteX12" fmla="*/ 416242 w 585787"/>
              <a:gd name="connsiteY12" fmla="*/ 0 h 521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85787" h="521017">
                <a:moveTo>
                  <a:pt x="416242" y="0"/>
                </a:moveTo>
                <a:lnTo>
                  <a:pt x="168592" y="0"/>
                </a:lnTo>
                <a:cubicBezTo>
                  <a:pt x="152400" y="0"/>
                  <a:pt x="137160" y="8573"/>
                  <a:pt x="129540" y="22860"/>
                </a:cubicBezTo>
                <a:lnTo>
                  <a:pt x="5715" y="238125"/>
                </a:lnTo>
                <a:cubicBezTo>
                  <a:pt x="-1905" y="252413"/>
                  <a:pt x="-1905" y="269558"/>
                  <a:pt x="5715" y="282892"/>
                </a:cubicBezTo>
                <a:lnTo>
                  <a:pt x="129540" y="498158"/>
                </a:lnTo>
                <a:cubicBezTo>
                  <a:pt x="137160" y="512445"/>
                  <a:pt x="152400" y="521017"/>
                  <a:pt x="168592" y="521017"/>
                </a:cubicBezTo>
                <a:lnTo>
                  <a:pt x="417195" y="521017"/>
                </a:lnTo>
                <a:cubicBezTo>
                  <a:pt x="433387" y="521017"/>
                  <a:pt x="448627" y="512445"/>
                  <a:pt x="456248" y="498158"/>
                </a:cubicBezTo>
                <a:lnTo>
                  <a:pt x="580072" y="282892"/>
                </a:lnTo>
                <a:cubicBezTo>
                  <a:pt x="587692" y="268605"/>
                  <a:pt x="587692" y="251460"/>
                  <a:pt x="580072" y="238125"/>
                </a:cubicBezTo>
                <a:lnTo>
                  <a:pt x="456248" y="22860"/>
                </a:lnTo>
                <a:cubicBezTo>
                  <a:pt x="447675" y="9525"/>
                  <a:pt x="432435" y="0"/>
                  <a:pt x="416242" y="0"/>
                </a:cubicBezTo>
                <a:close/>
              </a:path>
            </a:pathLst>
          </a:custGeom>
          <a:solidFill>
            <a:schemeClr val="accent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5" name="Freeform: Shape 18">
            <a:extLst>
              <a:ext uri="{FF2B5EF4-FFF2-40B4-BE49-F238E27FC236}">
                <a16:creationId xmlns:a16="http://schemas.microsoft.com/office/drawing/2014/main" id="{91159460-BD21-4204-981A-4DF42A910A42}"/>
              </a:ext>
            </a:extLst>
          </p:cNvPr>
          <p:cNvSpPr/>
          <p:nvPr/>
        </p:nvSpPr>
        <p:spPr>
          <a:xfrm>
            <a:off x="5205287" y="5172268"/>
            <a:ext cx="504162" cy="456005"/>
          </a:xfrm>
          <a:custGeom>
            <a:avLst/>
            <a:gdLst>
              <a:gd name="connsiteX0" fmla="*/ 333375 w 488632"/>
              <a:gd name="connsiteY0" fmla="*/ 0 h 441959"/>
              <a:gd name="connsiteX1" fmla="*/ 155258 w 488632"/>
              <a:gd name="connsiteY1" fmla="*/ 0 h 441959"/>
              <a:gd name="connsiteX2" fmla="*/ 98107 w 488632"/>
              <a:gd name="connsiteY2" fmla="*/ 33338 h 441959"/>
              <a:gd name="connsiteX3" fmla="*/ 8572 w 488632"/>
              <a:gd name="connsiteY3" fmla="*/ 187642 h 441959"/>
              <a:gd name="connsiteX4" fmla="*/ 8572 w 488632"/>
              <a:gd name="connsiteY4" fmla="*/ 254317 h 441959"/>
              <a:gd name="connsiteX5" fmla="*/ 98107 w 488632"/>
              <a:gd name="connsiteY5" fmla="*/ 408622 h 441959"/>
              <a:gd name="connsiteX6" fmla="*/ 155258 w 488632"/>
              <a:gd name="connsiteY6" fmla="*/ 441960 h 441959"/>
              <a:gd name="connsiteX7" fmla="*/ 333375 w 488632"/>
              <a:gd name="connsiteY7" fmla="*/ 441960 h 441959"/>
              <a:gd name="connsiteX8" fmla="*/ 390525 w 488632"/>
              <a:gd name="connsiteY8" fmla="*/ 408622 h 441959"/>
              <a:gd name="connsiteX9" fmla="*/ 480060 w 488632"/>
              <a:gd name="connsiteY9" fmla="*/ 254317 h 441959"/>
              <a:gd name="connsiteX10" fmla="*/ 480060 w 488632"/>
              <a:gd name="connsiteY10" fmla="*/ 187642 h 441959"/>
              <a:gd name="connsiteX11" fmla="*/ 391478 w 488632"/>
              <a:gd name="connsiteY11" fmla="*/ 32385 h 441959"/>
              <a:gd name="connsiteX12" fmla="*/ 333375 w 488632"/>
              <a:gd name="connsiteY12" fmla="*/ 0 h 4419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88632" h="441959">
                <a:moveTo>
                  <a:pt x="333375" y="0"/>
                </a:moveTo>
                <a:lnTo>
                  <a:pt x="155258" y="0"/>
                </a:lnTo>
                <a:cubicBezTo>
                  <a:pt x="131445" y="0"/>
                  <a:pt x="109537" y="12382"/>
                  <a:pt x="98107" y="33338"/>
                </a:cubicBezTo>
                <a:lnTo>
                  <a:pt x="8572" y="187642"/>
                </a:lnTo>
                <a:cubicBezTo>
                  <a:pt x="-2857" y="208597"/>
                  <a:pt x="-2857" y="233363"/>
                  <a:pt x="8572" y="254317"/>
                </a:cubicBezTo>
                <a:lnTo>
                  <a:pt x="98107" y="408622"/>
                </a:lnTo>
                <a:cubicBezTo>
                  <a:pt x="109537" y="429578"/>
                  <a:pt x="131445" y="441960"/>
                  <a:pt x="155258" y="441960"/>
                </a:cubicBezTo>
                <a:lnTo>
                  <a:pt x="333375" y="441960"/>
                </a:lnTo>
                <a:cubicBezTo>
                  <a:pt x="357187" y="441960"/>
                  <a:pt x="379095" y="429578"/>
                  <a:pt x="390525" y="408622"/>
                </a:cubicBezTo>
                <a:lnTo>
                  <a:pt x="480060" y="254317"/>
                </a:lnTo>
                <a:cubicBezTo>
                  <a:pt x="491490" y="233363"/>
                  <a:pt x="491490" y="208597"/>
                  <a:pt x="480060" y="187642"/>
                </a:cubicBezTo>
                <a:lnTo>
                  <a:pt x="391478" y="32385"/>
                </a:lnTo>
                <a:cubicBezTo>
                  <a:pt x="379095" y="12382"/>
                  <a:pt x="357187" y="0"/>
                  <a:pt x="333375" y="0"/>
                </a:cubicBezTo>
                <a:close/>
              </a:path>
            </a:pathLst>
          </a:custGeom>
          <a:solidFill>
            <a:schemeClr val="accent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6" name="Freeform: Shape 19">
            <a:extLst>
              <a:ext uri="{FF2B5EF4-FFF2-40B4-BE49-F238E27FC236}">
                <a16:creationId xmlns:a16="http://schemas.microsoft.com/office/drawing/2014/main" id="{9C986CAF-15D7-4EEE-865B-8DF8F30B8240}"/>
              </a:ext>
            </a:extLst>
          </p:cNvPr>
          <p:cNvSpPr/>
          <p:nvPr/>
        </p:nvSpPr>
        <p:spPr>
          <a:xfrm>
            <a:off x="4653046" y="4122454"/>
            <a:ext cx="404410" cy="403919"/>
          </a:xfrm>
          <a:custGeom>
            <a:avLst/>
            <a:gdLst>
              <a:gd name="connsiteX0" fmla="*/ 195977 w 391953"/>
              <a:gd name="connsiteY0" fmla="*/ 0 h 391477"/>
              <a:gd name="connsiteX1" fmla="*/ 195977 w 391953"/>
              <a:gd name="connsiteY1" fmla="*/ 0 h 391477"/>
              <a:gd name="connsiteX2" fmla="*/ 26432 w 391953"/>
              <a:gd name="connsiteY2" fmla="*/ 98108 h 391477"/>
              <a:gd name="connsiteX3" fmla="*/ 26432 w 391953"/>
              <a:gd name="connsiteY3" fmla="*/ 98108 h 391477"/>
              <a:gd name="connsiteX4" fmla="*/ 26432 w 391953"/>
              <a:gd name="connsiteY4" fmla="*/ 293370 h 391477"/>
              <a:gd name="connsiteX5" fmla="*/ 26432 w 391953"/>
              <a:gd name="connsiteY5" fmla="*/ 293370 h 391477"/>
              <a:gd name="connsiteX6" fmla="*/ 195977 w 391953"/>
              <a:gd name="connsiteY6" fmla="*/ 391478 h 391477"/>
              <a:gd name="connsiteX7" fmla="*/ 195977 w 391953"/>
              <a:gd name="connsiteY7" fmla="*/ 391478 h 391477"/>
              <a:gd name="connsiteX8" fmla="*/ 365522 w 391953"/>
              <a:gd name="connsiteY8" fmla="*/ 293370 h 391477"/>
              <a:gd name="connsiteX9" fmla="*/ 365522 w 391953"/>
              <a:gd name="connsiteY9" fmla="*/ 293370 h 391477"/>
              <a:gd name="connsiteX10" fmla="*/ 365522 w 391953"/>
              <a:gd name="connsiteY10" fmla="*/ 98108 h 391477"/>
              <a:gd name="connsiteX11" fmla="*/ 365522 w 391953"/>
              <a:gd name="connsiteY11" fmla="*/ 98108 h 391477"/>
              <a:gd name="connsiteX12" fmla="*/ 195977 w 391953"/>
              <a:gd name="connsiteY12" fmla="*/ 0 h 391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91953" h="391477">
                <a:moveTo>
                  <a:pt x="195977" y="0"/>
                </a:moveTo>
                <a:lnTo>
                  <a:pt x="195977" y="0"/>
                </a:lnTo>
                <a:cubicBezTo>
                  <a:pt x="126444" y="0"/>
                  <a:pt x="61674" y="37148"/>
                  <a:pt x="26432" y="98108"/>
                </a:cubicBezTo>
                <a:lnTo>
                  <a:pt x="26432" y="98108"/>
                </a:lnTo>
                <a:cubicBezTo>
                  <a:pt x="-8811" y="158115"/>
                  <a:pt x="-8811" y="233363"/>
                  <a:pt x="26432" y="293370"/>
                </a:cubicBezTo>
                <a:lnTo>
                  <a:pt x="26432" y="293370"/>
                </a:lnTo>
                <a:cubicBezTo>
                  <a:pt x="61674" y="353378"/>
                  <a:pt x="125492" y="391478"/>
                  <a:pt x="195977" y="391478"/>
                </a:cubicBezTo>
                <a:lnTo>
                  <a:pt x="195977" y="391478"/>
                </a:lnTo>
                <a:cubicBezTo>
                  <a:pt x="265509" y="391478"/>
                  <a:pt x="330279" y="354330"/>
                  <a:pt x="365522" y="293370"/>
                </a:cubicBezTo>
                <a:lnTo>
                  <a:pt x="365522" y="293370"/>
                </a:lnTo>
                <a:cubicBezTo>
                  <a:pt x="400764" y="233363"/>
                  <a:pt x="400764" y="158115"/>
                  <a:pt x="365522" y="98108"/>
                </a:cubicBezTo>
                <a:lnTo>
                  <a:pt x="365522" y="98108"/>
                </a:lnTo>
                <a:cubicBezTo>
                  <a:pt x="330279" y="37148"/>
                  <a:pt x="266462" y="0"/>
                  <a:pt x="195977" y="0"/>
                </a:cubicBezTo>
                <a:close/>
              </a:path>
            </a:pathLst>
          </a:custGeom>
          <a:solidFill>
            <a:schemeClr val="accent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7" name="Freeform: Shape 21">
            <a:extLst>
              <a:ext uri="{FF2B5EF4-FFF2-40B4-BE49-F238E27FC236}">
                <a16:creationId xmlns:a16="http://schemas.microsoft.com/office/drawing/2014/main" id="{96A044A8-BC82-4032-BF68-5226A2FB35AE}"/>
              </a:ext>
            </a:extLst>
          </p:cNvPr>
          <p:cNvSpPr/>
          <p:nvPr/>
        </p:nvSpPr>
        <p:spPr>
          <a:xfrm>
            <a:off x="7585187" y="3814215"/>
            <a:ext cx="850922" cy="755784"/>
          </a:xfrm>
          <a:custGeom>
            <a:avLst/>
            <a:gdLst>
              <a:gd name="connsiteX0" fmla="*/ 432197 w 609123"/>
              <a:gd name="connsiteY0" fmla="*/ 0 h 541019"/>
              <a:gd name="connsiteX1" fmla="*/ 176927 w 609123"/>
              <a:gd name="connsiteY1" fmla="*/ 0 h 541019"/>
              <a:gd name="connsiteX2" fmla="*/ 134065 w 609123"/>
              <a:gd name="connsiteY2" fmla="*/ 24765 h 541019"/>
              <a:gd name="connsiteX3" fmla="*/ 6429 w 609123"/>
              <a:gd name="connsiteY3" fmla="*/ 245745 h 541019"/>
              <a:gd name="connsiteX4" fmla="*/ 6429 w 609123"/>
              <a:gd name="connsiteY4" fmla="*/ 295275 h 541019"/>
              <a:gd name="connsiteX5" fmla="*/ 134065 w 609123"/>
              <a:gd name="connsiteY5" fmla="*/ 516255 h 541019"/>
              <a:gd name="connsiteX6" fmla="*/ 176927 w 609123"/>
              <a:gd name="connsiteY6" fmla="*/ 541020 h 541019"/>
              <a:gd name="connsiteX7" fmla="*/ 432197 w 609123"/>
              <a:gd name="connsiteY7" fmla="*/ 541020 h 541019"/>
              <a:gd name="connsiteX8" fmla="*/ 475059 w 609123"/>
              <a:gd name="connsiteY8" fmla="*/ 516255 h 541019"/>
              <a:gd name="connsiteX9" fmla="*/ 602694 w 609123"/>
              <a:gd name="connsiteY9" fmla="*/ 295275 h 541019"/>
              <a:gd name="connsiteX10" fmla="*/ 602694 w 609123"/>
              <a:gd name="connsiteY10" fmla="*/ 245745 h 541019"/>
              <a:gd name="connsiteX11" fmla="*/ 475059 w 609123"/>
              <a:gd name="connsiteY11" fmla="*/ 24765 h 541019"/>
              <a:gd name="connsiteX12" fmla="*/ 432197 w 609123"/>
              <a:gd name="connsiteY12" fmla="*/ 0 h 541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09123" h="541019">
                <a:moveTo>
                  <a:pt x="432197" y="0"/>
                </a:moveTo>
                <a:lnTo>
                  <a:pt x="176927" y="0"/>
                </a:lnTo>
                <a:cubicBezTo>
                  <a:pt x="159782" y="0"/>
                  <a:pt x="142637" y="9525"/>
                  <a:pt x="134065" y="24765"/>
                </a:cubicBezTo>
                <a:lnTo>
                  <a:pt x="6429" y="245745"/>
                </a:lnTo>
                <a:cubicBezTo>
                  <a:pt x="-2143" y="260985"/>
                  <a:pt x="-2143" y="280035"/>
                  <a:pt x="6429" y="295275"/>
                </a:cubicBezTo>
                <a:lnTo>
                  <a:pt x="134065" y="516255"/>
                </a:lnTo>
                <a:cubicBezTo>
                  <a:pt x="142637" y="531495"/>
                  <a:pt x="158829" y="541020"/>
                  <a:pt x="176927" y="541020"/>
                </a:cubicBezTo>
                <a:lnTo>
                  <a:pt x="432197" y="541020"/>
                </a:lnTo>
                <a:cubicBezTo>
                  <a:pt x="449342" y="541020"/>
                  <a:pt x="466487" y="531495"/>
                  <a:pt x="475059" y="516255"/>
                </a:cubicBezTo>
                <a:lnTo>
                  <a:pt x="602694" y="295275"/>
                </a:lnTo>
                <a:cubicBezTo>
                  <a:pt x="611267" y="280035"/>
                  <a:pt x="611267" y="260985"/>
                  <a:pt x="602694" y="245745"/>
                </a:cubicBezTo>
                <a:lnTo>
                  <a:pt x="475059" y="24765"/>
                </a:lnTo>
                <a:cubicBezTo>
                  <a:pt x="466487" y="9525"/>
                  <a:pt x="450294" y="0"/>
                  <a:pt x="432197" y="0"/>
                </a:cubicBezTo>
                <a:close/>
              </a:path>
            </a:pathLst>
          </a:custGeom>
          <a:solidFill>
            <a:schemeClr val="accent5"/>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8" name="Freeform: Shape 22">
            <a:extLst>
              <a:ext uri="{FF2B5EF4-FFF2-40B4-BE49-F238E27FC236}">
                <a16:creationId xmlns:a16="http://schemas.microsoft.com/office/drawing/2014/main" id="{4B0A6E95-B592-42E3-9D9D-3FB5CF7863DC}"/>
              </a:ext>
            </a:extLst>
          </p:cNvPr>
          <p:cNvSpPr/>
          <p:nvPr/>
        </p:nvSpPr>
        <p:spPr>
          <a:xfrm>
            <a:off x="4395169" y="3565570"/>
            <a:ext cx="312521" cy="314488"/>
          </a:xfrm>
          <a:custGeom>
            <a:avLst/>
            <a:gdLst>
              <a:gd name="connsiteX0" fmla="*/ 151448 w 302894"/>
              <a:gd name="connsiteY0" fmla="*/ 0 h 304800"/>
              <a:gd name="connsiteX1" fmla="*/ 151448 w 302894"/>
              <a:gd name="connsiteY1" fmla="*/ 0 h 304800"/>
              <a:gd name="connsiteX2" fmla="*/ 20002 w 302894"/>
              <a:gd name="connsiteY2" fmla="*/ 76200 h 304800"/>
              <a:gd name="connsiteX3" fmla="*/ 20002 w 302894"/>
              <a:gd name="connsiteY3" fmla="*/ 76200 h 304800"/>
              <a:gd name="connsiteX4" fmla="*/ 20002 w 302894"/>
              <a:gd name="connsiteY4" fmla="*/ 228600 h 304800"/>
              <a:gd name="connsiteX5" fmla="*/ 20002 w 302894"/>
              <a:gd name="connsiteY5" fmla="*/ 228600 h 304800"/>
              <a:gd name="connsiteX6" fmla="*/ 151448 w 302894"/>
              <a:gd name="connsiteY6" fmla="*/ 304800 h 304800"/>
              <a:gd name="connsiteX7" fmla="*/ 151448 w 302894"/>
              <a:gd name="connsiteY7" fmla="*/ 304800 h 304800"/>
              <a:gd name="connsiteX8" fmla="*/ 282893 w 302894"/>
              <a:gd name="connsiteY8" fmla="*/ 228600 h 304800"/>
              <a:gd name="connsiteX9" fmla="*/ 282893 w 302894"/>
              <a:gd name="connsiteY9" fmla="*/ 228600 h 304800"/>
              <a:gd name="connsiteX10" fmla="*/ 282893 w 302894"/>
              <a:gd name="connsiteY10" fmla="*/ 76200 h 304800"/>
              <a:gd name="connsiteX11" fmla="*/ 282893 w 302894"/>
              <a:gd name="connsiteY11" fmla="*/ 76200 h 304800"/>
              <a:gd name="connsiteX12" fmla="*/ 151448 w 302894"/>
              <a:gd name="connsiteY12" fmla="*/ 0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02894" h="304800">
                <a:moveTo>
                  <a:pt x="151448" y="0"/>
                </a:moveTo>
                <a:lnTo>
                  <a:pt x="151448" y="0"/>
                </a:lnTo>
                <a:cubicBezTo>
                  <a:pt x="97155" y="0"/>
                  <a:pt x="46673" y="28575"/>
                  <a:pt x="20002" y="76200"/>
                </a:cubicBezTo>
                <a:lnTo>
                  <a:pt x="20002" y="76200"/>
                </a:lnTo>
                <a:cubicBezTo>
                  <a:pt x="-6667" y="122872"/>
                  <a:pt x="-6667" y="180975"/>
                  <a:pt x="20002" y="228600"/>
                </a:cubicBezTo>
                <a:lnTo>
                  <a:pt x="20002" y="228600"/>
                </a:lnTo>
                <a:cubicBezTo>
                  <a:pt x="46673" y="275272"/>
                  <a:pt x="97155" y="304800"/>
                  <a:pt x="151448" y="304800"/>
                </a:cubicBezTo>
                <a:lnTo>
                  <a:pt x="151448" y="304800"/>
                </a:lnTo>
                <a:cubicBezTo>
                  <a:pt x="205740" y="304800"/>
                  <a:pt x="256223" y="276225"/>
                  <a:pt x="282893" y="228600"/>
                </a:cubicBezTo>
                <a:lnTo>
                  <a:pt x="282893" y="228600"/>
                </a:lnTo>
                <a:cubicBezTo>
                  <a:pt x="309563" y="181928"/>
                  <a:pt x="309563" y="123825"/>
                  <a:pt x="282893" y="76200"/>
                </a:cubicBezTo>
                <a:lnTo>
                  <a:pt x="282893" y="76200"/>
                </a:lnTo>
                <a:cubicBezTo>
                  <a:pt x="256223" y="28575"/>
                  <a:pt x="205740" y="0"/>
                  <a:pt x="151448" y="0"/>
                </a:cubicBezTo>
                <a:close/>
              </a:path>
            </a:pathLst>
          </a:custGeom>
          <a:solidFill>
            <a:schemeClr val="accent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9" name="Freeform: Shape 23">
            <a:extLst>
              <a:ext uri="{FF2B5EF4-FFF2-40B4-BE49-F238E27FC236}">
                <a16:creationId xmlns:a16="http://schemas.microsoft.com/office/drawing/2014/main" id="{2567027A-B421-40DC-828A-33FA72EF6490}"/>
              </a:ext>
            </a:extLst>
          </p:cNvPr>
          <p:cNvSpPr/>
          <p:nvPr/>
        </p:nvSpPr>
        <p:spPr>
          <a:xfrm>
            <a:off x="4872474" y="5090425"/>
            <a:ext cx="301219" cy="302693"/>
          </a:xfrm>
          <a:custGeom>
            <a:avLst/>
            <a:gdLst>
              <a:gd name="connsiteX0" fmla="*/ 145971 w 291941"/>
              <a:gd name="connsiteY0" fmla="*/ 0 h 293369"/>
              <a:gd name="connsiteX1" fmla="*/ 145971 w 291941"/>
              <a:gd name="connsiteY1" fmla="*/ 0 h 293369"/>
              <a:gd name="connsiteX2" fmla="*/ 19288 w 291941"/>
              <a:gd name="connsiteY2" fmla="*/ 73342 h 293369"/>
              <a:gd name="connsiteX3" fmla="*/ 19288 w 291941"/>
              <a:gd name="connsiteY3" fmla="*/ 73342 h 293369"/>
              <a:gd name="connsiteX4" fmla="*/ 19288 w 291941"/>
              <a:gd name="connsiteY4" fmla="*/ 220027 h 293369"/>
              <a:gd name="connsiteX5" fmla="*/ 19288 w 291941"/>
              <a:gd name="connsiteY5" fmla="*/ 220027 h 293369"/>
              <a:gd name="connsiteX6" fmla="*/ 145971 w 291941"/>
              <a:gd name="connsiteY6" fmla="*/ 293370 h 293369"/>
              <a:gd name="connsiteX7" fmla="*/ 145971 w 291941"/>
              <a:gd name="connsiteY7" fmla="*/ 293370 h 293369"/>
              <a:gd name="connsiteX8" fmla="*/ 272653 w 291941"/>
              <a:gd name="connsiteY8" fmla="*/ 220027 h 293369"/>
              <a:gd name="connsiteX9" fmla="*/ 272653 w 291941"/>
              <a:gd name="connsiteY9" fmla="*/ 220027 h 293369"/>
              <a:gd name="connsiteX10" fmla="*/ 272653 w 291941"/>
              <a:gd name="connsiteY10" fmla="*/ 73342 h 293369"/>
              <a:gd name="connsiteX11" fmla="*/ 272653 w 291941"/>
              <a:gd name="connsiteY11" fmla="*/ 73342 h 293369"/>
              <a:gd name="connsiteX12" fmla="*/ 145971 w 291941"/>
              <a:gd name="connsiteY12" fmla="*/ 0 h 293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91941" h="293369">
                <a:moveTo>
                  <a:pt x="145971" y="0"/>
                </a:moveTo>
                <a:lnTo>
                  <a:pt x="145971" y="0"/>
                </a:lnTo>
                <a:cubicBezTo>
                  <a:pt x="93583" y="0"/>
                  <a:pt x="45006" y="27622"/>
                  <a:pt x="19288" y="73342"/>
                </a:cubicBezTo>
                <a:lnTo>
                  <a:pt x="19288" y="73342"/>
                </a:lnTo>
                <a:cubicBezTo>
                  <a:pt x="-6429" y="119063"/>
                  <a:pt x="-6429" y="174307"/>
                  <a:pt x="19288" y="220027"/>
                </a:cubicBezTo>
                <a:lnTo>
                  <a:pt x="19288" y="220027"/>
                </a:lnTo>
                <a:cubicBezTo>
                  <a:pt x="45006" y="265747"/>
                  <a:pt x="93583" y="293370"/>
                  <a:pt x="145971" y="293370"/>
                </a:cubicBezTo>
                <a:lnTo>
                  <a:pt x="145971" y="293370"/>
                </a:lnTo>
                <a:cubicBezTo>
                  <a:pt x="198358" y="293370"/>
                  <a:pt x="246936" y="265747"/>
                  <a:pt x="272653" y="220027"/>
                </a:cubicBezTo>
                <a:lnTo>
                  <a:pt x="272653" y="220027"/>
                </a:lnTo>
                <a:cubicBezTo>
                  <a:pt x="298371" y="174307"/>
                  <a:pt x="298371" y="119063"/>
                  <a:pt x="272653" y="73342"/>
                </a:cubicBezTo>
                <a:lnTo>
                  <a:pt x="272653" y="73342"/>
                </a:lnTo>
                <a:cubicBezTo>
                  <a:pt x="246936" y="27622"/>
                  <a:pt x="198358" y="0"/>
                  <a:pt x="145971" y="0"/>
                </a:cubicBezTo>
                <a:close/>
              </a:path>
            </a:pathLst>
          </a:custGeom>
          <a:solidFill>
            <a:schemeClr val="accent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0" name="Freeform: Shape 24">
            <a:extLst>
              <a:ext uri="{FF2B5EF4-FFF2-40B4-BE49-F238E27FC236}">
                <a16:creationId xmlns:a16="http://schemas.microsoft.com/office/drawing/2014/main" id="{84C771AD-F1C3-4C43-BA49-B12FCF213FCA}"/>
              </a:ext>
            </a:extLst>
          </p:cNvPr>
          <p:cNvSpPr/>
          <p:nvPr/>
        </p:nvSpPr>
        <p:spPr>
          <a:xfrm>
            <a:off x="5236179" y="3827824"/>
            <a:ext cx="301219" cy="302694"/>
          </a:xfrm>
          <a:custGeom>
            <a:avLst/>
            <a:gdLst>
              <a:gd name="connsiteX0" fmla="*/ 145971 w 291941"/>
              <a:gd name="connsiteY0" fmla="*/ 0 h 293370"/>
              <a:gd name="connsiteX1" fmla="*/ 145971 w 291941"/>
              <a:gd name="connsiteY1" fmla="*/ 0 h 293370"/>
              <a:gd name="connsiteX2" fmla="*/ 19288 w 291941"/>
              <a:gd name="connsiteY2" fmla="*/ 73342 h 293370"/>
              <a:gd name="connsiteX3" fmla="*/ 19288 w 291941"/>
              <a:gd name="connsiteY3" fmla="*/ 73342 h 293370"/>
              <a:gd name="connsiteX4" fmla="*/ 19288 w 291941"/>
              <a:gd name="connsiteY4" fmla="*/ 220028 h 293370"/>
              <a:gd name="connsiteX5" fmla="*/ 19288 w 291941"/>
              <a:gd name="connsiteY5" fmla="*/ 220028 h 293370"/>
              <a:gd name="connsiteX6" fmla="*/ 145971 w 291941"/>
              <a:gd name="connsiteY6" fmla="*/ 293370 h 293370"/>
              <a:gd name="connsiteX7" fmla="*/ 145971 w 291941"/>
              <a:gd name="connsiteY7" fmla="*/ 293370 h 293370"/>
              <a:gd name="connsiteX8" fmla="*/ 272653 w 291941"/>
              <a:gd name="connsiteY8" fmla="*/ 220028 h 293370"/>
              <a:gd name="connsiteX9" fmla="*/ 272653 w 291941"/>
              <a:gd name="connsiteY9" fmla="*/ 220028 h 293370"/>
              <a:gd name="connsiteX10" fmla="*/ 272653 w 291941"/>
              <a:gd name="connsiteY10" fmla="*/ 73342 h 293370"/>
              <a:gd name="connsiteX11" fmla="*/ 272653 w 291941"/>
              <a:gd name="connsiteY11" fmla="*/ 73342 h 293370"/>
              <a:gd name="connsiteX12" fmla="*/ 145971 w 291941"/>
              <a:gd name="connsiteY12" fmla="*/ 0 h 29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91941" h="293370">
                <a:moveTo>
                  <a:pt x="145971" y="0"/>
                </a:moveTo>
                <a:lnTo>
                  <a:pt x="145971" y="0"/>
                </a:lnTo>
                <a:cubicBezTo>
                  <a:pt x="93583" y="0"/>
                  <a:pt x="45006" y="27623"/>
                  <a:pt x="19288" y="73342"/>
                </a:cubicBezTo>
                <a:lnTo>
                  <a:pt x="19288" y="73342"/>
                </a:lnTo>
                <a:cubicBezTo>
                  <a:pt x="-6429" y="119063"/>
                  <a:pt x="-6429" y="174308"/>
                  <a:pt x="19288" y="220028"/>
                </a:cubicBezTo>
                <a:lnTo>
                  <a:pt x="19288" y="220028"/>
                </a:lnTo>
                <a:cubicBezTo>
                  <a:pt x="45006" y="265748"/>
                  <a:pt x="93583" y="293370"/>
                  <a:pt x="145971" y="293370"/>
                </a:cubicBezTo>
                <a:lnTo>
                  <a:pt x="145971" y="293370"/>
                </a:lnTo>
                <a:cubicBezTo>
                  <a:pt x="198358" y="293370"/>
                  <a:pt x="246936" y="265748"/>
                  <a:pt x="272653" y="220028"/>
                </a:cubicBezTo>
                <a:lnTo>
                  <a:pt x="272653" y="220028"/>
                </a:lnTo>
                <a:cubicBezTo>
                  <a:pt x="298371" y="174308"/>
                  <a:pt x="298371" y="119063"/>
                  <a:pt x="272653" y="73342"/>
                </a:cubicBezTo>
                <a:lnTo>
                  <a:pt x="272653" y="73342"/>
                </a:lnTo>
                <a:cubicBezTo>
                  <a:pt x="245983" y="27623"/>
                  <a:pt x="198358" y="0"/>
                  <a:pt x="145971" y="0"/>
                </a:cubicBezTo>
                <a:close/>
              </a:path>
            </a:pathLst>
          </a:custGeom>
          <a:solidFill>
            <a:schemeClr val="accent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1" name="Freeform: Shape 26">
            <a:extLst>
              <a:ext uri="{FF2B5EF4-FFF2-40B4-BE49-F238E27FC236}">
                <a16:creationId xmlns:a16="http://schemas.microsoft.com/office/drawing/2014/main" id="{059C5669-5958-4DAE-A779-3BC8DE5DE8D7}"/>
              </a:ext>
            </a:extLst>
          </p:cNvPr>
          <p:cNvSpPr/>
          <p:nvPr/>
        </p:nvSpPr>
        <p:spPr>
          <a:xfrm>
            <a:off x="7113090" y="4611512"/>
            <a:ext cx="224071" cy="224072"/>
          </a:xfrm>
          <a:custGeom>
            <a:avLst/>
            <a:gdLst>
              <a:gd name="connsiteX0" fmla="*/ 217170 w 217169"/>
              <a:gd name="connsiteY0" fmla="*/ 108585 h 217170"/>
              <a:gd name="connsiteX1" fmla="*/ 108585 w 217169"/>
              <a:gd name="connsiteY1" fmla="*/ 217170 h 217170"/>
              <a:gd name="connsiteX2" fmla="*/ 0 w 217169"/>
              <a:gd name="connsiteY2" fmla="*/ 108585 h 217170"/>
              <a:gd name="connsiteX3" fmla="*/ 108585 w 217169"/>
              <a:gd name="connsiteY3" fmla="*/ 0 h 217170"/>
              <a:gd name="connsiteX4" fmla="*/ 217170 w 217169"/>
              <a:gd name="connsiteY4" fmla="*/ 108585 h 217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7169" h="217170">
                <a:moveTo>
                  <a:pt x="217170" y="108585"/>
                </a:moveTo>
                <a:cubicBezTo>
                  <a:pt x="217170" y="168555"/>
                  <a:pt x="168555" y="217170"/>
                  <a:pt x="108585" y="217170"/>
                </a:cubicBezTo>
                <a:cubicBezTo>
                  <a:pt x="48615" y="217170"/>
                  <a:pt x="0" y="168555"/>
                  <a:pt x="0" y="108585"/>
                </a:cubicBezTo>
                <a:cubicBezTo>
                  <a:pt x="0" y="48615"/>
                  <a:pt x="48615" y="0"/>
                  <a:pt x="108585" y="0"/>
                </a:cubicBezTo>
                <a:cubicBezTo>
                  <a:pt x="168555" y="0"/>
                  <a:pt x="217170" y="48615"/>
                  <a:pt x="217170" y="108585"/>
                </a:cubicBezTo>
                <a:close/>
              </a:path>
            </a:pathLst>
          </a:custGeom>
          <a:solidFill>
            <a:schemeClr val="accent5"/>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2" name="Freeform: Shape 27">
            <a:extLst>
              <a:ext uri="{FF2B5EF4-FFF2-40B4-BE49-F238E27FC236}">
                <a16:creationId xmlns:a16="http://schemas.microsoft.com/office/drawing/2014/main" id="{2A8F08BD-10AE-4752-9E4F-14C3E9F9D71D}"/>
              </a:ext>
            </a:extLst>
          </p:cNvPr>
          <p:cNvSpPr/>
          <p:nvPr/>
        </p:nvSpPr>
        <p:spPr>
          <a:xfrm>
            <a:off x="7038968" y="2223247"/>
            <a:ext cx="224071" cy="224072"/>
          </a:xfrm>
          <a:custGeom>
            <a:avLst/>
            <a:gdLst>
              <a:gd name="connsiteX0" fmla="*/ 217170 w 217169"/>
              <a:gd name="connsiteY0" fmla="*/ 108585 h 217169"/>
              <a:gd name="connsiteX1" fmla="*/ 108585 w 217169"/>
              <a:gd name="connsiteY1" fmla="*/ 217170 h 217169"/>
              <a:gd name="connsiteX2" fmla="*/ 0 w 217169"/>
              <a:gd name="connsiteY2" fmla="*/ 108585 h 217169"/>
              <a:gd name="connsiteX3" fmla="*/ 108585 w 217169"/>
              <a:gd name="connsiteY3" fmla="*/ 0 h 217169"/>
              <a:gd name="connsiteX4" fmla="*/ 217170 w 217169"/>
              <a:gd name="connsiteY4" fmla="*/ 108585 h 21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7169" h="217169">
                <a:moveTo>
                  <a:pt x="217170" y="108585"/>
                </a:moveTo>
                <a:cubicBezTo>
                  <a:pt x="217170" y="168555"/>
                  <a:pt x="168555" y="217170"/>
                  <a:pt x="108585" y="217170"/>
                </a:cubicBezTo>
                <a:cubicBezTo>
                  <a:pt x="48615" y="217170"/>
                  <a:pt x="0" y="168555"/>
                  <a:pt x="0" y="108585"/>
                </a:cubicBezTo>
                <a:cubicBezTo>
                  <a:pt x="0" y="48615"/>
                  <a:pt x="48615" y="0"/>
                  <a:pt x="108585" y="0"/>
                </a:cubicBezTo>
                <a:cubicBezTo>
                  <a:pt x="168555" y="0"/>
                  <a:pt x="217170" y="48615"/>
                  <a:pt x="217170" y="108585"/>
                </a:cubicBezTo>
                <a:close/>
              </a:path>
            </a:pathLst>
          </a:custGeom>
          <a:solidFill>
            <a:schemeClr val="accent4"/>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3" name="Freeform: Shape 28">
            <a:extLst>
              <a:ext uri="{FF2B5EF4-FFF2-40B4-BE49-F238E27FC236}">
                <a16:creationId xmlns:a16="http://schemas.microsoft.com/office/drawing/2014/main" id="{1666232D-6DD5-4B0C-95B3-D71AA1CEBFAA}"/>
              </a:ext>
            </a:extLst>
          </p:cNvPr>
          <p:cNvSpPr/>
          <p:nvPr/>
        </p:nvSpPr>
        <p:spPr>
          <a:xfrm>
            <a:off x="6792178" y="3791795"/>
            <a:ext cx="281073" cy="281072"/>
          </a:xfrm>
          <a:custGeom>
            <a:avLst/>
            <a:gdLst>
              <a:gd name="connsiteX0" fmla="*/ 272415 w 272415"/>
              <a:gd name="connsiteY0" fmla="*/ 136208 h 272415"/>
              <a:gd name="connsiteX1" fmla="*/ 136208 w 272415"/>
              <a:gd name="connsiteY1" fmla="*/ 272415 h 272415"/>
              <a:gd name="connsiteX2" fmla="*/ 0 w 272415"/>
              <a:gd name="connsiteY2" fmla="*/ 136208 h 272415"/>
              <a:gd name="connsiteX3" fmla="*/ 136208 w 272415"/>
              <a:gd name="connsiteY3" fmla="*/ 0 h 272415"/>
              <a:gd name="connsiteX4" fmla="*/ 272415 w 272415"/>
              <a:gd name="connsiteY4" fmla="*/ 136208 h 2724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2415" h="272415">
                <a:moveTo>
                  <a:pt x="272415" y="136208"/>
                </a:moveTo>
                <a:cubicBezTo>
                  <a:pt x="272415" y="211433"/>
                  <a:pt x="211433" y="272415"/>
                  <a:pt x="136208" y="272415"/>
                </a:cubicBezTo>
                <a:cubicBezTo>
                  <a:pt x="60982" y="272415"/>
                  <a:pt x="0" y="211433"/>
                  <a:pt x="0" y="136208"/>
                </a:cubicBezTo>
                <a:cubicBezTo>
                  <a:pt x="0" y="60982"/>
                  <a:pt x="60982" y="0"/>
                  <a:pt x="136208" y="0"/>
                </a:cubicBezTo>
                <a:cubicBezTo>
                  <a:pt x="211433" y="0"/>
                  <a:pt x="272415" y="60982"/>
                  <a:pt x="272415" y="136208"/>
                </a:cubicBezTo>
                <a:close/>
              </a:path>
            </a:pathLst>
          </a:custGeom>
          <a:solidFill>
            <a:schemeClr val="accent5"/>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4" name="Freeform: Shape 29">
            <a:extLst>
              <a:ext uri="{FF2B5EF4-FFF2-40B4-BE49-F238E27FC236}">
                <a16:creationId xmlns:a16="http://schemas.microsoft.com/office/drawing/2014/main" id="{DB5B899B-3719-4979-A770-4C42E03C8B98}"/>
              </a:ext>
            </a:extLst>
          </p:cNvPr>
          <p:cNvSpPr/>
          <p:nvPr/>
        </p:nvSpPr>
        <p:spPr>
          <a:xfrm>
            <a:off x="4939960" y="2874782"/>
            <a:ext cx="281073" cy="281072"/>
          </a:xfrm>
          <a:custGeom>
            <a:avLst/>
            <a:gdLst>
              <a:gd name="connsiteX0" fmla="*/ 272415 w 272415"/>
              <a:gd name="connsiteY0" fmla="*/ 136207 h 272415"/>
              <a:gd name="connsiteX1" fmla="*/ 136207 w 272415"/>
              <a:gd name="connsiteY1" fmla="*/ 272415 h 272415"/>
              <a:gd name="connsiteX2" fmla="*/ 0 w 272415"/>
              <a:gd name="connsiteY2" fmla="*/ 136208 h 272415"/>
              <a:gd name="connsiteX3" fmla="*/ 136207 w 272415"/>
              <a:gd name="connsiteY3" fmla="*/ 0 h 272415"/>
              <a:gd name="connsiteX4" fmla="*/ 272415 w 272415"/>
              <a:gd name="connsiteY4" fmla="*/ 136207 h 2724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2415" h="272415">
                <a:moveTo>
                  <a:pt x="272415" y="136207"/>
                </a:moveTo>
                <a:cubicBezTo>
                  <a:pt x="272415" y="211433"/>
                  <a:pt x="211433" y="272415"/>
                  <a:pt x="136207" y="272415"/>
                </a:cubicBezTo>
                <a:cubicBezTo>
                  <a:pt x="60982" y="272415"/>
                  <a:pt x="0" y="211433"/>
                  <a:pt x="0" y="136208"/>
                </a:cubicBezTo>
                <a:cubicBezTo>
                  <a:pt x="0" y="60982"/>
                  <a:pt x="60982" y="0"/>
                  <a:pt x="136207" y="0"/>
                </a:cubicBezTo>
                <a:cubicBezTo>
                  <a:pt x="211433" y="0"/>
                  <a:pt x="272415" y="60982"/>
                  <a:pt x="272415" y="136207"/>
                </a:cubicBezTo>
                <a:close/>
              </a:path>
            </a:pathLst>
          </a:custGeom>
          <a:solidFill>
            <a:schemeClr val="accent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5" name="Freeform: Shape 30">
            <a:extLst>
              <a:ext uri="{FF2B5EF4-FFF2-40B4-BE49-F238E27FC236}">
                <a16:creationId xmlns:a16="http://schemas.microsoft.com/office/drawing/2014/main" id="{018B8CEB-AE5C-467D-BA4B-A45D10E42402}"/>
              </a:ext>
            </a:extLst>
          </p:cNvPr>
          <p:cNvSpPr/>
          <p:nvPr/>
        </p:nvSpPr>
        <p:spPr>
          <a:xfrm>
            <a:off x="5543046" y="3177906"/>
            <a:ext cx="281073" cy="281072"/>
          </a:xfrm>
          <a:custGeom>
            <a:avLst/>
            <a:gdLst>
              <a:gd name="connsiteX0" fmla="*/ 272415 w 272415"/>
              <a:gd name="connsiteY0" fmla="*/ 136208 h 272415"/>
              <a:gd name="connsiteX1" fmla="*/ 136207 w 272415"/>
              <a:gd name="connsiteY1" fmla="*/ 272415 h 272415"/>
              <a:gd name="connsiteX2" fmla="*/ 0 w 272415"/>
              <a:gd name="connsiteY2" fmla="*/ 136208 h 272415"/>
              <a:gd name="connsiteX3" fmla="*/ 136207 w 272415"/>
              <a:gd name="connsiteY3" fmla="*/ 0 h 272415"/>
              <a:gd name="connsiteX4" fmla="*/ 272415 w 272415"/>
              <a:gd name="connsiteY4" fmla="*/ 136208 h 2724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2415" h="272415">
                <a:moveTo>
                  <a:pt x="272415" y="136208"/>
                </a:moveTo>
                <a:cubicBezTo>
                  <a:pt x="272415" y="211433"/>
                  <a:pt x="211433" y="272415"/>
                  <a:pt x="136207" y="272415"/>
                </a:cubicBezTo>
                <a:cubicBezTo>
                  <a:pt x="60982" y="272415"/>
                  <a:pt x="0" y="211433"/>
                  <a:pt x="0" y="136208"/>
                </a:cubicBezTo>
                <a:cubicBezTo>
                  <a:pt x="0" y="60982"/>
                  <a:pt x="60982" y="0"/>
                  <a:pt x="136207" y="0"/>
                </a:cubicBezTo>
                <a:cubicBezTo>
                  <a:pt x="211433" y="0"/>
                  <a:pt x="272415" y="60982"/>
                  <a:pt x="272415" y="136208"/>
                </a:cubicBezTo>
                <a:close/>
              </a:path>
            </a:pathLst>
          </a:custGeom>
          <a:solidFill>
            <a:schemeClr val="accent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6" name="Freeform: Shape 31">
            <a:extLst>
              <a:ext uri="{FF2B5EF4-FFF2-40B4-BE49-F238E27FC236}">
                <a16:creationId xmlns:a16="http://schemas.microsoft.com/office/drawing/2014/main" id="{3DEA4409-BB34-4177-B349-3DF2E829EBCF}"/>
              </a:ext>
            </a:extLst>
          </p:cNvPr>
          <p:cNvSpPr/>
          <p:nvPr/>
        </p:nvSpPr>
        <p:spPr>
          <a:xfrm>
            <a:off x="6368718" y="3505765"/>
            <a:ext cx="281073" cy="281072"/>
          </a:xfrm>
          <a:custGeom>
            <a:avLst/>
            <a:gdLst>
              <a:gd name="connsiteX0" fmla="*/ 272415 w 272415"/>
              <a:gd name="connsiteY0" fmla="*/ 136208 h 272415"/>
              <a:gd name="connsiteX1" fmla="*/ 136208 w 272415"/>
              <a:gd name="connsiteY1" fmla="*/ 272415 h 272415"/>
              <a:gd name="connsiteX2" fmla="*/ 0 w 272415"/>
              <a:gd name="connsiteY2" fmla="*/ 136208 h 272415"/>
              <a:gd name="connsiteX3" fmla="*/ 136208 w 272415"/>
              <a:gd name="connsiteY3" fmla="*/ 0 h 272415"/>
              <a:gd name="connsiteX4" fmla="*/ 272415 w 272415"/>
              <a:gd name="connsiteY4" fmla="*/ 136208 h 2724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2415" h="272415">
                <a:moveTo>
                  <a:pt x="272415" y="136208"/>
                </a:moveTo>
                <a:cubicBezTo>
                  <a:pt x="272415" y="211433"/>
                  <a:pt x="211433" y="272415"/>
                  <a:pt x="136208" y="272415"/>
                </a:cubicBezTo>
                <a:cubicBezTo>
                  <a:pt x="60982" y="272415"/>
                  <a:pt x="0" y="211433"/>
                  <a:pt x="0" y="136208"/>
                </a:cubicBezTo>
                <a:cubicBezTo>
                  <a:pt x="0" y="60982"/>
                  <a:pt x="60982" y="0"/>
                  <a:pt x="136208" y="0"/>
                </a:cubicBezTo>
                <a:cubicBezTo>
                  <a:pt x="211433" y="0"/>
                  <a:pt x="272415" y="60982"/>
                  <a:pt x="272415" y="136208"/>
                </a:cubicBezTo>
                <a:close/>
              </a:path>
            </a:pathLst>
          </a:custGeom>
          <a:solidFill>
            <a:schemeClr val="accent5"/>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7" name="Freeform: Shape 32">
            <a:extLst>
              <a:ext uri="{FF2B5EF4-FFF2-40B4-BE49-F238E27FC236}">
                <a16:creationId xmlns:a16="http://schemas.microsoft.com/office/drawing/2014/main" id="{2F891A3E-9718-435C-B452-1168AF6B1ECB}"/>
              </a:ext>
            </a:extLst>
          </p:cNvPr>
          <p:cNvSpPr/>
          <p:nvPr/>
        </p:nvSpPr>
        <p:spPr>
          <a:xfrm>
            <a:off x="7115625" y="2467957"/>
            <a:ext cx="281073" cy="281072"/>
          </a:xfrm>
          <a:custGeom>
            <a:avLst/>
            <a:gdLst>
              <a:gd name="connsiteX0" fmla="*/ 272415 w 272415"/>
              <a:gd name="connsiteY0" fmla="*/ 136208 h 272415"/>
              <a:gd name="connsiteX1" fmla="*/ 136208 w 272415"/>
              <a:gd name="connsiteY1" fmla="*/ 272415 h 272415"/>
              <a:gd name="connsiteX2" fmla="*/ 0 w 272415"/>
              <a:gd name="connsiteY2" fmla="*/ 136208 h 272415"/>
              <a:gd name="connsiteX3" fmla="*/ 136208 w 272415"/>
              <a:gd name="connsiteY3" fmla="*/ 0 h 272415"/>
              <a:gd name="connsiteX4" fmla="*/ 272415 w 272415"/>
              <a:gd name="connsiteY4" fmla="*/ 136208 h 2724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2415" h="272415">
                <a:moveTo>
                  <a:pt x="272415" y="136208"/>
                </a:moveTo>
                <a:cubicBezTo>
                  <a:pt x="272415" y="211433"/>
                  <a:pt x="211433" y="272415"/>
                  <a:pt x="136208" y="272415"/>
                </a:cubicBezTo>
                <a:cubicBezTo>
                  <a:pt x="60982" y="272415"/>
                  <a:pt x="0" y="211433"/>
                  <a:pt x="0" y="136208"/>
                </a:cubicBezTo>
                <a:cubicBezTo>
                  <a:pt x="0" y="60982"/>
                  <a:pt x="60982" y="0"/>
                  <a:pt x="136208" y="0"/>
                </a:cubicBezTo>
                <a:cubicBezTo>
                  <a:pt x="211433" y="0"/>
                  <a:pt x="272415" y="60982"/>
                  <a:pt x="272415" y="136208"/>
                </a:cubicBezTo>
                <a:close/>
              </a:path>
            </a:pathLst>
          </a:custGeom>
          <a:solidFill>
            <a:schemeClr val="accent4"/>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8" name="Freeform: Shape 33">
            <a:extLst>
              <a:ext uri="{FF2B5EF4-FFF2-40B4-BE49-F238E27FC236}">
                <a16:creationId xmlns:a16="http://schemas.microsoft.com/office/drawing/2014/main" id="{4BE3E25F-688C-4F2A-8A46-38AA6CE0C01A}"/>
              </a:ext>
            </a:extLst>
          </p:cNvPr>
          <p:cNvSpPr/>
          <p:nvPr/>
        </p:nvSpPr>
        <p:spPr>
          <a:xfrm>
            <a:off x="7347495" y="4653473"/>
            <a:ext cx="281073" cy="281072"/>
          </a:xfrm>
          <a:custGeom>
            <a:avLst/>
            <a:gdLst>
              <a:gd name="connsiteX0" fmla="*/ 272415 w 272415"/>
              <a:gd name="connsiteY0" fmla="*/ 136207 h 272415"/>
              <a:gd name="connsiteX1" fmla="*/ 136208 w 272415"/>
              <a:gd name="connsiteY1" fmla="*/ 272415 h 272415"/>
              <a:gd name="connsiteX2" fmla="*/ 0 w 272415"/>
              <a:gd name="connsiteY2" fmla="*/ 136207 h 272415"/>
              <a:gd name="connsiteX3" fmla="*/ 136208 w 272415"/>
              <a:gd name="connsiteY3" fmla="*/ 0 h 272415"/>
              <a:gd name="connsiteX4" fmla="*/ 272415 w 272415"/>
              <a:gd name="connsiteY4" fmla="*/ 136207 h 2724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2415" h="272415">
                <a:moveTo>
                  <a:pt x="272415" y="136207"/>
                </a:moveTo>
                <a:cubicBezTo>
                  <a:pt x="272415" y="211433"/>
                  <a:pt x="211433" y="272415"/>
                  <a:pt x="136208" y="272415"/>
                </a:cubicBezTo>
                <a:cubicBezTo>
                  <a:pt x="60982" y="272415"/>
                  <a:pt x="0" y="211433"/>
                  <a:pt x="0" y="136207"/>
                </a:cubicBezTo>
                <a:cubicBezTo>
                  <a:pt x="0" y="60982"/>
                  <a:pt x="60982" y="0"/>
                  <a:pt x="136208" y="0"/>
                </a:cubicBezTo>
                <a:cubicBezTo>
                  <a:pt x="211433" y="0"/>
                  <a:pt x="272415" y="60982"/>
                  <a:pt x="272415" y="136207"/>
                </a:cubicBezTo>
                <a:close/>
              </a:path>
            </a:pathLst>
          </a:custGeom>
          <a:solidFill>
            <a:schemeClr val="accent5"/>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9" name="Freeform: Shape 34">
            <a:extLst>
              <a:ext uri="{FF2B5EF4-FFF2-40B4-BE49-F238E27FC236}">
                <a16:creationId xmlns:a16="http://schemas.microsoft.com/office/drawing/2014/main" id="{2AE3DF12-73DE-4B04-9882-13D2FCF17287}"/>
              </a:ext>
            </a:extLst>
          </p:cNvPr>
          <p:cNvSpPr/>
          <p:nvPr/>
        </p:nvSpPr>
        <p:spPr>
          <a:xfrm>
            <a:off x="7699763" y="4616083"/>
            <a:ext cx="226038" cy="226037"/>
          </a:xfrm>
          <a:custGeom>
            <a:avLst/>
            <a:gdLst>
              <a:gd name="connsiteX0" fmla="*/ 219075 w 219075"/>
              <a:gd name="connsiteY0" fmla="*/ 109537 h 219075"/>
              <a:gd name="connsiteX1" fmla="*/ 109538 w 219075"/>
              <a:gd name="connsiteY1" fmla="*/ 219075 h 219075"/>
              <a:gd name="connsiteX2" fmla="*/ 0 w 219075"/>
              <a:gd name="connsiteY2" fmla="*/ 109537 h 219075"/>
              <a:gd name="connsiteX3" fmla="*/ 109538 w 219075"/>
              <a:gd name="connsiteY3" fmla="*/ 0 h 219075"/>
              <a:gd name="connsiteX4" fmla="*/ 219075 w 219075"/>
              <a:gd name="connsiteY4" fmla="*/ 109537 h 219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9075" h="219075">
                <a:moveTo>
                  <a:pt x="219075" y="109537"/>
                </a:moveTo>
                <a:cubicBezTo>
                  <a:pt x="219075" y="170033"/>
                  <a:pt x="170034" y="219075"/>
                  <a:pt x="109538" y="219075"/>
                </a:cubicBezTo>
                <a:cubicBezTo>
                  <a:pt x="49042" y="219075"/>
                  <a:pt x="0" y="170033"/>
                  <a:pt x="0" y="109537"/>
                </a:cubicBezTo>
                <a:cubicBezTo>
                  <a:pt x="0" y="49042"/>
                  <a:pt x="49042" y="0"/>
                  <a:pt x="109538" y="0"/>
                </a:cubicBezTo>
                <a:cubicBezTo>
                  <a:pt x="170034" y="0"/>
                  <a:pt x="219075" y="49042"/>
                  <a:pt x="219075" y="109537"/>
                </a:cubicBezTo>
                <a:close/>
              </a:path>
            </a:pathLst>
          </a:custGeom>
          <a:solidFill>
            <a:schemeClr val="accent5"/>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0" name="Freeform: Shape 35">
            <a:extLst>
              <a:ext uri="{FF2B5EF4-FFF2-40B4-BE49-F238E27FC236}">
                <a16:creationId xmlns:a16="http://schemas.microsoft.com/office/drawing/2014/main" id="{2ACFC1C0-1BFB-4E15-ABF6-63B3CAC18920}"/>
              </a:ext>
            </a:extLst>
          </p:cNvPr>
          <p:cNvSpPr/>
          <p:nvPr/>
        </p:nvSpPr>
        <p:spPr>
          <a:xfrm>
            <a:off x="4888940" y="3285518"/>
            <a:ext cx="226038" cy="226037"/>
          </a:xfrm>
          <a:custGeom>
            <a:avLst/>
            <a:gdLst>
              <a:gd name="connsiteX0" fmla="*/ 219075 w 219075"/>
              <a:gd name="connsiteY0" fmla="*/ 109538 h 219075"/>
              <a:gd name="connsiteX1" fmla="*/ 109538 w 219075"/>
              <a:gd name="connsiteY1" fmla="*/ 219075 h 219075"/>
              <a:gd name="connsiteX2" fmla="*/ 0 w 219075"/>
              <a:gd name="connsiteY2" fmla="*/ 109538 h 219075"/>
              <a:gd name="connsiteX3" fmla="*/ 109538 w 219075"/>
              <a:gd name="connsiteY3" fmla="*/ 0 h 219075"/>
              <a:gd name="connsiteX4" fmla="*/ 219075 w 219075"/>
              <a:gd name="connsiteY4" fmla="*/ 109538 h 219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9075" h="219075">
                <a:moveTo>
                  <a:pt x="219075" y="109538"/>
                </a:moveTo>
                <a:cubicBezTo>
                  <a:pt x="219075" y="170033"/>
                  <a:pt x="170033" y="219075"/>
                  <a:pt x="109538" y="219075"/>
                </a:cubicBezTo>
                <a:cubicBezTo>
                  <a:pt x="49042" y="219075"/>
                  <a:pt x="0" y="170033"/>
                  <a:pt x="0" y="109538"/>
                </a:cubicBezTo>
                <a:cubicBezTo>
                  <a:pt x="0" y="49042"/>
                  <a:pt x="49042" y="0"/>
                  <a:pt x="109538" y="0"/>
                </a:cubicBezTo>
                <a:cubicBezTo>
                  <a:pt x="170033" y="0"/>
                  <a:pt x="219075" y="49042"/>
                  <a:pt x="219075" y="109538"/>
                </a:cubicBezTo>
                <a:close/>
              </a:path>
            </a:pathLst>
          </a:custGeom>
          <a:solidFill>
            <a:schemeClr val="accent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1" name="Freeform: Shape 36">
            <a:extLst>
              <a:ext uri="{FF2B5EF4-FFF2-40B4-BE49-F238E27FC236}">
                <a16:creationId xmlns:a16="http://schemas.microsoft.com/office/drawing/2014/main" id="{2142C981-24B1-48F8-8FF1-C220F3CD3C9F}"/>
              </a:ext>
            </a:extLst>
          </p:cNvPr>
          <p:cNvSpPr/>
          <p:nvPr/>
        </p:nvSpPr>
        <p:spPr>
          <a:xfrm>
            <a:off x="5882103" y="3393134"/>
            <a:ext cx="226038" cy="226037"/>
          </a:xfrm>
          <a:custGeom>
            <a:avLst/>
            <a:gdLst>
              <a:gd name="connsiteX0" fmla="*/ 219075 w 219075"/>
              <a:gd name="connsiteY0" fmla="*/ 109538 h 219075"/>
              <a:gd name="connsiteX1" fmla="*/ 109538 w 219075"/>
              <a:gd name="connsiteY1" fmla="*/ 219075 h 219075"/>
              <a:gd name="connsiteX2" fmla="*/ 0 w 219075"/>
              <a:gd name="connsiteY2" fmla="*/ 109538 h 219075"/>
              <a:gd name="connsiteX3" fmla="*/ 109538 w 219075"/>
              <a:gd name="connsiteY3" fmla="*/ 0 h 219075"/>
              <a:gd name="connsiteX4" fmla="*/ 219075 w 219075"/>
              <a:gd name="connsiteY4" fmla="*/ 109538 h 219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9075" h="219075">
                <a:moveTo>
                  <a:pt x="219075" y="109538"/>
                </a:moveTo>
                <a:cubicBezTo>
                  <a:pt x="219075" y="170033"/>
                  <a:pt x="170033" y="219075"/>
                  <a:pt x="109538" y="219075"/>
                </a:cubicBezTo>
                <a:cubicBezTo>
                  <a:pt x="49042" y="219075"/>
                  <a:pt x="0" y="170033"/>
                  <a:pt x="0" y="109538"/>
                </a:cubicBezTo>
                <a:cubicBezTo>
                  <a:pt x="0" y="49042"/>
                  <a:pt x="49042" y="0"/>
                  <a:pt x="109538" y="0"/>
                </a:cubicBezTo>
                <a:cubicBezTo>
                  <a:pt x="170033" y="0"/>
                  <a:pt x="219075" y="49042"/>
                  <a:pt x="219075" y="109538"/>
                </a:cubicBezTo>
                <a:close/>
              </a:path>
            </a:pathLst>
          </a:custGeom>
          <a:solidFill>
            <a:schemeClr val="accent4"/>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2" name="Freeform: Shape 37">
            <a:extLst>
              <a:ext uri="{FF2B5EF4-FFF2-40B4-BE49-F238E27FC236}">
                <a16:creationId xmlns:a16="http://schemas.microsoft.com/office/drawing/2014/main" id="{993ECA3E-FD6E-46E5-A430-74391169713F}"/>
              </a:ext>
            </a:extLst>
          </p:cNvPr>
          <p:cNvSpPr/>
          <p:nvPr/>
        </p:nvSpPr>
        <p:spPr>
          <a:xfrm>
            <a:off x="6494513" y="3907719"/>
            <a:ext cx="226038" cy="226037"/>
          </a:xfrm>
          <a:custGeom>
            <a:avLst/>
            <a:gdLst>
              <a:gd name="connsiteX0" fmla="*/ 219075 w 219075"/>
              <a:gd name="connsiteY0" fmla="*/ 109538 h 219075"/>
              <a:gd name="connsiteX1" fmla="*/ 109538 w 219075"/>
              <a:gd name="connsiteY1" fmla="*/ 219075 h 219075"/>
              <a:gd name="connsiteX2" fmla="*/ 0 w 219075"/>
              <a:gd name="connsiteY2" fmla="*/ 109538 h 219075"/>
              <a:gd name="connsiteX3" fmla="*/ 109538 w 219075"/>
              <a:gd name="connsiteY3" fmla="*/ 0 h 219075"/>
              <a:gd name="connsiteX4" fmla="*/ 219075 w 219075"/>
              <a:gd name="connsiteY4" fmla="*/ 109538 h 219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9075" h="219075">
                <a:moveTo>
                  <a:pt x="219075" y="109538"/>
                </a:moveTo>
                <a:cubicBezTo>
                  <a:pt x="219075" y="170033"/>
                  <a:pt x="170034" y="219075"/>
                  <a:pt x="109538" y="219075"/>
                </a:cubicBezTo>
                <a:cubicBezTo>
                  <a:pt x="49042" y="219075"/>
                  <a:pt x="0" y="170033"/>
                  <a:pt x="0" y="109538"/>
                </a:cubicBezTo>
                <a:cubicBezTo>
                  <a:pt x="0" y="49042"/>
                  <a:pt x="49042" y="0"/>
                  <a:pt x="109538" y="0"/>
                </a:cubicBezTo>
                <a:cubicBezTo>
                  <a:pt x="170034" y="0"/>
                  <a:pt x="219075" y="49042"/>
                  <a:pt x="219075" y="109538"/>
                </a:cubicBezTo>
                <a:close/>
              </a:path>
            </a:pathLst>
          </a:custGeom>
          <a:solidFill>
            <a:schemeClr val="accent5"/>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3" name="Freeform: Shape 38">
            <a:extLst>
              <a:ext uri="{FF2B5EF4-FFF2-40B4-BE49-F238E27FC236}">
                <a16:creationId xmlns:a16="http://schemas.microsoft.com/office/drawing/2014/main" id="{6E5AD5CF-4721-4693-8CA7-3BCEBA6C00D6}"/>
              </a:ext>
            </a:extLst>
          </p:cNvPr>
          <p:cNvSpPr/>
          <p:nvPr/>
        </p:nvSpPr>
        <p:spPr>
          <a:xfrm>
            <a:off x="5368114" y="3440307"/>
            <a:ext cx="226038" cy="226037"/>
          </a:xfrm>
          <a:custGeom>
            <a:avLst/>
            <a:gdLst>
              <a:gd name="connsiteX0" fmla="*/ 219075 w 219075"/>
              <a:gd name="connsiteY0" fmla="*/ 109538 h 219075"/>
              <a:gd name="connsiteX1" fmla="*/ 109538 w 219075"/>
              <a:gd name="connsiteY1" fmla="*/ 219075 h 219075"/>
              <a:gd name="connsiteX2" fmla="*/ 0 w 219075"/>
              <a:gd name="connsiteY2" fmla="*/ 109538 h 219075"/>
              <a:gd name="connsiteX3" fmla="*/ 109538 w 219075"/>
              <a:gd name="connsiteY3" fmla="*/ 0 h 219075"/>
              <a:gd name="connsiteX4" fmla="*/ 219075 w 219075"/>
              <a:gd name="connsiteY4" fmla="*/ 109538 h 219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9075" h="219075">
                <a:moveTo>
                  <a:pt x="219075" y="109538"/>
                </a:moveTo>
                <a:cubicBezTo>
                  <a:pt x="219075" y="170033"/>
                  <a:pt x="170033" y="219075"/>
                  <a:pt x="109538" y="219075"/>
                </a:cubicBezTo>
                <a:cubicBezTo>
                  <a:pt x="49042" y="219075"/>
                  <a:pt x="0" y="170033"/>
                  <a:pt x="0" y="109538"/>
                </a:cubicBezTo>
                <a:cubicBezTo>
                  <a:pt x="0" y="49042"/>
                  <a:pt x="49042" y="0"/>
                  <a:pt x="109538" y="0"/>
                </a:cubicBezTo>
                <a:cubicBezTo>
                  <a:pt x="170033" y="0"/>
                  <a:pt x="219075" y="49042"/>
                  <a:pt x="219075" y="109538"/>
                </a:cubicBezTo>
                <a:close/>
              </a:path>
            </a:pathLst>
          </a:custGeom>
          <a:solidFill>
            <a:schemeClr val="accent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4" name="Freeform: Shape 39">
            <a:extLst>
              <a:ext uri="{FF2B5EF4-FFF2-40B4-BE49-F238E27FC236}">
                <a16:creationId xmlns:a16="http://schemas.microsoft.com/office/drawing/2014/main" id="{8685CC11-4678-4F8F-A9FF-CFCFF84FDDA6}"/>
              </a:ext>
            </a:extLst>
          </p:cNvPr>
          <p:cNvSpPr/>
          <p:nvPr/>
        </p:nvSpPr>
        <p:spPr>
          <a:xfrm>
            <a:off x="5882103" y="3167095"/>
            <a:ext cx="153312" cy="153311"/>
          </a:xfrm>
          <a:custGeom>
            <a:avLst/>
            <a:gdLst>
              <a:gd name="connsiteX0" fmla="*/ 148590 w 148590"/>
              <a:gd name="connsiteY0" fmla="*/ 74295 h 148589"/>
              <a:gd name="connsiteX1" fmla="*/ 74295 w 148590"/>
              <a:gd name="connsiteY1" fmla="*/ 148590 h 148589"/>
              <a:gd name="connsiteX2" fmla="*/ 0 w 148590"/>
              <a:gd name="connsiteY2" fmla="*/ 74295 h 148589"/>
              <a:gd name="connsiteX3" fmla="*/ 74295 w 148590"/>
              <a:gd name="connsiteY3" fmla="*/ 0 h 148589"/>
              <a:gd name="connsiteX4" fmla="*/ 148590 w 148590"/>
              <a:gd name="connsiteY4" fmla="*/ 74295 h 1485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8590" h="148589">
                <a:moveTo>
                  <a:pt x="148590" y="74295"/>
                </a:moveTo>
                <a:cubicBezTo>
                  <a:pt x="148590" y="115327"/>
                  <a:pt x="115327" y="148590"/>
                  <a:pt x="74295" y="148590"/>
                </a:cubicBezTo>
                <a:cubicBezTo>
                  <a:pt x="33263" y="148590"/>
                  <a:pt x="0" y="115327"/>
                  <a:pt x="0" y="74295"/>
                </a:cubicBezTo>
                <a:cubicBezTo>
                  <a:pt x="0" y="33263"/>
                  <a:pt x="33263" y="0"/>
                  <a:pt x="74295" y="0"/>
                </a:cubicBezTo>
                <a:cubicBezTo>
                  <a:pt x="115327" y="0"/>
                  <a:pt x="148590" y="33263"/>
                  <a:pt x="148590" y="74295"/>
                </a:cubicBezTo>
                <a:close/>
              </a:path>
            </a:pathLst>
          </a:custGeom>
          <a:solidFill>
            <a:schemeClr val="accent4"/>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5" name="Freeform: Shape 40">
            <a:extLst>
              <a:ext uri="{FF2B5EF4-FFF2-40B4-BE49-F238E27FC236}">
                <a16:creationId xmlns:a16="http://schemas.microsoft.com/office/drawing/2014/main" id="{CF64B4EE-536E-48FF-AA5C-2DF6C6849474}"/>
              </a:ext>
            </a:extLst>
          </p:cNvPr>
          <p:cNvSpPr/>
          <p:nvPr/>
        </p:nvSpPr>
        <p:spPr>
          <a:xfrm>
            <a:off x="5239255" y="3230198"/>
            <a:ext cx="153312" cy="153311"/>
          </a:xfrm>
          <a:custGeom>
            <a:avLst/>
            <a:gdLst>
              <a:gd name="connsiteX0" fmla="*/ 148590 w 148590"/>
              <a:gd name="connsiteY0" fmla="*/ 74295 h 148589"/>
              <a:gd name="connsiteX1" fmla="*/ 74295 w 148590"/>
              <a:gd name="connsiteY1" fmla="*/ 148590 h 148589"/>
              <a:gd name="connsiteX2" fmla="*/ 0 w 148590"/>
              <a:gd name="connsiteY2" fmla="*/ 74295 h 148589"/>
              <a:gd name="connsiteX3" fmla="*/ 74295 w 148590"/>
              <a:gd name="connsiteY3" fmla="*/ 0 h 148589"/>
              <a:gd name="connsiteX4" fmla="*/ 148590 w 148590"/>
              <a:gd name="connsiteY4" fmla="*/ 74295 h 1485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8590" h="148589">
                <a:moveTo>
                  <a:pt x="148590" y="74295"/>
                </a:moveTo>
                <a:cubicBezTo>
                  <a:pt x="148590" y="115327"/>
                  <a:pt x="115327" y="148590"/>
                  <a:pt x="74295" y="148590"/>
                </a:cubicBezTo>
                <a:cubicBezTo>
                  <a:pt x="33263" y="148590"/>
                  <a:pt x="0" y="115327"/>
                  <a:pt x="0" y="74295"/>
                </a:cubicBezTo>
                <a:cubicBezTo>
                  <a:pt x="0" y="33263"/>
                  <a:pt x="33263" y="0"/>
                  <a:pt x="74295" y="0"/>
                </a:cubicBezTo>
                <a:cubicBezTo>
                  <a:pt x="115327" y="0"/>
                  <a:pt x="148590" y="33263"/>
                  <a:pt x="148590" y="74295"/>
                </a:cubicBezTo>
                <a:close/>
              </a:path>
            </a:pathLst>
          </a:custGeom>
          <a:solidFill>
            <a:schemeClr val="accent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6" name="Freeform: Shape 41">
            <a:extLst>
              <a:ext uri="{FF2B5EF4-FFF2-40B4-BE49-F238E27FC236}">
                <a16:creationId xmlns:a16="http://schemas.microsoft.com/office/drawing/2014/main" id="{ABB53ABD-4FD2-40AE-9AB4-FFF36CB6A95F}"/>
              </a:ext>
            </a:extLst>
          </p:cNvPr>
          <p:cNvSpPr/>
          <p:nvPr/>
        </p:nvSpPr>
        <p:spPr>
          <a:xfrm>
            <a:off x="6690086" y="3257123"/>
            <a:ext cx="153312" cy="153313"/>
          </a:xfrm>
          <a:custGeom>
            <a:avLst/>
            <a:gdLst>
              <a:gd name="connsiteX0" fmla="*/ 148590 w 148590"/>
              <a:gd name="connsiteY0" fmla="*/ 74295 h 148590"/>
              <a:gd name="connsiteX1" fmla="*/ 74295 w 148590"/>
              <a:gd name="connsiteY1" fmla="*/ 148590 h 148590"/>
              <a:gd name="connsiteX2" fmla="*/ 0 w 148590"/>
              <a:gd name="connsiteY2" fmla="*/ 74295 h 148590"/>
              <a:gd name="connsiteX3" fmla="*/ 74295 w 148590"/>
              <a:gd name="connsiteY3" fmla="*/ 0 h 148590"/>
              <a:gd name="connsiteX4" fmla="*/ 148590 w 148590"/>
              <a:gd name="connsiteY4" fmla="*/ 74295 h 1485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8590" h="148590">
                <a:moveTo>
                  <a:pt x="148590" y="74295"/>
                </a:moveTo>
                <a:cubicBezTo>
                  <a:pt x="148590" y="115327"/>
                  <a:pt x="115327" y="148590"/>
                  <a:pt x="74295" y="148590"/>
                </a:cubicBezTo>
                <a:cubicBezTo>
                  <a:pt x="33263" y="148590"/>
                  <a:pt x="0" y="115327"/>
                  <a:pt x="0" y="74295"/>
                </a:cubicBezTo>
                <a:cubicBezTo>
                  <a:pt x="0" y="33263"/>
                  <a:pt x="33263" y="0"/>
                  <a:pt x="74295" y="0"/>
                </a:cubicBezTo>
                <a:cubicBezTo>
                  <a:pt x="115327" y="0"/>
                  <a:pt x="148590" y="33263"/>
                  <a:pt x="148590" y="74295"/>
                </a:cubicBezTo>
                <a:close/>
              </a:path>
            </a:pathLst>
          </a:custGeom>
          <a:solidFill>
            <a:schemeClr val="accent5"/>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7" name="Freeform: Shape 42">
            <a:extLst>
              <a:ext uri="{FF2B5EF4-FFF2-40B4-BE49-F238E27FC236}">
                <a16:creationId xmlns:a16="http://schemas.microsoft.com/office/drawing/2014/main" id="{6D2EC314-01AC-4754-9B19-C78B25D243E1}"/>
              </a:ext>
            </a:extLst>
          </p:cNvPr>
          <p:cNvSpPr/>
          <p:nvPr/>
        </p:nvSpPr>
        <p:spPr>
          <a:xfrm>
            <a:off x="5527323" y="2857523"/>
            <a:ext cx="261417" cy="261417"/>
          </a:xfrm>
          <a:custGeom>
            <a:avLst/>
            <a:gdLst>
              <a:gd name="connsiteX0" fmla="*/ 253365 w 253365"/>
              <a:gd name="connsiteY0" fmla="*/ 126683 h 253365"/>
              <a:gd name="connsiteX1" fmla="*/ 126683 w 253365"/>
              <a:gd name="connsiteY1" fmla="*/ 253365 h 253365"/>
              <a:gd name="connsiteX2" fmla="*/ 0 w 253365"/>
              <a:gd name="connsiteY2" fmla="*/ 126683 h 253365"/>
              <a:gd name="connsiteX3" fmla="*/ 126683 w 253365"/>
              <a:gd name="connsiteY3" fmla="*/ 0 h 253365"/>
              <a:gd name="connsiteX4" fmla="*/ 253365 w 253365"/>
              <a:gd name="connsiteY4" fmla="*/ 126683 h 2533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3365" h="253365">
                <a:moveTo>
                  <a:pt x="253365" y="126683"/>
                </a:moveTo>
                <a:cubicBezTo>
                  <a:pt x="253365" y="196647"/>
                  <a:pt x="196647" y="253365"/>
                  <a:pt x="126683" y="253365"/>
                </a:cubicBezTo>
                <a:cubicBezTo>
                  <a:pt x="56718" y="253365"/>
                  <a:pt x="0" y="196647"/>
                  <a:pt x="0" y="126683"/>
                </a:cubicBezTo>
                <a:cubicBezTo>
                  <a:pt x="0" y="56718"/>
                  <a:pt x="56718" y="0"/>
                  <a:pt x="126683" y="0"/>
                </a:cubicBezTo>
                <a:cubicBezTo>
                  <a:pt x="196647" y="0"/>
                  <a:pt x="253365" y="56718"/>
                  <a:pt x="253365" y="126683"/>
                </a:cubicBezTo>
                <a:close/>
              </a:path>
            </a:pathLst>
          </a:custGeom>
          <a:solidFill>
            <a:schemeClr val="accent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8" name="Freeform: Shape 43">
            <a:extLst>
              <a:ext uri="{FF2B5EF4-FFF2-40B4-BE49-F238E27FC236}">
                <a16:creationId xmlns:a16="http://schemas.microsoft.com/office/drawing/2014/main" id="{81F425BA-9217-4FE9-B779-7CF284E58C2D}"/>
              </a:ext>
            </a:extLst>
          </p:cNvPr>
          <p:cNvSpPr/>
          <p:nvPr/>
        </p:nvSpPr>
        <p:spPr>
          <a:xfrm>
            <a:off x="3741790" y="5172687"/>
            <a:ext cx="1126906" cy="1000560"/>
          </a:xfrm>
          <a:custGeom>
            <a:avLst/>
            <a:gdLst>
              <a:gd name="connsiteX0" fmla="*/ 675084 w 947261"/>
              <a:gd name="connsiteY0" fmla="*/ 0 h 841057"/>
              <a:gd name="connsiteX1" fmla="*/ 272177 w 947261"/>
              <a:gd name="connsiteY1" fmla="*/ 0 h 841057"/>
              <a:gd name="connsiteX2" fmla="*/ 210264 w 947261"/>
              <a:gd name="connsiteY2" fmla="*/ 36195 h 841057"/>
              <a:gd name="connsiteX3" fmla="*/ 9287 w 947261"/>
              <a:gd name="connsiteY3" fmla="*/ 384810 h 841057"/>
              <a:gd name="connsiteX4" fmla="*/ 9287 w 947261"/>
              <a:gd name="connsiteY4" fmla="*/ 456247 h 841057"/>
              <a:gd name="connsiteX5" fmla="*/ 210264 w 947261"/>
              <a:gd name="connsiteY5" fmla="*/ 804863 h 841057"/>
              <a:gd name="connsiteX6" fmla="*/ 272177 w 947261"/>
              <a:gd name="connsiteY6" fmla="*/ 841057 h 841057"/>
              <a:gd name="connsiteX7" fmla="*/ 675084 w 947261"/>
              <a:gd name="connsiteY7" fmla="*/ 841057 h 841057"/>
              <a:gd name="connsiteX8" fmla="*/ 736997 w 947261"/>
              <a:gd name="connsiteY8" fmla="*/ 804863 h 841057"/>
              <a:gd name="connsiteX9" fmla="*/ 937974 w 947261"/>
              <a:gd name="connsiteY9" fmla="*/ 456247 h 841057"/>
              <a:gd name="connsiteX10" fmla="*/ 937974 w 947261"/>
              <a:gd name="connsiteY10" fmla="*/ 384810 h 841057"/>
              <a:gd name="connsiteX11" fmla="*/ 736997 w 947261"/>
              <a:gd name="connsiteY11" fmla="*/ 36195 h 841057"/>
              <a:gd name="connsiteX12" fmla="*/ 675084 w 947261"/>
              <a:gd name="connsiteY12" fmla="*/ 0 h 841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47261" h="841057">
                <a:moveTo>
                  <a:pt x="675084" y="0"/>
                </a:moveTo>
                <a:lnTo>
                  <a:pt x="272177" y="0"/>
                </a:lnTo>
                <a:cubicBezTo>
                  <a:pt x="246459" y="0"/>
                  <a:pt x="222647" y="13335"/>
                  <a:pt x="210264" y="36195"/>
                </a:cubicBezTo>
                <a:lnTo>
                  <a:pt x="9287" y="384810"/>
                </a:lnTo>
                <a:cubicBezTo>
                  <a:pt x="-3096" y="406718"/>
                  <a:pt x="-3096" y="434340"/>
                  <a:pt x="9287" y="456247"/>
                </a:cubicBezTo>
                <a:lnTo>
                  <a:pt x="210264" y="804863"/>
                </a:lnTo>
                <a:cubicBezTo>
                  <a:pt x="222647" y="826770"/>
                  <a:pt x="246459" y="841057"/>
                  <a:pt x="272177" y="841057"/>
                </a:cubicBezTo>
                <a:lnTo>
                  <a:pt x="675084" y="841057"/>
                </a:lnTo>
                <a:cubicBezTo>
                  <a:pt x="700802" y="841057"/>
                  <a:pt x="724614" y="827722"/>
                  <a:pt x="736997" y="804863"/>
                </a:cubicBezTo>
                <a:lnTo>
                  <a:pt x="937974" y="456247"/>
                </a:lnTo>
                <a:cubicBezTo>
                  <a:pt x="950357" y="434340"/>
                  <a:pt x="950357" y="406718"/>
                  <a:pt x="937974" y="384810"/>
                </a:cubicBezTo>
                <a:lnTo>
                  <a:pt x="736997" y="36195"/>
                </a:lnTo>
                <a:cubicBezTo>
                  <a:pt x="724614" y="13335"/>
                  <a:pt x="700802" y="0"/>
                  <a:pt x="675084" y="0"/>
                </a:cubicBezTo>
                <a:close/>
              </a:path>
            </a:pathLst>
          </a:custGeom>
          <a:solidFill>
            <a:schemeClr val="accent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9" name="Freeform: Shape 44">
            <a:extLst>
              <a:ext uri="{FF2B5EF4-FFF2-40B4-BE49-F238E27FC236}">
                <a16:creationId xmlns:a16="http://schemas.microsoft.com/office/drawing/2014/main" id="{45CF6804-62F7-4AD0-99BD-BF62B6E5E27B}"/>
              </a:ext>
            </a:extLst>
          </p:cNvPr>
          <p:cNvSpPr/>
          <p:nvPr/>
        </p:nvSpPr>
        <p:spPr>
          <a:xfrm>
            <a:off x="5190796" y="4197796"/>
            <a:ext cx="206382" cy="206382"/>
          </a:xfrm>
          <a:custGeom>
            <a:avLst/>
            <a:gdLst>
              <a:gd name="connsiteX0" fmla="*/ 200025 w 200025"/>
              <a:gd name="connsiteY0" fmla="*/ 100013 h 200025"/>
              <a:gd name="connsiteX1" fmla="*/ 100012 w 200025"/>
              <a:gd name="connsiteY1" fmla="*/ 200025 h 200025"/>
              <a:gd name="connsiteX2" fmla="*/ 0 w 200025"/>
              <a:gd name="connsiteY2" fmla="*/ 100013 h 200025"/>
              <a:gd name="connsiteX3" fmla="*/ 100012 w 200025"/>
              <a:gd name="connsiteY3" fmla="*/ 0 h 200025"/>
              <a:gd name="connsiteX4" fmla="*/ 200025 w 200025"/>
              <a:gd name="connsiteY4" fmla="*/ 100013 h 2000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0025" h="200025">
                <a:moveTo>
                  <a:pt x="200025" y="100013"/>
                </a:moveTo>
                <a:cubicBezTo>
                  <a:pt x="200025" y="155248"/>
                  <a:pt x="155248" y="200025"/>
                  <a:pt x="100012" y="200025"/>
                </a:cubicBezTo>
                <a:cubicBezTo>
                  <a:pt x="44777" y="200025"/>
                  <a:pt x="0" y="155248"/>
                  <a:pt x="0" y="100013"/>
                </a:cubicBezTo>
                <a:cubicBezTo>
                  <a:pt x="0" y="44777"/>
                  <a:pt x="44777" y="0"/>
                  <a:pt x="100012" y="0"/>
                </a:cubicBezTo>
                <a:cubicBezTo>
                  <a:pt x="155248" y="0"/>
                  <a:pt x="200025" y="44777"/>
                  <a:pt x="200025" y="100013"/>
                </a:cubicBezTo>
                <a:close/>
              </a:path>
            </a:pathLst>
          </a:custGeom>
          <a:solidFill>
            <a:schemeClr val="accent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nvGrpSpPr>
          <p:cNvPr id="40" name="Group 47">
            <a:extLst>
              <a:ext uri="{FF2B5EF4-FFF2-40B4-BE49-F238E27FC236}">
                <a16:creationId xmlns:a16="http://schemas.microsoft.com/office/drawing/2014/main" id="{42B875C0-387E-482B-98B7-291CC980EA53}"/>
              </a:ext>
            </a:extLst>
          </p:cNvPr>
          <p:cNvGrpSpPr/>
          <p:nvPr/>
        </p:nvGrpSpPr>
        <p:grpSpPr>
          <a:xfrm>
            <a:off x="2808917" y="3397056"/>
            <a:ext cx="909420" cy="375356"/>
            <a:chOff x="3375983" y="2100505"/>
            <a:chExt cx="909420" cy="375356"/>
          </a:xfrm>
        </p:grpSpPr>
        <p:cxnSp>
          <p:nvCxnSpPr>
            <p:cNvPr id="41" name="Straight Connector 48">
              <a:extLst>
                <a:ext uri="{FF2B5EF4-FFF2-40B4-BE49-F238E27FC236}">
                  <a16:creationId xmlns:a16="http://schemas.microsoft.com/office/drawing/2014/main" id="{89143FCB-AF7A-44F2-B687-FCFEDA7E6170}"/>
                </a:ext>
              </a:extLst>
            </p:cNvPr>
            <p:cNvCxnSpPr>
              <a:cxnSpLocks/>
            </p:cNvCxnSpPr>
            <p:nvPr/>
          </p:nvCxnSpPr>
          <p:spPr>
            <a:xfrm flipH="1" flipV="1">
              <a:off x="3910047" y="2100505"/>
              <a:ext cx="375356" cy="375356"/>
            </a:xfrm>
            <a:prstGeom prst="line">
              <a:avLst/>
            </a:prstGeom>
            <a:ln w="28575">
              <a:solidFill>
                <a:schemeClr val="accent2"/>
              </a:solidFill>
              <a:headEnd type="oval"/>
            </a:ln>
          </p:spPr>
          <p:style>
            <a:lnRef idx="1">
              <a:schemeClr val="accent1"/>
            </a:lnRef>
            <a:fillRef idx="0">
              <a:schemeClr val="accent1"/>
            </a:fillRef>
            <a:effectRef idx="0">
              <a:schemeClr val="accent1"/>
            </a:effectRef>
            <a:fontRef idx="minor">
              <a:schemeClr val="tx1"/>
            </a:fontRef>
          </p:style>
        </p:cxnSp>
        <p:cxnSp>
          <p:nvCxnSpPr>
            <p:cNvPr id="42" name="Straight Connector 49">
              <a:extLst>
                <a:ext uri="{FF2B5EF4-FFF2-40B4-BE49-F238E27FC236}">
                  <a16:creationId xmlns:a16="http://schemas.microsoft.com/office/drawing/2014/main" id="{371012AF-DE02-41CF-A6FB-C63644CA46C6}"/>
                </a:ext>
              </a:extLst>
            </p:cNvPr>
            <p:cNvCxnSpPr>
              <a:cxnSpLocks/>
            </p:cNvCxnSpPr>
            <p:nvPr/>
          </p:nvCxnSpPr>
          <p:spPr>
            <a:xfrm flipH="1">
              <a:off x="3375983" y="2105266"/>
              <a:ext cx="542130" cy="0"/>
            </a:xfrm>
            <a:prstGeom prst="line">
              <a:avLst/>
            </a:prstGeom>
            <a:ln w="28575">
              <a:solidFill>
                <a:schemeClr val="accent2"/>
              </a:solidFill>
              <a:tailEnd type="oval"/>
            </a:ln>
          </p:spPr>
          <p:style>
            <a:lnRef idx="1">
              <a:schemeClr val="accent1"/>
            </a:lnRef>
            <a:fillRef idx="0">
              <a:schemeClr val="accent1"/>
            </a:fillRef>
            <a:effectRef idx="0">
              <a:schemeClr val="accent1"/>
            </a:effectRef>
            <a:fontRef idx="minor">
              <a:schemeClr val="tx1"/>
            </a:fontRef>
          </p:style>
        </p:cxnSp>
      </p:grpSp>
      <p:sp>
        <p:nvSpPr>
          <p:cNvPr id="43" name="TextBox 50">
            <a:extLst>
              <a:ext uri="{FF2B5EF4-FFF2-40B4-BE49-F238E27FC236}">
                <a16:creationId xmlns:a16="http://schemas.microsoft.com/office/drawing/2014/main" id="{F3A56077-5283-44D8-9C11-A041A73D1B4A}"/>
              </a:ext>
            </a:extLst>
          </p:cNvPr>
          <p:cNvSpPr txBox="1"/>
          <p:nvPr/>
        </p:nvSpPr>
        <p:spPr>
          <a:xfrm>
            <a:off x="1398110" y="3121483"/>
            <a:ext cx="1313180" cy="338554"/>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ID" sz="1600" b="1" i="0" u="none" strike="noStrike" kern="1200" cap="none" spc="0" normalizeH="0" baseline="0" noProof="0">
                <a:ln>
                  <a:noFill/>
                </a:ln>
                <a:solidFill>
                  <a:srgbClr val="000000"/>
                </a:solidFill>
                <a:effectLst/>
                <a:uLnTx/>
                <a:uFillTx/>
                <a:latin typeface="等线 Light" panose="020F0302020204030204"/>
                <a:ea typeface="+mn-ea"/>
                <a:cs typeface="+mn-cs"/>
              </a:rPr>
              <a:t>Description</a:t>
            </a:r>
            <a:endParaRPr kumimoji="0" lang="id-ID" sz="1600" b="1" i="0" u="none" strike="noStrike" kern="1200" cap="none" spc="0" normalizeH="0" baseline="0" noProof="0" dirty="0">
              <a:ln>
                <a:noFill/>
              </a:ln>
              <a:solidFill>
                <a:srgbClr val="000000"/>
              </a:solidFill>
              <a:effectLst/>
              <a:uLnTx/>
              <a:uFillTx/>
              <a:latin typeface="等线 Light" panose="020F0302020204030204"/>
              <a:ea typeface="+mn-ea"/>
              <a:cs typeface="+mn-cs"/>
            </a:endParaRPr>
          </a:p>
        </p:txBody>
      </p:sp>
      <p:sp>
        <p:nvSpPr>
          <p:cNvPr id="44" name="TextBox 51">
            <a:extLst>
              <a:ext uri="{FF2B5EF4-FFF2-40B4-BE49-F238E27FC236}">
                <a16:creationId xmlns:a16="http://schemas.microsoft.com/office/drawing/2014/main" id="{073F007F-45C6-4BF7-9715-4BA8004F95EF}"/>
              </a:ext>
            </a:extLst>
          </p:cNvPr>
          <p:cNvSpPr txBox="1"/>
          <p:nvPr/>
        </p:nvSpPr>
        <p:spPr>
          <a:xfrm>
            <a:off x="662220" y="3403272"/>
            <a:ext cx="2049070" cy="616836"/>
          </a:xfrm>
          <a:prstGeom prst="rect">
            <a:avLst/>
          </a:prstGeom>
          <a:noFill/>
        </p:spPr>
        <p:txBody>
          <a:bodyPr wrap="square" rtlCol="0">
            <a:spAutoFit/>
          </a:bodyPr>
          <a:lstStyle/>
          <a:p>
            <a:pPr marL="0" marR="0" lvl="0" indent="0" algn="r" defTabSz="914400" rtl="0" eaLnBrk="1" fontAlgn="auto" latinLnBrk="0" hangingPunct="1">
              <a:lnSpc>
                <a:spcPct val="15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等线" panose="020F0502020204030204"/>
                <a:ea typeface="+mn-ea"/>
                <a:cs typeface="+mn-cs"/>
              </a:rPr>
              <a:t>sweet mornings of spring which I enjoy with my whole</a:t>
            </a:r>
            <a:endParaRPr kumimoji="0" lang="en-US" sz="1200" b="1"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grpSp>
        <p:nvGrpSpPr>
          <p:cNvPr id="45" name="Group 57">
            <a:extLst>
              <a:ext uri="{FF2B5EF4-FFF2-40B4-BE49-F238E27FC236}">
                <a16:creationId xmlns:a16="http://schemas.microsoft.com/office/drawing/2014/main" id="{8FDBFE89-76BD-452A-98A5-27D576233DE4}"/>
              </a:ext>
            </a:extLst>
          </p:cNvPr>
          <p:cNvGrpSpPr/>
          <p:nvPr/>
        </p:nvGrpSpPr>
        <p:grpSpPr>
          <a:xfrm>
            <a:off x="3018163" y="5138211"/>
            <a:ext cx="909420" cy="375356"/>
            <a:chOff x="3375983" y="2100505"/>
            <a:chExt cx="909420" cy="375356"/>
          </a:xfrm>
        </p:grpSpPr>
        <p:cxnSp>
          <p:nvCxnSpPr>
            <p:cNvPr id="46" name="Straight Connector 58">
              <a:extLst>
                <a:ext uri="{FF2B5EF4-FFF2-40B4-BE49-F238E27FC236}">
                  <a16:creationId xmlns:a16="http://schemas.microsoft.com/office/drawing/2014/main" id="{8988C2C2-B96F-41B9-9E23-53C08BAC21A4}"/>
                </a:ext>
              </a:extLst>
            </p:cNvPr>
            <p:cNvCxnSpPr>
              <a:cxnSpLocks/>
            </p:cNvCxnSpPr>
            <p:nvPr/>
          </p:nvCxnSpPr>
          <p:spPr>
            <a:xfrm flipH="1" flipV="1">
              <a:off x="3910047" y="2100505"/>
              <a:ext cx="375356" cy="375356"/>
            </a:xfrm>
            <a:prstGeom prst="line">
              <a:avLst/>
            </a:prstGeom>
            <a:ln w="28575">
              <a:solidFill>
                <a:schemeClr val="accent1"/>
              </a:solidFill>
              <a:headEnd type="oval"/>
            </a:ln>
          </p:spPr>
          <p:style>
            <a:lnRef idx="1">
              <a:schemeClr val="accent1"/>
            </a:lnRef>
            <a:fillRef idx="0">
              <a:schemeClr val="accent1"/>
            </a:fillRef>
            <a:effectRef idx="0">
              <a:schemeClr val="accent1"/>
            </a:effectRef>
            <a:fontRef idx="minor">
              <a:schemeClr val="tx1"/>
            </a:fontRef>
          </p:style>
        </p:cxnSp>
        <p:cxnSp>
          <p:nvCxnSpPr>
            <p:cNvPr id="47" name="Straight Connector 59">
              <a:extLst>
                <a:ext uri="{FF2B5EF4-FFF2-40B4-BE49-F238E27FC236}">
                  <a16:creationId xmlns:a16="http://schemas.microsoft.com/office/drawing/2014/main" id="{9EF12697-D32E-4D3F-B24C-E7FB6E698998}"/>
                </a:ext>
              </a:extLst>
            </p:cNvPr>
            <p:cNvCxnSpPr>
              <a:cxnSpLocks/>
            </p:cNvCxnSpPr>
            <p:nvPr/>
          </p:nvCxnSpPr>
          <p:spPr>
            <a:xfrm flipH="1">
              <a:off x="3375983" y="2105266"/>
              <a:ext cx="542130" cy="0"/>
            </a:xfrm>
            <a:prstGeom prst="line">
              <a:avLst/>
            </a:prstGeom>
            <a:ln w="28575">
              <a:solidFill>
                <a:schemeClr val="accent1"/>
              </a:solidFill>
              <a:tailEnd type="oval"/>
            </a:ln>
          </p:spPr>
          <p:style>
            <a:lnRef idx="1">
              <a:schemeClr val="accent1"/>
            </a:lnRef>
            <a:fillRef idx="0">
              <a:schemeClr val="accent1"/>
            </a:fillRef>
            <a:effectRef idx="0">
              <a:schemeClr val="accent1"/>
            </a:effectRef>
            <a:fontRef idx="minor">
              <a:schemeClr val="tx1"/>
            </a:fontRef>
          </p:style>
        </p:cxnSp>
      </p:grpSp>
      <p:sp>
        <p:nvSpPr>
          <p:cNvPr id="48" name="TextBox 60">
            <a:extLst>
              <a:ext uri="{FF2B5EF4-FFF2-40B4-BE49-F238E27FC236}">
                <a16:creationId xmlns:a16="http://schemas.microsoft.com/office/drawing/2014/main" id="{36F9B700-84DF-4B07-8861-44DE7F925AF2}"/>
              </a:ext>
            </a:extLst>
          </p:cNvPr>
          <p:cNvSpPr txBox="1"/>
          <p:nvPr/>
        </p:nvSpPr>
        <p:spPr>
          <a:xfrm>
            <a:off x="1607356" y="4862638"/>
            <a:ext cx="1313180" cy="338554"/>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ID" sz="1600" b="1" i="0" u="none" strike="noStrike" kern="1200" cap="none" spc="0" normalizeH="0" baseline="0" noProof="0">
                <a:ln>
                  <a:noFill/>
                </a:ln>
                <a:solidFill>
                  <a:srgbClr val="000000"/>
                </a:solidFill>
                <a:effectLst/>
                <a:uLnTx/>
                <a:uFillTx/>
                <a:latin typeface="等线 Light" panose="020F0302020204030204"/>
                <a:ea typeface="+mn-ea"/>
                <a:cs typeface="+mn-cs"/>
              </a:rPr>
              <a:t>Description</a:t>
            </a:r>
            <a:endParaRPr kumimoji="0" lang="id-ID" sz="1600" b="1" i="0" u="none" strike="noStrike" kern="1200" cap="none" spc="0" normalizeH="0" baseline="0" noProof="0" dirty="0">
              <a:ln>
                <a:noFill/>
              </a:ln>
              <a:solidFill>
                <a:srgbClr val="000000"/>
              </a:solidFill>
              <a:effectLst/>
              <a:uLnTx/>
              <a:uFillTx/>
              <a:latin typeface="等线 Light" panose="020F0302020204030204"/>
              <a:ea typeface="+mn-ea"/>
              <a:cs typeface="+mn-cs"/>
            </a:endParaRPr>
          </a:p>
        </p:txBody>
      </p:sp>
      <p:sp>
        <p:nvSpPr>
          <p:cNvPr id="49" name="TextBox 61">
            <a:extLst>
              <a:ext uri="{FF2B5EF4-FFF2-40B4-BE49-F238E27FC236}">
                <a16:creationId xmlns:a16="http://schemas.microsoft.com/office/drawing/2014/main" id="{3C289542-F9FE-4CA8-BBAC-FC0129887A75}"/>
              </a:ext>
            </a:extLst>
          </p:cNvPr>
          <p:cNvSpPr txBox="1"/>
          <p:nvPr/>
        </p:nvSpPr>
        <p:spPr>
          <a:xfrm>
            <a:off x="871466" y="5144427"/>
            <a:ext cx="2049070" cy="616836"/>
          </a:xfrm>
          <a:prstGeom prst="rect">
            <a:avLst/>
          </a:prstGeom>
          <a:noFill/>
        </p:spPr>
        <p:txBody>
          <a:bodyPr wrap="square" rtlCol="0">
            <a:spAutoFit/>
          </a:bodyPr>
          <a:lstStyle/>
          <a:p>
            <a:pPr marL="0" marR="0" lvl="0" indent="0" algn="r" defTabSz="914400" rtl="0" eaLnBrk="1" fontAlgn="auto" latinLnBrk="0" hangingPunct="1">
              <a:lnSpc>
                <a:spcPct val="15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等线" panose="020F0502020204030204"/>
                <a:ea typeface="+mn-ea"/>
                <a:cs typeface="+mn-cs"/>
              </a:rPr>
              <a:t>sweet mornings of spring which I enjoy with my whole</a:t>
            </a:r>
            <a:endParaRPr kumimoji="0" lang="en-US" sz="1200" b="1"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grpSp>
        <p:nvGrpSpPr>
          <p:cNvPr id="50" name="Group 62">
            <a:extLst>
              <a:ext uri="{FF2B5EF4-FFF2-40B4-BE49-F238E27FC236}">
                <a16:creationId xmlns:a16="http://schemas.microsoft.com/office/drawing/2014/main" id="{3D351DE8-FD08-492D-AF86-FEF67EA688BF}"/>
              </a:ext>
            </a:extLst>
          </p:cNvPr>
          <p:cNvGrpSpPr/>
          <p:nvPr/>
        </p:nvGrpSpPr>
        <p:grpSpPr>
          <a:xfrm>
            <a:off x="3645522" y="1931565"/>
            <a:ext cx="1333057" cy="375356"/>
            <a:chOff x="2952346" y="2100505"/>
            <a:chExt cx="1333057" cy="375356"/>
          </a:xfrm>
        </p:grpSpPr>
        <p:cxnSp>
          <p:nvCxnSpPr>
            <p:cNvPr id="51" name="Straight Connector 63">
              <a:extLst>
                <a:ext uri="{FF2B5EF4-FFF2-40B4-BE49-F238E27FC236}">
                  <a16:creationId xmlns:a16="http://schemas.microsoft.com/office/drawing/2014/main" id="{3F2EEC33-2568-46B6-8DAF-096F1B56EC0B}"/>
                </a:ext>
              </a:extLst>
            </p:cNvPr>
            <p:cNvCxnSpPr>
              <a:cxnSpLocks/>
            </p:cNvCxnSpPr>
            <p:nvPr/>
          </p:nvCxnSpPr>
          <p:spPr>
            <a:xfrm flipH="1" flipV="1">
              <a:off x="3910047" y="2100505"/>
              <a:ext cx="375356" cy="375356"/>
            </a:xfrm>
            <a:prstGeom prst="line">
              <a:avLst/>
            </a:prstGeom>
            <a:ln w="28575">
              <a:solidFill>
                <a:schemeClr val="accent3"/>
              </a:solidFill>
              <a:headEnd type="oval"/>
            </a:ln>
          </p:spPr>
          <p:style>
            <a:lnRef idx="1">
              <a:schemeClr val="accent1"/>
            </a:lnRef>
            <a:fillRef idx="0">
              <a:schemeClr val="accent1"/>
            </a:fillRef>
            <a:effectRef idx="0">
              <a:schemeClr val="accent1"/>
            </a:effectRef>
            <a:fontRef idx="minor">
              <a:schemeClr val="tx1"/>
            </a:fontRef>
          </p:style>
        </p:cxnSp>
        <p:cxnSp>
          <p:nvCxnSpPr>
            <p:cNvPr id="52" name="Straight Connector 64">
              <a:extLst>
                <a:ext uri="{FF2B5EF4-FFF2-40B4-BE49-F238E27FC236}">
                  <a16:creationId xmlns:a16="http://schemas.microsoft.com/office/drawing/2014/main" id="{E7E73D3D-9A6F-40E6-A8C8-A17B21EAAF7D}"/>
                </a:ext>
              </a:extLst>
            </p:cNvPr>
            <p:cNvCxnSpPr>
              <a:cxnSpLocks/>
            </p:cNvCxnSpPr>
            <p:nvPr/>
          </p:nvCxnSpPr>
          <p:spPr>
            <a:xfrm flipH="1">
              <a:off x="2952346" y="2105266"/>
              <a:ext cx="965767" cy="0"/>
            </a:xfrm>
            <a:prstGeom prst="line">
              <a:avLst/>
            </a:prstGeom>
            <a:ln w="28575">
              <a:solidFill>
                <a:schemeClr val="accent3"/>
              </a:solidFill>
              <a:tailEnd type="oval"/>
            </a:ln>
          </p:spPr>
          <p:style>
            <a:lnRef idx="1">
              <a:schemeClr val="accent1"/>
            </a:lnRef>
            <a:fillRef idx="0">
              <a:schemeClr val="accent1"/>
            </a:fillRef>
            <a:effectRef idx="0">
              <a:schemeClr val="accent1"/>
            </a:effectRef>
            <a:fontRef idx="minor">
              <a:schemeClr val="tx1"/>
            </a:fontRef>
          </p:style>
        </p:cxnSp>
      </p:grpSp>
      <p:sp>
        <p:nvSpPr>
          <p:cNvPr id="53" name="TextBox 65">
            <a:extLst>
              <a:ext uri="{FF2B5EF4-FFF2-40B4-BE49-F238E27FC236}">
                <a16:creationId xmlns:a16="http://schemas.microsoft.com/office/drawing/2014/main" id="{4E7728D9-EF99-43AF-9C9C-3A344183D354}"/>
              </a:ext>
            </a:extLst>
          </p:cNvPr>
          <p:cNvSpPr txBox="1"/>
          <p:nvPr/>
        </p:nvSpPr>
        <p:spPr>
          <a:xfrm>
            <a:off x="2330110" y="1655992"/>
            <a:ext cx="1313180" cy="338554"/>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ID" sz="1600" b="1" i="0" u="none" strike="noStrike" kern="1200" cap="none" spc="0" normalizeH="0" baseline="0" noProof="0">
                <a:ln>
                  <a:noFill/>
                </a:ln>
                <a:solidFill>
                  <a:srgbClr val="000000"/>
                </a:solidFill>
                <a:effectLst/>
                <a:uLnTx/>
                <a:uFillTx/>
                <a:latin typeface="等线 Light" panose="020F0302020204030204"/>
                <a:ea typeface="+mn-ea"/>
                <a:cs typeface="+mn-cs"/>
              </a:rPr>
              <a:t>Description</a:t>
            </a:r>
            <a:endParaRPr kumimoji="0" lang="id-ID" sz="1600" b="1" i="0" u="none" strike="noStrike" kern="1200" cap="none" spc="0" normalizeH="0" baseline="0" noProof="0" dirty="0">
              <a:ln>
                <a:noFill/>
              </a:ln>
              <a:solidFill>
                <a:srgbClr val="000000"/>
              </a:solidFill>
              <a:effectLst/>
              <a:uLnTx/>
              <a:uFillTx/>
              <a:latin typeface="等线 Light" panose="020F0302020204030204"/>
              <a:ea typeface="+mn-ea"/>
              <a:cs typeface="+mn-cs"/>
            </a:endParaRPr>
          </a:p>
        </p:txBody>
      </p:sp>
      <p:sp>
        <p:nvSpPr>
          <p:cNvPr id="54" name="TextBox 66">
            <a:extLst>
              <a:ext uri="{FF2B5EF4-FFF2-40B4-BE49-F238E27FC236}">
                <a16:creationId xmlns:a16="http://schemas.microsoft.com/office/drawing/2014/main" id="{9F19FEA4-DFEE-4E91-B053-ADA3B50D97EE}"/>
              </a:ext>
            </a:extLst>
          </p:cNvPr>
          <p:cNvSpPr txBox="1"/>
          <p:nvPr/>
        </p:nvSpPr>
        <p:spPr>
          <a:xfrm>
            <a:off x="1594220" y="1937781"/>
            <a:ext cx="2049070" cy="616836"/>
          </a:xfrm>
          <a:prstGeom prst="rect">
            <a:avLst/>
          </a:prstGeom>
          <a:noFill/>
        </p:spPr>
        <p:txBody>
          <a:bodyPr wrap="square" rtlCol="0">
            <a:spAutoFit/>
          </a:bodyPr>
          <a:lstStyle/>
          <a:p>
            <a:pPr marL="0" marR="0" lvl="0" indent="0" algn="r" defTabSz="914400" rtl="0" eaLnBrk="1" fontAlgn="auto" latinLnBrk="0" hangingPunct="1">
              <a:lnSpc>
                <a:spcPct val="15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等线" panose="020F0502020204030204"/>
                <a:ea typeface="+mn-ea"/>
                <a:cs typeface="+mn-cs"/>
              </a:rPr>
              <a:t>sweet mornings of spring which I enjoy with my whole</a:t>
            </a:r>
            <a:endParaRPr kumimoji="0" lang="en-US" sz="1200" b="1"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grpSp>
        <p:nvGrpSpPr>
          <p:cNvPr id="55" name="Group 67">
            <a:extLst>
              <a:ext uri="{FF2B5EF4-FFF2-40B4-BE49-F238E27FC236}">
                <a16:creationId xmlns:a16="http://schemas.microsoft.com/office/drawing/2014/main" id="{140B6903-5DA7-4D2B-B221-85193EB5197E}"/>
              </a:ext>
            </a:extLst>
          </p:cNvPr>
          <p:cNvGrpSpPr/>
          <p:nvPr/>
        </p:nvGrpSpPr>
        <p:grpSpPr>
          <a:xfrm flipH="1">
            <a:off x="6552151" y="1929099"/>
            <a:ext cx="1841326" cy="327462"/>
            <a:chOff x="2396183" y="2100505"/>
            <a:chExt cx="1841326" cy="327462"/>
          </a:xfrm>
        </p:grpSpPr>
        <p:cxnSp>
          <p:nvCxnSpPr>
            <p:cNvPr id="56" name="Straight Connector 68">
              <a:extLst>
                <a:ext uri="{FF2B5EF4-FFF2-40B4-BE49-F238E27FC236}">
                  <a16:creationId xmlns:a16="http://schemas.microsoft.com/office/drawing/2014/main" id="{3B47BEE9-941F-45EA-BDDB-F88BB18A27BC}"/>
                </a:ext>
              </a:extLst>
            </p:cNvPr>
            <p:cNvCxnSpPr>
              <a:cxnSpLocks/>
            </p:cNvCxnSpPr>
            <p:nvPr/>
          </p:nvCxnSpPr>
          <p:spPr>
            <a:xfrm flipH="1" flipV="1">
              <a:off x="3910047" y="2100505"/>
              <a:ext cx="327462" cy="327462"/>
            </a:xfrm>
            <a:prstGeom prst="line">
              <a:avLst/>
            </a:prstGeom>
            <a:ln w="28575">
              <a:solidFill>
                <a:schemeClr val="accent4"/>
              </a:solidFill>
              <a:headEnd type="oval"/>
            </a:ln>
          </p:spPr>
          <p:style>
            <a:lnRef idx="1">
              <a:schemeClr val="accent1"/>
            </a:lnRef>
            <a:fillRef idx="0">
              <a:schemeClr val="accent1"/>
            </a:fillRef>
            <a:effectRef idx="0">
              <a:schemeClr val="accent1"/>
            </a:effectRef>
            <a:fontRef idx="minor">
              <a:schemeClr val="tx1"/>
            </a:fontRef>
          </p:style>
        </p:cxnSp>
        <p:cxnSp>
          <p:nvCxnSpPr>
            <p:cNvPr id="57" name="Straight Connector 69">
              <a:extLst>
                <a:ext uri="{FF2B5EF4-FFF2-40B4-BE49-F238E27FC236}">
                  <a16:creationId xmlns:a16="http://schemas.microsoft.com/office/drawing/2014/main" id="{5CC636C2-F71E-4FC8-8CAB-A16552294856}"/>
                </a:ext>
              </a:extLst>
            </p:cNvPr>
            <p:cNvCxnSpPr>
              <a:cxnSpLocks/>
            </p:cNvCxnSpPr>
            <p:nvPr/>
          </p:nvCxnSpPr>
          <p:spPr>
            <a:xfrm flipH="1">
              <a:off x="2396183" y="2105266"/>
              <a:ext cx="1521928" cy="0"/>
            </a:xfrm>
            <a:prstGeom prst="line">
              <a:avLst/>
            </a:prstGeom>
            <a:ln w="28575">
              <a:solidFill>
                <a:schemeClr val="accent4"/>
              </a:solidFill>
              <a:tailEnd type="oval"/>
            </a:ln>
          </p:spPr>
          <p:style>
            <a:lnRef idx="1">
              <a:schemeClr val="accent1"/>
            </a:lnRef>
            <a:fillRef idx="0">
              <a:schemeClr val="accent1"/>
            </a:fillRef>
            <a:effectRef idx="0">
              <a:schemeClr val="accent1"/>
            </a:effectRef>
            <a:fontRef idx="minor">
              <a:schemeClr val="tx1"/>
            </a:fontRef>
          </p:style>
        </p:cxnSp>
      </p:grpSp>
      <p:sp>
        <p:nvSpPr>
          <p:cNvPr id="58" name="TextBox 70">
            <a:extLst>
              <a:ext uri="{FF2B5EF4-FFF2-40B4-BE49-F238E27FC236}">
                <a16:creationId xmlns:a16="http://schemas.microsoft.com/office/drawing/2014/main" id="{2FCC6DB0-4420-4A28-A77D-46A235E9DF15}"/>
              </a:ext>
            </a:extLst>
          </p:cNvPr>
          <p:cNvSpPr txBox="1"/>
          <p:nvPr/>
        </p:nvSpPr>
        <p:spPr>
          <a:xfrm>
            <a:off x="8393477" y="1590545"/>
            <a:ext cx="1279517"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D" sz="1600" b="1" i="0" u="none" strike="noStrike" kern="1200" cap="none" spc="0" normalizeH="0" baseline="0" noProof="0">
                <a:ln>
                  <a:noFill/>
                </a:ln>
                <a:solidFill>
                  <a:srgbClr val="000000"/>
                </a:solidFill>
                <a:effectLst/>
                <a:uLnTx/>
                <a:uFillTx/>
                <a:latin typeface="等线 Light" panose="020F0302020204030204"/>
                <a:ea typeface="+mn-ea"/>
                <a:cs typeface="+mn-cs"/>
              </a:rPr>
              <a:t>Description</a:t>
            </a:r>
            <a:endParaRPr kumimoji="0" lang="id-ID" sz="1600" b="1" i="0" u="none" strike="noStrike" kern="1200" cap="none" spc="0" normalizeH="0" baseline="0" noProof="0" dirty="0">
              <a:ln>
                <a:noFill/>
              </a:ln>
              <a:solidFill>
                <a:srgbClr val="000000"/>
              </a:solidFill>
              <a:effectLst/>
              <a:uLnTx/>
              <a:uFillTx/>
              <a:latin typeface="等线 Light" panose="020F0302020204030204"/>
              <a:ea typeface="+mn-ea"/>
              <a:cs typeface="+mn-cs"/>
            </a:endParaRPr>
          </a:p>
        </p:txBody>
      </p:sp>
      <p:sp>
        <p:nvSpPr>
          <p:cNvPr id="59" name="TextBox 71">
            <a:extLst>
              <a:ext uri="{FF2B5EF4-FFF2-40B4-BE49-F238E27FC236}">
                <a16:creationId xmlns:a16="http://schemas.microsoft.com/office/drawing/2014/main" id="{9720C2D2-248E-4B98-8ADE-16F1A5F8BBE6}"/>
              </a:ext>
            </a:extLst>
          </p:cNvPr>
          <p:cNvSpPr txBox="1"/>
          <p:nvPr/>
        </p:nvSpPr>
        <p:spPr>
          <a:xfrm>
            <a:off x="8393479" y="1872334"/>
            <a:ext cx="2049070" cy="616836"/>
          </a:xfrm>
          <a:prstGeom prst="rect">
            <a:avLst/>
          </a:prstGeom>
          <a:noFill/>
        </p:spPr>
        <p:txBody>
          <a:bodyPr wrap="square" rtlCol="0">
            <a:spAutoFit/>
          </a:bodyPr>
          <a:lstStyle/>
          <a:p>
            <a:pPr marL="0" marR="0" lvl="0" indent="0" algn="just" defTabSz="914400" rtl="0" eaLnBrk="1" fontAlgn="auto" latinLnBrk="0" hangingPunct="1">
              <a:lnSpc>
                <a:spcPct val="15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等线" panose="020F0502020204030204"/>
                <a:ea typeface="+mn-ea"/>
                <a:cs typeface="+mn-cs"/>
              </a:rPr>
              <a:t>sweet mornings of spring which I enjoy with my whole</a:t>
            </a:r>
            <a:endParaRPr kumimoji="0" lang="en-US" sz="1200" b="1"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grpSp>
        <p:nvGrpSpPr>
          <p:cNvPr id="60" name="Group 73">
            <a:extLst>
              <a:ext uri="{FF2B5EF4-FFF2-40B4-BE49-F238E27FC236}">
                <a16:creationId xmlns:a16="http://schemas.microsoft.com/office/drawing/2014/main" id="{4CDA2DFC-3598-43B0-90FF-2882C37B68F3}"/>
              </a:ext>
            </a:extLst>
          </p:cNvPr>
          <p:cNvGrpSpPr/>
          <p:nvPr/>
        </p:nvGrpSpPr>
        <p:grpSpPr>
          <a:xfrm flipH="1">
            <a:off x="7837239" y="3200784"/>
            <a:ext cx="749579" cy="237758"/>
            <a:chOff x="3398226" y="2100505"/>
            <a:chExt cx="749579" cy="237758"/>
          </a:xfrm>
        </p:grpSpPr>
        <p:cxnSp>
          <p:nvCxnSpPr>
            <p:cNvPr id="61" name="Straight Connector 74">
              <a:extLst>
                <a:ext uri="{FF2B5EF4-FFF2-40B4-BE49-F238E27FC236}">
                  <a16:creationId xmlns:a16="http://schemas.microsoft.com/office/drawing/2014/main" id="{F3BD2ACB-1118-4462-A45F-6C9434AD20A3}"/>
                </a:ext>
              </a:extLst>
            </p:cNvPr>
            <p:cNvCxnSpPr>
              <a:cxnSpLocks/>
            </p:cNvCxnSpPr>
            <p:nvPr/>
          </p:nvCxnSpPr>
          <p:spPr>
            <a:xfrm flipH="1" flipV="1">
              <a:off x="3910047" y="2100505"/>
              <a:ext cx="237758" cy="237758"/>
            </a:xfrm>
            <a:prstGeom prst="line">
              <a:avLst/>
            </a:prstGeom>
            <a:ln w="28575">
              <a:solidFill>
                <a:schemeClr val="accent5"/>
              </a:solidFill>
              <a:headEnd type="oval"/>
            </a:ln>
          </p:spPr>
          <p:style>
            <a:lnRef idx="1">
              <a:schemeClr val="accent1"/>
            </a:lnRef>
            <a:fillRef idx="0">
              <a:schemeClr val="accent1"/>
            </a:fillRef>
            <a:effectRef idx="0">
              <a:schemeClr val="accent1"/>
            </a:effectRef>
            <a:fontRef idx="minor">
              <a:schemeClr val="tx1"/>
            </a:fontRef>
          </p:style>
        </p:cxnSp>
        <p:cxnSp>
          <p:nvCxnSpPr>
            <p:cNvPr id="62" name="Straight Connector 75">
              <a:extLst>
                <a:ext uri="{FF2B5EF4-FFF2-40B4-BE49-F238E27FC236}">
                  <a16:creationId xmlns:a16="http://schemas.microsoft.com/office/drawing/2014/main" id="{DA8A0604-6305-4383-848A-ACECDF7ECE7E}"/>
                </a:ext>
              </a:extLst>
            </p:cNvPr>
            <p:cNvCxnSpPr>
              <a:cxnSpLocks/>
            </p:cNvCxnSpPr>
            <p:nvPr/>
          </p:nvCxnSpPr>
          <p:spPr>
            <a:xfrm flipH="1">
              <a:off x="3398226" y="2105266"/>
              <a:ext cx="519885" cy="0"/>
            </a:xfrm>
            <a:prstGeom prst="line">
              <a:avLst/>
            </a:prstGeom>
            <a:ln w="28575">
              <a:solidFill>
                <a:schemeClr val="accent5"/>
              </a:solidFill>
              <a:tailEnd type="oval"/>
            </a:ln>
          </p:spPr>
          <p:style>
            <a:lnRef idx="1">
              <a:schemeClr val="accent1"/>
            </a:lnRef>
            <a:fillRef idx="0">
              <a:schemeClr val="accent1"/>
            </a:fillRef>
            <a:effectRef idx="0">
              <a:schemeClr val="accent1"/>
            </a:effectRef>
            <a:fontRef idx="minor">
              <a:schemeClr val="tx1"/>
            </a:fontRef>
          </p:style>
        </p:cxnSp>
      </p:grpSp>
      <p:sp>
        <p:nvSpPr>
          <p:cNvPr id="63" name="TextBox 76">
            <a:extLst>
              <a:ext uri="{FF2B5EF4-FFF2-40B4-BE49-F238E27FC236}">
                <a16:creationId xmlns:a16="http://schemas.microsoft.com/office/drawing/2014/main" id="{1B0443EE-1E66-4623-BB3B-97377E329956}"/>
              </a:ext>
            </a:extLst>
          </p:cNvPr>
          <p:cNvSpPr txBox="1"/>
          <p:nvPr/>
        </p:nvSpPr>
        <p:spPr>
          <a:xfrm>
            <a:off x="8658220" y="2857991"/>
            <a:ext cx="1279517"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D" sz="1600" b="1" i="0" u="none" strike="noStrike" kern="1200" cap="none" spc="0" normalizeH="0" baseline="0" noProof="0">
                <a:ln>
                  <a:noFill/>
                </a:ln>
                <a:solidFill>
                  <a:srgbClr val="000000"/>
                </a:solidFill>
                <a:effectLst/>
                <a:uLnTx/>
                <a:uFillTx/>
                <a:latin typeface="等线 Light" panose="020F0302020204030204"/>
                <a:ea typeface="+mn-ea"/>
                <a:cs typeface="+mn-cs"/>
              </a:rPr>
              <a:t>Description</a:t>
            </a:r>
            <a:endParaRPr kumimoji="0" lang="id-ID" sz="1600" b="1" i="0" u="none" strike="noStrike" kern="1200" cap="none" spc="0" normalizeH="0" baseline="0" noProof="0" dirty="0">
              <a:ln>
                <a:noFill/>
              </a:ln>
              <a:solidFill>
                <a:srgbClr val="000000"/>
              </a:solidFill>
              <a:effectLst/>
              <a:uLnTx/>
              <a:uFillTx/>
              <a:latin typeface="等线 Light" panose="020F0302020204030204"/>
              <a:ea typeface="+mn-ea"/>
              <a:cs typeface="+mn-cs"/>
            </a:endParaRPr>
          </a:p>
        </p:txBody>
      </p:sp>
      <p:sp>
        <p:nvSpPr>
          <p:cNvPr id="64" name="TextBox 77">
            <a:extLst>
              <a:ext uri="{FF2B5EF4-FFF2-40B4-BE49-F238E27FC236}">
                <a16:creationId xmlns:a16="http://schemas.microsoft.com/office/drawing/2014/main" id="{2B55C3BC-654A-4137-A227-EA979C7BD02C}"/>
              </a:ext>
            </a:extLst>
          </p:cNvPr>
          <p:cNvSpPr txBox="1"/>
          <p:nvPr/>
        </p:nvSpPr>
        <p:spPr>
          <a:xfrm>
            <a:off x="8658222" y="3139780"/>
            <a:ext cx="2049070" cy="616836"/>
          </a:xfrm>
          <a:prstGeom prst="rect">
            <a:avLst/>
          </a:prstGeom>
          <a:noFill/>
        </p:spPr>
        <p:txBody>
          <a:bodyPr wrap="square" rtlCol="0">
            <a:spAutoFit/>
          </a:bodyPr>
          <a:lstStyle/>
          <a:p>
            <a:pPr marL="0" marR="0" lvl="0" indent="0" algn="just" defTabSz="914400" rtl="0" eaLnBrk="1" fontAlgn="auto" latinLnBrk="0" hangingPunct="1">
              <a:lnSpc>
                <a:spcPct val="15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等线" panose="020F0502020204030204"/>
                <a:ea typeface="+mn-ea"/>
                <a:cs typeface="+mn-cs"/>
              </a:rPr>
              <a:t>sweet mornings of spring which I enjoy with my whole</a:t>
            </a:r>
            <a:endParaRPr kumimoji="0" lang="en-US" sz="1200" b="1"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grpSp>
        <p:nvGrpSpPr>
          <p:cNvPr id="65" name="Group 80">
            <a:extLst>
              <a:ext uri="{FF2B5EF4-FFF2-40B4-BE49-F238E27FC236}">
                <a16:creationId xmlns:a16="http://schemas.microsoft.com/office/drawing/2014/main" id="{4685C4C9-B0BD-482F-802A-E1C1FB62A386}"/>
              </a:ext>
            </a:extLst>
          </p:cNvPr>
          <p:cNvGrpSpPr/>
          <p:nvPr/>
        </p:nvGrpSpPr>
        <p:grpSpPr>
          <a:xfrm flipH="1">
            <a:off x="8393477" y="4838256"/>
            <a:ext cx="749579" cy="237758"/>
            <a:chOff x="3398226" y="2100505"/>
            <a:chExt cx="749579" cy="237758"/>
          </a:xfrm>
        </p:grpSpPr>
        <p:cxnSp>
          <p:nvCxnSpPr>
            <p:cNvPr id="66" name="Straight Connector 81">
              <a:extLst>
                <a:ext uri="{FF2B5EF4-FFF2-40B4-BE49-F238E27FC236}">
                  <a16:creationId xmlns:a16="http://schemas.microsoft.com/office/drawing/2014/main" id="{E3DED68B-985E-4E59-8B4D-426F7D3B0F17}"/>
                </a:ext>
              </a:extLst>
            </p:cNvPr>
            <p:cNvCxnSpPr>
              <a:cxnSpLocks/>
            </p:cNvCxnSpPr>
            <p:nvPr/>
          </p:nvCxnSpPr>
          <p:spPr>
            <a:xfrm flipH="1" flipV="1">
              <a:off x="3910047" y="2100505"/>
              <a:ext cx="237758" cy="237758"/>
            </a:xfrm>
            <a:prstGeom prst="line">
              <a:avLst/>
            </a:prstGeom>
            <a:ln w="28575">
              <a:solidFill>
                <a:schemeClr val="accent6"/>
              </a:solidFill>
              <a:headEnd type="oval"/>
            </a:ln>
          </p:spPr>
          <p:style>
            <a:lnRef idx="1">
              <a:schemeClr val="accent1"/>
            </a:lnRef>
            <a:fillRef idx="0">
              <a:schemeClr val="accent1"/>
            </a:fillRef>
            <a:effectRef idx="0">
              <a:schemeClr val="accent1"/>
            </a:effectRef>
            <a:fontRef idx="minor">
              <a:schemeClr val="tx1"/>
            </a:fontRef>
          </p:style>
        </p:cxnSp>
        <p:cxnSp>
          <p:nvCxnSpPr>
            <p:cNvPr id="67" name="Straight Connector 82">
              <a:extLst>
                <a:ext uri="{FF2B5EF4-FFF2-40B4-BE49-F238E27FC236}">
                  <a16:creationId xmlns:a16="http://schemas.microsoft.com/office/drawing/2014/main" id="{EF0FF1D6-9AED-40B6-9771-03E6448F6474}"/>
                </a:ext>
              </a:extLst>
            </p:cNvPr>
            <p:cNvCxnSpPr>
              <a:cxnSpLocks/>
            </p:cNvCxnSpPr>
            <p:nvPr/>
          </p:nvCxnSpPr>
          <p:spPr>
            <a:xfrm flipH="1">
              <a:off x="3398226" y="2105266"/>
              <a:ext cx="519885" cy="0"/>
            </a:xfrm>
            <a:prstGeom prst="line">
              <a:avLst/>
            </a:prstGeom>
            <a:ln w="28575">
              <a:solidFill>
                <a:schemeClr val="accent6"/>
              </a:solidFill>
              <a:tailEnd type="oval"/>
            </a:ln>
          </p:spPr>
          <p:style>
            <a:lnRef idx="1">
              <a:schemeClr val="accent1"/>
            </a:lnRef>
            <a:fillRef idx="0">
              <a:schemeClr val="accent1"/>
            </a:fillRef>
            <a:effectRef idx="0">
              <a:schemeClr val="accent1"/>
            </a:effectRef>
            <a:fontRef idx="minor">
              <a:schemeClr val="tx1"/>
            </a:fontRef>
          </p:style>
        </p:cxnSp>
      </p:grpSp>
      <p:sp>
        <p:nvSpPr>
          <p:cNvPr id="68" name="TextBox 83">
            <a:extLst>
              <a:ext uri="{FF2B5EF4-FFF2-40B4-BE49-F238E27FC236}">
                <a16:creationId xmlns:a16="http://schemas.microsoft.com/office/drawing/2014/main" id="{6C733807-5240-4F11-A046-51C47C4155FB}"/>
              </a:ext>
            </a:extLst>
          </p:cNvPr>
          <p:cNvSpPr txBox="1"/>
          <p:nvPr/>
        </p:nvSpPr>
        <p:spPr>
          <a:xfrm>
            <a:off x="9214458" y="4495463"/>
            <a:ext cx="1279517"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D" sz="1600" b="1" i="0" u="none" strike="noStrike" kern="1200" cap="none" spc="0" normalizeH="0" baseline="0" noProof="0">
                <a:ln>
                  <a:noFill/>
                </a:ln>
                <a:solidFill>
                  <a:srgbClr val="000000"/>
                </a:solidFill>
                <a:effectLst/>
                <a:uLnTx/>
                <a:uFillTx/>
                <a:latin typeface="等线 Light" panose="020F0302020204030204"/>
                <a:ea typeface="+mn-ea"/>
                <a:cs typeface="+mn-cs"/>
              </a:rPr>
              <a:t>Description</a:t>
            </a:r>
            <a:endParaRPr kumimoji="0" lang="id-ID" sz="1600" b="1" i="0" u="none" strike="noStrike" kern="1200" cap="none" spc="0" normalizeH="0" baseline="0" noProof="0" dirty="0">
              <a:ln>
                <a:noFill/>
              </a:ln>
              <a:solidFill>
                <a:srgbClr val="000000"/>
              </a:solidFill>
              <a:effectLst/>
              <a:uLnTx/>
              <a:uFillTx/>
              <a:latin typeface="等线 Light" panose="020F0302020204030204"/>
              <a:ea typeface="+mn-ea"/>
              <a:cs typeface="+mn-cs"/>
            </a:endParaRPr>
          </a:p>
        </p:txBody>
      </p:sp>
      <p:sp>
        <p:nvSpPr>
          <p:cNvPr id="69" name="TextBox 84">
            <a:extLst>
              <a:ext uri="{FF2B5EF4-FFF2-40B4-BE49-F238E27FC236}">
                <a16:creationId xmlns:a16="http://schemas.microsoft.com/office/drawing/2014/main" id="{0614E050-9EC5-4F33-AD89-D91D911B9AA8}"/>
              </a:ext>
            </a:extLst>
          </p:cNvPr>
          <p:cNvSpPr txBox="1"/>
          <p:nvPr/>
        </p:nvSpPr>
        <p:spPr>
          <a:xfrm>
            <a:off x="9214460" y="4777252"/>
            <a:ext cx="2049070" cy="616836"/>
          </a:xfrm>
          <a:prstGeom prst="rect">
            <a:avLst/>
          </a:prstGeom>
          <a:noFill/>
        </p:spPr>
        <p:txBody>
          <a:bodyPr wrap="square" rtlCol="0">
            <a:spAutoFit/>
          </a:bodyPr>
          <a:lstStyle/>
          <a:p>
            <a:pPr marL="0" marR="0" lvl="0" indent="0" algn="just" defTabSz="914400" rtl="0" eaLnBrk="1" fontAlgn="auto" latinLnBrk="0" hangingPunct="1">
              <a:lnSpc>
                <a:spcPct val="15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等线" panose="020F0502020204030204"/>
                <a:ea typeface="+mn-ea"/>
                <a:cs typeface="+mn-cs"/>
              </a:rPr>
              <a:t>sweet mornings of spring which I enjoy with my whole</a:t>
            </a:r>
            <a:endParaRPr kumimoji="0" lang="en-US" sz="1200" b="1"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70" name="Freeform: Shape 86">
            <a:extLst>
              <a:ext uri="{FF2B5EF4-FFF2-40B4-BE49-F238E27FC236}">
                <a16:creationId xmlns:a16="http://schemas.microsoft.com/office/drawing/2014/main" id="{3BE07E26-6C79-4F5B-86A4-1F61C77AEAE0}"/>
              </a:ext>
            </a:extLst>
          </p:cNvPr>
          <p:cNvSpPr/>
          <p:nvPr/>
        </p:nvSpPr>
        <p:spPr>
          <a:xfrm>
            <a:off x="3666158" y="4784909"/>
            <a:ext cx="206382" cy="206382"/>
          </a:xfrm>
          <a:custGeom>
            <a:avLst/>
            <a:gdLst>
              <a:gd name="connsiteX0" fmla="*/ 200025 w 200025"/>
              <a:gd name="connsiteY0" fmla="*/ 100013 h 200025"/>
              <a:gd name="connsiteX1" fmla="*/ 100012 w 200025"/>
              <a:gd name="connsiteY1" fmla="*/ 200025 h 200025"/>
              <a:gd name="connsiteX2" fmla="*/ 0 w 200025"/>
              <a:gd name="connsiteY2" fmla="*/ 100013 h 200025"/>
              <a:gd name="connsiteX3" fmla="*/ 100012 w 200025"/>
              <a:gd name="connsiteY3" fmla="*/ 0 h 200025"/>
              <a:gd name="connsiteX4" fmla="*/ 200025 w 200025"/>
              <a:gd name="connsiteY4" fmla="*/ 100013 h 2000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0025" h="200025">
                <a:moveTo>
                  <a:pt x="200025" y="100013"/>
                </a:moveTo>
                <a:cubicBezTo>
                  <a:pt x="200025" y="155248"/>
                  <a:pt x="155248" y="200025"/>
                  <a:pt x="100012" y="200025"/>
                </a:cubicBezTo>
                <a:cubicBezTo>
                  <a:pt x="44777" y="200025"/>
                  <a:pt x="0" y="155248"/>
                  <a:pt x="0" y="100013"/>
                </a:cubicBezTo>
                <a:cubicBezTo>
                  <a:pt x="0" y="44777"/>
                  <a:pt x="44777" y="0"/>
                  <a:pt x="100012" y="0"/>
                </a:cubicBezTo>
                <a:cubicBezTo>
                  <a:pt x="155248" y="0"/>
                  <a:pt x="200025" y="44777"/>
                  <a:pt x="200025" y="100013"/>
                </a:cubicBezTo>
                <a:close/>
              </a:path>
            </a:pathLst>
          </a:custGeom>
          <a:solidFill>
            <a:schemeClr val="accent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71" name="Freeform: Shape 87">
            <a:extLst>
              <a:ext uri="{FF2B5EF4-FFF2-40B4-BE49-F238E27FC236}">
                <a16:creationId xmlns:a16="http://schemas.microsoft.com/office/drawing/2014/main" id="{CB68DC8D-262E-4F8E-BB0C-D2B250224B93}"/>
              </a:ext>
            </a:extLst>
          </p:cNvPr>
          <p:cNvSpPr/>
          <p:nvPr/>
        </p:nvSpPr>
        <p:spPr>
          <a:xfrm>
            <a:off x="4235621" y="4649947"/>
            <a:ext cx="404410" cy="403919"/>
          </a:xfrm>
          <a:custGeom>
            <a:avLst/>
            <a:gdLst>
              <a:gd name="connsiteX0" fmla="*/ 195977 w 391953"/>
              <a:gd name="connsiteY0" fmla="*/ 0 h 391477"/>
              <a:gd name="connsiteX1" fmla="*/ 195977 w 391953"/>
              <a:gd name="connsiteY1" fmla="*/ 0 h 391477"/>
              <a:gd name="connsiteX2" fmla="*/ 26432 w 391953"/>
              <a:gd name="connsiteY2" fmla="*/ 98108 h 391477"/>
              <a:gd name="connsiteX3" fmla="*/ 26432 w 391953"/>
              <a:gd name="connsiteY3" fmla="*/ 98108 h 391477"/>
              <a:gd name="connsiteX4" fmla="*/ 26432 w 391953"/>
              <a:gd name="connsiteY4" fmla="*/ 293370 h 391477"/>
              <a:gd name="connsiteX5" fmla="*/ 26432 w 391953"/>
              <a:gd name="connsiteY5" fmla="*/ 293370 h 391477"/>
              <a:gd name="connsiteX6" fmla="*/ 195977 w 391953"/>
              <a:gd name="connsiteY6" fmla="*/ 391478 h 391477"/>
              <a:gd name="connsiteX7" fmla="*/ 195977 w 391953"/>
              <a:gd name="connsiteY7" fmla="*/ 391478 h 391477"/>
              <a:gd name="connsiteX8" fmla="*/ 365522 w 391953"/>
              <a:gd name="connsiteY8" fmla="*/ 293370 h 391477"/>
              <a:gd name="connsiteX9" fmla="*/ 365522 w 391953"/>
              <a:gd name="connsiteY9" fmla="*/ 293370 h 391477"/>
              <a:gd name="connsiteX10" fmla="*/ 365522 w 391953"/>
              <a:gd name="connsiteY10" fmla="*/ 98108 h 391477"/>
              <a:gd name="connsiteX11" fmla="*/ 365522 w 391953"/>
              <a:gd name="connsiteY11" fmla="*/ 98108 h 391477"/>
              <a:gd name="connsiteX12" fmla="*/ 195977 w 391953"/>
              <a:gd name="connsiteY12" fmla="*/ 0 h 391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91953" h="391477">
                <a:moveTo>
                  <a:pt x="195977" y="0"/>
                </a:moveTo>
                <a:lnTo>
                  <a:pt x="195977" y="0"/>
                </a:lnTo>
                <a:cubicBezTo>
                  <a:pt x="126444" y="0"/>
                  <a:pt x="61674" y="37148"/>
                  <a:pt x="26432" y="98108"/>
                </a:cubicBezTo>
                <a:lnTo>
                  <a:pt x="26432" y="98108"/>
                </a:lnTo>
                <a:cubicBezTo>
                  <a:pt x="-8811" y="158115"/>
                  <a:pt x="-8811" y="233363"/>
                  <a:pt x="26432" y="293370"/>
                </a:cubicBezTo>
                <a:lnTo>
                  <a:pt x="26432" y="293370"/>
                </a:lnTo>
                <a:cubicBezTo>
                  <a:pt x="61674" y="353378"/>
                  <a:pt x="125492" y="391478"/>
                  <a:pt x="195977" y="391478"/>
                </a:cubicBezTo>
                <a:lnTo>
                  <a:pt x="195977" y="391478"/>
                </a:lnTo>
                <a:cubicBezTo>
                  <a:pt x="265509" y="391478"/>
                  <a:pt x="330279" y="354330"/>
                  <a:pt x="365522" y="293370"/>
                </a:cubicBezTo>
                <a:lnTo>
                  <a:pt x="365522" y="293370"/>
                </a:lnTo>
                <a:cubicBezTo>
                  <a:pt x="400764" y="233363"/>
                  <a:pt x="400764" y="158115"/>
                  <a:pt x="365522" y="98108"/>
                </a:cubicBezTo>
                <a:lnTo>
                  <a:pt x="365522" y="98108"/>
                </a:lnTo>
                <a:cubicBezTo>
                  <a:pt x="330279" y="37148"/>
                  <a:pt x="266462" y="0"/>
                  <a:pt x="195977" y="0"/>
                </a:cubicBezTo>
                <a:close/>
              </a:path>
            </a:pathLst>
          </a:custGeom>
          <a:solidFill>
            <a:schemeClr val="accent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72" name="Freeform: Shape 88">
            <a:extLst>
              <a:ext uri="{FF2B5EF4-FFF2-40B4-BE49-F238E27FC236}">
                <a16:creationId xmlns:a16="http://schemas.microsoft.com/office/drawing/2014/main" id="{B4604281-7401-4CD8-A2A5-AE9BE09C9D13}"/>
              </a:ext>
            </a:extLst>
          </p:cNvPr>
          <p:cNvSpPr/>
          <p:nvPr/>
        </p:nvSpPr>
        <p:spPr>
          <a:xfrm>
            <a:off x="7265237" y="3195665"/>
            <a:ext cx="326540" cy="461214"/>
          </a:xfrm>
          <a:custGeom>
            <a:avLst/>
            <a:gdLst>
              <a:gd name="connsiteX0" fmla="*/ 337185 w 674370"/>
              <a:gd name="connsiteY0" fmla="*/ 0 h 952500"/>
              <a:gd name="connsiteX1" fmla="*/ 0 w 674370"/>
              <a:gd name="connsiteY1" fmla="*/ 615315 h 952500"/>
              <a:gd name="connsiteX2" fmla="*/ 337185 w 674370"/>
              <a:gd name="connsiteY2" fmla="*/ 952500 h 952500"/>
              <a:gd name="connsiteX3" fmla="*/ 674370 w 674370"/>
              <a:gd name="connsiteY3" fmla="*/ 615315 h 952500"/>
              <a:gd name="connsiteX4" fmla="*/ 337185 w 674370"/>
              <a:gd name="connsiteY4" fmla="*/ 0 h 952500"/>
              <a:gd name="connsiteX5" fmla="*/ 332423 w 674370"/>
              <a:gd name="connsiteY5" fmla="*/ 876300 h 952500"/>
              <a:gd name="connsiteX6" fmla="*/ 76200 w 674370"/>
              <a:gd name="connsiteY6" fmla="*/ 654368 h 952500"/>
              <a:gd name="connsiteX7" fmla="*/ 121920 w 674370"/>
              <a:gd name="connsiteY7" fmla="*/ 641985 h 952500"/>
              <a:gd name="connsiteX8" fmla="*/ 341948 w 674370"/>
              <a:gd name="connsiteY8" fmla="*/ 830580 h 952500"/>
              <a:gd name="connsiteX9" fmla="*/ 332423 w 674370"/>
              <a:gd name="connsiteY9" fmla="*/ 876300 h 952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74370" h="952500">
                <a:moveTo>
                  <a:pt x="337185" y="0"/>
                </a:moveTo>
                <a:cubicBezTo>
                  <a:pt x="337185" y="0"/>
                  <a:pt x="0" y="429578"/>
                  <a:pt x="0" y="615315"/>
                </a:cubicBezTo>
                <a:cubicBezTo>
                  <a:pt x="0" y="801053"/>
                  <a:pt x="150495" y="952500"/>
                  <a:pt x="337185" y="952500"/>
                </a:cubicBezTo>
                <a:cubicBezTo>
                  <a:pt x="522923" y="952500"/>
                  <a:pt x="674370" y="802005"/>
                  <a:pt x="674370" y="615315"/>
                </a:cubicBezTo>
                <a:cubicBezTo>
                  <a:pt x="674370" y="429578"/>
                  <a:pt x="337185" y="0"/>
                  <a:pt x="337185" y="0"/>
                </a:cubicBezTo>
                <a:close/>
                <a:moveTo>
                  <a:pt x="332423" y="876300"/>
                </a:moveTo>
                <a:cubicBezTo>
                  <a:pt x="128588" y="834390"/>
                  <a:pt x="78105" y="661988"/>
                  <a:pt x="76200" y="654368"/>
                </a:cubicBezTo>
                <a:lnTo>
                  <a:pt x="121920" y="641985"/>
                </a:lnTo>
                <a:cubicBezTo>
                  <a:pt x="123825" y="648653"/>
                  <a:pt x="167640" y="794385"/>
                  <a:pt x="341948" y="830580"/>
                </a:cubicBezTo>
                <a:lnTo>
                  <a:pt x="332423" y="876300"/>
                </a:lnTo>
                <a:close/>
              </a:path>
            </a:pathLst>
          </a:custGeom>
          <a:solidFill>
            <a:schemeClr val="bg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nvGrpSpPr>
          <p:cNvPr id="73" name="Graphic 1">
            <a:extLst>
              <a:ext uri="{FF2B5EF4-FFF2-40B4-BE49-F238E27FC236}">
                <a16:creationId xmlns:a16="http://schemas.microsoft.com/office/drawing/2014/main" id="{7196427B-DAE7-406C-B4FA-C90B0496C752}"/>
              </a:ext>
            </a:extLst>
          </p:cNvPr>
          <p:cNvGrpSpPr/>
          <p:nvPr/>
        </p:nvGrpSpPr>
        <p:grpSpPr>
          <a:xfrm>
            <a:off x="6173739" y="2420857"/>
            <a:ext cx="460752" cy="461214"/>
            <a:chOff x="3504247" y="1264920"/>
            <a:chExt cx="951547" cy="952500"/>
          </a:xfrm>
          <a:solidFill>
            <a:schemeClr val="bg2"/>
          </a:solidFill>
        </p:grpSpPr>
        <p:sp>
          <p:nvSpPr>
            <p:cNvPr id="74" name="Freeform: Shape 90">
              <a:extLst>
                <a:ext uri="{FF2B5EF4-FFF2-40B4-BE49-F238E27FC236}">
                  <a16:creationId xmlns:a16="http://schemas.microsoft.com/office/drawing/2014/main" id="{A69DA578-8CE8-44A0-8B3B-FEA82F52C37E}"/>
                </a:ext>
              </a:extLst>
            </p:cNvPr>
            <p:cNvSpPr/>
            <p:nvPr/>
          </p:nvSpPr>
          <p:spPr>
            <a:xfrm>
              <a:off x="3643311" y="1403985"/>
              <a:ext cx="674369" cy="674369"/>
            </a:xfrm>
            <a:custGeom>
              <a:avLst/>
              <a:gdLst>
                <a:gd name="connsiteX0" fmla="*/ 674370 w 674369"/>
                <a:gd name="connsiteY0" fmla="*/ 337185 h 674369"/>
                <a:gd name="connsiteX1" fmla="*/ 337185 w 674369"/>
                <a:gd name="connsiteY1" fmla="*/ 674370 h 674369"/>
                <a:gd name="connsiteX2" fmla="*/ 0 w 674369"/>
                <a:gd name="connsiteY2" fmla="*/ 337185 h 674369"/>
                <a:gd name="connsiteX3" fmla="*/ 337185 w 674369"/>
                <a:gd name="connsiteY3" fmla="*/ 0 h 674369"/>
                <a:gd name="connsiteX4" fmla="*/ 674370 w 674369"/>
                <a:gd name="connsiteY4" fmla="*/ 337185 h 6743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4369" h="674369">
                  <a:moveTo>
                    <a:pt x="674370" y="337185"/>
                  </a:moveTo>
                  <a:cubicBezTo>
                    <a:pt x="674370" y="523407"/>
                    <a:pt x="523407" y="674370"/>
                    <a:pt x="337185" y="674370"/>
                  </a:cubicBezTo>
                  <a:cubicBezTo>
                    <a:pt x="150963" y="674370"/>
                    <a:pt x="0" y="523407"/>
                    <a:pt x="0" y="337185"/>
                  </a:cubicBezTo>
                  <a:cubicBezTo>
                    <a:pt x="0" y="150963"/>
                    <a:pt x="150963" y="0"/>
                    <a:pt x="337185" y="0"/>
                  </a:cubicBezTo>
                  <a:cubicBezTo>
                    <a:pt x="523407" y="0"/>
                    <a:pt x="674370" y="150963"/>
                    <a:pt x="674370" y="337185"/>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75" name="Freeform: Shape 91">
              <a:extLst>
                <a:ext uri="{FF2B5EF4-FFF2-40B4-BE49-F238E27FC236}">
                  <a16:creationId xmlns:a16="http://schemas.microsoft.com/office/drawing/2014/main" id="{82297B95-F9AE-4503-B54F-1BE0B6A57AFF}"/>
                </a:ext>
              </a:extLst>
            </p:cNvPr>
            <p:cNvSpPr/>
            <p:nvPr/>
          </p:nvSpPr>
          <p:spPr>
            <a:xfrm>
              <a:off x="3956684" y="1264920"/>
              <a:ext cx="47625" cy="75247"/>
            </a:xfrm>
            <a:custGeom>
              <a:avLst/>
              <a:gdLst>
                <a:gd name="connsiteX0" fmla="*/ 0 w 47625"/>
                <a:gd name="connsiteY0" fmla="*/ 0 h 75247"/>
                <a:gd name="connsiteX1" fmla="*/ 47625 w 47625"/>
                <a:gd name="connsiteY1" fmla="*/ 0 h 75247"/>
                <a:gd name="connsiteX2" fmla="*/ 47625 w 47625"/>
                <a:gd name="connsiteY2" fmla="*/ 75248 h 75247"/>
                <a:gd name="connsiteX3" fmla="*/ 0 w 47625"/>
                <a:gd name="connsiteY3" fmla="*/ 75248 h 75247"/>
              </a:gdLst>
              <a:ahLst/>
              <a:cxnLst>
                <a:cxn ang="0">
                  <a:pos x="connsiteX0" y="connsiteY0"/>
                </a:cxn>
                <a:cxn ang="0">
                  <a:pos x="connsiteX1" y="connsiteY1"/>
                </a:cxn>
                <a:cxn ang="0">
                  <a:pos x="connsiteX2" y="connsiteY2"/>
                </a:cxn>
                <a:cxn ang="0">
                  <a:pos x="connsiteX3" y="connsiteY3"/>
                </a:cxn>
              </a:cxnLst>
              <a:rect l="l" t="t" r="r" b="b"/>
              <a:pathLst>
                <a:path w="47625" h="75247">
                  <a:moveTo>
                    <a:pt x="0" y="0"/>
                  </a:moveTo>
                  <a:lnTo>
                    <a:pt x="47625" y="0"/>
                  </a:lnTo>
                  <a:lnTo>
                    <a:pt x="47625" y="75248"/>
                  </a:lnTo>
                  <a:lnTo>
                    <a:pt x="0" y="75248"/>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76" name="Freeform: Shape 92">
              <a:extLst>
                <a:ext uri="{FF2B5EF4-FFF2-40B4-BE49-F238E27FC236}">
                  <a16:creationId xmlns:a16="http://schemas.microsoft.com/office/drawing/2014/main" id="{83A27627-1634-4BFE-8DAE-4854015BA75E}"/>
                </a:ext>
              </a:extLst>
            </p:cNvPr>
            <p:cNvSpPr/>
            <p:nvPr/>
          </p:nvSpPr>
          <p:spPr>
            <a:xfrm rot="-2700000">
              <a:off x="3646166" y="1393671"/>
              <a:ext cx="47624" cy="75246"/>
            </a:xfrm>
            <a:custGeom>
              <a:avLst/>
              <a:gdLst>
                <a:gd name="connsiteX0" fmla="*/ 0 w 47624"/>
                <a:gd name="connsiteY0" fmla="*/ 0 h 75246"/>
                <a:gd name="connsiteX1" fmla="*/ 47625 w 47624"/>
                <a:gd name="connsiteY1" fmla="*/ 0 h 75246"/>
                <a:gd name="connsiteX2" fmla="*/ 47625 w 47624"/>
                <a:gd name="connsiteY2" fmla="*/ 75247 h 75246"/>
                <a:gd name="connsiteX3" fmla="*/ 0 w 47624"/>
                <a:gd name="connsiteY3" fmla="*/ 75247 h 75246"/>
              </a:gdLst>
              <a:ahLst/>
              <a:cxnLst>
                <a:cxn ang="0">
                  <a:pos x="connsiteX0" y="connsiteY0"/>
                </a:cxn>
                <a:cxn ang="0">
                  <a:pos x="connsiteX1" y="connsiteY1"/>
                </a:cxn>
                <a:cxn ang="0">
                  <a:pos x="connsiteX2" y="connsiteY2"/>
                </a:cxn>
                <a:cxn ang="0">
                  <a:pos x="connsiteX3" y="connsiteY3"/>
                </a:cxn>
              </a:cxnLst>
              <a:rect l="l" t="t" r="r" b="b"/>
              <a:pathLst>
                <a:path w="47624" h="75246">
                  <a:moveTo>
                    <a:pt x="0" y="0"/>
                  </a:moveTo>
                  <a:lnTo>
                    <a:pt x="47625" y="0"/>
                  </a:lnTo>
                  <a:lnTo>
                    <a:pt x="47625" y="75247"/>
                  </a:lnTo>
                  <a:lnTo>
                    <a:pt x="0" y="75247"/>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77" name="Freeform: Shape 93">
              <a:extLst>
                <a:ext uri="{FF2B5EF4-FFF2-40B4-BE49-F238E27FC236}">
                  <a16:creationId xmlns:a16="http://schemas.microsoft.com/office/drawing/2014/main" id="{9240F6AC-4907-4F00-911A-30A77275DAD0}"/>
                </a:ext>
              </a:extLst>
            </p:cNvPr>
            <p:cNvSpPr/>
            <p:nvPr/>
          </p:nvSpPr>
          <p:spPr>
            <a:xfrm>
              <a:off x="3504247" y="1717357"/>
              <a:ext cx="75247" cy="47625"/>
            </a:xfrm>
            <a:custGeom>
              <a:avLst/>
              <a:gdLst>
                <a:gd name="connsiteX0" fmla="*/ 0 w 75247"/>
                <a:gd name="connsiteY0" fmla="*/ 0 h 47625"/>
                <a:gd name="connsiteX1" fmla="*/ 75247 w 75247"/>
                <a:gd name="connsiteY1" fmla="*/ 0 h 47625"/>
                <a:gd name="connsiteX2" fmla="*/ 75247 w 75247"/>
                <a:gd name="connsiteY2" fmla="*/ 47625 h 47625"/>
                <a:gd name="connsiteX3" fmla="*/ 0 w 75247"/>
                <a:gd name="connsiteY3" fmla="*/ 47625 h 47625"/>
              </a:gdLst>
              <a:ahLst/>
              <a:cxnLst>
                <a:cxn ang="0">
                  <a:pos x="connsiteX0" y="connsiteY0"/>
                </a:cxn>
                <a:cxn ang="0">
                  <a:pos x="connsiteX1" y="connsiteY1"/>
                </a:cxn>
                <a:cxn ang="0">
                  <a:pos x="connsiteX2" y="connsiteY2"/>
                </a:cxn>
                <a:cxn ang="0">
                  <a:pos x="connsiteX3" y="connsiteY3"/>
                </a:cxn>
              </a:cxnLst>
              <a:rect l="l" t="t" r="r" b="b"/>
              <a:pathLst>
                <a:path w="75247" h="47625">
                  <a:moveTo>
                    <a:pt x="0" y="0"/>
                  </a:moveTo>
                  <a:lnTo>
                    <a:pt x="75247" y="0"/>
                  </a:lnTo>
                  <a:lnTo>
                    <a:pt x="75247" y="47625"/>
                  </a:lnTo>
                  <a:lnTo>
                    <a:pt x="0" y="47625"/>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78" name="Freeform: Shape 94">
              <a:extLst>
                <a:ext uri="{FF2B5EF4-FFF2-40B4-BE49-F238E27FC236}">
                  <a16:creationId xmlns:a16="http://schemas.microsoft.com/office/drawing/2014/main" id="{8A9D301C-0C48-4F30-9680-59F6A58E0087}"/>
                </a:ext>
              </a:extLst>
            </p:cNvPr>
            <p:cNvSpPr/>
            <p:nvPr/>
          </p:nvSpPr>
          <p:spPr>
            <a:xfrm rot="-2700000">
              <a:off x="3632314" y="2028140"/>
              <a:ext cx="75246" cy="47624"/>
            </a:xfrm>
            <a:custGeom>
              <a:avLst/>
              <a:gdLst>
                <a:gd name="connsiteX0" fmla="*/ 0 w 75246"/>
                <a:gd name="connsiteY0" fmla="*/ 0 h 47624"/>
                <a:gd name="connsiteX1" fmla="*/ 75247 w 75246"/>
                <a:gd name="connsiteY1" fmla="*/ 0 h 47624"/>
                <a:gd name="connsiteX2" fmla="*/ 75247 w 75246"/>
                <a:gd name="connsiteY2" fmla="*/ 47625 h 47624"/>
                <a:gd name="connsiteX3" fmla="*/ 0 w 75246"/>
                <a:gd name="connsiteY3" fmla="*/ 47625 h 47624"/>
              </a:gdLst>
              <a:ahLst/>
              <a:cxnLst>
                <a:cxn ang="0">
                  <a:pos x="connsiteX0" y="connsiteY0"/>
                </a:cxn>
                <a:cxn ang="0">
                  <a:pos x="connsiteX1" y="connsiteY1"/>
                </a:cxn>
                <a:cxn ang="0">
                  <a:pos x="connsiteX2" y="connsiteY2"/>
                </a:cxn>
                <a:cxn ang="0">
                  <a:pos x="connsiteX3" y="connsiteY3"/>
                </a:cxn>
              </a:cxnLst>
              <a:rect l="l" t="t" r="r" b="b"/>
              <a:pathLst>
                <a:path w="75246" h="47624">
                  <a:moveTo>
                    <a:pt x="0" y="0"/>
                  </a:moveTo>
                  <a:lnTo>
                    <a:pt x="75247" y="0"/>
                  </a:lnTo>
                  <a:lnTo>
                    <a:pt x="75247" y="47625"/>
                  </a:lnTo>
                  <a:lnTo>
                    <a:pt x="0" y="47625"/>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79" name="Freeform: Shape 95">
              <a:extLst>
                <a:ext uri="{FF2B5EF4-FFF2-40B4-BE49-F238E27FC236}">
                  <a16:creationId xmlns:a16="http://schemas.microsoft.com/office/drawing/2014/main" id="{1BB8A5A9-E31C-4A86-875F-D409D7CFE718}"/>
                </a:ext>
              </a:extLst>
            </p:cNvPr>
            <p:cNvSpPr/>
            <p:nvPr/>
          </p:nvSpPr>
          <p:spPr>
            <a:xfrm>
              <a:off x="3956684" y="2142172"/>
              <a:ext cx="47625" cy="75247"/>
            </a:xfrm>
            <a:custGeom>
              <a:avLst/>
              <a:gdLst>
                <a:gd name="connsiteX0" fmla="*/ 0 w 47625"/>
                <a:gd name="connsiteY0" fmla="*/ 0 h 75247"/>
                <a:gd name="connsiteX1" fmla="*/ 47625 w 47625"/>
                <a:gd name="connsiteY1" fmla="*/ 0 h 75247"/>
                <a:gd name="connsiteX2" fmla="*/ 47625 w 47625"/>
                <a:gd name="connsiteY2" fmla="*/ 75248 h 75247"/>
                <a:gd name="connsiteX3" fmla="*/ 0 w 47625"/>
                <a:gd name="connsiteY3" fmla="*/ 75248 h 75247"/>
              </a:gdLst>
              <a:ahLst/>
              <a:cxnLst>
                <a:cxn ang="0">
                  <a:pos x="connsiteX0" y="connsiteY0"/>
                </a:cxn>
                <a:cxn ang="0">
                  <a:pos x="connsiteX1" y="connsiteY1"/>
                </a:cxn>
                <a:cxn ang="0">
                  <a:pos x="connsiteX2" y="connsiteY2"/>
                </a:cxn>
                <a:cxn ang="0">
                  <a:pos x="connsiteX3" y="connsiteY3"/>
                </a:cxn>
              </a:cxnLst>
              <a:rect l="l" t="t" r="r" b="b"/>
              <a:pathLst>
                <a:path w="47625" h="75247">
                  <a:moveTo>
                    <a:pt x="0" y="0"/>
                  </a:moveTo>
                  <a:lnTo>
                    <a:pt x="47625" y="0"/>
                  </a:lnTo>
                  <a:lnTo>
                    <a:pt x="47625" y="75248"/>
                  </a:lnTo>
                  <a:lnTo>
                    <a:pt x="0" y="75248"/>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80" name="Freeform: Shape 96">
              <a:extLst>
                <a:ext uri="{FF2B5EF4-FFF2-40B4-BE49-F238E27FC236}">
                  <a16:creationId xmlns:a16="http://schemas.microsoft.com/office/drawing/2014/main" id="{1A5FF208-060D-4A4F-859E-C851BF8E2CAF}"/>
                </a:ext>
              </a:extLst>
            </p:cNvPr>
            <p:cNvSpPr/>
            <p:nvPr/>
          </p:nvSpPr>
          <p:spPr>
            <a:xfrm rot="-2699514">
              <a:off x="4266268" y="2013785"/>
              <a:ext cx="47624" cy="75246"/>
            </a:xfrm>
            <a:custGeom>
              <a:avLst/>
              <a:gdLst>
                <a:gd name="connsiteX0" fmla="*/ 0 w 47624"/>
                <a:gd name="connsiteY0" fmla="*/ 0 h 75246"/>
                <a:gd name="connsiteX1" fmla="*/ 47624 w 47624"/>
                <a:gd name="connsiteY1" fmla="*/ 0 h 75246"/>
                <a:gd name="connsiteX2" fmla="*/ 47624 w 47624"/>
                <a:gd name="connsiteY2" fmla="*/ 75247 h 75246"/>
                <a:gd name="connsiteX3" fmla="*/ 0 w 47624"/>
                <a:gd name="connsiteY3" fmla="*/ 75247 h 75246"/>
              </a:gdLst>
              <a:ahLst/>
              <a:cxnLst>
                <a:cxn ang="0">
                  <a:pos x="connsiteX0" y="connsiteY0"/>
                </a:cxn>
                <a:cxn ang="0">
                  <a:pos x="connsiteX1" y="connsiteY1"/>
                </a:cxn>
                <a:cxn ang="0">
                  <a:pos x="connsiteX2" y="connsiteY2"/>
                </a:cxn>
                <a:cxn ang="0">
                  <a:pos x="connsiteX3" y="connsiteY3"/>
                </a:cxn>
              </a:cxnLst>
              <a:rect l="l" t="t" r="r" b="b"/>
              <a:pathLst>
                <a:path w="47624" h="75246">
                  <a:moveTo>
                    <a:pt x="0" y="0"/>
                  </a:moveTo>
                  <a:lnTo>
                    <a:pt x="47624" y="0"/>
                  </a:lnTo>
                  <a:lnTo>
                    <a:pt x="47624" y="75247"/>
                  </a:lnTo>
                  <a:lnTo>
                    <a:pt x="0" y="75247"/>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81" name="Freeform: Shape 97">
              <a:extLst>
                <a:ext uri="{FF2B5EF4-FFF2-40B4-BE49-F238E27FC236}">
                  <a16:creationId xmlns:a16="http://schemas.microsoft.com/office/drawing/2014/main" id="{780551E7-751E-4CDD-AFC8-B9C2910584AA}"/>
                </a:ext>
              </a:extLst>
            </p:cNvPr>
            <p:cNvSpPr/>
            <p:nvPr/>
          </p:nvSpPr>
          <p:spPr>
            <a:xfrm>
              <a:off x="4380547" y="1717357"/>
              <a:ext cx="75247" cy="47625"/>
            </a:xfrm>
            <a:custGeom>
              <a:avLst/>
              <a:gdLst>
                <a:gd name="connsiteX0" fmla="*/ 0 w 75247"/>
                <a:gd name="connsiteY0" fmla="*/ 0 h 47625"/>
                <a:gd name="connsiteX1" fmla="*/ 75247 w 75247"/>
                <a:gd name="connsiteY1" fmla="*/ 0 h 47625"/>
                <a:gd name="connsiteX2" fmla="*/ 75247 w 75247"/>
                <a:gd name="connsiteY2" fmla="*/ 47625 h 47625"/>
                <a:gd name="connsiteX3" fmla="*/ 0 w 75247"/>
                <a:gd name="connsiteY3" fmla="*/ 47625 h 47625"/>
              </a:gdLst>
              <a:ahLst/>
              <a:cxnLst>
                <a:cxn ang="0">
                  <a:pos x="connsiteX0" y="connsiteY0"/>
                </a:cxn>
                <a:cxn ang="0">
                  <a:pos x="connsiteX1" y="connsiteY1"/>
                </a:cxn>
                <a:cxn ang="0">
                  <a:pos x="connsiteX2" y="connsiteY2"/>
                </a:cxn>
                <a:cxn ang="0">
                  <a:pos x="connsiteX3" y="connsiteY3"/>
                </a:cxn>
              </a:cxnLst>
              <a:rect l="l" t="t" r="r" b="b"/>
              <a:pathLst>
                <a:path w="75247" h="47625">
                  <a:moveTo>
                    <a:pt x="0" y="0"/>
                  </a:moveTo>
                  <a:lnTo>
                    <a:pt x="75247" y="0"/>
                  </a:lnTo>
                  <a:lnTo>
                    <a:pt x="75247" y="47625"/>
                  </a:lnTo>
                  <a:lnTo>
                    <a:pt x="0" y="47625"/>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82" name="Freeform: Shape 98">
              <a:extLst>
                <a:ext uri="{FF2B5EF4-FFF2-40B4-BE49-F238E27FC236}">
                  <a16:creationId xmlns:a16="http://schemas.microsoft.com/office/drawing/2014/main" id="{0583D251-9252-4989-96EC-FFA39DA6316C}"/>
                </a:ext>
              </a:extLst>
            </p:cNvPr>
            <p:cNvSpPr/>
            <p:nvPr/>
          </p:nvSpPr>
          <p:spPr>
            <a:xfrm rot="-2700000">
              <a:off x="4252353" y="1408059"/>
              <a:ext cx="75246" cy="47624"/>
            </a:xfrm>
            <a:custGeom>
              <a:avLst/>
              <a:gdLst>
                <a:gd name="connsiteX0" fmla="*/ 0 w 75246"/>
                <a:gd name="connsiteY0" fmla="*/ 0 h 47624"/>
                <a:gd name="connsiteX1" fmla="*/ 75247 w 75246"/>
                <a:gd name="connsiteY1" fmla="*/ 0 h 47624"/>
                <a:gd name="connsiteX2" fmla="*/ 75247 w 75246"/>
                <a:gd name="connsiteY2" fmla="*/ 47625 h 47624"/>
                <a:gd name="connsiteX3" fmla="*/ 0 w 75246"/>
                <a:gd name="connsiteY3" fmla="*/ 47625 h 47624"/>
              </a:gdLst>
              <a:ahLst/>
              <a:cxnLst>
                <a:cxn ang="0">
                  <a:pos x="connsiteX0" y="connsiteY0"/>
                </a:cxn>
                <a:cxn ang="0">
                  <a:pos x="connsiteX1" y="connsiteY1"/>
                </a:cxn>
                <a:cxn ang="0">
                  <a:pos x="connsiteX2" y="connsiteY2"/>
                </a:cxn>
                <a:cxn ang="0">
                  <a:pos x="connsiteX3" y="connsiteY3"/>
                </a:cxn>
              </a:cxnLst>
              <a:rect l="l" t="t" r="r" b="b"/>
              <a:pathLst>
                <a:path w="75246" h="47624">
                  <a:moveTo>
                    <a:pt x="0" y="0"/>
                  </a:moveTo>
                  <a:lnTo>
                    <a:pt x="75247" y="0"/>
                  </a:lnTo>
                  <a:lnTo>
                    <a:pt x="75247" y="47625"/>
                  </a:lnTo>
                  <a:lnTo>
                    <a:pt x="0" y="47625"/>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sp>
        <p:nvSpPr>
          <p:cNvPr id="83" name="Freeform: Shape 99">
            <a:extLst>
              <a:ext uri="{FF2B5EF4-FFF2-40B4-BE49-F238E27FC236}">
                <a16:creationId xmlns:a16="http://schemas.microsoft.com/office/drawing/2014/main" id="{F937ACBA-33E8-40BF-B2DE-A38BC337B7FF}"/>
              </a:ext>
            </a:extLst>
          </p:cNvPr>
          <p:cNvSpPr/>
          <p:nvPr/>
        </p:nvSpPr>
        <p:spPr>
          <a:xfrm>
            <a:off x="5116477" y="2278333"/>
            <a:ext cx="461272" cy="249992"/>
          </a:xfrm>
          <a:custGeom>
            <a:avLst/>
            <a:gdLst>
              <a:gd name="connsiteX0" fmla="*/ 714375 w 952622"/>
              <a:gd name="connsiteY0" fmla="*/ 269590 h 516287"/>
              <a:gd name="connsiteX1" fmla="*/ 476250 w 952622"/>
              <a:gd name="connsiteY1" fmla="*/ 33 h 516287"/>
              <a:gd name="connsiteX2" fmla="*/ 307658 w 952622"/>
              <a:gd name="connsiteY2" fmla="*/ 209583 h 516287"/>
              <a:gd name="connsiteX3" fmla="*/ 139065 w 952622"/>
              <a:gd name="connsiteY3" fmla="*/ 359125 h 516287"/>
              <a:gd name="connsiteX4" fmla="*/ 0 w 952622"/>
              <a:gd name="connsiteY4" fmla="*/ 516288 h 516287"/>
              <a:gd name="connsiteX5" fmla="*/ 952500 w 952622"/>
              <a:gd name="connsiteY5" fmla="*/ 516288 h 516287"/>
              <a:gd name="connsiteX6" fmla="*/ 714375 w 952622"/>
              <a:gd name="connsiteY6" fmla="*/ 269590 h 516287"/>
              <a:gd name="connsiteX7" fmla="*/ 590550 w 952622"/>
              <a:gd name="connsiteY7" fmla="*/ 229585 h 516287"/>
              <a:gd name="connsiteX8" fmla="*/ 504825 w 952622"/>
              <a:gd name="connsiteY8" fmla="*/ 112428 h 516287"/>
              <a:gd name="connsiteX9" fmla="*/ 525780 w 952622"/>
              <a:gd name="connsiteY9" fmla="*/ 69565 h 516287"/>
              <a:gd name="connsiteX10" fmla="*/ 638175 w 952622"/>
              <a:gd name="connsiteY10" fmla="*/ 221013 h 516287"/>
              <a:gd name="connsiteX11" fmla="*/ 590550 w 952622"/>
              <a:gd name="connsiteY11" fmla="*/ 229585 h 516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52622" h="516287">
                <a:moveTo>
                  <a:pt x="714375" y="269590"/>
                </a:moveTo>
                <a:cubicBezTo>
                  <a:pt x="714375" y="269590"/>
                  <a:pt x="720090" y="33"/>
                  <a:pt x="476250" y="33"/>
                </a:cubicBezTo>
                <a:cubicBezTo>
                  <a:pt x="476250" y="33"/>
                  <a:pt x="307658" y="-7587"/>
                  <a:pt x="307658" y="209583"/>
                </a:cubicBezTo>
                <a:cubicBezTo>
                  <a:pt x="307658" y="209583"/>
                  <a:pt x="139065" y="179103"/>
                  <a:pt x="139065" y="359125"/>
                </a:cubicBezTo>
                <a:cubicBezTo>
                  <a:pt x="139065" y="359125"/>
                  <a:pt x="0" y="308643"/>
                  <a:pt x="0" y="516288"/>
                </a:cubicBezTo>
                <a:lnTo>
                  <a:pt x="952500" y="516288"/>
                </a:lnTo>
                <a:cubicBezTo>
                  <a:pt x="952500" y="516288"/>
                  <a:pt x="965835" y="269590"/>
                  <a:pt x="714375" y="269590"/>
                </a:cubicBezTo>
                <a:close/>
                <a:moveTo>
                  <a:pt x="590550" y="229585"/>
                </a:moveTo>
                <a:cubicBezTo>
                  <a:pt x="579120" y="174340"/>
                  <a:pt x="550545" y="134335"/>
                  <a:pt x="504825" y="112428"/>
                </a:cubicBezTo>
                <a:lnTo>
                  <a:pt x="525780" y="69565"/>
                </a:lnTo>
                <a:cubicBezTo>
                  <a:pt x="566738" y="89568"/>
                  <a:pt x="620078" y="132430"/>
                  <a:pt x="638175" y="221013"/>
                </a:cubicBezTo>
                <a:lnTo>
                  <a:pt x="590550" y="229585"/>
                </a:lnTo>
                <a:close/>
              </a:path>
            </a:pathLst>
          </a:custGeom>
          <a:solidFill>
            <a:schemeClr val="bg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nvGrpSpPr>
          <p:cNvPr id="84" name="Graphic 1">
            <a:extLst>
              <a:ext uri="{FF2B5EF4-FFF2-40B4-BE49-F238E27FC236}">
                <a16:creationId xmlns:a16="http://schemas.microsoft.com/office/drawing/2014/main" id="{4AE18C96-FC75-4AE8-BB01-B3125F3C43B8}"/>
              </a:ext>
            </a:extLst>
          </p:cNvPr>
          <p:cNvGrpSpPr/>
          <p:nvPr/>
        </p:nvGrpSpPr>
        <p:grpSpPr>
          <a:xfrm>
            <a:off x="4106230" y="5474184"/>
            <a:ext cx="398026" cy="397566"/>
            <a:chOff x="3634739" y="2474595"/>
            <a:chExt cx="822007" cy="821054"/>
          </a:xfrm>
          <a:solidFill>
            <a:schemeClr val="bg2"/>
          </a:solidFill>
        </p:grpSpPr>
        <p:sp>
          <p:nvSpPr>
            <p:cNvPr id="85" name="Freeform: Shape 101">
              <a:extLst>
                <a:ext uri="{FF2B5EF4-FFF2-40B4-BE49-F238E27FC236}">
                  <a16:creationId xmlns:a16="http://schemas.microsoft.com/office/drawing/2014/main" id="{A5BAD0A4-1F4F-46F0-8BE7-9A397B1C01A7}"/>
                </a:ext>
              </a:extLst>
            </p:cNvPr>
            <p:cNvSpPr/>
            <p:nvPr/>
          </p:nvSpPr>
          <p:spPr>
            <a:xfrm>
              <a:off x="3672702" y="2474595"/>
              <a:ext cx="784044" cy="784044"/>
            </a:xfrm>
            <a:custGeom>
              <a:avLst/>
              <a:gdLst>
                <a:gd name="connsiteX0" fmla="*/ 784045 w 784044"/>
                <a:gd name="connsiteY0" fmla="*/ 0 h 784044"/>
                <a:gd name="connsiteX1" fmla="*/ 584020 w 784044"/>
                <a:gd name="connsiteY1" fmla="*/ 683895 h 784044"/>
                <a:gd name="connsiteX2" fmla="*/ 115390 w 784044"/>
                <a:gd name="connsiteY2" fmla="*/ 698183 h 784044"/>
                <a:gd name="connsiteX3" fmla="*/ 180160 w 784044"/>
                <a:gd name="connsiteY3" fmla="*/ 633413 h 784044"/>
                <a:gd name="connsiteX4" fmla="*/ 387805 w 784044"/>
                <a:gd name="connsiteY4" fmla="*/ 609600 h 784044"/>
                <a:gd name="connsiteX5" fmla="*/ 383042 w 784044"/>
                <a:gd name="connsiteY5" fmla="*/ 568643 h 784044"/>
                <a:gd name="connsiteX6" fmla="*/ 226832 w 784044"/>
                <a:gd name="connsiteY6" fmla="*/ 586740 h 784044"/>
                <a:gd name="connsiteX7" fmla="*/ 302080 w 784044"/>
                <a:gd name="connsiteY7" fmla="*/ 511492 h 784044"/>
                <a:gd name="connsiteX8" fmla="*/ 509725 w 784044"/>
                <a:gd name="connsiteY8" fmla="*/ 487680 h 784044"/>
                <a:gd name="connsiteX9" fmla="*/ 504962 w 784044"/>
                <a:gd name="connsiteY9" fmla="*/ 446722 h 784044"/>
                <a:gd name="connsiteX10" fmla="*/ 348752 w 784044"/>
                <a:gd name="connsiteY10" fmla="*/ 464820 h 784044"/>
                <a:gd name="connsiteX11" fmla="*/ 504962 w 784044"/>
                <a:gd name="connsiteY11" fmla="*/ 308610 h 784044"/>
                <a:gd name="connsiteX12" fmla="*/ 475435 w 784044"/>
                <a:gd name="connsiteY12" fmla="*/ 279083 h 784044"/>
                <a:gd name="connsiteX13" fmla="*/ 323035 w 784044"/>
                <a:gd name="connsiteY13" fmla="*/ 431483 h 784044"/>
                <a:gd name="connsiteX14" fmla="*/ 344942 w 784044"/>
                <a:gd name="connsiteY14" fmla="*/ 293370 h 784044"/>
                <a:gd name="connsiteX15" fmla="*/ 303985 w 784044"/>
                <a:gd name="connsiteY15" fmla="*/ 286702 h 784044"/>
                <a:gd name="connsiteX16" fmla="*/ 273505 w 784044"/>
                <a:gd name="connsiteY16" fmla="*/ 481013 h 784044"/>
                <a:gd name="connsiteX17" fmla="*/ 201115 w 784044"/>
                <a:gd name="connsiteY17" fmla="*/ 553402 h 784044"/>
                <a:gd name="connsiteX18" fmla="*/ 223022 w 784044"/>
                <a:gd name="connsiteY18" fmla="*/ 415290 h 784044"/>
                <a:gd name="connsiteX19" fmla="*/ 182065 w 784044"/>
                <a:gd name="connsiteY19" fmla="*/ 408622 h 784044"/>
                <a:gd name="connsiteX20" fmla="*/ 151585 w 784044"/>
                <a:gd name="connsiteY20" fmla="*/ 602933 h 784044"/>
                <a:gd name="connsiteX21" fmla="*/ 85862 w 784044"/>
                <a:gd name="connsiteY21" fmla="*/ 668655 h 784044"/>
                <a:gd name="connsiteX22" fmla="*/ 100150 w 784044"/>
                <a:gd name="connsiteY22" fmla="*/ 200025 h 784044"/>
                <a:gd name="connsiteX23" fmla="*/ 784045 w 784044"/>
                <a:gd name="connsiteY23" fmla="*/ 0 h 784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784044" h="784044">
                  <a:moveTo>
                    <a:pt x="784045" y="0"/>
                  </a:moveTo>
                  <a:cubicBezTo>
                    <a:pt x="784045" y="0"/>
                    <a:pt x="717370" y="549593"/>
                    <a:pt x="584020" y="683895"/>
                  </a:cubicBezTo>
                  <a:cubicBezTo>
                    <a:pt x="455432" y="812483"/>
                    <a:pt x="249692" y="817245"/>
                    <a:pt x="115390" y="698183"/>
                  </a:cubicBezTo>
                  <a:lnTo>
                    <a:pt x="180160" y="633413"/>
                  </a:lnTo>
                  <a:lnTo>
                    <a:pt x="387805" y="609600"/>
                  </a:lnTo>
                  <a:lnTo>
                    <a:pt x="383042" y="568643"/>
                  </a:lnTo>
                  <a:lnTo>
                    <a:pt x="226832" y="586740"/>
                  </a:lnTo>
                  <a:lnTo>
                    <a:pt x="302080" y="511492"/>
                  </a:lnTo>
                  <a:lnTo>
                    <a:pt x="509725" y="487680"/>
                  </a:lnTo>
                  <a:lnTo>
                    <a:pt x="504962" y="446722"/>
                  </a:lnTo>
                  <a:lnTo>
                    <a:pt x="348752" y="464820"/>
                  </a:lnTo>
                  <a:lnTo>
                    <a:pt x="504962" y="308610"/>
                  </a:lnTo>
                  <a:lnTo>
                    <a:pt x="475435" y="279083"/>
                  </a:lnTo>
                  <a:lnTo>
                    <a:pt x="323035" y="431483"/>
                  </a:lnTo>
                  <a:lnTo>
                    <a:pt x="344942" y="293370"/>
                  </a:lnTo>
                  <a:lnTo>
                    <a:pt x="303985" y="286702"/>
                  </a:lnTo>
                  <a:lnTo>
                    <a:pt x="273505" y="481013"/>
                  </a:lnTo>
                  <a:lnTo>
                    <a:pt x="201115" y="553402"/>
                  </a:lnTo>
                  <a:lnTo>
                    <a:pt x="223022" y="415290"/>
                  </a:lnTo>
                  <a:lnTo>
                    <a:pt x="182065" y="408622"/>
                  </a:lnTo>
                  <a:lnTo>
                    <a:pt x="151585" y="602933"/>
                  </a:lnTo>
                  <a:lnTo>
                    <a:pt x="85862" y="668655"/>
                  </a:lnTo>
                  <a:cubicBezTo>
                    <a:pt x="-33200" y="534352"/>
                    <a:pt x="-28438" y="328613"/>
                    <a:pt x="100150" y="200025"/>
                  </a:cubicBezTo>
                  <a:cubicBezTo>
                    <a:pt x="233500" y="66675"/>
                    <a:pt x="784045" y="0"/>
                    <a:pt x="784045" y="0"/>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86" name="Freeform: Shape 102">
              <a:extLst>
                <a:ext uri="{FF2B5EF4-FFF2-40B4-BE49-F238E27FC236}">
                  <a16:creationId xmlns:a16="http://schemas.microsoft.com/office/drawing/2014/main" id="{E0E04067-E827-4670-86E3-8049782DA393}"/>
                </a:ext>
              </a:extLst>
            </p:cNvPr>
            <p:cNvSpPr/>
            <p:nvPr/>
          </p:nvSpPr>
          <p:spPr>
            <a:xfrm>
              <a:off x="3634739" y="3143250"/>
              <a:ext cx="153352" cy="152400"/>
            </a:xfrm>
            <a:custGeom>
              <a:avLst/>
              <a:gdLst>
                <a:gd name="connsiteX0" fmla="*/ 153353 w 153352"/>
                <a:gd name="connsiteY0" fmla="*/ 29528 h 152400"/>
                <a:gd name="connsiteX1" fmla="*/ 29527 w 153352"/>
                <a:gd name="connsiteY1" fmla="*/ 152400 h 152400"/>
                <a:gd name="connsiteX2" fmla="*/ 0 w 153352"/>
                <a:gd name="connsiteY2" fmla="*/ 122872 h 152400"/>
                <a:gd name="connsiteX3" fmla="*/ 122872 w 153352"/>
                <a:gd name="connsiteY3" fmla="*/ 0 h 152400"/>
                <a:gd name="connsiteX4" fmla="*/ 137160 w 153352"/>
                <a:gd name="connsiteY4" fmla="*/ 15240 h 152400"/>
                <a:gd name="connsiteX5" fmla="*/ 153353 w 153352"/>
                <a:gd name="connsiteY5" fmla="*/ 29528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3352" h="152400">
                  <a:moveTo>
                    <a:pt x="153353" y="29528"/>
                  </a:moveTo>
                  <a:lnTo>
                    <a:pt x="29527" y="152400"/>
                  </a:lnTo>
                  <a:lnTo>
                    <a:pt x="0" y="122872"/>
                  </a:lnTo>
                  <a:lnTo>
                    <a:pt x="122872" y="0"/>
                  </a:lnTo>
                  <a:cubicBezTo>
                    <a:pt x="127635" y="4763"/>
                    <a:pt x="132397" y="10478"/>
                    <a:pt x="137160" y="15240"/>
                  </a:cubicBezTo>
                  <a:cubicBezTo>
                    <a:pt x="142875" y="20003"/>
                    <a:pt x="147638" y="24765"/>
                    <a:pt x="153353" y="2952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grpSp>
        <p:nvGrpSpPr>
          <p:cNvPr id="87" name="Graphic 1">
            <a:extLst>
              <a:ext uri="{FF2B5EF4-FFF2-40B4-BE49-F238E27FC236}">
                <a16:creationId xmlns:a16="http://schemas.microsoft.com/office/drawing/2014/main" id="{98BA505C-D1FF-4F55-9C2A-F51470BBA764}"/>
              </a:ext>
            </a:extLst>
          </p:cNvPr>
          <p:cNvGrpSpPr/>
          <p:nvPr/>
        </p:nvGrpSpPr>
        <p:grpSpPr>
          <a:xfrm>
            <a:off x="3662680" y="3943016"/>
            <a:ext cx="523478" cy="420166"/>
            <a:chOff x="6348412" y="2426970"/>
            <a:chExt cx="1081087" cy="867727"/>
          </a:xfrm>
          <a:solidFill>
            <a:schemeClr val="bg2"/>
          </a:solidFill>
        </p:grpSpPr>
        <p:grpSp>
          <p:nvGrpSpPr>
            <p:cNvPr id="88" name="Graphic 1">
              <a:extLst>
                <a:ext uri="{FF2B5EF4-FFF2-40B4-BE49-F238E27FC236}">
                  <a16:creationId xmlns:a16="http://schemas.microsoft.com/office/drawing/2014/main" id="{69DEFB26-1256-462C-BB27-D0C23E7D2C60}"/>
                </a:ext>
              </a:extLst>
            </p:cNvPr>
            <p:cNvGrpSpPr/>
            <p:nvPr/>
          </p:nvGrpSpPr>
          <p:grpSpPr>
            <a:xfrm>
              <a:off x="6348412" y="2426970"/>
              <a:ext cx="1081087" cy="529589"/>
              <a:chOff x="6348412" y="2426970"/>
              <a:chExt cx="1081087" cy="529589"/>
            </a:xfrm>
            <a:grpFill/>
          </p:grpSpPr>
          <p:sp>
            <p:nvSpPr>
              <p:cNvPr id="90" name="Freeform: Shape 106">
                <a:extLst>
                  <a:ext uri="{FF2B5EF4-FFF2-40B4-BE49-F238E27FC236}">
                    <a16:creationId xmlns:a16="http://schemas.microsoft.com/office/drawing/2014/main" id="{F00D025E-E59F-40AD-979D-C3EC3CACDC6C}"/>
                  </a:ext>
                </a:extLst>
              </p:cNvPr>
              <p:cNvSpPr/>
              <p:nvPr/>
            </p:nvSpPr>
            <p:spPr>
              <a:xfrm>
                <a:off x="6348412" y="2426970"/>
                <a:ext cx="463867" cy="333375"/>
              </a:xfrm>
              <a:custGeom>
                <a:avLst/>
                <a:gdLst>
                  <a:gd name="connsiteX0" fmla="*/ 442913 w 463867"/>
                  <a:gd name="connsiteY0" fmla="*/ 189547 h 333375"/>
                  <a:gd name="connsiteX1" fmla="*/ 462915 w 463867"/>
                  <a:gd name="connsiteY1" fmla="*/ 194310 h 333375"/>
                  <a:gd name="connsiteX2" fmla="*/ 299085 w 463867"/>
                  <a:gd name="connsiteY2" fmla="*/ 333375 h 333375"/>
                  <a:gd name="connsiteX3" fmla="*/ 22860 w 463867"/>
                  <a:gd name="connsiteY3" fmla="*/ 184785 h 333375"/>
                  <a:gd name="connsiteX4" fmla="*/ 0 w 463867"/>
                  <a:gd name="connsiteY4" fmla="*/ 166688 h 333375"/>
                  <a:gd name="connsiteX5" fmla="*/ 22860 w 463867"/>
                  <a:gd name="connsiteY5" fmla="*/ 148590 h 333375"/>
                  <a:gd name="connsiteX6" fmla="*/ 299085 w 463867"/>
                  <a:gd name="connsiteY6" fmla="*/ 0 h 333375"/>
                  <a:gd name="connsiteX7" fmla="*/ 463868 w 463867"/>
                  <a:gd name="connsiteY7" fmla="*/ 146685 h 333375"/>
                  <a:gd name="connsiteX8" fmla="*/ 442913 w 463867"/>
                  <a:gd name="connsiteY8" fmla="*/ 143827 h 333375"/>
                  <a:gd name="connsiteX9" fmla="*/ 293370 w 463867"/>
                  <a:gd name="connsiteY9" fmla="*/ 143827 h 333375"/>
                  <a:gd name="connsiteX10" fmla="*/ 293370 w 463867"/>
                  <a:gd name="connsiteY10" fmla="*/ 189547 h 333375"/>
                  <a:gd name="connsiteX11" fmla="*/ 442913 w 463867"/>
                  <a:gd name="connsiteY11" fmla="*/ 189547 h 333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63867" h="333375">
                    <a:moveTo>
                      <a:pt x="442913" y="189547"/>
                    </a:moveTo>
                    <a:cubicBezTo>
                      <a:pt x="450532" y="189547"/>
                      <a:pt x="457200" y="191452"/>
                      <a:pt x="462915" y="194310"/>
                    </a:cubicBezTo>
                    <a:cubicBezTo>
                      <a:pt x="449580" y="273367"/>
                      <a:pt x="381000" y="333375"/>
                      <a:pt x="299085" y="333375"/>
                    </a:cubicBezTo>
                    <a:cubicBezTo>
                      <a:pt x="214313" y="333375"/>
                      <a:pt x="41910" y="200025"/>
                      <a:pt x="22860" y="184785"/>
                    </a:cubicBezTo>
                    <a:lnTo>
                      <a:pt x="0" y="166688"/>
                    </a:lnTo>
                    <a:lnTo>
                      <a:pt x="22860" y="148590"/>
                    </a:lnTo>
                    <a:cubicBezTo>
                      <a:pt x="41910" y="133350"/>
                      <a:pt x="215265" y="0"/>
                      <a:pt x="299085" y="0"/>
                    </a:cubicBezTo>
                    <a:cubicBezTo>
                      <a:pt x="383857" y="0"/>
                      <a:pt x="454343" y="63817"/>
                      <a:pt x="463868" y="146685"/>
                    </a:cubicBezTo>
                    <a:cubicBezTo>
                      <a:pt x="457200" y="144780"/>
                      <a:pt x="449580" y="143827"/>
                      <a:pt x="442913" y="143827"/>
                    </a:cubicBezTo>
                    <a:lnTo>
                      <a:pt x="293370" y="143827"/>
                    </a:lnTo>
                    <a:lnTo>
                      <a:pt x="293370" y="189547"/>
                    </a:lnTo>
                    <a:lnTo>
                      <a:pt x="442913" y="189547"/>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91" name="Freeform: Shape 107">
                <a:extLst>
                  <a:ext uri="{FF2B5EF4-FFF2-40B4-BE49-F238E27FC236}">
                    <a16:creationId xmlns:a16="http://schemas.microsoft.com/office/drawing/2014/main" id="{D13C14D7-274E-4D25-95F2-E8477A7F7F32}"/>
                  </a:ext>
                </a:extLst>
              </p:cNvPr>
              <p:cNvSpPr/>
              <p:nvPr/>
            </p:nvSpPr>
            <p:spPr>
              <a:xfrm>
                <a:off x="7052309" y="2685097"/>
                <a:ext cx="377189" cy="271462"/>
              </a:xfrm>
              <a:custGeom>
                <a:avLst/>
                <a:gdLst>
                  <a:gd name="connsiteX0" fmla="*/ 377190 w 377189"/>
                  <a:gd name="connsiteY0" fmla="*/ 135255 h 271462"/>
                  <a:gd name="connsiteX1" fmla="*/ 354330 w 377189"/>
                  <a:gd name="connsiteY1" fmla="*/ 153353 h 271462"/>
                  <a:gd name="connsiteX2" fmla="*/ 133350 w 377189"/>
                  <a:gd name="connsiteY2" fmla="*/ 271463 h 271462"/>
                  <a:gd name="connsiteX3" fmla="*/ 0 w 377189"/>
                  <a:gd name="connsiteY3" fmla="*/ 160973 h 271462"/>
                  <a:gd name="connsiteX4" fmla="*/ 28575 w 377189"/>
                  <a:gd name="connsiteY4" fmla="*/ 158115 h 271462"/>
                  <a:gd name="connsiteX5" fmla="*/ 155257 w 377189"/>
                  <a:gd name="connsiteY5" fmla="*/ 158115 h 271462"/>
                  <a:gd name="connsiteX6" fmla="*/ 155257 w 377189"/>
                  <a:gd name="connsiteY6" fmla="*/ 112395 h 271462"/>
                  <a:gd name="connsiteX7" fmla="*/ 29527 w 377189"/>
                  <a:gd name="connsiteY7" fmla="*/ 112395 h 271462"/>
                  <a:gd name="connsiteX8" fmla="*/ 0 w 377189"/>
                  <a:gd name="connsiteY8" fmla="*/ 115253 h 271462"/>
                  <a:gd name="connsiteX9" fmla="*/ 134302 w 377189"/>
                  <a:gd name="connsiteY9" fmla="*/ 0 h 271462"/>
                  <a:gd name="connsiteX10" fmla="*/ 355282 w 377189"/>
                  <a:gd name="connsiteY10" fmla="*/ 118110 h 271462"/>
                  <a:gd name="connsiteX11" fmla="*/ 377190 w 377189"/>
                  <a:gd name="connsiteY11" fmla="*/ 135255 h 2714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77189" h="271462">
                    <a:moveTo>
                      <a:pt x="377190" y="135255"/>
                    </a:moveTo>
                    <a:lnTo>
                      <a:pt x="354330" y="153353"/>
                    </a:lnTo>
                    <a:cubicBezTo>
                      <a:pt x="339090" y="165735"/>
                      <a:pt x="201930" y="271463"/>
                      <a:pt x="133350" y="271463"/>
                    </a:cubicBezTo>
                    <a:cubicBezTo>
                      <a:pt x="67627" y="271463"/>
                      <a:pt x="12382" y="223838"/>
                      <a:pt x="0" y="160973"/>
                    </a:cubicBezTo>
                    <a:cubicBezTo>
                      <a:pt x="8572" y="159068"/>
                      <a:pt x="18097" y="158115"/>
                      <a:pt x="28575" y="158115"/>
                    </a:cubicBezTo>
                    <a:lnTo>
                      <a:pt x="155257" y="158115"/>
                    </a:lnTo>
                    <a:lnTo>
                      <a:pt x="155257" y="112395"/>
                    </a:lnTo>
                    <a:lnTo>
                      <a:pt x="29527" y="112395"/>
                    </a:lnTo>
                    <a:cubicBezTo>
                      <a:pt x="19050" y="112395"/>
                      <a:pt x="9525" y="113348"/>
                      <a:pt x="0" y="115253"/>
                    </a:cubicBezTo>
                    <a:cubicBezTo>
                      <a:pt x="9525" y="49530"/>
                      <a:pt x="66675" y="0"/>
                      <a:pt x="134302" y="0"/>
                    </a:cubicBezTo>
                    <a:cubicBezTo>
                      <a:pt x="202882" y="0"/>
                      <a:pt x="340042" y="105728"/>
                      <a:pt x="355282" y="118110"/>
                    </a:cubicBezTo>
                    <a:lnTo>
                      <a:pt x="377190" y="135255"/>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sp>
          <p:nvSpPr>
            <p:cNvPr id="89" name="Freeform: Shape 105">
              <a:extLst>
                <a:ext uri="{FF2B5EF4-FFF2-40B4-BE49-F238E27FC236}">
                  <a16:creationId xmlns:a16="http://schemas.microsoft.com/office/drawing/2014/main" id="{ACCCAF5A-FE42-4F41-A6B4-167BBEE423D6}"/>
                </a:ext>
              </a:extLst>
            </p:cNvPr>
            <p:cNvSpPr/>
            <p:nvPr/>
          </p:nvSpPr>
          <p:spPr>
            <a:xfrm>
              <a:off x="6679881" y="2572702"/>
              <a:ext cx="498157" cy="721994"/>
            </a:xfrm>
            <a:custGeom>
              <a:avLst/>
              <a:gdLst>
                <a:gd name="connsiteX0" fmla="*/ 272415 w 498157"/>
                <a:gd name="connsiteY0" fmla="*/ 452438 h 721994"/>
                <a:gd name="connsiteX1" fmla="*/ 324803 w 498157"/>
                <a:gd name="connsiteY1" fmla="*/ 300990 h 721994"/>
                <a:gd name="connsiteX2" fmla="*/ 373380 w 498157"/>
                <a:gd name="connsiteY2" fmla="*/ 273367 h 721994"/>
                <a:gd name="connsiteX3" fmla="*/ 370523 w 498157"/>
                <a:gd name="connsiteY3" fmla="*/ 247650 h 721994"/>
                <a:gd name="connsiteX4" fmla="*/ 372428 w 498157"/>
                <a:gd name="connsiteY4" fmla="*/ 227647 h 721994"/>
                <a:gd name="connsiteX5" fmla="*/ 292418 w 498157"/>
                <a:gd name="connsiteY5" fmla="*/ 269557 h 721994"/>
                <a:gd name="connsiteX6" fmla="*/ 265748 w 498157"/>
                <a:gd name="connsiteY6" fmla="*/ 304800 h 721994"/>
                <a:gd name="connsiteX7" fmla="*/ 181928 w 498157"/>
                <a:gd name="connsiteY7" fmla="*/ 29527 h 721994"/>
                <a:gd name="connsiteX8" fmla="*/ 132398 w 498157"/>
                <a:gd name="connsiteY8" fmla="*/ 0 h 721994"/>
                <a:gd name="connsiteX9" fmla="*/ 133350 w 498157"/>
                <a:gd name="connsiteY9" fmla="*/ 20002 h 721994"/>
                <a:gd name="connsiteX10" fmla="*/ 131445 w 498157"/>
                <a:gd name="connsiteY10" fmla="*/ 47625 h 721994"/>
                <a:gd name="connsiteX11" fmla="*/ 149543 w 498157"/>
                <a:gd name="connsiteY11" fmla="*/ 60960 h 721994"/>
                <a:gd name="connsiteX12" fmla="*/ 226695 w 498157"/>
                <a:gd name="connsiteY12" fmla="*/ 451485 h 721994"/>
                <a:gd name="connsiteX13" fmla="*/ 0 w 498157"/>
                <a:gd name="connsiteY13" fmla="*/ 699135 h 721994"/>
                <a:gd name="connsiteX14" fmla="*/ 0 w 498157"/>
                <a:gd name="connsiteY14" fmla="*/ 721995 h 721994"/>
                <a:gd name="connsiteX15" fmla="*/ 498157 w 498157"/>
                <a:gd name="connsiteY15" fmla="*/ 721995 h 721994"/>
                <a:gd name="connsiteX16" fmla="*/ 498157 w 498157"/>
                <a:gd name="connsiteY16" fmla="*/ 699135 h 721994"/>
                <a:gd name="connsiteX17" fmla="*/ 272415 w 498157"/>
                <a:gd name="connsiteY17" fmla="*/ 452438 h 721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98157" h="721994">
                  <a:moveTo>
                    <a:pt x="272415" y="452438"/>
                  </a:moveTo>
                  <a:cubicBezTo>
                    <a:pt x="274320" y="416242"/>
                    <a:pt x="283845" y="342900"/>
                    <a:pt x="324803" y="300990"/>
                  </a:cubicBezTo>
                  <a:cubicBezTo>
                    <a:pt x="339090" y="286702"/>
                    <a:pt x="354330" y="277177"/>
                    <a:pt x="373380" y="273367"/>
                  </a:cubicBezTo>
                  <a:cubicBezTo>
                    <a:pt x="371475" y="264795"/>
                    <a:pt x="370523" y="256222"/>
                    <a:pt x="370523" y="247650"/>
                  </a:cubicBezTo>
                  <a:cubicBezTo>
                    <a:pt x="370523" y="240982"/>
                    <a:pt x="371475" y="234315"/>
                    <a:pt x="372428" y="227647"/>
                  </a:cubicBezTo>
                  <a:cubicBezTo>
                    <a:pt x="340995" y="233363"/>
                    <a:pt x="314325" y="247650"/>
                    <a:pt x="292418" y="269557"/>
                  </a:cubicBezTo>
                  <a:cubicBezTo>
                    <a:pt x="281940" y="280035"/>
                    <a:pt x="273368" y="292417"/>
                    <a:pt x="265748" y="304800"/>
                  </a:cubicBezTo>
                  <a:cubicBezTo>
                    <a:pt x="256223" y="202882"/>
                    <a:pt x="234315" y="83820"/>
                    <a:pt x="181928" y="29527"/>
                  </a:cubicBezTo>
                  <a:cubicBezTo>
                    <a:pt x="167640" y="14288"/>
                    <a:pt x="150495" y="4763"/>
                    <a:pt x="132398" y="0"/>
                  </a:cubicBezTo>
                  <a:cubicBezTo>
                    <a:pt x="133350" y="6667"/>
                    <a:pt x="133350" y="13335"/>
                    <a:pt x="133350" y="20002"/>
                  </a:cubicBezTo>
                  <a:cubicBezTo>
                    <a:pt x="133350" y="29527"/>
                    <a:pt x="132398" y="38100"/>
                    <a:pt x="131445" y="47625"/>
                  </a:cubicBezTo>
                  <a:cubicBezTo>
                    <a:pt x="137160" y="50482"/>
                    <a:pt x="143828" y="55245"/>
                    <a:pt x="149543" y="60960"/>
                  </a:cubicBezTo>
                  <a:cubicBezTo>
                    <a:pt x="214313" y="127635"/>
                    <a:pt x="227648" y="348615"/>
                    <a:pt x="226695" y="451485"/>
                  </a:cubicBezTo>
                  <a:cubicBezTo>
                    <a:pt x="100013" y="462915"/>
                    <a:pt x="0" y="569595"/>
                    <a:pt x="0" y="699135"/>
                  </a:cubicBezTo>
                  <a:lnTo>
                    <a:pt x="0" y="721995"/>
                  </a:lnTo>
                  <a:lnTo>
                    <a:pt x="498157" y="721995"/>
                  </a:lnTo>
                  <a:lnTo>
                    <a:pt x="498157" y="699135"/>
                  </a:lnTo>
                  <a:cubicBezTo>
                    <a:pt x="498157" y="571500"/>
                    <a:pt x="398145" y="464820"/>
                    <a:pt x="272415" y="45243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grpSp>
        <p:nvGrpSpPr>
          <p:cNvPr id="92" name="Graphic 1">
            <a:extLst>
              <a:ext uri="{FF2B5EF4-FFF2-40B4-BE49-F238E27FC236}">
                <a16:creationId xmlns:a16="http://schemas.microsoft.com/office/drawing/2014/main" id="{95F4B2CE-86BD-4697-8BC1-5DC268FF1336}"/>
              </a:ext>
            </a:extLst>
          </p:cNvPr>
          <p:cNvGrpSpPr/>
          <p:nvPr/>
        </p:nvGrpSpPr>
        <p:grpSpPr>
          <a:xfrm>
            <a:off x="8013836" y="5147736"/>
            <a:ext cx="352368" cy="353290"/>
            <a:chOff x="8959214" y="2548890"/>
            <a:chExt cx="727710" cy="729614"/>
          </a:xfrm>
          <a:solidFill>
            <a:schemeClr val="bg2"/>
          </a:solidFill>
        </p:grpSpPr>
        <p:sp>
          <p:nvSpPr>
            <p:cNvPr id="93" name="Freeform: Shape 109">
              <a:extLst>
                <a:ext uri="{FF2B5EF4-FFF2-40B4-BE49-F238E27FC236}">
                  <a16:creationId xmlns:a16="http://schemas.microsoft.com/office/drawing/2014/main" id="{A1A499E9-C984-4FAE-93CB-EE101E77026A}"/>
                </a:ext>
              </a:extLst>
            </p:cNvPr>
            <p:cNvSpPr/>
            <p:nvPr/>
          </p:nvSpPr>
          <p:spPr>
            <a:xfrm>
              <a:off x="8959214" y="3156584"/>
              <a:ext cx="120967" cy="121920"/>
            </a:xfrm>
            <a:custGeom>
              <a:avLst/>
              <a:gdLst>
                <a:gd name="connsiteX0" fmla="*/ 120968 w 120967"/>
                <a:gd name="connsiteY0" fmla="*/ 33338 h 121920"/>
                <a:gd name="connsiteX1" fmla="*/ 33338 w 120967"/>
                <a:gd name="connsiteY1" fmla="*/ 121920 h 121920"/>
                <a:gd name="connsiteX2" fmla="*/ 0 w 120967"/>
                <a:gd name="connsiteY2" fmla="*/ 88583 h 121920"/>
                <a:gd name="connsiteX3" fmla="*/ 87630 w 120967"/>
                <a:gd name="connsiteY3" fmla="*/ 0 h 121920"/>
                <a:gd name="connsiteX4" fmla="*/ 103823 w 120967"/>
                <a:gd name="connsiteY4" fmla="*/ 18098 h 121920"/>
                <a:gd name="connsiteX5" fmla="*/ 120968 w 120967"/>
                <a:gd name="connsiteY5" fmla="*/ 33338 h 121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0967" h="121920">
                  <a:moveTo>
                    <a:pt x="120968" y="33338"/>
                  </a:moveTo>
                  <a:lnTo>
                    <a:pt x="33338" y="121920"/>
                  </a:lnTo>
                  <a:lnTo>
                    <a:pt x="0" y="88583"/>
                  </a:lnTo>
                  <a:lnTo>
                    <a:pt x="87630" y="0"/>
                  </a:lnTo>
                  <a:cubicBezTo>
                    <a:pt x="92393" y="5715"/>
                    <a:pt x="98108" y="12383"/>
                    <a:pt x="103823" y="18098"/>
                  </a:cubicBezTo>
                  <a:cubicBezTo>
                    <a:pt x="109538" y="22860"/>
                    <a:pt x="115253" y="27623"/>
                    <a:pt x="120968" y="3333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nvGrpSpPr>
            <p:cNvPr id="94" name="Graphic 1">
              <a:extLst>
                <a:ext uri="{FF2B5EF4-FFF2-40B4-BE49-F238E27FC236}">
                  <a16:creationId xmlns:a16="http://schemas.microsoft.com/office/drawing/2014/main" id="{A48DD53D-FF84-4F74-9BA4-487D38E11E58}"/>
                </a:ext>
              </a:extLst>
            </p:cNvPr>
            <p:cNvGrpSpPr/>
            <p:nvPr/>
          </p:nvGrpSpPr>
          <p:grpSpPr>
            <a:xfrm>
              <a:off x="8971174" y="2548890"/>
              <a:ext cx="715750" cy="716279"/>
              <a:chOff x="8971174" y="2548890"/>
              <a:chExt cx="715750" cy="716279"/>
            </a:xfrm>
            <a:grpFill/>
          </p:grpSpPr>
          <p:sp>
            <p:nvSpPr>
              <p:cNvPr id="95" name="Freeform: Shape 111">
                <a:extLst>
                  <a:ext uri="{FF2B5EF4-FFF2-40B4-BE49-F238E27FC236}">
                    <a16:creationId xmlns:a16="http://schemas.microsoft.com/office/drawing/2014/main" id="{547D53E3-5555-4782-8FFE-6AE3AFDE2E3E}"/>
                  </a:ext>
                </a:extLst>
              </p:cNvPr>
              <p:cNvSpPr/>
              <p:nvPr/>
            </p:nvSpPr>
            <p:spPr>
              <a:xfrm>
                <a:off x="8971174" y="2548890"/>
                <a:ext cx="715750" cy="716279"/>
              </a:xfrm>
              <a:custGeom>
                <a:avLst/>
                <a:gdLst>
                  <a:gd name="connsiteX0" fmla="*/ 686223 w 715750"/>
                  <a:gd name="connsiteY0" fmla="*/ 3810 h 716279"/>
                  <a:gd name="connsiteX1" fmla="*/ 91863 w 715750"/>
                  <a:gd name="connsiteY1" fmla="*/ 180975 h 716279"/>
                  <a:gd name="connsiteX2" fmla="*/ 75670 w 715750"/>
                  <a:gd name="connsiteY2" fmla="*/ 606743 h 716279"/>
                  <a:gd name="connsiteX3" fmla="*/ 149965 w 715750"/>
                  <a:gd name="connsiteY3" fmla="*/ 532447 h 716279"/>
                  <a:gd name="connsiteX4" fmla="*/ 183303 w 715750"/>
                  <a:gd name="connsiteY4" fmla="*/ 565785 h 716279"/>
                  <a:gd name="connsiteX5" fmla="*/ 109008 w 715750"/>
                  <a:gd name="connsiteY5" fmla="*/ 640080 h 716279"/>
                  <a:gd name="connsiteX6" fmla="*/ 313795 w 715750"/>
                  <a:gd name="connsiteY6" fmla="*/ 716280 h 716279"/>
                  <a:gd name="connsiteX7" fmla="*/ 535728 w 715750"/>
                  <a:gd name="connsiteY7" fmla="*/ 624840 h 716279"/>
                  <a:gd name="connsiteX8" fmla="*/ 711940 w 715750"/>
                  <a:gd name="connsiteY8" fmla="*/ 30480 h 716279"/>
                  <a:gd name="connsiteX9" fmla="*/ 715750 w 715750"/>
                  <a:gd name="connsiteY9" fmla="*/ 0 h 716279"/>
                  <a:gd name="connsiteX10" fmla="*/ 686223 w 715750"/>
                  <a:gd name="connsiteY10" fmla="*/ 3810 h 716279"/>
                  <a:gd name="connsiteX11" fmla="*/ 390948 w 715750"/>
                  <a:gd name="connsiteY11" fmla="*/ 454342 h 716279"/>
                  <a:gd name="connsiteX12" fmla="*/ 303318 w 715750"/>
                  <a:gd name="connsiteY12" fmla="*/ 488632 h 716279"/>
                  <a:gd name="connsiteX13" fmla="*/ 215688 w 715750"/>
                  <a:gd name="connsiteY13" fmla="*/ 455295 h 716279"/>
                  <a:gd name="connsiteX14" fmla="*/ 183303 w 715750"/>
                  <a:gd name="connsiteY14" fmla="*/ 362902 h 716279"/>
                  <a:gd name="connsiteX15" fmla="*/ 194733 w 715750"/>
                  <a:gd name="connsiteY15" fmla="*/ 299085 h 716279"/>
                  <a:gd name="connsiteX16" fmla="*/ 217593 w 715750"/>
                  <a:gd name="connsiteY16" fmla="*/ 264795 h 716279"/>
                  <a:gd name="connsiteX17" fmla="*/ 249978 w 715750"/>
                  <a:gd name="connsiteY17" fmla="*/ 242888 h 716279"/>
                  <a:gd name="connsiteX18" fmla="*/ 303318 w 715750"/>
                  <a:gd name="connsiteY18" fmla="*/ 233363 h 716279"/>
                  <a:gd name="connsiteX19" fmla="*/ 390948 w 715750"/>
                  <a:gd name="connsiteY19" fmla="*/ 267652 h 716279"/>
                  <a:gd name="connsiteX20" fmla="*/ 424286 w 715750"/>
                  <a:gd name="connsiteY20" fmla="*/ 361950 h 716279"/>
                  <a:gd name="connsiteX21" fmla="*/ 390948 w 715750"/>
                  <a:gd name="connsiteY21" fmla="*/ 454342 h 716279"/>
                  <a:gd name="connsiteX22" fmla="*/ 500486 w 715750"/>
                  <a:gd name="connsiteY22" fmla="*/ 500063 h 716279"/>
                  <a:gd name="connsiteX23" fmla="*/ 500486 w 715750"/>
                  <a:gd name="connsiteY23" fmla="*/ 516255 h 716279"/>
                  <a:gd name="connsiteX24" fmla="*/ 439525 w 715750"/>
                  <a:gd name="connsiteY24" fmla="*/ 516255 h 716279"/>
                  <a:gd name="connsiteX25" fmla="*/ 445240 w 715750"/>
                  <a:gd name="connsiteY25" fmla="*/ 499110 h 716279"/>
                  <a:gd name="connsiteX26" fmla="*/ 465243 w 715750"/>
                  <a:gd name="connsiteY26" fmla="*/ 477202 h 716279"/>
                  <a:gd name="connsiteX27" fmla="*/ 479530 w 715750"/>
                  <a:gd name="connsiteY27" fmla="*/ 461963 h 716279"/>
                  <a:gd name="connsiteX28" fmla="*/ 483340 w 715750"/>
                  <a:gd name="connsiteY28" fmla="*/ 451485 h 716279"/>
                  <a:gd name="connsiteX29" fmla="*/ 480483 w 715750"/>
                  <a:gd name="connsiteY29" fmla="*/ 442913 h 716279"/>
                  <a:gd name="connsiteX30" fmla="*/ 471911 w 715750"/>
                  <a:gd name="connsiteY30" fmla="*/ 440055 h 716279"/>
                  <a:gd name="connsiteX31" fmla="*/ 463338 w 715750"/>
                  <a:gd name="connsiteY31" fmla="*/ 442913 h 716279"/>
                  <a:gd name="connsiteX32" fmla="*/ 459528 w 715750"/>
                  <a:gd name="connsiteY32" fmla="*/ 454342 h 716279"/>
                  <a:gd name="connsiteX33" fmla="*/ 442383 w 715750"/>
                  <a:gd name="connsiteY33" fmla="*/ 452438 h 716279"/>
                  <a:gd name="connsiteX34" fmla="*/ 451908 w 715750"/>
                  <a:gd name="connsiteY34" fmla="*/ 431482 h 716279"/>
                  <a:gd name="connsiteX35" fmla="*/ 472863 w 715750"/>
                  <a:gd name="connsiteY35" fmla="*/ 424815 h 716279"/>
                  <a:gd name="connsiteX36" fmla="*/ 493818 w 715750"/>
                  <a:gd name="connsiteY36" fmla="*/ 432435 h 716279"/>
                  <a:gd name="connsiteX37" fmla="*/ 501438 w 715750"/>
                  <a:gd name="connsiteY37" fmla="*/ 450532 h 716279"/>
                  <a:gd name="connsiteX38" fmla="*/ 499533 w 715750"/>
                  <a:gd name="connsiteY38" fmla="*/ 461963 h 716279"/>
                  <a:gd name="connsiteX39" fmla="*/ 492865 w 715750"/>
                  <a:gd name="connsiteY39" fmla="*/ 473392 h 716279"/>
                  <a:gd name="connsiteX40" fmla="*/ 481436 w 715750"/>
                  <a:gd name="connsiteY40" fmla="*/ 484822 h 716279"/>
                  <a:gd name="connsiteX41" fmla="*/ 470958 w 715750"/>
                  <a:gd name="connsiteY41" fmla="*/ 495300 h 716279"/>
                  <a:gd name="connsiteX42" fmla="*/ 467148 w 715750"/>
                  <a:gd name="connsiteY42" fmla="*/ 500063 h 716279"/>
                  <a:gd name="connsiteX43" fmla="*/ 500486 w 715750"/>
                  <a:gd name="connsiteY43" fmla="*/ 500063 h 716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715750" h="716279">
                    <a:moveTo>
                      <a:pt x="686223" y="3810"/>
                    </a:moveTo>
                    <a:cubicBezTo>
                      <a:pt x="667173" y="6667"/>
                      <a:pt x="209973" y="62865"/>
                      <a:pt x="91863" y="180975"/>
                    </a:cubicBezTo>
                    <a:cubicBezTo>
                      <a:pt x="-25295" y="297180"/>
                      <a:pt x="-30057" y="483870"/>
                      <a:pt x="75670" y="606743"/>
                    </a:cubicBezTo>
                    <a:lnTo>
                      <a:pt x="149965" y="532447"/>
                    </a:lnTo>
                    <a:lnTo>
                      <a:pt x="183303" y="565785"/>
                    </a:lnTo>
                    <a:lnTo>
                      <a:pt x="109008" y="640080"/>
                    </a:lnTo>
                    <a:cubicBezTo>
                      <a:pt x="168063" y="690563"/>
                      <a:pt x="240453" y="716280"/>
                      <a:pt x="313795" y="716280"/>
                    </a:cubicBezTo>
                    <a:cubicBezTo>
                      <a:pt x="393805" y="716280"/>
                      <a:pt x="474768" y="685800"/>
                      <a:pt x="535728" y="624840"/>
                    </a:cubicBezTo>
                    <a:cubicBezTo>
                      <a:pt x="653838" y="506730"/>
                      <a:pt x="710036" y="50482"/>
                      <a:pt x="711940" y="30480"/>
                    </a:cubicBezTo>
                    <a:lnTo>
                      <a:pt x="715750" y="0"/>
                    </a:lnTo>
                    <a:lnTo>
                      <a:pt x="686223" y="3810"/>
                    </a:lnTo>
                    <a:close/>
                    <a:moveTo>
                      <a:pt x="390948" y="454342"/>
                    </a:moveTo>
                    <a:cubicBezTo>
                      <a:pt x="369040" y="477202"/>
                      <a:pt x="340465" y="488632"/>
                      <a:pt x="303318" y="488632"/>
                    </a:cubicBezTo>
                    <a:cubicBezTo>
                      <a:pt x="266170" y="488632"/>
                      <a:pt x="237595" y="477202"/>
                      <a:pt x="215688" y="455295"/>
                    </a:cubicBezTo>
                    <a:cubicBezTo>
                      <a:pt x="193780" y="432435"/>
                      <a:pt x="183303" y="401955"/>
                      <a:pt x="183303" y="362902"/>
                    </a:cubicBezTo>
                    <a:cubicBezTo>
                      <a:pt x="183303" y="338138"/>
                      <a:pt x="187113" y="316230"/>
                      <a:pt x="194733" y="299085"/>
                    </a:cubicBezTo>
                    <a:cubicBezTo>
                      <a:pt x="200448" y="286702"/>
                      <a:pt x="208068" y="275272"/>
                      <a:pt x="217593" y="264795"/>
                    </a:cubicBezTo>
                    <a:cubicBezTo>
                      <a:pt x="227118" y="254317"/>
                      <a:pt x="237595" y="247650"/>
                      <a:pt x="249978" y="242888"/>
                    </a:cubicBezTo>
                    <a:cubicBezTo>
                      <a:pt x="265218" y="236220"/>
                      <a:pt x="283315" y="233363"/>
                      <a:pt x="303318" y="233363"/>
                    </a:cubicBezTo>
                    <a:cubicBezTo>
                      <a:pt x="339513" y="233363"/>
                      <a:pt x="369040" y="244792"/>
                      <a:pt x="390948" y="267652"/>
                    </a:cubicBezTo>
                    <a:cubicBezTo>
                      <a:pt x="412855" y="290513"/>
                      <a:pt x="424286" y="321945"/>
                      <a:pt x="424286" y="361950"/>
                    </a:cubicBezTo>
                    <a:cubicBezTo>
                      <a:pt x="423333" y="400050"/>
                      <a:pt x="412855" y="431482"/>
                      <a:pt x="390948" y="454342"/>
                    </a:cubicBezTo>
                    <a:close/>
                    <a:moveTo>
                      <a:pt x="500486" y="500063"/>
                    </a:moveTo>
                    <a:lnTo>
                      <a:pt x="500486" y="516255"/>
                    </a:lnTo>
                    <a:lnTo>
                      <a:pt x="439525" y="516255"/>
                    </a:lnTo>
                    <a:cubicBezTo>
                      <a:pt x="440478" y="510540"/>
                      <a:pt x="442383" y="503872"/>
                      <a:pt x="445240" y="499110"/>
                    </a:cubicBezTo>
                    <a:cubicBezTo>
                      <a:pt x="448098" y="493395"/>
                      <a:pt x="454765" y="486727"/>
                      <a:pt x="465243" y="477202"/>
                    </a:cubicBezTo>
                    <a:cubicBezTo>
                      <a:pt x="472863" y="469582"/>
                      <a:pt x="477625" y="464820"/>
                      <a:pt x="479530" y="461963"/>
                    </a:cubicBezTo>
                    <a:cubicBezTo>
                      <a:pt x="482388" y="458152"/>
                      <a:pt x="483340" y="454342"/>
                      <a:pt x="483340" y="451485"/>
                    </a:cubicBezTo>
                    <a:cubicBezTo>
                      <a:pt x="483340" y="447675"/>
                      <a:pt x="482388" y="444817"/>
                      <a:pt x="480483" y="442913"/>
                    </a:cubicBezTo>
                    <a:cubicBezTo>
                      <a:pt x="478578" y="441007"/>
                      <a:pt x="475720" y="440055"/>
                      <a:pt x="471911" y="440055"/>
                    </a:cubicBezTo>
                    <a:cubicBezTo>
                      <a:pt x="468100" y="440055"/>
                      <a:pt x="465243" y="441007"/>
                      <a:pt x="463338" y="442913"/>
                    </a:cubicBezTo>
                    <a:cubicBezTo>
                      <a:pt x="461433" y="444817"/>
                      <a:pt x="459528" y="448627"/>
                      <a:pt x="459528" y="454342"/>
                    </a:cubicBezTo>
                    <a:lnTo>
                      <a:pt x="442383" y="452438"/>
                    </a:lnTo>
                    <a:cubicBezTo>
                      <a:pt x="443336" y="442913"/>
                      <a:pt x="447145" y="436245"/>
                      <a:pt x="451908" y="431482"/>
                    </a:cubicBezTo>
                    <a:cubicBezTo>
                      <a:pt x="456670" y="426720"/>
                      <a:pt x="464290" y="424815"/>
                      <a:pt x="472863" y="424815"/>
                    </a:cubicBezTo>
                    <a:cubicBezTo>
                      <a:pt x="481436" y="424815"/>
                      <a:pt x="489055" y="427672"/>
                      <a:pt x="493818" y="432435"/>
                    </a:cubicBezTo>
                    <a:cubicBezTo>
                      <a:pt x="498580" y="437197"/>
                      <a:pt x="501438" y="442913"/>
                      <a:pt x="501438" y="450532"/>
                    </a:cubicBezTo>
                    <a:cubicBezTo>
                      <a:pt x="501438" y="454342"/>
                      <a:pt x="500486" y="458152"/>
                      <a:pt x="499533" y="461963"/>
                    </a:cubicBezTo>
                    <a:cubicBezTo>
                      <a:pt x="497628" y="465772"/>
                      <a:pt x="495723" y="469582"/>
                      <a:pt x="492865" y="473392"/>
                    </a:cubicBezTo>
                    <a:cubicBezTo>
                      <a:pt x="490961" y="476250"/>
                      <a:pt x="487150" y="480060"/>
                      <a:pt x="481436" y="484822"/>
                    </a:cubicBezTo>
                    <a:cubicBezTo>
                      <a:pt x="475720" y="489585"/>
                      <a:pt x="472863" y="493395"/>
                      <a:pt x="470958" y="495300"/>
                    </a:cubicBezTo>
                    <a:cubicBezTo>
                      <a:pt x="469053" y="497205"/>
                      <a:pt x="468100" y="498157"/>
                      <a:pt x="467148" y="500063"/>
                    </a:cubicBezTo>
                    <a:lnTo>
                      <a:pt x="500486" y="500063"/>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96" name="Freeform: Shape 112">
                <a:extLst>
                  <a:ext uri="{FF2B5EF4-FFF2-40B4-BE49-F238E27FC236}">
                    <a16:creationId xmlns:a16="http://schemas.microsoft.com/office/drawing/2014/main" id="{2D216DCC-C0A3-4E84-B88E-6547D3237D17}"/>
                  </a:ext>
                </a:extLst>
              </p:cNvPr>
              <p:cNvSpPr/>
              <p:nvPr/>
            </p:nvSpPr>
            <p:spPr>
              <a:xfrm>
                <a:off x="9205912" y="2824162"/>
                <a:ext cx="137160" cy="170497"/>
              </a:xfrm>
              <a:custGeom>
                <a:avLst/>
                <a:gdLst>
                  <a:gd name="connsiteX0" fmla="*/ 68580 w 137160"/>
                  <a:gd name="connsiteY0" fmla="*/ 0 h 170497"/>
                  <a:gd name="connsiteX1" fmla="*/ 19050 w 137160"/>
                  <a:gd name="connsiteY1" fmla="*/ 20955 h 170497"/>
                  <a:gd name="connsiteX2" fmla="*/ 0 w 137160"/>
                  <a:gd name="connsiteY2" fmla="*/ 84772 h 170497"/>
                  <a:gd name="connsiteX3" fmla="*/ 19050 w 137160"/>
                  <a:gd name="connsiteY3" fmla="*/ 148590 h 170497"/>
                  <a:gd name="connsiteX4" fmla="*/ 68580 w 137160"/>
                  <a:gd name="connsiteY4" fmla="*/ 170497 h 170497"/>
                  <a:gd name="connsiteX5" fmla="*/ 118110 w 137160"/>
                  <a:gd name="connsiteY5" fmla="*/ 148590 h 170497"/>
                  <a:gd name="connsiteX6" fmla="*/ 137160 w 137160"/>
                  <a:gd name="connsiteY6" fmla="*/ 83820 h 170497"/>
                  <a:gd name="connsiteX7" fmla="*/ 118110 w 137160"/>
                  <a:gd name="connsiteY7" fmla="*/ 20003 h 170497"/>
                  <a:gd name="connsiteX8" fmla="*/ 68580 w 137160"/>
                  <a:gd name="connsiteY8" fmla="*/ 0 h 1704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7160" h="170497">
                    <a:moveTo>
                      <a:pt x="68580" y="0"/>
                    </a:moveTo>
                    <a:cubicBezTo>
                      <a:pt x="47625" y="0"/>
                      <a:pt x="31432" y="6667"/>
                      <a:pt x="19050" y="20955"/>
                    </a:cubicBezTo>
                    <a:cubicBezTo>
                      <a:pt x="6668" y="35242"/>
                      <a:pt x="0" y="56197"/>
                      <a:pt x="0" y="84772"/>
                    </a:cubicBezTo>
                    <a:cubicBezTo>
                      <a:pt x="0" y="112395"/>
                      <a:pt x="6668" y="134303"/>
                      <a:pt x="19050" y="148590"/>
                    </a:cubicBezTo>
                    <a:cubicBezTo>
                      <a:pt x="32385" y="162878"/>
                      <a:pt x="48577" y="170497"/>
                      <a:pt x="68580" y="170497"/>
                    </a:cubicBezTo>
                    <a:cubicBezTo>
                      <a:pt x="88582" y="170497"/>
                      <a:pt x="104775" y="162878"/>
                      <a:pt x="118110" y="148590"/>
                    </a:cubicBezTo>
                    <a:cubicBezTo>
                      <a:pt x="130493" y="134303"/>
                      <a:pt x="137160" y="112395"/>
                      <a:pt x="137160" y="83820"/>
                    </a:cubicBezTo>
                    <a:cubicBezTo>
                      <a:pt x="137160" y="55245"/>
                      <a:pt x="130493" y="34290"/>
                      <a:pt x="118110" y="20003"/>
                    </a:cubicBezTo>
                    <a:cubicBezTo>
                      <a:pt x="105727" y="6667"/>
                      <a:pt x="89535" y="0"/>
                      <a:pt x="68580" y="0"/>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grpSp>
      <p:sp>
        <p:nvSpPr>
          <p:cNvPr id="97" name="TextBox 113">
            <a:extLst>
              <a:ext uri="{FF2B5EF4-FFF2-40B4-BE49-F238E27FC236}">
                <a16:creationId xmlns:a16="http://schemas.microsoft.com/office/drawing/2014/main" id="{04CD5F49-1E32-4CC2-8F29-2A2B130509A5}"/>
              </a:ext>
            </a:extLst>
          </p:cNvPr>
          <p:cNvSpPr txBox="1"/>
          <p:nvPr/>
        </p:nvSpPr>
        <p:spPr>
          <a:xfrm>
            <a:off x="4158770" y="2786394"/>
            <a:ext cx="559769" cy="33855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D" sz="1600" b="1" i="0" u="none" strike="noStrike" kern="1200" cap="none" spc="0" normalizeH="0" baseline="0" noProof="0">
                <a:ln>
                  <a:noFill/>
                </a:ln>
                <a:solidFill>
                  <a:srgbClr val="F0F0F0"/>
                </a:solidFill>
                <a:effectLst/>
                <a:uLnTx/>
                <a:uFillTx/>
                <a:latin typeface="等线 Light" panose="020F0302020204030204"/>
                <a:ea typeface="+mn-ea"/>
                <a:cs typeface="+mn-cs"/>
              </a:rPr>
              <a:t>20%</a:t>
            </a:r>
            <a:endParaRPr kumimoji="0" lang="id-ID" sz="1600" b="1" i="0" u="none" strike="noStrike" kern="1200" cap="none" spc="0" normalizeH="0" baseline="0" noProof="0" dirty="0">
              <a:ln>
                <a:noFill/>
              </a:ln>
              <a:solidFill>
                <a:srgbClr val="F0F0F0"/>
              </a:solidFill>
              <a:effectLst/>
              <a:uLnTx/>
              <a:uFillTx/>
              <a:latin typeface="等线 Light" panose="020F0302020204030204"/>
              <a:ea typeface="+mn-ea"/>
              <a:cs typeface="+mn-cs"/>
            </a:endParaRPr>
          </a:p>
        </p:txBody>
      </p:sp>
      <p:sp>
        <p:nvSpPr>
          <p:cNvPr id="98" name="TextBox 114">
            <a:extLst>
              <a:ext uri="{FF2B5EF4-FFF2-40B4-BE49-F238E27FC236}">
                <a16:creationId xmlns:a16="http://schemas.microsoft.com/office/drawing/2014/main" id="{F5A8668F-DC66-49F4-B4FE-2B965E3741BC}"/>
              </a:ext>
            </a:extLst>
          </p:cNvPr>
          <p:cNvSpPr txBox="1"/>
          <p:nvPr/>
        </p:nvSpPr>
        <p:spPr>
          <a:xfrm>
            <a:off x="5289382" y="5898326"/>
            <a:ext cx="550152" cy="33855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D" sz="1600" b="1" i="0" u="none" strike="noStrike" kern="1200" cap="none" spc="0" normalizeH="0" baseline="0" noProof="0">
                <a:ln>
                  <a:noFill/>
                </a:ln>
                <a:solidFill>
                  <a:srgbClr val="F0F0F0"/>
                </a:solidFill>
                <a:effectLst/>
                <a:uLnTx/>
                <a:uFillTx/>
                <a:latin typeface="等线 Light" panose="020F0302020204030204"/>
                <a:ea typeface="+mn-ea"/>
                <a:cs typeface="+mn-cs"/>
              </a:rPr>
              <a:t>25%</a:t>
            </a:r>
            <a:endParaRPr kumimoji="0" lang="id-ID" sz="1600" b="1" i="0" u="none" strike="noStrike" kern="1200" cap="none" spc="0" normalizeH="0" baseline="0" noProof="0" dirty="0">
              <a:ln>
                <a:noFill/>
              </a:ln>
              <a:solidFill>
                <a:srgbClr val="F0F0F0"/>
              </a:solidFill>
              <a:effectLst/>
              <a:uLnTx/>
              <a:uFillTx/>
              <a:latin typeface="等线 Light" panose="020F0302020204030204"/>
              <a:ea typeface="+mn-ea"/>
              <a:cs typeface="+mn-cs"/>
            </a:endParaRPr>
          </a:p>
        </p:txBody>
      </p:sp>
      <p:sp>
        <p:nvSpPr>
          <p:cNvPr id="99" name="TextBox 115">
            <a:extLst>
              <a:ext uri="{FF2B5EF4-FFF2-40B4-BE49-F238E27FC236}">
                <a16:creationId xmlns:a16="http://schemas.microsoft.com/office/drawing/2014/main" id="{085D71A8-00C0-46CC-981B-C49C93B19EA6}"/>
              </a:ext>
            </a:extLst>
          </p:cNvPr>
          <p:cNvSpPr txBox="1"/>
          <p:nvPr/>
        </p:nvSpPr>
        <p:spPr>
          <a:xfrm>
            <a:off x="6608304" y="5304517"/>
            <a:ext cx="535723" cy="33855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D" sz="1600" b="1" i="0" u="none" strike="noStrike" kern="1200" cap="none" spc="0" normalizeH="0" baseline="0" noProof="0">
                <a:ln>
                  <a:noFill/>
                </a:ln>
                <a:solidFill>
                  <a:srgbClr val="F0F0F0"/>
                </a:solidFill>
                <a:effectLst/>
                <a:uLnTx/>
                <a:uFillTx/>
                <a:latin typeface="等线 Light" panose="020F0302020204030204"/>
                <a:ea typeface="+mn-ea"/>
                <a:cs typeface="+mn-cs"/>
              </a:rPr>
              <a:t>10%</a:t>
            </a:r>
            <a:endParaRPr kumimoji="0" lang="id-ID" sz="1600" b="1" i="0" u="none" strike="noStrike" kern="1200" cap="none" spc="0" normalizeH="0" baseline="0" noProof="0" dirty="0">
              <a:ln>
                <a:noFill/>
              </a:ln>
              <a:solidFill>
                <a:srgbClr val="F0F0F0"/>
              </a:solidFill>
              <a:effectLst/>
              <a:uLnTx/>
              <a:uFillTx/>
              <a:latin typeface="等线 Light" panose="020F0302020204030204"/>
              <a:ea typeface="+mn-ea"/>
              <a:cs typeface="+mn-cs"/>
            </a:endParaRPr>
          </a:p>
        </p:txBody>
      </p:sp>
      <p:sp>
        <p:nvSpPr>
          <p:cNvPr id="100" name="TextBox 116">
            <a:extLst>
              <a:ext uri="{FF2B5EF4-FFF2-40B4-BE49-F238E27FC236}">
                <a16:creationId xmlns:a16="http://schemas.microsoft.com/office/drawing/2014/main" id="{6413EA39-E790-444E-A86C-0DFDFC61C37A}"/>
              </a:ext>
            </a:extLst>
          </p:cNvPr>
          <p:cNvSpPr txBox="1"/>
          <p:nvPr/>
        </p:nvSpPr>
        <p:spPr>
          <a:xfrm>
            <a:off x="7746793" y="4022830"/>
            <a:ext cx="527710" cy="33855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D" sz="1600" b="1" i="0" u="none" strike="noStrike" kern="1200" cap="none" spc="0" normalizeH="0" baseline="0" noProof="0">
                <a:ln>
                  <a:noFill/>
                </a:ln>
                <a:solidFill>
                  <a:srgbClr val="F0F0F0"/>
                </a:solidFill>
                <a:effectLst/>
                <a:uLnTx/>
                <a:uFillTx/>
                <a:latin typeface="等线 Light" panose="020F0302020204030204"/>
                <a:ea typeface="+mn-ea"/>
                <a:cs typeface="+mn-cs"/>
              </a:rPr>
              <a:t>15%</a:t>
            </a:r>
            <a:endParaRPr kumimoji="0" lang="id-ID" sz="1600" b="1" i="0" u="none" strike="noStrike" kern="1200" cap="none" spc="0" normalizeH="0" baseline="0" noProof="0" dirty="0">
              <a:ln>
                <a:noFill/>
              </a:ln>
              <a:solidFill>
                <a:srgbClr val="F0F0F0"/>
              </a:solidFill>
              <a:effectLst/>
              <a:uLnTx/>
              <a:uFillTx/>
              <a:latin typeface="等线 Light" panose="020F0302020204030204"/>
              <a:ea typeface="+mn-ea"/>
              <a:cs typeface="+mn-cs"/>
            </a:endParaRPr>
          </a:p>
        </p:txBody>
      </p:sp>
      <p:sp>
        <p:nvSpPr>
          <p:cNvPr id="101" name="TextBox 117">
            <a:extLst>
              <a:ext uri="{FF2B5EF4-FFF2-40B4-BE49-F238E27FC236}">
                <a16:creationId xmlns:a16="http://schemas.microsoft.com/office/drawing/2014/main" id="{4C7579F3-6CCF-419A-A0AB-C59715A6F570}"/>
              </a:ext>
            </a:extLst>
          </p:cNvPr>
          <p:cNvSpPr txBox="1"/>
          <p:nvPr/>
        </p:nvSpPr>
        <p:spPr>
          <a:xfrm>
            <a:off x="5579019" y="4209680"/>
            <a:ext cx="559769" cy="33855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D" sz="1600" b="1" i="0" u="none" strike="noStrike" kern="1200" cap="none" spc="0" normalizeH="0" baseline="0" noProof="0">
                <a:ln>
                  <a:noFill/>
                </a:ln>
                <a:solidFill>
                  <a:srgbClr val="F0F0F0"/>
                </a:solidFill>
                <a:effectLst/>
                <a:uLnTx/>
                <a:uFillTx/>
                <a:latin typeface="等线 Light" panose="020F0302020204030204"/>
                <a:ea typeface="+mn-ea"/>
                <a:cs typeface="+mn-cs"/>
              </a:rPr>
              <a:t>30%</a:t>
            </a:r>
            <a:endParaRPr kumimoji="0" lang="id-ID" sz="1600" b="1" i="0" u="none" strike="noStrike" kern="1200" cap="none" spc="0" normalizeH="0" baseline="0" noProof="0" dirty="0">
              <a:ln>
                <a:noFill/>
              </a:ln>
              <a:solidFill>
                <a:srgbClr val="F0F0F0"/>
              </a:solidFill>
              <a:effectLst/>
              <a:uLnTx/>
              <a:uFillTx/>
              <a:latin typeface="等线 Light" panose="020F0302020204030204"/>
              <a:ea typeface="+mn-ea"/>
              <a:cs typeface="+mn-cs"/>
            </a:endParaRPr>
          </a:p>
        </p:txBody>
      </p:sp>
      <p:sp>
        <p:nvSpPr>
          <p:cNvPr id="102" name="Freeform: Shape 118">
            <a:extLst>
              <a:ext uri="{FF2B5EF4-FFF2-40B4-BE49-F238E27FC236}">
                <a16:creationId xmlns:a16="http://schemas.microsoft.com/office/drawing/2014/main" id="{3C7412A7-2E2F-46E4-A0E9-AF5B637BC3E7}"/>
              </a:ext>
            </a:extLst>
          </p:cNvPr>
          <p:cNvSpPr/>
          <p:nvPr/>
        </p:nvSpPr>
        <p:spPr>
          <a:xfrm>
            <a:off x="7337161" y="5708833"/>
            <a:ext cx="224071" cy="224072"/>
          </a:xfrm>
          <a:custGeom>
            <a:avLst/>
            <a:gdLst>
              <a:gd name="connsiteX0" fmla="*/ 217170 w 217169"/>
              <a:gd name="connsiteY0" fmla="*/ 108585 h 217170"/>
              <a:gd name="connsiteX1" fmla="*/ 108585 w 217169"/>
              <a:gd name="connsiteY1" fmla="*/ 217170 h 217170"/>
              <a:gd name="connsiteX2" fmla="*/ 0 w 217169"/>
              <a:gd name="connsiteY2" fmla="*/ 108585 h 217170"/>
              <a:gd name="connsiteX3" fmla="*/ 108585 w 217169"/>
              <a:gd name="connsiteY3" fmla="*/ 0 h 217170"/>
              <a:gd name="connsiteX4" fmla="*/ 217170 w 217169"/>
              <a:gd name="connsiteY4" fmla="*/ 108585 h 217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7169" h="217170">
                <a:moveTo>
                  <a:pt x="217170" y="108585"/>
                </a:moveTo>
                <a:cubicBezTo>
                  <a:pt x="217170" y="168555"/>
                  <a:pt x="168555" y="217170"/>
                  <a:pt x="108585" y="217170"/>
                </a:cubicBezTo>
                <a:cubicBezTo>
                  <a:pt x="48615" y="217170"/>
                  <a:pt x="0" y="168555"/>
                  <a:pt x="0" y="108585"/>
                </a:cubicBezTo>
                <a:cubicBezTo>
                  <a:pt x="0" y="48615"/>
                  <a:pt x="48615" y="0"/>
                  <a:pt x="108585" y="0"/>
                </a:cubicBezTo>
                <a:cubicBezTo>
                  <a:pt x="168555" y="0"/>
                  <a:pt x="217170" y="48615"/>
                  <a:pt x="217170" y="108585"/>
                </a:cubicBezTo>
                <a:close/>
              </a:path>
            </a:pathLst>
          </a:custGeom>
          <a:solidFill>
            <a:schemeClr val="accent6"/>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03" name="Freeform: Shape 119">
            <a:extLst>
              <a:ext uri="{FF2B5EF4-FFF2-40B4-BE49-F238E27FC236}">
                <a16:creationId xmlns:a16="http://schemas.microsoft.com/office/drawing/2014/main" id="{432BB913-9A46-43AC-B656-20682C0DE59C}"/>
              </a:ext>
            </a:extLst>
          </p:cNvPr>
          <p:cNvSpPr/>
          <p:nvPr/>
        </p:nvSpPr>
        <p:spPr>
          <a:xfrm>
            <a:off x="7621400" y="5719237"/>
            <a:ext cx="281073" cy="281072"/>
          </a:xfrm>
          <a:custGeom>
            <a:avLst/>
            <a:gdLst>
              <a:gd name="connsiteX0" fmla="*/ 272415 w 272415"/>
              <a:gd name="connsiteY0" fmla="*/ 136207 h 272415"/>
              <a:gd name="connsiteX1" fmla="*/ 136208 w 272415"/>
              <a:gd name="connsiteY1" fmla="*/ 272415 h 272415"/>
              <a:gd name="connsiteX2" fmla="*/ 0 w 272415"/>
              <a:gd name="connsiteY2" fmla="*/ 136207 h 272415"/>
              <a:gd name="connsiteX3" fmla="*/ 136208 w 272415"/>
              <a:gd name="connsiteY3" fmla="*/ 0 h 272415"/>
              <a:gd name="connsiteX4" fmla="*/ 272415 w 272415"/>
              <a:gd name="connsiteY4" fmla="*/ 136207 h 2724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2415" h="272415">
                <a:moveTo>
                  <a:pt x="272415" y="136207"/>
                </a:moveTo>
                <a:cubicBezTo>
                  <a:pt x="272415" y="211433"/>
                  <a:pt x="211433" y="272415"/>
                  <a:pt x="136208" y="272415"/>
                </a:cubicBezTo>
                <a:cubicBezTo>
                  <a:pt x="60982" y="272415"/>
                  <a:pt x="0" y="211433"/>
                  <a:pt x="0" y="136207"/>
                </a:cubicBezTo>
                <a:cubicBezTo>
                  <a:pt x="0" y="60982"/>
                  <a:pt x="60982" y="0"/>
                  <a:pt x="136208" y="0"/>
                </a:cubicBezTo>
                <a:cubicBezTo>
                  <a:pt x="211433" y="0"/>
                  <a:pt x="272415" y="60982"/>
                  <a:pt x="272415" y="136207"/>
                </a:cubicBezTo>
                <a:close/>
              </a:path>
            </a:pathLst>
          </a:custGeom>
          <a:solidFill>
            <a:schemeClr val="accent6"/>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04" name="Freeform: Shape 120">
            <a:extLst>
              <a:ext uri="{FF2B5EF4-FFF2-40B4-BE49-F238E27FC236}">
                <a16:creationId xmlns:a16="http://schemas.microsoft.com/office/drawing/2014/main" id="{CE31ED95-1C60-4F42-8D46-1782E309E49D}"/>
              </a:ext>
            </a:extLst>
          </p:cNvPr>
          <p:cNvSpPr/>
          <p:nvPr/>
        </p:nvSpPr>
        <p:spPr>
          <a:xfrm>
            <a:off x="7392800" y="5082726"/>
            <a:ext cx="226038" cy="226037"/>
          </a:xfrm>
          <a:custGeom>
            <a:avLst/>
            <a:gdLst>
              <a:gd name="connsiteX0" fmla="*/ 219075 w 219075"/>
              <a:gd name="connsiteY0" fmla="*/ 109537 h 219075"/>
              <a:gd name="connsiteX1" fmla="*/ 109538 w 219075"/>
              <a:gd name="connsiteY1" fmla="*/ 219075 h 219075"/>
              <a:gd name="connsiteX2" fmla="*/ 0 w 219075"/>
              <a:gd name="connsiteY2" fmla="*/ 109537 h 219075"/>
              <a:gd name="connsiteX3" fmla="*/ 109538 w 219075"/>
              <a:gd name="connsiteY3" fmla="*/ 0 h 219075"/>
              <a:gd name="connsiteX4" fmla="*/ 219075 w 219075"/>
              <a:gd name="connsiteY4" fmla="*/ 109537 h 219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9075" h="219075">
                <a:moveTo>
                  <a:pt x="219075" y="109537"/>
                </a:moveTo>
                <a:cubicBezTo>
                  <a:pt x="219075" y="170033"/>
                  <a:pt x="170034" y="219075"/>
                  <a:pt x="109538" y="219075"/>
                </a:cubicBezTo>
                <a:cubicBezTo>
                  <a:pt x="49042" y="219075"/>
                  <a:pt x="0" y="170033"/>
                  <a:pt x="0" y="109537"/>
                </a:cubicBezTo>
                <a:cubicBezTo>
                  <a:pt x="0" y="49042"/>
                  <a:pt x="49042" y="0"/>
                  <a:pt x="109538" y="0"/>
                </a:cubicBezTo>
                <a:cubicBezTo>
                  <a:pt x="170034" y="0"/>
                  <a:pt x="219075" y="49042"/>
                  <a:pt x="219075" y="109537"/>
                </a:cubicBezTo>
                <a:close/>
              </a:path>
            </a:pathLst>
          </a:custGeom>
          <a:solidFill>
            <a:schemeClr val="accent6"/>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05" name="Freeform: Shape 121">
            <a:extLst>
              <a:ext uri="{FF2B5EF4-FFF2-40B4-BE49-F238E27FC236}">
                <a16:creationId xmlns:a16="http://schemas.microsoft.com/office/drawing/2014/main" id="{6806BE74-2492-46F8-94CF-C09F9D89ECE6}"/>
              </a:ext>
            </a:extLst>
          </p:cNvPr>
          <p:cNvSpPr/>
          <p:nvPr/>
        </p:nvSpPr>
        <p:spPr>
          <a:xfrm>
            <a:off x="6392815" y="5900024"/>
            <a:ext cx="226038" cy="226037"/>
          </a:xfrm>
          <a:custGeom>
            <a:avLst/>
            <a:gdLst>
              <a:gd name="connsiteX0" fmla="*/ 219075 w 219075"/>
              <a:gd name="connsiteY0" fmla="*/ 109537 h 219075"/>
              <a:gd name="connsiteX1" fmla="*/ 109538 w 219075"/>
              <a:gd name="connsiteY1" fmla="*/ 219075 h 219075"/>
              <a:gd name="connsiteX2" fmla="*/ 0 w 219075"/>
              <a:gd name="connsiteY2" fmla="*/ 109537 h 219075"/>
              <a:gd name="connsiteX3" fmla="*/ 109538 w 219075"/>
              <a:gd name="connsiteY3" fmla="*/ 0 h 219075"/>
              <a:gd name="connsiteX4" fmla="*/ 219075 w 219075"/>
              <a:gd name="connsiteY4" fmla="*/ 109537 h 219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9075" h="219075">
                <a:moveTo>
                  <a:pt x="219075" y="109537"/>
                </a:moveTo>
                <a:cubicBezTo>
                  <a:pt x="219075" y="170033"/>
                  <a:pt x="170034" y="219075"/>
                  <a:pt x="109538" y="219075"/>
                </a:cubicBezTo>
                <a:cubicBezTo>
                  <a:pt x="49042" y="219075"/>
                  <a:pt x="0" y="170033"/>
                  <a:pt x="0" y="109537"/>
                </a:cubicBezTo>
                <a:cubicBezTo>
                  <a:pt x="0" y="49042"/>
                  <a:pt x="49042" y="0"/>
                  <a:pt x="109538" y="0"/>
                </a:cubicBezTo>
                <a:cubicBezTo>
                  <a:pt x="170034" y="0"/>
                  <a:pt x="219075" y="49042"/>
                  <a:pt x="219075" y="109537"/>
                </a:cubicBezTo>
                <a:close/>
              </a:path>
            </a:pathLst>
          </a:custGeom>
          <a:solidFill>
            <a:schemeClr val="accent6"/>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Tree>
    <p:extLst>
      <p:ext uri="{BB962C8B-B14F-4D97-AF65-F5344CB8AC3E}">
        <p14:creationId xmlns:p14="http://schemas.microsoft.com/office/powerpoint/2010/main" val="4275206938"/>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par>
                          <p:cTn id="8" fill="hold">
                            <p:stCondLst>
                              <p:cond delay="500"/>
                            </p:stCondLst>
                            <p:childTnLst>
                              <p:par>
                                <p:cTn id="9" presetID="22" presetClass="entr" presetSubtype="4" fill="hold" grpId="0" nodeType="afterEffect">
                                  <p:stCondLst>
                                    <p:cond delay="0"/>
                                  </p:stCondLst>
                                  <p:childTnLst>
                                    <p:set>
                                      <p:cBhvr>
                                        <p:cTn id="10" dur="1" fill="hold">
                                          <p:stCondLst>
                                            <p:cond delay="0"/>
                                          </p:stCondLst>
                                        </p:cTn>
                                        <p:tgtEl>
                                          <p:spTgt spid="3"/>
                                        </p:tgtEl>
                                        <p:attrNameLst>
                                          <p:attrName>style.visibility</p:attrName>
                                        </p:attrNameLst>
                                      </p:cBhvr>
                                      <p:to>
                                        <p:strVal val="visible"/>
                                      </p:to>
                                    </p:set>
                                    <p:animEffect transition="in" filter="wipe(down)">
                                      <p:cBhvr>
                                        <p:cTn id="11" dur="500"/>
                                        <p:tgtEl>
                                          <p:spTgt spid="3"/>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105"/>
                                        </p:tgtEl>
                                        <p:attrNameLst>
                                          <p:attrName>style.visibility</p:attrName>
                                        </p:attrNameLst>
                                      </p:cBhvr>
                                      <p:to>
                                        <p:strVal val="visible"/>
                                      </p:to>
                                    </p:set>
                                    <p:animEffect transition="in" filter="fade">
                                      <p:cBhvr>
                                        <p:cTn id="15" dur="500"/>
                                        <p:tgtEl>
                                          <p:spTgt spid="105"/>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103"/>
                                        </p:tgtEl>
                                        <p:attrNameLst>
                                          <p:attrName>style.visibility</p:attrName>
                                        </p:attrNameLst>
                                      </p:cBhvr>
                                      <p:to>
                                        <p:strVal val="visible"/>
                                      </p:to>
                                    </p:set>
                                    <p:animEffect transition="in" filter="fade">
                                      <p:cBhvr>
                                        <p:cTn id="18" dur="500"/>
                                        <p:tgtEl>
                                          <p:spTgt spid="103"/>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102"/>
                                        </p:tgtEl>
                                        <p:attrNameLst>
                                          <p:attrName>style.visibility</p:attrName>
                                        </p:attrNameLst>
                                      </p:cBhvr>
                                      <p:to>
                                        <p:strVal val="visible"/>
                                      </p:to>
                                    </p:set>
                                    <p:animEffect transition="in" filter="fade">
                                      <p:cBhvr>
                                        <p:cTn id="21" dur="500"/>
                                        <p:tgtEl>
                                          <p:spTgt spid="102"/>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104"/>
                                        </p:tgtEl>
                                        <p:attrNameLst>
                                          <p:attrName>style.visibility</p:attrName>
                                        </p:attrNameLst>
                                      </p:cBhvr>
                                      <p:to>
                                        <p:strVal val="visible"/>
                                      </p:to>
                                    </p:set>
                                    <p:animEffect transition="in" filter="fade">
                                      <p:cBhvr>
                                        <p:cTn id="24" dur="500"/>
                                        <p:tgtEl>
                                          <p:spTgt spid="104"/>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29"/>
                                        </p:tgtEl>
                                        <p:attrNameLst>
                                          <p:attrName>style.visibility</p:attrName>
                                        </p:attrNameLst>
                                      </p:cBhvr>
                                      <p:to>
                                        <p:strVal val="visible"/>
                                      </p:to>
                                    </p:set>
                                    <p:animEffect transition="in" filter="fade">
                                      <p:cBhvr>
                                        <p:cTn id="27" dur="500"/>
                                        <p:tgtEl>
                                          <p:spTgt spid="29"/>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28"/>
                                        </p:tgtEl>
                                        <p:attrNameLst>
                                          <p:attrName>style.visibility</p:attrName>
                                        </p:attrNameLst>
                                      </p:cBhvr>
                                      <p:to>
                                        <p:strVal val="visible"/>
                                      </p:to>
                                    </p:set>
                                    <p:animEffect transition="in" filter="fade">
                                      <p:cBhvr>
                                        <p:cTn id="30" dur="500"/>
                                        <p:tgtEl>
                                          <p:spTgt spid="28"/>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21"/>
                                        </p:tgtEl>
                                        <p:attrNameLst>
                                          <p:attrName>style.visibility</p:attrName>
                                        </p:attrNameLst>
                                      </p:cBhvr>
                                      <p:to>
                                        <p:strVal val="visible"/>
                                      </p:to>
                                    </p:set>
                                    <p:animEffect transition="in" filter="fade">
                                      <p:cBhvr>
                                        <p:cTn id="33" dur="500"/>
                                        <p:tgtEl>
                                          <p:spTgt spid="21"/>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6"/>
                                        </p:tgtEl>
                                        <p:attrNameLst>
                                          <p:attrName>style.visibility</p:attrName>
                                        </p:attrNameLst>
                                      </p:cBhvr>
                                      <p:to>
                                        <p:strVal val="visible"/>
                                      </p:to>
                                    </p:set>
                                    <p:animEffect transition="in" filter="fade">
                                      <p:cBhvr>
                                        <p:cTn id="36" dur="500"/>
                                        <p:tgtEl>
                                          <p:spTgt spid="6"/>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32"/>
                                        </p:tgtEl>
                                        <p:attrNameLst>
                                          <p:attrName>style.visibility</p:attrName>
                                        </p:attrNameLst>
                                      </p:cBhvr>
                                      <p:to>
                                        <p:strVal val="visible"/>
                                      </p:to>
                                    </p:set>
                                    <p:animEffect transition="in" filter="fade">
                                      <p:cBhvr>
                                        <p:cTn id="39" dur="500"/>
                                        <p:tgtEl>
                                          <p:spTgt spid="32"/>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23"/>
                                        </p:tgtEl>
                                        <p:attrNameLst>
                                          <p:attrName>style.visibility</p:attrName>
                                        </p:attrNameLst>
                                      </p:cBhvr>
                                      <p:to>
                                        <p:strVal val="visible"/>
                                      </p:to>
                                    </p:set>
                                    <p:animEffect transition="in" filter="fade">
                                      <p:cBhvr>
                                        <p:cTn id="42" dur="500"/>
                                        <p:tgtEl>
                                          <p:spTgt spid="23"/>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26"/>
                                        </p:tgtEl>
                                        <p:attrNameLst>
                                          <p:attrName>style.visibility</p:attrName>
                                        </p:attrNameLst>
                                      </p:cBhvr>
                                      <p:to>
                                        <p:strVal val="visible"/>
                                      </p:to>
                                    </p:set>
                                    <p:animEffect transition="in" filter="fade">
                                      <p:cBhvr>
                                        <p:cTn id="45" dur="500"/>
                                        <p:tgtEl>
                                          <p:spTgt spid="26"/>
                                        </p:tgtEl>
                                      </p:cBhvr>
                                    </p:animEffect>
                                  </p:childTnLst>
                                </p:cTn>
                              </p:par>
                              <p:par>
                                <p:cTn id="46" presetID="10" presetClass="entr" presetSubtype="0" fill="hold" grpId="0" nodeType="withEffect">
                                  <p:stCondLst>
                                    <p:cond delay="0"/>
                                  </p:stCondLst>
                                  <p:childTnLst>
                                    <p:set>
                                      <p:cBhvr>
                                        <p:cTn id="47" dur="1" fill="hold">
                                          <p:stCondLst>
                                            <p:cond delay="0"/>
                                          </p:stCondLst>
                                        </p:cTn>
                                        <p:tgtEl>
                                          <p:spTgt spid="36"/>
                                        </p:tgtEl>
                                        <p:attrNameLst>
                                          <p:attrName>style.visibility</p:attrName>
                                        </p:attrNameLst>
                                      </p:cBhvr>
                                      <p:to>
                                        <p:strVal val="visible"/>
                                      </p:to>
                                    </p:set>
                                    <p:animEffect transition="in" filter="fade">
                                      <p:cBhvr>
                                        <p:cTn id="48" dur="500"/>
                                        <p:tgtEl>
                                          <p:spTgt spid="36"/>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27"/>
                                        </p:tgtEl>
                                        <p:attrNameLst>
                                          <p:attrName>style.visibility</p:attrName>
                                        </p:attrNameLst>
                                      </p:cBhvr>
                                      <p:to>
                                        <p:strVal val="visible"/>
                                      </p:to>
                                    </p:set>
                                    <p:animEffect transition="in" filter="fade">
                                      <p:cBhvr>
                                        <p:cTn id="51" dur="500"/>
                                        <p:tgtEl>
                                          <p:spTgt spid="27"/>
                                        </p:tgtEl>
                                      </p:cBhvr>
                                    </p:animEffect>
                                  </p:childTnLst>
                                </p:cTn>
                              </p:par>
                              <p:par>
                                <p:cTn id="52" presetID="10" presetClass="entr" presetSubtype="0" fill="hold" grpId="0" nodeType="withEffect">
                                  <p:stCondLst>
                                    <p:cond delay="0"/>
                                  </p:stCondLst>
                                  <p:childTnLst>
                                    <p:set>
                                      <p:cBhvr>
                                        <p:cTn id="53" dur="1" fill="hold">
                                          <p:stCondLst>
                                            <p:cond delay="0"/>
                                          </p:stCondLst>
                                        </p:cTn>
                                        <p:tgtEl>
                                          <p:spTgt spid="22"/>
                                        </p:tgtEl>
                                        <p:attrNameLst>
                                          <p:attrName>style.visibility</p:attrName>
                                        </p:attrNameLst>
                                      </p:cBhvr>
                                      <p:to>
                                        <p:strVal val="visible"/>
                                      </p:to>
                                    </p:set>
                                    <p:animEffect transition="in" filter="fade">
                                      <p:cBhvr>
                                        <p:cTn id="54" dur="500"/>
                                        <p:tgtEl>
                                          <p:spTgt spid="22"/>
                                        </p:tgtEl>
                                      </p:cBhvr>
                                    </p:animEffect>
                                  </p:childTnLst>
                                </p:cTn>
                              </p:par>
                              <p:par>
                                <p:cTn id="55" presetID="10" presetClass="entr" presetSubtype="0" fill="hold" grpId="0" nodeType="withEffect">
                                  <p:stCondLst>
                                    <p:cond delay="0"/>
                                  </p:stCondLst>
                                  <p:childTnLst>
                                    <p:set>
                                      <p:cBhvr>
                                        <p:cTn id="56" dur="1" fill="hold">
                                          <p:stCondLst>
                                            <p:cond delay="0"/>
                                          </p:stCondLst>
                                        </p:cTn>
                                        <p:tgtEl>
                                          <p:spTgt spid="34"/>
                                        </p:tgtEl>
                                        <p:attrNameLst>
                                          <p:attrName>style.visibility</p:attrName>
                                        </p:attrNameLst>
                                      </p:cBhvr>
                                      <p:to>
                                        <p:strVal val="visible"/>
                                      </p:to>
                                    </p:set>
                                    <p:animEffect transition="in" filter="fade">
                                      <p:cBhvr>
                                        <p:cTn id="57" dur="500"/>
                                        <p:tgtEl>
                                          <p:spTgt spid="34"/>
                                        </p:tgtEl>
                                      </p:cBhvr>
                                    </p:animEffect>
                                  </p:childTnLst>
                                </p:cTn>
                              </p:par>
                              <p:par>
                                <p:cTn id="58" presetID="10" presetClass="entr" presetSubtype="0" fill="hold" grpId="0" nodeType="withEffect">
                                  <p:stCondLst>
                                    <p:cond delay="0"/>
                                  </p:stCondLst>
                                  <p:childTnLst>
                                    <p:set>
                                      <p:cBhvr>
                                        <p:cTn id="59" dur="1" fill="hold">
                                          <p:stCondLst>
                                            <p:cond delay="0"/>
                                          </p:stCondLst>
                                        </p:cTn>
                                        <p:tgtEl>
                                          <p:spTgt spid="31"/>
                                        </p:tgtEl>
                                        <p:attrNameLst>
                                          <p:attrName>style.visibility</p:attrName>
                                        </p:attrNameLst>
                                      </p:cBhvr>
                                      <p:to>
                                        <p:strVal val="visible"/>
                                      </p:to>
                                    </p:set>
                                    <p:animEffect transition="in" filter="fade">
                                      <p:cBhvr>
                                        <p:cTn id="60" dur="500"/>
                                        <p:tgtEl>
                                          <p:spTgt spid="31"/>
                                        </p:tgtEl>
                                      </p:cBhvr>
                                    </p:animEffect>
                                  </p:childTnLst>
                                </p:cTn>
                              </p:par>
                              <p:par>
                                <p:cTn id="61" presetID="10" presetClass="entr" presetSubtype="0" fill="hold" grpId="0" nodeType="withEffect">
                                  <p:stCondLst>
                                    <p:cond delay="0"/>
                                  </p:stCondLst>
                                  <p:childTnLst>
                                    <p:set>
                                      <p:cBhvr>
                                        <p:cTn id="62" dur="1" fill="hold">
                                          <p:stCondLst>
                                            <p:cond delay="0"/>
                                          </p:stCondLst>
                                        </p:cTn>
                                        <p:tgtEl>
                                          <p:spTgt spid="25"/>
                                        </p:tgtEl>
                                        <p:attrNameLst>
                                          <p:attrName>style.visibility</p:attrName>
                                        </p:attrNameLst>
                                      </p:cBhvr>
                                      <p:to>
                                        <p:strVal val="visible"/>
                                      </p:to>
                                    </p:set>
                                    <p:animEffect transition="in" filter="fade">
                                      <p:cBhvr>
                                        <p:cTn id="63" dur="500"/>
                                        <p:tgtEl>
                                          <p:spTgt spid="25"/>
                                        </p:tgtEl>
                                      </p:cBhvr>
                                    </p:animEffect>
                                  </p:childTnLst>
                                </p:cTn>
                              </p:par>
                              <p:par>
                                <p:cTn id="64" presetID="10" presetClass="entr" presetSubtype="0" fill="hold" grpId="0" nodeType="withEffect">
                                  <p:stCondLst>
                                    <p:cond delay="0"/>
                                  </p:stCondLst>
                                  <p:childTnLst>
                                    <p:set>
                                      <p:cBhvr>
                                        <p:cTn id="65" dur="1" fill="hold">
                                          <p:stCondLst>
                                            <p:cond delay="0"/>
                                          </p:stCondLst>
                                        </p:cTn>
                                        <p:tgtEl>
                                          <p:spTgt spid="37"/>
                                        </p:tgtEl>
                                        <p:attrNameLst>
                                          <p:attrName>style.visibility</p:attrName>
                                        </p:attrNameLst>
                                      </p:cBhvr>
                                      <p:to>
                                        <p:strVal val="visible"/>
                                      </p:to>
                                    </p:set>
                                    <p:animEffect transition="in" filter="fade">
                                      <p:cBhvr>
                                        <p:cTn id="66" dur="500"/>
                                        <p:tgtEl>
                                          <p:spTgt spid="37"/>
                                        </p:tgtEl>
                                      </p:cBhvr>
                                    </p:animEffect>
                                  </p:childTnLst>
                                </p:cTn>
                              </p:par>
                              <p:par>
                                <p:cTn id="67" presetID="10" presetClass="entr" presetSubtype="0" fill="hold" grpId="0" nodeType="withEffect">
                                  <p:stCondLst>
                                    <p:cond delay="0"/>
                                  </p:stCondLst>
                                  <p:childTnLst>
                                    <p:set>
                                      <p:cBhvr>
                                        <p:cTn id="68" dur="1" fill="hold">
                                          <p:stCondLst>
                                            <p:cond delay="0"/>
                                          </p:stCondLst>
                                        </p:cTn>
                                        <p:tgtEl>
                                          <p:spTgt spid="24"/>
                                        </p:tgtEl>
                                        <p:attrNameLst>
                                          <p:attrName>style.visibility</p:attrName>
                                        </p:attrNameLst>
                                      </p:cBhvr>
                                      <p:to>
                                        <p:strVal val="visible"/>
                                      </p:to>
                                    </p:set>
                                    <p:animEffect transition="in" filter="fade">
                                      <p:cBhvr>
                                        <p:cTn id="69" dur="500"/>
                                        <p:tgtEl>
                                          <p:spTgt spid="24"/>
                                        </p:tgtEl>
                                      </p:cBhvr>
                                    </p:animEffect>
                                  </p:childTnLst>
                                </p:cTn>
                              </p:par>
                              <p:par>
                                <p:cTn id="70" presetID="10" presetClass="entr" presetSubtype="0" fill="hold" grpId="0" nodeType="withEffect">
                                  <p:stCondLst>
                                    <p:cond delay="0"/>
                                  </p:stCondLst>
                                  <p:childTnLst>
                                    <p:set>
                                      <p:cBhvr>
                                        <p:cTn id="71" dur="1" fill="hold">
                                          <p:stCondLst>
                                            <p:cond delay="0"/>
                                          </p:stCondLst>
                                        </p:cTn>
                                        <p:tgtEl>
                                          <p:spTgt spid="35"/>
                                        </p:tgtEl>
                                        <p:attrNameLst>
                                          <p:attrName>style.visibility</p:attrName>
                                        </p:attrNameLst>
                                      </p:cBhvr>
                                      <p:to>
                                        <p:strVal val="visible"/>
                                      </p:to>
                                    </p:set>
                                    <p:animEffect transition="in" filter="fade">
                                      <p:cBhvr>
                                        <p:cTn id="72" dur="500"/>
                                        <p:tgtEl>
                                          <p:spTgt spid="35"/>
                                        </p:tgtEl>
                                      </p:cBhvr>
                                    </p:animEffect>
                                  </p:childTnLst>
                                </p:cTn>
                              </p:par>
                              <p:par>
                                <p:cTn id="73" presetID="10" presetClass="entr" presetSubtype="0" fill="hold" grpId="0" nodeType="withEffect">
                                  <p:stCondLst>
                                    <p:cond delay="0"/>
                                  </p:stCondLst>
                                  <p:childTnLst>
                                    <p:set>
                                      <p:cBhvr>
                                        <p:cTn id="74" dur="1" fill="hold">
                                          <p:stCondLst>
                                            <p:cond delay="0"/>
                                          </p:stCondLst>
                                        </p:cTn>
                                        <p:tgtEl>
                                          <p:spTgt spid="33"/>
                                        </p:tgtEl>
                                        <p:attrNameLst>
                                          <p:attrName>style.visibility</p:attrName>
                                        </p:attrNameLst>
                                      </p:cBhvr>
                                      <p:to>
                                        <p:strVal val="visible"/>
                                      </p:to>
                                    </p:set>
                                    <p:animEffect transition="in" filter="fade">
                                      <p:cBhvr>
                                        <p:cTn id="75" dur="500"/>
                                        <p:tgtEl>
                                          <p:spTgt spid="33"/>
                                        </p:tgtEl>
                                      </p:cBhvr>
                                    </p:animEffect>
                                  </p:childTnLst>
                                </p:cTn>
                              </p:par>
                              <p:par>
                                <p:cTn id="76" presetID="10" presetClass="entr" presetSubtype="0" fill="hold" grpId="0" nodeType="withEffect">
                                  <p:stCondLst>
                                    <p:cond delay="0"/>
                                  </p:stCondLst>
                                  <p:childTnLst>
                                    <p:set>
                                      <p:cBhvr>
                                        <p:cTn id="77" dur="1" fill="hold">
                                          <p:stCondLst>
                                            <p:cond delay="0"/>
                                          </p:stCondLst>
                                        </p:cTn>
                                        <p:tgtEl>
                                          <p:spTgt spid="30"/>
                                        </p:tgtEl>
                                        <p:attrNameLst>
                                          <p:attrName>style.visibility</p:attrName>
                                        </p:attrNameLst>
                                      </p:cBhvr>
                                      <p:to>
                                        <p:strVal val="visible"/>
                                      </p:to>
                                    </p:set>
                                    <p:animEffect transition="in" filter="fade">
                                      <p:cBhvr>
                                        <p:cTn id="78" dur="500"/>
                                        <p:tgtEl>
                                          <p:spTgt spid="30"/>
                                        </p:tgtEl>
                                      </p:cBhvr>
                                    </p:animEffect>
                                  </p:childTnLst>
                                </p:cTn>
                              </p:par>
                              <p:par>
                                <p:cTn id="79" presetID="10" presetClass="entr" presetSubtype="0" fill="hold" grpId="0" nodeType="withEffect">
                                  <p:stCondLst>
                                    <p:cond delay="0"/>
                                  </p:stCondLst>
                                  <p:childTnLst>
                                    <p:set>
                                      <p:cBhvr>
                                        <p:cTn id="80" dur="1" fill="hold">
                                          <p:stCondLst>
                                            <p:cond delay="0"/>
                                          </p:stCondLst>
                                        </p:cTn>
                                        <p:tgtEl>
                                          <p:spTgt spid="20"/>
                                        </p:tgtEl>
                                        <p:attrNameLst>
                                          <p:attrName>style.visibility</p:attrName>
                                        </p:attrNameLst>
                                      </p:cBhvr>
                                      <p:to>
                                        <p:strVal val="visible"/>
                                      </p:to>
                                    </p:set>
                                    <p:animEffect transition="in" filter="fade">
                                      <p:cBhvr>
                                        <p:cTn id="81" dur="500"/>
                                        <p:tgtEl>
                                          <p:spTgt spid="20"/>
                                        </p:tgtEl>
                                      </p:cBhvr>
                                    </p:animEffect>
                                  </p:childTnLst>
                                </p:cTn>
                              </p:par>
                              <p:par>
                                <p:cTn id="82" presetID="10" presetClass="entr" presetSubtype="0" fill="hold" grpId="0" nodeType="withEffect">
                                  <p:stCondLst>
                                    <p:cond delay="0"/>
                                  </p:stCondLst>
                                  <p:childTnLst>
                                    <p:set>
                                      <p:cBhvr>
                                        <p:cTn id="83" dur="1" fill="hold">
                                          <p:stCondLst>
                                            <p:cond delay="0"/>
                                          </p:stCondLst>
                                        </p:cTn>
                                        <p:tgtEl>
                                          <p:spTgt spid="10"/>
                                        </p:tgtEl>
                                        <p:attrNameLst>
                                          <p:attrName>style.visibility</p:attrName>
                                        </p:attrNameLst>
                                      </p:cBhvr>
                                      <p:to>
                                        <p:strVal val="visible"/>
                                      </p:to>
                                    </p:set>
                                    <p:animEffect transition="in" filter="fade">
                                      <p:cBhvr>
                                        <p:cTn id="84" dur="500"/>
                                        <p:tgtEl>
                                          <p:spTgt spid="10"/>
                                        </p:tgtEl>
                                      </p:cBhvr>
                                    </p:animEffect>
                                  </p:childTnLst>
                                </p:cTn>
                              </p:par>
                              <p:par>
                                <p:cTn id="85" presetID="10" presetClass="entr" presetSubtype="0" fill="hold" grpId="0" nodeType="withEffect">
                                  <p:stCondLst>
                                    <p:cond delay="0"/>
                                  </p:stCondLst>
                                  <p:childTnLst>
                                    <p:set>
                                      <p:cBhvr>
                                        <p:cTn id="86" dur="1" fill="hold">
                                          <p:stCondLst>
                                            <p:cond delay="0"/>
                                          </p:stCondLst>
                                        </p:cTn>
                                        <p:tgtEl>
                                          <p:spTgt spid="18"/>
                                        </p:tgtEl>
                                        <p:attrNameLst>
                                          <p:attrName>style.visibility</p:attrName>
                                        </p:attrNameLst>
                                      </p:cBhvr>
                                      <p:to>
                                        <p:strVal val="visible"/>
                                      </p:to>
                                    </p:set>
                                    <p:animEffect transition="in" filter="fade">
                                      <p:cBhvr>
                                        <p:cTn id="87" dur="500"/>
                                        <p:tgtEl>
                                          <p:spTgt spid="18"/>
                                        </p:tgtEl>
                                      </p:cBhvr>
                                    </p:animEffect>
                                  </p:childTnLst>
                                </p:cTn>
                              </p:par>
                              <p:par>
                                <p:cTn id="88" presetID="10" presetClass="entr" presetSubtype="0" fill="hold" grpId="0" nodeType="withEffect">
                                  <p:stCondLst>
                                    <p:cond delay="0"/>
                                  </p:stCondLst>
                                  <p:childTnLst>
                                    <p:set>
                                      <p:cBhvr>
                                        <p:cTn id="89" dur="1" fill="hold">
                                          <p:stCondLst>
                                            <p:cond delay="0"/>
                                          </p:stCondLst>
                                        </p:cTn>
                                        <p:tgtEl>
                                          <p:spTgt spid="16"/>
                                        </p:tgtEl>
                                        <p:attrNameLst>
                                          <p:attrName>style.visibility</p:attrName>
                                        </p:attrNameLst>
                                      </p:cBhvr>
                                      <p:to>
                                        <p:strVal val="visible"/>
                                      </p:to>
                                    </p:set>
                                    <p:animEffect transition="in" filter="fade">
                                      <p:cBhvr>
                                        <p:cTn id="90" dur="500"/>
                                        <p:tgtEl>
                                          <p:spTgt spid="16"/>
                                        </p:tgtEl>
                                      </p:cBhvr>
                                    </p:animEffect>
                                  </p:childTnLst>
                                </p:cTn>
                              </p:par>
                              <p:par>
                                <p:cTn id="91" presetID="10" presetClass="entr" presetSubtype="0" fill="hold" grpId="0" nodeType="withEffect">
                                  <p:stCondLst>
                                    <p:cond delay="0"/>
                                  </p:stCondLst>
                                  <p:childTnLst>
                                    <p:set>
                                      <p:cBhvr>
                                        <p:cTn id="92" dur="1" fill="hold">
                                          <p:stCondLst>
                                            <p:cond delay="0"/>
                                          </p:stCondLst>
                                        </p:cTn>
                                        <p:tgtEl>
                                          <p:spTgt spid="39"/>
                                        </p:tgtEl>
                                        <p:attrNameLst>
                                          <p:attrName>style.visibility</p:attrName>
                                        </p:attrNameLst>
                                      </p:cBhvr>
                                      <p:to>
                                        <p:strVal val="visible"/>
                                      </p:to>
                                    </p:set>
                                    <p:animEffect transition="in" filter="fade">
                                      <p:cBhvr>
                                        <p:cTn id="93" dur="500"/>
                                        <p:tgtEl>
                                          <p:spTgt spid="39"/>
                                        </p:tgtEl>
                                      </p:cBhvr>
                                    </p:animEffect>
                                  </p:childTnLst>
                                </p:cTn>
                              </p:par>
                              <p:par>
                                <p:cTn id="94" presetID="10" presetClass="entr" presetSubtype="0" fill="hold" grpId="0" nodeType="withEffect">
                                  <p:stCondLst>
                                    <p:cond delay="0"/>
                                  </p:stCondLst>
                                  <p:childTnLst>
                                    <p:set>
                                      <p:cBhvr>
                                        <p:cTn id="95" dur="1" fill="hold">
                                          <p:stCondLst>
                                            <p:cond delay="0"/>
                                          </p:stCondLst>
                                        </p:cTn>
                                        <p:tgtEl>
                                          <p:spTgt spid="71"/>
                                        </p:tgtEl>
                                        <p:attrNameLst>
                                          <p:attrName>style.visibility</p:attrName>
                                        </p:attrNameLst>
                                      </p:cBhvr>
                                      <p:to>
                                        <p:strVal val="visible"/>
                                      </p:to>
                                    </p:set>
                                    <p:animEffect transition="in" filter="fade">
                                      <p:cBhvr>
                                        <p:cTn id="96" dur="500"/>
                                        <p:tgtEl>
                                          <p:spTgt spid="71"/>
                                        </p:tgtEl>
                                      </p:cBhvr>
                                    </p:animEffect>
                                  </p:childTnLst>
                                </p:cTn>
                              </p:par>
                              <p:par>
                                <p:cTn id="97" presetID="10" presetClass="entr" presetSubtype="0" fill="hold" grpId="0" nodeType="withEffect">
                                  <p:stCondLst>
                                    <p:cond delay="0"/>
                                  </p:stCondLst>
                                  <p:childTnLst>
                                    <p:set>
                                      <p:cBhvr>
                                        <p:cTn id="98" dur="1" fill="hold">
                                          <p:stCondLst>
                                            <p:cond delay="0"/>
                                          </p:stCondLst>
                                        </p:cTn>
                                        <p:tgtEl>
                                          <p:spTgt spid="70"/>
                                        </p:tgtEl>
                                        <p:attrNameLst>
                                          <p:attrName>style.visibility</p:attrName>
                                        </p:attrNameLst>
                                      </p:cBhvr>
                                      <p:to>
                                        <p:strVal val="visible"/>
                                      </p:to>
                                    </p:set>
                                    <p:animEffect transition="in" filter="fade">
                                      <p:cBhvr>
                                        <p:cTn id="99" dur="500"/>
                                        <p:tgtEl>
                                          <p:spTgt spid="70"/>
                                        </p:tgtEl>
                                      </p:cBhvr>
                                    </p:animEffect>
                                  </p:childTnLst>
                                </p:cTn>
                              </p:par>
                              <p:par>
                                <p:cTn id="100" presetID="10" presetClass="entr" presetSubtype="0" fill="hold" grpId="0" nodeType="withEffect">
                                  <p:stCondLst>
                                    <p:cond delay="0"/>
                                  </p:stCondLst>
                                  <p:childTnLst>
                                    <p:set>
                                      <p:cBhvr>
                                        <p:cTn id="101" dur="1" fill="hold">
                                          <p:stCondLst>
                                            <p:cond delay="0"/>
                                          </p:stCondLst>
                                        </p:cTn>
                                        <p:tgtEl>
                                          <p:spTgt spid="19"/>
                                        </p:tgtEl>
                                        <p:attrNameLst>
                                          <p:attrName>style.visibility</p:attrName>
                                        </p:attrNameLst>
                                      </p:cBhvr>
                                      <p:to>
                                        <p:strVal val="visible"/>
                                      </p:to>
                                    </p:set>
                                    <p:animEffect transition="in" filter="fade">
                                      <p:cBhvr>
                                        <p:cTn id="102" dur="500"/>
                                        <p:tgtEl>
                                          <p:spTgt spid="19"/>
                                        </p:tgtEl>
                                      </p:cBhvr>
                                    </p:animEffect>
                                  </p:childTnLst>
                                </p:cTn>
                              </p:par>
                              <p:par>
                                <p:cTn id="103" presetID="10" presetClass="entr" presetSubtype="0" fill="hold" grpId="0" nodeType="withEffect">
                                  <p:stCondLst>
                                    <p:cond delay="0"/>
                                  </p:stCondLst>
                                  <p:childTnLst>
                                    <p:set>
                                      <p:cBhvr>
                                        <p:cTn id="104" dur="1" fill="hold">
                                          <p:stCondLst>
                                            <p:cond delay="0"/>
                                          </p:stCondLst>
                                        </p:cTn>
                                        <p:tgtEl>
                                          <p:spTgt spid="15"/>
                                        </p:tgtEl>
                                        <p:attrNameLst>
                                          <p:attrName>style.visibility</p:attrName>
                                        </p:attrNameLst>
                                      </p:cBhvr>
                                      <p:to>
                                        <p:strVal val="visible"/>
                                      </p:to>
                                    </p:set>
                                    <p:animEffect transition="in" filter="fade">
                                      <p:cBhvr>
                                        <p:cTn id="105" dur="500"/>
                                        <p:tgtEl>
                                          <p:spTgt spid="15"/>
                                        </p:tgtEl>
                                      </p:cBhvr>
                                    </p:animEffect>
                                  </p:childTnLst>
                                </p:cTn>
                              </p:par>
                            </p:childTnLst>
                          </p:cTn>
                        </p:par>
                        <p:par>
                          <p:cTn id="106" fill="hold">
                            <p:stCondLst>
                              <p:cond delay="1500"/>
                            </p:stCondLst>
                            <p:childTnLst>
                              <p:par>
                                <p:cTn id="107" presetID="10" presetClass="entr" presetSubtype="0" fill="hold" grpId="0" nodeType="afterEffect">
                                  <p:stCondLst>
                                    <p:cond delay="0"/>
                                  </p:stCondLst>
                                  <p:childTnLst>
                                    <p:set>
                                      <p:cBhvr>
                                        <p:cTn id="108" dur="1" fill="hold">
                                          <p:stCondLst>
                                            <p:cond delay="0"/>
                                          </p:stCondLst>
                                        </p:cTn>
                                        <p:tgtEl>
                                          <p:spTgt spid="12"/>
                                        </p:tgtEl>
                                        <p:attrNameLst>
                                          <p:attrName>style.visibility</p:attrName>
                                        </p:attrNameLst>
                                      </p:cBhvr>
                                      <p:to>
                                        <p:strVal val="visible"/>
                                      </p:to>
                                    </p:set>
                                    <p:animEffect transition="in" filter="fade">
                                      <p:cBhvr>
                                        <p:cTn id="109" dur="500"/>
                                        <p:tgtEl>
                                          <p:spTgt spid="12"/>
                                        </p:tgtEl>
                                      </p:cBhvr>
                                    </p:animEffect>
                                  </p:childTnLst>
                                </p:cTn>
                              </p:par>
                              <p:par>
                                <p:cTn id="110" presetID="10" presetClass="entr" presetSubtype="0" fill="hold" grpId="0" nodeType="withEffect">
                                  <p:stCondLst>
                                    <p:cond delay="0"/>
                                  </p:stCondLst>
                                  <p:childTnLst>
                                    <p:set>
                                      <p:cBhvr>
                                        <p:cTn id="111" dur="1" fill="hold">
                                          <p:stCondLst>
                                            <p:cond delay="0"/>
                                          </p:stCondLst>
                                        </p:cTn>
                                        <p:tgtEl>
                                          <p:spTgt spid="98"/>
                                        </p:tgtEl>
                                        <p:attrNameLst>
                                          <p:attrName>style.visibility</p:attrName>
                                        </p:attrNameLst>
                                      </p:cBhvr>
                                      <p:to>
                                        <p:strVal val="visible"/>
                                      </p:to>
                                    </p:set>
                                    <p:animEffect transition="in" filter="fade">
                                      <p:cBhvr>
                                        <p:cTn id="112" dur="500"/>
                                        <p:tgtEl>
                                          <p:spTgt spid="98"/>
                                        </p:tgtEl>
                                      </p:cBhvr>
                                    </p:animEffect>
                                  </p:childTnLst>
                                </p:cTn>
                              </p:par>
                              <p:par>
                                <p:cTn id="113" presetID="10" presetClass="entr" presetSubtype="0" fill="hold" grpId="0" nodeType="withEffect">
                                  <p:stCondLst>
                                    <p:cond delay="0"/>
                                  </p:stCondLst>
                                  <p:childTnLst>
                                    <p:set>
                                      <p:cBhvr>
                                        <p:cTn id="114" dur="1" fill="hold">
                                          <p:stCondLst>
                                            <p:cond delay="0"/>
                                          </p:stCondLst>
                                        </p:cTn>
                                        <p:tgtEl>
                                          <p:spTgt spid="38"/>
                                        </p:tgtEl>
                                        <p:attrNameLst>
                                          <p:attrName>style.visibility</p:attrName>
                                        </p:attrNameLst>
                                      </p:cBhvr>
                                      <p:to>
                                        <p:strVal val="visible"/>
                                      </p:to>
                                    </p:set>
                                    <p:animEffect transition="in" filter="fade">
                                      <p:cBhvr>
                                        <p:cTn id="115" dur="500"/>
                                        <p:tgtEl>
                                          <p:spTgt spid="38"/>
                                        </p:tgtEl>
                                      </p:cBhvr>
                                    </p:animEffect>
                                  </p:childTnLst>
                                </p:cTn>
                              </p:par>
                              <p:par>
                                <p:cTn id="116" presetID="10" presetClass="entr" presetSubtype="0" fill="hold" nodeType="withEffect">
                                  <p:stCondLst>
                                    <p:cond delay="0"/>
                                  </p:stCondLst>
                                  <p:childTnLst>
                                    <p:set>
                                      <p:cBhvr>
                                        <p:cTn id="117" dur="1" fill="hold">
                                          <p:stCondLst>
                                            <p:cond delay="0"/>
                                          </p:stCondLst>
                                        </p:cTn>
                                        <p:tgtEl>
                                          <p:spTgt spid="84"/>
                                        </p:tgtEl>
                                        <p:attrNameLst>
                                          <p:attrName>style.visibility</p:attrName>
                                        </p:attrNameLst>
                                      </p:cBhvr>
                                      <p:to>
                                        <p:strVal val="visible"/>
                                      </p:to>
                                    </p:set>
                                    <p:animEffect transition="in" filter="fade">
                                      <p:cBhvr>
                                        <p:cTn id="118" dur="500"/>
                                        <p:tgtEl>
                                          <p:spTgt spid="84"/>
                                        </p:tgtEl>
                                      </p:cBhvr>
                                    </p:animEffect>
                                  </p:childTnLst>
                                </p:cTn>
                              </p:par>
                            </p:childTnLst>
                          </p:cTn>
                        </p:par>
                        <p:par>
                          <p:cTn id="119" fill="hold">
                            <p:stCondLst>
                              <p:cond delay="2000"/>
                            </p:stCondLst>
                            <p:childTnLst>
                              <p:par>
                                <p:cTn id="120" presetID="22" presetClass="entr" presetSubtype="2" fill="hold" nodeType="afterEffect">
                                  <p:stCondLst>
                                    <p:cond delay="0"/>
                                  </p:stCondLst>
                                  <p:childTnLst>
                                    <p:set>
                                      <p:cBhvr>
                                        <p:cTn id="121" dur="1" fill="hold">
                                          <p:stCondLst>
                                            <p:cond delay="0"/>
                                          </p:stCondLst>
                                        </p:cTn>
                                        <p:tgtEl>
                                          <p:spTgt spid="45"/>
                                        </p:tgtEl>
                                        <p:attrNameLst>
                                          <p:attrName>style.visibility</p:attrName>
                                        </p:attrNameLst>
                                      </p:cBhvr>
                                      <p:to>
                                        <p:strVal val="visible"/>
                                      </p:to>
                                    </p:set>
                                    <p:animEffect transition="in" filter="wipe(right)">
                                      <p:cBhvr>
                                        <p:cTn id="122" dur="500"/>
                                        <p:tgtEl>
                                          <p:spTgt spid="45"/>
                                        </p:tgtEl>
                                      </p:cBhvr>
                                    </p:animEffect>
                                  </p:childTnLst>
                                </p:cTn>
                              </p:par>
                            </p:childTnLst>
                          </p:cTn>
                        </p:par>
                        <p:par>
                          <p:cTn id="123" fill="hold">
                            <p:stCondLst>
                              <p:cond delay="2500"/>
                            </p:stCondLst>
                            <p:childTnLst>
                              <p:par>
                                <p:cTn id="124" presetID="10" presetClass="entr" presetSubtype="0" fill="hold" grpId="0" nodeType="afterEffect">
                                  <p:stCondLst>
                                    <p:cond delay="0"/>
                                  </p:stCondLst>
                                  <p:childTnLst>
                                    <p:set>
                                      <p:cBhvr>
                                        <p:cTn id="125" dur="1" fill="hold">
                                          <p:stCondLst>
                                            <p:cond delay="0"/>
                                          </p:stCondLst>
                                        </p:cTn>
                                        <p:tgtEl>
                                          <p:spTgt spid="48"/>
                                        </p:tgtEl>
                                        <p:attrNameLst>
                                          <p:attrName>style.visibility</p:attrName>
                                        </p:attrNameLst>
                                      </p:cBhvr>
                                      <p:to>
                                        <p:strVal val="visible"/>
                                      </p:to>
                                    </p:set>
                                    <p:animEffect transition="in" filter="fade">
                                      <p:cBhvr>
                                        <p:cTn id="126" dur="500"/>
                                        <p:tgtEl>
                                          <p:spTgt spid="48"/>
                                        </p:tgtEl>
                                      </p:cBhvr>
                                    </p:animEffect>
                                  </p:childTnLst>
                                </p:cTn>
                              </p:par>
                              <p:par>
                                <p:cTn id="127" presetID="10" presetClass="entr" presetSubtype="0" fill="hold" grpId="0" nodeType="withEffect">
                                  <p:stCondLst>
                                    <p:cond delay="0"/>
                                  </p:stCondLst>
                                  <p:childTnLst>
                                    <p:set>
                                      <p:cBhvr>
                                        <p:cTn id="128" dur="1" fill="hold">
                                          <p:stCondLst>
                                            <p:cond delay="0"/>
                                          </p:stCondLst>
                                        </p:cTn>
                                        <p:tgtEl>
                                          <p:spTgt spid="49"/>
                                        </p:tgtEl>
                                        <p:attrNameLst>
                                          <p:attrName>style.visibility</p:attrName>
                                        </p:attrNameLst>
                                      </p:cBhvr>
                                      <p:to>
                                        <p:strVal val="visible"/>
                                      </p:to>
                                    </p:set>
                                    <p:animEffect transition="in" filter="fade">
                                      <p:cBhvr>
                                        <p:cTn id="129" dur="500"/>
                                        <p:tgtEl>
                                          <p:spTgt spid="49"/>
                                        </p:tgtEl>
                                      </p:cBhvr>
                                    </p:animEffect>
                                  </p:childTnLst>
                                </p:cTn>
                              </p:par>
                            </p:childTnLst>
                          </p:cTn>
                        </p:par>
                        <p:par>
                          <p:cTn id="130" fill="hold">
                            <p:stCondLst>
                              <p:cond delay="3000"/>
                            </p:stCondLst>
                            <p:childTnLst>
                              <p:par>
                                <p:cTn id="131" presetID="10" presetClass="entr" presetSubtype="0" fill="hold" grpId="0" nodeType="afterEffect">
                                  <p:stCondLst>
                                    <p:cond delay="0"/>
                                  </p:stCondLst>
                                  <p:childTnLst>
                                    <p:set>
                                      <p:cBhvr>
                                        <p:cTn id="132" dur="1" fill="hold">
                                          <p:stCondLst>
                                            <p:cond delay="0"/>
                                          </p:stCondLst>
                                        </p:cTn>
                                        <p:tgtEl>
                                          <p:spTgt spid="101"/>
                                        </p:tgtEl>
                                        <p:attrNameLst>
                                          <p:attrName>style.visibility</p:attrName>
                                        </p:attrNameLst>
                                      </p:cBhvr>
                                      <p:to>
                                        <p:strVal val="visible"/>
                                      </p:to>
                                    </p:set>
                                    <p:animEffect transition="in" filter="fade">
                                      <p:cBhvr>
                                        <p:cTn id="133" dur="500"/>
                                        <p:tgtEl>
                                          <p:spTgt spid="101"/>
                                        </p:tgtEl>
                                      </p:cBhvr>
                                    </p:animEffect>
                                  </p:childTnLst>
                                </p:cTn>
                              </p:par>
                              <p:par>
                                <p:cTn id="134" presetID="10" presetClass="entr" presetSubtype="0" fill="hold" grpId="0" nodeType="withEffect">
                                  <p:stCondLst>
                                    <p:cond delay="0"/>
                                  </p:stCondLst>
                                  <p:childTnLst>
                                    <p:set>
                                      <p:cBhvr>
                                        <p:cTn id="135" dur="1" fill="hold">
                                          <p:stCondLst>
                                            <p:cond delay="0"/>
                                          </p:stCondLst>
                                        </p:cTn>
                                        <p:tgtEl>
                                          <p:spTgt spid="7"/>
                                        </p:tgtEl>
                                        <p:attrNameLst>
                                          <p:attrName>style.visibility</p:attrName>
                                        </p:attrNameLst>
                                      </p:cBhvr>
                                      <p:to>
                                        <p:strVal val="visible"/>
                                      </p:to>
                                    </p:set>
                                    <p:animEffect transition="in" filter="fade">
                                      <p:cBhvr>
                                        <p:cTn id="136" dur="500"/>
                                        <p:tgtEl>
                                          <p:spTgt spid="7"/>
                                        </p:tgtEl>
                                      </p:cBhvr>
                                    </p:animEffect>
                                  </p:childTnLst>
                                </p:cTn>
                              </p:par>
                              <p:par>
                                <p:cTn id="137" presetID="10" presetClass="entr" presetSubtype="0" fill="hold" grpId="0" nodeType="withEffect">
                                  <p:stCondLst>
                                    <p:cond delay="0"/>
                                  </p:stCondLst>
                                  <p:childTnLst>
                                    <p:set>
                                      <p:cBhvr>
                                        <p:cTn id="138" dur="1" fill="hold">
                                          <p:stCondLst>
                                            <p:cond delay="0"/>
                                          </p:stCondLst>
                                        </p:cTn>
                                        <p:tgtEl>
                                          <p:spTgt spid="13"/>
                                        </p:tgtEl>
                                        <p:attrNameLst>
                                          <p:attrName>style.visibility</p:attrName>
                                        </p:attrNameLst>
                                      </p:cBhvr>
                                      <p:to>
                                        <p:strVal val="visible"/>
                                      </p:to>
                                    </p:set>
                                    <p:animEffect transition="in" filter="fade">
                                      <p:cBhvr>
                                        <p:cTn id="139" dur="500"/>
                                        <p:tgtEl>
                                          <p:spTgt spid="13"/>
                                        </p:tgtEl>
                                      </p:cBhvr>
                                    </p:animEffect>
                                  </p:childTnLst>
                                </p:cTn>
                              </p:par>
                              <p:par>
                                <p:cTn id="140" presetID="10" presetClass="entr" presetSubtype="0" fill="hold" nodeType="withEffect">
                                  <p:stCondLst>
                                    <p:cond delay="0"/>
                                  </p:stCondLst>
                                  <p:childTnLst>
                                    <p:set>
                                      <p:cBhvr>
                                        <p:cTn id="141" dur="1" fill="hold">
                                          <p:stCondLst>
                                            <p:cond delay="0"/>
                                          </p:stCondLst>
                                        </p:cTn>
                                        <p:tgtEl>
                                          <p:spTgt spid="87"/>
                                        </p:tgtEl>
                                        <p:attrNameLst>
                                          <p:attrName>style.visibility</p:attrName>
                                        </p:attrNameLst>
                                      </p:cBhvr>
                                      <p:to>
                                        <p:strVal val="visible"/>
                                      </p:to>
                                    </p:set>
                                    <p:animEffect transition="in" filter="fade">
                                      <p:cBhvr>
                                        <p:cTn id="142" dur="500"/>
                                        <p:tgtEl>
                                          <p:spTgt spid="87"/>
                                        </p:tgtEl>
                                      </p:cBhvr>
                                    </p:animEffect>
                                  </p:childTnLst>
                                </p:cTn>
                              </p:par>
                            </p:childTnLst>
                          </p:cTn>
                        </p:par>
                        <p:par>
                          <p:cTn id="143" fill="hold">
                            <p:stCondLst>
                              <p:cond delay="3500"/>
                            </p:stCondLst>
                            <p:childTnLst>
                              <p:par>
                                <p:cTn id="144" presetID="22" presetClass="entr" presetSubtype="2" fill="hold" nodeType="afterEffect">
                                  <p:stCondLst>
                                    <p:cond delay="0"/>
                                  </p:stCondLst>
                                  <p:childTnLst>
                                    <p:set>
                                      <p:cBhvr>
                                        <p:cTn id="145" dur="1" fill="hold">
                                          <p:stCondLst>
                                            <p:cond delay="0"/>
                                          </p:stCondLst>
                                        </p:cTn>
                                        <p:tgtEl>
                                          <p:spTgt spid="40"/>
                                        </p:tgtEl>
                                        <p:attrNameLst>
                                          <p:attrName>style.visibility</p:attrName>
                                        </p:attrNameLst>
                                      </p:cBhvr>
                                      <p:to>
                                        <p:strVal val="visible"/>
                                      </p:to>
                                    </p:set>
                                    <p:animEffect transition="in" filter="wipe(right)">
                                      <p:cBhvr>
                                        <p:cTn id="146" dur="500"/>
                                        <p:tgtEl>
                                          <p:spTgt spid="40"/>
                                        </p:tgtEl>
                                      </p:cBhvr>
                                    </p:animEffect>
                                  </p:childTnLst>
                                </p:cTn>
                              </p:par>
                            </p:childTnLst>
                          </p:cTn>
                        </p:par>
                        <p:par>
                          <p:cTn id="147" fill="hold">
                            <p:stCondLst>
                              <p:cond delay="4000"/>
                            </p:stCondLst>
                            <p:childTnLst>
                              <p:par>
                                <p:cTn id="148" presetID="10" presetClass="entr" presetSubtype="0" fill="hold" grpId="0" nodeType="afterEffect">
                                  <p:stCondLst>
                                    <p:cond delay="0"/>
                                  </p:stCondLst>
                                  <p:childTnLst>
                                    <p:set>
                                      <p:cBhvr>
                                        <p:cTn id="149" dur="1" fill="hold">
                                          <p:stCondLst>
                                            <p:cond delay="0"/>
                                          </p:stCondLst>
                                        </p:cTn>
                                        <p:tgtEl>
                                          <p:spTgt spid="43"/>
                                        </p:tgtEl>
                                        <p:attrNameLst>
                                          <p:attrName>style.visibility</p:attrName>
                                        </p:attrNameLst>
                                      </p:cBhvr>
                                      <p:to>
                                        <p:strVal val="visible"/>
                                      </p:to>
                                    </p:set>
                                    <p:animEffect transition="in" filter="fade">
                                      <p:cBhvr>
                                        <p:cTn id="150" dur="500"/>
                                        <p:tgtEl>
                                          <p:spTgt spid="43"/>
                                        </p:tgtEl>
                                      </p:cBhvr>
                                    </p:animEffect>
                                  </p:childTnLst>
                                </p:cTn>
                              </p:par>
                              <p:par>
                                <p:cTn id="151" presetID="10" presetClass="entr" presetSubtype="0" fill="hold" grpId="0" nodeType="withEffect">
                                  <p:stCondLst>
                                    <p:cond delay="0"/>
                                  </p:stCondLst>
                                  <p:childTnLst>
                                    <p:set>
                                      <p:cBhvr>
                                        <p:cTn id="152" dur="1" fill="hold">
                                          <p:stCondLst>
                                            <p:cond delay="0"/>
                                          </p:stCondLst>
                                        </p:cTn>
                                        <p:tgtEl>
                                          <p:spTgt spid="44"/>
                                        </p:tgtEl>
                                        <p:attrNameLst>
                                          <p:attrName>style.visibility</p:attrName>
                                        </p:attrNameLst>
                                      </p:cBhvr>
                                      <p:to>
                                        <p:strVal val="visible"/>
                                      </p:to>
                                    </p:set>
                                    <p:animEffect transition="in" filter="fade">
                                      <p:cBhvr>
                                        <p:cTn id="153" dur="500"/>
                                        <p:tgtEl>
                                          <p:spTgt spid="44"/>
                                        </p:tgtEl>
                                      </p:cBhvr>
                                    </p:animEffect>
                                  </p:childTnLst>
                                </p:cTn>
                              </p:par>
                            </p:childTnLst>
                          </p:cTn>
                        </p:par>
                        <p:par>
                          <p:cTn id="154" fill="hold">
                            <p:stCondLst>
                              <p:cond delay="4500"/>
                            </p:stCondLst>
                            <p:childTnLst>
                              <p:par>
                                <p:cTn id="155" presetID="10" presetClass="entr" presetSubtype="0" fill="hold" grpId="0" nodeType="afterEffect">
                                  <p:stCondLst>
                                    <p:cond delay="0"/>
                                  </p:stCondLst>
                                  <p:childTnLst>
                                    <p:set>
                                      <p:cBhvr>
                                        <p:cTn id="156" dur="1" fill="hold">
                                          <p:stCondLst>
                                            <p:cond delay="0"/>
                                          </p:stCondLst>
                                        </p:cTn>
                                        <p:tgtEl>
                                          <p:spTgt spid="14"/>
                                        </p:tgtEl>
                                        <p:attrNameLst>
                                          <p:attrName>style.visibility</p:attrName>
                                        </p:attrNameLst>
                                      </p:cBhvr>
                                      <p:to>
                                        <p:strVal val="visible"/>
                                      </p:to>
                                    </p:set>
                                    <p:animEffect transition="in" filter="fade">
                                      <p:cBhvr>
                                        <p:cTn id="157" dur="500"/>
                                        <p:tgtEl>
                                          <p:spTgt spid="14"/>
                                        </p:tgtEl>
                                      </p:cBhvr>
                                    </p:animEffect>
                                  </p:childTnLst>
                                </p:cTn>
                              </p:par>
                              <p:par>
                                <p:cTn id="158" presetID="10" presetClass="entr" presetSubtype="0" fill="hold" grpId="0" nodeType="withEffect">
                                  <p:stCondLst>
                                    <p:cond delay="0"/>
                                  </p:stCondLst>
                                  <p:childTnLst>
                                    <p:set>
                                      <p:cBhvr>
                                        <p:cTn id="159" dur="1" fill="hold">
                                          <p:stCondLst>
                                            <p:cond delay="0"/>
                                          </p:stCondLst>
                                        </p:cTn>
                                        <p:tgtEl>
                                          <p:spTgt spid="97"/>
                                        </p:tgtEl>
                                        <p:attrNameLst>
                                          <p:attrName>style.visibility</p:attrName>
                                        </p:attrNameLst>
                                      </p:cBhvr>
                                      <p:to>
                                        <p:strVal val="visible"/>
                                      </p:to>
                                    </p:set>
                                    <p:animEffect transition="in" filter="fade">
                                      <p:cBhvr>
                                        <p:cTn id="160" dur="500"/>
                                        <p:tgtEl>
                                          <p:spTgt spid="97"/>
                                        </p:tgtEl>
                                      </p:cBhvr>
                                    </p:animEffect>
                                  </p:childTnLst>
                                </p:cTn>
                              </p:par>
                              <p:par>
                                <p:cTn id="161" presetID="10" presetClass="entr" presetSubtype="0" fill="hold" grpId="0" nodeType="withEffect">
                                  <p:stCondLst>
                                    <p:cond delay="0"/>
                                  </p:stCondLst>
                                  <p:childTnLst>
                                    <p:set>
                                      <p:cBhvr>
                                        <p:cTn id="162" dur="1" fill="hold">
                                          <p:stCondLst>
                                            <p:cond delay="0"/>
                                          </p:stCondLst>
                                        </p:cTn>
                                        <p:tgtEl>
                                          <p:spTgt spid="11"/>
                                        </p:tgtEl>
                                        <p:attrNameLst>
                                          <p:attrName>style.visibility</p:attrName>
                                        </p:attrNameLst>
                                      </p:cBhvr>
                                      <p:to>
                                        <p:strVal val="visible"/>
                                      </p:to>
                                    </p:set>
                                    <p:animEffect transition="in" filter="fade">
                                      <p:cBhvr>
                                        <p:cTn id="163" dur="500"/>
                                        <p:tgtEl>
                                          <p:spTgt spid="11"/>
                                        </p:tgtEl>
                                      </p:cBhvr>
                                    </p:animEffect>
                                  </p:childTnLst>
                                </p:cTn>
                              </p:par>
                              <p:par>
                                <p:cTn id="164" presetID="10" presetClass="entr" presetSubtype="0" fill="hold" grpId="0" nodeType="withEffect">
                                  <p:stCondLst>
                                    <p:cond delay="0"/>
                                  </p:stCondLst>
                                  <p:childTnLst>
                                    <p:set>
                                      <p:cBhvr>
                                        <p:cTn id="165" dur="1" fill="hold">
                                          <p:stCondLst>
                                            <p:cond delay="0"/>
                                          </p:stCondLst>
                                        </p:cTn>
                                        <p:tgtEl>
                                          <p:spTgt spid="83"/>
                                        </p:tgtEl>
                                        <p:attrNameLst>
                                          <p:attrName>style.visibility</p:attrName>
                                        </p:attrNameLst>
                                      </p:cBhvr>
                                      <p:to>
                                        <p:strVal val="visible"/>
                                      </p:to>
                                    </p:set>
                                    <p:animEffect transition="in" filter="fade">
                                      <p:cBhvr>
                                        <p:cTn id="166" dur="500"/>
                                        <p:tgtEl>
                                          <p:spTgt spid="83"/>
                                        </p:tgtEl>
                                      </p:cBhvr>
                                    </p:animEffect>
                                  </p:childTnLst>
                                </p:cTn>
                              </p:par>
                            </p:childTnLst>
                          </p:cTn>
                        </p:par>
                        <p:par>
                          <p:cTn id="167" fill="hold">
                            <p:stCondLst>
                              <p:cond delay="5000"/>
                            </p:stCondLst>
                            <p:childTnLst>
                              <p:par>
                                <p:cTn id="168" presetID="22" presetClass="entr" presetSubtype="2" fill="hold" nodeType="afterEffect">
                                  <p:stCondLst>
                                    <p:cond delay="0"/>
                                  </p:stCondLst>
                                  <p:childTnLst>
                                    <p:set>
                                      <p:cBhvr>
                                        <p:cTn id="169" dur="1" fill="hold">
                                          <p:stCondLst>
                                            <p:cond delay="0"/>
                                          </p:stCondLst>
                                        </p:cTn>
                                        <p:tgtEl>
                                          <p:spTgt spid="50"/>
                                        </p:tgtEl>
                                        <p:attrNameLst>
                                          <p:attrName>style.visibility</p:attrName>
                                        </p:attrNameLst>
                                      </p:cBhvr>
                                      <p:to>
                                        <p:strVal val="visible"/>
                                      </p:to>
                                    </p:set>
                                    <p:animEffect transition="in" filter="wipe(right)">
                                      <p:cBhvr>
                                        <p:cTn id="170" dur="500"/>
                                        <p:tgtEl>
                                          <p:spTgt spid="50"/>
                                        </p:tgtEl>
                                      </p:cBhvr>
                                    </p:animEffect>
                                  </p:childTnLst>
                                </p:cTn>
                              </p:par>
                            </p:childTnLst>
                          </p:cTn>
                        </p:par>
                        <p:par>
                          <p:cTn id="171" fill="hold">
                            <p:stCondLst>
                              <p:cond delay="5500"/>
                            </p:stCondLst>
                            <p:childTnLst>
                              <p:par>
                                <p:cTn id="172" presetID="10" presetClass="entr" presetSubtype="0" fill="hold" grpId="0" nodeType="afterEffect">
                                  <p:stCondLst>
                                    <p:cond delay="0"/>
                                  </p:stCondLst>
                                  <p:childTnLst>
                                    <p:set>
                                      <p:cBhvr>
                                        <p:cTn id="173" dur="1" fill="hold">
                                          <p:stCondLst>
                                            <p:cond delay="0"/>
                                          </p:stCondLst>
                                        </p:cTn>
                                        <p:tgtEl>
                                          <p:spTgt spid="53"/>
                                        </p:tgtEl>
                                        <p:attrNameLst>
                                          <p:attrName>style.visibility</p:attrName>
                                        </p:attrNameLst>
                                      </p:cBhvr>
                                      <p:to>
                                        <p:strVal val="visible"/>
                                      </p:to>
                                    </p:set>
                                    <p:animEffect transition="in" filter="fade">
                                      <p:cBhvr>
                                        <p:cTn id="174" dur="500"/>
                                        <p:tgtEl>
                                          <p:spTgt spid="53"/>
                                        </p:tgtEl>
                                      </p:cBhvr>
                                    </p:animEffect>
                                  </p:childTnLst>
                                </p:cTn>
                              </p:par>
                              <p:par>
                                <p:cTn id="175" presetID="10" presetClass="entr" presetSubtype="0" fill="hold" grpId="0" nodeType="withEffect">
                                  <p:stCondLst>
                                    <p:cond delay="0"/>
                                  </p:stCondLst>
                                  <p:childTnLst>
                                    <p:set>
                                      <p:cBhvr>
                                        <p:cTn id="176" dur="1" fill="hold">
                                          <p:stCondLst>
                                            <p:cond delay="0"/>
                                          </p:stCondLst>
                                        </p:cTn>
                                        <p:tgtEl>
                                          <p:spTgt spid="54"/>
                                        </p:tgtEl>
                                        <p:attrNameLst>
                                          <p:attrName>style.visibility</p:attrName>
                                        </p:attrNameLst>
                                      </p:cBhvr>
                                      <p:to>
                                        <p:strVal val="visible"/>
                                      </p:to>
                                    </p:set>
                                    <p:animEffect transition="in" filter="fade">
                                      <p:cBhvr>
                                        <p:cTn id="177" dur="500"/>
                                        <p:tgtEl>
                                          <p:spTgt spid="54"/>
                                        </p:tgtEl>
                                      </p:cBhvr>
                                    </p:animEffect>
                                  </p:childTnLst>
                                </p:cTn>
                              </p:par>
                            </p:childTnLst>
                          </p:cTn>
                        </p:par>
                        <p:par>
                          <p:cTn id="178" fill="hold">
                            <p:stCondLst>
                              <p:cond delay="6000"/>
                            </p:stCondLst>
                            <p:childTnLst>
                              <p:par>
                                <p:cTn id="179" presetID="10" presetClass="entr" presetSubtype="0" fill="hold" grpId="0" nodeType="afterEffect">
                                  <p:stCondLst>
                                    <p:cond delay="0"/>
                                  </p:stCondLst>
                                  <p:childTnLst>
                                    <p:set>
                                      <p:cBhvr>
                                        <p:cTn id="180" dur="1" fill="hold">
                                          <p:stCondLst>
                                            <p:cond delay="0"/>
                                          </p:stCondLst>
                                        </p:cTn>
                                        <p:tgtEl>
                                          <p:spTgt spid="5"/>
                                        </p:tgtEl>
                                        <p:attrNameLst>
                                          <p:attrName>style.visibility</p:attrName>
                                        </p:attrNameLst>
                                      </p:cBhvr>
                                      <p:to>
                                        <p:strVal val="visible"/>
                                      </p:to>
                                    </p:set>
                                    <p:animEffect transition="in" filter="fade">
                                      <p:cBhvr>
                                        <p:cTn id="181" dur="500"/>
                                        <p:tgtEl>
                                          <p:spTgt spid="5"/>
                                        </p:tgtEl>
                                      </p:cBhvr>
                                    </p:animEffect>
                                  </p:childTnLst>
                                </p:cTn>
                              </p:par>
                              <p:par>
                                <p:cTn id="182" presetID="10" presetClass="entr" presetSubtype="0" fill="hold" nodeType="withEffect">
                                  <p:stCondLst>
                                    <p:cond delay="0"/>
                                  </p:stCondLst>
                                  <p:childTnLst>
                                    <p:set>
                                      <p:cBhvr>
                                        <p:cTn id="183" dur="1" fill="hold">
                                          <p:stCondLst>
                                            <p:cond delay="0"/>
                                          </p:stCondLst>
                                        </p:cTn>
                                        <p:tgtEl>
                                          <p:spTgt spid="73"/>
                                        </p:tgtEl>
                                        <p:attrNameLst>
                                          <p:attrName>style.visibility</p:attrName>
                                        </p:attrNameLst>
                                      </p:cBhvr>
                                      <p:to>
                                        <p:strVal val="visible"/>
                                      </p:to>
                                    </p:set>
                                    <p:animEffect transition="in" filter="fade">
                                      <p:cBhvr>
                                        <p:cTn id="184" dur="500"/>
                                        <p:tgtEl>
                                          <p:spTgt spid="73"/>
                                        </p:tgtEl>
                                      </p:cBhvr>
                                    </p:animEffect>
                                  </p:childTnLst>
                                </p:cTn>
                              </p:par>
                            </p:childTnLst>
                          </p:cTn>
                        </p:par>
                        <p:par>
                          <p:cTn id="185" fill="hold">
                            <p:stCondLst>
                              <p:cond delay="6500"/>
                            </p:stCondLst>
                            <p:childTnLst>
                              <p:par>
                                <p:cTn id="186" presetID="22" presetClass="entr" presetSubtype="8" fill="hold" nodeType="afterEffect">
                                  <p:stCondLst>
                                    <p:cond delay="0"/>
                                  </p:stCondLst>
                                  <p:childTnLst>
                                    <p:set>
                                      <p:cBhvr>
                                        <p:cTn id="187" dur="1" fill="hold">
                                          <p:stCondLst>
                                            <p:cond delay="0"/>
                                          </p:stCondLst>
                                        </p:cTn>
                                        <p:tgtEl>
                                          <p:spTgt spid="55"/>
                                        </p:tgtEl>
                                        <p:attrNameLst>
                                          <p:attrName>style.visibility</p:attrName>
                                        </p:attrNameLst>
                                      </p:cBhvr>
                                      <p:to>
                                        <p:strVal val="visible"/>
                                      </p:to>
                                    </p:set>
                                    <p:animEffect transition="in" filter="wipe(left)">
                                      <p:cBhvr>
                                        <p:cTn id="188" dur="500"/>
                                        <p:tgtEl>
                                          <p:spTgt spid="55"/>
                                        </p:tgtEl>
                                      </p:cBhvr>
                                    </p:animEffect>
                                  </p:childTnLst>
                                </p:cTn>
                              </p:par>
                            </p:childTnLst>
                          </p:cTn>
                        </p:par>
                        <p:par>
                          <p:cTn id="189" fill="hold">
                            <p:stCondLst>
                              <p:cond delay="7000"/>
                            </p:stCondLst>
                            <p:childTnLst>
                              <p:par>
                                <p:cTn id="190" presetID="10" presetClass="entr" presetSubtype="0" fill="hold" grpId="0" nodeType="afterEffect">
                                  <p:stCondLst>
                                    <p:cond delay="0"/>
                                  </p:stCondLst>
                                  <p:childTnLst>
                                    <p:set>
                                      <p:cBhvr>
                                        <p:cTn id="191" dur="1" fill="hold">
                                          <p:stCondLst>
                                            <p:cond delay="0"/>
                                          </p:stCondLst>
                                        </p:cTn>
                                        <p:tgtEl>
                                          <p:spTgt spid="58"/>
                                        </p:tgtEl>
                                        <p:attrNameLst>
                                          <p:attrName>style.visibility</p:attrName>
                                        </p:attrNameLst>
                                      </p:cBhvr>
                                      <p:to>
                                        <p:strVal val="visible"/>
                                      </p:to>
                                    </p:set>
                                    <p:animEffect transition="in" filter="fade">
                                      <p:cBhvr>
                                        <p:cTn id="192" dur="500"/>
                                        <p:tgtEl>
                                          <p:spTgt spid="58"/>
                                        </p:tgtEl>
                                      </p:cBhvr>
                                    </p:animEffect>
                                  </p:childTnLst>
                                </p:cTn>
                              </p:par>
                              <p:par>
                                <p:cTn id="193" presetID="10" presetClass="entr" presetSubtype="0" fill="hold" grpId="0" nodeType="withEffect">
                                  <p:stCondLst>
                                    <p:cond delay="0"/>
                                  </p:stCondLst>
                                  <p:childTnLst>
                                    <p:set>
                                      <p:cBhvr>
                                        <p:cTn id="194" dur="1" fill="hold">
                                          <p:stCondLst>
                                            <p:cond delay="0"/>
                                          </p:stCondLst>
                                        </p:cTn>
                                        <p:tgtEl>
                                          <p:spTgt spid="59"/>
                                        </p:tgtEl>
                                        <p:attrNameLst>
                                          <p:attrName>style.visibility</p:attrName>
                                        </p:attrNameLst>
                                      </p:cBhvr>
                                      <p:to>
                                        <p:strVal val="visible"/>
                                      </p:to>
                                    </p:set>
                                    <p:animEffect transition="in" filter="fade">
                                      <p:cBhvr>
                                        <p:cTn id="195" dur="500"/>
                                        <p:tgtEl>
                                          <p:spTgt spid="59"/>
                                        </p:tgtEl>
                                      </p:cBhvr>
                                    </p:animEffect>
                                  </p:childTnLst>
                                </p:cTn>
                              </p:par>
                            </p:childTnLst>
                          </p:cTn>
                        </p:par>
                        <p:par>
                          <p:cTn id="196" fill="hold">
                            <p:stCondLst>
                              <p:cond delay="7500"/>
                            </p:stCondLst>
                            <p:childTnLst>
                              <p:par>
                                <p:cTn id="197" presetID="10" presetClass="entr" presetSubtype="0" fill="hold" grpId="0" nodeType="afterEffect">
                                  <p:stCondLst>
                                    <p:cond delay="0"/>
                                  </p:stCondLst>
                                  <p:childTnLst>
                                    <p:set>
                                      <p:cBhvr>
                                        <p:cTn id="198" dur="1" fill="hold">
                                          <p:stCondLst>
                                            <p:cond delay="0"/>
                                          </p:stCondLst>
                                        </p:cTn>
                                        <p:tgtEl>
                                          <p:spTgt spid="4"/>
                                        </p:tgtEl>
                                        <p:attrNameLst>
                                          <p:attrName>style.visibility</p:attrName>
                                        </p:attrNameLst>
                                      </p:cBhvr>
                                      <p:to>
                                        <p:strVal val="visible"/>
                                      </p:to>
                                    </p:set>
                                    <p:animEffect transition="in" filter="fade">
                                      <p:cBhvr>
                                        <p:cTn id="199" dur="500"/>
                                        <p:tgtEl>
                                          <p:spTgt spid="4"/>
                                        </p:tgtEl>
                                      </p:cBhvr>
                                    </p:animEffect>
                                  </p:childTnLst>
                                </p:cTn>
                              </p:par>
                              <p:par>
                                <p:cTn id="200" presetID="10" presetClass="entr" presetSubtype="0" fill="hold" grpId="0" nodeType="withEffect">
                                  <p:stCondLst>
                                    <p:cond delay="0"/>
                                  </p:stCondLst>
                                  <p:childTnLst>
                                    <p:set>
                                      <p:cBhvr>
                                        <p:cTn id="201" dur="1" fill="hold">
                                          <p:stCondLst>
                                            <p:cond delay="0"/>
                                          </p:stCondLst>
                                        </p:cTn>
                                        <p:tgtEl>
                                          <p:spTgt spid="72"/>
                                        </p:tgtEl>
                                        <p:attrNameLst>
                                          <p:attrName>style.visibility</p:attrName>
                                        </p:attrNameLst>
                                      </p:cBhvr>
                                      <p:to>
                                        <p:strVal val="visible"/>
                                      </p:to>
                                    </p:set>
                                    <p:animEffect transition="in" filter="fade">
                                      <p:cBhvr>
                                        <p:cTn id="202" dur="500"/>
                                        <p:tgtEl>
                                          <p:spTgt spid="72"/>
                                        </p:tgtEl>
                                      </p:cBhvr>
                                    </p:animEffect>
                                  </p:childTnLst>
                                </p:cTn>
                              </p:par>
                              <p:par>
                                <p:cTn id="203" presetID="10" presetClass="entr" presetSubtype="0" fill="hold" grpId="0" nodeType="withEffect">
                                  <p:stCondLst>
                                    <p:cond delay="0"/>
                                  </p:stCondLst>
                                  <p:childTnLst>
                                    <p:set>
                                      <p:cBhvr>
                                        <p:cTn id="204" dur="1" fill="hold">
                                          <p:stCondLst>
                                            <p:cond delay="0"/>
                                          </p:stCondLst>
                                        </p:cTn>
                                        <p:tgtEl>
                                          <p:spTgt spid="17"/>
                                        </p:tgtEl>
                                        <p:attrNameLst>
                                          <p:attrName>style.visibility</p:attrName>
                                        </p:attrNameLst>
                                      </p:cBhvr>
                                      <p:to>
                                        <p:strVal val="visible"/>
                                      </p:to>
                                    </p:set>
                                    <p:animEffect transition="in" filter="fade">
                                      <p:cBhvr>
                                        <p:cTn id="205" dur="500"/>
                                        <p:tgtEl>
                                          <p:spTgt spid="17"/>
                                        </p:tgtEl>
                                      </p:cBhvr>
                                    </p:animEffect>
                                  </p:childTnLst>
                                </p:cTn>
                              </p:par>
                              <p:par>
                                <p:cTn id="206" presetID="10" presetClass="entr" presetSubtype="0" fill="hold" grpId="0" nodeType="withEffect">
                                  <p:stCondLst>
                                    <p:cond delay="0"/>
                                  </p:stCondLst>
                                  <p:childTnLst>
                                    <p:set>
                                      <p:cBhvr>
                                        <p:cTn id="207" dur="1" fill="hold">
                                          <p:stCondLst>
                                            <p:cond delay="0"/>
                                          </p:stCondLst>
                                        </p:cTn>
                                        <p:tgtEl>
                                          <p:spTgt spid="100"/>
                                        </p:tgtEl>
                                        <p:attrNameLst>
                                          <p:attrName>style.visibility</p:attrName>
                                        </p:attrNameLst>
                                      </p:cBhvr>
                                      <p:to>
                                        <p:strVal val="visible"/>
                                      </p:to>
                                    </p:set>
                                    <p:animEffect transition="in" filter="fade">
                                      <p:cBhvr>
                                        <p:cTn id="208" dur="500"/>
                                        <p:tgtEl>
                                          <p:spTgt spid="100"/>
                                        </p:tgtEl>
                                      </p:cBhvr>
                                    </p:animEffect>
                                  </p:childTnLst>
                                </p:cTn>
                              </p:par>
                            </p:childTnLst>
                          </p:cTn>
                        </p:par>
                        <p:par>
                          <p:cTn id="209" fill="hold">
                            <p:stCondLst>
                              <p:cond delay="8000"/>
                            </p:stCondLst>
                            <p:childTnLst>
                              <p:par>
                                <p:cTn id="210" presetID="22" presetClass="entr" presetSubtype="8" fill="hold" nodeType="afterEffect">
                                  <p:stCondLst>
                                    <p:cond delay="0"/>
                                  </p:stCondLst>
                                  <p:childTnLst>
                                    <p:set>
                                      <p:cBhvr>
                                        <p:cTn id="211" dur="1" fill="hold">
                                          <p:stCondLst>
                                            <p:cond delay="0"/>
                                          </p:stCondLst>
                                        </p:cTn>
                                        <p:tgtEl>
                                          <p:spTgt spid="60"/>
                                        </p:tgtEl>
                                        <p:attrNameLst>
                                          <p:attrName>style.visibility</p:attrName>
                                        </p:attrNameLst>
                                      </p:cBhvr>
                                      <p:to>
                                        <p:strVal val="visible"/>
                                      </p:to>
                                    </p:set>
                                    <p:animEffect transition="in" filter="wipe(left)">
                                      <p:cBhvr>
                                        <p:cTn id="212" dur="500"/>
                                        <p:tgtEl>
                                          <p:spTgt spid="60"/>
                                        </p:tgtEl>
                                      </p:cBhvr>
                                    </p:animEffect>
                                  </p:childTnLst>
                                </p:cTn>
                              </p:par>
                            </p:childTnLst>
                          </p:cTn>
                        </p:par>
                        <p:par>
                          <p:cTn id="213" fill="hold">
                            <p:stCondLst>
                              <p:cond delay="8500"/>
                            </p:stCondLst>
                            <p:childTnLst>
                              <p:par>
                                <p:cTn id="214" presetID="10" presetClass="entr" presetSubtype="0" fill="hold" grpId="0" nodeType="afterEffect">
                                  <p:stCondLst>
                                    <p:cond delay="0"/>
                                  </p:stCondLst>
                                  <p:childTnLst>
                                    <p:set>
                                      <p:cBhvr>
                                        <p:cTn id="215" dur="1" fill="hold">
                                          <p:stCondLst>
                                            <p:cond delay="0"/>
                                          </p:stCondLst>
                                        </p:cTn>
                                        <p:tgtEl>
                                          <p:spTgt spid="63"/>
                                        </p:tgtEl>
                                        <p:attrNameLst>
                                          <p:attrName>style.visibility</p:attrName>
                                        </p:attrNameLst>
                                      </p:cBhvr>
                                      <p:to>
                                        <p:strVal val="visible"/>
                                      </p:to>
                                    </p:set>
                                    <p:animEffect transition="in" filter="fade">
                                      <p:cBhvr>
                                        <p:cTn id="216" dur="500"/>
                                        <p:tgtEl>
                                          <p:spTgt spid="63"/>
                                        </p:tgtEl>
                                      </p:cBhvr>
                                    </p:animEffect>
                                  </p:childTnLst>
                                </p:cTn>
                              </p:par>
                              <p:par>
                                <p:cTn id="217" presetID="10" presetClass="entr" presetSubtype="0" fill="hold" grpId="0" nodeType="withEffect">
                                  <p:stCondLst>
                                    <p:cond delay="0"/>
                                  </p:stCondLst>
                                  <p:childTnLst>
                                    <p:set>
                                      <p:cBhvr>
                                        <p:cTn id="218" dur="1" fill="hold">
                                          <p:stCondLst>
                                            <p:cond delay="0"/>
                                          </p:stCondLst>
                                        </p:cTn>
                                        <p:tgtEl>
                                          <p:spTgt spid="64"/>
                                        </p:tgtEl>
                                        <p:attrNameLst>
                                          <p:attrName>style.visibility</p:attrName>
                                        </p:attrNameLst>
                                      </p:cBhvr>
                                      <p:to>
                                        <p:strVal val="visible"/>
                                      </p:to>
                                    </p:set>
                                    <p:animEffect transition="in" filter="fade">
                                      <p:cBhvr>
                                        <p:cTn id="219" dur="500"/>
                                        <p:tgtEl>
                                          <p:spTgt spid="64"/>
                                        </p:tgtEl>
                                      </p:cBhvr>
                                    </p:animEffect>
                                  </p:childTnLst>
                                </p:cTn>
                              </p:par>
                            </p:childTnLst>
                          </p:cTn>
                        </p:par>
                        <p:par>
                          <p:cTn id="220" fill="hold">
                            <p:stCondLst>
                              <p:cond delay="9000"/>
                            </p:stCondLst>
                            <p:childTnLst>
                              <p:par>
                                <p:cTn id="221" presetID="10" presetClass="entr" presetSubtype="0" fill="hold" grpId="0" nodeType="afterEffect">
                                  <p:stCondLst>
                                    <p:cond delay="0"/>
                                  </p:stCondLst>
                                  <p:childTnLst>
                                    <p:set>
                                      <p:cBhvr>
                                        <p:cTn id="222" dur="1" fill="hold">
                                          <p:stCondLst>
                                            <p:cond delay="0"/>
                                          </p:stCondLst>
                                        </p:cTn>
                                        <p:tgtEl>
                                          <p:spTgt spid="8"/>
                                        </p:tgtEl>
                                        <p:attrNameLst>
                                          <p:attrName>style.visibility</p:attrName>
                                        </p:attrNameLst>
                                      </p:cBhvr>
                                      <p:to>
                                        <p:strVal val="visible"/>
                                      </p:to>
                                    </p:set>
                                    <p:animEffect transition="in" filter="fade">
                                      <p:cBhvr>
                                        <p:cTn id="223" dur="500"/>
                                        <p:tgtEl>
                                          <p:spTgt spid="8"/>
                                        </p:tgtEl>
                                      </p:cBhvr>
                                    </p:animEffect>
                                  </p:childTnLst>
                                </p:cTn>
                              </p:par>
                              <p:par>
                                <p:cTn id="224" presetID="10" presetClass="entr" presetSubtype="0" fill="hold" grpId="0" nodeType="withEffect">
                                  <p:stCondLst>
                                    <p:cond delay="0"/>
                                  </p:stCondLst>
                                  <p:childTnLst>
                                    <p:set>
                                      <p:cBhvr>
                                        <p:cTn id="225" dur="1" fill="hold">
                                          <p:stCondLst>
                                            <p:cond delay="0"/>
                                          </p:stCondLst>
                                        </p:cTn>
                                        <p:tgtEl>
                                          <p:spTgt spid="99"/>
                                        </p:tgtEl>
                                        <p:attrNameLst>
                                          <p:attrName>style.visibility</p:attrName>
                                        </p:attrNameLst>
                                      </p:cBhvr>
                                      <p:to>
                                        <p:strVal val="visible"/>
                                      </p:to>
                                    </p:set>
                                    <p:animEffect transition="in" filter="fade">
                                      <p:cBhvr>
                                        <p:cTn id="226" dur="500"/>
                                        <p:tgtEl>
                                          <p:spTgt spid="99"/>
                                        </p:tgtEl>
                                      </p:cBhvr>
                                    </p:animEffect>
                                  </p:childTnLst>
                                </p:cTn>
                              </p:par>
                              <p:par>
                                <p:cTn id="227" presetID="10" presetClass="entr" presetSubtype="0" fill="hold" grpId="0" nodeType="withEffect">
                                  <p:stCondLst>
                                    <p:cond delay="0"/>
                                  </p:stCondLst>
                                  <p:childTnLst>
                                    <p:set>
                                      <p:cBhvr>
                                        <p:cTn id="228" dur="1" fill="hold">
                                          <p:stCondLst>
                                            <p:cond delay="0"/>
                                          </p:stCondLst>
                                        </p:cTn>
                                        <p:tgtEl>
                                          <p:spTgt spid="9"/>
                                        </p:tgtEl>
                                        <p:attrNameLst>
                                          <p:attrName>style.visibility</p:attrName>
                                        </p:attrNameLst>
                                      </p:cBhvr>
                                      <p:to>
                                        <p:strVal val="visible"/>
                                      </p:to>
                                    </p:set>
                                    <p:animEffect transition="in" filter="fade">
                                      <p:cBhvr>
                                        <p:cTn id="229" dur="500"/>
                                        <p:tgtEl>
                                          <p:spTgt spid="9"/>
                                        </p:tgtEl>
                                      </p:cBhvr>
                                    </p:animEffect>
                                  </p:childTnLst>
                                </p:cTn>
                              </p:par>
                              <p:par>
                                <p:cTn id="230" presetID="10" presetClass="entr" presetSubtype="0" fill="hold" nodeType="withEffect">
                                  <p:stCondLst>
                                    <p:cond delay="0"/>
                                  </p:stCondLst>
                                  <p:childTnLst>
                                    <p:set>
                                      <p:cBhvr>
                                        <p:cTn id="231" dur="1" fill="hold">
                                          <p:stCondLst>
                                            <p:cond delay="0"/>
                                          </p:stCondLst>
                                        </p:cTn>
                                        <p:tgtEl>
                                          <p:spTgt spid="92"/>
                                        </p:tgtEl>
                                        <p:attrNameLst>
                                          <p:attrName>style.visibility</p:attrName>
                                        </p:attrNameLst>
                                      </p:cBhvr>
                                      <p:to>
                                        <p:strVal val="visible"/>
                                      </p:to>
                                    </p:set>
                                    <p:animEffect transition="in" filter="fade">
                                      <p:cBhvr>
                                        <p:cTn id="232" dur="500"/>
                                        <p:tgtEl>
                                          <p:spTgt spid="92"/>
                                        </p:tgtEl>
                                      </p:cBhvr>
                                    </p:animEffect>
                                  </p:childTnLst>
                                </p:cTn>
                              </p:par>
                            </p:childTnLst>
                          </p:cTn>
                        </p:par>
                        <p:par>
                          <p:cTn id="233" fill="hold">
                            <p:stCondLst>
                              <p:cond delay="9500"/>
                            </p:stCondLst>
                            <p:childTnLst>
                              <p:par>
                                <p:cTn id="234" presetID="22" presetClass="entr" presetSubtype="8" fill="hold" nodeType="afterEffect">
                                  <p:stCondLst>
                                    <p:cond delay="0"/>
                                  </p:stCondLst>
                                  <p:childTnLst>
                                    <p:set>
                                      <p:cBhvr>
                                        <p:cTn id="235" dur="1" fill="hold">
                                          <p:stCondLst>
                                            <p:cond delay="0"/>
                                          </p:stCondLst>
                                        </p:cTn>
                                        <p:tgtEl>
                                          <p:spTgt spid="65"/>
                                        </p:tgtEl>
                                        <p:attrNameLst>
                                          <p:attrName>style.visibility</p:attrName>
                                        </p:attrNameLst>
                                      </p:cBhvr>
                                      <p:to>
                                        <p:strVal val="visible"/>
                                      </p:to>
                                    </p:set>
                                    <p:animEffect transition="in" filter="wipe(left)">
                                      <p:cBhvr>
                                        <p:cTn id="236" dur="500"/>
                                        <p:tgtEl>
                                          <p:spTgt spid="65"/>
                                        </p:tgtEl>
                                      </p:cBhvr>
                                    </p:animEffect>
                                  </p:childTnLst>
                                </p:cTn>
                              </p:par>
                            </p:childTnLst>
                          </p:cTn>
                        </p:par>
                        <p:par>
                          <p:cTn id="237" fill="hold">
                            <p:stCondLst>
                              <p:cond delay="10000"/>
                            </p:stCondLst>
                            <p:childTnLst>
                              <p:par>
                                <p:cTn id="238" presetID="10" presetClass="entr" presetSubtype="0" fill="hold" grpId="0" nodeType="afterEffect">
                                  <p:stCondLst>
                                    <p:cond delay="0"/>
                                  </p:stCondLst>
                                  <p:childTnLst>
                                    <p:set>
                                      <p:cBhvr>
                                        <p:cTn id="239" dur="1" fill="hold">
                                          <p:stCondLst>
                                            <p:cond delay="0"/>
                                          </p:stCondLst>
                                        </p:cTn>
                                        <p:tgtEl>
                                          <p:spTgt spid="68"/>
                                        </p:tgtEl>
                                        <p:attrNameLst>
                                          <p:attrName>style.visibility</p:attrName>
                                        </p:attrNameLst>
                                      </p:cBhvr>
                                      <p:to>
                                        <p:strVal val="visible"/>
                                      </p:to>
                                    </p:set>
                                    <p:animEffect transition="in" filter="fade">
                                      <p:cBhvr>
                                        <p:cTn id="240" dur="500"/>
                                        <p:tgtEl>
                                          <p:spTgt spid="68"/>
                                        </p:tgtEl>
                                      </p:cBhvr>
                                    </p:animEffect>
                                  </p:childTnLst>
                                </p:cTn>
                              </p:par>
                              <p:par>
                                <p:cTn id="241" presetID="10" presetClass="entr" presetSubtype="0" fill="hold" grpId="0" nodeType="withEffect">
                                  <p:stCondLst>
                                    <p:cond delay="0"/>
                                  </p:stCondLst>
                                  <p:childTnLst>
                                    <p:set>
                                      <p:cBhvr>
                                        <p:cTn id="242" dur="1" fill="hold">
                                          <p:stCondLst>
                                            <p:cond delay="0"/>
                                          </p:stCondLst>
                                        </p:cTn>
                                        <p:tgtEl>
                                          <p:spTgt spid="69"/>
                                        </p:tgtEl>
                                        <p:attrNameLst>
                                          <p:attrName>style.visibility</p:attrName>
                                        </p:attrNameLst>
                                      </p:cBhvr>
                                      <p:to>
                                        <p:strVal val="visible"/>
                                      </p:to>
                                    </p:set>
                                    <p:animEffect transition="in" filter="fade">
                                      <p:cBhvr>
                                        <p:cTn id="243" dur="500"/>
                                        <p:tgtEl>
                                          <p:spTgt spid="6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animBg="1"/>
      <p:bldP spid="4" grpId="0" animBg="1"/>
      <p:bldP spid="5" grpId="0" animBg="1"/>
      <p:bldP spid="6" grpId="0" animBg="1"/>
      <p:bldP spid="7" grpId="0" animBg="1"/>
      <p:bldP spid="8" grpId="0" animBg="1"/>
      <p:bldP spid="9" grpId="0" animBg="1"/>
      <p:bldP spid="10"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26" grpId="0" animBg="1"/>
      <p:bldP spid="27" grpId="0" animBg="1"/>
      <p:bldP spid="28" grpId="0" animBg="1"/>
      <p:bldP spid="29" grpId="0" animBg="1"/>
      <p:bldP spid="30" grpId="0" animBg="1"/>
      <p:bldP spid="31" grpId="0" animBg="1"/>
      <p:bldP spid="32" grpId="0" animBg="1"/>
      <p:bldP spid="33" grpId="0" animBg="1"/>
      <p:bldP spid="34" grpId="0" animBg="1"/>
      <p:bldP spid="35" grpId="0" animBg="1"/>
      <p:bldP spid="36" grpId="0" animBg="1"/>
      <p:bldP spid="37" grpId="0" animBg="1"/>
      <p:bldP spid="38" grpId="0" animBg="1"/>
      <p:bldP spid="39" grpId="0" animBg="1"/>
      <p:bldP spid="43" grpId="0"/>
      <p:bldP spid="44" grpId="0"/>
      <p:bldP spid="48" grpId="0"/>
      <p:bldP spid="49" grpId="0"/>
      <p:bldP spid="53" grpId="0"/>
      <p:bldP spid="54" grpId="0"/>
      <p:bldP spid="58" grpId="0"/>
      <p:bldP spid="59" grpId="0"/>
      <p:bldP spid="63" grpId="0"/>
      <p:bldP spid="64" grpId="0"/>
      <p:bldP spid="68" grpId="0"/>
      <p:bldP spid="69" grpId="0"/>
      <p:bldP spid="70" grpId="0" animBg="1"/>
      <p:bldP spid="71" grpId="0" animBg="1"/>
      <p:bldP spid="72" grpId="0" animBg="1"/>
      <p:bldP spid="83" grpId="0" animBg="1"/>
      <p:bldP spid="97" grpId="0"/>
      <p:bldP spid="98" grpId="0"/>
      <p:bldP spid="99" grpId="0"/>
      <p:bldP spid="100" grpId="0"/>
      <p:bldP spid="101" grpId="0"/>
      <p:bldP spid="102" grpId="0" animBg="1"/>
      <p:bldP spid="103" grpId="0" animBg="1"/>
      <p:bldP spid="104" grpId="0" animBg="1"/>
      <p:bldP spid="105"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文本框 10">
            <a:extLst>
              <a:ext uri="{FF2B5EF4-FFF2-40B4-BE49-F238E27FC236}">
                <a16:creationId xmlns:a16="http://schemas.microsoft.com/office/drawing/2014/main" id="{E4393356-E9A7-46D9-B5F5-0D21EC991A29}"/>
              </a:ext>
            </a:extLst>
          </p:cNvPr>
          <p:cNvSpPr txBox="1"/>
          <p:nvPr/>
        </p:nvSpPr>
        <p:spPr>
          <a:xfrm>
            <a:off x="1941017" y="2813447"/>
            <a:ext cx="8309967" cy="1107996"/>
          </a:xfrm>
          <a:prstGeom prst="rect">
            <a:avLst/>
          </a:prstGeom>
          <a:noFill/>
        </p:spPr>
        <p:txBody>
          <a:bodyPr wrap="none" lIns="0" tIns="0" rIns="0" bIns="0" rtlCol="0" anchor="t">
            <a:spAutoFit/>
          </a:bodyPr>
          <a:lstStyle/>
          <a:p>
            <a:pPr algn="ctr"/>
            <a:r>
              <a:rPr lang="zh-CN" altLang="en-US" sz="7200" dirty="0">
                <a:solidFill>
                  <a:schemeClr val="accent1">
                    <a:lumMod val="100000"/>
                  </a:schemeClr>
                </a:solidFill>
                <a:latin typeface="+mj-ea"/>
                <a:ea typeface="+mj-ea"/>
              </a:rPr>
              <a:t>输入你的封面大标题</a:t>
            </a:r>
          </a:p>
        </p:txBody>
      </p:sp>
      <p:grpSp>
        <p:nvGrpSpPr>
          <p:cNvPr id="18" name="组合 17">
            <a:extLst>
              <a:ext uri="{FF2B5EF4-FFF2-40B4-BE49-F238E27FC236}">
                <a16:creationId xmlns:a16="http://schemas.microsoft.com/office/drawing/2014/main" id="{FC799265-AC15-410F-82A2-679AB60B288F}"/>
              </a:ext>
            </a:extLst>
          </p:cNvPr>
          <p:cNvGrpSpPr/>
          <p:nvPr/>
        </p:nvGrpSpPr>
        <p:grpSpPr>
          <a:xfrm>
            <a:off x="4331702" y="4336256"/>
            <a:ext cx="1475214" cy="246221"/>
            <a:chOff x="4095451" y="4640913"/>
            <a:chExt cx="1475214" cy="246221"/>
          </a:xfrm>
        </p:grpSpPr>
        <p:sp>
          <p:nvSpPr>
            <p:cNvPr id="16" name="矩形 15">
              <a:extLst>
                <a:ext uri="{FF2B5EF4-FFF2-40B4-BE49-F238E27FC236}">
                  <a16:creationId xmlns:a16="http://schemas.microsoft.com/office/drawing/2014/main" id="{74C493E7-1B47-4349-BC5B-BF3163490795}"/>
                </a:ext>
              </a:extLst>
            </p:cNvPr>
            <p:cNvSpPr/>
            <p:nvPr/>
          </p:nvSpPr>
          <p:spPr>
            <a:xfrm>
              <a:off x="4095451" y="4672584"/>
              <a:ext cx="164592" cy="164592"/>
            </a:xfrm>
            <a:prstGeom prst="rect">
              <a:avLst/>
            </a:prstGeom>
            <a:solidFill>
              <a:schemeClr val="accent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p>
          </p:txBody>
        </p:sp>
        <p:sp>
          <p:nvSpPr>
            <p:cNvPr id="17" name="文本框 16">
              <a:extLst>
                <a:ext uri="{FF2B5EF4-FFF2-40B4-BE49-F238E27FC236}">
                  <a16:creationId xmlns:a16="http://schemas.microsoft.com/office/drawing/2014/main" id="{B804F6AA-7656-4EF8-84F0-3B3FB5CF0922}"/>
                </a:ext>
              </a:extLst>
            </p:cNvPr>
            <p:cNvSpPr txBox="1"/>
            <p:nvPr/>
          </p:nvSpPr>
          <p:spPr>
            <a:xfrm>
              <a:off x="4408487" y="4640913"/>
              <a:ext cx="1162178" cy="246221"/>
            </a:xfrm>
            <a:prstGeom prst="rect">
              <a:avLst/>
            </a:prstGeom>
            <a:noFill/>
          </p:spPr>
          <p:txBody>
            <a:bodyPr wrap="none" lIns="0" tIns="0" rIns="0" bIns="0" rtlCol="0" anchor="t">
              <a:spAutoFit/>
            </a:bodyPr>
            <a:lstStyle/>
            <a:p>
              <a:r>
                <a:rPr lang="zh-CN" altLang="en-US" sz="1600" dirty="0">
                  <a:solidFill>
                    <a:schemeClr val="accent1">
                      <a:lumMod val="100000"/>
                    </a:schemeClr>
                  </a:solidFill>
                  <a:latin typeface="+mn-ea"/>
                </a:rPr>
                <a:t>汇报人：</a:t>
              </a:r>
              <a:r>
                <a:rPr lang="en-US" altLang="zh-CN" sz="1600" dirty="0">
                  <a:solidFill>
                    <a:schemeClr val="accent1">
                      <a:lumMod val="100000"/>
                    </a:schemeClr>
                  </a:solidFill>
                  <a:latin typeface="+mn-ea"/>
                </a:rPr>
                <a:t>xxx</a:t>
              </a:r>
              <a:endParaRPr lang="zh-CN" altLang="en-US" sz="1600" dirty="0">
                <a:solidFill>
                  <a:schemeClr val="accent1">
                    <a:lumMod val="100000"/>
                  </a:schemeClr>
                </a:solidFill>
                <a:latin typeface="+mn-ea"/>
              </a:endParaRPr>
            </a:p>
          </p:txBody>
        </p:sp>
      </p:grpSp>
      <p:grpSp>
        <p:nvGrpSpPr>
          <p:cNvPr id="19" name="组合 18">
            <a:extLst>
              <a:ext uri="{FF2B5EF4-FFF2-40B4-BE49-F238E27FC236}">
                <a16:creationId xmlns:a16="http://schemas.microsoft.com/office/drawing/2014/main" id="{482B1619-178E-45D1-BC39-C5F4314075B6}"/>
              </a:ext>
            </a:extLst>
          </p:cNvPr>
          <p:cNvGrpSpPr/>
          <p:nvPr/>
        </p:nvGrpSpPr>
        <p:grpSpPr>
          <a:xfrm>
            <a:off x="6590270" y="4336256"/>
            <a:ext cx="1270029" cy="246221"/>
            <a:chOff x="4095451" y="4640913"/>
            <a:chExt cx="1270029" cy="246221"/>
          </a:xfrm>
        </p:grpSpPr>
        <p:sp>
          <p:nvSpPr>
            <p:cNvPr id="20" name="矩形 19">
              <a:extLst>
                <a:ext uri="{FF2B5EF4-FFF2-40B4-BE49-F238E27FC236}">
                  <a16:creationId xmlns:a16="http://schemas.microsoft.com/office/drawing/2014/main" id="{3A1AE345-38CE-49BE-9E58-2C20078777A3}"/>
                </a:ext>
              </a:extLst>
            </p:cNvPr>
            <p:cNvSpPr/>
            <p:nvPr/>
          </p:nvSpPr>
          <p:spPr>
            <a:xfrm>
              <a:off x="4095451" y="4672584"/>
              <a:ext cx="164592" cy="164592"/>
            </a:xfrm>
            <a:prstGeom prst="rect">
              <a:avLst/>
            </a:prstGeom>
            <a:solidFill>
              <a:schemeClr val="accent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p>
          </p:txBody>
        </p:sp>
        <p:sp>
          <p:nvSpPr>
            <p:cNvPr id="21" name="文本框 20">
              <a:extLst>
                <a:ext uri="{FF2B5EF4-FFF2-40B4-BE49-F238E27FC236}">
                  <a16:creationId xmlns:a16="http://schemas.microsoft.com/office/drawing/2014/main" id="{FCC3031D-C171-43E7-B549-82FC96054817}"/>
                </a:ext>
              </a:extLst>
            </p:cNvPr>
            <p:cNvSpPr txBox="1"/>
            <p:nvPr/>
          </p:nvSpPr>
          <p:spPr>
            <a:xfrm>
              <a:off x="4408487" y="4640913"/>
              <a:ext cx="956993" cy="246221"/>
            </a:xfrm>
            <a:prstGeom prst="rect">
              <a:avLst/>
            </a:prstGeom>
            <a:noFill/>
          </p:spPr>
          <p:txBody>
            <a:bodyPr wrap="none" lIns="0" tIns="0" rIns="0" bIns="0" rtlCol="0" anchor="t">
              <a:spAutoFit/>
            </a:bodyPr>
            <a:lstStyle/>
            <a:p>
              <a:r>
                <a:rPr lang="zh-CN" altLang="en-US" sz="1600" dirty="0">
                  <a:solidFill>
                    <a:schemeClr val="accent1">
                      <a:lumMod val="100000"/>
                    </a:schemeClr>
                  </a:solidFill>
                  <a:latin typeface="+mn-ea"/>
                </a:rPr>
                <a:t>单位：</a:t>
              </a:r>
              <a:r>
                <a:rPr lang="en-US" altLang="zh-CN" sz="1600" dirty="0">
                  <a:solidFill>
                    <a:schemeClr val="accent1">
                      <a:lumMod val="100000"/>
                    </a:schemeClr>
                  </a:solidFill>
                  <a:latin typeface="+mn-ea"/>
                </a:rPr>
                <a:t>xxx</a:t>
              </a:r>
              <a:endParaRPr lang="zh-CN" altLang="en-US" sz="1600" dirty="0">
                <a:solidFill>
                  <a:schemeClr val="accent1">
                    <a:lumMod val="100000"/>
                  </a:schemeClr>
                </a:solidFill>
                <a:latin typeface="+mn-ea"/>
              </a:endParaRPr>
            </a:p>
          </p:txBody>
        </p:sp>
      </p:grpSp>
      <p:cxnSp>
        <p:nvCxnSpPr>
          <p:cNvPr id="13" name="直接连接符 12">
            <a:extLst>
              <a:ext uri="{FF2B5EF4-FFF2-40B4-BE49-F238E27FC236}">
                <a16:creationId xmlns:a16="http://schemas.microsoft.com/office/drawing/2014/main" id="{EE069617-9A4C-4041-858D-2D3DE3F35FA4}"/>
              </a:ext>
            </a:extLst>
          </p:cNvPr>
          <p:cNvCxnSpPr>
            <a:cxnSpLocks/>
          </p:cNvCxnSpPr>
          <p:nvPr/>
        </p:nvCxnSpPr>
        <p:spPr>
          <a:xfrm flipH="1">
            <a:off x="2029968" y="4018002"/>
            <a:ext cx="8156448" cy="0"/>
          </a:xfrm>
          <a:prstGeom prst="line">
            <a:avLst/>
          </a:prstGeom>
          <a:ln w="19050">
            <a:solidFill>
              <a:schemeClr val="accent1">
                <a:lumMod val="100000"/>
              </a:schemeClr>
            </a:solidFill>
          </a:ln>
        </p:spPr>
        <p:style>
          <a:lnRef idx="1">
            <a:schemeClr val="accent1"/>
          </a:lnRef>
          <a:fillRef idx="0">
            <a:schemeClr val="accent1"/>
          </a:fillRef>
          <a:effectRef idx="0">
            <a:schemeClr val="accent1"/>
          </a:effectRef>
          <a:fontRef idx="minor">
            <a:schemeClr val="tx1"/>
          </a:fontRef>
        </p:style>
      </p:cxnSp>
      <p:sp>
        <p:nvSpPr>
          <p:cNvPr id="2" name="矩形: 圆角 1">
            <a:extLst>
              <a:ext uri="{FF2B5EF4-FFF2-40B4-BE49-F238E27FC236}">
                <a16:creationId xmlns:a16="http://schemas.microsoft.com/office/drawing/2014/main" id="{52F90B16-433E-4995-85FC-86B349782C9D}"/>
              </a:ext>
            </a:extLst>
          </p:cNvPr>
          <p:cNvSpPr/>
          <p:nvPr/>
        </p:nvSpPr>
        <p:spPr>
          <a:xfrm>
            <a:off x="4840224" y="1980117"/>
            <a:ext cx="2511552" cy="594360"/>
          </a:xfrm>
          <a:prstGeom prst="roundRect">
            <a:avLst>
              <a:gd name="adj" fmla="val 50000"/>
            </a:avLst>
          </a:prstGeom>
          <a:solidFill>
            <a:schemeClr val="accent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000" dirty="0">
                <a:latin typeface="+mn-ea"/>
              </a:rPr>
              <a:t>副标题或</a:t>
            </a:r>
            <a:r>
              <a:rPr lang="en-US" altLang="zh-CN" sz="2000" dirty="0">
                <a:latin typeface="+mn-ea"/>
              </a:rPr>
              <a:t>logo</a:t>
            </a:r>
            <a:endParaRPr lang="zh-CN" altLang="en-US" sz="2000" dirty="0">
              <a:latin typeface="+mn-ea"/>
            </a:endParaRPr>
          </a:p>
        </p:txBody>
      </p:sp>
      <p:cxnSp>
        <p:nvCxnSpPr>
          <p:cNvPr id="22" name="直接连接符 21">
            <a:extLst>
              <a:ext uri="{FF2B5EF4-FFF2-40B4-BE49-F238E27FC236}">
                <a16:creationId xmlns:a16="http://schemas.microsoft.com/office/drawing/2014/main" id="{0BE1F3AF-CAC4-4C86-9021-A5E9C206FA21}"/>
              </a:ext>
            </a:extLst>
          </p:cNvPr>
          <p:cNvCxnSpPr>
            <a:cxnSpLocks/>
          </p:cNvCxnSpPr>
          <p:nvPr/>
        </p:nvCxnSpPr>
        <p:spPr>
          <a:xfrm flipH="1">
            <a:off x="2029968" y="2277297"/>
            <a:ext cx="2614770" cy="0"/>
          </a:xfrm>
          <a:prstGeom prst="line">
            <a:avLst/>
          </a:prstGeom>
          <a:ln w="19050">
            <a:solidFill>
              <a:schemeClr val="accent1">
                <a:lumMod val="100000"/>
              </a:schemeClr>
            </a:solidFill>
          </a:ln>
        </p:spPr>
        <p:style>
          <a:lnRef idx="1">
            <a:schemeClr val="accent1"/>
          </a:lnRef>
          <a:fillRef idx="0">
            <a:schemeClr val="accent1"/>
          </a:fillRef>
          <a:effectRef idx="0">
            <a:schemeClr val="accent1"/>
          </a:effectRef>
          <a:fontRef idx="minor">
            <a:schemeClr val="tx1"/>
          </a:fontRef>
        </p:style>
      </p:cxnSp>
      <p:cxnSp>
        <p:nvCxnSpPr>
          <p:cNvPr id="24" name="直接连接符 23">
            <a:extLst>
              <a:ext uri="{FF2B5EF4-FFF2-40B4-BE49-F238E27FC236}">
                <a16:creationId xmlns:a16="http://schemas.microsoft.com/office/drawing/2014/main" id="{BB74865D-6CD0-44EE-A7BC-E452D5ACE909}"/>
              </a:ext>
            </a:extLst>
          </p:cNvPr>
          <p:cNvCxnSpPr>
            <a:cxnSpLocks/>
          </p:cNvCxnSpPr>
          <p:nvPr/>
        </p:nvCxnSpPr>
        <p:spPr>
          <a:xfrm flipH="1">
            <a:off x="7571646" y="2277297"/>
            <a:ext cx="2614770" cy="0"/>
          </a:xfrm>
          <a:prstGeom prst="line">
            <a:avLst/>
          </a:prstGeom>
          <a:ln w="19050">
            <a:solidFill>
              <a:schemeClr val="accent1">
                <a:lumMod val="10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21522522"/>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bg>
      <p:bgPr>
        <a:solidFill>
          <a:srgbClr val="021044"/>
        </a:solidFill>
        <a:effectLst/>
      </p:bgPr>
    </p:bg>
    <p:spTree>
      <p:nvGrpSpPr>
        <p:cNvPr id="1" name=""/>
        <p:cNvGrpSpPr/>
        <p:nvPr/>
      </p:nvGrpSpPr>
      <p:grpSpPr>
        <a:xfrm>
          <a:off x="0" y="0"/>
          <a:ext cx="0" cy="0"/>
          <a:chOff x="0" y="0"/>
          <a:chExt cx="0" cy="0"/>
        </a:xfrm>
      </p:grpSpPr>
      <p:sp>
        <p:nvSpPr>
          <p:cNvPr id="21" name="椭圆 20">
            <a:extLst>
              <a:ext uri="{FF2B5EF4-FFF2-40B4-BE49-F238E27FC236}">
                <a16:creationId xmlns:a16="http://schemas.microsoft.com/office/drawing/2014/main" id="{DCE86701-5E38-46F7-93D1-B982D9E03324}"/>
              </a:ext>
            </a:extLst>
          </p:cNvPr>
          <p:cNvSpPr/>
          <p:nvPr/>
        </p:nvSpPr>
        <p:spPr>
          <a:xfrm rot="14400000">
            <a:off x="1384292" y="2422864"/>
            <a:ext cx="685800" cy="685800"/>
          </a:xfrm>
          <a:prstGeom prst="ellipse">
            <a:avLst/>
          </a:prstGeom>
          <a:gradFill>
            <a:gsLst>
              <a:gs pos="5000">
                <a:schemeClr val="bg1">
                  <a:alpha val="15000"/>
                </a:schemeClr>
              </a:gs>
              <a:gs pos="95000">
                <a:schemeClr val="bg1">
                  <a:alpha val="0"/>
                </a:scheme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zh-CN" altLang="en-US" sz="1600">
              <a:solidFill>
                <a:schemeClr val="bg1"/>
              </a:solidFill>
              <a:latin typeface="+mj-ea"/>
              <a:ea typeface="+mj-ea"/>
            </a:endParaRPr>
          </a:p>
        </p:txBody>
      </p:sp>
      <p:sp>
        <p:nvSpPr>
          <p:cNvPr id="2" name="椭圆 1">
            <a:extLst>
              <a:ext uri="{FF2B5EF4-FFF2-40B4-BE49-F238E27FC236}">
                <a16:creationId xmlns:a16="http://schemas.microsoft.com/office/drawing/2014/main" id="{DE319B1B-0FE5-4E77-B959-AB6BD41C2D46}"/>
              </a:ext>
            </a:extLst>
          </p:cNvPr>
          <p:cNvSpPr/>
          <p:nvPr/>
        </p:nvSpPr>
        <p:spPr>
          <a:xfrm>
            <a:off x="7343783" y="1051560"/>
            <a:ext cx="3267075" cy="3267075"/>
          </a:xfrm>
          <a:prstGeom prst="ellipse">
            <a:avLst/>
          </a:prstGeom>
          <a:gradFill>
            <a:gsLst>
              <a:gs pos="5000">
                <a:schemeClr val="bg1">
                  <a:alpha val="25000"/>
                </a:schemeClr>
              </a:gs>
              <a:gs pos="95000">
                <a:schemeClr val="bg1">
                  <a:alpha val="0"/>
                </a:schemeClr>
              </a:gs>
            </a:gsLst>
            <a:lin ang="6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zh-CN" altLang="en-US" sz="1600">
              <a:solidFill>
                <a:schemeClr val="bg1"/>
              </a:solidFill>
              <a:latin typeface="+mj-ea"/>
              <a:ea typeface="+mj-ea"/>
            </a:endParaRPr>
          </a:p>
        </p:txBody>
      </p:sp>
      <p:sp>
        <p:nvSpPr>
          <p:cNvPr id="11" name="文本框 10">
            <a:extLst>
              <a:ext uri="{FF2B5EF4-FFF2-40B4-BE49-F238E27FC236}">
                <a16:creationId xmlns:a16="http://schemas.microsoft.com/office/drawing/2014/main" id="{F792569E-EF55-4703-8FA6-7785A3BFB225}"/>
              </a:ext>
            </a:extLst>
          </p:cNvPr>
          <p:cNvSpPr txBox="1"/>
          <p:nvPr/>
        </p:nvSpPr>
        <p:spPr>
          <a:xfrm>
            <a:off x="1760220" y="3611499"/>
            <a:ext cx="6843938" cy="276999"/>
          </a:xfrm>
          <a:prstGeom prst="rect">
            <a:avLst/>
          </a:prstGeom>
          <a:noFill/>
        </p:spPr>
        <p:txBody>
          <a:bodyPr wrap="square" lIns="0" tIns="0" rIns="0" bIns="0" rtlCol="0" anchor="t">
            <a:spAutoFit/>
          </a:bodyPr>
          <a:lstStyle/>
          <a:p>
            <a:pPr algn="dist"/>
            <a:r>
              <a:rPr lang="en-US" altLang="zh-CN" sz="1800" b="0" dirty="0">
                <a:solidFill>
                  <a:schemeClr val="bg1"/>
                </a:solidFill>
                <a:effectLst/>
                <a:latin typeface="+mn-ea"/>
              </a:rPr>
              <a:t>Lorem ipsum dolor sit amet, consectetur adipisicing elit, sed</a:t>
            </a:r>
          </a:p>
        </p:txBody>
      </p:sp>
      <p:sp>
        <p:nvSpPr>
          <p:cNvPr id="12" name="文本框 11">
            <a:extLst>
              <a:ext uri="{FF2B5EF4-FFF2-40B4-BE49-F238E27FC236}">
                <a16:creationId xmlns:a16="http://schemas.microsoft.com/office/drawing/2014/main" id="{C4FFF61B-56CB-421F-B8E5-44D48F23A282}"/>
              </a:ext>
            </a:extLst>
          </p:cNvPr>
          <p:cNvSpPr txBox="1"/>
          <p:nvPr/>
        </p:nvSpPr>
        <p:spPr>
          <a:xfrm>
            <a:off x="1785647" y="2697071"/>
            <a:ext cx="6924973" cy="923330"/>
          </a:xfrm>
          <a:prstGeom prst="rect">
            <a:avLst/>
          </a:prstGeom>
          <a:noFill/>
        </p:spPr>
        <p:txBody>
          <a:bodyPr wrap="none" lIns="0" tIns="0" rIns="0" bIns="0" rtlCol="0" anchor="t">
            <a:spAutoFit/>
          </a:bodyPr>
          <a:lstStyle/>
          <a:p>
            <a:r>
              <a:rPr lang="zh-CN" altLang="en-US" sz="6000" dirty="0">
                <a:solidFill>
                  <a:schemeClr val="bg1"/>
                </a:solidFill>
                <a:latin typeface="+mj-ea"/>
                <a:ea typeface="+mj-ea"/>
              </a:rPr>
              <a:t>输入你的封面大标题</a:t>
            </a:r>
          </a:p>
        </p:txBody>
      </p:sp>
      <p:sp>
        <p:nvSpPr>
          <p:cNvPr id="13" name="文本框 12">
            <a:extLst>
              <a:ext uri="{FF2B5EF4-FFF2-40B4-BE49-F238E27FC236}">
                <a16:creationId xmlns:a16="http://schemas.microsoft.com/office/drawing/2014/main" id="{1E000FA1-DDF1-44DD-8B1E-111D9A30B3FC}"/>
              </a:ext>
            </a:extLst>
          </p:cNvPr>
          <p:cNvSpPr txBox="1"/>
          <p:nvPr/>
        </p:nvSpPr>
        <p:spPr>
          <a:xfrm>
            <a:off x="6439943" y="1764383"/>
            <a:ext cx="2151230" cy="923330"/>
          </a:xfrm>
          <a:prstGeom prst="rect">
            <a:avLst/>
          </a:prstGeom>
          <a:noFill/>
        </p:spPr>
        <p:txBody>
          <a:bodyPr wrap="none" lIns="0" tIns="0" rIns="0" bIns="0" rtlCol="0" anchor="t">
            <a:spAutoFit/>
          </a:bodyPr>
          <a:lstStyle/>
          <a:p>
            <a:r>
              <a:rPr lang="en-US" altLang="zh-CN" sz="6000" dirty="0">
                <a:solidFill>
                  <a:schemeClr val="bg1"/>
                </a:solidFill>
                <a:latin typeface="+mj-ea"/>
                <a:ea typeface="+mj-ea"/>
              </a:rPr>
              <a:t>20XX</a:t>
            </a:r>
            <a:endParaRPr lang="zh-CN" altLang="en-US" sz="6000" dirty="0">
              <a:solidFill>
                <a:schemeClr val="bg1"/>
              </a:solidFill>
              <a:latin typeface="+mj-ea"/>
              <a:ea typeface="+mj-ea"/>
            </a:endParaRPr>
          </a:p>
        </p:txBody>
      </p:sp>
      <p:sp>
        <p:nvSpPr>
          <p:cNvPr id="14" name="矩形: 圆角 13">
            <a:extLst>
              <a:ext uri="{FF2B5EF4-FFF2-40B4-BE49-F238E27FC236}">
                <a16:creationId xmlns:a16="http://schemas.microsoft.com/office/drawing/2014/main" id="{EAA7EABE-F98A-4F3B-B05B-A6B9BD15A806}"/>
              </a:ext>
            </a:extLst>
          </p:cNvPr>
          <p:cNvSpPr/>
          <p:nvPr/>
        </p:nvSpPr>
        <p:spPr>
          <a:xfrm>
            <a:off x="4763678" y="4112895"/>
            <a:ext cx="1653540" cy="411480"/>
          </a:xfrm>
          <a:prstGeom prst="roundRect">
            <a:avLst>
              <a:gd name="adj" fmla="val 50000"/>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a:solidFill>
                  <a:schemeClr val="bg1"/>
                </a:solidFill>
                <a:latin typeface="+mn-ea"/>
              </a:rPr>
              <a:t>汇报人：</a:t>
            </a:r>
            <a:r>
              <a:rPr lang="en-US" altLang="zh-CN" sz="1600" dirty="0">
                <a:solidFill>
                  <a:schemeClr val="bg1"/>
                </a:solidFill>
                <a:latin typeface="+mn-ea"/>
              </a:rPr>
              <a:t>xxx</a:t>
            </a:r>
            <a:endParaRPr lang="zh-CN" altLang="en-US" sz="1600" dirty="0">
              <a:solidFill>
                <a:schemeClr val="bg1"/>
              </a:solidFill>
              <a:latin typeface="+mn-ea"/>
            </a:endParaRPr>
          </a:p>
        </p:txBody>
      </p:sp>
      <p:sp>
        <p:nvSpPr>
          <p:cNvPr id="15" name="矩形: 圆角 14">
            <a:extLst>
              <a:ext uri="{FF2B5EF4-FFF2-40B4-BE49-F238E27FC236}">
                <a16:creationId xmlns:a16="http://schemas.microsoft.com/office/drawing/2014/main" id="{73D3ED12-F640-4876-BB63-D18DA96BEB22}"/>
              </a:ext>
            </a:extLst>
          </p:cNvPr>
          <p:cNvSpPr/>
          <p:nvPr/>
        </p:nvSpPr>
        <p:spPr>
          <a:xfrm>
            <a:off x="6950618" y="4112895"/>
            <a:ext cx="1653540" cy="411480"/>
          </a:xfrm>
          <a:prstGeom prst="roundRect">
            <a:avLst>
              <a:gd name="adj" fmla="val 50000"/>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a:solidFill>
                  <a:schemeClr val="bg1"/>
                </a:solidFill>
                <a:latin typeface="+mn-ea"/>
              </a:rPr>
              <a:t>单位：</a:t>
            </a:r>
            <a:r>
              <a:rPr lang="en-US" altLang="zh-CN" sz="1600" dirty="0">
                <a:solidFill>
                  <a:schemeClr val="bg1"/>
                </a:solidFill>
                <a:latin typeface="+mn-ea"/>
              </a:rPr>
              <a:t>xxx</a:t>
            </a:r>
          </a:p>
        </p:txBody>
      </p:sp>
      <p:sp>
        <p:nvSpPr>
          <p:cNvPr id="19" name="任意多边形: 形状 18">
            <a:extLst>
              <a:ext uri="{FF2B5EF4-FFF2-40B4-BE49-F238E27FC236}">
                <a16:creationId xmlns:a16="http://schemas.microsoft.com/office/drawing/2014/main" id="{A74FDE8C-BE2C-4393-807C-E5EA1D7FBE9F}"/>
              </a:ext>
            </a:extLst>
          </p:cNvPr>
          <p:cNvSpPr/>
          <p:nvPr/>
        </p:nvSpPr>
        <p:spPr>
          <a:xfrm>
            <a:off x="1" y="5976946"/>
            <a:ext cx="881055" cy="881054"/>
          </a:xfrm>
          <a:custGeom>
            <a:avLst/>
            <a:gdLst>
              <a:gd name="connsiteX0" fmla="*/ 0 w 881055"/>
              <a:gd name="connsiteY0" fmla="*/ 0 h 881054"/>
              <a:gd name="connsiteX1" fmla="*/ 881055 w 881055"/>
              <a:gd name="connsiteY1" fmla="*/ 881054 h 881054"/>
              <a:gd name="connsiteX2" fmla="*/ 0 w 881055"/>
              <a:gd name="connsiteY2" fmla="*/ 881054 h 881054"/>
            </a:gdLst>
            <a:ahLst/>
            <a:cxnLst>
              <a:cxn ang="0">
                <a:pos x="connsiteX0" y="connsiteY0"/>
              </a:cxn>
              <a:cxn ang="0">
                <a:pos x="connsiteX1" y="connsiteY1"/>
              </a:cxn>
              <a:cxn ang="0">
                <a:pos x="connsiteX2" y="connsiteY2"/>
              </a:cxn>
            </a:cxnLst>
            <a:rect l="l" t="t" r="r" b="b"/>
            <a:pathLst>
              <a:path w="881055" h="881054">
                <a:moveTo>
                  <a:pt x="0" y="0"/>
                </a:moveTo>
                <a:cubicBezTo>
                  <a:pt x="486593" y="0"/>
                  <a:pt x="881055" y="394461"/>
                  <a:pt x="881055" y="881054"/>
                </a:cubicBezTo>
                <a:lnTo>
                  <a:pt x="0" y="881054"/>
                </a:lnTo>
                <a:close/>
              </a:path>
            </a:pathLst>
          </a:custGeom>
          <a:gradFill>
            <a:gsLst>
              <a:gs pos="5000">
                <a:schemeClr val="bg1">
                  <a:alpha val="20000"/>
                </a:schemeClr>
              </a:gs>
              <a:gs pos="95000">
                <a:schemeClr val="bg1">
                  <a:alpha val="0"/>
                </a:schemeClr>
              </a:gs>
            </a:gsLst>
            <a:lin ang="6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endParaRPr lang="zh-CN" altLang="en-US" sz="1600">
              <a:solidFill>
                <a:schemeClr val="bg1"/>
              </a:solidFill>
              <a:latin typeface="+mj-ea"/>
              <a:ea typeface="+mj-ea"/>
            </a:endParaRPr>
          </a:p>
        </p:txBody>
      </p:sp>
      <p:sp>
        <p:nvSpPr>
          <p:cNvPr id="20" name="椭圆 19">
            <a:extLst>
              <a:ext uri="{FF2B5EF4-FFF2-40B4-BE49-F238E27FC236}">
                <a16:creationId xmlns:a16="http://schemas.microsoft.com/office/drawing/2014/main" id="{81F9B509-37D0-4EF2-8936-4FDD05E4F88E}"/>
              </a:ext>
            </a:extLst>
          </p:cNvPr>
          <p:cNvSpPr/>
          <p:nvPr/>
        </p:nvSpPr>
        <p:spPr>
          <a:xfrm>
            <a:off x="10267958" y="1051560"/>
            <a:ext cx="685800" cy="685800"/>
          </a:xfrm>
          <a:prstGeom prst="ellipse">
            <a:avLst/>
          </a:prstGeom>
          <a:gradFill>
            <a:gsLst>
              <a:gs pos="5000">
                <a:schemeClr val="bg1">
                  <a:alpha val="10000"/>
                </a:schemeClr>
              </a:gs>
              <a:gs pos="95000">
                <a:schemeClr val="bg1">
                  <a:alpha val="0"/>
                </a:scheme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zh-CN" altLang="en-US" sz="1600">
              <a:solidFill>
                <a:schemeClr val="bg1"/>
              </a:solidFill>
              <a:latin typeface="+mj-ea"/>
              <a:ea typeface="+mj-ea"/>
            </a:endParaRPr>
          </a:p>
        </p:txBody>
      </p:sp>
    </p:spTree>
    <p:extLst>
      <p:ext uri="{BB962C8B-B14F-4D97-AF65-F5344CB8AC3E}">
        <p14:creationId xmlns:p14="http://schemas.microsoft.com/office/powerpoint/2010/main" val="594976015"/>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6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96">
            <a:extLst>
              <a:ext uri="{FF2B5EF4-FFF2-40B4-BE49-F238E27FC236}">
                <a16:creationId xmlns:a16="http://schemas.microsoft.com/office/drawing/2014/main" id="{344CA52C-7E8C-45D1-923C-2130B04F9867}"/>
              </a:ext>
            </a:extLst>
          </p:cNvPr>
          <p:cNvGrpSpPr/>
          <p:nvPr/>
        </p:nvGrpSpPr>
        <p:grpSpPr>
          <a:xfrm>
            <a:off x="4056208" y="1502147"/>
            <a:ext cx="4346284" cy="4330840"/>
            <a:chOff x="3618851" y="970620"/>
            <a:chExt cx="4954298" cy="4936694"/>
          </a:xfrm>
          <a:effectLst>
            <a:outerShdw blurRad="266700" dist="228600" dir="5400000" algn="t" rotWithShape="0">
              <a:prstClr val="black">
                <a:alpha val="5000"/>
              </a:prstClr>
            </a:outerShdw>
          </a:effectLst>
        </p:grpSpPr>
        <p:sp>
          <p:nvSpPr>
            <p:cNvPr id="3" name="Oval 56">
              <a:extLst>
                <a:ext uri="{FF2B5EF4-FFF2-40B4-BE49-F238E27FC236}">
                  <a16:creationId xmlns:a16="http://schemas.microsoft.com/office/drawing/2014/main" id="{7F51EFD9-F455-49A1-8A03-82BD37634F52}"/>
                </a:ext>
              </a:extLst>
            </p:cNvPr>
            <p:cNvSpPr/>
            <p:nvPr/>
          </p:nvSpPr>
          <p:spPr>
            <a:xfrm>
              <a:off x="3618851" y="970620"/>
              <a:ext cx="4954298" cy="493669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等线" panose="020F0502020204030204"/>
                <a:ea typeface="+mn-ea"/>
                <a:cs typeface="+mn-cs"/>
              </a:endParaRPr>
            </a:p>
          </p:txBody>
        </p:sp>
        <p:sp>
          <p:nvSpPr>
            <p:cNvPr id="4" name="Freeform: Shape 57">
              <a:extLst>
                <a:ext uri="{FF2B5EF4-FFF2-40B4-BE49-F238E27FC236}">
                  <a16:creationId xmlns:a16="http://schemas.microsoft.com/office/drawing/2014/main" id="{0EF2D7E7-804E-4262-87D6-DFB488170A12}"/>
                </a:ext>
              </a:extLst>
            </p:cNvPr>
            <p:cNvSpPr/>
            <p:nvPr/>
          </p:nvSpPr>
          <p:spPr>
            <a:xfrm>
              <a:off x="5034864" y="1981217"/>
              <a:ext cx="2370021" cy="3926097"/>
            </a:xfrm>
            <a:custGeom>
              <a:avLst/>
              <a:gdLst>
                <a:gd name="connsiteX0" fmla="*/ 1171402 w 2683585"/>
                <a:gd name="connsiteY0" fmla="*/ 0 h 4445537"/>
                <a:gd name="connsiteX1" fmla="*/ 1191413 w 2683585"/>
                <a:gd name="connsiteY1" fmla="*/ 20518 h 4445537"/>
                <a:gd name="connsiteX2" fmla="*/ 1339787 w 2683585"/>
                <a:gd name="connsiteY2" fmla="*/ 1974598 h 4445537"/>
                <a:gd name="connsiteX3" fmla="*/ 1577968 w 2683585"/>
                <a:gd name="connsiteY3" fmla="*/ 1865169 h 4445537"/>
                <a:gd name="connsiteX4" fmla="*/ 2030901 w 2683585"/>
                <a:gd name="connsiteY4" fmla="*/ 1658037 h 4445537"/>
                <a:gd name="connsiteX5" fmla="*/ 2038710 w 2683585"/>
                <a:gd name="connsiteY5" fmla="*/ 1673670 h 4445537"/>
                <a:gd name="connsiteX6" fmla="*/ 1659964 w 2683585"/>
                <a:gd name="connsiteY6" fmla="*/ 1994139 h 4445537"/>
                <a:gd name="connsiteX7" fmla="*/ 1359310 w 2683585"/>
                <a:gd name="connsiteY7" fmla="*/ 2248169 h 4445537"/>
                <a:gd name="connsiteX8" fmla="*/ 1421784 w 2683585"/>
                <a:gd name="connsiteY8" fmla="*/ 3076699 h 4445537"/>
                <a:gd name="connsiteX9" fmla="*/ 1945000 w 2683585"/>
                <a:gd name="connsiteY9" fmla="*/ 2783587 h 4445537"/>
                <a:gd name="connsiteX10" fmla="*/ 2663446 w 2683585"/>
                <a:gd name="connsiteY10" fmla="*/ 2384955 h 4445537"/>
                <a:gd name="connsiteX11" fmla="*/ 2682969 w 2683585"/>
                <a:gd name="connsiteY11" fmla="*/ 2408403 h 4445537"/>
                <a:gd name="connsiteX12" fmla="*/ 2097279 w 2683585"/>
                <a:gd name="connsiteY12" fmla="*/ 2986811 h 4445537"/>
                <a:gd name="connsiteX13" fmla="*/ 1472544 w 2683585"/>
                <a:gd name="connsiteY13" fmla="*/ 3604300 h 4445537"/>
                <a:gd name="connsiteX14" fmla="*/ 1464734 w 2683585"/>
                <a:gd name="connsiteY14" fmla="*/ 3612116 h 4445537"/>
                <a:gd name="connsiteX15" fmla="*/ 1519429 w 2683585"/>
                <a:gd name="connsiteY15" fmla="*/ 4362429 h 4445537"/>
                <a:gd name="connsiteX16" fmla="*/ 1524034 w 2683585"/>
                <a:gd name="connsiteY16" fmla="*/ 4425605 h 4445537"/>
                <a:gd name="connsiteX17" fmla="*/ 1488313 w 2683585"/>
                <a:gd name="connsiteY17" fmla="*/ 4431056 h 4445537"/>
                <a:gd name="connsiteX18" fmla="*/ 1201530 w 2683585"/>
                <a:gd name="connsiteY18" fmla="*/ 4445537 h 4445537"/>
                <a:gd name="connsiteX19" fmla="*/ 914747 w 2683585"/>
                <a:gd name="connsiteY19" fmla="*/ 4431056 h 4445537"/>
                <a:gd name="connsiteX20" fmla="*/ 816980 w 2683585"/>
                <a:gd name="connsiteY20" fmla="*/ 4416135 h 4445537"/>
                <a:gd name="connsiteX21" fmla="*/ 820476 w 2683585"/>
                <a:gd name="connsiteY21" fmla="*/ 4370788 h 4445537"/>
                <a:gd name="connsiteX22" fmla="*/ 902473 w 2683585"/>
                <a:gd name="connsiteY22" fmla="*/ 3307280 h 4445537"/>
                <a:gd name="connsiteX23" fmla="*/ 453444 w 2683585"/>
                <a:gd name="connsiteY23" fmla="*/ 2678066 h 4445537"/>
                <a:gd name="connsiteX24" fmla="*/ 511 w 2683585"/>
                <a:gd name="connsiteY24" fmla="*/ 2044945 h 4445537"/>
                <a:gd name="connsiteX25" fmla="*/ 23938 w 2683585"/>
                <a:gd name="connsiteY25" fmla="*/ 2021496 h 4445537"/>
                <a:gd name="connsiteX26" fmla="*/ 652578 w 2683585"/>
                <a:gd name="connsiteY26" fmla="*/ 2482658 h 4445537"/>
                <a:gd name="connsiteX27" fmla="*/ 945423 w 2683585"/>
                <a:gd name="connsiteY27" fmla="*/ 2697607 h 4445537"/>
                <a:gd name="connsiteX28" fmla="*/ 984469 w 2683585"/>
                <a:gd name="connsiteY28" fmla="*/ 2197363 h 4445537"/>
                <a:gd name="connsiteX29" fmla="*/ 1019611 w 2683585"/>
                <a:gd name="connsiteY29" fmla="*/ 1755741 h 4445537"/>
                <a:gd name="connsiteX30" fmla="*/ 832190 w 2683585"/>
                <a:gd name="connsiteY30" fmla="*/ 1454813 h 4445537"/>
                <a:gd name="connsiteX31" fmla="*/ 644769 w 2683585"/>
                <a:gd name="connsiteY31" fmla="*/ 1149976 h 4445537"/>
                <a:gd name="connsiteX32" fmla="*/ 656483 w 2683585"/>
                <a:gd name="connsiteY32" fmla="*/ 1142160 h 4445537"/>
                <a:gd name="connsiteX33" fmla="*/ 921996 w 2683585"/>
                <a:gd name="connsiteY33" fmla="*/ 1380558 h 4445537"/>
                <a:gd name="connsiteX34" fmla="*/ 1039133 w 2683585"/>
                <a:gd name="connsiteY34" fmla="*/ 1486078 h 4445537"/>
                <a:gd name="connsiteX35" fmla="*/ 1148462 w 2683585"/>
                <a:gd name="connsiteY35" fmla="*/ 20518 h 4445537"/>
                <a:gd name="connsiteX36" fmla="*/ 1171402 w 2683585"/>
                <a:gd name="connsiteY36" fmla="*/ 0 h 4445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2683585" h="4445537">
                  <a:moveTo>
                    <a:pt x="1171402" y="0"/>
                  </a:moveTo>
                  <a:cubicBezTo>
                    <a:pt x="1181652" y="0"/>
                    <a:pt x="1191413" y="6840"/>
                    <a:pt x="1191413" y="20518"/>
                  </a:cubicBezTo>
                  <a:cubicBezTo>
                    <a:pt x="1191413" y="20518"/>
                    <a:pt x="1191413" y="20518"/>
                    <a:pt x="1339787" y="1974598"/>
                  </a:cubicBezTo>
                  <a:cubicBezTo>
                    <a:pt x="1339787" y="1974598"/>
                    <a:pt x="1339787" y="1974598"/>
                    <a:pt x="1577968" y="1865169"/>
                  </a:cubicBezTo>
                  <a:cubicBezTo>
                    <a:pt x="1577968" y="1865169"/>
                    <a:pt x="1577968" y="1865169"/>
                    <a:pt x="2030901" y="1658037"/>
                  </a:cubicBezTo>
                  <a:cubicBezTo>
                    <a:pt x="2034806" y="1654129"/>
                    <a:pt x="2042615" y="1669761"/>
                    <a:pt x="2038710" y="1673670"/>
                  </a:cubicBezTo>
                  <a:cubicBezTo>
                    <a:pt x="2038710" y="1673670"/>
                    <a:pt x="2038710" y="1673670"/>
                    <a:pt x="1659964" y="1994139"/>
                  </a:cubicBezTo>
                  <a:cubicBezTo>
                    <a:pt x="1659964" y="1994139"/>
                    <a:pt x="1659964" y="1994139"/>
                    <a:pt x="1359310" y="2248169"/>
                  </a:cubicBezTo>
                  <a:cubicBezTo>
                    <a:pt x="1359310" y="2248169"/>
                    <a:pt x="1359310" y="2248169"/>
                    <a:pt x="1421784" y="3076699"/>
                  </a:cubicBezTo>
                  <a:cubicBezTo>
                    <a:pt x="1421784" y="3076699"/>
                    <a:pt x="1421784" y="3076699"/>
                    <a:pt x="1945000" y="2783587"/>
                  </a:cubicBezTo>
                  <a:cubicBezTo>
                    <a:pt x="1945000" y="2783587"/>
                    <a:pt x="1945000" y="2783587"/>
                    <a:pt x="2663446" y="2384955"/>
                  </a:cubicBezTo>
                  <a:cubicBezTo>
                    <a:pt x="2671255" y="2381046"/>
                    <a:pt x="2686873" y="2400587"/>
                    <a:pt x="2682969" y="2408403"/>
                  </a:cubicBezTo>
                  <a:cubicBezTo>
                    <a:pt x="2682969" y="2408403"/>
                    <a:pt x="2682969" y="2408403"/>
                    <a:pt x="2097279" y="2986811"/>
                  </a:cubicBezTo>
                  <a:cubicBezTo>
                    <a:pt x="2097279" y="2986811"/>
                    <a:pt x="2097279" y="2986811"/>
                    <a:pt x="1472544" y="3604300"/>
                  </a:cubicBezTo>
                  <a:cubicBezTo>
                    <a:pt x="1468639" y="3608208"/>
                    <a:pt x="1468639" y="3608208"/>
                    <a:pt x="1464734" y="3612116"/>
                  </a:cubicBezTo>
                  <a:cubicBezTo>
                    <a:pt x="1464734" y="3612116"/>
                    <a:pt x="1464734" y="3612116"/>
                    <a:pt x="1519429" y="4362429"/>
                  </a:cubicBezTo>
                  <a:lnTo>
                    <a:pt x="1524034" y="4425605"/>
                  </a:lnTo>
                  <a:lnTo>
                    <a:pt x="1488313" y="4431056"/>
                  </a:lnTo>
                  <a:cubicBezTo>
                    <a:pt x="1394022" y="4440632"/>
                    <a:pt x="1298349" y="4445537"/>
                    <a:pt x="1201530" y="4445537"/>
                  </a:cubicBezTo>
                  <a:cubicBezTo>
                    <a:pt x="1104712" y="4445537"/>
                    <a:pt x="1009039" y="4440632"/>
                    <a:pt x="914747" y="4431056"/>
                  </a:cubicBezTo>
                  <a:lnTo>
                    <a:pt x="816980" y="4416135"/>
                  </a:lnTo>
                  <a:lnTo>
                    <a:pt x="820476" y="4370788"/>
                  </a:lnTo>
                  <a:cubicBezTo>
                    <a:pt x="832190" y="4218859"/>
                    <a:pt x="855618" y="3914999"/>
                    <a:pt x="902473" y="3307280"/>
                  </a:cubicBezTo>
                  <a:cubicBezTo>
                    <a:pt x="902473" y="3307280"/>
                    <a:pt x="902473" y="3307280"/>
                    <a:pt x="453444" y="2678066"/>
                  </a:cubicBezTo>
                  <a:cubicBezTo>
                    <a:pt x="453444" y="2678066"/>
                    <a:pt x="453444" y="2678066"/>
                    <a:pt x="511" y="2044945"/>
                  </a:cubicBezTo>
                  <a:cubicBezTo>
                    <a:pt x="-3394" y="2037128"/>
                    <a:pt x="16129" y="2017588"/>
                    <a:pt x="23938" y="2021496"/>
                  </a:cubicBezTo>
                  <a:cubicBezTo>
                    <a:pt x="23938" y="2021496"/>
                    <a:pt x="23938" y="2021496"/>
                    <a:pt x="652578" y="2482658"/>
                  </a:cubicBezTo>
                  <a:cubicBezTo>
                    <a:pt x="652578" y="2482658"/>
                    <a:pt x="652578" y="2482658"/>
                    <a:pt x="945423" y="2697607"/>
                  </a:cubicBezTo>
                  <a:cubicBezTo>
                    <a:pt x="945423" y="2697607"/>
                    <a:pt x="945423" y="2697607"/>
                    <a:pt x="984469" y="2197363"/>
                  </a:cubicBezTo>
                  <a:cubicBezTo>
                    <a:pt x="984469" y="2197363"/>
                    <a:pt x="984469" y="2197363"/>
                    <a:pt x="1019611" y="1755741"/>
                  </a:cubicBezTo>
                  <a:cubicBezTo>
                    <a:pt x="1019611" y="1755741"/>
                    <a:pt x="1019611" y="1755741"/>
                    <a:pt x="832190" y="1454813"/>
                  </a:cubicBezTo>
                  <a:cubicBezTo>
                    <a:pt x="832190" y="1454813"/>
                    <a:pt x="832190" y="1454813"/>
                    <a:pt x="644769" y="1149976"/>
                  </a:cubicBezTo>
                  <a:cubicBezTo>
                    <a:pt x="644769" y="1149976"/>
                    <a:pt x="652578" y="1138252"/>
                    <a:pt x="656483" y="1142160"/>
                  </a:cubicBezTo>
                  <a:cubicBezTo>
                    <a:pt x="656483" y="1142160"/>
                    <a:pt x="656483" y="1142160"/>
                    <a:pt x="921996" y="1380558"/>
                  </a:cubicBezTo>
                  <a:cubicBezTo>
                    <a:pt x="921996" y="1380558"/>
                    <a:pt x="921996" y="1380558"/>
                    <a:pt x="1039133" y="1486078"/>
                  </a:cubicBezTo>
                  <a:cubicBezTo>
                    <a:pt x="1039133" y="1486078"/>
                    <a:pt x="1039133" y="1486078"/>
                    <a:pt x="1148462" y="20518"/>
                  </a:cubicBezTo>
                  <a:cubicBezTo>
                    <a:pt x="1150415" y="6840"/>
                    <a:pt x="1161152" y="0"/>
                    <a:pt x="1171402" y="0"/>
                  </a:cubicBezTo>
                  <a:close/>
                </a:path>
              </a:pathLst>
            </a:cu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等线" panose="020F0502020204030204"/>
                <a:ea typeface="+mn-ea"/>
                <a:cs typeface="+mn-cs"/>
              </a:endParaRPr>
            </a:p>
          </p:txBody>
        </p:sp>
        <p:grpSp>
          <p:nvGrpSpPr>
            <p:cNvPr id="5" name="Group 58">
              <a:extLst>
                <a:ext uri="{FF2B5EF4-FFF2-40B4-BE49-F238E27FC236}">
                  <a16:creationId xmlns:a16="http://schemas.microsoft.com/office/drawing/2014/main" id="{5F785254-03C3-4FAA-8D08-0C3978C70AF5}"/>
                </a:ext>
              </a:extLst>
            </p:cNvPr>
            <p:cNvGrpSpPr/>
            <p:nvPr/>
          </p:nvGrpSpPr>
          <p:grpSpPr>
            <a:xfrm>
              <a:off x="4328892" y="1981217"/>
              <a:ext cx="3534217" cy="3178215"/>
              <a:chOff x="4095096" y="1587991"/>
              <a:chExt cx="4001808" cy="3598707"/>
            </a:xfrm>
          </p:grpSpPr>
          <p:sp>
            <p:nvSpPr>
              <p:cNvPr id="6" name="Freeform 8">
                <a:extLst>
                  <a:ext uri="{FF2B5EF4-FFF2-40B4-BE49-F238E27FC236}">
                    <a16:creationId xmlns:a16="http://schemas.microsoft.com/office/drawing/2014/main" id="{E4E4FAD6-C694-41B9-99A7-1AE5B80961B9}"/>
                  </a:ext>
                </a:extLst>
              </p:cNvPr>
              <p:cNvSpPr>
                <a:spLocks/>
              </p:cNvSpPr>
              <p:nvPr/>
            </p:nvSpPr>
            <p:spPr bwMode="auto">
              <a:xfrm>
                <a:off x="5485505" y="3565527"/>
                <a:ext cx="296485" cy="401641"/>
              </a:xfrm>
              <a:custGeom>
                <a:avLst/>
                <a:gdLst>
                  <a:gd name="T0" fmla="*/ 31 w 76"/>
                  <a:gd name="T1" fmla="*/ 0 h 103"/>
                  <a:gd name="T2" fmla="*/ 27 w 76"/>
                  <a:gd name="T3" fmla="*/ 26 h 103"/>
                  <a:gd name="T4" fmla="*/ 1 w 76"/>
                  <a:gd name="T5" fmla="*/ 64 h 103"/>
                  <a:gd name="T6" fmla="*/ 28 w 76"/>
                  <a:gd name="T7" fmla="*/ 102 h 103"/>
                  <a:gd name="T8" fmla="*/ 29 w 76"/>
                  <a:gd name="T9" fmla="*/ 100 h 103"/>
                  <a:gd name="T10" fmla="*/ 33 w 76"/>
                  <a:gd name="T11" fmla="*/ 91 h 103"/>
                  <a:gd name="T12" fmla="*/ 37 w 76"/>
                  <a:gd name="T13" fmla="*/ 82 h 103"/>
                  <a:gd name="T14" fmla="*/ 40 w 76"/>
                  <a:gd name="T15" fmla="*/ 74 h 103"/>
                  <a:gd name="T16" fmla="*/ 42 w 76"/>
                  <a:gd name="T17" fmla="*/ 56 h 103"/>
                  <a:gd name="T18" fmla="*/ 40 w 76"/>
                  <a:gd name="T19" fmla="*/ 37 h 103"/>
                  <a:gd name="T20" fmla="*/ 46 w 76"/>
                  <a:gd name="T21" fmla="*/ 56 h 103"/>
                  <a:gd name="T22" fmla="*/ 48 w 76"/>
                  <a:gd name="T23" fmla="*/ 75 h 103"/>
                  <a:gd name="T24" fmla="*/ 46 w 76"/>
                  <a:gd name="T25" fmla="*/ 85 h 103"/>
                  <a:gd name="T26" fmla="*/ 43 w 76"/>
                  <a:gd name="T27" fmla="*/ 95 h 103"/>
                  <a:gd name="T28" fmla="*/ 41 w 76"/>
                  <a:gd name="T29" fmla="*/ 103 h 103"/>
                  <a:gd name="T30" fmla="*/ 76 w 76"/>
                  <a:gd name="T31" fmla="*/ 62 h 103"/>
                  <a:gd name="T32" fmla="*/ 31 w 76"/>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6" h="103">
                    <a:moveTo>
                      <a:pt x="31" y="0"/>
                    </a:moveTo>
                    <a:cubicBezTo>
                      <a:pt x="31" y="0"/>
                      <a:pt x="36" y="11"/>
                      <a:pt x="27" y="26"/>
                    </a:cubicBezTo>
                    <a:cubicBezTo>
                      <a:pt x="18" y="43"/>
                      <a:pt x="2" y="47"/>
                      <a:pt x="1" y="64"/>
                    </a:cubicBezTo>
                    <a:cubicBezTo>
                      <a:pt x="0" y="81"/>
                      <a:pt x="18" y="95"/>
                      <a:pt x="28" y="102"/>
                    </a:cubicBezTo>
                    <a:cubicBezTo>
                      <a:pt x="28" y="101"/>
                      <a:pt x="29" y="101"/>
                      <a:pt x="29" y="100"/>
                    </a:cubicBezTo>
                    <a:cubicBezTo>
                      <a:pt x="30" y="97"/>
                      <a:pt x="31" y="94"/>
                      <a:pt x="33" y="91"/>
                    </a:cubicBezTo>
                    <a:cubicBezTo>
                      <a:pt x="34" y="88"/>
                      <a:pt x="36" y="85"/>
                      <a:pt x="37" y="82"/>
                    </a:cubicBezTo>
                    <a:cubicBezTo>
                      <a:pt x="38" y="80"/>
                      <a:pt x="40" y="77"/>
                      <a:pt x="40" y="74"/>
                    </a:cubicBezTo>
                    <a:cubicBezTo>
                      <a:pt x="42" y="68"/>
                      <a:pt x="42" y="62"/>
                      <a:pt x="42" y="56"/>
                    </a:cubicBezTo>
                    <a:cubicBezTo>
                      <a:pt x="42" y="50"/>
                      <a:pt x="41" y="44"/>
                      <a:pt x="40" y="37"/>
                    </a:cubicBezTo>
                    <a:cubicBezTo>
                      <a:pt x="42" y="43"/>
                      <a:pt x="45" y="49"/>
                      <a:pt x="46" y="56"/>
                    </a:cubicBezTo>
                    <a:cubicBezTo>
                      <a:pt x="47" y="62"/>
                      <a:pt x="48" y="69"/>
                      <a:pt x="48" y="75"/>
                    </a:cubicBezTo>
                    <a:cubicBezTo>
                      <a:pt x="47" y="79"/>
                      <a:pt x="47" y="82"/>
                      <a:pt x="46" y="85"/>
                    </a:cubicBezTo>
                    <a:cubicBezTo>
                      <a:pt x="45" y="89"/>
                      <a:pt x="44" y="92"/>
                      <a:pt x="43" y="95"/>
                    </a:cubicBezTo>
                    <a:cubicBezTo>
                      <a:pt x="42" y="98"/>
                      <a:pt x="41" y="100"/>
                      <a:pt x="41" y="103"/>
                    </a:cubicBezTo>
                    <a:cubicBezTo>
                      <a:pt x="53" y="97"/>
                      <a:pt x="76" y="82"/>
                      <a:pt x="76" y="62"/>
                    </a:cubicBezTo>
                    <a:cubicBezTo>
                      <a:pt x="75" y="30"/>
                      <a:pt x="31" y="0"/>
                      <a:pt x="31" y="0"/>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7" name="Freeform 9">
                <a:extLst>
                  <a:ext uri="{FF2B5EF4-FFF2-40B4-BE49-F238E27FC236}">
                    <a16:creationId xmlns:a16="http://schemas.microsoft.com/office/drawing/2014/main" id="{459F09D9-B895-490A-A031-D0B9B65171BF}"/>
                  </a:ext>
                </a:extLst>
              </p:cNvPr>
              <p:cNvSpPr>
                <a:spLocks/>
              </p:cNvSpPr>
              <p:nvPr/>
            </p:nvSpPr>
            <p:spPr bwMode="auto">
              <a:xfrm>
                <a:off x="6668521" y="4785057"/>
                <a:ext cx="331537" cy="401641"/>
              </a:xfrm>
              <a:custGeom>
                <a:avLst/>
                <a:gdLst>
                  <a:gd name="T0" fmla="*/ 50 w 85"/>
                  <a:gd name="T1" fmla="*/ 0 h 103"/>
                  <a:gd name="T2" fmla="*/ 40 w 85"/>
                  <a:gd name="T3" fmla="*/ 25 h 103"/>
                  <a:gd name="T4" fmla="*/ 5 w 85"/>
                  <a:gd name="T5" fmla="*/ 56 h 103"/>
                  <a:gd name="T6" fmla="*/ 23 w 85"/>
                  <a:gd name="T7" fmla="*/ 99 h 103"/>
                  <a:gd name="T8" fmla="*/ 24 w 85"/>
                  <a:gd name="T9" fmla="*/ 98 h 103"/>
                  <a:gd name="T10" fmla="*/ 30 w 85"/>
                  <a:gd name="T11" fmla="*/ 89 h 103"/>
                  <a:gd name="T12" fmla="*/ 36 w 85"/>
                  <a:gd name="T13" fmla="*/ 82 h 103"/>
                  <a:gd name="T14" fmla="*/ 41 w 85"/>
                  <a:gd name="T15" fmla="*/ 75 h 103"/>
                  <a:gd name="T16" fmla="*/ 47 w 85"/>
                  <a:gd name="T17" fmla="*/ 58 h 103"/>
                  <a:gd name="T18" fmla="*/ 50 w 85"/>
                  <a:gd name="T19" fmla="*/ 39 h 103"/>
                  <a:gd name="T20" fmla="*/ 51 w 85"/>
                  <a:gd name="T21" fmla="*/ 58 h 103"/>
                  <a:gd name="T22" fmla="*/ 48 w 85"/>
                  <a:gd name="T23" fmla="*/ 78 h 103"/>
                  <a:gd name="T24" fmla="*/ 44 w 85"/>
                  <a:gd name="T25" fmla="*/ 87 h 103"/>
                  <a:gd name="T26" fmla="*/ 39 w 85"/>
                  <a:gd name="T27" fmla="*/ 95 h 103"/>
                  <a:gd name="T28" fmla="*/ 35 w 85"/>
                  <a:gd name="T29" fmla="*/ 103 h 103"/>
                  <a:gd name="T30" fmla="*/ 78 w 85"/>
                  <a:gd name="T31" fmla="*/ 71 h 103"/>
                  <a:gd name="T32" fmla="*/ 50 w 85"/>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5" h="103">
                    <a:moveTo>
                      <a:pt x="50" y="0"/>
                    </a:moveTo>
                    <a:cubicBezTo>
                      <a:pt x="50" y="0"/>
                      <a:pt x="52" y="12"/>
                      <a:pt x="40" y="25"/>
                    </a:cubicBezTo>
                    <a:cubicBezTo>
                      <a:pt x="26" y="40"/>
                      <a:pt x="10" y="40"/>
                      <a:pt x="5" y="56"/>
                    </a:cubicBezTo>
                    <a:cubicBezTo>
                      <a:pt x="0" y="72"/>
                      <a:pt x="14" y="90"/>
                      <a:pt x="23" y="99"/>
                    </a:cubicBezTo>
                    <a:cubicBezTo>
                      <a:pt x="23" y="98"/>
                      <a:pt x="23" y="98"/>
                      <a:pt x="24" y="98"/>
                    </a:cubicBezTo>
                    <a:cubicBezTo>
                      <a:pt x="25" y="94"/>
                      <a:pt x="28" y="92"/>
                      <a:pt x="30" y="89"/>
                    </a:cubicBezTo>
                    <a:cubicBezTo>
                      <a:pt x="32" y="87"/>
                      <a:pt x="34" y="84"/>
                      <a:pt x="36" y="82"/>
                    </a:cubicBezTo>
                    <a:cubicBezTo>
                      <a:pt x="38" y="80"/>
                      <a:pt x="40" y="77"/>
                      <a:pt x="41" y="75"/>
                    </a:cubicBezTo>
                    <a:cubicBezTo>
                      <a:pt x="44" y="70"/>
                      <a:pt x="46" y="64"/>
                      <a:pt x="47" y="58"/>
                    </a:cubicBezTo>
                    <a:cubicBezTo>
                      <a:pt x="48" y="52"/>
                      <a:pt x="49" y="45"/>
                      <a:pt x="50" y="39"/>
                    </a:cubicBezTo>
                    <a:cubicBezTo>
                      <a:pt x="50" y="45"/>
                      <a:pt x="51" y="52"/>
                      <a:pt x="51" y="58"/>
                    </a:cubicBezTo>
                    <a:cubicBezTo>
                      <a:pt x="51" y="65"/>
                      <a:pt x="50" y="71"/>
                      <a:pt x="48" y="78"/>
                    </a:cubicBezTo>
                    <a:cubicBezTo>
                      <a:pt x="47" y="81"/>
                      <a:pt x="45" y="84"/>
                      <a:pt x="44" y="87"/>
                    </a:cubicBezTo>
                    <a:cubicBezTo>
                      <a:pt x="42" y="90"/>
                      <a:pt x="40" y="93"/>
                      <a:pt x="39" y="95"/>
                    </a:cubicBezTo>
                    <a:cubicBezTo>
                      <a:pt x="37" y="98"/>
                      <a:pt x="36" y="101"/>
                      <a:pt x="35" y="103"/>
                    </a:cubicBezTo>
                    <a:cubicBezTo>
                      <a:pt x="48" y="100"/>
                      <a:pt x="74" y="91"/>
                      <a:pt x="78" y="71"/>
                    </a:cubicBezTo>
                    <a:cubicBezTo>
                      <a:pt x="85" y="40"/>
                      <a:pt x="50" y="0"/>
                      <a:pt x="50" y="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8" name="Freeform 10">
                <a:extLst>
                  <a:ext uri="{FF2B5EF4-FFF2-40B4-BE49-F238E27FC236}">
                    <a16:creationId xmlns:a16="http://schemas.microsoft.com/office/drawing/2014/main" id="{56AC515D-8B96-4342-B944-4E257C2F2B66}"/>
                  </a:ext>
                </a:extLst>
              </p:cNvPr>
              <p:cNvSpPr>
                <a:spLocks/>
              </p:cNvSpPr>
              <p:nvPr/>
            </p:nvSpPr>
            <p:spPr bwMode="auto">
              <a:xfrm>
                <a:off x="4492356" y="2787074"/>
                <a:ext cx="300866" cy="403102"/>
              </a:xfrm>
              <a:custGeom>
                <a:avLst/>
                <a:gdLst>
                  <a:gd name="T0" fmla="*/ 32 w 77"/>
                  <a:gd name="T1" fmla="*/ 0 h 103"/>
                  <a:gd name="T2" fmla="*/ 28 w 77"/>
                  <a:gd name="T3" fmla="*/ 26 h 103"/>
                  <a:gd name="T4" fmla="*/ 1 w 77"/>
                  <a:gd name="T5" fmla="*/ 64 h 103"/>
                  <a:gd name="T6" fmla="*/ 29 w 77"/>
                  <a:gd name="T7" fmla="*/ 102 h 103"/>
                  <a:gd name="T8" fmla="*/ 29 w 77"/>
                  <a:gd name="T9" fmla="*/ 100 h 103"/>
                  <a:gd name="T10" fmla="*/ 33 w 77"/>
                  <a:gd name="T11" fmla="*/ 91 h 103"/>
                  <a:gd name="T12" fmla="*/ 37 w 77"/>
                  <a:gd name="T13" fmla="*/ 82 h 103"/>
                  <a:gd name="T14" fmla="*/ 41 w 77"/>
                  <a:gd name="T15" fmla="*/ 74 h 103"/>
                  <a:gd name="T16" fmla="*/ 43 w 77"/>
                  <a:gd name="T17" fmla="*/ 56 h 103"/>
                  <a:gd name="T18" fmla="*/ 41 w 77"/>
                  <a:gd name="T19" fmla="*/ 37 h 103"/>
                  <a:gd name="T20" fmla="*/ 46 w 77"/>
                  <a:gd name="T21" fmla="*/ 56 h 103"/>
                  <a:gd name="T22" fmla="*/ 48 w 77"/>
                  <a:gd name="T23" fmla="*/ 75 h 103"/>
                  <a:gd name="T24" fmla="*/ 46 w 77"/>
                  <a:gd name="T25" fmla="*/ 85 h 103"/>
                  <a:gd name="T26" fmla="*/ 43 w 77"/>
                  <a:gd name="T27" fmla="*/ 95 h 103"/>
                  <a:gd name="T28" fmla="*/ 42 w 77"/>
                  <a:gd name="T29" fmla="*/ 103 h 103"/>
                  <a:gd name="T30" fmla="*/ 76 w 77"/>
                  <a:gd name="T31" fmla="*/ 62 h 103"/>
                  <a:gd name="T32" fmla="*/ 32 w 77"/>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7" h="103">
                    <a:moveTo>
                      <a:pt x="32" y="0"/>
                    </a:moveTo>
                    <a:cubicBezTo>
                      <a:pt x="32" y="0"/>
                      <a:pt x="36" y="11"/>
                      <a:pt x="28" y="26"/>
                    </a:cubicBezTo>
                    <a:cubicBezTo>
                      <a:pt x="18" y="43"/>
                      <a:pt x="3" y="47"/>
                      <a:pt x="1" y="64"/>
                    </a:cubicBezTo>
                    <a:cubicBezTo>
                      <a:pt x="0" y="81"/>
                      <a:pt x="18" y="95"/>
                      <a:pt x="29" y="102"/>
                    </a:cubicBezTo>
                    <a:cubicBezTo>
                      <a:pt x="29" y="101"/>
                      <a:pt x="29" y="101"/>
                      <a:pt x="29" y="100"/>
                    </a:cubicBezTo>
                    <a:cubicBezTo>
                      <a:pt x="30" y="97"/>
                      <a:pt x="32" y="94"/>
                      <a:pt x="33" y="91"/>
                    </a:cubicBezTo>
                    <a:cubicBezTo>
                      <a:pt x="35" y="88"/>
                      <a:pt x="36" y="85"/>
                      <a:pt x="37" y="82"/>
                    </a:cubicBezTo>
                    <a:cubicBezTo>
                      <a:pt x="39" y="80"/>
                      <a:pt x="40" y="77"/>
                      <a:pt x="41" y="74"/>
                    </a:cubicBezTo>
                    <a:cubicBezTo>
                      <a:pt x="42" y="68"/>
                      <a:pt x="43" y="62"/>
                      <a:pt x="43" y="56"/>
                    </a:cubicBezTo>
                    <a:cubicBezTo>
                      <a:pt x="42" y="50"/>
                      <a:pt x="42" y="44"/>
                      <a:pt x="41" y="37"/>
                    </a:cubicBezTo>
                    <a:cubicBezTo>
                      <a:pt x="43" y="43"/>
                      <a:pt x="45" y="49"/>
                      <a:pt x="46" y="56"/>
                    </a:cubicBezTo>
                    <a:cubicBezTo>
                      <a:pt x="48" y="62"/>
                      <a:pt x="48" y="69"/>
                      <a:pt x="48" y="75"/>
                    </a:cubicBezTo>
                    <a:cubicBezTo>
                      <a:pt x="48" y="79"/>
                      <a:pt x="47" y="82"/>
                      <a:pt x="46" y="85"/>
                    </a:cubicBezTo>
                    <a:cubicBezTo>
                      <a:pt x="45" y="89"/>
                      <a:pt x="44" y="92"/>
                      <a:pt x="43" y="95"/>
                    </a:cubicBezTo>
                    <a:cubicBezTo>
                      <a:pt x="42" y="97"/>
                      <a:pt x="42" y="100"/>
                      <a:pt x="42" y="103"/>
                    </a:cubicBezTo>
                    <a:cubicBezTo>
                      <a:pt x="53" y="97"/>
                      <a:pt x="77" y="82"/>
                      <a:pt x="76" y="62"/>
                    </a:cubicBezTo>
                    <a:cubicBezTo>
                      <a:pt x="75" y="30"/>
                      <a:pt x="32" y="0"/>
                      <a:pt x="32" y="0"/>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9" name="Freeform 11">
                <a:extLst>
                  <a:ext uri="{FF2B5EF4-FFF2-40B4-BE49-F238E27FC236}">
                    <a16:creationId xmlns:a16="http://schemas.microsoft.com/office/drawing/2014/main" id="{122AD4CA-7FBB-4A12-BFC9-A49FF24D3ABF}"/>
                  </a:ext>
                </a:extLst>
              </p:cNvPr>
              <p:cNvSpPr>
                <a:spLocks/>
              </p:cNvSpPr>
              <p:nvPr/>
            </p:nvSpPr>
            <p:spPr bwMode="auto">
              <a:xfrm>
                <a:off x="5004996" y="3377121"/>
                <a:ext cx="389958" cy="347602"/>
              </a:xfrm>
              <a:custGeom>
                <a:avLst/>
                <a:gdLst>
                  <a:gd name="T0" fmla="*/ 0 w 100"/>
                  <a:gd name="T1" fmla="*/ 29 h 89"/>
                  <a:gd name="T2" fmla="*/ 23 w 100"/>
                  <a:gd name="T3" fmla="*/ 43 h 89"/>
                  <a:gd name="T4" fmla="*/ 49 w 100"/>
                  <a:gd name="T5" fmla="*/ 81 h 89"/>
                  <a:gd name="T6" fmla="*/ 94 w 100"/>
                  <a:gd name="T7" fmla="*/ 70 h 89"/>
                  <a:gd name="T8" fmla="*/ 93 w 100"/>
                  <a:gd name="T9" fmla="*/ 69 h 89"/>
                  <a:gd name="T10" fmla="*/ 85 w 100"/>
                  <a:gd name="T11" fmla="*/ 62 h 89"/>
                  <a:gd name="T12" fmla="*/ 79 w 100"/>
                  <a:gd name="T13" fmla="*/ 55 h 89"/>
                  <a:gd name="T14" fmla="*/ 73 w 100"/>
                  <a:gd name="T15" fmla="*/ 49 h 89"/>
                  <a:gd name="T16" fmla="*/ 57 w 100"/>
                  <a:gd name="T17" fmla="*/ 40 h 89"/>
                  <a:gd name="T18" fmla="*/ 39 w 100"/>
                  <a:gd name="T19" fmla="*/ 35 h 89"/>
                  <a:gd name="T20" fmla="*/ 58 w 100"/>
                  <a:gd name="T21" fmla="*/ 37 h 89"/>
                  <a:gd name="T22" fmla="*/ 77 w 100"/>
                  <a:gd name="T23" fmla="*/ 42 h 89"/>
                  <a:gd name="T24" fmla="*/ 85 w 100"/>
                  <a:gd name="T25" fmla="*/ 48 h 89"/>
                  <a:gd name="T26" fmla="*/ 93 w 100"/>
                  <a:gd name="T27" fmla="*/ 54 h 89"/>
                  <a:gd name="T28" fmla="*/ 100 w 100"/>
                  <a:gd name="T29" fmla="*/ 58 h 89"/>
                  <a:gd name="T30" fmla="*/ 74 w 100"/>
                  <a:gd name="T31" fmla="*/ 11 h 89"/>
                  <a:gd name="T32" fmla="*/ 0 w 100"/>
                  <a:gd name="T33" fmla="*/ 2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0" h="89">
                    <a:moveTo>
                      <a:pt x="0" y="29"/>
                    </a:moveTo>
                    <a:cubicBezTo>
                      <a:pt x="0" y="29"/>
                      <a:pt x="12" y="29"/>
                      <a:pt x="23" y="43"/>
                    </a:cubicBezTo>
                    <a:cubicBezTo>
                      <a:pt x="36" y="58"/>
                      <a:pt x="33" y="74"/>
                      <a:pt x="49" y="81"/>
                    </a:cubicBezTo>
                    <a:cubicBezTo>
                      <a:pt x="64" y="89"/>
                      <a:pt x="84" y="77"/>
                      <a:pt x="94" y="70"/>
                    </a:cubicBezTo>
                    <a:cubicBezTo>
                      <a:pt x="94" y="70"/>
                      <a:pt x="93" y="69"/>
                      <a:pt x="93" y="69"/>
                    </a:cubicBezTo>
                    <a:cubicBezTo>
                      <a:pt x="90" y="67"/>
                      <a:pt x="87" y="64"/>
                      <a:pt x="85" y="62"/>
                    </a:cubicBezTo>
                    <a:cubicBezTo>
                      <a:pt x="83" y="59"/>
                      <a:pt x="81" y="57"/>
                      <a:pt x="79" y="55"/>
                    </a:cubicBezTo>
                    <a:cubicBezTo>
                      <a:pt x="77" y="52"/>
                      <a:pt x="75" y="50"/>
                      <a:pt x="73" y="49"/>
                    </a:cubicBezTo>
                    <a:cubicBezTo>
                      <a:pt x="68" y="45"/>
                      <a:pt x="63" y="42"/>
                      <a:pt x="57" y="40"/>
                    </a:cubicBezTo>
                    <a:cubicBezTo>
                      <a:pt x="51" y="38"/>
                      <a:pt x="45" y="36"/>
                      <a:pt x="39" y="35"/>
                    </a:cubicBezTo>
                    <a:cubicBezTo>
                      <a:pt x="45" y="35"/>
                      <a:pt x="51" y="36"/>
                      <a:pt x="58" y="37"/>
                    </a:cubicBezTo>
                    <a:cubicBezTo>
                      <a:pt x="64" y="38"/>
                      <a:pt x="70" y="39"/>
                      <a:pt x="77" y="42"/>
                    </a:cubicBezTo>
                    <a:cubicBezTo>
                      <a:pt x="80" y="44"/>
                      <a:pt x="83" y="46"/>
                      <a:pt x="85" y="48"/>
                    </a:cubicBezTo>
                    <a:cubicBezTo>
                      <a:pt x="88" y="50"/>
                      <a:pt x="90" y="52"/>
                      <a:pt x="93" y="54"/>
                    </a:cubicBezTo>
                    <a:cubicBezTo>
                      <a:pt x="95" y="55"/>
                      <a:pt x="97" y="57"/>
                      <a:pt x="100" y="58"/>
                    </a:cubicBezTo>
                    <a:cubicBezTo>
                      <a:pt x="98" y="45"/>
                      <a:pt x="93" y="18"/>
                      <a:pt x="74" y="11"/>
                    </a:cubicBezTo>
                    <a:cubicBezTo>
                      <a:pt x="45" y="0"/>
                      <a:pt x="0" y="29"/>
                      <a:pt x="0" y="29"/>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0" name="Freeform 12">
                <a:extLst>
                  <a:ext uri="{FF2B5EF4-FFF2-40B4-BE49-F238E27FC236}">
                    <a16:creationId xmlns:a16="http://schemas.microsoft.com/office/drawing/2014/main" id="{48637FE3-5E9D-4F31-9745-0EC414399B64}"/>
                  </a:ext>
                </a:extLst>
              </p:cNvPr>
              <p:cNvSpPr>
                <a:spLocks/>
              </p:cNvSpPr>
              <p:nvPr/>
            </p:nvSpPr>
            <p:spPr bwMode="auto">
              <a:xfrm>
                <a:off x="6538535" y="2803139"/>
                <a:ext cx="344681" cy="387036"/>
              </a:xfrm>
              <a:custGeom>
                <a:avLst/>
                <a:gdLst>
                  <a:gd name="T0" fmla="*/ 59 w 88"/>
                  <a:gd name="T1" fmla="*/ 0 h 99"/>
                  <a:gd name="T2" fmla="*/ 46 w 88"/>
                  <a:gd name="T3" fmla="*/ 23 h 99"/>
                  <a:gd name="T4" fmla="*/ 7 w 88"/>
                  <a:gd name="T5" fmla="*/ 48 h 99"/>
                  <a:gd name="T6" fmla="*/ 19 w 88"/>
                  <a:gd name="T7" fmla="*/ 93 h 99"/>
                  <a:gd name="T8" fmla="*/ 20 w 88"/>
                  <a:gd name="T9" fmla="*/ 92 h 99"/>
                  <a:gd name="T10" fmla="*/ 27 w 88"/>
                  <a:gd name="T11" fmla="*/ 85 h 99"/>
                  <a:gd name="T12" fmla="*/ 34 w 88"/>
                  <a:gd name="T13" fmla="*/ 79 h 99"/>
                  <a:gd name="T14" fmla="*/ 40 w 88"/>
                  <a:gd name="T15" fmla="*/ 72 h 99"/>
                  <a:gd name="T16" fmla="*/ 49 w 88"/>
                  <a:gd name="T17" fmla="*/ 56 h 99"/>
                  <a:gd name="T18" fmla="*/ 54 w 88"/>
                  <a:gd name="T19" fmla="*/ 38 h 99"/>
                  <a:gd name="T20" fmla="*/ 52 w 88"/>
                  <a:gd name="T21" fmla="*/ 57 h 99"/>
                  <a:gd name="T22" fmla="*/ 46 w 88"/>
                  <a:gd name="T23" fmla="*/ 76 h 99"/>
                  <a:gd name="T24" fmla="*/ 41 w 88"/>
                  <a:gd name="T25" fmla="*/ 85 h 99"/>
                  <a:gd name="T26" fmla="*/ 35 w 88"/>
                  <a:gd name="T27" fmla="*/ 92 h 99"/>
                  <a:gd name="T28" fmla="*/ 30 w 88"/>
                  <a:gd name="T29" fmla="*/ 99 h 99"/>
                  <a:gd name="T30" fmla="*/ 77 w 88"/>
                  <a:gd name="T31" fmla="*/ 74 h 99"/>
                  <a:gd name="T32" fmla="*/ 59 w 88"/>
                  <a:gd name="T33" fmla="*/ 0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8" h="99">
                    <a:moveTo>
                      <a:pt x="59" y="0"/>
                    </a:moveTo>
                    <a:cubicBezTo>
                      <a:pt x="59" y="0"/>
                      <a:pt x="59" y="12"/>
                      <a:pt x="46" y="23"/>
                    </a:cubicBezTo>
                    <a:cubicBezTo>
                      <a:pt x="30" y="35"/>
                      <a:pt x="15" y="33"/>
                      <a:pt x="7" y="48"/>
                    </a:cubicBezTo>
                    <a:cubicBezTo>
                      <a:pt x="0" y="63"/>
                      <a:pt x="12" y="83"/>
                      <a:pt x="19" y="93"/>
                    </a:cubicBezTo>
                    <a:cubicBezTo>
                      <a:pt x="19" y="93"/>
                      <a:pt x="19" y="93"/>
                      <a:pt x="20" y="92"/>
                    </a:cubicBezTo>
                    <a:cubicBezTo>
                      <a:pt x="22" y="89"/>
                      <a:pt x="25" y="87"/>
                      <a:pt x="27" y="85"/>
                    </a:cubicBezTo>
                    <a:cubicBezTo>
                      <a:pt x="29" y="83"/>
                      <a:pt x="32" y="81"/>
                      <a:pt x="34" y="79"/>
                    </a:cubicBezTo>
                    <a:cubicBezTo>
                      <a:pt x="36" y="76"/>
                      <a:pt x="38" y="74"/>
                      <a:pt x="40" y="72"/>
                    </a:cubicBezTo>
                    <a:cubicBezTo>
                      <a:pt x="44" y="67"/>
                      <a:pt x="46" y="62"/>
                      <a:pt x="49" y="56"/>
                    </a:cubicBezTo>
                    <a:cubicBezTo>
                      <a:pt x="51" y="50"/>
                      <a:pt x="52" y="44"/>
                      <a:pt x="54" y="38"/>
                    </a:cubicBezTo>
                    <a:cubicBezTo>
                      <a:pt x="53" y="44"/>
                      <a:pt x="53" y="51"/>
                      <a:pt x="52" y="57"/>
                    </a:cubicBezTo>
                    <a:cubicBezTo>
                      <a:pt x="51" y="63"/>
                      <a:pt x="49" y="70"/>
                      <a:pt x="46" y="76"/>
                    </a:cubicBezTo>
                    <a:cubicBezTo>
                      <a:pt x="45" y="79"/>
                      <a:pt x="43" y="82"/>
                      <a:pt x="41" y="85"/>
                    </a:cubicBezTo>
                    <a:cubicBezTo>
                      <a:pt x="39" y="87"/>
                      <a:pt x="37" y="90"/>
                      <a:pt x="35" y="92"/>
                    </a:cubicBezTo>
                    <a:cubicBezTo>
                      <a:pt x="33" y="95"/>
                      <a:pt x="31" y="97"/>
                      <a:pt x="30" y="99"/>
                    </a:cubicBezTo>
                    <a:cubicBezTo>
                      <a:pt x="43" y="98"/>
                      <a:pt x="70" y="93"/>
                      <a:pt x="77" y="74"/>
                    </a:cubicBezTo>
                    <a:cubicBezTo>
                      <a:pt x="88" y="44"/>
                      <a:pt x="59" y="0"/>
                      <a:pt x="59" y="0"/>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1" name="Freeform 13">
                <a:extLst>
                  <a:ext uri="{FF2B5EF4-FFF2-40B4-BE49-F238E27FC236}">
                    <a16:creationId xmlns:a16="http://schemas.microsoft.com/office/drawing/2014/main" id="{D42CDC1B-BB3C-4662-9061-FD94DE0803E3}"/>
                  </a:ext>
                </a:extLst>
              </p:cNvPr>
              <p:cNvSpPr>
                <a:spLocks/>
              </p:cNvSpPr>
              <p:nvPr/>
            </p:nvSpPr>
            <p:spPr bwMode="auto">
              <a:xfrm>
                <a:off x="6957703" y="3807973"/>
                <a:ext cx="331537" cy="335918"/>
              </a:xfrm>
              <a:custGeom>
                <a:avLst/>
                <a:gdLst>
                  <a:gd name="T0" fmla="*/ 84 w 85"/>
                  <a:gd name="T1" fmla="*/ 0 h 86"/>
                  <a:gd name="T2" fmla="*/ 60 w 85"/>
                  <a:gd name="T3" fmla="*/ 13 h 86"/>
                  <a:gd name="T4" fmla="*/ 14 w 85"/>
                  <a:gd name="T5" fmla="*/ 15 h 86"/>
                  <a:gd name="T6" fmla="*/ 0 w 85"/>
                  <a:gd name="T7" fmla="*/ 59 h 86"/>
                  <a:gd name="T8" fmla="*/ 2 w 85"/>
                  <a:gd name="T9" fmla="*/ 59 h 86"/>
                  <a:gd name="T10" fmla="*/ 12 w 85"/>
                  <a:gd name="T11" fmla="*/ 56 h 86"/>
                  <a:gd name="T12" fmla="*/ 21 w 85"/>
                  <a:gd name="T13" fmla="*/ 55 h 86"/>
                  <a:gd name="T14" fmla="*/ 30 w 85"/>
                  <a:gd name="T15" fmla="*/ 52 h 86"/>
                  <a:gd name="T16" fmla="*/ 45 w 85"/>
                  <a:gd name="T17" fmla="*/ 43 h 86"/>
                  <a:gd name="T18" fmla="*/ 59 w 85"/>
                  <a:gd name="T19" fmla="*/ 30 h 86"/>
                  <a:gd name="T20" fmla="*/ 48 w 85"/>
                  <a:gd name="T21" fmla="*/ 46 h 86"/>
                  <a:gd name="T22" fmla="*/ 33 w 85"/>
                  <a:gd name="T23" fmla="*/ 59 h 86"/>
                  <a:gd name="T24" fmla="*/ 24 w 85"/>
                  <a:gd name="T25" fmla="*/ 63 h 86"/>
                  <a:gd name="T26" fmla="*/ 15 w 85"/>
                  <a:gd name="T27" fmla="*/ 67 h 86"/>
                  <a:gd name="T28" fmla="*/ 7 w 85"/>
                  <a:gd name="T29" fmla="*/ 70 h 86"/>
                  <a:gd name="T30" fmla="*/ 61 w 85"/>
                  <a:gd name="T31" fmla="*/ 73 h 86"/>
                  <a:gd name="T32" fmla="*/ 84 w 85"/>
                  <a:gd name="T33" fmla="*/ 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5" h="86">
                    <a:moveTo>
                      <a:pt x="84" y="0"/>
                    </a:moveTo>
                    <a:cubicBezTo>
                      <a:pt x="84" y="0"/>
                      <a:pt x="78" y="11"/>
                      <a:pt x="60" y="13"/>
                    </a:cubicBezTo>
                    <a:cubicBezTo>
                      <a:pt x="41" y="16"/>
                      <a:pt x="28" y="6"/>
                      <a:pt x="14" y="15"/>
                    </a:cubicBezTo>
                    <a:cubicBezTo>
                      <a:pt x="0" y="24"/>
                      <a:pt x="0" y="47"/>
                      <a:pt x="0" y="59"/>
                    </a:cubicBezTo>
                    <a:cubicBezTo>
                      <a:pt x="1" y="59"/>
                      <a:pt x="1" y="59"/>
                      <a:pt x="2" y="59"/>
                    </a:cubicBezTo>
                    <a:cubicBezTo>
                      <a:pt x="5" y="57"/>
                      <a:pt x="9" y="57"/>
                      <a:pt x="12" y="56"/>
                    </a:cubicBezTo>
                    <a:cubicBezTo>
                      <a:pt x="15" y="56"/>
                      <a:pt x="18" y="55"/>
                      <a:pt x="21" y="55"/>
                    </a:cubicBezTo>
                    <a:cubicBezTo>
                      <a:pt x="24" y="54"/>
                      <a:pt x="27" y="53"/>
                      <a:pt x="30" y="52"/>
                    </a:cubicBezTo>
                    <a:cubicBezTo>
                      <a:pt x="35" y="50"/>
                      <a:pt x="40" y="47"/>
                      <a:pt x="45" y="43"/>
                    </a:cubicBezTo>
                    <a:cubicBezTo>
                      <a:pt x="50" y="39"/>
                      <a:pt x="55" y="35"/>
                      <a:pt x="59" y="30"/>
                    </a:cubicBezTo>
                    <a:cubicBezTo>
                      <a:pt x="56" y="36"/>
                      <a:pt x="52" y="41"/>
                      <a:pt x="48" y="46"/>
                    </a:cubicBezTo>
                    <a:cubicBezTo>
                      <a:pt x="44" y="51"/>
                      <a:pt x="39" y="55"/>
                      <a:pt x="33" y="59"/>
                    </a:cubicBezTo>
                    <a:cubicBezTo>
                      <a:pt x="30" y="61"/>
                      <a:pt x="27" y="62"/>
                      <a:pt x="24" y="63"/>
                    </a:cubicBezTo>
                    <a:cubicBezTo>
                      <a:pt x="21" y="65"/>
                      <a:pt x="18" y="66"/>
                      <a:pt x="15" y="67"/>
                    </a:cubicBezTo>
                    <a:cubicBezTo>
                      <a:pt x="12" y="68"/>
                      <a:pt x="9" y="69"/>
                      <a:pt x="7" y="70"/>
                    </a:cubicBezTo>
                    <a:cubicBezTo>
                      <a:pt x="19" y="76"/>
                      <a:pt x="45" y="86"/>
                      <a:pt x="61" y="73"/>
                    </a:cubicBezTo>
                    <a:cubicBezTo>
                      <a:pt x="85" y="54"/>
                      <a:pt x="84" y="0"/>
                      <a:pt x="84" y="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2" name="Freeform 14">
                <a:extLst>
                  <a:ext uri="{FF2B5EF4-FFF2-40B4-BE49-F238E27FC236}">
                    <a16:creationId xmlns:a16="http://schemas.microsoft.com/office/drawing/2014/main" id="{577AC70F-B482-4397-A22C-232782642B74}"/>
                  </a:ext>
                </a:extLst>
              </p:cNvPr>
              <p:cNvSpPr>
                <a:spLocks/>
              </p:cNvSpPr>
              <p:nvPr/>
            </p:nvSpPr>
            <p:spPr bwMode="auto">
              <a:xfrm>
                <a:off x="6909506" y="2919980"/>
                <a:ext cx="344681" cy="347602"/>
              </a:xfrm>
              <a:custGeom>
                <a:avLst/>
                <a:gdLst>
                  <a:gd name="T0" fmla="*/ 80 w 88"/>
                  <a:gd name="T1" fmla="*/ 0 h 89"/>
                  <a:gd name="T2" fmla="*/ 58 w 88"/>
                  <a:gd name="T3" fmla="*/ 15 h 89"/>
                  <a:gd name="T4" fmla="*/ 12 w 88"/>
                  <a:gd name="T5" fmla="*/ 22 h 89"/>
                  <a:gd name="T6" fmla="*/ 4 w 88"/>
                  <a:gd name="T7" fmla="*/ 68 h 89"/>
                  <a:gd name="T8" fmla="*/ 5 w 88"/>
                  <a:gd name="T9" fmla="*/ 67 h 89"/>
                  <a:gd name="T10" fmla="*/ 15 w 88"/>
                  <a:gd name="T11" fmla="*/ 63 h 89"/>
                  <a:gd name="T12" fmla="*/ 24 w 88"/>
                  <a:gd name="T13" fmla="*/ 61 h 89"/>
                  <a:gd name="T14" fmla="*/ 32 w 88"/>
                  <a:gd name="T15" fmla="*/ 57 h 89"/>
                  <a:gd name="T16" fmla="*/ 47 w 88"/>
                  <a:gd name="T17" fmla="*/ 47 h 89"/>
                  <a:gd name="T18" fmla="*/ 59 w 88"/>
                  <a:gd name="T19" fmla="*/ 32 h 89"/>
                  <a:gd name="T20" fmla="*/ 50 w 88"/>
                  <a:gd name="T21" fmla="*/ 49 h 89"/>
                  <a:gd name="T22" fmla="*/ 36 w 88"/>
                  <a:gd name="T23" fmla="*/ 64 h 89"/>
                  <a:gd name="T24" fmla="*/ 28 w 88"/>
                  <a:gd name="T25" fmla="*/ 69 h 89"/>
                  <a:gd name="T26" fmla="*/ 19 w 88"/>
                  <a:gd name="T27" fmla="*/ 74 h 89"/>
                  <a:gd name="T28" fmla="*/ 12 w 88"/>
                  <a:gd name="T29" fmla="*/ 78 h 89"/>
                  <a:gd name="T30" fmla="*/ 66 w 88"/>
                  <a:gd name="T31" fmla="*/ 75 h 89"/>
                  <a:gd name="T32" fmla="*/ 80 w 88"/>
                  <a:gd name="T33"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8" h="89">
                    <a:moveTo>
                      <a:pt x="80" y="0"/>
                    </a:moveTo>
                    <a:cubicBezTo>
                      <a:pt x="80" y="0"/>
                      <a:pt x="75" y="11"/>
                      <a:pt x="58" y="15"/>
                    </a:cubicBezTo>
                    <a:cubicBezTo>
                      <a:pt x="39" y="20"/>
                      <a:pt x="26" y="11"/>
                      <a:pt x="12" y="22"/>
                    </a:cubicBezTo>
                    <a:cubicBezTo>
                      <a:pt x="0" y="33"/>
                      <a:pt x="2" y="56"/>
                      <a:pt x="4" y="68"/>
                    </a:cubicBezTo>
                    <a:cubicBezTo>
                      <a:pt x="5" y="68"/>
                      <a:pt x="5" y="67"/>
                      <a:pt x="5" y="67"/>
                    </a:cubicBezTo>
                    <a:cubicBezTo>
                      <a:pt x="9" y="65"/>
                      <a:pt x="12" y="64"/>
                      <a:pt x="15" y="63"/>
                    </a:cubicBezTo>
                    <a:cubicBezTo>
                      <a:pt x="18" y="62"/>
                      <a:pt x="21" y="62"/>
                      <a:pt x="24" y="61"/>
                    </a:cubicBezTo>
                    <a:cubicBezTo>
                      <a:pt x="27" y="60"/>
                      <a:pt x="30" y="59"/>
                      <a:pt x="32" y="57"/>
                    </a:cubicBezTo>
                    <a:cubicBezTo>
                      <a:pt x="38" y="55"/>
                      <a:pt x="42" y="51"/>
                      <a:pt x="47" y="47"/>
                    </a:cubicBezTo>
                    <a:cubicBezTo>
                      <a:pt x="51" y="42"/>
                      <a:pt x="55" y="37"/>
                      <a:pt x="59" y="32"/>
                    </a:cubicBezTo>
                    <a:cubicBezTo>
                      <a:pt x="56" y="38"/>
                      <a:pt x="53" y="43"/>
                      <a:pt x="50" y="49"/>
                    </a:cubicBezTo>
                    <a:cubicBezTo>
                      <a:pt x="46" y="54"/>
                      <a:pt x="42" y="59"/>
                      <a:pt x="36" y="64"/>
                    </a:cubicBezTo>
                    <a:cubicBezTo>
                      <a:pt x="34" y="66"/>
                      <a:pt x="31" y="68"/>
                      <a:pt x="28" y="69"/>
                    </a:cubicBezTo>
                    <a:cubicBezTo>
                      <a:pt x="25" y="71"/>
                      <a:pt x="22" y="72"/>
                      <a:pt x="19" y="74"/>
                    </a:cubicBezTo>
                    <a:cubicBezTo>
                      <a:pt x="17" y="75"/>
                      <a:pt x="14" y="76"/>
                      <a:pt x="12" y="78"/>
                    </a:cubicBezTo>
                    <a:cubicBezTo>
                      <a:pt x="24" y="82"/>
                      <a:pt x="51" y="89"/>
                      <a:pt x="66" y="75"/>
                    </a:cubicBezTo>
                    <a:cubicBezTo>
                      <a:pt x="88" y="52"/>
                      <a:pt x="80" y="0"/>
                      <a:pt x="80" y="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3" name="Freeform 15">
                <a:extLst>
                  <a:ext uri="{FF2B5EF4-FFF2-40B4-BE49-F238E27FC236}">
                    <a16:creationId xmlns:a16="http://schemas.microsoft.com/office/drawing/2014/main" id="{ED73FD1E-EF4D-4487-B2B9-F233452F9448}"/>
                  </a:ext>
                </a:extLst>
              </p:cNvPr>
              <p:cNvSpPr>
                <a:spLocks/>
              </p:cNvSpPr>
              <p:nvPr/>
            </p:nvSpPr>
            <p:spPr bwMode="auto">
              <a:xfrm>
                <a:off x="5665148" y="1595294"/>
                <a:ext cx="319853" cy="370971"/>
              </a:xfrm>
              <a:custGeom>
                <a:avLst/>
                <a:gdLst>
                  <a:gd name="T0" fmla="*/ 8 w 82"/>
                  <a:gd name="T1" fmla="*/ 0 h 95"/>
                  <a:gd name="T2" fmla="*/ 15 w 82"/>
                  <a:gd name="T3" fmla="*/ 25 h 95"/>
                  <a:gd name="T4" fmla="*/ 6 w 82"/>
                  <a:gd name="T5" fmla="*/ 71 h 95"/>
                  <a:gd name="T6" fmla="*/ 45 w 82"/>
                  <a:gd name="T7" fmla="*/ 95 h 95"/>
                  <a:gd name="T8" fmla="*/ 45 w 82"/>
                  <a:gd name="T9" fmla="*/ 93 h 95"/>
                  <a:gd name="T10" fmla="*/ 45 w 82"/>
                  <a:gd name="T11" fmla="*/ 83 h 95"/>
                  <a:gd name="T12" fmla="*/ 46 w 82"/>
                  <a:gd name="T13" fmla="*/ 73 h 95"/>
                  <a:gd name="T14" fmla="*/ 46 w 82"/>
                  <a:gd name="T15" fmla="*/ 65 h 95"/>
                  <a:gd name="T16" fmla="*/ 40 w 82"/>
                  <a:gd name="T17" fmla="*/ 47 h 95"/>
                  <a:gd name="T18" fmla="*/ 31 w 82"/>
                  <a:gd name="T19" fmla="*/ 31 h 95"/>
                  <a:gd name="T20" fmla="*/ 44 w 82"/>
                  <a:gd name="T21" fmla="*/ 45 h 95"/>
                  <a:gd name="T22" fmla="*/ 53 w 82"/>
                  <a:gd name="T23" fmla="*/ 63 h 95"/>
                  <a:gd name="T24" fmla="*/ 55 w 82"/>
                  <a:gd name="T25" fmla="*/ 73 h 95"/>
                  <a:gd name="T26" fmla="*/ 56 w 82"/>
                  <a:gd name="T27" fmla="*/ 82 h 95"/>
                  <a:gd name="T28" fmla="*/ 58 w 82"/>
                  <a:gd name="T29" fmla="*/ 91 h 95"/>
                  <a:gd name="T30" fmla="*/ 73 w 82"/>
                  <a:gd name="T31" fmla="*/ 39 h 95"/>
                  <a:gd name="T32" fmla="*/ 8 w 82"/>
                  <a:gd name="T33"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2" h="95">
                    <a:moveTo>
                      <a:pt x="8" y="0"/>
                    </a:moveTo>
                    <a:cubicBezTo>
                      <a:pt x="8" y="0"/>
                      <a:pt x="17" y="8"/>
                      <a:pt x="15" y="25"/>
                    </a:cubicBezTo>
                    <a:cubicBezTo>
                      <a:pt x="13" y="45"/>
                      <a:pt x="0" y="55"/>
                      <a:pt x="6" y="71"/>
                    </a:cubicBezTo>
                    <a:cubicBezTo>
                      <a:pt x="11" y="87"/>
                      <a:pt x="33" y="93"/>
                      <a:pt x="45" y="95"/>
                    </a:cubicBezTo>
                    <a:cubicBezTo>
                      <a:pt x="45" y="94"/>
                      <a:pt x="45" y="94"/>
                      <a:pt x="45" y="93"/>
                    </a:cubicBezTo>
                    <a:cubicBezTo>
                      <a:pt x="45" y="90"/>
                      <a:pt x="45" y="86"/>
                      <a:pt x="45" y="83"/>
                    </a:cubicBezTo>
                    <a:cubicBezTo>
                      <a:pt x="45" y="80"/>
                      <a:pt x="46" y="76"/>
                      <a:pt x="46" y="73"/>
                    </a:cubicBezTo>
                    <a:cubicBezTo>
                      <a:pt x="46" y="70"/>
                      <a:pt x="46" y="68"/>
                      <a:pt x="46" y="65"/>
                    </a:cubicBezTo>
                    <a:cubicBezTo>
                      <a:pt x="45" y="59"/>
                      <a:pt x="43" y="53"/>
                      <a:pt x="40" y="47"/>
                    </a:cubicBezTo>
                    <a:cubicBezTo>
                      <a:pt x="38" y="42"/>
                      <a:pt x="35" y="36"/>
                      <a:pt x="31" y="31"/>
                    </a:cubicBezTo>
                    <a:cubicBezTo>
                      <a:pt x="36" y="35"/>
                      <a:pt x="40" y="40"/>
                      <a:pt x="44" y="45"/>
                    </a:cubicBezTo>
                    <a:cubicBezTo>
                      <a:pt x="47" y="51"/>
                      <a:pt x="51" y="57"/>
                      <a:pt x="53" y="63"/>
                    </a:cubicBezTo>
                    <a:cubicBezTo>
                      <a:pt x="54" y="66"/>
                      <a:pt x="55" y="70"/>
                      <a:pt x="55" y="73"/>
                    </a:cubicBezTo>
                    <a:cubicBezTo>
                      <a:pt x="55" y="76"/>
                      <a:pt x="56" y="79"/>
                      <a:pt x="56" y="82"/>
                    </a:cubicBezTo>
                    <a:cubicBezTo>
                      <a:pt x="56" y="85"/>
                      <a:pt x="57" y="88"/>
                      <a:pt x="58" y="91"/>
                    </a:cubicBezTo>
                    <a:cubicBezTo>
                      <a:pt x="66" y="81"/>
                      <a:pt x="82" y="58"/>
                      <a:pt x="73" y="39"/>
                    </a:cubicBezTo>
                    <a:cubicBezTo>
                      <a:pt x="60" y="11"/>
                      <a:pt x="8" y="0"/>
                      <a:pt x="8" y="0"/>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4" name="Freeform 16">
                <a:extLst>
                  <a:ext uri="{FF2B5EF4-FFF2-40B4-BE49-F238E27FC236}">
                    <a16:creationId xmlns:a16="http://schemas.microsoft.com/office/drawing/2014/main" id="{675850BD-CAC4-418F-8024-FC4A8C339B1A}"/>
                  </a:ext>
                </a:extLst>
              </p:cNvPr>
              <p:cNvSpPr>
                <a:spLocks/>
              </p:cNvSpPr>
              <p:nvPr/>
            </p:nvSpPr>
            <p:spPr bwMode="auto">
              <a:xfrm>
                <a:off x="6897822" y="3365437"/>
                <a:ext cx="321313" cy="379734"/>
              </a:xfrm>
              <a:custGeom>
                <a:avLst/>
                <a:gdLst>
                  <a:gd name="T0" fmla="*/ 72 w 82"/>
                  <a:gd name="T1" fmla="*/ 97 h 97"/>
                  <a:gd name="T2" fmla="*/ 66 w 82"/>
                  <a:gd name="T3" fmla="*/ 71 h 97"/>
                  <a:gd name="T4" fmla="*/ 77 w 82"/>
                  <a:gd name="T5" fmla="*/ 25 h 97"/>
                  <a:gd name="T6" fmla="*/ 38 w 82"/>
                  <a:gd name="T7" fmla="*/ 0 h 97"/>
                  <a:gd name="T8" fmla="*/ 38 w 82"/>
                  <a:gd name="T9" fmla="*/ 2 h 97"/>
                  <a:gd name="T10" fmla="*/ 38 w 82"/>
                  <a:gd name="T11" fmla="*/ 12 h 97"/>
                  <a:gd name="T12" fmla="*/ 37 w 82"/>
                  <a:gd name="T13" fmla="*/ 22 h 97"/>
                  <a:gd name="T14" fmla="*/ 37 w 82"/>
                  <a:gd name="T15" fmla="*/ 30 h 97"/>
                  <a:gd name="T16" fmla="*/ 41 w 82"/>
                  <a:gd name="T17" fmla="*/ 48 h 97"/>
                  <a:gd name="T18" fmla="*/ 50 w 82"/>
                  <a:gd name="T19" fmla="*/ 65 h 97"/>
                  <a:gd name="T20" fmla="*/ 38 w 82"/>
                  <a:gd name="T21" fmla="*/ 50 h 97"/>
                  <a:gd name="T22" fmla="*/ 30 w 82"/>
                  <a:gd name="T23" fmla="*/ 32 h 97"/>
                  <a:gd name="T24" fmla="*/ 28 w 82"/>
                  <a:gd name="T25" fmla="*/ 22 h 97"/>
                  <a:gd name="T26" fmla="*/ 27 w 82"/>
                  <a:gd name="T27" fmla="*/ 12 h 97"/>
                  <a:gd name="T28" fmla="*/ 26 w 82"/>
                  <a:gd name="T29" fmla="*/ 4 h 97"/>
                  <a:gd name="T30" fmla="*/ 8 w 82"/>
                  <a:gd name="T31" fmla="*/ 54 h 97"/>
                  <a:gd name="T32" fmla="*/ 72 w 82"/>
                  <a:gd name="T33" fmla="*/ 9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2" h="97">
                    <a:moveTo>
                      <a:pt x="72" y="97"/>
                    </a:moveTo>
                    <a:cubicBezTo>
                      <a:pt x="72" y="97"/>
                      <a:pt x="64" y="88"/>
                      <a:pt x="66" y="71"/>
                    </a:cubicBezTo>
                    <a:cubicBezTo>
                      <a:pt x="69" y="51"/>
                      <a:pt x="82" y="42"/>
                      <a:pt x="77" y="25"/>
                    </a:cubicBezTo>
                    <a:cubicBezTo>
                      <a:pt x="72" y="10"/>
                      <a:pt x="50" y="3"/>
                      <a:pt x="38" y="0"/>
                    </a:cubicBezTo>
                    <a:cubicBezTo>
                      <a:pt x="38" y="1"/>
                      <a:pt x="38" y="1"/>
                      <a:pt x="38" y="2"/>
                    </a:cubicBezTo>
                    <a:cubicBezTo>
                      <a:pt x="39" y="5"/>
                      <a:pt x="38" y="9"/>
                      <a:pt x="38" y="12"/>
                    </a:cubicBezTo>
                    <a:cubicBezTo>
                      <a:pt x="38" y="15"/>
                      <a:pt x="37" y="19"/>
                      <a:pt x="37" y="22"/>
                    </a:cubicBezTo>
                    <a:cubicBezTo>
                      <a:pt x="37" y="25"/>
                      <a:pt x="37" y="27"/>
                      <a:pt x="37" y="30"/>
                    </a:cubicBezTo>
                    <a:cubicBezTo>
                      <a:pt x="37" y="36"/>
                      <a:pt x="39" y="42"/>
                      <a:pt x="41" y="48"/>
                    </a:cubicBezTo>
                    <a:cubicBezTo>
                      <a:pt x="44" y="54"/>
                      <a:pt x="47" y="59"/>
                      <a:pt x="50" y="65"/>
                    </a:cubicBezTo>
                    <a:cubicBezTo>
                      <a:pt x="46" y="60"/>
                      <a:pt x="42" y="55"/>
                      <a:pt x="38" y="50"/>
                    </a:cubicBezTo>
                    <a:cubicBezTo>
                      <a:pt x="35" y="44"/>
                      <a:pt x="32" y="38"/>
                      <a:pt x="30" y="32"/>
                    </a:cubicBezTo>
                    <a:cubicBezTo>
                      <a:pt x="29" y="28"/>
                      <a:pt x="28" y="25"/>
                      <a:pt x="28" y="22"/>
                    </a:cubicBezTo>
                    <a:cubicBezTo>
                      <a:pt x="27" y="18"/>
                      <a:pt x="27" y="15"/>
                      <a:pt x="27" y="12"/>
                    </a:cubicBezTo>
                    <a:cubicBezTo>
                      <a:pt x="27" y="9"/>
                      <a:pt x="26" y="6"/>
                      <a:pt x="26" y="4"/>
                    </a:cubicBezTo>
                    <a:cubicBezTo>
                      <a:pt x="17" y="13"/>
                      <a:pt x="0" y="36"/>
                      <a:pt x="8" y="54"/>
                    </a:cubicBezTo>
                    <a:cubicBezTo>
                      <a:pt x="20" y="84"/>
                      <a:pt x="72" y="97"/>
                      <a:pt x="72" y="97"/>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5" name="Freeform 17">
                <a:extLst>
                  <a:ext uri="{FF2B5EF4-FFF2-40B4-BE49-F238E27FC236}">
                    <a16:creationId xmlns:a16="http://schemas.microsoft.com/office/drawing/2014/main" id="{B3FB5E47-E9BD-42F0-B05C-9F9706ABFE48}"/>
                  </a:ext>
                </a:extLst>
              </p:cNvPr>
              <p:cNvSpPr>
                <a:spLocks/>
              </p:cNvSpPr>
              <p:nvPr/>
            </p:nvSpPr>
            <p:spPr bwMode="auto">
              <a:xfrm>
                <a:off x="7660210" y="3838644"/>
                <a:ext cx="319853" cy="375352"/>
              </a:xfrm>
              <a:custGeom>
                <a:avLst/>
                <a:gdLst>
                  <a:gd name="T0" fmla="*/ 72 w 82"/>
                  <a:gd name="T1" fmla="*/ 96 h 96"/>
                  <a:gd name="T2" fmla="*/ 66 w 82"/>
                  <a:gd name="T3" fmla="*/ 70 h 96"/>
                  <a:gd name="T4" fmla="*/ 77 w 82"/>
                  <a:gd name="T5" fmla="*/ 25 h 96"/>
                  <a:gd name="T6" fmla="*/ 38 w 82"/>
                  <a:gd name="T7" fmla="*/ 0 h 96"/>
                  <a:gd name="T8" fmla="*/ 38 w 82"/>
                  <a:gd name="T9" fmla="*/ 1 h 96"/>
                  <a:gd name="T10" fmla="*/ 38 w 82"/>
                  <a:gd name="T11" fmla="*/ 12 h 96"/>
                  <a:gd name="T12" fmla="*/ 37 w 82"/>
                  <a:gd name="T13" fmla="*/ 21 h 96"/>
                  <a:gd name="T14" fmla="*/ 37 w 82"/>
                  <a:gd name="T15" fmla="*/ 30 h 96"/>
                  <a:gd name="T16" fmla="*/ 41 w 82"/>
                  <a:gd name="T17" fmla="*/ 47 h 96"/>
                  <a:gd name="T18" fmla="*/ 50 w 82"/>
                  <a:gd name="T19" fmla="*/ 64 h 96"/>
                  <a:gd name="T20" fmla="*/ 38 w 82"/>
                  <a:gd name="T21" fmla="*/ 49 h 96"/>
                  <a:gd name="T22" fmla="*/ 30 w 82"/>
                  <a:gd name="T23" fmla="*/ 31 h 96"/>
                  <a:gd name="T24" fmla="*/ 28 w 82"/>
                  <a:gd name="T25" fmla="*/ 21 h 96"/>
                  <a:gd name="T26" fmla="*/ 27 w 82"/>
                  <a:gd name="T27" fmla="*/ 12 h 96"/>
                  <a:gd name="T28" fmla="*/ 26 w 82"/>
                  <a:gd name="T29" fmla="*/ 3 h 96"/>
                  <a:gd name="T30" fmla="*/ 8 w 82"/>
                  <a:gd name="T31" fmla="*/ 54 h 96"/>
                  <a:gd name="T32" fmla="*/ 72 w 82"/>
                  <a:gd name="T33"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2" h="96">
                    <a:moveTo>
                      <a:pt x="72" y="96"/>
                    </a:moveTo>
                    <a:cubicBezTo>
                      <a:pt x="72" y="96"/>
                      <a:pt x="64" y="87"/>
                      <a:pt x="66" y="70"/>
                    </a:cubicBezTo>
                    <a:cubicBezTo>
                      <a:pt x="69" y="50"/>
                      <a:pt x="82" y="41"/>
                      <a:pt x="77" y="25"/>
                    </a:cubicBezTo>
                    <a:cubicBezTo>
                      <a:pt x="72" y="9"/>
                      <a:pt x="50" y="2"/>
                      <a:pt x="38" y="0"/>
                    </a:cubicBezTo>
                    <a:cubicBezTo>
                      <a:pt x="38" y="0"/>
                      <a:pt x="38" y="1"/>
                      <a:pt x="38" y="1"/>
                    </a:cubicBezTo>
                    <a:cubicBezTo>
                      <a:pt x="39" y="5"/>
                      <a:pt x="38" y="8"/>
                      <a:pt x="38" y="12"/>
                    </a:cubicBezTo>
                    <a:cubicBezTo>
                      <a:pt x="38" y="15"/>
                      <a:pt x="37" y="18"/>
                      <a:pt x="37" y="21"/>
                    </a:cubicBezTo>
                    <a:cubicBezTo>
                      <a:pt x="37" y="24"/>
                      <a:pt x="37" y="27"/>
                      <a:pt x="37" y="30"/>
                    </a:cubicBezTo>
                    <a:cubicBezTo>
                      <a:pt x="37" y="36"/>
                      <a:pt x="39" y="42"/>
                      <a:pt x="41" y="47"/>
                    </a:cubicBezTo>
                    <a:cubicBezTo>
                      <a:pt x="44" y="53"/>
                      <a:pt x="47" y="59"/>
                      <a:pt x="50" y="64"/>
                    </a:cubicBezTo>
                    <a:cubicBezTo>
                      <a:pt x="46" y="59"/>
                      <a:pt x="42" y="55"/>
                      <a:pt x="38" y="49"/>
                    </a:cubicBezTo>
                    <a:cubicBezTo>
                      <a:pt x="35" y="44"/>
                      <a:pt x="32" y="38"/>
                      <a:pt x="30" y="31"/>
                    </a:cubicBezTo>
                    <a:cubicBezTo>
                      <a:pt x="29" y="28"/>
                      <a:pt x="28" y="25"/>
                      <a:pt x="28" y="21"/>
                    </a:cubicBezTo>
                    <a:cubicBezTo>
                      <a:pt x="27" y="18"/>
                      <a:pt x="27" y="15"/>
                      <a:pt x="27" y="12"/>
                    </a:cubicBezTo>
                    <a:cubicBezTo>
                      <a:pt x="27" y="9"/>
                      <a:pt x="26" y="6"/>
                      <a:pt x="26" y="3"/>
                    </a:cubicBezTo>
                    <a:cubicBezTo>
                      <a:pt x="17" y="13"/>
                      <a:pt x="0" y="35"/>
                      <a:pt x="8" y="54"/>
                    </a:cubicBezTo>
                    <a:cubicBezTo>
                      <a:pt x="20" y="83"/>
                      <a:pt x="72" y="96"/>
                      <a:pt x="72" y="96"/>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6" name="Freeform 18">
                <a:extLst>
                  <a:ext uri="{FF2B5EF4-FFF2-40B4-BE49-F238E27FC236}">
                    <a16:creationId xmlns:a16="http://schemas.microsoft.com/office/drawing/2014/main" id="{1B838230-DA5F-4628-8967-AAC3085EC33F}"/>
                  </a:ext>
                </a:extLst>
              </p:cNvPr>
              <p:cNvSpPr>
                <a:spLocks/>
              </p:cNvSpPr>
              <p:nvPr/>
            </p:nvSpPr>
            <p:spPr bwMode="auto">
              <a:xfrm>
                <a:off x="6480115" y="3654619"/>
                <a:ext cx="344681" cy="347602"/>
              </a:xfrm>
              <a:custGeom>
                <a:avLst/>
                <a:gdLst>
                  <a:gd name="T0" fmla="*/ 7 w 88"/>
                  <a:gd name="T1" fmla="*/ 89 h 89"/>
                  <a:gd name="T2" fmla="*/ 29 w 88"/>
                  <a:gd name="T3" fmla="*/ 74 h 89"/>
                  <a:gd name="T4" fmla="*/ 75 w 88"/>
                  <a:gd name="T5" fmla="*/ 67 h 89"/>
                  <a:gd name="T6" fmla="*/ 84 w 88"/>
                  <a:gd name="T7" fmla="*/ 22 h 89"/>
                  <a:gd name="T8" fmla="*/ 83 w 88"/>
                  <a:gd name="T9" fmla="*/ 23 h 89"/>
                  <a:gd name="T10" fmla="*/ 73 w 88"/>
                  <a:gd name="T11" fmla="*/ 26 h 89"/>
                  <a:gd name="T12" fmla="*/ 64 w 88"/>
                  <a:gd name="T13" fmla="*/ 29 h 89"/>
                  <a:gd name="T14" fmla="*/ 56 w 88"/>
                  <a:gd name="T15" fmla="*/ 32 h 89"/>
                  <a:gd name="T16" fmla="*/ 41 w 88"/>
                  <a:gd name="T17" fmla="*/ 43 h 89"/>
                  <a:gd name="T18" fmla="*/ 29 w 88"/>
                  <a:gd name="T19" fmla="*/ 57 h 89"/>
                  <a:gd name="T20" fmla="*/ 38 w 88"/>
                  <a:gd name="T21" fmla="*/ 40 h 89"/>
                  <a:gd name="T22" fmla="*/ 52 w 88"/>
                  <a:gd name="T23" fmla="*/ 26 h 89"/>
                  <a:gd name="T24" fmla="*/ 60 w 88"/>
                  <a:gd name="T25" fmla="*/ 20 h 89"/>
                  <a:gd name="T26" fmla="*/ 69 w 88"/>
                  <a:gd name="T27" fmla="*/ 16 h 89"/>
                  <a:gd name="T28" fmla="*/ 76 w 88"/>
                  <a:gd name="T29" fmla="*/ 12 h 89"/>
                  <a:gd name="T30" fmla="*/ 22 w 88"/>
                  <a:gd name="T31" fmla="*/ 14 h 89"/>
                  <a:gd name="T32" fmla="*/ 7 w 88"/>
                  <a:gd name="T33" fmla="*/ 8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8" h="89">
                    <a:moveTo>
                      <a:pt x="7" y="89"/>
                    </a:moveTo>
                    <a:cubicBezTo>
                      <a:pt x="7" y="89"/>
                      <a:pt x="12" y="78"/>
                      <a:pt x="29" y="74"/>
                    </a:cubicBezTo>
                    <a:cubicBezTo>
                      <a:pt x="48" y="69"/>
                      <a:pt x="62" y="78"/>
                      <a:pt x="75" y="67"/>
                    </a:cubicBezTo>
                    <a:cubicBezTo>
                      <a:pt x="88" y="57"/>
                      <a:pt x="86" y="34"/>
                      <a:pt x="84" y="22"/>
                    </a:cubicBezTo>
                    <a:cubicBezTo>
                      <a:pt x="83" y="22"/>
                      <a:pt x="83" y="22"/>
                      <a:pt x="83" y="23"/>
                    </a:cubicBezTo>
                    <a:cubicBezTo>
                      <a:pt x="79" y="24"/>
                      <a:pt x="76" y="25"/>
                      <a:pt x="73" y="26"/>
                    </a:cubicBezTo>
                    <a:cubicBezTo>
                      <a:pt x="70" y="27"/>
                      <a:pt x="67" y="28"/>
                      <a:pt x="64" y="29"/>
                    </a:cubicBezTo>
                    <a:cubicBezTo>
                      <a:pt x="61" y="30"/>
                      <a:pt x="58" y="31"/>
                      <a:pt x="56" y="32"/>
                    </a:cubicBezTo>
                    <a:cubicBezTo>
                      <a:pt x="50" y="35"/>
                      <a:pt x="45" y="38"/>
                      <a:pt x="41" y="43"/>
                    </a:cubicBezTo>
                    <a:cubicBezTo>
                      <a:pt x="37" y="47"/>
                      <a:pt x="33" y="52"/>
                      <a:pt x="29" y="57"/>
                    </a:cubicBezTo>
                    <a:cubicBezTo>
                      <a:pt x="32" y="51"/>
                      <a:pt x="35" y="46"/>
                      <a:pt x="38" y="40"/>
                    </a:cubicBezTo>
                    <a:cubicBezTo>
                      <a:pt x="42" y="35"/>
                      <a:pt x="46" y="30"/>
                      <a:pt x="52" y="26"/>
                    </a:cubicBezTo>
                    <a:cubicBezTo>
                      <a:pt x="54" y="24"/>
                      <a:pt x="57" y="22"/>
                      <a:pt x="60" y="20"/>
                    </a:cubicBezTo>
                    <a:cubicBezTo>
                      <a:pt x="63" y="19"/>
                      <a:pt x="66" y="17"/>
                      <a:pt x="69" y="16"/>
                    </a:cubicBezTo>
                    <a:cubicBezTo>
                      <a:pt x="71" y="15"/>
                      <a:pt x="74" y="13"/>
                      <a:pt x="76" y="12"/>
                    </a:cubicBezTo>
                    <a:cubicBezTo>
                      <a:pt x="64" y="7"/>
                      <a:pt x="37" y="0"/>
                      <a:pt x="22" y="14"/>
                    </a:cubicBezTo>
                    <a:cubicBezTo>
                      <a:pt x="0" y="36"/>
                      <a:pt x="7" y="89"/>
                      <a:pt x="7" y="89"/>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7" name="Freeform 19">
                <a:extLst>
                  <a:ext uri="{FF2B5EF4-FFF2-40B4-BE49-F238E27FC236}">
                    <a16:creationId xmlns:a16="http://schemas.microsoft.com/office/drawing/2014/main" id="{142E0F8C-BFB2-4947-B0B7-B31F9A12DB43}"/>
                  </a:ext>
                </a:extLst>
              </p:cNvPr>
              <p:cNvSpPr>
                <a:spLocks/>
              </p:cNvSpPr>
              <p:nvPr/>
            </p:nvSpPr>
            <p:spPr bwMode="auto">
              <a:xfrm>
                <a:off x="4634025" y="3174109"/>
                <a:ext cx="343221" cy="351983"/>
              </a:xfrm>
              <a:custGeom>
                <a:avLst/>
                <a:gdLst>
                  <a:gd name="T0" fmla="*/ 80 w 88"/>
                  <a:gd name="T1" fmla="*/ 0 h 90"/>
                  <a:gd name="T2" fmla="*/ 59 w 88"/>
                  <a:gd name="T3" fmla="*/ 16 h 90"/>
                  <a:gd name="T4" fmla="*/ 13 w 88"/>
                  <a:gd name="T5" fmla="*/ 23 h 90"/>
                  <a:gd name="T6" fmla="*/ 5 w 88"/>
                  <a:gd name="T7" fmla="*/ 69 h 90"/>
                  <a:gd name="T8" fmla="*/ 6 w 88"/>
                  <a:gd name="T9" fmla="*/ 68 h 90"/>
                  <a:gd name="T10" fmla="*/ 16 w 88"/>
                  <a:gd name="T11" fmla="*/ 64 h 90"/>
                  <a:gd name="T12" fmla="*/ 25 w 88"/>
                  <a:gd name="T13" fmla="*/ 62 h 90"/>
                  <a:gd name="T14" fmla="*/ 33 w 88"/>
                  <a:gd name="T15" fmla="*/ 58 h 90"/>
                  <a:gd name="T16" fmla="*/ 47 w 88"/>
                  <a:gd name="T17" fmla="*/ 47 h 90"/>
                  <a:gd name="T18" fmla="*/ 59 w 88"/>
                  <a:gd name="T19" fmla="*/ 33 h 90"/>
                  <a:gd name="T20" fmla="*/ 50 w 88"/>
                  <a:gd name="T21" fmla="*/ 50 h 90"/>
                  <a:gd name="T22" fmla="*/ 37 w 88"/>
                  <a:gd name="T23" fmla="*/ 64 h 90"/>
                  <a:gd name="T24" fmla="*/ 28 w 88"/>
                  <a:gd name="T25" fmla="*/ 70 h 90"/>
                  <a:gd name="T26" fmla="*/ 20 w 88"/>
                  <a:gd name="T27" fmla="*/ 74 h 90"/>
                  <a:gd name="T28" fmla="*/ 13 w 88"/>
                  <a:gd name="T29" fmla="*/ 79 h 90"/>
                  <a:gd name="T30" fmla="*/ 66 w 88"/>
                  <a:gd name="T31" fmla="*/ 75 h 90"/>
                  <a:gd name="T32" fmla="*/ 80 w 88"/>
                  <a:gd name="T33" fmla="*/ 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8" h="90">
                    <a:moveTo>
                      <a:pt x="80" y="0"/>
                    </a:moveTo>
                    <a:cubicBezTo>
                      <a:pt x="80" y="0"/>
                      <a:pt x="75" y="11"/>
                      <a:pt x="59" y="16"/>
                    </a:cubicBezTo>
                    <a:cubicBezTo>
                      <a:pt x="39" y="21"/>
                      <a:pt x="26" y="12"/>
                      <a:pt x="13" y="23"/>
                    </a:cubicBezTo>
                    <a:cubicBezTo>
                      <a:pt x="0" y="34"/>
                      <a:pt x="2" y="57"/>
                      <a:pt x="5" y="69"/>
                    </a:cubicBezTo>
                    <a:cubicBezTo>
                      <a:pt x="5" y="68"/>
                      <a:pt x="5" y="68"/>
                      <a:pt x="6" y="68"/>
                    </a:cubicBezTo>
                    <a:cubicBezTo>
                      <a:pt x="9" y="66"/>
                      <a:pt x="12" y="65"/>
                      <a:pt x="16" y="64"/>
                    </a:cubicBezTo>
                    <a:cubicBezTo>
                      <a:pt x="19" y="63"/>
                      <a:pt x="22" y="62"/>
                      <a:pt x="25" y="62"/>
                    </a:cubicBezTo>
                    <a:cubicBezTo>
                      <a:pt x="28" y="61"/>
                      <a:pt x="30" y="60"/>
                      <a:pt x="33" y="58"/>
                    </a:cubicBezTo>
                    <a:cubicBezTo>
                      <a:pt x="38" y="55"/>
                      <a:pt x="43" y="52"/>
                      <a:pt x="47" y="47"/>
                    </a:cubicBezTo>
                    <a:cubicBezTo>
                      <a:pt x="51" y="43"/>
                      <a:pt x="55" y="38"/>
                      <a:pt x="59" y="33"/>
                    </a:cubicBezTo>
                    <a:cubicBezTo>
                      <a:pt x="56" y="39"/>
                      <a:pt x="54" y="44"/>
                      <a:pt x="50" y="50"/>
                    </a:cubicBezTo>
                    <a:cubicBezTo>
                      <a:pt x="46" y="55"/>
                      <a:pt x="42" y="60"/>
                      <a:pt x="37" y="64"/>
                    </a:cubicBezTo>
                    <a:cubicBezTo>
                      <a:pt x="34" y="66"/>
                      <a:pt x="31" y="68"/>
                      <a:pt x="28" y="70"/>
                    </a:cubicBezTo>
                    <a:cubicBezTo>
                      <a:pt x="25" y="72"/>
                      <a:pt x="22" y="73"/>
                      <a:pt x="20" y="74"/>
                    </a:cubicBezTo>
                    <a:cubicBezTo>
                      <a:pt x="17" y="76"/>
                      <a:pt x="15" y="77"/>
                      <a:pt x="13" y="79"/>
                    </a:cubicBezTo>
                    <a:cubicBezTo>
                      <a:pt x="25" y="83"/>
                      <a:pt x="52" y="90"/>
                      <a:pt x="66" y="75"/>
                    </a:cubicBezTo>
                    <a:cubicBezTo>
                      <a:pt x="88" y="53"/>
                      <a:pt x="80" y="0"/>
                      <a:pt x="80" y="0"/>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8" name="Freeform 20">
                <a:extLst>
                  <a:ext uri="{FF2B5EF4-FFF2-40B4-BE49-F238E27FC236}">
                    <a16:creationId xmlns:a16="http://schemas.microsoft.com/office/drawing/2014/main" id="{26A4FE93-EB6C-4B15-9A70-9D10C82A4187}"/>
                  </a:ext>
                </a:extLst>
              </p:cNvPr>
              <p:cNvSpPr>
                <a:spLocks/>
              </p:cNvSpPr>
              <p:nvPr/>
            </p:nvSpPr>
            <p:spPr bwMode="auto">
              <a:xfrm>
                <a:off x="5210929" y="2502273"/>
                <a:ext cx="297945" cy="401641"/>
              </a:xfrm>
              <a:custGeom>
                <a:avLst/>
                <a:gdLst>
                  <a:gd name="T0" fmla="*/ 31 w 76"/>
                  <a:gd name="T1" fmla="*/ 0 h 103"/>
                  <a:gd name="T2" fmla="*/ 27 w 76"/>
                  <a:gd name="T3" fmla="*/ 26 h 103"/>
                  <a:gd name="T4" fmla="*/ 1 w 76"/>
                  <a:gd name="T5" fmla="*/ 64 h 103"/>
                  <a:gd name="T6" fmla="*/ 28 w 76"/>
                  <a:gd name="T7" fmla="*/ 102 h 103"/>
                  <a:gd name="T8" fmla="*/ 28 w 76"/>
                  <a:gd name="T9" fmla="*/ 100 h 103"/>
                  <a:gd name="T10" fmla="*/ 32 w 76"/>
                  <a:gd name="T11" fmla="*/ 91 h 103"/>
                  <a:gd name="T12" fmla="*/ 37 w 76"/>
                  <a:gd name="T13" fmla="*/ 82 h 103"/>
                  <a:gd name="T14" fmla="*/ 40 w 76"/>
                  <a:gd name="T15" fmla="*/ 74 h 103"/>
                  <a:gd name="T16" fmla="*/ 42 w 76"/>
                  <a:gd name="T17" fmla="*/ 56 h 103"/>
                  <a:gd name="T18" fmla="*/ 40 w 76"/>
                  <a:gd name="T19" fmla="*/ 37 h 103"/>
                  <a:gd name="T20" fmla="*/ 46 w 76"/>
                  <a:gd name="T21" fmla="*/ 56 h 103"/>
                  <a:gd name="T22" fmla="*/ 47 w 76"/>
                  <a:gd name="T23" fmla="*/ 75 h 103"/>
                  <a:gd name="T24" fmla="*/ 45 w 76"/>
                  <a:gd name="T25" fmla="*/ 85 h 103"/>
                  <a:gd name="T26" fmla="*/ 43 w 76"/>
                  <a:gd name="T27" fmla="*/ 95 h 103"/>
                  <a:gd name="T28" fmla="*/ 41 w 76"/>
                  <a:gd name="T29" fmla="*/ 103 h 103"/>
                  <a:gd name="T30" fmla="*/ 75 w 76"/>
                  <a:gd name="T31" fmla="*/ 62 h 103"/>
                  <a:gd name="T32" fmla="*/ 31 w 76"/>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6" h="103">
                    <a:moveTo>
                      <a:pt x="31" y="0"/>
                    </a:moveTo>
                    <a:cubicBezTo>
                      <a:pt x="31" y="0"/>
                      <a:pt x="36" y="11"/>
                      <a:pt x="27" y="26"/>
                    </a:cubicBezTo>
                    <a:cubicBezTo>
                      <a:pt x="17" y="43"/>
                      <a:pt x="2" y="47"/>
                      <a:pt x="1" y="64"/>
                    </a:cubicBezTo>
                    <a:cubicBezTo>
                      <a:pt x="0" y="81"/>
                      <a:pt x="18" y="95"/>
                      <a:pt x="28" y="102"/>
                    </a:cubicBezTo>
                    <a:cubicBezTo>
                      <a:pt x="28" y="101"/>
                      <a:pt x="28" y="101"/>
                      <a:pt x="28" y="100"/>
                    </a:cubicBezTo>
                    <a:cubicBezTo>
                      <a:pt x="29" y="97"/>
                      <a:pt x="31" y="93"/>
                      <a:pt x="32" y="91"/>
                    </a:cubicBezTo>
                    <a:cubicBezTo>
                      <a:pt x="34" y="88"/>
                      <a:pt x="35" y="85"/>
                      <a:pt x="37" y="82"/>
                    </a:cubicBezTo>
                    <a:cubicBezTo>
                      <a:pt x="38" y="79"/>
                      <a:pt x="39" y="77"/>
                      <a:pt x="40" y="74"/>
                    </a:cubicBezTo>
                    <a:cubicBezTo>
                      <a:pt x="42" y="68"/>
                      <a:pt x="42" y="62"/>
                      <a:pt x="42" y="56"/>
                    </a:cubicBezTo>
                    <a:cubicBezTo>
                      <a:pt x="42" y="50"/>
                      <a:pt x="41" y="44"/>
                      <a:pt x="40" y="37"/>
                    </a:cubicBezTo>
                    <a:cubicBezTo>
                      <a:pt x="42" y="43"/>
                      <a:pt x="44" y="49"/>
                      <a:pt x="46" y="56"/>
                    </a:cubicBezTo>
                    <a:cubicBezTo>
                      <a:pt x="47" y="62"/>
                      <a:pt x="48" y="68"/>
                      <a:pt x="47" y="75"/>
                    </a:cubicBezTo>
                    <a:cubicBezTo>
                      <a:pt x="47" y="79"/>
                      <a:pt x="46" y="82"/>
                      <a:pt x="45" y="85"/>
                    </a:cubicBezTo>
                    <a:cubicBezTo>
                      <a:pt x="44" y="89"/>
                      <a:pt x="43" y="92"/>
                      <a:pt x="43" y="95"/>
                    </a:cubicBezTo>
                    <a:cubicBezTo>
                      <a:pt x="42" y="97"/>
                      <a:pt x="41" y="100"/>
                      <a:pt x="41" y="103"/>
                    </a:cubicBezTo>
                    <a:cubicBezTo>
                      <a:pt x="52" y="97"/>
                      <a:pt x="76" y="82"/>
                      <a:pt x="75" y="62"/>
                    </a:cubicBezTo>
                    <a:cubicBezTo>
                      <a:pt x="74" y="30"/>
                      <a:pt x="31" y="0"/>
                      <a:pt x="31" y="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9" name="Freeform 21">
                <a:extLst>
                  <a:ext uri="{FF2B5EF4-FFF2-40B4-BE49-F238E27FC236}">
                    <a16:creationId xmlns:a16="http://schemas.microsoft.com/office/drawing/2014/main" id="{0D14B19B-CC0F-422D-9431-977A3EEA09F0}"/>
                  </a:ext>
                </a:extLst>
              </p:cNvPr>
              <p:cNvSpPr>
                <a:spLocks/>
              </p:cNvSpPr>
              <p:nvPr/>
            </p:nvSpPr>
            <p:spPr bwMode="auto">
              <a:xfrm>
                <a:off x="4958259" y="2963795"/>
                <a:ext cx="385576" cy="343220"/>
              </a:xfrm>
              <a:custGeom>
                <a:avLst/>
                <a:gdLst>
                  <a:gd name="T0" fmla="*/ 0 w 99"/>
                  <a:gd name="T1" fmla="*/ 29 h 88"/>
                  <a:gd name="T2" fmla="*/ 23 w 99"/>
                  <a:gd name="T3" fmla="*/ 42 h 88"/>
                  <a:gd name="T4" fmla="*/ 48 w 99"/>
                  <a:gd name="T5" fmla="*/ 81 h 88"/>
                  <a:gd name="T6" fmla="*/ 93 w 99"/>
                  <a:gd name="T7" fmla="*/ 69 h 88"/>
                  <a:gd name="T8" fmla="*/ 92 w 99"/>
                  <a:gd name="T9" fmla="*/ 68 h 88"/>
                  <a:gd name="T10" fmla="*/ 85 w 99"/>
                  <a:gd name="T11" fmla="*/ 61 h 88"/>
                  <a:gd name="T12" fmla="*/ 79 w 99"/>
                  <a:gd name="T13" fmla="*/ 54 h 88"/>
                  <a:gd name="T14" fmla="*/ 72 w 99"/>
                  <a:gd name="T15" fmla="*/ 48 h 88"/>
                  <a:gd name="T16" fmla="*/ 56 w 99"/>
                  <a:gd name="T17" fmla="*/ 39 h 88"/>
                  <a:gd name="T18" fmla="*/ 38 w 99"/>
                  <a:gd name="T19" fmla="*/ 34 h 88"/>
                  <a:gd name="T20" fmla="*/ 57 w 99"/>
                  <a:gd name="T21" fmla="*/ 36 h 88"/>
                  <a:gd name="T22" fmla="*/ 76 w 99"/>
                  <a:gd name="T23" fmla="*/ 42 h 88"/>
                  <a:gd name="T24" fmla="*/ 85 w 99"/>
                  <a:gd name="T25" fmla="*/ 47 h 88"/>
                  <a:gd name="T26" fmla="*/ 92 w 99"/>
                  <a:gd name="T27" fmla="*/ 53 h 88"/>
                  <a:gd name="T28" fmla="*/ 99 w 99"/>
                  <a:gd name="T29" fmla="*/ 58 h 88"/>
                  <a:gd name="T30" fmla="*/ 74 w 99"/>
                  <a:gd name="T31" fmla="*/ 11 h 88"/>
                  <a:gd name="T32" fmla="*/ 0 w 99"/>
                  <a:gd name="T33" fmla="*/ 29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 h="88">
                    <a:moveTo>
                      <a:pt x="0" y="29"/>
                    </a:moveTo>
                    <a:cubicBezTo>
                      <a:pt x="0" y="29"/>
                      <a:pt x="12" y="29"/>
                      <a:pt x="23" y="42"/>
                    </a:cubicBezTo>
                    <a:cubicBezTo>
                      <a:pt x="35" y="58"/>
                      <a:pt x="33" y="73"/>
                      <a:pt x="48" y="81"/>
                    </a:cubicBezTo>
                    <a:cubicBezTo>
                      <a:pt x="63" y="88"/>
                      <a:pt x="83" y="76"/>
                      <a:pt x="93" y="69"/>
                    </a:cubicBezTo>
                    <a:cubicBezTo>
                      <a:pt x="93" y="69"/>
                      <a:pt x="93" y="69"/>
                      <a:pt x="92" y="68"/>
                    </a:cubicBezTo>
                    <a:cubicBezTo>
                      <a:pt x="89" y="66"/>
                      <a:pt x="87" y="63"/>
                      <a:pt x="85" y="61"/>
                    </a:cubicBezTo>
                    <a:cubicBezTo>
                      <a:pt x="83" y="59"/>
                      <a:pt x="81" y="56"/>
                      <a:pt x="79" y="54"/>
                    </a:cubicBezTo>
                    <a:cubicBezTo>
                      <a:pt x="76" y="52"/>
                      <a:pt x="74" y="50"/>
                      <a:pt x="72" y="48"/>
                    </a:cubicBezTo>
                    <a:cubicBezTo>
                      <a:pt x="67" y="44"/>
                      <a:pt x="62" y="42"/>
                      <a:pt x="56" y="39"/>
                    </a:cubicBezTo>
                    <a:cubicBezTo>
                      <a:pt x="50" y="37"/>
                      <a:pt x="44" y="36"/>
                      <a:pt x="38" y="34"/>
                    </a:cubicBezTo>
                    <a:cubicBezTo>
                      <a:pt x="44" y="35"/>
                      <a:pt x="51" y="35"/>
                      <a:pt x="57" y="36"/>
                    </a:cubicBezTo>
                    <a:cubicBezTo>
                      <a:pt x="63" y="37"/>
                      <a:pt x="70" y="39"/>
                      <a:pt x="76" y="42"/>
                    </a:cubicBezTo>
                    <a:cubicBezTo>
                      <a:pt x="79" y="43"/>
                      <a:pt x="82" y="45"/>
                      <a:pt x="85" y="47"/>
                    </a:cubicBezTo>
                    <a:cubicBezTo>
                      <a:pt x="87" y="49"/>
                      <a:pt x="90" y="51"/>
                      <a:pt x="92" y="53"/>
                    </a:cubicBezTo>
                    <a:cubicBezTo>
                      <a:pt x="95" y="55"/>
                      <a:pt x="97" y="57"/>
                      <a:pt x="99" y="58"/>
                    </a:cubicBezTo>
                    <a:cubicBezTo>
                      <a:pt x="98" y="45"/>
                      <a:pt x="93" y="18"/>
                      <a:pt x="74" y="11"/>
                    </a:cubicBezTo>
                    <a:cubicBezTo>
                      <a:pt x="44" y="0"/>
                      <a:pt x="0" y="29"/>
                      <a:pt x="0" y="29"/>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0" name="Freeform 22">
                <a:extLst>
                  <a:ext uri="{FF2B5EF4-FFF2-40B4-BE49-F238E27FC236}">
                    <a16:creationId xmlns:a16="http://schemas.microsoft.com/office/drawing/2014/main" id="{6BFCDB72-1BBF-4AC4-8C9A-8A72FFA919D0}"/>
                  </a:ext>
                </a:extLst>
              </p:cNvPr>
              <p:cNvSpPr>
                <a:spLocks/>
              </p:cNvSpPr>
              <p:nvPr/>
            </p:nvSpPr>
            <p:spPr bwMode="auto">
              <a:xfrm>
                <a:off x="5289796" y="4726636"/>
                <a:ext cx="389958" cy="343220"/>
              </a:xfrm>
              <a:custGeom>
                <a:avLst/>
                <a:gdLst>
                  <a:gd name="T0" fmla="*/ 0 w 100"/>
                  <a:gd name="T1" fmla="*/ 29 h 88"/>
                  <a:gd name="T2" fmla="*/ 23 w 100"/>
                  <a:gd name="T3" fmla="*/ 42 h 88"/>
                  <a:gd name="T4" fmla="*/ 49 w 100"/>
                  <a:gd name="T5" fmla="*/ 81 h 88"/>
                  <a:gd name="T6" fmla="*/ 94 w 100"/>
                  <a:gd name="T7" fmla="*/ 69 h 88"/>
                  <a:gd name="T8" fmla="*/ 93 w 100"/>
                  <a:gd name="T9" fmla="*/ 69 h 88"/>
                  <a:gd name="T10" fmla="*/ 85 w 100"/>
                  <a:gd name="T11" fmla="*/ 61 h 88"/>
                  <a:gd name="T12" fmla="*/ 79 w 100"/>
                  <a:gd name="T13" fmla="*/ 54 h 88"/>
                  <a:gd name="T14" fmla="*/ 73 w 100"/>
                  <a:gd name="T15" fmla="*/ 48 h 88"/>
                  <a:gd name="T16" fmla="*/ 57 w 100"/>
                  <a:gd name="T17" fmla="*/ 40 h 88"/>
                  <a:gd name="T18" fmla="*/ 38 w 100"/>
                  <a:gd name="T19" fmla="*/ 35 h 88"/>
                  <a:gd name="T20" fmla="*/ 58 w 100"/>
                  <a:gd name="T21" fmla="*/ 36 h 88"/>
                  <a:gd name="T22" fmla="*/ 76 w 100"/>
                  <a:gd name="T23" fmla="*/ 42 h 88"/>
                  <a:gd name="T24" fmla="*/ 85 w 100"/>
                  <a:gd name="T25" fmla="*/ 47 h 88"/>
                  <a:gd name="T26" fmla="*/ 93 w 100"/>
                  <a:gd name="T27" fmla="*/ 53 h 88"/>
                  <a:gd name="T28" fmla="*/ 100 w 100"/>
                  <a:gd name="T29" fmla="*/ 58 h 88"/>
                  <a:gd name="T30" fmla="*/ 74 w 100"/>
                  <a:gd name="T31" fmla="*/ 11 h 88"/>
                  <a:gd name="T32" fmla="*/ 0 w 100"/>
                  <a:gd name="T33" fmla="*/ 29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0" h="88">
                    <a:moveTo>
                      <a:pt x="0" y="29"/>
                    </a:moveTo>
                    <a:cubicBezTo>
                      <a:pt x="0" y="29"/>
                      <a:pt x="12" y="29"/>
                      <a:pt x="23" y="42"/>
                    </a:cubicBezTo>
                    <a:cubicBezTo>
                      <a:pt x="36" y="58"/>
                      <a:pt x="33" y="74"/>
                      <a:pt x="49" y="81"/>
                    </a:cubicBezTo>
                    <a:cubicBezTo>
                      <a:pt x="64" y="88"/>
                      <a:pt x="84" y="77"/>
                      <a:pt x="94" y="69"/>
                    </a:cubicBezTo>
                    <a:cubicBezTo>
                      <a:pt x="93" y="69"/>
                      <a:pt x="93" y="69"/>
                      <a:pt x="93" y="69"/>
                    </a:cubicBezTo>
                    <a:cubicBezTo>
                      <a:pt x="90" y="66"/>
                      <a:pt x="87" y="64"/>
                      <a:pt x="85" y="61"/>
                    </a:cubicBezTo>
                    <a:cubicBezTo>
                      <a:pt x="83" y="59"/>
                      <a:pt x="81" y="56"/>
                      <a:pt x="79" y="54"/>
                    </a:cubicBezTo>
                    <a:cubicBezTo>
                      <a:pt x="77" y="52"/>
                      <a:pt x="75" y="50"/>
                      <a:pt x="73" y="48"/>
                    </a:cubicBezTo>
                    <a:cubicBezTo>
                      <a:pt x="68" y="45"/>
                      <a:pt x="62" y="42"/>
                      <a:pt x="57" y="40"/>
                    </a:cubicBezTo>
                    <a:cubicBezTo>
                      <a:pt x="51" y="38"/>
                      <a:pt x="45" y="36"/>
                      <a:pt x="38" y="35"/>
                    </a:cubicBezTo>
                    <a:cubicBezTo>
                      <a:pt x="45" y="35"/>
                      <a:pt x="51" y="35"/>
                      <a:pt x="58" y="36"/>
                    </a:cubicBezTo>
                    <a:cubicBezTo>
                      <a:pt x="64" y="37"/>
                      <a:pt x="70" y="39"/>
                      <a:pt x="76" y="42"/>
                    </a:cubicBezTo>
                    <a:cubicBezTo>
                      <a:pt x="80" y="43"/>
                      <a:pt x="82" y="45"/>
                      <a:pt x="85" y="47"/>
                    </a:cubicBezTo>
                    <a:cubicBezTo>
                      <a:pt x="88" y="49"/>
                      <a:pt x="90" y="51"/>
                      <a:pt x="93" y="53"/>
                    </a:cubicBezTo>
                    <a:cubicBezTo>
                      <a:pt x="95" y="55"/>
                      <a:pt x="97" y="57"/>
                      <a:pt x="100" y="58"/>
                    </a:cubicBezTo>
                    <a:cubicBezTo>
                      <a:pt x="98" y="45"/>
                      <a:pt x="93" y="18"/>
                      <a:pt x="74" y="11"/>
                    </a:cubicBezTo>
                    <a:cubicBezTo>
                      <a:pt x="45" y="0"/>
                      <a:pt x="0" y="29"/>
                      <a:pt x="0" y="29"/>
                    </a:cubicBez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1" name="Freeform 23">
                <a:extLst>
                  <a:ext uri="{FF2B5EF4-FFF2-40B4-BE49-F238E27FC236}">
                    <a16:creationId xmlns:a16="http://schemas.microsoft.com/office/drawing/2014/main" id="{19E04720-79F2-4B61-ADD5-C5B09C83E9C8}"/>
                  </a:ext>
                </a:extLst>
              </p:cNvPr>
              <p:cNvSpPr>
                <a:spLocks/>
              </p:cNvSpPr>
              <p:nvPr/>
            </p:nvSpPr>
            <p:spPr bwMode="auto">
              <a:xfrm>
                <a:off x="5504491" y="2068501"/>
                <a:ext cx="363668" cy="319852"/>
              </a:xfrm>
              <a:custGeom>
                <a:avLst/>
                <a:gdLst>
                  <a:gd name="T0" fmla="*/ 93 w 93"/>
                  <a:gd name="T1" fmla="*/ 6 h 82"/>
                  <a:gd name="T2" fmla="*/ 67 w 93"/>
                  <a:gd name="T3" fmla="*/ 14 h 82"/>
                  <a:gd name="T4" fmla="*/ 21 w 93"/>
                  <a:gd name="T5" fmla="*/ 6 h 82"/>
                  <a:gd name="T6" fmla="*/ 0 w 93"/>
                  <a:gd name="T7" fmla="*/ 47 h 82"/>
                  <a:gd name="T8" fmla="*/ 1 w 93"/>
                  <a:gd name="T9" fmla="*/ 47 h 82"/>
                  <a:gd name="T10" fmla="*/ 11 w 93"/>
                  <a:gd name="T11" fmla="*/ 46 h 82"/>
                  <a:gd name="T12" fmla="*/ 21 w 93"/>
                  <a:gd name="T13" fmla="*/ 47 h 82"/>
                  <a:gd name="T14" fmla="*/ 30 w 93"/>
                  <a:gd name="T15" fmla="*/ 46 h 82"/>
                  <a:gd name="T16" fmla="*/ 47 w 93"/>
                  <a:gd name="T17" fmla="*/ 40 h 82"/>
                  <a:gd name="T18" fmla="*/ 63 w 93"/>
                  <a:gd name="T19" fmla="*/ 30 h 82"/>
                  <a:gd name="T20" fmla="*/ 49 w 93"/>
                  <a:gd name="T21" fmla="*/ 43 h 82"/>
                  <a:gd name="T22" fmla="*/ 32 w 93"/>
                  <a:gd name="T23" fmla="*/ 53 h 82"/>
                  <a:gd name="T24" fmla="*/ 22 w 93"/>
                  <a:gd name="T25" fmla="*/ 56 h 82"/>
                  <a:gd name="T26" fmla="*/ 12 w 93"/>
                  <a:gd name="T27" fmla="*/ 57 h 82"/>
                  <a:gd name="T28" fmla="*/ 4 w 93"/>
                  <a:gd name="T29" fmla="*/ 59 h 82"/>
                  <a:gd name="T30" fmla="*/ 56 w 93"/>
                  <a:gd name="T31" fmla="*/ 73 h 82"/>
                  <a:gd name="T32" fmla="*/ 93 w 93"/>
                  <a:gd name="T33" fmla="*/ 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3" h="82">
                    <a:moveTo>
                      <a:pt x="93" y="6"/>
                    </a:moveTo>
                    <a:cubicBezTo>
                      <a:pt x="93" y="6"/>
                      <a:pt x="85" y="15"/>
                      <a:pt x="67" y="14"/>
                    </a:cubicBezTo>
                    <a:cubicBezTo>
                      <a:pt x="47" y="12"/>
                      <a:pt x="37" y="0"/>
                      <a:pt x="21" y="6"/>
                    </a:cubicBezTo>
                    <a:cubicBezTo>
                      <a:pt x="6" y="13"/>
                      <a:pt x="1" y="35"/>
                      <a:pt x="0" y="47"/>
                    </a:cubicBezTo>
                    <a:cubicBezTo>
                      <a:pt x="0" y="47"/>
                      <a:pt x="0" y="47"/>
                      <a:pt x="1" y="47"/>
                    </a:cubicBezTo>
                    <a:cubicBezTo>
                      <a:pt x="5" y="46"/>
                      <a:pt x="8" y="46"/>
                      <a:pt x="11" y="46"/>
                    </a:cubicBezTo>
                    <a:cubicBezTo>
                      <a:pt x="15" y="46"/>
                      <a:pt x="18" y="47"/>
                      <a:pt x="21" y="47"/>
                    </a:cubicBezTo>
                    <a:cubicBezTo>
                      <a:pt x="24" y="47"/>
                      <a:pt x="27" y="47"/>
                      <a:pt x="30" y="46"/>
                    </a:cubicBezTo>
                    <a:cubicBezTo>
                      <a:pt x="35" y="45"/>
                      <a:pt x="41" y="43"/>
                      <a:pt x="47" y="40"/>
                    </a:cubicBezTo>
                    <a:cubicBezTo>
                      <a:pt x="52" y="37"/>
                      <a:pt x="57" y="34"/>
                      <a:pt x="63" y="30"/>
                    </a:cubicBezTo>
                    <a:cubicBezTo>
                      <a:pt x="58" y="35"/>
                      <a:pt x="54" y="39"/>
                      <a:pt x="49" y="43"/>
                    </a:cubicBezTo>
                    <a:cubicBezTo>
                      <a:pt x="44" y="47"/>
                      <a:pt x="38" y="51"/>
                      <a:pt x="32" y="53"/>
                    </a:cubicBezTo>
                    <a:cubicBezTo>
                      <a:pt x="28" y="54"/>
                      <a:pt x="25" y="55"/>
                      <a:pt x="22" y="56"/>
                    </a:cubicBezTo>
                    <a:cubicBezTo>
                      <a:pt x="18" y="56"/>
                      <a:pt x="15" y="57"/>
                      <a:pt x="12" y="57"/>
                    </a:cubicBezTo>
                    <a:cubicBezTo>
                      <a:pt x="9" y="58"/>
                      <a:pt x="6" y="58"/>
                      <a:pt x="4" y="59"/>
                    </a:cubicBezTo>
                    <a:cubicBezTo>
                      <a:pt x="14" y="67"/>
                      <a:pt x="38" y="82"/>
                      <a:pt x="56" y="73"/>
                    </a:cubicBezTo>
                    <a:cubicBezTo>
                      <a:pt x="84" y="58"/>
                      <a:pt x="93" y="6"/>
                      <a:pt x="93" y="6"/>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2" name="Freeform 24">
                <a:extLst>
                  <a:ext uri="{FF2B5EF4-FFF2-40B4-BE49-F238E27FC236}">
                    <a16:creationId xmlns:a16="http://schemas.microsoft.com/office/drawing/2014/main" id="{FA0D0677-48D8-4B2E-8CF5-3B0D68BF6D87}"/>
                  </a:ext>
                </a:extLst>
              </p:cNvPr>
              <p:cNvSpPr>
                <a:spLocks/>
              </p:cNvSpPr>
              <p:nvPr/>
            </p:nvSpPr>
            <p:spPr bwMode="auto">
              <a:xfrm>
                <a:off x="6211380" y="1587991"/>
                <a:ext cx="343221" cy="350523"/>
              </a:xfrm>
              <a:custGeom>
                <a:avLst/>
                <a:gdLst>
                  <a:gd name="T0" fmla="*/ 81 w 88"/>
                  <a:gd name="T1" fmla="*/ 0 h 90"/>
                  <a:gd name="T2" fmla="*/ 59 w 88"/>
                  <a:gd name="T3" fmla="*/ 16 h 90"/>
                  <a:gd name="T4" fmla="*/ 13 w 88"/>
                  <a:gd name="T5" fmla="*/ 23 h 90"/>
                  <a:gd name="T6" fmla="*/ 5 w 88"/>
                  <a:gd name="T7" fmla="*/ 69 h 90"/>
                  <a:gd name="T8" fmla="*/ 6 w 88"/>
                  <a:gd name="T9" fmla="*/ 68 h 90"/>
                  <a:gd name="T10" fmla="*/ 16 w 88"/>
                  <a:gd name="T11" fmla="*/ 64 h 90"/>
                  <a:gd name="T12" fmla="*/ 25 w 88"/>
                  <a:gd name="T13" fmla="*/ 61 h 90"/>
                  <a:gd name="T14" fmla="*/ 33 w 88"/>
                  <a:gd name="T15" fmla="*/ 58 h 90"/>
                  <a:gd name="T16" fmla="*/ 47 w 88"/>
                  <a:gd name="T17" fmla="*/ 47 h 90"/>
                  <a:gd name="T18" fmla="*/ 59 w 88"/>
                  <a:gd name="T19" fmla="*/ 33 h 90"/>
                  <a:gd name="T20" fmla="*/ 50 w 88"/>
                  <a:gd name="T21" fmla="*/ 50 h 90"/>
                  <a:gd name="T22" fmla="*/ 37 w 88"/>
                  <a:gd name="T23" fmla="*/ 64 h 90"/>
                  <a:gd name="T24" fmla="*/ 28 w 88"/>
                  <a:gd name="T25" fmla="*/ 70 h 90"/>
                  <a:gd name="T26" fmla="*/ 20 w 88"/>
                  <a:gd name="T27" fmla="*/ 74 h 90"/>
                  <a:gd name="T28" fmla="*/ 13 w 88"/>
                  <a:gd name="T29" fmla="*/ 79 h 90"/>
                  <a:gd name="T30" fmla="*/ 66 w 88"/>
                  <a:gd name="T31" fmla="*/ 75 h 90"/>
                  <a:gd name="T32" fmla="*/ 81 w 88"/>
                  <a:gd name="T33" fmla="*/ 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8" h="90">
                    <a:moveTo>
                      <a:pt x="81" y="0"/>
                    </a:moveTo>
                    <a:cubicBezTo>
                      <a:pt x="81" y="0"/>
                      <a:pt x="76" y="11"/>
                      <a:pt x="59" y="16"/>
                    </a:cubicBezTo>
                    <a:cubicBezTo>
                      <a:pt x="39" y="21"/>
                      <a:pt x="26" y="12"/>
                      <a:pt x="13" y="23"/>
                    </a:cubicBezTo>
                    <a:cubicBezTo>
                      <a:pt x="0" y="34"/>
                      <a:pt x="2" y="56"/>
                      <a:pt x="5" y="69"/>
                    </a:cubicBezTo>
                    <a:cubicBezTo>
                      <a:pt x="5" y="68"/>
                      <a:pt x="6" y="68"/>
                      <a:pt x="6" y="68"/>
                    </a:cubicBezTo>
                    <a:cubicBezTo>
                      <a:pt x="9" y="66"/>
                      <a:pt x="13" y="65"/>
                      <a:pt x="16" y="64"/>
                    </a:cubicBezTo>
                    <a:cubicBezTo>
                      <a:pt x="19" y="63"/>
                      <a:pt x="22" y="62"/>
                      <a:pt x="25" y="61"/>
                    </a:cubicBezTo>
                    <a:cubicBezTo>
                      <a:pt x="28" y="61"/>
                      <a:pt x="30" y="60"/>
                      <a:pt x="33" y="58"/>
                    </a:cubicBezTo>
                    <a:cubicBezTo>
                      <a:pt x="38" y="55"/>
                      <a:pt x="43" y="52"/>
                      <a:pt x="47" y="47"/>
                    </a:cubicBezTo>
                    <a:cubicBezTo>
                      <a:pt x="52" y="43"/>
                      <a:pt x="56" y="38"/>
                      <a:pt x="59" y="33"/>
                    </a:cubicBezTo>
                    <a:cubicBezTo>
                      <a:pt x="57" y="39"/>
                      <a:pt x="54" y="44"/>
                      <a:pt x="50" y="50"/>
                    </a:cubicBezTo>
                    <a:cubicBezTo>
                      <a:pt x="46" y="55"/>
                      <a:pt x="42" y="60"/>
                      <a:pt x="37" y="64"/>
                    </a:cubicBezTo>
                    <a:cubicBezTo>
                      <a:pt x="34" y="66"/>
                      <a:pt x="31" y="68"/>
                      <a:pt x="28" y="70"/>
                    </a:cubicBezTo>
                    <a:cubicBezTo>
                      <a:pt x="25" y="71"/>
                      <a:pt x="23" y="73"/>
                      <a:pt x="20" y="74"/>
                    </a:cubicBezTo>
                    <a:cubicBezTo>
                      <a:pt x="17" y="76"/>
                      <a:pt x="15" y="77"/>
                      <a:pt x="13" y="79"/>
                    </a:cubicBezTo>
                    <a:cubicBezTo>
                      <a:pt x="25" y="83"/>
                      <a:pt x="52" y="90"/>
                      <a:pt x="66" y="75"/>
                    </a:cubicBezTo>
                    <a:cubicBezTo>
                      <a:pt x="88" y="53"/>
                      <a:pt x="81" y="0"/>
                      <a:pt x="81" y="0"/>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3" name="Freeform 25">
                <a:extLst>
                  <a:ext uri="{FF2B5EF4-FFF2-40B4-BE49-F238E27FC236}">
                    <a16:creationId xmlns:a16="http://schemas.microsoft.com/office/drawing/2014/main" id="{3C5149A8-3BC5-470D-9B7E-B5D8A7874226}"/>
                  </a:ext>
                </a:extLst>
              </p:cNvPr>
              <p:cNvSpPr>
                <a:spLocks/>
              </p:cNvSpPr>
              <p:nvPr/>
            </p:nvSpPr>
            <p:spPr bwMode="auto">
              <a:xfrm>
                <a:off x="6683127" y="2397116"/>
                <a:ext cx="316932" cy="373892"/>
              </a:xfrm>
              <a:custGeom>
                <a:avLst/>
                <a:gdLst>
                  <a:gd name="T0" fmla="*/ 71 w 81"/>
                  <a:gd name="T1" fmla="*/ 96 h 96"/>
                  <a:gd name="T2" fmla="*/ 65 w 81"/>
                  <a:gd name="T3" fmla="*/ 70 h 96"/>
                  <a:gd name="T4" fmla="*/ 76 w 81"/>
                  <a:gd name="T5" fmla="*/ 25 h 96"/>
                  <a:gd name="T6" fmla="*/ 37 w 81"/>
                  <a:gd name="T7" fmla="*/ 0 h 96"/>
                  <a:gd name="T8" fmla="*/ 37 w 81"/>
                  <a:gd name="T9" fmla="*/ 1 h 96"/>
                  <a:gd name="T10" fmla="*/ 37 w 81"/>
                  <a:gd name="T11" fmla="*/ 12 h 96"/>
                  <a:gd name="T12" fmla="*/ 36 w 81"/>
                  <a:gd name="T13" fmla="*/ 21 h 96"/>
                  <a:gd name="T14" fmla="*/ 36 w 81"/>
                  <a:gd name="T15" fmla="*/ 30 h 96"/>
                  <a:gd name="T16" fmla="*/ 41 w 81"/>
                  <a:gd name="T17" fmla="*/ 47 h 96"/>
                  <a:gd name="T18" fmla="*/ 49 w 81"/>
                  <a:gd name="T19" fmla="*/ 64 h 96"/>
                  <a:gd name="T20" fmla="*/ 37 w 81"/>
                  <a:gd name="T21" fmla="*/ 49 h 96"/>
                  <a:gd name="T22" fmla="*/ 29 w 81"/>
                  <a:gd name="T23" fmla="*/ 31 h 96"/>
                  <a:gd name="T24" fmla="*/ 27 w 81"/>
                  <a:gd name="T25" fmla="*/ 21 h 96"/>
                  <a:gd name="T26" fmla="*/ 26 w 81"/>
                  <a:gd name="T27" fmla="*/ 12 h 96"/>
                  <a:gd name="T28" fmla="*/ 25 w 81"/>
                  <a:gd name="T29" fmla="*/ 3 h 96"/>
                  <a:gd name="T30" fmla="*/ 7 w 81"/>
                  <a:gd name="T31" fmla="*/ 54 h 96"/>
                  <a:gd name="T32" fmla="*/ 71 w 81"/>
                  <a:gd name="T33"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1" h="96">
                    <a:moveTo>
                      <a:pt x="71" y="96"/>
                    </a:moveTo>
                    <a:cubicBezTo>
                      <a:pt x="71" y="96"/>
                      <a:pt x="63" y="87"/>
                      <a:pt x="65" y="70"/>
                    </a:cubicBezTo>
                    <a:cubicBezTo>
                      <a:pt x="68" y="50"/>
                      <a:pt x="81" y="41"/>
                      <a:pt x="76" y="25"/>
                    </a:cubicBezTo>
                    <a:cubicBezTo>
                      <a:pt x="71" y="9"/>
                      <a:pt x="49" y="2"/>
                      <a:pt x="37" y="0"/>
                    </a:cubicBezTo>
                    <a:cubicBezTo>
                      <a:pt x="37" y="0"/>
                      <a:pt x="37" y="1"/>
                      <a:pt x="37" y="1"/>
                    </a:cubicBezTo>
                    <a:cubicBezTo>
                      <a:pt x="38" y="5"/>
                      <a:pt x="37" y="8"/>
                      <a:pt x="37" y="12"/>
                    </a:cubicBezTo>
                    <a:cubicBezTo>
                      <a:pt x="37" y="15"/>
                      <a:pt x="36" y="18"/>
                      <a:pt x="36" y="21"/>
                    </a:cubicBezTo>
                    <a:cubicBezTo>
                      <a:pt x="36" y="24"/>
                      <a:pt x="36" y="27"/>
                      <a:pt x="36" y="30"/>
                    </a:cubicBezTo>
                    <a:cubicBezTo>
                      <a:pt x="37" y="36"/>
                      <a:pt x="38" y="42"/>
                      <a:pt x="41" y="47"/>
                    </a:cubicBezTo>
                    <a:cubicBezTo>
                      <a:pt x="43" y="53"/>
                      <a:pt x="46" y="59"/>
                      <a:pt x="49" y="64"/>
                    </a:cubicBezTo>
                    <a:cubicBezTo>
                      <a:pt x="45" y="59"/>
                      <a:pt x="41" y="54"/>
                      <a:pt x="37" y="49"/>
                    </a:cubicBezTo>
                    <a:cubicBezTo>
                      <a:pt x="34" y="44"/>
                      <a:pt x="31" y="38"/>
                      <a:pt x="29" y="31"/>
                    </a:cubicBezTo>
                    <a:cubicBezTo>
                      <a:pt x="28" y="28"/>
                      <a:pt x="27" y="25"/>
                      <a:pt x="27" y="21"/>
                    </a:cubicBezTo>
                    <a:cubicBezTo>
                      <a:pt x="27" y="18"/>
                      <a:pt x="26" y="15"/>
                      <a:pt x="26" y="12"/>
                    </a:cubicBezTo>
                    <a:cubicBezTo>
                      <a:pt x="26" y="9"/>
                      <a:pt x="25" y="6"/>
                      <a:pt x="25" y="3"/>
                    </a:cubicBezTo>
                    <a:cubicBezTo>
                      <a:pt x="16" y="13"/>
                      <a:pt x="0" y="35"/>
                      <a:pt x="7" y="54"/>
                    </a:cubicBezTo>
                    <a:cubicBezTo>
                      <a:pt x="19" y="83"/>
                      <a:pt x="71" y="96"/>
                      <a:pt x="71" y="96"/>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4" name="Freeform 26">
                <a:extLst>
                  <a:ext uri="{FF2B5EF4-FFF2-40B4-BE49-F238E27FC236}">
                    <a16:creationId xmlns:a16="http://schemas.microsoft.com/office/drawing/2014/main" id="{7A04C3EF-39F8-467F-AF87-4D9150F6A3DC}"/>
                  </a:ext>
                </a:extLst>
              </p:cNvPr>
              <p:cNvSpPr>
                <a:spLocks/>
              </p:cNvSpPr>
              <p:nvPr/>
            </p:nvSpPr>
            <p:spPr bwMode="auto">
              <a:xfrm>
                <a:off x="6218683" y="2952111"/>
                <a:ext cx="316932" cy="373892"/>
              </a:xfrm>
              <a:custGeom>
                <a:avLst/>
                <a:gdLst>
                  <a:gd name="T0" fmla="*/ 71 w 81"/>
                  <a:gd name="T1" fmla="*/ 96 h 96"/>
                  <a:gd name="T2" fmla="*/ 65 w 81"/>
                  <a:gd name="T3" fmla="*/ 70 h 96"/>
                  <a:gd name="T4" fmla="*/ 76 w 81"/>
                  <a:gd name="T5" fmla="*/ 25 h 96"/>
                  <a:gd name="T6" fmla="*/ 37 w 81"/>
                  <a:gd name="T7" fmla="*/ 0 h 96"/>
                  <a:gd name="T8" fmla="*/ 37 w 81"/>
                  <a:gd name="T9" fmla="*/ 1 h 96"/>
                  <a:gd name="T10" fmla="*/ 37 w 81"/>
                  <a:gd name="T11" fmla="*/ 12 h 96"/>
                  <a:gd name="T12" fmla="*/ 36 w 81"/>
                  <a:gd name="T13" fmla="*/ 21 h 96"/>
                  <a:gd name="T14" fmla="*/ 36 w 81"/>
                  <a:gd name="T15" fmla="*/ 30 h 96"/>
                  <a:gd name="T16" fmla="*/ 41 w 81"/>
                  <a:gd name="T17" fmla="*/ 47 h 96"/>
                  <a:gd name="T18" fmla="*/ 49 w 81"/>
                  <a:gd name="T19" fmla="*/ 64 h 96"/>
                  <a:gd name="T20" fmla="*/ 37 w 81"/>
                  <a:gd name="T21" fmla="*/ 49 h 96"/>
                  <a:gd name="T22" fmla="*/ 29 w 81"/>
                  <a:gd name="T23" fmla="*/ 31 h 96"/>
                  <a:gd name="T24" fmla="*/ 27 w 81"/>
                  <a:gd name="T25" fmla="*/ 21 h 96"/>
                  <a:gd name="T26" fmla="*/ 26 w 81"/>
                  <a:gd name="T27" fmla="*/ 12 h 96"/>
                  <a:gd name="T28" fmla="*/ 25 w 81"/>
                  <a:gd name="T29" fmla="*/ 3 h 96"/>
                  <a:gd name="T30" fmla="*/ 7 w 81"/>
                  <a:gd name="T31" fmla="*/ 54 h 96"/>
                  <a:gd name="T32" fmla="*/ 71 w 81"/>
                  <a:gd name="T33"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1" h="96">
                    <a:moveTo>
                      <a:pt x="71" y="96"/>
                    </a:moveTo>
                    <a:cubicBezTo>
                      <a:pt x="71" y="96"/>
                      <a:pt x="63" y="87"/>
                      <a:pt x="65" y="70"/>
                    </a:cubicBezTo>
                    <a:cubicBezTo>
                      <a:pt x="68" y="50"/>
                      <a:pt x="81" y="41"/>
                      <a:pt x="76" y="25"/>
                    </a:cubicBezTo>
                    <a:cubicBezTo>
                      <a:pt x="71" y="9"/>
                      <a:pt x="49" y="2"/>
                      <a:pt x="37" y="0"/>
                    </a:cubicBezTo>
                    <a:cubicBezTo>
                      <a:pt x="37" y="0"/>
                      <a:pt x="37" y="1"/>
                      <a:pt x="37" y="1"/>
                    </a:cubicBezTo>
                    <a:cubicBezTo>
                      <a:pt x="38" y="5"/>
                      <a:pt x="37" y="8"/>
                      <a:pt x="37" y="12"/>
                    </a:cubicBezTo>
                    <a:cubicBezTo>
                      <a:pt x="37" y="15"/>
                      <a:pt x="36" y="18"/>
                      <a:pt x="36" y="21"/>
                    </a:cubicBezTo>
                    <a:cubicBezTo>
                      <a:pt x="36" y="24"/>
                      <a:pt x="36" y="27"/>
                      <a:pt x="36" y="30"/>
                    </a:cubicBezTo>
                    <a:cubicBezTo>
                      <a:pt x="37" y="36"/>
                      <a:pt x="38" y="42"/>
                      <a:pt x="41" y="47"/>
                    </a:cubicBezTo>
                    <a:cubicBezTo>
                      <a:pt x="43" y="53"/>
                      <a:pt x="46" y="59"/>
                      <a:pt x="49" y="64"/>
                    </a:cubicBezTo>
                    <a:cubicBezTo>
                      <a:pt x="45" y="59"/>
                      <a:pt x="41" y="55"/>
                      <a:pt x="37" y="49"/>
                    </a:cubicBezTo>
                    <a:cubicBezTo>
                      <a:pt x="34" y="44"/>
                      <a:pt x="31" y="38"/>
                      <a:pt x="29" y="31"/>
                    </a:cubicBezTo>
                    <a:cubicBezTo>
                      <a:pt x="28" y="28"/>
                      <a:pt x="27" y="25"/>
                      <a:pt x="27" y="21"/>
                    </a:cubicBezTo>
                    <a:cubicBezTo>
                      <a:pt x="27" y="18"/>
                      <a:pt x="26" y="15"/>
                      <a:pt x="26" y="12"/>
                    </a:cubicBezTo>
                    <a:cubicBezTo>
                      <a:pt x="26" y="9"/>
                      <a:pt x="26" y="6"/>
                      <a:pt x="25" y="3"/>
                    </a:cubicBezTo>
                    <a:cubicBezTo>
                      <a:pt x="16" y="13"/>
                      <a:pt x="0" y="35"/>
                      <a:pt x="7" y="54"/>
                    </a:cubicBezTo>
                    <a:cubicBezTo>
                      <a:pt x="20" y="83"/>
                      <a:pt x="71" y="96"/>
                      <a:pt x="71" y="96"/>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5" name="Freeform 27">
                <a:extLst>
                  <a:ext uri="{FF2B5EF4-FFF2-40B4-BE49-F238E27FC236}">
                    <a16:creationId xmlns:a16="http://schemas.microsoft.com/office/drawing/2014/main" id="{ED7F8BAC-E0FD-493E-BADA-3FB7877C2875}"/>
                  </a:ext>
                </a:extLst>
              </p:cNvPr>
              <p:cNvSpPr>
                <a:spLocks/>
              </p:cNvSpPr>
              <p:nvPr/>
            </p:nvSpPr>
            <p:spPr bwMode="auto">
              <a:xfrm>
                <a:off x="5605267" y="2432168"/>
                <a:ext cx="316932" cy="375352"/>
              </a:xfrm>
              <a:custGeom>
                <a:avLst/>
                <a:gdLst>
                  <a:gd name="T0" fmla="*/ 73 w 81"/>
                  <a:gd name="T1" fmla="*/ 96 h 96"/>
                  <a:gd name="T2" fmla="*/ 66 w 81"/>
                  <a:gd name="T3" fmla="*/ 70 h 96"/>
                  <a:gd name="T4" fmla="*/ 76 w 81"/>
                  <a:gd name="T5" fmla="*/ 24 h 96"/>
                  <a:gd name="T6" fmla="*/ 36 w 81"/>
                  <a:gd name="T7" fmla="*/ 0 h 96"/>
                  <a:gd name="T8" fmla="*/ 36 w 81"/>
                  <a:gd name="T9" fmla="*/ 2 h 96"/>
                  <a:gd name="T10" fmla="*/ 36 w 81"/>
                  <a:gd name="T11" fmla="*/ 12 h 96"/>
                  <a:gd name="T12" fmla="*/ 36 w 81"/>
                  <a:gd name="T13" fmla="*/ 22 h 96"/>
                  <a:gd name="T14" fmla="*/ 36 w 81"/>
                  <a:gd name="T15" fmla="*/ 30 h 96"/>
                  <a:gd name="T16" fmla="*/ 41 w 81"/>
                  <a:gd name="T17" fmla="*/ 48 h 96"/>
                  <a:gd name="T18" fmla="*/ 50 w 81"/>
                  <a:gd name="T19" fmla="*/ 64 h 96"/>
                  <a:gd name="T20" fmla="*/ 38 w 81"/>
                  <a:gd name="T21" fmla="*/ 50 h 96"/>
                  <a:gd name="T22" fmla="*/ 29 w 81"/>
                  <a:gd name="T23" fmla="*/ 32 h 96"/>
                  <a:gd name="T24" fmla="*/ 27 w 81"/>
                  <a:gd name="T25" fmla="*/ 22 h 96"/>
                  <a:gd name="T26" fmla="*/ 25 w 81"/>
                  <a:gd name="T27" fmla="*/ 13 h 96"/>
                  <a:gd name="T28" fmla="*/ 24 w 81"/>
                  <a:gd name="T29" fmla="*/ 4 h 96"/>
                  <a:gd name="T30" fmla="*/ 8 w 81"/>
                  <a:gd name="T31" fmla="*/ 55 h 96"/>
                  <a:gd name="T32" fmla="*/ 73 w 81"/>
                  <a:gd name="T33"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1" h="96">
                    <a:moveTo>
                      <a:pt x="73" y="96"/>
                    </a:moveTo>
                    <a:cubicBezTo>
                      <a:pt x="73" y="96"/>
                      <a:pt x="64" y="87"/>
                      <a:pt x="66" y="70"/>
                    </a:cubicBezTo>
                    <a:cubicBezTo>
                      <a:pt x="69" y="50"/>
                      <a:pt x="81" y="41"/>
                      <a:pt x="76" y="24"/>
                    </a:cubicBezTo>
                    <a:cubicBezTo>
                      <a:pt x="71" y="9"/>
                      <a:pt x="48" y="3"/>
                      <a:pt x="36" y="0"/>
                    </a:cubicBezTo>
                    <a:cubicBezTo>
                      <a:pt x="36" y="1"/>
                      <a:pt x="36" y="1"/>
                      <a:pt x="36" y="2"/>
                    </a:cubicBezTo>
                    <a:cubicBezTo>
                      <a:pt x="37" y="6"/>
                      <a:pt x="37" y="9"/>
                      <a:pt x="36" y="12"/>
                    </a:cubicBezTo>
                    <a:cubicBezTo>
                      <a:pt x="36" y="16"/>
                      <a:pt x="36" y="19"/>
                      <a:pt x="36" y="22"/>
                    </a:cubicBezTo>
                    <a:cubicBezTo>
                      <a:pt x="35" y="25"/>
                      <a:pt x="35" y="28"/>
                      <a:pt x="36" y="30"/>
                    </a:cubicBezTo>
                    <a:cubicBezTo>
                      <a:pt x="37" y="36"/>
                      <a:pt x="38" y="42"/>
                      <a:pt x="41" y="48"/>
                    </a:cubicBezTo>
                    <a:cubicBezTo>
                      <a:pt x="43" y="54"/>
                      <a:pt x="47" y="59"/>
                      <a:pt x="50" y="64"/>
                    </a:cubicBezTo>
                    <a:cubicBezTo>
                      <a:pt x="46" y="60"/>
                      <a:pt x="42" y="55"/>
                      <a:pt x="38" y="50"/>
                    </a:cubicBezTo>
                    <a:cubicBezTo>
                      <a:pt x="34" y="44"/>
                      <a:pt x="31" y="39"/>
                      <a:pt x="29" y="32"/>
                    </a:cubicBezTo>
                    <a:cubicBezTo>
                      <a:pt x="28" y="29"/>
                      <a:pt x="27" y="25"/>
                      <a:pt x="27" y="22"/>
                    </a:cubicBezTo>
                    <a:cubicBezTo>
                      <a:pt x="26" y="19"/>
                      <a:pt x="26" y="16"/>
                      <a:pt x="25" y="13"/>
                    </a:cubicBezTo>
                    <a:cubicBezTo>
                      <a:pt x="25" y="10"/>
                      <a:pt x="25" y="7"/>
                      <a:pt x="24" y="4"/>
                    </a:cubicBezTo>
                    <a:cubicBezTo>
                      <a:pt x="16" y="14"/>
                      <a:pt x="0" y="37"/>
                      <a:pt x="8" y="55"/>
                    </a:cubicBezTo>
                    <a:cubicBezTo>
                      <a:pt x="21" y="84"/>
                      <a:pt x="73" y="96"/>
                      <a:pt x="73" y="96"/>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6" name="Freeform 28">
                <a:extLst>
                  <a:ext uri="{FF2B5EF4-FFF2-40B4-BE49-F238E27FC236}">
                    <a16:creationId xmlns:a16="http://schemas.microsoft.com/office/drawing/2014/main" id="{0AF2A4BB-8452-4D17-9893-DD61A5E1652C}"/>
                  </a:ext>
                </a:extLst>
              </p:cNvPr>
              <p:cNvSpPr>
                <a:spLocks/>
              </p:cNvSpPr>
              <p:nvPr/>
            </p:nvSpPr>
            <p:spPr bwMode="auto">
              <a:xfrm>
                <a:off x="5254744" y="1704832"/>
                <a:ext cx="354905" cy="363668"/>
              </a:xfrm>
              <a:custGeom>
                <a:avLst/>
                <a:gdLst>
                  <a:gd name="T0" fmla="*/ 72 w 91"/>
                  <a:gd name="T1" fmla="*/ 0 h 93"/>
                  <a:gd name="T2" fmla="*/ 54 w 91"/>
                  <a:gd name="T3" fmla="*/ 20 h 93"/>
                  <a:gd name="T4" fmla="*/ 11 w 91"/>
                  <a:gd name="T5" fmla="*/ 36 h 93"/>
                  <a:gd name="T6" fmla="*/ 12 w 91"/>
                  <a:gd name="T7" fmla="*/ 83 h 93"/>
                  <a:gd name="T8" fmla="*/ 13 w 91"/>
                  <a:gd name="T9" fmla="*/ 82 h 93"/>
                  <a:gd name="T10" fmla="*/ 22 w 91"/>
                  <a:gd name="T11" fmla="*/ 76 h 93"/>
                  <a:gd name="T12" fmla="*/ 30 w 91"/>
                  <a:gd name="T13" fmla="*/ 72 h 93"/>
                  <a:gd name="T14" fmla="*/ 37 w 91"/>
                  <a:gd name="T15" fmla="*/ 67 h 93"/>
                  <a:gd name="T16" fmla="*/ 49 w 91"/>
                  <a:gd name="T17" fmla="*/ 53 h 93"/>
                  <a:gd name="T18" fmla="*/ 58 w 91"/>
                  <a:gd name="T19" fmla="*/ 36 h 93"/>
                  <a:gd name="T20" fmla="*/ 52 w 91"/>
                  <a:gd name="T21" fmla="*/ 54 h 93"/>
                  <a:gd name="T22" fmla="*/ 43 w 91"/>
                  <a:gd name="T23" fmla="*/ 72 h 93"/>
                  <a:gd name="T24" fmla="*/ 36 w 91"/>
                  <a:gd name="T25" fmla="*/ 79 h 93"/>
                  <a:gd name="T26" fmla="*/ 28 w 91"/>
                  <a:gd name="T27" fmla="*/ 85 h 93"/>
                  <a:gd name="T28" fmla="*/ 22 w 91"/>
                  <a:gd name="T29" fmla="*/ 91 h 93"/>
                  <a:gd name="T30" fmla="*/ 74 w 91"/>
                  <a:gd name="T31" fmla="*/ 76 h 93"/>
                  <a:gd name="T32" fmla="*/ 72 w 91"/>
                  <a:gd name="T33" fmla="*/ 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1" h="93">
                    <a:moveTo>
                      <a:pt x="72" y="0"/>
                    </a:moveTo>
                    <a:cubicBezTo>
                      <a:pt x="72" y="0"/>
                      <a:pt x="69" y="12"/>
                      <a:pt x="54" y="20"/>
                    </a:cubicBezTo>
                    <a:cubicBezTo>
                      <a:pt x="36" y="28"/>
                      <a:pt x="21" y="23"/>
                      <a:pt x="11" y="36"/>
                    </a:cubicBezTo>
                    <a:cubicBezTo>
                      <a:pt x="0" y="49"/>
                      <a:pt x="7" y="71"/>
                      <a:pt x="12" y="83"/>
                    </a:cubicBezTo>
                    <a:cubicBezTo>
                      <a:pt x="12" y="82"/>
                      <a:pt x="13" y="82"/>
                      <a:pt x="13" y="82"/>
                    </a:cubicBezTo>
                    <a:cubicBezTo>
                      <a:pt x="16" y="79"/>
                      <a:pt x="19" y="78"/>
                      <a:pt x="22" y="76"/>
                    </a:cubicBezTo>
                    <a:cubicBezTo>
                      <a:pt x="25" y="74"/>
                      <a:pt x="28" y="73"/>
                      <a:pt x="30" y="72"/>
                    </a:cubicBezTo>
                    <a:cubicBezTo>
                      <a:pt x="33" y="70"/>
                      <a:pt x="35" y="68"/>
                      <a:pt x="37" y="67"/>
                    </a:cubicBezTo>
                    <a:cubicBezTo>
                      <a:pt x="42" y="63"/>
                      <a:pt x="46" y="58"/>
                      <a:pt x="49" y="53"/>
                    </a:cubicBezTo>
                    <a:cubicBezTo>
                      <a:pt x="53" y="48"/>
                      <a:pt x="55" y="42"/>
                      <a:pt x="58" y="36"/>
                    </a:cubicBezTo>
                    <a:cubicBezTo>
                      <a:pt x="57" y="42"/>
                      <a:pt x="55" y="48"/>
                      <a:pt x="52" y="54"/>
                    </a:cubicBezTo>
                    <a:cubicBezTo>
                      <a:pt x="50" y="60"/>
                      <a:pt x="47" y="66"/>
                      <a:pt x="43" y="72"/>
                    </a:cubicBezTo>
                    <a:cubicBezTo>
                      <a:pt x="41" y="74"/>
                      <a:pt x="38" y="77"/>
                      <a:pt x="36" y="79"/>
                    </a:cubicBezTo>
                    <a:cubicBezTo>
                      <a:pt x="33" y="81"/>
                      <a:pt x="30" y="83"/>
                      <a:pt x="28" y="85"/>
                    </a:cubicBezTo>
                    <a:cubicBezTo>
                      <a:pt x="26" y="87"/>
                      <a:pt x="24" y="89"/>
                      <a:pt x="22" y="91"/>
                    </a:cubicBezTo>
                    <a:cubicBezTo>
                      <a:pt x="35" y="92"/>
                      <a:pt x="63" y="93"/>
                      <a:pt x="74" y="76"/>
                    </a:cubicBezTo>
                    <a:cubicBezTo>
                      <a:pt x="91" y="50"/>
                      <a:pt x="72" y="0"/>
                      <a:pt x="72" y="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7" name="Freeform 29">
                <a:extLst>
                  <a:ext uri="{FF2B5EF4-FFF2-40B4-BE49-F238E27FC236}">
                    <a16:creationId xmlns:a16="http://schemas.microsoft.com/office/drawing/2014/main" id="{9F415134-BF0E-4607-9CCC-63D23D137B6F}"/>
                  </a:ext>
                </a:extLst>
              </p:cNvPr>
              <p:cNvSpPr>
                <a:spLocks/>
              </p:cNvSpPr>
              <p:nvPr/>
            </p:nvSpPr>
            <p:spPr bwMode="auto">
              <a:xfrm>
                <a:off x="5441690" y="3036821"/>
                <a:ext cx="296485" cy="403102"/>
              </a:xfrm>
              <a:custGeom>
                <a:avLst/>
                <a:gdLst>
                  <a:gd name="T0" fmla="*/ 31 w 76"/>
                  <a:gd name="T1" fmla="*/ 0 h 103"/>
                  <a:gd name="T2" fmla="*/ 27 w 76"/>
                  <a:gd name="T3" fmla="*/ 26 h 103"/>
                  <a:gd name="T4" fmla="*/ 1 w 76"/>
                  <a:gd name="T5" fmla="*/ 64 h 103"/>
                  <a:gd name="T6" fmla="*/ 28 w 76"/>
                  <a:gd name="T7" fmla="*/ 102 h 103"/>
                  <a:gd name="T8" fmla="*/ 28 w 76"/>
                  <a:gd name="T9" fmla="*/ 100 h 103"/>
                  <a:gd name="T10" fmla="*/ 32 w 76"/>
                  <a:gd name="T11" fmla="*/ 91 h 103"/>
                  <a:gd name="T12" fmla="*/ 37 w 76"/>
                  <a:gd name="T13" fmla="*/ 82 h 103"/>
                  <a:gd name="T14" fmla="*/ 40 w 76"/>
                  <a:gd name="T15" fmla="*/ 74 h 103"/>
                  <a:gd name="T16" fmla="*/ 42 w 76"/>
                  <a:gd name="T17" fmla="*/ 56 h 103"/>
                  <a:gd name="T18" fmla="*/ 40 w 76"/>
                  <a:gd name="T19" fmla="*/ 37 h 103"/>
                  <a:gd name="T20" fmla="*/ 46 w 76"/>
                  <a:gd name="T21" fmla="*/ 56 h 103"/>
                  <a:gd name="T22" fmla="*/ 47 w 76"/>
                  <a:gd name="T23" fmla="*/ 75 h 103"/>
                  <a:gd name="T24" fmla="*/ 45 w 76"/>
                  <a:gd name="T25" fmla="*/ 85 h 103"/>
                  <a:gd name="T26" fmla="*/ 43 w 76"/>
                  <a:gd name="T27" fmla="*/ 95 h 103"/>
                  <a:gd name="T28" fmla="*/ 41 w 76"/>
                  <a:gd name="T29" fmla="*/ 103 h 103"/>
                  <a:gd name="T30" fmla="*/ 75 w 76"/>
                  <a:gd name="T31" fmla="*/ 62 h 103"/>
                  <a:gd name="T32" fmla="*/ 31 w 76"/>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6" h="103">
                    <a:moveTo>
                      <a:pt x="31" y="0"/>
                    </a:moveTo>
                    <a:cubicBezTo>
                      <a:pt x="31" y="0"/>
                      <a:pt x="36" y="11"/>
                      <a:pt x="27" y="26"/>
                    </a:cubicBezTo>
                    <a:cubicBezTo>
                      <a:pt x="17" y="43"/>
                      <a:pt x="2" y="47"/>
                      <a:pt x="1" y="64"/>
                    </a:cubicBezTo>
                    <a:cubicBezTo>
                      <a:pt x="0" y="81"/>
                      <a:pt x="18" y="95"/>
                      <a:pt x="28" y="102"/>
                    </a:cubicBezTo>
                    <a:cubicBezTo>
                      <a:pt x="28" y="101"/>
                      <a:pt x="28" y="101"/>
                      <a:pt x="28" y="100"/>
                    </a:cubicBezTo>
                    <a:cubicBezTo>
                      <a:pt x="29" y="97"/>
                      <a:pt x="31" y="93"/>
                      <a:pt x="32" y="91"/>
                    </a:cubicBezTo>
                    <a:cubicBezTo>
                      <a:pt x="34" y="88"/>
                      <a:pt x="35" y="85"/>
                      <a:pt x="37" y="82"/>
                    </a:cubicBezTo>
                    <a:cubicBezTo>
                      <a:pt x="38" y="79"/>
                      <a:pt x="39" y="77"/>
                      <a:pt x="40" y="74"/>
                    </a:cubicBezTo>
                    <a:cubicBezTo>
                      <a:pt x="42" y="68"/>
                      <a:pt x="42" y="62"/>
                      <a:pt x="42" y="56"/>
                    </a:cubicBezTo>
                    <a:cubicBezTo>
                      <a:pt x="42" y="50"/>
                      <a:pt x="41" y="44"/>
                      <a:pt x="40" y="37"/>
                    </a:cubicBezTo>
                    <a:cubicBezTo>
                      <a:pt x="42" y="43"/>
                      <a:pt x="44" y="49"/>
                      <a:pt x="46" y="56"/>
                    </a:cubicBezTo>
                    <a:cubicBezTo>
                      <a:pt x="47" y="62"/>
                      <a:pt x="48" y="68"/>
                      <a:pt x="47" y="75"/>
                    </a:cubicBezTo>
                    <a:cubicBezTo>
                      <a:pt x="47" y="79"/>
                      <a:pt x="46" y="82"/>
                      <a:pt x="45" y="85"/>
                    </a:cubicBezTo>
                    <a:cubicBezTo>
                      <a:pt x="44" y="89"/>
                      <a:pt x="43" y="92"/>
                      <a:pt x="43" y="95"/>
                    </a:cubicBezTo>
                    <a:cubicBezTo>
                      <a:pt x="42" y="97"/>
                      <a:pt x="41" y="100"/>
                      <a:pt x="41" y="103"/>
                    </a:cubicBezTo>
                    <a:cubicBezTo>
                      <a:pt x="52" y="97"/>
                      <a:pt x="76" y="82"/>
                      <a:pt x="75" y="62"/>
                    </a:cubicBezTo>
                    <a:cubicBezTo>
                      <a:pt x="74" y="30"/>
                      <a:pt x="31" y="0"/>
                      <a:pt x="31" y="0"/>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8" name="Freeform 30">
                <a:extLst>
                  <a:ext uri="{FF2B5EF4-FFF2-40B4-BE49-F238E27FC236}">
                    <a16:creationId xmlns:a16="http://schemas.microsoft.com/office/drawing/2014/main" id="{C33AC55F-0BE5-4E39-9D76-D47A530DEE9C}"/>
                  </a:ext>
                </a:extLst>
              </p:cNvPr>
              <p:cNvSpPr>
                <a:spLocks/>
              </p:cNvSpPr>
              <p:nvPr/>
            </p:nvSpPr>
            <p:spPr bwMode="auto">
              <a:xfrm>
                <a:off x="4133069" y="3194557"/>
                <a:ext cx="387037" cy="343220"/>
              </a:xfrm>
              <a:custGeom>
                <a:avLst/>
                <a:gdLst>
                  <a:gd name="T0" fmla="*/ 0 w 99"/>
                  <a:gd name="T1" fmla="*/ 29 h 88"/>
                  <a:gd name="T2" fmla="*/ 23 w 99"/>
                  <a:gd name="T3" fmla="*/ 43 h 88"/>
                  <a:gd name="T4" fmla="*/ 49 w 99"/>
                  <a:gd name="T5" fmla="*/ 81 h 88"/>
                  <a:gd name="T6" fmla="*/ 93 w 99"/>
                  <a:gd name="T7" fmla="*/ 70 h 88"/>
                  <a:gd name="T8" fmla="*/ 92 w 99"/>
                  <a:gd name="T9" fmla="*/ 69 h 88"/>
                  <a:gd name="T10" fmla="*/ 85 w 99"/>
                  <a:gd name="T11" fmla="*/ 62 h 88"/>
                  <a:gd name="T12" fmla="*/ 79 w 99"/>
                  <a:gd name="T13" fmla="*/ 54 h 88"/>
                  <a:gd name="T14" fmla="*/ 72 w 99"/>
                  <a:gd name="T15" fmla="*/ 48 h 88"/>
                  <a:gd name="T16" fmla="*/ 56 w 99"/>
                  <a:gd name="T17" fmla="*/ 40 h 88"/>
                  <a:gd name="T18" fmla="*/ 38 w 99"/>
                  <a:gd name="T19" fmla="*/ 35 h 88"/>
                  <a:gd name="T20" fmla="*/ 57 w 99"/>
                  <a:gd name="T21" fmla="*/ 36 h 88"/>
                  <a:gd name="T22" fmla="*/ 76 w 99"/>
                  <a:gd name="T23" fmla="*/ 42 h 88"/>
                  <a:gd name="T24" fmla="*/ 85 w 99"/>
                  <a:gd name="T25" fmla="*/ 48 h 88"/>
                  <a:gd name="T26" fmla="*/ 92 w 99"/>
                  <a:gd name="T27" fmla="*/ 53 h 88"/>
                  <a:gd name="T28" fmla="*/ 99 w 99"/>
                  <a:gd name="T29" fmla="*/ 58 h 88"/>
                  <a:gd name="T30" fmla="*/ 74 w 99"/>
                  <a:gd name="T31" fmla="*/ 11 h 88"/>
                  <a:gd name="T32" fmla="*/ 0 w 99"/>
                  <a:gd name="T33" fmla="*/ 29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 h="88">
                    <a:moveTo>
                      <a:pt x="0" y="29"/>
                    </a:moveTo>
                    <a:cubicBezTo>
                      <a:pt x="0" y="29"/>
                      <a:pt x="12" y="29"/>
                      <a:pt x="23" y="43"/>
                    </a:cubicBezTo>
                    <a:cubicBezTo>
                      <a:pt x="35" y="58"/>
                      <a:pt x="33" y="74"/>
                      <a:pt x="49" y="81"/>
                    </a:cubicBezTo>
                    <a:cubicBezTo>
                      <a:pt x="63" y="88"/>
                      <a:pt x="83" y="77"/>
                      <a:pt x="93" y="70"/>
                    </a:cubicBezTo>
                    <a:cubicBezTo>
                      <a:pt x="93" y="69"/>
                      <a:pt x="93" y="69"/>
                      <a:pt x="92" y="69"/>
                    </a:cubicBezTo>
                    <a:cubicBezTo>
                      <a:pt x="89" y="67"/>
                      <a:pt x="87" y="64"/>
                      <a:pt x="85" y="62"/>
                    </a:cubicBezTo>
                    <a:cubicBezTo>
                      <a:pt x="83" y="59"/>
                      <a:pt x="81" y="57"/>
                      <a:pt x="79" y="54"/>
                    </a:cubicBezTo>
                    <a:cubicBezTo>
                      <a:pt x="77" y="52"/>
                      <a:pt x="74" y="50"/>
                      <a:pt x="72" y="48"/>
                    </a:cubicBezTo>
                    <a:cubicBezTo>
                      <a:pt x="67" y="45"/>
                      <a:pt x="62" y="42"/>
                      <a:pt x="56" y="40"/>
                    </a:cubicBezTo>
                    <a:cubicBezTo>
                      <a:pt x="50" y="38"/>
                      <a:pt x="44" y="36"/>
                      <a:pt x="38" y="35"/>
                    </a:cubicBezTo>
                    <a:cubicBezTo>
                      <a:pt x="44" y="35"/>
                      <a:pt x="51" y="35"/>
                      <a:pt x="57" y="36"/>
                    </a:cubicBezTo>
                    <a:cubicBezTo>
                      <a:pt x="63" y="37"/>
                      <a:pt x="70" y="39"/>
                      <a:pt x="76" y="42"/>
                    </a:cubicBezTo>
                    <a:cubicBezTo>
                      <a:pt x="79" y="44"/>
                      <a:pt x="82" y="46"/>
                      <a:pt x="85" y="48"/>
                    </a:cubicBezTo>
                    <a:cubicBezTo>
                      <a:pt x="87" y="50"/>
                      <a:pt x="90" y="52"/>
                      <a:pt x="92" y="53"/>
                    </a:cubicBezTo>
                    <a:cubicBezTo>
                      <a:pt x="95" y="55"/>
                      <a:pt x="97" y="57"/>
                      <a:pt x="99" y="58"/>
                    </a:cubicBezTo>
                    <a:cubicBezTo>
                      <a:pt x="98" y="45"/>
                      <a:pt x="93" y="18"/>
                      <a:pt x="74" y="11"/>
                    </a:cubicBezTo>
                    <a:cubicBezTo>
                      <a:pt x="44" y="0"/>
                      <a:pt x="0" y="29"/>
                      <a:pt x="0" y="29"/>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9" name="Freeform 31">
                <a:extLst>
                  <a:ext uri="{FF2B5EF4-FFF2-40B4-BE49-F238E27FC236}">
                    <a16:creationId xmlns:a16="http://schemas.microsoft.com/office/drawing/2014/main" id="{B6648397-2AA5-4D8D-A0BE-160F60DB375C}"/>
                  </a:ext>
                </a:extLst>
              </p:cNvPr>
              <p:cNvSpPr>
                <a:spLocks/>
              </p:cNvSpPr>
              <p:nvPr/>
            </p:nvSpPr>
            <p:spPr bwMode="auto">
              <a:xfrm>
                <a:off x="4235305" y="2600128"/>
                <a:ext cx="312550" cy="406023"/>
              </a:xfrm>
              <a:custGeom>
                <a:avLst/>
                <a:gdLst>
                  <a:gd name="T0" fmla="*/ 39 w 80"/>
                  <a:gd name="T1" fmla="*/ 104 h 104"/>
                  <a:gd name="T2" fmla="*/ 46 w 80"/>
                  <a:gd name="T3" fmla="*/ 78 h 104"/>
                  <a:gd name="T4" fmla="*/ 77 w 80"/>
                  <a:gd name="T5" fmla="*/ 43 h 104"/>
                  <a:gd name="T6" fmla="*/ 54 w 80"/>
                  <a:gd name="T7" fmla="*/ 3 h 104"/>
                  <a:gd name="T8" fmla="*/ 53 w 80"/>
                  <a:gd name="T9" fmla="*/ 4 h 104"/>
                  <a:gd name="T10" fmla="*/ 48 w 80"/>
                  <a:gd name="T11" fmla="*/ 13 h 104"/>
                  <a:gd name="T12" fmla="*/ 43 w 80"/>
                  <a:gd name="T13" fmla="*/ 21 h 104"/>
                  <a:gd name="T14" fmla="*/ 39 w 80"/>
                  <a:gd name="T15" fmla="*/ 29 h 104"/>
                  <a:gd name="T16" fmla="*/ 35 w 80"/>
                  <a:gd name="T17" fmla="*/ 47 h 104"/>
                  <a:gd name="T18" fmla="*/ 35 w 80"/>
                  <a:gd name="T19" fmla="*/ 66 h 104"/>
                  <a:gd name="T20" fmla="*/ 31 w 80"/>
                  <a:gd name="T21" fmla="*/ 47 h 104"/>
                  <a:gd name="T22" fmla="*/ 32 w 80"/>
                  <a:gd name="T23" fmla="*/ 27 h 104"/>
                  <a:gd name="T24" fmla="*/ 35 w 80"/>
                  <a:gd name="T25" fmla="*/ 17 h 104"/>
                  <a:gd name="T26" fmla="*/ 39 w 80"/>
                  <a:gd name="T27" fmla="*/ 8 h 104"/>
                  <a:gd name="T28" fmla="*/ 41 w 80"/>
                  <a:gd name="T29" fmla="*/ 0 h 104"/>
                  <a:gd name="T30" fmla="*/ 2 w 80"/>
                  <a:gd name="T31" fmla="*/ 37 h 104"/>
                  <a:gd name="T32" fmla="*/ 39 w 80"/>
                  <a:gd name="T33"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0" h="104">
                    <a:moveTo>
                      <a:pt x="39" y="104"/>
                    </a:moveTo>
                    <a:cubicBezTo>
                      <a:pt x="39" y="104"/>
                      <a:pt x="36" y="92"/>
                      <a:pt x="46" y="78"/>
                    </a:cubicBezTo>
                    <a:cubicBezTo>
                      <a:pt x="58" y="62"/>
                      <a:pt x="74" y="60"/>
                      <a:pt x="77" y="43"/>
                    </a:cubicBezTo>
                    <a:cubicBezTo>
                      <a:pt x="80" y="27"/>
                      <a:pt x="63" y="11"/>
                      <a:pt x="54" y="3"/>
                    </a:cubicBezTo>
                    <a:cubicBezTo>
                      <a:pt x="54" y="3"/>
                      <a:pt x="54" y="4"/>
                      <a:pt x="53" y="4"/>
                    </a:cubicBezTo>
                    <a:cubicBezTo>
                      <a:pt x="52" y="8"/>
                      <a:pt x="50" y="11"/>
                      <a:pt x="48" y="13"/>
                    </a:cubicBezTo>
                    <a:cubicBezTo>
                      <a:pt x="47" y="16"/>
                      <a:pt x="45" y="19"/>
                      <a:pt x="43" y="21"/>
                    </a:cubicBezTo>
                    <a:cubicBezTo>
                      <a:pt x="41" y="24"/>
                      <a:pt x="40" y="26"/>
                      <a:pt x="39" y="29"/>
                    </a:cubicBezTo>
                    <a:cubicBezTo>
                      <a:pt x="37" y="34"/>
                      <a:pt x="35" y="41"/>
                      <a:pt x="35" y="47"/>
                    </a:cubicBezTo>
                    <a:cubicBezTo>
                      <a:pt x="34" y="53"/>
                      <a:pt x="35" y="59"/>
                      <a:pt x="35" y="66"/>
                    </a:cubicBezTo>
                    <a:cubicBezTo>
                      <a:pt x="33" y="59"/>
                      <a:pt x="32" y="53"/>
                      <a:pt x="31" y="47"/>
                    </a:cubicBezTo>
                    <a:cubicBezTo>
                      <a:pt x="31" y="40"/>
                      <a:pt x="31" y="34"/>
                      <a:pt x="32" y="27"/>
                    </a:cubicBezTo>
                    <a:cubicBezTo>
                      <a:pt x="33" y="24"/>
                      <a:pt x="34" y="20"/>
                      <a:pt x="35" y="17"/>
                    </a:cubicBezTo>
                    <a:cubicBezTo>
                      <a:pt x="36" y="14"/>
                      <a:pt x="37" y="11"/>
                      <a:pt x="39" y="8"/>
                    </a:cubicBezTo>
                    <a:cubicBezTo>
                      <a:pt x="40" y="6"/>
                      <a:pt x="41" y="3"/>
                      <a:pt x="41" y="0"/>
                    </a:cubicBezTo>
                    <a:cubicBezTo>
                      <a:pt x="29" y="5"/>
                      <a:pt x="4" y="17"/>
                      <a:pt x="2" y="37"/>
                    </a:cubicBezTo>
                    <a:cubicBezTo>
                      <a:pt x="0" y="69"/>
                      <a:pt x="39" y="104"/>
                      <a:pt x="39" y="104"/>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0" name="Freeform 32">
                <a:extLst>
                  <a:ext uri="{FF2B5EF4-FFF2-40B4-BE49-F238E27FC236}">
                    <a16:creationId xmlns:a16="http://schemas.microsoft.com/office/drawing/2014/main" id="{A00985C0-795B-4B11-9375-47C6BB555EAF}"/>
                  </a:ext>
                </a:extLst>
              </p:cNvPr>
              <p:cNvSpPr>
                <a:spLocks/>
              </p:cNvSpPr>
              <p:nvPr/>
            </p:nvSpPr>
            <p:spPr bwMode="auto">
              <a:xfrm>
                <a:off x="4613578" y="2068501"/>
                <a:ext cx="296485" cy="401641"/>
              </a:xfrm>
              <a:custGeom>
                <a:avLst/>
                <a:gdLst>
                  <a:gd name="T0" fmla="*/ 31 w 76"/>
                  <a:gd name="T1" fmla="*/ 0 h 103"/>
                  <a:gd name="T2" fmla="*/ 27 w 76"/>
                  <a:gd name="T3" fmla="*/ 26 h 103"/>
                  <a:gd name="T4" fmla="*/ 1 w 76"/>
                  <a:gd name="T5" fmla="*/ 65 h 103"/>
                  <a:gd name="T6" fmla="*/ 28 w 76"/>
                  <a:gd name="T7" fmla="*/ 102 h 103"/>
                  <a:gd name="T8" fmla="*/ 28 w 76"/>
                  <a:gd name="T9" fmla="*/ 101 h 103"/>
                  <a:gd name="T10" fmla="*/ 32 w 76"/>
                  <a:gd name="T11" fmla="*/ 91 h 103"/>
                  <a:gd name="T12" fmla="*/ 37 w 76"/>
                  <a:gd name="T13" fmla="*/ 83 h 103"/>
                  <a:gd name="T14" fmla="*/ 40 w 76"/>
                  <a:gd name="T15" fmla="*/ 75 h 103"/>
                  <a:gd name="T16" fmla="*/ 42 w 76"/>
                  <a:gd name="T17" fmla="*/ 57 h 103"/>
                  <a:gd name="T18" fmla="*/ 40 w 76"/>
                  <a:gd name="T19" fmla="*/ 38 h 103"/>
                  <a:gd name="T20" fmla="*/ 46 w 76"/>
                  <a:gd name="T21" fmla="*/ 56 h 103"/>
                  <a:gd name="T22" fmla="*/ 47 w 76"/>
                  <a:gd name="T23" fmla="*/ 76 h 103"/>
                  <a:gd name="T24" fmla="*/ 45 w 76"/>
                  <a:gd name="T25" fmla="*/ 86 h 103"/>
                  <a:gd name="T26" fmla="*/ 43 w 76"/>
                  <a:gd name="T27" fmla="*/ 95 h 103"/>
                  <a:gd name="T28" fmla="*/ 41 w 76"/>
                  <a:gd name="T29" fmla="*/ 103 h 103"/>
                  <a:gd name="T30" fmla="*/ 75 w 76"/>
                  <a:gd name="T31" fmla="*/ 62 h 103"/>
                  <a:gd name="T32" fmla="*/ 31 w 76"/>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6" h="103">
                    <a:moveTo>
                      <a:pt x="31" y="0"/>
                    </a:moveTo>
                    <a:cubicBezTo>
                      <a:pt x="31" y="0"/>
                      <a:pt x="36" y="11"/>
                      <a:pt x="27" y="26"/>
                    </a:cubicBezTo>
                    <a:cubicBezTo>
                      <a:pt x="17" y="44"/>
                      <a:pt x="2" y="47"/>
                      <a:pt x="1" y="65"/>
                    </a:cubicBezTo>
                    <a:cubicBezTo>
                      <a:pt x="0" y="81"/>
                      <a:pt x="18" y="95"/>
                      <a:pt x="28" y="102"/>
                    </a:cubicBezTo>
                    <a:cubicBezTo>
                      <a:pt x="28" y="102"/>
                      <a:pt x="28" y="101"/>
                      <a:pt x="28" y="101"/>
                    </a:cubicBezTo>
                    <a:cubicBezTo>
                      <a:pt x="29" y="97"/>
                      <a:pt x="31" y="94"/>
                      <a:pt x="32" y="91"/>
                    </a:cubicBezTo>
                    <a:cubicBezTo>
                      <a:pt x="34" y="88"/>
                      <a:pt x="35" y="85"/>
                      <a:pt x="37" y="83"/>
                    </a:cubicBezTo>
                    <a:cubicBezTo>
                      <a:pt x="38" y="80"/>
                      <a:pt x="39" y="77"/>
                      <a:pt x="40" y="75"/>
                    </a:cubicBezTo>
                    <a:cubicBezTo>
                      <a:pt x="42" y="69"/>
                      <a:pt x="42" y="63"/>
                      <a:pt x="42" y="57"/>
                    </a:cubicBezTo>
                    <a:cubicBezTo>
                      <a:pt x="42" y="50"/>
                      <a:pt x="41" y="44"/>
                      <a:pt x="40" y="38"/>
                    </a:cubicBezTo>
                    <a:cubicBezTo>
                      <a:pt x="42" y="44"/>
                      <a:pt x="44" y="50"/>
                      <a:pt x="46" y="56"/>
                    </a:cubicBezTo>
                    <a:cubicBezTo>
                      <a:pt x="47" y="62"/>
                      <a:pt x="48" y="69"/>
                      <a:pt x="47" y="76"/>
                    </a:cubicBezTo>
                    <a:cubicBezTo>
                      <a:pt x="47" y="79"/>
                      <a:pt x="46" y="83"/>
                      <a:pt x="45" y="86"/>
                    </a:cubicBezTo>
                    <a:cubicBezTo>
                      <a:pt x="44" y="89"/>
                      <a:pt x="43" y="92"/>
                      <a:pt x="43" y="95"/>
                    </a:cubicBezTo>
                    <a:cubicBezTo>
                      <a:pt x="42" y="98"/>
                      <a:pt x="41" y="101"/>
                      <a:pt x="41" y="103"/>
                    </a:cubicBezTo>
                    <a:cubicBezTo>
                      <a:pt x="52" y="97"/>
                      <a:pt x="76" y="83"/>
                      <a:pt x="75" y="62"/>
                    </a:cubicBezTo>
                    <a:cubicBezTo>
                      <a:pt x="75" y="31"/>
                      <a:pt x="31" y="0"/>
                      <a:pt x="31" y="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1" name="Freeform 33">
                <a:extLst>
                  <a:ext uri="{FF2B5EF4-FFF2-40B4-BE49-F238E27FC236}">
                    <a16:creationId xmlns:a16="http://schemas.microsoft.com/office/drawing/2014/main" id="{634809BF-DBD2-4C3C-B6F3-E3B67102894B}"/>
                  </a:ext>
                </a:extLst>
              </p:cNvPr>
              <p:cNvSpPr>
                <a:spLocks/>
              </p:cNvSpPr>
              <p:nvPr/>
            </p:nvSpPr>
            <p:spPr bwMode="auto">
              <a:xfrm>
                <a:off x="4734801" y="2467221"/>
                <a:ext cx="387037" cy="347602"/>
              </a:xfrm>
              <a:custGeom>
                <a:avLst/>
                <a:gdLst>
                  <a:gd name="T0" fmla="*/ 0 w 99"/>
                  <a:gd name="T1" fmla="*/ 29 h 89"/>
                  <a:gd name="T2" fmla="*/ 23 w 99"/>
                  <a:gd name="T3" fmla="*/ 43 h 89"/>
                  <a:gd name="T4" fmla="*/ 49 w 99"/>
                  <a:gd name="T5" fmla="*/ 81 h 89"/>
                  <a:gd name="T6" fmla="*/ 93 w 99"/>
                  <a:gd name="T7" fmla="*/ 70 h 89"/>
                  <a:gd name="T8" fmla="*/ 92 w 99"/>
                  <a:gd name="T9" fmla="*/ 69 h 89"/>
                  <a:gd name="T10" fmla="*/ 85 w 99"/>
                  <a:gd name="T11" fmla="*/ 62 h 89"/>
                  <a:gd name="T12" fmla="*/ 79 w 99"/>
                  <a:gd name="T13" fmla="*/ 54 h 89"/>
                  <a:gd name="T14" fmla="*/ 72 w 99"/>
                  <a:gd name="T15" fmla="*/ 48 h 89"/>
                  <a:gd name="T16" fmla="*/ 56 w 99"/>
                  <a:gd name="T17" fmla="*/ 40 h 89"/>
                  <a:gd name="T18" fmla="*/ 38 w 99"/>
                  <a:gd name="T19" fmla="*/ 35 h 89"/>
                  <a:gd name="T20" fmla="*/ 57 w 99"/>
                  <a:gd name="T21" fmla="*/ 36 h 89"/>
                  <a:gd name="T22" fmla="*/ 76 w 99"/>
                  <a:gd name="T23" fmla="*/ 42 h 89"/>
                  <a:gd name="T24" fmla="*/ 85 w 99"/>
                  <a:gd name="T25" fmla="*/ 48 h 89"/>
                  <a:gd name="T26" fmla="*/ 92 w 99"/>
                  <a:gd name="T27" fmla="*/ 54 h 89"/>
                  <a:gd name="T28" fmla="*/ 99 w 99"/>
                  <a:gd name="T29" fmla="*/ 58 h 89"/>
                  <a:gd name="T30" fmla="*/ 74 w 99"/>
                  <a:gd name="T31" fmla="*/ 11 h 89"/>
                  <a:gd name="T32" fmla="*/ 0 w 99"/>
                  <a:gd name="T33" fmla="*/ 2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 h="89">
                    <a:moveTo>
                      <a:pt x="0" y="29"/>
                    </a:moveTo>
                    <a:cubicBezTo>
                      <a:pt x="0" y="29"/>
                      <a:pt x="12" y="29"/>
                      <a:pt x="23" y="43"/>
                    </a:cubicBezTo>
                    <a:cubicBezTo>
                      <a:pt x="35" y="58"/>
                      <a:pt x="33" y="74"/>
                      <a:pt x="49" y="81"/>
                    </a:cubicBezTo>
                    <a:cubicBezTo>
                      <a:pt x="63" y="89"/>
                      <a:pt x="83" y="77"/>
                      <a:pt x="93" y="70"/>
                    </a:cubicBezTo>
                    <a:cubicBezTo>
                      <a:pt x="93" y="69"/>
                      <a:pt x="93" y="69"/>
                      <a:pt x="92" y="69"/>
                    </a:cubicBezTo>
                    <a:cubicBezTo>
                      <a:pt x="89" y="67"/>
                      <a:pt x="87" y="64"/>
                      <a:pt x="85" y="62"/>
                    </a:cubicBezTo>
                    <a:cubicBezTo>
                      <a:pt x="83" y="59"/>
                      <a:pt x="81" y="57"/>
                      <a:pt x="79" y="54"/>
                    </a:cubicBezTo>
                    <a:cubicBezTo>
                      <a:pt x="77" y="52"/>
                      <a:pt x="74" y="50"/>
                      <a:pt x="72" y="48"/>
                    </a:cubicBezTo>
                    <a:cubicBezTo>
                      <a:pt x="67" y="45"/>
                      <a:pt x="62" y="42"/>
                      <a:pt x="56" y="40"/>
                    </a:cubicBezTo>
                    <a:cubicBezTo>
                      <a:pt x="50" y="38"/>
                      <a:pt x="44" y="36"/>
                      <a:pt x="38" y="35"/>
                    </a:cubicBezTo>
                    <a:cubicBezTo>
                      <a:pt x="44" y="35"/>
                      <a:pt x="51" y="35"/>
                      <a:pt x="57" y="36"/>
                    </a:cubicBezTo>
                    <a:cubicBezTo>
                      <a:pt x="63" y="38"/>
                      <a:pt x="70" y="39"/>
                      <a:pt x="76" y="42"/>
                    </a:cubicBezTo>
                    <a:cubicBezTo>
                      <a:pt x="79" y="44"/>
                      <a:pt x="82" y="46"/>
                      <a:pt x="85" y="48"/>
                    </a:cubicBezTo>
                    <a:cubicBezTo>
                      <a:pt x="87" y="50"/>
                      <a:pt x="90" y="52"/>
                      <a:pt x="92" y="54"/>
                    </a:cubicBezTo>
                    <a:cubicBezTo>
                      <a:pt x="95" y="55"/>
                      <a:pt x="97" y="57"/>
                      <a:pt x="99" y="58"/>
                    </a:cubicBezTo>
                    <a:cubicBezTo>
                      <a:pt x="98" y="45"/>
                      <a:pt x="93" y="18"/>
                      <a:pt x="74" y="11"/>
                    </a:cubicBezTo>
                    <a:cubicBezTo>
                      <a:pt x="44" y="0"/>
                      <a:pt x="0" y="29"/>
                      <a:pt x="0" y="29"/>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2" name="Freeform 34">
                <a:extLst>
                  <a:ext uri="{FF2B5EF4-FFF2-40B4-BE49-F238E27FC236}">
                    <a16:creationId xmlns:a16="http://schemas.microsoft.com/office/drawing/2014/main" id="{49CF3C6C-354A-4D42-970F-6CD5E1EB3BF1}"/>
                  </a:ext>
                </a:extLst>
              </p:cNvPr>
              <p:cNvSpPr>
                <a:spLocks/>
              </p:cNvSpPr>
              <p:nvPr/>
            </p:nvSpPr>
            <p:spPr bwMode="auto">
              <a:xfrm>
                <a:off x="7000058" y="1977949"/>
                <a:ext cx="343221" cy="391418"/>
              </a:xfrm>
              <a:custGeom>
                <a:avLst/>
                <a:gdLst>
                  <a:gd name="T0" fmla="*/ 59 w 88"/>
                  <a:gd name="T1" fmla="*/ 0 h 100"/>
                  <a:gd name="T2" fmla="*/ 46 w 88"/>
                  <a:gd name="T3" fmla="*/ 23 h 100"/>
                  <a:gd name="T4" fmla="*/ 7 w 88"/>
                  <a:gd name="T5" fmla="*/ 49 h 100"/>
                  <a:gd name="T6" fmla="*/ 19 w 88"/>
                  <a:gd name="T7" fmla="*/ 94 h 100"/>
                  <a:gd name="T8" fmla="*/ 19 w 88"/>
                  <a:gd name="T9" fmla="*/ 93 h 100"/>
                  <a:gd name="T10" fmla="*/ 27 w 88"/>
                  <a:gd name="T11" fmla="*/ 85 h 100"/>
                  <a:gd name="T12" fmla="*/ 34 w 88"/>
                  <a:gd name="T13" fmla="*/ 79 h 100"/>
                  <a:gd name="T14" fmla="*/ 40 w 88"/>
                  <a:gd name="T15" fmla="*/ 73 h 100"/>
                  <a:gd name="T16" fmla="*/ 48 w 88"/>
                  <a:gd name="T17" fmla="*/ 57 h 100"/>
                  <a:gd name="T18" fmla="*/ 53 w 88"/>
                  <a:gd name="T19" fmla="*/ 39 h 100"/>
                  <a:gd name="T20" fmla="*/ 52 w 88"/>
                  <a:gd name="T21" fmla="*/ 58 h 100"/>
                  <a:gd name="T22" fmla="*/ 46 w 88"/>
                  <a:gd name="T23" fmla="*/ 77 h 100"/>
                  <a:gd name="T24" fmla="*/ 41 w 88"/>
                  <a:gd name="T25" fmla="*/ 85 h 100"/>
                  <a:gd name="T26" fmla="*/ 35 w 88"/>
                  <a:gd name="T27" fmla="*/ 93 h 100"/>
                  <a:gd name="T28" fmla="*/ 30 w 88"/>
                  <a:gd name="T29" fmla="*/ 100 h 100"/>
                  <a:gd name="T30" fmla="*/ 77 w 88"/>
                  <a:gd name="T31" fmla="*/ 74 h 100"/>
                  <a:gd name="T32" fmla="*/ 59 w 88"/>
                  <a:gd name="T33" fmla="*/ 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8" h="100">
                    <a:moveTo>
                      <a:pt x="59" y="0"/>
                    </a:moveTo>
                    <a:cubicBezTo>
                      <a:pt x="59" y="0"/>
                      <a:pt x="59" y="12"/>
                      <a:pt x="46" y="23"/>
                    </a:cubicBezTo>
                    <a:cubicBezTo>
                      <a:pt x="30" y="36"/>
                      <a:pt x="14" y="33"/>
                      <a:pt x="7" y="49"/>
                    </a:cubicBezTo>
                    <a:cubicBezTo>
                      <a:pt x="0" y="64"/>
                      <a:pt x="11" y="84"/>
                      <a:pt x="19" y="94"/>
                    </a:cubicBezTo>
                    <a:cubicBezTo>
                      <a:pt x="19" y="93"/>
                      <a:pt x="19" y="93"/>
                      <a:pt x="19" y="93"/>
                    </a:cubicBezTo>
                    <a:cubicBezTo>
                      <a:pt x="22" y="90"/>
                      <a:pt x="24" y="87"/>
                      <a:pt x="27" y="85"/>
                    </a:cubicBezTo>
                    <a:cubicBezTo>
                      <a:pt x="29" y="83"/>
                      <a:pt x="32" y="81"/>
                      <a:pt x="34" y="79"/>
                    </a:cubicBezTo>
                    <a:cubicBezTo>
                      <a:pt x="36" y="77"/>
                      <a:pt x="38" y="75"/>
                      <a:pt x="40" y="73"/>
                    </a:cubicBezTo>
                    <a:cubicBezTo>
                      <a:pt x="43" y="68"/>
                      <a:pt x="46" y="63"/>
                      <a:pt x="48" y="57"/>
                    </a:cubicBezTo>
                    <a:cubicBezTo>
                      <a:pt x="50" y="51"/>
                      <a:pt x="52" y="45"/>
                      <a:pt x="53" y="39"/>
                    </a:cubicBezTo>
                    <a:cubicBezTo>
                      <a:pt x="53" y="45"/>
                      <a:pt x="53" y="51"/>
                      <a:pt x="52" y="58"/>
                    </a:cubicBezTo>
                    <a:cubicBezTo>
                      <a:pt x="51" y="64"/>
                      <a:pt x="49" y="70"/>
                      <a:pt x="46" y="77"/>
                    </a:cubicBezTo>
                    <a:cubicBezTo>
                      <a:pt x="45" y="80"/>
                      <a:pt x="43" y="83"/>
                      <a:pt x="41" y="85"/>
                    </a:cubicBezTo>
                    <a:cubicBezTo>
                      <a:pt x="39" y="88"/>
                      <a:pt x="37" y="90"/>
                      <a:pt x="35" y="93"/>
                    </a:cubicBezTo>
                    <a:cubicBezTo>
                      <a:pt x="33" y="95"/>
                      <a:pt x="31" y="97"/>
                      <a:pt x="30" y="100"/>
                    </a:cubicBezTo>
                    <a:cubicBezTo>
                      <a:pt x="43" y="98"/>
                      <a:pt x="70" y="93"/>
                      <a:pt x="77" y="74"/>
                    </a:cubicBezTo>
                    <a:cubicBezTo>
                      <a:pt x="88" y="45"/>
                      <a:pt x="59" y="0"/>
                      <a:pt x="59" y="0"/>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3" name="Freeform 35">
                <a:extLst>
                  <a:ext uri="{FF2B5EF4-FFF2-40B4-BE49-F238E27FC236}">
                    <a16:creationId xmlns:a16="http://schemas.microsoft.com/office/drawing/2014/main" id="{F21EA5C7-B0B3-4C51-A55C-7F57F2602A80}"/>
                  </a:ext>
                </a:extLst>
              </p:cNvPr>
              <p:cNvSpPr>
                <a:spLocks/>
              </p:cNvSpPr>
              <p:nvPr/>
            </p:nvSpPr>
            <p:spPr bwMode="auto">
              <a:xfrm>
                <a:off x="6274183" y="2432168"/>
                <a:ext cx="343221" cy="347602"/>
              </a:xfrm>
              <a:custGeom>
                <a:avLst/>
                <a:gdLst>
                  <a:gd name="T0" fmla="*/ 80 w 88"/>
                  <a:gd name="T1" fmla="*/ 0 h 89"/>
                  <a:gd name="T2" fmla="*/ 58 w 88"/>
                  <a:gd name="T3" fmla="*/ 15 h 89"/>
                  <a:gd name="T4" fmla="*/ 12 w 88"/>
                  <a:gd name="T5" fmla="*/ 22 h 89"/>
                  <a:gd name="T6" fmla="*/ 4 w 88"/>
                  <a:gd name="T7" fmla="*/ 68 h 89"/>
                  <a:gd name="T8" fmla="*/ 5 w 88"/>
                  <a:gd name="T9" fmla="*/ 67 h 89"/>
                  <a:gd name="T10" fmla="*/ 15 w 88"/>
                  <a:gd name="T11" fmla="*/ 63 h 89"/>
                  <a:gd name="T12" fmla="*/ 24 w 88"/>
                  <a:gd name="T13" fmla="*/ 61 h 89"/>
                  <a:gd name="T14" fmla="*/ 32 w 88"/>
                  <a:gd name="T15" fmla="*/ 57 h 89"/>
                  <a:gd name="T16" fmla="*/ 47 w 88"/>
                  <a:gd name="T17" fmla="*/ 46 h 89"/>
                  <a:gd name="T18" fmla="*/ 59 w 88"/>
                  <a:gd name="T19" fmla="*/ 32 h 89"/>
                  <a:gd name="T20" fmla="*/ 49 w 88"/>
                  <a:gd name="T21" fmla="*/ 49 h 89"/>
                  <a:gd name="T22" fmla="*/ 36 w 88"/>
                  <a:gd name="T23" fmla="*/ 64 h 89"/>
                  <a:gd name="T24" fmla="*/ 28 w 88"/>
                  <a:gd name="T25" fmla="*/ 69 h 89"/>
                  <a:gd name="T26" fmla="*/ 19 w 88"/>
                  <a:gd name="T27" fmla="*/ 74 h 89"/>
                  <a:gd name="T28" fmla="*/ 12 w 88"/>
                  <a:gd name="T29" fmla="*/ 78 h 89"/>
                  <a:gd name="T30" fmla="*/ 66 w 88"/>
                  <a:gd name="T31" fmla="*/ 75 h 89"/>
                  <a:gd name="T32" fmla="*/ 80 w 88"/>
                  <a:gd name="T33"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8" h="89">
                    <a:moveTo>
                      <a:pt x="80" y="0"/>
                    </a:moveTo>
                    <a:cubicBezTo>
                      <a:pt x="80" y="0"/>
                      <a:pt x="75" y="11"/>
                      <a:pt x="58" y="15"/>
                    </a:cubicBezTo>
                    <a:cubicBezTo>
                      <a:pt x="39" y="20"/>
                      <a:pt x="26" y="11"/>
                      <a:pt x="12" y="22"/>
                    </a:cubicBezTo>
                    <a:cubicBezTo>
                      <a:pt x="0" y="33"/>
                      <a:pt x="2" y="56"/>
                      <a:pt x="4" y="68"/>
                    </a:cubicBezTo>
                    <a:cubicBezTo>
                      <a:pt x="4" y="68"/>
                      <a:pt x="5" y="67"/>
                      <a:pt x="5" y="67"/>
                    </a:cubicBezTo>
                    <a:cubicBezTo>
                      <a:pt x="9" y="65"/>
                      <a:pt x="12" y="64"/>
                      <a:pt x="15" y="63"/>
                    </a:cubicBezTo>
                    <a:cubicBezTo>
                      <a:pt x="18" y="62"/>
                      <a:pt x="21" y="62"/>
                      <a:pt x="24" y="61"/>
                    </a:cubicBezTo>
                    <a:cubicBezTo>
                      <a:pt x="27" y="60"/>
                      <a:pt x="30" y="59"/>
                      <a:pt x="32" y="57"/>
                    </a:cubicBezTo>
                    <a:cubicBezTo>
                      <a:pt x="37" y="55"/>
                      <a:pt x="42" y="51"/>
                      <a:pt x="47" y="46"/>
                    </a:cubicBezTo>
                    <a:cubicBezTo>
                      <a:pt x="51" y="42"/>
                      <a:pt x="55" y="37"/>
                      <a:pt x="59" y="32"/>
                    </a:cubicBezTo>
                    <a:cubicBezTo>
                      <a:pt x="56" y="38"/>
                      <a:pt x="53" y="43"/>
                      <a:pt x="49" y="49"/>
                    </a:cubicBezTo>
                    <a:cubicBezTo>
                      <a:pt x="46" y="54"/>
                      <a:pt x="42" y="59"/>
                      <a:pt x="36" y="64"/>
                    </a:cubicBezTo>
                    <a:cubicBezTo>
                      <a:pt x="34" y="66"/>
                      <a:pt x="31" y="68"/>
                      <a:pt x="28" y="69"/>
                    </a:cubicBezTo>
                    <a:cubicBezTo>
                      <a:pt x="25" y="71"/>
                      <a:pt x="22" y="72"/>
                      <a:pt x="19" y="74"/>
                    </a:cubicBezTo>
                    <a:cubicBezTo>
                      <a:pt x="17" y="75"/>
                      <a:pt x="14" y="76"/>
                      <a:pt x="12" y="78"/>
                    </a:cubicBezTo>
                    <a:cubicBezTo>
                      <a:pt x="24" y="82"/>
                      <a:pt x="51" y="89"/>
                      <a:pt x="66" y="75"/>
                    </a:cubicBezTo>
                    <a:cubicBezTo>
                      <a:pt x="88" y="52"/>
                      <a:pt x="80" y="0"/>
                      <a:pt x="80" y="0"/>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4" name="Freeform 36">
                <a:extLst>
                  <a:ext uri="{FF2B5EF4-FFF2-40B4-BE49-F238E27FC236}">
                    <a16:creationId xmlns:a16="http://schemas.microsoft.com/office/drawing/2014/main" id="{1D2BDBC4-9431-43F1-9298-1E9FB8E422DD}"/>
                  </a:ext>
                </a:extLst>
              </p:cNvPr>
              <p:cNvSpPr>
                <a:spLocks/>
              </p:cNvSpPr>
              <p:nvPr/>
            </p:nvSpPr>
            <p:spPr bwMode="auto">
              <a:xfrm>
                <a:off x="6617403" y="1770556"/>
                <a:ext cx="319853" cy="375352"/>
              </a:xfrm>
              <a:custGeom>
                <a:avLst/>
                <a:gdLst>
                  <a:gd name="T0" fmla="*/ 72 w 82"/>
                  <a:gd name="T1" fmla="*/ 96 h 96"/>
                  <a:gd name="T2" fmla="*/ 66 w 82"/>
                  <a:gd name="T3" fmla="*/ 70 h 96"/>
                  <a:gd name="T4" fmla="*/ 77 w 82"/>
                  <a:gd name="T5" fmla="*/ 25 h 96"/>
                  <a:gd name="T6" fmla="*/ 38 w 82"/>
                  <a:gd name="T7" fmla="*/ 0 h 96"/>
                  <a:gd name="T8" fmla="*/ 38 w 82"/>
                  <a:gd name="T9" fmla="*/ 1 h 96"/>
                  <a:gd name="T10" fmla="*/ 38 w 82"/>
                  <a:gd name="T11" fmla="*/ 12 h 96"/>
                  <a:gd name="T12" fmla="*/ 37 w 82"/>
                  <a:gd name="T13" fmla="*/ 21 h 96"/>
                  <a:gd name="T14" fmla="*/ 37 w 82"/>
                  <a:gd name="T15" fmla="*/ 30 h 96"/>
                  <a:gd name="T16" fmla="*/ 41 w 82"/>
                  <a:gd name="T17" fmla="*/ 47 h 96"/>
                  <a:gd name="T18" fmla="*/ 50 w 82"/>
                  <a:gd name="T19" fmla="*/ 64 h 96"/>
                  <a:gd name="T20" fmla="*/ 38 w 82"/>
                  <a:gd name="T21" fmla="*/ 49 h 96"/>
                  <a:gd name="T22" fmla="*/ 30 w 82"/>
                  <a:gd name="T23" fmla="*/ 31 h 96"/>
                  <a:gd name="T24" fmla="*/ 28 w 82"/>
                  <a:gd name="T25" fmla="*/ 21 h 96"/>
                  <a:gd name="T26" fmla="*/ 27 w 82"/>
                  <a:gd name="T27" fmla="*/ 11 h 96"/>
                  <a:gd name="T28" fmla="*/ 26 w 82"/>
                  <a:gd name="T29" fmla="*/ 3 h 96"/>
                  <a:gd name="T30" fmla="*/ 8 w 82"/>
                  <a:gd name="T31" fmla="*/ 54 h 96"/>
                  <a:gd name="T32" fmla="*/ 72 w 82"/>
                  <a:gd name="T33"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2" h="96">
                    <a:moveTo>
                      <a:pt x="72" y="96"/>
                    </a:moveTo>
                    <a:cubicBezTo>
                      <a:pt x="72" y="96"/>
                      <a:pt x="64" y="87"/>
                      <a:pt x="66" y="70"/>
                    </a:cubicBezTo>
                    <a:cubicBezTo>
                      <a:pt x="69" y="50"/>
                      <a:pt x="82" y="41"/>
                      <a:pt x="77" y="25"/>
                    </a:cubicBezTo>
                    <a:cubicBezTo>
                      <a:pt x="72" y="9"/>
                      <a:pt x="50" y="2"/>
                      <a:pt x="38" y="0"/>
                    </a:cubicBezTo>
                    <a:cubicBezTo>
                      <a:pt x="38" y="0"/>
                      <a:pt x="38" y="1"/>
                      <a:pt x="38" y="1"/>
                    </a:cubicBezTo>
                    <a:cubicBezTo>
                      <a:pt x="38" y="5"/>
                      <a:pt x="38" y="8"/>
                      <a:pt x="38" y="12"/>
                    </a:cubicBezTo>
                    <a:cubicBezTo>
                      <a:pt x="38" y="15"/>
                      <a:pt x="37" y="18"/>
                      <a:pt x="37" y="21"/>
                    </a:cubicBezTo>
                    <a:cubicBezTo>
                      <a:pt x="37" y="24"/>
                      <a:pt x="37" y="27"/>
                      <a:pt x="37" y="30"/>
                    </a:cubicBezTo>
                    <a:cubicBezTo>
                      <a:pt x="37" y="36"/>
                      <a:pt x="39" y="41"/>
                      <a:pt x="41" y="47"/>
                    </a:cubicBezTo>
                    <a:cubicBezTo>
                      <a:pt x="44" y="53"/>
                      <a:pt x="47" y="58"/>
                      <a:pt x="50" y="64"/>
                    </a:cubicBezTo>
                    <a:cubicBezTo>
                      <a:pt x="46" y="59"/>
                      <a:pt x="42" y="54"/>
                      <a:pt x="38" y="49"/>
                    </a:cubicBezTo>
                    <a:cubicBezTo>
                      <a:pt x="35" y="43"/>
                      <a:pt x="32" y="38"/>
                      <a:pt x="30" y="31"/>
                    </a:cubicBezTo>
                    <a:cubicBezTo>
                      <a:pt x="29" y="28"/>
                      <a:pt x="28" y="24"/>
                      <a:pt x="28" y="21"/>
                    </a:cubicBezTo>
                    <a:cubicBezTo>
                      <a:pt x="27" y="18"/>
                      <a:pt x="27" y="14"/>
                      <a:pt x="27" y="11"/>
                    </a:cubicBezTo>
                    <a:cubicBezTo>
                      <a:pt x="27" y="8"/>
                      <a:pt x="26" y="6"/>
                      <a:pt x="26" y="3"/>
                    </a:cubicBezTo>
                    <a:cubicBezTo>
                      <a:pt x="17" y="13"/>
                      <a:pt x="0" y="35"/>
                      <a:pt x="8" y="54"/>
                    </a:cubicBezTo>
                    <a:cubicBezTo>
                      <a:pt x="20" y="83"/>
                      <a:pt x="72" y="96"/>
                      <a:pt x="72" y="96"/>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5" name="Freeform 37">
                <a:extLst>
                  <a:ext uri="{FF2B5EF4-FFF2-40B4-BE49-F238E27FC236}">
                    <a16:creationId xmlns:a16="http://schemas.microsoft.com/office/drawing/2014/main" id="{AC972228-6433-4EEF-9523-F26532DF6B45}"/>
                  </a:ext>
                </a:extLst>
              </p:cNvPr>
              <p:cNvSpPr>
                <a:spLocks/>
              </p:cNvSpPr>
              <p:nvPr/>
            </p:nvSpPr>
            <p:spPr bwMode="auto">
              <a:xfrm>
                <a:off x="6332603" y="2036369"/>
                <a:ext cx="343221" cy="349062"/>
              </a:xfrm>
              <a:custGeom>
                <a:avLst/>
                <a:gdLst>
                  <a:gd name="T0" fmla="*/ 8 w 88"/>
                  <a:gd name="T1" fmla="*/ 89 h 89"/>
                  <a:gd name="T2" fmla="*/ 30 w 88"/>
                  <a:gd name="T3" fmla="*/ 74 h 89"/>
                  <a:gd name="T4" fmla="*/ 76 w 88"/>
                  <a:gd name="T5" fmla="*/ 67 h 89"/>
                  <a:gd name="T6" fmla="*/ 84 w 88"/>
                  <a:gd name="T7" fmla="*/ 21 h 89"/>
                  <a:gd name="T8" fmla="*/ 83 w 88"/>
                  <a:gd name="T9" fmla="*/ 22 h 89"/>
                  <a:gd name="T10" fmla="*/ 73 w 88"/>
                  <a:gd name="T11" fmla="*/ 26 h 89"/>
                  <a:gd name="T12" fmla="*/ 64 w 88"/>
                  <a:gd name="T13" fmla="*/ 28 h 89"/>
                  <a:gd name="T14" fmla="*/ 56 w 88"/>
                  <a:gd name="T15" fmla="*/ 31 h 89"/>
                  <a:gd name="T16" fmla="*/ 41 w 88"/>
                  <a:gd name="T17" fmla="*/ 42 h 89"/>
                  <a:gd name="T18" fmla="*/ 29 w 88"/>
                  <a:gd name="T19" fmla="*/ 56 h 89"/>
                  <a:gd name="T20" fmla="*/ 39 w 88"/>
                  <a:gd name="T21" fmla="*/ 40 h 89"/>
                  <a:gd name="T22" fmla="*/ 52 w 88"/>
                  <a:gd name="T23" fmla="*/ 25 h 89"/>
                  <a:gd name="T24" fmla="*/ 61 w 88"/>
                  <a:gd name="T25" fmla="*/ 20 h 89"/>
                  <a:gd name="T26" fmla="*/ 69 w 88"/>
                  <a:gd name="T27" fmla="*/ 15 h 89"/>
                  <a:gd name="T28" fmla="*/ 76 w 88"/>
                  <a:gd name="T29" fmla="*/ 11 h 89"/>
                  <a:gd name="T30" fmla="*/ 23 w 88"/>
                  <a:gd name="T31" fmla="*/ 14 h 89"/>
                  <a:gd name="T32" fmla="*/ 8 w 88"/>
                  <a:gd name="T33" fmla="*/ 8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8" h="89">
                    <a:moveTo>
                      <a:pt x="8" y="89"/>
                    </a:moveTo>
                    <a:cubicBezTo>
                      <a:pt x="8" y="89"/>
                      <a:pt x="13" y="78"/>
                      <a:pt x="30" y="74"/>
                    </a:cubicBezTo>
                    <a:cubicBezTo>
                      <a:pt x="49" y="69"/>
                      <a:pt x="62" y="78"/>
                      <a:pt x="76" y="67"/>
                    </a:cubicBezTo>
                    <a:cubicBezTo>
                      <a:pt x="88" y="56"/>
                      <a:pt x="87" y="33"/>
                      <a:pt x="84" y="21"/>
                    </a:cubicBezTo>
                    <a:cubicBezTo>
                      <a:pt x="84" y="22"/>
                      <a:pt x="84" y="22"/>
                      <a:pt x="83" y="22"/>
                    </a:cubicBezTo>
                    <a:cubicBezTo>
                      <a:pt x="80" y="24"/>
                      <a:pt x="76" y="25"/>
                      <a:pt x="73" y="26"/>
                    </a:cubicBezTo>
                    <a:cubicBezTo>
                      <a:pt x="70" y="27"/>
                      <a:pt x="67" y="27"/>
                      <a:pt x="64" y="28"/>
                    </a:cubicBezTo>
                    <a:cubicBezTo>
                      <a:pt x="61" y="29"/>
                      <a:pt x="59" y="30"/>
                      <a:pt x="56" y="31"/>
                    </a:cubicBezTo>
                    <a:cubicBezTo>
                      <a:pt x="51" y="34"/>
                      <a:pt x="46" y="38"/>
                      <a:pt x="41" y="42"/>
                    </a:cubicBezTo>
                    <a:cubicBezTo>
                      <a:pt x="37" y="46"/>
                      <a:pt x="33" y="51"/>
                      <a:pt x="29" y="56"/>
                    </a:cubicBezTo>
                    <a:cubicBezTo>
                      <a:pt x="32" y="51"/>
                      <a:pt x="35" y="45"/>
                      <a:pt x="39" y="40"/>
                    </a:cubicBezTo>
                    <a:cubicBezTo>
                      <a:pt x="42" y="34"/>
                      <a:pt x="47" y="29"/>
                      <a:pt x="52" y="25"/>
                    </a:cubicBezTo>
                    <a:cubicBezTo>
                      <a:pt x="55" y="23"/>
                      <a:pt x="58" y="21"/>
                      <a:pt x="61" y="20"/>
                    </a:cubicBezTo>
                    <a:cubicBezTo>
                      <a:pt x="64" y="18"/>
                      <a:pt x="67" y="17"/>
                      <a:pt x="69" y="15"/>
                    </a:cubicBezTo>
                    <a:cubicBezTo>
                      <a:pt x="72" y="14"/>
                      <a:pt x="74" y="13"/>
                      <a:pt x="76" y="11"/>
                    </a:cubicBezTo>
                    <a:cubicBezTo>
                      <a:pt x="64" y="7"/>
                      <a:pt x="37" y="0"/>
                      <a:pt x="23" y="14"/>
                    </a:cubicBezTo>
                    <a:cubicBezTo>
                      <a:pt x="0" y="36"/>
                      <a:pt x="8" y="89"/>
                      <a:pt x="8" y="89"/>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6" name="Freeform 38">
                <a:extLst>
                  <a:ext uri="{FF2B5EF4-FFF2-40B4-BE49-F238E27FC236}">
                    <a16:creationId xmlns:a16="http://schemas.microsoft.com/office/drawing/2014/main" id="{9FC8F6F6-BC38-4756-9E03-43ABF7719757}"/>
                  </a:ext>
                </a:extLst>
              </p:cNvPr>
              <p:cNvSpPr>
                <a:spLocks/>
              </p:cNvSpPr>
              <p:nvPr/>
            </p:nvSpPr>
            <p:spPr bwMode="auto">
              <a:xfrm>
                <a:off x="7137346" y="4362968"/>
                <a:ext cx="319853" cy="375352"/>
              </a:xfrm>
              <a:custGeom>
                <a:avLst/>
                <a:gdLst>
                  <a:gd name="T0" fmla="*/ 72 w 82"/>
                  <a:gd name="T1" fmla="*/ 96 h 96"/>
                  <a:gd name="T2" fmla="*/ 66 w 82"/>
                  <a:gd name="T3" fmla="*/ 71 h 96"/>
                  <a:gd name="T4" fmla="*/ 77 w 82"/>
                  <a:gd name="T5" fmla="*/ 25 h 96"/>
                  <a:gd name="T6" fmla="*/ 38 w 82"/>
                  <a:gd name="T7" fmla="*/ 0 h 96"/>
                  <a:gd name="T8" fmla="*/ 38 w 82"/>
                  <a:gd name="T9" fmla="*/ 2 h 96"/>
                  <a:gd name="T10" fmla="*/ 38 w 82"/>
                  <a:gd name="T11" fmla="*/ 12 h 96"/>
                  <a:gd name="T12" fmla="*/ 37 w 82"/>
                  <a:gd name="T13" fmla="*/ 21 h 96"/>
                  <a:gd name="T14" fmla="*/ 37 w 82"/>
                  <a:gd name="T15" fmla="*/ 30 h 96"/>
                  <a:gd name="T16" fmla="*/ 41 w 82"/>
                  <a:gd name="T17" fmla="*/ 48 h 96"/>
                  <a:gd name="T18" fmla="*/ 50 w 82"/>
                  <a:gd name="T19" fmla="*/ 64 h 96"/>
                  <a:gd name="T20" fmla="*/ 38 w 82"/>
                  <a:gd name="T21" fmla="*/ 49 h 96"/>
                  <a:gd name="T22" fmla="*/ 30 w 82"/>
                  <a:gd name="T23" fmla="*/ 32 h 96"/>
                  <a:gd name="T24" fmla="*/ 28 w 82"/>
                  <a:gd name="T25" fmla="*/ 22 h 96"/>
                  <a:gd name="T26" fmla="*/ 27 w 82"/>
                  <a:gd name="T27" fmla="*/ 12 h 96"/>
                  <a:gd name="T28" fmla="*/ 26 w 82"/>
                  <a:gd name="T29" fmla="*/ 4 h 96"/>
                  <a:gd name="T30" fmla="*/ 8 w 82"/>
                  <a:gd name="T31" fmla="*/ 54 h 96"/>
                  <a:gd name="T32" fmla="*/ 72 w 82"/>
                  <a:gd name="T33"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2" h="96">
                    <a:moveTo>
                      <a:pt x="72" y="96"/>
                    </a:moveTo>
                    <a:cubicBezTo>
                      <a:pt x="72" y="96"/>
                      <a:pt x="64" y="88"/>
                      <a:pt x="66" y="71"/>
                    </a:cubicBezTo>
                    <a:cubicBezTo>
                      <a:pt x="69" y="51"/>
                      <a:pt x="82" y="42"/>
                      <a:pt x="77" y="25"/>
                    </a:cubicBezTo>
                    <a:cubicBezTo>
                      <a:pt x="72" y="9"/>
                      <a:pt x="50" y="3"/>
                      <a:pt x="38" y="0"/>
                    </a:cubicBezTo>
                    <a:cubicBezTo>
                      <a:pt x="38" y="1"/>
                      <a:pt x="38" y="1"/>
                      <a:pt x="38" y="2"/>
                    </a:cubicBezTo>
                    <a:cubicBezTo>
                      <a:pt x="39" y="5"/>
                      <a:pt x="38" y="9"/>
                      <a:pt x="38" y="12"/>
                    </a:cubicBezTo>
                    <a:cubicBezTo>
                      <a:pt x="38" y="15"/>
                      <a:pt x="37" y="18"/>
                      <a:pt x="37" y="21"/>
                    </a:cubicBezTo>
                    <a:cubicBezTo>
                      <a:pt x="37" y="24"/>
                      <a:pt x="37" y="27"/>
                      <a:pt x="37" y="30"/>
                    </a:cubicBezTo>
                    <a:cubicBezTo>
                      <a:pt x="37" y="36"/>
                      <a:pt x="39" y="42"/>
                      <a:pt x="41" y="48"/>
                    </a:cubicBezTo>
                    <a:cubicBezTo>
                      <a:pt x="44" y="53"/>
                      <a:pt x="47" y="59"/>
                      <a:pt x="50" y="64"/>
                    </a:cubicBezTo>
                    <a:cubicBezTo>
                      <a:pt x="46" y="60"/>
                      <a:pt x="42" y="55"/>
                      <a:pt x="38" y="49"/>
                    </a:cubicBezTo>
                    <a:cubicBezTo>
                      <a:pt x="35" y="44"/>
                      <a:pt x="32" y="38"/>
                      <a:pt x="30" y="32"/>
                    </a:cubicBezTo>
                    <a:cubicBezTo>
                      <a:pt x="29" y="28"/>
                      <a:pt x="28" y="25"/>
                      <a:pt x="28" y="22"/>
                    </a:cubicBezTo>
                    <a:cubicBezTo>
                      <a:pt x="27" y="18"/>
                      <a:pt x="27" y="15"/>
                      <a:pt x="27" y="12"/>
                    </a:cubicBezTo>
                    <a:cubicBezTo>
                      <a:pt x="27" y="9"/>
                      <a:pt x="26" y="6"/>
                      <a:pt x="26" y="4"/>
                    </a:cubicBezTo>
                    <a:cubicBezTo>
                      <a:pt x="17" y="13"/>
                      <a:pt x="0" y="36"/>
                      <a:pt x="8" y="54"/>
                    </a:cubicBezTo>
                    <a:cubicBezTo>
                      <a:pt x="20" y="84"/>
                      <a:pt x="72" y="96"/>
                      <a:pt x="72" y="96"/>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7" name="Freeform 39">
                <a:extLst>
                  <a:ext uri="{FF2B5EF4-FFF2-40B4-BE49-F238E27FC236}">
                    <a16:creationId xmlns:a16="http://schemas.microsoft.com/office/drawing/2014/main" id="{31CF528A-524A-4724-B9A1-7C1A163025F4}"/>
                  </a:ext>
                </a:extLst>
              </p:cNvPr>
              <p:cNvSpPr>
                <a:spLocks/>
              </p:cNvSpPr>
              <p:nvPr/>
            </p:nvSpPr>
            <p:spPr bwMode="auto">
              <a:xfrm>
                <a:off x="7487869" y="4186246"/>
                <a:ext cx="344681" cy="391418"/>
              </a:xfrm>
              <a:custGeom>
                <a:avLst/>
                <a:gdLst>
                  <a:gd name="T0" fmla="*/ 59 w 88"/>
                  <a:gd name="T1" fmla="*/ 0 h 100"/>
                  <a:gd name="T2" fmla="*/ 46 w 88"/>
                  <a:gd name="T3" fmla="*/ 23 h 100"/>
                  <a:gd name="T4" fmla="*/ 7 w 88"/>
                  <a:gd name="T5" fmla="*/ 49 h 100"/>
                  <a:gd name="T6" fmla="*/ 18 w 88"/>
                  <a:gd name="T7" fmla="*/ 94 h 100"/>
                  <a:gd name="T8" fmla="*/ 19 w 88"/>
                  <a:gd name="T9" fmla="*/ 93 h 100"/>
                  <a:gd name="T10" fmla="*/ 27 w 88"/>
                  <a:gd name="T11" fmla="*/ 85 h 100"/>
                  <a:gd name="T12" fmla="*/ 34 w 88"/>
                  <a:gd name="T13" fmla="*/ 79 h 100"/>
                  <a:gd name="T14" fmla="*/ 40 w 88"/>
                  <a:gd name="T15" fmla="*/ 73 h 100"/>
                  <a:gd name="T16" fmla="*/ 48 w 88"/>
                  <a:gd name="T17" fmla="*/ 57 h 100"/>
                  <a:gd name="T18" fmla="*/ 53 w 88"/>
                  <a:gd name="T19" fmla="*/ 38 h 100"/>
                  <a:gd name="T20" fmla="*/ 52 w 88"/>
                  <a:gd name="T21" fmla="*/ 58 h 100"/>
                  <a:gd name="T22" fmla="*/ 46 w 88"/>
                  <a:gd name="T23" fmla="*/ 76 h 100"/>
                  <a:gd name="T24" fmla="*/ 41 w 88"/>
                  <a:gd name="T25" fmla="*/ 85 h 100"/>
                  <a:gd name="T26" fmla="*/ 35 w 88"/>
                  <a:gd name="T27" fmla="*/ 93 h 100"/>
                  <a:gd name="T28" fmla="*/ 30 w 88"/>
                  <a:gd name="T29" fmla="*/ 100 h 100"/>
                  <a:gd name="T30" fmla="*/ 77 w 88"/>
                  <a:gd name="T31" fmla="*/ 74 h 100"/>
                  <a:gd name="T32" fmla="*/ 59 w 88"/>
                  <a:gd name="T33" fmla="*/ 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8" h="100">
                    <a:moveTo>
                      <a:pt x="59" y="0"/>
                    </a:moveTo>
                    <a:cubicBezTo>
                      <a:pt x="59" y="0"/>
                      <a:pt x="59" y="12"/>
                      <a:pt x="46" y="23"/>
                    </a:cubicBezTo>
                    <a:cubicBezTo>
                      <a:pt x="30" y="36"/>
                      <a:pt x="14" y="33"/>
                      <a:pt x="7" y="49"/>
                    </a:cubicBezTo>
                    <a:cubicBezTo>
                      <a:pt x="0" y="64"/>
                      <a:pt x="11" y="84"/>
                      <a:pt x="18" y="94"/>
                    </a:cubicBezTo>
                    <a:cubicBezTo>
                      <a:pt x="19" y="93"/>
                      <a:pt x="19" y="93"/>
                      <a:pt x="19" y="93"/>
                    </a:cubicBezTo>
                    <a:cubicBezTo>
                      <a:pt x="22" y="90"/>
                      <a:pt x="24" y="87"/>
                      <a:pt x="27" y="85"/>
                    </a:cubicBezTo>
                    <a:cubicBezTo>
                      <a:pt x="29" y="83"/>
                      <a:pt x="32" y="81"/>
                      <a:pt x="34" y="79"/>
                    </a:cubicBezTo>
                    <a:cubicBezTo>
                      <a:pt x="36" y="77"/>
                      <a:pt x="38" y="75"/>
                      <a:pt x="40" y="73"/>
                    </a:cubicBezTo>
                    <a:cubicBezTo>
                      <a:pt x="43" y="68"/>
                      <a:pt x="46" y="62"/>
                      <a:pt x="48" y="57"/>
                    </a:cubicBezTo>
                    <a:cubicBezTo>
                      <a:pt x="50" y="51"/>
                      <a:pt x="52" y="45"/>
                      <a:pt x="53" y="38"/>
                    </a:cubicBezTo>
                    <a:cubicBezTo>
                      <a:pt x="53" y="45"/>
                      <a:pt x="53" y="51"/>
                      <a:pt x="52" y="58"/>
                    </a:cubicBezTo>
                    <a:cubicBezTo>
                      <a:pt x="51" y="64"/>
                      <a:pt x="49" y="70"/>
                      <a:pt x="46" y="76"/>
                    </a:cubicBezTo>
                    <a:cubicBezTo>
                      <a:pt x="45" y="79"/>
                      <a:pt x="43" y="82"/>
                      <a:pt x="41" y="85"/>
                    </a:cubicBezTo>
                    <a:cubicBezTo>
                      <a:pt x="39" y="88"/>
                      <a:pt x="37" y="90"/>
                      <a:pt x="35" y="93"/>
                    </a:cubicBezTo>
                    <a:cubicBezTo>
                      <a:pt x="33" y="95"/>
                      <a:pt x="31" y="97"/>
                      <a:pt x="30" y="100"/>
                    </a:cubicBezTo>
                    <a:cubicBezTo>
                      <a:pt x="43" y="98"/>
                      <a:pt x="70" y="93"/>
                      <a:pt x="77" y="74"/>
                    </a:cubicBezTo>
                    <a:cubicBezTo>
                      <a:pt x="88" y="45"/>
                      <a:pt x="59" y="0"/>
                      <a:pt x="59" y="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8" name="Freeform 40">
                <a:extLst>
                  <a:ext uri="{FF2B5EF4-FFF2-40B4-BE49-F238E27FC236}">
                    <a16:creationId xmlns:a16="http://schemas.microsoft.com/office/drawing/2014/main" id="{067E13AD-B714-4476-90BC-F52A6B1B673B}"/>
                  </a:ext>
                </a:extLst>
              </p:cNvPr>
              <p:cNvSpPr>
                <a:spLocks/>
              </p:cNvSpPr>
              <p:nvPr/>
            </p:nvSpPr>
            <p:spPr bwMode="auto">
              <a:xfrm>
                <a:off x="7081846" y="4776294"/>
                <a:ext cx="343221" cy="347602"/>
              </a:xfrm>
              <a:custGeom>
                <a:avLst/>
                <a:gdLst>
                  <a:gd name="T0" fmla="*/ 7 w 88"/>
                  <a:gd name="T1" fmla="*/ 89 h 89"/>
                  <a:gd name="T2" fmla="*/ 29 w 88"/>
                  <a:gd name="T3" fmla="*/ 74 h 89"/>
                  <a:gd name="T4" fmla="*/ 75 w 88"/>
                  <a:gd name="T5" fmla="*/ 67 h 89"/>
                  <a:gd name="T6" fmla="*/ 84 w 88"/>
                  <a:gd name="T7" fmla="*/ 22 h 89"/>
                  <a:gd name="T8" fmla="*/ 82 w 88"/>
                  <a:gd name="T9" fmla="*/ 22 h 89"/>
                  <a:gd name="T10" fmla="*/ 72 w 88"/>
                  <a:gd name="T11" fmla="*/ 26 h 89"/>
                  <a:gd name="T12" fmla="*/ 63 w 88"/>
                  <a:gd name="T13" fmla="*/ 29 h 89"/>
                  <a:gd name="T14" fmla="*/ 55 w 88"/>
                  <a:gd name="T15" fmla="*/ 32 h 89"/>
                  <a:gd name="T16" fmla="*/ 41 w 88"/>
                  <a:gd name="T17" fmla="*/ 43 h 89"/>
                  <a:gd name="T18" fmla="*/ 28 w 88"/>
                  <a:gd name="T19" fmla="*/ 57 h 89"/>
                  <a:gd name="T20" fmla="*/ 38 w 88"/>
                  <a:gd name="T21" fmla="*/ 40 h 89"/>
                  <a:gd name="T22" fmla="*/ 51 w 88"/>
                  <a:gd name="T23" fmla="*/ 26 h 89"/>
                  <a:gd name="T24" fmla="*/ 60 w 88"/>
                  <a:gd name="T25" fmla="*/ 20 h 89"/>
                  <a:gd name="T26" fmla="*/ 68 w 88"/>
                  <a:gd name="T27" fmla="*/ 16 h 89"/>
                  <a:gd name="T28" fmla="*/ 76 w 88"/>
                  <a:gd name="T29" fmla="*/ 12 h 89"/>
                  <a:gd name="T30" fmla="*/ 22 w 88"/>
                  <a:gd name="T31" fmla="*/ 14 h 89"/>
                  <a:gd name="T32" fmla="*/ 7 w 88"/>
                  <a:gd name="T33" fmla="*/ 8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8" h="89">
                    <a:moveTo>
                      <a:pt x="7" y="89"/>
                    </a:moveTo>
                    <a:cubicBezTo>
                      <a:pt x="7" y="89"/>
                      <a:pt x="12" y="78"/>
                      <a:pt x="29" y="74"/>
                    </a:cubicBezTo>
                    <a:cubicBezTo>
                      <a:pt x="48" y="69"/>
                      <a:pt x="61" y="78"/>
                      <a:pt x="75" y="67"/>
                    </a:cubicBezTo>
                    <a:cubicBezTo>
                      <a:pt x="88" y="57"/>
                      <a:pt x="86" y="34"/>
                      <a:pt x="84" y="22"/>
                    </a:cubicBezTo>
                    <a:cubicBezTo>
                      <a:pt x="83" y="22"/>
                      <a:pt x="83" y="22"/>
                      <a:pt x="82" y="22"/>
                    </a:cubicBezTo>
                    <a:cubicBezTo>
                      <a:pt x="79" y="24"/>
                      <a:pt x="76" y="25"/>
                      <a:pt x="72" y="26"/>
                    </a:cubicBezTo>
                    <a:cubicBezTo>
                      <a:pt x="69" y="27"/>
                      <a:pt x="66" y="28"/>
                      <a:pt x="63" y="29"/>
                    </a:cubicBezTo>
                    <a:cubicBezTo>
                      <a:pt x="61" y="29"/>
                      <a:pt x="58" y="30"/>
                      <a:pt x="55" y="32"/>
                    </a:cubicBezTo>
                    <a:cubicBezTo>
                      <a:pt x="50" y="35"/>
                      <a:pt x="45" y="38"/>
                      <a:pt x="41" y="43"/>
                    </a:cubicBezTo>
                    <a:cubicBezTo>
                      <a:pt x="36" y="47"/>
                      <a:pt x="32" y="52"/>
                      <a:pt x="28" y="57"/>
                    </a:cubicBezTo>
                    <a:cubicBezTo>
                      <a:pt x="31" y="51"/>
                      <a:pt x="34" y="46"/>
                      <a:pt x="38" y="40"/>
                    </a:cubicBezTo>
                    <a:cubicBezTo>
                      <a:pt x="42" y="35"/>
                      <a:pt x="46" y="30"/>
                      <a:pt x="51" y="26"/>
                    </a:cubicBezTo>
                    <a:cubicBezTo>
                      <a:pt x="54" y="24"/>
                      <a:pt x="57" y="22"/>
                      <a:pt x="60" y="20"/>
                    </a:cubicBezTo>
                    <a:cubicBezTo>
                      <a:pt x="63" y="19"/>
                      <a:pt x="66" y="17"/>
                      <a:pt x="68" y="16"/>
                    </a:cubicBezTo>
                    <a:cubicBezTo>
                      <a:pt x="71" y="15"/>
                      <a:pt x="74" y="13"/>
                      <a:pt x="76" y="12"/>
                    </a:cubicBezTo>
                    <a:cubicBezTo>
                      <a:pt x="64" y="7"/>
                      <a:pt x="37" y="0"/>
                      <a:pt x="22" y="14"/>
                    </a:cubicBezTo>
                    <a:cubicBezTo>
                      <a:pt x="0" y="36"/>
                      <a:pt x="7" y="89"/>
                      <a:pt x="7" y="89"/>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9" name="Freeform 41">
                <a:extLst>
                  <a:ext uri="{FF2B5EF4-FFF2-40B4-BE49-F238E27FC236}">
                    <a16:creationId xmlns:a16="http://schemas.microsoft.com/office/drawing/2014/main" id="{5EB85C90-1368-4917-B312-9E674CF3C1D7}"/>
                  </a:ext>
                </a:extLst>
              </p:cNvPr>
              <p:cNvSpPr>
                <a:spLocks/>
              </p:cNvSpPr>
              <p:nvPr/>
            </p:nvSpPr>
            <p:spPr bwMode="auto">
              <a:xfrm>
                <a:off x="5023983" y="2126921"/>
                <a:ext cx="343221" cy="351983"/>
              </a:xfrm>
              <a:custGeom>
                <a:avLst/>
                <a:gdLst>
                  <a:gd name="T0" fmla="*/ 80 w 88"/>
                  <a:gd name="T1" fmla="*/ 0 h 90"/>
                  <a:gd name="T2" fmla="*/ 59 w 88"/>
                  <a:gd name="T3" fmla="*/ 16 h 90"/>
                  <a:gd name="T4" fmla="*/ 13 w 88"/>
                  <a:gd name="T5" fmla="*/ 23 h 90"/>
                  <a:gd name="T6" fmla="*/ 4 w 88"/>
                  <a:gd name="T7" fmla="*/ 69 h 90"/>
                  <a:gd name="T8" fmla="*/ 6 w 88"/>
                  <a:gd name="T9" fmla="*/ 68 h 90"/>
                  <a:gd name="T10" fmla="*/ 16 w 88"/>
                  <a:gd name="T11" fmla="*/ 64 h 90"/>
                  <a:gd name="T12" fmla="*/ 25 w 88"/>
                  <a:gd name="T13" fmla="*/ 62 h 90"/>
                  <a:gd name="T14" fmla="*/ 33 w 88"/>
                  <a:gd name="T15" fmla="*/ 58 h 90"/>
                  <a:gd name="T16" fmla="*/ 47 w 88"/>
                  <a:gd name="T17" fmla="*/ 47 h 90"/>
                  <a:gd name="T18" fmla="*/ 59 w 88"/>
                  <a:gd name="T19" fmla="*/ 33 h 90"/>
                  <a:gd name="T20" fmla="*/ 50 w 88"/>
                  <a:gd name="T21" fmla="*/ 50 h 90"/>
                  <a:gd name="T22" fmla="*/ 37 w 88"/>
                  <a:gd name="T23" fmla="*/ 64 h 90"/>
                  <a:gd name="T24" fmla="*/ 28 w 88"/>
                  <a:gd name="T25" fmla="*/ 70 h 90"/>
                  <a:gd name="T26" fmla="*/ 20 w 88"/>
                  <a:gd name="T27" fmla="*/ 74 h 90"/>
                  <a:gd name="T28" fmla="*/ 13 w 88"/>
                  <a:gd name="T29" fmla="*/ 79 h 90"/>
                  <a:gd name="T30" fmla="*/ 66 w 88"/>
                  <a:gd name="T31" fmla="*/ 75 h 90"/>
                  <a:gd name="T32" fmla="*/ 80 w 88"/>
                  <a:gd name="T33" fmla="*/ 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8" h="90">
                    <a:moveTo>
                      <a:pt x="80" y="0"/>
                    </a:moveTo>
                    <a:cubicBezTo>
                      <a:pt x="80" y="0"/>
                      <a:pt x="75" y="11"/>
                      <a:pt x="59" y="16"/>
                    </a:cubicBezTo>
                    <a:cubicBezTo>
                      <a:pt x="39" y="21"/>
                      <a:pt x="26" y="12"/>
                      <a:pt x="13" y="23"/>
                    </a:cubicBezTo>
                    <a:cubicBezTo>
                      <a:pt x="0" y="34"/>
                      <a:pt x="2" y="57"/>
                      <a:pt x="4" y="69"/>
                    </a:cubicBezTo>
                    <a:cubicBezTo>
                      <a:pt x="5" y="69"/>
                      <a:pt x="5" y="68"/>
                      <a:pt x="6" y="68"/>
                    </a:cubicBezTo>
                    <a:cubicBezTo>
                      <a:pt x="9" y="66"/>
                      <a:pt x="12" y="65"/>
                      <a:pt x="16" y="64"/>
                    </a:cubicBezTo>
                    <a:cubicBezTo>
                      <a:pt x="19" y="63"/>
                      <a:pt x="22" y="63"/>
                      <a:pt x="25" y="62"/>
                    </a:cubicBezTo>
                    <a:cubicBezTo>
                      <a:pt x="27" y="61"/>
                      <a:pt x="30" y="60"/>
                      <a:pt x="33" y="58"/>
                    </a:cubicBezTo>
                    <a:cubicBezTo>
                      <a:pt x="38" y="56"/>
                      <a:pt x="43" y="52"/>
                      <a:pt x="47" y="47"/>
                    </a:cubicBezTo>
                    <a:cubicBezTo>
                      <a:pt x="51" y="43"/>
                      <a:pt x="55" y="38"/>
                      <a:pt x="59" y="33"/>
                    </a:cubicBezTo>
                    <a:cubicBezTo>
                      <a:pt x="56" y="39"/>
                      <a:pt x="53" y="44"/>
                      <a:pt x="50" y="50"/>
                    </a:cubicBezTo>
                    <a:cubicBezTo>
                      <a:pt x="46" y="55"/>
                      <a:pt x="42" y="60"/>
                      <a:pt x="37" y="64"/>
                    </a:cubicBezTo>
                    <a:cubicBezTo>
                      <a:pt x="34" y="67"/>
                      <a:pt x="31" y="68"/>
                      <a:pt x="28" y="70"/>
                    </a:cubicBezTo>
                    <a:cubicBezTo>
                      <a:pt x="25" y="72"/>
                      <a:pt x="22" y="73"/>
                      <a:pt x="20" y="74"/>
                    </a:cubicBezTo>
                    <a:cubicBezTo>
                      <a:pt x="17" y="76"/>
                      <a:pt x="15" y="77"/>
                      <a:pt x="13" y="79"/>
                    </a:cubicBezTo>
                    <a:cubicBezTo>
                      <a:pt x="25" y="83"/>
                      <a:pt x="52" y="90"/>
                      <a:pt x="66" y="75"/>
                    </a:cubicBezTo>
                    <a:cubicBezTo>
                      <a:pt x="88" y="53"/>
                      <a:pt x="80" y="0"/>
                      <a:pt x="80" y="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40" name="Freeform 42">
                <a:extLst>
                  <a:ext uri="{FF2B5EF4-FFF2-40B4-BE49-F238E27FC236}">
                    <a16:creationId xmlns:a16="http://schemas.microsoft.com/office/drawing/2014/main" id="{899B5A2D-0280-4093-B0AB-D0A2D2B5236A}"/>
                  </a:ext>
                </a:extLst>
              </p:cNvPr>
              <p:cNvSpPr>
                <a:spLocks/>
              </p:cNvSpPr>
              <p:nvPr/>
            </p:nvSpPr>
            <p:spPr bwMode="auto">
              <a:xfrm>
                <a:off x="7352042" y="3455989"/>
                <a:ext cx="389958" cy="343220"/>
              </a:xfrm>
              <a:custGeom>
                <a:avLst/>
                <a:gdLst>
                  <a:gd name="T0" fmla="*/ 0 w 100"/>
                  <a:gd name="T1" fmla="*/ 29 h 88"/>
                  <a:gd name="T2" fmla="*/ 23 w 100"/>
                  <a:gd name="T3" fmla="*/ 42 h 88"/>
                  <a:gd name="T4" fmla="*/ 49 w 100"/>
                  <a:gd name="T5" fmla="*/ 81 h 88"/>
                  <a:gd name="T6" fmla="*/ 94 w 100"/>
                  <a:gd name="T7" fmla="*/ 69 h 88"/>
                  <a:gd name="T8" fmla="*/ 93 w 100"/>
                  <a:gd name="T9" fmla="*/ 68 h 88"/>
                  <a:gd name="T10" fmla="*/ 85 w 100"/>
                  <a:gd name="T11" fmla="*/ 61 h 88"/>
                  <a:gd name="T12" fmla="*/ 79 w 100"/>
                  <a:gd name="T13" fmla="*/ 54 h 88"/>
                  <a:gd name="T14" fmla="*/ 73 w 100"/>
                  <a:gd name="T15" fmla="*/ 48 h 88"/>
                  <a:gd name="T16" fmla="*/ 57 w 100"/>
                  <a:gd name="T17" fmla="*/ 40 h 88"/>
                  <a:gd name="T18" fmla="*/ 38 w 100"/>
                  <a:gd name="T19" fmla="*/ 35 h 88"/>
                  <a:gd name="T20" fmla="*/ 58 w 100"/>
                  <a:gd name="T21" fmla="*/ 36 h 88"/>
                  <a:gd name="T22" fmla="*/ 76 w 100"/>
                  <a:gd name="T23" fmla="*/ 42 h 88"/>
                  <a:gd name="T24" fmla="*/ 85 w 100"/>
                  <a:gd name="T25" fmla="*/ 47 h 88"/>
                  <a:gd name="T26" fmla="*/ 93 w 100"/>
                  <a:gd name="T27" fmla="*/ 53 h 88"/>
                  <a:gd name="T28" fmla="*/ 100 w 100"/>
                  <a:gd name="T29" fmla="*/ 58 h 88"/>
                  <a:gd name="T30" fmla="*/ 74 w 100"/>
                  <a:gd name="T31" fmla="*/ 11 h 88"/>
                  <a:gd name="T32" fmla="*/ 0 w 100"/>
                  <a:gd name="T33" fmla="*/ 29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0" h="88">
                    <a:moveTo>
                      <a:pt x="0" y="29"/>
                    </a:moveTo>
                    <a:cubicBezTo>
                      <a:pt x="0" y="29"/>
                      <a:pt x="12" y="29"/>
                      <a:pt x="23" y="42"/>
                    </a:cubicBezTo>
                    <a:cubicBezTo>
                      <a:pt x="36" y="58"/>
                      <a:pt x="33" y="74"/>
                      <a:pt x="49" y="81"/>
                    </a:cubicBezTo>
                    <a:cubicBezTo>
                      <a:pt x="64" y="88"/>
                      <a:pt x="84" y="76"/>
                      <a:pt x="94" y="69"/>
                    </a:cubicBezTo>
                    <a:cubicBezTo>
                      <a:pt x="93" y="69"/>
                      <a:pt x="93" y="69"/>
                      <a:pt x="93" y="68"/>
                    </a:cubicBezTo>
                    <a:cubicBezTo>
                      <a:pt x="90" y="66"/>
                      <a:pt x="87" y="64"/>
                      <a:pt x="85" y="61"/>
                    </a:cubicBezTo>
                    <a:cubicBezTo>
                      <a:pt x="83" y="59"/>
                      <a:pt x="81" y="56"/>
                      <a:pt x="79" y="54"/>
                    </a:cubicBezTo>
                    <a:cubicBezTo>
                      <a:pt x="77" y="52"/>
                      <a:pt x="75" y="50"/>
                      <a:pt x="73" y="48"/>
                    </a:cubicBezTo>
                    <a:cubicBezTo>
                      <a:pt x="68" y="44"/>
                      <a:pt x="62" y="42"/>
                      <a:pt x="57" y="40"/>
                    </a:cubicBezTo>
                    <a:cubicBezTo>
                      <a:pt x="51" y="37"/>
                      <a:pt x="45" y="36"/>
                      <a:pt x="38" y="35"/>
                    </a:cubicBezTo>
                    <a:cubicBezTo>
                      <a:pt x="45" y="35"/>
                      <a:pt x="51" y="35"/>
                      <a:pt x="58" y="36"/>
                    </a:cubicBezTo>
                    <a:cubicBezTo>
                      <a:pt x="64" y="37"/>
                      <a:pt x="70" y="39"/>
                      <a:pt x="76" y="42"/>
                    </a:cubicBezTo>
                    <a:cubicBezTo>
                      <a:pt x="79" y="43"/>
                      <a:pt x="82" y="45"/>
                      <a:pt x="85" y="47"/>
                    </a:cubicBezTo>
                    <a:cubicBezTo>
                      <a:pt x="88" y="49"/>
                      <a:pt x="90" y="51"/>
                      <a:pt x="93" y="53"/>
                    </a:cubicBezTo>
                    <a:cubicBezTo>
                      <a:pt x="95" y="55"/>
                      <a:pt x="97" y="57"/>
                      <a:pt x="100" y="58"/>
                    </a:cubicBezTo>
                    <a:cubicBezTo>
                      <a:pt x="98" y="45"/>
                      <a:pt x="93" y="18"/>
                      <a:pt x="74" y="11"/>
                    </a:cubicBezTo>
                    <a:cubicBezTo>
                      <a:pt x="45" y="0"/>
                      <a:pt x="0" y="29"/>
                      <a:pt x="0" y="29"/>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41" name="Freeform 43">
                <a:extLst>
                  <a:ext uri="{FF2B5EF4-FFF2-40B4-BE49-F238E27FC236}">
                    <a16:creationId xmlns:a16="http://schemas.microsoft.com/office/drawing/2014/main" id="{7F331B9A-A7B5-4CFB-BE4B-4E0ABB6951A7}"/>
                  </a:ext>
                </a:extLst>
              </p:cNvPr>
              <p:cNvSpPr>
                <a:spLocks/>
              </p:cNvSpPr>
              <p:nvPr/>
            </p:nvSpPr>
            <p:spPr bwMode="auto">
              <a:xfrm>
                <a:off x="7546290" y="2591365"/>
                <a:ext cx="297945" cy="403102"/>
              </a:xfrm>
              <a:custGeom>
                <a:avLst/>
                <a:gdLst>
                  <a:gd name="T0" fmla="*/ 31 w 76"/>
                  <a:gd name="T1" fmla="*/ 0 h 103"/>
                  <a:gd name="T2" fmla="*/ 27 w 76"/>
                  <a:gd name="T3" fmla="*/ 26 h 103"/>
                  <a:gd name="T4" fmla="*/ 1 w 76"/>
                  <a:gd name="T5" fmla="*/ 64 h 103"/>
                  <a:gd name="T6" fmla="*/ 28 w 76"/>
                  <a:gd name="T7" fmla="*/ 102 h 103"/>
                  <a:gd name="T8" fmla="*/ 28 w 76"/>
                  <a:gd name="T9" fmla="*/ 100 h 103"/>
                  <a:gd name="T10" fmla="*/ 32 w 76"/>
                  <a:gd name="T11" fmla="*/ 91 h 103"/>
                  <a:gd name="T12" fmla="*/ 37 w 76"/>
                  <a:gd name="T13" fmla="*/ 82 h 103"/>
                  <a:gd name="T14" fmla="*/ 40 w 76"/>
                  <a:gd name="T15" fmla="*/ 74 h 103"/>
                  <a:gd name="T16" fmla="*/ 42 w 76"/>
                  <a:gd name="T17" fmla="*/ 56 h 103"/>
                  <a:gd name="T18" fmla="*/ 40 w 76"/>
                  <a:gd name="T19" fmla="*/ 37 h 103"/>
                  <a:gd name="T20" fmla="*/ 46 w 76"/>
                  <a:gd name="T21" fmla="*/ 56 h 103"/>
                  <a:gd name="T22" fmla="*/ 47 w 76"/>
                  <a:gd name="T23" fmla="*/ 75 h 103"/>
                  <a:gd name="T24" fmla="*/ 45 w 76"/>
                  <a:gd name="T25" fmla="*/ 85 h 103"/>
                  <a:gd name="T26" fmla="*/ 43 w 76"/>
                  <a:gd name="T27" fmla="*/ 95 h 103"/>
                  <a:gd name="T28" fmla="*/ 41 w 76"/>
                  <a:gd name="T29" fmla="*/ 103 h 103"/>
                  <a:gd name="T30" fmla="*/ 75 w 76"/>
                  <a:gd name="T31" fmla="*/ 62 h 103"/>
                  <a:gd name="T32" fmla="*/ 31 w 76"/>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6" h="103">
                    <a:moveTo>
                      <a:pt x="31" y="0"/>
                    </a:moveTo>
                    <a:cubicBezTo>
                      <a:pt x="31" y="0"/>
                      <a:pt x="36" y="11"/>
                      <a:pt x="27" y="26"/>
                    </a:cubicBezTo>
                    <a:cubicBezTo>
                      <a:pt x="17" y="43"/>
                      <a:pt x="2" y="47"/>
                      <a:pt x="1" y="64"/>
                    </a:cubicBezTo>
                    <a:cubicBezTo>
                      <a:pt x="0" y="81"/>
                      <a:pt x="18" y="95"/>
                      <a:pt x="28" y="102"/>
                    </a:cubicBezTo>
                    <a:cubicBezTo>
                      <a:pt x="28" y="101"/>
                      <a:pt x="28" y="101"/>
                      <a:pt x="28" y="100"/>
                    </a:cubicBezTo>
                    <a:cubicBezTo>
                      <a:pt x="29" y="97"/>
                      <a:pt x="31" y="93"/>
                      <a:pt x="32" y="91"/>
                    </a:cubicBezTo>
                    <a:cubicBezTo>
                      <a:pt x="34" y="88"/>
                      <a:pt x="35" y="85"/>
                      <a:pt x="37" y="82"/>
                    </a:cubicBezTo>
                    <a:cubicBezTo>
                      <a:pt x="38" y="79"/>
                      <a:pt x="39" y="77"/>
                      <a:pt x="40" y="74"/>
                    </a:cubicBezTo>
                    <a:cubicBezTo>
                      <a:pt x="42" y="68"/>
                      <a:pt x="42" y="62"/>
                      <a:pt x="42" y="56"/>
                    </a:cubicBezTo>
                    <a:cubicBezTo>
                      <a:pt x="42" y="50"/>
                      <a:pt x="41" y="44"/>
                      <a:pt x="40" y="37"/>
                    </a:cubicBezTo>
                    <a:cubicBezTo>
                      <a:pt x="42" y="43"/>
                      <a:pt x="44" y="49"/>
                      <a:pt x="46" y="56"/>
                    </a:cubicBezTo>
                    <a:cubicBezTo>
                      <a:pt x="47" y="62"/>
                      <a:pt x="48" y="68"/>
                      <a:pt x="47" y="75"/>
                    </a:cubicBezTo>
                    <a:cubicBezTo>
                      <a:pt x="47" y="79"/>
                      <a:pt x="46" y="82"/>
                      <a:pt x="45" y="85"/>
                    </a:cubicBezTo>
                    <a:cubicBezTo>
                      <a:pt x="44" y="89"/>
                      <a:pt x="43" y="92"/>
                      <a:pt x="43" y="95"/>
                    </a:cubicBezTo>
                    <a:cubicBezTo>
                      <a:pt x="42" y="97"/>
                      <a:pt x="41" y="100"/>
                      <a:pt x="41" y="103"/>
                    </a:cubicBezTo>
                    <a:cubicBezTo>
                      <a:pt x="52" y="97"/>
                      <a:pt x="76" y="82"/>
                      <a:pt x="75" y="62"/>
                    </a:cubicBezTo>
                    <a:cubicBezTo>
                      <a:pt x="74" y="30"/>
                      <a:pt x="31" y="0"/>
                      <a:pt x="31" y="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42" name="Freeform 44">
                <a:extLst>
                  <a:ext uri="{FF2B5EF4-FFF2-40B4-BE49-F238E27FC236}">
                    <a16:creationId xmlns:a16="http://schemas.microsoft.com/office/drawing/2014/main" id="{0EE866EC-05FC-497A-A02E-651F8831DDE9}"/>
                  </a:ext>
                </a:extLst>
              </p:cNvPr>
              <p:cNvSpPr>
                <a:spLocks/>
              </p:cNvSpPr>
              <p:nvPr/>
            </p:nvSpPr>
            <p:spPr bwMode="auto">
              <a:xfrm>
                <a:off x="7289239" y="3022216"/>
                <a:ext cx="389958" cy="343220"/>
              </a:xfrm>
              <a:custGeom>
                <a:avLst/>
                <a:gdLst>
                  <a:gd name="T0" fmla="*/ 0 w 100"/>
                  <a:gd name="T1" fmla="*/ 29 h 88"/>
                  <a:gd name="T2" fmla="*/ 23 w 100"/>
                  <a:gd name="T3" fmla="*/ 43 h 88"/>
                  <a:gd name="T4" fmla="*/ 49 w 100"/>
                  <a:gd name="T5" fmla="*/ 81 h 88"/>
                  <a:gd name="T6" fmla="*/ 94 w 100"/>
                  <a:gd name="T7" fmla="*/ 70 h 88"/>
                  <a:gd name="T8" fmla="*/ 93 w 100"/>
                  <a:gd name="T9" fmla="*/ 69 h 88"/>
                  <a:gd name="T10" fmla="*/ 85 w 100"/>
                  <a:gd name="T11" fmla="*/ 61 h 88"/>
                  <a:gd name="T12" fmla="*/ 79 w 100"/>
                  <a:gd name="T13" fmla="*/ 54 h 88"/>
                  <a:gd name="T14" fmla="*/ 73 w 100"/>
                  <a:gd name="T15" fmla="*/ 48 h 88"/>
                  <a:gd name="T16" fmla="*/ 57 w 100"/>
                  <a:gd name="T17" fmla="*/ 40 h 88"/>
                  <a:gd name="T18" fmla="*/ 38 w 100"/>
                  <a:gd name="T19" fmla="*/ 35 h 88"/>
                  <a:gd name="T20" fmla="*/ 57 w 100"/>
                  <a:gd name="T21" fmla="*/ 36 h 88"/>
                  <a:gd name="T22" fmla="*/ 76 w 100"/>
                  <a:gd name="T23" fmla="*/ 42 h 88"/>
                  <a:gd name="T24" fmla="*/ 85 w 100"/>
                  <a:gd name="T25" fmla="*/ 47 h 88"/>
                  <a:gd name="T26" fmla="*/ 93 w 100"/>
                  <a:gd name="T27" fmla="*/ 53 h 88"/>
                  <a:gd name="T28" fmla="*/ 100 w 100"/>
                  <a:gd name="T29" fmla="*/ 58 h 88"/>
                  <a:gd name="T30" fmla="*/ 74 w 100"/>
                  <a:gd name="T31" fmla="*/ 11 h 88"/>
                  <a:gd name="T32" fmla="*/ 0 w 100"/>
                  <a:gd name="T33" fmla="*/ 29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0" h="88">
                    <a:moveTo>
                      <a:pt x="0" y="29"/>
                    </a:moveTo>
                    <a:cubicBezTo>
                      <a:pt x="0" y="29"/>
                      <a:pt x="12" y="29"/>
                      <a:pt x="23" y="43"/>
                    </a:cubicBezTo>
                    <a:cubicBezTo>
                      <a:pt x="36" y="58"/>
                      <a:pt x="33" y="74"/>
                      <a:pt x="49" y="81"/>
                    </a:cubicBezTo>
                    <a:cubicBezTo>
                      <a:pt x="64" y="88"/>
                      <a:pt x="84" y="77"/>
                      <a:pt x="94" y="70"/>
                    </a:cubicBezTo>
                    <a:cubicBezTo>
                      <a:pt x="93" y="69"/>
                      <a:pt x="93" y="69"/>
                      <a:pt x="93" y="69"/>
                    </a:cubicBezTo>
                    <a:cubicBezTo>
                      <a:pt x="90" y="66"/>
                      <a:pt x="87" y="64"/>
                      <a:pt x="85" y="61"/>
                    </a:cubicBezTo>
                    <a:cubicBezTo>
                      <a:pt x="83" y="59"/>
                      <a:pt x="81" y="57"/>
                      <a:pt x="79" y="54"/>
                    </a:cubicBezTo>
                    <a:cubicBezTo>
                      <a:pt x="77" y="52"/>
                      <a:pt x="75" y="50"/>
                      <a:pt x="73" y="48"/>
                    </a:cubicBezTo>
                    <a:cubicBezTo>
                      <a:pt x="68" y="45"/>
                      <a:pt x="62" y="42"/>
                      <a:pt x="57" y="40"/>
                    </a:cubicBezTo>
                    <a:cubicBezTo>
                      <a:pt x="51" y="38"/>
                      <a:pt x="45" y="36"/>
                      <a:pt x="38" y="35"/>
                    </a:cubicBezTo>
                    <a:cubicBezTo>
                      <a:pt x="45" y="35"/>
                      <a:pt x="51" y="35"/>
                      <a:pt x="57" y="36"/>
                    </a:cubicBezTo>
                    <a:cubicBezTo>
                      <a:pt x="64" y="37"/>
                      <a:pt x="70" y="39"/>
                      <a:pt x="76" y="42"/>
                    </a:cubicBezTo>
                    <a:cubicBezTo>
                      <a:pt x="79" y="44"/>
                      <a:pt x="82" y="45"/>
                      <a:pt x="85" y="47"/>
                    </a:cubicBezTo>
                    <a:cubicBezTo>
                      <a:pt x="88" y="49"/>
                      <a:pt x="90" y="52"/>
                      <a:pt x="93" y="53"/>
                    </a:cubicBezTo>
                    <a:cubicBezTo>
                      <a:pt x="95" y="55"/>
                      <a:pt x="97" y="57"/>
                      <a:pt x="100" y="58"/>
                    </a:cubicBezTo>
                    <a:cubicBezTo>
                      <a:pt x="98" y="45"/>
                      <a:pt x="93" y="18"/>
                      <a:pt x="74" y="11"/>
                    </a:cubicBezTo>
                    <a:cubicBezTo>
                      <a:pt x="45" y="0"/>
                      <a:pt x="0" y="29"/>
                      <a:pt x="0" y="29"/>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43" name="Freeform 45">
                <a:extLst>
                  <a:ext uri="{FF2B5EF4-FFF2-40B4-BE49-F238E27FC236}">
                    <a16:creationId xmlns:a16="http://schemas.microsoft.com/office/drawing/2014/main" id="{F6EE5C44-D9DB-4098-A721-11EA83437D44}"/>
                  </a:ext>
                </a:extLst>
              </p:cNvPr>
              <p:cNvSpPr>
                <a:spLocks/>
              </p:cNvSpPr>
              <p:nvPr/>
            </p:nvSpPr>
            <p:spPr bwMode="auto">
              <a:xfrm>
                <a:off x="6433378" y="4029971"/>
                <a:ext cx="351984" cy="375352"/>
              </a:xfrm>
              <a:custGeom>
                <a:avLst/>
                <a:gdLst>
                  <a:gd name="T0" fmla="*/ 66 w 90"/>
                  <a:gd name="T1" fmla="*/ 0 h 96"/>
                  <a:gd name="T2" fmla="*/ 50 w 90"/>
                  <a:gd name="T3" fmla="*/ 21 h 96"/>
                  <a:gd name="T4" fmla="*/ 9 w 90"/>
                  <a:gd name="T5" fmla="*/ 43 h 96"/>
                  <a:gd name="T6" fmla="*/ 16 w 90"/>
                  <a:gd name="T7" fmla="*/ 89 h 96"/>
                  <a:gd name="T8" fmla="*/ 17 w 90"/>
                  <a:gd name="T9" fmla="*/ 88 h 96"/>
                  <a:gd name="T10" fmla="*/ 25 w 90"/>
                  <a:gd name="T11" fmla="*/ 81 h 96"/>
                  <a:gd name="T12" fmla="*/ 33 w 90"/>
                  <a:gd name="T13" fmla="*/ 76 h 96"/>
                  <a:gd name="T14" fmla="*/ 39 w 90"/>
                  <a:gd name="T15" fmla="*/ 70 h 96"/>
                  <a:gd name="T16" fmla="*/ 49 w 90"/>
                  <a:gd name="T17" fmla="*/ 55 h 96"/>
                  <a:gd name="T18" fmla="*/ 56 w 90"/>
                  <a:gd name="T19" fmla="*/ 37 h 96"/>
                  <a:gd name="T20" fmla="*/ 53 w 90"/>
                  <a:gd name="T21" fmla="*/ 56 h 96"/>
                  <a:gd name="T22" fmla="*/ 45 w 90"/>
                  <a:gd name="T23" fmla="*/ 74 h 96"/>
                  <a:gd name="T24" fmla="*/ 39 w 90"/>
                  <a:gd name="T25" fmla="*/ 83 h 96"/>
                  <a:gd name="T26" fmla="*/ 32 w 90"/>
                  <a:gd name="T27" fmla="*/ 89 h 96"/>
                  <a:gd name="T28" fmla="*/ 27 w 90"/>
                  <a:gd name="T29" fmla="*/ 96 h 96"/>
                  <a:gd name="T30" fmla="*/ 76 w 90"/>
                  <a:gd name="T31" fmla="*/ 76 h 96"/>
                  <a:gd name="T32" fmla="*/ 66 w 90"/>
                  <a:gd name="T33" fmla="*/ 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96">
                    <a:moveTo>
                      <a:pt x="66" y="0"/>
                    </a:moveTo>
                    <a:cubicBezTo>
                      <a:pt x="66" y="0"/>
                      <a:pt x="65" y="12"/>
                      <a:pt x="50" y="21"/>
                    </a:cubicBezTo>
                    <a:cubicBezTo>
                      <a:pt x="34" y="32"/>
                      <a:pt x="18" y="28"/>
                      <a:pt x="9" y="43"/>
                    </a:cubicBezTo>
                    <a:cubicBezTo>
                      <a:pt x="0" y="57"/>
                      <a:pt x="10" y="78"/>
                      <a:pt x="16" y="89"/>
                    </a:cubicBezTo>
                    <a:cubicBezTo>
                      <a:pt x="16" y="89"/>
                      <a:pt x="17" y="88"/>
                      <a:pt x="17" y="88"/>
                    </a:cubicBezTo>
                    <a:cubicBezTo>
                      <a:pt x="20" y="85"/>
                      <a:pt x="22" y="83"/>
                      <a:pt x="25" y="81"/>
                    </a:cubicBezTo>
                    <a:cubicBezTo>
                      <a:pt x="28" y="79"/>
                      <a:pt x="30" y="78"/>
                      <a:pt x="33" y="76"/>
                    </a:cubicBezTo>
                    <a:cubicBezTo>
                      <a:pt x="35" y="74"/>
                      <a:pt x="37" y="72"/>
                      <a:pt x="39" y="70"/>
                    </a:cubicBezTo>
                    <a:cubicBezTo>
                      <a:pt x="43" y="66"/>
                      <a:pt x="47" y="61"/>
                      <a:pt x="49" y="55"/>
                    </a:cubicBezTo>
                    <a:cubicBezTo>
                      <a:pt x="52" y="49"/>
                      <a:pt x="54" y="43"/>
                      <a:pt x="56" y="37"/>
                    </a:cubicBezTo>
                    <a:cubicBezTo>
                      <a:pt x="56" y="44"/>
                      <a:pt x="55" y="50"/>
                      <a:pt x="53" y="56"/>
                    </a:cubicBezTo>
                    <a:cubicBezTo>
                      <a:pt x="51" y="63"/>
                      <a:pt x="49" y="69"/>
                      <a:pt x="45" y="74"/>
                    </a:cubicBezTo>
                    <a:cubicBezTo>
                      <a:pt x="43" y="77"/>
                      <a:pt x="41" y="80"/>
                      <a:pt x="39" y="83"/>
                    </a:cubicBezTo>
                    <a:cubicBezTo>
                      <a:pt x="37" y="85"/>
                      <a:pt x="34" y="87"/>
                      <a:pt x="32" y="89"/>
                    </a:cubicBezTo>
                    <a:cubicBezTo>
                      <a:pt x="30" y="92"/>
                      <a:pt x="28" y="94"/>
                      <a:pt x="27" y="96"/>
                    </a:cubicBezTo>
                    <a:cubicBezTo>
                      <a:pt x="40" y="96"/>
                      <a:pt x="67" y="94"/>
                      <a:pt x="76" y="76"/>
                    </a:cubicBezTo>
                    <a:cubicBezTo>
                      <a:pt x="90" y="47"/>
                      <a:pt x="66" y="0"/>
                      <a:pt x="66" y="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44" name="Freeform 46">
                <a:extLst>
                  <a:ext uri="{FF2B5EF4-FFF2-40B4-BE49-F238E27FC236}">
                    <a16:creationId xmlns:a16="http://schemas.microsoft.com/office/drawing/2014/main" id="{9FDA99CB-7206-4ACD-A917-262202F4A575}"/>
                  </a:ext>
                </a:extLst>
              </p:cNvPr>
              <p:cNvSpPr>
                <a:spLocks/>
              </p:cNvSpPr>
              <p:nvPr/>
            </p:nvSpPr>
            <p:spPr bwMode="auto">
              <a:xfrm>
                <a:off x="7746381" y="3155123"/>
                <a:ext cx="350523" cy="375352"/>
              </a:xfrm>
              <a:custGeom>
                <a:avLst/>
                <a:gdLst>
                  <a:gd name="T0" fmla="*/ 66 w 90"/>
                  <a:gd name="T1" fmla="*/ 0 h 96"/>
                  <a:gd name="T2" fmla="*/ 50 w 90"/>
                  <a:gd name="T3" fmla="*/ 22 h 96"/>
                  <a:gd name="T4" fmla="*/ 9 w 90"/>
                  <a:gd name="T5" fmla="*/ 43 h 96"/>
                  <a:gd name="T6" fmla="*/ 16 w 90"/>
                  <a:gd name="T7" fmla="*/ 89 h 96"/>
                  <a:gd name="T8" fmla="*/ 17 w 90"/>
                  <a:gd name="T9" fmla="*/ 88 h 96"/>
                  <a:gd name="T10" fmla="*/ 25 w 90"/>
                  <a:gd name="T11" fmla="*/ 81 h 96"/>
                  <a:gd name="T12" fmla="*/ 32 w 90"/>
                  <a:gd name="T13" fmla="*/ 76 h 96"/>
                  <a:gd name="T14" fmla="*/ 39 w 90"/>
                  <a:gd name="T15" fmla="*/ 70 h 96"/>
                  <a:gd name="T16" fmla="*/ 49 w 90"/>
                  <a:gd name="T17" fmla="*/ 55 h 96"/>
                  <a:gd name="T18" fmla="*/ 56 w 90"/>
                  <a:gd name="T19" fmla="*/ 38 h 96"/>
                  <a:gd name="T20" fmla="*/ 53 w 90"/>
                  <a:gd name="T21" fmla="*/ 57 h 96"/>
                  <a:gd name="T22" fmla="*/ 45 w 90"/>
                  <a:gd name="T23" fmla="*/ 75 h 96"/>
                  <a:gd name="T24" fmla="*/ 39 w 90"/>
                  <a:gd name="T25" fmla="*/ 83 h 96"/>
                  <a:gd name="T26" fmla="*/ 32 w 90"/>
                  <a:gd name="T27" fmla="*/ 90 h 96"/>
                  <a:gd name="T28" fmla="*/ 26 w 90"/>
                  <a:gd name="T29" fmla="*/ 96 h 96"/>
                  <a:gd name="T30" fmla="*/ 76 w 90"/>
                  <a:gd name="T31" fmla="*/ 76 h 96"/>
                  <a:gd name="T32" fmla="*/ 66 w 90"/>
                  <a:gd name="T33" fmla="*/ 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96">
                    <a:moveTo>
                      <a:pt x="66" y="0"/>
                    </a:moveTo>
                    <a:cubicBezTo>
                      <a:pt x="66" y="0"/>
                      <a:pt x="65" y="12"/>
                      <a:pt x="50" y="22"/>
                    </a:cubicBezTo>
                    <a:cubicBezTo>
                      <a:pt x="34" y="33"/>
                      <a:pt x="18" y="29"/>
                      <a:pt x="9" y="43"/>
                    </a:cubicBezTo>
                    <a:cubicBezTo>
                      <a:pt x="0" y="57"/>
                      <a:pt x="10" y="78"/>
                      <a:pt x="16" y="89"/>
                    </a:cubicBezTo>
                    <a:cubicBezTo>
                      <a:pt x="16" y="89"/>
                      <a:pt x="16" y="88"/>
                      <a:pt x="17" y="88"/>
                    </a:cubicBezTo>
                    <a:cubicBezTo>
                      <a:pt x="19" y="85"/>
                      <a:pt x="22" y="83"/>
                      <a:pt x="25" y="81"/>
                    </a:cubicBezTo>
                    <a:cubicBezTo>
                      <a:pt x="27" y="80"/>
                      <a:pt x="30" y="78"/>
                      <a:pt x="32" y="76"/>
                    </a:cubicBezTo>
                    <a:cubicBezTo>
                      <a:pt x="35" y="74"/>
                      <a:pt x="37" y="73"/>
                      <a:pt x="39" y="70"/>
                    </a:cubicBezTo>
                    <a:cubicBezTo>
                      <a:pt x="43" y="66"/>
                      <a:pt x="47" y="61"/>
                      <a:pt x="49" y="55"/>
                    </a:cubicBezTo>
                    <a:cubicBezTo>
                      <a:pt x="52" y="50"/>
                      <a:pt x="54" y="44"/>
                      <a:pt x="56" y="38"/>
                    </a:cubicBezTo>
                    <a:cubicBezTo>
                      <a:pt x="56" y="44"/>
                      <a:pt x="55" y="51"/>
                      <a:pt x="53" y="57"/>
                    </a:cubicBezTo>
                    <a:cubicBezTo>
                      <a:pt x="51" y="63"/>
                      <a:pt x="49" y="69"/>
                      <a:pt x="45" y="75"/>
                    </a:cubicBezTo>
                    <a:cubicBezTo>
                      <a:pt x="43" y="78"/>
                      <a:pt x="41" y="80"/>
                      <a:pt x="39" y="83"/>
                    </a:cubicBezTo>
                    <a:cubicBezTo>
                      <a:pt x="36" y="85"/>
                      <a:pt x="34" y="88"/>
                      <a:pt x="32" y="90"/>
                    </a:cubicBezTo>
                    <a:cubicBezTo>
                      <a:pt x="30" y="92"/>
                      <a:pt x="28" y="94"/>
                      <a:pt x="26" y="96"/>
                    </a:cubicBezTo>
                    <a:cubicBezTo>
                      <a:pt x="39" y="96"/>
                      <a:pt x="67" y="94"/>
                      <a:pt x="76" y="76"/>
                    </a:cubicBezTo>
                    <a:cubicBezTo>
                      <a:pt x="90" y="48"/>
                      <a:pt x="66" y="0"/>
                      <a:pt x="66" y="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45" name="Freeform 47">
                <a:extLst>
                  <a:ext uri="{FF2B5EF4-FFF2-40B4-BE49-F238E27FC236}">
                    <a16:creationId xmlns:a16="http://schemas.microsoft.com/office/drawing/2014/main" id="{F554ABBF-56B7-418B-B99D-E32D2B56AF9E}"/>
                  </a:ext>
                </a:extLst>
              </p:cNvPr>
              <p:cNvSpPr>
                <a:spLocks/>
              </p:cNvSpPr>
              <p:nvPr/>
            </p:nvSpPr>
            <p:spPr bwMode="auto">
              <a:xfrm>
                <a:off x="7042413" y="2556312"/>
                <a:ext cx="382655" cy="347602"/>
              </a:xfrm>
              <a:custGeom>
                <a:avLst/>
                <a:gdLst>
                  <a:gd name="T0" fmla="*/ 98 w 98"/>
                  <a:gd name="T1" fmla="*/ 62 h 89"/>
                  <a:gd name="T2" fmla="*/ 76 w 98"/>
                  <a:gd name="T3" fmla="*/ 47 h 89"/>
                  <a:gd name="T4" fmla="*/ 52 w 98"/>
                  <a:gd name="T5" fmla="*/ 8 h 89"/>
                  <a:gd name="T6" fmla="*/ 6 w 98"/>
                  <a:gd name="T7" fmla="*/ 17 h 89"/>
                  <a:gd name="T8" fmla="*/ 8 w 98"/>
                  <a:gd name="T9" fmla="*/ 18 h 89"/>
                  <a:gd name="T10" fmla="*/ 15 w 98"/>
                  <a:gd name="T11" fmla="*/ 26 h 89"/>
                  <a:gd name="T12" fmla="*/ 21 w 98"/>
                  <a:gd name="T13" fmla="*/ 33 h 89"/>
                  <a:gd name="T14" fmla="*/ 27 w 98"/>
                  <a:gd name="T15" fmla="*/ 39 h 89"/>
                  <a:gd name="T16" fmla="*/ 42 w 98"/>
                  <a:gd name="T17" fmla="*/ 49 h 89"/>
                  <a:gd name="T18" fmla="*/ 60 w 98"/>
                  <a:gd name="T19" fmla="*/ 54 h 89"/>
                  <a:gd name="T20" fmla="*/ 41 w 98"/>
                  <a:gd name="T21" fmla="*/ 52 h 89"/>
                  <a:gd name="T22" fmla="*/ 23 w 98"/>
                  <a:gd name="T23" fmla="*/ 46 h 89"/>
                  <a:gd name="T24" fmla="*/ 14 w 98"/>
                  <a:gd name="T25" fmla="*/ 40 h 89"/>
                  <a:gd name="T26" fmla="*/ 7 w 98"/>
                  <a:gd name="T27" fmla="*/ 34 h 89"/>
                  <a:gd name="T28" fmla="*/ 0 w 98"/>
                  <a:gd name="T29" fmla="*/ 29 h 89"/>
                  <a:gd name="T30" fmla="*/ 24 w 98"/>
                  <a:gd name="T31" fmla="*/ 77 h 89"/>
                  <a:gd name="T32" fmla="*/ 98 w 98"/>
                  <a:gd name="T33" fmla="*/ 62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8" h="89">
                    <a:moveTo>
                      <a:pt x="98" y="62"/>
                    </a:moveTo>
                    <a:cubicBezTo>
                      <a:pt x="98" y="62"/>
                      <a:pt x="86" y="61"/>
                      <a:pt x="76" y="47"/>
                    </a:cubicBezTo>
                    <a:cubicBezTo>
                      <a:pt x="64" y="31"/>
                      <a:pt x="67" y="16"/>
                      <a:pt x="52" y="8"/>
                    </a:cubicBezTo>
                    <a:cubicBezTo>
                      <a:pt x="37" y="0"/>
                      <a:pt x="17" y="11"/>
                      <a:pt x="6" y="17"/>
                    </a:cubicBezTo>
                    <a:cubicBezTo>
                      <a:pt x="7" y="18"/>
                      <a:pt x="7" y="18"/>
                      <a:pt x="8" y="18"/>
                    </a:cubicBezTo>
                    <a:cubicBezTo>
                      <a:pt x="10" y="21"/>
                      <a:pt x="13" y="23"/>
                      <a:pt x="15" y="26"/>
                    </a:cubicBezTo>
                    <a:cubicBezTo>
                      <a:pt x="17" y="28"/>
                      <a:pt x="19" y="31"/>
                      <a:pt x="21" y="33"/>
                    </a:cubicBezTo>
                    <a:cubicBezTo>
                      <a:pt x="23" y="36"/>
                      <a:pt x="24" y="38"/>
                      <a:pt x="27" y="39"/>
                    </a:cubicBezTo>
                    <a:cubicBezTo>
                      <a:pt x="31" y="43"/>
                      <a:pt x="37" y="46"/>
                      <a:pt x="42" y="49"/>
                    </a:cubicBezTo>
                    <a:cubicBezTo>
                      <a:pt x="48" y="51"/>
                      <a:pt x="54" y="53"/>
                      <a:pt x="60" y="54"/>
                    </a:cubicBezTo>
                    <a:cubicBezTo>
                      <a:pt x="54" y="54"/>
                      <a:pt x="48" y="53"/>
                      <a:pt x="41" y="52"/>
                    </a:cubicBezTo>
                    <a:cubicBezTo>
                      <a:pt x="35" y="51"/>
                      <a:pt x="29" y="49"/>
                      <a:pt x="23" y="46"/>
                    </a:cubicBezTo>
                    <a:cubicBezTo>
                      <a:pt x="20" y="44"/>
                      <a:pt x="17" y="42"/>
                      <a:pt x="14" y="40"/>
                    </a:cubicBezTo>
                    <a:cubicBezTo>
                      <a:pt x="12" y="38"/>
                      <a:pt x="9" y="35"/>
                      <a:pt x="7" y="34"/>
                    </a:cubicBezTo>
                    <a:cubicBezTo>
                      <a:pt x="5" y="32"/>
                      <a:pt x="2" y="30"/>
                      <a:pt x="0" y="29"/>
                    </a:cubicBezTo>
                    <a:cubicBezTo>
                      <a:pt x="1" y="41"/>
                      <a:pt x="5" y="69"/>
                      <a:pt x="24" y="77"/>
                    </a:cubicBezTo>
                    <a:cubicBezTo>
                      <a:pt x="53" y="89"/>
                      <a:pt x="98" y="62"/>
                      <a:pt x="98" y="62"/>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46" name="Freeform 48">
                <a:extLst>
                  <a:ext uri="{FF2B5EF4-FFF2-40B4-BE49-F238E27FC236}">
                    <a16:creationId xmlns:a16="http://schemas.microsoft.com/office/drawing/2014/main" id="{103F8FA3-502A-486D-8AC0-A7927E714D29}"/>
                  </a:ext>
                </a:extLst>
              </p:cNvPr>
              <p:cNvSpPr>
                <a:spLocks/>
              </p:cNvSpPr>
              <p:nvPr/>
            </p:nvSpPr>
            <p:spPr bwMode="auto">
              <a:xfrm>
                <a:off x="4095096" y="3596199"/>
                <a:ext cx="347602" cy="316931"/>
              </a:xfrm>
              <a:custGeom>
                <a:avLst/>
                <a:gdLst>
                  <a:gd name="T0" fmla="*/ 89 w 89"/>
                  <a:gd name="T1" fmla="*/ 1 h 81"/>
                  <a:gd name="T2" fmla="*/ 64 w 89"/>
                  <a:gd name="T3" fmla="*/ 11 h 81"/>
                  <a:gd name="T4" fmla="*/ 18 w 89"/>
                  <a:gd name="T5" fmla="*/ 8 h 81"/>
                  <a:gd name="T6" fmla="*/ 0 w 89"/>
                  <a:gd name="T7" fmla="*/ 50 h 81"/>
                  <a:gd name="T8" fmla="*/ 1 w 89"/>
                  <a:gd name="T9" fmla="*/ 50 h 81"/>
                  <a:gd name="T10" fmla="*/ 12 w 89"/>
                  <a:gd name="T11" fmla="*/ 49 h 81"/>
                  <a:gd name="T12" fmla="*/ 21 w 89"/>
                  <a:gd name="T13" fmla="*/ 48 h 81"/>
                  <a:gd name="T14" fmla="*/ 30 w 89"/>
                  <a:gd name="T15" fmla="*/ 46 h 81"/>
                  <a:gd name="T16" fmla="*/ 46 w 89"/>
                  <a:gd name="T17" fmla="*/ 39 h 81"/>
                  <a:gd name="T18" fmla="*/ 61 w 89"/>
                  <a:gd name="T19" fmla="*/ 28 h 81"/>
                  <a:gd name="T20" fmla="*/ 48 w 89"/>
                  <a:gd name="T21" fmla="*/ 42 h 81"/>
                  <a:gd name="T22" fmla="*/ 32 w 89"/>
                  <a:gd name="T23" fmla="*/ 53 h 81"/>
                  <a:gd name="T24" fmla="*/ 23 w 89"/>
                  <a:gd name="T25" fmla="*/ 57 h 81"/>
                  <a:gd name="T26" fmla="*/ 14 w 89"/>
                  <a:gd name="T27" fmla="*/ 59 h 81"/>
                  <a:gd name="T28" fmla="*/ 6 w 89"/>
                  <a:gd name="T29" fmla="*/ 62 h 81"/>
                  <a:gd name="T30" fmla="*/ 58 w 89"/>
                  <a:gd name="T31" fmla="*/ 71 h 81"/>
                  <a:gd name="T32" fmla="*/ 89 w 89"/>
                  <a:gd name="T33" fmla="*/ 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9" h="81">
                    <a:moveTo>
                      <a:pt x="89" y="1"/>
                    </a:moveTo>
                    <a:cubicBezTo>
                      <a:pt x="89" y="1"/>
                      <a:pt x="82" y="10"/>
                      <a:pt x="64" y="11"/>
                    </a:cubicBezTo>
                    <a:cubicBezTo>
                      <a:pt x="44" y="11"/>
                      <a:pt x="33" y="0"/>
                      <a:pt x="18" y="8"/>
                    </a:cubicBezTo>
                    <a:cubicBezTo>
                      <a:pt x="3" y="15"/>
                      <a:pt x="0" y="38"/>
                      <a:pt x="0" y="50"/>
                    </a:cubicBezTo>
                    <a:cubicBezTo>
                      <a:pt x="0" y="50"/>
                      <a:pt x="1" y="50"/>
                      <a:pt x="1" y="50"/>
                    </a:cubicBezTo>
                    <a:cubicBezTo>
                      <a:pt x="5" y="49"/>
                      <a:pt x="8" y="49"/>
                      <a:pt x="12" y="49"/>
                    </a:cubicBezTo>
                    <a:cubicBezTo>
                      <a:pt x="15" y="48"/>
                      <a:pt x="18" y="48"/>
                      <a:pt x="21" y="48"/>
                    </a:cubicBezTo>
                    <a:cubicBezTo>
                      <a:pt x="24" y="48"/>
                      <a:pt x="27" y="47"/>
                      <a:pt x="30" y="46"/>
                    </a:cubicBezTo>
                    <a:cubicBezTo>
                      <a:pt x="35" y="45"/>
                      <a:pt x="41" y="42"/>
                      <a:pt x="46" y="39"/>
                    </a:cubicBezTo>
                    <a:cubicBezTo>
                      <a:pt x="51" y="36"/>
                      <a:pt x="56" y="32"/>
                      <a:pt x="61" y="28"/>
                    </a:cubicBezTo>
                    <a:cubicBezTo>
                      <a:pt x="57" y="33"/>
                      <a:pt x="53" y="37"/>
                      <a:pt x="48" y="42"/>
                    </a:cubicBezTo>
                    <a:cubicBezTo>
                      <a:pt x="44" y="46"/>
                      <a:pt x="39" y="50"/>
                      <a:pt x="32" y="53"/>
                    </a:cubicBezTo>
                    <a:cubicBezTo>
                      <a:pt x="29" y="55"/>
                      <a:pt x="26" y="56"/>
                      <a:pt x="23" y="57"/>
                    </a:cubicBezTo>
                    <a:cubicBezTo>
                      <a:pt x="20" y="58"/>
                      <a:pt x="16" y="59"/>
                      <a:pt x="14" y="59"/>
                    </a:cubicBezTo>
                    <a:cubicBezTo>
                      <a:pt x="11" y="60"/>
                      <a:pt x="8" y="61"/>
                      <a:pt x="6" y="62"/>
                    </a:cubicBezTo>
                    <a:cubicBezTo>
                      <a:pt x="17" y="69"/>
                      <a:pt x="41" y="81"/>
                      <a:pt x="58" y="71"/>
                    </a:cubicBezTo>
                    <a:cubicBezTo>
                      <a:pt x="85" y="54"/>
                      <a:pt x="89" y="1"/>
                      <a:pt x="89" y="1"/>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47" name="Freeform 49">
                <a:extLst>
                  <a:ext uri="{FF2B5EF4-FFF2-40B4-BE49-F238E27FC236}">
                    <a16:creationId xmlns:a16="http://schemas.microsoft.com/office/drawing/2014/main" id="{45600CCD-B20C-4A75-89D4-DDF6A0AAF294}"/>
                  </a:ext>
                </a:extLst>
              </p:cNvPr>
              <p:cNvSpPr>
                <a:spLocks/>
              </p:cNvSpPr>
              <p:nvPr/>
            </p:nvSpPr>
            <p:spPr bwMode="auto">
              <a:xfrm>
                <a:off x="4270358" y="4022669"/>
                <a:ext cx="394339" cy="300866"/>
              </a:xfrm>
              <a:custGeom>
                <a:avLst/>
                <a:gdLst>
                  <a:gd name="T0" fmla="*/ 101 w 101"/>
                  <a:gd name="T1" fmla="*/ 23 h 77"/>
                  <a:gd name="T2" fmla="*/ 75 w 101"/>
                  <a:gd name="T3" fmla="*/ 22 h 77"/>
                  <a:gd name="T4" fmla="*/ 34 w 101"/>
                  <a:gd name="T5" fmla="*/ 0 h 77"/>
                  <a:gd name="T6" fmla="*/ 0 w 101"/>
                  <a:gd name="T7" fmla="*/ 31 h 77"/>
                  <a:gd name="T8" fmla="*/ 1 w 101"/>
                  <a:gd name="T9" fmla="*/ 32 h 77"/>
                  <a:gd name="T10" fmla="*/ 11 w 101"/>
                  <a:gd name="T11" fmla="*/ 35 h 77"/>
                  <a:gd name="T12" fmla="*/ 20 w 101"/>
                  <a:gd name="T13" fmla="*/ 38 h 77"/>
                  <a:gd name="T14" fmla="*/ 28 w 101"/>
                  <a:gd name="T15" fmla="*/ 40 h 77"/>
                  <a:gd name="T16" fmla="*/ 47 w 101"/>
                  <a:gd name="T17" fmla="*/ 40 h 77"/>
                  <a:gd name="T18" fmla="*/ 65 w 101"/>
                  <a:gd name="T19" fmla="*/ 36 h 77"/>
                  <a:gd name="T20" fmla="*/ 47 w 101"/>
                  <a:gd name="T21" fmla="*/ 44 h 77"/>
                  <a:gd name="T22" fmla="*/ 28 w 101"/>
                  <a:gd name="T23" fmla="*/ 48 h 77"/>
                  <a:gd name="T24" fmla="*/ 18 w 101"/>
                  <a:gd name="T25" fmla="*/ 47 h 77"/>
                  <a:gd name="T26" fmla="*/ 8 w 101"/>
                  <a:gd name="T27" fmla="*/ 45 h 77"/>
                  <a:gd name="T28" fmla="*/ 0 w 101"/>
                  <a:gd name="T29" fmla="*/ 44 h 77"/>
                  <a:gd name="T30" fmla="*/ 44 w 101"/>
                  <a:gd name="T31" fmla="*/ 74 h 77"/>
                  <a:gd name="T32" fmla="*/ 101 w 101"/>
                  <a:gd name="T33" fmla="*/ 23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1" h="77">
                    <a:moveTo>
                      <a:pt x="101" y="23"/>
                    </a:moveTo>
                    <a:cubicBezTo>
                      <a:pt x="101" y="23"/>
                      <a:pt x="91" y="29"/>
                      <a:pt x="75" y="22"/>
                    </a:cubicBezTo>
                    <a:cubicBezTo>
                      <a:pt x="56" y="15"/>
                      <a:pt x="51" y="0"/>
                      <a:pt x="34" y="0"/>
                    </a:cubicBezTo>
                    <a:cubicBezTo>
                      <a:pt x="17" y="1"/>
                      <a:pt x="5" y="20"/>
                      <a:pt x="0" y="31"/>
                    </a:cubicBezTo>
                    <a:cubicBezTo>
                      <a:pt x="0" y="31"/>
                      <a:pt x="1" y="32"/>
                      <a:pt x="1" y="32"/>
                    </a:cubicBezTo>
                    <a:cubicBezTo>
                      <a:pt x="5" y="32"/>
                      <a:pt x="8" y="33"/>
                      <a:pt x="11" y="35"/>
                    </a:cubicBezTo>
                    <a:cubicBezTo>
                      <a:pt x="14" y="36"/>
                      <a:pt x="17" y="37"/>
                      <a:pt x="20" y="38"/>
                    </a:cubicBezTo>
                    <a:cubicBezTo>
                      <a:pt x="23" y="39"/>
                      <a:pt x="26" y="40"/>
                      <a:pt x="28" y="40"/>
                    </a:cubicBezTo>
                    <a:cubicBezTo>
                      <a:pt x="34" y="41"/>
                      <a:pt x="40" y="41"/>
                      <a:pt x="47" y="40"/>
                    </a:cubicBezTo>
                    <a:cubicBezTo>
                      <a:pt x="53" y="40"/>
                      <a:pt x="59" y="38"/>
                      <a:pt x="65" y="36"/>
                    </a:cubicBezTo>
                    <a:cubicBezTo>
                      <a:pt x="59" y="39"/>
                      <a:pt x="53" y="42"/>
                      <a:pt x="47" y="44"/>
                    </a:cubicBezTo>
                    <a:cubicBezTo>
                      <a:pt x="41" y="46"/>
                      <a:pt x="35" y="47"/>
                      <a:pt x="28" y="48"/>
                    </a:cubicBezTo>
                    <a:cubicBezTo>
                      <a:pt x="25" y="48"/>
                      <a:pt x="21" y="47"/>
                      <a:pt x="18" y="47"/>
                    </a:cubicBezTo>
                    <a:cubicBezTo>
                      <a:pt x="14" y="46"/>
                      <a:pt x="11" y="46"/>
                      <a:pt x="8" y="45"/>
                    </a:cubicBezTo>
                    <a:cubicBezTo>
                      <a:pt x="5" y="45"/>
                      <a:pt x="3" y="44"/>
                      <a:pt x="0" y="44"/>
                    </a:cubicBezTo>
                    <a:cubicBezTo>
                      <a:pt x="7" y="55"/>
                      <a:pt x="24" y="77"/>
                      <a:pt x="44" y="74"/>
                    </a:cubicBezTo>
                    <a:cubicBezTo>
                      <a:pt x="76" y="70"/>
                      <a:pt x="101" y="23"/>
                      <a:pt x="101" y="23"/>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48" name="Freeform 50">
                <a:extLst>
                  <a:ext uri="{FF2B5EF4-FFF2-40B4-BE49-F238E27FC236}">
                    <a16:creationId xmlns:a16="http://schemas.microsoft.com/office/drawing/2014/main" id="{5C59BDAF-0915-48ED-A0D4-0062044FBC40}"/>
                  </a:ext>
                </a:extLst>
              </p:cNvPr>
              <p:cNvSpPr>
                <a:spLocks/>
              </p:cNvSpPr>
              <p:nvPr/>
            </p:nvSpPr>
            <p:spPr bwMode="auto">
              <a:xfrm>
                <a:off x="4442698" y="3542159"/>
                <a:ext cx="335918" cy="398720"/>
              </a:xfrm>
              <a:custGeom>
                <a:avLst/>
                <a:gdLst>
                  <a:gd name="T0" fmla="*/ 33 w 86"/>
                  <a:gd name="T1" fmla="*/ 102 h 102"/>
                  <a:gd name="T2" fmla="*/ 44 w 86"/>
                  <a:gd name="T3" fmla="*/ 78 h 102"/>
                  <a:gd name="T4" fmla="*/ 80 w 86"/>
                  <a:gd name="T5" fmla="*/ 49 h 102"/>
                  <a:gd name="T6" fmla="*/ 64 w 86"/>
                  <a:gd name="T7" fmla="*/ 5 h 102"/>
                  <a:gd name="T8" fmla="*/ 64 w 86"/>
                  <a:gd name="T9" fmla="*/ 6 h 102"/>
                  <a:gd name="T10" fmla="*/ 57 w 86"/>
                  <a:gd name="T11" fmla="*/ 14 h 102"/>
                  <a:gd name="T12" fmla="*/ 50 w 86"/>
                  <a:gd name="T13" fmla="*/ 21 h 102"/>
                  <a:gd name="T14" fmla="*/ 45 w 86"/>
                  <a:gd name="T15" fmla="*/ 28 h 102"/>
                  <a:gd name="T16" fmla="*/ 38 w 86"/>
                  <a:gd name="T17" fmla="*/ 45 h 102"/>
                  <a:gd name="T18" fmla="*/ 35 w 86"/>
                  <a:gd name="T19" fmla="*/ 63 h 102"/>
                  <a:gd name="T20" fmla="*/ 34 w 86"/>
                  <a:gd name="T21" fmla="*/ 44 h 102"/>
                  <a:gd name="T22" fmla="*/ 39 w 86"/>
                  <a:gd name="T23" fmla="*/ 25 h 102"/>
                  <a:gd name="T24" fmla="*/ 43 w 86"/>
                  <a:gd name="T25" fmla="*/ 16 h 102"/>
                  <a:gd name="T26" fmla="*/ 48 w 86"/>
                  <a:gd name="T27" fmla="*/ 8 h 102"/>
                  <a:gd name="T28" fmla="*/ 52 w 86"/>
                  <a:gd name="T29" fmla="*/ 0 h 102"/>
                  <a:gd name="T30" fmla="*/ 8 w 86"/>
                  <a:gd name="T31" fmla="*/ 30 h 102"/>
                  <a:gd name="T32" fmla="*/ 33 w 86"/>
                  <a:gd name="T33" fmla="*/ 102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6" h="102">
                    <a:moveTo>
                      <a:pt x="33" y="102"/>
                    </a:moveTo>
                    <a:cubicBezTo>
                      <a:pt x="33" y="102"/>
                      <a:pt x="32" y="90"/>
                      <a:pt x="44" y="78"/>
                    </a:cubicBezTo>
                    <a:cubicBezTo>
                      <a:pt x="58" y="64"/>
                      <a:pt x="74" y="65"/>
                      <a:pt x="80" y="49"/>
                    </a:cubicBezTo>
                    <a:cubicBezTo>
                      <a:pt x="86" y="33"/>
                      <a:pt x="72" y="14"/>
                      <a:pt x="64" y="5"/>
                    </a:cubicBezTo>
                    <a:cubicBezTo>
                      <a:pt x="64" y="6"/>
                      <a:pt x="64" y="6"/>
                      <a:pt x="64" y="6"/>
                    </a:cubicBezTo>
                    <a:cubicBezTo>
                      <a:pt x="62" y="9"/>
                      <a:pt x="59" y="12"/>
                      <a:pt x="57" y="14"/>
                    </a:cubicBezTo>
                    <a:cubicBezTo>
                      <a:pt x="55" y="17"/>
                      <a:pt x="52" y="19"/>
                      <a:pt x="50" y="21"/>
                    </a:cubicBezTo>
                    <a:cubicBezTo>
                      <a:pt x="48" y="23"/>
                      <a:pt x="47" y="26"/>
                      <a:pt x="45" y="28"/>
                    </a:cubicBezTo>
                    <a:cubicBezTo>
                      <a:pt x="42" y="33"/>
                      <a:pt x="40" y="39"/>
                      <a:pt x="38" y="45"/>
                    </a:cubicBezTo>
                    <a:cubicBezTo>
                      <a:pt x="37" y="51"/>
                      <a:pt x="36" y="57"/>
                      <a:pt x="35" y="63"/>
                    </a:cubicBezTo>
                    <a:cubicBezTo>
                      <a:pt x="34" y="57"/>
                      <a:pt x="34" y="51"/>
                      <a:pt x="34" y="44"/>
                    </a:cubicBezTo>
                    <a:cubicBezTo>
                      <a:pt x="35" y="38"/>
                      <a:pt x="36" y="31"/>
                      <a:pt x="39" y="25"/>
                    </a:cubicBezTo>
                    <a:cubicBezTo>
                      <a:pt x="40" y="22"/>
                      <a:pt x="41" y="19"/>
                      <a:pt x="43" y="16"/>
                    </a:cubicBezTo>
                    <a:cubicBezTo>
                      <a:pt x="45" y="13"/>
                      <a:pt x="47" y="10"/>
                      <a:pt x="48" y="8"/>
                    </a:cubicBezTo>
                    <a:cubicBezTo>
                      <a:pt x="50" y="5"/>
                      <a:pt x="51" y="3"/>
                      <a:pt x="52" y="0"/>
                    </a:cubicBezTo>
                    <a:cubicBezTo>
                      <a:pt x="40" y="3"/>
                      <a:pt x="13" y="10"/>
                      <a:pt x="8" y="30"/>
                    </a:cubicBezTo>
                    <a:cubicBezTo>
                      <a:pt x="0" y="60"/>
                      <a:pt x="33" y="102"/>
                      <a:pt x="33" y="102"/>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49" name="Freeform 51">
                <a:extLst>
                  <a:ext uri="{FF2B5EF4-FFF2-40B4-BE49-F238E27FC236}">
                    <a16:creationId xmlns:a16="http://schemas.microsoft.com/office/drawing/2014/main" id="{6BF40B54-3BA5-4C02-9CDC-311C0C27D293}"/>
                  </a:ext>
                </a:extLst>
              </p:cNvPr>
              <p:cNvSpPr>
                <a:spLocks/>
              </p:cNvSpPr>
              <p:nvPr/>
            </p:nvSpPr>
            <p:spPr bwMode="auto">
              <a:xfrm>
                <a:off x="4945115" y="4218378"/>
                <a:ext cx="351984" cy="362207"/>
              </a:xfrm>
              <a:custGeom>
                <a:avLst/>
                <a:gdLst>
                  <a:gd name="T0" fmla="*/ 74 w 90"/>
                  <a:gd name="T1" fmla="*/ 0 h 93"/>
                  <a:gd name="T2" fmla="*/ 55 w 90"/>
                  <a:gd name="T3" fmla="*/ 18 h 93"/>
                  <a:gd name="T4" fmla="*/ 11 w 90"/>
                  <a:gd name="T5" fmla="*/ 33 h 93"/>
                  <a:gd name="T6" fmla="*/ 10 w 90"/>
                  <a:gd name="T7" fmla="*/ 79 h 93"/>
                  <a:gd name="T8" fmla="*/ 11 w 90"/>
                  <a:gd name="T9" fmla="*/ 78 h 93"/>
                  <a:gd name="T10" fmla="*/ 20 w 90"/>
                  <a:gd name="T11" fmla="*/ 73 h 93"/>
                  <a:gd name="T12" fmla="*/ 29 w 90"/>
                  <a:gd name="T13" fmla="*/ 69 h 93"/>
                  <a:gd name="T14" fmla="*/ 36 w 90"/>
                  <a:gd name="T15" fmla="*/ 65 h 93"/>
                  <a:gd name="T16" fmla="*/ 49 w 90"/>
                  <a:gd name="T17" fmla="*/ 51 h 93"/>
                  <a:gd name="T18" fmla="*/ 59 w 90"/>
                  <a:gd name="T19" fmla="*/ 35 h 93"/>
                  <a:gd name="T20" fmla="*/ 52 w 90"/>
                  <a:gd name="T21" fmla="*/ 53 h 93"/>
                  <a:gd name="T22" fmla="*/ 41 w 90"/>
                  <a:gd name="T23" fmla="*/ 70 h 93"/>
                  <a:gd name="T24" fmla="*/ 34 w 90"/>
                  <a:gd name="T25" fmla="*/ 77 h 93"/>
                  <a:gd name="T26" fmla="*/ 26 w 90"/>
                  <a:gd name="T27" fmla="*/ 82 h 93"/>
                  <a:gd name="T28" fmla="*/ 20 w 90"/>
                  <a:gd name="T29" fmla="*/ 88 h 93"/>
                  <a:gd name="T30" fmla="*/ 72 w 90"/>
                  <a:gd name="T31" fmla="*/ 76 h 93"/>
                  <a:gd name="T32" fmla="*/ 74 w 90"/>
                  <a:gd name="T33" fmla="*/ 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93">
                    <a:moveTo>
                      <a:pt x="74" y="0"/>
                    </a:moveTo>
                    <a:cubicBezTo>
                      <a:pt x="74" y="0"/>
                      <a:pt x="71" y="12"/>
                      <a:pt x="55" y="18"/>
                    </a:cubicBezTo>
                    <a:cubicBezTo>
                      <a:pt x="37" y="26"/>
                      <a:pt x="22" y="20"/>
                      <a:pt x="11" y="33"/>
                    </a:cubicBezTo>
                    <a:cubicBezTo>
                      <a:pt x="0" y="45"/>
                      <a:pt x="6" y="68"/>
                      <a:pt x="10" y="79"/>
                    </a:cubicBezTo>
                    <a:cubicBezTo>
                      <a:pt x="10" y="79"/>
                      <a:pt x="11" y="79"/>
                      <a:pt x="11" y="78"/>
                    </a:cubicBezTo>
                    <a:cubicBezTo>
                      <a:pt x="14" y="76"/>
                      <a:pt x="17" y="74"/>
                      <a:pt x="20" y="73"/>
                    </a:cubicBezTo>
                    <a:cubicBezTo>
                      <a:pt x="23" y="72"/>
                      <a:pt x="26" y="70"/>
                      <a:pt x="29" y="69"/>
                    </a:cubicBezTo>
                    <a:cubicBezTo>
                      <a:pt x="31" y="68"/>
                      <a:pt x="34" y="66"/>
                      <a:pt x="36" y="65"/>
                    </a:cubicBezTo>
                    <a:cubicBezTo>
                      <a:pt x="41" y="61"/>
                      <a:pt x="45" y="56"/>
                      <a:pt x="49" y="51"/>
                    </a:cubicBezTo>
                    <a:cubicBezTo>
                      <a:pt x="52" y="46"/>
                      <a:pt x="56" y="41"/>
                      <a:pt x="59" y="35"/>
                    </a:cubicBezTo>
                    <a:cubicBezTo>
                      <a:pt x="57" y="41"/>
                      <a:pt x="55" y="47"/>
                      <a:pt x="52" y="53"/>
                    </a:cubicBezTo>
                    <a:cubicBezTo>
                      <a:pt x="49" y="59"/>
                      <a:pt x="46" y="65"/>
                      <a:pt x="41" y="70"/>
                    </a:cubicBezTo>
                    <a:cubicBezTo>
                      <a:pt x="39" y="72"/>
                      <a:pt x="36" y="75"/>
                      <a:pt x="34" y="77"/>
                    </a:cubicBezTo>
                    <a:cubicBezTo>
                      <a:pt x="31" y="79"/>
                      <a:pt x="28" y="81"/>
                      <a:pt x="26" y="82"/>
                    </a:cubicBezTo>
                    <a:cubicBezTo>
                      <a:pt x="23" y="84"/>
                      <a:pt x="21" y="86"/>
                      <a:pt x="20" y="88"/>
                    </a:cubicBezTo>
                    <a:cubicBezTo>
                      <a:pt x="32" y="90"/>
                      <a:pt x="60" y="93"/>
                      <a:pt x="72" y="76"/>
                    </a:cubicBezTo>
                    <a:cubicBezTo>
                      <a:pt x="90" y="51"/>
                      <a:pt x="74" y="0"/>
                      <a:pt x="74" y="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50" name="Freeform 52">
                <a:extLst>
                  <a:ext uri="{FF2B5EF4-FFF2-40B4-BE49-F238E27FC236}">
                    <a16:creationId xmlns:a16="http://schemas.microsoft.com/office/drawing/2014/main" id="{EA912DD2-2AF2-46D0-B10D-532A892EB8A7}"/>
                  </a:ext>
                </a:extLst>
              </p:cNvPr>
              <p:cNvSpPr>
                <a:spLocks/>
              </p:cNvSpPr>
              <p:nvPr/>
            </p:nvSpPr>
            <p:spPr bwMode="auto">
              <a:xfrm>
                <a:off x="4501119" y="4393639"/>
                <a:ext cx="319853" cy="347602"/>
              </a:xfrm>
              <a:custGeom>
                <a:avLst/>
                <a:gdLst>
                  <a:gd name="T0" fmla="*/ 1 w 82"/>
                  <a:gd name="T1" fmla="*/ 0 h 89"/>
                  <a:gd name="T2" fmla="*/ 11 w 82"/>
                  <a:gd name="T3" fmla="*/ 25 h 89"/>
                  <a:gd name="T4" fmla="*/ 8 w 82"/>
                  <a:gd name="T5" fmla="*/ 71 h 89"/>
                  <a:gd name="T6" fmla="*/ 51 w 82"/>
                  <a:gd name="T7" fmla="*/ 89 h 89"/>
                  <a:gd name="T8" fmla="*/ 50 w 82"/>
                  <a:gd name="T9" fmla="*/ 88 h 89"/>
                  <a:gd name="T10" fmla="*/ 49 w 82"/>
                  <a:gd name="T11" fmla="*/ 77 h 89"/>
                  <a:gd name="T12" fmla="*/ 48 w 82"/>
                  <a:gd name="T13" fmla="*/ 68 h 89"/>
                  <a:gd name="T14" fmla="*/ 47 w 82"/>
                  <a:gd name="T15" fmla="*/ 59 h 89"/>
                  <a:gd name="T16" fmla="*/ 39 w 82"/>
                  <a:gd name="T17" fmla="*/ 43 h 89"/>
                  <a:gd name="T18" fmla="*/ 28 w 82"/>
                  <a:gd name="T19" fmla="*/ 28 h 89"/>
                  <a:gd name="T20" fmla="*/ 42 w 82"/>
                  <a:gd name="T21" fmla="*/ 41 h 89"/>
                  <a:gd name="T22" fmla="*/ 54 w 82"/>
                  <a:gd name="T23" fmla="*/ 57 h 89"/>
                  <a:gd name="T24" fmla="*/ 57 w 82"/>
                  <a:gd name="T25" fmla="*/ 66 h 89"/>
                  <a:gd name="T26" fmla="*/ 60 w 82"/>
                  <a:gd name="T27" fmla="*/ 76 h 89"/>
                  <a:gd name="T28" fmla="*/ 62 w 82"/>
                  <a:gd name="T29" fmla="*/ 83 h 89"/>
                  <a:gd name="T30" fmla="*/ 71 w 82"/>
                  <a:gd name="T31" fmla="*/ 31 h 89"/>
                  <a:gd name="T32" fmla="*/ 1 w 82"/>
                  <a:gd name="T33"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2" h="89">
                    <a:moveTo>
                      <a:pt x="1" y="0"/>
                    </a:moveTo>
                    <a:cubicBezTo>
                      <a:pt x="1" y="0"/>
                      <a:pt x="10" y="7"/>
                      <a:pt x="11" y="25"/>
                    </a:cubicBezTo>
                    <a:cubicBezTo>
                      <a:pt x="12" y="45"/>
                      <a:pt x="0" y="56"/>
                      <a:pt x="8" y="71"/>
                    </a:cubicBezTo>
                    <a:cubicBezTo>
                      <a:pt x="16" y="86"/>
                      <a:pt x="39" y="89"/>
                      <a:pt x="51" y="89"/>
                    </a:cubicBezTo>
                    <a:cubicBezTo>
                      <a:pt x="51" y="89"/>
                      <a:pt x="51" y="88"/>
                      <a:pt x="50" y="88"/>
                    </a:cubicBezTo>
                    <a:cubicBezTo>
                      <a:pt x="49" y="84"/>
                      <a:pt x="49" y="81"/>
                      <a:pt x="49" y="77"/>
                    </a:cubicBezTo>
                    <a:cubicBezTo>
                      <a:pt x="49" y="74"/>
                      <a:pt x="49" y="71"/>
                      <a:pt x="48" y="68"/>
                    </a:cubicBezTo>
                    <a:cubicBezTo>
                      <a:pt x="48" y="65"/>
                      <a:pt x="48" y="62"/>
                      <a:pt x="47" y="59"/>
                    </a:cubicBezTo>
                    <a:cubicBezTo>
                      <a:pt x="45" y="54"/>
                      <a:pt x="43" y="48"/>
                      <a:pt x="39" y="43"/>
                    </a:cubicBezTo>
                    <a:cubicBezTo>
                      <a:pt x="36" y="38"/>
                      <a:pt x="32" y="33"/>
                      <a:pt x="28" y="28"/>
                    </a:cubicBezTo>
                    <a:cubicBezTo>
                      <a:pt x="33" y="32"/>
                      <a:pt x="38" y="36"/>
                      <a:pt x="42" y="41"/>
                    </a:cubicBezTo>
                    <a:cubicBezTo>
                      <a:pt x="47" y="45"/>
                      <a:pt x="51" y="51"/>
                      <a:pt x="54" y="57"/>
                    </a:cubicBezTo>
                    <a:cubicBezTo>
                      <a:pt x="55" y="60"/>
                      <a:pt x="56" y="63"/>
                      <a:pt x="57" y="66"/>
                    </a:cubicBezTo>
                    <a:cubicBezTo>
                      <a:pt x="58" y="69"/>
                      <a:pt x="59" y="73"/>
                      <a:pt x="60" y="76"/>
                    </a:cubicBezTo>
                    <a:cubicBezTo>
                      <a:pt x="60" y="78"/>
                      <a:pt x="61" y="81"/>
                      <a:pt x="62" y="83"/>
                    </a:cubicBezTo>
                    <a:cubicBezTo>
                      <a:pt x="69" y="72"/>
                      <a:pt x="82" y="48"/>
                      <a:pt x="71" y="31"/>
                    </a:cubicBezTo>
                    <a:cubicBezTo>
                      <a:pt x="54" y="4"/>
                      <a:pt x="1" y="0"/>
                      <a:pt x="1" y="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51" name="Freeform 53">
                <a:extLst>
                  <a:ext uri="{FF2B5EF4-FFF2-40B4-BE49-F238E27FC236}">
                    <a16:creationId xmlns:a16="http://schemas.microsoft.com/office/drawing/2014/main" id="{DF650C29-9867-4763-909F-D0C91942BE20}"/>
                  </a:ext>
                </a:extLst>
              </p:cNvPr>
              <p:cNvSpPr>
                <a:spLocks/>
              </p:cNvSpPr>
              <p:nvPr/>
            </p:nvSpPr>
            <p:spPr bwMode="auto">
              <a:xfrm>
                <a:off x="4872089" y="4698886"/>
                <a:ext cx="350523" cy="363668"/>
              </a:xfrm>
              <a:custGeom>
                <a:avLst/>
                <a:gdLst>
                  <a:gd name="T0" fmla="*/ 74 w 90"/>
                  <a:gd name="T1" fmla="*/ 0 h 93"/>
                  <a:gd name="T2" fmla="*/ 55 w 90"/>
                  <a:gd name="T3" fmla="*/ 18 h 93"/>
                  <a:gd name="T4" fmla="*/ 11 w 90"/>
                  <a:gd name="T5" fmla="*/ 33 h 93"/>
                  <a:gd name="T6" fmla="*/ 10 w 90"/>
                  <a:gd name="T7" fmla="*/ 79 h 93"/>
                  <a:gd name="T8" fmla="*/ 11 w 90"/>
                  <a:gd name="T9" fmla="*/ 78 h 93"/>
                  <a:gd name="T10" fmla="*/ 20 w 90"/>
                  <a:gd name="T11" fmla="*/ 73 h 93"/>
                  <a:gd name="T12" fmla="*/ 28 w 90"/>
                  <a:gd name="T13" fmla="*/ 69 h 93"/>
                  <a:gd name="T14" fmla="*/ 36 w 90"/>
                  <a:gd name="T15" fmla="*/ 64 h 93"/>
                  <a:gd name="T16" fmla="*/ 48 w 90"/>
                  <a:gd name="T17" fmla="*/ 51 h 93"/>
                  <a:gd name="T18" fmla="*/ 58 w 90"/>
                  <a:gd name="T19" fmla="*/ 35 h 93"/>
                  <a:gd name="T20" fmla="*/ 51 w 90"/>
                  <a:gd name="T21" fmla="*/ 53 h 93"/>
                  <a:gd name="T22" fmla="*/ 41 w 90"/>
                  <a:gd name="T23" fmla="*/ 70 h 93"/>
                  <a:gd name="T24" fmla="*/ 33 w 90"/>
                  <a:gd name="T25" fmla="*/ 77 h 93"/>
                  <a:gd name="T26" fmla="*/ 25 w 90"/>
                  <a:gd name="T27" fmla="*/ 82 h 93"/>
                  <a:gd name="T28" fmla="*/ 19 w 90"/>
                  <a:gd name="T29" fmla="*/ 88 h 93"/>
                  <a:gd name="T30" fmla="*/ 71 w 90"/>
                  <a:gd name="T31" fmla="*/ 76 h 93"/>
                  <a:gd name="T32" fmla="*/ 74 w 90"/>
                  <a:gd name="T33" fmla="*/ 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93">
                    <a:moveTo>
                      <a:pt x="74" y="0"/>
                    </a:moveTo>
                    <a:cubicBezTo>
                      <a:pt x="74" y="0"/>
                      <a:pt x="71" y="12"/>
                      <a:pt x="55" y="18"/>
                    </a:cubicBezTo>
                    <a:cubicBezTo>
                      <a:pt x="37" y="26"/>
                      <a:pt x="22" y="20"/>
                      <a:pt x="11" y="33"/>
                    </a:cubicBezTo>
                    <a:cubicBezTo>
                      <a:pt x="0" y="45"/>
                      <a:pt x="5" y="68"/>
                      <a:pt x="10" y="79"/>
                    </a:cubicBezTo>
                    <a:cubicBezTo>
                      <a:pt x="10" y="79"/>
                      <a:pt x="10" y="78"/>
                      <a:pt x="11" y="78"/>
                    </a:cubicBezTo>
                    <a:cubicBezTo>
                      <a:pt x="14" y="76"/>
                      <a:pt x="17" y="74"/>
                      <a:pt x="20" y="73"/>
                    </a:cubicBezTo>
                    <a:cubicBezTo>
                      <a:pt x="23" y="72"/>
                      <a:pt x="26" y="70"/>
                      <a:pt x="28" y="69"/>
                    </a:cubicBezTo>
                    <a:cubicBezTo>
                      <a:pt x="31" y="68"/>
                      <a:pt x="33" y="66"/>
                      <a:pt x="36" y="64"/>
                    </a:cubicBezTo>
                    <a:cubicBezTo>
                      <a:pt x="41" y="61"/>
                      <a:pt x="45" y="56"/>
                      <a:pt x="48" y="51"/>
                    </a:cubicBezTo>
                    <a:cubicBezTo>
                      <a:pt x="52" y="46"/>
                      <a:pt x="55" y="41"/>
                      <a:pt x="58" y="35"/>
                    </a:cubicBezTo>
                    <a:cubicBezTo>
                      <a:pt x="56" y="41"/>
                      <a:pt x="54" y="47"/>
                      <a:pt x="51" y="53"/>
                    </a:cubicBezTo>
                    <a:cubicBezTo>
                      <a:pt x="49" y="59"/>
                      <a:pt x="45" y="65"/>
                      <a:pt x="41" y="70"/>
                    </a:cubicBezTo>
                    <a:cubicBezTo>
                      <a:pt x="39" y="72"/>
                      <a:pt x="36" y="75"/>
                      <a:pt x="33" y="77"/>
                    </a:cubicBezTo>
                    <a:cubicBezTo>
                      <a:pt x="31" y="79"/>
                      <a:pt x="28" y="81"/>
                      <a:pt x="25" y="82"/>
                    </a:cubicBezTo>
                    <a:cubicBezTo>
                      <a:pt x="23" y="84"/>
                      <a:pt x="21" y="86"/>
                      <a:pt x="19" y="88"/>
                    </a:cubicBezTo>
                    <a:cubicBezTo>
                      <a:pt x="32" y="90"/>
                      <a:pt x="59" y="93"/>
                      <a:pt x="71" y="76"/>
                    </a:cubicBezTo>
                    <a:cubicBezTo>
                      <a:pt x="90" y="51"/>
                      <a:pt x="74" y="0"/>
                      <a:pt x="74" y="0"/>
                    </a:cubicBez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52" name="Freeform 54">
                <a:extLst>
                  <a:ext uri="{FF2B5EF4-FFF2-40B4-BE49-F238E27FC236}">
                    <a16:creationId xmlns:a16="http://schemas.microsoft.com/office/drawing/2014/main" id="{6C4F84C9-6169-4438-9812-841F46C97CF1}"/>
                  </a:ext>
                </a:extLst>
              </p:cNvPr>
              <p:cNvSpPr>
                <a:spLocks/>
              </p:cNvSpPr>
              <p:nvPr/>
            </p:nvSpPr>
            <p:spPr bwMode="auto">
              <a:xfrm>
                <a:off x="4746485" y="3940880"/>
                <a:ext cx="316932" cy="347602"/>
              </a:xfrm>
              <a:custGeom>
                <a:avLst/>
                <a:gdLst>
                  <a:gd name="T0" fmla="*/ 0 w 81"/>
                  <a:gd name="T1" fmla="*/ 0 h 89"/>
                  <a:gd name="T2" fmla="*/ 11 w 81"/>
                  <a:gd name="T3" fmla="*/ 24 h 89"/>
                  <a:gd name="T4" fmla="*/ 8 w 81"/>
                  <a:gd name="T5" fmla="*/ 71 h 89"/>
                  <a:gd name="T6" fmla="*/ 50 w 81"/>
                  <a:gd name="T7" fmla="*/ 89 h 89"/>
                  <a:gd name="T8" fmla="*/ 50 w 81"/>
                  <a:gd name="T9" fmla="*/ 87 h 89"/>
                  <a:gd name="T10" fmla="*/ 49 w 81"/>
                  <a:gd name="T11" fmla="*/ 77 h 89"/>
                  <a:gd name="T12" fmla="*/ 48 w 81"/>
                  <a:gd name="T13" fmla="*/ 68 h 89"/>
                  <a:gd name="T14" fmla="*/ 46 w 81"/>
                  <a:gd name="T15" fmla="*/ 59 h 89"/>
                  <a:gd name="T16" fmla="*/ 39 w 81"/>
                  <a:gd name="T17" fmla="*/ 43 h 89"/>
                  <a:gd name="T18" fmla="*/ 28 w 81"/>
                  <a:gd name="T19" fmla="*/ 28 h 89"/>
                  <a:gd name="T20" fmla="*/ 42 w 81"/>
                  <a:gd name="T21" fmla="*/ 40 h 89"/>
                  <a:gd name="T22" fmla="*/ 53 w 81"/>
                  <a:gd name="T23" fmla="*/ 56 h 89"/>
                  <a:gd name="T24" fmla="*/ 57 w 81"/>
                  <a:gd name="T25" fmla="*/ 66 h 89"/>
                  <a:gd name="T26" fmla="*/ 59 w 81"/>
                  <a:gd name="T27" fmla="*/ 75 h 89"/>
                  <a:gd name="T28" fmla="*/ 62 w 81"/>
                  <a:gd name="T29" fmla="*/ 83 h 89"/>
                  <a:gd name="T30" fmla="*/ 70 w 81"/>
                  <a:gd name="T31" fmla="*/ 30 h 89"/>
                  <a:gd name="T32" fmla="*/ 0 w 81"/>
                  <a:gd name="T33"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1" h="89">
                    <a:moveTo>
                      <a:pt x="0" y="0"/>
                    </a:moveTo>
                    <a:cubicBezTo>
                      <a:pt x="0" y="0"/>
                      <a:pt x="10" y="7"/>
                      <a:pt x="11" y="24"/>
                    </a:cubicBezTo>
                    <a:cubicBezTo>
                      <a:pt x="11" y="44"/>
                      <a:pt x="0" y="55"/>
                      <a:pt x="8" y="71"/>
                    </a:cubicBezTo>
                    <a:cubicBezTo>
                      <a:pt x="15" y="86"/>
                      <a:pt x="38" y="88"/>
                      <a:pt x="50" y="89"/>
                    </a:cubicBezTo>
                    <a:cubicBezTo>
                      <a:pt x="50" y="88"/>
                      <a:pt x="50" y="88"/>
                      <a:pt x="50" y="87"/>
                    </a:cubicBezTo>
                    <a:cubicBezTo>
                      <a:pt x="49" y="84"/>
                      <a:pt x="49" y="80"/>
                      <a:pt x="49" y="77"/>
                    </a:cubicBezTo>
                    <a:cubicBezTo>
                      <a:pt x="48" y="74"/>
                      <a:pt x="48" y="71"/>
                      <a:pt x="48" y="68"/>
                    </a:cubicBezTo>
                    <a:cubicBezTo>
                      <a:pt x="48" y="65"/>
                      <a:pt x="47" y="62"/>
                      <a:pt x="46" y="59"/>
                    </a:cubicBezTo>
                    <a:cubicBezTo>
                      <a:pt x="45" y="53"/>
                      <a:pt x="42" y="48"/>
                      <a:pt x="39" y="43"/>
                    </a:cubicBezTo>
                    <a:cubicBezTo>
                      <a:pt x="36" y="37"/>
                      <a:pt x="32" y="32"/>
                      <a:pt x="28" y="28"/>
                    </a:cubicBezTo>
                    <a:cubicBezTo>
                      <a:pt x="33" y="32"/>
                      <a:pt x="37" y="36"/>
                      <a:pt x="42" y="40"/>
                    </a:cubicBezTo>
                    <a:cubicBezTo>
                      <a:pt x="46" y="45"/>
                      <a:pt x="50" y="50"/>
                      <a:pt x="53" y="56"/>
                    </a:cubicBezTo>
                    <a:cubicBezTo>
                      <a:pt x="55" y="59"/>
                      <a:pt x="56" y="63"/>
                      <a:pt x="57" y="66"/>
                    </a:cubicBezTo>
                    <a:cubicBezTo>
                      <a:pt x="58" y="69"/>
                      <a:pt x="59" y="72"/>
                      <a:pt x="59" y="75"/>
                    </a:cubicBezTo>
                    <a:cubicBezTo>
                      <a:pt x="60" y="78"/>
                      <a:pt x="61" y="81"/>
                      <a:pt x="62" y="83"/>
                    </a:cubicBezTo>
                    <a:cubicBezTo>
                      <a:pt x="69" y="72"/>
                      <a:pt x="81" y="47"/>
                      <a:pt x="70" y="30"/>
                    </a:cubicBezTo>
                    <a:cubicBezTo>
                      <a:pt x="54" y="4"/>
                      <a:pt x="0" y="0"/>
                      <a:pt x="0" y="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53" name="Freeform 55">
                <a:extLst>
                  <a:ext uri="{FF2B5EF4-FFF2-40B4-BE49-F238E27FC236}">
                    <a16:creationId xmlns:a16="http://schemas.microsoft.com/office/drawing/2014/main" id="{CBFD4F02-267A-4D05-908D-22F5FFC6F4FC}"/>
                  </a:ext>
                </a:extLst>
              </p:cNvPr>
              <p:cNvSpPr>
                <a:spLocks/>
              </p:cNvSpPr>
              <p:nvPr/>
            </p:nvSpPr>
            <p:spPr bwMode="auto">
              <a:xfrm>
                <a:off x="7265871" y="2275894"/>
                <a:ext cx="343221" cy="347602"/>
              </a:xfrm>
              <a:custGeom>
                <a:avLst/>
                <a:gdLst>
                  <a:gd name="T0" fmla="*/ 80 w 88"/>
                  <a:gd name="T1" fmla="*/ 0 h 89"/>
                  <a:gd name="T2" fmla="*/ 58 w 88"/>
                  <a:gd name="T3" fmla="*/ 15 h 89"/>
                  <a:gd name="T4" fmla="*/ 12 w 88"/>
                  <a:gd name="T5" fmla="*/ 23 h 89"/>
                  <a:gd name="T6" fmla="*/ 4 w 88"/>
                  <a:gd name="T7" fmla="*/ 68 h 89"/>
                  <a:gd name="T8" fmla="*/ 6 w 88"/>
                  <a:gd name="T9" fmla="*/ 67 h 89"/>
                  <a:gd name="T10" fmla="*/ 15 w 88"/>
                  <a:gd name="T11" fmla="*/ 64 h 89"/>
                  <a:gd name="T12" fmla="*/ 24 w 88"/>
                  <a:gd name="T13" fmla="*/ 61 h 89"/>
                  <a:gd name="T14" fmla="*/ 32 w 88"/>
                  <a:gd name="T15" fmla="*/ 58 h 89"/>
                  <a:gd name="T16" fmla="*/ 47 w 88"/>
                  <a:gd name="T17" fmla="*/ 47 h 89"/>
                  <a:gd name="T18" fmla="*/ 59 w 88"/>
                  <a:gd name="T19" fmla="*/ 32 h 89"/>
                  <a:gd name="T20" fmla="*/ 50 w 88"/>
                  <a:gd name="T21" fmla="*/ 49 h 89"/>
                  <a:gd name="T22" fmla="*/ 37 w 88"/>
                  <a:gd name="T23" fmla="*/ 64 h 89"/>
                  <a:gd name="T24" fmla="*/ 28 w 88"/>
                  <a:gd name="T25" fmla="*/ 69 h 89"/>
                  <a:gd name="T26" fmla="*/ 19 w 88"/>
                  <a:gd name="T27" fmla="*/ 74 h 89"/>
                  <a:gd name="T28" fmla="*/ 12 w 88"/>
                  <a:gd name="T29" fmla="*/ 78 h 89"/>
                  <a:gd name="T30" fmla="*/ 66 w 88"/>
                  <a:gd name="T31" fmla="*/ 75 h 89"/>
                  <a:gd name="T32" fmla="*/ 80 w 88"/>
                  <a:gd name="T33"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8" h="89">
                    <a:moveTo>
                      <a:pt x="80" y="0"/>
                    </a:moveTo>
                    <a:cubicBezTo>
                      <a:pt x="80" y="0"/>
                      <a:pt x="75" y="11"/>
                      <a:pt x="58" y="15"/>
                    </a:cubicBezTo>
                    <a:cubicBezTo>
                      <a:pt x="39" y="20"/>
                      <a:pt x="26" y="11"/>
                      <a:pt x="12" y="23"/>
                    </a:cubicBezTo>
                    <a:cubicBezTo>
                      <a:pt x="0" y="33"/>
                      <a:pt x="2" y="56"/>
                      <a:pt x="4" y="68"/>
                    </a:cubicBezTo>
                    <a:cubicBezTo>
                      <a:pt x="5" y="68"/>
                      <a:pt x="5" y="68"/>
                      <a:pt x="6" y="67"/>
                    </a:cubicBezTo>
                    <a:cubicBezTo>
                      <a:pt x="9" y="66"/>
                      <a:pt x="12" y="65"/>
                      <a:pt x="15" y="64"/>
                    </a:cubicBezTo>
                    <a:cubicBezTo>
                      <a:pt x="18" y="63"/>
                      <a:pt x="21" y="62"/>
                      <a:pt x="24" y="61"/>
                    </a:cubicBezTo>
                    <a:cubicBezTo>
                      <a:pt x="27" y="60"/>
                      <a:pt x="30" y="59"/>
                      <a:pt x="32" y="58"/>
                    </a:cubicBezTo>
                    <a:cubicBezTo>
                      <a:pt x="38" y="55"/>
                      <a:pt x="42" y="51"/>
                      <a:pt x="47" y="47"/>
                    </a:cubicBezTo>
                    <a:cubicBezTo>
                      <a:pt x="51" y="42"/>
                      <a:pt x="55" y="37"/>
                      <a:pt x="59" y="32"/>
                    </a:cubicBezTo>
                    <a:cubicBezTo>
                      <a:pt x="56" y="38"/>
                      <a:pt x="53" y="44"/>
                      <a:pt x="50" y="49"/>
                    </a:cubicBezTo>
                    <a:cubicBezTo>
                      <a:pt x="46" y="54"/>
                      <a:pt x="42" y="59"/>
                      <a:pt x="37" y="64"/>
                    </a:cubicBezTo>
                    <a:cubicBezTo>
                      <a:pt x="34" y="66"/>
                      <a:pt x="31" y="68"/>
                      <a:pt x="28" y="69"/>
                    </a:cubicBezTo>
                    <a:cubicBezTo>
                      <a:pt x="25" y="71"/>
                      <a:pt x="22" y="72"/>
                      <a:pt x="19" y="74"/>
                    </a:cubicBezTo>
                    <a:cubicBezTo>
                      <a:pt x="17" y="75"/>
                      <a:pt x="14" y="77"/>
                      <a:pt x="12" y="78"/>
                    </a:cubicBezTo>
                    <a:cubicBezTo>
                      <a:pt x="25" y="82"/>
                      <a:pt x="51" y="89"/>
                      <a:pt x="66" y="75"/>
                    </a:cubicBezTo>
                    <a:cubicBezTo>
                      <a:pt x="88" y="52"/>
                      <a:pt x="80" y="0"/>
                      <a:pt x="80" y="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grpSp>
      <p:grpSp>
        <p:nvGrpSpPr>
          <p:cNvPr id="54" name="Group 120">
            <a:extLst>
              <a:ext uri="{FF2B5EF4-FFF2-40B4-BE49-F238E27FC236}">
                <a16:creationId xmlns:a16="http://schemas.microsoft.com/office/drawing/2014/main" id="{18F458C3-32BA-41BE-8244-98E0362C0F7E}"/>
              </a:ext>
            </a:extLst>
          </p:cNvPr>
          <p:cNvGrpSpPr/>
          <p:nvPr/>
        </p:nvGrpSpPr>
        <p:grpSpPr>
          <a:xfrm>
            <a:off x="914781" y="1435032"/>
            <a:ext cx="2824160" cy="2824160"/>
            <a:chOff x="914781" y="1435032"/>
            <a:chExt cx="2824160" cy="2824160"/>
          </a:xfrm>
        </p:grpSpPr>
        <p:sp>
          <p:nvSpPr>
            <p:cNvPr id="55" name="Oval 97">
              <a:extLst>
                <a:ext uri="{FF2B5EF4-FFF2-40B4-BE49-F238E27FC236}">
                  <a16:creationId xmlns:a16="http://schemas.microsoft.com/office/drawing/2014/main" id="{9828BD0D-CCB9-49CE-8A00-C0381E0B473C}"/>
                </a:ext>
              </a:extLst>
            </p:cNvPr>
            <p:cNvSpPr/>
            <p:nvPr/>
          </p:nvSpPr>
          <p:spPr>
            <a:xfrm>
              <a:off x="914781" y="1435032"/>
              <a:ext cx="2824160" cy="2824160"/>
            </a:xfrm>
            <a:prstGeom prst="ellipse">
              <a:avLst/>
            </a:prstGeom>
            <a:solidFill>
              <a:schemeClr val="accent6"/>
            </a:solidFill>
            <a:ln>
              <a:noFill/>
            </a:ln>
            <a:effectLst>
              <a:outerShdw blurRad="215900" dist="228600" dir="5400000" algn="t" rotWithShape="0">
                <a:prstClr val="black">
                  <a:alpha val="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6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nvGrpSpPr>
            <p:cNvPr id="56" name="Group 102">
              <a:extLst>
                <a:ext uri="{FF2B5EF4-FFF2-40B4-BE49-F238E27FC236}">
                  <a16:creationId xmlns:a16="http://schemas.microsoft.com/office/drawing/2014/main" id="{76B61655-19E6-4EAD-8246-44C144FD7905}"/>
                </a:ext>
              </a:extLst>
            </p:cNvPr>
            <p:cNvGrpSpPr/>
            <p:nvPr/>
          </p:nvGrpSpPr>
          <p:grpSpPr>
            <a:xfrm>
              <a:off x="1268437" y="2035958"/>
              <a:ext cx="2116848" cy="1622309"/>
              <a:chOff x="6933664" y="1075295"/>
              <a:chExt cx="2116848" cy="1622309"/>
            </a:xfrm>
          </p:grpSpPr>
          <p:sp>
            <p:nvSpPr>
              <p:cNvPr id="57" name="Rectangle 103">
                <a:extLst>
                  <a:ext uri="{FF2B5EF4-FFF2-40B4-BE49-F238E27FC236}">
                    <a16:creationId xmlns:a16="http://schemas.microsoft.com/office/drawing/2014/main" id="{D211485F-8AA9-4578-BE0D-D081F3D1D51D}"/>
                  </a:ext>
                </a:extLst>
              </p:cNvPr>
              <p:cNvSpPr/>
              <p:nvPr/>
            </p:nvSpPr>
            <p:spPr>
              <a:xfrm>
                <a:off x="6933664" y="1794215"/>
                <a:ext cx="2116848" cy="903389"/>
              </a:xfrm>
              <a:prstGeom prst="rect">
                <a:avLst/>
              </a:prstGeom>
            </p:spPr>
            <p:txBody>
              <a:bodyPr wrap="square">
                <a:spAutoFit/>
              </a:bodyPr>
              <a:lstStyle/>
              <a:p>
                <a:pPr marL="0" marR="0" lvl="0" indent="0" algn="ctr" defTabSz="914400" rtl="0" eaLnBrk="1" fontAlgn="auto" latinLnBrk="0" hangingPunct="1">
                  <a:lnSpc>
                    <a:spcPct val="13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等线" panose="020F0502020204030204"/>
                    <a:ea typeface="Open Sans Light" panose="020B0306030504020204" pitchFamily="34" charset="0"/>
                    <a:cs typeface="Segoe UI" panose="020B0502040204020203" pitchFamily="34" charset="0"/>
                  </a:rPr>
                  <a:t>Their pronunciation and their most common words. </a:t>
                </a:r>
              </a:p>
            </p:txBody>
          </p:sp>
          <p:sp>
            <p:nvSpPr>
              <p:cNvPr id="58" name="Rectangle 104">
                <a:extLst>
                  <a:ext uri="{FF2B5EF4-FFF2-40B4-BE49-F238E27FC236}">
                    <a16:creationId xmlns:a16="http://schemas.microsoft.com/office/drawing/2014/main" id="{A918436F-07BA-4C60-8D16-6C969039579D}"/>
                  </a:ext>
                </a:extLst>
              </p:cNvPr>
              <p:cNvSpPr/>
              <p:nvPr/>
            </p:nvSpPr>
            <p:spPr>
              <a:xfrm>
                <a:off x="7036623" y="1075295"/>
                <a:ext cx="1910928" cy="737574"/>
              </a:xfrm>
              <a:prstGeom prst="rect">
                <a:avLst/>
              </a:prstGeom>
            </p:spPr>
            <p:txBody>
              <a:bodyPr wrap="square">
                <a:spAutoFit/>
              </a:bodyPr>
              <a:lstStyle/>
              <a:p>
                <a:pPr marL="0" marR="0" lvl="0" indent="0" algn="ctr" defTabSz="914400" rtl="0" eaLnBrk="1" fontAlgn="auto" latinLnBrk="0" hangingPunct="1">
                  <a:lnSpc>
                    <a:spcPct val="130000"/>
                  </a:lnSpc>
                  <a:spcBef>
                    <a:spcPts val="0"/>
                  </a:spcBef>
                  <a:spcAft>
                    <a:spcPts val="0"/>
                  </a:spcAft>
                  <a:buClrTx/>
                  <a:buSzTx/>
                  <a:buFontTx/>
                  <a:buNone/>
                  <a:tabLst/>
                  <a:defRPr/>
                </a:pPr>
                <a:r>
                  <a:rPr kumimoji="0" lang="en-US" sz="3600" b="1" i="0" u="none" strike="noStrike" kern="1200" cap="none" spc="0" normalizeH="0" baseline="0" noProof="0" dirty="0">
                    <a:ln>
                      <a:noFill/>
                    </a:ln>
                    <a:solidFill>
                      <a:srgbClr val="FFFFFF"/>
                    </a:solidFill>
                    <a:effectLst/>
                    <a:uLnTx/>
                    <a:uFillTx/>
                    <a:latin typeface="等线 Light" panose="020F0302020204030204"/>
                    <a:ea typeface="Open Sans Light" panose="020B0306030504020204" pitchFamily="34" charset="0"/>
                    <a:cs typeface="Poppins" panose="02000000000000000000" pitchFamily="2" charset="0"/>
                  </a:rPr>
                  <a:t>221K</a:t>
                </a:r>
                <a:endParaRPr kumimoji="0" lang="en-US" sz="3600" b="1" i="0" u="none" strike="noStrike" kern="1200" cap="none" spc="0" normalizeH="0" baseline="30000" noProof="0" dirty="0">
                  <a:ln>
                    <a:noFill/>
                  </a:ln>
                  <a:solidFill>
                    <a:srgbClr val="FFFFFF"/>
                  </a:solidFill>
                  <a:effectLst/>
                  <a:uLnTx/>
                  <a:uFillTx/>
                  <a:latin typeface="等线 Light" panose="020F0302020204030204"/>
                  <a:ea typeface="Open Sans Light" panose="020B0306030504020204" pitchFamily="34" charset="0"/>
                  <a:cs typeface="Poppins" panose="02000000000000000000" pitchFamily="2" charset="0"/>
                </a:endParaRPr>
              </a:p>
            </p:txBody>
          </p:sp>
        </p:grpSp>
      </p:grpSp>
      <p:grpSp>
        <p:nvGrpSpPr>
          <p:cNvPr id="59" name="Group 119">
            <a:extLst>
              <a:ext uri="{FF2B5EF4-FFF2-40B4-BE49-F238E27FC236}">
                <a16:creationId xmlns:a16="http://schemas.microsoft.com/office/drawing/2014/main" id="{103AC7D0-C13E-4531-BEC6-3C09792EAD90}"/>
              </a:ext>
            </a:extLst>
          </p:cNvPr>
          <p:cNvGrpSpPr/>
          <p:nvPr/>
        </p:nvGrpSpPr>
        <p:grpSpPr>
          <a:xfrm>
            <a:off x="8475398" y="1194256"/>
            <a:ext cx="2250924" cy="2250924"/>
            <a:chOff x="8475398" y="1194256"/>
            <a:chExt cx="2250924" cy="2250924"/>
          </a:xfrm>
        </p:grpSpPr>
        <p:sp>
          <p:nvSpPr>
            <p:cNvPr id="60" name="Oval 71">
              <a:extLst>
                <a:ext uri="{FF2B5EF4-FFF2-40B4-BE49-F238E27FC236}">
                  <a16:creationId xmlns:a16="http://schemas.microsoft.com/office/drawing/2014/main" id="{B94C1429-E9E0-41E8-8739-54C725F691A4}"/>
                </a:ext>
              </a:extLst>
            </p:cNvPr>
            <p:cNvSpPr/>
            <p:nvPr/>
          </p:nvSpPr>
          <p:spPr>
            <a:xfrm>
              <a:off x="8475398" y="1194256"/>
              <a:ext cx="2250924" cy="2250924"/>
            </a:xfrm>
            <a:prstGeom prst="ellipse">
              <a:avLst/>
            </a:prstGeom>
            <a:solidFill>
              <a:schemeClr val="accent4"/>
            </a:solidFill>
            <a:ln>
              <a:noFill/>
            </a:ln>
            <a:effectLst>
              <a:outerShdw blurRad="215900" dist="228600" dir="5400000" algn="t" rotWithShape="0">
                <a:prstClr val="black">
                  <a:alpha val="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6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nvGrpSpPr>
            <p:cNvPr id="61" name="Group 107">
              <a:extLst>
                <a:ext uri="{FF2B5EF4-FFF2-40B4-BE49-F238E27FC236}">
                  <a16:creationId xmlns:a16="http://schemas.microsoft.com/office/drawing/2014/main" id="{95B9437B-816A-4EB0-BD6B-78BF4397B388}"/>
                </a:ext>
              </a:extLst>
            </p:cNvPr>
            <p:cNvGrpSpPr/>
            <p:nvPr/>
          </p:nvGrpSpPr>
          <p:grpSpPr>
            <a:xfrm>
              <a:off x="8522825" y="1650165"/>
              <a:ext cx="2156071" cy="1225839"/>
              <a:chOff x="5613416" y="2776556"/>
              <a:chExt cx="2156071" cy="1225839"/>
            </a:xfrm>
          </p:grpSpPr>
          <p:sp>
            <p:nvSpPr>
              <p:cNvPr id="62" name="TextBox 105">
                <a:extLst>
                  <a:ext uri="{FF2B5EF4-FFF2-40B4-BE49-F238E27FC236}">
                    <a16:creationId xmlns:a16="http://schemas.microsoft.com/office/drawing/2014/main" id="{43F3ADBF-46ED-4218-B42E-766930ED0E63}"/>
                  </a:ext>
                </a:extLst>
              </p:cNvPr>
              <p:cNvSpPr txBox="1"/>
              <p:nvPr/>
            </p:nvSpPr>
            <p:spPr>
              <a:xfrm>
                <a:off x="5803727" y="3113241"/>
                <a:ext cx="1775450" cy="889154"/>
              </a:xfrm>
              <a:prstGeom prst="rect">
                <a:avLst/>
              </a:prstGeom>
              <a:noFill/>
            </p:spPr>
            <p:txBody>
              <a:bodyPr wrap="square" rtlCol="0">
                <a:sp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等线" panose="020F0502020204030204"/>
                    <a:ea typeface="+mn-ea"/>
                    <a:cs typeface="Arial" panose="020B0604020202020204" pitchFamily="34" charset="0"/>
                  </a:rPr>
                  <a:t>A wonderful serenity has taken possession of my</a:t>
                </a:r>
              </a:p>
            </p:txBody>
          </p:sp>
          <p:sp>
            <p:nvSpPr>
              <p:cNvPr id="63" name="TextBox 106">
                <a:extLst>
                  <a:ext uri="{FF2B5EF4-FFF2-40B4-BE49-F238E27FC236}">
                    <a16:creationId xmlns:a16="http://schemas.microsoft.com/office/drawing/2014/main" id="{2EBC9282-C6EF-4437-98D6-31A9D06A35D1}"/>
                  </a:ext>
                </a:extLst>
              </p:cNvPr>
              <p:cNvSpPr txBox="1"/>
              <p:nvPr/>
            </p:nvSpPr>
            <p:spPr>
              <a:xfrm>
                <a:off x="5613416" y="2776556"/>
                <a:ext cx="2156071" cy="375552"/>
              </a:xfrm>
              <a:prstGeom prst="rect">
                <a:avLst/>
              </a:prstGeom>
              <a:noFill/>
            </p:spPr>
            <p:txBody>
              <a:bodyPr wrap="square" rtlCol="0">
                <a:sp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等线" panose="020F0502020204030204"/>
                    <a:ea typeface="+mn-ea"/>
                    <a:cs typeface="Arial" panose="020B0604020202020204" pitchFamily="34" charset="0"/>
                  </a:rPr>
                  <a:t>Option </a:t>
                </a:r>
              </a:p>
            </p:txBody>
          </p:sp>
        </p:grpSp>
      </p:grpSp>
      <p:grpSp>
        <p:nvGrpSpPr>
          <p:cNvPr id="64" name="Group 115">
            <a:extLst>
              <a:ext uri="{FF2B5EF4-FFF2-40B4-BE49-F238E27FC236}">
                <a16:creationId xmlns:a16="http://schemas.microsoft.com/office/drawing/2014/main" id="{DBF81344-1041-4341-8A14-9AD43B6FE567}"/>
              </a:ext>
            </a:extLst>
          </p:cNvPr>
          <p:cNvGrpSpPr/>
          <p:nvPr/>
        </p:nvGrpSpPr>
        <p:grpSpPr>
          <a:xfrm>
            <a:off x="4537111" y="1037289"/>
            <a:ext cx="985566" cy="985566"/>
            <a:chOff x="4558058" y="1196906"/>
            <a:chExt cx="985566" cy="985566"/>
          </a:xfrm>
        </p:grpSpPr>
        <p:sp>
          <p:nvSpPr>
            <p:cNvPr id="65" name="Oval 100">
              <a:extLst>
                <a:ext uri="{FF2B5EF4-FFF2-40B4-BE49-F238E27FC236}">
                  <a16:creationId xmlns:a16="http://schemas.microsoft.com/office/drawing/2014/main" id="{61F23D6D-6AA8-4593-8333-BB073018158E}"/>
                </a:ext>
              </a:extLst>
            </p:cNvPr>
            <p:cNvSpPr/>
            <p:nvPr/>
          </p:nvSpPr>
          <p:spPr>
            <a:xfrm>
              <a:off x="4558058" y="1196906"/>
              <a:ext cx="985566" cy="985566"/>
            </a:xfrm>
            <a:prstGeom prst="ellipse">
              <a:avLst/>
            </a:prstGeom>
            <a:solidFill>
              <a:schemeClr val="accent1"/>
            </a:solidFill>
            <a:ln>
              <a:noFill/>
            </a:ln>
            <a:effectLst>
              <a:outerShdw blurRad="215900" dist="228600" dir="5400000" algn="t" rotWithShape="0">
                <a:prstClr val="black">
                  <a:alpha val="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6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66" name="Rectangle 108">
              <a:extLst>
                <a:ext uri="{FF2B5EF4-FFF2-40B4-BE49-F238E27FC236}">
                  <a16:creationId xmlns:a16="http://schemas.microsoft.com/office/drawing/2014/main" id="{B3A4E381-8189-4E97-B119-0218BBAF3806}"/>
                </a:ext>
              </a:extLst>
            </p:cNvPr>
            <p:cNvSpPr/>
            <p:nvPr/>
          </p:nvSpPr>
          <p:spPr>
            <a:xfrm>
              <a:off x="4845711" y="1484562"/>
              <a:ext cx="410261" cy="410255"/>
            </a:xfrm>
            <a:prstGeom prst="rect">
              <a:avLst/>
            </a:prstGeom>
            <a:blipFill>
              <a:blip r:embed="rId4">
                <a:extLst>
                  <a:ext uri="{BEBA8EAE-BF5A-486C-A8C5-ECC9F3942E4B}">
                    <a14:imgProps xmlns:a14="http://schemas.microsoft.com/office/drawing/2010/main">
                      <a14:imgLayer r:embed="rId5">
                        <a14:imgEffect>
                          <a14:brightnessContrast bright="100000"/>
                        </a14:imgEffect>
                      </a14:imgLayer>
                    </a14:imgProps>
                  </a:ext>
                </a:extLst>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等线" panose="020F0502020204030204"/>
                <a:ea typeface="+mn-ea"/>
                <a:cs typeface="+mn-cs"/>
              </a:endParaRPr>
            </a:p>
          </p:txBody>
        </p:sp>
      </p:grpSp>
      <p:grpSp>
        <p:nvGrpSpPr>
          <p:cNvPr id="67" name="Group 110">
            <a:extLst>
              <a:ext uri="{FF2B5EF4-FFF2-40B4-BE49-F238E27FC236}">
                <a16:creationId xmlns:a16="http://schemas.microsoft.com/office/drawing/2014/main" id="{A5C52755-10BF-4274-9AF0-AC3011381ADF}"/>
              </a:ext>
            </a:extLst>
          </p:cNvPr>
          <p:cNvGrpSpPr/>
          <p:nvPr/>
        </p:nvGrpSpPr>
        <p:grpSpPr>
          <a:xfrm>
            <a:off x="2559126" y="4571503"/>
            <a:ext cx="1593176" cy="1593176"/>
            <a:chOff x="2574603" y="4535156"/>
            <a:chExt cx="1593176" cy="1593176"/>
          </a:xfrm>
        </p:grpSpPr>
        <p:sp>
          <p:nvSpPr>
            <p:cNvPr id="68" name="Oval 95">
              <a:extLst>
                <a:ext uri="{FF2B5EF4-FFF2-40B4-BE49-F238E27FC236}">
                  <a16:creationId xmlns:a16="http://schemas.microsoft.com/office/drawing/2014/main" id="{58A98AD1-C10D-4D6F-8185-AE29165AC27E}"/>
                </a:ext>
              </a:extLst>
            </p:cNvPr>
            <p:cNvSpPr/>
            <p:nvPr/>
          </p:nvSpPr>
          <p:spPr>
            <a:xfrm>
              <a:off x="2574603" y="4535156"/>
              <a:ext cx="1593176" cy="1593176"/>
            </a:xfrm>
            <a:prstGeom prst="ellipse">
              <a:avLst/>
            </a:prstGeom>
            <a:solidFill>
              <a:schemeClr val="accent2"/>
            </a:solidFill>
            <a:ln>
              <a:noFill/>
            </a:ln>
            <a:effectLst>
              <a:outerShdw blurRad="215900" dist="228600" dir="5400000" algn="t" rotWithShape="0">
                <a:prstClr val="black">
                  <a:alpha val="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6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69" name="Rectangle 109">
              <a:extLst>
                <a:ext uri="{FF2B5EF4-FFF2-40B4-BE49-F238E27FC236}">
                  <a16:creationId xmlns:a16="http://schemas.microsoft.com/office/drawing/2014/main" id="{7360F934-BB3E-4601-8130-EBF516503E1C}"/>
                </a:ext>
              </a:extLst>
            </p:cNvPr>
            <p:cNvSpPr/>
            <p:nvPr/>
          </p:nvSpPr>
          <p:spPr>
            <a:xfrm>
              <a:off x="2576899" y="4872704"/>
              <a:ext cx="1588584" cy="83099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800" b="1" i="0" u="none" strike="noStrike" kern="1200" cap="none" spc="0" normalizeH="0" baseline="0" noProof="0" dirty="0">
                  <a:ln>
                    <a:noFill/>
                  </a:ln>
                  <a:solidFill>
                    <a:srgbClr val="FFFFFF"/>
                  </a:solidFill>
                  <a:effectLst/>
                  <a:uLnTx/>
                  <a:uFillTx/>
                  <a:latin typeface="等线 Light" panose="020F0302020204030204"/>
                  <a:ea typeface="Open Sans" panose="020B0606030504020204" pitchFamily="34" charset="0"/>
                  <a:cs typeface="Segoe UI" panose="020B0502040204020203" pitchFamily="34" charset="0"/>
                </a:rPr>
                <a:t>88</a:t>
              </a:r>
              <a:r>
                <a:rPr kumimoji="0" lang="en-US" sz="2400" b="1" i="0" u="none" strike="noStrike" kern="1200" cap="none" spc="0" normalizeH="0" baseline="0" noProof="0" dirty="0">
                  <a:ln>
                    <a:noFill/>
                  </a:ln>
                  <a:solidFill>
                    <a:srgbClr val="FFFFFF"/>
                  </a:solidFill>
                  <a:effectLst/>
                  <a:uLnTx/>
                  <a:uFillTx/>
                  <a:latin typeface="等线 Light" panose="020F0302020204030204"/>
                  <a:ea typeface="Open Sans" panose="020B0606030504020204" pitchFamily="34" charset="0"/>
                  <a:cs typeface="Segoe UI" panose="020B0502040204020203" pitchFamily="34" charset="0"/>
                </a:rPr>
                <a:t>%</a:t>
              </a:r>
              <a:endParaRPr kumimoji="0" lang="en-US" sz="1800" b="1" i="0" u="none" strike="noStrike" kern="1200" cap="none" spc="0" normalizeH="0" baseline="0" noProof="0" dirty="0">
                <a:ln>
                  <a:noFill/>
                </a:ln>
                <a:solidFill>
                  <a:srgbClr val="FFFFFF"/>
                </a:solidFill>
                <a:effectLst/>
                <a:uLnTx/>
                <a:uFillTx/>
                <a:latin typeface="等线 Light" panose="020F0302020204030204"/>
                <a:ea typeface="+mn-ea"/>
                <a:cs typeface="+mn-cs"/>
              </a:endParaRPr>
            </a:p>
          </p:txBody>
        </p:sp>
      </p:grpSp>
      <p:grpSp>
        <p:nvGrpSpPr>
          <p:cNvPr id="70" name="Group 113">
            <a:extLst>
              <a:ext uri="{FF2B5EF4-FFF2-40B4-BE49-F238E27FC236}">
                <a16:creationId xmlns:a16="http://schemas.microsoft.com/office/drawing/2014/main" id="{6DD9F9D6-29C4-4B00-B463-A65C13D3178D}"/>
              </a:ext>
            </a:extLst>
          </p:cNvPr>
          <p:cNvGrpSpPr/>
          <p:nvPr/>
        </p:nvGrpSpPr>
        <p:grpSpPr>
          <a:xfrm>
            <a:off x="8735172" y="5003507"/>
            <a:ext cx="910610" cy="910610"/>
            <a:chOff x="8347586" y="4755706"/>
            <a:chExt cx="910610" cy="910610"/>
          </a:xfrm>
        </p:grpSpPr>
        <p:sp>
          <p:nvSpPr>
            <p:cNvPr id="71" name="Oval 94">
              <a:extLst>
                <a:ext uri="{FF2B5EF4-FFF2-40B4-BE49-F238E27FC236}">
                  <a16:creationId xmlns:a16="http://schemas.microsoft.com/office/drawing/2014/main" id="{3B1BB7F6-3E42-40DA-A910-19B213ACA48A}"/>
                </a:ext>
              </a:extLst>
            </p:cNvPr>
            <p:cNvSpPr/>
            <p:nvPr/>
          </p:nvSpPr>
          <p:spPr>
            <a:xfrm>
              <a:off x="8347586" y="4755706"/>
              <a:ext cx="910610" cy="910610"/>
            </a:xfrm>
            <a:prstGeom prst="ellipse">
              <a:avLst/>
            </a:prstGeom>
            <a:solidFill>
              <a:schemeClr val="bg1"/>
            </a:solidFill>
            <a:ln>
              <a:noFill/>
            </a:ln>
            <a:effectLst>
              <a:outerShdw blurRad="215900" dist="228600" dir="5400000" algn="t" rotWithShape="0">
                <a:prstClr val="black">
                  <a:alpha val="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6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72" name="Rectangle 111">
              <a:extLst>
                <a:ext uri="{FF2B5EF4-FFF2-40B4-BE49-F238E27FC236}">
                  <a16:creationId xmlns:a16="http://schemas.microsoft.com/office/drawing/2014/main" id="{C9C1D77E-3B1B-4C47-A69A-1B8C33A4E663}"/>
                </a:ext>
              </a:extLst>
            </p:cNvPr>
            <p:cNvSpPr/>
            <p:nvPr/>
          </p:nvSpPr>
          <p:spPr>
            <a:xfrm>
              <a:off x="8618673" y="5026795"/>
              <a:ext cx="368436" cy="368432"/>
            </a:xfrm>
            <a:prstGeom prst="rect">
              <a:avLst/>
            </a:prstGeom>
            <a:blipFill>
              <a:blip r:embed="rId6">
                <a:duotone>
                  <a:prstClr val="black"/>
                  <a:schemeClr val="accent5">
                    <a:tint val="45000"/>
                    <a:satMod val="400000"/>
                  </a:schemeClr>
                </a:duotone>
                <a:extLst>
                  <a:ext uri="{BEBA8EAE-BF5A-486C-A8C5-ECC9F3942E4B}">
                    <a14:imgProps xmlns:a14="http://schemas.microsoft.com/office/drawing/2010/main">
                      <a14:imgLayer r:embed="rId7">
                        <a14:imgEffect>
                          <a14:brightnessContrast bright="100000"/>
                        </a14:imgEffect>
                      </a14:imgLayer>
                    </a14:imgProps>
                  </a:ext>
                </a:extLst>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等线" panose="020F0502020204030204"/>
                <a:ea typeface="+mn-ea"/>
                <a:cs typeface="+mn-cs"/>
              </a:endParaRPr>
            </a:p>
          </p:txBody>
        </p:sp>
      </p:grpSp>
      <p:grpSp>
        <p:nvGrpSpPr>
          <p:cNvPr id="73" name="Group 114">
            <a:extLst>
              <a:ext uri="{FF2B5EF4-FFF2-40B4-BE49-F238E27FC236}">
                <a16:creationId xmlns:a16="http://schemas.microsoft.com/office/drawing/2014/main" id="{06D64B6A-32FF-4BA0-9AF4-681AE75C93B8}"/>
              </a:ext>
            </a:extLst>
          </p:cNvPr>
          <p:cNvGrpSpPr/>
          <p:nvPr/>
        </p:nvGrpSpPr>
        <p:grpSpPr>
          <a:xfrm>
            <a:off x="9726693" y="4056462"/>
            <a:ext cx="522188" cy="522188"/>
            <a:chOff x="9965548" y="4003433"/>
            <a:chExt cx="522188" cy="522188"/>
          </a:xfrm>
        </p:grpSpPr>
        <p:sp>
          <p:nvSpPr>
            <p:cNvPr id="74" name="Oval 101">
              <a:extLst>
                <a:ext uri="{FF2B5EF4-FFF2-40B4-BE49-F238E27FC236}">
                  <a16:creationId xmlns:a16="http://schemas.microsoft.com/office/drawing/2014/main" id="{672EFF30-3413-4801-AA94-A6CDA7C93116}"/>
                </a:ext>
              </a:extLst>
            </p:cNvPr>
            <p:cNvSpPr/>
            <p:nvPr/>
          </p:nvSpPr>
          <p:spPr>
            <a:xfrm>
              <a:off x="9965548" y="4003433"/>
              <a:ext cx="522188" cy="522188"/>
            </a:xfrm>
            <a:prstGeom prst="ellipse">
              <a:avLst/>
            </a:prstGeom>
            <a:solidFill>
              <a:schemeClr val="accent5"/>
            </a:solidFill>
            <a:ln>
              <a:noFill/>
            </a:ln>
            <a:effectLst>
              <a:outerShdw blurRad="215900" dist="228600" dir="5400000" algn="t" rotWithShape="0">
                <a:prstClr val="black">
                  <a:alpha val="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6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75" name="Rectangle 112">
              <a:extLst>
                <a:ext uri="{FF2B5EF4-FFF2-40B4-BE49-F238E27FC236}">
                  <a16:creationId xmlns:a16="http://schemas.microsoft.com/office/drawing/2014/main" id="{2440639B-7A03-4F99-A285-836862720C28}"/>
                </a:ext>
              </a:extLst>
            </p:cNvPr>
            <p:cNvSpPr/>
            <p:nvPr/>
          </p:nvSpPr>
          <p:spPr>
            <a:xfrm>
              <a:off x="10109668" y="4140353"/>
              <a:ext cx="233948" cy="233946"/>
            </a:xfrm>
            <a:prstGeom prst="rect">
              <a:avLst/>
            </a:prstGeom>
            <a:blipFill>
              <a:blip r:embed="rId8"/>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等线" panose="020F0502020204030204"/>
                <a:ea typeface="+mn-ea"/>
                <a:cs typeface="+mn-cs"/>
              </a:endParaRPr>
            </a:p>
          </p:txBody>
        </p:sp>
      </p:grpSp>
      <p:grpSp>
        <p:nvGrpSpPr>
          <p:cNvPr id="76" name="Group 116">
            <a:extLst>
              <a:ext uri="{FF2B5EF4-FFF2-40B4-BE49-F238E27FC236}">
                <a16:creationId xmlns:a16="http://schemas.microsoft.com/office/drawing/2014/main" id="{F459AEA5-20B3-4299-9DE9-BC0F29AFD83E}"/>
              </a:ext>
            </a:extLst>
          </p:cNvPr>
          <p:cNvGrpSpPr/>
          <p:nvPr/>
        </p:nvGrpSpPr>
        <p:grpSpPr>
          <a:xfrm>
            <a:off x="8033915" y="3685981"/>
            <a:ext cx="1086124" cy="1086124"/>
            <a:chOff x="2828129" y="4788682"/>
            <a:chExt cx="1086124" cy="1086124"/>
          </a:xfrm>
        </p:grpSpPr>
        <p:sp>
          <p:nvSpPr>
            <p:cNvPr id="77" name="Oval 117">
              <a:extLst>
                <a:ext uri="{FF2B5EF4-FFF2-40B4-BE49-F238E27FC236}">
                  <a16:creationId xmlns:a16="http://schemas.microsoft.com/office/drawing/2014/main" id="{7CC75D1F-CAF8-4B85-AF9E-D9C40D45D397}"/>
                </a:ext>
              </a:extLst>
            </p:cNvPr>
            <p:cNvSpPr/>
            <p:nvPr/>
          </p:nvSpPr>
          <p:spPr>
            <a:xfrm>
              <a:off x="2828129" y="4788682"/>
              <a:ext cx="1086124" cy="1086124"/>
            </a:xfrm>
            <a:prstGeom prst="ellipse">
              <a:avLst/>
            </a:prstGeom>
            <a:solidFill>
              <a:schemeClr val="accent3"/>
            </a:solidFill>
            <a:ln>
              <a:noFill/>
            </a:ln>
            <a:effectLst>
              <a:outerShdw blurRad="215900" dist="228600" dir="5400000" algn="t" rotWithShape="0">
                <a:prstClr val="black">
                  <a:alpha val="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6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78" name="Rectangle 118">
              <a:extLst>
                <a:ext uri="{FF2B5EF4-FFF2-40B4-BE49-F238E27FC236}">
                  <a16:creationId xmlns:a16="http://schemas.microsoft.com/office/drawing/2014/main" id="{826F51C6-E380-4180-89BD-5E342F008CEE}"/>
                </a:ext>
              </a:extLst>
            </p:cNvPr>
            <p:cNvSpPr/>
            <p:nvPr/>
          </p:nvSpPr>
          <p:spPr>
            <a:xfrm>
              <a:off x="2828388" y="4974034"/>
              <a:ext cx="1085606" cy="64633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dirty="0">
                  <a:ln>
                    <a:noFill/>
                  </a:ln>
                  <a:solidFill>
                    <a:srgbClr val="FFFFFF"/>
                  </a:solidFill>
                  <a:effectLst/>
                  <a:uLnTx/>
                  <a:uFillTx/>
                  <a:latin typeface="等线 Light" panose="020F0302020204030204"/>
                  <a:ea typeface="Open Sans" panose="020B0606030504020204" pitchFamily="34" charset="0"/>
                  <a:cs typeface="Segoe UI" panose="020B0502040204020203" pitchFamily="34" charset="0"/>
                </a:rPr>
                <a:t>22</a:t>
              </a:r>
              <a:r>
                <a:rPr kumimoji="0" lang="en-US" sz="1600" b="1" i="0" u="none" strike="noStrike" kern="1200" cap="none" spc="0" normalizeH="0" baseline="0" noProof="0" dirty="0">
                  <a:ln>
                    <a:noFill/>
                  </a:ln>
                  <a:solidFill>
                    <a:srgbClr val="FFFFFF"/>
                  </a:solidFill>
                  <a:effectLst/>
                  <a:uLnTx/>
                  <a:uFillTx/>
                  <a:latin typeface="等线 Light" panose="020F0302020204030204"/>
                  <a:ea typeface="Open Sans" panose="020B0606030504020204" pitchFamily="34" charset="0"/>
                  <a:cs typeface="Segoe UI" panose="020B0502040204020203" pitchFamily="34" charset="0"/>
                </a:rPr>
                <a:t>%</a:t>
              </a:r>
              <a:endParaRPr kumimoji="0" lang="en-US" sz="1200" b="1" i="0" u="none" strike="noStrike" kern="1200" cap="none" spc="0" normalizeH="0" baseline="0" noProof="0" dirty="0">
                <a:ln>
                  <a:noFill/>
                </a:ln>
                <a:solidFill>
                  <a:srgbClr val="FFFFFF"/>
                </a:solidFill>
                <a:effectLst/>
                <a:uLnTx/>
                <a:uFillTx/>
                <a:latin typeface="等线 Light" panose="020F0302020204030204"/>
                <a:ea typeface="+mn-ea"/>
                <a:cs typeface="+mn-cs"/>
              </a:endParaRPr>
            </a:p>
          </p:txBody>
        </p:sp>
      </p:grpSp>
    </p:spTree>
    <p:extLst>
      <p:ext uri="{BB962C8B-B14F-4D97-AF65-F5344CB8AC3E}">
        <p14:creationId xmlns:p14="http://schemas.microsoft.com/office/powerpoint/2010/main" val="3239877206"/>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8" presetClass="entr" presetSubtype="3" fill="hold" nodeType="withEffect">
                                  <p:stCondLst>
                                    <p:cond delay="250"/>
                                  </p:stCondLst>
                                  <p:childTnLst>
                                    <p:set>
                                      <p:cBhvr>
                                        <p:cTn id="6" dur="1" fill="hold">
                                          <p:stCondLst>
                                            <p:cond delay="0"/>
                                          </p:stCondLst>
                                        </p:cTn>
                                        <p:tgtEl>
                                          <p:spTgt spid="54"/>
                                        </p:tgtEl>
                                        <p:attrNameLst>
                                          <p:attrName>style.visibility</p:attrName>
                                        </p:attrNameLst>
                                      </p:cBhvr>
                                      <p:to>
                                        <p:strVal val="visible"/>
                                      </p:to>
                                    </p:set>
                                    <p:animEffect transition="in" filter="strips(upRight)">
                                      <p:cBhvr>
                                        <p:cTn id="7" dur="500"/>
                                        <p:tgtEl>
                                          <p:spTgt spid="54"/>
                                        </p:tgtEl>
                                      </p:cBhvr>
                                    </p:animEffect>
                                  </p:childTnLst>
                                </p:cTn>
                              </p:par>
                              <p:par>
                                <p:cTn id="8" presetID="6" presetClass="emph" presetSubtype="0" accel="52000" decel="48000" autoRev="1" fill="hold" nodeType="withEffect">
                                  <p:stCondLst>
                                    <p:cond delay="250"/>
                                  </p:stCondLst>
                                  <p:childTnLst>
                                    <p:animScale>
                                      <p:cBhvr>
                                        <p:cTn id="9" dur="350" fill="hold"/>
                                        <p:tgtEl>
                                          <p:spTgt spid="54"/>
                                        </p:tgtEl>
                                      </p:cBhvr>
                                      <p:by x="110000" y="110000"/>
                                    </p:animScale>
                                  </p:childTnLst>
                                </p:cTn>
                              </p:par>
                              <p:par>
                                <p:cTn id="10" presetID="18" presetClass="entr" presetSubtype="3" fill="hold" nodeType="withEffect">
                                  <p:stCondLst>
                                    <p:cond delay="500"/>
                                  </p:stCondLst>
                                  <p:childTnLst>
                                    <p:set>
                                      <p:cBhvr>
                                        <p:cTn id="11" dur="1" fill="hold">
                                          <p:stCondLst>
                                            <p:cond delay="0"/>
                                          </p:stCondLst>
                                        </p:cTn>
                                        <p:tgtEl>
                                          <p:spTgt spid="64"/>
                                        </p:tgtEl>
                                        <p:attrNameLst>
                                          <p:attrName>style.visibility</p:attrName>
                                        </p:attrNameLst>
                                      </p:cBhvr>
                                      <p:to>
                                        <p:strVal val="visible"/>
                                      </p:to>
                                    </p:set>
                                    <p:animEffect transition="in" filter="strips(upRight)">
                                      <p:cBhvr>
                                        <p:cTn id="12" dur="500"/>
                                        <p:tgtEl>
                                          <p:spTgt spid="64"/>
                                        </p:tgtEl>
                                      </p:cBhvr>
                                    </p:animEffect>
                                  </p:childTnLst>
                                </p:cTn>
                              </p:par>
                              <p:par>
                                <p:cTn id="13" presetID="6" presetClass="emph" presetSubtype="0" accel="52000" decel="48000" autoRev="1" fill="hold" nodeType="withEffect">
                                  <p:stCondLst>
                                    <p:cond delay="500"/>
                                  </p:stCondLst>
                                  <p:childTnLst>
                                    <p:animScale>
                                      <p:cBhvr>
                                        <p:cTn id="14" dur="350" fill="hold"/>
                                        <p:tgtEl>
                                          <p:spTgt spid="64"/>
                                        </p:tgtEl>
                                      </p:cBhvr>
                                      <p:by x="110000" y="110000"/>
                                    </p:animScale>
                                  </p:childTnLst>
                                </p:cTn>
                              </p:par>
                              <p:par>
                                <p:cTn id="15" presetID="18" presetClass="entr" presetSubtype="3" fill="hold" nodeType="withEffect">
                                  <p:stCondLst>
                                    <p:cond delay="0"/>
                                  </p:stCondLst>
                                  <p:childTnLst>
                                    <p:set>
                                      <p:cBhvr>
                                        <p:cTn id="16" dur="1" fill="hold">
                                          <p:stCondLst>
                                            <p:cond delay="0"/>
                                          </p:stCondLst>
                                        </p:cTn>
                                        <p:tgtEl>
                                          <p:spTgt spid="2"/>
                                        </p:tgtEl>
                                        <p:attrNameLst>
                                          <p:attrName>style.visibility</p:attrName>
                                        </p:attrNameLst>
                                      </p:cBhvr>
                                      <p:to>
                                        <p:strVal val="visible"/>
                                      </p:to>
                                    </p:set>
                                    <p:animEffect transition="in" filter="strips(upRight)">
                                      <p:cBhvr>
                                        <p:cTn id="17" dur="500"/>
                                        <p:tgtEl>
                                          <p:spTgt spid="2"/>
                                        </p:tgtEl>
                                      </p:cBhvr>
                                    </p:animEffect>
                                  </p:childTnLst>
                                </p:cTn>
                              </p:par>
                              <p:par>
                                <p:cTn id="18" presetID="6" presetClass="emph" presetSubtype="0" accel="52000" decel="48000" autoRev="1" fill="hold" nodeType="withEffect">
                                  <p:stCondLst>
                                    <p:cond delay="0"/>
                                  </p:stCondLst>
                                  <p:childTnLst>
                                    <p:animScale>
                                      <p:cBhvr>
                                        <p:cTn id="19" dur="350" fill="hold"/>
                                        <p:tgtEl>
                                          <p:spTgt spid="2"/>
                                        </p:tgtEl>
                                      </p:cBhvr>
                                      <p:by x="110000" y="110000"/>
                                    </p:animScale>
                                  </p:childTnLst>
                                </p:cTn>
                              </p:par>
                              <p:par>
                                <p:cTn id="20" presetID="18" presetClass="entr" presetSubtype="3" fill="hold" nodeType="withEffect">
                                  <p:stCondLst>
                                    <p:cond delay="250"/>
                                  </p:stCondLst>
                                  <p:childTnLst>
                                    <p:set>
                                      <p:cBhvr>
                                        <p:cTn id="21" dur="1" fill="hold">
                                          <p:stCondLst>
                                            <p:cond delay="0"/>
                                          </p:stCondLst>
                                        </p:cTn>
                                        <p:tgtEl>
                                          <p:spTgt spid="67"/>
                                        </p:tgtEl>
                                        <p:attrNameLst>
                                          <p:attrName>style.visibility</p:attrName>
                                        </p:attrNameLst>
                                      </p:cBhvr>
                                      <p:to>
                                        <p:strVal val="visible"/>
                                      </p:to>
                                    </p:set>
                                    <p:animEffect transition="in" filter="strips(upRight)">
                                      <p:cBhvr>
                                        <p:cTn id="22" dur="500"/>
                                        <p:tgtEl>
                                          <p:spTgt spid="67"/>
                                        </p:tgtEl>
                                      </p:cBhvr>
                                    </p:animEffect>
                                  </p:childTnLst>
                                </p:cTn>
                              </p:par>
                              <p:par>
                                <p:cTn id="23" presetID="6" presetClass="emph" presetSubtype="0" accel="52000" decel="48000" autoRev="1" fill="hold" nodeType="withEffect">
                                  <p:stCondLst>
                                    <p:cond delay="250"/>
                                  </p:stCondLst>
                                  <p:childTnLst>
                                    <p:animScale>
                                      <p:cBhvr>
                                        <p:cTn id="24" dur="350" fill="hold"/>
                                        <p:tgtEl>
                                          <p:spTgt spid="67"/>
                                        </p:tgtEl>
                                      </p:cBhvr>
                                      <p:by x="110000" y="110000"/>
                                    </p:animScale>
                                  </p:childTnLst>
                                </p:cTn>
                              </p:par>
                              <p:par>
                                <p:cTn id="25" presetID="18" presetClass="entr" presetSubtype="3" fill="hold" nodeType="withEffect">
                                  <p:stCondLst>
                                    <p:cond delay="500"/>
                                  </p:stCondLst>
                                  <p:childTnLst>
                                    <p:set>
                                      <p:cBhvr>
                                        <p:cTn id="26" dur="1" fill="hold">
                                          <p:stCondLst>
                                            <p:cond delay="0"/>
                                          </p:stCondLst>
                                        </p:cTn>
                                        <p:tgtEl>
                                          <p:spTgt spid="70"/>
                                        </p:tgtEl>
                                        <p:attrNameLst>
                                          <p:attrName>style.visibility</p:attrName>
                                        </p:attrNameLst>
                                      </p:cBhvr>
                                      <p:to>
                                        <p:strVal val="visible"/>
                                      </p:to>
                                    </p:set>
                                    <p:animEffect transition="in" filter="strips(upRight)">
                                      <p:cBhvr>
                                        <p:cTn id="27" dur="500"/>
                                        <p:tgtEl>
                                          <p:spTgt spid="70"/>
                                        </p:tgtEl>
                                      </p:cBhvr>
                                    </p:animEffect>
                                  </p:childTnLst>
                                </p:cTn>
                              </p:par>
                              <p:par>
                                <p:cTn id="28" presetID="6" presetClass="emph" presetSubtype="0" accel="52000" decel="48000" autoRev="1" fill="hold" nodeType="withEffect">
                                  <p:stCondLst>
                                    <p:cond delay="500"/>
                                  </p:stCondLst>
                                  <p:childTnLst>
                                    <p:animScale>
                                      <p:cBhvr>
                                        <p:cTn id="29" dur="350" fill="hold"/>
                                        <p:tgtEl>
                                          <p:spTgt spid="70"/>
                                        </p:tgtEl>
                                      </p:cBhvr>
                                      <p:by x="110000" y="110000"/>
                                    </p:animScale>
                                  </p:childTnLst>
                                </p:cTn>
                              </p:par>
                              <p:par>
                                <p:cTn id="30" presetID="18" presetClass="entr" presetSubtype="3" fill="hold" nodeType="withEffect">
                                  <p:stCondLst>
                                    <p:cond delay="250"/>
                                  </p:stCondLst>
                                  <p:childTnLst>
                                    <p:set>
                                      <p:cBhvr>
                                        <p:cTn id="31" dur="1" fill="hold">
                                          <p:stCondLst>
                                            <p:cond delay="0"/>
                                          </p:stCondLst>
                                        </p:cTn>
                                        <p:tgtEl>
                                          <p:spTgt spid="76"/>
                                        </p:tgtEl>
                                        <p:attrNameLst>
                                          <p:attrName>style.visibility</p:attrName>
                                        </p:attrNameLst>
                                      </p:cBhvr>
                                      <p:to>
                                        <p:strVal val="visible"/>
                                      </p:to>
                                    </p:set>
                                    <p:animEffect transition="in" filter="strips(upRight)">
                                      <p:cBhvr>
                                        <p:cTn id="32" dur="500"/>
                                        <p:tgtEl>
                                          <p:spTgt spid="76"/>
                                        </p:tgtEl>
                                      </p:cBhvr>
                                    </p:animEffect>
                                  </p:childTnLst>
                                </p:cTn>
                              </p:par>
                              <p:par>
                                <p:cTn id="33" presetID="6" presetClass="emph" presetSubtype="0" accel="52000" decel="48000" autoRev="1" fill="hold" nodeType="withEffect">
                                  <p:stCondLst>
                                    <p:cond delay="250"/>
                                  </p:stCondLst>
                                  <p:childTnLst>
                                    <p:animScale>
                                      <p:cBhvr>
                                        <p:cTn id="34" dur="350" fill="hold"/>
                                        <p:tgtEl>
                                          <p:spTgt spid="76"/>
                                        </p:tgtEl>
                                      </p:cBhvr>
                                      <p:by x="110000" y="110000"/>
                                    </p:animScale>
                                  </p:childTnLst>
                                </p:cTn>
                              </p:par>
                              <p:par>
                                <p:cTn id="35" presetID="18" presetClass="entr" presetSubtype="3" fill="hold" nodeType="withEffect">
                                  <p:stCondLst>
                                    <p:cond delay="500"/>
                                  </p:stCondLst>
                                  <p:childTnLst>
                                    <p:set>
                                      <p:cBhvr>
                                        <p:cTn id="36" dur="1" fill="hold">
                                          <p:stCondLst>
                                            <p:cond delay="0"/>
                                          </p:stCondLst>
                                        </p:cTn>
                                        <p:tgtEl>
                                          <p:spTgt spid="73"/>
                                        </p:tgtEl>
                                        <p:attrNameLst>
                                          <p:attrName>style.visibility</p:attrName>
                                        </p:attrNameLst>
                                      </p:cBhvr>
                                      <p:to>
                                        <p:strVal val="visible"/>
                                      </p:to>
                                    </p:set>
                                    <p:animEffect transition="in" filter="strips(upRight)">
                                      <p:cBhvr>
                                        <p:cTn id="37" dur="500"/>
                                        <p:tgtEl>
                                          <p:spTgt spid="73"/>
                                        </p:tgtEl>
                                      </p:cBhvr>
                                    </p:animEffect>
                                  </p:childTnLst>
                                </p:cTn>
                              </p:par>
                              <p:par>
                                <p:cTn id="38" presetID="6" presetClass="emph" presetSubtype="0" accel="52000" decel="48000" autoRev="1" fill="hold" nodeType="withEffect">
                                  <p:stCondLst>
                                    <p:cond delay="500"/>
                                  </p:stCondLst>
                                  <p:childTnLst>
                                    <p:animScale>
                                      <p:cBhvr>
                                        <p:cTn id="39" dur="350" fill="hold"/>
                                        <p:tgtEl>
                                          <p:spTgt spid="73"/>
                                        </p:tgtEl>
                                      </p:cBhvr>
                                      <p:by x="110000" y="110000"/>
                                    </p:animScale>
                                  </p:childTnLst>
                                </p:cTn>
                              </p:par>
                              <p:par>
                                <p:cTn id="40" presetID="18" presetClass="entr" presetSubtype="3" fill="hold" nodeType="withEffect">
                                  <p:stCondLst>
                                    <p:cond delay="0"/>
                                  </p:stCondLst>
                                  <p:childTnLst>
                                    <p:set>
                                      <p:cBhvr>
                                        <p:cTn id="41" dur="1" fill="hold">
                                          <p:stCondLst>
                                            <p:cond delay="0"/>
                                          </p:stCondLst>
                                        </p:cTn>
                                        <p:tgtEl>
                                          <p:spTgt spid="59"/>
                                        </p:tgtEl>
                                        <p:attrNameLst>
                                          <p:attrName>style.visibility</p:attrName>
                                        </p:attrNameLst>
                                      </p:cBhvr>
                                      <p:to>
                                        <p:strVal val="visible"/>
                                      </p:to>
                                    </p:set>
                                    <p:animEffect transition="in" filter="strips(upRight)">
                                      <p:cBhvr>
                                        <p:cTn id="42" dur="500"/>
                                        <p:tgtEl>
                                          <p:spTgt spid="59"/>
                                        </p:tgtEl>
                                      </p:cBhvr>
                                    </p:animEffect>
                                  </p:childTnLst>
                                </p:cTn>
                              </p:par>
                              <p:par>
                                <p:cTn id="43" presetID="6" presetClass="emph" presetSubtype="0" accel="52000" decel="48000" autoRev="1" fill="hold" nodeType="withEffect">
                                  <p:stCondLst>
                                    <p:cond delay="0"/>
                                  </p:stCondLst>
                                  <p:childTnLst>
                                    <p:animScale>
                                      <p:cBhvr>
                                        <p:cTn id="44" dur="350" fill="hold"/>
                                        <p:tgtEl>
                                          <p:spTgt spid="59"/>
                                        </p:tgtEl>
                                      </p:cBhvr>
                                      <p:by x="110000" y="11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35">
            <a:extLst>
              <a:ext uri="{FF2B5EF4-FFF2-40B4-BE49-F238E27FC236}">
                <a16:creationId xmlns:a16="http://schemas.microsoft.com/office/drawing/2014/main" id="{A28D27CA-F8DD-4F9A-891E-4F6E12256739}"/>
              </a:ext>
            </a:extLst>
          </p:cNvPr>
          <p:cNvGrpSpPr/>
          <p:nvPr/>
        </p:nvGrpSpPr>
        <p:grpSpPr>
          <a:xfrm>
            <a:off x="3668775" y="2250179"/>
            <a:ext cx="1876720" cy="2138043"/>
            <a:chOff x="3668775" y="2250179"/>
            <a:chExt cx="1876720" cy="2138043"/>
          </a:xfrm>
        </p:grpSpPr>
        <p:sp>
          <p:nvSpPr>
            <p:cNvPr id="3" name="Freeform: Shape 12">
              <a:extLst>
                <a:ext uri="{FF2B5EF4-FFF2-40B4-BE49-F238E27FC236}">
                  <a16:creationId xmlns:a16="http://schemas.microsoft.com/office/drawing/2014/main" id="{50C38B0C-51A4-4419-8FCF-26E948784DA5}"/>
                </a:ext>
              </a:extLst>
            </p:cNvPr>
            <p:cNvSpPr/>
            <p:nvPr/>
          </p:nvSpPr>
          <p:spPr>
            <a:xfrm>
              <a:off x="4248817" y="2883699"/>
              <a:ext cx="985851" cy="1099135"/>
            </a:xfrm>
            <a:custGeom>
              <a:avLst/>
              <a:gdLst>
                <a:gd name="connsiteX0" fmla="*/ 331473 w 1064148"/>
                <a:gd name="connsiteY0" fmla="*/ 1186430 h 1186429"/>
                <a:gd name="connsiteX1" fmla="*/ 1064148 w 1064148"/>
                <a:gd name="connsiteY1" fmla="*/ 1186430 h 1186429"/>
                <a:gd name="connsiteX2" fmla="*/ 1064148 w 1064148"/>
                <a:gd name="connsiteY2" fmla="*/ 1006545 h 1186429"/>
                <a:gd name="connsiteX3" fmla="*/ 427478 w 1064148"/>
                <a:gd name="connsiteY3" fmla="*/ 1006545 h 1186429"/>
                <a:gd name="connsiteX4" fmla="*/ 337536 w 1064148"/>
                <a:gd name="connsiteY4" fmla="*/ 1006545 h 1186429"/>
                <a:gd name="connsiteX5" fmla="*/ 179885 w 1064148"/>
                <a:gd name="connsiteY5" fmla="*/ 848894 h 1186429"/>
                <a:gd name="connsiteX6" fmla="*/ 179885 w 1064148"/>
                <a:gd name="connsiteY6" fmla="*/ 0 h 1186429"/>
                <a:gd name="connsiteX7" fmla="*/ 0 w 1064148"/>
                <a:gd name="connsiteY7" fmla="*/ 294081 h 1186429"/>
                <a:gd name="connsiteX8" fmla="*/ 0 w 1064148"/>
                <a:gd name="connsiteY8" fmla="*/ 854957 h 1186429"/>
                <a:gd name="connsiteX9" fmla="*/ 331473 w 1064148"/>
                <a:gd name="connsiteY9" fmla="*/ 1186430 h 1186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64148" h="1186429">
                  <a:moveTo>
                    <a:pt x="331473" y="1186430"/>
                  </a:moveTo>
                  <a:lnTo>
                    <a:pt x="1064148" y="1186430"/>
                  </a:lnTo>
                  <a:lnTo>
                    <a:pt x="1064148" y="1006545"/>
                  </a:lnTo>
                  <a:lnTo>
                    <a:pt x="427478" y="1006545"/>
                  </a:lnTo>
                  <a:lnTo>
                    <a:pt x="337536" y="1006545"/>
                  </a:lnTo>
                  <a:cubicBezTo>
                    <a:pt x="250626" y="1006545"/>
                    <a:pt x="179885" y="935804"/>
                    <a:pt x="179885" y="848894"/>
                  </a:cubicBezTo>
                  <a:lnTo>
                    <a:pt x="179885" y="0"/>
                  </a:lnTo>
                  <a:cubicBezTo>
                    <a:pt x="73773" y="55582"/>
                    <a:pt x="0" y="166747"/>
                    <a:pt x="0" y="294081"/>
                  </a:cubicBezTo>
                  <a:lnTo>
                    <a:pt x="0" y="854957"/>
                  </a:lnTo>
                  <a:cubicBezTo>
                    <a:pt x="0" y="1037873"/>
                    <a:pt x="149567" y="1186430"/>
                    <a:pt x="331473" y="1186430"/>
                  </a:cubicBezTo>
                  <a:close/>
                </a:path>
              </a:pathLst>
            </a:custGeom>
            <a:solidFill>
              <a:schemeClr val="accent2"/>
            </a:solidFill>
            <a:ln w="1009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4" name="Freeform: Shape 14">
              <a:extLst>
                <a:ext uri="{FF2B5EF4-FFF2-40B4-BE49-F238E27FC236}">
                  <a16:creationId xmlns:a16="http://schemas.microsoft.com/office/drawing/2014/main" id="{22A83DC4-AD49-407E-B642-6F94555A7C4E}"/>
                </a:ext>
              </a:extLst>
            </p:cNvPr>
            <p:cNvSpPr/>
            <p:nvPr/>
          </p:nvSpPr>
          <p:spPr>
            <a:xfrm>
              <a:off x="4726294" y="3816186"/>
              <a:ext cx="819201" cy="572036"/>
            </a:xfrm>
            <a:custGeom>
              <a:avLst/>
              <a:gdLst>
                <a:gd name="connsiteX0" fmla="*/ 0 w 884263"/>
                <a:gd name="connsiteY0" fmla="*/ 0 h 617468"/>
                <a:gd name="connsiteX1" fmla="*/ 552791 w 884263"/>
                <a:gd name="connsiteY1" fmla="*/ 0 h 617468"/>
                <a:gd name="connsiteX2" fmla="*/ 884264 w 884263"/>
                <a:gd name="connsiteY2" fmla="*/ 331473 h 617468"/>
                <a:gd name="connsiteX3" fmla="*/ 884264 w 884263"/>
                <a:gd name="connsiteY3" fmla="*/ 617469 h 617468"/>
                <a:gd name="connsiteX4" fmla="*/ 704379 w 884263"/>
                <a:gd name="connsiteY4" fmla="*/ 617469 h 617468"/>
                <a:gd name="connsiteX5" fmla="*/ 704379 w 884263"/>
                <a:gd name="connsiteY5" fmla="*/ 337536 h 617468"/>
                <a:gd name="connsiteX6" fmla="*/ 546728 w 884263"/>
                <a:gd name="connsiteY6" fmla="*/ 179884 h 617468"/>
                <a:gd name="connsiteX7" fmla="*/ 0 w 884263"/>
                <a:gd name="connsiteY7" fmla="*/ 179884 h 617468"/>
                <a:gd name="connsiteX8" fmla="*/ 0 w 884263"/>
                <a:gd name="connsiteY8" fmla="*/ 0 h 6174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84263" h="617468">
                  <a:moveTo>
                    <a:pt x="0" y="0"/>
                  </a:moveTo>
                  <a:lnTo>
                    <a:pt x="552791" y="0"/>
                  </a:lnTo>
                  <a:cubicBezTo>
                    <a:pt x="734697" y="0"/>
                    <a:pt x="884264" y="148556"/>
                    <a:pt x="884264" y="331473"/>
                  </a:cubicBezTo>
                  <a:lnTo>
                    <a:pt x="884264" y="617469"/>
                  </a:lnTo>
                  <a:lnTo>
                    <a:pt x="704379" y="617469"/>
                  </a:lnTo>
                  <a:lnTo>
                    <a:pt x="704379" y="337536"/>
                  </a:lnTo>
                  <a:cubicBezTo>
                    <a:pt x="704379" y="250626"/>
                    <a:pt x="633638" y="179884"/>
                    <a:pt x="546728" y="179884"/>
                  </a:cubicBezTo>
                  <a:lnTo>
                    <a:pt x="0" y="179884"/>
                  </a:lnTo>
                  <a:lnTo>
                    <a:pt x="0" y="0"/>
                  </a:lnTo>
                  <a:close/>
                </a:path>
              </a:pathLst>
            </a:custGeom>
            <a:solidFill>
              <a:schemeClr val="accent2"/>
            </a:solidFill>
            <a:ln w="1009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5" name="Freeform: Shape 24">
              <a:extLst>
                <a:ext uri="{FF2B5EF4-FFF2-40B4-BE49-F238E27FC236}">
                  <a16:creationId xmlns:a16="http://schemas.microsoft.com/office/drawing/2014/main" id="{45A18440-CEB7-4746-8AE9-065B34A3A405}"/>
                </a:ext>
              </a:extLst>
            </p:cNvPr>
            <p:cNvSpPr/>
            <p:nvPr/>
          </p:nvSpPr>
          <p:spPr>
            <a:xfrm>
              <a:off x="3668775" y="2250179"/>
              <a:ext cx="1326732" cy="1351302"/>
            </a:xfrm>
            <a:custGeom>
              <a:avLst/>
              <a:gdLst>
                <a:gd name="connsiteX0" fmla="*/ 600289 w 1200577"/>
                <a:gd name="connsiteY0" fmla="*/ 1222811 h 1222810"/>
                <a:gd name="connsiteX1" fmla="*/ 1200578 w 1200577"/>
                <a:gd name="connsiteY1" fmla="*/ 611405 h 1222810"/>
                <a:gd name="connsiteX2" fmla="*/ 600289 w 1200577"/>
                <a:gd name="connsiteY2" fmla="*/ 0 h 1222810"/>
                <a:gd name="connsiteX3" fmla="*/ 0 w 1200577"/>
                <a:gd name="connsiteY3" fmla="*/ 611405 h 1222810"/>
                <a:gd name="connsiteX4" fmla="*/ 600289 w 1200577"/>
                <a:gd name="connsiteY4" fmla="*/ 1222811 h 12228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00577" h="1222810">
                  <a:moveTo>
                    <a:pt x="600289" y="1222811"/>
                  </a:moveTo>
                  <a:cubicBezTo>
                    <a:pt x="930751" y="1222811"/>
                    <a:pt x="1200578" y="947931"/>
                    <a:pt x="1200578" y="611405"/>
                  </a:cubicBezTo>
                  <a:cubicBezTo>
                    <a:pt x="1200578" y="274880"/>
                    <a:pt x="930751" y="0"/>
                    <a:pt x="600289" y="0"/>
                  </a:cubicBezTo>
                  <a:cubicBezTo>
                    <a:pt x="269827" y="0"/>
                    <a:pt x="0" y="274880"/>
                    <a:pt x="0" y="611405"/>
                  </a:cubicBezTo>
                  <a:cubicBezTo>
                    <a:pt x="0" y="947931"/>
                    <a:pt x="269827" y="1222811"/>
                    <a:pt x="600289" y="1222811"/>
                  </a:cubicBezTo>
                  <a:close/>
                </a:path>
              </a:pathLst>
            </a:custGeom>
            <a:solidFill>
              <a:schemeClr val="accent2"/>
            </a:solidFill>
            <a:ln w="1009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useBgFill="1">
          <p:nvSpPr>
            <p:cNvPr id="6" name="Freeform: Shape 28">
              <a:extLst>
                <a:ext uri="{FF2B5EF4-FFF2-40B4-BE49-F238E27FC236}">
                  <a16:creationId xmlns:a16="http://schemas.microsoft.com/office/drawing/2014/main" id="{7640BB91-08AB-429C-808D-BFC7C9A1B317}"/>
                </a:ext>
              </a:extLst>
            </p:cNvPr>
            <p:cNvSpPr/>
            <p:nvPr/>
          </p:nvSpPr>
          <p:spPr>
            <a:xfrm>
              <a:off x="3805959" y="2387542"/>
              <a:ext cx="1054238" cy="1076576"/>
            </a:xfrm>
            <a:custGeom>
              <a:avLst/>
              <a:gdLst>
                <a:gd name="connsiteX0" fmla="*/ 476997 w 953994"/>
                <a:gd name="connsiteY0" fmla="*/ 974206 h 974206"/>
                <a:gd name="connsiteX1" fmla="*/ 953994 w 953994"/>
                <a:gd name="connsiteY1" fmla="*/ 487103 h 974206"/>
                <a:gd name="connsiteX2" fmla="*/ 476997 w 953994"/>
                <a:gd name="connsiteY2" fmla="*/ 0 h 974206"/>
                <a:gd name="connsiteX3" fmla="*/ 0 w 953994"/>
                <a:gd name="connsiteY3" fmla="*/ 487103 h 974206"/>
                <a:gd name="connsiteX4" fmla="*/ 476997 w 953994"/>
                <a:gd name="connsiteY4" fmla="*/ 974206 h 9742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3994" h="974206">
                  <a:moveTo>
                    <a:pt x="476997" y="974206"/>
                  </a:moveTo>
                  <a:cubicBezTo>
                    <a:pt x="739750" y="974206"/>
                    <a:pt x="953994" y="754909"/>
                    <a:pt x="953994" y="487103"/>
                  </a:cubicBezTo>
                  <a:cubicBezTo>
                    <a:pt x="953994" y="219297"/>
                    <a:pt x="739750" y="0"/>
                    <a:pt x="476997" y="0"/>
                  </a:cubicBezTo>
                  <a:cubicBezTo>
                    <a:pt x="214245" y="0"/>
                    <a:pt x="0" y="219297"/>
                    <a:pt x="0" y="487103"/>
                  </a:cubicBezTo>
                  <a:cubicBezTo>
                    <a:pt x="0" y="754909"/>
                    <a:pt x="214245" y="974206"/>
                    <a:pt x="476997" y="974206"/>
                  </a:cubicBezTo>
                  <a:close/>
                </a:path>
              </a:pathLst>
            </a:custGeom>
            <a:ln w="1009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grpSp>
        <p:nvGrpSpPr>
          <p:cNvPr id="7" name="Group 32">
            <a:extLst>
              <a:ext uri="{FF2B5EF4-FFF2-40B4-BE49-F238E27FC236}">
                <a16:creationId xmlns:a16="http://schemas.microsoft.com/office/drawing/2014/main" id="{68B20558-2710-47A7-88B9-D1844FA759C3}"/>
              </a:ext>
            </a:extLst>
          </p:cNvPr>
          <p:cNvGrpSpPr/>
          <p:nvPr/>
        </p:nvGrpSpPr>
        <p:grpSpPr>
          <a:xfrm>
            <a:off x="5417233" y="2449288"/>
            <a:ext cx="1357534" cy="4408712"/>
            <a:chOff x="5417233" y="2449288"/>
            <a:chExt cx="1357534" cy="4408712"/>
          </a:xfrm>
        </p:grpSpPr>
        <p:sp>
          <p:nvSpPr>
            <p:cNvPr id="8" name="Freeform: Shape 6">
              <a:extLst>
                <a:ext uri="{FF2B5EF4-FFF2-40B4-BE49-F238E27FC236}">
                  <a16:creationId xmlns:a16="http://schemas.microsoft.com/office/drawing/2014/main" id="{CD377817-E2F5-4B2E-B3E7-C074CF85891F}"/>
                </a:ext>
              </a:extLst>
            </p:cNvPr>
            <p:cNvSpPr/>
            <p:nvPr/>
          </p:nvSpPr>
          <p:spPr>
            <a:xfrm>
              <a:off x="6012675" y="2882763"/>
              <a:ext cx="166649" cy="3975237"/>
            </a:xfrm>
            <a:custGeom>
              <a:avLst/>
              <a:gdLst>
                <a:gd name="connsiteX0" fmla="*/ 0 w 179884"/>
                <a:gd name="connsiteY0" fmla="*/ 0 h 4290954"/>
                <a:gd name="connsiteX1" fmla="*/ 179884 w 179884"/>
                <a:gd name="connsiteY1" fmla="*/ 0 h 4290954"/>
                <a:gd name="connsiteX2" fmla="*/ 179884 w 179884"/>
                <a:gd name="connsiteY2" fmla="*/ 4290955 h 4290954"/>
                <a:gd name="connsiteX3" fmla="*/ 0 w 179884"/>
                <a:gd name="connsiteY3" fmla="*/ 4290955 h 4290954"/>
              </a:gdLst>
              <a:ahLst/>
              <a:cxnLst>
                <a:cxn ang="0">
                  <a:pos x="connsiteX0" y="connsiteY0"/>
                </a:cxn>
                <a:cxn ang="0">
                  <a:pos x="connsiteX1" y="connsiteY1"/>
                </a:cxn>
                <a:cxn ang="0">
                  <a:pos x="connsiteX2" y="connsiteY2"/>
                </a:cxn>
                <a:cxn ang="0">
                  <a:pos x="connsiteX3" y="connsiteY3"/>
                </a:cxn>
              </a:cxnLst>
              <a:rect l="l" t="t" r="r" b="b"/>
              <a:pathLst>
                <a:path w="179884" h="4290954">
                  <a:moveTo>
                    <a:pt x="0" y="0"/>
                  </a:moveTo>
                  <a:lnTo>
                    <a:pt x="179884" y="0"/>
                  </a:lnTo>
                  <a:lnTo>
                    <a:pt x="179884" y="4290955"/>
                  </a:lnTo>
                  <a:lnTo>
                    <a:pt x="0" y="4290955"/>
                  </a:lnTo>
                  <a:close/>
                </a:path>
              </a:pathLst>
            </a:custGeom>
            <a:solidFill>
              <a:schemeClr val="accent3"/>
            </a:solidFill>
            <a:ln w="1009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9" name="Freeform: Shape 7">
              <a:extLst>
                <a:ext uri="{FF2B5EF4-FFF2-40B4-BE49-F238E27FC236}">
                  <a16:creationId xmlns:a16="http://schemas.microsoft.com/office/drawing/2014/main" id="{F96D15EB-917E-498E-93FD-0C4536B8961A}"/>
                </a:ext>
              </a:extLst>
            </p:cNvPr>
            <p:cNvSpPr/>
            <p:nvPr/>
          </p:nvSpPr>
          <p:spPr>
            <a:xfrm>
              <a:off x="5417233" y="2449288"/>
              <a:ext cx="1357534" cy="1381877"/>
            </a:xfrm>
            <a:custGeom>
              <a:avLst/>
              <a:gdLst>
                <a:gd name="connsiteX0" fmla="*/ 732676 w 1465351"/>
                <a:gd name="connsiteY0" fmla="*/ 1491627 h 1491627"/>
                <a:gd name="connsiteX1" fmla="*/ 1465352 w 1465351"/>
                <a:gd name="connsiteY1" fmla="*/ 745814 h 1491627"/>
                <a:gd name="connsiteX2" fmla="*/ 732676 w 1465351"/>
                <a:gd name="connsiteY2" fmla="*/ 0 h 1491627"/>
                <a:gd name="connsiteX3" fmla="*/ 0 w 1465351"/>
                <a:gd name="connsiteY3" fmla="*/ 745814 h 1491627"/>
                <a:gd name="connsiteX4" fmla="*/ 732676 w 1465351"/>
                <a:gd name="connsiteY4" fmla="*/ 1491627 h 14916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5351" h="1491627">
                  <a:moveTo>
                    <a:pt x="732676" y="1491627"/>
                  </a:moveTo>
                  <a:cubicBezTo>
                    <a:pt x="1135900" y="1491627"/>
                    <a:pt x="1465352" y="1156112"/>
                    <a:pt x="1465352" y="745814"/>
                  </a:cubicBezTo>
                  <a:cubicBezTo>
                    <a:pt x="1465352" y="334504"/>
                    <a:pt x="1135900" y="0"/>
                    <a:pt x="732676" y="0"/>
                  </a:cubicBezTo>
                  <a:cubicBezTo>
                    <a:pt x="329452" y="0"/>
                    <a:pt x="0" y="335515"/>
                    <a:pt x="0" y="745814"/>
                  </a:cubicBezTo>
                  <a:cubicBezTo>
                    <a:pt x="0" y="1156112"/>
                    <a:pt x="329452" y="1491627"/>
                    <a:pt x="732676" y="1491627"/>
                  </a:cubicBezTo>
                  <a:close/>
                </a:path>
              </a:pathLst>
            </a:custGeom>
            <a:solidFill>
              <a:schemeClr val="accent3"/>
            </a:solidFill>
            <a:ln w="1009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useBgFill="1">
          <p:nvSpPr>
            <p:cNvPr id="10" name="Freeform: Shape 9">
              <a:extLst>
                <a:ext uri="{FF2B5EF4-FFF2-40B4-BE49-F238E27FC236}">
                  <a16:creationId xmlns:a16="http://schemas.microsoft.com/office/drawing/2014/main" id="{289D355C-C8D5-43D1-BC8A-B32BB2373D1E}"/>
                </a:ext>
              </a:extLst>
            </p:cNvPr>
            <p:cNvSpPr/>
            <p:nvPr/>
          </p:nvSpPr>
          <p:spPr>
            <a:xfrm>
              <a:off x="5509919" y="2541975"/>
              <a:ext cx="1172161" cy="1196503"/>
            </a:xfrm>
            <a:custGeom>
              <a:avLst/>
              <a:gdLst>
                <a:gd name="connsiteX0" fmla="*/ 632628 w 1265255"/>
                <a:gd name="connsiteY0" fmla="*/ 1291531 h 1291530"/>
                <a:gd name="connsiteX1" fmla="*/ 1265255 w 1265255"/>
                <a:gd name="connsiteY1" fmla="*/ 645765 h 1291530"/>
                <a:gd name="connsiteX2" fmla="*/ 632628 w 1265255"/>
                <a:gd name="connsiteY2" fmla="*/ 0 h 1291530"/>
                <a:gd name="connsiteX3" fmla="*/ 0 w 1265255"/>
                <a:gd name="connsiteY3" fmla="*/ 645765 h 1291530"/>
                <a:gd name="connsiteX4" fmla="*/ 632628 w 1265255"/>
                <a:gd name="connsiteY4" fmla="*/ 1291531 h 12915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65255" h="1291530">
                  <a:moveTo>
                    <a:pt x="632628" y="1291531"/>
                  </a:moveTo>
                  <a:cubicBezTo>
                    <a:pt x="981280" y="1291531"/>
                    <a:pt x="1265255" y="1001492"/>
                    <a:pt x="1265255" y="645765"/>
                  </a:cubicBezTo>
                  <a:cubicBezTo>
                    <a:pt x="1265255" y="290039"/>
                    <a:pt x="981280" y="0"/>
                    <a:pt x="632628" y="0"/>
                  </a:cubicBezTo>
                  <a:cubicBezTo>
                    <a:pt x="283975" y="0"/>
                    <a:pt x="0" y="290039"/>
                    <a:pt x="0" y="645765"/>
                  </a:cubicBezTo>
                  <a:cubicBezTo>
                    <a:pt x="0" y="1000482"/>
                    <a:pt x="283975" y="1291531"/>
                    <a:pt x="632628" y="1291531"/>
                  </a:cubicBezTo>
                  <a:close/>
                </a:path>
              </a:pathLst>
            </a:custGeom>
            <a:ln w="1009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grpSp>
        <p:nvGrpSpPr>
          <p:cNvPr id="11" name="Group 36">
            <a:extLst>
              <a:ext uri="{FF2B5EF4-FFF2-40B4-BE49-F238E27FC236}">
                <a16:creationId xmlns:a16="http://schemas.microsoft.com/office/drawing/2014/main" id="{A69272D5-108B-49C1-AE8C-39CFC471545E}"/>
              </a:ext>
            </a:extLst>
          </p:cNvPr>
          <p:cNvGrpSpPr/>
          <p:nvPr/>
        </p:nvGrpSpPr>
        <p:grpSpPr>
          <a:xfrm>
            <a:off x="6646503" y="2250179"/>
            <a:ext cx="1876721" cy="2138043"/>
            <a:chOff x="6646503" y="2250179"/>
            <a:chExt cx="1876721" cy="2138043"/>
          </a:xfrm>
        </p:grpSpPr>
        <p:sp>
          <p:nvSpPr>
            <p:cNvPr id="12" name="Freeform: Shape 13">
              <a:extLst>
                <a:ext uri="{FF2B5EF4-FFF2-40B4-BE49-F238E27FC236}">
                  <a16:creationId xmlns:a16="http://schemas.microsoft.com/office/drawing/2014/main" id="{28F2AF0A-8881-4854-9CA6-D267AFE17FF9}"/>
                </a:ext>
              </a:extLst>
            </p:cNvPr>
            <p:cNvSpPr/>
            <p:nvPr/>
          </p:nvSpPr>
          <p:spPr>
            <a:xfrm>
              <a:off x="6958268" y="2883699"/>
              <a:ext cx="985851" cy="1099135"/>
            </a:xfrm>
            <a:custGeom>
              <a:avLst/>
              <a:gdLst>
                <a:gd name="connsiteX0" fmla="*/ 732676 w 1064148"/>
                <a:gd name="connsiteY0" fmla="*/ 1186430 h 1186429"/>
                <a:gd name="connsiteX1" fmla="*/ 0 w 1064148"/>
                <a:gd name="connsiteY1" fmla="*/ 1186430 h 1186429"/>
                <a:gd name="connsiteX2" fmla="*/ 0 w 1064148"/>
                <a:gd name="connsiteY2" fmla="*/ 1006545 h 1186429"/>
                <a:gd name="connsiteX3" fmla="*/ 636670 w 1064148"/>
                <a:gd name="connsiteY3" fmla="*/ 1006545 h 1186429"/>
                <a:gd name="connsiteX4" fmla="*/ 726613 w 1064148"/>
                <a:gd name="connsiteY4" fmla="*/ 1006545 h 1186429"/>
                <a:gd name="connsiteX5" fmla="*/ 884264 w 1064148"/>
                <a:gd name="connsiteY5" fmla="*/ 848894 h 1186429"/>
                <a:gd name="connsiteX6" fmla="*/ 884264 w 1064148"/>
                <a:gd name="connsiteY6" fmla="*/ 0 h 1186429"/>
                <a:gd name="connsiteX7" fmla="*/ 1064149 w 1064148"/>
                <a:gd name="connsiteY7" fmla="*/ 294081 h 1186429"/>
                <a:gd name="connsiteX8" fmla="*/ 1064149 w 1064148"/>
                <a:gd name="connsiteY8" fmla="*/ 854957 h 1186429"/>
                <a:gd name="connsiteX9" fmla="*/ 732676 w 1064148"/>
                <a:gd name="connsiteY9" fmla="*/ 1186430 h 1186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64148" h="1186429">
                  <a:moveTo>
                    <a:pt x="732676" y="1186430"/>
                  </a:moveTo>
                  <a:lnTo>
                    <a:pt x="0" y="1186430"/>
                  </a:lnTo>
                  <a:lnTo>
                    <a:pt x="0" y="1006545"/>
                  </a:lnTo>
                  <a:lnTo>
                    <a:pt x="636670" y="1006545"/>
                  </a:lnTo>
                  <a:lnTo>
                    <a:pt x="726613" y="1006545"/>
                  </a:lnTo>
                  <a:cubicBezTo>
                    <a:pt x="813523" y="1006545"/>
                    <a:pt x="884264" y="935804"/>
                    <a:pt x="884264" y="848894"/>
                  </a:cubicBezTo>
                  <a:lnTo>
                    <a:pt x="884264" y="0"/>
                  </a:lnTo>
                  <a:cubicBezTo>
                    <a:pt x="990376" y="55582"/>
                    <a:pt x="1064149" y="166747"/>
                    <a:pt x="1064149" y="294081"/>
                  </a:cubicBezTo>
                  <a:lnTo>
                    <a:pt x="1064149" y="854957"/>
                  </a:lnTo>
                  <a:cubicBezTo>
                    <a:pt x="1063138" y="1037873"/>
                    <a:pt x="914582" y="1186430"/>
                    <a:pt x="732676" y="1186430"/>
                  </a:cubicBezTo>
                  <a:close/>
                </a:path>
              </a:pathLst>
            </a:custGeom>
            <a:solidFill>
              <a:schemeClr val="accent4"/>
            </a:solidFill>
            <a:ln w="1009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3" name="Freeform: Shape 15">
              <a:extLst>
                <a:ext uri="{FF2B5EF4-FFF2-40B4-BE49-F238E27FC236}">
                  <a16:creationId xmlns:a16="http://schemas.microsoft.com/office/drawing/2014/main" id="{2D65628E-D1AA-40AE-9BC2-0EB147135121}"/>
                </a:ext>
              </a:extLst>
            </p:cNvPr>
            <p:cNvSpPr/>
            <p:nvPr/>
          </p:nvSpPr>
          <p:spPr>
            <a:xfrm>
              <a:off x="6646503" y="3816186"/>
              <a:ext cx="819201" cy="572036"/>
            </a:xfrm>
            <a:custGeom>
              <a:avLst/>
              <a:gdLst>
                <a:gd name="connsiteX0" fmla="*/ 884264 w 884263"/>
                <a:gd name="connsiteY0" fmla="*/ 0 h 617468"/>
                <a:gd name="connsiteX1" fmla="*/ 331473 w 884263"/>
                <a:gd name="connsiteY1" fmla="*/ 0 h 617468"/>
                <a:gd name="connsiteX2" fmla="*/ 0 w 884263"/>
                <a:gd name="connsiteY2" fmla="*/ 331473 h 617468"/>
                <a:gd name="connsiteX3" fmla="*/ 0 w 884263"/>
                <a:gd name="connsiteY3" fmla="*/ 617469 h 617468"/>
                <a:gd name="connsiteX4" fmla="*/ 179884 w 884263"/>
                <a:gd name="connsiteY4" fmla="*/ 617469 h 617468"/>
                <a:gd name="connsiteX5" fmla="*/ 179884 w 884263"/>
                <a:gd name="connsiteY5" fmla="*/ 337536 h 617468"/>
                <a:gd name="connsiteX6" fmla="*/ 337536 w 884263"/>
                <a:gd name="connsiteY6" fmla="*/ 179884 h 617468"/>
                <a:gd name="connsiteX7" fmla="*/ 884264 w 884263"/>
                <a:gd name="connsiteY7" fmla="*/ 179884 h 617468"/>
                <a:gd name="connsiteX8" fmla="*/ 884264 w 884263"/>
                <a:gd name="connsiteY8" fmla="*/ 0 h 6174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84263" h="617468">
                  <a:moveTo>
                    <a:pt x="884264" y="0"/>
                  </a:moveTo>
                  <a:lnTo>
                    <a:pt x="331473" y="0"/>
                  </a:lnTo>
                  <a:cubicBezTo>
                    <a:pt x="149567" y="0"/>
                    <a:pt x="0" y="148556"/>
                    <a:pt x="0" y="331473"/>
                  </a:cubicBezTo>
                  <a:lnTo>
                    <a:pt x="0" y="617469"/>
                  </a:lnTo>
                  <a:lnTo>
                    <a:pt x="179884" y="617469"/>
                  </a:lnTo>
                  <a:lnTo>
                    <a:pt x="179884" y="337536"/>
                  </a:lnTo>
                  <a:cubicBezTo>
                    <a:pt x="179884" y="250626"/>
                    <a:pt x="250626" y="179884"/>
                    <a:pt x="337536" y="179884"/>
                  </a:cubicBezTo>
                  <a:lnTo>
                    <a:pt x="884264" y="179884"/>
                  </a:lnTo>
                  <a:lnTo>
                    <a:pt x="884264" y="0"/>
                  </a:lnTo>
                  <a:close/>
                </a:path>
              </a:pathLst>
            </a:custGeom>
            <a:solidFill>
              <a:schemeClr val="accent4"/>
            </a:solidFill>
            <a:ln w="1009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4" name="Freeform: Shape 25">
              <a:extLst>
                <a:ext uri="{FF2B5EF4-FFF2-40B4-BE49-F238E27FC236}">
                  <a16:creationId xmlns:a16="http://schemas.microsoft.com/office/drawing/2014/main" id="{C48BF6CE-35B6-4A83-A6EE-07A3268F59CD}"/>
                </a:ext>
              </a:extLst>
            </p:cNvPr>
            <p:cNvSpPr/>
            <p:nvPr/>
          </p:nvSpPr>
          <p:spPr>
            <a:xfrm>
              <a:off x="7196492" y="2250179"/>
              <a:ext cx="1326732" cy="1351302"/>
            </a:xfrm>
            <a:custGeom>
              <a:avLst/>
              <a:gdLst>
                <a:gd name="connsiteX0" fmla="*/ 600289 w 1200577"/>
                <a:gd name="connsiteY0" fmla="*/ 1222811 h 1222810"/>
                <a:gd name="connsiteX1" fmla="*/ 1200578 w 1200577"/>
                <a:gd name="connsiteY1" fmla="*/ 611405 h 1222810"/>
                <a:gd name="connsiteX2" fmla="*/ 600289 w 1200577"/>
                <a:gd name="connsiteY2" fmla="*/ 0 h 1222810"/>
                <a:gd name="connsiteX3" fmla="*/ 0 w 1200577"/>
                <a:gd name="connsiteY3" fmla="*/ 611405 h 1222810"/>
                <a:gd name="connsiteX4" fmla="*/ 600289 w 1200577"/>
                <a:gd name="connsiteY4" fmla="*/ 1222811 h 12228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00577" h="1222810">
                  <a:moveTo>
                    <a:pt x="600289" y="1222811"/>
                  </a:moveTo>
                  <a:cubicBezTo>
                    <a:pt x="930751" y="1222811"/>
                    <a:pt x="1200578" y="947931"/>
                    <a:pt x="1200578" y="611405"/>
                  </a:cubicBezTo>
                  <a:cubicBezTo>
                    <a:pt x="1200578" y="274880"/>
                    <a:pt x="930751" y="0"/>
                    <a:pt x="600289" y="0"/>
                  </a:cubicBezTo>
                  <a:cubicBezTo>
                    <a:pt x="269827" y="0"/>
                    <a:pt x="0" y="274880"/>
                    <a:pt x="0" y="611405"/>
                  </a:cubicBezTo>
                  <a:cubicBezTo>
                    <a:pt x="0" y="947931"/>
                    <a:pt x="269827" y="1222811"/>
                    <a:pt x="600289" y="1222811"/>
                  </a:cubicBezTo>
                  <a:close/>
                </a:path>
              </a:pathLst>
            </a:custGeom>
            <a:solidFill>
              <a:schemeClr val="accent4"/>
            </a:solidFill>
            <a:ln w="1009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useBgFill="1">
          <p:nvSpPr>
            <p:cNvPr id="15" name="Freeform: Shape 29">
              <a:extLst>
                <a:ext uri="{FF2B5EF4-FFF2-40B4-BE49-F238E27FC236}">
                  <a16:creationId xmlns:a16="http://schemas.microsoft.com/office/drawing/2014/main" id="{0A222CBC-B412-492B-B938-7B09B5AB73A8}"/>
                </a:ext>
              </a:extLst>
            </p:cNvPr>
            <p:cNvSpPr/>
            <p:nvPr/>
          </p:nvSpPr>
          <p:spPr>
            <a:xfrm>
              <a:off x="7333676" y="2387542"/>
              <a:ext cx="1054238" cy="1076576"/>
            </a:xfrm>
            <a:custGeom>
              <a:avLst/>
              <a:gdLst>
                <a:gd name="connsiteX0" fmla="*/ 476997 w 953994"/>
                <a:gd name="connsiteY0" fmla="*/ 974206 h 974206"/>
                <a:gd name="connsiteX1" fmla="*/ 953994 w 953994"/>
                <a:gd name="connsiteY1" fmla="*/ 487103 h 974206"/>
                <a:gd name="connsiteX2" fmla="*/ 476997 w 953994"/>
                <a:gd name="connsiteY2" fmla="*/ 0 h 974206"/>
                <a:gd name="connsiteX3" fmla="*/ 0 w 953994"/>
                <a:gd name="connsiteY3" fmla="*/ 487103 h 974206"/>
                <a:gd name="connsiteX4" fmla="*/ 476997 w 953994"/>
                <a:gd name="connsiteY4" fmla="*/ 974206 h 9742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3994" h="974206">
                  <a:moveTo>
                    <a:pt x="476997" y="974206"/>
                  </a:moveTo>
                  <a:cubicBezTo>
                    <a:pt x="739750" y="974206"/>
                    <a:pt x="953994" y="754909"/>
                    <a:pt x="953994" y="487103"/>
                  </a:cubicBezTo>
                  <a:cubicBezTo>
                    <a:pt x="953994" y="219297"/>
                    <a:pt x="739750" y="0"/>
                    <a:pt x="476997" y="0"/>
                  </a:cubicBezTo>
                  <a:cubicBezTo>
                    <a:pt x="214245" y="0"/>
                    <a:pt x="0" y="219297"/>
                    <a:pt x="0" y="487103"/>
                  </a:cubicBezTo>
                  <a:cubicBezTo>
                    <a:pt x="0" y="754909"/>
                    <a:pt x="214245" y="974206"/>
                    <a:pt x="476997" y="974206"/>
                  </a:cubicBezTo>
                  <a:close/>
                </a:path>
              </a:pathLst>
            </a:custGeom>
            <a:ln w="1009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grpSp>
        <p:nvGrpSpPr>
          <p:cNvPr id="16" name="Group 34">
            <a:extLst>
              <a:ext uri="{FF2B5EF4-FFF2-40B4-BE49-F238E27FC236}">
                <a16:creationId xmlns:a16="http://schemas.microsoft.com/office/drawing/2014/main" id="{4FFB6A4A-3D41-4633-B624-4846CCD051B5}"/>
              </a:ext>
            </a:extLst>
          </p:cNvPr>
          <p:cNvGrpSpPr/>
          <p:nvPr/>
        </p:nvGrpSpPr>
        <p:grpSpPr>
          <a:xfrm>
            <a:off x="6179324" y="4384477"/>
            <a:ext cx="2602728" cy="2473523"/>
            <a:chOff x="6179324" y="4384477"/>
            <a:chExt cx="2602728" cy="2473523"/>
          </a:xfrm>
        </p:grpSpPr>
        <p:sp>
          <p:nvSpPr>
            <p:cNvPr id="17" name="Freeform: Shape 5">
              <a:extLst>
                <a:ext uri="{FF2B5EF4-FFF2-40B4-BE49-F238E27FC236}">
                  <a16:creationId xmlns:a16="http://schemas.microsoft.com/office/drawing/2014/main" id="{0D1E45D4-79AE-4136-A372-0E2D837CD455}"/>
                </a:ext>
              </a:extLst>
            </p:cNvPr>
            <p:cNvSpPr/>
            <p:nvPr/>
          </p:nvSpPr>
          <p:spPr>
            <a:xfrm>
              <a:off x="6179324" y="4624153"/>
              <a:ext cx="166649" cy="2233847"/>
            </a:xfrm>
            <a:custGeom>
              <a:avLst/>
              <a:gdLst>
                <a:gd name="connsiteX0" fmla="*/ 0 w 179884"/>
                <a:gd name="connsiteY0" fmla="*/ 0 h 2411261"/>
                <a:gd name="connsiteX1" fmla="*/ 179884 w 179884"/>
                <a:gd name="connsiteY1" fmla="*/ 0 h 2411261"/>
                <a:gd name="connsiteX2" fmla="*/ 179884 w 179884"/>
                <a:gd name="connsiteY2" fmla="*/ 2411262 h 2411261"/>
                <a:gd name="connsiteX3" fmla="*/ 0 w 179884"/>
                <a:gd name="connsiteY3" fmla="*/ 2411262 h 2411261"/>
              </a:gdLst>
              <a:ahLst/>
              <a:cxnLst>
                <a:cxn ang="0">
                  <a:pos x="connsiteX0" y="connsiteY0"/>
                </a:cxn>
                <a:cxn ang="0">
                  <a:pos x="connsiteX1" y="connsiteY1"/>
                </a:cxn>
                <a:cxn ang="0">
                  <a:pos x="connsiteX2" y="connsiteY2"/>
                </a:cxn>
                <a:cxn ang="0">
                  <a:pos x="connsiteX3" y="connsiteY3"/>
                </a:cxn>
              </a:cxnLst>
              <a:rect l="l" t="t" r="r" b="b"/>
              <a:pathLst>
                <a:path w="179884" h="2411261">
                  <a:moveTo>
                    <a:pt x="0" y="0"/>
                  </a:moveTo>
                  <a:lnTo>
                    <a:pt x="179884" y="0"/>
                  </a:lnTo>
                  <a:lnTo>
                    <a:pt x="179884" y="2411262"/>
                  </a:lnTo>
                  <a:lnTo>
                    <a:pt x="0" y="2411262"/>
                  </a:lnTo>
                  <a:close/>
                </a:path>
              </a:pathLst>
            </a:custGeom>
            <a:solidFill>
              <a:schemeClr val="accent5"/>
            </a:solidFill>
            <a:ln w="1009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8" name="Freeform: Shape 11">
              <a:extLst>
                <a:ext uri="{FF2B5EF4-FFF2-40B4-BE49-F238E27FC236}">
                  <a16:creationId xmlns:a16="http://schemas.microsoft.com/office/drawing/2014/main" id="{54B41BCD-4E54-4873-A130-F77DB5B76866}"/>
                </a:ext>
              </a:extLst>
            </p:cNvPr>
            <p:cNvSpPr/>
            <p:nvPr/>
          </p:nvSpPr>
          <p:spPr>
            <a:xfrm>
              <a:off x="6179324" y="4384477"/>
              <a:ext cx="2054090" cy="1354726"/>
            </a:xfrm>
            <a:custGeom>
              <a:avLst/>
              <a:gdLst>
                <a:gd name="connsiteX0" fmla="*/ 1885756 w 2217228"/>
                <a:gd name="connsiteY0" fmla="*/ 0 h 1462320"/>
                <a:gd name="connsiteX1" fmla="*/ 331473 w 2217228"/>
                <a:gd name="connsiteY1" fmla="*/ 0 h 1462320"/>
                <a:gd name="connsiteX2" fmla="*/ 0 w 2217228"/>
                <a:gd name="connsiteY2" fmla="*/ 331473 h 1462320"/>
                <a:gd name="connsiteX3" fmla="*/ 0 w 2217228"/>
                <a:gd name="connsiteY3" fmla="*/ 1168239 h 1462320"/>
                <a:gd name="connsiteX4" fmla="*/ 179884 w 2217228"/>
                <a:gd name="connsiteY4" fmla="*/ 1462320 h 1462320"/>
                <a:gd name="connsiteX5" fmla="*/ 179884 w 2217228"/>
                <a:gd name="connsiteY5" fmla="*/ 336526 h 1462320"/>
                <a:gd name="connsiteX6" fmla="*/ 337536 w 2217228"/>
                <a:gd name="connsiteY6" fmla="*/ 178874 h 1462320"/>
                <a:gd name="connsiteX7" fmla="*/ 1879692 w 2217228"/>
                <a:gd name="connsiteY7" fmla="*/ 178874 h 1462320"/>
                <a:gd name="connsiteX8" fmla="*/ 2037344 w 2217228"/>
                <a:gd name="connsiteY8" fmla="*/ 336526 h 1462320"/>
                <a:gd name="connsiteX9" fmla="*/ 2037344 w 2217228"/>
                <a:gd name="connsiteY9" fmla="*/ 1462320 h 1462320"/>
                <a:gd name="connsiteX10" fmla="*/ 2217229 w 2217228"/>
                <a:gd name="connsiteY10" fmla="*/ 1168239 h 1462320"/>
                <a:gd name="connsiteX11" fmla="*/ 2217229 w 2217228"/>
                <a:gd name="connsiteY11" fmla="*/ 330462 h 1462320"/>
                <a:gd name="connsiteX12" fmla="*/ 1885756 w 2217228"/>
                <a:gd name="connsiteY12" fmla="*/ 0 h 14623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217228" h="1462320">
                  <a:moveTo>
                    <a:pt x="1885756" y="0"/>
                  </a:moveTo>
                  <a:lnTo>
                    <a:pt x="331473" y="0"/>
                  </a:lnTo>
                  <a:cubicBezTo>
                    <a:pt x="149567" y="0"/>
                    <a:pt x="0" y="148556"/>
                    <a:pt x="0" y="331473"/>
                  </a:cubicBezTo>
                  <a:lnTo>
                    <a:pt x="0" y="1168239"/>
                  </a:lnTo>
                  <a:cubicBezTo>
                    <a:pt x="0" y="1295573"/>
                    <a:pt x="73773" y="1407749"/>
                    <a:pt x="179884" y="1462320"/>
                  </a:cubicBezTo>
                  <a:lnTo>
                    <a:pt x="179884" y="336526"/>
                  </a:lnTo>
                  <a:cubicBezTo>
                    <a:pt x="179884" y="249615"/>
                    <a:pt x="250626" y="178874"/>
                    <a:pt x="337536" y="178874"/>
                  </a:cubicBezTo>
                  <a:lnTo>
                    <a:pt x="1879692" y="178874"/>
                  </a:lnTo>
                  <a:cubicBezTo>
                    <a:pt x="1966603" y="178874"/>
                    <a:pt x="2037344" y="249615"/>
                    <a:pt x="2037344" y="336526"/>
                  </a:cubicBezTo>
                  <a:lnTo>
                    <a:pt x="2037344" y="1462320"/>
                  </a:lnTo>
                  <a:cubicBezTo>
                    <a:pt x="2143456" y="1406738"/>
                    <a:pt x="2217229" y="1295573"/>
                    <a:pt x="2217229" y="1168239"/>
                  </a:cubicBezTo>
                  <a:lnTo>
                    <a:pt x="2217229" y="330462"/>
                  </a:lnTo>
                  <a:cubicBezTo>
                    <a:pt x="2216218" y="148556"/>
                    <a:pt x="2067662" y="0"/>
                    <a:pt x="1885756" y="0"/>
                  </a:cubicBezTo>
                  <a:close/>
                </a:path>
              </a:pathLst>
            </a:custGeom>
            <a:solidFill>
              <a:schemeClr val="accent5"/>
            </a:solidFill>
            <a:ln w="1009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9" name="Freeform: Shape 17">
              <a:extLst>
                <a:ext uri="{FF2B5EF4-FFF2-40B4-BE49-F238E27FC236}">
                  <a16:creationId xmlns:a16="http://schemas.microsoft.com/office/drawing/2014/main" id="{096AC5F2-11A4-4F8D-94E8-E1743375F63C}"/>
                </a:ext>
              </a:extLst>
            </p:cNvPr>
            <p:cNvSpPr/>
            <p:nvPr/>
          </p:nvSpPr>
          <p:spPr>
            <a:xfrm>
              <a:off x="7516262" y="4707547"/>
              <a:ext cx="1265790" cy="1289088"/>
            </a:xfrm>
            <a:custGeom>
              <a:avLst/>
              <a:gdLst>
                <a:gd name="connsiteX0" fmla="*/ 494177 w 988354"/>
                <a:gd name="connsiteY0" fmla="*/ 1006545 h 1006545"/>
                <a:gd name="connsiteX1" fmla="*/ 988355 w 988354"/>
                <a:gd name="connsiteY1" fmla="*/ 503273 h 1006545"/>
                <a:gd name="connsiteX2" fmla="*/ 494177 w 988354"/>
                <a:gd name="connsiteY2" fmla="*/ 0 h 1006545"/>
                <a:gd name="connsiteX3" fmla="*/ 0 w 988354"/>
                <a:gd name="connsiteY3" fmla="*/ 503273 h 1006545"/>
                <a:gd name="connsiteX4" fmla="*/ 494177 w 988354"/>
                <a:gd name="connsiteY4" fmla="*/ 1006545 h 10065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8354" h="1006545">
                  <a:moveTo>
                    <a:pt x="494177" y="1006545"/>
                  </a:moveTo>
                  <a:cubicBezTo>
                    <a:pt x="766025" y="1006545"/>
                    <a:pt x="988355" y="780174"/>
                    <a:pt x="988355" y="503273"/>
                  </a:cubicBezTo>
                  <a:cubicBezTo>
                    <a:pt x="988355" y="226372"/>
                    <a:pt x="766025" y="0"/>
                    <a:pt x="494177" y="0"/>
                  </a:cubicBezTo>
                  <a:cubicBezTo>
                    <a:pt x="222329" y="0"/>
                    <a:pt x="0" y="226372"/>
                    <a:pt x="0" y="503273"/>
                  </a:cubicBezTo>
                  <a:cubicBezTo>
                    <a:pt x="0" y="780174"/>
                    <a:pt x="222329" y="1006545"/>
                    <a:pt x="494177" y="1006545"/>
                  </a:cubicBezTo>
                  <a:close/>
                </a:path>
              </a:pathLst>
            </a:custGeom>
            <a:solidFill>
              <a:schemeClr val="accent5"/>
            </a:solidFill>
            <a:ln w="1009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useBgFill="1">
          <p:nvSpPr>
            <p:cNvPr id="20" name="Freeform: Shape 21">
              <a:extLst>
                <a:ext uri="{FF2B5EF4-FFF2-40B4-BE49-F238E27FC236}">
                  <a16:creationId xmlns:a16="http://schemas.microsoft.com/office/drawing/2014/main" id="{31189D93-BF73-4CF9-AD04-BF90BFB96520}"/>
                </a:ext>
              </a:extLst>
            </p:cNvPr>
            <p:cNvSpPr/>
            <p:nvPr/>
          </p:nvSpPr>
          <p:spPr>
            <a:xfrm>
              <a:off x="7646623" y="4839204"/>
              <a:ext cx="1006938" cy="1027646"/>
            </a:xfrm>
            <a:custGeom>
              <a:avLst/>
              <a:gdLst>
                <a:gd name="connsiteX0" fmla="*/ 393118 w 786236"/>
                <a:gd name="connsiteY0" fmla="*/ 802406 h 802406"/>
                <a:gd name="connsiteX1" fmla="*/ 786237 w 786236"/>
                <a:gd name="connsiteY1" fmla="*/ 401203 h 802406"/>
                <a:gd name="connsiteX2" fmla="*/ 393118 w 786236"/>
                <a:gd name="connsiteY2" fmla="*/ 0 h 802406"/>
                <a:gd name="connsiteX3" fmla="*/ 0 w 786236"/>
                <a:gd name="connsiteY3" fmla="*/ 401203 h 802406"/>
                <a:gd name="connsiteX4" fmla="*/ 393118 w 786236"/>
                <a:gd name="connsiteY4" fmla="*/ 802406 h 8024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6236" h="802406">
                  <a:moveTo>
                    <a:pt x="393118" y="802406"/>
                  </a:moveTo>
                  <a:cubicBezTo>
                    <a:pt x="609384" y="802406"/>
                    <a:pt x="786237" y="622522"/>
                    <a:pt x="786237" y="401203"/>
                  </a:cubicBezTo>
                  <a:cubicBezTo>
                    <a:pt x="786237" y="179884"/>
                    <a:pt x="609384" y="0"/>
                    <a:pt x="393118" y="0"/>
                  </a:cubicBezTo>
                  <a:cubicBezTo>
                    <a:pt x="176853" y="0"/>
                    <a:pt x="0" y="179884"/>
                    <a:pt x="0" y="401203"/>
                  </a:cubicBezTo>
                  <a:cubicBezTo>
                    <a:pt x="0" y="621511"/>
                    <a:pt x="176853" y="802406"/>
                    <a:pt x="393118" y="802406"/>
                  </a:cubicBezTo>
                  <a:close/>
                </a:path>
              </a:pathLst>
            </a:custGeom>
            <a:ln w="1009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grpSp>
        <p:nvGrpSpPr>
          <p:cNvPr id="21" name="Group 2">
            <a:extLst>
              <a:ext uri="{FF2B5EF4-FFF2-40B4-BE49-F238E27FC236}">
                <a16:creationId xmlns:a16="http://schemas.microsoft.com/office/drawing/2014/main" id="{F86D2F17-599C-4115-B0AE-9B0616E03332}"/>
              </a:ext>
            </a:extLst>
          </p:cNvPr>
          <p:cNvGrpSpPr/>
          <p:nvPr/>
        </p:nvGrpSpPr>
        <p:grpSpPr>
          <a:xfrm>
            <a:off x="3409951" y="4384477"/>
            <a:ext cx="2603660" cy="2473523"/>
            <a:chOff x="3409951" y="4384477"/>
            <a:chExt cx="2603660" cy="2473523"/>
          </a:xfrm>
        </p:grpSpPr>
        <p:sp>
          <p:nvSpPr>
            <p:cNvPr id="22" name="Freeform: Shape 4">
              <a:extLst>
                <a:ext uri="{FF2B5EF4-FFF2-40B4-BE49-F238E27FC236}">
                  <a16:creationId xmlns:a16="http://schemas.microsoft.com/office/drawing/2014/main" id="{FA3EB445-683C-461D-BCB1-9A15654C6BB0}"/>
                </a:ext>
              </a:extLst>
            </p:cNvPr>
            <p:cNvSpPr/>
            <p:nvPr/>
          </p:nvSpPr>
          <p:spPr>
            <a:xfrm>
              <a:off x="5846026" y="4624153"/>
              <a:ext cx="166649" cy="2233847"/>
            </a:xfrm>
            <a:custGeom>
              <a:avLst/>
              <a:gdLst>
                <a:gd name="connsiteX0" fmla="*/ 0 w 179884"/>
                <a:gd name="connsiteY0" fmla="*/ 0 h 2411261"/>
                <a:gd name="connsiteX1" fmla="*/ 179884 w 179884"/>
                <a:gd name="connsiteY1" fmla="*/ 0 h 2411261"/>
                <a:gd name="connsiteX2" fmla="*/ 179884 w 179884"/>
                <a:gd name="connsiteY2" fmla="*/ 2411262 h 2411261"/>
                <a:gd name="connsiteX3" fmla="*/ 0 w 179884"/>
                <a:gd name="connsiteY3" fmla="*/ 2411262 h 2411261"/>
              </a:gdLst>
              <a:ahLst/>
              <a:cxnLst>
                <a:cxn ang="0">
                  <a:pos x="connsiteX0" y="connsiteY0"/>
                </a:cxn>
                <a:cxn ang="0">
                  <a:pos x="connsiteX1" y="connsiteY1"/>
                </a:cxn>
                <a:cxn ang="0">
                  <a:pos x="connsiteX2" y="connsiteY2"/>
                </a:cxn>
                <a:cxn ang="0">
                  <a:pos x="connsiteX3" y="connsiteY3"/>
                </a:cxn>
              </a:cxnLst>
              <a:rect l="l" t="t" r="r" b="b"/>
              <a:pathLst>
                <a:path w="179884" h="2411261">
                  <a:moveTo>
                    <a:pt x="0" y="0"/>
                  </a:moveTo>
                  <a:lnTo>
                    <a:pt x="179884" y="0"/>
                  </a:lnTo>
                  <a:lnTo>
                    <a:pt x="179884" y="2411262"/>
                  </a:lnTo>
                  <a:lnTo>
                    <a:pt x="0" y="2411262"/>
                  </a:lnTo>
                  <a:close/>
                </a:path>
              </a:pathLst>
            </a:custGeom>
            <a:solidFill>
              <a:schemeClr val="accent1"/>
            </a:solidFill>
            <a:ln w="1009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3" name="Freeform: Shape 10">
              <a:extLst>
                <a:ext uri="{FF2B5EF4-FFF2-40B4-BE49-F238E27FC236}">
                  <a16:creationId xmlns:a16="http://schemas.microsoft.com/office/drawing/2014/main" id="{F9FF65D0-F87C-42D2-B705-C26811D58719}"/>
                </a:ext>
              </a:extLst>
            </p:cNvPr>
            <p:cNvSpPr/>
            <p:nvPr/>
          </p:nvSpPr>
          <p:spPr>
            <a:xfrm>
              <a:off x="3959521" y="4384477"/>
              <a:ext cx="2054090" cy="1354726"/>
            </a:xfrm>
            <a:custGeom>
              <a:avLst/>
              <a:gdLst>
                <a:gd name="connsiteX0" fmla="*/ 331473 w 2217228"/>
                <a:gd name="connsiteY0" fmla="*/ 0 h 1462320"/>
                <a:gd name="connsiteX1" fmla="*/ 1885756 w 2217228"/>
                <a:gd name="connsiteY1" fmla="*/ 0 h 1462320"/>
                <a:gd name="connsiteX2" fmla="*/ 2217229 w 2217228"/>
                <a:gd name="connsiteY2" fmla="*/ 331473 h 1462320"/>
                <a:gd name="connsiteX3" fmla="*/ 2217229 w 2217228"/>
                <a:gd name="connsiteY3" fmla="*/ 1168239 h 1462320"/>
                <a:gd name="connsiteX4" fmla="*/ 2037344 w 2217228"/>
                <a:gd name="connsiteY4" fmla="*/ 1462320 h 1462320"/>
                <a:gd name="connsiteX5" fmla="*/ 2037344 w 2217228"/>
                <a:gd name="connsiteY5" fmla="*/ 336526 h 1462320"/>
                <a:gd name="connsiteX6" fmla="*/ 1879692 w 2217228"/>
                <a:gd name="connsiteY6" fmla="*/ 178874 h 1462320"/>
                <a:gd name="connsiteX7" fmla="*/ 337536 w 2217228"/>
                <a:gd name="connsiteY7" fmla="*/ 178874 h 1462320"/>
                <a:gd name="connsiteX8" fmla="*/ 179885 w 2217228"/>
                <a:gd name="connsiteY8" fmla="*/ 336526 h 1462320"/>
                <a:gd name="connsiteX9" fmla="*/ 179885 w 2217228"/>
                <a:gd name="connsiteY9" fmla="*/ 1462320 h 1462320"/>
                <a:gd name="connsiteX10" fmla="*/ 0 w 2217228"/>
                <a:gd name="connsiteY10" fmla="*/ 1168239 h 1462320"/>
                <a:gd name="connsiteX11" fmla="*/ 0 w 2217228"/>
                <a:gd name="connsiteY11" fmla="*/ 330462 h 1462320"/>
                <a:gd name="connsiteX12" fmla="*/ 331473 w 2217228"/>
                <a:gd name="connsiteY12" fmla="*/ 0 h 14623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217228" h="1462320">
                  <a:moveTo>
                    <a:pt x="331473" y="0"/>
                  </a:moveTo>
                  <a:lnTo>
                    <a:pt x="1885756" y="0"/>
                  </a:lnTo>
                  <a:cubicBezTo>
                    <a:pt x="2067662" y="0"/>
                    <a:pt x="2217229" y="148556"/>
                    <a:pt x="2217229" y="331473"/>
                  </a:cubicBezTo>
                  <a:lnTo>
                    <a:pt x="2217229" y="1168239"/>
                  </a:lnTo>
                  <a:cubicBezTo>
                    <a:pt x="2217229" y="1295573"/>
                    <a:pt x="2143456" y="1407749"/>
                    <a:pt x="2037344" y="1462320"/>
                  </a:cubicBezTo>
                  <a:lnTo>
                    <a:pt x="2037344" y="336526"/>
                  </a:lnTo>
                  <a:cubicBezTo>
                    <a:pt x="2037344" y="249615"/>
                    <a:pt x="1966603" y="178874"/>
                    <a:pt x="1879692" y="178874"/>
                  </a:cubicBezTo>
                  <a:lnTo>
                    <a:pt x="337536" y="178874"/>
                  </a:lnTo>
                  <a:cubicBezTo>
                    <a:pt x="250626" y="178874"/>
                    <a:pt x="179885" y="249615"/>
                    <a:pt x="179885" y="336526"/>
                  </a:cubicBezTo>
                  <a:lnTo>
                    <a:pt x="179885" y="1462320"/>
                  </a:lnTo>
                  <a:cubicBezTo>
                    <a:pt x="73773" y="1406738"/>
                    <a:pt x="0" y="1295573"/>
                    <a:pt x="0" y="1168239"/>
                  </a:cubicBezTo>
                  <a:lnTo>
                    <a:pt x="0" y="330462"/>
                  </a:lnTo>
                  <a:cubicBezTo>
                    <a:pt x="0" y="148556"/>
                    <a:pt x="149567" y="0"/>
                    <a:pt x="331473" y="0"/>
                  </a:cubicBezTo>
                  <a:close/>
                </a:path>
              </a:pathLst>
            </a:custGeom>
            <a:solidFill>
              <a:schemeClr val="accent1"/>
            </a:solidFill>
            <a:ln w="1009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4" name="Freeform: Shape 16">
              <a:extLst>
                <a:ext uri="{FF2B5EF4-FFF2-40B4-BE49-F238E27FC236}">
                  <a16:creationId xmlns:a16="http://schemas.microsoft.com/office/drawing/2014/main" id="{3265F59C-44BD-4EAA-8FA7-F9B3E3D2EC2C}"/>
                </a:ext>
              </a:extLst>
            </p:cNvPr>
            <p:cNvSpPr/>
            <p:nvPr/>
          </p:nvSpPr>
          <p:spPr>
            <a:xfrm>
              <a:off x="3409951" y="4709097"/>
              <a:ext cx="1265790" cy="1289088"/>
            </a:xfrm>
            <a:custGeom>
              <a:avLst/>
              <a:gdLst>
                <a:gd name="connsiteX0" fmla="*/ 494177 w 988354"/>
                <a:gd name="connsiteY0" fmla="*/ 1006545 h 1006545"/>
                <a:gd name="connsiteX1" fmla="*/ 988354 w 988354"/>
                <a:gd name="connsiteY1" fmla="*/ 503273 h 1006545"/>
                <a:gd name="connsiteX2" fmla="*/ 494177 w 988354"/>
                <a:gd name="connsiteY2" fmla="*/ 0 h 1006545"/>
                <a:gd name="connsiteX3" fmla="*/ 0 w 988354"/>
                <a:gd name="connsiteY3" fmla="*/ 503273 h 1006545"/>
                <a:gd name="connsiteX4" fmla="*/ 494177 w 988354"/>
                <a:gd name="connsiteY4" fmla="*/ 1006545 h 10065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8354" h="1006545">
                  <a:moveTo>
                    <a:pt x="494177" y="1006545"/>
                  </a:moveTo>
                  <a:cubicBezTo>
                    <a:pt x="766025" y="1006545"/>
                    <a:pt x="988354" y="780174"/>
                    <a:pt x="988354" y="503273"/>
                  </a:cubicBezTo>
                  <a:cubicBezTo>
                    <a:pt x="988354" y="226372"/>
                    <a:pt x="766025" y="0"/>
                    <a:pt x="494177" y="0"/>
                  </a:cubicBezTo>
                  <a:cubicBezTo>
                    <a:pt x="222329" y="0"/>
                    <a:pt x="0" y="226372"/>
                    <a:pt x="0" y="503273"/>
                  </a:cubicBezTo>
                  <a:cubicBezTo>
                    <a:pt x="0" y="780174"/>
                    <a:pt x="222329" y="1006545"/>
                    <a:pt x="494177" y="1006545"/>
                  </a:cubicBezTo>
                  <a:close/>
                </a:path>
              </a:pathLst>
            </a:custGeom>
            <a:solidFill>
              <a:schemeClr val="accent1"/>
            </a:solidFill>
            <a:ln w="1009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useBgFill="1">
          <p:nvSpPr>
            <p:cNvPr id="25" name="Freeform: Shape 20">
              <a:extLst>
                <a:ext uri="{FF2B5EF4-FFF2-40B4-BE49-F238E27FC236}">
                  <a16:creationId xmlns:a16="http://schemas.microsoft.com/office/drawing/2014/main" id="{17A36EA3-85BF-40BE-A896-B1D39891C0E3}"/>
                </a:ext>
              </a:extLst>
            </p:cNvPr>
            <p:cNvSpPr/>
            <p:nvPr/>
          </p:nvSpPr>
          <p:spPr>
            <a:xfrm>
              <a:off x="3540314" y="4840754"/>
              <a:ext cx="1006938" cy="1027646"/>
            </a:xfrm>
            <a:custGeom>
              <a:avLst/>
              <a:gdLst>
                <a:gd name="connsiteX0" fmla="*/ 393118 w 786236"/>
                <a:gd name="connsiteY0" fmla="*/ 802406 h 802406"/>
                <a:gd name="connsiteX1" fmla="*/ 786237 w 786236"/>
                <a:gd name="connsiteY1" fmla="*/ 401203 h 802406"/>
                <a:gd name="connsiteX2" fmla="*/ 393118 w 786236"/>
                <a:gd name="connsiteY2" fmla="*/ 0 h 802406"/>
                <a:gd name="connsiteX3" fmla="*/ 0 w 786236"/>
                <a:gd name="connsiteY3" fmla="*/ 401203 h 802406"/>
                <a:gd name="connsiteX4" fmla="*/ 393118 w 786236"/>
                <a:gd name="connsiteY4" fmla="*/ 802406 h 8024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6236" h="802406">
                  <a:moveTo>
                    <a:pt x="393118" y="802406"/>
                  </a:moveTo>
                  <a:cubicBezTo>
                    <a:pt x="609384" y="802406"/>
                    <a:pt x="786237" y="622522"/>
                    <a:pt x="786237" y="401203"/>
                  </a:cubicBezTo>
                  <a:cubicBezTo>
                    <a:pt x="786237" y="179884"/>
                    <a:pt x="609384" y="0"/>
                    <a:pt x="393118" y="0"/>
                  </a:cubicBezTo>
                  <a:cubicBezTo>
                    <a:pt x="176853" y="0"/>
                    <a:pt x="0" y="179884"/>
                    <a:pt x="0" y="401203"/>
                  </a:cubicBezTo>
                  <a:cubicBezTo>
                    <a:pt x="0" y="621511"/>
                    <a:pt x="176853" y="802406"/>
                    <a:pt x="393118" y="802406"/>
                  </a:cubicBezTo>
                  <a:close/>
                </a:path>
              </a:pathLst>
            </a:custGeom>
            <a:ln w="1009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sp>
        <p:nvSpPr>
          <p:cNvPr id="26" name="Title 1">
            <a:extLst>
              <a:ext uri="{FF2B5EF4-FFF2-40B4-BE49-F238E27FC236}">
                <a16:creationId xmlns:a16="http://schemas.microsoft.com/office/drawing/2014/main" id="{1C50F9BD-4DCD-4B4E-9E9D-4DE5149D3076}"/>
              </a:ext>
            </a:extLst>
          </p:cNvPr>
          <p:cNvSpPr txBox="1">
            <a:spLocks/>
          </p:cNvSpPr>
          <p:nvPr/>
        </p:nvSpPr>
        <p:spPr>
          <a:xfrm>
            <a:off x="2043113" y="304800"/>
            <a:ext cx="8105775" cy="1105808"/>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ID" sz="4400" b="0" i="0" u="none" strike="noStrike" kern="1200" cap="none" spc="0" normalizeH="0" baseline="0" noProof="0">
                <a:ln>
                  <a:noFill/>
                </a:ln>
                <a:solidFill>
                  <a:srgbClr val="000000"/>
                </a:solidFill>
                <a:effectLst/>
                <a:uLnTx/>
                <a:uFillTx/>
                <a:latin typeface="等线 Light" panose="020F0302020204030204"/>
                <a:ea typeface="+mj-ea"/>
                <a:cs typeface="+mj-cs"/>
              </a:rPr>
              <a:t>Tree Infographic</a:t>
            </a:r>
          </a:p>
        </p:txBody>
      </p:sp>
      <p:grpSp>
        <p:nvGrpSpPr>
          <p:cNvPr id="27" name="Graphic 1">
            <a:extLst>
              <a:ext uri="{FF2B5EF4-FFF2-40B4-BE49-F238E27FC236}">
                <a16:creationId xmlns:a16="http://schemas.microsoft.com/office/drawing/2014/main" id="{E78F672D-93CD-484B-9F3B-1D9548F885AD}"/>
              </a:ext>
            </a:extLst>
          </p:cNvPr>
          <p:cNvGrpSpPr/>
          <p:nvPr/>
        </p:nvGrpSpPr>
        <p:grpSpPr>
          <a:xfrm>
            <a:off x="5779743" y="2941400"/>
            <a:ext cx="632512" cy="397652"/>
            <a:chOff x="4714676" y="2988348"/>
            <a:chExt cx="521003" cy="327546"/>
          </a:xfrm>
          <a:solidFill>
            <a:schemeClr val="accent3"/>
          </a:solidFill>
        </p:grpSpPr>
        <p:sp>
          <p:nvSpPr>
            <p:cNvPr id="28" name="Freeform: Shape 97">
              <a:extLst>
                <a:ext uri="{FF2B5EF4-FFF2-40B4-BE49-F238E27FC236}">
                  <a16:creationId xmlns:a16="http://schemas.microsoft.com/office/drawing/2014/main" id="{BE97DC30-6537-4086-B949-700ACAD5DE52}"/>
                </a:ext>
              </a:extLst>
            </p:cNvPr>
            <p:cNvSpPr/>
            <p:nvPr/>
          </p:nvSpPr>
          <p:spPr>
            <a:xfrm>
              <a:off x="5058599" y="3061534"/>
              <a:ext cx="148419" cy="5117"/>
            </a:xfrm>
            <a:custGeom>
              <a:avLst/>
              <a:gdLst>
                <a:gd name="connsiteX0" fmla="*/ 0 w 148419"/>
                <a:gd name="connsiteY0" fmla="*/ 0 h 5117"/>
                <a:gd name="connsiteX1" fmla="*/ 0 w 148419"/>
                <a:gd name="connsiteY1" fmla="*/ 5118 h 5117"/>
                <a:gd name="connsiteX2" fmla="*/ 0 w 148419"/>
                <a:gd name="connsiteY2" fmla="*/ 0 h 5117"/>
                <a:gd name="connsiteX3" fmla="*/ 0 w 148419"/>
                <a:gd name="connsiteY3" fmla="*/ 0 h 5117"/>
                <a:gd name="connsiteX4" fmla="*/ 148419 w 148419"/>
                <a:gd name="connsiteY4" fmla="*/ 0 h 5117"/>
                <a:gd name="connsiteX5" fmla="*/ 148419 w 148419"/>
                <a:gd name="connsiteY5" fmla="*/ 5118 h 5117"/>
                <a:gd name="connsiteX6" fmla="*/ 148419 w 148419"/>
                <a:gd name="connsiteY6" fmla="*/ 0 h 5117"/>
                <a:gd name="connsiteX7" fmla="*/ 148419 w 148419"/>
                <a:gd name="connsiteY7" fmla="*/ 0 h 5117"/>
                <a:gd name="connsiteX8" fmla="*/ 28660 w 148419"/>
                <a:gd name="connsiteY8" fmla="*/ 0 h 5117"/>
                <a:gd name="connsiteX9" fmla="*/ 37873 w 148419"/>
                <a:gd name="connsiteY9" fmla="*/ 512 h 5117"/>
                <a:gd name="connsiteX10" fmla="*/ 41455 w 148419"/>
                <a:gd name="connsiteY10" fmla="*/ 512 h 5117"/>
                <a:gd name="connsiteX11" fmla="*/ 44526 w 148419"/>
                <a:gd name="connsiteY11" fmla="*/ 512 h 5117"/>
                <a:gd name="connsiteX12" fmla="*/ 47085 w 148419"/>
                <a:gd name="connsiteY12" fmla="*/ 0 h 5117"/>
                <a:gd name="connsiteX13" fmla="*/ 28660 w 148419"/>
                <a:gd name="connsiteY13" fmla="*/ 0 h 51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8419" h="5117">
                  <a:moveTo>
                    <a:pt x="0" y="0"/>
                  </a:moveTo>
                  <a:lnTo>
                    <a:pt x="0" y="5118"/>
                  </a:lnTo>
                  <a:cubicBezTo>
                    <a:pt x="0" y="3583"/>
                    <a:pt x="0" y="1535"/>
                    <a:pt x="0" y="0"/>
                  </a:cubicBezTo>
                  <a:lnTo>
                    <a:pt x="0" y="0"/>
                  </a:lnTo>
                  <a:close/>
                  <a:moveTo>
                    <a:pt x="148419" y="0"/>
                  </a:moveTo>
                  <a:cubicBezTo>
                    <a:pt x="148419" y="1535"/>
                    <a:pt x="148419" y="3583"/>
                    <a:pt x="148419" y="5118"/>
                  </a:cubicBezTo>
                  <a:lnTo>
                    <a:pt x="148419" y="0"/>
                  </a:lnTo>
                  <a:lnTo>
                    <a:pt x="148419" y="0"/>
                  </a:lnTo>
                  <a:close/>
                  <a:moveTo>
                    <a:pt x="28660" y="0"/>
                  </a:moveTo>
                  <a:cubicBezTo>
                    <a:pt x="31731" y="512"/>
                    <a:pt x="34802" y="512"/>
                    <a:pt x="37873" y="512"/>
                  </a:cubicBezTo>
                  <a:cubicBezTo>
                    <a:pt x="38896" y="512"/>
                    <a:pt x="40432" y="512"/>
                    <a:pt x="41455" y="512"/>
                  </a:cubicBezTo>
                  <a:cubicBezTo>
                    <a:pt x="42479" y="512"/>
                    <a:pt x="43502" y="512"/>
                    <a:pt x="44526" y="512"/>
                  </a:cubicBezTo>
                  <a:cubicBezTo>
                    <a:pt x="45550" y="512"/>
                    <a:pt x="46061" y="512"/>
                    <a:pt x="47085" y="0"/>
                  </a:cubicBezTo>
                  <a:lnTo>
                    <a:pt x="28660" y="0"/>
                  </a:lnTo>
                  <a:close/>
                </a:path>
              </a:pathLst>
            </a:custGeom>
            <a:grpFill/>
            <a:ln w="511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9" name="Freeform: Shape 98">
              <a:extLst>
                <a:ext uri="{FF2B5EF4-FFF2-40B4-BE49-F238E27FC236}">
                  <a16:creationId xmlns:a16="http://schemas.microsoft.com/office/drawing/2014/main" id="{FB29BC01-1D93-4020-9E6B-8021B926C230}"/>
                </a:ext>
              </a:extLst>
            </p:cNvPr>
            <p:cNvSpPr/>
            <p:nvPr/>
          </p:nvSpPr>
          <p:spPr>
            <a:xfrm>
              <a:off x="5087259" y="3061534"/>
              <a:ext cx="18424" cy="511"/>
            </a:xfrm>
            <a:custGeom>
              <a:avLst/>
              <a:gdLst>
                <a:gd name="connsiteX0" fmla="*/ 18425 w 18424"/>
                <a:gd name="connsiteY0" fmla="*/ 0 h 511"/>
                <a:gd name="connsiteX1" fmla="*/ 15866 w 18424"/>
                <a:gd name="connsiteY1" fmla="*/ 512 h 511"/>
                <a:gd name="connsiteX2" fmla="*/ 12795 w 18424"/>
                <a:gd name="connsiteY2" fmla="*/ 512 h 511"/>
                <a:gd name="connsiteX3" fmla="*/ 9212 w 18424"/>
                <a:gd name="connsiteY3" fmla="*/ 512 h 511"/>
                <a:gd name="connsiteX4" fmla="*/ 0 w 18424"/>
                <a:gd name="connsiteY4" fmla="*/ 0 h 511"/>
                <a:gd name="connsiteX5" fmla="*/ 18425 w 18424"/>
                <a:gd name="connsiteY5" fmla="*/ 0 h 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424" h="511">
                  <a:moveTo>
                    <a:pt x="18425" y="0"/>
                  </a:moveTo>
                  <a:cubicBezTo>
                    <a:pt x="17401" y="0"/>
                    <a:pt x="16889" y="0"/>
                    <a:pt x="15866" y="512"/>
                  </a:cubicBezTo>
                  <a:cubicBezTo>
                    <a:pt x="14842" y="512"/>
                    <a:pt x="13818" y="512"/>
                    <a:pt x="12795" y="512"/>
                  </a:cubicBezTo>
                  <a:cubicBezTo>
                    <a:pt x="11771" y="512"/>
                    <a:pt x="10236" y="512"/>
                    <a:pt x="9212" y="512"/>
                  </a:cubicBezTo>
                  <a:cubicBezTo>
                    <a:pt x="6142" y="512"/>
                    <a:pt x="3071" y="512"/>
                    <a:pt x="0" y="0"/>
                  </a:cubicBezTo>
                  <a:lnTo>
                    <a:pt x="18425" y="0"/>
                  </a:lnTo>
                  <a:close/>
                </a:path>
              </a:pathLst>
            </a:custGeom>
            <a:grpFill/>
            <a:ln w="511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0" name="Freeform: Shape 99">
              <a:extLst>
                <a:ext uri="{FF2B5EF4-FFF2-40B4-BE49-F238E27FC236}">
                  <a16:creationId xmlns:a16="http://schemas.microsoft.com/office/drawing/2014/main" id="{AFE8EFBB-36C7-4528-8146-8D58EB1C2921}"/>
                </a:ext>
              </a:extLst>
            </p:cNvPr>
            <p:cNvSpPr/>
            <p:nvPr/>
          </p:nvSpPr>
          <p:spPr>
            <a:xfrm>
              <a:off x="5128203" y="3052321"/>
              <a:ext cx="4606" cy="2558"/>
            </a:xfrm>
            <a:custGeom>
              <a:avLst/>
              <a:gdLst>
                <a:gd name="connsiteX0" fmla="*/ 4606 w 4606"/>
                <a:gd name="connsiteY0" fmla="*/ 0 h 2558"/>
                <a:gd name="connsiteX1" fmla="*/ 4606 w 4606"/>
                <a:gd name="connsiteY1" fmla="*/ 0 h 2558"/>
                <a:gd name="connsiteX2" fmla="*/ 0 w 4606"/>
                <a:gd name="connsiteY2" fmla="*/ 2559 h 2558"/>
                <a:gd name="connsiteX3" fmla="*/ 4606 w 4606"/>
                <a:gd name="connsiteY3" fmla="*/ 0 h 2558"/>
              </a:gdLst>
              <a:ahLst/>
              <a:cxnLst>
                <a:cxn ang="0">
                  <a:pos x="connsiteX0" y="connsiteY0"/>
                </a:cxn>
                <a:cxn ang="0">
                  <a:pos x="connsiteX1" y="connsiteY1"/>
                </a:cxn>
                <a:cxn ang="0">
                  <a:pos x="connsiteX2" y="connsiteY2"/>
                </a:cxn>
                <a:cxn ang="0">
                  <a:pos x="connsiteX3" y="connsiteY3"/>
                </a:cxn>
              </a:cxnLst>
              <a:rect l="l" t="t" r="r" b="b"/>
              <a:pathLst>
                <a:path w="4606" h="2558">
                  <a:moveTo>
                    <a:pt x="4606" y="0"/>
                  </a:moveTo>
                  <a:lnTo>
                    <a:pt x="4606" y="0"/>
                  </a:lnTo>
                  <a:cubicBezTo>
                    <a:pt x="3071" y="1023"/>
                    <a:pt x="1535" y="1535"/>
                    <a:pt x="0" y="2559"/>
                  </a:cubicBezTo>
                  <a:cubicBezTo>
                    <a:pt x="2047" y="1535"/>
                    <a:pt x="3583" y="1023"/>
                    <a:pt x="4606" y="0"/>
                  </a:cubicBezTo>
                  <a:close/>
                </a:path>
              </a:pathLst>
            </a:custGeom>
            <a:grpFill/>
            <a:ln w="511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1" name="Freeform: Shape 100">
              <a:extLst>
                <a:ext uri="{FF2B5EF4-FFF2-40B4-BE49-F238E27FC236}">
                  <a16:creationId xmlns:a16="http://schemas.microsoft.com/office/drawing/2014/main" id="{52A454EC-0E04-4D29-8655-5ED37F373A3B}"/>
                </a:ext>
              </a:extLst>
            </p:cNvPr>
            <p:cNvSpPr/>
            <p:nvPr/>
          </p:nvSpPr>
          <p:spPr>
            <a:xfrm>
              <a:off x="5133321" y="3051298"/>
              <a:ext cx="1535" cy="1023"/>
            </a:xfrm>
            <a:custGeom>
              <a:avLst/>
              <a:gdLst>
                <a:gd name="connsiteX0" fmla="*/ 1535 w 1535"/>
                <a:gd name="connsiteY0" fmla="*/ 0 h 1023"/>
                <a:gd name="connsiteX1" fmla="*/ 0 w 1535"/>
                <a:gd name="connsiteY1" fmla="*/ 1024 h 1023"/>
                <a:gd name="connsiteX2" fmla="*/ 0 w 1535"/>
                <a:gd name="connsiteY2" fmla="*/ 1024 h 1023"/>
                <a:gd name="connsiteX3" fmla="*/ 1535 w 1535"/>
                <a:gd name="connsiteY3" fmla="*/ 0 h 1023"/>
              </a:gdLst>
              <a:ahLst/>
              <a:cxnLst>
                <a:cxn ang="0">
                  <a:pos x="connsiteX0" y="connsiteY0"/>
                </a:cxn>
                <a:cxn ang="0">
                  <a:pos x="connsiteX1" y="connsiteY1"/>
                </a:cxn>
                <a:cxn ang="0">
                  <a:pos x="connsiteX2" y="connsiteY2"/>
                </a:cxn>
                <a:cxn ang="0">
                  <a:pos x="connsiteX3" y="connsiteY3"/>
                </a:cxn>
              </a:cxnLst>
              <a:rect l="l" t="t" r="r" b="b"/>
              <a:pathLst>
                <a:path w="1535" h="1023">
                  <a:moveTo>
                    <a:pt x="1535" y="0"/>
                  </a:moveTo>
                  <a:cubicBezTo>
                    <a:pt x="1024" y="512"/>
                    <a:pt x="512" y="512"/>
                    <a:pt x="0" y="1024"/>
                  </a:cubicBezTo>
                  <a:lnTo>
                    <a:pt x="0" y="1024"/>
                  </a:lnTo>
                  <a:cubicBezTo>
                    <a:pt x="0" y="1024"/>
                    <a:pt x="1024" y="512"/>
                    <a:pt x="1535" y="0"/>
                  </a:cubicBezTo>
                  <a:close/>
                </a:path>
              </a:pathLst>
            </a:custGeom>
            <a:grpFill/>
            <a:ln w="511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2" name="Freeform: Shape 101">
              <a:extLst>
                <a:ext uri="{FF2B5EF4-FFF2-40B4-BE49-F238E27FC236}">
                  <a16:creationId xmlns:a16="http://schemas.microsoft.com/office/drawing/2014/main" id="{6A12FF5F-D76B-463C-A05E-EFCE168D771F}"/>
                </a:ext>
              </a:extLst>
            </p:cNvPr>
            <p:cNvSpPr/>
            <p:nvPr/>
          </p:nvSpPr>
          <p:spPr>
            <a:xfrm>
              <a:off x="5140997" y="3040038"/>
              <a:ext cx="8188" cy="7165"/>
            </a:xfrm>
            <a:custGeom>
              <a:avLst/>
              <a:gdLst>
                <a:gd name="connsiteX0" fmla="*/ 8189 w 8188"/>
                <a:gd name="connsiteY0" fmla="*/ 0 h 7165"/>
                <a:gd name="connsiteX1" fmla="*/ 8189 w 8188"/>
                <a:gd name="connsiteY1" fmla="*/ 0 h 7165"/>
                <a:gd name="connsiteX2" fmla="*/ 0 w 8188"/>
                <a:gd name="connsiteY2" fmla="*/ 7165 h 7165"/>
                <a:gd name="connsiteX3" fmla="*/ 8189 w 8188"/>
                <a:gd name="connsiteY3" fmla="*/ 0 h 7165"/>
              </a:gdLst>
              <a:ahLst/>
              <a:cxnLst>
                <a:cxn ang="0">
                  <a:pos x="connsiteX0" y="connsiteY0"/>
                </a:cxn>
                <a:cxn ang="0">
                  <a:pos x="connsiteX1" y="connsiteY1"/>
                </a:cxn>
                <a:cxn ang="0">
                  <a:pos x="connsiteX2" y="connsiteY2"/>
                </a:cxn>
                <a:cxn ang="0">
                  <a:pos x="connsiteX3" y="connsiteY3"/>
                </a:cxn>
              </a:cxnLst>
              <a:rect l="l" t="t" r="r" b="b"/>
              <a:pathLst>
                <a:path w="8188" h="7165">
                  <a:moveTo>
                    <a:pt x="8189" y="0"/>
                  </a:moveTo>
                  <a:lnTo>
                    <a:pt x="8189" y="0"/>
                  </a:lnTo>
                  <a:cubicBezTo>
                    <a:pt x="5630" y="2559"/>
                    <a:pt x="3071" y="5118"/>
                    <a:pt x="0" y="7165"/>
                  </a:cubicBezTo>
                  <a:cubicBezTo>
                    <a:pt x="2559" y="5118"/>
                    <a:pt x="5630" y="2559"/>
                    <a:pt x="8189" y="0"/>
                  </a:cubicBezTo>
                  <a:close/>
                </a:path>
              </a:pathLst>
            </a:custGeom>
            <a:grpFill/>
            <a:ln w="511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3" name="Freeform: Shape 102">
              <a:extLst>
                <a:ext uri="{FF2B5EF4-FFF2-40B4-BE49-F238E27FC236}">
                  <a16:creationId xmlns:a16="http://schemas.microsoft.com/office/drawing/2014/main" id="{1956E0B1-FB4B-4EF5-A82C-0583CEFBDB60}"/>
                </a:ext>
              </a:extLst>
            </p:cNvPr>
            <p:cNvSpPr/>
            <p:nvPr/>
          </p:nvSpPr>
          <p:spPr>
            <a:xfrm>
              <a:off x="4821640" y="3051298"/>
              <a:ext cx="1535" cy="1023"/>
            </a:xfrm>
            <a:custGeom>
              <a:avLst/>
              <a:gdLst>
                <a:gd name="connsiteX0" fmla="*/ 1535 w 1535"/>
                <a:gd name="connsiteY0" fmla="*/ 0 h 1023"/>
                <a:gd name="connsiteX1" fmla="*/ 0 w 1535"/>
                <a:gd name="connsiteY1" fmla="*/ 1024 h 1023"/>
                <a:gd name="connsiteX2" fmla="*/ 0 w 1535"/>
                <a:gd name="connsiteY2" fmla="*/ 1024 h 1023"/>
                <a:gd name="connsiteX3" fmla="*/ 1535 w 1535"/>
                <a:gd name="connsiteY3" fmla="*/ 0 h 1023"/>
              </a:gdLst>
              <a:ahLst/>
              <a:cxnLst>
                <a:cxn ang="0">
                  <a:pos x="connsiteX0" y="connsiteY0"/>
                </a:cxn>
                <a:cxn ang="0">
                  <a:pos x="connsiteX1" y="connsiteY1"/>
                </a:cxn>
                <a:cxn ang="0">
                  <a:pos x="connsiteX2" y="connsiteY2"/>
                </a:cxn>
                <a:cxn ang="0">
                  <a:pos x="connsiteX3" y="connsiteY3"/>
                </a:cxn>
              </a:cxnLst>
              <a:rect l="l" t="t" r="r" b="b"/>
              <a:pathLst>
                <a:path w="1535" h="1023">
                  <a:moveTo>
                    <a:pt x="1535" y="0"/>
                  </a:moveTo>
                  <a:cubicBezTo>
                    <a:pt x="1024" y="0"/>
                    <a:pt x="512" y="512"/>
                    <a:pt x="0" y="1024"/>
                  </a:cubicBezTo>
                  <a:lnTo>
                    <a:pt x="0" y="1024"/>
                  </a:lnTo>
                  <a:cubicBezTo>
                    <a:pt x="512" y="512"/>
                    <a:pt x="1024" y="0"/>
                    <a:pt x="1535" y="0"/>
                  </a:cubicBezTo>
                  <a:close/>
                </a:path>
              </a:pathLst>
            </a:custGeom>
            <a:grpFill/>
            <a:ln w="511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4" name="Freeform: Shape 103">
              <a:extLst>
                <a:ext uri="{FF2B5EF4-FFF2-40B4-BE49-F238E27FC236}">
                  <a16:creationId xmlns:a16="http://schemas.microsoft.com/office/drawing/2014/main" id="{00E256DF-F422-4039-95FD-A8C45F0FA02B}"/>
                </a:ext>
              </a:extLst>
            </p:cNvPr>
            <p:cNvSpPr/>
            <p:nvPr/>
          </p:nvSpPr>
          <p:spPr>
            <a:xfrm>
              <a:off x="4835970" y="3039015"/>
              <a:ext cx="2558" cy="2558"/>
            </a:xfrm>
            <a:custGeom>
              <a:avLst/>
              <a:gdLst>
                <a:gd name="connsiteX0" fmla="*/ 2559 w 2558"/>
                <a:gd name="connsiteY0" fmla="*/ 0 h 2558"/>
                <a:gd name="connsiteX1" fmla="*/ 2559 w 2558"/>
                <a:gd name="connsiteY1" fmla="*/ 0 h 2558"/>
                <a:gd name="connsiteX2" fmla="*/ 0 w 2558"/>
                <a:gd name="connsiteY2" fmla="*/ 2559 h 2558"/>
                <a:gd name="connsiteX3" fmla="*/ 2559 w 2558"/>
                <a:gd name="connsiteY3" fmla="*/ 0 h 2558"/>
              </a:gdLst>
              <a:ahLst/>
              <a:cxnLst>
                <a:cxn ang="0">
                  <a:pos x="connsiteX0" y="connsiteY0"/>
                </a:cxn>
                <a:cxn ang="0">
                  <a:pos x="connsiteX1" y="connsiteY1"/>
                </a:cxn>
                <a:cxn ang="0">
                  <a:pos x="connsiteX2" y="connsiteY2"/>
                </a:cxn>
                <a:cxn ang="0">
                  <a:pos x="connsiteX3" y="connsiteY3"/>
                </a:cxn>
              </a:cxnLst>
              <a:rect l="l" t="t" r="r" b="b"/>
              <a:pathLst>
                <a:path w="2558" h="2558">
                  <a:moveTo>
                    <a:pt x="2559" y="0"/>
                  </a:moveTo>
                  <a:lnTo>
                    <a:pt x="2559" y="0"/>
                  </a:lnTo>
                  <a:cubicBezTo>
                    <a:pt x="1535" y="1024"/>
                    <a:pt x="512" y="2047"/>
                    <a:pt x="0" y="2559"/>
                  </a:cubicBezTo>
                  <a:cubicBezTo>
                    <a:pt x="512" y="2047"/>
                    <a:pt x="1535" y="1024"/>
                    <a:pt x="2559" y="0"/>
                  </a:cubicBezTo>
                  <a:close/>
                </a:path>
              </a:pathLst>
            </a:custGeom>
            <a:grpFill/>
            <a:ln w="511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5" name="Freeform: Shape 104">
              <a:extLst>
                <a:ext uri="{FF2B5EF4-FFF2-40B4-BE49-F238E27FC236}">
                  <a16:creationId xmlns:a16="http://schemas.microsoft.com/office/drawing/2014/main" id="{4225CD18-2CC4-4599-A73C-E359EC03D7D4}"/>
                </a:ext>
              </a:extLst>
            </p:cNvPr>
            <p:cNvSpPr/>
            <p:nvPr/>
          </p:nvSpPr>
          <p:spPr>
            <a:xfrm>
              <a:off x="4802704" y="3057439"/>
              <a:ext cx="7165" cy="2046"/>
            </a:xfrm>
            <a:custGeom>
              <a:avLst/>
              <a:gdLst>
                <a:gd name="connsiteX0" fmla="*/ 7165 w 7165"/>
                <a:gd name="connsiteY0" fmla="*/ 0 h 2046"/>
                <a:gd name="connsiteX1" fmla="*/ 0 w 7165"/>
                <a:gd name="connsiteY1" fmla="*/ 2047 h 2046"/>
                <a:gd name="connsiteX2" fmla="*/ 7165 w 7165"/>
                <a:gd name="connsiteY2" fmla="*/ 0 h 2046"/>
              </a:gdLst>
              <a:ahLst/>
              <a:cxnLst>
                <a:cxn ang="0">
                  <a:pos x="connsiteX0" y="connsiteY0"/>
                </a:cxn>
                <a:cxn ang="0">
                  <a:pos x="connsiteX1" y="connsiteY1"/>
                </a:cxn>
                <a:cxn ang="0">
                  <a:pos x="connsiteX2" y="connsiteY2"/>
                </a:cxn>
              </a:cxnLst>
              <a:rect l="l" t="t" r="r" b="b"/>
              <a:pathLst>
                <a:path w="7165" h="2046">
                  <a:moveTo>
                    <a:pt x="7165" y="0"/>
                  </a:moveTo>
                  <a:cubicBezTo>
                    <a:pt x="4606" y="1023"/>
                    <a:pt x="2559" y="1535"/>
                    <a:pt x="0" y="2047"/>
                  </a:cubicBezTo>
                  <a:cubicBezTo>
                    <a:pt x="2559" y="1535"/>
                    <a:pt x="4606" y="1023"/>
                    <a:pt x="7165" y="0"/>
                  </a:cubicBezTo>
                  <a:close/>
                </a:path>
              </a:pathLst>
            </a:custGeom>
            <a:grpFill/>
            <a:ln w="511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6" name="Freeform: Shape 105">
              <a:extLst>
                <a:ext uri="{FF2B5EF4-FFF2-40B4-BE49-F238E27FC236}">
                  <a16:creationId xmlns:a16="http://schemas.microsoft.com/office/drawing/2014/main" id="{BD794901-3FFC-4823-AA5B-0BBC986B152F}"/>
                </a:ext>
              </a:extLst>
            </p:cNvPr>
            <p:cNvSpPr/>
            <p:nvPr/>
          </p:nvSpPr>
          <p:spPr>
            <a:xfrm>
              <a:off x="5087259" y="3061534"/>
              <a:ext cx="18424" cy="511"/>
            </a:xfrm>
            <a:custGeom>
              <a:avLst/>
              <a:gdLst>
                <a:gd name="connsiteX0" fmla="*/ 0 w 18424"/>
                <a:gd name="connsiteY0" fmla="*/ 0 h 511"/>
                <a:gd name="connsiteX1" fmla="*/ 9212 w 18424"/>
                <a:gd name="connsiteY1" fmla="*/ 512 h 511"/>
                <a:gd name="connsiteX2" fmla="*/ 12795 w 18424"/>
                <a:gd name="connsiteY2" fmla="*/ 512 h 511"/>
                <a:gd name="connsiteX3" fmla="*/ 15866 w 18424"/>
                <a:gd name="connsiteY3" fmla="*/ 512 h 511"/>
                <a:gd name="connsiteX4" fmla="*/ 18425 w 18424"/>
                <a:gd name="connsiteY4" fmla="*/ 0 h 511"/>
                <a:gd name="connsiteX5" fmla="*/ 0 w 18424"/>
                <a:gd name="connsiteY5" fmla="*/ 0 h 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424" h="511">
                  <a:moveTo>
                    <a:pt x="0" y="0"/>
                  </a:moveTo>
                  <a:cubicBezTo>
                    <a:pt x="3071" y="512"/>
                    <a:pt x="6142" y="512"/>
                    <a:pt x="9212" y="512"/>
                  </a:cubicBezTo>
                  <a:cubicBezTo>
                    <a:pt x="10236" y="512"/>
                    <a:pt x="11771" y="512"/>
                    <a:pt x="12795" y="512"/>
                  </a:cubicBezTo>
                  <a:cubicBezTo>
                    <a:pt x="13818" y="512"/>
                    <a:pt x="14842" y="512"/>
                    <a:pt x="15866" y="512"/>
                  </a:cubicBezTo>
                  <a:cubicBezTo>
                    <a:pt x="16889" y="512"/>
                    <a:pt x="17401" y="512"/>
                    <a:pt x="18425" y="0"/>
                  </a:cubicBezTo>
                  <a:lnTo>
                    <a:pt x="0" y="0"/>
                  </a:lnTo>
                  <a:close/>
                </a:path>
              </a:pathLst>
            </a:custGeom>
            <a:grpFill/>
            <a:ln w="511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7" name="Freeform: Shape 106">
              <a:extLst>
                <a:ext uri="{FF2B5EF4-FFF2-40B4-BE49-F238E27FC236}">
                  <a16:creationId xmlns:a16="http://schemas.microsoft.com/office/drawing/2014/main" id="{1C5185D5-8A23-43CC-8742-857A4E6DF7F2}"/>
                </a:ext>
              </a:extLst>
            </p:cNvPr>
            <p:cNvSpPr/>
            <p:nvPr/>
          </p:nvSpPr>
          <p:spPr>
            <a:xfrm>
              <a:off x="5087259" y="3001142"/>
              <a:ext cx="81886" cy="60902"/>
            </a:xfrm>
            <a:custGeom>
              <a:avLst/>
              <a:gdLst>
                <a:gd name="connsiteX0" fmla="*/ 0 w 81886"/>
                <a:gd name="connsiteY0" fmla="*/ 60391 h 60902"/>
                <a:gd name="connsiteX1" fmla="*/ 9212 w 81886"/>
                <a:gd name="connsiteY1" fmla="*/ 60903 h 60902"/>
                <a:gd name="connsiteX2" fmla="*/ 12795 w 81886"/>
                <a:gd name="connsiteY2" fmla="*/ 60903 h 60902"/>
                <a:gd name="connsiteX3" fmla="*/ 15866 w 81886"/>
                <a:gd name="connsiteY3" fmla="*/ 60903 h 60902"/>
                <a:gd name="connsiteX4" fmla="*/ 18425 w 81886"/>
                <a:gd name="connsiteY4" fmla="*/ 60391 h 60902"/>
                <a:gd name="connsiteX5" fmla="*/ 0 w 81886"/>
                <a:gd name="connsiteY5" fmla="*/ 60391 h 60902"/>
                <a:gd name="connsiteX6" fmla="*/ 45549 w 81886"/>
                <a:gd name="connsiteY6" fmla="*/ 51179 h 60902"/>
                <a:gd name="connsiteX7" fmla="*/ 40943 w 81886"/>
                <a:gd name="connsiteY7" fmla="*/ 53738 h 60902"/>
                <a:gd name="connsiteX8" fmla="*/ 45549 w 81886"/>
                <a:gd name="connsiteY8" fmla="*/ 51179 h 60902"/>
                <a:gd name="connsiteX9" fmla="*/ 47085 w 81886"/>
                <a:gd name="connsiteY9" fmla="*/ 50155 h 60902"/>
                <a:gd name="connsiteX10" fmla="*/ 45549 w 81886"/>
                <a:gd name="connsiteY10" fmla="*/ 51179 h 60902"/>
                <a:gd name="connsiteX11" fmla="*/ 53738 w 81886"/>
                <a:gd name="connsiteY11" fmla="*/ 46061 h 60902"/>
                <a:gd name="connsiteX12" fmla="*/ 61927 w 81886"/>
                <a:gd name="connsiteY12" fmla="*/ 38896 h 60902"/>
                <a:gd name="connsiteX13" fmla="*/ 61927 w 81886"/>
                <a:gd name="connsiteY13" fmla="*/ 38896 h 60902"/>
                <a:gd name="connsiteX14" fmla="*/ 53738 w 81886"/>
                <a:gd name="connsiteY14" fmla="*/ 46061 h 60902"/>
                <a:gd name="connsiteX15" fmla="*/ 80351 w 81886"/>
                <a:gd name="connsiteY15" fmla="*/ 0 h 60902"/>
                <a:gd name="connsiteX16" fmla="*/ 81887 w 81886"/>
                <a:gd name="connsiteY16" fmla="*/ 1023 h 60902"/>
                <a:gd name="connsiteX17" fmla="*/ 81887 w 81886"/>
                <a:gd name="connsiteY17" fmla="*/ 1023 h 60902"/>
                <a:gd name="connsiteX18" fmla="*/ 80351 w 81886"/>
                <a:gd name="connsiteY18" fmla="*/ 0 h 60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1886" h="60902">
                  <a:moveTo>
                    <a:pt x="0" y="60391"/>
                  </a:moveTo>
                  <a:cubicBezTo>
                    <a:pt x="3071" y="60903"/>
                    <a:pt x="6142" y="60903"/>
                    <a:pt x="9212" y="60903"/>
                  </a:cubicBezTo>
                  <a:cubicBezTo>
                    <a:pt x="10236" y="60903"/>
                    <a:pt x="11771" y="60903"/>
                    <a:pt x="12795" y="60903"/>
                  </a:cubicBezTo>
                  <a:cubicBezTo>
                    <a:pt x="13818" y="60903"/>
                    <a:pt x="14842" y="60903"/>
                    <a:pt x="15866" y="60903"/>
                  </a:cubicBezTo>
                  <a:cubicBezTo>
                    <a:pt x="16889" y="60903"/>
                    <a:pt x="17401" y="60903"/>
                    <a:pt x="18425" y="60391"/>
                  </a:cubicBezTo>
                  <a:lnTo>
                    <a:pt x="0" y="60391"/>
                  </a:lnTo>
                  <a:close/>
                  <a:moveTo>
                    <a:pt x="45549" y="51179"/>
                  </a:moveTo>
                  <a:cubicBezTo>
                    <a:pt x="44014" y="52202"/>
                    <a:pt x="42479" y="52714"/>
                    <a:pt x="40943" y="53738"/>
                  </a:cubicBezTo>
                  <a:cubicBezTo>
                    <a:pt x="42990" y="52714"/>
                    <a:pt x="44526" y="52202"/>
                    <a:pt x="45549" y="51179"/>
                  </a:cubicBezTo>
                  <a:cubicBezTo>
                    <a:pt x="46061" y="51179"/>
                    <a:pt x="46573" y="50667"/>
                    <a:pt x="47085" y="50155"/>
                  </a:cubicBezTo>
                  <a:cubicBezTo>
                    <a:pt x="47085" y="50667"/>
                    <a:pt x="46061" y="51179"/>
                    <a:pt x="45549" y="51179"/>
                  </a:cubicBezTo>
                  <a:close/>
                  <a:moveTo>
                    <a:pt x="53738" y="46061"/>
                  </a:moveTo>
                  <a:cubicBezTo>
                    <a:pt x="56809" y="44014"/>
                    <a:pt x="59368" y="41455"/>
                    <a:pt x="61927" y="38896"/>
                  </a:cubicBezTo>
                  <a:lnTo>
                    <a:pt x="61927" y="38896"/>
                  </a:lnTo>
                  <a:cubicBezTo>
                    <a:pt x="59368" y="41455"/>
                    <a:pt x="56297" y="44014"/>
                    <a:pt x="53738" y="46061"/>
                  </a:cubicBezTo>
                  <a:close/>
                  <a:moveTo>
                    <a:pt x="80351" y="0"/>
                  </a:moveTo>
                  <a:cubicBezTo>
                    <a:pt x="80863" y="512"/>
                    <a:pt x="81375" y="512"/>
                    <a:pt x="81887" y="1023"/>
                  </a:cubicBezTo>
                  <a:lnTo>
                    <a:pt x="81887" y="1023"/>
                  </a:lnTo>
                  <a:lnTo>
                    <a:pt x="80351" y="0"/>
                  </a:lnTo>
                  <a:close/>
                </a:path>
              </a:pathLst>
            </a:custGeom>
            <a:grpFill/>
            <a:ln w="511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8" name="Freeform: Shape 107">
              <a:extLst>
                <a:ext uri="{FF2B5EF4-FFF2-40B4-BE49-F238E27FC236}">
                  <a16:creationId xmlns:a16="http://schemas.microsoft.com/office/drawing/2014/main" id="{84F28818-5AB3-46AB-A0EA-EF130E1494AB}"/>
                </a:ext>
              </a:extLst>
            </p:cNvPr>
            <p:cNvSpPr/>
            <p:nvPr/>
          </p:nvSpPr>
          <p:spPr>
            <a:xfrm>
              <a:off x="5159934" y="2997048"/>
              <a:ext cx="5629" cy="2558"/>
            </a:xfrm>
            <a:custGeom>
              <a:avLst/>
              <a:gdLst>
                <a:gd name="connsiteX0" fmla="*/ 0 w 5629"/>
                <a:gd name="connsiteY0" fmla="*/ 0 h 2558"/>
                <a:gd name="connsiteX1" fmla="*/ 0 w 5629"/>
                <a:gd name="connsiteY1" fmla="*/ 0 h 2558"/>
                <a:gd name="connsiteX2" fmla="*/ 5630 w 5629"/>
                <a:gd name="connsiteY2" fmla="*/ 2559 h 2558"/>
                <a:gd name="connsiteX3" fmla="*/ 0 w 5629"/>
                <a:gd name="connsiteY3" fmla="*/ 0 h 2558"/>
              </a:gdLst>
              <a:ahLst/>
              <a:cxnLst>
                <a:cxn ang="0">
                  <a:pos x="connsiteX0" y="connsiteY0"/>
                </a:cxn>
                <a:cxn ang="0">
                  <a:pos x="connsiteX1" y="connsiteY1"/>
                </a:cxn>
                <a:cxn ang="0">
                  <a:pos x="connsiteX2" y="connsiteY2"/>
                </a:cxn>
                <a:cxn ang="0">
                  <a:pos x="connsiteX3" y="connsiteY3"/>
                </a:cxn>
              </a:cxnLst>
              <a:rect l="l" t="t" r="r" b="b"/>
              <a:pathLst>
                <a:path w="5629" h="2558">
                  <a:moveTo>
                    <a:pt x="0" y="0"/>
                  </a:moveTo>
                  <a:lnTo>
                    <a:pt x="0" y="0"/>
                  </a:lnTo>
                  <a:cubicBezTo>
                    <a:pt x="2047" y="1024"/>
                    <a:pt x="4094" y="2047"/>
                    <a:pt x="5630" y="2559"/>
                  </a:cubicBezTo>
                  <a:lnTo>
                    <a:pt x="0" y="0"/>
                  </a:lnTo>
                  <a:close/>
                </a:path>
              </a:pathLst>
            </a:custGeom>
            <a:grpFill/>
            <a:ln w="511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9" name="Freeform: Shape 108">
              <a:extLst>
                <a:ext uri="{FF2B5EF4-FFF2-40B4-BE49-F238E27FC236}">
                  <a16:creationId xmlns:a16="http://schemas.microsoft.com/office/drawing/2014/main" id="{9294FB60-A533-4872-9550-64FEF484FAA4}"/>
                </a:ext>
              </a:extLst>
            </p:cNvPr>
            <p:cNvSpPr/>
            <p:nvPr/>
          </p:nvSpPr>
          <p:spPr>
            <a:xfrm>
              <a:off x="4714676" y="2988348"/>
              <a:ext cx="521003" cy="327546"/>
            </a:xfrm>
            <a:custGeom>
              <a:avLst/>
              <a:gdLst>
                <a:gd name="connsiteX0" fmla="*/ 521003 w 521003"/>
                <a:gd name="connsiteY0" fmla="*/ 242077 h 327546"/>
                <a:gd name="connsiteX1" fmla="*/ 465218 w 521003"/>
                <a:gd name="connsiteY1" fmla="*/ 152514 h 327546"/>
                <a:gd name="connsiteX2" fmla="*/ 492343 w 521003"/>
                <a:gd name="connsiteY2" fmla="*/ 152514 h 327546"/>
                <a:gd name="connsiteX3" fmla="*/ 492343 w 521003"/>
                <a:gd name="connsiteY3" fmla="*/ 78304 h 327546"/>
                <a:gd name="connsiteX4" fmla="*/ 492343 w 521003"/>
                <a:gd name="connsiteY4" fmla="*/ 73186 h 327546"/>
                <a:gd name="connsiteX5" fmla="*/ 491831 w 521003"/>
                <a:gd name="connsiteY5" fmla="*/ 68068 h 327546"/>
                <a:gd name="connsiteX6" fmla="*/ 485178 w 521003"/>
                <a:gd name="connsiteY6" fmla="*/ 46573 h 327546"/>
                <a:gd name="connsiteX7" fmla="*/ 454470 w 521003"/>
                <a:gd name="connsiteY7" fmla="*/ 13818 h 327546"/>
                <a:gd name="connsiteX8" fmla="*/ 452935 w 521003"/>
                <a:gd name="connsiteY8" fmla="*/ 12795 h 327546"/>
                <a:gd name="connsiteX9" fmla="*/ 450888 w 521003"/>
                <a:gd name="connsiteY9" fmla="*/ 11771 h 327546"/>
                <a:gd name="connsiteX10" fmla="*/ 445258 w 521003"/>
                <a:gd name="connsiteY10" fmla="*/ 9212 h 327546"/>
                <a:gd name="connsiteX11" fmla="*/ 418133 w 521003"/>
                <a:gd name="connsiteY11" fmla="*/ 4094 h 327546"/>
                <a:gd name="connsiteX12" fmla="*/ 351600 w 521003"/>
                <a:gd name="connsiteY12" fmla="*/ 45549 h 327546"/>
                <a:gd name="connsiteX13" fmla="*/ 346482 w 521003"/>
                <a:gd name="connsiteY13" fmla="*/ 59879 h 327546"/>
                <a:gd name="connsiteX14" fmla="*/ 344435 w 521003"/>
                <a:gd name="connsiteY14" fmla="*/ 72674 h 327546"/>
                <a:gd name="connsiteX15" fmla="*/ 344435 w 521003"/>
                <a:gd name="connsiteY15" fmla="*/ 77792 h 327546"/>
                <a:gd name="connsiteX16" fmla="*/ 344435 w 521003"/>
                <a:gd name="connsiteY16" fmla="*/ 91099 h 327546"/>
                <a:gd name="connsiteX17" fmla="*/ 343412 w 521003"/>
                <a:gd name="connsiteY17" fmla="*/ 89051 h 327546"/>
                <a:gd name="connsiteX18" fmla="*/ 307075 w 521003"/>
                <a:gd name="connsiteY18" fmla="*/ 50667 h 327546"/>
                <a:gd name="connsiteX19" fmla="*/ 303492 w 521003"/>
                <a:gd name="connsiteY19" fmla="*/ 48620 h 327546"/>
                <a:gd name="connsiteX20" fmla="*/ 297862 w 521003"/>
                <a:gd name="connsiteY20" fmla="*/ 46061 h 327546"/>
                <a:gd name="connsiteX21" fmla="*/ 265108 w 521003"/>
                <a:gd name="connsiteY21" fmla="*/ 39408 h 327546"/>
                <a:gd name="connsiteX22" fmla="*/ 186804 w 521003"/>
                <a:gd name="connsiteY22" fmla="*/ 88028 h 327546"/>
                <a:gd name="connsiteX23" fmla="*/ 180662 w 521003"/>
                <a:gd name="connsiteY23" fmla="*/ 104917 h 327546"/>
                <a:gd name="connsiteX24" fmla="*/ 178103 w 521003"/>
                <a:gd name="connsiteY24" fmla="*/ 125900 h 327546"/>
                <a:gd name="connsiteX25" fmla="*/ 192433 w 521003"/>
                <a:gd name="connsiteY25" fmla="*/ 173497 h 327546"/>
                <a:gd name="connsiteX26" fmla="*/ 193969 w 521003"/>
                <a:gd name="connsiteY26" fmla="*/ 176056 h 327546"/>
                <a:gd name="connsiteX27" fmla="*/ 199087 w 521003"/>
                <a:gd name="connsiteY27" fmla="*/ 182709 h 327546"/>
                <a:gd name="connsiteX28" fmla="*/ 233377 w 521003"/>
                <a:gd name="connsiteY28" fmla="*/ 206763 h 327546"/>
                <a:gd name="connsiteX29" fmla="*/ 208299 w 521003"/>
                <a:gd name="connsiteY29" fmla="*/ 216488 h 327546"/>
                <a:gd name="connsiteX30" fmla="*/ 137160 w 521003"/>
                <a:gd name="connsiteY30" fmla="*/ 148419 h 327546"/>
                <a:gd name="connsiteX31" fmla="*/ 165308 w 521003"/>
                <a:gd name="connsiteY31" fmla="*/ 127948 h 327546"/>
                <a:gd name="connsiteX32" fmla="*/ 170426 w 521003"/>
                <a:gd name="connsiteY32" fmla="*/ 121294 h 327546"/>
                <a:gd name="connsiteX33" fmla="*/ 171962 w 521003"/>
                <a:gd name="connsiteY33" fmla="*/ 118735 h 327546"/>
                <a:gd name="connsiteX34" fmla="*/ 184245 w 521003"/>
                <a:gd name="connsiteY34" fmla="*/ 77280 h 327546"/>
                <a:gd name="connsiteX35" fmla="*/ 183221 w 521003"/>
                <a:gd name="connsiteY35" fmla="*/ 66533 h 327546"/>
                <a:gd name="connsiteX36" fmla="*/ 176568 w 521003"/>
                <a:gd name="connsiteY36" fmla="*/ 44014 h 327546"/>
                <a:gd name="connsiteX37" fmla="*/ 144837 w 521003"/>
                <a:gd name="connsiteY37" fmla="*/ 10236 h 327546"/>
                <a:gd name="connsiteX38" fmla="*/ 141254 w 521003"/>
                <a:gd name="connsiteY38" fmla="*/ 8189 h 327546"/>
                <a:gd name="connsiteX39" fmla="*/ 135625 w 521003"/>
                <a:gd name="connsiteY39" fmla="*/ 5630 h 327546"/>
                <a:gd name="connsiteX40" fmla="*/ 107476 w 521003"/>
                <a:gd name="connsiteY40" fmla="*/ 0 h 327546"/>
                <a:gd name="connsiteX41" fmla="*/ 38384 w 521003"/>
                <a:gd name="connsiteY41" fmla="*/ 42990 h 327546"/>
                <a:gd name="connsiteX42" fmla="*/ 32755 w 521003"/>
                <a:gd name="connsiteY42" fmla="*/ 57832 h 327546"/>
                <a:gd name="connsiteX43" fmla="*/ 30196 w 521003"/>
                <a:gd name="connsiteY43" fmla="*/ 76257 h 327546"/>
                <a:gd name="connsiteX44" fmla="*/ 42479 w 521003"/>
                <a:gd name="connsiteY44" fmla="*/ 118224 h 327546"/>
                <a:gd name="connsiteX45" fmla="*/ 44014 w 521003"/>
                <a:gd name="connsiteY45" fmla="*/ 120783 h 327546"/>
                <a:gd name="connsiteX46" fmla="*/ 49132 w 521003"/>
                <a:gd name="connsiteY46" fmla="*/ 127436 h 327546"/>
                <a:gd name="connsiteX47" fmla="*/ 76769 w 521003"/>
                <a:gd name="connsiteY47" fmla="*/ 147396 h 327546"/>
                <a:gd name="connsiteX48" fmla="*/ 0 w 521003"/>
                <a:gd name="connsiteY48" fmla="*/ 249754 h 327546"/>
                <a:gd name="connsiteX49" fmla="*/ 0 w 521003"/>
                <a:gd name="connsiteY49" fmla="*/ 254872 h 327546"/>
                <a:gd name="connsiteX50" fmla="*/ 163773 w 521003"/>
                <a:gd name="connsiteY50" fmla="*/ 254872 h 327546"/>
                <a:gd name="connsiteX51" fmla="*/ 143301 w 521003"/>
                <a:gd name="connsiteY51" fmla="*/ 322428 h 327546"/>
                <a:gd name="connsiteX52" fmla="*/ 143301 w 521003"/>
                <a:gd name="connsiteY52" fmla="*/ 327546 h 327546"/>
                <a:gd name="connsiteX53" fmla="*/ 385379 w 521003"/>
                <a:gd name="connsiteY53" fmla="*/ 327546 h 327546"/>
                <a:gd name="connsiteX54" fmla="*/ 385379 w 521003"/>
                <a:gd name="connsiteY54" fmla="*/ 322428 h 327546"/>
                <a:gd name="connsiteX55" fmla="*/ 359789 w 521003"/>
                <a:gd name="connsiteY55" fmla="*/ 248219 h 327546"/>
                <a:gd name="connsiteX56" fmla="*/ 521003 w 521003"/>
                <a:gd name="connsiteY56" fmla="*/ 248219 h 327546"/>
                <a:gd name="connsiteX57" fmla="*/ 521003 w 521003"/>
                <a:gd name="connsiteY57" fmla="*/ 242077 h 327546"/>
                <a:gd name="connsiteX58" fmla="*/ 54250 w 521003"/>
                <a:gd name="connsiteY58" fmla="*/ 119759 h 327546"/>
                <a:gd name="connsiteX59" fmla="*/ 54250 w 521003"/>
                <a:gd name="connsiteY59" fmla="*/ 119759 h 327546"/>
                <a:gd name="connsiteX60" fmla="*/ 55273 w 521003"/>
                <a:gd name="connsiteY60" fmla="*/ 117200 h 327546"/>
                <a:gd name="connsiteX61" fmla="*/ 56297 w 521003"/>
                <a:gd name="connsiteY61" fmla="*/ 114641 h 327546"/>
                <a:gd name="connsiteX62" fmla="*/ 56297 w 521003"/>
                <a:gd name="connsiteY62" fmla="*/ 114129 h 327546"/>
                <a:gd name="connsiteX63" fmla="*/ 57832 w 521003"/>
                <a:gd name="connsiteY63" fmla="*/ 110035 h 327546"/>
                <a:gd name="connsiteX64" fmla="*/ 58856 w 521003"/>
                <a:gd name="connsiteY64" fmla="*/ 105941 h 327546"/>
                <a:gd name="connsiteX65" fmla="*/ 58856 w 521003"/>
                <a:gd name="connsiteY65" fmla="*/ 105429 h 327546"/>
                <a:gd name="connsiteX66" fmla="*/ 59368 w 521003"/>
                <a:gd name="connsiteY66" fmla="*/ 102870 h 327546"/>
                <a:gd name="connsiteX67" fmla="*/ 59880 w 521003"/>
                <a:gd name="connsiteY67" fmla="*/ 100311 h 327546"/>
                <a:gd name="connsiteX68" fmla="*/ 60391 w 521003"/>
                <a:gd name="connsiteY68" fmla="*/ 97240 h 327546"/>
                <a:gd name="connsiteX69" fmla="*/ 60903 w 521003"/>
                <a:gd name="connsiteY69" fmla="*/ 94681 h 327546"/>
                <a:gd name="connsiteX70" fmla="*/ 60903 w 521003"/>
                <a:gd name="connsiteY70" fmla="*/ 88540 h 327546"/>
                <a:gd name="connsiteX71" fmla="*/ 59368 w 521003"/>
                <a:gd name="connsiteY71" fmla="*/ 73186 h 327546"/>
                <a:gd name="connsiteX72" fmla="*/ 69092 w 521003"/>
                <a:gd name="connsiteY72" fmla="*/ 73698 h 327546"/>
                <a:gd name="connsiteX73" fmla="*/ 73186 w 521003"/>
                <a:gd name="connsiteY73" fmla="*/ 73698 h 327546"/>
                <a:gd name="connsiteX74" fmla="*/ 80863 w 521003"/>
                <a:gd name="connsiteY74" fmla="*/ 73186 h 327546"/>
                <a:gd name="connsiteX75" fmla="*/ 84446 w 521003"/>
                <a:gd name="connsiteY75" fmla="*/ 72674 h 327546"/>
                <a:gd name="connsiteX76" fmla="*/ 88028 w 521003"/>
                <a:gd name="connsiteY76" fmla="*/ 71651 h 327546"/>
                <a:gd name="connsiteX77" fmla="*/ 95193 w 521003"/>
                <a:gd name="connsiteY77" fmla="*/ 69603 h 327546"/>
                <a:gd name="connsiteX78" fmla="*/ 98776 w 521003"/>
                <a:gd name="connsiteY78" fmla="*/ 68068 h 327546"/>
                <a:gd name="connsiteX79" fmla="*/ 105429 w 521003"/>
                <a:gd name="connsiteY79" fmla="*/ 64997 h 327546"/>
                <a:gd name="connsiteX80" fmla="*/ 106964 w 521003"/>
                <a:gd name="connsiteY80" fmla="*/ 63974 h 327546"/>
                <a:gd name="connsiteX81" fmla="*/ 106964 w 521003"/>
                <a:gd name="connsiteY81" fmla="*/ 63974 h 327546"/>
                <a:gd name="connsiteX82" fmla="*/ 108500 w 521003"/>
                <a:gd name="connsiteY82" fmla="*/ 62950 h 327546"/>
                <a:gd name="connsiteX83" fmla="*/ 112082 w 521003"/>
                <a:gd name="connsiteY83" fmla="*/ 60903 h 327546"/>
                <a:gd name="connsiteX84" fmla="*/ 114641 w 521003"/>
                <a:gd name="connsiteY84" fmla="*/ 58856 h 327546"/>
                <a:gd name="connsiteX85" fmla="*/ 118224 w 521003"/>
                <a:gd name="connsiteY85" fmla="*/ 56297 h 327546"/>
                <a:gd name="connsiteX86" fmla="*/ 121294 w 521003"/>
                <a:gd name="connsiteY86" fmla="*/ 53738 h 327546"/>
                <a:gd name="connsiteX87" fmla="*/ 121294 w 521003"/>
                <a:gd name="connsiteY87" fmla="*/ 53738 h 327546"/>
                <a:gd name="connsiteX88" fmla="*/ 123853 w 521003"/>
                <a:gd name="connsiteY88" fmla="*/ 51179 h 327546"/>
                <a:gd name="connsiteX89" fmla="*/ 123853 w 521003"/>
                <a:gd name="connsiteY89" fmla="*/ 51179 h 327546"/>
                <a:gd name="connsiteX90" fmla="*/ 127436 w 521003"/>
                <a:gd name="connsiteY90" fmla="*/ 54250 h 327546"/>
                <a:gd name="connsiteX91" fmla="*/ 131019 w 521003"/>
                <a:gd name="connsiteY91" fmla="*/ 56809 h 327546"/>
                <a:gd name="connsiteX92" fmla="*/ 131530 w 521003"/>
                <a:gd name="connsiteY92" fmla="*/ 57320 h 327546"/>
                <a:gd name="connsiteX93" fmla="*/ 135113 w 521003"/>
                <a:gd name="connsiteY93" fmla="*/ 59879 h 327546"/>
                <a:gd name="connsiteX94" fmla="*/ 138184 w 521003"/>
                <a:gd name="connsiteY94" fmla="*/ 61927 h 327546"/>
                <a:gd name="connsiteX95" fmla="*/ 140231 w 521003"/>
                <a:gd name="connsiteY95" fmla="*/ 62950 h 327546"/>
                <a:gd name="connsiteX96" fmla="*/ 142790 w 521003"/>
                <a:gd name="connsiteY96" fmla="*/ 64486 h 327546"/>
                <a:gd name="connsiteX97" fmla="*/ 144325 w 521003"/>
                <a:gd name="connsiteY97" fmla="*/ 65509 h 327546"/>
                <a:gd name="connsiteX98" fmla="*/ 146884 w 521003"/>
                <a:gd name="connsiteY98" fmla="*/ 67045 h 327546"/>
                <a:gd name="connsiteX99" fmla="*/ 149955 w 521003"/>
                <a:gd name="connsiteY99" fmla="*/ 68580 h 327546"/>
                <a:gd name="connsiteX100" fmla="*/ 156096 w 521003"/>
                <a:gd name="connsiteY100" fmla="*/ 70627 h 327546"/>
                <a:gd name="connsiteX101" fmla="*/ 154049 w 521003"/>
                <a:gd name="connsiteY101" fmla="*/ 89051 h 327546"/>
                <a:gd name="connsiteX102" fmla="*/ 154049 w 521003"/>
                <a:gd name="connsiteY102" fmla="*/ 93146 h 327546"/>
                <a:gd name="connsiteX103" fmla="*/ 154561 w 521003"/>
                <a:gd name="connsiteY103" fmla="*/ 97240 h 327546"/>
                <a:gd name="connsiteX104" fmla="*/ 154561 w 521003"/>
                <a:gd name="connsiteY104" fmla="*/ 99799 h 327546"/>
                <a:gd name="connsiteX105" fmla="*/ 155073 w 521003"/>
                <a:gd name="connsiteY105" fmla="*/ 102358 h 327546"/>
                <a:gd name="connsiteX106" fmla="*/ 156096 w 521003"/>
                <a:gd name="connsiteY106" fmla="*/ 106452 h 327546"/>
                <a:gd name="connsiteX107" fmla="*/ 157120 w 521003"/>
                <a:gd name="connsiteY107" fmla="*/ 110035 h 327546"/>
                <a:gd name="connsiteX108" fmla="*/ 158143 w 521003"/>
                <a:gd name="connsiteY108" fmla="*/ 113106 h 327546"/>
                <a:gd name="connsiteX109" fmla="*/ 159167 w 521003"/>
                <a:gd name="connsiteY109" fmla="*/ 115665 h 327546"/>
                <a:gd name="connsiteX110" fmla="*/ 160702 w 521003"/>
                <a:gd name="connsiteY110" fmla="*/ 119247 h 327546"/>
                <a:gd name="connsiteX111" fmla="*/ 111570 w 521003"/>
                <a:gd name="connsiteY111" fmla="*/ 145348 h 327546"/>
                <a:gd name="connsiteX112" fmla="*/ 111059 w 521003"/>
                <a:gd name="connsiteY112" fmla="*/ 145348 h 327546"/>
                <a:gd name="connsiteX113" fmla="*/ 107988 w 521003"/>
                <a:gd name="connsiteY113" fmla="*/ 145348 h 327546"/>
                <a:gd name="connsiteX114" fmla="*/ 107988 w 521003"/>
                <a:gd name="connsiteY114" fmla="*/ 145348 h 327546"/>
                <a:gd name="connsiteX115" fmla="*/ 103894 w 521003"/>
                <a:gd name="connsiteY115" fmla="*/ 145348 h 327546"/>
                <a:gd name="connsiteX116" fmla="*/ 103894 w 521003"/>
                <a:gd name="connsiteY116" fmla="*/ 145348 h 327546"/>
                <a:gd name="connsiteX117" fmla="*/ 54250 w 521003"/>
                <a:gd name="connsiteY117" fmla="*/ 119759 h 327546"/>
                <a:gd name="connsiteX118" fmla="*/ 127436 w 521003"/>
                <a:gd name="connsiteY118" fmla="*/ 215464 h 327546"/>
                <a:gd name="connsiteX119" fmla="*/ 106964 w 521003"/>
                <a:gd name="connsiteY119" fmla="*/ 228259 h 327546"/>
                <a:gd name="connsiteX120" fmla="*/ 86493 w 521003"/>
                <a:gd name="connsiteY120" fmla="*/ 215464 h 327546"/>
                <a:gd name="connsiteX121" fmla="*/ 92122 w 521003"/>
                <a:gd name="connsiteY121" fmla="*/ 161726 h 327546"/>
                <a:gd name="connsiteX122" fmla="*/ 81375 w 521003"/>
                <a:gd name="connsiteY122" fmla="*/ 150978 h 327546"/>
                <a:gd name="connsiteX123" fmla="*/ 91611 w 521003"/>
                <a:gd name="connsiteY123" fmla="*/ 154049 h 327546"/>
                <a:gd name="connsiteX124" fmla="*/ 93146 w 521003"/>
                <a:gd name="connsiteY124" fmla="*/ 154561 h 327546"/>
                <a:gd name="connsiteX125" fmla="*/ 100311 w 521003"/>
                <a:gd name="connsiteY125" fmla="*/ 155584 h 327546"/>
                <a:gd name="connsiteX126" fmla="*/ 103382 w 521003"/>
                <a:gd name="connsiteY126" fmla="*/ 155584 h 327546"/>
                <a:gd name="connsiteX127" fmla="*/ 103894 w 521003"/>
                <a:gd name="connsiteY127" fmla="*/ 155584 h 327546"/>
                <a:gd name="connsiteX128" fmla="*/ 107476 w 521003"/>
                <a:gd name="connsiteY128" fmla="*/ 155584 h 327546"/>
                <a:gd name="connsiteX129" fmla="*/ 110547 w 521003"/>
                <a:gd name="connsiteY129" fmla="*/ 155584 h 327546"/>
                <a:gd name="connsiteX130" fmla="*/ 114641 w 521003"/>
                <a:gd name="connsiteY130" fmla="*/ 155584 h 327546"/>
                <a:gd name="connsiteX131" fmla="*/ 121806 w 521003"/>
                <a:gd name="connsiteY131" fmla="*/ 154561 h 327546"/>
                <a:gd name="connsiteX132" fmla="*/ 123342 w 521003"/>
                <a:gd name="connsiteY132" fmla="*/ 154049 h 327546"/>
                <a:gd name="connsiteX133" fmla="*/ 123342 w 521003"/>
                <a:gd name="connsiteY133" fmla="*/ 154049 h 327546"/>
                <a:gd name="connsiteX134" fmla="*/ 133577 w 521003"/>
                <a:gd name="connsiteY134" fmla="*/ 150978 h 327546"/>
                <a:gd name="connsiteX135" fmla="*/ 122318 w 521003"/>
                <a:gd name="connsiteY135" fmla="*/ 161726 h 327546"/>
                <a:gd name="connsiteX136" fmla="*/ 127436 w 521003"/>
                <a:gd name="connsiteY136" fmla="*/ 215464 h 327546"/>
                <a:gd name="connsiteX137" fmla="*/ 203693 w 521003"/>
                <a:gd name="connsiteY137" fmla="*/ 173497 h 327546"/>
                <a:gd name="connsiteX138" fmla="*/ 204205 w 521003"/>
                <a:gd name="connsiteY138" fmla="*/ 172473 h 327546"/>
                <a:gd name="connsiteX139" fmla="*/ 204716 w 521003"/>
                <a:gd name="connsiteY139" fmla="*/ 171450 h 327546"/>
                <a:gd name="connsiteX140" fmla="*/ 205740 w 521003"/>
                <a:gd name="connsiteY140" fmla="*/ 168891 h 327546"/>
                <a:gd name="connsiteX141" fmla="*/ 205740 w 521003"/>
                <a:gd name="connsiteY141" fmla="*/ 168379 h 327546"/>
                <a:gd name="connsiteX142" fmla="*/ 206252 w 521003"/>
                <a:gd name="connsiteY142" fmla="*/ 166332 h 327546"/>
                <a:gd name="connsiteX143" fmla="*/ 208299 w 521003"/>
                <a:gd name="connsiteY143" fmla="*/ 159167 h 327546"/>
                <a:gd name="connsiteX144" fmla="*/ 208811 w 521003"/>
                <a:gd name="connsiteY144" fmla="*/ 156608 h 327546"/>
                <a:gd name="connsiteX145" fmla="*/ 210346 w 521003"/>
                <a:gd name="connsiteY145" fmla="*/ 147907 h 327546"/>
                <a:gd name="connsiteX146" fmla="*/ 210858 w 521003"/>
                <a:gd name="connsiteY146" fmla="*/ 143302 h 327546"/>
                <a:gd name="connsiteX147" fmla="*/ 210858 w 521003"/>
                <a:gd name="connsiteY147" fmla="*/ 138184 h 327546"/>
                <a:gd name="connsiteX148" fmla="*/ 208811 w 521003"/>
                <a:gd name="connsiteY148" fmla="*/ 119759 h 327546"/>
                <a:gd name="connsiteX149" fmla="*/ 221094 w 521003"/>
                <a:gd name="connsiteY149" fmla="*/ 120783 h 327546"/>
                <a:gd name="connsiteX150" fmla="*/ 227747 w 521003"/>
                <a:gd name="connsiteY150" fmla="*/ 120783 h 327546"/>
                <a:gd name="connsiteX151" fmla="*/ 230306 w 521003"/>
                <a:gd name="connsiteY151" fmla="*/ 120783 h 327546"/>
                <a:gd name="connsiteX152" fmla="*/ 234912 w 521003"/>
                <a:gd name="connsiteY152" fmla="*/ 120271 h 327546"/>
                <a:gd name="connsiteX153" fmla="*/ 237983 w 521003"/>
                <a:gd name="connsiteY153" fmla="*/ 119759 h 327546"/>
                <a:gd name="connsiteX154" fmla="*/ 243613 w 521003"/>
                <a:gd name="connsiteY154" fmla="*/ 118735 h 327546"/>
                <a:gd name="connsiteX155" fmla="*/ 245660 w 521003"/>
                <a:gd name="connsiteY155" fmla="*/ 118224 h 327546"/>
                <a:gd name="connsiteX156" fmla="*/ 247707 w 521003"/>
                <a:gd name="connsiteY156" fmla="*/ 117712 h 327546"/>
                <a:gd name="connsiteX157" fmla="*/ 251801 w 521003"/>
                <a:gd name="connsiteY157" fmla="*/ 116176 h 327546"/>
                <a:gd name="connsiteX158" fmla="*/ 255896 w 521003"/>
                <a:gd name="connsiteY158" fmla="*/ 114641 h 327546"/>
                <a:gd name="connsiteX159" fmla="*/ 259990 w 521003"/>
                <a:gd name="connsiteY159" fmla="*/ 112594 h 327546"/>
                <a:gd name="connsiteX160" fmla="*/ 265108 w 521003"/>
                <a:gd name="connsiteY160" fmla="*/ 110035 h 327546"/>
                <a:gd name="connsiteX161" fmla="*/ 266131 w 521003"/>
                <a:gd name="connsiteY161" fmla="*/ 109523 h 327546"/>
                <a:gd name="connsiteX162" fmla="*/ 267155 w 521003"/>
                <a:gd name="connsiteY162" fmla="*/ 109011 h 327546"/>
                <a:gd name="connsiteX163" fmla="*/ 270737 w 521003"/>
                <a:gd name="connsiteY163" fmla="*/ 106452 h 327546"/>
                <a:gd name="connsiteX164" fmla="*/ 274320 w 521003"/>
                <a:gd name="connsiteY164" fmla="*/ 103894 h 327546"/>
                <a:gd name="connsiteX165" fmla="*/ 277902 w 521003"/>
                <a:gd name="connsiteY165" fmla="*/ 101335 h 327546"/>
                <a:gd name="connsiteX166" fmla="*/ 281485 w 521003"/>
                <a:gd name="connsiteY166" fmla="*/ 97752 h 327546"/>
                <a:gd name="connsiteX167" fmla="*/ 284044 w 521003"/>
                <a:gd name="connsiteY167" fmla="*/ 95193 h 327546"/>
                <a:gd name="connsiteX168" fmla="*/ 284044 w 521003"/>
                <a:gd name="connsiteY168" fmla="*/ 95193 h 327546"/>
                <a:gd name="connsiteX169" fmla="*/ 287626 w 521003"/>
                <a:gd name="connsiteY169" fmla="*/ 98264 h 327546"/>
                <a:gd name="connsiteX170" fmla="*/ 288650 w 521003"/>
                <a:gd name="connsiteY170" fmla="*/ 99287 h 327546"/>
                <a:gd name="connsiteX171" fmla="*/ 291721 w 521003"/>
                <a:gd name="connsiteY171" fmla="*/ 101846 h 327546"/>
                <a:gd name="connsiteX172" fmla="*/ 292744 w 521003"/>
                <a:gd name="connsiteY172" fmla="*/ 102870 h 327546"/>
                <a:gd name="connsiteX173" fmla="*/ 294280 w 521003"/>
                <a:gd name="connsiteY173" fmla="*/ 103894 h 327546"/>
                <a:gd name="connsiteX174" fmla="*/ 302980 w 521003"/>
                <a:gd name="connsiteY174" fmla="*/ 109523 h 327546"/>
                <a:gd name="connsiteX175" fmla="*/ 306563 w 521003"/>
                <a:gd name="connsiteY175" fmla="*/ 111570 h 327546"/>
                <a:gd name="connsiteX176" fmla="*/ 310145 w 521003"/>
                <a:gd name="connsiteY176" fmla="*/ 113617 h 327546"/>
                <a:gd name="connsiteX177" fmla="*/ 321917 w 521003"/>
                <a:gd name="connsiteY177" fmla="*/ 118224 h 327546"/>
                <a:gd name="connsiteX178" fmla="*/ 319358 w 521003"/>
                <a:gd name="connsiteY178" fmla="*/ 139719 h 327546"/>
                <a:gd name="connsiteX179" fmla="*/ 319869 w 521003"/>
                <a:gd name="connsiteY179" fmla="*/ 148931 h 327546"/>
                <a:gd name="connsiteX180" fmla="*/ 319869 w 521003"/>
                <a:gd name="connsiteY180" fmla="*/ 150978 h 327546"/>
                <a:gd name="connsiteX181" fmla="*/ 320381 w 521003"/>
                <a:gd name="connsiteY181" fmla="*/ 153025 h 327546"/>
                <a:gd name="connsiteX182" fmla="*/ 320893 w 521003"/>
                <a:gd name="connsiteY182" fmla="*/ 155584 h 327546"/>
                <a:gd name="connsiteX183" fmla="*/ 321405 w 521003"/>
                <a:gd name="connsiteY183" fmla="*/ 158143 h 327546"/>
                <a:gd name="connsiteX184" fmla="*/ 322428 w 521003"/>
                <a:gd name="connsiteY184" fmla="*/ 161726 h 327546"/>
                <a:gd name="connsiteX185" fmla="*/ 323452 w 521003"/>
                <a:gd name="connsiteY185" fmla="*/ 165308 h 327546"/>
                <a:gd name="connsiteX186" fmla="*/ 326011 w 521003"/>
                <a:gd name="connsiteY186" fmla="*/ 172985 h 327546"/>
                <a:gd name="connsiteX187" fmla="*/ 326523 w 521003"/>
                <a:gd name="connsiteY187" fmla="*/ 174009 h 327546"/>
                <a:gd name="connsiteX188" fmla="*/ 268178 w 521003"/>
                <a:gd name="connsiteY188" fmla="*/ 204716 h 327546"/>
                <a:gd name="connsiteX189" fmla="*/ 265108 w 521003"/>
                <a:gd name="connsiteY189" fmla="*/ 204716 h 327546"/>
                <a:gd name="connsiteX190" fmla="*/ 261525 w 521003"/>
                <a:gd name="connsiteY190" fmla="*/ 204716 h 327546"/>
                <a:gd name="connsiteX191" fmla="*/ 203693 w 521003"/>
                <a:gd name="connsiteY191" fmla="*/ 173497 h 327546"/>
                <a:gd name="connsiteX192" fmla="*/ 287115 w 521003"/>
                <a:gd name="connsiteY192" fmla="*/ 282508 h 327546"/>
                <a:gd name="connsiteX193" fmla="*/ 264596 w 521003"/>
                <a:gd name="connsiteY193" fmla="*/ 296327 h 327546"/>
                <a:gd name="connsiteX194" fmla="*/ 242077 w 521003"/>
                <a:gd name="connsiteY194" fmla="*/ 282508 h 327546"/>
                <a:gd name="connsiteX195" fmla="*/ 248730 w 521003"/>
                <a:gd name="connsiteY195" fmla="*/ 221605 h 327546"/>
                <a:gd name="connsiteX196" fmla="*/ 235936 w 521003"/>
                <a:gd name="connsiteY196" fmla="*/ 208811 h 327546"/>
                <a:gd name="connsiteX197" fmla="*/ 246172 w 521003"/>
                <a:gd name="connsiteY197" fmla="*/ 211881 h 327546"/>
                <a:gd name="connsiteX198" fmla="*/ 249754 w 521003"/>
                <a:gd name="connsiteY198" fmla="*/ 212905 h 327546"/>
                <a:gd name="connsiteX199" fmla="*/ 254872 w 521003"/>
                <a:gd name="connsiteY199" fmla="*/ 213929 h 327546"/>
                <a:gd name="connsiteX200" fmla="*/ 261013 w 521003"/>
                <a:gd name="connsiteY200" fmla="*/ 214440 h 327546"/>
                <a:gd name="connsiteX201" fmla="*/ 265108 w 521003"/>
                <a:gd name="connsiteY201" fmla="*/ 214440 h 327546"/>
                <a:gd name="connsiteX202" fmla="*/ 268178 w 521003"/>
                <a:gd name="connsiteY202" fmla="*/ 214440 h 327546"/>
                <a:gd name="connsiteX203" fmla="*/ 275344 w 521003"/>
                <a:gd name="connsiteY203" fmla="*/ 213929 h 327546"/>
                <a:gd name="connsiteX204" fmla="*/ 280461 w 521003"/>
                <a:gd name="connsiteY204" fmla="*/ 213417 h 327546"/>
                <a:gd name="connsiteX205" fmla="*/ 284044 w 521003"/>
                <a:gd name="connsiteY205" fmla="*/ 212393 h 327546"/>
                <a:gd name="connsiteX206" fmla="*/ 294280 w 521003"/>
                <a:gd name="connsiteY206" fmla="*/ 209322 h 327546"/>
                <a:gd name="connsiteX207" fmla="*/ 281485 w 521003"/>
                <a:gd name="connsiteY207" fmla="*/ 222117 h 327546"/>
                <a:gd name="connsiteX208" fmla="*/ 287115 w 521003"/>
                <a:gd name="connsiteY208" fmla="*/ 282508 h 327546"/>
                <a:gd name="connsiteX209" fmla="*/ 318846 w 521003"/>
                <a:gd name="connsiteY209" fmla="*/ 216488 h 327546"/>
                <a:gd name="connsiteX210" fmla="*/ 296327 w 521003"/>
                <a:gd name="connsiteY210" fmla="*/ 207787 h 327546"/>
                <a:gd name="connsiteX211" fmla="*/ 331129 w 521003"/>
                <a:gd name="connsiteY211" fmla="*/ 183221 h 327546"/>
                <a:gd name="connsiteX212" fmla="*/ 336247 w 521003"/>
                <a:gd name="connsiteY212" fmla="*/ 176568 h 327546"/>
                <a:gd name="connsiteX213" fmla="*/ 337782 w 521003"/>
                <a:gd name="connsiteY213" fmla="*/ 174009 h 327546"/>
                <a:gd name="connsiteX214" fmla="*/ 348018 w 521003"/>
                <a:gd name="connsiteY214" fmla="*/ 152514 h 327546"/>
                <a:gd name="connsiteX215" fmla="*/ 371560 w 521003"/>
                <a:gd name="connsiteY215" fmla="*/ 152514 h 327546"/>
                <a:gd name="connsiteX216" fmla="*/ 318846 w 521003"/>
                <a:gd name="connsiteY216" fmla="*/ 216488 h 327546"/>
                <a:gd name="connsiteX217" fmla="*/ 445258 w 521003"/>
                <a:gd name="connsiteY217" fmla="*/ 152514 h 327546"/>
                <a:gd name="connsiteX218" fmla="*/ 418133 w 521003"/>
                <a:gd name="connsiteY218" fmla="*/ 175032 h 327546"/>
                <a:gd name="connsiteX219" fmla="*/ 391008 w 521003"/>
                <a:gd name="connsiteY219" fmla="*/ 152514 h 327546"/>
                <a:gd name="connsiteX220" fmla="*/ 390496 w 521003"/>
                <a:gd name="connsiteY220" fmla="*/ 150466 h 327546"/>
                <a:gd name="connsiteX221" fmla="*/ 396126 w 521003"/>
                <a:gd name="connsiteY221" fmla="*/ 148931 h 327546"/>
                <a:gd name="connsiteX222" fmla="*/ 396126 w 521003"/>
                <a:gd name="connsiteY222" fmla="*/ 148931 h 327546"/>
                <a:gd name="connsiteX223" fmla="*/ 415063 w 521003"/>
                <a:gd name="connsiteY223" fmla="*/ 146884 h 327546"/>
                <a:gd name="connsiteX224" fmla="*/ 420692 w 521003"/>
                <a:gd name="connsiteY224" fmla="*/ 146884 h 327546"/>
                <a:gd name="connsiteX225" fmla="*/ 439628 w 521003"/>
                <a:gd name="connsiteY225" fmla="*/ 148931 h 327546"/>
                <a:gd name="connsiteX226" fmla="*/ 445770 w 521003"/>
                <a:gd name="connsiteY226" fmla="*/ 150466 h 327546"/>
                <a:gd name="connsiteX227" fmla="*/ 445258 w 521003"/>
                <a:gd name="connsiteY227" fmla="*/ 152514 h 327546"/>
                <a:gd name="connsiteX228" fmla="*/ 418133 w 521003"/>
                <a:gd name="connsiteY228" fmla="*/ 142278 h 327546"/>
                <a:gd name="connsiteX229" fmla="*/ 418133 w 521003"/>
                <a:gd name="connsiteY229" fmla="*/ 142278 h 327546"/>
                <a:gd name="connsiteX230" fmla="*/ 367466 w 521003"/>
                <a:gd name="connsiteY230" fmla="*/ 117712 h 327546"/>
                <a:gd name="connsiteX231" fmla="*/ 370537 w 521003"/>
                <a:gd name="connsiteY231" fmla="*/ 110035 h 327546"/>
                <a:gd name="connsiteX232" fmla="*/ 371048 w 521003"/>
                <a:gd name="connsiteY232" fmla="*/ 107988 h 327546"/>
                <a:gd name="connsiteX233" fmla="*/ 371560 w 521003"/>
                <a:gd name="connsiteY233" fmla="*/ 105429 h 327546"/>
                <a:gd name="connsiteX234" fmla="*/ 371560 w 521003"/>
                <a:gd name="connsiteY234" fmla="*/ 104917 h 327546"/>
                <a:gd name="connsiteX235" fmla="*/ 372072 w 521003"/>
                <a:gd name="connsiteY235" fmla="*/ 101335 h 327546"/>
                <a:gd name="connsiteX236" fmla="*/ 372072 w 521003"/>
                <a:gd name="connsiteY236" fmla="*/ 100823 h 327546"/>
                <a:gd name="connsiteX237" fmla="*/ 372584 w 521003"/>
                <a:gd name="connsiteY237" fmla="*/ 98264 h 327546"/>
                <a:gd name="connsiteX238" fmla="*/ 373096 w 521003"/>
                <a:gd name="connsiteY238" fmla="*/ 95705 h 327546"/>
                <a:gd name="connsiteX239" fmla="*/ 373607 w 521003"/>
                <a:gd name="connsiteY239" fmla="*/ 91610 h 327546"/>
                <a:gd name="connsiteX240" fmla="*/ 373607 w 521003"/>
                <a:gd name="connsiteY240" fmla="*/ 87516 h 327546"/>
                <a:gd name="connsiteX241" fmla="*/ 373607 w 521003"/>
                <a:gd name="connsiteY241" fmla="*/ 82910 h 327546"/>
                <a:gd name="connsiteX242" fmla="*/ 373096 w 521003"/>
                <a:gd name="connsiteY242" fmla="*/ 77792 h 327546"/>
                <a:gd name="connsiteX243" fmla="*/ 372072 w 521003"/>
                <a:gd name="connsiteY243" fmla="*/ 72674 h 327546"/>
                <a:gd name="connsiteX244" fmla="*/ 391008 w 521003"/>
                <a:gd name="connsiteY244" fmla="*/ 72674 h 327546"/>
                <a:gd name="connsiteX245" fmla="*/ 393567 w 521003"/>
                <a:gd name="connsiteY245" fmla="*/ 72162 h 327546"/>
                <a:gd name="connsiteX246" fmla="*/ 396126 w 521003"/>
                <a:gd name="connsiteY246" fmla="*/ 71651 h 327546"/>
                <a:gd name="connsiteX247" fmla="*/ 398685 w 521003"/>
                <a:gd name="connsiteY247" fmla="*/ 71139 h 327546"/>
                <a:gd name="connsiteX248" fmla="*/ 399709 w 521003"/>
                <a:gd name="connsiteY248" fmla="*/ 70627 h 327546"/>
                <a:gd name="connsiteX249" fmla="*/ 405850 w 521003"/>
                <a:gd name="connsiteY249" fmla="*/ 69092 h 327546"/>
                <a:gd name="connsiteX250" fmla="*/ 413527 w 521003"/>
                <a:gd name="connsiteY250" fmla="*/ 66021 h 327546"/>
                <a:gd name="connsiteX251" fmla="*/ 418133 w 521003"/>
                <a:gd name="connsiteY251" fmla="*/ 63462 h 327546"/>
                <a:gd name="connsiteX252" fmla="*/ 419669 w 521003"/>
                <a:gd name="connsiteY252" fmla="*/ 62438 h 327546"/>
                <a:gd name="connsiteX253" fmla="*/ 419669 w 521003"/>
                <a:gd name="connsiteY253" fmla="*/ 62438 h 327546"/>
                <a:gd name="connsiteX254" fmla="*/ 425810 w 521003"/>
                <a:gd name="connsiteY254" fmla="*/ 58344 h 327546"/>
                <a:gd name="connsiteX255" fmla="*/ 433999 w 521003"/>
                <a:gd name="connsiteY255" fmla="*/ 51179 h 327546"/>
                <a:gd name="connsiteX256" fmla="*/ 433999 w 521003"/>
                <a:gd name="connsiteY256" fmla="*/ 51179 h 327546"/>
                <a:gd name="connsiteX257" fmla="*/ 435022 w 521003"/>
                <a:gd name="connsiteY257" fmla="*/ 51691 h 327546"/>
                <a:gd name="connsiteX258" fmla="*/ 436046 w 521003"/>
                <a:gd name="connsiteY258" fmla="*/ 52714 h 327546"/>
                <a:gd name="connsiteX259" fmla="*/ 437581 w 521003"/>
                <a:gd name="connsiteY259" fmla="*/ 54250 h 327546"/>
                <a:gd name="connsiteX260" fmla="*/ 441164 w 521003"/>
                <a:gd name="connsiteY260" fmla="*/ 57320 h 327546"/>
                <a:gd name="connsiteX261" fmla="*/ 444235 w 521003"/>
                <a:gd name="connsiteY261" fmla="*/ 59879 h 327546"/>
                <a:gd name="connsiteX262" fmla="*/ 446793 w 521003"/>
                <a:gd name="connsiteY262" fmla="*/ 61927 h 327546"/>
                <a:gd name="connsiteX263" fmla="*/ 449352 w 521003"/>
                <a:gd name="connsiteY263" fmla="*/ 63462 h 327546"/>
                <a:gd name="connsiteX264" fmla="*/ 451911 w 521003"/>
                <a:gd name="connsiteY264" fmla="*/ 64997 h 327546"/>
                <a:gd name="connsiteX265" fmla="*/ 453447 w 521003"/>
                <a:gd name="connsiteY265" fmla="*/ 65509 h 327546"/>
                <a:gd name="connsiteX266" fmla="*/ 456006 w 521003"/>
                <a:gd name="connsiteY266" fmla="*/ 67045 h 327546"/>
                <a:gd name="connsiteX267" fmla="*/ 458053 w 521003"/>
                <a:gd name="connsiteY267" fmla="*/ 68068 h 327546"/>
                <a:gd name="connsiteX268" fmla="*/ 460612 w 521003"/>
                <a:gd name="connsiteY268" fmla="*/ 69092 h 327546"/>
                <a:gd name="connsiteX269" fmla="*/ 464706 w 521003"/>
                <a:gd name="connsiteY269" fmla="*/ 70627 h 327546"/>
                <a:gd name="connsiteX270" fmla="*/ 464194 w 521003"/>
                <a:gd name="connsiteY270" fmla="*/ 73186 h 327546"/>
                <a:gd name="connsiteX271" fmla="*/ 463171 w 521003"/>
                <a:gd name="connsiteY271" fmla="*/ 78304 h 327546"/>
                <a:gd name="connsiteX272" fmla="*/ 462659 w 521003"/>
                <a:gd name="connsiteY272" fmla="*/ 83422 h 327546"/>
                <a:gd name="connsiteX273" fmla="*/ 462659 w 521003"/>
                <a:gd name="connsiteY273" fmla="*/ 88028 h 327546"/>
                <a:gd name="connsiteX274" fmla="*/ 462659 w 521003"/>
                <a:gd name="connsiteY274" fmla="*/ 91610 h 327546"/>
                <a:gd name="connsiteX275" fmla="*/ 462659 w 521003"/>
                <a:gd name="connsiteY275" fmla="*/ 93658 h 327546"/>
                <a:gd name="connsiteX276" fmla="*/ 462659 w 521003"/>
                <a:gd name="connsiteY276" fmla="*/ 96217 h 327546"/>
                <a:gd name="connsiteX277" fmla="*/ 463171 w 521003"/>
                <a:gd name="connsiteY277" fmla="*/ 100311 h 327546"/>
                <a:gd name="connsiteX278" fmla="*/ 464194 w 521003"/>
                <a:gd name="connsiteY278" fmla="*/ 104405 h 327546"/>
                <a:gd name="connsiteX279" fmla="*/ 465218 w 521003"/>
                <a:gd name="connsiteY279" fmla="*/ 108499 h 327546"/>
                <a:gd name="connsiteX280" fmla="*/ 466242 w 521003"/>
                <a:gd name="connsiteY280" fmla="*/ 112594 h 327546"/>
                <a:gd name="connsiteX281" fmla="*/ 467265 w 521003"/>
                <a:gd name="connsiteY281" fmla="*/ 115665 h 327546"/>
                <a:gd name="connsiteX282" fmla="*/ 467777 w 521003"/>
                <a:gd name="connsiteY282" fmla="*/ 117712 h 327546"/>
                <a:gd name="connsiteX283" fmla="*/ 418133 w 521003"/>
                <a:gd name="connsiteY283" fmla="*/ 142278 h 3275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Lst>
              <a:rect l="l" t="t" r="r" b="b"/>
              <a:pathLst>
                <a:path w="521003" h="327546">
                  <a:moveTo>
                    <a:pt x="521003" y="242077"/>
                  </a:moveTo>
                  <a:cubicBezTo>
                    <a:pt x="521003" y="203693"/>
                    <a:pt x="498996" y="168891"/>
                    <a:pt x="465218" y="152514"/>
                  </a:cubicBezTo>
                  <a:lnTo>
                    <a:pt x="492343" y="152514"/>
                  </a:lnTo>
                  <a:lnTo>
                    <a:pt x="492343" y="78304"/>
                  </a:lnTo>
                  <a:cubicBezTo>
                    <a:pt x="492343" y="76769"/>
                    <a:pt x="492343" y="74721"/>
                    <a:pt x="492343" y="73186"/>
                  </a:cubicBezTo>
                  <a:cubicBezTo>
                    <a:pt x="492343" y="71651"/>
                    <a:pt x="491831" y="69603"/>
                    <a:pt x="491831" y="68068"/>
                  </a:cubicBezTo>
                  <a:cubicBezTo>
                    <a:pt x="490808" y="60391"/>
                    <a:pt x="488760" y="53226"/>
                    <a:pt x="485178" y="46573"/>
                  </a:cubicBezTo>
                  <a:cubicBezTo>
                    <a:pt x="478525" y="32754"/>
                    <a:pt x="467777" y="21495"/>
                    <a:pt x="454470" y="13818"/>
                  </a:cubicBezTo>
                  <a:cubicBezTo>
                    <a:pt x="453959" y="13306"/>
                    <a:pt x="453447" y="13306"/>
                    <a:pt x="452935" y="12795"/>
                  </a:cubicBezTo>
                  <a:lnTo>
                    <a:pt x="450888" y="11771"/>
                  </a:lnTo>
                  <a:cubicBezTo>
                    <a:pt x="448841" y="10747"/>
                    <a:pt x="446793" y="10236"/>
                    <a:pt x="445258" y="9212"/>
                  </a:cubicBezTo>
                  <a:cubicBezTo>
                    <a:pt x="436558" y="5630"/>
                    <a:pt x="427345" y="4094"/>
                    <a:pt x="418133" y="4094"/>
                  </a:cubicBezTo>
                  <a:cubicBezTo>
                    <a:pt x="389473" y="4094"/>
                    <a:pt x="363883" y="19960"/>
                    <a:pt x="351600" y="45549"/>
                  </a:cubicBezTo>
                  <a:cubicBezTo>
                    <a:pt x="349041" y="50155"/>
                    <a:pt x="347506" y="55273"/>
                    <a:pt x="346482" y="59879"/>
                  </a:cubicBezTo>
                  <a:cubicBezTo>
                    <a:pt x="345459" y="63974"/>
                    <a:pt x="344947" y="68580"/>
                    <a:pt x="344435" y="72674"/>
                  </a:cubicBezTo>
                  <a:cubicBezTo>
                    <a:pt x="344435" y="74210"/>
                    <a:pt x="344435" y="76257"/>
                    <a:pt x="344435" y="77792"/>
                  </a:cubicBezTo>
                  <a:lnTo>
                    <a:pt x="344435" y="91099"/>
                  </a:lnTo>
                  <a:cubicBezTo>
                    <a:pt x="343923" y="90587"/>
                    <a:pt x="343923" y="89563"/>
                    <a:pt x="343412" y="89051"/>
                  </a:cubicBezTo>
                  <a:cubicBezTo>
                    <a:pt x="335735" y="72674"/>
                    <a:pt x="322940" y="59368"/>
                    <a:pt x="307075" y="50667"/>
                  </a:cubicBezTo>
                  <a:cubicBezTo>
                    <a:pt x="306051" y="50155"/>
                    <a:pt x="304516" y="49132"/>
                    <a:pt x="303492" y="48620"/>
                  </a:cubicBezTo>
                  <a:cubicBezTo>
                    <a:pt x="301445" y="47597"/>
                    <a:pt x="299398" y="47085"/>
                    <a:pt x="297862" y="46061"/>
                  </a:cubicBezTo>
                  <a:cubicBezTo>
                    <a:pt x="287626" y="41967"/>
                    <a:pt x="276367" y="39408"/>
                    <a:pt x="265108" y="39408"/>
                  </a:cubicBezTo>
                  <a:cubicBezTo>
                    <a:pt x="231841" y="39408"/>
                    <a:pt x="201646" y="58344"/>
                    <a:pt x="186804" y="88028"/>
                  </a:cubicBezTo>
                  <a:cubicBezTo>
                    <a:pt x="184245" y="93658"/>
                    <a:pt x="182198" y="99287"/>
                    <a:pt x="180662" y="104917"/>
                  </a:cubicBezTo>
                  <a:cubicBezTo>
                    <a:pt x="179127" y="111570"/>
                    <a:pt x="178103" y="118735"/>
                    <a:pt x="178103" y="125900"/>
                  </a:cubicBezTo>
                  <a:cubicBezTo>
                    <a:pt x="178103" y="142790"/>
                    <a:pt x="183221" y="159167"/>
                    <a:pt x="192433" y="173497"/>
                  </a:cubicBezTo>
                  <a:cubicBezTo>
                    <a:pt x="192945" y="174521"/>
                    <a:pt x="193457" y="175032"/>
                    <a:pt x="193969" y="176056"/>
                  </a:cubicBezTo>
                  <a:cubicBezTo>
                    <a:pt x="195504" y="178103"/>
                    <a:pt x="197551" y="180662"/>
                    <a:pt x="199087" y="182709"/>
                  </a:cubicBezTo>
                  <a:cubicBezTo>
                    <a:pt x="208299" y="193457"/>
                    <a:pt x="220070" y="201645"/>
                    <a:pt x="233377" y="206763"/>
                  </a:cubicBezTo>
                  <a:cubicBezTo>
                    <a:pt x="224676" y="209322"/>
                    <a:pt x="215976" y="212393"/>
                    <a:pt x="208299" y="216488"/>
                  </a:cubicBezTo>
                  <a:cubicBezTo>
                    <a:pt x="197040" y="183733"/>
                    <a:pt x="170426" y="158143"/>
                    <a:pt x="137160" y="148419"/>
                  </a:cubicBezTo>
                  <a:cubicBezTo>
                    <a:pt x="147908" y="143813"/>
                    <a:pt x="157632" y="137160"/>
                    <a:pt x="165308" y="127948"/>
                  </a:cubicBezTo>
                  <a:cubicBezTo>
                    <a:pt x="167356" y="125900"/>
                    <a:pt x="168891" y="123342"/>
                    <a:pt x="170426" y="121294"/>
                  </a:cubicBezTo>
                  <a:cubicBezTo>
                    <a:pt x="170938" y="120271"/>
                    <a:pt x="171450" y="119759"/>
                    <a:pt x="171962" y="118735"/>
                  </a:cubicBezTo>
                  <a:cubicBezTo>
                    <a:pt x="179639" y="106452"/>
                    <a:pt x="184245" y="92122"/>
                    <a:pt x="184245" y="77280"/>
                  </a:cubicBezTo>
                  <a:cubicBezTo>
                    <a:pt x="184245" y="73698"/>
                    <a:pt x="184245" y="70115"/>
                    <a:pt x="183221" y="66533"/>
                  </a:cubicBezTo>
                  <a:cubicBezTo>
                    <a:pt x="182198" y="58856"/>
                    <a:pt x="180150" y="51179"/>
                    <a:pt x="176568" y="44014"/>
                  </a:cubicBezTo>
                  <a:cubicBezTo>
                    <a:pt x="169915" y="29684"/>
                    <a:pt x="158655" y="17913"/>
                    <a:pt x="144837" y="10236"/>
                  </a:cubicBezTo>
                  <a:cubicBezTo>
                    <a:pt x="143813" y="9724"/>
                    <a:pt x="142278" y="8700"/>
                    <a:pt x="141254" y="8189"/>
                  </a:cubicBezTo>
                  <a:cubicBezTo>
                    <a:pt x="139207" y="7165"/>
                    <a:pt x="137672" y="6141"/>
                    <a:pt x="135625" y="5630"/>
                  </a:cubicBezTo>
                  <a:cubicBezTo>
                    <a:pt x="126412" y="2047"/>
                    <a:pt x="117200" y="0"/>
                    <a:pt x="107476" y="0"/>
                  </a:cubicBezTo>
                  <a:cubicBezTo>
                    <a:pt x="77792" y="0"/>
                    <a:pt x="51691" y="16377"/>
                    <a:pt x="38384" y="42990"/>
                  </a:cubicBezTo>
                  <a:cubicBezTo>
                    <a:pt x="35825" y="47597"/>
                    <a:pt x="34290" y="52714"/>
                    <a:pt x="32755" y="57832"/>
                  </a:cubicBezTo>
                  <a:cubicBezTo>
                    <a:pt x="31219" y="63974"/>
                    <a:pt x="30196" y="70115"/>
                    <a:pt x="30196" y="76257"/>
                  </a:cubicBezTo>
                  <a:cubicBezTo>
                    <a:pt x="30196" y="91099"/>
                    <a:pt x="34290" y="105941"/>
                    <a:pt x="42479" y="118224"/>
                  </a:cubicBezTo>
                  <a:cubicBezTo>
                    <a:pt x="42990" y="119247"/>
                    <a:pt x="43502" y="119759"/>
                    <a:pt x="44014" y="120783"/>
                  </a:cubicBezTo>
                  <a:cubicBezTo>
                    <a:pt x="45549" y="122830"/>
                    <a:pt x="47597" y="125389"/>
                    <a:pt x="49132" y="127436"/>
                  </a:cubicBezTo>
                  <a:cubicBezTo>
                    <a:pt x="56809" y="136136"/>
                    <a:pt x="66533" y="142790"/>
                    <a:pt x="76769" y="147396"/>
                  </a:cubicBezTo>
                  <a:cubicBezTo>
                    <a:pt x="32243" y="160191"/>
                    <a:pt x="0" y="201134"/>
                    <a:pt x="0" y="249754"/>
                  </a:cubicBezTo>
                  <a:lnTo>
                    <a:pt x="0" y="254872"/>
                  </a:lnTo>
                  <a:lnTo>
                    <a:pt x="163773" y="254872"/>
                  </a:lnTo>
                  <a:cubicBezTo>
                    <a:pt x="150978" y="274320"/>
                    <a:pt x="143301" y="297350"/>
                    <a:pt x="143301" y="322428"/>
                  </a:cubicBezTo>
                  <a:lnTo>
                    <a:pt x="143301" y="327546"/>
                  </a:lnTo>
                  <a:lnTo>
                    <a:pt x="385379" y="327546"/>
                  </a:lnTo>
                  <a:lnTo>
                    <a:pt x="385379" y="322428"/>
                  </a:lnTo>
                  <a:cubicBezTo>
                    <a:pt x="385379" y="294280"/>
                    <a:pt x="375655" y="268690"/>
                    <a:pt x="359789" y="248219"/>
                  </a:cubicBezTo>
                  <a:lnTo>
                    <a:pt x="521003" y="248219"/>
                  </a:lnTo>
                  <a:lnTo>
                    <a:pt x="521003" y="242077"/>
                  </a:lnTo>
                  <a:close/>
                  <a:moveTo>
                    <a:pt x="54250" y="119759"/>
                  </a:moveTo>
                  <a:cubicBezTo>
                    <a:pt x="54250" y="119759"/>
                    <a:pt x="54250" y="119247"/>
                    <a:pt x="54250" y="119759"/>
                  </a:cubicBezTo>
                  <a:cubicBezTo>
                    <a:pt x="54762" y="118735"/>
                    <a:pt x="54762" y="118224"/>
                    <a:pt x="55273" y="117200"/>
                  </a:cubicBezTo>
                  <a:cubicBezTo>
                    <a:pt x="55785" y="116176"/>
                    <a:pt x="55785" y="115153"/>
                    <a:pt x="56297" y="114641"/>
                  </a:cubicBezTo>
                  <a:cubicBezTo>
                    <a:pt x="56297" y="114641"/>
                    <a:pt x="56297" y="114641"/>
                    <a:pt x="56297" y="114129"/>
                  </a:cubicBezTo>
                  <a:cubicBezTo>
                    <a:pt x="56809" y="112594"/>
                    <a:pt x="57321" y="111570"/>
                    <a:pt x="57832" y="110035"/>
                  </a:cubicBezTo>
                  <a:cubicBezTo>
                    <a:pt x="58344" y="108499"/>
                    <a:pt x="58344" y="107476"/>
                    <a:pt x="58856" y="105941"/>
                  </a:cubicBezTo>
                  <a:cubicBezTo>
                    <a:pt x="58856" y="105941"/>
                    <a:pt x="58856" y="105429"/>
                    <a:pt x="58856" y="105429"/>
                  </a:cubicBezTo>
                  <a:cubicBezTo>
                    <a:pt x="58856" y="104405"/>
                    <a:pt x="59368" y="103894"/>
                    <a:pt x="59368" y="102870"/>
                  </a:cubicBezTo>
                  <a:cubicBezTo>
                    <a:pt x="59368" y="101846"/>
                    <a:pt x="59880" y="101335"/>
                    <a:pt x="59880" y="100311"/>
                  </a:cubicBezTo>
                  <a:cubicBezTo>
                    <a:pt x="59880" y="99287"/>
                    <a:pt x="60391" y="98264"/>
                    <a:pt x="60391" y="97240"/>
                  </a:cubicBezTo>
                  <a:cubicBezTo>
                    <a:pt x="60391" y="96217"/>
                    <a:pt x="60391" y="95193"/>
                    <a:pt x="60903" y="94681"/>
                  </a:cubicBezTo>
                  <a:cubicBezTo>
                    <a:pt x="60903" y="92634"/>
                    <a:pt x="60903" y="90587"/>
                    <a:pt x="60903" y="88540"/>
                  </a:cubicBezTo>
                  <a:cubicBezTo>
                    <a:pt x="60903" y="83422"/>
                    <a:pt x="60391" y="78304"/>
                    <a:pt x="59368" y="73186"/>
                  </a:cubicBezTo>
                  <a:cubicBezTo>
                    <a:pt x="62438" y="73698"/>
                    <a:pt x="66021" y="73698"/>
                    <a:pt x="69092" y="73698"/>
                  </a:cubicBezTo>
                  <a:cubicBezTo>
                    <a:pt x="70627" y="73698"/>
                    <a:pt x="71651" y="73698"/>
                    <a:pt x="73186" y="73698"/>
                  </a:cubicBezTo>
                  <a:cubicBezTo>
                    <a:pt x="75745" y="73698"/>
                    <a:pt x="78304" y="73186"/>
                    <a:pt x="80863" y="73186"/>
                  </a:cubicBezTo>
                  <a:cubicBezTo>
                    <a:pt x="82398" y="73186"/>
                    <a:pt x="83422" y="72674"/>
                    <a:pt x="84446" y="72674"/>
                  </a:cubicBezTo>
                  <a:cubicBezTo>
                    <a:pt x="85981" y="72162"/>
                    <a:pt x="87004" y="72162"/>
                    <a:pt x="88028" y="71651"/>
                  </a:cubicBezTo>
                  <a:cubicBezTo>
                    <a:pt x="90587" y="71139"/>
                    <a:pt x="93146" y="70115"/>
                    <a:pt x="95193" y="69603"/>
                  </a:cubicBezTo>
                  <a:cubicBezTo>
                    <a:pt x="96217" y="69092"/>
                    <a:pt x="97752" y="68580"/>
                    <a:pt x="98776" y="68068"/>
                  </a:cubicBezTo>
                  <a:cubicBezTo>
                    <a:pt x="101335" y="67045"/>
                    <a:pt x="103382" y="66021"/>
                    <a:pt x="105429" y="64997"/>
                  </a:cubicBezTo>
                  <a:cubicBezTo>
                    <a:pt x="105941" y="64997"/>
                    <a:pt x="106452" y="64486"/>
                    <a:pt x="106964" y="63974"/>
                  </a:cubicBezTo>
                  <a:lnTo>
                    <a:pt x="106964" y="63974"/>
                  </a:lnTo>
                  <a:cubicBezTo>
                    <a:pt x="107476" y="63974"/>
                    <a:pt x="107988" y="63462"/>
                    <a:pt x="108500" y="62950"/>
                  </a:cubicBezTo>
                  <a:cubicBezTo>
                    <a:pt x="109523" y="62438"/>
                    <a:pt x="111059" y="61415"/>
                    <a:pt x="112082" y="60903"/>
                  </a:cubicBezTo>
                  <a:cubicBezTo>
                    <a:pt x="113106" y="60391"/>
                    <a:pt x="114129" y="59368"/>
                    <a:pt x="114641" y="58856"/>
                  </a:cubicBezTo>
                  <a:cubicBezTo>
                    <a:pt x="115665" y="57832"/>
                    <a:pt x="117200" y="57320"/>
                    <a:pt x="118224" y="56297"/>
                  </a:cubicBezTo>
                  <a:cubicBezTo>
                    <a:pt x="119247" y="55273"/>
                    <a:pt x="120271" y="54761"/>
                    <a:pt x="121294" y="53738"/>
                  </a:cubicBezTo>
                  <a:lnTo>
                    <a:pt x="121294" y="53738"/>
                  </a:lnTo>
                  <a:cubicBezTo>
                    <a:pt x="122318" y="52714"/>
                    <a:pt x="123342" y="52202"/>
                    <a:pt x="123853" y="51179"/>
                  </a:cubicBezTo>
                  <a:lnTo>
                    <a:pt x="123853" y="51179"/>
                  </a:lnTo>
                  <a:cubicBezTo>
                    <a:pt x="124877" y="52202"/>
                    <a:pt x="125901" y="53226"/>
                    <a:pt x="127436" y="54250"/>
                  </a:cubicBezTo>
                  <a:cubicBezTo>
                    <a:pt x="128460" y="55273"/>
                    <a:pt x="129483" y="56297"/>
                    <a:pt x="131019" y="56809"/>
                  </a:cubicBezTo>
                  <a:cubicBezTo>
                    <a:pt x="131019" y="56809"/>
                    <a:pt x="131019" y="56809"/>
                    <a:pt x="131530" y="57320"/>
                  </a:cubicBezTo>
                  <a:cubicBezTo>
                    <a:pt x="132554" y="58344"/>
                    <a:pt x="134089" y="59368"/>
                    <a:pt x="135113" y="59879"/>
                  </a:cubicBezTo>
                  <a:cubicBezTo>
                    <a:pt x="136136" y="60391"/>
                    <a:pt x="137160" y="61415"/>
                    <a:pt x="138184" y="61927"/>
                  </a:cubicBezTo>
                  <a:cubicBezTo>
                    <a:pt x="138695" y="62438"/>
                    <a:pt x="139207" y="62950"/>
                    <a:pt x="140231" y="62950"/>
                  </a:cubicBezTo>
                  <a:cubicBezTo>
                    <a:pt x="141254" y="63462"/>
                    <a:pt x="141766" y="63974"/>
                    <a:pt x="142790" y="64486"/>
                  </a:cubicBezTo>
                  <a:cubicBezTo>
                    <a:pt x="143301" y="64997"/>
                    <a:pt x="143813" y="64997"/>
                    <a:pt x="144325" y="65509"/>
                  </a:cubicBezTo>
                  <a:cubicBezTo>
                    <a:pt x="145349" y="66021"/>
                    <a:pt x="145860" y="66533"/>
                    <a:pt x="146884" y="67045"/>
                  </a:cubicBezTo>
                  <a:cubicBezTo>
                    <a:pt x="147908" y="67556"/>
                    <a:pt x="148931" y="68068"/>
                    <a:pt x="149955" y="68580"/>
                  </a:cubicBezTo>
                  <a:cubicBezTo>
                    <a:pt x="152002" y="69603"/>
                    <a:pt x="154049" y="70115"/>
                    <a:pt x="156096" y="70627"/>
                  </a:cubicBezTo>
                  <a:cubicBezTo>
                    <a:pt x="154561" y="76769"/>
                    <a:pt x="154049" y="82910"/>
                    <a:pt x="154049" y="89051"/>
                  </a:cubicBezTo>
                  <a:cubicBezTo>
                    <a:pt x="154049" y="90587"/>
                    <a:pt x="154049" y="91610"/>
                    <a:pt x="154049" y="93146"/>
                  </a:cubicBezTo>
                  <a:cubicBezTo>
                    <a:pt x="154049" y="94681"/>
                    <a:pt x="154049" y="95705"/>
                    <a:pt x="154561" y="97240"/>
                  </a:cubicBezTo>
                  <a:cubicBezTo>
                    <a:pt x="154561" y="97752"/>
                    <a:pt x="154561" y="98776"/>
                    <a:pt x="154561" y="99799"/>
                  </a:cubicBezTo>
                  <a:cubicBezTo>
                    <a:pt x="154561" y="100823"/>
                    <a:pt x="155073" y="101335"/>
                    <a:pt x="155073" y="102358"/>
                  </a:cubicBezTo>
                  <a:cubicBezTo>
                    <a:pt x="155073" y="103894"/>
                    <a:pt x="155584" y="104917"/>
                    <a:pt x="156096" y="106452"/>
                  </a:cubicBezTo>
                  <a:cubicBezTo>
                    <a:pt x="156096" y="107476"/>
                    <a:pt x="156608" y="109011"/>
                    <a:pt x="157120" y="110035"/>
                  </a:cubicBezTo>
                  <a:cubicBezTo>
                    <a:pt x="157120" y="111058"/>
                    <a:pt x="157632" y="112082"/>
                    <a:pt x="158143" y="113106"/>
                  </a:cubicBezTo>
                  <a:cubicBezTo>
                    <a:pt x="158655" y="114129"/>
                    <a:pt x="158655" y="115153"/>
                    <a:pt x="159167" y="115665"/>
                  </a:cubicBezTo>
                  <a:cubicBezTo>
                    <a:pt x="159679" y="117200"/>
                    <a:pt x="160191" y="118224"/>
                    <a:pt x="160702" y="119247"/>
                  </a:cubicBezTo>
                  <a:cubicBezTo>
                    <a:pt x="148931" y="134601"/>
                    <a:pt x="131019" y="144325"/>
                    <a:pt x="111570" y="145348"/>
                  </a:cubicBezTo>
                  <a:lnTo>
                    <a:pt x="111059" y="145348"/>
                  </a:lnTo>
                  <a:cubicBezTo>
                    <a:pt x="110035" y="145348"/>
                    <a:pt x="109011" y="145348"/>
                    <a:pt x="107988" y="145348"/>
                  </a:cubicBezTo>
                  <a:lnTo>
                    <a:pt x="107988" y="145348"/>
                  </a:lnTo>
                  <a:cubicBezTo>
                    <a:pt x="106452" y="145348"/>
                    <a:pt x="105429" y="145348"/>
                    <a:pt x="103894" y="145348"/>
                  </a:cubicBezTo>
                  <a:cubicBezTo>
                    <a:pt x="103894" y="145348"/>
                    <a:pt x="103894" y="145348"/>
                    <a:pt x="103894" y="145348"/>
                  </a:cubicBezTo>
                  <a:cubicBezTo>
                    <a:pt x="83934" y="143813"/>
                    <a:pt x="66021" y="134601"/>
                    <a:pt x="54250" y="119759"/>
                  </a:cubicBezTo>
                  <a:close/>
                  <a:moveTo>
                    <a:pt x="127436" y="215464"/>
                  </a:moveTo>
                  <a:lnTo>
                    <a:pt x="106964" y="228259"/>
                  </a:lnTo>
                  <a:lnTo>
                    <a:pt x="86493" y="215464"/>
                  </a:lnTo>
                  <a:lnTo>
                    <a:pt x="92122" y="161726"/>
                  </a:lnTo>
                  <a:lnTo>
                    <a:pt x="81375" y="150978"/>
                  </a:lnTo>
                  <a:cubicBezTo>
                    <a:pt x="84446" y="152002"/>
                    <a:pt x="88028" y="153025"/>
                    <a:pt x="91611" y="154049"/>
                  </a:cubicBezTo>
                  <a:cubicBezTo>
                    <a:pt x="92122" y="154049"/>
                    <a:pt x="92634" y="154049"/>
                    <a:pt x="93146" y="154561"/>
                  </a:cubicBezTo>
                  <a:cubicBezTo>
                    <a:pt x="95705" y="155073"/>
                    <a:pt x="97752" y="155073"/>
                    <a:pt x="100311" y="155584"/>
                  </a:cubicBezTo>
                  <a:cubicBezTo>
                    <a:pt x="101335" y="155584"/>
                    <a:pt x="102358" y="155584"/>
                    <a:pt x="103382" y="155584"/>
                  </a:cubicBezTo>
                  <a:lnTo>
                    <a:pt x="103894" y="155584"/>
                  </a:lnTo>
                  <a:cubicBezTo>
                    <a:pt x="104917" y="155584"/>
                    <a:pt x="105941" y="155584"/>
                    <a:pt x="107476" y="155584"/>
                  </a:cubicBezTo>
                  <a:cubicBezTo>
                    <a:pt x="108500" y="155584"/>
                    <a:pt x="109523" y="155584"/>
                    <a:pt x="110547" y="155584"/>
                  </a:cubicBezTo>
                  <a:cubicBezTo>
                    <a:pt x="112082" y="155584"/>
                    <a:pt x="113106" y="155584"/>
                    <a:pt x="114641" y="155584"/>
                  </a:cubicBezTo>
                  <a:cubicBezTo>
                    <a:pt x="117200" y="155584"/>
                    <a:pt x="119247" y="155073"/>
                    <a:pt x="121806" y="154561"/>
                  </a:cubicBezTo>
                  <a:cubicBezTo>
                    <a:pt x="122318" y="154561"/>
                    <a:pt x="122830" y="154561"/>
                    <a:pt x="123342" y="154049"/>
                  </a:cubicBezTo>
                  <a:lnTo>
                    <a:pt x="123342" y="154049"/>
                  </a:lnTo>
                  <a:cubicBezTo>
                    <a:pt x="126924" y="153537"/>
                    <a:pt x="129995" y="152514"/>
                    <a:pt x="133577" y="150978"/>
                  </a:cubicBezTo>
                  <a:lnTo>
                    <a:pt x="122318" y="161726"/>
                  </a:lnTo>
                  <a:lnTo>
                    <a:pt x="127436" y="215464"/>
                  </a:lnTo>
                  <a:close/>
                  <a:moveTo>
                    <a:pt x="203693" y="173497"/>
                  </a:moveTo>
                  <a:cubicBezTo>
                    <a:pt x="203693" y="172985"/>
                    <a:pt x="204205" y="172985"/>
                    <a:pt x="204205" y="172473"/>
                  </a:cubicBezTo>
                  <a:cubicBezTo>
                    <a:pt x="204205" y="171962"/>
                    <a:pt x="204716" y="171962"/>
                    <a:pt x="204716" y="171450"/>
                  </a:cubicBezTo>
                  <a:cubicBezTo>
                    <a:pt x="205228" y="170426"/>
                    <a:pt x="205228" y="169914"/>
                    <a:pt x="205740" y="168891"/>
                  </a:cubicBezTo>
                  <a:cubicBezTo>
                    <a:pt x="205740" y="168891"/>
                    <a:pt x="205740" y="168379"/>
                    <a:pt x="205740" y="168379"/>
                  </a:cubicBezTo>
                  <a:cubicBezTo>
                    <a:pt x="205740" y="167867"/>
                    <a:pt x="206252" y="166844"/>
                    <a:pt x="206252" y="166332"/>
                  </a:cubicBezTo>
                  <a:cubicBezTo>
                    <a:pt x="207275" y="163773"/>
                    <a:pt x="207787" y="161726"/>
                    <a:pt x="208299" y="159167"/>
                  </a:cubicBezTo>
                  <a:cubicBezTo>
                    <a:pt x="208299" y="158143"/>
                    <a:pt x="208811" y="157120"/>
                    <a:pt x="208811" y="156608"/>
                  </a:cubicBezTo>
                  <a:cubicBezTo>
                    <a:pt x="209322" y="154049"/>
                    <a:pt x="209834" y="150978"/>
                    <a:pt x="210346" y="147907"/>
                  </a:cubicBezTo>
                  <a:cubicBezTo>
                    <a:pt x="210346" y="146372"/>
                    <a:pt x="210858" y="144837"/>
                    <a:pt x="210858" y="143302"/>
                  </a:cubicBezTo>
                  <a:cubicBezTo>
                    <a:pt x="210858" y="141766"/>
                    <a:pt x="210858" y="139719"/>
                    <a:pt x="210858" y="138184"/>
                  </a:cubicBezTo>
                  <a:cubicBezTo>
                    <a:pt x="210858" y="132042"/>
                    <a:pt x="210346" y="125389"/>
                    <a:pt x="208811" y="119759"/>
                  </a:cubicBezTo>
                  <a:cubicBezTo>
                    <a:pt x="212905" y="120271"/>
                    <a:pt x="216999" y="120783"/>
                    <a:pt x="221094" y="120783"/>
                  </a:cubicBezTo>
                  <a:cubicBezTo>
                    <a:pt x="223141" y="120783"/>
                    <a:pt x="225188" y="120783"/>
                    <a:pt x="227747" y="120783"/>
                  </a:cubicBezTo>
                  <a:cubicBezTo>
                    <a:pt x="228770" y="120783"/>
                    <a:pt x="229282" y="120783"/>
                    <a:pt x="230306" y="120783"/>
                  </a:cubicBezTo>
                  <a:cubicBezTo>
                    <a:pt x="231841" y="120783"/>
                    <a:pt x="233377" y="120271"/>
                    <a:pt x="234912" y="120271"/>
                  </a:cubicBezTo>
                  <a:cubicBezTo>
                    <a:pt x="235936" y="120271"/>
                    <a:pt x="236959" y="119759"/>
                    <a:pt x="237983" y="119759"/>
                  </a:cubicBezTo>
                  <a:cubicBezTo>
                    <a:pt x="240030" y="119247"/>
                    <a:pt x="241565" y="118735"/>
                    <a:pt x="243613" y="118735"/>
                  </a:cubicBezTo>
                  <a:cubicBezTo>
                    <a:pt x="244124" y="118735"/>
                    <a:pt x="245148" y="118224"/>
                    <a:pt x="245660" y="118224"/>
                  </a:cubicBezTo>
                  <a:cubicBezTo>
                    <a:pt x="246172" y="118224"/>
                    <a:pt x="246683" y="117712"/>
                    <a:pt x="247707" y="117712"/>
                  </a:cubicBezTo>
                  <a:cubicBezTo>
                    <a:pt x="249242" y="117200"/>
                    <a:pt x="250266" y="116688"/>
                    <a:pt x="251801" y="116176"/>
                  </a:cubicBezTo>
                  <a:cubicBezTo>
                    <a:pt x="253337" y="115665"/>
                    <a:pt x="254360" y="115153"/>
                    <a:pt x="255896" y="114641"/>
                  </a:cubicBezTo>
                  <a:cubicBezTo>
                    <a:pt x="257431" y="114129"/>
                    <a:pt x="258454" y="113617"/>
                    <a:pt x="259990" y="112594"/>
                  </a:cubicBezTo>
                  <a:cubicBezTo>
                    <a:pt x="261525" y="111570"/>
                    <a:pt x="263572" y="111058"/>
                    <a:pt x="265108" y="110035"/>
                  </a:cubicBezTo>
                  <a:cubicBezTo>
                    <a:pt x="265620" y="110035"/>
                    <a:pt x="266131" y="109523"/>
                    <a:pt x="266131" y="109523"/>
                  </a:cubicBezTo>
                  <a:cubicBezTo>
                    <a:pt x="266643" y="109523"/>
                    <a:pt x="267155" y="109011"/>
                    <a:pt x="267155" y="109011"/>
                  </a:cubicBezTo>
                  <a:cubicBezTo>
                    <a:pt x="268178" y="108499"/>
                    <a:pt x="269714" y="107476"/>
                    <a:pt x="270737" y="106452"/>
                  </a:cubicBezTo>
                  <a:cubicBezTo>
                    <a:pt x="271761" y="105429"/>
                    <a:pt x="273296" y="104917"/>
                    <a:pt x="274320" y="103894"/>
                  </a:cubicBezTo>
                  <a:cubicBezTo>
                    <a:pt x="275344" y="102870"/>
                    <a:pt x="276879" y="101846"/>
                    <a:pt x="277902" y="101335"/>
                  </a:cubicBezTo>
                  <a:cubicBezTo>
                    <a:pt x="278926" y="100311"/>
                    <a:pt x="280461" y="99287"/>
                    <a:pt x="281485" y="97752"/>
                  </a:cubicBezTo>
                  <a:cubicBezTo>
                    <a:pt x="282509" y="96728"/>
                    <a:pt x="283532" y="96217"/>
                    <a:pt x="284044" y="95193"/>
                  </a:cubicBezTo>
                  <a:lnTo>
                    <a:pt x="284044" y="95193"/>
                  </a:lnTo>
                  <a:cubicBezTo>
                    <a:pt x="285068" y="96217"/>
                    <a:pt x="286091" y="97240"/>
                    <a:pt x="287626" y="98264"/>
                  </a:cubicBezTo>
                  <a:cubicBezTo>
                    <a:pt x="287626" y="98776"/>
                    <a:pt x="288138" y="98776"/>
                    <a:pt x="288650" y="99287"/>
                  </a:cubicBezTo>
                  <a:cubicBezTo>
                    <a:pt x="289674" y="100311"/>
                    <a:pt x="290697" y="101335"/>
                    <a:pt x="291721" y="101846"/>
                  </a:cubicBezTo>
                  <a:cubicBezTo>
                    <a:pt x="292233" y="102358"/>
                    <a:pt x="292233" y="102358"/>
                    <a:pt x="292744" y="102870"/>
                  </a:cubicBezTo>
                  <a:cubicBezTo>
                    <a:pt x="293256" y="103382"/>
                    <a:pt x="293768" y="103894"/>
                    <a:pt x="294280" y="103894"/>
                  </a:cubicBezTo>
                  <a:cubicBezTo>
                    <a:pt x="296839" y="105941"/>
                    <a:pt x="299910" y="107988"/>
                    <a:pt x="302980" y="109523"/>
                  </a:cubicBezTo>
                  <a:cubicBezTo>
                    <a:pt x="304004" y="110035"/>
                    <a:pt x="305539" y="111058"/>
                    <a:pt x="306563" y="111570"/>
                  </a:cubicBezTo>
                  <a:cubicBezTo>
                    <a:pt x="307586" y="112082"/>
                    <a:pt x="309122" y="113106"/>
                    <a:pt x="310145" y="113617"/>
                  </a:cubicBezTo>
                  <a:cubicBezTo>
                    <a:pt x="313728" y="115153"/>
                    <a:pt x="317822" y="116688"/>
                    <a:pt x="321917" y="118224"/>
                  </a:cubicBezTo>
                  <a:cubicBezTo>
                    <a:pt x="320381" y="125389"/>
                    <a:pt x="319358" y="132554"/>
                    <a:pt x="319358" y="139719"/>
                  </a:cubicBezTo>
                  <a:cubicBezTo>
                    <a:pt x="319358" y="142790"/>
                    <a:pt x="319358" y="145860"/>
                    <a:pt x="319869" y="148931"/>
                  </a:cubicBezTo>
                  <a:cubicBezTo>
                    <a:pt x="319869" y="149443"/>
                    <a:pt x="319869" y="150466"/>
                    <a:pt x="319869" y="150978"/>
                  </a:cubicBezTo>
                  <a:cubicBezTo>
                    <a:pt x="319869" y="151490"/>
                    <a:pt x="319869" y="152514"/>
                    <a:pt x="320381" y="153025"/>
                  </a:cubicBezTo>
                  <a:cubicBezTo>
                    <a:pt x="320381" y="154049"/>
                    <a:pt x="320893" y="154561"/>
                    <a:pt x="320893" y="155584"/>
                  </a:cubicBezTo>
                  <a:cubicBezTo>
                    <a:pt x="320893" y="156608"/>
                    <a:pt x="321405" y="157120"/>
                    <a:pt x="321405" y="158143"/>
                  </a:cubicBezTo>
                  <a:cubicBezTo>
                    <a:pt x="321405" y="159167"/>
                    <a:pt x="321917" y="160702"/>
                    <a:pt x="322428" y="161726"/>
                  </a:cubicBezTo>
                  <a:cubicBezTo>
                    <a:pt x="322940" y="163261"/>
                    <a:pt x="322940" y="164285"/>
                    <a:pt x="323452" y="165308"/>
                  </a:cubicBezTo>
                  <a:cubicBezTo>
                    <a:pt x="324475" y="167867"/>
                    <a:pt x="324987" y="170426"/>
                    <a:pt x="326011" y="172985"/>
                  </a:cubicBezTo>
                  <a:cubicBezTo>
                    <a:pt x="326011" y="173497"/>
                    <a:pt x="326523" y="173497"/>
                    <a:pt x="326523" y="174009"/>
                  </a:cubicBezTo>
                  <a:cubicBezTo>
                    <a:pt x="312704" y="192433"/>
                    <a:pt x="291209" y="203693"/>
                    <a:pt x="268178" y="204716"/>
                  </a:cubicBezTo>
                  <a:cubicBezTo>
                    <a:pt x="267155" y="204716"/>
                    <a:pt x="266131" y="204716"/>
                    <a:pt x="265108" y="204716"/>
                  </a:cubicBezTo>
                  <a:cubicBezTo>
                    <a:pt x="264084" y="204716"/>
                    <a:pt x="262549" y="204716"/>
                    <a:pt x="261525" y="204716"/>
                  </a:cubicBezTo>
                  <a:cubicBezTo>
                    <a:pt x="238495" y="202669"/>
                    <a:pt x="217511" y="191410"/>
                    <a:pt x="203693" y="173497"/>
                  </a:cubicBezTo>
                  <a:close/>
                  <a:moveTo>
                    <a:pt x="287115" y="282508"/>
                  </a:moveTo>
                  <a:lnTo>
                    <a:pt x="264596" y="296327"/>
                  </a:lnTo>
                  <a:lnTo>
                    <a:pt x="242077" y="282508"/>
                  </a:lnTo>
                  <a:lnTo>
                    <a:pt x="248730" y="221605"/>
                  </a:lnTo>
                  <a:lnTo>
                    <a:pt x="235936" y="208811"/>
                  </a:lnTo>
                  <a:cubicBezTo>
                    <a:pt x="239518" y="209834"/>
                    <a:pt x="242589" y="210858"/>
                    <a:pt x="246172" y="211881"/>
                  </a:cubicBezTo>
                  <a:cubicBezTo>
                    <a:pt x="247195" y="212393"/>
                    <a:pt x="248730" y="212393"/>
                    <a:pt x="249754" y="212905"/>
                  </a:cubicBezTo>
                  <a:cubicBezTo>
                    <a:pt x="251289" y="213417"/>
                    <a:pt x="253337" y="213417"/>
                    <a:pt x="254872" y="213929"/>
                  </a:cubicBezTo>
                  <a:cubicBezTo>
                    <a:pt x="256919" y="213929"/>
                    <a:pt x="258966" y="214440"/>
                    <a:pt x="261013" y="214440"/>
                  </a:cubicBezTo>
                  <a:cubicBezTo>
                    <a:pt x="262549" y="214440"/>
                    <a:pt x="263572" y="214440"/>
                    <a:pt x="265108" y="214440"/>
                  </a:cubicBezTo>
                  <a:cubicBezTo>
                    <a:pt x="266131" y="214440"/>
                    <a:pt x="267155" y="214440"/>
                    <a:pt x="268178" y="214440"/>
                  </a:cubicBezTo>
                  <a:cubicBezTo>
                    <a:pt x="270737" y="214440"/>
                    <a:pt x="272785" y="214440"/>
                    <a:pt x="275344" y="213929"/>
                  </a:cubicBezTo>
                  <a:cubicBezTo>
                    <a:pt x="276879" y="213929"/>
                    <a:pt x="278926" y="213417"/>
                    <a:pt x="280461" y="213417"/>
                  </a:cubicBezTo>
                  <a:cubicBezTo>
                    <a:pt x="281997" y="213417"/>
                    <a:pt x="283020" y="212905"/>
                    <a:pt x="284044" y="212393"/>
                  </a:cubicBezTo>
                  <a:cubicBezTo>
                    <a:pt x="287626" y="211881"/>
                    <a:pt x="290697" y="210858"/>
                    <a:pt x="294280" y="209322"/>
                  </a:cubicBezTo>
                  <a:lnTo>
                    <a:pt x="281485" y="222117"/>
                  </a:lnTo>
                  <a:lnTo>
                    <a:pt x="287115" y="282508"/>
                  </a:lnTo>
                  <a:close/>
                  <a:moveTo>
                    <a:pt x="318846" y="216488"/>
                  </a:moveTo>
                  <a:cubicBezTo>
                    <a:pt x="311681" y="212905"/>
                    <a:pt x="304004" y="209834"/>
                    <a:pt x="296327" y="207787"/>
                  </a:cubicBezTo>
                  <a:cubicBezTo>
                    <a:pt x="309634" y="202669"/>
                    <a:pt x="321405" y="193969"/>
                    <a:pt x="331129" y="183221"/>
                  </a:cubicBezTo>
                  <a:cubicBezTo>
                    <a:pt x="333176" y="181174"/>
                    <a:pt x="334711" y="178615"/>
                    <a:pt x="336247" y="176568"/>
                  </a:cubicBezTo>
                  <a:cubicBezTo>
                    <a:pt x="336758" y="175544"/>
                    <a:pt x="337270" y="175032"/>
                    <a:pt x="337782" y="174009"/>
                  </a:cubicBezTo>
                  <a:cubicBezTo>
                    <a:pt x="342388" y="167355"/>
                    <a:pt x="345459" y="160191"/>
                    <a:pt x="348018" y="152514"/>
                  </a:cubicBezTo>
                  <a:lnTo>
                    <a:pt x="371560" y="152514"/>
                  </a:lnTo>
                  <a:cubicBezTo>
                    <a:pt x="345459" y="165308"/>
                    <a:pt x="326011" y="188851"/>
                    <a:pt x="318846" y="216488"/>
                  </a:cubicBezTo>
                  <a:close/>
                  <a:moveTo>
                    <a:pt x="445258" y="152514"/>
                  </a:moveTo>
                  <a:cubicBezTo>
                    <a:pt x="442699" y="165308"/>
                    <a:pt x="431440" y="175032"/>
                    <a:pt x="418133" y="175032"/>
                  </a:cubicBezTo>
                  <a:cubicBezTo>
                    <a:pt x="404315" y="175032"/>
                    <a:pt x="393055" y="165308"/>
                    <a:pt x="391008" y="152514"/>
                  </a:cubicBezTo>
                  <a:cubicBezTo>
                    <a:pt x="391008" y="152002"/>
                    <a:pt x="390496" y="150978"/>
                    <a:pt x="390496" y="150466"/>
                  </a:cubicBezTo>
                  <a:cubicBezTo>
                    <a:pt x="392544" y="149955"/>
                    <a:pt x="394079" y="149443"/>
                    <a:pt x="396126" y="148931"/>
                  </a:cubicBezTo>
                  <a:cubicBezTo>
                    <a:pt x="396126" y="148931"/>
                    <a:pt x="396126" y="148931"/>
                    <a:pt x="396126" y="148931"/>
                  </a:cubicBezTo>
                  <a:cubicBezTo>
                    <a:pt x="402268" y="147907"/>
                    <a:pt x="408409" y="146884"/>
                    <a:pt x="415063" y="146884"/>
                  </a:cubicBezTo>
                  <a:lnTo>
                    <a:pt x="420692" y="146884"/>
                  </a:lnTo>
                  <a:cubicBezTo>
                    <a:pt x="427345" y="146884"/>
                    <a:pt x="433487" y="147396"/>
                    <a:pt x="439628" y="148931"/>
                  </a:cubicBezTo>
                  <a:cubicBezTo>
                    <a:pt x="441676" y="149443"/>
                    <a:pt x="443723" y="149955"/>
                    <a:pt x="445770" y="150466"/>
                  </a:cubicBezTo>
                  <a:cubicBezTo>
                    <a:pt x="445770" y="151490"/>
                    <a:pt x="445770" y="152002"/>
                    <a:pt x="445258" y="152514"/>
                  </a:cubicBezTo>
                  <a:close/>
                  <a:moveTo>
                    <a:pt x="418133" y="142278"/>
                  </a:moveTo>
                  <a:lnTo>
                    <a:pt x="418133" y="142278"/>
                  </a:lnTo>
                  <a:cubicBezTo>
                    <a:pt x="398173" y="142278"/>
                    <a:pt x="379749" y="133066"/>
                    <a:pt x="367466" y="117712"/>
                  </a:cubicBezTo>
                  <a:cubicBezTo>
                    <a:pt x="368490" y="115153"/>
                    <a:pt x="369513" y="112594"/>
                    <a:pt x="370537" y="110035"/>
                  </a:cubicBezTo>
                  <a:cubicBezTo>
                    <a:pt x="370537" y="109523"/>
                    <a:pt x="371048" y="108499"/>
                    <a:pt x="371048" y="107988"/>
                  </a:cubicBezTo>
                  <a:cubicBezTo>
                    <a:pt x="371048" y="106964"/>
                    <a:pt x="371560" y="106452"/>
                    <a:pt x="371560" y="105429"/>
                  </a:cubicBezTo>
                  <a:cubicBezTo>
                    <a:pt x="371560" y="105429"/>
                    <a:pt x="371560" y="104917"/>
                    <a:pt x="371560" y="104917"/>
                  </a:cubicBezTo>
                  <a:cubicBezTo>
                    <a:pt x="372072" y="103382"/>
                    <a:pt x="372072" y="102358"/>
                    <a:pt x="372072" y="101335"/>
                  </a:cubicBezTo>
                  <a:cubicBezTo>
                    <a:pt x="372072" y="101335"/>
                    <a:pt x="372072" y="100823"/>
                    <a:pt x="372072" y="100823"/>
                  </a:cubicBezTo>
                  <a:cubicBezTo>
                    <a:pt x="372072" y="99799"/>
                    <a:pt x="372584" y="99287"/>
                    <a:pt x="372584" y="98264"/>
                  </a:cubicBezTo>
                  <a:cubicBezTo>
                    <a:pt x="372584" y="97240"/>
                    <a:pt x="372584" y="96728"/>
                    <a:pt x="373096" y="95705"/>
                  </a:cubicBezTo>
                  <a:cubicBezTo>
                    <a:pt x="373096" y="94169"/>
                    <a:pt x="373096" y="93146"/>
                    <a:pt x="373607" y="91610"/>
                  </a:cubicBezTo>
                  <a:cubicBezTo>
                    <a:pt x="374119" y="90075"/>
                    <a:pt x="373607" y="89051"/>
                    <a:pt x="373607" y="87516"/>
                  </a:cubicBezTo>
                  <a:cubicBezTo>
                    <a:pt x="373607" y="85981"/>
                    <a:pt x="373607" y="84446"/>
                    <a:pt x="373607" y="82910"/>
                  </a:cubicBezTo>
                  <a:cubicBezTo>
                    <a:pt x="373607" y="81375"/>
                    <a:pt x="373607" y="79328"/>
                    <a:pt x="373096" y="77792"/>
                  </a:cubicBezTo>
                  <a:cubicBezTo>
                    <a:pt x="373096" y="76257"/>
                    <a:pt x="372584" y="74210"/>
                    <a:pt x="372072" y="72674"/>
                  </a:cubicBezTo>
                  <a:lnTo>
                    <a:pt x="391008" y="72674"/>
                  </a:lnTo>
                  <a:cubicBezTo>
                    <a:pt x="392032" y="72674"/>
                    <a:pt x="392544" y="72674"/>
                    <a:pt x="393567" y="72162"/>
                  </a:cubicBezTo>
                  <a:cubicBezTo>
                    <a:pt x="394591" y="72162"/>
                    <a:pt x="395103" y="72162"/>
                    <a:pt x="396126" y="71651"/>
                  </a:cubicBezTo>
                  <a:cubicBezTo>
                    <a:pt x="397150" y="71651"/>
                    <a:pt x="398173" y="71139"/>
                    <a:pt x="398685" y="71139"/>
                  </a:cubicBezTo>
                  <a:cubicBezTo>
                    <a:pt x="399197" y="71139"/>
                    <a:pt x="399709" y="71139"/>
                    <a:pt x="399709" y="70627"/>
                  </a:cubicBezTo>
                  <a:cubicBezTo>
                    <a:pt x="401756" y="70115"/>
                    <a:pt x="403803" y="69603"/>
                    <a:pt x="405850" y="69092"/>
                  </a:cubicBezTo>
                  <a:cubicBezTo>
                    <a:pt x="408409" y="68068"/>
                    <a:pt x="410968" y="67045"/>
                    <a:pt x="413527" y="66021"/>
                  </a:cubicBezTo>
                  <a:cubicBezTo>
                    <a:pt x="415063" y="64997"/>
                    <a:pt x="416598" y="64486"/>
                    <a:pt x="418133" y="63462"/>
                  </a:cubicBezTo>
                  <a:cubicBezTo>
                    <a:pt x="418645" y="63462"/>
                    <a:pt x="419157" y="62950"/>
                    <a:pt x="419669" y="62438"/>
                  </a:cubicBezTo>
                  <a:cubicBezTo>
                    <a:pt x="419669" y="62438"/>
                    <a:pt x="419669" y="62438"/>
                    <a:pt x="419669" y="62438"/>
                  </a:cubicBezTo>
                  <a:cubicBezTo>
                    <a:pt x="421716" y="60903"/>
                    <a:pt x="423763" y="59879"/>
                    <a:pt x="425810" y="58344"/>
                  </a:cubicBezTo>
                  <a:cubicBezTo>
                    <a:pt x="428881" y="56297"/>
                    <a:pt x="431440" y="53738"/>
                    <a:pt x="433999" y="51179"/>
                  </a:cubicBezTo>
                  <a:lnTo>
                    <a:pt x="433999" y="51179"/>
                  </a:lnTo>
                  <a:cubicBezTo>
                    <a:pt x="434511" y="51179"/>
                    <a:pt x="434511" y="51691"/>
                    <a:pt x="435022" y="51691"/>
                  </a:cubicBezTo>
                  <a:cubicBezTo>
                    <a:pt x="435022" y="52202"/>
                    <a:pt x="435534" y="52202"/>
                    <a:pt x="436046" y="52714"/>
                  </a:cubicBezTo>
                  <a:cubicBezTo>
                    <a:pt x="436558" y="53226"/>
                    <a:pt x="437069" y="53738"/>
                    <a:pt x="437581" y="54250"/>
                  </a:cubicBezTo>
                  <a:cubicBezTo>
                    <a:pt x="438605" y="55273"/>
                    <a:pt x="440140" y="56297"/>
                    <a:pt x="441164" y="57320"/>
                  </a:cubicBezTo>
                  <a:cubicBezTo>
                    <a:pt x="442187" y="58344"/>
                    <a:pt x="443211" y="58856"/>
                    <a:pt x="444235" y="59879"/>
                  </a:cubicBezTo>
                  <a:cubicBezTo>
                    <a:pt x="445258" y="60391"/>
                    <a:pt x="445770" y="61415"/>
                    <a:pt x="446793" y="61927"/>
                  </a:cubicBezTo>
                  <a:cubicBezTo>
                    <a:pt x="447817" y="62438"/>
                    <a:pt x="448329" y="62950"/>
                    <a:pt x="449352" y="63462"/>
                  </a:cubicBezTo>
                  <a:cubicBezTo>
                    <a:pt x="450376" y="63974"/>
                    <a:pt x="450888" y="64486"/>
                    <a:pt x="451911" y="64997"/>
                  </a:cubicBezTo>
                  <a:cubicBezTo>
                    <a:pt x="452423" y="64997"/>
                    <a:pt x="452935" y="65509"/>
                    <a:pt x="453447" y="65509"/>
                  </a:cubicBezTo>
                  <a:cubicBezTo>
                    <a:pt x="454470" y="66021"/>
                    <a:pt x="454982" y="66533"/>
                    <a:pt x="456006" y="67045"/>
                  </a:cubicBezTo>
                  <a:cubicBezTo>
                    <a:pt x="456517" y="67556"/>
                    <a:pt x="457541" y="67556"/>
                    <a:pt x="458053" y="68068"/>
                  </a:cubicBezTo>
                  <a:cubicBezTo>
                    <a:pt x="459076" y="68580"/>
                    <a:pt x="459588" y="68580"/>
                    <a:pt x="460612" y="69092"/>
                  </a:cubicBezTo>
                  <a:cubicBezTo>
                    <a:pt x="462147" y="69603"/>
                    <a:pt x="463683" y="70115"/>
                    <a:pt x="464706" y="70627"/>
                  </a:cubicBezTo>
                  <a:cubicBezTo>
                    <a:pt x="464706" y="71651"/>
                    <a:pt x="464194" y="72674"/>
                    <a:pt x="464194" y="73186"/>
                  </a:cubicBezTo>
                  <a:cubicBezTo>
                    <a:pt x="463683" y="74721"/>
                    <a:pt x="463683" y="76769"/>
                    <a:pt x="463171" y="78304"/>
                  </a:cubicBezTo>
                  <a:cubicBezTo>
                    <a:pt x="463171" y="79839"/>
                    <a:pt x="462659" y="81887"/>
                    <a:pt x="462659" y="83422"/>
                  </a:cubicBezTo>
                  <a:cubicBezTo>
                    <a:pt x="462659" y="84957"/>
                    <a:pt x="462659" y="86493"/>
                    <a:pt x="462659" y="88028"/>
                  </a:cubicBezTo>
                  <a:cubicBezTo>
                    <a:pt x="462659" y="89563"/>
                    <a:pt x="462659" y="90587"/>
                    <a:pt x="462659" y="91610"/>
                  </a:cubicBezTo>
                  <a:cubicBezTo>
                    <a:pt x="462659" y="92122"/>
                    <a:pt x="462659" y="93146"/>
                    <a:pt x="462659" y="93658"/>
                  </a:cubicBezTo>
                  <a:cubicBezTo>
                    <a:pt x="462659" y="94681"/>
                    <a:pt x="462659" y="95193"/>
                    <a:pt x="462659" y="96217"/>
                  </a:cubicBezTo>
                  <a:cubicBezTo>
                    <a:pt x="462659" y="97752"/>
                    <a:pt x="463171" y="98776"/>
                    <a:pt x="463171" y="100311"/>
                  </a:cubicBezTo>
                  <a:cubicBezTo>
                    <a:pt x="463171" y="101846"/>
                    <a:pt x="463683" y="102870"/>
                    <a:pt x="464194" y="104405"/>
                  </a:cubicBezTo>
                  <a:cubicBezTo>
                    <a:pt x="464706" y="105941"/>
                    <a:pt x="464706" y="106964"/>
                    <a:pt x="465218" y="108499"/>
                  </a:cubicBezTo>
                  <a:cubicBezTo>
                    <a:pt x="465730" y="110035"/>
                    <a:pt x="466242" y="111058"/>
                    <a:pt x="466242" y="112594"/>
                  </a:cubicBezTo>
                  <a:cubicBezTo>
                    <a:pt x="466753" y="113617"/>
                    <a:pt x="466753" y="114641"/>
                    <a:pt x="467265" y="115665"/>
                  </a:cubicBezTo>
                  <a:cubicBezTo>
                    <a:pt x="467265" y="116176"/>
                    <a:pt x="467777" y="117200"/>
                    <a:pt x="467777" y="117712"/>
                  </a:cubicBezTo>
                  <a:cubicBezTo>
                    <a:pt x="457029" y="133066"/>
                    <a:pt x="438093" y="142278"/>
                    <a:pt x="418133" y="142278"/>
                  </a:cubicBezTo>
                  <a:close/>
                </a:path>
              </a:pathLst>
            </a:custGeom>
            <a:grpFill/>
            <a:ln w="511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40" name="Freeform: Shape 109">
              <a:extLst>
                <a:ext uri="{FF2B5EF4-FFF2-40B4-BE49-F238E27FC236}">
                  <a16:creationId xmlns:a16="http://schemas.microsoft.com/office/drawing/2014/main" id="{61B07048-D7D5-4764-B699-97F0C4157683}"/>
                </a:ext>
              </a:extLst>
            </p:cNvPr>
            <p:cNvSpPr/>
            <p:nvPr/>
          </p:nvSpPr>
          <p:spPr>
            <a:xfrm>
              <a:off x="4802704" y="2998071"/>
              <a:ext cx="56297" cy="61926"/>
            </a:xfrm>
            <a:custGeom>
              <a:avLst/>
              <a:gdLst>
                <a:gd name="connsiteX0" fmla="*/ 52715 w 56297"/>
                <a:gd name="connsiteY0" fmla="*/ 0 h 61926"/>
                <a:gd name="connsiteX1" fmla="*/ 56297 w 56297"/>
                <a:gd name="connsiteY1" fmla="*/ 2047 h 61926"/>
                <a:gd name="connsiteX2" fmla="*/ 56297 w 56297"/>
                <a:gd name="connsiteY2" fmla="*/ 2047 h 61926"/>
                <a:gd name="connsiteX3" fmla="*/ 52715 w 56297"/>
                <a:gd name="connsiteY3" fmla="*/ 0 h 61926"/>
                <a:gd name="connsiteX4" fmla="*/ 32755 w 56297"/>
                <a:gd name="connsiteY4" fmla="*/ 44014 h 61926"/>
                <a:gd name="connsiteX5" fmla="*/ 35314 w 56297"/>
                <a:gd name="connsiteY5" fmla="*/ 41455 h 61926"/>
                <a:gd name="connsiteX6" fmla="*/ 35314 w 56297"/>
                <a:gd name="connsiteY6" fmla="*/ 41455 h 61926"/>
                <a:gd name="connsiteX7" fmla="*/ 32755 w 56297"/>
                <a:gd name="connsiteY7" fmla="*/ 44014 h 61926"/>
                <a:gd name="connsiteX8" fmla="*/ 18936 w 56297"/>
                <a:gd name="connsiteY8" fmla="*/ 54250 h 61926"/>
                <a:gd name="connsiteX9" fmla="*/ 18936 w 56297"/>
                <a:gd name="connsiteY9" fmla="*/ 54250 h 61926"/>
                <a:gd name="connsiteX10" fmla="*/ 20472 w 56297"/>
                <a:gd name="connsiteY10" fmla="*/ 53226 h 61926"/>
                <a:gd name="connsiteX11" fmla="*/ 18936 w 56297"/>
                <a:gd name="connsiteY11" fmla="*/ 54250 h 61926"/>
                <a:gd name="connsiteX12" fmla="*/ 0 w 56297"/>
                <a:gd name="connsiteY12" fmla="*/ 61927 h 61926"/>
                <a:gd name="connsiteX13" fmla="*/ 7165 w 56297"/>
                <a:gd name="connsiteY13" fmla="*/ 59880 h 61926"/>
                <a:gd name="connsiteX14" fmla="*/ 0 w 56297"/>
                <a:gd name="connsiteY14" fmla="*/ 61927 h 61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6297" h="61926">
                  <a:moveTo>
                    <a:pt x="52715" y="0"/>
                  </a:moveTo>
                  <a:cubicBezTo>
                    <a:pt x="53738" y="512"/>
                    <a:pt x="55274" y="1535"/>
                    <a:pt x="56297" y="2047"/>
                  </a:cubicBezTo>
                  <a:lnTo>
                    <a:pt x="56297" y="2047"/>
                  </a:lnTo>
                  <a:lnTo>
                    <a:pt x="52715" y="0"/>
                  </a:lnTo>
                  <a:close/>
                  <a:moveTo>
                    <a:pt x="32755" y="44014"/>
                  </a:moveTo>
                  <a:cubicBezTo>
                    <a:pt x="33778" y="42991"/>
                    <a:pt x="34802" y="42479"/>
                    <a:pt x="35314" y="41455"/>
                  </a:cubicBezTo>
                  <a:lnTo>
                    <a:pt x="35314" y="41455"/>
                  </a:lnTo>
                  <a:cubicBezTo>
                    <a:pt x="34802" y="41967"/>
                    <a:pt x="33778" y="42991"/>
                    <a:pt x="32755" y="44014"/>
                  </a:cubicBezTo>
                  <a:close/>
                  <a:moveTo>
                    <a:pt x="18936" y="54250"/>
                  </a:moveTo>
                  <a:lnTo>
                    <a:pt x="18936" y="54250"/>
                  </a:lnTo>
                  <a:cubicBezTo>
                    <a:pt x="19448" y="54250"/>
                    <a:pt x="19960" y="53738"/>
                    <a:pt x="20472" y="53226"/>
                  </a:cubicBezTo>
                  <a:cubicBezTo>
                    <a:pt x="19960" y="53226"/>
                    <a:pt x="19448" y="53738"/>
                    <a:pt x="18936" y="54250"/>
                  </a:cubicBezTo>
                  <a:close/>
                  <a:moveTo>
                    <a:pt x="0" y="61927"/>
                  </a:moveTo>
                  <a:cubicBezTo>
                    <a:pt x="2559" y="61415"/>
                    <a:pt x="5118" y="60391"/>
                    <a:pt x="7165" y="59880"/>
                  </a:cubicBezTo>
                  <a:cubicBezTo>
                    <a:pt x="4606" y="60391"/>
                    <a:pt x="2559" y="60903"/>
                    <a:pt x="0" y="61927"/>
                  </a:cubicBezTo>
                  <a:close/>
                </a:path>
              </a:pathLst>
            </a:custGeom>
            <a:grpFill/>
            <a:ln w="511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41" name="Freeform: Shape 110">
              <a:extLst>
                <a:ext uri="{FF2B5EF4-FFF2-40B4-BE49-F238E27FC236}">
                  <a16:creationId xmlns:a16="http://schemas.microsoft.com/office/drawing/2014/main" id="{8DB26687-0EB3-4AF9-AEC2-00BC47D45B4C}"/>
                </a:ext>
              </a:extLst>
            </p:cNvPr>
            <p:cNvSpPr/>
            <p:nvPr/>
          </p:nvSpPr>
          <p:spPr>
            <a:xfrm>
              <a:off x="4849788" y="2995512"/>
              <a:ext cx="5629" cy="2558"/>
            </a:xfrm>
            <a:custGeom>
              <a:avLst/>
              <a:gdLst>
                <a:gd name="connsiteX0" fmla="*/ 0 w 5629"/>
                <a:gd name="connsiteY0" fmla="*/ 0 h 2558"/>
                <a:gd name="connsiteX1" fmla="*/ 0 w 5629"/>
                <a:gd name="connsiteY1" fmla="*/ 0 h 2558"/>
                <a:gd name="connsiteX2" fmla="*/ 5630 w 5629"/>
                <a:gd name="connsiteY2" fmla="*/ 2559 h 2558"/>
                <a:gd name="connsiteX3" fmla="*/ 0 w 5629"/>
                <a:gd name="connsiteY3" fmla="*/ 0 h 2558"/>
              </a:gdLst>
              <a:ahLst/>
              <a:cxnLst>
                <a:cxn ang="0">
                  <a:pos x="connsiteX0" y="connsiteY0"/>
                </a:cxn>
                <a:cxn ang="0">
                  <a:pos x="connsiteX1" y="connsiteY1"/>
                </a:cxn>
                <a:cxn ang="0">
                  <a:pos x="connsiteX2" y="connsiteY2"/>
                </a:cxn>
                <a:cxn ang="0">
                  <a:pos x="connsiteX3" y="connsiteY3"/>
                </a:cxn>
              </a:cxnLst>
              <a:rect l="l" t="t" r="r" b="b"/>
              <a:pathLst>
                <a:path w="5629" h="2558">
                  <a:moveTo>
                    <a:pt x="0" y="0"/>
                  </a:moveTo>
                  <a:lnTo>
                    <a:pt x="0" y="0"/>
                  </a:lnTo>
                  <a:cubicBezTo>
                    <a:pt x="2047" y="1024"/>
                    <a:pt x="3583" y="2047"/>
                    <a:pt x="5630" y="2559"/>
                  </a:cubicBezTo>
                  <a:lnTo>
                    <a:pt x="0" y="0"/>
                  </a:lnTo>
                  <a:close/>
                </a:path>
              </a:pathLst>
            </a:custGeom>
            <a:grpFill/>
            <a:ln w="511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42" name="Freeform: Shape 111">
              <a:extLst>
                <a:ext uri="{FF2B5EF4-FFF2-40B4-BE49-F238E27FC236}">
                  <a16:creationId xmlns:a16="http://schemas.microsoft.com/office/drawing/2014/main" id="{542E9F01-F31A-468D-BA0B-37DF67B719BA}"/>
                </a:ext>
              </a:extLst>
            </p:cNvPr>
            <p:cNvSpPr/>
            <p:nvPr/>
          </p:nvSpPr>
          <p:spPr>
            <a:xfrm>
              <a:off x="4979271" y="3096847"/>
              <a:ext cx="1023" cy="511"/>
            </a:xfrm>
            <a:custGeom>
              <a:avLst/>
              <a:gdLst>
                <a:gd name="connsiteX0" fmla="*/ 1024 w 1023"/>
                <a:gd name="connsiteY0" fmla="*/ 0 h 511"/>
                <a:gd name="connsiteX1" fmla="*/ 0 w 1023"/>
                <a:gd name="connsiteY1" fmla="*/ 512 h 511"/>
                <a:gd name="connsiteX2" fmla="*/ 0 w 1023"/>
                <a:gd name="connsiteY2" fmla="*/ 512 h 511"/>
                <a:gd name="connsiteX3" fmla="*/ 1024 w 1023"/>
                <a:gd name="connsiteY3" fmla="*/ 0 h 511"/>
              </a:gdLst>
              <a:ahLst/>
              <a:cxnLst>
                <a:cxn ang="0">
                  <a:pos x="connsiteX0" y="connsiteY0"/>
                </a:cxn>
                <a:cxn ang="0">
                  <a:pos x="connsiteX1" y="connsiteY1"/>
                </a:cxn>
                <a:cxn ang="0">
                  <a:pos x="connsiteX2" y="connsiteY2"/>
                </a:cxn>
                <a:cxn ang="0">
                  <a:pos x="connsiteX3" y="connsiteY3"/>
                </a:cxn>
              </a:cxnLst>
              <a:rect l="l" t="t" r="r" b="b"/>
              <a:pathLst>
                <a:path w="1023" h="511">
                  <a:moveTo>
                    <a:pt x="1024" y="0"/>
                  </a:moveTo>
                  <a:cubicBezTo>
                    <a:pt x="512" y="0"/>
                    <a:pt x="0" y="512"/>
                    <a:pt x="0" y="512"/>
                  </a:cubicBezTo>
                  <a:lnTo>
                    <a:pt x="0" y="512"/>
                  </a:lnTo>
                  <a:cubicBezTo>
                    <a:pt x="0" y="512"/>
                    <a:pt x="512" y="0"/>
                    <a:pt x="1024" y="0"/>
                  </a:cubicBezTo>
                  <a:close/>
                </a:path>
              </a:pathLst>
            </a:custGeom>
            <a:grpFill/>
            <a:ln w="511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43" name="Freeform: Shape 112">
              <a:extLst>
                <a:ext uri="{FF2B5EF4-FFF2-40B4-BE49-F238E27FC236}">
                  <a16:creationId xmlns:a16="http://schemas.microsoft.com/office/drawing/2014/main" id="{5C6EC0FD-8015-4B9C-A11E-CEBF63B215C2}"/>
                </a:ext>
              </a:extLst>
            </p:cNvPr>
            <p:cNvSpPr/>
            <p:nvPr/>
          </p:nvSpPr>
          <p:spPr>
            <a:xfrm>
              <a:off x="4974154" y="3097359"/>
              <a:ext cx="5117" cy="2558"/>
            </a:xfrm>
            <a:custGeom>
              <a:avLst/>
              <a:gdLst>
                <a:gd name="connsiteX0" fmla="*/ 5118 w 5117"/>
                <a:gd name="connsiteY0" fmla="*/ 0 h 2558"/>
                <a:gd name="connsiteX1" fmla="*/ 5118 w 5117"/>
                <a:gd name="connsiteY1" fmla="*/ 0 h 2558"/>
                <a:gd name="connsiteX2" fmla="*/ 0 w 5117"/>
                <a:gd name="connsiteY2" fmla="*/ 2559 h 2558"/>
                <a:gd name="connsiteX3" fmla="*/ 5118 w 5117"/>
                <a:gd name="connsiteY3" fmla="*/ 0 h 2558"/>
              </a:gdLst>
              <a:ahLst/>
              <a:cxnLst>
                <a:cxn ang="0">
                  <a:pos x="connsiteX0" y="connsiteY0"/>
                </a:cxn>
                <a:cxn ang="0">
                  <a:pos x="connsiteX1" y="connsiteY1"/>
                </a:cxn>
                <a:cxn ang="0">
                  <a:pos x="connsiteX2" y="connsiteY2"/>
                </a:cxn>
                <a:cxn ang="0">
                  <a:pos x="connsiteX3" y="connsiteY3"/>
                </a:cxn>
              </a:cxnLst>
              <a:rect l="l" t="t" r="r" b="b"/>
              <a:pathLst>
                <a:path w="5117" h="2558">
                  <a:moveTo>
                    <a:pt x="5118" y="0"/>
                  </a:moveTo>
                  <a:lnTo>
                    <a:pt x="5118" y="0"/>
                  </a:lnTo>
                  <a:cubicBezTo>
                    <a:pt x="3583" y="1024"/>
                    <a:pt x="1535" y="2047"/>
                    <a:pt x="0" y="2559"/>
                  </a:cubicBezTo>
                  <a:cubicBezTo>
                    <a:pt x="1535" y="2047"/>
                    <a:pt x="3071" y="1024"/>
                    <a:pt x="5118" y="0"/>
                  </a:cubicBezTo>
                  <a:close/>
                </a:path>
              </a:pathLst>
            </a:custGeom>
            <a:grpFill/>
            <a:ln w="511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44" name="Freeform: Shape 113">
              <a:extLst>
                <a:ext uri="{FF2B5EF4-FFF2-40B4-BE49-F238E27FC236}">
                  <a16:creationId xmlns:a16="http://schemas.microsoft.com/office/drawing/2014/main" id="{C0509C72-AEDA-48D2-96A2-8B748D230E65}"/>
                </a:ext>
              </a:extLst>
            </p:cNvPr>
            <p:cNvSpPr/>
            <p:nvPr/>
          </p:nvSpPr>
          <p:spPr>
            <a:xfrm>
              <a:off x="4906597" y="3162868"/>
              <a:ext cx="1535" cy="2558"/>
            </a:xfrm>
            <a:custGeom>
              <a:avLst/>
              <a:gdLst>
                <a:gd name="connsiteX0" fmla="*/ 0 w 1535"/>
                <a:gd name="connsiteY0" fmla="*/ 0 h 2558"/>
                <a:gd name="connsiteX1" fmla="*/ 0 w 1535"/>
                <a:gd name="connsiteY1" fmla="*/ 0 h 2558"/>
                <a:gd name="connsiteX2" fmla="*/ 1535 w 1535"/>
                <a:gd name="connsiteY2" fmla="*/ 2559 h 2558"/>
                <a:gd name="connsiteX3" fmla="*/ 0 w 1535"/>
                <a:gd name="connsiteY3" fmla="*/ 0 h 2558"/>
              </a:gdLst>
              <a:ahLst/>
              <a:cxnLst>
                <a:cxn ang="0">
                  <a:pos x="connsiteX0" y="connsiteY0"/>
                </a:cxn>
                <a:cxn ang="0">
                  <a:pos x="connsiteX1" y="connsiteY1"/>
                </a:cxn>
                <a:cxn ang="0">
                  <a:pos x="connsiteX2" y="connsiteY2"/>
                </a:cxn>
                <a:cxn ang="0">
                  <a:pos x="connsiteX3" y="connsiteY3"/>
                </a:cxn>
              </a:cxnLst>
              <a:rect l="l" t="t" r="r" b="b"/>
              <a:pathLst>
                <a:path w="1535" h="2558">
                  <a:moveTo>
                    <a:pt x="0" y="0"/>
                  </a:moveTo>
                  <a:lnTo>
                    <a:pt x="0" y="0"/>
                  </a:lnTo>
                  <a:lnTo>
                    <a:pt x="1535" y="2559"/>
                  </a:lnTo>
                  <a:cubicBezTo>
                    <a:pt x="1023" y="1535"/>
                    <a:pt x="512" y="1024"/>
                    <a:pt x="0" y="0"/>
                  </a:cubicBezTo>
                  <a:close/>
                </a:path>
              </a:pathLst>
            </a:custGeom>
            <a:grpFill/>
            <a:ln w="511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45" name="Freeform: Shape 114">
              <a:extLst>
                <a:ext uri="{FF2B5EF4-FFF2-40B4-BE49-F238E27FC236}">
                  <a16:creationId xmlns:a16="http://schemas.microsoft.com/office/drawing/2014/main" id="{0BB000C5-88FF-4F88-8531-1BFF0D2AE9D2}"/>
                </a:ext>
              </a:extLst>
            </p:cNvPr>
            <p:cNvSpPr/>
            <p:nvPr/>
          </p:nvSpPr>
          <p:spPr>
            <a:xfrm>
              <a:off x="4908133" y="3036968"/>
              <a:ext cx="113105" cy="135624"/>
            </a:xfrm>
            <a:custGeom>
              <a:avLst/>
              <a:gdLst>
                <a:gd name="connsiteX0" fmla="*/ 0 w 113105"/>
                <a:gd name="connsiteY0" fmla="*/ 128459 h 135624"/>
                <a:gd name="connsiteX1" fmla="*/ 5118 w 113105"/>
                <a:gd name="connsiteY1" fmla="*/ 135625 h 135624"/>
                <a:gd name="connsiteX2" fmla="*/ 5118 w 113105"/>
                <a:gd name="connsiteY2" fmla="*/ 135113 h 135624"/>
                <a:gd name="connsiteX3" fmla="*/ 0 w 113105"/>
                <a:gd name="connsiteY3" fmla="*/ 128459 h 135624"/>
                <a:gd name="connsiteX4" fmla="*/ 71139 w 113105"/>
                <a:gd name="connsiteY4" fmla="*/ 60391 h 135624"/>
                <a:gd name="connsiteX5" fmla="*/ 66021 w 113105"/>
                <a:gd name="connsiteY5" fmla="*/ 62950 h 135624"/>
                <a:gd name="connsiteX6" fmla="*/ 71139 w 113105"/>
                <a:gd name="connsiteY6" fmla="*/ 60391 h 135624"/>
                <a:gd name="connsiteX7" fmla="*/ 72163 w 113105"/>
                <a:gd name="connsiteY7" fmla="*/ 59879 h 135624"/>
                <a:gd name="connsiteX8" fmla="*/ 71139 w 113105"/>
                <a:gd name="connsiteY8" fmla="*/ 60391 h 135624"/>
                <a:gd name="connsiteX9" fmla="*/ 109523 w 113105"/>
                <a:gd name="connsiteY9" fmla="*/ 0 h 135624"/>
                <a:gd name="connsiteX10" fmla="*/ 113106 w 113105"/>
                <a:gd name="connsiteY10" fmla="*/ 2047 h 135624"/>
                <a:gd name="connsiteX11" fmla="*/ 113106 w 113105"/>
                <a:gd name="connsiteY11" fmla="*/ 2047 h 135624"/>
                <a:gd name="connsiteX12" fmla="*/ 109523 w 113105"/>
                <a:gd name="connsiteY12" fmla="*/ 0 h 1356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3105" h="135624">
                  <a:moveTo>
                    <a:pt x="0" y="128459"/>
                  </a:moveTo>
                  <a:lnTo>
                    <a:pt x="5118" y="135625"/>
                  </a:lnTo>
                  <a:lnTo>
                    <a:pt x="5118" y="135113"/>
                  </a:lnTo>
                  <a:cubicBezTo>
                    <a:pt x="3071" y="133066"/>
                    <a:pt x="1535" y="130507"/>
                    <a:pt x="0" y="128459"/>
                  </a:cubicBezTo>
                  <a:close/>
                  <a:moveTo>
                    <a:pt x="71139" y="60391"/>
                  </a:moveTo>
                  <a:cubicBezTo>
                    <a:pt x="69604" y="61415"/>
                    <a:pt x="67556" y="62438"/>
                    <a:pt x="66021" y="62950"/>
                  </a:cubicBezTo>
                  <a:cubicBezTo>
                    <a:pt x="67556" y="62438"/>
                    <a:pt x="69092" y="61415"/>
                    <a:pt x="71139" y="60391"/>
                  </a:cubicBezTo>
                  <a:cubicBezTo>
                    <a:pt x="71651" y="60391"/>
                    <a:pt x="72163" y="59879"/>
                    <a:pt x="72163" y="59879"/>
                  </a:cubicBezTo>
                  <a:cubicBezTo>
                    <a:pt x="71651" y="59879"/>
                    <a:pt x="71139" y="60391"/>
                    <a:pt x="71139" y="60391"/>
                  </a:cubicBezTo>
                  <a:close/>
                  <a:moveTo>
                    <a:pt x="109523" y="0"/>
                  </a:moveTo>
                  <a:cubicBezTo>
                    <a:pt x="110547" y="512"/>
                    <a:pt x="112082" y="1535"/>
                    <a:pt x="113106" y="2047"/>
                  </a:cubicBezTo>
                  <a:lnTo>
                    <a:pt x="113106" y="2047"/>
                  </a:lnTo>
                  <a:lnTo>
                    <a:pt x="109523" y="0"/>
                  </a:lnTo>
                  <a:close/>
                </a:path>
              </a:pathLst>
            </a:custGeom>
            <a:grpFill/>
            <a:ln w="511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46" name="Freeform: Shape 115">
              <a:extLst>
                <a:ext uri="{FF2B5EF4-FFF2-40B4-BE49-F238E27FC236}">
                  <a16:creationId xmlns:a16="http://schemas.microsoft.com/office/drawing/2014/main" id="{77B764B3-9561-453F-B02A-E6DBE018FA30}"/>
                </a:ext>
              </a:extLst>
            </p:cNvPr>
            <p:cNvSpPr/>
            <p:nvPr/>
          </p:nvSpPr>
          <p:spPr>
            <a:xfrm>
              <a:off x="5012026" y="3034409"/>
              <a:ext cx="38384" cy="137159"/>
            </a:xfrm>
            <a:custGeom>
              <a:avLst/>
              <a:gdLst>
                <a:gd name="connsiteX0" fmla="*/ 0 w 38384"/>
                <a:gd name="connsiteY0" fmla="*/ 0 h 137159"/>
                <a:gd name="connsiteX1" fmla="*/ 0 w 38384"/>
                <a:gd name="connsiteY1" fmla="*/ 0 h 137159"/>
                <a:gd name="connsiteX2" fmla="*/ 5630 w 38384"/>
                <a:gd name="connsiteY2" fmla="*/ 2559 h 137159"/>
                <a:gd name="connsiteX3" fmla="*/ 0 w 38384"/>
                <a:gd name="connsiteY3" fmla="*/ 0 h 137159"/>
                <a:gd name="connsiteX4" fmla="*/ 33266 w 38384"/>
                <a:gd name="connsiteY4" fmla="*/ 137160 h 137159"/>
                <a:gd name="connsiteX5" fmla="*/ 33266 w 38384"/>
                <a:gd name="connsiteY5" fmla="*/ 137160 h 137159"/>
                <a:gd name="connsiteX6" fmla="*/ 38384 w 38384"/>
                <a:gd name="connsiteY6" fmla="*/ 130507 h 137159"/>
                <a:gd name="connsiteX7" fmla="*/ 33266 w 38384"/>
                <a:gd name="connsiteY7" fmla="*/ 137160 h 137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384" h="137159">
                  <a:moveTo>
                    <a:pt x="0" y="0"/>
                  </a:moveTo>
                  <a:lnTo>
                    <a:pt x="0" y="0"/>
                  </a:lnTo>
                  <a:cubicBezTo>
                    <a:pt x="2047" y="1023"/>
                    <a:pt x="4094" y="2047"/>
                    <a:pt x="5630" y="2559"/>
                  </a:cubicBezTo>
                  <a:lnTo>
                    <a:pt x="0" y="0"/>
                  </a:lnTo>
                  <a:close/>
                  <a:moveTo>
                    <a:pt x="33266" y="137160"/>
                  </a:moveTo>
                  <a:lnTo>
                    <a:pt x="33266" y="137160"/>
                  </a:lnTo>
                  <a:lnTo>
                    <a:pt x="38384" y="130507"/>
                  </a:lnTo>
                  <a:cubicBezTo>
                    <a:pt x="36849" y="132554"/>
                    <a:pt x="35314" y="135113"/>
                    <a:pt x="33266" y="137160"/>
                  </a:cubicBezTo>
                  <a:close/>
                </a:path>
              </a:pathLst>
            </a:custGeom>
            <a:grpFill/>
            <a:ln w="511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grpSp>
        <p:nvGrpSpPr>
          <p:cNvPr id="47" name="Graphic 1">
            <a:extLst>
              <a:ext uri="{FF2B5EF4-FFF2-40B4-BE49-F238E27FC236}">
                <a16:creationId xmlns:a16="http://schemas.microsoft.com/office/drawing/2014/main" id="{F6CF7A5B-B857-455F-A715-0340E2AA2433}"/>
              </a:ext>
            </a:extLst>
          </p:cNvPr>
          <p:cNvGrpSpPr/>
          <p:nvPr/>
        </p:nvGrpSpPr>
        <p:grpSpPr>
          <a:xfrm>
            <a:off x="4016201" y="2703084"/>
            <a:ext cx="633754" cy="445492"/>
            <a:chOff x="3542674" y="31731"/>
            <a:chExt cx="522026" cy="366954"/>
          </a:xfrm>
          <a:solidFill>
            <a:schemeClr val="accent2"/>
          </a:solidFill>
        </p:grpSpPr>
        <p:sp>
          <p:nvSpPr>
            <p:cNvPr id="48" name="Freeform: Shape 117">
              <a:extLst>
                <a:ext uri="{FF2B5EF4-FFF2-40B4-BE49-F238E27FC236}">
                  <a16:creationId xmlns:a16="http://schemas.microsoft.com/office/drawing/2014/main" id="{CF2FB7FC-3C34-4F88-BD0E-835B8502EC28}"/>
                </a:ext>
              </a:extLst>
            </p:cNvPr>
            <p:cNvSpPr/>
            <p:nvPr/>
          </p:nvSpPr>
          <p:spPr>
            <a:xfrm>
              <a:off x="3542674" y="388449"/>
              <a:ext cx="522026" cy="10235"/>
            </a:xfrm>
            <a:custGeom>
              <a:avLst/>
              <a:gdLst>
                <a:gd name="connsiteX0" fmla="*/ 516909 w 522026"/>
                <a:gd name="connsiteY0" fmla="*/ 10236 h 10235"/>
                <a:gd name="connsiteX1" fmla="*/ 5118 w 522026"/>
                <a:gd name="connsiteY1" fmla="*/ 10236 h 10235"/>
                <a:gd name="connsiteX2" fmla="*/ 0 w 522026"/>
                <a:gd name="connsiteY2" fmla="*/ 5118 h 10235"/>
                <a:gd name="connsiteX3" fmla="*/ 5118 w 522026"/>
                <a:gd name="connsiteY3" fmla="*/ 0 h 10235"/>
                <a:gd name="connsiteX4" fmla="*/ 516909 w 522026"/>
                <a:gd name="connsiteY4" fmla="*/ 0 h 10235"/>
                <a:gd name="connsiteX5" fmla="*/ 522027 w 522026"/>
                <a:gd name="connsiteY5" fmla="*/ 5118 h 10235"/>
                <a:gd name="connsiteX6" fmla="*/ 516909 w 522026"/>
                <a:gd name="connsiteY6" fmla="*/ 10236 h 102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22026" h="10235">
                  <a:moveTo>
                    <a:pt x="516909" y="10236"/>
                  </a:moveTo>
                  <a:lnTo>
                    <a:pt x="5118" y="10236"/>
                  </a:lnTo>
                  <a:cubicBezTo>
                    <a:pt x="2047" y="10236"/>
                    <a:pt x="0" y="8189"/>
                    <a:pt x="0" y="5118"/>
                  </a:cubicBezTo>
                  <a:cubicBezTo>
                    <a:pt x="0" y="2047"/>
                    <a:pt x="2047" y="0"/>
                    <a:pt x="5118" y="0"/>
                  </a:cubicBezTo>
                  <a:lnTo>
                    <a:pt x="516909" y="0"/>
                  </a:lnTo>
                  <a:cubicBezTo>
                    <a:pt x="519980" y="0"/>
                    <a:pt x="522027" y="2047"/>
                    <a:pt x="522027" y="5118"/>
                  </a:cubicBezTo>
                  <a:cubicBezTo>
                    <a:pt x="522027" y="8189"/>
                    <a:pt x="519468" y="10236"/>
                    <a:pt x="516909" y="10236"/>
                  </a:cubicBezTo>
                  <a:close/>
                </a:path>
              </a:pathLst>
            </a:custGeom>
            <a:grpFill/>
            <a:ln w="511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nvGrpSpPr>
            <p:cNvPr id="49" name="Graphic 1">
              <a:extLst>
                <a:ext uri="{FF2B5EF4-FFF2-40B4-BE49-F238E27FC236}">
                  <a16:creationId xmlns:a16="http://schemas.microsoft.com/office/drawing/2014/main" id="{9BA09DC6-0263-4D36-B77A-730D2043A588}"/>
                </a:ext>
              </a:extLst>
            </p:cNvPr>
            <p:cNvGrpSpPr/>
            <p:nvPr/>
          </p:nvGrpSpPr>
          <p:grpSpPr>
            <a:xfrm>
              <a:off x="3568776" y="79327"/>
              <a:ext cx="468866" cy="270225"/>
              <a:chOff x="3568776" y="79327"/>
              <a:chExt cx="468866" cy="270225"/>
            </a:xfrm>
            <a:grpFill/>
          </p:grpSpPr>
          <p:sp>
            <p:nvSpPr>
              <p:cNvPr id="51" name="Freeform: Shape 120">
                <a:extLst>
                  <a:ext uri="{FF2B5EF4-FFF2-40B4-BE49-F238E27FC236}">
                    <a16:creationId xmlns:a16="http://schemas.microsoft.com/office/drawing/2014/main" id="{05B2D6AE-E188-4210-ADD5-F04BF065B092}"/>
                  </a:ext>
                </a:extLst>
              </p:cNvPr>
              <p:cNvSpPr/>
              <p:nvPr/>
            </p:nvSpPr>
            <p:spPr>
              <a:xfrm>
                <a:off x="3568776" y="275343"/>
                <a:ext cx="85023" cy="74209"/>
              </a:xfrm>
              <a:custGeom>
                <a:avLst/>
                <a:gdLst>
                  <a:gd name="connsiteX0" fmla="*/ 80351 w 85023"/>
                  <a:gd name="connsiteY0" fmla="*/ 0 h 74209"/>
                  <a:gd name="connsiteX1" fmla="*/ 5118 w 85023"/>
                  <a:gd name="connsiteY1" fmla="*/ 0 h 74209"/>
                  <a:gd name="connsiteX2" fmla="*/ 0 w 85023"/>
                  <a:gd name="connsiteY2" fmla="*/ 5118 h 74209"/>
                  <a:gd name="connsiteX3" fmla="*/ 0 w 85023"/>
                  <a:gd name="connsiteY3" fmla="*/ 69092 h 74209"/>
                  <a:gd name="connsiteX4" fmla="*/ 5118 w 85023"/>
                  <a:gd name="connsiteY4" fmla="*/ 74210 h 74209"/>
                  <a:gd name="connsiteX5" fmla="*/ 79839 w 85023"/>
                  <a:gd name="connsiteY5" fmla="*/ 74210 h 74209"/>
                  <a:gd name="connsiteX6" fmla="*/ 84957 w 85023"/>
                  <a:gd name="connsiteY6" fmla="*/ 69092 h 74209"/>
                  <a:gd name="connsiteX7" fmla="*/ 84957 w 85023"/>
                  <a:gd name="connsiteY7" fmla="*/ 5118 h 74209"/>
                  <a:gd name="connsiteX8" fmla="*/ 80351 w 85023"/>
                  <a:gd name="connsiteY8" fmla="*/ 0 h 742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5023" h="74209">
                    <a:moveTo>
                      <a:pt x="80351" y="0"/>
                    </a:moveTo>
                    <a:lnTo>
                      <a:pt x="5118" y="0"/>
                    </a:lnTo>
                    <a:cubicBezTo>
                      <a:pt x="2047" y="0"/>
                      <a:pt x="0" y="2047"/>
                      <a:pt x="0" y="5118"/>
                    </a:cubicBezTo>
                    <a:lnTo>
                      <a:pt x="0" y="69092"/>
                    </a:lnTo>
                    <a:cubicBezTo>
                      <a:pt x="0" y="72163"/>
                      <a:pt x="2047" y="74210"/>
                      <a:pt x="5118" y="74210"/>
                    </a:cubicBezTo>
                    <a:lnTo>
                      <a:pt x="79839" y="74210"/>
                    </a:lnTo>
                    <a:cubicBezTo>
                      <a:pt x="82910" y="74210"/>
                      <a:pt x="84957" y="72163"/>
                      <a:pt x="84957" y="69092"/>
                    </a:cubicBezTo>
                    <a:lnTo>
                      <a:pt x="84957" y="5118"/>
                    </a:lnTo>
                    <a:cubicBezTo>
                      <a:pt x="85469" y="2047"/>
                      <a:pt x="82910" y="0"/>
                      <a:pt x="80351" y="0"/>
                    </a:cubicBezTo>
                    <a:close/>
                  </a:path>
                </a:pathLst>
              </a:custGeom>
              <a:grpFill/>
              <a:ln w="511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52" name="Freeform: Shape 121">
                <a:extLst>
                  <a:ext uri="{FF2B5EF4-FFF2-40B4-BE49-F238E27FC236}">
                    <a16:creationId xmlns:a16="http://schemas.microsoft.com/office/drawing/2014/main" id="{B2FA3A22-9A46-482A-9807-C7FC81027EBD}"/>
                  </a:ext>
                </a:extLst>
              </p:cNvPr>
              <p:cNvSpPr/>
              <p:nvPr/>
            </p:nvSpPr>
            <p:spPr>
              <a:xfrm>
                <a:off x="3696723" y="209834"/>
                <a:ext cx="85023" cy="138183"/>
              </a:xfrm>
              <a:custGeom>
                <a:avLst/>
                <a:gdLst>
                  <a:gd name="connsiteX0" fmla="*/ 80351 w 85023"/>
                  <a:gd name="connsiteY0" fmla="*/ 0 h 138183"/>
                  <a:gd name="connsiteX1" fmla="*/ 5118 w 85023"/>
                  <a:gd name="connsiteY1" fmla="*/ 0 h 138183"/>
                  <a:gd name="connsiteX2" fmla="*/ 0 w 85023"/>
                  <a:gd name="connsiteY2" fmla="*/ 5118 h 138183"/>
                  <a:gd name="connsiteX3" fmla="*/ 0 w 85023"/>
                  <a:gd name="connsiteY3" fmla="*/ 133066 h 138183"/>
                  <a:gd name="connsiteX4" fmla="*/ 5118 w 85023"/>
                  <a:gd name="connsiteY4" fmla="*/ 138184 h 138183"/>
                  <a:gd name="connsiteX5" fmla="*/ 79839 w 85023"/>
                  <a:gd name="connsiteY5" fmla="*/ 138184 h 138183"/>
                  <a:gd name="connsiteX6" fmla="*/ 84957 w 85023"/>
                  <a:gd name="connsiteY6" fmla="*/ 133066 h 138183"/>
                  <a:gd name="connsiteX7" fmla="*/ 84957 w 85023"/>
                  <a:gd name="connsiteY7" fmla="*/ 5118 h 138183"/>
                  <a:gd name="connsiteX8" fmla="*/ 80351 w 85023"/>
                  <a:gd name="connsiteY8" fmla="*/ 0 h 1381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5023" h="138183">
                    <a:moveTo>
                      <a:pt x="80351" y="0"/>
                    </a:moveTo>
                    <a:lnTo>
                      <a:pt x="5118" y="0"/>
                    </a:lnTo>
                    <a:cubicBezTo>
                      <a:pt x="2047" y="0"/>
                      <a:pt x="0" y="2047"/>
                      <a:pt x="0" y="5118"/>
                    </a:cubicBezTo>
                    <a:lnTo>
                      <a:pt x="0" y="133066"/>
                    </a:lnTo>
                    <a:cubicBezTo>
                      <a:pt x="0" y="136136"/>
                      <a:pt x="2047" y="138184"/>
                      <a:pt x="5118" y="138184"/>
                    </a:cubicBezTo>
                    <a:lnTo>
                      <a:pt x="79839" y="138184"/>
                    </a:lnTo>
                    <a:cubicBezTo>
                      <a:pt x="82910" y="138184"/>
                      <a:pt x="84957" y="136136"/>
                      <a:pt x="84957" y="133066"/>
                    </a:cubicBezTo>
                    <a:lnTo>
                      <a:pt x="84957" y="5118"/>
                    </a:lnTo>
                    <a:cubicBezTo>
                      <a:pt x="85469" y="2559"/>
                      <a:pt x="82910" y="0"/>
                      <a:pt x="80351" y="0"/>
                    </a:cubicBezTo>
                    <a:close/>
                  </a:path>
                </a:pathLst>
              </a:custGeom>
              <a:grpFill/>
              <a:ln w="511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53" name="Freeform: Shape 122">
                <a:extLst>
                  <a:ext uri="{FF2B5EF4-FFF2-40B4-BE49-F238E27FC236}">
                    <a16:creationId xmlns:a16="http://schemas.microsoft.com/office/drawing/2014/main" id="{289416C5-3F83-4F48-8ECE-A64EAEEE169B}"/>
                  </a:ext>
                </a:extLst>
              </p:cNvPr>
              <p:cNvSpPr/>
              <p:nvPr/>
            </p:nvSpPr>
            <p:spPr>
              <a:xfrm>
                <a:off x="3824671" y="144836"/>
                <a:ext cx="85023" cy="202157"/>
              </a:xfrm>
              <a:custGeom>
                <a:avLst/>
                <a:gdLst>
                  <a:gd name="connsiteX0" fmla="*/ 80351 w 85023"/>
                  <a:gd name="connsiteY0" fmla="*/ 0 h 202157"/>
                  <a:gd name="connsiteX1" fmla="*/ 5118 w 85023"/>
                  <a:gd name="connsiteY1" fmla="*/ 0 h 202157"/>
                  <a:gd name="connsiteX2" fmla="*/ 0 w 85023"/>
                  <a:gd name="connsiteY2" fmla="*/ 5118 h 202157"/>
                  <a:gd name="connsiteX3" fmla="*/ 0 w 85023"/>
                  <a:gd name="connsiteY3" fmla="*/ 197040 h 202157"/>
                  <a:gd name="connsiteX4" fmla="*/ 5118 w 85023"/>
                  <a:gd name="connsiteY4" fmla="*/ 202157 h 202157"/>
                  <a:gd name="connsiteX5" fmla="*/ 79839 w 85023"/>
                  <a:gd name="connsiteY5" fmla="*/ 202157 h 202157"/>
                  <a:gd name="connsiteX6" fmla="*/ 84957 w 85023"/>
                  <a:gd name="connsiteY6" fmla="*/ 197040 h 202157"/>
                  <a:gd name="connsiteX7" fmla="*/ 84957 w 85023"/>
                  <a:gd name="connsiteY7" fmla="*/ 5118 h 202157"/>
                  <a:gd name="connsiteX8" fmla="*/ 80351 w 85023"/>
                  <a:gd name="connsiteY8" fmla="*/ 0 h 2021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5023" h="202157">
                    <a:moveTo>
                      <a:pt x="80351" y="0"/>
                    </a:moveTo>
                    <a:lnTo>
                      <a:pt x="5118" y="0"/>
                    </a:lnTo>
                    <a:cubicBezTo>
                      <a:pt x="2047" y="0"/>
                      <a:pt x="0" y="2047"/>
                      <a:pt x="0" y="5118"/>
                    </a:cubicBezTo>
                    <a:lnTo>
                      <a:pt x="0" y="197040"/>
                    </a:lnTo>
                    <a:cubicBezTo>
                      <a:pt x="0" y="200110"/>
                      <a:pt x="2047" y="202157"/>
                      <a:pt x="5118" y="202157"/>
                    </a:cubicBezTo>
                    <a:lnTo>
                      <a:pt x="79839" y="202157"/>
                    </a:lnTo>
                    <a:cubicBezTo>
                      <a:pt x="82910" y="202157"/>
                      <a:pt x="84957" y="200110"/>
                      <a:pt x="84957" y="197040"/>
                    </a:cubicBezTo>
                    <a:lnTo>
                      <a:pt x="84957" y="5118"/>
                    </a:lnTo>
                    <a:cubicBezTo>
                      <a:pt x="85469" y="2047"/>
                      <a:pt x="82910" y="0"/>
                      <a:pt x="80351" y="0"/>
                    </a:cubicBezTo>
                    <a:close/>
                  </a:path>
                </a:pathLst>
              </a:custGeom>
              <a:grpFill/>
              <a:ln w="511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54" name="Freeform: Shape 123">
                <a:extLst>
                  <a:ext uri="{FF2B5EF4-FFF2-40B4-BE49-F238E27FC236}">
                    <a16:creationId xmlns:a16="http://schemas.microsoft.com/office/drawing/2014/main" id="{660BB7D5-2FED-42B4-9762-1E643D5F6BB9}"/>
                  </a:ext>
                </a:extLst>
              </p:cNvPr>
              <p:cNvSpPr/>
              <p:nvPr/>
            </p:nvSpPr>
            <p:spPr>
              <a:xfrm>
                <a:off x="3952619" y="79327"/>
                <a:ext cx="85023" cy="266131"/>
              </a:xfrm>
              <a:custGeom>
                <a:avLst/>
                <a:gdLst>
                  <a:gd name="connsiteX0" fmla="*/ 80351 w 85023"/>
                  <a:gd name="connsiteY0" fmla="*/ 0 h 266131"/>
                  <a:gd name="connsiteX1" fmla="*/ 5118 w 85023"/>
                  <a:gd name="connsiteY1" fmla="*/ 0 h 266131"/>
                  <a:gd name="connsiteX2" fmla="*/ 0 w 85023"/>
                  <a:gd name="connsiteY2" fmla="*/ 5118 h 266131"/>
                  <a:gd name="connsiteX3" fmla="*/ 0 w 85023"/>
                  <a:gd name="connsiteY3" fmla="*/ 261013 h 266131"/>
                  <a:gd name="connsiteX4" fmla="*/ 5118 w 85023"/>
                  <a:gd name="connsiteY4" fmla="*/ 266131 h 266131"/>
                  <a:gd name="connsiteX5" fmla="*/ 79839 w 85023"/>
                  <a:gd name="connsiteY5" fmla="*/ 266131 h 266131"/>
                  <a:gd name="connsiteX6" fmla="*/ 84957 w 85023"/>
                  <a:gd name="connsiteY6" fmla="*/ 261013 h 266131"/>
                  <a:gd name="connsiteX7" fmla="*/ 84957 w 85023"/>
                  <a:gd name="connsiteY7" fmla="*/ 5118 h 266131"/>
                  <a:gd name="connsiteX8" fmla="*/ 80351 w 85023"/>
                  <a:gd name="connsiteY8" fmla="*/ 0 h 2661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5023" h="266131">
                    <a:moveTo>
                      <a:pt x="80351" y="0"/>
                    </a:moveTo>
                    <a:lnTo>
                      <a:pt x="5118" y="0"/>
                    </a:lnTo>
                    <a:cubicBezTo>
                      <a:pt x="2047" y="0"/>
                      <a:pt x="0" y="2047"/>
                      <a:pt x="0" y="5118"/>
                    </a:cubicBezTo>
                    <a:lnTo>
                      <a:pt x="0" y="261013"/>
                    </a:lnTo>
                    <a:cubicBezTo>
                      <a:pt x="0" y="264084"/>
                      <a:pt x="2047" y="266131"/>
                      <a:pt x="5118" y="266131"/>
                    </a:cubicBezTo>
                    <a:lnTo>
                      <a:pt x="79839" y="266131"/>
                    </a:lnTo>
                    <a:cubicBezTo>
                      <a:pt x="82910" y="266131"/>
                      <a:pt x="84957" y="264084"/>
                      <a:pt x="84957" y="261013"/>
                    </a:cubicBezTo>
                    <a:lnTo>
                      <a:pt x="84957" y="5118"/>
                    </a:lnTo>
                    <a:cubicBezTo>
                      <a:pt x="85469" y="2559"/>
                      <a:pt x="82910" y="0"/>
                      <a:pt x="80351" y="0"/>
                    </a:cubicBezTo>
                    <a:close/>
                  </a:path>
                </a:pathLst>
              </a:custGeom>
              <a:grpFill/>
              <a:ln w="511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sp>
          <p:nvSpPr>
            <p:cNvPr id="50" name="Freeform: Shape 119">
              <a:extLst>
                <a:ext uri="{FF2B5EF4-FFF2-40B4-BE49-F238E27FC236}">
                  <a16:creationId xmlns:a16="http://schemas.microsoft.com/office/drawing/2014/main" id="{3F942148-402A-43E3-A11F-1B4FD2F57C22}"/>
                </a:ext>
              </a:extLst>
            </p:cNvPr>
            <p:cNvSpPr/>
            <p:nvPr/>
          </p:nvSpPr>
          <p:spPr>
            <a:xfrm>
              <a:off x="3614590" y="31731"/>
              <a:ext cx="317045" cy="188339"/>
            </a:xfrm>
            <a:custGeom>
              <a:avLst/>
              <a:gdLst>
                <a:gd name="connsiteX0" fmla="*/ 317046 w 317045"/>
                <a:gd name="connsiteY0" fmla="*/ 0 h 188339"/>
                <a:gd name="connsiteX1" fmla="*/ 240277 w 317045"/>
                <a:gd name="connsiteY1" fmla="*/ 512 h 188339"/>
                <a:gd name="connsiteX2" fmla="*/ 255631 w 317045"/>
                <a:gd name="connsiteY2" fmla="*/ 27125 h 188339"/>
                <a:gd name="connsiteX3" fmla="*/ 3830 w 317045"/>
                <a:gd name="connsiteY3" fmla="*/ 174009 h 188339"/>
                <a:gd name="connsiteX4" fmla="*/ 1271 w 317045"/>
                <a:gd name="connsiteY4" fmla="*/ 184757 h 188339"/>
                <a:gd name="connsiteX5" fmla="*/ 7924 w 317045"/>
                <a:gd name="connsiteY5" fmla="*/ 188339 h 188339"/>
                <a:gd name="connsiteX6" fmla="*/ 12018 w 317045"/>
                <a:gd name="connsiteY6" fmla="*/ 187316 h 188339"/>
                <a:gd name="connsiteX7" fmla="*/ 263308 w 317045"/>
                <a:gd name="connsiteY7" fmla="*/ 39920 h 188339"/>
                <a:gd name="connsiteX8" fmla="*/ 278661 w 317045"/>
                <a:gd name="connsiteY8" fmla="*/ 66533 h 188339"/>
                <a:gd name="connsiteX9" fmla="*/ 317046 w 317045"/>
                <a:gd name="connsiteY9" fmla="*/ 0 h 1883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7045" h="188339">
                  <a:moveTo>
                    <a:pt x="317046" y="0"/>
                  </a:moveTo>
                  <a:lnTo>
                    <a:pt x="240277" y="512"/>
                  </a:lnTo>
                  <a:lnTo>
                    <a:pt x="255631" y="27125"/>
                  </a:lnTo>
                  <a:lnTo>
                    <a:pt x="3830" y="174009"/>
                  </a:lnTo>
                  <a:cubicBezTo>
                    <a:pt x="247" y="176056"/>
                    <a:pt x="-1288" y="180662"/>
                    <a:pt x="1271" y="184757"/>
                  </a:cubicBezTo>
                  <a:cubicBezTo>
                    <a:pt x="2806" y="187316"/>
                    <a:pt x="5365" y="188339"/>
                    <a:pt x="7924" y="188339"/>
                  </a:cubicBezTo>
                  <a:cubicBezTo>
                    <a:pt x="9459" y="188339"/>
                    <a:pt x="10483" y="187827"/>
                    <a:pt x="12018" y="187316"/>
                  </a:cubicBezTo>
                  <a:lnTo>
                    <a:pt x="263308" y="39920"/>
                  </a:lnTo>
                  <a:lnTo>
                    <a:pt x="278661" y="66533"/>
                  </a:lnTo>
                  <a:lnTo>
                    <a:pt x="317046" y="0"/>
                  </a:lnTo>
                  <a:close/>
                </a:path>
              </a:pathLst>
            </a:custGeom>
            <a:grpFill/>
            <a:ln w="511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grpSp>
        <p:nvGrpSpPr>
          <p:cNvPr id="55" name="Graphic 1">
            <a:extLst>
              <a:ext uri="{FF2B5EF4-FFF2-40B4-BE49-F238E27FC236}">
                <a16:creationId xmlns:a16="http://schemas.microsoft.com/office/drawing/2014/main" id="{60BCE992-769A-43BE-BBE3-28562662A002}"/>
              </a:ext>
            </a:extLst>
          </p:cNvPr>
          <p:cNvGrpSpPr/>
          <p:nvPr/>
        </p:nvGrpSpPr>
        <p:grpSpPr>
          <a:xfrm>
            <a:off x="7634321" y="2667668"/>
            <a:ext cx="452948" cy="516324"/>
            <a:chOff x="7722471" y="565529"/>
            <a:chExt cx="373095" cy="425298"/>
          </a:xfrm>
          <a:solidFill>
            <a:schemeClr val="accent4"/>
          </a:solidFill>
        </p:grpSpPr>
        <p:sp>
          <p:nvSpPr>
            <p:cNvPr id="56" name="Freeform: Shape 125">
              <a:extLst>
                <a:ext uri="{FF2B5EF4-FFF2-40B4-BE49-F238E27FC236}">
                  <a16:creationId xmlns:a16="http://schemas.microsoft.com/office/drawing/2014/main" id="{F821D7EA-D706-440F-8171-FEACC9B5EBC5}"/>
                </a:ext>
              </a:extLst>
            </p:cNvPr>
            <p:cNvSpPr/>
            <p:nvPr/>
          </p:nvSpPr>
          <p:spPr>
            <a:xfrm>
              <a:off x="7917975" y="763080"/>
              <a:ext cx="90075" cy="90075"/>
            </a:xfrm>
            <a:custGeom>
              <a:avLst/>
              <a:gdLst>
                <a:gd name="connsiteX0" fmla="*/ 45038 w 90075"/>
                <a:gd name="connsiteY0" fmla="*/ 90075 h 90075"/>
                <a:gd name="connsiteX1" fmla="*/ 0 w 90075"/>
                <a:gd name="connsiteY1" fmla="*/ 45038 h 90075"/>
                <a:gd name="connsiteX2" fmla="*/ 45038 w 90075"/>
                <a:gd name="connsiteY2" fmla="*/ 0 h 90075"/>
                <a:gd name="connsiteX3" fmla="*/ 90075 w 90075"/>
                <a:gd name="connsiteY3" fmla="*/ 45038 h 90075"/>
                <a:gd name="connsiteX4" fmla="*/ 45038 w 90075"/>
                <a:gd name="connsiteY4" fmla="*/ 90075 h 90075"/>
                <a:gd name="connsiteX5" fmla="*/ 45038 w 90075"/>
                <a:gd name="connsiteY5" fmla="*/ 10236 h 90075"/>
                <a:gd name="connsiteX6" fmla="*/ 10236 w 90075"/>
                <a:gd name="connsiteY6" fmla="*/ 45038 h 90075"/>
                <a:gd name="connsiteX7" fmla="*/ 45038 w 90075"/>
                <a:gd name="connsiteY7" fmla="*/ 79839 h 90075"/>
                <a:gd name="connsiteX8" fmla="*/ 79839 w 90075"/>
                <a:gd name="connsiteY8" fmla="*/ 45038 h 90075"/>
                <a:gd name="connsiteX9" fmla="*/ 45038 w 90075"/>
                <a:gd name="connsiteY9" fmla="*/ 10236 h 90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0075" h="90075">
                  <a:moveTo>
                    <a:pt x="45038" y="90075"/>
                  </a:moveTo>
                  <a:cubicBezTo>
                    <a:pt x="19960" y="90075"/>
                    <a:pt x="0" y="69604"/>
                    <a:pt x="0" y="45038"/>
                  </a:cubicBezTo>
                  <a:cubicBezTo>
                    <a:pt x="0" y="19960"/>
                    <a:pt x="20472" y="0"/>
                    <a:pt x="45038" y="0"/>
                  </a:cubicBezTo>
                  <a:cubicBezTo>
                    <a:pt x="69603" y="0"/>
                    <a:pt x="90075" y="20472"/>
                    <a:pt x="90075" y="45038"/>
                  </a:cubicBezTo>
                  <a:cubicBezTo>
                    <a:pt x="90075" y="70115"/>
                    <a:pt x="70115" y="90075"/>
                    <a:pt x="45038" y="90075"/>
                  </a:cubicBezTo>
                  <a:close/>
                  <a:moveTo>
                    <a:pt x="45038" y="10236"/>
                  </a:moveTo>
                  <a:cubicBezTo>
                    <a:pt x="25590" y="10236"/>
                    <a:pt x="10236" y="26101"/>
                    <a:pt x="10236" y="45038"/>
                  </a:cubicBezTo>
                  <a:cubicBezTo>
                    <a:pt x="10236" y="63974"/>
                    <a:pt x="26101" y="79839"/>
                    <a:pt x="45038" y="79839"/>
                  </a:cubicBezTo>
                  <a:cubicBezTo>
                    <a:pt x="63974" y="79839"/>
                    <a:pt x="79839" y="63974"/>
                    <a:pt x="79839" y="45038"/>
                  </a:cubicBezTo>
                  <a:cubicBezTo>
                    <a:pt x="79839" y="26101"/>
                    <a:pt x="64486" y="10236"/>
                    <a:pt x="45038" y="10236"/>
                  </a:cubicBezTo>
                  <a:close/>
                </a:path>
              </a:pathLst>
            </a:custGeom>
            <a:grpFill/>
            <a:ln w="511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57" name="Freeform: Shape 126">
              <a:extLst>
                <a:ext uri="{FF2B5EF4-FFF2-40B4-BE49-F238E27FC236}">
                  <a16:creationId xmlns:a16="http://schemas.microsoft.com/office/drawing/2014/main" id="{EDC6D0C6-6DAE-4FF8-B27F-CB98EC5DF475}"/>
                </a:ext>
              </a:extLst>
            </p:cNvPr>
            <p:cNvSpPr/>
            <p:nvPr/>
          </p:nvSpPr>
          <p:spPr>
            <a:xfrm>
              <a:off x="7939471" y="784575"/>
              <a:ext cx="47084" cy="47084"/>
            </a:xfrm>
            <a:custGeom>
              <a:avLst/>
              <a:gdLst>
                <a:gd name="connsiteX0" fmla="*/ 47085 w 47084"/>
                <a:gd name="connsiteY0" fmla="*/ 23542 h 47084"/>
                <a:gd name="connsiteX1" fmla="*/ 23543 w 47084"/>
                <a:gd name="connsiteY1" fmla="*/ 47085 h 47084"/>
                <a:gd name="connsiteX2" fmla="*/ 0 w 47084"/>
                <a:gd name="connsiteY2" fmla="*/ 23542 h 47084"/>
                <a:gd name="connsiteX3" fmla="*/ 23543 w 47084"/>
                <a:gd name="connsiteY3" fmla="*/ 0 h 47084"/>
                <a:gd name="connsiteX4" fmla="*/ 47085 w 47084"/>
                <a:gd name="connsiteY4" fmla="*/ 23542 h 47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084" h="47084">
                  <a:moveTo>
                    <a:pt x="47085" y="23542"/>
                  </a:moveTo>
                  <a:cubicBezTo>
                    <a:pt x="47085" y="36544"/>
                    <a:pt x="36545" y="47085"/>
                    <a:pt x="23543" y="47085"/>
                  </a:cubicBezTo>
                  <a:cubicBezTo>
                    <a:pt x="10540" y="47085"/>
                    <a:pt x="0" y="36544"/>
                    <a:pt x="0" y="23542"/>
                  </a:cubicBezTo>
                  <a:cubicBezTo>
                    <a:pt x="0" y="10540"/>
                    <a:pt x="10541" y="0"/>
                    <a:pt x="23543" y="0"/>
                  </a:cubicBezTo>
                  <a:cubicBezTo>
                    <a:pt x="36545" y="0"/>
                    <a:pt x="47085" y="10540"/>
                    <a:pt x="47085" y="23542"/>
                  </a:cubicBezTo>
                  <a:close/>
                </a:path>
              </a:pathLst>
            </a:custGeom>
            <a:grpFill/>
            <a:ln w="511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58" name="Freeform: Shape 127">
              <a:extLst>
                <a:ext uri="{FF2B5EF4-FFF2-40B4-BE49-F238E27FC236}">
                  <a16:creationId xmlns:a16="http://schemas.microsoft.com/office/drawing/2014/main" id="{1398F466-8C59-48A0-9CEA-9D18E85EEE5D}"/>
                </a:ext>
              </a:extLst>
            </p:cNvPr>
            <p:cNvSpPr/>
            <p:nvPr/>
          </p:nvSpPr>
          <p:spPr>
            <a:xfrm>
              <a:off x="7722471" y="565529"/>
              <a:ext cx="373095" cy="425298"/>
            </a:xfrm>
            <a:custGeom>
              <a:avLst/>
              <a:gdLst>
                <a:gd name="connsiteX0" fmla="*/ 351600 w 373095"/>
                <a:gd name="connsiteY0" fmla="*/ 0 h 425298"/>
                <a:gd name="connsiteX1" fmla="*/ 20472 w 373095"/>
                <a:gd name="connsiteY1" fmla="*/ 0 h 425298"/>
                <a:gd name="connsiteX2" fmla="*/ 0 w 373095"/>
                <a:gd name="connsiteY2" fmla="*/ 20472 h 425298"/>
                <a:gd name="connsiteX3" fmla="*/ 0 w 373095"/>
                <a:gd name="connsiteY3" fmla="*/ 351600 h 425298"/>
                <a:gd name="connsiteX4" fmla="*/ 20472 w 373095"/>
                <a:gd name="connsiteY4" fmla="*/ 372072 h 425298"/>
                <a:gd name="connsiteX5" fmla="*/ 53226 w 373095"/>
                <a:gd name="connsiteY5" fmla="*/ 372072 h 425298"/>
                <a:gd name="connsiteX6" fmla="*/ 53226 w 373095"/>
                <a:gd name="connsiteY6" fmla="*/ 409945 h 425298"/>
                <a:gd name="connsiteX7" fmla="*/ 68580 w 373095"/>
                <a:gd name="connsiteY7" fmla="*/ 425298 h 425298"/>
                <a:gd name="connsiteX8" fmla="*/ 101335 w 373095"/>
                <a:gd name="connsiteY8" fmla="*/ 425298 h 425298"/>
                <a:gd name="connsiteX9" fmla="*/ 116688 w 373095"/>
                <a:gd name="connsiteY9" fmla="*/ 409945 h 425298"/>
                <a:gd name="connsiteX10" fmla="*/ 116688 w 373095"/>
                <a:gd name="connsiteY10" fmla="*/ 372072 h 425298"/>
                <a:gd name="connsiteX11" fmla="*/ 256407 w 373095"/>
                <a:gd name="connsiteY11" fmla="*/ 372072 h 425298"/>
                <a:gd name="connsiteX12" fmla="*/ 256407 w 373095"/>
                <a:gd name="connsiteY12" fmla="*/ 409945 h 425298"/>
                <a:gd name="connsiteX13" fmla="*/ 271761 w 373095"/>
                <a:gd name="connsiteY13" fmla="*/ 425298 h 425298"/>
                <a:gd name="connsiteX14" fmla="*/ 304516 w 373095"/>
                <a:gd name="connsiteY14" fmla="*/ 425298 h 425298"/>
                <a:gd name="connsiteX15" fmla="*/ 319869 w 373095"/>
                <a:gd name="connsiteY15" fmla="*/ 409945 h 425298"/>
                <a:gd name="connsiteX16" fmla="*/ 319869 w 373095"/>
                <a:gd name="connsiteY16" fmla="*/ 372072 h 425298"/>
                <a:gd name="connsiteX17" fmla="*/ 352624 w 373095"/>
                <a:gd name="connsiteY17" fmla="*/ 372072 h 425298"/>
                <a:gd name="connsiteX18" fmla="*/ 373096 w 373095"/>
                <a:gd name="connsiteY18" fmla="*/ 351600 h 425298"/>
                <a:gd name="connsiteX19" fmla="*/ 373096 w 373095"/>
                <a:gd name="connsiteY19" fmla="*/ 20472 h 425298"/>
                <a:gd name="connsiteX20" fmla="*/ 351600 w 373095"/>
                <a:gd name="connsiteY20" fmla="*/ 0 h 425298"/>
                <a:gd name="connsiteX21" fmla="*/ 57832 w 373095"/>
                <a:gd name="connsiteY21" fmla="*/ 73186 h 425298"/>
                <a:gd name="connsiteX22" fmla="*/ 73186 w 373095"/>
                <a:gd name="connsiteY22" fmla="*/ 57832 h 425298"/>
                <a:gd name="connsiteX23" fmla="*/ 298374 w 373095"/>
                <a:gd name="connsiteY23" fmla="*/ 57832 h 425298"/>
                <a:gd name="connsiteX24" fmla="*/ 313728 w 373095"/>
                <a:gd name="connsiteY24" fmla="*/ 73186 h 425298"/>
                <a:gd name="connsiteX25" fmla="*/ 313728 w 373095"/>
                <a:gd name="connsiteY25" fmla="*/ 298374 h 425298"/>
                <a:gd name="connsiteX26" fmla="*/ 298374 w 373095"/>
                <a:gd name="connsiteY26" fmla="*/ 313728 h 425298"/>
                <a:gd name="connsiteX27" fmla="*/ 73186 w 373095"/>
                <a:gd name="connsiteY27" fmla="*/ 313728 h 425298"/>
                <a:gd name="connsiteX28" fmla="*/ 57832 w 373095"/>
                <a:gd name="connsiteY28" fmla="*/ 298374 h 425298"/>
                <a:gd name="connsiteX29" fmla="*/ 57832 w 373095"/>
                <a:gd name="connsiteY29" fmla="*/ 73186 h 425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373095" h="425298">
                  <a:moveTo>
                    <a:pt x="351600" y="0"/>
                  </a:moveTo>
                  <a:lnTo>
                    <a:pt x="20472" y="0"/>
                  </a:lnTo>
                  <a:cubicBezTo>
                    <a:pt x="9212" y="0"/>
                    <a:pt x="0" y="9212"/>
                    <a:pt x="0" y="20472"/>
                  </a:cubicBezTo>
                  <a:lnTo>
                    <a:pt x="0" y="351600"/>
                  </a:lnTo>
                  <a:cubicBezTo>
                    <a:pt x="0" y="362860"/>
                    <a:pt x="9212" y="372072"/>
                    <a:pt x="20472" y="372072"/>
                  </a:cubicBezTo>
                  <a:lnTo>
                    <a:pt x="53226" y="372072"/>
                  </a:lnTo>
                  <a:lnTo>
                    <a:pt x="53226" y="409945"/>
                  </a:lnTo>
                  <a:cubicBezTo>
                    <a:pt x="53226" y="418645"/>
                    <a:pt x="59880" y="425298"/>
                    <a:pt x="68580" y="425298"/>
                  </a:cubicBezTo>
                  <a:lnTo>
                    <a:pt x="101335" y="425298"/>
                  </a:lnTo>
                  <a:cubicBezTo>
                    <a:pt x="110035" y="425298"/>
                    <a:pt x="116688" y="418645"/>
                    <a:pt x="116688" y="409945"/>
                  </a:cubicBezTo>
                  <a:lnTo>
                    <a:pt x="116688" y="372072"/>
                  </a:lnTo>
                  <a:lnTo>
                    <a:pt x="256407" y="372072"/>
                  </a:lnTo>
                  <a:lnTo>
                    <a:pt x="256407" y="409945"/>
                  </a:lnTo>
                  <a:cubicBezTo>
                    <a:pt x="256407" y="418645"/>
                    <a:pt x="263061" y="425298"/>
                    <a:pt x="271761" y="425298"/>
                  </a:cubicBezTo>
                  <a:lnTo>
                    <a:pt x="304516" y="425298"/>
                  </a:lnTo>
                  <a:cubicBezTo>
                    <a:pt x="313216" y="425298"/>
                    <a:pt x="319869" y="418645"/>
                    <a:pt x="319869" y="409945"/>
                  </a:cubicBezTo>
                  <a:lnTo>
                    <a:pt x="319869" y="372072"/>
                  </a:lnTo>
                  <a:lnTo>
                    <a:pt x="352624" y="372072"/>
                  </a:lnTo>
                  <a:cubicBezTo>
                    <a:pt x="363884" y="372072"/>
                    <a:pt x="373096" y="362860"/>
                    <a:pt x="373096" y="351600"/>
                  </a:cubicBezTo>
                  <a:lnTo>
                    <a:pt x="373096" y="20472"/>
                  </a:lnTo>
                  <a:cubicBezTo>
                    <a:pt x="372072" y="9212"/>
                    <a:pt x="362860" y="0"/>
                    <a:pt x="351600" y="0"/>
                  </a:cubicBezTo>
                  <a:close/>
                  <a:moveTo>
                    <a:pt x="57832" y="73186"/>
                  </a:moveTo>
                  <a:cubicBezTo>
                    <a:pt x="57832" y="64486"/>
                    <a:pt x="64486" y="57832"/>
                    <a:pt x="73186" y="57832"/>
                  </a:cubicBezTo>
                  <a:lnTo>
                    <a:pt x="298374" y="57832"/>
                  </a:lnTo>
                  <a:cubicBezTo>
                    <a:pt x="307075" y="57832"/>
                    <a:pt x="313728" y="64486"/>
                    <a:pt x="313728" y="73186"/>
                  </a:cubicBezTo>
                  <a:lnTo>
                    <a:pt x="313728" y="298374"/>
                  </a:lnTo>
                  <a:cubicBezTo>
                    <a:pt x="313728" y="307075"/>
                    <a:pt x="307075" y="313728"/>
                    <a:pt x="298374" y="313728"/>
                  </a:cubicBezTo>
                  <a:lnTo>
                    <a:pt x="73186" y="313728"/>
                  </a:lnTo>
                  <a:cubicBezTo>
                    <a:pt x="64486" y="313728"/>
                    <a:pt x="57832" y="307075"/>
                    <a:pt x="57832" y="298374"/>
                  </a:cubicBezTo>
                  <a:lnTo>
                    <a:pt x="57832" y="73186"/>
                  </a:lnTo>
                  <a:close/>
                </a:path>
              </a:pathLst>
            </a:custGeom>
            <a:grpFill/>
            <a:ln w="511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grpSp>
        <p:nvGrpSpPr>
          <p:cNvPr id="59" name="Graphic 1">
            <a:extLst>
              <a:ext uri="{FF2B5EF4-FFF2-40B4-BE49-F238E27FC236}">
                <a16:creationId xmlns:a16="http://schemas.microsoft.com/office/drawing/2014/main" id="{502643AE-A653-4D82-8767-8E171246B109}"/>
              </a:ext>
            </a:extLst>
          </p:cNvPr>
          <p:cNvGrpSpPr/>
          <p:nvPr/>
        </p:nvGrpSpPr>
        <p:grpSpPr>
          <a:xfrm>
            <a:off x="3784378" y="5170043"/>
            <a:ext cx="518810" cy="369068"/>
            <a:chOff x="3593342" y="1224204"/>
            <a:chExt cx="427345" cy="304003"/>
          </a:xfrm>
          <a:solidFill>
            <a:schemeClr val="accent1"/>
          </a:solidFill>
        </p:grpSpPr>
        <p:sp>
          <p:nvSpPr>
            <p:cNvPr id="60" name="Freeform: Shape 129">
              <a:extLst>
                <a:ext uri="{FF2B5EF4-FFF2-40B4-BE49-F238E27FC236}">
                  <a16:creationId xmlns:a16="http://schemas.microsoft.com/office/drawing/2014/main" id="{2B0E4FC2-2529-499A-B1BB-DE6E56193A70}"/>
                </a:ext>
              </a:extLst>
            </p:cNvPr>
            <p:cNvSpPr/>
            <p:nvPr/>
          </p:nvSpPr>
          <p:spPr>
            <a:xfrm>
              <a:off x="3593342" y="1224204"/>
              <a:ext cx="150466" cy="149954"/>
            </a:xfrm>
            <a:custGeom>
              <a:avLst/>
              <a:gdLst>
                <a:gd name="connsiteX0" fmla="*/ 150467 w 150466"/>
                <a:gd name="connsiteY0" fmla="*/ 52714 h 149954"/>
                <a:gd name="connsiteX1" fmla="*/ 120271 w 150466"/>
                <a:gd name="connsiteY1" fmla="*/ 22519 h 149954"/>
                <a:gd name="connsiteX2" fmla="*/ 103894 w 150466"/>
                <a:gd name="connsiteY2" fmla="*/ 6141 h 149954"/>
                <a:gd name="connsiteX3" fmla="*/ 74721 w 150466"/>
                <a:gd name="connsiteY3" fmla="*/ 6141 h 149954"/>
                <a:gd name="connsiteX4" fmla="*/ 6141 w 150466"/>
                <a:gd name="connsiteY4" fmla="*/ 74722 h 149954"/>
                <a:gd name="connsiteX5" fmla="*/ 6141 w 150466"/>
                <a:gd name="connsiteY5" fmla="*/ 103894 h 149954"/>
                <a:gd name="connsiteX6" fmla="*/ 22007 w 150466"/>
                <a:gd name="connsiteY6" fmla="*/ 119247 h 149954"/>
                <a:gd name="connsiteX7" fmla="*/ 52714 w 150466"/>
                <a:gd name="connsiteY7" fmla="*/ 149955 h 149954"/>
                <a:gd name="connsiteX8" fmla="*/ 150467 w 150466"/>
                <a:gd name="connsiteY8" fmla="*/ 52714 h 149954"/>
                <a:gd name="connsiteX9" fmla="*/ 52714 w 150466"/>
                <a:gd name="connsiteY9" fmla="*/ 136136 h 149954"/>
                <a:gd name="connsiteX10" fmla="*/ 33266 w 150466"/>
                <a:gd name="connsiteY10" fmla="*/ 116688 h 149954"/>
                <a:gd name="connsiteX11" fmla="*/ 116688 w 150466"/>
                <a:gd name="connsiteY11" fmla="*/ 33266 h 149954"/>
                <a:gd name="connsiteX12" fmla="*/ 136136 w 150466"/>
                <a:gd name="connsiteY12" fmla="*/ 52714 h 149954"/>
                <a:gd name="connsiteX13" fmla="*/ 52714 w 150466"/>
                <a:gd name="connsiteY13" fmla="*/ 136136 h 1499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50466" h="149954">
                  <a:moveTo>
                    <a:pt x="150467" y="52714"/>
                  </a:moveTo>
                  <a:lnTo>
                    <a:pt x="120271" y="22519"/>
                  </a:lnTo>
                  <a:lnTo>
                    <a:pt x="103894" y="6141"/>
                  </a:lnTo>
                  <a:cubicBezTo>
                    <a:pt x="95705" y="-2047"/>
                    <a:pt x="82910" y="-2047"/>
                    <a:pt x="74721" y="6141"/>
                  </a:cubicBezTo>
                  <a:lnTo>
                    <a:pt x="6141" y="74722"/>
                  </a:lnTo>
                  <a:cubicBezTo>
                    <a:pt x="-2047" y="82910"/>
                    <a:pt x="-2047" y="95705"/>
                    <a:pt x="6141" y="103894"/>
                  </a:cubicBezTo>
                  <a:lnTo>
                    <a:pt x="22007" y="119247"/>
                  </a:lnTo>
                  <a:lnTo>
                    <a:pt x="52714" y="149955"/>
                  </a:lnTo>
                  <a:lnTo>
                    <a:pt x="150467" y="52714"/>
                  </a:lnTo>
                  <a:close/>
                  <a:moveTo>
                    <a:pt x="52714" y="136136"/>
                  </a:moveTo>
                  <a:lnTo>
                    <a:pt x="33266" y="116688"/>
                  </a:lnTo>
                  <a:lnTo>
                    <a:pt x="116688" y="33266"/>
                  </a:lnTo>
                  <a:lnTo>
                    <a:pt x="136136" y="52714"/>
                  </a:lnTo>
                  <a:lnTo>
                    <a:pt x="52714" y="136136"/>
                  </a:lnTo>
                  <a:close/>
                </a:path>
              </a:pathLst>
            </a:custGeom>
            <a:grpFill/>
            <a:ln w="511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61" name="Freeform: Shape 130">
              <a:extLst>
                <a:ext uri="{FF2B5EF4-FFF2-40B4-BE49-F238E27FC236}">
                  <a16:creationId xmlns:a16="http://schemas.microsoft.com/office/drawing/2014/main" id="{BF681707-FE78-4630-A351-19D938896EEB}"/>
                </a:ext>
              </a:extLst>
            </p:cNvPr>
            <p:cNvSpPr/>
            <p:nvPr/>
          </p:nvSpPr>
          <p:spPr>
            <a:xfrm>
              <a:off x="3646056" y="1262588"/>
              <a:ext cx="237000" cy="265619"/>
            </a:xfrm>
            <a:custGeom>
              <a:avLst/>
              <a:gdLst>
                <a:gd name="connsiteX0" fmla="*/ 150467 w 237000"/>
                <a:gd name="connsiteY0" fmla="*/ 262549 h 265619"/>
                <a:gd name="connsiteX1" fmla="*/ 157632 w 237000"/>
                <a:gd name="connsiteY1" fmla="*/ 265620 h 265619"/>
                <a:gd name="connsiteX2" fmla="*/ 165308 w 237000"/>
                <a:gd name="connsiteY2" fmla="*/ 262549 h 265619"/>
                <a:gd name="connsiteX3" fmla="*/ 233888 w 237000"/>
                <a:gd name="connsiteY3" fmla="*/ 193969 h 265619"/>
                <a:gd name="connsiteX4" fmla="*/ 235936 w 237000"/>
                <a:gd name="connsiteY4" fmla="*/ 191410 h 265619"/>
                <a:gd name="connsiteX5" fmla="*/ 233888 w 237000"/>
                <a:gd name="connsiteY5" fmla="*/ 179639 h 265619"/>
                <a:gd name="connsiteX6" fmla="*/ 157632 w 237000"/>
                <a:gd name="connsiteY6" fmla="*/ 103382 h 265619"/>
                <a:gd name="connsiteX7" fmla="*/ 144837 w 237000"/>
                <a:gd name="connsiteY7" fmla="*/ 115665 h 265619"/>
                <a:gd name="connsiteX8" fmla="*/ 103894 w 237000"/>
                <a:gd name="connsiteY8" fmla="*/ 132554 h 265619"/>
                <a:gd name="connsiteX9" fmla="*/ 103894 w 237000"/>
                <a:gd name="connsiteY9" fmla="*/ 132554 h 265619"/>
                <a:gd name="connsiteX10" fmla="*/ 62950 w 237000"/>
                <a:gd name="connsiteY10" fmla="*/ 115665 h 265619"/>
                <a:gd name="connsiteX11" fmla="*/ 59368 w 237000"/>
                <a:gd name="connsiteY11" fmla="*/ 112082 h 265619"/>
                <a:gd name="connsiteX12" fmla="*/ 150467 w 237000"/>
                <a:gd name="connsiteY12" fmla="*/ 20983 h 265619"/>
                <a:gd name="connsiteX13" fmla="*/ 135625 w 237000"/>
                <a:gd name="connsiteY13" fmla="*/ 6141 h 265619"/>
                <a:gd name="connsiteX14" fmla="*/ 106453 w 237000"/>
                <a:gd name="connsiteY14" fmla="*/ 6141 h 265619"/>
                <a:gd name="connsiteX15" fmla="*/ 0 w 237000"/>
                <a:gd name="connsiteY15" fmla="*/ 112594 h 265619"/>
                <a:gd name="connsiteX16" fmla="*/ 78816 w 237000"/>
                <a:gd name="connsiteY16" fmla="*/ 190898 h 265619"/>
                <a:gd name="connsiteX17" fmla="*/ 150467 w 237000"/>
                <a:gd name="connsiteY17" fmla="*/ 262549 h 2656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37000" h="265619">
                  <a:moveTo>
                    <a:pt x="150467" y="262549"/>
                  </a:moveTo>
                  <a:cubicBezTo>
                    <a:pt x="152514" y="264596"/>
                    <a:pt x="154561" y="265620"/>
                    <a:pt x="157632" y="265620"/>
                  </a:cubicBezTo>
                  <a:cubicBezTo>
                    <a:pt x="160191" y="265620"/>
                    <a:pt x="163261" y="264596"/>
                    <a:pt x="165308" y="262549"/>
                  </a:cubicBezTo>
                  <a:lnTo>
                    <a:pt x="233888" y="193969"/>
                  </a:lnTo>
                  <a:cubicBezTo>
                    <a:pt x="234912" y="192945"/>
                    <a:pt x="235424" y="192433"/>
                    <a:pt x="235936" y="191410"/>
                  </a:cubicBezTo>
                  <a:cubicBezTo>
                    <a:pt x="237983" y="187315"/>
                    <a:pt x="236959" y="182709"/>
                    <a:pt x="233888" y="179639"/>
                  </a:cubicBezTo>
                  <a:lnTo>
                    <a:pt x="157632" y="103382"/>
                  </a:lnTo>
                  <a:lnTo>
                    <a:pt x="144837" y="115665"/>
                  </a:lnTo>
                  <a:cubicBezTo>
                    <a:pt x="134089" y="126412"/>
                    <a:pt x="119247" y="132554"/>
                    <a:pt x="103894" y="132554"/>
                  </a:cubicBezTo>
                  <a:cubicBezTo>
                    <a:pt x="103894" y="132554"/>
                    <a:pt x="103894" y="132554"/>
                    <a:pt x="103894" y="132554"/>
                  </a:cubicBezTo>
                  <a:cubicBezTo>
                    <a:pt x="88540" y="132554"/>
                    <a:pt x="73698" y="126412"/>
                    <a:pt x="62950" y="115665"/>
                  </a:cubicBezTo>
                  <a:lnTo>
                    <a:pt x="59368" y="112082"/>
                  </a:lnTo>
                  <a:lnTo>
                    <a:pt x="150467" y="20983"/>
                  </a:lnTo>
                  <a:lnTo>
                    <a:pt x="135625" y="6141"/>
                  </a:lnTo>
                  <a:cubicBezTo>
                    <a:pt x="127436" y="-2047"/>
                    <a:pt x="114641" y="-2047"/>
                    <a:pt x="106453" y="6141"/>
                  </a:cubicBezTo>
                  <a:lnTo>
                    <a:pt x="0" y="112594"/>
                  </a:lnTo>
                  <a:lnTo>
                    <a:pt x="78816" y="190898"/>
                  </a:lnTo>
                  <a:lnTo>
                    <a:pt x="150467" y="262549"/>
                  </a:lnTo>
                  <a:close/>
                </a:path>
              </a:pathLst>
            </a:custGeom>
            <a:grpFill/>
            <a:ln w="511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62" name="Freeform: Shape 131">
              <a:extLst>
                <a:ext uri="{FF2B5EF4-FFF2-40B4-BE49-F238E27FC236}">
                  <a16:creationId xmlns:a16="http://schemas.microsoft.com/office/drawing/2014/main" id="{4CA8BA74-AEBE-4117-889F-D492CA9E3262}"/>
                </a:ext>
              </a:extLst>
            </p:cNvPr>
            <p:cNvSpPr/>
            <p:nvPr/>
          </p:nvSpPr>
          <p:spPr>
            <a:xfrm>
              <a:off x="3686999" y="1271800"/>
              <a:ext cx="26101" cy="26101"/>
            </a:xfrm>
            <a:custGeom>
              <a:avLst/>
              <a:gdLst>
                <a:gd name="connsiteX0" fmla="*/ 5118 w 26101"/>
                <a:gd name="connsiteY0" fmla="*/ 26101 h 26101"/>
                <a:gd name="connsiteX1" fmla="*/ 1535 w 26101"/>
                <a:gd name="connsiteY1" fmla="*/ 24566 h 26101"/>
                <a:gd name="connsiteX2" fmla="*/ 1535 w 26101"/>
                <a:gd name="connsiteY2" fmla="*/ 17401 h 26101"/>
                <a:gd name="connsiteX3" fmla="*/ 17401 w 26101"/>
                <a:gd name="connsiteY3" fmla="*/ 1535 h 26101"/>
                <a:gd name="connsiteX4" fmla="*/ 24566 w 26101"/>
                <a:gd name="connsiteY4" fmla="*/ 1535 h 26101"/>
                <a:gd name="connsiteX5" fmla="*/ 24566 w 26101"/>
                <a:gd name="connsiteY5" fmla="*/ 8700 h 26101"/>
                <a:gd name="connsiteX6" fmla="*/ 8700 w 26101"/>
                <a:gd name="connsiteY6" fmla="*/ 24566 h 26101"/>
                <a:gd name="connsiteX7" fmla="*/ 5118 w 26101"/>
                <a:gd name="connsiteY7" fmla="*/ 26101 h 261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101" h="26101">
                  <a:moveTo>
                    <a:pt x="5118" y="26101"/>
                  </a:moveTo>
                  <a:cubicBezTo>
                    <a:pt x="3583" y="26101"/>
                    <a:pt x="2559" y="25590"/>
                    <a:pt x="1535" y="24566"/>
                  </a:cubicBezTo>
                  <a:cubicBezTo>
                    <a:pt x="-512" y="22519"/>
                    <a:pt x="-512" y="19448"/>
                    <a:pt x="1535" y="17401"/>
                  </a:cubicBezTo>
                  <a:lnTo>
                    <a:pt x="17401" y="1535"/>
                  </a:lnTo>
                  <a:cubicBezTo>
                    <a:pt x="19448" y="-512"/>
                    <a:pt x="22519" y="-512"/>
                    <a:pt x="24566" y="1535"/>
                  </a:cubicBezTo>
                  <a:cubicBezTo>
                    <a:pt x="26613" y="3583"/>
                    <a:pt x="26613" y="6653"/>
                    <a:pt x="24566" y="8700"/>
                  </a:cubicBezTo>
                  <a:lnTo>
                    <a:pt x="8700" y="24566"/>
                  </a:lnTo>
                  <a:cubicBezTo>
                    <a:pt x="7677" y="25590"/>
                    <a:pt x="6141" y="26101"/>
                    <a:pt x="5118" y="26101"/>
                  </a:cubicBezTo>
                  <a:close/>
                </a:path>
              </a:pathLst>
            </a:custGeom>
            <a:grpFill/>
            <a:ln w="511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63" name="Freeform: Shape 132">
              <a:extLst>
                <a:ext uri="{FF2B5EF4-FFF2-40B4-BE49-F238E27FC236}">
                  <a16:creationId xmlns:a16="http://schemas.microsoft.com/office/drawing/2014/main" id="{BF9DE729-7638-4441-9779-4A0034A5BB5C}"/>
                </a:ext>
              </a:extLst>
            </p:cNvPr>
            <p:cNvSpPr/>
            <p:nvPr/>
          </p:nvSpPr>
          <p:spPr>
            <a:xfrm>
              <a:off x="3895810" y="1275383"/>
              <a:ext cx="26101" cy="26101"/>
            </a:xfrm>
            <a:custGeom>
              <a:avLst/>
              <a:gdLst>
                <a:gd name="connsiteX0" fmla="*/ 20983 w 26101"/>
                <a:gd name="connsiteY0" fmla="*/ 26101 h 26101"/>
                <a:gd name="connsiteX1" fmla="*/ 17401 w 26101"/>
                <a:gd name="connsiteY1" fmla="*/ 24566 h 26101"/>
                <a:gd name="connsiteX2" fmla="*/ 1535 w 26101"/>
                <a:gd name="connsiteY2" fmla="*/ 8700 h 26101"/>
                <a:gd name="connsiteX3" fmla="*/ 1535 w 26101"/>
                <a:gd name="connsiteY3" fmla="*/ 1535 h 26101"/>
                <a:gd name="connsiteX4" fmla="*/ 8700 w 26101"/>
                <a:gd name="connsiteY4" fmla="*/ 1535 h 26101"/>
                <a:gd name="connsiteX5" fmla="*/ 24566 w 26101"/>
                <a:gd name="connsiteY5" fmla="*/ 17401 h 26101"/>
                <a:gd name="connsiteX6" fmla="*/ 24566 w 26101"/>
                <a:gd name="connsiteY6" fmla="*/ 24566 h 26101"/>
                <a:gd name="connsiteX7" fmla="*/ 20983 w 26101"/>
                <a:gd name="connsiteY7" fmla="*/ 26101 h 261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101" h="26101">
                  <a:moveTo>
                    <a:pt x="20983" y="26101"/>
                  </a:moveTo>
                  <a:cubicBezTo>
                    <a:pt x="19448" y="26101"/>
                    <a:pt x="18424" y="25590"/>
                    <a:pt x="17401" y="24566"/>
                  </a:cubicBezTo>
                  <a:lnTo>
                    <a:pt x="1535" y="8700"/>
                  </a:lnTo>
                  <a:cubicBezTo>
                    <a:pt x="-512" y="6653"/>
                    <a:pt x="-512" y="3582"/>
                    <a:pt x="1535" y="1535"/>
                  </a:cubicBezTo>
                  <a:cubicBezTo>
                    <a:pt x="3583" y="-512"/>
                    <a:pt x="6653" y="-512"/>
                    <a:pt x="8700" y="1535"/>
                  </a:cubicBezTo>
                  <a:lnTo>
                    <a:pt x="24566" y="17401"/>
                  </a:lnTo>
                  <a:cubicBezTo>
                    <a:pt x="26613" y="19448"/>
                    <a:pt x="26613" y="22519"/>
                    <a:pt x="24566" y="24566"/>
                  </a:cubicBezTo>
                  <a:cubicBezTo>
                    <a:pt x="23542" y="25590"/>
                    <a:pt x="22007" y="26101"/>
                    <a:pt x="20983" y="26101"/>
                  </a:cubicBezTo>
                  <a:close/>
                </a:path>
              </a:pathLst>
            </a:custGeom>
            <a:grpFill/>
            <a:ln w="511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64" name="Freeform: Shape 133">
              <a:extLst>
                <a:ext uri="{FF2B5EF4-FFF2-40B4-BE49-F238E27FC236}">
                  <a16:creationId xmlns:a16="http://schemas.microsoft.com/office/drawing/2014/main" id="{178031A7-38CE-4434-842A-801A4AB1A5A1}"/>
                </a:ext>
              </a:extLst>
            </p:cNvPr>
            <p:cNvSpPr/>
            <p:nvPr/>
          </p:nvSpPr>
          <p:spPr>
            <a:xfrm>
              <a:off x="3720266" y="1231881"/>
              <a:ext cx="300421" cy="227235"/>
            </a:xfrm>
            <a:custGeom>
              <a:avLst/>
              <a:gdLst>
                <a:gd name="connsiteX0" fmla="*/ 294280 w 300421"/>
                <a:gd name="connsiteY0" fmla="*/ 74722 h 227235"/>
                <a:gd name="connsiteX1" fmla="*/ 225700 w 300421"/>
                <a:gd name="connsiteY1" fmla="*/ 6141 h 227235"/>
                <a:gd name="connsiteX2" fmla="*/ 196528 w 300421"/>
                <a:gd name="connsiteY2" fmla="*/ 6141 h 227235"/>
                <a:gd name="connsiteX3" fmla="*/ 180662 w 300421"/>
                <a:gd name="connsiteY3" fmla="*/ 22007 h 227235"/>
                <a:gd name="connsiteX4" fmla="*/ 157632 w 300421"/>
                <a:gd name="connsiteY4" fmla="*/ 45038 h 227235"/>
                <a:gd name="connsiteX5" fmla="*/ 141766 w 300421"/>
                <a:gd name="connsiteY5" fmla="*/ 29172 h 227235"/>
                <a:gd name="connsiteX6" fmla="*/ 120271 w 300421"/>
                <a:gd name="connsiteY6" fmla="*/ 19960 h 227235"/>
                <a:gd name="connsiteX7" fmla="*/ 98776 w 300421"/>
                <a:gd name="connsiteY7" fmla="*/ 29172 h 227235"/>
                <a:gd name="connsiteX8" fmla="*/ 83934 w 300421"/>
                <a:gd name="connsiteY8" fmla="*/ 44014 h 227235"/>
                <a:gd name="connsiteX9" fmla="*/ 91099 w 300421"/>
                <a:gd name="connsiteY9" fmla="*/ 51179 h 227235"/>
                <a:gd name="connsiteX10" fmla="*/ 91099 w 300421"/>
                <a:gd name="connsiteY10" fmla="*/ 51179 h 227235"/>
                <a:gd name="connsiteX11" fmla="*/ 91099 w 300421"/>
                <a:gd name="connsiteY11" fmla="*/ 51179 h 227235"/>
                <a:gd name="connsiteX12" fmla="*/ 43502 w 300421"/>
                <a:gd name="connsiteY12" fmla="*/ 98776 h 227235"/>
                <a:gd name="connsiteX13" fmla="*/ 0 w 300421"/>
                <a:gd name="connsiteY13" fmla="*/ 142278 h 227235"/>
                <a:gd name="connsiteX14" fmla="*/ 5118 w 300421"/>
                <a:gd name="connsiteY14" fmla="*/ 145861 h 227235"/>
                <a:gd name="connsiteX15" fmla="*/ 30196 w 300421"/>
                <a:gd name="connsiteY15" fmla="*/ 153026 h 227235"/>
                <a:gd name="connsiteX16" fmla="*/ 30196 w 300421"/>
                <a:gd name="connsiteY16" fmla="*/ 153026 h 227235"/>
                <a:gd name="connsiteX17" fmla="*/ 48620 w 300421"/>
                <a:gd name="connsiteY17" fmla="*/ 149443 h 227235"/>
                <a:gd name="connsiteX18" fmla="*/ 63974 w 300421"/>
                <a:gd name="connsiteY18" fmla="*/ 139207 h 227235"/>
                <a:gd name="connsiteX19" fmla="*/ 83934 w 300421"/>
                <a:gd name="connsiteY19" fmla="*/ 119759 h 227235"/>
                <a:gd name="connsiteX20" fmla="*/ 83934 w 300421"/>
                <a:gd name="connsiteY20" fmla="*/ 119759 h 227235"/>
                <a:gd name="connsiteX21" fmla="*/ 83934 w 300421"/>
                <a:gd name="connsiteY21" fmla="*/ 119759 h 227235"/>
                <a:gd name="connsiteX22" fmla="*/ 134089 w 300421"/>
                <a:gd name="connsiteY22" fmla="*/ 169403 h 227235"/>
                <a:gd name="connsiteX23" fmla="*/ 167356 w 300421"/>
                <a:gd name="connsiteY23" fmla="*/ 202669 h 227235"/>
                <a:gd name="connsiteX24" fmla="*/ 170938 w 300421"/>
                <a:gd name="connsiteY24" fmla="*/ 207787 h 227235"/>
                <a:gd name="connsiteX25" fmla="*/ 170938 w 300421"/>
                <a:gd name="connsiteY25" fmla="*/ 208299 h 227235"/>
                <a:gd name="connsiteX26" fmla="*/ 170938 w 300421"/>
                <a:gd name="connsiteY26" fmla="*/ 226212 h 227235"/>
                <a:gd name="connsiteX27" fmla="*/ 170938 w 300421"/>
                <a:gd name="connsiteY27" fmla="*/ 226212 h 227235"/>
                <a:gd name="connsiteX28" fmla="*/ 170938 w 300421"/>
                <a:gd name="connsiteY28" fmla="*/ 226212 h 227235"/>
                <a:gd name="connsiteX29" fmla="*/ 170426 w 300421"/>
                <a:gd name="connsiteY29" fmla="*/ 227235 h 227235"/>
                <a:gd name="connsiteX30" fmla="*/ 247707 w 300421"/>
                <a:gd name="connsiteY30" fmla="*/ 149955 h 227235"/>
                <a:gd name="connsiteX31" fmla="*/ 277903 w 300421"/>
                <a:gd name="connsiteY31" fmla="*/ 119759 h 227235"/>
                <a:gd name="connsiteX32" fmla="*/ 294280 w 300421"/>
                <a:gd name="connsiteY32" fmla="*/ 103382 h 227235"/>
                <a:gd name="connsiteX33" fmla="*/ 294280 w 300421"/>
                <a:gd name="connsiteY33" fmla="*/ 74722 h 227235"/>
                <a:gd name="connsiteX34" fmla="*/ 247707 w 300421"/>
                <a:gd name="connsiteY34" fmla="*/ 135625 h 227235"/>
                <a:gd name="connsiteX35" fmla="*/ 164797 w 300421"/>
                <a:gd name="connsiteY35" fmla="*/ 52203 h 227235"/>
                <a:gd name="connsiteX36" fmla="*/ 184245 w 300421"/>
                <a:gd name="connsiteY36" fmla="*/ 32755 h 227235"/>
                <a:gd name="connsiteX37" fmla="*/ 267155 w 300421"/>
                <a:gd name="connsiteY37" fmla="*/ 116177 h 227235"/>
                <a:gd name="connsiteX38" fmla="*/ 247707 w 300421"/>
                <a:gd name="connsiteY38" fmla="*/ 135625 h 2272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300421" h="227235">
                  <a:moveTo>
                    <a:pt x="294280" y="74722"/>
                  </a:moveTo>
                  <a:lnTo>
                    <a:pt x="225700" y="6141"/>
                  </a:lnTo>
                  <a:cubicBezTo>
                    <a:pt x="217511" y="-2047"/>
                    <a:pt x="204716" y="-2047"/>
                    <a:pt x="196528" y="6141"/>
                  </a:cubicBezTo>
                  <a:lnTo>
                    <a:pt x="180662" y="22007"/>
                  </a:lnTo>
                  <a:lnTo>
                    <a:pt x="157632" y="45038"/>
                  </a:lnTo>
                  <a:lnTo>
                    <a:pt x="141766" y="29172"/>
                  </a:lnTo>
                  <a:cubicBezTo>
                    <a:pt x="136136" y="23542"/>
                    <a:pt x="128460" y="19960"/>
                    <a:pt x="120271" y="19960"/>
                  </a:cubicBezTo>
                  <a:cubicBezTo>
                    <a:pt x="112082" y="19960"/>
                    <a:pt x="104405" y="23031"/>
                    <a:pt x="98776" y="29172"/>
                  </a:cubicBezTo>
                  <a:lnTo>
                    <a:pt x="83934" y="44014"/>
                  </a:lnTo>
                  <a:lnTo>
                    <a:pt x="91099" y="51179"/>
                  </a:lnTo>
                  <a:lnTo>
                    <a:pt x="91099" y="51179"/>
                  </a:lnTo>
                  <a:lnTo>
                    <a:pt x="91099" y="51179"/>
                  </a:lnTo>
                  <a:lnTo>
                    <a:pt x="43502" y="98776"/>
                  </a:lnTo>
                  <a:lnTo>
                    <a:pt x="0" y="142278"/>
                  </a:lnTo>
                  <a:cubicBezTo>
                    <a:pt x="1535" y="143813"/>
                    <a:pt x="3071" y="144837"/>
                    <a:pt x="5118" y="145861"/>
                  </a:cubicBezTo>
                  <a:cubicBezTo>
                    <a:pt x="12795" y="150467"/>
                    <a:pt x="20983" y="153026"/>
                    <a:pt x="30196" y="153026"/>
                  </a:cubicBezTo>
                  <a:cubicBezTo>
                    <a:pt x="30196" y="153026"/>
                    <a:pt x="30196" y="153026"/>
                    <a:pt x="30196" y="153026"/>
                  </a:cubicBezTo>
                  <a:cubicBezTo>
                    <a:pt x="36337" y="153026"/>
                    <a:pt x="42990" y="152002"/>
                    <a:pt x="48620" y="149443"/>
                  </a:cubicBezTo>
                  <a:cubicBezTo>
                    <a:pt x="54250" y="146884"/>
                    <a:pt x="59880" y="143302"/>
                    <a:pt x="63974" y="139207"/>
                  </a:cubicBezTo>
                  <a:lnTo>
                    <a:pt x="83934" y="119759"/>
                  </a:lnTo>
                  <a:lnTo>
                    <a:pt x="83934" y="119759"/>
                  </a:lnTo>
                  <a:lnTo>
                    <a:pt x="83934" y="119759"/>
                  </a:lnTo>
                  <a:lnTo>
                    <a:pt x="134089" y="169403"/>
                  </a:lnTo>
                  <a:lnTo>
                    <a:pt x="167356" y="202669"/>
                  </a:lnTo>
                  <a:cubicBezTo>
                    <a:pt x="168891" y="204205"/>
                    <a:pt x="170426" y="206252"/>
                    <a:pt x="170938" y="207787"/>
                  </a:cubicBezTo>
                  <a:cubicBezTo>
                    <a:pt x="170938" y="207787"/>
                    <a:pt x="170938" y="208299"/>
                    <a:pt x="170938" y="208299"/>
                  </a:cubicBezTo>
                  <a:cubicBezTo>
                    <a:pt x="173497" y="213929"/>
                    <a:pt x="173497" y="220582"/>
                    <a:pt x="170938" y="226212"/>
                  </a:cubicBezTo>
                  <a:lnTo>
                    <a:pt x="170938" y="226212"/>
                  </a:lnTo>
                  <a:cubicBezTo>
                    <a:pt x="170938" y="226212"/>
                    <a:pt x="170938" y="226212"/>
                    <a:pt x="170938" y="226212"/>
                  </a:cubicBezTo>
                  <a:cubicBezTo>
                    <a:pt x="170938" y="226723"/>
                    <a:pt x="170426" y="226723"/>
                    <a:pt x="170426" y="227235"/>
                  </a:cubicBezTo>
                  <a:lnTo>
                    <a:pt x="247707" y="149955"/>
                  </a:lnTo>
                  <a:lnTo>
                    <a:pt x="277903" y="119759"/>
                  </a:lnTo>
                  <a:lnTo>
                    <a:pt x="294280" y="103382"/>
                  </a:lnTo>
                  <a:cubicBezTo>
                    <a:pt x="302469" y="95705"/>
                    <a:pt x="302469" y="82398"/>
                    <a:pt x="294280" y="74722"/>
                  </a:cubicBezTo>
                  <a:close/>
                  <a:moveTo>
                    <a:pt x="247707" y="135625"/>
                  </a:moveTo>
                  <a:lnTo>
                    <a:pt x="164797" y="52203"/>
                  </a:lnTo>
                  <a:lnTo>
                    <a:pt x="184245" y="32755"/>
                  </a:lnTo>
                  <a:lnTo>
                    <a:pt x="267155" y="116177"/>
                  </a:lnTo>
                  <a:lnTo>
                    <a:pt x="247707" y="135625"/>
                  </a:lnTo>
                  <a:close/>
                </a:path>
              </a:pathLst>
            </a:custGeom>
            <a:grpFill/>
            <a:ln w="511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sp>
        <p:nvSpPr>
          <p:cNvPr id="65" name="Freeform: Shape 134">
            <a:extLst>
              <a:ext uri="{FF2B5EF4-FFF2-40B4-BE49-F238E27FC236}">
                <a16:creationId xmlns:a16="http://schemas.microsoft.com/office/drawing/2014/main" id="{DCBC2637-C040-4C5F-865A-B82DB316ABBF}"/>
              </a:ext>
            </a:extLst>
          </p:cNvPr>
          <p:cNvSpPr/>
          <p:nvPr/>
        </p:nvSpPr>
        <p:spPr>
          <a:xfrm>
            <a:off x="7830729" y="5126863"/>
            <a:ext cx="638726" cy="452328"/>
          </a:xfrm>
          <a:custGeom>
            <a:avLst/>
            <a:gdLst>
              <a:gd name="connsiteX0" fmla="*/ 446794 w 526121"/>
              <a:gd name="connsiteY0" fmla="*/ 3071 h 372583"/>
              <a:gd name="connsiteX1" fmla="*/ 446794 w 526121"/>
              <a:gd name="connsiteY1" fmla="*/ 3071 h 372583"/>
              <a:gd name="connsiteX2" fmla="*/ 446794 w 526121"/>
              <a:gd name="connsiteY2" fmla="*/ 3071 h 372583"/>
              <a:gd name="connsiteX3" fmla="*/ 445770 w 526121"/>
              <a:gd name="connsiteY3" fmla="*/ 1535 h 372583"/>
              <a:gd name="connsiteX4" fmla="*/ 445258 w 526121"/>
              <a:gd name="connsiteY4" fmla="*/ 1024 h 372583"/>
              <a:gd name="connsiteX5" fmla="*/ 444235 w 526121"/>
              <a:gd name="connsiteY5" fmla="*/ 512 h 372583"/>
              <a:gd name="connsiteX6" fmla="*/ 443723 w 526121"/>
              <a:gd name="connsiteY6" fmla="*/ 512 h 372583"/>
              <a:gd name="connsiteX7" fmla="*/ 442187 w 526121"/>
              <a:gd name="connsiteY7" fmla="*/ 0 h 372583"/>
              <a:gd name="connsiteX8" fmla="*/ 292744 w 526121"/>
              <a:gd name="connsiteY8" fmla="*/ 0 h 372583"/>
              <a:gd name="connsiteX9" fmla="*/ 229282 w 526121"/>
              <a:gd name="connsiteY9" fmla="*/ 0 h 372583"/>
              <a:gd name="connsiteX10" fmla="*/ 79839 w 526121"/>
              <a:gd name="connsiteY10" fmla="*/ 0 h 372583"/>
              <a:gd name="connsiteX11" fmla="*/ 79839 w 526121"/>
              <a:gd name="connsiteY11" fmla="*/ 0 h 372583"/>
              <a:gd name="connsiteX12" fmla="*/ 79839 w 526121"/>
              <a:gd name="connsiteY12" fmla="*/ 0 h 372583"/>
              <a:gd name="connsiteX13" fmla="*/ 78304 w 526121"/>
              <a:gd name="connsiteY13" fmla="*/ 512 h 372583"/>
              <a:gd name="connsiteX14" fmla="*/ 77792 w 526121"/>
              <a:gd name="connsiteY14" fmla="*/ 512 h 372583"/>
              <a:gd name="connsiteX15" fmla="*/ 76769 w 526121"/>
              <a:gd name="connsiteY15" fmla="*/ 1024 h 372583"/>
              <a:gd name="connsiteX16" fmla="*/ 76257 w 526121"/>
              <a:gd name="connsiteY16" fmla="*/ 1535 h 372583"/>
              <a:gd name="connsiteX17" fmla="*/ 75233 w 526121"/>
              <a:gd name="connsiteY17" fmla="*/ 3071 h 372583"/>
              <a:gd name="connsiteX18" fmla="*/ 75233 w 526121"/>
              <a:gd name="connsiteY18" fmla="*/ 3071 h 372583"/>
              <a:gd name="connsiteX19" fmla="*/ 75233 w 526121"/>
              <a:gd name="connsiteY19" fmla="*/ 3071 h 372583"/>
              <a:gd name="connsiteX20" fmla="*/ 0 w 526121"/>
              <a:gd name="connsiteY20" fmla="*/ 182709 h 372583"/>
              <a:gd name="connsiteX21" fmla="*/ 0 w 526121"/>
              <a:gd name="connsiteY21" fmla="*/ 182709 h 372583"/>
              <a:gd name="connsiteX22" fmla="*/ 0 w 526121"/>
              <a:gd name="connsiteY22" fmla="*/ 183733 h 372583"/>
              <a:gd name="connsiteX23" fmla="*/ 0 w 526121"/>
              <a:gd name="connsiteY23" fmla="*/ 183733 h 372583"/>
              <a:gd name="connsiteX24" fmla="*/ 85981 w 526121"/>
              <a:gd name="connsiteY24" fmla="*/ 270738 h 372583"/>
              <a:gd name="connsiteX25" fmla="*/ 168891 w 526121"/>
              <a:gd name="connsiteY25" fmla="*/ 186292 h 372583"/>
              <a:gd name="connsiteX26" fmla="*/ 168891 w 526121"/>
              <a:gd name="connsiteY26" fmla="*/ 181174 h 372583"/>
              <a:gd name="connsiteX27" fmla="*/ 100311 w 526121"/>
              <a:gd name="connsiteY27" fmla="*/ 36337 h 372583"/>
              <a:gd name="connsiteX28" fmla="*/ 106453 w 526121"/>
              <a:gd name="connsiteY28" fmla="*/ 36849 h 372583"/>
              <a:gd name="connsiteX29" fmla="*/ 229282 w 526121"/>
              <a:gd name="connsiteY29" fmla="*/ 36849 h 372583"/>
              <a:gd name="connsiteX30" fmla="*/ 229282 w 526121"/>
              <a:gd name="connsiteY30" fmla="*/ 309122 h 372583"/>
              <a:gd name="connsiteX31" fmla="*/ 158655 w 526121"/>
              <a:gd name="connsiteY31" fmla="*/ 309122 h 372583"/>
              <a:gd name="connsiteX32" fmla="*/ 127948 w 526121"/>
              <a:gd name="connsiteY32" fmla="*/ 339829 h 372583"/>
              <a:gd name="connsiteX33" fmla="*/ 127948 w 526121"/>
              <a:gd name="connsiteY33" fmla="*/ 372584 h 372583"/>
              <a:gd name="connsiteX34" fmla="*/ 394079 w 526121"/>
              <a:gd name="connsiteY34" fmla="*/ 372584 h 372583"/>
              <a:gd name="connsiteX35" fmla="*/ 394079 w 526121"/>
              <a:gd name="connsiteY35" fmla="*/ 339829 h 372583"/>
              <a:gd name="connsiteX36" fmla="*/ 363372 w 526121"/>
              <a:gd name="connsiteY36" fmla="*/ 309122 h 372583"/>
              <a:gd name="connsiteX37" fmla="*/ 292744 w 526121"/>
              <a:gd name="connsiteY37" fmla="*/ 309122 h 372583"/>
              <a:gd name="connsiteX38" fmla="*/ 292744 w 526121"/>
              <a:gd name="connsiteY38" fmla="*/ 36849 h 372583"/>
              <a:gd name="connsiteX39" fmla="*/ 415574 w 526121"/>
              <a:gd name="connsiteY39" fmla="*/ 36849 h 372583"/>
              <a:gd name="connsiteX40" fmla="*/ 422739 w 526121"/>
              <a:gd name="connsiteY40" fmla="*/ 35825 h 372583"/>
              <a:gd name="connsiteX41" fmla="*/ 357230 w 526121"/>
              <a:gd name="connsiteY41" fmla="*/ 183221 h 372583"/>
              <a:gd name="connsiteX42" fmla="*/ 357230 w 526121"/>
              <a:gd name="connsiteY42" fmla="*/ 183221 h 372583"/>
              <a:gd name="connsiteX43" fmla="*/ 357230 w 526121"/>
              <a:gd name="connsiteY43" fmla="*/ 183733 h 372583"/>
              <a:gd name="connsiteX44" fmla="*/ 443211 w 526121"/>
              <a:gd name="connsiteY44" fmla="*/ 270738 h 372583"/>
              <a:gd name="connsiteX45" fmla="*/ 526121 w 526121"/>
              <a:gd name="connsiteY45" fmla="*/ 186292 h 372583"/>
              <a:gd name="connsiteX46" fmla="*/ 526121 w 526121"/>
              <a:gd name="connsiteY46" fmla="*/ 181174 h 372583"/>
              <a:gd name="connsiteX47" fmla="*/ 446794 w 526121"/>
              <a:gd name="connsiteY47" fmla="*/ 3071 h 372583"/>
              <a:gd name="connsiteX48" fmla="*/ 156096 w 526121"/>
              <a:gd name="connsiteY48" fmla="*/ 180662 h 372583"/>
              <a:gd name="connsiteX49" fmla="*/ 12795 w 526121"/>
              <a:gd name="connsiteY49" fmla="*/ 180662 h 372583"/>
              <a:gd name="connsiteX50" fmla="*/ 79328 w 526121"/>
              <a:gd name="connsiteY50" fmla="*/ 20472 h 372583"/>
              <a:gd name="connsiteX51" fmla="*/ 85469 w 526121"/>
              <a:gd name="connsiteY51" fmla="*/ 28149 h 372583"/>
              <a:gd name="connsiteX52" fmla="*/ 156096 w 526121"/>
              <a:gd name="connsiteY52" fmla="*/ 180662 h 372583"/>
              <a:gd name="connsiteX53" fmla="*/ 261013 w 526121"/>
              <a:gd name="connsiteY53" fmla="*/ 53738 h 372583"/>
              <a:gd name="connsiteX54" fmla="*/ 239006 w 526121"/>
              <a:gd name="connsiteY54" fmla="*/ 31731 h 372583"/>
              <a:gd name="connsiteX55" fmla="*/ 261013 w 526121"/>
              <a:gd name="connsiteY55" fmla="*/ 9724 h 372583"/>
              <a:gd name="connsiteX56" fmla="*/ 283020 w 526121"/>
              <a:gd name="connsiteY56" fmla="*/ 31731 h 372583"/>
              <a:gd name="connsiteX57" fmla="*/ 261013 w 526121"/>
              <a:gd name="connsiteY57" fmla="*/ 53738 h 372583"/>
              <a:gd name="connsiteX58" fmla="*/ 370537 w 526121"/>
              <a:gd name="connsiteY58" fmla="*/ 180662 h 372583"/>
              <a:gd name="connsiteX59" fmla="*/ 438093 w 526121"/>
              <a:gd name="connsiteY59" fmla="*/ 27125 h 372583"/>
              <a:gd name="connsiteX60" fmla="*/ 443723 w 526121"/>
              <a:gd name="connsiteY60" fmla="*/ 19960 h 372583"/>
              <a:gd name="connsiteX61" fmla="*/ 514350 w 526121"/>
              <a:gd name="connsiteY61" fmla="*/ 180662 h 372583"/>
              <a:gd name="connsiteX62" fmla="*/ 370537 w 526121"/>
              <a:gd name="connsiteY62" fmla="*/ 180662 h 3725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526121" h="372583">
                <a:moveTo>
                  <a:pt x="446794" y="3071"/>
                </a:moveTo>
                <a:cubicBezTo>
                  <a:pt x="446794" y="3071"/>
                  <a:pt x="446794" y="3071"/>
                  <a:pt x="446794" y="3071"/>
                </a:cubicBezTo>
                <a:lnTo>
                  <a:pt x="446794" y="3071"/>
                </a:lnTo>
                <a:cubicBezTo>
                  <a:pt x="446282" y="2559"/>
                  <a:pt x="446282" y="2047"/>
                  <a:pt x="445770" y="1535"/>
                </a:cubicBezTo>
                <a:cubicBezTo>
                  <a:pt x="445770" y="1535"/>
                  <a:pt x="445770" y="1535"/>
                  <a:pt x="445258" y="1024"/>
                </a:cubicBezTo>
                <a:cubicBezTo>
                  <a:pt x="444746" y="512"/>
                  <a:pt x="444746" y="512"/>
                  <a:pt x="444235" y="512"/>
                </a:cubicBezTo>
                <a:cubicBezTo>
                  <a:pt x="444235" y="512"/>
                  <a:pt x="443723" y="512"/>
                  <a:pt x="443723" y="512"/>
                </a:cubicBezTo>
                <a:cubicBezTo>
                  <a:pt x="443211" y="512"/>
                  <a:pt x="442699" y="0"/>
                  <a:pt x="442187" y="0"/>
                </a:cubicBezTo>
                <a:lnTo>
                  <a:pt x="292744" y="0"/>
                </a:lnTo>
                <a:lnTo>
                  <a:pt x="229282" y="0"/>
                </a:lnTo>
                <a:lnTo>
                  <a:pt x="79839" y="0"/>
                </a:lnTo>
                <a:cubicBezTo>
                  <a:pt x="79839" y="0"/>
                  <a:pt x="79839" y="0"/>
                  <a:pt x="79839" y="0"/>
                </a:cubicBezTo>
                <a:cubicBezTo>
                  <a:pt x="79839" y="0"/>
                  <a:pt x="79839" y="0"/>
                  <a:pt x="79839" y="0"/>
                </a:cubicBezTo>
                <a:cubicBezTo>
                  <a:pt x="79328" y="0"/>
                  <a:pt x="78816" y="0"/>
                  <a:pt x="78304" y="512"/>
                </a:cubicBezTo>
                <a:cubicBezTo>
                  <a:pt x="78304" y="512"/>
                  <a:pt x="77792" y="512"/>
                  <a:pt x="77792" y="512"/>
                </a:cubicBezTo>
                <a:cubicBezTo>
                  <a:pt x="77280" y="512"/>
                  <a:pt x="77280" y="1024"/>
                  <a:pt x="76769" y="1024"/>
                </a:cubicBezTo>
                <a:cubicBezTo>
                  <a:pt x="76769" y="1024"/>
                  <a:pt x="76257" y="1024"/>
                  <a:pt x="76257" y="1535"/>
                </a:cubicBezTo>
                <a:cubicBezTo>
                  <a:pt x="75745" y="2047"/>
                  <a:pt x="75745" y="2559"/>
                  <a:pt x="75233" y="3071"/>
                </a:cubicBezTo>
                <a:cubicBezTo>
                  <a:pt x="75233" y="3071"/>
                  <a:pt x="75233" y="3071"/>
                  <a:pt x="75233" y="3071"/>
                </a:cubicBezTo>
                <a:cubicBezTo>
                  <a:pt x="75233" y="3071"/>
                  <a:pt x="75233" y="3071"/>
                  <a:pt x="75233" y="3071"/>
                </a:cubicBezTo>
                <a:lnTo>
                  <a:pt x="0" y="182709"/>
                </a:lnTo>
                <a:lnTo>
                  <a:pt x="0" y="182709"/>
                </a:lnTo>
                <a:cubicBezTo>
                  <a:pt x="0" y="183221"/>
                  <a:pt x="0" y="183221"/>
                  <a:pt x="0" y="183733"/>
                </a:cubicBezTo>
                <a:lnTo>
                  <a:pt x="0" y="183733"/>
                </a:lnTo>
                <a:cubicBezTo>
                  <a:pt x="0" y="230818"/>
                  <a:pt x="38896" y="271249"/>
                  <a:pt x="85981" y="270738"/>
                </a:cubicBezTo>
                <a:cubicBezTo>
                  <a:pt x="132042" y="269714"/>
                  <a:pt x="168891" y="232353"/>
                  <a:pt x="168891" y="186292"/>
                </a:cubicBezTo>
                <a:lnTo>
                  <a:pt x="168891" y="181174"/>
                </a:lnTo>
                <a:lnTo>
                  <a:pt x="100311" y="36337"/>
                </a:lnTo>
                <a:cubicBezTo>
                  <a:pt x="102358" y="36849"/>
                  <a:pt x="104405" y="36849"/>
                  <a:pt x="106453" y="36849"/>
                </a:cubicBezTo>
                <a:lnTo>
                  <a:pt x="229282" y="36849"/>
                </a:lnTo>
                <a:lnTo>
                  <a:pt x="229282" y="309122"/>
                </a:lnTo>
                <a:lnTo>
                  <a:pt x="158655" y="309122"/>
                </a:lnTo>
                <a:cubicBezTo>
                  <a:pt x="141766" y="309122"/>
                  <a:pt x="127948" y="322940"/>
                  <a:pt x="127948" y="339829"/>
                </a:cubicBezTo>
                <a:lnTo>
                  <a:pt x="127948" y="372584"/>
                </a:lnTo>
                <a:lnTo>
                  <a:pt x="394079" y="372584"/>
                </a:lnTo>
                <a:lnTo>
                  <a:pt x="394079" y="339829"/>
                </a:lnTo>
                <a:cubicBezTo>
                  <a:pt x="394079" y="322940"/>
                  <a:pt x="380261" y="309122"/>
                  <a:pt x="363372" y="309122"/>
                </a:cubicBezTo>
                <a:lnTo>
                  <a:pt x="292744" y="309122"/>
                </a:lnTo>
                <a:lnTo>
                  <a:pt x="292744" y="36849"/>
                </a:lnTo>
                <a:lnTo>
                  <a:pt x="415574" y="36849"/>
                </a:lnTo>
                <a:cubicBezTo>
                  <a:pt x="418133" y="36849"/>
                  <a:pt x="420692" y="36337"/>
                  <a:pt x="422739" y="35825"/>
                </a:cubicBezTo>
                <a:lnTo>
                  <a:pt x="357230" y="183221"/>
                </a:lnTo>
                <a:lnTo>
                  <a:pt x="357230" y="183221"/>
                </a:lnTo>
                <a:cubicBezTo>
                  <a:pt x="357230" y="183221"/>
                  <a:pt x="357230" y="183733"/>
                  <a:pt x="357230" y="183733"/>
                </a:cubicBezTo>
                <a:cubicBezTo>
                  <a:pt x="357230" y="230818"/>
                  <a:pt x="396126" y="271249"/>
                  <a:pt x="443211" y="270738"/>
                </a:cubicBezTo>
                <a:cubicBezTo>
                  <a:pt x="489272" y="269714"/>
                  <a:pt x="526121" y="232353"/>
                  <a:pt x="526121" y="186292"/>
                </a:cubicBezTo>
                <a:lnTo>
                  <a:pt x="526121" y="181174"/>
                </a:lnTo>
                <a:lnTo>
                  <a:pt x="446794" y="3071"/>
                </a:lnTo>
                <a:close/>
                <a:moveTo>
                  <a:pt x="156096" y="180662"/>
                </a:moveTo>
                <a:lnTo>
                  <a:pt x="12795" y="180662"/>
                </a:lnTo>
                <a:lnTo>
                  <a:pt x="79328" y="20472"/>
                </a:lnTo>
                <a:cubicBezTo>
                  <a:pt x="80863" y="23542"/>
                  <a:pt x="82910" y="26101"/>
                  <a:pt x="85469" y="28149"/>
                </a:cubicBezTo>
                <a:lnTo>
                  <a:pt x="156096" y="180662"/>
                </a:lnTo>
                <a:close/>
                <a:moveTo>
                  <a:pt x="261013" y="53738"/>
                </a:moveTo>
                <a:cubicBezTo>
                  <a:pt x="248730" y="53738"/>
                  <a:pt x="239006" y="44014"/>
                  <a:pt x="239006" y="31731"/>
                </a:cubicBezTo>
                <a:cubicBezTo>
                  <a:pt x="239006" y="19448"/>
                  <a:pt x="248730" y="9724"/>
                  <a:pt x="261013" y="9724"/>
                </a:cubicBezTo>
                <a:cubicBezTo>
                  <a:pt x="273296" y="9724"/>
                  <a:pt x="283020" y="19448"/>
                  <a:pt x="283020" y="31731"/>
                </a:cubicBezTo>
                <a:cubicBezTo>
                  <a:pt x="283532" y="44014"/>
                  <a:pt x="273296" y="53738"/>
                  <a:pt x="261013" y="53738"/>
                </a:cubicBezTo>
                <a:close/>
                <a:moveTo>
                  <a:pt x="370537" y="180662"/>
                </a:moveTo>
                <a:lnTo>
                  <a:pt x="438093" y="27125"/>
                </a:lnTo>
                <a:cubicBezTo>
                  <a:pt x="440140" y="25078"/>
                  <a:pt x="442187" y="22519"/>
                  <a:pt x="443723" y="19960"/>
                </a:cubicBezTo>
                <a:lnTo>
                  <a:pt x="514350" y="180662"/>
                </a:lnTo>
                <a:lnTo>
                  <a:pt x="370537" y="180662"/>
                </a:lnTo>
                <a:close/>
              </a:path>
            </a:pathLst>
          </a:custGeom>
          <a:solidFill>
            <a:schemeClr val="accent5"/>
          </a:solidFill>
          <a:ln w="511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66" name="TextBox 145">
            <a:extLst>
              <a:ext uri="{FF2B5EF4-FFF2-40B4-BE49-F238E27FC236}">
                <a16:creationId xmlns:a16="http://schemas.microsoft.com/office/drawing/2014/main" id="{594A5BB2-CD6D-4784-8669-6187A2386999}"/>
              </a:ext>
            </a:extLst>
          </p:cNvPr>
          <p:cNvSpPr txBox="1"/>
          <p:nvPr/>
        </p:nvSpPr>
        <p:spPr>
          <a:xfrm>
            <a:off x="1158307" y="2842396"/>
            <a:ext cx="2251643" cy="616836"/>
          </a:xfrm>
          <a:prstGeom prst="rect">
            <a:avLst/>
          </a:prstGeom>
          <a:noFill/>
        </p:spPr>
        <p:txBody>
          <a:bodyPr wrap="square" rtlCol="0">
            <a:spAutoFit/>
          </a:bodyPr>
          <a:lstStyle/>
          <a:p>
            <a:pPr marL="0" marR="0" lvl="0" indent="0" algn="r" defTabSz="914400" rtl="0" eaLnBrk="1" fontAlgn="auto" latinLnBrk="0" hangingPunct="1">
              <a:lnSpc>
                <a:spcPct val="15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rPr>
              <a:t>A wonderful serenity </a:t>
            </a:r>
            <a:r>
              <a:rPr kumimoji="0" lang="en-US" sz="1200" b="0" i="0" u="none" strike="noStrike" kern="1200" cap="none" spc="0" normalizeH="0" baseline="0" noProof="0">
                <a:ln>
                  <a:noFill/>
                </a:ln>
                <a:solidFill>
                  <a:srgbClr val="000000"/>
                </a:solidFill>
                <a:effectLst/>
                <a:uLnTx/>
                <a:uFillTx/>
                <a:latin typeface="等线" panose="020F0502020204030204"/>
                <a:ea typeface="+mn-ea"/>
                <a:cs typeface="+mn-cs"/>
              </a:rPr>
              <a:t>has taken has this </a:t>
            </a:r>
            <a:r>
              <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rPr>
              <a:t>possession of </a:t>
            </a:r>
            <a:r>
              <a:rPr kumimoji="0" lang="en-US" sz="1200" b="0" i="0" u="none" strike="noStrike" kern="1200" cap="none" spc="0" normalizeH="0" baseline="0" noProof="0">
                <a:ln>
                  <a:noFill/>
                </a:ln>
                <a:solidFill>
                  <a:srgbClr val="000000"/>
                </a:solidFill>
                <a:effectLst/>
                <a:uLnTx/>
                <a:uFillTx/>
                <a:latin typeface="等线" panose="020F0502020204030204"/>
                <a:ea typeface="+mn-ea"/>
                <a:cs typeface="+mn-cs"/>
              </a:rPr>
              <a:t>my entire</a:t>
            </a:r>
            <a:endPar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67" name="TextBox 146">
            <a:extLst>
              <a:ext uri="{FF2B5EF4-FFF2-40B4-BE49-F238E27FC236}">
                <a16:creationId xmlns:a16="http://schemas.microsoft.com/office/drawing/2014/main" id="{B22C44DD-AB6E-42EB-82FA-1880E1C55F02}"/>
              </a:ext>
            </a:extLst>
          </p:cNvPr>
          <p:cNvSpPr txBox="1"/>
          <p:nvPr/>
        </p:nvSpPr>
        <p:spPr>
          <a:xfrm>
            <a:off x="1261928" y="2580260"/>
            <a:ext cx="2148023" cy="338554"/>
          </a:xfrm>
          <a:prstGeom prst="rect">
            <a:avLst/>
          </a:prstGeom>
          <a:noFill/>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等线 Light" panose="020F0302020204030204"/>
                <a:ea typeface="+mn-ea"/>
                <a:cs typeface="+mn-cs"/>
              </a:rPr>
              <a:t>Description</a:t>
            </a:r>
          </a:p>
        </p:txBody>
      </p:sp>
      <p:sp>
        <p:nvSpPr>
          <p:cNvPr id="68" name="TextBox 147">
            <a:extLst>
              <a:ext uri="{FF2B5EF4-FFF2-40B4-BE49-F238E27FC236}">
                <a16:creationId xmlns:a16="http://schemas.microsoft.com/office/drawing/2014/main" id="{0D05C4E2-64CA-4FD7-958C-2DC7556EEE5A}"/>
              </a:ext>
            </a:extLst>
          </p:cNvPr>
          <p:cNvSpPr txBox="1"/>
          <p:nvPr/>
        </p:nvSpPr>
        <p:spPr>
          <a:xfrm>
            <a:off x="2597059" y="2197313"/>
            <a:ext cx="812892" cy="461665"/>
          </a:xfrm>
          <a:prstGeom prst="rect">
            <a:avLst/>
          </a:prstGeom>
          <a:noFill/>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FF4C38"/>
                </a:solidFill>
                <a:effectLst/>
                <a:uLnTx/>
                <a:uFillTx/>
                <a:latin typeface="等线 Light" panose="020F0302020204030204"/>
                <a:ea typeface="+mn-ea"/>
                <a:cs typeface="+mn-cs"/>
              </a:rPr>
              <a:t>45%</a:t>
            </a:r>
          </a:p>
        </p:txBody>
      </p:sp>
      <p:sp>
        <p:nvSpPr>
          <p:cNvPr id="69" name="TextBox 148">
            <a:extLst>
              <a:ext uri="{FF2B5EF4-FFF2-40B4-BE49-F238E27FC236}">
                <a16:creationId xmlns:a16="http://schemas.microsoft.com/office/drawing/2014/main" id="{01390943-30C6-49DB-AD16-E61FC04E4981}"/>
              </a:ext>
            </a:extLst>
          </p:cNvPr>
          <p:cNvSpPr txBox="1"/>
          <p:nvPr/>
        </p:nvSpPr>
        <p:spPr>
          <a:xfrm>
            <a:off x="8782051" y="2842396"/>
            <a:ext cx="2261988" cy="616836"/>
          </a:xfrm>
          <a:prstGeom prst="rect">
            <a:avLst/>
          </a:prstGeom>
          <a:noFill/>
        </p:spPr>
        <p:txBody>
          <a:bodyPr wrap="square" rtlCol="0">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rPr>
              <a:t>A wonderful serenity </a:t>
            </a:r>
            <a:r>
              <a:rPr kumimoji="0" lang="en-US" sz="1200" b="0" i="0" u="none" strike="noStrike" kern="1200" cap="none" spc="0" normalizeH="0" baseline="0" noProof="0">
                <a:ln>
                  <a:noFill/>
                </a:ln>
                <a:solidFill>
                  <a:srgbClr val="000000"/>
                </a:solidFill>
                <a:effectLst/>
                <a:uLnTx/>
                <a:uFillTx/>
                <a:latin typeface="等线" panose="020F0502020204030204"/>
                <a:ea typeface="+mn-ea"/>
                <a:cs typeface="+mn-cs"/>
              </a:rPr>
              <a:t>has taken has this </a:t>
            </a:r>
            <a:r>
              <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rPr>
              <a:t>possession of </a:t>
            </a:r>
            <a:r>
              <a:rPr kumimoji="0" lang="en-US" sz="1200" b="0" i="0" u="none" strike="noStrike" kern="1200" cap="none" spc="0" normalizeH="0" baseline="0" noProof="0">
                <a:ln>
                  <a:noFill/>
                </a:ln>
                <a:solidFill>
                  <a:srgbClr val="000000"/>
                </a:solidFill>
                <a:effectLst/>
                <a:uLnTx/>
                <a:uFillTx/>
                <a:latin typeface="等线" panose="020F0502020204030204"/>
                <a:ea typeface="+mn-ea"/>
                <a:cs typeface="+mn-cs"/>
              </a:rPr>
              <a:t>my entire</a:t>
            </a:r>
            <a:endPar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70" name="TextBox 149">
            <a:extLst>
              <a:ext uri="{FF2B5EF4-FFF2-40B4-BE49-F238E27FC236}">
                <a16:creationId xmlns:a16="http://schemas.microsoft.com/office/drawing/2014/main" id="{C24D6401-5031-43E8-9330-503AECFD7AD8}"/>
              </a:ext>
            </a:extLst>
          </p:cNvPr>
          <p:cNvSpPr txBox="1"/>
          <p:nvPr/>
        </p:nvSpPr>
        <p:spPr>
          <a:xfrm>
            <a:off x="8782051" y="2590164"/>
            <a:ext cx="2148023" cy="33855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等线 Light" panose="020F0302020204030204"/>
                <a:ea typeface="+mn-ea"/>
                <a:cs typeface="+mn-cs"/>
              </a:rPr>
              <a:t>Description</a:t>
            </a:r>
          </a:p>
        </p:txBody>
      </p:sp>
      <p:sp>
        <p:nvSpPr>
          <p:cNvPr id="71" name="TextBox 150">
            <a:extLst>
              <a:ext uri="{FF2B5EF4-FFF2-40B4-BE49-F238E27FC236}">
                <a16:creationId xmlns:a16="http://schemas.microsoft.com/office/drawing/2014/main" id="{2B611570-3E52-4036-9918-CFD5596646E2}"/>
              </a:ext>
            </a:extLst>
          </p:cNvPr>
          <p:cNvSpPr txBox="1"/>
          <p:nvPr/>
        </p:nvSpPr>
        <p:spPr>
          <a:xfrm>
            <a:off x="8782051" y="2197313"/>
            <a:ext cx="812892" cy="46166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8F38FF"/>
                </a:solidFill>
                <a:effectLst/>
                <a:uLnTx/>
                <a:uFillTx/>
                <a:latin typeface="等线 Light" panose="020F0302020204030204"/>
                <a:ea typeface="+mn-ea"/>
                <a:cs typeface="+mn-cs"/>
              </a:rPr>
              <a:t>90%</a:t>
            </a:r>
          </a:p>
        </p:txBody>
      </p:sp>
      <p:sp>
        <p:nvSpPr>
          <p:cNvPr id="72" name="TextBox 154">
            <a:extLst>
              <a:ext uri="{FF2B5EF4-FFF2-40B4-BE49-F238E27FC236}">
                <a16:creationId xmlns:a16="http://schemas.microsoft.com/office/drawing/2014/main" id="{64BC506F-76A6-4517-80A6-9C809DEFF882}"/>
              </a:ext>
            </a:extLst>
          </p:cNvPr>
          <p:cNvSpPr txBox="1"/>
          <p:nvPr/>
        </p:nvSpPr>
        <p:spPr>
          <a:xfrm>
            <a:off x="953393" y="5420496"/>
            <a:ext cx="2251643" cy="616836"/>
          </a:xfrm>
          <a:prstGeom prst="rect">
            <a:avLst/>
          </a:prstGeom>
          <a:noFill/>
        </p:spPr>
        <p:txBody>
          <a:bodyPr wrap="square" rtlCol="0">
            <a:spAutoFit/>
          </a:bodyPr>
          <a:lstStyle/>
          <a:p>
            <a:pPr marL="0" marR="0" lvl="0" indent="0" algn="r" defTabSz="914400" rtl="0" eaLnBrk="1" fontAlgn="auto" latinLnBrk="0" hangingPunct="1">
              <a:lnSpc>
                <a:spcPct val="15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rPr>
              <a:t>A wonderful serenity </a:t>
            </a:r>
            <a:r>
              <a:rPr kumimoji="0" lang="en-US" sz="1200" b="0" i="0" u="none" strike="noStrike" kern="1200" cap="none" spc="0" normalizeH="0" baseline="0" noProof="0">
                <a:ln>
                  <a:noFill/>
                </a:ln>
                <a:solidFill>
                  <a:srgbClr val="000000"/>
                </a:solidFill>
                <a:effectLst/>
                <a:uLnTx/>
                <a:uFillTx/>
                <a:latin typeface="等线" panose="020F0502020204030204"/>
                <a:ea typeface="+mn-ea"/>
                <a:cs typeface="+mn-cs"/>
              </a:rPr>
              <a:t>has taken has this </a:t>
            </a:r>
            <a:r>
              <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rPr>
              <a:t>possession of </a:t>
            </a:r>
            <a:r>
              <a:rPr kumimoji="0" lang="en-US" sz="1200" b="0" i="0" u="none" strike="noStrike" kern="1200" cap="none" spc="0" normalizeH="0" baseline="0" noProof="0">
                <a:ln>
                  <a:noFill/>
                </a:ln>
                <a:solidFill>
                  <a:srgbClr val="000000"/>
                </a:solidFill>
                <a:effectLst/>
                <a:uLnTx/>
                <a:uFillTx/>
                <a:latin typeface="等线" panose="020F0502020204030204"/>
                <a:ea typeface="+mn-ea"/>
                <a:cs typeface="+mn-cs"/>
              </a:rPr>
              <a:t>my entire</a:t>
            </a:r>
            <a:endPar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73" name="TextBox 155">
            <a:extLst>
              <a:ext uri="{FF2B5EF4-FFF2-40B4-BE49-F238E27FC236}">
                <a16:creationId xmlns:a16="http://schemas.microsoft.com/office/drawing/2014/main" id="{D4D1EA46-5CBF-4FC8-BE08-F08BA88DB222}"/>
              </a:ext>
            </a:extLst>
          </p:cNvPr>
          <p:cNvSpPr txBox="1"/>
          <p:nvPr/>
        </p:nvSpPr>
        <p:spPr>
          <a:xfrm>
            <a:off x="1057014" y="5158360"/>
            <a:ext cx="2148023" cy="338554"/>
          </a:xfrm>
          <a:prstGeom prst="rect">
            <a:avLst/>
          </a:prstGeom>
          <a:noFill/>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等线 Light" panose="020F0302020204030204"/>
                <a:ea typeface="+mn-ea"/>
                <a:cs typeface="+mn-cs"/>
              </a:rPr>
              <a:t>Description</a:t>
            </a:r>
          </a:p>
        </p:txBody>
      </p:sp>
      <p:sp>
        <p:nvSpPr>
          <p:cNvPr id="74" name="TextBox 156">
            <a:extLst>
              <a:ext uri="{FF2B5EF4-FFF2-40B4-BE49-F238E27FC236}">
                <a16:creationId xmlns:a16="http://schemas.microsoft.com/office/drawing/2014/main" id="{A884E82E-4BF3-44A1-9DFD-36B7091ADBE8}"/>
              </a:ext>
            </a:extLst>
          </p:cNvPr>
          <p:cNvSpPr txBox="1"/>
          <p:nvPr/>
        </p:nvSpPr>
        <p:spPr>
          <a:xfrm>
            <a:off x="2392145" y="4775413"/>
            <a:ext cx="812892" cy="461665"/>
          </a:xfrm>
          <a:prstGeom prst="rect">
            <a:avLst/>
          </a:prstGeom>
          <a:noFill/>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FFD229"/>
                </a:solidFill>
                <a:effectLst/>
                <a:uLnTx/>
                <a:uFillTx/>
                <a:latin typeface="等线 Light" panose="020F0302020204030204"/>
                <a:ea typeface="+mn-ea"/>
                <a:cs typeface="+mn-cs"/>
              </a:rPr>
              <a:t>65%</a:t>
            </a:r>
          </a:p>
        </p:txBody>
      </p:sp>
      <p:sp>
        <p:nvSpPr>
          <p:cNvPr id="75" name="TextBox 157">
            <a:extLst>
              <a:ext uri="{FF2B5EF4-FFF2-40B4-BE49-F238E27FC236}">
                <a16:creationId xmlns:a16="http://schemas.microsoft.com/office/drawing/2014/main" id="{ACB2D250-ACF0-418E-9D87-C2F5A8AF572E}"/>
              </a:ext>
            </a:extLst>
          </p:cNvPr>
          <p:cNvSpPr txBox="1"/>
          <p:nvPr/>
        </p:nvSpPr>
        <p:spPr>
          <a:xfrm>
            <a:off x="8983072" y="5420496"/>
            <a:ext cx="2261988" cy="616836"/>
          </a:xfrm>
          <a:prstGeom prst="rect">
            <a:avLst/>
          </a:prstGeom>
          <a:noFill/>
        </p:spPr>
        <p:txBody>
          <a:bodyPr wrap="square" rtlCol="0">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rPr>
              <a:t>A wonderful serenity </a:t>
            </a:r>
            <a:r>
              <a:rPr kumimoji="0" lang="en-US" sz="1200" b="0" i="0" u="none" strike="noStrike" kern="1200" cap="none" spc="0" normalizeH="0" baseline="0" noProof="0">
                <a:ln>
                  <a:noFill/>
                </a:ln>
                <a:solidFill>
                  <a:srgbClr val="000000"/>
                </a:solidFill>
                <a:effectLst/>
                <a:uLnTx/>
                <a:uFillTx/>
                <a:latin typeface="等线" panose="020F0502020204030204"/>
                <a:ea typeface="+mn-ea"/>
                <a:cs typeface="+mn-cs"/>
              </a:rPr>
              <a:t>has taken has this </a:t>
            </a:r>
            <a:r>
              <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rPr>
              <a:t>possession of </a:t>
            </a:r>
            <a:r>
              <a:rPr kumimoji="0" lang="en-US" sz="1200" b="0" i="0" u="none" strike="noStrike" kern="1200" cap="none" spc="0" normalizeH="0" baseline="0" noProof="0">
                <a:ln>
                  <a:noFill/>
                </a:ln>
                <a:solidFill>
                  <a:srgbClr val="000000"/>
                </a:solidFill>
                <a:effectLst/>
                <a:uLnTx/>
                <a:uFillTx/>
                <a:latin typeface="等线" panose="020F0502020204030204"/>
                <a:ea typeface="+mn-ea"/>
                <a:cs typeface="+mn-cs"/>
              </a:rPr>
              <a:t>my entire</a:t>
            </a:r>
            <a:endPar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76" name="TextBox 158">
            <a:extLst>
              <a:ext uri="{FF2B5EF4-FFF2-40B4-BE49-F238E27FC236}">
                <a16:creationId xmlns:a16="http://schemas.microsoft.com/office/drawing/2014/main" id="{6093D92D-3C7B-4B54-8B74-AFCD7248F146}"/>
              </a:ext>
            </a:extLst>
          </p:cNvPr>
          <p:cNvSpPr txBox="1"/>
          <p:nvPr/>
        </p:nvSpPr>
        <p:spPr>
          <a:xfrm>
            <a:off x="8983072" y="5168264"/>
            <a:ext cx="2148023" cy="33855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等线 Light" panose="020F0302020204030204"/>
                <a:ea typeface="+mn-ea"/>
                <a:cs typeface="+mn-cs"/>
              </a:rPr>
              <a:t>Description</a:t>
            </a:r>
          </a:p>
        </p:txBody>
      </p:sp>
      <p:sp>
        <p:nvSpPr>
          <p:cNvPr id="77" name="TextBox 159">
            <a:extLst>
              <a:ext uri="{FF2B5EF4-FFF2-40B4-BE49-F238E27FC236}">
                <a16:creationId xmlns:a16="http://schemas.microsoft.com/office/drawing/2014/main" id="{46783168-F26D-4113-A44C-F983E1B1DFA6}"/>
              </a:ext>
            </a:extLst>
          </p:cNvPr>
          <p:cNvSpPr txBox="1"/>
          <p:nvPr/>
        </p:nvSpPr>
        <p:spPr>
          <a:xfrm>
            <a:off x="8983072" y="4775413"/>
            <a:ext cx="812892" cy="46166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00D99B"/>
                </a:solidFill>
                <a:effectLst/>
                <a:uLnTx/>
                <a:uFillTx/>
                <a:latin typeface="等线 Light" panose="020F0302020204030204"/>
                <a:ea typeface="+mn-ea"/>
                <a:cs typeface="+mn-cs"/>
              </a:rPr>
              <a:t>75%</a:t>
            </a:r>
          </a:p>
        </p:txBody>
      </p:sp>
    </p:spTree>
    <p:extLst>
      <p:ext uri="{BB962C8B-B14F-4D97-AF65-F5344CB8AC3E}">
        <p14:creationId xmlns:p14="http://schemas.microsoft.com/office/powerpoint/2010/main" val="795745760"/>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6"/>
                                        </p:tgtEl>
                                        <p:attrNameLst>
                                          <p:attrName>style.visibility</p:attrName>
                                        </p:attrNameLst>
                                      </p:cBhvr>
                                      <p:to>
                                        <p:strVal val="visible"/>
                                      </p:to>
                                    </p:set>
                                    <p:animEffect transition="in" filter="fade">
                                      <p:cBhvr>
                                        <p:cTn id="7" dur="500"/>
                                        <p:tgtEl>
                                          <p:spTgt spid="26"/>
                                        </p:tgtEl>
                                      </p:cBhvr>
                                    </p:animEffect>
                                  </p:childTnLst>
                                </p:cTn>
                              </p:par>
                            </p:childTnLst>
                          </p:cTn>
                        </p:par>
                        <p:par>
                          <p:cTn id="8" fill="hold">
                            <p:stCondLst>
                              <p:cond delay="500"/>
                            </p:stCondLst>
                            <p:childTnLst>
                              <p:par>
                                <p:cTn id="9" presetID="22" presetClass="entr" presetSubtype="4" fill="hold" nodeType="after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wipe(down)">
                                      <p:cBhvr>
                                        <p:cTn id="11" dur="500"/>
                                        <p:tgtEl>
                                          <p:spTgt spid="7"/>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27"/>
                                        </p:tgtEl>
                                        <p:attrNameLst>
                                          <p:attrName>style.visibility</p:attrName>
                                        </p:attrNameLst>
                                      </p:cBhvr>
                                      <p:to>
                                        <p:strVal val="visible"/>
                                      </p:to>
                                    </p:set>
                                    <p:animEffect transition="in" filter="fade">
                                      <p:cBhvr>
                                        <p:cTn id="15" dur="500"/>
                                        <p:tgtEl>
                                          <p:spTgt spid="27"/>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21"/>
                                        </p:tgtEl>
                                        <p:attrNameLst>
                                          <p:attrName>style.visibility</p:attrName>
                                        </p:attrNameLst>
                                      </p:cBhvr>
                                      <p:to>
                                        <p:strVal val="visible"/>
                                      </p:to>
                                    </p:set>
                                    <p:animEffect transition="in" filter="fade">
                                      <p:cBhvr>
                                        <p:cTn id="19" dur="500"/>
                                        <p:tgtEl>
                                          <p:spTgt spid="21"/>
                                        </p:tgtEl>
                                      </p:cBhvr>
                                    </p:animEffect>
                                  </p:childTnLst>
                                </p:cTn>
                              </p:par>
                              <p:par>
                                <p:cTn id="20" presetID="10" presetClass="entr" presetSubtype="0" fill="hold" nodeType="withEffect">
                                  <p:stCondLst>
                                    <p:cond delay="0"/>
                                  </p:stCondLst>
                                  <p:childTnLst>
                                    <p:set>
                                      <p:cBhvr>
                                        <p:cTn id="21" dur="1" fill="hold">
                                          <p:stCondLst>
                                            <p:cond delay="0"/>
                                          </p:stCondLst>
                                        </p:cTn>
                                        <p:tgtEl>
                                          <p:spTgt spid="59"/>
                                        </p:tgtEl>
                                        <p:attrNameLst>
                                          <p:attrName>style.visibility</p:attrName>
                                        </p:attrNameLst>
                                      </p:cBhvr>
                                      <p:to>
                                        <p:strVal val="visible"/>
                                      </p:to>
                                    </p:set>
                                    <p:animEffect transition="in" filter="fade">
                                      <p:cBhvr>
                                        <p:cTn id="22" dur="500"/>
                                        <p:tgtEl>
                                          <p:spTgt spid="59"/>
                                        </p:tgtEl>
                                      </p:cBhvr>
                                    </p:animEffect>
                                  </p:childTnLst>
                                </p:cTn>
                              </p:par>
                            </p:childTnLst>
                          </p:cTn>
                        </p:par>
                        <p:par>
                          <p:cTn id="23" fill="hold">
                            <p:stCondLst>
                              <p:cond delay="2000"/>
                            </p:stCondLst>
                            <p:childTnLst>
                              <p:par>
                                <p:cTn id="24" presetID="10" presetClass="entr" presetSubtype="0" fill="hold" grpId="0" nodeType="afterEffect">
                                  <p:stCondLst>
                                    <p:cond delay="0"/>
                                  </p:stCondLst>
                                  <p:childTnLst>
                                    <p:set>
                                      <p:cBhvr>
                                        <p:cTn id="25" dur="1" fill="hold">
                                          <p:stCondLst>
                                            <p:cond delay="0"/>
                                          </p:stCondLst>
                                        </p:cTn>
                                        <p:tgtEl>
                                          <p:spTgt spid="74"/>
                                        </p:tgtEl>
                                        <p:attrNameLst>
                                          <p:attrName>style.visibility</p:attrName>
                                        </p:attrNameLst>
                                      </p:cBhvr>
                                      <p:to>
                                        <p:strVal val="visible"/>
                                      </p:to>
                                    </p:set>
                                    <p:animEffect transition="in" filter="fade">
                                      <p:cBhvr>
                                        <p:cTn id="26" dur="500"/>
                                        <p:tgtEl>
                                          <p:spTgt spid="74"/>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73"/>
                                        </p:tgtEl>
                                        <p:attrNameLst>
                                          <p:attrName>style.visibility</p:attrName>
                                        </p:attrNameLst>
                                      </p:cBhvr>
                                      <p:to>
                                        <p:strVal val="visible"/>
                                      </p:to>
                                    </p:set>
                                    <p:animEffect transition="in" filter="fade">
                                      <p:cBhvr>
                                        <p:cTn id="29" dur="500"/>
                                        <p:tgtEl>
                                          <p:spTgt spid="73"/>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72"/>
                                        </p:tgtEl>
                                        <p:attrNameLst>
                                          <p:attrName>style.visibility</p:attrName>
                                        </p:attrNameLst>
                                      </p:cBhvr>
                                      <p:to>
                                        <p:strVal val="visible"/>
                                      </p:to>
                                    </p:set>
                                    <p:animEffect transition="in" filter="fade">
                                      <p:cBhvr>
                                        <p:cTn id="32" dur="500"/>
                                        <p:tgtEl>
                                          <p:spTgt spid="72"/>
                                        </p:tgtEl>
                                      </p:cBhvr>
                                    </p:animEffect>
                                  </p:childTnLst>
                                </p:cTn>
                              </p:par>
                            </p:childTnLst>
                          </p:cTn>
                        </p:par>
                        <p:par>
                          <p:cTn id="33" fill="hold">
                            <p:stCondLst>
                              <p:cond delay="2500"/>
                            </p:stCondLst>
                            <p:childTnLst>
                              <p:par>
                                <p:cTn id="34" presetID="10" presetClass="entr" presetSubtype="0" fill="hold" nodeType="afterEffect">
                                  <p:stCondLst>
                                    <p:cond delay="0"/>
                                  </p:stCondLst>
                                  <p:childTnLst>
                                    <p:set>
                                      <p:cBhvr>
                                        <p:cTn id="35" dur="1" fill="hold">
                                          <p:stCondLst>
                                            <p:cond delay="0"/>
                                          </p:stCondLst>
                                        </p:cTn>
                                        <p:tgtEl>
                                          <p:spTgt spid="16"/>
                                        </p:tgtEl>
                                        <p:attrNameLst>
                                          <p:attrName>style.visibility</p:attrName>
                                        </p:attrNameLst>
                                      </p:cBhvr>
                                      <p:to>
                                        <p:strVal val="visible"/>
                                      </p:to>
                                    </p:set>
                                    <p:animEffect transition="in" filter="fade">
                                      <p:cBhvr>
                                        <p:cTn id="36" dur="500"/>
                                        <p:tgtEl>
                                          <p:spTgt spid="16"/>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65"/>
                                        </p:tgtEl>
                                        <p:attrNameLst>
                                          <p:attrName>style.visibility</p:attrName>
                                        </p:attrNameLst>
                                      </p:cBhvr>
                                      <p:to>
                                        <p:strVal val="visible"/>
                                      </p:to>
                                    </p:set>
                                    <p:animEffect transition="in" filter="fade">
                                      <p:cBhvr>
                                        <p:cTn id="39" dur="500"/>
                                        <p:tgtEl>
                                          <p:spTgt spid="65"/>
                                        </p:tgtEl>
                                      </p:cBhvr>
                                    </p:animEffect>
                                  </p:childTnLst>
                                </p:cTn>
                              </p:par>
                            </p:childTnLst>
                          </p:cTn>
                        </p:par>
                        <p:par>
                          <p:cTn id="40" fill="hold">
                            <p:stCondLst>
                              <p:cond delay="3000"/>
                            </p:stCondLst>
                            <p:childTnLst>
                              <p:par>
                                <p:cTn id="41" presetID="10" presetClass="entr" presetSubtype="0" fill="hold" grpId="0" nodeType="afterEffect">
                                  <p:stCondLst>
                                    <p:cond delay="0"/>
                                  </p:stCondLst>
                                  <p:childTnLst>
                                    <p:set>
                                      <p:cBhvr>
                                        <p:cTn id="42" dur="1" fill="hold">
                                          <p:stCondLst>
                                            <p:cond delay="0"/>
                                          </p:stCondLst>
                                        </p:cTn>
                                        <p:tgtEl>
                                          <p:spTgt spid="76"/>
                                        </p:tgtEl>
                                        <p:attrNameLst>
                                          <p:attrName>style.visibility</p:attrName>
                                        </p:attrNameLst>
                                      </p:cBhvr>
                                      <p:to>
                                        <p:strVal val="visible"/>
                                      </p:to>
                                    </p:set>
                                    <p:animEffect transition="in" filter="fade">
                                      <p:cBhvr>
                                        <p:cTn id="43" dur="500"/>
                                        <p:tgtEl>
                                          <p:spTgt spid="76"/>
                                        </p:tgtEl>
                                      </p:cBhvr>
                                    </p:animEffect>
                                  </p:childTnLst>
                                </p:cTn>
                              </p:par>
                              <p:par>
                                <p:cTn id="44" presetID="10" presetClass="entr" presetSubtype="0" fill="hold" grpId="0" nodeType="withEffect">
                                  <p:stCondLst>
                                    <p:cond delay="0"/>
                                  </p:stCondLst>
                                  <p:childTnLst>
                                    <p:set>
                                      <p:cBhvr>
                                        <p:cTn id="45" dur="1" fill="hold">
                                          <p:stCondLst>
                                            <p:cond delay="0"/>
                                          </p:stCondLst>
                                        </p:cTn>
                                        <p:tgtEl>
                                          <p:spTgt spid="77"/>
                                        </p:tgtEl>
                                        <p:attrNameLst>
                                          <p:attrName>style.visibility</p:attrName>
                                        </p:attrNameLst>
                                      </p:cBhvr>
                                      <p:to>
                                        <p:strVal val="visible"/>
                                      </p:to>
                                    </p:set>
                                    <p:animEffect transition="in" filter="fade">
                                      <p:cBhvr>
                                        <p:cTn id="46" dur="500"/>
                                        <p:tgtEl>
                                          <p:spTgt spid="77"/>
                                        </p:tgtEl>
                                      </p:cBhvr>
                                    </p:animEffect>
                                  </p:childTnLst>
                                </p:cTn>
                              </p:par>
                              <p:par>
                                <p:cTn id="47" presetID="10" presetClass="entr" presetSubtype="0" fill="hold" grpId="0" nodeType="withEffect">
                                  <p:stCondLst>
                                    <p:cond delay="0"/>
                                  </p:stCondLst>
                                  <p:childTnLst>
                                    <p:set>
                                      <p:cBhvr>
                                        <p:cTn id="48" dur="1" fill="hold">
                                          <p:stCondLst>
                                            <p:cond delay="0"/>
                                          </p:stCondLst>
                                        </p:cTn>
                                        <p:tgtEl>
                                          <p:spTgt spid="75"/>
                                        </p:tgtEl>
                                        <p:attrNameLst>
                                          <p:attrName>style.visibility</p:attrName>
                                        </p:attrNameLst>
                                      </p:cBhvr>
                                      <p:to>
                                        <p:strVal val="visible"/>
                                      </p:to>
                                    </p:set>
                                    <p:animEffect transition="in" filter="fade">
                                      <p:cBhvr>
                                        <p:cTn id="49" dur="500"/>
                                        <p:tgtEl>
                                          <p:spTgt spid="75"/>
                                        </p:tgtEl>
                                      </p:cBhvr>
                                    </p:animEffect>
                                  </p:childTnLst>
                                </p:cTn>
                              </p:par>
                            </p:childTnLst>
                          </p:cTn>
                        </p:par>
                        <p:par>
                          <p:cTn id="50" fill="hold">
                            <p:stCondLst>
                              <p:cond delay="3500"/>
                            </p:stCondLst>
                            <p:childTnLst>
                              <p:par>
                                <p:cTn id="51" presetID="10" presetClass="entr" presetSubtype="0" fill="hold" nodeType="afterEffect">
                                  <p:stCondLst>
                                    <p:cond delay="0"/>
                                  </p:stCondLst>
                                  <p:childTnLst>
                                    <p:set>
                                      <p:cBhvr>
                                        <p:cTn id="52" dur="1" fill="hold">
                                          <p:stCondLst>
                                            <p:cond delay="0"/>
                                          </p:stCondLst>
                                        </p:cTn>
                                        <p:tgtEl>
                                          <p:spTgt spid="2"/>
                                        </p:tgtEl>
                                        <p:attrNameLst>
                                          <p:attrName>style.visibility</p:attrName>
                                        </p:attrNameLst>
                                      </p:cBhvr>
                                      <p:to>
                                        <p:strVal val="visible"/>
                                      </p:to>
                                    </p:set>
                                    <p:animEffect transition="in" filter="fade">
                                      <p:cBhvr>
                                        <p:cTn id="53" dur="500"/>
                                        <p:tgtEl>
                                          <p:spTgt spid="2"/>
                                        </p:tgtEl>
                                      </p:cBhvr>
                                    </p:animEffect>
                                  </p:childTnLst>
                                </p:cTn>
                              </p:par>
                              <p:par>
                                <p:cTn id="54" presetID="10" presetClass="entr" presetSubtype="0" fill="hold" nodeType="withEffect">
                                  <p:stCondLst>
                                    <p:cond delay="0"/>
                                  </p:stCondLst>
                                  <p:childTnLst>
                                    <p:set>
                                      <p:cBhvr>
                                        <p:cTn id="55" dur="1" fill="hold">
                                          <p:stCondLst>
                                            <p:cond delay="0"/>
                                          </p:stCondLst>
                                        </p:cTn>
                                        <p:tgtEl>
                                          <p:spTgt spid="47"/>
                                        </p:tgtEl>
                                        <p:attrNameLst>
                                          <p:attrName>style.visibility</p:attrName>
                                        </p:attrNameLst>
                                      </p:cBhvr>
                                      <p:to>
                                        <p:strVal val="visible"/>
                                      </p:to>
                                    </p:set>
                                    <p:animEffect transition="in" filter="fade">
                                      <p:cBhvr>
                                        <p:cTn id="56" dur="500"/>
                                        <p:tgtEl>
                                          <p:spTgt spid="47"/>
                                        </p:tgtEl>
                                      </p:cBhvr>
                                    </p:animEffect>
                                  </p:childTnLst>
                                </p:cTn>
                              </p:par>
                            </p:childTnLst>
                          </p:cTn>
                        </p:par>
                        <p:par>
                          <p:cTn id="57" fill="hold">
                            <p:stCondLst>
                              <p:cond delay="4000"/>
                            </p:stCondLst>
                            <p:childTnLst>
                              <p:par>
                                <p:cTn id="58" presetID="10" presetClass="entr" presetSubtype="0" fill="hold" grpId="0" nodeType="afterEffect">
                                  <p:stCondLst>
                                    <p:cond delay="0"/>
                                  </p:stCondLst>
                                  <p:childTnLst>
                                    <p:set>
                                      <p:cBhvr>
                                        <p:cTn id="59" dur="1" fill="hold">
                                          <p:stCondLst>
                                            <p:cond delay="0"/>
                                          </p:stCondLst>
                                        </p:cTn>
                                        <p:tgtEl>
                                          <p:spTgt spid="68"/>
                                        </p:tgtEl>
                                        <p:attrNameLst>
                                          <p:attrName>style.visibility</p:attrName>
                                        </p:attrNameLst>
                                      </p:cBhvr>
                                      <p:to>
                                        <p:strVal val="visible"/>
                                      </p:to>
                                    </p:set>
                                    <p:animEffect transition="in" filter="fade">
                                      <p:cBhvr>
                                        <p:cTn id="60" dur="500"/>
                                        <p:tgtEl>
                                          <p:spTgt spid="68"/>
                                        </p:tgtEl>
                                      </p:cBhvr>
                                    </p:animEffect>
                                  </p:childTnLst>
                                </p:cTn>
                              </p:par>
                              <p:par>
                                <p:cTn id="61" presetID="10" presetClass="entr" presetSubtype="0" fill="hold" grpId="0" nodeType="withEffect">
                                  <p:stCondLst>
                                    <p:cond delay="0"/>
                                  </p:stCondLst>
                                  <p:childTnLst>
                                    <p:set>
                                      <p:cBhvr>
                                        <p:cTn id="62" dur="1" fill="hold">
                                          <p:stCondLst>
                                            <p:cond delay="0"/>
                                          </p:stCondLst>
                                        </p:cTn>
                                        <p:tgtEl>
                                          <p:spTgt spid="67"/>
                                        </p:tgtEl>
                                        <p:attrNameLst>
                                          <p:attrName>style.visibility</p:attrName>
                                        </p:attrNameLst>
                                      </p:cBhvr>
                                      <p:to>
                                        <p:strVal val="visible"/>
                                      </p:to>
                                    </p:set>
                                    <p:animEffect transition="in" filter="fade">
                                      <p:cBhvr>
                                        <p:cTn id="63" dur="500"/>
                                        <p:tgtEl>
                                          <p:spTgt spid="67"/>
                                        </p:tgtEl>
                                      </p:cBhvr>
                                    </p:animEffect>
                                  </p:childTnLst>
                                </p:cTn>
                              </p:par>
                              <p:par>
                                <p:cTn id="64" presetID="10" presetClass="entr" presetSubtype="0" fill="hold" grpId="0" nodeType="withEffect">
                                  <p:stCondLst>
                                    <p:cond delay="0"/>
                                  </p:stCondLst>
                                  <p:childTnLst>
                                    <p:set>
                                      <p:cBhvr>
                                        <p:cTn id="65" dur="1" fill="hold">
                                          <p:stCondLst>
                                            <p:cond delay="0"/>
                                          </p:stCondLst>
                                        </p:cTn>
                                        <p:tgtEl>
                                          <p:spTgt spid="66"/>
                                        </p:tgtEl>
                                        <p:attrNameLst>
                                          <p:attrName>style.visibility</p:attrName>
                                        </p:attrNameLst>
                                      </p:cBhvr>
                                      <p:to>
                                        <p:strVal val="visible"/>
                                      </p:to>
                                    </p:set>
                                    <p:animEffect transition="in" filter="fade">
                                      <p:cBhvr>
                                        <p:cTn id="66" dur="500"/>
                                        <p:tgtEl>
                                          <p:spTgt spid="66"/>
                                        </p:tgtEl>
                                      </p:cBhvr>
                                    </p:animEffect>
                                  </p:childTnLst>
                                </p:cTn>
                              </p:par>
                            </p:childTnLst>
                          </p:cTn>
                        </p:par>
                        <p:par>
                          <p:cTn id="67" fill="hold">
                            <p:stCondLst>
                              <p:cond delay="4500"/>
                            </p:stCondLst>
                            <p:childTnLst>
                              <p:par>
                                <p:cTn id="68" presetID="10" presetClass="entr" presetSubtype="0" fill="hold" nodeType="afterEffect">
                                  <p:stCondLst>
                                    <p:cond delay="0"/>
                                  </p:stCondLst>
                                  <p:childTnLst>
                                    <p:set>
                                      <p:cBhvr>
                                        <p:cTn id="69" dur="1" fill="hold">
                                          <p:stCondLst>
                                            <p:cond delay="0"/>
                                          </p:stCondLst>
                                        </p:cTn>
                                        <p:tgtEl>
                                          <p:spTgt spid="55"/>
                                        </p:tgtEl>
                                        <p:attrNameLst>
                                          <p:attrName>style.visibility</p:attrName>
                                        </p:attrNameLst>
                                      </p:cBhvr>
                                      <p:to>
                                        <p:strVal val="visible"/>
                                      </p:to>
                                    </p:set>
                                    <p:animEffect transition="in" filter="fade">
                                      <p:cBhvr>
                                        <p:cTn id="70" dur="500"/>
                                        <p:tgtEl>
                                          <p:spTgt spid="55"/>
                                        </p:tgtEl>
                                      </p:cBhvr>
                                    </p:animEffect>
                                  </p:childTnLst>
                                </p:cTn>
                              </p:par>
                              <p:par>
                                <p:cTn id="71" presetID="10" presetClass="entr" presetSubtype="0" fill="hold" nodeType="withEffect">
                                  <p:stCondLst>
                                    <p:cond delay="0"/>
                                  </p:stCondLst>
                                  <p:childTnLst>
                                    <p:set>
                                      <p:cBhvr>
                                        <p:cTn id="72" dur="1" fill="hold">
                                          <p:stCondLst>
                                            <p:cond delay="0"/>
                                          </p:stCondLst>
                                        </p:cTn>
                                        <p:tgtEl>
                                          <p:spTgt spid="11"/>
                                        </p:tgtEl>
                                        <p:attrNameLst>
                                          <p:attrName>style.visibility</p:attrName>
                                        </p:attrNameLst>
                                      </p:cBhvr>
                                      <p:to>
                                        <p:strVal val="visible"/>
                                      </p:to>
                                    </p:set>
                                    <p:animEffect transition="in" filter="fade">
                                      <p:cBhvr>
                                        <p:cTn id="73" dur="500"/>
                                        <p:tgtEl>
                                          <p:spTgt spid="11"/>
                                        </p:tgtEl>
                                      </p:cBhvr>
                                    </p:animEffect>
                                  </p:childTnLst>
                                </p:cTn>
                              </p:par>
                            </p:childTnLst>
                          </p:cTn>
                        </p:par>
                        <p:par>
                          <p:cTn id="74" fill="hold">
                            <p:stCondLst>
                              <p:cond delay="5000"/>
                            </p:stCondLst>
                            <p:childTnLst>
                              <p:par>
                                <p:cTn id="75" presetID="10" presetClass="entr" presetSubtype="0" fill="hold" grpId="0" nodeType="afterEffect">
                                  <p:stCondLst>
                                    <p:cond delay="0"/>
                                  </p:stCondLst>
                                  <p:childTnLst>
                                    <p:set>
                                      <p:cBhvr>
                                        <p:cTn id="76" dur="1" fill="hold">
                                          <p:stCondLst>
                                            <p:cond delay="0"/>
                                          </p:stCondLst>
                                        </p:cTn>
                                        <p:tgtEl>
                                          <p:spTgt spid="71"/>
                                        </p:tgtEl>
                                        <p:attrNameLst>
                                          <p:attrName>style.visibility</p:attrName>
                                        </p:attrNameLst>
                                      </p:cBhvr>
                                      <p:to>
                                        <p:strVal val="visible"/>
                                      </p:to>
                                    </p:set>
                                    <p:animEffect transition="in" filter="fade">
                                      <p:cBhvr>
                                        <p:cTn id="77" dur="500"/>
                                        <p:tgtEl>
                                          <p:spTgt spid="71"/>
                                        </p:tgtEl>
                                      </p:cBhvr>
                                    </p:animEffect>
                                  </p:childTnLst>
                                </p:cTn>
                              </p:par>
                              <p:par>
                                <p:cTn id="78" presetID="10" presetClass="entr" presetSubtype="0" fill="hold" grpId="0" nodeType="withEffect">
                                  <p:stCondLst>
                                    <p:cond delay="0"/>
                                  </p:stCondLst>
                                  <p:childTnLst>
                                    <p:set>
                                      <p:cBhvr>
                                        <p:cTn id="79" dur="1" fill="hold">
                                          <p:stCondLst>
                                            <p:cond delay="0"/>
                                          </p:stCondLst>
                                        </p:cTn>
                                        <p:tgtEl>
                                          <p:spTgt spid="70"/>
                                        </p:tgtEl>
                                        <p:attrNameLst>
                                          <p:attrName>style.visibility</p:attrName>
                                        </p:attrNameLst>
                                      </p:cBhvr>
                                      <p:to>
                                        <p:strVal val="visible"/>
                                      </p:to>
                                    </p:set>
                                    <p:animEffect transition="in" filter="fade">
                                      <p:cBhvr>
                                        <p:cTn id="80" dur="500"/>
                                        <p:tgtEl>
                                          <p:spTgt spid="70"/>
                                        </p:tgtEl>
                                      </p:cBhvr>
                                    </p:animEffect>
                                  </p:childTnLst>
                                </p:cTn>
                              </p:par>
                              <p:par>
                                <p:cTn id="81" presetID="10" presetClass="entr" presetSubtype="0" fill="hold" grpId="0" nodeType="withEffect">
                                  <p:stCondLst>
                                    <p:cond delay="0"/>
                                  </p:stCondLst>
                                  <p:childTnLst>
                                    <p:set>
                                      <p:cBhvr>
                                        <p:cTn id="82" dur="1" fill="hold">
                                          <p:stCondLst>
                                            <p:cond delay="0"/>
                                          </p:stCondLst>
                                        </p:cTn>
                                        <p:tgtEl>
                                          <p:spTgt spid="69"/>
                                        </p:tgtEl>
                                        <p:attrNameLst>
                                          <p:attrName>style.visibility</p:attrName>
                                        </p:attrNameLst>
                                      </p:cBhvr>
                                      <p:to>
                                        <p:strVal val="visible"/>
                                      </p:to>
                                    </p:set>
                                    <p:animEffect transition="in" filter="fade">
                                      <p:cBhvr>
                                        <p:cTn id="83" dur="500"/>
                                        <p:tgtEl>
                                          <p:spTgt spid="6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p:bldP spid="65" grpId="0" animBg="1"/>
      <p:bldP spid="66" grpId="0"/>
      <p:bldP spid="67" grpId="0"/>
      <p:bldP spid="68" grpId="0"/>
      <p:bldP spid="69" grpId="0"/>
      <p:bldP spid="70" grpId="0"/>
      <p:bldP spid="71" grpId="0"/>
      <p:bldP spid="72" grpId="0"/>
      <p:bldP spid="73" grpId="0"/>
      <p:bldP spid="74" grpId="0"/>
      <p:bldP spid="75" grpId="0"/>
      <p:bldP spid="76" grpId="0"/>
      <p:bldP spid="77" grpId="0"/>
    </p:bldLst>
  </p:timing>
</p:sld>
</file>

<file path=ppt/slides/slide6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7">
            <a:extLst>
              <a:ext uri="{FF2B5EF4-FFF2-40B4-BE49-F238E27FC236}">
                <a16:creationId xmlns:a16="http://schemas.microsoft.com/office/drawing/2014/main" id="{FE928894-7D17-4324-8073-3AB464958A25}"/>
              </a:ext>
            </a:extLst>
          </p:cNvPr>
          <p:cNvGrpSpPr/>
          <p:nvPr/>
        </p:nvGrpSpPr>
        <p:grpSpPr>
          <a:xfrm>
            <a:off x="5481061" y="1969655"/>
            <a:ext cx="1230988" cy="4892662"/>
            <a:chOff x="5481061" y="1969655"/>
            <a:chExt cx="1230988" cy="4892662"/>
          </a:xfrm>
        </p:grpSpPr>
        <p:sp>
          <p:nvSpPr>
            <p:cNvPr id="3" name="Freeform: Shape 21">
              <a:extLst>
                <a:ext uri="{FF2B5EF4-FFF2-40B4-BE49-F238E27FC236}">
                  <a16:creationId xmlns:a16="http://schemas.microsoft.com/office/drawing/2014/main" id="{4E976269-513D-43DE-BCCE-AA1F633E39E5}"/>
                </a:ext>
              </a:extLst>
            </p:cNvPr>
            <p:cNvSpPr/>
            <p:nvPr/>
          </p:nvSpPr>
          <p:spPr>
            <a:xfrm>
              <a:off x="5481061" y="1969655"/>
              <a:ext cx="1230988" cy="1253326"/>
            </a:xfrm>
            <a:custGeom>
              <a:avLst/>
              <a:gdLst>
                <a:gd name="connsiteX0" fmla="*/ 625483 w 1250962"/>
                <a:gd name="connsiteY0" fmla="*/ 1273662 h 1273662"/>
                <a:gd name="connsiteX1" fmla="*/ 1250962 w 1250962"/>
                <a:gd name="connsiteY1" fmla="*/ 636831 h 1273662"/>
                <a:gd name="connsiteX2" fmla="*/ 625483 w 1250962"/>
                <a:gd name="connsiteY2" fmla="*/ 0 h 1273662"/>
                <a:gd name="connsiteX3" fmla="*/ 3 w 1250962"/>
                <a:gd name="connsiteY3" fmla="*/ 636831 h 1273662"/>
                <a:gd name="connsiteX4" fmla="*/ 625483 w 1250962"/>
                <a:gd name="connsiteY4" fmla="*/ 1273662 h 12736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50962" h="1273662">
                  <a:moveTo>
                    <a:pt x="625483" y="1273662"/>
                  </a:moveTo>
                  <a:cubicBezTo>
                    <a:pt x="970575" y="1273662"/>
                    <a:pt x="1250962" y="987599"/>
                    <a:pt x="1250962" y="636831"/>
                  </a:cubicBezTo>
                  <a:cubicBezTo>
                    <a:pt x="1250962" y="286063"/>
                    <a:pt x="969440" y="0"/>
                    <a:pt x="625483" y="0"/>
                  </a:cubicBezTo>
                  <a:cubicBezTo>
                    <a:pt x="280391" y="0"/>
                    <a:pt x="3" y="286063"/>
                    <a:pt x="3" y="636831"/>
                  </a:cubicBezTo>
                  <a:cubicBezTo>
                    <a:pt x="-1132" y="986464"/>
                    <a:pt x="280391" y="1273662"/>
                    <a:pt x="625483" y="1273662"/>
                  </a:cubicBezTo>
                  <a:close/>
                </a:path>
              </a:pathLst>
            </a:custGeom>
            <a:solidFill>
              <a:schemeClr val="accent4"/>
            </a:solidFill>
            <a:ln w="1134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4" name="Freeform: Shape 8">
              <a:extLst>
                <a:ext uri="{FF2B5EF4-FFF2-40B4-BE49-F238E27FC236}">
                  <a16:creationId xmlns:a16="http://schemas.microsoft.com/office/drawing/2014/main" id="{03D3F94F-23DB-43F0-A2B3-0C86124F0FF8}"/>
                </a:ext>
              </a:extLst>
            </p:cNvPr>
            <p:cNvSpPr/>
            <p:nvPr/>
          </p:nvSpPr>
          <p:spPr>
            <a:xfrm>
              <a:off x="6000491" y="2301418"/>
              <a:ext cx="191015" cy="4560899"/>
            </a:xfrm>
            <a:custGeom>
              <a:avLst/>
              <a:gdLst>
                <a:gd name="connsiteX0" fmla="*/ 0 w 194114"/>
                <a:gd name="connsiteY0" fmla="*/ 0 h 4634904"/>
                <a:gd name="connsiteX1" fmla="*/ 194114 w 194114"/>
                <a:gd name="connsiteY1" fmla="*/ 0 h 4634904"/>
                <a:gd name="connsiteX2" fmla="*/ 194114 w 194114"/>
                <a:gd name="connsiteY2" fmla="*/ 4634904 h 4634904"/>
                <a:gd name="connsiteX3" fmla="*/ 0 w 194114"/>
                <a:gd name="connsiteY3" fmla="*/ 4634904 h 4634904"/>
              </a:gdLst>
              <a:ahLst/>
              <a:cxnLst>
                <a:cxn ang="0">
                  <a:pos x="connsiteX0" y="connsiteY0"/>
                </a:cxn>
                <a:cxn ang="0">
                  <a:pos x="connsiteX1" y="connsiteY1"/>
                </a:cxn>
                <a:cxn ang="0">
                  <a:pos x="connsiteX2" y="connsiteY2"/>
                </a:cxn>
                <a:cxn ang="0">
                  <a:pos x="connsiteX3" y="connsiteY3"/>
                </a:cxn>
              </a:cxnLst>
              <a:rect l="l" t="t" r="r" b="b"/>
              <a:pathLst>
                <a:path w="194114" h="4634904">
                  <a:moveTo>
                    <a:pt x="0" y="0"/>
                  </a:moveTo>
                  <a:lnTo>
                    <a:pt x="194114" y="0"/>
                  </a:lnTo>
                  <a:lnTo>
                    <a:pt x="194114" y="4634904"/>
                  </a:lnTo>
                  <a:lnTo>
                    <a:pt x="0" y="4634904"/>
                  </a:lnTo>
                  <a:close/>
                </a:path>
              </a:pathLst>
            </a:custGeom>
            <a:solidFill>
              <a:schemeClr val="accent4"/>
            </a:solidFill>
            <a:ln w="1134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useBgFill="1">
          <p:nvSpPr>
            <p:cNvPr id="5" name="Freeform: Shape 33">
              <a:extLst>
                <a:ext uri="{FF2B5EF4-FFF2-40B4-BE49-F238E27FC236}">
                  <a16:creationId xmlns:a16="http://schemas.microsoft.com/office/drawing/2014/main" id="{E2222B81-A6C0-4CB7-9578-B86084B870AD}"/>
                </a:ext>
              </a:extLst>
            </p:cNvPr>
            <p:cNvSpPr/>
            <p:nvPr/>
          </p:nvSpPr>
          <p:spPr>
            <a:xfrm>
              <a:off x="5564844" y="2052316"/>
              <a:ext cx="1063428" cy="1085768"/>
            </a:xfrm>
            <a:custGeom>
              <a:avLst/>
              <a:gdLst>
                <a:gd name="connsiteX0" fmla="*/ 540342 w 1080683"/>
                <a:gd name="connsiteY0" fmla="*/ 1103386 h 1103386"/>
                <a:gd name="connsiteX1" fmla="*/ 1080683 w 1080683"/>
                <a:gd name="connsiteY1" fmla="*/ 551693 h 1103386"/>
                <a:gd name="connsiteX2" fmla="*/ 540342 w 1080683"/>
                <a:gd name="connsiteY2" fmla="*/ 0 h 1103386"/>
                <a:gd name="connsiteX3" fmla="*/ 0 w 1080683"/>
                <a:gd name="connsiteY3" fmla="*/ 551693 h 1103386"/>
                <a:gd name="connsiteX4" fmla="*/ 540342 w 1080683"/>
                <a:gd name="connsiteY4" fmla="*/ 1103386 h 11033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0683" h="1103386">
                  <a:moveTo>
                    <a:pt x="540342" y="1103386"/>
                  </a:moveTo>
                  <a:cubicBezTo>
                    <a:pt x="837756" y="1103386"/>
                    <a:pt x="1080683" y="855919"/>
                    <a:pt x="1080683" y="551693"/>
                  </a:cubicBezTo>
                  <a:cubicBezTo>
                    <a:pt x="1080683" y="247467"/>
                    <a:pt x="837756" y="0"/>
                    <a:pt x="540342" y="0"/>
                  </a:cubicBezTo>
                  <a:cubicBezTo>
                    <a:pt x="242927" y="0"/>
                    <a:pt x="0" y="247467"/>
                    <a:pt x="0" y="551693"/>
                  </a:cubicBezTo>
                  <a:cubicBezTo>
                    <a:pt x="0" y="855919"/>
                    <a:pt x="242927" y="1103386"/>
                    <a:pt x="540342" y="1103386"/>
                  </a:cubicBezTo>
                  <a:close/>
                </a:path>
              </a:pathLst>
            </a:custGeom>
            <a:ln w="1134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grpSp>
        <p:nvGrpSpPr>
          <p:cNvPr id="6" name="Group 37">
            <a:extLst>
              <a:ext uri="{FF2B5EF4-FFF2-40B4-BE49-F238E27FC236}">
                <a16:creationId xmlns:a16="http://schemas.microsoft.com/office/drawing/2014/main" id="{2997E23A-95A2-4C5D-9921-130AAD9112B4}"/>
              </a:ext>
            </a:extLst>
          </p:cNvPr>
          <p:cNvGrpSpPr/>
          <p:nvPr/>
        </p:nvGrpSpPr>
        <p:grpSpPr>
          <a:xfrm>
            <a:off x="4101513" y="2078008"/>
            <a:ext cx="1182951" cy="1955948"/>
            <a:chOff x="4101513" y="2078008"/>
            <a:chExt cx="1182951" cy="1955948"/>
          </a:xfrm>
        </p:grpSpPr>
        <p:sp>
          <p:nvSpPr>
            <p:cNvPr id="7" name="Freeform: Shape 14">
              <a:extLst>
                <a:ext uri="{FF2B5EF4-FFF2-40B4-BE49-F238E27FC236}">
                  <a16:creationId xmlns:a16="http://schemas.microsoft.com/office/drawing/2014/main" id="{44B446C7-6EB6-4E73-99E4-351CE86598B0}"/>
                </a:ext>
              </a:extLst>
            </p:cNvPr>
            <p:cNvSpPr/>
            <p:nvPr/>
          </p:nvSpPr>
          <p:spPr>
            <a:xfrm>
              <a:off x="4555034" y="2942602"/>
              <a:ext cx="729430" cy="1091354"/>
            </a:xfrm>
            <a:custGeom>
              <a:avLst/>
              <a:gdLst>
                <a:gd name="connsiteX0" fmla="*/ 741267 w 741266"/>
                <a:gd name="connsiteY0" fmla="*/ 1109062 h 1109062"/>
                <a:gd name="connsiteX1" fmla="*/ 741267 w 741266"/>
                <a:gd name="connsiteY1" fmla="*/ 884299 h 1109062"/>
                <a:gd name="connsiteX2" fmla="*/ 194114 w 741266"/>
                <a:gd name="connsiteY2" fmla="*/ 568721 h 1109062"/>
                <a:gd name="connsiteX3" fmla="*/ 194114 w 741266"/>
                <a:gd name="connsiteY3" fmla="*/ 0 h 1109062"/>
                <a:gd name="connsiteX4" fmla="*/ 0 w 741266"/>
                <a:gd name="connsiteY4" fmla="*/ 112382 h 1109062"/>
                <a:gd name="connsiteX5" fmla="*/ 0 w 741266"/>
                <a:gd name="connsiteY5" fmla="*/ 682238 h 1109062"/>
                <a:gd name="connsiteX6" fmla="*/ 246332 w 741266"/>
                <a:gd name="connsiteY6" fmla="*/ 824134 h 1109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41266" h="1109062">
                  <a:moveTo>
                    <a:pt x="741267" y="1109062"/>
                  </a:moveTo>
                  <a:lnTo>
                    <a:pt x="741267" y="884299"/>
                  </a:lnTo>
                  <a:lnTo>
                    <a:pt x="194114" y="568721"/>
                  </a:lnTo>
                  <a:lnTo>
                    <a:pt x="194114" y="0"/>
                  </a:lnTo>
                  <a:lnTo>
                    <a:pt x="0" y="112382"/>
                  </a:lnTo>
                  <a:lnTo>
                    <a:pt x="0" y="682238"/>
                  </a:lnTo>
                  <a:lnTo>
                    <a:pt x="246332" y="824134"/>
                  </a:lnTo>
                  <a:close/>
                </a:path>
              </a:pathLst>
            </a:custGeom>
            <a:solidFill>
              <a:schemeClr val="accent3"/>
            </a:solidFill>
            <a:ln w="1134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8" name="Freeform: Shape 16">
              <a:extLst>
                <a:ext uri="{FF2B5EF4-FFF2-40B4-BE49-F238E27FC236}">
                  <a16:creationId xmlns:a16="http://schemas.microsoft.com/office/drawing/2014/main" id="{CFAB8168-C4A7-4321-968E-6C254B3C21F9}"/>
                </a:ext>
              </a:extLst>
            </p:cNvPr>
            <p:cNvSpPr/>
            <p:nvPr/>
          </p:nvSpPr>
          <p:spPr>
            <a:xfrm>
              <a:off x="4101513" y="2078008"/>
              <a:ext cx="1096939" cy="1117046"/>
            </a:xfrm>
            <a:custGeom>
              <a:avLst/>
              <a:gdLst>
                <a:gd name="connsiteX0" fmla="*/ 557369 w 1114738"/>
                <a:gd name="connsiteY0" fmla="*/ 1135171 h 1135171"/>
                <a:gd name="connsiteX1" fmla="*/ 1114738 w 1114738"/>
                <a:gd name="connsiteY1" fmla="*/ 567586 h 1135171"/>
                <a:gd name="connsiteX2" fmla="*/ 557369 w 1114738"/>
                <a:gd name="connsiteY2" fmla="*/ 0 h 1135171"/>
                <a:gd name="connsiteX3" fmla="*/ 0 w 1114738"/>
                <a:gd name="connsiteY3" fmla="*/ 567586 h 1135171"/>
                <a:gd name="connsiteX4" fmla="*/ 557369 w 1114738"/>
                <a:gd name="connsiteY4" fmla="*/ 1135171 h 11351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4738" h="1135171">
                  <a:moveTo>
                    <a:pt x="557369" y="1135171"/>
                  </a:moveTo>
                  <a:cubicBezTo>
                    <a:pt x="865000" y="1135171"/>
                    <a:pt x="1114738" y="879758"/>
                    <a:pt x="1114738" y="567586"/>
                  </a:cubicBezTo>
                  <a:cubicBezTo>
                    <a:pt x="1114738" y="254278"/>
                    <a:pt x="863865" y="0"/>
                    <a:pt x="557369" y="0"/>
                  </a:cubicBezTo>
                  <a:cubicBezTo>
                    <a:pt x="250873" y="0"/>
                    <a:pt x="0" y="255414"/>
                    <a:pt x="0" y="567586"/>
                  </a:cubicBezTo>
                  <a:cubicBezTo>
                    <a:pt x="0" y="879758"/>
                    <a:pt x="250873" y="1135171"/>
                    <a:pt x="557369" y="1135171"/>
                  </a:cubicBezTo>
                  <a:close/>
                </a:path>
              </a:pathLst>
            </a:custGeom>
            <a:solidFill>
              <a:schemeClr val="accent3"/>
            </a:solidFill>
            <a:ln w="1134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useBgFill="1">
          <p:nvSpPr>
            <p:cNvPr id="9" name="Freeform: Shape 20">
              <a:extLst>
                <a:ext uri="{FF2B5EF4-FFF2-40B4-BE49-F238E27FC236}">
                  <a16:creationId xmlns:a16="http://schemas.microsoft.com/office/drawing/2014/main" id="{2FC34CC2-5CB4-43FE-BAF4-6C3D25381271}"/>
                </a:ext>
              </a:extLst>
            </p:cNvPr>
            <p:cNvSpPr/>
            <p:nvPr/>
          </p:nvSpPr>
          <p:spPr>
            <a:xfrm>
              <a:off x="4185291" y="2161786"/>
              <a:ext cx="929382" cy="949489"/>
            </a:xfrm>
            <a:custGeom>
              <a:avLst/>
              <a:gdLst>
                <a:gd name="connsiteX0" fmla="*/ 472231 w 944462"/>
                <a:gd name="connsiteY0" fmla="*/ 964896 h 964895"/>
                <a:gd name="connsiteX1" fmla="*/ 944462 w 944462"/>
                <a:gd name="connsiteY1" fmla="*/ 482448 h 964895"/>
                <a:gd name="connsiteX2" fmla="*/ 472231 w 944462"/>
                <a:gd name="connsiteY2" fmla="*/ 0 h 964895"/>
                <a:gd name="connsiteX3" fmla="*/ 0 w 944462"/>
                <a:gd name="connsiteY3" fmla="*/ 482448 h 964895"/>
                <a:gd name="connsiteX4" fmla="*/ 472231 w 944462"/>
                <a:gd name="connsiteY4" fmla="*/ 964896 h 9648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4462" h="964895">
                  <a:moveTo>
                    <a:pt x="472231" y="964896"/>
                  </a:moveTo>
                  <a:cubicBezTo>
                    <a:pt x="732185" y="964896"/>
                    <a:pt x="944462" y="748078"/>
                    <a:pt x="944462" y="482448"/>
                  </a:cubicBezTo>
                  <a:cubicBezTo>
                    <a:pt x="944462" y="216818"/>
                    <a:pt x="732185" y="0"/>
                    <a:pt x="472231" y="0"/>
                  </a:cubicBezTo>
                  <a:cubicBezTo>
                    <a:pt x="212277" y="0"/>
                    <a:pt x="0" y="216818"/>
                    <a:pt x="0" y="482448"/>
                  </a:cubicBezTo>
                  <a:cubicBezTo>
                    <a:pt x="0" y="748078"/>
                    <a:pt x="212277" y="964896"/>
                    <a:pt x="472231" y="964896"/>
                  </a:cubicBezTo>
                  <a:close/>
                </a:path>
              </a:pathLst>
            </a:custGeom>
            <a:ln w="1134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grpSp>
        <p:nvGrpSpPr>
          <p:cNvPr id="10" name="Group 36">
            <a:extLst>
              <a:ext uri="{FF2B5EF4-FFF2-40B4-BE49-F238E27FC236}">
                <a16:creationId xmlns:a16="http://schemas.microsoft.com/office/drawing/2014/main" id="{F1E896D6-901F-46FC-9248-C69F464516A4}"/>
              </a:ext>
            </a:extLst>
          </p:cNvPr>
          <p:cNvGrpSpPr/>
          <p:nvPr/>
        </p:nvGrpSpPr>
        <p:grpSpPr>
          <a:xfrm>
            <a:off x="6907533" y="2078008"/>
            <a:ext cx="1182951" cy="1955948"/>
            <a:chOff x="6907533" y="2078008"/>
            <a:chExt cx="1182951" cy="1955948"/>
          </a:xfrm>
        </p:grpSpPr>
        <p:sp>
          <p:nvSpPr>
            <p:cNvPr id="11" name="Freeform: Shape 13">
              <a:extLst>
                <a:ext uri="{FF2B5EF4-FFF2-40B4-BE49-F238E27FC236}">
                  <a16:creationId xmlns:a16="http://schemas.microsoft.com/office/drawing/2014/main" id="{2CDFC230-784A-4E6A-BE35-E8C411C8FA5A}"/>
                </a:ext>
              </a:extLst>
            </p:cNvPr>
            <p:cNvSpPr/>
            <p:nvPr/>
          </p:nvSpPr>
          <p:spPr>
            <a:xfrm>
              <a:off x="6907533" y="2942602"/>
              <a:ext cx="730547" cy="1091354"/>
            </a:xfrm>
            <a:custGeom>
              <a:avLst/>
              <a:gdLst>
                <a:gd name="connsiteX0" fmla="*/ 0 w 742401"/>
                <a:gd name="connsiteY0" fmla="*/ 1109062 h 1109062"/>
                <a:gd name="connsiteX1" fmla="*/ 0 w 742401"/>
                <a:gd name="connsiteY1" fmla="*/ 884299 h 1109062"/>
                <a:gd name="connsiteX2" fmla="*/ 547153 w 742401"/>
                <a:gd name="connsiteY2" fmla="*/ 568721 h 1109062"/>
                <a:gd name="connsiteX3" fmla="*/ 547153 w 742401"/>
                <a:gd name="connsiteY3" fmla="*/ 0 h 1109062"/>
                <a:gd name="connsiteX4" fmla="*/ 742402 w 742401"/>
                <a:gd name="connsiteY4" fmla="*/ 112382 h 1109062"/>
                <a:gd name="connsiteX5" fmla="*/ 742402 w 742401"/>
                <a:gd name="connsiteY5" fmla="*/ 682238 h 1109062"/>
                <a:gd name="connsiteX6" fmla="*/ 494935 w 742401"/>
                <a:gd name="connsiteY6" fmla="*/ 824134 h 1109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42401" h="1109062">
                  <a:moveTo>
                    <a:pt x="0" y="1109062"/>
                  </a:moveTo>
                  <a:lnTo>
                    <a:pt x="0" y="884299"/>
                  </a:lnTo>
                  <a:lnTo>
                    <a:pt x="547153" y="568721"/>
                  </a:lnTo>
                  <a:lnTo>
                    <a:pt x="547153" y="0"/>
                  </a:lnTo>
                  <a:lnTo>
                    <a:pt x="742402" y="112382"/>
                  </a:lnTo>
                  <a:lnTo>
                    <a:pt x="742402" y="682238"/>
                  </a:lnTo>
                  <a:lnTo>
                    <a:pt x="494935" y="824134"/>
                  </a:lnTo>
                  <a:close/>
                </a:path>
              </a:pathLst>
            </a:custGeom>
            <a:solidFill>
              <a:schemeClr val="accent3"/>
            </a:solidFill>
            <a:ln w="1134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2" name="Freeform: Shape 15">
              <a:extLst>
                <a:ext uri="{FF2B5EF4-FFF2-40B4-BE49-F238E27FC236}">
                  <a16:creationId xmlns:a16="http://schemas.microsoft.com/office/drawing/2014/main" id="{5B3E039B-25D2-4909-A339-C2BB56A5E2F5}"/>
                </a:ext>
              </a:extLst>
            </p:cNvPr>
            <p:cNvSpPr/>
            <p:nvPr/>
          </p:nvSpPr>
          <p:spPr>
            <a:xfrm>
              <a:off x="6993546" y="2078008"/>
              <a:ext cx="1096938" cy="1117046"/>
            </a:xfrm>
            <a:custGeom>
              <a:avLst/>
              <a:gdLst>
                <a:gd name="connsiteX0" fmla="*/ 557369 w 1114737"/>
                <a:gd name="connsiteY0" fmla="*/ 1135171 h 1135171"/>
                <a:gd name="connsiteX1" fmla="*/ 1114738 w 1114737"/>
                <a:gd name="connsiteY1" fmla="*/ 567586 h 1135171"/>
                <a:gd name="connsiteX2" fmla="*/ 557369 w 1114737"/>
                <a:gd name="connsiteY2" fmla="*/ 0 h 1135171"/>
                <a:gd name="connsiteX3" fmla="*/ 0 w 1114737"/>
                <a:gd name="connsiteY3" fmla="*/ 567586 h 1135171"/>
                <a:gd name="connsiteX4" fmla="*/ 557369 w 1114737"/>
                <a:gd name="connsiteY4" fmla="*/ 1135171 h 11351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4737" h="1135171">
                  <a:moveTo>
                    <a:pt x="557369" y="1135171"/>
                  </a:moveTo>
                  <a:cubicBezTo>
                    <a:pt x="865000" y="1135171"/>
                    <a:pt x="1114738" y="879758"/>
                    <a:pt x="1114738" y="567586"/>
                  </a:cubicBezTo>
                  <a:cubicBezTo>
                    <a:pt x="1114738" y="254278"/>
                    <a:pt x="863865" y="0"/>
                    <a:pt x="557369" y="0"/>
                  </a:cubicBezTo>
                  <a:cubicBezTo>
                    <a:pt x="250873" y="0"/>
                    <a:pt x="0" y="255414"/>
                    <a:pt x="0" y="567586"/>
                  </a:cubicBezTo>
                  <a:cubicBezTo>
                    <a:pt x="0" y="879758"/>
                    <a:pt x="249738" y="1135171"/>
                    <a:pt x="557369" y="1135171"/>
                  </a:cubicBezTo>
                  <a:close/>
                </a:path>
              </a:pathLst>
            </a:custGeom>
            <a:solidFill>
              <a:schemeClr val="accent3"/>
            </a:solidFill>
            <a:ln w="1134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useBgFill="1">
          <p:nvSpPr>
            <p:cNvPr id="13" name="Freeform: Shape 19">
              <a:extLst>
                <a:ext uri="{FF2B5EF4-FFF2-40B4-BE49-F238E27FC236}">
                  <a16:creationId xmlns:a16="http://schemas.microsoft.com/office/drawing/2014/main" id="{25E5E22F-3898-4E31-817E-45E176EACA8D}"/>
                </a:ext>
              </a:extLst>
            </p:cNvPr>
            <p:cNvSpPr/>
            <p:nvPr/>
          </p:nvSpPr>
          <p:spPr>
            <a:xfrm>
              <a:off x="7077325" y="2161786"/>
              <a:ext cx="929382" cy="949489"/>
            </a:xfrm>
            <a:custGeom>
              <a:avLst/>
              <a:gdLst>
                <a:gd name="connsiteX0" fmla="*/ 472231 w 944462"/>
                <a:gd name="connsiteY0" fmla="*/ 964896 h 964895"/>
                <a:gd name="connsiteX1" fmla="*/ 944462 w 944462"/>
                <a:gd name="connsiteY1" fmla="*/ 482448 h 964895"/>
                <a:gd name="connsiteX2" fmla="*/ 472231 w 944462"/>
                <a:gd name="connsiteY2" fmla="*/ 0 h 964895"/>
                <a:gd name="connsiteX3" fmla="*/ 0 w 944462"/>
                <a:gd name="connsiteY3" fmla="*/ 482448 h 964895"/>
                <a:gd name="connsiteX4" fmla="*/ 472231 w 944462"/>
                <a:gd name="connsiteY4" fmla="*/ 964896 h 9648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4462" h="964895">
                  <a:moveTo>
                    <a:pt x="472231" y="964896"/>
                  </a:moveTo>
                  <a:cubicBezTo>
                    <a:pt x="732185" y="964896"/>
                    <a:pt x="944462" y="748078"/>
                    <a:pt x="944462" y="482448"/>
                  </a:cubicBezTo>
                  <a:cubicBezTo>
                    <a:pt x="944462" y="216818"/>
                    <a:pt x="732185" y="0"/>
                    <a:pt x="472231" y="0"/>
                  </a:cubicBezTo>
                  <a:cubicBezTo>
                    <a:pt x="212277" y="0"/>
                    <a:pt x="0" y="216818"/>
                    <a:pt x="0" y="482448"/>
                  </a:cubicBezTo>
                  <a:cubicBezTo>
                    <a:pt x="0" y="748078"/>
                    <a:pt x="212277" y="964896"/>
                    <a:pt x="472231" y="964896"/>
                  </a:cubicBezTo>
                  <a:close/>
                </a:path>
              </a:pathLst>
            </a:custGeom>
            <a:ln w="1134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grpSp>
        <p:nvGrpSpPr>
          <p:cNvPr id="14" name="Group 22">
            <a:extLst>
              <a:ext uri="{FF2B5EF4-FFF2-40B4-BE49-F238E27FC236}">
                <a16:creationId xmlns:a16="http://schemas.microsoft.com/office/drawing/2014/main" id="{60EC27C7-963A-4E7D-93F3-C9003D87CE67}"/>
              </a:ext>
            </a:extLst>
          </p:cNvPr>
          <p:cNvGrpSpPr/>
          <p:nvPr/>
        </p:nvGrpSpPr>
        <p:grpSpPr>
          <a:xfrm>
            <a:off x="6191507" y="3340100"/>
            <a:ext cx="2835647" cy="3521099"/>
            <a:chOff x="6191507" y="3340100"/>
            <a:chExt cx="2835647" cy="3521099"/>
          </a:xfrm>
        </p:grpSpPr>
        <p:sp>
          <p:nvSpPr>
            <p:cNvPr id="15" name="Freeform: Shape 11">
              <a:extLst>
                <a:ext uri="{FF2B5EF4-FFF2-40B4-BE49-F238E27FC236}">
                  <a16:creationId xmlns:a16="http://schemas.microsoft.com/office/drawing/2014/main" id="{B05217D1-68C4-49BC-A5E9-C6F4095B2069}"/>
                </a:ext>
              </a:extLst>
            </p:cNvPr>
            <p:cNvSpPr/>
            <p:nvPr/>
          </p:nvSpPr>
          <p:spPr>
            <a:xfrm>
              <a:off x="6191507" y="3812781"/>
              <a:ext cx="487031" cy="949489"/>
            </a:xfrm>
            <a:custGeom>
              <a:avLst/>
              <a:gdLst>
                <a:gd name="connsiteX0" fmla="*/ 494935 w 494934"/>
                <a:gd name="connsiteY0" fmla="*/ 0 h 964895"/>
                <a:gd name="connsiteX1" fmla="*/ 494935 w 494934"/>
                <a:gd name="connsiteY1" fmla="*/ 224764 h 964895"/>
                <a:gd name="connsiteX2" fmla="*/ 195250 w 494934"/>
                <a:gd name="connsiteY2" fmla="*/ 397310 h 964895"/>
                <a:gd name="connsiteX3" fmla="*/ 195250 w 494934"/>
                <a:gd name="connsiteY3" fmla="*/ 964896 h 964895"/>
                <a:gd name="connsiteX4" fmla="*/ 0 w 494934"/>
                <a:gd name="connsiteY4" fmla="*/ 853649 h 964895"/>
                <a:gd name="connsiteX5" fmla="*/ 0 w 494934"/>
                <a:gd name="connsiteY5" fmla="*/ 283793 h 964895"/>
                <a:gd name="connsiteX6" fmla="*/ 247468 w 494934"/>
                <a:gd name="connsiteY6" fmla="*/ 141896 h 9648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94934" h="964895">
                  <a:moveTo>
                    <a:pt x="494935" y="0"/>
                  </a:moveTo>
                  <a:lnTo>
                    <a:pt x="494935" y="224764"/>
                  </a:lnTo>
                  <a:lnTo>
                    <a:pt x="195250" y="397310"/>
                  </a:lnTo>
                  <a:lnTo>
                    <a:pt x="195250" y="964896"/>
                  </a:lnTo>
                  <a:lnTo>
                    <a:pt x="0" y="853649"/>
                  </a:lnTo>
                  <a:lnTo>
                    <a:pt x="0" y="283793"/>
                  </a:lnTo>
                  <a:lnTo>
                    <a:pt x="247468" y="141896"/>
                  </a:lnTo>
                  <a:close/>
                </a:path>
              </a:pathLst>
            </a:custGeom>
            <a:solidFill>
              <a:schemeClr val="accent2"/>
            </a:solidFill>
            <a:ln w="1134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6" name="Freeform: Shape 4">
              <a:extLst>
                <a:ext uri="{FF2B5EF4-FFF2-40B4-BE49-F238E27FC236}">
                  <a16:creationId xmlns:a16="http://schemas.microsoft.com/office/drawing/2014/main" id="{B73074FC-0124-479F-8594-206B9E6304D9}"/>
                </a:ext>
              </a:extLst>
            </p:cNvPr>
            <p:cNvSpPr/>
            <p:nvPr/>
          </p:nvSpPr>
          <p:spPr>
            <a:xfrm>
              <a:off x="6191507" y="4298696"/>
              <a:ext cx="191015" cy="2562503"/>
            </a:xfrm>
            <a:custGeom>
              <a:avLst/>
              <a:gdLst>
                <a:gd name="connsiteX0" fmla="*/ 0 w 194114"/>
                <a:gd name="connsiteY0" fmla="*/ 0 h 2604082"/>
                <a:gd name="connsiteX1" fmla="*/ 194114 w 194114"/>
                <a:gd name="connsiteY1" fmla="*/ 0 h 2604082"/>
                <a:gd name="connsiteX2" fmla="*/ 194114 w 194114"/>
                <a:gd name="connsiteY2" fmla="*/ 2604083 h 2604082"/>
                <a:gd name="connsiteX3" fmla="*/ 0 w 194114"/>
                <a:gd name="connsiteY3" fmla="*/ 2604083 h 2604082"/>
              </a:gdLst>
              <a:ahLst/>
              <a:cxnLst>
                <a:cxn ang="0">
                  <a:pos x="connsiteX0" y="connsiteY0"/>
                </a:cxn>
                <a:cxn ang="0">
                  <a:pos x="connsiteX1" y="connsiteY1"/>
                </a:cxn>
                <a:cxn ang="0">
                  <a:pos x="connsiteX2" y="connsiteY2"/>
                </a:cxn>
                <a:cxn ang="0">
                  <a:pos x="connsiteX3" y="connsiteY3"/>
                </a:cxn>
              </a:cxnLst>
              <a:rect l="l" t="t" r="r" b="b"/>
              <a:pathLst>
                <a:path w="194114" h="2604082">
                  <a:moveTo>
                    <a:pt x="0" y="0"/>
                  </a:moveTo>
                  <a:lnTo>
                    <a:pt x="194114" y="0"/>
                  </a:lnTo>
                  <a:lnTo>
                    <a:pt x="194114" y="2604083"/>
                  </a:lnTo>
                  <a:lnTo>
                    <a:pt x="0" y="2604083"/>
                  </a:lnTo>
                  <a:close/>
                </a:path>
              </a:pathLst>
            </a:custGeom>
            <a:solidFill>
              <a:schemeClr val="accent2"/>
            </a:solidFill>
            <a:ln w="1134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7" name="Freeform: Shape 25">
              <a:extLst>
                <a:ext uri="{FF2B5EF4-FFF2-40B4-BE49-F238E27FC236}">
                  <a16:creationId xmlns:a16="http://schemas.microsoft.com/office/drawing/2014/main" id="{818E2B86-1DD0-4F3A-A6B2-CFF441D01714}"/>
                </a:ext>
              </a:extLst>
            </p:cNvPr>
            <p:cNvSpPr/>
            <p:nvPr/>
          </p:nvSpPr>
          <p:spPr>
            <a:xfrm>
              <a:off x="6500928" y="3812781"/>
              <a:ext cx="1072364" cy="322826"/>
            </a:xfrm>
            <a:custGeom>
              <a:avLst/>
              <a:gdLst>
                <a:gd name="connsiteX0" fmla="*/ 180492 w 1089764"/>
                <a:gd name="connsiteY0" fmla="*/ 224764 h 328064"/>
                <a:gd name="connsiteX1" fmla="*/ 0 w 1089764"/>
                <a:gd name="connsiteY1" fmla="*/ 328064 h 328064"/>
                <a:gd name="connsiteX2" fmla="*/ 180492 w 1089764"/>
                <a:gd name="connsiteY2" fmla="*/ 0 h 328064"/>
                <a:gd name="connsiteX3" fmla="*/ 1089764 w 1089764"/>
                <a:gd name="connsiteY3" fmla="*/ 0 h 328064"/>
                <a:gd name="connsiteX4" fmla="*/ 1089764 w 1089764"/>
                <a:gd name="connsiteY4" fmla="*/ 224764 h 328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9764" h="328064">
                  <a:moveTo>
                    <a:pt x="180492" y="224764"/>
                  </a:moveTo>
                  <a:lnTo>
                    <a:pt x="0" y="328064"/>
                  </a:lnTo>
                  <a:lnTo>
                    <a:pt x="180492" y="0"/>
                  </a:lnTo>
                  <a:lnTo>
                    <a:pt x="1089764" y="0"/>
                  </a:lnTo>
                  <a:lnTo>
                    <a:pt x="1089764" y="224764"/>
                  </a:lnTo>
                  <a:close/>
                </a:path>
              </a:pathLst>
            </a:custGeom>
            <a:solidFill>
              <a:schemeClr val="accent2"/>
            </a:solidFill>
            <a:ln w="1134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8" name="Freeform: Shape 27">
              <a:extLst>
                <a:ext uri="{FF2B5EF4-FFF2-40B4-BE49-F238E27FC236}">
                  <a16:creationId xmlns:a16="http://schemas.microsoft.com/office/drawing/2014/main" id="{7B03EB92-3624-4869-A0D9-89F38F6DE7E5}"/>
                </a:ext>
              </a:extLst>
            </p:cNvPr>
            <p:cNvSpPr/>
            <p:nvPr/>
          </p:nvSpPr>
          <p:spPr>
            <a:xfrm>
              <a:off x="7299617" y="3812781"/>
              <a:ext cx="1156143" cy="221174"/>
            </a:xfrm>
            <a:custGeom>
              <a:avLst/>
              <a:gdLst>
                <a:gd name="connsiteX0" fmla="*/ 0 w 1174902"/>
                <a:gd name="connsiteY0" fmla="*/ 0 h 224763"/>
                <a:gd name="connsiteX1" fmla="*/ 1174902 w 1174902"/>
                <a:gd name="connsiteY1" fmla="*/ 0 h 224763"/>
                <a:gd name="connsiteX2" fmla="*/ 1174902 w 1174902"/>
                <a:gd name="connsiteY2" fmla="*/ 224764 h 224763"/>
                <a:gd name="connsiteX3" fmla="*/ 0 w 1174902"/>
                <a:gd name="connsiteY3" fmla="*/ 224764 h 224763"/>
              </a:gdLst>
              <a:ahLst/>
              <a:cxnLst>
                <a:cxn ang="0">
                  <a:pos x="connsiteX0" y="connsiteY0"/>
                </a:cxn>
                <a:cxn ang="0">
                  <a:pos x="connsiteX1" y="connsiteY1"/>
                </a:cxn>
                <a:cxn ang="0">
                  <a:pos x="connsiteX2" y="connsiteY2"/>
                </a:cxn>
                <a:cxn ang="0">
                  <a:pos x="connsiteX3" y="connsiteY3"/>
                </a:cxn>
              </a:cxnLst>
              <a:rect l="l" t="t" r="r" b="b"/>
              <a:pathLst>
                <a:path w="1174902" h="224763">
                  <a:moveTo>
                    <a:pt x="0" y="0"/>
                  </a:moveTo>
                  <a:lnTo>
                    <a:pt x="1174902" y="0"/>
                  </a:lnTo>
                  <a:lnTo>
                    <a:pt x="1174902" y="224764"/>
                  </a:lnTo>
                  <a:lnTo>
                    <a:pt x="0" y="224764"/>
                  </a:lnTo>
                  <a:close/>
                </a:path>
              </a:pathLst>
            </a:custGeom>
            <a:solidFill>
              <a:schemeClr val="accent2"/>
            </a:solidFill>
            <a:ln w="1134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9" name="Freeform: Shape 34">
              <a:extLst>
                <a:ext uri="{FF2B5EF4-FFF2-40B4-BE49-F238E27FC236}">
                  <a16:creationId xmlns:a16="http://schemas.microsoft.com/office/drawing/2014/main" id="{9518356B-E552-4C04-AAC0-FFA5339D70FB}"/>
                </a:ext>
              </a:extLst>
            </p:cNvPr>
            <p:cNvSpPr/>
            <p:nvPr/>
          </p:nvSpPr>
          <p:spPr>
            <a:xfrm>
              <a:off x="7884364" y="3340100"/>
              <a:ext cx="1142790" cy="1164302"/>
            </a:xfrm>
            <a:custGeom>
              <a:avLst/>
              <a:gdLst>
                <a:gd name="connsiteX0" fmla="*/ 482448 w 964895"/>
                <a:gd name="connsiteY0" fmla="*/ 983058 h 983058"/>
                <a:gd name="connsiteX1" fmla="*/ 964896 w 964895"/>
                <a:gd name="connsiteY1" fmla="*/ 491529 h 983058"/>
                <a:gd name="connsiteX2" fmla="*/ 482448 w 964895"/>
                <a:gd name="connsiteY2" fmla="*/ 0 h 983058"/>
                <a:gd name="connsiteX3" fmla="*/ 0 w 964895"/>
                <a:gd name="connsiteY3" fmla="*/ 491529 h 983058"/>
                <a:gd name="connsiteX4" fmla="*/ 482448 w 964895"/>
                <a:gd name="connsiteY4" fmla="*/ 983058 h 9830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4895" h="983058">
                  <a:moveTo>
                    <a:pt x="482448" y="983058"/>
                  </a:moveTo>
                  <a:cubicBezTo>
                    <a:pt x="748078" y="983058"/>
                    <a:pt x="964896" y="762835"/>
                    <a:pt x="964896" y="491529"/>
                  </a:cubicBezTo>
                  <a:cubicBezTo>
                    <a:pt x="964896" y="221358"/>
                    <a:pt x="748078" y="0"/>
                    <a:pt x="482448" y="0"/>
                  </a:cubicBezTo>
                  <a:cubicBezTo>
                    <a:pt x="216818" y="0"/>
                    <a:pt x="0" y="220223"/>
                    <a:pt x="0" y="491529"/>
                  </a:cubicBezTo>
                  <a:cubicBezTo>
                    <a:pt x="0" y="762835"/>
                    <a:pt x="216818" y="983058"/>
                    <a:pt x="482448" y="983058"/>
                  </a:cubicBezTo>
                  <a:close/>
                </a:path>
              </a:pathLst>
            </a:custGeom>
            <a:solidFill>
              <a:schemeClr val="accent2"/>
            </a:solidFill>
            <a:ln w="1134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useBgFill="1">
          <p:nvSpPr>
            <p:cNvPr id="20" name="Freeform: Shape 38">
              <a:extLst>
                <a:ext uri="{FF2B5EF4-FFF2-40B4-BE49-F238E27FC236}">
                  <a16:creationId xmlns:a16="http://schemas.microsoft.com/office/drawing/2014/main" id="{0E7E871B-4792-4F08-83E1-63162AFF768E}"/>
                </a:ext>
              </a:extLst>
            </p:cNvPr>
            <p:cNvSpPr/>
            <p:nvPr/>
          </p:nvSpPr>
          <p:spPr>
            <a:xfrm>
              <a:off x="7985199" y="3443397"/>
              <a:ext cx="941120" cy="959944"/>
            </a:xfrm>
            <a:custGeom>
              <a:avLst/>
              <a:gdLst>
                <a:gd name="connsiteX0" fmla="*/ 397310 w 794619"/>
                <a:gd name="connsiteY0" fmla="*/ 810512 h 810512"/>
                <a:gd name="connsiteX1" fmla="*/ 794620 w 794619"/>
                <a:gd name="connsiteY1" fmla="*/ 405256 h 810512"/>
                <a:gd name="connsiteX2" fmla="*/ 397310 w 794619"/>
                <a:gd name="connsiteY2" fmla="*/ 0 h 810512"/>
                <a:gd name="connsiteX3" fmla="*/ 0 w 794619"/>
                <a:gd name="connsiteY3" fmla="*/ 405256 h 810512"/>
                <a:gd name="connsiteX4" fmla="*/ 397310 w 794619"/>
                <a:gd name="connsiteY4" fmla="*/ 810512 h 8105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4619" h="810512">
                  <a:moveTo>
                    <a:pt x="397310" y="810512"/>
                  </a:moveTo>
                  <a:cubicBezTo>
                    <a:pt x="616398" y="810512"/>
                    <a:pt x="794620" y="627750"/>
                    <a:pt x="794620" y="405256"/>
                  </a:cubicBezTo>
                  <a:cubicBezTo>
                    <a:pt x="794620" y="181627"/>
                    <a:pt x="616398" y="0"/>
                    <a:pt x="397310" y="0"/>
                  </a:cubicBezTo>
                  <a:cubicBezTo>
                    <a:pt x="178222" y="0"/>
                    <a:pt x="0" y="182762"/>
                    <a:pt x="0" y="405256"/>
                  </a:cubicBezTo>
                  <a:cubicBezTo>
                    <a:pt x="1135" y="627750"/>
                    <a:pt x="179357" y="810512"/>
                    <a:pt x="397310" y="810512"/>
                  </a:cubicBezTo>
                  <a:close/>
                </a:path>
              </a:pathLst>
            </a:custGeom>
            <a:ln w="1134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grpSp>
        <p:nvGrpSpPr>
          <p:cNvPr id="21" name="Group 18">
            <a:extLst>
              <a:ext uri="{FF2B5EF4-FFF2-40B4-BE49-F238E27FC236}">
                <a16:creationId xmlns:a16="http://schemas.microsoft.com/office/drawing/2014/main" id="{7980CA0C-F762-49EC-976F-96E00A8EB171}"/>
              </a:ext>
            </a:extLst>
          </p:cNvPr>
          <p:cNvGrpSpPr/>
          <p:nvPr/>
        </p:nvGrpSpPr>
        <p:grpSpPr>
          <a:xfrm>
            <a:off x="3164845" y="3340100"/>
            <a:ext cx="2835647" cy="3521099"/>
            <a:chOff x="3164845" y="3340100"/>
            <a:chExt cx="2835647" cy="3521099"/>
          </a:xfrm>
        </p:grpSpPr>
        <p:sp>
          <p:nvSpPr>
            <p:cNvPr id="22" name="Freeform: Shape 12">
              <a:extLst>
                <a:ext uri="{FF2B5EF4-FFF2-40B4-BE49-F238E27FC236}">
                  <a16:creationId xmlns:a16="http://schemas.microsoft.com/office/drawing/2014/main" id="{51745C2B-8E24-4675-9DD6-0A01C9CD49BD}"/>
                </a:ext>
              </a:extLst>
            </p:cNvPr>
            <p:cNvSpPr/>
            <p:nvPr/>
          </p:nvSpPr>
          <p:spPr>
            <a:xfrm>
              <a:off x="5513460" y="3812781"/>
              <a:ext cx="487031" cy="949489"/>
            </a:xfrm>
            <a:custGeom>
              <a:avLst/>
              <a:gdLst>
                <a:gd name="connsiteX0" fmla="*/ 0 w 494934"/>
                <a:gd name="connsiteY0" fmla="*/ 0 h 964895"/>
                <a:gd name="connsiteX1" fmla="*/ 0 w 494934"/>
                <a:gd name="connsiteY1" fmla="*/ 224764 h 964895"/>
                <a:gd name="connsiteX2" fmla="*/ 299685 w 494934"/>
                <a:gd name="connsiteY2" fmla="*/ 397310 h 964895"/>
                <a:gd name="connsiteX3" fmla="*/ 299685 w 494934"/>
                <a:gd name="connsiteY3" fmla="*/ 964896 h 964895"/>
                <a:gd name="connsiteX4" fmla="*/ 494935 w 494934"/>
                <a:gd name="connsiteY4" fmla="*/ 853649 h 964895"/>
                <a:gd name="connsiteX5" fmla="*/ 494935 w 494934"/>
                <a:gd name="connsiteY5" fmla="*/ 283793 h 964895"/>
                <a:gd name="connsiteX6" fmla="*/ 247467 w 494934"/>
                <a:gd name="connsiteY6" fmla="*/ 141896 h 9648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94934" h="964895">
                  <a:moveTo>
                    <a:pt x="0" y="0"/>
                  </a:moveTo>
                  <a:lnTo>
                    <a:pt x="0" y="224764"/>
                  </a:lnTo>
                  <a:lnTo>
                    <a:pt x="299685" y="397310"/>
                  </a:lnTo>
                  <a:lnTo>
                    <a:pt x="299685" y="964896"/>
                  </a:lnTo>
                  <a:lnTo>
                    <a:pt x="494935" y="853649"/>
                  </a:lnTo>
                  <a:lnTo>
                    <a:pt x="494935" y="283793"/>
                  </a:lnTo>
                  <a:lnTo>
                    <a:pt x="247467" y="141896"/>
                  </a:lnTo>
                  <a:close/>
                </a:path>
              </a:pathLst>
            </a:custGeom>
            <a:solidFill>
              <a:schemeClr val="accent2"/>
            </a:solidFill>
            <a:ln w="1134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3" name="Freeform: Shape 5">
              <a:extLst>
                <a:ext uri="{FF2B5EF4-FFF2-40B4-BE49-F238E27FC236}">
                  <a16:creationId xmlns:a16="http://schemas.microsoft.com/office/drawing/2014/main" id="{B1323F52-D5F9-4A5F-B3F9-BEF020BF5390}"/>
                </a:ext>
              </a:extLst>
            </p:cNvPr>
            <p:cNvSpPr/>
            <p:nvPr/>
          </p:nvSpPr>
          <p:spPr>
            <a:xfrm>
              <a:off x="5809477" y="4298696"/>
              <a:ext cx="191015" cy="2562503"/>
            </a:xfrm>
            <a:custGeom>
              <a:avLst/>
              <a:gdLst>
                <a:gd name="connsiteX0" fmla="*/ 0 w 194114"/>
                <a:gd name="connsiteY0" fmla="*/ 0 h 2604082"/>
                <a:gd name="connsiteX1" fmla="*/ 194114 w 194114"/>
                <a:gd name="connsiteY1" fmla="*/ 0 h 2604082"/>
                <a:gd name="connsiteX2" fmla="*/ 194114 w 194114"/>
                <a:gd name="connsiteY2" fmla="*/ 2604083 h 2604082"/>
                <a:gd name="connsiteX3" fmla="*/ 0 w 194114"/>
                <a:gd name="connsiteY3" fmla="*/ 2604083 h 2604082"/>
              </a:gdLst>
              <a:ahLst/>
              <a:cxnLst>
                <a:cxn ang="0">
                  <a:pos x="connsiteX0" y="connsiteY0"/>
                </a:cxn>
                <a:cxn ang="0">
                  <a:pos x="connsiteX1" y="connsiteY1"/>
                </a:cxn>
                <a:cxn ang="0">
                  <a:pos x="connsiteX2" y="connsiteY2"/>
                </a:cxn>
                <a:cxn ang="0">
                  <a:pos x="connsiteX3" y="connsiteY3"/>
                </a:cxn>
              </a:cxnLst>
              <a:rect l="l" t="t" r="r" b="b"/>
              <a:pathLst>
                <a:path w="194114" h="2604082">
                  <a:moveTo>
                    <a:pt x="0" y="0"/>
                  </a:moveTo>
                  <a:lnTo>
                    <a:pt x="194114" y="0"/>
                  </a:lnTo>
                  <a:lnTo>
                    <a:pt x="194114" y="2604083"/>
                  </a:lnTo>
                  <a:lnTo>
                    <a:pt x="0" y="2604083"/>
                  </a:lnTo>
                  <a:close/>
                </a:path>
              </a:pathLst>
            </a:custGeom>
            <a:solidFill>
              <a:schemeClr val="accent2"/>
            </a:solidFill>
            <a:ln w="1134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4" name="Freeform: Shape 26">
              <a:extLst>
                <a:ext uri="{FF2B5EF4-FFF2-40B4-BE49-F238E27FC236}">
                  <a16:creationId xmlns:a16="http://schemas.microsoft.com/office/drawing/2014/main" id="{CECD3E1A-E584-4AB1-AD8A-CEEDD6D8F28B}"/>
                </a:ext>
              </a:extLst>
            </p:cNvPr>
            <p:cNvSpPr/>
            <p:nvPr/>
          </p:nvSpPr>
          <p:spPr>
            <a:xfrm>
              <a:off x="4618706" y="3812781"/>
              <a:ext cx="1072364" cy="322826"/>
            </a:xfrm>
            <a:custGeom>
              <a:avLst/>
              <a:gdLst>
                <a:gd name="connsiteX0" fmla="*/ 909272 w 1089764"/>
                <a:gd name="connsiteY0" fmla="*/ 224764 h 328064"/>
                <a:gd name="connsiteX1" fmla="*/ 1089764 w 1089764"/>
                <a:gd name="connsiteY1" fmla="*/ 328064 h 328064"/>
                <a:gd name="connsiteX2" fmla="*/ 909272 w 1089764"/>
                <a:gd name="connsiteY2" fmla="*/ 0 h 328064"/>
                <a:gd name="connsiteX3" fmla="*/ 0 w 1089764"/>
                <a:gd name="connsiteY3" fmla="*/ 0 h 328064"/>
                <a:gd name="connsiteX4" fmla="*/ 0 w 1089764"/>
                <a:gd name="connsiteY4" fmla="*/ 224764 h 328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9764" h="328064">
                  <a:moveTo>
                    <a:pt x="909272" y="224764"/>
                  </a:moveTo>
                  <a:lnTo>
                    <a:pt x="1089764" y="328064"/>
                  </a:lnTo>
                  <a:lnTo>
                    <a:pt x="909272" y="0"/>
                  </a:lnTo>
                  <a:lnTo>
                    <a:pt x="0" y="0"/>
                  </a:lnTo>
                  <a:lnTo>
                    <a:pt x="0" y="224764"/>
                  </a:lnTo>
                  <a:close/>
                </a:path>
              </a:pathLst>
            </a:custGeom>
            <a:solidFill>
              <a:schemeClr val="accent2"/>
            </a:solidFill>
            <a:ln w="1134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5" name="Freeform: Shape 28">
              <a:extLst>
                <a:ext uri="{FF2B5EF4-FFF2-40B4-BE49-F238E27FC236}">
                  <a16:creationId xmlns:a16="http://schemas.microsoft.com/office/drawing/2014/main" id="{3ED63424-DF17-44E5-B0FE-B2AF34ECEDBD}"/>
                </a:ext>
              </a:extLst>
            </p:cNvPr>
            <p:cNvSpPr/>
            <p:nvPr/>
          </p:nvSpPr>
          <p:spPr>
            <a:xfrm>
              <a:off x="3736239" y="3812781"/>
              <a:ext cx="1156143" cy="221174"/>
            </a:xfrm>
            <a:custGeom>
              <a:avLst/>
              <a:gdLst>
                <a:gd name="connsiteX0" fmla="*/ 0 w 1174902"/>
                <a:gd name="connsiteY0" fmla="*/ 0 h 224763"/>
                <a:gd name="connsiteX1" fmla="*/ 1174902 w 1174902"/>
                <a:gd name="connsiteY1" fmla="*/ 0 h 224763"/>
                <a:gd name="connsiteX2" fmla="*/ 1174902 w 1174902"/>
                <a:gd name="connsiteY2" fmla="*/ 224764 h 224763"/>
                <a:gd name="connsiteX3" fmla="*/ 0 w 1174902"/>
                <a:gd name="connsiteY3" fmla="*/ 224764 h 224763"/>
              </a:gdLst>
              <a:ahLst/>
              <a:cxnLst>
                <a:cxn ang="0">
                  <a:pos x="connsiteX0" y="connsiteY0"/>
                </a:cxn>
                <a:cxn ang="0">
                  <a:pos x="connsiteX1" y="connsiteY1"/>
                </a:cxn>
                <a:cxn ang="0">
                  <a:pos x="connsiteX2" y="connsiteY2"/>
                </a:cxn>
                <a:cxn ang="0">
                  <a:pos x="connsiteX3" y="connsiteY3"/>
                </a:cxn>
              </a:cxnLst>
              <a:rect l="l" t="t" r="r" b="b"/>
              <a:pathLst>
                <a:path w="1174902" h="224763">
                  <a:moveTo>
                    <a:pt x="0" y="0"/>
                  </a:moveTo>
                  <a:lnTo>
                    <a:pt x="1174902" y="0"/>
                  </a:lnTo>
                  <a:lnTo>
                    <a:pt x="1174902" y="224764"/>
                  </a:lnTo>
                  <a:lnTo>
                    <a:pt x="0" y="224764"/>
                  </a:lnTo>
                  <a:close/>
                </a:path>
              </a:pathLst>
            </a:custGeom>
            <a:solidFill>
              <a:schemeClr val="accent2"/>
            </a:solidFill>
            <a:ln w="1134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6" name="Freeform: Shape 35">
              <a:extLst>
                <a:ext uri="{FF2B5EF4-FFF2-40B4-BE49-F238E27FC236}">
                  <a16:creationId xmlns:a16="http://schemas.microsoft.com/office/drawing/2014/main" id="{662553EB-D7FC-4EBB-8517-BC5838362163}"/>
                </a:ext>
              </a:extLst>
            </p:cNvPr>
            <p:cNvSpPr/>
            <p:nvPr/>
          </p:nvSpPr>
          <p:spPr>
            <a:xfrm>
              <a:off x="3164845" y="3340100"/>
              <a:ext cx="1142790" cy="1164302"/>
            </a:xfrm>
            <a:custGeom>
              <a:avLst/>
              <a:gdLst>
                <a:gd name="connsiteX0" fmla="*/ 482448 w 964895"/>
                <a:gd name="connsiteY0" fmla="*/ 983058 h 983058"/>
                <a:gd name="connsiteX1" fmla="*/ 964896 w 964895"/>
                <a:gd name="connsiteY1" fmla="*/ 491529 h 983058"/>
                <a:gd name="connsiteX2" fmla="*/ 482448 w 964895"/>
                <a:gd name="connsiteY2" fmla="*/ 0 h 983058"/>
                <a:gd name="connsiteX3" fmla="*/ 0 w 964895"/>
                <a:gd name="connsiteY3" fmla="*/ 492664 h 983058"/>
                <a:gd name="connsiteX4" fmla="*/ 482448 w 964895"/>
                <a:gd name="connsiteY4" fmla="*/ 983058 h 9830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4895" h="983058">
                  <a:moveTo>
                    <a:pt x="482448" y="983058"/>
                  </a:moveTo>
                  <a:cubicBezTo>
                    <a:pt x="748078" y="983058"/>
                    <a:pt x="964896" y="762835"/>
                    <a:pt x="964896" y="491529"/>
                  </a:cubicBezTo>
                  <a:cubicBezTo>
                    <a:pt x="964896" y="221358"/>
                    <a:pt x="748078" y="0"/>
                    <a:pt x="482448" y="0"/>
                  </a:cubicBezTo>
                  <a:cubicBezTo>
                    <a:pt x="216818" y="1135"/>
                    <a:pt x="0" y="221358"/>
                    <a:pt x="0" y="492664"/>
                  </a:cubicBezTo>
                  <a:cubicBezTo>
                    <a:pt x="0" y="762835"/>
                    <a:pt x="216818" y="983058"/>
                    <a:pt x="482448" y="983058"/>
                  </a:cubicBezTo>
                  <a:close/>
                </a:path>
              </a:pathLst>
            </a:custGeom>
            <a:solidFill>
              <a:schemeClr val="accent2"/>
            </a:solidFill>
            <a:ln w="1134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useBgFill="1">
          <p:nvSpPr>
            <p:cNvPr id="27" name="Freeform: Shape 39">
              <a:extLst>
                <a:ext uri="{FF2B5EF4-FFF2-40B4-BE49-F238E27FC236}">
                  <a16:creationId xmlns:a16="http://schemas.microsoft.com/office/drawing/2014/main" id="{866814E0-7AED-48C0-B2E2-A597C656C6E0}"/>
                </a:ext>
              </a:extLst>
            </p:cNvPr>
            <p:cNvSpPr/>
            <p:nvPr/>
          </p:nvSpPr>
          <p:spPr>
            <a:xfrm>
              <a:off x="3265679" y="3443397"/>
              <a:ext cx="941120" cy="959944"/>
            </a:xfrm>
            <a:custGeom>
              <a:avLst/>
              <a:gdLst>
                <a:gd name="connsiteX0" fmla="*/ 397310 w 794619"/>
                <a:gd name="connsiteY0" fmla="*/ 810512 h 810512"/>
                <a:gd name="connsiteX1" fmla="*/ 794620 w 794619"/>
                <a:gd name="connsiteY1" fmla="*/ 405256 h 810512"/>
                <a:gd name="connsiteX2" fmla="*/ 397310 w 794619"/>
                <a:gd name="connsiteY2" fmla="*/ 0 h 810512"/>
                <a:gd name="connsiteX3" fmla="*/ 0 w 794619"/>
                <a:gd name="connsiteY3" fmla="*/ 405256 h 810512"/>
                <a:gd name="connsiteX4" fmla="*/ 397310 w 794619"/>
                <a:gd name="connsiteY4" fmla="*/ 810512 h 8105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4619" h="810512">
                  <a:moveTo>
                    <a:pt x="397310" y="810512"/>
                  </a:moveTo>
                  <a:cubicBezTo>
                    <a:pt x="616398" y="810512"/>
                    <a:pt x="794620" y="627750"/>
                    <a:pt x="794620" y="405256"/>
                  </a:cubicBezTo>
                  <a:cubicBezTo>
                    <a:pt x="794620" y="181627"/>
                    <a:pt x="616398" y="0"/>
                    <a:pt x="397310" y="0"/>
                  </a:cubicBezTo>
                  <a:cubicBezTo>
                    <a:pt x="178222" y="0"/>
                    <a:pt x="0" y="182762"/>
                    <a:pt x="0" y="405256"/>
                  </a:cubicBezTo>
                  <a:cubicBezTo>
                    <a:pt x="0" y="627750"/>
                    <a:pt x="178222" y="810512"/>
                    <a:pt x="397310" y="810512"/>
                  </a:cubicBezTo>
                  <a:close/>
                </a:path>
              </a:pathLst>
            </a:custGeom>
            <a:ln w="1134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grpSp>
        <p:nvGrpSpPr>
          <p:cNvPr id="28" name="Group 2">
            <a:extLst>
              <a:ext uri="{FF2B5EF4-FFF2-40B4-BE49-F238E27FC236}">
                <a16:creationId xmlns:a16="http://schemas.microsoft.com/office/drawing/2014/main" id="{29BB8538-076F-4802-8AD5-94BD56C20C13}"/>
              </a:ext>
            </a:extLst>
          </p:cNvPr>
          <p:cNvGrpSpPr/>
          <p:nvPr/>
        </p:nvGrpSpPr>
        <p:grpSpPr>
          <a:xfrm>
            <a:off x="4035210" y="4512069"/>
            <a:ext cx="1969968" cy="2349130"/>
            <a:chOff x="4035210" y="4512069"/>
            <a:chExt cx="1969968" cy="2349130"/>
          </a:xfrm>
        </p:grpSpPr>
        <p:sp>
          <p:nvSpPr>
            <p:cNvPr id="29" name="Freeform: Shape 10">
              <a:extLst>
                <a:ext uri="{FF2B5EF4-FFF2-40B4-BE49-F238E27FC236}">
                  <a16:creationId xmlns:a16="http://schemas.microsoft.com/office/drawing/2014/main" id="{5F122F32-336F-41F4-88DB-E5CD9E5ADA79}"/>
                </a:ext>
              </a:extLst>
            </p:cNvPr>
            <p:cNvSpPr/>
            <p:nvPr/>
          </p:nvSpPr>
          <p:spPr>
            <a:xfrm>
              <a:off x="5518147" y="4995733"/>
              <a:ext cx="487031" cy="950606"/>
            </a:xfrm>
            <a:custGeom>
              <a:avLst/>
              <a:gdLst>
                <a:gd name="connsiteX0" fmla="*/ 0 w 494934"/>
                <a:gd name="connsiteY0" fmla="*/ 0 h 966030"/>
                <a:gd name="connsiteX1" fmla="*/ 0 w 494934"/>
                <a:gd name="connsiteY1" fmla="*/ 224764 h 966030"/>
                <a:gd name="connsiteX2" fmla="*/ 299685 w 494934"/>
                <a:gd name="connsiteY2" fmla="*/ 397310 h 966030"/>
                <a:gd name="connsiteX3" fmla="*/ 299685 w 494934"/>
                <a:gd name="connsiteY3" fmla="*/ 966031 h 966030"/>
                <a:gd name="connsiteX4" fmla="*/ 494935 w 494934"/>
                <a:gd name="connsiteY4" fmla="*/ 853649 h 966030"/>
                <a:gd name="connsiteX5" fmla="*/ 494935 w 494934"/>
                <a:gd name="connsiteY5" fmla="*/ 284928 h 9660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4934" h="966030">
                  <a:moveTo>
                    <a:pt x="0" y="0"/>
                  </a:moveTo>
                  <a:lnTo>
                    <a:pt x="0" y="224764"/>
                  </a:lnTo>
                  <a:lnTo>
                    <a:pt x="299685" y="397310"/>
                  </a:lnTo>
                  <a:lnTo>
                    <a:pt x="299685" y="966031"/>
                  </a:lnTo>
                  <a:lnTo>
                    <a:pt x="494935" y="853649"/>
                  </a:lnTo>
                  <a:lnTo>
                    <a:pt x="494935" y="284928"/>
                  </a:lnTo>
                  <a:close/>
                </a:path>
              </a:pathLst>
            </a:custGeom>
            <a:solidFill>
              <a:schemeClr val="accent1"/>
            </a:solidFill>
            <a:ln w="1134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0" name="Freeform: Shape 7">
              <a:extLst>
                <a:ext uri="{FF2B5EF4-FFF2-40B4-BE49-F238E27FC236}">
                  <a16:creationId xmlns:a16="http://schemas.microsoft.com/office/drawing/2014/main" id="{187CE18D-8E5A-4C98-86E8-5D292AF3B8E3}"/>
                </a:ext>
              </a:extLst>
            </p:cNvPr>
            <p:cNvSpPr/>
            <p:nvPr/>
          </p:nvSpPr>
          <p:spPr>
            <a:xfrm>
              <a:off x="5809477" y="5276112"/>
              <a:ext cx="191015" cy="1585087"/>
            </a:xfrm>
            <a:custGeom>
              <a:avLst/>
              <a:gdLst>
                <a:gd name="connsiteX0" fmla="*/ 0 w 194114"/>
                <a:gd name="connsiteY0" fmla="*/ 0 h 1610807"/>
                <a:gd name="connsiteX1" fmla="*/ 194114 w 194114"/>
                <a:gd name="connsiteY1" fmla="*/ 0 h 1610807"/>
                <a:gd name="connsiteX2" fmla="*/ 194114 w 194114"/>
                <a:gd name="connsiteY2" fmla="*/ 1610808 h 1610807"/>
                <a:gd name="connsiteX3" fmla="*/ 0 w 194114"/>
                <a:gd name="connsiteY3" fmla="*/ 1610808 h 1610807"/>
              </a:gdLst>
              <a:ahLst/>
              <a:cxnLst>
                <a:cxn ang="0">
                  <a:pos x="connsiteX0" y="connsiteY0"/>
                </a:cxn>
                <a:cxn ang="0">
                  <a:pos x="connsiteX1" y="connsiteY1"/>
                </a:cxn>
                <a:cxn ang="0">
                  <a:pos x="connsiteX2" y="connsiteY2"/>
                </a:cxn>
                <a:cxn ang="0">
                  <a:pos x="connsiteX3" y="connsiteY3"/>
                </a:cxn>
              </a:cxnLst>
              <a:rect l="l" t="t" r="r" b="b"/>
              <a:pathLst>
                <a:path w="194114" h="1610807">
                  <a:moveTo>
                    <a:pt x="0" y="0"/>
                  </a:moveTo>
                  <a:lnTo>
                    <a:pt x="194114" y="0"/>
                  </a:lnTo>
                  <a:lnTo>
                    <a:pt x="194114" y="1610808"/>
                  </a:lnTo>
                  <a:lnTo>
                    <a:pt x="0" y="1610808"/>
                  </a:lnTo>
                  <a:close/>
                </a:path>
              </a:pathLst>
            </a:custGeom>
            <a:solidFill>
              <a:schemeClr val="accent1"/>
            </a:solidFill>
            <a:ln w="1134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1" name="Freeform: Shape 24">
              <a:extLst>
                <a:ext uri="{FF2B5EF4-FFF2-40B4-BE49-F238E27FC236}">
                  <a16:creationId xmlns:a16="http://schemas.microsoft.com/office/drawing/2014/main" id="{8A7DF431-938D-44F3-B8CD-A447C9CA376E}"/>
                </a:ext>
              </a:extLst>
            </p:cNvPr>
            <p:cNvSpPr/>
            <p:nvPr/>
          </p:nvSpPr>
          <p:spPr>
            <a:xfrm>
              <a:off x="4623393" y="4995733"/>
              <a:ext cx="894754" cy="221174"/>
            </a:xfrm>
            <a:custGeom>
              <a:avLst/>
              <a:gdLst>
                <a:gd name="connsiteX0" fmla="*/ 0 w 909272"/>
                <a:gd name="connsiteY0" fmla="*/ 0 h 224763"/>
                <a:gd name="connsiteX1" fmla="*/ 909272 w 909272"/>
                <a:gd name="connsiteY1" fmla="*/ 0 h 224763"/>
                <a:gd name="connsiteX2" fmla="*/ 909272 w 909272"/>
                <a:gd name="connsiteY2" fmla="*/ 224764 h 224763"/>
                <a:gd name="connsiteX3" fmla="*/ 0 w 909272"/>
                <a:gd name="connsiteY3" fmla="*/ 224764 h 224763"/>
              </a:gdLst>
              <a:ahLst/>
              <a:cxnLst>
                <a:cxn ang="0">
                  <a:pos x="connsiteX0" y="connsiteY0"/>
                </a:cxn>
                <a:cxn ang="0">
                  <a:pos x="connsiteX1" y="connsiteY1"/>
                </a:cxn>
                <a:cxn ang="0">
                  <a:pos x="connsiteX2" y="connsiteY2"/>
                </a:cxn>
                <a:cxn ang="0">
                  <a:pos x="connsiteX3" y="connsiteY3"/>
                </a:cxn>
              </a:cxnLst>
              <a:rect l="l" t="t" r="r" b="b"/>
              <a:pathLst>
                <a:path w="909272" h="224763">
                  <a:moveTo>
                    <a:pt x="0" y="0"/>
                  </a:moveTo>
                  <a:lnTo>
                    <a:pt x="909272" y="0"/>
                  </a:lnTo>
                  <a:lnTo>
                    <a:pt x="909272" y="224764"/>
                  </a:lnTo>
                  <a:lnTo>
                    <a:pt x="0" y="224764"/>
                  </a:lnTo>
                  <a:close/>
                </a:path>
              </a:pathLst>
            </a:custGeom>
            <a:solidFill>
              <a:schemeClr val="accent1"/>
            </a:solidFill>
            <a:ln w="1134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2" name="Freeform: Shape 30">
              <a:extLst>
                <a:ext uri="{FF2B5EF4-FFF2-40B4-BE49-F238E27FC236}">
                  <a16:creationId xmlns:a16="http://schemas.microsoft.com/office/drawing/2014/main" id="{73B53328-CC25-4F9D-A317-BF98B7F5D33C}"/>
                </a:ext>
              </a:extLst>
            </p:cNvPr>
            <p:cNvSpPr/>
            <p:nvPr/>
          </p:nvSpPr>
          <p:spPr>
            <a:xfrm>
              <a:off x="4035210" y="4512069"/>
              <a:ext cx="1166991" cy="1188502"/>
            </a:xfrm>
            <a:custGeom>
              <a:avLst/>
              <a:gdLst>
                <a:gd name="connsiteX0" fmla="*/ 492664 w 985328"/>
                <a:gd name="connsiteY0" fmla="*/ 1003492 h 1003491"/>
                <a:gd name="connsiteX1" fmla="*/ 985329 w 985328"/>
                <a:gd name="connsiteY1" fmla="*/ 501746 h 1003491"/>
                <a:gd name="connsiteX2" fmla="*/ 492664 w 985328"/>
                <a:gd name="connsiteY2" fmla="*/ 0 h 1003491"/>
                <a:gd name="connsiteX3" fmla="*/ 0 w 985328"/>
                <a:gd name="connsiteY3" fmla="*/ 501746 h 1003491"/>
                <a:gd name="connsiteX4" fmla="*/ 492664 w 985328"/>
                <a:gd name="connsiteY4" fmla="*/ 1003492 h 10034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5328" h="1003491">
                  <a:moveTo>
                    <a:pt x="492664" y="1003492"/>
                  </a:moveTo>
                  <a:cubicBezTo>
                    <a:pt x="763970" y="1003492"/>
                    <a:pt x="985329" y="777592"/>
                    <a:pt x="985329" y="501746"/>
                  </a:cubicBezTo>
                  <a:cubicBezTo>
                    <a:pt x="985329" y="225899"/>
                    <a:pt x="763970" y="0"/>
                    <a:pt x="492664" y="0"/>
                  </a:cubicBezTo>
                  <a:cubicBezTo>
                    <a:pt x="221358" y="0"/>
                    <a:pt x="0" y="225899"/>
                    <a:pt x="0" y="501746"/>
                  </a:cubicBezTo>
                  <a:cubicBezTo>
                    <a:pt x="0" y="777592"/>
                    <a:pt x="221358" y="1003492"/>
                    <a:pt x="492664" y="1003492"/>
                  </a:cubicBezTo>
                  <a:close/>
                </a:path>
              </a:pathLst>
            </a:custGeom>
            <a:solidFill>
              <a:schemeClr val="accent1"/>
            </a:solidFill>
            <a:ln w="1134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useBgFill="1">
          <p:nvSpPr>
            <p:cNvPr id="33" name="Freeform: Shape 41">
              <a:extLst>
                <a:ext uri="{FF2B5EF4-FFF2-40B4-BE49-F238E27FC236}">
                  <a16:creationId xmlns:a16="http://schemas.microsoft.com/office/drawing/2014/main" id="{DF94F150-D506-4C7F-955A-94008A7113CD}"/>
                </a:ext>
              </a:extLst>
            </p:cNvPr>
            <p:cNvSpPr/>
            <p:nvPr/>
          </p:nvSpPr>
          <p:spPr>
            <a:xfrm>
              <a:off x="4136044" y="4612905"/>
              <a:ext cx="965322" cy="986832"/>
            </a:xfrm>
            <a:custGeom>
              <a:avLst/>
              <a:gdLst>
                <a:gd name="connsiteX0" fmla="*/ 407527 w 815052"/>
                <a:gd name="connsiteY0" fmla="*/ 833216 h 833215"/>
                <a:gd name="connsiteX1" fmla="*/ 815053 w 815052"/>
                <a:gd name="connsiteY1" fmla="*/ 416608 h 833215"/>
                <a:gd name="connsiteX2" fmla="*/ 407527 w 815052"/>
                <a:gd name="connsiteY2" fmla="*/ 0 h 833215"/>
                <a:gd name="connsiteX3" fmla="*/ 0 w 815052"/>
                <a:gd name="connsiteY3" fmla="*/ 416608 h 833215"/>
                <a:gd name="connsiteX4" fmla="*/ 407527 w 815052"/>
                <a:gd name="connsiteY4" fmla="*/ 833216 h 8332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5052" h="833215">
                  <a:moveTo>
                    <a:pt x="407527" y="833216"/>
                  </a:moveTo>
                  <a:cubicBezTo>
                    <a:pt x="632290" y="833216"/>
                    <a:pt x="815053" y="645913"/>
                    <a:pt x="815053" y="416608"/>
                  </a:cubicBezTo>
                  <a:cubicBezTo>
                    <a:pt x="815053" y="187303"/>
                    <a:pt x="632290" y="0"/>
                    <a:pt x="407527" y="0"/>
                  </a:cubicBezTo>
                  <a:cubicBezTo>
                    <a:pt x="182763" y="0"/>
                    <a:pt x="0" y="187303"/>
                    <a:pt x="0" y="416608"/>
                  </a:cubicBezTo>
                  <a:cubicBezTo>
                    <a:pt x="0" y="645913"/>
                    <a:pt x="182763" y="833216"/>
                    <a:pt x="407527" y="833216"/>
                  </a:cubicBezTo>
                  <a:close/>
                </a:path>
              </a:pathLst>
            </a:custGeom>
            <a:ln w="1134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grpSp>
        <p:nvGrpSpPr>
          <p:cNvPr id="34" name="Group 3">
            <a:extLst>
              <a:ext uri="{FF2B5EF4-FFF2-40B4-BE49-F238E27FC236}">
                <a16:creationId xmlns:a16="http://schemas.microsoft.com/office/drawing/2014/main" id="{55AF42B8-99CF-4F4E-B9E5-534C6740CC00}"/>
              </a:ext>
            </a:extLst>
          </p:cNvPr>
          <p:cNvGrpSpPr/>
          <p:nvPr/>
        </p:nvGrpSpPr>
        <p:grpSpPr>
          <a:xfrm>
            <a:off x="6186820" y="4512069"/>
            <a:ext cx="1969968" cy="2349130"/>
            <a:chOff x="6186820" y="4512069"/>
            <a:chExt cx="1969968" cy="2349130"/>
          </a:xfrm>
        </p:grpSpPr>
        <p:sp>
          <p:nvSpPr>
            <p:cNvPr id="35" name="Freeform: Shape 9">
              <a:extLst>
                <a:ext uri="{FF2B5EF4-FFF2-40B4-BE49-F238E27FC236}">
                  <a16:creationId xmlns:a16="http://schemas.microsoft.com/office/drawing/2014/main" id="{F7441B0F-4BBB-4AB8-A7FD-C9BF8F10364D}"/>
                </a:ext>
              </a:extLst>
            </p:cNvPr>
            <p:cNvSpPr/>
            <p:nvPr/>
          </p:nvSpPr>
          <p:spPr>
            <a:xfrm>
              <a:off x="6186820" y="4995733"/>
              <a:ext cx="487031" cy="950606"/>
            </a:xfrm>
            <a:custGeom>
              <a:avLst/>
              <a:gdLst>
                <a:gd name="connsiteX0" fmla="*/ 494935 w 494934"/>
                <a:gd name="connsiteY0" fmla="*/ 0 h 966030"/>
                <a:gd name="connsiteX1" fmla="*/ 494935 w 494934"/>
                <a:gd name="connsiteY1" fmla="*/ 224764 h 966030"/>
                <a:gd name="connsiteX2" fmla="*/ 195250 w 494934"/>
                <a:gd name="connsiteY2" fmla="*/ 397310 h 966030"/>
                <a:gd name="connsiteX3" fmla="*/ 195250 w 494934"/>
                <a:gd name="connsiteY3" fmla="*/ 966031 h 966030"/>
                <a:gd name="connsiteX4" fmla="*/ 0 w 494934"/>
                <a:gd name="connsiteY4" fmla="*/ 853649 h 966030"/>
                <a:gd name="connsiteX5" fmla="*/ 0 w 494934"/>
                <a:gd name="connsiteY5" fmla="*/ 284928 h 9660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4934" h="966030">
                  <a:moveTo>
                    <a:pt x="494935" y="0"/>
                  </a:moveTo>
                  <a:lnTo>
                    <a:pt x="494935" y="224764"/>
                  </a:lnTo>
                  <a:lnTo>
                    <a:pt x="195250" y="397310"/>
                  </a:lnTo>
                  <a:lnTo>
                    <a:pt x="195250" y="966031"/>
                  </a:lnTo>
                  <a:lnTo>
                    <a:pt x="0" y="853649"/>
                  </a:lnTo>
                  <a:lnTo>
                    <a:pt x="0" y="284928"/>
                  </a:lnTo>
                  <a:close/>
                </a:path>
              </a:pathLst>
            </a:custGeom>
            <a:solidFill>
              <a:schemeClr val="accent1"/>
            </a:solidFill>
            <a:ln w="1134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6" name="Freeform: Shape 6">
              <a:extLst>
                <a:ext uri="{FF2B5EF4-FFF2-40B4-BE49-F238E27FC236}">
                  <a16:creationId xmlns:a16="http://schemas.microsoft.com/office/drawing/2014/main" id="{4B5E73BB-FDC6-427A-B66A-E52490C86904}"/>
                </a:ext>
              </a:extLst>
            </p:cNvPr>
            <p:cNvSpPr/>
            <p:nvPr/>
          </p:nvSpPr>
          <p:spPr>
            <a:xfrm>
              <a:off x="6191507" y="5276112"/>
              <a:ext cx="191015" cy="1585087"/>
            </a:xfrm>
            <a:custGeom>
              <a:avLst/>
              <a:gdLst>
                <a:gd name="connsiteX0" fmla="*/ 0 w 194114"/>
                <a:gd name="connsiteY0" fmla="*/ 0 h 1610807"/>
                <a:gd name="connsiteX1" fmla="*/ 194114 w 194114"/>
                <a:gd name="connsiteY1" fmla="*/ 0 h 1610807"/>
                <a:gd name="connsiteX2" fmla="*/ 194114 w 194114"/>
                <a:gd name="connsiteY2" fmla="*/ 1610808 h 1610807"/>
                <a:gd name="connsiteX3" fmla="*/ 0 w 194114"/>
                <a:gd name="connsiteY3" fmla="*/ 1610808 h 1610807"/>
              </a:gdLst>
              <a:ahLst/>
              <a:cxnLst>
                <a:cxn ang="0">
                  <a:pos x="connsiteX0" y="connsiteY0"/>
                </a:cxn>
                <a:cxn ang="0">
                  <a:pos x="connsiteX1" y="connsiteY1"/>
                </a:cxn>
                <a:cxn ang="0">
                  <a:pos x="connsiteX2" y="connsiteY2"/>
                </a:cxn>
                <a:cxn ang="0">
                  <a:pos x="connsiteX3" y="connsiteY3"/>
                </a:cxn>
              </a:cxnLst>
              <a:rect l="l" t="t" r="r" b="b"/>
              <a:pathLst>
                <a:path w="194114" h="1610807">
                  <a:moveTo>
                    <a:pt x="0" y="0"/>
                  </a:moveTo>
                  <a:lnTo>
                    <a:pt x="194114" y="0"/>
                  </a:lnTo>
                  <a:lnTo>
                    <a:pt x="194114" y="1610808"/>
                  </a:lnTo>
                  <a:lnTo>
                    <a:pt x="0" y="1610808"/>
                  </a:lnTo>
                  <a:close/>
                </a:path>
              </a:pathLst>
            </a:custGeom>
            <a:solidFill>
              <a:schemeClr val="accent1"/>
            </a:solidFill>
            <a:ln w="1134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7" name="Freeform: Shape 23">
              <a:extLst>
                <a:ext uri="{FF2B5EF4-FFF2-40B4-BE49-F238E27FC236}">
                  <a16:creationId xmlns:a16="http://schemas.microsoft.com/office/drawing/2014/main" id="{4C8EA2F6-0D64-4826-B0A3-AB8A6D05B3ED}"/>
                </a:ext>
              </a:extLst>
            </p:cNvPr>
            <p:cNvSpPr/>
            <p:nvPr/>
          </p:nvSpPr>
          <p:spPr>
            <a:xfrm>
              <a:off x="6673851" y="4995733"/>
              <a:ext cx="894754" cy="221174"/>
            </a:xfrm>
            <a:custGeom>
              <a:avLst/>
              <a:gdLst>
                <a:gd name="connsiteX0" fmla="*/ 0 w 909272"/>
                <a:gd name="connsiteY0" fmla="*/ 0 h 224763"/>
                <a:gd name="connsiteX1" fmla="*/ 909272 w 909272"/>
                <a:gd name="connsiteY1" fmla="*/ 0 h 224763"/>
                <a:gd name="connsiteX2" fmla="*/ 909272 w 909272"/>
                <a:gd name="connsiteY2" fmla="*/ 224764 h 224763"/>
                <a:gd name="connsiteX3" fmla="*/ 0 w 909272"/>
                <a:gd name="connsiteY3" fmla="*/ 224764 h 224763"/>
              </a:gdLst>
              <a:ahLst/>
              <a:cxnLst>
                <a:cxn ang="0">
                  <a:pos x="connsiteX0" y="connsiteY0"/>
                </a:cxn>
                <a:cxn ang="0">
                  <a:pos x="connsiteX1" y="connsiteY1"/>
                </a:cxn>
                <a:cxn ang="0">
                  <a:pos x="connsiteX2" y="connsiteY2"/>
                </a:cxn>
                <a:cxn ang="0">
                  <a:pos x="connsiteX3" y="connsiteY3"/>
                </a:cxn>
              </a:cxnLst>
              <a:rect l="l" t="t" r="r" b="b"/>
              <a:pathLst>
                <a:path w="909272" h="224763">
                  <a:moveTo>
                    <a:pt x="0" y="0"/>
                  </a:moveTo>
                  <a:lnTo>
                    <a:pt x="909272" y="0"/>
                  </a:lnTo>
                  <a:lnTo>
                    <a:pt x="909272" y="224764"/>
                  </a:lnTo>
                  <a:lnTo>
                    <a:pt x="0" y="224764"/>
                  </a:lnTo>
                  <a:close/>
                </a:path>
              </a:pathLst>
            </a:custGeom>
            <a:solidFill>
              <a:schemeClr val="accent1"/>
            </a:solidFill>
            <a:ln w="1134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8" name="Freeform: Shape 29">
              <a:extLst>
                <a:ext uri="{FF2B5EF4-FFF2-40B4-BE49-F238E27FC236}">
                  <a16:creationId xmlns:a16="http://schemas.microsoft.com/office/drawing/2014/main" id="{57A683DA-CF88-4EED-BD54-9A482F38DD52}"/>
                </a:ext>
              </a:extLst>
            </p:cNvPr>
            <p:cNvSpPr/>
            <p:nvPr/>
          </p:nvSpPr>
          <p:spPr>
            <a:xfrm>
              <a:off x="6989797" y="4512069"/>
              <a:ext cx="1166991" cy="1188502"/>
            </a:xfrm>
            <a:custGeom>
              <a:avLst/>
              <a:gdLst>
                <a:gd name="connsiteX0" fmla="*/ 492664 w 985328"/>
                <a:gd name="connsiteY0" fmla="*/ 1003492 h 1003491"/>
                <a:gd name="connsiteX1" fmla="*/ 985329 w 985328"/>
                <a:gd name="connsiteY1" fmla="*/ 501746 h 1003491"/>
                <a:gd name="connsiteX2" fmla="*/ 492664 w 985328"/>
                <a:gd name="connsiteY2" fmla="*/ 0 h 1003491"/>
                <a:gd name="connsiteX3" fmla="*/ 0 w 985328"/>
                <a:gd name="connsiteY3" fmla="*/ 501746 h 1003491"/>
                <a:gd name="connsiteX4" fmla="*/ 492664 w 985328"/>
                <a:gd name="connsiteY4" fmla="*/ 1003492 h 10034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5328" h="1003491">
                  <a:moveTo>
                    <a:pt x="492664" y="1003492"/>
                  </a:moveTo>
                  <a:cubicBezTo>
                    <a:pt x="763970" y="1003492"/>
                    <a:pt x="985329" y="777592"/>
                    <a:pt x="985329" y="501746"/>
                  </a:cubicBezTo>
                  <a:cubicBezTo>
                    <a:pt x="985329" y="225899"/>
                    <a:pt x="763970" y="0"/>
                    <a:pt x="492664" y="0"/>
                  </a:cubicBezTo>
                  <a:cubicBezTo>
                    <a:pt x="221358" y="0"/>
                    <a:pt x="0" y="225899"/>
                    <a:pt x="0" y="501746"/>
                  </a:cubicBezTo>
                  <a:cubicBezTo>
                    <a:pt x="0" y="777592"/>
                    <a:pt x="221358" y="1003492"/>
                    <a:pt x="492664" y="1003492"/>
                  </a:cubicBezTo>
                  <a:close/>
                </a:path>
              </a:pathLst>
            </a:custGeom>
            <a:solidFill>
              <a:schemeClr val="accent1"/>
            </a:solidFill>
            <a:ln w="1134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useBgFill="1">
          <p:nvSpPr>
            <p:cNvPr id="39" name="Freeform: Shape 40">
              <a:extLst>
                <a:ext uri="{FF2B5EF4-FFF2-40B4-BE49-F238E27FC236}">
                  <a16:creationId xmlns:a16="http://schemas.microsoft.com/office/drawing/2014/main" id="{97B18A55-A966-4289-AE90-C27B225B0E12}"/>
                </a:ext>
              </a:extLst>
            </p:cNvPr>
            <p:cNvSpPr/>
            <p:nvPr/>
          </p:nvSpPr>
          <p:spPr>
            <a:xfrm>
              <a:off x="7090631" y="4612905"/>
              <a:ext cx="965322" cy="986832"/>
            </a:xfrm>
            <a:custGeom>
              <a:avLst/>
              <a:gdLst>
                <a:gd name="connsiteX0" fmla="*/ 407526 w 815052"/>
                <a:gd name="connsiteY0" fmla="*/ 833216 h 833215"/>
                <a:gd name="connsiteX1" fmla="*/ 815053 w 815052"/>
                <a:gd name="connsiteY1" fmla="*/ 416608 h 833215"/>
                <a:gd name="connsiteX2" fmla="*/ 407526 w 815052"/>
                <a:gd name="connsiteY2" fmla="*/ 0 h 833215"/>
                <a:gd name="connsiteX3" fmla="*/ 0 w 815052"/>
                <a:gd name="connsiteY3" fmla="*/ 416608 h 833215"/>
                <a:gd name="connsiteX4" fmla="*/ 407526 w 815052"/>
                <a:gd name="connsiteY4" fmla="*/ 833216 h 8332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5052" h="833215">
                  <a:moveTo>
                    <a:pt x="407526" y="833216"/>
                  </a:moveTo>
                  <a:cubicBezTo>
                    <a:pt x="632290" y="833216"/>
                    <a:pt x="815053" y="645913"/>
                    <a:pt x="815053" y="416608"/>
                  </a:cubicBezTo>
                  <a:cubicBezTo>
                    <a:pt x="815053" y="187303"/>
                    <a:pt x="632290" y="0"/>
                    <a:pt x="407526" y="0"/>
                  </a:cubicBezTo>
                  <a:cubicBezTo>
                    <a:pt x="182763" y="0"/>
                    <a:pt x="0" y="187303"/>
                    <a:pt x="0" y="416608"/>
                  </a:cubicBezTo>
                  <a:cubicBezTo>
                    <a:pt x="0" y="645913"/>
                    <a:pt x="183898" y="833216"/>
                    <a:pt x="407526" y="833216"/>
                  </a:cubicBezTo>
                  <a:close/>
                </a:path>
              </a:pathLst>
            </a:custGeom>
            <a:ln w="1134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sp>
        <p:nvSpPr>
          <p:cNvPr id="40" name="Title 1">
            <a:extLst>
              <a:ext uri="{FF2B5EF4-FFF2-40B4-BE49-F238E27FC236}">
                <a16:creationId xmlns:a16="http://schemas.microsoft.com/office/drawing/2014/main" id="{B1C129E6-17BA-41B9-B6FA-8035FA691CD8}"/>
              </a:ext>
            </a:extLst>
          </p:cNvPr>
          <p:cNvSpPr txBox="1">
            <a:spLocks/>
          </p:cNvSpPr>
          <p:nvPr/>
        </p:nvSpPr>
        <p:spPr>
          <a:xfrm>
            <a:off x="2043113" y="304800"/>
            <a:ext cx="8105775" cy="1105808"/>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ID" sz="4400" b="0" i="0" u="none" strike="noStrike" kern="1200" cap="none" spc="0" normalizeH="0" baseline="0" noProof="0">
                <a:ln>
                  <a:noFill/>
                </a:ln>
                <a:solidFill>
                  <a:srgbClr val="000000"/>
                </a:solidFill>
                <a:effectLst/>
                <a:uLnTx/>
                <a:uFillTx/>
                <a:latin typeface="等线 Light" panose="020F0302020204030204"/>
                <a:ea typeface="+mj-ea"/>
                <a:cs typeface="+mj-cs"/>
              </a:rPr>
              <a:t>Tree Infographic</a:t>
            </a:r>
          </a:p>
        </p:txBody>
      </p:sp>
      <p:sp>
        <p:nvSpPr>
          <p:cNvPr id="41" name="TextBox 55">
            <a:extLst>
              <a:ext uri="{FF2B5EF4-FFF2-40B4-BE49-F238E27FC236}">
                <a16:creationId xmlns:a16="http://schemas.microsoft.com/office/drawing/2014/main" id="{06819DD5-BC4A-4896-B196-4662C26EBC6D}"/>
              </a:ext>
            </a:extLst>
          </p:cNvPr>
          <p:cNvSpPr txBox="1"/>
          <p:nvPr/>
        </p:nvSpPr>
        <p:spPr>
          <a:xfrm>
            <a:off x="1489608" y="5005453"/>
            <a:ext cx="2251643" cy="616836"/>
          </a:xfrm>
          <a:prstGeom prst="rect">
            <a:avLst/>
          </a:prstGeom>
          <a:noFill/>
        </p:spPr>
        <p:txBody>
          <a:bodyPr wrap="square" rtlCol="0">
            <a:spAutoFit/>
          </a:bodyPr>
          <a:lstStyle/>
          <a:p>
            <a:pPr marL="0" marR="0" lvl="0" indent="0" algn="r" defTabSz="914400" rtl="0" eaLnBrk="1" fontAlgn="auto" latinLnBrk="0" hangingPunct="1">
              <a:lnSpc>
                <a:spcPct val="15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rPr>
              <a:t>A wonderful serenity </a:t>
            </a:r>
            <a:r>
              <a:rPr kumimoji="0" lang="en-US" sz="1200" b="0" i="0" u="none" strike="noStrike" kern="1200" cap="none" spc="0" normalizeH="0" baseline="0" noProof="0">
                <a:ln>
                  <a:noFill/>
                </a:ln>
                <a:solidFill>
                  <a:srgbClr val="000000"/>
                </a:solidFill>
                <a:effectLst/>
                <a:uLnTx/>
                <a:uFillTx/>
                <a:latin typeface="等线" panose="020F0502020204030204"/>
                <a:ea typeface="+mn-ea"/>
                <a:cs typeface="+mn-cs"/>
              </a:rPr>
              <a:t>has taken has this </a:t>
            </a:r>
            <a:r>
              <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rPr>
              <a:t>possession of </a:t>
            </a:r>
            <a:r>
              <a:rPr kumimoji="0" lang="en-US" sz="1200" b="0" i="0" u="none" strike="noStrike" kern="1200" cap="none" spc="0" normalizeH="0" baseline="0" noProof="0">
                <a:ln>
                  <a:noFill/>
                </a:ln>
                <a:solidFill>
                  <a:srgbClr val="000000"/>
                </a:solidFill>
                <a:effectLst/>
                <a:uLnTx/>
                <a:uFillTx/>
                <a:latin typeface="等线" panose="020F0502020204030204"/>
                <a:ea typeface="+mn-ea"/>
                <a:cs typeface="+mn-cs"/>
              </a:rPr>
              <a:t>my entire</a:t>
            </a:r>
            <a:endPar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42" name="TextBox 56">
            <a:extLst>
              <a:ext uri="{FF2B5EF4-FFF2-40B4-BE49-F238E27FC236}">
                <a16:creationId xmlns:a16="http://schemas.microsoft.com/office/drawing/2014/main" id="{AA8EAF1C-9D4A-4401-9FFA-6ED1DE7FEE30}"/>
              </a:ext>
            </a:extLst>
          </p:cNvPr>
          <p:cNvSpPr txBox="1"/>
          <p:nvPr/>
        </p:nvSpPr>
        <p:spPr>
          <a:xfrm>
            <a:off x="1593229" y="4743317"/>
            <a:ext cx="2148023" cy="338554"/>
          </a:xfrm>
          <a:prstGeom prst="rect">
            <a:avLst/>
          </a:prstGeom>
          <a:noFill/>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等线 Light" panose="020F0302020204030204"/>
                <a:ea typeface="+mn-ea"/>
                <a:cs typeface="+mn-cs"/>
              </a:rPr>
              <a:t>Description</a:t>
            </a:r>
          </a:p>
        </p:txBody>
      </p:sp>
      <p:sp>
        <p:nvSpPr>
          <p:cNvPr id="43" name="TextBox 57">
            <a:extLst>
              <a:ext uri="{FF2B5EF4-FFF2-40B4-BE49-F238E27FC236}">
                <a16:creationId xmlns:a16="http://schemas.microsoft.com/office/drawing/2014/main" id="{CE9543CF-F981-498F-AC3C-CFE3DEB9DCA1}"/>
              </a:ext>
            </a:extLst>
          </p:cNvPr>
          <p:cNvSpPr txBox="1"/>
          <p:nvPr/>
        </p:nvSpPr>
        <p:spPr>
          <a:xfrm>
            <a:off x="646730" y="3728889"/>
            <a:ext cx="2251643" cy="616836"/>
          </a:xfrm>
          <a:prstGeom prst="rect">
            <a:avLst/>
          </a:prstGeom>
          <a:noFill/>
        </p:spPr>
        <p:txBody>
          <a:bodyPr wrap="square" rtlCol="0">
            <a:spAutoFit/>
          </a:bodyPr>
          <a:lstStyle/>
          <a:p>
            <a:pPr marL="0" marR="0" lvl="0" indent="0" algn="r" defTabSz="914400" rtl="0" eaLnBrk="1" fontAlgn="auto" latinLnBrk="0" hangingPunct="1">
              <a:lnSpc>
                <a:spcPct val="15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rPr>
              <a:t>A wonderful serenity </a:t>
            </a:r>
            <a:r>
              <a:rPr kumimoji="0" lang="en-US" sz="1200" b="0" i="0" u="none" strike="noStrike" kern="1200" cap="none" spc="0" normalizeH="0" baseline="0" noProof="0">
                <a:ln>
                  <a:noFill/>
                </a:ln>
                <a:solidFill>
                  <a:srgbClr val="000000"/>
                </a:solidFill>
                <a:effectLst/>
                <a:uLnTx/>
                <a:uFillTx/>
                <a:latin typeface="等线" panose="020F0502020204030204"/>
                <a:ea typeface="+mn-ea"/>
                <a:cs typeface="+mn-cs"/>
              </a:rPr>
              <a:t>has taken has this </a:t>
            </a:r>
            <a:r>
              <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rPr>
              <a:t>possession of </a:t>
            </a:r>
            <a:r>
              <a:rPr kumimoji="0" lang="en-US" sz="1200" b="0" i="0" u="none" strike="noStrike" kern="1200" cap="none" spc="0" normalizeH="0" baseline="0" noProof="0">
                <a:ln>
                  <a:noFill/>
                </a:ln>
                <a:solidFill>
                  <a:srgbClr val="000000"/>
                </a:solidFill>
                <a:effectLst/>
                <a:uLnTx/>
                <a:uFillTx/>
                <a:latin typeface="等线" panose="020F0502020204030204"/>
                <a:ea typeface="+mn-ea"/>
                <a:cs typeface="+mn-cs"/>
              </a:rPr>
              <a:t>my entire</a:t>
            </a:r>
            <a:endPar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44" name="TextBox 58">
            <a:extLst>
              <a:ext uri="{FF2B5EF4-FFF2-40B4-BE49-F238E27FC236}">
                <a16:creationId xmlns:a16="http://schemas.microsoft.com/office/drawing/2014/main" id="{2B567646-1319-4DA6-B203-CA04B82DCC08}"/>
              </a:ext>
            </a:extLst>
          </p:cNvPr>
          <p:cNvSpPr txBox="1"/>
          <p:nvPr/>
        </p:nvSpPr>
        <p:spPr>
          <a:xfrm>
            <a:off x="750351" y="3466753"/>
            <a:ext cx="2148023" cy="338554"/>
          </a:xfrm>
          <a:prstGeom prst="rect">
            <a:avLst/>
          </a:prstGeom>
          <a:noFill/>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等线 Light" panose="020F0302020204030204"/>
                <a:ea typeface="+mn-ea"/>
                <a:cs typeface="+mn-cs"/>
              </a:rPr>
              <a:t>Description</a:t>
            </a:r>
          </a:p>
        </p:txBody>
      </p:sp>
      <p:sp>
        <p:nvSpPr>
          <p:cNvPr id="45" name="TextBox 59">
            <a:extLst>
              <a:ext uri="{FF2B5EF4-FFF2-40B4-BE49-F238E27FC236}">
                <a16:creationId xmlns:a16="http://schemas.microsoft.com/office/drawing/2014/main" id="{F2C4CD76-AFF5-4471-A9FF-F23B3CF1CB8B}"/>
              </a:ext>
            </a:extLst>
          </p:cNvPr>
          <p:cNvSpPr txBox="1"/>
          <p:nvPr/>
        </p:nvSpPr>
        <p:spPr>
          <a:xfrm>
            <a:off x="1652150" y="2394277"/>
            <a:ext cx="2251643" cy="616836"/>
          </a:xfrm>
          <a:prstGeom prst="rect">
            <a:avLst/>
          </a:prstGeom>
          <a:noFill/>
        </p:spPr>
        <p:txBody>
          <a:bodyPr wrap="square" rtlCol="0">
            <a:spAutoFit/>
          </a:bodyPr>
          <a:lstStyle/>
          <a:p>
            <a:pPr marL="0" marR="0" lvl="0" indent="0" algn="r" defTabSz="914400" rtl="0" eaLnBrk="1" fontAlgn="auto" latinLnBrk="0" hangingPunct="1">
              <a:lnSpc>
                <a:spcPct val="15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rPr>
              <a:t>A wonderful serenity </a:t>
            </a:r>
            <a:r>
              <a:rPr kumimoji="0" lang="en-US" sz="1200" b="0" i="0" u="none" strike="noStrike" kern="1200" cap="none" spc="0" normalizeH="0" baseline="0" noProof="0">
                <a:ln>
                  <a:noFill/>
                </a:ln>
                <a:solidFill>
                  <a:srgbClr val="000000"/>
                </a:solidFill>
                <a:effectLst/>
                <a:uLnTx/>
                <a:uFillTx/>
                <a:latin typeface="等线" panose="020F0502020204030204"/>
                <a:ea typeface="+mn-ea"/>
                <a:cs typeface="+mn-cs"/>
              </a:rPr>
              <a:t>has taken has this </a:t>
            </a:r>
            <a:r>
              <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rPr>
              <a:t>possession of </a:t>
            </a:r>
            <a:r>
              <a:rPr kumimoji="0" lang="en-US" sz="1200" b="0" i="0" u="none" strike="noStrike" kern="1200" cap="none" spc="0" normalizeH="0" baseline="0" noProof="0">
                <a:ln>
                  <a:noFill/>
                </a:ln>
                <a:solidFill>
                  <a:srgbClr val="000000"/>
                </a:solidFill>
                <a:effectLst/>
                <a:uLnTx/>
                <a:uFillTx/>
                <a:latin typeface="等线" panose="020F0502020204030204"/>
                <a:ea typeface="+mn-ea"/>
                <a:cs typeface="+mn-cs"/>
              </a:rPr>
              <a:t>my entire</a:t>
            </a:r>
            <a:endPar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46" name="TextBox 60">
            <a:extLst>
              <a:ext uri="{FF2B5EF4-FFF2-40B4-BE49-F238E27FC236}">
                <a16:creationId xmlns:a16="http://schemas.microsoft.com/office/drawing/2014/main" id="{B2DC6567-FA4A-45A0-A9C3-68126DBCB7B2}"/>
              </a:ext>
            </a:extLst>
          </p:cNvPr>
          <p:cNvSpPr txBox="1"/>
          <p:nvPr/>
        </p:nvSpPr>
        <p:spPr>
          <a:xfrm>
            <a:off x="1755771" y="2132141"/>
            <a:ext cx="2148023" cy="338554"/>
          </a:xfrm>
          <a:prstGeom prst="rect">
            <a:avLst/>
          </a:prstGeom>
          <a:noFill/>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等线 Light" panose="020F0302020204030204"/>
                <a:ea typeface="+mn-ea"/>
                <a:cs typeface="+mn-cs"/>
              </a:rPr>
              <a:t>Description</a:t>
            </a:r>
          </a:p>
        </p:txBody>
      </p:sp>
      <p:sp>
        <p:nvSpPr>
          <p:cNvPr id="47" name="TextBox 61">
            <a:extLst>
              <a:ext uri="{FF2B5EF4-FFF2-40B4-BE49-F238E27FC236}">
                <a16:creationId xmlns:a16="http://schemas.microsoft.com/office/drawing/2014/main" id="{370E57E0-E2FA-4E8B-BE0E-9B97AB0B9A30}"/>
              </a:ext>
            </a:extLst>
          </p:cNvPr>
          <p:cNvSpPr txBox="1"/>
          <p:nvPr/>
        </p:nvSpPr>
        <p:spPr>
          <a:xfrm>
            <a:off x="8450748" y="5005453"/>
            <a:ext cx="2251643" cy="616836"/>
          </a:xfrm>
          <a:prstGeom prst="rect">
            <a:avLst/>
          </a:prstGeom>
          <a:noFill/>
        </p:spPr>
        <p:txBody>
          <a:bodyPr wrap="square" rtlCol="0">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rPr>
              <a:t>A wonderful serenity </a:t>
            </a:r>
            <a:r>
              <a:rPr kumimoji="0" lang="en-US" sz="1200" b="0" i="0" u="none" strike="noStrike" kern="1200" cap="none" spc="0" normalizeH="0" baseline="0" noProof="0">
                <a:ln>
                  <a:noFill/>
                </a:ln>
                <a:solidFill>
                  <a:srgbClr val="000000"/>
                </a:solidFill>
                <a:effectLst/>
                <a:uLnTx/>
                <a:uFillTx/>
                <a:latin typeface="等线" panose="020F0502020204030204"/>
                <a:ea typeface="+mn-ea"/>
                <a:cs typeface="+mn-cs"/>
              </a:rPr>
              <a:t>has taken has this </a:t>
            </a:r>
            <a:r>
              <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rPr>
              <a:t>possession of </a:t>
            </a:r>
            <a:r>
              <a:rPr kumimoji="0" lang="en-US" sz="1200" b="0" i="0" u="none" strike="noStrike" kern="1200" cap="none" spc="0" normalizeH="0" baseline="0" noProof="0">
                <a:ln>
                  <a:noFill/>
                </a:ln>
                <a:solidFill>
                  <a:srgbClr val="000000"/>
                </a:solidFill>
                <a:effectLst/>
                <a:uLnTx/>
                <a:uFillTx/>
                <a:latin typeface="等线" panose="020F0502020204030204"/>
                <a:ea typeface="+mn-ea"/>
                <a:cs typeface="+mn-cs"/>
              </a:rPr>
              <a:t>my entire</a:t>
            </a:r>
            <a:endPar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48" name="TextBox 62">
            <a:extLst>
              <a:ext uri="{FF2B5EF4-FFF2-40B4-BE49-F238E27FC236}">
                <a16:creationId xmlns:a16="http://schemas.microsoft.com/office/drawing/2014/main" id="{53DB33F8-7601-40D0-8C16-8A05837FB3FE}"/>
              </a:ext>
            </a:extLst>
          </p:cNvPr>
          <p:cNvSpPr txBox="1"/>
          <p:nvPr/>
        </p:nvSpPr>
        <p:spPr>
          <a:xfrm>
            <a:off x="8450748" y="4743317"/>
            <a:ext cx="2148023" cy="33855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等线 Light" panose="020F0302020204030204"/>
                <a:ea typeface="+mn-ea"/>
                <a:cs typeface="+mn-cs"/>
              </a:rPr>
              <a:t>Description</a:t>
            </a:r>
          </a:p>
        </p:txBody>
      </p:sp>
      <p:sp>
        <p:nvSpPr>
          <p:cNvPr id="49" name="TextBox 63">
            <a:extLst>
              <a:ext uri="{FF2B5EF4-FFF2-40B4-BE49-F238E27FC236}">
                <a16:creationId xmlns:a16="http://schemas.microsoft.com/office/drawing/2014/main" id="{101AD079-3675-4340-A371-688F7E327C9C}"/>
              </a:ext>
            </a:extLst>
          </p:cNvPr>
          <p:cNvSpPr txBox="1"/>
          <p:nvPr/>
        </p:nvSpPr>
        <p:spPr>
          <a:xfrm>
            <a:off x="9293626" y="3728889"/>
            <a:ext cx="2251643" cy="616836"/>
          </a:xfrm>
          <a:prstGeom prst="rect">
            <a:avLst/>
          </a:prstGeom>
          <a:noFill/>
        </p:spPr>
        <p:txBody>
          <a:bodyPr wrap="square" rtlCol="0">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rPr>
              <a:t>A wonderful serenity </a:t>
            </a:r>
            <a:r>
              <a:rPr kumimoji="0" lang="en-US" sz="1200" b="0" i="0" u="none" strike="noStrike" kern="1200" cap="none" spc="0" normalizeH="0" baseline="0" noProof="0">
                <a:ln>
                  <a:noFill/>
                </a:ln>
                <a:solidFill>
                  <a:srgbClr val="000000"/>
                </a:solidFill>
                <a:effectLst/>
                <a:uLnTx/>
                <a:uFillTx/>
                <a:latin typeface="等线" panose="020F0502020204030204"/>
                <a:ea typeface="+mn-ea"/>
                <a:cs typeface="+mn-cs"/>
              </a:rPr>
              <a:t>has taken has this </a:t>
            </a:r>
            <a:r>
              <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rPr>
              <a:t>possession of </a:t>
            </a:r>
            <a:r>
              <a:rPr kumimoji="0" lang="en-US" sz="1200" b="0" i="0" u="none" strike="noStrike" kern="1200" cap="none" spc="0" normalizeH="0" baseline="0" noProof="0">
                <a:ln>
                  <a:noFill/>
                </a:ln>
                <a:solidFill>
                  <a:srgbClr val="000000"/>
                </a:solidFill>
                <a:effectLst/>
                <a:uLnTx/>
                <a:uFillTx/>
                <a:latin typeface="等线" panose="020F0502020204030204"/>
                <a:ea typeface="+mn-ea"/>
                <a:cs typeface="+mn-cs"/>
              </a:rPr>
              <a:t>my entire</a:t>
            </a:r>
            <a:endPar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50" name="TextBox 64">
            <a:extLst>
              <a:ext uri="{FF2B5EF4-FFF2-40B4-BE49-F238E27FC236}">
                <a16:creationId xmlns:a16="http://schemas.microsoft.com/office/drawing/2014/main" id="{57305DCA-D47F-4939-AD6B-9048B6DFD447}"/>
              </a:ext>
            </a:extLst>
          </p:cNvPr>
          <p:cNvSpPr txBox="1"/>
          <p:nvPr/>
        </p:nvSpPr>
        <p:spPr>
          <a:xfrm>
            <a:off x="9293626" y="3466753"/>
            <a:ext cx="2148023" cy="33855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等线 Light" panose="020F0302020204030204"/>
                <a:ea typeface="+mn-ea"/>
                <a:cs typeface="+mn-cs"/>
              </a:rPr>
              <a:t>Description</a:t>
            </a:r>
          </a:p>
        </p:txBody>
      </p:sp>
      <p:sp>
        <p:nvSpPr>
          <p:cNvPr id="51" name="TextBox 65">
            <a:extLst>
              <a:ext uri="{FF2B5EF4-FFF2-40B4-BE49-F238E27FC236}">
                <a16:creationId xmlns:a16="http://schemas.microsoft.com/office/drawing/2014/main" id="{651345AF-C1A2-4A59-86B8-27510E212046}"/>
              </a:ext>
            </a:extLst>
          </p:cNvPr>
          <p:cNvSpPr txBox="1"/>
          <p:nvPr/>
        </p:nvSpPr>
        <p:spPr>
          <a:xfrm>
            <a:off x="8288240" y="2394277"/>
            <a:ext cx="2251643" cy="616836"/>
          </a:xfrm>
          <a:prstGeom prst="rect">
            <a:avLst/>
          </a:prstGeom>
          <a:noFill/>
        </p:spPr>
        <p:txBody>
          <a:bodyPr wrap="square" rtlCol="0">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rPr>
              <a:t>A wonderful serenity </a:t>
            </a:r>
            <a:r>
              <a:rPr kumimoji="0" lang="en-US" sz="1200" b="0" i="0" u="none" strike="noStrike" kern="1200" cap="none" spc="0" normalizeH="0" baseline="0" noProof="0">
                <a:ln>
                  <a:noFill/>
                </a:ln>
                <a:solidFill>
                  <a:srgbClr val="000000"/>
                </a:solidFill>
                <a:effectLst/>
                <a:uLnTx/>
                <a:uFillTx/>
                <a:latin typeface="等线" panose="020F0502020204030204"/>
                <a:ea typeface="+mn-ea"/>
                <a:cs typeface="+mn-cs"/>
              </a:rPr>
              <a:t>has taken has this </a:t>
            </a:r>
            <a:r>
              <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rPr>
              <a:t>possession of </a:t>
            </a:r>
            <a:r>
              <a:rPr kumimoji="0" lang="en-US" sz="1200" b="0" i="0" u="none" strike="noStrike" kern="1200" cap="none" spc="0" normalizeH="0" baseline="0" noProof="0">
                <a:ln>
                  <a:noFill/>
                </a:ln>
                <a:solidFill>
                  <a:srgbClr val="000000"/>
                </a:solidFill>
                <a:effectLst/>
                <a:uLnTx/>
                <a:uFillTx/>
                <a:latin typeface="等线" panose="020F0502020204030204"/>
                <a:ea typeface="+mn-ea"/>
                <a:cs typeface="+mn-cs"/>
              </a:rPr>
              <a:t>my entire</a:t>
            </a:r>
            <a:endPar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52" name="TextBox 66">
            <a:extLst>
              <a:ext uri="{FF2B5EF4-FFF2-40B4-BE49-F238E27FC236}">
                <a16:creationId xmlns:a16="http://schemas.microsoft.com/office/drawing/2014/main" id="{F522D8C9-49B5-42B3-A787-342B03F58D8B}"/>
              </a:ext>
            </a:extLst>
          </p:cNvPr>
          <p:cNvSpPr txBox="1"/>
          <p:nvPr/>
        </p:nvSpPr>
        <p:spPr>
          <a:xfrm>
            <a:off x="8288240" y="2132141"/>
            <a:ext cx="2148023" cy="33855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等线 Light" panose="020F0302020204030204"/>
                <a:ea typeface="+mn-ea"/>
                <a:cs typeface="+mn-cs"/>
              </a:rPr>
              <a:t>Description</a:t>
            </a:r>
          </a:p>
        </p:txBody>
      </p:sp>
      <p:grpSp>
        <p:nvGrpSpPr>
          <p:cNvPr id="53" name="Graphic 1">
            <a:extLst>
              <a:ext uri="{FF2B5EF4-FFF2-40B4-BE49-F238E27FC236}">
                <a16:creationId xmlns:a16="http://schemas.microsoft.com/office/drawing/2014/main" id="{7E96814F-F6BE-448F-A42D-DE00EDC5F637}"/>
              </a:ext>
            </a:extLst>
          </p:cNvPr>
          <p:cNvGrpSpPr/>
          <p:nvPr/>
        </p:nvGrpSpPr>
        <p:grpSpPr>
          <a:xfrm>
            <a:off x="5780302" y="2396374"/>
            <a:ext cx="632512" cy="397652"/>
            <a:chOff x="4714676" y="2988348"/>
            <a:chExt cx="521003" cy="327546"/>
          </a:xfrm>
          <a:solidFill>
            <a:schemeClr val="accent4"/>
          </a:solidFill>
        </p:grpSpPr>
        <p:sp>
          <p:nvSpPr>
            <p:cNvPr id="54" name="Freeform: Shape 68">
              <a:extLst>
                <a:ext uri="{FF2B5EF4-FFF2-40B4-BE49-F238E27FC236}">
                  <a16:creationId xmlns:a16="http://schemas.microsoft.com/office/drawing/2014/main" id="{B783D00D-155F-4DAB-91E2-913BC98554DA}"/>
                </a:ext>
              </a:extLst>
            </p:cNvPr>
            <p:cNvSpPr/>
            <p:nvPr/>
          </p:nvSpPr>
          <p:spPr>
            <a:xfrm>
              <a:off x="5058599" y="3061534"/>
              <a:ext cx="148419" cy="5117"/>
            </a:xfrm>
            <a:custGeom>
              <a:avLst/>
              <a:gdLst>
                <a:gd name="connsiteX0" fmla="*/ 0 w 148419"/>
                <a:gd name="connsiteY0" fmla="*/ 0 h 5117"/>
                <a:gd name="connsiteX1" fmla="*/ 0 w 148419"/>
                <a:gd name="connsiteY1" fmla="*/ 5118 h 5117"/>
                <a:gd name="connsiteX2" fmla="*/ 0 w 148419"/>
                <a:gd name="connsiteY2" fmla="*/ 0 h 5117"/>
                <a:gd name="connsiteX3" fmla="*/ 0 w 148419"/>
                <a:gd name="connsiteY3" fmla="*/ 0 h 5117"/>
                <a:gd name="connsiteX4" fmla="*/ 148419 w 148419"/>
                <a:gd name="connsiteY4" fmla="*/ 0 h 5117"/>
                <a:gd name="connsiteX5" fmla="*/ 148419 w 148419"/>
                <a:gd name="connsiteY5" fmla="*/ 5118 h 5117"/>
                <a:gd name="connsiteX6" fmla="*/ 148419 w 148419"/>
                <a:gd name="connsiteY6" fmla="*/ 0 h 5117"/>
                <a:gd name="connsiteX7" fmla="*/ 148419 w 148419"/>
                <a:gd name="connsiteY7" fmla="*/ 0 h 5117"/>
                <a:gd name="connsiteX8" fmla="*/ 28660 w 148419"/>
                <a:gd name="connsiteY8" fmla="*/ 0 h 5117"/>
                <a:gd name="connsiteX9" fmla="*/ 37873 w 148419"/>
                <a:gd name="connsiteY9" fmla="*/ 512 h 5117"/>
                <a:gd name="connsiteX10" fmla="*/ 41455 w 148419"/>
                <a:gd name="connsiteY10" fmla="*/ 512 h 5117"/>
                <a:gd name="connsiteX11" fmla="*/ 44526 w 148419"/>
                <a:gd name="connsiteY11" fmla="*/ 512 h 5117"/>
                <a:gd name="connsiteX12" fmla="*/ 47085 w 148419"/>
                <a:gd name="connsiteY12" fmla="*/ 0 h 5117"/>
                <a:gd name="connsiteX13" fmla="*/ 28660 w 148419"/>
                <a:gd name="connsiteY13" fmla="*/ 0 h 51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8419" h="5117">
                  <a:moveTo>
                    <a:pt x="0" y="0"/>
                  </a:moveTo>
                  <a:lnTo>
                    <a:pt x="0" y="5118"/>
                  </a:lnTo>
                  <a:cubicBezTo>
                    <a:pt x="0" y="3583"/>
                    <a:pt x="0" y="1535"/>
                    <a:pt x="0" y="0"/>
                  </a:cubicBezTo>
                  <a:lnTo>
                    <a:pt x="0" y="0"/>
                  </a:lnTo>
                  <a:close/>
                  <a:moveTo>
                    <a:pt x="148419" y="0"/>
                  </a:moveTo>
                  <a:cubicBezTo>
                    <a:pt x="148419" y="1535"/>
                    <a:pt x="148419" y="3583"/>
                    <a:pt x="148419" y="5118"/>
                  </a:cubicBezTo>
                  <a:lnTo>
                    <a:pt x="148419" y="0"/>
                  </a:lnTo>
                  <a:lnTo>
                    <a:pt x="148419" y="0"/>
                  </a:lnTo>
                  <a:close/>
                  <a:moveTo>
                    <a:pt x="28660" y="0"/>
                  </a:moveTo>
                  <a:cubicBezTo>
                    <a:pt x="31731" y="512"/>
                    <a:pt x="34802" y="512"/>
                    <a:pt x="37873" y="512"/>
                  </a:cubicBezTo>
                  <a:cubicBezTo>
                    <a:pt x="38896" y="512"/>
                    <a:pt x="40432" y="512"/>
                    <a:pt x="41455" y="512"/>
                  </a:cubicBezTo>
                  <a:cubicBezTo>
                    <a:pt x="42479" y="512"/>
                    <a:pt x="43502" y="512"/>
                    <a:pt x="44526" y="512"/>
                  </a:cubicBezTo>
                  <a:cubicBezTo>
                    <a:pt x="45550" y="512"/>
                    <a:pt x="46061" y="512"/>
                    <a:pt x="47085" y="0"/>
                  </a:cubicBezTo>
                  <a:lnTo>
                    <a:pt x="28660" y="0"/>
                  </a:lnTo>
                  <a:close/>
                </a:path>
              </a:pathLst>
            </a:custGeom>
            <a:grpFill/>
            <a:ln w="511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55" name="Freeform: Shape 69">
              <a:extLst>
                <a:ext uri="{FF2B5EF4-FFF2-40B4-BE49-F238E27FC236}">
                  <a16:creationId xmlns:a16="http://schemas.microsoft.com/office/drawing/2014/main" id="{61A37E9D-05D4-43DC-80DC-1842D1B5EF74}"/>
                </a:ext>
              </a:extLst>
            </p:cNvPr>
            <p:cNvSpPr/>
            <p:nvPr/>
          </p:nvSpPr>
          <p:spPr>
            <a:xfrm>
              <a:off x="5087259" y="3061534"/>
              <a:ext cx="18424" cy="511"/>
            </a:xfrm>
            <a:custGeom>
              <a:avLst/>
              <a:gdLst>
                <a:gd name="connsiteX0" fmla="*/ 18425 w 18424"/>
                <a:gd name="connsiteY0" fmla="*/ 0 h 511"/>
                <a:gd name="connsiteX1" fmla="*/ 15866 w 18424"/>
                <a:gd name="connsiteY1" fmla="*/ 512 h 511"/>
                <a:gd name="connsiteX2" fmla="*/ 12795 w 18424"/>
                <a:gd name="connsiteY2" fmla="*/ 512 h 511"/>
                <a:gd name="connsiteX3" fmla="*/ 9212 w 18424"/>
                <a:gd name="connsiteY3" fmla="*/ 512 h 511"/>
                <a:gd name="connsiteX4" fmla="*/ 0 w 18424"/>
                <a:gd name="connsiteY4" fmla="*/ 0 h 511"/>
                <a:gd name="connsiteX5" fmla="*/ 18425 w 18424"/>
                <a:gd name="connsiteY5" fmla="*/ 0 h 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424" h="511">
                  <a:moveTo>
                    <a:pt x="18425" y="0"/>
                  </a:moveTo>
                  <a:cubicBezTo>
                    <a:pt x="17401" y="0"/>
                    <a:pt x="16889" y="0"/>
                    <a:pt x="15866" y="512"/>
                  </a:cubicBezTo>
                  <a:cubicBezTo>
                    <a:pt x="14842" y="512"/>
                    <a:pt x="13818" y="512"/>
                    <a:pt x="12795" y="512"/>
                  </a:cubicBezTo>
                  <a:cubicBezTo>
                    <a:pt x="11771" y="512"/>
                    <a:pt x="10236" y="512"/>
                    <a:pt x="9212" y="512"/>
                  </a:cubicBezTo>
                  <a:cubicBezTo>
                    <a:pt x="6142" y="512"/>
                    <a:pt x="3071" y="512"/>
                    <a:pt x="0" y="0"/>
                  </a:cubicBezTo>
                  <a:lnTo>
                    <a:pt x="18425" y="0"/>
                  </a:lnTo>
                  <a:close/>
                </a:path>
              </a:pathLst>
            </a:custGeom>
            <a:grpFill/>
            <a:ln w="511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56" name="Freeform: Shape 70">
              <a:extLst>
                <a:ext uri="{FF2B5EF4-FFF2-40B4-BE49-F238E27FC236}">
                  <a16:creationId xmlns:a16="http://schemas.microsoft.com/office/drawing/2014/main" id="{17CD6CAB-16F3-4F1B-869A-312EBE812912}"/>
                </a:ext>
              </a:extLst>
            </p:cNvPr>
            <p:cNvSpPr/>
            <p:nvPr/>
          </p:nvSpPr>
          <p:spPr>
            <a:xfrm>
              <a:off x="5128203" y="3052321"/>
              <a:ext cx="4606" cy="2558"/>
            </a:xfrm>
            <a:custGeom>
              <a:avLst/>
              <a:gdLst>
                <a:gd name="connsiteX0" fmla="*/ 4606 w 4606"/>
                <a:gd name="connsiteY0" fmla="*/ 0 h 2558"/>
                <a:gd name="connsiteX1" fmla="*/ 4606 w 4606"/>
                <a:gd name="connsiteY1" fmla="*/ 0 h 2558"/>
                <a:gd name="connsiteX2" fmla="*/ 0 w 4606"/>
                <a:gd name="connsiteY2" fmla="*/ 2559 h 2558"/>
                <a:gd name="connsiteX3" fmla="*/ 4606 w 4606"/>
                <a:gd name="connsiteY3" fmla="*/ 0 h 2558"/>
              </a:gdLst>
              <a:ahLst/>
              <a:cxnLst>
                <a:cxn ang="0">
                  <a:pos x="connsiteX0" y="connsiteY0"/>
                </a:cxn>
                <a:cxn ang="0">
                  <a:pos x="connsiteX1" y="connsiteY1"/>
                </a:cxn>
                <a:cxn ang="0">
                  <a:pos x="connsiteX2" y="connsiteY2"/>
                </a:cxn>
                <a:cxn ang="0">
                  <a:pos x="connsiteX3" y="connsiteY3"/>
                </a:cxn>
              </a:cxnLst>
              <a:rect l="l" t="t" r="r" b="b"/>
              <a:pathLst>
                <a:path w="4606" h="2558">
                  <a:moveTo>
                    <a:pt x="4606" y="0"/>
                  </a:moveTo>
                  <a:lnTo>
                    <a:pt x="4606" y="0"/>
                  </a:lnTo>
                  <a:cubicBezTo>
                    <a:pt x="3071" y="1023"/>
                    <a:pt x="1535" y="1535"/>
                    <a:pt x="0" y="2559"/>
                  </a:cubicBezTo>
                  <a:cubicBezTo>
                    <a:pt x="2047" y="1535"/>
                    <a:pt x="3583" y="1023"/>
                    <a:pt x="4606" y="0"/>
                  </a:cubicBezTo>
                  <a:close/>
                </a:path>
              </a:pathLst>
            </a:custGeom>
            <a:grpFill/>
            <a:ln w="511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57" name="Freeform: Shape 71">
              <a:extLst>
                <a:ext uri="{FF2B5EF4-FFF2-40B4-BE49-F238E27FC236}">
                  <a16:creationId xmlns:a16="http://schemas.microsoft.com/office/drawing/2014/main" id="{ADC16E90-5BBF-4771-9D7E-2492AF57E218}"/>
                </a:ext>
              </a:extLst>
            </p:cNvPr>
            <p:cNvSpPr/>
            <p:nvPr/>
          </p:nvSpPr>
          <p:spPr>
            <a:xfrm>
              <a:off x="5133321" y="3051298"/>
              <a:ext cx="1535" cy="1023"/>
            </a:xfrm>
            <a:custGeom>
              <a:avLst/>
              <a:gdLst>
                <a:gd name="connsiteX0" fmla="*/ 1535 w 1535"/>
                <a:gd name="connsiteY0" fmla="*/ 0 h 1023"/>
                <a:gd name="connsiteX1" fmla="*/ 0 w 1535"/>
                <a:gd name="connsiteY1" fmla="*/ 1024 h 1023"/>
                <a:gd name="connsiteX2" fmla="*/ 0 w 1535"/>
                <a:gd name="connsiteY2" fmla="*/ 1024 h 1023"/>
                <a:gd name="connsiteX3" fmla="*/ 1535 w 1535"/>
                <a:gd name="connsiteY3" fmla="*/ 0 h 1023"/>
              </a:gdLst>
              <a:ahLst/>
              <a:cxnLst>
                <a:cxn ang="0">
                  <a:pos x="connsiteX0" y="connsiteY0"/>
                </a:cxn>
                <a:cxn ang="0">
                  <a:pos x="connsiteX1" y="connsiteY1"/>
                </a:cxn>
                <a:cxn ang="0">
                  <a:pos x="connsiteX2" y="connsiteY2"/>
                </a:cxn>
                <a:cxn ang="0">
                  <a:pos x="connsiteX3" y="connsiteY3"/>
                </a:cxn>
              </a:cxnLst>
              <a:rect l="l" t="t" r="r" b="b"/>
              <a:pathLst>
                <a:path w="1535" h="1023">
                  <a:moveTo>
                    <a:pt x="1535" y="0"/>
                  </a:moveTo>
                  <a:cubicBezTo>
                    <a:pt x="1024" y="512"/>
                    <a:pt x="512" y="512"/>
                    <a:pt x="0" y="1024"/>
                  </a:cubicBezTo>
                  <a:lnTo>
                    <a:pt x="0" y="1024"/>
                  </a:lnTo>
                  <a:cubicBezTo>
                    <a:pt x="0" y="1024"/>
                    <a:pt x="1024" y="512"/>
                    <a:pt x="1535" y="0"/>
                  </a:cubicBezTo>
                  <a:close/>
                </a:path>
              </a:pathLst>
            </a:custGeom>
            <a:grpFill/>
            <a:ln w="511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58" name="Freeform: Shape 72">
              <a:extLst>
                <a:ext uri="{FF2B5EF4-FFF2-40B4-BE49-F238E27FC236}">
                  <a16:creationId xmlns:a16="http://schemas.microsoft.com/office/drawing/2014/main" id="{3DC7B250-8085-49A5-AC12-AECFF20A7948}"/>
                </a:ext>
              </a:extLst>
            </p:cNvPr>
            <p:cNvSpPr/>
            <p:nvPr/>
          </p:nvSpPr>
          <p:spPr>
            <a:xfrm>
              <a:off x="5140997" y="3040038"/>
              <a:ext cx="8188" cy="7165"/>
            </a:xfrm>
            <a:custGeom>
              <a:avLst/>
              <a:gdLst>
                <a:gd name="connsiteX0" fmla="*/ 8189 w 8188"/>
                <a:gd name="connsiteY0" fmla="*/ 0 h 7165"/>
                <a:gd name="connsiteX1" fmla="*/ 8189 w 8188"/>
                <a:gd name="connsiteY1" fmla="*/ 0 h 7165"/>
                <a:gd name="connsiteX2" fmla="*/ 0 w 8188"/>
                <a:gd name="connsiteY2" fmla="*/ 7165 h 7165"/>
                <a:gd name="connsiteX3" fmla="*/ 8189 w 8188"/>
                <a:gd name="connsiteY3" fmla="*/ 0 h 7165"/>
              </a:gdLst>
              <a:ahLst/>
              <a:cxnLst>
                <a:cxn ang="0">
                  <a:pos x="connsiteX0" y="connsiteY0"/>
                </a:cxn>
                <a:cxn ang="0">
                  <a:pos x="connsiteX1" y="connsiteY1"/>
                </a:cxn>
                <a:cxn ang="0">
                  <a:pos x="connsiteX2" y="connsiteY2"/>
                </a:cxn>
                <a:cxn ang="0">
                  <a:pos x="connsiteX3" y="connsiteY3"/>
                </a:cxn>
              </a:cxnLst>
              <a:rect l="l" t="t" r="r" b="b"/>
              <a:pathLst>
                <a:path w="8188" h="7165">
                  <a:moveTo>
                    <a:pt x="8189" y="0"/>
                  </a:moveTo>
                  <a:lnTo>
                    <a:pt x="8189" y="0"/>
                  </a:lnTo>
                  <a:cubicBezTo>
                    <a:pt x="5630" y="2559"/>
                    <a:pt x="3071" y="5118"/>
                    <a:pt x="0" y="7165"/>
                  </a:cubicBezTo>
                  <a:cubicBezTo>
                    <a:pt x="2559" y="5118"/>
                    <a:pt x="5630" y="2559"/>
                    <a:pt x="8189" y="0"/>
                  </a:cubicBezTo>
                  <a:close/>
                </a:path>
              </a:pathLst>
            </a:custGeom>
            <a:grpFill/>
            <a:ln w="511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59" name="Freeform: Shape 73">
              <a:extLst>
                <a:ext uri="{FF2B5EF4-FFF2-40B4-BE49-F238E27FC236}">
                  <a16:creationId xmlns:a16="http://schemas.microsoft.com/office/drawing/2014/main" id="{86D82280-1B75-49A2-A87F-FC26BB76C1D8}"/>
                </a:ext>
              </a:extLst>
            </p:cNvPr>
            <p:cNvSpPr/>
            <p:nvPr/>
          </p:nvSpPr>
          <p:spPr>
            <a:xfrm>
              <a:off x="4821640" y="3051298"/>
              <a:ext cx="1535" cy="1023"/>
            </a:xfrm>
            <a:custGeom>
              <a:avLst/>
              <a:gdLst>
                <a:gd name="connsiteX0" fmla="*/ 1535 w 1535"/>
                <a:gd name="connsiteY0" fmla="*/ 0 h 1023"/>
                <a:gd name="connsiteX1" fmla="*/ 0 w 1535"/>
                <a:gd name="connsiteY1" fmla="*/ 1024 h 1023"/>
                <a:gd name="connsiteX2" fmla="*/ 0 w 1535"/>
                <a:gd name="connsiteY2" fmla="*/ 1024 h 1023"/>
                <a:gd name="connsiteX3" fmla="*/ 1535 w 1535"/>
                <a:gd name="connsiteY3" fmla="*/ 0 h 1023"/>
              </a:gdLst>
              <a:ahLst/>
              <a:cxnLst>
                <a:cxn ang="0">
                  <a:pos x="connsiteX0" y="connsiteY0"/>
                </a:cxn>
                <a:cxn ang="0">
                  <a:pos x="connsiteX1" y="connsiteY1"/>
                </a:cxn>
                <a:cxn ang="0">
                  <a:pos x="connsiteX2" y="connsiteY2"/>
                </a:cxn>
                <a:cxn ang="0">
                  <a:pos x="connsiteX3" y="connsiteY3"/>
                </a:cxn>
              </a:cxnLst>
              <a:rect l="l" t="t" r="r" b="b"/>
              <a:pathLst>
                <a:path w="1535" h="1023">
                  <a:moveTo>
                    <a:pt x="1535" y="0"/>
                  </a:moveTo>
                  <a:cubicBezTo>
                    <a:pt x="1024" y="0"/>
                    <a:pt x="512" y="512"/>
                    <a:pt x="0" y="1024"/>
                  </a:cubicBezTo>
                  <a:lnTo>
                    <a:pt x="0" y="1024"/>
                  </a:lnTo>
                  <a:cubicBezTo>
                    <a:pt x="512" y="512"/>
                    <a:pt x="1024" y="0"/>
                    <a:pt x="1535" y="0"/>
                  </a:cubicBezTo>
                  <a:close/>
                </a:path>
              </a:pathLst>
            </a:custGeom>
            <a:grpFill/>
            <a:ln w="511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60" name="Freeform: Shape 74">
              <a:extLst>
                <a:ext uri="{FF2B5EF4-FFF2-40B4-BE49-F238E27FC236}">
                  <a16:creationId xmlns:a16="http://schemas.microsoft.com/office/drawing/2014/main" id="{FD6FBF4D-1AED-4735-B4E8-9FE490AFAA24}"/>
                </a:ext>
              </a:extLst>
            </p:cNvPr>
            <p:cNvSpPr/>
            <p:nvPr/>
          </p:nvSpPr>
          <p:spPr>
            <a:xfrm>
              <a:off x="4835970" y="3039015"/>
              <a:ext cx="2558" cy="2558"/>
            </a:xfrm>
            <a:custGeom>
              <a:avLst/>
              <a:gdLst>
                <a:gd name="connsiteX0" fmla="*/ 2559 w 2558"/>
                <a:gd name="connsiteY0" fmla="*/ 0 h 2558"/>
                <a:gd name="connsiteX1" fmla="*/ 2559 w 2558"/>
                <a:gd name="connsiteY1" fmla="*/ 0 h 2558"/>
                <a:gd name="connsiteX2" fmla="*/ 0 w 2558"/>
                <a:gd name="connsiteY2" fmla="*/ 2559 h 2558"/>
                <a:gd name="connsiteX3" fmla="*/ 2559 w 2558"/>
                <a:gd name="connsiteY3" fmla="*/ 0 h 2558"/>
              </a:gdLst>
              <a:ahLst/>
              <a:cxnLst>
                <a:cxn ang="0">
                  <a:pos x="connsiteX0" y="connsiteY0"/>
                </a:cxn>
                <a:cxn ang="0">
                  <a:pos x="connsiteX1" y="connsiteY1"/>
                </a:cxn>
                <a:cxn ang="0">
                  <a:pos x="connsiteX2" y="connsiteY2"/>
                </a:cxn>
                <a:cxn ang="0">
                  <a:pos x="connsiteX3" y="connsiteY3"/>
                </a:cxn>
              </a:cxnLst>
              <a:rect l="l" t="t" r="r" b="b"/>
              <a:pathLst>
                <a:path w="2558" h="2558">
                  <a:moveTo>
                    <a:pt x="2559" y="0"/>
                  </a:moveTo>
                  <a:lnTo>
                    <a:pt x="2559" y="0"/>
                  </a:lnTo>
                  <a:cubicBezTo>
                    <a:pt x="1535" y="1024"/>
                    <a:pt x="512" y="2047"/>
                    <a:pt x="0" y="2559"/>
                  </a:cubicBezTo>
                  <a:cubicBezTo>
                    <a:pt x="512" y="2047"/>
                    <a:pt x="1535" y="1024"/>
                    <a:pt x="2559" y="0"/>
                  </a:cubicBezTo>
                  <a:close/>
                </a:path>
              </a:pathLst>
            </a:custGeom>
            <a:grpFill/>
            <a:ln w="511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61" name="Freeform: Shape 75">
              <a:extLst>
                <a:ext uri="{FF2B5EF4-FFF2-40B4-BE49-F238E27FC236}">
                  <a16:creationId xmlns:a16="http://schemas.microsoft.com/office/drawing/2014/main" id="{56F915F8-4F9D-49B6-9940-CEB96C807A4D}"/>
                </a:ext>
              </a:extLst>
            </p:cNvPr>
            <p:cNvSpPr/>
            <p:nvPr/>
          </p:nvSpPr>
          <p:spPr>
            <a:xfrm>
              <a:off x="4802704" y="3057439"/>
              <a:ext cx="7165" cy="2046"/>
            </a:xfrm>
            <a:custGeom>
              <a:avLst/>
              <a:gdLst>
                <a:gd name="connsiteX0" fmla="*/ 7165 w 7165"/>
                <a:gd name="connsiteY0" fmla="*/ 0 h 2046"/>
                <a:gd name="connsiteX1" fmla="*/ 0 w 7165"/>
                <a:gd name="connsiteY1" fmla="*/ 2047 h 2046"/>
                <a:gd name="connsiteX2" fmla="*/ 7165 w 7165"/>
                <a:gd name="connsiteY2" fmla="*/ 0 h 2046"/>
              </a:gdLst>
              <a:ahLst/>
              <a:cxnLst>
                <a:cxn ang="0">
                  <a:pos x="connsiteX0" y="connsiteY0"/>
                </a:cxn>
                <a:cxn ang="0">
                  <a:pos x="connsiteX1" y="connsiteY1"/>
                </a:cxn>
                <a:cxn ang="0">
                  <a:pos x="connsiteX2" y="connsiteY2"/>
                </a:cxn>
              </a:cxnLst>
              <a:rect l="l" t="t" r="r" b="b"/>
              <a:pathLst>
                <a:path w="7165" h="2046">
                  <a:moveTo>
                    <a:pt x="7165" y="0"/>
                  </a:moveTo>
                  <a:cubicBezTo>
                    <a:pt x="4606" y="1023"/>
                    <a:pt x="2559" y="1535"/>
                    <a:pt x="0" y="2047"/>
                  </a:cubicBezTo>
                  <a:cubicBezTo>
                    <a:pt x="2559" y="1535"/>
                    <a:pt x="4606" y="1023"/>
                    <a:pt x="7165" y="0"/>
                  </a:cubicBezTo>
                  <a:close/>
                </a:path>
              </a:pathLst>
            </a:custGeom>
            <a:grpFill/>
            <a:ln w="511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62" name="Freeform: Shape 76">
              <a:extLst>
                <a:ext uri="{FF2B5EF4-FFF2-40B4-BE49-F238E27FC236}">
                  <a16:creationId xmlns:a16="http://schemas.microsoft.com/office/drawing/2014/main" id="{1AFFABBF-36DF-40D2-B802-1CE008AB2A03}"/>
                </a:ext>
              </a:extLst>
            </p:cNvPr>
            <p:cNvSpPr/>
            <p:nvPr/>
          </p:nvSpPr>
          <p:spPr>
            <a:xfrm>
              <a:off x="5087259" y="3061534"/>
              <a:ext cx="18424" cy="511"/>
            </a:xfrm>
            <a:custGeom>
              <a:avLst/>
              <a:gdLst>
                <a:gd name="connsiteX0" fmla="*/ 0 w 18424"/>
                <a:gd name="connsiteY0" fmla="*/ 0 h 511"/>
                <a:gd name="connsiteX1" fmla="*/ 9212 w 18424"/>
                <a:gd name="connsiteY1" fmla="*/ 512 h 511"/>
                <a:gd name="connsiteX2" fmla="*/ 12795 w 18424"/>
                <a:gd name="connsiteY2" fmla="*/ 512 h 511"/>
                <a:gd name="connsiteX3" fmla="*/ 15866 w 18424"/>
                <a:gd name="connsiteY3" fmla="*/ 512 h 511"/>
                <a:gd name="connsiteX4" fmla="*/ 18425 w 18424"/>
                <a:gd name="connsiteY4" fmla="*/ 0 h 511"/>
                <a:gd name="connsiteX5" fmla="*/ 0 w 18424"/>
                <a:gd name="connsiteY5" fmla="*/ 0 h 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424" h="511">
                  <a:moveTo>
                    <a:pt x="0" y="0"/>
                  </a:moveTo>
                  <a:cubicBezTo>
                    <a:pt x="3071" y="512"/>
                    <a:pt x="6142" y="512"/>
                    <a:pt x="9212" y="512"/>
                  </a:cubicBezTo>
                  <a:cubicBezTo>
                    <a:pt x="10236" y="512"/>
                    <a:pt x="11771" y="512"/>
                    <a:pt x="12795" y="512"/>
                  </a:cubicBezTo>
                  <a:cubicBezTo>
                    <a:pt x="13818" y="512"/>
                    <a:pt x="14842" y="512"/>
                    <a:pt x="15866" y="512"/>
                  </a:cubicBezTo>
                  <a:cubicBezTo>
                    <a:pt x="16889" y="512"/>
                    <a:pt x="17401" y="512"/>
                    <a:pt x="18425" y="0"/>
                  </a:cubicBezTo>
                  <a:lnTo>
                    <a:pt x="0" y="0"/>
                  </a:lnTo>
                  <a:close/>
                </a:path>
              </a:pathLst>
            </a:custGeom>
            <a:grpFill/>
            <a:ln w="511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63" name="Freeform: Shape 77">
              <a:extLst>
                <a:ext uri="{FF2B5EF4-FFF2-40B4-BE49-F238E27FC236}">
                  <a16:creationId xmlns:a16="http://schemas.microsoft.com/office/drawing/2014/main" id="{429A8329-F92D-4B38-A373-6C99F0CD4DD0}"/>
                </a:ext>
              </a:extLst>
            </p:cNvPr>
            <p:cNvSpPr/>
            <p:nvPr/>
          </p:nvSpPr>
          <p:spPr>
            <a:xfrm>
              <a:off x="5087259" y="3001142"/>
              <a:ext cx="81886" cy="60902"/>
            </a:xfrm>
            <a:custGeom>
              <a:avLst/>
              <a:gdLst>
                <a:gd name="connsiteX0" fmla="*/ 0 w 81886"/>
                <a:gd name="connsiteY0" fmla="*/ 60391 h 60902"/>
                <a:gd name="connsiteX1" fmla="*/ 9212 w 81886"/>
                <a:gd name="connsiteY1" fmla="*/ 60903 h 60902"/>
                <a:gd name="connsiteX2" fmla="*/ 12795 w 81886"/>
                <a:gd name="connsiteY2" fmla="*/ 60903 h 60902"/>
                <a:gd name="connsiteX3" fmla="*/ 15866 w 81886"/>
                <a:gd name="connsiteY3" fmla="*/ 60903 h 60902"/>
                <a:gd name="connsiteX4" fmla="*/ 18425 w 81886"/>
                <a:gd name="connsiteY4" fmla="*/ 60391 h 60902"/>
                <a:gd name="connsiteX5" fmla="*/ 0 w 81886"/>
                <a:gd name="connsiteY5" fmla="*/ 60391 h 60902"/>
                <a:gd name="connsiteX6" fmla="*/ 45549 w 81886"/>
                <a:gd name="connsiteY6" fmla="*/ 51179 h 60902"/>
                <a:gd name="connsiteX7" fmla="*/ 40943 w 81886"/>
                <a:gd name="connsiteY7" fmla="*/ 53738 h 60902"/>
                <a:gd name="connsiteX8" fmla="*/ 45549 w 81886"/>
                <a:gd name="connsiteY8" fmla="*/ 51179 h 60902"/>
                <a:gd name="connsiteX9" fmla="*/ 47085 w 81886"/>
                <a:gd name="connsiteY9" fmla="*/ 50155 h 60902"/>
                <a:gd name="connsiteX10" fmla="*/ 45549 w 81886"/>
                <a:gd name="connsiteY10" fmla="*/ 51179 h 60902"/>
                <a:gd name="connsiteX11" fmla="*/ 53738 w 81886"/>
                <a:gd name="connsiteY11" fmla="*/ 46061 h 60902"/>
                <a:gd name="connsiteX12" fmla="*/ 61927 w 81886"/>
                <a:gd name="connsiteY12" fmla="*/ 38896 h 60902"/>
                <a:gd name="connsiteX13" fmla="*/ 61927 w 81886"/>
                <a:gd name="connsiteY13" fmla="*/ 38896 h 60902"/>
                <a:gd name="connsiteX14" fmla="*/ 53738 w 81886"/>
                <a:gd name="connsiteY14" fmla="*/ 46061 h 60902"/>
                <a:gd name="connsiteX15" fmla="*/ 80351 w 81886"/>
                <a:gd name="connsiteY15" fmla="*/ 0 h 60902"/>
                <a:gd name="connsiteX16" fmla="*/ 81887 w 81886"/>
                <a:gd name="connsiteY16" fmla="*/ 1023 h 60902"/>
                <a:gd name="connsiteX17" fmla="*/ 81887 w 81886"/>
                <a:gd name="connsiteY17" fmla="*/ 1023 h 60902"/>
                <a:gd name="connsiteX18" fmla="*/ 80351 w 81886"/>
                <a:gd name="connsiteY18" fmla="*/ 0 h 60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1886" h="60902">
                  <a:moveTo>
                    <a:pt x="0" y="60391"/>
                  </a:moveTo>
                  <a:cubicBezTo>
                    <a:pt x="3071" y="60903"/>
                    <a:pt x="6142" y="60903"/>
                    <a:pt x="9212" y="60903"/>
                  </a:cubicBezTo>
                  <a:cubicBezTo>
                    <a:pt x="10236" y="60903"/>
                    <a:pt x="11771" y="60903"/>
                    <a:pt x="12795" y="60903"/>
                  </a:cubicBezTo>
                  <a:cubicBezTo>
                    <a:pt x="13818" y="60903"/>
                    <a:pt x="14842" y="60903"/>
                    <a:pt x="15866" y="60903"/>
                  </a:cubicBezTo>
                  <a:cubicBezTo>
                    <a:pt x="16889" y="60903"/>
                    <a:pt x="17401" y="60903"/>
                    <a:pt x="18425" y="60391"/>
                  </a:cubicBezTo>
                  <a:lnTo>
                    <a:pt x="0" y="60391"/>
                  </a:lnTo>
                  <a:close/>
                  <a:moveTo>
                    <a:pt x="45549" y="51179"/>
                  </a:moveTo>
                  <a:cubicBezTo>
                    <a:pt x="44014" y="52202"/>
                    <a:pt x="42479" y="52714"/>
                    <a:pt x="40943" y="53738"/>
                  </a:cubicBezTo>
                  <a:cubicBezTo>
                    <a:pt x="42990" y="52714"/>
                    <a:pt x="44526" y="52202"/>
                    <a:pt x="45549" y="51179"/>
                  </a:cubicBezTo>
                  <a:cubicBezTo>
                    <a:pt x="46061" y="51179"/>
                    <a:pt x="46573" y="50667"/>
                    <a:pt x="47085" y="50155"/>
                  </a:cubicBezTo>
                  <a:cubicBezTo>
                    <a:pt x="47085" y="50667"/>
                    <a:pt x="46061" y="51179"/>
                    <a:pt x="45549" y="51179"/>
                  </a:cubicBezTo>
                  <a:close/>
                  <a:moveTo>
                    <a:pt x="53738" y="46061"/>
                  </a:moveTo>
                  <a:cubicBezTo>
                    <a:pt x="56809" y="44014"/>
                    <a:pt x="59368" y="41455"/>
                    <a:pt x="61927" y="38896"/>
                  </a:cubicBezTo>
                  <a:lnTo>
                    <a:pt x="61927" y="38896"/>
                  </a:lnTo>
                  <a:cubicBezTo>
                    <a:pt x="59368" y="41455"/>
                    <a:pt x="56297" y="44014"/>
                    <a:pt x="53738" y="46061"/>
                  </a:cubicBezTo>
                  <a:close/>
                  <a:moveTo>
                    <a:pt x="80351" y="0"/>
                  </a:moveTo>
                  <a:cubicBezTo>
                    <a:pt x="80863" y="512"/>
                    <a:pt x="81375" y="512"/>
                    <a:pt x="81887" y="1023"/>
                  </a:cubicBezTo>
                  <a:lnTo>
                    <a:pt x="81887" y="1023"/>
                  </a:lnTo>
                  <a:lnTo>
                    <a:pt x="80351" y="0"/>
                  </a:lnTo>
                  <a:close/>
                </a:path>
              </a:pathLst>
            </a:custGeom>
            <a:grpFill/>
            <a:ln w="511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64" name="Freeform: Shape 78">
              <a:extLst>
                <a:ext uri="{FF2B5EF4-FFF2-40B4-BE49-F238E27FC236}">
                  <a16:creationId xmlns:a16="http://schemas.microsoft.com/office/drawing/2014/main" id="{96768B2C-5561-429C-8134-D68D8D020C4E}"/>
                </a:ext>
              </a:extLst>
            </p:cNvPr>
            <p:cNvSpPr/>
            <p:nvPr/>
          </p:nvSpPr>
          <p:spPr>
            <a:xfrm>
              <a:off x="5159934" y="2997048"/>
              <a:ext cx="5629" cy="2558"/>
            </a:xfrm>
            <a:custGeom>
              <a:avLst/>
              <a:gdLst>
                <a:gd name="connsiteX0" fmla="*/ 0 w 5629"/>
                <a:gd name="connsiteY0" fmla="*/ 0 h 2558"/>
                <a:gd name="connsiteX1" fmla="*/ 0 w 5629"/>
                <a:gd name="connsiteY1" fmla="*/ 0 h 2558"/>
                <a:gd name="connsiteX2" fmla="*/ 5630 w 5629"/>
                <a:gd name="connsiteY2" fmla="*/ 2559 h 2558"/>
                <a:gd name="connsiteX3" fmla="*/ 0 w 5629"/>
                <a:gd name="connsiteY3" fmla="*/ 0 h 2558"/>
              </a:gdLst>
              <a:ahLst/>
              <a:cxnLst>
                <a:cxn ang="0">
                  <a:pos x="connsiteX0" y="connsiteY0"/>
                </a:cxn>
                <a:cxn ang="0">
                  <a:pos x="connsiteX1" y="connsiteY1"/>
                </a:cxn>
                <a:cxn ang="0">
                  <a:pos x="connsiteX2" y="connsiteY2"/>
                </a:cxn>
                <a:cxn ang="0">
                  <a:pos x="connsiteX3" y="connsiteY3"/>
                </a:cxn>
              </a:cxnLst>
              <a:rect l="l" t="t" r="r" b="b"/>
              <a:pathLst>
                <a:path w="5629" h="2558">
                  <a:moveTo>
                    <a:pt x="0" y="0"/>
                  </a:moveTo>
                  <a:lnTo>
                    <a:pt x="0" y="0"/>
                  </a:lnTo>
                  <a:cubicBezTo>
                    <a:pt x="2047" y="1024"/>
                    <a:pt x="4094" y="2047"/>
                    <a:pt x="5630" y="2559"/>
                  </a:cubicBezTo>
                  <a:lnTo>
                    <a:pt x="0" y="0"/>
                  </a:lnTo>
                  <a:close/>
                </a:path>
              </a:pathLst>
            </a:custGeom>
            <a:grpFill/>
            <a:ln w="511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65" name="Freeform: Shape 79">
              <a:extLst>
                <a:ext uri="{FF2B5EF4-FFF2-40B4-BE49-F238E27FC236}">
                  <a16:creationId xmlns:a16="http://schemas.microsoft.com/office/drawing/2014/main" id="{5D94515E-9A44-4074-85DD-CAEADC031A30}"/>
                </a:ext>
              </a:extLst>
            </p:cNvPr>
            <p:cNvSpPr/>
            <p:nvPr/>
          </p:nvSpPr>
          <p:spPr>
            <a:xfrm>
              <a:off x="4714676" y="2988348"/>
              <a:ext cx="521003" cy="327546"/>
            </a:xfrm>
            <a:custGeom>
              <a:avLst/>
              <a:gdLst>
                <a:gd name="connsiteX0" fmla="*/ 521003 w 521003"/>
                <a:gd name="connsiteY0" fmla="*/ 242077 h 327546"/>
                <a:gd name="connsiteX1" fmla="*/ 465218 w 521003"/>
                <a:gd name="connsiteY1" fmla="*/ 152514 h 327546"/>
                <a:gd name="connsiteX2" fmla="*/ 492343 w 521003"/>
                <a:gd name="connsiteY2" fmla="*/ 152514 h 327546"/>
                <a:gd name="connsiteX3" fmla="*/ 492343 w 521003"/>
                <a:gd name="connsiteY3" fmla="*/ 78304 h 327546"/>
                <a:gd name="connsiteX4" fmla="*/ 492343 w 521003"/>
                <a:gd name="connsiteY4" fmla="*/ 73186 h 327546"/>
                <a:gd name="connsiteX5" fmla="*/ 491831 w 521003"/>
                <a:gd name="connsiteY5" fmla="*/ 68068 h 327546"/>
                <a:gd name="connsiteX6" fmla="*/ 485178 w 521003"/>
                <a:gd name="connsiteY6" fmla="*/ 46573 h 327546"/>
                <a:gd name="connsiteX7" fmla="*/ 454470 w 521003"/>
                <a:gd name="connsiteY7" fmla="*/ 13818 h 327546"/>
                <a:gd name="connsiteX8" fmla="*/ 452935 w 521003"/>
                <a:gd name="connsiteY8" fmla="*/ 12795 h 327546"/>
                <a:gd name="connsiteX9" fmla="*/ 450888 w 521003"/>
                <a:gd name="connsiteY9" fmla="*/ 11771 h 327546"/>
                <a:gd name="connsiteX10" fmla="*/ 445258 w 521003"/>
                <a:gd name="connsiteY10" fmla="*/ 9212 h 327546"/>
                <a:gd name="connsiteX11" fmla="*/ 418133 w 521003"/>
                <a:gd name="connsiteY11" fmla="*/ 4094 h 327546"/>
                <a:gd name="connsiteX12" fmla="*/ 351600 w 521003"/>
                <a:gd name="connsiteY12" fmla="*/ 45549 h 327546"/>
                <a:gd name="connsiteX13" fmla="*/ 346482 w 521003"/>
                <a:gd name="connsiteY13" fmla="*/ 59879 h 327546"/>
                <a:gd name="connsiteX14" fmla="*/ 344435 w 521003"/>
                <a:gd name="connsiteY14" fmla="*/ 72674 h 327546"/>
                <a:gd name="connsiteX15" fmla="*/ 344435 w 521003"/>
                <a:gd name="connsiteY15" fmla="*/ 77792 h 327546"/>
                <a:gd name="connsiteX16" fmla="*/ 344435 w 521003"/>
                <a:gd name="connsiteY16" fmla="*/ 91099 h 327546"/>
                <a:gd name="connsiteX17" fmla="*/ 343412 w 521003"/>
                <a:gd name="connsiteY17" fmla="*/ 89051 h 327546"/>
                <a:gd name="connsiteX18" fmla="*/ 307075 w 521003"/>
                <a:gd name="connsiteY18" fmla="*/ 50667 h 327546"/>
                <a:gd name="connsiteX19" fmla="*/ 303492 w 521003"/>
                <a:gd name="connsiteY19" fmla="*/ 48620 h 327546"/>
                <a:gd name="connsiteX20" fmla="*/ 297862 w 521003"/>
                <a:gd name="connsiteY20" fmla="*/ 46061 h 327546"/>
                <a:gd name="connsiteX21" fmla="*/ 265108 w 521003"/>
                <a:gd name="connsiteY21" fmla="*/ 39408 h 327546"/>
                <a:gd name="connsiteX22" fmla="*/ 186804 w 521003"/>
                <a:gd name="connsiteY22" fmla="*/ 88028 h 327546"/>
                <a:gd name="connsiteX23" fmla="*/ 180662 w 521003"/>
                <a:gd name="connsiteY23" fmla="*/ 104917 h 327546"/>
                <a:gd name="connsiteX24" fmla="*/ 178103 w 521003"/>
                <a:gd name="connsiteY24" fmla="*/ 125900 h 327546"/>
                <a:gd name="connsiteX25" fmla="*/ 192433 w 521003"/>
                <a:gd name="connsiteY25" fmla="*/ 173497 h 327546"/>
                <a:gd name="connsiteX26" fmla="*/ 193969 w 521003"/>
                <a:gd name="connsiteY26" fmla="*/ 176056 h 327546"/>
                <a:gd name="connsiteX27" fmla="*/ 199087 w 521003"/>
                <a:gd name="connsiteY27" fmla="*/ 182709 h 327546"/>
                <a:gd name="connsiteX28" fmla="*/ 233377 w 521003"/>
                <a:gd name="connsiteY28" fmla="*/ 206763 h 327546"/>
                <a:gd name="connsiteX29" fmla="*/ 208299 w 521003"/>
                <a:gd name="connsiteY29" fmla="*/ 216488 h 327546"/>
                <a:gd name="connsiteX30" fmla="*/ 137160 w 521003"/>
                <a:gd name="connsiteY30" fmla="*/ 148419 h 327546"/>
                <a:gd name="connsiteX31" fmla="*/ 165308 w 521003"/>
                <a:gd name="connsiteY31" fmla="*/ 127948 h 327546"/>
                <a:gd name="connsiteX32" fmla="*/ 170426 w 521003"/>
                <a:gd name="connsiteY32" fmla="*/ 121294 h 327546"/>
                <a:gd name="connsiteX33" fmla="*/ 171962 w 521003"/>
                <a:gd name="connsiteY33" fmla="*/ 118735 h 327546"/>
                <a:gd name="connsiteX34" fmla="*/ 184245 w 521003"/>
                <a:gd name="connsiteY34" fmla="*/ 77280 h 327546"/>
                <a:gd name="connsiteX35" fmla="*/ 183221 w 521003"/>
                <a:gd name="connsiteY35" fmla="*/ 66533 h 327546"/>
                <a:gd name="connsiteX36" fmla="*/ 176568 w 521003"/>
                <a:gd name="connsiteY36" fmla="*/ 44014 h 327546"/>
                <a:gd name="connsiteX37" fmla="*/ 144837 w 521003"/>
                <a:gd name="connsiteY37" fmla="*/ 10236 h 327546"/>
                <a:gd name="connsiteX38" fmla="*/ 141254 w 521003"/>
                <a:gd name="connsiteY38" fmla="*/ 8189 h 327546"/>
                <a:gd name="connsiteX39" fmla="*/ 135625 w 521003"/>
                <a:gd name="connsiteY39" fmla="*/ 5630 h 327546"/>
                <a:gd name="connsiteX40" fmla="*/ 107476 w 521003"/>
                <a:gd name="connsiteY40" fmla="*/ 0 h 327546"/>
                <a:gd name="connsiteX41" fmla="*/ 38384 w 521003"/>
                <a:gd name="connsiteY41" fmla="*/ 42990 h 327546"/>
                <a:gd name="connsiteX42" fmla="*/ 32755 w 521003"/>
                <a:gd name="connsiteY42" fmla="*/ 57832 h 327546"/>
                <a:gd name="connsiteX43" fmla="*/ 30196 w 521003"/>
                <a:gd name="connsiteY43" fmla="*/ 76257 h 327546"/>
                <a:gd name="connsiteX44" fmla="*/ 42479 w 521003"/>
                <a:gd name="connsiteY44" fmla="*/ 118224 h 327546"/>
                <a:gd name="connsiteX45" fmla="*/ 44014 w 521003"/>
                <a:gd name="connsiteY45" fmla="*/ 120783 h 327546"/>
                <a:gd name="connsiteX46" fmla="*/ 49132 w 521003"/>
                <a:gd name="connsiteY46" fmla="*/ 127436 h 327546"/>
                <a:gd name="connsiteX47" fmla="*/ 76769 w 521003"/>
                <a:gd name="connsiteY47" fmla="*/ 147396 h 327546"/>
                <a:gd name="connsiteX48" fmla="*/ 0 w 521003"/>
                <a:gd name="connsiteY48" fmla="*/ 249754 h 327546"/>
                <a:gd name="connsiteX49" fmla="*/ 0 w 521003"/>
                <a:gd name="connsiteY49" fmla="*/ 254872 h 327546"/>
                <a:gd name="connsiteX50" fmla="*/ 163773 w 521003"/>
                <a:gd name="connsiteY50" fmla="*/ 254872 h 327546"/>
                <a:gd name="connsiteX51" fmla="*/ 143301 w 521003"/>
                <a:gd name="connsiteY51" fmla="*/ 322428 h 327546"/>
                <a:gd name="connsiteX52" fmla="*/ 143301 w 521003"/>
                <a:gd name="connsiteY52" fmla="*/ 327546 h 327546"/>
                <a:gd name="connsiteX53" fmla="*/ 385379 w 521003"/>
                <a:gd name="connsiteY53" fmla="*/ 327546 h 327546"/>
                <a:gd name="connsiteX54" fmla="*/ 385379 w 521003"/>
                <a:gd name="connsiteY54" fmla="*/ 322428 h 327546"/>
                <a:gd name="connsiteX55" fmla="*/ 359789 w 521003"/>
                <a:gd name="connsiteY55" fmla="*/ 248219 h 327546"/>
                <a:gd name="connsiteX56" fmla="*/ 521003 w 521003"/>
                <a:gd name="connsiteY56" fmla="*/ 248219 h 327546"/>
                <a:gd name="connsiteX57" fmla="*/ 521003 w 521003"/>
                <a:gd name="connsiteY57" fmla="*/ 242077 h 327546"/>
                <a:gd name="connsiteX58" fmla="*/ 54250 w 521003"/>
                <a:gd name="connsiteY58" fmla="*/ 119759 h 327546"/>
                <a:gd name="connsiteX59" fmla="*/ 54250 w 521003"/>
                <a:gd name="connsiteY59" fmla="*/ 119759 h 327546"/>
                <a:gd name="connsiteX60" fmla="*/ 55273 w 521003"/>
                <a:gd name="connsiteY60" fmla="*/ 117200 h 327546"/>
                <a:gd name="connsiteX61" fmla="*/ 56297 w 521003"/>
                <a:gd name="connsiteY61" fmla="*/ 114641 h 327546"/>
                <a:gd name="connsiteX62" fmla="*/ 56297 w 521003"/>
                <a:gd name="connsiteY62" fmla="*/ 114129 h 327546"/>
                <a:gd name="connsiteX63" fmla="*/ 57832 w 521003"/>
                <a:gd name="connsiteY63" fmla="*/ 110035 h 327546"/>
                <a:gd name="connsiteX64" fmla="*/ 58856 w 521003"/>
                <a:gd name="connsiteY64" fmla="*/ 105941 h 327546"/>
                <a:gd name="connsiteX65" fmla="*/ 58856 w 521003"/>
                <a:gd name="connsiteY65" fmla="*/ 105429 h 327546"/>
                <a:gd name="connsiteX66" fmla="*/ 59368 w 521003"/>
                <a:gd name="connsiteY66" fmla="*/ 102870 h 327546"/>
                <a:gd name="connsiteX67" fmla="*/ 59880 w 521003"/>
                <a:gd name="connsiteY67" fmla="*/ 100311 h 327546"/>
                <a:gd name="connsiteX68" fmla="*/ 60391 w 521003"/>
                <a:gd name="connsiteY68" fmla="*/ 97240 h 327546"/>
                <a:gd name="connsiteX69" fmla="*/ 60903 w 521003"/>
                <a:gd name="connsiteY69" fmla="*/ 94681 h 327546"/>
                <a:gd name="connsiteX70" fmla="*/ 60903 w 521003"/>
                <a:gd name="connsiteY70" fmla="*/ 88540 h 327546"/>
                <a:gd name="connsiteX71" fmla="*/ 59368 w 521003"/>
                <a:gd name="connsiteY71" fmla="*/ 73186 h 327546"/>
                <a:gd name="connsiteX72" fmla="*/ 69092 w 521003"/>
                <a:gd name="connsiteY72" fmla="*/ 73698 h 327546"/>
                <a:gd name="connsiteX73" fmla="*/ 73186 w 521003"/>
                <a:gd name="connsiteY73" fmla="*/ 73698 h 327546"/>
                <a:gd name="connsiteX74" fmla="*/ 80863 w 521003"/>
                <a:gd name="connsiteY74" fmla="*/ 73186 h 327546"/>
                <a:gd name="connsiteX75" fmla="*/ 84446 w 521003"/>
                <a:gd name="connsiteY75" fmla="*/ 72674 h 327546"/>
                <a:gd name="connsiteX76" fmla="*/ 88028 w 521003"/>
                <a:gd name="connsiteY76" fmla="*/ 71651 h 327546"/>
                <a:gd name="connsiteX77" fmla="*/ 95193 w 521003"/>
                <a:gd name="connsiteY77" fmla="*/ 69603 h 327546"/>
                <a:gd name="connsiteX78" fmla="*/ 98776 w 521003"/>
                <a:gd name="connsiteY78" fmla="*/ 68068 h 327546"/>
                <a:gd name="connsiteX79" fmla="*/ 105429 w 521003"/>
                <a:gd name="connsiteY79" fmla="*/ 64997 h 327546"/>
                <a:gd name="connsiteX80" fmla="*/ 106964 w 521003"/>
                <a:gd name="connsiteY80" fmla="*/ 63974 h 327546"/>
                <a:gd name="connsiteX81" fmla="*/ 106964 w 521003"/>
                <a:gd name="connsiteY81" fmla="*/ 63974 h 327546"/>
                <a:gd name="connsiteX82" fmla="*/ 108500 w 521003"/>
                <a:gd name="connsiteY82" fmla="*/ 62950 h 327546"/>
                <a:gd name="connsiteX83" fmla="*/ 112082 w 521003"/>
                <a:gd name="connsiteY83" fmla="*/ 60903 h 327546"/>
                <a:gd name="connsiteX84" fmla="*/ 114641 w 521003"/>
                <a:gd name="connsiteY84" fmla="*/ 58856 h 327546"/>
                <a:gd name="connsiteX85" fmla="*/ 118224 w 521003"/>
                <a:gd name="connsiteY85" fmla="*/ 56297 h 327546"/>
                <a:gd name="connsiteX86" fmla="*/ 121294 w 521003"/>
                <a:gd name="connsiteY86" fmla="*/ 53738 h 327546"/>
                <a:gd name="connsiteX87" fmla="*/ 121294 w 521003"/>
                <a:gd name="connsiteY87" fmla="*/ 53738 h 327546"/>
                <a:gd name="connsiteX88" fmla="*/ 123853 w 521003"/>
                <a:gd name="connsiteY88" fmla="*/ 51179 h 327546"/>
                <a:gd name="connsiteX89" fmla="*/ 123853 w 521003"/>
                <a:gd name="connsiteY89" fmla="*/ 51179 h 327546"/>
                <a:gd name="connsiteX90" fmla="*/ 127436 w 521003"/>
                <a:gd name="connsiteY90" fmla="*/ 54250 h 327546"/>
                <a:gd name="connsiteX91" fmla="*/ 131019 w 521003"/>
                <a:gd name="connsiteY91" fmla="*/ 56809 h 327546"/>
                <a:gd name="connsiteX92" fmla="*/ 131530 w 521003"/>
                <a:gd name="connsiteY92" fmla="*/ 57320 h 327546"/>
                <a:gd name="connsiteX93" fmla="*/ 135113 w 521003"/>
                <a:gd name="connsiteY93" fmla="*/ 59879 h 327546"/>
                <a:gd name="connsiteX94" fmla="*/ 138184 w 521003"/>
                <a:gd name="connsiteY94" fmla="*/ 61927 h 327546"/>
                <a:gd name="connsiteX95" fmla="*/ 140231 w 521003"/>
                <a:gd name="connsiteY95" fmla="*/ 62950 h 327546"/>
                <a:gd name="connsiteX96" fmla="*/ 142790 w 521003"/>
                <a:gd name="connsiteY96" fmla="*/ 64486 h 327546"/>
                <a:gd name="connsiteX97" fmla="*/ 144325 w 521003"/>
                <a:gd name="connsiteY97" fmla="*/ 65509 h 327546"/>
                <a:gd name="connsiteX98" fmla="*/ 146884 w 521003"/>
                <a:gd name="connsiteY98" fmla="*/ 67045 h 327546"/>
                <a:gd name="connsiteX99" fmla="*/ 149955 w 521003"/>
                <a:gd name="connsiteY99" fmla="*/ 68580 h 327546"/>
                <a:gd name="connsiteX100" fmla="*/ 156096 w 521003"/>
                <a:gd name="connsiteY100" fmla="*/ 70627 h 327546"/>
                <a:gd name="connsiteX101" fmla="*/ 154049 w 521003"/>
                <a:gd name="connsiteY101" fmla="*/ 89051 h 327546"/>
                <a:gd name="connsiteX102" fmla="*/ 154049 w 521003"/>
                <a:gd name="connsiteY102" fmla="*/ 93146 h 327546"/>
                <a:gd name="connsiteX103" fmla="*/ 154561 w 521003"/>
                <a:gd name="connsiteY103" fmla="*/ 97240 h 327546"/>
                <a:gd name="connsiteX104" fmla="*/ 154561 w 521003"/>
                <a:gd name="connsiteY104" fmla="*/ 99799 h 327546"/>
                <a:gd name="connsiteX105" fmla="*/ 155073 w 521003"/>
                <a:gd name="connsiteY105" fmla="*/ 102358 h 327546"/>
                <a:gd name="connsiteX106" fmla="*/ 156096 w 521003"/>
                <a:gd name="connsiteY106" fmla="*/ 106452 h 327546"/>
                <a:gd name="connsiteX107" fmla="*/ 157120 w 521003"/>
                <a:gd name="connsiteY107" fmla="*/ 110035 h 327546"/>
                <a:gd name="connsiteX108" fmla="*/ 158143 w 521003"/>
                <a:gd name="connsiteY108" fmla="*/ 113106 h 327546"/>
                <a:gd name="connsiteX109" fmla="*/ 159167 w 521003"/>
                <a:gd name="connsiteY109" fmla="*/ 115665 h 327546"/>
                <a:gd name="connsiteX110" fmla="*/ 160702 w 521003"/>
                <a:gd name="connsiteY110" fmla="*/ 119247 h 327546"/>
                <a:gd name="connsiteX111" fmla="*/ 111570 w 521003"/>
                <a:gd name="connsiteY111" fmla="*/ 145348 h 327546"/>
                <a:gd name="connsiteX112" fmla="*/ 111059 w 521003"/>
                <a:gd name="connsiteY112" fmla="*/ 145348 h 327546"/>
                <a:gd name="connsiteX113" fmla="*/ 107988 w 521003"/>
                <a:gd name="connsiteY113" fmla="*/ 145348 h 327546"/>
                <a:gd name="connsiteX114" fmla="*/ 107988 w 521003"/>
                <a:gd name="connsiteY114" fmla="*/ 145348 h 327546"/>
                <a:gd name="connsiteX115" fmla="*/ 103894 w 521003"/>
                <a:gd name="connsiteY115" fmla="*/ 145348 h 327546"/>
                <a:gd name="connsiteX116" fmla="*/ 103894 w 521003"/>
                <a:gd name="connsiteY116" fmla="*/ 145348 h 327546"/>
                <a:gd name="connsiteX117" fmla="*/ 54250 w 521003"/>
                <a:gd name="connsiteY117" fmla="*/ 119759 h 327546"/>
                <a:gd name="connsiteX118" fmla="*/ 127436 w 521003"/>
                <a:gd name="connsiteY118" fmla="*/ 215464 h 327546"/>
                <a:gd name="connsiteX119" fmla="*/ 106964 w 521003"/>
                <a:gd name="connsiteY119" fmla="*/ 228259 h 327546"/>
                <a:gd name="connsiteX120" fmla="*/ 86493 w 521003"/>
                <a:gd name="connsiteY120" fmla="*/ 215464 h 327546"/>
                <a:gd name="connsiteX121" fmla="*/ 92122 w 521003"/>
                <a:gd name="connsiteY121" fmla="*/ 161726 h 327546"/>
                <a:gd name="connsiteX122" fmla="*/ 81375 w 521003"/>
                <a:gd name="connsiteY122" fmla="*/ 150978 h 327546"/>
                <a:gd name="connsiteX123" fmla="*/ 91611 w 521003"/>
                <a:gd name="connsiteY123" fmla="*/ 154049 h 327546"/>
                <a:gd name="connsiteX124" fmla="*/ 93146 w 521003"/>
                <a:gd name="connsiteY124" fmla="*/ 154561 h 327546"/>
                <a:gd name="connsiteX125" fmla="*/ 100311 w 521003"/>
                <a:gd name="connsiteY125" fmla="*/ 155584 h 327546"/>
                <a:gd name="connsiteX126" fmla="*/ 103382 w 521003"/>
                <a:gd name="connsiteY126" fmla="*/ 155584 h 327546"/>
                <a:gd name="connsiteX127" fmla="*/ 103894 w 521003"/>
                <a:gd name="connsiteY127" fmla="*/ 155584 h 327546"/>
                <a:gd name="connsiteX128" fmla="*/ 107476 w 521003"/>
                <a:gd name="connsiteY128" fmla="*/ 155584 h 327546"/>
                <a:gd name="connsiteX129" fmla="*/ 110547 w 521003"/>
                <a:gd name="connsiteY129" fmla="*/ 155584 h 327546"/>
                <a:gd name="connsiteX130" fmla="*/ 114641 w 521003"/>
                <a:gd name="connsiteY130" fmla="*/ 155584 h 327546"/>
                <a:gd name="connsiteX131" fmla="*/ 121806 w 521003"/>
                <a:gd name="connsiteY131" fmla="*/ 154561 h 327546"/>
                <a:gd name="connsiteX132" fmla="*/ 123342 w 521003"/>
                <a:gd name="connsiteY132" fmla="*/ 154049 h 327546"/>
                <a:gd name="connsiteX133" fmla="*/ 123342 w 521003"/>
                <a:gd name="connsiteY133" fmla="*/ 154049 h 327546"/>
                <a:gd name="connsiteX134" fmla="*/ 133577 w 521003"/>
                <a:gd name="connsiteY134" fmla="*/ 150978 h 327546"/>
                <a:gd name="connsiteX135" fmla="*/ 122318 w 521003"/>
                <a:gd name="connsiteY135" fmla="*/ 161726 h 327546"/>
                <a:gd name="connsiteX136" fmla="*/ 127436 w 521003"/>
                <a:gd name="connsiteY136" fmla="*/ 215464 h 327546"/>
                <a:gd name="connsiteX137" fmla="*/ 203693 w 521003"/>
                <a:gd name="connsiteY137" fmla="*/ 173497 h 327546"/>
                <a:gd name="connsiteX138" fmla="*/ 204205 w 521003"/>
                <a:gd name="connsiteY138" fmla="*/ 172473 h 327546"/>
                <a:gd name="connsiteX139" fmla="*/ 204716 w 521003"/>
                <a:gd name="connsiteY139" fmla="*/ 171450 h 327546"/>
                <a:gd name="connsiteX140" fmla="*/ 205740 w 521003"/>
                <a:gd name="connsiteY140" fmla="*/ 168891 h 327546"/>
                <a:gd name="connsiteX141" fmla="*/ 205740 w 521003"/>
                <a:gd name="connsiteY141" fmla="*/ 168379 h 327546"/>
                <a:gd name="connsiteX142" fmla="*/ 206252 w 521003"/>
                <a:gd name="connsiteY142" fmla="*/ 166332 h 327546"/>
                <a:gd name="connsiteX143" fmla="*/ 208299 w 521003"/>
                <a:gd name="connsiteY143" fmla="*/ 159167 h 327546"/>
                <a:gd name="connsiteX144" fmla="*/ 208811 w 521003"/>
                <a:gd name="connsiteY144" fmla="*/ 156608 h 327546"/>
                <a:gd name="connsiteX145" fmla="*/ 210346 w 521003"/>
                <a:gd name="connsiteY145" fmla="*/ 147907 h 327546"/>
                <a:gd name="connsiteX146" fmla="*/ 210858 w 521003"/>
                <a:gd name="connsiteY146" fmla="*/ 143302 h 327546"/>
                <a:gd name="connsiteX147" fmla="*/ 210858 w 521003"/>
                <a:gd name="connsiteY147" fmla="*/ 138184 h 327546"/>
                <a:gd name="connsiteX148" fmla="*/ 208811 w 521003"/>
                <a:gd name="connsiteY148" fmla="*/ 119759 h 327546"/>
                <a:gd name="connsiteX149" fmla="*/ 221094 w 521003"/>
                <a:gd name="connsiteY149" fmla="*/ 120783 h 327546"/>
                <a:gd name="connsiteX150" fmla="*/ 227747 w 521003"/>
                <a:gd name="connsiteY150" fmla="*/ 120783 h 327546"/>
                <a:gd name="connsiteX151" fmla="*/ 230306 w 521003"/>
                <a:gd name="connsiteY151" fmla="*/ 120783 h 327546"/>
                <a:gd name="connsiteX152" fmla="*/ 234912 w 521003"/>
                <a:gd name="connsiteY152" fmla="*/ 120271 h 327546"/>
                <a:gd name="connsiteX153" fmla="*/ 237983 w 521003"/>
                <a:gd name="connsiteY153" fmla="*/ 119759 h 327546"/>
                <a:gd name="connsiteX154" fmla="*/ 243613 w 521003"/>
                <a:gd name="connsiteY154" fmla="*/ 118735 h 327546"/>
                <a:gd name="connsiteX155" fmla="*/ 245660 w 521003"/>
                <a:gd name="connsiteY155" fmla="*/ 118224 h 327546"/>
                <a:gd name="connsiteX156" fmla="*/ 247707 w 521003"/>
                <a:gd name="connsiteY156" fmla="*/ 117712 h 327546"/>
                <a:gd name="connsiteX157" fmla="*/ 251801 w 521003"/>
                <a:gd name="connsiteY157" fmla="*/ 116176 h 327546"/>
                <a:gd name="connsiteX158" fmla="*/ 255896 w 521003"/>
                <a:gd name="connsiteY158" fmla="*/ 114641 h 327546"/>
                <a:gd name="connsiteX159" fmla="*/ 259990 w 521003"/>
                <a:gd name="connsiteY159" fmla="*/ 112594 h 327546"/>
                <a:gd name="connsiteX160" fmla="*/ 265108 w 521003"/>
                <a:gd name="connsiteY160" fmla="*/ 110035 h 327546"/>
                <a:gd name="connsiteX161" fmla="*/ 266131 w 521003"/>
                <a:gd name="connsiteY161" fmla="*/ 109523 h 327546"/>
                <a:gd name="connsiteX162" fmla="*/ 267155 w 521003"/>
                <a:gd name="connsiteY162" fmla="*/ 109011 h 327546"/>
                <a:gd name="connsiteX163" fmla="*/ 270737 w 521003"/>
                <a:gd name="connsiteY163" fmla="*/ 106452 h 327546"/>
                <a:gd name="connsiteX164" fmla="*/ 274320 w 521003"/>
                <a:gd name="connsiteY164" fmla="*/ 103894 h 327546"/>
                <a:gd name="connsiteX165" fmla="*/ 277902 w 521003"/>
                <a:gd name="connsiteY165" fmla="*/ 101335 h 327546"/>
                <a:gd name="connsiteX166" fmla="*/ 281485 w 521003"/>
                <a:gd name="connsiteY166" fmla="*/ 97752 h 327546"/>
                <a:gd name="connsiteX167" fmla="*/ 284044 w 521003"/>
                <a:gd name="connsiteY167" fmla="*/ 95193 h 327546"/>
                <a:gd name="connsiteX168" fmla="*/ 284044 w 521003"/>
                <a:gd name="connsiteY168" fmla="*/ 95193 h 327546"/>
                <a:gd name="connsiteX169" fmla="*/ 287626 w 521003"/>
                <a:gd name="connsiteY169" fmla="*/ 98264 h 327546"/>
                <a:gd name="connsiteX170" fmla="*/ 288650 w 521003"/>
                <a:gd name="connsiteY170" fmla="*/ 99287 h 327546"/>
                <a:gd name="connsiteX171" fmla="*/ 291721 w 521003"/>
                <a:gd name="connsiteY171" fmla="*/ 101846 h 327546"/>
                <a:gd name="connsiteX172" fmla="*/ 292744 w 521003"/>
                <a:gd name="connsiteY172" fmla="*/ 102870 h 327546"/>
                <a:gd name="connsiteX173" fmla="*/ 294280 w 521003"/>
                <a:gd name="connsiteY173" fmla="*/ 103894 h 327546"/>
                <a:gd name="connsiteX174" fmla="*/ 302980 w 521003"/>
                <a:gd name="connsiteY174" fmla="*/ 109523 h 327546"/>
                <a:gd name="connsiteX175" fmla="*/ 306563 w 521003"/>
                <a:gd name="connsiteY175" fmla="*/ 111570 h 327546"/>
                <a:gd name="connsiteX176" fmla="*/ 310145 w 521003"/>
                <a:gd name="connsiteY176" fmla="*/ 113617 h 327546"/>
                <a:gd name="connsiteX177" fmla="*/ 321917 w 521003"/>
                <a:gd name="connsiteY177" fmla="*/ 118224 h 327546"/>
                <a:gd name="connsiteX178" fmla="*/ 319358 w 521003"/>
                <a:gd name="connsiteY178" fmla="*/ 139719 h 327546"/>
                <a:gd name="connsiteX179" fmla="*/ 319869 w 521003"/>
                <a:gd name="connsiteY179" fmla="*/ 148931 h 327546"/>
                <a:gd name="connsiteX180" fmla="*/ 319869 w 521003"/>
                <a:gd name="connsiteY180" fmla="*/ 150978 h 327546"/>
                <a:gd name="connsiteX181" fmla="*/ 320381 w 521003"/>
                <a:gd name="connsiteY181" fmla="*/ 153025 h 327546"/>
                <a:gd name="connsiteX182" fmla="*/ 320893 w 521003"/>
                <a:gd name="connsiteY182" fmla="*/ 155584 h 327546"/>
                <a:gd name="connsiteX183" fmla="*/ 321405 w 521003"/>
                <a:gd name="connsiteY183" fmla="*/ 158143 h 327546"/>
                <a:gd name="connsiteX184" fmla="*/ 322428 w 521003"/>
                <a:gd name="connsiteY184" fmla="*/ 161726 h 327546"/>
                <a:gd name="connsiteX185" fmla="*/ 323452 w 521003"/>
                <a:gd name="connsiteY185" fmla="*/ 165308 h 327546"/>
                <a:gd name="connsiteX186" fmla="*/ 326011 w 521003"/>
                <a:gd name="connsiteY186" fmla="*/ 172985 h 327546"/>
                <a:gd name="connsiteX187" fmla="*/ 326523 w 521003"/>
                <a:gd name="connsiteY187" fmla="*/ 174009 h 327546"/>
                <a:gd name="connsiteX188" fmla="*/ 268178 w 521003"/>
                <a:gd name="connsiteY188" fmla="*/ 204716 h 327546"/>
                <a:gd name="connsiteX189" fmla="*/ 265108 w 521003"/>
                <a:gd name="connsiteY189" fmla="*/ 204716 h 327546"/>
                <a:gd name="connsiteX190" fmla="*/ 261525 w 521003"/>
                <a:gd name="connsiteY190" fmla="*/ 204716 h 327546"/>
                <a:gd name="connsiteX191" fmla="*/ 203693 w 521003"/>
                <a:gd name="connsiteY191" fmla="*/ 173497 h 327546"/>
                <a:gd name="connsiteX192" fmla="*/ 287115 w 521003"/>
                <a:gd name="connsiteY192" fmla="*/ 282508 h 327546"/>
                <a:gd name="connsiteX193" fmla="*/ 264596 w 521003"/>
                <a:gd name="connsiteY193" fmla="*/ 296327 h 327546"/>
                <a:gd name="connsiteX194" fmla="*/ 242077 w 521003"/>
                <a:gd name="connsiteY194" fmla="*/ 282508 h 327546"/>
                <a:gd name="connsiteX195" fmla="*/ 248730 w 521003"/>
                <a:gd name="connsiteY195" fmla="*/ 221605 h 327546"/>
                <a:gd name="connsiteX196" fmla="*/ 235936 w 521003"/>
                <a:gd name="connsiteY196" fmla="*/ 208811 h 327546"/>
                <a:gd name="connsiteX197" fmla="*/ 246172 w 521003"/>
                <a:gd name="connsiteY197" fmla="*/ 211881 h 327546"/>
                <a:gd name="connsiteX198" fmla="*/ 249754 w 521003"/>
                <a:gd name="connsiteY198" fmla="*/ 212905 h 327546"/>
                <a:gd name="connsiteX199" fmla="*/ 254872 w 521003"/>
                <a:gd name="connsiteY199" fmla="*/ 213929 h 327546"/>
                <a:gd name="connsiteX200" fmla="*/ 261013 w 521003"/>
                <a:gd name="connsiteY200" fmla="*/ 214440 h 327546"/>
                <a:gd name="connsiteX201" fmla="*/ 265108 w 521003"/>
                <a:gd name="connsiteY201" fmla="*/ 214440 h 327546"/>
                <a:gd name="connsiteX202" fmla="*/ 268178 w 521003"/>
                <a:gd name="connsiteY202" fmla="*/ 214440 h 327546"/>
                <a:gd name="connsiteX203" fmla="*/ 275344 w 521003"/>
                <a:gd name="connsiteY203" fmla="*/ 213929 h 327546"/>
                <a:gd name="connsiteX204" fmla="*/ 280461 w 521003"/>
                <a:gd name="connsiteY204" fmla="*/ 213417 h 327546"/>
                <a:gd name="connsiteX205" fmla="*/ 284044 w 521003"/>
                <a:gd name="connsiteY205" fmla="*/ 212393 h 327546"/>
                <a:gd name="connsiteX206" fmla="*/ 294280 w 521003"/>
                <a:gd name="connsiteY206" fmla="*/ 209322 h 327546"/>
                <a:gd name="connsiteX207" fmla="*/ 281485 w 521003"/>
                <a:gd name="connsiteY207" fmla="*/ 222117 h 327546"/>
                <a:gd name="connsiteX208" fmla="*/ 287115 w 521003"/>
                <a:gd name="connsiteY208" fmla="*/ 282508 h 327546"/>
                <a:gd name="connsiteX209" fmla="*/ 318846 w 521003"/>
                <a:gd name="connsiteY209" fmla="*/ 216488 h 327546"/>
                <a:gd name="connsiteX210" fmla="*/ 296327 w 521003"/>
                <a:gd name="connsiteY210" fmla="*/ 207787 h 327546"/>
                <a:gd name="connsiteX211" fmla="*/ 331129 w 521003"/>
                <a:gd name="connsiteY211" fmla="*/ 183221 h 327546"/>
                <a:gd name="connsiteX212" fmla="*/ 336247 w 521003"/>
                <a:gd name="connsiteY212" fmla="*/ 176568 h 327546"/>
                <a:gd name="connsiteX213" fmla="*/ 337782 w 521003"/>
                <a:gd name="connsiteY213" fmla="*/ 174009 h 327546"/>
                <a:gd name="connsiteX214" fmla="*/ 348018 w 521003"/>
                <a:gd name="connsiteY214" fmla="*/ 152514 h 327546"/>
                <a:gd name="connsiteX215" fmla="*/ 371560 w 521003"/>
                <a:gd name="connsiteY215" fmla="*/ 152514 h 327546"/>
                <a:gd name="connsiteX216" fmla="*/ 318846 w 521003"/>
                <a:gd name="connsiteY216" fmla="*/ 216488 h 327546"/>
                <a:gd name="connsiteX217" fmla="*/ 445258 w 521003"/>
                <a:gd name="connsiteY217" fmla="*/ 152514 h 327546"/>
                <a:gd name="connsiteX218" fmla="*/ 418133 w 521003"/>
                <a:gd name="connsiteY218" fmla="*/ 175032 h 327546"/>
                <a:gd name="connsiteX219" fmla="*/ 391008 w 521003"/>
                <a:gd name="connsiteY219" fmla="*/ 152514 h 327546"/>
                <a:gd name="connsiteX220" fmla="*/ 390496 w 521003"/>
                <a:gd name="connsiteY220" fmla="*/ 150466 h 327546"/>
                <a:gd name="connsiteX221" fmla="*/ 396126 w 521003"/>
                <a:gd name="connsiteY221" fmla="*/ 148931 h 327546"/>
                <a:gd name="connsiteX222" fmla="*/ 396126 w 521003"/>
                <a:gd name="connsiteY222" fmla="*/ 148931 h 327546"/>
                <a:gd name="connsiteX223" fmla="*/ 415063 w 521003"/>
                <a:gd name="connsiteY223" fmla="*/ 146884 h 327546"/>
                <a:gd name="connsiteX224" fmla="*/ 420692 w 521003"/>
                <a:gd name="connsiteY224" fmla="*/ 146884 h 327546"/>
                <a:gd name="connsiteX225" fmla="*/ 439628 w 521003"/>
                <a:gd name="connsiteY225" fmla="*/ 148931 h 327546"/>
                <a:gd name="connsiteX226" fmla="*/ 445770 w 521003"/>
                <a:gd name="connsiteY226" fmla="*/ 150466 h 327546"/>
                <a:gd name="connsiteX227" fmla="*/ 445258 w 521003"/>
                <a:gd name="connsiteY227" fmla="*/ 152514 h 327546"/>
                <a:gd name="connsiteX228" fmla="*/ 418133 w 521003"/>
                <a:gd name="connsiteY228" fmla="*/ 142278 h 327546"/>
                <a:gd name="connsiteX229" fmla="*/ 418133 w 521003"/>
                <a:gd name="connsiteY229" fmla="*/ 142278 h 327546"/>
                <a:gd name="connsiteX230" fmla="*/ 367466 w 521003"/>
                <a:gd name="connsiteY230" fmla="*/ 117712 h 327546"/>
                <a:gd name="connsiteX231" fmla="*/ 370537 w 521003"/>
                <a:gd name="connsiteY231" fmla="*/ 110035 h 327546"/>
                <a:gd name="connsiteX232" fmla="*/ 371048 w 521003"/>
                <a:gd name="connsiteY232" fmla="*/ 107988 h 327546"/>
                <a:gd name="connsiteX233" fmla="*/ 371560 w 521003"/>
                <a:gd name="connsiteY233" fmla="*/ 105429 h 327546"/>
                <a:gd name="connsiteX234" fmla="*/ 371560 w 521003"/>
                <a:gd name="connsiteY234" fmla="*/ 104917 h 327546"/>
                <a:gd name="connsiteX235" fmla="*/ 372072 w 521003"/>
                <a:gd name="connsiteY235" fmla="*/ 101335 h 327546"/>
                <a:gd name="connsiteX236" fmla="*/ 372072 w 521003"/>
                <a:gd name="connsiteY236" fmla="*/ 100823 h 327546"/>
                <a:gd name="connsiteX237" fmla="*/ 372584 w 521003"/>
                <a:gd name="connsiteY237" fmla="*/ 98264 h 327546"/>
                <a:gd name="connsiteX238" fmla="*/ 373096 w 521003"/>
                <a:gd name="connsiteY238" fmla="*/ 95705 h 327546"/>
                <a:gd name="connsiteX239" fmla="*/ 373607 w 521003"/>
                <a:gd name="connsiteY239" fmla="*/ 91610 h 327546"/>
                <a:gd name="connsiteX240" fmla="*/ 373607 w 521003"/>
                <a:gd name="connsiteY240" fmla="*/ 87516 h 327546"/>
                <a:gd name="connsiteX241" fmla="*/ 373607 w 521003"/>
                <a:gd name="connsiteY241" fmla="*/ 82910 h 327546"/>
                <a:gd name="connsiteX242" fmla="*/ 373096 w 521003"/>
                <a:gd name="connsiteY242" fmla="*/ 77792 h 327546"/>
                <a:gd name="connsiteX243" fmla="*/ 372072 w 521003"/>
                <a:gd name="connsiteY243" fmla="*/ 72674 h 327546"/>
                <a:gd name="connsiteX244" fmla="*/ 391008 w 521003"/>
                <a:gd name="connsiteY244" fmla="*/ 72674 h 327546"/>
                <a:gd name="connsiteX245" fmla="*/ 393567 w 521003"/>
                <a:gd name="connsiteY245" fmla="*/ 72162 h 327546"/>
                <a:gd name="connsiteX246" fmla="*/ 396126 w 521003"/>
                <a:gd name="connsiteY246" fmla="*/ 71651 h 327546"/>
                <a:gd name="connsiteX247" fmla="*/ 398685 w 521003"/>
                <a:gd name="connsiteY247" fmla="*/ 71139 h 327546"/>
                <a:gd name="connsiteX248" fmla="*/ 399709 w 521003"/>
                <a:gd name="connsiteY248" fmla="*/ 70627 h 327546"/>
                <a:gd name="connsiteX249" fmla="*/ 405850 w 521003"/>
                <a:gd name="connsiteY249" fmla="*/ 69092 h 327546"/>
                <a:gd name="connsiteX250" fmla="*/ 413527 w 521003"/>
                <a:gd name="connsiteY250" fmla="*/ 66021 h 327546"/>
                <a:gd name="connsiteX251" fmla="*/ 418133 w 521003"/>
                <a:gd name="connsiteY251" fmla="*/ 63462 h 327546"/>
                <a:gd name="connsiteX252" fmla="*/ 419669 w 521003"/>
                <a:gd name="connsiteY252" fmla="*/ 62438 h 327546"/>
                <a:gd name="connsiteX253" fmla="*/ 419669 w 521003"/>
                <a:gd name="connsiteY253" fmla="*/ 62438 h 327546"/>
                <a:gd name="connsiteX254" fmla="*/ 425810 w 521003"/>
                <a:gd name="connsiteY254" fmla="*/ 58344 h 327546"/>
                <a:gd name="connsiteX255" fmla="*/ 433999 w 521003"/>
                <a:gd name="connsiteY255" fmla="*/ 51179 h 327546"/>
                <a:gd name="connsiteX256" fmla="*/ 433999 w 521003"/>
                <a:gd name="connsiteY256" fmla="*/ 51179 h 327546"/>
                <a:gd name="connsiteX257" fmla="*/ 435022 w 521003"/>
                <a:gd name="connsiteY257" fmla="*/ 51691 h 327546"/>
                <a:gd name="connsiteX258" fmla="*/ 436046 w 521003"/>
                <a:gd name="connsiteY258" fmla="*/ 52714 h 327546"/>
                <a:gd name="connsiteX259" fmla="*/ 437581 w 521003"/>
                <a:gd name="connsiteY259" fmla="*/ 54250 h 327546"/>
                <a:gd name="connsiteX260" fmla="*/ 441164 w 521003"/>
                <a:gd name="connsiteY260" fmla="*/ 57320 h 327546"/>
                <a:gd name="connsiteX261" fmla="*/ 444235 w 521003"/>
                <a:gd name="connsiteY261" fmla="*/ 59879 h 327546"/>
                <a:gd name="connsiteX262" fmla="*/ 446793 w 521003"/>
                <a:gd name="connsiteY262" fmla="*/ 61927 h 327546"/>
                <a:gd name="connsiteX263" fmla="*/ 449352 w 521003"/>
                <a:gd name="connsiteY263" fmla="*/ 63462 h 327546"/>
                <a:gd name="connsiteX264" fmla="*/ 451911 w 521003"/>
                <a:gd name="connsiteY264" fmla="*/ 64997 h 327546"/>
                <a:gd name="connsiteX265" fmla="*/ 453447 w 521003"/>
                <a:gd name="connsiteY265" fmla="*/ 65509 h 327546"/>
                <a:gd name="connsiteX266" fmla="*/ 456006 w 521003"/>
                <a:gd name="connsiteY266" fmla="*/ 67045 h 327546"/>
                <a:gd name="connsiteX267" fmla="*/ 458053 w 521003"/>
                <a:gd name="connsiteY267" fmla="*/ 68068 h 327546"/>
                <a:gd name="connsiteX268" fmla="*/ 460612 w 521003"/>
                <a:gd name="connsiteY268" fmla="*/ 69092 h 327546"/>
                <a:gd name="connsiteX269" fmla="*/ 464706 w 521003"/>
                <a:gd name="connsiteY269" fmla="*/ 70627 h 327546"/>
                <a:gd name="connsiteX270" fmla="*/ 464194 w 521003"/>
                <a:gd name="connsiteY270" fmla="*/ 73186 h 327546"/>
                <a:gd name="connsiteX271" fmla="*/ 463171 w 521003"/>
                <a:gd name="connsiteY271" fmla="*/ 78304 h 327546"/>
                <a:gd name="connsiteX272" fmla="*/ 462659 w 521003"/>
                <a:gd name="connsiteY272" fmla="*/ 83422 h 327546"/>
                <a:gd name="connsiteX273" fmla="*/ 462659 w 521003"/>
                <a:gd name="connsiteY273" fmla="*/ 88028 h 327546"/>
                <a:gd name="connsiteX274" fmla="*/ 462659 w 521003"/>
                <a:gd name="connsiteY274" fmla="*/ 91610 h 327546"/>
                <a:gd name="connsiteX275" fmla="*/ 462659 w 521003"/>
                <a:gd name="connsiteY275" fmla="*/ 93658 h 327546"/>
                <a:gd name="connsiteX276" fmla="*/ 462659 w 521003"/>
                <a:gd name="connsiteY276" fmla="*/ 96217 h 327546"/>
                <a:gd name="connsiteX277" fmla="*/ 463171 w 521003"/>
                <a:gd name="connsiteY277" fmla="*/ 100311 h 327546"/>
                <a:gd name="connsiteX278" fmla="*/ 464194 w 521003"/>
                <a:gd name="connsiteY278" fmla="*/ 104405 h 327546"/>
                <a:gd name="connsiteX279" fmla="*/ 465218 w 521003"/>
                <a:gd name="connsiteY279" fmla="*/ 108499 h 327546"/>
                <a:gd name="connsiteX280" fmla="*/ 466242 w 521003"/>
                <a:gd name="connsiteY280" fmla="*/ 112594 h 327546"/>
                <a:gd name="connsiteX281" fmla="*/ 467265 w 521003"/>
                <a:gd name="connsiteY281" fmla="*/ 115665 h 327546"/>
                <a:gd name="connsiteX282" fmla="*/ 467777 w 521003"/>
                <a:gd name="connsiteY282" fmla="*/ 117712 h 327546"/>
                <a:gd name="connsiteX283" fmla="*/ 418133 w 521003"/>
                <a:gd name="connsiteY283" fmla="*/ 142278 h 3275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Lst>
              <a:rect l="l" t="t" r="r" b="b"/>
              <a:pathLst>
                <a:path w="521003" h="327546">
                  <a:moveTo>
                    <a:pt x="521003" y="242077"/>
                  </a:moveTo>
                  <a:cubicBezTo>
                    <a:pt x="521003" y="203693"/>
                    <a:pt x="498996" y="168891"/>
                    <a:pt x="465218" y="152514"/>
                  </a:cubicBezTo>
                  <a:lnTo>
                    <a:pt x="492343" y="152514"/>
                  </a:lnTo>
                  <a:lnTo>
                    <a:pt x="492343" y="78304"/>
                  </a:lnTo>
                  <a:cubicBezTo>
                    <a:pt x="492343" y="76769"/>
                    <a:pt x="492343" y="74721"/>
                    <a:pt x="492343" y="73186"/>
                  </a:cubicBezTo>
                  <a:cubicBezTo>
                    <a:pt x="492343" y="71651"/>
                    <a:pt x="491831" y="69603"/>
                    <a:pt x="491831" y="68068"/>
                  </a:cubicBezTo>
                  <a:cubicBezTo>
                    <a:pt x="490808" y="60391"/>
                    <a:pt x="488760" y="53226"/>
                    <a:pt x="485178" y="46573"/>
                  </a:cubicBezTo>
                  <a:cubicBezTo>
                    <a:pt x="478525" y="32754"/>
                    <a:pt x="467777" y="21495"/>
                    <a:pt x="454470" y="13818"/>
                  </a:cubicBezTo>
                  <a:cubicBezTo>
                    <a:pt x="453959" y="13306"/>
                    <a:pt x="453447" y="13306"/>
                    <a:pt x="452935" y="12795"/>
                  </a:cubicBezTo>
                  <a:lnTo>
                    <a:pt x="450888" y="11771"/>
                  </a:lnTo>
                  <a:cubicBezTo>
                    <a:pt x="448841" y="10747"/>
                    <a:pt x="446793" y="10236"/>
                    <a:pt x="445258" y="9212"/>
                  </a:cubicBezTo>
                  <a:cubicBezTo>
                    <a:pt x="436558" y="5630"/>
                    <a:pt x="427345" y="4094"/>
                    <a:pt x="418133" y="4094"/>
                  </a:cubicBezTo>
                  <a:cubicBezTo>
                    <a:pt x="389473" y="4094"/>
                    <a:pt x="363883" y="19960"/>
                    <a:pt x="351600" y="45549"/>
                  </a:cubicBezTo>
                  <a:cubicBezTo>
                    <a:pt x="349041" y="50155"/>
                    <a:pt x="347506" y="55273"/>
                    <a:pt x="346482" y="59879"/>
                  </a:cubicBezTo>
                  <a:cubicBezTo>
                    <a:pt x="345459" y="63974"/>
                    <a:pt x="344947" y="68580"/>
                    <a:pt x="344435" y="72674"/>
                  </a:cubicBezTo>
                  <a:cubicBezTo>
                    <a:pt x="344435" y="74210"/>
                    <a:pt x="344435" y="76257"/>
                    <a:pt x="344435" y="77792"/>
                  </a:cubicBezTo>
                  <a:lnTo>
                    <a:pt x="344435" y="91099"/>
                  </a:lnTo>
                  <a:cubicBezTo>
                    <a:pt x="343923" y="90587"/>
                    <a:pt x="343923" y="89563"/>
                    <a:pt x="343412" y="89051"/>
                  </a:cubicBezTo>
                  <a:cubicBezTo>
                    <a:pt x="335735" y="72674"/>
                    <a:pt x="322940" y="59368"/>
                    <a:pt x="307075" y="50667"/>
                  </a:cubicBezTo>
                  <a:cubicBezTo>
                    <a:pt x="306051" y="50155"/>
                    <a:pt x="304516" y="49132"/>
                    <a:pt x="303492" y="48620"/>
                  </a:cubicBezTo>
                  <a:cubicBezTo>
                    <a:pt x="301445" y="47597"/>
                    <a:pt x="299398" y="47085"/>
                    <a:pt x="297862" y="46061"/>
                  </a:cubicBezTo>
                  <a:cubicBezTo>
                    <a:pt x="287626" y="41967"/>
                    <a:pt x="276367" y="39408"/>
                    <a:pt x="265108" y="39408"/>
                  </a:cubicBezTo>
                  <a:cubicBezTo>
                    <a:pt x="231841" y="39408"/>
                    <a:pt x="201646" y="58344"/>
                    <a:pt x="186804" y="88028"/>
                  </a:cubicBezTo>
                  <a:cubicBezTo>
                    <a:pt x="184245" y="93658"/>
                    <a:pt x="182198" y="99287"/>
                    <a:pt x="180662" y="104917"/>
                  </a:cubicBezTo>
                  <a:cubicBezTo>
                    <a:pt x="179127" y="111570"/>
                    <a:pt x="178103" y="118735"/>
                    <a:pt x="178103" y="125900"/>
                  </a:cubicBezTo>
                  <a:cubicBezTo>
                    <a:pt x="178103" y="142790"/>
                    <a:pt x="183221" y="159167"/>
                    <a:pt x="192433" y="173497"/>
                  </a:cubicBezTo>
                  <a:cubicBezTo>
                    <a:pt x="192945" y="174521"/>
                    <a:pt x="193457" y="175032"/>
                    <a:pt x="193969" y="176056"/>
                  </a:cubicBezTo>
                  <a:cubicBezTo>
                    <a:pt x="195504" y="178103"/>
                    <a:pt x="197551" y="180662"/>
                    <a:pt x="199087" y="182709"/>
                  </a:cubicBezTo>
                  <a:cubicBezTo>
                    <a:pt x="208299" y="193457"/>
                    <a:pt x="220070" y="201645"/>
                    <a:pt x="233377" y="206763"/>
                  </a:cubicBezTo>
                  <a:cubicBezTo>
                    <a:pt x="224676" y="209322"/>
                    <a:pt x="215976" y="212393"/>
                    <a:pt x="208299" y="216488"/>
                  </a:cubicBezTo>
                  <a:cubicBezTo>
                    <a:pt x="197040" y="183733"/>
                    <a:pt x="170426" y="158143"/>
                    <a:pt x="137160" y="148419"/>
                  </a:cubicBezTo>
                  <a:cubicBezTo>
                    <a:pt x="147908" y="143813"/>
                    <a:pt x="157632" y="137160"/>
                    <a:pt x="165308" y="127948"/>
                  </a:cubicBezTo>
                  <a:cubicBezTo>
                    <a:pt x="167356" y="125900"/>
                    <a:pt x="168891" y="123342"/>
                    <a:pt x="170426" y="121294"/>
                  </a:cubicBezTo>
                  <a:cubicBezTo>
                    <a:pt x="170938" y="120271"/>
                    <a:pt x="171450" y="119759"/>
                    <a:pt x="171962" y="118735"/>
                  </a:cubicBezTo>
                  <a:cubicBezTo>
                    <a:pt x="179639" y="106452"/>
                    <a:pt x="184245" y="92122"/>
                    <a:pt x="184245" y="77280"/>
                  </a:cubicBezTo>
                  <a:cubicBezTo>
                    <a:pt x="184245" y="73698"/>
                    <a:pt x="184245" y="70115"/>
                    <a:pt x="183221" y="66533"/>
                  </a:cubicBezTo>
                  <a:cubicBezTo>
                    <a:pt x="182198" y="58856"/>
                    <a:pt x="180150" y="51179"/>
                    <a:pt x="176568" y="44014"/>
                  </a:cubicBezTo>
                  <a:cubicBezTo>
                    <a:pt x="169915" y="29684"/>
                    <a:pt x="158655" y="17913"/>
                    <a:pt x="144837" y="10236"/>
                  </a:cubicBezTo>
                  <a:cubicBezTo>
                    <a:pt x="143813" y="9724"/>
                    <a:pt x="142278" y="8700"/>
                    <a:pt x="141254" y="8189"/>
                  </a:cubicBezTo>
                  <a:cubicBezTo>
                    <a:pt x="139207" y="7165"/>
                    <a:pt x="137672" y="6141"/>
                    <a:pt x="135625" y="5630"/>
                  </a:cubicBezTo>
                  <a:cubicBezTo>
                    <a:pt x="126412" y="2047"/>
                    <a:pt x="117200" y="0"/>
                    <a:pt x="107476" y="0"/>
                  </a:cubicBezTo>
                  <a:cubicBezTo>
                    <a:pt x="77792" y="0"/>
                    <a:pt x="51691" y="16377"/>
                    <a:pt x="38384" y="42990"/>
                  </a:cubicBezTo>
                  <a:cubicBezTo>
                    <a:pt x="35825" y="47597"/>
                    <a:pt x="34290" y="52714"/>
                    <a:pt x="32755" y="57832"/>
                  </a:cubicBezTo>
                  <a:cubicBezTo>
                    <a:pt x="31219" y="63974"/>
                    <a:pt x="30196" y="70115"/>
                    <a:pt x="30196" y="76257"/>
                  </a:cubicBezTo>
                  <a:cubicBezTo>
                    <a:pt x="30196" y="91099"/>
                    <a:pt x="34290" y="105941"/>
                    <a:pt x="42479" y="118224"/>
                  </a:cubicBezTo>
                  <a:cubicBezTo>
                    <a:pt x="42990" y="119247"/>
                    <a:pt x="43502" y="119759"/>
                    <a:pt x="44014" y="120783"/>
                  </a:cubicBezTo>
                  <a:cubicBezTo>
                    <a:pt x="45549" y="122830"/>
                    <a:pt x="47597" y="125389"/>
                    <a:pt x="49132" y="127436"/>
                  </a:cubicBezTo>
                  <a:cubicBezTo>
                    <a:pt x="56809" y="136136"/>
                    <a:pt x="66533" y="142790"/>
                    <a:pt x="76769" y="147396"/>
                  </a:cubicBezTo>
                  <a:cubicBezTo>
                    <a:pt x="32243" y="160191"/>
                    <a:pt x="0" y="201134"/>
                    <a:pt x="0" y="249754"/>
                  </a:cubicBezTo>
                  <a:lnTo>
                    <a:pt x="0" y="254872"/>
                  </a:lnTo>
                  <a:lnTo>
                    <a:pt x="163773" y="254872"/>
                  </a:lnTo>
                  <a:cubicBezTo>
                    <a:pt x="150978" y="274320"/>
                    <a:pt x="143301" y="297350"/>
                    <a:pt x="143301" y="322428"/>
                  </a:cubicBezTo>
                  <a:lnTo>
                    <a:pt x="143301" y="327546"/>
                  </a:lnTo>
                  <a:lnTo>
                    <a:pt x="385379" y="327546"/>
                  </a:lnTo>
                  <a:lnTo>
                    <a:pt x="385379" y="322428"/>
                  </a:lnTo>
                  <a:cubicBezTo>
                    <a:pt x="385379" y="294280"/>
                    <a:pt x="375655" y="268690"/>
                    <a:pt x="359789" y="248219"/>
                  </a:cubicBezTo>
                  <a:lnTo>
                    <a:pt x="521003" y="248219"/>
                  </a:lnTo>
                  <a:lnTo>
                    <a:pt x="521003" y="242077"/>
                  </a:lnTo>
                  <a:close/>
                  <a:moveTo>
                    <a:pt x="54250" y="119759"/>
                  </a:moveTo>
                  <a:cubicBezTo>
                    <a:pt x="54250" y="119759"/>
                    <a:pt x="54250" y="119247"/>
                    <a:pt x="54250" y="119759"/>
                  </a:cubicBezTo>
                  <a:cubicBezTo>
                    <a:pt x="54762" y="118735"/>
                    <a:pt x="54762" y="118224"/>
                    <a:pt x="55273" y="117200"/>
                  </a:cubicBezTo>
                  <a:cubicBezTo>
                    <a:pt x="55785" y="116176"/>
                    <a:pt x="55785" y="115153"/>
                    <a:pt x="56297" y="114641"/>
                  </a:cubicBezTo>
                  <a:cubicBezTo>
                    <a:pt x="56297" y="114641"/>
                    <a:pt x="56297" y="114641"/>
                    <a:pt x="56297" y="114129"/>
                  </a:cubicBezTo>
                  <a:cubicBezTo>
                    <a:pt x="56809" y="112594"/>
                    <a:pt x="57321" y="111570"/>
                    <a:pt x="57832" y="110035"/>
                  </a:cubicBezTo>
                  <a:cubicBezTo>
                    <a:pt x="58344" y="108499"/>
                    <a:pt x="58344" y="107476"/>
                    <a:pt x="58856" y="105941"/>
                  </a:cubicBezTo>
                  <a:cubicBezTo>
                    <a:pt x="58856" y="105941"/>
                    <a:pt x="58856" y="105429"/>
                    <a:pt x="58856" y="105429"/>
                  </a:cubicBezTo>
                  <a:cubicBezTo>
                    <a:pt x="58856" y="104405"/>
                    <a:pt x="59368" y="103894"/>
                    <a:pt x="59368" y="102870"/>
                  </a:cubicBezTo>
                  <a:cubicBezTo>
                    <a:pt x="59368" y="101846"/>
                    <a:pt x="59880" y="101335"/>
                    <a:pt x="59880" y="100311"/>
                  </a:cubicBezTo>
                  <a:cubicBezTo>
                    <a:pt x="59880" y="99287"/>
                    <a:pt x="60391" y="98264"/>
                    <a:pt x="60391" y="97240"/>
                  </a:cubicBezTo>
                  <a:cubicBezTo>
                    <a:pt x="60391" y="96217"/>
                    <a:pt x="60391" y="95193"/>
                    <a:pt x="60903" y="94681"/>
                  </a:cubicBezTo>
                  <a:cubicBezTo>
                    <a:pt x="60903" y="92634"/>
                    <a:pt x="60903" y="90587"/>
                    <a:pt x="60903" y="88540"/>
                  </a:cubicBezTo>
                  <a:cubicBezTo>
                    <a:pt x="60903" y="83422"/>
                    <a:pt x="60391" y="78304"/>
                    <a:pt x="59368" y="73186"/>
                  </a:cubicBezTo>
                  <a:cubicBezTo>
                    <a:pt x="62438" y="73698"/>
                    <a:pt x="66021" y="73698"/>
                    <a:pt x="69092" y="73698"/>
                  </a:cubicBezTo>
                  <a:cubicBezTo>
                    <a:pt x="70627" y="73698"/>
                    <a:pt x="71651" y="73698"/>
                    <a:pt x="73186" y="73698"/>
                  </a:cubicBezTo>
                  <a:cubicBezTo>
                    <a:pt x="75745" y="73698"/>
                    <a:pt x="78304" y="73186"/>
                    <a:pt x="80863" y="73186"/>
                  </a:cubicBezTo>
                  <a:cubicBezTo>
                    <a:pt x="82398" y="73186"/>
                    <a:pt x="83422" y="72674"/>
                    <a:pt x="84446" y="72674"/>
                  </a:cubicBezTo>
                  <a:cubicBezTo>
                    <a:pt x="85981" y="72162"/>
                    <a:pt x="87004" y="72162"/>
                    <a:pt x="88028" y="71651"/>
                  </a:cubicBezTo>
                  <a:cubicBezTo>
                    <a:pt x="90587" y="71139"/>
                    <a:pt x="93146" y="70115"/>
                    <a:pt x="95193" y="69603"/>
                  </a:cubicBezTo>
                  <a:cubicBezTo>
                    <a:pt x="96217" y="69092"/>
                    <a:pt x="97752" y="68580"/>
                    <a:pt x="98776" y="68068"/>
                  </a:cubicBezTo>
                  <a:cubicBezTo>
                    <a:pt x="101335" y="67045"/>
                    <a:pt x="103382" y="66021"/>
                    <a:pt x="105429" y="64997"/>
                  </a:cubicBezTo>
                  <a:cubicBezTo>
                    <a:pt x="105941" y="64997"/>
                    <a:pt x="106452" y="64486"/>
                    <a:pt x="106964" y="63974"/>
                  </a:cubicBezTo>
                  <a:lnTo>
                    <a:pt x="106964" y="63974"/>
                  </a:lnTo>
                  <a:cubicBezTo>
                    <a:pt x="107476" y="63974"/>
                    <a:pt x="107988" y="63462"/>
                    <a:pt x="108500" y="62950"/>
                  </a:cubicBezTo>
                  <a:cubicBezTo>
                    <a:pt x="109523" y="62438"/>
                    <a:pt x="111059" y="61415"/>
                    <a:pt x="112082" y="60903"/>
                  </a:cubicBezTo>
                  <a:cubicBezTo>
                    <a:pt x="113106" y="60391"/>
                    <a:pt x="114129" y="59368"/>
                    <a:pt x="114641" y="58856"/>
                  </a:cubicBezTo>
                  <a:cubicBezTo>
                    <a:pt x="115665" y="57832"/>
                    <a:pt x="117200" y="57320"/>
                    <a:pt x="118224" y="56297"/>
                  </a:cubicBezTo>
                  <a:cubicBezTo>
                    <a:pt x="119247" y="55273"/>
                    <a:pt x="120271" y="54761"/>
                    <a:pt x="121294" y="53738"/>
                  </a:cubicBezTo>
                  <a:lnTo>
                    <a:pt x="121294" y="53738"/>
                  </a:lnTo>
                  <a:cubicBezTo>
                    <a:pt x="122318" y="52714"/>
                    <a:pt x="123342" y="52202"/>
                    <a:pt x="123853" y="51179"/>
                  </a:cubicBezTo>
                  <a:lnTo>
                    <a:pt x="123853" y="51179"/>
                  </a:lnTo>
                  <a:cubicBezTo>
                    <a:pt x="124877" y="52202"/>
                    <a:pt x="125901" y="53226"/>
                    <a:pt x="127436" y="54250"/>
                  </a:cubicBezTo>
                  <a:cubicBezTo>
                    <a:pt x="128460" y="55273"/>
                    <a:pt x="129483" y="56297"/>
                    <a:pt x="131019" y="56809"/>
                  </a:cubicBezTo>
                  <a:cubicBezTo>
                    <a:pt x="131019" y="56809"/>
                    <a:pt x="131019" y="56809"/>
                    <a:pt x="131530" y="57320"/>
                  </a:cubicBezTo>
                  <a:cubicBezTo>
                    <a:pt x="132554" y="58344"/>
                    <a:pt x="134089" y="59368"/>
                    <a:pt x="135113" y="59879"/>
                  </a:cubicBezTo>
                  <a:cubicBezTo>
                    <a:pt x="136136" y="60391"/>
                    <a:pt x="137160" y="61415"/>
                    <a:pt x="138184" y="61927"/>
                  </a:cubicBezTo>
                  <a:cubicBezTo>
                    <a:pt x="138695" y="62438"/>
                    <a:pt x="139207" y="62950"/>
                    <a:pt x="140231" y="62950"/>
                  </a:cubicBezTo>
                  <a:cubicBezTo>
                    <a:pt x="141254" y="63462"/>
                    <a:pt x="141766" y="63974"/>
                    <a:pt x="142790" y="64486"/>
                  </a:cubicBezTo>
                  <a:cubicBezTo>
                    <a:pt x="143301" y="64997"/>
                    <a:pt x="143813" y="64997"/>
                    <a:pt x="144325" y="65509"/>
                  </a:cubicBezTo>
                  <a:cubicBezTo>
                    <a:pt x="145349" y="66021"/>
                    <a:pt x="145860" y="66533"/>
                    <a:pt x="146884" y="67045"/>
                  </a:cubicBezTo>
                  <a:cubicBezTo>
                    <a:pt x="147908" y="67556"/>
                    <a:pt x="148931" y="68068"/>
                    <a:pt x="149955" y="68580"/>
                  </a:cubicBezTo>
                  <a:cubicBezTo>
                    <a:pt x="152002" y="69603"/>
                    <a:pt x="154049" y="70115"/>
                    <a:pt x="156096" y="70627"/>
                  </a:cubicBezTo>
                  <a:cubicBezTo>
                    <a:pt x="154561" y="76769"/>
                    <a:pt x="154049" y="82910"/>
                    <a:pt x="154049" y="89051"/>
                  </a:cubicBezTo>
                  <a:cubicBezTo>
                    <a:pt x="154049" y="90587"/>
                    <a:pt x="154049" y="91610"/>
                    <a:pt x="154049" y="93146"/>
                  </a:cubicBezTo>
                  <a:cubicBezTo>
                    <a:pt x="154049" y="94681"/>
                    <a:pt x="154049" y="95705"/>
                    <a:pt x="154561" y="97240"/>
                  </a:cubicBezTo>
                  <a:cubicBezTo>
                    <a:pt x="154561" y="97752"/>
                    <a:pt x="154561" y="98776"/>
                    <a:pt x="154561" y="99799"/>
                  </a:cubicBezTo>
                  <a:cubicBezTo>
                    <a:pt x="154561" y="100823"/>
                    <a:pt x="155073" y="101335"/>
                    <a:pt x="155073" y="102358"/>
                  </a:cubicBezTo>
                  <a:cubicBezTo>
                    <a:pt x="155073" y="103894"/>
                    <a:pt x="155584" y="104917"/>
                    <a:pt x="156096" y="106452"/>
                  </a:cubicBezTo>
                  <a:cubicBezTo>
                    <a:pt x="156096" y="107476"/>
                    <a:pt x="156608" y="109011"/>
                    <a:pt x="157120" y="110035"/>
                  </a:cubicBezTo>
                  <a:cubicBezTo>
                    <a:pt x="157120" y="111058"/>
                    <a:pt x="157632" y="112082"/>
                    <a:pt x="158143" y="113106"/>
                  </a:cubicBezTo>
                  <a:cubicBezTo>
                    <a:pt x="158655" y="114129"/>
                    <a:pt x="158655" y="115153"/>
                    <a:pt x="159167" y="115665"/>
                  </a:cubicBezTo>
                  <a:cubicBezTo>
                    <a:pt x="159679" y="117200"/>
                    <a:pt x="160191" y="118224"/>
                    <a:pt x="160702" y="119247"/>
                  </a:cubicBezTo>
                  <a:cubicBezTo>
                    <a:pt x="148931" y="134601"/>
                    <a:pt x="131019" y="144325"/>
                    <a:pt x="111570" y="145348"/>
                  </a:cubicBezTo>
                  <a:lnTo>
                    <a:pt x="111059" y="145348"/>
                  </a:lnTo>
                  <a:cubicBezTo>
                    <a:pt x="110035" y="145348"/>
                    <a:pt x="109011" y="145348"/>
                    <a:pt x="107988" y="145348"/>
                  </a:cubicBezTo>
                  <a:lnTo>
                    <a:pt x="107988" y="145348"/>
                  </a:lnTo>
                  <a:cubicBezTo>
                    <a:pt x="106452" y="145348"/>
                    <a:pt x="105429" y="145348"/>
                    <a:pt x="103894" y="145348"/>
                  </a:cubicBezTo>
                  <a:cubicBezTo>
                    <a:pt x="103894" y="145348"/>
                    <a:pt x="103894" y="145348"/>
                    <a:pt x="103894" y="145348"/>
                  </a:cubicBezTo>
                  <a:cubicBezTo>
                    <a:pt x="83934" y="143813"/>
                    <a:pt x="66021" y="134601"/>
                    <a:pt x="54250" y="119759"/>
                  </a:cubicBezTo>
                  <a:close/>
                  <a:moveTo>
                    <a:pt x="127436" y="215464"/>
                  </a:moveTo>
                  <a:lnTo>
                    <a:pt x="106964" y="228259"/>
                  </a:lnTo>
                  <a:lnTo>
                    <a:pt x="86493" y="215464"/>
                  </a:lnTo>
                  <a:lnTo>
                    <a:pt x="92122" y="161726"/>
                  </a:lnTo>
                  <a:lnTo>
                    <a:pt x="81375" y="150978"/>
                  </a:lnTo>
                  <a:cubicBezTo>
                    <a:pt x="84446" y="152002"/>
                    <a:pt x="88028" y="153025"/>
                    <a:pt x="91611" y="154049"/>
                  </a:cubicBezTo>
                  <a:cubicBezTo>
                    <a:pt x="92122" y="154049"/>
                    <a:pt x="92634" y="154049"/>
                    <a:pt x="93146" y="154561"/>
                  </a:cubicBezTo>
                  <a:cubicBezTo>
                    <a:pt x="95705" y="155073"/>
                    <a:pt x="97752" y="155073"/>
                    <a:pt x="100311" y="155584"/>
                  </a:cubicBezTo>
                  <a:cubicBezTo>
                    <a:pt x="101335" y="155584"/>
                    <a:pt x="102358" y="155584"/>
                    <a:pt x="103382" y="155584"/>
                  </a:cubicBezTo>
                  <a:lnTo>
                    <a:pt x="103894" y="155584"/>
                  </a:lnTo>
                  <a:cubicBezTo>
                    <a:pt x="104917" y="155584"/>
                    <a:pt x="105941" y="155584"/>
                    <a:pt x="107476" y="155584"/>
                  </a:cubicBezTo>
                  <a:cubicBezTo>
                    <a:pt x="108500" y="155584"/>
                    <a:pt x="109523" y="155584"/>
                    <a:pt x="110547" y="155584"/>
                  </a:cubicBezTo>
                  <a:cubicBezTo>
                    <a:pt x="112082" y="155584"/>
                    <a:pt x="113106" y="155584"/>
                    <a:pt x="114641" y="155584"/>
                  </a:cubicBezTo>
                  <a:cubicBezTo>
                    <a:pt x="117200" y="155584"/>
                    <a:pt x="119247" y="155073"/>
                    <a:pt x="121806" y="154561"/>
                  </a:cubicBezTo>
                  <a:cubicBezTo>
                    <a:pt x="122318" y="154561"/>
                    <a:pt x="122830" y="154561"/>
                    <a:pt x="123342" y="154049"/>
                  </a:cubicBezTo>
                  <a:lnTo>
                    <a:pt x="123342" y="154049"/>
                  </a:lnTo>
                  <a:cubicBezTo>
                    <a:pt x="126924" y="153537"/>
                    <a:pt x="129995" y="152514"/>
                    <a:pt x="133577" y="150978"/>
                  </a:cubicBezTo>
                  <a:lnTo>
                    <a:pt x="122318" y="161726"/>
                  </a:lnTo>
                  <a:lnTo>
                    <a:pt x="127436" y="215464"/>
                  </a:lnTo>
                  <a:close/>
                  <a:moveTo>
                    <a:pt x="203693" y="173497"/>
                  </a:moveTo>
                  <a:cubicBezTo>
                    <a:pt x="203693" y="172985"/>
                    <a:pt x="204205" y="172985"/>
                    <a:pt x="204205" y="172473"/>
                  </a:cubicBezTo>
                  <a:cubicBezTo>
                    <a:pt x="204205" y="171962"/>
                    <a:pt x="204716" y="171962"/>
                    <a:pt x="204716" y="171450"/>
                  </a:cubicBezTo>
                  <a:cubicBezTo>
                    <a:pt x="205228" y="170426"/>
                    <a:pt x="205228" y="169914"/>
                    <a:pt x="205740" y="168891"/>
                  </a:cubicBezTo>
                  <a:cubicBezTo>
                    <a:pt x="205740" y="168891"/>
                    <a:pt x="205740" y="168379"/>
                    <a:pt x="205740" y="168379"/>
                  </a:cubicBezTo>
                  <a:cubicBezTo>
                    <a:pt x="205740" y="167867"/>
                    <a:pt x="206252" y="166844"/>
                    <a:pt x="206252" y="166332"/>
                  </a:cubicBezTo>
                  <a:cubicBezTo>
                    <a:pt x="207275" y="163773"/>
                    <a:pt x="207787" y="161726"/>
                    <a:pt x="208299" y="159167"/>
                  </a:cubicBezTo>
                  <a:cubicBezTo>
                    <a:pt x="208299" y="158143"/>
                    <a:pt x="208811" y="157120"/>
                    <a:pt x="208811" y="156608"/>
                  </a:cubicBezTo>
                  <a:cubicBezTo>
                    <a:pt x="209322" y="154049"/>
                    <a:pt x="209834" y="150978"/>
                    <a:pt x="210346" y="147907"/>
                  </a:cubicBezTo>
                  <a:cubicBezTo>
                    <a:pt x="210346" y="146372"/>
                    <a:pt x="210858" y="144837"/>
                    <a:pt x="210858" y="143302"/>
                  </a:cubicBezTo>
                  <a:cubicBezTo>
                    <a:pt x="210858" y="141766"/>
                    <a:pt x="210858" y="139719"/>
                    <a:pt x="210858" y="138184"/>
                  </a:cubicBezTo>
                  <a:cubicBezTo>
                    <a:pt x="210858" y="132042"/>
                    <a:pt x="210346" y="125389"/>
                    <a:pt x="208811" y="119759"/>
                  </a:cubicBezTo>
                  <a:cubicBezTo>
                    <a:pt x="212905" y="120271"/>
                    <a:pt x="216999" y="120783"/>
                    <a:pt x="221094" y="120783"/>
                  </a:cubicBezTo>
                  <a:cubicBezTo>
                    <a:pt x="223141" y="120783"/>
                    <a:pt x="225188" y="120783"/>
                    <a:pt x="227747" y="120783"/>
                  </a:cubicBezTo>
                  <a:cubicBezTo>
                    <a:pt x="228770" y="120783"/>
                    <a:pt x="229282" y="120783"/>
                    <a:pt x="230306" y="120783"/>
                  </a:cubicBezTo>
                  <a:cubicBezTo>
                    <a:pt x="231841" y="120783"/>
                    <a:pt x="233377" y="120271"/>
                    <a:pt x="234912" y="120271"/>
                  </a:cubicBezTo>
                  <a:cubicBezTo>
                    <a:pt x="235936" y="120271"/>
                    <a:pt x="236959" y="119759"/>
                    <a:pt x="237983" y="119759"/>
                  </a:cubicBezTo>
                  <a:cubicBezTo>
                    <a:pt x="240030" y="119247"/>
                    <a:pt x="241565" y="118735"/>
                    <a:pt x="243613" y="118735"/>
                  </a:cubicBezTo>
                  <a:cubicBezTo>
                    <a:pt x="244124" y="118735"/>
                    <a:pt x="245148" y="118224"/>
                    <a:pt x="245660" y="118224"/>
                  </a:cubicBezTo>
                  <a:cubicBezTo>
                    <a:pt x="246172" y="118224"/>
                    <a:pt x="246683" y="117712"/>
                    <a:pt x="247707" y="117712"/>
                  </a:cubicBezTo>
                  <a:cubicBezTo>
                    <a:pt x="249242" y="117200"/>
                    <a:pt x="250266" y="116688"/>
                    <a:pt x="251801" y="116176"/>
                  </a:cubicBezTo>
                  <a:cubicBezTo>
                    <a:pt x="253337" y="115665"/>
                    <a:pt x="254360" y="115153"/>
                    <a:pt x="255896" y="114641"/>
                  </a:cubicBezTo>
                  <a:cubicBezTo>
                    <a:pt x="257431" y="114129"/>
                    <a:pt x="258454" y="113617"/>
                    <a:pt x="259990" y="112594"/>
                  </a:cubicBezTo>
                  <a:cubicBezTo>
                    <a:pt x="261525" y="111570"/>
                    <a:pt x="263572" y="111058"/>
                    <a:pt x="265108" y="110035"/>
                  </a:cubicBezTo>
                  <a:cubicBezTo>
                    <a:pt x="265620" y="110035"/>
                    <a:pt x="266131" y="109523"/>
                    <a:pt x="266131" y="109523"/>
                  </a:cubicBezTo>
                  <a:cubicBezTo>
                    <a:pt x="266643" y="109523"/>
                    <a:pt x="267155" y="109011"/>
                    <a:pt x="267155" y="109011"/>
                  </a:cubicBezTo>
                  <a:cubicBezTo>
                    <a:pt x="268178" y="108499"/>
                    <a:pt x="269714" y="107476"/>
                    <a:pt x="270737" y="106452"/>
                  </a:cubicBezTo>
                  <a:cubicBezTo>
                    <a:pt x="271761" y="105429"/>
                    <a:pt x="273296" y="104917"/>
                    <a:pt x="274320" y="103894"/>
                  </a:cubicBezTo>
                  <a:cubicBezTo>
                    <a:pt x="275344" y="102870"/>
                    <a:pt x="276879" y="101846"/>
                    <a:pt x="277902" y="101335"/>
                  </a:cubicBezTo>
                  <a:cubicBezTo>
                    <a:pt x="278926" y="100311"/>
                    <a:pt x="280461" y="99287"/>
                    <a:pt x="281485" y="97752"/>
                  </a:cubicBezTo>
                  <a:cubicBezTo>
                    <a:pt x="282509" y="96728"/>
                    <a:pt x="283532" y="96217"/>
                    <a:pt x="284044" y="95193"/>
                  </a:cubicBezTo>
                  <a:lnTo>
                    <a:pt x="284044" y="95193"/>
                  </a:lnTo>
                  <a:cubicBezTo>
                    <a:pt x="285068" y="96217"/>
                    <a:pt x="286091" y="97240"/>
                    <a:pt x="287626" y="98264"/>
                  </a:cubicBezTo>
                  <a:cubicBezTo>
                    <a:pt x="287626" y="98776"/>
                    <a:pt x="288138" y="98776"/>
                    <a:pt x="288650" y="99287"/>
                  </a:cubicBezTo>
                  <a:cubicBezTo>
                    <a:pt x="289674" y="100311"/>
                    <a:pt x="290697" y="101335"/>
                    <a:pt x="291721" y="101846"/>
                  </a:cubicBezTo>
                  <a:cubicBezTo>
                    <a:pt x="292233" y="102358"/>
                    <a:pt x="292233" y="102358"/>
                    <a:pt x="292744" y="102870"/>
                  </a:cubicBezTo>
                  <a:cubicBezTo>
                    <a:pt x="293256" y="103382"/>
                    <a:pt x="293768" y="103894"/>
                    <a:pt x="294280" y="103894"/>
                  </a:cubicBezTo>
                  <a:cubicBezTo>
                    <a:pt x="296839" y="105941"/>
                    <a:pt x="299910" y="107988"/>
                    <a:pt x="302980" y="109523"/>
                  </a:cubicBezTo>
                  <a:cubicBezTo>
                    <a:pt x="304004" y="110035"/>
                    <a:pt x="305539" y="111058"/>
                    <a:pt x="306563" y="111570"/>
                  </a:cubicBezTo>
                  <a:cubicBezTo>
                    <a:pt x="307586" y="112082"/>
                    <a:pt x="309122" y="113106"/>
                    <a:pt x="310145" y="113617"/>
                  </a:cubicBezTo>
                  <a:cubicBezTo>
                    <a:pt x="313728" y="115153"/>
                    <a:pt x="317822" y="116688"/>
                    <a:pt x="321917" y="118224"/>
                  </a:cubicBezTo>
                  <a:cubicBezTo>
                    <a:pt x="320381" y="125389"/>
                    <a:pt x="319358" y="132554"/>
                    <a:pt x="319358" y="139719"/>
                  </a:cubicBezTo>
                  <a:cubicBezTo>
                    <a:pt x="319358" y="142790"/>
                    <a:pt x="319358" y="145860"/>
                    <a:pt x="319869" y="148931"/>
                  </a:cubicBezTo>
                  <a:cubicBezTo>
                    <a:pt x="319869" y="149443"/>
                    <a:pt x="319869" y="150466"/>
                    <a:pt x="319869" y="150978"/>
                  </a:cubicBezTo>
                  <a:cubicBezTo>
                    <a:pt x="319869" y="151490"/>
                    <a:pt x="319869" y="152514"/>
                    <a:pt x="320381" y="153025"/>
                  </a:cubicBezTo>
                  <a:cubicBezTo>
                    <a:pt x="320381" y="154049"/>
                    <a:pt x="320893" y="154561"/>
                    <a:pt x="320893" y="155584"/>
                  </a:cubicBezTo>
                  <a:cubicBezTo>
                    <a:pt x="320893" y="156608"/>
                    <a:pt x="321405" y="157120"/>
                    <a:pt x="321405" y="158143"/>
                  </a:cubicBezTo>
                  <a:cubicBezTo>
                    <a:pt x="321405" y="159167"/>
                    <a:pt x="321917" y="160702"/>
                    <a:pt x="322428" y="161726"/>
                  </a:cubicBezTo>
                  <a:cubicBezTo>
                    <a:pt x="322940" y="163261"/>
                    <a:pt x="322940" y="164285"/>
                    <a:pt x="323452" y="165308"/>
                  </a:cubicBezTo>
                  <a:cubicBezTo>
                    <a:pt x="324475" y="167867"/>
                    <a:pt x="324987" y="170426"/>
                    <a:pt x="326011" y="172985"/>
                  </a:cubicBezTo>
                  <a:cubicBezTo>
                    <a:pt x="326011" y="173497"/>
                    <a:pt x="326523" y="173497"/>
                    <a:pt x="326523" y="174009"/>
                  </a:cubicBezTo>
                  <a:cubicBezTo>
                    <a:pt x="312704" y="192433"/>
                    <a:pt x="291209" y="203693"/>
                    <a:pt x="268178" y="204716"/>
                  </a:cubicBezTo>
                  <a:cubicBezTo>
                    <a:pt x="267155" y="204716"/>
                    <a:pt x="266131" y="204716"/>
                    <a:pt x="265108" y="204716"/>
                  </a:cubicBezTo>
                  <a:cubicBezTo>
                    <a:pt x="264084" y="204716"/>
                    <a:pt x="262549" y="204716"/>
                    <a:pt x="261525" y="204716"/>
                  </a:cubicBezTo>
                  <a:cubicBezTo>
                    <a:pt x="238495" y="202669"/>
                    <a:pt x="217511" y="191410"/>
                    <a:pt x="203693" y="173497"/>
                  </a:cubicBezTo>
                  <a:close/>
                  <a:moveTo>
                    <a:pt x="287115" y="282508"/>
                  </a:moveTo>
                  <a:lnTo>
                    <a:pt x="264596" y="296327"/>
                  </a:lnTo>
                  <a:lnTo>
                    <a:pt x="242077" y="282508"/>
                  </a:lnTo>
                  <a:lnTo>
                    <a:pt x="248730" y="221605"/>
                  </a:lnTo>
                  <a:lnTo>
                    <a:pt x="235936" y="208811"/>
                  </a:lnTo>
                  <a:cubicBezTo>
                    <a:pt x="239518" y="209834"/>
                    <a:pt x="242589" y="210858"/>
                    <a:pt x="246172" y="211881"/>
                  </a:cubicBezTo>
                  <a:cubicBezTo>
                    <a:pt x="247195" y="212393"/>
                    <a:pt x="248730" y="212393"/>
                    <a:pt x="249754" y="212905"/>
                  </a:cubicBezTo>
                  <a:cubicBezTo>
                    <a:pt x="251289" y="213417"/>
                    <a:pt x="253337" y="213417"/>
                    <a:pt x="254872" y="213929"/>
                  </a:cubicBezTo>
                  <a:cubicBezTo>
                    <a:pt x="256919" y="213929"/>
                    <a:pt x="258966" y="214440"/>
                    <a:pt x="261013" y="214440"/>
                  </a:cubicBezTo>
                  <a:cubicBezTo>
                    <a:pt x="262549" y="214440"/>
                    <a:pt x="263572" y="214440"/>
                    <a:pt x="265108" y="214440"/>
                  </a:cubicBezTo>
                  <a:cubicBezTo>
                    <a:pt x="266131" y="214440"/>
                    <a:pt x="267155" y="214440"/>
                    <a:pt x="268178" y="214440"/>
                  </a:cubicBezTo>
                  <a:cubicBezTo>
                    <a:pt x="270737" y="214440"/>
                    <a:pt x="272785" y="214440"/>
                    <a:pt x="275344" y="213929"/>
                  </a:cubicBezTo>
                  <a:cubicBezTo>
                    <a:pt x="276879" y="213929"/>
                    <a:pt x="278926" y="213417"/>
                    <a:pt x="280461" y="213417"/>
                  </a:cubicBezTo>
                  <a:cubicBezTo>
                    <a:pt x="281997" y="213417"/>
                    <a:pt x="283020" y="212905"/>
                    <a:pt x="284044" y="212393"/>
                  </a:cubicBezTo>
                  <a:cubicBezTo>
                    <a:pt x="287626" y="211881"/>
                    <a:pt x="290697" y="210858"/>
                    <a:pt x="294280" y="209322"/>
                  </a:cubicBezTo>
                  <a:lnTo>
                    <a:pt x="281485" y="222117"/>
                  </a:lnTo>
                  <a:lnTo>
                    <a:pt x="287115" y="282508"/>
                  </a:lnTo>
                  <a:close/>
                  <a:moveTo>
                    <a:pt x="318846" y="216488"/>
                  </a:moveTo>
                  <a:cubicBezTo>
                    <a:pt x="311681" y="212905"/>
                    <a:pt x="304004" y="209834"/>
                    <a:pt x="296327" y="207787"/>
                  </a:cubicBezTo>
                  <a:cubicBezTo>
                    <a:pt x="309634" y="202669"/>
                    <a:pt x="321405" y="193969"/>
                    <a:pt x="331129" y="183221"/>
                  </a:cubicBezTo>
                  <a:cubicBezTo>
                    <a:pt x="333176" y="181174"/>
                    <a:pt x="334711" y="178615"/>
                    <a:pt x="336247" y="176568"/>
                  </a:cubicBezTo>
                  <a:cubicBezTo>
                    <a:pt x="336758" y="175544"/>
                    <a:pt x="337270" y="175032"/>
                    <a:pt x="337782" y="174009"/>
                  </a:cubicBezTo>
                  <a:cubicBezTo>
                    <a:pt x="342388" y="167355"/>
                    <a:pt x="345459" y="160191"/>
                    <a:pt x="348018" y="152514"/>
                  </a:cubicBezTo>
                  <a:lnTo>
                    <a:pt x="371560" y="152514"/>
                  </a:lnTo>
                  <a:cubicBezTo>
                    <a:pt x="345459" y="165308"/>
                    <a:pt x="326011" y="188851"/>
                    <a:pt x="318846" y="216488"/>
                  </a:cubicBezTo>
                  <a:close/>
                  <a:moveTo>
                    <a:pt x="445258" y="152514"/>
                  </a:moveTo>
                  <a:cubicBezTo>
                    <a:pt x="442699" y="165308"/>
                    <a:pt x="431440" y="175032"/>
                    <a:pt x="418133" y="175032"/>
                  </a:cubicBezTo>
                  <a:cubicBezTo>
                    <a:pt x="404315" y="175032"/>
                    <a:pt x="393055" y="165308"/>
                    <a:pt x="391008" y="152514"/>
                  </a:cubicBezTo>
                  <a:cubicBezTo>
                    <a:pt x="391008" y="152002"/>
                    <a:pt x="390496" y="150978"/>
                    <a:pt x="390496" y="150466"/>
                  </a:cubicBezTo>
                  <a:cubicBezTo>
                    <a:pt x="392544" y="149955"/>
                    <a:pt x="394079" y="149443"/>
                    <a:pt x="396126" y="148931"/>
                  </a:cubicBezTo>
                  <a:cubicBezTo>
                    <a:pt x="396126" y="148931"/>
                    <a:pt x="396126" y="148931"/>
                    <a:pt x="396126" y="148931"/>
                  </a:cubicBezTo>
                  <a:cubicBezTo>
                    <a:pt x="402268" y="147907"/>
                    <a:pt x="408409" y="146884"/>
                    <a:pt x="415063" y="146884"/>
                  </a:cubicBezTo>
                  <a:lnTo>
                    <a:pt x="420692" y="146884"/>
                  </a:lnTo>
                  <a:cubicBezTo>
                    <a:pt x="427345" y="146884"/>
                    <a:pt x="433487" y="147396"/>
                    <a:pt x="439628" y="148931"/>
                  </a:cubicBezTo>
                  <a:cubicBezTo>
                    <a:pt x="441676" y="149443"/>
                    <a:pt x="443723" y="149955"/>
                    <a:pt x="445770" y="150466"/>
                  </a:cubicBezTo>
                  <a:cubicBezTo>
                    <a:pt x="445770" y="151490"/>
                    <a:pt x="445770" y="152002"/>
                    <a:pt x="445258" y="152514"/>
                  </a:cubicBezTo>
                  <a:close/>
                  <a:moveTo>
                    <a:pt x="418133" y="142278"/>
                  </a:moveTo>
                  <a:lnTo>
                    <a:pt x="418133" y="142278"/>
                  </a:lnTo>
                  <a:cubicBezTo>
                    <a:pt x="398173" y="142278"/>
                    <a:pt x="379749" y="133066"/>
                    <a:pt x="367466" y="117712"/>
                  </a:cubicBezTo>
                  <a:cubicBezTo>
                    <a:pt x="368490" y="115153"/>
                    <a:pt x="369513" y="112594"/>
                    <a:pt x="370537" y="110035"/>
                  </a:cubicBezTo>
                  <a:cubicBezTo>
                    <a:pt x="370537" y="109523"/>
                    <a:pt x="371048" y="108499"/>
                    <a:pt x="371048" y="107988"/>
                  </a:cubicBezTo>
                  <a:cubicBezTo>
                    <a:pt x="371048" y="106964"/>
                    <a:pt x="371560" y="106452"/>
                    <a:pt x="371560" y="105429"/>
                  </a:cubicBezTo>
                  <a:cubicBezTo>
                    <a:pt x="371560" y="105429"/>
                    <a:pt x="371560" y="104917"/>
                    <a:pt x="371560" y="104917"/>
                  </a:cubicBezTo>
                  <a:cubicBezTo>
                    <a:pt x="372072" y="103382"/>
                    <a:pt x="372072" y="102358"/>
                    <a:pt x="372072" y="101335"/>
                  </a:cubicBezTo>
                  <a:cubicBezTo>
                    <a:pt x="372072" y="101335"/>
                    <a:pt x="372072" y="100823"/>
                    <a:pt x="372072" y="100823"/>
                  </a:cubicBezTo>
                  <a:cubicBezTo>
                    <a:pt x="372072" y="99799"/>
                    <a:pt x="372584" y="99287"/>
                    <a:pt x="372584" y="98264"/>
                  </a:cubicBezTo>
                  <a:cubicBezTo>
                    <a:pt x="372584" y="97240"/>
                    <a:pt x="372584" y="96728"/>
                    <a:pt x="373096" y="95705"/>
                  </a:cubicBezTo>
                  <a:cubicBezTo>
                    <a:pt x="373096" y="94169"/>
                    <a:pt x="373096" y="93146"/>
                    <a:pt x="373607" y="91610"/>
                  </a:cubicBezTo>
                  <a:cubicBezTo>
                    <a:pt x="374119" y="90075"/>
                    <a:pt x="373607" y="89051"/>
                    <a:pt x="373607" y="87516"/>
                  </a:cubicBezTo>
                  <a:cubicBezTo>
                    <a:pt x="373607" y="85981"/>
                    <a:pt x="373607" y="84446"/>
                    <a:pt x="373607" y="82910"/>
                  </a:cubicBezTo>
                  <a:cubicBezTo>
                    <a:pt x="373607" y="81375"/>
                    <a:pt x="373607" y="79328"/>
                    <a:pt x="373096" y="77792"/>
                  </a:cubicBezTo>
                  <a:cubicBezTo>
                    <a:pt x="373096" y="76257"/>
                    <a:pt x="372584" y="74210"/>
                    <a:pt x="372072" y="72674"/>
                  </a:cubicBezTo>
                  <a:lnTo>
                    <a:pt x="391008" y="72674"/>
                  </a:lnTo>
                  <a:cubicBezTo>
                    <a:pt x="392032" y="72674"/>
                    <a:pt x="392544" y="72674"/>
                    <a:pt x="393567" y="72162"/>
                  </a:cubicBezTo>
                  <a:cubicBezTo>
                    <a:pt x="394591" y="72162"/>
                    <a:pt x="395103" y="72162"/>
                    <a:pt x="396126" y="71651"/>
                  </a:cubicBezTo>
                  <a:cubicBezTo>
                    <a:pt x="397150" y="71651"/>
                    <a:pt x="398173" y="71139"/>
                    <a:pt x="398685" y="71139"/>
                  </a:cubicBezTo>
                  <a:cubicBezTo>
                    <a:pt x="399197" y="71139"/>
                    <a:pt x="399709" y="71139"/>
                    <a:pt x="399709" y="70627"/>
                  </a:cubicBezTo>
                  <a:cubicBezTo>
                    <a:pt x="401756" y="70115"/>
                    <a:pt x="403803" y="69603"/>
                    <a:pt x="405850" y="69092"/>
                  </a:cubicBezTo>
                  <a:cubicBezTo>
                    <a:pt x="408409" y="68068"/>
                    <a:pt x="410968" y="67045"/>
                    <a:pt x="413527" y="66021"/>
                  </a:cubicBezTo>
                  <a:cubicBezTo>
                    <a:pt x="415063" y="64997"/>
                    <a:pt x="416598" y="64486"/>
                    <a:pt x="418133" y="63462"/>
                  </a:cubicBezTo>
                  <a:cubicBezTo>
                    <a:pt x="418645" y="63462"/>
                    <a:pt x="419157" y="62950"/>
                    <a:pt x="419669" y="62438"/>
                  </a:cubicBezTo>
                  <a:cubicBezTo>
                    <a:pt x="419669" y="62438"/>
                    <a:pt x="419669" y="62438"/>
                    <a:pt x="419669" y="62438"/>
                  </a:cubicBezTo>
                  <a:cubicBezTo>
                    <a:pt x="421716" y="60903"/>
                    <a:pt x="423763" y="59879"/>
                    <a:pt x="425810" y="58344"/>
                  </a:cubicBezTo>
                  <a:cubicBezTo>
                    <a:pt x="428881" y="56297"/>
                    <a:pt x="431440" y="53738"/>
                    <a:pt x="433999" y="51179"/>
                  </a:cubicBezTo>
                  <a:lnTo>
                    <a:pt x="433999" y="51179"/>
                  </a:lnTo>
                  <a:cubicBezTo>
                    <a:pt x="434511" y="51179"/>
                    <a:pt x="434511" y="51691"/>
                    <a:pt x="435022" y="51691"/>
                  </a:cubicBezTo>
                  <a:cubicBezTo>
                    <a:pt x="435022" y="52202"/>
                    <a:pt x="435534" y="52202"/>
                    <a:pt x="436046" y="52714"/>
                  </a:cubicBezTo>
                  <a:cubicBezTo>
                    <a:pt x="436558" y="53226"/>
                    <a:pt x="437069" y="53738"/>
                    <a:pt x="437581" y="54250"/>
                  </a:cubicBezTo>
                  <a:cubicBezTo>
                    <a:pt x="438605" y="55273"/>
                    <a:pt x="440140" y="56297"/>
                    <a:pt x="441164" y="57320"/>
                  </a:cubicBezTo>
                  <a:cubicBezTo>
                    <a:pt x="442187" y="58344"/>
                    <a:pt x="443211" y="58856"/>
                    <a:pt x="444235" y="59879"/>
                  </a:cubicBezTo>
                  <a:cubicBezTo>
                    <a:pt x="445258" y="60391"/>
                    <a:pt x="445770" y="61415"/>
                    <a:pt x="446793" y="61927"/>
                  </a:cubicBezTo>
                  <a:cubicBezTo>
                    <a:pt x="447817" y="62438"/>
                    <a:pt x="448329" y="62950"/>
                    <a:pt x="449352" y="63462"/>
                  </a:cubicBezTo>
                  <a:cubicBezTo>
                    <a:pt x="450376" y="63974"/>
                    <a:pt x="450888" y="64486"/>
                    <a:pt x="451911" y="64997"/>
                  </a:cubicBezTo>
                  <a:cubicBezTo>
                    <a:pt x="452423" y="64997"/>
                    <a:pt x="452935" y="65509"/>
                    <a:pt x="453447" y="65509"/>
                  </a:cubicBezTo>
                  <a:cubicBezTo>
                    <a:pt x="454470" y="66021"/>
                    <a:pt x="454982" y="66533"/>
                    <a:pt x="456006" y="67045"/>
                  </a:cubicBezTo>
                  <a:cubicBezTo>
                    <a:pt x="456517" y="67556"/>
                    <a:pt x="457541" y="67556"/>
                    <a:pt x="458053" y="68068"/>
                  </a:cubicBezTo>
                  <a:cubicBezTo>
                    <a:pt x="459076" y="68580"/>
                    <a:pt x="459588" y="68580"/>
                    <a:pt x="460612" y="69092"/>
                  </a:cubicBezTo>
                  <a:cubicBezTo>
                    <a:pt x="462147" y="69603"/>
                    <a:pt x="463683" y="70115"/>
                    <a:pt x="464706" y="70627"/>
                  </a:cubicBezTo>
                  <a:cubicBezTo>
                    <a:pt x="464706" y="71651"/>
                    <a:pt x="464194" y="72674"/>
                    <a:pt x="464194" y="73186"/>
                  </a:cubicBezTo>
                  <a:cubicBezTo>
                    <a:pt x="463683" y="74721"/>
                    <a:pt x="463683" y="76769"/>
                    <a:pt x="463171" y="78304"/>
                  </a:cubicBezTo>
                  <a:cubicBezTo>
                    <a:pt x="463171" y="79839"/>
                    <a:pt x="462659" y="81887"/>
                    <a:pt x="462659" y="83422"/>
                  </a:cubicBezTo>
                  <a:cubicBezTo>
                    <a:pt x="462659" y="84957"/>
                    <a:pt x="462659" y="86493"/>
                    <a:pt x="462659" y="88028"/>
                  </a:cubicBezTo>
                  <a:cubicBezTo>
                    <a:pt x="462659" y="89563"/>
                    <a:pt x="462659" y="90587"/>
                    <a:pt x="462659" y="91610"/>
                  </a:cubicBezTo>
                  <a:cubicBezTo>
                    <a:pt x="462659" y="92122"/>
                    <a:pt x="462659" y="93146"/>
                    <a:pt x="462659" y="93658"/>
                  </a:cubicBezTo>
                  <a:cubicBezTo>
                    <a:pt x="462659" y="94681"/>
                    <a:pt x="462659" y="95193"/>
                    <a:pt x="462659" y="96217"/>
                  </a:cubicBezTo>
                  <a:cubicBezTo>
                    <a:pt x="462659" y="97752"/>
                    <a:pt x="463171" y="98776"/>
                    <a:pt x="463171" y="100311"/>
                  </a:cubicBezTo>
                  <a:cubicBezTo>
                    <a:pt x="463171" y="101846"/>
                    <a:pt x="463683" y="102870"/>
                    <a:pt x="464194" y="104405"/>
                  </a:cubicBezTo>
                  <a:cubicBezTo>
                    <a:pt x="464706" y="105941"/>
                    <a:pt x="464706" y="106964"/>
                    <a:pt x="465218" y="108499"/>
                  </a:cubicBezTo>
                  <a:cubicBezTo>
                    <a:pt x="465730" y="110035"/>
                    <a:pt x="466242" y="111058"/>
                    <a:pt x="466242" y="112594"/>
                  </a:cubicBezTo>
                  <a:cubicBezTo>
                    <a:pt x="466753" y="113617"/>
                    <a:pt x="466753" y="114641"/>
                    <a:pt x="467265" y="115665"/>
                  </a:cubicBezTo>
                  <a:cubicBezTo>
                    <a:pt x="467265" y="116176"/>
                    <a:pt x="467777" y="117200"/>
                    <a:pt x="467777" y="117712"/>
                  </a:cubicBezTo>
                  <a:cubicBezTo>
                    <a:pt x="457029" y="133066"/>
                    <a:pt x="438093" y="142278"/>
                    <a:pt x="418133" y="142278"/>
                  </a:cubicBezTo>
                  <a:close/>
                </a:path>
              </a:pathLst>
            </a:custGeom>
            <a:grpFill/>
            <a:ln w="511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66" name="Freeform: Shape 80">
              <a:extLst>
                <a:ext uri="{FF2B5EF4-FFF2-40B4-BE49-F238E27FC236}">
                  <a16:creationId xmlns:a16="http://schemas.microsoft.com/office/drawing/2014/main" id="{C003CCE0-3817-400F-A6CF-7483BA6CBF2E}"/>
                </a:ext>
              </a:extLst>
            </p:cNvPr>
            <p:cNvSpPr/>
            <p:nvPr/>
          </p:nvSpPr>
          <p:spPr>
            <a:xfrm>
              <a:off x="4802704" y="2998071"/>
              <a:ext cx="56297" cy="61926"/>
            </a:xfrm>
            <a:custGeom>
              <a:avLst/>
              <a:gdLst>
                <a:gd name="connsiteX0" fmla="*/ 52715 w 56297"/>
                <a:gd name="connsiteY0" fmla="*/ 0 h 61926"/>
                <a:gd name="connsiteX1" fmla="*/ 56297 w 56297"/>
                <a:gd name="connsiteY1" fmla="*/ 2047 h 61926"/>
                <a:gd name="connsiteX2" fmla="*/ 56297 w 56297"/>
                <a:gd name="connsiteY2" fmla="*/ 2047 h 61926"/>
                <a:gd name="connsiteX3" fmla="*/ 52715 w 56297"/>
                <a:gd name="connsiteY3" fmla="*/ 0 h 61926"/>
                <a:gd name="connsiteX4" fmla="*/ 32755 w 56297"/>
                <a:gd name="connsiteY4" fmla="*/ 44014 h 61926"/>
                <a:gd name="connsiteX5" fmla="*/ 35314 w 56297"/>
                <a:gd name="connsiteY5" fmla="*/ 41455 h 61926"/>
                <a:gd name="connsiteX6" fmla="*/ 35314 w 56297"/>
                <a:gd name="connsiteY6" fmla="*/ 41455 h 61926"/>
                <a:gd name="connsiteX7" fmla="*/ 32755 w 56297"/>
                <a:gd name="connsiteY7" fmla="*/ 44014 h 61926"/>
                <a:gd name="connsiteX8" fmla="*/ 18936 w 56297"/>
                <a:gd name="connsiteY8" fmla="*/ 54250 h 61926"/>
                <a:gd name="connsiteX9" fmla="*/ 18936 w 56297"/>
                <a:gd name="connsiteY9" fmla="*/ 54250 h 61926"/>
                <a:gd name="connsiteX10" fmla="*/ 20472 w 56297"/>
                <a:gd name="connsiteY10" fmla="*/ 53226 h 61926"/>
                <a:gd name="connsiteX11" fmla="*/ 18936 w 56297"/>
                <a:gd name="connsiteY11" fmla="*/ 54250 h 61926"/>
                <a:gd name="connsiteX12" fmla="*/ 0 w 56297"/>
                <a:gd name="connsiteY12" fmla="*/ 61927 h 61926"/>
                <a:gd name="connsiteX13" fmla="*/ 7165 w 56297"/>
                <a:gd name="connsiteY13" fmla="*/ 59880 h 61926"/>
                <a:gd name="connsiteX14" fmla="*/ 0 w 56297"/>
                <a:gd name="connsiteY14" fmla="*/ 61927 h 61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6297" h="61926">
                  <a:moveTo>
                    <a:pt x="52715" y="0"/>
                  </a:moveTo>
                  <a:cubicBezTo>
                    <a:pt x="53738" y="512"/>
                    <a:pt x="55274" y="1535"/>
                    <a:pt x="56297" y="2047"/>
                  </a:cubicBezTo>
                  <a:lnTo>
                    <a:pt x="56297" y="2047"/>
                  </a:lnTo>
                  <a:lnTo>
                    <a:pt x="52715" y="0"/>
                  </a:lnTo>
                  <a:close/>
                  <a:moveTo>
                    <a:pt x="32755" y="44014"/>
                  </a:moveTo>
                  <a:cubicBezTo>
                    <a:pt x="33778" y="42991"/>
                    <a:pt x="34802" y="42479"/>
                    <a:pt x="35314" y="41455"/>
                  </a:cubicBezTo>
                  <a:lnTo>
                    <a:pt x="35314" y="41455"/>
                  </a:lnTo>
                  <a:cubicBezTo>
                    <a:pt x="34802" y="41967"/>
                    <a:pt x="33778" y="42991"/>
                    <a:pt x="32755" y="44014"/>
                  </a:cubicBezTo>
                  <a:close/>
                  <a:moveTo>
                    <a:pt x="18936" y="54250"/>
                  </a:moveTo>
                  <a:lnTo>
                    <a:pt x="18936" y="54250"/>
                  </a:lnTo>
                  <a:cubicBezTo>
                    <a:pt x="19448" y="54250"/>
                    <a:pt x="19960" y="53738"/>
                    <a:pt x="20472" y="53226"/>
                  </a:cubicBezTo>
                  <a:cubicBezTo>
                    <a:pt x="19960" y="53226"/>
                    <a:pt x="19448" y="53738"/>
                    <a:pt x="18936" y="54250"/>
                  </a:cubicBezTo>
                  <a:close/>
                  <a:moveTo>
                    <a:pt x="0" y="61927"/>
                  </a:moveTo>
                  <a:cubicBezTo>
                    <a:pt x="2559" y="61415"/>
                    <a:pt x="5118" y="60391"/>
                    <a:pt x="7165" y="59880"/>
                  </a:cubicBezTo>
                  <a:cubicBezTo>
                    <a:pt x="4606" y="60391"/>
                    <a:pt x="2559" y="60903"/>
                    <a:pt x="0" y="61927"/>
                  </a:cubicBezTo>
                  <a:close/>
                </a:path>
              </a:pathLst>
            </a:custGeom>
            <a:grpFill/>
            <a:ln w="511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67" name="Freeform: Shape 81">
              <a:extLst>
                <a:ext uri="{FF2B5EF4-FFF2-40B4-BE49-F238E27FC236}">
                  <a16:creationId xmlns:a16="http://schemas.microsoft.com/office/drawing/2014/main" id="{4B29EEB3-0DE3-4196-9872-34E117509B8A}"/>
                </a:ext>
              </a:extLst>
            </p:cNvPr>
            <p:cNvSpPr/>
            <p:nvPr/>
          </p:nvSpPr>
          <p:spPr>
            <a:xfrm>
              <a:off x="4849788" y="2995512"/>
              <a:ext cx="5629" cy="2558"/>
            </a:xfrm>
            <a:custGeom>
              <a:avLst/>
              <a:gdLst>
                <a:gd name="connsiteX0" fmla="*/ 0 w 5629"/>
                <a:gd name="connsiteY0" fmla="*/ 0 h 2558"/>
                <a:gd name="connsiteX1" fmla="*/ 0 w 5629"/>
                <a:gd name="connsiteY1" fmla="*/ 0 h 2558"/>
                <a:gd name="connsiteX2" fmla="*/ 5630 w 5629"/>
                <a:gd name="connsiteY2" fmla="*/ 2559 h 2558"/>
                <a:gd name="connsiteX3" fmla="*/ 0 w 5629"/>
                <a:gd name="connsiteY3" fmla="*/ 0 h 2558"/>
              </a:gdLst>
              <a:ahLst/>
              <a:cxnLst>
                <a:cxn ang="0">
                  <a:pos x="connsiteX0" y="connsiteY0"/>
                </a:cxn>
                <a:cxn ang="0">
                  <a:pos x="connsiteX1" y="connsiteY1"/>
                </a:cxn>
                <a:cxn ang="0">
                  <a:pos x="connsiteX2" y="connsiteY2"/>
                </a:cxn>
                <a:cxn ang="0">
                  <a:pos x="connsiteX3" y="connsiteY3"/>
                </a:cxn>
              </a:cxnLst>
              <a:rect l="l" t="t" r="r" b="b"/>
              <a:pathLst>
                <a:path w="5629" h="2558">
                  <a:moveTo>
                    <a:pt x="0" y="0"/>
                  </a:moveTo>
                  <a:lnTo>
                    <a:pt x="0" y="0"/>
                  </a:lnTo>
                  <a:cubicBezTo>
                    <a:pt x="2047" y="1024"/>
                    <a:pt x="3583" y="2047"/>
                    <a:pt x="5630" y="2559"/>
                  </a:cubicBezTo>
                  <a:lnTo>
                    <a:pt x="0" y="0"/>
                  </a:lnTo>
                  <a:close/>
                </a:path>
              </a:pathLst>
            </a:custGeom>
            <a:grpFill/>
            <a:ln w="511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68" name="Freeform: Shape 82">
              <a:extLst>
                <a:ext uri="{FF2B5EF4-FFF2-40B4-BE49-F238E27FC236}">
                  <a16:creationId xmlns:a16="http://schemas.microsoft.com/office/drawing/2014/main" id="{FA33B40B-2498-4D2E-912E-4DADA24C37A9}"/>
                </a:ext>
              </a:extLst>
            </p:cNvPr>
            <p:cNvSpPr/>
            <p:nvPr/>
          </p:nvSpPr>
          <p:spPr>
            <a:xfrm>
              <a:off x="4979271" y="3096847"/>
              <a:ext cx="1023" cy="511"/>
            </a:xfrm>
            <a:custGeom>
              <a:avLst/>
              <a:gdLst>
                <a:gd name="connsiteX0" fmla="*/ 1024 w 1023"/>
                <a:gd name="connsiteY0" fmla="*/ 0 h 511"/>
                <a:gd name="connsiteX1" fmla="*/ 0 w 1023"/>
                <a:gd name="connsiteY1" fmla="*/ 512 h 511"/>
                <a:gd name="connsiteX2" fmla="*/ 0 w 1023"/>
                <a:gd name="connsiteY2" fmla="*/ 512 h 511"/>
                <a:gd name="connsiteX3" fmla="*/ 1024 w 1023"/>
                <a:gd name="connsiteY3" fmla="*/ 0 h 511"/>
              </a:gdLst>
              <a:ahLst/>
              <a:cxnLst>
                <a:cxn ang="0">
                  <a:pos x="connsiteX0" y="connsiteY0"/>
                </a:cxn>
                <a:cxn ang="0">
                  <a:pos x="connsiteX1" y="connsiteY1"/>
                </a:cxn>
                <a:cxn ang="0">
                  <a:pos x="connsiteX2" y="connsiteY2"/>
                </a:cxn>
                <a:cxn ang="0">
                  <a:pos x="connsiteX3" y="connsiteY3"/>
                </a:cxn>
              </a:cxnLst>
              <a:rect l="l" t="t" r="r" b="b"/>
              <a:pathLst>
                <a:path w="1023" h="511">
                  <a:moveTo>
                    <a:pt x="1024" y="0"/>
                  </a:moveTo>
                  <a:cubicBezTo>
                    <a:pt x="512" y="0"/>
                    <a:pt x="0" y="512"/>
                    <a:pt x="0" y="512"/>
                  </a:cubicBezTo>
                  <a:lnTo>
                    <a:pt x="0" y="512"/>
                  </a:lnTo>
                  <a:cubicBezTo>
                    <a:pt x="0" y="512"/>
                    <a:pt x="512" y="0"/>
                    <a:pt x="1024" y="0"/>
                  </a:cubicBezTo>
                  <a:close/>
                </a:path>
              </a:pathLst>
            </a:custGeom>
            <a:grpFill/>
            <a:ln w="511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69" name="Freeform: Shape 83">
              <a:extLst>
                <a:ext uri="{FF2B5EF4-FFF2-40B4-BE49-F238E27FC236}">
                  <a16:creationId xmlns:a16="http://schemas.microsoft.com/office/drawing/2014/main" id="{D75CBE2A-78E3-4475-B10C-417849E44941}"/>
                </a:ext>
              </a:extLst>
            </p:cNvPr>
            <p:cNvSpPr/>
            <p:nvPr/>
          </p:nvSpPr>
          <p:spPr>
            <a:xfrm>
              <a:off x="4974154" y="3097359"/>
              <a:ext cx="5117" cy="2558"/>
            </a:xfrm>
            <a:custGeom>
              <a:avLst/>
              <a:gdLst>
                <a:gd name="connsiteX0" fmla="*/ 5118 w 5117"/>
                <a:gd name="connsiteY0" fmla="*/ 0 h 2558"/>
                <a:gd name="connsiteX1" fmla="*/ 5118 w 5117"/>
                <a:gd name="connsiteY1" fmla="*/ 0 h 2558"/>
                <a:gd name="connsiteX2" fmla="*/ 0 w 5117"/>
                <a:gd name="connsiteY2" fmla="*/ 2559 h 2558"/>
                <a:gd name="connsiteX3" fmla="*/ 5118 w 5117"/>
                <a:gd name="connsiteY3" fmla="*/ 0 h 2558"/>
              </a:gdLst>
              <a:ahLst/>
              <a:cxnLst>
                <a:cxn ang="0">
                  <a:pos x="connsiteX0" y="connsiteY0"/>
                </a:cxn>
                <a:cxn ang="0">
                  <a:pos x="connsiteX1" y="connsiteY1"/>
                </a:cxn>
                <a:cxn ang="0">
                  <a:pos x="connsiteX2" y="connsiteY2"/>
                </a:cxn>
                <a:cxn ang="0">
                  <a:pos x="connsiteX3" y="connsiteY3"/>
                </a:cxn>
              </a:cxnLst>
              <a:rect l="l" t="t" r="r" b="b"/>
              <a:pathLst>
                <a:path w="5117" h="2558">
                  <a:moveTo>
                    <a:pt x="5118" y="0"/>
                  </a:moveTo>
                  <a:lnTo>
                    <a:pt x="5118" y="0"/>
                  </a:lnTo>
                  <a:cubicBezTo>
                    <a:pt x="3583" y="1024"/>
                    <a:pt x="1535" y="2047"/>
                    <a:pt x="0" y="2559"/>
                  </a:cubicBezTo>
                  <a:cubicBezTo>
                    <a:pt x="1535" y="2047"/>
                    <a:pt x="3071" y="1024"/>
                    <a:pt x="5118" y="0"/>
                  </a:cubicBezTo>
                  <a:close/>
                </a:path>
              </a:pathLst>
            </a:custGeom>
            <a:grpFill/>
            <a:ln w="511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70" name="Freeform: Shape 84">
              <a:extLst>
                <a:ext uri="{FF2B5EF4-FFF2-40B4-BE49-F238E27FC236}">
                  <a16:creationId xmlns:a16="http://schemas.microsoft.com/office/drawing/2014/main" id="{296FF0A6-3800-4338-B3AD-3E180AC6BE9E}"/>
                </a:ext>
              </a:extLst>
            </p:cNvPr>
            <p:cNvSpPr/>
            <p:nvPr/>
          </p:nvSpPr>
          <p:spPr>
            <a:xfrm>
              <a:off x="4906597" y="3162868"/>
              <a:ext cx="1535" cy="2558"/>
            </a:xfrm>
            <a:custGeom>
              <a:avLst/>
              <a:gdLst>
                <a:gd name="connsiteX0" fmla="*/ 0 w 1535"/>
                <a:gd name="connsiteY0" fmla="*/ 0 h 2558"/>
                <a:gd name="connsiteX1" fmla="*/ 0 w 1535"/>
                <a:gd name="connsiteY1" fmla="*/ 0 h 2558"/>
                <a:gd name="connsiteX2" fmla="*/ 1535 w 1535"/>
                <a:gd name="connsiteY2" fmla="*/ 2559 h 2558"/>
                <a:gd name="connsiteX3" fmla="*/ 0 w 1535"/>
                <a:gd name="connsiteY3" fmla="*/ 0 h 2558"/>
              </a:gdLst>
              <a:ahLst/>
              <a:cxnLst>
                <a:cxn ang="0">
                  <a:pos x="connsiteX0" y="connsiteY0"/>
                </a:cxn>
                <a:cxn ang="0">
                  <a:pos x="connsiteX1" y="connsiteY1"/>
                </a:cxn>
                <a:cxn ang="0">
                  <a:pos x="connsiteX2" y="connsiteY2"/>
                </a:cxn>
                <a:cxn ang="0">
                  <a:pos x="connsiteX3" y="connsiteY3"/>
                </a:cxn>
              </a:cxnLst>
              <a:rect l="l" t="t" r="r" b="b"/>
              <a:pathLst>
                <a:path w="1535" h="2558">
                  <a:moveTo>
                    <a:pt x="0" y="0"/>
                  </a:moveTo>
                  <a:lnTo>
                    <a:pt x="0" y="0"/>
                  </a:lnTo>
                  <a:lnTo>
                    <a:pt x="1535" y="2559"/>
                  </a:lnTo>
                  <a:cubicBezTo>
                    <a:pt x="1023" y="1535"/>
                    <a:pt x="512" y="1024"/>
                    <a:pt x="0" y="0"/>
                  </a:cubicBezTo>
                  <a:close/>
                </a:path>
              </a:pathLst>
            </a:custGeom>
            <a:grpFill/>
            <a:ln w="511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71" name="Freeform: Shape 85">
              <a:extLst>
                <a:ext uri="{FF2B5EF4-FFF2-40B4-BE49-F238E27FC236}">
                  <a16:creationId xmlns:a16="http://schemas.microsoft.com/office/drawing/2014/main" id="{CD56679D-18A5-4191-9A33-5BC6D3FD3795}"/>
                </a:ext>
              </a:extLst>
            </p:cNvPr>
            <p:cNvSpPr/>
            <p:nvPr/>
          </p:nvSpPr>
          <p:spPr>
            <a:xfrm>
              <a:off x="4908133" y="3036968"/>
              <a:ext cx="113105" cy="135624"/>
            </a:xfrm>
            <a:custGeom>
              <a:avLst/>
              <a:gdLst>
                <a:gd name="connsiteX0" fmla="*/ 0 w 113105"/>
                <a:gd name="connsiteY0" fmla="*/ 128459 h 135624"/>
                <a:gd name="connsiteX1" fmla="*/ 5118 w 113105"/>
                <a:gd name="connsiteY1" fmla="*/ 135625 h 135624"/>
                <a:gd name="connsiteX2" fmla="*/ 5118 w 113105"/>
                <a:gd name="connsiteY2" fmla="*/ 135113 h 135624"/>
                <a:gd name="connsiteX3" fmla="*/ 0 w 113105"/>
                <a:gd name="connsiteY3" fmla="*/ 128459 h 135624"/>
                <a:gd name="connsiteX4" fmla="*/ 71139 w 113105"/>
                <a:gd name="connsiteY4" fmla="*/ 60391 h 135624"/>
                <a:gd name="connsiteX5" fmla="*/ 66021 w 113105"/>
                <a:gd name="connsiteY5" fmla="*/ 62950 h 135624"/>
                <a:gd name="connsiteX6" fmla="*/ 71139 w 113105"/>
                <a:gd name="connsiteY6" fmla="*/ 60391 h 135624"/>
                <a:gd name="connsiteX7" fmla="*/ 72163 w 113105"/>
                <a:gd name="connsiteY7" fmla="*/ 59879 h 135624"/>
                <a:gd name="connsiteX8" fmla="*/ 71139 w 113105"/>
                <a:gd name="connsiteY8" fmla="*/ 60391 h 135624"/>
                <a:gd name="connsiteX9" fmla="*/ 109523 w 113105"/>
                <a:gd name="connsiteY9" fmla="*/ 0 h 135624"/>
                <a:gd name="connsiteX10" fmla="*/ 113106 w 113105"/>
                <a:gd name="connsiteY10" fmla="*/ 2047 h 135624"/>
                <a:gd name="connsiteX11" fmla="*/ 113106 w 113105"/>
                <a:gd name="connsiteY11" fmla="*/ 2047 h 135624"/>
                <a:gd name="connsiteX12" fmla="*/ 109523 w 113105"/>
                <a:gd name="connsiteY12" fmla="*/ 0 h 1356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3105" h="135624">
                  <a:moveTo>
                    <a:pt x="0" y="128459"/>
                  </a:moveTo>
                  <a:lnTo>
                    <a:pt x="5118" y="135625"/>
                  </a:lnTo>
                  <a:lnTo>
                    <a:pt x="5118" y="135113"/>
                  </a:lnTo>
                  <a:cubicBezTo>
                    <a:pt x="3071" y="133066"/>
                    <a:pt x="1535" y="130507"/>
                    <a:pt x="0" y="128459"/>
                  </a:cubicBezTo>
                  <a:close/>
                  <a:moveTo>
                    <a:pt x="71139" y="60391"/>
                  </a:moveTo>
                  <a:cubicBezTo>
                    <a:pt x="69604" y="61415"/>
                    <a:pt x="67556" y="62438"/>
                    <a:pt x="66021" y="62950"/>
                  </a:cubicBezTo>
                  <a:cubicBezTo>
                    <a:pt x="67556" y="62438"/>
                    <a:pt x="69092" y="61415"/>
                    <a:pt x="71139" y="60391"/>
                  </a:cubicBezTo>
                  <a:cubicBezTo>
                    <a:pt x="71651" y="60391"/>
                    <a:pt x="72163" y="59879"/>
                    <a:pt x="72163" y="59879"/>
                  </a:cubicBezTo>
                  <a:cubicBezTo>
                    <a:pt x="71651" y="59879"/>
                    <a:pt x="71139" y="60391"/>
                    <a:pt x="71139" y="60391"/>
                  </a:cubicBezTo>
                  <a:close/>
                  <a:moveTo>
                    <a:pt x="109523" y="0"/>
                  </a:moveTo>
                  <a:cubicBezTo>
                    <a:pt x="110547" y="512"/>
                    <a:pt x="112082" y="1535"/>
                    <a:pt x="113106" y="2047"/>
                  </a:cubicBezTo>
                  <a:lnTo>
                    <a:pt x="113106" y="2047"/>
                  </a:lnTo>
                  <a:lnTo>
                    <a:pt x="109523" y="0"/>
                  </a:lnTo>
                  <a:close/>
                </a:path>
              </a:pathLst>
            </a:custGeom>
            <a:grpFill/>
            <a:ln w="511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72" name="Freeform: Shape 86">
              <a:extLst>
                <a:ext uri="{FF2B5EF4-FFF2-40B4-BE49-F238E27FC236}">
                  <a16:creationId xmlns:a16="http://schemas.microsoft.com/office/drawing/2014/main" id="{3F162281-79A5-42E0-8789-EE2D7CCF3DFA}"/>
                </a:ext>
              </a:extLst>
            </p:cNvPr>
            <p:cNvSpPr/>
            <p:nvPr/>
          </p:nvSpPr>
          <p:spPr>
            <a:xfrm>
              <a:off x="5012026" y="3034409"/>
              <a:ext cx="38384" cy="137159"/>
            </a:xfrm>
            <a:custGeom>
              <a:avLst/>
              <a:gdLst>
                <a:gd name="connsiteX0" fmla="*/ 0 w 38384"/>
                <a:gd name="connsiteY0" fmla="*/ 0 h 137159"/>
                <a:gd name="connsiteX1" fmla="*/ 0 w 38384"/>
                <a:gd name="connsiteY1" fmla="*/ 0 h 137159"/>
                <a:gd name="connsiteX2" fmla="*/ 5630 w 38384"/>
                <a:gd name="connsiteY2" fmla="*/ 2559 h 137159"/>
                <a:gd name="connsiteX3" fmla="*/ 0 w 38384"/>
                <a:gd name="connsiteY3" fmla="*/ 0 h 137159"/>
                <a:gd name="connsiteX4" fmla="*/ 33266 w 38384"/>
                <a:gd name="connsiteY4" fmla="*/ 137160 h 137159"/>
                <a:gd name="connsiteX5" fmla="*/ 33266 w 38384"/>
                <a:gd name="connsiteY5" fmla="*/ 137160 h 137159"/>
                <a:gd name="connsiteX6" fmla="*/ 38384 w 38384"/>
                <a:gd name="connsiteY6" fmla="*/ 130507 h 137159"/>
                <a:gd name="connsiteX7" fmla="*/ 33266 w 38384"/>
                <a:gd name="connsiteY7" fmla="*/ 137160 h 137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384" h="137159">
                  <a:moveTo>
                    <a:pt x="0" y="0"/>
                  </a:moveTo>
                  <a:lnTo>
                    <a:pt x="0" y="0"/>
                  </a:lnTo>
                  <a:cubicBezTo>
                    <a:pt x="2047" y="1023"/>
                    <a:pt x="4094" y="2047"/>
                    <a:pt x="5630" y="2559"/>
                  </a:cubicBezTo>
                  <a:lnTo>
                    <a:pt x="0" y="0"/>
                  </a:lnTo>
                  <a:close/>
                  <a:moveTo>
                    <a:pt x="33266" y="137160"/>
                  </a:moveTo>
                  <a:lnTo>
                    <a:pt x="33266" y="137160"/>
                  </a:lnTo>
                  <a:lnTo>
                    <a:pt x="38384" y="130507"/>
                  </a:lnTo>
                  <a:cubicBezTo>
                    <a:pt x="36849" y="132554"/>
                    <a:pt x="35314" y="135113"/>
                    <a:pt x="33266" y="137160"/>
                  </a:cubicBezTo>
                  <a:close/>
                </a:path>
              </a:pathLst>
            </a:custGeom>
            <a:grpFill/>
            <a:ln w="511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grpSp>
        <p:nvGrpSpPr>
          <p:cNvPr id="73" name="Graphic 1">
            <a:extLst>
              <a:ext uri="{FF2B5EF4-FFF2-40B4-BE49-F238E27FC236}">
                <a16:creationId xmlns:a16="http://schemas.microsoft.com/office/drawing/2014/main" id="{5293B7ED-9A5B-42AC-B7DB-559B97EA8DA7}"/>
              </a:ext>
            </a:extLst>
          </p:cNvPr>
          <p:cNvGrpSpPr/>
          <p:nvPr/>
        </p:nvGrpSpPr>
        <p:grpSpPr>
          <a:xfrm>
            <a:off x="4331606" y="4904507"/>
            <a:ext cx="574198" cy="403628"/>
            <a:chOff x="3542674" y="31731"/>
            <a:chExt cx="522026" cy="366954"/>
          </a:xfrm>
          <a:solidFill>
            <a:schemeClr val="accent1"/>
          </a:solidFill>
        </p:grpSpPr>
        <p:sp>
          <p:nvSpPr>
            <p:cNvPr id="74" name="Freeform: Shape 88">
              <a:extLst>
                <a:ext uri="{FF2B5EF4-FFF2-40B4-BE49-F238E27FC236}">
                  <a16:creationId xmlns:a16="http://schemas.microsoft.com/office/drawing/2014/main" id="{7AA2FE47-E54D-4747-A9BF-6F16017B70C7}"/>
                </a:ext>
              </a:extLst>
            </p:cNvPr>
            <p:cNvSpPr/>
            <p:nvPr/>
          </p:nvSpPr>
          <p:spPr>
            <a:xfrm>
              <a:off x="3542674" y="388449"/>
              <a:ext cx="522026" cy="10235"/>
            </a:xfrm>
            <a:custGeom>
              <a:avLst/>
              <a:gdLst>
                <a:gd name="connsiteX0" fmla="*/ 516909 w 522026"/>
                <a:gd name="connsiteY0" fmla="*/ 10236 h 10235"/>
                <a:gd name="connsiteX1" fmla="*/ 5118 w 522026"/>
                <a:gd name="connsiteY1" fmla="*/ 10236 h 10235"/>
                <a:gd name="connsiteX2" fmla="*/ 0 w 522026"/>
                <a:gd name="connsiteY2" fmla="*/ 5118 h 10235"/>
                <a:gd name="connsiteX3" fmla="*/ 5118 w 522026"/>
                <a:gd name="connsiteY3" fmla="*/ 0 h 10235"/>
                <a:gd name="connsiteX4" fmla="*/ 516909 w 522026"/>
                <a:gd name="connsiteY4" fmla="*/ 0 h 10235"/>
                <a:gd name="connsiteX5" fmla="*/ 522027 w 522026"/>
                <a:gd name="connsiteY5" fmla="*/ 5118 h 10235"/>
                <a:gd name="connsiteX6" fmla="*/ 516909 w 522026"/>
                <a:gd name="connsiteY6" fmla="*/ 10236 h 102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22026" h="10235">
                  <a:moveTo>
                    <a:pt x="516909" y="10236"/>
                  </a:moveTo>
                  <a:lnTo>
                    <a:pt x="5118" y="10236"/>
                  </a:lnTo>
                  <a:cubicBezTo>
                    <a:pt x="2047" y="10236"/>
                    <a:pt x="0" y="8189"/>
                    <a:pt x="0" y="5118"/>
                  </a:cubicBezTo>
                  <a:cubicBezTo>
                    <a:pt x="0" y="2047"/>
                    <a:pt x="2047" y="0"/>
                    <a:pt x="5118" y="0"/>
                  </a:cubicBezTo>
                  <a:lnTo>
                    <a:pt x="516909" y="0"/>
                  </a:lnTo>
                  <a:cubicBezTo>
                    <a:pt x="519980" y="0"/>
                    <a:pt x="522027" y="2047"/>
                    <a:pt x="522027" y="5118"/>
                  </a:cubicBezTo>
                  <a:cubicBezTo>
                    <a:pt x="522027" y="8189"/>
                    <a:pt x="519468" y="10236"/>
                    <a:pt x="516909" y="10236"/>
                  </a:cubicBezTo>
                  <a:close/>
                </a:path>
              </a:pathLst>
            </a:custGeom>
            <a:grpFill/>
            <a:ln w="511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nvGrpSpPr>
            <p:cNvPr id="75" name="Graphic 1">
              <a:extLst>
                <a:ext uri="{FF2B5EF4-FFF2-40B4-BE49-F238E27FC236}">
                  <a16:creationId xmlns:a16="http://schemas.microsoft.com/office/drawing/2014/main" id="{FE66A5AC-06A3-40AE-83AE-51FC03047ED1}"/>
                </a:ext>
              </a:extLst>
            </p:cNvPr>
            <p:cNvGrpSpPr/>
            <p:nvPr/>
          </p:nvGrpSpPr>
          <p:grpSpPr>
            <a:xfrm>
              <a:off x="3568776" y="79327"/>
              <a:ext cx="468866" cy="270225"/>
              <a:chOff x="3568776" y="79327"/>
              <a:chExt cx="468866" cy="270225"/>
            </a:xfrm>
            <a:grpFill/>
          </p:grpSpPr>
          <p:sp>
            <p:nvSpPr>
              <p:cNvPr id="77" name="Freeform: Shape 91">
                <a:extLst>
                  <a:ext uri="{FF2B5EF4-FFF2-40B4-BE49-F238E27FC236}">
                    <a16:creationId xmlns:a16="http://schemas.microsoft.com/office/drawing/2014/main" id="{E088BE49-D925-49B4-9D53-6CA4ECBEA6F3}"/>
                  </a:ext>
                </a:extLst>
              </p:cNvPr>
              <p:cNvSpPr/>
              <p:nvPr/>
            </p:nvSpPr>
            <p:spPr>
              <a:xfrm>
                <a:off x="3568776" y="275343"/>
                <a:ext cx="85023" cy="74209"/>
              </a:xfrm>
              <a:custGeom>
                <a:avLst/>
                <a:gdLst>
                  <a:gd name="connsiteX0" fmla="*/ 80351 w 85023"/>
                  <a:gd name="connsiteY0" fmla="*/ 0 h 74209"/>
                  <a:gd name="connsiteX1" fmla="*/ 5118 w 85023"/>
                  <a:gd name="connsiteY1" fmla="*/ 0 h 74209"/>
                  <a:gd name="connsiteX2" fmla="*/ 0 w 85023"/>
                  <a:gd name="connsiteY2" fmla="*/ 5118 h 74209"/>
                  <a:gd name="connsiteX3" fmla="*/ 0 w 85023"/>
                  <a:gd name="connsiteY3" fmla="*/ 69092 h 74209"/>
                  <a:gd name="connsiteX4" fmla="*/ 5118 w 85023"/>
                  <a:gd name="connsiteY4" fmla="*/ 74210 h 74209"/>
                  <a:gd name="connsiteX5" fmla="*/ 79839 w 85023"/>
                  <a:gd name="connsiteY5" fmla="*/ 74210 h 74209"/>
                  <a:gd name="connsiteX6" fmla="*/ 84957 w 85023"/>
                  <a:gd name="connsiteY6" fmla="*/ 69092 h 74209"/>
                  <a:gd name="connsiteX7" fmla="*/ 84957 w 85023"/>
                  <a:gd name="connsiteY7" fmla="*/ 5118 h 74209"/>
                  <a:gd name="connsiteX8" fmla="*/ 80351 w 85023"/>
                  <a:gd name="connsiteY8" fmla="*/ 0 h 742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5023" h="74209">
                    <a:moveTo>
                      <a:pt x="80351" y="0"/>
                    </a:moveTo>
                    <a:lnTo>
                      <a:pt x="5118" y="0"/>
                    </a:lnTo>
                    <a:cubicBezTo>
                      <a:pt x="2047" y="0"/>
                      <a:pt x="0" y="2047"/>
                      <a:pt x="0" y="5118"/>
                    </a:cubicBezTo>
                    <a:lnTo>
                      <a:pt x="0" y="69092"/>
                    </a:lnTo>
                    <a:cubicBezTo>
                      <a:pt x="0" y="72163"/>
                      <a:pt x="2047" y="74210"/>
                      <a:pt x="5118" y="74210"/>
                    </a:cubicBezTo>
                    <a:lnTo>
                      <a:pt x="79839" y="74210"/>
                    </a:lnTo>
                    <a:cubicBezTo>
                      <a:pt x="82910" y="74210"/>
                      <a:pt x="84957" y="72163"/>
                      <a:pt x="84957" y="69092"/>
                    </a:cubicBezTo>
                    <a:lnTo>
                      <a:pt x="84957" y="5118"/>
                    </a:lnTo>
                    <a:cubicBezTo>
                      <a:pt x="85469" y="2047"/>
                      <a:pt x="82910" y="0"/>
                      <a:pt x="80351" y="0"/>
                    </a:cubicBezTo>
                    <a:close/>
                  </a:path>
                </a:pathLst>
              </a:custGeom>
              <a:grpFill/>
              <a:ln w="511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78" name="Freeform: Shape 92">
                <a:extLst>
                  <a:ext uri="{FF2B5EF4-FFF2-40B4-BE49-F238E27FC236}">
                    <a16:creationId xmlns:a16="http://schemas.microsoft.com/office/drawing/2014/main" id="{E0B8B37C-0193-4AE1-9D47-C8438B40691A}"/>
                  </a:ext>
                </a:extLst>
              </p:cNvPr>
              <p:cNvSpPr/>
              <p:nvPr/>
            </p:nvSpPr>
            <p:spPr>
              <a:xfrm>
                <a:off x="3696723" y="209834"/>
                <a:ext cx="85023" cy="138183"/>
              </a:xfrm>
              <a:custGeom>
                <a:avLst/>
                <a:gdLst>
                  <a:gd name="connsiteX0" fmla="*/ 80351 w 85023"/>
                  <a:gd name="connsiteY0" fmla="*/ 0 h 138183"/>
                  <a:gd name="connsiteX1" fmla="*/ 5118 w 85023"/>
                  <a:gd name="connsiteY1" fmla="*/ 0 h 138183"/>
                  <a:gd name="connsiteX2" fmla="*/ 0 w 85023"/>
                  <a:gd name="connsiteY2" fmla="*/ 5118 h 138183"/>
                  <a:gd name="connsiteX3" fmla="*/ 0 w 85023"/>
                  <a:gd name="connsiteY3" fmla="*/ 133066 h 138183"/>
                  <a:gd name="connsiteX4" fmla="*/ 5118 w 85023"/>
                  <a:gd name="connsiteY4" fmla="*/ 138184 h 138183"/>
                  <a:gd name="connsiteX5" fmla="*/ 79839 w 85023"/>
                  <a:gd name="connsiteY5" fmla="*/ 138184 h 138183"/>
                  <a:gd name="connsiteX6" fmla="*/ 84957 w 85023"/>
                  <a:gd name="connsiteY6" fmla="*/ 133066 h 138183"/>
                  <a:gd name="connsiteX7" fmla="*/ 84957 w 85023"/>
                  <a:gd name="connsiteY7" fmla="*/ 5118 h 138183"/>
                  <a:gd name="connsiteX8" fmla="*/ 80351 w 85023"/>
                  <a:gd name="connsiteY8" fmla="*/ 0 h 1381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5023" h="138183">
                    <a:moveTo>
                      <a:pt x="80351" y="0"/>
                    </a:moveTo>
                    <a:lnTo>
                      <a:pt x="5118" y="0"/>
                    </a:lnTo>
                    <a:cubicBezTo>
                      <a:pt x="2047" y="0"/>
                      <a:pt x="0" y="2047"/>
                      <a:pt x="0" y="5118"/>
                    </a:cubicBezTo>
                    <a:lnTo>
                      <a:pt x="0" y="133066"/>
                    </a:lnTo>
                    <a:cubicBezTo>
                      <a:pt x="0" y="136136"/>
                      <a:pt x="2047" y="138184"/>
                      <a:pt x="5118" y="138184"/>
                    </a:cubicBezTo>
                    <a:lnTo>
                      <a:pt x="79839" y="138184"/>
                    </a:lnTo>
                    <a:cubicBezTo>
                      <a:pt x="82910" y="138184"/>
                      <a:pt x="84957" y="136136"/>
                      <a:pt x="84957" y="133066"/>
                    </a:cubicBezTo>
                    <a:lnTo>
                      <a:pt x="84957" y="5118"/>
                    </a:lnTo>
                    <a:cubicBezTo>
                      <a:pt x="85469" y="2559"/>
                      <a:pt x="82910" y="0"/>
                      <a:pt x="80351" y="0"/>
                    </a:cubicBezTo>
                    <a:close/>
                  </a:path>
                </a:pathLst>
              </a:custGeom>
              <a:grpFill/>
              <a:ln w="511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79" name="Freeform: Shape 93">
                <a:extLst>
                  <a:ext uri="{FF2B5EF4-FFF2-40B4-BE49-F238E27FC236}">
                    <a16:creationId xmlns:a16="http://schemas.microsoft.com/office/drawing/2014/main" id="{9BAEBD16-EDCB-45B9-BF50-3D077C7158D8}"/>
                  </a:ext>
                </a:extLst>
              </p:cNvPr>
              <p:cNvSpPr/>
              <p:nvPr/>
            </p:nvSpPr>
            <p:spPr>
              <a:xfrm>
                <a:off x="3824671" y="144836"/>
                <a:ext cx="85023" cy="202157"/>
              </a:xfrm>
              <a:custGeom>
                <a:avLst/>
                <a:gdLst>
                  <a:gd name="connsiteX0" fmla="*/ 80351 w 85023"/>
                  <a:gd name="connsiteY0" fmla="*/ 0 h 202157"/>
                  <a:gd name="connsiteX1" fmla="*/ 5118 w 85023"/>
                  <a:gd name="connsiteY1" fmla="*/ 0 h 202157"/>
                  <a:gd name="connsiteX2" fmla="*/ 0 w 85023"/>
                  <a:gd name="connsiteY2" fmla="*/ 5118 h 202157"/>
                  <a:gd name="connsiteX3" fmla="*/ 0 w 85023"/>
                  <a:gd name="connsiteY3" fmla="*/ 197040 h 202157"/>
                  <a:gd name="connsiteX4" fmla="*/ 5118 w 85023"/>
                  <a:gd name="connsiteY4" fmla="*/ 202157 h 202157"/>
                  <a:gd name="connsiteX5" fmla="*/ 79839 w 85023"/>
                  <a:gd name="connsiteY5" fmla="*/ 202157 h 202157"/>
                  <a:gd name="connsiteX6" fmla="*/ 84957 w 85023"/>
                  <a:gd name="connsiteY6" fmla="*/ 197040 h 202157"/>
                  <a:gd name="connsiteX7" fmla="*/ 84957 w 85023"/>
                  <a:gd name="connsiteY7" fmla="*/ 5118 h 202157"/>
                  <a:gd name="connsiteX8" fmla="*/ 80351 w 85023"/>
                  <a:gd name="connsiteY8" fmla="*/ 0 h 2021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5023" h="202157">
                    <a:moveTo>
                      <a:pt x="80351" y="0"/>
                    </a:moveTo>
                    <a:lnTo>
                      <a:pt x="5118" y="0"/>
                    </a:lnTo>
                    <a:cubicBezTo>
                      <a:pt x="2047" y="0"/>
                      <a:pt x="0" y="2047"/>
                      <a:pt x="0" y="5118"/>
                    </a:cubicBezTo>
                    <a:lnTo>
                      <a:pt x="0" y="197040"/>
                    </a:lnTo>
                    <a:cubicBezTo>
                      <a:pt x="0" y="200110"/>
                      <a:pt x="2047" y="202157"/>
                      <a:pt x="5118" y="202157"/>
                    </a:cubicBezTo>
                    <a:lnTo>
                      <a:pt x="79839" y="202157"/>
                    </a:lnTo>
                    <a:cubicBezTo>
                      <a:pt x="82910" y="202157"/>
                      <a:pt x="84957" y="200110"/>
                      <a:pt x="84957" y="197040"/>
                    </a:cubicBezTo>
                    <a:lnTo>
                      <a:pt x="84957" y="5118"/>
                    </a:lnTo>
                    <a:cubicBezTo>
                      <a:pt x="85469" y="2047"/>
                      <a:pt x="82910" y="0"/>
                      <a:pt x="80351" y="0"/>
                    </a:cubicBezTo>
                    <a:close/>
                  </a:path>
                </a:pathLst>
              </a:custGeom>
              <a:grpFill/>
              <a:ln w="511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80" name="Freeform: Shape 94">
                <a:extLst>
                  <a:ext uri="{FF2B5EF4-FFF2-40B4-BE49-F238E27FC236}">
                    <a16:creationId xmlns:a16="http://schemas.microsoft.com/office/drawing/2014/main" id="{C66D2F43-717B-40CD-B9D4-F2EAB119B862}"/>
                  </a:ext>
                </a:extLst>
              </p:cNvPr>
              <p:cNvSpPr/>
              <p:nvPr/>
            </p:nvSpPr>
            <p:spPr>
              <a:xfrm>
                <a:off x="3952619" y="79327"/>
                <a:ext cx="85023" cy="266131"/>
              </a:xfrm>
              <a:custGeom>
                <a:avLst/>
                <a:gdLst>
                  <a:gd name="connsiteX0" fmla="*/ 80351 w 85023"/>
                  <a:gd name="connsiteY0" fmla="*/ 0 h 266131"/>
                  <a:gd name="connsiteX1" fmla="*/ 5118 w 85023"/>
                  <a:gd name="connsiteY1" fmla="*/ 0 h 266131"/>
                  <a:gd name="connsiteX2" fmla="*/ 0 w 85023"/>
                  <a:gd name="connsiteY2" fmla="*/ 5118 h 266131"/>
                  <a:gd name="connsiteX3" fmla="*/ 0 w 85023"/>
                  <a:gd name="connsiteY3" fmla="*/ 261013 h 266131"/>
                  <a:gd name="connsiteX4" fmla="*/ 5118 w 85023"/>
                  <a:gd name="connsiteY4" fmla="*/ 266131 h 266131"/>
                  <a:gd name="connsiteX5" fmla="*/ 79839 w 85023"/>
                  <a:gd name="connsiteY5" fmla="*/ 266131 h 266131"/>
                  <a:gd name="connsiteX6" fmla="*/ 84957 w 85023"/>
                  <a:gd name="connsiteY6" fmla="*/ 261013 h 266131"/>
                  <a:gd name="connsiteX7" fmla="*/ 84957 w 85023"/>
                  <a:gd name="connsiteY7" fmla="*/ 5118 h 266131"/>
                  <a:gd name="connsiteX8" fmla="*/ 80351 w 85023"/>
                  <a:gd name="connsiteY8" fmla="*/ 0 h 2661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5023" h="266131">
                    <a:moveTo>
                      <a:pt x="80351" y="0"/>
                    </a:moveTo>
                    <a:lnTo>
                      <a:pt x="5118" y="0"/>
                    </a:lnTo>
                    <a:cubicBezTo>
                      <a:pt x="2047" y="0"/>
                      <a:pt x="0" y="2047"/>
                      <a:pt x="0" y="5118"/>
                    </a:cubicBezTo>
                    <a:lnTo>
                      <a:pt x="0" y="261013"/>
                    </a:lnTo>
                    <a:cubicBezTo>
                      <a:pt x="0" y="264084"/>
                      <a:pt x="2047" y="266131"/>
                      <a:pt x="5118" y="266131"/>
                    </a:cubicBezTo>
                    <a:lnTo>
                      <a:pt x="79839" y="266131"/>
                    </a:lnTo>
                    <a:cubicBezTo>
                      <a:pt x="82910" y="266131"/>
                      <a:pt x="84957" y="264084"/>
                      <a:pt x="84957" y="261013"/>
                    </a:cubicBezTo>
                    <a:lnTo>
                      <a:pt x="84957" y="5118"/>
                    </a:lnTo>
                    <a:cubicBezTo>
                      <a:pt x="85469" y="2559"/>
                      <a:pt x="82910" y="0"/>
                      <a:pt x="80351" y="0"/>
                    </a:cubicBezTo>
                    <a:close/>
                  </a:path>
                </a:pathLst>
              </a:custGeom>
              <a:grpFill/>
              <a:ln w="511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sp>
          <p:nvSpPr>
            <p:cNvPr id="76" name="Freeform: Shape 90">
              <a:extLst>
                <a:ext uri="{FF2B5EF4-FFF2-40B4-BE49-F238E27FC236}">
                  <a16:creationId xmlns:a16="http://schemas.microsoft.com/office/drawing/2014/main" id="{6BC85380-AD16-4160-B48F-A9280D31827C}"/>
                </a:ext>
              </a:extLst>
            </p:cNvPr>
            <p:cNvSpPr/>
            <p:nvPr/>
          </p:nvSpPr>
          <p:spPr>
            <a:xfrm>
              <a:off x="3614590" y="31731"/>
              <a:ext cx="317045" cy="188339"/>
            </a:xfrm>
            <a:custGeom>
              <a:avLst/>
              <a:gdLst>
                <a:gd name="connsiteX0" fmla="*/ 317046 w 317045"/>
                <a:gd name="connsiteY0" fmla="*/ 0 h 188339"/>
                <a:gd name="connsiteX1" fmla="*/ 240277 w 317045"/>
                <a:gd name="connsiteY1" fmla="*/ 512 h 188339"/>
                <a:gd name="connsiteX2" fmla="*/ 255631 w 317045"/>
                <a:gd name="connsiteY2" fmla="*/ 27125 h 188339"/>
                <a:gd name="connsiteX3" fmla="*/ 3830 w 317045"/>
                <a:gd name="connsiteY3" fmla="*/ 174009 h 188339"/>
                <a:gd name="connsiteX4" fmla="*/ 1271 w 317045"/>
                <a:gd name="connsiteY4" fmla="*/ 184757 h 188339"/>
                <a:gd name="connsiteX5" fmla="*/ 7924 w 317045"/>
                <a:gd name="connsiteY5" fmla="*/ 188339 h 188339"/>
                <a:gd name="connsiteX6" fmla="*/ 12018 w 317045"/>
                <a:gd name="connsiteY6" fmla="*/ 187316 h 188339"/>
                <a:gd name="connsiteX7" fmla="*/ 263308 w 317045"/>
                <a:gd name="connsiteY7" fmla="*/ 39920 h 188339"/>
                <a:gd name="connsiteX8" fmla="*/ 278661 w 317045"/>
                <a:gd name="connsiteY8" fmla="*/ 66533 h 188339"/>
                <a:gd name="connsiteX9" fmla="*/ 317046 w 317045"/>
                <a:gd name="connsiteY9" fmla="*/ 0 h 1883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7045" h="188339">
                  <a:moveTo>
                    <a:pt x="317046" y="0"/>
                  </a:moveTo>
                  <a:lnTo>
                    <a:pt x="240277" y="512"/>
                  </a:lnTo>
                  <a:lnTo>
                    <a:pt x="255631" y="27125"/>
                  </a:lnTo>
                  <a:lnTo>
                    <a:pt x="3830" y="174009"/>
                  </a:lnTo>
                  <a:cubicBezTo>
                    <a:pt x="247" y="176056"/>
                    <a:pt x="-1288" y="180662"/>
                    <a:pt x="1271" y="184757"/>
                  </a:cubicBezTo>
                  <a:cubicBezTo>
                    <a:pt x="2806" y="187316"/>
                    <a:pt x="5365" y="188339"/>
                    <a:pt x="7924" y="188339"/>
                  </a:cubicBezTo>
                  <a:cubicBezTo>
                    <a:pt x="9459" y="188339"/>
                    <a:pt x="10483" y="187827"/>
                    <a:pt x="12018" y="187316"/>
                  </a:cubicBezTo>
                  <a:lnTo>
                    <a:pt x="263308" y="39920"/>
                  </a:lnTo>
                  <a:lnTo>
                    <a:pt x="278661" y="66533"/>
                  </a:lnTo>
                  <a:lnTo>
                    <a:pt x="317046" y="0"/>
                  </a:lnTo>
                  <a:close/>
                </a:path>
              </a:pathLst>
            </a:custGeom>
            <a:grpFill/>
            <a:ln w="511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grpSp>
        <p:nvGrpSpPr>
          <p:cNvPr id="81" name="Graphic 1">
            <a:extLst>
              <a:ext uri="{FF2B5EF4-FFF2-40B4-BE49-F238E27FC236}">
                <a16:creationId xmlns:a16="http://schemas.microsoft.com/office/drawing/2014/main" id="{89612E64-639B-41C0-8C37-6CB818C05D39}"/>
              </a:ext>
            </a:extLst>
          </p:cNvPr>
          <p:cNvGrpSpPr/>
          <p:nvPr/>
        </p:nvGrpSpPr>
        <p:grpSpPr>
          <a:xfrm>
            <a:off x="3497835" y="3748858"/>
            <a:ext cx="476808" cy="349022"/>
            <a:chOff x="3586688" y="640250"/>
            <a:chExt cx="433486" cy="317310"/>
          </a:xfrm>
          <a:solidFill>
            <a:schemeClr val="accent2"/>
          </a:solidFill>
        </p:grpSpPr>
        <p:sp>
          <p:nvSpPr>
            <p:cNvPr id="82" name="Freeform: Shape 96">
              <a:extLst>
                <a:ext uri="{FF2B5EF4-FFF2-40B4-BE49-F238E27FC236}">
                  <a16:creationId xmlns:a16="http://schemas.microsoft.com/office/drawing/2014/main" id="{E3BB710B-467C-4451-AB3F-D2B311F02936}"/>
                </a:ext>
              </a:extLst>
            </p:cNvPr>
            <p:cNvSpPr/>
            <p:nvPr/>
          </p:nvSpPr>
          <p:spPr>
            <a:xfrm>
              <a:off x="3617396" y="640250"/>
              <a:ext cx="372072" cy="266131"/>
            </a:xfrm>
            <a:custGeom>
              <a:avLst/>
              <a:gdLst>
                <a:gd name="connsiteX0" fmla="*/ 356718 w 372072"/>
                <a:gd name="connsiteY0" fmla="*/ 0 h 266131"/>
                <a:gd name="connsiteX1" fmla="*/ 15354 w 372072"/>
                <a:gd name="connsiteY1" fmla="*/ 0 h 266131"/>
                <a:gd name="connsiteX2" fmla="*/ 0 w 372072"/>
                <a:gd name="connsiteY2" fmla="*/ 15354 h 266131"/>
                <a:gd name="connsiteX3" fmla="*/ 0 w 372072"/>
                <a:gd name="connsiteY3" fmla="*/ 266131 h 266131"/>
                <a:gd name="connsiteX4" fmla="*/ 372072 w 372072"/>
                <a:gd name="connsiteY4" fmla="*/ 266131 h 266131"/>
                <a:gd name="connsiteX5" fmla="*/ 372072 w 372072"/>
                <a:gd name="connsiteY5" fmla="*/ 15354 h 266131"/>
                <a:gd name="connsiteX6" fmla="*/ 356718 w 372072"/>
                <a:gd name="connsiteY6" fmla="*/ 0 h 266131"/>
                <a:gd name="connsiteX7" fmla="*/ 344435 w 372072"/>
                <a:gd name="connsiteY7" fmla="*/ 231330 h 266131"/>
                <a:gd name="connsiteX8" fmla="*/ 329082 w 372072"/>
                <a:gd name="connsiteY8" fmla="*/ 246683 h 266131"/>
                <a:gd name="connsiteX9" fmla="*/ 42479 w 372072"/>
                <a:gd name="connsiteY9" fmla="*/ 246683 h 266131"/>
                <a:gd name="connsiteX10" fmla="*/ 27125 w 372072"/>
                <a:gd name="connsiteY10" fmla="*/ 231330 h 266131"/>
                <a:gd name="connsiteX11" fmla="*/ 27125 w 372072"/>
                <a:gd name="connsiteY11" fmla="*/ 34802 h 266131"/>
                <a:gd name="connsiteX12" fmla="*/ 42479 w 372072"/>
                <a:gd name="connsiteY12" fmla="*/ 19448 h 266131"/>
                <a:gd name="connsiteX13" fmla="*/ 329082 w 372072"/>
                <a:gd name="connsiteY13" fmla="*/ 19448 h 266131"/>
                <a:gd name="connsiteX14" fmla="*/ 344435 w 372072"/>
                <a:gd name="connsiteY14" fmla="*/ 34802 h 266131"/>
                <a:gd name="connsiteX15" fmla="*/ 344435 w 372072"/>
                <a:gd name="connsiteY15" fmla="*/ 231330 h 2661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72072" h="266131">
                  <a:moveTo>
                    <a:pt x="356718" y="0"/>
                  </a:moveTo>
                  <a:lnTo>
                    <a:pt x="15354" y="0"/>
                  </a:lnTo>
                  <a:cubicBezTo>
                    <a:pt x="6653" y="0"/>
                    <a:pt x="0" y="6653"/>
                    <a:pt x="0" y="15354"/>
                  </a:cubicBezTo>
                  <a:lnTo>
                    <a:pt x="0" y="266131"/>
                  </a:lnTo>
                  <a:lnTo>
                    <a:pt x="372072" y="266131"/>
                  </a:lnTo>
                  <a:lnTo>
                    <a:pt x="372072" y="15354"/>
                  </a:lnTo>
                  <a:cubicBezTo>
                    <a:pt x="372072" y="6653"/>
                    <a:pt x="365419" y="0"/>
                    <a:pt x="356718" y="0"/>
                  </a:cubicBezTo>
                  <a:close/>
                  <a:moveTo>
                    <a:pt x="344435" y="231330"/>
                  </a:moveTo>
                  <a:cubicBezTo>
                    <a:pt x="344435" y="240030"/>
                    <a:pt x="337782" y="246683"/>
                    <a:pt x="329082" y="246683"/>
                  </a:cubicBezTo>
                  <a:lnTo>
                    <a:pt x="42479" y="246683"/>
                  </a:lnTo>
                  <a:cubicBezTo>
                    <a:pt x="33778" y="246683"/>
                    <a:pt x="27125" y="240030"/>
                    <a:pt x="27125" y="231330"/>
                  </a:cubicBezTo>
                  <a:lnTo>
                    <a:pt x="27125" y="34802"/>
                  </a:lnTo>
                  <a:cubicBezTo>
                    <a:pt x="27125" y="26101"/>
                    <a:pt x="33778" y="19448"/>
                    <a:pt x="42479" y="19448"/>
                  </a:cubicBezTo>
                  <a:lnTo>
                    <a:pt x="329082" y="19448"/>
                  </a:lnTo>
                  <a:cubicBezTo>
                    <a:pt x="337782" y="19448"/>
                    <a:pt x="344435" y="26101"/>
                    <a:pt x="344435" y="34802"/>
                  </a:cubicBezTo>
                  <a:lnTo>
                    <a:pt x="344435" y="231330"/>
                  </a:lnTo>
                  <a:close/>
                </a:path>
              </a:pathLst>
            </a:custGeom>
            <a:grpFill/>
            <a:ln w="511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83" name="Freeform: Shape 97">
              <a:extLst>
                <a:ext uri="{FF2B5EF4-FFF2-40B4-BE49-F238E27FC236}">
                  <a16:creationId xmlns:a16="http://schemas.microsoft.com/office/drawing/2014/main" id="{2AD189B1-6329-4A06-84AD-087D0E4CE2DB}"/>
                </a:ext>
              </a:extLst>
            </p:cNvPr>
            <p:cNvSpPr/>
            <p:nvPr/>
          </p:nvSpPr>
          <p:spPr>
            <a:xfrm>
              <a:off x="3586688" y="920712"/>
              <a:ext cx="433486" cy="36849"/>
            </a:xfrm>
            <a:custGeom>
              <a:avLst/>
              <a:gdLst>
                <a:gd name="connsiteX0" fmla="*/ 418133 w 433486"/>
                <a:gd name="connsiteY0" fmla="*/ 0 h 36849"/>
                <a:gd name="connsiteX1" fmla="*/ 15354 w 433486"/>
                <a:gd name="connsiteY1" fmla="*/ 0 h 36849"/>
                <a:gd name="connsiteX2" fmla="*/ 0 w 433486"/>
                <a:gd name="connsiteY2" fmla="*/ 15354 h 36849"/>
                <a:gd name="connsiteX3" fmla="*/ 0 w 433486"/>
                <a:gd name="connsiteY3" fmla="*/ 21495 h 36849"/>
                <a:gd name="connsiteX4" fmla="*/ 15354 w 433486"/>
                <a:gd name="connsiteY4" fmla="*/ 36849 h 36849"/>
                <a:gd name="connsiteX5" fmla="*/ 418133 w 433486"/>
                <a:gd name="connsiteY5" fmla="*/ 36849 h 36849"/>
                <a:gd name="connsiteX6" fmla="*/ 433487 w 433486"/>
                <a:gd name="connsiteY6" fmla="*/ 21495 h 36849"/>
                <a:gd name="connsiteX7" fmla="*/ 433487 w 433486"/>
                <a:gd name="connsiteY7" fmla="*/ 15354 h 36849"/>
                <a:gd name="connsiteX8" fmla="*/ 418133 w 433486"/>
                <a:gd name="connsiteY8" fmla="*/ 0 h 36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486" h="36849">
                  <a:moveTo>
                    <a:pt x="418133" y="0"/>
                  </a:moveTo>
                  <a:lnTo>
                    <a:pt x="15354" y="0"/>
                  </a:lnTo>
                  <a:cubicBezTo>
                    <a:pt x="6653" y="0"/>
                    <a:pt x="0" y="6653"/>
                    <a:pt x="0" y="15354"/>
                  </a:cubicBezTo>
                  <a:lnTo>
                    <a:pt x="0" y="21495"/>
                  </a:lnTo>
                  <a:cubicBezTo>
                    <a:pt x="0" y="30196"/>
                    <a:pt x="6653" y="36849"/>
                    <a:pt x="15354" y="36849"/>
                  </a:cubicBezTo>
                  <a:lnTo>
                    <a:pt x="418133" y="36849"/>
                  </a:lnTo>
                  <a:cubicBezTo>
                    <a:pt x="426834" y="36849"/>
                    <a:pt x="433487" y="30196"/>
                    <a:pt x="433487" y="21495"/>
                  </a:cubicBezTo>
                  <a:lnTo>
                    <a:pt x="433487" y="15354"/>
                  </a:lnTo>
                  <a:cubicBezTo>
                    <a:pt x="433487" y="7165"/>
                    <a:pt x="426834" y="0"/>
                    <a:pt x="418133" y="0"/>
                  </a:cubicBezTo>
                  <a:close/>
                </a:path>
              </a:pathLst>
            </a:custGeom>
            <a:grpFill/>
            <a:ln w="511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84" name="Freeform: Shape 98">
              <a:extLst>
                <a:ext uri="{FF2B5EF4-FFF2-40B4-BE49-F238E27FC236}">
                  <a16:creationId xmlns:a16="http://schemas.microsoft.com/office/drawing/2014/main" id="{DED0E3F9-D410-43CE-B111-BFA44128FE05}"/>
                </a:ext>
              </a:extLst>
            </p:cNvPr>
            <p:cNvSpPr/>
            <p:nvPr/>
          </p:nvSpPr>
          <p:spPr>
            <a:xfrm>
              <a:off x="3673181" y="860832"/>
              <a:ext cx="260501" cy="5117"/>
            </a:xfrm>
            <a:custGeom>
              <a:avLst/>
              <a:gdLst>
                <a:gd name="connsiteX0" fmla="*/ 257943 w 260501"/>
                <a:gd name="connsiteY0" fmla="*/ 5118 h 5117"/>
                <a:gd name="connsiteX1" fmla="*/ 2559 w 260501"/>
                <a:gd name="connsiteY1" fmla="*/ 5118 h 5117"/>
                <a:gd name="connsiteX2" fmla="*/ 0 w 260501"/>
                <a:gd name="connsiteY2" fmla="*/ 2559 h 5117"/>
                <a:gd name="connsiteX3" fmla="*/ 2559 w 260501"/>
                <a:gd name="connsiteY3" fmla="*/ 0 h 5117"/>
                <a:gd name="connsiteX4" fmla="*/ 257943 w 260501"/>
                <a:gd name="connsiteY4" fmla="*/ 0 h 5117"/>
                <a:gd name="connsiteX5" fmla="*/ 260502 w 260501"/>
                <a:gd name="connsiteY5" fmla="*/ 2559 h 5117"/>
                <a:gd name="connsiteX6" fmla="*/ 257943 w 260501"/>
                <a:gd name="connsiteY6" fmla="*/ 5118 h 51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0501" h="5117">
                  <a:moveTo>
                    <a:pt x="257943" y="5118"/>
                  </a:moveTo>
                  <a:lnTo>
                    <a:pt x="2559" y="5118"/>
                  </a:lnTo>
                  <a:cubicBezTo>
                    <a:pt x="1024" y="5118"/>
                    <a:pt x="0" y="4094"/>
                    <a:pt x="0" y="2559"/>
                  </a:cubicBezTo>
                  <a:cubicBezTo>
                    <a:pt x="0" y="1024"/>
                    <a:pt x="1024" y="0"/>
                    <a:pt x="2559" y="0"/>
                  </a:cubicBezTo>
                  <a:lnTo>
                    <a:pt x="257943" y="0"/>
                  </a:lnTo>
                  <a:cubicBezTo>
                    <a:pt x="259478" y="0"/>
                    <a:pt x="260502" y="1024"/>
                    <a:pt x="260502" y="2559"/>
                  </a:cubicBezTo>
                  <a:cubicBezTo>
                    <a:pt x="260502" y="4094"/>
                    <a:pt x="259478" y="5118"/>
                    <a:pt x="257943" y="5118"/>
                  </a:cubicBezTo>
                  <a:close/>
                </a:path>
              </a:pathLst>
            </a:custGeom>
            <a:grpFill/>
            <a:ln w="511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nvGrpSpPr>
            <p:cNvPr id="85" name="Graphic 1">
              <a:extLst>
                <a:ext uri="{FF2B5EF4-FFF2-40B4-BE49-F238E27FC236}">
                  <a16:creationId xmlns:a16="http://schemas.microsoft.com/office/drawing/2014/main" id="{E945F88F-9954-4292-91B5-B1DE9ED297CC}"/>
                </a:ext>
              </a:extLst>
            </p:cNvPr>
            <p:cNvGrpSpPr/>
            <p:nvPr/>
          </p:nvGrpSpPr>
          <p:grpSpPr>
            <a:xfrm>
              <a:off x="3686487" y="680170"/>
              <a:ext cx="233888" cy="161726"/>
              <a:chOff x="3686487" y="680170"/>
              <a:chExt cx="233888" cy="161726"/>
            </a:xfrm>
            <a:grpFill/>
          </p:grpSpPr>
          <p:sp>
            <p:nvSpPr>
              <p:cNvPr id="86" name="Freeform: Shape 100">
                <a:extLst>
                  <a:ext uri="{FF2B5EF4-FFF2-40B4-BE49-F238E27FC236}">
                    <a16:creationId xmlns:a16="http://schemas.microsoft.com/office/drawing/2014/main" id="{3B113848-F3F4-4FD3-A982-236BF195E953}"/>
                  </a:ext>
                </a:extLst>
              </p:cNvPr>
              <p:cNvSpPr/>
              <p:nvPr/>
            </p:nvSpPr>
            <p:spPr>
              <a:xfrm>
                <a:off x="3686487" y="805047"/>
                <a:ext cx="42478" cy="36848"/>
              </a:xfrm>
              <a:custGeom>
                <a:avLst/>
                <a:gdLst>
                  <a:gd name="connsiteX0" fmla="*/ 39920 w 42478"/>
                  <a:gd name="connsiteY0" fmla="*/ 0 h 36848"/>
                  <a:gd name="connsiteX1" fmla="*/ 2559 w 42478"/>
                  <a:gd name="connsiteY1" fmla="*/ 0 h 36848"/>
                  <a:gd name="connsiteX2" fmla="*/ 0 w 42478"/>
                  <a:gd name="connsiteY2" fmla="*/ 2559 h 36848"/>
                  <a:gd name="connsiteX3" fmla="*/ 0 w 42478"/>
                  <a:gd name="connsiteY3" fmla="*/ 34290 h 36848"/>
                  <a:gd name="connsiteX4" fmla="*/ 2559 w 42478"/>
                  <a:gd name="connsiteY4" fmla="*/ 36849 h 36848"/>
                  <a:gd name="connsiteX5" fmla="*/ 39920 w 42478"/>
                  <a:gd name="connsiteY5" fmla="*/ 36849 h 36848"/>
                  <a:gd name="connsiteX6" fmla="*/ 42479 w 42478"/>
                  <a:gd name="connsiteY6" fmla="*/ 34290 h 36848"/>
                  <a:gd name="connsiteX7" fmla="*/ 42479 w 42478"/>
                  <a:gd name="connsiteY7" fmla="*/ 2559 h 36848"/>
                  <a:gd name="connsiteX8" fmla="*/ 39920 w 42478"/>
                  <a:gd name="connsiteY8" fmla="*/ 0 h 36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478" h="36848">
                    <a:moveTo>
                      <a:pt x="39920" y="0"/>
                    </a:moveTo>
                    <a:lnTo>
                      <a:pt x="2559" y="0"/>
                    </a:lnTo>
                    <a:cubicBezTo>
                      <a:pt x="1024" y="0"/>
                      <a:pt x="0" y="1024"/>
                      <a:pt x="0" y="2559"/>
                    </a:cubicBezTo>
                    <a:lnTo>
                      <a:pt x="0" y="34290"/>
                    </a:lnTo>
                    <a:cubicBezTo>
                      <a:pt x="0" y="35825"/>
                      <a:pt x="1024" y="36849"/>
                      <a:pt x="2559" y="36849"/>
                    </a:cubicBezTo>
                    <a:lnTo>
                      <a:pt x="39920" y="36849"/>
                    </a:lnTo>
                    <a:cubicBezTo>
                      <a:pt x="41455" y="36849"/>
                      <a:pt x="42479" y="35825"/>
                      <a:pt x="42479" y="34290"/>
                    </a:cubicBezTo>
                    <a:lnTo>
                      <a:pt x="42479" y="2559"/>
                    </a:lnTo>
                    <a:cubicBezTo>
                      <a:pt x="42479" y="1024"/>
                      <a:pt x="41455" y="0"/>
                      <a:pt x="39920" y="0"/>
                    </a:cubicBezTo>
                    <a:close/>
                  </a:path>
                </a:pathLst>
              </a:custGeom>
              <a:grpFill/>
              <a:ln w="511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87" name="Freeform: Shape 101">
                <a:extLst>
                  <a:ext uri="{FF2B5EF4-FFF2-40B4-BE49-F238E27FC236}">
                    <a16:creationId xmlns:a16="http://schemas.microsoft.com/office/drawing/2014/main" id="{885FB464-E605-4EA2-BC78-3C1F4267E580}"/>
                  </a:ext>
                </a:extLst>
              </p:cNvPr>
              <p:cNvSpPr/>
              <p:nvPr/>
            </p:nvSpPr>
            <p:spPr>
              <a:xfrm>
                <a:off x="3877897" y="680170"/>
                <a:ext cx="42478" cy="161214"/>
              </a:xfrm>
              <a:custGeom>
                <a:avLst/>
                <a:gdLst>
                  <a:gd name="connsiteX0" fmla="*/ 39920 w 42478"/>
                  <a:gd name="connsiteY0" fmla="*/ 0 h 161214"/>
                  <a:gd name="connsiteX1" fmla="*/ 2559 w 42478"/>
                  <a:gd name="connsiteY1" fmla="*/ 0 h 161214"/>
                  <a:gd name="connsiteX2" fmla="*/ 0 w 42478"/>
                  <a:gd name="connsiteY2" fmla="*/ 2559 h 161214"/>
                  <a:gd name="connsiteX3" fmla="*/ 0 w 42478"/>
                  <a:gd name="connsiteY3" fmla="*/ 158655 h 161214"/>
                  <a:gd name="connsiteX4" fmla="*/ 2559 w 42478"/>
                  <a:gd name="connsiteY4" fmla="*/ 161214 h 161214"/>
                  <a:gd name="connsiteX5" fmla="*/ 39920 w 42478"/>
                  <a:gd name="connsiteY5" fmla="*/ 161214 h 161214"/>
                  <a:gd name="connsiteX6" fmla="*/ 42479 w 42478"/>
                  <a:gd name="connsiteY6" fmla="*/ 158655 h 161214"/>
                  <a:gd name="connsiteX7" fmla="*/ 42479 w 42478"/>
                  <a:gd name="connsiteY7" fmla="*/ 2559 h 161214"/>
                  <a:gd name="connsiteX8" fmla="*/ 39920 w 42478"/>
                  <a:gd name="connsiteY8" fmla="*/ 0 h 161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478" h="161214">
                    <a:moveTo>
                      <a:pt x="39920" y="0"/>
                    </a:moveTo>
                    <a:lnTo>
                      <a:pt x="2559" y="0"/>
                    </a:lnTo>
                    <a:cubicBezTo>
                      <a:pt x="1024" y="0"/>
                      <a:pt x="0" y="1024"/>
                      <a:pt x="0" y="2559"/>
                    </a:cubicBezTo>
                    <a:lnTo>
                      <a:pt x="0" y="158655"/>
                    </a:lnTo>
                    <a:cubicBezTo>
                      <a:pt x="0" y="160191"/>
                      <a:pt x="1024" y="161214"/>
                      <a:pt x="2559" y="161214"/>
                    </a:cubicBezTo>
                    <a:lnTo>
                      <a:pt x="39920" y="161214"/>
                    </a:lnTo>
                    <a:cubicBezTo>
                      <a:pt x="41455" y="161214"/>
                      <a:pt x="42479" y="160191"/>
                      <a:pt x="42479" y="158655"/>
                    </a:cubicBezTo>
                    <a:lnTo>
                      <a:pt x="42479" y="2559"/>
                    </a:lnTo>
                    <a:cubicBezTo>
                      <a:pt x="42479" y="1535"/>
                      <a:pt x="41455" y="0"/>
                      <a:pt x="39920" y="0"/>
                    </a:cubicBezTo>
                    <a:close/>
                  </a:path>
                </a:pathLst>
              </a:custGeom>
              <a:grpFill/>
              <a:ln w="511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88" name="Freeform: Shape 102">
                <a:extLst>
                  <a:ext uri="{FF2B5EF4-FFF2-40B4-BE49-F238E27FC236}">
                    <a16:creationId xmlns:a16="http://schemas.microsoft.com/office/drawing/2014/main" id="{C4ED2A28-1295-43CB-B730-01A752EB7392}"/>
                  </a:ext>
                </a:extLst>
              </p:cNvPr>
              <p:cNvSpPr/>
              <p:nvPr/>
            </p:nvSpPr>
            <p:spPr>
              <a:xfrm>
                <a:off x="3813923" y="738514"/>
                <a:ext cx="42478" cy="100822"/>
              </a:xfrm>
              <a:custGeom>
                <a:avLst/>
                <a:gdLst>
                  <a:gd name="connsiteX0" fmla="*/ 39920 w 42478"/>
                  <a:gd name="connsiteY0" fmla="*/ 0 h 100822"/>
                  <a:gd name="connsiteX1" fmla="*/ 2559 w 42478"/>
                  <a:gd name="connsiteY1" fmla="*/ 0 h 100822"/>
                  <a:gd name="connsiteX2" fmla="*/ 0 w 42478"/>
                  <a:gd name="connsiteY2" fmla="*/ 2559 h 100822"/>
                  <a:gd name="connsiteX3" fmla="*/ 0 w 42478"/>
                  <a:gd name="connsiteY3" fmla="*/ 98264 h 100822"/>
                  <a:gd name="connsiteX4" fmla="*/ 2559 w 42478"/>
                  <a:gd name="connsiteY4" fmla="*/ 100823 h 100822"/>
                  <a:gd name="connsiteX5" fmla="*/ 39920 w 42478"/>
                  <a:gd name="connsiteY5" fmla="*/ 100823 h 100822"/>
                  <a:gd name="connsiteX6" fmla="*/ 42479 w 42478"/>
                  <a:gd name="connsiteY6" fmla="*/ 98264 h 100822"/>
                  <a:gd name="connsiteX7" fmla="*/ 42479 w 42478"/>
                  <a:gd name="connsiteY7" fmla="*/ 2559 h 100822"/>
                  <a:gd name="connsiteX8" fmla="*/ 39920 w 42478"/>
                  <a:gd name="connsiteY8" fmla="*/ 0 h 100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478" h="100822">
                    <a:moveTo>
                      <a:pt x="39920" y="0"/>
                    </a:moveTo>
                    <a:lnTo>
                      <a:pt x="2559" y="0"/>
                    </a:lnTo>
                    <a:cubicBezTo>
                      <a:pt x="1024" y="0"/>
                      <a:pt x="0" y="1024"/>
                      <a:pt x="0" y="2559"/>
                    </a:cubicBezTo>
                    <a:lnTo>
                      <a:pt x="0" y="98264"/>
                    </a:lnTo>
                    <a:cubicBezTo>
                      <a:pt x="0" y="99799"/>
                      <a:pt x="1024" y="100823"/>
                      <a:pt x="2559" y="100823"/>
                    </a:cubicBezTo>
                    <a:lnTo>
                      <a:pt x="39920" y="100823"/>
                    </a:lnTo>
                    <a:cubicBezTo>
                      <a:pt x="41455" y="100823"/>
                      <a:pt x="42479" y="99799"/>
                      <a:pt x="42479" y="98264"/>
                    </a:cubicBezTo>
                    <a:lnTo>
                      <a:pt x="42479" y="2559"/>
                    </a:lnTo>
                    <a:cubicBezTo>
                      <a:pt x="42479" y="1024"/>
                      <a:pt x="41455" y="0"/>
                      <a:pt x="39920" y="0"/>
                    </a:cubicBezTo>
                    <a:close/>
                  </a:path>
                </a:pathLst>
              </a:custGeom>
              <a:grpFill/>
              <a:ln w="511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89" name="Freeform: Shape 103">
                <a:extLst>
                  <a:ext uri="{FF2B5EF4-FFF2-40B4-BE49-F238E27FC236}">
                    <a16:creationId xmlns:a16="http://schemas.microsoft.com/office/drawing/2014/main" id="{887644D0-0109-490E-90B7-98126C9AC9B0}"/>
                  </a:ext>
                </a:extLst>
              </p:cNvPr>
              <p:cNvSpPr/>
              <p:nvPr/>
            </p:nvSpPr>
            <p:spPr>
              <a:xfrm>
                <a:off x="3750461" y="706783"/>
                <a:ext cx="42478" cy="133065"/>
              </a:xfrm>
              <a:custGeom>
                <a:avLst/>
                <a:gdLst>
                  <a:gd name="connsiteX0" fmla="*/ 39920 w 42478"/>
                  <a:gd name="connsiteY0" fmla="*/ 0 h 133065"/>
                  <a:gd name="connsiteX1" fmla="*/ 2559 w 42478"/>
                  <a:gd name="connsiteY1" fmla="*/ 0 h 133065"/>
                  <a:gd name="connsiteX2" fmla="*/ 0 w 42478"/>
                  <a:gd name="connsiteY2" fmla="*/ 2559 h 133065"/>
                  <a:gd name="connsiteX3" fmla="*/ 0 w 42478"/>
                  <a:gd name="connsiteY3" fmla="*/ 130507 h 133065"/>
                  <a:gd name="connsiteX4" fmla="*/ 2559 w 42478"/>
                  <a:gd name="connsiteY4" fmla="*/ 133066 h 133065"/>
                  <a:gd name="connsiteX5" fmla="*/ 39920 w 42478"/>
                  <a:gd name="connsiteY5" fmla="*/ 133066 h 133065"/>
                  <a:gd name="connsiteX6" fmla="*/ 42479 w 42478"/>
                  <a:gd name="connsiteY6" fmla="*/ 130507 h 133065"/>
                  <a:gd name="connsiteX7" fmla="*/ 42479 w 42478"/>
                  <a:gd name="connsiteY7" fmla="*/ 2559 h 133065"/>
                  <a:gd name="connsiteX8" fmla="*/ 39920 w 42478"/>
                  <a:gd name="connsiteY8" fmla="*/ 0 h 1330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478" h="133065">
                    <a:moveTo>
                      <a:pt x="39920" y="0"/>
                    </a:moveTo>
                    <a:lnTo>
                      <a:pt x="2559" y="0"/>
                    </a:lnTo>
                    <a:cubicBezTo>
                      <a:pt x="1024" y="0"/>
                      <a:pt x="0" y="1024"/>
                      <a:pt x="0" y="2559"/>
                    </a:cubicBezTo>
                    <a:lnTo>
                      <a:pt x="0" y="130507"/>
                    </a:lnTo>
                    <a:cubicBezTo>
                      <a:pt x="0" y="132042"/>
                      <a:pt x="1024" y="133066"/>
                      <a:pt x="2559" y="133066"/>
                    </a:cubicBezTo>
                    <a:lnTo>
                      <a:pt x="39920" y="133066"/>
                    </a:lnTo>
                    <a:cubicBezTo>
                      <a:pt x="41455" y="133066"/>
                      <a:pt x="42479" y="132042"/>
                      <a:pt x="42479" y="130507"/>
                    </a:cubicBezTo>
                    <a:lnTo>
                      <a:pt x="42479" y="2559"/>
                    </a:lnTo>
                    <a:cubicBezTo>
                      <a:pt x="42479" y="1024"/>
                      <a:pt x="41455" y="0"/>
                      <a:pt x="39920" y="0"/>
                    </a:cubicBezTo>
                    <a:close/>
                  </a:path>
                </a:pathLst>
              </a:custGeom>
              <a:grpFill/>
              <a:ln w="511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grpSp>
      <p:grpSp>
        <p:nvGrpSpPr>
          <p:cNvPr id="90" name="Graphic 1">
            <a:extLst>
              <a:ext uri="{FF2B5EF4-FFF2-40B4-BE49-F238E27FC236}">
                <a16:creationId xmlns:a16="http://schemas.microsoft.com/office/drawing/2014/main" id="{E98CF9A4-71C6-4FA9-A74B-070BF33ACD5D}"/>
              </a:ext>
            </a:extLst>
          </p:cNvPr>
          <p:cNvGrpSpPr/>
          <p:nvPr/>
        </p:nvGrpSpPr>
        <p:grpSpPr>
          <a:xfrm>
            <a:off x="4414956" y="2469338"/>
            <a:ext cx="470052" cy="334384"/>
            <a:chOff x="3593342" y="1224204"/>
            <a:chExt cx="427345" cy="304003"/>
          </a:xfrm>
          <a:solidFill>
            <a:schemeClr val="accent3"/>
          </a:solidFill>
        </p:grpSpPr>
        <p:sp>
          <p:nvSpPr>
            <p:cNvPr id="91" name="Freeform: Shape 105">
              <a:extLst>
                <a:ext uri="{FF2B5EF4-FFF2-40B4-BE49-F238E27FC236}">
                  <a16:creationId xmlns:a16="http://schemas.microsoft.com/office/drawing/2014/main" id="{59FFBCEE-ECAE-4C56-A9E0-56ADADA84CDE}"/>
                </a:ext>
              </a:extLst>
            </p:cNvPr>
            <p:cNvSpPr/>
            <p:nvPr/>
          </p:nvSpPr>
          <p:spPr>
            <a:xfrm>
              <a:off x="3593342" y="1224204"/>
              <a:ext cx="150466" cy="149954"/>
            </a:xfrm>
            <a:custGeom>
              <a:avLst/>
              <a:gdLst>
                <a:gd name="connsiteX0" fmla="*/ 150467 w 150466"/>
                <a:gd name="connsiteY0" fmla="*/ 52714 h 149954"/>
                <a:gd name="connsiteX1" fmla="*/ 120271 w 150466"/>
                <a:gd name="connsiteY1" fmla="*/ 22519 h 149954"/>
                <a:gd name="connsiteX2" fmla="*/ 103894 w 150466"/>
                <a:gd name="connsiteY2" fmla="*/ 6141 h 149954"/>
                <a:gd name="connsiteX3" fmla="*/ 74721 w 150466"/>
                <a:gd name="connsiteY3" fmla="*/ 6141 h 149954"/>
                <a:gd name="connsiteX4" fmla="*/ 6141 w 150466"/>
                <a:gd name="connsiteY4" fmla="*/ 74722 h 149954"/>
                <a:gd name="connsiteX5" fmla="*/ 6141 w 150466"/>
                <a:gd name="connsiteY5" fmla="*/ 103894 h 149954"/>
                <a:gd name="connsiteX6" fmla="*/ 22007 w 150466"/>
                <a:gd name="connsiteY6" fmla="*/ 119247 h 149954"/>
                <a:gd name="connsiteX7" fmla="*/ 52714 w 150466"/>
                <a:gd name="connsiteY7" fmla="*/ 149955 h 149954"/>
                <a:gd name="connsiteX8" fmla="*/ 150467 w 150466"/>
                <a:gd name="connsiteY8" fmla="*/ 52714 h 149954"/>
                <a:gd name="connsiteX9" fmla="*/ 52714 w 150466"/>
                <a:gd name="connsiteY9" fmla="*/ 136136 h 149954"/>
                <a:gd name="connsiteX10" fmla="*/ 33266 w 150466"/>
                <a:gd name="connsiteY10" fmla="*/ 116688 h 149954"/>
                <a:gd name="connsiteX11" fmla="*/ 116688 w 150466"/>
                <a:gd name="connsiteY11" fmla="*/ 33266 h 149954"/>
                <a:gd name="connsiteX12" fmla="*/ 136136 w 150466"/>
                <a:gd name="connsiteY12" fmla="*/ 52714 h 149954"/>
                <a:gd name="connsiteX13" fmla="*/ 52714 w 150466"/>
                <a:gd name="connsiteY13" fmla="*/ 136136 h 1499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50466" h="149954">
                  <a:moveTo>
                    <a:pt x="150467" y="52714"/>
                  </a:moveTo>
                  <a:lnTo>
                    <a:pt x="120271" y="22519"/>
                  </a:lnTo>
                  <a:lnTo>
                    <a:pt x="103894" y="6141"/>
                  </a:lnTo>
                  <a:cubicBezTo>
                    <a:pt x="95705" y="-2047"/>
                    <a:pt x="82910" y="-2047"/>
                    <a:pt x="74721" y="6141"/>
                  </a:cubicBezTo>
                  <a:lnTo>
                    <a:pt x="6141" y="74722"/>
                  </a:lnTo>
                  <a:cubicBezTo>
                    <a:pt x="-2047" y="82910"/>
                    <a:pt x="-2047" y="95705"/>
                    <a:pt x="6141" y="103894"/>
                  </a:cubicBezTo>
                  <a:lnTo>
                    <a:pt x="22007" y="119247"/>
                  </a:lnTo>
                  <a:lnTo>
                    <a:pt x="52714" y="149955"/>
                  </a:lnTo>
                  <a:lnTo>
                    <a:pt x="150467" y="52714"/>
                  </a:lnTo>
                  <a:close/>
                  <a:moveTo>
                    <a:pt x="52714" y="136136"/>
                  </a:moveTo>
                  <a:lnTo>
                    <a:pt x="33266" y="116688"/>
                  </a:lnTo>
                  <a:lnTo>
                    <a:pt x="116688" y="33266"/>
                  </a:lnTo>
                  <a:lnTo>
                    <a:pt x="136136" y="52714"/>
                  </a:lnTo>
                  <a:lnTo>
                    <a:pt x="52714" y="136136"/>
                  </a:lnTo>
                  <a:close/>
                </a:path>
              </a:pathLst>
            </a:custGeom>
            <a:grpFill/>
            <a:ln w="511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92" name="Freeform: Shape 106">
              <a:extLst>
                <a:ext uri="{FF2B5EF4-FFF2-40B4-BE49-F238E27FC236}">
                  <a16:creationId xmlns:a16="http://schemas.microsoft.com/office/drawing/2014/main" id="{14723467-C1F9-4F21-8B40-95E0BD5AB14F}"/>
                </a:ext>
              </a:extLst>
            </p:cNvPr>
            <p:cNvSpPr/>
            <p:nvPr/>
          </p:nvSpPr>
          <p:spPr>
            <a:xfrm>
              <a:off x="3646056" y="1262588"/>
              <a:ext cx="237000" cy="265619"/>
            </a:xfrm>
            <a:custGeom>
              <a:avLst/>
              <a:gdLst>
                <a:gd name="connsiteX0" fmla="*/ 150467 w 237000"/>
                <a:gd name="connsiteY0" fmla="*/ 262549 h 265619"/>
                <a:gd name="connsiteX1" fmla="*/ 157632 w 237000"/>
                <a:gd name="connsiteY1" fmla="*/ 265620 h 265619"/>
                <a:gd name="connsiteX2" fmla="*/ 165308 w 237000"/>
                <a:gd name="connsiteY2" fmla="*/ 262549 h 265619"/>
                <a:gd name="connsiteX3" fmla="*/ 233888 w 237000"/>
                <a:gd name="connsiteY3" fmla="*/ 193969 h 265619"/>
                <a:gd name="connsiteX4" fmla="*/ 235936 w 237000"/>
                <a:gd name="connsiteY4" fmla="*/ 191410 h 265619"/>
                <a:gd name="connsiteX5" fmla="*/ 233888 w 237000"/>
                <a:gd name="connsiteY5" fmla="*/ 179639 h 265619"/>
                <a:gd name="connsiteX6" fmla="*/ 157632 w 237000"/>
                <a:gd name="connsiteY6" fmla="*/ 103382 h 265619"/>
                <a:gd name="connsiteX7" fmla="*/ 144837 w 237000"/>
                <a:gd name="connsiteY7" fmla="*/ 115665 h 265619"/>
                <a:gd name="connsiteX8" fmla="*/ 103894 w 237000"/>
                <a:gd name="connsiteY8" fmla="*/ 132554 h 265619"/>
                <a:gd name="connsiteX9" fmla="*/ 103894 w 237000"/>
                <a:gd name="connsiteY9" fmla="*/ 132554 h 265619"/>
                <a:gd name="connsiteX10" fmla="*/ 62950 w 237000"/>
                <a:gd name="connsiteY10" fmla="*/ 115665 h 265619"/>
                <a:gd name="connsiteX11" fmla="*/ 59368 w 237000"/>
                <a:gd name="connsiteY11" fmla="*/ 112082 h 265619"/>
                <a:gd name="connsiteX12" fmla="*/ 150467 w 237000"/>
                <a:gd name="connsiteY12" fmla="*/ 20983 h 265619"/>
                <a:gd name="connsiteX13" fmla="*/ 135625 w 237000"/>
                <a:gd name="connsiteY13" fmla="*/ 6141 h 265619"/>
                <a:gd name="connsiteX14" fmla="*/ 106453 w 237000"/>
                <a:gd name="connsiteY14" fmla="*/ 6141 h 265619"/>
                <a:gd name="connsiteX15" fmla="*/ 0 w 237000"/>
                <a:gd name="connsiteY15" fmla="*/ 112594 h 265619"/>
                <a:gd name="connsiteX16" fmla="*/ 78816 w 237000"/>
                <a:gd name="connsiteY16" fmla="*/ 190898 h 265619"/>
                <a:gd name="connsiteX17" fmla="*/ 150467 w 237000"/>
                <a:gd name="connsiteY17" fmla="*/ 262549 h 2656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37000" h="265619">
                  <a:moveTo>
                    <a:pt x="150467" y="262549"/>
                  </a:moveTo>
                  <a:cubicBezTo>
                    <a:pt x="152514" y="264596"/>
                    <a:pt x="154561" y="265620"/>
                    <a:pt x="157632" y="265620"/>
                  </a:cubicBezTo>
                  <a:cubicBezTo>
                    <a:pt x="160191" y="265620"/>
                    <a:pt x="163261" y="264596"/>
                    <a:pt x="165308" y="262549"/>
                  </a:cubicBezTo>
                  <a:lnTo>
                    <a:pt x="233888" y="193969"/>
                  </a:lnTo>
                  <a:cubicBezTo>
                    <a:pt x="234912" y="192945"/>
                    <a:pt x="235424" y="192433"/>
                    <a:pt x="235936" y="191410"/>
                  </a:cubicBezTo>
                  <a:cubicBezTo>
                    <a:pt x="237983" y="187315"/>
                    <a:pt x="236959" y="182709"/>
                    <a:pt x="233888" y="179639"/>
                  </a:cubicBezTo>
                  <a:lnTo>
                    <a:pt x="157632" y="103382"/>
                  </a:lnTo>
                  <a:lnTo>
                    <a:pt x="144837" y="115665"/>
                  </a:lnTo>
                  <a:cubicBezTo>
                    <a:pt x="134089" y="126412"/>
                    <a:pt x="119247" y="132554"/>
                    <a:pt x="103894" y="132554"/>
                  </a:cubicBezTo>
                  <a:cubicBezTo>
                    <a:pt x="103894" y="132554"/>
                    <a:pt x="103894" y="132554"/>
                    <a:pt x="103894" y="132554"/>
                  </a:cubicBezTo>
                  <a:cubicBezTo>
                    <a:pt x="88540" y="132554"/>
                    <a:pt x="73698" y="126412"/>
                    <a:pt x="62950" y="115665"/>
                  </a:cubicBezTo>
                  <a:lnTo>
                    <a:pt x="59368" y="112082"/>
                  </a:lnTo>
                  <a:lnTo>
                    <a:pt x="150467" y="20983"/>
                  </a:lnTo>
                  <a:lnTo>
                    <a:pt x="135625" y="6141"/>
                  </a:lnTo>
                  <a:cubicBezTo>
                    <a:pt x="127436" y="-2047"/>
                    <a:pt x="114641" y="-2047"/>
                    <a:pt x="106453" y="6141"/>
                  </a:cubicBezTo>
                  <a:lnTo>
                    <a:pt x="0" y="112594"/>
                  </a:lnTo>
                  <a:lnTo>
                    <a:pt x="78816" y="190898"/>
                  </a:lnTo>
                  <a:lnTo>
                    <a:pt x="150467" y="262549"/>
                  </a:lnTo>
                  <a:close/>
                </a:path>
              </a:pathLst>
            </a:custGeom>
            <a:grpFill/>
            <a:ln w="511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93" name="Freeform: Shape 107">
              <a:extLst>
                <a:ext uri="{FF2B5EF4-FFF2-40B4-BE49-F238E27FC236}">
                  <a16:creationId xmlns:a16="http://schemas.microsoft.com/office/drawing/2014/main" id="{F99D3EE6-CAFB-424B-B2A7-106858C98329}"/>
                </a:ext>
              </a:extLst>
            </p:cNvPr>
            <p:cNvSpPr/>
            <p:nvPr/>
          </p:nvSpPr>
          <p:spPr>
            <a:xfrm>
              <a:off x="3686999" y="1271800"/>
              <a:ext cx="26101" cy="26101"/>
            </a:xfrm>
            <a:custGeom>
              <a:avLst/>
              <a:gdLst>
                <a:gd name="connsiteX0" fmla="*/ 5118 w 26101"/>
                <a:gd name="connsiteY0" fmla="*/ 26101 h 26101"/>
                <a:gd name="connsiteX1" fmla="*/ 1535 w 26101"/>
                <a:gd name="connsiteY1" fmla="*/ 24566 h 26101"/>
                <a:gd name="connsiteX2" fmla="*/ 1535 w 26101"/>
                <a:gd name="connsiteY2" fmla="*/ 17401 h 26101"/>
                <a:gd name="connsiteX3" fmla="*/ 17401 w 26101"/>
                <a:gd name="connsiteY3" fmla="*/ 1535 h 26101"/>
                <a:gd name="connsiteX4" fmla="*/ 24566 w 26101"/>
                <a:gd name="connsiteY4" fmla="*/ 1535 h 26101"/>
                <a:gd name="connsiteX5" fmla="*/ 24566 w 26101"/>
                <a:gd name="connsiteY5" fmla="*/ 8700 h 26101"/>
                <a:gd name="connsiteX6" fmla="*/ 8700 w 26101"/>
                <a:gd name="connsiteY6" fmla="*/ 24566 h 26101"/>
                <a:gd name="connsiteX7" fmla="*/ 5118 w 26101"/>
                <a:gd name="connsiteY7" fmla="*/ 26101 h 261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101" h="26101">
                  <a:moveTo>
                    <a:pt x="5118" y="26101"/>
                  </a:moveTo>
                  <a:cubicBezTo>
                    <a:pt x="3583" y="26101"/>
                    <a:pt x="2559" y="25590"/>
                    <a:pt x="1535" y="24566"/>
                  </a:cubicBezTo>
                  <a:cubicBezTo>
                    <a:pt x="-512" y="22519"/>
                    <a:pt x="-512" y="19448"/>
                    <a:pt x="1535" y="17401"/>
                  </a:cubicBezTo>
                  <a:lnTo>
                    <a:pt x="17401" y="1535"/>
                  </a:lnTo>
                  <a:cubicBezTo>
                    <a:pt x="19448" y="-512"/>
                    <a:pt x="22519" y="-512"/>
                    <a:pt x="24566" y="1535"/>
                  </a:cubicBezTo>
                  <a:cubicBezTo>
                    <a:pt x="26613" y="3583"/>
                    <a:pt x="26613" y="6653"/>
                    <a:pt x="24566" y="8700"/>
                  </a:cubicBezTo>
                  <a:lnTo>
                    <a:pt x="8700" y="24566"/>
                  </a:lnTo>
                  <a:cubicBezTo>
                    <a:pt x="7677" y="25590"/>
                    <a:pt x="6141" y="26101"/>
                    <a:pt x="5118" y="26101"/>
                  </a:cubicBezTo>
                  <a:close/>
                </a:path>
              </a:pathLst>
            </a:custGeom>
            <a:grpFill/>
            <a:ln w="511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94" name="Freeform: Shape 108">
              <a:extLst>
                <a:ext uri="{FF2B5EF4-FFF2-40B4-BE49-F238E27FC236}">
                  <a16:creationId xmlns:a16="http://schemas.microsoft.com/office/drawing/2014/main" id="{9E19E1EF-FB49-4FB2-A218-36FCB0657C4D}"/>
                </a:ext>
              </a:extLst>
            </p:cNvPr>
            <p:cNvSpPr/>
            <p:nvPr/>
          </p:nvSpPr>
          <p:spPr>
            <a:xfrm>
              <a:off x="3895810" y="1275383"/>
              <a:ext cx="26101" cy="26101"/>
            </a:xfrm>
            <a:custGeom>
              <a:avLst/>
              <a:gdLst>
                <a:gd name="connsiteX0" fmla="*/ 20983 w 26101"/>
                <a:gd name="connsiteY0" fmla="*/ 26101 h 26101"/>
                <a:gd name="connsiteX1" fmla="*/ 17401 w 26101"/>
                <a:gd name="connsiteY1" fmla="*/ 24566 h 26101"/>
                <a:gd name="connsiteX2" fmla="*/ 1535 w 26101"/>
                <a:gd name="connsiteY2" fmla="*/ 8700 h 26101"/>
                <a:gd name="connsiteX3" fmla="*/ 1535 w 26101"/>
                <a:gd name="connsiteY3" fmla="*/ 1535 h 26101"/>
                <a:gd name="connsiteX4" fmla="*/ 8700 w 26101"/>
                <a:gd name="connsiteY4" fmla="*/ 1535 h 26101"/>
                <a:gd name="connsiteX5" fmla="*/ 24566 w 26101"/>
                <a:gd name="connsiteY5" fmla="*/ 17401 h 26101"/>
                <a:gd name="connsiteX6" fmla="*/ 24566 w 26101"/>
                <a:gd name="connsiteY6" fmla="*/ 24566 h 26101"/>
                <a:gd name="connsiteX7" fmla="*/ 20983 w 26101"/>
                <a:gd name="connsiteY7" fmla="*/ 26101 h 261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101" h="26101">
                  <a:moveTo>
                    <a:pt x="20983" y="26101"/>
                  </a:moveTo>
                  <a:cubicBezTo>
                    <a:pt x="19448" y="26101"/>
                    <a:pt x="18424" y="25590"/>
                    <a:pt x="17401" y="24566"/>
                  </a:cubicBezTo>
                  <a:lnTo>
                    <a:pt x="1535" y="8700"/>
                  </a:lnTo>
                  <a:cubicBezTo>
                    <a:pt x="-512" y="6653"/>
                    <a:pt x="-512" y="3582"/>
                    <a:pt x="1535" y="1535"/>
                  </a:cubicBezTo>
                  <a:cubicBezTo>
                    <a:pt x="3583" y="-512"/>
                    <a:pt x="6653" y="-512"/>
                    <a:pt x="8700" y="1535"/>
                  </a:cubicBezTo>
                  <a:lnTo>
                    <a:pt x="24566" y="17401"/>
                  </a:lnTo>
                  <a:cubicBezTo>
                    <a:pt x="26613" y="19448"/>
                    <a:pt x="26613" y="22519"/>
                    <a:pt x="24566" y="24566"/>
                  </a:cubicBezTo>
                  <a:cubicBezTo>
                    <a:pt x="23542" y="25590"/>
                    <a:pt x="22007" y="26101"/>
                    <a:pt x="20983" y="26101"/>
                  </a:cubicBezTo>
                  <a:close/>
                </a:path>
              </a:pathLst>
            </a:custGeom>
            <a:grpFill/>
            <a:ln w="511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95" name="Freeform: Shape 109">
              <a:extLst>
                <a:ext uri="{FF2B5EF4-FFF2-40B4-BE49-F238E27FC236}">
                  <a16:creationId xmlns:a16="http://schemas.microsoft.com/office/drawing/2014/main" id="{5C55E2F7-AC0E-40BC-B5BE-D8A1F86FB69D}"/>
                </a:ext>
              </a:extLst>
            </p:cNvPr>
            <p:cNvSpPr/>
            <p:nvPr/>
          </p:nvSpPr>
          <p:spPr>
            <a:xfrm>
              <a:off x="3720266" y="1231881"/>
              <a:ext cx="300421" cy="227235"/>
            </a:xfrm>
            <a:custGeom>
              <a:avLst/>
              <a:gdLst>
                <a:gd name="connsiteX0" fmla="*/ 294280 w 300421"/>
                <a:gd name="connsiteY0" fmla="*/ 74722 h 227235"/>
                <a:gd name="connsiteX1" fmla="*/ 225700 w 300421"/>
                <a:gd name="connsiteY1" fmla="*/ 6141 h 227235"/>
                <a:gd name="connsiteX2" fmla="*/ 196528 w 300421"/>
                <a:gd name="connsiteY2" fmla="*/ 6141 h 227235"/>
                <a:gd name="connsiteX3" fmla="*/ 180662 w 300421"/>
                <a:gd name="connsiteY3" fmla="*/ 22007 h 227235"/>
                <a:gd name="connsiteX4" fmla="*/ 157632 w 300421"/>
                <a:gd name="connsiteY4" fmla="*/ 45038 h 227235"/>
                <a:gd name="connsiteX5" fmla="*/ 141766 w 300421"/>
                <a:gd name="connsiteY5" fmla="*/ 29172 h 227235"/>
                <a:gd name="connsiteX6" fmla="*/ 120271 w 300421"/>
                <a:gd name="connsiteY6" fmla="*/ 19960 h 227235"/>
                <a:gd name="connsiteX7" fmla="*/ 98776 w 300421"/>
                <a:gd name="connsiteY7" fmla="*/ 29172 h 227235"/>
                <a:gd name="connsiteX8" fmla="*/ 83934 w 300421"/>
                <a:gd name="connsiteY8" fmla="*/ 44014 h 227235"/>
                <a:gd name="connsiteX9" fmla="*/ 91099 w 300421"/>
                <a:gd name="connsiteY9" fmla="*/ 51179 h 227235"/>
                <a:gd name="connsiteX10" fmla="*/ 91099 w 300421"/>
                <a:gd name="connsiteY10" fmla="*/ 51179 h 227235"/>
                <a:gd name="connsiteX11" fmla="*/ 91099 w 300421"/>
                <a:gd name="connsiteY11" fmla="*/ 51179 h 227235"/>
                <a:gd name="connsiteX12" fmla="*/ 43502 w 300421"/>
                <a:gd name="connsiteY12" fmla="*/ 98776 h 227235"/>
                <a:gd name="connsiteX13" fmla="*/ 0 w 300421"/>
                <a:gd name="connsiteY13" fmla="*/ 142278 h 227235"/>
                <a:gd name="connsiteX14" fmla="*/ 5118 w 300421"/>
                <a:gd name="connsiteY14" fmla="*/ 145861 h 227235"/>
                <a:gd name="connsiteX15" fmla="*/ 30196 w 300421"/>
                <a:gd name="connsiteY15" fmla="*/ 153026 h 227235"/>
                <a:gd name="connsiteX16" fmla="*/ 30196 w 300421"/>
                <a:gd name="connsiteY16" fmla="*/ 153026 h 227235"/>
                <a:gd name="connsiteX17" fmla="*/ 48620 w 300421"/>
                <a:gd name="connsiteY17" fmla="*/ 149443 h 227235"/>
                <a:gd name="connsiteX18" fmla="*/ 63974 w 300421"/>
                <a:gd name="connsiteY18" fmla="*/ 139207 h 227235"/>
                <a:gd name="connsiteX19" fmla="*/ 83934 w 300421"/>
                <a:gd name="connsiteY19" fmla="*/ 119759 h 227235"/>
                <a:gd name="connsiteX20" fmla="*/ 83934 w 300421"/>
                <a:gd name="connsiteY20" fmla="*/ 119759 h 227235"/>
                <a:gd name="connsiteX21" fmla="*/ 83934 w 300421"/>
                <a:gd name="connsiteY21" fmla="*/ 119759 h 227235"/>
                <a:gd name="connsiteX22" fmla="*/ 134089 w 300421"/>
                <a:gd name="connsiteY22" fmla="*/ 169403 h 227235"/>
                <a:gd name="connsiteX23" fmla="*/ 167356 w 300421"/>
                <a:gd name="connsiteY23" fmla="*/ 202669 h 227235"/>
                <a:gd name="connsiteX24" fmla="*/ 170938 w 300421"/>
                <a:gd name="connsiteY24" fmla="*/ 207787 h 227235"/>
                <a:gd name="connsiteX25" fmla="*/ 170938 w 300421"/>
                <a:gd name="connsiteY25" fmla="*/ 208299 h 227235"/>
                <a:gd name="connsiteX26" fmla="*/ 170938 w 300421"/>
                <a:gd name="connsiteY26" fmla="*/ 226212 h 227235"/>
                <a:gd name="connsiteX27" fmla="*/ 170938 w 300421"/>
                <a:gd name="connsiteY27" fmla="*/ 226212 h 227235"/>
                <a:gd name="connsiteX28" fmla="*/ 170938 w 300421"/>
                <a:gd name="connsiteY28" fmla="*/ 226212 h 227235"/>
                <a:gd name="connsiteX29" fmla="*/ 170426 w 300421"/>
                <a:gd name="connsiteY29" fmla="*/ 227235 h 227235"/>
                <a:gd name="connsiteX30" fmla="*/ 247707 w 300421"/>
                <a:gd name="connsiteY30" fmla="*/ 149955 h 227235"/>
                <a:gd name="connsiteX31" fmla="*/ 277903 w 300421"/>
                <a:gd name="connsiteY31" fmla="*/ 119759 h 227235"/>
                <a:gd name="connsiteX32" fmla="*/ 294280 w 300421"/>
                <a:gd name="connsiteY32" fmla="*/ 103382 h 227235"/>
                <a:gd name="connsiteX33" fmla="*/ 294280 w 300421"/>
                <a:gd name="connsiteY33" fmla="*/ 74722 h 227235"/>
                <a:gd name="connsiteX34" fmla="*/ 247707 w 300421"/>
                <a:gd name="connsiteY34" fmla="*/ 135625 h 227235"/>
                <a:gd name="connsiteX35" fmla="*/ 164797 w 300421"/>
                <a:gd name="connsiteY35" fmla="*/ 52203 h 227235"/>
                <a:gd name="connsiteX36" fmla="*/ 184245 w 300421"/>
                <a:gd name="connsiteY36" fmla="*/ 32755 h 227235"/>
                <a:gd name="connsiteX37" fmla="*/ 267155 w 300421"/>
                <a:gd name="connsiteY37" fmla="*/ 116177 h 227235"/>
                <a:gd name="connsiteX38" fmla="*/ 247707 w 300421"/>
                <a:gd name="connsiteY38" fmla="*/ 135625 h 2272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300421" h="227235">
                  <a:moveTo>
                    <a:pt x="294280" y="74722"/>
                  </a:moveTo>
                  <a:lnTo>
                    <a:pt x="225700" y="6141"/>
                  </a:lnTo>
                  <a:cubicBezTo>
                    <a:pt x="217511" y="-2047"/>
                    <a:pt x="204716" y="-2047"/>
                    <a:pt x="196528" y="6141"/>
                  </a:cubicBezTo>
                  <a:lnTo>
                    <a:pt x="180662" y="22007"/>
                  </a:lnTo>
                  <a:lnTo>
                    <a:pt x="157632" y="45038"/>
                  </a:lnTo>
                  <a:lnTo>
                    <a:pt x="141766" y="29172"/>
                  </a:lnTo>
                  <a:cubicBezTo>
                    <a:pt x="136136" y="23542"/>
                    <a:pt x="128460" y="19960"/>
                    <a:pt x="120271" y="19960"/>
                  </a:cubicBezTo>
                  <a:cubicBezTo>
                    <a:pt x="112082" y="19960"/>
                    <a:pt x="104405" y="23031"/>
                    <a:pt x="98776" y="29172"/>
                  </a:cubicBezTo>
                  <a:lnTo>
                    <a:pt x="83934" y="44014"/>
                  </a:lnTo>
                  <a:lnTo>
                    <a:pt x="91099" y="51179"/>
                  </a:lnTo>
                  <a:lnTo>
                    <a:pt x="91099" y="51179"/>
                  </a:lnTo>
                  <a:lnTo>
                    <a:pt x="91099" y="51179"/>
                  </a:lnTo>
                  <a:lnTo>
                    <a:pt x="43502" y="98776"/>
                  </a:lnTo>
                  <a:lnTo>
                    <a:pt x="0" y="142278"/>
                  </a:lnTo>
                  <a:cubicBezTo>
                    <a:pt x="1535" y="143813"/>
                    <a:pt x="3071" y="144837"/>
                    <a:pt x="5118" y="145861"/>
                  </a:cubicBezTo>
                  <a:cubicBezTo>
                    <a:pt x="12795" y="150467"/>
                    <a:pt x="20983" y="153026"/>
                    <a:pt x="30196" y="153026"/>
                  </a:cubicBezTo>
                  <a:cubicBezTo>
                    <a:pt x="30196" y="153026"/>
                    <a:pt x="30196" y="153026"/>
                    <a:pt x="30196" y="153026"/>
                  </a:cubicBezTo>
                  <a:cubicBezTo>
                    <a:pt x="36337" y="153026"/>
                    <a:pt x="42990" y="152002"/>
                    <a:pt x="48620" y="149443"/>
                  </a:cubicBezTo>
                  <a:cubicBezTo>
                    <a:pt x="54250" y="146884"/>
                    <a:pt x="59880" y="143302"/>
                    <a:pt x="63974" y="139207"/>
                  </a:cubicBezTo>
                  <a:lnTo>
                    <a:pt x="83934" y="119759"/>
                  </a:lnTo>
                  <a:lnTo>
                    <a:pt x="83934" y="119759"/>
                  </a:lnTo>
                  <a:lnTo>
                    <a:pt x="83934" y="119759"/>
                  </a:lnTo>
                  <a:lnTo>
                    <a:pt x="134089" y="169403"/>
                  </a:lnTo>
                  <a:lnTo>
                    <a:pt x="167356" y="202669"/>
                  </a:lnTo>
                  <a:cubicBezTo>
                    <a:pt x="168891" y="204205"/>
                    <a:pt x="170426" y="206252"/>
                    <a:pt x="170938" y="207787"/>
                  </a:cubicBezTo>
                  <a:cubicBezTo>
                    <a:pt x="170938" y="207787"/>
                    <a:pt x="170938" y="208299"/>
                    <a:pt x="170938" y="208299"/>
                  </a:cubicBezTo>
                  <a:cubicBezTo>
                    <a:pt x="173497" y="213929"/>
                    <a:pt x="173497" y="220582"/>
                    <a:pt x="170938" y="226212"/>
                  </a:cubicBezTo>
                  <a:lnTo>
                    <a:pt x="170938" y="226212"/>
                  </a:lnTo>
                  <a:cubicBezTo>
                    <a:pt x="170938" y="226212"/>
                    <a:pt x="170938" y="226212"/>
                    <a:pt x="170938" y="226212"/>
                  </a:cubicBezTo>
                  <a:cubicBezTo>
                    <a:pt x="170938" y="226723"/>
                    <a:pt x="170426" y="226723"/>
                    <a:pt x="170426" y="227235"/>
                  </a:cubicBezTo>
                  <a:lnTo>
                    <a:pt x="247707" y="149955"/>
                  </a:lnTo>
                  <a:lnTo>
                    <a:pt x="277903" y="119759"/>
                  </a:lnTo>
                  <a:lnTo>
                    <a:pt x="294280" y="103382"/>
                  </a:lnTo>
                  <a:cubicBezTo>
                    <a:pt x="302469" y="95705"/>
                    <a:pt x="302469" y="82398"/>
                    <a:pt x="294280" y="74722"/>
                  </a:cubicBezTo>
                  <a:close/>
                  <a:moveTo>
                    <a:pt x="247707" y="135625"/>
                  </a:moveTo>
                  <a:lnTo>
                    <a:pt x="164797" y="52203"/>
                  </a:lnTo>
                  <a:lnTo>
                    <a:pt x="184245" y="32755"/>
                  </a:lnTo>
                  <a:lnTo>
                    <a:pt x="267155" y="116177"/>
                  </a:lnTo>
                  <a:lnTo>
                    <a:pt x="247707" y="135625"/>
                  </a:lnTo>
                  <a:close/>
                </a:path>
              </a:pathLst>
            </a:custGeom>
            <a:grpFill/>
            <a:ln w="511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sp>
        <p:nvSpPr>
          <p:cNvPr id="96" name="Freeform: Shape 110">
            <a:extLst>
              <a:ext uri="{FF2B5EF4-FFF2-40B4-BE49-F238E27FC236}">
                <a16:creationId xmlns:a16="http://schemas.microsoft.com/office/drawing/2014/main" id="{2680BD95-4980-43FD-A7D5-A885CAA5176A}"/>
              </a:ext>
            </a:extLst>
          </p:cNvPr>
          <p:cNvSpPr/>
          <p:nvPr/>
        </p:nvSpPr>
        <p:spPr>
          <a:xfrm>
            <a:off x="7283941" y="4901411"/>
            <a:ext cx="578702" cy="409820"/>
          </a:xfrm>
          <a:custGeom>
            <a:avLst/>
            <a:gdLst>
              <a:gd name="connsiteX0" fmla="*/ 446794 w 526121"/>
              <a:gd name="connsiteY0" fmla="*/ 3071 h 372583"/>
              <a:gd name="connsiteX1" fmla="*/ 446794 w 526121"/>
              <a:gd name="connsiteY1" fmla="*/ 3071 h 372583"/>
              <a:gd name="connsiteX2" fmla="*/ 446794 w 526121"/>
              <a:gd name="connsiteY2" fmla="*/ 3071 h 372583"/>
              <a:gd name="connsiteX3" fmla="*/ 445770 w 526121"/>
              <a:gd name="connsiteY3" fmla="*/ 1535 h 372583"/>
              <a:gd name="connsiteX4" fmla="*/ 445258 w 526121"/>
              <a:gd name="connsiteY4" fmla="*/ 1024 h 372583"/>
              <a:gd name="connsiteX5" fmla="*/ 444235 w 526121"/>
              <a:gd name="connsiteY5" fmla="*/ 512 h 372583"/>
              <a:gd name="connsiteX6" fmla="*/ 443723 w 526121"/>
              <a:gd name="connsiteY6" fmla="*/ 512 h 372583"/>
              <a:gd name="connsiteX7" fmla="*/ 442187 w 526121"/>
              <a:gd name="connsiteY7" fmla="*/ 0 h 372583"/>
              <a:gd name="connsiteX8" fmla="*/ 292744 w 526121"/>
              <a:gd name="connsiteY8" fmla="*/ 0 h 372583"/>
              <a:gd name="connsiteX9" fmla="*/ 229282 w 526121"/>
              <a:gd name="connsiteY9" fmla="*/ 0 h 372583"/>
              <a:gd name="connsiteX10" fmla="*/ 79839 w 526121"/>
              <a:gd name="connsiteY10" fmla="*/ 0 h 372583"/>
              <a:gd name="connsiteX11" fmla="*/ 79839 w 526121"/>
              <a:gd name="connsiteY11" fmla="*/ 0 h 372583"/>
              <a:gd name="connsiteX12" fmla="*/ 79839 w 526121"/>
              <a:gd name="connsiteY12" fmla="*/ 0 h 372583"/>
              <a:gd name="connsiteX13" fmla="*/ 78304 w 526121"/>
              <a:gd name="connsiteY13" fmla="*/ 512 h 372583"/>
              <a:gd name="connsiteX14" fmla="*/ 77792 w 526121"/>
              <a:gd name="connsiteY14" fmla="*/ 512 h 372583"/>
              <a:gd name="connsiteX15" fmla="*/ 76769 w 526121"/>
              <a:gd name="connsiteY15" fmla="*/ 1024 h 372583"/>
              <a:gd name="connsiteX16" fmla="*/ 76257 w 526121"/>
              <a:gd name="connsiteY16" fmla="*/ 1535 h 372583"/>
              <a:gd name="connsiteX17" fmla="*/ 75233 w 526121"/>
              <a:gd name="connsiteY17" fmla="*/ 3071 h 372583"/>
              <a:gd name="connsiteX18" fmla="*/ 75233 w 526121"/>
              <a:gd name="connsiteY18" fmla="*/ 3071 h 372583"/>
              <a:gd name="connsiteX19" fmla="*/ 75233 w 526121"/>
              <a:gd name="connsiteY19" fmla="*/ 3071 h 372583"/>
              <a:gd name="connsiteX20" fmla="*/ 0 w 526121"/>
              <a:gd name="connsiteY20" fmla="*/ 182709 h 372583"/>
              <a:gd name="connsiteX21" fmla="*/ 0 w 526121"/>
              <a:gd name="connsiteY21" fmla="*/ 182709 h 372583"/>
              <a:gd name="connsiteX22" fmla="*/ 0 w 526121"/>
              <a:gd name="connsiteY22" fmla="*/ 183733 h 372583"/>
              <a:gd name="connsiteX23" fmla="*/ 0 w 526121"/>
              <a:gd name="connsiteY23" fmla="*/ 183733 h 372583"/>
              <a:gd name="connsiteX24" fmla="*/ 85981 w 526121"/>
              <a:gd name="connsiteY24" fmla="*/ 270738 h 372583"/>
              <a:gd name="connsiteX25" fmla="*/ 168891 w 526121"/>
              <a:gd name="connsiteY25" fmla="*/ 186292 h 372583"/>
              <a:gd name="connsiteX26" fmla="*/ 168891 w 526121"/>
              <a:gd name="connsiteY26" fmla="*/ 181174 h 372583"/>
              <a:gd name="connsiteX27" fmla="*/ 100311 w 526121"/>
              <a:gd name="connsiteY27" fmla="*/ 36337 h 372583"/>
              <a:gd name="connsiteX28" fmla="*/ 106453 w 526121"/>
              <a:gd name="connsiteY28" fmla="*/ 36849 h 372583"/>
              <a:gd name="connsiteX29" fmla="*/ 229282 w 526121"/>
              <a:gd name="connsiteY29" fmla="*/ 36849 h 372583"/>
              <a:gd name="connsiteX30" fmla="*/ 229282 w 526121"/>
              <a:gd name="connsiteY30" fmla="*/ 309122 h 372583"/>
              <a:gd name="connsiteX31" fmla="*/ 158655 w 526121"/>
              <a:gd name="connsiteY31" fmla="*/ 309122 h 372583"/>
              <a:gd name="connsiteX32" fmla="*/ 127948 w 526121"/>
              <a:gd name="connsiteY32" fmla="*/ 339829 h 372583"/>
              <a:gd name="connsiteX33" fmla="*/ 127948 w 526121"/>
              <a:gd name="connsiteY33" fmla="*/ 372584 h 372583"/>
              <a:gd name="connsiteX34" fmla="*/ 394079 w 526121"/>
              <a:gd name="connsiteY34" fmla="*/ 372584 h 372583"/>
              <a:gd name="connsiteX35" fmla="*/ 394079 w 526121"/>
              <a:gd name="connsiteY35" fmla="*/ 339829 h 372583"/>
              <a:gd name="connsiteX36" fmla="*/ 363372 w 526121"/>
              <a:gd name="connsiteY36" fmla="*/ 309122 h 372583"/>
              <a:gd name="connsiteX37" fmla="*/ 292744 w 526121"/>
              <a:gd name="connsiteY37" fmla="*/ 309122 h 372583"/>
              <a:gd name="connsiteX38" fmla="*/ 292744 w 526121"/>
              <a:gd name="connsiteY38" fmla="*/ 36849 h 372583"/>
              <a:gd name="connsiteX39" fmla="*/ 415574 w 526121"/>
              <a:gd name="connsiteY39" fmla="*/ 36849 h 372583"/>
              <a:gd name="connsiteX40" fmla="*/ 422739 w 526121"/>
              <a:gd name="connsiteY40" fmla="*/ 35825 h 372583"/>
              <a:gd name="connsiteX41" fmla="*/ 357230 w 526121"/>
              <a:gd name="connsiteY41" fmla="*/ 183221 h 372583"/>
              <a:gd name="connsiteX42" fmla="*/ 357230 w 526121"/>
              <a:gd name="connsiteY42" fmla="*/ 183221 h 372583"/>
              <a:gd name="connsiteX43" fmla="*/ 357230 w 526121"/>
              <a:gd name="connsiteY43" fmla="*/ 183733 h 372583"/>
              <a:gd name="connsiteX44" fmla="*/ 443211 w 526121"/>
              <a:gd name="connsiteY44" fmla="*/ 270738 h 372583"/>
              <a:gd name="connsiteX45" fmla="*/ 526121 w 526121"/>
              <a:gd name="connsiteY45" fmla="*/ 186292 h 372583"/>
              <a:gd name="connsiteX46" fmla="*/ 526121 w 526121"/>
              <a:gd name="connsiteY46" fmla="*/ 181174 h 372583"/>
              <a:gd name="connsiteX47" fmla="*/ 446794 w 526121"/>
              <a:gd name="connsiteY47" fmla="*/ 3071 h 372583"/>
              <a:gd name="connsiteX48" fmla="*/ 156096 w 526121"/>
              <a:gd name="connsiteY48" fmla="*/ 180662 h 372583"/>
              <a:gd name="connsiteX49" fmla="*/ 12795 w 526121"/>
              <a:gd name="connsiteY49" fmla="*/ 180662 h 372583"/>
              <a:gd name="connsiteX50" fmla="*/ 79328 w 526121"/>
              <a:gd name="connsiteY50" fmla="*/ 20472 h 372583"/>
              <a:gd name="connsiteX51" fmla="*/ 85469 w 526121"/>
              <a:gd name="connsiteY51" fmla="*/ 28149 h 372583"/>
              <a:gd name="connsiteX52" fmla="*/ 156096 w 526121"/>
              <a:gd name="connsiteY52" fmla="*/ 180662 h 372583"/>
              <a:gd name="connsiteX53" fmla="*/ 261013 w 526121"/>
              <a:gd name="connsiteY53" fmla="*/ 53738 h 372583"/>
              <a:gd name="connsiteX54" fmla="*/ 239006 w 526121"/>
              <a:gd name="connsiteY54" fmla="*/ 31731 h 372583"/>
              <a:gd name="connsiteX55" fmla="*/ 261013 w 526121"/>
              <a:gd name="connsiteY55" fmla="*/ 9724 h 372583"/>
              <a:gd name="connsiteX56" fmla="*/ 283020 w 526121"/>
              <a:gd name="connsiteY56" fmla="*/ 31731 h 372583"/>
              <a:gd name="connsiteX57" fmla="*/ 261013 w 526121"/>
              <a:gd name="connsiteY57" fmla="*/ 53738 h 372583"/>
              <a:gd name="connsiteX58" fmla="*/ 370537 w 526121"/>
              <a:gd name="connsiteY58" fmla="*/ 180662 h 372583"/>
              <a:gd name="connsiteX59" fmla="*/ 438093 w 526121"/>
              <a:gd name="connsiteY59" fmla="*/ 27125 h 372583"/>
              <a:gd name="connsiteX60" fmla="*/ 443723 w 526121"/>
              <a:gd name="connsiteY60" fmla="*/ 19960 h 372583"/>
              <a:gd name="connsiteX61" fmla="*/ 514350 w 526121"/>
              <a:gd name="connsiteY61" fmla="*/ 180662 h 372583"/>
              <a:gd name="connsiteX62" fmla="*/ 370537 w 526121"/>
              <a:gd name="connsiteY62" fmla="*/ 180662 h 3725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526121" h="372583">
                <a:moveTo>
                  <a:pt x="446794" y="3071"/>
                </a:moveTo>
                <a:cubicBezTo>
                  <a:pt x="446794" y="3071"/>
                  <a:pt x="446794" y="3071"/>
                  <a:pt x="446794" y="3071"/>
                </a:cubicBezTo>
                <a:lnTo>
                  <a:pt x="446794" y="3071"/>
                </a:lnTo>
                <a:cubicBezTo>
                  <a:pt x="446282" y="2559"/>
                  <a:pt x="446282" y="2047"/>
                  <a:pt x="445770" y="1535"/>
                </a:cubicBezTo>
                <a:cubicBezTo>
                  <a:pt x="445770" y="1535"/>
                  <a:pt x="445770" y="1535"/>
                  <a:pt x="445258" y="1024"/>
                </a:cubicBezTo>
                <a:cubicBezTo>
                  <a:pt x="444746" y="512"/>
                  <a:pt x="444746" y="512"/>
                  <a:pt x="444235" y="512"/>
                </a:cubicBezTo>
                <a:cubicBezTo>
                  <a:pt x="444235" y="512"/>
                  <a:pt x="443723" y="512"/>
                  <a:pt x="443723" y="512"/>
                </a:cubicBezTo>
                <a:cubicBezTo>
                  <a:pt x="443211" y="512"/>
                  <a:pt x="442699" y="0"/>
                  <a:pt x="442187" y="0"/>
                </a:cubicBezTo>
                <a:lnTo>
                  <a:pt x="292744" y="0"/>
                </a:lnTo>
                <a:lnTo>
                  <a:pt x="229282" y="0"/>
                </a:lnTo>
                <a:lnTo>
                  <a:pt x="79839" y="0"/>
                </a:lnTo>
                <a:cubicBezTo>
                  <a:pt x="79839" y="0"/>
                  <a:pt x="79839" y="0"/>
                  <a:pt x="79839" y="0"/>
                </a:cubicBezTo>
                <a:cubicBezTo>
                  <a:pt x="79839" y="0"/>
                  <a:pt x="79839" y="0"/>
                  <a:pt x="79839" y="0"/>
                </a:cubicBezTo>
                <a:cubicBezTo>
                  <a:pt x="79328" y="0"/>
                  <a:pt x="78816" y="0"/>
                  <a:pt x="78304" y="512"/>
                </a:cubicBezTo>
                <a:cubicBezTo>
                  <a:pt x="78304" y="512"/>
                  <a:pt x="77792" y="512"/>
                  <a:pt x="77792" y="512"/>
                </a:cubicBezTo>
                <a:cubicBezTo>
                  <a:pt x="77280" y="512"/>
                  <a:pt x="77280" y="1024"/>
                  <a:pt x="76769" y="1024"/>
                </a:cubicBezTo>
                <a:cubicBezTo>
                  <a:pt x="76769" y="1024"/>
                  <a:pt x="76257" y="1024"/>
                  <a:pt x="76257" y="1535"/>
                </a:cubicBezTo>
                <a:cubicBezTo>
                  <a:pt x="75745" y="2047"/>
                  <a:pt x="75745" y="2559"/>
                  <a:pt x="75233" y="3071"/>
                </a:cubicBezTo>
                <a:cubicBezTo>
                  <a:pt x="75233" y="3071"/>
                  <a:pt x="75233" y="3071"/>
                  <a:pt x="75233" y="3071"/>
                </a:cubicBezTo>
                <a:cubicBezTo>
                  <a:pt x="75233" y="3071"/>
                  <a:pt x="75233" y="3071"/>
                  <a:pt x="75233" y="3071"/>
                </a:cubicBezTo>
                <a:lnTo>
                  <a:pt x="0" y="182709"/>
                </a:lnTo>
                <a:lnTo>
                  <a:pt x="0" y="182709"/>
                </a:lnTo>
                <a:cubicBezTo>
                  <a:pt x="0" y="183221"/>
                  <a:pt x="0" y="183221"/>
                  <a:pt x="0" y="183733"/>
                </a:cubicBezTo>
                <a:lnTo>
                  <a:pt x="0" y="183733"/>
                </a:lnTo>
                <a:cubicBezTo>
                  <a:pt x="0" y="230818"/>
                  <a:pt x="38896" y="271249"/>
                  <a:pt x="85981" y="270738"/>
                </a:cubicBezTo>
                <a:cubicBezTo>
                  <a:pt x="132042" y="269714"/>
                  <a:pt x="168891" y="232353"/>
                  <a:pt x="168891" y="186292"/>
                </a:cubicBezTo>
                <a:lnTo>
                  <a:pt x="168891" y="181174"/>
                </a:lnTo>
                <a:lnTo>
                  <a:pt x="100311" y="36337"/>
                </a:lnTo>
                <a:cubicBezTo>
                  <a:pt x="102358" y="36849"/>
                  <a:pt x="104405" y="36849"/>
                  <a:pt x="106453" y="36849"/>
                </a:cubicBezTo>
                <a:lnTo>
                  <a:pt x="229282" y="36849"/>
                </a:lnTo>
                <a:lnTo>
                  <a:pt x="229282" y="309122"/>
                </a:lnTo>
                <a:lnTo>
                  <a:pt x="158655" y="309122"/>
                </a:lnTo>
                <a:cubicBezTo>
                  <a:pt x="141766" y="309122"/>
                  <a:pt x="127948" y="322940"/>
                  <a:pt x="127948" y="339829"/>
                </a:cubicBezTo>
                <a:lnTo>
                  <a:pt x="127948" y="372584"/>
                </a:lnTo>
                <a:lnTo>
                  <a:pt x="394079" y="372584"/>
                </a:lnTo>
                <a:lnTo>
                  <a:pt x="394079" y="339829"/>
                </a:lnTo>
                <a:cubicBezTo>
                  <a:pt x="394079" y="322940"/>
                  <a:pt x="380261" y="309122"/>
                  <a:pt x="363372" y="309122"/>
                </a:cubicBezTo>
                <a:lnTo>
                  <a:pt x="292744" y="309122"/>
                </a:lnTo>
                <a:lnTo>
                  <a:pt x="292744" y="36849"/>
                </a:lnTo>
                <a:lnTo>
                  <a:pt x="415574" y="36849"/>
                </a:lnTo>
                <a:cubicBezTo>
                  <a:pt x="418133" y="36849"/>
                  <a:pt x="420692" y="36337"/>
                  <a:pt x="422739" y="35825"/>
                </a:cubicBezTo>
                <a:lnTo>
                  <a:pt x="357230" y="183221"/>
                </a:lnTo>
                <a:lnTo>
                  <a:pt x="357230" y="183221"/>
                </a:lnTo>
                <a:cubicBezTo>
                  <a:pt x="357230" y="183221"/>
                  <a:pt x="357230" y="183733"/>
                  <a:pt x="357230" y="183733"/>
                </a:cubicBezTo>
                <a:cubicBezTo>
                  <a:pt x="357230" y="230818"/>
                  <a:pt x="396126" y="271249"/>
                  <a:pt x="443211" y="270738"/>
                </a:cubicBezTo>
                <a:cubicBezTo>
                  <a:pt x="489272" y="269714"/>
                  <a:pt x="526121" y="232353"/>
                  <a:pt x="526121" y="186292"/>
                </a:cubicBezTo>
                <a:lnTo>
                  <a:pt x="526121" y="181174"/>
                </a:lnTo>
                <a:lnTo>
                  <a:pt x="446794" y="3071"/>
                </a:lnTo>
                <a:close/>
                <a:moveTo>
                  <a:pt x="156096" y="180662"/>
                </a:moveTo>
                <a:lnTo>
                  <a:pt x="12795" y="180662"/>
                </a:lnTo>
                <a:lnTo>
                  <a:pt x="79328" y="20472"/>
                </a:lnTo>
                <a:cubicBezTo>
                  <a:pt x="80863" y="23542"/>
                  <a:pt x="82910" y="26101"/>
                  <a:pt x="85469" y="28149"/>
                </a:cubicBezTo>
                <a:lnTo>
                  <a:pt x="156096" y="180662"/>
                </a:lnTo>
                <a:close/>
                <a:moveTo>
                  <a:pt x="261013" y="53738"/>
                </a:moveTo>
                <a:cubicBezTo>
                  <a:pt x="248730" y="53738"/>
                  <a:pt x="239006" y="44014"/>
                  <a:pt x="239006" y="31731"/>
                </a:cubicBezTo>
                <a:cubicBezTo>
                  <a:pt x="239006" y="19448"/>
                  <a:pt x="248730" y="9724"/>
                  <a:pt x="261013" y="9724"/>
                </a:cubicBezTo>
                <a:cubicBezTo>
                  <a:pt x="273296" y="9724"/>
                  <a:pt x="283020" y="19448"/>
                  <a:pt x="283020" y="31731"/>
                </a:cubicBezTo>
                <a:cubicBezTo>
                  <a:pt x="283532" y="44014"/>
                  <a:pt x="273296" y="53738"/>
                  <a:pt x="261013" y="53738"/>
                </a:cubicBezTo>
                <a:close/>
                <a:moveTo>
                  <a:pt x="370537" y="180662"/>
                </a:moveTo>
                <a:lnTo>
                  <a:pt x="438093" y="27125"/>
                </a:lnTo>
                <a:cubicBezTo>
                  <a:pt x="440140" y="25078"/>
                  <a:pt x="442187" y="22519"/>
                  <a:pt x="443723" y="19960"/>
                </a:cubicBezTo>
                <a:lnTo>
                  <a:pt x="514350" y="180662"/>
                </a:lnTo>
                <a:lnTo>
                  <a:pt x="370537" y="180662"/>
                </a:lnTo>
                <a:close/>
              </a:path>
            </a:pathLst>
          </a:custGeom>
          <a:solidFill>
            <a:schemeClr val="accent1"/>
          </a:solidFill>
          <a:ln w="511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nvGrpSpPr>
          <p:cNvPr id="97" name="Graphic 1">
            <a:extLst>
              <a:ext uri="{FF2B5EF4-FFF2-40B4-BE49-F238E27FC236}">
                <a16:creationId xmlns:a16="http://schemas.microsoft.com/office/drawing/2014/main" id="{AD97291F-89A1-452D-8B06-74CC9042A0E7}"/>
              </a:ext>
            </a:extLst>
          </p:cNvPr>
          <p:cNvGrpSpPr/>
          <p:nvPr/>
        </p:nvGrpSpPr>
        <p:grpSpPr>
          <a:xfrm>
            <a:off x="7323595" y="2418109"/>
            <a:ext cx="436842" cy="436842"/>
            <a:chOff x="8277253" y="565529"/>
            <a:chExt cx="397149" cy="397149"/>
          </a:xfrm>
          <a:solidFill>
            <a:schemeClr val="accent3"/>
          </a:solidFill>
        </p:grpSpPr>
        <p:sp>
          <p:nvSpPr>
            <p:cNvPr id="98" name="Freeform: Shape 112">
              <a:extLst>
                <a:ext uri="{FF2B5EF4-FFF2-40B4-BE49-F238E27FC236}">
                  <a16:creationId xmlns:a16="http://schemas.microsoft.com/office/drawing/2014/main" id="{BB559D5D-6346-4581-AE3E-4D5D092C99DA}"/>
                </a:ext>
              </a:extLst>
            </p:cNvPr>
            <p:cNvSpPr/>
            <p:nvPr/>
          </p:nvSpPr>
          <p:spPr>
            <a:xfrm>
              <a:off x="8277253" y="565529"/>
              <a:ext cx="397149" cy="397149"/>
            </a:xfrm>
            <a:custGeom>
              <a:avLst/>
              <a:gdLst>
                <a:gd name="connsiteX0" fmla="*/ 198575 w 397149"/>
                <a:gd name="connsiteY0" fmla="*/ 0 h 397149"/>
                <a:gd name="connsiteX1" fmla="*/ 0 w 397149"/>
                <a:gd name="connsiteY1" fmla="*/ 198575 h 397149"/>
                <a:gd name="connsiteX2" fmla="*/ 198575 w 397149"/>
                <a:gd name="connsiteY2" fmla="*/ 397150 h 397149"/>
                <a:gd name="connsiteX3" fmla="*/ 397150 w 397149"/>
                <a:gd name="connsiteY3" fmla="*/ 198575 h 397149"/>
                <a:gd name="connsiteX4" fmla="*/ 198575 w 397149"/>
                <a:gd name="connsiteY4" fmla="*/ 0 h 397149"/>
                <a:gd name="connsiteX5" fmla="*/ 198575 w 397149"/>
                <a:gd name="connsiteY5" fmla="*/ 343412 h 397149"/>
                <a:gd name="connsiteX6" fmla="*/ 53738 w 397149"/>
                <a:gd name="connsiteY6" fmla="*/ 198575 h 397149"/>
                <a:gd name="connsiteX7" fmla="*/ 198575 w 397149"/>
                <a:gd name="connsiteY7" fmla="*/ 53738 h 397149"/>
                <a:gd name="connsiteX8" fmla="*/ 343412 w 397149"/>
                <a:gd name="connsiteY8" fmla="*/ 198575 h 397149"/>
                <a:gd name="connsiteX9" fmla="*/ 198575 w 397149"/>
                <a:gd name="connsiteY9" fmla="*/ 343412 h 3971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7149" h="397149">
                  <a:moveTo>
                    <a:pt x="198575" y="0"/>
                  </a:moveTo>
                  <a:cubicBezTo>
                    <a:pt x="89051" y="0"/>
                    <a:pt x="0" y="89052"/>
                    <a:pt x="0" y="198575"/>
                  </a:cubicBezTo>
                  <a:cubicBezTo>
                    <a:pt x="0" y="308098"/>
                    <a:pt x="89051" y="397150"/>
                    <a:pt x="198575" y="397150"/>
                  </a:cubicBezTo>
                  <a:cubicBezTo>
                    <a:pt x="308098" y="397150"/>
                    <a:pt x="397150" y="308098"/>
                    <a:pt x="397150" y="198575"/>
                  </a:cubicBezTo>
                  <a:cubicBezTo>
                    <a:pt x="397150" y="89052"/>
                    <a:pt x="308098" y="0"/>
                    <a:pt x="198575" y="0"/>
                  </a:cubicBezTo>
                  <a:close/>
                  <a:moveTo>
                    <a:pt x="198575" y="343412"/>
                  </a:moveTo>
                  <a:cubicBezTo>
                    <a:pt x="118736" y="343412"/>
                    <a:pt x="53738" y="278414"/>
                    <a:pt x="53738" y="198575"/>
                  </a:cubicBezTo>
                  <a:cubicBezTo>
                    <a:pt x="53738" y="118736"/>
                    <a:pt x="118736" y="53738"/>
                    <a:pt x="198575" y="53738"/>
                  </a:cubicBezTo>
                  <a:cubicBezTo>
                    <a:pt x="278414" y="53738"/>
                    <a:pt x="343412" y="118736"/>
                    <a:pt x="343412" y="198575"/>
                  </a:cubicBezTo>
                  <a:cubicBezTo>
                    <a:pt x="343412" y="278414"/>
                    <a:pt x="278926" y="343412"/>
                    <a:pt x="198575" y="343412"/>
                  </a:cubicBezTo>
                  <a:close/>
                </a:path>
              </a:pathLst>
            </a:custGeom>
            <a:grpFill/>
            <a:ln w="511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99" name="Freeform: Shape 113">
              <a:extLst>
                <a:ext uri="{FF2B5EF4-FFF2-40B4-BE49-F238E27FC236}">
                  <a16:creationId xmlns:a16="http://schemas.microsoft.com/office/drawing/2014/main" id="{A11E2628-49C6-40E7-947D-AAFFCBC94E50}"/>
                </a:ext>
              </a:extLst>
            </p:cNvPr>
            <p:cNvSpPr/>
            <p:nvPr/>
          </p:nvSpPr>
          <p:spPr>
            <a:xfrm>
              <a:off x="8413507" y="676587"/>
              <a:ext cx="125782" cy="185268"/>
            </a:xfrm>
            <a:custGeom>
              <a:avLst/>
              <a:gdLst>
                <a:gd name="connsiteX0" fmla="*/ 110941 w 125782"/>
                <a:gd name="connsiteY0" fmla="*/ 49132 h 185268"/>
                <a:gd name="connsiteX1" fmla="*/ 89445 w 125782"/>
                <a:gd name="connsiteY1" fmla="*/ 52714 h 185268"/>
                <a:gd name="connsiteX2" fmla="*/ 80233 w 125782"/>
                <a:gd name="connsiteY2" fmla="*/ 47597 h 185268"/>
                <a:gd name="connsiteX3" fmla="*/ 77674 w 125782"/>
                <a:gd name="connsiteY3" fmla="*/ 43502 h 185268"/>
                <a:gd name="connsiteX4" fmla="*/ 69997 w 125782"/>
                <a:gd name="connsiteY4" fmla="*/ 37873 h 185268"/>
                <a:gd name="connsiteX5" fmla="*/ 69997 w 125782"/>
                <a:gd name="connsiteY5" fmla="*/ 67556 h 185268"/>
                <a:gd name="connsiteX6" fmla="*/ 111964 w 125782"/>
                <a:gd name="connsiteY6" fmla="*/ 84957 h 185268"/>
                <a:gd name="connsiteX7" fmla="*/ 125783 w 125782"/>
                <a:gd name="connsiteY7" fmla="*/ 116688 h 185268"/>
                <a:gd name="connsiteX8" fmla="*/ 120665 w 125782"/>
                <a:gd name="connsiteY8" fmla="*/ 137160 h 185268"/>
                <a:gd name="connsiteX9" fmla="*/ 107870 w 125782"/>
                <a:gd name="connsiteY9" fmla="*/ 153026 h 185268"/>
                <a:gd name="connsiteX10" fmla="*/ 91493 w 125782"/>
                <a:gd name="connsiteY10" fmla="*/ 162238 h 185268"/>
                <a:gd name="connsiteX11" fmla="*/ 69997 w 125782"/>
                <a:gd name="connsiteY11" fmla="*/ 165820 h 185268"/>
                <a:gd name="connsiteX12" fmla="*/ 69997 w 125782"/>
                <a:gd name="connsiteY12" fmla="*/ 185268 h 185268"/>
                <a:gd name="connsiteX13" fmla="*/ 55155 w 125782"/>
                <a:gd name="connsiteY13" fmla="*/ 185268 h 185268"/>
                <a:gd name="connsiteX14" fmla="*/ 55155 w 125782"/>
                <a:gd name="connsiteY14" fmla="*/ 165820 h 185268"/>
                <a:gd name="connsiteX15" fmla="*/ 30589 w 125782"/>
                <a:gd name="connsiteY15" fmla="*/ 160702 h 185268"/>
                <a:gd name="connsiteX16" fmla="*/ 14212 w 125782"/>
                <a:gd name="connsiteY16" fmla="*/ 150978 h 185268"/>
                <a:gd name="connsiteX17" fmla="*/ 3465 w 125782"/>
                <a:gd name="connsiteY17" fmla="*/ 137160 h 185268"/>
                <a:gd name="connsiteX18" fmla="*/ 394 w 125782"/>
                <a:gd name="connsiteY18" fmla="*/ 129995 h 185268"/>
                <a:gd name="connsiteX19" fmla="*/ 7559 w 125782"/>
                <a:gd name="connsiteY19" fmla="*/ 118224 h 185268"/>
                <a:gd name="connsiteX20" fmla="*/ 31613 w 125782"/>
                <a:gd name="connsiteY20" fmla="*/ 115153 h 185268"/>
                <a:gd name="connsiteX21" fmla="*/ 40825 w 125782"/>
                <a:gd name="connsiteY21" fmla="*/ 121294 h 185268"/>
                <a:gd name="connsiteX22" fmla="*/ 43896 w 125782"/>
                <a:gd name="connsiteY22" fmla="*/ 128971 h 185268"/>
                <a:gd name="connsiteX23" fmla="*/ 54132 w 125782"/>
                <a:gd name="connsiteY23" fmla="*/ 137160 h 185268"/>
                <a:gd name="connsiteX24" fmla="*/ 54132 w 125782"/>
                <a:gd name="connsiteY24" fmla="*/ 101335 h 185268"/>
                <a:gd name="connsiteX25" fmla="*/ 24448 w 125782"/>
                <a:gd name="connsiteY25" fmla="*/ 91099 h 185268"/>
                <a:gd name="connsiteX26" fmla="*/ 9094 w 125782"/>
                <a:gd name="connsiteY26" fmla="*/ 77280 h 185268"/>
                <a:gd name="connsiteX27" fmla="*/ 2441 w 125782"/>
                <a:gd name="connsiteY27" fmla="*/ 54762 h 185268"/>
                <a:gd name="connsiteX28" fmla="*/ 15236 w 125782"/>
                <a:gd name="connsiteY28" fmla="*/ 24054 h 185268"/>
                <a:gd name="connsiteX29" fmla="*/ 53620 w 125782"/>
                <a:gd name="connsiteY29" fmla="*/ 10236 h 185268"/>
                <a:gd name="connsiteX30" fmla="*/ 53620 w 125782"/>
                <a:gd name="connsiteY30" fmla="*/ 0 h 185268"/>
                <a:gd name="connsiteX31" fmla="*/ 68462 w 125782"/>
                <a:gd name="connsiteY31" fmla="*/ 0 h 185268"/>
                <a:gd name="connsiteX32" fmla="*/ 68462 w 125782"/>
                <a:gd name="connsiteY32" fmla="*/ 10236 h 185268"/>
                <a:gd name="connsiteX33" fmla="*/ 103776 w 125782"/>
                <a:gd name="connsiteY33" fmla="*/ 20983 h 185268"/>
                <a:gd name="connsiteX34" fmla="*/ 116059 w 125782"/>
                <a:gd name="connsiteY34" fmla="*/ 36849 h 185268"/>
                <a:gd name="connsiteX35" fmla="*/ 110941 w 125782"/>
                <a:gd name="connsiteY35" fmla="*/ 49132 h 185268"/>
                <a:gd name="connsiteX36" fmla="*/ 54644 w 125782"/>
                <a:gd name="connsiteY36" fmla="*/ 37361 h 185268"/>
                <a:gd name="connsiteX37" fmla="*/ 45432 w 125782"/>
                <a:gd name="connsiteY37" fmla="*/ 42990 h 185268"/>
                <a:gd name="connsiteX38" fmla="*/ 42873 w 125782"/>
                <a:gd name="connsiteY38" fmla="*/ 50667 h 185268"/>
                <a:gd name="connsiteX39" fmla="*/ 45432 w 125782"/>
                <a:gd name="connsiteY39" fmla="*/ 58344 h 185268"/>
                <a:gd name="connsiteX40" fmla="*/ 54644 w 125782"/>
                <a:gd name="connsiteY40" fmla="*/ 63974 h 185268"/>
                <a:gd name="connsiteX41" fmla="*/ 54644 w 125782"/>
                <a:gd name="connsiteY41" fmla="*/ 37361 h 185268"/>
                <a:gd name="connsiteX42" fmla="*/ 69486 w 125782"/>
                <a:gd name="connsiteY42" fmla="*/ 138695 h 185268"/>
                <a:gd name="connsiteX43" fmla="*/ 82281 w 125782"/>
                <a:gd name="connsiteY43" fmla="*/ 132042 h 185268"/>
                <a:gd name="connsiteX44" fmla="*/ 86375 w 125782"/>
                <a:gd name="connsiteY44" fmla="*/ 121806 h 185268"/>
                <a:gd name="connsiteX45" fmla="*/ 82792 w 125782"/>
                <a:gd name="connsiteY45" fmla="*/ 113106 h 185268"/>
                <a:gd name="connsiteX46" fmla="*/ 69486 w 125782"/>
                <a:gd name="connsiteY46" fmla="*/ 105429 h 185268"/>
                <a:gd name="connsiteX47" fmla="*/ 69486 w 125782"/>
                <a:gd name="connsiteY47" fmla="*/ 138695 h 1852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125782" h="185268">
                  <a:moveTo>
                    <a:pt x="110941" y="49132"/>
                  </a:moveTo>
                  <a:lnTo>
                    <a:pt x="89445" y="52714"/>
                  </a:lnTo>
                  <a:cubicBezTo>
                    <a:pt x="85863" y="53226"/>
                    <a:pt x="81769" y="51179"/>
                    <a:pt x="80233" y="47597"/>
                  </a:cubicBezTo>
                  <a:cubicBezTo>
                    <a:pt x="79210" y="45549"/>
                    <a:pt x="78698" y="44526"/>
                    <a:pt x="77674" y="43502"/>
                  </a:cubicBezTo>
                  <a:cubicBezTo>
                    <a:pt x="76139" y="41455"/>
                    <a:pt x="73580" y="39920"/>
                    <a:pt x="69997" y="37873"/>
                  </a:cubicBezTo>
                  <a:lnTo>
                    <a:pt x="69997" y="67556"/>
                  </a:lnTo>
                  <a:cubicBezTo>
                    <a:pt x="90981" y="73186"/>
                    <a:pt x="104799" y="78816"/>
                    <a:pt x="111964" y="84957"/>
                  </a:cubicBezTo>
                  <a:cubicBezTo>
                    <a:pt x="121177" y="93146"/>
                    <a:pt x="125783" y="103894"/>
                    <a:pt x="125783" y="116688"/>
                  </a:cubicBezTo>
                  <a:cubicBezTo>
                    <a:pt x="125783" y="124365"/>
                    <a:pt x="124247" y="131019"/>
                    <a:pt x="120665" y="137160"/>
                  </a:cubicBezTo>
                  <a:cubicBezTo>
                    <a:pt x="117082" y="143302"/>
                    <a:pt x="112988" y="148419"/>
                    <a:pt x="107870" y="153026"/>
                  </a:cubicBezTo>
                  <a:cubicBezTo>
                    <a:pt x="102752" y="157120"/>
                    <a:pt x="97122" y="160191"/>
                    <a:pt x="91493" y="162238"/>
                  </a:cubicBezTo>
                  <a:cubicBezTo>
                    <a:pt x="85863" y="164285"/>
                    <a:pt x="78698" y="165309"/>
                    <a:pt x="69997" y="165820"/>
                  </a:cubicBezTo>
                  <a:lnTo>
                    <a:pt x="69997" y="185268"/>
                  </a:lnTo>
                  <a:lnTo>
                    <a:pt x="55155" y="185268"/>
                  </a:lnTo>
                  <a:lnTo>
                    <a:pt x="55155" y="165820"/>
                  </a:lnTo>
                  <a:cubicBezTo>
                    <a:pt x="44920" y="164797"/>
                    <a:pt x="36731" y="163261"/>
                    <a:pt x="30589" y="160702"/>
                  </a:cubicBezTo>
                  <a:cubicBezTo>
                    <a:pt x="24448" y="158143"/>
                    <a:pt x="18818" y="155073"/>
                    <a:pt x="14212" y="150978"/>
                  </a:cubicBezTo>
                  <a:cubicBezTo>
                    <a:pt x="9606" y="146884"/>
                    <a:pt x="6024" y="142278"/>
                    <a:pt x="3465" y="137160"/>
                  </a:cubicBezTo>
                  <a:cubicBezTo>
                    <a:pt x="2441" y="135113"/>
                    <a:pt x="1417" y="132554"/>
                    <a:pt x="394" y="129995"/>
                  </a:cubicBezTo>
                  <a:cubicBezTo>
                    <a:pt x="-1142" y="124877"/>
                    <a:pt x="1929" y="119247"/>
                    <a:pt x="7559" y="118224"/>
                  </a:cubicBezTo>
                  <a:lnTo>
                    <a:pt x="31613" y="115153"/>
                  </a:lnTo>
                  <a:cubicBezTo>
                    <a:pt x="35707" y="114641"/>
                    <a:pt x="39802" y="117200"/>
                    <a:pt x="40825" y="121294"/>
                  </a:cubicBezTo>
                  <a:cubicBezTo>
                    <a:pt x="41849" y="124365"/>
                    <a:pt x="42873" y="126924"/>
                    <a:pt x="43896" y="128971"/>
                  </a:cubicBezTo>
                  <a:cubicBezTo>
                    <a:pt x="45943" y="132042"/>
                    <a:pt x="49526" y="134601"/>
                    <a:pt x="54132" y="137160"/>
                  </a:cubicBezTo>
                  <a:lnTo>
                    <a:pt x="54132" y="101335"/>
                  </a:lnTo>
                  <a:cubicBezTo>
                    <a:pt x="40314" y="97240"/>
                    <a:pt x="30589" y="94170"/>
                    <a:pt x="24448" y="91099"/>
                  </a:cubicBezTo>
                  <a:cubicBezTo>
                    <a:pt x="18818" y="88028"/>
                    <a:pt x="13700" y="83934"/>
                    <a:pt x="9094" y="77280"/>
                  </a:cubicBezTo>
                  <a:cubicBezTo>
                    <a:pt x="5000" y="71139"/>
                    <a:pt x="2441" y="63462"/>
                    <a:pt x="2441" y="54762"/>
                  </a:cubicBezTo>
                  <a:cubicBezTo>
                    <a:pt x="2441" y="42479"/>
                    <a:pt x="6535" y="32243"/>
                    <a:pt x="15236" y="24054"/>
                  </a:cubicBezTo>
                  <a:cubicBezTo>
                    <a:pt x="23936" y="15866"/>
                    <a:pt x="36731" y="11259"/>
                    <a:pt x="53620" y="10236"/>
                  </a:cubicBezTo>
                  <a:lnTo>
                    <a:pt x="53620" y="0"/>
                  </a:lnTo>
                  <a:lnTo>
                    <a:pt x="68462" y="0"/>
                  </a:lnTo>
                  <a:lnTo>
                    <a:pt x="68462" y="10236"/>
                  </a:lnTo>
                  <a:cubicBezTo>
                    <a:pt x="83816" y="11259"/>
                    <a:pt x="95587" y="14842"/>
                    <a:pt x="103776" y="20983"/>
                  </a:cubicBezTo>
                  <a:cubicBezTo>
                    <a:pt x="109405" y="25078"/>
                    <a:pt x="113500" y="30707"/>
                    <a:pt x="116059" y="36849"/>
                  </a:cubicBezTo>
                  <a:cubicBezTo>
                    <a:pt x="119641" y="42479"/>
                    <a:pt x="116059" y="48108"/>
                    <a:pt x="110941" y="49132"/>
                  </a:cubicBezTo>
                  <a:close/>
                  <a:moveTo>
                    <a:pt x="54644" y="37361"/>
                  </a:moveTo>
                  <a:cubicBezTo>
                    <a:pt x="50037" y="38896"/>
                    <a:pt x="46967" y="40432"/>
                    <a:pt x="45432" y="42990"/>
                  </a:cubicBezTo>
                  <a:cubicBezTo>
                    <a:pt x="43896" y="45038"/>
                    <a:pt x="42873" y="47597"/>
                    <a:pt x="42873" y="50667"/>
                  </a:cubicBezTo>
                  <a:cubicBezTo>
                    <a:pt x="42873" y="53738"/>
                    <a:pt x="43896" y="56297"/>
                    <a:pt x="45432" y="58344"/>
                  </a:cubicBezTo>
                  <a:cubicBezTo>
                    <a:pt x="46967" y="60391"/>
                    <a:pt x="50037" y="62438"/>
                    <a:pt x="54644" y="63974"/>
                  </a:cubicBezTo>
                  <a:lnTo>
                    <a:pt x="54644" y="37361"/>
                  </a:lnTo>
                  <a:close/>
                  <a:moveTo>
                    <a:pt x="69486" y="138695"/>
                  </a:moveTo>
                  <a:cubicBezTo>
                    <a:pt x="75115" y="137160"/>
                    <a:pt x="79722" y="135113"/>
                    <a:pt x="82281" y="132042"/>
                  </a:cubicBezTo>
                  <a:cubicBezTo>
                    <a:pt x="84840" y="128971"/>
                    <a:pt x="86375" y="125901"/>
                    <a:pt x="86375" y="121806"/>
                  </a:cubicBezTo>
                  <a:cubicBezTo>
                    <a:pt x="86375" y="118736"/>
                    <a:pt x="85351" y="115665"/>
                    <a:pt x="82792" y="113106"/>
                  </a:cubicBezTo>
                  <a:cubicBezTo>
                    <a:pt x="80745" y="110547"/>
                    <a:pt x="76139" y="107988"/>
                    <a:pt x="69486" y="105429"/>
                  </a:cubicBezTo>
                  <a:lnTo>
                    <a:pt x="69486" y="138695"/>
                  </a:lnTo>
                  <a:close/>
                </a:path>
              </a:pathLst>
            </a:custGeom>
            <a:grpFill/>
            <a:ln w="511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grpSp>
        <p:nvGrpSpPr>
          <p:cNvPr id="100" name="Graphic 1">
            <a:extLst>
              <a:ext uri="{FF2B5EF4-FFF2-40B4-BE49-F238E27FC236}">
                <a16:creationId xmlns:a16="http://schemas.microsoft.com/office/drawing/2014/main" id="{7E242D40-EFA4-4880-8B01-580613B288D4}"/>
              </a:ext>
            </a:extLst>
          </p:cNvPr>
          <p:cNvGrpSpPr/>
          <p:nvPr/>
        </p:nvGrpSpPr>
        <p:grpSpPr>
          <a:xfrm>
            <a:off x="8212558" y="3652938"/>
            <a:ext cx="486402" cy="540862"/>
            <a:chOff x="7074405" y="1732522"/>
            <a:chExt cx="442208" cy="491720"/>
          </a:xfrm>
          <a:solidFill>
            <a:schemeClr val="accent2"/>
          </a:solidFill>
        </p:grpSpPr>
        <p:sp>
          <p:nvSpPr>
            <p:cNvPr id="101" name="Freeform: Shape 115">
              <a:extLst>
                <a:ext uri="{FF2B5EF4-FFF2-40B4-BE49-F238E27FC236}">
                  <a16:creationId xmlns:a16="http://schemas.microsoft.com/office/drawing/2014/main" id="{C88035AB-847C-4019-9EC4-DFA5CB54F412}"/>
                </a:ext>
              </a:extLst>
            </p:cNvPr>
            <p:cNvSpPr/>
            <p:nvPr/>
          </p:nvSpPr>
          <p:spPr>
            <a:xfrm>
              <a:off x="7177414" y="1907445"/>
              <a:ext cx="237471" cy="141254"/>
            </a:xfrm>
            <a:custGeom>
              <a:avLst/>
              <a:gdLst>
                <a:gd name="connsiteX0" fmla="*/ 234912 w 237471"/>
                <a:gd name="connsiteY0" fmla="*/ 141254 h 141254"/>
                <a:gd name="connsiteX1" fmla="*/ 237471 w 237471"/>
                <a:gd name="connsiteY1" fmla="*/ 138695 h 141254"/>
                <a:gd name="connsiteX2" fmla="*/ 237471 w 237471"/>
                <a:gd name="connsiteY2" fmla="*/ 110547 h 141254"/>
                <a:gd name="connsiteX3" fmla="*/ 237471 w 237471"/>
                <a:gd name="connsiteY3" fmla="*/ 30707 h 141254"/>
                <a:gd name="connsiteX4" fmla="*/ 237471 w 237471"/>
                <a:gd name="connsiteY4" fmla="*/ 2559 h 141254"/>
                <a:gd name="connsiteX5" fmla="*/ 234912 w 237471"/>
                <a:gd name="connsiteY5" fmla="*/ 0 h 141254"/>
                <a:gd name="connsiteX6" fmla="*/ 206764 w 237471"/>
                <a:gd name="connsiteY6" fmla="*/ 0 h 141254"/>
                <a:gd name="connsiteX7" fmla="*/ 30707 w 237471"/>
                <a:gd name="connsiteY7" fmla="*/ 0 h 141254"/>
                <a:gd name="connsiteX8" fmla="*/ 2559 w 237471"/>
                <a:gd name="connsiteY8" fmla="*/ 0 h 141254"/>
                <a:gd name="connsiteX9" fmla="*/ 0 w 237471"/>
                <a:gd name="connsiteY9" fmla="*/ 2559 h 141254"/>
                <a:gd name="connsiteX10" fmla="*/ 0 w 237471"/>
                <a:gd name="connsiteY10" fmla="*/ 30707 h 141254"/>
                <a:gd name="connsiteX11" fmla="*/ 0 w 237471"/>
                <a:gd name="connsiteY11" fmla="*/ 110547 h 141254"/>
                <a:gd name="connsiteX12" fmla="*/ 0 w 237471"/>
                <a:gd name="connsiteY12" fmla="*/ 138695 h 141254"/>
                <a:gd name="connsiteX13" fmla="*/ 2559 w 237471"/>
                <a:gd name="connsiteY13" fmla="*/ 141254 h 141254"/>
                <a:gd name="connsiteX14" fmla="*/ 30707 w 237471"/>
                <a:gd name="connsiteY14" fmla="*/ 141254 h 141254"/>
                <a:gd name="connsiteX15" fmla="*/ 206764 w 237471"/>
                <a:gd name="connsiteY15" fmla="*/ 141254 h 141254"/>
                <a:gd name="connsiteX16" fmla="*/ 234912 w 237471"/>
                <a:gd name="connsiteY16" fmla="*/ 141254 h 141254"/>
                <a:gd name="connsiteX17" fmla="*/ 231841 w 237471"/>
                <a:gd name="connsiteY17" fmla="*/ 135625 h 141254"/>
                <a:gd name="connsiteX18" fmla="*/ 209323 w 237471"/>
                <a:gd name="connsiteY18" fmla="*/ 135625 h 141254"/>
                <a:gd name="connsiteX19" fmla="*/ 209834 w 237471"/>
                <a:gd name="connsiteY19" fmla="*/ 133066 h 141254"/>
                <a:gd name="connsiteX20" fmla="*/ 209834 w 237471"/>
                <a:gd name="connsiteY20" fmla="*/ 132554 h 141254"/>
                <a:gd name="connsiteX21" fmla="*/ 210346 w 237471"/>
                <a:gd name="connsiteY21" fmla="*/ 131018 h 141254"/>
                <a:gd name="connsiteX22" fmla="*/ 210858 w 237471"/>
                <a:gd name="connsiteY22" fmla="*/ 129995 h 141254"/>
                <a:gd name="connsiteX23" fmla="*/ 211370 w 237471"/>
                <a:gd name="connsiteY23" fmla="*/ 128459 h 141254"/>
                <a:gd name="connsiteX24" fmla="*/ 211882 w 237471"/>
                <a:gd name="connsiteY24" fmla="*/ 127436 h 141254"/>
                <a:gd name="connsiteX25" fmla="*/ 212393 w 237471"/>
                <a:gd name="connsiteY25" fmla="*/ 125900 h 141254"/>
                <a:gd name="connsiteX26" fmla="*/ 212905 w 237471"/>
                <a:gd name="connsiteY26" fmla="*/ 124877 h 141254"/>
                <a:gd name="connsiteX27" fmla="*/ 213417 w 237471"/>
                <a:gd name="connsiteY27" fmla="*/ 123853 h 141254"/>
                <a:gd name="connsiteX28" fmla="*/ 213929 w 237471"/>
                <a:gd name="connsiteY28" fmla="*/ 123342 h 141254"/>
                <a:gd name="connsiteX29" fmla="*/ 214952 w 237471"/>
                <a:gd name="connsiteY29" fmla="*/ 122318 h 141254"/>
                <a:gd name="connsiteX30" fmla="*/ 215464 w 237471"/>
                <a:gd name="connsiteY30" fmla="*/ 121806 h 141254"/>
                <a:gd name="connsiteX31" fmla="*/ 218535 w 237471"/>
                <a:gd name="connsiteY31" fmla="*/ 118735 h 141254"/>
                <a:gd name="connsiteX32" fmla="*/ 219046 w 237471"/>
                <a:gd name="connsiteY32" fmla="*/ 118224 h 141254"/>
                <a:gd name="connsiteX33" fmla="*/ 220070 w 237471"/>
                <a:gd name="connsiteY33" fmla="*/ 117200 h 141254"/>
                <a:gd name="connsiteX34" fmla="*/ 220582 w 237471"/>
                <a:gd name="connsiteY34" fmla="*/ 116688 h 141254"/>
                <a:gd name="connsiteX35" fmla="*/ 221605 w 237471"/>
                <a:gd name="connsiteY35" fmla="*/ 116176 h 141254"/>
                <a:gd name="connsiteX36" fmla="*/ 222629 w 237471"/>
                <a:gd name="connsiteY36" fmla="*/ 115665 h 141254"/>
                <a:gd name="connsiteX37" fmla="*/ 223653 w 237471"/>
                <a:gd name="connsiteY37" fmla="*/ 115153 h 141254"/>
                <a:gd name="connsiteX38" fmla="*/ 224676 w 237471"/>
                <a:gd name="connsiteY38" fmla="*/ 114641 h 141254"/>
                <a:gd name="connsiteX39" fmla="*/ 226212 w 237471"/>
                <a:gd name="connsiteY39" fmla="*/ 114129 h 141254"/>
                <a:gd name="connsiteX40" fmla="*/ 227235 w 237471"/>
                <a:gd name="connsiteY40" fmla="*/ 113618 h 141254"/>
                <a:gd name="connsiteX41" fmla="*/ 228771 w 237471"/>
                <a:gd name="connsiteY41" fmla="*/ 113106 h 141254"/>
                <a:gd name="connsiteX42" fmla="*/ 229282 w 237471"/>
                <a:gd name="connsiteY42" fmla="*/ 113106 h 141254"/>
                <a:gd name="connsiteX43" fmla="*/ 231841 w 237471"/>
                <a:gd name="connsiteY43" fmla="*/ 112594 h 141254"/>
                <a:gd name="connsiteX44" fmla="*/ 231841 w 237471"/>
                <a:gd name="connsiteY44" fmla="*/ 135625 h 141254"/>
                <a:gd name="connsiteX45" fmla="*/ 231841 w 237471"/>
                <a:gd name="connsiteY45" fmla="*/ 5118 h 141254"/>
                <a:gd name="connsiteX46" fmla="*/ 231841 w 237471"/>
                <a:gd name="connsiteY46" fmla="*/ 27637 h 141254"/>
                <a:gd name="connsiteX47" fmla="*/ 229282 w 237471"/>
                <a:gd name="connsiteY47" fmla="*/ 27125 h 141254"/>
                <a:gd name="connsiteX48" fmla="*/ 228771 w 237471"/>
                <a:gd name="connsiteY48" fmla="*/ 27125 h 141254"/>
                <a:gd name="connsiteX49" fmla="*/ 227235 w 237471"/>
                <a:gd name="connsiteY49" fmla="*/ 26613 h 141254"/>
                <a:gd name="connsiteX50" fmla="*/ 226212 w 237471"/>
                <a:gd name="connsiteY50" fmla="*/ 26101 h 141254"/>
                <a:gd name="connsiteX51" fmla="*/ 224676 w 237471"/>
                <a:gd name="connsiteY51" fmla="*/ 25590 h 141254"/>
                <a:gd name="connsiteX52" fmla="*/ 223653 w 237471"/>
                <a:gd name="connsiteY52" fmla="*/ 25078 h 141254"/>
                <a:gd name="connsiteX53" fmla="*/ 222117 w 237471"/>
                <a:gd name="connsiteY53" fmla="*/ 24566 h 141254"/>
                <a:gd name="connsiteX54" fmla="*/ 221094 w 237471"/>
                <a:gd name="connsiteY54" fmla="*/ 24054 h 141254"/>
                <a:gd name="connsiteX55" fmla="*/ 220070 w 237471"/>
                <a:gd name="connsiteY55" fmla="*/ 23542 h 141254"/>
                <a:gd name="connsiteX56" fmla="*/ 219558 w 237471"/>
                <a:gd name="connsiteY56" fmla="*/ 23031 h 141254"/>
                <a:gd name="connsiteX57" fmla="*/ 218535 w 237471"/>
                <a:gd name="connsiteY57" fmla="*/ 22007 h 141254"/>
                <a:gd name="connsiteX58" fmla="*/ 218023 w 237471"/>
                <a:gd name="connsiteY58" fmla="*/ 21495 h 141254"/>
                <a:gd name="connsiteX59" fmla="*/ 214952 w 237471"/>
                <a:gd name="connsiteY59" fmla="*/ 18424 h 141254"/>
                <a:gd name="connsiteX60" fmla="*/ 214441 w 237471"/>
                <a:gd name="connsiteY60" fmla="*/ 17913 h 141254"/>
                <a:gd name="connsiteX61" fmla="*/ 213417 w 237471"/>
                <a:gd name="connsiteY61" fmla="*/ 16889 h 141254"/>
                <a:gd name="connsiteX62" fmla="*/ 212905 w 237471"/>
                <a:gd name="connsiteY62" fmla="*/ 16377 h 141254"/>
                <a:gd name="connsiteX63" fmla="*/ 212393 w 237471"/>
                <a:gd name="connsiteY63" fmla="*/ 15354 h 141254"/>
                <a:gd name="connsiteX64" fmla="*/ 211882 w 237471"/>
                <a:gd name="connsiteY64" fmla="*/ 14330 h 141254"/>
                <a:gd name="connsiteX65" fmla="*/ 211370 w 237471"/>
                <a:gd name="connsiteY65" fmla="*/ 12795 h 141254"/>
                <a:gd name="connsiteX66" fmla="*/ 210858 w 237471"/>
                <a:gd name="connsiteY66" fmla="*/ 11771 h 141254"/>
                <a:gd name="connsiteX67" fmla="*/ 210346 w 237471"/>
                <a:gd name="connsiteY67" fmla="*/ 10236 h 141254"/>
                <a:gd name="connsiteX68" fmla="*/ 209834 w 237471"/>
                <a:gd name="connsiteY68" fmla="*/ 9212 h 141254"/>
                <a:gd name="connsiteX69" fmla="*/ 209323 w 237471"/>
                <a:gd name="connsiteY69" fmla="*/ 7677 h 141254"/>
                <a:gd name="connsiteX70" fmla="*/ 209323 w 237471"/>
                <a:gd name="connsiteY70" fmla="*/ 7165 h 141254"/>
                <a:gd name="connsiteX71" fmla="*/ 208811 w 237471"/>
                <a:gd name="connsiteY71" fmla="*/ 4606 h 141254"/>
                <a:gd name="connsiteX72" fmla="*/ 231841 w 237471"/>
                <a:gd name="connsiteY72" fmla="*/ 4606 h 141254"/>
                <a:gd name="connsiteX73" fmla="*/ 5118 w 237471"/>
                <a:gd name="connsiteY73" fmla="*/ 135625 h 141254"/>
                <a:gd name="connsiteX74" fmla="*/ 5118 w 237471"/>
                <a:gd name="connsiteY74" fmla="*/ 113106 h 141254"/>
                <a:gd name="connsiteX75" fmla="*/ 7677 w 237471"/>
                <a:gd name="connsiteY75" fmla="*/ 113618 h 141254"/>
                <a:gd name="connsiteX76" fmla="*/ 8189 w 237471"/>
                <a:gd name="connsiteY76" fmla="*/ 113618 h 141254"/>
                <a:gd name="connsiteX77" fmla="*/ 9724 w 237471"/>
                <a:gd name="connsiteY77" fmla="*/ 114129 h 141254"/>
                <a:gd name="connsiteX78" fmla="*/ 10748 w 237471"/>
                <a:gd name="connsiteY78" fmla="*/ 114641 h 141254"/>
                <a:gd name="connsiteX79" fmla="*/ 12283 w 237471"/>
                <a:gd name="connsiteY79" fmla="*/ 115153 h 141254"/>
                <a:gd name="connsiteX80" fmla="*/ 13307 w 237471"/>
                <a:gd name="connsiteY80" fmla="*/ 115665 h 141254"/>
                <a:gd name="connsiteX81" fmla="*/ 14330 w 237471"/>
                <a:gd name="connsiteY81" fmla="*/ 116176 h 141254"/>
                <a:gd name="connsiteX82" fmla="*/ 15354 w 237471"/>
                <a:gd name="connsiteY82" fmla="*/ 116688 h 141254"/>
                <a:gd name="connsiteX83" fmla="*/ 16377 w 237471"/>
                <a:gd name="connsiteY83" fmla="*/ 117200 h 141254"/>
                <a:gd name="connsiteX84" fmla="*/ 16889 w 237471"/>
                <a:gd name="connsiteY84" fmla="*/ 117712 h 141254"/>
                <a:gd name="connsiteX85" fmla="*/ 17913 w 237471"/>
                <a:gd name="connsiteY85" fmla="*/ 118735 h 141254"/>
                <a:gd name="connsiteX86" fmla="*/ 18425 w 237471"/>
                <a:gd name="connsiteY86" fmla="*/ 119247 h 141254"/>
                <a:gd name="connsiteX87" fmla="*/ 21495 w 237471"/>
                <a:gd name="connsiteY87" fmla="*/ 122318 h 141254"/>
                <a:gd name="connsiteX88" fmla="*/ 22007 w 237471"/>
                <a:gd name="connsiteY88" fmla="*/ 122830 h 141254"/>
                <a:gd name="connsiteX89" fmla="*/ 23031 w 237471"/>
                <a:gd name="connsiteY89" fmla="*/ 123853 h 141254"/>
                <a:gd name="connsiteX90" fmla="*/ 23543 w 237471"/>
                <a:gd name="connsiteY90" fmla="*/ 124365 h 141254"/>
                <a:gd name="connsiteX91" fmla="*/ 24054 w 237471"/>
                <a:gd name="connsiteY91" fmla="*/ 125389 h 141254"/>
                <a:gd name="connsiteX92" fmla="*/ 24566 w 237471"/>
                <a:gd name="connsiteY92" fmla="*/ 126412 h 141254"/>
                <a:gd name="connsiteX93" fmla="*/ 25078 w 237471"/>
                <a:gd name="connsiteY93" fmla="*/ 127948 h 141254"/>
                <a:gd name="connsiteX94" fmla="*/ 25590 w 237471"/>
                <a:gd name="connsiteY94" fmla="*/ 128971 h 141254"/>
                <a:gd name="connsiteX95" fmla="*/ 26102 w 237471"/>
                <a:gd name="connsiteY95" fmla="*/ 130507 h 141254"/>
                <a:gd name="connsiteX96" fmla="*/ 26613 w 237471"/>
                <a:gd name="connsiteY96" fmla="*/ 131530 h 141254"/>
                <a:gd name="connsiteX97" fmla="*/ 27125 w 237471"/>
                <a:gd name="connsiteY97" fmla="*/ 133066 h 141254"/>
                <a:gd name="connsiteX98" fmla="*/ 27125 w 237471"/>
                <a:gd name="connsiteY98" fmla="*/ 133577 h 141254"/>
                <a:gd name="connsiteX99" fmla="*/ 27637 w 237471"/>
                <a:gd name="connsiteY99" fmla="*/ 136136 h 141254"/>
                <a:gd name="connsiteX100" fmla="*/ 5118 w 237471"/>
                <a:gd name="connsiteY100" fmla="*/ 136136 h 141254"/>
                <a:gd name="connsiteX101" fmla="*/ 27125 w 237471"/>
                <a:gd name="connsiteY101" fmla="*/ 7165 h 141254"/>
                <a:gd name="connsiteX102" fmla="*/ 27125 w 237471"/>
                <a:gd name="connsiteY102" fmla="*/ 7677 h 141254"/>
                <a:gd name="connsiteX103" fmla="*/ 26613 w 237471"/>
                <a:gd name="connsiteY103" fmla="*/ 9212 h 141254"/>
                <a:gd name="connsiteX104" fmla="*/ 26102 w 237471"/>
                <a:gd name="connsiteY104" fmla="*/ 10236 h 141254"/>
                <a:gd name="connsiteX105" fmla="*/ 25590 w 237471"/>
                <a:gd name="connsiteY105" fmla="*/ 11771 h 141254"/>
                <a:gd name="connsiteX106" fmla="*/ 25078 w 237471"/>
                <a:gd name="connsiteY106" fmla="*/ 12795 h 141254"/>
                <a:gd name="connsiteX107" fmla="*/ 24566 w 237471"/>
                <a:gd name="connsiteY107" fmla="*/ 14330 h 141254"/>
                <a:gd name="connsiteX108" fmla="*/ 24054 w 237471"/>
                <a:gd name="connsiteY108" fmla="*/ 15354 h 141254"/>
                <a:gd name="connsiteX109" fmla="*/ 23543 w 237471"/>
                <a:gd name="connsiteY109" fmla="*/ 16377 h 141254"/>
                <a:gd name="connsiteX110" fmla="*/ 23031 w 237471"/>
                <a:gd name="connsiteY110" fmla="*/ 16889 h 141254"/>
                <a:gd name="connsiteX111" fmla="*/ 22007 w 237471"/>
                <a:gd name="connsiteY111" fmla="*/ 17913 h 141254"/>
                <a:gd name="connsiteX112" fmla="*/ 21495 w 237471"/>
                <a:gd name="connsiteY112" fmla="*/ 18424 h 141254"/>
                <a:gd name="connsiteX113" fmla="*/ 18425 w 237471"/>
                <a:gd name="connsiteY113" fmla="*/ 21495 h 141254"/>
                <a:gd name="connsiteX114" fmla="*/ 17913 w 237471"/>
                <a:gd name="connsiteY114" fmla="*/ 22007 h 141254"/>
                <a:gd name="connsiteX115" fmla="*/ 16889 w 237471"/>
                <a:gd name="connsiteY115" fmla="*/ 23031 h 141254"/>
                <a:gd name="connsiteX116" fmla="*/ 16377 w 237471"/>
                <a:gd name="connsiteY116" fmla="*/ 23542 h 141254"/>
                <a:gd name="connsiteX117" fmla="*/ 15354 w 237471"/>
                <a:gd name="connsiteY117" fmla="*/ 24054 h 141254"/>
                <a:gd name="connsiteX118" fmla="*/ 14330 w 237471"/>
                <a:gd name="connsiteY118" fmla="*/ 24566 h 141254"/>
                <a:gd name="connsiteX119" fmla="*/ 12795 w 237471"/>
                <a:gd name="connsiteY119" fmla="*/ 25078 h 141254"/>
                <a:gd name="connsiteX120" fmla="*/ 11771 w 237471"/>
                <a:gd name="connsiteY120" fmla="*/ 25590 h 141254"/>
                <a:gd name="connsiteX121" fmla="*/ 10236 w 237471"/>
                <a:gd name="connsiteY121" fmla="*/ 26101 h 141254"/>
                <a:gd name="connsiteX122" fmla="*/ 9212 w 237471"/>
                <a:gd name="connsiteY122" fmla="*/ 26613 h 141254"/>
                <a:gd name="connsiteX123" fmla="*/ 7677 w 237471"/>
                <a:gd name="connsiteY123" fmla="*/ 27125 h 141254"/>
                <a:gd name="connsiteX124" fmla="*/ 7165 w 237471"/>
                <a:gd name="connsiteY124" fmla="*/ 27125 h 141254"/>
                <a:gd name="connsiteX125" fmla="*/ 4606 w 237471"/>
                <a:gd name="connsiteY125" fmla="*/ 27637 h 141254"/>
                <a:gd name="connsiteX126" fmla="*/ 4606 w 237471"/>
                <a:gd name="connsiteY126" fmla="*/ 5118 h 141254"/>
                <a:gd name="connsiteX127" fmla="*/ 27125 w 237471"/>
                <a:gd name="connsiteY127" fmla="*/ 5118 h 141254"/>
                <a:gd name="connsiteX128" fmla="*/ 27125 w 237471"/>
                <a:gd name="connsiteY128" fmla="*/ 7165 h 141254"/>
                <a:gd name="connsiteX129" fmla="*/ 118224 w 237471"/>
                <a:gd name="connsiteY129" fmla="*/ 112594 h 141254"/>
                <a:gd name="connsiteX130" fmla="*/ 75745 w 237471"/>
                <a:gd name="connsiteY130" fmla="*/ 70115 h 141254"/>
                <a:gd name="connsiteX131" fmla="*/ 118224 w 237471"/>
                <a:gd name="connsiteY131" fmla="*/ 27637 h 141254"/>
                <a:gd name="connsiteX132" fmla="*/ 160703 w 237471"/>
                <a:gd name="connsiteY132" fmla="*/ 70115 h 141254"/>
                <a:gd name="connsiteX133" fmla="*/ 118224 w 237471"/>
                <a:gd name="connsiteY133" fmla="*/ 112594 h 1412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Lst>
              <a:rect l="l" t="t" r="r" b="b"/>
              <a:pathLst>
                <a:path w="237471" h="141254">
                  <a:moveTo>
                    <a:pt x="234912" y="141254"/>
                  </a:moveTo>
                  <a:cubicBezTo>
                    <a:pt x="236448" y="141254"/>
                    <a:pt x="237471" y="140231"/>
                    <a:pt x="237471" y="138695"/>
                  </a:cubicBezTo>
                  <a:lnTo>
                    <a:pt x="237471" y="110547"/>
                  </a:lnTo>
                  <a:lnTo>
                    <a:pt x="237471" y="30707"/>
                  </a:lnTo>
                  <a:lnTo>
                    <a:pt x="237471" y="2559"/>
                  </a:lnTo>
                  <a:cubicBezTo>
                    <a:pt x="237471" y="1023"/>
                    <a:pt x="236448" y="0"/>
                    <a:pt x="234912" y="0"/>
                  </a:cubicBezTo>
                  <a:lnTo>
                    <a:pt x="206764" y="0"/>
                  </a:lnTo>
                  <a:lnTo>
                    <a:pt x="30707" y="0"/>
                  </a:lnTo>
                  <a:lnTo>
                    <a:pt x="2559" y="0"/>
                  </a:lnTo>
                  <a:cubicBezTo>
                    <a:pt x="1024" y="0"/>
                    <a:pt x="0" y="1023"/>
                    <a:pt x="0" y="2559"/>
                  </a:cubicBezTo>
                  <a:lnTo>
                    <a:pt x="0" y="30707"/>
                  </a:lnTo>
                  <a:lnTo>
                    <a:pt x="0" y="110547"/>
                  </a:lnTo>
                  <a:lnTo>
                    <a:pt x="0" y="138695"/>
                  </a:lnTo>
                  <a:cubicBezTo>
                    <a:pt x="0" y="140231"/>
                    <a:pt x="1024" y="141254"/>
                    <a:pt x="2559" y="141254"/>
                  </a:cubicBezTo>
                  <a:lnTo>
                    <a:pt x="30707" y="141254"/>
                  </a:lnTo>
                  <a:lnTo>
                    <a:pt x="206764" y="141254"/>
                  </a:lnTo>
                  <a:lnTo>
                    <a:pt x="234912" y="141254"/>
                  </a:lnTo>
                  <a:close/>
                  <a:moveTo>
                    <a:pt x="231841" y="135625"/>
                  </a:moveTo>
                  <a:lnTo>
                    <a:pt x="209323" y="135625"/>
                  </a:lnTo>
                  <a:cubicBezTo>
                    <a:pt x="209323" y="134601"/>
                    <a:pt x="209323" y="134089"/>
                    <a:pt x="209834" y="133066"/>
                  </a:cubicBezTo>
                  <a:cubicBezTo>
                    <a:pt x="209834" y="133066"/>
                    <a:pt x="209834" y="132554"/>
                    <a:pt x="209834" y="132554"/>
                  </a:cubicBezTo>
                  <a:cubicBezTo>
                    <a:pt x="209834" y="132042"/>
                    <a:pt x="210346" y="131530"/>
                    <a:pt x="210346" y="131018"/>
                  </a:cubicBezTo>
                  <a:cubicBezTo>
                    <a:pt x="210346" y="130507"/>
                    <a:pt x="210346" y="130507"/>
                    <a:pt x="210858" y="129995"/>
                  </a:cubicBezTo>
                  <a:cubicBezTo>
                    <a:pt x="210858" y="129483"/>
                    <a:pt x="211370" y="128971"/>
                    <a:pt x="211370" y="128459"/>
                  </a:cubicBezTo>
                  <a:cubicBezTo>
                    <a:pt x="211370" y="127948"/>
                    <a:pt x="211370" y="127948"/>
                    <a:pt x="211882" y="127436"/>
                  </a:cubicBezTo>
                  <a:cubicBezTo>
                    <a:pt x="211882" y="126924"/>
                    <a:pt x="212393" y="126412"/>
                    <a:pt x="212393" y="125900"/>
                  </a:cubicBezTo>
                  <a:cubicBezTo>
                    <a:pt x="212393" y="125389"/>
                    <a:pt x="212905" y="125389"/>
                    <a:pt x="212905" y="124877"/>
                  </a:cubicBezTo>
                  <a:cubicBezTo>
                    <a:pt x="212905" y="124365"/>
                    <a:pt x="213417" y="123853"/>
                    <a:pt x="213417" y="123853"/>
                  </a:cubicBezTo>
                  <a:cubicBezTo>
                    <a:pt x="213417" y="123853"/>
                    <a:pt x="213929" y="123342"/>
                    <a:pt x="213929" y="123342"/>
                  </a:cubicBezTo>
                  <a:cubicBezTo>
                    <a:pt x="214441" y="122830"/>
                    <a:pt x="214441" y="122318"/>
                    <a:pt x="214952" y="122318"/>
                  </a:cubicBezTo>
                  <a:cubicBezTo>
                    <a:pt x="214952" y="122318"/>
                    <a:pt x="215464" y="121806"/>
                    <a:pt x="215464" y="121806"/>
                  </a:cubicBezTo>
                  <a:cubicBezTo>
                    <a:pt x="216488" y="120783"/>
                    <a:pt x="217511" y="119759"/>
                    <a:pt x="218535" y="118735"/>
                  </a:cubicBezTo>
                  <a:cubicBezTo>
                    <a:pt x="218535" y="118735"/>
                    <a:pt x="219046" y="118224"/>
                    <a:pt x="219046" y="118224"/>
                  </a:cubicBezTo>
                  <a:cubicBezTo>
                    <a:pt x="219558" y="117712"/>
                    <a:pt x="220070" y="117712"/>
                    <a:pt x="220070" y="117200"/>
                  </a:cubicBezTo>
                  <a:cubicBezTo>
                    <a:pt x="220070" y="117200"/>
                    <a:pt x="220582" y="116688"/>
                    <a:pt x="220582" y="116688"/>
                  </a:cubicBezTo>
                  <a:cubicBezTo>
                    <a:pt x="221094" y="116176"/>
                    <a:pt x="221605" y="116176"/>
                    <a:pt x="221605" y="116176"/>
                  </a:cubicBezTo>
                  <a:cubicBezTo>
                    <a:pt x="222117" y="116176"/>
                    <a:pt x="222117" y="115665"/>
                    <a:pt x="222629" y="115665"/>
                  </a:cubicBezTo>
                  <a:cubicBezTo>
                    <a:pt x="223141" y="115665"/>
                    <a:pt x="223653" y="115153"/>
                    <a:pt x="223653" y="115153"/>
                  </a:cubicBezTo>
                  <a:cubicBezTo>
                    <a:pt x="224164" y="115153"/>
                    <a:pt x="224164" y="115153"/>
                    <a:pt x="224676" y="114641"/>
                  </a:cubicBezTo>
                  <a:cubicBezTo>
                    <a:pt x="225188" y="114641"/>
                    <a:pt x="225700" y="114129"/>
                    <a:pt x="226212" y="114129"/>
                  </a:cubicBezTo>
                  <a:cubicBezTo>
                    <a:pt x="226723" y="114129"/>
                    <a:pt x="226723" y="114129"/>
                    <a:pt x="227235" y="113618"/>
                  </a:cubicBezTo>
                  <a:cubicBezTo>
                    <a:pt x="227747" y="113618"/>
                    <a:pt x="228259" y="113106"/>
                    <a:pt x="228771" y="113106"/>
                  </a:cubicBezTo>
                  <a:cubicBezTo>
                    <a:pt x="228771" y="113106"/>
                    <a:pt x="229282" y="113106"/>
                    <a:pt x="229282" y="113106"/>
                  </a:cubicBezTo>
                  <a:cubicBezTo>
                    <a:pt x="229794" y="113106"/>
                    <a:pt x="230818" y="112594"/>
                    <a:pt x="231841" y="112594"/>
                  </a:cubicBezTo>
                  <a:lnTo>
                    <a:pt x="231841" y="135625"/>
                  </a:lnTo>
                  <a:close/>
                  <a:moveTo>
                    <a:pt x="231841" y="5118"/>
                  </a:moveTo>
                  <a:lnTo>
                    <a:pt x="231841" y="27637"/>
                  </a:lnTo>
                  <a:cubicBezTo>
                    <a:pt x="230818" y="27637"/>
                    <a:pt x="230306" y="27637"/>
                    <a:pt x="229282" y="27125"/>
                  </a:cubicBezTo>
                  <a:cubicBezTo>
                    <a:pt x="229282" y="27125"/>
                    <a:pt x="228771" y="27125"/>
                    <a:pt x="228771" y="27125"/>
                  </a:cubicBezTo>
                  <a:cubicBezTo>
                    <a:pt x="228259" y="27125"/>
                    <a:pt x="227747" y="26613"/>
                    <a:pt x="227235" y="26613"/>
                  </a:cubicBezTo>
                  <a:cubicBezTo>
                    <a:pt x="226723" y="26613"/>
                    <a:pt x="226723" y="26613"/>
                    <a:pt x="226212" y="26101"/>
                  </a:cubicBezTo>
                  <a:cubicBezTo>
                    <a:pt x="225700" y="26101"/>
                    <a:pt x="225188" y="25590"/>
                    <a:pt x="224676" y="25590"/>
                  </a:cubicBezTo>
                  <a:cubicBezTo>
                    <a:pt x="224164" y="25590"/>
                    <a:pt x="224164" y="25590"/>
                    <a:pt x="223653" y="25078"/>
                  </a:cubicBezTo>
                  <a:cubicBezTo>
                    <a:pt x="223141" y="25078"/>
                    <a:pt x="222629" y="24566"/>
                    <a:pt x="222117" y="24566"/>
                  </a:cubicBezTo>
                  <a:cubicBezTo>
                    <a:pt x="221605" y="24566"/>
                    <a:pt x="221605" y="24054"/>
                    <a:pt x="221094" y="24054"/>
                  </a:cubicBezTo>
                  <a:cubicBezTo>
                    <a:pt x="220582" y="24054"/>
                    <a:pt x="220070" y="23542"/>
                    <a:pt x="220070" y="23542"/>
                  </a:cubicBezTo>
                  <a:cubicBezTo>
                    <a:pt x="220070" y="23542"/>
                    <a:pt x="219558" y="23031"/>
                    <a:pt x="219558" y="23031"/>
                  </a:cubicBezTo>
                  <a:cubicBezTo>
                    <a:pt x="219046" y="22519"/>
                    <a:pt x="218535" y="22519"/>
                    <a:pt x="218535" y="22007"/>
                  </a:cubicBezTo>
                  <a:cubicBezTo>
                    <a:pt x="218535" y="22007"/>
                    <a:pt x="218023" y="21495"/>
                    <a:pt x="218023" y="21495"/>
                  </a:cubicBezTo>
                  <a:cubicBezTo>
                    <a:pt x="217000" y="20472"/>
                    <a:pt x="215976" y="19448"/>
                    <a:pt x="214952" y="18424"/>
                  </a:cubicBezTo>
                  <a:cubicBezTo>
                    <a:pt x="214952" y="18424"/>
                    <a:pt x="214441" y="17913"/>
                    <a:pt x="214441" y="17913"/>
                  </a:cubicBezTo>
                  <a:cubicBezTo>
                    <a:pt x="213929" y="17401"/>
                    <a:pt x="213929" y="16889"/>
                    <a:pt x="213417" y="16889"/>
                  </a:cubicBezTo>
                  <a:cubicBezTo>
                    <a:pt x="213417" y="16889"/>
                    <a:pt x="212905" y="16377"/>
                    <a:pt x="212905" y="16377"/>
                  </a:cubicBezTo>
                  <a:cubicBezTo>
                    <a:pt x="212393" y="15865"/>
                    <a:pt x="212393" y="15354"/>
                    <a:pt x="212393" y="15354"/>
                  </a:cubicBezTo>
                  <a:cubicBezTo>
                    <a:pt x="212393" y="14842"/>
                    <a:pt x="211882" y="14842"/>
                    <a:pt x="211882" y="14330"/>
                  </a:cubicBezTo>
                  <a:cubicBezTo>
                    <a:pt x="211882" y="13818"/>
                    <a:pt x="211370" y="13306"/>
                    <a:pt x="211370" y="12795"/>
                  </a:cubicBezTo>
                  <a:cubicBezTo>
                    <a:pt x="211370" y="12283"/>
                    <a:pt x="211370" y="12283"/>
                    <a:pt x="210858" y="11771"/>
                  </a:cubicBezTo>
                  <a:cubicBezTo>
                    <a:pt x="210858" y="11259"/>
                    <a:pt x="210346" y="10747"/>
                    <a:pt x="210346" y="10236"/>
                  </a:cubicBezTo>
                  <a:cubicBezTo>
                    <a:pt x="210346" y="9724"/>
                    <a:pt x="210346" y="9724"/>
                    <a:pt x="209834" y="9212"/>
                  </a:cubicBezTo>
                  <a:cubicBezTo>
                    <a:pt x="209834" y="8700"/>
                    <a:pt x="209323" y="8189"/>
                    <a:pt x="209323" y="7677"/>
                  </a:cubicBezTo>
                  <a:cubicBezTo>
                    <a:pt x="209323" y="7677"/>
                    <a:pt x="209323" y="7165"/>
                    <a:pt x="209323" y="7165"/>
                  </a:cubicBezTo>
                  <a:cubicBezTo>
                    <a:pt x="209323" y="6653"/>
                    <a:pt x="208811" y="5630"/>
                    <a:pt x="208811" y="4606"/>
                  </a:cubicBezTo>
                  <a:lnTo>
                    <a:pt x="231841" y="4606"/>
                  </a:lnTo>
                  <a:close/>
                  <a:moveTo>
                    <a:pt x="5118" y="135625"/>
                  </a:moveTo>
                  <a:lnTo>
                    <a:pt x="5118" y="113106"/>
                  </a:lnTo>
                  <a:cubicBezTo>
                    <a:pt x="6142" y="113106"/>
                    <a:pt x="6653" y="113106"/>
                    <a:pt x="7677" y="113618"/>
                  </a:cubicBezTo>
                  <a:cubicBezTo>
                    <a:pt x="7677" y="113618"/>
                    <a:pt x="8189" y="113618"/>
                    <a:pt x="8189" y="113618"/>
                  </a:cubicBezTo>
                  <a:cubicBezTo>
                    <a:pt x="8701" y="113618"/>
                    <a:pt x="9212" y="114129"/>
                    <a:pt x="9724" y="114129"/>
                  </a:cubicBezTo>
                  <a:cubicBezTo>
                    <a:pt x="10236" y="114129"/>
                    <a:pt x="10236" y="114129"/>
                    <a:pt x="10748" y="114641"/>
                  </a:cubicBezTo>
                  <a:cubicBezTo>
                    <a:pt x="11259" y="114641"/>
                    <a:pt x="11771" y="115153"/>
                    <a:pt x="12283" y="115153"/>
                  </a:cubicBezTo>
                  <a:cubicBezTo>
                    <a:pt x="12795" y="115153"/>
                    <a:pt x="12795" y="115153"/>
                    <a:pt x="13307" y="115665"/>
                  </a:cubicBezTo>
                  <a:cubicBezTo>
                    <a:pt x="13818" y="115665"/>
                    <a:pt x="14330" y="116176"/>
                    <a:pt x="14330" y="116176"/>
                  </a:cubicBezTo>
                  <a:cubicBezTo>
                    <a:pt x="14842" y="116176"/>
                    <a:pt x="14842" y="116688"/>
                    <a:pt x="15354" y="116688"/>
                  </a:cubicBezTo>
                  <a:cubicBezTo>
                    <a:pt x="15866" y="116688"/>
                    <a:pt x="16377" y="117200"/>
                    <a:pt x="16377" y="117200"/>
                  </a:cubicBezTo>
                  <a:cubicBezTo>
                    <a:pt x="16377" y="117200"/>
                    <a:pt x="16889" y="117712"/>
                    <a:pt x="16889" y="117712"/>
                  </a:cubicBezTo>
                  <a:cubicBezTo>
                    <a:pt x="17401" y="118224"/>
                    <a:pt x="17913" y="118224"/>
                    <a:pt x="17913" y="118735"/>
                  </a:cubicBezTo>
                  <a:cubicBezTo>
                    <a:pt x="17913" y="118735"/>
                    <a:pt x="18425" y="119247"/>
                    <a:pt x="18425" y="119247"/>
                  </a:cubicBezTo>
                  <a:cubicBezTo>
                    <a:pt x="19448" y="120271"/>
                    <a:pt x="20472" y="121294"/>
                    <a:pt x="21495" y="122318"/>
                  </a:cubicBezTo>
                  <a:cubicBezTo>
                    <a:pt x="21495" y="122318"/>
                    <a:pt x="22007" y="122830"/>
                    <a:pt x="22007" y="122830"/>
                  </a:cubicBezTo>
                  <a:cubicBezTo>
                    <a:pt x="22519" y="123342"/>
                    <a:pt x="22519" y="123853"/>
                    <a:pt x="23031" y="123853"/>
                  </a:cubicBezTo>
                  <a:cubicBezTo>
                    <a:pt x="23031" y="123853"/>
                    <a:pt x="23543" y="124365"/>
                    <a:pt x="23543" y="124365"/>
                  </a:cubicBezTo>
                  <a:cubicBezTo>
                    <a:pt x="24054" y="124877"/>
                    <a:pt x="24054" y="125389"/>
                    <a:pt x="24054" y="125389"/>
                  </a:cubicBezTo>
                  <a:cubicBezTo>
                    <a:pt x="24054" y="125900"/>
                    <a:pt x="24566" y="125900"/>
                    <a:pt x="24566" y="126412"/>
                  </a:cubicBezTo>
                  <a:cubicBezTo>
                    <a:pt x="24566" y="126924"/>
                    <a:pt x="25078" y="127436"/>
                    <a:pt x="25078" y="127948"/>
                  </a:cubicBezTo>
                  <a:cubicBezTo>
                    <a:pt x="25078" y="128459"/>
                    <a:pt x="25078" y="128459"/>
                    <a:pt x="25590" y="128971"/>
                  </a:cubicBezTo>
                  <a:cubicBezTo>
                    <a:pt x="25590" y="129483"/>
                    <a:pt x="26102" y="129995"/>
                    <a:pt x="26102" y="130507"/>
                  </a:cubicBezTo>
                  <a:cubicBezTo>
                    <a:pt x="26102" y="131018"/>
                    <a:pt x="26102" y="131018"/>
                    <a:pt x="26613" y="131530"/>
                  </a:cubicBezTo>
                  <a:cubicBezTo>
                    <a:pt x="26613" y="132042"/>
                    <a:pt x="27125" y="132554"/>
                    <a:pt x="27125" y="133066"/>
                  </a:cubicBezTo>
                  <a:cubicBezTo>
                    <a:pt x="27125" y="133066"/>
                    <a:pt x="27125" y="133577"/>
                    <a:pt x="27125" y="133577"/>
                  </a:cubicBezTo>
                  <a:cubicBezTo>
                    <a:pt x="27125" y="134089"/>
                    <a:pt x="27637" y="135113"/>
                    <a:pt x="27637" y="136136"/>
                  </a:cubicBezTo>
                  <a:lnTo>
                    <a:pt x="5118" y="136136"/>
                  </a:lnTo>
                  <a:close/>
                  <a:moveTo>
                    <a:pt x="27125" y="7165"/>
                  </a:moveTo>
                  <a:cubicBezTo>
                    <a:pt x="27125" y="7165"/>
                    <a:pt x="27125" y="7677"/>
                    <a:pt x="27125" y="7677"/>
                  </a:cubicBezTo>
                  <a:cubicBezTo>
                    <a:pt x="27125" y="8189"/>
                    <a:pt x="26613" y="8700"/>
                    <a:pt x="26613" y="9212"/>
                  </a:cubicBezTo>
                  <a:cubicBezTo>
                    <a:pt x="26613" y="9724"/>
                    <a:pt x="26613" y="9724"/>
                    <a:pt x="26102" y="10236"/>
                  </a:cubicBezTo>
                  <a:cubicBezTo>
                    <a:pt x="26102" y="10747"/>
                    <a:pt x="25590" y="11259"/>
                    <a:pt x="25590" y="11771"/>
                  </a:cubicBezTo>
                  <a:cubicBezTo>
                    <a:pt x="25590" y="12283"/>
                    <a:pt x="25590" y="12283"/>
                    <a:pt x="25078" y="12795"/>
                  </a:cubicBezTo>
                  <a:cubicBezTo>
                    <a:pt x="25078" y="13306"/>
                    <a:pt x="24566" y="13818"/>
                    <a:pt x="24566" y="14330"/>
                  </a:cubicBezTo>
                  <a:cubicBezTo>
                    <a:pt x="24566" y="14842"/>
                    <a:pt x="24054" y="14842"/>
                    <a:pt x="24054" y="15354"/>
                  </a:cubicBezTo>
                  <a:cubicBezTo>
                    <a:pt x="24054" y="15865"/>
                    <a:pt x="23543" y="16377"/>
                    <a:pt x="23543" y="16377"/>
                  </a:cubicBezTo>
                  <a:cubicBezTo>
                    <a:pt x="23543" y="16377"/>
                    <a:pt x="23031" y="16889"/>
                    <a:pt x="23031" y="16889"/>
                  </a:cubicBezTo>
                  <a:cubicBezTo>
                    <a:pt x="22519" y="17401"/>
                    <a:pt x="22519" y="17913"/>
                    <a:pt x="22007" y="17913"/>
                  </a:cubicBezTo>
                  <a:cubicBezTo>
                    <a:pt x="22007" y="17913"/>
                    <a:pt x="21495" y="18424"/>
                    <a:pt x="21495" y="18424"/>
                  </a:cubicBezTo>
                  <a:cubicBezTo>
                    <a:pt x="20472" y="19448"/>
                    <a:pt x="19448" y="20472"/>
                    <a:pt x="18425" y="21495"/>
                  </a:cubicBezTo>
                  <a:cubicBezTo>
                    <a:pt x="18425" y="21495"/>
                    <a:pt x="17913" y="22007"/>
                    <a:pt x="17913" y="22007"/>
                  </a:cubicBezTo>
                  <a:cubicBezTo>
                    <a:pt x="17401" y="22519"/>
                    <a:pt x="16889" y="22519"/>
                    <a:pt x="16889" y="23031"/>
                  </a:cubicBezTo>
                  <a:cubicBezTo>
                    <a:pt x="16889" y="23031"/>
                    <a:pt x="16377" y="23542"/>
                    <a:pt x="16377" y="23542"/>
                  </a:cubicBezTo>
                  <a:cubicBezTo>
                    <a:pt x="15866" y="24054"/>
                    <a:pt x="15354" y="24054"/>
                    <a:pt x="15354" y="24054"/>
                  </a:cubicBezTo>
                  <a:cubicBezTo>
                    <a:pt x="14842" y="24054"/>
                    <a:pt x="14842" y="24566"/>
                    <a:pt x="14330" y="24566"/>
                  </a:cubicBezTo>
                  <a:cubicBezTo>
                    <a:pt x="13818" y="24566"/>
                    <a:pt x="13307" y="25078"/>
                    <a:pt x="12795" y="25078"/>
                  </a:cubicBezTo>
                  <a:cubicBezTo>
                    <a:pt x="12283" y="25078"/>
                    <a:pt x="12283" y="25078"/>
                    <a:pt x="11771" y="25590"/>
                  </a:cubicBezTo>
                  <a:cubicBezTo>
                    <a:pt x="11259" y="25590"/>
                    <a:pt x="10748" y="26101"/>
                    <a:pt x="10236" y="26101"/>
                  </a:cubicBezTo>
                  <a:cubicBezTo>
                    <a:pt x="9724" y="26101"/>
                    <a:pt x="9724" y="26101"/>
                    <a:pt x="9212" y="26613"/>
                  </a:cubicBezTo>
                  <a:cubicBezTo>
                    <a:pt x="8701" y="26613"/>
                    <a:pt x="8189" y="27125"/>
                    <a:pt x="7677" y="27125"/>
                  </a:cubicBezTo>
                  <a:cubicBezTo>
                    <a:pt x="7677" y="27125"/>
                    <a:pt x="7165" y="27125"/>
                    <a:pt x="7165" y="27125"/>
                  </a:cubicBezTo>
                  <a:cubicBezTo>
                    <a:pt x="6653" y="27125"/>
                    <a:pt x="5630" y="27637"/>
                    <a:pt x="4606" y="27637"/>
                  </a:cubicBezTo>
                  <a:lnTo>
                    <a:pt x="4606" y="5118"/>
                  </a:lnTo>
                  <a:lnTo>
                    <a:pt x="27125" y="5118"/>
                  </a:lnTo>
                  <a:cubicBezTo>
                    <a:pt x="27637" y="5630"/>
                    <a:pt x="27125" y="6653"/>
                    <a:pt x="27125" y="7165"/>
                  </a:cubicBezTo>
                  <a:close/>
                  <a:moveTo>
                    <a:pt x="118224" y="112594"/>
                  </a:moveTo>
                  <a:cubicBezTo>
                    <a:pt x="94681" y="112594"/>
                    <a:pt x="75745" y="93658"/>
                    <a:pt x="75745" y="70115"/>
                  </a:cubicBezTo>
                  <a:cubicBezTo>
                    <a:pt x="75745" y="46573"/>
                    <a:pt x="94681" y="27637"/>
                    <a:pt x="118224" y="27637"/>
                  </a:cubicBezTo>
                  <a:cubicBezTo>
                    <a:pt x="141766" y="27637"/>
                    <a:pt x="160703" y="46573"/>
                    <a:pt x="160703" y="70115"/>
                  </a:cubicBezTo>
                  <a:cubicBezTo>
                    <a:pt x="160703" y="93658"/>
                    <a:pt x="141766" y="112594"/>
                    <a:pt x="118224" y="112594"/>
                  </a:cubicBezTo>
                  <a:close/>
                </a:path>
              </a:pathLst>
            </a:custGeom>
            <a:grpFill/>
            <a:ln w="511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02" name="Freeform: Shape 116">
              <a:extLst>
                <a:ext uri="{FF2B5EF4-FFF2-40B4-BE49-F238E27FC236}">
                  <a16:creationId xmlns:a16="http://schemas.microsoft.com/office/drawing/2014/main" id="{0F2FAC8B-2204-4672-8C3D-8C1A8E1C6403}"/>
                </a:ext>
              </a:extLst>
            </p:cNvPr>
            <p:cNvSpPr/>
            <p:nvPr/>
          </p:nvSpPr>
          <p:spPr>
            <a:xfrm>
              <a:off x="7276056" y="1949923"/>
              <a:ext cx="39029" cy="56808"/>
            </a:xfrm>
            <a:custGeom>
              <a:avLst/>
              <a:gdLst>
                <a:gd name="connsiteX0" fmla="*/ 21628 w 39029"/>
                <a:gd name="connsiteY0" fmla="*/ 20472 h 56808"/>
                <a:gd name="connsiteX1" fmla="*/ 21628 w 39029"/>
                <a:gd name="connsiteY1" fmla="*/ 11259 h 56808"/>
                <a:gd name="connsiteX2" fmla="*/ 24187 w 39029"/>
                <a:gd name="connsiteY2" fmla="*/ 13307 h 56808"/>
                <a:gd name="connsiteX3" fmla="*/ 25211 w 39029"/>
                <a:gd name="connsiteY3" fmla="*/ 14842 h 56808"/>
                <a:gd name="connsiteX4" fmla="*/ 28282 w 39029"/>
                <a:gd name="connsiteY4" fmla="*/ 16377 h 56808"/>
                <a:gd name="connsiteX5" fmla="*/ 34935 w 39029"/>
                <a:gd name="connsiteY5" fmla="*/ 15354 h 56808"/>
                <a:gd name="connsiteX6" fmla="*/ 36982 w 39029"/>
                <a:gd name="connsiteY6" fmla="*/ 11771 h 56808"/>
                <a:gd name="connsiteX7" fmla="*/ 32888 w 39029"/>
                <a:gd name="connsiteY7" fmla="*/ 6653 h 56808"/>
                <a:gd name="connsiteX8" fmla="*/ 21628 w 39029"/>
                <a:gd name="connsiteY8" fmla="*/ 3071 h 56808"/>
                <a:gd name="connsiteX9" fmla="*/ 21628 w 39029"/>
                <a:gd name="connsiteY9" fmla="*/ 0 h 56808"/>
                <a:gd name="connsiteX10" fmla="*/ 17022 w 39029"/>
                <a:gd name="connsiteY10" fmla="*/ 0 h 56808"/>
                <a:gd name="connsiteX11" fmla="*/ 17022 w 39029"/>
                <a:gd name="connsiteY11" fmla="*/ 3071 h 56808"/>
                <a:gd name="connsiteX12" fmla="*/ 5251 w 39029"/>
                <a:gd name="connsiteY12" fmla="*/ 7165 h 56808"/>
                <a:gd name="connsiteX13" fmla="*/ 1157 w 39029"/>
                <a:gd name="connsiteY13" fmla="*/ 16889 h 56808"/>
                <a:gd name="connsiteX14" fmla="*/ 3204 w 39029"/>
                <a:gd name="connsiteY14" fmla="*/ 24054 h 56808"/>
                <a:gd name="connsiteX15" fmla="*/ 7810 w 39029"/>
                <a:gd name="connsiteY15" fmla="*/ 28149 h 56808"/>
                <a:gd name="connsiteX16" fmla="*/ 17022 w 39029"/>
                <a:gd name="connsiteY16" fmla="*/ 31219 h 56808"/>
                <a:gd name="connsiteX17" fmla="*/ 17022 w 39029"/>
                <a:gd name="connsiteY17" fmla="*/ 42479 h 56808"/>
                <a:gd name="connsiteX18" fmla="*/ 13951 w 39029"/>
                <a:gd name="connsiteY18" fmla="*/ 39920 h 56808"/>
                <a:gd name="connsiteX19" fmla="*/ 12928 w 39029"/>
                <a:gd name="connsiteY19" fmla="*/ 37361 h 56808"/>
                <a:gd name="connsiteX20" fmla="*/ 9857 w 39029"/>
                <a:gd name="connsiteY20" fmla="*/ 35314 h 56808"/>
                <a:gd name="connsiteX21" fmla="*/ 2180 w 39029"/>
                <a:gd name="connsiteY21" fmla="*/ 36337 h 56808"/>
                <a:gd name="connsiteX22" fmla="*/ 133 w 39029"/>
                <a:gd name="connsiteY22" fmla="*/ 39920 h 56808"/>
                <a:gd name="connsiteX23" fmla="*/ 1157 w 39029"/>
                <a:gd name="connsiteY23" fmla="*/ 41967 h 56808"/>
                <a:gd name="connsiteX24" fmla="*/ 4228 w 39029"/>
                <a:gd name="connsiteY24" fmla="*/ 46061 h 56808"/>
                <a:gd name="connsiteX25" fmla="*/ 9346 w 39029"/>
                <a:gd name="connsiteY25" fmla="*/ 49132 h 56808"/>
                <a:gd name="connsiteX26" fmla="*/ 17022 w 39029"/>
                <a:gd name="connsiteY26" fmla="*/ 50667 h 56808"/>
                <a:gd name="connsiteX27" fmla="*/ 17022 w 39029"/>
                <a:gd name="connsiteY27" fmla="*/ 56809 h 56808"/>
                <a:gd name="connsiteX28" fmla="*/ 21628 w 39029"/>
                <a:gd name="connsiteY28" fmla="*/ 56809 h 56808"/>
                <a:gd name="connsiteX29" fmla="*/ 21628 w 39029"/>
                <a:gd name="connsiteY29" fmla="*/ 51179 h 56808"/>
                <a:gd name="connsiteX30" fmla="*/ 28282 w 39029"/>
                <a:gd name="connsiteY30" fmla="*/ 50155 h 56808"/>
                <a:gd name="connsiteX31" fmla="*/ 33399 w 39029"/>
                <a:gd name="connsiteY31" fmla="*/ 47085 h 56808"/>
                <a:gd name="connsiteX32" fmla="*/ 37494 w 39029"/>
                <a:gd name="connsiteY32" fmla="*/ 41967 h 56808"/>
                <a:gd name="connsiteX33" fmla="*/ 39029 w 39029"/>
                <a:gd name="connsiteY33" fmla="*/ 35314 h 56808"/>
                <a:gd name="connsiteX34" fmla="*/ 34423 w 39029"/>
                <a:gd name="connsiteY34" fmla="*/ 25590 h 56808"/>
                <a:gd name="connsiteX35" fmla="*/ 21628 w 39029"/>
                <a:gd name="connsiteY35" fmla="*/ 20472 h 56808"/>
                <a:gd name="connsiteX36" fmla="*/ 17022 w 39029"/>
                <a:gd name="connsiteY36" fmla="*/ 19448 h 56808"/>
                <a:gd name="connsiteX37" fmla="*/ 13951 w 39029"/>
                <a:gd name="connsiteY37" fmla="*/ 17913 h 56808"/>
                <a:gd name="connsiteX38" fmla="*/ 12928 w 39029"/>
                <a:gd name="connsiteY38" fmla="*/ 15354 h 56808"/>
                <a:gd name="connsiteX39" fmla="*/ 13951 w 39029"/>
                <a:gd name="connsiteY39" fmla="*/ 12795 h 56808"/>
                <a:gd name="connsiteX40" fmla="*/ 17022 w 39029"/>
                <a:gd name="connsiteY40" fmla="*/ 11259 h 56808"/>
                <a:gd name="connsiteX41" fmla="*/ 17022 w 39029"/>
                <a:gd name="connsiteY41" fmla="*/ 19448 h 56808"/>
                <a:gd name="connsiteX42" fmla="*/ 25723 w 39029"/>
                <a:gd name="connsiteY42" fmla="*/ 40943 h 56808"/>
                <a:gd name="connsiteX43" fmla="*/ 21628 w 39029"/>
                <a:gd name="connsiteY43" fmla="*/ 42990 h 56808"/>
                <a:gd name="connsiteX44" fmla="*/ 21628 w 39029"/>
                <a:gd name="connsiteY44" fmla="*/ 32755 h 56808"/>
                <a:gd name="connsiteX45" fmla="*/ 25723 w 39029"/>
                <a:gd name="connsiteY45" fmla="*/ 35314 h 56808"/>
                <a:gd name="connsiteX46" fmla="*/ 26746 w 39029"/>
                <a:gd name="connsiteY46" fmla="*/ 37873 h 56808"/>
                <a:gd name="connsiteX47" fmla="*/ 25723 w 39029"/>
                <a:gd name="connsiteY47" fmla="*/ 40943 h 568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39029" h="56808">
                  <a:moveTo>
                    <a:pt x="21628" y="20472"/>
                  </a:moveTo>
                  <a:lnTo>
                    <a:pt x="21628" y="11259"/>
                  </a:lnTo>
                  <a:cubicBezTo>
                    <a:pt x="22652" y="11771"/>
                    <a:pt x="23676" y="12283"/>
                    <a:pt x="24187" y="13307"/>
                  </a:cubicBezTo>
                  <a:cubicBezTo>
                    <a:pt x="24187" y="13818"/>
                    <a:pt x="24699" y="13818"/>
                    <a:pt x="25211" y="14842"/>
                  </a:cubicBezTo>
                  <a:cubicBezTo>
                    <a:pt x="25723" y="15866"/>
                    <a:pt x="26746" y="16377"/>
                    <a:pt x="28282" y="16377"/>
                  </a:cubicBezTo>
                  <a:lnTo>
                    <a:pt x="34935" y="15354"/>
                  </a:lnTo>
                  <a:cubicBezTo>
                    <a:pt x="36470" y="14842"/>
                    <a:pt x="38006" y="13307"/>
                    <a:pt x="36982" y="11771"/>
                  </a:cubicBezTo>
                  <a:cubicBezTo>
                    <a:pt x="35958" y="9724"/>
                    <a:pt x="34935" y="8189"/>
                    <a:pt x="32888" y="6653"/>
                  </a:cubicBezTo>
                  <a:cubicBezTo>
                    <a:pt x="30329" y="4606"/>
                    <a:pt x="26746" y="3583"/>
                    <a:pt x="21628" y="3071"/>
                  </a:cubicBezTo>
                  <a:lnTo>
                    <a:pt x="21628" y="0"/>
                  </a:lnTo>
                  <a:lnTo>
                    <a:pt x="17022" y="0"/>
                  </a:lnTo>
                  <a:lnTo>
                    <a:pt x="17022" y="3071"/>
                  </a:lnTo>
                  <a:cubicBezTo>
                    <a:pt x="11905" y="3583"/>
                    <a:pt x="7810" y="4606"/>
                    <a:pt x="5251" y="7165"/>
                  </a:cubicBezTo>
                  <a:cubicBezTo>
                    <a:pt x="2692" y="9724"/>
                    <a:pt x="1157" y="12795"/>
                    <a:pt x="1157" y="16889"/>
                  </a:cubicBezTo>
                  <a:cubicBezTo>
                    <a:pt x="1157" y="19448"/>
                    <a:pt x="1669" y="22007"/>
                    <a:pt x="3204" y="24054"/>
                  </a:cubicBezTo>
                  <a:cubicBezTo>
                    <a:pt x="4739" y="26101"/>
                    <a:pt x="6275" y="27637"/>
                    <a:pt x="7810" y="28149"/>
                  </a:cubicBezTo>
                  <a:cubicBezTo>
                    <a:pt x="9857" y="29172"/>
                    <a:pt x="12928" y="30196"/>
                    <a:pt x="17022" y="31219"/>
                  </a:cubicBezTo>
                  <a:lnTo>
                    <a:pt x="17022" y="42479"/>
                  </a:lnTo>
                  <a:cubicBezTo>
                    <a:pt x="15487" y="41967"/>
                    <a:pt x="14463" y="40943"/>
                    <a:pt x="13951" y="39920"/>
                  </a:cubicBezTo>
                  <a:cubicBezTo>
                    <a:pt x="13440" y="39408"/>
                    <a:pt x="13440" y="38384"/>
                    <a:pt x="12928" y="37361"/>
                  </a:cubicBezTo>
                  <a:cubicBezTo>
                    <a:pt x="12416" y="35825"/>
                    <a:pt x="11393" y="35314"/>
                    <a:pt x="9857" y="35314"/>
                  </a:cubicBezTo>
                  <a:lnTo>
                    <a:pt x="2180" y="36337"/>
                  </a:lnTo>
                  <a:cubicBezTo>
                    <a:pt x="645" y="36337"/>
                    <a:pt x="-379" y="38384"/>
                    <a:pt x="133" y="39920"/>
                  </a:cubicBezTo>
                  <a:cubicBezTo>
                    <a:pt x="645" y="40943"/>
                    <a:pt x="645" y="41455"/>
                    <a:pt x="1157" y="41967"/>
                  </a:cubicBezTo>
                  <a:cubicBezTo>
                    <a:pt x="2180" y="43502"/>
                    <a:pt x="3204" y="45038"/>
                    <a:pt x="4228" y="46061"/>
                  </a:cubicBezTo>
                  <a:cubicBezTo>
                    <a:pt x="5763" y="47597"/>
                    <a:pt x="7298" y="48620"/>
                    <a:pt x="9346" y="49132"/>
                  </a:cubicBezTo>
                  <a:cubicBezTo>
                    <a:pt x="11393" y="49644"/>
                    <a:pt x="13951" y="50155"/>
                    <a:pt x="17022" y="50667"/>
                  </a:cubicBezTo>
                  <a:lnTo>
                    <a:pt x="17022" y="56809"/>
                  </a:lnTo>
                  <a:lnTo>
                    <a:pt x="21628" y="56809"/>
                  </a:lnTo>
                  <a:lnTo>
                    <a:pt x="21628" y="51179"/>
                  </a:lnTo>
                  <a:cubicBezTo>
                    <a:pt x="24187" y="51179"/>
                    <a:pt x="26746" y="50667"/>
                    <a:pt x="28282" y="50155"/>
                  </a:cubicBezTo>
                  <a:cubicBezTo>
                    <a:pt x="30329" y="49644"/>
                    <a:pt x="31864" y="48620"/>
                    <a:pt x="33399" y="47085"/>
                  </a:cubicBezTo>
                  <a:cubicBezTo>
                    <a:pt x="34935" y="45549"/>
                    <a:pt x="36470" y="44014"/>
                    <a:pt x="37494" y="41967"/>
                  </a:cubicBezTo>
                  <a:cubicBezTo>
                    <a:pt x="38517" y="39920"/>
                    <a:pt x="39029" y="37873"/>
                    <a:pt x="39029" y="35314"/>
                  </a:cubicBezTo>
                  <a:cubicBezTo>
                    <a:pt x="39029" y="31219"/>
                    <a:pt x="37494" y="28149"/>
                    <a:pt x="34423" y="25590"/>
                  </a:cubicBezTo>
                  <a:cubicBezTo>
                    <a:pt x="32888" y="24054"/>
                    <a:pt x="28282" y="22519"/>
                    <a:pt x="21628" y="20472"/>
                  </a:cubicBezTo>
                  <a:close/>
                  <a:moveTo>
                    <a:pt x="17022" y="19448"/>
                  </a:moveTo>
                  <a:cubicBezTo>
                    <a:pt x="15487" y="18936"/>
                    <a:pt x="14463" y="18425"/>
                    <a:pt x="13951" y="17913"/>
                  </a:cubicBezTo>
                  <a:cubicBezTo>
                    <a:pt x="13440" y="17401"/>
                    <a:pt x="12928" y="16377"/>
                    <a:pt x="12928" y="15354"/>
                  </a:cubicBezTo>
                  <a:cubicBezTo>
                    <a:pt x="12928" y="14330"/>
                    <a:pt x="13440" y="13818"/>
                    <a:pt x="13951" y="12795"/>
                  </a:cubicBezTo>
                  <a:cubicBezTo>
                    <a:pt x="14463" y="12283"/>
                    <a:pt x="15487" y="11771"/>
                    <a:pt x="17022" y="11259"/>
                  </a:cubicBezTo>
                  <a:lnTo>
                    <a:pt x="17022" y="19448"/>
                  </a:lnTo>
                  <a:close/>
                  <a:moveTo>
                    <a:pt x="25723" y="40943"/>
                  </a:moveTo>
                  <a:cubicBezTo>
                    <a:pt x="24699" y="41967"/>
                    <a:pt x="23676" y="42479"/>
                    <a:pt x="21628" y="42990"/>
                  </a:cubicBezTo>
                  <a:lnTo>
                    <a:pt x="21628" y="32755"/>
                  </a:lnTo>
                  <a:cubicBezTo>
                    <a:pt x="23676" y="33266"/>
                    <a:pt x="25211" y="34290"/>
                    <a:pt x="25723" y="35314"/>
                  </a:cubicBezTo>
                  <a:cubicBezTo>
                    <a:pt x="26235" y="36337"/>
                    <a:pt x="26746" y="37361"/>
                    <a:pt x="26746" y="37873"/>
                  </a:cubicBezTo>
                  <a:cubicBezTo>
                    <a:pt x="27258" y="38896"/>
                    <a:pt x="26746" y="39920"/>
                    <a:pt x="25723" y="40943"/>
                  </a:cubicBezTo>
                  <a:close/>
                </a:path>
              </a:pathLst>
            </a:custGeom>
            <a:grpFill/>
            <a:ln w="511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03" name="Freeform: Shape 117">
              <a:extLst>
                <a:ext uri="{FF2B5EF4-FFF2-40B4-BE49-F238E27FC236}">
                  <a16:creationId xmlns:a16="http://schemas.microsoft.com/office/drawing/2014/main" id="{8DD322BE-493C-489C-AE40-6A5F4A6260D4}"/>
                </a:ext>
              </a:extLst>
            </p:cNvPr>
            <p:cNvSpPr/>
            <p:nvPr/>
          </p:nvSpPr>
          <p:spPr>
            <a:xfrm>
              <a:off x="7074405" y="1732522"/>
              <a:ext cx="178131" cy="178504"/>
            </a:xfrm>
            <a:custGeom>
              <a:avLst/>
              <a:gdLst>
                <a:gd name="connsiteX0" fmla="*/ 124504 w 178131"/>
                <a:gd name="connsiteY0" fmla="*/ 154451 h 178504"/>
                <a:gd name="connsiteX1" fmla="*/ 133716 w 178131"/>
                <a:gd name="connsiteY1" fmla="*/ 145750 h 178504"/>
                <a:gd name="connsiteX2" fmla="*/ 177730 w 178131"/>
                <a:gd name="connsiteY2" fmla="*/ 10637 h 178504"/>
                <a:gd name="connsiteX3" fmla="*/ 175683 w 178131"/>
                <a:gd name="connsiteY3" fmla="*/ 2449 h 178504"/>
                <a:gd name="connsiteX4" fmla="*/ 167494 w 178131"/>
                <a:gd name="connsiteY4" fmla="*/ 402 h 178504"/>
                <a:gd name="connsiteX5" fmla="*/ 32381 w 178131"/>
                <a:gd name="connsiteY5" fmla="*/ 44416 h 178504"/>
                <a:gd name="connsiteX6" fmla="*/ 23681 w 178131"/>
                <a:gd name="connsiteY6" fmla="*/ 53628 h 178504"/>
                <a:gd name="connsiteX7" fmla="*/ 26752 w 178131"/>
                <a:gd name="connsiteY7" fmla="*/ 64375 h 178504"/>
                <a:gd name="connsiteX8" fmla="*/ 39547 w 178131"/>
                <a:gd name="connsiteY8" fmla="*/ 77170 h 178504"/>
                <a:gd name="connsiteX9" fmla="*/ 3721 w 178131"/>
                <a:gd name="connsiteY9" fmla="*/ 112996 h 178504"/>
                <a:gd name="connsiteX10" fmla="*/ 3209 w 178131"/>
                <a:gd name="connsiteY10" fmla="*/ 129885 h 178504"/>
                <a:gd name="connsiteX11" fmla="*/ 48759 w 178131"/>
                <a:gd name="connsiteY11" fmla="*/ 175434 h 178504"/>
                <a:gd name="connsiteX12" fmla="*/ 56436 w 178131"/>
                <a:gd name="connsiteY12" fmla="*/ 178505 h 178504"/>
                <a:gd name="connsiteX13" fmla="*/ 65136 w 178131"/>
                <a:gd name="connsiteY13" fmla="*/ 174922 h 178504"/>
                <a:gd name="connsiteX14" fmla="*/ 100961 w 178131"/>
                <a:gd name="connsiteY14" fmla="*/ 139097 h 178504"/>
                <a:gd name="connsiteX15" fmla="*/ 113756 w 178131"/>
                <a:gd name="connsiteY15" fmla="*/ 151892 h 178504"/>
                <a:gd name="connsiteX16" fmla="*/ 124504 w 178131"/>
                <a:gd name="connsiteY16" fmla="*/ 154451 h 178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78131" h="178504">
                  <a:moveTo>
                    <a:pt x="124504" y="154451"/>
                  </a:moveTo>
                  <a:cubicBezTo>
                    <a:pt x="129110" y="153427"/>
                    <a:pt x="132181" y="150356"/>
                    <a:pt x="133716" y="145750"/>
                  </a:cubicBezTo>
                  <a:lnTo>
                    <a:pt x="177730" y="10637"/>
                  </a:lnTo>
                  <a:cubicBezTo>
                    <a:pt x="178753" y="7567"/>
                    <a:pt x="177730" y="4496"/>
                    <a:pt x="175683" y="2449"/>
                  </a:cubicBezTo>
                  <a:cubicBezTo>
                    <a:pt x="173636" y="402"/>
                    <a:pt x="170053" y="-622"/>
                    <a:pt x="167494" y="402"/>
                  </a:cubicBezTo>
                  <a:lnTo>
                    <a:pt x="32381" y="44416"/>
                  </a:lnTo>
                  <a:cubicBezTo>
                    <a:pt x="28287" y="45951"/>
                    <a:pt x="24705" y="49534"/>
                    <a:pt x="23681" y="53628"/>
                  </a:cubicBezTo>
                  <a:cubicBezTo>
                    <a:pt x="22657" y="57722"/>
                    <a:pt x="23681" y="61305"/>
                    <a:pt x="26752" y="64375"/>
                  </a:cubicBezTo>
                  <a:lnTo>
                    <a:pt x="39547" y="77170"/>
                  </a:lnTo>
                  <a:lnTo>
                    <a:pt x="3721" y="112996"/>
                  </a:lnTo>
                  <a:cubicBezTo>
                    <a:pt x="-885" y="117602"/>
                    <a:pt x="-1397" y="125279"/>
                    <a:pt x="3209" y="129885"/>
                  </a:cubicBezTo>
                  <a:lnTo>
                    <a:pt x="48759" y="175434"/>
                  </a:lnTo>
                  <a:cubicBezTo>
                    <a:pt x="50806" y="177481"/>
                    <a:pt x="53877" y="178505"/>
                    <a:pt x="56436" y="178505"/>
                  </a:cubicBezTo>
                  <a:cubicBezTo>
                    <a:pt x="59506" y="178505"/>
                    <a:pt x="63089" y="177481"/>
                    <a:pt x="65136" y="174922"/>
                  </a:cubicBezTo>
                  <a:lnTo>
                    <a:pt x="100961" y="139097"/>
                  </a:lnTo>
                  <a:lnTo>
                    <a:pt x="113756" y="151892"/>
                  </a:lnTo>
                  <a:cubicBezTo>
                    <a:pt x="116315" y="154451"/>
                    <a:pt x="120409" y="155474"/>
                    <a:pt x="124504" y="154451"/>
                  </a:cubicBezTo>
                  <a:close/>
                </a:path>
              </a:pathLst>
            </a:custGeom>
            <a:grpFill/>
            <a:ln w="511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04" name="Freeform: Shape 118">
              <a:extLst>
                <a:ext uri="{FF2B5EF4-FFF2-40B4-BE49-F238E27FC236}">
                  <a16:creationId xmlns:a16="http://schemas.microsoft.com/office/drawing/2014/main" id="{872EEF1B-E449-4890-AF17-2EF878A7DB0D}"/>
                </a:ext>
              </a:extLst>
            </p:cNvPr>
            <p:cNvSpPr/>
            <p:nvPr/>
          </p:nvSpPr>
          <p:spPr>
            <a:xfrm>
              <a:off x="7338226" y="2046002"/>
              <a:ext cx="178387" cy="178241"/>
            </a:xfrm>
            <a:custGeom>
              <a:avLst/>
              <a:gdLst>
                <a:gd name="connsiteX0" fmla="*/ 175434 w 178387"/>
                <a:gd name="connsiteY0" fmla="*/ 48759 h 178241"/>
                <a:gd name="connsiteX1" fmla="*/ 129885 w 178387"/>
                <a:gd name="connsiteY1" fmla="*/ 3209 h 178241"/>
                <a:gd name="connsiteX2" fmla="*/ 112996 w 178387"/>
                <a:gd name="connsiteY2" fmla="*/ 3721 h 178241"/>
                <a:gd name="connsiteX3" fmla="*/ 77170 w 178387"/>
                <a:gd name="connsiteY3" fmla="*/ 39546 h 178241"/>
                <a:gd name="connsiteX4" fmla="*/ 64375 w 178387"/>
                <a:gd name="connsiteY4" fmla="*/ 26752 h 178241"/>
                <a:gd name="connsiteX5" fmla="*/ 53628 w 178387"/>
                <a:gd name="connsiteY5" fmla="*/ 23681 h 178241"/>
                <a:gd name="connsiteX6" fmla="*/ 44416 w 178387"/>
                <a:gd name="connsiteY6" fmla="*/ 32381 h 178241"/>
                <a:gd name="connsiteX7" fmla="*/ 402 w 178387"/>
                <a:gd name="connsiteY7" fmla="*/ 167494 h 178241"/>
                <a:gd name="connsiteX8" fmla="*/ 2449 w 178387"/>
                <a:gd name="connsiteY8" fmla="*/ 175683 h 178241"/>
                <a:gd name="connsiteX9" fmla="*/ 8078 w 178387"/>
                <a:gd name="connsiteY9" fmla="*/ 178242 h 178241"/>
                <a:gd name="connsiteX10" fmla="*/ 10637 w 178387"/>
                <a:gd name="connsiteY10" fmla="*/ 177730 h 178241"/>
                <a:gd name="connsiteX11" fmla="*/ 145750 w 178387"/>
                <a:gd name="connsiteY11" fmla="*/ 133716 h 178241"/>
                <a:gd name="connsiteX12" fmla="*/ 154451 w 178387"/>
                <a:gd name="connsiteY12" fmla="*/ 124504 h 178241"/>
                <a:gd name="connsiteX13" fmla="*/ 151380 w 178387"/>
                <a:gd name="connsiteY13" fmla="*/ 113756 h 178241"/>
                <a:gd name="connsiteX14" fmla="*/ 138585 w 178387"/>
                <a:gd name="connsiteY14" fmla="*/ 100961 h 178241"/>
                <a:gd name="connsiteX15" fmla="*/ 174411 w 178387"/>
                <a:gd name="connsiteY15" fmla="*/ 65136 h 178241"/>
                <a:gd name="connsiteX16" fmla="*/ 175434 w 178387"/>
                <a:gd name="connsiteY16" fmla="*/ 48759 h 178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78387" h="178241">
                  <a:moveTo>
                    <a:pt x="175434" y="48759"/>
                  </a:moveTo>
                  <a:lnTo>
                    <a:pt x="129885" y="3209"/>
                  </a:lnTo>
                  <a:cubicBezTo>
                    <a:pt x="125279" y="-1397"/>
                    <a:pt x="118114" y="-885"/>
                    <a:pt x="112996" y="3721"/>
                  </a:cubicBezTo>
                  <a:lnTo>
                    <a:pt x="77170" y="39546"/>
                  </a:lnTo>
                  <a:lnTo>
                    <a:pt x="64375" y="26752"/>
                  </a:lnTo>
                  <a:cubicBezTo>
                    <a:pt x="61817" y="24193"/>
                    <a:pt x="57722" y="23169"/>
                    <a:pt x="53628" y="23681"/>
                  </a:cubicBezTo>
                  <a:cubicBezTo>
                    <a:pt x="49022" y="24705"/>
                    <a:pt x="45951" y="27775"/>
                    <a:pt x="44416" y="32381"/>
                  </a:cubicBezTo>
                  <a:lnTo>
                    <a:pt x="402" y="167494"/>
                  </a:lnTo>
                  <a:cubicBezTo>
                    <a:pt x="-622" y="170565"/>
                    <a:pt x="402" y="173636"/>
                    <a:pt x="2449" y="175683"/>
                  </a:cubicBezTo>
                  <a:cubicBezTo>
                    <a:pt x="3984" y="177218"/>
                    <a:pt x="6031" y="178242"/>
                    <a:pt x="8078" y="178242"/>
                  </a:cubicBezTo>
                  <a:cubicBezTo>
                    <a:pt x="9102" y="178242"/>
                    <a:pt x="9614" y="178242"/>
                    <a:pt x="10637" y="177730"/>
                  </a:cubicBezTo>
                  <a:lnTo>
                    <a:pt x="145750" y="133716"/>
                  </a:lnTo>
                  <a:cubicBezTo>
                    <a:pt x="149845" y="132181"/>
                    <a:pt x="153427" y="128598"/>
                    <a:pt x="154451" y="124504"/>
                  </a:cubicBezTo>
                  <a:cubicBezTo>
                    <a:pt x="155474" y="120409"/>
                    <a:pt x="154451" y="116827"/>
                    <a:pt x="151380" y="113756"/>
                  </a:cubicBezTo>
                  <a:lnTo>
                    <a:pt x="138585" y="100961"/>
                  </a:lnTo>
                  <a:lnTo>
                    <a:pt x="174411" y="65136"/>
                  </a:lnTo>
                  <a:cubicBezTo>
                    <a:pt x="179528" y="61042"/>
                    <a:pt x="179528" y="53365"/>
                    <a:pt x="175434" y="48759"/>
                  </a:cubicBezTo>
                  <a:close/>
                </a:path>
              </a:pathLst>
            </a:custGeom>
            <a:grpFill/>
            <a:ln w="511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spTree>
    <p:extLst>
      <p:ext uri="{BB962C8B-B14F-4D97-AF65-F5344CB8AC3E}">
        <p14:creationId xmlns:p14="http://schemas.microsoft.com/office/powerpoint/2010/main" val="1554042155"/>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40"/>
                                        </p:tgtEl>
                                        <p:attrNameLst>
                                          <p:attrName>style.visibility</p:attrName>
                                        </p:attrNameLst>
                                      </p:cBhvr>
                                      <p:to>
                                        <p:strVal val="visible"/>
                                      </p:to>
                                    </p:set>
                                    <p:animEffect transition="in" filter="fade">
                                      <p:cBhvr>
                                        <p:cTn id="7" dur="500"/>
                                        <p:tgtEl>
                                          <p:spTgt spid="40"/>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500"/>
                                        <p:tgtEl>
                                          <p:spTgt spid="2"/>
                                        </p:tgtEl>
                                      </p:cBhvr>
                                    </p:animEffect>
                                  </p:childTnLst>
                                </p:cTn>
                              </p:par>
                              <p:par>
                                <p:cTn id="12" presetID="10" presetClass="entr" presetSubtype="0" fill="hold" nodeType="withEffect">
                                  <p:stCondLst>
                                    <p:cond delay="0"/>
                                  </p:stCondLst>
                                  <p:childTnLst>
                                    <p:set>
                                      <p:cBhvr>
                                        <p:cTn id="13" dur="1" fill="hold">
                                          <p:stCondLst>
                                            <p:cond delay="0"/>
                                          </p:stCondLst>
                                        </p:cTn>
                                        <p:tgtEl>
                                          <p:spTgt spid="53"/>
                                        </p:tgtEl>
                                        <p:attrNameLst>
                                          <p:attrName>style.visibility</p:attrName>
                                        </p:attrNameLst>
                                      </p:cBhvr>
                                      <p:to>
                                        <p:strVal val="visible"/>
                                      </p:to>
                                    </p:set>
                                    <p:animEffect transition="in" filter="fade">
                                      <p:cBhvr>
                                        <p:cTn id="14" dur="500"/>
                                        <p:tgtEl>
                                          <p:spTgt spid="53"/>
                                        </p:tgtEl>
                                      </p:cBhvr>
                                    </p:animEffect>
                                  </p:childTnLst>
                                </p:cTn>
                              </p:par>
                            </p:childTnLst>
                          </p:cTn>
                        </p:par>
                        <p:par>
                          <p:cTn id="15" fill="hold">
                            <p:stCondLst>
                              <p:cond delay="1000"/>
                            </p:stCondLst>
                            <p:childTnLst>
                              <p:par>
                                <p:cTn id="16" presetID="10" presetClass="entr" presetSubtype="0" fill="hold" nodeType="afterEffect">
                                  <p:stCondLst>
                                    <p:cond delay="0"/>
                                  </p:stCondLst>
                                  <p:childTnLst>
                                    <p:set>
                                      <p:cBhvr>
                                        <p:cTn id="17" dur="1" fill="hold">
                                          <p:stCondLst>
                                            <p:cond delay="0"/>
                                          </p:stCondLst>
                                        </p:cTn>
                                        <p:tgtEl>
                                          <p:spTgt spid="28"/>
                                        </p:tgtEl>
                                        <p:attrNameLst>
                                          <p:attrName>style.visibility</p:attrName>
                                        </p:attrNameLst>
                                      </p:cBhvr>
                                      <p:to>
                                        <p:strVal val="visible"/>
                                      </p:to>
                                    </p:set>
                                    <p:animEffect transition="in" filter="fade">
                                      <p:cBhvr>
                                        <p:cTn id="18" dur="500"/>
                                        <p:tgtEl>
                                          <p:spTgt spid="28"/>
                                        </p:tgtEl>
                                      </p:cBhvr>
                                    </p:animEffect>
                                  </p:childTnLst>
                                </p:cTn>
                              </p:par>
                              <p:par>
                                <p:cTn id="19" presetID="10" presetClass="entr" presetSubtype="0" fill="hold" nodeType="withEffect">
                                  <p:stCondLst>
                                    <p:cond delay="0"/>
                                  </p:stCondLst>
                                  <p:childTnLst>
                                    <p:set>
                                      <p:cBhvr>
                                        <p:cTn id="20" dur="1" fill="hold">
                                          <p:stCondLst>
                                            <p:cond delay="0"/>
                                          </p:stCondLst>
                                        </p:cTn>
                                        <p:tgtEl>
                                          <p:spTgt spid="34"/>
                                        </p:tgtEl>
                                        <p:attrNameLst>
                                          <p:attrName>style.visibility</p:attrName>
                                        </p:attrNameLst>
                                      </p:cBhvr>
                                      <p:to>
                                        <p:strVal val="visible"/>
                                      </p:to>
                                    </p:set>
                                    <p:animEffect transition="in" filter="fade">
                                      <p:cBhvr>
                                        <p:cTn id="21" dur="500"/>
                                        <p:tgtEl>
                                          <p:spTgt spid="34"/>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96"/>
                                        </p:tgtEl>
                                        <p:attrNameLst>
                                          <p:attrName>style.visibility</p:attrName>
                                        </p:attrNameLst>
                                      </p:cBhvr>
                                      <p:to>
                                        <p:strVal val="visible"/>
                                      </p:to>
                                    </p:set>
                                    <p:animEffect transition="in" filter="fade">
                                      <p:cBhvr>
                                        <p:cTn id="24" dur="500"/>
                                        <p:tgtEl>
                                          <p:spTgt spid="96"/>
                                        </p:tgtEl>
                                      </p:cBhvr>
                                    </p:animEffect>
                                  </p:childTnLst>
                                </p:cTn>
                              </p:par>
                              <p:par>
                                <p:cTn id="25" presetID="10" presetClass="entr" presetSubtype="0" fill="hold" nodeType="withEffect">
                                  <p:stCondLst>
                                    <p:cond delay="0"/>
                                  </p:stCondLst>
                                  <p:childTnLst>
                                    <p:set>
                                      <p:cBhvr>
                                        <p:cTn id="26" dur="1" fill="hold">
                                          <p:stCondLst>
                                            <p:cond delay="0"/>
                                          </p:stCondLst>
                                        </p:cTn>
                                        <p:tgtEl>
                                          <p:spTgt spid="73"/>
                                        </p:tgtEl>
                                        <p:attrNameLst>
                                          <p:attrName>style.visibility</p:attrName>
                                        </p:attrNameLst>
                                      </p:cBhvr>
                                      <p:to>
                                        <p:strVal val="visible"/>
                                      </p:to>
                                    </p:set>
                                    <p:animEffect transition="in" filter="fade">
                                      <p:cBhvr>
                                        <p:cTn id="27" dur="500"/>
                                        <p:tgtEl>
                                          <p:spTgt spid="73"/>
                                        </p:tgtEl>
                                      </p:cBhvr>
                                    </p:animEffect>
                                  </p:childTnLst>
                                </p:cTn>
                              </p:par>
                            </p:childTnLst>
                          </p:cTn>
                        </p:par>
                        <p:par>
                          <p:cTn id="28" fill="hold">
                            <p:stCondLst>
                              <p:cond delay="1500"/>
                            </p:stCondLst>
                            <p:childTnLst>
                              <p:par>
                                <p:cTn id="29" presetID="10" presetClass="entr" presetSubtype="0" fill="hold" grpId="0" nodeType="afterEffect">
                                  <p:stCondLst>
                                    <p:cond delay="0"/>
                                  </p:stCondLst>
                                  <p:childTnLst>
                                    <p:set>
                                      <p:cBhvr>
                                        <p:cTn id="30" dur="1" fill="hold">
                                          <p:stCondLst>
                                            <p:cond delay="0"/>
                                          </p:stCondLst>
                                        </p:cTn>
                                        <p:tgtEl>
                                          <p:spTgt spid="42"/>
                                        </p:tgtEl>
                                        <p:attrNameLst>
                                          <p:attrName>style.visibility</p:attrName>
                                        </p:attrNameLst>
                                      </p:cBhvr>
                                      <p:to>
                                        <p:strVal val="visible"/>
                                      </p:to>
                                    </p:set>
                                    <p:animEffect transition="in" filter="fade">
                                      <p:cBhvr>
                                        <p:cTn id="31" dur="500"/>
                                        <p:tgtEl>
                                          <p:spTgt spid="42"/>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41"/>
                                        </p:tgtEl>
                                        <p:attrNameLst>
                                          <p:attrName>style.visibility</p:attrName>
                                        </p:attrNameLst>
                                      </p:cBhvr>
                                      <p:to>
                                        <p:strVal val="visible"/>
                                      </p:to>
                                    </p:set>
                                    <p:animEffect transition="in" filter="fade">
                                      <p:cBhvr>
                                        <p:cTn id="34" dur="500"/>
                                        <p:tgtEl>
                                          <p:spTgt spid="41"/>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48"/>
                                        </p:tgtEl>
                                        <p:attrNameLst>
                                          <p:attrName>style.visibility</p:attrName>
                                        </p:attrNameLst>
                                      </p:cBhvr>
                                      <p:to>
                                        <p:strVal val="visible"/>
                                      </p:to>
                                    </p:set>
                                    <p:animEffect transition="in" filter="fade">
                                      <p:cBhvr>
                                        <p:cTn id="37" dur="500"/>
                                        <p:tgtEl>
                                          <p:spTgt spid="48"/>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47"/>
                                        </p:tgtEl>
                                        <p:attrNameLst>
                                          <p:attrName>style.visibility</p:attrName>
                                        </p:attrNameLst>
                                      </p:cBhvr>
                                      <p:to>
                                        <p:strVal val="visible"/>
                                      </p:to>
                                    </p:set>
                                    <p:animEffect transition="in" filter="fade">
                                      <p:cBhvr>
                                        <p:cTn id="40" dur="500"/>
                                        <p:tgtEl>
                                          <p:spTgt spid="47"/>
                                        </p:tgtEl>
                                      </p:cBhvr>
                                    </p:animEffect>
                                  </p:childTnLst>
                                </p:cTn>
                              </p:par>
                            </p:childTnLst>
                          </p:cTn>
                        </p:par>
                        <p:par>
                          <p:cTn id="41" fill="hold">
                            <p:stCondLst>
                              <p:cond delay="2000"/>
                            </p:stCondLst>
                            <p:childTnLst>
                              <p:par>
                                <p:cTn id="42" presetID="10" presetClass="entr" presetSubtype="0" fill="hold" nodeType="afterEffect">
                                  <p:stCondLst>
                                    <p:cond delay="0"/>
                                  </p:stCondLst>
                                  <p:childTnLst>
                                    <p:set>
                                      <p:cBhvr>
                                        <p:cTn id="43" dur="1" fill="hold">
                                          <p:stCondLst>
                                            <p:cond delay="0"/>
                                          </p:stCondLst>
                                        </p:cTn>
                                        <p:tgtEl>
                                          <p:spTgt spid="21"/>
                                        </p:tgtEl>
                                        <p:attrNameLst>
                                          <p:attrName>style.visibility</p:attrName>
                                        </p:attrNameLst>
                                      </p:cBhvr>
                                      <p:to>
                                        <p:strVal val="visible"/>
                                      </p:to>
                                    </p:set>
                                    <p:animEffect transition="in" filter="fade">
                                      <p:cBhvr>
                                        <p:cTn id="44" dur="500"/>
                                        <p:tgtEl>
                                          <p:spTgt spid="21"/>
                                        </p:tgtEl>
                                      </p:cBhvr>
                                    </p:animEffect>
                                  </p:childTnLst>
                                </p:cTn>
                              </p:par>
                              <p:par>
                                <p:cTn id="45" presetID="10" presetClass="entr" presetSubtype="0" fill="hold" nodeType="withEffect">
                                  <p:stCondLst>
                                    <p:cond delay="0"/>
                                  </p:stCondLst>
                                  <p:childTnLst>
                                    <p:set>
                                      <p:cBhvr>
                                        <p:cTn id="46" dur="1" fill="hold">
                                          <p:stCondLst>
                                            <p:cond delay="0"/>
                                          </p:stCondLst>
                                        </p:cTn>
                                        <p:tgtEl>
                                          <p:spTgt spid="14"/>
                                        </p:tgtEl>
                                        <p:attrNameLst>
                                          <p:attrName>style.visibility</p:attrName>
                                        </p:attrNameLst>
                                      </p:cBhvr>
                                      <p:to>
                                        <p:strVal val="visible"/>
                                      </p:to>
                                    </p:set>
                                    <p:animEffect transition="in" filter="fade">
                                      <p:cBhvr>
                                        <p:cTn id="47" dur="500"/>
                                        <p:tgtEl>
                                          <p:spTgt spid="14"/>
                                        </p:tgtEl>
                                      </p:cBhvr>
                                    </p:animEffect>
                                  </p:childTnLst>
                                </p:cTn>
                              </p:par>
                              <p:par>
                                <p:cTn id="48" presetID="10" presetClass="entr" presetSubtype="0" fill="hold" nodeType="withEffect">
                                  <p:stCondLst>
                                    <p:cond delay="0"/>
                                  </p:stCondLst>
                                  <p:childTnLst>
                                    <p:set>
                                      <p:cBhvr>
                                        <p:cTn id="49" dur="1" fill="hold">
                                          <p:stCondLst>
                                            <p:cond delay="0"/>
                                          </p:stCondLst>
                                        </p:cTn>
                                        <p:tgtEl>
                                          <p:spTgt spid="81"/>
                                        </p:tgtEl>
                                        <p:attrNameLst>
                                          <p:attrName>style.visibility</p:attrName>
                                        </p:attrNameLst>
                                      </p:cBhvr>
                                      <p:to>
                                        <p:strVal val="visible"/>
                                      </p:to>
                                    </p:set>
                                    <p:animEffect transition="in" filter="fade">
                                      <p:cBhvr>
                                        <p:cTn id="50" dur="500"/>
                                        <p:tgtEl>
                                          <p:spTgt spid="81"/>
                                        </p:tgtEl>
                                      </p:cBhvr>
                                    </p:animEffect>
                                  </p:childTnLst>
                                </p:cTn>
                              </p:par>
                              <p:par>
                                <p:cTn id="51" presetID="10" presetClass="entr" presetSubtype="0" fill="hold" nodeType="withEffect">
                                  <p:stCondLst>
                                    <p:cond delay="0"/>
                                  </p:stCondLst>
                                  <p:childTnLst>
                                    <p:set>
                                      <p:cBhvr>
                                        <p:cTn id="52" dur="1" fill="hold">
                                          <p:stCondLst>
                                            <p:cond delay="0"/>
                                          </p:stCondLst>
                                        </p:cTn>
                                        <p:tgtEl>
                                          <p:spTgt spid="100"/>
                                        </p:tgtEl>
                                        <p:attrNameLst>
                                          <p:attrName>style.visibility</p:attrName>
                                        </p:attrNameLst>
                                      </p:cBhvr>
                                      <p:to>
                                        <p:strVal val="visible"/>
                                      </p:to>
                                    </p:set>
                                    <p:animEffect transition="in" filter="fade">
                                      <p:cBhvr>
                                        <p:cTn id="53" dur="500"/>
                                        <p:tgtEl>
                                          <p:spTgt spid="100"/>
                                        </p:tgtEl>
                                      </p:cBhvr>
                                    </p:animEffect>
                                  </p:childTnLst>
                                </p:cTn>
                              </p:par>
                            </p:childTnLst>
                          </p:cTn>
                        </p:par>
                        <p:par>
                          <p:cTn id="54" fill="hold">
                            <p:stCondLst>
                              <p:cond delay="2500"/>
                            </p:stCondLst>
                            <p:childTnLst>
                              <p:par>
                                <p:cTn id="55" presetID="10" presetClass="entr" presetSubtype="0" fill="hold" grpId="0" nodeType="afterEffect">
                                  <p:stCondLst>
                                    <p:cond delay="0"/>
                                  </p:stCondLst>
                                  <p:childTnLst>
                                    <p:set>
                                      <p:cBhvr>
                                        <p:cTn id="56" dur="1" fill="hold">
                                          <p:stCondLst>
                                            <p:cond delay="0"/>
                                          </p:stCondLst>
                                        </p:cTn>
                                        <p:tgtEl>
                                          <p:spTgt spid="44"/>
                                        </p:tgtEl>
                                        <p:attrNameLst>
                                          <p:attrName>style.visibility</p:attrName>
                                        </p:attrNameLst>
                                      </p:cBhvr>
                                      <p:to>
                                        <p:strVal val="visible"/>
                                      </p:to>
                                    </p:set>
                                    <p:animEffect transition="in" filter="fade">
                                      <p:cBhvr>
                                        <p:cTn id="57" dur="500"/>
                                        <p:tgtEl>
                                          <p:spTgt spid="44"/>
                                        </p:tgtEl>
                                      </p:cBhvr>
                                    </p:animEffect>
                                  </p:childTnLst>
                                </p:cTn>
                              </p:par>
                              <p:par>
                                <p:cTn id="58" presetID="10" presetClass="entr" presetSubtype="0" fill="hold" grpId="0" nodeType="withEffect">
                                  <p:stCondLst>
                                    <p:cond delay="0"/>
                                  </p:stCondLst>
                                  <p:childTnLst>
                                    <p:set>
                                      <p:cBhvr>
                                        <p:cTn id="59" dur="1" fill="hold">
                                          <p:stCondLst>
                                            <p:cond delay="0"/>
                                          </p:stCondLst>
                                        </p:cTn>
                                        <p:tgtEl>
                                          <p:spTgt spid="43"/>
                                        </p:tgtEl>
                                        <p:attrNameLst>
                                          <p:attrName>style.visibility</p:attrName>
                                        </p:attrNameLst>
                                      </p:cBhvr>
                                      <p:to>
                                        <p:strVal val="visible"/>
                                      </p:to>
                                    </p:set>
                                    <p:animEffect transition="in" filter="fade">
                                      <p:cBhvr>
                                        <p:cTn id="60" dur="500"/>
                                        <p:tgtEl>
                                          <p:spTgt spid="43"/>
                                        </p:tgtEl>
                                      </p:cBhvr>
                                    </p:animEffect>
                                  </p:childTnLst>
                                </p:cTn>
                              </p:par>
                              <p:par>
                                <p:cTn id="61" presetID="10" presetClass="entr" presetSubtype="0" fill="hold" grpId="0" nodeType="withEffect">
                                  <p:stCondLst>
                                    <p:cond delay="0"/>
                                  </p:stCondLst>
                                  <p:childTnLst>
                                    <p:set>
                                      <p:cBhvr>
                                        <p:cTn id="62" dur="1" fill="hold">
                                          <p:stCondLst>
                                            <p:cond delay="0"/>
                                          </p:stCondLst>
                                        </p:cTn>
                                        <p:tgtEl>
                                          <p:spTgt spid="50"/>
                                        </p:tgtEl>
                                        <p:attrNameLst>
                                          <p:attrName>style.visibility</p:attrName>
                                        </p:attrNameLst>
                                      </p:cBhvr>
                                      <p:to>
                                        <p:strVal val="visible"/>
                                      </p:to>
                                    </p:set>
                                    <p:animEffect transition="in" filter="fade">
                                      <p:cBhvr>
                                        <p:cTn id="63" dur="500"/>
                                        <p:tgtEl>
                                          <p:spTgt spid="50"/>
                                        </p:tgtEl>
                                      </p:cBhvr>
                                    </p:animEffect>
                                  </p:childTnLst>
                                </p:cTn>
                              </p:par>
                              <p:par>
                                <p:cTn id="64" presetID="10" presetClass="entr" presetSubtype="0" fill="hold" grpId="0" nodeType="withEffect">
                                  <p:stCondLst>
                                    <p:cond delay="0"/>
                                  </p:stCondLst>
                                  <p:childTnLst>
                                    <p:set>
                                      <p:cBhvr>
                                        <p:cTn id="65" dur="1" fill="hold">
                                          <p:stCondLst>
                                            <p:cond delay="0"/>
                                          </p:stCondLst>
                                        </p:cTn>
                                        <p:tgtEl>
                                          <p:spTgt spid="49"/>
                                        </p:tgtEl>
                                        <p:attrNameLst>
                                          <p:attrName>style.visibility</p:attrName>
                                        </p:attrNameLst>
                                      </p:cBhvr>
                                      <p:to>
                                        <p:strVal val="visible"/>
                                      </p:to>
                                    </p:set>
                                    <p:animEffect transition="in" filter="fade">
                                      <p:cBhvr>
                                        <p:cTn id="66" dur="500"/>
                                        <p:tgtEl>
                                          <p:spTgt spid="49"/>
                                        </p:tgtEl>
                                      </p:cBhvr>
                                    </p:animEffect>
                                  </p:childTnLst>
                                </p:cTn>
                              </p:par>
                            </p:childTnLst>
                          </p:cTn>
                        </p:par>
                        <p:par>
                          <p:cTn id="67" fill="hold">
                            <p:stCondLst>
                              <p:cond delay="3000"/>
                            </p:stCondLst>
                            <p:childTnLst>
                              <p:par>
                                <p:cTn id="68" presetID="10" presetClass="entr" presetSubtype="0" fill="hold" nodeType="afterEffect">
                                  <p:stCondLst>
                                    <p:cond delay="0"/>
                                  </p:stCondLst>
                                  <p:childTnLst>
                                    <p:set>
                                      <p:cBhvr>
                                        <p:cTn id="69" dur="1" fill="hold">
                                          <p:stCondLst>
                                            <p:cond delay="0"/>
                                          </p:stCondLst>
                                        </p:cTn>
                                        <p:tgtEl>
                                          <p:spTgt spid="6"/>
                                        </p:tgtEl>
                                        <p:attrNameLst>
                                          <p:attrName>style.visibility</p:attrName>
                                        </p:attrNameLst>
                                      </p:cBhvr>
                                      <p:to>
                                        <p:strVal val="visible"/>
                                      </p:to>
                                    </p:set>
                                    <p:animEffect transition="in" filter="fade">
                                      <p:cBhvr>
                                        <p:cTn id="70" dur="500"/>
                                        <p:tgtEl>
                                          <p:spTgt spid="6"/>
                                        </p:tgtEl>
                                      </p:cBhvr>
                                    </p:animEffect>
                                  </p:childTnLst>
                                </p:cTn>
                              </p:par>
                              <p:par>
                                <p:cTn id="71" presetID="10" presetClass="entr" presetSubtype="0" fill="hold" nodeType="withEffect">
                                  <p:stCondLst>
                                    <p:cond delay="0"/>
                                  </p:stCondLst>
                                  <p:childTnLst>
                                    <p:set>
                                      <p:cBhvr>
                                        <p:cTn id="72" dur="1" fill="hold">
                                          <p:stCondLst>
                                            <p:cond delay="0"/>
                                          </p:stCondLst>
                                        </p:cTn>
                                        <p:tgtEl>
                                          <p:spTgt spid="10"/>
                                        </p:tgtEl>
                                        <p:attrNameLst>
                                          <p:attrName>style.visibility</p:attrName>
                                        </p:attrNameLst>
                                      </p:cBhvr>
                                      <p:to>
                                        <p:strVal val="visible"/>
                                      </p:to>
                                    </p:set>
                                    <p:animEffect transition="in" filter="fade">
                                      <p:cBhvr>
                                        <p:cTn id="73" dur="500"/>
                                        <p:tgtEl>
                                          <p:spTgt spid="10"/>
                                        </p:tgtEl>
                                      </p:cBhvr>
                                    </p:animEffect>
                                  </p:childTnLst>
                                </p:cTn>
                              </p:par>
                              <p:par>
                                <p:cTn id="74" presetID="10" presetClass="entr" presetSubtype="0" fill="hold" nodeType="withEffect">
                                  <p:stCondLst>
                                    <p:cond delay="0"/>
                                  </p:stCondLst>
                                  <p:childTnLst>
                                    <p:set>
                                      <p:cBhvr>
                                        <p:cTn id="75" dur="1" fill="hold">
                                          <p:stCondLst>
                                            <p:cond delay="0"/>
                                          </p:stCondLst>
                                        </p:cTn>
                                        <p:tgtEl>
                                          <p:spTgt spid="97"/>
                                        </p:tgtEl>
                                        <p:attrNameLst>
                                          <p:attrName>style.visibility</p:attrName>
                                        </p:attrNameLst>
                                      </p:cBhvr>
                                      <p:to>
                                        <p:strVal val="visible"/>
                                      </p:to>
                                    </p:set>
                                    <p:animEffect transition="in" filter="fade">
                                      <p:cBhvr>
                                        <p:cTn id="76" dur="500"/>
                                        <p:tgtEl>
                                          <p:spTgt spid="97"/>
                                        </p:tgtEl>
                                      </p:cBhvr>
                                    </p:animEffect>
                                  </p:childTnLst>
                                </p:cTn>
                              </p:par>
                              <p:par>
                                <p:cTn id="77" presetID="10" presetClass="entr" presetSubtype="0" fill="hold" nodeType="withEffect">
                                  <p:stCondLst>
                                    <p:cond delay="0"/>
                                  </p:stCondLst>
                                  <p:childTnLst>
                                    <p:set>
                                      <p:cBhvr>
                                        <p:cTn id="78" dur="1" fill="hold">
                                          <p:stCondLst>
                                            <p:cond delay="0"/>
                                          </p:stCondLst>
                                        </p:cTn>
                                        <p:tgtEl>
                                          <p:spTgt spid="90"/>
                                        </p:tgtEl>
                                        <p:attrNameLst>
                                          <p:attrName>style.visibility</p:attrName>
                                        </p:attrNameLst>
                                      </p:cBhvr>
                                      <p:to>
                                        <p:strVal val="visible"/>
                                      </p:to>
                                    </p:set>
                                    <p:animEffect transition="in" filter="fade">
                                      <p:cBhvr>
                                        <p:cTn id="79" dur="500"/>
                                        <p:tgtEl>
                                          <p:spTgt spid="90"/>
                                        </p:tgtEl>
                                      </p:cBhvr>
                                    </p:animEffect>
                                  </p:childTnLst>
                                </p:cTn>
                              </p:par>
                            </p:childTnLst>
                          </p:cTn>
                        </p:par>
                        <p:par>
                          <p:cTn id="80" fill="hold">
                            <p:stCondLst>
                              <p:cond delay="3500"/>
                            </p:stCondLst>
                            <p:childTnLst>
                              <p:par>
                                <p:cTn id="81" presetID="10" presetClass="entr" presetSubtype="0" fill="hold" grpId="0" nodeType="afterEffect">
                                  <p:stCondLst>
                                    <p:cond delay="0"/>
                                  </p:stCondLst>
                                  <p:childTnLst>
                                    <p:set>
                                      <p:cBhvr>
                                        <p:cTn id="82" dur="1" fill="hold">
                                          <p:stCondLst>
                                            <p:cond delay="0"/>
                                          </p:stCondLst>
                                        </p:cTn>
                                        <p:tgtEl>
                                          <p:spTgt spid="46"/>
                                        </p:tgtEl>
                                        <p:attrNameLst>
                                          <p:attrName>style.visibility</p:attrName>
                                        </p:attrNameLst>
                                      </p:cBhvr>
                                      <p:to>
                                        <p:strVal val="visible"/>
                                      </p:to>
                                    </p:set>
                                    <p:animEffect transition="in" filter="fade">
                                      <p:cBhvr>
                                        <p:cTn id="83" dur="500"/>
                                        <p:tgtEl>
                                          <p:spTgt spid="46"/>
                                        </p:tgtEl>
                                      </p:cBhvr>
                                    </p:animEffect>
                                  </p:childTnLst>
                                </p:cTn>
                              </p:par>
                              <p:par>
                                <p:cTn id="84" presetID="10" presetClass="entr" presetSubtype="0" fill="hold" grpId="0" nodeType="withEffect">
                                  <p:stCondLst>
                                    <p:cond delay="0"/>
                                  </p:stCondLst>
                                  <p:childTnLst>
                                    <p:set>
                                      <p:cBhvr>
                                        <p:cTn id="85" dur="1" fill="hold">
                                          <p:stCondLst>
                                            <p:cond delay="0"/>
                                          </p:stCondLst>
                                        </p:cTn>
                                        <p:tgtEl>
                                          <p:spTgt spid="45"/>
                                        </p:tgtEl>
                                        <p:attrNameLst>
                                          <p:attrName>style.visibility</p:attrName>
                                        </p:attrNameLst>
                                      </p:cBhvr>
                                      <p:to>
                                        <p:strVal val="visible"/>
                                      </p:to>
                                    </p:set>
                                    <p:animEffect transition="in" filter="fade">
                                      <p:cBhvr>
                                        <p:cTn id="86" dur="500"/>
                                        <p:tgtEl>
                                          <p:spTgt spid="45"/>
                                        </p:tgtEl>
                                      </p:cBhvr>
                                    </p:animEffect>
                                  </p:childTnLst>
                                </p:cTn>
                              </p:par>
                              <p:par>
                                <p:cTn id="87" presetID="10" presetClass="entr" presetSubtype="0" fill="hold" grpId="0" nodeType="withEffect">
                                  <p:stCondLst>
                                    <p:cond delay="0"/>
                                  </p:stCondLst>
                                  <p:childTnLst>
                                    <p:set>
                                      <p:cBhvr>
                                        <p:cTn id="88" dur="1" fill="hold">
                                          <p:stCondLst>
                                            <p:cond delay="0"/>
                                          </p:stCondLst>
                                        </p:cTn>
                                        <p:tgtEl>
                                          <p:spTgt spid="52"/>
                                        </p:tgtEl>
                                        <p:attrNameLst>
                                          <p:attrName>style.visibility</p:attrName>
                                        </p:attrNameLst>
                                      </p:cBhvr>
                                      <p:to>
                                        <p:strVal val="visible"/>
                                      </p:to>
                                    </p:set>
                                    <p:animEffect transition="in" filter="fade">
                                      <p:cBhvr>
                                        <p:cTn id="89" dur="500"/>
                                        <p:tgtEl>
                                          <p:spTgt spid="52"/>
                                        </p:tgtEl>
                                      </p:cBhvr>
                                    </p:animEffect>
                                  </p:childTnLst>
                                </p:cTn>
                              </p:par>
                              <p:par>
                                <p:cTn id="90" presetID="10" presetClass="entr" presetSubtype="0" fill="hold" grpId="0" nodeType="withEffect">
                                  <p:stCondLst>
                                    <p:cond delay="0"/>
                                  </p:stCondLst>
                                  <p:childTnLst>
                                    <p:set>
                                      <p:cBhvr>
                                        <p:cTn id="91" dur="1" fill="hold">
                                          <p:stCondLst>
                                            <p:cond delay="0"/>
                                          </p:stCondLst>
                                        </p:cTn>
                                        <p:tgtEl>
                                          <p:spTgt spid="51"/>
                                        </p:tgtEl>
                                        <p:attrNameLst>
                                          <p:attrName>style.visibility</p:attrName>
                                        </p:attrNameLst>
                                      </p:cBhvr>
                                      <p:to>
                                        <p:strVal val="visible"/>
                                      </p:to>
                                    </p:set>
                                    <p:animEffect transition="in" filter="fade">
                                      <p:cBhvr>
                                        <p:cTn id="92" dur="500"/>
                                        <p:tgtEl>
                                          <p:spTgt spid="5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0" grpId="0"/>
      <p:bldP spid="41" grpId="0"/>
      <p:bldP spid="42" grpId="0"/>
      <p:bldP spid="43" grpId="0"/>
      <p:bldP spid="44" grpId="0"/>
      <p:bldP spid="45" grpId="0"/>
      <p:bldP spid="46" grpId="0"/>
      <p:bldP spid="47" grpId="0"/>
      <p:bldP spid="48" grpId="0"/>
      <p:bldP spid="49" grpId="0"/>
      <p:bldP spid="50" grpId="0"/>
      <p:bldP spid="51" grpId="0"/>
      <p:bldP spid="52" grpId="0"/>
      <p:bldP spid="96" grpId="0" animBg="1"/>
    </p:bldLst>
  </p:timing>
</p:sld>
</file>

<file path=ppt/slides/slide6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3">
            <a:extLst>
              <a:ext uri="{FF2B5EF4-FFF2-40B4-BE49-F238E27FC236}">
                <a16:creationId xmlns:a16="http://schemas.microsoft.com/office/drawing/2014/main" id="{621DCCDD-F4B7-4DA6-97D0-F2734EDF455A}"/>
              </a:ext>
            </a:extLst>
          </p:cNvPr>
          <p:cNvGrpSpPr/>
          <p:nvPr/>
        </p:nvGrpSpPr>
        <p:grpSpPr>
          <a:xfrm>
            <a:off x="4048680" y="4810465"/>
            <a:ext cx="1658672" cy="1658672"/>
            <a:chOff x="4048680" y="4810465"/>
            <a:chExt cx="1658672" cy="1658672"/>
          </a:xfrm>
        </p:grpSpPr>
        <p:sp>
          <p:nvSpPr>
            <p:cNvPr id="3" name="Freeform: Shape 21">
              <a:extLst>
                <a:ext uri="{FF2B5EF4-FFF2-40B4-BE49-F238E27FC236}">
                  <a16:creationId xmlns:a16="http://schemas.microsoft.com/office/drawing/2014/main" id="{2A6D6CEE-23EC-49E7-A283-51BE1D553D1F}"/>
                </a:ext>
              </a:extLst>
            </p:cNvPr>
            <p:cNvSpPr/>
            <p:nvPr/>
          </p:nvSpPr>
          <p:spPr>
            <a:xfrm>
              <a:off x="4048680" y="5245225"/>
              <a:ext cx="1223912" cy="1223912"/>
            </a:xfrm>
            <a:custGeom>
              <a:avLst/>
              <a:gdLst>
                <a:gd name="connsiteX0" fmla="*/ 134457 w 1105401"/>
                <a:gd name="connsiteY0" fmla="*/ 135647 h 1105401"/>
                <a:gd name="connsiteX1" fmla="*/ 66633 w 1105401"/>
                <a:gd name="connsiteY1" fmla="*/ 411700 h 1105401"/>
                <a:gd name="connsiteX2" fmla="*/ 0 w 1105401"/>
                <a:gd name="connsiteY2" fmla="*/ 687752 h 1105401"/>
                <a:gd name="connsiteX3" fmla="*/ 208230 w 1105401"/>
                <a:gd name="connsiteY3" fmla="*/ 897172 h 1105401"/>
                <a:gd name="connsiteX4" fmla="*/ 417649 w 1105401"/>
                <a:gd name="connsiteY4" fmla="*/ 1105401 h 1105401"/>
                <a:gd name="connsiteX5" fmla="*/ 693702 w 1105401"/>
                <a:gd name="connsiteY5" fmla="*/ 1037578 h 1105401"/>
                <a:gd name="connsiteX6" fmla="*/ 969755 w 1105401"/>
                <a:gd name="connsiteY6" fmla="*/ 970945 h 1105401"/>
                <a:gd name="connsiteX7" fmla="*/ 1037578 w 1105401"/>
                <a:gd name="connsiteY7" fmla="*/ 693702 h 1105401"/>
                <a:gd name="connsiteX8" fmla="*/ 1105401 w 1105401"/>
                <a:gd name="connsiteY8" fmla="*/ 417649 h 1105401"/>
                <a:gd name="connsiteX9" fmla="*/ 895982 w 1105401"/>
                <a:gd name="connsiteY9" fmla="*/ 209420 h 1105401"/>
                <a:gd name="connsiteX10" fmla="*/ 687752 w 1105401"/>
                <a:gd name="connsiteY10" fmla="*/ 0 h 1105401"/>
                <a:gd name="connsiteX11" fmla="*/ 410510 w 1105401"/>
                <a:gd name="connsiteY11" fmla="*/ 67823 h 1105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05401" h="1105401">
                  <a:moveTo>
                    <a:pt x="134457" y="135647"/>
                  </a:moveTo>
                  <a:lnTo>
                    <a:pt x="66633" y="411700"/>
                  </a:lnTo>
                  <a:lnTo>
                    <a:pt x="0" y="687752"/>
                  </a:lnTo>
                  <a:lnTo>
                    <a:pt x="208230" y="897172"/>
                  </a:lnTo>
                  <a:lnTo>
                    <a:pt x="417649" y="1105401"/>
                  </a:lnTo>
                  <a:lnTo>
                    <a:pt x="693702" y="1037578"/>
                  </a:lnTo>
                  <a:lnTo>
                    <a:pt x="969755" y="970945"/>
                  </a:lnTo>
                  <a:lnTo>
                    <a:pt x="1037578" y="693702"/>
                  </a:lnTo>
                  <a:lnTo>
                    <a:pt x="1105401" y="417649"/>
                  </a:lnTo>
                  <a:lnTo>
                    <a:pt x="895982" y="209420"/>
                  </a:lnTo>
                  <a:lnTo>
                    <a:pt x="687752" y="0"/>
                  </a:lnTo>
                  <a:lnTo>
                    <a:pt x="410510" y="67823"/>
                  </a:lnTo>
                  <a:close/>
                </a:path>
              </a:pathLst>
            </a:custGeom>
            <a:solidFill>
              <a:schemeClr val="accent1"/>
            </a:solidFill>
            <a:ln w="1189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4" name="Freeform: Shape 22">
              <a:extLst>
                <a:ext uri="{FF2B5EF4-FFF2-40B4-BE49-F238E27FC236}">
                  <a16:creationId xmlns:a16="http://schemas.microsoft.com/office/drawing/2014/main" id="{BE91E77E-0B52-4C0A-8C05-41E84E5466EE}"/>
                </a:ext>
              </a:extLst>
            </p:cNvPr>
            <p:cNvSpPr/>
            <p:nvPr/>
          </p:nvSpPr>
          <p:spPr>
            <a:xfrm>
              <a:off x="5081563" y="4810465"/>
              <a:ext cx="625789" cy="625789"/>
            </a:xfrm>
            <a:custGeom>
              <a:avLst/>
              <a:gdLst>
                <a:gd name="connsiteX0" fmla="*/ 69013 w 565194"/>
                <a:gd name="connsiteY0" fmla="*/ 69013 h 565194"/>
                <a:gd name="connsiteX1" fmla="*/ 34507 w 565194"/>
                <a:gd name="connsiteY1" fmla="*/ 210609 h 565194"/>
                <a:gd name="connsiteX2" fmla="*/ 0 w 565194"/>
                <a:gd name="connsiteY2" fmla="*/ 352206 h 565194"/>
                <a:gd name="connsiteX3" fmla="*/ 107089 w 565194"/>
                <a:gd name="connsiteY3" fmla="*/ 458105 h 565194"/>
                <a:gd name="connsiteX4" fmla="*/ 212989 w 565194"/>
                <a:gd name="connsiteY4" fmla="*/ 565195 h 565194"/>
                <a:gd name="connsiteX5" fmla="*/ 354585 w 565194"/>
                <a:gd name="connsiteY5" fmla="*/ 530688 h 565194"/>
                <a:gd name="connsiteX6" fmla="*/ 496181 w 565194"/>
                <a:gd name="connsiteY6" fmla="*/ 496181 h 565194"/>
                <a:gd name="connsiteX7" fmla="*/ 530688 w 565194"/>
                <a:gd name="connsiteY7" fmla="*/ 354585 h 565194"/>
                <a:gd name="connsiteX8" fmla="*/ 565194 w 565194"/>
                <a:gd name="connsiteY8" fmla="*/ 212989 h 565194"/>
                <a:gd name="connsiteX9" fmla="*/ 458105 w 565194"/>
                <a:gd name="connsiteY9" fmla="*/ 105900 h 565194"/>
                <a:gd name="connsiteX10" fmla="*/ 352205 w 565194"/>
                <a:gd name="connsiteY10" fmla="*/ 0 h 565194"/>
                <a:gd name="connsiteX11" fmla="*/ 210609 w 565194"/>
                <a:gd name="connsiteY11" fmla="*/ 34507 h 5651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65194" h="565194">
                  <a:moveTo>
                    <a:pt x="69013" y="69013"/>
                  </a:moveTo>
                  <a:lnTo>
                    <a:pt x="34507" y="210609"/>
                  </a:lnTo>
                  <a:lnTo>
                    <a:pt x="0" y="352206"/>
                  </a:lnTo>
                  <a:lnTo>
                    <a:pt x="107089" y="458105"/>
                  </a:lnTo>
                  <a:lnTo>
                    <a:pt x="212989" y="565195"/>
                  </a:lnTo>
                  <a:lnTo>
                    <a:pt x="354585" y="530688"/>
                  </a:lnTo>
                  <a:lnTo>
                    <a:pt x="496181" y="496181"/>
                  </a:lnTo>
                  <a:lnTo>
                    <a:pt x="530688" y="354585"/>
                  </a:lnTo>
                  <a:lnTo>
                    <a:pt x="565194" y="212989"/>
                  </a:lnTo>
                  <a:lnTo>
                    <a:pt x="458105" y="105900"/>
                  </a:lnTo>
                  <a:lnTo>
                    <a:pt x="352205" y="0"/>
                  </a:lnTo>
                  <a:lnTo>
                    <a:pt x="210609" y="34507"/>
                  </a:lnTo>
                  <a:close/>
                </a:path>
              </a:pathLst>
            </a:custGeom>
            <a:solidFill>
              <a:schemeClr val="accent1"/>
            </a:solidFill>
            <a:ln w="1189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useBgFill="1">
          <p:nvSpPr>
            <p:cNvPr id="5" name="Freeform: Shape 23">
              <a:extLst>
                <a:ext uri="{FF2B5EF4-FFF2-40B4-BE49-F238E27FC236}">
                  <a16:creationId xmlns:a16="http://schemas.microsoft.com/office/drawing/2014/main" id="{2A60160F-3D4C-4670-8CE0-F207D119B622}"/>
                </a:ext>
              </a:extLst>
            </p:cNvPr>
            <p:cNvSpPr/>
            <p:nvPr/>
          </p:nvSpPr>
          <p:spPr>
            <a:xfrm>
              <a:off x="5146118" y="4875020"/>
              <a:ext cx="496678" cy="496679"/>
            </a:xfrm>
            <a:custGeom>
              <a:avLst/>
              <a:gdLst>
                <a:gd name="connsiteX0" fmla="*/ 54735 w 448585"/>
                <a:gd name="connsiteY0" fmla="*/ 54735 h 448586"/>
                <a:gd name="connsiteX1" fmla="*/ 277243 w 448585"/>
                <a:gd name="connsiteY1" fmla="*/ 0 h 448586"/>
                <a:gd name="connsiteX2" fmla="*/ 448586 w 448585"/>
                <a:gd name="connsiteY2" fmla="*/ 171343 h 448586"/>
                <a:gd name="connsiteX3" fmla="*/ 393851 w 448585"/>
                <a:gd name="connsiteY3" fmla="*/ 393851 h 448586"/>
                <a:gd name="connsiteX4" fmla="*/ 171343 w 448585"/>
                <a:gd name="connsiteY4" fmla="*/ 448586 h 448586"/>
                <a:gd name="connsiteX5" fmla="*/ 0 w 448585"/>
                <a:gd name="connsiteY5" fmla="*/ 277243 h 4485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8585" h="448586">
                  <a:moveTo>
                    <a:pt x="54735" y="54735"/>
                  </a:moveTo>
                  <a:lnTo>
                    <a:pt x="277243" y="0"/>
                  </a:lnTo>
                  <a:lnTo>
                    <a:pt x="448586" y="171343"/>
                  </a:lnTo>
                  <a:lnTo>
                    <a:pt x="393851" y="393851"/>
                  </a:lnTo>
                  <a:lnTo>
                    <a:pt x="171343" y="448586"/>
                  </a:lnTo>
                  <a:lnTo>
                    <a:pt x="0" y="277243"/>
                  </a:lnTo>
                  <a:close/>
                </a:path>
              </a:pathLst>
            </a:custGeom>
            <a:ln w="1189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6" name="Freeform: Shape 24">
              <a:extLst>
                <a:ext uri="{FF2B5EF4-FFF2-40B4-BE49-F238E27FC236}">
                  <a16:creationId xmlns:a16="http://schemas.microsoft.com/office/drawing/2014/main" id="{D9E8E4D6-820A-4083-A4F8-7D83080204A0}"/>
                </a:ext>
              </a:extLst>
            </p:cNvPr>
            <p:cNvSpPr/>
            <p:nvPr/>
          </p:nvSpPr>
          <p:spPr>
            <a:xfrm>
              <a:off x="4912928" y="5246542"/>
              <a:ext cx="358347" cy="358347"/>
            </a:xfrm>
            <a:custGeom>
              <a:avLst/>
              <a:gdLst>
                <a:gd name="connsiteX0" fmla="*/ 193951 w 323648"/>
                <a:gd name="connsiteY0" fmla="*/ 0 h 323648"/>
                <a:gd name="connsiteX1" fmla="*/ 236787 w 323648"/>
                <a:gd name="connsiteY1" fmla="*/ 42836 h 323648"/>
                <a:gd name="connsiteX2" fmla="*/ 280812 w 323648"/>
                <a:gd name="connsiteY2" fmla="*/ 85671 h 323648"/>
                <a:gd name="connsiteX3" fmla="*/ 323648 w 323648"/>
                <a:gd name="connsiteY3" fmla="*/ 129697 h 323648"/>
                <a:gd name="connsiteX4" fmla="*/ 232027 w 323648"/>
                <a:gd name="connsiteY4" fmla="*/ 323648 h 323648"/>
                <a:gd name="connsiteX5" fmla="*/ 129697 w 323648"/>
                <a:gd name="connsiteY5" fmla="*/ 230837 h 323648"/>
                <a:gd name="connsiteX6" fmla="*/ 128507 w 323648"/>
                <a:gd name="connsiteY6" fmla="*/ 232027 h 323648"/>
                <a:gd name="connsiteX7" fmla="*/ 110659 w 323648"/>
                <a:gd name="connsiteY7" fmla="*/ 212989 h 323648"/>
                <a:gd name="connsiteX8" fmla="*/ 91621 w 323648"/>
                <a:gd name="connsiteY8" fmla="*/ 195141 h 323648"/>
                <a:gd name="connsiteX9" fmla="*/ 92811 w 323648"/>
                <a:gd name="connsiteY9" fmla="*/ 193951 h 323648"/>
                <a:gd name="connsiteX10" fmla="*/ 0 w 323648"/>
                <a:gd name="connsiteY10" fmla="*/ 91621 h 323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23648" h="323648">
                  <a:moveTo>
                    <a:pt x="193951" y="0"/>
                  </a:moveTo>
                  <a:lnTo>
                    <a:pt x="236787" y="42836"/>
                  </a:lnTo>
                  <a:lnTo>
                    <a:pt x="280812" y="85671"/>
                  </a:lnTo>
                  <a:lnTo>
                    <a:pt x="323648" y="129697"/>
                  </a:lnTo>
                  <a:lnTo>
                    <a:pt x="232027" y="323648"/>
                  </a:lnTo>
                  <a:lnTo>
                    <a:pt x="129697" y="230837"/>
                  </a:lnTo>
                  <a:lnTo>
                    <a:pt x="128507" y="232027"/>
                  </a:lnTo>
                  <a:lnTo>
                    <a:pt x="110659" y="212989"/>
                  </a:lnTo>
                  <a:lnTo>
                    <a:pt x="91621" y="195141"/>
                  </a:lnTo>
                  <a:lnTo>
                    <a:pt x="92811" y="193951"/>
                  </a:lnTo>
                  <a:lnTo>
                    <a:pt x="0" y="91621"/>
                  </a:lnTo>
                  <a:close/>
                </a:path>
              </a:pathLst>
            </a:custGeom>
            <a:solidFill>
              <a:schemeClr val="accent1"/>
            </a:solidFill>
            <a:ln w="1189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grpSp>
        <p:nvGrpSpPr>
          <p:cNvPr id="7" name="Group 2">
            <a:extLst>
              <a:ext uri="{FF2B5EF4-FFF2-40B4-BE49-F238E27FC236}">
                <a16:creationId xmlns:a16="http://schemas.microsoft.com/office/drawing/2014/main" id="{9DA5BF9F-C2A7-4C54-84FA-CA9D48DFCCC4}"/>
              </a:ext>
            </a:extLst>
          </p:cNvPr>
          <p:cNvGrpSpPr/>
          <p:nvPr/>
        </p:nvGrpSpPr>
        <p:grpSpPr>
          <a:xfrm>
            <a:off x="5521626" y="3847445"/>
            <a:ext cx="1148823" cy="3642716"/>
            <a:chOff x="5521626" y="3847445"/>
            <a:chExt cx="1148823" cy="3642716"/>
          </a:xfrm>
        </p:grpSpPr>
        <p:sp>
          <p:nvSpPr>
            <p:cNvPr id="8" name="Freeform: Shape 33">
              <a:extLst>
                <a:ext uri="{FF2B5EF4-FFF2-40B4-BE49-F238E27FC236}">
                  <a16:creationId xmlns:a16="http://schemas.microsoft.com/office/drawing/2014/main" id="{AC9DF400-05FF-401F-B6C6-3D439FC26129}"/>
                </a:ext>
              </a:extLst>
            </p:cNvPr>
            <p:cNvSpPr/>
            <p:nvPr/>
          </p:nvSpPr>
          <p:spPr>
            <a:xfrm>
              <a:off x="6020905" y="4961972"/>
              <a:ext cx="152824" cy="2528189"/>
            </a:xfrm>
            <a:custGeom>
              <a:avLst/>
              <a:gdLst>
                <a:gd name="connsiteX0" fmla="*/ 0 w 138026"/>
                <a:gd name="connsiteY0" fmla="*/ 0 h 2283385"/>
                <a:gd name="connsiteX1" fmla="*/ 138027 w 138026"/>
                <a:gd name="connsiteY1" fmla="*/ 0 h 2283385"/>
                <a:gd name="connsiteX2" fmla="*/ 138027 w 138026"/>
                <a:gd name="connsiteY2" fmla="*/ 2283386 h 2283385"/>
                <a:gd name="connsiteX3" fmla="*/ 0 w 138026"/>
                <a:gd name="connsiteY3" fmla="*/ 2283386 h 2283385"/>
              </a:gdLst>
              <a:ahLst/>
              <a:cxnLst>
                <a:cxn ang="0">
                  <a:pos x="connsiteX0" y="connsiteY0"/>
                </a:cxn>
                <a:cxn ang="0">
                  <a:pos x="connsiteX1" y="connsiteY1"/>
                </a:cxn>
                <a:cxn ang="0">
                  <a:pos x="connsiteX2" y="connsiteY2"/>
                </a:cxn>
                <a:cxn ang="0">
                  <a:pos x="connsiteX3" y="connsiteY3"/>
                </a:cxn>
              </a:cxnLst>
              <a:rect l="l" t="t" r="r" b="b"/>
              <a:pathLst>
                <a:path w="138026" h="2283385">
                  <a:moveTo>
                    <a:pt x="0" y="0"/>
                  </a:moveTo>
                  <a:lnTo>
                    <a:pt x="138027" y="0"/>
                  </a:lnTo>
                  <a:lnTo>
                    <a:pt x="138027" y="2283386"/>
                  </a:lnTo>
                  <a:lnTo>
                    <a:pt x="0" y="2283386"/>
                  </a:lnTo>
                  <a:close/>
                </a:path>
              </a:pathLst>
            </a:custGeom>
            <a:solidFill>
              <a:schemeClr val="tx2">
                <a:lumMod val="25000"/>
                <a:lumOff val="75000"/>
              </a:schemeClr>
            </a:solidFill>
            <a:ln w="1189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9" name="Freeform: Shape 34">
              <a:extLst>
                <a:ext uri="{FF2B5EF4-FFF2-40B4-BE49-F238E27FC236}">
                  <a16:creationId xmlns:a16="http://schemas.microsoft.com/office/drawing/2014/main" id="{FAE248A8-01AF-4231-AAF4-25A0042FF391}"/>
                </a:ext>
              </a:extLst>
            </p:cNvPr>
            <p:cNvSpPr/>
            <p:nvPr/>
          </p:nvSpPr>
          <p:spPr>
            <a:xfrm rot="19446319">
              <a:off x="5521626" y="3847445"/>
              <a:ext cx="1148823" cy="1148823"/>
            </a:xfrm>
            <a:custGeom>
              <a:avLst/>
              <a:gdLst>
                <a:gd name="connsiteX0" fmla="*/ 1037583 w 1037583"/>
                <a:gd name="connsiteY0" fmla="*/ 518792 h 1037583"/>
                <a:gd name="connsiteX1" fmla="*/ 518792 w 1037583"/>
                <a:gd name="connsiteY1" fmla="*/ 1037583 h 1037583"/>
                <a:gd name="connsiteX2" fmla="*/ 0 w 1037583"/>
                <a:gd name="connsiteY2" fmla="*/ 518792 h 1037583"/>
                <a:gd name="connsiteX3" fmla="*/ 518792 w 1037583"/>
                <a:gd name="connsiteY3" fmla="*/ 0 h 1037583"/>
                <a:gd name="connsiteX4" fmla="*/ 1037583 w 1037583"/>
                <a:gd name="connsiteY4" fmla="*/ 518792 h 10375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7583" h="1037583">
                  <a:moveTo>
                    <a:pt x="1037583" y="518792"/>
                  </a:moveTo>
                  <a:cubicBezTo>
                    <a:pt x="1037583" y="805312"/>
                    <a:pt x="805312" y="1037583"/>
                    <a:pt x="518792" y="1037583"/>
                  </a:cubicBezTo>
                  <a:cubicBezTo>
                    <a:pt x="232271" y="1037583"/>
                    <a:pt x="0" y="805312"/>
                    <a:pt x="0" y="518792"/>
                  </a:cubicBezTo>
                  <a:cubicBezTo>
                    <a:pt x="0" y="232271"/>
                    <a:pt x="232271" y="0"/>
                    <a:pt x="518792" y="0"/>
                  </a:cubicBezTo>
                  <a:cubicBezTo>
                    <a:pt x="805312" y="0"/>
                    <a:pt x="1037583" y="232271"/>
                    <a:pt x="1037583" y="518792"/>
                  </a:cubicBezTo>
                  <a:close/>
                </a:path>
              </a:pathLst>
            </a:custGeom>
            <a:solidFill>
              <a:schemeClr val="tx2">
                <a:lumMod val="25000"/>
                <a:lumOff val="75000"/>
              </a:schemeClr>
            </a:solidFill>
            <a:ln w="1189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nvGrpSpPr>
            <p:cNvPr id="10" name="Graphic 2">
              <a:extLst>
                <a:ext uri="{FF2B5EF4-FFF2-40B4-BE49-F238E27FC236}">
                  <a16:creationId xmlns:a16="http://schemas.microsoft.com/office/drawing/2014/main" id="{17590B4F-D6A1-4FCB-8719-48412ABC1DD3}"/>
                </a:ext>
              </a:extLst>
            </p:cNvPr>
            <p:cNvGrpSpPr/>
            <p:nvPr/>
          </p:nvGrpSpPr>
          <p:grpSpPr>
            <a:xfrm>
              <a:off x="5614129" y="3934609"/>
              <a:ext cx="963816" cy="974495"/>
              <a:chOff x="5672434" y="3662019"/>
              <a:chExt cx="870490" cy="880135"/>
            </a:xfrm>
            <a:solidFill>
              <a:schemeClr val="accent1"/>
            </a:solidFill>
          </p:grpSpPr>
          <p:sp>
            <p:nvSpPr>
              <p:cNvPr id="11" name="Freeform: Shape 36">
                <a:extLst>
                  <a:ext uri="{FF2B5EF4-FFF2-40B4-BE49-F238E27FC236}">
                    <a16:creationId xmlns:a16="http://schemas.microsoft.com/office/drawing/2014/main" id="{B964005D-2C39-45D1-82ED-049088F366D8}"/>
                  </a:ext>
                </a:extLst>
              </p:cNvPr>
              <p:cNvSpPr/>
              <p:nvPr/>
            </p:nvSpPr>
            <p:spPr>
              <a:xfrm>
                <a:off x="5696331" y="3664685"/>
                <a:ext cx="846593" cy="877469"/>
              </a:xfrm>
              <a:custGeom>
                <a:avLst/>
                <a:gdLst>
                  <a:gd name="connsiteX0" fmla="*/ 174779 w 846593"/>
                  <a:gd name="connsiteY0" fmla="*/ 82960 h 877469"/>
                  <a:gd name="connsiteX1" fmla="*/ 766151 w 846593"/>
                  <a:gd name="connsiteY1" fmla="*/ 181720 h 877469"/>
                  <a:gd name="connsiteX2" fmla="*/ 670961 w 846593"/>
                  <a:gd name="connsiteY2" fmla="*/ 794510 h 877469"/>
                  <a:gd name="connsiteX3" fmla="*/ 79589 w 846593"/>
                  <a:gd name="connsiteY3" fmla="*/ 695750 h 877469"/>
                  <a:gd name="connsiteX4" fmla="*/ 174779 w 846593"/>
                  <a:gd name="connsiteY4" fmla="*/ 82960 h 8774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6593" h="877469">
                    <a:moveTo>
                      <a:pt x="174779" y="82960"/>
                    </a:moveTo>
                    <a:cubicBezTo>
                      <a:pt x="363971" y="-58636"/>
                      <a:pt x="629315" y="-14611"/>
                      <a:pt x="766151" y="181720"/>
                    </a:cubicBezTo>
                    <a:cubicBezTo>
                      <a:pt x="902988" y="378051"/>
                      <a:pt x="861342" y="652914"/>
                      <a:pt x="670961" y="794510"/>
                    </a:cubicBezTo>
                    <a:cubicBezTo>
                      <a:pt x="481769" y="936106"/>
                      <a:pt x="216425" y="892081"/>
                      <a:pt x="79589" y="695750"/>
                    </a:cubicBezTo>
                    <a:cubicBezTo>
                      <a:pt x="-56058" y="499419"/>
                      <a:pt x="-14412" y="224556"/>
                      <a:pt x="174779" y="82960"/>
                    </a:cubicBezTo>
                    <a:close/>
                  </a:path>
                </a:pathLst>
              </a:custGeom>
              <a:grpFill/>
              <a:ln w="1189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2" name="Freeform: Shape 37">
                <a:extLst>
                  <a:ext uri="{FF2B5EF4-FFF2-40B4-BE49-F238E27FC236}">
                    <a16:creationId xmlns:a16="http://schemas.microsoft.com/office/drawing/2014/main" id="{6E465B94-26EF-4A41-86ED-FE879CE23D81}"/>
                  </a:ext>
                </a:extLst>
              </p:cNvPr>
              <p:cNvSpPr/>
              <p:nvPr/>
            </p:nvSpPr>
            <p:spPr>
              <a:xfrm rot="-2153681">
                <a:off x="5672434" y="3662019"/>
                <a:ext cx="847200" cy="847200"/>
              </a:xfrm>
              <a:custGeom>
                <a:avLst/>
                <a:gdLst>
                  <a:gd name="connsiteX0" fmla="*/ 847201 w 847200"/>
                  <a:gd name="connsiteY0" fmla="*/ 423600 h 847200"/>
                  <a:gd name="connsiteX1" fmla="*/ 423600 w 847200"/>
                  <a:gd name="connsiteY1" fmla="*/ 847201 h 847200"/>
                  <a:gd name="connsiteX2" fmla="*/ 0 w 847200"/>
                  <a:gd name="connsiteY2" fmla="*/ 423600 h 847200"/>
                  <a:gd name="connsiteX3" fmla="*/ 423600 w 847200"/>
                  <a:gd name="connsiteY3" fmla="*/ 0 h 847200"/>
                  <a:gd name="connsiteX4" fmla="*/ 847201 w 847200"/>
                  <a:gd name="connsiteY4" fmla="*/ 423600 h 847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7200" h="847200">
                    <a:moveTo>
                      <a:pt x="847201" y="423600"/>
                    </a:moveTo>
                    <a:cubicBezTo>
                      <a:pt x="847201" y="657549"/>
                      <a:pt x="657549" y="847201"/>
                      <a:pt x="423600" y="847201"/>
                    </a:cubicBezTo>
                    <a:cubicBezTo>
                      <a:pt x="189652" y="847201"/>
                      <a:pt x="0" y="657549"/>
                      <a:pt x="0" y="423600"/>
                    </a:cubicBezTo>
                    <a:cubicBezTo>
                      <a:pt x="0" y="189652"/>
                      <a:pt x="189652" y="0"/>
                      <a:pt x="423600" y="0"/>
                    </a:cubicBezTo>
                    <a:cubicBezTo>
                      <a:pt x="657548" y="0"/>
                      <a:pt x="847201" y="189652"/>
                      <a:pt x="847201" y="423600"/>
                    </a:cubicBezTo>
                    <a:close/>
                  </a:path>
                </a:pathLst>
              </a:custGeom>
              <a:grpFill/>
              <a:ln w="1189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3" name="Freeform: Shape 38">
                <a:extLst>
                  <a:ext uri="{FF2B5EF4-FFF2-40B4-BE49-F238E27FC236}">
                    <a16:creationId xmlns:a16="http://schemas.microsoft.com/office/drawing/2014/main" id="{1E3D200F-187A-40D4-987E-EF7FF218D5B8}"/>
                  </a:ext>
                </a:extLst>
              </p:cNvPr>
              <p:cNvSpPr/>
              <p:nvPr/>
            </p:nvSpPr>
            <p:spPr>
              <a:xfrm>
                <a:off x="5696628" y="3662443"/>
                <a:ext cx="822539" cy="847447"/>
              </a:xfrm>
              <a:custGeom>
                <a:avLst/>
                <a:gdLst>
                  <a:gd name="connsiteX0" fmla="*/ 169724 w 822539"/>
                  <a:gd name="connsiteY0" fmla="*/ 80442 h 847447"/>
                  <a:gd name="connsiteX1" fmla="*/ 744437 w 822539"/>
                  <a:gd name="connsiteY1" fmla="*/ 175633 h 847447"/>
                  <a:gd name="connsiteX2" fmla="*/ 652816 w 822539"/>
                  <a:gd name="connsiteY2" fmla="*/ 767005 h 847447"/>
                  <a:gd name="connsiteX3" fmla="*/ 78103 w 822539"/>
                  <a:gd name="connsiteY3" fmla="*/ 671814 h 847447"/>
                  <a:gd name="connsiteX4" fmla="*/ 169724 w 822539"/>
                  <a:gd name="connsiteY4" fmla="*/ 80442 h 8474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2539" h="847447">
                    <a:moveTo>
                      <a:pt x="169724" y="80442"/>
                    </a:moveTo>
                    <a:cubicBezTo>
                      <a:pt x="354155" y="-56394"/>
                      <a:pt x="611170" y="-14748"/>
                      <a:pt x="744437" y="175633"/>
                    </a:cubicBezTo>
                    <a:cubicBezTo>
                      <a:pt x="877704" y="364825"/>
                      <a:pt x="836058" y="630168"/>
                      <a:pt x="652816" y="767005"/>
                    </a:cubicBezTo>
                    <a:cubicBezTo>
                      <a:pt x="468384" y="903842"/>
                      <a:pt x="211369" y="862196"/>
                      <a:pt x="78103" y="671814"/>
                    </a:cubicBezTo>
                    <a:cubicBezTo>
                      <a:pt x="-55164" y="481433"/>
                      <a:pt x="-13518" y="217279"/>
                      <a:pt x="169724" y="80442"/>
                    </a:cubicBezTo>
                    <a:close/>
                  </a:path>
                </a:pathLst>
              </a:custGeom>
              <a:grpFill/>
              <a:ln w="1189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grpSp>
      <p:sp>
        <p:nvSpPr>
          <p:cNvPr id="14" name="Title 1">
            <a:extLst>
              <a:ext uri="{FF2B5EF4-FFF2-40B4-BE49-F238E27FC236}">
                <a16:creationId xmlns:a16="http://schemas.microsoft.com/office/drawing/2014/main" id="{873DF6EC-C3B8-4B33-91E6-A718680E71CC}"/>
              </a:ext>
            </a:extLst>
          </p:cNvPr>
          <p:cNvSpPr txBox="1">
            <a:spLocks/>
          </p:cNvSpPr>
          <p:nvPr/>
        </p:nvSpPr>
        <p:spPr>
          <a:xfrm>
            <a:off x="2043113" y="304800"/>
            <a:ext cx="8105775" cy="1105808"/>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ID" sz="4400" b="0" i="0" u="none" strike="noStrike" kern="1200" cap="none" spc="0" normalizeH="0" baseline="0" noProof="0">
                <a:ln>
                  <a:noFill/>
                </a:ln>
                <a:solidFill>
                  <a:srgbClr val="000000"/>
                </a:solidFill>
                <a:effectLst/>
                <a:uLnTx/>
                <a:uFillTx/>
                <a:latin typeface="等线 Light" panose="020F0302020204030204"/>
                <a:ea typeface="+mj-ea"/>
                <a:cs typeface="+mj-cs"/>
              </a:rPr>
              <a:t>Tree Infographic</a:t>
            </a:r>
          </a:p>
        </p:txBody>
      </p:sp>
      <p:sp>
        <p:nvSpPr>
          <p:cNvPr id="15" name="Freeform: Shape 4">
            <a:extLst>
              <a:ext uri="{FF2B5EF4-FFF2-40B4-BE49-F238E27FC236}">
                <a16:creationId xmlns:a16="http://schemas.microsoft.com/office/drawing/2014/main" id="{1EBEE04A-0124-46B7-986C-6631055259E3}"/>
              </a:ext>
            </a:extLst>
          </p:cNvPr>
          <p:cNvSpPr/>
          <p:nvPr/>
        </p:nvSpPr>
        <p:spPr>
          <a:xfrm>
            <a:off x="4694232" y="3020049"/>
            <a:ext cx="2803537" cy="2259429"/>
          </a:xfrm>
          <a:custGeom>
            <a:avLst/>
            <a:gdLst>
              <a:gd name="connsiteX0" fmla="*/ 517599 w 2532071"/>
              <a:gd name="connsiteY0" fmla="*/ 230837 h 2040649"/>
              <a:gd name="connsiteX1" fmla="*/ 1095882 w 2532071"/>
              <a:gd name="connsiteY1" fmla="*/ 0 h 2040649"/>
              <a:gd name="connsiteX2" fmla="*/ 1116110 w 2532071"/>
              <a:gd name="connsiteY2" fmla="*/ 55925 h 2040649"/>
              <a:gd name="connsiteX3" fmla="*/ 552106 w 2532071"/>
              <a:gd name="connsiteY3" fmla="*/ 278433 h 2040649"/>
              <a:gd name="connsiteX4" fmla="*/ 518789 w 2532071"/>
              <a:gd name="connsiteY4" fmla="*/ 303420 h 2040649"/>
              <a:gd name="connsiteX5" fmla="*/ 493802 w 2532071"/>
              <a:gd name="connsiteY5" fmla="*/ 249875 h 2040649"/>
              <a:gd name="connsiteX6" fmla="*/ 517599 w 2532071"/>
              <a:gd name="connsiteY6" fmla="*/ 230837 h 2040649"/>
              <a:gd name="connsiteX7" fmla="*/ 517599 w 2532071"/>
              <a:gd name="connsiteY7" fmla="*/ 230837 h 2040649"/>
              <a:gd name="connsiteX8" fmla="*/ 1437379 w 2532071"/>
              <a:gd name="connsiteY8" fmla="*/ 0 h 2040649"/>
              <a:gd name="connsiteX9" fmla="*/ 2040650 w 2532071"/>
              <a:gd name="connsiteY9" fmla="*/ 249875 h 2040649"/>
              <a:gd name="connsiteX10" fmla="*/ 2015662 w 2532071"/>
              <a:gd name="connsiteY10" fmla="*/ 303420 h 2040649"/>
              <a:gd name="connsiteX11" fmla="*/ 1418341 w 2532071"/>
              <a:gd name="connsiteY11" fmla="*/ 55925 h 2040649"/>
              <a:gd name="connsiteX12" fmla="*/ 1437379 w 2532071"/>
              <a:gd name="connsiteY12" fmla="*/ 0 h 2040649"/>
              <a:gd name="connsiteX13" fmla="*/ 1437379 w 2532071"/>
              <a:gd name="connsiteY13" fmla="*/ 0 h 2040649"/>
              <a:gd name="connsiteX14" fmla="*/ 2282196 w 2532071"/>
              <a:gd name="connsiteY14" fmla="*/ 492612 h 2040649"/>
              <a:gd name="connsiteX15" fmla="*/ 2301234 w 2532071"/>
              <a:gd name="connsiteY15" fmla="*/ 517599 h 2040649"/>
              <a:gd name="connsiteX16" fmla="*/ 2532071 w 2532071"/>
              <a:gd name="connsiteY16" fmla="*/ 1094693 h 2040649"/>
              <a:gd name="connsiteX17" fmla="*/ 2476147 w 2532071"/>
              <a:gd name="connsiteY17" fmla="*/ 1114921 h 2040649"/>
              <a:gd name="connsiteX18" fmla="*/ 2253639 w 2532071"/>
              <a:gd name="connsiteY18" fmla="*/ 550916 h 2040649"/>
              <a:gd name="connsiteX19" fmla="*/ 2228651 w 2532071"/>
              <a:gd name="connsiteY19" fmla="*/ 517599 h 2040649"/>
              <a:gd name="connsiteX20" fmla="*/ 2282196 w 2532071"/>
              <a:gd name="connsiteY20" fmla="*/ 492612 h 2040649"/>
              <a:gd name="connsiteX21" fmla="*/ 2282196 w 2532071"/>
              <a:gd name="connsiteY21" fmla="*/ 492612 h 2040649"/>
              <a:gd name="connsiteX22" fmla="*/ 2532071 w 2532071"/>
              <a:gd name="connsiteY22" fmla="*/ 1437379 h 2040649"/>
              <a:gd name="connsiteX23" fmla="*/ 2283386 w 2532071"/>
              <a:gd name="connsiteY23" fmla="*/ 2040650 h 2040649"/>
              <a:gd name="connsiteX24" fmla="*/ 2229841 w 2532071"/>
              <a:gd name="connsiteY24" fmla="*/ 2015662 h 2040649"/>
              <a:gd name="connsiteX25" fmla="*/ 2477337 w 2532071"/>
              <a:gd name="connsiteY25" fmla="*/ 1418341 h 2040649"/>
              <a:gd name="connsiteX26" fmla="*/ 2532071 w 2532071"/>
              <a:gd name="connsiteY26" fmla="*/ 1437379 h 2040649"/>
              <a:gd name="connsiteX27" fmla="*/ 2532071 w 2532071"/>
              <a:gd name="connsiteY27" fmla="*/ 1437379 h 2040649"/>
              <a:gd name="connsiteX28" fmla="*/ 249875 w 2532071"/>
              <a:gd name="connsiteY28" fmla="*/ 2039460 h 2040649"/>
              <a:gd name="connsiteX29" fmla="*/ 230837 w 2532071"/>
              <a:gd name="connsiteY29" fmla="*/ 2014472 h 2040649"/>
              <a:gd name="connsiteX30" fmla="*/ 0 w 2532071"/>
              <a:gd name="connsiteY30" fmla="*/ 1437379 h 2040649"/>
              <a:gd name="connsiteX31" fmla="*/ 55925 w 2532071"/>
              <a:gd name="connsiteY31" fmla="*/ 1417151 h 2040649"/>
              <a:gd name="connsiteX32" fmla="*/ 278433 w 2532071"/>
              <a:gd name="connsiteY32" fmla="*/ 1981156 h 2040649"/>
              <a:gd name="connsiteX33" fmla="*/ 303420 w 2532071"/>
              <a:gd name="connsiteY33" fmla="*/ 2014472 h 2040649"/>
              <a:gd name="connsiteX34" fmla="*/ 249875 w 2532071"/>
              <a:gd name="connsiteY34" fmla="*/ 2039460 h 2040649"/>
              <a:gd name="connsiteX35" fmla="*/ 249875 w 2532071"/>
              <a:gd name="connsiteY35" fmla="*/ 2039460 h 2040649"/>
              <a:gd name="connsiteX36" fmla="*/ 0 w 2532071"/>
              <a:gd name="connsiteY36" fmla="*/ 1094693 h 2040649"/>
              <a:gd name="connsiteX37" fmla="*/ 249875 w 2532071"/>
              <a:gd name="connsiteY37" fmla="*/ 491422 h 2040649"/>
              <a:gd name="connsiteX38" fmla="*/ 303420 w 2532071"/>
              <a:gd name="connsiteY38" fmla="*/ 516409 h 2040649"/>
              <a:gd name="connsiteX39" fmla="*/ 55925 w 2532071"/>
              <a:gd name="connsiteY39" fmla="*/ 1113731 h 2040649"/>
              <a:gd name="connsiteX40" fmla="*/ 0 w 2532071"/>
              <a:gd name="connsiteY40" fmla="*/ 1094693 h 2040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532071" h="2040649">
                <a:moveTo>
                  <a:pt x="517599" y="230837"/>
                </a:moveTo>
                <a:cubicBezTo>
                  <a:pt x="694892" y="102330"/>
                  <a:pt x="893602" y="27367"/>
                  <a:pt x="1095882" y="0"/>
                </a:cubicBezTo>
                <a:lnTo>
                  <a:pt x="1116110" y="55925"/>
                </a:lnTo>
                <a:cubicBezTo>
                  <a:pt x="918590" y="79722"/>
                  <a:pt x="724639" y="153495"/>
                  <a:pt x="552106" y="278433"/>
                </a:cubicBezTo>
                <a:cubicBezTo>
                  <a:pt x="540207" y="286762"/>
                  <a:pt x="529498" y="295091"/>
                  <a:pt x="518789" y="303420"/>
                </a:cubicBezTo>
                <a:lnTo>
                  <a:pt x="493802" y="249875"/>
                </a:lnTo>
                <a:cubicBezTo>
                  <a:pt x="499751" y="243926"/>
                  <a:pt x="508080" y="236787"/>
                  <a:pt x="517599" y="230837"/>
                </a:cubicBezTo>
                <a:lnTo>
                  <a:pt x="517599" y="230837"/>
                </a:lnTo>
                <a:close/>
                <a:moveTo>
                  <a:pt x="1437379" y="0"/>
                </a:moveTo>
                <a:cubicBezTo>
                  <a:pt x="1653938" y="29747"/>
                  <a:pt x="1862167" y="114229"/>
                  <a:pt x="2040650" y="249875"/>
                </a:cubicBezTo>
                <a:lnTo>
                  <a:pt x="2015662" y="303420"/>
                </a:lnTo>
                <a:cubicBezTo>
                  <a:pt x="1840749" y="166584"/>
                  <a:pt x="1632520" y="83292"/>
                  <a:pt x="1418341" y="55925"/>
                </a:cubicBezTo>
                <a:lnTo>
                  <a:pt x="1437379" y="0"/>
                </a:lnTo>
                <a:lnTo>
                  <a:pt x="1437379" y="0"/>
                </a:lnTo>
                <a:close/>
                <a:moveTo>
                  <a:pt x="2282196" y="492612"/>
                </a:moveTo>
                <a:cubicBezTo>
                  <a:pt x="2288145" y="500941"/>
                  <a:pt x="2295285" y="509270"/>
                  <a:pt x="2301234" y="517599"/>
                </a:cubicBezTo>
                <a:cubicBezTo>
                  <a:pt x="2429741" y="694892"/>
                  <a:pt x="2504704" y="892413"/>
                  <a:pt x="2532071" y="1094693"/>
                </a:cubicBezTo>
                <a:lnTo>
                  <a:pt x="2476147" y="1114921"/>
                </a:lnTo>
                <a:cubicBezTo>
                  <a:pt x="2451159" y="917400"/>
                  <a:pt x="2378576" y="723449"/>
                  <a:pt x="2253639" y="550916"/>
                </a:cubicBezTo>
                <a:cubicBezTo>
                  <a:pt x="2245309" y="539017"/>
                  <a:pt x="2236980" y="528308"/>
                  <a:pt x="2228651" y="517599"/>
                </a:cubicBezTo>
                <a:lnTo>
                  <a:pt x="2282196" y="492612"/>
                </a:lnTo>
                <a:lnTo>
                  <a:pt x="2282196" y="492612"/>
                </a:lnTo>
                <a:close/>
                <a:moveTo>
                  <a:pt x="2532071" y="1437379"/>
                </a:moveTo>
                <a:cubicBezTo>
                  <a:pt x="2502324" y="1653938"/>
                  <a:pt x="2419032" y="1862167"/>
                  <a:pt x="2283386" y="2040650"/>
                </a:cubicBezTo>
                <a:lnTo>
                  <a:pt x="2229841" y="2015662"/>
                </a:lnTo>
                <a:cubicBezTo>
                  <a:pt x="2366678" y="1840749"/>
                  <a:pt x="2449969" y="1632520"/>
                  <a:pt x="2477337" y="1418341"/>
                </a:cubicBezTo>
                <a:lnTo>
                  <a:pt x="2532071" y="1437379"/>
                </a:lnTo>
                <a:lnTo>
                  <a:pt x="2532071" y="1437379"/>
                </a:lnTo>
                <a:close/>
                <a:moveTo>
                  <a:pt x="249875" y="2039460"/>
                </a:moveTo>
                <a:cubicBezTo>
                  <a:pt x="243926" y="2031131"/>
                  <a:pt x="236787" y="2022802"/>
                  <a:pt x="230837" y="2014472"/>
                </a:cubicBezTo>
                <a:cubicBezTo>
                  <a:pt x="102330" y="1837180"/>
                  <a:pt x="27367" y="1639659"/>
                  <a:pt x="0" y="1437379"/>
                </a:cubicBezTo>
                <a:lnTo>
                  <a:pt x="55925" y="1417151"/>
                </a:lnTo>
                <a:cubicBezTo>
                  <a:pt x="80912" y="1614672"/>
                  <a:pt x="153495" y="1808623"/>
                  <a:pt x="278433" y="1981156"/>
                </a:cubicBezTo>
                <a:cubicBezTo>
                  <a:pt x="286762" y="1993054"/>
                  <a:pt x="295091" y="2003763"/>
                  <a:pt x="303420" y="2014472"/>
                </a:cubicBezTo>
                <a:lnTo>
                  <a:pt x="249875" y="2039460"/>
                </a:lnTo>
                <a:lnTo>
                  <a:pt x="249875" y="2039460"/>
                </a:lnTo>
                <a:close/>
                <a:moveTo>
                  <a:pt x="0" y="1094693"/>
                </a:moveTo>
                <a:cubicBezTo>
                  <a:pt x="29747" y="878134"/>
                  <a:pt x="113039" y="669904"/>
                  <a:pt x="249875" y="491422"/>
                </a:cubicBezTo>
                <a:lnTo>
                  <a:pt x="303420" y="516409"/>
                </a:lnTo>
                <a:cubicBezTo>
                  <a:pt x="166584" y="691322"/>
                  <a:pt x="83292" y="899552"/>
                  <a:pt x="55925" y="1113731"/>
                </a:cubicBezTo>
                <a:lnTo>
                  <a:pt x="0" y="1094693"/>
                </a:lnTo>
                <a:close/>
              </a:path>
            </a:pathLst>
          </a:custGeom>
          <a:solidFill>
            <a:schemeClr val="tx2">
              <a:lumMod val="25000"/>
              <a:lumOff val="75000"/>
            </a:schemeClr>
          </a:solidFill>
          <a:ln w="1189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nvGrpSpPr>
          <p:cNvPr id="16" name="Group 51">
            <a:extLst>
              <a:ext uri="{FF2B5EF4-FFF2-40B4-BE49-F238E27FC236}">
                <a16:creationId xmlns:a16="http://schemas.microsoft.com/office/drawing/2014/main" id="{A4F3D997-A56A-48F4-BE55-FE97E35AD348}"/>
              </a:ext>
            </a:extLst>
          </p:cNvPr>
          <p:cNvGrpSpPr/>
          <p:nvPr/>
        </p:nvGrpSpPr>
        <p:grpSpPr>
          <a:xfrm>
            <a:off x="6812694" y="3768361"/>
            <a:ext cx="1852336" cy="1306912"/>
            <a:chOff x="6812694" y="3768361"/>
            <a:chExt cx="1852336" cy="1306912"/>
          </a:xfrm>
        </p:grpSpPr>
        <p:sp>
          <p:nvSpPr>
            <p:cNvPr id="17" name="Freeform: Shape 5">
              <a:extLst>
                <a:ext uri="{FF2B5EF4-FFF2-40B4-BE49-F238E27FC236}">
                  <a16:creationId xmlns:a16="http://schemas.microsoft.com/office/drawing/2014/main" id="{DDAF93DE-F4D0-4FBE-8A17-61D5A7666158}"/>
                </a:ext>
              </a:extLst>
            </p:cNvPr>
            <p:cNvSpPr/>
            <p:nvPr/>
          </p:nvSpPr>
          <p:spPr>
            <a:xfrm>
              <a:off x="7587355" y="3768361"/>
              <a:ext cx="1077675" cy="1306912"/>
            </a:xfrm>
            <a:custGeom>
              <a:avLst/>
              <a:gdLst>
                <a:gd name="connsiteX0" fmla="*/ 486662 w 973324"/>
                <a:gd name="connsiteY0" fmla="*/ 0 h 1180364"/>
                <a:gd name="connsiteX1" fmla="*/ 729398 w 973324"/>
                <a:gd name="connsiteY1" fmla="*/ 147546 h 1180364"/>
                <a:gd name="connsiteX2" fmla="*/ 973324 w 973324"/>
                <a:gd name="connsiteY2" fmla="*/ 295091 h 1180364"/>
                <a:gd name="connsiteX3" fmla="*/ 973324 w 973324"/>
                <a:gd name="connsiteY3" fmla="*/ 590182 h 1180364"/>
                <a:gd name="connsiteX4" fmla="*/ 973324 w 973324"/>
                <a:gd name="connsiteY4" fmla="*/ 885273 h 1180364"/>
                <a:gd name="connsiteX5" fmla="*/ 729398 w 973324"/>
                <a:gd name="connsiteY5" fmla="*/ 1032819 h 1180364"/>
                <a:gd name="connsiteX6" fmla="*/ 486662 w 973324"/>
                <a:gd name="connsiteY6" fmla="*/ 1180364 h 1180364"/>
                <a:gd name="connsiteX7" fmla="*/ 243926 w 973324"/>
                <a:gd name="connsiteY7" fmla="*/ 1032819 h 1180364"/>
                <a:gd name="connsiteX8" fmla="*/ 0 w 973324"/>
                <a:gd name="connsiteY8" fmla="*/ 885273 h 1180364"/>
                <a:gd name="connsiteX9" fmla="*/ 0 w 973324"/>
                <a:gd name="connsiteY9" fmla="*/ 590182 h 1180364"/>
                <a:gd name="connsiteX10" fmla="*/ 0 w 973324"/>
                <a:gd name="connsiteY10" fmla="*/ 295091 h 1180364"/>
                <a:gd name="connsiteX11" fmla="*/ 243926 w 973324"/>
                <a:gd name="connsiteY11" fmla="*/ 147546 h 1180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73324" h="1180364">
                  <a:moveTo>
                    <a:pt x="486662" y="0"/>
                  </a:moveTo>
                  <a:lnTo>
                    <a:pt x="729398" y="147546"/>
                  </a:lnTo>
                  <a:lnTo>
                    <a:pt x="973324" y="295091"/>
                  </a:lnTo>
                  <a:lnTo>
                    <a:pt x="973324" y="590182"/>
                  </a:lnTo>
                  <a:lnTo>
                    <a:pt x="973324" y="885273"/>
                  </a:lnTo>
                  <a:lnTo>
                    <a:pt x="729398" y="1032819"/>
                  </a:lnTo>
                  <a:lnTo>
                    <a:pt x="486662" y="1180364"/>
                  </a:lnTo>
                  <a:lnTo>
                    <a:pt x="243926" y="1032819"/>
                  </a:lnTo>
                  <a:lnTo>
                    <a:pt x="0" y="885273"/>
                  </a:lnTo>
                  <a:lnTo>
                    <a:pt x="0" y="590182"/>
                  </a:lnTo>
                  <a:lnTo>
                    <a:pt x="0" y="295091"/>
                  </a:lnTo>
                  <a:lnTo>
                    <a:pt x="243926" y="147546"/>
                  </a:lnTo>
                  <a:close/>
                </a:path>
              </a:pathLst>
            </a:custGeom>
            <a:solidFill>
              <a:schemeClr val="accent6"/>
            </a:solidFill>
            <a:ln w="1189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8" name="Freeform: Shape 6">
              <a:extLst>
                <a:ext uri="{FF2B5EF4-FFF2-40B4-BE49-F238E27FC236}">
                  <a16:creationId xmlns:a16="http://schemas.microsoft.com/office/drawing/2014/main" id="{6210E41A-DA09-4C5C-A532-8F161CF13985}"/>
                </a:ext>
              </a:extLst>
            </p:cNvPr>
            <p:cNvSpPr/>
            <p:nvPr/>
          </p:nvSpPr>
          <p:spPr>
            <a:xfrm>
              <a:off x="6812694" y="4087184"/>
              <a:ext cx="550695" cy="669265"/>
            </a:xfrm>
            <a:custGeom>
              <a:avLst/>
              <a:gdLst>
                <a:gd name="connsiteX0" fmla="*/ 248685 w 497371"/>
                <a:gd name="connsiteY0" fmla="*/ 0 h 604460"/>
                <a:gd name="connsiteX1" fmla="*/ 373623 w 497371"/>
                <a:gd name="connsiteY1" fmla="*/ 74962 h 604460"/>
                <a:gd name="connsiteX2" fmla="*/ 497371 w 497371"/>
                <a:gd name="connsiteY2" fmla="*/ 151115 h 604460"/>
                <a:gd name="connsiteX3" fmla="*/ 497371 w 497371"/>
                <a:gd name="connsiteY3" fmla="*/ 302230 h 604460"/>
                <a:gd name="connsiteX4" fmla="*/ 497371 w 497371"/>
                <a:gd name="connsiteY4" fmla="*/ 453345 h 604460"/>
                <a:gd name="connsiteX5" fmla="*/ 373623 w 497371"/>
                <a:gd name="connsiteY5" fmla="*/ 528308 h 604460"/>
                <a:gd name="connsiteX6" fmla="*/ 248685 w 497371"/>
                <a:gd name="connsiteY6" fmla="*/ 604461 h 604460"/>
                <a:gd name="connsiteX7" fmla="*/ 123748 w 497371"/>
                <a:gd name="connsiteY7" fmla="*/ 528308 h 604460"/>
                <a:gd name="connsiteX8" fmla="*/ 0 w 497371"/>
                <a:gd name="connsiteY8" fmla="*/ 453345 h 604460"/>
                <a:gd name="connsiteX9" fmla="*/ 0 w 497371"/>
                <a:gd name="connsiteY9" fmla="*/ 302230 h 604460"/>
                <a:gd name="connsiteX10" fmla="*/ 0 w 497371"/>
                <a:gd name="connsiteY10" fmla="*/ 151115 h 604460"/>
                <a:gd name="connsiteX11" fmla="*/ 123748 w 497371"/>
                <a:gd name="connsiteY11" fmla="*/ 74962 h 604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97371" h="604460">
                  <a:moveTo>
                    <a:pt x="248685" y="0"/>
                  </a:moveTo>
                  <a:lnTo>
                    <a:pt x="373623" y="74962"/>
                  </a:lnTo>
                  <a:lnTo>
                    <a:pt x="497371" y="151115"/>
                  </a:lnTo>
                  <a:lnTo>
                    <a:pt x="497371" y="302230"/>
                  </a:lnTo>
                  <a:lnTo>
                    <a:pt x="497371" y="453345"/>
                  </a:lnTo>
                  <a:lnTo>
                    <a:pt x="373623" y="528308"/>
                  </a:lnTo>
                  <a:lnTo>
                    <a:pt x="248685" y="604461"/>
                  </a:lnTo>
                  <a:lnTo>
                    <a:pt x="123748" y="528308"/>
                  </a:lnTo>
                  <a:lnTo>
                    <a:pt x="0" y="453345"/>
                  </a:lnTo>
                  <a:lnTo>
                    <a:pt x="0" y="302230"/>
                  </a:lnTo>
                  <a:lnTo>
                    <a:pt x="0" y="151115"/>
                  </a:lnTo>
                  <a:lnTo>
                    <a:pt x="123748" y="74962"/>
                  </a:lnTo>
                  <a:close/>
                </a:path>
              </a:pathLst>
            </a:custGeom>
            <a:solidFill>
              <a:schemeClr val="accent6"/>
            </a:solidFill>
            <a:ln w="1189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useBgFill="1">
          <p:nvSpPr>
            <p:cNvPr id="19" name="Freeform: Shape 7">
              <a:extLst>
                <a:ext uri="{FF2B5EF4-FFF2-40B4-BE49-F238E27FC236}">
                  <a16:creationId xmlns:a16="http://schemas.microsoft.com/office/drawing/2014/main" id="{B2C79AA8-4060-42D7-8014-01ABB25A0404}"/>
                </a:ext>
              </a:extLst>
            </p:cNvPr>
            <p:cNvSpPr/>
            <p:nvPr/>
          </p:nvSpPr>
          <p:spPr>
            <a:xfrm>
              <a:off x="6870662" y="4155691"/>
              <a:ext cx="434759" cy="532250"/>
            </a:xfrm>
            <a:custGeom>
              <a:avLst/>
              <a:gdLst>
                <a:gd name="connsiteX0" fmla="*/ 196331 w 392661"/>
                <a:gd name="connsiteY0" fmla="*/ 0 h 480712"/>
                <a:gd name="connsiteX1" fmla="*/ 0 w 392661"/>
                <a:gd name="connsiteY1" fmla="*/ 118988 h 480712"/>
                <a:gd name="connsiteX2" fmla="*/ 0 w 392661"/>
                <a:gd name="connsiteY2" fmla="*/ 361724 h 480712"/>
                <a:gd name="connsiteX3" fmla="*/ 196331 w 392661"/>
                <a:gd name="connsiteY3" fmla="*/ 480713 h 480712"/>
                <a:gd name="connsiteX4" fmla="*/ 392661 w 392661"/>
                <a:gd name="connsiteY4" fmla="*/ 361724 h 480712"/>
                <a:gd name="connsiteX5" fmla="*/ 392661 w 392661"/>
                <a:gd name="connsiteY5" fmla="*/ 118988 h 480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2661" h="480712">
                  <a:moveTo>
                    <a:pt x="196331" y="0"/>
                  </a:moveTo>
                  <a:lnTo>
                    <a:pt x="0" y="118988"/>
                  </a:lnTo>
                  <a:lnTo>
                    <a:pt x="0" y="361724"/>
                  </a:lnTo>
                  <a:lnTo>
                    <a:pt x="196331" y="480713"/>
                  </a:lnTo>
                  <a:lnTo>
                    <a:pt x="392661" y="361724"/>
                  </a:lnTo>
                  <a:lnTo>
                    <a:pt x="392661" y="118988"/>
                  </a:lnTo>
                  <a:close/>
                </a:path>
              </a:pathLst>
            </a:custGeom>
            <a:ln w="1189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0" name="Freeform: Shape 8">
              <a:extLst>
                <a:ext uri="{FF2B5EF4-FFF2-40B4-BE49-F238E27FC236}">
                  <a16:creationId xmlns:a16="http://schemas.microsoft.com/office/drawing/2014/main" id="{A77D0D3B-6977-4FAB-A924-0571B6A28EA5}"/>
                </a:ext>
              </a:extLst>
            </p:cNvPr>
            <p:cNvSpPr/>
            <p:nvPr/>
          </p:nvSpPr>
          <p:spPr>
            <a:xfrm>
              <a:off x="7363388" y="4240009"/>
              <a:ext cx="233189" cy="363616"/>
            </a:xfrm>
            <a:custGeom>
              <a:avLst/>
              <a:gdLst>
                <a:gd name="connsiteX0" fmla="*/ 0 w 210609"/>
                <a:gd name="connsiteY0" fmla="*/ 72583 h 328407"/>
                <a:gd name="connsiteX1" fmla="*/ 0 w 210609"/>
                <a:gd name="connsiteY1" fmla="*/ 133267 h 328407"/>
                <a:gd name="connsiteX2" fmla="*/ 0 w 210609"/>
                <a:gd name="connsiteY2" fmla="*/ 195141 h 328407"/>
                <a:gd name="connsiteX3" fmla="*/ 0 w 210609"/>
                <a:gd name="connsiteY3" fmla="*/ 255825 h 328407"/>
                <a:gd name="connsiteX4" fmla="*/ 202280 w 210609"/>
                <a:gd name="connsiteY4" fmla="*/ 328408 h 328407"/>
                <a:gd name="connsiteX5" fmla="*/ 208230 w 210609"/>
                <a:gd name="connsiteY5" fmla="*/ 190381 h 328407"/>
                <a:gd name="connsiteX6" fmla="*/ 210609 w 210609"/>
                <a:gd name="connsiteY6" fmla="*/ 190381 h 328407"/>
                <a:gd name="connsiteX7" fmla="*/ 209419 w 210609"/>
                <a:gd name="connsiteY7" fmla="*/ 164204 h 328407"/>
                <a:gd name="connsiteX8" fmla="*/ 210609 w 210609"/>
                <a:gd name="connsiteY8" fmla="*/ 138027 h 328407"/>
                <a:gd name="connsiteX9" fmla="*/ 208230 w 210609"/>
                <a:gd name="connsiteY9" fmla="*/ 138027 h 328407"/>
                <a:gd name="connsiteX10" fmla="*/ 202280 w 210609"/>
                <a:gd name="connsiteY10" fmla="*/ 0 h 3284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10609" h="328407">
                  <a:moveTo>
                    <a:pt x="0" y="72583"/>
                  </a:moveTo>
                  <a:lnTo>
                    <a:pt x="0" y="133267"/>
                  </a:lnTo>
                  <a:lnTo>
                    <a:pt x="0" y="195141"/>
                  </a:lnTo>
                  <a:lnTo>
                    <a:pt x="0" y="255825"/>
                  </a:lnTo>
                  <a:lnTo>
                    <a:pt x="202280" y="328408"/>
                  </a:lnTo>
                  <a:lnTo>
                    <a:pt x="208230" y="190381"/>
                  </a:lnTo>
                  <a:lnTo>
                    <a:pt x="210609" y="190381"/>
                  </a:lnTo>
                  <a:lnTo>
                    <a:pt x="209419" y="164204"/>
                  </a:lnTo>
                  <a:lnTo>
                    <a:pt x="210609" y="138027"/>
                  </a:lnTo>
                  <a:lnTo>
                    <a:pt x="208230" y="138027"/>
                  </a:lnTo>
                  <a:lnTo>
                    <a:pt x="202280" y="0"/>
                  </a:lnTo>
                  <a:close/>
                </a:path>
              </a:pathLst>
            </a:custGeom>
            <a:solidFill>
              <a:schemeClr val="accent6"/>
            </a:solidFill>
            <a:ln w="1189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grpSp>
        <p:nvGrpSpPr>
          <p:cNvPr id="21" name="Group 39">
            <a:extLst>
              <a:ext uri="{FF2B5EF4-FFF2-40B4-BE49-F238E27FC236}">
                <a16:creationId xmlns:a16="http://schemas.microsoft.com/office/drawing/2014/main" id="{8A731FD0-582A-4985-A610-A7DBF6B1BE1F}"/>
              </a:ext>
            </a:extLst>
          </p:cNvPr>
          <p:cNvGrpSpPr/>
          <p:nvPr/>
        </p:nvGrpSpPr>
        <p:grpSpPr>
          <a:xfrm>
            <a:off x="3526970" y="3768361"/>
            <a:ext cx="1852337" cy="1306912"/>
            <a:chOff x="3526970" y="3768361"/>
            <a:chExt cx="1852337" cy="1306912"/>
          </a:xfrm>
        </p:grpSpPr>
        <p:sp>
          <p:nvSpPr>
            <p:cNvPr id="22" name="Freeform: Shape 9">
              <a:extLst>
                <a:ext uri="{FF2B5EF4-FFF2-40B4-BE49-F238E27FC236}">
                  <a16:creationId xmlns:a16="http://schemas.microsoft.com/office/drawing/2014/main" id="{EF7A45B4-29BE-44FF-B034-67CDEB74295F}"/>
                </a:ext>
              </a:extLst>
            </p:cNvPr>
            <p:cNvSpPr/>
            <p:nvPr/>
          </p:nvSpPr>
          <p:spPr>
            <a:xfrm>
              <a:off x="3526970" y="3768361"/>
              <a:ext cx="1076357" cy="1306912"/>
            </a:xfrm>
            <a:custGeom>
              <a:avLst/>
              <a:gdLst>
                <a:gd name="connsiteX0" fmla="*/ 486662 w 972134"/>
                <a:gd name="connsiteY0" fmla="*/ 0 h 1180364"/>
                <a:gd name="connsiteX1" fmla="*/ 242736 w 972134"/>
                <a:gd name="connsiteY1" fmla="*/ 147546 h 1180364"/>
                <a:gd name="connsiteX2" fmla="*/ 0 w 972134"/>
                <a:gd name="connsiteY2" fmla="*/ 295091 h 1180364"/>
                <a:gd name="connsiteX3" fmla="*/ 0 w 972134"/>
                <a:gd name="connsiteY3" fmla="*/ 590182 h 1180364"/>
                <a:gd name="connsiteX4" fmla="*/ 0 w 972134"/>
                <a:gd name="connsiteY4" fmla="*/ 885273 h 1180364"/>
                <a:gd name="connsiteX5" fmla="*/ 242736 w 972134"/>
                <a:gd name="connsiteY5" fmla="*/ 1032819 h 1180364"/>
                <a:gd name="connsiteX6" fmla="*/ 486662 w 972134"/>
                <a:gd name="connsiteY6" fmla="*/ 1180364 h 1180364"/>
                <a:gd name="connsiteX7" fmla="*/ 729398 w 972134"/>
                <a:gd name="connsiteY7" fmla="*/ 1032819 h 1180364"/>
                <a:gd name="connsiteX8" fmla="*/ 972134 w 972134"/>
                <a:gd name="connsiteY8" fmla="*/ 885273 h 1180364"/>
                <a:gd name="connsiteX9" fmla="*/ 972134 w 972134"/>
                <a:gd name="connsiteY9" fmla="*/ 590182 h 1180364"/>
                <a:gd name="connsiteX10" fmla="*/ 972134 w 972134"/>
                <a:gd name="connsiteY10" fmla="*/ 295091 h 1180364"/>
                <a:gd name="connsiteX11" fmla="*/ 729398 w 972134"/>
                <a:gd name="connsiteY11" fmla="*/ 147546 h 1180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72134" h="1180364">
                  <a:moveTo>
                    <a:pt x="486662" y="0"/>
                  </a:moveTo>
                  <a:lnTo>
                    <a:pt x="242736" y="147546"/>
                  </a:lnTo>
                  <a:lnTo>
                    <a:pt x="0" y="295091"/>
                  </a:lnTo>
                  <a:lnTo>
                    <a:pt x="0" y="590182"/>
                  </a:lnTo>
                  <a:lnTo>
                    <a:pt x="0" y="885273"/>
                  </a:lnTo>
                  <a:lnTo>
                    <a:pt x="242736" y="1032819"/>
                  </a:lnTo>
                  <a:lnTo>
                    <a:pt x="486662" y="1180364"/>
                  </a:lnTo>
                  <a:lnTo>
                    <a:pt x="729398" y="1032819"/>
                  </a:lnTo>
                  <a:lnTo>
                    <a:pt x="972134" y="885273"/>
                  </a:lnTo>
                  <a:lnTo>
                    <a:pt x="972134" y="590182"/>
                  </a:lnTo>
                  <a:lnTo>
                    <a:pt x="972134" y="295091"/>
                  </a:lnTo>
                  <a:lnTo>
                    <a:pt x="729398" y="147546"/>
                  </a:lnTo>
                  <a:close/>
                </a:path>
              </a:pathLst>
            </a:custGeom>
            <a:solidFill>
              <a:schemeClr val="accent2"/>
            </a:solidFill>
            <a:ln w="1189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3" name="Freeform: Shape 10">
              <a:extLst>
                <a:ext uri="{FF2B5EF4-FFF2-40B4-BE49-F238E27FC236}">
                  <a16:creationId xmlns:a16="http://schemas.microsoft.com/office/drawing/2014/main" id="{9E58628C-FAC5-4871-83A7-99668A5AB614}"/>
                </a:ext>
              </a:extLst>
            </p:cNvPr>
            <p:cNvSpPr/>
            <p:nvPr/>
          </p:nvSpPr>
          <p:spPr>
            <a:xfrm>
              <a:off x="4828612" y="4087184"/>
              <a:ext cx="550695" cy="669265"/>
            </a:xfrm>
            <a:custGeom>
              <a:avLst/>
              <a:gdLst>
                <a:gd name="connsiteX0" fmla="*/ 248685 w 497371"/>
                <a:gd name="connsiteY0" fmla="*/ 0 h 604460"/>
                <a:gd name="connsiteX1" fmla="*/ 123748 w 497371"/>
                <a:gd name="connsiteY1" fmla="*/ 74962 h 604460"/>
                <a:gd name="connsiteX2" fmla="*/ 0 w 497371"/>
                <a:gd name="connsiteY2" fmla="*/ 151115 h 604460"/>
                <a:gd name="connsiteX3" fmla="*/ 0 w 497371"/>
                <a:gd name="connsiteY3" fmla="*/ 302230 h 604460"/>
                <a:gd name="connsiteX4" fmla="*/ 0 w 497371"/>
                <a:gd name="connsiteY4" fmla="*/ 453345 h 604460"/>
                <a:gd name="connsiteX5" fmla="*/ 123748 w 497371"/>
                <a:gd name="connsiteY5" fmla="*/ 528308 h 604460"/>
                <a:gd name="connsiteX6" fmla="*/ 248685 w 497371"/>
                <a:gd name="connsiteY6" fmla="*/ 604461 h 604460"/>
                <a:gd name="connsiteX7" fmla="*/ 373623 w 497371"/>
                <a:gd name="connsiteY7" fmla="*/ 528308 h 604460"/>
                <a:gd name="connsiteX8" fmla="*/ 497371 w 497371"/>
                <a:gd name="connsiteY8" fmla="*/ 453345 h 604460"/>
                <a:gd name="connsiteX9" fmla="*/ 497371 w 497371"/>
                <a:gd name="connsiteY9" fmla="*/ 302230 h 604460"/>
                <a:gd name="connsiteX10" fmla="*/ 497371 w 497371"/>
                <a:gd name="connsiteY10" fmla="*/ 151115 h 604460"/>
                <a:gd name="connsiteX11" fmla="*/ 373623 w 497371"/>
                <a:gd name="connsiteY11" fmla="*/ 74962 h 604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97371" h="604460">
                  <a:moveTo>
                    <a:pt x="248685" y="0"/>
                  </a:moveTo>
                  <a:lnTo>
                    <a:pt x="123748" y="74962"/>
                  </a:lnTo>
                  <a:lnTo>
                    <a:pt x="0" y="151115"/>
                  </a:lnTo>
                  <a:lnTo>
                    <a:pt x="0" y="302230"/>
                  </a:lnTo>
                  <a:lnTo>
                    <a:pt x="0" y="453345"/>
                  </a:lnTo>
                  <a:lnTo>
                    <a:pt x="123748" y="528308"/>
                  </a:lnTo>
                  <a:lnTo>
                    <a:pt x="248685" y="604461"/>
                  </a:lnTo>
                  <a:lnTo>
                    <a:pt x="373623" y="528308"/>
                  </a:lnTo>
                  <a:lnTo>
                    <a:pt x="497371" y="453345"/>
                  </a:lnTo>
                  <a:lnTo>
                    <a:pt x="497371" y="302230"/>
                  </a:lnTo>
                  <a:lnTo>
                    <a:pt x="497371" y="151115"/>
                  </a:lnTo>
                  <a:lnTo>
                    <a:pt x="373623" y="74962"/>
                  </a:lnTo>
                  <a:close/>
                </a:path>
              </a:pathLst>
            </a:custGeom>
            <a:solidFill>
              <a:schemeClr val="accent2"/>
            </a:solidFill>
            <a:ln w="1189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useBgFill="1">
          <p:nvSpPr>
            <p:cNvPr id="24" name="Freeform: Shape 11">
              <a:extLst>
                <a:ext uri="{FF2B5EF4-FFF2-40B4-BE49-F238E27FC236}">
                  <a16:creationId xmlns:a16="http://schemas.microsoft.com/office/drawing/2014/main" id="{2AFCA4A8-1E18-4C96-AD0E-382C4EFDA481}"/>
                </a:ext>
              </a:extLst>
            </p:cNvPr>
            <p:cNvSpPr/>
            <p:nvPr/>
          </p:nvSpPr>
          <p:spPr>
            <a:xfrm>
              <a:off x="4886580" y="4155691"/>
              <a:ext cx="434759" cy="532250"/>
            </a:xfrm>
            <a:custGeom>
              <a:avLst/>
              <a:gdLst>
                <a:gd name="connsiteX0" fmla="*/ 196331 w 392661"/>
                <a:gd name="connsiteY0" fmla="*/ 0 h 480712"/>
                <a:gd name="connsiteX1" fmla="*/ 392661 w 392661"/>
                <a:gd name="connsiteY1" fmla="*/ 118988 h 480712"/>
                <a:gd name="connsiteX2" fmla="*/ 392661 w 392661"/>
                <a:gd name="connsiteY2" fmla="*/ 361724 h 480712"/>
                <a:gd name="connsiteX3" fmla="*/ 196331 w 392661"/>
                <a:gd name="connsiteY3" fmla="*/ 480713 h 480712"/>
                <a:gd name="connsiteX4" fmla="*/ 0 w 392661"/>
                <a:gd name="connsiteY4" fmla="*/ 361724 h 480712"/>
                <a:gd name="connsiteX5" fmla="*/ 0 w 392661"/>
                <a:gd name="connsiteY5" fmla="*/ 118988 h 480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2661" h="480712">
                  <a:moveTo>
                    <a:pt x="196331" y="0"/>
                  </a:moveTo>
                  <a:lnTo>
                    <a:pt x="392661" y="118988"/>
                  </a:lnTo>
                  <a:lnTo>
                    <a:pt x="392661" y="361724"/>
                  </a:lnTo>
                  <a:lnTo>
                    <a:pt x="196331" y="480713"/>
                  </a:lnTo>
                  <a:lnTo>
                    <a:pt x="0" y="361724"/>
                  </a:lnTo>
                  <a:lnTo>
                    <a:pt x="0" y="118988"/>
                  </a:lnTo>
                  <a:close/>
                </a:path>
              </a:pathLst>
            </a:custGeom>
            <a:ln w="1189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5" name="Freeform: Shape 12">
              <a:extLst>
                <a:ext uri="{FF2B5EF4-FFF2-40B4-BE49-F238E27FC236}">
                  <a16:creationId xmlns:a16="http://schemas.microsoft.com/office/drawing/2014/main" id="{68D2C869-B58C-4DCF-8E9A-F86D9F1CC220}"/>
                </a:ext>
              </a:extLst>
            </p:cNvPr>
            <p:cNvSpPr/>
            <p:nvPr/>
          </p:nvSpPr>
          <p:spPr>
            <a:xfrm>
              <a:off x="4595423" y="4240009"/>
              <a:ext cx="233189" cy="363616"/>
            </a:xfrm>
            <a:custGeom>
              <a:avLst/>
              <a:gdLst>
                <a:gd name="connsiteX0" fmla="*/ 210609 w 210609"/>
                <a:gd name="connsiteY0" fmla="*/ 72583 h 328407"/>
                <a:gd name="connsiteX1" fmla="*/ 210609 w 210609"/>
                <a:gd name="connsiteY1" fmla="*/ 133267 h 328407"/>
                <a:gd name="connsiteX2" fmla="*/ 210609 w 210609"/>
                <a:gd name="connsiteY2" fmla="*/ 195141 h 328407"/>
                <a:gd name="connsiteX3" fmla="*/ 210609 w 210609"/>
                <a:gd name="connsiteY3" fmla="*/ 255825 h 328407"/>
                <a:gd name="connsiteX4" fmla="*/ 7139 w 210609"/>
                <a:gd name="connsiteY4" fmla="*/ 328408 h 328407"/>
                <a:gd name="connsiteX5" fmla="*/ 1190 w 210609"/>
                <a:gd name="connsiteY5" fmla="*/ 190381 h 328407"/>
                <a:gd name="connsiteX6" fmla="*/ 0 w 210609"/>
                <a:gd name="connsiteY6" fmla="*/ 190381 h 328407"/>
                <a:gd name="connsiteX7" fmla="*/ 0 w 210609"/>
                <a:gd name="connsiteY7" fmla="*/ 164204 h 328407"/>
                <a:gd name="connsiteX8" fmla="*/ 0 w 210609"/>
                <a:gd name="connsiteY8" fmla="*/ 138027 h 328407"/>
                <a:gd name="connsiteX9" fmla="*/ 1190 w 210609"/>
                <a:gd name="connsiteY9" fmla="*/ 138027 h 328407"/>
                <a:gd name="connsiteX10" fmla="*/ 7139 w 210609"/>
                <a:gd name="connsiteY10" fmla="*/ 0 h 3284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10609" h="328407">
                  <a:moveTo>
                    <a:pt x="210609" y="72583"/>
                  </a:moveTo>
                  <a:lnTo>
                    <a:pt x="210609" y="133267"/>
                  </a:lnTo>
                  <a:lnTo>
                    <a:pt x="210609" y="195141"/>
                  </a:lnTo>
                  <a:lnTo>
                    <a:pt x="210609" y="255825"/>
                  </a:lnTo>
                  <a:lnTo>
                    <a:pt x="7139" y="328408"/>
                  </a:lnTo>
                  <a:lnTo>
                    <a:pt x="1190" y="190381"/>
                  </a:lnTo>
                  <a:lnTo>
                    <a:pt x="0" y="190381"/>
                  </a:lnTo>
                  <a:lnTo>
                    <a:pt x="0" y="164204"/>
                  </a:lnTo>
                  <a:lnTo>
                    <a:pt x="0" y="138027"/>
                  </a:lnTo>
                  <a:lnTo>
                    <a:pt x="1190" y="138027"/>
                  </a:lnTo>
                  <a:lnTo>
                    <a:pt x="7139" y="0"/>
                  </a:lnTo>
                  <a:close/>
                </a:path>
              </a:pathLst>
            </a:custGeom>
            <a:solidFill>
              <a:schemeClr val="accent2"/>
            </a:solidFill>
            <a:ln w="1189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grpSp>
        <p:nvGrpSpPr>
          <p:cNvPr id="26" name="Group 43">
            <a:extLst>
              <a:ext uri="{FF2B5EF4-FFF2-40B4-BE49-F238E27FC236}">
                <a16:creationId xmlns:a16="http://schemas.microsoft.com/office/drawing/2014/main" id="{4B12C42A-B24E-4B05-A194-F3391AF1037A}"/>
              </a:ext>
            </a:extLst>
          </p:cNvPr>
          <p:cNvGrpSpPr/>
          <p:nvPr/>
        </p:nvGrpSpPr>
        <p:grpSpPr>
          <a:xfrm>
            <a:off x="5442543" y="1852787"/>
            <a:ext cx="1306912" cy="1852337"/>
            <a:chOff x="5442543" y="1852787"/>
            <a:chExt cx="1306912" cy="1852337"/>
          </a:xfrm>
        </p:grpSpPr>
        <p:sp>
          <p:nvSpPr>
            <p:cNvPr id="27" name="Freeform: Shape 13">
              <a:extLst>
                <a:ext uri="{FF2B5EF4-FFF2-40B4-BE49-F238E27FC236}">
                  <a16:creationId xmlns:a16="http://schemas.microsoft.com/office/drawing/2014/main" id="{CC2B471D-C092-4082-AA75-4F979FF6B5BE}"/>
                </a:ext>
              </a:extLst>
            </p:cNvPr>
            <p:cNvSpPr/>
            <p:nvPr/>
          </p:nvSpPr>
          <p:spPr>
            <a:xfrm>
              <a:off x="5442543" y="1852787"/>
              <a:ext cx="1306912" cy="1076357"/>
            </a:xfrm>
            <a:custGeom>
              <a:avLst/>
              <a:gdLst>
                <a:gd name="connsiteX0" fmla="*/ 0 w 1180364"/>
                <a:gd name="connsiteY0" fmla="*/ 486662 h 972134"/>
                <a:gd name="connsiteX1" fmla="*/ 147546 w 1180364"/>
                <a:gd name="connsiteY1" fmla="*/ 242736 h 972134"/>
                <a:gd name="connsiteX2" fmla="*/ 295091 w 1180364"/>
                <a:gd name="connsiteY2" fmla="*/ 0 h 972134"/>
                <a:gd name="connsiteX3" fmla="*/ 590182 w 1180364"/>
                <a:gd name="connsiteY3" fmla="*/ 0 h 972134"/>
                <a:gd name="connsiteX4" fmla="*/ 885273 w 1180364"/>
                <a:gd name="connsiteY4" fmla="*/ 0 h 972134"/>
                <a:gd name="connsiteX5" fmla="*/ 1032819 w 1180364"/>
                <a:gd name="connsiteY5" fmla="*/ 242736 h 972134"/>
                <a:gd name="connsiteX6" fmla="*/ 1180364 w 1180364"/>
                <a:gd name="connsiteY6" fmla="*/ 486662 h 972134"/>
                <a:gd name="connsiteX7" fmla="*/ 1032819 w 1180364"/>
                <a:gd name="connsiteY7" fmla="*/ 729398 h 972134"/>
                <a:gd name="connsiteX8" fmla="*/ 885273 w 1180364"/>
                <a:gd name="connsiteY8" fmla="*/ 972135 h 972134"/>
                <a:gd name="connsiteX9" fmla="*/ 590182 w 1180364"/>
                <a:gd name="connsiteY9" fmla="*/ 972135 h 972134"/>
                <a:gd name="connsiteX10" fmla="*/ 295091 w 1180364"/>
                <a:gd name="connsiteY10" fmla="*/ 972135 h 972134"/>
                <a:gd name="connsiteX11" fmla="*/ 147546 w 1180364"/>
                <a:gd name="connsiteY11" fmla="*/ 729398 h 972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80364" h="972134">
                  <a:moveTo>
                    <a:pt x="0" y="486662"/>
                  </a:moveTo>
                  <a:lnTo>
                    <a:pt x="147546" y="242736"/>
                  </a:lnTo>
                  <a:lnTo>
                    <a:pt x="295091" y="0"/>
                  </a:lnTo>
                  <a:lnTo>
                    <a:pt x="590182" y="0"/>
                  </a:lnTo>
                  <a:lnTo>
                    <a:pt x="885273" y="0"/>
                  </a:lnTo>
                  <a:lnTo>
                    <a:pt x="1032819" y="242736"/>
                  </a:lnTo>
                  <a:lnTo>
                    <a:pt x="1180364" y="486662"/>
                  </a:lnTo>
                  <a:lnTo>
                    <a:pt x="1032819" y="729398"/>
                  </a:lnTo>
                  <a:lnTo>
                    <a:pt x="885273" y="972135"/>
                  </a:lnTo>
                  <a:lnTo>
                    <a:pt x="590182" y="972135"/>
                  </a:lnTo>
                  <a:lnTo>
                    <a:pt x="295091" y="972135"/>
                  </a:lnTo>
                  <a:lnTo>
                    <a:pt x="147546" y="729398"/>
                  </a:lnTo>
                  <a:close/>
                </a:path>
              </a:pathLst>
            </a:custGeom>
            <a:solidFill>
              <a:schemeClr val="accent4"/>
            </a:solidFill>
            <a:ln w="1189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8" name="Freeform: Shape 14">
              <a:extLst>
                <a:ext uri="{FF2B5EF4-FFF2-40B4-BE49-F238E27FC236}">
                  <a16:creationId xmlns:a16="http://schemas.microsoft.com/office/drawing/2014/main" id="{EF55FF3A-FA4A-4373-968C-94FC5A74DAD1}"/>
                </a:ext>
              </a:extLst>
            </p:cNvPr>
            <p:cNvSpPr/>
            <p:nvPr/>
          </p:nvSpPr>
          <p:spPr>
            <a:xfrm>
              <a:off x="5761367" y="3154429"/>
              <a:ext cx="669265" cy="550695"/>
            </a:xfrm>
            <a:custGeom>
              <a:avLst/>
              <a:gdLst>
                <a:gd name="connsiteX0" fmla="*/ 0 w 604460"/>
                <a:gd name="connsiteY0" fmla="*/ 248686 h 497371"/>
                <a:gd name="connsiteX1" fmla="*/ 74962 w 604460"/>
                <a:gd name="connsiteY1" fmla="*/ 123748 h 497371"/>
                <a:gd name="connsiteX2" fmla="*/ 151115 w 604460"/>
                <a:gd name="connsiteY2" fmla="*/ 0 h 497371"/>
                <a:gd name="connsiteX3" fmla="*/ 302230 w 604460"/>
                <a:gd name="connsiteY3" fmla="*/ 0 h 497371"/>
                <a:gd name="connsiteX4" fmla="*/ 453345 w 604460"/>
                <a:gd name="connsiteY4" fmla="*/ 0 h 497371"/>
                <a:gd name="connsiteX5" fmla="*/ 528308 w 604460"/>
                <a:gd name="connsiteY5" fmla="*/ 123748 h 497371"/>
                <a:gd name="connsiteX6" fmla="*/ 604460 w 604460"/>
                <a:gd name="connsiteY6" fmla="*/ 248686 h 497371"/>
                <a:gd name="connsiteX7" fmla="*/ 528308 w 604460"/>
                <a:gd name="connsiteY7" fmla="*/ 373623 h 497371"/>
                <a:gd name="connsiteX8" fmla="*/ 453345 w 604460"/>
                <a:gd name="connsiteY8" fmla="*/ 497371 h 497371"/>
                <a:gd name="connsiteX9" fmla="*/ 302230 w 604460"/>
                <a:gd name="connsiteY9" fmla="*/ 497371 h 497371"/>
                <a:gd name="connsiteX10" fmla="*/ 151115 w 604460"/>
                <a:gd name="connsiteY10" fmla="*/ 497371 h 497371"/>
                <a:gd name="connsiteX11" fmla="*/ 74962 w 604460"/>
                <a:gd name="connsiteY11" fmla="*/ 373623 h 497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04460" h="497371">
                  <a:moveTo>
                    <a:pt x="0" y="248686"/>
                  </a:moveTo>
                  <a:lnTo>
                    <a:pt x="74962" y="123748"/>
                  </a:lnTo>
                  <a:lnTo>
                    <a:pt x="151115" y="0"/>
                  </a:lnTo>
                  <a:lnTo>
                    <a:pt x="302230" y="0"/>
                  </a:lnTo>
                  <a:lnTo>
                    <a:pt x="453345" y="0"/>
                  </a:lnTo>
                  <a:lnTo>
                    <a:pt x="528308" y="123748"/>
                  </a:lnTo>
                  <a:lnTo>
                    <a:pt x="604460" y="248686"/>
                  </a:lnTo>
                  <a:lnTo>
                    <a:pt x="528308" y="373623"/>
                  </a:lnTo>
                  <a:lnTo>
                    <a:pt x="453345" y="497371"/>
                  </a:lnTo>
                  <a:lnTo>
                    <a:pt x="302230" y="497371"/>
                  </a:lnTo>
                  <a:lnTo>
                    <a:pt x="151115" y="497371"/>
                  </a:lnTo>
                  <a:lnTo>
                    <a:pt x="74962" y="373623"/>
                  </a:lnTo>
                  <a:close/>
                </a:path>
              </a:pathLst>
            </a:custGeom>
            <a:solidFill>
              <a:schemeClr val="accent4"/>
            </a:solidFill>
            <a:ln w="1189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useBgFill="1">
          <p:nvSpPr>
            <p:cNvPr id="29" name="Freeform: Shape 15">
              <a:extLst>
                <a:ext uri="{FF2B5EF4-FFF2-40B4-BE49-F238E27FC236}">
                  <a16:creationId xmlns:a16="http://schemas.microsoft.com/office/drawing/2014/main" id="{6EA0B757-916E-488E-A3ED-1218DEAAA1FB}"/>
                </a:ext>
              </a:extLst>
            </p:cNvPr>
            <p:cNvSpPr/>
            <p:nvPr/>
          </p:nvSpPr>
          <p:spPr>
            <a:xfrm>
              <a:off x="5829875" y="3212397"/>
              <a:ext cx="532250" cy="434759"/>
            </a:xfrm>
            <a:custGeom>
              <a:avLst/>
              <a:gdLst>
                <a:gd name="connsiteX0" fmla="*/ 0 w 480712"/>
                <a:gd name="connsiteY0" fmla="*/ 196331 h 392661"/>
                <a:gd name="connsiteX1" fmla="*/ 118988 w 480712"/>
                <a:gd name="connsiteY1" fmla="*/ 392661 h 392661"/>
                <a:gd name="connsiteX2" fmla="*/ 361724 w 480712"/>
                <a:gd name="connsiteY2" fmla="*/ 392661 h 392661"/>
                <a:gd name="connsiteX3" fmla="*/ 480713 w 480712"/>
                <a:gd name="connsiteY3" fmla="*/ 196331 h 392661"/>
                <a:gd name="connsiteX4" fmla="*/ 361724 w 480712"/>
                <a:gd name="connsiteY4" fmla="*/ 0 h 392661"/>
                <a:gd name="connsiteX5" fmla="*/ 118988 w 480712"/>
                <a:gd name="connsiteY5" fmla="*/ 0 h 392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80712" h="392661">
                  <a:moveTo>
                    <a:pt x="0" y="196331"/>
                  </a:moveTo>
                  <a:lnTo>
                    <a:pt x="118988" y="392661"/>
                  </a:lnTo>
                  <a:lnTo>
                    <a:pt x="361724" y="392661"/>
                  </a:lnTo>
                  <a:lnTo>
                    <a:pt x="480713" y="196331"/>
                  </a:lnTo>
                  <a:lnTo>
                    <a:pt x="361724" y="0"/>
                  </a:lnTo>
                  <a:lnTo>
                    <a:pt x="118988" y="0"/>
                  </a:lnTo>
                  <a:close/>
                </a:path>
              </a:pathLst>
            </a:custGeom>
            <a:ln w="1189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0" name="Freeform: Shape 16">
              <a:extLst>
                <a:ext uri="{FF2B5EF4-FFF2-40B4-BE49-F238E27FC236}">
                  <a16:creationId xmlns:a16="http://schemas.microsoft.com/office/drawing/2014/main" id="{737A6FD6-19A1-4DEE-B405-1D713072C638}"/>
                </a:ext>
              </a:extLst>
            </p:cNvPr>
            <p:cNvSpPr/>
            <p:nvPr/>
          </p:nvSpPr>
          <p:spPr>
            <a:xfrm>
              <a:off x="5914192" y="2921240"/>
              <a:ext cx="363616" cy="233189"/>
            </a:xfrm>
            <a:custGeom>
              <a:avLst/>
              <a:gdLst>
                <a:gd name="connsiteX0" fmla="*/ 72583 w 328407"/>
                <a:gd name="connsiteY0" fmla="*/ 210609 h 210609"/>
                <a:gd name="connsiteX1" fmla="*/ 133267 w 328407"/>
                <a:gd name="connsiteY1" fmla="*/ 210609 h 210609"/>
                <a:gd name="connsiteX2" fmla="*/ 195141 w 328407"/>
                <a:gd name="connsiteY2" fmla="*/ 210609 h 210609"/>
                <a:gd name="connsiteX3" fmla="*/ 255825 w 328407"/>
                <a:gd name="connsiteY3" fmla="*/ 210609 h 210609"/>
                <a:gd name="connsiteX4" fmla="*/ 328408 w 328407"/>
                <a:gd name="connsiteY4" fmla="*/ 7139 h 210609"/>
                <a:gd name="connsiteX5" fmla="*/ 190381 w 328407"/>
                <a:gd name="connsiteY5" fmla="*/ 1190 h 210609"/>
                <a:gd name="connsiteX6" fmla="*/ 190381 w 328407"/>
                <a:gd name="connsiteY6" fmla="*/ 0 h 210609"/>
                <a:gd name="connsiteX7" fmla="*/ 164204 w 328407"/>
                <a:gd name="connsiteY7" fmla="*/ 0 h 210609"/>
                <a:gd name="connsiteX8" fmla="*/ 138027 w 328407"/>
                <a:gd name="connsiteY8" fmla="*/ 0 h 210609"/>
                <a:gd name="connsiteX9" fmla="*/ 138027 w 328407"/>
                <a:gd name="connsiteY9" fmla="*/ 1190 h 210609"/>
                <a:gd name="connsiteX10" fmla="*/ 0 w 328407"/>
                <a:gd name="connsiteY10" fmla="*/ 7139 h 210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28407" h="210609">
                  <a:moveTo>
                    <a:pt x="72583" y="210609"/>
                  </a:moveTo>
                  <a:lnTo>
                    <a:pt x="133267" y="210609"/>
                  </a:lnTo>
                  <a:lnTo>
                    <a:pt x="195141" y="210609"/>
                  </a:lnTo>
                  <a:lnTo>
                    <a:pt x="255825" y="210609"/>
                  </a:lnTo>
                  <a:lnTo>
                    <a:pt x="328408" y="7139"/>
                  </a:lnTo>
                  <a:lnTo>
                    <a:pt x="190381" y="1190"/>
                  </a:lnTo>
                  <a:lnTo>
                    <a:pt x="190381" y="0"/>
                  </a:lnTo>
                  <a:lnTo>
                    <a:pt x="164204" y="0"/>
                  </a:lnTo>
                  <a:lnTo>
                    <a:pt x="138027" y="0"/>
                  </a:lnTo>
                  <a:lnTo>
                    <a:pt x="138027" y="1190"/>
                  </a:lnTo>
                  <a:lnTo>
                    <a:pt x="0" y="7139"/>
                  </a:lnTo>
                  <a:close/>
                </a:path>
              </a:pathLst>
            </a:custGeom>
            <a:solidFill>
              <a:schemeClr val="accent4"/>
            </a:solidFill>
            <a:ln w="1189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grpSp>
        <p:nvGrpSpPr>
          <p:cNvPr id="31" name="Group 44">
            <a:extLst>
              <a:ext uri="{FF2B5EF4-FFF2-40B4-BE49-F238E27FC236}">
                <a16:creationId xmlns:a16="http://schemas.microsoft.com/office/drawing/2014/main" id="{B38D63F8-3F99-4D2F-9BC4-539762F28B6D}"/>
              </a:ext>
            </a:extLst>
          </p:cNvPr>
          <p:cNvGrpSpPr/>
          <p:nvPr/>
        </p:nvGrpSpPr>
        <p:grpSpPr>
          <a:xfrm>
            <a:off x="6484648" y="2374497"/>
            <a:ext cx="1658671" cy="1658672"/>
            <a:chOff x="6484648" y="2374497"/>
            <a:chExt cx="1658671" cy="1658672"/>
          </a:xfrm>
        </p:grpSpPr>
        <p:sp>
          <p:nvSpPr>
            <p:cNvPr id="32" name="Freeform: Shape 17">
              <a:extLst>
                <a:ext uri="{FF2B5EF4-FFF2-40B4-BE49-F238E27FC236}">
                  <a16:creationId xmlns:a16="http://schemas.microsoft.com/office/drawing/2014/main" id="{9E01BA63-FA8B-4E45-9CF1-20A64FC784EF}"/>
                </a:ext>
              </a:extLst>
            </p:cNvPr>
            <p:cNvSpPr/>
            <p:nvPr/>
          </p:nvSpPr>
          <p:spPr>
            <a:xfrm>
              <a:off x="6919407" y="2374497"/>
              <a:ext cx="1223912" cy="1223912"/>
            </a:xfrm>
            <a:custGeom>
              <a:avLst/>
              <a:gdLst>
                <a:gd name="connsiteX0" fmla="*/ 135647 w 1105401"/>
                <a:gd name="connsiteY0" fmla="*/ 134457 h 1105401"/>
                <a:gd name="connsiteX1" fmla="*/ 411700 w 1105401"/>
                <a:gd name="connsiteY1" fmla="*/ 66633 h 1105401"/>
                <a:gd name="connsiteX2" fmla="*/ 687752 w 1105401"/>
                <a:gd name="connsiteY2" fmla="*/ 0 h 1105401"/>
                <a:gd name="connsiteX3" fmla="*/ 897172 w 1105401"/>
                <a:gd name="connsiteY3" fmla="*/ 208230 h 1105401"/>
                <a:gd name="connsiteX4" fmla="*/ 1105401 w 1105401"/>
                <a:gd name="connsiteY4" fmla="*/ 417649 h 1105401"/>
                <a:gd name="connsiteX5" fmla="*/ 1037578 w 1105401"/>
                <a:gd name="connsiteY5" fmla="*/ 693702 h 1105401"/>
                <a:gd name="connsiteX6" fmla="*/ 970945 w 1105401"/>
                <a:gd name="connsiteY6" fmla="*/ 969755 h 1105401"/>
                <a:gd name="connsiteX7" fmla="*/ 693702 w 1105401"/>
                <a:gd name="connsiteY7" fmla="*/ 1037578 h 1105401"/>
                <a:gd name="connsiteX8" fmla="*/ 417649 w 1105401"/>
                <a:gd name="connsiteY8" fmla="*/ 1105402 h 1105401"/>
                <a:gd name="connsiteX9" fmla="*/ 209420 w 1105401"/>
                <a:gd name="connsiteY9" fmla="*/ 895982 h 1105401"/>
                <a:gd name="connsiteX10" fmla="*/ 0 w 1105401"/>
                <a:gd name="connsiteY10" fmla="*/ 687753 h 1105401"/>
                <a:gd name="connsiteX11" fmla="*/ 67823 w 1105401"/>
                <a:gd name="connsiteY11" fmla="*/ 410510 h 1105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05401" h="1105401">
                  <a:moveTo>
                    <a:pt x="135647" y="134457"/>
                  </a:moveTo>
                  <a:lnTo>
                    <a:pt x="411700" y="66633"/>
                  </a:lnTo>
                  <a:lnTo>
                    <a:pt x="687752" y="0"/>
                  </a:lnTo>
                  <a:lnTo>
                    <a:pt x="897172" y="208230"/>
                  </a:lnTo>
                  <a:lnTo>
                    <a:pt x="1105401" y="417649"/>
                  </a:lnTo>
                  <a:lnTo>
                    <a:pt x="1037578" y="693702"/>
                  </a:lnTo>
                  <a:lnTo>
                    <a:pt x="970945" y="969755"/>
                  </a:lnTo>
                  <a:lnTo>
                    <a:pt x="693702" y="1037578"/>
                  </a:lnTo>
                  <a:lnTo>
                    <a:pt x="417649" y="1105402"/>
                  </a:lnTo>
                  <a:lnTo>
                    <a:pt x="209420" y="895982"/>
                  </a:lnTo>
                  <a:lnTo>
                    <a:pt x="0" y="687753"/>
                  </a:lnTo>
                  <a:lnTo>
                    <a:pt x="67823" y="410510"/>
                  </a:lnTo>
                  <a:close/>
                </a:path>
              </a:pathLst>
            </a:custGeom>
            <a:solidFill>
              <a:schemeClr val="accent5"/>
            </a:solidFill>
            <a:ln w="1189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3" name="Freeform: Shape 18">
              <a:extLst>
                <a:ext uri="{FF2B5EF4-FFF2-40B4-BE49-F238E27FC236}">
                  <a16:creationId xmlns:a16="http://schemas.microsoft.com/office/drawing/2014/main" id="{8A1A233B-BE42-49C5-9A55-7E3395B27ED6}"/>
                </a:ext>
              </a:extLst>
            </p:cNvPr>
            <p:cNvSpPr/>
            <p:nvPr/>
          </p:nvSpPr>
          <p:spPr>
            <a:xfrm>
              <a:off x="6484648" y="3407380"/>
              <a:ext cx="625789" cy="625789"/>
            </a:xfrm>
            <a:custGeom>
              <a:avLst/>
              <a:gdLst>
                <a:gd name="connsiteX0" fmla="*/ 69013 w 565194"/>
                <a:gd name="connsiteY0" fmla="*/ 69013 h 565194"/>
                <a:gd name="connsiteX1" fmla="*/ 210609 w 565194"/>
                <a:gd name="connsiteY1" fmla="*/ 34507 h 565194"/>
                <a:gd name="connsiteX2" fmla="*/ 352205 w 565194"/>
                <a:gd name="connsiteY2" fmla="*/ 0 h 565194"/>
                <a:gd name="connsiteX3" fmla="*/ 458105 w 565194"/>
                <a:gd name="connsiteY3" fmla="*/ 107089 h 565194"/>
                <a:gd name="connsiteX4" fmla="*/ 565194 w 565194"/>
                <a:gd name="connsiteY4" fmla="*/ 212989 h 565194"/>
                <a:gd name="connsiteX5" fmla="*/ 530688 w 565194"/>
                <a:gd name="connsiteY5" fmla="*/ 354585 h 565194"/>
                <a:gd name="connsiteX6" fmla="*/ 496181 w 565194"/>
                <a:gd name="connsiteY6" fmla="*/ 496181 h 565194"/>
                <a:gd name="connsiteX7" fmla="*/ 354585 w 565194"/>
                <a:gd name="connsiteY7" fmla="*/ 530688 h 565194"/>
                <a:gd name="connsiteX8" fmla="*/ 212989 w 565194"/>
                <a:gd name="connsiteY8" fmla="*/ 565195 h 565194"/>
                <a:gd name="connsiteX9" fmla="*/ 105900 w 565194"/>
                <a:gd name="connsiteY9" fmla="*/ 458105 h 565194"/>
                <a:gd name="connsiteX10" fmla="*/ 0 w 565194"/>
                <a:gd name="connsiteY10" fmla="*/ 352206 h 565194"/>
                <a:gd name="connsiteX11" fmla="*/ 34507 w 565194"/>
                <a:gd name="connsiteY11" fmla="*/ 210609 h 5651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65194" h="565194">
                  <a:moveTo>
                    <a:pt x="69013" y="69013"/>
                  </a:moveTo>
                  <a:lnTo>
                    <a:pt x="210609" y="34507"/>
                  </a:lnTo>
                  <a:lnTo>
                    <a:pt x="352205" y="0"/>
                  </a:lnTo>
                  <a:lnTo>
                    <a:pt x="458105" y="107089"/>
                  </a:lnTo>
                  <a:lnTo>
                    <a:pt x="565194" y="212989"/>
                  </a:lnTo>
                  <a:lnTo>
                    <a:pt x="530688" y="354585"/>
                  </a:lnTo>
                  <a:lnTo>
                    <a:pt x="496181" y="496181"/>
                  </a:lnTo>
                  <a:lnTo>
                    <a:pt x="354585" y="530688"/>
                  </a:lnTo>
                  <a:lnTo>
                    <a:pt x="212989" y="565195"/>
                  </a:lnTo>
                  <a:lnTo>
                    <a:pt x="105900" y="458105"/>
                  </a:lnTo>
                  <a:lnTo>
                    <a:pt x="0" y="352206"/>
                  </a:lnTo>
                  <a:lnTo>
                    <a:pt x="34507" y="210609"/>
                  </a:lnTo>
                  <a:close/>
                </a:path>
              </a:pathLst>
            </a:custGeom>
            <a:solidFill>
              <a:schemeClr val="accent5"/>
            </a:solidFill>
            <a:ln w="1189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useBgFill="1">
          <p:nvSpPr>
            <p:cNvPr id="34" name="Freeform: Shape 19">
              <a:extLst>
                <a:ext uri="{FF2B5EF4-FFF2-40B4-BE49-F238E27FC236}">
                  <a16:creationId xmlns:a16="http://schemas.microsoft.com/office/drawing/2014/main" id="{5EED2C4A-B4E7-451B-AD7A-FF77B43EFF74}"/>
                </a:ext>
              </a:extLst>
            </p:cNvPr>
            <p:cNvSpPr/>
            <p:nvPr/>
          </p:nvSpPr>
          <p:spPr>
            <a:xfrm>
              <a:off x="6549203" y="3471934"/>
              <a:ext cx="496679" cy="496679"/>
            </a:xfrm>
            <a:custGeom>
              <a:avLst/>
              <a:gdLst>
                <a:gd name="connsiteX0" fmla="*/ 54735 w 448586"/>
                <a:gd name="connsiteY0" fmla="*/ 54735 h 448586"/>
                <a:gd name="connsiteX1" fmla="*/ 0 w 448586"/>
                <a:gd name="connsiteY1" fmla="*/ 277243 h 448586"/>
                <a:gd name="connsiteX2" fmla="*/ 171343 w 448586"/>
                <a:gd name="connsiteY2" fmla="*/ 448586 h 448586"/>
                <a:gd name="connsiteX3" fmla="*/ 393851 w 448586"/>
                <a:gd name="connsiteY3" fmla="*/ 393851 h 448586"/>
                <a:gd name="connsiteX4" fmla="*/ 448586 w 448586"/>
                <a:gd name="connsiteY4" fmla="*/ 171343 h 448586"/>
                <a:gd name="connsiteX5" fmla="*/ 277243 w 448586"/>
                <a:gd name="connsiteY5" fmla="*/ 0 h 4485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8586" h="448586">
                  <a:moveTo>
                    <a:pt x="54735" y="54735"/>
                  </a:moveTo>
                  <a:lnTo>
                    <a:pt x="0" y="277243"/>
                  </a:lnTo>
                  <a:lnTo>
                    <a:pt x="171343" y="448586"/>
                  </a:lnTo>
                  <a:lnTo>
                    <a:pt x="393851" y="393851"/>
                  </a:lnTo>
                  <a:lnTo>
                    <a:pt x="448586" y="171343"/>
                  </a:lnTo>
                  <a:lnTo>
                    <a:pt x="277243" y="0"/>
                  </a:lnTo>
                  <a:close/>
                </a:path>
              </a:pathLst>
            </a:custGeom>
            <a:ln w="1189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5" name="Freeform: Shape 20">
              <a:extLst>
                <a:ext uri="{FF2B5EF4-FFF2-40B4-BE49-F238E27FC236}">
                  <a16:creationId xmlns:a16="http://schemas.microsoft.com/office/drawing/2014/main" id="{28C7A109-589E-4E00-ACEF-95B8F16C613B}"/>
                </a:ext>
              </a:extLst>
            </p:cNvPr>
            <p:cNvSpPr/>
            <p:nvPr/>
          </p:nvSpPr>
          <p:spPr>
            <a:xfrm>
              <a:off x="6920724" y="3238746"/>
              <a:ext cx="358346" cy="358347"/>
            </a:xfrm>
            <a:custGeom>
              <a:avLst/>
              <a:gdLst>
                <a:gd name="connsiteX0" fmla="*/ 0 w 323647"/>
                <a:gd name="connsiteY0" fmla="*/ 193951 h 323648"/>
                <a:gd name="connsiteX1" fmla="*/ 42836 w 323647"/>
                <a:gd name="connsiteY1" fmla="*/ 236787 h 323648"/>
                <a:gd name="connsiteX2" fmla="*/ 85671 w 323647"/>
                <a:gd name="connsiteY2" fmla="*/ 280813 h 323648"/>
                <a:gd name="connsiteX3" fmla="*/ 129697 w 323647"/>
                <a:gd name="connsiteY3" fmla="*/ 323648 h 323648"/>
                <a:gd name="connsiteX4" fmla="*/ 323648 w 323647"/>
                <a:gd name="connsiteY4" fmla="*/ 232027 h 323648"/>
                <a:gd name="connsiteX5" fmla="*/ 230837 w 323647"/>
                <a:gd name="connsiteY5" fmla="*/ 129697 h 323648"/>
                <a:gd name="connsiteX6" fmla="*/ 232027 w 323647"/>
                <a:gd name="connsiteY6" fmla="*/ 128507 h 323648"/>
                <a:gd name="connsiteX7" fmla="*/ 212989 w 323647"/>
                <a:gd name="connsiteY7" fmla="*/ 110659 h 323648"/>
                <a:gd name="connsiteX8" fmla="*/ 195141 w 323647"/>
                <a:gd name="connsiteY8" fmla="*/ 91621 h 323648"/>
                <a:gd name="connsiteX9" fmla="*/ 193951 w 323647"/>
                <a:gd name="connsiteY9" fmla="*/ 92811 h 323648"/>
                <a:gd name="connsiteX10" fmla="*/ 91621 w 323647"/>
                <a:gd name="connsiteY10" fmla="*/ 0 h 323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23647" h="323648">
                  <a:moveTo>
                    <a:pt x="0" y="193951"/>
                  </a:moveTo>
                  <a:lnTo>
                    <a:pt x="42836" y="236787"/>
                  </a:lnTo>
                  <a:lnTo>
                    <a:pt x="85671" y="280813"/>
                  </a:lnTo>
                  <a:lnTo>
                    <a:pt x="129697" y="323648"/>
                  </a:lnTo>
                  <a:lnTo>
                    <a:pt x="323648" y="232027"/>
                  </a:lnTo>
                  <a:lnTo>
                    <a:pt x="230837" y="129697"/>
                  </a:lnTo>
                  <a:lnTo>
                    <a:pt x="232027" y="128507"/>
                  </a:lnTo>
                  <a:lnTo>
                    <a:pt x="212989" y="110659"/>
                  </a:lnTo>
                  <a:lnTo>
                    <a:pt x="195141" y="91621"/>
                  </a:lnTo>
                  <a:lnTo>
                    <a:pt x="193951" y="92811"/>
                  </a:lnTo>
                  <a:lnTo>
                    <a:pt x="91621" y="0"/>
                  </a:lnTo>
                  <a:close/>
                </a:path>
              </a:pathLst>
            </a:custGeom>
            <a:solidFill>
              <a:schemeClr val="accent5"/>
            </a:solidFill>
            <a:ln w="1189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grpSp>
        <p:nvGrpSpPr>
          <p:cNvPr id="36" name="Group 42">
            <a:extLst>
              <a:ext uri="{FF2B5EF4-FFF2-40B4-BE49-F238E27FC236}">
                <a16:creationId xmlns:a16="http://schemas.microsoft.com/office/drawing/2014/main" id="{602D9D28-CD21-4848-928E-A2275B542F82}"/>
              </a:ext>
            </a:extLst>
          </p:cNvPr>
          <p:cNvGrpSpPr/>
          <p:nvPr/>
        </p:nvGrpSpPr>
        <p:grpSpPr>
          <a:xfrm>
            <a:off x="4048680" y="2374497"/>
            <a:ext cx="1658672" cy="1658672"/>
            <a:chOff x="4048680" y="2374497"/>
            <a:chExt cx="1658672" cy="1658672"/>
          </a:xfrm>
        </p:grpSpPr>
        <p:sp>
          <p:nvSpPr>
            <p:cNvPr id="37" name="Freeform: Shape 25">
              <a:extLst>
                <a:ext uri="{FF2B5EF4-FFF2-40B4-BE49-F238E27FC236}">
                  <a16:creationId xmlns:a16="http://schemas.microsoft.com/office/drawing/2014/main" id="{D84B5731-B0AF-487C-8472-E1AB5EF3D5A2}"/>
                </a:ext>
              </a:extLst>
            </p:cNvPr>
            <p:cNvSpPr/>
            <p:nvPr/>
          </p:nvSpPr>
          <p:spPr>
            <a:xfrm>
              <a:off x="4048680" y="2374497"/>
              <a:ext cx="1223912" cy="1223912"/>
            </a:xfrm>
            <a:custGeom>
              <a:avLst/>
              <a:gdLst>
                <a:gd name="connsiteX0" fmla="*/ 969755 w 1105401"/>
                <a:gd name="connsiteY0" fmla="*/ 134457 h 1105401"/>
                <a:gd name="connsiteX1" fmla="*/ 693702 w 1105401"/>
                <a:gd name="connsiteY1" fmla="*/ 66633 h 1105401"/>
                <a:gd name="connsiteX2" fmla="*/ 417649 w 1105401"/>
                <a:gd name="connsiteY2" fmla="*/ 0 h 1105401"/>
                <a:gd name="connsiteX3" fmla="*/ 208230 w 1105401"/>
                <a:gd name="connsiteY3" fmla="*/ 208230 h 1105401"/>
                <a:gd name="connsiteX4" fmla="*/ 0 w 1105401"/>
                <a:gd name="connsiteY4" fmla="*/ 417649 h 1105401"/>
                <a:gd name="connsiteX5" fmla="*/ 66633 w 1105401"/>
                <a:gd name="connsiteY5" fmla="*/ 693702 h 1105401"/>
                <a:gd name="connsiteX6" fmla="*/ 134457 w 1105401"/>
                <a:gd name="connsiteY6" fmla="*/ 969755 h 1105401"/>
                <a:gd name="connsiteX7" fmla="*/ 410510 w 1105401"/>
                <a:gd name="connsiteY7" fmla="*/ 1037578 h 1105401"/>
                <a:gd name="connsiteX8" fmla="*/ 687752 w 1105401"/>
                <a:gd name="connsiteY8" fmla="*/ 1105402 h 1105401"/>
                <a:gd name="connsiteX9" fmla="*/ 895982 w 1105401"/>
                <a:gd name="connsiteY9" fmla="*/ 895982 h 1105401"/>
                <a:gd name="connsiteX10" fmla="*/ 1105401 w 1105401"/>
                <a:gd name="connsiteY10" fmla="*/ 687753 h 1105401"/>
                <a:gd name="connsiteX11" fmla="*/ 1037578 w 1105401"/>
                <a:gd name="connsiteY11" fmla="*/ 410510 h 1105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05401" h="1105401">
                  <a:moveTo>
                    <a:pt x="969755" y="134457"/>
                  </a:moveTo>
                  <a:lnTo>
                    <a:pt x="693702" y="66633"/>
                  </a:lnTo>
                  <a:lnTo>
                    <a:pt x="417649" y="0"/>
                  </a:lnTo>
                  <a:lnTo>
                    <a:pt x="208230" y="208230"/>
                  </a:lnTo>
                  <a:lnTo>
                    <a:pt x="0" y="417649"/>
                  </a:lnTo>
                  <a:lnTo>
                    <a:pt x="66633" y="693702"/>
                  </a:lnTo>
                  <a:lnTo>
                    <a:pt x="134457" y="969755"/>
                  </a:lnTo>
                  <a:lnTo>
                    <a:pt x="410510" y="1037578"/>
                  </a:lnTo>
                  <a:lnTo>
                    <a:pt x="687752" y="1105402"/>
                  </a:lnTo>
                  <a:lnTo>
                    <a:pt x="895982" y="895982"/>
                  </a:lnTo>
                  <a:lnTo>
                    <a:pt x="1105401" y="687753"/>
                  </a:lnTo>
                  <a:lnTo>
                    <a:pt x="1037578" y="410510"/>
                  </a:lnTo>
                  <a:close/>
                </a:path>
              </a:pathLst>
            </a:custGeom>
            <a:solidFill>
              <a:schemeClr val="accent3"/>
            </a:solidFill>
            <a:ln w="1189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8" name="Freeform: Shape 26">
              <a:extLst>
                <a:ext uri="{FF2B5EF4-FFF2-40B4-BE49-F238E27FC236}">
                  <a16:creationId xmlns:a16="http://schemas.microsoft.com/office/drawing/2014/main" id="{89F82D8B-4BFA-4D7E-A4B2-A1C4A9D45C8A}"/>
                </a:ext>
              </a:extLst>
            </p:cNvPr>
            <p:cNvSpPr/>
            <p:nvPr/>
          </p:nvSpPr>
          <p:spPr>
            <a:xfrm>
              <a:off x="5081563" y="3407380"/>
              <a:ext cx="625789" cy="625789"/>
            </a:xfrm>
            <a:custGeom>
              <a:avLst/>
              <a:gdLst>
                <a:gd name="connsiteX0" fmla="*/ 496181 w 565194"/>
                <a:gd name="connsiteY0" fmla="*/ 69013 h 565194"/>
                <a:gd name="connsiteX1" fmla="*/ 354585 w 565194"/>
                <a:gd name="connsiteY1" fmla="*/ 34507 h 565194"/>
                <a:gd name="connsiteX2" fmla="*/ 212989 w 565194"/>
                <a:gd name="connsiteY2" fmla="*/ 0 h 565194"/>
                <a:gd name="connsiteX3" fmla="*/ 107089 w 565194"/>
                <a:gd name="connsiteY3" fmla="*/ 107089 h 565194"/>
                <a:gd name="connsiteX4" fmla="*/ 0 w 565194"/>
                <a:gd name="connsiteY4" fmla="*/ 212989 h 565194"/>
                <a:gd name="connsiteX5" fmla="*/ 34507 w 565194"/>
                <a:gd name="connsiteY5" fmla="*/ 354585 h 565194"/>
                <a:gd name="connsiteX6" fmla="*/ 69013 w 565194"/>
                <a:gd name="connsiteY6" fmla="*/ 496181 h 565194"/>
                <a:gd name="connsiteX7" fmla="*/ 210609 w 565194"/>
                <a:gd name="connsiteY7" fmla="*/ 530688 h 565194"/>
                <a:gd name="connsiteX8" fmla="*/ 352205 w 565194"/>
                <a:gd name="connsiteY8" fmla="*/ 565195 h 565194"/>
                <a:gd name="connsiteX9" fmla="*/ 458105 w 565194"/>
                <a:gd name="connsiteY9" fmla="*/ 458105 h 565194"/>
                <a:gd name="connsiteX10" fmla="*/ 565194 w 565194"/>
                <a:gd name="connsiteY10" fmla="*/ 352206 h 565194"/>
                <a:gd name="connsiteX11" fmla="*/ 530688 w 565194"/>
                <a:gd name="connsiteY11" fmla="*/ 210609 h 5651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65194" h="565194">
                  <a:moveTo>
                    <a:pt x="496181" y="69013"/>
                  </a:moveTo>
                  <a:lnTo>
                    <a:pt x="354585" y="34507"/>
                  </a:lnTo>
                  <a:lnTo>
                    <a:pt x="212989" y="0"/>
                  </a:lnTo>
                  <a:lnTo>
                    <a:pt x="107089" y="107089"/>
                  </a:lnTo>
                  <a:lnTo>
                    <a:pt x="0" y="212989"/>
                  </a:lnTo>
                  <a:lnTo>
                    <a:pt x="34507" y="354585"/>
                  </a:lnTo>
                  <a:lnTo>
                    <a:pt x="69013" y="496181"/>
                  </a:lnTo>
                  <a:lnTo>
                    <a:pt x="210609" y="530688"/>
                  </a:lnTo>
                  <a:lnTo>
                    <a:pt x="352205" y="565195"/>
                  </a:lnTo>
                  <a:lnTo>
                    <a:pt x="458105" y="458105"/>
                  </a:lnTo>
                  <a:lnTo>
                    <a:pt x="565194" y="352206"/>
                  </a:lnTo>
                  <a:lnTo>
                    <a:pt x="530688" y="210609"/>
                  </a:lnTo>
                  <a:close/>
                </a:path>
              </a:pathLst>
            </a:custGeom>
            <a:solidFill>
              <a:schemeClr val="accent3"/>
            </a:solidFill>
            <a:ln w="1189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useBgFill="1">
          <p:nvSpPr>
            <p:cNvPr id="39" name="Freeform: Shape 27">
              <a:extLst>
                <a:ext uri="{FF2B5EF4-FFF2-40B4-BE49-F238E27FC236}">
                  <a16:creationId xmlns:a16="http://schemas.microsoft.com/office/drawing/2014/main" id="{6ACE9C89-5C52-48C4-931F-A6347FFF2B04}"/>
                </a:ext>
              </a:extLst>
            </p:cNvPr>
            <p:cNvSpPr/>
            <p:nvPr/>
          </p:nvSpPr>
          <p:spPr>
            <a:xfrm>
              <a:off x="5146118" y="3471934"/>
              <a:ext cx="496678" cy="496679"/>
            </a:xfrm>
            <a:custGeom>
              <a:avLst/>
              <a:gdLst>
                <a:gd name="connsiteX0" fmla="*/ 393851 w 448585"/>
                <a:gd name="connsiteY0" fmla="*/ 54735 h 448586"/>
                <a:gd name="connsiteX1" fmla="*/ 448586 w 448585"/>
                <a:gd name="connsiteY1" fmla="*/ 277243 h 448586"/>
                <a:gd name="connsiteX2" fmla="*/ 277243 w 448585"/>
                <a:gd name="connsiteY2" fmla="*/ 448586 h 448586"/>
                <a:gd name="connsiteX3" fmla="*/ 54735 w 448585"/>
                <a:gd name="connsiteY3" fmla="*/ 393851 h 448586"/>
                <a:gd name="connsiteX4" fmla="*/ 0 w 448585"/>
                <a:gd name="connsiteY4" fmla="*/ 171343 h 448586"/>
                <a:gd name="connsiteX5" fmla="*/ 171343 w 448585"/>
                <a:gd name="connsiteY5" fmla="*/ 0 h 4485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8585" h="448586">
                  <a:moveTo>
                    <a:pt x="393851" y="54735"/>
                  </a:moveTo>
                  <a:lnTo>
                    <a:pt x="448586" y="277243"/>
                  </a:lnTo>
                  <a:lnTo>
                    <a:pt x="277243" y="448586"/>
                  </a:lnTo>
                  <a:lnTo>
                    <a:pt x="54735" y="393851"/>
                  </a:lnTo>
                  <a:lnTo>
                    <a:pt x="0" y="171343"/>
                  </a:lnTo>
                  <a:lnTo>
                    <a:pt x="171343" y="0"/>
                  </a:lnTo>
                  <a:close/>
                </a:path>
              </a:pathLst>
            </a:custGeom>
            <a:ln w="1189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40" name="Freeform: Shape 28">
              <a:extLst>
                <a:ext uri="{FF2B5EF4-FFF2-40B4-BE49-F238E27FC236}">
                  <a16:creationId xmlns:a16="http://schemas.microsoft.com/office/drawing/2014/main" id="{64E10178-1543-461F-9D8C-FA8BFF99E5A1}"/>
                </a:ext>
              </a:extLst>
            </p:cNvPr>
            <p:cNvSpPr/>
            <p:nvPr/>
          </p:nvSpPr>
          <p:spPr>
            <a:xfrm>
              <a:off x="4912928" y="3238746"/>
              <a:ext cx="358347" cy="358347"/>
            </a:xfrm>
            <a:custGeom>
              <a:avLst/>
              <a:gdLst>
                <a:gd name="connsiteX0" fmla="*/ 323648 w 323648"/>
                <a:gd name="connsiteY0" fmla="*/ 193951 h 323648"/>
                <a:gd name="connsiteX1" fmla="*/ 280812 w 323648"/>
                <a:gd name="connsiteY1" fmla="*/ 236787 h 323648"/>
                <a:gd name="connsiteX2" fmla="*/ 236787 w 323648"/>
                <a:gd name="connsiteY2" fmla="*/ 280813 h 323648"/>
                <a:gd name="connsiteX3" fmla="*/ 193951 w 323648"/>
                <a:gd name="connsiteY3" fmla="*/ 323648 h 323648"/>
                <a:gd name="connsiteX4" fmla="*/ 0 w 323648"/>
                <a:gd name="connsiteY4" fmla="*/ 232027 h 323648"/>
                <a:gd name="connsiteX5" fmla="*/ 92811 w 323648"/>
                <a:gd name="connsiteY5" fmla="*/ 129697 h 323648"/>
                <a:gd name="connsiteX6" fmla="*/ 91621 w 323648"/>
                <a:gd name="connsiteY6" fmla="*/ 128507 h 323648"/>
                <a:gd name="connsiteX7" fmla="*/ 110659 w 323648"/>
                <a:gd name="connsiteY7" fmla="*/ 110659 h 323648"/>
                <a:gd name="connsiteX8" fmla="*/ 128507 w 323648"/>
                <a:gd name="connsiteY8" fmla="*/ 91621 h 323648"/>
                <a:gd name="connsiteX9" fmla="*/ 129697 w 323648"/>
                <a:gd name="connsiteY9" fmla="*/ 92811 h 323648"/>
                <a:gd name="connsiteX10" fmla="*/ 232027 w 323648"/>
                <a:gd name="connsiteY10" fmla="*/ 0 h 323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23648" h="323648">
                  <a:moveTo>
                    <a:pt x="323648" y="193951"/>
                  </a:moveTo>
                  <a:lnTo>
                    <a:pt x="280812" y="236787"/>
                  </a:lnTo>
                  <a:lnTo>
                    <a:pt x="236787" y="280813"/>
                  </a:lnTo>
                  <a:lnTo>
                    <a:pt x="193951" y="323648"/>
                  </a:lnTo>
                  <a:lnTo>
                    <a:pt x="0" y="232027"/>
                  </a:lnTo>
                  <a:lnTo>
                    <a:pt x="92811" y="129697"/>
                  </a:lnTo>
                  <a:lnTo>
                    <a:pt x="91621" y="128507"/>
                  </a:lnTo>
                  <a:lnTo>
                    <a:pt x="110659" y="110659"/>
                  </a:lnTo>
                  <a:lnTo>
                    <a:pt x="128507" y="91621"/>
                  </a:lnTo>
                  <a:lnTo>
                    <a:pt x="129697" y="92811"/>
                  </a:lnTo>
                  <a:lnTo>
                    <a:pt x="232027" y="0"/>
                  </a:lnTo>
                  <a:close/>
                </a:path>
              </a:pathLst>
            </a:custGeom>
            <a:solidFill>
              <a:schemeClr val="accent3"/>
            </a:solidFill>
            <a:ln w="1189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grpSp>
        <p:nvGrpSpPr>
          <p:cNvPr id="41" name="Group 52">
            <a:extLst>
              <a:ext uri="{FF2B5EF4-FFF2-40B4-BE49-F238E27FC236}">
                <a16:creationId xmlns:a16="http://schemas.microsoft.com/office/drawing/2014/main" id="{FFD5D310-4F34-4235-B95F-653E8003AC22}"/>
              </a:ext>
            </a:extLst>
          </p:cNvPr>
          <p:cNvGrpSpPr/>
          <p:nvPr/>
        </p:nvGrpSpPr>
        <p:grpSpPr>
          <a:xfrm>
            <a:off x="6484648" y="4810465"/>
            <a:ext cx="1658671" cy="1658672"/>
            <a:chOff x="6484648" y="4810465"/>
            <a:chExt cx="1658671" cy="1658672"/>
          </a:xfrm>
        </p:grpSpPr>
        <p:sp>
          <p:nvSpPr>
            <p:cNvPr id="42" name="Freeform: Shape 29">
              <a:extLst>
                <a:ext uri="{FF2B5EF4-FFF2-40B4-BE49-F238E27FC236}">
                  <a16:creationId xmlns:a16="http://schemas.microsoft.com/office/drawing/2014/main" id="{348CD4E1-5FD4-4B86-B6ED-A39F9548B55C}"/>
                </a:ext>
              </a:extLst>
            </p:cNvPr>
            <p:cNvSpPr/>
            <p:nvPr/>
          </p:nvSpPr>
          <p:spPr>
            <a:xfrm>
              <a:off x="6919407" y="5245225"/>
              <a:ext cx="1223912" cy="1223912"/>
            </a:xfrm>
            <a:custGeom>
              <a:avLst/>
              <a:gdLst>
                <a:gd name="connsiteX0" fmla="*/ 970945 w 1105401"/>
                <a:gd name="connsiteY0" fmla="*/ 135647 h 1105401"/>
                <a:gd name="connsiteX1" fmla="*/ 1037578 w 1105401"/>
                <a:gd name="connsiteY1" fmla="*/ 411700 h 1105401"/>
                <a:gd name="connsiteX2" fmla="*/ 1105401 w 1105401"/>
                <a:gd name="connsiteY2" fmla="*/ 687752 h 1105401"/>
                <a:gd name="connsiteX3" fmla="*/ 897172 w 1105401"/>
                <a:gd name="connsiteY3" fmla="*/ 897172 h 1105401"/>
                <a:gd name="connsiteX4" fmla="*/ 687752 w 1105401"/>
                <a:gd name="connsiteY4" fmla="*/ 1105401 h 1105401"/>
                <a:gd name="connsiteX5" fmla="*/ 411700 w 1105401"/>
                <a:gd name="connsiteY5" fmla="*/ 1037578 h 1105401"/>
                <a:gd name="connsiteX6" fmla="*/ 135647 w 1105401"/>
                <a:gd name="connsiteY6" fmla="*/ 970945 h 1105401"/>
                <a:gd name="connsiteX7" fmla="*/ 67823 w 1105401"/>
                <a:gd name="connsiteY7" fmla="*/ 693702 h 1105401"/>
                <a:gd name="connsiteX8" fmla="*/ 0 w 1105401"/>
                <a:gd name="connsiteY8" fmla="*/ 417649 h 1105401"/>
                <a:gd name="connsiteX9" fmla="*/ 209420 w 1105401"/>
                <a:gd name="connsiteY9" fmla="*/ 209420 h 1105401"/>
                <a:gd name="connsiteX10" fmla="*/ 417649 w 1105401"/>
                <a:gd name="connsiteY10" fmla="*/ 0 h 1105401"/>
                <a:gd name="connsiteX11" fmla="*/ 693702 w 1105401"/>
                <a:gd name="connsiteY11" fmla="*/ 67823 h 1105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05401" h="1105401">
                  <a:moveTo>
                    <a:pt x="970945" y="135647"/>
                  </a:moveTo>
                  <a:lnTo>
                    <a:pt x="1037578" y="411700"/>
                  </a:lnTo>
                  <a:lnTo>
                    <a:pt x="1105401" y="687752"/>
                  </a:lnTo>
                  <a:lnTo>
                    <a:pt x="897172" y="897172"/>
                  </a:lnTo>
                  <a:lnTo>
                    <a:pt x="687752" y="1105401"/>
                  </a:lnTo>
                  <a:lnTo>
                    <a:pt x="411700" y="1037578"/>
                  </a:lnTo>
                  <a:lnTo>
                    <a:pt x="135647" y="970945"/>
                  </a:lnTo>
                  <a:lnTo>
                    <a:pt x="67823" y="693702"/>
                  </a:lnTo>
                  <a:lnTo>
                    <a:pt x="0" y="417649"/>
                  </a:lnTo>
                  <a:lnTo>
                    <a:pt x="209420" y="209420"/>
                  </a:lnTo>
                  <a:lnTo>
                    <a:pt x="417649" y="0"/>
                  </a:lnTo>
                  <a:lnTo>
                    <a:pt x="693702" y="67823"/>
                  </a:lnTo>
                  <a:close/>
                </a:path>
              </a:pathLst>
            </a:custGeom>
            <a:solidFill>
              <a:schemeClr val="accent1">
                <a:lumMod val="75000"/>
              </a:schemeClr>
            </a:solidFill>
            <a:ln w="1189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43" name="Freeform: Shape 30">
              <a:extLst>
                <a:ext uri="{FF2B5EF4-FFF2-40B4-BE49-F238E27FC236}">
                  <a16:creationId xmlns:a16="http://schemas.microsoft.com/office/drawing/2014/main" id="{29C19641-C67C-4711-B004-E300AD604E29}"/>
                </a:ext>
              </a:extLst>
            </p:cNvPr>
            <p:cNvSpPr/>
            <p:nvPr/>
          </p:nvSpPr>
          <p:spPr>
            <a:xfrm>
              <a:off x="6484648" y="4810465"/>
              <a:ext cx="625789" cy="625789"/>
            </a:xfrm>
            <a:custGeom>
              <a:avLst/>
              <a:gdLst>
                <a:gd name="connsiteX0" fmla="*/ 496181 w 565194"/>
                <a:gd name="connsiteY0" fmla="*/ 69013 h 565194"/>
                <a:gd name="connsiteX1" fmla="*/ 530688 w 565194"/>
                <a:gd name="connsiteY1" fmla="*/ 210609 h 565194"/>
                <a:gd name="connsiteX2" fmla="*/ 565194 w 565194"/>
                <a:gd name="connsiteY2" fmla="*/ 352206 h 565194"/>
                <a:gd name="connsiteX3" fmla="*/ 458105 w 565194"/>
                <a:gd name="connsiteY3" fmla="*/ 458105 h 565194"/>
                <a:gd name="connsiteX4" fmla="*/ 352205 w 565194"/>
                <a:gd name="connsiteY4" fmla="*/ 565195 h 565194"/>
                <a:gd name="connsiteX5" fmla="*/ 210609 w 565194"/>
                <a:gd name="connsiteY5" fmla="*/ 530688 h 565194"/>
                <a:gd name="connsiteX6" fmla="*/ 69013 w 565194"/>
                <a:gd name="connsiteY6" fmla="*/ 496181 h 565194"/>
                <a:gd name="connsiteX7" fmla="*/ 34507 w 565194"/>
                <a:gd name="connsiteY7" fmla="*/ 354585 h 565194"/>
                <a:gd name="connsiteX8" fmla="*/ 0 w 565194"/>
                <a:gd name="connsiteY8" fmla="*/ 212989 h 565194"/>
                <a:gd name="connsiteX9" fmla="*/ 105900 w 565194"/>
                <a:gd name="connsiteY9" fmla="*/ 105900 h 565194"/>
                <a:gd name="connsiteX10" fmla="*/ 212989 w 565194"/>
                <a:gd name="connsiteY10" fmla="*/ 0 h 565194"/>
                <a:gd name="connsiteX11" fmla="*/ 354585 w 565194"/>
                <a:gd name="connsiteY11" fmla="*/ 34507 h 5651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65194" h="565194">
                  <a:moveTo>
                    <a:pt x="496181" y="69013"/>
                  </a:moveTo>
                  <a:lnTo>
                    <a:pt x="530688" y="210609"/>
                  </a:lnTo>
                  <a:lnTo>
                    <a:pt x="565194" y="352206"/>
                  </a:lnTo>
                  <a:lnTo>
                    <a:pt x="458105" y="458105"/>
                  </a:lnTo>
                  <a:lnTo>
                    <a:pt x="352205" y="565195"/>
                  </a:lnTo>
                  <a:lnTo>
                    <a:pt x="210609" y="530688"/>
                  </a:lnTo>
                  <a:lnTo>
                    <a:pt x="69013" y="496181"/>
                  </a:lnTo>
                  <a:lnTo>
                    <a:pt x="34507" y="354585"/>
                  </a:lnTo>
                  <a:lnTo>
                    <a:pt x="0" y="212989"/>
                  </a:lnTo>
                  <a:lnTo>
                    <a:pt x="105900" y="105900"/>
                  </a:lnTo>
                  <a:lnTo>
                    <a:pt x="212989" y="0"/>
                  </a:lnTo>
                  <a:lnTo>
                    <a:pt x="354585" y="34507"/>
                  </a:lnTo>
                  <a:close/>
                </a:path>
              </a:pathLst>
            </a:custGeom>
            <a:solidFill>
              <a:schemeClr val="accent1">
                <a:lumMod val="75000"/>
              </a:schemeClr>
            </a:solidFill>
            <a:ln w="1189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useBgFill="1">
          <p:nvSpPr>
            <p:cNvPr id="44" name="Freeform: Shape 31">
              <a:extLst>
                <a:ext uri="{FF2B5EF4-FFF2-40B4-BE49-F238E27FC236}">
                  <a16:creationId xmlns:a16="http://schemas.microsoft.com/office/drawing/2014/main" id="{A4570914-8ABE-4C48-BA67-4850D651714D}"/>
                </a:ext>
              </a:extLst>
            </p:cNvPr>
            <p:cNvSpPr/>
            <p:nvPr/>
          </p:nvSpPr>
          <p:spPr>
            <a:xfrm>
              <a:off x="6549203" y="4875020"/>
              <a:ext cx="496679" cy="496679"/>
            </a:xfrm>
            <a:custGeom>
              <a:avLst/>
              <a:gdLst>
                <a:gd name="connsiteX0" fmla="*/ 393851 w 448586"/>
                <a:gd name="connsiteY0" fmla="*/ 54735 h 448586"/>
                <a:gd name="connsiteX1" fmla="*/ 171343 w 448586"/>
                <a:gd name="connsiteY1" fmla="*/ 0 h 448586"/>
                <a:gd name="connsiteX2" fmla="*/ 0 w 448586"/>
                <a:gd name="connsiteY2" fmla="*/ 171343 h 448586"/>
                <a:gd name="connsiteX3" fmla="*/ 54735 w 448586"/>
                <a:gd name="connsiteY3" fmla="*/ 393851 h 448586"/>
                <a:gd name="connsiteX4" fmla="*/ 277243 w 448586"/>
                <a:gd name="connsiteY4" fmla="*/ 448586 h 448586"/>
                <a:gd name="connsiteX5" fmla="*/ 448586 w 448586"/>
                <a:gd name="connsiteY5" fmla="*/ 277243 h 4485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8586" h="448586">
                  <a:moveTo>
                    <a:pt x="393851" y="54735"/>
                  </a:moveTo>
                  <a:lnTo>
                    <a:pt x="171343" y="0"/>
                  </a:lnTo>
                  <a:lnTo>
                    <a:pt x="0" y="171343"/>
                  </a:lnTo>
                  <a:lnTo>
                    <a:pt x="54735" y="393851"/>
                  </a:lnTo>
                  <a:lnTo>
                    <a:pt x="277243" y="448586"/>
                  </a:lnTo>
                  <a:lnTo>
                    <a:pt x="448586" y="277243"/>
                  </a:lnTo>
                  <a:close/>
                </a:path>
              </a:pathLst>
            </a:custGeom>
            <a:ln w="1189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45" name="Freeform: Shape 32">
              <a:extLst>
                <a:ext uri="{FF2B5EF4-FFF2-40B4-BE49-F238E27FC236}">
                  <a16:creationId xmlns:a16="http://schemas.microsoft.com/office/drawing/2014/main" id="{805BAD35-D7EE-4DFF-B5B7-EA9D468C5E57}"/>
                </a:ext>
              </a:extLst>
            </p:cNvPr>
            <p:cNvSpPr/>
            <p:nvPr/>
          </p:nvSpPr>
          <p:spPr>
            <a:xfrm>
              <a:off x="6920724" y="5246542"/>
              <a:ext cx="358346" cy="358347"/>
            </a:xfrm>
            <a:custGeom>
              <a:avLst/>
              <a:gdLst>
                <a:gd name="connsiteX0" fmla="*/ 129697 w 323647"/>
                <a:gd name="connsiteY0" fmla="*/ 0 h 323648"/>
                <a:gd name="connsiteX1" fmla="*/ 85671 w 323647"/>
                <a:gd name="connsiteY1" fmla="*/ 42836 h 323648"/>
                <a:gd name="connsiteX2" fmla="*/ 42836 w 323647"/>
                <a:gd name="connsiteY2" fmla="*/ 85671 h 323648"/>
                <a:gd name="connsiteX3" fmla="*/ 0 w 323647"/>
                <a:gd name="connsiteY3" fmla="*/ 129697 h 323648"/>
                <a:gd name="connsiteX4" fmla="*/ 91621 w 323647"/>
                <a:gd name="connsiteY4" fmla="*/ 323648 h 323648"/>
                <a:gd name="connsiteX5" fmla="*/ 193951 w 323647"/>
                <a:gd name="connsiteY5" fmla="*/ 230837 h 323648"/>
                <a:gd name="connsiteX6" fmla="*/ 195141 w 323647"/>
                <a:gd name="connsiteY6" fmla="*/ 232027 h 323648"/>
                <a:gd name="connsiteX7" fmla="*/ 212989 w 323647"/>
                <a:gd name="connsiteY7" fmla="*/ 212989 h 323648"/>
                <a:gd name="connsiteX8" fmla="*/ 232027 w 323647"/>
                <a:gd name="connsiteY8" fmla="*/ 195141 h 323648"/>
                <a:gd name="connsiteX9" fmla="*/ 230837 w 323647"/>
                <a:gd name="connsiteY9" fmla="*/ 193951 h 323648"/>
                <a:gd name="connsiteX10" fmla="*/ 323648 w 323647"/>
                <a:gd name="connsiteY10" fmla="*/ 91621 h 323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23647" h="323648">
                  <a:moveTo>
                    <a:pt x="129697" y="0"/>
                  </a:moveTo>
                  <a:lnTo>
                    <a:pt x="85671" y="42836"/>
                  </a:lnTo>
                  <a:lnTo>
                    <a:pt x="42836" y="85671"/>
                  </a:lnTo>
                  <a:lnTo>
                    <a:pt x="0" y="129697"/>
                  </a:lnTo>
                  <a:lnTo>
                    <a:pt x="91621" y="323648"/>
                  </a:lnTo>
                  <a:lnTo>
                    <a:pt x="193951" y="230837"/>
                  </a:lnTo>
                  <a:lnTo>
                    <a:pt x="195141" y="232027"/>
                  </a:lnTo>
                  <a:lnTo>
                    <a:pt x="212989" y="212989"/>
                  </a:lnTo>
                  <a:lnTo>
                    <a:pt x="232027" y="195141"/>
                  </a:lnTo>
                  <a:lnTo>
                    <a:pt x="230837" y="193951"/>
                  </a:lnTo>
                  <a:lnTo>
                    <a:pt x="323648" y="91621"/>
                  </a:lnTo>
                  <a:close/>
                </a:path>
              </a:pathLst>
            </a:custGeom>
            <a:solidFill>
              <a:schemeClr val="accent1">
                <a:lumMod val="75000"/>
              </a:schemeClr>
            </a:solidFill>
            <a:ln w="1189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sp>
        <p:nvSpPr>
          <p:cNvPr id="46" name="TextBox 40">
            <a:extLst>
              <a:ext uri="{FF2B5EF4-FFF2-40B4-BE49-F238E27FC236}">
                <a16:creationId xmlns:a16="http://schemas.microsoft.com/office/drawing/2014/main" id="{E3A208D7-C025-4300-970A-F1AAF74A373A}"/>
              </a:ext>
            </a:extLst>
          </p:cNvPr>
          <p:cNvSpPr txBox="1"/>
          <p:nvPr/>
        </p:nvSpPr>
        <p:spPr>
          <a:xfrm>
            <a:off x="3970476" y="1507322"/>
            <a:ext cx="1313180" cy="338554"/>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ID" sz="1600" b="1" i="0" u="none" strike="noStrike" kern="1200" cap="none" spc="0" normalizeH="0" baseline="0" noProof="0">
                <a:ln>
                  <a:noFill/>
                </a:ln>
                <a:solidFill>
                  <a:srgbClr val="000000"/>
                </a:solidFill>
                <a:effectLst/>
                <a:uLnTx/>
                <a:uFillTx/>
                <a:latin typeface="等线 Light" panose="020F0302020204030204"/>
                <a:ea typeface="+mn-ea"/>
                <a:cs typeface="+mn-cs"/>
              </a:rPr>
              <a:t>Description</a:t>
            </a:r>
            <a:endParaRPr kumimoji="0" lang="id-ID" sz="1600" b="1" i="0" u="none" strike="noStrike" kern="1200" cap="none" spc="0" normalizeH="0" baseline="0" noProof="0" dirty="0">
              <a:ln>
                <a:noFill/>
              </a:ln>
              <a:solidFill>
                <a:srgbClr val="000000"/>
              </a:solidFill>
              <a:effectLst/>
              <a:uLnTx/>
              <a:uFillTx/>
              <a:latin typeface="等线 Light" panose="020F0302020204030204"/>
              <a:ea typeface="+mn-ea"/>
              <a:cs typeface="+mn-cs"/>
            </a:endParaRPr>
          </a:p>
        </p:txBody>
      </p:sp>
      <p:sp>
        <p:nvSpPr>
          <p:cNvPr id="47" name="TextBox 41">
            <a:extLst>
              <a:ext uri="{FF2B5EF4-FFF2-40B4-BE49-F238E27FC236}">
                <a16:creationId xmlns:a16="http://schemas.microsoft.com/office/drawing/2014/main" id="{045D45AB-1EEE-4FEA-954B-888811D01D16}"/>
              </a:ext>
            </a:extLst>
          </p:cNvPr>
          <p:cNvSpPr txBox="1"/>
          <p:nvPr/>
        </p:nvSpPr>
        <p:spPr>
          <a:xfrm>
            <a:off x="2849672" y="1762479"/>
            <a:ext cx="2433984" cy="461665"/>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id-ID" sz="1200" b="0" i="0" u="none" strike="noStrike" kern="1200" cap="none" spc="0" normalizeH="0" baseline="0" noProof="0" dirty="0">
                <a:ln>
                  <a:noFill/>
                </a:ln>
                <a:solidFill>
                  <a:srgbClr val="000000"/>
                </a:solidFill>
                <a:effectLst/>
                <a:uLnTx/>
                <a:uFillTx/>
                <a:latin typeface="等线" panose="020F0502020204030204"/>
                <a:ea typeface="+mn-ea"/>
                <a:cs typeface="+mn-cs"/>
              </a:rPr>
              <a:t>Suitable for all category</a:t>
            </a:r>
            <a:r>
              <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rPr>
              <a:t>, </a:t>
            </a:r>
            <a:r>
              <a:rPr kumimoji="0" lang="en-US" sz="1200" b="0" i="0" u="none" strike="noStrike" kern="1200" cap="none" spc="0" normalizeH="0" baseline="0" noProof="0" dirty="0" err="1">
                <a:ln>
                  <a:noFill/>
                </a:ln>
                <a:solidFill>
                  <a:srgbClr val="000000"/>
                </a:solidFill>
                <a:effectLst/>
                <a:uLnTx/>
                <a:uFillTx/>
                <a:latin typeface="等线" panose="020F0502020204030204"/>
                <a:ea typeface="+mn-ea"/>
                <a:cs typeface="+mn-cs"/>
              </a:rPr>
              <a:t>Lorem</a:t>
            </a:r>
            <a:r>
              <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rPr>
              <a:t> </a:t>
            </a:r>
            <a:r>
              <a:rPr kumimoji="0" lang="en-US" sz="1200" b="0" i="0" u="none" strike="noStrike" kern="1200" cap="none" spc="0" normalizeH="0" baseline="0" noProof="0" dirty="0" err="1">
                <a:ln>
                  <a:noFill/>
                </a:ln>
                <a:solidFill>
                  <a:srgbClr val="000000"/>
                </a:solidFill>
                <a:effectLst/>
                <a:uLnTx/>
                <a:uFillTx/>
                <a:latin typeface="等线" panose="020F0502020204030204"/>
                <a:ea typeface="+mn-ea"/>
                <a:cs typeface="+mn-cs"/>
              </a:rPr>
              <a:t>Ipsum</a:t>
            </a:r>
            <a:r>
              <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rPr>
              <a:t> is not simply random text.</a:t>
            </a:r>
            <a:r>
              <a:rPr kumimoji="0" lang="id-ID" sz="1200" b="0" i="0" u="none" strike="noStrike" kern="1200" cap="none" spc="0" normalizeH="0" baseline="0" noProof="0" dirty="0">
                <a:ln>
                  <a:noFill/>
                </a:ln>
                <a:solidFill>
                  <a:srgbClr val="000000"/>
                </a:solidFill>
                <a:effectLst/>
                <a:uLnTx/>
                <a:uFillTx/>
                <a:latin typeface="等线" panose="020F0502020204030204"/>
                <a:ea typeface="+mn-ea"/>
                <a:cs typeface="+mn-cs"/>
              </a:rPr>
              <a:t> </a:t>
            </a:r>
            <a:endParaRPr kumimoji="0" lang="en-US" sz="1200" b="1"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48" name="TextBox 45">
            <a:extLst>
              <a:ext uri="{FF2B5EF4-FFF2-40B4-BE49-F238E27FC236}">
                <a16:creationId xmlns:a16="http://schemas.microsoft.com/office/drawing/2014/main" id="{A6ED72EF-0653-4471-A371-4DA22AA333F3}"/>
              </a:ext>
            </a:extLst>
          </p:cNvPr>
          <p:cNvSpPr txBox="1"/>
          <p:nvPr/>
        </p:nvSpPr>
        <p:spPr>
          <a:xfrm>
            <a:off x="2250425" y="2628913"/>
            <a:ext cx="1313181" cy="338554"/>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ID" sz="1600" b="1" i="0" u="none" strike="noStrike" kern="1200" cap="none" spc="0" normalizeH="0" baseline="0" noProof="0">
                <a:ln>
                  <a:noFill/>
                </a:ln>
                <a:solidFill>
                  <a:srgbClr val="000000"/>
                </a:solidFill>
                <a:effectLst/>
                <a:uLnTx/>
                <a:uFillTx/>
                <a:latin typeface="等线 Light" panose="020F0302020204030204"/>
                <a:ea typeface="+mn-ea"/>
                <a:cs typeface="+mn-cs"/>
              </a:rPr>
              <a:t>Description</a:t>
            </a:r>
            <a:endParaRPr kumimoji="0" lang="id-ID" sz="1600" b="1" i="0" u="none" strike="noStrike" kern="1200" cap="none" spc="0" normalizeH="0" baseline="0" noProof="0" dirty="0">
              <a:ln>
                <a:noFill/>
              </a:ln>
              <a:solidFill>
                <a:srgbClr val="000000"/>
              </a:solidFill>
              <a:effectLst/>
              <a:uLnTx/>
              <a:uFillTx/>
              <a:latin typeface="等线 Light" panose="020F0302020204030204"/>
              <a:ea typeface="+mn-ea"/>
              <a:cs typeface="+mn-cs"/>
            </a:endParaRPr>
          </a:p>
        </p:txBody>
      </p:sp>
      <p:sp>
        <p:nvSpPr>
          <p:cNvPr id="49" name="TextBox 46">
            <a:extLst>
              <a:ext uri="{FF2B5EF4-FFF2-40B4-BE49-F238E27FC236}">
                <a16:creationId xmlns:a16="http://schemas.microsoft.com/office/drawing/2014/main" id="{176A1BCD-FE65-4DFA-B0C5-D2C9AF7DDBBA}"/>
              </a:ext>
            </a:extLst>
          </p:cNvPr>
          <p:cNvSpPr txBox="1"/>
          <p:nvPr/>
        </p:nvSpPr>
        <p:spPr>
          <a:xfrm>
            <a:off x="1129622" y="2884070"/>
            <a:ext cx="2433984" cy="461665"/>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id-ID" sz="1200" b="0" i="0" u="none" strike="noStrike" kern="1200" cap="none" spc="0" normalizeH="0" baseline="0" noProof="0" dirty="0">
                <a:ln>
                  <a:noFill/>
                </a:ln>
                <a:solidFill>
                  <a:srgbClr val="000000"/>
                </a:solidFill>
                <a:effectLst/>
                <a:uLnTx/>
                <a:uFillTx/>
                <a:latin typeface="等线" panose="020F0502020204030204"/>
                <a:ea typeface="+mn-ea"/>
                <a:cs typeface="+mn-cs"/>
              </a:rPr>
              <a:t>Suitable for all category</a:t>
            </a:r>
            <a:r>
              <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rPr>
              <a:t>, </a:t>
            </a:r>
            <a:r>
              <a:rPr kumimoji="0" lang="en-US" sz="1200" b="0" i="0" u="none" strike="noStrike" kern="1200" cap="none" spc="0" normalizeH="0" baseline="0" noProof="0" dirty="0" err="1">
                <a:ln>
                  <a:noFill/>
                </a:ln>
                <a:solidFill>
                  <a:srgbClr val="000000"/>
                </a:solidFill>
                <a:effectLst/>
                <a:uLnTx/>
                <a:uFillTx/>
                <a:latin typeface="等线" panose="020F0502020204030204"/>
                <a:ea typeface="+mn-ea"/>
                <a:cs typeface="+mn-cs"/>
              </a:rPr>
              <a:t>Lorem</a:t>
            </a:r>
            <a:r>
              <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rPr>
              <a:t> </a:t>
            </a:r>
            <a:r>
              <a:rPr kumimoji="0" lang="en-US" sz="1200" b="0" i="0" u="none" strike="noStrike" kern="1200" cap="none" spc="0" normalizeH="0" baseline="0" noProof="0" dirty="0" err="1">
                <a:ln>
                  <a:noFill/>
                </a:ln>
                <a:solidFill>
                  <a:srgbClr val="000000"/>
                </a:solidFill>
                <a:effectLst/>
                <a:uLnTx/>
                <a:uFillTx/>
                <a:latin typeface="等线" panose="020F0502020204030204"/>
                <a:ea typeface="+mn-ea"/>
                <a:cs typeface="+mn-cs"/>
              </a:rPr>
              <a:t>Ipsum</a:t>
            </a:r>
            <a:r>
              <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rPr>
              <a:t> is not simply random text.</a:t>
            </a:r>
            <a:r>
              <a:rPr kumimoji="0" lang="id-ID" sz="1200" b="0" i="0" u="none" strike="noStrike" kern="1200" cap="none" spc="0" normalizeH="0" baseline="0" noProof="0" dirty="0">
                <a:ln>
                  <a:noFill/>
                </a:ln>
                <a:solidFill>
                  <a:srgbClr val="000000"/>
                </a:solidFill>
                <a:effectLst/>
                <a:uLnTx/>
                <a:uFillTx/>
                <a:latin typeface="等线" panose="020F0502020204030204"/>
                <a:ea typeface="+mn-ea"/>
                <a:cs typeface="+mn-cs"/>
              </a:rPr>
              <a:t> </a:t>
            </a:r>
            <a:endParaRPr kumimoji="0" lang="en-US" sz="1200" b="1"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50" name="TextBox 47">
            <a:extLst>
              <a:ext uri="{FF2B5EF4-FFF2-40B4-BE49-F238E27FC236}">
                <a16:creationId xmlns:a16="http://schemas.microsoft.com/office/drawing/2014/main" id="{2D68C8E4-044D-4923-9AE5-2A65A41B01D1}"/>
              </a:ext>
            </a:extLst>
          </p:cNvPr>
          <p:cNvSpPr txBox="1"/>
          <p:nvPr/>
        </p:nvSpPr>
        <p:spPr>
          <a:xfrm>
            <a:off x="1763920" y="4033169"/>
            <a:ext cx="1313181" cy="338554"/>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ID" sz="1600" b="1" i="0" u="none" strike="noStrike" kern="1200" cap="none" spc="0" normalizeH="0" baseline="0" noProof="0">
                <a:ln>
                  <a:noFill/>
                </a:ln>
                <a:solidFill>
                  <a:srgbClr val="000000"/>
                </a:solidFill>
                <a:effectLst/>
                <a:uLnTx/>
                <a:uFillTx/>
                <a:latin typeface="等线 Light" panose="020F0302020204030204"/>
                <a:ea typeface="+mn-ea"/>
                <a:cs typeface="+mn-cs"/>
              </a:rPr>
              <a:t>Description</a:t>
            </a:r>
            <a:endParaRPr kumimoji="0" lang="id-ID" sz="1600" b="1" i="0" u="none" strike="noStrike" kern="1200" cap="none" spc="0" normalizeH="0" baseline="0" noProof="0" dirty="0">
              <a:ln>
                <a:noFill/>
              </a:ln>
              <a:solidFill>
                <a:srgbClr val="000000"/>
              </a:solidFill>
              <a:effectLst/>
              <a:uLnTx/>
              <a:uFillTx/>
              <a:latin typeface="等线 Light" panose="020F0302020204030204"/>
              <a:ea typeface="+mn-ea"/>
              <a:cs typeface="+mn-cs"/>
            </a:endParaRPr>
          </a:p>
        </p:txBody>
      </p:sp>
      <p:sp>
        <p:nvSpPr>
          <p:cNvPr id="51" name="TextBox 48">
            <a:extLst>
              <a:ext uri="{FF2B5EF4-FFF2-40B4-BE49-F238E27FC236}">
                <a16:creationId xmlns:a16="http://schemas.microsoft.com/office/drawing/2014/main" id="{4855D8F5-2365-41AF-9434-AC869EF30763}"/>
              </a:ext>
            </a:extLst>
          </p:cNvPr>
          <p:cNvSpPr txBox="1"/>
          <p:nvPr/>
        </p:nvSpPr>
        <p:spPr>
          <a:xfrm>
            <a:off x="643117" y="4288326"/>
            <a:ext cx="2433984" cy="461665"/>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id-ID" sz="1200" b="0" i="0" u="none" strike="noStrike" kern="1200" cap="none" spc="0" normalizeH="0" baseline="0" noProof="0" dirty="0">
                <a:ln>
                  <a:noFill/>
                </a:ln>
                <a:solidFill>
                  <a:srgbClr val="000000"/>
                </a:solidFill>
                <a:effectLst/>
                <a:uLnTx/>
                <a:uFillTx/>
                <a:latin typeface="等线" panose="020F0502020204030204"/>
                <a:ea typeface="+mn-ea"/>
                <a:cs typeface="+mn-cs"/>
              </a:rPr>
              <a:t>Suitable for all category</a:t>
            </a:r>
            <a:r>
              <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rPr>
              <a:t>, </a:t>
            </a:r>
            <a:r>
              <a:rPr kumimoji="0" lang="en-US" sz="1200" b="0" i="0" u="none" strike="noStrike" kern="1200" cap="none" spc="0" normalizeH="0" baseline="0" noProof="0" dirty="0" err="1">
                <a:ln>
                  <a:noFill/>
                </a:ln>
                <a:solidFill>
                  <a:srgbClr val="000000"/>
                </a:solidFill>
                <a:effectLst/>
                <a:uLnTx/>
                <a:uFillTx/>
                <a:latin typeface="等线" panose="020F0502020204030204"/>
                <a:ea typeface="+mn-ea"/>
                <a:cs typeface="+mn-cs"/>
              </a:rPr>
              <a:t>Lorem</a:t>
            </a:r>
            <a:r>
              <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rPr>
              <a:t> </a:t>
            </a:r>
            <a:r>
              <a:rPr kumimoji="0" lang="en-US" sz="1200" b="0" i="0" u="none" strike="noStrike" kern="1200" cap="none" spc="0" normalizeH="0" baseline="0" noProof="0" dirty="0" err="1">
                <a:ln>
                  <a:noFill/>
                </a:ln>
                <a:solidFill>
                  <a:srgbClr val="000000"/>
                </a:solidFill>
                <a:effectLst/>
                <a:uLnTx/>
                <a:uFillTx/>
                <a:latin typeface="等线" panose="020F0502020204030204"/>
                <a:ea typeface="+mn-ea"/>
                <a:cs typeface="+mn-cs"/>
              </a:rPr>
              <a:t>Ipsum</a:t>
            </a:r>
            <a:r>
              <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rPr>
              <a:t> is not simply random text.</a:t>
            </a:r>
            <a:r>
              <a:rPr kumimoji="0" lang="id-ID" sz="1200" b="0" i="0" u="none" strike="noStrike" kern="1200" cap="none" spc="0" normalizeH="0" baseline="0" noProof="0" dirty="0">
                <a:ln>
                  <a:noFill/>
                </a:ln>
                <a:solidFill>
                  <a:srgbClr val="000000"/>
                </a:solidFill>
                <a:effectLst/>
                <a:uLnTx/>
                <a:uFillTx/>
                <a:latin typeface="等线" panose="020F0502020204030204"/>
                <a:ea typeface="+mn-ea"/>
                <a:cs typeface="+mn-cs"/>
              </a:rPr>
              <a:t> </a:t>
            </a:r>
            <a:endParaRPr kumimoji="0" lang="en-US" sz="1200" b="1"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52" name="TextBox 49">
            <a:extLst>
              <a:ext uri="{FF2B5EF4-FFF2-40B4-BE49-F238E27FC236}">
                <a16:creationId xmlns:a16="http://schemas.microsoft.com/office/drawing/2014/main" id="{83074874-48A1-4F90-A452-12E47E519524}"/>
              </a:ext>
            </a:extLst>
          </p:cNvPr>
          <p:cNvSpPr txBox="1"/>
          <p:nvPr/>
        </p:nvSpPr>
        <p:spPr>
          <a:xfrm>
            <a:off x="2300739" y="5473903"/>
            <a:ext cx="1313181" cy="338554"/>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ID" sz="1600" b="1" i="0" u="none" strike="noStrike" kern="1200" cap="none" spc="0" normalizeH="0" baseline="0" noProof="0">
                <a:ln>
                  <a:noFill/>
                </a:ln>
                <a:solidFill>
                  <a:srgbClr val="000000"/>
                </a:solidFill>
                <a:effectLst/>
                <a:uLnTx/>
                <a:uFillTx/>
                <a:latin typeface="等线 Light" panose="020F0302020204030204"/>
                <a:ea typeface="+mn-ea"/>
                <a:cs typeface="+mn-cs"/>
              </a:rPr>
              <a:t>Description</a:t>
            </a:r>
            <a:endParaRPr kumimoji="0" lang="id-ID" sz="1600" b="1" i="0" u="none" strike="noStrike" kern="1200" cap="none" spc="0" normalizeH="0" baseline="0" noProof="0" dirty="0">
              <a:ln>
                <a:noFill/>
              </a:ln>
              <a:solidFill>
                <a:srgbClr val="000000"/>
              </a:solidFill>
              <a:effectLst/>
              <a:uLnTx/>
              <a:uFillTx/>
              <a:latin typeface="等线 Light" panose="020F0302020204030204"/>
              <a:ea typeface="+mn-ea"/>
              <a:cs typeface="+mn-cs"/>
            </a:endParaRPr>
          </a:p>
        </p:txBody>
      </p:sp>
      <p:sp>
        <p:nvSpPr>
          <p:cNvPr id="53" name="TextBox 50">
            <a:extLst>
              <a:ext uri="{FF2B5EF4-FFF2-40B4-BE49-F238E27FC236}">
                <a16:creationId xmlns:a16="http://schemas.microsoft.com/office/drawing/2014/main" id="{8FDC138C-548A-42F7-8209-2A34B89A6D6C}"/>
              </a:ext>
            </a:extLst>
          </p:cNvPr>
          <p:cNvSpPr txBox="1"/>
          <p:nvPr/>
        </p:nvSpPr>
        <p:spPr>
          <a:xfrm>
            <a:off x="1179936" y="5729060"/>
            <a:ext cx="2433984" cy="461665"/>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id-ID" sz="1200" b="0" i="0" u="none" strike="noStrike" kern="1200" cap="none" spc="0" normalizeH="0" baseline="0" noProof="0" dirty="0">
                <a:ln>
                  <a:noFill/>
                </a:ln>
                <a:solidFill>
                  <a:srgbClr val="000000"/>
                </a:solidFill>
                <a:effectLst/>
                <a:uLnTx/>
                <a:uFillTx/>
                <a:latin typeface="等线" panose="020F0502020204030204"/>
                <a:ea typeface="+mn-ea"/>
                <a:cs typeface="+mn-cs"/>
              </a:rPr>
              <a:t>Suitable for all category</a:t>
            </a:r>
            <a:r>
              <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rPr>
              <a:t>, </a:t>
            </a:r>
            <a:r>
              <a:rPr kumimoji="0" lang="en-US" sz="1200" b="0" i="0" u="none" strike="noStrike" kern="1200" cap="none" spc="0" normalizeH="0" baseline="0" noProof="0" dirty="0" err="1">
                <a:ln>
                  <a:noFill/>
                </a:ln>
                <a:solidFill>
                  <a:srgbClr val="000000"/>
                </a:solidFill>
                <a:effectLst/>
                <a:uLnTx/>
                <a:uFillTx/>
                <a:latin typeface="等线" panose="020F0502020204030204"/>
                <a:ea typeface="+mn-ea"/>
                <a:cs typeface="+mn-cs"/>
              </a:rPr>
              <a:t>Lorem</a:t>
            </a:r>
            <a:r>
              <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rPr>
              <a:t> </a:t>
            </a:r>
            <a:r>
              <a:rPr kumimoji="0" lang="en-US" sz="1200" b="0" i="0" u="none" strike="noStrike" kern="1200" cap="none" spc="0" normalizeH="0" baseline="0" noProof="0" dirty="0" err="1">
                <a:ln>
                  <a:noFill/>
                </a:ln>
                <a:solidFill>
                  <a:srgbClr val="000000"/>
                </a:solidFill>
                <a:effectLst/>
                <a:uLnTx/>
                <a:uFillTx/>
                <a:latin typeface="等线" panose="020F0502020204030204"/>
                <a:ea typeface="+mn-ea"/>
                <a:cs typeface="+mn-cs"/>
              </a:rPr>
              <a:t>Ipsum</a:t>
            </a:r>
            <a:r>
              <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rPr>
              <a:t> is not simply random text.</a:t>
            </a:r>
            <a:r>
              <a:rPr kumimoji="0" lang="id-ID" sz="1200" b="0" i="0" u="none" strike="noStrike" kern="1200" cap="none" spc="0" normalizeH="0" baseline="0" noProof="0" dirty="0">
                <a:ln>
                  <a:noFill/>
                </a:ln>
                <a:solidFill>
                  <a:srgbClr val="000000"/>
                </a:solidFill>
                <a:effectLst/>
                <a:uLnTx/>
                <a:uFillTx/>
                <a:latin typeface="等线" panose="020F0502020204030204"/>
                <a:ea typeface="+mn-ea"/>
                <a:cs typeface="+mn-cs"/>
              </a:rPr>
              <a:t> </a:t>
            </a:r>
            <a:endParaRPr kumimoji="0" lang="en-US" sz="1200" b="1"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54" name="TextBox 54">
            <a:extLst>
              <a:ext uri="{FF2B5EF4-FFF2-40B4-BE49-F238E27FC236}">
                <a16:creationId xmlns:a16="http://schemas.microsoft.com/office/drawing/2014/main" id="{1BF9E83D-7CE4-43C0-91A2-CC1B618D79C8}"/>
              </a:ext>
            </a:extLst>
          </p:cNvPr>
          <p:cNvSpPr txBox="1"/>
          <p:nvPr/>
        </p:nvSpPr>
        <p:spPr>
          <a:xfrm>
            <a:off x="8628394" y="2622977"/>
            <a:ext cx="1247457"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D" sz="1600" b="1" i="0" u="none" strike="noStrike" kern="1200" cap="none" spc="0" normalizeH="0" baseline="0" noProof="0">
                <a:ln>
                  <a:noFill/>
                </a:ln>
                <a:solidFill>
                  <a:srgbClr val="000000"/>
                </a:solidFill>
                <a:effectLst/>
                <a:uLnTx/>
                <a:uFillTx/>
                <a:latin typeface="等线 Light" panose="020F0302020204030204"/>
                <a:ea typeface="+mn-ea"/>
                <a:cs typeface="+mn-cs"/>
              </a:rPr>
              <a:t>Descrption</a:t>
            </a:r>
            <a:endParaRPr kumimoji="0" lang="id-ID" sz="1600" b="1" i="0" u="none" strike="noStrike" kern="1200" cap="none" spc="0" normalizeH="0" baseline="0" noProof="0" dirty="0">
              <a:ln>
                <a:noFill/>
              </a:ln>
              <a:solidFill>
                <a:srgbClr val="000000"/>
              </a:solidFill>
              <a:effectLst/>
              <a:uLnTx/>
              <a:uFillTx/>
              <a:latin typeface="等线 Light" panose="020F0302020204030204"/>
              <a:ea typeface="+mn-ea"/>
              <a:cs typeface="+mn-cs"/>
            </a:endParaRPr>
          </a:p>
        </p:txBody>
      </p:sp>
      <p:sp>
        <p:nvSpPr>
          <p:cNvPr id="55" name="TextBox 55">
            <a:extLst>
              <a:ext uri="{FF2B5EF4-FFF2-40B4-BE49-F238E27FC236}">
                <a16:creationId xmlns:a16="http://schemas.microsoft.com/office/drawing/2014/main" id="{3EE88180-75D2-4F17-8DA3-D65EDC6D0549}"/>
              </a:ext>
            </a:extLst>
          </p:cNvPr>
          <p:cNvSpPr txBox="1"/>
          <p:nvPr/>
        </p:nvSpPr>
        <p:spPr>
          <a:xfrm>
            <a:off x="8628394" y="2878134"/>
            <a:ext cx="2433984"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d-ID" sz="1200" b="0" i="0" u="none" strike="noStrike" kern="1200" cap="none" spc="0" normalizeH="0" baseline="0" noProof="0" dirty="0">
                <a:ln>
                  <a:noFill/>
                </a:ln>
                <a:solidFill>
                  <a:srgbClr val="000000"/>
                </a:solidFill>
                <a:effectLst/>
                <a:uLnTx/>
                <a:uFillTx/>
                <a:latin typeface="等线" panose="020F0502020204030204"/>
                <a:ea typeface="+mn-ea"/>
                <a:cs typeface="+mn-cs"/>
              </a:rPr>
              <a:t>Suitable for all category</a:t>
            </a:r>
            <a:r>
              <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rPr>
              <a:t>, </a:t>
            </a:r>
            <a:r>
              <a:rPr kumimoji="0" lang="en-US" sz="1200" b="0" i="0" u="none" strike="noStrike" kern="1200" cap="none" spc="0" normalizeH="0" baseline="0" noProof="0" dirty="0" err="1">
                <a:ln>
                  <a:noFill/>
                </a:ln>
                <a:solidFill>
                  <a:srgbClr val="000000"/>
                </a:solidFill>
                <a:effectLst/>
                <a:uLnTx/>
                <a:uFillTx/>
                <a:latin typeface="等线" panose="020F0502020204030204"/>
                <a:ea typeface="+mn-ea"/>
                <a:cs typeface="+mn-cs"/>
              </a:rPr>
              <a:t>Lorem</a:t>
            </a:r>
            <a:r>
              <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rPr>
              <a:t> </a:t>
            </a:r>
            <a:r>
              <a:rPr kumimoji="0" lang="en-US" sz="1200" b="0" i="0" u="none" strike="noStrike" kern="1200" cap="none" spc="0" normalizeH="0" baseline="0" noProof="0" dirty="0" err="1">
                <a:ln>
                  <a:noFill/>
                </a:ln>
                <a:solidFill>
                  <a:srgbClr val="000000"/>
                </a:solidFill>
                <a:effectLst/>
                <a:uLnTx/>
                <a:uFillTx/>
                <a:latin typeface="等线" panose="020F0502020204030204"/>
                <a:ea typeface="+mn-ea"/>
                <a:cs typeface="+mn-cs"/>
              </a:rPr>
              <a:t>Ipsum</a:t>
            </a:r>
            <a:r>
              <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rPr>
              <a:t> is not simply random text.</a:t>
            </a:r>
            <a:r>
              <a:rPr kumimoji="0" lang="id-ID" sz="1200" b="0" i="0" u="none" strike="noStrike" kern="1200" cap="none" spc="0" normalizeH="0" baseline="0" noProof="0" dirty="0">
                <a:ln>
                  <a:noFill/>
                </a:ln>
                <a:solidFill>
                  <a:srgbClr val="000000"/>
                </a:solidFill>
                <a:effectLst/>
                <a:uLnTx/>
                <a:uFillTx/>
                <a:latin typeface="等线" panose="020F0502020204030204"/>
                <a:ea typeface="+mn-ea"/>
                <a:cs typeface="+mn-cs"/>
              </a:rPr>
              <a:t> </a:t>
            </a:r>
            <a:endParaRPr kumimoji="0" lang="en-US" sz="1200" b="1"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56" name="TextBox 56">
            <a:extLst>
              <a:ext uri="{FF2B5EF4-FFF2-40B4-BE49-F238E27FC236}">
                <a16:creationId xmlns:a16="http://schemas.microsoft.com/office/drawing/2014/main" id="{408796D6-9F60-47EE-A9C8-6F781321D92B}"/>
              </a:ext>
            </a:extLst>
          </p:cNvPr>
          <p:cNvSpPr txBox="1"/>
          <p:nvPr/>
        </p:nvSpPr>
        <p:spPr>
          <a:xfrm>
            <a:off x="9114146" y="4036884"/>
            <a:ext cx="1247457"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D" sz="1600" b="1" i="0" u="none" strike="noStrike" kern="1200" cap="none" spc="0" normalizeH="0" baseline="0" noProof="0">
                <a:ln>
                  <a:noFill/>
                </a:ln>
                <a:solidFill>
                  <a:srgbClr val="000000"/>
                </a:solidFill>
                <a:effectLst/>
                <a:uLnTx/>
                <a:uFillTx/>
                <a:latin typeface="等线 Light" panose="020F0302020204030204"/>
                <a:ea typeface="+mn-ea"/>
                <a:cs typeface="+mn-cs"/>
              </a:rPr>
              <a:t>Descrption</a:t>
            </a:r>
            <a:endParaRPr kumimoji="0" lang="id-ID" sz="1600" b="1" i="0" u="none" strike="noStrike" kern="1200" cap="none" spc="0" normalizeH="0" baseline="0" noProof="0" dirty="0">
              <a:ln>
                <a:noFill/>
              </a:ln>
              <a:solidFill>
                <a:srgbClr val="000000"/>
              </a:solidFill>
              <a:effectLst/>
              <a:uLnTx/>
              <a:uFillTx/>
              <a:latin typeface="等线 Light" panose="020F0302020204030204"/>
              <a:ea typeface="+mn-ea"/>
              <a:cs typeface="+mn-cs"/>
            </a:endParaRPr>
          </a:p>
        </p:txBody>
      </p:sp>
      <p:sp>
        <p:nvSpPr>
          <p:cNvPr id="57" name="TextBox 57">
            <a:extLst>
              <a:ext uri="{FF2B5EF4-FFF2-40B4-BE49-F238E27FC236}">
                <a16:creationId xmlns:a16="http://schemas.microsoft.com/office/drawing/2014/main" id="{27D01228-FA61-4115-88BB-8B31DA79F25B}"/>
              </a:ext>
            </a:extLst>
          </p:cNvPr>
          <p:cNvSpPr txBox="1"/>
          <p:nvPr/>
        </p:nvSpPr>
        <p:spPr>
          <a:xfrm>
            <a:off x="9114146" y="4292041"/>
            <a:ext cx="2433984"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d-ID" sz="1200" b="0" i="0" u="none" strike="noStrike" kern="1200" cap="none" spc="0" normalizeH="0" baseline="0" noProof="0" dirty="0">
                <a:ln>
                  <a:noFill/>
                </a:ln>
                <a:solidFill>
                  <a:srgbClr val="000000"/>
                </a:solidFill>
                <a:effectLst/>
                <a:uLnTx/>
                <a:uFillTx/>
                <a:latin typeface="等线" panose="020F0502020204030204"/>
                <a:ea typeface="+mn-ea"/>
                <a:cs typeface="+mn-cs"/>
              </a:rPr>
              <a:t>Suitable for all category</a:t>
            </a:r>
            <a:r>
              <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rPr>
              <a:t>, </a:t>
            </a:r>
            <a:r>
              <a:rPr kumimoji="0" lang="en-US" sz="1200" b="0" i="0" u="none" strike="noStrike" kern="1200" cap="none" spc="0" normalizeH="0" baseline="0" noProof="0" dirty="0" err="1">
                <a:ln>
                  <a:noFill/>
                </a:ln>
                <a:solidFill>
                  <a:srgbClr val="000000"/>
                </a:solidFill>
                <a:effectLst/>
                <a:uLnTx/>
                <a:uFillTx/>
                <a:latin typeface="等线" panose="020F0502020204030204"/>
                <a:ea typeface="+mn-ea"/>
                <a:cs typeface="+mn-cs"/>
              </a:rPr>
              <a:t>Lorem</a:t>
            </a:r>
            <a:r>
              <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rPr>
              <a:t> </a:t>
            </a:r>
            <a:r>
              <a:rPr kumimoji="0" lang="en-US" sz="1200" b="0" i="0" u="none" strike="noStrike" kern="1200" cap="none" spc="0" normalizeH="0" baseline="0" noProof="0" dirty="0" err="1">
                <a:ln>
                  <a:noFill/>
                </a:ln>
                <a:solidFill>
                  <a:srgbClr val="000000"/>
                </a:solidFill>
                <a:effectLst/>
                <a:uLnTx/>
                <a:uFillTx/>
                <a:latin typeface="等线" panose="020F0502020204030204"/>
                <a:ea typeface="+mn-ea"/>
                <a:cs typeface="+mn-cs"/>
              </a:rPr>
              <a:t>Ipsum</a:t>
            </a:r>
            <a:r>
              <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rPr>
              <a:t> is not simply random text.</a:t>
            </a:r>
            <a:r>
              <a:rPr kumimoji="0" lang="id-ID" sz="1200" b="0" i="0" u="none" strike="noStrike" kern="1200" cap="none" spc="0" normalizeH="0" baseline="0" noProof="0" dirty="0">
                <a:ln>
                  <a:noFill/>
                </a:ln>
                <a:solidFill>
                  <a:srgbClr val="000000"/>
                </a:solidFill>
                <a:effectLst/>
                <a:uLnTx/>
                <a:uFillTx/>
                <a:latin typeface="等线" panose="020F0502020204030204"/>
                <a:ea typeface="+mn-ea"/>
                <a:cs typeface="+mn-cs"/>
              </a:rPr>
              <a:t> </a:t>
            </a:r>
            <a:endParaRPr kumimoji="0" lang="en-US" sz="1200" b="1"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58" name="TextBox 58">
            <a:extLst>
              <a:ext uri="{FF2B5EF4-FFF2-40B4-BE49-F238E27FC236}">
                <a16:creationId xmlns:a16="http://schemas.microsoft.com/office/drawing/2014/main" id="{A0761AAD-BC43-4531-A5C6-E31F59BF1019}"/>
              </a:ext>
            </a:extLst>
          </p:cNvPr>
          <p:cNvSpPr txBox="1"/>
          <p:nvPr/>
        </p:nvSpPr>
        <p:spPr>
          <a:xfrm>
            <a:off x="8582856" y="5473903"/>
            <a:ext cx="1247457"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D" sz="1600" b="1" i="0" u="none" strike="noStrike" kern="1200" cap="none" spc="0" normalizeH="0" baseline="0" noProof="0">
                <a:ln>
                  <a:noFill/>
                </a:ln>
                <a:solidFill>
                  <a:srgbClr val="000000"/>
                </a:solidFill>
                <a:effectLst/>
                <a:uLnTx/>
                <a:uFillTx/>
                <a:latin typeface="等线 Light" panose="020F0302020204030204"/>
                <a:ea typeface="+mn-ea"/>
                <a:cs typeface="+mn-cs"/>
              </a:rPr>
              <a:t>Descrption</a:t>
            </a:r>
            <a:endParaRPr kumimoji="0" lang="id-ID" sz="1600" b="1" i="0" u="none" strike="noStrike" kern="1200" cap="none" spc="0" normalizeH="0" baseline="0" noProof="0" dirty="0">
              <a:ln>
                <a:noFill/>
              </a:ln>
              <a:solidFill>
                <a:srgbClr val="000000"/>
              </a:solidFill>
              <a:effectLst/>
              <a:uLnTx/>
              <a:uFillTx/>
              <a:latin typeface="等线 Light" panose="020F0302020204030204"/>
              <a:ea typeface="+mn-ea"/>
              <a:cs typeface="+mn-cs"/>
            </a:endParaRPr>
          </a:p>
        </p:txBody>
      </p:sp>
      <p:sp>
        <p:nvSpPr>
          <p:cNvPr id="59" name="TextBox 59">
            <a:extLst>
              <a:ext uri="{FF2B5EF4-FFF2-40B4-BE49-F238E27FC236}">
                <a16:creationId xmlns:a16="http://schemas.microsoft.com/office/drawing/2014/main" id="{65307361-ED7C-4368-8C00-A6BE542FDE4A}"/>
              </a:ext>
            </a:extLst>
          </p:cNvPr>
          <p:cNvSpPr txBox="1"/>
          <p:nvPr/>
        </p:nvSpPr>
        <p:spPr>
          <a:xfrm>
            <a:off x="8582856" y="5729060"/>
            <a:ext cx="2433984"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d-ID" sz="1200" b="0" i="0" u="none" strike="noStrike" kern="1200" cap="none" spc="0" normalizeH="0" baseline="0" noProof="0" dirty="0">
                <a:ln>
                  <a:noFill/>
                </a:ln>
                <a:solidFill>
                  <a:srgbClr val="000000"/>
                </a:solidFill>
                <a:effectLst/>
                <a:uLnTx/>
                <a:uFillTx/>
                <a:latin typeface="等线" panose="020F0502020204030204"/>
                <a:ea typeface="+mn-ea"/>
                <a:cs typeface="+mn-cs"/>
              </a:rPr>
              <a:t>Suitable for all category</a:t>
            </a:r>
            <a:r>
              <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rPr>
              <a:t>, </a:t>
            </a:r>
            <a:r>
              <a:rPr kumimoji="0" lang="en-US" sz="1200" b="0" i="0" u="none" strike="noStrike" kern="1200" cap="none" spc="0" normalizeH="0" baseline="0" noProof="0" dirty="0" err="1">
                <a:ln>
                  <a:noFill/>
                </a:ln>
                <a:solidFill>
                  <a:srgbClr val="000000"/>
                </a:solidFill>
                <a:effectLst/>
                <a:uLnTx/>
                <a:uFillTx/>
                <a:latin typeface="等线" panose="020F0502020204030204"/>
                <a:ea typeface="+mn-ea"/>
                <a:cs typeface="+mn-cs"/>
              </a:rPr>
              <a:t>Lorem</a:t>
            </a:r>
            <a:r>
              <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rPr>
              <a:t> </a:t>
            </a:r>
            <a:r>
              <a:rPr kumimoji="0" lang="en-US" sz="1200" b="0" i="0" u="none" strike="noStrike" kern="1200" cap="none" spc="0" normalizeH="0" baseline="0" noProof="0" dirty="0" err="1">
                <a:ln>
                  <a:noFill/>
                </a:ln>
                <a:solidFill>
                  <a:srgbClr val="000000"/>
                </a:solidFill>
                <a:effectLst/>
                <a:uLnTx/>
                <a:uFillTx/>
                <a:latin typeface="等线" panose="020F0502020204030204"/>
                <a:ea typeface="+mn-ea"/>
                <a:cs typeface="+mn-cs"/>
              </a:rPr>
              <a:t>Ipsum</a:t>
            </a:r>
            <a:r>
              <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rPr>
              <a:t> is not simply random text.</a:t>
            </a:r>
            <a:r>
              <a:rPr kumimoji="0" lang="id-ID" sz="1200" b="0" i="0" u="none" strike="noStrike" kern="1200" cap="none" spc="0" normalizeH="0" baseline="0" noProof="0" dirty="0">
                <a:ln>
                  <a:noFill/>
                </a:ln>
                <a:solidFill>
                  <a:srgbClr val="000000"/>
                </a:solidFill>
                <a:effectLst/>
                <a:uLnTx/>
                <a:uFillTx/>
                <a:latin typeface="等线" panose="020F0502020204030204"/>
                <a:ea typeface="+mn-ea"/>
                <a:cs typeface="+mn-cs"/>
              </a:rPr>
              <a:t> </a:t>
            </a:r>
            <a:endParaRPr kumimoji="0" lang="en-US" sz="1200" b="1"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60" name="Freeform: Shape 72">
            <a:extLst>
              <a:ext uri="{FF2B5EF4-FFF2-40B4-BE49-F238E27FC236}">
                <a16:creationId xmlns:a16="http://schemas.microsoft.com/office/drawing/2014/main" id="{A3EA42EC-1FC1-40CE-9CAB-F6C6BDF825EC}"/>
              </a:ext>
            </a:extLst>
          </p:cNvPr>
          <p:cNvSpPr/>
          <p:nvPr/>
        </p:nvSpPr>
        <p:spPr>
          <a:xfrm>
            <a:off x="5792677" y="4241276"/>
            <a:ext cx="632512" cy="397652"/>
          </a:xfrm>
          <a:custGeom>
            <a:avLst/>
            <a:gdLst>
              <a:gd name="connsiteX0" fmla="*/ 521003 w 521003"/>
              <a:gd name="connsiteY0" fmla="*/ 242077 h 327546"/>
              <a:gd name="connsiteX1" fmla="*/ 465218 w 521003"/>
              <a:gd name="connsiteY1" fmla="*/ 152514 h 327546"/>
              <a:gd name="connsiteX2" fmla="*/ 492343 w 521003"/>
              <a:gd name="connsiteY2" fmla="*/ 152514 h 327546"/>
              <a:gd name="connsiteX3" fmla="*/ 492343 w 521003"/>
              <a:gd name="connsiteY3" fmla="*/ 78304 h 327546"/>
              <a:gd name="connsiteX4" fmla="*/ 492343 w 521003"/>
              <a:gd name="connsiteY4" fmla="*/ 73186 h 327546"/>
              <a:gd name="connsiteX5" fmla="*/ 491831 w 521003"/>
              <a:gd name="connsiteY5" fmla="*/ 68068 h 327546"/>
              <a:gd name="connsiteX6" fmla="*/ 485178 w 521003"/>
              <a:gd name="connsiteY6" fmla="*/ 46573 h 327546"/>
              <a:gd name="connsiteX7" fmla="*/ 454470 w 521003"/>
              <a:gd name="connsiteY7" fmla="*/ 13818 h 327546"/>
              <a:gd name="connsiteX8" fmla="*/ 452935 w 521003"/>
              <a:gd name="connsiteY8" fmla="*/ 12795 h 327546"/>
              <a:gd name="connsiteX9" fmla="*/ 450888 w 521003"/>
              <a:gd name="connsiteY9" fmla="*/ 11771 h 327546"/>
              <a:gd name="connsiteX10" fmla="*/ 445258 w 521003"/>
              <a:gd name="connsiteY10" fmla="*/ 9212 h 327546"/>
              <a:gd name="connsiteX11" fmla="*/ 418133 w 521003"/>
              <a:gd name="connsiteY11" fmla="*/ 4094 h 327546"/>
              <a:gd name="connsiteX12" fmla="*/ 351600 w 521003"/>
              <a:gd name="connsiteY12" fmla="*/ 45549 h 327546"/>
              <a:gd name="connsiteX13" fmla="*/ 346482 w 521003"/>
              <a:gd name="connsiteY13" fmla="*/ 59879 h 327546"/>
              <a:gd name="connsiteX14" fmla="*/ 344435 w 521003"/>
              <a:gd name="connsiteY14" fmla="*/ 72674 h 327546"/>
              <a:gd name="connsiteX15" fmla="*/ 344435 w 521003"/>
              <a:gd name="connsiteY15" fmla="*/ 77792 h 327546"/>
              <a:gd name="connsiteX16" fmla="*/ 344435 w 521003"/>
              <a:gd name="connsiteY16" fmla="*/ 91099 h 327546"/>
              <a:gd name="connsiteX17" fmla="*/ 343412 w 521003"/>
              <a:gd name="connsiteY17" fmla="*/ 89051 h 327546"/>
              <a:gd name="connsiteX18" fmla="*/ 307075 w 521003"/>
              <a:gd name="connsiteY18" fmla="*/ 50667 h 327546"/>
              <a:gd name="connsiteX19" fmla="*/ 303492 w 521003"/>
              <a:gd name="connsiteY19" fmla="*/ 48620 h 327546"/>
              <a:gd name="connsiteX20" fmla="*/ 297862 w 521003"/>
              <a:gd name="connsiteY20" fmla="*/ 46061 h 327546"/>
              <a:gd name="connsiteX21" fmla="*/ 265108 w 521003"/>
              <a:gd name="connsiteY21" fmla="*/ 39408 h 327546"/>
              <a:gd name="connsiteX22" fmla="*/ 186804 w 521003"/>
              <a:gd name="connsiteY22" fmla="*/ 88028 h 327546"/>
              <a:gd name="connsiteX23" fmla="*/ 180662 w 521003"/>
              <a:gd name="connsiteY23" fmla="*/ 104917 h 327546"/>
              <a:gd name="connsiteX24" fmla="*/ 178103 w 521003"/>
              <a:gd name="connsiteY24" fmla="*/ 125900 h 327546"/>
              <a:gd name="connsiteX25" fmla="*/ 192433 w 521003"/>
              <a:gd name="connsiteY25" fmla="*/ 173497 h 327546"/>
              <a:gd name="connsiteX26" fmla="*/ 193969 w 521003"/>
              <a:gd name="connsiteY26" fmla="*/ 176056 h 327546"/>
              <a:gd name="connsiteX27" fmla="*/ 199087 w 521003"/>
              <a:gd name="connsiteY27" fmla="*/ 182709 h 327546"/>
              <a:gd name="connsiteX28" fmla="*/ 233377 w 521003"/>
              <a:gd name="connsiteY28" fmla="*/ 206763 h 327546"/>
              <a:gd name="connsiteX29" fmla="*/ 208299 w 521003"/>
              <a:gd name="connsiteY29" fmla="*/ 216488 h 327546"/>
              <a:gd name="connsiteX30" fmla="*/ 137160 w 521003"/>
              <a:gd name="connsiteY30" fmla="*/ 148419 h 327546"/>
              <a:gd name="connsiteX31" fmla="*/ 165308 w 521003"/>
              <a:gd name="connsiteY31" fmla="*/ 127948 h 327546"/>
              <a:gd name="connsiteX32" fmla="*/ 170426 w 521003"/>
              <a:gd name="connsiteY32" fmla="*/ 121294 h 327546"/>
              <a:gd name="connsiteX33" fmla="*/ 171962 w 521003"/>
              <a:gd name="connsiteY33" fmla="*/ 118735 h 327546"/>
              <a:gd name="connsiteX34" fmla="*/ 184245 w 521003"/>
              <a:gd name="connsiteY34" fmla="*/ 77280 h 327546"/>
              <a:gd name="connsiteX35" fmla="*/ 183221 w 521003"/>
              <a:gd name="connsiteY35" fmla="*/ 66533 h 327546"/>
              <a:gd name="connsiteX36" fmla="*/ 176568 w 521003"/>
              <a:gd name="connsiteY36" fmla="*/ 44014 h 327546"/>
              <a:gd name="connsiteX37" fmla="*/ 144837 w 521003"/>
              <a:gd name="connsiteY37" fmla="*/ 10236 h 327546"/>
              <a:gd name="connsiteX38" fmla="*/ 141254 w 521003"/>
              <a:gd name="connsiteY38" fmla="*/ 8189 h 327546"/>
              <a:gd name="connsiteX39" fmla="*/ 135625 w 521003"/>
              <a:gd name="connsiteY39" fmla="*/ 5630 h 327546"/>
              <a:gd name="connsiteX40" fmla="*/ 107476 w 521003"/>
              <a:gd name="connsiteY40" fmla="*/ 0 h 327546"/>
              <a:gd name="connsiteX41" fmla="*/ 38384 w 521003"/>
              <a:gd name="connsiteY41" fmla="*/ 42990 h 327546"/>
              <a:gd name="connsiteX42" fmla="*/ 32755 w 521003"/>
              <a:gd name="connsiteY42" fmla="*/ 57832 h 327546"/>
              <a:gd name="connsiteX43" fmla="*/ 30196 w 521003"/>
              <a:gd name="connsiteY43" fmla="*/ 76257 h 327546"/>
              <a:gd name="connsiteX44" fmla="*/ 42479 w 521003"/>
              <a:gd name="connsiteY44" fmla="*/ 118224 h 327546"/>
              <a:gd name="connsiteX45" fmla="*/ 44014 w 521003"/>
              <a:gd name="connsiteY45" fmla="*/ 120783 h 327546"/>
              <a:gd name="connsiteX46" fmla="*/ 49132 w 521003"/>
              <a:gd name="connsiteY46" fmla="*/ 127436 h 327546"/>
              <a:gd name="connsiteX47" fmla="*/ 76769 w 521003"/>
              <a:gd name="connsiteY47" fmla="*/ 147396 h 327546"/>
              <a:gd name="connsiteX48" fmla="*/ 0 w 521003"/>
              <a:gd name="connsiteY48" fmla="*/ 249754 h 327546"/>
              <a:gd name="connsiteX49" fmla="*/ 0 w 521003"/>
              <a:gd name="connsiteY49" fmla="*/ 254872 h 327546"/>
              <a:gd name="connsiteX50" fmla="*/ 163773 w 521003"/>
              <a:gd name="connsiteY50" fmla="*/ 254872 h 327546"/>
              <a:gd name="connsiteX51" fmla="*/ 143301 w 521003"/>
              <a:gd name="connsiteY51" fmla="*/ 322428 h 327546"/>
              <a:gd name="connsiteX52" fmla="*/ 143301 w 521003"/>
              <a:gd name="connsiteY52" fmla="*/ 327546 h 327546"/>
              <a:gd name="connsiteX53" fmla="*/ 385379 w 521003"/>
              <a:gd name="connsiteY53" fmla="*/ 327546 h 327546"/>
              <a:gd name="connsiteX54" fmla="*/ 385379 w 521003"/>
              <a:gd name="connsiteY54" fmla="*/ 322428 h 327546"/>
              <a:gd name="connsiteX55" fmla="*/ 359789 w 521003"/>
              <a:gd name="connsiteY55" fmla="*/ 248219 h 327546"/>
              <a:gd name="connsiteX56" fmla="*/ 521003 w 521003"/>
              <a:gd name="connsiteY56" fmla="*/ 248219 h 327546"/>
              <a:gd name="connsiteX57" fmla="*/ 521003 w 521003"/>
              <a:gd name="connsiteY57" fmla="*/ 242077 h 327546"/>
              <a:gd name="connsiteX58" fmla="*/ 54250 w 521003"/>
              <a:gd name="connsiteY58" fmla="*/ 119759 h 327546"/>
              <a:gd name="connsiteX59" fmla="*/ 54250 w 521003"/>
              <a:gd name="connsiteY59" fmla="*/ 119759 h 327546"/>
              <a:gd name="connsiteX60" fmla="*/ 55273 w 521003"/>
              <a:gd name="connsiteY60" fmla="*/ 117200 h 327546"/>
              <a:gd name="connsiteX61" fmla="*/ 56297 w 521003"/>
              <a:gd name="connsiteY61" fmla="*/ 114641 h 327546"/>
              <a:gd name="connsiteX62" fmla="*/ 56297 w 521003"/>
              <a:gd name="connsiteY62" fmla="*/ 114129 h 327546"/>
              <a:gd name="connsiteX63" fmla="*/ 57832 w 521003"/>
              <a:gd name="connsiteY63" fmla="*/ 110035 h 327546"/>
              <a:gd name="connsiteX64" fmla="*/ 58856 w 521003"/>
              <a:gd name="connsiteY64" fmla="*/ 105941 h 327546"/>
              <a:gd name="connsiteX65" fmla="*/ 58856 w 521003"/>
              <a:gd name="connsiteY65" fmla="*/ 105429 h 327546"/>
              <a:gd name="connsiteX66" fmla="*/ 59368 w 521003"/>
              <a:gd name="connsiteY66" fmla="*/ 102870 h 327546"/>
              <a:gd name="connsiteX67" fmla="*/ 59880 w 521003"/>
              <a:gd name="connsiteY67" fmla="*/ 100311 h 327546"/>
              <a:gd name="connsiteX68" fmla="*/ 60391 w 521003"/>
              <a:gd name="connsiteY68" fmla="*/ 97240 h 327546"/>
              <a:gd name="connsiteX69" fmla="*/ 60903 w 521003"/>
              <a:gd name="connsiteY69" fmla="*/ 94681 h 327546"/>
              <a:gd name="connsiteX70" fmla="*/ 60903 w 521003"/>
              <a:gd name="connsiteY70" fmla="*/ 88540 h 327546"/>
              <a:gd name="connsiteX71" fmla="*/ 59368 w 521003"/>
              <a:gd name="connsiteY71" fmla="*/ 73186 h 327546"/>
              <a:gd name="connsiteX72" fmla="*/ 69092 w 521003"/>
              <a:gd name="connsiteY72" fmla="*/ 73698 h 327546"/>
              <a:gd name="connsiteX73" fmla="*/ 73186 w 521003"/>
              <a:gd name="connsiteY73" fmla="*/ 73698 h 327546"/>
              <a:gd name="connsiteX74" fmla="*/ 80863 w 521003"/>
              <a:gd name="connsiteY74" fmla="*/ 73186 h 327546"/>
              <a:gd name="connsiteX75" fmla="*/ 84446 w 521003"/>
              <a:gd name="connsiteY75" fmla="*/ 72674 h 327546"/>
              <a:gd name="connsiteX76" fmla="*/ 88028 w 521003"/>
              <a:gd name="connsiteY76" fmla="*/ 71651 h 327546"/>
              <a:gd name="connsiteX77" fmla="*/ 95193 w 521003"/>
              <a:gd name="connsiteY77" fmla="*/ 69603 h 327546"/>
              <a:gd name="connsiteX78" fmla="*/ 98776 w 521003"/>
              <a:gd name="connsiteY78" fmla="*/ 68068 h 327546"/>
              <a:gd name="connsiteX79" fmla="*/ 105429 w 521003"/>
              <a:gd name="connsiteY79" fmla="*/ 64997 h 327546"/>
              <a:gd name="connsiteX80" fmla="*/ 106964 w 521003"/>
              <a:gd name="connsiteY80" fmla="*/ 63974 h 327546"/>
              <a:gd name="connsiteX81" fmla="*/ 106964 w 521003"/>
              <a:gd name="connsiteY81" fmla="*/ 63974 h 327546"/>
              <a:gd name="connsiteX82" fmla="*/ 108500 w 521003"/>
              <a:gd name="connsiteY82" fmla="*/ 62950 h 327546"/>
              <a:gd name="connsiteX83" fmla="*/ 112082 w 521003"/>
              <a:gd name="connsiteY83" fmla="*/ 60903 h 327546"/>
              <a:gd name="connsiteX84" fmla="*/ 114641 w 521003"/>
              <a:gd name="connsiteY84" fmla="*/ 58856 h 327546"/>
              <a:gd name="connsiteX85" fmla="*/ 118224 w 521003"/>
              <a:gd name="connsiteY85" fmla="*/ 56297 h 327546"/>
              <a:gd name="connsiteX86" fmla="*/ 121294 w 521003"/>
              <a:gd name="connsiteY86" fmla="*/ 53738 h 327546"/>
              <a:gd name="connsiteX87" fmla="*/ 121294 w 521003"/>
              <a:gd name="connsiteY87" fmla="*/ 53738 h 327546"/>
              <a:gd name="connsiteX88" fmla="*/ 123853 w 521003"/>
              <a:gd name="connsiteY88" fmla="*/ 51179 h 327546"/>
              <a:gd name="connsiteX89" fmla="*/ 123853 w 521003"/>
              <a:gd name="connsiteY89" fmla="*/ 51179 h 327546"/>
              <a:gd name="connsiteX90" fmla="*/ 127436 w 521003"/>
              <a:gd name="connsiteY90" fmla="*/ 54250 h 327546"/>
              <a:gd name="connsiteX91" fmla="*/ 131019 w 521003"/>
              <a:gd name="connsiteY91" fmla="*/ 56809 h 327546"/>
              <a:gd name="connsiteX92" fmla="*/ 131530 w 521003"/>
              <a:gd name="connsiteY92" fmla="*/ 57320 h 327546"/>
              <a:gd name="connsiteX93" fmla="*/ 135113 w 521003"/>
              <a:gd name="connsiteY93" fmla="*/ 59879 h 327546"/>
              <a:gd name="connsiteX94" fmla="*/ 138184 w 521003"/>
              <a:gd name="connsiteY94" fmla="*/ 61927 h 327546"/>
              <a:gd name="connsiteX95" fmla="*/ 140231 w 521003"/>
              <a:gd name="connsiteY95" fmla="*/ 62950 h 327546"/>
              <a:gd name="connsiteX96" fmla="*/ 142790 w 521003"/>
              <a:gd name="connsiteY96" fmla="*/ 64486 h 327546"/>
              <a:gd name="connsiteX97" fmla="*/ 144325 w 521003"/>
              <a:gd name="connsiteY97" fmla="*/ 65509 h 327546"/>
              <a:gd name="connsiteX98" fmla="*/ 146884 w 521003"/>
              <a:gd name="connsiteY98" fmla="*/ 67045 h 327546"/>
              <a:gd name="connsiteX99" fmla="*/ 149955 w 521003"/>
              <a:gd name="connsiteY99" fmla="*/ 68580 h 327546"/>
              <a:gd name="connsiteX100" fmla="*/ 156096 w 521003"/>
              <a:gd name="connsiteY100" fmla="*/ 70627 h 327546"/>
              <a:gd name="connsiteX101" fmla="*/ 154049 w 521003"/>
              <a:gd name="connsiteY101" fmla="*/ 89051 h 327546"/>
              <a:gd name="connsiteX102" fmla="*/ 154049 w 521003"/>
              <a:gd name="connsiteY102" fmla="*/ 93146 h 327546"/>
              <a:gd name="connsiteX103" fmla="*/ 154561 w 521003"/>
              <a:gd name="connsiteY103" fmla="*/ 97240 h 327546"/>
              <a:gd name="connsiteX104" fmla="*/ 154561 w 521003"/>
              <a:gd name="connsiteY104" fmla="*/ 99799 h 327546"/>
              <a:gd name="connsiteX105" fmla="*/ 155073 w 521003"/>
              <a:gd name="connsiteY105" fmla="*/ 102358 h 327546"/>
              <a:gd name="connsiteX106" fmla="*/ 156096 w 521003"/>
              <a:gd name="connsiteY106" fmla="*/ 106452 h 327546"/>
              <a:gd name="connsiteX107" fmla="*/ 157120 w 521003"/>
              <a:gd name="connsiteY107" fmla="*/ 110035 h 327546"/>
              <a:gd name="connsiteX108" fmla="*/ 158143 w 521003"/>
              <a:gd name="connsiteY108" fmla="*/ 113106 h 327546"/>
              <a:gd name="connsiteX109" fmla="*/ 159167 w 521003"/>
              <a:gd name="connsiteY109" fmla="*/ 115665 h 327546"/>
              <a:gd name="connsiteX110" fmla="*/ 160702 w 521003"/>
              <a:gd name="connsiteY110" fmla="*/ 119247 h 327546"/>
              <a:gd name="connsiteX111" fmla="*/ 111570 w 521003"/>
              <a:gd name="connsiteY111" fmla="*/ 145348 h 327546"/>
              <a:gd name="connsiteX112" fmla="*/ 111059 w 521003"/>
              <a:gd name="connsiteY112" fmla="*/ 145348 h 327546"/>
              <a:gd name="connsiteX113" fmla="*/ 107988 w 521003"/>
              <a:gd name="connsiteY113" fmla="*/ 145348 h 327546"/>
              <a:gd name="connsiteX114" fmla="*/ 107988 w 521003"/>
              <a:gd name="connsiteY114" fmla="*/ 145348 h 327546"/>
              <a:gd name="connsiteX115" fmla="*/ 103894 w 521003"/>
              <a:gd name="connsiteY115" fmla="*/ 145348 h 327546"/>
              <a:gd name="connsiteX116" fmla="*/ 103894 w 521003"/>
              <a:gd name="connsiteY116" fmla="*/ 145348 h 327546"/>
              <a:gd name="connsiteX117" fmla="*/ 54250 w 521003"/>
              <a:gd name="connsiteY117" fmla="*/ 119759 h 327546"/>
              <a:gd name="connsiteX118" fmla="*/ 127436 w 521003"/>
              <a:gd name="connsiteY118" fmla="*/ 215464 h 327546"/>
              <a:gd name="connsiteX119" fmla="*/ 106964 w 521003"/>
              <a:gd name="connsiteY119" fmla="*/ 228259 h 327546"/>
              <a:gd name="connsiteX120" fmla="*/ 86493 w 521003"/>
              <a:gd name="connsiteY120" fmla="*/ 215464 h 327546"/>
              <a:gd name="connsiteX121" fmla="*/ 92122 w 521003"/>
              <a:gd name="connsiteY121" fmla="*/ 161726 h 327546"/>
              <a:gd name="connsiteX122" fmla="*/ 81375 w 521003"/>
              <a:gd name="connsiteY122" fmla="*/ 150978 h 327546"/>
              <a:gd name="connsiteX123" fmla="*/ 91611 w 521003"/>
              <a:gd name="connsiteY123" fmla="*/ 154049 h 327546"/>
              <a:gd name="connsiteX124" fmla="*/ 93146 w 521003"/>
              <a:gd name="connsiteY124" fmla="*/ 154561 h 327546"/>
              <a:gd name="connsiteX125" fmla="*/ 100311 w 521003"/>
              <a:gd name="connsiteY125" fmla="*/ 155584 h 327546"/>
              <a:gd name="connsiteX126" fmla="*/ 103382 w 521003"/>
              <a:gd name="connsiteY126" fmla="*/ 155584 h 327546"/>
              <a:gd name="connsiteX127" fmla="*/ 103894 w 521003"/>
              <a:gd name="connsiteY127" fmla="*/ 155584 h 327546"/>
              <a:gd name="connsiteX128" fmla="*/ 107476 w 521003"/>
              <a:gd name="connsiteY128" fmla="*/ 155584 h 327546"/>
              <a:gd name="connsiteX129" fmla="*/ 110547 w 521003"/>
              <a:gd name="connsiteY129" fmla="*/ 155584 h 327546"/>
              <a:gd name="connsiteX130" fmla="*/ 114641 w 521003"/>
              <a:gd name="connsiteY130" fmla="*/ 155584 h 327546"/>
              <a:gd name="connsiteX131" fmla="*/ 121806 w 521003"/>
              <a:gd name="connsiteY131" fmla="*/ 154561 h 327546"/>
              <a:gd name="connsiteX132" fmla="*/ 123342 w 521003"/>
              <a:gd name="connsiteY132" fmla="*/ 154049 h 327546"/>
              <a:gd name="connsiteX133" fmla="*/ 123342 w 521003"/>
              <a:gd name="connsiteY133" fmla="*/ 154049 h 327546"/>
              <a:gd name="connsiteX134" fmla="*/ 133577 w 521003"/>
              <a:gd name="connsiteY134" fmla="*/ 150978 h 327546"/>
              <a:gd name="connsiteX135" fmla="*/ 122318 w 521003"/>
              <a:gd name="connsiteY135" fmla="*/ 161726 h 327546"/>
              <a:gd name="connsiteX136" fmla="*/ 127436 w 521003"/>
              <a:gd name="connsiteY136" fmla="*/ 215464 h 327546"/>
              <a:gd name="connsiteX137" fmla="*/ 203693 w 521003"/>
              <a:gd name="connsiteY137" fmla="*/ 173497 h 327546"/>
              <a:gd name="connsiteX138" fmla="*/ 204205 w 521003"/>
              <a:gd name="connsiteY138" fmla="*/ 172473 h 327546"/>
              <a:gd name="connsiteX139" fmla="*/ 204716 w 521003"/>
              <a:gd name="connsiteY139" fmla="*/ 171450 h 327546"/>
              <a:gd name="connsiteX140" fmla="*/ 205740 w 521003"/>
              <a:gd name="connsiteY140" fmla="*/ 168891 h 327546"/>
              <a:gd name="connsiteX141" fmla="*/ 205740 w 521003"/>
              <a:gd name="connsiteY141" fmla="*/ 168379 h 327546"/>
              <a:gd name="connsiteX142" fmla="*/ 206252 w 521003"/>
              <a:gd name="connsiteY142" fmla="*/ 166332 h 327546"/>
              <a:gd name="connsiteX143" fmla="*/ 208299 w 521003"/>
              <a:gd name="connsiteY143" fmla="*/ 159167 h 327546"/>
              <a:gd name="connsiteX144" fmla="*/ 208811 w 521003"/>
              <a:gd name="connsiteY144" fmla="*/ 156608 h 327546"/>
              <a:gd name="connsiteX145" fmla="*/ 210346 w 521003"/>
              <a:gd name="connsiteY145" fmla="*/ 147907 h 327546"/>
              <a:gd name="connsiteX146" fmla="*/ 210858 w 521003"/>
              <a:gd name="connsiteY146" fmla="*/ 143302 h 327546"/>
              <a:gd name="connsiteX147" fmla="*/ 210858 w 521003"/>
              <a:gd name="connsiteY147" fmla="*/ 138184 h 327546"/>
              <a:gd name="connsiteX148" fmla="*/ 208811 w 521003"/>
              <a:gd name="connsiteY148" fmla="*/ 119759 h 327546"/>
              <a:gd name="connsiteX149" fmla="*/ 221094 w 521003"/>
              <a:gd name="connsiteY149" fmla="*/ 120783 h 327546"/>
              <a:gd name="connsiteX150" fmla="*/ 227747 w 521003"/>
              <a:gd name="connsiteY150" fmla="*/ 120783 h 327546"/>
              <a:gd name="connsiteX151" fmla="*/ 230306 w 521003"/>
              <a:gd name="connsiteY151" fmla="*/ 120783 h 327546"/>
              <a:gd name="connsiteX152" fmla="*/ 234912 w 521003"/>
              <a:gd name="connsiteY152" fmla="*/ 120271 h 327546"/>
              <a:gd name="connsiteX153" fmla="*/ 237983 w 521003"/>
              <a:gd name="connsiteY153" fmla="*/ 119759 h 327546"/>
              <a:gd name="connsiteX154" fmla="*/ 243613 w 521003"/>
              <a:gd name="connsiteY154" fmla="*/ 118735 h 327546"/>
              <a:gd name="connsiteX155" fmla="*/ 245660 w 521003"/>
              <a:gd name="connsiteY155" fmla="*/ 118224 h 327546"/>
              <a:gd name="connsiteX156" fmla="*/ 247707 w 521003"/>
              <a:gd name="connsiteY156" fmla="*/ 117712 h 327546"/>
              <a:gd name="connsiteX157" fmla="*/ 251801 w 521003"/>
              <a:gd name="connsiteY157" fmla="*/ 116176 h 327546"/>
              <a:gd name="connsiteX158" fmla="*/ 255896 w 521003"/>
              <a:gd name="connsiteY158" fmla="*/ 114641 h 327546"/>
              <a:gd name="connsiteX159" fmla="*/ 259990 w 521003"/>
              <a:gd name="connsiteY159" fmla="*/ 112594 h 327546"/>
              <a:gd name="connsiteX160" fmla="*/ 265108 w 521003"/>
              <a:gd name="connsiteY160" fmla="*/ 110035 h 327546"/>
              <a:gd name="connsiteX161" fmla="*/ 266131 w 521003"/>
              <a:gd name="connsiteY161" fmla="*/ 109523 h 327546"/>
              <a:gd name="connsiteX162" fmla="*/ 267155 w 521003"/>
              <a:gd name="connsiteY162" fmla="*/ 109011 h 327546"/>
              <a:gd name="connsiteX163" fmla="*/ 270737 w 521003"/>
              <a:gd name="connsiteY163" fmla="*/ 106452 h 327546"/>
              <a:gd name="connsiteX164" fmla="*/ 274320 w 521003"/>
              <a:gd name="connsiteY164" fmla="*/ 103894 h 327546"/>
              <a:gd name="connsiteX165" fmla="*/ 277902 w 521003"/>
              <a:gd name="connsiteY165" fmla="*/ 101335 h 327546"/>
              <a:gd name="connsiteX166" fmla="*/ 281485 w 521003"/>
              <a:gd name="connsiteY166" fmla="*/ 97752 h 327546"/>
              <a:gd name="connsiteX167" fmla="*/ 284044 w 521003"/>
              <a:gd name="connsiteY167" fmla="*/ 95193 h 327546"/>
              <a:gd name="connsiteX168" fmla="*/ 284044 w 521003"/>
              <a:gd name="connsiteY168" fmla="*/ 95193 h 327546"/>
              <a:gd name="connsiteX169" fmla="*/ 287626 w 521003"/>
              <a:gd name="connsiteY169" fmla="*/ 98264 h 327546"/>
              <a:gd name="connsiteX170" fmla="*/ 288650 w 521003"/>
              <a:gd name="connsiteY170" fmla="*/ 99287 h 327546"/>
              <a:gd name="connsiteX171" fmla="*/ 291721 w 521003"/>
              <a:gd name="connsiteY171" fmla="*/ 101846 h 327546"/>
              <a:gd name="connsiteX172" fmla="*/ 292744 w 521003"/>
              <a:gd name="connsiteY172" fmla="*/ 102870 h 327546"/>
              <a:gd name="connsiteX173" fmla="*/ 294280 w 521003"/>
              <a:gd name="connsiteY173" fmla="*/ 103894 h 327546"/>
              <a:gd name="connsiteX174" fmla="*/ 302980 w 521003"/>
              <a:gd name="connsiteY174" fmla="*/ 109523 h 327546"/>
              <a:gd name="connsiteX175" fmla="*/ 306563 w 521003"/>
              <a:gd name="connsiteY175" fmla="*/ 111570 h 327546"/>
              <a:gd name="connsiteX176" fmla="*/ 310145 w 521003"/>
              <a:gd name="connsiteY176" fmla="*/ 113617 h 327546"/>
              <a:gd name="connsiteX177" fmla="*/ 321917 w 521003"/>
              <a:gd name="connsiteY177" fmla="*/ 118224 h 327546"/>
              <a:gd name="connsiteX178" fmla="*/ 319358 w 521003"/>
              <a:gd name="connsiteY178" fmla="*/ 139719 h 327546"/>
              <a:gd name="connsiteX179" fmla="*/ 319869 w 521003"/>
              <a:gd name="connsiteY179" fmla="*/ 148931 h 327546"/>
              <a:gd name="connsiteX180" fmla="*/ 319869 w 521003"/>
              <a:gd name="connsiteY180" fmla="*/ 150978 h 327546"/>
              <a:gd name="connsiteX181" fmla="*/ 320381 w 521003"/>
              <a:gd name="connsiteY181" fmla="*/ 153025 h 327546"/>
              <a:gd name="connsiteX182" fmla="*/ 320893 w 521003"/>
              <a:gd name="connsiteY182" fmla="*/ 155584 h 327546"/>
              <a:gd name="connsiteX183" fmla="*/ 321405 w 521003"/>
              <a:gd name="connsiteY183" fmla="*/ 158143 h 327546"/>
              <a:gd name="connsiteX184" fmla="*/ 322428 w 521003"/>
              <a:gd name="connsiteY184" fmla="*/ 161726 h 327546"/>
              <a:gd name="connsiteX185" fmla="*/ 323452 w 521003"/>
              <a:gd name="connsiteY185" fmla="*/ 165308 h 327546"/>
              <a:gd name="connsiteX186" fmla="*/ 326011 w 521003"/>
              <a:gd name="connsiteY186" fmla="*/ 172985 h 327546"/>
              <a:gd name="connsiteX187" fmla="*/ 326523 w 521003"/>
              <a:gd name="connsiteY187" fmla="*/ 174009 h 327546"/>
              <a:gd name="connsiteX188" fmla="*/ 268178 w 521003"/>
              <a:gd name="connsiteY188" fmla="*/ 204716 h 327546"/>
              <a:gd name="connsiteX189" fmla="*/ 265108 w 521003"/>
              <a:gd name="connsiteY189" fmla="*/ 204716 h 327546"/>
              <a:gd name="connsiteX190" fmla="*/ 261525 w 521003"/>
              <a:gd name="connsiteY190" fmla="*/ 204716 h 327546"/>
              <a:gd name="connsiteX191" fmla="*/ 203693 w 521003"/>
              <a:gd name="connsiteY191" fmla="*/ 173497 h 327546"/>
              <a:gd name="connsiteX192" fmla="*/ 287115 w 521003"/>
              <a:gd name="connsiteY192" fmla="*/ 282508 h 327546"/>
              <a:gd name="connsiteX193" fmla="*/ 264596 w 521003"/>
              <a:gd name="connsiteY193" fmla="*/ 296327 h 327546"/>
              <a:gd name="connsiteX194" fmla="*/ 242077 w 521003"/>
              <a:gd name="connsiteY194" fmla="*/ 282508 h 327546"/>
              <a:gd name="connsiteX195" fmla="*/ 248730 w 521003"/>
              <a:gd name="connsiteY195" fmla="*/ 221605 h 327546"/>
              <a:gd name="connsiteX196" fmla="*/ 235936 w 521003"/>
              <a:gd name="connsiteY196" fmla="*/ 208811 h 327546"/>
              <a:gd name="connsiteX197" fmla="*/ 246172 w 521003"/>
              <a:gd name="connsiteY197" fmla="*/ 211881 h 327546"/>
              <a:gd name="connsiteX198" fmla="*/ 249754 w 521003"/>
              <a:gd name="connsiteY198" fmla="*/ 212905 h 327546"/>
              <a:gd name="connsiteX199" fmla="*/ 254872 w 521003"/>
              <a:gd name="connsiteY199" fmla="*/ 213929 h 327546"/>
              <a:gd name="connsiteX200" fmla="*/ 261013 w 521003"/>
              <a:gd name="connsiteY200" fmla="*/ 214440 h 327546"/>
              <a:gd name="connsiteX201" fmla="*/ 265108 w 521003"/>
              <a:gd name="connsiteY201" fmla="*/ 214440 h 327546"/>
              <a:gd name="connsiteX202" fmla="*/ 268178 w 521003"/>
              <a:gd name="connsiteY202" fmla="*/ 214440 h 327546"/>
              <a:gd name="connsiteX203" fmla="*/ 275344 w 521003"/>
              <a:gd name="connsiteY203" fmla="*/ 213929 h 327546"/>
              <a:gd name="connsiteX204" fmla="*/ 280461 w 521003"/>
              <a:gd name="connsiteY204" fmla="*/ 213417 h 327546"/>
              <a:gd name="connsiteX205" fmla="*/ 284044 w 521003"/>
              <a:gd name="connsiteY205" fmla="*/ 212393 h 327546"/>
              <a:gd name="connsiteX206" fmla="*/ 294280 w 521003"/>
              <a:gd name="connsiteY206" fmla="*/ 209322 h 327546"/>
              <a:gd name="connsiteX207" fmla="*/ 281485 w 521003"/>
              <a:gd name="connsiteY207" fmla="*/ 222117 h 327546"/>
              <a:gd name="connsiteX208" fmla="*/ 287115 w 521003"/>
              <a:gd name="connsiteY208" fmla="*/ 282508 h 327546"/>
              <a:gd name="connsiteX209" fmla="*/ 318846 w 521003"/>
              <a:gd name="connsiteY209" fmla="*/ 216488 h 327546"/>
              <a:gd name="connsiteX210" fmla="*/ 296327 w 521003"/>
              <a:gd name="connsiteY210" fmla="*/ 207787 h 327546"/>
              <a:gd name="connsiteX211" fmla="*/ 331129 w 521003"/>
              <a:gd name="connsiteY211" fmla="*/ 183221 h 327546"/>
              <a:gd name="connsiteX212" fmla="*/ 336247 w 521003"/>
              <a:gd name="connsiteY212" fmla="*/ 176568 h 327546"/>
              <a:gd name="connsiteX213" fmla="*/ 337782 w 521003"/>
              <a:gd name="connsiteY213" fmla="*/ 174009 h 327546"/>
              <a:gd name="connsiteX214" fmla="*/ 348018 w 521003"/>
              <a:gd name="connsiteY214" fmla="*/ 152514 h 327546"/>
              <a:gd name="connsiteX215" fmla="*/ 371560 w 521003"/>
              <a:gd name="connsiteY215" fmla="*/ 152514 h 327546"/>
              <a:gd name="connsiteX216" fmla="*/ 318846 w 521003"/>
              <a:gd name="connsiteY216" fmla="*/ 216488 h 327546"/>
              <a:gd name="connsiteX217" fmla="*/ 445258 w 521003"/>
              <a:gd name="connsiteY217" fmla="*/ 152514 h 327546"/>
              <a:gd name="connsiteX218" fmla="*/ 418133 w 521003"/>
              <a:gd name="connsiteY218" fmla="*/ 175032 h 327546"/>
              <a:gd name="connsiteX219" fmla="*/ 391008 w 521003"/>
              <a:gd name="connsiteY219" fmla="*/ 152514 h 327546"/>
              <a:gd name="connsiteX220" fmla="*/ 390496 w 521003"/>
              <a:gd name="connsiteY220" fmla="*/ 150466 h 327546"/>
              <a:gd name="connsiteX221" fmla="*/ 396126 w 521003"/>
              <a:gd name="connsiteY221" fmla="*/ 148931 h 327546"/>
              <a:gd name="connsiteX222" fmla="*/ 396126 w 521003"/>
              <a:gd name="connsiteY222" fmla="*/ 148931 h 327546"/>
              <a:gd name="connsiteX223" fmla="*/ 415063 w 521003"/>
              <a:gd name="connsiteY223" fmla="*/ 146884 h 327546"/>
              <a:gd name="connsiteX224" fmla="*/ 420692 w 521003"/>
              <a:gd name="connsiteY224" fmla="*/ 146884 h 327546"/>
              <a:gd name="connsiteX225" fmla="*/ 439628 w 521003"/>
              <a:gd name="connsiteY225" fmla="*/ 148931 h 327546"/>
              <a:gd name="connsiteX226" fmla="*/ 445770 w 521003"/>
              <a:gd name="connsiteY226" fmla="*/ 150466 h 327546"/>
              <a:gd name="connsiteX227" fmla="*/ 445258 w 521003"/>
              <a:gd name="connsiteY227" fmla="*/ 152514 h 327546"/>
              <a:gd name="connsiteX228" fmla="*/ 418133 w 521003"/>
              <a:gd name="connsiteY228" fmla="*/ 142278 h 327546"/>
              <a:gd name="connsiteX229" fmla="*/ 418133 w 521003"/>
              <a:gd name="connsiteY229" fmla="*/ 142278 h 327546"/>
              <a:gd name="connsiteX230" fmla="*/ 367466 w 521003"/>
              <a:gd name="connsiteY230" fmla="*/ 117712 h 327546"/>
              <a:gd name="connsiteX231" fmla="*/ 370537 w 521003"/>
              <a:gd name="connsiteY231" fmla="*/ 110035 h 327546"/>
              <a:gd name="connsiteX232" fmla="*/ 371048 w 521003"/>
              <a:gd name="connsiteY232" fmla="*/ 107988 h 327546"/>
              <a:gd name="connsiteX233" fmla="*/ 371560 w 521003"/>
              <a:gd name="connsiteY233" fmla="*/ 105429 h 327546"/>
              <a:gd name="connsiteX234" fmla="*/ 371560 w 521003"/>
              <a:gd name="connsiteY234" fmla="*/ 104917 h 327546"/>
              <a:gd name="connsiteX235" fmla="*/ 372072 w 521003"/>
              <a:gd name="connsiteY235" fmla="*/ 101335 h 327546"/>
              <a:gd name="connsiteX236" fmla="*/ 372072 w 521003"/>
              <a:gd name="connsiteY236" fmla="*/ 100823 h 327546"/>
              <a:gd name="connsiteX237" fmla="*/ 372584 w 521003"/>
              <a:gd name="connsiteY237" fmla="*/ 98264 h 327546"/>
              <a:gd name="connsiteX238" fmla="*/ 373096 w 521003"/>
              <a:gd name="connsiteY238" fmla="*/ 95705 h 327546"/>
              <a:gd name="connsiteX239" fmla="*/ 373607 w 521003"/>
              <a:gd name="connsiteY239" fmla="*/ 91610 h 327546"/>
              <a:gd name="connsiteX240" fmla="*/ 373607 w 521003"/>
              <a:gd name="connsiteY240" fmla="*/ 87516 h 327546"/>
              <a:gd name="connsiteX241" fmla="*/ 373607 w 521003"/>
              <a:gd name="connsiteY241" fmla="*/ 82910 h 327546"/>
              <a:gd name="connsiteX242" fmla="*/ 373096 w 521003"/>
              <a:gd name="connsiteY242" fmla="*/ 77792 h 327546"/>
              <a:gd name="connsiteX243" fmla="*/ 372072 w 521003"/>
              <a:gd name="connsiteY243" fmla="*/ 72674 h 327546"/>
              <a:gd name="connsiteX244" fmla="*/ 391008 w 521003"/>
              <a:gd name="connsiteY244" fmla="*/ 72674 h 327546"/>
              <a:gd name="connsiteX245" fmla="*/ 393567 w 521003"/>
              <a:gd name="connsiteY245" fmla="*/ 72162 h 327546"/>
              <a:gd name="connsiteX246" fmla="*/ 396126 w 521003"/>
              <a:gd name="connsiteY246" fmla="*/ 71651 h 327546"/>
              <a:gd name="connsiteX247" fmla="*/ 398685 w 521003"/>
              <a:gd name="connsiteY247" fmla="*/ 71139 h 327546"/>
              <a:gd name="connsiteX248" fmla="*/ 399709 w 521003"/>
              <a:gd name="connsiteY248" fmla="*/ 70627 h 327546"/>
              <a:gd name="connsiteX249" fmla="*/ 405850 w 521003"/>
              <a:gd name="connsiteY249" fmla="*/ 69092 h 327546"/>
              <a:gd name="connsiteX250" fmla="*/ 413527 w 521003"/>
              <a:gd name="connsiteY250" fmla="*/ 66021 h 327546"/>
              <a:gd name="connsiteX251" fmla="*/ 418133 w 521003"/>
              <a:gd name="connsiteY251" fmla="*/ 63462 h 327546"/>
              <a:gd name="connsiteX252" fmla="*/ 419669 w 521003"/>
              <a:gd name="connsiteY252" fmla="*/ 62438 h 327546"/>
              <a:gd name="connsiteX253" fmla="*/ 419669 w 521003"/>
              <a:gd name="connsiteY253" fmla="*/ 62438 h 327546"/>
              <a:gd name="connsiteX254" fmla="*/ 425810 w 521003"/>
              <a:gd name="connsiteY254" fmla="*/ 58344 h 327546"/>
              <a:gd name="connsiteX255" fmla="*/ 433999 w 521003"/>
              <a:gd name="connsiteY255" fmla="*/ 51179 h 327546"/>
              <a:gd name="connsiteX256" fmla="*/ 433999 w 521003"/>
              <a:gd name="connsiteY256" fmla="*/ 51179 h 327546"/>
              <a:gd name="connsiteX257" fmla="*/ 435022 w 521003"/>
              <a:gd name="connsiteY257" fmla="*/ 51691 h 327546"/>
              <a:gd name="connsiteX258" fmla="*/ 436046 w 521003"/>
              <a:gd name="connsiteY258" fmla="*/ 52714 h 327546"/>
              <a:gd name="connsiteX259" fmla="*/ 437581 w 521003"/>
              <a:gd name="connsiteY259" fmla="*/ 54250 h 327546"/>
              <a:gd name="connsiteX260" fmla="*/ 441164 w 521003"/>
              <a:gd name="connsiteY260" fmla="*/ 57320 h 327546"/>
              <a:gd name="connsiteX261" fmla="*/ 444235 w 521003"/>
              <a:gd name="connsiteY261" fmla="*/ 59879 h 327546"/>
              <a:gd name="connsiteX262" fmla="*/ 446793 w 521003"/>
              <a:gd name="connsiteY262" fmla="*/ 61927 h 327546"/>
              <a:gd name="connsiteX263" fmla="*/ 449352 w 521003"/>
              <a:gd name="connsiteY263" fmla="*/ 63462 h 327546"/>
              <a:gd name="connsiteX264" fmla="*/ 451911 w 521003"/>
              <a:gd name="connsiteY264" fmla="*/ 64997 h 327546"/>
              <a:gd name="connsiteX265" fmla="*/ 453447 w 521003"/>
              <a:gd name="connsiteY265" fmla="*/ 65509 h 327546"/>
              <a:gd name="connsiteX266" fmla="*/ 456006 w 521003"/>
              <a:gd name="connsiteY266" fmla="*/ 67045 h 327546"/>
              <a:gd name="connsiteX267" fmla="*/ 458053 w 521003"/>
              <a:gd name="connsiteY267" fmla="*/ 68068 h 327546"/>
              <a:gd name="connsiteX268" fmla="*/ 460612 w 521003"/>
              <a:gd name="connsiteY268" fmla="*/ 69092 h 327546"/>
              <a:gd name="connsiteX269" fmla="*/ 464706 w 521003"/>
              <a:gd name="connsiteY269" fmla="*/ 70627 h 327546"/>
              <a:gd name="connsiteX270" fmla="*/ 464194 w 521003"/>
              <a:gd name="connsiteY270" fmla="*/ 73186 h 327546"/>
              <a:gd name="connsiteX271" fmla="*/ 463171 w 521003"/>
              <a:gd name="connsiteY271" fmla="*/ 78304 h 327546"/>
              <a:gd name="connsiteX272" fmla="*/ 462659 w 521003"/>
              <a:gd name="connsiteY272" fmla="*/ 83422 h 327546"/>
              <a:gd name="connsiteX273" fmla="*/ 462659 w 521003"/>
              <a:gd name="connsiteY273" fmla="*/ 88028 h 327546"/>
              <a:gd name="connsiteX274" fmla="*/ 462659 w 521003"/>
              <a:gd name="connsiteY274" fmla="*/ 91610 h 327546"/>
              <a:gd name="connsiteX275" fmla="*/ 462659 w 521003"/>
              <a:gd name="connsiteY275" fmla="*/ 93658 h 327546"/>
              <a:gd name="connsiteX276" fmla="*/ 462659 w 521003"/>
              <a:gd name="connsiteY276" fmla="*/ 96217 h 327546"/>
              <a:gd name="connsiteX277" fmla="*/ 463171 w 521003"/>
              <a:gd name="connsiteY277" fmla="*/ 100311 h 327546"/>
              <a:gd name="connsiteX278" fmla="*/ 464194 w 521003"/>
              <a:gd name="connsiteY278" fmla="*/ 104405 h 327546"/>
              <a:gd name="connsiteX279" fmla="*/ 465218 w 521003"/>
              <a:gd name="connsiteY279" fmla="*/ 108499 h 327546"/>
              <a:gd name="connsiteX280" fmla="*/ 466242 w 521003"/>
              <a:gd name="connsiteY280" fmla="*/ 112594 h 327546"/>
              <a:gd name="connsiteX281" fmla="*/ 467265 w 521003"/>
              <a:gd name="connsiteY281" fmla="*/ 115665 h 327546"/>
              <a:gd name="connsiteX282" fmla="*/ 467777 w 521003"/>
              <a:gd name="connsiteY282" fmla="*/ 117712 h 327546"/>
              <a:gd name="connsiteX283" fmla="*/ 418133 w 521003"/>
              <a:gd name="connsiteY283" fmla="*/ 142278 h 3275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Lst>
            <a:rect l="l" t="t" r="r" b="b"/>
            <a:pathLst>
              <a:path w="521003" h="327546">
                <a:moveTo>
                  <a:pt x="521003" y="242077"/>
                </a:moveTo>
                <a:cubicBezTo>
                  <a:pt x="521003" y="203693"/>
                  <a:pt x="498996" y="168891"/>
                  <a:pt x="465218" y="152514"/>
                </a:cubicBezTo>
                <a:lnTo>
                  <a:pt x="492343" y="152514"/>
                </a:lnTo>
                <a:lnTo>
                  <a:pt x="492343" y="78304"/>
                </a:lnTo>
                <a:cubicBezTo>
                  <a:pt x="492343" y="76769"/>
                  <a:pt x="492343" y="74721"/>
                  <a:pt x="492343" y="73186"/>
                </a:cubicBezTo>
                <a:cubicBezTo>
                  <a:pt x="492343" y="71651"/>
                  <a:pt x="491831" y="69603"/>
                  <a:pt x="491831" y="68068"/>
                </a:cubicBezTo>
                <a:cubicBezTo>
                  <a:pt x="490808" y="60391"/>
                  <a:pt x="488760" y="53226"/>
                  <a:pt x="485178" y="46573"/>
                </a:cubicBezTo>
                <a:cubicBezTo>
                  <a:pt x="478525" y="32754"/>
                  <a:pt x="467777" y="21495"/>
                  <a:pt x="454470" y="13818"/>
                </a:cubicBezTo>
                <a:cubicBezTo>
                  <a:pt x="453959" y="13306"/>
                  <a:pt x="453447" y="13306"/>
                  <a:pt x="452935" y="12795"/>
                </a:cubicBezTo>
                <a:lnTo>
                  <a:pt x="450888" y="11771"/>
                </a:lnTo>
                <a:cubicBezTo>
                  <a:pt x="448841" y="10747"/>
                  <a:pt x="446793" y="10236"/>
                  <a:pt x="445258" y="9212"/>
                </a:cubicBezTo>
                <a:cubicBezTo>
                  <a:pt x="436558" y="5630"/>
                  <a:pt x="427345" y="4094"/>
                  <a:pt x="418133" y="4094"/>
                </a:cubicBezTo>
                <a:cubicBezTo>
                  <a:pt x="389473" y="4094"/>
                  <a:pt x="363883" y="19960"/>
                  <a:pt x="351600" y="45549"/>
                </a:cubicBezTo>
                <a:cubicBezTo>
                  <a:pt x="349041" y="50155"/>
                  <a:pt x="347506" y="55273"/>
                  <a:pt x="346482" y="59879"/>
                </a:cubicBezTo>
                <a:cubicBezTo>
                  <a:pt x="345459" y="63974"/>
                  <a:pt x="344947" y="68580"/>
                  <a:pt x="344435" y="72674"/>
                </a:cubicBezTo>
                <a:cubicBezTo>
                  <a:pt x="344435" y="74210"/>
                  <a:pt x="344435" y="76257"/>
                  <a:pt x="344435" y="77792"/>
                </a:cubicBezTo>
                <a:lnTo>
                  <a:pt x="344435" y="91099"/>
                </a:lnTo>
                <a:cubicBezTo>
                  <a:pt x="343923" y="90587"/>
                  <a:pt x="343923" y="89563"/>
                  <a:pt x="343412" y="89051"/>
                </a:cubicBezTo>
                <a:cubicBezTo>
                  <a:pt x="335735" y="72674"/>
                  <a:pt x="322940" y="59368"/>
                  <a:pt x="307075" y="50667"/>
                </a:cubicBezTo>
                <a:cubicBezTo>
                  <a:pt x="306051" y="50155"/>
                  <a:pt x="304516" y="49132"/>
                  <a:pt x="303492" y="48620"/>
                </a:cubicBezTo>
                <a:cubicBezTo>
                  <a:pt x="301445" y="47597"/>
                  <a:pt x="299398" y="47085"/>
                  <a:pt x="297862" y="46061"/>
                </a:cubicBezTo>
                <a:cubicBezTo>
                  <a:pt x="287626" y="41967"/>
                  <a:pt x="276367" y="39408"/>
                  <a:pt x="265108" y="39408"/>
                </a:cubicBezTo>
                <a:cubicBezTo>
                  <a:pt x="231841" y="39408"/>
                  <a:pt x="201646" y="58344"/>
                  <a:pt x="186804" y="88028"/>
                </a:cubicBezTo>
                <a:cubicBezTo>
                  <a:pt x="184245" y="93658"/>
                  <a:pt x="182198" y="99287"/>
                  <a:pt x="180662" y="104917"/>
                </a:cubicBezTo>
                <a:cubicBezTo>
                  <a:pt x="179127" y="111570"/>
                  <a:pt x="178103" y="118735"/>
                  <a:pt x="178103" y="125900"/>
                </a:cubicBezTo>
                <a:cubicBezTo>
                  <a:pt x="178103" y="142790"/>
                  <a:pt x="183221" y="159167"/>
                  <a:pt x="192433" y="173497"/>
                </a:cubicBezTo>
                <a:cubicBezTo>
                  <a:pt x="192945" y="174521"/>
                  <a:pt x="193457" y="175032"/>
                  <a:pt x="193969" y="176056"/>
                </a:cubicBezTo>
                <a:cubicBezTo>
                  <a:pt x="195504" y="178103"/>
                  <a:pt x="197551" y="180662"/>
                  <a:pt x="199087" y="182709"/>
                </a:cubicBezTo>
                <a:cubicBezTo>
                  <a:pt x="208299" y="193457"/>
                  <a:pt x="220070" y="201645"/>
                  <a:pt x="233377" y="206763"/>
                </a:cubicBezTo>
                <a:cubicBezTo>
                  <a:pt x="224676" y="209322"/>
                  <a:pt x="215976" y="212393"/>
                  <a:pt x="208299" y="216488"/>
                </a:cubicBezTo>
                <a:cubicBezTo>
                  <a:pt x="197040" y="183733"/>
                  <a:pt x="170426" y="158143"/>
                  <a:pt x="137160" y="148419"/>
                </a:cubicBezTo>
                <a:cubicBezTo>
                  <a:pt x="147908" y="143813"/>
                  <a:pt x="157632" y="137160"/>
                  <a:pt x="165308" y="127948"/>
                </a:cubicBezTo>
                <a:cubicBezTo>
                  <a:pt x="167356" y="125900"/>
                  <a:pt x="168891" y="123342"/>
                  <a:pt x="170426" y="121294"/>
                </a:cubicBezTo>
                <a:cubicBezTo>
                  <a:pt x="170938" y="120271"/>
                  <a:pt x="171450" y="119759"/>
                  <a:pt x="171962" y="118735"/>
                </a:cubicBezTo>
                <a:cubicBezTo>
                  <a:pt x="179639" y="106452"/>
                  <a:pt x="184245" y="92122"/>
                  <a:pt x="184245" y="77280"/>
                </a:cubicBezTo>
                <a:cubicBezTo>
                  <a:pt x="184245" y="73698"/>
                  <a:pt x="184245" y="70115"/>
                  <a:pt x="183221" y="66533"/>
                </a:cubicBezTo>
                <a:cubicBezTo>
                  <a:pt x="182198" y="58856"/>
                  <a:pt x="180150" y="51179"/>
                  <a:pt x="176568" y="44014"/>
                </a:cubicBezTo>
                <a:cubicBezTo>
                  <a:pt x="169915" y="29684"/>
                  <a:pt x="158655" y="17913"/>
                  <a:pt x="144837" y="10236"/>
                </a:cubicBezTo>
                <a:cubicBezTo>
                  <a:pt x="143813" y="9724"/>
                  <a:pt x="142278" y="8700"/>
                  <a:pt x="141254" y="8189"/>
                </a:cubicBezTo>
                <a:cubicBezTo>
                  <a:pt x="139207" y="7165"/>
                  <a:pt x="137672" y="6141"/>
                  <a:pt x="135625" y="5630"/>
                </a:cubicBezTo>
                <a:cubicBezTo>
                  <a:pt x="126412" y="2047"/>
                  <a:pt x="117200" y="0"/>
                  <a:pt x="107476" y="0"/>
                </a:cubicBezTo>
                <a:cubicBezTo>
                  <a:pt x="77792" y="0"/>
                  <a:pt x="51691" y="16377"/>
                  <a:pt x="38384" y="42990"/>
                </a:cubicBezTo>
                <a:cubicBezTo>
                  <a:pt x="35825" y="47597"/>
                  <a:pt x="34290" y="52714"/>
                  <a:pt x="32755" y="57832"/>
                </a:cubicBezTo>
                <a:cubicBezTo>
                  <a:pt x="31219" y="63974"/>
                  <a:pt x="30196" y="70115"/>
                  <a:pt x="30196" y="76257"/>
                </a:cubicBezTo>
                <a:cubicBezTo>
                  <a:pt x="30196" y="91099"/>
                  <a:pt x="34290" y="105941"/>
                  <a:pt x="42479" y="118224"/>
                </a:cubicBezTo>
                <a:cubicBezTo>
                  <a:pt x="42990" y="119247"/>
                  <a:pt x="43502" y="119759"/>
                  <a:pt x="44014" y="120783"/>
                </a:cubicBezTo>
                <a:cubicBezTo>
                  <a:pt x="45549" y="122830"/>
                  <a:pt x="47597" y="125389"/>
                  <a:pt x="49132" y="127436"/>
                </a:cubicBezTo>
                <a:cubicBezTo>
                  <a:pt x="56809" y="136136"/>
                  <a:pt x="66533" y="142790"/>
                  <a:pt x="76769" y="147396"/>
                </a:cubicBezTo>
                <a:cubicBezTo>
                  <a:pt x="32243" y="160191"/>
                  <a:pt x="0" y="201134"/>
                  <a:pt x="0" y="249754"/>
                </a:cubicBezTo>
                <a:lnTo>
                  <a:pt x="0" y="254872"/>
                </a:lnTo>
                <a:lnTo>
                  <a:pt x="163773" y="254872"/>
                </a:lnTo>
                <a:cubicBezTo>
                  <a:pt x="150978" y="274320"/>
                  <a:pt x="143301" y="297350"/>
                  <a:pt x="143301" y="322428"/>
                </a:cubicBezTo>
                <a:lnTo>
                  <a:pt x="143301" y="327546"/>
                </a:lnTo>
                <a:lnTo>
                  <a:pt x="385379" y="327546"/>
                </a:lnTo>
                <a:lnTo>
                  <a:pt x="385379" y="322428"/>
                </a:lnTo>
                <a:cubicBezTo>
                  <a:pt x="385379" y="294280"/>
                  <a:pt x="375655" y="268690"/>
                  <a:pt x="359789" y="248219"/>
                </a:cubicBezTo>
                <a:lnTo>
                  <a:pt x="521003" y="248219"/>
                </a:lnTo>
                <a:lnTo>
                  <a:pt x="521003" y="242077"/>
                </a:lnTo>
                <a:close/>
                <a:moveTo>
                  <a:pt x="54250" y="119759"/>
                </a:moveTo>
                <a:cubicBezTo>
                  <a:pt x="54250" y="119759"/>
                  <a:pt x="54250" y="119247"/>
                  <a:pt x="54250" y="119759"/>
                </a:cubicBezTo>
                <a:cubicBezTo>
                  <a:pt x="54762" y="118735"/>
                  <a:pt x="54762" y="118224"/>
                  <a:pt x="55273" y="117200"/>
                </a:cubicBezTo>
                <a:cubicBezTo>
                  <a:pt x="55785" y="116176"/>
                  <a:pt x="55785" y="115153"/>
                  <a:pt x="56297" y="114641"/>
                </a:cubicBezTo>
                <a:cubicBezTo>
                  <a:pt x="56297" y="114641"/>
                  <a:pt x="56297" y="114641"/>
                  <a:pt x="56297" y="114129"/>
                </a:cubicBezTo>
                <a:cubicBezTo>
                  <a:pt x="56809" y="112594"/>
                  <a:pt x="57321" y="111570"/>
                  <a:pt x="57832" y="110035"/>
                </a:cubicBezTo>
                <a:cubicBezTo>
                  <a:pt x="58344" y="108499"/>
                  <a:pt x="58344" y="107476"/>
                  <a:pt x="58856" y="105941"/>
                </a:cubicBezTo>
                <a:cubicBezTo>
                  <a:pt x="58856" y="105941"/>
                  <a:pt x="58856" y="105429"/>
                  <a:pt x="58856" y="105429"/>
                </a:cubicBezTo>
                <a:cubicBezTo>
                  <a:pt x="58856" y="104405"/>
                  <a:pt x="59368" y="103894"/>
                  <a:pt x="59368" y="102870"/>
                </a:cubicBezTo>
                <a:cubicBezTo>
                  <a:pt x="59368" y="101846"/>
                  <a:pt x="59880" y="101335"/>
                  <a:pt x="59880" y="100311"/>
                </a:cubicBezTo>
                <a:cubicBezTo>
                  <a:pt x="59880" y="99287"/>
                  <a:pt x="60391" y="98264"/>
                  <a:pt x="60391" y="97240"/>
                </a:cubicBezTo>
                <a:cubicBezTo>
                  <a:pt x="60391" y="96217"/>
                  <a:pt x="60391" y="95193"/>
                  <a:pt x="60903" y="94681"/>
                </a:cubicBezTo>
                <a:cubicBezTo>
                  <a:pt x="60903" y="92634"/>
                  <a:pt x="60903" y="90587"/>
                  <a:pt x="60903" y="88540"/>
                </a:cubicBezTo>
                <a:cubicBezTo>
                  <a:pt x="60903" y="83422"/>
                  <a:pt x="60391" y="78304"/>
                  <a:pt x="59368" y="73186"/>
                </a:cubicBezTo>
                <a:cubicBezTo>
                  <a:pt x="62438" y="73698"/>
                  <a:pt x="66021" y="73698"/>
                  <a:pt x="69092" y="73698"/>
                </a:cubicBezTo>
                <a:cubicBezTo>
                  <a:pt x="70627" y="73698"/>
                  <a:pt x="71651" y="73698"/>
                  <a:pt x="73186" y="73698"/>
                </a:cubicBezTo>
                <a:cubicBezTo>
                  <a:pt x="75745" y="73698"/>
                  <a:pt x="78304" y="73186"/>
                  <a:pt x="80863" y="73186"/>
                </a:cubicBezTo>
                <a:cubicBezTo>
                  <a:pt x="82398" y="73186"/>
                  <a:pt x="83422" y="72674"/>
                  <a:pt x="84446" y="72674"/>
                </a:cubicBezTo>
                <a:cubicBezTo>
                  <a:pt x="85981" y="72162"/>
                  <a:pt x="87004" y="72162"/>
                  <a:pt x="88028" y="71651"/>
                </a:cubicBezTo>
                <a:cubicBezTo>
                  <a:pt x="90587" y="71139"/>
                  <a:pt x="93146" y="70115"/>
                  <a:pt x="95193" y="69603"/>
                </a:cubicBezTo>
                <a:cubicBezTo>
                  <a:pt x="96217" y="69092"/>
                  <a:pt x="97752" y="68580"/>
                  <a:pt x="98776" y="68068"/>
                </a:cubicBezTo>
                <a:cubicBezTo>
                  <a:pt x="101335" y="67045"/>
                  <a:pt x="103382" y="66021"/>
                  <a:pt x="105429" y="64997"/>
                </a:cubicBezTo>
                <a:cubicBezTo>
                  <a:pt x="105941" y="64997"/>
                  <a:pt x="106452" y="64486"/>
                  <a:pt x="106964" y="63974"/>
                </a:cubicBezTo>
                <a:lnTo>
                  <a:pt x="106964" y="63974"/>
                </a:lnTo>
                <a:cubicBezTo>
                  <a:pt x="107476" y="63974"/>
                  <a:pt x="107988" y="63462"/>
                  <a:pt x="108500" y="62950"/>
                </a:cubicBezTo>
                <a:cubicBezTo>
                  <a:pt x="109523" y="62438"/>
                  <a:pt x="111059" y="61415"/>
                  <a:pt x="112082" y="60903"/>
                </a:cubicBezTo>
                <a:cubicBezTo>
                  <a:pt x="113106" y="60391"/>
                  <a:pt x="114129" y="59368"/>
                  <a:pt x="114641" y="58856"/>
                </a:cubicBezTo>
                <a:cubicBezTo>
                  <a:pt x="115665" y="57832"/>
                  <a:pt x="117200" y="57320"/>
                  <a:pt x="118224" y="56297"/>
                </a:cubicBezTo>
                <a:cubicBezTo>
                  <a:pt x="119247" y="55273"/>
                  <a:pt x="120271" y="54761"/>
                  <a:pt x="121294" y="53738"/>
                </a:cubicBezTo>
                <a:lnTo>
                  <a:pt x="121294" y="53738"/>
                </a:lnTo>
                <a:cubicBezTo>
                  <a:pt x="122318" y="52714"/>
                  <a:pt x="123342" y="52202"/>
                  <a:pt x="123853" y="51179"/>
                </a:cubicBezTo>
                <a:lnTo>
                  <a:pt x="123853" y="51179"/>
                </a:lnTo>
                <a:cubicBezTo>
                  <a:pt x="124877" y="52202"/>
                  <a:pt x="125901" y="53226"/>
                  <a:pt x="127436" y="54250"/>
                </a:cubicBezTo>
                <a:cubicBezTo>
                  <a:pt x="128460" y="55273"/>
                  <a:pt x="129483" y="56297"/>
                  <a:pt x="131019" y="56809"/>
                </a:cubicBezTo>
                <a:cubicBezTo>
                  <a:pt x="131019" y="56809"/>
                  <a:pt x="131019" y="56809"/>
                  <a:pt x="131530" y="57320"/>
                </a:cubicBezTo>
                <a:cubicBezTo>
                  <a:pt x="132554" y="58344"/>
                  <a:pt x="134089" y="59368"/>
                  <a:pt x="135113" y="59879"/>
                </a:cubicBezTo>
                <a:cubicBezTo>
                  <a:pt x="136136" y="60391"/>
                  <a:pt x="137160" y="61415"/>
                  <a:pt x="138184" y="61927"/>
                </a:cubicBezTo>
                <a:cubicBezTo>
                  <a:pt x="138695" y="62438"/>
                  <a:pt x="139207" y="62950"/>
                  <a:pt x="140231" y="62950"/>
                </a:cubicBezTo>
                <a:cubicBezTo>
                  <a:pt x="141254" y="63462"/>
                  <a:pt x="141766" y="63974"/>
                  <a:pt x="142790" y="64486"/>
                </a:cubicBezTo>
                <a:cubicBezTo>
                  <a:pt x="143301" y="64997"/>
                  <a:pt x="143813" y="64997"/>
                  <a:pt x="144325" y="65509"/>
                </a:cubicBezTo>
                <a:cubicBezTo>
                  <a:pt x="145349" y="66021"/>
                  <a:pt x="145860" y="66533"/>
                  <a:pt x="146884" y="67045"/>
                </a:cubicBezTo>
                <a:cubicBezTo>
                  <a:pt x="147908" y="67556"/>
                  <a:pt x="148931" y="68068"/>
                  <a:pt x="149955" y="68580"/>
                </a:cubicBezTo>
                <a:cubicBezTo>
                  <a:pt x="152002" y="69603"/>
                  <a:pt x="154049" y="70115"/>
                  <a:pt x="156096" y="70627"/>
                </a:cubicBezTo>
                <a:cubicBezTo>
                  <a:pt x="154561" y="76769"/>
                  <a:pt x="154049" y="82910"/>
                  <a:pt x="154049" y="89051"/>
                </a:cubicBezTo>
                <a:cubicBezTo>
                  <a:pt x="154049" y="90587"/>
                  <a:pt x="154049" y="91610"/>
                  <a:pt x="154049" y="93146"/>
                </a:cubicBezTo>
                <a:cubicBezTo>
                  <a:pt x="154049" y="94681"/>
                  <a:pt x="154049" y="95705"/>
                  <a:pt x="154561" y="97240"/>
                </a:cubicBezTo>
                <a:cubicBezTo>
                  <a:pt x="154561" y="97752"/>
                  <a:pt x="154561" y="98776"/>
                  <a:pt x="154561" y="99799"/>
                </a:cubicBezTo>
                <a:cubicBezTo>
                  <a:pt x="154561" y="100823"/>
                  <a:pt x="155073" y="101335"/>
                  <a:pt x="155073" y="102358"/>
                </a:cubicBezTo>
                <a:cubicBezTo>
                  <a:pt x="155073" y="103894"/>
                  <a:pt x="155584" y="104917"/>
                  <a:pt x="156096" y="106452"/>
                </a:cubicBezTo>
                <a:cubicBezTo>
                  <a:pt x="156096" y="107476"/>
                  <a:pt x="156608" y="109011"/>
                  <a:pt x="157120" y="110035"/>
                </a:cubicBezTo>
                <a:cubicBezTo>
                  <a:pt x="157120" y="111058"/>
                  <a:pt x="157632" y="112082"/>
                  <a:pt x="158143" y="113106"/>
                </a:cubicBezTo>
                <a:cubicBezTo>
                  <a:pt x="158655" y="114129"/>
                  <a:pt x="158655" y="115153"/>
                  <a:pt x="159167" y="115665"/>
                </a:cubicBezTo>
                <a:cubicBezTo>
                  <a:pt x="159679" y="117200"/>
                  <a:pt x="160191" y="118224"/>
                  <a:pt x="160702" y="119247"/>
                </a:cubicBezTo>
                <a:cubicBezTo>
                  <a:pt x="148931" y="134601"/>
                  <a:pt x="131019" y="144325"/>
                  <a:pt x="111570" y="145348"/>
                </a:cubicBezTo>
                <a:lnTo>
                  <a:pt x="111059" y="145348"/>
                </a:lnTo>
                <a:cubicBezTo>
                  <a:pt x="110035" y="145348"/>
                  <a:pt x="109011" y="145348"/>
                  <a:pt x="107988" y="145348"/>
                </a:cubicBezTo>
                <a:lnTo>
                  <a:pt x="107988" y="145348"/>
                </a:lnTo>
                <a:cubicBezTo>
                  <a:pt x="106452" y="145348"/>
                  <a:pt x="105429" y="145348"/>
                  <a:pt x="103894" y="145348"/>
                </a:cubicBezTo>
                <a:cubicBezTo>
                  <a:pt x="103894" y="145348"/>
                  <a:pt x="103894" y="145348"/>
                  <a:pt x="103894" y="145348"/>
                </a:cubicBezTo>
                <a:cubicBezTo>
                  <a:pt x="83934" y="143813"/>
                  <a:pt x="66021" y="134601"/>
                  <a:pt x="54250" y="119759"/>
                </a:cubicBezTo>
                <a:close/>
                <a:moveTo>
                  <a:pt x="127436" y="215464"/>
                </a:moveTo>
                <a:lnTo>
                  <a:pt x="106964" y="228259"/>
                </a:lnTo>
                <a:lnTo>
                  <a:pt x="86493" y="215464"/>
                </a:lnTo>
                <a:lnTo>
                  <a:pt x="92122" y="161726"/>
                </a:lnTo>
                <a:lnTo>
                  <a:pt x="81375" y="150978"/>
                </a:lnTo>
                <a:cubicBezTo>
                  <a:pt x="84446" y="152002"/>
                  <a:pt x="88028" y="153025"/>
                  <a:pt x="91611" y="154049"/>
                </a:cubicBezTo>
                <a:cubicBezTo>
                  <a:pt x="92122" y="154049"/>
                  <a:pt x="92634" y="154049"/>
                  <a:pt x="93146" y="154561"/>
                </a:cubicBezTo>
                <a:cubicBezTo>
                  <a:pt x="95705" y="155073"/>
                  <a:pt x="97752" y="155073"/>
                  <a:pt x="100311" y="155584"/>
                </a:cubicBezTo>
                <a:cubicBezTo>
                  <a:pt x="101335" y="155584"/>
                  <a:pt x="102358" y="155584"/>
                  <a:pt x="103382" y="155584"/>
                </a:cubicBezTo>
                <a:lnTo>
                  <a:pt x="103894" y="155584"/>
                </a:lnTo>
                <a:cubicBezTo>
                  <a:pt x="104917" y="155584"/>
                  <a:pt x="105941" y="155584"/>
                  <a:pt x="107476" y="155584"/>
                </a:cubicBezTo>
                <a:cubicBezTo>
                  <a:pt x="108500" y="155584"/>
                  <a:pt x="109523" y="155584"/>
                  <a:pt x="110547" y="155584"/>
                </a:cubicBezTo>
                <a:cubicBezTo>
                  <a:pt x="112082" y="155584"/>
                  <a:pt x="113106" y="155584"/>
                  <a:pt x="114641" y="155584"/>
                </a:cubicBezTo>
                <a:cubicBezTo>
                  <a:pt x="117200" y="155584"/>
                  <a:pt x="119247" y="155073"/>
                  <a:pt x="121806" y="154561"/>
                </a:cubicBezTo>
                <a:cubicBezTo>
                  <a:pt x="122318" y="154561"/>
                  <a:pt x="122830" y="154561"/>
                  <a:pt x="123342" y="154049"/>
                </a:cubicBezTo>
                <a:lnTo>
                  <a:pt x="123342" y="154049"/>
                </a:lnTo>
                <a:cubicBezTo>
                  <a:pt x="126924" y="153537"/>
                  <a:pt x="129995" y="152514"/>
                  <a:pt x="133577" y="150978"/>
                </a:cubicBezTo>
                <a:lnTo>
                  <a:pt x="122318" y="161726"/>
                </a:lnTo>
                <a:lnTo>
                  <a:pt x="127436" y="215464"/>
                </a:lnTo>
                <a:close/>
                <a:moveTo>
                  <a:pt x="203693" y="173497"/>
                </a:moveTo>
                <a:cubicBezTo>
                  <a:pt x="203693" y="172985"/>
                  <a:pt x="204205" y="172985"/>
                  <a:pt x="204205" y="172473"/>
                </a:cubicBezTo>
                <a:cubicBezTo>
                  <a:pt x="204205" y="171962"/>
                  <a:pt x="204716" y="171962"/>
                  <a:pt x="204716" y="171450"/>
                </a:cubicBezTo>
                <a:cubicBezTo>
                  <a:pt x="205228" y="170426"/>
                  <a:pt x="205228" y="169914"/>
                  <a:pt x="205740" y="168891"/>
                </a:cubicBezTo>
                <a:cubicBezTo>
                  <a:pt x="205740" y="168891"/>
                  <a:pt x="205740" y="168379"/>
                  <a:pt x="205740" y="168379"/>
                </a:cubicBezTo>
                <a:cubicBezTo>
                  <a:pt x="205740" y="167867"/>
                  <a:pt x="206252" y="166844"/>
                  <a:pt x="206252" y="166332"/>
                </a:cubicBezTo>
                <a:cubicBezTo>
                  <a:pt x="207275" y="163773"/>
                  <a:pt x="207787" y="161726"/>
                  <a:pt x="208299" y="159167"/>
                </a:cubicBezTo>
                <a:cubicBezTo>
                  <a:pt x="208299" y="158143"/>
                  <a:pt x="208811" y="157120"/>
                  <a:pt x="208811" y="156608"/>
                </a:cubicBezTo>
                <a:cubicBezTo>
                  <a:pt x="209322" y="154049"/>
                  <a:pt x="209834" y="150978"/>
                  <a:pt x="210346" y="147907"/>
                </a:cubicBezTo>
                <a:cubicBezTo>
                  <a:pt x="210346" y="146372"/>
                  <a:pt x="210858" y="144837"/>
                  <a:pt x="210858" y="143302"/>
                </a:cubicBezTo>
                <a:cubicBezTo>
                  <a:pt x="210858" y="141766"/>
                  <a:pt x="210858" y="139719"/>
                  <a:pt x="210858" y="138184"/>
                </a:cubicBezTo>
                <a:cubicBezTo>
                  <a:pt x="210858" y="132042"/>
                  <a:pt x="210346" y="125389"/>
                  <a:pt x="208811" y="119759"/>
                </a:cubicBezTo>
                <a:cubicBezTo>
                  <a:pt x="212905" y="120271"/>
                  <a:pt x="216999" y="120783"/>
                  <a:pt x="221094" y="120783"/>
                </a:cubicBezTo>
                <a:cubicBezTo>
                  <a:pt x="223141" y="120783"/>
                  <a:pt x="225188" y="120783"/>
                  <a:pt x="227747" y="120783"/>
                </a:cubicBezTo>
                <a:cubicBezTo>
                  <a:pt x="228770" y="120783"/>
                  <a:pt x="229282" y="120783"/>
                  <a:pt x="230306" y="120783"/>
                </a:cubicBezTo>
                <a:cubicBezTo>
                  <a:pt x="231841" y="120783"/>
                  <a:pt x="233377" y="120271"/>
                  <a:pt x="234912" y="120271"/>
                </a:cubicBezTo>
                <a:cubicBezTo>
                  <a:pt x="235936" y="120271"/>
                  <a:pt x="236959" y="119759"/>
                  <a:pt x="237983" y="119759"/>
                </a:cubicBezTo>
                <a:cubicBezTo>
                  <a:pt x="240030" y="119247"/>
                  <a:pt x="241565" y="118735"/>
                  <a:pt x="243613" y="118735"/>
                </a:cubicBezTo>
                <a:cubicBezTo>
                  <a:pt x="244124" y="118735"/>
                  <a:pt x="245148" y="118224"/>
                  <a:pt x="245660" y="118224"/>
                </a:cubicBezTo>
                <a:cubicBezTo>
                  <a:pt x="246172" y="118224"/>
                  <a:pt x="246683" y="117712"/>
                  <a:pt x="247707" y="117712"/>
                </a:cubicBezTo>
                <a:cubicBezTo>
                  <a:pt x="249242" y="117200"/>
                  <a:pt x="250266" y="116688"/>
                  <a:pt x="251801" y="116176"/>
                </a:cubicBezTo>
                <a:cubicBezTo>
                  <a:pt x="253337" y="115665"/>
                  <a:pt x="254360" y="115153"/>
                  <a:pt x="255896" y="114641"/>
                </a:cubicBezTo>
                <a:cubicBezTo>
                  <a:pt x="257431" y="114129"/>
                  <a:pt x="258454" y="113617"/>
                  <a:pt x="259990" y="112594"/>
                </a:cubicBezTo>
                <a:cubicBezTo>
                  <a:pt x="261525" y="111570"/>
                  <a:pt x="263572" y="111058"/>
                  <a:pt x="265108" y="110035"/>
                </a:cubicBezTo>
                <a:cubicBezTo>
                  <a:pt x="265620" y="110035"/>
                  <a:pt x="266131" y="109523"/>
                  <a:pt x="266131" y="109523"/>
                </a:cubicBezTo>
                <a:cubicBezTo>
                  <a:pt x="266643" y="109523"/>
                  <a:pt x="267155" y="109011"/>
                  <a:pt x="267155" y="109011"/>
                </a:cubicBezTo>
                <a:cubicBezTo>
                  <a:pt x="268178" y="108499"/>
                  <a:pt x="269714" y="107476"/>
                  <a:pt x="270737" y="106452"/>
                </a:cubicBezTo>
                <a:cubicBezTo>
                  <a:pt x="271761" y="105429"/>
                  <a:pt x="273296" y="104917"/>
                  <a:pt x="274320" y="103894"/>
                </a:cubicBezTo>
                <a:cubicBezTo>
                  <a:pt x="275344" y="102870"/>
                  <a:pt x="276879" y="101846"/>
                  <a:pt x="277902" y="101335"/>
                </a:cubicBezTo>
                <a:cubicBezTo>
                  <a:pt x="278926" y="100311"/>
                  <a:pt x="280461" y="99287"/>
                  <a:pt x="281485" y="97752"/>
                </a:cubicBezTo>
                <a:cubicBezTo>
                  <a:pt x="282509" y="96728"/>
                  <a:pt x="283532" y="96217"/>
                  <a:pt x="284044" y="95193"/>
                </a:cubicBezTo>
                <a:lnTo>
                  <a:pt x="284044" y="95193"/>
                </a:lnTo>
                <a:cubicBezTo>
                  <a:pt x="285068" y="96217"/>
                  <a:pt x="286091" y="97240"/>
                  <a:pt x="287626" y="98264"/>
                </a:cubicBezTo>
                <a:cubicBezTo>
                  <a:pt x="287626" y="98776"/>
                  <a:pt x="288138" y="98776"/>
                  <a:pt x="288650" y="99287"/>
                </a:cubicBezTo>
                <a:cubicBezTo>
                  <a:pt x="289674" y="100311"/>
                  <a:pt x="290697" y="101335"/>
                  <a:pt x="291721" y="101846"/>
                </a:cubicBezTo>
                <a:cubicBezTo>
                  <a:pt x="292233" y="102358"/>
                  <a:pt x="292233" y="102358"/>
                  <a:pt x="292744" y="102870"/>
                </a:cubicBezTo>
                <a:cubicBezTo>
                  <a:pt x="293256" y="103382"/>
                  <a:pt x="293768" y="103894"/>
                  <a:pt x="294280" y="103894"/>
                </a:cubicBezTo>
                <a:cubicBezTo>
                  <a:pt x="296839" y="105941"/>
                  <a:pt x="299910" y="107988"/>
                  <a:pt x="302980" y="109523"/>
                </a:cubicBezTo>
                <a:cubicBezTo>
                  <a:pt x="304004" y="110035"/>
                  <a:pt x="305539" y="111058"/>
                  <a:pt x="306563" y="111570"/>
                </a:cubicBezTo>
                <a:cubicBezTo>
                  <a:pt x="307586" y="112082"/>
                  <a:pt x="309122" y="113106"/>
                  <a:pt x="310145" y="113617"/>
                </a:cubicBezTo>
                <a:cubicBezTo>
                  <a:pt x="313728" y="115153"/>
                  <a:pt x="317822" y="116688"/>
                  <a:pt x="321917" y="118224"/>
                </a:cubicBezTo>
                <a:cubicBezTo>
                  <a:pt x="320381" y="125389"/>
                  <a:pt x="319358" y="132554"/>
                  <a:pt x="319358" y="139719"/>
                </a:cubicBezTo>
                <a:cubicBezTo>
                  <a:pt x="319358" y="142790"/>
                  <a:pt x="319358" y="145860"/>
                  <a:pt x="319869" y="148931"/>
                </a:cubicBezTo>
                <a:cubicBezTo>
                  <a:pt x="319869" y="149443"/>
                  <a:pt x="319869" y="150466"/>
                  <a:pt x="319869" y="150978"/>
                </a:cubicBezTo>
                <a:cubicBezTo>
                  <a:pt x="319869" y="151490"/>
                  <a:pt x="319869" y="152514"/>
                  <a:pt x="320381" y="153025"/>
                </a:cubicBezTo>
                <a:cubicBezTo>
                  <a:pt x="320381" y="154049"/>
                  <a:pt x="320893" y="154561"/>
                  <a:pt x="320893" y="155584"/>
                </a:cubicBezTo>
                <a:cubicBezTo>
                  <a:pt x="320893" y="156608"/>
                  <a:pt x="321405" y="157120"/>
                  <a:pt x="321405" y="158143"/>
                </a:cubicBezTo>
                <a:cubicBezTo>
                  <a:pt x="321405" y="159167"/>
                  <a:pt x="321917" y="160702"/>
                  <a:pt x="322428" y="161726"/>
                </a:cubicBezTo>
                <a:cubicBezTo>
                  <a:pt x="322940" y="163261"/>
                  <a:pt x="322940" y="164285"/>
                  <a:pt x="323452" y="165308"/>
                </a:cubicBezTo>
                <a:cubicBezTo>
                  <a:pt x="324475" y="167867"/>
                  <a:pt x="324987" y="170426"/>
                  <a:pt x="326011" y="172985"/>
                </a:cubicBezTo>
                <a:cubicBezTo>
                  <a:pt x="326011" y="173497"/>
                  <a:pt x="326523" y="173497"/>
                  <a:pt x="326523" y="174009"/>
                </a:cubicBezTo>
                <a:cubicBezTo>
                  <a:pt x="312704" y="192433"/>
                  <a:pt x="291209" y="203693"/>
                  <a:pt x="268178" y="204716"/>
                </a:cubicBezTo>
                <a:cubicBezTo>
                  <a:pt x="267155" y="204716"/>
                  <a:pt x="266131" y="204716"/>
                  <a:pt x="265108" y="204716"/>
                </a:cubicBezTo>
                <a:cubicBezTo>
                  <a:pt x="264084" y="204716"/>
                  <a:pt x="262549" y="204716"/>
                  <a:pt x="261525" y="204716"/>
                </a:cubicBezTo>
                <a:cubicBezTo>
                  <a:pt x="238495" y="202669"/>
                  <a:pt x="217511" y="191410"/>
                  <a:pt x="203693" y="173497"/>
                </a:cubicBezTo>
                <a:close/>
                <a:moveTo>
                  <a:pt x="287115" y="282508"/>
                </a:moveTo>
                <a:lnTo>
                  <a:pt x="264596" y="296327"/>
                </a:lnTo>
                <a:lnTo>
                  <a:pt x="242077" y="282508"/>
                </a:lnTo>
                <a:lnTo>
                  <a:pt x="248730" y="221605"/>
                </a:lnTo>
                <a:lnTo>
                  <a:pt x="235936" y="208811"/>
                </a:lnTo>
                <a:cubicBezTo>
                  <a:pt x="239518" y="209834"/>
                  <a:pt x="242589" y="210858"/>
                  <a:pt x="246172" y="211881"/>
                </a:cubicBezTo>
                <a:cubicBezTo>
                  <a:pt x="247195" y="212393"/>
                  <a:pt x="248730" y="212393"/>
                  <a:pt x="249754" y="212905"/>
                </a:cubicBezTo>
                <a:cubicBezTo>
                  <a:pt x="251289" y="213417"/>
                  <a:pt x="253337" y="213417"/>
                  <a:pt x="254872" y="213929"/>
                </a:cubicBezTo>
                <a:cubicBezTo>
                  <a:pt x="256919" y="213929"/>
                  <a:pt x="258966" y="214440"/>
                  <a:pt x="261013" y="214440"/>
                </a:cubicBezTo>
                <a:cubicBezTo>
                  <a:pt x="262549" y="214440"/>
                  <a:pt x="263572" y="214440"/>
                  <a:pt x="265108" y="214440"/>
                </a:cubicBezTo>
                <a:cubicBezTo>
                  <a:pt x="266131" y="214440"/>
                  <a:pt x="267155" y="214440"/>
                  <a:pt x="268178" y="214440"/>
                </a:cubicBezTo>
                <a:cubicBezTo>
                  <a:pt x="270737" y="214440"/>
                  <a:pt x="272785" y="214440"/>
                  <a:pt x="275344" y="213929"/>
                </a:cubicBezTo>
                <a:cubicBezTo>
                  <a:pt x="276879" y="213929"/>
                  <a:pt x="278926" y="213417"/>
                  <a:pt x="280461" y="213417"/>
                </a:cubicBezTo>
                <a:cubicBezTo>
                  <a:pt x="281997" y="213417"/>
                  <a:pt x="283020" y="212905"/>
                  <a:pt x="284044" y="212393"/>
                </a:cubicBezTo>
                <a:cubicBezTo>
                  <a:pt x="287626" y="211881"/>
                  <a:pt x="290697" y="210858"/>
                  <a:pt x="294280" y="209322"/>
                </a:cubicBezTo>
                <a:lnTo>
                  <a:pt x="281485" y="222117"/>
                </a:lnTo>
                <a:lnTo>
                  <a:pt x="287115" y="282508"/>
                </a:lnTo>
                <a:close/>
                <a:moveTo>
                  <a:pt x="318846" y="216488"/>
                </a:moveTo>
                <a:cubicBezTo>
                  <a:pt x="311681" y="212905"/>
                  <a:pt x="304004" y="209834"/>
                  <a:pt x="296327" y="207787"/>
                </a:cubicBezTo>
                <a:cubicBezTo>
                  <a:pt x="309634" y="202669"/>
                  <a:pt x="321405" y="193969"/>
                  <a:pt x="331129" y="183221"/>
                </a:cubicBezTo>
                <a:cubicBezTo>
                  <a:pt x="333176" y="181174"/>
                  <a:pt x="334711" y="178615"/>
                  <a:pt x="336247" y="176568"/>
                </a:cubicBezTo>
                <a:cubicBezTo>
                  <a:pt x="336758" y="175544"/>
                  <a:pt x="337270" y="175032"/>
                  <a:pt x="337782" y="174009"/>
                </a:cubicBezTo>
                <a:cubicBezTo>
                  <a:pt x="342388" y="167355"/>
                  <a:pt x="345459" y="160191"/>
                  <a:pt x="348018" y="152514"/>
                </a:cubicBezTo>
                <a:lnTo>
                  <a:pt x="371560" y="152514"/>
                </a:lnTo>
                <a:cubicBezTo>
                  <a:pt x="345459" y="165308"/>
                  <a:pt x="326011" y="188851"/>
                  <a:pt x="318846" y="216488"/>
                </a:cubicBezTo>
                <a:close/>
                <a:moveTo>
                  <a:pt x="445258" y="152514"/>
                </a:moveTo>
                <a:cubicBezTo>
                  <a:pt x="442699" y="165308"/>
                  <a:pt x="431440" y="175032"/>
                  <a:pt x="418133" y="175032"/>
                </a:cubicBezTo>
                <a:cubicBezTo>
                  <a:pt x="404315" y="175032"/>
                  <a:pt x="393055" y="165308"/>
                  <a:pt x="391008" y="152514"/>
                </a:cubicBezTo>
                <a:cubicBezTo>
                  <a:pt x="391008" y="152002"/>
                  <a:pt x="390496" y="150978"/>
                  <a:pt x="390496" y="150466"/>
                </a:cubicBezTo>
                <a:cubicBezTo>
                  <a:pt x="392544" y="149955"/>
                  <a:pt x="394079" y="149443"/>
                  <a:pt x="396126" y="148931"/>
                </a:cubicBezTo>
                <a:cubicBezTo>
                  <a:pt x="396126" y="148931"/>
                  <a:pt x="396126" y="148931"/>
                  <a:pt x="396126" y="148931"/>
                </a:cubicBezTo>
                <a:cubicBezTo>
                  <a:pt x="402268" y="147907"/>
                  <a:pt x="408409" y="146884"/>
                  <a:pt x="415063" y="146884"/>
                </a:cubicBezTo>
                <a:lnTo>
                  <a:pt x="420692" y="146884"/>
                </a:lnTo>
                <a:cubicBezTo>
                  <a:pt x="427345" y="146884"/>
                  <a:pt x="433487" y="147396"/>
                  <a:pt x="439628" y="148931"/>
                </a:cubicBezTo>
                <a:cubicBezTo>
                  <a:pt x="441676" y="149443"/>
                  <a:pt x="443723" y="149955"/>
                  <a:pt x="445770" y="150466"/>
                </a:cubicBezTo>
                <a:cubicBezTo>
                  <a:pt x="445770" y="151490"/>
                  <a:pt x="445770" y="152002"/>
                  <a:pt x="445258" y="152514"/>
                </a:cubicBezTo>
                <a:close/>
                <a:moveTo>
                  <a:pt x="418133" y="142278"/>
                </a:moveTo>
                <a:lnTo>
                  <a:pt x="418133" y="142278"/>
                </a:lnTo>
                <a:cubicBezTo>
                  <a:pt x="398173" y="142278"/>
                  <a:pt x="379749" y="133066"/>
                  <a:pt x="367466" y="117712"/>
                </a:cubicBezTo>
                <a:cubicBezTo>
                  <a:pt x="368490" y="115153"/>
                  <a:pt x="369513" y="112594"/>
                  <a:pt x="370537" y="110035"/>
                </a:cubicBezTo>
                <a:cubicBezTo>
                  <a:pt x="370537" y="109523"/>
                  <a:pt x="371048" y="108499"/>
                  <a:pt x="371048" y="107988"/>
                </a:cubicBezTo>
                <a:cubicBezTo>
                  <a:pt x="371048" y="106964"/>
                  <a:pt x="371560" y="106452"/>
                  <a:pt x="371560" y="105429"/>
                </a:cubicBezTo>
                <a:cubicBezTo>
                  <a:pt x="371560" y="105429"/>
                  <a:pt x="371560" y="104917"/>
                  <a:pt x="371560" y="104917"/>
                </a:cubicBezTo>
                <a:cubicBezTo>
                  <a:pt x="372072" y="103382"/>
                  <a:pt x="372072" y="102358"/>
                  <a:pt x="372072" y="101335"/>
                </a:cubicBezTo>
                <a:cubicBezTo>
                  <a:pt x="372072" y="101335"/>
                  <a:pt x="372072" y="100823"/>
                  <a:pt x="372072" y="100823"/>
                </a:cubicBezTo>
                <a:cubicBezTo>
                  <a:pt x="372072" y="99799"/>
                  <a:pt x="372584" y="99287"/>
                  <a:pt x="372584" y="98264"/>
                </a:cubicBezTo>
                <a:cubicBezTo>
                  <a:pt x="372584" y="97240"/>
                  <a:pt x="372584" y="96728"/>
                  <a:pt x="373096" y="95705"/>
                </a:cubicBezTo>
                <a:cubicBezTo>
                  <a:pt x="373096" y="94169"/>
                  <a:pt x="373096" y="93146"/>
                  <a:pt x="373607" y="91610"/>
                </a:cubicBezTo>
                <a:cubicBezTo>
                  <a:pt x="374119" y="90075"/>
                  <a:pt x="373607" y="89051"/>
                  <a:pt x="373607" y="87516"/>
                </a:cubicBezTo>
                <a:cubicBezTo>
                  <a:pt x="373607" y="85981"/>
                  <a:pt x="373607" y="84446"/>
                  <a:pt x="373607" y="82910"/>
                </a:cubicBezTo>
                <a:cubicBezTo>
                  <a:pt x="373607" y="81375"/>
                  <a:pt x="373607" y="79328"/>
                  <a:pt x="373096" y="77792"/>
                </a:cubicBezTo>
                <a:cubicBezTo>
                  <a:pt x="373096" y="76257"/>
                  <a:pt x="372584" y="74210"/>
                  <a:pt x="372072" y="72674"/>
                </a:cubicBezTo>
                <a:lnTo>
                  <a:pt x="391008" y="72674"/>
                </a:lnTo>
                <a:cubicBezTo>
                  <a:pt x="392032" y="72674"/>
                  <a:pt x="392544" y="72674"/>
                  <a:pt x="393567" y="72162"/>
                </a:cubicBezTo>
                <a:cubicBezTo>
                  <a:pt x="394591" y="72162"/>
                  <a:pt x="395103" y="72162"/>
                  <a:pt x="396126" y="71651"/>
                </a:cubicBezTo>
                <a:cubicBezTo>
                  <a:pt x="397150" y="71651"/>
                  <a:pt x="398173" y="71139"/>
                  <a:pt x="398685" y="71139"/>
                </a:cubicBezTo>
                <a:cubicBezTo>
                  <a:pt x="399197" y="71139"/>
                  <a:pt x="399709" y="71139"/>
                  <a:pt x="399709" y="70627"/>
                </a:cubicBezTo>
                <a:cubicBezTo>
                  <a:pt x="401756" y="70115"/>
                  <a:pt x="403803" y="69603"/>
                  <a:pt x="405850" y="69092"/>
                </a:cubicBezTo>
                <a:cubicBezTo>
                  <a:pt x="408409" y="68068"/>
                  <a:pt x="410968" y="67045"/>
                  <a:pt x="413527" y="66021"/>
                </a:cubicBezTo>
                <a:cubicBezTo>
                  <a:pt x="415063" y="64997"/>
                  <a:pt x="416598" y="64486"/>
                  <a:pt x="418133" y="63462"/>
                </a:cubicBezTo>
                <a:cubicBezTo>
                  <a:pt x="418645" y="63462"/>
                  <a:pt x="419157" y="62950"/>
                  <a:pt x="419669" y="62438"/>
                </a:cubicBezTo>
                <a:cubicBezTo>
                  <a:pt x="419669" y="62438"/>
                  <a:pt x="419669" y="62438"/>
                  <a:pt x="419669" y="62438"/>
                </a:cubicBezTo>
                <a:cubicBezTo>
                  <a:pt x="421716" y="60903"/>
                  <a:pt x="423763" y="59879"/>
                  <a:pt x="425810" y="58344"/>
                </a:cubicBezTo>
                <a:cubicBezTo>
                  <a:pt x="428881" y="56297"/>
                  <a:pt x="431440" y="53738"/>
                  <a:pt x="433999" y="51179"/>
                </a:cubicBezTo>
                <a:lnTo>
                  <a:pt x="433999" y="51179"/>
                </a:lnTo>
                <a:cubicBezTo>
                  <a:pt x="434511" y="51179"/>
                  <a:pt x="434511" y="51691"/>
                  <a:pt x="435022" y="51691"/>
                </a:cubicBezTo>
                <a:cubicBezTo>
                  <a:pt x="435022" y="52202"/>
                  <a:pt x="435534" y="52202"/>
                  <a:pt x="436046" y="52714"/>
                </a:cubicBezTo>
                <a:cubicBezTo>
                  <a:pt x="436558" y="53226"/>
                  <a:pt x="437069" y="53738"/>
                  <a:pt x="437581" y="54250"/>
                </a:cubicBezTo>
                <a:cubicBezTo>
                  <a:pt x="438605" y="55273"/>
                  <a:pt x="440140" y="56297"/>
                  <a:pt x="441164" y="57320"/>
                </a:cubicBezTo>
                <a:cubicBezTo>
                  <a:pt x="442187" y="58344"/>
                  <a:pt x="443211" y="58856"/>
                  <a:pt x="444235" y="59879"/>
                </a:cubicBezTo>
                <a:cubicBezTo>
                  <a:pt x="445258" y="60391"/>
                  <a:pt x="445770" y="61415"/>
                  <a:pt x="446793" y="61927"/>
                </a:cubicBezTo>
                <a:cubicBezTo>
                  <a:pt x="447817" y="62438"/>
                  <a:pt x="448329" y="62950"/>
                  <a:pt x="449352" y="63462"/>
                </a:cubicBezTo>
                <a:cubicBezTo>
                  <a:pt x="450376" y="63974"/>
                  <a:pt x="450888" y="64486"/>
                  <a:pt x="451911" y="64997"/>
                </a:cubicBezTo>
                <a:cubicBezTo>
                  <a:pt x="452423" y="64997"/>
                  <a:pt x="452935" y="65509"/>
                  <a:pt x="453447" y="65509"/>
                </a:cubicBezTo>
                <a:cubicBezTo>
                  <a:pt x="454470" y="66021"/>
                  <a:pt x="454982" y="66533"/>
                  <a:pt x="456006" y="67045"/>
                </a:cubicBezTo>
                <a:cubicBezTo>
                  <a:pt x="456517" y="67556"/>
                  <a:pt x="457541" y="67556"/>
                  <a:pt x="458053" y="68068"/>
                </a:cubicBezTo>
                <a:cubicBezTo>
                  <a:pt x="459076" y="68580"/>
                  <a:pt x="459588" y="68580"/>
                  <a:pt x="460612" y="69092"/>
                </a:cubicBezTo>
                <a:cubicBezTo>
                  <a:pt x="462147" y="69603"/>
                  <a:pt x="463683" y="70115"/>
                  <a:pt x="464706" y="70627"/>
                </a:cubicBezTo>
                <a:cubicBezTo>
                  <a:pt x="464706" y="71651"/>
                  <a:pt x="464194" y="72674"/>
                  <a:pt x="464194" y="73186"/>
                </a:cubicBezTo>
                <a:cubicBezTo>
                  <a:pt x="463683" y="74721"/>
                  <a:pt x="463683" y="76769"/>
                  <a:pt x="463171" y="78304"/>
                </a:cubicBezTo>
                <a:cubicBezTo>
                  <a:pt x="463171" y="79839"/>
                  <a:pt x="462659" y="81887"/>
                  <a:pt x="462659" y="83422"/>
                </a:cubicBezTo>
                <a:cubicBezTo>
                  <a:pt x="462659" y="84957"/>
                  <a:pt x="462659" y="86493"/>
                  <a:pt x="462659" y="88028"/>
                </a:cubicBezTo>
                <a:cubicBezTo>
                  <a:pt x="462659" y="89563"/>
                  <a:pt x="462659" y="90587"/>
                  <a:pt x="462659" y="91610"/>
                </a:cubicBezTo>
                <a:cubicBezTo>
                  <a:pt x="462659" y="92122"/>
                  <a:pt x="462659" y="93146"/>
                  <a:pt x="462659" y="93658"/>
                </a:cubicBezTo>
                <a:cubicBezTo>
                  <a:pt x="462659" y="94681"/>
                  <a:pt x="462659" y="95193"/>
                  <a:pt x="462659" y="96217"/>
                </a:cubicBezTo>
                <a:cubicBezTo>
                  <a:pt x="462659" y="97752"/>
                  <a:pt x="463171" y="98776"/>
                  <a:pt x="463171" y="100311"/>
                </a:cubicBezTo>
                <a:cubicBezTo>
                  <a:pt x="463171" y="101846"/>
                  <a:pt x="463683" y="102870"/>
                  <a:pt x="464194" y="104405"/>
                </a:cubicBezTo>
                <a:cubicBezTo>
                  <a:pt x="464706" y="105941"/>
                  <a:pt x="464706" y="106964"/>
                  <a:pt x="465218" y="108499"/>
                </a:cubicBezTo>
                <a:cubicBezTo>
                  <a:pt x="465730" y="110035"/>
                  <a:pt x="466242" y="111058"/>
                  <a:pt x="466242" y="112594"/>
                </a:cubicBezTo>
                <a:cubicBezTo>
                  <a:pt x="466753" y="113617"/>
                  <a:pt x="466753" y="114641"/>
                  <a:pt x="467265" y="115665"/>
                </a:cubicBezTo>
                <a:cubicBezTo>
                  <a:pt x="467265" y="116176"/>
                  <a:pt x="467777" y="117200"/>
                  <a:pt x="467777" y="117712"/>
                </a:cubicBezTo>
                <a:cubicBezTo>
                  <a:pt x="457029" y="133066"/>
                  <a:pt x="438093" y="142278"/>
                  <a:pt x="418133" y="142278"/>
                </a:cubicBezTo>
                <a:close/>
              </a:path>
            </a:pathLst>
          </a:custGeom>
          <a:solidFill>
            <a:schemeClr val="bg2"/>
          </a:solidFill>
          <a:ln w="511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nvGrpSpPr>
          <p:cNvPr id="61" name="Graphic 1">
            <a:extLst>
              <a:ext uri="{FF2B5EF4-FFF2-40B4-BE49-F238E27FC236}">
                <a16:creationId xmlns:a16="http://schemas.microsoft.com/office/drawing/2014/main" id="{3099FC90-8B59-4A33-9991-BDB326A8CE1A}"/>
              </a:ext>
            </a:extLst>
          </p:cNvPr>
          <p:cNvGrpSpPr/>
          <p:nvPr/>
        </p:nvGrpSpPr>
        <p:grpSpPr>
          <a:xfrm>
            <a:off x="4966395" y="4325116"/>
            <a:ext cx="275128" cy="193400"/>
            <a:chOff x="3542674" y="31731"/>
            <a:chExt cx="522026" cy="366954"/>
          </a:xfrm>
          <a:solidFill>
            <a:schemeClr val="accent2"/>
          </a:solidFill>
        </p:grpSpPr>
        <p:sp>
          <p:nvSpPr>
            <p:cNvPr id="62" name="Freeform: Shape 81">
              <a:extLst>
                <a:ext uri="{FF2B5EF4-FFF2-40B4-BE49-F238E27FC236}">
                  <a16:creationId xmlns:a16="http://schemas.microsoft.com/office/drawing/2014/main" id="{85D64B1F-02B8-4B50-BDD4-170578DCB7FF}"/>
                </a:ext>
              </a:extLst>
            </p:cNvPr>
            <p:cNvSpPr/>
            <p:nvPr/>
          </p:nvSpPr>
          <p:spPr>
            <a:xfrm>
              <a:off x="3542674" y="388449"/>
              <a:ext cx="522026" cy="10235"/>
            </a:xfrm>
            <a:custGeom>
              <a:avLst/>
              <a:gdLst>
                <a:gd name="connsiteX0" fmla="*/ 516909 w 522026"/>
                <a:gd name="connsiteY0" fmla="*/ 10236 h 10235"/>
                <a:gd name="connsiteX1" fmla="*/ 5118 w 522026"/>
                <a:gd name="connsiteY1" fmla="*/ 10236 h 10235"/>
                <a:gd name="connsiteX2" fmla="*/ 0 w 522026"/>
                <a:gd name="connsiteY2" fmla="*/ 5118 h 10235"/>
                <a:gd name="connsiteX3" fmla="*/ 5118 w 522026"/>
                <a:gd name="connsiteY3" fmla="*/ 0 h 10235"/>
                <a:gd name="connsiteX4" fmla="*/ 516909 w 522026"/>
                <a:gd name="connsiteY4" fmla="*/ 0 h 10235"/>
                <a:gd name="connsiteX5" fmla="*/ 522027 w 522026"/>
                <a:gd name="connsiteY5" fmla="*/ 5118 h 10235"/>
                <a:gd name="connsiteX6" fmla="*/ 516909 w 522026"/>
                <a:gd name="connsiteY6" fmla="*/ 10236 h 102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22026" h="10235">
                  <a:moveTo>
                    <a:pt x="516909" y="10236"/>
                  </a:moveTo>
                  <a:lnTo>
                    <a:pt x="5118" y="10236"/>
                  </a:lnTo>
                  <a:cubicBezTo>
                    <a:pt x="2047" y="10236"/>
                    <a:pt x="0" y="8189"/>
                    <a:pt x="0" y="5118"/>
                  </a:cubicBezTo>
                  <a:cubicBezTo>
                    <a:pt x="0" y="2047"/>
                    <a:pt x="2047" y="0"/>
                    <a:pt x="5118" y="0"/>
                  </a:cubicBezTo>
                  <a:lnTo>
                    <a:pt x="516909" y="0"/>
                  </a:lnTo>
                  <a:cubicBezTo>
                    <a:pt x="519980" y="0"/>
                    <a:pt x="522027" y="2047"/>
                    <a:pt x="522027" y="5118"/>
                  </a:cubicBezTo>
                  <a:cubicBezTo>
                    <a:pt x="522027" y="8189"/>
                    <a:pt x="519468" y="10236"/>
                    <a:pt x="516909" y="10236"/>
                  </a:cubicBezTo>
                  <a:close/>
                </a:path>
              </a:pathLst>
            </a:custGeom>
            <a:grpFill/>
            <a:ln w="511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nvGrpSpPr>
            <p:cNvPr id="63" name="Graphic 1">
              <a:extLst>
                <a:ext uri="{FF2B5EF4-FFF2-40B4-BE49-F238E27FC236}">
                  <a16:creationId xmlns:a16="http://schemas.microsoft.com/office/drawing/2014/main" id="{F6090C3D-3267-4C5B-AAFC-94C790264654}"/>
                </a:ext>
              </a:extLst>
            </p:cNvPr>
            <p:cNvGrpSpPr/>
            <p:nvPr/>
          </p:nvGrpSpPr>
          <p:grpSpPr>
            <a:xfrm>
              <a:off x="3568776" y="79327"/>
              <a:ext cx="468866" cy="270225"/>
              <a:chOff x="3568776" y="79327"/>
              <a:chExt cx="468866" cy="270225"/>
            </a:xfrm>
            <a:grpFill/>
          </p:grpSpPr>
          <p:sp>
            <p:nvSpPr>
              <p:cNvPr id="65" name="Freeform: Shape 84">
                <a:extLst>
                  <a:ext uri="{FF2B5EF4-FFF2-40B4-BE49-F238E27FC236}">
                    <a16:creationId xmlns:a16="http://schemas.microsoft.com/office/drawing/2014/main" id="{A5F8B8AC-BB22-4C03-88A4-62CB0B6438CC}"/>
                  </a:ext>
                </a:extLst>
              </p:cNvPr>
              <p:cNvSpPr/>
              <p:nvPr/>
            </p:nvSpPr>
            <p:spPr>
              <a:xfrm>
                <a:off x="3568776" y="275343"/>
                <a:ext cx="85023" cy="74209"/>
              </a:xfrm>
              <a:custGeom>
                <a:avLst/>
                <a:gdLst>
                  <a:gd name="connsiteX0" fmla="*/ 80351 w 85023"/>
                  <a:gd name="connsiteY0" fmla="*/ 0 h 74209"/>
                  <a:gd name="connsiteX1" fmla="*/ 5118 w 85023"/>
                  <a:gd name="connsiteY1" fmla="*/ 0 h 74209"/>
                  <a:gd name="connsiteX2" fmla="*/ 0 w 85023"/>
                  <a:gd name="connsiteY2" fmla="*/ 5118 h 74209"/>
                  <a:gd name="connsiteX3" fmla="*/ 0 w 85023"/>
                  <a:gd name="connsiteY3" fmla="*/ 69092 h 74209"/>
                  <a:gd name="connsiteX4" fmla="*/ 5118 w 85023"/>
                  <a:gd name="connsiteY4" fmla="*/ 74210 h 74209"/>
                  <a:gd name="connsiteX5" fmla="*/ 79839 w 85023"/>
                  <a:gd name="connsiteY5" fmla="*/ 74210 h 74209"/>
                  <a:gd name="connsiteX6" fmla="*/ 84957 w 85023"/>
                  <a:gd name="connsiteY6" fmla="*/ 69092 h 74209"/>
                  <a:gd name="connsiteX7" fmla="*/ 84957 w 85023"/>
                  <a:gd name="connsiteY7" fmla="*/ 5118 h 74209"/>
                  <a:gd name="connsiteX8" fmla="*/ 80351 w 85023"/>
                  <a:gd name="connsiteY8" fmla="*/ 0 h 742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5023" h="74209">
                    <a:moveTo>
                      <a:pt x="80351" y="0"/>
                    </a:moveTo>
                    <a:lnTo>
                      <a:pt x="5118" y="0"/>
                    </a:lnTo>
                    <a:cubicBezTo>
                      <a:pt x="2047" y="0"/>
                      <a:pt x="0" y="2047"/>
                      <a:pt x="0" y="5118"/>
                    </a:cubicBezTo>
                    <a:lnTo>
                      <a:pt x="0" y="69092"/>
                    </a:lnTo>
                    <a:cubicBezTo>
                      <a:pt x="0" y="72163"/>
                      <a:pt x="2047" y="74210"/>
                      <a:pt x="5118" y="74210"/>
                    </a:cubicBezTo>
                    <a:lnTo>
                      <a:pt x="79839" y="74210"/>
                    </a:lnTo>
                    <a:cubicBezTo>
                      <a:pt x="82910" y="74210"/>
                      <a:pt x="84957" y="72163"/>
                      <a:pt x="84957" y="69092"/>
                    </a:cubicBezTo>
                    <a:lnTo>
                      <a:pt x="84957" y="5118"/>
                    </a:lnTo>
                    <a:cubicBezTo>
                      <a:pt x="85469" y="2047"/>
                      <a:pt x="82910" y="0"/>
                      <a:pt x="80351" y="0"/>
                    </a:cubicBezTo>
                    <a:close/>
                  </a:path>
                </a:pathLst>
              </a:custGeom>
              <a:grpFill/>
              <a:ln w="511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66" name="Freeform: Shape 85">
                <a:extLst>
                  <a:ext uri="{FF2B5EF4-FFF2-40B4-BE49-F238E27FC236}">
                    <a16:creationId xmlns:a16="http://schemas.microsoft.com/office/drawing/2014/main" id="{35B61E1D-9C6E-402F-A7F5-67CC3CCAC129}"/>
                  </a:ext>
                </a:extLst>
              </p:cNvPr>
              <p:cNvSpPr/>
              <p:nvPr/>
            </p:nvSpPr>
            <p:spPr>
              <a:xfrm>
                <a:off x="3696723" y="209834"/>
                <a:ext cx="85023" cy="138183"/>
              </a:xfrm>
              <a:custGeom>
                <a:avLst/>
                <a:gdLst>
                  <a:gd name="connsiteX0" fmla="*/ 80351 w 85023"/>
                  <a:gd name="connsiteY0" fmla="*/ 0 h 138183"/>
                  <a:gd name="connsiteX1" fmla="*/ 5118 w 85023"/>
                  <a:gd name="connsiteY1" fmla="*/ 0 h 138183"/>
                  <a:gd name="connsiteX2" fmla="*/ 0 w 85023"/>
                  <a:gd name="connsiteY2" fmla="*/ 5118 h 138183"/>
                  <a:gd name="connsiteX3" fmla="*/ 0 w 85023"/>
                  <a:gd name="connsiteY3" fmla="*/ 133066 h 138183"/>
                  <a:gd name="connsiteX4" fmla="*/ 5118 w 85023"/>
                  <a:gd name="connsiteY4" fmla="*/ 138184 h 138183"/>
                  <a:gd name="connsiteX5" fmla="*/ 79839 w 85023"/>
                  <a:gd name="connsiteY5" fmla="*/ 138184 h 138183"/>
                  <a:gd name="connsiteX6" fmla="*/ 84957 w 85023"/>
                  <a:gd name="connsiteY6" fmla="*/ 133066 h 138183"/>
                  <a:gd name="connsiteX7" fmla="*/ 84957 w 85023"/>
                  <a:gd name="connsiteY7" fmla="*/ 5118 h 138183"/>
                  <a:gd name="connsiteX8" fmla="*/ 80351 w 85023"/>
                  <a:gd name="connsiteY8" fmla="*/ 0 h 1381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5023" h="138183">
                    <a:moveTo>
                      <a:pt x="80351" y="0"/>
                    </a:moveTo>
                    <a:lnTo>
                      <a:pt x="5118" y="0"/>
                    </a:lnTo>
                    <a:cubicBezTo>
                      <a:pt x="2047" y="0"/>
                      <a:pt x="0" y="2047"/>
                      <a:pt x="0" y="5118"/>
                    </a:cubicBezTo>
                    <a:lnTo>
                      <a:pt x="0" y="133066"/>
                    </a:lnTo>
                    <a:cubicBezTo>
                      <a:pt x="0" y="136136"/>
                      <a:pt x="2047" y="138184"/>
                      <a:pt x="5118" y="138184"/>
                    </a:cubicBezTo>
                    <a:lnTo>
                      <a:pt x="79839" y="138184"/>
                    </a:lnTo>
                    <a:cubicBezTo>
                      <a:pt x="82910" y="138184"/>
                      <a:pt x="84957" y="136136"/>
                      <a:pt x="84957" y="133066"/>
                    </a:cubicBezTo>
                    <a:lnTo>
                      <a:pt x="84957" y="5118"/>
                    </a:lnTo>
                    <a:cubicBezTo>
                      <a:pt x="85469" y="2559"/>
                      <a:pt x="82910" y="0"/>
                      <a:pt x="80351" y="0"/>
                    </a:cubicBezTo>
                    <a:close/>
                  </a:path>
                </a:pathLst>
              </a:custGeom>
              <a:grpFill/>
              <a:ln w="511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67" name="Freeform: Shape 86">
                <a:extLst>
                  <a:ext uri="{FF2B5EF4-FFF2-40B4-BE49-F238E27FC236}">
                    <a16:creationId xmlns:a16="http://schemas.microsoft.com/office/drawing/2014/main" id="{6113F766-FDAD-4E47-864A-02711DB7A8B7}"/>
                  </a:ext>
                </a:extLst>
              </p:cNvPr>
              <p:cNvSpPr/>
              <p:nvPr/>
            </p:nvSpPr>
            <p:spPr>
              <a:xfrm>
                <a:off x="3824671" y="144836"/>
                <a:ext cx="85023" cy="202157"/>
              </a:xfrm>
              <a:custGeom>
                <a:avLst/>
                <a:gdLst>
                  <a:gd name="connsiteX0" fmla="*/ 80351 w 85023"/>
                  <a:gd name="connsiteY0" fmla="*/ 0 h 202157"/>
                  <a:gd name="connsiteX1" fmla="*/ 5118 w 85023"/>
                  <a:gd name="connsiteY1" fmla="*/ 0 h 202157"/>
                  <a:gd name="connsiteX2" fmla="*/ 0 w 85023"/>
                  <a:gd name="connsiteY2" fmla="*/ 5118 h 202157"/>
                  <a:gd name="connsiteX3" fmla="*/ 0 w 85023"/>
                  <a:gd name="connsiteY3" fmla="*/ 197040 h 202157"/>
                  <a:gd name="connsiteX4" fmla="*/ 5118 w 85023"/>
                  <a:gd name="connsiteY4" fmla="*/ 202157 h 202157"/>
                  <a:gd name="connsiteX5" fmla="*/ 79839 w 85023"/>
                  <a:gd name="connsiteY5" fmla="*/ 202157 h 202157"/>
                  <a:gd name="connsiteX6" fmla="*/ 84957 w 85023"/>
                  <a:gd name="connsiteY6" fmla="*/ 197040 h 202157"/>
                  <a:gd name="connsiteX7" fmla="*/ 84957 w 85023"/>
                  <a:gd name="connsiteY7" fmla="*/ 5118 h 202157"/>
                  <a:gd name="connsiteX8" fmla="*/ 80351 w 85023"/>
                  <a:gd name="connsiteY8" fmla="*/ 0 h 2021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5023" h="202157">
                    <a:moveTo>
                      <a:pt x="80351" y="0"/>
                    </a:moveTo>
                    <a:lnTo>
                      <a:pt x="5118" y="0"/>
                    </a:lnTo>
                    <a:cubicBezTo>
                      <a:pt x="2047" y="0"/>
                      <a:pt x="0" y="2047"/>
                      <a:pt x="0" y="5118"/>
                    </a:cubicBezTo>
                    <a:lnTo>
                      <a:pt x="0" y="197040"/>
                    </a:lnTo>
                    <a:cubicBezTo>
                      <a:pt x="0" y="200110"/>
                      <a:pt x="2047" y="202157"/>
                      <a:pt x="5118" y="202157"/>
                    </a:cubicBezTo>
                    <a:lnTo>
                      <a:pt x="79839" y="202157"/>
                    </a:lnTo>
                    <a:cubicBezTo>
                      <a:pt x="82910" y="202157"/>
                      <a:pt x="84957" y="200110"/>
                      <a:pt x="84957" y="197040"/>
                    </a:cubicBezTo>
                    <a:lnTo>
                      <a:pt x="84957" y="5118"/>
                    </a:lnTo>
                    <a:cubicBezTo>
                      <a:pt x="85469" y="2047"/>
                      <a:pt x="82910" y="0"/>
                      <a:pt x="80351" y="0"/>
                    </a:cubicBezTo>
                    <a:close/>
                  </a:path>
                </a:pathLst>
              </a:custGeom>
              <a:grpFill/>
              <a:ln w="511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68" name="Freeform: Shape 87">
                <a:extLst>
                  <a:ext uri="{FF2B5EF4-FFF2-40B4-BE49-F238E27FC236}">
                    <a16:creationId xmlns:a16="http://schemas.microsoft.com/office/drawing/2014/main" id="{A70BBEBE-2D5C-4C0E-986D-1DA3A2FF9C86}"/>
                  </a:ext>
                </a:extLst>
              </p:cNvPr>
              <p:cNvSpPr/>
              <p:nvPr/>
            </p:nvSpPr>
            <p:spPr>
              <a:xfrm>
                <a:off x="3952619" y="79327"/>
                <a:ext cx="85023" cy="266131"/>
              </a:xfrm>
              <a:custGeom>
                <a:avLst/>
                <a:gdLst>
                  <a:gd name="connsiteX0" fmla="*/ 80351 w 85023"/>
                  <a:gd name="connsiteY0" fmla="*/ 0 h 266131"/>
                  <a:gd name="connsiteX1" fmla="*/ 5118 w 85023"/>
                  <a:gd name="connsiteY1" fmla="*/ 0 h 266131"/>
                  <a:gd name="connsiteX2" fmla="*/ 0 w 85023"/>
                  <a:gd name="connsiteY2" fmla="*/ 5118 h 266131"/>
                  <a:gd name="connsiteX3" fmla="*/ 0 w 85023"/>
                  <a:gd name="connsiteY3" fmla="*/ 261013 h 266131"/>
                  <a:gd name="connsiteX4" fmla="*/ 5118 w 85023"/>
                  <a:gd name="connsiteY4" fmla="*/ 266131 h 266131"/>
                  <a:gd name="connsiteX5" fmla="*/ 79839 w 85023"/>
                  <a:gd name="connsiteY5" fmla="*/ 266131 h 266131"/>
                  <a:gd name="connsiteX6" fmla="*/ 84957 w 85023"/>
                  <a:gd name="connsiteY6" fmla="*/ 261013 h 266131"/>
                  <a:gd name="connsiteX7" fmla="*/ 84957 w 85023"/>
                  <a:gd name="connsiteY7" fmla="*/ 5118 h 266131"/>
                  <a:gd name="connsiteX8" fmla="*/ 80351 w 85023"/>
                  <a:gd name="connsiteY8" fmla="*/ 0 h 2661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5023" h="266131">
                    <a:moveTo>
                      <a:pt x="80351" y="0"/>
                    </a:moveTo>
                    <a:lnTo>
                      <a:pt x="5118" y="0"/>
                    </a:lnTo>
                    <a:cubicBezTo>
                      <a:pt x="2047" y="0"/>
                      <a:pt x="0" y="2047"/>
                      <a:pt x="0" y="5118"/>
                    </a:cubicBezTo>
                    <a:lnTo>
                      <a:pt x="0" y="261013"/>
                    </a:lnTo>
                    <a:cubicBezTo>
                      <a:pt x="0" y="264084"/>
                      <a:pt x="2047" y="266131"/>
                      <a:pt x="5118" y="266131"/>
                    </a:cubicBezTo>
                    <a:lnTo>
                      <a:pt x="79839" y="266131"/>
                    </a:lnTo>
                    <a:cubicBezTo>
                      <a:pt x="82910" y="266131"/>
                      <a:pt x="84957" y="264084"/>
                      <a:pt x="84957" y="261013"/>
                    </a:cubicBezTo>
                    <a:lnTo>
                      <a:pt x="84957" y="5118"/>
                    </a:lnTo>
                    <a:cubicBezTo>
                      <a:pt x="85469" y="2559"/>
                      <a:pt x="82910" y="0"/>
                      <a:pt x="80351" y="0"/>
                    </a:cubicBezTo>
                    <a:close/>
                  </a:path>
                </a:pathLst>
              </a:custGeom>
              <a:grpFill/>
              <a:ln w="511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sp>
          <p:nvSpPr>
            <p:cNvPr id="64" name="Freeform: Shape 83">
              <a:extLst>
                <a:ext uri="{FF2B5EF4-FFF2-40B4-BE49-F238E27FC236}">
                  <a16:creationId xmlns:a16="http://schemas.microsoft.com/office/drawing/2014/main" id="{A943F637-E453-4E10-A215-C385602580C0}"/>
                </a:ext>
              </a:extLst>
            </p:cNvPr>
            <p:cNvSpPr/>
            <p:nvPr/>
          </p:nvSpPr>
          <p:spPr>
            <a:xfrm>
              <a:off x="3614590" y="31731"/>
              <a:ext cx="317045" cy="188339"/>
            </a:xfrm>
            <a:custGeom>
              <a:avLst/>
              <a:gdLst>
                <a:gd name="connsiteX0" fmla="*/ 317046 w 317045"/>
                <a:gd name="connsiteY0" fmla="*/ 0 h 188339"/>
                <a:gd name="connsiteX1" fmla="*/ 240277 w 317045"/>
                <a:gd name="connsiteY1" fmla="*/ 512 h 188339"/>
                <a:gd name="connsiteX2" fmla="*/ 255631 w 317045"/>
                <a:gd name="connsiteY2" fmla="*/ 27125 h 188339"/>
                <a:gd name="connsiteX3" fmla="*/ 3830 w 317045"/>
                <a:gd name="connsiteY3" fmla="*/ 174009 h 188339"/>
                <a:gd name="connsiteX4" fmla="*/ 1271 w 317045"/>
                <a:gd name="connsiteY4" fmla="*/ 184757 h 188339"/>
                <a:gd name="connsiteX5" fmla="*/ 7924 w 317045"/>
                <a:gd name="connsiteY5" fmla="*/ 188339 h 188339"/>
                <a:gd name="connsiteX6" fmla="*/ 12018 w 317045"/>
                <a:gd name="connsiteY6" fmla="*/ 187316 h 188339"/>
                <a:gd name="connsiteX7" fmla="*/ 263308 w 317045"/>
                <a:gd name="connsiteY7" fmla="*/ 39920 h 188339"/>
                <a:gd name="connsiteX8" fmla="*/ 278661 w 317045"/>
                <a:gd name="connsiteY8" fmla="*/ 66533 h 188339"/>
                <a:gd name="connsiteX9" fmla="*/ 317046 w 317045"/>
                <a:gd name="connsiteY9" fmla="*/ 0 h 1883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7045" h="188339">
                  <a:moveTo>
                    <a:pt x="317046" y="0"/>
                  </a:moveTo>
                  <a:lnTo>
                    <a:pt x="240277" y="512"/>
                  </a:lnTo>
                  <a:lnTo>
                    <a:pt x="255631" y="27125"/>
                  </a:lnTo>
                  <a:lnTo>
                    <a:pt x="3830" y="174009"/>
                  </a:lnTo>
                  <a:cubicBezTo>
                    <a:pt x="247" y="176056"/>
                    <a:pt x="-1288" y="180662"/>
                    <a:pt x="1271" y="184757"/>
                  </a:cubicBezTo>
                  <a:cubicBezTo>
                    <a:pt x="2806" y="187316"/>
                    <a:pt x="5365" y="188339"/>
                    <a:pt x="7924" y="188339"/>
                  </a:cubicBezTo>
                  <a:cubicBezTo>
                    <a:pt x="9459" y="188339"/>
                    <a:pt x="10483" y="187827"/>
                    <a:pt x="12018" y="187316"/>
                  </a:cubicBezTo>
                  <a:lnTo>
                    <a:pt x="263308" y="39920"/>
                  </a:lnTo>
                  <a:lnTo>
                    <a:pt x="278661" y="66533"/>
                  </a:lnTo>
                  <a:lnTo>
                    <a:pt x="317046" y="0"/>
                  </a:lnTo>
                  <a:close/>
                </a:path>
              </a:pathLst>
            </a:custGeom>
            <a:grpFill/>
            <a:ln w="511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grpSp>
        <p:nvGrpSpPr>
          <p:cNvPr id="69" name="Graphic 1">
            <a:extLst>
              <a:ext uri="{FF2B5EF4-FFF2-40B4-BE49-F238E27FC236}">
                <a16:creationId xmlns:a16="http://schemas.microsoft.com/office/drawing/2014/main" id="{04D522A3-A119-49EC-9395-38305FD2CB01}"/>
              </a:ext>
            </a:extLst>
          </p:cNvPr>
          <p:cNvGrpSpPr/>
          <p:nvPr/>
        </p:nvGrpSpPr>
        <p:grpSpPr>
          <a:xfrm>
            <a:off x="5280224" y="3636655"/>
            <a:ext cx="228466" cy="167236"/>
            <a:chOff x="3586688" y="640250"/>
            <a:chExt cx="433486" cy="317310"/>
          </a:xfrm>
          <a:solidFill>
            <a:schemeClr val="accent3"/>
          </a:solidFill>
        </p:grpSpPr>
        <p:sp>
          <p:nvSpPr>
            <p:cNvPr id="70" name="Freeform: Shape 89">
              <a:extLst>
                <a:ext uri="{FF2B5EF4-FFF2-40B4-BE49-F238E27FC236}">
                  <a16:creationId xmlns:a16="http://schemas.microsoft.com/office/drawing/2014/main" id="{D231511F-D625-4317-9FDF-41F249AF68DD}"/>
                </a:ext>
              </a:extLst>
            </p:cNvPr>
            <p:cNvSpPr/>
            <p:nvPr/>
          </p:nvSpPr>
          <p:spPr>
            <a:xfrm>
              <a:off x="3617396" y="640250"/>
              <a:ext cx="372072" cy="266131"/>
            </a:xfrm>
            <a:custGeom>
              <a:avLst/>
              <a:gdLst>
                <a:gd name="connsiteX0" fmla="*/ 356718 w 372072"/>
                <a:gd name="connsiteY0" fmla="*/ 0 h 266131"/>
                <a:gd name="connsiteX1" fmla="*/ 15354 w 372072"/>
                <a:gd name="connsiteY1" fmla="*/ 0 h 266131"/>
                <a:gd name="connsiteX2" fmla="*/ 0 w 372072"/>
                <a:gd name="connsiteY2" fmla="*/ 15354 h 266131"/>
                <a:gd name="connsiteX3" fmla="*/ 0 w 372072"/>
                <a:gd name="connsiteY3" fmla="*/ 266131 h 266131"/>
                <a:gd name="connsiteX4" fmla="*/ 372072 w 372072"/>
                <a:gd name="connsiteY4" fmla="*/ 266131 h 266131"/>
                <a:gd name="connsiteX5" fmla="*/ 372072 w 372072"/>
                <a:gd name="connsiteY5" fmla="*/ 15354 h 266131"/>
                <a:gd name="connsiteX6" fmla="*/ 356718 w 372072"/>
                <a:gd name="connsiteY6" fmla="*/ 0 h 266131"/>
                <a:gd name="connsiteX7" fmla="*/ 344435 w 372072"/>
                <a:gd name="connsiteY7" fmla="*/ 231330 h 266131"/>
                <a:gd name="connsiteX8" fmla="*/ 329082 w 372072"/>
                <a:gd name="connsiteY8" fmla="*/ 246683 h 266131"/>
                <a:gd name="connsiteX9" fmla="*/ 42479 w 372072"/>
                <a:gd name="connsiteY9" fmla="*/ 246683 h 266131"/>
                <a:gd name="connsiteX10" fmla="*/ 27125 w 372072"/>
                <a:gd name="connsiteY10" fmla="*/ 231330 h 266131"/>
                <a:gd name="connsiteX11" fmla="*/ 27125 w 372072"/>
                <a:gd name="connsiteY11" fmla="*/ 34802 h 266131"/>
                <a:gd name="connsiteX12" fmla="*/ 42479 w 372072"/>
                <a:gd name="connsiteY12" fmla="*/ 19448 h 266131"/>
                <a:gd name="connsiteX13" fmla="*/ 329082 w 372072"/>
                <a:gd name="connsiteY13" fmla="*/ 19448 h 266131"/>
                <a:gd name="connsiteX14" fmla="*/ 344435 w 372072"/>
                <a:gd name="connsiteY14" fmla="*/ 34802 h 266131"/>
                <a:gd name="connsiteX15" fmla="*/ 344435 w 372072"/>
                <a:gd name="connsiteY15" fmla="*/ 231330 h 2661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72072" h="266131">
                  <a:moveTo>
                    <a:pt x="356718" y="0"/>
                  </a:moveTo>
                  <a:lnTo>
                    <a:pt x="15354" y="0"/>
                  </a:lnTo>
                  <a:cubicBezTo>
                    <a:pt x="6653" y="0"/>
                    <a:pt x="0" y="6653"/>
                    <a:pt x="0" y="15354"/>
                  </a:cubicBezTo>
                  <a:lnTo>
                    <a:pt x="0" y="266131"/>
                  </a:lnTo>
                  <a:lnTo>
                    <a:pt x="372072" y="266131"/>
                  </a:lnTo>
                  <a:lnTo>
                    <a:pt x="372072" y="15354"/>
                  </a:lnTo>
                  <a:cubicBezTo>
                    <a:pt x="372072" y="6653"/>
                    <a:pt x="365419" y="0"/>
                    <a:pt x="356718" y="0"/>
                  </a:cubicBezTo>
                  <a:close/>
                  <a:moveTo>
                    <a:pt x="344435" y="231330"/>
                  </a:moveTo>
                  <a:cubicBezTo>
                    <a:pt x="344435" y="240030"/>
                    <a:pt x="337782" y="246683"/>
                    <a:pt x="329082" y="246683"/>
                  </a:cubicBezTo>
                  <a:lnTo>
                    <a:pt x="42479" y="246683"/>
                  </a:lnTo>
                  <a:cubicBezTo>
                    <a:pt x="33778" y="246683"/>
                    <a:pt x="27125" y="240030"/>
                    <a:pt x="27125" y="231330"/>
                  </a:cubicBezTo>
                  <a:lnTo>
                    <a:pt x="27125" y="34802"/>
                  </a:lnTo>
                  <a:cubicBezTo>
                    <a:pt x="27125" y="26101"/>
                    <a:pt x="33778" y="19448"/>
                    <a:pt x="42479" y="19448"/>
                  </a:cubicBezTo>
                  <a:lnTo>
                    <a:pt x="329082" y="19448"/>
                  </a:lnTo>
                  <a:cubicBezTo>
                    <a:pt x="337782" y="19448"/>
                    <a:pt x="344435" y="26101"/>
                    <a:pt x="344435" y="34802"/>
                  </a:cubicBezTo>
                  <a:lnTo>
                    <a:pt x="344435" y="231330"/>
                  </a:lnTo>
                  <a:close/>
                </a:path>
              </a:pathLst>
            </a:custGeom>
            <a:grpFill/>
            <a:ln w="511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71" name="Freeform: Shape 90">
              <a:extLst>
                <a:ext uri="{FF2B5EF4-FFF2-40B4-BE49-F238E27FC236}">
                  <a16:creationId xmlns:a16="http://schemas.microsoft.com/office/drawing/2014/main" id="{3E843A6A-3F98-4592-AB1F-CC53E92217E8}"/>
                </a:ext>
              </a:extLst>
            </p:cNvPr>
            <p:cNvSpPr/>
            <p:nvPr/>
          </p:nvSpPr>
          <p:spPr>
            <a:xfrm>
              <a:off x="3586688" y="920712"/>
              <a:ext cx="433486" cy="36849"/>
            </a:xfrm>
            <a:custGeom>
              <a:avLst/>
              <a:gdLst>
                <a:gd name="connsiteX0" fmla="*/ 418133 w 433486"/>
                <a:gd name="connsiteY0" fmla="*/ 0 h 36849"/>
                <a:gd name="connsiteX1" fmla="*/ 15354 w 433486"/>
                <a:gd name="connsiteY1" fmla="*/ 0 h 36849"/>
                <a:gd name="connsiteX2" fmla="*/ 0 w 433486"/>
                <a:gd name="connsiteY2" fmla="*/ 15354 h 36849"/>
                <a:gd name="connsiteX3" fmla="*/ 0 w 433486"/>
                <a:gd name="connsiteY3" fmla="*/ 21495 h 36849"/>
                <a:gd name="connsiteX4" fmla="*/ 15354 w 433486"/>
                <a:gd name="connsiteY4" fmla="*/ 36849 h 36849"/>
                <a:gd name="connsiteX5" fmla="*/ 418133 w 433486"/>
                <a:gd name="connsiteY5" fmla="*/ 36849 h 36849"/>
                <a:gd name="connsiteX6" fmla="*/ 433487 w 433486"/>
                <a:gd name="connsiteY6" fmla="*/ 21495 h 36849"/>
                <a:gd name="connsiteX7" fmla="*/ 433487 w 433486"/>
                <a:gd name="connsiteY7" fmla="*/ 15354 h 36849"/>
                <a:gd name="connsiteX8" fmla="*/ 418133 w 433486"/>
                <a:gd name="connsiteY8" fmla="*/ 0 h 36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486" h="36849">
                  <a:moveTo>
                    <a:pt x="418133" y="0"/>
                  </a:moveTo>
                  <a:lnTo>
                    <a:pt x="15354" y="0"/>
                  </a:lnTo>
                  <a:cubicBezTo>
                    <a:pt x="6653" y="0"/>
                    <a:pt x="0" y="6653"/>
                    <a:pt x="0" y="15354"/>
                  </a:cubicBezTo>
                  <a:lnTo>
                    <a:pt x="0" y="21495"/>
                  </a:lnTo>
                  <a:cubicBezTo>
                    <a:pt x="0" y="30196"/>
                    <a:pt x="6653" y="36849"/>
                    <a:pt x="15354" y="36849"/>
                  </a:cubicBezTo>
                  <a:lnTo>
                    <a:pt x="418133" y="36849"/>
                  </a:lnTo>
                  <a:cubicBezTo>
                    <a:pt x="426834" y="36849"/>
                    <a:pt x="433487" y="30196"/>
                    <a:pt x="433487" y="21495"/>
                  </a:cubicBezTo>
                  <a:lnTo>
                    <a:pt x="433487" y="15354"/>
                  </a:lnTo>
                  <a:cubicBezTo>
                    <a:pt x="433487" y="7165"/>
                    <a:pt x="426834" y="0"/>
                    <a:pt x="418133" y="0"/>
                  </a:cubicBezTo>
                  <a:close/>
                </a:path>
              </a:pathLst>
            </a:custGeom>
            <a:grpFill/>
            <a:ln w="511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72" name="Freeform: Shape 91">
              <a:extLst>
                <a:ext uri="{FF2B5EF4-FFF2-40B4-BE49-F238E27FC236}">
                  <a16:creationId xmlns:a16="http://schemas.microsoft.com/office/drawing/2014/main" id="{725A7EAE-8161-496E-8CF7-7CEA125D3491}"/>
                </a:ext>
              </a:extLst>
            </p:cNvPr>
            <p:cNvSpPr/>
            <p:nvPr/>
          </p:nvSpPr>
          <p:spPr>
            <a:xfrm>
              <a:off x="3673181" y="860832"/>
              <a:ext cx="260501" cy="5117"/>
            </a:xfrm>
            <a:custGeom>
              <a:avLst/>
              <a:gdLst>
                <a:gd name="connsiteX0" fmla="*/ 257943 w 260501"/>
                <a:gd name="connsiteY0" fmla="*/ 5118 h 5117"/>
                <a:gd name="connsiteX1" fmla="*/ 2559 w 260501"/>
                <a:gd name="connsiteY1" fmla="*/ 5118 h 5117"/>
                <a:gd name="connsiteX2" fmla="*/ 0 w 260501"/>
                <a:gd name="connsiteY2" fmla="*/ 2559 h 5117"/>
                <a:gd name="connsiteX3" fmla="*/ 2559 w 260501"/>
                <a:gd name="connsiteY3" fmla="*/ 0 h 5117"/>
                <a:gd name="connsiteX4" fmla="*/ 257943 w 260501"/>
                <a:gd name="connsiteY4" fmla="*/ 0 h 5117"/>
                <a:gd name="connsiteX5" fmla="*/ 260502 w 260501"/>
                <a:gd name="connsiteY5" fmla="*/ 2559 h 5117"/>
                <a:gd name="connsiteX6" fmla="*/ 257943 w 260501"/>
                <a:gd name="connsiteY6" fmla="*/ 5118 h 51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0501" h="5117">
                  <a:moveTo>
                    <a:pt x="257943" y="5118"/>
                  </a:moveTo>
                  <a:lnTo>
                    <a:pt x="2559" y="5118"/>
                  </a:lnTo>
                  <a:cubicBezTo>
                    <a:pt x="1024" y="5118"/>
                    <a:pt x="0" y="4094"/>
                    <a:pt x="0" y="2559"/>
                  </a:cubicBezTo>
                  <a:cubicBezTo>
                    <a:pt x="0" y="1024"/>
                    <a:pt x="1024" y="0"/>
                    <a:pt x="2559" y="0"/>
                  </a:cubicBezTo>
                  <a:lnTo>
                    <a:pt x="257943" y="0"/>
                  </a:lnTo>
                  <a:cubicBezTo>
                    <a:pt x="259478" y="0"/>
                    <a:pt x="260502" y="1024"/>
                    <a:pt x="260502" y="2559"/>
                  </a:cubicBezTo>
                  <a:cubicBezTo>
                    <a:pt x="260502" y="4094"/>
                    <a:pt x="259478" y="5118"/>
                    <a:pt x="257943" y="5118"/>
                  </a:cubicBezTo>
                  <a:close/>
                </a:path>
              </a:pathLst>
            </a:custGeom>
            <a:grpFill/>
            <a:ln w="511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nvGrpSpPr>
            <p:cNvPr id="73" name="Graphic 1">
              <a:extLst>
                <a:ext uri="{FF2B5EF4-FFF2-40B4-BE49-F238E27FC236}">
                  <a16:creationId xmlns:a16="http://schemas.microsoft.com/office/drawing/2014/main" id="{16DCF7CB-FB29-4560-A9D4-26D6A412F4E7}"/>
                </a:ext>
              </a:extLst>
            </p:cNvPr>
            <p:cNvGrpSpPr/>
            <p:nvPr/>
          </p:nvGrpSpPr>
          <p:grpSpPr>
            <a:xfrm>
              <a:off x="3686487" y="680170"/>
              <a:ext cx="233888" cy="161726"/>
              <a:chOff x="3686487" y="680170"/>
              <a:chExt cx="233888" cy="161726"/>
            </a:xfrm>
            <a:grpFill/>
          </p:grpSpPr>
          <p:sp>
            <p:nvSpPr>
              <p:cNvPr id="74" name="Freeform: Shape 93">
                <a:extLst>
                  <a:ext uri="{FF2B5EF4-FFF2-40B4-BE49-F238E27FC236}">
                    <a16:creationId xmlns:a16="http://schemas.microsoft.com/office/drawing/2014/main" id="{C920B075-5412-476F-A269-B9BC9A1FC1E7}"/>
                  </a:ext>
                </a:extLst>
              </p:cNvPr>
              <p:cNvSpPr/>
              <p:nvPr/>
            </p:nvSpPr>
            <p:spPr>
              <a:xfrm>
                <a:off x="3686487" y="805047"/>
                <a:ext cx="42478" cy="36848"/>
              </a:xfrm>
              <a:custGeom>
                <a:avLst/>
                <a:gdLst>
                  <a:gd name="connsiteX0" fmla="*/ 39920 w 42478"/>
                  <a:gd name="connsiteY0" fmla="*/ 0 h 36848"/>
                  <a:gd name="connsiteX1" fmla="*/ 2559 w 42478"/>
                  <a:gd name="connsiteY1" fmla="*/ 0 h 36848"/>
                  <a:gd name="connsiteX2" fmla="*/ 0 w 42478"/>
                  <a:gd name="connsiteY2" fmla="*/ 2559 h 36848"/>
                  <a:gd name="connsiteX3" fmla="*/ 0 w 42478"/>
                  <a:gd name="connsiteY3" fmla="*/ 34290 h 36848"/>
                  <a:gd name="connsiteX4" fmla="*/ 2559 w 42478"/>
                  <a:gd name="connsiteY4" fmla="*/ 36849 h 36848"/>
                  <a:gd name="connsiteX5" fmla="*/ 39920 w 42478"/>
                  <a:gd name="connsiteY5" fmla="*/ 36849 h 36848"/>
                  <a:gd name="connsiteX6" fmla="*/ 42479 w 42478"/>
                  <a:gd name="connsiteY6" fmla="*/ 34290 h 36848"/>
                  <a:gd name="connsiteX7" fmla="*/ 42479 w 42478"/>
                  <a:gd name="connsiteY7" fmla="*/ 2559 h 36848"/>
                  <a:gd name="connsiteX8" fmla="*/ 39920 w 42478"/>
                  <a:gd name="connsiteY8" fmla="*/ 0 h 36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478" h="36848">
                    <a:moveTo>
                      <a:pt x="39920" y="0"/>
                    </a:moveTo>
                    <a:lnTo>
                      <a:pt x="2559" y="0"/>
                    </a:lnTo>
                    <a:cubicBezTo>
                      <a:pt x="1024" y="0"/>
                      <a:pt x="0" y="1024"/>
                      <a:pt x="0" y="2559"/>
                    </a:cubicBezTo>
                    <a:lnTo>
                      <a:pt x="0" y="34290"/>
                    </a:lnTo>
                    <a:cubicBezTo>
                      <a:pt x="0" y="35825"/>
                      <a:pt x="1024" y="36849"/>
                      <a:pt x="2559" y="36849"/>
                    </a:cubicBezTo>
                    <a:lnTo>
                      <a:pt x="39920" y="36849"/>
                    </a:lnTo>
                    <a:cubicBezTo>
                      <a:pt x="41455" y="36849"/>
                      <a:pt x="42479" y="35825"/>
                      <a:pt x="42479" y="34290"/>
                    </a:cubicBezTo>
                    <a:lnTo>
                      <a:pt x="42479" y="2559"/>
                    </a:lnTo>
                    <a:cubicBezTo>
                      <a:pt x="42479" y="1024"/>
                      <a:pt x="41455" y="0"/>
                      <a:pt x="39920" y="0"/>
                    </a:cubicBezTo>
                    <a:close/>
                  </a:path>
                </a:pathLst>
              </a:custGeom>
              <a:grpFill/>
              <a:ln w="511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75" name="Freeform: Shape 94">
                <a:extLst>
                  <a:ext uri="{FF2B5EF4-FFF2-40B4-BE49-F238E27FC236}">
                    <a16:creationId xmlns:a16="http://schemas.microsoft.com/office/drawing/2014/main" id="{A5A329C0-5DCE-4C9C-A7DE-1C1B245545D3}"/>
                  </a:ext>
                </a:extLst>
              </p:cNvPr>
              <p:cNvSpPr/>
              <p:nvPr/>
            </p:nvSpPr>
            <p:spPr>
              <a:xfrm>
                <a:off x="3877897" y="680170"/>
                <a:ext cx="42478" cy="161214"/>
              </a:xfrm>
              <a:custGeom>
                <a:avLst/>
                <a:gdLst>
                  <a:gd name="connsiteX0" fmla="*/ 39920 w 42478"/>
                  <a:gd name="connsiteY0" fmla="*/ 0 h 161214"/>
                  <a:gd name="connsiteX1" fmla="*/ 2559 w 42478"/>
                  <a:gd name="connsiteY1" fmla="*/ 0 h 161214"/>
                  <a:gd name="connsiteX2" fmla="*/ 0 w 42478"/>
                  <a:gd name="connsiteY2" fmla="*/ 2559 h 161214"/>
                  <a:gd name="connsiteX3" fmla="*/ 0 w 42478"/>
                  <a:gd name="connsiteY3" fmla="*/ 158655 h 161214"/>
                  <a:gd name="connsiteX4" fmla="*/ 2559 w 42478"/>
                  <a:gd name="connsiteY4" fmla="*/ 161214 h 161214"/>
                  <a:gd name="connsiteX5" fmla="*/ 39920 w 42478"/>
                  <a:gd name="connsiteY5" fmla="*/ 161214 h 161214"/>
                  <a:gd name="connsiteX6" fmla="*/ 42479 w 42478"/>
                  <a:gd name="connsiteY6" fmla="*/ 158655 h 161214"/>
                  <a:gd name="connsiteX7" fmla="*/ 42479 w 42478"/>
                  <a:gd name="connsiteY7" fmla="*/ 2559 h 161214"/>
                  <a:gd name="connsiteX8" fmla="*/ 39920 w 42478"/>
                  <a:gd name="connsiteY8" fmla="*/ 0 h 161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478" h="161214">
                    <a:moveTo>
                      <a:pt x="39920" y="0"/>
                    </a:moveTo>
                    <a:lnTo>
                      <a:pt x="2559" y="0"/>
                    </a:lnTo>
                    <a:cubicBezTo>
                      <a:pt x="1024" y="0"/>
                      <a:pt x="0" y="1024"/>
                      <a:pt x="0" y="2559"/>
                    </a:cubicBezTo>
                    <a:lnTo>
                      <a:pt x="0" y="158655"/>
                    </a:lnTo>
                    <a:cubicBezTo>
                      <a:pt x="0" y="160191"/>
                      <a:pt x="1024" y="161214"/>
                      <a:pt x="2559" y="161214"/>
                    </a:cubicBezTo>
                    <a:lnTo>
                      <a:pt x="39920" y="161214"/>
                    </a:lnTo>
                    <a:cubicBezTo>
                      <a:pt x="41455" y="161214"/>
                      <a:pt x="42479" y="160191"/>
                      <a:pt x="42479" y="158655"/>
                    </a:cubicBezTo>
                    <a:lnTo>
                      <a:pt x="42479" y="2559"/>
                    </a:lnTo>
                    <a:cubicBezTo>
                      <a:pt x="42479" y="1535"/>
                      <a:pt x="41455" y="0"/>
                      <a:pt x="39920" y="0"/>
                    </a:cubicBezTo>
                    <a:close/>
                  </a:path>
                </a:pathLst>
              </a:custGeom>
              <a:grpFill/>
              <a:ln w="511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76" name="Freeform: Shape 95">
                <a:extLst>
                  <a:ext uri="{FF2B5EF4-FFF2-40B4-BE49-F238E27FC236}">
                    <a16:creationId xmlns:a16="http://schemas.microsoft.com/office/drawing/2014/main" id="{47EDAE69-2983-4AE1-B8D6-88DFCD9219F0}"/>
                  </a:ext>
                </a:extLst>
              </p:cNvPr>
              <p:cNvSpPr/>
              <p:nvPr/>
            </p:nvSpPr>
            <p:spPr>
              <a:xfrm>
                <a:off x="3813923" y="738514"/>
                <a:ext cx="42478" cy="100822"/>
              </a:xfrm>
              <a:custGeom>
                <a:avLst/>
                <a:gdLst>
                  <a:gd name="connsiteX0" fmla="*/ 39920 w 42478"/>
                  <a:gd name="connsiteY0" fmla="*/ 0 h 100822"/>
                  <a:gd name="connsiteX1" fmla="*/ 2559 w 42478"/>
                  <a:gd name="connsiteY1" fmla="*/ 0 h 100822"/>
                  <a:gd name="connsiteX2" fmla="*/ 0 w 42478"/>
                  <a:gd name="connsiteY2" fmla="*/ 2559 h 100822"/>
                  <a:gd name="connsiteX3" fmla="*/ 0 w 42478"/>
                  <a:gd name="connsiteY3" fmla="*/ 98264 h 100822"/>
                  <a:gd name="connsiteX4" fmla="*/ 2559 w 42478"/>
                  <a:gd name="connsiteY4" fmla="*/ 100823 h 100822"/>
                  <a:gd name="connsiteX5" fmla="*/ 39920 w 42478"/>
                  <a:gd name="connsiteY5" fmla="*/ 100823 h 100822"/>
                  <a:gd name="connsiteX6" fmla="*/ 42479 w 42478"/>
                  <a:gd name="connsiteY6" fmla="*/ 98264 h 100822"/>
                  <a:gd name="connsiteX7" fmla="*/ 42479 w 42478"/>
                  <a:gd name="connsiteY7" fmla="*/ 2559 h 100822"/>
                  <a:gd name="connsiteX8" fmla="*/ 39920 w 42478"/>
                  <a:gd name="connsiteY8" fmla="*/ 0 h 100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478" h="100822">
                    <a:moveTo>
                      <a:pt x="39920" y="0"/>
                    </a:moveTo>
                    <a:lnTo>
                      <a:pt x="2559" y="0"/>
                    </a:lnTo>
                    <a:cubicBezTo>
                      <a:pt x="1024" y="0"/>
                      <a:pt x="0" y="1024"/>
                      <a:pt x="0" y="2559"/>
                    </a:cubicBezTo>
                    <a:lnTo>
                      <a:pt x="0" y="98264"/>
                    </a:lnTo>
                    <a:cubicBezTo>
                      <a:pt x="0" y="99799"/>
                      <a:pt x="1024" y="100823"/>
                      <a:pt x="2559" y="100823"/>
                    </a:cubicBezTo>
                    <a:lnTo>
                      <a:pt x="39920" y="100823"/>
                    </a:lnTo>
                    <a:cubicBezTo>
                      <a:pt x="41455" y="100823"/>
                      <a:pt x="42479" y="99799"/>
                      <a:pt x="42479" y="98264"/>
                    </a:cubicBezTo>
                    <a:lnTo>
                      <a:pt x="42479" y="2559"/>
                    </a:lnTo>
                    <a:cubicBezTo>
                      <a:pt x="42479" y="1024"/>
                      <a:pt x="41455" y="0"/>
                      <a:pt x="39920" y="0"/>
                    </a:cubicBezTo>
                    <a:close/>
                  </a:path>
                </a:pathLst>
              </a:custGeom>
              <a:grpFill/>
              <a:ln w="511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77" name="Freeform: Shape 96">
                <a:extLst>
                  <a:ext uri="{FF2B5EF4-FFF2-40B4-BE49-F238E27FC236}">
                    <a16:creationId xmlns:a16="http://schemas.microsoft.com/office/drawing/2014/main" id="{6D2725BE-329A-46E8-9040-65C32384B73E}"/>
                  </a:ext>
                </a:extLst>
              </p:cNvPr>
              <p:cNvSpPr/>
              <p:nvPr/>
            </p:nvSpPr>
            <p:spPr>
              <a:xfrm>
                <a:off x="3750461" y="706783"/>
                <a:ext cx="42478" cy="133065"/>
              </a:xfrm>
              <a:custGeom>
                <a:avLst/>
                <a:gdLst>
                  <a:gd name="connsiteX0" fmla="*/ 39920 w 42478"/>
                  <a:gd name="connsiteY0" fmla="*/ 0 h 133065"/>
                  <a:gd name="connsiteX1" fmla="*/ 2559 w 42478"/>
                  <a:gd name="connsiteY1" fmla="*/ 0 h 133065"/>
                  <a:gd name="connsiteX2" fmla="*/ 0 w 42478"/>
                  <a:gd name="connsiteY2" fmla="*/ 2559 h 133065"/>
                  <a:gd name="connsiteX3" fmla="*/ 0 w 42478"/>
                  <a:gd name="connsiteY3" fmla="*/ 130507 h 133065"/>
                  <a:gd name="connsiteX4" fmla="*/ 2559 w 42478"/>
                  <a:gd name="connsiteY4" fmla="*/ 133066 h 133065"/>
                  <a:gd name="connsiteX5" fmla="*/ 39920 w 42478"/>
                  <a:gd name="connsiteY5" fmla="*/ 133066 h 133065"/>
                  <a:gd name="connsiteX6" fmla="*/ 42479 w 42478"/>
                  <a:gd name="connsiteY6" fmla="*/ 130507 h 133065"/>
                  <a:gd name="connsiteX7" fmla="*/ 42479 w 42478"/>
                  <a:gd name="connsiteY7" fmla="*/ 2559 h 133065"/>
                  <a:gd name="connsiteX8" fmla="*/ 39920 w 42478"/>
                  <a:gd name="connsiteY8" fmla="*/ 0 h 1330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478" h="133065">
                    <a:moveTo>
                      <a:pt x="39920" y="0"/>
                    </a:moveTo>
                    <a:lnTo>
                      <a:pt x="2559" y="0"/>
                    </a:lnTo>
                    <a:cubicBezTo>
                      <a:pt x="1024" y="0"/>
                      <a:pt x="0" y="1024"/>
                      <a:pt x="0" y="2559"/>
                    </a:cubicBezTo>
                    <a:lnTo>
                      <a:pt x="0" y="130507"/>
                    </a:lnTo>
                    <a:cubicBezTo>
                      <a:pt x="0" y="132042"/>
                      <a:pt x="1024" y="133066"/>
                      <a:pt x="2559" y="133066"/>
                    </a:cubicBezTo>
                    <a:lnTo>
                      <a:pt x="39920" y="133066"/>
                    </a:lnTo>
                    <a:cubicBezTo>
                      <a:pt x="41455" y="133066"/>
                      <a:pt x="42479" y="132042"/>
                      <a:pt x="42479" y="130507"/>
                    </a:cubicBezTo>
                    <a:lnTo>
                      <a:pt x="42479" y="2559"/>
                    </a:lnTo>
                    <a:cubicBezTo>
                      <a:pt x="42479" y="1024"/>
                      <a:pt x="41455" y="0"/>
                      <a:pt x="39920" y="0"/>
                    </a:cubicBezTo>
                    <a:close/>
                  </a:path>
                </a:pathLst>
              </a:custGeom>
              <a:grpFill/>
              <a:ln w="511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grpSp>
      <p:grpSp>
        <p:nvGrpSpPr>
          <p:cNvPr id="78" name="Graphic 1">
            <a:extLst>
              <a:ext uri="{FF2B5EF4-FFF2-40B4-BE49-F238E27FC236}">
                <a16:creationId xmlns:a16="http://schemas.microsoft.com/office/drawing/2014/main" id="{97F6E20A-E4AF-4FA9-99AE-382F03CBB0D6}"/>
              </a:ext>
            </a:extLst>
          </p:cNvPr>
          <p:cNvGrpSpPr/>
          <p:nvPr/>
        </p:nvGrpSpPr>
        <p:grpSpPr>
          <a:xfrm>
            <a:off x="5952163" y="3327454"/>
            <a:ext cx="287674" cy="204644"/>
            <a:chOff x="3593342" y="1224204"/>
            <a:chExt cx="427345" cy="304003"/>
          </a:xfrm>
          <a:solidFill>
            <a:schemeClr val="accent4"/>
          </a:solidFill>
        </p:grpSpPr>
        <p:sp>
          <p:nvSpPr>
            <p:cNvPr id="79" name="Freeform: Shape 98">
              <a:extLst>
                <a:ext uri="{FF2B5EF4-FFF2-40B4-BE49-F238E27FC236}">
                  <a16:creationId xmlns:a16="http://schemas.microsoft.com/office/drawing/2014/main" id="{6C4E1A5B-BE90-4638-ABD3-1A6FAF29A8E6}"/>
                </a:ext>
              </a:extLst>
            </p:cNvPr>
            <p:cNvSpPr/>
            <p:nvPr/>
          </p:nvSpPr>
          <p:spPr>
            <a:xfrm>
              <a:off x="3593342" y="1224204"/>
              <a:ext cx="150466" cy="149954"/>
            </a:xfrm>
            <a:custGeom>
              <a:avLst/>
              <a:gdLst>
                <a:gd name="connsiteX0" fmla="*/ 150467 w 150466"/>
                <a:gd name="connsiteY0" fmla="*/ 52714 h 149954"/>
                <a:gd name="connsiteX1" fmla="*/ 120271 w 150466"/>
                <a:gd name="connsiteY1" fmla="*/ 22519 h 149954"/>
                <a:gd name="connsiteX2" fmla="*/ 103894 w 150466"/>
                <a:gd name="connsiteY2" fmla="*/ 6141 h 149954"/>
                <a:gd name="connsiteX3" fmla="*/ 74721 w 150466"/>
                <a:gd name="connsiteY3" fmla="*/ 6141 h 149954"/>
                <a:gd name="connsiteX4" fmla="*/ 6141 w 150466"/>
                <a:gd name="connsiteY4" fmla="*/ 74722 h 149954"/>
                <a:gd name="connsiteX5" fmla="*/ 6141 w 150466"/>
                <a:gd name="connsiteY5" fmla="*/ 103894 h 149954"/>
                <a:gd name="connsiteX6" fmla="*/ 22007 w 150466"/>
                <a:gd name="connsiteY6" fmla="*/ 119247 h 149954"/>
                <a:gd name="connsiteX7" fmla="*/ 52714 w 150466"/>
                <a:gd name="connsiteY7" fmla="*/ 149955 h 149954"/>
                <a:gd name="connsiteX8" fmla="*/ 150467 w 150466"/>
                <a:gd name="connsiteY8" fmla="*/ 52714 h 149954"/>
                <a:gd name="connsiteX9" fmla="*/ 52714 w 150466"/>
                <a:gd name="connsiteY9" fmla="*/ 136136 h 149954"/>
                <a:gd name="connsiteX10" fmla="*/ 33266 w 150466"/>
                <a:gd name="connsiteY10" fmla="*/ 116688 h 149954"/>
                <a:gd name="connsiteX11" fmla="*/ 116688 w 150466"/>
                <a:gd name="connsiteY11" fmla="*/ 33266 h 149954"/>
                <a:gd name="connsiteX12" fmla="*/ 136136 w 150466"/>
                <a:gd name="connsiteY12" fmla="*/ 52714 h 149954"/>
                <a:gd name="connsiteX13" fmla="*/ 52714 w 150466"/>
                <a:gd name="connsiteY13" fmla="*/ 136136 h 1499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50466" h="149954">
                  <a:moveTo>
                    <a:pt x="150467" y="52714"/>
                  </a:moveTo>
                  <a:lnTo>
                    <a:pt x="120271" y="22519"/>
                  </a:lnTo>
                  <a:lnTo>
                    <a:pt x="103894" y="6141"/>
                  </a:lnTo>
                  <a:cubicBezTo>
                    <a:pt x="95705" y="-2047"/>
                    <a:pt x="82910" y="-2047"/>
                    <a:pt x="74721" y="6141"/>
                  </a:cubicBezTo>
                  <a:lnTo>
                    <a:pt x="6141" y="74722"/>
                  </a:lnTo>
                  <a:cubicBezTo>
                    <a:pt x="-2047" y="82910"/>
                    <a:pt x="-2047" y="95705"/>
                    <a:pt x="6141" y="103894"/>
                  </a:cubicBezTo>
                  <a:lnTo>
                    <a:pt x="22007" y="119247"/>
                  </a:lnTo>
                  <a:lnTo>
                    <a:pt x="52714" y="149955"/>
                  </a:lnTo>
                  <a:lnTo>
                    <a:pt x="150467" y="52714"/>
                  </a:lnTo>
                  <a:close/>
                  <a:moveTo>
                    <a:pt x="52714" y="136136"/>
                  </a:moveTo>
                  <a:lnTo>
                    <a:pt x="33266" y="116688"/>
                  </a:lnTo>
                  <a:lnTo>
                    <a:pt x="116688" y="33266"/>
                  </a:lnTo>
                  <a:lnTo>
                    <a:pt x="136136" y="52714"/>
                  </a:lnTo>
                  <a:lnTo>
                    <a:pt x="52714" y="136136"/>
                  </a:lnTo>
                  <a:close/>
                </a:path>
              </a:pathLst>
            </a:custGeom>
            <a:grpFill/>
            <a:ln w="511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80" name="Freeform: Shape 99">
              <a:extLst>
                <a:ext uri="{FF2B5EF4-FFF2-40B4-BE49-F238E27FC236}">
                  <a16:creationId xmlns:a16="http://schemas.microsoft.com/office/drawing/2014/main" id="{186D8FA4-6BFE-451C-A4FB-F1E50A1A9D4D}"/>
                </a:ext>
              </a:extLst>
            </p:cNvPr>
            <p:cNvSpPr/>
            <p:nvPr/>
          </p:nvSpPr>
          <p:spPr>
            <a:xfrm>
              <a:off x="3646056" y="1262588"/>
              <a:ext cx="237000" cy="265619"/>
            </a:xfrm>
            <a:custGeom>
              <a:avLst/>
              <a:gdLst>
                <a:gd name="connsiteX0" fmla="*/ 150467 w 237000"/>
                <a:gd name="connsiteY0" fmla="*/ 262549 h 265619"/>
                <a:gd name="connsiteX1" fmla="*/ 157632 w 237000"/>
                <a:gd name="connsiteY1" fmla="*/ 265620 h 265619"/>
                <a:gd name="connsiteX2" fmla="*/ 165308 w 237000"/>
                <a:gd name="connsiteY2" fmla="*/ 262549 h 265619"/>
                <a:gd name="connsiteX3" fmla="*/ 233888 w 237000"/>
                <a:gd name="connsiteY3" fmla="*/ 193969 h 265619"/>
                <a:gd name="connsiteX4" fmla="*/ 235936 w 237000"/>
                <a:gd name="connsiteY4" fmla="*/ 191410 h 265619"/>
                <a:gd name="connsiteX5" fmla="*/ 233888 w 237000"/>
                <a:gd name="connsiteY5" fmla="*/ 179639 h 265619"/>
                <a:gd name="connsiteX6" fmla="*/ 157632 w 237000"/>
                <a:gd name="connsiteY6" fmla="*/ 103382 h 265619"/>
                <a:gd name="connsiteX7" fmla="*/ 144837 w 237000"/>
                <a:gd name="connsiteY7" fmla="*/ 115665 h 265619"/>
                <a:gd name="connsiteX8" fmla="*/ 103894 w 237000"/>
                <a:gd name="connsiteY8" fmla="*/ 132554 h 265619"/>
                <a:gd name="connsiteX9" fmla="*/ 103894 w 237000"/>
                <a:gd name="connsiteY9" fmla="*/ 132554 h 265619"/>
                <a:gd name="connsiteX10" fmla="*/ 62950 w 237000"/>
                <a:gd name="connsiteY10" fmla="*/ 115665 h 265619"/>
                <a:gd name="connsiteX11" fmla="*/ 59368 w 237000"/>
                <a:gd name="connsiteY11" fmla="*/ 112082 h 265619"/>
                <a:gd name="connsiteX12" fmla="*/ 150467 w 237000"/>
                <a:gd name="connsiteY12" fmla="*/ 20983 h 265619"/>
                <a:gd name="connsiteX13" fmla="*/ 135625 w 237000"/>
                <a:gd name="connsiteY13" fmla="*/ 6141 h 265619"/>
                <a:gd name="connsiteX14" fmla="*/ 106453 w 237000"/>
                <a:gd name="connsiteY14" fmla="*/ 6141 h 265619"/>
                <a:gd name="connsiteX15" fmla="*/ 0 w 237000"/>
                <a:gd name="connsiteY15" fmla="*/ 112594 h 265619"/>
                <a:gd name="connsiteX16" fmla="*/ 78816 w 237000"/>
                <a:gd name="connsiteY16" fmla="*/ 190898 h 265619"/>
                <a:gd name="connsiteX17" fmla="*/ 150467 w 237000"/>
                <a:gd name="connsiteY17" fmla="*/ 262549 h 2656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37000" h="265619">
                  <a:moveTo>
                    <a:pt x="150467" y="262549"/>
                  </a:moveTo>
                  <a:cubicBezTo>
                    <a:pt x="152514" y="264596"/>
                    <a:pt x="154561" y="265620"/>
                    <a:pt x="157632" y="265620"/>
                  </a:cubicBezTo>
                  <a:cubicBezTo>
                    <a:pt x="160191" y="265620"/>
                    <a:pt x="163261" y="264596"/>
                    <a:pt x="165308" y="262549"/>
                  </a:cubicBezTo>
                  <a:lnTo>
                    <a:pt x="233888" y="193969"/>
                  </a:lnTo>
                  <a:cubicBezTo>
                    <a:pt x="234912" y="192945"/>
                    <a:pt x="235424" y="192433"/>
                    <a:pt x="235936" y="191410"/>
                  </a:cubicBezTo>
                  <a:cubicBezTo>
                    <a:pt x="237983" y="187315"/>
                    <a:pt x="236959" y="182709"/>
                    <a:pt x="233888" y="179639"/>
                  </a:cubicBezTo>
                  <a:lnTo>
                    <a:pt x="157632" y="103382"/>
                  </a:lnTo>
                  <a:lnTo>
                    <a:pt x="144837" y="115665"/>
                  </a:lnTo>
                  <a:cubicBezTo>
                    <a:pt x="134089" y="126412"/>
                    <a:pt x="119247" y="132554"/>
                    <a:pt x="103894" y="132554"/>
                  </a:cubicBezTo>
                  <a:cubicBezTo>
                    <a:pt x="103894" y="132554"/>
                    <a:pt x="103894" y="132554"/>
                    <a:pt x="103894" y="132554"/>
                  </a:cubicBezTo>
                  <a:cubicBezTo>
                    <a:pt x="88540" y="132554"/>
                    <a:pt x="73698" y="126412"/>
                    <a:pt x="62950" y="115665"/>
                  </a:cubicBezTo>
                  <a:lnTo>
                    <a:pt x="59368" y="112082"/>
                  </a:lnTo>
                  <a:lnTo>
                    <a:pt x="150467" y="20983"/>
                  </a:lnTo>
                  <a:lnTo>
                    <a:pt x="135625" y="6141"/>
                  </a:lnTo>
                  <a:cubicBezTo>
                    <a:pt x="127436" y="-2047"/>
                    <a:pt x="114641" y="-2047"/>
                    <a:pt x="106453" y="6141"/>
                  </a:cubicBezTo>
                  <a:lnTo>
                    <a:pt x="0" y="112594"/>
                  </a:lnTo>
                  <a:lnTo>
                    <a:pt x="78816" y="190898"/>
                  </a:lnTo>
                  <a:lnTo>
                    <a:pt x="150467" y="262549"/>
                  </a:lnTo>
                  <a:close/>
                </a:path>
              </a:pathLst>
            </a:custGeom>
            <a:grpFill/>
            <a:ln w="511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81" name="Freeform: Shape 100">
              <a:extLst>
                <a:ext uri="{FF2B5EF4-FFF2-40B4-BE49-F238E27FC236}">
                  <a16:creationId xmlns:a16="http://schemas.microsoft.com/office/drawing/2014/main" id="{BE906103-FB10-4018-9750-6C76D64B9579}"/>
                </a:ext>
              </a:extLst>
            </p:cNvPr>
            <p:cNvSpPr/>
            <p:nvPr/>
          </p:nvSpPr>
          <p:spPr>
            <a:xfrm>
              <a:off x="3686999" y="1271800"/>
              <a:ext cx="26101" cy="26101"/>
            </a:xfrm>
            <a:custGeom>
              <a:avLst/>
              <a:gdLst>
                <a:gd name="connsiteX0" fmla="*/ 5118 w 26101"/>
                <a:gd name="connsiteY0" fmla="*/ 26101 h 26101"/>
                <a:gd name="connsiteX1" fmla="*/ 1535 w 26101"/>
                <a:gd name="connsiteY1" fmla="*/ 24566 h 26101"/>
                <a:gd name="connsiteX2" fmla="*/ 1535 w 26101"/>
                <a:gd name="connsiteY2" fmla="*/ 17401 h 26101"/>
                <a:gd name="connsiteX3" fmla="*/ 17401 w 26101"/>
                <a:gd name="connsiteY3" fmla="*/ 1535 h 26101"/>
                <a:gd name="connsiteX4" fmla="*/ 24566 w 26101"/>
                <a:gd name="connsiteY4" fmla="*/ 1535 h 26101"/>
                <a:gd name="connsiteX5" fmla="*/ 24566 w 26101"/>
                <a:gd name="connsiteY5" fmla="*/ 8700 h 26101"/>
                <a:gd name="connsiteX6" fmla="*/ 8700 w 26101"/>
                <a:gd name="connsiteY6" fmla="*/ 24566 h 26101"/>
                <a:gd name="connsiteX7" fmla="*/ 5118 w 26101"/>
                <a:gd name="connsiteY7" fmla="*/ 26101 h 261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101" h="26101">
                  <a:moveTo>
                    <a:pt x="5118" y="26101"/>
                  </a:moveTo>
                  <a:cubicBezTo>
                    <a:pt x="3583" y="26101"/>
                    <a:pt x="2559" y="25590"/>
                    <a:pt x="1535" y="24566"/>
                  </a:cubicBezTo>
                  <a:cubicBezTo>
                    <a:pt x="-512" y="22519"/>
                    <a:pt x="-512" y="19448"/>
                    <a:pt x="1535" y="17401"/>
                  </a:cubicBezTo>
                  <a:lnTo>
                    <a:pt x="17401" y="1535"/>
                  </a:lnTo>
                  <a:cubicBezTo>
                    <a:pt x="19448" y="-512"/>
                    <a:pt x="22519" y="-512"/>
                    <a:pt x="24566" y="1535"/>
                  </a:cubicBezTo>
                  <a:cubicBezTo>
                    <a:pt x="26613" y="3583"/>
                    <a:pt x="26613" y="6653"/>
                    <a:pt x="24566" y="8700"/>
                  </a:cubicBezTo>
                  <a:lnTo>
                    <a:pt x="8700" y="24566"/>
                  </a:lnTo>
                  <a:cubicBezTo>
                    <a:pt x="7677" y="25590"/>
                    <a:pt x="6141" y="26101"/>
                    <a:pt x="5118" y="26101"/>
                  </a:cubicBezTo>
                  <a:close/>
                </a:path>
              </a:pathLst>
            </a:custGeom>
            <a:grpFill/>
            <a:ln w="511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82" name="Freeform: Shape 101">
              <a:extLst>
                <a:ext uri="{FF2B5EF4-FFF2-40B4-BE49-F238E27FC236}">
                  <a16:creationId xmlns:a16="http://schemas.microsoft.com/office/drawing/2014/main" id="{962A44FC-94EE-4125-9C5E-4C57EC4D4E11}"/>
                </a:ext>
              </a:extLst>
            </p:cNvPr>
            <p:cNvSpPr/>
            <p:nvPr/>
          </p:nvSpPr>
          <p:spPr>
            <a:xfrm>
              <a:off x="3895810" y="1275383"/>
              <a:ext cx="26101" cy="26101"/>
            </a:xfrm>
            <a:custGeom>
              <a:avLst/>
              <a:gdLst>
                <a:gd name="connsiteX0" fmla="*/ 20983 w 26101"/>
                <a:gd name="connsiteY0" fmla="*/ 26101 h 26101"/>
                <a:gd name="connsiteX1" fmla="*/ 17401 w 26101"/>
                <a:gd name="connsiteY1" fmla="*/ 24566 h 26101"/>
                <a:gd name="connsiteX2" fmla="*/ 1535 w 26101"/>
                <a:gd name="connsiteY2" fmla="*/ 8700 h 26101"/>
                <a:gd name="connsiteX3" fmla="*/ 1535 w 26101"/>
                <a:gd name="connsiteY3" fmla="*/ 1535 h 26101"/>
                <a:gd name="connsiteX4" fmla="*/ 8700 w 26101"/>
                <a:gd name="connsiteY4" fmla="*/ 1535 h 26101"/>
                <a:gd name="connsiteX5" fmla="*/ 24566 w 26101"/>
                <a:gd name="connsiteY5" fmla="*/ 17401 h 26101"/>
                <a:gd name="connsiteX6" fmla="*/ 24566 w 26101"/>
                <a:gd name="connsiteY6" fmla="*/ 24566 h 26101"/>
                <a:gd name="connsiteX7" fmla="*/ 20983 w 26101"/>
                <a:gd name="connsiteY7" fmla="*/ 26101 h 261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101" h="26101">
                  <a:moveTo>
                    <a:pt x="20983" y="26101"/>
                  </a:moveTo>
                  <a:cubicBezTo>
                    <a:pt x="19448" y="26101"/>
                    <a:pt x="18424" y="25590"/>
                    <a:pt x="17401" y="24566"/>
                  </a:cubicBezTo>
                  <a:lnTo>
                    <a:pt x="1535" y="8700"/>
                  </a:lnTo>
                  <a:cubicBezTo>
                    <a:pt x="-512" y="6653"/>
                    <a:pt x="-512" y="3582"/>
                    <a:pt x="1535" y="1535"/>
                  </a:cubicBezTo>
                  <a:cubicBezTo>
                    <a:pt x="3583" y="-512"/>
                    <a:pt x="6653" y="-512"/>
                    <a:pt x="8700" y="1535"/>
                  </a:cubicBezTo>
                  <a:lnTo>
                    <a:pt x="24566" y="17401"/>
                  </a:lnTo>
                  <a:cubicBezTo>
                    <a:pt x="26613" y="19448"/>
                    <a:pt x="26613" y="22519"/>
                    <a:pt x="24566" y="24566"/>
                  </a:cubicBezTo>
                  <a:cubicBezTo>
                    <a:pt x="23542" y="25590"/>
                    <a:pt x="22007" y="26101"/>
                    <a:pt x="20983" y="26101"/>
                  </a:cubicBezTo>
                  <a:close/>
                </a:path>
              </a:pathLst>
            </a:custGeom>
            <a:grpFill/>
            <a:ln w="511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83" name="Freeform: Shape 102">
              <a:extLst>
                <a:ext uri="{FF2B5EF4-FFF2-40B4-BE49-F238E27FC236}">
                  <a16:creationId xmlns:a16="http://schemas.microsoft.com/office/drawing/2014/main" id="{AD1739C0-6FDF-4B1C-A3B2-7BBF5106E8B9}"/>
                </a:ext>
              </a:extLst>
            </p:cNvPr>
            <p:cNvSpPr/>
            <p:nvPr/>
          </p:nvSpPr>
          <p:spPr>
            <a:xfrm>
              <a:off x="3720266" y="1231881"/>
              <a:ext cx="300421" cy="227235"/>
            </a:xfrm>
            <a:custGeom>
              <a:avLst/>
              <a:gdLst>
                <a:gd name="connsiteX0" fmla="*/ 294280 w 300421"/>
                <a:gd name="connsiteY0" fmla="*/ 74722 h 227235"/>
                <a:gd name="connsiteX1" fmla="*/ 225700 w 300421"/>
                <a:gd name="connsiteY1" fmla="*/ 6141 h 227235"/>
                <a:gd name="connsiteX2" fmla="*/ 196528 w 300421"/>
                <a:gd name="connsiteY2" fmla="*/ 6141 h 227235"/>
                <a:gd name="connsiteX3" fmla="*/ 180662 w 300421"/>
                <a:gd name="connsiteY3" fmla="*/ 22007 h 227235"/>
                <a:gd name="connsiteX4" fmla="*/ 157632 w 300421"/>
                <a:gd name="connsiteY4" fmla="*/ 45038 h 227235"/>
                <a:gd name="connsiteX5" fmla="*/ 141766 w 300421"/>
                <a:gd name="connsiteY5" fmla="*/ 29172 h 227235"/>
                <a:gd name="connsiteX6" fmla="*/ 120271 w 300421"/>
                <a:gd name="connsiteY6" fmla="*/ 19960 h 227235"/>
                <a:gd name="connsiteX7" fmla="*/ 98776 w 300421"/>
                <a:gd name="connsiteY7" fmla="*/ 29172 h 227235"/>
                <a:gd name="connsiteX8" fmla="*/ 83934 w 300421"/>
                <a:gd name="connsiteY8" fmla="*/ 44014 h 227235"/>
                <a:gd name="connsiteX9" fmla="*/ 91099 w 300421"/>
                <a:gd name="connsiteY9" fmla="*/ 51179 h 227235"/>
                <a:gd name="connsiteX10" fmla="*/ 91099 w 300421"/>
                <a:gd name="connsiteY10" fmla="*/ 51179 h 227235"/>
                <a:gd name="connsiteX11" fmla="*/ 91099 w 300421"/>
                <a:gd name="connsiteY11" fmla="*/ 51179 h 227235"/>
                <a:gd name="connsiteX12" fmla="*/ 43502 w 300421"/>
                <a:gd name="connsiteY12" fmla="*/ 98776 h 227235"/>
                <a:gd name="connsiteX13" fmla="*/ 0 w 300421"/>
                <a:gd name="connsiteY13" fmla="*/ 142278 h 227235"/>
                <a:gd name="connsiteX14" fmla="*/ 5118 w 300421"/>
                <a:gd name="connsiteY14" fmla="*/ 145861 h 227235"/>
                <a:gd name="connsiteX15" fmla="*/ 30196 w 300421"/>
                <a:gd name="connsiteY15" fmla="*/ 153026 h 227235"/>
                <a:gd name="connsiteX16" fmla="*/ 30196 w 300421"/>
                <a:gd name="connsiteY16" fmla="*/ 153026 h 227235"/>
                <a:gd name="connsiteX17" fmla="*/ 48620 w 300421"/>
                <a:gd name="connsiteY17" fmla="*/ 149443 h 227235"/>
                <a:gd name="connsiteX18" fmla="*/ 63974 w 300421"/>
                <a:gd name="connsiteY18" fmla="*/ 139207 h 227235"/>
                <a:gd name="connsiteX19" fmla="*/ 83934 w 300421"/>
                <a:gd name="connsiteY19" fmla="*/ 119759 h 227235"/>
                <a:gd name="connsiteX20" fmla="*/ 83934 w 300421"/>
                <a:gd name="connsiteY20" fmla="*/ 119759 h 227235"/>
                <a:gd name="connsiteX21" fmla="*/ 83934 w 300421"/>
                <a:gd name="connsiteY21" fmla="*/ 119759 h 227235"/>
                <a:gd name="connsiteX22" fmla="*/ 134089 w 300421"/>
                <a:gd name="connsiteY22" fmla="*/ 169403 h 227235"/>
                <a:gd name="connsiteX23" fmla="*/ 167356 w 300421"/>
                <a:gd name="connsiteY23" fmla="*/ 202669 h 227235"/>
                <a:gd name="connsiteX24" fmla="*/ 170938 w 300421"/>
                <a:gd name="connsiteY24" fmla="*/ 207787 h 227235"/>
                <a:gd name="connsiteX25" fmla="*/ 170938 w 300421"/>
                <a:gd name="connsiteY25" fmla="*/ 208299 h 227235"/>
                <a:gd name="connsiteX26" fmla="*/ 170938 w 300421"/>
                <a:gd name="connsiteY26" fmla="*/ 226212 h 227235"/>
                <a:gd name="connsiteX27" fmla="*/ 170938 w 300421"/>
                <a:gd name="connsiteY27" fmla="*/ 226212 h 227235"/>
                <a:gd name="connsiteX28" fmla="*/ 170938 w 300421"/>
                <a:gd name="connsiteY28" fmla="*/ 226212 h 227235"/>
                <a:gd name="connsiteX29" fmla="*/ 170426 w 300421"/>
                <a:gd name="connsiteY29" fmla="*/ 227235 h 227235"/>
                <a:gd name="connsiteX30" fmla="*/ 247707 w 300421"/>
                <a:gd name="connsiteY30" fmla="*/ 149955 h 227235"/>
                <a:gd name="connsiteX31" fmla="*/ 277903 w 300421"/>
                <a:gd name="connsiteY31" fmla="*/ 119759 h 227235"/>
                <a:gd name="connsiteX32" fmla="*/ 294280 w 300421"/>
                <a:gd name="connsiteY32" fmla="*/ 103382 h 227235"/>
                <a:gd name="connsiteX33" fmla="*/ 294280 w 300421"/>
                <a:gd name="connsiteY33" fmla="*/ 74722 h 227235"/>
                <a:gd name="connsiteX34" fmla="*/ 247707 w 300421"/>
                <a:gd name="connsiteY34" fmla="*/ 135625 h 227235"/>
                <a:gd name="connsiteX35" fmla="*/ 164797 w 300421"/>
                <a:gd name="connsiteY35" fmla="*/ 52203 h 227235"/>
                <a:gd name="connsiteX36" fmla="*/ 184245 w 300421"/>
                <a:gd name="connsiteY36" fmla="*/ 32755 h 227235"/>
                <a:gd name="connsiteX37" fmla="*/ 267155 w 300421"/>
                <a:gd name="connsiteY37" fmla="*/ 116177 h 227235"/>
                <a:gd name="connsiteX38" fmla="*/ 247707 w 300421"/>
                <a:gd name="connsiteY38" fmla="*/ 135625 h 2272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300421" h="227235">
                  <a:moveTo>
                    <a:pt x="294280" y="74722"/>
                  </a:moveTo>
                  <a:lnTo>
                    <a:pt x="225700" y="6141"/>
                  </a:lnTo>
                  <a:cubicBezTo>
                    <a:pt x="217511" y="-2047"/>
                    <a:pt x="204716" y="-2047"/>
                    <a:pt x="196528" y="6141"/>
                  </a:cubicBezTo>
                  <a:lnTo>
                    <a:pt x="180662" y="22007"/>
                  </a:lnTo>
                  <a:lnTo>
                    <a:pt x="157632" y="45038"/>
                  </a:lnTo>
                  <a:lnTo>
                    <a:pt x="141766" y="29172"/>
                  </a:lnTo>
                  <a:cubicBezTo>
                    <a:pt x="136136" y="23542"/>
                    <a:pt x="128460" y="19960"/>
                    <a:pt x="120271" y="19960"/>
                  </a:cubicBezTo>
                  <a:cubicBezTo>
                    <a:pt x="112082" y="19960"/>
                    <a:pt x="104405" y="23031"/>
                    <a:pt x="98776" y="29172"/>
                  </a:cubicBezTo>
                  <a:lnTo>
                    <a:pt x="83934" y="44014"/>
                  </a:lnTo>
                  <a:lnTo>
                    <a:pt x="91099" y="51179"/>
                  </a:lnTo>
                  <a:lnTo>
                    <a:pt x="91099" y="51179"/>
                  </a:lnTo>
                  <a:lnTo>
                    <a:pt x="91099" y="51179"/>
                  </a:lnTo>
                  <a:lnTo>
                    <a:pt x="43502" y="98776"/>
                  </a:lnTo>
                  <a:lnTo>
                    <a:pt x="0" y="142278"/>
                  </a:lnTo>
                  <a:cubicBezTo>
                    <a:pt x="1535" y="143813"/>
                    <a:pt x="3071" y="144837"/>
                    <a:pt x="5118" y="145861"/>
                  </a:cubicBezTo>
                  <a:cubicBezTo>
                    <a:pt x="12795" y="150467"/>
                    <a:pt x="20983" y="153026"/>
                    <a:pt x="30196" y="153026"/>
                  </a:cubicBezTo>
                  <a:cubicBezTo>
                    <a:pt x="30196" y="153026"/>
                    <a:pt x="30196" y="153026"/>
                    <a:pt x="30196" y="153026"/>
                  </a:cubicBezTo>
                  <a:cubicBezTo>
                    <a:pt x="36337" y="153026"/>
                    <a:pt x="42990" y="152002"/>
                    <a:pt x="48620" y="149443"/>
                  </a:cubicBezTo>
                  <a:cubicBezTo>
                    <a:pt x="54250" y="146884"/>
                    <a:pt x="59880" y="143302"/>
                    <a:pt x="63974" y="139207"/>
                  </a:cubicBezTo>
                  <a:lnTo>
                    <a:pt x="83934" y="119759"/>
                  </a:lnTo>
                  <a:lnTo>
                    <a:pt x="83934" y="119759"/>
                  </a:lnTo>
                  <a:lnTo>
                    <a:pt x="83934" y="119759"/>
                  </a:lnTo>
                  <a:lnTo>
                    <a:pt x="134089" y="169403"/>
                  </a:lnTo>
                  <a:lnTo>
                    <a:pt x="167356" y="202669"/>
                  </a:lnTo>
                  <a:cubicBezTo>
                    <a:pt x="168891" y="204205"/>
                    <a:pt x="170426" y="206252"/>
                    <a:pt x="170938" y="207787"/>
                  </a:cubicBezTo>
                  <a:cubicBezTo>
                    <a:pt x="170938" y="207787"/>
                    <a:pt x="170938" y="208299"/>
                    <a:pt x="170938" y="208299"/>
                  </a:cubicBezTo>
                  <a:cubicBezTo>
                    <a:pt x="173497" y="213929"/>
                    <a:pt x="173497" y="220582"/>
                    <a:pt x="170938" y="226212"/>
                  </a:cubicBezTo>
                  <a:lnTo>
                    <a:pt x="170938" y="226212"/>
                  </a:lnTo>
                  <a:cubicBezTo>
                    <a:pt x="170938" y="226212"/>
                    <a:pt x="170938" y="226212"/>
                    <a:pt x="170938" y="226212"/>
                  </a:cubicBezTo>
                  <a:cubicBezTo>
                    <a:pt x="170938" y="226723"/>
                    <a:pt x="170426" y="226723"/>
                    <a:pt x="170426" y="227235"/>
                  </a:cubicBezTo>
                  <a:lnTo>
                    <a:pt x="247707" y="149955"/>
                  </a:lnTo>
                  <a:lnTo>
                    <a:pt x="277903" y="119759"/>
                  </a:lnTo>
                  <a:lnTo>
                    <a:pt x="294280" y="103382"/>
                  </a:lnTo>
                  <a:cubicBezTo>
                    <a:pt x="302469" y="95705"/>
                    <a:pt x="302469" y="82398"/>
                    <a:pt x="294280" y="74722"/>
                  </a:cubicBezTo>
                  <a:close/>
                  <a:moveTo>
                    <a:pt x="247707" y="135625"/>
                  </a:moveTo>
                  <a:lnTo>
                    <a:pt x="164797" y="52203"/>
                  </a:lnTo>
                  <a:lnTo>
                    <a:pt x="184245" y="32755"/>
                  </a:lnTo>
                  <a:lnTo>
                    <a:pt x="267155" y="116177"/>
                  </a:lnTo>
                  <a:lnTo>
                    <a:pt x="247707" y="135625"/>
                  </a:lnTo>
                  <a:close/>
                </a:path>
              </a:pathLst>
            </a:custGeom>
            <a:grpFill/>
            <a:ln w="511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sp>
        <p:nvSpPr>
          <p:cNvPr id="84" name="Freeform: Shape 103">
            <a:extLst>
              <a:ext uri="{FF2B5EF4-FFF2-40B4-BE49-F238E27FC236}">
                <a16:creationId xmlns:a16="http://schemas.microsoft.com/office/drawing/2014/main" id="{646D25BC-6CC7-41A3-89CE-26CA7C68D355}"/>
              </a:ext>
            </a:extLst>
          </p:cNvPr>
          <p:cNvSpPr/>
          <p:nvPr/>
        </p:nvSpPr>
        <p:spPr>
          <a:xfrm>
            <a:off x="6658899" y="5025176"/>
            <a:ext cx="277286" cy="196366"/>
          </a:xfrm>
          <a:custGeom>
            <a:avLst/>
            <a:gdLst>
              <a:gd name="connsiteX0" fmla="*/ 446794 w 526121"/>
              <a:gd name="connsiteY0" fmla="*/ 3071 h 372583"/>
              <a:gd name="connsiteX1" fmla="*/ 446794 w 526121"/>
              <a:gd name="connsiteY1" fmla="*/ 3071 h 372583"/>
              <a:gd name="connsiteX2" fmla="*/ 446794 w 526121"/>
              <a:gd name="connsiteY2" fmla="*/ 3071 h 372583"/>
              <a:gd name="connsiteX3" fmla="*/ 445770 w 526121"/>
              <a:gd name="connsiteY3" fmla="*/ 1535 h 372583"/>
              <a:gd name="connsiteX4" fmla="*/ 445258 w 526121"/>
              <a:gd name="connsiteY4" fmla="*/ 1024 h 372583"/>
              <a:gd name="connsiteX5" fmla="*/ 444235 w 526121"/>
              <a:gd name="connsiteY5" fmla="*/ 512 h 372583"/>
              <a:gd name="connsiteX6" fmla="*/ 443723 w 526121"/>
              <a:gd name="connsiteY6" fmla="*/ 512 h 372583"/>
              <a:gd name="connsiteX7" fmla="*/ 442187 w 526121"/>
              <a:gd name="connsiteY7" fmla="*/ 0 h 372583"/>
              <a:gd name="connsiteX8" fmla="*/ 292744 w 526121"/>
              <a:gd name="connsiteY8" fmla="*/ 0 h 372583"/>
              <a:gd name="connsiteX9" fmla="*/ 229282 w 526121"/>
              <a:gd name="connsiteY9" fmla="*/ 0 h 372583"/>
              <a:gd name="connsiteX10" fmla="*/ 79839 w 526121"/>
              <a:gd name="connsiteY10" fmla="*/ 0 h 372583"/>
              <a:gd name="connsiteX11" fmla="*/ 79839 w 526121"/>
              <a:gd name="connsiteY11" fmla="*/ 0 h 372583"/>
              <a:gd name="connsiteX12" fmla="*/ 79839 w 526121"/>
              <a:gd name="connsiteY12" fmla="*/ 0 h 372583"/>
              <a:gd name="connsiteX13" fmla="*/ 78304 w 526121"/>
              <a:gd name="connsiteY13" fmla="*/ 512 h 372583"/>
              <a:gd name="connsiteX14" fmla="*/ 77792 w 526121"/>
              <a:gd name="connsiteY14" fmla="*/ 512 h 372583"/>
              <a:gd name="connsiteX15" fmla="*/ 76769 w 526121"/>
              <a:gd name="connsiteY15" fmla="*/ 1024 h 372583"/>
              <a:gd name="connsiteX16" fmla="*/ 76257 w 526121"/>
              <a:gd name="connsiteY16" fmla="*/ 1535 h 372583"/>
              <a:gd name="connsiteX17" fmla="*/ 75233 w 526121"/>
              <a:gd name="connsiteY17" fmla="*/ 3071 h 372583"/>
              <a:gd name="connsiteX18" fmla="*/ 75233 w 526121"/>
              <a:gd name="connsiteY18" fmla="*/ 3071 h 372583"/>
              <a:gd name="connsiteX19" fmla="*/ 75233 w 526121"/>
              <a:gd name="connsiteY19" fmla="*/ 3071 h 372583"/>
              <a:gd name="connsiteX20" fmla="*/ 0 w 526121"/>
              <a:gd name="connsiteY20" fmla="*/ 182709 h 372583"/>
              <a:gd name="connsiteX21" fmla="*/ 0 w 526121"/>
              <a:gd name="connsiteY21" fmla="*/ 182709 h 372583"/>
              <a:gd name="connsiteX22" fmla="*/ 0 w 526121"/>
              <a:gd name="connsiteY22" fmla="*/ 183733 h 372583"/>
              <a:gd name="connsiteX23" fmla="*/ 0 w 526121"/>
              <a:gd name="connsiteY23" fmla="*/ 183733 h 372583"/>
              <a:gd name="connsiteX24" fmla="*/ 85981 w 526121"/>
              <a:gd name="connsiteY24" fmla="*/ 270738 h 372583"/>
              <a:gd name="connsiteX25" fmla="*/ 168891 w 526121"/>
              <a:gd name="connsiteY25" fmla="*/ 186292 h 372583"/>
              <a:gd name="connsiteX26" fmla="*/ 168891 w 526121"/>
              <a:gd name="connsiteY26" fmla="*/ 181174 h 372583"/>
              <a:gd name="connsiteX27" fmla="*/ 100311 w 526121"/>
              <a:gd name="connsiteY27" fmla="*/ 36337 h 372583"/>
              <a:gd name="connsiteX28" fmla="*/ 106453 w 526121"/>
              <a:gd name="connsiteY28" fmla="*/ 36849 h 372583"/>
              <a:gd name="connsiteX29" fmla="*/ 229282 w 526121"/>
              <a:gd name="connsiteY29" fmla="*/ 36849 h 372583"/>
              <a:gd name="connsiteX30" fmla="*/ 229282 w 526121"/>
              <a:gd name="connsiteY30" fmla="*/ 309122 h 372583"/>
              <a:gd name="connsiteX31" fmla="*/ 158655 w 526121"/>
              <a:gd name="connsiteY31" fmla="*/ 309122 h 372583"/>
              <a:gd name="connsiteX32" fmla="*/ 127948 w 526121"/>
              <a:gd name="connsiteY32" fmla="*/ 339829 h 372583"/>
              <a:gd name="connsiteX33" fmla="*/ 127948 w 526121"/>
              <a:gd name="connsiteY33" fmla="*/ 372584 h 372583"/>
              <a:gd name="connsiteX34" fmla="*/ 394079 w 526121"/>
              <a:gd name="connsiteY34" fmla="*/ 372584 h 372583"/>
              <a:gd name="connsiteX35" fmla="*/ 394079 w 526121"/>
              <a:gd name="connsiteY35" fmla="*/ 339829 h 372583"/>
              <a:gd name="connsiteX36" fmla="*/ 363372 w 526121"/>
              <a:gd name="connsiteY36" fmla="*/ 309122 h 372583"/>
              <a:gd name="connsiteX37" fmla="*/ 292744 w 526121"/>
              <a:gd name="connsiteY37" fmla="*/ 309122 h 372583"/>
              <a:gd name="connsiteX38" fmla="*/ 292744 w 526121"/>
              <a:gd name="connsiteY38" fmla="*/ 36849 h 372583"/>
              <a:gd name="connsiteX39" fmla="*/ 415574 w 526121"/>
              <a:gd name="connsiteY39" fmla="*/ 36849 h 372583"/>
              <a:gd name="connsiteX40" fmla="*/ 422739 w 526121"/>
              <a:gd name="connsiteY40" fmla="*/ 35825 h 372583"/>
              <a:gd name="connsiteX41" fmla="*/ 357230 w 526121"/>
              <a:gd name="connsiteY41" fmla="*/ 183221 h 372583"/>
              <a:gd name="connsiteX42" fmla="*/ 357230 w 526121"/>
              <a:gd name="connsiteY42" fmla="*/ 183221 h 372583"/>
              <a:gd name="connsiteX43" fmla="*/ 357230 w 526121"/>
              <a:gd name="connsiteY43" fmla="*/ 183733 h 372583"/>
              <a:gd name="connsiteX44" fmla="*/ 443211 w 526121"/>
              <a:gd name="connsiteY44" fmla="*/ 270738 h 372583"/>
              <a:gd name="connsiteX45" fmla="*/ 526121 w 526121"/>
              <a:gd name="connsiteY45" fmla="*/ 186292 h 372583"/>
              <a:gd name="connsiteX46" fmla="*/ 526121 w 526121"/>
              <a:gd name="connsiteY46" fmla="*/ 181174 h 372583"/>
              <a:gd name="connsiteX47" fmla="*/ 446794 w 526121"/>
              <a:gd name="connsiteY47" fmla="*/ 3071 h 372583"/>
              <a:gd name="connsiteX48" fmla="*/ 156096 w 526121"/>
              <a:gd name="connsiteY48" fmla="*/ 180662 h 372583"/>
              <a:gd name="connsiteX49" fmla="*/ 12795 w 526121"/>
              <a:gd name="connsiteY49" fmla="*/ 180662 h 372583"/>
              <a:gd name="connsiteX50" fmla="*/ 79328 w 526121"/>
              <a:gd name="connsiteY50" fmla="*/ 20472 h 372583"/>
              <a:gd name="connsiteX51" fmla="*/ 85469 w 526121"/>
              <a:gd name="connsiteY51" fmla="*/ 28149 h 372583"/>
              <a:gd name="connsiteX52" fmla="*/ 156096 w 526121"/>
              <a:gd name="connsiteY52" fmla="*/ 180662 h 372583"/>
              <a:gd name="connsiteX53" fmla="*/ 261013 w 526121"/>
              <a:gd name="connsiteY53" fmla="*/ 53738 h 372583"/>
              <a:gd name="connsiteX54" fmla="*/ 239006 w 526121"/>
              <a:gd name="connsiteY54" fmla="*/ 31731 h 372583"/>
              <a:gd name="connsiteX55" fmla="*/ 261013 w 526121"/>
              <a:gd name="connsiteY55" fmla="*/ 9724 h 372583"/>
              <a:gd name="connsiteX56" fmla="*/ 283020 w 526121"/>
              <a:gd name="connsiteY56" fmla="*/ 31731 h 372583"/>
              <a:gd name="connsiteX57" fmla="*/ 261013 w 526121"/>
              <a:gd name="connsiteY57" fmla="*/ 53738 h 372583"/>
              <a:gd name="connsiteX58" fmla="*/ 370537 w 526121"/>
              <a:gd name="connsiteY58" fmla="*/ 180662 h 372583"/>
              <a:gd name="connsiteX59" fmla="*/ 438093 w 526121"/>
              <a:gd name="connsiteY59" fmla="*/ 27125 h 372583"/>
              <a:gd name="connsiteX60" fmla="*/ 443723 w 526121"/>
              <a:gd name="connsiteY60" fmla="*/ 19960 h 372583"/>
              <a:gd name="connsiteX61" fmla="*/ 514350 w 526121"/>
              <a:gd name="connsiteY61" fmla="*/ 180662 h 372583"/>
              <a:gd name="connsiteX62" fmla="*/ 370537 w 526121"/>
              <a:gd name="connsiteY62" fmla="*/ 180662 h 3725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526121" h="372583">
                <a:moveTo>
                  <a:pt x="446794" y="3071"/>
                </a:moveTo>
                <a:cubicBezTo>
                  <a:pt x="446794" y="3071"/>
                  <a:pt x="446794" y="3071"/>
                  <a:pt x="446794" y="3071"/>
                </a:cubicBezTo>
                <a:lnTo>
                  <a:pt x="446794" y="3071"/>
                </a:lnTo>
                <a:cubicBezTo>
                  <a:pt x="446282" y="2559"/>
                  <a:pt x="446282" y="2047"/>
                  <a:pt x="445770" y="1535"/>
                </a:cubicBezTo>
                <a:cubicBezTo>
                  <a:pt x="445770" y="1535"/>
                  <a:pt x="445770" y="1535"/>
                  <a:pt x="445258" y="1024"/>
                </a:cubicBezTo>
                <a:cubicBezTo>
                  <a:pt x="444746" y="512"/>
                  <a:pt x="444746" y="512"/>
                  <a:pt x="444235" y="512"/>
                </a:cubicBezTo>
                <a:cubicBezTo>
                  <a:pt x="444235" y="512"/>
                  <a:pt x="443723" y="512"/>
                  <a:pt x="443723" y="512"/>
                </a:cubicBezTo>
                <a:cubicBezTo>
                  <a:pt x="443211" y="512"/>
                  <a:pt x="442699" y="0"/>
                  <a:pt x="442187" y="0"/>
                </a:cubicBezTo>
                <a:lnTo>
                  <a:pt x="292744" y="0"/>
                </a:lnTo>
                <a:lnTo>
                  <a:pt x="229282" y="0"/>
                </a:lnTo>
                <a:lnTo>
                  <a:pt x="79839" y="0"/>
                </a:lnTo>
                <a:cubicBezTo>
                  <a:pt x="79839" y="0"/>
                  <a:pt x="79839" y="0"/>
                  <a:pt x="79839" y="0"/>
                </a:cubicBezTo>
                <a:cubicBezTo>
                  <a:pt x="79839" y="0"/>
                  <a:pt x="79839" y="0"/>
                  <a:pt x="79839" y="0"/>
                </a:cubicBezTo>
                <a:cubicBezTo>
                  <a:pt x="79328" y="0"/>
                  <a:pt x="78816" y="0"/>
                  <a:pt x="78304" y="512"/>
                </a:cubicBezTo>
                <a:cubicBezTo>
                  <a:pt x="78304" y="512"/>
                  <a:pt x="77792" y="512"/>
                  <a:pt x="77792" y="512"/>
                </a:cubicBezTo>
                <a:cubicBezTo>
                  <a:pt x="77280" y="512"/>
                  <a:pt x="77280" y="1024"/>
                  <a:pt x="76769" y="1024"/>
                </a:cubicBezTo>
                <a:cubicBezTo>
                  <a:pt x="76769" y="1024"/>
                  <a:pt x="76257" y="1024"/>
                  <a:pt x="76257" y="1535"/>
                </a:cubicBezTo>
                <a:cubicBezTo>
                  <a:pt x="75745" y="2047"/>
                  <a:pt x="75745" y="2559"/>
                  <a:pt x="75233" y="3071"/>
                </a:cubicBezTo>
                <a:cubicBezTo>
                  <a:pt x="75233" y="3071"/>
                  <a:pt x="75233" y="3071"/>
                  <a:pt x="75233" y="3071"/>
                </a:cubicBezTo>
                <a:cubicBezTo>
                  <a:pt x="75233" y="3071"/>
                  <a:pt x="75233" y="3071"/>
                  <a:pt x="75233" y="3071"/>
                </a:cubicBezTo>
                <a:lnTo>
                  <a:pt x="0" y="182709"/>
                </a:lnTo>
                <a:lnTo>
                  <a:pt x="0" y="182709"/>
                </a:lnTo>
                <a:cubicBezTo>
                  <a:pt x="0" y="183221"/>
                  <a:pt x="0" y="183221"/>
                  <a:pt x="0" y="183733"/>
                </a:cubicBezTo>
                <a:lnTo>
                  <a:pt x="0" y="183733"/>
                </a:lnTo>
                <a:cubicBezTo>
                  <a:pt x="0" y="230818"/>
                  <a:pt x="38896" y="271249"/>
                  <a:pt x="85981" y="270738"/>
                </a:cubicBezTo>
                <a:cubicBezTo>
                  <a:pt x="132042" y="269714"/>
                  <a:pt x="168891" y="232353"/>
                  <a:pt x="168891" y="186292"/>
                </a:cubicBezTo>
                <a:lnTo>
                  <a:pt x="168891" y="181174"/>
                </a:lnTo>
                <a:lnTo>
                  <a:pt x="100311" y="36337"/>
                </a:lnTo>
                <a:cubicBezTo>
                  <a:pt x="102358" y="36849"/>
                  <a:pt x="104405" y="36849"/>
                  <a:pt x="106453" y="36849"/>
                </a:cubicBezTo>
                <a:lnTo>
                  <a:pt x="229282" y="36849"/>
                </a:lnTo>
                <a:lnTo>
                  <a:pt x="229282" y="309122"/>
                </a:lnTo>
                <a:lnTo>
                  <a:pt x="158655" y="309122"/>
                </a:lnTo>
                <a:cubicBezTo>
                  <a:pt x="141766" y="309122"/>
                  <a:pt x="127948" y="322940"/>
                  <a:pt x="127948" y="339829"/>
                </a:cubicBezTo>
                <a:lnTo>
                  <a:pt x="127948" y="372584"/>
                </a:lnTo>
                <a:lnTo>
                  <a:pt x="394079" y="372584"/>
                </a:lnTo>
                <a:lnTo>
                  <a:pt x="394079" y="339829"/>
                </a:lnTo>
                <a:cubicBezTo>
                  <a:pt x="394079" y="322940"/>
                  <a:pt x="380261" y="309122"/>
                  <a:pt x="363372" y="309122"/>
                </a:cubicBezTo>
                <a:lnTo>
                  <a:pt x="292744" y="309122"/>
                </a:lnTo>
                <a:lnTo>
                  <a:pt x="292744" y="36849"/>
                </a:lnTo>
                <a:lnTo>
                  <a:pt x="415574" y="36849"/>
                </a:lnTo>
                <a:cubicBezTo>
                  <a:pt x="418133" y="36849"/>
                  <a:pt x="420692" y="36337"/>
                  <a:pt x="422739" y="35825"/>
                </a:cubicBezTo>
                <a:lnTo>
                  <a:pt x="357230" y="183221"/>
                </a:lnTo>
                <a:lnTo>
                  <a:pt x="357230" y="183221"/>
                </a:lnTo>
                <a:cubicBezTo>
                  <a:pt x="357230" y="183221"/>
                  <a:pt x="357230" y="183733"/>
                  <a:pt x="357230" y="183733"/>
                </a:cubicBezTo>
                <a:cubicBezTo>
                  <a:pt x="357230" y="230818"/>
                  <a:pt x="396126" y="271249"/>
                  <a:pt x="443211" y="270738"/>
                </a:cubicBezTo>
                <a:cubicBezTo>
                  <a:pt x="489272" y="269714"/>
                  <a:pt x="526121" y="232353"/>
                  <a:pt x="526121" y="186292"/>
                </a:cubicBezTo>
                <a:lnTo>
                  <a:pt x="526121" y="181174"/>
                </a:lnTo>
                <a:lnTo>
                  <a:pt x="446794" y="3071"/>
                </a:lnTo>
                <a:close/>
                <a:moveTo>
                  <a:pt x="156096" y="180662"/>
                </a:moveTo>
                <a:lnTo>
                  <a:pt x="12795" y="180662"/>
                </a:lnTo>
                <a:lnTo>
                  <a:pt x="79328" y="20472"/>
                </a:lnTo>
                <a:cubicBezTo>
                  <a:pt x="80863" y="23542"/>
                  <a:pt x="82910" y="26101"/>
                  <a:pt x="85469" y="28149"/>
                </a:cubicBezTo>
                <a:lnTo>
                  <a:pt x="156096" y="180662"/>
                </a:lnTo>
                <a:close/>
                <a:moveTo>
                  <a:pt x="261013" y="53738"/>
                </a:moveTo>
                <a:cubicBezTo>
                  <a:pt x="248730" y="53738"/>
                  <a:pt x="239006" y="44014"/>
                  <a:pt x="239006" y="31731"/>
                </a:cubicBezTo>
                <a:cubicBezTo>
                  <a:pt x="239006" y="19448"/>
                  <a:pt x="248730" y="9724"/>
                  <a:pt x="261013" y="9724"/>
                </a:cubicBezTo>
                <a:cubicBezTo>
                  <a:pt x="273296" y="9724"/>
                  <a:pt x="283020" y="19448"/>
                  <a:pt x="283020" y="31731"/>
                </a:cubicBezTo>
                <a:cubicBezTo>
                  <a:pt x="283532" y="44014"/>
                  <a:pt x="273296" y="53738"/>
                  <a:pt x="261013" y="53738"/>
                </a:cubicBezTo>
                <a:close/>
                <a:moveTo>
                  <a:pt x="370537" y="180662"/>
                </a:moveTo>
                <a:lnTo>
                  <a:pt x="438093" y="27125"/>
                </a:lnTo>
                <a:cubicBezTo>
                  <a:pt x="440140" y="25078"/>
                  <a:pt x="442187" y="22519"/>
                  <a:pt x="443723" y="19960"/>
                </a:cubicBezTo>
                <a:lnTo>
                  <a:pt x="514350" y="180662"/>
                </a:lnTo>
                <a:lnTo>
                  <a:pt x="370537" y="180662"/>
                </a:lnTo>
                <a:close/>
              </a:path>
            </a:pathLst>
          </a:custGeom>
          <a:solidFill>
            <a:schemeClr val="accent1">
              <a:lumMod val="75000"/>
            </a:schemeClr>
          </a:solidFill>
          <a:ln w="511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nvGrpSpPr>
          <p:cNvPr id="85" name="Graphic 1">
            <a:extLst>
              <a:ext uri="{FF2B5EF4-FFF2-40B4-BE49-F238E27FC236}">
                <a16:creationId xmlns:a16="http://schemas.microsoft.com/office/drawing/2014/main" id="{F89ACA15-6E2C-481F-9985-685B6B401AE0}"/>
              </a:ext>
            </a:extLst>
          </p:cNvPr>
          <p:cNvGrpSpPr/>
          <p:nvPr/>
        </p:nvGrpSpPr>
        <p:grpSpPr>
          <a:xfrm>
            <a:off x="6692885" y="3615616"/>
            <a:ext cx="209314" cy="209314"/>
            <a:chOff x="8277253" y="565529"/>
            <a:chExt cx="397149" cy="397149"/>
          </a:xfrm>
          <a:solidFill>
            <a:schemeClr val="accent5"/>
          </a:solidFill>
        </p:grpSpPr>
        <p:sp>
          <p:nvSpPr>
            <p:cNvPr id="86" name="Freeform: Shape 105">
              <a:extLst>
                <a:ext uri="{FF2B5EF4-FFF2-40B4-BE49-F238E27FC236}">
                  <a16:creationId xmlns:a16="http://schemas.microsoft.com/office/drawing/2014/main" id="{FE4220E2-C2EC-4A29-8D00-F42E259C2D2F}"/>
                </a:ext>
              </a:extLst>
            </p:cNvPr>
            <p:cNvSpPr/>
            <p:nvPr/>
          </p:nvSpPr>
          <p:spPr>
            <a:xfrm>
              <a:off x="8277253" y="565529"/>
              <a:ext cx="397149" cy="397149"/>
            </a:xfrm>
            <a:custGeom>
              <a:avLst/>
              <a:gdLst>
                <a:gd name="connsiteX0" fmla="*/ 198575 w 397149"/>
                <a:gd name="connsiteY0" fmla="*/ 0 h 397149"/>
                <a:gd name="connsiteX1" fmla="*/ 0 w 397149"/>
                <a:gd name="connsiteY1" fmla="*/ 198575 h 397149"/>
                <a:gd name="connsiteX2" fmla="*/ 198575 w 397149"/>
                <a:gd name="connsiteY2" fmla="*/ 397150 h 397149"/>
                <a:gd name="connsiteX3" fmla="*/ 397150 w 397149"/>
                <a:gd name="connsiteY3" fmla="*/ 198575 h 397149"/>
                <a:gd name="connsiteX4" fmla="*/ 198575 w 397149"/>
                <a:gd name="connsiteY4" fmla="*/ 0 h 397149"/>
                <a:gd name="connsiteX5" fmla="*/ 198575 w 397149"/>
                <a:gd name="connsiteY5" fmla="*/ 343412 h 397149"/>
                <a:gd name="connsiteX6" fmla="*/ 53738 w 397149"/>
                <a:gd name="connsiteY6" fmla="*/ 198575 h 397149"/>
                <a:gd name="connsiteX7" fmla="*/ 198575 w 397149"/>
                <a:gd name="connsiteY7" fmla="*/ 53738 h 397149"/>
                <a:gd name="connsiteX8" fmla="*/ 343412 w 397149"/>
                <a:gd name="connsiteY8" fmla="*/ 198575 h 397149"/>
                <a:gd name="connsiteX9" fmla="*/ 198575 w 397149"/>
                <a:gd name="connsiteY9" fmla="*/ 343412 h 3971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7149" h="397149">
                  <a:moveTo>
                    <a:pt x="198575" y="0"/>
                  </a:moveTo>
                  <a:cubicBezTo>
                    <a:pt x="89051" y="0"/>
                    <a:pt x="0" y="89052"/>
                    <a:pt x="0" y="198575"/>
                  </a:cubicBezTo>
                  <a:cubicBezTo>
                    <a:pt x="0" y="308098"/>
                    <a:pt x="89051" y="397150"/>
                    <a:pt x="198575" y="397150"/>
                  </a:cubicBezTo>
                  <a:cubicBezTo>
                    <a:pt x="308098" y="397150"/>
                    <a:pt x="397150" y="308098"/>
                    <a:pt x="397150" y="198575"/>
                  </a:cubicBezTo>
                  <a:cubicBezTo>
                    <a:pt x="397150" y="89052"/>
                    <a:pt x="308098" y="0"/>
                    <a:pt x="198575" y="0"/>
                  </a:cubicBezTo>
                  <a:close/>
                  <a:moveTo>
                    <a:pt x="198575" y="343412"/>
                  </a:moveTo>
                  <a:cubicBezTo>
                    <a:pt x="118736" y="343412"/>
                    <a:pt x="53738" y="278414"/>
                    <a:pt x="53738" y="198575"/>
                  </a:cubicBezTo>
                  <a:cubicBezTo>
                    <a:pt x="53738" y="118736"/>
                    <a:pt x="118736" y="53738"/>
                    <a:pt x="198575" y="53738"/>
                  </a:cubicBezTo>
                  <a:cubicBezTo>
                    <a:pt x="278414" y="53738"/>
                    <a:pt x="343412" y="118736"/>
                    <a:pt x="343412" y="198575"/>
                  </a:cubicBezTo>
                  <a:cubicBezTo>
                    <a:pt x="343412" y="278414"/>
                    <a:pt x="278926" y="343412"/>
                    <a:pt x="198575" y="343412"/>
                  </a:cubicBezTo>
                  <a:close/>
                </a:path>
              </a:pathLst>
            </a:custGeom>
            <a:grpFill/>
            <a:ln w="511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87" name="Freeform: Shape 106">
              <a:extLst>
                <a:ext uri="{FF2B5EF4-FFF2-40B4-BE49-F238E27FC236}">
                  <a16:creationId xmlns:a16="http://schemas.microsoft.com/office/drawing/2014/main" id="{20156115-6DF9-47FE-84C5-8768B9077596}"/>
                </a:ext>
              </a:extLst>
            </p:cNvPr>
            <p:cNvSpPr/>
            <p:nvPr/>
          </p:nvSpPr>
          <p:spPr>
            <a:xfrm>
              <a:off x="8413507" y="676587"/>
              <a:ext cx="125782" cy="185268"/>
            </a:xfrm>
            <a:custGeom>
              <a:avLst/>
              <a:gdLst>
                <a:gd name="connsiteX0" fmla="*/ 110941 w 125782"/>
                <a:gd name="connsiteY0" fmla="*/ 49132 h 185268"/>
                <a:gd name="connsiteX1" fmla="*/ 89445 w 125782"/>
                <a:gd name="connsiteY1" fmla="*/ 52714 h 185268"/>
                <a:gd name="connsiteX2" fmla="*/ 80233 w 125782"/>
                <a:gd name="connsiteY2" fmla="*/ 47597 h 185268"/>
                <a:gd name="connsiteX3" fmla="*/ 77674 w 125782"/>
                <a:gd name="connsiteY3" fmla="*/ 43502 h 185268"/>
                <a:gd name="connsiteX4" fmla="*/ 69997 w 125782"/>
                <a:gd name="connsiteY4" fmla="*/ 37873 h 185268"/>
                <a:gd name="connsiteX5" fmla="*/ 69997 w 125782"/>
                <a:gd name="connsiteY5" fmla="*/ 67556 h 185268"/>
                <a:gd name="connsiteX6" fmla="*/ 111964 w 125782"/>
                <a:gd name="connsiteY6" fmla="*/ 84957 h 185268"/>
                <a:gd name="connsiteX7" fmla="*/ 125783 w 125782"/>
                <a:gd name="connsiteY7" fmla="*/ 116688 h 185268"/>
                <a:gd name="connsiteX8" fmla="*/ 120665 w 125782"/>
                <a:gd name="connsiteY8" fmla="*/ 137160 h 185268"/>
                <a:gd name="connsiteX9" fmla="*/ 107870 w 125782"/>
                <a:gd name="connsiteY9" fmla="*/ 153026 h 185268"/>
                <a:gd name="connsiteX10" fmla="*/ 91493 w 125782"/>
                <a:gd name="connsiteY10" fmla="*/ 162238 h 185268"/>
                <a:gd name="connsiteX11" fmla="*/ 69997 w 125782"/>
                <a:gd name="connsiteY11" fmla="*/ 165820 h 185268"/>
                <a:gd name="connsiteX12" fmla="*/ 69997 w 125782"/>
                <a:gd name="connsiteY12" fmla="*/ 185268 h 185268"/>
                <a:gd name="connsiteX13" fmla="*/ 55155 w 125782"/>
                <a:gd name="connsiteY13" fmla="*/ 185268 h 185268"/>
                <a:gd name="connsiteX14" fmla="*/ 55155 w 125782"/>
                <a:gd name="connsiteY14" fmla="*/ 165820 h 185268"/>
                <a:gd name="connsiteX15" fmla="*/ 30589 w 125782"/>
                <a:gd name="connsiteY15" fmla="*/ 160702 h 185268"/>
                <a:gd name="connsiteX16" fmla="*/ 14212 w 125782"/>
                <a:gd name="connsiteY16" fmla="*/ 150978 h 185268"/>
                <a:gd name="connsiteX17" fmla="*/ 3465 w 125782"/>
                <a:gd name="connsiteY17" fmla="*/ 137160 h 185268"/>
                <a:gd name="connsiteX18" fmla="*/ 394 w 125782"/>
                <a:gd name="connsiteY18" fmla="*/ 129995 h 185268"/>
                <a:gd name="connsiteX19" fmla="*/ 7559 w 125782"/>
                <a:gd name="connsiteY19" fmla="*/ 118224 h 185268"/>
                <a:gd name="connsiteX20" fmla="*/ 31613 w 125782"/>
                <a:gd name="connsiteY20" fmla="*/ 115153 h 185268"/>
                <a:gd name="connsiteX21" fmla="*/ 40825 w 125782"/>
                <a:gd name="connsiteY21" fmla="*/ 121294 h 185268"/>
                <a:gd name="connsiteX22" fmla="*/ 43896 w 125782"/>
                <a:gd name="connsiteY22" fmla="*/ 128971 h 185268"/>
                <a:gd name="connsiteX23" fmla="*/ 54132 w 125782"/>
                <a:gd name="connsiteY23" fmla="*/ 137160 h 185268"/>
                <a:gd name="connsiteX24" fmla="*/ 54132 w 125782"/>
                <a:gd name="connsiteY24" fmla="*/ 101335 h 185268"/>
                <a:gd name="connsiteX25" fmla="*/ 24448 w 125782"/>
                <a:gd name="connsiteY25" fmla="*/ 91099 h 185268"/>
                <a:gd name="connsiteX26" fmla="*/ 9094 w 125782"/>
                <a:gd name="connsiteY26" fmla="*/ 77280 h 185268"/>
                <a:gd name="connsiteX27" fmla="*/ 2441 w 125782"/>
                <a:gd name="connsiteY27" fmla="*/ 54762 h 185268"/>
                <a:gd name="connsiteX28" fmla="*/ 15236 w 125782"/>
                <a:gd name="connsiteY28" fmla="*/ 24054 h 185268"/>
                <a:gd name="connsiteX29" fmla="*/ 53620 w 125782"/>
                <a:gd name="connsiteY29" fmla="*/ 10236 h 185268"/>
                <a:gd name="connsiteX30" fmla="*/ 53620 w 125782"/>
                <a:gd name="connsiteY30" fmla="*/ 0 h 185268"/>
                <a:gd name="connsiteX31" fmla="*/ 68462 w 125782"/>
                <a:gd name="connsiteY31" fmla="*/ 0 h 185268"/>
                <a:gd name="connsiteX32" fmla="*/ 68462 w 125782"/>
                <a:gd name="connsiteY32" fmla="*/ 10236 h 185268"/>
                <a:gd name="connsiteX33" fmla="*/ 103776 w 125782"/>
                <a:gd name="connsiteY33" fmla="*/ 20983 h 185268"/>
                <a:gd name="connsiteX34" fmla="*/ 116059 w 125782"/>
                <a:gd name="connsiteY34" fmla="*/ 36849 h 185268"/>
                <a:gd name="connsiteX35" fmla="*/ 110941 w 125782"/>
                <a:gd name="connsiteY35" fmla="*/ 49132 h 185268"/>
                <a:gd name="connsiteX36" fmla="*/ 54644 w 125782"/>
                <a:gd name="connsiteY36" fmla="*/ 37361 h 185268"/>
                <a:gd name="connsiteX37" fmla="*/ 45432 w 125782"/>
                <a:gd name="connsiteY37" fmla="*/ 42990 h 185268"/>
                <a:gd name="connsiteX38" fmla="*/ 42873 w 125782"/>
                <a:gd name="connsiteY38" fmla="*/ 50667 h 185268"/>
                <a:gd name="connsiteX39" fmla="*/ 45432 w 125782"/>
                <a:gd name="connsiteY39" fmla="*/ 58344 h 185268"/>
                <a:gd name="connsiteX40" fmla="*/ 54644 w 125782"/>
                <a:gd name="connsiteY40" fmla="*/ 63974 h 185268"/>
                <a:gd name="connsiteX41" fmla="*/ 54644 w 125782"/>
                <a:gd name="connsiteY41" fmla="*/ 37361 h 185268"/>
                <a:gd name="connsiteX42" fmla="*/ 69486 w 125782"/>
                <a:gd name="connsiteY42" fmla="*/ 138695 h 185268"/>
                <a:gd name="connsiteX43" fmla="*/ 82281 w 125782"/>
                <a:gd name="connsiteY43" fmla="*/ 132042 h 185268"/>
                <a:gd name="connsiteX44" fmla="*/ 86375 w 125782"/>
                <a:gd name="connsiteY44" fmla="*/ 121806 h 185268"/>
                <a:gd name="connsiteX45" fmla="*/ 82792 w 125782"/>
                <a:gd name="connsiteY45" fmla="*/ 113106 h 185268"/>
                <a:gd name="connsiteX46" fmla="*/ 69486 w 125782"/>
                <a:gd name="connsiteY46" fmla="*/ 105429 h 185268"/>
                <a:gd name="connsiteX47" fmla="*/ 69486 w 125782"/>
                <a:gd name="connsiteY47" fmla="*/ 138695 h 1852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125782" h="185268">
                  <a:moveTo>
                    <a:pt x="110941" y="49132"/>
                  </a:moveTo>
                  <a:lnTo>
                    <a:pt x="89445" y="52714"/>
                  </a:lnTo>
                  <a:cubicBezTo>
                    <a:pt x="85863" y="53226"/>
                    <a:pt x="81769" y="51179"/>
                    <a:pt x="80233" y="47597"/>
                  </a:cubicBezTo>
                  <a:cubicBezTo>
                    <a:pt x="79210" y="45549"/>
                    <a:pt x="78698" y="44526"/>
                    <a:pt x="77674" y="43502"/>
                  </a:cubicBezTo>
                  <a:cubicBezTo>
                    <a:pt x="76139" y="41455"/>
                    <a:pt x="73580" y="39920"/>
                    <a:pt x="69997" y="37873"/>
                  </a:cubicBezTo>
                  <a:lnTo>
                    <a:pt x="69997" y="67556"/>
                  </a:lnTo>
                  <a:cubicBezTo>
                    <a:pt x="90981" y="73186"/>
                    <a:pt x="104799" y="78816"/>
                    <a:pt x="111964" y="84957"/>
                  </a:cubicBezTo>
                  <a:cubicBezTo>
                    <a:pt x="121177" y="93146"/>
                    <a:pt x="125783" y="103894"/>
                    <a:pt x="125783" y="116688"/>
                  </a:cubicBezTo>
                  <a:cubicBezTo>
                    <a:pt x="125783" y="124365"/>
                    <a:pt x="124247" y="131019"/>
                    <a:pt x="120665" y="137160"/>
                  </a:cubicBezTo>
                  <a:cubicBezTo>
                    <a:pt x="117082" y="143302"/>
                    <a:pt x="112988" y="148419"/>
                    <a:pt x="107870" y="153026"/>
                  </a:cubicBezTo>
                  <a:cubicBezTo>
                    <a:pt x="102752" y="157120"/>
                    <a:pt x="97122" y="160191"/>
                    <a:pt x="91493" y="162238"/>
                  </a:cubicBezTo>
                  <a:cubicBezTo>
                    <a:pt x="85863" y="164285"/>
                    <a:pt x="78698" y="165309"/>
                    <a:pt x="69997" y="165820"/>
                  </a:cubicBezTo>
                  <a:lnTo>
                    <a:pt x="69997" y="185268"/>
                  </a:lnTo>
                  <a:lnTo>
                    <a:pt x="55155" y="185268"/>
                  </a:lnTo>
                  <a:lnTo>
                    <a:pt x="55155" y="165820"/>
                  </a:lnTo>
                  <a:cubicBezTo>
                    <a:pt x="44920" y="164797"/>
                    <a:pt x="36731" y="163261"/>
                    <a:pt x="30589" y="160702"/>
                  </a:cubicBezTo>
                  <a:cubicBezTo>
                    <a:pt x="24448" y="158143"/>
                    <a:pt x="18818" y="155073"/>
                    <a:pt x="14212" y="150978"/>
                  </a:cubicBezTo>
                  <a:cubicBezTo>
                    <a:pt x="9606" y="146884"/>
                    <a:pt x="6024" y="142278"/>
                    <a:pt x="3465" y="137160"/>
                  </a:cubicBezTo>
                  <a:cubicBezTo>
                    <a:pt x="2441" y="135113"/>
                    <a:pt x="1417" y="132554"/>
                    <a:pt x="394" y="129995"/>
                  </a:cubicBezTo>
                  <a:cubicBezTo>
                    <a:pt x="-1142" y="124877"/>
                    <a:pt x="1929" y="119247"/>
                    <a:pt x="7559" y="118224"/>
                  </a:cubicBezTo>
                  <a:lnTo>
                    <a:pt x="31613" y="115153"/>
                  </a:lnTo>
                  <a:cubicBezTo>
                    <a:pt x="35707" y="114641"/>
                    <a:pt x="39802" y="117200"/>
                    <a:pt x="40825" y="121294"/>
                  </a:cubicBezTo>
                  <a:cubicBezTo>
                    <a:pt x="41849" y="124365"/>
                    <a:pt x="42873" y="126924"/>
                    <a:pt x="43896" y="128971"/>
                  </a:cubicBezTo>
                  <a:cubicBezTo>
                    <a:pt x="45943" y="132042"/>
                    <a:pt x="49526" y="134601"/>
                    <a:pt x="54132" y="137160"/>
                  </a:cubicBezTo>
                  <a:lnTo>
                    <a:pt x="54132" y="101335"/>
                  </a:lnTo>
                  <a:cubicBezTo>
                    <a:pt x="40314" y="97240"/>
                    <a:pt x="30589" y="94170"/>
                    <a:pt x="24448" y="91099"/>
                  </a:cubicBezTo>
                  <a:cubicBezTo>
                    <a:pt x="18818" y="88028"/>
                    <a:pt x="13700" y="83934"/>
                    <a:pt x="9094" y="77280"/>
                  </a:cubicBezTo>
                  <a:cubicBezTo>
                    <a:pt x="5000" y="71139"/>
                    <a:pt x="2441" y="63462"/>
                    <a:pt x="2441" y="54762"/>
                  </a:cubicBezTo>
                  <a:cubicBezTo>
                    <a:pt x="2441" y="42479"/>
                    <a:pt x="6535" y="32243"/>
                    <a:pt x="15236" y="24054"/>
                  </a:cubicBezTo>
                  <a:cubicBezTo>
                    <a:pt x="23936" y="15866"/>
                    <a:pt x="36731" y="11259"/>
                    <a:pt x="53620" y="10236"/>
                  </a:cubicBezTo>
                  <a:lnTo>
                    <a:pt x="53620" y="0"/>
                  </a:lnTo>
                  <a:lnTo>
                    <a:pt x="68462" y="0"/>
                  </a:lnTo>
                  <a:lnTo>
                    <a:pt x="68462" y="10236"/>
                  </a:lnTo>
                  <a:cubicBezTo>
                    <a:pt x="83816" y="11259"/>
                    <a:pt x="95587" y="14842"/>
                    <a:pt x="103776" y="20983"/>
                  </a:cubicBezTo>
                  <a:cubicBezTo>
                    <a:pt x="109405" y="25078"/>
                    <a:pt x="113500" y="30707"/>
                    <a:pt x="116059" y="36849"/>
                  </a:cubicBezTo>
                  <a:cubicBezTo>
                    <a:pt x="119641" y="42479"/>
                    <a:pt x="116059" y="48108"/>
                    <a:pt x="110941" y="49132"/>
                  </a:cubicBezTo>
                  <a:close/>
                  <a:moveTo>
                    <a:pt x="54644" y="37361"/>
                  </a:moveTo>
                  <a:cubicBezTo>
                    <a:pt x="50037" y="38896"/>
                    <a:pt x="46967" y="40432"/>
                    <a:pt x="45432" y="42990"/>
                  </a:cubicBezTo>
                  <a:cubicBezTo>
                    <a:pt x="43896" y="45038"/>
                    <a:pt x="42873" y="47597"/>
                    <a:pt x="42873" y="50667"/>
                  </a:cubicBezTo>
                  <a:cubicBezTo>
                    <a:pt x="42873" y="53738"/>
                    <a:pt x="43896" y="56297"/>
                    <a:pt x="45432" y="58344"/>
                  </a:cubicBezTo>
                  <a:cubicBezTo>
                    <a:pt x="46967" y="60391"/>
                    <a:pt x="50037" y="62438"/>
                    <a:pt x="54644" y="63974"/>
                  </a:cubicBezTo>
                  <a:lnTo>
                    <a:pt x="54644" y="37361"/>
                  </a:lnTo>
                  <a:close/>
                  <a:moveTo>
                    <a:pt x="69486" y="138695"/>
                  </a:moveTo>
                  <a:cubicBezTo>
                    <a:pt x="75115" y="137160"/>
                    <a:pt x="79722" y="135113"/>
                    <a:pt x="82281" y="132042"/>
                  </a:cubicBezTo>
                  <a:cubicBezTo>
                    <a:pt x="84840" y="128971"/>
                    <a:pt x="86375" y="125901"/>
                    <a:pt x="86375" y="121806"/>
                  </a:cubicBezTo>
                  <a:cubicBezTo>
                    <a:pt x="86375" y="118736"/>
                    <a:pt x="85351" y="115665"/>
                    <a:pt x="82792" y="113106"/>
                  </a:cubicBezTo>
                  <a:cubicBezTo>
                    <a:pt x="80745" y="110547"/>
                    <a:pt x="76139" y="107988"/>
                    <a:pt x="69486" y="105429"/>
                  </a:cubicBezTo>
                  <a:lnTo>
                    <a:pt x="69486" y="138695"/>
                  </a:lnTo>
                  <a:close/>
                </a:path>
              </a:pathLst>
            </a:custGeom>
            <a:grpFill/>
            <a:ln w="511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grpSp>
        <p:nvGrpSpPr>
          <p:cNvPr id="88" name="Graphic 1">
            <a:extLst>
              <a:ext uri="{FF2B5EF4-FFF2-40B4-BE49-F238E27FC236}">
                <a16:creationId xmlns:a16="http://schemas.microsoft.com/office/drawing/2014/main" id="{4AE21810-142F-4C60-8163-209ACEB0CFE8}"/>
              </a:ext>
            </a:extLst>
          </p:cNvPr>
          <p:cNvGrpSpPr/>
          <p:nvPr/>
        </p:nvGrpSpPr>
        <p:grpSpPr>
          <a:xfrm>
            <a:off x="6958513" y="4277786"/>
            <a:ext cx="259056" cy="288060"/>
            <a:chOff x="7074405" y="1732522"/>
            <a:chExt cx="442208" cy="491720"/>
          </a:xfrm>
          <a:solidFill>
            <a:schemeClr val="accent6"/>
          </a:solidFill>
        </p:grpSpPr>
        <p:sp>
          <p:nvSpPr>
            <p:cNvPr id="89" name="Freeform: Shape 108">
              <a:extLst>
                <a:ext uri="{FF2B5EF4-FFF2-40B4-BE49-F238E27FC236}">
                  <a16:creationId xmlns:a16="http://schemas.microsoft.com/office/drawing/2014/main" id="{299637B1-E1C2-444D-BC26-B1BE02A2930E}"/>
                </a:ext>
              </a:extLst>
            </p:cNvPr>
            <p:cNvSpPr/>
            <p:nvPr/>
          </p:nvSpPr>
          <p:spPr>
            <a:xfrm>
              <a:off x="7177414" y="1907445"/>
              <a:ext cx="237471" cy="141254"/>
            </a:xfrm>
            <a:custGeom>
              <a:avLst/>
              <a:gdLst>
                <a:gd name="connsiteX0" fmla="*/ 234912 w 237471"/>
                <a:gd name="connsiteY0" fmla="*/ 141254 h 141254"/>
                <a:gd name="connsiteX1" fmla="*/ 237471 w 237471"/>
                <a:gd name="connsiteY1" fmla="*/ 138695 h 141254"/>
                <a:gd name="connsiteX2" fmla="*/ 237471 w 237471"/>
                <a:gd name="connsiteY2" fmla="*/ 110547 h 141254"/>
                <a:gd name="connsiteX3" fmla="*/ 237471 w 237471"/>
                <a:gd name="connsiteY3" fmla="*/ 30707 h 141254"/>
                <a:gd name="connsiteX4" fmla="*/ 237471 w 237471"/>
                <a:gd name="connsiteY4" fmla="*/ 2559 h 141254"/>
                <a:gd name="connsiteX5" fmla="*/ 234912 w 237471"/>
                <a:gd name="connsiteY5" fmla="*/ 0 h 141254"/>
                <a:gd name="connsiteX6" fmla="*/ 206764 w 237471"/>
                <a:gd name="connsiteY6" fmla="*/ 0 h 141254"/>
                <a:gd name="connsiteX7" fmla="*/ 30707 w 237471"/>
                <a:gd name="connsiteY7" fmla="*/ 0 h 141254"/>
                <a:gd name="connsiteX8" fmla="*/ 2559 w 237471"/>
                <a:gd name="connsiteY8" fmla="*/ 0 h 141254"/>
                <a:gd name="connsiteX9" fmla="*/ 0 w 237471"/>
                <a:gd name="connsiteY9" fmla="*/ 2559 h 141254"/>
                <a:gd name="connsiteX10" fmla="*/ 0 w 237471"/>
                <a:gd name="connsiteY10" fmla="*/ 30707 h 141254"/>
                <a:gd name="connsiteX11" fmla="*/ 0 w 237471"/>
                <a:gd name="connsiteY11" fmla="*/ 110547 h 141254"/>
                <a:gd name="connsiteX12" fmla="*/ 0 w 237471"/>
                <a:gd name="connsiteY12" fmla="*/ 138695 h 141254"/>
                <a:gd name="connsiteX13" fmla="*/ 2559 w 237471"/>
                <a:gd name="connsiteY13" fmla="*/ 141254 h 141254"/>
                <a:gd name="connsiteX14" fmla="*/ 30707 w 237471"/>
                <a:gd name="connsiteY14" fmla="*/ 141254 h 141254"/>
                <a:gd name="connsiteX15" fmla="*/ 206764 w 237471"/>
                <a:gd name="connsiteY15" fmla="*/ 141254 h 141254"/>
                <a:gd name="connsiteX16" fmla="*/ 234912 w 237471"/>
                <a:gd name="connsiteY16" fmla="*/ 141254 h 141254"/>
                <a:gd name="connsiteX17" fmla="*/ 231841 w 237471"/>
                <a:gd name="connsiteY17" fmla="*/ 135625 h 141254"/>
                <a:gd name="connsiteX18" fmla="*/ 209323 w 237471"/>
                <a:gd name="connsiteY18" fmla="*/ 135625 h 141254"/>
                <a:gd name="connsiteX19" fmla="*/ 209834 w 237471"/>
                <a:gd name="connsiteY19" fmla="*/ 133066 h 141254"/>
                <a:gd name="connsiteX20" fmla="*/ 209834 w 237471"/>
                <a:gd name="connsiteY20" fmla="*/ 132554 h 141254"/>
                <a:gd name="connsiteX21" fmla="*/ 210346 w 237471"/>
                <a:gd name="connsiteY21" fmla="*/ 131018 h 141254"/>
                <a:gd name="connsiteX22" fmla="*/ 210858 w 237471"/>
                <a:gd name="connsiteY22" fmla="*/ 129995 h 141254"/>
                <a:gd name="connsiteX23" fmla="*/ 211370 w 237471"/>
                <a:gd name="connsiteY23" fmla="*/ 128459 h 141254"/>
                <a:gd name="connsiteX24" fmla="*/ 211882 w 237471"/>
                <a:gd name="connsiteY24" fmla="*/ 127436 h 141254"/>
                <a:gd name="connsiteX25" fmla="*/ 212393 w 237471"/>
                <a:gd name="connsiteY25" fmla="*/ 125900 h 141254"/>
                <a:gd name="connsiteX26" fmla="*/ 212905 w 237471"/>
                <a:gd name="connsiteY26" fmla="*/ 124877 h 141254"/>
                <a:gd name="connsiteX27" fmla="*/ 213417 w 237471"/>
                <a:gd name="connsiteY27" fmla="*/ 123853 h 141254"/>
                <a:gd name="connsiteX28" fmla="*/ 213929 w 237471"/>
                <a:gd name="connsiteY28" fmla="*/ 123342 h 141254"/>
                <a:gd name="connsiteX29" fmla="*/ 214952 w 237471"/>
                <a:gd name="connsiteY29" fmla="*/ 122318 h 141254"/>
                <a:gd name="connsiteX30" fmla="*/ 215464 w 237471"/>
                <a:gd name="connsiteY30" fmla="*/ 121806 h 141254"/>
                <a:gd name="connsiteX31" fmla="*/ 218535 w 237471"/>
                <a:gd name="connsiteY31" fmla="*/ 118735 h 141254"/>
                <a:gd name="connsiteX32" fmla="*/ 219046 w 237471"/>
                <a:gd name="connsiteY32" fmla="*/ 118224 h 141254"/>
                <a:gd name="connsiteX33" fmla="*/ 220070 w 237471"/>
                <a:gd name="connsiteY33" fmla="*/ 117200 h 141254"/>
                <a:gd name="connsiteX34" fmla="*/ 220582 w 237471"/>
                <a:gd name="connsiteY34" fmla="*/ 116688 h 141254"/>
                <a:gd name="connsiteX35" fmla="*/ 221605 w 237471"/>
                <a:gd name="connsiteY35" fmla="*/ 116176 h 141254"/>
                <a:gd name="connsiteX36" fmla="*/ 222629 w 237471"/>
                <a:gd name="connsiteY36" fmla="*/ 115665 h 141254"/>
                <a:gd name="connsiteX37" fmla="*/ 223653 w 237471"/>
                <a:gd name="connsiteY37" fmla="*/ 115153 h 141254"/>
                <a:gd name="connsiteX38" fmla="*/ 224676 w 237471"/>
                <a:gd name="connsiteY38" fmla="*/ 114641 h 141254"/>
                <a:gd name="connsiteX39" fmla="*/ 226212 w 237471"/>
                <a:gd name="connsiteY39" fmla="*/ 114129 h 141254"/>
                <a:gd name="connsiteX40" fmla="*/ 227235 w 237471"/>
                <a:gd name="connsiteY40" fmla="*/ 113618 h 141254"/>
                <a:gd name="connsiteX41" fmla="*/ 228771 w 237471"/>
                <a:gd name="connsiteY41" fmla="*/ 113106 h 141254"/>
                <a:gd name="connsiteX42" fmla="*/ 229282 w 237471"/>
                <a:gd name="connsiteY42" fmla="*/ 113106 h 141254"/>
                <a:gd name="connsiteX43" fmla="*/ 231841 w 237471"/>
                <a:gd name="connsiteY43" fmla="*/ 112594 h 141254"/>
                <a:gd name="connsiteX44" fmla="*/ 231841 w 237471"/>
                <a:gd name="connsiteY44" fmla="*/ 135625 h 141254"/>
                <a:gd name="connsiteX45" fmla="*/ 231841 w 237471"/>
                <a:gd name="connsiteY45" fmla="*/ 5118 h 141254"/>
                <a:gd name="connsiteX46" fmla="*/ 231841 w 237471"/>
                <a:gd name="connsiteY46" fmla="*/ 27637 h 141254"/>
                <a:gd name="connsiteX47" fmla="*/ 229282 w 237471"/>
                <a:gd name="connsiteY47" fmla="*/ 27125 h 141254"/>
                <a:gd name="connsiteX48" fmla="*/ 228771 w 237471"/>
                <a:gd name="connsiteY48" fmla="*/ 27125 h 141254"/>
                <a:gd name="connsiteX49" fmla="*/ 227235 w 237471"/>
                <a:gd name="connsiteY49" fmla="*/ 26613 h 141254"/>
                <a:gd name="connsiteX50" fmla="*/ 226212 w 237471"/>
                <a:gd name="connsiteY50" fmla="*/ 26101 h 141254"/>
                <a:gd name="connsiteX51" fmla="*/ 224676 w 237471"/>
                <a:gd name="connsiteY51" fmla="*/ 25590 h 141254"/>
                <a:gd name="connsiteX52" fmla="*/ 223653 w 237471"/>
                <a:gd name="connsiteY52" fmla="*/ 25078 h 141254"/>
                <a:gd name="connsiteX53" fmla="*/ 222117 w 237471"/>
                <a:gd name="connsiteY53" fmla="*/ 24566 h 141254"/>
                <a:gd name="connsiteX54" fmla="*/ 221094 w 237471"/>
                <a:gd name="connsiteY54" fmla="*/ 24054 h 141254"/>
                <a:gd name="connsiteX55" fmla="*/ 220070 w 237471"/>
                <a:gd name="connsiteY55" fmla="*/ 23542 h 141254"/>
                <a:gd name="connsiteX56" fmla="*/ 219558 w 237471"/>
                <a:gd name="connsiteY56" fmla="*/ 23031 h 141254"/>
                <a:gd name="connsiteX57" fmla="*/ 218535 w 237471"/>
                <a:gd name="connsiteY57" fmla="*/ 22007 h 141254"/>
                <a:gd name="connsiteX58" fmla="*/ 218023 w 237471"/>
                <a:gd name="connsiteY58" fmla="*/ 21495 h 141254"/>
                <a:gd name="connsiteX59" fmla="*/ 214952 w 237471"/>
                <a:gd name="connsiteY59" fmla="*/ 18424 h 141254"/>
                <a:gd name="connsiteX60" fmla="*/ 214441 w 237471"/>
                <a:gd name="connsiteY60" fmla="*/ 17913 h 141254"/>
                <a:gd name="connsiteX61" fmla="*/ 213417 w 237471"/>
                <a:gd name="connsiteY61" fmla="*/ 16889 h 141254"/>
                <a:gd name="connsiteX62" fmla="*/ 212905 w 237471"/>
                <a:gd name="connsiteY62" fmla="*/ 16377 h 141254"/>
                <a:gd name="connsiteX63" fmla="*/ 212393 w 237471"/>
                <a:gd name="connsiteY63" fmla="*/ 15354 h 141254"/>
                <a:gd name="connsiteX64" fmla="*/ 211882 w 237471"/>
                <a:gd name="connsiteY64" fmla="*/ 14330 h 141254"/>
                <a:gd name="connsiteX65" fmla="*/ 211370 w 237471"/>
                <a:gd name="connsiteY65" fmla="*/ 12795 h 141254"/>
                <a:gd name="connsiteX66" fmla="*/ 210858 w 237471"/>
                <a:gd name="connsiteY66" fmla="*/ 11771 h 141254"/>
                <a:gd name="connsiteX67" fmla="*/ 210346 w 237471"/>
                <a:gd name="connsiteY67" fmla="*/ 10236 h 141254"/>
                <a:gd name="connsiteX68" fmla="*/ 209834 w 237471"/>
                <a:gd name="connsiteY68" fmla="*/ 9212 h 141254"/>
                <a:gd name="connsiteX69" fmla="*/ 209323 w 237471"/>
                <a:gd name="connsiteY69" fmla="*/ 7677 h 141254"/>
                <a:gd name="connsiteX70" fmla="*/ 209323 w 237471"/>
                <a:gd name="connsiteY70" fmla="*/ 7165 h 141254"/>
                <a:gd name="connsiteX71" fmla="*/ 208811 w 237471"/>
                <a:gd name="connsiteY71" fmla="*/ 4606 h 141254"/>
                <a:gd name="connsiteX72" fmla="*/ 231841 w 237471"/>
                <a:gd name="connsiteY72" fmla="*/ 4606 h 141254"/>
                <a:gd name="connsiteX73" fmla="*/ 5118 w 237471"/>
                <a:gd name="connsiteY73" fmla="*/ 135625 h 141254"/>
                <a:gd name="connsiteX74" fmla="*/ 5118 w 237471"/>
                <a:gd name="connsiteY74" fmla="*/ 113106 h 141254"/>
                <a:gd name="connsiteX75" fmla="*/ 7677 w 237471"/>
                <a:gd name="connsiteY75" fmla="*/ 113618 h 141254"/>
                <a:gd name="connsiteX76" fmla="*/ 8189 w 237471"/>
                <a:gd name="connsiteY76" fmla="*/ 113618 h 141254"/>
                <a:gd name="connsiteX77" fmla="*/ 9724 w 237471"/>
                <a:gd name="connsiteY77" fmla="*/ 114129 h 141254"/>
                <a:gd name="connsiteX78" fmla="*/ 10748 w 237471"/>
                <a:gd name="connsiteY78" fmla="*/ 114641 h 141254"/>
                <a:gd name="connsiteX79" fmla="*/ 12283 w 237471"/>
                <a:gd name="connsiteY79" fmla="*/ 115153 h 141254"/>
                <a:gd name="connsiteX80" fmla="*/ 13307 w 237471"/>
                <a:gd name="connsiteY80" fmla="*/ 115665 h 141254"/>
                <a:gd name="connsiteX81" fmla="*/ 14330 w 237471"/>
                <a:gd name="connsiteY81" fmla="*/ 116176 h 141254"/>
                <a:gd name="connsiteX82" fmla="*/ 15354 w 237471"/>
                <a:gd name="connsiteY82" fmla="*/ 116688 h 141254"/>
                <a:gd name="connsiteX83" fmla="*/ 16377 w 237471"/>
                <a:gd name="connsiteY83" fmla="*/ 117200 h 141254"/>
                <a:gd name="connsiteX84" fmla="*/ 16889 w 237471"/>
                <a:gd name="connsiteY84" fmla="*/ 117712 h 141254"/>
                <a:gd name="connsiteX85" fmla="*/ 17913 w 237471"/>
                <a:gd name="connsiteY85" fmla="*/ 118735 h 141254"/>
                <a:gd name="connsiteX86" fmla="*/ 18425 w 237471"/>
                <a:gd name="connsiteY86" fmla="*/ 119247 h 141254"/>
                <a:gd name="connsiteX87" fmla="*/ 21495 w 237471"/>
                <a:gd name="connsiteY87" fmla="*/ 122318 h 141254"/>
                <a:gd name="connsiteX88" fmla="*/ 22007 w 237471"/>
                <a:gd name="connsiteY88" fmla="*/ 122830 h 141254"/>
                <a:gd name="connsiteX89" fmla="*/ 23031 w 237471"/>
                <a:gd name="connsiteY89" fmla="*/ 123853 h 141254"/>
                <a:gd name="connsiteX90" fmla="*/ 23543 w 237471"/>
                <a:gd name="connsiteY90" fmla="*/ 124365 h 141254"/>
                <a:gd name="connsiteX91" fmla="*/ 24054 w 237471"/>
                <a:gd name="connsiteY91" fmla="*/ 125389 h 141254"/>
                <a:gd name="connsiteX92" fmla="*/ 24566 w 237471"/>
                <a:gd name="connsiteY92" fmla="*/ 126412 h 141254"/>
                <a:gd name="connsiteX93" fmla="*/ 25078 w 237471"/>
                <a:gd name="connsiteY93" fmla="*/ 127948 h 141254"/>
                <a:gd name="connsiteX94" fmla="*/ 25590 w 237471"/>
                <a:gd name="connsiteY94" fmla="*/ 128971 h 141254"/>
                <a:gd name="connsiteX95" fmla="*/ 26102 w 237471"/>
                <a:gd name="connsiteY95" fmla="*/ 130507 h 141254"/>
                <a:gd name="connsiteX96" fmla="*/ 26613 w 237471"/>
                <a:gd name="connsiteY96" fmla="*/ 131530 h 141254"/>
                <a:gd name="connsiteX97" fmla="*/ 27125 w 237471"/>
                <a:gd name="connsiteY97" fmla="*/ 133066 h 141254"/>
                <a:gd name="connsiteX98" fmla="*/ 27125 w 237471"/>
                <a:gd name="connsiteY98" fmla="*/ 133577 h 141254"/>
                <a:gd name="connsiteX99" fmla="*/ 27637 w 237471"/>
                <a:gd name="connsiteY99" fmla="*/ 136136 h 141254"/>
                <a:gd name="connsiteX100" fmla="*/ 5118 w 237471"/>
                <a:gd name="connsiteY100" fmla="*/ 136136 h 141254"/>
                <a:gd name="connsiteX101" fmla="*/ 27125 w 237471"/>
                <a:gd name="connsiteY101" fmla="*/ 7165 h 141254"/>
                <a:gd name="connsiteX102" fmla="*/ 27125 w 237471"/>
                <a:gd name="connsiteY102" fmla="*/ 7677 h 141254"/>
                <a:gd name="connsiteX103" fmla="*/ 26613 w 237471"/>
                <a:gd name="connsiteY103" fmla="*/ 9212 h 141254"/>
                <a:gd name="connsiteX104" fmla="*/ 26102 w 237471"/>
                <a:gd name="connsiteY104" fmla="*/ 10236 h 141254"/>
                <a:gd name="connsiteX105" fmla="*/ 25590 w 237471"/>
                <a:gd name="connsiteY105" fmla="*/ 11771 h 141254"/>
                <a:gd name="connsiteX106" fmla="*/ 25078 w 237471"/>
                <a:gd name="connsiteY106" fmla="*/ 12795 h 141254"/>
                <a:gd name="connsiteX107" fmla="*/ 24566 w 237471"/>
                <a:gd name="connsiteY107" fmla="*/ 14330 h 141254"/>
                <a:gd name="connsiteX108" fmla="*/ 24054 w 237471"/>
                <a:gd name="connsiteY108" fmla="*/ 15354 h 141254"/>
                <a:gd name="connsiteX109" fmla="*/ 23543 w 237471"/>
                <a:gd name="connsiteY109" fmla="*/ 16377 h 141254"/>
                <a:gd name="connsiteX110" fmla="*/ 23031 w 237471"/>
                <a:gd name="connsiteY110" fmla="*/ 16889 h 141254"/>
                <a:gd name="connsiteX111" fmla="*/ 22007 w 237471"/>
                <a:gd name="connsiteY111" fmla="*/ 17913 h 141254"/>
                <a:gd name="connsiteX112" fmla="*/ 21495 w 237471"/>
                <a:gd name="connsiteY112" fmla="*/ 18424 h 141254"/>
                <a:gd name="connsiteX113" fmla="*/ 18425 w 237471"/>
                <a:gd name="connsiteY113" fmla="*/ 21495 h 141254"/>
                <a:gd name="connsiteX114" fmla="*/ 17913 w 237471"/>
                <a:gd name="connsiteY114" fmla="*/ 22007 h 141254"/>
                <a:gd name="connsiteX115" fmla="*/ 16889 w 237471"/>
                <a:gd name="connsiteY115" fmla="*/ 23031 h 141254"/>
                <a:gd name="connsiteX116" fmla="*/ 16377 w 237471"/>
                <a:gd name="connsiteY116" fmla="*/ 23542 h 141254"/>
                <a:gd name="connsiteX117" fmla="*/ 15354 w 237471"/>
                <a:gd name="connsiteY117" fmla="*/ 24054 h 141254"/>
                <a:gd name="connsiteX118" fmla="*/ 14330 w 237471"/>
                <a:gd name="connsiteY118" fmla="*/ 24566 h 141254"/>
                <a:gd name="connsiteX119" fmla="*/ 12795 w 237471"/>
                <a:gd name="connsiteY119" fmla="*/ 25078 h 141254"/>
                <a:gd name="connsiteX120" fmla="*/ 11771 w 237471"/>
                <a:gd name="connsiteY120" fmla="*/ 25590 h 141254"/>
                <a:gd name="connsiteX121" fmla="*/ 10236 w 237471"/>
                <a:gd name="connsiteY121" fmla="*/ 26101 h 141254"/>
                <a:gd name="connsiteX122" fmla="*/ 9212 w 237471"/>
                <a:gd name="connsiteY122" fmla="*/ 26613 h 141254"/>
                <a:gd name="connsiteX123" fmla="*/ 7677 w 237471"/>
                <a:gd name="connsiteY123" fmla="*/ 27125 h 141254"/>
                <a:gd name="connsiteX124" fmla="*/ 7165 w 237471"/>
                <a:gd name="connsiteY124" fmla="*/ 27125 h 141254"/>
                <a:gd name="connsiteX125" fmla="*/ 4606 w 237471"/>
                <a:gd name="connsiteY125" fmla="*/ 27637 h 141254"/>
                <a:gd name="connsiteX126" fmla="*/ 4606 w 237471"/>
                <a:gd name="connsiteY126" fmla="*/ 5118 h 141254"/>
                <a:gd name="connsiteX127" fmla="*/ 27125 w 237471"/>
                <a:gd name="connsiteY127" fmla="*/ 5118 h 141254"/>
                <a:gd name="connsiteX128" fmla="*/ 27125 w 237471"/>
                <a:gd name="connsiteY128" fmla="*/ 7165 h 141254"/>
                <a:gd name="connsiteX129" fmla="*/ 118224 w 237471"/>
                <a:gd name="connsiteY129" fmla="*/ 112594 h 141254"/>
                <a:gd name="connsiteX130" fmla="*/ 75745 w 237471"/>
                <a:gd name="connsiteY130" fmla="*/ 70115 h 141254"/>
                <a:gd name="connsiteX131" fmla="*/ 118224 w 237471"/>
                <a:gd name="connsiteY131" fmla="*/ 27637 h 141254"/>
                <a:gd name="connsiteX132" fmla="*/ 160703 w 237471"/>
                <a:gd name="connsiteY132" fmla="*/ 70115 h 141254"/>
                <a:gd name="connsiteX133" fmla="*/ 118224 w 237471"/>
                <a:gd name="connsiteY133" fmla="*/ 112594 h 1412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Lst>
              <a:rect l="l" t="t" r="r" b="b"/>
              <a:pathLst>
                <a:path w="237471" h="141254">
                  <a:moveTo>
                    <a:pt x="234912" y="141254"/>
                  </a:moveTo>
                  <a:cubicBezTo>
                    <a:pt x="236448" y="141254"/>
                    <a:pt x="237471" y="140231"/>
                    <a:pt x="237471" y="138695"/>
                  </a:cubicBezTo>
                  <a:lnTo>
                    <a:pt x="237471" y="110547"/>
                  </a:lnTo>
                  <a:lnTo>
                    <a:pt x="237471" y="30707"/>
                  </a:lnTo>
                  <a:lnTo>
                    <a:pt x="237471" y="2559"/>
                  </a:lnTo>
                  <a:cubicBezTo>
                    <a:pt x="237471" y="1023"/>
                    <a:pt x="236448" y="0"/>
                    <a:pt x="234912" y="0"/>
                  </a:cubicBezTo>
                  <a:lnTo>
                    <a:pt x="206764" y="0"/>
                  </a:lnTo>
                  <a:lnTo>
                    <a:pt x="30707" y="0"/>
                  </a:lnTo>
                  <a:lnTo>
                    <a:pt x="2559" y="0"/>
                  </a:lnTo>
                  <a:cubicBezTo>
                    <a:pt x="1024" y="0"/>
                    <a:pt x="0" y="1023"/>
                    <a:pt x="0" y="2559"/>
                  </a:cubicBezTo>
                  <a:lnTo>
                    <a:pt x="0" y="30707"/>
                  </a:lnTo>
                  <a:lnTo>
                    <a:pt x="0" y="110547"/>
                  </a:lnTo>
                  <a:lnTo>
                    <a:pt x="0" y="138695"/>
                  </a:lnTo>
                  <a:cubicBezTo>
                    <a:pt x="0" y="140231"/>
                    <a:pt x="1024" y="141254"/>
                    <a:pt x="2559" y="141254"/>
                  </a:cubicBezTo>
                  <a:lnTo>
                    <a:pt x="30707" y="141254"/>
                  </a:lnTo>
                  <a:lnTo>
                    <a:pt x="206764" y="141254"/>
                  </a:lnTo>
                  <a:lnTo>
                    <a:pt x="234912" y="141254"/>
                  </a:lnTo>
                  <a:close/>
                  <a:moveTo>
                    <a:pt x="231841" y="135625"/>
                  </a:moveTo>
                  <a:lnTo>
                    <a:pt x="209323" y="135625"/>
                  </a:lnTo>
                  <a:cubicBezTo>
                    <a:pt x="209323" y="134601"/>
                    <a:pt x="209323" y="134089"/>
                    <a:pt x="209834" y="133066"/>
                  </a:cubicBezTo>
                  <a:cubicBezTo>
                    <a:pt x="209834" y="133066"/>
                    <a:pt x="209834" y="132554"/>
                    <a:pt x="209834" y="132554"/>
                  </a:cubicBezTo>
                  <a:cubicBezTo>
                    <a:pt x="209834" y="132042"/>
                    <a:pt x="210346" y="131530"/>
                    <a:pt x="210346" y="131018"/>
                  </a:cubicBezTo>
                  <a:cubicBezTo>
                    <a:pt x="210346" y="130507"/>
                    <a:pt x="210346" y="130507"/>
                    <a:pt x="210858" y="129995"/>
                  </a:cubicBezTo>
                  <a:cubicBezTo>
                    <a:pt x="210858" y="129483"/>
                    <a:pt x="211370" y="128971"/>
                    <a:pt x="211370" y="128459"/>
                  </a:cubicBezTo>
                  <a:cubicBezTo>
                    <a:pt x="211370" y="127948"/>
                    <a:pt x="211370" y="127948"/>
                    <a:pt x="211882" y="127436"/>
                  </a:cubicBezTo>
                  <a:cubicBezTo>
                    <a:pt x="211882" y="126924"/>
                    <a:pt x="212393" y="126412"/>
                    <a:pt x="212393" y="125900"/>
                  </a:cubicBezTo>
                  <a:cubicBezTo>
                    <a:pt x="212393" y="125389"/>
                    <a:pt x="212905" y="125389"/>
                    <a:pt x="212905" y="124877"/>
                  </a:cubicBezTo>
                  <a:cubicBezTo>
                    <a:pt x="212905" y="124365"/>
                    <a:pt x="213417" y="123853"/>
                    <a:pt x="213417" y="123853"/>
                  </a:cubicBezTo>
                  <a:cubicBezTo>
                    <a:pt x="213417" y="123853"/>
                    <a:pt x="213929" y="123342"/>
                    <a:pt x="213929" y="123342"/>
                  </a:cubicBezTo>
                  <a:cubicBezTo>
                    <a:pt x="214441" y="122830"/>
                    <a:pt x="214441" y="122318"/>
                    <a:pt x="214952" y="122318"/>
                  </a:cubicBezTo>
                  <a:cubicBezTo>
                    <a:pt x="214952" y="122318"/>
                    <a:pt x="215464" y="121806"/>
                    <a:pt x="215464" y="121806"/>
                  </a:cubicBezTo>
                  <a:cubicBezTo>
                    <a:pt x="216488" y="120783"/>
                    <a:pt x="217511" y="119759"/>
                    <a:pt x="218535" y="118735"/>
                  </a:cubicBezTo>
                  <a:cubicBezTo>
                    <a:pt x="218535" y="118735"/>
                    <a:pt x="219046" y="118224"/>
                    <a:pt x="219046" y="118224"/>
                  </a:cubicBezTo>
                  <a:cubicBezTo>
                    <a:pt x="219558" y="117712"/>
                    <a:pt x="220070" y="117712"/>
                    <a:pt x="220070" y="117200"/>
                  </a:cubicBezTo>
                  <a:cubicBezTo>
                    <a:pt x="220070" y="117200"/>
                    <a:pt x="220582" y="116688"/>
                    <a:pt x="220582" y="116688"/>
                  </a:cubicBezTo>
                  <a:cubicBezTo>
                    <a:pt x="221094" y="116176"/>
                    <a:pt x="221605" y="116176"/>
                    <a:pt x="221605" y="116176"/>
                  </a:cubicBezTo>
                  <a:cubicBezTo>
                    <a:pt x="222117" y="116176"/>
                    <a:pt x="222117" y="115665"/>
                    <a:pt x="222629" y="115665"/>
                  </a:cubicBezTo>
                  <a:cubicBezTo>
                    <a:pt x="223141" y="115665"/>
                    <a:pt x="223653" y="115153"/>
                    <a:pt x="223653" y="115153"/>
                  </a:cubicBezTo>
                  <a:cubicBezTo>
                    <a:pt x="224164" y="115153"/>
                    <a:pt x="224164" y="115153"/>
                    <a:pt x="224676" y="114641"/>
                  </a:cubicBezTo>
                  <a:cubicBezTo>
                    <a:pt x="225188" y="114641"/>
                    <a:pt x="225700" y="114129"/>
                    <a:pt x="226212" y="114129"/>
                  </a:cubicBezTo>
                  <a:cubicBezTo>
                    <a:pt x="226723" y="114129"/>
                    <a:pt x="226723" y="114129"/>
                    <a:pt x="227235" y="113618"/>
                  </a:cubicBezTo>
                  <a:cubicBezTo>
                    <a:pt x="227747" y="113618"/>
                    <a:pt x="228259" y="113106"/>
                    <a:pt x="228771" y="113106"/>
                  </a:cubicBezTo>
                  <a:cubicBezTo>
                    <a:pt x="228771" y="113106"/>
                    <a:pt x="229282" y="113106"/>
                    <a:pt x="229282" y="113106"/>
                  </a:cubicBezTo>
                  <a:cubicBezTo>
                    <a:pt x="229794" y="113106"/>
                    <a:pt x="230818" y="112594"/>
                    <a:pt x="231841" y="112594"/>
                  </a:cubicBezTo>
                  <a:lnTo>
                    <a:pt x="231841" y="135625"/>
                  </a:lnTo>
                  <a:close/>
                  <a:moveTo>
                    <a:pt x="231841" y="5118"/>
                  </a:moveTo>
                  <a:lnTo>
                    <a:pt x="231841" y="27637"/>
                  </a:lnTo>
                  <a:cubicBezTo>
                    <a:pt x="230818" y="27637"/>
                    <a:pt x="230306" y="27637"/>
                    <a:pt x="229282" y="27125"/>
                  </a:cubicBezTo>
                  <a:cubicBezTo>
                    <a:pt x="229282" y="27125"/>
                    <a:pt x="228771" y="27125"/>
                    <a:pt x="228771" y="27125"/>
                  </a:cubicBezTo>
                  <a:cubicBezTo>
                    <a:pt x="228259" y="27125"/>
                    <a:pt x="227747" y="26613"/>
                    <a:pt x="227235" y="26613"/>
                  </a:cubicBezTo>
                  <a:cubicBezTo>
                    <a:pt x="226723" y="26613"/>
                    <a:pt x="226723" y="26613"/>
                    <a:pt x="226212" y="26101"/>
                  </a:cubicBezTo>
                  <a:cubicBezTo>
                    <a:pt x="225700" y="26101"/>
                    <a:pt x="225188" y="25590"/>
                    <a:pt x="224676" y="25590"/>
                  </a:cubicBezTo>
                  <a:cubicBezTo>
                    <a:pt x="224164" y="25590"/>
                    <a:pt x="224164" y="25590"/>
                    <a:pt x="223653" y="25078"/>
                  </a:cubicBezTo>
                  <a:cubicBezTo>
                    <a:pt x="223141" y="25078"/>
                    <a:pt x="222629" y="24566"/>
                    <a:pt x="222117" y="24566"/>
                  </a:cubicBezTo>
                  <a:cubicBezTo>
                    <a:pt x="221605" y="24566"/>
                    <a:pt x="221605" y="24054"/>
                    <a:pt x="221094" y="24054"/>
                  </a:cubicBezTo>
                  <a:cubicBezTo>
                    <a:pt x="220582" y="24054"/>
                    <a:pt x="220070" y="23542"/>
                    <a:pt x="220070" y="23542"/>
                  </a:cubicBezTo>
                  <a:cubicBezTo>
                    <a:pt x="220070" y="23542"/>
                    <a:pt x="219558" y="23031"/>
                    <a:pt x="219558" y="23031"/>
                  </a:cubicBezTo>
                  <a:cubicBezTo>
                    <a:pt x="219046" y="22519"/>
                    <a:pt x="218535" y="22519"/>
                    <a:pt x="218535" y="22007"/>
                  </a:cubicBezTo>
                  <a:cubicBezTo>
                    <a:pt x="218535" y="22007"/>
                    <a:pt x="218023" y="21495"/>
                    <a:pt x="218023" y="21495"/>
                  </a:cubicBezTo>
                  <a:cubicBezTo>
                    <a:pt x="217000" y="20472"/>
                    <a:pt x="215976" y="19448"/>
                    <a:pt x="214952" y="18424"/>
                  </a:cubicBezTo>
                  <a:cubicBezTo>
                    <a:pt x="214952" y="18424"/>
                    <a:pt x="214441" y="17913"/>
                    <a:pt x="214441" y="17913"/>
                  </a:cubicBezTo>
                  <a:cubicBezTo>
                    <a:pt x="213929" y="17401"/>
                    <a:pt x="213929" y="16889"/>
                    <a:pt x="213417" y="16889"/>
                  </a:cubicBezTo>
                  <a:cubicBezTo>
                    <a:pt x="213417" y="16889"/>
                    <a:pt x="212905" y="16377"/>
                    <a:pt x="212905" y="16377"/>
                  </a:cubicBezTo>
                  <a:cubicBezTo>
                    <a:pt x="212393" y="15865"/>
                    <a:pt x="212393" y="15354"/>
                    <a:pt x="212393" y="15354"/>
                  </a:cubicBezTo>
                  <a:cubicBezTo>
                    <a:pt x="212393" y="14842"/>
                    <a:pt x="211882" y="14842"/>
                    <a:pt x="211882" y="14330"/>
                  </a:cubicBezTo>
                  <a:cubicBezTo>
                    <a:pt x="211882" y="13818"/>
                    <a:pt x="211370" y="13306"/>
                    <a:pt x="211370" y="12795"/>
                  </a:cubicBezTo>
                  <a:cubicBezTo>
                    <a:pt x="211370" y="12283"/>
                    <a:pt x="211370" y="12283"/>
                    <a:pt x="210858" y="11771"/>
                  </a:cubicBezTo>
                  <a:cubicBezTo>
                    <a:pt x="210858" y="11259"/>
                    <a:pt x="210346" y="10747"/>
                    <a:pt x="210346" y="10236"/>
                  </a:cubicBezTo>
                  <a:cubicBezTo>
                    <a:pt x="210346" y="9724"/>
                    <a:pt x="210346" y="9724"/>
                    <a:pt x="209834" y="9212"/>
                  </a:cubicBezTo>
                  <a:cubicBezTo>
                    <a:pt x="209834" y="8700"/>
                    <a:pt x="209323" y="8189"/>
                    <a:pt x="209323" y="7677"/>
                  </a:cubicBezTo>
                  <a:cubicBezTo>
                    <a:pt x="209323" y="7677"/>
                    <a:pt x="209323" y="7165"/>
                    <a:pt x="209323" y="7165"/>
                  </a:cubicBezTo>
                  <a:cubicBezTo>
                    <a:pt x="209323" y="6653"/>
                    <a:pt x="208811" y="5630"/>
                    <a:pt x="208811" y="4606"/>
                  </a:cubicBezTo>
                  <a:lnTo>
                    <a:pt x="231841" y="4606"/>
                  </a:lnTo>
                  <a:close/>
                  <a:moveTo>
                    <a:pt x="5118" y="135625"/>
                  </a:moveTo>
                  <a:lnTo>
                    <a:pt x="5118" y="113106"/>
                  </a:lnTo>
                  <a:cubicBezTo>
                    <a:pt x="6142" y="113106"/>
                    <a:pt x="6653" y="113106"/>
                    <a:pt x="7677" y="113618"/>
                  </a:cubicBezTo>
                  <a:cubicBezTo>
                    <a:pt x="7677" y="113618"/>
                    <a:pt x="8189" y="113618"/>
                    <a:pt x="8189" y="113618"/>
                  </a:cubicBezTo>
                  <a:cubicBezTo>
                    <a:pt x="8701" y="113618"/>
                    <a:pt x="9212" y="114129"/>
                    <a:pt x="9724" y="114129"/>
                  </a:cubicBezTo>
                  <a:cubicBezTo>
                    <a:pt x="10236" y="114129"/>
                    <a:pt x="10236" y="114129"/>
                    <a:pt x="10748" y="114641"/>
                  </a:cubicBezTo>
                  <a:cubicBezTo>
                    <a:pt x="11259" y="114641"/>
                    <a:pt x="11771" y="115153"/>
                    <a:pt x="12283" y="115153"/>
                  </a:cubicBezTo>
                  <a:cubicBezTo>
                    <a:pt x="12795" y="115153"/>
                    <a:pt x="12795" y="115153"/>
                    <a:pt x="13307" y="115665"/>
                  </a:cubicBezTo>
                  <a:cubicBezTo>
                    <a:pt x="13818" y="115665"/>
                    <a:pt x="14330" y="116176"/>
                    <a:pt x="14330" y="116176"/>
                  </a:cubicBezTo>
                  <a:cubicBezTo>
                    <a:pt x="14842" y="116176"/>
                    <a:pt x="14842" y="116688"/>
                    <a:pt x="15354" y="116688"/>
                  </a:cubicBezTo>
                  <a:cubicBezTo>
                    <a:pt x="15866" y="116688"/>
                    <a:pt x="16377" y="117200"/>
                    <a:pt x="16377" y="117200"/>
                  </a:cubicBezTo>
                  <a:cubicBezTo>
                    <a:pt x="16377" y="117200"/>
                    <a:pt x="16889" y="117712"/>
                    <a:pt x="16889" y="117712"/>
                  </a:cubicBezTo>
                  <a:cubicBezTo>
                    <a:pt x="17401" y="118224"/>
                    <a:pt x="17913" y="118224"/>
                    <a:pt x="17913" y="118735"/>
                  </a:cubicBezTo>
                  <a:cubicBezTo>
                    <a:pt x="17913" y="118735"/>
                    <a:pt x="18425" y="119247"/>
                    <a:pt x="18425" y="119247"/>
                  </a:cubicBezTo>
                  <a:cubicBezTo>
                    <a:pt x="19448" y="120271"/>
                    <a:pt x="20472" y="121294"/>
                    <a:pt x="21495" y="122318"/>
                  </a:cubicBezTo>
                  <a:cubicBezTo>
                    <a:pt x="21495" y="122318"/>
                    <a:pt x="22007" y="122830"/>
                    <a:pt x="22007" y="122830"/>
                  </a:cubicBezTo>
                  <a:cubicBezTo>
                    <a:pt x="22519" y="123342"/>
                    <a:pt x="22519" y="123853"/>
                    <a:pt x="23031" y="123853"/>
                  </a:cubicBezTo>
                  <a:cubicBezTo>
                    <a:pt x="23031" y="123853"/>
                    <a:pt x="23543" y="124365"/>
                    <a:pt x="23543" y="124365"/>
                  </a:cubicBezTo>
                  <a:cubicBezTo>
                    <a:pt x="24054" y="124877"/>
                    <a:pt x="24054" y="125389"/>
                    <a:pt x="24054" y="125389"/>
                  </a:cubicBezTo>
                  <a:cubicBezTo>
                    <a:pt x="24054" y="125900"/>
                    <a:pt x="24566" y="125900"/>
                    <a:pt x="24566" y="126412"/>
                  </a:cubicBezTo>
                  <a:cubicBezTo>
                    <a:pt x="24566" y="126924"/>
                    <a:pt x="25078" y="127436"/>
                    <a:pt x="25078" y="127948"/>
                  </a:cubicBezTo>
                  <a:cubicBezTo>
                    <a:pt x="25078" y="128459"/>
                    <a:pt x="25078" y="128459"/>
                    <a:pt x="25590" y="128971"/>
                  </a:cubicBezTo>
                  <a:cubicBezTo>
                    <a:pt x="25590" y="129483"/>
                    <a:pt x="26102" y="129995"/>
                    <a:pt x="26102" y="130507"/>
                  </a:cubicBezTo>
                  <a:cubicBezTo>
                    <a:pt x="26102" y="131018"/>
                    <a:pt x="26102" y="131018"/>
                    <a:pt x="26613" y="131530"/>
                  </a:cubicBezTo>
                  <a:cubicBezTo>
                    <a:pt x="26613" y="132042"/>
                    <a:pt x="27125" y="132554"/>
                    <a:pt x="27125" y="133066"/>
                  </a:cubicBezTo>
                  <a:cubicBezTo>
                    <a:pt x="27125" y="133066"/>
                    <a:pt x="27125" y="133577"/>
                    <a:pt x="27125" y="133577"/>
                  </a:cubicBezTo>
                  <a:cubicBezTo>
                    <a:pt x="27125" y="134089"/>
                    <a:pt x="27637" y="135113"/>
                    <a:pt x="27637" y="136136"/>
                  </a:cubicBezTo>
                  <a:lnTo>
                    <a:pt x="5118" y="136136"/>
                  </a:lnTo>
                  <a:close/>
                  <a:moveTo>
                    <a:pt x="27125" y="7165"/>
                  </a:moveTo>
                  <a:cubicBezTo>
                    <a:pt x="27125" y="7165"/>
                    <a:pt x="27125" y="7677"/>
                    <a:pt x="27125" y="7677"/>
                  </a:cubicBezTo>
                  <a:cubicBezTo>
                    <a:pt x="27125" y="8189"/>
                    <a:pt x="26613" y="8700"/>
                    <a:pt x="26613" y="9212"/>
                  </a:cubicBezTo>
                  <a:cubicBezTo>
                    <a:pt x="26613" y="9724"/>
                    <a:pt x="26613" y="9724"/>
                    <a:pt x="26102" y="10236"/>
                  </a:cubicBezTo>
                  <a:cubicBezTo>
                    <a:pt x="26102" y="10747"/>
                    <a:pt x="25590" y="11259"/>
                    <a:pt x="25590" y="11771"/>
                  </a:cubicBezTo>
                  <a:cubicBezTo>
                    <a:pt x="25590" y="12283"/>
                    <a:pt x="25590" y="12283"/>
                    <a:pt x="25078" y="12795"/>
                  </a:cubicBezTo>
                  <a:cubicBezTo>
                    <a:pt x="25078" y="13306"/>
                    <a:pt x="24566" y="13818"/>
                    <a:pt x="24566" y="14330"/>
                  </a:cubicBezTo>
                  <a:cubicBezTo>
                    <a:pt x="24566" y="14842"/>
                    <a:pt x="24054" y="14842"/>
                    <a:pt x="24054" y="15354"/>
                  </a:cubicBezTo>
                  <a:cubicBezTo>
                    <a:pt x="24054" y="15865"/>
                    <a:pt x="23543" y="16377"/>
                    <a:pt x="23543" y="16377"/>
                  </a:cubicBezTo>
                  <a:cubicBezTo>
                    <a:pt x="23543" y="16377"/>
                    <a:pt x="23031" y="16889"/>
                    <a:pt x="23031" y="16889"/>
                  </a:cubicBezTo>
                  <a:cubicBezTo>
                    <a:pt x="22519" y="17401"/>
                    <a:pt x="22519" y="17913"/>
                    <a:pt x="22007" y="17913"/>
                  </a:cubicBezTo>
                  <a:cubicBezTo>
                    <a:pt x="22007" y="17913"/>
                    <a:pt x="21495" y="18424"/>
                    <a:pt x="21495" y="18424"/>
                  </a:cubicBezTo>
                  <a:cubicBezTo>
                    <a:pt x="20472" y="19448"/>
                    <a:pt x="19448" y="20472"/>
                    <a:pt x="18425" y="21495"/>
                  </a:cubicBezTo>
                  <a:cubicBezTo>
                    <a:pt x="18425" y="21495"/>
                    <a:pt x="17913" y="22007"/>
                    <a:pt x="17913" y="22007"/>
                  </a:cubicBezTo>
                  <a:cubicBezTo>
                    <a:pt x="17401" y="22519"/>
                    <a:pt x="16889" y="22519"/>
                    <a:pt x="16889" y="23031"/>
                  </a:cubicBezTo>
                  <a:cubicBezTo>
                    <a:pt x="16889" y="23031"/>
                    <a:pt x="16377" y="23542"/>
                    <a:pt x="16377" y="23542"/>
                  </a:cubicBezTo>
                  <a:cubicBezTo>
                    <a:pt x="15866" y="24054"/>
                    <a:pt x="15354" y="24054"/>
                    <a:pt x="15354" y="24054"/>
                  </a:cubicBezTo>
                  <a:cubicBezTo>
                    <a:pt x="14842" y="24054"/>
                    <a:pt x="14842" y="24566"/>
                    <a:pt x="14330" y="24566"/>
                  </a:cubicBezTo>
                  <a:cubicBezTo>
                    <a:pt x="13818" y="24566"/>
                    <a:pt x="13307" y="25078"/>
                    <a:pt x="12795" y="25078"/>
                  </a:cubicBezTo>
                  <a:cubicBezTo>
                    <a:pt x="12283" y="25078"/>
                    <a:pt x="12283" y="25078"/>
                    <a:pt x="11771" y="25590"/>
                  </a:cubicBezTo>
                  <a:cubicBezTo>
                    <a:pt x="11259" y="25590"/>
                    <a:pt x="10748" y="26101"/>
                    <a:pt x="10236" y="26101"/>
                  </a:cubicBezTo>
                  <a:cubicBezTo>
                    <a:pt x="9724" y="26101"/>
                    <a:pt x="9724" y="26101"/>
                    <a:pt x="9212" y="26613"/>
                  </a:cubicBezTo>
                  <a:cubicBezTo>
                    <a:pt x="8701" y="26613"/>
                    <a:pt x="8189" y="27125"/>
                    <a:pt x="7677" y="27125"/>
                  </a:cubicBezTo>
                  <a:cubicBezTo>
                    <a:pt x="7677" y="27125"/>
                    <a:pt x="7165" y="27125"/>
                    <a:pt x="7165" y="27125"/>
                  </a:cubicBezTo>
                  <a:cubicBezTo>
                    <a:pt x="6653" y="27125"/>
                    <a:pt x="5630" y="27637"/>
                    <a:pt x="4606" y="27637"/>
                  </a:cubicBezTo>
                  <a:lnTo>
                    <a:pt x="4606" y="5118"/>
                  </a:lnTo>
                  <a:lnTo>
                    <a:pt x="27125" y="5118"/>
                  </a:lnTo>
                  <a:cubicBezTo>
                    <a:pt x="27637" y="5630"/>
                    <a:pt x="27125" y="6653"/>
                    <a:pt x="27125" y="7165"/>
                  </a:cubicBezTo>
                  <a:close/>
                  <a:moveTo>
                    <a:pt x="118224" y="112594"/>
                  </a:moveTo>
                  <a:cubicBezTo>
                    <a:pt x="94681" y="112594"/>
                    <a:pt x="75745" y="93658"/>
                    <a:pt x="75745" y="70115"/>
                  </a:cubicBezTo>
                  <a:cubicBezTo>
                    <a:pt x="75745" y="46573"/>
                    <a:pt x="94681" y="27637"/>
                    <a:pt x="118224" y="27637"/>
                  </a:cubicBezTo>
                  <a:cubicBezTo>
                    <a:pt x="141766" y="27637"/>
                    <a:pt x="160703" y="46573"/>
                    <a:pt x="160703" y="70115"/>
                  </a:cubicBezTo>
                  <a:cubicBezTo>
                    <a:pt x="160703" y="93658"/>
                    <a:pt x="141766" y="112594"/>
                    <a:pt x="118224" y="112594"/>
                  </a:cubicBezTo>
                  <a:close/>
                </a:path>
              </a:pathLst>
            </a:custGeom>
            <a:grpFill/>
            <a:ln w="511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90" name="Freeform: Shape 109">
              <a:extLst>
                <a:ext uri="{FF2B5EF4-FFF2-40B4-BE49-F238E27FC236}">
                  <a16:creationId xmlns:a16="http://schemas.microsoft.com/office/drawing/2014/main" id="{18E776F4-1E93-4C03-9286-51975DDFA701}"/>
                </a:ext>
              </a:extLst>
            </p:cNvPr>
            <p:cNvSpPr/>
            <p:nvPr/>
          </p:nvSpPr>
          <p:spPr>
            <a:xfrm>
              <a:off x="7276056" y="1949923"/>
              <a:ext cx="39029" cy="56808"/>
            </a:xfrm>
            <a:custGeom>
              <a:avLst/>
              <a:gdLst>
                <a:gd name="connsiteX0" fmla="*/ 21628 w 39029"/>
                <a:gd name="connsiteY0" fmla="*/ 20472 h 56808"/>
                <a:gd name="connsiteX1" fmla="*/ 21628 w 39029"/>
                <a:gd name="connsiteY1" fmla="*/ 11259 h 56808"/>
                <a:gd name="connsiteX2" fmla="*/ 24187 w 39029"/>
                <a:gd name="connsiteY2" fmla="*/ 13307 h 56808"/>
                <a:gd name="connsiteX3" fmla="*/ 25211 w 39029"/>
                <a:gd name="connsiteY3" fmla="*/ 14842 h 56808"/>
                <a:gd name="connsiteX4" fmla="*/ 28282 w 39029"/>
                <a:gd name="connsiteY4" fmla="*/ 16377 h 56808"/>
                <a:gd name="connsiteX5" fmla="*/ 34935 w 39029"/>
                <a:gd name="connsiteY5" fmla="*/ 15354 h 56808"/>
                <a:gd name="connsiteX6" fmla="*/ 36982 w 39029"/>
                <a:gd name="connsiteY6" fmla="*/ 11771 h 56808"/>
                <a:gd name="connsiteX7" fmla="*/ 32888 w 39029"/>
                <a:gd name="connsiteY7" fmla="*/ 6653 h 56808"/>
                <a:gd name="connsiteX8" fmla="*/ 21628 w 39029"/>
                <a:gd name="connsiteY8" fmla="*/ 3071 h 56808"/>
                <a:gd name="connsiteX9" fmla="*/ 21628 w 39029"/>
                <a:gd name="connsiteY9" fmla="*/ 0 h 56808"/>
                <a:gd name="connsiteX10" fmla="*/ 17022 w 39029"/>
                <a:gd name="connsiteY10" fmla="*/ 0 h 56808"/>
                <a:gd name="connsiteX11" fmla="*/ 17022 w 39029"/>
                <a:gd name="connsiteY11" fmla="*/ 3071 h 56808"/>
                <a:gd name="connsiteX12" fmla="*/ 5251 w 39029"/>
                <a:gd name="connsiteY12" fmla="*/ 7165 h 56808"/>
                <a:gd name="connsiteX13" fmla="*/ 1157 w 39029"/>
                <a:gd name="connsiteY13" fmla="*/ 16889 h 56808"/>
                <a:gd name="connsiteX14" fmla="*/ 3204 w 39029"/>
                <a:gd name="connsiteY14" fmla="*/ 24054 h 56808"/>
                <a:gd name="connsiteX15" fmla="*/ 7810 w 39029"/>
                <a:gd name="connsiteY15" fmla="*/ 28149 h 56808"/>
                <a:gd name="connsiteX16" fmla="*/ 17022 w 39029"/>
                <a:gd name="connsiteY16" fmla="*/ 31219 h 56808"/>
                <a:gd name="connsiteX17" fmla="*/ 17022 w 39029"/>
                <a:gd name="connsiteY17" fmla="*/ 42479 h 56808"/>
                <a:gd name="connsiteX18" fmla="*/ 13951 w 39029"/>
                <a:gd name="connsiteY18" fmla="*/ 39920 h 56808"/>
                <a:gd name="connsiteX19" fmla="*/ 12928 w 39029"/>
                <a:gd name="connsiteY19" fmla="*/ 37361 h 56808"/>
                <a:gd name="connsiteX20" fmla="*/ 9857 w 39029"/>
                <a:gd name="connsiteY20" fmla="*/ 35314 h 56808"/>
                <a:gd name="connsiteX21" fmla="*/ 2180 w 39029"/>
                <a:gd name="connsiteY21" fmla="*/ 36337 h 56808"/>
                <a:gd name="connsiteX22" fmla="*/ 133 w 39029"/>
                <a:gd name="connsiteY22" fmla="*/ 39920 h 56808"/>
                <a:gd name="connsiteX23" fmla="*/ 1157 w 39029"/>
                <a:gd name="connsiteY23" fmla="*/ 41967 h 56808"/>
                <a:gd name="connsiteX24" fmla="*/ 4228 w 39029"/>
                <a:gd name="connsiteY24" fmla="*/ 46061 h 56808"/>
                <a:gd name="connsiteX25" fmla="*/ 9346 w 39029"/>
                <a:gd name="connsiteY25" fmla="*/ 49132 h 56808"/>
                <a:gd name="connsiteX26" fmla="*/ 17022 w 39029"/>
                <a:gd name="connsiteY26" fmla="*/ 50667 h 56808"/>
                <a:gd name="connsiteX27" fmla="*/ 17022 w 39029"/>
                <a:gd name="connsiteY27" fmla="*/ 56809 h 56808"/>
                <a:gd name="connsiteX28" fmla="*/ 21628 w 39029"/>
                <a:gd name="connsiteY28" fmla="*/ 56809 h 56808"/>
                <a:gd name="connsiteX29" fmla="*/ 21628 w 39029"/>
                <a:gd name="connsiteY29" fmla="*/ 51179 h 56808"/>
                <a:gd name="connsiteX30" fmla="*/ 28282 w 39029"/>
                <a:gd name="connsiteY30" fmla="*/ 50155 h 56808"/>
                <a:gd name="connsiteX31" fmla="*/ 33399 w 39029"/>
                <a:gd name="connsiteY31" fmla="*/ 47085 h 56808"/>
                <a:gd name="connsiteX32" fmla="*/ 37494 w 39029"/>
                <a:gd name="connsiteY32" fmla="*/ 41967 h 56808"/>
                <a:gd name="connsiteX33" fmla="*/ 39029 w 39029"/>
                <a:gd name="connsiteY33" fmla="*/ 35314 h 56808"/>
                <a:gd name="connsiteX34" fmla="*/ 34423 w 39029"/>
                <a:gd name="connsiteY34" fmla="*/ 25590 h 56808"/>
                <a:gd name="connsiteX35" fmla="*/ 21628 w 39029"/>
                <a:gd name="connsiteY35" fmla="*/ 20472 h 56808"/>
                <a:gd name="connsiteX36" fmla="*/ 17022 w 39029"/>
                <a:gd name="connsiteY36" fmla="*/ 19448 h 56808"/>
                <a:gd name="connsiteX37" fmla="*/ 13951 w 39029"/>
                <a:gd name="connsiteY37" fmla="*/ 17913 h 56808"/>
                <a:gd name="connsiteX38" fmla="*/ 12928 w 39029"/>
                <a:gd name="connsiteY38" fmla="*/ 15354 h 56808"/>
                <a:gd name="connsiteX39" fmla="*/ 13951 w 39029"/>
                <a:gd name="connsiteY39" fmla="*/ 12795 h 56808"/>
                <a:gd name="connsiteX40" fmla="*/ 17022 w 39029"/>
                <a:gd name="connsiteY40" fmla="*/ 11259 h 56808"/>
                <a:gd name="connsiteX41" fmla="*/ 17022 w 39029"/>
                <a:gd name="connsiteY41" fmla="*/ 19448 h 56808"/>
                <a:gd name="connsiteX42" fmla="*/ 25723 w 39029"/>
                <a:gd name="connsiteY42" fmla="*/ 40943 h 56808"/>
                <a:gd name="connsiteX43" fmla="*/ 21628 w 39029"/>
                <a:gd name="connsiteY43" fmla="*/ 42990 h 56808"/>
                <a:gd name="connsiteX44" fmla="*/ 21628 w 39029"/>
                <a:gd name="connsiteY44" fmla="*/ 32755 h 56808"/>
                <a:gd name="connsiteX45" fmla="*/ 25723 w 39029"/>
                <a:gd name="connsiteY45" fmla="*/ 35314 h 56808"/>
                <a:gd name="connsiteX46" fmla="*/ 26746 w 39029"/>
                <a:gd name="connsiteY46" fmla="*/ 37873 h 56808"/>
                <a:gd name="connsiteX47" fmla="*/ 25723 w 39029"/>
                <a:gd name="connsiteY47" fmla="*/ 40943 h 568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39029" h="56808">
                  <a:moveTo>
                    <a:pt x="21628" y="20472"/>
                  </a:moveTo>
                  <a:lnTo>
                    <a:pt x="21628" y="11259"/>
                  </a:lnTo>
                  <a:cubicBezTo>
                    <a:pt x="22652" y="11771"/>
                    <a:pt x="23676" y="12283"/>
                    <a:pt x="24187" y="13307"/>
                  </a:cubicBezTo>
                  <a:cubicBezTo>
                    <a:pt x="24187" y="13818"/>
                    <a:pt x="24699" y="13818"/>
                    <a:pt x="25211" y="14842"/>
                  </a:cubicBezTo>
                  <a:cubicBezTo>
                    <a:pt x="25723" y="15866"/>
                    <a:pt x="26746" y="16377"/>
                    <a:pt x="28282" y="16377"/>
                  </a:cubicBezTo>
                  <a:lnTo>
                    <a:pt x="34935" y="15354"/>
                  </a:lnTo>
                  <a:cubicBezTo>
                    <a:pt x="36470" y="14842"/>
                    <a:pt x="38006" y="13307"/>
                    <a:pt x="36982" y="11771"/>
                  </a:cubicBezTo>
                  <a:cubicBezTo>
                    <a:pt x="35958" y="9724"/>
                    <a:pt x="34935" y="8189"/>
                    <a:pt x="32888" y="6653"/>
                  </a:cubicBezTo>
                  <a:cubicBezTo>
                    <a:pt x="30329" y="4606"/>
                    <a:pt x="26746" y="3583"/>
                    <a:pt x="21628" y="3071"/>
                  </a:cubicBezTo>
                  <a:lnTo>
                    <a:pt x="21628" y="0"/>
                  </a:lnTo>
                  <a:lnTo>
                    <a:pt x="17022" y="0"/>
                  </a:lnTo>
                  <a:lnTo>
                    <a:pt x="17022" y="3071"/>
                  </a:lnTo>
                  <a:cubicBezTo>
                    <a:pt x="11905" y="3583"/>
                    <a:pt x="7810" y="4606"/>
                    <a:pt x="5251" y="7165"/>
                  </a:cubicBezTo>
                  <a:cubicBezTo>
                    <a:pt x="2692" y="9724"/>
                    <a:pt x="1157" y="12795"/>
                    <a:pt x="1157" y="16889"/>
                  </a:cubicBezTo>
                  <a:cubicBezTo>
                    <a:pt x="1157" y="19448"/>
                    <a:pt x="1669" y="22007"/>
                    <a:pt x="3204" y="24054"/>
                  </a:cubicBezTo>
                  <a:cubicBezTo>
                    <a:pt x="4739" y="26101"/>
                    <a:pt x="6275" y="27637"/>
                    <a:pt x="7810" y="28149"/>
                  </a:cubicBezTo>
                  <a:cubicBezTo>
                    <a:pt x="9857" y="29172"/>
                    <a:pt x="12928" y="30196"/>
                    <a:pt x="17022" y="31219"/>
                  </a:cubicBezTo>
                  <a:lnTo>
                    <a:pt x="17022" y="42479"/>
                  </a:lnTo>
                  <a:cubicBezTo>
                    <a:pt x="15487" y="41967"/>
                    <a:pt x="14463" y="40943"/>
                    <a:pt x="13951" y="39920"/>
                  </a:cubicBezTo>
                  <a:cubicBezTo>
                    <a:pt x="13440" y="39408"/>
                    <a:pt x="13440" y="38384"/>
                    <a:pt x="12928" y="37361"/>
                  </a:cubicBezTo>
                  <a:cubicBezTo>
                    <a:pt x="12416" y="35825"/>
                    <a:pt x="11393" y="35314"/>
                    <a:pt x="9857" y="35314"/>
                  </a:cubicBezTo>
                  <a:lnTo>
                    <a:pt x="2180" y="36337"/>
                  </a:lnTo>
                  <a:cubicBezTo>
                    <a:pt x="645" y="36337"/>
                    <a:pt x="-379" y="38384"/>
                    <a:pt x="133" y="39920"/>
                  </a:cubicBezTo>
                  <a:cubicBezTo>
                    <a:pt x="645" y="40943"/>
                    <a:pt x="645" y="41455"/>
                    <a:pt x="1157" y="41967"/>
                  </a:cubicBezTo>
                  <a:cubicBezTo>
                    <a:pt x="2180" y="43502"/>
                    <a:pt x="3204" y="45038"/>
                    <a:pt x="4228" y="46061"/>
                  </a:cubicBezTo>
                  <a:cubicBezTo>
                    <a:pt x="5763" y="47597"/>
                    <a:pt x="7298" y="48620"/>
                    <a:pt x="9346" y="49132"/>
                  </a:cubicBezTo>
                  <a:cubicBezTo>
                    <a:pt x="11393" y="49644"/>
                    <a:pt x="13951" y="50155"/>
                    <a:pt x="17022" y="50667"/>
                  </a:cubicBezTo>
                  <a:lnTo>
                    <a:pt x="17022" y="56809"/>
                  </a:lnTo>
                  <a:lnTo>
                    <a:pt x="21628" y="56809"/>
                  </a:lnTo>
                  <a:lnTo>
                    <a:pt x="21628" y="51179"/>
                  </a:lnTo>
                  <a:cubicBezTo>
                    <a:pt x="24187" y="51179"/>
                    <a:pt x="26746" y="50667"/>
                    <a:pt x="28282" y="50155"/>
                  </a:cubicBezTo>
                  <a:cubicBezTo>
                    <a:pt x="30329" y="49644"/>
                    <a:pt x="31864" y="48620"/>
                    <a:pt x="33399" y="47085"/>
                  </a:cubicBezTo>
                  <a:cubicBezTo>
                    <a:pt x="34935" y="45549"/>
                    <a:pt x="36470" y="44014"/>
                    <a:pt x="37494" y="41967"/>
                  </a:cubicBezTo>
                  <a:cubicBezTo>
                    <a:pt x="38517" y="39920"/>
                    <a:pt x="39029" y="37873"/>
                    <a:pt x="39029" y="35314"/>
                  </a:cubicBezTo>
                  <a:cubicBezTo>
                    <a:pt x="39029" y="31219"/>
                    <a:pt x="37494" y="28149"/>
                    <a:pt x="34423" y="25590"/>
                  </a:cubicBezTo>
                  <a:cubicBezTo>
                    <a:pt x="32888" y="24054"/>
                    <a:pt x="28282" y="22519"/>
                    <a:pt x="21628" y="20472"/>
                  </a:cubicBezTo>
                  <a:close/>
                  <a:moveTo>
                    <a:pt x="17022" y="19448"/>
                  </a:moveTo>
                  <a:cubicBezTo>
                    <a:pt x="15487" y="18936"/>
                    <a:pt x="14463" y="18425"/>
                    <a:pt x="13951" y="17913"/>
                  </a:cubicBezTo>
                  <a:cubicBezTo>
                    <a:pt x="13440" y="17401"/>
                    <a:pt x="12928" y="16377"/>
                    <a:pt x="12928" y="15354"/>
                  </a:cubicBezTo>
                  <a:cubicBezTo>
                    <a:pt x="12928" y="14330"/>
                    <a:pt x="13440" y="13818"/>
                    <a:pt x="13951" y="12795"/>
                  </a:cubicBezTo>
                  <a:cubicBezTo>
                    <a:pt x="14463" y="12283"/>
                    <a:pt x="15487" y="11771"/>
                    <a:pt x="17022" y="11259"/>
                  </a:cubicBezTo>
                  <a:lnTo>
                    <a:pt x="17022" y="19448"/>
                  </a:lnTo>
                  <a:close/>
                  <a:moveTo>
                    <a:pt x="25723" y="40943"/>
                  </a:moveTo>
                  <a:cubicBezTo>
                    <a:pt x="24699" y="41967"/>
                    <a:pt x="23676" y="42479"/>
                    <a:pt x="21628" y="42990"/>
                  </a:cubicBezTo>
                  <a:lnTo>
                    <a:pt x="21628" y="32755"/>
                  </a:lnTo>
                  <a:cubicBezTo>
                    <a:pt x="23676" y="33266"/>
                    <a:pt x="25211" y="34290"/>
                    <a:pt x="25723" y="35314"/>
                  </a:cubicBezTo>
                  <a:cubicBezTo>
                    <a:pt x="26235" y="36337"/>
                    <a:pt x="26746" y="37361"/>
                    <a:pt x="26746" y="37873"/>
                  </a:cubicBezTo>
                  <a:cubicBezTo>
                    <a:pt x="27258" y="38896"/>
                    <a:pt x="26746" y="39920"/>
                    <a:pt x="25723" y="40943"/>
                  </a:cubicBezTo>
                  <a:close/>
                </a:path>
              </a:pathLst>
            </a:custGeom>
            <a:grpFill/>
            <a:ln w="511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91" name="Freeform: Shape 110">
              <a:extLst>
                <a:ext uri="{FF2B5EF4-FFF2-40B4-BE49-F238E27FC236}">
                  <a16:creationId xmlns:a16="http://schemas.microsoft.com/office/drawing/2014/main" id="{D59486FE-3BD6-486F-A2C9-2224A8E389A3}"/>
                </a:ext>
              </a:extLst>
            </p:cNvPr>
            <p:cNvSpPr/>
            <p:nvPr/>
          </p:nvSpPr>
          <p:spPr>
            <a:xfrm>
              <a:off x="7074405" y="1732522"/>
              <a:ext cx="178131" cy="178504"/>
            </a:xfrm>
            <a:custGeom>
              <a:avLst/>
              <a:gdLst>
                <a:gd name="connsiteX0" fmla="*/ 124504 w 178131"/>
                <a:gd name="connsiteY0" fmla="*/ 154451 h 178504"/>
                <a:gd name="connsiteX1" fmla="*/ 133716 w 178131"/>
                <a:gd name="connsiteY1" fmla="*/ 145750 h 178504"/>
                <a:gd name="connsiteX2" fmla="*/ 177730 w 178131"/>
                <a:gd name="connsiteY2" fmla="*/ 10637 h 178504"/>
                <a:gd name="connsiteX3" fmla="*/ 175683 w 178131"/>
                <a:gd name="connsiteY3" fmla="*/ 2449 h 178504"/>
                <a:gd name="connsiteX4" fmla="*/ 167494 w 178131"/>
                <a:gd name="connsiteY4" fmla="*/ 402 h 178504"/>
                <a:gd name="connsiteX5" fmla="*/ 32381 w 178131"/>
                <a:gd name="connsiteY5" fmla="*/ 44416 h 178504"/>
                <a:gd name="connsiteX6" fmla="*/ 23681 w 178131"/>
                <a:gd name="connsiteY6" fmla="*/ 53628 h 178504"/>
                <a:gd name="connsiteX7" fmla="*/ 26752 w 178131"/>
                <a:gd name="connsiteY7" fmla="*/ 64375 h 178504"/>
                <a:gd name="connsiteX8" fmla="*/ 39547 w 178131"/>
                <a:gd name="connsiteY8" fmla="*/ 77170 h 178504"/>
                <a:gd name="connsiteX9" fmla="*/ 3721 w 178131"/>
                <a:gd name="connsiteY9" fmla="*/ 112996 h 178504"/>
                <a:gd name="connsiteX10" fmla="*/ 3209 w 178131"/>
                <a:gd name="connsiteY10" fmla="*/ 129885 h 178504"/>
                <a:gd name="connsiteX11" fmla="*/ 48759 w 178131"/>
                <a:gd name="connsiteY11" fmla="*/ 175434 h 178504"/>
                <a:gd name="connsiteX12" fmla="*/ 56436 w 178131"/>
                <a:gd name="connsiteY12" fmla="*/ 178505 h 178504"/>
                <a:gd name="connsiteX13" fmla="*/ 65136 w 178131"/>
                <a:gd name="connsiteY13" fmla="*/ 174922 h 178504"/>
                <a:gd name="connsiteX14" fmla="*/ 100961 w 178131"/>
                <a:gd name="connsiteY14" fmla="*/ 139097 h 178504"/>
                <a:gd name="connsiteX15" fmla="*/ 113756 w 178131"/>
                <a:gd name="connsiteY15" fmla="*/ 151892 h 178504"/>
                <a:gd name="connsiteX16" fmla="*/ 124504 w 178131"/>
                <a:gd name="connsiteY16" fmla="*/ 154451 h 178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78131" h="178504">
                  <a:moveTo>
                    <a:pt x="124504" y="154451"/>
                  </a:moveTo>
                  <a:cubicBezTo>
                    <a:pt x="129110" y="153427"/>
                    <a:pt x="132181" y="150356"/>
                    <a:pt x="133716" y="145750"/>
                  </a:cubicBezTo>
                  <a:lnTo>
                    <a:pt x="177730" y="10637"/>
                  </a:lnTo>
                  <a:cubicBezTo>
                    <a:pt x="178753" y="7567"/>
                    <a:pt x="177730" y="4496"/>
                    <a:pt x="175683" y="2449"/>
                  </a:cubicBezTo>
                  <a:cubicBezTo>
                    <a:pt x="173636" y="402"/>
                    <a:pt x="170053" y="-622"/>
                    <a:pt x="167494" y="402"/>
                  </a:cubicBezTo>
                  <a:lnTo>
                    <a:pt x="32381" y="44416"/>
                  </a:lnTo>
                  <a:cubicBezTo>
                    <a:pt x="28287" y="45951"/>
                    <a:pt x="24705" y="49534"/>
                    <a:pt x="23681" y="53628"/>
                  </a:cubicBezTo>
                  <a:cubicBezTo>
                    <a:pt x="22657" y="57722"/>
                    <a:pt x="23681" y="61305"/>
                    <a:pt x="26752" y="64375"/>
                  </a:cubicBezTo>
                  <a:lnTo>
                    <a:pt x="39547" y="77170"/>
                  </a:lnTo>
                  <a:lnTo>
                    <a:pt x="3721" y="112996"/>
                  </a:lnTo>
                  <a:cubicBezTo>
                    <a:pt x="-885" y="117602"/>
                    <a:pt x="-1397" y="125279"/>
                    <a:pt x="3209" y="129885"/>
                  </a:cubicBezTo>
                  <a:lnTo>
                    <a:pt x="48759" y="175434"/>
                  </a:lnTo>
                  <a:cubicBezTo>
                    <a:pt x="50806" y="177481"/>
                    <a:pt x="53877" y="178505"/>
                    <a:pt x="56436" y="178505"/>
                  </a:cubicBezTo>
                  <a:cubicBezTo>
                    <a:pt x="59506" y="178505"/>
                    <a:pt x="63089" y="177481"/>
                    <a:pt x="65136" y="174922"/>
                  </a:cubicBezTo>
                  <a:lnTo>
                    <a:pt x="100961" y="139097"/>
                  </a:lnTo>
                  <a:lnTo>
                    <a:pt x="113756" y="151892"/>
                  </a:lnTo>
                  <a:cubicBezTo>
                    <a:pt x="116315" y="154451"/>
                    <a:pt x="120409" y="155474"/>
                    <a:pt x="124504" y="154451"/>
                  </a:cubicBezTo>
                  <a:close/>
                </a:path>
              </a:pathLst>
            </a:custGeom>
            <a:grpFill/>
            <a:ln w="511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92" name="Freeform: Shape 111">
              <a:extLst>
                <a:ext uri="{FF2B5EF4-FFF2-40B4-BE49-F238E27FC236}">
                  <a16:creationId xmlns:a16="http://schemas.microsoft.com/office/drawing/2014/main" id="{5FBACB4D-CCE9-4353-B618-409075C4F067}"/>
                </a:ext>
              </a:extLst>
            </p:cNvPr>
            <p:cNvSpPr/>
            <p:nvPr/>
          </p:nvSpPr>
          <p:spPr>
            <a:xfrm>
              <a:off x="7338226" y="2046002"/>
              <a:ext cx="178387" cy="178241"/>
            </a:xfrm>
            <a:custGeom>
              <a:avLst/>
              <a:gdLst>
                <a:gd name="connsiteX0" fmla="*/ 175434 w 178387"/>
                <a:gd name="connsiteY0" fmla="*/ 48759 h 178241"/>
                <a:gd name="connsiteX1" fmla="*/ 129885 w 178387"/>
                <a:gd name="connsiteY1" fmla="*/ 3209 h 178241"/>
                <a:gd name="connsiteX2" fmla="*/ 112996 w 178387"/>
                <a:gd name="connsiteY2" fmla="*/ 3721 h 178241"/>
                <a:gd name="connsiteX3" fmla="*/ 77170 w 178387"/>
                <a:gd name="connsiteY3" fmla="*/ 39546 h 178241"/>
                <a:gd name="connsiteX4" fmla="*/ 64375 w 178387"/>
                <a:gd name="connsiteY4" fmla="*/ 26752 h 178241"/>
                <a:gd name="connsiteX5" fmla="*/ 53628 w 178387"/>
                <a:gd name="connsiteY5" fmla="*/ 23681 h 178241"/>
                <a:gd name="connsiteX6" fmla="*/ 44416 w 178387"/>
                <a:gd name="connsiteY6" fmla="*/ 32381 h 178241"/>
                <a:gd name="connsiteX7" fmla="*/ 402 w 178387"/>
                <a:gd name="connsiteY7" fmla="*/ 167494 h 178241"/>
                <a:gd name="connsiteX8" fmla="*/ 2449 w 178387"/>
                <a:gd name="connsiteY8" fmla="*/ 175683 h 178241"/>
                <a:gd name="connsiteX9" fmla="*/ 8078 w 178387"/>
                <a:gd name="connsiteY9" fmla="*/ 178242 h 178241"/>
                <a:gd name="connsiteX10" fmla="*/ 10637 w 178387"/>
                <a:gd name="connsiteY10" fmla="*/ 177730 h 178241"/>
                <a:gd name="connsiteX11" fmla="*/ 145750 w 178387"/>
                <a:gd name="connsiteY11" fmla="*/ 133716 h 178241"/>
                <a:gd name="connsiteX12" fmla="*/ 154451 w 178387"/>
                <a:gd name="connsiteY12" fmla="*/ 124504 h 178241"/>
                <a:gd name="connsiteX13" fmla="*/ 151380 w 178387"/>
                <a:gd name="connsiteY13" fmla="*/ 113756 h 178241"/>
                <a:gd name="connsiteX14" fmla="*/ 138585 w 178387"/>
                <a:gd name="connsiteY14" fmla="*/ 100961 h 178241"/>
                <a:gd name="connsiteX15" fmla="*/ 174411 w 178387"/>
                <a:gd name="connsiteY15" fmla="*/ 65136 h 178241"/>
                <a:gd name="connsiteX16" fmla="*/ 175434 w 178387"/>
                <a:gd name="connsiteY16" fmla="*/ 48759 h 178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78387" h="178241">
                  <a:moveTo>
                    <a:pt x="175434" y="48759"/>
                  </a:moveTo>
                  <a:lnTo>
                    <a:pt x="129885" y="3209"/>
                  </a:lnTo>
                  <a:cubicBezTo>
                    <a:pt x="125279" y="-1397"/>
                    <a:pt x="118114" y="-885"/>
                    <a:pt x="112996" y="3721"/>
                  </a:cubicBezTo>
                  <a:lnTo>
                    <a:pt x="77170" y="39546"/>
                  </a:lnTo>
                  <a:lnTo>
                    <a:pt x="64375" y="26752"/>
                  </a:lnTo>
                  <a:cubicBezTo>
                    <a:pt x="61817" y="24193"/>
                    <a:pt x="57722" y="23169"/>
                    <a:pt x="53628" y="23681"/>
                  </a:cubicBezTo>
                  <a:cubicBezTo>
                    <a:pt x="49022" y="24705"/>
                    <a:pt x="45951" y="27775"/>
                    <a:pt x="44416" y="32381"/>
                  </a:cubicBezTo>
                  <a:lnTo>
                    <a:pt x="402" y="167494"/>
                  </a:lnTo>
                  <a:cubicBezTo>
                    <a:pt x="-622" y="170565"/>
                    <a:pt x="402" y="173636"/>
                    <a:pt x="2449" y="175683"/>
                  </a:cubicBezTo>
                  <a:cubicBezTo>
                    <a:pt x="3984" y="177218"/>
                    <a:pt x="6031" y="178242"/>
                    <a:pt x="8078" y="178242"/>
                  </a:cubicBezTo>
                  <a:cubicBezTo>
                    <a:pt x="9102" y="178242"/>
                    <a:pt x="9614" y="178242"/>
                    <a:pt x="10637" y="177730"/>
                  </a:cubicBezTo>
                  <a:lnTo>
                    <a:pt x="145750" y="133716"/>
                  </a:lnTo>
                  <a:cubicBezTo>
                    <a:pt x="149845" y="132181"/>
                    <a:pt x="153427" y="128598"/>
                    <a:pt x="154451" y="124504"/>
                  </a:cubicBezTo>
                  <a:cubicBezTo>
                    <a:pt x="155474" y="120409"/>
                    <a:pt x="154451" y="116827"/>
                    <a:pt x="151380" y="113756"/>
                  </a:cubicBezTo>
                  <a:lnTo>
                    <a:pt x="138585" y="100961"/>
                  </a:lnTo>
                  <a:lnTo>
                    <a:pt x="174411" y="65136"/>
                  </a:lnTo>
                  <a:cubicBezTo>
                    <a:pt x="179528" y="61042"/>
                    <a:pt x="179528" y="53365"/>
                    <a:pt x="175434" y="48759"/>
                  </a:cubicBezTo>
                  <a:close/>
                </a:path>
              </a:pathLst>
            </a:custGeom>
            <a:grpFill/>
            <a:ln w="511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grpSp>
        <p:nvGrpSpPr>
          <p:cNvPr id="93" name="Graphic 1">
            <a:extLst>
              <a:ext uri="{FF2B5EF4-FFF2-40B4-BE49-F238E27FC236}">
                <a16:creationId xmlns:a16="http://schemas.microsoft.com/office/drawing/2014/main" id="{F16D18EC-9454-43CE-A7F5-51AB69C31A34}"/>
              </a:ext>
            </a:extLst>
          </p:cNvPr>
          <p:cNvGrpSpPr/>
          <p:nvPr/>
        </p:nvGrpSpPr>
        <p:grpSpPr>
          <a:xfrm>
            <a:off x="5289503" y="5018405"/>
            <a:ext cx="209908" cy="209908"/>
            <a:chOff x="7131353" y="598283"/>
            <a:chExt cx="372072" cy="372072"/>
          </a:xfrm>
          <a:solidFill>
            <a:schemeClr val="accent1"/>
          </a:solidFill>
        </p:grpSpPr>
        <p:sp>
          <p:nvSpPr>
            <p:cNvPr id="94" name="Freeform: Shape 113">
              <a:extLst>
                <a:ext uri="{FF2B5EF4-FFF2-40B4-BE49-F238E27FC236}">
                  <a16:creationId xmlns:a16="http://schemas.microsoft.com/office/drawing/2014/main" id="{A5F91EE9-EBB1-409B-B73F-9DB1C5428050}"/>
                </a:ext>
              </a:extLst>
            </p:cNvPr>
            <p:cNvSpPr/>
            <p:nvPr/>
          </p:nvSpPr>
          <p:spPr>
            <a:xfrm>
              <a:off x="7131353" y="598283"/>
              <a:ext cx="372072" cy="372072"/>
            </a:xfrm>
            <a:custGeom>
              <a:avLst/>
              <a:gdLst>
                <a:gd name="connsiteX0" fmla="*/ 368490 w 372072"/>
                <a:gd name="connsiteY0" fmla="*/ 10236 h 372072"/>
                <a:gd name="connsiteX1" fmla="*/ 367978 w 372072"/>
                <a:gd name="connsiteY1" fmla="*/ 9212 h 372072"/>
                <a:gd name="connsiteX2" fmla="*/ 366954 w 372072"/>
                <a:gd name="connsiteY2" fmla="*/ 7677 h 372072"/>
                <a:gd name="connsiteX3" fmla="*/ 365419 w 372072"/>
                <a:gd name="connsiteY3" fmla="*/ 6141 h 372072"/>
                <a:gd name="connsiteX4" fmla="*/ 364907 w 372072"/>
                <a:gd name="connsiteY4" fmla="*/ 5630 h 372072"/>
                <a:gd name="connsiteX5" fmla="*/ 355183 w 372072"/>
                <a:gd name="connsiteY5" fmla="*/ 512 h 372072"/>
                <a:gd name="connsiteX6" fmla="*/ 351089 w 372072"/>
                <a:gd name="connsiteY6" fmla="*/ 0 h 372072"/>
                <a:gd name="connsiteX7" fmla="*/ 351089 w 372072"/>
                <a:gd name="connsiteY7" fmla="*/ 0 h 372072"/>
                <a:gd name="connsiteX8" fmla="*/ 19960 w 372072"/>
                <a:gd name="connsiteY8" fmla="*/ 0 h 372072"/>
                <a:gd name="connsiteX9" fmla="*/ 15866 w 372072"/>
                <a:gd name="connsiteY9" fmla="*/ 512 h 372072"/>
                <a:gd name="connsiteX10" fmla="*/ 3583 w 372072"/>
                <a:gd name="connsiteY10" fmla="*/ 8700 h 372072"/>
                <a:gd name="connsiteX11" fmla="*/ 3071 w 372072"/>
                <a:gd name="connsiteY11" fmla="*/ 9212 h 372072"/>
                <a:gd name="connsiteX12" fmla="*/ 2047 w 372072"/>
                <a:gd name="connsiteY12" fmla="*/ 11771 h 372072"/>
                <a:gd name="connsiteX13" fmla="*/ 1535 w 372072"/>
                <a:gd name="connsiteY13" fmla="*/ 12795 h 372072"/>
                <a:gd name="connsiteX14" fmla="*/ 1024 w 372072"/>
                <a:gd name="connsiteY14" fmla="*/ 14842 h 372072"/>
                <a:gd name="connsiteX15" fmla="*/ 512 w 372072"/>
                <a:gd name="connsiteY15" fmla="*/ 16377 h 372072"/>
                <a:gd name="connsiteX16" fmla="*/ 0 w 372072"/>
                <a:gd name="connsiteY16" fmla="*/ 20472 h 372072"/>
                <a:gd name="connsiteX17" fmla="*/ 0 w 372072"/>
                <a:gd name="connsiteY17" fmla="*/ 186292 h 372072"/>
                <a:gd name="connsiteX18" fmla="*/ 0 w 372072"/>
                <a:gd name="connsiteY18" fmla="*/ 186292 h 372072"/>
                <a:gd name="connsiteX19" fmla="*/ 0 w 372072"/>
                <a:gd name="connsiteY19" fmla="*/ 190898 h 372072"/>
                <a:gd name="connsiteX20" fmla="*/ 185780 w 372072"/>
                <a:gd name="connsiteY20" fmla="*/ 372072 h 372072"/>
                <a:gd name="connsiteX21" fmla="*/ 372072 w 372072"/>
                <a:gd name="connsiteY21" fmla="*/ 185780 h 372072"/>
                <a:gd name="connsiteX22" fmla="*/ 372072 w 372072"/>
                <a:gd name="connsiteY22" fmla="*/ 20983 h 372072"/>
                <a:gd name="connsiteX23" fmla="*/ 368490 w 372072"/>
                <a:gd name="connsiteY23" fmla="*/ 10236 h 372072"/>
                <a:gd name="connsiteX24" fmla="*/ 311681 w 372072"/>
                <a:gd name="connsiteY24" fmla="*/ 185780 h 372072"/>
                <a:gd name="connsiteX25" fmla="*/ 184245 w 372072"/>
                <a:gd name="connsiteY25" fmla="*/ 313216 h 372072"/>
                <a:gd name="connsiteX26" fmla="*/ 56809 w 372072"/>
                <a:gd name="connsiteY26" fmla="*/ 185780 h 372072"/>
                <a:gd name="connsiteX27" fmla="*/ 56809 w 372072"/>
                <a:gd name="connsiteY27" fmla="*/ 68580 h 372072"/>
                <a:gd name="connsiteX28" fmla="*/ 67045 w 372072"/>
                <a:gd name="connsiteY28" fmla="*/ 58344 h 372072"/>
                <a:gd name="connsiteX29" fmla="*/ 300933 w 372072"/>
                <a:gd name="connsiteY29" fmla="*/ 58344 h 372072"/>
                <a:gd name="connsiteX30" fmla="*/ 311169 w 372072"/>
                <a:gd name="connsiteY30" fmla="*/ 68580 h 372072"/>
                <a:gd name="connsiteX31" fmla="*/ 311169 w 372072"/>
                <a:gd name="connsiteY31" fmla="*/ 185780 h 372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72072" h="372072">
                  <a:moveTo>
                    <a:pt x="368490" y="10236"/>
                  </a:moveTo>
                  <a:cubicBezTo>
                    <a:pt x="368490" y="9724"/>
                    <a:pt x="367978" y="9724"/>
                    <a:pt x="367978" y="9212"/>
                  </a:cubicBezTo>
                  <a:cubicBezTo>
                    <a:pt x="367466" y="8700"/>
                    <a:pt x="367466" y="8189"/>
                    <a:pt x="366954" y="7677"/>
                  </a:cubicBezTo>
                  <a:cubicBezTo>
                    <a:pt x="366443" y="7165"/>
                    <a:pt x="365931" y="6653"/>
                    <a:pt x="365419" y="6141"/>
                  </a:cubicBezTo>
                  <a:cubicBezTo>
                    <a:pt x="365419" y="6141"/>
                    <a:pt x="364907" y="5630"/>
                    <a:pt x="364907" y="5630"/>
                  </a:cubicBezTo>
                  <a:cubicBezTo>
                    <a:pt x="362348" y="3071"/>
                    <a:pt x="358766" y="1535"/>
                    <a:pt x="355183" y="512"/>
                  </a:cubicBezTo>
                  <a:cubicBezTo>
                    <a:pt x="353648" y="0"/>
                    <a:pt x="352624" y="0"/>
                    <a:pt x="351089" y="0"/>
                  </a:cubicBezTo>
                  <a:lnTo>
                    <a:pt x="351089" y="0"/>
                  </a:lnTo>
                  <a:lnTo>
                    <a:pt x="19960" y="0"/>
                  </a:lnTo>
                  <a:cubicBezTo>
                    <a:pt x="18425" y="0"/>
                    <a:pt x="17401" y="0"/>
                    <a:pt x="15866" y="512"/>
                  </a:cubicBezTo>
                  <a:cubicBezTo>
                    <a:pt x="10748" y="1535"/>
                    <a:pt x="6142" y="4606"/>
                    <a:pt x="3583" y="8700"/>
                  </a:cubicBezTo>
                  <a:cubicBezTo>
                    <a:pt x="3583" y="8700"/>
                    <a:pt x="3071" y="9212"/>
                    <a:pt x="3071" y="9212"/>
                  </a:cubicBezTo>
                  <a:cubicBezTo>
                    <a:pt x="2559" y="9724"/>
                    <a:pt x="2047" y="10748"/>
                    <a:pt x="2047" y="11771"/>
                  </a:cubicBezTo>
                  <a:cubicBezTo>
                    <a:pt x="2047" y="12283"/>
                    <a:pt x="1535" y="12283"/>
                    <a:pt x="1535" y="12795"/>
                  </a:cubicBezTo>
                  <a:cubicBezTo>
                    <a:pt x="1024" y="13307"/>
                    <a:pt x="1024" y="14330"/>
                    <a:pt x="1024" y="14842"/>
                  </a:cubicBezTo>
                  <a:cubicBezTo>
                    <a:pt x="1024" y="15354"/>
                    <a:pt x="512" y="15866"/>
                    <a:pt x="512" y="16377"/>
                  </a:cubicBezTo>
                  <a:cubicBezTo>
                    <a:pt x="0" y="17913"/>
                    <a:pt x="0" y="18936"/>
                    <a:pt x="0" y="20472"/>
                  </a:cubicBezTo>
                  <a:lnTo>
                    <a:pt x="0" y="186292"/>
                  </a:lnTo>
                  <a:lnTo>
                    <a:pt x="0" y="186292"/>
                  </a:lnTo>
                  <a:cubicBezTo>
                    <a:pt x="0" y="187827"/>
                    <a:pt x="0" y="189363"/>
                    <a:pt x="0" y="190898"/>
                  </a:cubicBezTo>
                  <a:cubicBezTo>
                    <a:pt x="2559" y="291209"/>
                    <a:pt x="84957" y="372072"/>
                    <a:pt x="185780" y="372072"/>
                  </a:cubicBezTo>
                  <a:cubicBezTo>
                    <a:pt x="288138" y="372072"/>
                    <a:pt x="372072" y="288650"/>
                    <a:pt x="372072" y="185780"/>
                  </a:cubicBezTo>
                  <a:lnTo>
                    <a:pt x="372072" y="20983"/>
                  </a:lnTo>
                  <a:cubicBezTo>
                    <a:pt x="371560" y="16889"/>
                    <a:pt x="370537" y="13307"/>
                    <a:pt x="368490" y="10236"/>
                  </a:cubicBezTo>
                  <a:close/>
                  <a:moveTo>
                    <a:pt x="311681" y="185780"/>
                  </a:moveTo>
                  <a:cubicBezTo>
                    <a:pt x="311681" y="255895"/>
                    <a:pt x="254872" y="313216"/>
                    <a:pt x="184245" y="313216"/>
                  </a:cubicBezTo>
                  <a:cubicBezTo>
                    <a:pt x="113618" y="313216"/>
                    <a:pt x="56809" y="256407"/>
                    <a:pt x="56809" y="185780"/>
                  </a:cubicBezTo>
                  <a:lnTo>
                    <a:pt x="56809" y="68580"/>
                  </a:lnTo>
                  <a:cubicBezTo>
                    <a:pt x="56809" y="62950"/>
                    <a:pt x="61415" y="58344"/>
                    <a:pt x="67045" y="58344"/>
                  </a:cubicBezTo>
                  <a:lnTo>
                    <a:pt x="300933" y="58344"/>
                  </a:lnTo>
                  <a:cubicBezTo>
                    <a:pt x="306563" y="58344"/>
                    <a:pt x="311169" y="62950"/>
                    <a:pt x="311169" y="68580"/>
                  </a:cubicBezTo>
                  <a:lnTo>
                    <a:pt x="311169" y="185780"/>
                  </a:lnTo>
                  <a:close/>
                </a:path>
              </a:pathLst>
            </a:custGeom>
            <a:grpFill/>
            <a:ln w="511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95" name="Freeform: Shape 114">
              <a:extLst>
                <a:ext uri="{FF2B5EF4-FFF2-40B4-BE49-F238E27FC236}">
                  <a16:creationId xmlns:a16="http://schemas.microsoft.com/office/drawing/2014/main" id="{9C132FD3-9B16-4E74-8B48-253D0B178434}"/>
                </a:ext>
              </a:extLst>
            </p:cNvPr>
            <p:cNvSpPr/>
            <p:nvPr/>
          </p:nvSpPr>
          <p:spPr>
            <a:xfrm>
              <a:off x="7257880" y="698082"/>
              <a:ext cx="117085" cy="172985"/>
            </a:xfrm>
            <a:custGeom>
              <a:avLst/>
              <a:gdLst>
                <a:gd name="connsiteX0" fmla="*/ 103267 w 117085"/>
                <a:gd name="connsiteY0" fmla="*/ 45038 h 172985"/>
                <a:gd name="connsiteX1" fmla="*/ 82795 w 117085"/>
                <a:gd name="connsiteY1" fmla="*/ 48108 h 172985"/>
                <a:gd name="connsiteX2" fmla="*/ 74095 w 117085"/>
                <a:gd name="connsiteY2" fmla="*/ 43502 h 172985"/>
                <a:gd name="connsiteX3" fmla="*/ 71536 w 117085"/>
                <a:gd name="connsiteY3" fmla="*/ 39408 h 172985"/>
                <a:gd name="connsiteX4" fmla="*/ 64370 w 117085"/>
                <a:gd name="connsiteY4" fmla="*/ 34290 h 172985"/>
                <a:gd name="connsiteX5" fmla="*/ 64370 w 117085"/>
                <a:gd name="connsiteY5" fmla="*/ 62439 h 172985"/>
                <a:gd name="connsiteX6" fmla="*/ 103778 w 117085"/>
                <a:gd name="connsiteY6" fmla="*/ 78816 h 172985"/>
                <a:gd name="connsiteX7" fmla="*/ 117085 w 117085"/>
                <a:gd name="connsiteY7" fmla="*/ 108500 h 172985"/>
                <a:gd name="connsiteX8" fmla="*/ 112479 w 117085"/>
                <a:gd name="connsiteY8" fmla="*/ 127948 h 172985"/>
                <a:gd name="connsiteX9" fmla="*/ 100708 w 117085"/>
                <a:gd name="connsiteY9" fmla="*/ 142790 h 172985"/>
                <a:gd name="connsiteX10" fmla="*/ 85354 w 117085"/>
                <a:gd name="connsiteY10" fmla="*/ 151490 h 172985"/>
                <a:gd name="connsiteX11" fmla="*/ 65394 w 117085"/>
                <a:gd name="connsiteY11" fmla="*/ 154561 h 172985"/>
                <a:gd name="connsiteX12" fmla="*/ 65394 w 117085"/>
                <a:gd name="connsiteY12" fmla="*/ 172985 h 172985"/>
                <a:gd name="connsiteX13" fmla="*/ 51064 w 117085"/>
                <a:gd name="connsiteY13" fmla="*/ 172985 h 172985"/>
                <a:gd name="connsiteX14" fmla="*/ 51064 w 117085"/>
                <a:gd name="connsiteY14" fmla="*/ 154561 h 172985"/>
                <a:gd name="connsiteX15" fmla="*/ 28033 w 117085"/>
                <a:gd name="connsiteY15" fmla="*/ 149955 h 172985"/>
                <a:gd name="connsiteX16" fmla="*/ 12680 w 117085"/>
                <a:gd name="connsiteY16" fmla="*/ 140743 h 172985"/>
                <a:gd name="connsiteX17" fmla="*/ 2956 w 117085"/>
                <a:gd name="connsiteY17" fmla="*/ 127948 h 172985"/>
                <a:gd name="connsiteX18" fmla="*/ 397 w 117085"/>
                <a:gd name="connsiteY18" fmla="*/ 121295 h 172985"/>
                <a:gd name="connsiteX19" fmla="*/ 7050 w 117085"/>
                <a:gd name="connsiteY19" fmla="*/ 110547 h 172985"/>
                <a:gd name="connsiteX20" fmla="*/ 29569 w 117085"/>
                <a:gd name="connsiteY20" fmla="*/ 107988 h 172985"/>
                <a:gd name="connsiteX21" fmla="*/ 38269 w 117085"/>
                <a:gd name="connsiteY21" fmla="*/ 114129 h 172985"/>
                <a:gd name="connsiteX22" fmla="*/ 41340 w 117085"/>
                <a:gd name="connsiteY22" fmla="*/ 121295 h 172985"/>
                <a:gd name="connsiteX23" fmla="*/ 51064 w 117085"/>
                <a:gd name="connsiteY23" fmla="*/ 128971 h 172985"/>
                <a:gd name="connsiteX24" fmla="*/ 51064 w 117085"/>
                <a:gd name="connsiteY24" fmla="*/ 94681 h 172985"/>
                <a:gd name="connsiteX25" fmla="*/ 23427 w 117085"/>
                <a:gd name="connsiteY25" fmla="*/ 85469 h 172985"/>
                <a:gd name="connsiteX26" fmla="*/ 9097 w 117085"/>
                <a:gd name="connsiteY26" fmla="*/ 72674 h 172985"/>
                <a:gd name="connsiteX27" fmla="*/ 2956 w 117085"/>
                <a:gd name="connsiteY27" fmla="*/ 51179 h 172985"/>
                <a:gd name="connsiteX28" fmla="*/ 15239 w 117085"/>
                <a:gd name="connsiteY28" fmla="*/ 22519 h 172985"/>
                <a:gd name="connsiteX29" fmla="*/ 51064 w 117085"/>
                <a:gd name="connsiteY29" fmla="*/ 9724 h 172985"/>
                <a:gd name="connsiteX30" fmla="*/ 51064 w 117085"/>
                <a:gd name="connsiteY30" fmla="*/ 0 h 172985"/>
                <a:gd name="connsiteX31" fmla="*/ 65394 w 117085"/>
                <a:gd name="connsiteY31" fmla="*/ 0 h 172985"/>
                <a:gd name="connsiteX32" fmla="*/ 65394 w 117085"/>
                <a:gd name="connsiteY32" fmla="*/ 9724 h 172985"/>
                <a:gd name="connsiteX33" fmla="*/ 98660 w 117085"/>
                <a:gd name="connsiteY33" fmla="*/ 19960 h 172985"/>
                <a:gd name="connsiteX34" fmla="*/ 110432 w 117085"/>
                <a:gd name="connsiteY34" fmla="*/ 34802 h 172985"/>
                <a:gd name="connsiteX35" fmla="*/ 103267 w 117085"/>
                <a:gd name="connsiteY35" fmla="*/ 45038 h 172985"/>
                <a:gd name="connsiteX36" fmla="*/ 50552 w 117085"/>
                <a:gd name="connsiteY36" fmla="*/ 33778 h 172985"/>
                <a:gd name="connsiteX37" fmla="*/ 41852 w 117085"/>
                <a:gd name="connsiteY37" fmla="*/ 38896 h 172985"/>
                <a:gd name="connsiteX38" fmla="*/ 39293 w 117085"/>
                <a:gd name="connsiteY38" fmla="*/ 46061 h 172985"/>
                <a:gd name="connsiteX39" fmla="*/ 41852 w 117085"/>
                <a:gd name="connsiteY39" fmla="*/ 53738 h 172985"/>
                <a:gd name="connsiteX40" fmla="*/ 50552 w 117085"/>
                <a:gd name="connsiteY40" fmla="*/ 58856 h 172985"/>
                <a:gd name="connsiteX41" fmla="*/ 50552 w 117085"/>
                <a:gd name="connsiteY41" fmla="*/ 33778 h 172985"/>
                <a:gd name="connsiteX42" fmla="*/ 64882 w 117085"/>
                <a:gd name="connsiteY42" fmla="*/ 128971 h 172985"/>
                <a:gd name="connsiteX43" fmla="*/ 77165 w 117085"/>
                <a:gd name="connsiteY43" fmla="*/ 122830 h 172985"/>
                <a:gd name="connsiteX44" fmla="*/ 80748 w 117085"/>
                <a:gd name="connsiteY44" fmla="*/ 113618 h 172985"/>
                <a:gd name="connsiteX45" fmla="*/ 77677 w 117085"/>
                <a:gd name="connsiteY45" fmla="*/ 105429 h 172985"/>
                <a:gd name="connsiteX46" fmla="*/ 64882 w 117085"/>
                <a:gd name="connsiteY46" fmla="*/ 98264 h 172985"/>
                <a:gd name="connsiteX47" fmla="*/ 64882 w 117085"/>
                <a:gd name="connsiteY47" fmla="*/ 128971 h 1729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117085" h="172985">
                  <a:moveTo>
                    <a:pt x="103267" y="45038"/>
                  </a:moveTo>
                  <a:lnTo>
                    <a:pt x="82795" y="48108"/>
                  </a:lnTo>
                  <a:cubicBezTo>
                    <a:pt x="79212" y="48620"/>
                    <a:pt x="75630" y="46573"/>
                    <a:pt x="74095" y="43502"/>
                  </a:cubicBezTo>
                  <a:cubicBezTo>
                    <a:pt x="73071" y="41967"/>
                    <a:pt x="72559" y="40432"/>
                    <a:pt x="71536" y="39408"/>
                  </a:cubicBezTo>
                  <a:cubicBezTo>
                    <a:pt x="70000" y="37873"/>
                    <a:pt x="67441" y="35825"/>
                    <a:pt x="64370" y="34290"/>
                  </a:cubicBezTo>
                  <a:lnTo>
                    <a:pt x="64370" y="62439"/>
                  </a:lnTo>
                  <a:cubicBezTo>
                    <a:pt x="83819" y="67556"/>
                    <a:pt x="97125" y="73186"/>
                    <a:pt x="103778" y="78816"/>
                  </a:cubicBezTo>
                  <a:cubicBezTo>
                    <a:pt x="112479" y="86493"/>
                    <a:pt x="117085" y="96729"/>
                    <a:pt x="117085" y="108500"/>
                  </a:cubicBezTo>
                  <a:cubicBezTo>
                    <a:pt x="117085" y="115665"/>
                    <a:pt x="115550" y="121806"/>
                    <a:pt x="112479" y="127948"/>
                  </a:cubicBezTo>
                  <a:cubicBezTo>
                    <a:pt x="109408" y="133578"/>
                    <a:pt x="105314" y="138695"/>
                    <a:pt x="100708" y="142790"/>
                  </a:cubicBezTo>
                  <a:cubicBezTo>
                    <a:pt x="95590" y="146884"/>
                    <a:pt x="90472" y="149443"/>
                    <a:pt x="85354" y="151490"/>
                  </a:cubicBezTo>
                  <a:cubicBezTo>
                    <a:pt x="79724" y="153026"/>
                    <a:pt x="73071" y="154561"/>
                    <a:pt x="65394" y="154561"/>
                  </a:cubicBezTo>
                  <a:lnTo>
                    <a:pt x="65394" y="172985"/>
                  </a:lnTo>
                  <a:lnTo>
                    <a:pt x="51064" y="172985"/>
                  </a:lnTo>
                  <a:lnTo>
                    <a:pt x="51064" y="154561"/>
                  </a:lnTo>
                  <a:cubicBezTo>
                    <a:pt x="41340" y="153537"/>
                    <a:pt x="33663" y="152002"/>
                    <a:pt x="28033" y="149955"/>
                  </a:cubicBezTo>
                  <a:cubicBezTo>
                    <a:pt x="21892" y="147908"/>
                    <a:pt x="17286" y="144837"/>
                    <a:pt x="12680" y="140743"/>
                  </a:cubicBezTo>
                  <a:cubicBezTo>
                    <a:pt x="8585" y="136648"/>
                    <a:pt x="5003" y="132554"/>
                    <a:pt x="2956" y="127948"/>
                  </a:cubicBezTo>
                  <a:cubicBezTo>
                    <a:pt x="1932" y="125901"/>
                    <a:pt x="909" y="123853"/>
                    <a:pt x="397" y="121295"/>
                  </a:cubicBezTo>
                  <a:cubicBezTo>
                    <a:pt x="-1139" y="116177"/>
                    <a:pt x="1932" y="111059"/>
                    <a:pt x="7050" y="110547"/>
                  </a:cubicBezTo>
                  <a:lnTo>
                    <a:pt x="29569" y="107988"/>
                  </a:lnTo>
                  <a:cubicBezTo>
                    <a:pt x="33663" y="107476"/>
                    <a:pt x="37246" y="110035"/>
                    <a:pt x="38269" y="114129"/>
                  </a:cubicBezTo>
                  <a:cubicBezTo>
                    <a:pt x="39293" y="117200"/>
                    <a:pt x="40317" y="119247"/>
                    <a:pt x="41340" y="121295"/>
                  </a:cubicBezTo>
                  <a:cubicBezTo>
                    <a:pt x="43387" y="124365"/>
                    <a:pt x="46458" y="126412"/>
                    <a:pt x="51064" y="128971"/>
                  </a:cubicBezTo>
                  <a:lnTo>
                    <a:pt x="51064" y="94681"/>
                  </a:lnTo>
                  <a:cubicBezTo>
                    <a:pt x="38269" y="91099"/>
                    <a:pt x="29057" y="88028"/>
                    <a:pt x="23427" y="85469"/>
                  </a:cubicBezTo>
                  <a:cubicBezTo>
                    <a:pt x="17798" y="82910"/>
                    <a:pt x="13191" y="78816"/>
                    <a:pt x="9097" y="72674"/>
                  </a:cubicBezTo>
                  <a:cubicBezTo>
                    <a:pt x="5003" y="67045"/>
                    <a:pt x="2956" y="59880"/>
                    <a:pt x="2956" y="51179"/>
                  </a:cubicBezTo>
                  <a:cubicBezTo>
                    <a:pt x="2956" y="39920"/>
                    <a:pt x="7050" y="30196"/>
                    <a:pt x="15239" y="22519"/>
                  </a:cubicBezTo>
                  <a:cubicBezTo>
                    <a:pt x="23427" y="14842"/>
                    <a:pt x="35199" y="10748"/>
                    <a:pt x="51064" y="9724"/>
                  </a:cubicBezTo>
                  <a:lnTo>
                    <a:pt x="51064" y="0"/>
                  </a:lnTo>
                  <a:lnTo>
                    <a:pt x="65394" y="0"/>
                  </a:lnTo>
                  <a:lnTo>
                    <a:pt x="65394" y="9724"/>
                  </a:lnTo>
                  <a:cubicBezTo>
                    <a:pt x="79724" y="10748"/>
                    <a:pt x="90984" y="13818"/>
                    <a:pt x="98660" y="19960"/>
                  </a:cubicBezTo>
                  <a:cubicBezTo>
                    <a:pt x="103778" y="24054"/>
                    <a:pt x="107873" y="28660"/>
                    <a:pt x="110432" y="34802"/>
                  </a:cubicBezTo>
                  <a:cubicBezTo>
                    <a:pt x="111967" y="38896"/>
                    <a:pt x="108385" y="44014"/>
                    <a:pt x="103267" y="45038"/>
                  </a:cubicBezTo>
                  <a:close/>
                  <a:moveTo>
                    <a:pt x="50552" y="33778"/>
                  </a:moveTo>
                  <a:cubicBezTo>
                    <a:pt x="46458" y="35314"/>
                    <a:pt x="43387" y="36849"/>
                    <a:pt x="41852" y="38896"/>
                  </a:cubicBezTo>
                  <a:cubicBezTo>
                    <a:pt x="40317" y="40943"/>
                    <a:pt x="39293" y="43502"/>
                    <a:pt x="39293" y="46061"/>
                  </a:cubicBezTo>
                  <a:cubicBezTo>
                    <a:pt x="39293" y="49132"/>
                    <a:pt x="40317" y="51179"/>
                    <a:pt x="41852" y="53738"/>
                  </a:cubicBezTo>
                  <a:cubicBezTo>
                    <a:pt x="43387" y="55785"/>
                    <a:pt x="46458" y="57832"/>
                    <a:pt x="50552" y="58856"/>
                  </a:cubicBezTo>
                  <a:lnTo>
                    <a:pt x="50552" y="33778"/>
                  </a:lnTo>
                  <a:close/>
                  <a:moveTo>
                    <a:pt x="64882" y="128971"/>
                  </a:moveTo>
                  <a:cubicBezTo>
                    <a:pt x="70512" y="127948"/>
                    <a:pt x="74606" y="125901"/>
                    <a:pt x="77165" y="122830"/>
                  </a:cubicBezTo>
                  <a:cubicBezTo>
                    <a:pt x="79724" y="119759"/>
                    <a:pt x="80748" y="116688"/>
                    <a:pt x="80748" y="113618"/>
                  </a:cubicBezTo>
                  <a:cubicBezTo>
                    <a:pt x="80748" y="110547"/>
                    <a:pt x="79724" y="107988"/>
                    <a:pt x="77677" y="105429"/>
                  </a:cubicBezTo>
                  <a:cubicBezTo>
                    <a:pt x="75630" y="102870"/>
                    <a:pt x="71536" y="100311"/>
                    <a:pt x="64882" y="98264"/>
                  </a:cubicBezTo>
                  <a:lnTo>
                    <a:pt x="64882" y="128971"/>
                  </a:lnTo>
                  <a:close/>
                </a:path>
              </a:pathLst>
            </a:custGeom>
            <a:grpFill/>
            <a:ln w="511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sp>
        <p:nvSpPr>
          <p:cNvPr id="96" name="TextBox 115">
            <a:extLst>
              <a:ext uri="{FF2B5EF4-FFF2-40B4-BE49-F238E27FC236}">
                <a16:creationId xmlns:a16="http://schemas.microsoft.com/office/drawing/2014/main" id="{EA289200-55A8-45C0-A77B-62D8F71C04FC}"/>
              </a:ext>
            </a:extLst>
          </p:cNvPr>
          <p:cNvSpPr txBox="1"/>
          <p:nvPr/>
        </p:nvSpPr>
        <p:spPr>
          <a:xfrm>
            <a:off x="4214477" y="5626349"/>
            <a:ext cx="892318" cy="46166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F0F0F0"/>
                </a:solidFill>
                <a:effectLst/>
                <a:uLnTx/>
                <a:uFillTx/>
                <a:latin typeface="等线 Light" panose="020F0302020204030204"/>
                <a:ea typeface="+mn-ea"/>
                <a:cs typeface="+mn-cs"/>
              </a:rPr>
              <a:t>140K</a:t>
            </a:r>
          </a:p>
        </p:txBody>
      </p:sp>
      <p:sp>
        <p:nvSpPr>
          <p:cNvPr id="97" name="TextBox 116">
            <a:extLst>
              <a:ext uri="{FF2B5EF4-FFF2-40B4-BE49-F238E27FC236}">
                <a16:creationId xmlns:a16="http://schemas.microsoft.com/office/drawing/2014/main" id="{F5BDF648-933C-4B3F-BAFD-7076FC3138DD}"/>
              </a:ext>
            </a:extLst>
          </p:cNvPr>
          <p:cNvSpPr txBox="1"/>
          <p:nvPr/>
        </p:nvSpPr>
        <p:spPr>
          <a:xfrm>
            <a:off x="3577346" y="4190985"/>
            <a:ext cx="975604" cy="46166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F0F0F0"/>
                </a:solidFill>
                <a:effectLst/>
                <a:uLnTx/>
                <a:uFillTx/>
                <a:latin typeface="等线 Light" panose="020F0302020204030204"/>
                <a:ea typeface="+mn-ea"/>
                <a:cs typeface="+mn-cs"/>
              </a:rPr>
              <a:t>240K</a:t>
            </a:r>
          </a:p>
        </p:txBody>
      </p:sp>
      <p:sp>
        <p:nvSpPr>
          <p:cNvPr id="98" name="TextBox 117">
            <a:extLst>
              <a:ext uri="{FF2B5EF4-FFF2-40B4-BE49-F238E27FC236}">
                <a16:creationId xmlns:a16="http://schemas.microsoft.com/office/drawing/2014/main" id="{0519AF0D-3C12-4D2C-BEE4-9CDCBBC7A110}"/>
              </a:ext>
            </a:extLst>
          </p:cNvPr>
          <p:cNvSpPr txBox="1"/>
          <p:nvPr/>
        </p:nvSpPr>
        <p:spPr>
          <a:xfrm>
            <a:off x="4158722" y="2755621"/>
            <a:ext cx="1003828" cy="46166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F0F0F0"/>
                </a:solidFill>
                <a:effectLst/>
                <a:uLnTx/>
                <a:uFillTx/>
                <a:latin typeface="等线 Light" panose="020F0302020204030204"/>
                <a:ea typeface="+mn-ea"/>
                <a:cs typeface="+mn-cs"/>
              </a:rPr>
              <a:t>540K</a:t>
            </a:r>
          </a:p>
        </p:txBody>
      </p:sp>
      <p:sp>
        <p:nvSpPr>
          <p:cNvPr id="99" name="TextBox 118">
            <a:extLst>
              <a:ext uri="{FF2B5EF4-FFF2-40B4-BE49-F238E27FC236}">
                <a16:creationId xmlns:a16="http://schemas.microsoft.com/office/drawing/2014/main" id="{A34AD2EE-0D87-476F-9545-25D52C877D63}"/>
              </a:ext>
            </a:extLst>
          </p:cNvPr>
          <p:cNvSpPr txBox="1"/>
          <p:nvPr/>
        </p:nvSpPr>
        <p:spPr>
          <a:xfrm>
            <a:off x="5611591" y="2160133"/>
            <a:ext cx="968816" cy="46166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F0F0F0"/>
                </a:solidFill>
                <a:effectLst/>
                <a:uLnTx/>
                <a:uFillTx/>
                <a:latin typeface="等线 Light" panose="020F0302020204030204"/>
                <a:ea typeface="+mn-ea"/>
                <a:cs typeface="+mn-cs"/>
              </a:rPr>
              <a:t>220K</a:t>
            </a:r>
          </a:p>
        </p:txBody>
      </p:sp>
      <p:sp>
        <p:nvSpPr>
          <p:cNvPr id="100" name="TextBox 119">
            <a:extLst>
              <a:ext uri="{FF2B5EF4-FFF2-40B4-BE49-F238E27FC236}">
                <a16:creationId xmlns:a16="http://schemas.microsoft.com/office/drawing/2014/main" id="{D11F5806-D554-42E2-98C8-E0A805A77D83}"/>
              </a:ext>
            </a:extLst>
          </p:cNvPr>
          <p:cNvSpPr txBox="1"/>
          <p:nvPr/>
        </p:nvSpPr>
        <p:spPr>
          <a:xfrm>
            <a:off x="7046955" y="2755621"/>
            <a:ext cx="968816" cy="46166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F0F0F0"/>
                </a:solidFill>
                <a:effectLst/>
                <a:uLnTx/>
                <a:uFillTx/>
                <a:latin typeface="等线 Light" panose="020F0302020204030204"/>
                <a:ea typeface="+mn-ea"/>
                <a:cs typeface="+mn-cs"/>
              </a:rPr>
              <a:t>230K</a:t>
            </a:r>
          </a:p>
        </p:txBody>
      </p:sp>
      <p:sp>
        <p:nvSpPr>
          <p:cNvPr id="101" name="TextBox 120">
            <a:extLst>
              <a:ext uri="{FF2B5EF4-FFF2-40B4-BE49-F238E27FC236}">
                <a16:creationId xmlns:a16="http://schemas.microsoft.com/office/drawing/2014/main" id="{969EFF59-2771-458D-88D4-0515C4783B82}"/>
              </a:ext>
            </a:extLst>
          </p:cNvPr>
          <p:cNvSpPr txBox="1"/>
          <p:nvPr/>
        </p:nvSpPr>
        <p:spPr>
          <a:xfrm>
            <a:off x="7641784" y="4190985"/>
            <a:ext cx="968816" cy="46166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F0F0F0"/>
                </a:solidFill>
                <a:effectLst/>
                <a:uLnTx/>
                <a:uFillTx/>
                <a:latin typeface="等线 Light" panose="020F0302020204030204"/>
                <a:ea typeface="+mn-ea"/>
                <a:cs typeface="+mn-cs"/>
              </a:rPr>
              <a:t>402K</a:t>
            </a:r>
          </a:p>
        </p:txBody>
      </p:sp>
      <p:sp>
        <p:nvSpPr>
          <p:cNvPr id="102" name="TextBox 121">
            <a:extLst>
              <a:ext uri="{FF2B5EF4-FFF2-40B4-BE49-F238E27FC236}">
                <a16:creationId xmlns:a16="http://schemas.microsoft.com/office/drawing/2014/main" id="{932D7E00-4E33-4C91-82A0-827E937957C7}"/>
              </a:ext>
            </a:extLst>
          </p:cNvPr>
          <p:cNvSpPr txBox="1"/>
          <p:nvPr/>
        </p:nvSpPr>
        <p:spPr>
          <a:xfrm>
            <a:off x="7046955" y="5626349"/>
            <a:ext cx="968816" cy="46166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F0F0F0"/>
                </a:solidFill>
                <a:effectLst/>
                <a:uLnTx/>
                <a:uFillTx/>
                <a:latin typeface="等线 Light" panose="020F0302020204030204"/>
                <a:ea typeface="+mn-ea"/>
                <a:cs typeface="+mn-cs"/>
              </a:rPr>
              <a:t>320K</a:t>
            </a:r>
          </a:p>
        </p:txBody>
      </p:sp>
    </p:spTree>
    <p:extLst>
      <p:ext uri="{BB962C8B-B14F-4D97-AF65-F5344CB8AC3E}">
        <p14:creationId xmlns:p14="http://schemas.microsoft.com/office/powerpoint/2010/main" val="2112745528"/>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fade">
                                      <p:cBhvr>
                                        <p:cTn id="11" dur="500"/>
                                        <p:tgtEl>
                                          <p:spTgt spid="7"/>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60"/>
                                        </p:tgtEl>
                                        <p:attrNameLst>
                                          <p:attrName>style.visibility</p:attrName>
                                        </p:attrNameLst>
                                      </p:cBhvr>
                                      <p:to>
                                        <p:strVal val="visible"/>
                                      </p:to>
                                    </p:set>
                                    <p:animEffect transition="in" filter="fade">
                                      <p:cBhvr>
                                        <p:cTn id="14" dur="500"/>
                                        <p:tgtEl>
                                          <p:spTgt spid="60"/>
                                        </p:tgtEl>
                                      </p:cBhvr>
                                    </p:animEffect>
                                  </p:childTnLst>
                                </p:cTn>
                              </p:par>
                            </p:childTnLst>
                          </p:cTn>
                        </p:par>
                        <p:par>
                          <p:cTn id="15" fill="hold">
                            <p:stCondLst>
                              <p:cond delay="1000"/>
                            </p:stCondLst>
                            <p:childTnLst>
                              <p:par>
                                <p:cTn id="16" presetID="22" presetClass="entr" presetSubtype="4" fill="hold" grpId="0" nodeType="afterEffect">
                                  <p:stCondLst>
                                    <p:cond delay="0"/>
                                  </p:stCondLst>
                                  <p:childTnLst>
                                    <p:set>
                                      <p:cBhvr>
                                        <p:cTn id="17" dur="1" fill="hold">
                                          <p:stCondLst>
                                            <p:cond delay="0"/>
                                          </p:stCondLst>
                                        </p:cTn>
                                        <p:tgtEl>
                                          <p:spTgt spid="15"/>
                                        </p:tgtEl>
                                        <p:attrNameLst>
                                          <p:attrName>style.visibility</p:attrName>
                                        </p:attrNameLst>
                                      </p:cBhvr>
                                      <p:to>
                                        <p:strVal val="visible"/>
                                      </p:to>
                                    </p:set>
                                    <p:animEffect transition="in" filter="wipe(down)">
                                      <p:cBhvr>
                                        <p:cTn id="18" dur="500"/>
                                        <p:tgtEl>
                                          <p:spTgt spid="15"/>
                                        </p:tgtEl>
                                      </p:cBhvr>
                                    </p:animEffect>
                                  </p:childTnLst>
                                </p:cTn>
                              </p:par>
                            </p:childTnLst>
                          </p:cTn>
                        </p:par>
                        <p:par>
                          <p:cTn id="19" fill="hold">
                            <p:stCondLst>
                              <p:cond delay="1500"/>
                            </p:stCondLst>
                            <p:childTnLst>
                              <p:par>
                                <p:cTn id="20" presetID="10" presetClass="entr" presetSubtype="0" fill="hold" nodeType="afterEffect">
                                  <p:stCondLst>
                                    <p:cond delay="0"/>
                                  </p:stCondLst>
                                  <p:childTnLst>
                                    <p:set>
                                      <p:cBhvr>
                                        <p:cTn id="21" dur="1" fill="hold">
                                          <p:stCondLst>
                                            <p:cond delay="0"/>
                                          </p:stCondLst>
                                        </p:cTn>
                                        <p:tgtEl>
                                          <p:spTgt spid="2"/>
                                        </p:tgtEl>
                                        <p:attrNameLst>
                                          <p:attrName>style.visibility</p:attrName>
                                        </p:attrNameLst>
                                      </p:cBhvr>
                                      <p:to>
                                        <p:strVal val="visible"/>
                                      </p:to>
                                    </p:set>
                                    <p:animEffect transition="in" filter="fade">
                                      <p:cBhvr>
                                        <p:cTn id="22" dur="500"/>
                                        <p:tgtEl>
                                          <p:spTgt spid="2"/>
                                        </p:tgtEl>
                                      </p:cBhvr>
                                    </p:animEffect>
                                  </p:childTnLst>
                                </p:cTn>
                              </p:par>
                              <p:par>
                                <p:cTn id="23" presetID="10" presetClass="entr" presetSubtype="0" fill="hold" nodeType="withEffect">
                                  <p:stCondLst>
                                    <p:cond delay="0"/>
                                  </p:stCondLst>
                                  <p:childTnLst>
                                    <p:set>
                                      <p:cBhvr>
                                        <p:cTn id="24" dur="1" fill="hold">
                                          <p:stCondLst>
                                            <p:cond delay="0"/>
                                          </p:stCondLst>
                                        </p:cTn>
                                        <p:tgtEl>
                                          <p:spTgt spid="93"/>
                                        </p:tgtEl>
                                        <p:attrNameLst>
                                          <p:attrName>style.visibility</p:attrName>
                                        </p:attrNameLst>
                                      </p:cBhvr>
                                      <p:to>
                                        <p:strVal val="visible"/>
                                      </p:to>
                                    </p:set>
                                    <p:animEffect transition="in" filter="fade">
                                      <p:cBhvr>
                                        <p:cTn id="25" dur="500"/>
                                        <p:tgtEl>
                                          <p:spTgt spid="93"/>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96"/>
                                        </p:tgtEl>
                                        <p:attrNameLst>
                                          <p:attrName>style.visibility</p:attrName>
                                        </p:attrNameLst>
                                      </p:cBhvr>
                                      <p:to>
                                        <p:strVal val="visible"/>
                                      </p:to>
                                    </p:set>
                                    <p:animEffect transition="in" filter="fade">
                                      <p:cBhvr>
                                        <p:cTn id="28" dur="500"/>
                                        <p:tgtEl>
                                          <p:spTgt spid="96"/>
                                        </p:tgtEl>
                                      </p:cBhvr>
                                    </p:animEffect>
                                  </p:childTnLst>
                                </p:cTn>
                              </p:par>
                            </p:childTnLst>
                          </p:cTn>
                        </p:par>
                        <p:par>
                          <p:cTn id="29" fill="hold">
                            <p:stCondLst>
                              <p:cond delay="2000"/>
                            </p:stCondLst>
                            <p:childTnLst>
                              <p:par>
                                <p:cTn id="30" presetID="10" presetClass="entr" presetSubtype="0" fill="hold" grpId="0" nodeType="afterEffect">
                                  <p:stCondLst>
                                    <p:cond delay="0"/>
                                  </p:stCondLst>
                                  <p:childTnLst>
                                    <p:set>
                                      <p:cBhvr>
                                        <p:cTn id="31" dur="1" fill="hold">
                                          <p:stCondLst>
                                            <p:cond delay="0"/>
                                          </p:stCondLst>
                                        </p:cTn>
                                        <p:tgtEl>
                                          <p:spTgt spid="52"/>
                                        </p:tgtEl>
                                        <p:attrNameLst>
                                          <p:attrName>style.visibility</p:attrName>
                                        </p:attrNameLst>
                                      </p:cBhvr>
                                      <p:to>
                                        <p:strVal val="visible"/>
                                      </p:to>
                                    </p:set>
                                    <p:animEffect transition="in" filter="fade">
                                      <p:cBhvr>
                                        <p:cTn id="32" dur="500"/>
                                        <p:tgtEl>
                                          <p:spTgt spid="52"/>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53"/>
                                        </p:tgtEl>
                                        <p:attrNameLst>
                                          <p:attrName>style.visibility</p:attrName>
                                        </p:attrNameLst>
                                      </p:cBhvr>
                                      <p:to>
                                        <p:strVal val="visible"/>
                                      </p:to>
                                    </p:set>
                                    <p:animEffect transition="in" filter="fade">
                                      <p:cBhvr>
                                        <p:cTn id="35" dur="500"/>
                                        <p:tgtEl>
                                          <p:spTgt spid="53"/>
                                        </p:tgtEl>
                                      </p:cBhvr>
                                    </p:animEffect>
                                  </p:childTnLst>
                                </p:cTn>
                              </p:par>
                            </p:childTnLst>
                          </p:cTn>
                        </p:par>
                        <p:par>
                          <p:cTn id="36" fill="hold">
                            <p:stCondLst>
                              <p:cond delay="2500"/>
                            </p:stCondLst>
                            <p:childTnLst>
                              <p:par>
                                <p:cTn id="37" presetID="10" presetClass="entr" presetSubtype="0" fill="hold" nodeType="afterEffect">
                                  <p:stCondLst>
                                    <p:cond delay="0"/>
                                  </p:stCondLst>
                                  <p:childTnLst>
                                    <p:set>
                                      <p:cBhvr>
                                        <p:cTn id="38" dur="1" fill="hold">
                                          <p:stCondLst>
                                            <p:cond delay="0"/>
                                          </p:stCondLst>
                                        </p:cTn>
                                        <p:tgtEl>
                                          <p:spTgt spid="61"/>
                                        </p:tgtEl>
                                        <p:attrNameLst>
                                          <p:attrName>style.visibility</p:attrName>
                                        </p:attrNameLst>
                                      </p:cBhvr>
                                      <p:to>
                                        <p:strVal val="visible"/>
                                      </p:to>
                                    </p:set>
                                    <p:animEffect transition="in" filter="fade">
                                      <p:cBhvr>
                                        <p:cTn id="39" dur="500"/>
                                        <p:tgtEl>
                                          <p:spTgt spid="61"/>
                                        </p:tgtEl>
                                      </p:cBhvr>
                                    </p:animEffect>
                                  </p:childTnLst>
                                </p:cTn>
                              </p:par>
                              <p:par>
                                <p:cTn id="40" presetID="10" presetClass="entr" presetSubtype="0" fill="hold" nodeType="withEffect">
                                  <p:stCondLst>
                                    <p:cond delay="0"/>
                                  </p:stCondLst>
                                  <p:childTnLst>
                                    <p:set>
                                      <p:cBhvr>
                                        <p:cTn id="41" dur="1" fill="hold">
                                          <p:stCondLst>
                                            <p:cond delay="0"/>
                                          </p:stCondLst>
                                        </p:cTn>
                                        <p:tgtEl>
                                          <p:spTgt spid="21"/>
                                        </p:tgtEl>
                                        <p:attrNameLst>
                                          <p:attrName>style.visibility</p:attrName>
                                        </p:attrNameLst>
                                      </p:cBhvr>
                                      <p:to>
                                        <p:strVal val="visible"/>
                                      </p:to>
                                    </p:set>
                                    <p:animEffect transition="in" filter="fade">
                                      <p:cBhvr>
                                        <p:cTn id="42" dur="500"/>
                                        <p:tgtEl>
                                          <p:spTgt spid="21"/>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97"/>
                                        </p:tgtEl>
                                        <p:attrNameLst>
                                          <p:attrName>style.visibility</p:attrName>
                                        </p:attrNameLst>
                                      </p:cBhvr>
                                      <p:to>
                                        <p:strVal val="visible"/>
                                      </p:to>
                                    </p:set>
                                    <p:animEffect transition="in" filter="fade">
                                      <p:cBhvr>
                                        <p:cTn id="45" dur="500"/>
                                        <p:tgtEl>
                                          <p:spTgt spid="97"/>
                                        </p:tgtEl>
                                      </p:cBhvr>
                                    </p:animEffect>
                                  </p:childTnLst>
                                </p:cTn>
                              </p:par>
                            </p:childTnLst>
                          </p:cTn>
                        </p:par>
                        <p:par>
                          <p:cTn id="46" fill="hold">
                            <p:stCondLst>
                              <p:cond delay="3000"/>
                            </p:stCondLst>
                            <p:childTnLst>
                              <p:par>
                                <p:cTn id="47" presetID="10" presetClass="entr" presetSubtype="0" fill="hold" grpId="0" nodeType="afterEffect">
                                  <p:stCondLst>
                                    <p:cond delay="0"/>
                                  </p:stCondLst>
                                  <p:childTnLst>
                                    <p:set>
                                      <p:cBhvr>
                                        <p:cTn id="48" dur="1" fill="hold">
                                          <p:stCondLst>
                                            <p:cond delay="0"/>
                                          </p:stCondLst>
                                        </p:cTn>
                                        <p:tgtEl>
                                          <p:spTgt spid="50"/>
                                        </p:tgtEl>
                                        <p:attrNameLst>
                                          <p:attrName>style.visibility</p:attrName>
                                        </p:attrNameLst>
                                      </p:cBhvr>
                                      <p:to>
                                        <p:strVal val="visible"/>
                                      </p:to>
                                    </p:set>
                                    <p:animEffect transition="in" filter="fade">
                                      <p:cBhvr>
                                        <p:cTn id="49" dur="500"/>
                                        <p:tgtEl>
                                          <p:spTgt spid="50"/>
                                        </p:tgtEl>
                                      </p:cBhvr>
                                    </p:animEffect>
                                  </p:childTnLst>
                                </p:cTn>
                              </p:par>
                              <p:par>
                                <p:cTn id="50" presetID="10" presetClass="entr" presetSubtype="0" fill="hold" grpId="0" nodeType="withEffect">
                                  <p:stCondLst>
                                    <p:cond delay="0"/>
                                  </p:stCondLst>
                                  <p:childTnLst>
                                    <p:set>
                                      <p:cBhvr>
                                        <p:cTn id="51" dur="1" fill="hold">
                                          <p:stCondLst>
                                            <p:cond delay="0"/>
                                          </p:stCondLst>
                                        </p:cTn>
                                        <p:tgtEl>
                                          <p:spTgt spid="51"/>
                                        </p:tgtEl>
                                        <p:attrNameLst>
                                          <p:attrName>style.visibility</p:attrName>
                                        </p:attrNameLst>
                                      </p:cBhvr>
                                      <p:to>
                                        <p:strVal val="visible"/>
                                      </p:to>
                                    </p:set>
                                    <p:animEffect transition="in" filter="fade">
                                      <p:cBhvr>
                                        <p:cTn id="52" dur="500"/>
                                        <p:tgtEl>
                                          <p:spTgt spid="51"/>
                                        </p:tgtEl>
                                      </p:cBhvr>
                                    </p:animEffect>
                                  </p:childTnLst>
                                </p:cTn>
                              </p:par>
                            </p:childTnLst>
                          </p:cTn>
                        </p:par>
                        <p:par>
                          <p:cTn id="53" fill="hold">
                            <p:stCondLst>
                              <p:cond delay="3500"/>
                            </p:stCondLst>
                            <p:childTnLst>
                              <p:par>
                                <p:cTn id="54" presetID="10" presetClass="entr" presetSubtype="0" fill="hold" nodeType="afterEffect">
                                  <p:stCondLst>
                                    <p:cond delay="0"/>
                                  </p:stCondLst>
                                  <p:childTnLst>
                                    <p:set>
                                      <p:cBhvr>
                                        <p:cTn id="55" dur="1" fill="hold">
                                          <p:stCondLst>
                                            <p:cond delay="0"/>
                                          </p:stCondLst>
                                        </p:cTn>
                                        <p:tgtEl>
                                          <p:spTgt spid="36"/>
                                        </p:tgtEl>
                                        <p:attrNameLst>
                                          <p:attrName>style.visibility</p:attrName>
                                        </p:attrNameLst>
                                      </p:cBhvr>
                                      <p:to>
                                        <p:strVal val="visible"/>
                                      </p:to>
                                    </p:set>
                                    <p:animEffect transition="in" filter="fade">
                                      <p:cBhvr>
                                        <p:cTn id="56" dur="500"/>
                                        <p:tgtEl>
                                          <p:spTgt spid="36"/>
                                        </p:tgtEl>
                                      </p:cBhvr>
                                    </p:animEffect>
                                  </p:childTnLst>
                                </p:cTn>
                              </p:par>
                              <p:par>
                                <p:cTn id="57" presetID="10" presetClass="entr" presetSubtype="0" fill="hold" grpId="0" nodeType="withEffect">
                                  <p:stCondLst>
                                    <p:cond delay="0"/>
                                  </p:stCondLst>
                                  <p:childTnLst>
                                    <p:set>
                                      <p:cBhvr>
                                        <p:cTn id="58" dur="1" fill="hold">
                                          <p:stCondLst>
                                            <p:cond delay="0"/>
                                          </p:stCondLst>
                                        </p:cTn>
                                        <p:tgtEl>
                                          <p:spTgt spid="98"/>
                                        </p:tgtEl>
                                        <p:attrNameLst>
                                          <p:attrName>style.visibility</p:attrName>
                                        </p:attrNameLst>
                                      </p:cBhvr>
                                      <p:to>
                                        <p:strVal val="visible"/>
                                      </p:to>
                                    </p:set>
                                    <p:animEffect transition="in" filter="fade">
                                      <p:cBhvr>
                                        <p:cTn id="59" dur="500"/>
                                        <p:tgtEl>
                                          <p:spTgt spid="98"/>
                                        </p:tgtEl>
                                      </p:cBhvr>
                                    </p:animEffect>
                                  </p:childTnLst>
                                </p:cTn>
                              </p:par>
                              <p:par>
                                <p:cTn id="60" presetID="10" presetClass="entr" presetSubtype="0" fill="hold" nodeType="withEffect">
                                  <p:stCondLst>
                                    <p:cond delay="0"/>
                                  </p:stCondLst>
                                  <p:childTnLst>
                                    <p:set>
                                      <p:cBhvr>
                                        <p:cTn id="61" dur="1" fill="hold">
                                          <p:stCondLst>
                                            <p:cond delay="0"/>
                                          </p:stCondLst>
                                        </p:cTn>
                                        <p:tgtEl>
                                          <p:spTgt spid="69"/>
                                        </p:tgtEl>
                                        <p:attrNameLst>
                                          <p:attrName>style.visibility</p:attrName>
                                        </p:attrNameLst>
                                      </p:cBhvr>
                                      <p:to>
                                        <p:strVal val="visible"/>
                                      </p:to>
                                    </p:set>
                                    <p:animEffect transition="in" filter="fade">
                                      <p:cBhvr>
                                        <p:cTn id="62" dur="500"/>
                                        <p:tgtEl>
                                          <p:spTgt spid="69"/>
                                        </p:tgtEl>
                                      </p:cBhvr>
                                    </p:animEffect>
                                  </p:childTnLst>
                                </p:cTn>
                              </p:par>
                            </p:childTnLst>
                          </p:cTn>
                        </p:par>
                        <p:par>
                          <p:cTn id="63" fill="hold">
                            <p:stCondLst>
                              <p:cond delay="4000"/>
                            </p:stCondLst>
                            <p:childTnLst>
                              <p:par>
                                <p:cTn id="64" presetID="10" presetClass="entr" presetSubtype="0" fill="hold" grpId="0" nodeType="afterEffect">
                                  <p:stCondLst>
                                    <p:cond delay="0"/>
                                  </p:stCondLst>
                                  <p:childTnLst>
                                    <p:set>
                                      <p:cBhvr>
                                        <p:cTn id="65" dur="1" fill="hold">
                                          <p:stCondLst>
                                            <p:cond delay="0"/>
                                          </p:stCondLst>
                                        </p:cTn>
                                        <p:tgtEl>
                                          <p:spTgt spid="48"/>
                                        </p:tgtEl>
                                        <p:attrNameLst>
                                          <p:attrName>style.visibility</p:attrName>
                                        </p:attrNameLst>
                                      </p:cBhvr>
                                      <p:to>
                                        <p:strVal val="visible"/>
                                      </p:to>
                                    </p:set>
                                    <p:animEffect transition="in" filter="fade">
                                      <p:cBhvr>
                                        <p:cTn id="66" dur="500"/>
                                        <p:tgtEl>
                                          <p:spTgt spid="48"/>
                                        </p:tgtEl>
                                      </p:cBhvr>
                                    </p:animEffect>
                                  </p:childTnLst>
                                </p:cTn>
                              </p:par>
                              <p:par>
                                <p:cTn id="67" presetID="10" presetClass="entr" presetSubtype="0" fill="hold" grpId="0" nodeType="withEffect">
                                  <p:stCondLst>
                                    <p:cond delay="0"/>
                                  </p:stCondLst>
                                  <p:childTnLst>
                                    <p:set>
                                      <p:cBhvr>
                                        <p:cTn id="68" dur="1" fill="hold">
                                          <p:stCondLst>
                                            <p:cond delay="0"/>
                                          </p:stCondLst>
                                        </p:cTn>
                                        <p:tgtEl>
                                          <p:spTgt spid="49"/>
                                        </p:tgtEl>
                                        <p:attrNameLst>
                                          <p:attrName>style.visibility</p:attrName>
                                        </p:attrNameLst>
                                      </p:cBhvr>
                                      <p:to>
                                        <p:strVal val="visible"/>
                                      </p:to>
                                    </p:set>
                                    <p:animEffect transition="in" filter="fade">
                                      <p:cBhvr>
                                        <p:cTn id="69" dur="500"/>
                                        <p:tgtEl>
                                          <p:spTgt spid="49"/>
                                        </p:tgtEl>
                                      </p:cBhvr>
                                    </p:animEffect>
                                  </p:childTnLst>
                                </p:cTn>
                              </p:par>
                            </p:childTnLst>
                          </p:cTn>
                        </p:par>
                        <p:par>
                          <p:cTn id="70" fill="hold">
                            <p:stCondLst>
                              <p:cond delay="4500"/>
                            </p:stCondLst>
                            <p:childTnLst>
                              <p:par>
                                <p:cTn id="71" presetID="10" presetClass="entr" presetSubtype="0" fill="hold" nodeType="afterEffect">
                                  <p:stCondLst>
                                    <p:cond delay="0"/>
                                  </p:stCondLst>
                                  <p:childTnLst>
                                    <p:set>
                                      <p:cBhvr>
                                        <p:cTn id="72" dur="1" fill="hold">
                                          <p:stCondLst>
                                            <p:cond delay="0"/>
                                          </p:stCondLst>
                                        </p:cTn>
                                        <p:tgtEl>
                                          <p:spTgt spid="26"/>
                                        </p:tgtEl>
                                        <p:attrNameLst>
                                          <p:attrName>style.visibility</p:attrName>
                                        </p:attrNameLst>
                                      </p:cBhvr>
                                      <p:to>
                                        <p:strVal val="visible"/>
                                      </p:to>
                                    </p:set>
                                    <p:animEffect transition="in" filter="fade">
                                      <p:cBhvr>
                                        <p:cTn id="73" dur="500"/>
                                        <p:tgtEl>
                                          <p:spTgt spid="26"/>
                                        </p:tgtEl>
                                      </p:cBhvr>
                                    </p:animEffect>
                                  </p:childTnLst>
                                </p:cTn>
                              </p:par>
                              <p:par>
                                <p:cTn id="74" presetID="10" presetClass="entr" presetSubtype="0" fill="hold" nodeType="withEffect">
                                  <p:stCondLst>
                                    <p:cond delay="0"/>
                                  </p:stCondLst>
                                  <p:childTnLst>
                                    <p:set>
                                      <p:cBhvr>
                                        <p:cTn id="75" dur="1" fill="hold">
                                          <p:stCondLst>
                                            <p:cond delay="0"/>
                                          </p:stCondLst>
                                        </p:cTn>
                                        <p:tgtEl>
                                          <p:spTgt spid="78"/>
                                        </p:tgtEl>
                                        <p:attrNameLst>
                                          <p:attrName>style.visibility</p:attrName>
                                        </p:attrNameLst>
                                      </p:cBhvr>
                                      <p:to>
                                        <p:strVal val="visible"/>
                                      </p:to>
                                    </p:set>
                                    <p:animEffect transition="in" filter="fade">
                                      <p:cBhvr>
                                        <p:cTn id="76" dur="500"/>
                                        <p:tgtEl>
                                          <p:spTgt spid="78"/>
                                        </p:tgtEl>
                                      </p:cBhvr>
                                    </p:animEffect>
                                  </p:childTnLst>
                                </p:cTn>
                              </p:par>
                              <p:par>
                                <p:cTn id="77" presetID="10" presetClass="entr" presetSubtype="0" fill="hold" grpId="0" nodeType="withEffect">
                                  <p:stCondLst>
                                    <p:cond delay="0"/>
                                  </p:stCondLst>
                                  <p:childTnLst>
                                    <p:set>
                                      <p:cBhvr>
                                        <p:cTn id="78" dur="1" fill="hold">
                                          <p:stCondLst>
                                            <p:cond delay="0"/>
                                          </p:stCondLst>
                                        </p:cTn>
                                        <p:tgtEl>
                                          <p:spTgt spid="99"/>
                                        </p:tgtEl>
                                        <p:attrNameLst>
                                          <p:attrName>style.visibility</p:attrName>
                                        </p:attrNameLst>
                                      </p:cBhvr>
                                      <p:to>
                                        <p:strVal val="visible"/>
                                      </p:to>
                                    </p:set>
                                    <p:animEffect transition="in" filter="fade">
                                      <p:cBhvr>
                                        <p:cTn id="79" dur="500"/>
                                        <p:tgtEl>
                                          <p:spTgt spid="99"/>
                                        </p:tgtEl>
                                      </p:cBhvr>
                                    </p:animEffect>
                                  </p:childTnLst>
                                </p:cTn>
                              </p:par>
                            </p:childTnLst>
                          </p:cTn>
                        </p:par>
                        <p:par>
                          <p:cTn id="80" fill="hold">
                            <p:stCondLst>
                              <p:cond delay="5000"/>
                            </p:stCondLst>
                            <p:childTnLst>
                              <p:par>
                                <p:cTn id="81" presetID="10" presetClass="entr" presetSubtype="0" fill="hold" grpId="0" nodeType="afterEffect">
                                  <p:stCondLst>
                                    <p:cond delay="0"/>
                                  </p:stCondLst>
                                  <p:childTnLst>
                                    <p:set>
                                      <p:cBhvr>
                                        <p:cTn id="82" dur="1" fill="hold">
                                          <p:stCondLst>
                                            <p:cond delay="0"/>
                                          </p:stCondLst>
                                        </p:cTn>
                                        <p:tgtEl>
                                          <p:spTgt spid="46"/>
                                        </p:tgtEl>
                                        <p:attrNameLst>
                                          <p:attrName>style.visibility</p:attrName>
                                        </p:attrNameLst>
                                      </p:cBhvr>
                                      <p:to>
                                        <p:strVal val="visible"/>
                                      </p:to>
                                    </p:set>
                                    <p:animEffect transition="in" filter="fade">
                                      <p:cBhvr>
                                        <p:cTn id="83" dur="500"/>
                                        <p:tgtEl>
                                          <p:spTgt spid="46"/>
                                        </p:tgtEl>
                                      </p:cBhvr>
                                    </p:animEffect>
                                  </p:childTnLst>
                                </p:cTn>
                              </p:par>
                              <p:par>
                                <p:cTn id="84" presetID="10" presetClass="entr" presetSubtype="0" fill="hold" grpId="0" nodeType="withEffect">
                                  <p:stCondLst>
                                    <p:cond delay="0"/>
                                  </p:stCondLst>
                                  <p:childTnLst>
                                    <p:set>
                                      <p:cBhvr>
                                        <p:cTn id="85" dur="1" fill="hold">
                                          <p:stCondLst>
                                            <p:cond delay="0"/>
                                          </p:stCondLst>
                                        </p:cTn>
                                        <p:tgtEl>
                                          <p:spTgt spid="47"/>
                                        </p:tgtEl>
                                        <p:attrNameLst>
                                          <p:attrName>style.visibility</p:attrName>
                                        </p:attrNameLst>
                                      </p:cBhvr>
                                      <p:to>
                                        <p:strVal val="visible"/>
                                      </p:to>
                                    </p:set>
                                    <p:animEffect transition="in" filter="fade">
                                      <p:cBhvr>
                                        <p:cTn id="86" dur="500"/>
                                        <p:tgtEl>
                                          <p:spTgt spid="47"/>
                                        </p:tgtEl>
                                      </p:cBhvr>
                                    </p:animEffect>
                                  </p:childTnLst>
                                </p:cTn>
                              </p:par>
                            </p:childTnLst>
                          </p:cTn>
                        </p:par>
                        <p:par>
                          <p:cTn id="87" fill="hold">
                            <p:stCondLst>
                              <p:cond delay="5500"/>
                            </p:stCondLst>
                            <p:childTnLst>
                              <p:par>
                                <p:cTn id="88" presetID="10" presetClass="entr" presetSubtype="0" fill="hold" nodeType="afterEffect">
                                  <p:stCondLst>
                                    <p:cond delay="0"/>
                                  </p:stCondLst>
                                  <p:childTnLst>
                                    <p:set>
                                      <p:cBhvr>
                                        <p:cTn id="89" dur="1" fill="hold">
                                          <p:stCondLst>
                                            <p:cond delay="0"/>
                                          </p:stCondLst>
                                        </p:cTn>
                                        <p:tgtEl>
                                          <p:spTgt spid="85"/>
                                        </p:tgtEl>
                                        <p:attrNameLst>
                                          <p:attrName>style.visibility</p:attrName>
                                        </p:attrNameLst>
                                      </p:cBhvr>
                                      <p:to>
                                        <p:strVal val="visible"/>
                                      </p:to>
                                    </p:set>
                                    <p:animEffect transition="in" filter="fade">
                                      <p:cBhvr>
                                        <p:cTn id="90" dur="500"/>
                                        <p:tgtEl>
                                          <p:spTgt spid="85"/>
                                        </p:tgtEl>
                                      </p:cBhvr>
                                    </p:animEffect>
                                  </p:childTnLst>
                                </p:cTn>
                              </p:par>
                              <p:par>
                                <p:cTn id="91" presetID="10" presetClass="entr" presetSubtype="0" fill="hold" nodeType="withEffect">
                                  <p:stCondLst>
                                    <p:cond delay="0"/>
                                  </p:stCondLst>
                                  <p:childTnLst>
                                    <p:set>
                                      <p:cBhvr>
                                        <p:cTn id="92" dur="1" fill="hold">
                                          <p:stCondLst>
                                            <p:cond delay="0"/>
                                          </p:stCondLst>
                                        </p:cTn>
                                        <p:tgtEl>
                                          <p:spTgt spid="31"/>
                                        </p:tgtEl>
                                        <p:attrNameLst>
                                          <p:attrName>style.visibility</p:attrName>
                                        </p:attrNameLst>
                                      </p:cBhvr>
                                      <p:to>
                                        <p:strVal val="visible"/>
                                      </p:to>
                                    </p:set>
                                    <p:animEffect transition="in" filter="fade">
                                      <p:cBhvr>
                                        <p:cTn id="93" dur="500"/>
                                        <p:tgtEl>
                                          <p:spTgt spid="31"/>
                                        </p:tgtEl>
                                      </p:cBhvr>
                                    </p:animEffect>
                                  </p:childTnLst>
                                </p:cTn>
                              </p:par>
                              <p:par>
                                <p:cTn id="94" presetID="10" presetClass="entr" presetSubtype="0" fill="hold" grpId="0" nodeType="withEffect">
                                  <p:stCondLst>
                                    <p:cond delay="0"/>
                                  </p:stCondLst>
                                  <p:childTnLst>
                                    <p:set>
                                      <p:cBhvr>
                                        <p:cTn id="95" dur="1" fill="hold">
                                          <p:stCondLst>
                                            <p:cond delay="0"/>
                                          </p:stCondLst>
                                        </p:cTn>
                                        <p:tgtEl>
                                          <p:spTgt spid="100"/>
                                        </p:tgtEl>
                                        <p:attrNameLst>
                                          <p:attrName>style.visibility</p:attrName>
                                        </p:attrNameLst>
                                      </p:cBhvr>
                                      <p:to>
                                        <p:strVal val="visible"/>
                                      </p:to>
                                    </p:set>
                                    <p:animEffect transition="in" filter="fade">
                                      <p:cBhvr>
                                        <p:cTn id="96" dur="500"/>
                                        <p:tgtEl>
                                          <p:spTgt spid="100"/>
                                        </p:tgtEl>
                                      </p:cBhvr>
                                    </p:animEffect>
                                  </p:childTnLst>
                                </p:cTn>
                              </p:par>
                            </p:childTnLst>
                          </p:cTn>
                        </p:par>
                        <p:par>
                          <p:cTn id="97" fill="hold">
                            <p:stCondLst>
                              <p:cond delay="6000"/>
                            </p:stCondLst>
                            <p:childTnLst>
                              <p:par>
                                <p:cTn id="98" presetID="10" presetClass="entr" presetSubtype="0" fill="hold" grpId="0" nodeType="afterEffect">
                                  <p:stCondLst>
                                    <p:cond delay="0"/>
                                  </p:stCondLst>
                                  <p:childTnLst>
                                    <p:set>
                                      <p:cBhvr>
                                        <p:cTn id="99" dur="1" fill="hold">
                                          <p:stCondLst>
                                            <p:cond delay="0"/>
                                          </p:stCondLst>
                                        </p:cTn>
                                        <p:tgtEl>
                                          <p:spTgt spid="54"/>
                                        </p:tgtEl>
                                        <p:attrNameLst>
                                          <p:attrName>style.visibility</p:attrName>
                                        </p:attrNameLst>
                                      </p:cBhvr>
                                      <p:to>
                                        <p:strVal val="visible"/>
                                      </p:to>
                                    </p:set>
                                    <p:animEffect transition="in" filter="fade">
                                      <p:cBhvr>
                                        <p:cTn id="100" dur="500"/>
                                        <p:tgtEl>
                                          <p:spTgt spid="54"/>
                                        </p:tgtEl>
                                      </p:cBhvr>
                                    </p:animEffect>
                                  </p:childTnLst>
                                </p:cTn>
                              </p:par>
                              <p:par>
                                <p:cTn id="101" presetID="10" presetClass="entr" presetSubtype="0" fill="hold" grpId="0" nodeType="withEffect">
                                  <p:stCondLst>
                                    <p:cond delay="0"/>
                                  </p:stCondLst>
                                  <p:childTnLst>
                                    <p:set>
                                      <p:cBhvr>
                                        <p:cTn id="102" dur="1" fill="hold">
                                          <p:stCondLst>
                                            <p:cond delay="0"/>
                                          </p:stCondLst>
                                        </p:cTn>
                                        <p:tgtEl>
                                          <p:spTgt spid="55"/>
                                        </p:tgtEl>
                                        <p:attrNameLst>
                                          <p:attrName>style.visibility</p:attrName>
                                        </p:attrNameLst>
                                      </p:cBhvr>
                                      <p:to>
                                        <p:strVal val="visible"/>
                                      </p:to>
                                    </p:set>
                                    <p:animEffect transition="in" filter="fade">
                                      <p:cBhvr>
                                        <p:cTn id="103" dur="500"/>
                                        <p:tgtEl>
                                          <p:spTgt spid="55"/>
                                        </p:tgtEl>
                                      </p:cBhvr>
                                    </p:animEffect>
                                  </p:childTnLst>
                                </p:cTn>
                              </p:par>
                            </p:childTnLst>
                          </p:cTn>
                        </p:par>
                        <p:par>
                          <p:cTn id="104" fill="hold">
                            <p:stCondLst>
                              <p:cond delay="6500"/>
                            </p:stCondLst>
                            <p:childTnLst>
                              <p:par>
                                <p:cTn id="105" presetID="10" presetClass="entr" presetSubtype="0" fill="hold" nodeType="afterEffect">
                                  <p:stCondLst>
                                    <p:cond delay="0"/>
                                  </p:stCondLst>
                                  <p:childTnLst>
                                    <p:set>
                                      <p:cBhvr>
                                        <p:cTn id="106" dur="1" fill="hold">
                                          <p:stCondLst>
                                            <p:cond delay="0"/>
                                          </p:stCondLst>
                                        </p:cTn>
                                        <p:tgtEl>
                                          <p:spTgt spid="16"/>
                                        </p:tgtEl>
                                        <p:attrNameLst>
                                          <p:attrName>style.visibility</p:attrName>
                                        </p:attrNameLst>
                                      </p:cBhvr>
                                      <p:to>
                                        <p:strVal val="visible"/>
                                      </p:to>
                                    </p:set>
                                    <p:animEffect transition="in" filter="fade">
                                      <p:cBhvr>
                                        <p:cTn id="107" dur="500"/>
                                        <p:tgtEl>
                                          <p:spTgt spid="16"/>
                                        </p:tgtEl>
                                      </p:cBhvr>
                                    </p:animEffect>
                                  </p:childTnLst>
                                </p:cTn>
                              </p:par>
                              <p:par>
                                <p:cTn id="108" presetID="10" presetClass="entr" presetSubtype="0" fill="hold" nodeType="withEffect">
                                  <p:stCondLst>
                                    <p:cond delay="0"/>
                                  </p:stCondLst>
                                  <p:childTnLst>
                                    <p:set>
                                      <p:cBhvr>
                                        <p:cTn id="109" dur="1" fill="hold">
                                          <p:stCondLst>
                                            <p:cond delay="0"/>
                                          </p:stCondLst>
                                        </p:cTn>
                                        <p:tgtEl>
                                          <p:spTgt spid="88"/>
                                        </p:tgtEl>
                                        <p:attrNameLst>
                                          <p:attrName>style.visibility</p:attrName>
                                        </p:attrNameLst>
                                      </p:cBhvr>
                                      <p:to>
                                        <p:strVal val="visible"/>
                                      </p:to>
                                    </p:set>
                                    <p:animEffect transition="in" filter="fade">
                                      <p:cBhvr>
                                        <p:cTn id="110" dur="500"/>
                                        <p:tgtEl>
                                          <p:spTgt spid="88"/>
                                        </p:tgtEl>
                                      </p:cBhvr>
                                    </p:animEffect>
                                  </p:childTnLst>
                                </p:cTn>
                              </p:par>
                              <p:par>
                                <p:cTn id="111" presetID="10" presetClass="entr" presetSubtype="0" fill="hold" grpId="0" nodeType="withEffect">
                                  <p:stCondLst>
                                    <p:cond delay="0"/>
                                  </p:stCondLst>
                                  <p:childTnLst>
                                    <p:set>
                                      <p:cBhvr>
                                        <p:cTn id="112" dur="1" fill="hold">
                                          <p:stCondLst>
                                            <p:cond delay="0"/>
                                          </p:stCondLst>
                                        </p:cTn>
                                        <p:tgtEl>
                                          <p:spTgt spid="101"/>
                                        </p:tgtEl>
                                        <p:attrNameLst>
                                          <p:attrName>style.visibility</p:attrName>
                                        </p:attrNameLst>
                                      </p:cBhvr>
                                      <p:to>
                                        <p:strVal val="visible"/>
                                      </p:to>
                                    </p:set>
                                    <p:animEffect transition="in" filter="fade">
                                      <p:cBhvr>
                                        <p:cTn id="113" dur="500"/>
                                        <p:tgtEl>
                                          <p:spTgt spid="101"/>
                                        </p:tgtEl>
                                      </p:cBhvr>
                                    </p:animEffect>
                                  </p:childTnLst>
                                </p:cTn>
                              </p:par>
                            </p:childTnLst>
                          </p:cTn>
                        </p:par>
                        <p:par>
                          <p:cTn id="114" fill="hold">
                            <p:stCondLst>
                              <p:cond delay="7000"/>
                            </p:stCondLst>
                            <p:childTnLst>
                              <p:par>
                                <p:cTn id="115" presetID="10" presetClass="entr" presetSubtype="0" fill="hold" grpId="0" nodeType="afterEffect">
                                  <p:stCondLst>
                                    <p:cond delay="0"/>
                                  </p:stCondLst>
                                  <p:childTnLst>
                                    <p:set>
                                      <p:cBhvr>
                                        <p:cTn id="116" dur="1" fill="hold">
                                          <p:stCondLst>
                                            <p:cond delay="0"/>
                                          </p:stCondLst>
                                        </p:cTn>
                                        <p:tgtEl>
                                          <p:spTgt spid="56"/>
                                        </p:tgtEl>
                                        <p:attrNameLst>
                                          <p:attrName>style.visibility</p:attrName>
                                        </p:attrNameLst>
                                      </p:cBhvr>
                                      <p:to>
                                        <p:strVal val="visible"/>
                                      </p:to>
                                    </p:set>
                                    <p:animEffect transition="in" filter="fade">
                                      <p:cBhvr>
                                        <p:cTn id="117" dur="500"/>
                                        <p:tgtEl>
                                          <p:spTgt spid="56"/>
                                        </p:tgtEl>
                                      </p:cBhvr>
                                    </p:animEffect>
                                  </p:childTnLst>
                                </p:cTn>
                              </p:par>
                              <p:par>
                                <p:cTn id="118" presetID="10" presetClass="entr" presetSubtype="0" fill="hold" grpId="0" nodeType="withEffect">
                                  <p:stCondLst>
                                    <p:cond delay="0"/>
                                  </p:stCondLst>
                                  <p:childTnLst>
                                    <p:set>
                                      <p:cBhvr>
                                        <p:cTn id="119" dur="1" fill="hold">
                                          <p:stCondLst>
                                            <p:cond delay="0"/>
                                          </p:stCondLst>
                                        </p:cTn>
                                        <p:tgtEl>
                                          <p:spTgt spid="57"/>
                                        </p:tgtEl>
                                        <p:attrNameLst>
                                          <p:attrName>style.visibility</p:attrName>
                                        </p:attrNameLst>
                                      </p:cBhvr>
                                      <p:to>
                                        <p:strVal val="visible"/>
                                      </p:to>
                                    </p:set>
                                    <p:animEffect transition="in" filter="fade">
                                      <p:cBhvr>
                                        <p:cTn id="120" dur="500"/>
                                        <p:tgtEl>
                                          <p:spTgt spid="57"/>
                                        </p:tgtEl>
                                      </p:cBhvr>
                                    </p:animEffect>
                                  </p:childTnLst>
                                </p:cTn>
                              </p:par>
                            </p:childTnLst>
                          </p:cTn>
                        </p:par>
                        <p:par>
                          <p:cTn id="121" fill="hold">
                            <p:stCondLst>
                              <p:cond delay="7500"/>
                            </p:stCondLst>
                            <p:childTnLst>
                              <p:par>
                                <p:cTn id="122" presetID="10" presetClass="entr" presetSubtype="0" fill="hold" grpId="0" nodeType="afterEffect">
                                  <p:stCondLst>
                                    <p:cond delay="0"/>
                                  </p:stCondLst>
                                  <p:childTnLst>
                                    <p:set>
                                      <p:cBhvr>
                                        <p:cTn id="123" dur="1" fill="hold">
                                          <p:stCondLst>
                                            <p:cond delay="0"/>
                                          </p:stCondLst>
                                        </p:cTn>
                                        <p:tgtEl>
                                          <p:spTgt spid="84"/>
                                        </p:tgtEl>
                                        <p:attrNameLst>
                                          <p:attrName>style.visibility</p:attrName>
                                        </p:attrNameLst>
                                      </p:cBhvr>
                                      <p:to>
                                        <p:strVal val="visible"/>
                                      </p:to>
                                    </p:set>
                                    <p:animEffect transition="in" filter="fade">
                                      <p:cBhvr>
                                        <p:cTn id="124" dur="500"/>
                                        <p:tgtEl>
                                          <p:spTgt spid="84"/>
                                        </p:tgtEl>
                                      </p:cBhvr>
                                    </p:animEffect>
                                  </p:childTnLst>
                                </p:cTn>
                              </p:par>
                              <p:par>
                                <p:cTn id="125" presetID="10" presetClass="entr" presetSubtype="0" fill="hold" grpId="0" nodeType="withEffect">
                                  <p:stCondLst>
                                    <p:cond delay="0"/>
                                  </p:stCondLst>
                                  <p:childTnLst>
                                    <p:set>
                                      <p:cBhvr>
                                        <p:cTn id="126" dur="1" fill="hold">
                                          <p:stCondLst>
                                            <p:cond delay="0"/>
                                          </p:stCondLst>
                                        </p:cTn>
                                        <p:tgtEl>
                                          <p:spTgt spid="102"/>
                                        </p:tgtEl>
                                        <p:attrNameLst>
                                          <p:attrName>style.visibility</p:attrName>
                                        </p:attrNameLst>
                                      </p:cBhvr>
                                      <p:to>
                                        <p:strVal val="visible"/>
                                      </p:to>
                                    </p:set>
                                    <p:animEffect transition="in" filter="fade">
                                      <p:cBhvr>
                                        <p:cTn id="127" dur="500"/>
                                        <p:tgtEl>
                                          <p:spTgt spid="102"/>
                                        </p:tgtEl>
                                      </p:cBhvr>
                                    </p:animEffect>
                                  </p:childTnLst>
                                </p:cTn>
                              </p:par>
                              <p:par>
                                <p:cTn id="128" presetID="10" presetClass="entr" presetSubtype="0" fill="hold" nodeType="withEffect">
                                  <p:stCondLst>
                                    <p:cond delay="0"/>
                                  </p:stCondLst>
                                  <p:childTnLst>
                                    <p:set>
                                      <p:cBhvr>
                                        <p:cTn id="129" dur="1" fill="hold">
                                          <p:stCondLst>
                                            <p:cond delay="0"/>
                                          </p:stCondLst>
                                        </p:cTn>
                                        <p:tgtEl>
                                          <p:spTgt spid="41"/>
                                        </p:tgtEl>
                                        <p:attrNameLst>
                                          <p:attrName>style.visibility</p:attrName>
                                        </p:attrNameLst>
                                      </p:cBhvr>
                                      <p:to>
                                        <p:strVal val="visible"/>
                                      </p:to>
                                    </p:set>
                                    <p:animEffect transition="in" filter="fade">
                                      <p:cBhvr>
                                        <p:cTn id="130" dur="500"/>
                                        <p:tgtEl>
                                          <p:spTgt spid="41"/>
                                        </p:tgtEl>
                                      </p:cBhvr>
                                    </p:animEffect>
                                  </p:childTnLst>
                                </p:cTn>
                              </p:par>
                            </p:childTnLst>
                          </p:cTn>
                        </p:par>
                        <p:par>
                          <p:cTn id="131" fill="hold">
                            <p:stCondLst>
                              <p:cond delay="8000"/>
                            </p:stCondLst>
                            <p:childTnLst>
                              <p:par>
                                <p:cTn id="132" presetID="10" presetClass="entr" presetSubtype="0" fill="hold" grpId="0" nodeType="afterEffect">
                                  <p:stCondLst>
                                    <p:cond delay="0"/>
                                  </p:stCondLst>
                                  <p:childTnLst>
                                    <p:set>
                                      <p:cBhvr>
                                        <p:cTn id="133" dur="1" fill="hold">
                                          <p:stCondLst>
                                            <p:cond delay="0"/>
                                          </p:stCondLst>
                                        </p:cTn>
                                        <p:tgtEl>
                                          <p:spTgt spid="58"/>
                                        </p:tgtEl>
                                        <p:attrNameLst>
                                          <p:attrName>style.visibility</p:attrName>
                                        </p:attrNameLst>
                                      </p:cBhvr>
                                      <p:to>
                                        <p:strVal val="visible"/>
                                      </p:to>
                                    </p:set>
                                    <p:animEffect transition="in" filter="fade">
                                      <p:cBhvr>
                                        <p:cTn id="134" dur="500"/>
                                        <p:tgtEl>
                                          <p:spTgt spid="58"/>
                                        </p:tgtEl>
                                      </p:cBhvr>
                                    </p:animEffect>
                                  </p:childTnLst>
                                </p:cTn>
                              </p:par>
                              <p:par>
                                <p:cTn id="135" presetID="10" presetClass="entr" presetSubtype="0" fill="hold" grpId="0" nodeType="withEffect">
                                  <p:stCondLst>
                                    <p:cond delay="0"/>
                                  </p:stCondLst>
                                  <p:childTnLst>
                                    <p:set>
                                      <p:cBhvr>
                                        <p:cTn id="136" dur="1" fill="hold">
                                          <p:stCondLst>
                                            <p:cond delay="0"/>
                                          </p:stCondLst>
                                        </p:cTn>
                                        <p:tgtEl>
                                          <p:spTgt spid="59"/>
                                        </p:tgtEl>
                                        <p:attrNameLst>
                                          <p:attrName>style.visibility</p:attrName>
                                        </p:attrNameLst>
                                      </p:cBhvr>
                                      <p:to>
                                        <p:strVal val="visible"/>
                                      </p:to>
                                    </p:set>
                                    <p:animEffect transition="in" filter="fade">
                                      <p:cBhvr>
                                        <p:cTn id="137" dur="500"/>
                                        <p:tgtEl>
                                          <p:spTgt spid="5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15" grpId="0" animBg="1"/>
      <p:bldP spid="46" grpId="0"/>
      <p:bldP spid="47" grpId="0"/>
      <p:bldP spid="48" grpId="0"/>
      <p:bldP spid="49" grpId="0"/>
      <p:bldP spid="50" grpId="0"/>
      <p:bldP spid="51" grpId="0"/>
      <p:bldP spid="52" grpId="0"/>
      <p:bldP spid="53" grpId="0"/>
      <p:bldP spid="54" grpId="0"/>
      <p:bldP spid="55" grpId="0"/>
      <p:bldP spid="56" grpId="0"/>
      <p:bldP spid="57" grpId="0"/>
      <p:bldP spid="58" grpId="0"/>
      <p:bldP spid="59" grpId="0"/>
      <p:bldP spid="60" grpId="0" animBg="1"/>
      <p:bldP spid="84" grpId="0" animBg="1"/>
      <p:bldP spid="96" grpId="0"/>
      <p:bldP spid="97" grpId="0"/>
      <p:bldP spid="98" grpId="0"/>
      <p:bldP spid="99" grpId="0"/>
      <p:bldP spid="100" grpId="0"/>
      <p:bldP spid="101" grpId="0"/>
      <p:bldP spid="102" grpId="0"/>
    </p:bldLst>
  </p:timing>
</p:sld>
</file>

<file path=ppt/slides/slide6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aphic 1">
            <a:extLst>
              <a:ext uri="{FF2B5EF4-FFF2-40B4-BE49-F238E27FC236}">
                <a16:creationId xmlns:a16="http://schemas.microsoft.com/office/drawing/2014/main" id="{3B0C78EF-F677-4D2A-BAF9-871B5336488C}"/>
              </a:ext>
            </a:extLst>
          </p:cNvPr>
          <p:cNvGrpSpPr/>
          <p:nvPr/>
        </p:nvGrpSpPr>
        <p:grpSpPr>
          <a:xfrm>
            <a:off x="4926389" y="2854357"/>
            <a:ext cx="2336781" cy="1986568"/>
            <a:chOff x="4962065" y="2978500"/>
            <a:chExt cx="2264322" cy="1924969"/>
          </a:xfrm>
          <a:solidFill>
            <a:srgbClr val="FFFFFF"/>
          </a:solidFill>
        </p:grpSpPr>
        <p:sp>
          <p:nvSpPr>
            <p:cNvPr id="3" name="Freeform: Shape 5">
              <a:extLst>
                <a:ext uri="{FF2B5EF4-FFF2-40B4-BE49-F238E27FC236}">
                  <a16:creationId xmlns:a16="http://schemas.microsoft.com/office/drawing/2014/main" id="{59A67638-42C2-44DA-973A-149C439726F9}"/>
                </a:ext>
              </a:extLst>
            </p:cNvPr>
            <p:cNvSpPr/>
            <p:nvPr/>
          </p:nvSpPr>
          <p:spPr>
            <a:xfrm>
              <a:off x="4962065" y="4098246"/>
              <a:ext cx="271955" cy="303234"/>
            </a:xfrm>
            <a:custGeom>
              <a:avLst/>
              <a:gdLst>
                <a:gd name="connsiteX0" fmla="*/ 0 w 271955"/>
                <a:gd name="connsiteY0" fmla="*/ 212835 h 303234"/>
                <a:gd name="connsiteX1" fmla="*/ 186821 w 271955"/>
                <a:gd name="connsiteY1" fmla="*/ 301516 h 303234"/>
                <a:gd name="connsiteX2" fmla="*/ 271955 w 271955"/>
                <a:gd name="connsiteY2" fmla="*/ 274320 h 303234"/>
                <a:gd name="connsiteX3" fmla="*/ 182092 w 271955"/>
                <a:gd name="connsiteY3" fmla="*/ 0 h 303234"/>
                <a:gd name="connsiteX4" fmla="*/ 96958 w 271955"/>
                <a:gd name="connsiteY4" fmla="*/ 27195 h 303234"/>
                <a:gd name="connsiteX5" fmla="*/ 59121 w 271955"/>
                <a:gd name="connsiteY5" fmla="*/ 65033 h 303234"/>
                <a:gd name="connsiteX6" fmla="*/ 57938 w 271955"/>
                <a:gd name="connsiteY6" fmla="*/ 66215 h 303234"/>
                <a:gd name="connsiteX7" fmla="*/ 56756 w 271955"/>
                <a:gd name="connsiteY7" fmla="*/ 67398 h 303234"/>
                <a:gd name="connsiteX8" fmla="*/ 0 w 271955"/>
                <a:gd name="connsiteY8" fmla="*/ 212835 h 3032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1955" h="303234">
                  <a:moveTo>
                    <a:pt x="0" y="212835"/>
                  </a:moveTo>
                  <a:cubicBezTo>
                    <a:pt x="54391" y="250672"/>
                    <a:pt x="147802" y="314522"/>
                    <a:pt x="186821" y="301516"/>
                  </a:cubicBezTo>
                  <a:lnTo>
                    <a:pt x="271955" y="274320"/>
                  </a:lnTo>
                  <a:lnTo>
                    <a:pt x="182092" y="0"/>
                  </a:lnTo>
                  <a:lnTo>
                    <a:pt x="96958" y="27195"/>
                  </a:lnTo>
                  <a:cubicBezTo>
                    <a:pt x="79222" y="33107"/>
                    <a:pt x="66215" y="48479"/>
                    <a:pt x="59121" y="65033"/>
                  </a:cubicBezTo>
                  <a:lnTo>
                    <a:pt x="57938" y="66215"/>
                  </a:lnTo>
                  <a:lnTo>
                    <a:pt x="56756" y="67398"/>
                  </a:lnTo>
                  <a:cubicBezTo>
                    <a:pt x="35472" y="109964"/>
                    <a:pt x="17736" y="164355"/>
                    <a:pt x="0" y="212835"/>
                  </a:cubicBezTo>
                  <a:close/>
                </a:path>
              </a:pathLst>
            </a:custGeom>
            <a:solidFill>
              <a:srgbClr val="FFFFFF"/>
            </a:solidFill>
            <a:ln w="118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4" name="Freeform: Shape 6">
              <a:extLst>
                <a:ext uri="{FF2B5EF4-FFF2-40B4-BE49-F238E27FC236}">
                  <a16:creationId xmlns:a16="http://schemas.microsoft.com/office/drawing/2014/main" id="{75402ABC-6CE9-4A76-B7E3-3DFE119DEA9B}"/>
                </a:ext>
              </a:extLst>
            </p:cNvPr>
            <p:cNvSpPr/>
            <p:nvPr/>
          </p:nvSpPr>
          <p:spPr>
            <a:xfrm>
              <a:off x="6954432" y="4098246"/>
              <a:ext cx="271955" cy="303208"/>
            </a:xfrm>
            <a:custGeom>
              <a:avLst/>
              <a:gdLst>
                <a:gd name="connsiteX0" fmla="*/ 89864 w 271955"/>
                <a:gd name="connsiteY0" fmla="*/ 0 h 303208"/>
                <a:gd name="connsiteX1" fmla="*/ 0 w 271955"/>
                <a:gd name="connsiteY1" fmla="*/ 274320 h 303208"/>
                <a:gd name="connsiteX2" fmla="*/ 85134 w 271955"/>
                <a:gd name="connsiteY2" fmla="*/ 301516 h 303208"/>
                <a:gd name="connsiteX3" fmla="*/ 271955 w 271955"/>
                <a:gd name="connsiteY3" fmla="*/ 212835 h 303208"/>
                <a:gd name="connsiteX4" fmla="*/ 214017 w 271955"/>
                <a:gd name="connsiteY4" fmla="*/ 67398 h 303208"/>
                <a:gd name="connsiteX5" fmla="*/ 212834 w 271955"/>
                <a:gd name="connsiteY5" fmla="*/ 66215 h 303208"/>
                <a:gd name="connsiteX6" fmla="*/ 211652 w 271955"/>
                <a:gd name="connsiteY6" fmla="*/ 65033 h 303208"/>
                <a:gd name="connsiteX7" fmla="*/ 173815 w 271955"/>
                <a:gd name="connsiteY7" fmla="*/ 27195 h 303208"/>
                <a:gd name="connsiteX8" fmla="*/ 89864 w 271955"/>
                <a:gd name="connsiteY8" fmla="*/ 0 h 303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1955" h="303208">
                  <a:moveTo>
                    <a:pt x="89864" y="0"/>
                  </a:moveTo>
                  <a:lnTo>
                    <a:pt x="0" y="274320"/>
                  </a:lnTo>
                  <a:lnTo>
                    <a:pt x="85134" y="301516"/>
                  </a:lnTo>
                  <a:cubicBezTo>
                    <a:pt x="125336" y="314522"/>
                    <a:pt x="217564" y="249489"/>
                    <a:pt x="271955" y="212835"/>
                  </a:cubicBezTo>
                  <a:cubicBezTo>
                    <a:pt x="254219" y="164355"/>
                    <a:pt x="237665" y="109964"/>
                    <a:pt x="214017" y="67398"/>
                  </a:cubicBezTo>
                  <a:lnTo>
                    <a:pt x="212834" y="66215"/>
                  </a:lnTo>
                  <a:lnTo>
                    <a:pt x="211652" y="65033"/>
                  </a:lnTo>
                  <a:cubicBezTo>
                    <a:pt x="203375" y="48479"/>
                    <a:pt x="191551" y="33107"/>
                    <a:pt x="173815" y="27195"/>
                  </a:cubicBezTo>
                  <a:lnTo>
                    <a:pt x="89864" y="0"/>
                  </a:lnTo>
                  <a:close/>
                </a:path>
              </a:pathLst>
            </a:custGeom>
            <a:solidFill>
              <a:srgbClr val="FFFFFF"/>
            </a:solidFill>
            <a:ln w="118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5" name="Freeform: Shape 7">
              <a:extLst>
                <a:ext uri="{FF2B5EF4-FFF2-40B4-BE49-F238E27FC236}">
                  <a16:creationId xmlns:a16="http://schemas.microsoft.com/office/drawing/2014/main" id="{32AE80F3-0A76-43E5-9E9B-4C94AF48F969}"/>
                </a:ext>
              </a:extLst>
            </p:cNvPr>
            <p:cNvSpPr/>
            <p:nvPr/>
          </p:nvSpPr>
          <p:spPr>
            <a:xfrm>
              <a:off x="4963247" y="3480515"/>
              <a:ext cx="271955" cy="303208"/>
            </a:xfrm>
            <a:custGeom>
              <a:avLst/>
              <a:gdLst>
                <a:gd name="connsiteX0" fmla="*/ 182092 w 271955"/>
                <a:gd name="connsiteY0" fmla="*/ 303209 h 303208"/>
                <a:gd name="connsiteX1" fmla="*/ 271955 w 271955"/>
                <a:gd name="connsiteY1" fmla="*/ 28889 h 303208"/>
                <a:gd name="connsiteX2" fmla="*/ 186821 w 271955"/>
                <a:gd name="connsiteY2" fmla="*/ 1693 h 303208"/>
                <a:gd name="connsiteX3" fmla="*/ 0 w 271955"/>
                <a:gd name="connsiteY3" fmla="*/ 90374 h 303208"/>
                <a:gd name="connsiteX4" fmla="*/ 57938 w 271955"/>
                <a:gd name="connsiteY4" fmla="*/ 235811 h 303208"/>
                <a:gd name="connsiteX5" fmla="*/ 59121 w 271955"/>
                <a:gd name="connsiteY5" fmla="*/ 236994 h 303208"/>
                <a:gd name="connsiteX6" fmla="*/ 60303 w 271955"/>
                <a:gd name="connsiteY6" fmla="*/ 238176 h 303208"/>
                <a:gd name="connsiteX7" fmla="*/ 98140 w 271955"/>
                <a:gd name="connsiteY7" fmla="*/ 276013 h 303208"/>
                <a:gd name="connsiteX8" fmla="*/ 182092 w 271955"/>
                <a:gd name="connsiteY8" fmla="*/ 303209 h 303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1955" h="303208">
                  <a:moveTo>
                    <a:pt x="182092" y="303209"/>
                  </a:moveTo>
                  <a:lnTo>
                    <a:pt x="271955" y="28889"/>
                  </a:lnTo>
                  <a:lnTo>
                    <a:pt x="186821" y="1693"/>
                  </a:lnTo>
                  <a:cubicBezTo>
                    <a:pt x="146619" y="-11313"/>
                    <a:pt x="54391" y="53719"/>
                    <a:pt x="0" y="90374"/>
                  </a:cubicBezTo>
                  <a:cubicBezTo>
                    <a:pt x="17736" y="138853"/>
                    <a:pt x="34290" y="193244"/>
                    <a:pt x="57938" y="235811"/>
                  </a:cubicBezTo>
                  <a:lnTo>
                    <a:pt x="59121" y="236994"/>
                  </a:lnTo>
                  <a:lnTo>
                    <a:pt x="60303" y="238176"/>
                  </a:lnTo>
                  <a:cubicBezTo>
                    <a:pt x="68580" y="254730"/>
                    <a:pt x="80404" y="270101"/>
                    <a:pt x="98140" y="276013"/>
                  </a:cubicBezTo>
                  <a:lnTo>
                    <a:pt x="182092" y="303209"/>
                  </a:lnTo>
                  <a:close/>
                </a:path>
              </a:pathLst>
            </a:custGeom>
            <a:solidFill>
              <a:srgbClr val="FFFFFF"/>
            </a:solidFill>
            <a:ln w="118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6" name="Freeform: Shape 8">
              <a:extLst>
                <a:ext uri="{FF2B5EF4-FFF2-40B4-BE49-F238E27FC236}">
                  <a16:creationId xmlns:a16="http://schemas.microsoft.com/office/drawing/2014/main" id="{0410CB3A-F35E-429D-A833-042F029BFB22}"/>
                </a:ext>
              </a:extLst>
            </p:cNvPr>
            <p:cNvSpPr/>
            <p:nvPr/>
          </p:nvSpPr>
          <p:spPr>
            <a:xfrm>
              <a:off x="6954432" y="3480489"/>
              <a:ext cx="271955" cy="303234"/>
            </a:xfrm>
            <a:custGeom>
              <a:avLst/>
              <a:gdLst>
                <a:gd name="connsiteX0" fmla="*/ 271955 w 271955"/>
                <a:gd name="connsiteY0" fmla="*/ 90400 h 303234"/>
                <a:gd name="connsiteX1" fmla="*/ 85134 w 271955"/>
                <a:gd name="connsiteY1" fmla="*/ 1719 h 303234"/>
                <a:gd name="connsiteX2" fmla="*/ 0 w 271955"/>
                <a:gd name="connsiteY2" fmla="*/ 28915 h 303234"/>
                <a:gd name="connsiteX3" fmla="*/ 89864 w 271955"/>
                <a:gd name="connsiteY3" fmla="*/ 303235 h 303234"/>
                <a:gd name="connsiteX4" fmla="*/ 174997 w 271955"/>
                <a:gd name="connsiteY4" fmla="*/ 276039 h 303234"/>
                <a:gd name="connsiteX5" fmla="*/ 212834 w 271955"/>
                <a:gd name="connsiteY5" fmla="*/ 238202 h 303234"/>
                <a:gd name="connsiteX6" fmla="*/ 214017 w 271955"/>
                <a:gd name="connsiteY6" fmla="*/ 237019 h 303234"/>
                <a:gd name="connsiteX7" fmla="*/ 215199 w 271955"/>
                <a:gd name="connsiteY7" fmla="*/ 235837 h 303234"/>
                <a:gd name="connsiteX8" fmla="*/ 271955 w 271955"/>
                <a:gd name="connsiteY8" fmla="*/ 90400 h 3032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1955" h="303234">
                  <a:moveTo>
                    <a:pt x="271955" y="90400"/>
                  </a:moveTo>
                  <a:cubicBezTo>
                    <a:pt x="217564" y="52563"/>
                    <a:pt x="124153" y="-11287"/>
                    <a:pt x="85134" y="1719"/>
                  </a:cubicBezTo>
                  <a:lnTo>
                    <a:pt x="0" y="28915"/>
                  </a:lnTo>
                  <a:lnTo>
                    <a:pt x="89864" y="303235"/>
                  </a:lnTo>
                  <a:lnTo>
                    <a:pt x="174997" y="276039"/>
                  </a:lnTo>
                  <a:cubicBezTo>
                    <a:pt x="192733" y="270127"/>
                    <a:pt x="205740" y="254756"/>
                    <a:pt x="212834" y="238202"/>
                  </a:cubicBezTo>
                  <a:lnTo>
                    <a:pt x="214017" y="237019"/>
                  </a:lnTo>
                  <a:lnTo>
                    <a:pt x="215199" y="235837"/>
                  </a:lnTo>
                  <a:cubicBezTo>
                    <a:pt x="237665" y="193270"/>
                    <a:pt x="254219" y="138879"/>
                    <a:pt x="271955" y="90400"/>
                  </a:cubicBezTo>
                  <a:close/>
                </a:path>
              </a:pathLst>
            </a:custGeom>
            <a:solidFill>
              <a:srgbClr val="FFFFFF"/>
            </a:solidFill>
            <a:ln w="118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7" name="Freeform: Shape 9">
              <a:extLst>
                <a:ext uri="{FF2B5EF4-FFF2-40B4-BE49-F238E27FC236}">
                  <a16:creationId xmlns:a16="http://schemas.microsoft.com/office/drawing/2014/main" id="{7BA03643-3CCF-43A5-94C2-53B73224BEE4}"/>
                </a:ext>
              </a:extLst>
            </p:cNvPr>
            <p:cNvSpPr/>
            <p:nvPr/>
          </p:nvSpPr>
          <p:spPr>
            <a:xfrm>
              <a:off x="5351906" y="4624420"/>
              <a:ext cx="295958" cy="279049"/>
            </a:xfrm>
            <a:custGeom>
              <a:avLst/>
              <a:gdLst>
                <a:gd name="connsiteX0" fmla="*/ 40557 w 295958"/>
                <a:gd name="connsiteY0" fmla="*/ 279050 h 279049"/>
                <a:gd name="connsiteX1" fmla="*/ 243932 w 295958"/>
                <a:gd name="connsiteY1" fmla="*/ 242395 h 279049"/>
                <a:gd name="connsiteX2" fmla="*/ 295959 w 295958"/>
                <a:gd name="connsiteY2" fmla="*/ 170268 h 279049"/>
                <a:gd name="connsiteX3" fmla="*/ 63023 w 295958"/>
                <a:gd name="connsiteY3" fmla="*/ 0 h 279049"/>
                <a:gd name="connsiteX4" fmla="*/ 10997 w 295958"/>
                <a:gd name="connsiteY4" fmla="*/ 72127 h 279049"/>
                <a:gd name="connsiteX5" fmla="*/ 1538 w 295958"/>
                <a:gd name="connsiteY5" fmla="*/ 125336 h 279049"/>
                <a:gd name="connsiteX6" fmla="*/ 1538 w 295958"/>
                <a:gd name="connsiteY6" fmla="*/ 126518 h 279049"/>
                <a:gd name="connsiteX7" fmla="*/ 1538 w 295958"/>
                <a:gd name="connsiteY7" fmla="*/ 127701 h 279049"/>
                <a:gd name="connsiteX8" fmla="*/ 40557 w 295958"/>
                <a:gd name="connsiteY8" fmla="*/ 279050 h 279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5958" h="279049">
                  <a:moveTo>
                    <a:pt x="40557" y="279050"/>
                  </a:moveTo>
                  <a:cubicBezTo>
                    <a:pt x="106772" y="277867"/>
                    <a:pt x="219102" y="275502"/>
                    <a:pt x="243932" y="242395"/>
                  </a:cubicBezTo>
                  <a:lnTo>
                    <a:pt x="295959" y="170268"/>
                  </a:lnTo>
                  <a:lnTo>
                    <a:pt x="63023" y="0"/>
                  </a:lnTo>
                  <a:lnTo>
                    <a:pt x="10997" y="72127"/>
                  </a:lnTo>
                  <a:cubicBezTo>
                    <a:pt x="355" y="87499"/>
                    <a:pt x="-2010" y="106417"/>
                    <a:pt x="1538" y="125336"/>
                  </a:cubicBezTo>
                  <a:lnTo>
                    <a:pt x="1538" y="126518"/>
                  </a:lnTo>
                  <a:lnTo>
                    <a:pt x="1538" y="127701"/>
                  </a:lnTo>
                  <a:cubicBezTo>
                    <a:pt x="8632" y="174997"/>
                    <a:pt x="26368" y="229388"/>
                    <a:pt x="40557" y="279050"/>
                  </a:cubicBezTo>
                  <a:close/>
                </a:path>
              </a:pathLst>
            </a:custGeom>
            <a:solidFill>
              <a:srgbClr val="FFFFFF"/>
            </a:solidFill>
            <a:ln w="118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8" name="Freeform: Shape 10">
              <a:extLst>
                <a:ext uri="{FF2B5EF4-FFF2-40B4-BE49-F238E27FC236}">
                  <a16:creationId xmlns:a16="http://schemas.microsoft.com/office/drawing/2014/main" id="{D2113336-066D-47E4-9DBA-5CCA912582FC}"/>
                </a:ext>
              </a:extLst>
            </p:cNvPr>
            <p:cNvSpPr/>
            <p:nvPr/>
          </p:nvSpPr>
          <p:spPr>
            <a:xfrm>
              <a:off x="6540587" y="4624420"/>
              <a:ext cx="296180" cy="279049"/>
            </a:xfrm>
            <a:custGeom>
              <a:avLst/>
              <a:gdLst>
                <a:gd name="connsiteX0" fmla="*/ 256584 w 296180"/>
                <a:gd name="connsiteY0" fmla="*/ 279050 h 279049"/>
                <a:gd name="connsiteX1" fmla="*/ 294421 w 296180"/>
                <a:gd name="connsiteY1" fmla="*/ 127701 h 279049"/>
                <a:gd name="connsiteX2" fmla="*/ 294421 w 296180"/>
                <a:gd name="connsiteY2" fmla="*/ 126518 h 279049"/>
                <a:gd name="connsiteX3" fmla="*/ 294421 w 296180"/>
                <a:gd name="connsiteY3" fmla="*/ 125336 h 279049"/>
                <a:gd name="connsiteX4" fmla="*/ 284962 w 296180"/>
                <a:gd name="connsiteY4" fmla="*/ 72127 h 279049"/>
                <a:gd name="connsiteX5" fmla="*/ 232935 w 296180"/>
                <a:gd name="connsiteY5" fmla="*/ 0 h 279049"/>
                <a:gd name="connsiteX6" fmla="*/ 0 w 296180"/>
                <a:gd name="connsiteY6" fmla="*/ 170268 h 279049"/>
                <a:gd name="connsiteX7" fmla="*/ 52026 w 296180"/>
                <a:gd name="connsiteY7" fmla="*/ 242395 h 279049"/>
                <a:gd name="connsiteX8" fmla="*/ 256584 w 296180"/>
                <a:gd name="connsiteY8" fmla="*/ 279050 h 279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6180" h="279049">
                  <a:moveTo>
                    <a:pt x="256584" y="279050"/>
                  </a:moveTo>
                  <a:cubicBezTo>
                    <a:pt x="270773" y="229388"/>
                    <a:pt x="288509" y="174997"/>
                    <a:pt x="294421" y="127701"/>
                  </a:cubicBezTo>
                  <a:lnTo>
                    <a:pt x="294421" y="126518"/>
                  </a:lnTo>
                  <a:lnTo>
                    <a:pt x="294421" y="125336"/>
                  </a:lnTo>
                  <a:cubicBezTo>
                    <a:pt x="297968" y="107600"/>
                    <a:pt x="296786" y="87499"/>
                    <a:pt x="284962" y="72127"/>
                  </a:cubicBezTo>
                  <a:lnTo>
                    <a:pt x="232935" y="0"/>
                  </a:lnTo>
                  <a:lnTo>
                    <a:pt x="0" y="170268"/>
                  </a:lnTo>
                  <a:lnTo>
                    <a:pt x="52026" y="242395"/>
                  </a:lnTo>
                  <a:cubicBezTo>
                    <a:pt x="76857" y="275502"/>
                    <a:pt x="190369" y="277867"/>
                    <a:pt x="256584" y="279050"/>
                  </a:cubicBezTo>
                  <a:close/>
                </a:path>
              </a:pathLst>
            </a:custGeom>
            <a:solidFill>
              <a:srgbClr val="FFFFFF"/>
            </a:solidFill>
            <a:ln w="118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9" name="Freeform: Shape 11">
              <a:extLst>
                <a:ext uri="{FF2B5EF4-FFF2-40B4-BE49-F238E27FC236}">
                  <a16:creationId xmlns:a16="http://schemas.microsoft.com/office/drawing/2014/main" id="{78F5874C-40AB-40C6-8C8A-A51085974063}"/>
                </a:ext>
              </a:extLst>
            </p:cNvPr>
            <p:cNvSpPr/>
            <p:nvPr/>
          </p:nvSpPr>
          <p:spPr>
            <a:xfrm>
              <a:off x="5352867" y="2978500"/>
              <a:ext cx="296180" cy="279049"/>
            </a:xfrm>
            <a:custGeom>
              <a:avLst/>
              <a:gdLst>
                <a:gd name="connsiteX0" fmla="*/ 39597 w 296180"/>
                <a:gd name="connsiteY0" fmla="*/ 0 h 279049"/>
                <a:gd name="connsiteX1" fmla="*/ 1760 w 296180"/>
                <a:gd name="connsiteY1" fmla="*/ 151349 h 279049"/>
                <a:gd name="connsiteX2" fmla="*/ 1760 w 296180"/>
                <a:gd name="connsiteY2" fmla="*/ 152531 h 279049"/>
                <a:gd name="connsiteX3" fmla="*/ 1760 w 296180"/>
                <a:gd name="connsiteY3" fmla="*/ 153714 h 279049"/>
                <a:gd name="connsiteX4" fmla="*/ 11219 w 296180"/>
                <a:gd name="connsiteY4" fmla="*/ 206922 h 279049"/>
                <a:gd name="connsiteX5" fmla="*/ 63245 w 296180"/>
                <a:gd name="connsiteY5" fmla="*/ 279050 h 279049"/>
                <a:gd name="connsiteX6" fmla="*/ 296180 w 296180"/>
                <a:gd name="connsiteY6" fmla="*/ 108782 h 279049"/>
                <a:gd name="connsiteX7" fmla="*/ 244154 w 296180"/>
                <a:gd name="connsiteY7" fmla="*/ 36655 h 279049"/>
                <a:gd name="connsiteX8" fmla="*/ 39597 w 296180"/>
                <a:gd name="connsiteY8" fmla="*/ 0 h 279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6180" h="279049">
                  <a:moveTo>
                    <a:pt x="39597" y="0"/>
                  </a:moveTo>
                  <a:cubicBezTo>
                    <a:pt x="25408" y="49661"/>
                    <a:pt x="7672" y="104052"/>
                    <a:pt x="1760" y="151349"/>
                  </a:cubicBezTo>
                  <a:lnTo>
                    <a:pt x="1760" y="152531"/>
                  </a:lnTo>
                  <a:lnTo>
                    <a:pt x="1760" y="153714"/>
                  </a:lnTo>
                  <a:cubicBezTo>
                    <a:pt x="-1788" y="171450"/>
                    <a:pt x="-605" y="191551"/>
                    <a:pt x="11219" y="206922"/>
                  </a:cubicBezTo>
                  <a:lnTo>
                    <a:pt x="63245" y="279050"/>
                  </a:lnTo>
                  <a:lnTo>
                    <a:pt x="296180" y="108782"/>
                  </a:lnTo>
                  <a:lnTo>
                    <a:pt x="244154" y="36655"/>
                  </a:lnTo>
                  <a:cubicBezTo>
                    <a:pt x="218141" y="3547"/>
                    <a:pt x="105812" y="1182"/>
                    <a:pt x="39597" y="0"/>
                  </a:cubicBezTo>
                  <a:close/>
                </a:path>
              </a:pathLst>
            </a:custGeom>
            <a:solidFill>
              <a:srgbClr val="FFFFFF"/>
            </a:solidFill>
            <a:ln w="118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0" name="Freeform: Shape 12">
              <a:extLst>
                <a:ext uri="{FF2B5EF4-FFF2-40B4-BE49-F238E27FC236}">
                  <a16:creationId xmlns:a16="http://schemas.microsoft.com/office/drawing/2014/main" id="{29D512D5-BC40-4C4B-984C-FAFBCC27B19D}"/>
                </a:ext>
              </a:extLst>
            </p:cNvPr>
            <p:cNvSpPr/>
            <p:nvPr/>
          </p:nvSpPr>
          <p:spPr>
            <a:xfrm>
              <a:off x="6540587" y="2978500"/>
              <a:ext cx="295958" cy="279049"/>
            </a:xfrm>
            <a:custGeom>
              <a:avLst/>
              <a:gdLst>
                <a:gd name="connsiteX0" fmla="*/ 256584 w 295958"/>
                <a:gd name="connsiteY0" fmla="*/ 0 h 279049"/>
                <a:gd name="connsiteX1" fmla="*/ 53209 w 295958"/>
                <a:gd name="connsiteY1" fmla="*/ 36655 h 279049"/>
                <a:gd name="connsiteX2" fmla="*/ 0 w 295958"/>
                <a:gd name="connsiteY2" fmla="*/ 108782 h 279049"/>
                <a:gd name="connsiteX3" fmla="*/ 232935 w 295958"/>
                <a:gd name="connsiteY3" fmla="*/ 279050 h 279049"/>
                <a:gd name="connsiteX4" fmla="*/ 284962 w 295958"/>
                <a:gd name="connsiteY4" fmla="*/ 206922 h 279049"/>
                <a:gd name="connsiteX5" fmla="*/ 294421 w 295958"/>
                <a:gd name="connsiteY5" fmla="*/ 153714 h 279049"/>
                <a:gd name="connsiteX6" fmla="*/ 294421 w 295958"/>
                <a:gd name="connsiteY6" fmla="*/ 152531 h 279049"/>
                <a:gd name="connsiteX7" fmla="*/ 294421 w 295958"/>
                <a:gd name="connsiteY7" fmla="*/ 151349 h 279049"/>
                <a:gd name="connsiteX8" fmla="*/ 256584 w 295958"/>
                <a:gd name="connsiteY8" fmla="*/ 0 h 279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5958" h="279049">
                  <a:moveTo>
                    <a:pt x="256584" y="0"/>
                  </a:moveTo>
                  <a:cubicBezTo>
                    <a:pt x="190369" y="1182"/>
                    <a:pt x="78039" y="3547"/>
                    <a:pt x="53209" y="36655"/>
                  </a:cubicBezTo>
                  <a:lnTo>
                    <a:pt x="0" y="108782"/>
                  </a:lnTo>
                  <a:lnTo>
                    <a:pt x="232935" y="279050"/>
                  </a:lnTo>
                  <a:lnTo>
                    <a:pt x="284962" y="206922"/>
                  </a:lnTo>
                  <a:cubicBezTo>
                    <a:pt x="295603" y="191551"/>
                    <a:pt x="297968" y="172632"/>
                    <a:pt x="294421" y="153714"/>
                  </a:cubicBezTo>
                  <a:lnTo>
                    <a:pt x="294421" y="152531"/>
                  </a:lnTo>
                  <a:lnTo>
                    <a:pt x="294421" y="151349"/>
                  </a:lnTo>
                  <a:cubicBezTo>
                    <a:pt x="288509" y="104052"/>
                    <a:pt x="270773" y="49661"/>
                    <a:pt x="256584" y="0"/>
                  </a:cubicBezTo>
                  <a:close/>
                </a:path>
              </a:pathLst>
            </a:custGeom>
            <a:solidFill>
              <a:srgbClr val="FFFFFF"/>
            </a:solidFill>
            <a:ln w="118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sp>
        <p:nvSpPr>
          <p:cNvPr id="11" name="Freeform: Shape 16">
            <a:extLst>
              <a:ext uri="{FF2B5EF4-FFF2-40B4-BE49-F238E27FC236}">
                <a16:creationId xmlns:a16="http://schemas.microsoft.com/office/drawing/2014/main" id="{43495554-2D0C-4ED4-835D-BC60FA4C99F8}"/>
              </a:ext>
            </a:extLst>
          </p:cNvPr>
          <p:cNvSpPr/>
          <p:nvPr/>
        </p:nvSpPr>
        <p:spPr>
          <a:xfrm>
            <a:off x="5948959" y="2617627"/>
            <a:ext cx="297741" cy="247711"/>
          </a:xfrm>
          <a:custGeom>
            <a:avLst/>
            <a:gdLst>
              <a:gd name="connsiteX0" fmla="*/ 143072 w 288509"/>
              <a:gd name="connsiteY0" fmla="*/ 0 h 240030"/>
              <a:gd name="connsiteX1" fmla="*/ 0 w 288509"/>
              <a:gd name="connsiteY1" fmla="*/ 150167 h 240030"/>
              <a:gd name="connsiteX2" fmla="*/ 0 w 288509"/>
              <a:gd name="connsiteY2" fmla="*/ 240030 h 240030"/>
              <a:gd name="connsiteX3" fmla="*/ 288509 w 288509"/>
              <a:gd name="connsiteY3" fmla="*/ 240030 h 240030"/>
              <a:gd name="connsiteX4" fmla="*/ 288509 w 288509"/>
              <a:gd name="connsiteY4" fmla="*/ 150167 h 240030"/>
              <a:gd name="connsiteX5" fmla="*/ 264861 w 288509"/>
              <a:gd name="connsiteY5" fmla="*/ 101688 h 240030"/>
              <a:gd name="connsiteX6" fmla="*/ 263678 w 288509"/>
              <a:gd name="connsiteY6" fmla="*/ 100505 h 240030"/>
              <a:gd name="connsiteX7" fmla="*/ 262496 w 288509"/>
              <a:gd name="connsiteY7" fmla="*/ 99323 h 240030"/>
              <a:gd name="connsiteX8" fmla="*/ 143072 w 288509"/>
              <a:gd name="connsiteY8" fmla="*/ 0 h 2400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8509" h="240030">
                <a:moveTo>
                  <a:pt x="143072" y="0"/>
                </a:moveTo>
                <a:cubicBezTo>
                  <a:pt x="91046" y="40202"/>
                  <a:pt x="0" y="108782"/>
                  <a:pt x="0" y="150167"/>
                </a:cubicBezTo>
                <a:lnTo>
                  <a:pt x="0" y="240030"/>
                </a:lnTo>
                <a:lnTo>
                  <a:pt x="288509" y="240030"/>
                </a:lnTo>
                <a:lnTo>
                  <a:pt x="288509" y="150167"/>
                </a:lnTo>
                <a:cubicBezTo>
                  <a:pt x="288509" y="131248"/>
                  <a:pt x="277867" y="114694"/>
                  <a:pt x="264861" y="101688"/>
                </a:cubicBezTo>
                <a:lnTo>
                  <a:pt x="263678" y="100505"/>
                </a:lnTo>
                <a:lnTo>
                  <a:pt x="262496" y="99323"/>
                </a:lnTo>
                <a:cubicBezTo>
                  <a:pt x="229388" y="65033"/>
                  <a:pt x="183274" y="31925"/>
                  <a:pt x="143072" y="0"/>
                </a:cubicBezTo>
                <a:close/>
              </a:path>
            </a:pathLst>
          </a:custGeom>
          <a:solidFill>
            <a:srgbClr val="FFFFFF"/>
          </a:solidFill>
          <a:ln w="118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nvGrpSpPr>
          <p:cNvPr id="12" name="Group 18">
            <a:extLst>
              <a:ext uri="{FF2B5EF4-FFF2-40B4-BE49-F238E27FC236}">
                <a16:creationId xmlns:a16="http://schemas.microsoft.com/office/drawing/2014/main" id="{4F1A05E2-CF17-438C-9820-2D962DED6195}"/>
              </a:ext>
            </a:extLst>
          </p:cNvPr>
          <p:cNvGrpSpPr/>
          <p:nvPr/>
        </p:nvGrpSpPr>
        <p:grpSpPr>
          <a:xfrm>
            <a:off x="6319916" y="1582854"/>
            <a:ext cx="1614392" cy="1874307"/>
            <a:chOff x="6319916" y="1582854"/>
            <a:chExt cx="1614392" cy="1874307"/>
          </a:xfrm>
        </p:grpSpPr>
        <p:sp>
          <p:nvSpPr>
            <p:cNvPr id="13" name="Freeform: Shape 21">
              <a:extLst>
                <a:ext uri="{FF2B5EF4-FFF2-40B4-BE49-F238E27FC236}">
                  <a16:creationId xmlns:a16="http://schemas.microsoft.com/office/drawing/2014/main" id="{0C1B8AC7-FEE6-4898-A59C-31353D63D2C1}"/>
                </a:ext>
              </a:extLst>
            </p:cNvPr>
            <p:cNvSpPr/>
            <p:nvPr/>
          </p:nvSpPr>
          <p:spPr>
            <a:xfrm>
              <a:off x="6319916" y="3228974"/>
              <a:ext cx="291639" cy="228187"/>
            </a:xfrm>
            <a:custGeom>
              <a:avLst/>
              <a:gdLst>
                <a:gd name="connsiteX0" fmla="*/ 11824 w 282596"/>
                <a:gd name="connsiteY0" fmla="*/ 0 h 221111"/>
                <a:gd name="connsiteX1" fmla="*/ 282597 w 282596"/>
                <a:gd name="connsiteY1" fmla="*/ 198645 h 221111"/>
                <a:gd name="connsiteX2" fmla="*/ 248307 w 282596"/>
                <a:gd name="connsiteY2" fmla="*/ 221111 h 221111"/>
                <a:gd name="connsiteX3" fmla="*/ 0 w 282596"/>
                <a:gd name="connsiteY3" fmla="*/ 39020 h 221111"/>
                <a:gd name="connsiteX4" fmla="*/ 11824 w 282596"/>
                <a:gd name="connsiteY4" fmla="*/ 0 h 2211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2596" h="221111">
                  <a:moveTo>
                    <a:pt x="11824" y="0"/>
                  </a:moveTo>
                  <a:cubicBezTo>
                    <a:pt x="119424" y="41384"/>
                    <a:pt x="212834" y="111147"/>
                    <a:pt x="282597" y="198645"/>
                  </a:cubicBezTo>
                  <a:lnTo>
                    <a:pt x="248307" y="221111"/>
                  </a:lnTo>
                  <a:cubicBezTo>
                    <a:pt x="183274" y="140707"/>
                    <a:pt x="98140" y="76857"/>
                    <a:pt x="0" y="39020"/>
                  </a:cubicBezTo>
                  <a:lnTo>
                    <a:pt x="11824" y="0"/>
                  </a:lnTo>
                  <a:close/>
                </a:path>
              </a:pathLst>
            </a:custGeom>
            <a:solidFill>
              <a:schemeClr val="accent6"/>
            </a:solidFill>
            <a:ln w="118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4" name="Freeform: Shape 22">
              <a:extLst>
                <a:ext uri="{FF2B5EF4-FFF2-40B4-BE49-F238E27FC236}">
                  <a16:creationId xmlns:a16="http://schemas.microsoft.com/office/drawing/2014/main" id="{4B829AFA-F418-4465-A784-B63A9499EF0B}"/>
                </a:ext>
              </a:extLst>
            </p:cNvPr>
            <p:cNvSpPr/>
            <p:nvPr/>
          </p:nvSpPr>
          <p:spPr>
            <a:xfrm>
              <a:off x="6741278" y="1582854"/>
              <a:ext cx="1193030" cy="1189744"/>
            </a:xfrm>
            <a:custGeom>
              <a:avLst/>
              <a:gdLst>
                <a:gd name="connsiteX0" fmla="*/ 667700 w 1156036"/>
                <a:gd name="connsiteY0" fmla="*/ 1116199 h 1152853"/>
                <a:gd name="connsiteX1" fmla="*/ 543546 w 1156036"/>
                <a:gd name="connsiteY1" fmla="*/ 1129205 h 1152853"/>
                <a:gd name="connsiteX2" fmla="*/ 134432 w 1156036"/>
                <a:gd name="connsiteY2" fmla="*/ 1152854 h 1152853"/>
                <a:gd name="connsiteX3" fmla="*/ 30379 w 1156036"/>
                <a:gd name="connsiteY3" fmla="*/ 756745 h 1152853"/>
                <a:gd name="connsiteX4" fmla="*/ 4366 w 1156036"/>
                <a:gd name="connsiteY4" fmla="*/ 633774 h 1152853"/>
                <a:gd name="connsiteX5" fmla="*/ 35108 w 1156036"/>
                <a:gd name="connsiteY5" fmla="*/ 475330 h 1152853"/>
                <a:gd name="connsiteX6" fmla="*/ 381556 w 1156036"/>
                <a:gd name="connsiteY6" fmla="*/ 0 h 1152853"/>
                <a:gd name="connsiteX7" fmla="*/ 1156037 w 1156036"/>
                <a:gd name="connsiteY7" fmla="*/ 564011 h 1152853"/>
                <a:gd name="connsiteX8" fmla="*/ 809590 w 1156036"/>
                <a:gd name="connsiteY8" fmla="*/ 1040524 h 1152853"/>
                <a:gd name="connsiteX9" fmla="*/ 667700 w 1156036"/>
                <a:gd name="connsiteY9" fmla="*/ 1116199 h 11528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56036" h="1152853">
                  <a:moveTo>
                    <a:pt x="667700" y="1116199"/>
                  </a:moveTo>
                  <a:cubicBezTo>
                    <a:pt x="634592" y="1122111"/>
                    <a:pt x="590843" y="1126840"/>
                    <a:pt x="543546" y="1129205"/>
                  </a:cubicBezTo>
                  <a:cubicBezTo>
                    <a:pt x="461960" y="1133935"/>
                    <a:pt x="198282" y="1148124"/>
                    <a:pt x="134432" y="1152854"/>
                  </a:cubicBezTo>
                  <a:cubicBezTo>
                    <a:pt x="119060" y="1090186"/>
                    <a:pt x="51663" y="835967"/>
                    <a:pt x="30379" y="756745"/>
                  </a:cubicBezTo>
                  <a:cubicBezTo>
                    <a:pt x="18555" y="710631"/>
                    <a:pt x="9096" y="666881"/>
                    <a:pt x="4366" y="633774"/>
                  </a:cubicBezTo>
                  <a:cubicBezTo>
                    <a:pt x="-6276" y="575836"/>
                    <a:pt x="2001" y="519080"/>
                    <a:pt x="35108" y="475330"/>
                  </a:cubicBezTo>
                  <a:lnTo>
                    <a:pt x="381556" y="0"/>
                  </a:lnTo>
                  <a:lnTo>
                    <a:pt x="1156037" y="564011"/>
                  </a:lnTo>
                  <a:lnTo>
                    <a:pt x="809590" y="1040524"/>
                  </a:lnTo>
                  <a:cubicBezTo>
                    <a:pt x="777665" y="1083091"/>
                    <a:pt x="726821" y="1109104"/>
                    <a:pt x="667700" y="1116199"/>
                  </a:cubicBezTo>
                  <a:close/>
                </a:path>
              </a:pathLst>
            </a:custGeom>
            <a:solidFill>
              <a:schemeClr val="accent6"/>
            </a:solidFill>
            <a:ln w="118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5" name="Freeform: Shape 23">
              <a:extLst>
                <a:ext uri="{FF2B5EF4-FFF2-40B4-BE49-F238E27FC236}">
                  <a16:creationId xmlns:a16="http://schemas.microsoft.com/office/drawing/2014/main" id="{B98E93DA-2AB1-4B68-98CA-FB79259D9A8D}"/>
                </a:ext>
              </a:extLst>
            </p:cNvPr>
            <p:cNvSpPr/>
            <p:nvPr/>
          </p:nvSpPr>
          <p:spPr>
            <a:xfrm>
              <a:off x="6495632" y="2810427"/>
              <a:ext cx="408860" cy="392921"/>
            </a:xfrm>
            <a:custGeom>
              <a:avLst/>
              <a:gdLst>
                <a:gd name="connsiteX0" fmla="*/ 393744 w 396182"/>
                <a:gd name="connsiteY0" fmla="*/ 189186 h 380737"/>
                <a:gd name="connsiteX1" fmla="*/ 346447 w 396182"/>
                <a:gd name="connsiteY1" fmla="*/ 0 h 380737"/>
                <a:gd name="connsiteX2" fmla="*/ 76857 w 396182"/>
                <a:gd name="connsiteY2" fmla="*/ 55573 h 380737"/>
                <a:gd name="connsiteX3" fmla="*/ 2365 w 396182"/>
                <a:gd name="connsiteY3" fmla="*/ 158443 h 380737"/>
                <a:gd name="connsiteX4" fmla="*/ 0 w 396182"/>
                <a:gd name="connsiteY4" fmla="*/ 161991 h 380737"/>
                <a:gd name="connsiteX5" fmla="*/ 301516 w 396182"/>
                <a:gd name="connsiteY5" fmla="*/ 380737 h 380737"/>
                <a:gd name="connsiteX6" fmla="*/ 303880 w 396182"/>
                <a:gd name="connsiteY6" fmla="*/ 377190 h 380737"/>
                <a:gd name="connsiteX7" fmla="*/ 378373 w 396182"/>
                <a:gd name="connsiteY7" fmla="*/ 274320 h 380737"/>
                <a:gd name="connsiteX8" fmla="*/ 393744 w 396182"/>
                <a:gd name="connsiteY8" fmla="*/ 189186 h 380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6182" h="380737">
                  <a:moveTo>
                    <a:pt x="393744" y="189186"/>
                  </a:moveTo>
                  <a:cubicBezTo>
                    <a:pt x="387832" y="140707"/>
                    <a:pt x="359454" y="52026"/>
                    <a:pt x="346447" y="0"/>
                  </a:cubicBezTo>
                  <a:cubicBezTo>
                    <a:pt x="274320" y="4730"/>
                    <a:pt x="121789" y="-5912"/>
                    <a:pt x="76857" y="55573"/>
                  </a:cubicBezTo>
                  <a:lnTo>
                    <a:pt x="2365" y="158443"/>
                  </a:lnTo>
                  <a:lnTo>
                    <a:pt x="0" y="161991"/>
                  </a:lnTo>
                  <a:lnTo>
                    <a:pt x="301516" y="380737"/>
                  </a:lnTo>
                  <a:lnTo>
                    <a:pt x="303880" y="377190"/>
                  </a:lnTo>
                  <a:lnTo>
                    <a:pt x="378373" y="274320"/>
                  </a:lnTo>
                  <a:cubicBezTo>
                    <a:pt x="394926" y="250672"/>
                    <a:pt x="399656" y="219929"/>
                    <a:pt x="393744" y="189186"/>
                  </a:cubicBezTo>
                  <a:close/>
                </a:path>
              </a:pathLst>
            </a:custGeom>
            <a:solidFill>
              <a:schemeClr val="accent6"/>
            </a:solidFill>
            <a:ln w="118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useBgFill="1">
          <p:nvSpPr>
            <p:cNvPr id="16" name="Freeform: Shape 24">
              <a:extLst>
                <a:ext uri="{FF2B5EF4-FFF2-40B4-BE49-F238E27FC236}">
                  <a16:creationId xmlns:a16="http://schemas.microsoft.com/office/drawing/2014/main" id="{2AE9EF42-AC12-4821-A149-9290675BDFAB}"/>
                </a:ext>
              </a:extLst>
            </p:cNvPr>
            <p:cNvSpPr/>
            <p:nvPr/>
          </p:nvSpPr>
          <p:spPr>
            <a:xfrm>
              <a:off x="6555424" y="2854357"/>
              <a:ext cx="305429" cy="289199"/>
            </a:xfrm>
            <a:custGeom>
              <a:avLst/>
              <a:gdLst>
                <a:gd name="connsiteX0" fmla="*/ 255401 w 295958"/>
                <a:gd name="connsiteY0" fmla="*/ 0 h 280232"/>
                <a:gd name="connsiteX1" fmla="*/ 52026 w 295958"/>
                <a:gd name="connsiteY1" fmla="*/ 37837 h 280232"/>
                <a:gd name="connsiteX2" fmla="*/ 0 w 295958"/>
                <a:gd name="connsiteY2" fmla="*/ 109964 h 280232"/>
                <a:gd name="connsiteX3" fmla="*/ 232935 w 295958"/>
                <a:gd name="connsiteY3" fmla="*/ 280232 h 280232"/>
                <a:gd name="connsiteX4" fmla="*/ 284962 w 295958"/>
                <a:gd name="connsiteY4" fmla="*/ 208105 h 280232"/>
                <a:gd name="connsiteX5" fmla="*/ 294421 w 295958"/>
                <a:gd name="connsiteY5" fmla="*/ 154896 h 280232"/>
                <a:gd name="connsiteX6" fmla="*/ 294421 w 295958"/>
                <a:gd name="connsiteY6" fmla="*/ 153714 h 280232"/>
                <a:gd name="connsiteX7" fmla="*/ 294421 w 295958"/>
                <a:gd name="connsiteY7" fmla="*/ 152531 h 280232"/>
                <a:gd name="connsiteX8" fmla="*/ 255401 w 295958"/>
                <a:gd name="connsiteY8" fmla="*/ 0 h 280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5958" h="280232">
                  <a:moveTo>
                    <a:pt x="255401" y="0"/>
                  </a:moveTo>
                  <a:cubicBezTo>
                    <a:pt x="189186" y="1182"/>
                    <a:pt x="76857" y="3547"/>
                    <a:pt x="52026" y="37837"/>
                  </a:cubicBezTo>
                  <a:lnTo>
                    <a:pt x="0" y="109964"/>
                  </a:lnTo>
                  <a:lnTo>
                    <a:pt x="232935" y="280232"/>
                  </a:lnTo>
                  <a:lnTo>
                    <a:pt x="284962" y="208105"/>
                  </a:lnTo>
                  <a:cubicBezTo>
                    <a:pt x="295603" y="192733"/>
                    <a:pt x="297968" y="173815"/>
                    <a:pt x="294421" y="154896"/>
                  </a:cubicBezTo>
                  <a:lnTo>
                    <a:pt x="294421" y="153714"/>
                  </a:lnTo>
                  <a:lnTo>
                    <a:pt x="294421" y="152531"/>
                  </a:lnTo>
                  <a:cubicBezTo>
                    <a:pt x="288509" y="104052"/>
                    <a:pt x="269590" y="49661"/>
                    <a:pt x="255401" y="0"/>
                  </a:cubicBezTo>
                  <a:close/>
                </a:path>
              </a:pathLst>
            </a:custGeom>
            <a:ln w="118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7" name="Freeform: Shape 25">
              <a:extLst>
                <a:ext uri="{FF2B5EF4-FFF2-40B4-BE49-F238E27FC236}">
                  <a16:creationId xmlns:a16="http://schemas.microsoft.com/office/drawing/2014/main" id="{07619FB2-0557-4710-AA34-2AD0437A4570}"/>
                </a:ext>
              </a:extLst>
            </p:cNvPr>
            <p:cNvSpPr/>
            <p:nvPr/>
          </p:nvSpPr>
          <p:spPr>
            <a:xfrm>
              <a:off x="6504174" y="2485841"/>
              <a:ext cx="341670" cy="301109"/>
            </a:xfrm>
            <a:custGeom>
              <a:avLst/>
              <a:gdLst>
                <a:gd name="connsiteX0" fmla="*/ 288509 w 331075"/>
                <a:gd name="connsiteY0" fmla="*/ 138342 h 291772"/>
                <a:gd name="connsiteX1" fmla="*/ 331076 w 331075"/>
                <a:gd name="connsiteY1" fmla="*/ 286144 h 291772"/>
                <a:gd name="connsiteX2" fmla="*/ 102870 w 331075"/>
                <a:gd name="connsiteY2" fmla="*/ 263678 h 291772"/>
                <a:gd name="connsiteX3" fmla="*/ 3547 w 331075"/>
                <a:gd name="connsiteY3" fmla="*/ 191551 h 291772"/>
                <a:gd name="connsiteX4" fmla="*/ 0 w 331075"/>
                <a:gd name="connsiteY4" fmla="*/ 189186 h 291772"/>
                <a:gd name="connsiteX5" fmla="*/ 137160 w 331075"/>
                <a:gd name="connsiteY5" fmla="*/ 0 h 291772"/>
                <a:gd name="connsiteX6" fmla="*/ 140707 w 331075"/>
                <a:gd name="connsiteY6" fmla="*/ 2365 h 291772"/>
                <a:gd name="connsiteX7" fmla="*/ 240030 w 331075"/>
                <a:gd name="connsiteY7" fmla="*/ 74492 h 291772"/>
                <a:gd name="connsiteX8" fmla="*/ 288509 w 331075"/>
                <a:gd name="connsiteY8" fmla="*/ 138342 h 291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1075" h="291772">
                  <a:moveTo>
                    <a:pt x="288509" y="138342"/>
                  </a:moveTo>
                  <a:cubicBezTo>
                    <a:pt x="303881" y="176180"/>
                    <a:pt x="319252" y="244760"/>
                    <a:pt x="331076" y="286144"/>
                  </a:cubicBezTo>
                  <a:cubicBezTo>
                    <a:pt x="274320" y="287327"/>
                    <a:pt x="161991" y="307428"/>
                    <a:pt x="102870" y="263678"/>
                  </a:cubicBezTo>
                  <a:lnTo>
                    <a:pt x="3547" y="191551"/>
                  </a:lnTo>
                  <a:lnTo>
                    <a:pt x="0" y="189186"/>
                  </a:lnTo>
                  <a:lnTo>
                    <a:pt x="137160" y="0"/>
                  </a:lnTo>
                  <a:lnTo>
                    <a:pt x="140707" y="2365"/>
                  </a:lnTo>
                  <a:lnTo>
                    <a:pt x="240030" y="74492"/>
                  </a:lnTo>
                  <a:cubicBezTo>
                    <a:pt x="263679" y="91046"/>
                    <a:pt x="279050" y="113512"/>
                    <a:pt x="288509" y="138342"/>
                  </a:cubicBezTo>
                  <a:close/>
                </a:path>
              </a:pathLst>
            </a:custGeom>
            <a:solidFill>
              <a:schemeClr val="accent6"/>
            </a:solidFill>
            <a:ln w="118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8" name="Freeform: Shape 26">
              <a:extLst>
                <a:ext uri="{FF2B5EF4-FFF2-40B4-BE49-F238E27FC236}">
                  <a16:creationId xmlns:a16="http://schemas.microsoft.com/office/drawing/2014/main" id="{695B7F9C-32AD-4EDB-A749-9B759752AFB1}"/>
                </a:ext>
              </a:extLst>
            </p:cNvPr>
            <p:cNvSpPr/>
            <p:nvPr/>
          </p:nvSpPr>
          <p:spPr>
            <a:xfrm>
              <a:off x="6881231" y="2800870"/>
              <a:ext cx="341670" cy="299977"/>
            </a:xfrm>
            <a:custGeom>
              <a:avLst/>
              <a:gdLst>
                <a:gd name="connsiteX0" fmla="*/ 153714 w 331075"/>
                <a:gd name="connsiteY0" fmla="*/ 984 h 290675"/>
                <a:gd name="connsiteX1" fmla="*/ 0 w 331075"/>
                <a:gd name="connsiteY1" fmla="*/ 5714 h 290675"/>
                <a:gd name="connsiteX2" fmla="*/ 91046 w 331075"/>
                <a:gd name="connsiteY2" fmla="*/ 216183 h 290675"/>
                <a:gd name="connsiteX3" fmla="*/ 190369 w 331075"/>
                <a:gd name="connsiteY3" fmla="*/ 288311 h 290675"/>
                <a:gd name="connsiteX4" fmla="*/ 193916 w 331075"/>
                <a:gd name="connsiteY4" fmla="*/ 290675 h 290675"/>
                <a:gd name="connsiteX5" fmla="*/ 331076 w 331075"/>
                <a:gd name="connsiteY5" fmla="*/ 101489 h 290675"/>
                <a:gd name="connsiteX6" fmla="*/ 327529 w 331075"/>
                <a:gd name="connsiteY6" fmla="*/ 99124 h 290675"/>
                <a:gd name="connsiteX7" fmla="*/ 228206 w 331075"/>
                <a:gd name="connsiteY7" fmla="*/ 26997 h 290675"/>
                <a:gd name="connsiteX8" fmla="*/ 153714 w 331075"/>
                <a:gd name="connsiteY8" fmla="*/ 984 h 290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1075" h="290675">
                  <a:moveTo>
                    <a:pt x="153714" y="984"/>
                  </a:moveTo>
                  <a:cubicBezTo>
                    <a:pt x="113512" y="-2563"/>
                    <a:pt x="42567" y="4531"/>
                    <a:pt x="0" y="5714"/>
                  </a:cubicBezTo>
                  <a:cubicBezTo>
                    <a:pt x="15372" y="60105"/>
                    <a:pt x="31925" y="172434"/>
                    <a:pt x="91046" y="216183"/>
                  </a:cubicBezTo>
                  <a:lnTo>
                    <a:pt x="190369" y="288311"/>
                  </a:lnTo>
                  <a:lnTo>
                    <a:pt x="193916" y="290675"/>
                  </a:lnTo>
                  <a:lnTo>
                    <a:pt x="331076" y="101489"/>
                  </a:lnTo>
                  <a:lnTo>
                    <a:pt x="327529" y="99124"/>
                  </a:lnTo>
                  <a:lnTo>
                    <a:pt x="228206" y="26997"/>
                  </a:lnTo>
                  <a:cubicBezTo>
                    <a:pt x="205740" y="10443"/>
                    <a:pt x="179727" y="2166"/>
                    <a:pt x="153714" y="984"/>
                  </a:cubicBezTo>
                  <a:close/>
                </a:path>
              </a:pathLst>
            </a:custGeom>
            <a:solidFill>
              <a:schemeClr val="accent6"/>
            </a:solidFill>
            <a:ln w="118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9" name="Freeform: Shape 27">
              <a:extLst>
                <a:ext uri="{FF2B5EF4-FFF2-40B4-BE49-F238E27FC236}">
                  <a16:creationId xmlns:a16="http://schemas.microsoft.com/office/drawing/2014/main" id="{0893E164-70C2-44E6-AF92-61F40D3D4511}"/>
                </a:ext>
              </a:extLst>
            </p:cNvPr>
            <p:cNvSpPr/>
            <p:nvPr/>
          </p:nvSpPr>
          <p:spPr>
            <a:xfrm rot="18363993">
              <a:off x="6604775" y="3003604"/>
              <a:ext cx="56128" cy="219635"/>
            </a:xfrm>
            <a:custGeom>
              <a:avLst/>
              <a:gdLst>
                <a:gd name="connsiteX0" fmla="*/ 0 w 54388"/>
                <a:gd name="connsiteY0" fmla="*/ 0 h 212825"/>
                <a:gd name="connsiteX1" fmla="*/ 54389 w 54388"/>
                <a:gd name="connsiteY1" fmla="*/ 0 h 212825"/>
                <a:gd name="connsiteX2" fmla="*/ 54389 w 54388"/>
                <a:gd name="connsiteY2" fmla="*/ 212826 h 212825"/>
                <a:gd name="connsiteX3" fmla="*/ 0 w 54388"/>
                <a:gd name="connsiteY3" fmla="*/ 212826 h 212825"/>
              </a:gdLst>
              <a:ahLst/>
              <a:cxnLst>
                <a:cxn ang="0">
                  <a:pos x="connsiteX0" y="connsiteY0"/>
                </a:cxn>
                <a:cxn ang="0">
                  <a:pos x="connsiteX1" y="connsiteY1"/>
                </a:cxn>
                <a:cxn ang="0">
                  <a:pos x="connsiteX2" y="connsiteY2"/>
                </a:cxn>
                <a:cxn ang="0">
                  <a:pos x="connsiteX3" y="connsiteY3"/>
                </a:cxn>
              </a:cxnLst>
              <a:rect l="l" t="t" r="r" b="b"/>
              <a:pathLst>
                <a:path w="54388" h="212825">
                  <a:moveTo>
                    <a:pt x="0" y="0"/>
                  </a:moveTo>
                  <a:lnTo>
                    <a:pt x="54389" y="0"/>
                  </a:lnTo>
                  <a:lnTo>
                    <a:pt x="54389" y="212826"/>
                  </a:lnTo>
                  <a:lnTo>
                    <a:pt x="0" y="212826"/>
                  </a:lnTo>
                  <a:close/>
                </a:path>
              </a:pathLst>
            </a:custGeom>
            <a:solidFill>
              <a:schemeClr val="accent6"/>
            </a:solidFill>
            <a:ln w="118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0" name="Freeform: Shape 28">
              <a:extLst>
                <a:ext uri="{FF2B5EF4-FFF2-40B4-BE49-F238E27FC236}">
                  <a16:creationId xmlns:a16="http://schemas.microsoft.com/office/drawing/2014/main" id="{1677E654-6DA4-49DA-A3B0-B3F2416E6730}"/>
                </a:ext>
              </a:extLst>
            </p:cNvPr>
            <p:cNvSpPr/>
            <p:nvPr/>
          </p:nvSpPr>
          <p:spPr>
            <a:xfrm rot="18364751">
              <a:off x="6428770" y="3216942"/>
              <a:ext cx="235507" cy="28065"/>
            </a:xfrm>
            <a:custGeom>
              <a:avLst/>
              <a:gdLst>
                <a:gd name="connsiteX0" fmla="*/ 0 w 228204"/>
                <a:gd name="connsiteY0" fmla="*/ 0 h 27195"/>
                <a:gd name="connsiteX1" fmla="*/ 228205 w 228204"/>
                <a:gd name="connsiteY1" fmla="*/ 0 h 27195"/>
                <a:gd name="connsiteX2" fmla="*/ 228205 w 228204"/>
                <a:gd name="connsiteY2" fmla="*/ 27196 h 27195"/>
                <a:gd name="connsiteX3" fmla="*/ 0 w 228204"/>
                <a:gd name="connsiteY3" fmla="*/ 27196 h 27195"/>
              </a:gdLst>
              <a:ahLst/>
              <a:cxnLst>
                <a:cxn ang="0">
                  <a:pos x="connsiteX0" y="connsiteY0"/>
                </a:cxn>
                <a:cxn ang="0">
                  <a:pos x="connsiteX1" y="connsiteY1"/>
                </a:cxn>
                <a:cxn ang="0">
                  <a:pos x="connsiteX2" y="connsiteY2"/>
                </a:cxn>
                <a:cxn ang="0">
                  <a:pos x="connsiteX3" y="connsiteY3"/>
                </a:cxn>
              </a:cxnLst>
              <a:rect l="l" t="t" r="r" b="b"/>
              <a:pathLst>
                <a:path w="228204" h="27195">
                  <a:moveTo>
                    <a:pt x="0" y="0"/>
                  </a:moveTo>
                  <a:lnTo>
                    <a:pt x="228205" y="0"/>
                  </a:lnTo>
                  <a:lnTo>
                    <a:pt x="228205" y="27196"/>
                  </a:lnTo>
                  <a:lnTo>
                    <a:pt x="0" y="27196"/>
                  </a:lnTo>
                  <a:close/>
                </a:path>
              </a:pathLst>
            </a:custGeom>
            <a:solidFill>
              <a:schemeClr val="accent6"/>
            </a:solidFill>
            <a:ln w="118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grpSp>
        <p:nvGrpSpPr>
          <p:cNvPr id="21" name="Group 17">
            <a:extLst>
              <a:ext uri="{FF2B5EF4-FFF2-40B4-BE49-F238E27FC236}">
                <a16:creationId xmlns:a16="http://schemas.microsoft.com/office/drawing/2014/main" id="{5B175B49-2E59-40FF-AE52-11C51D05B52C}"/>
              </a:ext>
            </a:extLst>
          </p:cNvPr>
          <p:cNvGrpSpPr/>
          <p:nvPr/>
        </p:nvGrpSpPr>
        <p:grpSpPr>
          <a:xfrm>
            <a:off x="4258911" y="1582854"/>
            <a:ext cx="1613172" cy="1874307"/>
            <a:chOff x="4258911" y="1582854"/>
            <a:chExt cx="1613172" cy="1874307"/>
          </a:xfrm>
        </p:grpSpPr>
        <p:sp>
          <p:nvSpPr>
            <p:cNvPr id="22" name="Freeform: Shape 29">
              <a:extLst>
                <a:ext uri="{FF2B5EF4-FFF2-40B4-BE49-F238E27FC236}">
                  <a16:creationId xmlns:a16="http://schemas.microsoft.com/office/drawing/2014/main" id="{7676BF0A-F3D0-4977-A24C-E8060C099B6C}"/>
                </a:ext>
              </a:extLst>
            </p:cNvPr>
            <p:cNvSpPr/>
            <p:nvPr/>
          </p:nvSpPr>
          <p:spPr>
            <a:xfrm>
              <a:off x="5580443" y="3228974"/>
              <a:ext cx="291640" cy="228187"/>
            </a:xfrm>
            <a:custGeom>
              <a:avLst/>
              <a:gdLst>
                <a:gd name="connsiteX0" fmla="*/ 270773 w 282597"/>
                <a:gd name="connsiteY0" fmla="*/ 0 h 221111"/>
                <a:gd name="connsiteX1" fmla="*/ 0 w 282597"/>
                <a:gd name="connsiteY1" fmla="*/ 198645 h 221111"/>
                <a:gd name="connsiteX2" fmla="*/ 34290 w 282597"/>
                <a:gd name="connsiteY2" fmla="*/ 221111 h 221111"/>
                <a:gd name="connsiteX3" fmla="*/ 282597 w 282597"/>
                <a:gd name="connsiteY3" fmla="*/ 39020 h 221111"/>
                <a:gd name="connsiteX4" fmla="*/ 270773 w 282597"/>
                <a:gd name="connsiteY4" fmla="*/ 0 h 2211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2597" h="221111">
                  <a:moveTo>
                    <a:pt x="270773" y="0"/>
                  </a:moveTo>
                  <a:cubicBezTo>
                    <a:pt x="163173" y="41384"/>
                    <a:pt x="69763" y="111147"/>
                    <a:pt x="0" y="198645"/>
                  </a:cubicBezTo>
                  <a:lnTo>
                    <a:pt x="34290" y="221111"/>
                  </a:lnTo>
                  <a:cubicBezTo>
                    <a:pt x="99323" y="140707"/>
                    <a:pt x="184457" y="76857"/>
                    <a:pt x="282597" y="39020"/>
                  </a:cubicBezTo>
                  <a:lnTo>
                    <a:pt x="270773" y="0"/>
                  </a:lnTo>
                  <a:close/>
                </a:path>
              </a:pathLst>
            </a:custGeom>
            <a:solidFill>
              <a:schemeClr val="accent4"/>
            </a:solidFill>
            <a:ln w="118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3" name="Freeform: Shape 30">
              <a:extLst>
                <a:ext uri="{FF2B5EF4-FFF2-40B4-BE49-F238E27FC236}">
                  <a16:creationId xmlns:a16="http://schemas.microsoft.com/office/drawing/2014/main" id="{12159D89-7440-444E-A6B9-86AEBE619915}"/>
                </a:ext>
              </a:extLst>
            </p:cNvPr>
            <p:cNvSpPr/>
            <p:nvPr/>
          </p:nvSpPr>
          <p:spPr>
            <a:xfrm>
              <a:off x="4258911" y="1582854"/>
              <a:ext cx="1193030" cy="1189744"/>
            </a:xfrm>
            <a:custGeom>
              <a:avLst/>
              <a:gdLst>
                <a:gd name="connsiteX0" fmla="*/ 488337 w 1156036"/>
                <a:gd name="connsiteY0" fmla="*/ 1116199 h 1152853"/>
                <a:gd name="connsiteX1" fmla="*/ 612490 w 1156036"/>
                <a:gd name="connsiteY1" fmla="*/ 1129205 h 1152853"/>
                <a:gd name="connsiteX2" fmla="*/ 1021606 w 1156036"/>
                <a:gd name="connsiteY2" fmla="*/ 1152854 h 1152853"/>
                <a:gd name="connsiteX3" fmla="*/ 1125658 w 1156036"/>
                <a:gd name="connsiteY3" fmla="*/ 756745 h 1152853"/>
                <a:gd name="connsiteX4" fmla="*/ 1151671 w 1156036"/>
                <a:gd name="connsiteY4" fmla="*/ 633774 h 1152853"/>
                <a:gd name="connsiteX5" fmla="*/ 1120928 w 1156036"/>
                <a:gd name="connsiteY5" fmla="*/ 475330 h 1152853"/>
                <a:gd name="connsiteX6" fmla="*/ 774481 w 1156036"/>
                <a:gd name="connsiteY6" fmla="*/ 0 h 1152853"/>
                <a:gd name="connsiteX7" fmla="*/ 0 w 1156036"/>
                <a:gd name="connsiteY7" fmla="*/ 562829 h 1152853"/>
                <a:gd name="connsiteX8" fmla="*/ 346447 w 1156036"/>
                <a:gd name="connsiteY8" fmla="*/ 1039342 h 1152853"/>
                <a:gd name="connsiteX9" fmla="*/ 488337 w 1156036"/>
                <a:gd name="connsiteY9" fmla="*/ 1116199 h 11528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56036" h="1152853">
                  <a:moveTo>
                    <a:pt x="488337" y="1116199"/>
                  </a:moveTo>
                  <a:cubicBezTo>
                    <a:pt x="521444" y="1122111"/>
                    <a:pt x="565194" y="1126840"/>
                    <a:pt x="612490" y="1129205"/>
                  </a:cubicBezTo>
                  <a:cubicBezTo>
                    <a:pt x="694077" y="1133935"/>
                    <a:pt x="957755" y="1148124"/>
                    <a:pt x="1021606" y="1152854"/>
                  </a:cubicBezTo>
                  <a:cubicBezTo>
                    <a:pt x="1036977" y="1090186"/>
                    <a:pt x="1104375" y="835967"/>
                    <a:pt x="1125658" y="756745"/>
                  </a:cubicBezTo>
                  <a:cubicBezTo>
                    <a:pt x="1137482" y="710631"/>
                    <a:pt x="1146941" y="666881"/>
                    <a:pt x="1151671" y="633774"/>
                  </a:cubicBezTo>
                  <a:cubicBezTo>
                    <a:pt x="1162313" y="575836"/>
                    <a:pt x="1154036" y="519080"/>
                    <a:pt x="1120928" y="475330"/>
                  </a:cubicBezTo>
                  <a:lnTo>
                    <a:pt x="774481" y="0"/>
                  </a:lnTo>
                  <a:lnTo>
                    <a:pt x="0" y="562829"/>
                  </a:lnTo>
                  <a:lnTo>
                    <a:pt x="346447" y="1039342"/>
                  </a:lnTo>
                  <a:cubicBezTo>
                    <a:pt x="378372" y="1083091"/>
                    <a:pt x="429216" y="1109104"/>
                    <a:pt x="488337" y="1116199"/>
                  </a:cubicBezTo>
                  <a:close/>
                </a:path>
              </a:pathLst>
            </a:custGeom>
            <a:solidFill>
              <a:schemeClr val="accent4"/>
            </a:solidFill>
            <a:ln w="118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4" name="Freeform: Shape 31">
              <a:extLst>
                <a:ext uri="{FF2B5EF4-FFF2-40B4-BE49-F238E27FC236}">
                  <a16:creationId xmlns:a16="http://schemas.microsoft.com/office/drawing/2014/main" id="{D43A0330-8EB7-45E9-876F-0FEABE4C48C6}"/>
                </a:ext>
              </a:extLst>
            </p:cNvPr>
            <p:cNvSpPr/>
            <p:nvPr/>
          </p:nvSpPr>
          <p:spPr>
            <a:xfrm>
              <a:off x="5288728" y="2810427"/>
              <a:ext cx="408860" cy="392921"/>
            </a:xfrm>
            <a:custGeom>
              <a:avLst/>
              <a:gdLst>
                <a:gd name="connsiteX0" fmla="*/ 2439 w 396182"/>
                <a:gd name="connsiteY0" fmla="*/ 189186 h 380737"/>
                <a:gd name="connsiteX1" fmla="*/ 49735 w 396182"/>
                <a:gd name="connsiteY1" fmla="*/ 0 h 380737"/>
                <a:gd name="connsiteX2" fmla="*/ 319326 w 396182"/>
                <a:gd name="connsiteY2" fmla="*/ 55573 h 380737"/>
                <a:gd name="connsiteX3" fmla="*/ 393818 w 396182"/>
                <a:gd name="connsiteY3" fmla="*/ 158443 h 380737"/>
                <a:gd name="connsiteX4" fmla="*/ 396182 w 396182"/>
                <a:gd name="connsiteY4" fmla="*/ 161991 h 380737"/>
                <a:gd name="connsiteX5" fmla="*/ 94667 w 396182"/>
                <a:gd name="connsiteY5" fmla="*/ 380737 h 380737"/>
                <a:gd name="connsiteX6" fmla="*/ 92302 w 396182"/>
                <a:gd name="connsiteY6" fmla="*/ 377190 h 380737"/>
                <a:gd name="connsiteX7" fmla="*/ 17810 w 396182"/>
                <a:gd name="connsiteY7" fmla="*/ 274320 h 380737"/>
                <a:gd name="connsiteX8" fmla="*/ 2439 w 396182"/>
                <a:gd name="connsiteY8" fmla="*/ 189186 h 380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6182" h="380737">
                  <a:moveTo>
                    <a:pt x="2439" y="189186"/>
                  </a:moveTo>
                  <a:cubicBezTo>
                    <a:pt x="8351" y="140707"/>
                    <a:pt x="36729" y="52026"/>
                    <a:pt x="49735" y="0"/>
                  </a:cubicBezTo>
                  <a:cubicBezTo>
                    <a:pt x="121862" y="4730"/>
                    <a:pt x="274394" y="-5912"/>
                    <a:pt x="319326" y="55573"/>
                  </a:cubicBezTo>
                  <a:lnTo>
                    <a:pt x="393818" y="158443"/>
                  </a:lnTo>
                  <a:lnTo>
                    <a:pt x="396182" y="161991"/>
                  </a:lnTo>
                  <a:lnTo>
                    <a:pt x="94667" y="380737"/>
                  </a:lnTo>
                  <a:lnTo>
                    <a:pt x="92302" y="377190"/>
                  </a:lnTo>
                  <a:lnTo>
                    <a:pt x="17810" y="274320"/>
                  </a:lnTo>
                  <a:cubicBezTo>
                    <a:pt x="1256" y="250672"/>
                    <a:pt x="-3473" y="219929"/>
                    <a:pt x="2439" y="189186"/>
                  </a:cubicBezTo>
                  <a:close/>
                </a:path>
              </a:pathLst>
            </a:custGeom>
            <a:solidFill>
              <a:schemeClr val="accent4"/>
            </a:solidFill>
            <a:ln w="118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useBgFill="1">
          <p:nvSpPr>
            <p:cNvPr id="25" name="Freeform: Shape 32">
              <a:extLst>
                <a:ext uri="{FF2B5EF4-FFF2-40B4-BE49-F238E27FC236}">
                  <a16:creationId xmlns:a16="http://schemas.microsoft.com/office/drawing/2014/main" id="{C824C930-D8F7-4155-A320-E3A0F3A1DBB2}"/>
                </a:ext>
              </a:extLst>
            </p:cNvPr>
            <p:cNvSpPr/>
            <p:nvPr/>
          </p:nvSpPr>
          <p:spPr>
            <a:xfrm>
              <a:off x="5331146" y="2854357"/>
              <a:ext cx="305429" cy="289199"/>
            </a:xfrm>
            <a:custGeom>
              <a:avLst/>
              <a:gdLst>
                <a:gd name="connsiteX0" fmla="*/ 40557 w 295958"/>
                <a:gd name="connsiteY0" fmla="*/ 0 h 280232"/>
                <a:gd name="connsiteX1" fmla="*/ 243932 w 295958"/>
                <a:gd name="connsiteY1" fmla="*/ 37837 h 280232"/>
                <a:gd name="connsiteX2" fmla="*/ 295959 w 295958"/>
                <a:gd name="connsiteY2" fmla="*/ 109964 h 280232"/>
                <a:gd name="connsiteX3" fmla="*/ 63023 w 295958"/>
                <a:gd name="connsiteY3" fmla="*/ 280232 h 280232"/>
                <a:gd name="connsiteX4" fmla="*/ 10997 w 295958"/>
                <a:gd name="connsiteY4" fmla="*/ 208105 h 280232"/>
                <a:gd name="connsiteX5" fmla="*/ 1537 w 295958"/>
                <a:gd name="connsiteY5" fmla="*/ 154896 h 280232"/>
                <a:gd name="connsiteX6" fmla="*/ 1537 w 295958"/>
                <a:gd name="connsiteY6" fmla="*/ 153714 h 280232"/>
                <a:gd name="connsiteX7" fmla="*/ 1537 w 295958"/>
                <a:gd name="connsiteY7" fmla="*/ 152531 h 280232"/>
                <a:gd name="connsiteX8" fmla="*/ 40557 w 295958"/>
                <a:gd name="connsiteY8" fmla="*/ 0 h 280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5958" h="280232">
                  <a:moveTo>
                    <a:pt x="40557" y="0"/>
                  </a:moveTo>
                  <a:cubicBezTo>
                    <a:pt x="106772" y="1182"/>
                    <a:pt x="219102" y="3547"/>
                    <a:pt x="243932" y="37837"/>
                  </a:cubicBezTo>
                  <a:lnTo>
                    <a:pt x="295959" y="109964"/>
                  </a:lnTo>
                  <a:lnTo>
                    <a:pt x="63023" y="280232"/>
                  </a:lnTo>
                  <a:lnTo>
                    <a:pt x="10997" y="208105"/>
                  </a:lnTo>
                  <a:cubicBezTo>
                    <a:pt x="355" y="192733"/>
                    <a:pt x="-2010" y="173815"/>
                    <a:pt x="1537" y="154896"/>
                  </a:cubicBezTo>
                  <a:lnTo>
                    <a:pt x="1537" y="153714"/>
                  </a:lnTo>
                  <a:lnTo>
                    <a:pt x="1537" y="152531"/>
                  </a:lnTo>
                  <a:cubicBezTo>
                    <a:pt x="8632" y="104052"/>
                    <a:pt x="26368" y="49661"/>
                    <a:pt x="40557" y="0"/>
                  </a:cubicBezTo>
                  <a:close/>
                </a:path>
              </a:pathLst>
            </a:custGeom>
            <a:ln w="118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6" name="Freeform: Shape 33">
              <a:extLst>
                <a:ext uri="{FF2B5EF4-FFF2-40B4-BE49-F238E27FC236}">
                  <a16:creationId xmlns:a16="http://schemas.microsoft.com/office/drawing/2014/main" id="{864189E5-ED96-48E8-830D-0024696E90CD}"/>
                </a:ext>
              </a:extLst>
            </p:cNvPr>
            <p:cNvSpPr/>
            <p:nvPr/>
          </p:nvSpPr>
          <p:spPr>
            <a:xfrm>
              <a:off x="5347376" y="2485841"/>
              <a:ext cx="341670" cy="301109"/>
            </a:xfrm>
            <a:custGeom>
              <a:avLst/>
              <a:gdLst>
                <a:gd name="connsiteX0" fmla="*/ 42567 w 331075"/>
                <a:gd name="connsiteY0" fmla="*/ 138342 h 291772"/>
                <a:gd name="connsiteX1" fmla="*/ 0 w 331075"/>
                <a:gd name="connsiteY1" fmla="*/ 286144 h 291772"/>
                <a:gd name="connsiteX2" fmla="*/ 228206 w 331075"/>
                <a:gd name="connsiteY2" fmla="*/ 263678 h 291772"/>
                <a:gd name="connsiteX3" fmla="*/ 327529 w 331075"/>
                <a:gd name="connsiteY3" fmla="*/ 191551 h 291772"/>
                <a:gd name="connsiteX4" fmla="*/ 331076 w 331075"/>
                <a:gd name="connsiteY4" fmla="*/ 189186 h 291772"/>
                <a:gd name="connsiteX5" fmla="*/ 193916 w 331075"/>
                <a:gd name="connsiteY5" fmla="*/ 0 h 291772"/>
                <a:gd name="connsiteX6" fmla="*/ 190369 w 331075"/>
                <a:gd name="connsiteY6" fmla="*/ 2365 h 291772"/>
                <a:gd name="connsiteX7" fmla="*/ 91046 w 331075"/>
                <a:gd name="connsiteY7" fmla="*/ 74492 h 291772"/>
                <a:gd name="connsiteX8" fmla="*/ 42567 w 331075"/>
                <a:gd name="connsiteY8" fmla="*/ 138342 h 291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1075" h="291772">
                  <a:moveTo>
                    <a:pt x="42567" y="138342"/>
                  </a:moveTo>
                  <a:cubicBezTo>
                    <a:pt x="27195" y="176180"/>
                    <a:pt x="11824" y="244760"/>
                    <a:pt x="0" y="286144"/>
                  </a:cubicBezTo>
                  <a:cubicBezTo>
                    <a:pt x="56756" y="287327"/>
                    <a:pt x="169085" y="307428"/>
                    <a:pt x="228206" y="263678"/>
                  </a:cubicBezTo>
                  <a:lnTo>
                    <a:pt x="327529" y="191551"/>
                  </a:lnTo>
                  <a:lnTo>
                    <a:pt x="331076" y="189186"/>
                  </a:lnTo>
                  <a:lnTo>
                    <a:pt x="193916" y="0"/>
                  </a:lnTo>
                  <a:lnTo>
                    <a:pt x="190369" y="2365"/>
                  </a:lnTo>
                  <a:lnTo>
                    <a:pt x="91046" y="74492"/>
                  </a:lnTo>
                  <a:cubicBezTo>
                    <a:pt x="67398" y="91046"/>
                    <a:pt x="50844" y="113512"/>
                    <a:pt x="42567" y="138342"/>
                  </a:cubicBezTo>
                  <a:close/>
                </a:path>
              </a:pathLst>
            </a:custGeom>
            <a:solidFill>
              <a:schemeClr val="accent4"/>
            </a:solidFill>
            <a:ln w="118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7" name="Freeform: Shape 34">
              <a:extLst>
                <a:ext uri="{FF2B5EF4-FFF2-40B4-BE49-F238E27FC236}">
                  <a16:creationId xmlns:a16="http://schemas.microsoft.com/office/drawing/2014/main" id="{473317C0-B3BD-4301-94CA-2AC60ADB5F6F}"/>
                </a:ext>
              </a:extLst>
            </p:cNvPr>
            <p:cNvSpPr/>
            <p:nvPr/>
          </p:nvSpPr>
          <p:spPr>
            <a:xfrm>
              <a:off x="4969097" y="2800870"/>
              <a:ext cx="341670" cy="299977"/>
            </a:xfrm>
            <a:custGeom>
              <a:avLst/>
              <a:gdLst>
                <a:gd name="connsiteX0" fmla="*/ 177362 w 331075"/>
                <a:gd name="connsiteY0" fmla="*/ 984 h 290675"/>
                <a:gd name="connsiteX1" fmla="*/ 331076 w 331075"/>
                <a:gd name="connsiteY1" fmla="*/ 5714 h 290675"/>
                <a:gd name="connsiteX2" fmla="*/ 240030 w 331075"/>
                <a:gd name="connsiteY2" fmla="*/ 216183 h 290675"/>
                <a:gd name="connsiteX3" fmla="*/ 140707 w 331075"/>
                <a:gd name="connsiteY3" fmla="*/ 288311 h 290675"/>
                <a:gd name="connsiteX4" fmla="*/ 137160 w 331075"/>
                <a:gd name="connsiteY4" fmla="*/ 290675 h 290675"/>
                <a:gd name="connsiteX5" fmla="*/ 0 w 331075"/>
                <a:gd name="connsiteY5" fmla="*/ 101489 h 290675"/>
                <a:gd name="connsiteX6" fmla="*/ 3547 w 331075"/>
                <a:gd name="connsiteY6" fmla="*/ 99124 h 290675"/>
                <a:gd name="connsiteX7" fmla="*/ 102870 w 331075"/>
                <a:gd name="connsiteY7" fmla="*/ 26997 h 290675"/>
                <a:gd name="connsiteX8" fmla="*/ 177362 w 331075"/>
                <a:gd name="connsiteY8" fmla="*/ 984 h 290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1075" h="290675">
                  <a:moveTo>
                    <a:pt x="177362" y="984"/>
                  </a:moveTo>
                  <a:cubicBezTo>
                    <a:pt x="217564" y="-2563"/>
                    <a:pt x="288509" y="4531"/>
                    <a:pt x="331076" y="5714"/>
                  </a:cubicBezTo>
                  <a:cubicBezTo>
                    <a:pt x="315705" y="60105"/>
                    <a:pt x="299151" y="172434"/>
                    <a:pt x="240030" y="216183"/>
                  </a:cubicBezTo>
                  <a:lnTo>
                    <a:pt x="140707" y="288311"/>
                  </a:lnTo>
                  <a:lnTo>
                    <a:pt x="137160" y="290675"/>
                  </a:lnTo>
                  <a:lnTo>
                    <a:pt x="0" y="101489"/>
                  </a:lnTo>
                  <a:lnTo>
                    <a:pt x="3547" y="99124"/>
                  </a:lnTo>
                  <a:lnTo>
                    <a:pt x="102870" y="26997"/>
                  </a:lnTo>
                  <a:cubicBezTo>
                    <a:pt x="125336" y="10443"/>
                    <a:pt x="152531" y="2166"/>
                    <a:pt x="177362" y="984"/>
                  </a:cubicBezTo>
                  <a:close/>
                </a:path>
              </a:pathLst>
            </a:custGeom>
            <a:solidFill>
              <a:schemeClr val="accent4"/>
            </a:solidFill>
            <a:ln w="118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8" name="Freeform: Shape 35">
              <a:extLst>
                <a:ext uri="{FF2B5EF4-FFF2-40B4-BE49-F238E27FC236}">
                  <a16:creationId xmlns:a16="http://schemas.microsoft.com/office/drawing/2014/main" id="{A65F8E98-2A41-4989-86AF-5C982B192BF7}"/>
                </a:ext>
              </a:extLst>
            </p:cNvPr>
            <p:cNvSpPr/>
            <p:nvPr/>
          </p:nvSpPr>
          <p:spPr>
            <a:xfrm rot="19436007">
              <a:off x="5449374" y="3083870"/>
              <a:ext cx="219635" cy="56128"/>
            </a:xfrm>
            <a:custGeom>
              <a:avLst/>
              <a:gdLst>
                <a:gd name="connsiteX0" fmla="*/ 0 w 212825"/>
                <a:gd name="connsiteY0" fmla="*/ 0 h 54388"/>
                <a:gd name="connsiteX1" fmla="*/ 212826 w 212825"/>
                <a:gd name="connsiteY1" fmla="*/ 0 h 54388"/>
                <a:gd name="connsiteX2" fmla="*/ 212826 w 212825"/>
                <a:gd name="connsiteY2" fmla="*/ 54389 h 54388"/>
                <a:gd name="connsiteX3" fmla="*/ 0 w 212825"/>
                <a:gd name="connsiteY3" fmla="*/ 54389 h 54388"/>
              </a:gdLst>
              <a:ahLst/>
              <a:cxnLst>
                <a:cxn ang="0">
                  <a:pos x="connsiteX0" y="connsiteY0"/>
                </a:cxn>
                <a:cxn ang="0">
                  <a:pos x="connsiteX1" y="connsiteY1"/>
                </a:cxn>
                <a:cxn ang="0">
                  <a:pos x="connsiteX2" y="connsiteY2"/>
                </a:cxn>
                <a:cxn ang="0">
                  <a:pos x="connsiteX3" y="connsiteY3"/>
                </a:cxn>
              </a:cxnLst>
              <a:rect l="l" t="t" r="r" b="b"/>
              <a:pathLst>
                <a:path w="212825" h="54388">
                  <a:moveTo>
                    <a:pt x="0" y="0"/>
                  </a:moveTo>
                  <a:lnTo>
                    <a:pt x="212826" y="0"/>
                  </a:lnTo>
                  <a:lnTo>
                    <a:pt x="212826" y="54389"/>
                  </a:lnTo>
                  <a:lnTo>
                    <a:pt x="0" y="54389"/>
                  </a:lnTo>
                  <a:close/>
                </a:path>
              </a:pathLst>
            </a:custGeom>
            <a:solidFill>
              <a:schemeClr val="accent4"/>
            </a:solidFill>
            <a:ln w="118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9" name="Freeform: Shape 36">
              <a:extLst>
                <a:ext uri="{FF2B5EF4-FFF2-40B4-BE49-F238E27FC236}">
                  <a16:creationId xmlns:a16="http://schemas.microsoft.com/office/drawing/2014/main" id="{79ABD8FF-9214-4BB3-9805-8E7EF94BB267}"/>
                </a:ext>
              </a:extLst>
            </p:cNvPr>
            <p:cNvSpPr/>
            <p:nvPr/>
          </p:nvSpPr>
          <p:spPr>
            <a:xfrm rot="19435249">
              <a:off x="5631804" y="3113223"/>
              <a:ext cx="28065" cy="235507"/>
            </a:xfrm>
            <a:custGeom>
              <a:avLst/>
              <a:gdLst>
                <a:gd name="connsiteX0" fmla="*/ 0 w 27195"/>
                <a:gd name="connsiteY0" fmla="*/ 0 h 228204"/>
                <a:gd name="connsiteX1" fmla="*/ 27195 w 27195"/>
                <a:gd name="connsiteY1" fmla="*/ 0 h 228204"/>
                <a:gd name="connsiteX2" fmla="*/ 27195 w 27195"/>
                <a:gd name="connsiteY2" fmla="*/ 228205 h 228204"/>
                <a:gd name="connsiteX3" fmla="*/ 0 w 27195"/>
                <a:gd name="connsiteY3" fmla="*/ 228205 h 228204"/>
              </a:gdLst>
              <a:ahLst/>
              <a:cxnLst>
                <a:cxn ang="0">
                  <a:pos x="connsiteX0" y="connsiteY0"/>
                </a:cxn>
                <a:cxn ang="0">
                  <a:pos x="connsiteX1" y="connsiteY1"/>
                </a:cxn>
                <a:cxn ang="0">
                  <a:pos x="connsiteX2" y="connsiteY2"/>
                </a:cxn>
                <a:cxn ang="0">
                  <a:pos x="connsiteX3" y="connsiteY3"/>
                </a:cxn>
              </a:cxnLst>
              <a:rect l="l" t="t" r="r" b="b"/>
              <a:pathLst>
                <a:path w="27195" h="228204">
                  <a:moveTo>
                    <a:pt x="0" y="0"/>
                  </a:moveTo>
                  <a:lnTo>
                    <a:pt x="27195" y="0"/>
                  </a:lnTo>
                  <a:lnTo>
                    <a:pt x="27195" y="228205"/>
                  </a:lnTo>
                  <a:lnTo>
                    <a:pt x="0" y="228205"/>
                  </a:lnTo>
                  <a:close/>
                </a:path>
              </a:pathLst>
            </a:custGeom>
            <a:solidFill>
              <a:schemeClr val="accent4"/>
            </a:solidFill>
            <a:ln w="118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grpSp>
        <p:nvGrpSpPr>
          <p:cNvPr id="30" name="Group 19">
            <a:extLst>
              <a:ext uri="{FF2B5EF4-FFF2-40B4-BE49-F238E27FC236}">
                <a16:creationId xmlns:a16="http://schemas.microsoft.com/office/drawing/2014/main" id="{8F6B656A-8A54-4474-97EC-6464A96F55AF}"/>
              </a:ext>
            </a:extLst>
          </p:cNvPr>
          <p:cNvGrpSpPr/>
          <p:nvPr/>
        </p:nvGrpSpPr>
        <p:grpSpPr>
          <a:xfrm>
            <a:off x="6618878" y="2632270"/>
            <a:ext cx="1953622" cy="1194626"/>
            <a:chOff x="6618878" y="2632270"/>
            <a:chExt cx="1953622" cy="1194626"/>
          </a:xfrm>
        </p:grpSpPr>
        <p:sp>
          <p:nvSpPr>
            <p:cNvPr id="31" name="Freeform: Shape 37">
              <a:extLst>
                <a:ext uri="{FF2B5EF4-FFF2-40B4-BE49-F238E27FC236}">
                  <a16:creationId xmlns:a16="http://schemas.microsoft.com/office/drawing/2014/main" id="{1E527457-3584-40F1-8F88-22749BAC59E3}"/>
                </a:ext>
              </a:extLst>
            </p:cNvPr>
            <p:cNvSpPr/>
            <p:nvPr/>
          </p:nvSpPr>
          <p:spPr>
            <a:xfrm>
              <a:off x="6618878" y="3488887"/>
              <a:ext cx="137888" cy="330688"/>
            </a:xfrm>
            <a:custGeom>
              <a:avLst/>
              <a:gdLst>
                <a:gd name="connsiteX0" fmla="*/ 31925 w 133612"/>
                <a:gd name="connsiteY0" fmla="*/ 0 h 320434"/>
                <a:gd name="connsiteX1" fmla="*/ 133613 w 133612"/>
                <a:gd name="connsiteY1" fmla="*/ 320434 h 320434"/>
                <a:gd name="connsiteX2" fmla="*/ 92228 w 133612"/>
                <a:gd name="connsiteY2" fmla="*/ 319252 h 320434"/>
                <a:gd name="connsiteX3" fmla="*/ 0 w 133612"/>
                <a:gd name="connsiteY3" fmla="*/ 24831 h 320434"/>
                <a:gd name="connsiteX4" fmla="*/ 31925 w 133612"/>
                <a:gd name="connsiteY4" fmla="*/ 0 h 320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612" h="320434">
                  <a:moveTo>
                    <a:pt x="31925" y="0"/>
                  </a:moveTo>
                  <a:cubicBezTo>
                    <a:pt x="94593" y="96958"/>
                    <a:pt x="128883" y="208105"/>
                    <a:pt x="133613" y="320434"/>
                  </a:cubicBezTo>
                  <a:lnTo>
                    <a:pt x="92228" y="319252"/>
                  </a:lnTo>
                  <a:cubicBezTo>
                    <a:pt x="87499" y="216382"/>
                    <a:pt x="55573" y="114694"/>
                    <a:pt x="0" y="24831"/>
                  </a:cubicBezTo>
                  <a:lnTo>
                    <a:pt x="31925" y="0"/>
                  </a:lnTo>
                  <a:close/>
                </a:path>
              </a:pathLst>
            </a:custGeom>
            <a:solidFill>
              <a:schemeClr val="accent2">
                <a:lumMod val="75000"/>
              </a:schemeClr>
            </a:solidFill>
            <a:ln w="118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2" name="Freeform: Shape 38">
              <a:extLst>
                <a:ext uri="{FF2B5EF4-FFF2-40B4-BE49-F238E27FC236}">
                  <a16:creationId xmlns:a16="http://schemas.microsoft.com/office/drawing/2014/main" id="{F3887ABE-D060-44FC-934C-6AFDA1DD8E21}"/>
                </a:ext>
              </a:extLst>
            </p:cNvPr>
            <p:cNvSpPr/>
            <p:nvPr/>
          </p:nvSpPr>
          <p:spPr>
            <a:xfrm>
              <a:off x="7362011" y="2632270"/>
              <a:ext cx="1210489" cy="1135565"/>
            </a:xfrm>
            <a:custGeom>
              <a:avLst/>
              <a:gdLst>
                <a:gd name="connsiteX0" fmla="*/ 452864 w 1172954"/>
                <a:gd name="connsiteY0" fmla="*/ 1071267 h 1100354"/>
                <a:gd name="connsiteX1" fmla="*/ 344082 w 1172954"/>
                <a:gd name="connsiteY1" fmla="*/ 1008599 h 1100354"/>
                <a:gd name="connsiteX2" fmla="*/ 0 w 1172954"/>
                <a:gd name="connsiteY2" fmla="*/ 785123 h 1100354"/>
                <a:gd name="connsiteX3" fmla="*/ 150166 w 1172954"/>
                <a:gd name="connsiteY3" fmla="*/ 404386 h 1100354"/>
                <a:gd name="connsiteX4" fmla="*/ 202192 w 1172954"/>
                <a:gd name="connsiteY4" fmla="*/ 289691 h 1100354"/>
                <a:gd name="connsiteX5" fmla="*/ 320434 w 1172954"/>
                <a:gd name="connsiteY5" fmla="*/ 179727 h 1100354"/>
                <a:gd name="connsiteX6" fmla="*/ 880898 w 1172954"/>
                <a:gd name="connsiteY6" fmla="*/ 0 h 1100354"/>
                <a:gd name="connsiteX7" fmla="*/ 1172954 w 1172954"/>
                <a:gd name="connsiteY7" fmla="*/ 912824 h 1100354"/>
                <a:gd name="connsiteX8" fmla="*/ 612490 w 1172954"/>
                <a:gd name="connsiteY8" fmla="*/ 1091368 h 1100354"/>
                <a:gd name="connsiteX9" fmla="*/ 452864 w 1172954"/>
                <a:gd name="connsiteY9" fmla="*/ 1071267 h 11003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72954" h="1100354">
                  <a:moveTo>
                    <a:pt x="452864" y="1071267"/>
                  </a:moveTo>
                  <a:cubicBezTo>
                    <a:pt x="422122" y="1057078"/>
                    <a:pt x="384284" y="1034612"/>
                    <a:pt x="344082" y="1008599"/>
                  </a:cubicBezTo>
                  <a:cubicBezTo>
                    <a:pt x="275502" y="963667"/>
                    <a:pt x="54391" y="819413"/>
                    <a:pt x="0" y="785123"/>
                  </a:cubicBezTo>
                  <a:cubicBezTo>
                    <a:pt x="23648" y="726002"/>
                    <a:pt x="120606" y="480060"/>
                    <a:pt x="150166" y="404386"/>
                  </a:cubicBezTo>
                  <a:cubicBezTo>
                    <a:pt x="167903" y="360636"/>
                    <a:pt x="185639" y="319252"/>
                    <a:pt x="202192" y="289691"/>
                  </a:cubicBezTo>
                  <a:cubicBezTo>
                    <a:pt x="228206" y="236483"/>
                    <a:pt x="268408" y="196281"/>
                    <a:pt x="320434" y="179727"/>
                  </a:cubicBezTo>
                  <a:lnTo>
                    <a:pt x="880898" y="0"/>
                  </a:lnTo>
                  <a:lnTo>
                    <a:pt x="1172954" y="912824"/>
                  </a:lnTo>
                  <a:lnTo>
                    <a:pt x="612490" y="1091368"/>
                  </a:lnTo>
                  <a:cubicBezTo>
                    <a:pt x="560464" y="1109104"/>
                    <a:pt x="504890" y="1099645"/>
                    <a:pt x="452864" y="1071267"/>
                  </a:cubicBezTo>
                  <a:close/>
                </a:path>
              </a:pathLst>
            </a:custGeom>
            <a:solidFill>
              <a:schemeClr val="accent2">
                <a:lumMod val="75000"/>
              </a:schemeClr>
            </a:solidFill>
            <a:ln w="118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3" name="Freeform: Shape 39">
              <a:extLst>
                <a:ext uri="{FF2B5EF4-FFF2-40B4-BE49-F238E27FC236}">
                  <a16:creationId xmlns:a16="http://schemas.microsoft.com/office/drawing/2014/main" id="{09F328CF-03DA-47FE-A062-E624803056AB}"/>
                </a:ext>
              </a:extLst>
            </p:cNvPr>
            <p:cNvSpPr/>
            <p:nvPr/>
          </p:nvSpPr>
          <p:spPr>
            <a:xfrm>
              <a:off x="6931261" y="3335388"/>
              <a:ext cx="386820" cy="410970"/>
            </a:xfrm>
            <a:custGeom>
              <a:avLst/>
              <a:gdLst>
                <a:gd name="connsiteX0" fmla="*/ 301516 w 374825"/>
                <a:gd name="connsiteY0" fmla="*/ 298905 h 398227"/>
                <a:gd name="connsiteX1" fmla="*/ 374825 w 374825"/>
                <a:gd name="connsiteY1" fmla="*/ 117996 h 398227"/>
                <a:gd name="connsiteX2" fmla="*/ 124153 w 374825"/>
                <a:gd name="connsiteY2" fmla="*/ 3301 h 398227"/>
                <a:gd name="connsiteX3" fmla="*/ 3547 w 374825"/>
                <a:gd name="connsiteY3" fmla="*/ 42321 h 398227"/>
                <a:gd name="connsiteX4" fmla="*/ 0 w 374825"/>
                <a:gd name="connsiteY4" fmla="*/ 43503 h 398227"/>
                <a:gd name="connsiteX5" fmla="*/ 113512 w 374825"/>
                <a:gd name="connsiteY5" fmla="*/ 398228 h 398227"/>
                <a:gd name="connsiteX6" fmla="*/ 118241 w 374825"/>
                <a:gd name="connsiteY6" fmla="*/ 397045 h 398227"/>
                <a:gd name="connsiteX7" fmla="*/ 238848 w 374825"/>
                <a:gd name="connsiteY7" fmla="*/ 358026 h 398227"/>
                <a:gd name="connsiteX8" fmla="*/ 301516 w 374825"/>
                <a:gd name="connsiteY8" fmla="*/ 298905 h 398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4825" h="398227">
                  <a:moveTo>
                    <a:pt x="301516" y="298905"/>
                  </a:moveTo>
                  <a:cubicBezTo>
                    <a:pt x="326346" y="256338"/>
                    <a:pt x="354724" y="167657"/>
                    <a:pt x="374825" y="117996"/>
                  </a:cubicBezTo>
                  <a:cubicBezTo>
                    <a:pt x="313340" y="78976"/>
                    <a:pt x="196281" y="-19164"/>
                    <a:pt x="124153" y="3301"/>
                  </a:cubicBezTo>
                  <a:lnTo>
                    <a:pt x="3547" y="42321"/>
                  </a:lnTo>
                  <a:lnTo>
                    <a:pt x="0" y="43503"/>
                  </a:lnTo>
                  <a:lnTo>
                    <a:pt x="113512" y="398228"/>
                  </a:lnTo>
                  <a:lnTo>
                    <a:pt x="118241" y="397045"/>
                  </a:lnTo>
                  <a:lnTo>
                    <a:pt x="238848" y="358026"/>
                  </a:lnTo>
                  <a:cubicBezTo>
                    <a:pt x="266043" y="348566"/>
                    <a:pt x="288509" y="327283"/>
                    <a:pt x="301516" y="298905"/>
                  </a:cubicBezTo>
                  <a:close/>
                </a:path>
              </a:pathLst>
            </a:custGeom>
            <a:solidFill>
              <a:schemeClr val="accent2">
                <a:lumMod val="75000"/>
              </a:schemeClr>
            </a:solidFill>
            <a:ln w="118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useBgFill="1">
          <p:nvSpPr>
            <p:cNvPr id="34" name="Freeform: Shape 40">
              <a:extLst>
                <a:ext uri="{FF2B5EF4-FFF2-40B4-BE49-F238E27FC236}">
                  <a16:creationId xmlns:a16="http://schemas.microsoft.com/office/drawing/2014/main" id="{BBDC4B9D-3A3E-4937-B67B-A6E078A34352}"/>
                </a:ext>
              </a:extLst>
            </p:cNvPr>
            <p:cNvSpPr/>
            <p:nvPr/>
          </p:nvSpPr>
          <p:spPr>
            <a:xfrm>
              <a:off x="6984953" y="3378537"/>
              <a:ext cx="280658" cy="312911"/>
            </a:xfrm>
            <a:custGeom>
              <a:avLst/>
              <a:gdLst>
                <a:gd name="connsiteX0" fmla="*/ 271955 w 271955"/>
                <a:gd name="connsiteY0" fmla="*/ 91556 h 303208"/>
                <a:gd name="connsiteX1" fmla="*/ 85134 w 271955"/>
                <a:gd name="connsiteY1" fmla="*/ 1693 h 303208"/>
                <a:gd name="connsiteX2" fmla="*/ 0 w 271955"/>
                <a:gd name="connsiteY2" fmla="*/ 28888 h 303208"/>
                <a:gd name="connsiteX3" fmla="*/ 87499 w 271955"/>
                <a:gd name="connsiteY3" fmla="*/ 303208 h 303208"/>
                <a:gd name="connsiteX4" fmla="*/ 172632 w 271955"/>
                <a:gd name="connsiteY4" fmla="*/ 276013 h 303208"/>
                <a:gd name="connsiteX5" fmla="*/ 211652 w 271955"/>
                <a:gd name="connsiteY5" fmla="*/ 238175 h 303208"/>
                <a:gd name="connsiteX6" fmla="*/ 212834 w 271955"/>
                <a:gd name="connsiteY6" fmla="*/ 236993 h 303208"/>
                <a:gd name="connsiteX7" fmla="*/ 214017 w 271955"/>
                <a:gd name="connsiteY7" fmla="*/ 235811 h 303208"/>
                <a:gd name="connsiteX8" fmla="*/ 271955 w 271955"/>
                <a:gd name="connsiteY8" fmla="*/ 91556 h 303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1955" h="303208">
                  <a:moveTo>
                    <a:pt x="271955" y="91556"/>
                  </a:moveTo>
                  <a:cubicBezTo>
                    <a:pt x="217564" y="53719"/>
                    <a:pt x="125336" y="-11314"/>
                    <a:pt x="85134" y="1693"/>
                  </a:cubicBezTo>
                  <a:lnTo>
                    <a:pt x="0" y="28888"/>
                  </a:lnTo>
                  <a:lnTo>
                    <a:pt x="87499" y="303208"/>
                  </a:lnTo>
                  <a:lnTo>
                    <a:pt x="172632" y="276013"/>
                  </a:lnTo>
                  <a:cubicBezTo>
                    <a:pt x="190369" y="270100"/>
                    <a:pt x="203375" y="254729"/>
                    <a:pt x="211652" y="238175"/>
                  </a:cubicBezTo>
                  <a:lnTo>
                    <a:pt x="212834" y="236993"/>
                  </a:lnTo>
                  <a:lnTo>
                    <a:pt x="214017" y="235811"/>
                  </a:lnTo>
                  <a:cubicBezTo>
                    <a:pt x="236483" y="194426"/>
                    <a:pt x="254219" y="140035"/>
                    <a:pt x="271955" y="91556"/>
                  </a:cubicBezTo>
                  <a:close/>
                </a:path>
              </a:pathLst>
            </a:custGeom>
            <a:ln w="118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5" name="Freeform: Shape 41">
              <a:extLst>
                <a:ext uri="{FF2B5EF4-FFF2-40B4-BE49-F238E27FC236}">
                  <a16:creationId xmlns:a16="http://schemas.microsoft.com/office/drawing/2014/main" id="{E1CADA7B-86C3-4592-93B5-9F884951897E}"/>
                </a:ext>
              </a:extLst>
            </p:cNvPr>
            <p:cNvSpPr/>
            <p:nvPr/>
          </p:nvSpPr>
          <p:spPr>
            <a:xfrm>
              <a:off x="7111859" y="3074001"/>
              <a:ext cx="278246" cy="355093"/>
            </a:xfrm>
            <a:custGeom>
              <a:avLst/>
              <a:gdLst>
                <a:gd name="connsiteX0" fmla="*/ 263678 w 269618"/>
                <a:gd name="connsiteY0" fmla="*/ 199828 h 344082"/>
                <a:gd name="connsiteX1" fmla="*/ 210470 w 269618"/>
                <a:gd name="connsiteY1" fmla="*/ 344083 h 344082"/>
                <a:gd name="connsiteX2" fmla="*/ 39020 w 269618"/>
                <a:gd name="connsiteY2" fmla="*/ 191551 h 344082"/>
                <a:gd name="connsiteX3" fmla="*/ 1182 w 269618"/>
                <a:gd name="connsiteY3" fmla="*/ 74492 h 344082"/>
                <a:gd name="connsiteX4" fmla="*/ 0 w 269618"/>
                <a:gd name="connsiteY4" fmla="*/ 70945 h 344082"/>
                <a:gd name="connsiteX5" fmla="*/ 222294 w 269618"/>
                <a:gd name="connsiteY5" fmla="*/ 0 h 344082"/>
                <a:gd name="connsiteX6" fmla="*/ 223476 w 269618"/>
                <a:gd name="connsiteY6" fmla="*/ 3547 h 344082"/>
                <a:gd name="connsiteX7" fmla="*/ 261313 w 269618"/>
                <a:gd name="connsiteY7" fmla="*/ 120606 h 344082"/>
                <a:gd name="connsiteX8" fmla="*/ 263678 w 269618"/>
                <a:gd name="connsiteY8" fmla="*/ 199828 h 344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618" h="344082">
                  <a:moveTo>
                    <a:pt x="263678" y="199828"/>
                  </a:moveTo>
                  <a:cubicBezTo>
                    <a:pt x="254219" y="240030"/>
                    <a:pt x="225841" y="303881"/>
                    <a:pt x="210470" y="344083"/>
                  </a:cubicBezTo>
                  <a:cubicBezTo>
                    <a:pt x="163173" y="312157"/>
                    <a:pt x="61485" y="261314"/>
                    <a:pt x="39020" y="191551"/>
                  </a:cubicBezTo>
                  <a:lnTo>
                    <a:pt x="1182" y="74492"/>
                  </a:lnTo>
                  <a:lnTo>
                    <a:pt x="0" y="70945"/>
                  </a:lnTo>
                  <a:lnTo>
                    <a:pt x="222294" y="0"/>
                  </a:lnTo>
                  <a:lnTo>
                    <a:pt x="223476" y="3547"/>
                  </a:lnTo>
                  <a:lnTo>
                    <a:pt x="261313" y="120606"/>
                  </a:lnTo>
                  <a:cubicBezTo>
                    <a:pt x="271955" y="147802"/>
                    <a:pt x="271955" y="174997"/>
                    <a:pt x="263678" y="199828"/>
                  </a:cubicBezTo>
                  <a:close/>
                </a:path>
              </a:pathLst>
            </a:custGeom>
            <a:solidFill>
              <a:schemeClr val="accent2">
                <a:lumMod val="75000"/>
              </a:schemeClr>
            </a:solidFill>
            <a:ln w="118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6" name="Freeform: Shape 42">
              <a:extLst>
                <a:ext uri="{FF2B5EF4-FFF2-40B4-BE49-F238E27FC236}">
                  <a16:creationId xmlns:a16="http://schemas.microsoft.com/office/drawing/2014/main" id="{091D9E3A-DF0F-4E5D-9E84-FAB4C0ADC12F}"/>
                </a:ext>
              </a:extLst>
            </p:cNvPr>
            <p:cNvSpPr/>
            <p:nvPr/>
          </p:nvSpPr>
          <p:spPr>
            <a:xfrm>
              <a:off x="7285631" y="3471803"/>
              <a:ext cx="275280" cy="355093"/>
            </a:xfrm>
            <a:custGeom>
              <a:avLst/>
              <a:gdLst>
                <a:gd name="connsiteX0" fmla="*/ 182793 w 266744"/>
                <a:gd name="connsiteY0" fmla="*/ 86316 h 344082"/>
                <a:gd name="connsiteX1" fmla="*/ 56275 w 266744"/>
                <a:gd name="connsiteY1" fmla="*/ 0 h 344082"/>
                <a:gd name="connsiteX2" fmla="*/ 5431 w 266744"/>
                <a:gd name="connsiteY2" fmla="*/ 223476 h 344082"/>
                <a:gd name="connsiteX3" fmla="*/ 43269 w 266744"/>
                <a:gd name="connsiteY3" fmla="*/ 340535 h 344082"/>
                <a:gd name="connsiteX4" fmla="*/ 44451 w 266744"/>
                <a:gd name="connsiteY4" fmla="*/ 344083 h 344082"/>
                <a:gd name="connsiteX5" fmla="*/ 266745 w 266744"/>
                <a:gd name="connsiteY5" fmla="*/ 273138 h 344082"/>
                <a:gd name="connsiteX6" fmla="*/ 265562 w 266744"/>
                <a:gd name="connsiteY6" fmla="*/ 269590 h 344082"/>
                <a:gd name="connsiteX7" fmla="*/ 227725 w 266744"/>
                <a:gd name="connsiteY7" fmla="*/ 152531 h 344082"/>
                <a:gd name="connsiteX8" fmla="*/ 182793 w 266744"/>
                <a:gd name="connsiteY8" fmla="*/ 86316 h 344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6744" h="344082">
                  <a:moveTo>
                    <a:pt x="182793" y="86316"/>
                  </a:moveTo>
                  <a:cubicBezTo>
                    <a:pt x="152050" y="59121"/>
                    <a:pt x="91748" y="23648"/>
                    <a:pt x="56275" y="0"/>
                  </a:cubicBezTo>
                  <a:cubicBezTo>
                    <a:pt x="36174" y="53209"/>
                    <a:pt x="-17035" y="153714"/>
                    <a:pt x="5431" y="223476"/>
                  </a:cubicBezTo>
                  <a:lnTo>
                    <a:pt x="43269" y="340535"/>
                  </a:lnTo>
                  <a:lnTo>
                    <a:pt x="44451" y="344083"/>
                  </a:lnTo>
                  <a:lnTo>
                    <a:pt x="266745" y="273138"/>
                  </a:lnTo>
                  <a:lnTo>
                    <a:pt x="265562" y="269590"/>
                  </a:lnTo>
                  <a:lnTo>
                    <a:pt x="227725" y="152531"/>
                  </a:lnTo>
                  <a:cubicBezTo>
                    <a:pt x="219448" y="125336"/>
                    <a:pt x="202894" y="102870"/>
                    <a:pt x="182793" y="86316"/>
                  </a:cubicBezTo>
                  <a:close/>
                </a:path>
              </a:pathLst>
            </a:custGeom>
            <a:solidFill>
              <a:schemeClr val="accent2">
                <a:lumMod val="75000"/>
              </a:schemeClr>
            </a:solidFill>
            <a:ln w="118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7" name="Freeform: Shape 43">
              <a:extLst>
                <a:ext uri="{FF2B5EF4-FFF2-40B4-BE49-F238E27FC236}">
                  <a16:creationId xmlns:a16="http://schemas.microsoft.com/office/drawing/2014/main" id="{7C6C17F2-5DD0-44BE-B889-C55CB98D8F02}"/>
                </a:ext>
              </a:extLst>
            </p:cNvPr>
            <p:cNvSpPr/>
            <p:nvPr/>
          </p:nvSpPr>
          <p:spPr>
            <a:xfrm rot="20534887">
              <a:off x="6935106" y="3461753"/>
              <a:ext cx="56132" cy="219648"/>
            </a:xfrm>
            <a:custGeom>
              <a:avLst/>
              <a:gdLst>
                <a:gd name="connsiteX0" fmla="*/ 0 w 54391"/>
                <a:gd name="connsiteY0" fmla="*/ 0 h 212837"/>
                <a:gd name="connsiteX1" fmla="*/ 54392 w 54391"/>
                <a:gd name="connsiteY1" fmla="*/ 0 h 212837"/>
                <a:gd name="connsiteX2" fmla="*/ 54392 w 54391"/>
                <a:gd name="connsiteY2" fmla="*/ 212838 h 212837"/>
                <a:gd name="connsiteX3" fmla="*/ 0 w 54391"/>
                <a:gd name="connsiteY3" fmla="*/ 212838 h 212837"/>
              </a:gdLst>
              <a:ahLst/>
              <a:cxnLst>
                <a:cxn ang="0">
                  <a:pos x="connsiteX0" y="connsiteY0"/>
                </a:cxn>
                <a:cxn ang="0">
                  <a:pos x="connsiteX1" y="connsiteY1"/>
                </a:cxn>
                <a:cxn ang="0">
                  <a:pos x="connsiteX2" y="connsiteY2"/>
                </a:cxn>
                <a:cxn ang="0">
                  <a:pos x="connsiteX3" y="connsiteY3"/>
                </a:cxn>
              </a:cxnLst>
              <a:rect l="l" t="t" r="r" b="b"/>
              <a:pathLst>
                <a:path w="54391" h="212837">
                  <a:moveTo>
                    <a:pt x="0" y="0"/>
                  </a:moveTo>
                  <a:lnTo>
                    <a:pt x="54392" y="0"/>
                  </a:lnTo>
                  <a:lnTo>
                    <a:pt x="54392" y="212838"/>
                  </a:lnTo>
                  <a:lnTo>
                    <a:pt x="0" y="212838"/>
                  </a:lnTo>
                  <a:close/>
                </a:path>
              </a:pathLst>
            </a:custGeom>
            <a:solidFill>
              <a:schemeClr val="accent2">
                <a:lumMod val="75000"/>
              </a:schemeClr>
            </a:solidFill>
            <a:ln w="118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8" name="Freeform: Shape 44">
              <a:extLst>
                <a:ext uri="{FF2B5EF4-FFF2-40B4-BE49-F238E27FC236}">
                  <a16:creationId xmlns:a16="http://schemas.microsoft.com/office/drawing/2014/main" id="{A6779C78-702B-4E04-80DC-756D4741FDA7}"/>
                </a:ext>
              </a:extLst>
            </p:cNvPr>
            <p:cNvSpPr/>
            <p:nvPr/>
          </p:nvSpPr>
          <p:spPr>
            <a:xfrm rot="20535975">
              <a:off x="6705675" y="3602495"/>
              <a:ext cx="235513" cy="28066"/>
            </a:xfrm>
            <a:custGeom>
              <a:avLst/>
              <a:gdLst>
                <a:gd name="connsiteX0" fmla="*/ 0 w 228210"/>
                <a:gd name="connsiteY0" fmla="*/ 0 h 27196"/>
                <a:gd name="connsiteX1" fmla="*/ 228210 w 228210"/>
                <a:gd name="connsiteY1" fmla="*/ 0 h 27196"/>
                <a:gd name="connsiteX2" fmla="*/ 228210 w 228210"/>
                <a:gd name="connsiteY2" fmla="*/ 27196 h 27196"/>
                <a:gd name="connsiteX3" fmla="*/ 0 w 228210"/>
                <a:gd name="connsiteY3" fmla="*/ 27196 h 27196"/>
              </a:gdLst>
              <a:ahLst/>
              <a:cxnLst>
                <a:cxn ang="0">
                  <a:pos x="connsiteX0" y="connsiteY0"/>
                </a:cxn>
                <a:cxn ang="0">
                  <a:pos x="connsiteX1" y="connsiteY1"/>
                </a:cxn>
                <a:cxn ang="0">
                  <a:pos x="connsiteX2" y="connsiteY2"/>
                </a:cxn>
                <a:cxn ang="0">
                  <a:pos x="connsiteX3" y="connsiteY3"/>
                </a:cxn>
              </a:cxnLst>
              <a:rect l="l" t="t" r="r" b="b"/>
              <a:pathLst>
                <a:path w="228210" h="27196">
                  <a:moveTo>
                    <a:pt x="0" y="0"/>
                  </a:moveTo>
                  <a:lnTo>
                    <a:pt x="228210" y="0"/>
                  </a:lnTo>
                  <a:lnTo>
                    <a:pt x="228210" y="27196"/>
                  </a:lnTo>
                  <a:lnTo>
                    <a:pt x="0" y="27196"/>
                  </a:lnTo>
                  <a:close/>
                </a:path>
              </a:pathLst>
            </a:custGeom>
            <a:solidFill>
              <a:schemeClr val="accent2">
                <a:lumMod val="75000"/>
              </a:schemeClr>
            </a:solidFill>
            <a:ln w="118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grpSp>
        <p:nvGrpSpPr>
          <p:cNvPr id="39" name="Group 15">
            <a:extLst>
              <a:ext uri="{FF2B5EF4-FFF2-40B4-BE49-F238E27FC236}">
                <a16:creationId xmlns:a16="http://schemas.microsoft.com/office/drawing/2014/main" id="{51895220-C367-47C6-841E-B8C6C403C494}"/>
              </a:ext>
            </a:extLst>
          </p:cNvPr>
          <p:cNvGrpSpPr/>
          <p:nvPr/>
        </p:nvGrpSpPr>
        <p:grpSpPr>
          <a:xfrm>
            <a:off x="3619500" y="2632270"/>
            <a:ext cx="1954842" cy="1194626"/>
            <a:chOff x="3619500" y="2632270"/>
            <a:chExt cx="1954842" cy="1194626"/>
          </a:xfrm>
        </p:grpSpPr>
        <p:sp>
          <p:nvSpPr>
            <p:cNvPr id="40" name="Freeform: Shape 45">
              <a:extLst>
                <a:ext uri="{FF2B5EF4-FFF2-40B4-BE49-F238E27FC236}">
                  <a16:creationId xmlns:a16="http://schemas.microsoft.com/office/drawing/2014/main" id="{C001CC49-11F2-4432-B667-11B5AF23F541}"/>
                </a:ext>
              </a:extLst>
            </p:cNvPr>
            <p:cNvSpPr/>
            <p:nvPr/>
          </p:nvSpPr>
          <p:spPr>
            <a:xfrm>
              <a:off x="5436454" y="3488887"/>
              <a:ext cx="137888" cy="330688"/>
            </a:xfrm>
            <a:custGeom>
              <a:avLst/>
              <a:gdLst>
                <a:gd name="connsiteX0" fmla="*/ 101688 w 133612"/>
                <a:gd name="connsiteY0" fmla="*/ 0 h 320434"/>
                <a:gd name="connsiteX1" fmla="*/ 0 w 133612"/>
                <a:gd name="connsiteY1" fmla="*/ 320434 h 320434"/>
                <a:gd name="connsiteX2" fmla="*/ 41384 w 133612"/>
                <a:gd name="connsiteY2" fmla="*/ 319252 h 320434"/>
                <a:gd name="connsiteX3" fmla="*/ 133613 w 133612"/>
                <a:gd name="connsiteY3" fmla="*/ 24831 h 320434"/>
                <a:gd name="connsiteX4" fmla="*/ 101688 w 133612"/>
                <a:gd name="connsiteY4" fmla="*/ 0 h 320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612" h="320434">
                  <a:moveTo>
                    <a:pt x="101688" y="0"/>
                  </a:moveTo>
                  <a:cubicBezTo>
                    <a:pt x="39020" y="96958"/>
                    <a:pt x="4730" y="208105"/>
                    <a:pt x="0" y="320434"/>
                  </a:cubicBezTo>
                  <a:lnTo>
                    <a:pt x="41384" y="319252"/>
                  </a:lnTo>
                  <a:cubicBezTo>
                    <a:pt x="46114" y="216382"/>
                    <a:pt x="78039" y="114694"/>
                    <a:pt x="133613" y="24831"/>
                  </a:cubicBezTo>
                  <a:lnTo>
                    <a:pt x="101688" y="0"/>
                  </a:lnTo>
                  <a:close/>
                </a:path>
              </a:pathLst>
            </a:custGeom>
            <a:solidFill>
              <a:schemeClr val="accent3"/>
            </a:solidFill>
            <a:ln w="118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41" name="Freeform: Shape 46">
              <a:extLst>
                <a:ext uri="{FF2B5EF4-FFF2-40B4-BE49-F238E27FC236}">
                  <a16:creationId xmlns:a16="http://schemas.microsoft.com/office/drawing/2014/main" id="{2221D592-036C-4455-8A2E-93BDE10095D6}"/>
                </a:ext>
              </a:extLst>
            </p:cNvPr>
            <p:cNvSpPr/>
            <p:nvPr/>
          </p:nvSpPr>
          <p:spPr>
            <a:xfrm>
              <a:off x="3619500" y="2632270"/>
              <a:ext cx="1211709" cy="1135565"/>
            </a:xfrm>
            <a:custGeom>
              <a:avLst/>
              <a:gdLst>
                <a:gd name="connsiteX0" fmla="*/ 721272 w 1174136"/>
                <a:gd name="connsiteY0" fmla="*/ 1071267 h 1100354"/>
                <a:gd name="connsiteX1" fmla="*/ 830054 w 1174136"/>
                <a:gd name="connsiteY1" fmla="*/ 1008599 h 1100354"/>
                <a:gd name="connsiteX2" fmla="*/ 1174137 w 1174136"/>
                <a:gd name="connsiteY2" fmla="*/ 785123 h 1100354"/>
                <a:gd name="connsiteX3" fmla="*/ 1023970 w 1174136"/>
                <a:gd name="connsiteY3" fmla="*/ 404386 h 1100354"/>
                <a:gd name="connsiteX4" fmla="*/ 971944 w 1174136"/>
                <a:gd name="connsiteY4" fmla="*/ 289691 h 1100354"/>
                <a:gd name="connsiteX5" fmla="*/ 853703 w 1174136"/>
                <a:gd name="connsiteY5" fmla="*/ 179727 h 1100354"/>
                <a:gd name="connsiteX6" fmla="*/ 293239 w 1174136"/>
                <a:gd name="connsiteY6" fmla="*/ 0 h 1100354"/>
                <a:gd name="connsiteX7" fmla="*/ 0 w 1174136"/>
                <a:gd name="connsiteY7" fmla="*/ 911641 h 1100354"/>
                <a:gd name="connsiteX8" fmla="*/ 560464 w 1174136"/>
                <a:gd name="connsiteY8" fmla="*/ 1091368 h 1100354"/>
                <a:gd name="connsiteX9" fmla="*/ 721272 w 1174136"/>
                <a:gd name="connsiteY9" fmla="*/ 1071267 h 11003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74136" h="1100354">
                  <a:moveTo>
                    <a:pt x="721272" y="1071267"/>
                  </a:moveTo>
                  <a:cubicBezTo>
                    <a:pt x="752015" y="1057078"/>
                    <a:pt x="789852" y="1034612"/>
                    <a:pt x="830054" y="1008599"/>
                  </a:cubicBezTo>
                  <a:cubicBezTo>
                    <a:pt x="898635" y="963667"/>
                    <a:pt x="1119746" y="819413"/>
                    <a:pt x="1174137" y="785123"/>
                  </a:cubicBezTo>
                  <a:cubicBezTo>
                    <a:pt x="1150489" y="726002"/>
                    <a:pt x="1053531" y="480060"/>
                    <a:pt x="1023970" y="404386"/>
                  </a:cubicBezTo>
                  <a:cubicBezTo>
                    <a:pt x="1006234" y="360636"/>
                    <a:pt x="988498" y="319252"/>
                    <a:pt x="971944" y="289691"/>
                  </a:cubicBezTo>
                  <a:cubicBezTo>
                    <a:pt x="945931" y="236483"/>
                    <a:pt x="905729" y="196281"/>
                    <a:pt x="853703" y="179727"/>
                  </a:cubicBezTo>
                  <a:lnTo>
                    <a:pt x="293239" y="0"/>
                  </a:lnTo>
                  <a:lnTo>
                    <a:pt x="0" y="911641"/>
                  </a:lnTo>
                  <a:lnTo>
                    <a:pt x="560464" y="1091368"/>
                  </a:lnTo>
                  <a:cubicBezTo>
                    <a:pt x="612490" y="1109104"/>
                    <a:pt x="669246" y="1099645"/>
                    <a:pt x="721272" y="1071267"/>
                  </a:cubicBezTo>
                  <a:close/>
                </a:path>
              </a:pathLst>
            </a:custGeom>
            <a:solidFill>
              <a:schemeClr val="accent3"/>
            </a:solidFill>
            <a:ln w="118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42" name="Freeform: Shape 47">
              <a:extLst>
                <a:ext uri="{FF2B5EF4-FFF2-40B4-BE49-F238E27FC236}">
                  <a16:creationId xmlns:a16="http://schemas.microsoft.com/office/drawing/2014/main" id="{6EA120AB-7992-46B0-9C34-D395949A0869}"/>
                </a:ext>
              </a:extLst>
            </p:cNvPr>
            <p:cNvSpPr/>
            <p:nvPr/>
          </p:nvSpPr>
          <p:spPr>
            <a:xfrm>
              <a:off x="4873918" y="3335388"/>
              <a:ext cx="386820" cy="410970"/>
            </a:xfrm>
            <a:custGeom>
              <a:avLst/>
              <a:gdLst>
                <a:gd name="connsiteX0" fmla="*/ 73310 w 374825"/>
                <a:gd name="connsiteY0" fmla="*/ 298905 h 398227"/>
                <a:gd name="connsiteX1" fmla="*/ 0 w 374825"/>
                <a:gd name="connsiteY1" fmla="*/ 117996 h 398227"/>
                <a:gd name="connsiteX2" fmla="*/ 250672 w 374825"/>
                <a:gd name="connsiteY2" fmla="*/ 3301 h 398227"/>
                <a:gd name="connsiteX3" fmla="*/ 371278 w 374825"/>
                <a:gd name="connsiteY3" fmla="*/ 42321 h 398227"/>
                <a:gd name="connsiteX4" fmla="*/ 374825 w 374825"/>
                <a:gd name="connsiteY4" fmla="*/ 43503 h 398227"/>
                <a:gd name="connsiteX5" fmla="*/ 261313 w 374825"/>
                <a:gd name="connsiteY5" fmla="*/ 398228 h 398227"/>
                <a:gd name="connsiteX6" fmla="*/ 256584 w 374825"/>
                <a:gd name="connsiteY6" fmla="*/ 397045 h 398227"/>
                <a:gd name="connsiteX7" fmla="*/ 135978 w 374825"/>
                <a:gd name="connsiteY7" fmla="*/ 358026 h 398227"/>
                <a:gd name="connsiteX8" fmla="*/ 73310 w 374825"/>
                <a:gd name="connsiteY8" fmla="*/ 298905 h 398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4825" h="398227">
                  <a:moveTo>
                    <a:pt x="73310" y="298905"/>
                  </a:moveTo>
                  <a:cubicBezTo>
                    <a:pt x="48479" y="256338"/>
                    <a:pt x="20101" y="167657"/>
                    <a:pt x="0" y="117996"/>
                  </a:cubicBezTo>
                  <a:cubicBezTo>
                    <a:pt x="61485" y="78976"/>
                    <a:pt x="178544" y="-19164"/>
                    <a:pt x="250672" y="3301"/>
                  </a:cubicBezTo>
                  <a:lnTo>
                    <a:pt x="371278" y="42321"/>
                  </a:lnTo>
                  <a:lnTo>
                    <a:pt x="374825" y="43503"/>
                  </a:lnTo>
                  <a:lnTo>
                    <a:pt x="261313" y="398228"/>
                  </a:lnTo>
                  <a:lnTo>
                    <a:pt x="256584" y="397045"/>
                  </a:lnTo>
                  <a:lnTo>
                    <a:pt x="135978" y="358026"/>
                  </a:lnTo>
                  <a:cubicBezTo>
                    <a:pt x="108782" y="348566"/>
                    <a:pt x="87499" y="327283"/>
                    <a:pt x="73310" y="298905"/>
                  </a:cubicBezTo>
                  <a:close/>
                </a:path>
              </a:pathLst>
            </a:custGeom>
            <a:solidFill>
              <a:schemeClr val="accent3"/>
            </a:solidFill>
            <a:ln w="118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useBgFill="1">
          <p:nvSpPr>
            <p:cNvPr id="43" name="Freeform: Shape 48">
              <a:extLst>
                <a:ext uri="{FF2B5EF4-FFF2-40B4-BE49-F238E27FC236}">
                  <a16:creationId xmlns:a16="http://schemas.microsoft.com/office/drawing/2014/main" id="{5D8C8B8A-10FE-4F60-9DE1-F27BE953542E}"/>
                </a:ext>
              </a:extLst>
            </p:cNvPr>
            <p:cNvSpPr/>
            <p:nvPr/>
          </p:nvSpPr>
          <p:spPr>
            <a:xfrm>
              <a:off x="4926389" y="3378537"/>
              <a:ext cx="280658" cy="312911"/>
            </a:xfrm>
            <a:custGeom>
              <a:avLst/>
              <a:gdLst>
                <a:gd name="connsiteX0" fmla="*/ 0 w 271955"/>
                <a:gd name="connsiteY0" fmla="*/ 91556 h 303208"/>
                <a:gd name="connsiteX1" fmla="*/ 186821 w 271955"/>
                <a:gd name="connsiteY1" fmla="*/ 1693 h 303208"/>
                <a:gd name="connsiteX2" fmla="*/ 271955 w 271955"/>
                <a:gd name="connsiteY2" fmla="*/ 28888 h 303208"/>
                <a:gd name="connsiteX3" fmla="*/ 184457 w 271955"/>
                <a:gd name="connsiteY3" fmla="*/ 303208 h 303208"/>
                <a:gd name="connsiteX4" fmla="*/ 99323 w 271955"/>
                <a:gd name="connsiteY4" fmla="*/ 276013 h 303208"/>
                <a:gd name="connsiteX5" fmla="*/ 60303 w 271955"/>
                <a:gd name="connsiteY5" fmla="*/ 238175 h 303208"/>
                <a:gd name="connsiteX6" fmla="*/ 59121 w 271955"/>
                <a:gd name="connsiteY6" fmla="*/ 236993 h 303208"/>
                <a:gd name="connsiteX7" fmla="*/ 57938 w 271955"/>
                <a:gd name="connsiteY7" fmla="*/ 235811 h 303208"/>
                <a:gd name="connsiteX8" fmla="*/ 0 w 271955"/>
                <a:gd name="connsiteY8" fmla="*/ 91556 h 303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1955" h="303208">
                  <a:moveTo>
                    <a:pt x="0" y="91556"/>
                  </a:moveTo>
                  <a:cubicBezTo>
                    <a:pt x="54391" y="53719"/>
                    <a:pt x="146619" y="-11314"/>
                    <a:pt x="186821" y="1693"/>
                  </a:cubicBezTo>
                  <a:lnTo>
                    <a:pt x="271955" y="28888"/>
                  </a:lnTo>
                  <a:lnTo>
                    <a:pt x="184457" y="303208"/>
                  </a:lnTo>
                  <a:lnTo>
                    <a:pt x="99323" y="276013"/>
                  </a:lnTo>
                  <a:cubicBezTo>
                    <a:pt x="81587" y="270100"/>
                    <a:pt x="68580" y="254729"/>
                    <a:pt x="60303" y="238175"/>
                  </a:cubicBezTo>
                  <a:lnTo>
                    <a:pt x="59121" y="236993"/>
                  </a:lnTo>
                  <a:lnTo>
                    <a:pt x="57938" y="235811"/>
                  </a:lnTo>
                  <a:cubicBezTo>
                    <a:pt x="35472" y="194426"/>
                    <a:pt x="17736" y="140035"/>
                    <a:pt x="0" y="91556"/>
                  </a:cubicBezTo>
                  <a:close/>
                </a:path>
              </a:pathLst>
            </a:custGeom>
            <a:ln w="118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44" name="Freeform: Shape 49">
              <a:extLst>
                <a:ext uri="{FF2B5EF4-FFF2-40B4-BE49-F238E27FC236}">
                  <a16:creationId xmlns:a16="http://schemas.microsoft.com/office/drawing/2014/main" id="{A409458D-DCDA-4CE5-8051-FAF2410FD71B}"/>
                </a:ext>
              </a:extLst>
            </p:cNvPr>
            <p:cNvSpPr/>
            <p:nvPr/>
          </p:nvSpPr>
          <p:spPr>
            <a:xfrm>
              <a:off x="4802806" y="3074001"/>
              <a:ext cx="277335" cy="355093"/>
            </a:xfrm>
            <a:custGeom>
              <a:avLst/>
              <a:gdLst>
                <a:gd name="connsiteX0" fmla="*/ 5057 w 268735"/>
                <a:gd name="connsiteY0" fmla="*/ 199828 h 344082"/>
                <a:gd name="connsiteX1" fmla="*/ 58266 w 268735"/>
                <a:gd name="connsiteY1" fmla="*/ 344083 h 344082"/>
                <a:gd name="connsiteX2" fmla="*/ 229716 w 268735"/>
                <a:gd name="connsiteY2" fmla="*/ 191551 h 344082"/>
                <a:gd name="connsiteX3" fmla="*/ 267553 w 268735"/>
                <a:gd name="connsiteY3" fmla="*/ 74492 h 344082"/>
                <a:gd name="connsiteX4" fmla="*/ 268735 w 268735"/>
                <a:gd name="connsiteY4" fmla="*/ 70945 h 344082"/>
                <a:gd name="connsiteX5" fmla="*/ 46442 w 268735"/>
                <a:gd name="connsiteY5" fmla="*/ 0 h 344082"/>
                <a:gd name="connsiteX6" fmla="*/ 45259 w 268735"/>
                <a:gd name="connsiteY6" fmla="*/ 3547 h 344082"/>
                <a:gd name="connsiteX7" fmla="*/ 7422 w 268735"/>
                <a:gd name="connsiteY7" fmla="*/ 120606 h 344082"/>
                <a:gd name="connsiteX8" fmla="*/ 5057 w 268735"/>
                <a:gd name="connsiteY8" fmla="*/ 199828 h 344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8735" h="344082">
                  <a:moveTo>
                    <a:pt x="5057" y="199828"/>
                  </a:moveTo>
                  <a:cubicBezTo>
                    <a:pt x="14516" y="240030"/>
                    <a:pt x="42894" y="303881"/>
                    <a:pt x="58266" y="344083"/>
                  </a:cubicBezTo>
                  <a:cubicBezTo>
                    <a:pt x="105562" y="312157"/>
                    <a:pt x="207250" y="261314"/>
                    <a:pt x="229716" y="191551"/>
                  </a:cubicBezTo>
                  <a:lnTo>
                    <a:pt x="267553" y="74492"/>
                  </a:lnTo>
                  <a:lnTo>
                    <a:pt x="268735" y="70945"/>
                  </a:lnTo>
                  <a:lnTo>
                    <a:pt x="46442" y="0"/>
                  </a:lnTo>
                  <a:lnTo>
                    <a:pt x="45259" y="3547"/>
                  </a:lnTo>
                  <a:lnTo>
                    <a:pt x="7422" y="120606"/>
                  </a:lnTo>
                  <a:cubicBezTo>
                    <a:pt x="-2037" y="147802"/>
                    <a:pt x="-2037" y="174997"/>
                    <a:pt x="5057" y="199828"/>
                  </a:cubicBezTo>
                  <a:close/>
                </a:path>
              </a:pathLst>
            </a:custGeom>
            <a:solidFill>
              <a:schemeClr val="accent3"/>
            </a:solidFill>
            <a:ln w="118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45" name="Freeform: Shape 50">
              <a:extLst>
                <a:ext uri="{FF2B5EF4-FFF2-40B4-BE49-F238E27FC236}">
                  <a16:creationId xmlns:a16="http://schemas.microsoft.com/office/drawing/2014/main" id="{8403FE80-084C-4362-A233-1722BA1C6D8E}"/>
                </a:ext>
              </a:extLst>
            </p:cNvPr>
            <p:cNvSpPr/>
            <p:nvPr/>
          </p:nvSpPr>
          <p:spPr>
            <a:xfrm>
              <a:off x="4632308" y="3471803"/>
              <a:ext cx="275280" cy="355093"/>
            </a:xfrm>
            <a:custGeom>
              <a:avLst/>
              <a:gdLst>
                <a:gd name="connsiteX0" fmla="*/ 83951 w 266744"/>
                <a:gd name="connsiteY0" fmla="*/ 86316 h 344082"/>
                <a:gd name="connsiteX1" fmla="*/ 210470 w 266744"/>
                <a:gd name="connsiteY1" fmla="*/ 0 h 344082"/>
                <a:gd name="connsiteX2" fmla="*/ 261313 w 266744"/>
                <a:gd name="connsiteY2" fmla="*/ 223476 h 344082"/>
                <a:gd name="connsiteX3" fmla="*/ 223476 w 266744"/>
                <a:gd name="connsiteY3" fmla="*/ 340535 h 344082"/>
                <a:gd name="connsiteX4" fmla="*/ 222294 w 266744"/>
                <a:gd name="connsiteY4" fmla="*/ 344083 h 344082"/>
                <a:gd name="connsiteX5" fmla="*/ 0 w 266744"/>
                <a:gd name="connsiteY5" fmla="*/ 273138 h 344082"/>
                <a:gd name="connsiteX6" fmla="*/ 1182 w 266744"/>
                <a:gd name="connsiteY6" fmla="*/ 269590 h 344082"/>
                <a:gd name="connsiteX7" fmla="*/ 39020 w 266744"/>
                <a:gd name="connsiteY7" fmla="*/ 152531 h 344082"/>
                <a:gd name="connsiteX8" fmla="*/ 83951 w 266744"/>
                <a:gd name="connsiteY8" fmla="*/ 86316 h 344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6744" h="344082">
                  <a:moveTo>
                    <a:pt x="83951" y="86316"/>
                  </a:moveTo>
                  <a:cubicBezTo>
                    <a:pt x="114694" y="59121"/>
                    <a:pt x="174997" y="23648"/>
                    <a:pt x="210470" y="0"/>
                  </a:cubicBezTo>
                  <a:cubicBezTo>
                    <a:pt x="230571" y="53209"/>
                    <a:pt x="283779" y="153714"/>
                    <a:pt x="261313" y="223476"/>
                  </a:cubicBezTo>
                  <a:lnTo>
                    <a:pt x="223476" y="340535"/>
                  </a:lnTo>
                  <a:lnTo>
                    <a:pt x="222294" y="344083"/>
                  </a:lnTo>
                  <a:lnTo>
                    <a:pt x="0" y="273138"/>
                  </a:lnTo>
                  <a:lnTo>
                    <a:pt x="1182" y="269590"/>
                  </a:lnTo>
                  <a:lnTo>
                    <a:pt x="39020" y="152531"/>
                  </a:lnTo>
                  <a:cubicBezTo>
                    <a:pt x="46114" y="125336"/>
                    <a:pt x="62668" y="102870"/>
                    <a:pt x="83951" y="86316"/>
                  </a:cubicBezTo>
                  <a:close/>
                </a:path>
              </a:pathLst>
            </a:custGeom>
            <a:solidFill>
              <a:schemeClr val="accent3"/>
            </a:solidFill>
            <a:ln w="118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46" name="Freeform: Shape 51">
              <a:extLst>
                <a:ext uri="{FF2B5EF4-FFF2-40B4-BE49-F238E27FC236}">
                  <a16:creationId xmlns:a16="http://schemas.microsoft.com/office/drawing/2014/main" id="{E61248F6-5D90-4BAE-BC42-C0AF1D98C178}"/>
                </a:ext>
              </a:extLst>
            </p:cNvPr>
            <p:cNvSpPr/>
            <p:nvPr/>
          </p:nvSpPr>
          <p:spPr>
            <a:xfrm rot="17264785">
              <a:off x="5120542" y="3543325"/>
              <a:ext cx="219642" cy="56130"/>
            </a:xfrm>
            <a:custGeom>
              <a:avLst/>
              <a:gdLst>
                <a:gd name="connsiteX0" fmla="*/ 0 w 212831"/>
                <a:gd name="connsiteY0" fmla="*/ 0 h 54390"/>
                <a:gd name="connsiteX1" fmla="*/ 212831 w 212831"/>
                <a:gd name="connsiteY1" fmla="*/ 0 h 54390"/>
                <a:gd name="connsiteX2" fmla="*/ 212831 w 212831"/>
                <a:gd name="connsiteY2" fmla="*/ 54390 h 54390"/>
                <a:gd name="connsiteX3" fmla="*/ 0 w 212831"/>
                <a:gd name="connsiteY3" fmla="*/ 54390 h 54390"/>
              </a:gdLst>
              <a:ahLst/>
              <a:cxnLst>
                <a:cxn ang="0">
                  <a:pos x="connsiteX0" y="connsiteY0"/>
                </a:cxn>
                <a:cxn ang="0">
                  <a:pos x="connsiteX1" y="connsiteY1"/>
                </a:cxn>
                <a:cxn ang="0">
                  <a:pos x="connsiteX2" y="connsiteY2"/>
                </a:cxn>
                <a:cxn ang="0">
                  <a:pos x="connsiteX3" y="connsiteY3"/>
                </a:cxn>
              </a:cxnLst>
              <a:rect l="l" t="t" r="r" b="b"/>
              <a:pathLst>
                <a:path w="212831" h="54390">
                  <a:moveTo>
                    <a:pt x="0" y="0"/>
                  </a:moveTo>
                  <a:lnTo>
                    <a:pt x="212831" y="0"/>
                  </a:lnTo>
                  <a:lnTo>
                    <a:pt x="212831" y="54390"/>
                  </a:lnTo>
                  <a:lnTo>
                    <a:pt x="0" y="54390"/>
                  </a:lnTo>
                  <a:close/>
                </a:path>
              </a:pathLst>
            </a:custGeom>
            <a:solidFill>
              <a:schemeClr val="accent3"/>
            </a:solidFill>
            <a:ln w="118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47" name="Freeform: Shape 52">
              <a:extLst>
                <a:ext uri="{FF2B5EF4-FFF2-40B4-BE49-F238E27FC236}">
                  <a16:creationId xmlns:a16="http://schemas.microsoft.com/office/drawing/2014/main" id="{B8DB3A87-BE7B-4B6A-803C-66F0F477DAC2}"/>
                </a:ext>
              </a:extLst>
            </p:cNvPr>
            <p:cNvSpPr/>
            <p:nvPr/>
          </p:nvSpPr>
          <p:spPr>
            <a:xfrm rot="17264025">
              <a:off x="5355858" y="3497647"/>
              <a:ext cx="28066" cy="235513"/>
            </a:xfrm>
            <a:custGeom>
              <a:avLst/>
              <a:gdLst>
                <a:gd name="connsiteX0" fmla="*/ 0 w 27196"/>
                <a:gd name="connsiteY0" fmla="*/ 0 h 228210"/>
                <a:gd name="connsiteX1" fmla="*/ 27196 w 27196"/>
                <a:gd name="connsiteY1" fmla="*/ 0 h 228210"/>
                <a:gd name="connsiteX2" fmla="*/ 27196 w 27196"/>
                <a:gd name="connsiteY2" fmla="*/ 228210 h 228210"/>
                <a:gd name="connsiteX3" fmla="*/ 0 w 27196"/>
                <a:gd name="connsiteY3" fmla="*/ 228210 h 228210"/>
              </a:gdLst>
              <a:ahLst/>
              <a:cxnLst>
                <a:cxn ang="0">
                  <a:pos x="connsiteX0" y="connsiteY0"/>
                </a:cxn>
                <a:cxn ang="0">
                  <a:pos x="connsiteX1" y="connsiteY1"/>
                </a:cxn>
                <a:cxn ang="0">
                  <a:pos x="connsiteX2" y="connsiteY2"/>
                </a:cxn>
                <a:cxn ang="0">
                  <a:pos x="connsiteX3" y="connsiteY3"/>
                </a:cxn>
              </a:cxnLst>
              <a:rect l="l" t="t" r="r" b="b"/>
              <a:pathLst>
                <a:path w="27196" h="228210">
                  <a:moveTo>
                    <a:pt x="0" y="0"/>
                  </a:moveTo>
                  <a:lnTo>
                    <a:pt x="27196" y="0"/>
                  </a:lnTo>
                  <a:lnTo>
                    <a:pt x="27196" y="228210"/>
                  </a:lnTo>
                  <a:lnTo>
                    <a:pt x="0" y="228210"/>
                  </a:lnTo>
                  <a:close/>
                </a:path>
              </a:pathLst>
            </a:custGeom>
            <a:solidFill>
              <a:schemeClr val="accent3"/>
            </a:solidFill>
            <a:ln w="118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grpSp>
        <p:nvGrpSpPr>
          <p:cNvPr id="48" name="Group 20">
            <a:extLst>
              <a:ext uri="{FF2B5EF4-FFF2-40B4-BE49-F238E27FC236}">
                <a16:creationId xmlns:a16="http://schemas.microsoft.com/office/drawing/2014/main" id="{64AC1747-FBFB-429D-80A2-5BEAE3CC3DAE}"/>
              </a:ext>
            </a:extLst>
          </p:cNvPr>
          <p:cNvGrpSpPr/>
          <p:nvPr/>
        </p:nvGrpSpPr>
        <p:grpSpPr>
          <a:xfrm>
            <a:off x="6611556" y="3884248"/>
            <a:ext cx="1956063" cy="1206828"/>
            <a:chOff x="6611556" y="3884248"/>
            <a:chExt cx="1956063" cy="1206828"/>
          </a:xfrm>
        </p:grpSpPr>
        <p:sp>
          <p:nvSpPr>
            <p:cNvPr id="49" name="Freeform: Shape 53">
              <a:extLst>
                <a:ext uri="{FF2B5EF4-FFF2-40B4-BE49-F238E27FC236}">
                  <a16:creationId xmlns:a16="http://schemas.microsoft.com/office/drawing/2014/main" id="{161F98B2-D516-4933-B668-ABA77A240479}"/>
                </a:ext>
              </a:extLst>
            </p:cNvPr>
            <p:cNvSpPr/>
            <p:nvPr/>
          </p:nvSpPr>
          <p:spPr>
            <a:xfrm>
              <a:off x="6611556" y="3886689"/>
              <a:ext cx="143989" cy="328247"/>
            </a:xfrm>
            <a:custGeom>
              <a:avLst/>
              <a:gdLst>
                <a:gd name="connsiteX0" fmla="*/ 139525 w 139524"/>
                <a:gd name="connsiteY0" fmla="*/ 0 h 318069"/>
                <a:gd name="connsiteX1" fmla="*/ 31925 w 139524"/>
                <a:gd name="connsiteY1" fmla="*/ 318069 h 318069"/>
                <a:gd name="connsiteX2" fmla="*/ 0 w 139524"/>
                <a:gd name="connsiteY2" fmla="*/ 292056 h 318069"/>
                <a:gd name="connsiteX3" fmla="*/ 99323 w 139524"/>
                <a:gd name="connsiteY3" fmla="*/ 0 h 318069"/>
                <a:gd name="connsiteX4" fmla="*/ 139525 w 139524"/>
                <a:gd name="connsiteY4" fmla="*/ 0 h 3180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9524" h="318069">
                  <a:moveTo>
                    <a:pt x="139525" y="0"/>
                  </a:moveTo>
                  <a:cubicBezTo>
                    <a:pt x="132430" y="114694"/>
                    <a:pt x="94593" y="224659"/>
                    <a:pt x="31925" y="318069"/>
                  </a:cubicBezTo>
                  <a:lnTo>
                    <a:pt x="0" y="292056"/>
                  </a:lnTo>
                  <a:cubicBezTo>
                    <a:pt x="56756" y="205740"/>
                    <a:pt x="92228" y="105235"/>
                    <a:pt x="99323" y="0"/>
                  </a:cubicBezTo>
                  <a:lnTo>
                    <a:pt x="139525" y="0"/>
                  </a:lnTo>
                  <a:close/>
                </a:path>
              </a:pathLst>
            </a:custGeom>
            <a:solidFill>
              <a:schemeClr val="accent2">
                <a:lumMod val="75000"/>
              </a:schemeClr>
            </a:solidFill>
            <a:ln w="118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50" name="Freeform: Shape 54">
              <a:extLst>
                <a:ext uri="{FF2B5EF4-FFF2-40B4-BE49-F238E27FC236}">
                  <a16:creationId xmlns:a16="http://schemas.microsoft.com/office/drawing/2014/main" id="{BA1E1966-07EE-4682-A5E2-5C29AE41ECCE}"/>
                </a:ext>
              </a:extLst>
            </p:cNvPr>
            <p:cNvSpPr/>
            <p:nvPr/>
          </p:nvSpPr>
          <p:spPr>
            <a:xfrm>
              <a:off x="7355910" y="3951507"/>
              <a:ext cx="1211709" cy="1139569"/>
            </a:xfrm>
            <a:custGeom>
              <a:avLst/>
              <a:gdLst>
                <a:gd name="connsiteX0" fmla="*/ 196280 w 1174136"/>
                <a:gd name="connsiteY0" fmla="*/ 806266 h 1104233"/>
                <a:gd name="connsiteX1" fmla="*/ 145437 w 1174136"/>
                <a:gd name="connsiteY1" fmla="*/ 691571 h 1104233"/>
                <a:gd name="connsiteX2" fmla="*/ 0 w 1174136"/>
                <a:gd name="connsiteY2" fmla="*/ 308469 h 1104233"/>
                <a:gd name="connsiteX3" fmla="*/ 346447 w 1174136"/>
                <a:gd name="connsiteY3" fmla="*/ 89723 h 1104233"/>
                <a:gd name="connsiteX4" fmla="*/ 455229 w 1174136"/>
                <a:gd name="connsiteY4" fmla="*/ 28237 h 1104233"/>
                <a:gd name="connsiteX5" fmla="*/ 616037 w 1174136"/>
                <a:gd name="connsiteY5" fmla="*/ 9319 h 1104233"/>
                <a:gd name="connsiteX6" fmla="*/ 1174137 w 1174136"/>
                <a:gd name="connsiteY6" fmla="*/ 196140 h 1104233"/>
                <a:gd name="connsiteX7" fmla="*/ 870256 w 1174136"/>
                <a:gd name="connsiteY7" fmla="*/ 1104234 h 1104233"/>
                <a:gd name="connsiteX8" fmla="*/ 312157 w 1174136"/>
                <a:gd name="connsiteY8" fmla="*/ 917412 h 1104233"/>
                <a:gd name="connsiteX9" fmla="*/ 196280 w 1174136"/>
                <a:gd name="connsiteY9" fmla="*/ 806266 h 1104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74136" h="1104233">
                  <a:moveTo>
                    <a:pt x="196280" y="806266"/>
                  </a:moveTo>
                  <a:cubicBezTo>
                    <a:pt x="179727" y="776705"/>
                    <a:pt x="163173" y="735321"/>
                    <a:pt x="145437" y="691571"/>
                  </a:cubicBezTo>
                  <a:cubicBezTo>
                    <a:pt x="115876" y="614714"/>
                    <a:pt x="23648" y="367590"/>
                    <a:pt x="0" y="308469"/>
                  </a:cubicBezTo>
                  <a:cubicBezTo>
                    <a:pt x="54391" y="275362"/>
                    <a:pt x="277867" y="133472"/>
                    <a:pt x="346447" y="89723"/>
                  </a:cubicBezTo>
                  <a:cubicBezTo>
                    <a:pt x="386649" y="64892"/>
                    <a:pt x="424486" y="42426"/>
                    <a:pt x="455229" y="28237"/>
                  </a:cubicBezTo>
                  <a:cubicBezTo>
                    <a:pt x="507255" y="-141"/>
                    <a:pt x="564011" y="-8418"/>
                    <a:pt x="616037" y="9319"/>
                  </a:cubicBezTo>
                  <a:lnTo>
                    <a:pt x="1174137" y="196140"/>
                  </a:lnTo>
                  <a:lnTo>
                    <a:pt x="870256" y="1104234"/>
                  </a:lnTo>
                  <a:lnTo>
                    <a:pt x="312157" y="917412"/>
                  </a:lnTo>
                  <a:cubicBezTo>
                    <a:pt x="261313" y="900859"/>
                    <a:pt x="221111" y="859474"/>
                    <a:pt x="196280" y="806266"/>
                  </a:cubicBezTo>
                  <a:close/>
                </a:path>
              </a:pathLst>
            </a:custGeom>
            <a:solidFill>
              <a:schemeClr val="accent2">
                <a:lumMod val="75000"/>
              </a:schemeClr>
            </a:solidFill>
            <a:ln w="118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51" name="Freeform: Shape 55">
              <a:extLst>
                <a:ext uri="{FF2B5EF4-FFF2-40B4-BE49-F238E27FC236}">
                  <a16:creationId xmlns:a16="http://schemas.microsoft.com/office/drawing/2014/main" id="{23C19461-270E-427F-948A-F13F80A5031A}"/>
                </a:ext>
              </a:extLst>
            </p:cNvPr>
            <p:cNvSpPr/>
            <p:nvPr/>
          </p:nvSpPr>
          <p:spPr>
            <a:xfrm>
              <a:off x="6923940" y="3964785"/>
              <a:ext cx="389260" cy="412048"/>
            </a:xfrm>
            <a:custGeom>
              <a:avLst/>
              <a:gdLst>
                <a:gd name="connsiteX0" fmla="*/ 210470 w 377190"/>
                <a:gd name="connsiteY0" fmla="*/ 384285 h 399271"/>
                <a:gd name="connsiteX1" fmla="*/ 377190 w 377190"/>
                <a:gd name="connsiteY1" fmla="*/ 281415 h 399271"/>
                <a:gd name="connsiteX2" fmla="*/ 242395 w 377190"/>
                <a:gd name="connsiteY2" fmla="*/ 41384 h 399271"/>
                <a:gd name="connsiteX3" fmla="*/ 121789 w 377190"/>
                <a:gd name="connsiteY3" fmla="*/ 1182 h 399271"/>
                <a:gd name="connsiteX4" fmla="*/ 118241 w 377190"/>
                <a:gd name="connsiteY4" fmla="*/ 0 h 399271"/>
                <a:gd name="connsiteX5" fmla="*/ 0 w 377190"/>
                <a:gd name="connsiteY5" fmla="*/ 353542 h 399271"/>
                <a:gd name="connsiteX6" fmla="*/ 3547 w 377190"/>
                <a:gd name="connsiteY6" fmla="*/ 354724 h 399271"/>
                <a:gd name="connsiteX7" fmla="*/ 124153 w 377190"/>
                <a:gd name="connsiteY7" fmla="*/ 394926 h 399271"/>
                <a:gd name="connsiteX8" fmla="*/ 210470 w 377190"/>
                <a:gd name="connsiteY8" fmla="*/ 384285 h 3992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7190" h="399271">
                  <a:moveTo>
                    <a:pt x="210470" y="384285"/>
                  </a:moveTo>
                  <a:cubicBezTo>
                    <a:pt x="255401" y="364184"/>
                    <a:pt x="329894" y="309793"/>
                    <a:pt x="377190" y="281415"/>
                  </a:cubicBezTo>
                  <a:cubicBezTo>
                    <a:pt x="351177" y="214017"/>
                    <a:pt x="314522" y="65033"/>
                    <a:pt x="242395" y="41384"/>
                  </a:cubicBezTo>
                  <a:lnTo>
                    <a:pt x="121789" y="1182"/>
                  </a:lnTo>
                  <a:lnTo>
                    <a:pt x="118241" y="0"/>
                  </a:lnTo>
                  <a:lnTo>
                    <a:pt x="0" y="353542"/>
                  </a:lnTo>
                  <a:lnTo>
                    <a:pt x="3547" y="354724"/>
                  </a:lnTo>
                  <a:lnTo>
                    <a:pt x="124153" y="394926"/>
                  </a:lnTo>
                  <a:cubicBezTo>
                    <a:pt x="152532" y="403203"/>
                    <a:pt x="182092" y="399656"/>
                    <a:pt x="210470" y="384285"/>
                  </a:cubicBezTo>
                  <a:close/>
                </a:path>
              </a:pathLst>
            </a:custGeom>
            <a:solidFill>
              <a:schemeClr val="accent2">
                <a:lumMod val="75000"/>
              </a:schemeClr>
            </a:solidFill>
            <a:ln w="118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useBgFill="1">
          <p:nvSpPr>
            <p:cNvPr id="52" name="Freeform: Shape 56">
              <a:extLst>
                <a:ext uri="{FF2B5EF4-FFF2-40B4-BE49-F238E27FC236}">
                  <a16:creationId xmlns:a16="http://schemas.microsoft.com/office/drawing/2014/main" id="{B5105503-8AEC-4843-9BB6-4EF74010A749}"/>
                </a:ext>
              </a:extLst>
            </p:cNvPr>
            <p:cNvSpPr/>
            <p:nvPr/>
          </p:nvSpPr>
          <p:spPr>
            <a:xfrm>
              <a:off x="6978852" y="4018475"/>
              <a:ext cx="281877" cy="313890"/>
            </a:xfrm>
            <a:custGeom>
              <a:avLst/>
              <a:gdLst>
                <a:gd name="connsiteX0" fmla="*/ 273138 w 273137"/>
                <a:gd name="connsiteY0" fmla="*/ 211652 h 304157"/>
                <a:gd name="connsiteX1" fmla="*/ 176180 w 273137"/>
                <a:gd name="connsiteY1" fmla="*/ 28378 h 304157"/>
                <a:gd name="connsiteX2" fmla="*/ 91046 w 273137"/>
                <a:gd name="connsiteY2" fmla="*/ 0 h 304157"/>
                <a:gd name="connsiteX3" fmla="*/ 0 w 273137"/>
                <a:gd name="connsiteY3" fmla="*/ 273138 h 304157"/>
                <a:gd name="connsiteX4" fmla="*/ 85134 w 273137"/>
                <a:gd name="connsiteY4" fmla="*/ 301516 h 304157"/>
                <a:gd name="connsiteX5" fmla="*/ 138343 w 273137"/>
                <a:gd name="connsiteY5" fmla="*/ 294421 h 304157"/>
                <a:gd name="connsiteX6" fmla="*/ 139525 w 273137"/>
                <a:gd name="connsiteY6" fmla="*/ 293239 h 304157"/>
                <a:gd name="connsiteX7" fmla="*/ 140708 w 273137"/>
                <a:gd name="connsiteY7" fmla="*/ 293239 h 304157"/>
                <a:gd name="connsiteX8" fmla="*/ 273138 w 273137"/>
                <a:gd name="connsiteY8" fmla="*/ 211652 h 3041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3137" h="304157">
                  <a:moveTo>
                    <a:pt x="273138" y="211652"/>
                  </a:moveTo>
                  <a:cubicBezTo>
                    <a:pt x="251854" y="148984"/>
                    <a:pt x="215199" y="41384"/>
                    <a:pt x="176180" y="28378"/>
                  </a:cubicBezTo>
                  <a:lnTo>
                    <a:pt x="91046" y="0"/>
                  </a:lnTo>
                  <a:lnTo>
                    <a:pt x="0" y="273138"/>
                  </a:lnTo>
                  <a:lnTo>
                    <a:pt x="85134" y="301516"/>
                  </a:lnTo>
                  <a:cubicBezTo>
                    <a:pt x="102870" y="307428"/>
                    <a:pt x="121789" y="302698"/>
                    <a:pt x="138343" y="294421"/>
                  </a:cubicBezTo>
                  <a:lnTo>
                    <a:pt x="139525" y="293239"/>
                  </a:lnTo>
                  <a:lnTo>
                    <a:pt x="140708" y="293239"/>
                  </a:lnTo>
                  <a:cubicBezTo>
                    <a:pt x="183274" y="274320"/>
                    <a:pt x="229389" y="240030"/>
                    <a:pt x="273138" y="211652"/>
                  </a:cubicBezTo>
                  <a:close/>
                </a:path>
              </a:pathLst>
            </a:custGeom>
            <a:ln w="118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53" name="Freeform: Shape 57">
              <a:extLst>
                <a:ext uri="{FF2B5EF4-FFF2-40B4-BE49-F238E27FC236}">
                  <a16:creationId xmlns:a16="http://schemas.microsoft.com/office/drawing/2014/main" id="{916E6371-5627-45D6-949F-BE57812B53A1}"/>
                </a:ext>
              </a:extLst>
            </p:cNvPr>
            <p:cNvSpPr/>
            <p:nvPr/>
          </p:nvSpPr>
          <p:spPr>
            <a:xfrm>
              <a:off x="7282553" y="3884248"/>
              <a:ext cx="277138" cy="355093"/>
            </a:xfrm>
            <a:custGeom>
              <a:avLst/>
              <a:gdLst>
                <a:gd name="connsiteX0" fmla="*/ 181046 w 268544"/>
                <a:gd name="connsiteY0" fmla="*/ 258949 h 344082"/>
                <a:gd name="connsiteX1" fmla="*/ 53346 w 268544"/>
                <a:gd name="connsiteY1" fmla="*/ 344082 h 344082"/>
                <a:gd name="connsiteX2" fmla="*/ 6049 w 268544"/>
                <a:gd name="connsiteY2" fmla="*/ 120606 h 344082"/>
                <a:gd name="connsiteX3" fmla="*/ 45069 w 268544"/>
                <a:gd name="connsiteY3" fmla="*/ 3547 h 344082"/>
                <a:gd name="connsiteX4" fmla="*/ 46251 w 268544"/>
                <a:gd name="connsiteY4" fmla="*/ 0 h 344082"/>
                <a:gd name="connsiteX5" fmla="*/ 268545 w 268544"/>
                <a:gd name="connsiteY5" fmla="*/ 74492 h 344082"/>
                <a:gd name="connsiteX6" fmla="*/ 267362 w 268544"/>
                <a:gd name="connsiteY6" fmla="*/ 78039 h 344082"/>
                <a:gd name="connsiteX7" fmla="*/ 228343 w 268544"/>
                <a:gd name="connsiteY7" fmla="*/ 195098 h 344082"/>
                <a:gd name="connsiteX8" fmla="*/ 181046 w 268544"/>
                <a:gd name="connsiteY8" fmla="*/ 258949 h 344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8544" h="344082">
                  <a:moveTo>
                    <a:pt x="181046" y="258949"/>
                  </a:moveTo>
                  <a:cubicBezTo>
                    <a:pt x="150303" y="284962"/>
                    <a:pt x="88818" y="320434"/>
                    <a:pt x="53346" y="344082"/>
                  </a:cubicBezTo>
                  <a:cubicBezTo>
                    <a:pt x="34427" y="289691"/>
                    <a:pt x="-17599" y="190369"/>
                    <a:pt x="6049" y="120606"/>
                  </a:cubicBezTo>
                  <a:lnTo>
                    <a:pt x="45069" y="3547"/>
                  </a:lnTo>
                  <a:lnTo>
                    <a:pt x="46251" y="0"/>
                  </a:lnTo>
                  <a:lnTo>
                    <a:pt x="268545" y="74492"/>
                  </a:lnTo>
                  <a:lnTo>
                    <a:pt x="267362" y="78039"/>
                  </a:lnTo>
                  <a:lnTo>
                    <a:pt x="228343" y="195098"/>
                  </a:lnTo>
                  <a:cubicBezTo>
                    <a:pt x="218883" y="221111"/>
                    <a:pt x="202329" y="243577"/>
                    <a:pt x="181046" y="258949"/>
                  </a:cubicBezTo>
                  <a:close/>
                </a:path>
              </a:pathLst>
            </a:custGeom>
            <a:solidFill>
              <a:schemeClr val="accent2">
                <a:lumMod val="75000"/>
              </a:schemeClr>
            </a:solidFill>
            <a:ln w="118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54" name="Freeform: Shape 58">
              <a:extLst>
                <a:ext uri="{FF2B5EF4-FFF2-40B4-BE49-F238E27FC236}">
                  <a16:creationId xmlns:a16="http://schemas.microsoft.com/office/drawing/2014/main" id="{C9D59122-EA0B-424D-9832-2CA0ACA5B47C}"/>
                </a:ext>
              </a:extLst>
            </p:cNvPr>
            <p:cNvSpPr/>
            <p:nvPr/>
          </p:nvSpPr>
          <p:spPr>
            <a:xfrm>
              <a:off x="7104537" y="4283270"/>
              <a:ext cx="277463" cy="356312"/>
            </a:xfrm>
            <a:custGeom>
              <a:avLst/>
              <a:gdLst>
                <a:gd name="connsiteX0" fmla="*/ 263678 w 268859"/>
                <a:gd name="connsiteY0" fmla="*/ 144254 h 345264"/>
                <a:gd name="connsiteX1" fmla="*/ 212834 w 268859"/>
                <a:gd name="connsiteY1" fmla="*/ 0 h 345264"/>
                <a:gd name="connsiteX2" fmla="*/ 40202 w 268859"/>
                <a:gd name="connsiteY2" fmla="*/ 150167 h 345264"/>
                <a:gd name="connsiteX3" fmla="*/ 1182 w 268859"/>
                <a:gd name="connsiteY3" fmla="*/ 267226 h 345264"/>
                <a:gd name="connsiteX4" fmla="*/ 0 w 268859"/>
                <a:gd name="connsiteY4" fmla="*/ 270773 h 345264"/>
                <a:gd name="connsiteX5" fmla="*/ 222294 w 268859"/>
                <a:gd name="connsiteY5" fmla="*/ 345265 h 345264"/>
                <a:gd name="connsiteX6" fmla="*/ 223476 w 268859"/>
                <a:gd name="connsiteY6" fmla="*/ 341718 h 345264"/>
                <a:gd name="connsiteX7" fmla="*/ 262496 w 268859"/>
                <a:gd name="connsiteY7" fmla="*/ 224659 h 345264"/>
                <a:gd name="connsiteX8" fmla="*/ 263678 w 268859"/>
                <a:gd name="connsiteY8" fmla="*/ 144254 h 345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8859" h="345264">
                  <a:moveTo>
                    <a:pt x="263678" y="144254"/>
                  </a:moveTo>
                  <a:cubicBezTo>
                    <a:pt x="255401" y="104052"/>
                    <a:pt x="227023" y="40202"/>
                    <a:pt x="212834" y="0"/>
                  </a:cubicBezTo>
                  <a:cubicBezTo>
                    <a:pt x="165538" y="31925"/>
                    <a:pt x="63850" y="80404"/>
                    <a:pt x="40202" y="150167"/>
                  </a:cubicBezTo>
                  <a:lnTo>
                    <a:pt x="1182" y="267226"/>
                  </a:lnTo>
                  <a:lnTo>
                    <a:pt x="0" y="270773"/>
                  </a:lnTo>
                  <a:lnTo>
                    <a:pt x="222294" y="345265"/>
                  </a:lnTo>
                  <a:lnTo>
                    <a:pt x="223476" y="341718"/>
                  </a:lnTo>
                  <a:lnTo>
                    <a:pt x="262496" y="224659"/>
                  </a:lnTo>
                  <a:cubicBezTo>
                    <a:pt x="270773" y="196281"/>
                    <a:pt x="270773" y="169085"/>
                    <a:pt x="263678" y="144254"/>
                  </a:cubicBezTo>
                  <a:close/>
                </a:path>
              </a:pathLst>
            </a:custGeom>
            <a:solidFill>
              <a:schemeClr val="accent2">
                <a:lumMod val="75000"/>
              </a:schemeClr>
            </a:solidFill>
            <a:ln w="118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55" name="Freeform: Shape 59">
              <a:extLst>
                <a:ext uri="{FF2B5EF4-FFF2-40B4-BE49-F238E27FC236}">
                  <a16:creationId xmlns:a16="http://schemas.microsoft.com/office/drawing/2014/main" id="{1A47493D-27D7-43B6-ADBE-C0C23540BEDB}"/>
                </a:ext>
              </a:extLst>
            </p:cNvPr>
            <p:cNvSpPr/>
            <p:nvPr/>
          </p:nvSpPr>
          <p:spPr>
            <a:xfrm rot="17308163">
              <a:off x="6847309" y="4108392"/>
              <a:ext cx="219647" cy="56132"/>
            </a:xfrm>
            <a:custGeom>
              <a:avLst/>
              <a:gdLst>
                <a:gd name="connsiteX0" fmla="*/ 0 w 212836"/>
                <a:gd name="connsiteY0" fmla="*/ 0 h 54391"/>
                <a:gd name="connsiteX1" fmla="*/ 212836 w 212836"/>
                <a:gd name="connsiteY1" fmla="*/ 0 h 54391"/>
                <a:gd name="connsiteX2" fmla="*/ 212836 w 212836"/>
                <a:gd name="connsiteY2" fmla="*/ 54391 h 54391"/>
                <a:gd name="connsiteX3" fmla="*/ 0 w 212836"/>
                <a:gd name="connsiteY3" fmla="*/ 54391 h 54391"/>
              </a:gdLst>
              <a:ahLst/>
              <a:cxnLst>
                <a:cxn ang="0">
                  <a:pos x="connsiteX0" y="connsiteY0"/>
                </a:cxn>
                <a:cxn ang="0">
                  <a:pos x="connsiteX1" y="connsiteY1"/>
                </a:cxn>
                <a:cxn ang="0">
                  <a:pos x="connsiteX2" y="connsiteY2"/>
                </a:cxn>
                <a:cxn ang="0">
                  <a:pos x="connsiteX3" y="connsiteY3"/>
                </a:cxn>
              </a:cxnLst>
              <a:rect l="l" t="t" r="r" b="b"/>
              <a:pathLst>
                <a:path w="212836" h="54391">
                  <a:moveTo>
                    <a:pt x="0" y="0"/>
                  </a:moveTo>
                  <a:lnTo>
                    <a:pt x="212836" y="0"/>
                  </a:lnTo>
                  <a:lnTo>
                    <a:pt x="212836" y="54391"/>
                  </a:lnTo>
                  <a:lnTo>
                    <a:pt x="0" y="54391"/>
                  </a:lnTo>
                  <a:close/>
                </a:path>
              </a:pathLst>
            </a:custGeom>
            <a:solidFill>
              <a:schemeClr val="accent2">
                <a:lumMod val="75000"/>
              </a:schemeClr>
            </a:solidFill>
            <a:ln w="118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56" name="Freeform: Shape 60">
              <a:extLst>
                <a:ext uri="{FF2B5EF4-FFF2-40B4-BE49-F238E27FC236}">
                  <a16:creationId xmlns:a16="http://schemas.microsoft.com/office/drawing/2014/main" id="{D6C2FAB9-B70D-417C-9422-9C34C8ADEC56}"/>
                </a:ext>
              </a:extLst>
            </p:cNvPr>
            <p:cNvSpPr/>
            <p:nvPr/>
          </p:nvSpPr>
          <p:spPr>
            <a:xfrm rot="17307402">
              <a:off x="6805291" y="3972405"/>
              <a:ext cx="28066" cy="235517"/>
            </a:xfrm>
            <a:custGeom>
              <a:avLst/>
              <a:gdLst>
                <a:gd name="connsiteX0" fmla="*/ 0 w 27196"/>
                <a:gd name="connsiteY0" fmla="*/ 0 h 228214"/>
                <a:gd name="connsiteX1" fmla="*/ 27196 w 27196"/>
                <a:gd name="connsiteY1" fmla="*/ 0 h 228214"/>
                <a:gd name="connsiteX2" fmla="*/ 27196 w 27196"/>
                <a:gd name="connsiteY2" fmla="*/ 228215 h 228214"/>
                <a:gd name="connsiteX3" fmla="*/ 0 w 27196"/>
                <a:gd name="connsiteY3" fmla="*/ 228215 h 228214"/>
              </a:gdLst>
              <a:ahLst/>
              <a:cxnLst>
                <a:cxn ang="0">
                  <a:pos x="connsiteX0" y="connsiteY0"/>
                </a:cxn>
                <a:cxn ang="0">
                  <a:pos x="connsiteX1" y="connsiteY1"/>
                </a:cxn>
                <a:cxn ang="0">
                  <a:pos x="connsiteX2" y="connsiteY2"/>
                </a:cxn>
                <a:cxn ang="0">
                  <a:pos x="connsiteX3" y="connsiteY3"/>
                </a:cxn>
              </a:cxnLst>
              <a:rect l="l" t="t" r="r" b="b"/>
              <a:pathLst>
                <a:path w="27196" h="228214">
                  <a:moveTo>
                    <a:pt x="0" y="0"/>
                  </a:moveTo>
                  <a:lnTo>
                    <a:pt x="27196" y="0"/>
                  </a:lnTo>
                  <a:lnTo>
                    <a:pt x="27196" y="228215"/>
                  </a:lnTo>
                  <a:lnTo>
                    <a:pt x="0" y="228215"/>
                  </a:lnTo>
                  <a:close/>
                </a:path>
              </a:pathLst>
            </a:custGeom>
            <a:solidFill>
              <a:schemeClr val="accent2">
                <a:lumMod val="75000"/>
              </a:schemeClr>
            </a:solidFill>
            <a:ln w="118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grpSp>
        <p:nvGrpSpPr>
          <p:cNvPr id="57" name="Group 14">
            <a:extLst>
              <a:ext uri="{FF2B5EF4-FFF2-40B4-BE49-F238E27FC236}">
                <a16:creationId xmlns:a16="http://schemas.microsoft.com/office/drawing/2014/main" id="{1BCFB6A8-DE75-4F6F-9F58-928230E71ED8}"/>
              </a:ext>
            </a:extLst>
          </p:cNvPr>
          <p:cNvGrpSpPr/>
          <p:nvPr/>
        </p:nvGrpSpPr>
        <p:grpSpPr>
          <a:xfrm>
            <a:off x="3624380" y="3884248"/>
            <a:ext cx="1957283" cy="1206828"/>
            <a:chOff x="3624380" y="3884248"/>
            <a:chExt cx="1957283" cy="1206828"/>
          </a:xfrm>
        </p:grpSpPr>
        <p:sp>
          <p:nvSpPr>
            <p:cNvPr id="58" name="Freeform: Shape 61">
              <a:extLst>
                <a:ext uri="{FF2B5EF4-FFF2-40B4-BE49-F238E27FC236}">
                  <a16:creationId xmlns:a16="http://schemas.microsoft.com/office/drawing/2014/main" id="{71839ECE-44FA-4160-A58F-FEA5EB8CFBE4}"/>
                </a:ext>
              </a:extLst>
            </p:cNvPr>
            <p:cNvSpPr/>
            <p:nvPr/>
          </p:nvSpPr>
          <p:spPr>
            <a:xfrm>
              <a:off x="5437674" y="3886689"/>
              <a:ext cx="143989" cy="328247"/>
            </a:xfrm>
            <a:custGeom>
              <a:avLst/>
              <a:gdLst>
                <a:gd name="connsiteX0" fmla="*/ 0 w 139524"/>
                <a:gd name="connsiteY0" fmla="*/ 0 h 318069"/>
                <a:gd name="connsiteX1" fmla="*/ 107600 w 139524"/>
                <a:gd name="connsiteY1" fmla="*/ 318069 h 318069"/>
                <a:gd name="connsiteX2" fmla="*/ 139525 w 139524"/>
                <a:gd name="connsiteY2" fmla="*/ 292056 h 318069"/>
                <a:gd name="connsiteX3" fmla="*/ 40202 w 139524"/>
                <a:gd name="connsiteY3" fmla="*/ 0 h 318069"/>
                <a:gd name="connsiteX4" fmla="*/ 0 w 139524"/>
                <a:gd name="connsiteY4" fmla="*/ 0 h 3180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9524" h="318069">
                  <a:moveTo>
                    <a:pt x="0" y="0"/>
                  </a:moveTo>
                  <a:cubicBezTo>
                    <a:pt x="7095" y="114694"/>
                    <a:pt x="44932" y="224659"/>
                    <a:pt x="107600" y="318069"/>
                  </a:cubicBezTo>
                  <a:lnTo>
                    <a:pt x="139525" y="292056"/>
                  </a:lnTo>
                  <a:cubicBezTo>
                    <a:pt x="82769" y="205740"/>
                    <a:pt x="47297" y="105235"/>
                    <a:pt x="40202" y="0"/>
                  </a:cubicBezTo>
                  <a:lnTo>
                    <a:pt x="0" y="0"/>
                  </a:lnTo>
                  <a:close/>
                </a:path>
              </a:pathLst>
            </a:custGeom>
            <a:solidFill>
              <a:schemeClr val="accent2"/>
            </a:solidFill>
            <a:ln w="118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59" name="Freeform: Shape 62">
              <a:extLst>
                <a:ext uri="{FF2B5EF4-FFF2-40B4-BE49-F238E27FC236}">
                  <a16:creationId xmlns:a16="http://schemas.microsoft.com/office/drawing/2014/main" id="{56B8EC1D-04BF-41AE-9554-835D4DAC2C45}"/>
                </a:ext>
              </a:extLst>
            </p:cNvPr>
            <p:cNvSpPr/>
            <p:nvPr/>
          </p:nvSpPr>
          <p:spPr>
            <a:xfrm>
              <a:off x="3624380" y="3951507"/>
              <a:ext cx="1211709" cy="1139569"/>
            </a:xfrm>
            <a:custGeom>
              <a:avLst/>
              <a:gdLst>
                <a:gd name="connsiteX0" fmla="*/ 977856 w 1174136"/>
                <a:gd name="connsiteY0" fmla="*/ 806266 h 1104233"/>
                <a:gd name="connsiteX1" fmla="*/ 1028700 w 1174136"/>
                <a:gd name="connsiteY1" fmla="*/ 691571 h 1104233"/>
                <a:gd name="connsiteX2" fmla="*/ 1174137 w 1174136"/>
                <a:gd name="connsiteY2" fmla="*/ 308469 h 1104233"/>
                <a:gd name="connsiteX3" fmla="*/ 827690 w 1174136"/>
                <a:gd name="connsiteY3" fmla="*/ 89723 h 1104233"/>
                <a:gd name="connsiteX4" fmla="*/ 718908 w 1174136"/>
                <a:gd name="connsiteY4" fmla="*/ 28237 h 1104233"/>
                <a:gd name="connsiteX5" fmla="*/ 558099 w 1174136"/>
                <a:gd name="connsiteY5" fmla="*/ 9319 h 1104233"/>
                <a:gd name="connsiteX6" fmla="*/ 0 w 1174136"/>
                <a:gd name="connsiteY6" fmla="*/ 194958 h 1104233"/>
                <a:gd name="connsiteX7" fmla="*/ 302698 w 1174136"/>
                <a:gd name="connsiteY7" fmla="*/ 1104234 h 1104233"/>
                <a:gd name="connsiteX8" fmla="*/ 860797 w 1174136"/>
                <a:gd name="connsiteY8" fmla="*/ 917412 h 1104233"/>
                <a:gd name="connsiteX9" fmla="*/ 977856 w 1174136"/>
                <a:gd name="connsiteY9" fmla="*/ 806266 h 1104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74136" h="1104233">
                  <a:moveTo>
                    <a:pt x="977856" y="806266"/>
                  </a:moveTo>
                  <a:cubicBezTo>
                    <a:pt x="994410" y="776705"/>
                    <a:pt x="1010964" y="735321"/>
                    <a:pt x="1028700" y="691571"/>
                  </a:cubicBezTo>
                  <a:cubicBezTo>
                    <a:pt x="1058260" y="614714"/>
                    <a:pt x="1150489" y="367590"/>
                    <a:pt x="1174137" y="308469"/>
                  </a:cubicBezTo>
                  <a:cubicBezTo>
                    <a:pt x="1119746" y="275362"/>
                    <a:pt x="896270" y="133472"/>
                    <a:pt x="827690" y="89723"/>
                  </a:cubicBezTo>
                  <a:cubicBezTo>
                    <a:pt x="787488" y="64892"/>
                    <a:pt x="749650" y="42426"/>
                    <a:pt x="718908" y="28237"/>
                  </a:cubicBezTo>
                  <a:cubicBezTo>
                    <a:pt x="666881" y="-141"/>
                    <a:pt x="610126" y="-8418"/>
                    <a:pt x="558099" y="9319"/>
                  </a:cubicBezTo>
                  <a:lnTo>
                    <a:pt x="0" y="194958"/>
                  </a:lnTo>
                  <a:lnTo>
                    <a:pt x="302698" y="1104234"/>
                  </a:lnTo>
                  <a:lnTo>
                    <a:pt x="860797" y="917412"/>
                  </a:lnTo>
                  <a:cubicBezTo>
                    <a:pt x="914006" y="900859"/>
                    <a:pt x="953026" y="859474"/>
                    <a:pt x="977856" y="806266"/>
                  </a:cubicBezTo>
                  <a:close/>
                </a:path>
              </a:pathLst>
            </a:custGeom>
            <a:solidFill>
              <a:schemeClr val="accent2"/>
            </a:solidFill>
            <a:ln w="118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60" name="Freeform: Shape 63">
              <a:extLst>
                <a:ext uri="{FF2B5EF4-FFF2-40B4-BE49-F238E27FC236}">
                  <a16:creationId xmlns:a16="http://schemas.microsoft.com/office/drawing/2014/main" id="{4C2278CB-561E-4EED-89A5-5BFB8569EB0F}"/>
                </a:ext>
              </a:extLst>
            </p:cNvPr>
            <p:cNvSpPr/>
            <p:nvPr/>
          </p:nvSpPr>
          <p:spPr>
            <a:xfrm>
              <a:off x="4878798" y="3964785"/>
              <a:ext cx="390480" cy="412048"/>
            </a:xfrm>
            <a:custGeom>
              <a:avLst/>
              <a:gdLst>
                <a:gd name="connsiteX0" fmla="*/ 166720 w 378372"/>
                <a:gd name="connsiteY0" fmla="*/ 384285 h 399271"/>
                <a:gd name="connsiteX1" fmla="*/ 0 w 378372"/>
                <a:gd name="connsiteY1" fmla="*/ 281415 h 399271"/>
                <a:gd name="connsiteX2" fmla="*/ 134795 w 378372"/>
                <a:gd name="connsiteY2" fmla="*/ 41384 h 399271"/>
                <a:gd name="connsiteX3" fmla="*/ 255401 w 378372"/>
                <a:gd name="connsiteY3" fmla="*/ 1182 h 399271"/>
                <a:gd name="connsiteX4" fmla="*/ 260131 w 378372"/>
                <a:gd name="connsiteY4" fmla="*/ 0 h 399271"/>
                <a:gd name="connsiteX5" fmla="*/ 378372 w 378372"/>
                <a:gd name="connsiteY5" fmla="*/ 353542 h 399271"/>
                <a:gd name="connsiteX6" fmla="*/ 374825 w 378372"/>
                <a:gd name="connsiteY6" fmla="*/ 354724 h 399271"/>
                <a:gd name="connsiteX7" fmla="*/ 254219 w 378372"/>
                <a:gd name="connsiteY7" fmla="*/ 394926 h 399271"/>
                <a:gd name="connsiteX8" fmla="*/ 166720 w 378372"/>
                <a:gd name="connsiteY8" fmla="*/ 384285 h 3992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8372" h="399271">
                  <a:moveTo>
                    <a:pt x="166720" y="384285"/>
                  </a:moveTo>
                  <a:cubicBezTo>
                    <a:pt x="121789" y="364184"/>
                    <a:pt x="47297" y="309793"/>
                    <a:pt x="0" y="281415"/>
                  </a:cubicBezTo>
                  <a:cubicBezTo>
                    <a:pt x="26013" y="214017"/>
                    <a:pt x="62668" y="65033"/>
                    <a:pt x="134795" y="41384"/>
                  </a:cubicBezTo>
                  <a:lnTo>
                    <a:pt x="255401" y="1182"/>
                  </a:lnTo>
                  <a:lnTo>
                    <a:pt x="260131" y="0"/>
                  </a:lnTo>
                  <a:lnTo>
                    <a:pt x="378372" y="353542"/>
                  </a:lnTo>
                  <a:lnTo>
                    <a:pt x="374825" y="354724"/>
                  </a:lnTo>
                  <a:lnTo>
                    <a:pt x="254219" y="394926"/>
                  </a:lnTo>
                  <a:cubicBezTo>
                    <a:pt x="225841" y="403203"/>
                    <a:pt x="195098" y="399656"/>
                    <a:pt x="166720" y="384285"/>
                  </a:cubicBezTo>
                  <a:close/>
                </a:path>
              </a:pathLst>
            </a:custGeom>
            <a:solidFill>
              <a:schemeClr val="accent2"/>
            </a:solidFill>
            <a:ln w="118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useBgFill="1">
          <p:nvSpPr>
            <p:cNvPr id="61" name="Freeform: Shape 64">
              <a:extLst>
                <a:ext uri="{FF2B5EF4-FFF2-40B4-BE49-F238E27FC236}">
                  <a16:creationId xmlns:a16="http://schemas.microsoft.com/office/drawing/2014/main" id="{12A0386C-12EF-4B61-A05E-7BDA650AA18B}"/>
                </a:ext>
              </a:extLst>
            </p:cNvPr>
            <p:cNvSpPr/>
            <p:nvPr/>
          </p:nvSpPr>
          <p:spPr>
            <a:xfrm>
              <a:off x="4932490" y="4018475"/>
              <a:ext cx="281877" cy="313890"/>
            </a:xfrm>
            <a:custGeom>
              <a:avLst/>
              <a:gdLst>
                <a:gd name="connsiteX0" fmla="*/ 0 w 273137"/>
                <a:gd name="connsiteY0" fmla="*/ 211652 h 304157"/>
                <a:gd name="connsiteX1" fmla="*/ 96958 w 273137"/>
                <a:gd name="connsiteY1" fmla="*/ 28378 h 304157"/>
                <a:gd name="connsiteX2" fmla="*/ 182092 w 273137"/>
                <a:gd name="connsiteY2" fmla="*/ 0 h 304157"/>
                <a:gd name="connsiteX3" fmla="*/ 273138 w 273137"/>
                <a:gd name="connsiteY3" fmla="*/ 273138 h 304157"/>
                <a:gd name="connsiteX4" fmla="*/ 188004 w 273137"/>
                <a:gd name="connsiteY4" fmla="*/ 301516 h 304157"/>
                <a:gd name="connsiteX5" fmla="*/ 134795 w 273137"/>
                <a:gd name="connsiteY5" fmla="*/ 294421 h 304157"/>
                <a:gd name="connsiteX6" fmla="*/ 133613 w 273137"/>
                <a:gd name="connsiteY6" fmla="*/ 293239 h 304157"/>
                <a:gd name="connsiteX7" fmla="*/ 132430 w 273137"/>
                <a:gd name="connsiteY7" fmla="*/ 293239 h 304157"/>
                <a:gd name="connsiteX8" fmla="*/ 0 w 273137"/>
                <a:gd name="connsiteY8" fmla="*/ 211652 h 3041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3137" h="304157">
                  <a:moveTo>
                    <a:pt x="0" y="211652"/>
                  </a:moveTo>
                  <a:cubicBezTo>
                    <a:pt x="21283" y="148984"/>
                    <a:pt x="57938" y="41384"/>
                    <a:pt x="96958" y="28378"/>
                  </a:cubicBezTo>
                  <a:lnTo>
                    <a:pt x="182092" y="0"/>
                  </a:lnTo>
                  <a:lnTo>
                    <a:pt x="273138" y="273138"/>
                  </a:lnTo>
                  <a:lnTo>
                    <a:pt x="188004" y="301516"/>
                  </a:lnTo>
                  <a:cubicBezTo>
                    <a:pt x="170268" y="307428"/>
                    <a:pt x="151349" y="302698"/>
                    <a:pt x="134795" y="294421"/>
                  </a:cubicBezTo>
                  <a:lnTo>
                    <a:pt x="133613" y="293239"/>
                  </a:lnTo>
                  <a:lnTo>
                    <a:pt x="132430" y="293239"/>
                  </a:lnTo>
                  <a:cubicBezTo>
                    <a:pt x="88681" y="274320"/>
                    <a:pt x="42567" y="240030"/>
                    <a:pt x="0" y="211652"/>
                  </a:cubicBezTo>
                  <a:close/>
                </a:path>
              </a:pathLst>
            </a:custGeom>
            <a:ln w="118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62" name="Freeform: Shape 65">
              <a:extLst>
                <a:ext uri="{FF2B5EF4-FFF2-40B4-BE49-F238E27FC236}">
                  <a16:creationId xmlns:a16="http://schemas.microsoft.com/office/drawing/2014/main" id="{B14A6E93-7E81-4182-B0F2-7500D143020B}"/>
                </a:ext>
              </a:extLst>
            </p:cNvPr>
            <p:cNvSpPr/>
            <p:nvPr/>
          </p:nvSpPr>
          <p:spPr>
            <a:xfrm>
              <a:off x="4632308" y="3884248"/>
              <a:ext cx="277138" cy="355093"/>
            </a:xfrm>
            <a:custGeom>
              <a:avLst/>
              <a:gdLst>
                <a:gd name="connsiteX0" fmla="*/ 87499 w 268544"/>
                <a:gd name="connsiteY0" fmla="*/ 258949 h 344082"/>
                <a:gd name="connsiteX1" fmla="*/ 215199 w 268544"/>
                <a:gd name="connsiteY1" fmla="*/ 344082 h 344082"/>
                <a:gd name="connsiteX2" fmla="*/ 262496 w 268544"/>
                <a:gd name="connsiteY2" fmla="*/ 120606 h 344082"/>
                <a:gd name="connsiteX3" fmla="*/ 223476 w 268544"/>
                <a:gd name="connsiteY3" fmla="*/ 3547 h 344082"/>
                <a:gd name="connsiteX4" fmla="*/ 222294 w 268544"/>
                <a:gd name="connsiteY4" fmla="*/ 0 h 344082"/>
                <a:gd name="connsiteX5" fmla="*/ 0 w 268544"/>
                <a:gd name="connsiteY5" fmla="*/ 74492 h 344082"/>
                <a:gd name="connsiteX6" fmla="*/ 1182 w 268544"/>
                <a:gd name="connsiteY6" fmla="*/ 78039 h 344082"/>
                <a:gd name="connsiteX7" fmla="*/ 40202 w 268544"/>
                <a:gd name="connsiteY7" fmla="*/ 195098 h 344082"/>
                <a:gd name="connsiteX8" fmla="*/ 87499 w 268544"/>
                <a:gd name="connsiteY8" fmla="*/ 258949 h 344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8544" h="344082">
                  <a:moveTo>
                    <a:pt x="87499" y="258949"/>
                  </a:moveTo>
                  <a:cubicBezTo>
                    <a:pt x="118241" y="284962"/>
                    <a:pt x="179727" y="320434"/>
                    <a:pt x="215199" y="344082"/>
                  </a:cubicBezTo>
                  <a:cubicBezTo>
                    <a:pt x="234118" y="289691"/>
                    <a:pt x="286144" y="190369"/>
                    <a:pt x="262496" y="120606"/>
                  </a:cubicBezTo>
                  <a:lnTo>
                    <a:pt x="223476" y="3547"/>
                  </a:lnTo>
                  <a:lnTo>
                    <a:pt x="222294" y="0"/>
                  </a:lnTo>
                  <a:lnTo>
                    <a:pt x="0" y="74492"/>
                  </a:lnTo>
                  <a:lnTo>
                    <a:pt x="1182" y="78039"/>
                  </a:lnTo>
                  <a:lnTo>
                    <a:pt x="40202" y="195098"/>
                  </a:lnTo>
                  <a:cubicBezTo>
                    <a:pt x="50844" y="221111"/>
                    <a:pt x="67398" y="243577"/>
                    <a:pt x="87499" y="258949"/>
                  </a:cubicBezTo>
                  <a:close/>
                </a:path>
              </a:pathLst>
            </a:custGeom>
            <a:solidFill>
              <a:schemeClr val="accent2"/>
            </a:solidFill>
            <a:ln w="118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63" name="Freeform: Shape 66">
              <a:extLst>
                <a:ext uri="{FF2B5EF4-FFF2-40B4-BE49-F238E27FC236}">
                  <a16:creationId xmlns:a16="http://schemas.microsoft.com/office/drawing/2014/main" id="{9779A817-2B4F-4F43-856E-76D57E7DF5CB}"/>
                </a:ext>
              </a:extLst>
            </p:cNvPr>
            <p:cNvSpPr/>
            <p:nvPr/>
          </p:nvSpPr>
          <p:spPr>
            <a:xfrm>
              <a:off x="4811219" y="4283270"/>
              <a:ext cx="277463" cy="356312"/>
            </a:xfrm>
            <a:custGeom>
              <a:avLst/>
              <a:gdLst>
                <a:gd name="connsiteX0" fmla="*/ 5182 w 268859"/>
                <a:gd name="connsiteY0" fmla="*/ 144254 h 345264"/>
                <a:gd name="connsiteX1" fmla="*/ 56025 w 268859"/>
                <a:gd name="connsiteY1" fmla="*/ 0 h 345264"/>
                <a:gd name="connsiteX2" fmla="*/ 228658 w 268859"/>
                <a:gd name="connsiteY2" fmla="*/ 150167 h 345264"/>
                <a:gd name="connsiteX3" fmla="*/ 267678 w 268859"/>
                <a:gd name="connsiteY3" fmla="*/ 267226 h 345264"/>
                <a:gd name="connsiteX4" fmla="*/ 268860 w 268859"/>
                <a:gd name="connsiteY4" fmla="*/ 270773 h 345264"/>
                <a:gd name="connsiteX5" fmla="*/ 46566 w 268859"/>
                <a:gd name="connsiteY5" fmla="*/ 345265 h 345264"/>
                <a:gd name="connsiteX6" fmla="*/ 45384 w 268859"/>
                <a:gd name="connsiteY6" fmla="*/ 341718 h 345264"/>
                <a:gd name="connsiteX7" fmla="*/ 6364 w 268859"/>
                <a:gd name="connsiteY7" fmla="*/ 224659 h 345264"/>
                <a:gd name="connsiteX8" fmla="*/ 5182 w 268859"/>
                <a:gd name="connsiteY8" fmla="*/ 144254 h 345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8859" h="345264">
                  <a:moveTo>
                    <a:pt x="5182" y="144254"/>
                  </a:moveTo>
                  <a:cubicBezTo>
                    <a:pt x="13459" y="104052"/>
                    <a:pt x="41836" y="40202"/>
                    <a:pt x="56025" y="0"/>
                  </a:cubicBezTo>
                  <a:cubicBezTo>
                    <a:pt x="103322" y="31925"/>
                    <a:pt x="205010" y="80404"/>
                    <a:pt x="228658" y="150167"/>
                  </a:cubicBezTo>
                  <a:lnTo>
                    <a:pt x="267678" y="267226"/>
                  </a:lnTo>
                  <a:lnTo>
                    <a:pt x="268860" y="270773"/>
                  </a:lnTo>
                  <a:lnTo>
                    <a:pt x="46566" y="345265"/>
                  </a:lnTo>
                  <a:lnTo>
                    <a:pt x="45384" y="341718"/>
                  </a:lnTo>
                  <a:lnTo>
                    <a:pt x="6364" y="224659"/>
                  </a:lnTo>
                  <a:cubicBezTo>
                    <a:pt x="-1913" y="196281"/>
                    <a:pt x="-1913" y="169085"/>
                    <a:pt x="5182" y="144254"/>
                  </a:cubicBezTo>
                  <a:close/>
                </a:path>
              </a:pathLst>
            </a:custGeom>
            <a:solidFill>
              <a:schemeClr val="accent2"/>
            </a:solidFill>
            <a:ln w="118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64" name="Freeform: Shape 67">
              <a:extLst>
                <a:ext uri="{FF2B5EF4-FFF2-40B4-BE49-F238E27FC236}">
                  <a16:creationId xmlns:a16="http://schemas.microsoft.com/office/drawing/2014/main" id="{AC80C1B5-8A11-4CF1-8E7B-589CE8C6CFF7}"/>
                </a:ext>
              </a:extLst>
            </p:cNvPr>
            <p:cNvSpPr/>
            <p:nvPr/>
          </p:nvSpPr>
          <p:spPr>
            <a:xfrm rot="20491838">
              <a:off x="5206796" y="4027167"/>
              <a:ext cx="56132" cy="219647"/>
            </a:xfrm>
            <a:custGeom>
              <a:avLst/>
              <a:gdLst>
                <a:gd name="connsiteX0" fmla="*/ 0 w 54391"/>
                <a:gd name="connsiteY0" fmla="*/ 0 h 212836"/>
                <a:gd name="connsiteX1" fmla="*/ 54392 w 54391"/>
                <a:gd name="connsiteY1" fmla="*/ 0 h 212836"/>
                <a:gd name="connsiteX2" fmla="*/ 54392 w 54391"/>
                <a:gd name="connsiteY2" fmla="*/ 212836 h 212836"/>
                <a:gd name="connsiteX3" fmla="*/ 0 w 54391"/>
                <a:gd name="connsiteY3" fmla="*/ 212836 h 212836"/>
              </a:gdLst>
              <a:ahLst/>
              <a:cxnLst>
                <a:cxn ang="0">
                  <a:pos x="connsiteX0" y="connsiteY0"/>
                </a:cxn>
                <a:cxn ang="0">
                  <a:pos x="connsiteX1" y="connsiteY1"/>
                </a:cxn>
                <a:cxn ang="0">
                  <a:pos x="connsiteX2" y="connsiteY2"/>
                </a:cxn>
                <a:cxn ang="0">
                  <a:pos x="connsiteX3" y="connsiteY3"/>
                </a:cxn>
              </a:cxnLst>
              <a:rect l="l" t="t" r="r" b="b"/>
              <a:pathLst>
                <a:path w="54391" h="212836">
                  <a:moveTo>
                    <a:pt x="0" y="0"/>
                  </a:moveTo>
                  <a:lnTo>
                    <a:pt x="54392" y="0"/>
                  </a:lnTo>
                  <a:lnTo>
                    <a:pt x="54392" y="212836"/>
                  </a:lnTo>
                  <a:lnTo>
                    <a:pt x="0" y="212836"/>
                  </a:lnTo>
                  <a:close/>
                </a:path>
              </a:pathLst>
            </a:custGeom>
            <a:solidFill>
              <a:schemeClr val="accent2"/>
            </a:solidFill>
            <a:ln w="118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65" name="Freeform: Shape 68">
              <a:extLst>
                <a:ext uri="{FF2B5EF4-FFF2-40B4-BE49-F238E27FC236}">
                  <a16:creationId xmlns:a16="http://schemas.microsoft.com/office/drawing/2014/main" id="{9A2CC688-BF18-4288-B3DB-7D7725DAA7CD}"/>
                </a:ext>
              </a:extLst>
            </p:cNvPr>
            <p:cNvSpPr/>
            <p:nvPr/>
          </p:nvSpPr>
          <p:spPr>
            <a:xfrm rot="20492599">
              <a:off x="5255928" y="4077223"/>
              <a:ext cx="235517" cy="28066"/>
            </a:xfrm>
            <a:custGeom>
              <a:avLst/>
              <a:gdLst>
                <a:gd name="connsiteX0" fmla="*/ 0 w 228214"/>
                <a:gd name="connsiteY0" fmla="*/ 0 h 27196"/>
                <a:gd name="connsiteX1" fmla="*/ 228215 w 228214"/>
                <a:gd name="connsiteY1" fmla="*/ 0 h 27196"/>
                <a:gd name="connsiteX2" fmla="*/ 228215 w 228214"/>
                <a:gd name="connsiteY2" fmla="*/ 27197 h 27196"/>
                <a:gd name="connsiteX3" fmla="*/ 0 w 228214"/>
                <a:gd name="connsiteY3" fmla="*/ 27197 h 27196"/>
              </a:gdLst>
              <a:ahLst/>
              <a:cxnLst>
                <a:cxn ang="0">
                  <a:pos x="connsiteX0" y="connsiteY0"/>
                </a:cxn>
                <a:cxn ang="0">
                  <a:pos x="connsiteX1" y="connsiteY1"/>
                </a:cxn>
                <a:cxn ang="0">
                  <a:pos x="connsiteX2" y="connsiteY2"/>
                </a:cxn>
                <a:cxn ang="0">
                  <a:pos x="connsiteX3" y="connsiteY3"/>
                </a:cxn>
              </a:cxnLst>
              <a:rect l="l" t="t" r="r" b="b"/>
              <a:pathLst>
                <a:path w="228214" h="27196">
                  <a:moveTo>
                    <a:pt x="0" y="0"/>
                  </a:moveTo>
                  <a:lnTo>
                    <a:pt x="228215" y="0"/>
                  </a:lnTo>
                  <a:lnTo>
                    <a:pt x="228215" y="27197"/>
                  </a:lnTo>
                  <a:lnTo>
                    <a:pt x="0" y="27197"/>
                  </a:lnTo>
                  <a:close/>
                </a:path>
              </a:pathLst>
            </a:custGeom>
            <a:solidFill>
              <a:schemeClr val="accent2"/>
            </a:solidFill>
            <a:ln w="118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grpSp>
        <p:nvGrpSpPr>
          <p:cNvPr id="66" name="Group 86">
            <a:extLst>
              <a:ext uri="{FF2B5EF4-FFF2-40B4-BE49-F238E27FC236}">
                <a16:creationId xmlns:a16="http://schemas.microsoft.com/office/drawing/2014/main" id="{3483E6D9-C8D5-4790-A8D0-1A1A7D469082}"/>
              </a:ext>
            </a:extLst>
          </p:cNvPr>
          <p:cNvGrpSpPr/>
          <p:nvPr/>
        </p:nvGrpSpPr>
        <p:grpSpPr>
          <a:xfrm>
            <a:off x="6308933" y="4245442"/>
            <a:ext cx="1599750" cy="1881627"/>
            <a:chOff x="6308933" y="4245442"/>
            <a:chExt cx="1599750" cy="1881627"/>
          </a:xfrm>
        </p:grpSpPr>
        <p:sp>
          <p:nvSpPr>
            <p:cNvPr id="67" name="Freeform: Shape 69">
              <a:extLst>
                <a:ext uri="{FF2B5EF4-FFF2-40B4-BE49-F238E27FC236}">
                  <a16:creationId xmlns:a16="http://schemas.microsoft.com/office/drawing/2014/main" id="{0775AB21-AE66-4369-A4F8-AE995DB3337C}"/>
                </a:ext>
              </a:extLst>
            </p:cNvPr>
            <p:cNvSpPr/>
            <p:nvPr/>
          </p:nvSpPr>
          <p:spPr>
            <a:xfrm>
              <a:off x="6308933" y="4245442"/>
              <a:ext cx="295301" cy="223305"/>
            </a:xfrm>
            <a:custGeom>
              <a:avLst/>
              <a:gdLst>
                <a:gd name="connsiteX0" fmla="*/ 286144 w 286144"/>
                <a:gd name="connsiteY0" fmla="*/ 23648 h 216381"/>
                <a:gd name="connsiteX1" fmla="*/ 10642 w 286144"/>
                <a:gd name="connsiteY1" fmla="*/ 216382 h 216381"/>
                <a:gd name="connsiteX2" fmla="*/ 0 w 286144"/>
                <a:gd name="connsiteY2" fmla="*/ 177362 h 216381"/>
                <a:gd name="connsiteX3" fmla="*/ 251854 w 286144"/>
                <a:gd name="connsiteY3" fmla="*/ 0 h 216381"/>
                <a:gd name="connsiteX4" fmla="*/ 286144 w 286144"/>
                <a:gd name="connsiteY4" fmla="*/ 23648 h 2163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144" h="216381">
                  <a:moveTo>
                    <a:pt x="286144" y="23648"/>
                  </a:moveTo>
                  <a:cubicBezTo>
                    <a:pt x="212834" y="112329"/>
                    <a:pt x="117059" y="178545"/>
                    <a:pt x="10642" y="216382"/>
                  </a:cubicBezTo>
                  <a:lnTo>
                    <a:pt x="0" y="177362"/>
                  </a:lnTo>
                  <a:cubicBezTo>
                    <a:pt x="96958" y="141890"/>
                    <a:pt x="184457" y="80404"/>
                    <a:pt x="251854" y="0"/>
                  </a:cubicBezTo>
                  <a:lnTo>
                    <a:pt x="286144" y="23648"/>
                  </a:lnTo>
                  <a:close/>
                </a:path>
              </a:pathLst>
            </a:custGeom>
            <a:solidFill>
              <a:schemeClr val="accent3">
                <a:lumMod val="75000"/>
              </a:schemeClr>
            </a:solidFill>
            <a:ln w="118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68" name="Freeform: Shape 70">
              <a:extLst>
                <a:ext uri="{FF2B5EF4-FFF2-40B4-BE49-F238E27FC236}">
                  <a16:creationId xmlns:a16="http://schemas.microsoft.com/office/drawing/2014/main" id="{25927C4A-0F44-4E76-8AC3-BAF2F07BA208}"/>
                </a:ext>
              </a:extLst>
            </p:cNvPr>
            <p:cNvSpPr/>
            <p:nvPr/>
          </p:nvSpPr>
          <p:spPr>
            <a:xfrm>
              <a:off x="6716085" y="4933664"/>
              <a:ext cx="1192598" cy="1193405"/>
            </a:xfrm>
            <a:custGeom>
              <a:avLst/>
              <a:gdLst>
                <a:gd name="connsiteX0" fmla="*/ 5130 w 1155618"/>
                <a:gd name="connsiteY0" fmla="*/ 516715 h 1156400"/>
                <a:gd name="connsiteX1" fmla="*/ 32325 w 1155618"/>
                <a:gd name="connsiteY1" fmla="*/ 394927 h 1156400"/>
                <a:gd name="connsiteX2" fmla="*/ 141107 w 1155618"/>
                <a:gd name="connsiteY2" fmla="*/ 0 h 1156400"/>
                <a:gd name="connsiteX3" fmla="*/ 550222 w 1155618"/>
                <a:gd name="connsiteY3" fmla="*/ 28378 h 1156400"/>
                <a:gd name="connsiteX4" fmla="*/ 674376 w 1155618"/>
                <a:gd name="connsiteY4" fmla="*/ 43749 h 1156400"/>
                <a:gd name="connsiteX5" fmla="*/ 815083 w 1155618"/>
                <a:gd name="connsiteY5" fmla="*/ 122971 h 1156400"/>
                <a:gd name="connsiteX6" fmla="*/ 1155618 w 1155618"/>
                <a:gd name="connsiteY6" fmla="*/ 603031 h 1156400"/>
                <a:gd name="connsiteX7" fmla="*/ 374043 w 1155618"/>
                <a:gd name="connsiteY7" fmla="*/ 1156401 h 1156400"/>
                <a:gd name="connsiteX8" fmla="*/ 33508 w 1155618"/>
                <a:gd name="connsiteY8" fmla="*/ 676341 h 1156400"/>
                <a:gd name="connsiteX9" fmla="*/ 5130 w 1155618"/>
                <a:gd name="connsiteY9" fmla="*/ 516715 h 1156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55618" h="1156400">
                  <a:moveTo>
                    <a:pt x="5130" y="516715"/>
                  </a:moveTo>
                  <a:cubicBezTo>
                    <a:pt x="9859" y="483608"/>
                    <a:pt x="19319" y="439858"/>
                    <a:pt x="32325" y="394927"/>
                  </a:cubicBezTo>
                  <a:cubicBezTo>
                    <a:pt x="53608" y="315705"/>
                    <a:pt x="124553" y="61486"/>
                    <a:pt x="141107" y="0"/>
                  </a:cubicBezTo>
                  <a:cubicBezTo>
                    <a:pt x="204958" y="4730"/>
                    <a:pt x="468636" y="22466"/>
                    <a:pt x="550222" y="28378"/>
                  </a:cubicBezTo>
                  <a:cubicBezTo>
                    <a:pt x="597519" y="31925"/>
                    <a:pt x="641268" y="36655"/>
                    <a:pt x="674376" y="43749"/>
                  </a:cubicBezTo>
                  <a:cubicBezTo>
                    <a:pt x="733496" y="52027"/>
                    <a:pt x="783158" y="78039"/>
                    <a:pt x="815083" y="122971"/>
                  </a:cubicBezTo>
                  <a:lnTo>
                    <a:pt x="1155618" y="603031"/>
                  </a:lnTo>
                  <a:lnTo>
                    <a:pt x="374043" y="1156401"/>
                  </a:lnTo>
                  <a:lnTo>
                    <a:pt x="33508" y="676341"/>
                  </a:lnTo>
                  <a:cubicBezTo>
                    <a:pt x="1582" y="631409"/>
                    <a:pt x="-6695" y="575836"/>
                    <a:pt x="5130" y="516715"/>
                  </a:cubicBezTo>
                  <a:close/>
                </a:path>
              </a:pathLst>
            </a:custGeom>
            <a:solidFill>
              <a:schemeClr val="accent3">
                <a:lumMod val="75000"/>
              </a:schemeClr>
            </a:solidFill>
            <a:ln w="118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69" name="Freeform: Shape 71">
              <a:extLst>
                <a:ext uri="{FF2B5EF4-FFF2-40B4-BE49-F238E27FC236}">
                  <a16:creationId xmlns:a16="http://schemas.microsoft.com/office/drawing/2014/main" id="{1E9C5F44-4BE2-404E-9C90-F72152DED6CB}"/>
                </a:ext>
              </a:extLst>
            </p:cNvPr>
            <p:cNvSpPr/>
            <p:nvPr/>
          </p:nvSpPr>
          <p:spPr>
            <a:xfrm>
              <a:off x="6478549" y="4502916"/>
              <a:ext cx="408188" cy="392921"/>
            </a:xfrm>
            <a:custGeom>
              <a:avLst/>
              <a:gdLst>
                <a:gd name="connsiteX0" fmla="*/ 151349 w 395531"/>
                <a:gd name="connsiteY0" fmla="*/ 365366 h 380737"/>
                <a:gd name="connsiteX1" fmla="*/ 346447 w 395531"/>
                <a:gd name="connsiteY1" fmla="*/ 380737 h 380737"/>
                <a:gd name="connsiteX2" fmla="*/ 379555 w 395531"/>
                <a:gd name="connsiteY2" fmla="*/ 107600 h 380737"/>
                <a:gd name="connsiteX3" fmla="*/ 306245 w 395531"/>
                <a:gd name="connsiteY3" fmla="*/ 3547 h 380737"/>
                <a:gd name="connsiteX4" fmla="*/ 303880 w 395531"/>
                <a:gd name="connsiteY4" fmla="*/ 0 h 380737"/>
                <a:gd name="connsiteX5" fmla="*/ 0 w 395531"/>
                <a:gd name="connsiteY5" fmla="*/ 215199 h 380737"/>
                <a:gd name="connsiteX6" fmla="*/ 2365 w 395531"/>
                <a:gd name="connsiteY6" fmla="*/ 218747 h 380737"/>
                <a:gd name="connsiteX7" fmla="*/ 75674 w 395531"/>
                <a:gd name="connsiteY7" fmla="*/ 322799 h 380737"/>
                <a:gd name="connsiteX8" fmla="*/ 151349 w 395531"/>
                <a:gd name="connsiteY8" fmla="*/ 365366 h 380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5531" h="380737">
                  <a:moveTo>
                    <a:pt x="151349" y="365366"/>
                  </a:moveTo>
                  <a:cubicBezTo>
                    <a:pt x="199828" y="376007"/>
                    <a:pt x="292056" y="376007"/>
                    <a:pt x="346447" y="380737"/>
                  </a:cubicBezTo>
                  <a:cubicBezTo>
                    <a:pt x="365366" y="310975"/>
                    <a:pt x="423304" y="169085"/>
                    <a:pt x="379555" y="107600"/>
                  </a:cubicBezTo>
                  <a:lnTo>
                    <a:pt x="306245" y="3547"/>
                  </a:lnTo>
                  <a:lnTo>
                    <a:pt x="303880" y="0"/>
                  </a:lnTo>
                  <a:lnTo>
                    <a:pt x="0" y="215199"/>
                  </a:lnTo>
                  <a:lnTo>
                    <a:pt x="2365" y="218747"/>
                  </a:lnTo>
                  <a:lnTo>
                    <a:pt x="75674" y="322799"/>
                  </a:lnTo>
                  <a:cubicBezTo>
                    <a:pt x="92228" y="346447"/>
                    <a:pt x="119424" y="360636"/>
                    <a:pt x="151349" y="365366"/>
                  </a:cubicBezTo>
                  <a:close/>
                </a:path>
              </a:pathLst>
            </a:custGeom>
            <a:solidFill>
              <a:schemeClr val="accent3">
                <a:lumMod val="75000"/>
              </a:schemeClr>
            </a:solidFill>
            <a:ln w="118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useBgFill="1">
          <p:nvSpPr>
            <p:cNvPr id="70" name="Freeform: Shape 72">
              <a:extLst>
                <a:ext uri="{FF2B5EF4-FFF2-40B4-BE49-F238E27FC236}">
                  <a16:creationId xmlns:a16="http://schemas.microsoft.com/office/drawing/2014/main" id="{D72D21D0-B8B0-4406-9C5A-A3A4704E2B6C}"/>
                </a:ext>
              </a:extLst>
            </p:cNvPr>
            <p:cNvSpPr/>
            <p:nvPr/>
          </p:nvSpPr>
          <p:spPr>
            <a:xfrm>
              <a:off x="6538341" y="4563928"/>
              <a:ext cx="305482" cy="286759"/>
            </a:xfrm>
            <a:custGeom>
              <a:avLst/>
              <a:gdLst>
                <a:gd name="connsiteX0" fmla="*/ 257766 w 296010"/>
                <a:gd name="connsiteY0" fmla="*/ 277867 h 277867"/>
                <a:gd name="connsiteX1" fmla="*/ 287327 w 296010"/>
                <a:gd name="connsiteY1" fmla="*/ 73310 h 277867"/>
                <a:gd name="connsiteX2" fmla="*/ 235300 w 296010"/>
                <a:gd name="connsiteY2" fmla="*/ 0 h 277867"/>
                <a:gd name="connsiteX3" fmla="*/ 0 w 296010"/>
                <a:gd name="connsiteY3" fmla="*/ 166720 h 277867"/>
                <a:gd name="connsiteX4" fmla="*/ 52026 w 296010"/>
                <a:gd name="connsiteY4" fmla="*/ 240030 h 277867"/>
                <a:gd name="connsiteX5" fmla="*/ 99323 w 296010"/>
                <a:gd name="connsiteY5" fmla="*/ 266043 h 277867"/>
                <a:gd name="connsiteX6" fmla="*/ 100505 w 296010"/>
                <a:gd name="connsiteY6" fmla="*/ 266043 h 277867"/>
                <a:gd name="connsiteX7" fmla="*/ 101688 w 296010"/>
                <a:gd name="connsiteY7" fmla="*/ 266043 h 277867"/>
                <a:gd name="connsiteX8" fmla="*/ 257766 w 296010"/>
                <a:gd name="connsiteY8" fmla="*/ 277867 h 277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6010" h="277867">
                  <a:moveTo>
                    <a:pt x="257766" y="277867"/>
                  </a:moveTo>
                  <a:cubicBezTo>
                    <a:pt x="277867" y="215199"/>
                    <a:pt x="312157" y="107600"/>
                    <a:pt x="287327" y="73310"/>
                  </a:cubicBezTo>
                  <a:lnTo>
                    <a:pt x="235300" y="0"/>
                  </a:lnTo>
                  <a:lnTo>
                    <a:pt x="0" y="166720"/>
                  </a:lnTo>
                  <a:lnTo>
                    <a:pt x="52026" y="240030"/>
                  </a:lnTo>
                  <a:cubicBezTo>
                    <a:pt x="62668" y="255401"/>
                    <a:pt x="80404" y="262496"/>
                    <a:pt x="99323" y="266043"/>
                  </a:cubicBezTo>
                  <a:lnTo>
                    <a:pt x="100505" y="266043"/>
                  </a:lnTo>
                  <a:lnTo>
                    <a:pt x="101688" y="266043"/>
                  </a:lnTo>
                  <a:cubicBezTo>
                    <a:pt x="148984" y="275502"/>
                    <a:pt x="205740" y="275502"/>
                    <a:pt x="257766" y="277867"/>
                  </a:cubicBezTo>
                  <a:close/>
                </a:path>
              </a:pathLst>
            </a:custGeom>
            <a:ln w="118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71" name="Freeform: Shape 73">
              <a:extLst>
                <a:ext uri="{FF2B5EF4-FFF2-40B4-BE49-F238E27FC236}">
                  <a16:creationId xmlns:a16="http://schemas.microsoft.com/office/drawing/2014/main" id="{70BF41A5-0FC1-42AF-B2A7-26551A76B86D}"/>
                </a:ext>
              </a:extLst>
            </p:cNvPr>
            <p:cNvSpPr/>
            <p:nvPr/>
          </p:nvSpPr>
          <p:spPr>
            <a:xfrm>
              <a:off x="6865368" y="4606637"/>
              <a:ext cx="342890" cy="299860"/>
            </a:xfrm>
            <a:custGeom>
              <a:avLst/>
              <a:gdLst>
                <a:gd name="connsiteX0" fmla="*/ 153714 w 332258"/>
                <a:gd name="connsiteY0" fmla="*/ 289691 h 290562"/>
                <a:gd name="connsiteX1" fmla="*/ 0 w 332258"/>
                <a:gd name="connsiteY1" fmla="*/ 282597 h 290562"/>
                <a:gd name="connsiteX2" fmla="*/ 93411 w 332258"/>
                <a:gd name="connsiteY2" fmla="*/ 73310 h 290562"/>
                <a:gd name="connsiteX3" fmla="*/ 193916 w 332258"/>
                <a:gd name="connsiteY3" fmla="*/ 2365 h 290562"/>
                <a:gd name="connsiteX4" fmla="*/ 197463 w 332258"/>
                <a:gd name="connsiteY4" fmla="*/ 0 h 290562"/>
                <a:gd name="connsiteX5" fmla="*/ 332258 w 332258"/>
                <a:gd name="connsiteY5" fmla="*/ 190369 h 290562"/>
                <a:gd name="connsiteX6" fmla="*/ 328711 w 332258"/>
                <a:gd name="connsiteY6" fmla="*/ 192733 h 290562"/>
                <a:gd name="connsiteX7" fmla="*/ 228206 w 332258"/>
                <a:gd name="connsiteY7" fmla="*/ 263678 h 290562"/>
                <a:gd name="connsiteX8" fmla="*/ 153714 w 332258"/>
                <a:gd name="connsiteY8" fmla="*/ 289691 h 290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2258" h="290562">
                  <a:moveTo>
                    <a:pt x="153714" y="289691"/>
                  </a:moveTo>
                  <a:cubicBezTo>
                    <a:pt x="113512" y="293239"/>
                    <a:pt x="43749" y="284962"/>
                    <a:pt x="0" y="282597"/>
                  </a:cubicBezTo>
                  <a:cubicBezTo>
                    <a:pt x="16554" y="228206"/>
                    <a:pt x="34290" y="115876"/>
                    <a:pt x="93411" y="73310"/>
                  </a:cubicBezTo>
                  <a:lnTo>
                    <a:pt x="193916" y="2365"/>
                  </a:lnTo>
                  <a:lnTo>
                    <a:pt x="197463" y="0"/>
                  </a:lnTo>
                  <a:lnTo>
                    <a:pt x="332258" y="190369"/>
                  </a:lnTo>
                  <a:lnTo>
                    <a:pt x="328711" y="192733"/>
                  </a:lnTo>
                  <a:lnTo>
                    <a:pt x="228206" y="263678"/>
                  </a:lnTo>
                  <a:cubicBezTo>
                    <a:pt x="205740" y="281414"/>
                    <a:pt x="178545" y="289691"/>
                    <a:pt x="153714" y="289691"/>
                  </a:cubicBezTo>
                  <a:close/>
                </a:path>
              </a:pathLst>
            </a:custGeom>
            <a:solidFill>
              <a:schemeClr val="accent3">
                <a:lumMod val="75000"/>
              </a:schemeClr>
            </a:solidFill>
            <a:ln w="118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72" name="Freeform: Shape 74">
              <a:extLst>
                <a:ext uri="{FF2B5EF4-FFF2-40B4-BE49-F238E27FC236}">
                  <a16:creationId xmlns:a16="http://schemas.microsoft.com/office/drawing/2014/main" id="{273F39D0-E458-4764-9EFB-45575B5FB74F}"/>
                </a:ext>
              </a:extLst>
            </p:cNvPr>
            <p:cNvSpPr/>
            <p:nvPr/>
          </p:nvSpPr>
          <p:spPr>
            <a:xfrm>
              <a:off x="6485870" y="4917484"/>
              <a:ext cx="342890" cy="299278"/>
            </a:xfrm>
            <a:custGeom>
              <a:avLst/>
              <a:gdLst>
                <a:gd name="connsiteX0" fmla="*/ 287327 w 332258"/>
                <a:gd name="connsiteY0" fmla="*/ 154021 h 289998"/>
                <a:gd name="connsiteX1" fmla="*/ 332258 w 332258"/>
                <a:gd name="connsiteY1" fmla="*/ 7402 h 289998"/>
                <a:gd name="connsiteX2" fmla="*/ 104052 w 332258"/>
                <a:gd name="connsiteY2" fmla="*/ 26320 h 289998"/>
                <a:gd name="connsiteX3" fmla="*/ 3547 w 332258"/>
                <a:gd name="connsiteY3" fmla="*/ 97265 h 289998"/>
                <a:gd name="connsiteX4" fmla="*/ 0 w 332258"/>
                <a:gd name="connsiteY4" fmla="*/ 99630 h 289998"/>
                <a:gd name="connsiteX5" fmla="*/ 134795 w 332258"/>
                <a:gd name="connsiteY5" fmla="*/ 289998 h 289998"/>
                <a:gd name="connsiteX6" fmla="*/ 138343 w 332258"/>
                <a:gd name="connsiteY6" fmla="*/ 287634 h 289998"/>
                <a:gd name="connsiteX7" fmla="*/ 238848 w 332258"/>
                <a:gd name="connsiteY7" fmla="*/ 216689 h 289998"/>
                <a:gd name="connsiteX8" fmla="*/ 287327 w 332258"/>
                <a:gd name="connsiteY8" fmla="*/ 154021 h 289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2258" h="289998">
                  <a:moveTo>
                    <a:pt x="287327" y="154021"/>
                  </a:moveTo>
                  <a:cubicBezTo>
                    <a:pt x="303881" y="116183"/>
                    <a:pt x="319252" y="47604"/>
                    <a:pt x="332258" y="7402"/>
                  </a:cubicBezTo>
                  <a:cubicBezTo>
                    <a:pt x="275503" y="5037"/>
                    <a:pt x="164356" y="-16247"/>
                    <a:pt x="104052" y="26320"/>
                  </a:cubicBezTo>
                  <a:lnTo>
                    <a:pt x="3547" y="97265"/>
                  </a:lnTo>
                  <a:lnTo>
                    <a:pt x="0" y="99630"/>
                  </a:lnTo>
                  <a:lnTo>
                    <a:pt x="134795" y="289998"/>
                  </a:lnTo>
                  <a:lnTo>
                    <a:pt x="138343" y="287634"/>
                  </a:lnTo>
                  <a:lnTo>
                    <a:pt x="238848" y="216689"/>
                  </a:lnTo>
                  <a:cubicBezTo>
                    <a:pt x="262496" y="200135"/>
                    <a:pt x="279050" y="177669"/>
                    <a:pt x="287327" y="154021"/>
                  </a:cubicBezTo>
                  <a:close/>
                </a:path>
              </a:pathLst>
            </a:custGeom>
            <a:solidFill>
              <a:schemeClr val="accent3">
                <a:lumMod val="75000"/>
              </a:schemeClr>
            </a:solidFill>
            <a:ln w="118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73" name="Freeform: Shape 75">
              <a:extLst>
                <a:ext uri="{FF2B5EF4-FFF2-40B4-BE49-F238E27FC236}">
                  <a16:creationId xmlns:a16="http://schemas.microsoft.com/office/drawing/2014/main" id="{B6B09FC7-715E-4803-9094-FDFA43DBAECB}"/>
                </a:ext>
              </a:extLst>
            </p:cNvPr>
            <p:cNvSpPr/>
            <p:nvPr/>
          </p:nvSpPr>
          <p:spPr>
            <a:xfrm rot="19483045">
              <a:off x="6508833" y="4562787"/>
              <a:ext cx="219642" cy="56130"/>
            </a:xfrm>
            <a:custGeom>
              <a:avLst/>
              <a:gdLst>
                <a:gd name="connsiteX0" fmla="*/ 0 w 212831"/>
                <a:gd name="connsiteY0" fmla="*/ 0 h 54390"/>
                <a:gd name="connsiteX1" fmla="*/ 212831 w 212831"/>
                <a:gd name="connsiteY1" fmla="*/ 0 h 54390"/>
                <a:gd name="connsiteX2" fmla="*/ 212831 w 212831"/>
                <a:gd name="connsiteY2" fmla="*/ 54390 h 54390"/>
                <a:gd name="connsiteX3" fmla="*/ 0 w 212831"/>
                <a:gd name="connsiteY3" fmla="*/ 54390 h 54390"/>
              </a:gdLst>
              <a:ahLst/>
              <a:cxnLst>
                <a:cxn ang="0">
                  <a:pos x="connsiteX0" y="connsiteY0"/>
                </a:cxn>
                <a:cxn ang="0">
                  <a:pos x="connsiteX1" y="connsiteY1"/>
                </a:cxn>
                <a:cxn ang="0">
                  <a:pos x="connsiteX2" y="connsiteY2"/>
                </a:cxn>
                <a:cxn ang="0">
                  <a:pos x="connsiteX3" y="connsiteY3"/>
                </a:cxn>
              </a:cxnLst>
              <a:rect l="l" t="t" r="r" b="b"/>
              <a:pathLst>
                <a:path w="212831" h="54390">
                  <a:moveTo>
                    <a:pt x="0" y="0"/>
                  </a:moveTo>
                  <a:lnTo>
                    <a:pt x="212831" y="0"/>
                  </a:lnTo>
                  <a:lnTo>
                    <a:pt x="212831" y="54390"/>
                  </a:lnTo>
                  <a:lnTo>
                    <a:pt x="0" y="54390"/>
                  </a:lnTo>
                  <a:close/>
                </a:path>
              </a:pathLst>
            </a:custGeom>
            <a:solidFill>
              <a:schemeClr val="accent3">
                <a:lumMod val="75000"/>
              </a:schemeClr>
            </a:solidFill>
            <a:ln w="118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74" name="Freeform: Shape 76">
              <a:extLst>
                <a:ext uri="{FF2B5EF4-FFF2-40B4-BE49-F238E27FC236}">
                  <a16:creationId xmlns:a16="http://schemas.microsoft.com/office/drawing/2014/main" id="{700AF3F8-B53A-4472-BD23-E69BA25A2CEE}"/>
                </a:ext>
              </a:extLst>
            </p:cNvPr>
            <p:cNvSpPr/>
            <p:nvPr/>
          </p:nvSpPr>
          <p:spPr>
            <a:xfrm rot="19481806">
              <a:off x="6520189" y="4354240"/>
              <a:ext cx="28065" cy="235507"/>
            </a:xfrm>
            <a:custGeom>
              <a:avLst/>
              <a:gdLst>
                <a:gd name="connsiteX0" fmla="*/ 0 w 27195"/>
                <a:gd name="connsiteY0" fmla="*/ 0 h 228204"/>
                <a:gd name="connsiteX1" fmla="*/ 27195 w 27195"/>
                <a:gd name="connsiteY1" fmla="*/ 0 h 228204"/>
                <a:gd name="connsiteX2" fmla="*/ 27195 w 27195"/>
                <a:gd name="connsiteY2" fmla="*/ 228205 h 228204"/>
                <a:gd name="connsiteX3" fmla="*/ 0 w 27195"/>
                <a:gd name="connsiteY3" fmla="*/ 228205 h 228204"/>
              </a:gdLst>
              <a:ahLst/>
              <a:cxnLst>
                <a:cxn ang="0">
                  <a:pos x="connsiteX0" y="connsiteY0"/>
                </a:cxn>
                <a:cxn ang="0">
                  <a:pos x="connsiteX1" y="connsiteY1"/>
                </a:cxn>
                <a:cxn ang="0">
                  <a:pos x="connsiteX2" y="connsiteY2"/>
                </a:cxn>
                <a:cxn ang="0">
                  <a:pos x="connsiteX3" y="connsiteY3"/>
                </a:cxn>
              </a:cxnLst>
              <a:rect l="l" t="t" r="r" b="b"/>
              <a:pathLst>
                <a:path w="27195" h="228204">
                  <a:moveTo>
                    <a:pt x="0" y="0"/>
                  </a:moveTo>
                  <a:lnTo>
                    <a:pt x="27195" y="0"/>
                  </a:lnTo>
                  <a:lnTo>
                    <a:pt x="27195" y="228205"/>
                  </a:lnTo>
                  <a:lnTo>
                    <a:pt x="0" y="228205"/>
                  </a:lnTo>
                  <a:close/>
                </a:path>
              </a:pathLst>
            </a:custGeom>
            <a:solidFill>
              <a:schemeClr val="accent3">
                <a:lumMod val="75000"/>
              </a:schemeClr>
            </a:solidFill>
            <a:ln w="118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grpSp>
        <p:nvGrpSpPr>
          <p:cNvPr id="75" name="Group 13">
            <a:extLst>
              <a:ext uri="{FF2B5EF4-FFF2-40B4-BE49-F238E27FC236}">
                <a16:creationId xmlns:a16="http://schemas.microsoft.com/office/drawing/2014/main" id="{2BBC6FD8-772F-4A57-96E8-B91208C6900C}"/>
              </a:ext>
            </a:extLst>
          </p:cNvPr>
          <p:cNvGrpSpPr/>
          <p:nvPr/>
        </p:nvGrpSpPr>
        <p:grpSpPr>
          <a:xfrm>
            <a:off x="4283317" y="4245442"/>
            <a:ext cx="1600969" cy="1881627"/>
            <a:chOff x="4283317" y="4245442"/>
            <a:chExt cx="1600969" cy="1881627"/>
          </a:xfrm>
        </p:grpSpPr>
        <p:sp>
          <p:nvSpPr>
            <p:cNvPr id="76" name="Freeform: Shape 77">
              <a:extLst>
                <a:ext uri="{FF2B5EF4-FFF2-40B4-BE49-F238E27FC236}">
                  <a16:creationId xmlns:a16="http://schemas.microsoft.com/office/drawing/2014/main" id="{95085AA2-9720-4128-8858-B784064D1664}"/>
                </a:ext>
              </a:extLst>
            </p:cNvPr>
            <p:cNvSpPr/>
            <p:nvPr/>
          </p:nvSpPr>
          <p:spPr>
            <a:xfrm>
              <a:off x="5588985" y="4245442"/>
              <a:ext cx="295301" cy="223305"/>
            </a:xfrm>
            <a:custGeom>
              <a:avLst/>
              <a:gdLst>
                <a:gd name="connsiteX0" fmla="*/ 0 w 286144"/>
                <a:gd name="connsiteY0" fmla="*/ 23648 h 216381"/>
                <a:gd name="connsiteX1" fmla="*/ 275502 w 286144"/>
                <a:gd name="connsiteY1" fmla="*/ 216382 h 216381"/>
                <a:gd name="connsiteX2" fmla="*/ 286144 w 286144"/>
                <a:gd name="connsiteY2" fmla="*/ 177362 h 216381"/>
                <a:gd name="connsiteX3" fmla="*/ 34290 w 286144"/>
                <a:gd name="connsiteY3" fmla="*/ 0 h 216381"/>
                <a:gd name="connsiteX4" fmla="*/ 0 w 286144"/>
                <a:gd name="connsiteY4" fmla="*/ 23648 h 2163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144" h="216381">
                  <a:moveTo>
                    <a:pt x="0" y="23648"/>
                  </a:moveTo>
                  <a:cubicBezTo>
                    <a:pt x="73310" y="112329"/>
                    <a:pt x="169085" y="178545"/>
                    <a:pt x="275502" y="216382"/>
                  </a:cubicBezTo>
                  <a:lnTo>
                    <a:pt x="286144" y="177362"/>
                  </a:lnTo>
                  <a:cubicBezTo>
                    <a:pt x="189186" y="141890"/>
                    <a:pt x="101688" y="80404"/>
                    <a:pt x="34290" y="0"/>
                  </a:cubicBezTo>
                  <a:lnTo>
                    <a:pt x="0" y="23648"/>
                  </a:lnTo>
                  <a:close/>
                </a:path>
              </a:pathLst>
            </a:custGeom>
            <a:solidFill>
              <a:schemeClr val="accent1"/>
            </a:solidFill>
            <a:ln w="118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77" name="Freeform: Shape 78">
              <a:extLst>
                <a:ext uri="{FF2B5EF4-FFF2-40B4-BE49-F238E27FC236}">
                  <a16:creationId xmlns:a16="http://schemas.microsoft.com/office/drawing/2014/main" id="{B43B4805-66A6-4CE5-9FAF-E6D8C6F968E8}"/>
                </a:ext>
              </a:extLst>
            </p:cNvPr>
            <p:cNvSpPr/>
            <p:nvPr/>
          </p:nvSpPr>
          <p:spPr>
            <a:xfrm>
              <a:off x="4283317" y="4933664"/>
              <a:ext cx="1192598" cy="1193405"/>
            </a:xfrm>
            <a:custGeom>
              <a:avLst/>
              <a:gdLst>
                <a:gd name="connsiteX0" fmla="*/ 1150489 w 1155618"/>
                <a:gd name="connsiteY0" fmla="*/ 516715 h 1156400"/>
                <a:gd name="connsiteX1" fmla="*/ 1123293 w 1155618"/>
                <a:gd name="connsiteY1" fmla="*/ 394927 h 1156400"/>
                <a:gd name="connsiteX2" fmla="*/ 1014511 w 1155618"/>
                <a:gd name="connsiteY2" fmla="*/ 0 h 1156400"/>
                <a:gd name="connsiteX3" fmla="*/ 605396 w 1155618"/>
                <a:gd name="connsiteY3" fmla="*/ 28378 h 1156400"/>
                <a:gd name="connsiteX4" fmla="*/ 481242 w 1155618"/>
                <a:gd name="connsiteY4" fmla="*/ 43749 h 1156400"/>
                <a:gd name="connsiteX5" fmla="*/ 340535 w 1155618"/>
                <a:gd name="connsiteY5" fmla="*/ 122971 h 1156400"/>
                <a:gd name="connsiteX6" fmla="*/ 0 w 1155618"/>
                <a:gd name="connsiteY6" fmla="*/ 603031 h 1156400"/>
                <a:gd name="connsiteX7" fmla="*/ 781576 w 1155618"/>
                <a:gd name="connsiteY7" fmla="*/ 1156401 h 1156400"/>
                <a:gd name="connsiteX8" fmla="*/ 1122111 w 1155618"/>
                <a:gd name="connsiteY8" fmla="*/ 676341 h 1156400"/>
                <a:gd name="connsiteX9" fmla="*/ 1150489 w 1155618"/>
                <a:gd name="connsiteY9" fmla="*/ 516715 h 1156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55618" h="1156400">
                  <a:moveTo>
                    <a:pt x="1150489" y="516715"/>
                  </a:moveTo>
                  <a:cubicBezTo>
                    <a:pt x="1145759" y="483608"/>
                    <a:pt x="1136300" y="439858"/>
                    <a:pt x="1123293" y="394927"/>
                  </a:cubicBezTo>
                  <a:cubicBezTo>
                    <a:pt x="1102010" y="315705"/>
                    <a:pt x="1031065" y="61486"/>
                    <a:pt x="1014511" y="0"/>
                  </a:cubicBezTo>
                  <a:cubicBezTo>
                    <a:pt x="950661" y="4730"/>
                    <a:pt x="686982" y="22466"/>
                    <a:pt x="605396" y="28378"/>
                  </a:cubicBezTo>
                  <a:cubicBezTo>
                    <a:pt x="558099" y="31925"/>
                    <a:pt x="514350" y="36655"/>
                    <a:pt x="481242" y="43749"/>
                  </a:cubicBezTo>
                  <a:cubicBezTo>
                    <a:pt x="422122" y="52027"/>
                    <a:pt x="372460" y="78039"/>
                    <a:pt x="340535" y="122971"/>
                  </a:cubicBezTo>
                  <a:lnTo>
                    <a:pt x="0" y="603031"/>
                  </a:lnTo>
                  <a:lnTo>
                    <a:pt x="781576" y="1156401"/>
                  </a:lnTo>
                  <a:lnTo>
                    <a:pt x="1122111" y="676341"/>
                  </a:lnTo>
                  <a:cubicBezTo>
                    <a:pt x="1154036" y="631409"/>
                    <a:pt x="1162313" y="575836"/>
                    <a:pt x="1150489" y="516715"/>
                  </a:cubicBezTo>
                  <a:close/>
                </a:path>
              </a:pathLst>
            </a:custGeom>
            <a:solidFill>
              <a:schemeClr val="accent1"/>
            </a:solidFill>
            <a:ln w="118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78" name="Freeform: Shape 79">
              <a:extLst>
                <a:ext uri="{FF2B5EF4-FFF2-40B4-BE49-F238E27FC236}">
                  <a16:creationId xmlns:a16="http://schemas.microsoft.com/office/drawing/2014/main" id="{19624C5C-0B80-4D04-932F-346570BC3A42}"/>
                </a:ext>
              </a:extLst>
            </p:cNvPr>
            <p:cNvSpPr/>
            <p:nvPr/>
          </p:nvSpPr>
          <p:spPr>
            <a:xfrm>
              <a:off x="5306482" y="4502916"/>
              <a:ext cx="408188" cy="392921"/>
            </a:xfrm>
            <a:custGeom>
              <a:avLst/>
              <a:gdLst>
                <a:gd name="connsiteX0" fmla="*/ 244183 w 395531"/>
                <a:gd name="connsiteY0" fmla="*/ 365366 h 380737"/>
                <a:gd name="connsiteX1" fmla="*/ 49085 w 395531"/>
                <a:gd name="connsiteY1" fmla="*/ 380737 h 380737"/>
                <a:gd name="connsiteX2" fmla="*/ 15977 w 395531"/>
                <a:gd name="connsiteY2" fmla="*/ 107600 h 380737"/>
                <a:gd name="connsiteX3" fmla="*/ 89287 w 395531"/>
                <a:gd name="connsiteY3" fmla="*/ 3547 h 380737"/>
                <a:gd name="connsiteX4" fmla="*/ 91651 w 395531"/>
                <a:gd name="connsiteY4" fmla="*/ 0 h 380737"/>
                <a:gd name="connsiteX5" fmla="*/ 395532 w 395531"/>
                <a:gd name="connsiteY5" fmla="*/ 215199 h 380737"/>
                <a:gd name="connsiteX6" fmla="*/ 393167 w 395531"/>
                <a:gd name="connsiteY6" fmla="*/ 218747 h 380737"/>
                <a:gd name="connsiteX7" fmla="*/ 319857 w 395531"/>
                <a:gd name="connsiteY7" fmla="*/ 322799 h 380737"/>
                <a:gd name="connsiteX8" fmla="*/ 244183 w 395531"/>
                <a:gd name="connsiteY8" fmla="*/ 365366 h 380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5531" h="380737">
                  <a:moveTo>
                    <a:pt x="244183" y="365366"/>
                  </a:moveTo>
                  <a:cubicBezTo>
                    <a:pt x="195704" y="376007"/>
                    <a:pt x="103476" y="376007"/>
                    <a:pt x="49085" y="380737"/>
                  </a:cubicBezTo>
                  <a:cubicBezTo>
                    <a:pt x="30166" y="310975"/>
                    <a:pt x="-27772" y="169085"/>
                    <a:pt x="15977" y="107600"/>
                  </a:cubicBezTo>
                  <a:lnTo>
                    <a:pt x="89287" y="3547"/>
                  </a:lnTo>
                  <a:lnTo>
                    <a:pt x="91651" y="0"/>
                  </a:lnTo>
                  <a:lnTo>
                    <a:pt x="395532" y="215199"/>
                  </a:lnTo>
                  <a:lnTo>
                    <a:pt x="393167" y="218747"/>
                  </a:lnTo>
                  <a:lnTo>
                    <a:pt x="319857" y="322799"/>
                  </a:lnTo>
                  <a:cubicBezTo>
                    <a:pt x="302121" y="346447"/>
                    <a:pt x="274926" y="360636"/>
                    <a:pt x="244183" y="365366"/>
                  </a:cubicBezTo>
                  <a:close/>
                </a:path>
              </a:pathLst>
            </a:custGeom>
            <a:solidFill>
              <a:schemeClr val="accent1"/>
            </a:solidFill>
            <a:ln w="118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useBgFill="1">
          <p:nvSpPr>
            <p:cNvPr id="79" name="Freeform: Shape 80">
              <a:extLst>
                <a:ext uri="{FF2B5EF4-FFF2-40B4-BE49-F238E27FC236}">
                  <a16:creationId xmlns:a16="http://schemas.microsoft.com/office/drawing/2014/main" id="{DD6B6D7D-503F-4BB8-A2F7-F876DFB0D266}"/>
                </a:ext>
              </a:extLst>
            </p:cNvPr>
            <p:cNvSpPr/>
            <p:nvPr/>
          </p:nvSpPr>
          <p:spPr>
            <a:xfrm>
              <a:off x="5349396" y="4563928"/>
              <a:ext cx="305482" cy="286759"/>
            </a:xfrm>
            <a:custGeom>
              <a:avLst/>
              <a:gdLst>
                <a:gd name="connsiteX0" fmla="*/ 38244 w 296010"/>
                <a:gd name="connsiteY0" fmla="*/ 277867 h 277867"/>
                <a:gd name="connsiteX1" fmla="*/ 8684 w 296010"/>
                <a:gd name="connsiteY1" fmla="*/ 73310 h 277867"/>
                <a:gd name="connsiteX2" fmla="*/ 60710 w 296010"/>
                <a:gd name="connsiteY2" fmla="*/ 0 h 277867"/>
                <a:gd name="connsiteX3" fmla="*/ 296010 w 296010"/>
                <a:gd name="connsiteY3" fmla="*/ 166720 h 277867"/>
                <a:gd name="connsiteX4" fmla="*/ 243984 w 296010"/>
                <a:gd name="connsiteY4" fmla="*/ 240030 h 277867"/>
                <a:gd name="connsiteX5" fmla="*/ 196688 w 296010"/>
                <a:gd name="connsiteY5" fmla="*/ 266043 h 277867"/>
                <a:gd name="connsiteX6" fmla="*/ 195505 w 296010"/>
                <a:gd name="connsiteY6" fmla="*/ 266043 h 277867"/>
                <a:gd name="connsiteX7" fmla="*/ 194323 w 296010"/>
                <a:gd name="connsiteY7" fmla="*/ 266043 h 277867"/>
                <a:gd name="connsiteX8" fmla="*/ 38244 w 296010"/>
                <a:gd name="connsiteY8" fmla="*/ 277867 h 277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6010" h="277867">
                  <a:moveTo>
                    <a:pt x="38244" y="277867"/>
                  </a:moveTo>
                  <a:cubicBezTo>
                    <a:pt x="18143" y="215199"/>
                    <a:pt x="-16147" y="107600"/>
                    <a:pt x="8684" y="73310"/>
                  </a:cubicBezTo>
                  <a:lnTo>
                    <a:pt x="60710" y="0"/>
                  </a:lnTo>
                  <a:lnTo>
                    <a:pt x="296010" y="166720"/>
                  </a:lnTo>
                  <a:lnTo>
                    <a:pt x="243984" y="240030"/>
                  </a:lnTo>
                  <a:cubicBezTo>
                    <a:pt x="233342" y="255401"/>
                    <a:pt x="215606" y="262496"/>
                    <a:pt x="196688" y="266043"/>
                  </a:cubicBezTo>
                  <a:lnTo>
                    <a:pt x="195505" y="266043"/>
                  </a:lnTo>
                  <a:lnTo>
                    <a:pt x="194323" y="266043"/>
                  </a:lnTo>
                  <a:cubicBezTo>
                    <a:pt x="147026" y="275502"/>
                    <a:pt x="89088" y="275502"/>
                    <a:pt x="38244" y="277867"/>
                  </a:cubicBezTo>
                  <a:close/>
                </a:path>
              </a:pathLst>
            </a:custGeom>
            <a:ln w="118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80" name="Freeform: Shape 81">
              <a:extLst>
                <a:ext uri="{FF2B5EF4-FFF2-40B4-BE49-F238E27FC236}">
                  <a16:creationId xmlns:a16="http://schemas.microsoft.com/office/drawing/2014/main" id="{F341AA0F-1555-4F86-A311-D5187473FB52}"/>
                </a:ext>
              </a:extLst>
            </p:cNvPr>
            <p:cNvSpPr/>
            <p:nvPr/>
          </p:nvSpPr>
          <p:spPr>
            <a:xfrm>
              <a:off x="4984961" y="4606637"/>
              <a:ext cx="342890" cy="299860"/>
            </a:xfrm>
            <a:custGeom>
              <a:avLst/>
              <a:gdLst>
                <a:gd name="connsiteX0" fmla="*/ 178544 w 332258"/>
                <a:gd name="connsiteY0" fmla="*/ 289691 h 290562"/>
                <a:gd name="connsiteX1" fmla="*/ 332258 w 332258"/>
                <a:gd name="connsiteY1" fmla="*/ 282597 h 290562"/>
                <a:gd name="connsiteX2" fmla="*/ 238848 w 332258"/>
                <a:gd name="connsiteY2" fmla="*/ 73310 h 290562"/>
                <a:gd name="connsiteX3" fmla="*/ 138342 w 332258"/>
                <a:gd name="connsiteY3" fmla="*/ 2365 h 290562"/>
                <a:gd name="connsiteX4" fmla="*/ 134795 w 332258"/>
                <a:gd name="connsiteY4" fmla="*/ 0 h 290562"/>
                <a:gd name="connsiteX5" fmla="*/ 0 w 332258"/>
                <a:gd name="connsiteY5" fmla="*/ 190369 h 290562"/>
                <a:gd name="connsiteX6" fmla="*/ 3547 w 332258"/>
                <a:gd name="connsiteY6" fmla="*/ 192733 h 290562"/>
                <a:gd name="connsiteX7" fmla="*/ 104052 w 332258"/>
                <a:gd name="connsiteY7" fmla="*/ 263678 h 290562"/>
                <a:gd name="connsiteX8" fmla="*/ 178544 w 332258"/>
                <a:gd name="connsiteY8" fmla="*/ 289691 h 290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2258" h="290562">
                  <a:moveTo>
                    <a:pt x="178544" y="289691"/>
                  </a:moveTo>
                  <a:cubicBezTo>
                    <a:pt x="218746" y="293239"/>
                    <a:pt x="288509" y="284962"/>
                    <a:pt x="332258" y="282597"/>
                  </a:cubicBezTo>
                  <a:cubicBezTo>
                    <a:pt x="315705" y="228206"/>
                    <a:pt x="297968" y="115876"/>
                    <a:pt x="238848" y="73310"/>
                  </a:cubicBezTo>
                  <a:lnTo>
                    <a:pt x="138342" y="2365"/>
                  </a:lnTo>
                  <a:lnTo>
                    <a:pt x="134795" y="0"/>
                  </a:lnTo>
                  <a:lnTo>
                    <a:pt x="0" y="190369"/>
                  </a:lnTo>
                  <a:lnTo>
                    <a:pt x="3547" y="192733"/>
                  </a:lnTo>
                  <a:lnTo>
                    <a:pt x="104052" y="263678"/>
                  </a:lnTo>
                  <a:cubicBezTo>
                    <a:pt x="126518" y="281414"/>
                    <a:pt x="152531" y="289691"/>
                    <a:pt x="178544" y="289691"/>
                  </a:cubicBezTo>
                  <a:close/>
                </a:path>
              </a:pathLst>
            </a:custGeom>
            <a:solidFill>
              <a:schemeClr val="accent1"/>
            </a:solidFill>
            <a:ln w="118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81" name="Freeform: Shape 82">
              <a:extLst>
                <a:ext uri="{FF2B5EF4-FFF2-40B4-BE49-F238E27FC236}">
                  <a16:creationId xmlns:a16="http://schemas.microsoft.com/office/drawing/2014/main" id="{69C6A240-EEC3-4613-814D-1109811BBD2C}"/>
                </a:ext>
              </a:extLst>
            </p:cNvPr>
            <p:cNvSpPr/>
            <p:nvPr/>
          </p:nvSpPr>
          <p:spPr>
            <a:xfrm>
              <a:off x="5363239" y="4917484"/>
              <a:ext cx="342890" cy="299278"/>
            </a:xfrm>
            <a:custGeom>
              <a:avLst/>
              <a:gdLst>
                <a:gd name="connsiteX0" fmla="*/ 44932 w 332258"/>
                <a:gd name="connsiteY0" fmla="*/ 154021 h 289998"/>
                <a:gd name="connsiteX1" fmla="*/ 0 w 332258"/>
                <a:gd name="connsiteY1" fmla="*/ 7402 h 289998"/>
                <a:gd name="connsiteX2" fmla="*/ 228206 w 332258"/>
                <a:gd name="connsiteY2" fmla="*/ 26320 h 289998"/>
                <a:gd name="connsiteX3" fmla="*/ 328711 w 332258"/>
                <a:gd name="connsiteY3" fmla="*/ 97265 h 289998"/>
                <a:gd name="connsiteX4" fmla="*/ 332258 w 332258"/>
                <a:gd name="connsiteY4" fmla="*/ 99630 h 289998"/>
                <a:gd name="connsiteX5" fmla="*/ 197463 w 332258"/>
                <a:gd name="connsiteY5" fmla="*/ 289998 h 289998"/>
                <a:gd name="connsiteX6" fmla="*/ 193916 w 332258"/>
                <a:gd name="connsiteY6" fmla="*/ 287634 h 289998"/>
                <a:gd name="connsiteX7" fmla="*/ 93411 w 332258"/>
                <a:gd name="connsiteY7" fmla="*/ 216689 h 289998"/>
                <a:gd name="connsiteX8" fmla="*/ 44932 w 332258"/>
                <a:gd name="connsiteY8" fmla="*/ 154021 h 289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2258" h="289998">
                  <a:moveTo>
                    <a:pt x="44932" y="154021"/>
                  </a:moveTo>
                  <a:cubicBezTo>
                    <a:pt x="28378" y="116183"/>
                    <a:pt x="13007" y="47604"/>
                    <a:pt x="0" y="7402"/>
                  </a:cubicBezTo>
                  <a:cubicBezTo>
                    <a:pt x="56756" y="5037"/>
                    <a:pt x="167903" y="-16247"/>
                    <a:pt x="228206" y="26320"/>
                  </a:cubicBezTo>
                  <a:lnTo>
                    <a:pt x="328711" y="97265"/>
                  </a:lnTo>
                  <a:lnTo>
                    <a:pt x="332258" y="99630"/>
                  </a:lnTo>
                  <a:lnTo>
                    <a:pt x="197463" y="289998"/>
                  </a:lnTo>
                  <a:lnTo>
                    <a:pt x="193916" y="287634"/>
                  </a:lnTo>
                  <a:lnTo>
                    <a:pt x="93411" y="216689"/>
                  </a:lnTo>
                  <a:cubicBezTo>
                    <a:pt x="70945" y="200135"/>
                    <a:pt x="54391" y="177669"/>
                    <a:pt x="44932" y="154021"/>
                  </a:cubicBezTo>
                  <a:close/>
                </a:path>
              </a:pathLst>
            </a:custGeom>
            <a:solidFill>
              <a:schemeClr val="accent1"/>
            </a:solidFill>
            <a:ln w="118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82" name="Freeform: Shape 83">
              <a:extLst>
                <a:ext uri="{FF2B5EF4-FFF2-40B4-BE49-F238E27FC236}">
                  <a16:creationId xmlns:a16="http://schemas.microsoft.com/office/drawing/2014/main" id="{A1288894-8B5F-447A-B0A0-F83E8FF3ABB2}"/>
                </a:ext>
              </a:extLst>
            </p:cNvPr>
            <p:cNvSpPr/>
            <p:nvPr/>
          </p:nvSpPr>
          <p:spPr>
            <a:xfrm rot="18316955">
              <a:off x="5545085" y="4481508"/>
              <a:ext cx="56130" cy="219642"/>
            </a:xfrm>
            <a:custGeom>
              <a:avLst/>
              <a:gdLst>
                <a:gd name="connsiteX0" fmla="*/ 0 w 54390"/>
                <a:gd name="connsiteY0" fmla="*/ 0 h 212831"/>
                <a:gd name="connsiteX1" fmla="*/ 54390 w 54390"/>
                <a:gd name="connsiteY1" fmla="*/ 0 h 212831"/>
                <a:gd name="connsiteX2" fmla="*/ 54390 w 54390"/>
                <a:gd name="connsiteY2" fmla="*/ 212831 h 212831"/>
                <a:gd name="connsiteX3" fmla="*/ 0 w 54390"/>
                <a:gd name="connsiteY3" fmla="*/ 212831 h 212831"/>
              </a:gdLst>
              <a:ahLst/>
              <a:cxnLst>
                <a:cxn ang="0">
                  <a:pos x="connsiteX0" y="connsiteY0"/>
                </a:cxn>
                <a:cxn ang="0">
                  <a:pos x="connsiteX1" y="connsiteY1"/>
                </a:cxn>
                <a:cxn ang="0">
                  <a:pos x="connsiteX2" y="connsiteY2"/>
                </a:cxn>
                <a:cxn ang="0">
                  <a:pos x="connsiteX3" y="connsiteY3"/>
                </a:cxn>
              </a:cxnLst>
              <a:rect l="l" t="t" r="r" b="b"/>
              <a:pathLst>
                <a:path w="54390" h="212831">
                  <a:moveTo>
                    <a:pt x="0" y="0"/>
                  </a:moveTo>
                  <a:lnTo>
                    <a:pt x="54390" y="0"/>
                  </a:lnTo>
                  <a:lnTo>
                    <a:pt x="54390" y="212831"/>
                  </a:lnTo>
                  <a:lnTo>
                    <a:pt x="0" y="212831"/>
                  </a:lnTo>
                  <a:close/>
                </a:path>
              </a:pathLst>
            </a:custGeom>
            <a:solidFill>
              <a:schemeClr val="accent1"/>
            </a:solidFill>
            <a:ln w="118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83" name="Freeform: Shape 84">
              <a:extLst>
                <a:ext uri="{FF2B5EF4-FFF2-40B4-BE49-F238E27FC236}">
                  <a16:creationId xmlns:a16="http://schemas.microsoft.com/office/drawing/2014/main" id="{823B7699-2A1E-4E4E-B8C6-96573826ED8A}"/>
                </a:ext>
              </a:extLst>
            </p:cNvPr>
            <p:cNvSpPr/>
            <p:nvPr/>
          </p:nvSpPr>
          <p:spPr>
            <a:xfrm rot="18318194">
              <a:off x="5540365" y="4457869"/>
              <a:ext cx="235507" cy="28065"/>
            </a:xfrm>
            <a:custGeom>
              <a:avLst/>
              <a:gdLst>
                <a:gd name="connsiteX0" fmla="*/ 0 w 228204"/>
                <a:gd name="connsiteY0" fmla="*/ 0 h 27195"/>
                <a:gd name="connsiteX1" fmla="*/ 228204 w 228204"/>
                <a:gd name="connsiteY1" fmla="*/ 0 h 27195"/>
                <a:gd name="connsiteX2" fmla="*/ 228204 w 228204"/>
                <a:gd name="connsiteY2" fmla="*/ 27195 h 27195"/>
                <a:gd name="connsiteX3" fmla="*/ 0 w 228204"/>
                <a:gd name="connsiteY3" fmla="*/ 27195 h 27195"/>
              </a:gdLst>
              <a:ahLst/>
              <a:cxnLst>
                <a:cxn ang="0">
                  <a:pos x="connsiteX0" y="connsiteY0"/>
                </a:cxn>
                <a:cxn ang="0">
                  <a:pos x="connsiteX1" y="connsiteY1"/>
                </a:cxn>
                <a:cxn ang="0">
                  <a:pos x="connsiteX2" y="connsiteY2"/>
                </a:cxn>
                <a:cxn ang="0">
                  <a:pos x="connsiteX3" y="connsiteY3"/>
                </a:cxn>
              </a:cxnLst>
              <a:rect l="l" t="t" r="r" b="b"/>
              <a:pathLst>
                <a:path w="228204" h="27195">
                  <a:moveTo>
                    <a:pt x="0" y="0"/>
                  </a:moveTo>
                  <a:lnTo>
                    <a:pt x="228204" y="0"/>
                  </a:lnTo>
                  <a:lnTo>
                    <a:pt x="228204" y="27195"/>
                  </a:lnTo>
                  <a:lnTo>
                    <a:pt x="0" y="27195"/>
                  </a:lnTo>
                  <a:close/>
                </a:path>
              </a:pathLst>
            </a:custGeom>
            <a:solidFill>
              <a:schemeClr val="accent1"/>
            </a:solidFill>
            <a:ln w="118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grpSp>
        <p:nvGrpSpPr>
          <p:cNvPr id="84" name="Group 1">
            <a:extLst>
              <a:ext uri="{FF2B5EF4-FFF2-40B4-BE49-F238E27FC236}">
                <a16:creationId xmlns:a16="http://schemas.microsoft.com/office/drawing/2014/main" id="{2742350A-EC1E-4DDE-9022-212B7AA10F2A}"/>
              </a:ext>
            </a:extLst>
          </p:cNvPr>
          <p:cNvGrpSpPr/>
          <p:nvPr/>
        </p:nvGrpSpPr>
        <p:grpSpPr>
          <a:xfrm>
            <a:off x="5923334" y="4444344"/>
            <a:ext cx="346551" cy="2413656"/>
            <a:chOff x="5923334" y="4444344"/>
            <a:chExt cx="346551" cy="2413656"/>
          </a:xfrm>
        </p:grpSpPr>
        <p:sp>
          <p:nvSpPr>
            <p:cNvPr id="85" name="Freeform: Shape 3">
              <a:extLst>
                <a:ext uri="{FF2B5EF4-FFF2-40B4-BE49-F238E27FC236}">
                  <a16:creationId xmlns:a16="http://schemas.microsoft.com/office/drawing/2014/main" id="{A483E07F-0A00-4492-9BCB-3D622784FB51}"/>
                </a:ext>
              </a:extLst>
            </p:cNvPr>
            <p:cNvSpPr/>
            <p:nvPr/>
          </p:nvSpPr>
          <p:spPr>
            <a:xfrm>
              <a:off x="5923334" y="4444344"/>
              <a:ext cx="346551" cy="63767"/>
            </a:xfrm>
            <a:custGeom>
              <a:avLst/>
              <a:gdLst>
                <a:gd name="connsiteX0" fmla="*/ 0 w 335805"/>
                <a:gd name="connsiteY0" fmla="*/ 40202 h 61790"/>
                <a:gd name="connsiteX1" fmla="*/ 335805 w 335805"/>
                <a:gd name="connsiteY1" fmla="*/ 39020 h 61790"/>
                <a:gd name="connsiteX2" fmla="*/ 321617 w 335805"/>
                <a:gd name="connsiteY2" fmla="*/ 0 h 61790"/>
                <a:gd name="connsiteX3" fmla="*/ 13006 w 335805"/>
                <a:gd name="connsiteY3" fmla="*/ 1182 h 61790"/>
                <a:gd name="connsiteX4" fmla="*/ 0 w 335805"/>
                <a:gd name="connsiteY4" fmla="*/ 40202 h 617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5805" h="61790">
                  <a:moveTo>
                    <a:pt x="0" y="40202"/>
                  </a:moveTo>
                  <a:cubicBezTo>
                    <a:pt x="111147" y="69763"/>
                    <a:pt x="227023" y="68580"/>
                    <a:pt x="335805" y="39020"/>
                  </a:cubicBezTo>
                  <a:lnTo>
                    <a:pt x="321617" y="0"/>
                  </a:lnTo>
                  <a:cubicBezTo>
                    <a:pt x="221111" y="27196"/>
                    <a:pt x="114694" y="28378"/>
                    <a:pt x="13006" y="1182"/>
                  </a:cubicBezTo>
                  <a:lnTo>
                    <a:pt x="0" y="40202"/>
                  </a:lnTo>
                  <a:close/>
                </a:path>
              </a:pathLst>
            </a:custGeom>
            <a:solidFill>
              <a:schemeClr val="tx2">
                <a:lumMod val="25000"/>
                <a:lumOff val="75000"/>
              </a:schemeClr>
            </a:solidFill>
            <a:ln w="118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86" name="Freeform: Shape 87">
              <a:extLst>
                <a:ext uri="{FF2B5EF4-FFF2-40B4-BE49-F238E27FC236}">
                  <a16:creationId xmlns:a16="http://schemas.microsoft.com/office/drawing/2014/main" id="{B9EBE0C6-6A2B-4379-AD6B-2C4FD619E68F}"/>
                </a:ext>
              </a:extLst>
            </p:cNvPr>
            <p:cNvSpPr/>
            <p:nvPr/>
          </p:nvSpPr>
          <p:spPr>
            <a:xfrm>
              <a:off x="6022174" y="4485832"/>
              <a:ext cx="150090" cy="2372168"/>
            </a:xfrm>
            <a:custGeom>
              <a:avLst/>
              <a:gdLst>
                <a:gd name="connsiteX0" fmla="*/ 0 w 145436"/>
                <a:gd name="connsiteY0" fmla="*/ 0 h 2298612"/>
                <a:gd name="connsiteX1" fmla="*/ 145437 w 145436"/>
                <a:gd name="connsiteY1" fmla="*/ 0 h 2298612"/>
                <a:gd name="connsiteX2" fmla="*/ 145437 w 145436"/>
                <a:gd name="connsiteY2" fmla="*/ 2298613 h 2298612"/>
                <a:gd name="connsiteX3" fmla="*/ 0 w 145436"/>
                <a:gd name="connsiteY3" fmla="*/ 2298613 h 2298612"/>
              </a:gdLst>
              <a:ahLst/>
              <a:cxnLst>
                <a:cxn ang="0">
                  <a:pos x="connsiteX0" y="connsiteY0"/>
                </a:cxn>
                <a:cxn ang="0">
                  <a:pos x="connsiteX1" y="connsiteY1"/>
                </a:cxn>
                <a:cxn ang="0">
                  <a:pos x="connsiteX2" y="connsiteY2"/>
                </a:cxn>
                <a:cxn ang="0">
                  <a:pos x="connsiteX3" y="connsiteY3"/>
                </a:cxn>
              </a:cxnLst>
              <a:rect l="l" t="t" r="r" b="b"/>
              <a:pathLst>
                <a:path w="145436" h="2298612">
                  <a:moveTo>
                    <a:pt x="0" y="0"/>
                  </a:moveTo>
                  <a:lnTo>
                    <a:pt x="145437" y="0"/>
                  </a:lnTo>
                  <a:lnTo>
                    <a:pt x="145437" y="2298613"/>
                  </a:lnTo>
                  <a:lnTo>
                    <a:pt x="0" y="2298613"/>
                  </a:lnTo>
                  <a:close/>
                </a:path>
              </a:pathLst>
            </a:custGeom>
            <a:solidFill>
              <a:schemeClr val="tx2">
                <a:lumMod val="25000"/>
                <a:lumOff val="75000"/>
              </a:schemeClr>
            </a:solidFill>
            <a:ln w="118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grpSp>
        <p:nvGrpSpPr>
          <p:cNvPr id="87" name="Group 2">
            <a:extLst>
              <a:ext uri="{FF2B5EF4-FFF2-40B4-BE49-F238E27FC236}">
                <a16:creationId xmlns:a16="http://schemas.microsoft.com/office/drawing/2014/main" id="{E985FAC7-4749-4BDB-844E-161BD51FCD02}"/>
              </a:ext>
            </a:extLst>
          </p:cNvPr>
          <p:cNvGrpSpPr/>
          <p:nvPr/>
        </p:nvGrpSpPr>
        <p:grpSpPr>
          <a:xfrm>
            <a:off x="5532607" y="3282708"/>
            <a:ext cx="1125076" cy="1127517"/>
            <a:chOff x="5532607" y="3282708"/>
            <a:chExt cx="1125076" cy="1127517"/>
          </a:xfrm>
        </p:grpSpPr>
        <p:sp>
          <p:nvSpPr>
            <p:cNvPr id="88" name="Freeform: Shape 85">
              <a:extLst>
                <a:ext uri="{FF2B5EF4-FFF2-40B4-BE49-F238E27FC236}">
                  <a16:creationId xmlns:a16="http://schemas.microsoft.com/office/drawing/2014/main" id="{5D5570E6-E95C-4FB0-8BA8-D6BAA64C4BD6}"/>
                </a:ext>
              </a:extLst>
            </p:cNvPr>
            <p:cNvSpPr/>
            <p:nvPr/>
          </p:nvSpPr>
          <p:spPr>
            <a:xfrm rot="19446319">
              <a:off x="5532607" y="3282708"/>
              <a:ext cx="1125076" cy="1127517"/>
            </a:xfrm>
            <a:custGeom>
              <a:avLst/>
              <a:gdLst>
                <a:gd name="connsiteX0" fmla="*/ 1090191 w 1090190"/>
                <a:gd name="connsiteY0" fmla="*/ 546278 h 1092555"/>
                <a:gd name="connsiteX1" fmla="*/ 545095 w 1090190"/>
                <a:gd name="connsiteY1" fmla="*/ 1092556 h 1092555"/>
                <a:gd name="connsiteX2" fmla="*/ 0 w 1090190"/>
                <a:gd name="connsiteY2" fmla="*/ 546278 h 1092555"/>
                <a:gd name="connsiteX3" fmla="*/ 545095 w 1090190"/>
                <a:gd name="connsiteY3" fmla="*/ 0 h 1092555"/>
                <a:gd name="connsiteX4" fmla="*/ 1090191 w 1090190"/>
                <a:gd name="connsiteY4" fmla="*/ 546278 h 10925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0190" h="1092555">
                  <a:moveTo>
                    <a:pt x="1090191" y="546278"/>
                  </a:moveTo>
                  <a:cubicBezTo>
                    <a:pt x="1090191" y="847979"/>
                    <a:pt x="846143" y="1092556"/>
                    <a:pt x="545095" y="1092556"/>
                  </a:cubicBezTo>
                  <a:cubicBezTo>
                    <a:pt x="244047" y="1092556"/>
                    <a:pt x="0" y="847979"/>
                    <a:pt x="0" y="546278"/>
                  </a:cubicBezTo>
                  <a:cubicBezTo>
                    <a:pt x="0" y="244577"/>
                    <a:pt x="244047" y="0"/>
                    <a:pt x="545095" y="0"/>
                  </a:cubicBezTo>
                  <a:cubicBezTo>
                    <a:pt x="846143" y="0"/>
                    <a:pt x="1090191" y="244577"/>
                    <a:pt x="1090191" y="546278"/>
                  </a:cubicBezTo>
                  <a:close/>
                </a:path>
              </a:pathLst>
            </a:custGeom>
            <a:solidFill>
              <a:schemeClr val="tx2">
                <a:lumMod val="25000"/>
                <a:lumOff val="75000"/>
              </a:schemeClr>
            </a:solidFill>
            <a:ln w="118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89" name="Freeform: Shape 89">
              <a:extLst>
                <a:ext uri="{FF2B5EF4-FFF2-40B4-BE49-F238E27FC236}">
                  <a16:creationId xmlns:a16="http://schemas.microsoft.com/office/drawing/2014/main" id="{94C3B0A4-BC51-4371-B0D1-7B998B671E83}"/>
                </a:ext>
              </a:extLst>
            </p:cNvPr>
            <p:cNvSpPr/>
            <p:nvPr/>
          </p:nvSpPr>
          <p:spPr>
            <a:xfrm>
              <a:off x="5661245" y="3386963"/>
              <a:ext cx="893915" cy="918916"/>
            </a:xfrm>
            <a:custGeom>
              <a:avLst/>
              <a:gdLst>
                <a:gd name="connsiteX0" fmla="*/ 179470 w 866196"/>
                <a:gd name="connsiteY0" fmla="*/ 84575 h 890422"/>
                <a:gd name="connsiteX1" fmla="*/ 783684 w 866196"/>
                <a:gd name="connsiteY1" fmla="*/ 183898 h 890422"/>
                <a:gd name="connsiteX2" fmla="*/ 686726 w 866196"/>
                <a:gd name="connsiteY2" fmla="*/ 805847 h 890422"/>
                <a:gd name="connsiteX3" fmla="*/ 82512 w 866196"/>
                <a:gd name="connsiteY3" fmla="*/ 706525 h 890422"/>
                <a:gd name="connsiteX4" fmla="*/ 179470 w 866196"/>
                <a:gd name="connsiteY4" fmla="*/ 84575 h 8904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6196" h="890422">
                  <a:moveTo>
                    <a:pt x="179470" y="84575"/>
                  </a:moveTo>
                  <a:cubicBezTo>
                    <a:pt x="373386" y="-59680"/>
                    <a:pt x="644159" y="-14748"/>
                    <a:pt x="783684" y="183898"/>
                  </a:cubicBezTo>
                  <a:cubicBezTo>
                    <a:pt x="924391" y="383726"/>
                    <a:pt x="880642" y="661593"/>
                    <a:pt x="686726" y="805847"/>
                  </a:cubicBezTo>
                  <a:cubicBezTo>
                    <a:pt x="492810" y="950102"/>
                    <a:pt x="222037" y="905170"/>
                    <a:pt x="82512" y="706525"/>
                  </a:cubicBezTo>
                  <a:cubicBezTo>
                    <a:pt x="-58195" y="507879"/>
                    <a:pt x="-14445" y="228829"/>
                    <a:pt x="179470" y="84575"/>
                  </a:cubicBezTo>
                  <a:close/>
                </a:path>
              </a:pathLst>
            </a:custGeom>
            <a:solidFill>
              <a:schemeClr val="accent1"/>
            </a:solidFill>
            <a:ln w="1182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sp>
        <p:nvSpPr>
          <p:cNvPr id="90" name="Title 91">
            <a:extLst>
              <a:ext uri="{FF2B5EF4-FFF2-40B4-BE49-F238E27FC236}">
                <a16:creationId xmlns:a16="http://schemas.microsoft.com/office/drawing/2014/main" id="{1017B6AA-DCEA-41EA-B32F-3359656C4B2D}"/>
              </a:ext>
            </a:extLst>
          </p:cNvPr>
          <p:cNvSpPr txBox="1">
            <a:spLocks/>
          </p:cNvSpPr>
          <p:nvPr/>
        </p:nvSpPr>
        <p:spPr>
          <a:xfrm>
            <a:off x="2043113" y="304800"/>
            <a:ext cx="8105775" cy="1105808"/>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ID" sz="4400" b="0" i="0" u="none" strike="noStrike" kern="1200" cap="none" spc="0" normalizeH="0" baseline="0" noProof="0">
                <a:ln>
                  <a:noFill/>
                </a:ln>
                <a:solidFill>
                  <a:srgbClr val="000000"/>
                </a:solidFill>
                <a:effectLst/>
                <a:uLnTx/>
                <a:uFillTx/>
                <a:latin typeface="等线 Light" panose="020F0302020204030204"/>
                <a:ea typeface="+mj-ea"/>
                <a:cs typeface="+mj-cs"/>
              </a:rPr>
              <a:t>Tree Infographic</a:t>
            </a:r>
          </a:p>
        </p:txBody>
      </p:sp>
      <p:sp>
        <p:nvSpPr>
          <p:cNvPr id="91" name="TextBox 92">
            <a:extLst>
              <a:ext uri="{FF2B5EF4-FFF2-40B4-BE49-F238E27FC236}">
                <a16:creationId xmlns:a16="http://schemas.microsoft.com/office/drawing/2014/main" id="{83560F59-65BD-44E2-A618-6D717ACE5599}"/>
              </a:ext>
            </a:extLst>
          </p:cNvPr>
          <p:cNvSpPr txBox="1"/>
          <p:nvPr/>
        </p:nvSpPr>
        <p:spPr>
          <a:xfrm>
            <a:off x="2786586" y="1625619"/>
            <a:ext cx="1313181" cy="338554"/>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ID" sz="1600" b="1" i="0" u="none" strike="noStrike" kern="1200" cap="none" spc="0" normalizeH="0" baseline="0" noProof="0">
                <a:ln>
                  <a:noFill/>
                </a:ln>
                <a:solidFill>
                  <a:srgbClr val="000000"/>
                </a:solidFill>
                <a:effectLst/>
                <a:uLnTx/>
                <a:uFillTx/>
                <a:latin typeface="等线 Light" panose="020F0302020204030204"/>
                <a:ea typeface="+mn-ea"/>
                <a:cs typeface="+mn-cs"/>
              </a:rPr>
              <a:t>Description</a:t>
            </a:r>
            <a:endParaRPr kumimoji="0" lang="id-ID" sz="1600" b="1" i="0" u="none" strike="noStrike" kern="1200" cap="none" spc="0" normalizeH="0" baseline="0" noProof="0" dirty="0">
              <a:ln>
                <a:noFill/>
              </a:ln>
              <a:solidFill>
                <a:srgbClr val="000000"/>
              </a:solidFill>
              <a:effectLst/>
              <a:uLnTx/>
              <a:uFillTx/>
              <a:latin typeface="等线 Light" panose="020F0302020204030204"/>
              <a:ea typeface="+mn-ea"/>
              <a:cs typeface="+mn-cs"/>
            </a:endParaRPr>
          </a:p>
        </p:txBody>
      </p:sp>
      <p:sp>
        <p:nvSpPr>
          <p:cNvPr id="92" name="TextBox 93">
            <a:extLst>
              <a:ext uri="{FF2B5EF4-FFF2-40B4-BE49-F238E27FC236}">
                <a16:creationId xmlns:a16="http://schemas.microsoft.com/office/drawing/2014/main" id="{03D6412D-3F0E-47A9-9624-C53E69EA729F}"/>
              </a:ext>
            </a:extLst>
          </p:cNvPr>
          <p:cNvSpPr txBox="1"/>
          <p:nvPr/>
        </p:nvSpPr>
        <p:spPr>
          <a:xfrm>
            <a:off x="1665783" y="1880776"/>
            <a:ext cx="2433984" cy="461665"/>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id-ID" sz="1200" b="0" i="0" u="none" strike="noStrike" kern="1200" cap="none" spc="0" normalizeH="0" baseline="0" noProof="0" dirty="0">
                <a:ln>
                  <a:noFill/>
                </a:ln>
                <a:solidFill>
                  <a:srgbClr val="000000"/>
                </a:solidFill>
                <a:effectLst/>
                <a:uLnTx/>
                <a:uFillTx/>
                <a:latin typeface="等线" panose="020F0502020204030204"/>
                <a:ea typeface="+mn-ea"/>
                <a:cs typeface="+mn-cs"/>
              </a:rPr>
              <a:t>Suitable for all category</a:t>
            </a:r>
            <a:r>
              <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rPr>
              <a:t>, </a:t>
            </a:r>
            <a:r>
              <a:rPr kumimoji="0" lang="en-US" sz="1200" b="0" i="0" u="none" strike="noStrike" kern="1200" cap="none" spc="0" normalizeH="0" baseline="0" noProof="0" dirty="0" err="1">
                <a:ln>
                  <a:noFill/>
                </a:ln>
                <a:solidFill>
                  <a:srgbClr val="000000"/>
                </a:solidFill>
                <a:effectLst/>
                <a:uLnTx/>
                <a:uFillTx/>
                <a:latin typeface="等线" panose="020F0502020204030204"/>
                <a:ea typeface="+mn-ea"/>
                <a:cs typeface="+mn-cs"/>
              </a:rPr>
              <a:t>Lorem</a:t>
            </a:r>
            <a:r>
              <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rPr>
              <a:t> </a:t>
            </a:r>
            <a:r>
              <a:rPr kumimoji="0" lang="en-US" sz="1200" b="0" i="0" u="none" strike="noStrike" kern="1200" cap="none" spc="0" normalizeH="0" baseline="0" noProof="0" dirty="0" err="1">
                <a:ln>
                  <a:noFill/>
                </a:ln>
                <a:solidFill>
                  <a:srgbClr val="000000"/>
                </a:solidFill>
                <a:effectLst/>
                <a:uLnTx/>
                <a:uFillTx/>
                <a:latin typeface="等线" panose="020F0502020204030204"/>
                <a:ea typeface="+mn-ea"/>
                <a:cs typeface="+mn-cs"/>
              </a:rPr>
              <a:t>Ipsum</a:t>
            </a:r>
            <a:r>
              <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rPr>
              <a:t> is not simply random text.</a:t>
            </a:r>
            <a:r>
              <a:rPr kumimoji="0" lang="id-ID" sz="1200" b="0" i="0" u="none" strike="noStrike" kern="1200" cap="none" spc="0" normalizeH="0" baseline="0" noProof="0" dirty="0">
                <a:ln>
                  <a:noFill/>
                </a:ln>
                <a:solidFill>
                  <a:srgbClr val="000000"/>
                </a:solidFill>
                <a:effectLst/>
                <a:uLnTx/>
                <a:uFillTx/>
                <a:latin typeface="等线" panose="020F0502020204030204"/>
                <a:ea typeface="+mn-ea"/>
                <a:cs typeface="+mn-cs"/>
              </a:rPr>
              <a:t> </a:t>
            </a:r>
            <a:endParaRPr kumimoji="0" lang="en-US" sz="1200" b="1"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93" name="TextBox 94">
            <a:extLst>
              <a:ext uri="{FF2B5EF4-FFF2-40B4-BE49-F238E27FC236}">
                <a16:creationId xmlns:a16="http://schemas.microsoft.com/office/drawing/2014/main" id="{37D0E218-36A3-4B7F-A53E-DDC9F31F59C6}"/>
              </a:ext>
            </a:extLst>
          </p:cNvPr>
          <p:cNvSpPr txBox="1"/>
          <p:nvPr/>
        </p:nvSpPr>
        <p:spPr>
          <a:xfrm>
            <a:off x="2029175" y="2854059"/>
            <a:ext cx="1313181" cy="338554"/>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ID" sz="1600" b="1" i="0" u="none" strike="noStrike" kern="1200" cap="none" spc="0" normalizeH="0" baseline="0" noProof="0">
                <a:ln>
                  <a:noFill/>
                </a:ln>
                <a:solidFill>
                  <a:srgbClr val="000000"/>
                </a:solidFill>
                <a:effectLst/>
                <a:uLnTx/>
                <a:uFillTx/>
                <a:latin typeface="等线 Light" panose="020F0302020204030204"/>
                <a:ea typeface="+mn-ea"/>
                <a:cs typeface="+mn-cs"/>
              </a:rPr>
              <a:t>Description</a:t>
            </a:r>
            <a:endParaRPr kumimoji="0" lang="id-ID" sz="1600" b="1" i="0" u="none" strike="noStrike" kern="1200" cap="none" spc="0" normalizeH="0" baseline="0" noProof="0" dirty="0">
              <a:ln>
                <a:noFill/>
              </a:ln>
              <a:solidFill>
                <a:srgbClr val="000000"/>
              </a:solidFill>
              <a:effectLst/>
              <a:uLnTx/>
              <a:uFillTx/>
              <a:latin typeface="等线 Light" panose="020F0302020204030204"/>
              <a:ea typeface="+mn-ea"/>
              <a:cs typeface="+mn-cs"/>
            </a:endParaRPr>
          </a:p>
        </p:txBody>
      </p:sp>
      <p:sp>
        <p:nvSpPr>
          <p:cNvPr id="94" name="TextBox 95">
            <a:extLst>
              <a:ext uri="{FF2B5EF4-FFF2-40B4-BE49-F238E27FC236}">
                <a16:creationId xmlns:a16="http://schemas.microsoft.com/office/drawing/2014/main" id="{5DE1015B-A63F-4434-BA8E-3F9C144747E1}"/>
              </a:ext>
            </a:extLst>
          </p:cNvPr>
          <p:cNvSpPr txBox="1"/>
          <p:nvPr/>
        </p:nvSpPr>
        <p:spPr>
          <a:xfrm>
            <a:off x="908372" y="3109216"/>
            <a:ext cx="2433984" cy="461665"/>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id-ID" sz="1200" b="0" i="0" u="none" strike="noStrike" kern="1200" cap="none" spc="0" normalizeH="0" baseline="0" noProof="0" dirty="0">
                <a:ln>
                  <a:noFill/>
                </a:ln>
                <a:solidFill>
                  <a:srgbClr val="000000"/>
                </a:solidFill>
                <a:effectLst/>
                <a:uLnTx/>
                <a:uFillTx/>
                <a:latin typeface="等线" panose="020F0502020204030204"/>
                <a:ea typeface="+mn-ea"/>
                <a:cs typeface="+mn-cs"/>
              </a:rPr>
              <a:t>Suitable for all category</a:t>
            </a:r>
            <a:r>
              <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rPr>
              <a:t>, </a:t>
            </a:r>
            <a:r>
              <a:rPr kumimoji="0" lang="en-US" sz="1200" b="0" i="0" u="none" strike="noStrike" kern="1200" cap="none" spc="0" normalizeH="0" baseline="0" noProof="0" dirty="0" err="1">
                <a:ln>
                  <a:noFill/>
                </a:ln>
                <a:solidFill>
                  <a:srgbClr val="000000"/>
                </a:solidFill>
                <a:effectLst/>
                <a:uLnTx/>
                <a:uFillTx/>
                <a:latin typeface="等线" panose="020F0502020204030204"/>
                <a:ea typeface="+mn-ea"/>
                <a:cs typeface="+mn-cs"/>
              </a:rPr>
              <a:t>Lorem</a:t>
            </a:r>
            <a:r>
              <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rPr>
              <a:t> </a:t>
            </a:r>
            <a:r>
              <a:rPr kumimoji="0" lang="en-US" sz="1200" b="0" i="0" u="none" strike="noStrike" kern="1200" cap="none" spc="0" normalizeH="0" baseline="0" noProof="0" dirty="0" err="1">
                <a:ln>
                  <a:noFill/>
                </a:ln>
                <a:solidFill>
                  <a:srgbClr val="000000"/>
                </a:solidFill>
                <a:effectLst/>
                <a:uLnTx/>
                <a:uFillTx/>
                <a:latin typeface="等线" panose="020F0502020204030204"/>
                <a:ea typeface="+mn-ea"/>
                <a:cs typeface="+mn-cs"/>
              </a:rPr>
              <a:t>Ipsum</a:t>
            </a:r>
            <a:r>
              <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rPr>
              <a:t> is not simply random text.</a:t>
            </a:r>
            <a:r>
              <a:rPr kumimoji="0" lang="id-ID" sz="1200" b="0" i="0" u="none" strike="noStrike" kern="1200" cap="none" spc="0" normalizeH="0" baseline="0" noProof="0" dirty="0">
                <a:ln>
                  <a:noFill/>
                </a:ln>
                <a:solidFill>
                  <a:srgbClr val="000000"/>
                </a:solidFill>
                <a:effectLst/>
                <a:uLnTx/>
                <a:uFillTx/>
                <a:latin typeface="等线" panose="020F0502020204030204"/>
                <a:ea typeface="+mn-ea"/>
                <a:cs typeface="+mn-cs"/>
              </a:rPr>
              <a:t> </a:t>
            </a:r>
            <a:endParaRPr kumimoji="0" lang="en-US" sz="1200" b="1"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95" name="TextBox 96">
            <a:extLst>
              <a:ext uri="{FF2B5EF4-FFF2-40B4-BE49-F238E27FC236}">
                <a16:creationId xmlns:a16="http://schemas.microsoft.com/office/drawing/2014/main" id="{5BCC8550-9BC4-47A0-A8A2-2CC624A90F09}"/>
              </a:ext>
            </a:extLst>
          </p:cNvPr>
          <p:cNvSpPr txBox="1"/>
          <p:nvPr/>
        </p:nvSpPr>
        <p:spPr>
          <a:xfrm>
            <a:off x="2031576" y="4119881"/>
            <a:ext cx="1313181" cy="338554"/>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ID" sz="1600" b="1" i="0" u="none" strike="noStrike" kern="1200" cap="none" spc="0" normalizeH="0" baseline="0" noProof="0">
                <a:ln>
                  <a:noFill/>
                </a:ln>
                <a:solidFill>
                  <a:srgbClr val="000000"/>
                </a:solidFill>
                <a:effectLst/>
                <a:uLnTx/>
                <a:uFillTx/>
                <a:latin typeface="等线 Light" panose="020F0302020204030204"/>
                <a:ea typeface="+mn-ea"/>
                <a:cs typeface="+mn-cs"/>
              </a:rPr>
              <a:t>Description</a:t>
            </a:r>
            <a:endParaRPr kumimoji="0" lang="id-ID" sz="1600" b="1" i="0" u="none" strike="noStrike" kern="1200" cap="none" spc="0" normalizeH="0" baseline="0" noProof="0" dirty="0">
              <a:ln>
                <a:noFill/>
              </a:ln>
              <a:solidFill>
                <a:srgbClr val="000000"/>
              </a:solidFill>
              <a:effectLst/>
              <a:uLnTx/>
              <a:uFillTx/>
              <a:latin typeface="等线 Light" panose="020F0302020204030204"/>
              <a:ea typeface="+mn-ea"/>
              <a:cs typeface="+mn-cs"/>
            </a:endParaRPr>
          </a:p>
        </p:txBody>
      </p:sp>
      <p:sp>
        <p:nvSpPr>
          <p:cNvPr id="96" name="TextBox 97">
            <a:extLst>
              <a:ext uri="{FF2B5EF4-FFF2-40B4-BE49-F238E27FC236}">
                <a16:creationId xmlns:a16="http://schemas.microsoft.com/office/drawing/2014/main" id="{1DF1B701-0C13-45BB-96F3-3D27F0130AFB}"/>
              </a:ext>
            </a:extLst>
          </p:cNvPr>
          <p:cNvSpPr txBox="1"/>
          <p:nvPr/>
        </p:nvSpPr>
        <p:spPr>
          <a:xfrm>
            <a:off x="910773" y="4375038"/>
            <a:ext cx="2433984" cy="461665"/>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id-ID" sz="1200" b="0" i="0" u="none" strike="noStrike" kern="1200" cap="none" spc="0" normalizeH="0" baseline="0" noProof="0" dirty="0">
                <a:ln>
                  <a:noFill/>
                </a:ln>
                <a:solidFill>
                  <a:srgbClr val="000000"/>
                </a:solidFill>
                <a:effectLst/>
                <a:uLnTx/>
                <a:uFillTx/>
                <a:latin typeface="等线" panose="020F0502020204030204"/>
                <a:ea typeface="+mn-ea"/>
                <a:cs typeface="+mn-cs"/>
              </a:rPr>
              <a:t>Suitable for all category</a:t>
            </a:r>
            <a:r>
              <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rPr>
              <a:t>, </a:t>
            </a:r>
            <a:r>
              <a:rPr kumimoji="0" lang="en-US" sz="1200" b="0" i="0" u="none" strike="noStrike" kern="1200" cap="none" spc="0" normalizeH="0" baseline="0" noProof="0" dirty="0" err="1">
                <a:ln>
                  <a:noFill/>
                </a:ln>
                <a:solidFill>
                  <a:srgbClr val="000000"/>
                </a:solidFill>
                <a:effectLst/>
                <a:uLnTx/>
                <a:uFillTx/>
                <a:latin typeface="等线" panose="020F0502020204030204"/>
                <a:ea typeface="+mn-ea"/>
                <a:cs typeface="+mn-cs"/>
              </a:rPr>
              <a:t>Lorem</a:t>
            </a:r>
            <a:r>
              <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rPr>
              <a:t> </a:t>
            </a:r>
            <a:r>
              <a:rPr kumimoji="0" lang="en-US" sz="1200" b="0" i="0" u="none" strike="noStrike" kern="1200" cap="none" spc="0" normalizeH="0" baseline="0" noProof="0" dirty="0" err="1">
                <a:ln>
                  <a:noFill/>
                </a:ln>
                <a:solidFill>
                  <a:srgbClr val="000000"/>
                </a:solidFill>
                <a:effectLst/>
                <a:uLnTx/>
                <a:uFillTx/>
                <a:latin typeface="等线" panose="020F0502020204030204"/>
                <a:ea typeface="+mn-ea"/>
                <a:cs typeface="+mn-cs"/>
              </a:rPr>
              <a:t>Ipsum</a:t>
            </a:r>
            <a:r>
              <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rPr>
              <a:t> is not simply random text.</a:t>
            </a:r>
            <a:r>
              <a:rPr kumimoji="0" lang="id-ID" sz="1200" b="0" i="0" u="none" strike="noStrike" kern="1200" cap="none" spc="0" normalizeH="0" baseline="0" noProof="0" dirty="0">
                <a:ln>
                  <a:noFill/>
                </a:ln>
                <a:solidFill>
                  <a:srgbClr val="000000"/>
                </a:solidFill>
                <a:effectLst/>
                <a:uLnTx/>
                <a:uFillTx/>
                <a:latin typeface="等线" panose="020F0502020204030204"/>
                <a:ea typeface="+mn-ea"/>
                <a:cs typeface="+mn-cs"/>
              </a:rPr>
              <a:t> </a:t>
            </a:r>
            <a:endParaRPr kumimoji="0" lang="en-US" sz="1200" b="1"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97" name="TextBox 98">
            <a:extLst>
              <a:ext uri="{FF2B5EF4-FFF2-40B4-BE49-F238E27FC236}">
                <a16:creationId xmlns:a16="http://schemas.microsoft.com/office/drawing/2014/main" id="{9D4946CF-D96F-4280-92ED-B012C8C36FBC}"/>
              </a:ext>
            </a:extLst>
          </p:cNvPr>
          <p:cNvSpPr txBox="1"/>
          <p:nvPr/>
        </p:nvSpPr>
        <p:spPr>
          <a:xfrm>
            <a:off x="2812114" y="5532354"/>
            <a:ext cx="1313181" cy="338554"/>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ID" sz="1600" b="1" i="0" u="none" strike="noStrike" kern="1200" cap="none" spc="0" normalizeH="0" baseline="0" noProof="0">
                <a:ln>
                  <a:noFill/>
                </a:ln>
                <a:solidFill>
                  <a:srgbClr val="000000"/>
                </a:solidFill>
                <a:effectLst/>
                <a:uLnTx/>
                <a:uFillTx/>
                <a:latin typeface="等线 Light" panose="020F0302020204030204"/>
                <a:ea typeface="+mn-ea"/>
                <a:cs typeface="+mn-cs"/>
              </a:rPr>
              <a:t>Description</a:t>
            </a:r>
            <a:endParaRPr kumimoji="0" lang="id-ID" sz="1600" b="1" i="0" u="none" strike="noStrike" kern="1200" cap="none" spc="0" normalizeH="0" baseline="0" noProof="0" dirty="0">
              <a:ln>
                <a:noFill/>
              </a:ln>
              <a:solidFill>
                <a:srgbClr val="000000"/>
              </a:solidFill>
              <a:effectLst/>
              <a:uLnTx/>
              <a:uFillTx/>
              <a:latin typeface="等线 Light" panose="020F0302020204030204"/>
              <a:ea typeface="+mn-ea"/>
              <a:cs typeface="+mn-cs"/>
            </a:endParaRPr>
          </a:p>
        </p:txBody>
      </p:sp>
      <p:sp>
        <p:nvSpPr>
          <p:cNvPr id="98" name="TextBox 99">
            <a:extLst>
              <a:ext uri="{FF2B5EF4-FFF2-40B4-BE49-F238E27FC236}">
                <a16:creationId xmlns:a16="http://schemas.microsoft.com/office/drawing/2014/main" id="{CE4051FE-2067-4E48-91D7-0E058109A94E}"/>
              </a:ext>
            </a:extLst>
          </p:cNvPr>
          <p:cNvSpPr txBox="1"/>
          <p:nvPr/>
        </p:nvSpPr>
        <p:spPr>
          <a:xfrm>
            <a:off x="1691311" y="5787511"/>
            <a:ext cx="2433984" cy="461665"/>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id-ID" sz="1200" b="0" i="0" u="none" strike="noStrike" kern="1200" cap="none" spc="0" normalizeH="0" baseline="0" noProof="0" dirty="0">
                <a:ln>
                  <a:noFill/>
                </a:ln>
                <a:solidFill>
                  <a:srgbClr val="000000"/>
                </a:solidFill>
                <a:effectLst/>
                <a:uLnTx/>
                <a:uFillTx/>
                <a:latin typeface="等线" panose="020F0502020204030204"/>
                <a:ea typeface="+mn-ea"/>
                <a:cs typeface="+mn-cs"/>
              </a:rPr>
              <a:t>Suitable for all category</a:t>
            </a:r>
            <a:r>
              <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rPr>
              <a:t>, </a:t>
            </a:r>
            <a:r>
              <a:rPr kumimoji="0" lang="en-US" sz="1200" b="0" i="0" u="none" strike="noStrike" kern="1200" cap="none" spc="0" normalizeH="0" baseline="0" noProof="0" dirty="0" err="1">
                <a:ln>
                  <a:noFill/>
                </a:ln>
                <a:solidFill>
                  <a:srgbClr val="000000"/>
                </a:solidFill>
                <a:effectLst/>
                <a:uLnTx/>
                <a:uFillTx/>
                <a:latin typeface="等线" panose="020F0502020204030204"/>
                <a:ea typeface="+mn-ea"/>
                <a:cs typeface="+mn-cs"/>
              </a:rPr>
              <a:t>Lorem</a:t>
            </a:r>
            <a:r>
              <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rPr>
              <a:t> </a:t>
            </a:r>
            <a:r>
              <a:rPr kumimoji="0" lang="en-US" sz="1200" b="0" i="0" u="none" strike="noStrike" kern="1200" cap="none" spc="0" normalizeH="0" baseline="0" noProof="0" dirty="0" err="1">
                <a:ln>
                  <a:noFill/>
                </a:ln>
                <a:solidFill>
                  <a:srgbClr val="000000"/>
                </a:solidFill>
                <a:effectLst/>
                <a:uLnTx/>
                <a:uFillTx/>
                <a:latin typeface="等线" panose="020F0502020204030204"/>
                <a:ea typeface="+mn-ea"/>
                <a:cs typeface="+mn-cs"/>
              </a:rPr>
              <a:t>Ipsum</a:t>
            </a:r>
            <a:r>
              <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rPr>
              <a:t> is not simply random text.</a:t>
            </a:r>
            <a:r>
              <a:rPr kumimoji="0" lang="id-ID" sz="1200" b="0" i="0" u="none" strike="noStrike" kern="1200" cap="none" spc="0" normalizeH="0" baseline="0" noProof="0" dirty="0">
                <a:ln>
                  <a:noFill/>
                </a:ln>
                <a:solidFill>
                  <a:srgbClr val="000000"/>
                </a:solidFill>
                <a:effectLst/>
                <a:uLnTx/>
                <a:uFillTx/>
                <a:latin typeface="等线" panose="020F0502020204030204"/>
                <a:ea typeface="+mn-ea"/>
                <a:cs typeface="+mn-cs"/>
              </a:rPr>
              <a:t> </a:t>
            </a:r>
            <a:endParaRPr kumimoji="0" lang="en-US" sz="1200" b="1"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99" name="TextBox 100">
            <a:extLst>
              <a:ext uri="{FF2B5EF4-FFF2-40B4-BE49-F238E27FC236}">
                <a16:creationId xmlns:a16="http://schemas.microsoft.com/office/drawing/2014/main" id="{EE39B40C-A386-4236-A260-E44605C5CECD}"/>
              </a:ext>
            </a:extLst>
          </p:cNvPr>
          <p:cNvSpPr txBox="1"/>
          <p:nvPr/>
        </p:nvSpPr>
        <p:spPr>
          <a:xfrm>
            <a:off x="8129452" y="1634431"/>
            <a:ext cx="1313180"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D" sz="1600" b="1" i="0" u="none" strike="noStrike" kern="1200" cap="none" spc="0" normalizeH="0" baseline="0" noProof="0">
                <a:ln>
                  <a:noFill/>
                </a:ln>
                <a:solidFill>
                  <a:srgbClr val="000000"/>
                </a:solidFill>
                <a:effectLst/>
                <a:uLnTx/>
                <a:uFillTx/>
                <a:latin typeface="等线 Light" panose="020F0302020204030204"/>
                <a:ea typeface="+mn-ea"/>
                <a:cs typeface="+mn-cs"/>
              </a:rPr>
              <a:t>Description</a:t>
            </a:r>
            <a:endParaRPr kumimoji="0" lang="id-ID" sz="1600" b="1" i="0" u="none" strike="noStrike" kern="1200" cap="none" spc="0" normalizeH="0" baseline="0" noProof="0" dirty="0">
              <a:ln>
                <a:noFill/>
              </a:ln>
              <a:solidFill>
                <a:srgbClr val="000000"/>
              </a:solidFill>
              <a:effectLst/>
              <a:uLnTx/>
              <a:uFillTx/>
              <a:latin typeface="等线 Light" panose="020F0302020204030204"/>
              <a:ea typeface="+mn-ea"/>
              <a:cs typeface="+mn-cs"/>
            </a:endParaRPr>
          </a:p>
        </p:txBody>
      </p:sp>
      <p:sp>
        <p:nvSpPr>
          <p:cNvPr id="100" name="TextBox 101">
            <a:extLst>
              <a:ext uri="{FF2B5EF4-FFF2-40B4-BE49-F238E27FC236}">
                <a16:creationId xmlns:a16="http://schemas.microsoft.com/office/drawing/2014/main" id="{A2BAB6AF-D4E1-4964-8249-46D161BC96B6}"/>
              </a:ext>
            </a:extLst>
          </p:cNvPr>
          <p:cNvSpPr txBox="1"/>
          <p:nvPr/>
        </p:nvSpPr>
        <p:spPr>
          <a:xfrm>
            <a:off x="8129452" y="1889588"/>
            <a:ext cx="2433984"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d-ID" sz="1200" b="0" i="0" u="none" strike="noStrike" kern="1200" cap="none" spc="0" normalizeH="0" baseline="0" noProof="0" dirty="0">
                <a:ln>
                  <a:noFill/>
                </a:ln>
                <a:solidFill>
                  <a:srgbClr val="000000"/>
                </a:solidFill>
                <a:effectLst/>
                <a:uLnTx/>
                <a:uFillTx/>
                <a:latin typeface="等线" panose="020F0502020204030204"/>
                <a:ea typeface="+mn-ea"/>
                <a:cs typeface="+mn-cs"/>
              </a:rPr>
              <a:t>Suitable for all category</a:t>
            </a:r>
            <a:r>
              <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rPr>
              <a:t>, </a:t>
            </a:r>
            <a:r>
              <a:rPr kumimoji="0" lang="en-US" sz="1200" b="0" i="0" u="none" strike="noStrike" kern="1200" cap="none" spc="0" normalizeH="0" baseline="0" noProof="0" dirty="0" err="1">
                <a:ln>
                  <a:noFill/>
                </a:ln>
                <a:solidFill>
                  <a:srgbClr val="000000"/>
                </a:solidFill>
                <a:effectLst/>
                <a:uLnTx/>
                <a:uFillTx/>
                <a:latin typeface="等线" panose="020F0502020204030204"/>
                <a:ea typeface="+mn-ea"/>
                <a:cs typeface="+mn-cs"/>
              </a:rPr>
              <a:t>Lorem</a:t>
            </a:r>
            <a:r>
              <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rPr>
              <a:t> </a:t>
            </a:r>
            <a:r>
              <a:rPr kumimoji="0" lang="en-US" sz="1200" b="0" i="0" u="none" strike="noStrike" kern="1200" cap="none" spc="0" normalizeH="0" baseline="0" noProof="0" dirty="0" err="1">
                <a:ln>
                  <a:noFill/>
                </a:ln>
                <a:solidFill>
                  <a:srgbClr val="000000"/>
                </a:solidFill>
                <a:effectLst/>
                <a:uLnTx/>
                <a:uFillTx/>
                <a:latin typeface="等线" panose="020F0502020204030204"/>
                <a:ea typeface="+mn-ea"/>
                <a:cs typeface="+mn-cs"/>
              </a:rPr>
              <a:t>Ipsum</a:t>
            </a:r>
            <a:r>
              <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rPr>
              <a:t> is not simply random text.</a:t>
            </a:r>
            <a:r>
              <a:rPr kumimoji="0" lang="id-ID" sz="1200" b="0" i="0" u="none" strike="noStrike" kern="1200" cap="none" spc="0" normalizeH="0" baseline="0" noProof="0" dirty="0">
                <a:ln>
                  <a:noFill/>
                </a:ln>
                <a:solidFill>
                  <a:srgbClr val="000000"/>
                </a:solidFill>
                <a:effectLst/>
                <a:uLnTx/>
                <a:uFillTx/>
                <a:latin typeface="等线" panose="020F0502020204030204"/>
                <a:ea typeface="+mn-ea"/>
                <a:cs typeface="+mn-cs"/>
              </a:rPr>
              <a:t> </a:t>
            </a:r>
            <a:endParaRPr kumimoji="0" lang="en-US" sz="1200" b="1"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101" name="TextBox 102">
            <a:extLst>
              <a:ext uri="{FF2B5EF4-FFF2-40B4-BE49-F238E27FC236}">
                <a16:creationId xmlns:a16="http://schemas.microsoft.com/office/drawing/2014/main" id="{B2F90D89-134E-45B1-88AA-F8B8F46DD711}"/>
              </a:ext>
            </a:extLst>
          </p:cNvPr>
          <p:cNvSpPr txBox="1"/>
          <p:nvPr/>
        </p:nvSpPr>
        <p:spPr>
          <a:xfrm>
            <a:off x="8755784" y="2820653"/>
            <a:ext cx="1313180"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D" sz="1600" b="1" i="0" u="none" strike="noStrike" kern="1200" cap="none" spc="0" normalizeH="0" baseline="0" noProof="0">
                <a:ln>
                  <a:noFill/>
                </a:ln>
                <a:solidFill>
                  <a:srgbClr val="000000"/>
                </a:solidFill>
                <a:effectLst/>
                <a:uLnTx/>
                <a:uFillTx/>
                <a:latin typeface="等线 Light" panose="020F0302020204030204"/>
                <a:ea typeface="+mn-ea"/>
                <a:cs typeface="+mn-cs"/>
              </a:rPr>
              <a:t>Description</a:t>
            </a:r>
            <a:endParaRPr kumimoji="0" lang="id-ID" sz="1600" b="1" i="0" u="none" strike="noStrike" kern="1200" cap="none" spc="0" normalizeH="0" baseline="0" noProof="0" dirty="0">
              <a:ln>
                <a:noFill/>
              </a:ln>
              <a:solidFill>
                <a:srgbClr val="000000"/>
              </a:solidFill>
              <a:effectLst/>
              <a:uLnTx/>
              <a:uFillTx/>
              <a:latin typeface="等线 Light" panose="020F0302020204030204"/>
              <a:ea typeface="+mn-ea"/>
              <a:cs typeface="+mn-cs"/>
            </a:endParaRPr>
          </a:p>
        </p:txBody>
      </p:sp>
      <p:sp>
        <p:nvSpPr>
          <p:cNvPr id="102" name="TextBox 103">
            <a:extLst>
              <a:ext uri="{FF2B5EF4-FFF2-40B4-BE49-F238E27FC236}">
                <a16:creationId xmlns:a16="http://schemas.microsoft.com/office/drawing/2014/main" id="{4C3930C4-D0FA-43C3-9EA1-D105A767C65C}"/>
              </a:ext>
            </a:extLst>
          </p:cNvPr>
          <p:cNvSpPr txBox="1"/>
          <p:nvPr/>
        </p:nvSpPr>
        <p:spPr>
          <a:xfrm>
            <a:off x="8755784" y="3075810"/>
            <a:ext cx="2433984"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d-ID" sz="1200" b="0" i="0" u="none" strike="noStrike" kern="1200" cap="none" spc="0" normalizeH="0" baseline="0" noProof="0" dirty="0">
                <a:ln>
                  <a:noFill/>
                </a:ln>
                <a:solidFill>
                  <a:srgbClr val="000000"/>
                </a:solidFill>
                <a:effectLst/>
                <a:uLnTx/>
                <a:uFillTx/>
                <a:latin typeface="等线" panose="020F0502020204030204"/>
                <a:ea typeface="+mn-ea"/>
                <a:cs typeface="+mn-cs"/>
              </a:rPr>
              <a:t>Suitable for all category</a:t>
            </a:r>
            <a:r>
              <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rPr>
              <a:t>, </a:t>
            </a:r>
            <a:r>
              <a:rPr kumimoji="0" lang="en-US" sz="1200" b="0" i="0" u="none" strike="noStrike" kern="1200" cap="none" spc="0" normalizeH="0" baseline="0" noProof="0" dirty="0" err="1">
                <a:ln>
                  <a:noFill/>
                </a:ln>
                <a:solidFill>
                  <a:srgbClr val="000000"/>
                </a:solidFill>
                <a:effectLst/>
                <a:uLnTx/>
                <a:uFillTx/>
                <a:latin typeface="等线" panose="020F0502020204030204"/>
                <a:ea typeface="+mn-ea"/>
                <a:cs typeface="+mn-cs"/>
              </a:rPr>
              <a:t>Lorem</a:t>
            </a:r>
            <a:r>
              <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rPr>
              <a:t> </a:t>
            </a:r>
            <a:r>
              <a:rPr kumimoji="0" lang="en-US" sz="1200" b="0" i="0" u="none" strike="noStrike" kern="1200" cap="none" spc="0" normalizeH="0" baseline="0" noProof="0" dirty="0" err="1">
                <a:ln>
                  <a:noFill/>
                </a:ln>
                <a:solidFill>
                  <a:srgbClr val="000000"/>
                </a:solidFill>
                <a:effectLst/>
                <a:uLnTx/>
                <a:uFillTx/>
                <a:latin typeface="等线" panose="020F0502020204030204"/>
                <a:ea typeface="+mn-ea"/>
                <a:cs typeface="+mn-cs"/>
              </a:rPr>
              <a:t>Ipsum</a:t>
            </a:r>
            <a:r>
              <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rPr>
              <a:t> is not simply random text.</a:t>
            </a:r>
            <a:r>
              <a:rPr kumimoji="0" lang="id-ID" sz="1200" b="0" i="0" u="none" strike="noStrike" kern="1200" cap="none" spc="0" normalizeH="0" baseline="0" noProof="0" dirty="0">
                <a:ln>
                  <a:noFill/>
                </a:ln>
                <a:solidFill>
                  <a:srgbClr val="000000"/>
                </a:solidFill>
                <a:effectLst/>
                <a:uLnTx/>
                <a:uFillTx/>
                <a:latin typeface="等线" panose="020F0502020204030204"/>
                <a:ea typeface="+mn-ea"/>
                <a:cs typeface="+mn-cs"/>
              </a:rPr>
              <a:t> </a:t>
            </a:r>
            <a:endParaRPr kumimoji="0" lang="en-US" sz="1200" b="1"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103" name="TextBox 104">
            <a:extLst>
              <a:ext uri="{FF2B5EF4-FFF2-40B4-BE49-F238E27FC236}">
                <a16:creationId xmlns:a16="http://schemas.microsoft.com/office/drawing/2014/main" id="{4D9C9F71-6E61-45BC-B510-7E213FF930E5}"/>
              </a:ext>
            </a:extLst>
          </p:cNvPr>
          <p:cNvSpPr txBox="1"/>
          <p:nvPr/>
        </p:nvSpPr>
        <p:spPr>
          <a:xfrm>
            <a:off x="8755784" y="4090121"/>
            <a:ext cx="1313180"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D" sz="1600" b="1" i="0" u="none" strike="noStrike" kern="1200" cap="none" spc="0" normalizeH="0" baseline="0" noProof="0">
                <a:ln>
                  <a:noFill/>
                </a:ln>
                <a:solidFill>
                  <a:srgbClr val="000000"/>
                </a:solidFill>
                <a:effectLst/>
                <a:uLnTx/>
                <a:uFillTx/>
                <a:latin typeface="等线 Light" panose="020F0302020204030204"/>
                <a:ea typeface="+mn-ea"/>
                <a:cs typeface="+mn-cs"/>
              </a:rPr>
              <a:t>Description</a:t>
            </a:r>
            <a:endParaRPr kumimoji="0" lang="id-ID" sz="1600" b="1" i="0" u="none" strike="noStrike" kern="1200" cap="none" spc="0" normalizeH="0" baseline="0" noProof="0" dirty="0">
              <a:ln>
                <a:noFill/>
              </a:ln>
              <a:solidFill>
                <a:srgbClr val="000000"/>
              </a:solidFill>
              <a:effectLst/>
              <a:uLnTx/>
              <a:uFillTx/>
              <a:latin typeface="等线 Light" panose="020F0302020204030204"/>
              <a:ea typeface="+mn-ea"/>
              <a:cs typeface="+mn-cs"/>
            </a:endParaRPr>
          </a:p>
        </p:txBody>
      </p:sp>
      <p:sp>
        <p:nvSpPr>
          <p:cNvPr id="104" name="TextBox 105">
            <a:extLst>
              <a:ext uri="{FF2B5EF4-FFF2-40B4-BE49-F238E27FC236}">
                <a16:creationId xmlns:a16="http://schemas.microsoft.com/office/drawing/2014/main" id="{4896E4EF-4371-4E50-84BC-34D97DCF0501}"/>
              </a:ext>
            </a:extLst>
          </p:cNvPr>
          <p:cNvSpPr txBox="1"/>
          <p:nvPr/>
        </p:nvSpPr>
        <p:spPr>
          <a:xfrm>
            <a:off x="8755784" y="4345278"/>
            <a:ext cx="2433984"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d-ID" sz="1200" b="0" i="0" u="none" strike="noStrike" kern="1200" cap="none" spc="0" normalizeH="0" baseline="0" noProof="0" dirty="0">
                <a:ln>
                  <a:noFill/>
                </a:ln>
                <a:solidFill>
                  <a:srgbClr val="000000"/>
                </a:solidFill>
                <a:effectLst/>
                <a:uLnTx/>
                <a:uFillTx/>
                <a:latin typeface="等线" panose="020F0502020204030204"/>
                <a:ea typeface="+mn-ea"/>
                <a:cs typeface="+mn-cs"/>
              </a:rPr>
              <a:t>Suitable for all category</a:t>
            </a:r>
            <a:r>
              <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rPr>
              <a:t>, </a:t>
            </a:r>
            <a:r>
              <a:rPr kumimoji="0" lang="en-US" sz="1200" b="0" i="0" u="none" strike="noStrike" kern="1200" cap="none" spc="0" normalizeH="0" baseline="0" noProof="0" dirty="0" err="1">
                <a:ln>
                  <a:noFill/>
                </a:ln>
                <a:solidFill>
                  <a:srgbClr val="000000"/>
                </a:solidFill>
                <a:effectLst/>
                <a:uLnTx/>
                <a:uFillTx/>
                <a:latin typeface="等线" panose="020F0502020204030204"/>
                <a:ea typeface="+mn-ea"/>
                <a:cs typeface="+mn-cs"/>
              </a:rPr>
              <a:t>Lorem</a:t>
            </a:r>
            <a:r>
              <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rPr>
              <a:t> </a:t>
            </a:r>
            <a:r>
              <a:rPr kumimoji="0" lang="en-US" sz="1200" b="0" i="0" u="none" strike="noStrike" kern="1200" cap="none" spc="0" normalizeH="0" baseline="0" noProof="0" dirty="0" err="1">
                <a:ln>
                  <a:noFill/>
                </a:ln>
                <a:solidFill>
                  <a:srgbClr val="000000"/>
                </a:solidFill>
                <a:effectLst/>
                <a:uLnTx/>
                <a:uFillTx/>
                <a:latin typeface="等线" panose="020F0502020204030204"/>
                <a:ea typeface="+mn-ea"/>
                <a:cs typeface="+mn-cs"/>
              </a:rPr>
              <a:t>Ipsum</a:t>
            </a:r>
            <a:r>
              <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rPr>
              <a:t> is not simply random text.</a:t>
            </a:r>
            <a:r>
              <a:rPr kumimoji="0" lang="id-ID" sz="1200" b="0" i="0" u="none" strike="noStrike" kern="1200" cap="none" spc="0" normalizeH="0" baseline="0" noProof="0" dirty="0">
                <a:ln>
                  <a:noFill/>
                </a:ln>
                <a:solidFill>
                  <a:srgbClr val="000000"/>
                </a:solidFill>
                <a:effectLst/>
                <a:uLnTx/>
                <a:uFillTx/>
                <a:latin typeface="等线" panose="020F0502020204030204"/>
                <a:ea typeface="+mn-ea"/>
                <a:cs typeface="+mn-cs"/>
              </a:rPr>
              <a:t> </a:t>
            </a:r>
            <a:endParaRPr kumimoji="0" lang="en-US" sz="1200" b="1"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105" name="TextBox 106">
            <a:extLst>
              <a:ext uri="{FF2B5EF4-FFF2-40B4-BE49-F238E27FC236}">
                <a16:creationId xmlns:a16="http://schemas.microsoft.com/office/drawing/2014/main" id="{EEC7DFAB-AFF6-41F9-9AAB-CB67779A0005}"/>
              </a:ext>
            </a:extLst>
          </p:cNvPr>
          <p:cNvSpPr txBox="1"/>
          <p:nvPr/>
        </p:nvSpPr>
        <p:spPr>
          <a:xfrm>
            <a:off x="8046892" y="5460366"/>
            <a:ext cx="1313180"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D" sz="1600" b="1" i="0" u="none" strike="noStrike" kern="1200" cap="none" spc="0" normalizeH="0" baseline="0" noProof="0">
                <a:ln>
                  <a:noFill/>
                </a:ln>
                <a:solidFill>
                  <a:srgbClr val="000000"/>
                </a:solidFill>
                <a:effectLst/>
                <a:uLnTx/>
                <a:uFillTx/>
                <a:latin typeface="等线 Light" panose="020F0302020204030204"/>
                <a:ea typeface="+mn-ea"/>
                <a:cs typeface="+mn-cs"/>
              </a:rPr>
              <a:t>Description</a:t>
            </a:r>
            <a:endParaRPr kumimoji="0" lang="id-ID" sz="1600" b="1" i="0" u="none" strike="noStrike" kern="1200" cap="none" spc="0" normalizeH="0" baseline="0" noProof="0" dirty="0">
              <a:ln>
                <a:noFill/>
              </a:ln>
              <a:solidFill>
                <a:srgbClr val="000000"/>
              </a:solidFill>
              <a:effectLst/>
              <a:uLnTx/>
              <a:uFillTx/>
              <a:latin typeface="等线 Light" panose="020F0302020204030204"/>
              <a:ea typeface="+mn-ea"/>
              <a:cs typeface="+mn-cs"/>
            </a:endParaRPr>
          </a:p>
        </p:txBody>
      </p:sp>
      <p:sp>
        <p:nvSpPr>
          <p:cNvPr id="106" name="TextBox 107">
            <a:extLst>
              <a:ext uri="{FF2B5EF4-FFF2-40B4-BE49-F238E27FC236}">
                <a16:creationId xmlns:a16="http://schemas.microsoft.com/office/drawing/2014/main" id="{206B4E9A-CE2E-45C8-B2B4-AA8FB880CCBD}"/>
              </a:ext>
            </a:extLst>
          </p:cNvPr>
          <p:cNvSpPr txBox="1"/>
          <p:nvPr/>
        </p:nvSpPr>
        <p:spPr>
          <a:xfrm>
            <a:off x="8046892" y="5715523"/>
            <a:ext cx="2433984"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d-ID" sz="1200" b="0" i="0" u="none" strike="noStrike" kern="1200" cap="none" spc="0" normalizeH="0" baseline="0" noProof="0" dirty="0">
                <a:ln>
                  <a:noFill/>
                </a:ln>
                <a:solidFill>
                  <a:srgbClr val="000000"/>
                </a:solidFill>
                <a:effectLst/>
                <a:uLnTx/>
                <a:uFillTx/>
                <a:latin typeface="等线" panose="020F0502020204030204"/>
                <a:ea typeface="+mn-ea"/>
                <a:cs typeface="+mn-cs"/>
              </a:rPr>
              <a:t>Suitable for all category</a:t>
            </a:r>
            <a:r>
              <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rPr>
              <a:t>, </a:t>
            </a:r>
            <a:r>
              <a:rPr kumimoji="0" lang="en-US" sz="1200" b="0" i="0" u="none" strike="noStrike" kern="1200" cap="none" spc="0" normalizeH="0" baseline="0" noProof="0" dirty="0" err="1">
                <a:ln>
                  <a:noFill/>
                </a:ln>
                <a:solidFill>
                  <a:srgbClr val="000000"/>
                </a:solidFill>
                <a:effectLst/>
                <a:uLnTx/>
                <a:uFillTx/>
                <a:latin typeface="等线" panose="020F0502020204030204"/>
                <a:ea typeface="+mn-ea"/>
                <a:cs typeface="+mn-cs"/>
              </a:rPr>
              <a:t>Lorem</a:t>
            </a:r>
            <a:r>
              <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rPr>
              <a:t> </a:t>
            </a:r>
            <a:r>
              <a:rPr kumimoji="0" lang="en-US" sz="1200" b="0" i="0" u="none" strike="noStrike" kern="1200" cap="none" spc="0" normalizeH="0" baseline="0" noProof="0" dirty="0" err="1">
                <a:ln>
                  <a:noFill/>
                </a:ln>
                <a:solidFill>
                  <a:srgbClr val="000000"/>
                </a:solidFill>
                <a:effectLst/>
                <a:uLnTx/>
                <a:uFillTx/>
                <a:latin typeface="等线" panose="020F0502020204030204"/>
                <a:ea typeface="+mn-ea"/>
                <a:cs typeface="+mn-cs"/>
              </a:rPr>
              <a:t>Ipsum</a:t>
            </a:r>
            <a:r>
              <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rPr>
              <a:t> is not simply random text.</a:t>
            </a:r>
            <a:r>
              <a:rPr kumimoji="0" lang="id-ID" sz="1200" b="0" i="0" u="none" strike="noStrike" kern="1200" cap="none" spc="0" normalizeH="0" baseline="0" noProof="0" dirty="0">
                <a:ln>
                  <a:noFill/>
                </a:ln>
                <a:solidFill>
                  <a:srgbClr val="000000"/>
                </a:solidFill>
                <a:effectLst/>
                <a:uLnTx/>
                <a:uFillTx/>
                <a:latin typeface="等线" panose="020F0502020204030204"/>
                <a:ea typeface="+mn-ea"/>
                <a:cs typeface="+mn-cs"/>
              </a:rPr>
              <a:t> </a:t>
            </a:r>
            <a:endParaRPr kumimoji="0" lang="en-US" sz="1200" b="1"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107" name="Freeform: Shape 203">
            <a:extLst>
              <a:ext uri="{FF2B5EF4-FFF2-40B4-BE49-F238E27FC236}">
                <a16:creationId xmlns:a16="http://schemas.microsoft.com/office/drawing/2014/main" id="{CD121262-47E4-49D0-B285-B8C51CA46A0F}"/>
              </a:ext>
            </a:extLst>
          </p:cNvPr>
          <p:cNvSpPr/>
          <p:nvPr/>
        </p:nvSpPr>
        <p:spPr>
          <a:xfrm>
            <a:off x="5774253" y="3640001"/>
            <a:ext cx="632512" cy="397652"/>
          </a:xfrm>
          <a:custGeom>
            <a:avLst/>
            <a:gdLst>
              <a:gd name="connsiteX0" fmla="*/ 521003 w 521003"/>
              <a:gd name="connsiteY0" fmla="*/ 242077 h 327546"/>
              <a:gd name="connsiteX1" fmla="*/ 465218 w 521003"/>
              <a:gd name="connsiteY1" fmla="*/ 152514 h 327546"/>
              <a:gd name="connsiteX2" fmla="*/ 492343 w 521003"/>
              <a:gd name="connsiteY2" fmla="*/ 152514 h 327546"/>
              <a:gd name="connsiteX3" fmla="*/ 492343 w 521003"/>
              <a:gd name="connsiteY3" fmla="*/ 78304 h 327546"/>
              <a:gd name="connsiteX4" fmla="*/ 492343 w 521003"/>
              <a:gd name="connsiteY4" fmla="*/ 73186 h 327546"/>
              <a:gd name="connsiteX5" fmla="*/ 491831 w 521003"/>
              <a:gd name="connsiteY5" fmla="*/ 68068 h 327546"/>
              <a:gd name="connsiteX6" fmla="*/ 485178 w 521003"/>
              <a:gd name="connsiteY6" fmla="*/ 46573 h 327546"/>
              <a:gd name="connsiteX7" fmla="*/ 454470 w 521003"/>
              <a:gd name="connsiteY7" fmla="*/ 13818 h 327546"/>
              <a:gd name="connsiteX8" fmla="*/ 452935 w 521003"/>
              <a:gd name="connsiteY8" fmla="*/ 12795 h 327546"/>
              <a:gd name="connsiteX9" fmla="*/ 450888 w 521003"/>
              <a:gd name="connsiteY9" fmla="*/ 11771 h 327546"/>
              <a:gd name="connsiteX10" fmla="*/ 445258 w 521003"/>
              <a:gd name="connsiteY10" fmla="*/ 9212 h 327546"/>
              <a:gd name="connsiteX11" fmla="*/ 418133 w 521003"/>
              <a:gd name="connsiteY11" fmla="*/ 4094 h 327546"/>
              <a:gd name="connsiteX12" fmla="*/ 351600 w 521003"/>
              <a:gd name="connsiteY12" fmla="*/ 45549 h 327546"/>
              <a:gd name="connsiteX13" fmla="*/ 346482 w 521003"/>
              <a:gd name="connsiteY13" fmla="*/ 59879 h 327546"/>
              <a:gd name="connsiteX14" fmla="*/ 344435 w 521003"/>
              <a:gd name="connsiteY14" fmla="*/ 72674 h 327546"/>
              <a:gd name="connsiteX15" fmla="*/ 344435 w 521003"/>
              <a:gd name="connsiteY15" fmla="*/ 77792 h 327546"/>
              <a:gd name="connsiteX16" fmla="*/ 344435 w 521003"/>
              <a:gd name="connsiteY16" fmla="*/ 91099 h 327546"/>
              <a:gd name="connsiteX17" fmla="*/ 343412 w 521003"/>
              <a:gd name="connsiteY17" fmla="*/ 89051 h 327546"/>
              <a:gd name="connsiteX18" fmla="*/ 307075 w 521003"/>
              <a:gd name="connsiteY18" fmla="*/ 50667 h 327546"/>
              <a:gd name="connsiteX19" fmla="*/ 303492 w 521003"/>
              <a:gd name="connsiteY19" fmla="*/ 48620 h 327546"/>
              <a:gd name="connsiteX20" fmla="*/ 297862 w 521003"/>
              <a:gd name="connsiteY20" fmla="*/ 46061 h 327546"/>
              <a:gd name="connsiteX21" fmla="*/ 265108 w 521003"/>
              <a:gd name="connsiteY21" fmla="*/ 39408 h 327546"/>
              <a:gd name="connsiteX22" fmla="*/ 186804 w 521003"/>
              <a:gd name="connsiteY22" fmla="*/ 88028 h 327546"/>
              <a:gd name="connsiteX23" fmla="*/ 180662 w 521003"/>
              <a:gd name="connsiteY23" fmla="*/ 104917 h 327546"/>
              <a:gd name="connsiteX24" fmla="*/ 178103 w 521003"/>
              <a:gd name="connsiteY24" fmla="*/ 125900 h 327546"/>
              <a:gd name="connsiteX25" fmla="*/ 192433 w 521003"/>
              <a:gd name="connsiteY25" fmla="*/ 173497 h 327546"/>
              <a:gd name="connsiteX26" fmla="*/ 193969 w 521003"/>
              <a:gd name="connsiteY26" fmla="*/ 176056 h 327546"/>
              <a:gd name="connsiteX27" fmla="*/ 199087 w 521003"/>
              <a:gd name="connsiteY27" fmla="*/ 182709 h 327546"/>
              <a:gd name="connsiteX28" fmla="*/ 233377 w 521003"/>
              <a:gd name="connsiteY28" fmla="*/ 206763 h 327546"/>
              <a:gd name="connsiteX29" fmla="*/ 208299 w 521003"/>
              <a:gd name="connsiteY29" fmla="*/ 216488 h 327546"/>
              <a:gd name="connsiteX30" fmla="*/ 137160 w 521003"/>
              <a:gd name="connsiteY30" fmla="*/ 148419 h 327546"/>
              <a:gd name="connsiteX31" fmla="*/ 165308 w 521003"/>
              <a:gd name="connsiteY31" fmla="*/ 127948 h 327546"/>
              <a:gd name="connsiteX32" fmla="*/ 170426 w 521003"/>
              <a:gd name="connsiteY32" fmla="*/ 121294 h 327546"/>
              <a:gd name="connsiteX33" fmla="*/ 171962 w 521003"/>
              <a:gd name="connsiteY33" fmla="*/ 118735 h 327546"/>
              <a:gd name="connsiteX34" fmla="*/ 184245 w 521003"/>
              <a:gd name="connsiteY34" fmla="*/ 77280 h 327546"/>
              <a:gd name="connsiteX35" fmla="*/ 183221 w 521003"/>
              <a:gd name="connsiteY35" fmla="*/ 66533 h 327546"/>
              <a:gd name="connsiteX36" fmla="*/ 176568 w 521003"/>
              <a:gd name="connsiteY36" fmla="*/ 44014 h 327546"/>
              <a:gd name="connsiteX37" fmla="*/ 144837 w 521003"/>
              <a:gd name="connsiteY37" fmla="*/ 10236 h 327546"/>
              <a:gd name="connsiteX38" fmla="*/ 141254 w 521003"/>
              <a:gd name="connsiteY38" fmla="*/ 8189 h 327546"/>
              <a:gd name="connsiteX39" fmla="*/ 135625 w 521003"/>
              <a:gd name="connsiteY39" fmla="*/ 5630 h 327546"/>
              <a:gd name="connsiteX40" fmla="*/ 107476 w 521003"/>
              <a:gd name="connsiteY40" fmla="*/ 0 h 327546"/>
              <a:gd name="connsiteX41" fmla="*/ 38384 w 521003"/>
              <a:gd name="connsiteY41" fmla="*/ 42990 h 327546"/>
              <a:gd name="connsiteX42" fmla="*/ 32755 w 521003"/>
              <a:gd name="connsiteY42" fmla="*/ 57832 h 327546"/>
              <a:gd name="connsiteX43" fmla="*/ 30196 w 521003"/>
              <a:gd name="connsiteY43" fmla="*/ 76257 h 327546"/>
              <a:gd name="connsiteX44" fmla="*/ 42479 w 521003"/>
              <a:gd name="connsiteY44" fmla="*/ 118224 h 327546"/>
              <a:gd name="connsiteX45" fmla="*/ 44014 w 521003"/>
              <a:gd name="connsiteY45" fmla="*/ 120783 h 327546"/>
              <a:gd name="connsiteX46" fmla="*/ 49132 w 521003"/>
              <a:gd name="connsiteY46" fmla="*/ 127436 h 327546"/>
              <a:gd name="connsiteX47" fmla="*/ 76769 w 521003"/>
              <a:gd name="connsiteY47" fmla="*/ 147396 h 327546"/>
              <a:gd name="connsiteX48" fmla="*/ 0 w 521003"/>
              <a:gd name="connsiteY48" fmla="*/ 249754 h 327546"/>
              <a:gd name="connsiteX49" fmla="*/ 0 w 521003"/>
              <a:gd name="connsiteY49" fmla="*/ 254872 h 327546"/>
              <a:gd name="connsiteX50" fmla="*/ 163773 w 521003"/>
              <a:gd name="connsiteY50" fmla="*/ 254872 h 327546"/>
              <a:gd name="connsiteX51" fmla="*/ 143301 w 521003"/>
              <a:gd name="connsiteY51" fmla="*/ 322428 h 327546"/>
              <a:gd name="connsiteX52" fmla="*/ 143301 w 521003"/>
              <a:gd name="connsiteY52" fmla="*/ 327546 h 327546"/>
              <a:gd name="connsiteX53" fmla="*/ 385379 w 521003"/>
              <a:gd name="connsiteY53" fmla="*/ 327546 h 327546"/>
              <a:gd name="connsiteX54" fmla="*/ 385379 w 521003"/>
              <a:gd name="connsiteY54" fmla="*/ 322428 h 327546"/>
              <a:gd name="connsiteX55" fmla="*/ 359789 w 521003"/>
              <a:gd name="connsiteY55" fmla="*/ 248219 h 327546"/>
              <a:gd name="connsiteX56" fmla="*/ 521003 w 521003"/>
              <a:gd name="connsiteY56" fmla="*/ 248219 h 327546"/>
              <a:gd name="connsiteX57" fmla="*/ 521003 w 521003"/>
              <a:gd name="connsiteY57" fmla="*/ 242077 h 327546"/>
              <a:gd name="connsiteX58" fmla="*/ 54250 w 521003"/>
              <a:gd name="connsiteY58" fmla="*/ 119759 h 327546"/>
              <a:gd name="connsiteX59" fmla="*/ 54250 w 521003"/>
              <a:gd name="connsiteY59" fmla="*/ 119759 h 327546"/>
              <a:gd name="connsiteX60" fmla="*/ 55273 w 521003"/>
              <a:gd name="connsiteY60" fmla="*/ 117200 h 327546"/>
              <a:gd name="connsiteX61" fmla="*/ 56297 w 521003"/>
              <a:gd name="connsiteY61" fmla="*/ 114641 h 327546"/>
              <a:gd name="connsiteX62" fmla="*/ 56297 w 521003"/>
              <a:gd name="connsiteY62" fmla="*/ 114129 h 327546"/>
              <a:gd name="connsiteX63" fmla="*/ 57832 w 521003"/>
              <a:gd name="connsiteY63" fmla="*/ 110035 h 327546"/>
              <a:gd name="connsiteX64" fmla="*/ 58856 w 521003"/>
              <a:gd name="connsiteY64" fmla="*/ 105941 h 327546"/>
              <a:gd name="connsiteX65" fmla="*/ 58856 w 521003"/>
              <a:gd name="connsiteY65" fmla="*/ 105429 h 327546"/>
              <a:gd name="connsiteX66" fmla="*/ 59368 w 521003"/>
              <a:gd name="connsiteY66" fmla="*/ 102870 h 327546"/>
              <a:gd name="connsiteX67" fmla="*/ 59880 w 521003"/>
              <a:gd name="connsiteY67" fmla="*/ 100311 h 327546"/>
              <a:gd name="connsiteX68" fmla="*/ 60391 w 521003"/>
              <a:gd name="connsiteY68" fmla="*/ 97240 h 327546"/>
              <a:gd name="connsiteX69" fmla="*/ 60903 w 521003"/>
              <a:gd name="connsiteY69" fmla="*/ 94681 h 327546"/>
              <a:gd name="connsiteX70" fmla="*/ 60903 w 521003"/>
              <a:gd name="connsiteY70" fmla="*/ 88540 h 327546"/>
              <a:gd name="connsiteX71" fmla="*/ 59368 w 521003"/>
              <a:gd name="connsiteY71" fmla="*/ 73186 h 327546"/>
              <a:gd name="connsiteX72" fmla="*/ 69092 w 521003"/>
              <a:gd name="connsiteY72" fmla="*/ 73698 h 327546"/>
              <a:gd name="connsiteX73" fmla="*/ 73186 w 521003"/>
              <a:gd name="connsiteY73" fmla="*/ 73698 h 327546"/>
              <a:gd name="connsiteX74" fmla="*/ 80863 w 521003"/>
              <a:gd name="connsiteY74" fmla="*/ 73186 h 327546"/>
              <a:gd name="connsiteX75" fmla="*/ 84446 w 521003"/>
              <a:gd name="connsiteY75" fmla="*/ 72674 h 327546"/>
              <a:gd name="connsiteX76" fmla="*/ 88028 w 521003"/>
              <a:gd name="connsiteY76" fmla="*/ 71651 h 327546"/>
              <a:gd name="connsiteX77" fmla="*/ 95193 w 521003"/>
              <a:gd name="connsiteY77" fmla="*/ 69603 h 327546"/>
              <a:gd name="connsiteX78" fmla="*/ 98776 w 521003"/>
              <a:gd name="connsiteY78" fmla="*/ 68068 h 327546"/>
              <a:gd name="connsiteX79" fmla="*/ 105429 w 521003"/>
              <a:gd name="connsiteY79" fmla="*/ 64997 h 327546"/>
              <a:gd name="connsiteX80" fmla="*/ 106964 w 521003"/>
              <a:gd name="connsiteY80" fmla="*/ 63974 h 327546"/>
              <a:gd name="connsiteX81" fmla="*/ 106964 w 521003"/>
              <a:gd name="connsiteY81" fmla="*/ 63974 h 327546"/>
              <a:gd name="connsiteX82" fmla="*/ 108500 w 521003"/>
              <a:gd name="connsiteY82" fmla="*/ 62950 h 327546"/>
              <a:gd name="connsiteX83" fmla="*/ 112082 w 521003"/>
              <a:gd name="connsiteY83" fmla="*/ 60903 h 327546"/>
              <a:gd name="connsiteX84" fmla="*/ 114641 w 521003"/>
              <a:gd name="connsiteY84" fmla="*/ 58856 h 327546"/>
              <a:gd name="connsiteX85" fmla="*/ 118224 w 521003"/>
              <a:gd name="connsiteY85" fmla="*/ 56297 h 327546"/>
              <a:gd name="connsiteX86" fmla="*/ 121294 w 521003"/>
              <a:gd name="connsiteY86" fmla="*/ 53738 h 327546"/>
              <a:gd name="connsiteX87" fmla="*/ 121294 w 521003"/>
              <a:gd name="connsiteY87" fmla="*/ 53738 h 327546"/>
              <a:gd name="connsiteX88" fmla="*/ 123853 w 521003"/>
              <a:gd name="connsiteY88" fmla="*/ 51179 h 327546"/>
              <a:gd name="connsiteX89" fmla="*/ 123853 w 521003"/>
              <a:gd name="connsiteY89" fmla="*/ 51179 h 327546"/>
              <a:gd name="connsiteX90" fmla="*/ 127436 w 521003"/>
              <a:gd name="connsiteY90" fmla="*/ 54250 h 327546"/>
              <a:gd name="connsiteX91" fmla="*/ 131019 w 521003"/>
              <a:gd name="connsiteY91" fmla="*/ 56809 h 327546"/>
              <a:gd name="connsiteX92" fmla="*/ 131530 w 521003"/>
              <a:gd name="connsiteY92" fmla="*/ 57320 h 327546"/>
              <a:gd name="connsiteX93" fmla="*/ 135113 w 521003"/>
              <a:gd name="connsiteY93" fmla="*/ 59879 h 327546"/>
              <a:gd name="connsiteX94" fmla="*/ 138184 w 521003"/>
              <a:gd name="connsiteY94" fmla="*/ 61927 h 327546"/>
              <a:gd name="connsiteX95" fmla="*/ 140231 w 521003"/>
              <a:gd name="connsiteY95" fmla="*/ 62950 h 327546"/>
              <a:gd name="connsiteX96" fmla="*/ 142790 w 521003"/>
              <a:gd name="connsiteY96" fmla="*/ 64486 h 327546"/>
              <a:gd name="connsiteX97" fmla="*/ 144325 w 521003"/>
              <a:gd name="connsiteY97" fmla="*/ 65509 h 327546"/>
              <a:gd name="connsiteX98" fmla="*/ 146884 w 521003"/>
              <a:gd name="connsiteY98" fmla="*/ 67045 h 327546"/>
              <a:gd name="connsiteX99" fmla="*/ 149955 w 521003"/>
              <a:gd name="connsiteY99" fmla="*/ 68580 h 327546"/>
              <a:gd name="connsiteX100" fmla="*/ 156096 w 521003"/>
              <a:gd name="connsiteY100" fmla="*/ 70627 h 327546"/>
              <a:gd name="connsiteX101" fmla="*/ 154049 w 521003"/>
              <a:gd name="connsiteY101" fmla="*/ 89051 h 327546"/>
              <a:gd name="connsiteX102" fmla="*/ 154049 w 521003"/>
              <a:gd name="connsiteY102" fmla="*/ 93146 h 327546"/>
              <a:gd name="connsiteX103" fmla="*/ 154561 w 521003"/>
              <a:gd name="connsiteY103" fmla="*/ 97240 h 327546"/>
              <a:gd name="connsiteX104" fmla="*/ 154561 w 521003"/>
              <a:gd name="connsiteY104" fmla="*/ 99799 h 327546"/>
              <a:gd name="connsiteX105" fmla="*/ 155073 w 521003"/>
              <a:gd name="connsiteY105" fmla="*/ 102358 h 327546"/>
              <a:gd name="connsiteX106" fmla="*/ 156096 w 521003"/>
              <a:gd name="connsiteY106" fmla="*/ 106452 h 327546"/>
              <a:gd name="connsiteX107" fmla="*/ 157120 w 521003"/>
              <a:gd name="connsiteY107" fmla="*/ 110035 h 327546"/>
              <a:gd name="connsiteX108" fmla="*/ 158143 w 521003"/>
              <a:gd name="connsiteY108" fmla="*/ 113106 h 327546"/>
              <a:gd name="connsiteX109" fmla="*/ 159167 w 521003"/>
              <a:gd name="connsiteY109" fmla="*/ 115665 h 327546"/>
              <a:gd name="connsiteX110" fmla="*/ 160702 w 521003"/>
              <a:gd name="connsiteY110" fmla="*/ 119247 h 327546"/>
              <a:gd name="connsiteX111" fmla="*/ 111570 w 521003"/>
              <a:gd name="connsiteY111" fmla="*/ 145348 h 327546"/>
              <a:gd name="connsiteX112" fmla="*/ 111059 w 521003"/>
              <a:gd name="connsiteY112" fmla="*/ 145348 h 327546"/>
              <a:gd name="connsiteX113" fmla="*/ 107988 w 521003"/>
              <a:gd name="connsiteY113" fmla="*/ 145348 h 327546"/>
              <a:gd name="connsiteX114" fmla="*/ 107988 w 521003"/>
              <a:gd name="connsiteY114" fmla="*/ 145348 h 327546"/>
              <a:gd name="connsiteX115" fmla="*/ 103894 w 521003"/>
              <a:gd name="connsiteY115" fmla="*/ 145348 h 327546"/>
              <a:gd name="connsiteX116" fmla="*/ 103894 w 521003"/>
              <a:gd name="connsiteY116" fmla="*/ 145348 h 327546"/>
              <a:gd name="connsiteX117" fmla="*/ 54250 w 521003"/>
              <a:gd name="connsiteY117" fmla="*/ 119759 h 327546"/>
              <a:gd name="connsiteX118" fmla="*/ 127436 w 521003"/>
              <a:gd name="connsiteY118" fmla="*/ 215464 h 327546"/>
              <a:gd name="connsiteX119" fmla="*/ 106964 w 521003"/>
              <a:gd name="connsiteY119" fmla="*/ 228259 h 327546"/>
              <a:gd name="connsiteX120" fmla="*/ 86493 w 521003"/>
              <a:gd name="connsiteY120" fmla="*/ 215464 h 327546"/>
              <a:gd name="connsiteX121" fmla="*/ 92122 w 521003"/>
              <a:gd name="connsiteY121" fmla="*/ 161726 h 327546"/>
              <a:gd name="connsiteX122" fmla="*/ 81375 w 521003"/>
              <a:gd name="connsiteY122" fmla="*/ 150978 h 327546"/>
              <a:gd name="connsiteX123" fmla="*/ 91611 w 521003"/>
              <a:gd name="connsiteY123" fmla="*/ 154049 h 327546"/>
              <a:gd name="connsiteX124" fmla="*/ 93146 w 521003"/>
              <a:gd name="connsiteY124" fmla="*/ 154561 h 327546"/>
              <a:gd name="connsiteX125" fmla="*/ 100311 w 521003"/>
              <a:gd name="connsiteY125" fmla="*/ 155584 h 327546"/>
              <a:gd name="connsiteX126" fmla="*/ 103382 w 521003"/>
              <a:gd name="connsiteY126" fmla="*/ 155584 h 327546"/>
              <a:gd name="connsiteX127" fmla="*/ 103894 w 521003"/>
              <a:gd name="connsiteY127" fmla="*/ 155584 h 327546"/>
              <a:gd name="connsiteX128" fmla="*/ 107476 w 521003"/>
              <a:gd name="connsiteY128" fmla="*/ 155584 h 327546"/>
              <a:gd name="connsiteX129" fmla="*/ 110547 w 521003"/>
              <a:gd name="connsiteY129" fmla="*/ 155584 h 327546"/>
              <a:gd name="connsiteX130" fmla="*/ 114641 w 521003"/>
              <a:gd name="connsiteY130" fmla="*/ 155584 h 327546"/>
              <a:gd name="connsiteX131" fmla="*/ 121806 w 521003"/>
              <a:gd name="connsiteY131" fmla="*/ 154561 h 327546"/>
              <a:gd name="connsiteX132" fmla="*/ 123342 w 521003"/>
              <a:gd name="connsiteY132" fmla="*/ 154049 h 327546"/>
              <a:gd name="connsiteX133" fmla="*/ 123342 w 521003"/>
              <a:gd name="connsiteY133" fmla="*/ 154049 h 327546"/>
              <a:gd name="connsiteX134" fmla="*/ 133577 w 521003"/>
              <a:gd name="connsiteY134" fmla="*/ 150978 h 327546"/>
              <a:gd name="connsiteX135" fmla="*/ 122318 w 521003"/>
              <a:gd name="connsiteY135" fmla="*/ 161726 h 327546"/>
              <a:gd name="connsiteX136" fmla="*/ 127436 w 521003"/>
              <a:gd name="connsiteY136" fmla="*/ 215464 h 327546"/>
              <a:gd name="connsiteX137" fmla="*/ 203693 w 521003"/>
              <a:gd name="connsiteY137" fmla="*/ 173497 h 327546"/>
              <a:gd name="connsiteX138" fmla="*/ 204205 w 521003"/>
              <a:gd name="connsiteY138" fmla="*/ 172473 h 327546"/>
              <a:gd name="connsiteX139" fmla="*/ 204716 w 521003"/>
              <a:gd name="connsiteY139" fmla="*/ 171450 h 327546"/>
              <a:gd name="connsiteX140" fmla="*/ 205740 w 521003"/>
              <a:gd name="connsiteY140" fmla="*/ 168891 h 327546"/>
              <a:gd name="connsiteX141" fmla="*/ 205740 w 521003"/>
              <a:gd name="connsiteY141" fmla="*/ 168379 h 327546"/>
              <a:gd name="connsiteX142" fmla="*/ 206252 w 521003"/>
              <a:gd name="connsiteY142" fmla="*/ 166332 h 327546"/>
              <a:gd name="connsiteX143" fmla="*/ 208299 w 521003"/>
              <a:gd name="connsiteY143" fmla="*/ 159167 h 327546"/>
              <a:gd name="connsiteX144" fmla="*/ 208811 w 521003"/>
              <a:gd name="connsiteY144" fmla="*/ 156608 h 327546"/>
              <a:gd name="connsiteX145" fmla="*/ 210346 w 521003"/>
              <a:gd name="connsiteY145" fmla="*/ 147907 h 327546"/>
              <a:gd name="connsiteX146" fmla="*/ 210858 w 521003"/>
              <a:gd name="connsiteY146" fmla="*/ 143302 h 327546"/>
              <a:gd name="connsiteX147" fmla="*/ 210858 w 521003"/>
              <a:gd name="connsiteY147" fmla="*/ 138184 h 327546"/>
              <a:gd name="connsiteX148" fmla="*/ 208811 w 521003"/>
              <a:gd name="connsiteY148" fmla="*/ 119759 h 327546"/>
              <a:gd name="connsiteX149" fmla="*/ 221094 w 521003"/>
              <a:gd name="connsiteY149" fmla="*/ 120783 h 327546"/>
              <a:gd name="connsiteX150" fmla="*/ 227747 w 521003"/>
              <a:gd name="connsiteY150" fmla="*/ 120783 h 327546"/>
              <a:gd name="connsiteX151" fmla="*/ 230306 w 521003"/>
              <a:gd name="connsiteY151" fmla="*/ 120783 h 327546"/>
              <a:gd name="connsiteX152" fmla="*/ 234912 w 521003"/>
              <a:gd name="connsiteY152" fmla="*/ 120271 h 327546"/>
              <a:gd name="connsiteX153" fmla="*/ 237983 w 521003"/>
              <a:gd name="connsiteY153" fmla="*/ 119759 h 327546"/>
              <a:gd name="connsiteX154" fmla="*/ 243613 w 521003"/>
              <a:gd name="connsiteY154" fmla="*/ 118735 h 327546"/>
              <a:gd name="connsiteX155" fmla="*/ 245660 w 521003"/>
              <a:gd name="connsiteY155" fmla="*/ 118224 h 327546"/>
              <a:gd name="connsiteX156" fmla="*/ 247707 w 521003"/>
              <a:gd name="connsiteY156" fmla="*/ 117712 h 327546"/>
              <a:gd name="connsiteX157" fmla="*/ 251801 w 521003"/>
              <a:gd name="connsiteY157" fmla="*/ 116176 h 327546"/>
              <a:gd name="connsiteX158" fmla="*/ 255896 w 521003"/>
              <a:gd name="connsiteY158" fmla="*/ 114641 h 327546"/>
              <a:gd name="connsiteX159" fmla="*/ 259990 w 521003"/>
              <a:gd name="connsiteY159" fmla="*/ 112594 h 327546"/>
              <a:gd name="connsiteX160" fmla="*/ 265108 w 521003"/>
              <a:gd name="connsiteY160" fmla="*/ 110035 h 327546"/>
              <a:gd name="connsiteX161" fmla="*/ 266131 w 521003"/>
              <a:gd name="connsiteY161" fmla="*/ 109523 h 327546"/>
              <a:gd name="connsiteX162" fmla="*/ 267155 w 521003"/>
              <a:gd name="connsiteY162" fmla="*/ 109011 h 327546"/>
              <a:gd name="connsiteX163" fmla="*/ 270737 w 521003"/>
              <a:gd name="connsiteY163" fmla="*/ 106452 h 327546"/>
              <a:gd name="connsiteX164" fmla="*/ 274320 w 521003"/>
              <a:gd name="connsiteY164" fmla="*/ 103894 h 327546"/>
              <a:gd name="connsiteX165" fmla="*/ 277902 w 521003"/>
              <a:gd name="connsiteY165" fmla="*/ 101335 h 327546"/>
              <a:gd name="connsiteX166" fmla="*/ 281485 w 521003"/>
              <a:gd name="connsiteY166" fmla="*/ 97752 h 327546"/>
              <a:gd name="connsiteX167" fmla="*/ 284044 w 521003"/>
              <a:gd name="connsiteY167" fmla="*/ 95193 h 327546"/>
              <a:gd name="connsiteX168" fmla="*/ 284044 w 521003"/>
              <a:gd name="connsiteY168" fmla="*/ 95193 h 327546"/>
              <a:gd name="connsiteX169" fmla="*/ 287626 w 521003"/>
              <a:gd name="connsiteY169" fmla="*/ 98264 h 327546"/>
              <a:gd name="connsiteX170" fmla="*/ 288650 w 521003"/>
              <a:gd name="connsiteY170" fmla="*/ 99287 h 327546"/>
              <a:gd name="connsiteX171" fmla="*/ 291721 w 521003"/>
              <a:gd name="connsiteY171" fmla="*/ 101846 h 327546"/>
              <a:gd name="connsiteX172" fmla="*/ 292744 w 521003"/>
              <a:gd name="connsiteY172" fmla="*/ 102870 h 327546"/>
              <a:gd name="connsiteX173" fmla="*/ 294280 w 521003"/>
              <a:gd name="connsiteY173" fmla="*/ 103894 h 327546"/>
              <a:gd name="connsiteX174" fmla="*/ 302980 w 521003"/>
              <a:gd name="connsiteY174" fmla="*/ 109523 h 327546"/>
              <a:gd name="connsiteX175" fmla="*/ 306563 w 521003"/>
              <a:gd name="connsiteY175" fmla="*/ 111570 h 327546"/>
              <a:gd name="connsiteX176" fmla="*/ 310145 w 521003"/>
              <a:gd name="connsiteY176" fmla="*/ 113617 h 327546"/>
              <a:gd name="connsiteX177" fmla="*/ 321917 w 521003"/>
              <a:gd name="connsiteY177" fmla="*/ 118224 h 327546"/>
              <a:gd name="connsiteX178" fmla="*/ 319358 w 521003"/>
              <a:gd name="connsiteY178" fmla="*/ 139719 h 327546"/>
              <a:gd name="connsiteX179" fmla="*/ 319869 w 521003"/>
              <a:gd name="connsiteY179" fmla="*/ 148931 h 327546"/>
              <a:gd name="connsiteX180" fmla="*/ 319869 w 521003"/>
              <a:gd name="connsiteY180" fmla="*/ 150978 h 327546"/>
              <a:gd name="connsiteX181" fmla="*/ 320381 w 521003"/>
              <a:gd name="connsiteY181" fmla="*/ 153025 h 327546"/>
              <a:gd name="connsiteX182" fmla="*/ 320893 w 521003"/>
              <a:gd name="connsiteY182" fmla="*/ 155584 h 327546"/>
              <a:gd name="connsiteX183" fmla="*/ 321405 w 521003"/>
              <a:gd name="connsiteY183" fmla="*/ 158143 h 327546"/>
              <a:gd name="connsiteX184" fmla="*/ 322428 w 521003"/>
              <a:gd name="connsiteY184" fmla="*/ 161726 h 327546"/>
              <a:gd name="connsiteX185" fmla="*/ 323452 w 521003"/>
              <a:gd name="connsiteY185" fmla="*/ 165308 h 327546"/>
              <a:gd name="connsiteX186" fmla="*/ 326011 w 521003"/>
              <a:gd name="connsiteY186" fmla="*/ 172985 h 327546"/>
              <a:gd name="connsiteX187" fmla="*/ 326523 w 521003"/>
              <a:gd name="connsiteY187" fmla="*/ 174009 h 327546"/>
              <a:gd name="connsiteX188" fmla="*/ 268178 w 521003"/>
              <a:gd name="connsiteY188" fmla="*/ 204716 h 327546"/>
              <a:gd name="connsiteX189" fmla="*/ 265108 w 521003"/>
              <a:gd name="connsiteY189" fmla="*/ 204716 h 327546"/>
              <a:gd name="connsiteX190" fmla="*/ 261525 w 521003"/>
              <a:gd name="connsiteY190" fmla="*/ 204716 h 327546"/>
              <a:gd name="connsiteX191" fmla="*/ 203693 w 521003"/>
              <a:gd name="connsiteY191" fmla="*/ 173497 h 327546"/>
              <a:gd name="connsiteX192" fmla="*/ 287115 w 521003"/>
              <a:gd name="connsiteY192" fmla="*/ 282508 h 327546"/>
              <a:gd name="connsiteX193" fmla="*/ 264596 w 521003"/>
              <a:gd name="connsiteY193" fmla="*/ 296327 h 327546"/>
              <a:gd name="connsiteX194" fmla="*/ 242077 w 521003"/>
              <a:gd name="connsiteY194" fmla="*/ 282508 h 327546"/>
              <a:gd name="connsiteX195" fmla="*/ 248730 w 521003"/>
              <a:gd name="connsiteY195" fmla="*/ 221605 h 327546"/>
              <a:gd name="connsiteX196" fmla="*/ 235936 w 521003"/>
              <a:gd name="connsiteY196" fmla="*/ 208811 h 327546"/>
              <a:gd name="connsiteX197" fmla="*/ 246172 w 521003"/>
              <a:gd name="connsiteY197" fmla="*/ 211881 h 327546"/>
              <a:gd name="connsiteX198" fmla="*/ 249754 w 521003"/>
              <a:gd name="connsiteY198" fmla="*/ 212905 h 327546"/>
              <a:gd name="connsiteX199" fmla="*/ 254872 w 521003"/>
              <a:gd name="connsiteY199" fmla="*/ 213929 h 327546"/>
              <a:gd name="connsiteX200" fmla="*/ 261013 w 521003"/>
              <a:gd name="connsiteY200" fmla="*/ 214440 h 327546"/>
              <a:gd name="connsiteX201" fmla="*/ 265108 w 521003"/>
              <a:gd name="connsiteY201" fmla="*/ 214440 h 327546"/>
              <a:gd name="connsiteX202" fmla="*/ 268178 w 521003"/>
              <a:gd name="connsiteY202" fmla="*/ 214440 h 327546"/>
              <a:gd name="connsiteX203" fmla="*/ 275344 w 521003"/>
              <a:gd name="connsiteY203" fmla="*/ 213929 h 327546"/>
              <a:gd name="connsiteX204" fmla="*/ 280461 w 521003"/>
              <a:gd name="connsiteY204" fmla="*/ 213417 h 327546"/>
              <a:gd name="connsiteX205" fmla="*/ 284044 w 521003"/>
              <a:gd name="connsiteY205" fmla="*/ 212393 h 327546"/>
              <a:gd name="connsiteX206" fmla="*/ 294280 w 521003"/>
              <a:gd name="connsiteY206" fmla="*/ 209322 h 327546"/>
              <a:gd name="connsiteX207" fmla="*/ 281485 w 521003"/>
              <a:gd name="connsiteY207" fmla="*/ 222117 h 327546"/>
              <a:gd name="connsiteX208" fmla="*/ 287115 w 521003"/>
              <a:gd name="connsiteY208" fmla="*/ 282508 h 327546"/>
              <a:gd name="connsiteX209" fmla="*/ 318846 w 521003"/>
              <a:gd name="connsiteY209" fmla="*/ 216488 h 327546"/>
              <a:gd name="connsiteX210" fmla="*/ 296327 w 521003"/>
              <a:gd name="connsiteY210" fmla="*/ 207787 h 327546"/>
              <a:gd name="connsiteX211" fmla="*/ 331129 w 521003"/>
              <a:gd name="connsiteY211" fmla="*/ 183221 h 327546"/>
              <a:gd name="connsiteX212" fmla="*/ 336247 w 521003"/>
              <a:gd name="connsiteY212" fmla="*/ 176568 h 327546"/>
              <a:gd name="connsiteX213" fmla="*/ 337782 w 521003"/>
              <a:gd name="connsiteY213" fmla="*/ 174009 h 327546"/>
              <a:gd name="connsiteX214" fmla="*/ 348018 w 521003"/>
              <a:gd name="connsiteY214" fmla="*/ 152514 h 327546"/>
              <a:gd name="connsiteX215" fmla="*/ 371560 w 521003"/>
              <a:gd name="connsiteY215" fmla="*/ 152514 h 327546"/>
              <a:gd name="connsiteX216" fmla="*/ 318846 w 521003"/>
              <a:gd name="connsiteY216" fmla="*/ 216488 h 327546"/>
              <a:gd name="connsiteX217" fmla="*/ 445258 w 521003"/>
              <a:gd name="connsiteY217" fmla="*/ 152514 h 327546"/>
              <a:gd name="connsiteX218" fmla="*/ 418133 w 521003"/>
              <a:gd name="connsiteY218" fmla="*/ 175032 h 327546"/>
              <a:gd name="connsiteX219" fmla="*/ 391008 w 521003"/>
              <a:gd name="connsiteY219" fmla="*/ 152514 h 327546"/>
              <a:gd name="connsiteX220" fmla="*/ 390496 w 521003"/>
              <a:gd name="connsiteY220" fmla="*/ 150466 h 327546"/>
              <a:gd name="connsiteX221" fmla="*/ 396126 w 521003"/>
              <a:gd name="connsiteY221" fmla="*/ 148931 h 327546"/>
              <a:gd name="connsiteX222" fmla="*/ 396126 w 521003"/>
              <a:gd name="connsiteY222" fmla="*/ 148931 h 327546"/>
              <a:gd name="connsiteX223" fmla="*/ 415063 w 521003"/>
              <a:gd name="connsiteY223" fmla="*/ 146884 h 327546"/>
              <a:gd name="connsiteX224" fmla="*/ 420692 w 521003"/>
              <a:gd name="connsiteY224" fmla="*/ 146884 h 327546"/>
              <a:gd name="connsiteX225" fmla="*/ 439628 w 521003"/>
              <a:gd name="connsiteY225" fmla="*/ 148931 h 327546"/>
              <a:gd name="connsiteX226" fmla="*/ 445770 w 521003"/>
              <a:gd name="connsiteY226" fmla="*/ 150466 h 327546"/>
              <a:gd name="connsiteX227" fmla="*/ 445258 w 521003"/>
              <a:gd name="connsiteY227" fmla="*/ 152514 h 327546"/>
              <a:gd name="connsiteX228" fmla="*/ 418133 w 521003"/>
              <a:gd name="connsiteY228" fmla="*/ 142278 h 327546"/>
              <a:gd name="connsiteX229" fmla="*/ 418133 w 521003"/>
              <a:gd name="connsiteY229" fmla="*/ 142278 h 327546"/>
              <a:gd name="connsiteX230" fmla="*/ 367466 w 521003"/>
              <a:gd name="connsiteY230" fmla="*/ 117712 h 327546"/>
              <a:gd name="connsiteX231" fmla="*/ 370537 w 521003"/>
              <a:gd name="connsiteY231" fmla="*/ 110035 h 327546"/>
              <a:gd name="connsiteX232" fmla="*/ 371048 w 521003"/>
              <a:gd name="connsiteY232" fmla="*/ 107988 h 327546"/>
              <a:gd name="connsiteX233" fmla="*/ 371560 w 521003"/>
              <a:gd name="connsiteY233" fmla="*/ 105429 h 327546"/>
              <a:gd name="connsiteX234" fmla="*/ 371560 w 521003"/>
              <a:gd name="connsiteY234" fmla="*/ 104917 h 327546"/>
              <a:gd name="connsiteX235" fmla="*/ 372072 w 521003"/>
              <a:gd name="connsiteY235" fmla="*/ 101335 h 327546"/>
              <a:gd name="connsiteX236" fmla="*/ 372072 w 521003"/>
              <a:gd name="connsiteY236" fmla="*/ 100823 h 327546"/>
              <a:gd name="connsiteX237" fmla="*/ 372584 w 521003"/>
              <a:gd name="connsiteY237" fmla="*/ 98264 h 327546"/>
              <a:gd name="connsiteX238" fmla="*/ 373096 w 521003"/>
              <a:gd name="connsiteY238" fmla="*/ 95705 h 327546"/>
              <a:gd name="connsiteX239" fmla="*/ 373607 w 521003"/>
              <a:gd name="connsiteY239" fmla="*/ 91610 h 327546"/>
              <a:gd name="connsiteX240" fmla="*/ 373607 w 521003"/>
              <a:gd name="connsiteY240" fmla="*/ 87516 h 327546"/>
              <a:gd name="connsiteX241" fmla="*/ 373607 w 521003"/>
              <a:gd name="connsiteY241" fmla="*/ 82910 h 327546"/>
              <a:gd name="connsiteX242" fmla="*/ 373096 w 521003"/>
              <a:gd name="connsiteY242" fmla="*/ 77792 h 327546"/>
              <a:gd name="connsiteX243" fmla="*/ 372072 w 521003"/>
              <a:gd name="connsiteY243" fmla="*/ 72674 h 327546"/>
              <a:gd name="connsiteX244" fmla="*/ 391008 w 521003"/>
              <a:gd name="connsiteY244" fmla="*/ 72674 h 327546"/>
              <a:gd name="connsiteX245" fmla="*/ 393567 w 521003"/>
              <a:gd name="connsiteY245" fmla="*/ 72162 h 327546"/>
              <a:gd name="connsiteX246" fmla="*/ 396126 w 521003"/>
              <a:gd name="connsiteY246" fmla="*/ 71651 h 327546"/>
              <a:gd name="connsiteX247" fmla="*/ 398685 w 521003"/>
              <a:gd name="connsiteY247" fmla="*/ 71139 h 327546"/>
              <a:gd name="connsiteX248" fmla="*/ 399709 w 521003"/>
              <a:gd name="connsiteY248" fmla="*/ 70627 h 327546"/>
              <a:gd name="connsiteX249" fmla="*/ 405850 w 521003"/>
              <a:gd name="connsiteY249" fmla="*/ 69092 h 327546"/>
              <a:gd name="connsiteX250" fmla="*/ 413527 w 521003"/>
              <a:gd name="connsiteY250" fmla="*/ 66021 h 327546"/>
              <a:gd name="connsiteX251" fmla="*/ 418133 w 521003"/>
              <a:gd name="connsiteY251" fmla="*/ 63462 h 327546"/>
              <a:gd name="connsiteX252" fmla="*/ 419669 w 521003"/>
              <a:gd name="connsiteY252" fmla="*/ 62438 h 327546"/>
              <a:gd name="connsiteX253" fmla="*/ 419669 w 521003"/>
              <a:gd name="connsiteY253" fmla="*/ 62438 h 327546"/>
              <a:gd name="connsiteX254" fmla="*/ 425810 w 521003"/>
              <a:gd name="connsiteY254" fmla="*/ 58344 h 327546"/>
              <a:gd name="connsiteX255" fmla="*/ 433999 w 521003"/>
              <a:gd name="connsiteY255" fmla="*/ 51179 h 327546"/>
              <a:gd name="connsiteX256" fmla="*/ 433999 w 521003"/>
              <a:gd name="connsiteY256" fmla="*/ 51179 h 327546"/>
              <a:gd name="connsiteX257" fmla="*/ 435022 w 521003"/>
              <a:gd name="connsiteY257" fmla="*/ 51691 h 327546"/>
              <a:gd name="connsiteX258" fmla="*/ 436046 w 521003"/>
              <a:gd name="connsiteY258" fmla="*/ 52714 h 327546"/>
              <a:gd name="connsiteX259" fmla="*/ 437581 w 521003"/>
              <a:gd name="connsiteY259" fmla="*/ 54250 h 327546"/>
              <a:gd name="connsiteX260" fmla="*/ 441164 w 521003"/>
              <a:gd name="connsiteY260" fmla="*/ 57320 h 327546"/>
              <a:gd name="connsiteX261" fmla="*/ 444235 w 521003"/>
              <a:gd name="connsiteY261" fmla="*/ 59879 h 327546"/>
              <a:gd name="connsiteX262" fmla="*/ 446793 w 521003"/>
              <a:gd name="connsiteY262" fmla="*/ 61927 h 327546"/>
              <a:gd name="connsiteX263" fmla="*/ 449352 w 521003"/>
              <a:gd name="connsiteY263" fmla="*/ 63462 h 327546"/>
              <a:gd name="connsiteX264" fmla="*/ 451911 w 521003"/>
              <a:gd name="connsiteY264" fmla="*/ 64997 h 327546"/>
              <a:gd name="connsiteX265" fmla="*/ 453447 w 521003"/>
              <a:gd name="connsiteY265" fmla="*/ 65509 h 327546"/>
              <a:gd name="connsiteX266" fmla="*/ 456006 w 521003"/>
              <a:gd name="connsiteY266" fmla="*/ 67045 h 327546"/>
              <a:gd name="connsiteX267" fmla="*/ 458053 w 521003"/>
              <a:gd name="connsiteY267" fmla="*/ 68068 h 327546"/>
              <a:gd name="connsiteX268" fmla="*/ 460612 w 521003"/>
              <a:gd name="connsiteY268" fmla="*/ 69092 h 327546"/>
              <a:gd name="connsiteX269" fmla="*/ 464706 w 521003"/>
              <a:gd name="connsiteY269" fmla="*/ 70627 h 327546"/>
              <a:gd name="connsiteX270" fmla="*/ 464194 w 521003"/>
              <a:gd name="connsiteY270" fmla="*/ 73186 h 327546"/>
              <a:gd name="connsiteX271" fmla="*/ 463171 w 521003"/>
              <a:gd name="connsiteY271" fmla="*/ 78304 h 327546"/>
              <a:gd name="connsiteX272" fmla="*/ 462659 w 521003"/>
              <a:gd name="connsiteY272" fmla="*/ 83422 h 327546"/>
              <a:gd name="connsiteX273" fmla="*/ 462659 w 521003"/>
              <a:gd name="connsiteY273" fmla="*/ 88028 h 327546"/>
              <a:gd name="connsiteX274" fmla="*/ 462659 w 521003"/>
              <a:gd name="connsiteY274" fmla="*/ 91610 h 327546"/>
              <a:gd name="connsiteX275" fmla="*/ 462659 w 521003"/>
              <a:gd name="connsiteY275" fmla="*/ 93658 h 327546"/>
              <a:gd name="connsiteX276" fmla="*/ 462659 w 521003"/>
              <a:gd name="connsiteY276" fmla="*/ 96217 h 327546"/>
              <a:gd name="connsiteX277" fmla="*/ 463171 w 521003"/>
              <a:gd name="connsiteY277" fmla="*/ 100311 h 327546"/>
              <a:gd name="connsiteX278" fmla="*/ 464194 w 521003"/>
              <a:gd name="connsiteY278" fmla="*/ 104405 h 327546"/>
              <a:gd name="connsiteX279" fmla="*/ 465218 w 521003"/>
              <a:gd name="connsiteY279" fmla="*/ 108499 h 327546"/>
              <a:gd name="connsiteX280" fmla="*/ 466242 w 521003"/>
              <a:gd name="connsiteY280" fmla="*/ 112594 h 327546"/>
              <a:gd name="connsiteX281" fmla="*/ 467265 w 521003"/>
              <a:gd name="connsiteY281" fmla="*/ 115665 h 327546"/>
              <a:gd name="connsiteX282" fmla="*/ 467777 w 521003"/>
              <a:gd name="connsiteY282" fmla="*/ 117712 h 327546"/>
              <a:gd name="connsiteX283" fmla="*/ 418133 w 521003"/>
              <a:gd name="connsiteY283" fmla="*/ 142278 h 3275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Lst>
            <a:rect l="l" t="t" r="r" b="b"/>
            <a:pathLst>
              <a:path w="521003" h="327546">
                <a:moveTo>
                  <a:pt x="521003" y="242077"/>
                </a:moveTo>
                <a:cubicBezTo>
                  <a:pt x="521003" y="203693"/>
                  <a:pt x="498996" y="168891"/>
                  <a:pt x="465218" y="152514"/>
                </a:cubicBezTo>
                <a:lnTo>
                  <a:pt x="492343" y="152514"/>
                </a:lnTo>
                <a:lnTo>
                  <a:pt x="492343" y="78304"/>
                </a:lnTo>
                <a:cubicBezTo>
                  <a:pt x="492343" y="76769"/>
                  <a:pt x="492343" y="74721"/>
                  <a:pt x="492343" y="73186"/>
                </a:cubicBezTo>
                <a:cubicBezTo>
                  <a:pt x="492343" y="71651"/>
                  <a:pt x="491831" y="69603"/>
                  <a:pt x="491831" y="68068"/>
                </a:cubicBezTo>
                <a:cubicBezTo>
                  <a:pt x="490808" y="60391"/>
                  <a:pt x="488760" y="53226"/>
                  <a:pt x="485178" y="46573"/>
                </a:cubicBezTo>
                <a:cubicBezTo>
                  <a:pt x="478525" y="32754"/>
                  <a:pt x="467777" y="21495"/>
                  <a:pt x="454470" y="13818"/>
                </a:cubicBezTo>
                <a:cubicBezTo>
                  <a:pt x="453959" y="13306"/>
                  <a:pt x="453447" y="13306"/>
                  <a:pt x="452935" y="12795"/>
                </a:cubicBezTo>
                <a:lnTo>
                  <a:pt x="450888" y="11771"/>
                </a:lnTo>
                <a:cubicBezTo>
                  <a:pt x="448841" y="10747"/>
                  <a:pt x="446793" y="10236"/>
                  <a:pt x="445258" y="9212"/>
                </a:cubicBezTo>
                <a:cubicBezTo>
                  <a:pt x="436558" y="5630"/>
                  <a:pt x="427345" y="4094"/>
                  <a:pt x="418133" y="4094"/>
                </a:cubicBezTo>
                <a:cubicBezTo>
                  <a:pt x="389473" y="4094"/>
                  <a:pt x="363883" y="19960"/>
                  <a:pt x="351600" y="45549"/>
                </a:cubicBezTo>
                <a:cubicBezTo>
                  <a:pt x="349041" y="50155"/>
                  <a:pt x="347506" y="55273"/>
                  <a:pt x="346482" y="59879"/>
                </a:cubicBezTo>
                <a:cubicBezTo>
                  <a:pt x="345459" y="63974"/>
                  <a:pt x="344947" y="68580"/>
                  <a:pt x="344435" y="72674"/>
                </a:cubicBezTo>
                <a:cubicBezTo>
                  <a:pt x="344435" y="74210"/>
                  <a:pt x="344435" y="76257"/>
                  <a:pt x="344435" y="77792"/>
                </a:cubicBezTo>
                <a:lnTo>
                  <a:pt x="344435" y="91099"/>
                </a:lnTo>
                <a:cubicBezTo>
                  <a:pt x="343923" y="90587"/>
                  <a:pt x="343923" y="89563"/>
                  <a:pt x="343412" y="89051"/>
                </a:cubicBezTo>
                <a:cubicBezTo>
                  <a:pt x="335735" y="72674"/>
                  <a:pt x="322940" y="59368"/>
                  <a:pt x="307075" y="50667"/>
                </a:cubicBezTo>
                <a:cubicBezTo>
                  <a:pt x="306051" y="50155"/>
                  <a:pt x="304516" y="49132"/>
                  <a:pt x="303492" y="48620"/>
                </a:cubicBezTo>
                <a:cubicBezTo>
                  <a:pt x="301445" y="47597"/>
                  <a:pt x="299398" y="47085"/>
                  <a:pt x="297862" y="46061"/>
                </a:cubicBezTo>
                <a:cubicBezTo>
                  <a:pt x="287626" y="41967"/>
                  <a:pt x="276367" y="39408"/>
                  <a:pt x="265108" y="39408"/>
                </a:cubicBezTo>
                <a:cubicBezTo>
                  <a:pt x="231841" y="39408"/>
                  <a:pt x="201646" y="58344"/>
                  <a:pt x="186804" y="88028"/>
                </a:cubicBezTo>
                <a:cubicBezTo>
                  <a:pt x="184245" y="93658"/>
                  <a:pt x="182198" y="99287"/>
                  <a:pt x="180662" y="104917"/>
                </a:cubicBezTo>
                <a:cubicBezTo>
                  <a:pt x="179127" y="111570"/>
                  <a:pt x="178103" y="118735"/>
                  <a:pt x="178103" y="125900"/>
                </a:cubicBezTo>
                <a:cubicBezTo>
                  <a:pt x="178103" y="142790"/>
                  <a:pt x="183221" y="159167"/>
                  <a:pt x="192433" y="173497"/>
                </a:cubicBezTo>
                <a:cubicBezTo>
                  <a:pt x="192945" y="174521"/>
                  <a:pt x="193457" y="175032"/>
                  <a:pt x="193969" y="176056"/>
                </a:cubicBezTo>
                <a:cubicBezTo>
                  <a:pt x="195504" y="178103"/>
                  <a:pt x="197551" y="180662"/>
                  <a:pt x="199087" y="182709"/>
                </a:cubicBezTo>
                <a:cubicBezTo>
                  <a:pt x="208299" y="193457"/>
                  <a:pt x="220070" y="201645"/>
                  <a:pt x="233377" y="206763"/>
                </a:cubicBezTo>
                <a:cubicBezTo>
                  <a:pt x="224676" y="209322"/>
                  <a:pt x="215976" y="212393"/>
                  <a:pt x="208299" y="216488"/>
                </a:cubicBezTo>
                <a:cubicBezTo>
                  <a:pt x="197040" y="183733"/>
                  <a:pt x="170426" y="158143"/>
                  <a:pt x="137160" y="148419"/>
                </a:cubicBezTo>
                <a:cubicBezTo>
                  <a:pt x="147908" y="143813"/>
                  <a:pt x="157632" y="137160"/>
                  <a:pt x="165308" y="127948"/>
                </a:cubicBezTo>
                <a:cubicBezTo>
                  <a:pt x="167356" y="125900"/>
                  <a:pt x="168891" y="123342"/>
                  <a:pt x="170426" y="121294"/>
                </a:cubicBezTo>
                <a:cubicBezTo>
                  <a:pt x="170938" y="120271"/>
                  <a:pt x="171450" y="119759"/>
                  <a:pt x="171962" y="118735"/>
                </a:cubicBezTo>
                <a:cubicBezTo>
                  <a:pt x="179639" y="106452"/>
                  <a:pt x="184245" y="92122"/>
                  <a:pt x="184245" y="77280"/>
                </a:cubicBezTo>
                <a:cubicBezTo>
                  <a:pt x="184245" y="73698"/>
                  <a:pt x="184245" y="70115"/>
                  <a:pt x="183221" y="66533"/>
                </a:cubicBezTo>
                <a:cubicBezTo>
                  <a:pt x="182198" y="58856"/>
                  <a:pt x="180150" y="51179"/>
                  <a:pt x="176568" y="44014"/>
                </a:cubicBezTo>
                <a:cubicBezTo>
                  <a:pt x="169915" y="29684"/>
                  <a:pt x="158655" y="17913"/>
                  <a:pt x="144837" y="10236"/>
                </a:cubicBezTo>
                <a:cubicBezTo>
                  <a:pt x="143813" y="9724"/>
                  <a:pt x="142278" y="8700"/>
                  <a:pt x="141254" y="8189"/>
                </a:cubicBezTo>
                <a:cubicBezTo>
                  <a:pt x="139207" y="7165"/>
                  <a:pt x="137672" y="6141"/>
                  <a:pt x="135625" y="5630"/>
                </a:cubicBezTo>
                <a:cubicBezTo>
                  <a:pt x="126412" y="2047"/>
                  <a:pt x="117200" y="0"/>
                  <a:pt x="107476" y="0"/>
                </a:cubicBezTo>
                <a:cubicBezTo>
                  <a:pt x="77792" y="0"/>
                  <a:pt x="51691" y="16377"/>
                  <a:pt x="38384" y="42990"/>
                </a:cubicBezTo>
                <a:cubicBezTo>
                  <a:pt x="35825" y="47597"/>
                  <a:pt x="34290" y="52714"/>
                  <a:pt x="32755" y="57832"/>
                </a:cubicBezTo>
                <a:cubicBezTo>
                  <a:pt x="31219" y="63974"/>
                  <a:pt x="30196" y="70115"/>
                  <a:pt x="30196" y="76257"/>
                </a:cubicBezTo>
                <a:cubicBezTo>
                  <a:pt x="30196" y="91099"/>
                  <a:pt x="34290" y="105941"/>
                  <a:pt x="42479" y="118224"/>
                </a:cubicBezTo>
                <a:cubicBezTo>
                  <a:pt x="42990" y="119247"/>
                  <a:pt x="43502" y="119759"/>
                  <a:pt x="44014" y="120783"/>
                </a:cubicBezTo>
                <a:cubicBezTo>
                  <a:pt x="45549" y="122830"/>
                  <a:pt x="47597" y="125389"/>
                  <a:pt x="49132" y="127436"/>
                </a:cubicBezTo>
                <a:cubicBezTo>
                  <a:pt x="56809" y="136136"/>
                  <a:pt x="66533" y="142790"/>
                  <a:pt x="76769" y="147396"/>
                </a:cubicBezTo>
                <a:cubicBezTo>
                  <a:pt x="32243" y="160191"/>
                  <a:pt x="0" y="201134"/>
                  <a:pt x="0" y="249754"/>
                </a:cubicBezTo>
                <a:lnTo>
                  <a:pt x="0" y="254872"/>
                </a:lnTo>
                <a:lnTo>
                  <a:pt x="163773" y="254872"/>
                </a:lnTo>
                <a:cubicBezTo>
                  <a:pt x="150978" y="274320"/>
                  <a:pt x="143301" y="297350"/>
                  <a:pt x="143301" y="322428"/>
                </a:cubicBezTo>
                <a:lnTo>
                  <a:pt x="143301" y="327546"/>
                </a:lnTo>
                <a:lnTo>
                  <a:pt x="385379" y="327546"/>
                </a:lnTo>
                <a:lnTo>
                  <a:pt x="385379" y="322428"/>
                </a:lnTo>
                <a:cubicBezTo>
                  <a:pt x="385379" y="294280"/>
                  <a:pt x="375655" y="268690"/>
                  <a:pt x="359789" y="248219"/>
                </a:cubicBezTo>
                <a:lnTo>
                  <a:pt x="521003" y="248219"/>
                </a:lnTo>
                <a:lnTo>
                  <a:pt x="521003" y="242077"/>
                </a:lnTo>
                <a:close/>
                <a:moveTo>
                  <a:pt x="54250" y="119759"/>
                </a:moveTo>
                <a:cubicBezTo>
                  <a:pt x="54250" y="119759"/>
                  <a:pt x="54250" y="119247"/>
                  <a:pt x="54250" y="119759"/>
                </a:cubicBezTo>
                <a:cubicBezTo>
                  <a:pt x="54762" y="118735"/>
                  <a:pt x="54762" y="118224"/>
                  <a:pt x="55273" y="117200"/>
                </a:cubicBezTo>
                <a:cubicBezTo>
                  <a:pt x="55785" y="116176"/>
                  <a:pt x="55785" y="115153"/>
                  <a:pt x="56297" y="114641"/>
                </a:cubicBezTo>
                <a:cubicBezTo>
                  <a:pt x="56297" y="114641"/>
                  <a:pt x="56297" y="114641"/>
                  <a:pt x="56297" y="114129"/>
                </a:cubicBezTo>
                <a:cubicBezTo>
                  <a:pt x="56809" y="112594"/>
                  <a:pt x="57321" y="111570"/>
                  <a:pt x="57832" y="110035"/>
                </a:cubicBezTo>
                <a:cubicBezTo>
                  <a:pt x="58344" y="108499"/>
                  <a:pt x="58344" y="107476"/>
                  <a:pt x="58856" y="105941"/>
                </a:cubicBezTo>
                <a:cubicBezTo>
                  <a:pt x="58856" y="105941"/>
                  <a:pt x="58856" y="105429"/>
                  <a:pt x="58856" y="105429"/>
                </a:cubicBezTo>
                <a:cubicBezTo>
                  <a:pt x="58856" y="104405"/>
                  <a:pt x="59368" y="103894"/>
                  <a:pt x="59368" y="102870"/>
                </a:cubicBezTo>
                <a:cubicBezTo>
                  <a:pt x="59368" y="101846"/>
                  <a:pt x="59880" y="101335"/>
                  <a:pt x="59880" y="100311"/>
                </a:cubicBezTo>
                <a:cubicBezTo>
                  <a:pt x="59880" y="99287"/>
                  <a:pt x="60391" y="98264"/>
                  <a:pt x="60391" y="97240"/>
                </a:cubicBezTo>
                <a:cubicBezTo>
                  <a:pt x="60391" y="96217"/>
                  <a:pt x="60391" y="95193"/>
                  <a:pt x="60903" y="94681"/>
                </a:cubicBezTo>
                <a:cubicBezTo>
                  <a:pt x="60903" y="92634"/>
                  <a:pt x="60903" y="90587"/>
                  <a:pt x="60903" y="88540"/>
                </a:cubicBezTo>
                <a:cubicBezTo>
                  <a:pt x="60903" y="83422"/>
                  <a:pt x="60391" y="78304"/>
                  <a:pt x="59368" y="73186"/>
                </a:cubicBezTo>
                <a:cubicBezTo>
                  <a:pt x="62438" y="73698"/>
                  <a:pt x="66021" y="73698"/>
                  <a:pt x="69092" y="73698"/>
                </a:cubicBezTo>
                <a:cubicBezTo>
                  <a:pt x="70627" y="73698"/>
                  <a:pt x="71651" y="73698"/>
                  <a:pt x="73186" y="73698"/>
                </a:cubicBezTo>
                <a:cubicBezTo>
                  <a:pt x="75745" y="73698"/>
                  <a:pt x="78304" y="73186"/>
                  <a:pt x="80863" y="73186"/>
                </a:cubicBezTo>
                <a:cubicBezTo>
                  <a:pt x="82398" y="73186"/>
                  <a:pt x="83422" y="72674"/>
                  <a:pt x="84446" y="72674"/>
                </a:cubicBezTo>
                <a:cubicBezTo>
                  <a:pt x="85981" y="72162"/>
                  <a:pt x="87004" y="72162"/>
                  <a:pt x="88028" y="71651"/>
                </a:cubicBezTo>
                <a:cubicBezTo>
                  <a:pt x="90587" y="71139"/>
                  <a:pt x="93146" y="70115"/>
                  <a:pt x="95193" y="69603"/>
                </a:cubicBezTo>
                <a:cubicBezTo>
                  <a:pt x="96217" y="69092"/>
                  <a:pt x="97752" y="68580"/>
                  <a:pt x="98776" y="68068"/>
                </a:cubicBezTo>
                <a:cubicBezTo>
                  <a:pt x="101335" y="67045"/>
                  <a:pt x="103382" y="66021"/>
                  <a:pt x="105429" y="64997"/>
                </a:cubicBezTo>
                <a:cubicBezTo>
                  <a:pt x="105941" y="64997"/>
                  <a:pt x="106452" y="64486"/>
                  <a:pt x="106964" y="63974"/>
                </a:cubicBezTo>
                <a:lnTo>
                  <a:pt x="106964" y="63974"/>
                </a:lnTo>
                <a:cubicBezTo>
                  <a:pt x="107476" y="63974"/>
                  <a:pt x="107988" y="63462"/>
                  <a:pt x="108500" y="62950"/>
                </a:cubicBezTo>
                <a:cubicBezTo>
                  <a:pt x="109523" y="62438"/>
                  <a:pt x="111059" y="61415"/>
                  <a:pt x="112082" y="60903"/>
                </a:cubicBezTo>
                <a:cubicBezTo>
                  <a:pt x="113106" y="60391"/>
                  <a:pt x="114129" y="59368"/>
                  <a:pt x="114641" y="58856"/>
                </a:cubicBezTo>
                <a:cubicBezTo>
                  <a:pt x="115665" y="57832"/>
                  <a:pt x="117200" y="57320"/>
                  <a:pt x="118224" y="56297"/>
                </a:cubicBezTo>
                <a:cubicBezTo>
                  <a:pt x="119247" y="55273"/>
                  <a:pt x="120271" y="54761"/>
                  <a:pt x="121294" y="53738"/>
                </a:cubicBezTo>
                <a:lnTo>
                  <a:pt x="121294" y="53738"/>
                </a:lnTo>
                <a:cubicBezTo>
                  <a:pt x="122318" y="52714"/>
                  <a:pt x="123342" y="52202"/>
                  <a:pt x="123853" y="51179"/>
                </a:cubicBezTo>
                <a:lnTo>
                  <a:pt x="123853" y="51179"/>
                </a:lnTo>
                <a:cubicBezTo>
                  <a:pt x="124877" y="52202"/>
                  <a:pt x="125901" y="53226"/>
                  <a:pt x="127436" y="54250"/>
                </a:cubicBezTo>
                <a:cubicBezTo>
                  <a:pt x="128460" y="55273"/>
                  <a:pt x="129483" y="56297"/>
                  <a:pt x="131019" y="56809"/>
                </a:cubicBezTo>
                <a:cubicBezTo>
                  <a:pt x="131019" y="56809"/>
                  <a:pt x="131019" y="56809"/>
                  <a:pt x="131530" y="57320"/>
                </a:cubicBezTo>
                <a:cubicBezTo>
                  <a:pt x="132554" y="58344"/>
                  <a:pt x="134089" y="59368"/>
                  <a:pt x="135113" y="59879"/>
                </a:cubicBezTo>
                <a:cubicBezTo>
                  <a:pt x="136136" y="60391"/>
                  <a:pt x="137160" y="61415"/>
                  <a:pt x="138184" y="61927"/>
                </a:cubicBezTo>
                <a:cubicBezTo>
                  <a:pt x="138695" y="62438"/>
                  <a:pt x="139207" y="62950"/>
                  <a:pt x="140231" y="62950"/>
                </a:cubicBezTo>
                <a:cubicBezTo>
                  <a:pt x="141254" y="63462"/>
                  <a:pt x="141766" y="63974"/>
                  <a:pt x="142790" y="64486"/>
                </a:cubicBezTo>
                <a:cubicBezTo>
                  <a:pt x="143301" y="64997"/>
                  <a:pt x="143813" y="64997"/>
                  <a:pt x="144325" y="65509"/>
                </a:cubicBezTo>
                <a:cubicBezTo>
                  <a:pt x="145349" y="66021"/>
                  <a:pt x="145860" y="66533"/>
                  <a:pt x="146884" y="67045"/>
                </a:cubicBezTo>
                <a:cubicBezTo>
                  <a:pt x="147908" y="67556"/>
                  <a:pt x="148931" y="68068"/>
                  <a:pt x="149955" y="68580"/>
                </a:cubicBezTo>
                <a:cubicBezTo>
                  <a:pt x="152002" y="69603"/>
                  <a:pt x="154049" y="70115"/>
                  <a:pt x="156096" y="70627"/>
                </a:cubicBezTo>
                <a:cubicBezTo>
                  <a:pt x="154561" y="76769"/>
                  <a:pt x="154049" y="82910"/>
                  <a:pt x="154049" y="89051"/>
                </a:cubicBezTo>
                <a:cubicBezTo>
                  <a:pt x="154049" y="90587"/>
                  <a:pt x="154049" y="91610"/>
                  <a:pt x="154049" y="93146"/>
                </a:cubicBezTo>
                <a:cubicBezTo>
                  <a:pt x="154049" y="94681"/>
                  <a:pt x="154049" y="95705"/>
                  <a:pt x="154561" y="97240"/>
                </a:cubicBezTo>
                <a:cubicBezTo>
                  <a:pt x="154561" y="97752"/>
                  <a:pt x="154561" y="98776"/>
                  <a:pt x="154561" y="99799"/>
                </a:cubicBezTo>
                <a:cubicBezTo>
                  <a:pt x="154561" y="100823"/>
                  <a:pt x="155073" y="101335"/>
                  <a:pt x="155073" y="102358"/>
                </a:cubicBezTo>
                <a:cubicBezTo>
                  <a:pt x="155073" y="103894"/>
                  <a:pt x="155584" y="104917"/>
                  <a:pt x="156096" y="106452"/>
                </a:cubicBezTo>
                <a:cubicBezTo>
                  <a:pt x="156096" y="107476"/>
                  <a:pt x="156608" y="109011"/>
                  <a:pt x="157120" y="110035"/>
                </a:cubicBezTo>
                <a:cubicBezTo>
                  <a:pt x="157120" y="111058"/>
                  <a:pt x="157632" y="112082"/>
                  <a:pt x="158143" y="113106"/>
                </a:cubicBezTo>
                <a:cubicBezTo>
                  <a:pt x="158655" y="114129"/>
                  <a:pt x="158655" y="115153"/>
                  <a:pt x="159167" y="115665"/>
                </a:cubicBezTo>
                <a:cubicBezTo>
                  <a:pt x="159679" y="117200"/>
                  <a:pt x="160191" y="118224"/>
                  <a:pt x="160702" y="119247"/>
                </a:cubicBezTo>
                <a:cubicBezTo>
                  <a:pt x="148931" y="134601"/>
                  <a:pt x="131019" y="144325"/>
                  <a:pt x="111570" y="145348"/>
                </a:cubicBezTo>
                <a:lnTo>
                  <a:pt x="111059" y="145348"/>
                </a:lnTo>
                <a:cubicBezTo>
                  <a:pt x="110035" y="145348"/>
                  <a:pt x="109011" y="145348"/>
                  <a:pt x="107988" y="145348"/>
                </a:cubicBezTo>
                <a:lnTo>
                  <a:pt x="107988" y="145348"/>
                </a:lnTo>
                <a:cubicBezTo>
                  <a:pt x="106452" y="145348"/>
                  <a:pt x="105429" y="145348"/>
                  <a:pt x="103894" y="145348"/>
                </a:cubicBezTo>
                <a:cubicBezTo>
                  <a:pt x="103894" y="145348"/>
                  <a:pt x="103894" y="145348"/>
                  <a:pt x="103894" y="145348"/>
                </a:cubicBezTo>
                <a:cubicBezTo>
                  <a:pt x="83934" y="143813"/>
                  <a:pt x="66021" y="134601"/>
                  <a:pt x="54250" y="119759"/>
                </a:cubicBezTo>
                <a:close/>
                <a:moveTo>
                  <a:pt x="127436" y="215464"/>
                </a:moveTo>
                <a:lnTo>
                  <a:pt x="106964" y="228259"/>
                </a:lnTo>
                <a:lnTo>
                  <a:pt x="86493" y="215464"/>
                </a:lnTo>
                <a:lnTo>
                  <a:pt x="92122" y="161726"/>
                </a:lnTo>
                <a:lnTo>
                  <a:pt x="81375" y="150978"/>
                </a:lnTo>
                <a:cubicBezTo>
                  <a:pt x="84446" y="152002"/>
                  <a:pt x="88028" y="153025"/>
                  <a:pt x="91611" y="154049"/>
                </a:cubicBezTo>
                <a:cubicBezTo>
                  <a:pt x="92122" y="154049"/>
                  <a:pt x="92634" y="154049"/>
                  <a:pt x="93146" y="154561"/>
                </a:cubicBezTo>
                <a:cubicBezTo>
                  <a:pt x="95705" y="155073"/>
                  <a:pt x="97752" y="155073"/>
                  <a:pt x="100311" y="155584"/>
                </a:cubicBezTo>
                <a:cubicBezTo>
                  <a:pt x="101335" y="155584"/>
                  <a:pt x="102358" y="155584"/>
                  <a:pt x="103382" y="155584"/>
                </a:cubicBezTo>
                <a:lnTo>
                  <a:pt x="103894" y="155584"/>
                </a:lnTo>
                <a:cubicBezTo>
                  <a:pt x="104917" y="155584"/>
                  <a:pt x="105941" y="155584"/>
                  <a:pt x="107476" y="155584"/>
                </a:cubicBezTo>
                <a:cubicBezTo>
                  <a:pt x="108500" y="155584"/>
                  <a:pt x="109523" y="155584"/>
                  <a:pt x="110547" y="155584"/>
                </a:cubicBezTo>
                <a:cubicBezTo>
                  <a:pt x="112082" y="155584"/>
                  <a:pt x="113106" y="155584"/>
                  <a:pt x="114641" y="155584"/>
                </a:cubicBezTo>
                <a:cubicBezTo>
                  <a:pt x="117200" y="155584"/>
                  <a:pt x="119247" y="155073"/>
                  <a:pt x="121806" y="154561"/>
                </a:cubicBezTo>
                <a:cubicBezTo>
                  <a:pt x="122318" y="154561"/>
                  <a:pt x="122830" y="154561"/>
                  <a:pt x="123342" y="154049"/>
                </a:cubicBezTo>
                <a:lnTo>
                  <a:pt x="123342" y="154049"/>
                </a:lnTo>
                <a:cubicBezTo>
                  <a:pt x="126924" y="153537"/>
                  <a:pt x="129995" y="152514"/>
                  <a:pt x="133577" y="150978"/>
                </a:cubicBezTo>
                <a:lnTo>
                  <a:pt x="122318" y="161726"/>
                </a:lnTo>
                <a:lnTo>
                  <a:pt x="127436" y="215464"/>
                </a:lnTo>
                <a:close/>
                <a:moveTo>
                  <a:pt x="203693" y="173497"/>
                </a:moveTo>
                <a:cubicBezTo>
                  <a:pt x="203693" y="172985"/>
                  <a:pt x="204205" y="172985"/>
                  <a:pt x="204205" y="172473"/>
                </a:cubicBezTo>
                <a:cubicBezTo>
                  <a:pt x="204205" y="171962"/>
                  <a:pt x="204716" y="171962"/>
                  <a:pt x="204716" y="171450"/>
                </a:cubicBezTo>
                <a:cubicBezTo>
                  <a:pt x="205228" y="170426"/>
                  <a:pt x="205228" y="169914"/>
                  <a:pt x="205740" y="168891"/>
                </a:cubicBezTo>
                <a:cubicBezTo>
                  <a:pt x="205740" y="168891"/>
                  <a:pt x="205740" y="168379"/>
                  <a:pt x="205740" y="168379"/>
                </a:cubicBezTo>
                <a:cubicBezTo>
                  <a:pt x="205740" y="167867"/>
                  <a:pt x="206252" y="166844"/>
                  <a:pt x="206252" y="166332"/>
                </a:cubicBezTo>
                <a:cubicBezTo>
                  <a:pt x="207275" y="163773"/>
                  <a:pt x="207787" y="161726"/>
                  <a:pt x="208299" y="159167"/>
                </a:cubicBezTo>
                <a:cubicBezTo>
                  <a:pt x="208299" y="158143"/>
                  <a:pt x="208811" y="157120"/>
                  <a:pt x="208811" y="156608"/>
                </a:cubicBezTo>
                <a:cubicBezTo>
                  <a:pt x="209322" y="154049"/>
                  <a:pt x="209834" y="150978"/>
                  <a:pt x="210346" y="147907"/>
                </a:cubicBezTo>
                <a:cubicBezTo>
                  <a:pt x="210346" y="146372"/>
                  <a:pt x="210858" y="144837"/>
                  <a:pt x="210858" y="143302"/>
                </a:cubicBezTo>
                <a:cubicBezTo>
                  <a:pt x="210858" y="141766"/>
                  <a:pt x="210858" y="139719"/>
                  <a:pt x="210858" y="138184"/>
                </a:cubicBezTo>
                <a:cubicBezTo>
                  <a:pt x="210858" y="132042"/>
                  <a:pt x="210346" y="125389"/>
                  <a:pt x="208811" y="119759"/>
                </a:cubicBezTo>
                <a:cubicBezTo>
                  <a:pt x="212905" y="120271"/>
                  <a:pt x="216999" y="120783"/>
                  <a:pt x="221094" y="120783"/>
                </a:cubicBezTo>
                <a:cubicBezTo>
                  <a:pt x="223141" y="120783"/>
                  <a:pt x="225188" y="120783"/>
                  <a:pt x="227747" y="120783"/>
                </a:cubicBezTo>
                <a:cubicBezTo>
                  <a:pt x="228770" y="120783"/>
                  <a:pt x="229282" y="120783"/>
                  <a:pt x="230306" y="120783"/>
                </a:cubicBezTo>
                <a:cubicBezTo>
                  <a:pt x="231841" y="120783"/>
                  <a:pt x="233377" y="120271"/>
                  <a:pt x="234912" y="120271"/>
                </a:cubicBezTo>
                <a:cubicBezTo>
                  <a:pt x="235936" y="120271"/>
                  <a:pt x="236959" y="119759"/>
                  <a:pt x="237983" y="119759"/>
                </a:cubicBezTo>
                <a:cubicBezTo>
                  <a:pt x="240030" y="119247"/>
                  <a:pt x="241565" y="118735"/>
                  <a:pt x="243613" y="118735"/>
                </a:cubicBezTo>
                <a:cubicBezTo>
                  <a:pt x="244124" y="118735"/>
                  <a:pt x="245148" y="118224"/>
                  <a:pt x="245660" y="118224"/>
                </a:cubicBezTo>
                <a:cubicBezTo>
                  <a:pt x="246172" y="118224"/>
                  <a:pt x="246683" y="117712"/>
                  <a:pt x="247707" y="117712"/>
                </a:cubicBezTo>
                <a:cubicBezTo>
                  <a:pt x="249242" y="117200"/>
                  <a:pt x="250266" y="116688"/>
                  <a:pt x="251801" y="116176"/>
                </a:cubicBezTo>
                <a:cubicBezTo>
                  <a:pt x="253337" y="115665"/>
                  <a:pt x="254360" y="115153"/>
                  <a:pt x="255896" y="114641"/>
                </a:cubicBezTo>
                <a:cubicBezTo>
                  <a:pt x="257431" y="114129"/>
                  <a:pt x="258454" y="113617"/>
                  <a:pt x="259990" y="112594"/>
                </a:cubicBezTo>
                <a:cubicBezTo>
                  <a:pt x="261525" y="111570"/>
                  <a:pt x="263572" y="111058"/>
                  <a:pt x="265108" y="110035"/>
                </a:cubicBezTo>
                <a:cubicBezTo>
                  <a:pt x="265620" y="110035"/>
                  <a:pt x="266131" y="109523"/>
                  <a:pt x="266131" y="109523"/>
                </a:cubicBezTo>
                <a:cubicBezTo>
                  <a:pt x="266643" y="109523"/>
                  <a:pt x="267155" y="109011"/>
                  <a:pt x="267155" y="109011"/>
                </a:cubicBezTo>
                <a:cubicBezTo>
                  <a:pt x="268178" y="108499"/>
                  <a:pt x="269714" y="107476"/>
                  <a:pt x="270737" y="106452"/>
                </a:cubicBezTo>
                <a:cubicBezTo>
                  <a:pt x="271761" y="105429"/>
                  <a:pt x="273296" y="104917"/>
                  <a:pt x="274320" y="103894"/>
                </a:cubicBezTo>
                <a:cubicBezTo>
                  <a:pt x="275344" y="102870"/>
                  <a:pt x="276879" y="101846"/>
                  <a:pt x="277902" y="101335"/>
                </a:cubicBezTo>
                <a:cubicBezTo>
                  <a:pt x="278926" y="100311"/>
                  <a:pt x="280461" y="99287"/>
                  <a:pt x="281485" y="97752"/>
                </a:cubicBezTo>
                <a:cubicBezTo>
                  <a:pt x="282509" y="96728"/>
                  <a:pt x="283532" y="96217"/>
                  <a:pt x="284044" y="95193"/>
                </a:cubicBezTo>
                <a:lnTo>
                  <a:pt x="284044" y="95193"/>
                </a:lnTo>
                <a:cubicBezTo>
                  <a:pt x="285068" y="96217"/>
                  <a:pt x="286091" y="97240"/>
                  <a:pt x="287626" y="98264"/>
                </a:cubicBezTo>
                <a:cubicBezTo>
                  <a:pt x="287626" y="98776"/>
                  <a:pt x="288138" y="98776"/>
                  <a:pt x="288650" y="99287"/>
                </a:cubicBezTo>
                <a:cubicBezTo>
                  <a:pt x="289674" y="100311"/>
                  <a:pt x="290697" y="101335"/>
                  <a:pt x="291721" y="101846"/>
                </a:cubicBezTo>
                <a:cubicBezTo>
                  <a:pt x="292233" y="102358"/>
                  <a:pt x="292233" y="102358"/>
                  <a:pt x="292744" y="102870"/>
                </a:cubicBezTo>
                <a:cubicBezTo>
                  <a:pt x="293256" y="103382"/>
                  <a:pt x="293768" y="103894"/>
                  <a:pt x="294280" y="103894"/>
                </a:cubicBezTo>
                <a:cubicBezTo>
                  <a:pt x="296839" y="105941"/>
                  <a:pt x="299910" y="107988"/>
                  <a:pt x="302980" y="109523"/>
                </a:cubicBezTo>
                <a:cubicBezTo>
                  <a:pt x="304004" y="110035"/>
                  <a:pt x="305539" y="111058"/>
                  <a:pt x="306563" y="111570"/>
                </a:cubicBezTo>
                <a:cubicBezTo>
                  <a:pt x="307586" y="112082"/>
                  <a:pt x="309122" y="113106"/>
                  <a:pt x="310145" y="113617"/>
                </a:cubicBezTo>
                <a:cubicBezTo>
                  <a:pt x="313728" y="115153"/>
                  <a:pt x="317822" y="116688"/>
                  <a:pt x="321917" y="118224"/>
                </a:cubicBezTo>
                <a:cubicBezTo>
                  <a:pt x="320381" y="125389"/>
                  <a:pt x="319358" y="132554"/>
                  <a:pt x="319358" y="139719"/>
                </a:cubicBezTo>
                <a:cubicBezTo>
                  <a:pt x="319358" y="142790"/>
                  <a:pt x="319358" y="145860"/>
                  <a:pt x="319869" y="148931"/>
                </a:cubicBezTo>
                <a:cubicBezTo>
                  <a:pt x="319869" y="149443"/>
                  <a:pt x="319869" y="150466"/>
                  <a:pt x="319869" y="150978"/>
                </a:cubicBezTo>
                <a:cubicBezTo>
                  <a:pt x="319869" y="151490"/>
                  <a:pt x="319869" y="152514"/>
                  <a:pt x="320381" y="153025"/>
                </a:cubicBezTo>
                <a:cubicBezTo>
                  <a:pt x="320381" y="154049"/>
                  <a:pt x="320893" y="154561"/>
                  <a:pt x="320893" y="155584"/>
                </a:cubicBezTo>
                <a:cubicBezTo>
                  <a:pt x="320893" y="156608"/>
                  <a:pt x="321405" y="157120"/>
                  <a:pt x="321405" y="158143"/>
                </a:cubicBezTo>
                <a:cubicBezTo>
                  <a:pt x="321405" y="159167"/>
                  <a:pt x="321917" y="160702"/>
                  <a:pt x="322428" y="161726"/>
                </a:cubicBezTo>
                <a:cubicBezTo>
                  <a:pt x="322940" y="163261"/>
                  <a:pt x="322940" y="164285"/>
                  <a:pt x="323452" y="165308"/>
                </a:cubicBezTo>
                <a:cubicBezTo>
                  <a:pt x="324475" y="167867"/>
                  <a:pt x="324987" y="170426"/>
                  <a:pt x="326011" y="172985"/>
                </a:cubicBezTo>
                <a:cubicBezTo>
                  <a:pt x="326011" y="173497"/>
                  <a:pt x="326523" y="173497"/>
                  <a:pt x="326523" y="174009"/>
                </a:cubicBezTo>
                <a:cubicBezTo>
                  <a:pt x="312704" y="192433"/>
                  <a:pt x="291209" y="203693"/>
                  <a:pt x="268178" y="204716"/>
                </a:cubicBezTo>
                <a:cubicBezTo>
                  <a:pt x="267155" y="204716"/>
                  <a:pt x="266131" y="204716"/>
                  <a:pt x="265108" y="204716"/>
                </a:cubicBezTo>
                <a:cubicBezTo>
                  <a:pt x="264084" y="204716"/>
                  <a:pt x="262549" y="204716"/>
                  <a:pt x="261525" y="204716"/>
                </a:cubicBezTo>
                <a:cubicBezTo>
                  <a:pt x="238495" y="202669"/>
                  <a:pt x="217511" y="191410"/>
                  <a:pt x="203693" y="173497"/>
                </a:cubicBezTo>
                <a:close/>
                <a:moveTo>
                  <a:pt x="287115" y="282508"/>
                </a:moveTo>
                <a:lnTo>
                  <a:pt x="264596" y="296327"/>
                </a:lnTo>
                <a:lnTo>
                  <a:pt x="242077" y="282508"/>
                </a:lnTo>
                <a:lnTo>
                  <a:pt x="248730" y="221605"/>
                </a:lnTo>
                <a:lnTo>
                  <a:pt x="235936" y="208811"/>
                </a:lnTo>
                <a:cubicBezTo>
                  <a:pt x="239518" y="209834"/>
                  <a:pt x="242589" y="210858"/>
                  <a:pt x="246172" y="211881"/>
                </a:cubicBezTo>
                <a:cubicBezTo>
                  <a:pt x="247195" y="212393"/>
                  <a:pt x="248730" y="212393"/>
                  <a:pt x="249754" y="212905"/>
                </a:cubicBezTo>
                <a:cubicBezTo>
                  <a:pt x="251289" y="213417"/>
                  <a:pt x="253337" y="213417"/>
                  <a:pt x="254872" y="213929"/>
                </a:cubicBezTo>
                <a:cubicBezTo>
                  <a:pt x="256919" y="213929"/>
                  <a:pt x="258966" y="214440"/>
                  <a:pt x="261013" y="214440"/>
                </a:cubicBezTo>
                <a:cubicBezTo>
                  <a:pt x="262549" y="214440"/>
                  <a:pt x="263572" y="214440"/>
                  <a:pt x="265108" y="214440"/>
                </a:cubicBezTo>
                <a:cubicBezTo>
                  <a:pt x="266131" y="214440"/>
                  <a:pt x="267155" y="214440"/>
                  <a:pt x="268178" y="214440"/>
                </a:cubicBezTo>
                <a:cubicBezTo>
                  <a:pt x="270737" y="214440"/>
                  <a:pt x="272785" y="214440"/>
                  <a:pt x="275344" y="213929"/>
                </a:cubicBezTo>
                <a:cubicBezTo>
                  <a:pt x="276879" y="213929"/>
                  <a:pt x="278926" y="213417"/>
                  <a:pt x="280461" y="213417"/>
                </a:cubicBezTo>
                <a:cubicBezTo>
                  <a:pt x="281997" y="213417"/>
                  <a:pt x="283020" y="212905"/>
                  <a:pt x="284044" y="212393"/>
                </a:cubicBezTo>
                <a:cubicBezTo>
                  <a:pt x="287626" y="211881"/>
                  <a:pt x="290697" y="210858"/>
                  <a:pt x="294280" y="209322"/>
                </a:cubicBezTo>
                <a:lnTo>
                  <a:pt x="281485" y="222117"/>
                </a:lnTo>
                <a:lnTo>
                  <a:pt x="287115" y="282508"/>
                </a:lnTo>
                <a:close/>
                <a:moveTo>
                  <a:pt x="318846" y="216488"/>
                </a:moveTo>
                <a:cubicBezTo>
                  <a:pt x="311681" y="212905"/>
                  <a:pt x="304004" y="209834"/>
                  <a:pt x="296327" y="207787"/>
                </a:cubicBezTo>
                <a:cubicBezTo>
                  <a:pt x="309634" y="202669"/>
                  <a:pt x="321405" y="193969"/>
                  <a:pt x="331129" y="183221"/>
                </a:cubicBezTo>
                <a:cubicBezTo>
                  <a:pt x="333176" y="181174"/>
                  <a:pt x="334711" y="178615"/>
                  <a:pt x="336247" y="176568"/>
                </a:cubicBezTo>
                <a:cubicBezTo>
                  <a:pt x="336758" y="175544"/>
                  <a:pt x="337270" y="175032"/>
                  <a:pt x="337782" y="174009"/>
                </a:cubicBezTo>
                <a:cubicBezTo>
                  <a:pt x="342388" y="167355"/>
                  <a:pt x="345459" y="160191"/>
                  <a:pt x="348018" y="152514"/>
                </a:cubicBezTo>
                <a:lnTo>
                  <a:pt x="371560" y="152514"/>
                </a:lnTo>
                <a:cubicBezTo>
                  <a:pt x="345459" y="165308"/>
                  <a:pt x="326011" y="188851"/>
                  <a:pt x="318846" y="216488"/>
                </a:cubicBezTo>
                <a:close/>
                <a:moveTo>
                  <a:pt x="445258" y="152514"/>
                </a:moveTo>
                <a:cubicBezTo>
                  <a:pt x="442699" y="165308"/>
                  <a:pt x="431440" y="175032"/>
                  <a:pt x="418133" y="175032"/>
                </a:cubicBezTo>
                <a:cubicBezTo>
                  <a:pt x="404315" y="175032"/>
                  <a:pt x="393055" y="165308"/>
                  <a:pt x="391008" y="152514"/>
                </a:cubicBezTo>
                <a:cubicBezTo>
                  <a:pt x="391008" y="152002"/>
                  <a:pt x="390496" y="150978"/>
                  <a:pt x="390496" y="150466"/>
                </a:cubicBezTo>
                <a:cubicBezTo>
                  <a:pt x="392544" y="149955"/>
                  <a:pt x="394079" y="149443"/>
                  <a:pt x="396126" y="148931"/>
                </a:cubicBezTo>
                <a:cubicBezTo>
                  <a:pt x="396126" y="148931"/>
                  <a:pt x="396126" y="148931"/>
                  <a:pt x="396126" y="148931"/>
                </a:cubicBezTo>
                <a:cubicBezTo>
                  <a:pt x="402268" y="147907"/>
                  <a:pt x="408409" y="146884"/>
                  <a:pt x="415063" y="146884"/>
                </a:cubicBezTo>
                <a:lnTo>
                  <a:pt x="420692" y="146884"/>
                </a:lnTo>
                <a:cubicBezTo>
                  <a:pt x="427345" y="146884"/>
                  <a:pt x="433487" y="147396"/>
                  <a:pt x="439628" y="148931"/>
                </a:cubicBezTo>
                <a:cubicBezTo>
                  <a:pt x="441676" y="149443"/>
                  <a:pt x="443723" y="149955"/>
                  <a:pt x="445770" y="150466"/>
                </a:cubicBezTo>
                <a:cubicBezTo>
                  <a:pt x="445770" y="151490"/>
                  <a:pt x="445770" y="152002"/>
                  <a:pt x="445258" y="152514"/>
                </a:cubicBezTo>
                <a:close/>
                <a:moveTo>
                  <a:pt x="418133" y="142278"/>
                </a:moveTo>
                <a:lnTo>
                  <a:pt x="418133" y="142278"/>
                </a:lnTo>
                <a:cubicBezTo>
                  <a:pt x="398173" y="142278"/>
                  <a:pt x="379749" y="133066"/>
                  <a:pt x="367466" y="117712"/>
                </a:cubicBezTo>
                <a:cubicBezTo>
                  <a:pt x="368490" y="115153"/>
                  <a:pt x="369513" y="112594"/>
                  <a:pt x="370537" y="110035"/>
                </a:cubicBezTo>
                <a:cubicBezTo>
                  <a:pt x="370537" y="109523"/>
                  <a:pt x="371048" y="108499"/>
                  <a:pt x="371048" y="107988"/>
                </a:cubicBezTo>
                <a:cubicBezTo>
                  <a:pt x="371048" y="106964"/>
                  <a:pt x="371560" y="106452"/>
                  <a:pt x="371560" y="105429"/>
                </a:cubicBezTo>
                <a:cubicBezTo>
                  <a:pt x="371560" y="105429"/>
                  <a:pt x="371560" y="104917"/>
                  <a:pt x="371560" y="104917"/>
                </a:cubicBezTo>
                <a:cubicBezTo>
                  <a:pt x="372072" y="103382"/>
                  <a:pt x="372072" y="102358"/>
                  <a:pt x="372072" y="101335"/>
                </a:cubicBezTo>
                <a:cubicBezTo>
                  <a:pt x="372072" y="101335"/>
                  <a:pt x="372072" y="100823"/>
                  <a:pt x="372072" y="100823"/>
                </a:cubicBezTo>
                <a:cubicBezTo>
                  <a:pt x="372072" y="99799"/>
                  <a:pt x="372584" y="99287"/>
                  <a:pt x="372584" y="98264"/>
                </a:cubicBezTo>
                <a:cubicBezTo>
                  <a:pt x="372584" y="97240"/>
                  <a:pt x="372584" y="96728"/>
                  <a:pt x="373096" y="95705"/>
                </a:cubicBezTo>
                <a:cubicBezTo>
                  <a:pt x="373096" y="94169"/>
                  <a:pt x="373096" y="93146"/>
                  <a:pt x="373607" y="91610"/>
                </a:cubicBezTo>
                <a:cubicBezTo>
                  <a:pt x="374119" y="90075"/>
                  <a:pt x="373607" y="89051"/>
                  <a:pt x="373607" y="87516"/>
                </a:cubicBezTo>
                <a:cubicBezTo>
                  <a:pt x="373607" y="85981"/>
                  <a:pt x="373607" y="84446"/>
                  <a:pt x="373607" y="82910"/>
                </a:cubicBezTo>
                <a:cubicBezTo>
                  <a:pt x="373607" y="81375"/>
                  <a:pt x="373607" y="79328"/>
                  <a:pt x="373096" y="77792"/>
                </a:cubicBezTo>
                <a:cubicBezTo>
                  <a:pt x="373096" y="76257"/>
                  <a:pt x="372584" y="74210"/>
                  <a:pt x="372072" y="72674"/>
                </a:cubicBezTo>
                <a:lnTo>
                  <a:pt x="391008" y="72674"/>
                </a:lnTo>
                <a:cubicBezTo>
                  <a:pt x="392032" y="72674"/>
                  <a:pt x="392544" y="72674"/>
                  <a:pt x="393567" y="72162"/>
                </a:cubicBezTo>
                <a:cubicBezTo>
                  <a:pt x="394591" y="72162"/>
                  <a:pt x="395103" y="72162"/>
                  <a:pt x="396126" y="71651"/>
                </a:cubicBezTo>
                <a:cubicBezTo>
                  <a:pt x="397150" y="71651"/>
                  <a:pt x="398173" y="71139"/>
                  <a:pt x="398685" y="71139"/>
                </a:cubicBezTo>
                <a:cubicBezTo>
                  <a:pt x="399197" y="71139"/>
                  <a:pt x="399709" y="71139"/>
                  <a:pt x="399709" y="70627"/>
                </a:cubicBezTo>
                <a:cubicBezTo>
                  <a:pt x="401756" y="70115"/>
                  <a:pt x="403803" y="69603"/>
                  <a:pt x="405850" y="69092"/>
                </a:cubicBezTo>
                <a:cubicBezTo>
                  <a:pt x="408409" y="68068"/>
                  <a:pt x="410968" y="67045"/>
                  <a:pt x="413527" y="66021"/>
                </a:cubicBezTo>
                <a:cubicBezTo>
                  <a:pt x="415063" y="64997"/>
                  <a:pt x="416598" y="64486"/>
                  <a:pt x="418133" y="63462"/>
                </a:cubicBezTo>
                <a:cubicBezTo>
                  <a:pt x="418645" y="63462"/>
                  <a:pt x="419157" y="62950"/>
                  <a:pt x="419669" y="62438"/>
                </a:cubicBezTo>
                <a:cubicBezTo>
                  <a:pt x="419669" y="62438"/>
                  <a:pt x="419669" y="62438"/>
                  <a:pt x="419669" y="62438"/>
                </a:cubicBezTo>
                <a:cubicBezTo>
                  <a:pt x="421716" y="60903"/>
                  <a:pt x="423763" y="59879"/>
                  <a:pt x="425810" y="58344"/>
                </a:cubicBezTo>
                <a:cubicBezTo>
                  <a:pt x="428881" y="56297"/>
                  <a:pt x="431440" y="53738"/>
                  <a:pt x="433999" y="51179"/>
                </a:cubicBezTo>
                <a:lnTo>
                  <a:pt x="433999" y="51179"/>
                </a:lnTo>
                <a:cubicBezTo>
                  <a:pt x="434511" y="51179"/>
                  <a:pt x="434511" y="51691"/>
                  <a:pt x="435022" y="51691"/>
                </a:cubicBezTo>
                <a:cubicBezTo>
                  <a:pt x="435022" y="52202"/>
                  <a:pt x="435534" y="52202"/>
                  <a:pt x="436046" y="52714"/>
                </a:cubicBezTo>
                <a:cubicBezTo>
                  <a:pt x="436558" y="53226"/>
                  <a:pt x="437069" y="53738"/>
                  <a:pt x="437581" y="54250"/>
                </a:cubicBezTo>
                <a:cubicBezTo>
                  <a:pt x="438605" y="55273"/>
                  <a:pt x="440140" y="56297"/>
                  <a:pt x="441164" y="57320"/>
                </a:cubicBezTo>
                <a:cubicBezTo>
                  <a:pt x="442187" y="58344"/>
                  <a:pt x="443211" y="58856"/>
                  <a:pt x="444235" y="59879"/>
                </a:cubicBezTo>
                <a:cubicBezTo>
                  <a:pt x="445258" y="60391"/>
                  <a:pt x="445770" y="61415"/>
                  <a:pt x="446793" y="61927"/>
                </a:cubicBezTo>
                <a:cubicBezTo>
                  <a:pt x="447817" y="62438"/>
                  <a:pt x="448329" y="62950"/>
                  <a:pt x="449352" y="63462"/>
                </a:cubicBezTo>
                <a:cubicBezTo>
                  <a:pt x="450376" y="63974"/>
                  <a:pt x="450888" y="64486"/>
                  <a:pt x="451911" y="64997"/>
                </a:cubicBezTo>
                <a:cubicBezTo>
                  <a:pt x="452423" y="64997"/>
                  <a:pt x="452935" y="65509"/>
                  <a:pt x="453447" y="65509"/>
                </a:cubicBezTo>
                <a:cubicBezTo>
                  <a:pt x="454470" y="66021"/>
                  <a:pt x="454982" y="66533"/>
                  <a:pt x="456006" y="67045"/>
                </a:cubicBezTo>
                <a:cubicBezTo>
                  <a:pt x="456517" y="67556"/>
                  <a:pt x="457541" y="67556"/>
                  <a:pt x="458053" y="68068"/>
                </a:cubicBezTo>
                <a:cubicBezTo>
                  <a:pt x="459076" y="68580"/>
                  <a:pt x="459588" y="68580"/>
                  <a:pt x="460612" y="69092"/>
                </a:cubicBezTo>
                <a:cubicBezTo>
                  <a:pt x="462147" y="69603"/>
                  <a:pt x="463683" y="70115"/>
                  <a:pt x="464706" y="70627"/>
                </a:cubicBezTo>
                <a:cubicBezTo>
                  <a:pt x="464706" y="71651"/>
                  <a:pt x="464194" y="72674"/>
                  <a:pt x="464194" y="73186"/>
                </a:cubicBezTo>
                <a:cubicBezTo>
                  <a:pt x="463683" y="74721"/>
                  <a:pt x="463683" y="76769"/>
                  <a:pt x="463171" y="78304"/>
                </a:cubicBezTo>
                <a:cubicBezTo>
                  <a:pt x="463171" y="79839"/>
                  <a:pt x="462659" y="81887"/>
                  <a:pt x="462659" y="83422"/>
                </a:cubicBezTo>
                <a:cubicBezTo>
                  <a:pt x="462659" y="84957"/>
                  <a:pt x="462659" y="86493"/>
                  <a:pt x="462659" y="88028"/>
                </a:cubicBezTo>
                <a:cubicBezTo>
                  <a:pt x="462659" y="89563"/>
                  <a:pt x="462659" y="90587"/>
                  <a:pt x="462659" y="91610"/>
                </a:cubicBezTo>
                <a:cubicBezTo>
                  <a:pt x="462659" y="92122"/>
                  <a:pt x="462659" y="93146"/>
                  <a:pt x="462659" y="93658"/>
                </a:cubicBezTo>
                <a:cubicBezTo>
                  <a:pt x="462659" y="94681"/>
                  <a:pt x="462659" y="95193"/>
                  <a:pt x="462659" y="96217"/>
                </a:cubicBezTo>
                <a:cubicBezTo>
                  <a:pt x="462659" y="97752"/>
                  <a:pt x="463171" y="98776"/>
                  <a:pt x="463171" y="100311"/>
                </a:cubicBezTo>
                <a:cubicBezTo>
                  <a:pt x="463171" y="101846"/>
                  <a:pt x="463683" y="102870"/>
                  <a:pt x="464194" y="104405"/>
                </a:cubicBezTo>
                <a:cubicBezTo>
                  <a:pt x="464706" y="105941"/>
                  <a:pt x="464706" y="106964"/>
                  <a:pt x="465218" y="108499"/>
                </a:cubicBezTo>
                <a:cubicBezTo>
                  <a:pt x="465730" y="110035"/>
                  <a:pt x="466242" y="111058"/>
                  <a:pt x="466242" y="112594"/>
                </a:cubicBezTo>
                <a:cubicBezTo>
                  <a:pt x="466753" y="113617"/>
                  <a:pt x="466753" y="114641"/>
                  <a:pt x="467265" y="115665"/>
                </a:cubicBezTo>
                <a:cubicBezTo>
                  <a:pt x="467265" y="116176"/>
                  <a:pt x="467777" y="117200"/>
                  <a:pt x="467777" y="117712"/>
                </a:cubicBezTo>
                <a:cubicBezTo>
                  <a:pt x="457029" y="133066"/>
                  <a:pt x="438093" y="142278"/>
                  <a:pt x="418133" y="142278"/>
                </a:cubicBezTo>
                <a:close/>
              </a:path>
            </a:pathLst>
          </a:custGeom>
          <a:solidFill>
            <a:schemeClr val="bg2"/>
          </a:solidFill>
          <a:ln w="511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nvGrpSpPr>
          <p:cNvPr id="108" name="Graphic 1">
            <a:extLst>
              <a:ext uri="{FF2B5EF4-FFF2-40B4-BE49-F238E27FC236}">
                <a16:creationId xmlns:a16="http://schemas.microsoft.com/office/drawing/2014/main" id="{E99BD21E-398A-49C5-966B-49F1435EF79A}"/>
              </a:ext>
            </a:extLst>
          </p:cNvPr>
          <p:cNvGrpSpPr/>
          <p:nvPr/>
        </p:nvGrpSpPr>
        <p:grpSpPr>
          <a:xfrm>
            <a:off x="4695808" y="2054426"/>
            <a:ext cx="489396" cy="344016"/>
            <a:chOff x="3542674" y="31731"/>
            <a:chExt cx="522026" cy="366954"/>
          </a:xfrm>
          <a:solidFill>
            <a:schemeClr val="bg2"/>
          </a:solidFill>
        </p:grpSpPr>
        <p:sp>
          <p:nvSpPr>
            <p:cNvPr id="109" name="Freeform: Shape 208">
              <a:extLst>
                <a:ext uri="{FF2B5EF4-FFF2-40B4-BE49-F238E27FC236}">
                  <a16:creationId xmlns:a16="http://schemas.microsoft.com/office/drawing/2014/main" id="{D0DA32A9-4B5E-4220-A4B8-93C93F91EFDE}"/>
                </a:ext>
              </a:extLst>
            </p:cNvPr>
            <p:cNvSpPr/>
            <p:nvPr/>
          </p:nvSpPr>
          <p:spPr>
            <a:xfrm>
              <a:off x="3542674" y="388449"/>
              <a:ext cx="522026" cy="10235"/>
            </a:xfrm>
            <a:custGeom>
              <a:avLst/>
              <a:gdLst>
                <a:gd name="connsiteX0" fmla="*/ 516909 w 522026"/>
                <a:gd name="connsiteY0" fmla="*/ 10236 h 10235"/>
                <a:gd name="connsiteX1" fmla="*/ 5118 w 522026"/>
                <a:gd name="connsiteY1" fmla="*/ 10236 h 10235"/>
                <a:gd name="connsiteX2" fmla="*/ 0 w 522026"/>
                <a:gd name="connsiteY2" fmla="*/ 5118 h 10235"/>
                <a:gd name="connsiteX3" fmla="*/ 5118 w 522026"/>
                <a:gd name="connsiteY3" fmla="*/ 0 h 10235"/>
                <a:gd name="connsiteX4" fmla="*/ 516909 w 522026"/>
                <a:gd name="connsiteY4" fmla="*/ 0 h 10235"/>
                <a:gd name="connsiteX5" fmla="*/ 522027 w 522026"/>
                <a:gd name="connsiteY5" fmla="*/ 5118 h 10235"/>
                <a:gd name="connsiteX6" fmla="*/ 516909 w 522026"/>
                <a:gd name="connsiteY6" fmla="*/ 10236 h 102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22026" h="10235">
                  <a:moveTo>
                    <a:pt x="516909" y="10236"/>
                  </a:moveTo>
                  <a:lnTo>
                    <a:pt x="5118" y="10236"/>
                  </a:lnTo>
                  <a:cubicBezTo>
                    <a:pt x="2047" y="10236"/>
                    <a:pt x="0" y="8189"/>
                    <a:pt x="0" y="5118"/>
                  </a:cubicBezTo>
                  <a:cubicBezTo>
                    <a:pt x="0" y="2047"/>
                    <a:pt x="2047" y="0"/>
                    <a:pt x="5118" y="0"/>
                  </a:cubicBezTo>
                  <a:lnTo>
                    <a:pt x="516909" y="0"/>
                  </a:lnTo>
                  <a:cubicBezTo>
                    <a:pt x="519980" y="0"/>
                    <a:pt x="522027" y="2047"/>
                    <a:pt x="522027" y="5118"/>
                  </a:cubicBezTo>
                  <a:cubicBezTo>
                    <a:pt x="522027" y="8189"/>
                    <a:pt x="519468" y="10236"/>
                    <a:pt x="516909" y="10236"/>
                  </a:cubicBezTo>
                  <a:close/>
                </a:path>
              </a:pathLst>
            </a:custGeom>
            <a:grpFill/>
            <a:ln w="511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nvGrpSpPr>
            <p:cNvPr id="110" name="Graphic 1">
              <a:extLst>
                <a:ext uri="{FF2B5EF4-FFF2-40B4-BE49-F238E27FC236}">
                  <a16:creationId xmlns:a16="http://schemas.microsoft.com/office/drawing/2014/main" id="{C70D5145-531A-4559-B112-828E8B9E7FC0}"/>
                </a:ext>
              </a:extLst>
            </p:cNvPr>
            <p:cNvGrpSpPr/>
            <p:nvPr/>
          </p:nvGrpSpPr>
          <p:grpSpPr>
            <a:xfrm>
              <a:off x="3568776" y="79327"/>
              <a:ext cx="468866" cy="270225"/>
              <a:chOff x="3568776" y="79327"/>
              <a:chExt cx="468866" cy="270225"/>
            </a:xfrm>
            <a:grpFill/>
          </p:grpSpPr>
          <p:sp>
            <p:nvSpPr>
              <p:cNvPr id="112" name="Freeform: Shape 211">
                <a:extLst>
                  <a:ext uri="{FF2B5EF4-FFF2-40B4-BE49-F238E27FC236}">
                    <a16:creationId xmlns:a16="http://schemas.microsoft.com/office/drawing/2014/main" id="{0D93096F-DE49-4C20-B8F8-20971757E179}"/>
                  </a:ext>
                </a:extLst>
              </p:cNvPr>
              <p:cNvSpPr/>
              <p:nvPr/>
            </p:nvSpPr>
            <p:spPr>
              <a:xfrm>
                <a:off x="3568776" y="275343"/>
                <a:ext cx="85023" cy="74209"/>
              </a:xfrm>
              <a:custGeom>
                <a:avLst/>
                <a:gdLst>
                  <a:gd name="connsiteX0" fmla="*/ 80351 w 85023"/>
                  <a:gd name="connsiteY0" fmla="*/ 0 h 74209"/>
                  <a:gd name="connsiteX1" fmla="*/ 5118 w 85023"/>
                  <a:gd name="connsiteY1" fmla="*/ 0 h 74209"/>
                  <a:gd name="connsiteX2" fmla="*/ 0 w 85023"/>
                  <a:gd name="connsiteY2" fmla="*/ 5118 h 74209"/>
                  <a:gd name="connsiteX3" fmla="*/ 0 w 85023"/>
                  <a:gd name="connsiteY3" fmla="*/ 69092 h 74209"/>
                  <a:gd name="connsiteX4" fmla="*/ 5118 w 85023"/>
                  <a:gd name="connsiteY4" fmla="*/ 74210 h 74209"/>
                  <a:gd name="connsiteX5" fmla="*/ 79839 w 85023"/>
                  <a:gd name="connsiteY5" fmla="*/ 74210 h 74209"/>
                  <a:gd name="connsiteX6" fmla="*/ 84957 w 85023"/>
                  <a:gd name="connsiteY6" fmla="*/ 69092 h 74209"/>
                  <a:gd name="connsiteX7" fmla="*/ 84957 w 85023"/>
                  <a:gd name="connsiteY7" fmla="*/ 5118 h 74209"/>
                  <a:gd name="connsiteX8" fmla="*/ 80351 w 85023"/>
                  <a:gd name="connsiteY8" fmla="*/ 0 h 742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5023" h="74209">
                    <a:moveTo>
                      <a:pt x="80351" y="0"/>
                    </a:moveTo>
                    <a:lnTo>
                      <a:pt x="5118" y="0"/>
                    </a:lnTo>
                    <a:cubicBezTo>
                      <a:pt x="2047" y="0"/>
                      <a:pt x="0" y="2047"/>
                      <a:pt x="0" y="5118"/>
                    </a:cubicBezTo>
                    <a:lnTo>
                      <a:pt x="0" y="69092"/>
                    </a:lnTo>
                    <a:cubicBezTo>
                      <a:pt x="0" y="72163"/>
                      <a:pt x="2047" y="74210"/>
                      <a:pt x="5118" y="74210"/>
                    </a:cubicBezTo>
                    <a:lnTo>
                      <a:pt x="79839" y="74210"/>
                    </a:lnTo>
                    <a:cubicBezTo>
                      <a:pt x="82910" y="74210"/>
                      <a:pt x="84957" y="72163"/>
                      <a:pt x="84957" y="69092"/>
                    </a:cubicBezTo>
                    <a:lnTo>
                      <a:pt x="84957" y="5118"/>
                    </a:lnTo>
                    <a:cubicBezTo>
                      <a:pt x="85469" y="2047"/>
                      <a:pt x="82910" y="0"/>
                      <a:pt x="80351" y="0"/>
                    </a:cubicBezTo>
                    <a:close/>
                  </a:path>
                </a:pathLst>
              </a:custGeom>
              <a:grpFill/>
              <a:ln w="511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13" name="Freeform: Shape 212">
                <a:extLst>
                  <a:ext uri="{FF2B5EF4-FFF2-40B4-BE49-F238E27FC236}">
                    <a16:creationId xmlns:a16="http://schemas.microsoft.com/office/drawing/2014/main" id="{A0D7322F-0666-4EFF-A9FC-C67ECE98D27E}"/>
                  </a:ext>
                </a:extLst>
              </p:cNvPr>
              <p:cNvSpPr/>
              <p:nvPr/>
            </p:nvSpPr>
            <p:spPr>
              <a:xfrm>
                <a:off x="3696723" y="209834"/>
                <a:ext cx="85023" cy="138183"/>
              </a:xfrm>
              <a:custGeom>
                <a:avLst/>
                <a:gdLst>
                  <a:gd name="connsiteX0" fmla="*/ 80351 w 85023"/>
                  <a:gd name="connsiteY0" fmla="*/ 0 h 138183"/>
                  <a:gd name="connsiteX1" fmla="*/ 5118 w 85023"/>
                  <a:gd name="connsiteY1" fmla="*/ 0 h 138183"/>
                  <a:gd name="connsiteX2" fmla="*/ 0 w 85023"/>
                  <a:gd name="connsiteY2" fmla="*/ 5118 h 138183"/>
                  <a:gd name="connsiteX3" fmla="*/ 0 w 85023"/>
                  <a:gd name="connsiteY3" fmla="*/ 133066 h 138183"/>
                  <a:gd name="connsiteX4" fmla="*/ 5118 w 85023"/>
                  <a:gd name="connsiteY4" fmla="*/ 138184 h 138183"/>
                  <a:gd name="connsiteX5" fmla="*/ 79839 w 85023"/>
                  <a:gd name="connsiteY5" fmla="*/ 138184 h 138183"/>
                  <a:gd name="connsiteX6" fmla="*/ 84957 w 85023"/>
                  <a:gd name="connsiteY6" fmla="*/ 133066 h 138183"/>
                  <a:gd name="connsiteX7" fmla="*/ 84957 w 85023"/>
                  <a:gd name="connsiteY7" fmla="*/ 5118 h 138183"/>
                  <a:gd name="connsiteX8" fmla="*/ 80351 w 85023"/>
                  <a:gd name="connsiteY8" fmla="*/ 0 h 1381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5023" h="138183">
                    <a:moveTo>
                      <a:pt x="80351" y="0"/>
                    </a:moveTo>
                    <a:lnTo>
                      <a:pt x="5118" y="0"/>
                    </a:lnTo>
                    <a:cubicBezTo>
                      <a:pt x="2047" y="0"/>
                      <a:pt x="0" y="2047"/>
                      <a:pt x="0" y="5118"/>
                    </a:cubicBezTo>
                    <a:lnTo>
                      <a:pt x="0" y="133066"/>
                    </a:lnTo>
                    <a:cubicBezTo>
                      <a:pt x="0" y="136136"/>
                      <a:pt x="2047" y="138184"/>
                      <a:pt x="5118" y="138184"/>
                    </a:cubicBezTo>
                    <a:lnTo>
                      <a:pt x="79839" y="138184"/>
                    </a:lnTo>
                    <a:cubicBezTo>
                      <a:pt x="82910" y="138184"/>
                      <a:pt x="84957" y="136136"/>
                      <a:pt x="84957" y="133066"/>
                    </a:cubicBezTo>
                    <a:lnTo>
                      <a:pt x="84957" y="5118"/>
                    </a:lnTo>
                    <a:cubicBezTo>
                      <a:pt x="85469" y="2559"/>
                      <a:pt x="82910" y="0"/>
                      <a:pt x="80351" y="0"/>
                    </a:cubicBezTo>
                    <a:close/>
                  </a:path>
                </a:pathLst>
              </a:custGeom>
              <a:grpFill/>
              <a:ln w="511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14" name="Freeform: Shape 213">
                <a:extLst>
                  <a:ext uri="{FF2B5EF4-FFF2-40B4-BE49-F238E27FC236}">
                    <a16:creationId xmlns:a16="http://schemas.microsoft.com/office/drawing/2014/main" id="{93C6E2A0-32F7-4207-8FFB-D3D9716A7B26}"/>
                  </a:ext>
                </a:extLst>
              </p:cNvPr>
              <p:cNvSpPr/>
              <p:nvPr/>
            </p:nvSpPr>
            <p:spPr>
              <a:xfrm>
                <a:off x="3824671" y="144836"/>
                <a:ext cx="85023" cy="202157"/>
              </a:xfrm>
              <a:custGeom>
                <a:avLst/>
                <a:gdLst>
                  <a:gd name="connsiteX0" fmla="*/ 80351 w 85023"/>
                  <a:gd name="connsiteY0" fmla="*/ 0 h 202157"/>
                  <a:gd name="connsiteX1" fmla="*/ 5118 w 85023"/>
                  <a:gd name="connsiteY1" fmla="*/ 0 h 202157"/>
                  <a:gd name="connsiteX2" fmla="*/ 0 w 85023"/>
                  <a:gd name="connsiteY2" fmla="*/ 5118 h 202157"/>
                  <a:gd name="connsiteX3" fmla="*/ 0 w 85023"/>
                  <a:gd name="connsiteY3" fmla="*/ 197040 h 202157"/>
                  <a:gd name="connsiteX4" fmla="*/ 5118 w 85023"/>
                  <a:gd name="connsiteY4" fmla="*/ 202157 h 202157"/>
                  <a:gd name="connsiteX5" fmla="*/ 79839 w 85023"/>
                  <a:gd name="connsiteY5" fmla="*/ 202157 h 202157"/>
                  <a:gd name="connsiteX6" fmla="*/ 84957 w 85023"/>
                  <a:gd name="connsiteY6" fmla="*/ 197040 h 202157"/>
                  <a:gd name="connsiteX7" fmla="*/ 84957 w 85023"/>
                  <a:gd name="connsiteY7" fmla="*/ 5118 h 202157"/>
                  <a:gd name="connsiteX8" fmla="*/ 80351 w 85023"/>
                  <a:gd name="connsiteY8" fmla="*/ 0 h 2021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5023" h="202157">
                    <a:moveTo>
                      <a:pt x="80351" y="0"/>
                    </a:moveTo>
                    <a:lnTo>
                      <a:pt x="5118" y="0"/>
                    </a:lnTo>
                    <a:cubicBezTo>
                      <a:pt x="2047" y="0"/>
                      <a:pt x="0" y="2047"/>
                      <a:pt x="0" y="5118"/>
                    </a:cubicBezTo>
                    <a:lnTo>
                      <a:pt x="0" y="197040"/>
                    </a:lnTo>
                    <a:cubicBezTo>
                      <a:pt x="0" y="200110"/>
                      <a:pt x="2047" y="202157"/>
                      <a:pt x="5118" y="202157"/>
                    </a:cubicBezTo>
                    <a:lnTo>
                      <a:pt x="79839" y="202157"/>
                    </a:lnTo>
                    <a:cubicBezTo>
                      <a:pt x="82910" y="202157"/>
                      <a:pt x="84957" y="200110"/>
                      <a:pt x="84957" y="197040"/>
                    </a:cubicBezTo>
                    <a:lnTo>
                      <a:pt x="84957" y="5118"/>
                    </a:lnTo>
                    <a:cubicBezTo>
                      <a:pt x="85469" y="2047"/>
                      <a:pt x="82910" y="0"/>
                      <a:pt x="80351" y="0"/>
                    </a:cubicBezTo>
                    <a:close/>
                  </a:path>
                </a:pathLst>
              </a:custGeom>
              <a:grpFill/>
              <a:ln w="511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15" name="Freeform: Shape 214">
                <a:extLst>
                  <a:ext uri="{FF2B5EF4-FFF2-40B4-BE49-F238E27FC236}">
                    <a16:creationId xmlns:a16="http://schemas.microsoft.com/office/drawing/2014/main" id="{0A43F124-25F6-41B0-A0ED-CA6F8379619D}"/>
                  </a:ext>
                </a:extLst>
              </p:cNvPr>
              <p:cNvSpPr/>
              <p:nvPr/>
            </p:nvSpPr>
            <p:spPr>
              <a:xfrm>
                <a:off x="3952619" y="79327"/>
                <a:ext cx="85023" cy="266131"/>
              </a:xfrm>
              <a:custGeom>
                <a:avLst/>
                <a:gdLst>
                  <a:gd name="connsiteX0" fmla="*/ 80351 w 85023"/>
                  <a:gd name="connsiteY0" fmla="*/ 0 h 266131"/>
                  <a:gd name="connsiteX1" fmla="*/ 5118 w 85023"/>
                  <a:gd name="connsiteY1" fmla="*/ 0 h 266131"/>
                  <a:gd name="connsiteX2" fmla="*/ 0 w 85023"/>
                  <a:gd name="connsiteY2" fmla="*/ 5118 h 266131"/>
                  <a:gd name="connsiteX3" fmla="*/ 0 w 85023"/>
                  <a:gd name="connsiteY3" fmla="*/ 261013 h 266131"/>
                  <a:gd name="connsiteX4" fmla="*/ 5118 w 85023"/>
                  <a:gd name="connsiteY4" fmla="*/ 266131 h 266131"/>
                  <a:gd name="connsiteX5" fmla="*/ 79839 w 85023"/>
                  <a:gd name="connsiteY5" fmla="*/ 266131 h 266131"/>
                  <a:gd name="connsiteX6" fmla="*/ 84957 w 85023"/>
                  <a:gd name="connsiteY6" fmla="*/ 261013 h 266131"/>
                  <a:gd name="connsiteX7" fmla="*/ 84957 w 85023"/>
                  <a:gd name="connsiteY7" fmla="*/ 5118 h 266131"/>
                  <a:gd name="connsiteX8" fmla="*/ 80351 w 85023"/>
                  <a:gd name="connsiteY8" fmla="*/ 0 h 2661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5023" h="266131">
                    <a:moveTo>
                      <a:pt x="80351" y="0"/>
                    </a:moveTo>
                    <a:lnTo>
                      <a:pt x="5118" y="0"/>
                    </a:lnTo>
                    <a:cubicBezTo>
                      <a:pt x="2047" y="0"/>
                      <a:pt x="0" y="2047"/>
                      <a:pt x="0" y="5118"/>
                    </a:cubicBezTo>
                    <a:lnTo>
                      <a:pt x="0" y="261013"/>
                    </a:lnTo>
                    <a:cubicBezTo>
                      <a:pt x="0" y="264084"/>
                      <a:pt x="2047" y="266131"/>
                      <a:pt x="5118" y="266131"/>
                    </a:cubicBezTo>
                    <a:lnTo>
                      <a:pt x="79839" y="266131"/>
                    </a:lnTo>
                    <a:cubicBezTo>
                      <a:pt x="82910" y="266131"/>
                      <a:pt x="84957" y="264084"/>
                      <a:pt x="84957" y="261013"/>
                    </a:cubicBezTo>
                    <a:lnTo>
                      <a:pt x="84957" y="5118"/>
                    </a:lnTo>
                    <a:cubicBezTo>
                      <a:pt x="85469" y="2559"/>
                      <a:pt x="82910" y="0"/>
                      <a:pt x="80351" y="0"/>
                    </a:cubicBezTo>
                    <a:close/>
                  </a:path>
                </a:pathLst>
              </a:custGeom>
              <a:grpFill/>
              <a:ln w="511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sp>
          <p:nvSpPr>
            <p:cNvPr id="111" name="Freeform: Shape 210">
              <a:extLst>
                <a:ext uri="{FF2B5EF4-FFF2-40B4-BE49-F238E27FC236}">
                  <a16:creationId xmlns:a16="http://schemas.microsoft.com/office/drawing/2014/main" id="{050A13B1-37F3-4C12-996C-802311F22EA1}"/>
                </a:ext>
              </a:extLst>
            </p:cNvPr>
            <p:cNvSpPr/>
            <p:nvPr/>
          </p:nvSpPr>
          <p:spPr>
            <a:xfrm>
              <a:off x="3614590" y="31731"/>
              <a:ext cx="317045" cy="188339"/>
            </a:xfrm>
            <a:custGeom>
              <a:avLst/>
              <a:gdLst>
                <a:gd name="connsiteX0" fmla="*/ 317046 w 317045"/>
                <a:gd name="connsiteY0" fmla="*/ 0 h 188339"/>
                <a:gd name="connsiteX1" fmla="*/ 240277 w 317045"/>
                <a:gd name="connsiteY1" fmla="*/ 512 h 188339"/>
                <a:gd name="connsiteX2" fmla="*/ 255631 w 317045"/>
                <a:gd name="connsiteY2" fmla="*/ 27125 h 188339"/>
                <a:gd name="connsiteX3" fmla="*/ 3830 w 317045"/>
                <a:gd name="connsiteY3" fmla="*/ 174009 h 188339"/>
                <a:gd name="connsiteX4" fmla="*/ 1271 w 317045"/>
                <a:gd name="connsiteY4" fmla="*/ 184757 h 188339"/>
                <a:gd name="connsiteX5" fmla="*/ 7924 w 317045"/>
                <a:gd name="connsiteY5" fmla="*/ 188339 h 188339"/>
                <a:gd name="connsiteX6" fmla="*/ 12018 w 317045"/>
                <a:gd name="connsiteY6" fmla="*/ 187316 h 188339"/>
                <a:gd name="connsiteX7" fmla="*/ 263308 w 317045"/>
                <a:gd name="connsiteY7" fmla="*/ 39920 h 188339"/>
                <a:gd name="connsiteX8" fmla="*/ 278661 w 317045"/>
                <a:gd name="connsiteY8" fmla="*/ 66533 h 188339"/>
                <a:gd name="connsiteX9" fmla="*/ 317046 w 317045"/>
                <a:gd name="connsiteY9" fmla="*/ 0 h 1883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7045" h="188339">
                  <a:moveTo>
                    <a:pt x="317046" y="0"/>
                  </a:moveTo>
                  <a:lnTo>
                    <a:pt x="240277" y="512"/>
                  </a:lnTo>
                  <a:lnTo>
                    <a:pt x="255631" y="27125"/>
                  </a:lnTo>
                  <a:lnTo>
                    <a:pt x="3830" y="174009"/>
                  </a:lnTo>
                  <a:cubicBezTo>
                    <a:pt x="247" y="176056"/>
                    <a:pt x="-1288" y="180662"/>
                    <a:pt x="1271" y="184757"/>
                  </a:cubicBezTo>
                  <a:cubicBezTo>
                    <a:pt x="2806" y="187316"/>
                    <a:pt x="5365" y="188339"/>
                    <a:pt x="7924" y="188339"/>
                  </a:cubicBezTo>
                  <a:cubicBezTo>
                    <a:pt x="9459" y="188339"/>
                    <a:pt x="10483" y="187827"/>
                    <a:pt x="12018" y="187316"/>
                  </a:cubicBezTo>
                  <a:lnTo>
                    <a:pt x="263308" y="39920"/>
                  </a:lnTo>
                  <a:lnTo>
                    <a:pt x="278661" y="66533"/>
                  </a:lnTo>
                  <a:lnTo>
                    <a:pt x="317046" y="0"/>
                  </a:lnTo>
                  <a:close/>
                </a:path>
              </a:pathLst>
            </a:custGeom>
            <a:grpFill/>
            <a:ln w="511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grpSp>
        <p:nvGrpSpPr>
          <p:cNvPr id="116" name="Graphic 1">
            <a:extLst>
              <a:ext uri="{FF2B5EF4-FFF2-40B4-BE49-F238E27FC236}">
                <a16:creationId xmlns:a16="http://schemas.microsoft.com/office/drawing/2014/main" id="{9F58F5EA-7458-45B8-994B-B967783AD629}"/>
              </a:ext>
            </a:extLst>
          </p:cNvPr>
          <p:cNvGrpSpPr/>
          <p:nvPr/>
        </p:nvGrpSpPr>
        <p:grpSpPr>
          <a:xfrm>
            <a:off x="7083568" y="2103445"/>
            <a:ext cx="359370" cy="361770"/>
            <a:chOff x="5369256" y="18424"/>
            <a:chExt cx="383331" cy="385890"/>
          </a:xfrm>
          <a:solidFill>
            <a:schemeClr val="bg2"/>
          </a:solidFill>
        </p:grpSpPr>
        <p:sp>
          <p:nvSpPr>
            <p:cNvPr id="117" name="Freeform: Shape 216">
              <a:extLst>
                <a:ext uri="{FF2B5EF4-FFF2-40B4-BE49-F238E27FC236}">
                  <a16:creationId xmlns:a16="http://schemas.microsoft.com/office/drawing/2014/main" id="{16E48775-DA0B-4EB5-882F-7AAF0C53B0B5}"/>
                </a:ext>
              </a:extLst>
            </p:cNvPr>
            <p:cNvSpPr/>
            <p:nvPr/>
          </p:nvSpPr>
          <p:spPr>
            <a:xfrm>
              <a:off x="5584209" y="222117"/>
              <a:ext cx="168379" cy="119247"/>
            </a:xfrm>
            <a:custGeom>
              <a:avLst/>
              <a:gdLst>
                <a:gd name="connsiteX0" fmla="*/ 0 w 168379"/>
                <a:gd name="connsiteY0" fmla="*/ 0 h 119247"/>
                <a:gd name="connsiteX1" fmla="*/ 119247 w 168379"/>
                <a:gd name="connsiteY1" fmla="*/ 119247 h 119247"/>
                <a:gd name="connsiteX2" fmla="*/ 168379 w 168379"/>
                <a:gd name="connsiteY2" fmla="*/ 0 h 119247"/>
                <a:gd name="connsiteX3" fmla="*/ 168379 w 168379"/>
                <a:gd name="connsiteY3" fmla="*/ 0 h 119247"/>
                <a:gd name="connsiteX4" fmla="*/ 0 w 168379"/>
                <a:gd name="connsiteY4" fmla="*/ 0 h 1192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379" h="119247">
                  <a:moveTo>
                    <a:pt x="0" y="0"/>
                  </a:moveTo>
                  <a:lnTo>
                    <a:pt x="119247" y="119247"/>
                  </a:lnTo>
                  <a:cubicBezTo>
                    <a:pt x="148931" y="86493"/>
                    <a:pt x="166332" y="44014"/>
                    <a:pt x="168379" y="0"/>
                  </a:cubicBezTo>
                  <a:lnTo>
                    <a:pt x="168379" y="0"/>
                  </a:lnTo>
                  <a:lnTo>
                    <a:pt x="0" y="0"/>
                  </a:lnTo>
                  <a:close/>
                </a:path>
              </a:pathLst>
            </a:custGeom>
            <a:grpFill/>
            <a:ln w="511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18" name="Freeform: Shape 217">
              <a:extLst>
                <a:ext uri="{FF2B5EF4-FFF2-40B4-BE49-F238E27FC236}">
                  <a16:creationId xmlns:a16="http://schemas.microsoft.com/office/drawing/2014/main" id="{3CFEB26A-AE35-4B60-84D3-923994710767}"/>
                </a:ext>
              </a:extLst>
            </p:cNvPr>
            <p:cNvSpPr/>
            <p:nvPr/>
          </p:nvSpPr>
          <p:spPr>
            <a:xfrm>
              <a:off x="5570902" y="20983"/>
              <a:ext cx="181685" cy="182197"/>
            </a:xfrm>
            <a:custGeom>
              <a:avLst/>
              <a:gdLst>
                <a:gd name="connsiteX0" fmla="*/ 181174 w 181685"/>
                <a:gd name="connsiteY0" fmla="*/ 182198 h 182197"/>
                <a:gd name="connsiteX1" fmla="*/ 181686 w 181685"/>
                <a:gd name="connsiteY1" fmla="*/ 182198 h 182197"/>
                <a:gd name="connsiteX2" fmla="*/ 0 w 181685"/>
                <a:gd name="connsiteY2" fmla="*/ 0 h 182197"/>
                <a:gd name="connsiteX3" fmla="*/ 0 w 181685"/>
                <a:gd name="connsiteY3" fmla="*/ 0 h 182197"/>
                <a:gd name="connsiteX4" fmla="*/ 0 w 181685"/>
                <a:gd name="connsiteY4" fmla="*/ 182198 h 182197"/>
                <a:gd name="connsiteX5" fmla="*/ 181174 w 181685"/>
                <a:gd name="connsiteY5" fmla="*/ 182198 h 182197"/>
                <a:gd name="connsiteX6" fmla="*/ 181174 w 181685"/>
                <a:gd name="connsiteY6" fmla="*/ 182198 h 1821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1685" h="182197">
                  <a:moveTo>
                    <a:pt x="181174" y="182198"/>
                  </a:moveTo>
                  <a:lnTo>
                    <a:pt x="181686" y="182198"/>
                  </a:lnTo>
                  <a:cubicBezTo>
                    <a:pt x="177080" y="82910"/>
                    <a:pt x="98776" y="4606"/>
                    <a:pt x="0" y="0"/>
                  </a:cubicBezTo>
                  <a:cubicBezTo>
                    <a:pt x="0" y="0"/>
                    <a:pt x="0" y="0"/>
                    <a:pt x="0" y="0"/>
                  </a:cubicBezTo>
                  <a:lnTo>
                    <a:pt x="0" y="182198"/>
                  </a:lnTo>
                  <a:lnTo>
                    <a:pt x="181174" y="182198"/>
                  </a:lnTo>
                  <a:lnTo>
                    <a:pt x="181174" y="182198"/>
                  </a:lnTo>
                  <a:close/>
                </a:path>
              </a:pathLst>
            </a:custGeom>
            <a:grpFill/>
            <a:ln w="511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19" name="Freeform: Shape 218">
              <a:extLst>
                <a:ext uri="{FF2B5EF4-FFF2-40B4-BE49-F238E27FC236}">
                  <a16:creationId xmlns:a16="http://schemas.microsoft.com/office/drawing/2014/main" id="{FC4FF7DD-EA9A-4812-9E47-A9327FE04BD4}"/>
                </a:ext>
              </a:extLst>
            </p:cNvPr>
            <p:cNvSpPr/>
            <p:nvPr/>
          </p:nvSpPr>
          <p:spPr>
            <a:xfrm>
              <a:off x="5369256" y="18424"/>
              <a:ext cx="320893" cy="385890"/>
            </a:xfrm>
            <a:custGeom>
              <a:avLst/>
              <a:gdLst>
                <a:gd name="connsiteX0" fmla="*/ 182198 w 320893"/>
                <a:gd name="connsiteY0" fmla="*/ 0 h 385890"/>
                <a:gd name="connsiteX1" fmla="*/ 182198 w 320893"/>
                <a:gd name="connsiteY1" fmla="*/ 2559 h 385890"/>
                <a:gd name="connsiteX2" fmla="*/ 0 w 320893"/>
                <a:gd name="connsiteY2" fmla="*/ 193969 h 385890"/>
                <a:gd name="connsiteX3" fmla="*/ 191922 w 320893"/>
                <a:gd name="connsiteY3" fmla="*/ 385890 h 385890"/>
                <a:gd name="connsiteX4" fmla="*/ 320893 w 320893"/>
                <a:gd name="connsiteY4" fmla="*/ 336247 h 385890"/>
                <a:gd name="connsiteX5" fmla="*/ 184245 w 320893"/>
                <a:gd name="connsiteY5" fmla="*/ 199599 h 385890"/>
                <a:gd name="connsiteX6" fmla="*/ 182709 w 320893"/>
                <a:gd name="connsiteY6" fmla="*/ 198063 h 385890"/>
                <a:gd name="connsiteX7" fmla="*/ 182709 w 320893"/>
                <a:gd name="connsiteY7" fmla="*/ 196016 h 385890"/>
                <a:gd name="connsiteX8" fmla="*/ 182709 w 320893"/>
                <a:gd name="connsiteY8" fmla="*/ 3071 h 385890"/>
                <a:gd name="connsiteX9" fmla="*/ 182709 w 320893"/>
                <a:gd name="connsiteY9" fmla="*/ 3071 h 385890"/>
                <a:gd name="connsiteX10" fmla="*/ 182709 w 320893"/>
                <a:gd name="connsiteY10" fmla="*/ 2559 h 385890"/>
                <a:gd name="connsiteX11" fmla="*/ 182709 w 320893"/>
                <a:gd name="connsiteY11" fmla="*/ 2559 h 385890"/>
                <a:gd name="connsiteX12" fmla="*/ 182198 w 320893"/>
                <a:gd name="connsiteY12" fmla="*/ 0 h 385890"/>
                <a:gd name="connsiteX13" fmla="*/ 182198 w 320893"/>
                <a:gd name="connsiteY13" fmla="*/ 0 h 385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20893" h="385890">
                  <a:moveTo>
                    <a:pt x="182198" y="0"/>
                  </a:moveTo>
                  <a:lnTo>
                    <a:pt x="182198" y="2559"/>
                  </a:lnTo>
                  <a:cubicBezTo>
                    <a:pt x="79839" y="7677"/>
                    <a:pt x="0" y="91611"/>
                    <a:pt x="0" y="193969"/>
                  </a:cubicBezTo>
                  <a:cubicBezTo>
                    <a:pt x="0" y="299910"/>
                    <a:pt x="85981" y="385890"/>
                    <a:pt x="191922" y="385890"/>
                  </a:cubicBezTo>
                  <a:cubicBezTo>
                    <a:pt x="239518" y="385890"/>
                    <a:pt x="285579" y="368490"/>
                    <a:pt x="320893" y="336247"/>
                  </a:cubicBezTo>
                  <a:lnTo>
                    <a:pt x="184245" y="199599"/>
                  </a:lnTo>
                  <a:lnTo>
                    <a:pt x="182709" y="198063"/>
                  </a:lnTo>
                  <a:lnTo>
                    <a:pt x="182709" y="196016"/>
                  </a:lnTo>
                  <a:lnTo>
                    <a:pt x="182709" y="3071"/>
                  </a:lnTo>
                  <a:lnTo>
                    <a:pt x="182709" y="3071"/>
                  </a:lnTo>
                  <a:lnTo>
                    <a:pt x="182709" y="2559"/>
                  </a:lnTo>
                  <a:lnTo>
                    <a:pt x="182709" y="2559"/>
                  </a:lnTo>
                  <a:lnTo>
                    <a:pt x="182198" y="0"/>
                  </a:lnTo>
                  <a:cubicBezTo>
                    <a:pt x="182198" y="0"/>
                    <a:pt x="182198" y="0"/>
                    <a:pt x="182198" y="0"/>
                  </a:cubicBezTo>
                  <a:close/>
                </a:path>
              </a:pathLst>
            </a:custGeom>
            <a:grpFill/>
            <a:ln w="511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grpSp>
        <p:nvGrpSpPr>
          <p:cNvPr id="120" name="Graphic 1">
            <a:extLst>
              <a:ext uri="{FF2B5EF4-FFF2-40B4-BE49-F238E27FC236}">
                <a16:creationId xmlns:a16="http://schemas.microsoft.com/office/drawing/2014/main" id="{2313C541-B142-42FC-9F41-CC897EE15CE8}"/>
              </a:ext>
            </a:extLst>
          </p:cNvPr>
          <p:cNvGrpSpPr/>
          <p:nvPr/>
        </p:nvGrpSpPr>
        <p:grpSpPr>
          <a:xfrm>
            <a:off x="7799653" y="3044699"/>
            <a:ext cx="349774" cy="398714"/>
            <a:chOff x="7722471" y="565529"/>
            <a:chExt cx="373095" cy="425298"/>
          </a:xfrm>
          <a:solidFill>
            <a:schemeClr val="bg2"/>
          </a:solidFill>
        </p:grpSpPr>
        <p:sp>
          <p:nvSpPr>
            <p:cNvPr id="121" name="Freeform: Shape 220">
              <a:extLst>
                <a:ext uri="{FF2B5EF4-FFF2-40B4-BE49-F238E27FC236}">
                  <a16:creationId xmlns:a16="http://schemas.microsoft.com/office/drawing/2014/main" id="{BE89C56F-5349-4882-BF95-90443B55F1AE}"/>
                </a:ext>
              </a:extLst>
            </p:cNvPr>
            <p:cNvSpPr/>
            <p:nvPr/>
          </p:nvSpPr>
          <p:spPr>
            <a:xfrm>
              <a:off x="7917975" y="763080"/>
              <a:ext cx="90075" cy="90075"/>
            </a:xfrm>
            <a:custGeom>
              <a:avLst/>
              <a:gdLst>
                <a:gd name="connsiteX0" fmla="*/ 45038 w 90075"/>
                <a:gd name="connsiteY0" fmla="*/ 90075 h 90075"/>
                <a:gd name="connsiteX1" fmla="*/ 0 w 90075"/>
                <a:gd name="connsiteY1" fmla="*/ 45038 h 90075"/>
                <a:gd name="connsiteX2" fmla="*/ 45038 w 90075"/>
                <a:gd name="connsiteY2" fmla="*/ 0 h 90075"/>
                <a:gd name="connsiteX3" fmla="*/ 90075 w 90075"/>
                <a:gd name="connsiteY3" fmla="*/ 45038 h 90075"/>
                <a:gd name="connsiteX4" fmla="*/ 45038 w 90075"/>
                <a:gd name="connsiteY4" fmla="*/ 90075 h 90075"/>
                <a:gd name="connsiteX5" fmla="*/ 45038 w 90075"/>
                <a:gd name="connsiteY5" fmla="*/ 10236 h 90075"/>
                <a:gd name="connsiteX6" fmla="*/ 10236 w 90075"/>
                <a:gd name="connsiteY6" fmla="*/ 45038 h 90075"/>
                <a:gd name="connsiteX7" fmla="*/ 45038 w 90075"/>
                <a:gd name="connsiteY7" fmla="*/ 79839 h 90075"/>
                <a:gd name="connsiteX8" fmla="*/ 79839 w 90075"/>
                <a:gd name="connsiteY8" fmla="*/ 45038 h 90075"/>
                <a:gd name="connsiteX9" fmla="*/ 45038 w 90075"/>
                <a:gd name="connsiteY9" fmla="*/ 10236 h 90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0075" h="90075">
                  <a:moveTo>
                    <a:pt x="45038" y="90075"/>
                  </a:moveTo>
                  <a:cubicBezTo>
                    <a:pt x="19960" y="90075"/>
                    <a:pt x="0" y="69604"/>
                    <a:pt x="0" y="45038"/>
                  </a:cubicBezTo>
                  <a:cubicBezTo>
                    <a:pt x="0" y="19960"/>
                    <a:pt x="20472" y="0"/>
                    <a:pt x="45038" y="0"/>
                  </a:cubicBezTo>
                  <a:cubicBezTo>
                    <a:pt x="69603" y="0"/>
                    <a:pt x="90075" y="20472"/>
                    <a:pt x="90075" y="45038"/>
                  </a:cubicBezTo>
                  <a:cubicBezTo>
                    <a:pt x="90075" y="70115"/>
                    <a:pt x="70115" y="90075"/>
                    <a:pt x="45038" y="90075"/>
                  </a:cubicBezTo>
                  <a:close/>
                  <a:moveTo>
                    <a:pt x="45038" y="10236"/>
                  </a:moveTo>
                  <a:cubicBezTo>
                    <a:pt x="25590" y="10236"/>
                    <a:pt x="10236" y="26101"/>
                    <a:pt x="10236" y="45038"/>
                  </a:cubicBezTo>
                  <a:cubicBezTo>
                    <a:pt x="10236" y="63974"/>
                    <a:pt x="26101" y="79839"/>
                    <a:pt x="45038" y="79839"/>
                  </a:cubicBezTo>
                  <a:cubicBezTo>
                    <a:pt x="63974" y="79839"/>
                    <a:pt x="79839" y="63974"/>
                    <a:pt x="79839" y="45038"/>
                  </a:cubicBezTo>
                  <a:cubicBezTo>
                    <a:pt x="79839" y="26101"/>
                    <a:pt x="64486" y="10236"/>
                    <a:pt x="45038" y="10236"/>
                  </a:cubicBezTo>
                  <a:close/>
                </a:path>
              </a:pathLst>
            </a:custGeom>
            <a:grpFill/>
            <a:ln w="511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22" name="Freeform: Shape 221">
              <a:extLst>
                <a:ext uri="{FF2B5EF4-FFF2-40B4-BE49-F238E27FC236}">
                  <a16:creationId xmlns:a16="http://schemas.microsoft.com/office/drawing/2014/main" id="{B0E7B5DE-215C-4CCC-9312-C2FE90886220}"/>
                </a:ext>
              </a:extLst>
            </p:cNvPr>
            <p:cNvSpPr/>
            <p:nvPr/>
          </p:nvSpPr>
          <p:spPr>
            <a:xfrm>
              <a:off x="7939471" y="784575"/>
              <a:ext cx="47084" cy="47084"/>
            </a:xfrm>
            <a:custGeom>
              <a:avLst/>
              <a:gdLst>
                <a:gd name="connsiteX0" fmla="*/ 47085 w 47084"/>
                <a:gd name="connsiteY0" fmla="*/ 23542 h 47084"/>
                <a:gd name="connsiteX1" fmla="*/ 23543 w 47084"/>
                <a:gd name="connsiteY1" fmla="*/ 47085 h 47084"/>
                <a:gd name="connsiteX2" fmla="*/ 0 w 47084"/>
                <a:gd name="connsiteY2" fmla="*/ 23542 h 47084"/>
                <a:gd name="connsiteX3" fmla="*/ 23543 w 47084"/>
                <a:gd name="connsiteY3" fmla="*/ 0 h 47084"/>
                <a:gd name="connsiteX4" fmla="*/ 47085 w 47084"/>
                <a:gd name="connsiteY4" fmla="*/ 23542 h 47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084" h="47084">
                  <a:moveTo>
                    <a:pt x="47085" y="23542"/>
                  </a:moveTo>
                  <a:cubicBezTo>
                    <a:pt x="47085" y="36544"/>
                    <a:pt x="36545" y="47085"/>
                    <a:pt x="23543" y="47085"/>
                  </a:cubicBezTo>
                  <a:cubicBezTo>
                    <a:pt x="10540" y="47085"/>
                    <a:pt x="0" y="36544"/>
                    <a:pt x="0" y="23542"/>
                  </a:cubicBezTo>
                  <a:cubicBezTo>
                    <a:pt x="0" y="10540"/>
                    <a:pt x="10541" y="0"/>
                    <a:pt x="23543" y="0"/>
                  </a:cubicBezTo>
                  <a:cubicBezTo>
                    <a:pt x="36545" y="0"/>
                    <a:pt x="47085" y="10540"/>
                    <a:pt x="47085" y="23542"/>
                  </a:cubicBezTo>
                  <a:close/>
                </a:path>
              </a:pathLst>
            </a:custGeom>
            <a:grpFill/>
            <a:ln w="511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23" name="Freeform: Shape 222">
              <a:extLst>
                <a:ext uri="{FF2B5EF4-FFF2-40B4-BE49-F238E27FC236}">
                  <a16:creationId xmlns:a16="http://schemas.microsoft.com/office/drawing/2014/main" id="{17BCD464-D863-4E5A-A177-AEBD2056B6C9}"/>
                </a:ext>
              </a:extLst>
            </p:cNvPr>
            <p:cNvSpPr/>
            <p:nvPr/>
          </p:nvSpPr>
          <p:spPr>
            <a:xfrm>
              <a:off x="7722471" y="565529"/>
              <a:ext cx="373095" cy="425298"/>
            </a:xfrm>
            <a:custGeom>
              <a:avLst/>
              <a:gdLst>
                <a:gd name="connsiteX0" fmla="*/ 351600 w 373095"/>
                <a:gd name="connsiteY0" fmla="*/ 0 h 425298"/>
                <a:gd name="connsiteX1" fmla="*/ 20472 w 373095"/>
                <a:gd name="connsiteY1" fmla="*/ 0 h 425298"/>
                <a:gd name="connsiteX2" fmla="*/ 0 w 373095"/>
                <a:gd name="connsiteY2" fmla="*/ 20472 h 425298"/>
                <a:gd name="connsiteX3" fmla="*/ 0 w 373095"/>
                <a:gd name="connsiteY3" fmla="*/ 351600 h 425298"/>
                <a:gd name="connsiteX4" fmla="*/ 20472 w 373095"/>
                <a:gd name="connsiteY4" fmla="*/ 372072 h 425298"/>
                <a:gd name="connsiteX5" fmla="*/ 53226 w 373095"/>
                <a:gd name="connsiteY5" fmla="*/ 372072 h 425298"/>
                <a:gd name="connsiteX6" fmla="*/ 53226 w 373095"/>
                <a:gd name="connsiteY6" fmla="*/ 409945 h 425298"/>
                <a:gd name="connsiteX7" fmla="*/ 68580 w 373095"/>
                <a:gd name="connsiteY7" fmla="*/ 425298 h 425298"/>
                <a:gd name="connsiteX8" fmla="*/ 101335 w 373095"/>
                <a:gd name="connsiteY8" fmla="*/ 425298 h 425298"/>
                <a:gd name="connsiteX9" fmla="*/ 116688 w 373095"/>
                <a:gd name="connsiteY9" fmla="*/ 409945 h 425298"/>
                <a:gd name="connsiteX10" fmla="*/ 116688 w 373095"/>
                <a:gd name="connsiteY10" fmla="*/ 372072 h 425298"/>
                <a:gd name="connsiteX11" fmla="*/ 256407 w 373095"/>
                <a:gd name="connsiteY11" fmla="*/ 372072 h 425298"/>
                <a:gd name="connsiteX12" fmla="*/ 256407 w 373095"/>
                <a:gd name="connsiteY12" fmla="*/ 409945 h 425298"/>
                <a:gd name="connsiteX13" fmla="*/ 271761 w 373095"/>
                <a:gd name="connsiteY13" fmla="*/ 425298 h 425298"/>
                <a:gd name="connsiteX14" fmla="*/ 304516 w 373095"/>
                <a:gd name="connsiteY14" fmla="*/ 425298 h 425298"/>
                <a:gd name="connsiteX15" fmla="*/ 319869 w 373095"/>
                <a:gd name="connsiteY15" fmla="*/ 409945 h 425298"/>
                <a:gd name="connsiteX16" fmla="*/ 319869 w 373095"/>
                <a:gd name="connsiteY16" fmla="*/ 372072 h 425298"/>
                <a:gd name="connsiteX17" fmla="*/ 352624 w 373095"/>
                <a:gd name="connsiteY17" fmla="*/ 372072 h 425298"/>
                <a:gd name="connsiteX18" fmla="*/ 373096 w 373095"/>
                <a:gd name="connsiteY18" fmla="*/ 351600 h 425298"/>
                <a:gd name="connsiteX19" fmla="*/ 373096 w 373095"/>
                <a:gd name="connsiteY19" fmla="*/ 20472 h 425298"/>
                <a:gd name="connsiteX20" fmla="*/ 351600 w 373095"/>
                <a:gd name="connsiteY20" fmla="*/ 0 h 425298"/>
                <a:gd name="connsiteX21" fmla="*/ 57832 w 373095"/>
                <a:gd name="connsiteY21" fmla="*/ 73186 h 425298"/>
                <a:gd name="connsiteX22" fmla="*/ 73186 w 373095"/>
                <a:gd name="connsiteY22" fmla="*/ 57832 h 425298"/>
                <a:gd name="connsiteX23" fmla="*/ 298374 w 373095"/>
                <a:gd name="connsiteY23" fmla="*/ 57832 h 425298"/>
                <a:gd name="connsiteX24" fmla="*/ 313728 w 373095"/>
                <a:gd name="connsiteY24" fmla="*/ 73186 h 425298"/>
                <a:gd name="connsiteX25" fmla="*/ 313728 w 373095"/>
                <a:gd name="connsiteY25" fmla="*/ 298374 h 425298"/>
                <a:gd name="connsiteX26" fmla="*/ 298374 w 373095"/>
                <a:gd name="connsiteY26" fmla="*/ 313728 h 425298"/>
                <a:gd name="connsiteX27" fmla="*/ 73186 w 373095"/>
                <a:gd name="connsiteY27" fmla="*/ 313728 h 425298"/>
                <a:gd name="connsiteX28" fmla="*/ 57832 w 373095"/>
                <a:gd name="connsiteY28" fmla="*/ 298374 h 425298"/>
                <a:gd name="connsiteX29" fmla="*/ 57832 w 373095"/>
                <a:gd name="connsiteY29" fmla="*/ 73186 h 425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373095" h="425298">
                  <a:moveTo>
                    <a:pt x="351600" y="0"/>
                  </a:moveTo>
                  <a:lnTo>
                    <a:pt x="20472" y="0"/>
                  </a:lnTo>
                  <a:cubicBezTo>
                    <a:pt x="9212" y="0"/>
                    <a:pt x="0" y="9212"/>
                    <a:pt x="0" y="20472"/>
                  </a:cubicBezTo>
                  <a:lnTo>
                    <a:pt x="0" y="351600"/>
                  </a:lnTo>
                  <a:cubicBezTo>
                    <a:pt x="0" y="362860"/>
                    <a:pt x="9212" y="372072"/>
                    <a:pt x="20472" y="372072"/>
                  </a:cubicBezTo>
                  <a:lnTo>
                    <a:pt x="53226" y="372072"/>
                  </a:lnTo>
                  <a:lnTo>
                    <a:pt x="53226" y="409945"/>
                  </a:lnTo>
                  <a:cubicBezTo>
                    <a:pt x="53226" y="418645"/>
                    <a:pt x="59880" y="425298"/>
                    <a:pt x="68580" y="425298"/>
                  </a:cubicBezTo>
                  <a:lnTo>
                    <a:pt x="101335" y="425298"/>
                  </a:lnTo>
                  <a:cubicBezTo>
                    <a:pt x="110035" y="425298"/>
                    <a:pt x="116688" y="418645"/>
                    <a:pt x="116688" y="409945"/>
                  </a:cubicBezTo>
                  <a:lnTo>
                    <a:pt x="116688" y="372072"/>
                  </a:lnTo>
                  <a:lnTo>
                    <a:pt x="256407" y="372072"/>
                  </a:lnTo>
                  <a:lnTo>
                    <a:pt x="256407" y="409945"/>
                  </a:lnTo>
                  <a:cubicBezTo>
                    <a:pt x="256407" y="418645"/>
                    <a:pt x="263061" y="425298"/>
                    <a:pt x="271761" y="425298"/>
                  </a:cubicBezTo>
                  <a:lnTo>
                    <a:pt x="304516" y="425298"/>
                  </a:lnTo>
                  <a:cubicBezTo>
                    <a:pt x="313216" y="425298"/>
                    <a:pt x="319869" y="418645"/>
                    <a:pt x="319869" y="409945"/>
                  </a:cubicBezTo>
                  <a:lnTo>
                    <a:pt x="319869" y="372072"/>
                  </a:lnTo>
                  <a:lnTo>
                    <a:pt x="352624" y="372072"/>
                  </a:lnTo>
                  <a:cubicBezTo>
                    <a:pt x="363884" y="372072"/>
                    <a:pt x="373096" y="362860"/>
                    <a:pt x="373096" y="351600"/>
                  </a:cubicBezTo>
                  <a:lnTo>
                    <a:pt x="373096" y="20472"/>
                  </a:lnTo>
                  <a:cubicBezTo>
                    <a:pt x="372072" y="9212"/>
                    <a:pt x="362860" y="0"/>
                    <a:pt x="351600" y="0"/>
                  </a:cubicBezTo>
                  <a:close/>
                  <a:moveTo>
                    <a:pt x="57832" y="73186"/>
                  </a:moveTo>
                  <a:cubicBezTo>
                    <a:pt x="57832" y="64486"/>
                    <a:pt x="64486" y="57832"/>
                    <a:pt x="73186" y="57832"/>
                  </a:cubicBezTo>
                  <a:lnTo>
                    <a:pt x="298374" y="57832"/>
                  </a:lnTo>
                  <a:cubicBezTo>
                    <a:pt x="307075" y="57832"/>
                    <a:pt x="313728" y="64486"/>
                    <a:pt x="313728" y="73186"/>
                  </a:cubicBezTo>
                  <a:lnTo>
                    <a:pt x="313728" y="298374"/>
                  </a:lnTo>
                  <a:cubicBezTo>
                    <a:pt x="313728" y="307075"/>
                    <a:pt x="307075" y="313728"/>
                    <a:pt x="298374" y="313728"/>
                  </a:cubicBezTo>
                  <a:lnTo>
                    <a:pt x="73186" y="313728"/>
                  </a:lnTo>
                  <a:cubicBezTo>
                    <a:pt x="64486" y="313728"/>
                    <a:pt x="57832" y="307075"/>
                    <a:pt x="57832" y="298374"/>
                  </a:cubicBezTo>
                  <a:lnTo>
                    <a:pt x="57832" y="73186"/>
                  </a:lnTo>
                  <a:close/>
                </a:path>
              </a:pathLst>
            </a:custGeom>
            <a:grpFill/>
            <a:ln w="511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grpSp>
        <p:nvGrpSpPr>
          <p:cNvPr id="124" name="Graphic 1">
            <a:extLst>
              <a:ext uri="{FF2B5EF4-FFF2-40B4-BE49-F238E27FC236}">
                <a16:creationId xmlns:a16="http://schemas.microsoft.com/office/drawing/2014/main" id="{11ED4845-5A0A-4FDD-930A-1288CBAF74E7}"/>
              </a:ext>
            </a:extLst>
          </p:cNvPr>
          <p:cNvGrpSpPr/>
          <p:nvPr/>
        </p:nvGrpSpPr>
        <p:grpSpPr>
          <a:xfrm>
            <a:off x="4003247" y="3065995"/>
            <a:ext cx="406390" cy="297476"/>
            <a:chOff x="3586688" y="640250"/>
            <a:chExt cx="433486" cy="317310"/>
          </a:xfrm>
          <a:solidFill>
            <a:schemeClr val="bg2"/>
          </a:solidFill>
        </p:grpSpPr>
        <p:sp>
          <p:nvSpPr>
            <p:cNvPr id="125" name="Freeform: Shape 224">
              <a:extLst>
                <a:ext uri="{FF2B5EF4-FFF2-40B4-BE49-F238E27FC236}">
                  <a16:creationId xmlns:a16="http://schemas.microsoft.com/office/drawing/2014/main" id="{EF1F5F3F-27DA-4854-927E-A985D4D54044}"/>
                </a:ext>
              </a:extLst>
            </p:cNvPr>
            <p:cNvSpPr/>
            <p:nvPr/>
          </p:nvSpPr>
          <p:spPr>
            <a:xfrm>
              <a:off x="3617396" y="640250"/>
              <a:ext cx="372072" cy="266131"/>
            </a:xfrm>
            <a:custGeom>
              <a:avLst/>
              <a:gdLst>
                <a:gd name="connsiteX0" fmla="*/ 356718 w 372072"/>
                <a:gd name="connsiteY0" fmla="*/ 0 h 266131"/>
                <a:gd name="connsiteX1" fmla="*/ 15354 w 372072"/>
                <a:gd name="connsiteY1" fmla="*/ 0 h 266131"/>
                <a:gd name="connsiteX2" fmla="*/ 0 w 372072"/>
                <a:gd name="connsiteY2" fmla="*/ 15354 h 266131"/>
                <a:gd name="connsiteX3" fmla="*/ 0 w 372072"/>
                <a:gd name="connsiteY3" fmla="*/ 266131 h 266131"/>
                <a:gd name="connsiteX4" fmla="*/ 372072 w 372072"/>
                <a:gd name="connsiteY4" fmla="*/ 266131 h 266131"/>
                <a:gd name="connsiteX5" fmla="*/ 372072 w 372072"/>
                <a:gd name="connsiteY5" fmla="*/ 15354 h 266131"/>
                <a:gd name="connsiteX6" fmla="*/ 356718 w 372072"/>
                <a:gd name="connsiteY6" fmla="*/ 0 h 266131"/>
                <a:gd name="connsiteX7" fmla="*/ 344435 w 372072"/>
                <a:gd name="connsiteY7" fmla="*/ 231330 h 266131"/>
                <a:gd name="connsiteX8" fmla="*/ 329082 w 372072"/>
                <a:gd name="connsiteY8" fmla="*/ 246683 h 266131"/>
                <a:gd name="connsiteX9" fmla="*/ 42479 w 372072"/>
                <a:gd name="connsiteY9" fmla="*/ 246683 h 266131"/>
                <a:gd name="connsiteX10" fmla="*/ 27125 w 372072"/>
                <a:gd name="connsiteY10" fmla="*/ 231330 h 266131"/>
                <a:gd name="connsiteX11" fmla="*/ 27125 w 372072"/>
                <a:gd name="connsiteY11" fmla="*/ 34802 h 266131"/>
                <a:gd name="connsiteX12" fmla="*/ 42479 w 372072"/>
                <a:gd name="connsiteY12" fmla="*/ 19448 h 266131"/>
                <a:gd name="connsiteX13" fmla="*/ 329082 w 372072"/>
                <a:gd name="connsiteY13" fmla="*/ 19448 h 266131"/>
                <a:gd name="connsiteX14" fmla="*/ 344435 w 372072"/>
                <a:gd name="connsiteY14" fmla="*/ 34802 h 266131"/>
                <a:gd name="connsiteX15" fmla="*/ 344435 w 372072"/>
                <a:gd name="connsiteY15" fmla="*/ 231330 h 2661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72072" h="266131">
                  <a:moveTo>
                    <a:pt x="356718" y="0"/>
                  </a:moveTo>
                  <a:lnTo>
                    <a:pt x="15354" y="0"/>
                  </a:lnTo>
                  <a:cubicBezTo>
                    <a:pt x="6653" y="0"/>
                    <a:pt x="0" y="6653"/>
                    <a:pt x="0" y="15354"/>
                  </a:cubicBezTo>
                  <a:lnTo>
                    <a:pt x="0" y="266131"/>
                  </a:lnTo>
                  <a:lnTo>
                    <a:pt x="372072" y="266131"/>
                  </a:lnTo>
                  <a:lnTo>
                    <a:pt x="372072" y="15354"/>
                  </a:lnTo>
                  <a:cubicBezTo>
                    <a:pt x="372072" y="6653"/>
                    <a:pt x="365419" y="0"/>
                    <a:pt x="356718" y="0"/>
                  </a:cubicBezTo>
                  <a:close/>
                  <a:moveTo>
                    <a:pt x="344435" y="231330"/>
                  </a:moveTo>
                  <a:cubicBezTo>
                    <a:pt x="344435" y="240030"/>
                    <a:pt x="337782" y="246683"/>
                    <a:pt x="329082" y="246683"/>
                  </a:cubicBezTo>
                  <a:lnTo>
                    <a:pt x="42479" y="246683"/>
                  </a:lnTo>
                  <a:cubicBezTo>
                    <a:pt x="33778" y="246683"/>
                    <a:pt x="27125" y="240030"/>
                    <a:pt x="27125" y="231330"/>
                  </a:cubicBezTo>
                  <a:lnTo>
                    <a:pt x="27125" y="34802"/>
                  </a:lnTo>
                  <a:cubicBezTo>
                    <a:pt x="27125" y="26101"/>
                    <a:pt x="33778" y="19448"/>
                    <a:pt x="42479" y="19448"/>
                  </a:cubicBezTo>
                  <a:lnTo>
                    <a:pt x="329082" y="19448"/>
                  </a:lnTo>
                  <a:cubicBezTo>
                    <a:pt x="337782" y="19448"/>
                    <a:pt x="344435" y="26101"/>
                    <a:pt x="344435" y="34802"/>
                  </a:cubicBezTo>
                  <a:lnTo>
                    <a:pt x="344435" y="231330"/>
                  </a:lnTo>
                  <a:close/>
                </a:path>
              </a:pathLst>
            </a:custGeom>
            <a:grpFill/>
            <a:ln w="511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26" name="Freeform: Shape 225">
              <a:extLst>
                <a:ext uri="{FF2B5EF4-FFF2-40B4-BE49-F238E27FC236}">
                  <a16:creationId xmlns:a16="http://schemas.microsoft.com/office/drawing/2014/main" id="{6CFDB914-3668-4AA4-A4BF-D72F07666C2C}"/>
                </a:ext>
              </a:extLst>
            </p:cNvPr>
            <p:cNvSpPr/>
            <p:nvPr/>
          </p:nvSpPr>
          <p:spPr>
            <a:xfrm>
              <a:off x="3586688" y="920712"/>
              <a:ext cx="433486" cy="36849"/>
            </a:xfrm>
            <a:custGeom>
              <a:avLst/>
              <a:gdLst>
                <a:gd name="connsiteX0" fmla="*/ 418133 w 433486"/>
                <a:gd name="connsiteY0" fmla="*/ 0 h 36849"/>
                <a:gd name="connsiteX1" fmla="*/ 15354 w 433486"/>
                <a:gd name="connsiteY1" fmla="*/ 0 h 36849"/>
                <a:gd name="connsiteX2" fmla="*/ 0 w 433486"/>
                <a:gd name="connsiteY2" fmla="*/ 15354 h 36849"/>
                <a:gd name="connsiteX3" fmla="*/ 0 w 433486"/>
                <a:gd name="connsiteY3" fmla="*/ 21495 h 36849"/>
                <a:gd name="connsiteX4" fmla="*/ 15354 w 433486"/>
                <a:gd name="connsiteY4" fmla="*/ 36849 h 36849"/>
                <a:gd name="connsiteX5" fmla="*/ 418133 w 433486"/>
                <a:gd name="connsiteY5" fmla="*/ 36849 h 36849"/>
                <a:gd name="connsiteX6" fmla="*/ 433487 w 433486"/>
                <a:gd name="connsiteY6" fmla="*/ 21495 h 36849"/>
                <a:gd name="connsiteX7" fmla="*/ 433487 w 433486"/>
                <a:gd name="connsiteY7" fmla="*/ 15354 h 36849"/>
                <a:gd name="connsiteX8" fmla="*/ 418133 w 433486"/>
                <a:gd name="connsiteY8" fmla="*/ 0 h 36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3486" h="36849">
                  <a:moveTo>
                    <a:pt x="418133" y="0"/>
                  </a:moveTo>
                  <a:lnTo>
                    <a:pt x="15354" y="0"/>
                  </a:lnTo>
                  <a:cubicBezTo>
                    <a:pt x="6653" y="0"/>
                    <a:pt x="0" y="6653"/>
                    <a:pt x="0" y="15354"/>
                  </a:cubicBezTo>
                  <a:lnTo>
                    <a:pt x="0" y="21495"/>
                  </a:lnTo>
                  <a:cubicBezTo>
                    <a:pt x="0" y="30196"/>
                    <a:pt x="6653" y="36849"/>
                    <a:pt x="15354" y="36849"/>
                  </a:cubicBezTo>
                  <a:lnTo>
                    <a:pt x="418133" y="36849"/>
                  </a:lnTo>
                  <a:cubicBezTo>
                    <a:pt x="426834" y="36849"/>
                    <a:pt x="433487" y="30196"/>
                    <a:pt x="433487" y="21495"/>
                  </a:cubicBezTo>
                  <a:lnTo>
                    <a:pt x="433487" y="15354"/>
                  </a:lnTo>
                  <a:cubicBezTo>
                    <a:pt x="433487" y="7165"/>
                    <a:pt x="426834" y="0"/>
                    <a:pt x="418133" y="0"/>
                  </a:cubicBezTo>
                  <a:close/>
                </a:path>
              </a:pathLst>
            </a:custGeom>
            <a:grpFill/>
            <a:ln w="511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27" name="Freeform: Shape 226">
              <a:extLst>
                <a:ext uri="{FF2B5EF4-FFF2-40B4-BE49-F238E27FC236}">
                  <a16:creationId xmlns:a16="http://schemas.microsoft.com/office/drawing/2014/main" id="{70139228-309F-46E6-9958-47DCC06AACED}"/>
                </a:ext>
              </a:extLst>
            </p:cNvPr>
            <p:cNvSpPr/>
            <p:nvPr/>
          </p:nvSpPr>
          <p:spPr>
            <a:xfrm>
              <a:off x="3673181" y="860832"/>
              <a:ext cx="260501" cy="5117"/>
            </a:xfrm>
            <a:custGeom>
              <a:avLst/>
              <a:gdLst>
                <a:gd name="connsiteX0" fmla="*/ 257943 w 260501"/>
                <a:gd name="connsiteY0" fmla="*/ 5118 h 5117"/>
                <a:gd name="connsiteX1" fmla="*/ 2559 w 260501"/>
                <a:gd name="connsiteY1" fmla="*/ 5118 h 5117"/>
                <a:gd name="connsiteX2" fmla="*/ 0 w 260501"/>
                <a:gd name="connsiteY2" fmla="*/ 2559 h 5117"/>
                <a:gd name="connsiteX3" fmla="*/ 2559 w 260501"/>
                <a:gd name="connsiteY3" fmla="*/ 0 h 5117"/>
                <a:gd name="connsiteX4" fmla="*/ 257943 w 260501"/>
                <a:gd name="connsiteY4" fmla="*/ 0 h 5117"/>
                <a:gd name="connsiteX5" fmla="*/ 260502 w 260501"/>
                <a:gd name="connsiteY5" fmla="*/ 2559 h 5117"/>
                <a:gd name="connsiteX6" fmla="*/ 257943 w 260501"/>
                <a:gd name="connsiteY6" fmla="*/ 5118 h 51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0501" h="5117">
                  <a:moveTo>
                    <a:pt x="257943" y="5118"/>
                  </a:moveTo>
                  <a:lnTo>
                    <a:pt x="2559" y="5118"/>
                  </a:lnTo>
                  <a:cubicBezTo>
                    <a:pt x="1024" y="5118"/>
                    <a:pt x="0" y="4094"/>
                    <a:pt x="0" y="2559"/>
                  </a:cubicBezTo>
                  <a:cubicBezTo>
                    <a:pt x="0" y="1024"/>
                    <a:pt x="1024" y="0"/>
                    <a:pt x="2559" y="0"/>
                  </a:cubicBezTo>
                  <a:lnTo>
                    <a:pt x="257943" y="0"/>
                  </a:lnTo>
                  <a:cubicBezTo>
                    <a:pt x="259478" y="0"/>
                    <a:pt x="260502" y="1024"/>
                    <a:pt x="260502" y="2559"/>
                  </a:cubicBezTo>
                  <a:cubicBezTo>
                    <a:pt x="260502" y="4094"/>
                    <a:pt x="259478" y="5118"/>
                    <a:pt x="257943" y="5118"/>
                  </a:cubicBezTo>
                  <a:close/>
                </a:path>
              </a:pathLst>
            </a:custGeom>
            <a:grpFill/>
            <a:ln w="511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nvGrpSpPr>
            <p:cNvPr id="128" name="Graphic 1">
              <a:extLst>
                <a:ext uri="{FF2B5EF4-FFF2-40B4-BE49-F238E27FC236}">
                  <a16:creationId xmlns:a16="http://schemas.microsoft.com/office/drawing/2014/main" id="{09E45556-0ACC-4E53-A5FB-32F638EE7450}"/>
                </a:ext>
              </a:extLst>
            </p:cNvPr>
            <p:cNvGrpSpPr/>
            <p:nvPr/>
          </p:nvGrpSpPr>
          <p:grpSpPr>
            <a:xfrm>
              <a:off x="3686487" y="680170"/>
              <a:ext cx="233888" cy="161726"/>
              <a:chOff x="3686487" y="680170"/>
              <a:chExt cx="233888" cy="161726"/>
            </a:xfrm>
            <a:grpFill/>
          </p:grpSpPr>
          <p:sp>
            <p:nvSpPr>
              <p:cNvPr id="129" name="Freeform: Shape 228">
                <a:extLst>
                  <a:ext uri="{FF2B5EF4-FFF2-40B4-BE49-F238E27FC236}">
                    <a16:creationId xmlns:a16="http://schemas.microsoft.com/office/drawing/2014/main" id="{7391573F-A244-4FB3-9C49-804420395D6F}"/>
                  </a:ext>
                </a:extLst>
              </p:cNvPr>
              <p:cNvSpPr/>
              <p:nvPr/>
            </p:nvSpPr>
            <p:spPr>
              <a:xfrm>
                <a:off x="3686487" y="805047"/>
                <a:ext cx="42478" cy="36848"/>
              </a:xfrm>
              <a:custGeom>
                <a:avLst/>
                <a:gdLst>
                  <a:gd name="connsiteX0" fmla="*/ 39920 w 42478"/>
                  <a:gd name="connsiteY0" fmla="*/ 0 h 36848"/>
                  <a:gd name="connsiteX1" fmla="*/ 2559 w 42478"/>
                  <a:gd name="connsiteY1" fmla="*/ 0 h 36848"/>
                  <a:gd name="connsiteX2" fmla="*/ 0 w 42478"/>
                  <a:gd name="connsiteY2" fmla="*/ 2559 h 36848"/>
                  <a:gd name="connsiteX3" fmla="*/ 0 w 42478"/>
                  <a:gd name="connsiteY3" fmla="*/ 34290 h 36848"/>
                  <a:gd name="connsiteX4" fmla="*/ 2559 w 42478"/>
                  <a:gd name="connsiteY4" fmla="*/ 36849 h 36848"/>
                  <a:gd name="connsiteX5" fmla="*/ 39920 w 42478"/>
                  <a:gd name="connsiteY5" fmla="*/ 36849 h 36848"/>
                  <a:gd name="connsiteX6" fmla="*/ 42479 w 42478"/>
                  <a:gd name="connsiteY6" fmla="*/ 34290 h 36848"/>
                  <a:gd name="connsiteX7" fmla="*/ 42479 w 42478"/>
                  <a:gd name="connsiteY7" fmla="*/ 2559 h 36848"/>
                  <a:gd name="connsiteX8" fmla="*/ 39920 w 42478"/>
                  <a:gd name="connsiteY8" fmla="*/ 0 h 36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478" h="36848">
                    <a:moveTo>
                      <a:pt x="39920" y="0"/>
                    </a:moveTo>
                    <a:lnTo>
                      <a:pt x="2559" y="0"/>
                    </a:lnTo>
                    <a:cubicBezTo>
                      <a:pt x="1024" y="0"/>
                      <a:pt x="0" y="1024"/>
                      <a:pt x="0" y="2559"/>
                    </a:cubicBezTo>
                    <a:lnTo>
                      <a:pt x="0" y="34290"/>
                    </a:lnTo>
                    <a:cubicBezTo>
                      <a:pt x="0" y="35825"/>
                      <a:pt x="1024" y="36849"/>
                      <a:pt x="2559" y="36849"/>
                    </a:cubicBezTo>
                    <a:lnTo>
                      <a:pt x="39920" y="36849"/>
                    </a:lnTo>
                    <a:cubicBezTo>
                      <a:pt x="41455" y="36849"/>
                      <a:pt x="42479" y="35825"/>
                      <a:pt x="42479" y="34290"/>
                    </a:cubicBezTo>
                    <a:lnTo>
                      <a:pt x="42479" y="2559"/>
                    </a:lnTo>
                    <a:cubicBezTo>
                      <a:pt x="42479" y="1024"/>
                      <a:pt x="41455" y="0"/>
                      <a:pt x="39920" y="0"/>
                    </a:cubicBezTo>
                    <a:close/>
                  </a:path>
                </a:pathLst>
              </a:custGeom>
              <a:grpFill/>
              <a:ln w="511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30" name="Freeform: Shape 229">
                <a:extLst>
                  <a:ext uri="{FF2B5EF4-FFF2-40B4-BE49-F238E27FC236}">
                    <a16:creationId xmlns:a16="http://schemas.microsoft.com/office/drawing/2014/main" id="{BC6F8080-5D5F-42D5-B36F-6E24AE955162}"/>
                  </a:ext>
                </a:extLst>
              </p:cNvPr>
              <p:cNvSpPr/>
              <p:nvPr/>
            </p:nvSpPr>
            <p:spPr>
              <a:xfrm>
                <a:off x="3877897" y="680170"/>
                <a:ext cx="42478" cy="161214"/>
              </a:xfrm>
              <a:custGeom>
                <a:avLst/>
                <a:gdLst>
                  <a:gd name="connsiteX0" fmla="*/ 39920 w 42478"/>
                  <a:gd name="connsiteY0" fmla="*/ 0 h 161214"/>
                  <a:gd name="connsiteX1" fmla="*/ 2559 w 42478"/>
                  <a:gd name="connsiteY1" fmla="*/ 0 h 161214"/>
                  <a:gd name="connsiteX2" fmla="*/ 0 w 42478"/>
                  <a:gd name="connsiteY2" fmla="*/ 2559 h 161214"/>
                  <a:gd name="connsiteX3" fmla="*/ 0 w 42478"/>
                  <a:gd name="connsiteY3" fmla="*/ 158655 h 161214"/>
                  <a:gd name="connsiteX4" fmla="*/ 2559 w 42478"/>
                  <a:gd name="connsiteY4" fmla="*/ 161214 h 161214"/>
                  <a:gd name="connsiteX5" fmla="*/ 39920 w 42478"/>
                  <a:gd name="connsiteY5" fmla="*/ 161214 h 161214"/>
                  <a:gd name="connsiteX6" fmla="*/ 42479 w 42478"/>
                  <a:gd name="connsiteY6" fmla="*/ 158655 h 161214"/>
                  <a:gd name="connsiteX7" fmla="*/ 42479 w 42478"/>
                  <a:gd name="connsiteY7" fmla="*/ 2559 h 161214"/>
                  <a:gd name="connsiteX8" fmla="*/ 39920 w 42478"/>
                  <a:gd name="connsiteY8" fmla="*/ 0 h 161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478" h="161214">
                    <a:moveTo>
                      <a:pt x="39920" y="0"/>
                    </a:moveTo>
                    <a:lnTo>
                      <a:pt x="2559" y="0"/>
                    </a:lnTo>
                    <a:cubicBezTo>
                      <a:pt x="1024" y="0"/>
                      <a:pt x="0" y="1024"/>
                      <a:pt x="0" y="2559"/>
                    </a:cubicBezTo>
                    <a:lnTo>
                      <a:pt x="0" y="158655"/>
                    </a:lnTo>
                    <a:cubicBezTo>
                      <a:pt x="0" y="160191"/>
                      <a:pt x="1024" y="161214"/>
                      <a:pt x="2559" y="161214"/>
                    </a:cubicBezTo>
                    <a:lnTo>
                      <a:pt x="39920" y="161214"/>
                    </a:lnTo>
                    <a:cubicBezTo>
                      <a:pt x="41455" y="161214"/>
                      <a:pt x="42479" y="160191"/>
                      <a:pt x="42479" y="158655"/>
                    </a:cubicBezTo>
                    <a:lnTo>
                      <a:pt x="42479" y="2559"/>
                    </a:lnTo>
                    <a:cubicBezTo>
                      <a:pt x="42479" y="1535"/>
                      <a:pt x="41455" y="0"/>
                      <a:pt x="39920" y="0"/>
                    </a:cubicBezTo>
                    <a:close/>
                  </a:path>
                </a:pathLst>
              </a:custGeom>
              <a:grpFill/>
              <a:ln w="511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31" name="Freeform: Shape 230">
                <a:extLst>
                  <a:ext uri="{FF2B5EF4-FFF2-40B4-BE49-F238E27FC236}">
                    <a16:creationId xmlns:a16="http://schemas.microsoft.com/office/drawing/2014/main" id="{985810E6-B666-4C99-93D1-F02502E21FAA}"/>
                  </a:ext>
                </a:extLst>
              </p:cNvPr>
              <p:cNvSpPr/>
              <p:nvPr/>
            </p:nvSpPr>
            <p:spPr>
              <a:xfrm>
                <a:off x="3813923" y="738514"/>
                <a:ext cx="42478" cy="100822"/>
              </a:xfrm>
              <a:custGeom>
                <a:avLst/>
                <a:gdLst>
                  <a:gd name="connsiteX0" fmla="*/ 39920 w 42478"/>
                  <a:gd name="connsiteY0" fmla="*/ 0 h 100822"/>
                  <a:gd name="connsiteX1" fmla="*/ 2559 w 42478"/>
                  <a:gd name="connsiteY1" fmla="*/ 0 h 100822"/>
                  <a:gd name="connsiteX2" fmla="*/ 0 w 42478"/>
                  <a:gd name="connsiteY2" fmla="*/ 2559 h 100822"/>
                  <a:gd name="connsiteX3" fmla="*/ 0 w 42478"/>
                  <a:gd name="connsiteY3" fmla="*/ 98264 h 100822"/>
                  <a:gd name="connsiteX4" fmla="*/ 2559 w 42478"/>
                  <a:gd name="connsiteY4" fmla="*/ 100823 h 100822"/>
                  <a:gd name="connsiteX5" fmla="*/ 39920 w 42478"/>
                  <a:gd name="connsiteY5" fmla="*/ 100823 h 100822"/>
                  <a:gd name="connsiteX6" fmla="*/ 42479 w 42478"/>
                  <a:gd name="connsiteY6" fmla="*/ 98264 h 100822"/>
                  <a:gd name="connsiteX7" fmla="*/ 42479 w 42478"/>
                  <a:gd name="connsiteY7" fmla="*/ 2559 h 100822"/>
                  <a:gd name="connsiteX8" fmla="*/ 39920 w 42478"/>
                  <a:gd name="connsiteY8" fmla="*/ 0 h 100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478" h="100822">
                    <a:moveTo>
                      <a:pt x="39920" y="0"/>
                    </a:moveTo>
                    <a:lnTo>
                      <a:pt x="2559" y="0"/>
                    </a:lnTo>
                    <a:cubicBezTo>
                      <a:pt x="1024" y="0"/>
                      <a:pt x="0" y="1024"/>
                      <a:pt x="0" y="2559"/>
                    </a:cubicBezTo>
                    <a:lnTo>
                      <a:pt x="0" y="98264"/>
                    </a:lnTo>
                    <a:cubicBezTo>
                      <a:pt x="0" y="99799"/>
                      <a:pt x="1024" y="100823"/>
                      <a:pt x="2559" y="100823"/>
                    </a:cubicBezTo>
                    <a:lnTo>
                      <a:pt x="39920" y="100823"/>
                    </a:lnTo>
                    <a:cubicBezTo>
                      <a:pt x="41455" y="100823"/>
                      <a:pt x="42479" y="99799"/>
                      <a:pt x="42479" y="98264"/>
                    </a:cubicBezTo>
                    <a:lnTo>
                      <a:pt x="42479" y="2559"/>
                    </a:lnTo>
                    <a:cubicBezTo>
                      <a:pt x="42479" y="1024"/>
                      <a:pt x="41455" y="0"/>
                      <a:pt x="39920" y="0"/>
                    </a:cubicBezTo>
                    <a:close/>
                  </a:path>
                </a:pathLst>
              </a:custGeom>
              <a:grpFill/>
              <a:ln w="511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32" name="Freeform: Shape 231">
                <a:extLst>
                  <a:ext uri="{FF2B5EF4-FFF2-40B4-BE49-F238E27FC236}">
                    <a16:creationId xmlns:a16="http://schemas.microsoft.com/office/drawing/2014/main" id="{0C7A782B-E66B-4B05-8CC6-4242050E6291}"/>
                  </a:ext>
                </a:extLst>
              </p:cNvPr>
              <p:cNvSpPr/>
              <p:nvPr/>
            </p:nvSpPr>
            <p:spPr>
              <a:xfrm>
                <a:off x="3750461" y="706783"/>
                <a:ext cx="42478" cy="133065"/>
              </a:xfrm>
              <a:custGeom>
                <a:avLst/>
                <a:gdLst>
                  <a:gd name="connsiteX0" fmla="*/ 39920 w 42478"/>
                  <a:gd name="connsiteY0" fmla="*/ 0 h 133065"/>
                  <a:gd name="connsiteX1" fmla="*/ 2559 w 42478"/>
                  <a:gd name="connsiteY1" fmla="*/ 0 h 133065"/>
                  <a:gd name="connsiteX2" fmla="*/ 0 w 42478"/>
                  <a:gd name="connsiteY2" fmla="*/ 2559 h 133065"/>
                  <a:gd name="connsiteX3" fmla="*/ 0 w 42478"/>
                  <a:gd name="connsiteY3" fmla="*/ 130507 h 133065"/>
                  <a:gd name="connsiteX4" fmla="*/ 2559 w 42478"/>
                  <a:gd name="connsiteY4" fmla="*/ 133066 h 133065"/>
                  <a:gd name="connsiteX5" fmla="*/ 39920 w 42478"/>
                  <a:gd name="connsiteY5" fmla="*/ 133066 h 133065"/>
                  <a:gd name="connsiteX6" fmla="*/ 42479 w 42478"/>
                  <a:gd name="connsiteY6" fmla="*/ 130507 h 133065"/>
                  <a:gd name="connsiteX7" fmla="*/ 42479 w 42478"/>
                  <a:gd name="connsiteY7" fmla="*/ 2559 h 133065"/>
                  <a:gd name="connsiteX8" fmla="*/ 39920 w 42478"/>
                  <a:gd name="connsiteY8" fmla="*/ 0 h 1330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478" h="133065">
                    <a:moveTo>
                      <a:pt x="39920" y="0"/>
                    </a:moveTo>
                    <a:lnTo>
                      <a:pt x="2559" y="0"/>
                    </a:lnTo>
                    <a:cubicBezTo>
                      <a:pt x="1024" y="0"/>
                      <a:pt x="0" y="1024"/>
                      <a:pt x="0" y="2559"/>
                    </a:cubicBezTo>
                    <a:lnTo>
                      <a:pt x="0" y="130507"/>
                    </a:lnTo>
                    <a:cubicBezTo>
                      <a:pt x="0" y="132042"/>
                      <a:pt x="1024" y="133066"/>
                      <a:pt x="2559" y="133066"/>
                    </a:cubicBezTo>
                    <a:lnTo>
                      <a:pt x="39920" y="133066"/>
                    </a:lnTo>
                    <a:cubicBezTo>
                      <a:pt x="41455" y="133066"/>
                      <a:pt x="42479" y="132042"/>
                      <a:pt x="42479" y="130507"/>
                    </a:cubicBezTo>
                    <a:lnTo>
                      <a:pt x="42479" y="2559"/>
                    </a:lnTo>
                    <a:cubicBezTo>
                      <a:pt x="42479" y="1024"/>
                      <a:pt x="41455" y="0"/>
                      <a:pt x="39920" y="0"/>
                    </a:cubicBezTo>
                    <a:close/>
                  </a:path>
                </a:pathLst>
              </a:custGeom>
              <a:grpFill/>
              <a:ln w="511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grpSp>
      <p:grpSp>
        <p:nvGrpSpPr>
          <p:cNvPr id="133" name="Graphic 1">
            <a:extLst>
              <a:ext uri="{FF2B5EF4-FFF2-40B4-BE49-F238E27FC236}">
                <a16:creationId xmlns:a16="http://schemas.microsoft.com/office/drawing/2014/main" id="{DA1E65DC-4A53-40A2-BB38-CAEAD36969A8}"/>
              </a:ext>
            </a:extLst>
          </p:cNvPr>
          <p:cNvGrpSpPr/>
          <p:nvPr/>
        </p:nvGrpSpPr>
        <p:grpSpPr>
          <a:xfrm>
            <a:off x="4018319" y="4335271"/>
            <a:ext cx="400632" cy="285000"/>
            <a:chOff x="3593342" y="1224204"/>
            <a:chExt cx="427345" cy="304003"/>
          </a:xfrm>
          <a:solidFill>
            <a:schemeClr val="bg2"/>
          </a:solidFill>
        </p:grpSpPr>
        <p:sp>
          <p:nvSpPr>
            <p:cNvPr id="134" name="Freeform: Shape 233">
              <a:extLst>
                <a:ext uri="{FF2B5EF4-FFF2-40B4-BE49-F238E27FC236}">
                  <a16:creationId xmlns:a16="http://schemas.microsoft.com/office/drawing/2014/main" id="{2A176A29-BCE2-4813-97B5-C5CCF43D5742}"/>
                </a:ext>
              </a:extLst>
            </p:cNvPr>
            <p:cNvSpPr/>
            <p:nvPr/>
          </p:nvSpPr>
          <p:spPr>
            <a:xfrm>
              <a:off x="3593342" y="1224204"/>
              <a:ext cx="150466" cy="149954"/>
            </a:xfrm>
            <a:custGeom>
              <a:avLst/>
              <a:gdLst>
                <a:gd name="connsiteX0" fmla="*/ 150467 w 150466"/>
                <a:gd name="connsiteY0" fmla="*/ 52714 h 149954"/>
                <a:gd name="connsiteX1" fmla="*/ 120271 w 150466"/>
                <a:gd name="connsiteY1" fmla="*/ 22519 h 149954"/>
                <a:gd name="connsiteX2" fmla="*/ 103894 w 150466"/>
                <a:gd name="connsiteY2" fmla="*/ 6141 h 149954"/>
                <a:gd name="connsiteX3" fmla="*/ 74721 w 150466"/>
                <a:gd name="connsiteY3" fmla="*/ 6141 h 149954"/>
                <a:gd name="connsiteX4" fmla="*/ 6141 w 150466"/>
                <a:gd name="connsiteY4" fmla="*/ 74722 h 149954"/>
                <a:gd name="connsiteX5" fmla="*/ 6141 w 150466"/>
                <a:gd name="connsiteY5" fmla="*/ 103894 h 149954"/>
                <a:gd name="connsiteX6" fmla="*/ 22007 w 150466"/>
                <a:gd name="connsiteY6" fmla="*/ 119247 h 149954"/>
                <a:gd name="connsiteX7" fmla="*/ 52714 w 150466"/>
                <a:gd name="connsiteY7" fmla="*/ 149955 h 149954"/>
                <a:gd name="connsiteX8" fmla="*/ 150467 w 150466"/>
                <a:gd name="connsiteY8" fmla="*/ 52714 h 149954"/>
                <a:gd name="connsiteX9" fmla="*/ 52714 w 150466"/>
                <a:gd name="connsiteY9" fmla="*/ 136136 h 149954"/>
                <a:gd name="connsiteX10" fmla="*/ 33266 w 150466"/>
                <a:gd name="connsiteY10" fmla="*/ 116688 h 149954"/>
                <a:gd name="connsiteX11" fmla="*/ 116688 w 150466"/>
                <a:gd name="connsiteY11" fmla="*/ 33266 h 149954"/>
                <a:gd name="connsiteX12" fmla="*/ 136136 w 150466"/>
                <a:gd name="connsiteY12" fmla="*/ 52714 h 149954"/>
                <a:gd name="connsiteX13" fmla="*/ 52714 w 150466"/>
                <a:gd name="connsiteY13" fmla="*/ 136136 h 1499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50466" h="149954">
                  <a:moveTo>
                    <a:pt x="150467" y="52714"/>
                  </a:moveTo>
                  <a:lnTo>
                    <a:pt x="120271" y="22519"/>
                  </a:lnTo>
                  <a:lnTo>
                    <a:pt x="103894" y="6141"/>
                  </a:lnTo>
                  <a:cubicBezTo>
                    <a:pt x="95705" y="-2047"/>
                    <a:pt x="82910" y="-2047"/>
                    <a:pt x="74721" y="6141"/>
                  </a:cubicBezTo>
                  <a:lnTo>
                    <a:pt x="6141" y="74722"/>
                  </a:lnTo>
                  <a:cubicBezTo>
                    <a:pt x="-2047" y="82910"/>
                    <a:pt x="-2047" y="95705"/>
                    <a:pt x="6141" y="103894"/>
                  </a:cubicBezTo>
                  <a:lnTo>
                    <a:pt x="22007" y="119247"/>
                  </a:lnTo>
                  <a:lnTo>
                    <a:pt x="52714" y="149955"/>
                  </a:lnTo>
                  <a:lnTo>
                    <a:pt x="150467" y="52714"/>
                  </a:lnTo>
                  <a:close/>
                  <a:moveTo>
                    <a:pt x="52714" y="136136"/>
                  </a:moveTo>
                  <a:lnTo>
                    <a:pt x="33266" y="116688"/>
                  </a:lnTo>
                  <a:lnTo>
                    <a:pt x="116688" y="33266"/>
                  </a:lnTo>
                  <a:lnTo>
                    <a:pt x="136136" y="52714"/>
                  </a:lnTo>
                  <a:lnTo>
                    <a:pt x="52714" y="136136"/>
                  </a:lnTo>
                  <a:close/>
                </a:path>
              </a:pathLst>
            </a:custGeom>
            <a:grpFill/>
            <a:ln w="511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35" name="Freeform: Shape 234">
              <a:extLst>
                <a:ext uri="{FF2B5EF4-FFF2-40B4-BE49-F238E27FC236}">
                  <a16:creationId xmlns:a16="http://schemas.microsoft.com/office/drawing/2014/main" id="{90AC7F7F-E26A-4CE3-9E4C-56426F367DA1}"/>
                </a:ext>
              </a:extLst>
            </p:cNvPr>
            <p:cNvSpPr/>
            <p:nvPr/>
          </p:nvSpPr>
          <p:spPr>
            <a:xfrm>
              <a:off x="3646056" y="1262588"/>
              <a:ext cx="237000" cy="265619"/>
            </a:xfrm>
            <a:custGeom>
              <a:avLst/>
              <a:gdLst>
                <a:gd name="connsiteX0" fmla="*/ 150467 w 237000"/>
                <a:gd name="connsiteY0" fmla="*/ 262549 h 265619"/>
                <a:gd name="connsiteX1" fmla="*/ 157632 w 237000"/>
                <a:gd name="connsiteY1" fmla="*/ 265620 h 265619"/>
                <a:gd name="connsiteX2" fmla="*/ 165308 w 237000"/>
                <a:gd name="connsiteY2" fmla="*/ 262549 h 265619"/>
                <a:gd name="connsiteX3" fmla="*/ 233888 w 237000"/>
                <a:gd name="connsiteY3" fmla="*/ 193969 h 265619"/>
                <a:gd name="connsiteX4" fmla="*/ 235936 w 237000"/>
                <a:gd name="connsiteY4" fmla="*/ 191410 h 265619"/>
                <a:gd name="connsiteX5" fmla="*/ 233888 w 237000"/>
                <a:gd name="connsiteY5" fmla="*/ 179639 h 265619"/>
                <a:gd name="connsiteX6" fmla="*/ 157632 w 237000"/>
                <a:gd name="connsiteY6" fmla="*/ 103382 h 265619"/>
                <a:gd name="connsiteX7" fmla="*/ 144837 w 237000"/>
                <a:gd name="connsiteY7" fmla="*/ 115665 h 265619"/>
                <a:gd name="connsiteX8" fmla="*/ 103894 w 237000"/>
                <a:gd name="connsiteY8" fmla="*/ 132554 h 265619"/>
                <a:gd name="connsiteX9" fmla="*/ 103894 w 237000"/>
                <a:gd name="connsiteY9" fmla="*/ 132554 h 265619"/>
                <a:gd name="connsiteX10" fmla="*/ 62950 w 237000"/>
                <a:gd name="connsiteY10" fmla="*/ 115665 h 265619"/>
                <a:gd name="connsiteX11" fmla="*/ 59368 w 237000"/>
                <a:gd name="connsiteY11" fmla="*/ 112082 h 265619"/>
                <a:gd name="connsiteX12" fmla="*/ 150467 w 237000"/>
                <a:gd name="connsiteY12" fmla="*/ 20983 h 265619"/>
                <a:gd name="connsiteX13" fmla="*/ 135625 w 237000"/>
                <a:gd name="connsiteY13" fmla="*/ 6141 h 265619"/>
                <a:gd name="connsiteX14" fmla="*/ 106453 w 237000"/>
                <a:gd name="connsiteY14" fmla="*/ 6141 h 265619"/>
                <a:gd name="connsiteX15" fmla="*/ 0 w 237000"/>
                <a:gd name="connsiteY15" fmla="*/ 112594 h 265619"/>
                <a:gd name="connsiteX16" fmla="*/ 78816 w 237000"/>
                <a:gd name="connsiteY16" fmla="*/ 190898 h 265619"/>
                <a:gd name="connsiteX17" fmla="*/ 150467 w 237000"/>
                <a:gd name="connsiteY17" fmla="*/ 262549 h 2656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37000" h="265619">
                  <a:moveTo>
                    <a:pt x="150467" y="262549"/>
                  </a:moveTo>
                  <a:cubicBezTo>
                    <a:pt x="152514" y="264596"/>
                    <a:pt x="154561" y="265620"/>
                    <a:pt x="157632" y="265620"/>
                  </a:cubicBezTo>
                  <a:cubicBezTo>
                    <a:pt x="160191" y="265620"/>
                    <a:pt x="163261" y="264596"/>
                    <a:pt x="165308" y="262549"/>
                  </a:cubicBezTo>
                  <a:lnTo>
                    <a:pt x="233888" y="193969"/>
                  </a:lnTo>
                  <a:cubicBezTo>
                    <a:pt x="234912" y="192945"/>
                    <a:pt x="235424" y="192433"/>
                    <a:pt x="235936" y="191410"/>
                  </a:cubicBezTo>
                  <a:cubicBezTo>
                    <a:pt x="237983" y="187315"/>
                    <a:pt x="236959" y="182709"/>
                    <a:pt x="233888" y="179639"/>
                  </a:cubicBezTo>
                  <a:lnTo>
                    <a:pt x="157632" y="103382"/>
                  </a:lnTo>
                  <a:lnTo>
                    <a:pt x="144837" y="115665"/>
                  </a:lnTo>
                  <a:cubicBezTo>
                    <a:pt x="134089" y="126412"/>
                    <a:pt x="119247" y="132554"/>
                    <a:pt x="103894" y="132554"/>
                  </a:cubicBezTo>
                  <a:cubicBezTo>
                    <a:pt x="103894" y="132554"/>
                    <a:pt x="103894" y="132554"/>
                    <a:pt x="103894" y="132554"/>
                  </a:cubicBezTo>
                  <a:cubicBezTo>
                    <a:pt x="88540" y="132554"/>
                    <a:pt x="73698" y="126412"/>
                    <a:pt x="62950" y="115665"/>
                  </a:cubicBezTo>
                  <a:lnTo>
                    <a:pt x="59368" y="112082"/>
                  </a:lnTo>
                  <a:lnTo>
                    <a:pt x="150467" y="20983"/>
                  </a:lnTo>
                  <a:lnTo>
                    <a:pt x="135625" y="6141"/>
                  </a:lnTo>
                  <a:cubicBezTo>
                    <a:pt x="127436" y="-2047"/>
                    <a:pt x="114641" y="-2047"/>
                    <a:pt x="106453" y="6141"/>
                  </a:cubicBezTo>
                  <a:lnTo>
                    <a:pt x="0" y="112594"/>
                  </a:lnTo>
                  <a:lnTo>
                    <a:pt x="78816" y="190898"/>
                  </a:lnTo>
                  <a:lnTo>
                    <a:pt x="150467" y="262549"/>
                  </a:lnTo>
                  <a:close/>
                </a:path>
              </a:pathLst>
            </a:custGeom>
            <a:grpFill/>
            <a:ln w="511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36" name="Freeform: Shape 235">
              <a:extLst>
                <a:ext uri="{FF2B5EF4-FFF2-40B4-BE49-F238E27FC236}">
                  <a16:creationId xmlns:a16="http://schemas.microsoft.com/office/drawing/2014/main" id="{4261E89F-4E6F-419C-A38A-EBBAED9A7F4E}"/>
                </a:ext>
              </a:extLst>
            </p:cNvPr>
            <p:cNvSpPr/>
            <p:nvPr/>
          </p:nvSpPr>
          <p:spPr>
            <a:xfrm>
              <a:off x="3686999" y="1271800"/>
              <a:ext cx="26101" cy="26101"/>
            </a:xfrm>
            <a:custGeom>
              <a:avLst/>
              <a:gdLst>
                <a:gd name="connsiteX0" fmla="*/ 5118 w 26101"/>
                <a:gd name="connsiteY0" fmla="*/ 26101 h 26101"/>
                <a:gd name="connsiteX1" fmla="*/ 1535 w 26101"/>
                <a:gd name="connsiteY1" fmla="*/ 24566 h 26101"/>
                <a:gd name="connsiteX2" fmla="*/ 1535 w 26101"/>
                <a:gd name="connsiteY2" fmla="*/ 17401 h 26101"/>
                <a:gd name="connsiteX3" fmla="*/ 17401 w 26101"/>
                <a:gd name="connsiteY3" fmla="*/ 1535 h 26101"/>
                <a:gd name="connsiteX4" fmla="*/ 24566 w 26101"/>
                <a:gd name="connsiteY4" fmla="*/ 1535 h 26101"/>
                <a:gd name="connsiteX5" fmla="*/ 24566 w 26101"/>
                <a:gd name="connsiteY5" fmla="*/ 8700 h 26101"/>
                <a:gd name="connsiteX6" fmla="*/ 8700 w 26101"/>
                <a:gd name="connsiteY6" fmla="*/ 24566 h 26101"/>
                <a:gd name="connsiteX7" fmla="*/ 5118 w 26101"/>
                <a:gd name="connsiteY7" fmla="*/ 26101 h 261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101" h="26101">
                  <a:moveTo>
                    <a:pt x="5118" y="26101"/>
                  </a:moveTo>
                  <a:cubicBezTo>
                    <a:pt x="3583" y="26101"/>
                    <a:pt x="2559" y="25590"/>
                    <a:pt x="1535" y="24566"/>
                  </a:cubicBezTo>
                  <a:cubicBezTo>
                    <a:pt x="-512" y="22519"/>
                    <a:pt x="-512" y="19448"/>
                    <a:pt x="1535" y="17401"/>
                  </a:cubicBezTo>
                  <a:lnTo>
                    <a:pt x="17401" y="1535"/>
                  </a:lnTo>
                  <a:cubicBezTo>
                    <a:pt x="19448" y="-512"/>
                    <a:pt x="22519" y="-512"/>
                    <a:pt x="24566" y="1535"/>
                  </a:cubicBezTo>
                  <a:cubicBezTo>
                    <a:pt x="26613" y="3583"/>
                    <a:pt x="26613" y="6653"/>
                    <a:pt x="24566" y="8700"/>
                  </a:cubicBezTo>
                  <a:lnTo>
                    <a:pt x="8700" y="24566"/>
                  </a:lnTo>
                  <a:cubicBezTo>
                    <a:pt x="7677" y="25590"/>
                    <a:pt x="6141" y="26101"/>
                    <a:pt x="5118" y="26101"/>
                  </a:cubicBezTo>
                  <a:close/>
                </a:path>
              </a:pathLst>
            </a:custGeom>
            <a:grpFill/>
            <a:ln w="511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37" name="Freeform: Shape 236">
              <a:extLst>
                <a:ext uri="{FF2B5EF4-FFF2-40B4-BE49-F238E27FC236}">
                  <a16:creationId xmlns:a16="http://schemas.microsoft.com/office/drawing/2014/main" id="{D3620288-ED45-4EBD-85F6-114C08E51796}"/>
                </a:ext>
              </a:extLst>
            </p:cNvPr>
            <p:cNvSpPr/>
            <p:nvPr/>
          </p:nvSpPr>
          <p:spPr>
            <a:xfrm>
              <a:off x="3895810" y="1275383"/>
              <a:ext cx="26101" cy="26101"/>
            </a:xfrm>
            <a:custGeom>
              <a:avLst/>
              <a:gdLst>
                <a:gd name="connsiteX0" fmla="*/ 20983 w 26101"/>
                <a:gd name="connsiteY0" fmla="*/ 26101 h 26101"/>
                <a:gd name="connsiteX1" fmla="*/ 17401 w 26101"/>
                <a:gd name="connsiteY1" fmla="*/ 24566 h 26101"/>
                <a:gd name="connsiteX2" fmla="*/ 1535 w 26101"/>
                <a:gd name="connsiteY2" fmla="*/ 8700 h 26101"/>
                <a:gd name="connsiteX3" fmla="*/ 1535 w 26101"/>
                <a:gd name="connsiteY3" fmla="*/ 1535 h 26101"/>
                <a:gd name="connsiteX4" fmla="*/ 8700 w 26101"/>
                <a:gd name="connsiteY4" fmla="*/ 1535 h 26101"/>
                <a:gd name="connsiteX5" fmla="*/ 24566 w 26101"/>
                <a:gd name="connsiteY5" fmla="*/ 17401 h 26101"/>
                <a:gd name="connsiteX6" fmla="*/ 24566 w 26101"/>
                <a:gd name="connsiteY6" fmla="*/ 24566 h 26101"/>
                <a:gd name="connsiteX7" fmla="*/ 20983 w 26101"/>
                <a:gd name="connsiteY7" fmla="*/ 26101 h 261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101" h="26101">
                  <a:moveTo>
                    <a:pt x="20983" y="26101"/>
                  </a:moveTo>
                  <a:cubicBezTo>
                    <a:pt x="19448" y="26101"/>
                    <a:pt x="18424" y="25590"/>
                    <a:pt x="17401" y="24566"/>
                  </a:cubicBezTo>
                  <a:lnTo>
                    <a:pt x="1535" y="8700"/>
                  </a:lnTo>
                  <a:cubicBezTo>
                    <a:pt x="-512" y="6653"/>
                    <a:pt x="-512" y="3582"/>
                    <a:pt x="1535" y="1535"/>
                  </a:cubicBezTo>
                  <a:cubicBezTo>
                    <a:pt x="3583" y="-512"/>
                    <a:pt x="6653" y="-512"/>
                    <a:pt x="8700" y="1535"/>
                  </a:cubicBezTo>
                  <a:lnTo>
                    <a:pt x="24566" y="17401"/>
                  </a:lnTo>
                  <a:cubicBezTo>
                    <a:pt x="26613" y="19448"/>
                    <a:pt x="26613" y="22519"/>
                    <a:pt x="24566" y="24566"/>
                  </a:cubicBezTo>
                  <a:cubicBezTo>
                    <a:pt x="23542" y="25590"/>
                    <a:pt x="22007" y="26101"/>
                    <a:pt x="20983" y="26101"/>
                  </a:cubicBezTo>
                  <a:close/>
                </a:path>
              </a:pathLst>
            </a:custGeom>
            <a:grpFill/>
            <a:ln w="511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38" name="Freeform: Shape 237">
              <a:extLst>
                <a:ext uri="{FF2B5EF4-FFF2-40B4-BE49-F238E27FC236}">
                  <a16:creationId xmlns:a16="http://schemas.microsoft.com/office/drawing/2014/main" id="{663FEE8A-B319-4CEB-8DE3-9AA554046460}"/>
                </a:ext>
              </a:extLst>
            </p:cNvPr>
            <p:cNvSpPr/>
            <p:nvPr/>
          </p:nvSpPr>
          <p:spPr>
            <a:xfrm>
              <a:off x="3720266" y="1231881"/>
              <a:ext cx="300421" cy="227235"/>
            </a:xfrm>
            <a:custGeom>
              <a:avLst/>
              <a:gdLst>
                <a:gd name="connsiteX0" fmla="*/ 294280 w 300421"/>
                <a:gd name="connsiteY0" fmla="*/ 74722 h 227235"/>
                <a:gd name="connsiteX1" fmla="*/ 225700 w 300421"/>
                <a:gd name="connsiteY1" fmla="*/ 6141 h 227235"/>
                <a:gd name="connsiteX2" fmla="*/ 196528 w 300421"/>
                <a:gd name="connsiteY2" fmla="*/ 6141 h 227235"/>
                <a:gd name="connsiteX3" fmla="*/ 180662 w 300421"/>
                <a:gd name="connsiteY3" fmla="*/ 22007 h 227235"/>
                <a:gd name="connsiteX4" fmla="*/ 157632 w 300421"/>
                <a:gd name="connsiteY4" fmla="*/ 45038 h 227235"/>
                <a:gd name="connsiteX5" fmla="*/ 141766 w 300421"/>
                <a:gd name="connsiteY5" fmla="*/ 29172 h 227235"/>
                <a:gd name="connsiteX6" fmla="*/ 120271 w 300421"/>
                <a:gd name="connsiteY6" fmla="*/ 19960 h 227235"/>
                <a:gd name="connsiteX7" fmla="*/ 98776 w 300421"/>
                <a:gd name="connsiteY7" fmla="*/ 29172 h 227235"/>
                <a:gd name="connsiteX8" fmla="*/ 83934 w 300421"/>
                <a:gd name="connsiteY8" fmla="*/ 44014 h 227235"/>
                <a:gd name="connsiteX9" fmla="*/ 91099 w 300421"/>
                <a:gd name="connsiteY9" fmla="*/ 51179 h 227235"/>
                <a:gd name="connsiteX10" fmla="*/ 91099 w 300421"/>
                <a:gd name="connsiteY10" fmla="*/ 51179 h 227235"/>
                <a:gd name="connsiteX11" fmla="*/ 91099 w 300421"/>
                <a:gd name="connsiteY11" fmla="*/ 51179 h 227235"/>
                <a:gd name="connsiteX12" fmla="*/ 43502 w 300421"/>
                <a:gd name="connsiteY12" fmla="*/ 98776 h 227235"/>
                <a:gd name="connsiteX13" fmla="*/ 0 w 300421"/>
                <a:gd name="connsiteY13" fmla="*/ 142278 h 227235"/>
                <a:gd name="connsiteX14" fmla="*/ 5118 w 300421"/>
                <a:gd name="connsiteY14" fmla="*/ 145861 h 227235"/>
                <a:gd name="connsiteX15" fmla="*/ 30196 w 300421"/>
                <a:gd name="connsiteY15" fmla="*/ 153026 h 227235"/>
                <a:gd name="connsiteX16" fmla="*/ 30196 w 300421"/>
                <a:gd name="connsiteY16" fmla="*/ 153026 h 227235"/>
                <a:gd name="connsiteX17" fmla="*/ 48620 w 300421"/>
                <a:gd name="connsiteY17" fmla="*/ 149443 h 227235"/>
                <a:gd name="connsiteX18" fmla="*/ 63974 w 300421"/>
                <a:gd name="connsiteY18" fmla="*/ 139207 h 227235"/>
                <a:gd name="connsiteX19" fmla="*/ 83934 w 300421"/>
                <a:gd name="connsiteY19" fmla="*/ 119759 h 227235"/>
                <a:gd name="connsiteX20" fmla="*/ 83934 w 300421"/>
                <a:gd name="connsiteY20" fmla="*/ 119759 h 227235"/>
                <a:gd name="connsiteX21" fmla="*/ 83934 w 300421"/>
                <a:gd name="connsiteY21" fmla="*/ 119759 h 227235"/>
                <a:gd name="connsiteX22" fmla="*/ 134089 w 300421"/>
                <a:gd name="connsiteY22" fmla="*/ 169403 h 227235"/>
                <a:gd name="connsiteX23" fmla="*/ 167356 w 300421"/>
                <a:gd name="connsiteY23" fmla="*/ 202669 h 227235"/>
                <a:gd name="connsiteX24" fmla="*/ 170938 w 300421"/>
                <a:gd name="connsiteY24" fmla="*/ 207787 h 227235"/>
                <a:gd name="connsiteX25" fmla="*/ 170938 w 300421"/>
                <a:gd name="connsiteY25" fmla="*/ 208299 h 227235"/>
                <a:gd name="connsiteX26" fmla="*/ 170938 w 300421"/>
                <a:gd name="connsiteY26" fmla="*/ 226212 h 227235"/>
                <a:gd name="connsiteX27" fmla="*/ 170938 w 300421"/>
                <a:gd name="connsiteY27" fmla="*/ 226212 h 227235"/>
                <a:gd name="connsiteX28" fmla="*/ 170938 w 300421"/>
                <a:gd name="connsiteY28" fmla="*/ 226212 h 227235"/>
                <a:gd name="connsiteX29" fmla="*/ 170426 w 300421"/>
                <a:gd name="connsiteY29" fmla="*/ 227235 h 227235"/>
                <a:gd name="connsiteX30" fmla="*/ 247707 w 300421"/>
                <a:gd name="connsiteY30" fmla="*/ 149955 h 227235"/>
                <a:gd name="connsiteX31" fmla="*/ 277903 w 300421"/>
                <a:gd name="connsiteY31" fmla="*/ 119759 h 227235"/>
                <a:gd name="connsiteX32" fmla="*/ 294280 w 300421"/>
                <a:gd name="connsiteY32" fmla="*/ 103382 h 227235"/>
                <a:gd name="connsiteX33" fmla="*/ 294280 w 300421"/>
                <a:gd name="connsiteY33" fmla="*/ 74722 h 227235"/>
                <a:gd name="connsiteX34" fmla="*/ 247707 w 300421"/>
                <a:gd name="connsiteY34" fmla="*/ 135625 h 227235"/>
                <a:gd name="connsiteX35" fmla="*/ 164797 w 300421"/>
                <a:gd name="connsiteY35" fmla="*/ 52203 h 227235"/>
                <a:gd name="connsiteX36" fmla="*/ 184245 w 300421"/>
                <a:gd name="connsiteY36" fmla="*/ 32755 h 227235"/>
                <a:gd name="connsiteX37" fmla="*/ 267155 w 300421"/>
                <a:gd name="connsiteY37" fmla="*/ 116177 h 227235"/>
                <a:gd name="connsiteX38" fmla="*/ 247707 w 300421"/>
                <a:gd name="connsiteY38" fmla="*/ 135625 h 2272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300421" h="227235">
                  <a:moveTo>
                    <a:pt x="294280" y="74722"/>
                  </a:moveTo>
                  <a:lnTo>
                    <a:pt x="225700" y="6141"/>
                  </a:lnTo>
                  <a:cubicBezTo>
                    <a:pt x="217511" y="-2047"/>
                    <a:pt x="204716" y="-2047"/>
                    <a:pt x="196528" y="6141"/>
                  </a:cubicBezTo>
                  <a:lnTo>
                    <a:pt x="180662" y="22007"/>
                  </a:lnTo>
                  <a:lnTo>
                    <a:pt x="157632" y="45038"/>
                  </a:lnTo>
                  <a:lnTo>
                    <a:pt x="141766" y="29172"/>
                  </a:lnTo>
                  <a:cubicBezTo>
                    <a:pt x="136136" y="23542"/>
                    <a:pt x="128460" y="19960"/>
                    <a:pt x="120271" y="19960"/>
                  </a:cubicBezTo>
                  <a:cubicBezTo>
                    <a:pt x="112082" y="19960"/>
                    <a:pt x="104405" y="23031"/>
                    <a:pt x="98776" y="29172"/>
                  </a:cubicBezTo>
                  <a:lnTo>
                    <a:pt x="83934" y="44014"/>
                  </a:lnTo>
                  <a:lnTo>
                    <a:pt x="91099" y="51179"/>
                  </a:lnTo>
                  <a:lnTo>
                    <a:pt x="91099" y="51179"/>
                  </a:lnTo>
                  <a:lnTo>
                    <a:pt x="91099" y="51179"/>
                  </a:lnTo>
                  <a:lnTo>
                    <a:pt x="43502" y="98776"/>
                  </a:lnTo>
                  <a:lnTo>
                    <a:pt x="0" y="142278"/>
                  </a:lnTo>
                  <a:cubicBezTo>
                    <a:pt x="1535" y="143813"/>
                    <a:pt x="3071" y="144837"/>
                    <a:pt x="5118" y="145861"/>
                  </a:cubicBezTo>
                  <a:cubicBezTo>
                    <a:pt x="12795" y="150467"/>
                    <a:pt x="20983" y="153026"/>
                    <a:pt x="30196" y="153026"/>
                  </a:cubicBezTo>
                  <a:cubicBezTo>
                    <a:pt x="30196" y="153026"/>
                    <a:pt x="30196" y="153026"/>
                    <a:pt x="30196" y="153026"/>
                  </a:cubicBezTo>
                  <a:cubicBezTo>
                    <a:pt x="36337" y="153026"/>
                    <a:pt x="42990" y="152002"/>
                    <a:pt x="48620" y="149443"/>
                  </a:cubicBezTo>
                  <a:cubicBezTo>
                    <a:pt x="54250" y="146884"/>
                    <a:pt x="59880" y="143302"/>
                    <a:pt x="63974" y="139207"/>
                  </a:cubicBezTo>
                  <a:lnTo>
                    <a:pt x="83934" y="119759"/>
                  </a:lnTo>
                  <a:lnTo>
                    <a:pt x="83934" y="119759"/>
                  </a:lnTo>
                  <a:lnTo>
                    <a:pt x="83934" y="119759"/>
                  </a:lnTo>
                  <a:lnTo>
                    <a:pt x="134089" y="169403"/>
                  </a:lnTo>
                  <a:lnTo>
                    <a:pt x="167356" y="202669"/>
                  </a:lnTo>
                  <a:cubicBezTo>
                    <a:pt x="168891" y="204205"/>
                    <a:pt x="170426" y="206252"/>
                    <a:pt x="170938" y="207787"/>
                  </a:cubicBezTo>
                  <a:cubicBezTo>
                    <a:pt x="170938" y="207787"/>
                    <a:pt x="170938" y="208299"/>
                    <a:pt x="170938" y="208299"/>
                  </a:cubicBezTo>
                  <a:cubicBezTo>
                    <a:pt x="173497" y="213929"/>
                    <a:pt x="173497" y="220582"/>
                    <a:pt x="170938" y="226212"/>
                  </a:cubicBezTo>
                  <a:lnTo>
                    <a:pt x="170938" y="226212"/>
                  </a:lnTo>
                  <a:cubicBezTo>
                    <a:pt x="170938" y="226212"/>
                    <a:pt x="170938" y="226212"/>
                    <a:pt x="170938" y="226212"/>
                  </a:cubicBezTo>
                  <a:cubicBezTo>
                    <a:pt x="170938" y="226723"/>
                    <a:pt x="170426" y="226723"/>
                    <a:pt x="170426" y="227235"/>
                  </a:cubicBezTo>
                  <a:lnTo>
                    <a:pt x="247707" y="149955"/>
                  </a:lnTo>
                  <a:lnTo>
                    <a:pt x="277903" y="119759"/>
                  </a:lnTo>
                  <a:lnTo>
                    <a:pt x="294280" y="103382"/>
                  </a:lnTo>
                  <a:cubicBezTo>
                    <a:pt x="302469" y="95705"/>
                    <a:pt x="302469" y="82398"/>
                    <a:pt x="294280" y="74722"/>
                  </a:cubicBezTo>
                  <a:close/>
                  <a:moveTo>
                    <a:pt x="247707" y="135625"/>
                  </a:moveTo>
                  <a:lnTo>
                    <a:pt x="164797" y="52203"/>
                  </a:lnTo>
                  <a:lnTo>
                    <a:pt x="184245" y="32755"/>
                  </a:lnTo>
                  <a:lnTo>
                    <a:pt x="267155" y="116177"/>
                  </a:lnTo>
                  <a:lnTo>
                    <a:pt x="247707" y="135625"/>
                  </a:lnTo>
                  <a:close/>
                </a:path>
              </a:pathLst>
            </a:custGeom>
            <a:grpFill/>
            <a:ln w="511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sp>
        <p:nvSpPr>
          <p:cNvPr id="139" name="Freeform: Shape 238">
            <a:extLst>
              <a:ext uri="{FF2B5EF4-FFF2-40B4-BE49-F238E27FC236}">
                <a16:creationId xmlns:a16="http://schemas.microsoft.com/office/drawing/2014/main" id="{69DD67BE-F8A0-48EE-929E-90919B7A0F8E}"/>
              </a:ext>
            </a:extLst>
          </p:cNvPr>
          <p:cNvSpPr/>
          <p:nvPr/>
        </p:nvSpPr>
        <p:spPr>
          <a:xfrm>
            <a:off x="4696498" y="5266819"/>
            <a:ext cx="493236" cy="349294"/>
          </a:xfrm>
          <a:custGeom>
            <a:avLst/>
            <a:gdLst>
              <a:gd name="connsiteX0" fmla="*/ 446794 w 526121"/>
              <a:gd name="connsiteY0" fmla="*/ 3071 h 372583"/>
              <a:gd name="connsiteX1" fmla="*/ 446794 w 526121"/>
              <a:gd name="connsiteY1" fmla="*/ 3071 h 372583"/>
              <a:gd name="connsiteX2" fmla="*/ 446794 w 526121"/>
              <a:gd name="connsiteY2" fmla="*/ 3071 h 372583"/>
              <a:gd name="connsiteX3" fmla="*/ 445770 w 526121"/>
              <a:gd name="connsiteY3" fmla="*/ 1535 h 372583"/>
              <a:gd name="connsiteX4" fmla="*/ 445258 w 526121"/>
              <a:gd name="connsiteY4" fmla="*/ 1024 h 372583"/>
              <a:gd name="connsiteX5" fmla="*/ 444235 w 526121"/>
              <a:gd name="connsiteY5" fmla="*/ 512 h 372583"/>
              <a:gd name="connsiteX6" fmla="*/ 443723 w 526121"/>
              <a:gd name="connsiteY6" fmla="*/ 512 h 372583"/>
              <a:gd name="connsiteX7" fmla="*/ 442187 w 526121"/>
              <a:gd name="connsiteY7" fmla="*/ 0 h 372583"/>
              <a:gd name="connsiteX8" fmla="*/ 292744 w 526121"/>
              <a:gd name="connsiteY8" fmla="*/ 0 h 372583"/>
              <a:gd name="connsiteX9" fmla="*/ 229282 w 526121"/>
              <a:gd name="connsiteY9" fmla="*/ 0 h 372583"/>
              <a:gd name="connsiteX10" fmla="*/ 79839 w 526121"/>
              <a:gd name="connsiteY10" fmla="*/ 0 h 372583"/>
              <a:gd name="connsiteX11" fmla="*/ 79839 w 526121"/>
              <a:gd name="connsiteY11" fmla="*/ 0 h 372583"/>
              <a:gd name="connsiteX12" fmla="*/ 79839 w 526121"/>
              <a:gd name="connsiteY12" fmla="*/ 0 h 372583"/>
              <a:gd name="connsiteX13" fmla="*/ 78304 w 526121"/>
              <a:gd name="connsiteY13" fmla="*/ 512 h 372583"/>
              <a:gd name="connsiteX14" fmla="*/ 77792 w 526121"/>
              <a:gd name="connsiteY14" fmla="*/ 512 h 372583"/>
              <a:gd name="connsiteX15" fmla="*/ 76769 w 526121"/>
              <a:gd name="connsiteY15" fmla="*/ 1024 h 372583"/>
              <a:gd name="connsiteX16" fmla="*/ 76257 w 526121"/>
              <a:gd name="connsiteY16" fmla="*/ 1535 h 372583"/>
              <a:gd name="connsiteX17" fmla="*/ 75233 w 526121"/>
              <a:gd name="connsiteY17" fmla="*/ 3071 h 372583"/>
              <a:gd name="connsiteX18" fmla="*/ 75233 w 526121"/>
              <a:gd name="connsiteY18" fmla="*/ 3071 h 372583"/>
              <a:gd name="connsiteX19" fmla="*/ 75233 w 526121"/>
              <a:gd name="connsiteY19" fmla="*/ 3071 h 372583"/>
              <a:gd name="connsiteX20" fmla="*/ 0 w 526121"/>
              <a:gd name="connsiteY20" fmla="*/ 182709 h 372583"/>
              <a:gd name="connsiteX21" fmla="*/ 0 w 526121"/>
              <a:gd name="connsiteY21" fmla="*/ 182709 h 372583"/>
              <a:gd name="connsiteX22" fmla="*/ 0 w 526121"/>
              <a:gd name="connsiteY22" fmla="*/ 183733 h 372583"/>
              <a:gd name="connsiteX23" fmla="*/ 0 w 526121"/>
              <a:gd name="connsiteY23" fmla="*/ 183733 h 372583"/>
              <a:gd name="connsiteX24" fmla="*/ 85981 w 526121"/>
              <a:gd name="connsiteY24" fmla="*/ 270738 h 372583"/>
              <a:gd name="connsiteX25" fmla="*/ 168891 w 526121"/>
              <a:gd name="connsiteY25" fmla="*/ 186292 h 372583"/>
              <a:gd name="connsiteX26" fmla="*/ 168891 w 526121"/>
              <a:gd name="connsiteY26" fmla="*/ 181174 h 372583"/>
              <a:gd name="connsiteX27" fmla="*/ 100311 w 526121"/>
              <a:gd name="connsiteY27" fmla="*/ 36337 h 372583"/>
              <a:gd name="connsiteX28" fmla="*/ 106453 w 526121"/>
              <a:gd name="connsiteY28" fmla="*/ 36849 h 372583"/>
              <a:gd name="connsiteX29" fmla="*/ 229282 w 526121"/>
              <a:gd name="connsiteY29" fmla="*/ 36849 h 372583"/>
              <a:gd name="connsiteX30" fmla="*/ 229282 w 526121"/>
              <a:gd name="connsiteY30" fmla="*/ 309122 h 372583"/>
              <a:gd name="connsiteX31" fmla="*/ 158655 w 526121"/>
              <a:gd name="connsiteY31" fmla="*/ 309122 h 372583"/>
              <a:gd name="connsiteX32" fmla="*/ 127948 w 526121"/>
              <a:gd name="connsiteY32" fmla="*/ 339829 h 372583"/>
              <a:gd name="connsiteX33" fmla="*/ 127948 w 526121"/>
              <a:gd name="connsiteY33" fmla="*/ 372584 h 372583"/>
              <a:gd name="connsiteX34" fmla="*/ 394079 w 526121"/>
              <a:gd name="connsiteY34" fmla="*/ 372584 h 372583"/>
              <a:gd name="connsiteX35" fmla="*/ 394079 w 526121"/>
              <a:gd name="connsiteY35" fmla="*/ 339829 h 372583"/>
              <a:gd name="connsiteX36" fmla="*/ 363372 w 526121"/>
              <a:gd name="connsiteY36" fmla="*/ 309122 h 372583"/>
              <a:gd name="connsiteX37" fmla="*/ 292744 w 526121"/>
              <a:gd name="connsiteY37" fmla="*/ 309122 h 372583"/>
              <a:gd name="connsiteX38" fmla="*/ 292744 w 526121"/>
              <a:gd name="connsiteY38" fmla="*/ 36849 h 372583"/>
              <a:gd name="connsiteX39" fmla="*/ 415574 w 526121"/>
              <a:gd name="connsiteY39" fmla="*/ 36849 h 372583"/>
              <a:gd name="connsiteX40" fmla="*/ 422739 w 526121"/>
              <a:gd name="connsiteY40" fmla="*/ 35825 h 372583"/>
              <a:gd name="connsiteX41" fmla="*/ 357230 w 526121"/>
              <a:gd name="connsiteY41" fmla="*/ 183221 h 372583"/>
              <a:gd name="connsiteX42" fmla="*/ 357230 w 526121"/>
              <a:gd name="connsiteY42" fmla="*/ 183221 h 372583"/>
              <a:gd name="connsiteX43" fmla="*/ 357230 w 526121"/>
              <a:gd name="connsiteY43" fmla="*/ 183733 h 372583"/>
              <a:gd name="connsiteX44" fmla="*/ 443211 w 526121"/>
              <a:gd name="connsiteY44" fmla="*/ 270738 h 372583"/>
              <a:gd name="connsiteX45" fmla="*/ 526121 w 526121"/>
              <a:gd name="connsiteY45" fmla="*/ 186292 h 372583"/>
              <a:gd name="connsiteX46" fmla="*/ 526121 w 526121"/>
              <a:gd name="connsiteY46" fmla="*/ 181174 h 372583"/>
              <a:gd name="connsiteX47" fmla="*/ 446794 w 526121"/>
              <a:gd name="connsiteY47" fmla="*/ 3071 h 372583"/>
              <a:gd name="connsiteX48" fmla="*/ 156096 w 526121"/>
              <a:gd name="connsiteY48" fmla="*/ 180662 h 372583"/>
              <a:gd name="connsiteX49" fmla="*/ 12795 w 526121"/>
              <a:gd name="connsiteY49" fmla="*/ 180662 h 372583"/>
              <a:gd name="connsiteX50" fmla="*/ 79328 w 526121"/>
              <a:gd name="connsiteY50" fmla="*/ 20472 h 372583"/>
              <a:gd name="connsiteX51" fmla="*/ 85469 w 526121"/>
              <a:gd name="connsiteY51" fmla="*/ 28149 h 372583"/>
              <a:gd name="connsiteX52" fmla="*/ 156096 w 526121"/>
              <a:gd name="connsiteY52" fmla="*/ 180662 h 372583"/>
              <a:gd name="connsiteX53" fmla="*/ 261013 w 526121"/>
              <a:gd name="connsiteY53" fmla="*/ 53738 h 372583"/>
              <a:gd name="connsiteX54" fmla="*/ 239006 w 526121"/>
              <a:gd name="connsiteY54" fmla="*/ 31731 h 372583"/>
              <a:gd name="connsiteX55" fmla="*/ 261013 w 526121"/>
              <a:gd name="connsiteY55" fmla="*/ 9724 h 372583"/>
              <a:gd name="connsiteX56" fmla="*/ 283020 w 526121"/>
              <a:gd name="connsiteY56" fmla="*/ 31731 h 372583"/>
              <a:gd name="connsiteX57" fmla="*/ 261013 w 526121"/>
              <a:gd name="connsiteY57" fmla="*/ 53738 h 372583"/>
              <a:gd name="connsiteX58" fmla="*/ 370537 w 526121"/>
              <a:gd name="connsiteY58" fmla="*/ 180662 h 372583"/>
              <a:gd name="connsiteX59" fmla="*/ 438093 w 526121"/>
              <a:gd name="connsiteY59" fmla="*/ 27125 h 372583"/>
              <a:gd name="connsiteX60" fmla="*/ 443723 w 526121"/>
              <a:gd name="connsiteY60" fmla="*/ 19960 h 372583"/>
              <a:gd name="connsiteX61" fmla="*/ 514350 w 526121"/>
              <a:gd name="connsiteY61" fmla="*/ 180662 h 372583"/>
              <a:gd name="connsiteX62" fmla="*/ 370537 w 526121"/>
              <a:gd name="connsiteY62" fmla="*/ 180662 h 3725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526121" h="372583">
                <a:moveTo>
                  <a:pt x="446794" y="3071"/>
                </a:moveTo>
                <a:cubicBezTo>
                  <a:pt x="446794" y="3071"/>
                  <a:pt x="446794" y="3071"/>
                  <a:pt x="446794" y="3071"/>
                </a:cubicBezTo>
                <a:lnTo>
                  <a:pt x="446794" y="3071"/>
                </a:lnTo>
                <a:cubicBezTo>
                  <a:pt x="446282" y="2559"/>
                  <a:pt x="446282" y="2047"/>
                  <a:pt x="445770" y="1535"/>
                </a:cubicBezTo>
                <a:cubicBezTo>
                  <a:pt x="445770" y="1535"/>
                  <a:pt x="445770" y="1535"/>
                  <a:pt x="445258" y="1024"/>
                </a:cubicBezTo>
                <a:cubicBezTo>
                  <a:pt x="444746" y="512"/>
                  <a:pt x="444746" y="512"/>
                  <a:pt x="444235" y="512"/>
                </a:cubicBezTo>
                <a:cubicBezTo>
                  <a:pt x="444235" y="512"/>
                  <a:pt x="443723" y="512"/>
                  <a:pt x="443723" y="512"/>
                </a:cubicBezTo>
                <a:cubicBezTo>
                  <a:pt x="443211" y="512"/>
                  <a:pt x="442699" y="0"/>
                  <a:pt x="442187" y="0"/>
                </a:cubicBezTo>
                <a:lnTo>
                  <a:pt x="292744" y="0"/>
                </a:lnTo>
                <a:lnTo>
                  <a:pt x="229282" y="0"/>
                </a:lnTo>
                <a:lnTo>
                  <a:pt x="79839" y="0"/>
                </a:lnTo>
                <a:cubicBezTo>
                  <a:pt x="79839" y="0"/>
                  <a:pt x="79839" y="0"/>
                  <a:pt x="79839" y="0"/>
                </a:cubicBezTo>
                <a:cubicBezTo>
                  <a:pt x="79839" y="0"/>
                  <a:pt x="79839" y="0"/>
                  <a:pt x="79839" y="0"/>
                </a:cubicBezTo>
                <a:cubicBezTo>
                  <a:pt x="79328" y="0"/>
                  <a:pt x="78816" y="0"/>
                  <a:pt x="78304" y="512"/>
                </a:cubicBezTo>
                <a:cubicBezTo>
                  <a:pt x="78304" y="512"/>
                  <a:pt x="77792" y="512"/>
                  <a:pt x="77792" y="512"/>
                </a:cubicBezTo>
                <a:cubicBezTo>
                  <a:pt x="77280" y="512"/>
                  <a:pt x="77280" y="1024"/>
                  <a:pt x="76769" y="1024"/>
                </a:cubicBezTo>
                <a:cubicBezTo>
                  <a:pt x="76769" y="1024"/>
                  <a:pt x="76257" y="1024"/>
                  <a:pt x="76257" y="1535"/>
                </a:cubicBezTo>
                <a:cubicBezTo>
                  <a:pt x="75745" y="2047"/>
                  <a:pt x="75745" y="2559"/>
                  <a:pt x="75233" y="3071"/>
                </a:cubicBezTo>
                <a:cubicBezTo>
                  <a:pt x="75233" y="3071"/>
                  <a:pt x="75233" y="3071"/>
                  <a:pt x="75233" y="3071"/>
                </a:cubicBezTo>
                <a:cubicBezTo>
                  <a:pt x="75233" y="3071"/>
                  <a:pt x="75233" y="3071"/>
                  <a:pt x="75233" y="3071"/>
                </a:cubicBezTo>
                <a:lnTo>
                  <a:pt x="0" y="182709"/>
                </a:lnTo>
                <a:lnTo>
                  <a:pt x="0" y="182709"/>
                </a:lnTo>
                <a:cubicBezTo>
                  <a:pt x="0" y="183221"/>
                  <a:pt x="0" y="183221"/>
                  <a:pt x="0" y="183733"/>
                </a:cubicBezTo>
                <a:lnTo>
                  <a:pt x="0" y="183733"/>
                </a:lnTo>
                <a:cubicBezTo>
                  <a:pt x="0" y="230818"/>
                  <a:pt x="38896" y="271249"/>
                  <a:pt x="85981" y="270738"/>
                </a:cubicBezTo>
                <a:cubicBezTo>
                  <a:pt x="132042" y="269714"/>
                  <a:pt x="168891" y="232353"/>
                  <a:pt x="168891" y="186292"/>
                </a:cubicBezTo>
                <a:lnTo>
                  <a:pt x="168891" y="181174"/>
                </a:lnTo>
                <a:lnTo>
                  <a:pt x="100311" y="36337"/>
                </a:lnTo>
                <a:cubicBezTo>
                  <a:pt x="102358" y="36849"/>
                  <a:pt x="104405" y="36849"/>
                  <a:pt x="106453" y="36849"/>
                </a:cubicBezTo>
                <a:lnTo>
                  <a:pt x="229282" y="36849"/>
                </a:lnTo>
                <a:lnTo>
                  <a:pt x="229282" y="309122"/>
                </a:lnTo>
                <a:lnTo>
                  <a:pt x="158655" y="309122"/>
                </a:lnTo>
                <a:cubicBezTo>
                  <a:pt x="141766" y="309122"/>
                  <a:pt x="127948" y="322940"/>
                  <a:pt x="127948" y="339829"/>
                </a:cubicBezTo>
                <a:lnTo>
                  <a:pt x="127948" y="372584"/>
                </a:lnTo>
                <a:lnTo>
                  <a:pt x="394079" y="372584"/>
                </a:lnTo>
                <a:lnTo>
                  <a:pt x="394079" y="339829"/>
                </a:lnTo>
                <a:cubicBezTo>
                  <a:pt x="394079" y="322940"/>
                  <a:pt x="380261" y="309122"/>
                  <a:pt x="363372" y="309122"/>
                </a:cubicBezTo>
                <a:lnTo>
                  <a:pt x="292744" y="309122"/>
                </a:lnTo>
                <a:lnTo>
                  <a:pt x="292744" y="36849"/>
                </a:lnTo>
                <a:lnTo>
                  <a:pt x="415574" y="36849"/>
                </a:lnTo>
                <a:cubicBezTo>
                  <a:pt x="418133" y="36849"/>
                  <a:pt x="420692" y="36337"/>
                  <a:pt x="422739" y="35825"/>
                </a:cubicBezTo>
                <a:lnTo>
                  <a:pt x="357230" y="183221"/>
                </a:lnTo>
                <a:lnTo>
                  <a:pt x="357230" y="183221"/>
                </a:lnTo>
                <a:cubicBezTo>
                  <a:pt x="357230" y="183221"/>
                  <a:pt x="357230" y="183733"/>
                  <a:pt x="357230" y="183733"/>
                </a:cubicBezTo>
                <a:cubicBezTo>
                  <a:pt x="357230" y="230818"/>
                  <a:pt x="396126" y="271249"/>
                  <a:pt x="443211" y="270738"/>
                </a:cubicBezTo>
                <a:cubicBezTo>
                  <a:pt x="489272" y="269714"/>
                  <a:pt x="526121" y="232353"/>
                  <a:pt x="526121" y="186292"/>
                </a:cubicBezTo>
                <a:lnTo>
                  <a:pt x="526121" y="181174"/>
                </a:lnTo>
                <a:lnTo>
                  <a:pt x="446794" y="3071"/>
                </a:lnTo>
                <a:close/>
                <a:moveTo>
                  <a:pt x="156096" y="180662"/>
                </a:moveTo>
                <a:lnTo>
                  <a:pt x="12795" y="180662"/>
                </a:lnTo>
                <a:lnTo>
                  <a:pt x="79328" y="20472"/>
                </a:lnTo>
                <a:cubicBezTo>
                  <a:pt x="80863" y="23542"/>
                  <a:pt x="82910" y="26101"/>
                  <a:pt x="85469" y="28149"/>
                </a:cubicBezTo>
                <a:lnTo>
                  <a:pt x="156096" y="180662"/>
                </a:lnTo>
                <a:close/>
                <a:moveTo>
                  <a:pt x="261013" y="53738"/>
                </a:moveTo>
                <a:cubicBezTo>
                  <a:pt x="248730" y="53738"/>
                  <a:pt x="239006" y="44014"/>
                  <a:pt x="239006" y="31731"/>
                </a:cubicBezTo>
                <a:cubicBezTo>
                  <a:pt x="239006" y="19448"/>
                  <a:pt x="248730" y="9724"/>
                  <a:pt x="261013" y="9724"/>
                </a:cubicBezTo>
                <a:cubicBezTo>
                  <a:pt x="273296" y="9724"/>
                  <a:pt x="283020" y="19448"/>
                  <a:pt x="283020" y="31731"/>
                </a:cubicBezTo>
                <a:cubicBezTo>
                  <a:pt x="283532" y="44014"/>
                  <a:pt x="273296" y="53738"/>
                  <a:pt x="261013" y="53738"/>
                </a:cubicBezTo>
                <a:close/>
                <a:moveTo>
                  <a:pt x="370537" y="180662"/>
                </a:moveTo>
                <a:lnTo>
                  <a:pt x="438093" y="27125"/>
                </a:lnTo>
                <a:cubicBezTo>
                  <a:pt x="440140" y="25078"/>
                  <a:pt x="442187" y="22519"/>
                  <a:pt x="443723" y="19960"/>
                </a:cubicBezTo>
                <a:lnTo>
                  <a:pt x="514350" y="180662"/>
                </a:lnTo>
                <a:lnTo>
                  <a:pt x="370537" y="180662"/>
                </a:lnTo>
                <a:close/>
              </a:path>
            </a:pathLst>
          </a:custGeom>
          <a:solidFill>
            <a:schemeClr val="bg2"/>
          </a:solidFill>
          <a:ln w="511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nvGrpSpPr>
          <p:cNvPr id="140" name="Graphic 1">
            <a:extLst>
              <a:ext uri="{FF2B5EF4-FFF2-40B4-BE49-F238E27FC236}">
                <a16:creationId xmlns:a16="http://schemas.microsoft.com/office/drawing/2014/main" id="{5C8B436E-6DD8-4112-8AD8-4F398157168B}"/>
              </a:ext>
            </a:extLst>
          </p:cNvPr>
          <p:cNvGrpSpPr/>
          <p:nvPr/>
        </p:nvGrpSpPr>
        <p:grpSpPr>
          <a:xfrm>
            <a:off x="7084296" y="5222170"/>
            <a:ext cx="295332" cy="403032"/>
            <a:chOff x="6556884" y="2880359"/>
            <a:chExt cx="315023" cy="429904"/>
          </a:xfrm>
          <a:solidFill>
            <a:schemeClr val="bg2"/>
          </a:solidFill>
        </p:grpSpPr>
        <p:sp>
          <p:nvSpPr>
            <p:cNvPr id="141" name="Freeform: Shape 240">
              <a:extLst>
                <a:ext uri="{FF2B5EF4-FFF2-40B4-BE49-F238E27FC236}">
                  <a16:creationId xmlns:a16="http://schemas.microsoft.com/office/drawing/2014/main" id="{40F2CC6B-1AC7-44EB-B924-95B242172FA3}"/>
                </a:ext>
              </a:extLst>
            </p:cNvPr>
            <p:cNvSpPr/>
            <p:nvPr/>
          </p:nvSpPr>
          <p:spPr>
            <a:xfrm>
              <a:off x="6556884" y="2880359"/>
              <a:ext cx="315023" cy="429904"/>
            </a:xfrm>
            <a:custGeom>
              <a:avLst/>
              <a:gdLst>
                <a:gd name="connsiteX0" fmla="*/ 304243 w 315023"/>
                <a:gd name="connsiteY0" fmla="*/ 169915 h 429904"/>
                <a:gd name="connsiteX1" fmla="*/ 296566 w 315023"/>
                <a:gd name="connsiteY1" fmla="*/ 160191 h 429904"/>
                <a:gd name="connsiteX2" fmla="*/ 304243 w 315023"/>
                <a:gd name="connsiteY2" fmla="*/ 150467 h 429904"/>
                <a:gd name="connsiteX3" fmla="*/ 314479 w 315023"/>
                <a:gd name="connsiteY3" fmla="*/ 132042 h 429904"/>
                <a:gd name="connsiteX4" fmla="*/ 298102 w 315023"/>
                <a:gd name="connsiteY4" fmla="*/ 118224 h 429904"/>
                <a:gd name="connsiteX5" fmla="*/ 287866 w 315023"/>
                <a:gd name="connsiteY5" fmla="*/ 112082 h 429904"/>
                <a:gd name="connsiteX6" fmla="*/ 291960 w 315023"/>
                <a:gd name="connsiteY6" fmla="*/ 100823 h 429904"/>
                <a:gd name="connsiteX7" fmla="*/ 295543 w 315023"/>
                <a:gd name="connsiteY7" fmla="*/ 79840 h 429904"/>
                <a:gd name="connsiteX8" fmla="*/ 275583 w 315023"/>
                <a:gd name="connsiteY8" fmla="*/ 72674 h 429904"/>
                <a:gd name="connsiteX9" fmla="*/ 263812 w 315023"/>
                <a:gd name="connsiteY9" fmla="*/ 70627 h 429904"/>
                <a:gd name="connsiteX10" fmla="*/ 263812 w 315023"/>
                <a:gd name="connsiteY10" fmla="*/ 58344 h 429904"/>
                <a:gd name="connsiteX11" fmla="*/ 259717 w 315023"/>
                <a:gd name="connsiteY11" fmla="*/ 37361 h 429904"/>
                <a:gd name="connsiteX12" fmla="*/ 238734 w 315023"/>
                <a:gd name="connsiteY12" fmla="*/ 37361 h 429904"/>
                <a:gd name="connsiteX13" fmla="*/ 226963 w 315023"/>
                <a:gd name="connsiteY13" fmla="*/ 39408 h 429904"/>
                <a:gd name="connsiteX14" fmla="*/ 222868 w 315023"/>
                <a:gd name="connsiteY14" fmla="*/ 28149 h 429904"/>
                <a:gd name="connsiteX15" fmla="*/ 212121 w 315023"/>
                <a:gd name="connsiteY15" fmla="*/ 9724 h 429904"/>
                <a:gd name="connsiteX16" fmla="*/ 192161 w 315023"/>
                <a:gd name="connsiteY16" fmla="*/ 16889 h 429904"/>
                <a:gd name="connsiteX17" fmla="*/ 181413 w 315023"/>
                <a:gd name="connsiteY17" fmla="*/ 22519 h 429904"/>
                <a:gd name="connsiteX18" fmla="*/ 173736 w 315023"/>
                <a:gd name="connsiteY18" fmla="*/ 13818 h 429904"/>
                <a:gd name="connsiteX19" fmla="*/ 157359 w 315023"/>
                <a:gd name="connsiteY19" fmla="*/ 0 h 429904"/>
                <a:gd name="connsiteX20" fmla="*/ 140982 w 315023"/>
                <a:gd name="connsiteY20" fmla="*/ 13818 h 429904"/>
                <a:gd name="connsiteX21" fmla="*/ 133305 w 315023"/>
                <a:gd name="connsiteY21" fmla="*/ 22519 h 429904"/>
                <a:gd name="connsiteX22" fmla="*/ 122557 w 315023"/>
                <a:gd name="connsiteY22" fmla="*/ 16889 h 429904"/>
                <a:gd name="connsiteX23" fmla="*/ 102597 w 315023"/>
                <a:gd name="connsiteY23" fmla="*/ 9724 h 429904"/>
                <a:gd name="connsiteX24" fmla="*/ 91850 w 315023"/>
                <a:gd name="connsiteY24" fmla="*/ 28149 h 429904"/>
                <a:gd name="connsiteX25" fmla="*/ 87756 w 315023"/>
                <a:gd name="connsiteY25" fmla="*/ 39408 h 429904"/>
                <a:gd name="connsiteX26" fmla="*/ 75985 w 315023"/>
                <a:gd name="connsiteY26" fmla="*/ 37361 h 429904"/>
                <a:gd name="connsiteX27" fmla="*/ 55001 w 315023"/>
                <a:gd name="connsiteY27" fmla="*/ 37361 h 429904"/>
                <a:gd name="connsiteX28" fmla="*/ 50907 w 315023"/>
                <a:gd name="connsiteY28" fmla="*/ 58344 h 429904"/>
                <a:gd name="connsiteX29" fmla="*/ 50907 w 315023"/>
                <a:gd name="connsiteY29" fmla="*/ 70627 h 429904"/>
                <a:gd name="connsiteX30" fmla="*/ 39136 w 315023"/>
                <a:gd name="connsiteY30" fmla="*/ 72674 h 429904"/>
                <a:gd name="connsiteX31" fmla="*/ 19176 w 315023"/>
                <a:gd name="connsiteY31" fmla="*/ 79840 h 429904"/>
                <a:gd name="connsiteX32" fmla="*/ 22758 w 315023"/>
                <a:gd name="connsiteY32" fmla="*/ 100823 h 429904"/>
                <a:gd name="connsiteX33" fmla="*/ 26852 w 315023"/>
                <a:gd name="connsiteY33" fmla="*/ 112082 h 429904"/>
                <a:gd name="connsiteX34" fmla="*/ 16617 w 315023"/>
                <a:gd name="connsiteY34" fmla="*/ 118224 h 429904"/>
                <a:gd name="connsiteX35" fmla="*/ 239 w 315023"/>
                <a:gd name="connsiteY35" fmla="*/ 132042 h 429904"/>
                <a:gd name="connsiteX36" fmla="*/ 10475 w 315023"/>
                <a:gd name="connsiteY36" fmla="*/ 150467 h 429904"/>
                <a:gd name="connsiteX37" fmla="*/ 18152 w 315023"/>
                <a:gd name="connsiteY37" fmla="*/ 160191 h 429904"/>
                <a:gd name="connsiteX38" fmla="*/ 10475 w 315023"/>
                <a:gd name="connsiteY38" fmla="*/ 169915 h 429904"/>
                <a:gd name="connsiteX39" fmla="*/ 239 w 315023"/>
                <a:gd name="connsiteY39" fmla="*/ 188339 h 429904"/>
                <a:gd name="connsiteX40" fmla="*/ 16617 w 315023"/>
                <a:gd name="connsiteY40" fmla="*/ 202157 h 429904"/>
                <a:gd name="connsiteX41" fmla="*/ 26852 w 315023"/>
                <a:gd name="connsiteY41" fmla="*/ 208299 h 429904"/>
                <a:gd name="connsiteX42" fmla="*/ 22758 w 315023"/>
                <a:gd name="connsiteY42" fmla="*/ 219558 h 429904"/>
                <a:gd name="connsiteX43" fmla="*/ 19176 w 315023"/>
                <a:gd name="connsiteY43" fmla="*/ 240542 h 429904"/>
                <a:gd name="connsiteX44" fmla="*/ 39136 w 315023"/>
                <a:gd name="connsiteY44" fmla="*/ 247707 h 429904"/>
                <a:gd name="connsiteX45" fmla="*/ 50395 w 315023"/>
                <a:gd name="connsiteY45" fmla="*/ 249754 h 429904"/>
                <a:gd name="connsiteX46" fmla="*/ 50395 w 315023"/>
                <a:gd name="connsiteY46" fmla="*/ 429904 h 429904"/>
                <a:gd name="connsiteX47" fmla="*/ 107204 w 315023"/>
                <a:gd name="connsiteY47" fmla="*/ 429904 h 429904"/>
                <a:gd name="connsiteX48" fmla="*/ 207003 w 315023"/>
                <a:gd name="connsiteY48" fmla="*/ 429904 h 429904"/>
                <a:gd name="connsiteX49" fmla="*/ 264835 w 315023"/>
                <a:gd name="connsiteY49" fmla="*/ 429904 h 429904"/>
                <a:gd name="connsiteX50" fmla="*/ 264835 w 315023"/>
                <a:gd name="connsiteY50" fmla="*/ 249242 h 429904"/>
                <a:gd name="connsiteX51" fmla="*/ 276095 w 315023"/>
                <a:gd name="connsiteY51" fmla="*/ 247195 h 429904"/>
                <a:gd name="connsiteX52" fmla="*/ 296055 w 315023"/>
                <a:gd name="connsiteY52" fmla="*/ 240030 h 429904"/>
                <a:gd name="connsiteX53" fmla="*/ 292472 w 315023"/>
                <a:gd name="connsiteY53" fmla="*/ 219047 h 429904"/>
                <a:gd name="connsiteX54" fmla="*/ 288378 w 315023"/>
                <a:gd name="connsiteY54" fmla="*/ 207787 h 429904"/>
                <a:gd name="connsiteX55" fmla="*/ 298614 w 315023"/>
                <a:gd name="connsiteY55" fmla="*/ 201646 h 429904"/>
                <a:gd name="connsiteX56" fmla="*/ 314991 w 315023"/>
                <a:gd name="connsiteY56" fmla="*/ 187827 h 429904"/>
                <a:gd name="connsiteX57" fmla="*/ 304243 w 315023"/>
                <a:gd name="connsiteY57" fmla="*/ 169915 h 429904"/>
                <a:gd name="connsiteX58" fmla="*/ 156847 w 315023"/>
                <a:gd name="connsiteY58" fmla="*/ 62950 h 429904"/>
                <a:gd name="connsiteX59" fmla="*/ 254088 w 315023"/>
                <a:gd name="connsiteY59" fmla="*/ 160191 h 429904"/>
                <a:gd name="connsiteX60" fmla="*/ 237199 w 315023"/>
                <a:gd name="connsiteY60" fmla="*/ 214952 h 429904"/>
                <a:gd name="connsiteX61" fmla="*/ 229010 w 315023"/>
                <a:gd name="connsiteY61" fmla="*/ 225188 h 429904"/>
                <a:gd name="connsiteX62" fmla="*/ 206491 w 315023"/>
                <a:gd name="connsiteY62" fmla="*/ 243613 h 429904"/>
                <a:gd name="connsiteX63" fmla="*/ 196255 w 315023"/>
                <a:gd name="connsiteY63" fmla="*/ 248731 h 429904"/>
                <a:gd name="connsiteX64" fmla="*/ 156847 w 315023"/>
                <a:gd name="connsiteY64" fmla="*/ 257431 h 429904"/>
                <a:gd name="connsiteX65" fmla="*/ 117439 w 315023"/>
                <a:gd name="connsiteY65" fmla="*/ 248731 h 429904"/>
                <a:gd name="connsiteX66" fmla="*/ 107204 w 315023"/>
                <a:gd name="connsiteY66" fmla="*/ 243613 h 429904"/>
                <a:gd name="connsiteX67" fmla="*/ 84685 w 315023"/>
                <a:gd name="connsiteY67" fmla="*/ 225188 h 429904"/>
                <a:gd name="connsiteX68" fmla="*/ 76496 w 315023"/>
                <a:gd name="connsiteY68" fmla="*/ 214952 h 429904"/>
                <a:gd name="connsiteX69" fmla="*/ 59607 w 315023"/>
                <a:gd name="connsiteY69" fmla="*/ 160191 h 429904"/>
                <a:gd name="connsiteX70" fmla="*/ 156847 w 315023"/>
                <a:gd name="connsiteY70" fmla="*/ 62950 h 429904"/>
                <a:gd name="connsiteX71" fmla="*/ 117439 w 315023"/>
                <a:gd name="connsiteY71" fmla="*/ 419669 h 429904"/>
                <a:gd name="connsiteX72" fmla="*/ 117439 w 315023"/>
                <a:gd name="connsiteY72" fmla="*/ 306563 h 429904"/>
                <a:gd name="connsiteX73" fmla="*/ 122046 w 315023"/>
                <a:gd name="connsiteY73" fmla="*/ 303492 h 429904"/>
                <a:gd name="connsiteX74" fmla="*/ 132793 w 315023"/>
                <a:gd name="connsiteY74" fmla="*/ 297351 h 429904"/>
                <a:gd name="connsiteX75" fmla="*/ 140470 w 315023"/>
                <a:gd name="connsiteY75" fmla="*/ 306051 h 429904"/>
                <a:gd name="connsiteX76" fmla="*/ 156847 w 315023"/>
                <a:gd name="connsiteY76" fmla="*/ 319869 h 429904"/>
                <a:gd name="connsiteX77" fmla="*/ 173225 w 315023"/>
                <a:gd name="connsiteY77" fmla="*/ 306051 h 429904"/>
                <a:gd name="connsiteX78" fmla="*/ 180902 w 315023"/>
                <a:gd name="connsiteY78" fmla="*/ 297351 h 429904"/>
                <a:gd name="connsiteX79" fmla="*/ 191649 w 315023"/>
                <a:gd name="connsiteY79" fmla="*/ 303492 h 429904"/>
                <a:gd name="connsiteX80" fmla="*/ 196255 w 315023"/>
                <a:gd name="connsiteY80" fmla="*/ 306563 h 429904"/>
                <a:gd name="connsiteX81" fmla="*/ 196255 w 315023"/>
                <a:gd name="connsiteY81" fmla="*/ 419669 h 429904"/>
                <a:gd name="connsiteX82" fmla="*/ 117439 w 315023"/>
                <a:gd name="connsiteY82" fmla="*/ 419669 h 429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315023" h="429904">
                  <a:moveTo>
                    <a:pt x="304243" y="169915"/>
                  </a:moveTo>
                  <a:cubicBezTo>
                    <a:pt x="301173" y="167356"/>
                    <a:pt x="296566" y="162238"/>
                    <a:pt x="296566" y="160191"/>
                  </a:cubicBezTo>
                  <a:cubicBezTo>
                    <a:pt x="296566" y="158144"/>
                    <a:pt x="301173" y="153537"/>
                    <a:pt x="304243" y="150467"/>
                  </a:cubicBezTo>
                  <a:cubicBezTo>
                    <a:pt x="309873" y="144837"/>
                    <a:pt x="316014" y="139207"/>
                    <a:pt x="314479" y="132042"/>
                  </a:cubicBezTo>
                  <a:cubicBezTo>
                    <a:pt x="313455" y="124877"/>
                    <a:pt x="305779" y="121295"/>
                    <a:pt x="298102" y="118224"/>
                  </a:cubicBezTo>
                  <a:cubicBezTo>
                    <a:pt x="295031" y="116688"/>
                    <a:pt x="288378" y="114129"/>
                    <a:pt x="287866" y="112082"/>
                  </a:cubicBezTo>
                  <a:cubicBezTo>
                    <a:pt x="287354" y="110035"/>
                    <a:pt x="289913" y="104406"/>
                    <a:pt x="291960" y="100823"/>
                  </a:cubicBezTo>
                  <a:cubicBezTo>
                    <a:pt x="295543" y="93658"/>
                    <a:pt x="299125" y="85981"/>
                    <a:pt x="295543" y="79840"/>
                  </a:cubicBezTo>
                  <a:cubicBezTo>
                    <a:pt x="291960" y="73698"/>
                    <a:pt x="283772" y="73186"/>
                    <a:pt x="275583" y="72674"/>
                  </a:cubicBezTo>
                  <a:cubicBezTo>
                    <a:pt x="271488" y="72163"/>
                    <a:pt x="264835" y="71651"/>
                    <a:pt x="263812" y="70627"/>
                  </a:cubicBezTo>
                  <a:cubicBezTo>
                    <a:pt x="262788" y="69092"/>
                    <a:pt x="263300" y="62439"/>
                    <a:pt x="263812" y="58344"/>
                  </a:cubicBezTo>
                  <a:cubicBezTo>
                    <a:pt x="264324" y="50155"/>
                    <a:pt x="265347" y="41967"/>
                    <a:pt x="259717" y="37361"/>
                  </a:cubicBezTo>
                  <a:cubicBezTo>
                    <a:pt x="254088" y="32755"/>
                    <a:pt x="246411" y="35314"/>
                    <a:pt x="238734" y="37361"/>
                  </a:cubicBezTo>
                  <a:cubicBezTo>
                    <a:pt x="234640" y="38384"/>
                    <a:pt x="228498" y="39920"/>
                    <a:pt x="226963" y="39408"/>
                  </a:cubicBezTo>
                  <a:cubicBezTo>
                    <a:pt x="225427" y="38384"/>
                    <a:pt x="223892" y="32243"/>
                    <a:pt x="222868" y="28149"/>
                  </a:cubicBezTo>
                  <a:cubicBezTo>
                    <a:pt x="220821" y="20472"/>
                    <a:pt x="218774" y="12283"/>
                    <a:pt x="212121" y="9724"/>
                  </a:cubicBezTo>
                  <a:cubicBezTo>
                    <a:pt x="205468" y="7165"/>
                    <a:pt x="198814" y="12283"/>
                    <a:pt x="192161" y="16889"/>
                  </a:cubicBezTo>
                  <a:cubicBezTo>
                    <a:pt x="189090" y="19448"/>
                    <a:pt x="183461" y="23031"/>
                    <a:pt x="181413" y="22519"/>
                  </a:cubicBezTo>
                  <a:cubicBezTo>
                    <a:pt x="179878" y="22007"/>
                    <a:pt x="175784" y="16377"/>
                    <a:pt x="173736" y="13818"/>
                  </a:cubicBezTo>
                  <a:cubicBezTo>
                    <a:pt x="169130" y="7165"/>
                    <a:pt x="164524" y="0"/>
                    <a:pt x="157359" y="0"/>
                  </a:cubicBezTo>
                  <a:cubicBezTo>
                    <a:pt x="150194" y="0"/>
                    <a:pt x="145588" y="7165"/>
                    <a:pt x="140982" y="13818"/>
                  </a:cubicBezTo>
                  <a:cubicBezTo>
                    <a:pt x="138935" y="16889"/>
                    <a:pt x="134841" y="22519"/>
                    <a:pt x="133305" y="22519"/>
                  </a:cubicBezTo>
                  <a:cubicBezTo>
                    <a:pt x="131258" y="23031"/>
                    <a:pt x="125628" y="18936"/>
                    <a:pt x="122557" y="16889"/>
                  </a:cubicBezTo>
                  <a:cubicBezTo>
                    <a:pt x="115904" y="12283"/>
                    <a:pt x="109251" y="7165"/>
                    <a:pt x="102597" y="9724"/>
                  </a:cubicBezTo>
                  <a:cubicBezTo>
                    <a:pt x="95944" y="12283"/>
                    <a:pt x="93897" y="20472"/>
                    <a:pt x="91850" y="28149"/>
                  </a:cubicBezTo>
                  <a:cubicBezTo>
                    <a:pt x="90826" y="31731"/>
                    <a:pt x="89291" y="38384"/>
                    <a:pt x="87756" y="39408"/>
                  </a:cubicBezTo>
                  <a:cubicBezTo>
                    <a:pt x="86220" y="40432"/>
                    <a:pt x="79567" y="38896"/>
                    <a:pt x="75985" y="37361"/>
                  </a:cubicBezTo>
                  <a:cubicBezTo>
                    <a:pt x="68308" y="35314"/>
                    <a:pt x="60119" y="32755"/>
                    <a:pt x="55001" y="37361"/>
                  </a:cubicBezTo>
                  <a:cubicBezTo>
                    <a:pt x="49371" y="41967"/>
                    <a:pt x="50395" y="50155"/>
                    <a:pt x="50907" y="58344"/>
                  </a:cubicBezTo>
                  <a:cubicBezTo>
                    <a:pt x="51418" y="62439"/>
                    <a:pt x="51930" y="69092"/>
                    <a:pt x="50907" y="70627"/>
                  </a:cubicBezTo>
                  <a:cubicBezTo>
                    <a:pt x="49883" y="72163"/>
                    <a:pt x="43230" y="72674"/>
                    <a:pt x="39136" y="72674"/>
                  </a:cubicBezTo>
                  <a:cubicBezTo>
                    <a:pt x="30947" y="73186"/>
                    <a:pt x="22758" y="74210"/>
                    <a:pt x="19176" y="79840"/>
                  </a:cubicBezTo>
                  <a:cubicBezTo>
                    <a:pt x="15593" y="85469"/>
                    <a:pt x="19176" y="93658"/>
                    <a:pt x="22758" y="100823"/>
                  </a:cubicBezTo>
                  <a:cubicBezTo>
                    <a:pt x="24293" y="104406"/>
                    <a:pt x="27364" y="110547"/>
                    <a:pt x="26852" y="112082"/>
                  </a:cubicBezTo>
                  <a:cubicBezTo>
                    <a:pt x="26341" y="113618"/>
                    <a:pt x="20199" y="116688"/>
                    <a:pt x="16617" y="118224"/>
                  </a:cubicBezTo>
                  <a:cubicBezTo>
                    <a:pt x="9452" y="121806"/>
                    <a:pt x="1775" y="124877"/>
                    <a:pt x="239" y="132042"/>
                  </a:cubicBezTo>
                  <a:cubicBezTo>
                    <a:pt x="-784" y="138696"/>
                    <a:pt x="4845" y="144837"/>
                    <a:pt x="10475" y="150467"/>
                  </a:cubicBezTo>
                  <a:cubicBezTo>
                    <a:pt x="13546" y="153026"/>
                    <a:pt x="18152" y="158144"/>
                    <a:pt x="18152" y="160191"/>
                  </a:cubicBezTo>
                  <a:cubicBezTo>
                    <a:pt x="18152" y="162238"/>
                    <a:pt x="13546" y="166844"/>
                    <a:pt x="10475" y="169915"/>
                  </a:cubicBezTo>
                  <a:cubicBezTo>
                    <a:pt x="4845" y="175544"/>
                    <a:pt x="-1296" y="181174"/>
                    <a:pt x="239" y="188339"/>
                  </a:cubicBezTo>
                  <a:cubicBezTo>
                    <a:pt x="1263" y="195504"/>
                    <a:pt x="8940" y="198575"/>
                    <a:pt x="16617" y="202157"/>
                  </a:cubicBezTo>
                  <a:cubicBezTo>
                    <a:pt x="19688" y="203693"/>
                    <a:pt x="26341" y="206252"/>
                    <a:pt x="26852" y="208299"/>
                  </a:cubicBezTo>
                  <a:cubicBezTo>
                    <a:pt x="27364" y="210346"/>
                    <a:pt x="24805" y="215976"/>
                    <a:pt x="22758" y="219558"/>
                  </a:cubicBezTo>
                  <a:cubicBezTo>
                    <a:pt x="19176" y="226723"/>
                    <a:pt x="15593" y="234400"/>
                    <a:pt x="19176" y="240542"/>
                  </a:cubicBezTo>
                  <a:cubicBezTo>
                    <a:pt x="22758" y="246683"/>
                    <a:pt x="30947" y="247195"/>
                    <a:pt x="39136" y="247707"/>
                  </a:cubicBezTo>
                  <a:cubicBezTo>
                    <a:pt x="42718" y="248219"/>
                    <a:pt x="48348" y="248219"/>
                    <a:pt x="50395" y="249754"/>
                  </a:cubicBezTo>
                  <a:lnTo>
                    <a:pt x="50395" y="429904"/>
                  </a:lnTo>
                  <a:lnTo>
                    <a:pt x="107204" y="429904"/>
                  </a:lnTo>
                  <a:lnTo>
                    <a:pt x="207003" y="429904"/>
                  </a:lnTo>
                  <a:lnTo>
                    <a:pt x="264835" y="429904"/>
                  </a:lnTo>
                  <a:lnTo>
                    <a:pt x="264835" y="249242"/>
                  </a:lnTo>
                  <a:cubicBezTo>
                    <a:pt x="266883" y="248219"/>
                    <a:pt x="272512" y="247707"/>
                    <a:pt x="276095" y="247195"/>
                  </a:cubicBezTo>
                  <a:cubicBezTo>
                    <a:pt x="284283" y="246683"/>
                    <a:pt x="292472" y="245660"/>
                    <a:pt x="296055" y="240030"/>
                  </a:cubicBezTo>
                  <a:cubicBezTo>
                    <a:pt x="299637" y="233889"/>
                    <a:pt x="296055" y="226212"/>
                    <a:pt x="292472" y="219047"/>
                  </a:cubicBezTo>
                  <a:cubicBezTo>
                    <a:pt x="290937" y="215464"/>
                    <a:pt x="287866" y="209323"/>
                    <a:pt x="288378" y="207787"/>
                  </a:cubicBezTo>
                  <a:cubicBezTo>
                    <a:pt x="288889" y="206252"/>
                    <a:pt x="295031" y="203181"/>
                    <a:pt x="298614" y="201646"/>
                  </a:cubicBezTo>
                  <a:cubicBezTo>
                    <a:pt x="306290" y="198063"/>
                    <a:pt x="313455" y="194993"/>
                    <a:pt x="314991" y="187827"/>
                  </a:cubicBezTo>
                  <a:cubicBezTo>
                    <a:pt x="315503" y="181174"/>
                    <a:pt x="309873" y="175544"/>
                    <a:pt x="304243" y="169915"/>
                  </a:cubicBezTo>
                  <a:close/>
                  <a:moveTo>
                    <a:pt x="156847" y="62950"/>
                  </a:moveTo>
                  <a:cubicBezTo>
                    <a:pt x="210586" y="62950"/>
                    <a:pt x="254088" y="106452"/>
                    <a:pt x="254088" y="160191"/>
                  </a:cubicBezTo>
                  <a:cubicBezTo>
                    <a:pt x="254088" y="180662"/>
                    <a:pt x="247946" y="199599"/>
                    <a:pt x="237199" y="214952"/>
                  </a:cubicBezTo>
                  <a:cubicBezTo>
                    <a:pt x="234640" y="218535"/>
                    <a:pt x="232081" y="222117"/>
                    <a:pt x="229010" y="225188"/>
                  </a:cubicBezTo>
                  <a:cubicBezTo>
                    <a:pt x="222357" y="232353"/>
                    <a:pt x="215191" y="238495"/>
                    <a:pt x="206491" y="243613"/>
                  </a:cubicBezTo>
                  <a:cubicBezTo>
                    <a:pt x="203420" y="245660"/>
                    <a:pt x="199838" y="247195"/>
                    <a:pt x="196255" y="248731"/>
                  </a:cubicBezTo>
                  <a:cubicBezTo>
                    <a:pt x="183972" y="254360"/>
                    <a:pt x="170666" y="257431"/>
                    <a:pt x="156847" y="257431"/>
                  </a:cubicBezTo>
                  <a:cubicBezTo>
                    <a:pt x="143029" y="257431"/>
                    <a:pt x="129211" y="254360"/>
                    <a:pt x="117439" y="248731"/>
                  </a:cubicBezTo>
                  <a:cubicBezTo>
                    <a:pt x="113857" y="247195"/>
                    <a:pt x="110274" y="245660"/>
                    <a:pt x="107204" y="243613"/>
                  </a:cubicBezTo>
                  <a:cubicBezTo>
                    <a:pt x="99015" y="238495"/>
                    <a:pt x="91338" y="232353"/>
                    <a:pt x="84685" y="225188"/>
                  </a:cubicBezTo>
                  <a:cubicBezTo>
                    <a:pt x="81614" y="222117"/>
                    <a:pt x="79055" y="218535"/>
                    <a:pt x="76496" y="214952"/>
                  </a:cubicBezTo>
                  <a:cubicBezTo>
                    <a:pt x="65749" y="199087"/>
                    <a:pt x="59607" y="180662"/>
                    <a:pt x="59607" y="160191"/>
                  </a:cubicBezTo>
                  <a:cubicBezTo>
                    <a:pt x="59607" y="106964"/>
                    <a:pt x="103109" y="62950"/>
                    <a:pt x="156847" y="62950"/>
                  </a:cubicBezTo>
                  <a:close/>
                  <a:moveTo>
                    <a:pt x="117439" y="419669"/>
                  </a:moveTo>
                  <a:lnTo>
                    <a:pt x="117439" y="306563"/>
                  </a:lnTo>
                  <a:cubicBezTo>
                    <a:pt x="118975" y="305539"/>
                    <a:pt x="120510" y="304516"/>
                    <a:pt x="122046" y="303492"/>
                  </a:cubicBezTo>
                  <a:cubicBezTo>
                    <a:pt x="125116" y="300933"/>
                    <a:pt x="130746" y="297351"/>
                    <a:pt x="132793" y="297351"/>
                  </a:cubicBezTo>
                  <a:cubicBezTo>
                    <a:pt x="134329" y="297862"/>
                    <a:pt x="138423" y="303492"/>
                    <a:pt x="140470" y="306051"/>
                  </a:cubicBezTo>
                  <a:cubicBezTo>
                    <a:pt x="145076" y="312705"/>
                    <a:pt x="149682" y="319869"/>
                    <a:pt x="156847" y="319869"/>
                  </a:cubicBezTo>
                  <a:cubicBezTo>
                    <a:pt x="164012" y="319869"/>
                    <a:pt x="168619" y="313216"/>
                    <a:pt x="173225" y="306051"/>
                  </a:cubicBezTo>
                  <a:cubicBezTo>
                    <a:pt x="175272" y="302980"/>
                    <a:pt x="179366" y="297351"/>
                    <a:pt x="180902" y="297351"/>
                  </a:cubicBezTo>
                  <a:cubicBezTo>
                    <a:pt x="182949" y="296839"/>
                    <a:pt x="188579" y="300933"/>
                    <a:pt x="191649" y="303492"/>
                  </a:cubicBezTo>
                  <a:cubicBezTo>
                    <a:pt x="193184" y="304516"/>
                    <a:pt x="194720" y="305539"/>
                    <a:pt x="196255" y="306563"/>
                  </a:cubicBezTo>
                  <a:lnTo>
                    <a:pt x="196255" y="419669"/>
                  </a:lnTo>
                  <a:lnTo>
                    <a:pt x="117439" y="419669"/>
                  </a:lnTo>
                  <a:close/>
                </a:path>
              </a:pathLst>
            </a:custGeom>
            <a:grpFill/>
            <a:ln w="511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42" name="Freeform: Shape 241">
              <a:extLst>
                <a:ext uri="{FF2B5EF4-FFF2-40B4-BE49-F238E27FC236}">
                  <a16:creationId xmlns:a16="http://schemas.microsoft.com/office/drawing/2014/main" id="{2DA137D6-AECB-40EA-8F76-68F01DD2C827}"/>
                </a:ext>
              </a:extLst>
            </p:cNvPr>
            <p:cNvSpPr/>
            <p:nvPr/>
          </p:nvSpPr>
          <p:spPr>
            <a:xfrm>
              <a:off x="6679953" y="2991418"/>
              <a:ext cx="55273" cy="98263"/>
            </a:xfrm>
            <a:custGeom>
              <a:avLst/>
              <a:gdLst>
                <a:gd name="connsiteX0" fmla="*/ 28149 w 55273"/>
                <a:gd name="connsiteY0" fmla="*/ 33778 h 98263"/>
                <a:gd name="connsiteX1" fmla="*/ 28149 w 55273"/>
                <a:gd name="connsiteY1" fmla="*/ 98264 h 98263"/>
                <a:gd name="connsiteX2" fmla="*/ 55274 w 55273"/>
                <a:gd name="connsiteY2" fmla="*/ 98264 h 98263"/>
                <a:gd name="connsiteX3" fmla="*/ 55274 w 55273"/>
                <a:gd name="connsiteY3" fmla="*/ 0 h 98263"/>
                <a:gd name="connsiteX4" fmla="*/ 33266 w 55273"/>
                <a:gd name="connsiteY4" fmla="*/ 0 h 98263"/>
                <a:gd name="connsiteX5" fmla="*/ 21495 w 55273"/>
                <a:gd name="connsiteY5" fmla="*/ 15354 h 98263"/>
                <a:gd name="connsiteX6" fmla="*/ 0 w 55273"/>
                <a:gd name="connsiteY6" fmla="*/ 26101 h 98263"/>
                <a:gd name="connsiteX7" fmla="*/ 0 w 55273"/>
                <a:gd name="connsiteY7" fmla="*/ 48108 h 98263"/>
                <a:gd name="connsiteX8" fmla="*/ 15354 w 55273"/>
                <a:gd name="connsiteY8" fmla="*/ 41967 h 98263"/>
                <a:gd name="connsiteX9" fmla="*/ 28149 w 55273"/>
                <a:gd name="connsiteY9" fmla="*/ 33778 h 98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5273" h="98263">
                  <a:moveTo>
                    <a:pt x="28149" y="33778"/>
                  </a:moveTo>
                  <a:lnTo>
                    <a:pt x="28149" y="98264"/>
                  </a:lnTo>
                  <a:lnTo>
                    <a:pt x="55274" y="98264"/>
                  </a:lnTo>
                  <a:lnTo>
                    <a:pt x="55274" y="0"/>
                  </a:lnTo>
                  <a:lnTo>
                    <a:pt x="33266" y="0"/>
                  </a:lnTo>
                  <a:cubicBezTo>
                    <a:pt x="30196" y="6142"/>
                    <a:pt x="26613" y="11259"/>
                    <a:pt x="21495" y="15354"/>
                  </a:cubicBezTo>
                  <a:cubicBezTo>
                    <a:pt x="16377" y="19448"/>
                    <a:pt x="9212" y="23031"/>
                    <a:pt x="0" y="26101"/>
                  </a:cubicBezTo>
                  <a:lnTo>
                    <a:pt x="0" y="48108"/>
                  </a:lnTo>
                  <a:cubicBezTo>
                    <a:pt x="6142" y="46061"/>
                    <a:pt x="11259" y="44014"/>
                    <a:pt x="15354" y="41967"/>
                  </a:cubicBezTo>
                  <a:cubicBezTo>
                    <a:pt x="19448" y="39920"/>
                    <a:pt x="23543" y="37361"/>
                    <a:pt x="28149" y="33778"/>
                  </a:cubicBezTo>
                  <a:close/>
                </a:path>
              </a:pathLst>
            </a:custGeom>
            <a:grpFill/>
            <a:ln w="511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grpSp>
        <p:nvGrpSpPr>
          <p:cNvPr id="143" name="Graphic 1">
            <a:extLst>
              <a:ext uri="{FF2B5EF4-FFF2-40B4-BE49-F238E27FC236}">
                <a16:creationId xmlns:a16="http://schemas.microsoft.com/office/drawing/2014/main" id="{D354D79B-4A0E-4472-820B-9266F1B35442}"/>
              </a:ext>
            </a:extLst>
          </p:cNvPr>
          <p:cNvGrpSpPr/>
          <p:nvPr/>
        </p:nvGrpSpPr>
        <p:grpSpPr>
          <a:xfrm>
            <a:off x="7780016" y="4251570"/>
            <a:ext cx="372324" cy="372324"/>
            <a:chOff x="8277253" y="565529"/>
            <a:chExt cx="397149" cy="397149"/>
          </a:xfrm>
          <a:solidFill>
            <a:schemeClr val="bg2"/>
          </a:solidFill>
        </p:grpSpPr>
        <p:sp>
          <p:nvSpPr>
            <p:cNvPr id="144" name="Freeform: Shape 243">
              <a:extLst>
                <a:ext uri="{FF2B5EF4-FFF2-40B4-BE49-F238E27FC236}">
                  <a16:creationId xmlns:a16="http://schemas.microsoft.com/office/drawing/2014/main" id="{FF836DEE-3C4D-4D86-BAF8-F8DF087C0E2A}"/>
                </a:ext>
              </a:extLst>
            </p:cNvPr>
            <p:cNvSpPr/>
            <p:nvPr/>
          </p:nvSpPr>
          <p:spPr>
            <a:xfrm>
              <a:off x="8277253" y="565529"/>
              <a:ext cx="397149" cy="397149"/>
            </a:xfrm>
            <a:custGeom>
              <a:avLst/>
              <a:gdLst>
                <a:gd name="connsiteX0" fmla="*/ 198575 w 397149"/>
                <a:gd name="connsiteY0" fmla="*/ 0 h 397149"/>
                <a:gd name="connsiteX1" fmla="*/ 0 w 397149"/>
                <a:gd name="connsiteY1" fmla="*/ 198575 h 397149"/>
                <a:gd name="connsiteX2" fmla="*/ 198575 w 397149"/>
                <a:gd name="connsiteY2" fmla="*/ 397150 h 397149"/>
                <a:gd name="connsiteX3" fmla="*/ 397150 w 397149"/>
                <a:gd name="connsiteY3" fmla="*/ 198575 h 397149"/>
                <a:gd name="connsiteX4" fmla="*/ 198575 w 397149"/>
                <a:gd name="connsiteY4" fmla="*/ 0 h 397149"/>
                <a:gd name="connsiteX5" fmla="*/ 198575 w 397149"/>
                <a:gd name="connsiteY5" fmla="*/ 343412 h 397149"/>
                <a:gd name="connsiteX6" fmla="*/ 53738 w 397149"/>
                <a:gd name="connsiteY6" fmla="*/ 198575 h 397149"/>
                <a:gd name="connsiteX7" fmla="*/ 198575 w 397149"/>
                <a:gd name="connsiteY7" fmla="*/ 53738 h 397149"/>
                <a:gd name="connsiteX8" fmla="*/ 343412 w 397149"/>
                <a:gd name="connsiteY8" fmla="*/ 198575 h 397149"/>
                <a:gd name="connsiteX9" fmla="*/ 198575 w 397149"/>
                <a:gd name="connsiteY9" fmla="*/ 343412 h 3971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7149" h="397149">
                  <a:moveTo>
                    <a:pt x="198575" y="0"/>
                  </a:moveTo>
                  <a:cubicBezTo>
                    <a:pt x="89051" y="0"/>
                    <a:pt x="0" y="89052"/>
                    <a:pt x="0" y="198575"/>
                  </a:cubicBezTo>
                  <a:cubicBezTo>
                    <a:pt x="0" y="308098"/>
                    <a:pt x="89051" y="397150"/>
                    <a:pt x="198575" y="397150"/>
                  </a:cubicBezTo>
                  <a:cubicBezTo>
                    <a:pt x="308098" y="397150"/>
                    <a:pt x="397150" y="308098"/>
                    <a:pt x="397150" y="198575"/>
                  </a:cubicBezTo>
                  <a:cubicBezTo>
                    <a:pt x="397150" y="89052"/>
                    <a:pt x="308098" y="0"/>
                    <a:pt x="198575" y="0"/>
                  </a:cubicBezTo>
                  <a:close/>
                  <a:moveTo>
                    <a:pt x="198575" y="343412"/>
                  </a:moveTo>
                  <a:cubicBezTo>
                    <a:pt x="118736" y="343412"/>
                    <a:pt x="53738" y="278414"/>
                    <a:pt x="53738" y="198575"/>
                  </a:cubicBezTo>
                  <a:cubicBezTo>
                    <a:pt x="53738" y="118736"/>
                    <a:pt x="118736" y="53738"/>
                    <a:pt x="198575" y="53738"/>
                  </a:cubicBezTo>
                  <a:cubicBezTo>
                    <a:pt x="278414" y="53738"/>
                    <a:pt x="343412" y="118736"/>
                    <a:pt x="343412" y="198575"/>
                  </a:cubicBezTo>
                  <a:cubicBezTo>
                    <a:pt x="343412" y="278414"/>
                    <a:pt x="278926" y="343412"/>
                    <a:pt x="198575" y="343412"/>
                  </a:cubicBezTo>
                  <a:close/>
                </a:path>
              </a:pathLst>
            </a:custGeom>
            <a:grpFill/>
            <a:ln w="511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45" name="Freeform: Shape 244">
              <a:extLst>
                <a:ext uri="{FF2B5EF4-FFF2-40B4-BE49-F238E27FC236}">
                  <a16:creationId xmlns:a16="http://schemas.microsoft.com/office/drawing/2014/main" id="{57E57CBD-A4D1-415A-8DAF-B6284C4D6355}"/>
                </a:ext>
              </a:extLst>
            </p:cNvPr>
            <p:cNvSpPr/>
            <p:nvPr/>
          </p:nvSpPr>
          <p:spPr>
            <a:xfrm>
              <a:off x="8413507" y="676587"/>
              <a:ext cx="125782" cy="185268"/>
            </a:xfrm>
            <a:custGeom>
              <a:avLst/>
              <a:gdLst>
                <a:gd name="connsiteX0" fmla="*/ 110941 w 125782"/>
                <a:gd name="connsiteY0" fmla="*/ 49132 h 185268"/>
                <a:gd name="connsiteX1" fmla="*/ 89445 w 125782"/>
                <a:gd name="connsiteY1" fmla="*/ 52714 h 185268"/>
                <a:gd name="connsiteX2" fmla="*/ 80233 w 125782"/>
                <a:gd name="connsiteY2" fmla="*/ 47597 h 185268"/>
                <a:gd name="connsiteX3" fmla="*/ 77674 w 125782"/>
                <a:gd name="connsiteY3" fmla="*/ 43502 h 185268"/>
                <a:gd name="connsiteX4" fmla="*/ 69997 w 125782"/>
                <a:gd name="connsiteY4" fmla="*/ 37873 h 185268"/>
                <a:gd name="connsiteX5" fmla="*/ 69997 w 125782"/>
                <a:gd name="connsiteY5" fmla="*/ 67556 h 185268"/>
                <a:gd name="connsiteX6" fmla="*/ 111964 w 125782"/>
                <a:gd name="connsiteY6" fmla="*/ 84957 h 185268"/>
                <a:gd name="connsiteX7" fmla="*/ 125783 w 125782"/>
                <a:gd name="connsiteY7" fmla="*/ 116688 h 185268"/>
                <a:gd name="connsiteX8" fmla="*/ 120665 w 125782"/>
                <a:gd name="connsiteY8" fmla="*/ 137160 h 185268"/>
                <a:gd name="connsiteX9" fmla="*/ 107870 w 125782"/>
                <a:gd name="connsiteY9" fmla="*/ 153026 h 185268"/>
                <a:gd name="connsiteX10" fmla="*/ 91493 w 125782"/>
                <a:gd name="connsiteY10" fmla="*/ 162238 h 185268"/>
                <a:gd name="connsiteX11" fmla="*/ 69997 w 125782"/>
                <a:gd name="connsiteY11" fmla="*/ 165820 h 185268"/>
                <a:gd name="connsiteX12" fmla="*/ 69997 w 125782"/>
                <a:gd name="connsiteY12" fmla="*/ 185268 h 185268"/>
                <a:gd name="connsiteX13" fmla="*/ 55155 w 125782"/>
                <a:gd name="connsiteY13" fmla="*/ 185268 h 185268"/>
                <a:gd name="connsiteX14" fmla="*/ 55155 w 125782"/>
                <a:gd name="connsiteY14" fmla="*/ 165820 h 185268"/>
                <a:gd name="connsiteX15" fmla="*/ 30589 w 125782"/>
                <a:gd name="connsiteY15" fmla="*/ 160702 h 185268"/>
                <a:gd name="connsiteX16" fmla="*/ 14212 w 125782"/>
                <a:gd name="connsiteY16" fmla="*/ 150978 h 185268"/>
                <a:gd name="connsiteX17" fmla="*/ 3465 w 125782"/>
                <a:gd name="connsiteY17" fmla="*/ 137160 h 185268"/>
                <a:gd name="connsiteX18" fmla="*/ 394 w 125782"/>
                <a:gd name="connsiteY18" fmla="*/ 129995 h 185268"/>
                <a:gd name="connsiteX19" fmla="*/ 7559 w 125782"/>
                <a:gd name="connsiteY19" fmla="*/ 118224 h 185268"/>
                <a:gd name="connsiteX20" fmla="*/ 31613 w 125782"/>
                <a:gd name="connsiteY20" fmla="*/ 115153 h 185268"/>
                <a:gd name="connsiteX21" fmla="*/ 40825 w 125782"/>
                <a:gd name="connsiteY21" fmla="*/ 121294 h 185268"/>
                <a:gd name="connsiteX22" fmla="*/ 43896 w 125782"/>
                <a:gd name="connsiteY22" fmla="*/ 128971 h 185268"/>
                <a:gd name="connsiteX23" fmla="*/ 54132 w 125782"/>
                <a:gd name="connsiteY23" fmla="*/ 137160 h 185268"/>
                <a:gd name="connsiteX24" fmla="*/ 54132 w 125782"/>
                <a:gd name="connsiteY24" fmla="*/ 101335 h 185268"/>
                <a:gd name="connsiteX25" fmla="*/ 24448 w 125782"/>
                <a:gd name="connsiteY25" fmla="*/ 91099 h 185268"/>
                <a:gd name="connsiteX26" fmla="*/ 9094 w 125782"/>
                <a:gd name="connsiteY26" fmla="*/ 77280 h 185268"/>
                <a:gd name="connsiteX27" fmla="*/ 2441 w 125782"/>
                <a:gd name="connsiteY27" fmla="*/ 54762 h 185268"/>
                <a:gd name="connsiteX28" fmla="*/ 15236 w 125782"/>
                <a:gd name="connsiteY28" fmla="*/ 24054 h 185268"/>
                <a:gd name="connsiteX29" fmla="*/ 53620 w 125782"/>
                <a:gd name="connsiteY29" fmla="*/ 10236 h 185268"/>
                <a:gd name="connsiteX30" fmla="*/ 53620 w 125782"/>
                <a:gd name="connsiteY30" fmla="*/ 0 h 185268"/>
                <a:gd name="connsiteX31" fmla="*/ 68462 w 125782"/>
                <a:gd name="connsiteY31" fmla="*/ 0 h 185268"/>
                <a:gd name="connsiteX32" fmla="*/ 68462 w 125782"/>
                <a:gd name="connsiteY32" fmla="*/ 10236 h 185268"/>
                <a:gd name="connsiteX33" fmla="*/ 103776 w 125782"/>
                <a:gd name="connsiteY33" fmla="*/ 20983 h 185268"/>
                <a:gd name="connsiteX34" fmla="*/ 116059 w 125782"/>
                <a:gd name="connsiteY34" fmla="*/ 36849 h 185268"/>
                <a:gd name="connsiteX35" fmla="*/ 110941 w 125782"/>
                <a:gd name="connsiteY35" fmla="*/ 49132 h 185268"/>
                <a:gd name="connsiteX36" fmla="*/ 54644 w 125782"/>
                <a:gd name="connsiteY36" fmla="*/ 37361 h 185268"/>
                <a:gd name="connsiteX37" fmla="*/ 45432 w 125782"/>
                <a:gd name="connsiteY37" fmla="*/ 42990 h 185268"/>
                <a:gd name="connsiteX38" fmla="*/ 42873 w 125782"/>
                <a:gd name="connsiteY38" fmla="*/ 50667 h 185268"/>
                <a:gd name="connsiteX39" fmla="*/ 45432 w 125782"/>
                <a:gd name="connsiteY39" fmla="*/ 58344 h 185268"/>
                <a:gd name="connsiteX40" fmla="*/ 54644 w 125782"/>
                <a:gd name="connsiteY40" fmla="*/ 63974 h 185268"/>
                <a:gd name="connsiteX41" fmla="*/ 54644 w 125782"/>
                <a:gd name="connsiteY41" fmla="*/ 37361 h 185268"/>
                <a:gd name="connsiteX42" fmla="*/ 69486 w 125782"/>
                <a:gd name="connsiteY42" fmla="*/ 138695 h 185268"/>
                <a:gd name="connsiteX43" fmla="*/ 82281 w 125782"/>
                <a:gd name="connsiteY43" fmla="*/ 132042 h 185268"/>
                <a:gd name="connsiteX44" fmla="*/ 86375 w 125782"/>
                <a:gd name="connsiteY44" fmla="*/ 121806 h 185268"/>
                <a:gd name="connsiteX45" fmla="*/ 82792 w 125782"/>
                <a:gd name="connsiteY45" fmla="*/ 113106 h 185268"/>
                <a:gd name="connsiteX46" fmla="*/ 69486 w 125782"/>
                <a:gd name="connsiteY46" fmla="*/ 105429 h 185268"/>
                <a:gd name="connsiteX47" fmla="*/ 69486 w 125782"/>
                <a:gd name="connsiteY47" fmla="*/ 138695 h 1852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125782" h="185268">
                  <a:moveTo>
                    <a:pt x="110941" y="49132"/>
                  </a:moveTo>
                  <a:lnTo>
                    <a:pt x="89445" y="52714"/>
                  </a:lnTo>
                  <a:cubicBezTo>
                    <a:pt x="85863" y="53226"/>
                    <a:pt x="81769" y="51179"/>
                    <a:pt x="80233" y="47597"/>
                  </a:cubicBezTo>
                  <a:cubicBezTo>
                    <a:pt x="79210" y="45549"/>
                    <a:pt x="78698" y="44526"/>
                    <a:pt x="77674" y="43502"/>
                  </a:cubicBezTo>
                  <a:cubicBezTo>
                    <a:pt x="76139" y="41455"/>
                    <a:pt x="73580" y="39920"/>
                    <a:pt x="69997" y="37873"/>
                  </a:cubicBezTo>
                  <a:lnTo>
                    <a:pt x="69997" y="67556"/>
                  </a:lnTo>
                  <a:cubicBezTo>
                    <a:pt x="90981" y="73186"/>
                    <a:pt x="104799" y="78816"/>
                    <a:pt x="111964" y="84957"/>
                  </a:cubicBezTo>
                  <a:cubicBezTo>
                    <a:pt x="121177" y="93146"/>
                    <a:pt x="125783" y="103894"/>
                    <a:pt x="125783" y="116688"/>
                  </a:cubicBezTo>
                  <a:cubicBezTo>
                    <a:pt x="125783" y="124365"/>
                    <a:pt x="124247" y="131019"/>
                    <a:pt x="120665" y="137160"/>
                  </a:cubicBezTo>
                  <a:cubicBezTo>
                    <a:pt x="117082" y="143302"/>
                    <a:pt x="112988" y="148419"/>
                    <a:pt x="107870" y="153026"/>
                  </a:cubicBezTo>
                  <a:cubicBezTo>
                    <a:pt x="102752" y="157120"/>
                    <a:pt x="97122" y="160191"/>
                    <a:pt x="91493" y="162238"/>
                  </a:cubicBezTo>
                  <a:cubicBezTo>
                    <a:pt x="85863" y="164285"/>
                    <a:pt x="78698" y="165309"/>
                    <a:pt x="69997" y="165820"/>
                  </a:cubicBezTo>
                  <a:lnTo>
                    <a:pt x="69997" y="185268"/>
                  </a:lnTo>
                  <a:lnTo>
                    <a:pt x="55155" y="185268"/>
                  </a:lnTo>
                  <a:lnTo>
                    <a:pt x="55155" y="165820"/>
                  </a:lnTo>
                  <a:cubicBezTo>
                    <a:pt x="44920" y="164797"/>
                    <a:pt x="36731" y="163261"/>
                    <a:pt x="30589" y="160702"/>
                  </a:cubicBezTo>
                  <a:cubicBezTo>
                    <a:pt x="24448" y="158143"/>
                    <a:pt x="18818" y="155073"/>
                    <a:pt x="14212" y="150978"/>
                  </a:cubicBezTo>
                  <a:cubicBezTo>
                    <a:pt x="9606" y="146884"/>
                    <a:pt x="6024" y="142278"/>
                    <a:pt x="3465" y="137160"/>
                  </a:cubicBezTo>
                  <a:cubicBezTo>
                    <a:pt x="2441" y="135113"/>
                    <a:pt x="1417" y="132554"/>
                    <a:pt x="394" y="129995"/>
                  </a:cubicBezTo>
                  <a:cubicBezTo>
                    <a:pt x="-1142" y="124877"/>
                    <a:pt x="1929" y="119247"/>
                    <a:pt x="7559" y="118224"/>
                  </a:cubicBezTo>
                  <a:lnTo>
                    <a:pt x="31613" y="115153"/>
                  </a:lnTo>
                  <a:cubicBezTo>
                    <a:pt x="35707" y="114641"/>
                    <a:pt x="39802" y="117200"/>
                    <a:pt x="40825" y="121294"/>
                  </a:cubicBezTo>
                  <a:cubicBezTo>
                    <a:pt x="41849" y="124365"/>
                    <a:pt x="42873" y="126924"/>
                    <a:pt x="43896" y="128971"/>
                  </a:cubicBezTo>
                  <a:cubicBezTo>
                    <a:pt x="45943" y="132042"/>
                    <a:pt x="49526" y="134601"/>
                    <a:pt x="54132" y="137160"/>
                  </a:cubicBezTo>
                  <a:lnTo>
                    <a:pt x="54132" y="101335"/>
                  </a:lnTo>
                  <a:cubicBezTo>
                    <a:pt x="40314" y="97240"/>
                    <a:pt x="30589" y="94170"/>
                    <a:pt x="24448" y="91099"/>
                  </a:cubicBezTo>
                  <a:cubicBezTo>
                    <a:pt x="18818" y="88028"/>
                    <a:pt x="13700" y="83934"/>
                    <a:pt x="9094" y="77280"/>
                  </a:cubicBezTo>
                  <a:cubicBezTo>
                    <a:pt x="5000" y="71139"/>
                    <a:pt x="2441" y="63462"/>
                    <a:pt x="2441" y="54762"/>
                  </a:cubicBezTo>
                  <a:cubicBezTo>
                    <a:pt x="2441" y="42479"/>
                    <a:pt x="6535" y="32243"/>
                    <a:pt x="15236" y="24054"/>
                  </a:cubicBezTo>
                  <a:cubicBezTo>
                    <a:pt x="23936" y="15866"/>
                    <a:pt x="36731" y="11259"/>
                    <a:pt x="53620" y="10236"/>
                  </a:cubicBezTo>
                  <a:lnTo>
                    <a:pt x="53620" y="0"/>
                  </a:lnTo>
                  <a:lnTo>
                    <a:pt x="68462" y="0"/>
                  </a:lnTo>
                  <a:lnTo>
                    <a:pt x="68462" y="10236"/>
                  </a:lnTo>
                  <a:cubicBezTo>
                    <a:pt x="83816" y="11259"/>
                    <a:pt x="95587" y="14842"/>
                    <a:pt x="103776" y="20983"/>
                  </a:cubicBezTo>
                  <a:cubicBezTo>
                    <a:pt x="109405" y="25078"/>
                    <a:pt x="113500" y="30707"/>
                    <a:pt x="116059" y="36849"/>
                  </a:cubicBezTo>
                  <a:cubicBezTo>
                    <a:pt x="119641" y="42479"/>
                    <a:pt x="116059" y="48108"/>
                    <a:pt x="110941" y="49132"/>
                  </a:cubicBezTo>
                  <a:close/>
                  <a:moveTo>
                    <a:pt x="54644" y="37361"/>
                  </a:moveTo>
                  <a:cubicBezTo>
                    <a:pt x="50037" y="38896"/>
                    <a:pt x="46967" y="40432"/>
                    <a:pt x="45432" y="42990"/>
                  </a:cubicBezTo>
                  <a:cubicBezTo>
                    <a:pt x="43896" y="45038"/>
                    <a:pt x="42873" y="47597"/>
                    <a:pt x="42873" y="50667"/>
                  </a:cubicBezTo>
                  <a:cubicBezTo>
                    <a:pt x="42873" y="53738"/>
                    <a:pt x="43896" y="56297"/>
                    <a:pt x="45432" y="58344"/>
                  </a:cubicBezTo>
                  <a:cubicBezTo>
                    <a:pt x="46967" y="60391"/>
                    <a:pt x="50037" y="62438"/>
                    <a:pt x="54644" y="63974"/>
                  </a:cubicBezTo>
                  <a:lnTo>
                    <a:pt x="54644" y="37361"/>
                  </a:lnTo>
                  <a:close/>
                  <a:moveTo>
                    <a:pt x="69486" y="138695"/>
                  </a:moveTo>
                  <a:cubicBezTo>
                    <a:pt x="75115" y="137160"/>
                    <a:pt x="79722" y="135113"/>
                    <a:pt x="82281" y="132042"/>
                  </a:cubicBezTo>
                  <a:cubicBezTo>
                    <a:pt x="84840" y="128971"/>
                    <a:pt x="86375" y="125901"/>
                    <a:pt x="86375" y="121806"/>
                  </a:cubicBezTo>
                  <a:cubicBezTo>
                    <a:pt x="86375" y="118736"/>
                    <a:pt x="85351" y="115665"/>
                    <a:pt x="82792" y="113106"/>
                  </a:cubicBezTo>
                  <a:cubicBezTo>
                    <a:pt x="80745" y="110547"/>
                    <a:pt x="76139" y="107988"/>
                    <a:pt x="69486" y="105429"/>
                  </a:cubicBezTo>
                  <a:lnTo>
                    <a:pt x="69486" y="138695"/>
                  </a:lnTo>
                  <a:close/>
                </a:path>
              </a:pathLst>
            </a:custGeom>
            <a:grpFill/>
            <a:ln w="511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spTree>
    <p:extLst>
      <p:ext uri="{BB962C8B-B14F-4D97-AF65-F5344CB8AC3E}">
        <p14:creationId xmlns:p14="http://schemas.microsoft.com/office/powerpoint/2010/main" val="817112651"/>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90"/>
                                        </p:tgtEl>
                                        <p:attrNameLst>
                                          <p:attrName>style.visibility</p:attrName>
                                        </p:attrNameLst>
                                      </p:cBhvr>
                                      <p:to>
                                        <p:strVal val="visible"/>
                                      </p:to>
                                    </p:set>
                                    <p:animEffect transition="in" filter="fade">
                                      <p:cBhvr>
                                        <p:cTn id="7" dur="500"/>
                                        <p:tgtEl>
                                          <p:spTgt spid="90"/>
                                        </p:tgtEl>
                                      </p:cBhvr>
                                    </p:animEffect>
                                  </p:childTnLst>
                                </p:cTn>
                              </p:par>
                            </p:childTnLst>
                          </p:cTn>
                        </p:par>
                        <p:par>
                          <p:cTn id="8" fill="hold">
                            <p:stCondLst>
                              <p:cond delay="500"/>
                            </p:stCondLst>
                            <p:childTnLst>
                              <p:par>
                                <p:cTn id="9" presetID="22" presetClass="entr" presetSubtype="4" fill="hold" nodeType="afterEffect">
                                  <p:stCondLst>
                                    <p:cond delay="0"/>
                                  </p:stCondLst>
                                  <p:childTnLst>
                                    <p:set>
                                      <p:cBhvr>
                                        <p:cTn id="10" dur="1" fill="hold">
                                          <p:stCondLst>
                                            <p:cond delay="0"/>
                                          </p:stCondLst>
                                        </p:cTn>
                                        <p:tgtEl>
                                          <p:spTgt spid="84"/>
                                        </p:tgtEl>
                                        <p:attrNameLst>
                                          <p:attrName>style.visibility</p:attrName>
                                        </p:attrNameLst>
                                      </p:cBhvr>
                                      <p:to>
                                        <p:strVal val="visible"/>
                                      </p:to>
                                    </p:set>
                                    <p:animEffect transition="in" filter="wipe(down)">
                                      <p:cBhvr>
                                        <p:cTn id="11" dur="500"/>
                                        <p:tgtEl>
                                          <p:spTgt spid="84"/>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87"/>
                                        </p:tgtEl>
                                        <p:attrNameLst>
                                          <p:attrName>style.visibility</p:attrName>
                                        </p:attrNameLst>
                                      </p:cBhvr>
                                      <p:to>
                                        <p:strVal val="visible"/>
                                      </p:to>
                                    </p:set>
                                    <p:animEffect transition="in" filter="fade">
                                      <p:cBhvr>
                                        <p:cTn id="15" dur="500"/>
                                        <p:tgtEl>
                                          <p:spTgt spid="87"/>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107"/>
                                        </p:tgtEl>
                                        <p:attrNameLst>
                                          <p:attrName>style.visibility</p:attrName>
                                        </p:attrNameLst>
                                      </p:cBhvr>
                                      <p:to>
                                        <p:strVal val="visible"/>
                                      </p:to>
                                    </p:set>
                                    <p:animEffect transition="in" filter="fade">
                                      <p:cBhvr>
                                        <p:cTn id="18" dur="500"/>
                                        <p:tgtEl>
                                          <p:spTgt spid="107"/>
                                        </p:tgtEl>
                                      </p:cBhvr>
                                    </p:animEffect>
                                  </p:childTnLst>
                                </p:cTn>
                              </p:par>
                            </p:childTnLst>
                          </p:cTn>
                        </p:par>
                        <p:par>
                          <p:cTn id="19" fill="hold">
                            <p:stCondLst>
                              <p:cond delay="1500"/>
                            </p:stCondLst>
                            <p:childTnLst>
                              <p:par>
                                <p:cTn id="20" presetID="10" presetClass="entr" presetSubtype="0" fill="hold" nodeType="afterEffect">
                                  <p:stCondLst>
                                    <p:cond delay="0"/>
                                  </p:stCondLst>
                                  <p:childTnLst>
                                    <p:set>
                                      <p:cBhvr>
                                        <p:cTn id="21" dur="1" fill="hold">
                                          <p:stCondLst>
                                            <p:cond delay="0"/>
                                          </p:stCondLst>
                                        </p:cTn>
                                        <p:tgtEl>
                                          <p:spTgt spid="75"/>
                                        </p:tgtEl>
                                        <p:attrNameLst>
                                          <p:attrName>style.visibility</p:attrName>
                                        </p:attrNameLst>
                                      </p:cBhvr>
                                      <p:to>
                                        <p:strVal val="visible"/>
                                      </p:to>
                                    </p:set>
                                    <p:animEffect transition="in" filter="fade">
                                      <p:cBhvr>
                                        <p:cTn id="22" dur="500"/>
                                        <p:tgtEl>
                                          <p:spTgt spid="75"/>
                                        </p:tgtEl>
                                      </p:cBhvr>
                                    </p:animEffect>
                                  </p:childTnLst>
                                </p:cTn>
                              </p:par>
                            </p:childTnLst>
                          </p:cTn>
                        </p:par>
                        <p:par>
                          <p:cTn id="23" fill="hold">
                            <p:stCondLst>
                              <p:cond delay="2000"/>
                            </p:stCondLst>
                            <p:childTnLst>
                              <p:par>
                                <p:cTn id="24" presetID="22" presetClass="entr" presetSubtype="2" fill="hold" grpId="0" nodeType="afterEffect">
                                  <p:stCondLst>
                                    <p:cond delay="0"/>
                                  </p:stCondLst>
                                  <p:childTnLst>
                                    <p:set>
                                      <p:cBhvr>
                                        <p:cTn id="25" dur="1" fill="hold">
                                          <p:stCondLst>
                                            <p:cond delay="0"/>
                                          </p:stCondLst>
                                        </p:cTn>
                                        <p:tgtEl>
                                          <p:spTgt spid="97"/>
                                        </p:tgtEl>
                                        <p:attrNameLst>
                                          <p:attrName>style.visibility</p:attrName>
                                        </p:attrNameLst>
                                      </p:cBhvr>
                                      <p:to>
                                        <p:strVal val="visible"/>
                                      </p:to>
                                    </p:set>
                                    <p:animEffect transition="in" filter="wipe(right)">
                                      <p:cBhvr>
                                        <p:cTn id="26" dur="500"/>
                                        <p:tgtEl>
                                          <p:spTgt spid="97"/>
                                        </p:tgtEl>
                                      </p:cBhvr>
                                    </p:animEffect>
                                  </p:childTnLst>
                                </p:cTn>
                              </p:par>
                              <p:par>
                                <p:cTn id="27" presetID="22" presetClass="entr" presetSubtype="2" fill="hold" grpId="0" nodeType="withEffect">
                                  <p:stCondLst>
                                    <p:cond delay="0"/>
                                  </p:stCondLst>
                                  <p:childTnLst>
                                    <p:set>
                                      <p:cBhvr>
                                        <p:cTn id="28" dur="1" fill="hold">
                                          <p:stCondLst>
                                            <p:cond delay="0"/>
                                          </p:stCondLst>
                                        </p:cTn>
                                        <p:tgtEl>
                                          <p:spTgt spid="98"/>
                                        </p:tgtEl>
                                        <p:attrNameLst>
                                          <p:attrName>style.visibility</p:attrName>
                                        </p:attrNameLst>
                                      </p:cBhvr>
                                      <p:to>
                                        <p:strVal val="visible"/>
                                      </p:to>
                                    </p:set>
                                    <p:animEffect transition="in" filter="wipe(right)">
                                      <p:cBhvr>
                                        <p:cTn id="29" dur="500"/>
                                        <p:tgtEl>
                                          <p:spTgt spid="98"/>
                                        </p:tgtEl>
                                      </p:cBhvr>
                                    </p:animEffect>
                                  </p:childTnLst>
                                </p:cTn>
                              </p:par>
                            </p:childTnLst>
                          </p:cTn>
                        </p:par>
                        <p:par>
                          <p:cTn id="30" fill="hold">
                            <p:stCondLst>
                              <p:cond delay="2500"/>
                            </p:stCondLst>
                            <p:childTnLst>
                              <p:par>
                                <p:cTn id="31" presetID="10" presetClass="entr" presetSubtype="0" fill="hold" nodeType="afterEffect">
                                  <p:stCondLst>
                                    <p:cond delay="0"/>
                                  </p:stCondLst>
                                  <p:childTnLst>
                                    <p:set>
                                      <p:cBhvr>
                                        <p:cTn id="32" dur="1" fill="hold">
                                          <p:stCondLst>
                                            <p:cond delay="0"/>
                                          </p:stCondLst>
                                        </p:cTn>
                                        <p:tgtEl>
                                          <p:spTgt spid="57"/>
                                        </p:tgtEl>
                                        <p:attrNameLst>
                                          <p:attrName>style.visibility</p:attrName>
                                        </p:attrNameLst>
                                      </p:cBhvr>
                                      <p:to>
                                        <p:strVal val="visible"/>
                                      </p:to>
                                    </p:set>
                                    <p:animEffect transition="in" filter="fade">
                                      <p:cBhvr>
                                        <p:cTn id="33" dur="500"/>
                                        <p:tgtEl>
                                          <p:spTgt spid="57"/>
                                        </p:tgtEl>
                                      </p:cBhvr>
                                    </p:animEffect>
                                  </p:childTnLst>
                                </p:cTn>
                              </p:par>
                              <p:par>
                                <p:cTn id="34" presetID="10" presetClass="entr" presetSubtype="0" fill="hold" nodeType="withEffect">
                                  <p:stCondLst>
                                    <p:cond delay="0"/>
                                  </p:stCondLst>
                                  <p:childTnLst>
                                    <p:set>
                                      <p:cBhvr>
                                        <p:cTn id="35" dur="1" fill="hold">
                                          <p:stCondLst>
                                            <p:cond delay="0"/>
                                          </p:stCondLst>
                                        </p:cTn>
                                        <p:tgtEl>
                                          <p:spTgt spid="133"/>
                                        </p:tgtEl>
                                        <p:attrNameLst>
                                          <p:attrName>style.visibility</p:attrName>
                                        </p:attrNameLst>
                                      </p:cBhvr>
                                      <p:to>
                                        <p:strVal val="visible"/>
                                      </p:to>
                                    </p:set>
                                    <p:animEffect transition="in" filter="fade">
                                      <p:cBhvr>
                                        <p:cTn id="36" dur="500"/>
                                        <p:tgtEl>
                                          <p:spTgt spid="133"/>
                                        </p:tgtEl>
                                      </p:cBhvr>
                                    </p:animEffect>
                                  </p:childTnLst>
                                </p:cTn>
                              </p:par>
                            </p:childTnLst>
                          </p:cTn>
                        </p:par>
                        <p:par>
                          <p:cTn id="37" fill="hold">
                            <p:stCondLst>
                              <p:cond delay="3000"/>
                            </p:stCondLst>
                            <p:childTnLst>
                              <p:par>
                                <p:cTn id="38" presetID="22" presetClass="entr" presetSubtype="2" fill="hold" grpId="0" nodeType="afterEffect">
                                  <p:stCondLst>
                                    <p:cond delay="0"/>
                                  </p:stCondLst>
                                  <p:childTnLst>
                                    <p:set>
                                      <p:cBhvr>
                                        <p:cTn id="39" dur="1" fill="hold">
                                          <p:stCondLst>
                                            <p:cond delay="0"/>
                                          </p:stCondLst>
                                        </p:cTn>
                                        <p:tgtEl>
                                          <p:spTgt spid="95"/>
                                        </p:tgtEl>
                                        <p:attrNameLst>
                                          <p:attrName>style.visibility</p:attrName>
                                        </p:attrNameLst>
                                      </p:cBhvr>
                                      <p:to>
                                        <p:strVal val="visible"/>
                                      </p:to>
                                    </p:set>
                                    <p:animEffect transition="in" filter="wipe(right)">
                                      <p:cBhvr>
                                        <p:cTn id="40" dur="500"/>
                                        <p:tgtEl>
                                          <p:spTgt spid="95"/>
                                        </p:tgtEl>
                                      </p:cBhvr>
                                    </p:animEffect>
                                  </p:childTnLst>
                                </p:cTn>
                              </p:par>
                              <p:par>
                                <p:cTn id="41" presetID="22" presetClass="entr" presetSubtype="2" fill="hold" grpId="0" nodeType="withEffect">
                                  <p:stCondLst>
                                    <p:cond delay="0"/>
                                  </p:stCondLst>
                                  <p:childTnLst>
                                    <p:set>
                                      <p:cBhvr>
                                        <p:cTn id="42" dur="1" fill="hold">
                                          <p:stCondLst>
                                            <p:cond delay="0"/>
                                          </p:stCondLst>
                                        </p:cTn>
                                        <p:tgtEl>
                                          <p:spTgt spid="96"/>
                                        </p:tgtEl>
                                        <p:attrNameLst>
                                          <p:attrName>style.visibility</p:attrName>
                                        </p:attrNameLst>
                                      </p:cBhvr>
                                      <p:to>
                                        <p:strVal val="visible"/>
                                      </p:to>
                                    </p:set>
                                    <p:animEffect transition="in" filter="wipe(right)">
                                      <p:cBhvr>
                                        <p:cTn id="43" dur="500"/>
                                        <p:tgtEl>
                                          <p:spTgt spid="96"/>
                                        </p:tgtEl>
                                      </p:cBhvr>
                                    </p:animEffect>
                                  </p:childTnLst>
                                </p:cTn>
                              </p:par>
                            </p:childTnLst>
                          </p:cTn>
                        </p:par>
                        <p:par>
                          <p:cTn id="44" fill="hold">
                            <p:stCondLst>
                              <p:cond delay="3500"/>
                            </p:stCondLst>
                            <p:childTnLst>
                              <p:par>
                                <p:cTn id="45" presetID="10" presetClass="entr" presetSubtype="0" fill="hold" nodeType="afterEffect">
                                  <p:stCondLst>
                                    <p:cond delay="0"/>
                                  </p:stCondLst>
                                  <p:childTnLst>
                                    <p:set>
                                      <p:cBhvr>
                                        <p:cTn id="46" dur="1" fill="hold">
                                          <p:stCondLst>
                                            <p:cond delay="0"/>
                                          </p:stCondLst>
                                        </p:cTn>
                                        <p:tgtEl>
                                          <p:spTgt spid="39"/>
                                        </p:tgtEl>
                                        <p:attrNameLst>
                                          <p:attrName>style.visibility</p:attrName>
                                        </p:attrNameLst>
                                      </p:cBhvr>
                                      <p:to>
                                        <p:strVal val="visible"/>
                                      </p:to>
                                    </p:set>
                                    <p:animEffect transition="in" filter="fade">
                                      <p:cBhvr>
                                        <p:cTn id="47" dur="500"/>
                                        <p:tgtEl>
                                          <p:spTgt spid="39"/>
                                        </p:tgtEl>
                                      </p:cBhvr>
                                    </p:animEffect>
                                  </p:childTnLst>
                                </p:cTn>
                              </p:par>
                              <p:par>
                                <p:cTn id="48" presetID="10" presetClass="entr" presetSubtype="0" fill="hold" nodeType="withEffect">
                                  <p:stCondLst>
                                    <p:cond delay="0"/>
                                  </p:stCondLst>
                                  <p:childTnLst>
                                    <p:set>
                                      <p:cBhvr>
                                        <p:cTn id="49" dur="1" fill="hold">
                                          <p:stCondLst>
                                            <p:cond delay="0"/>
                                          </p:stCondLst>
                                        </p:cTn>
                                        <p:tgtEl>
                                          <p:spTgt spid="124"/>
                                        </p:tgtEl>
                                        <p:attrNameLst>
                                          <p:attrName>style.visibility</p:attrName>
                                        </p:attrNameLst>
                                      </p:cBhvr>
                                      <p:to>
                                        <p:strVal val="visible"/>
                                      </p:to>
                                    </p:set>
                                    <p:animEffect transition="in" filter="fade">
                                      <p:cBhvr>
                                        <p:cTn id="50" dur="500"/>
                                        <p:tgtEl>
                                          <p:spTgt spid="124"/>
                                        </p:tgtEl>
                                      </p:cBhvr>
                                    </p:animEffect>
                                  </p:childTnLst>
                                </p:cTn>
                              </p:par>
                            </p:childTnLst>
                          </p:cTn>
                        </p:par>
                        <p:par>
                          <p:cTn id="51" fill="hold">
                            <p:stCondLst>
                              <p:cond delay="4000"/>
                            </p:stCondLst>
                            <p:childTnLst>
                              <p:par>
                                <p:cTn id="52" presetID="22" presetClass="entr" presetSubtype="2" fill="hold" grpId="0" nodeType="afterEffect">
                                  <p:stCondLst>
                                    <p:cond delay="0"/>
                                  </p:stCondLst>
                                  <p:childTnLst>
                                    <p:set>
                                      <p:cBhvr>
                                        <p:cTn id="53" dur="1" fill="hold">
                                          <p:stCondLst>
                                            <p:cond delay="0"/>
                                          </p:stCondLst>
                                        </p:cTn>
                                        <p:tgtEl>
                                          <p:spTgt spid="93"/>
                                        </p:tgtEl>
                                        <p:attrNameLst>
                                          <p:attrName>style.visibility</p:attrName>
                                        </p:attrNameLst>
                                      </p:cBhvr>
                                      <p:to>
                                        <p:strVal val="visible"/>
                                      </p:to>
                                    </p:set>
                                    <p:animEffect transition="in" filter="wipe(right)">
                                      <p:cBhvr>
                                        <p:cTn id="54" dur="500"/>
                                        <p:tgtEl>
                                          <p:spTgt spid="93"/>
                                        </p:tgtEl>
                                      </p:cBhvr>
                                    </p:animEffect>
                                  </p:childTnLst>
                                </p:cTn>
                              </p:par>
                              <p:par>
                                <p:cTn id="55" presetID="22" presetClass="entr" presetSubtype="2" fill="hold" grpId="0" nodeType="withEffect">
                                  <p:stCondLst>
                                    <p:cond delay="0"/>
                                  </p:stCondLst>
                                  <p:childTnLst>
                                    <p:set>
                                      <p:cBhvr>
                                        <p:cTn id="56" dur="1" fill="hold">
                                          <p:stCondLst>
                                            <p:cond delay="0"/>
                                          </p:stCondLst>
                                        </p:cTn>
                                        <p:tgtEl>
                                          <p:spTgt spid="94"/>
                                        </p:tgtEl>
                                        <p:attrNameLst>
                                          <p:attrName>style.visibility</p:attrName>
                                        </p:attrNameLst>
                                      </p:cBhvr>
                                      <p:to>
                                        <p:strVal val="visible"/>
                                      </p:to>
                                    </p:set>
                                    <p:animEffect transition="in" filter="wipe(right)">
                                      <p:cBhvr>
                                        <p:cTn id="57" dur="500"/>
                                        <p:tgtEl>
                                          <p:spTgt spid="94"/>
                                        </p:tgtEl>
                                      </p:cBhvr>
                                    </p:animEffect>
                                  </p:childTnLst>
                                </p:cTn>
                              </p:par>
                            </p:childTnLst>
                          </p:cTn>
                        </p:par>
                        <p:par>
                          <p:cTn id="58" fill="hold">
                            <p:stCondLst>
                              <p:cond delay="4500"/>
                            </p:stCondLst>
                            <p:childTnLst>
                              <p:par>
                                <p:cTn id="59" presetID="10" presetClass="entr" presetSubtype="0" fill="hold" nodeType="afterEffect">
                                  <p:stCondLst>
                                    <p:cond delay="0"/>
                                  </p:stCondLst>
                                  <p:childTnLst>
                                    <p:set>
                                      <p:cBhvr>
                                        <p:cTn id="60" dur="1" fill="hold">
                                          <p:stCondLst>
                                            <p:cond delay="0"/>
                                          </p:stCondLst>
                                        </p:cTn>
                                        <p:tgtEl>
                                          <p:spTgt spid="21"/>
                                        </p:tgtEl>
                                        <p:attrNameLst>
                                          <p:attrName>style.visibility</p:attrName>
                                        </p:attrNameLst>
                                      </p:cBhvr>
                                      <p:to>
                                        <p:strVal val="visible"/>
                                      </p:to>
                                    </p:set>
                                    <p:animEffect transition="in" filter="fade">
                                      <p:cBhvr>
                                        <p:cTn id="61" dur="500"/>
                                        <p:tgtEl>
                                          <p:spTgt spid="21"/>
                                        </p:tgtEl>
                                      </p:cBhvr>
                                    </p:animEffect>
                                  </p:childTnLst>
                                </p:cTn>
                              </p:par>
                              <p:par>
                                <p:cTn id="62" presetID="10" presetClass="entr" presetSubtype="0" fill="hold" nodeType="withEffect">
                                  <p:stCondLst>
                                    <p:cond delay="0"/>
                                  </p:stCondLst>
                                  <p:childTnLst>
                                    <p:set>
                                      <p:cBhvr>
                                        <p:cTn id="63" dur="1" fill="hold">
                                          <p:stCondLst>
                                            <p:cond delay="0"/>
                                          </p:stCondLst>
                                        </p:cTn>
                                        <p:tgtEl>
                                          <p:spTgt spid="108"/>
                                        </p:tgtEl>
                                        <p:attrNameLst>
                                          <p:attrName>style.visibility</p:attrName>
                                        </p:attrNameLst>
                                      </p:cBhvr>
                                      <p:to>
                                        <p:strVal val="visible"/>
                                      </p:to>
                                    </p:set>
                                    <p:animEffect transition="in" filter="fade">
                                      <p:cBhvr>
                                        <p:cTn id="64" dur="500"/>
                                        <p:tgtEl>
                                          <p:spTgt spid="108"/>
                                        </p:tgtEl>
                                      </p:cBhvr>
                                    </p:animEffect>
                                  </p:childTnLst>
                                </p:cTn>
                              </p:par>
                            </p:childTnLst>
                          </p:cTn>
                        </p:par>
                        <p:par>
                          <p:cTn id="65" fill="hold">
                            <p:stCondLst>
                              <p:cond delay="5000"/>
                            </p:stCondLst>
                            <p:childTnLst>
                              <p:par>
                                <p:cTn id="66" presetID="22" presetClass="entr" presetSubtype="2" fill="hold" grpId="0" nodeType="afterEffect">
                                  <p:stCondLst>
                                    <p:cond delay="0"/>
                                  </p:stCondLst>
                                  <p:childTnLst>
                                    <p:set>
                                      <p:cBhvr>
                                        <p:cTn id="67" dur="1" fill="hold">
                                          <p:stCondLst>
                                            <p:cond delay="0"/>
                                          </p:stCondLst>
                                        </p:cTn>
                                        <p:tgtEl>
                                          <p:spTgt spid="91"/>
                                        </p:tgtEl>
                                        <p:attrNameLst>
                                          <p:attrName>style.visibility</p:attrName>
                                        </p:attrNameLst>
                                      </p:cBhvr>
                                      <p:to>
                                        <p:strVal val="visible"/>
                                      </p:to>
                                    </p:set>
                                    <p:animEffect transition="in" filter="wipe(right)">
                                      <p:cBhvr>
                                        <p:cTn id="68" dur="500"/>
                                        <p:tgtEl>
                                          <p:spTgt spid="91"/>
                                        </p:tgtEl>
                                      </p:cBhvr>
                                    </p:animEffect>
                                  </p:childTnLst>
                                </p:cTn>
                              </p:par>
                              <p:par>
                                <p:cTn id="69" presetID="22" presetClass="entr" presetSubtype="2" fill="hold" grpId="0" nodeType="withEffect">
                                  <p:stCondLst>
                                    <p:cond delay="0"/>
                                  </p:stCondLst>
                                  <p:childTnLst>
                                    <p:set>
                                      <p:cBhvr>
                                        <p:cTn id="70" dur="1" fill="hold">
                                          <p:stCondLst>
                                            <p:cond delay="0"/>
                                          </p:stCondLst>
                                        </p:cTn>
                                        <p:tgtEl>
                                          <p:spTgt spid="92"/>
                                        </p:tgtEl>
                                        <p:attrNameLst>
                                          <p:attrName>style.visibility</p:attrName>
                                        </p:attrNameLst>
                                      </p:cBhvr>
                                      <p:to>
                                        <p:strVal val="visible"/>
                                      </p:to>
                                    </p:set>
                                    <p:animEffect transition="in" filter="wipe(right)">
                                      <p:cBhvr>
                                        <p:cTn id="71" dur="500"/>
                                        <p:tgtEl>
                                          <p:spTgt spid="92"/>
                                        </p:tgtEl>
                                      </p:cBhvr>
                                    </p:animEffect>
                                  </p:childTnLst>
                                </p:cTn>
                              </p:par>
                            </p:childTnLst>
                          </p:cTn>
                        </p:par>
                        <p:par>
                          <p:cTn id="72" fill="hold">
                            <p:stCondLst>
                              <p:cond delay="5500"/>
                            </p:stCondLst>
                            <p:childTnLst>
                              <p:par>
                                <p:cTn id="73" presetID="10" presetClass="entr" presetSubtype="0" fill="hold" nodeType="afterEffect">
                                  <p:stCondLst>
                                    <p:cond delay="0"/>
                                  </p:stCondLst>
                                  <p:childTnLst>
                                    <p:set>
                                      <p:cBhvr>
                                        <p:cTn id="74" dur="1" fill="hold">
                                          <p:stCondLst>
                                            <p:cond delay="0"/>
                                          </p:stCondLst>
                                        </p:cTn>
                                        <p:tgtEl>
                                          <p:spTgt spid="12"/>
                                        </p:tgtEl>
                                        <p:attrNameLst>
                                          <p:attrName>style.visibility</p:attrName>
                                        </p:attrNameLst>
                                      </p:cBhvr>
                                      <p:to>
                                        <p:strVal val="visible"/>
                                      </p:to>
                                    </p:set>
                                    <p:animEffect transition="in" filter="fade">
                                      <p:cBhvr>
                                        <p:cTn id="75" dur="500"/>
                                        <p:tgtEl>
                                          <p:spTgt spid="12"/>
                                        </p:tgtEl>
                                      </p:cBhvr>
                                    </p:animEffect>
                                  </p:childTnLst>
                                </p:cTn>
                              </p:par>
                              <p:par>
                                <p:cTn id="76" presetID="10" presetClass="entr" presetSubtype="0" fill="hold" nodeType="withEffect">
                                  <p:stCondLst>
                                    <p:cond delay="0"/>
                                  </p:stCondLst>
                                  <p:childTnLst>
                                    <p:set>
                                      <p:cBhvr>
                                        <p:cTn id="77" dur="1" fill="hold">
                                          <p:stCondLst>
                                            <p:cond delay="0"/>
                                          </p:stCondLst>
                                        </p:cTn>
                                        <p:tgtEl>
                                          <p:spTgt spid="116"/>
                                        </p:tgtEl>
                                        <p:attrNameLst>
                                          <p:attrName>style.visibility</p:attrName>
                                        </p:attrNameLst>
                                      </p:cBhvr>
                                      <p:to>
                                        <p:strVal val="visible"/>
                                      </p:to>
                                    </p:set>
                                    <p:animEffect transition="in" filter="fade">
                                      <p:cBhvr>
                                        <p:cTn id="78" dur="500"/>
                                        <p:tgtEl>
                                          <p:spTgt spid="116"/>
                                        </p:tgtEl>
                                      </p:cBhvr>
                                    </p:animEffect>
                                  </p:childTnLst>
                                </p:cTn>
                              </p:par>
                            </p:childTnLst>
                          </p:cTn>
                        </p:par>
                        <p:par>
                          <p:cTn id="79" fill="hold">
                            <p:stCondLst>
                              <p:cond delay="6000"/>
                            </p:stCondLst>
                            <p:childTnLst>
                              <p:par>
                                <p:cTn id="80" presetID="22" presetClass="entr" presetSubtype="8" fill="hold" grpId="0" nodeType="afterEffect">
                                  <p:stCondLst>
                                    <p:cond delay="0"/>
                                  </p:stCondLst>
                                  <p:childTnLst>
                                    <p:set>
                                      <p:cBhvr>
                                        <p:cTn id="81" dur="1" fill="hold">
                                          <p:stCondLst>
                                            <p:cond delay="0"/>
                                          </p:stCondLst>
                                        </p:cTn>
                                        <p:tgtEl>
                                          <p:spTgt spid="99"/>
                                        </p:tgtEl>
                                        <p:attrNameLst>
                                          <p:attrName>style.visibility</p:attrName>
                                        </p:attrNameLst>
                                      </p:cBhvr>
                                      <p:to>
                                        <p:strVal val="visible"/>
                                      </p:to>
                                    </p:set>
                                    <p:animEffect transition="in" filter="wipe(left)">
                                      <p:cBhvr>
                                        <p:cTn id="82" dur="500"/>
                                        <p:tgtEl>
                                          <p:spTgt spid="99"/>
                                        </p:tgtEl>
                                      </p:cBhvr>
                                    </p:animEffect>
                                  </p:childTnLst>
                                </p:cTn>
                              </p:par>
                              <p:par>
                                <p:cTn id="83" presetID="22" presetClass="entr" presetSubtype="8" fill="hold" grpId="0" nodeType="withEffect">
                                  <p:stCondLst>
                                    <p:cond delay="0"/>
                                  </p:stCondLst>
                                  <p:childTnLst>
                                    <p:set>
                                      <p:cBhvr>
                                        <p:cTn id="84" dur="1" fill="hold">
                                          <p:stCondLst>
                                            <p:cond delay="0"/>
                                          </p:stCondLst>
                                        </p:cTn>
                                        <p:tgtEl>
                                          <p:spTgt spid="100"/>
                                        </p:tgtEl>
                                        <p:attrNameLst>
                                          <p:attrName>style.visibility</p:attrName>
                                        </p:attrNameLst>
                                      </p:cBhvr>
                                      <p:to>
                                        <p:strVal val="visible"/>
                                      </p:to>
                                    </p:set>
                                    <p:animEffect transition="in" filter="wipe(left)">
                                      <p:cBhvr>
                                        <p:cTn id="85" dur="500"/>
                                        <p:tgtEl>
                                          <p:spTgt spid="100"/>
                                        </p:tgtEl>
                                      </p:cBhvr>
                                    </p:animEffect>
                                  </p:childTnLst>
                                </p:cTn>
                              </p:par>
                            </p:childTnLst>
                          </p:cTn>
                        </p:par>
                        <p:par>
                          <p:cTn id="86" fill="hold">
                            <p:stCondLst>
                              <p:cond delay="6500"/>
                            </p:stCondLst>
                            <p:childTnLst>
                              <p:par>
                                <p:cTn id="87" presetID="10" presetClass="entr" presetSubtype="0" fill="hold" nodeType="afterEffect">
                                  <p:stCondLst>
                                    <p:cond delay="0"/>
                                  </p:stCondLst>
                                  <p:childTnLst>
                                    <p:set>
                                      <p:cBhvr>
                                        <p:cTn id="88" dur="1" fill="hold">
                                          <p:stCondLst>
                                            <p:cond delay="0"/>
                                          </p:stCondLst>
                                        </p:cTn>
                                        <p:tgtEl>
                                          <p:spTgt spid="30"/>
                                        </p:tgtEl>
                                        <p:attrNameLst>
                                          <p:attrName>style.visibility</p:attrName>
                                        </p:attrNameLst>
                                      </p:cBhvr>
                                      <p:to>
                                        <p:strVal val="visible"/>
                                      </p:to>
                                    </p:set>
                                    <p:animEffect transition="in" filter="fade">
                                      <p:cBhvr>
                                        <p:cTn id="89" dur="500"/>
                                        <p:tgtEl>
                                          <p:spTgt spid="30"/>
                                        </p:tgtEl>
                                      </p:cBhvr>
                                    </p:animEffect>
                                  </p:childTnLst>
                                </p:cTn>
                              </p:par>
                              <p:par>
                                <p:cTn id="90" presetID="10" presetClass="entr" presetSubtype="0" fill="hold" nodeType="withEffect">
                                  <p:stCondLst>
                                    <p:cond delay="0"/>
                                  </p:stCondLst>
                                  <p:childTnLst>
                                    <p:set>
                                      <p:cBhvr>
                                        <p:cTn id="91" dur="1" fill="hold">
                                          <p:stCondLst>
                                            <p:cond delay="0"/>
                                          </p:stCondLst>
                                        </p:cTn>
                                        <p:tgtEl>
                                          <p:spTgt spid="120"/>
                                        </p:tgtEl>
                                        <p:attrNameLst>
                                          <p:attrName>style.visibility</p:attrName>
                                        </p:attrNameLst>
                                      </p:cBhvr>
                                      <p:to>
                                        <p:strVal val="visible"/>
                                      </p:to>
                                    </p:set>
                                    <p:animEffect transition="in" filter="fade">
                                      <p:cBhvr>
                                        <p:cTn id="92" dur="500"/>
                                        <p:tgtEl>
                                          <p:spTgt spid="120"/>
                                        </p:tgtEl>
                                      </p:cBhvr>
                                    </p:animEffect>
                                  </p:childTnLst>
                                </p:cTn>
                              </p:par>
                            </p:childTnLst>
                          </p:cTn>
                        </p:par>
                        <p:par>
                          <p:cTn id="93" fill="hold">
                            <p:stCondLst>
                              <p:cond delay="7000"/>
                            </p:stCondLst>
                            <p:childTnLst>
                              <p:par>
                                <p:cTn id="94" presetID="22" presetClass="entr" presetSubtype="8" fill="hold" grpId="0" nodeType="afterEffect">
                                  <p:stCondLst>
                                    <p:cond delay="0"/>
                                  </p:stCondLst>
                                  <p:childTnLst>
                                    <p:set>
                                      <p:cBhvr>
                                        <p:cTn id="95" dur="1" fill="hold">
                                          <p:stCondLst>
                                            <p:cond delay="0"/>
                                          </p:stCondLst>
                                        </p:cTn>
                                        <p:tgtEl>
                                          <p:spTgt spid="101"/>
                                        </p:tgtEl>
                                        <p:attrNameLst>
                                          <p:attrName>style.visibility</p:attrName>
                                        </p:attrNameLst>
                                      </p:cBhvr>
                                      <p:to>
                                        <p:strVal val="visible"/>
                                      </p:to>
                                    </p:set>
                                    <p:animEffect transition="in" filter="wipe(left)">
                                      <p:cBhvr>
                                        <p:cTn id="96" dur="500"/>
                                        <p:tgtEl>
                                          <p:spTgt spid="101"/>
                                        </p:tgtEl>
                                      </p:cBhvr>
                                    </p:animEffect>
                                  </p:childTnLst>
                                </p:cTn>
                              </p:par>
                              <p:par>
                                <p:cTn id="97" presetID="22" presetClass="entr" presetSubtype="8" fill="hold" grpId="0" nodeType="withEffect">
                                  <p:stCondLst>
                                    <p:cond delay="0"/>
                                  </p:stCondLst>
                                  <p:childTnLst>
                                    <p:set>
                                      <p:cBhvr>
                                        <p:cTn id="98" dur="1" fill="hold">
                                          <p:stCondLst>
                                            <p:cond delay="0"/>
                                          </p:stCondLst>
                                        </p:cTn>
                                        <p:tgtEl>
                                          <p:spTgt spid="102"/>
                                        </p:tgtEl>
                                        <p:attrNameLst>
                                          <p:attrName>style.visibility</p:attrName>
                                        </p:attrNameLst>
                                      </p:cBhvr>
                                      <p:to>
                                        <p:strVal val="visible"/>
                                      </p:to>
                                    </p:set>
                                    <p:animEffect transition="in" filter="wipe(left)">
                                      <p:cBhvr>
                                        <p:cTn id="99" dur="500"/>
                                        <p:tgtEl>
                                          <p:spTgt spid="102"/>
                                        </p:tgtEl>
                                      </p:cBhvr>
                                    </p:animEffect>
                                  </p:childTnLst>
                                </p:cTn>
                              </p:par>
                            </p:childTnLst>
                          </p:cTn>
                        </p:par>
                        <p:par>
                          <p:cTn id="100" fill="hold">
                            <p:stCondLst>
                              <p:cond delay="7500"/>
                            </p:stCondLst>
                            <p:childTnLst>
                              <p:par>
                                <p:cTn id="101" presetID="10" presetClass="entr" presetSubtype="0" fill="hold" nodeType="afterEffect">
                                  <p:stCondLst>
                                    <p:cond delay="0"/>
                                  </p:stCondLst>
                                  <p:childTnLst>
                                    <p:set>
                                      <p:cBhvr>
                                        <p:cTn id="102" dur="1" fill="hold">
                                          <p:stCondLst>
                                            <p:cond delay="0"/>
                                          </p:stCondLst>
                                        </p:cTn>
                                        <p:tgtEl>
                                          <p:spTgt spid="48"/>
                                        </p:tgtEl>
                                        <p:attrNameLst>
                                          <p:attrName>style.visibility</p:attrName>
                                        </p:attrNameLst>
                                      </p:cBhvr>
                                      <p:to>
                                        <p:strVal val="visible"/>
                                      </p:to>
                                    </p:set>
                                    <p:animEffect transition="in" filter="fade">
                                      <p:cBhvr>
                                        <p:cTn id="103" dur="500"/>
                                        <p:tgtEl>
                                          <p:spTgt spid="48"/>
                                        </p:tgtEl>
                                      </p:cBhvr>
                                    </p:animEffect>
                                  </p:childTnLst>
                                </p:cTn>
                              </p:par>
                              <p:par>
                                <p:cTn id="104" presetID="10" presetClass="entr" presetSubtype="0" fill="hold" nodeType="withEffect">
                                  <p:stCondLst>
                                    <p:cond delay="0"/>
                                  </p:stCondLst>
                                  <p:childTnLst>
                                    <p:set>
                                      <p:cBhvr>
                                        <p:cTn id="105" dur="1" fill="hold">
                                          <p:stCondLst>
                                            <p:cond delay="0"/>
                                          </p:stCondLst>
                                        </p:cTn>
                                        <p:tgtEl>
                                          <p:spTgt spid="143"/>
                                        </p:tgtEl>
                                        <p:attrNameLst>
                                          <p:attrName>style.visibility</p:attrName>
                                        </p:attrNameLst>
                                      </p:cBhvr>
                                      <p:to>
                                        <p:strVal val="visible"/>
                                      </p:to>
                                    </p:set>
                                    <p:animEffect transition="in" filter="fade">
                                      <p:cBhvr>
                                        <p:cTn id="106" dur="500"/>
                                        <p:tgtEl>
                                          <p:spTgt spid="143"/>
                                        </p:tgtEl>
                                      </p:cBhvr>
                                    </p:animEffect>
                                  </p:childTnLst>
                                </p:cTn>
                              </p:par>
                            </p:childTnLst>
                          </p:cTn>
                        </p:par>
                        <p:par>
                          <p:cTn id="107" fill="hold">
                            <p:stCondLst>
                              <p:cond delay="8000"/>
                            </p:stCondLst>
                            <p:childTnLst>
                              <p:par>
                                <p:cTn id="108" presetID="22" presetClass="entr" presetSubtype="8" fill="hold" grpId="0" nodeType="afterEffect">
                                  <p:stCondLst>
                                    <p:cond delay="0"/>
                                  </p:stCondLst>
                                  <p:childTnLst>
                                    <p:set>
                                      <p:cBhvr>
                                        <p:cTn id="109" dur="1" fill="hold">
                                          <p:stCondLst>
                                            <p:cond delay="0"/>
                                          </p:stCondLst>
                                        </p:cTn>
                                        <p:tgtEl>
                                          <p:spTgt spid="103"/>
                                        </p:tgtEl>
                                        <p:attrNameLst>
                                          <p:attrName>style.visibility</p:attrName>
                                        </p:attrNameLst>
                                      </p:cBhvr>
                                      <p:to>
                                        <p:strVal val="visible"/>
                                      </p:to>
                                    </p:set>
                                    <p:animEffect transition="in" filter="wipe(left)">
                                      <p:cBhvr>
                                        <p:cTn id="110" dur="500"/>
                                        <p:tgtEl>
                                          <p:spTgt spid="103"/>
                                        </p:tgtEl>
                                      </p:cBhvr>
                                    </p:animEffect>
                                  </p:childTnLst>
                                </p:cTn>
                              </p:par>
                              <p:par>
                                <p:cTn id="111" presetID="22" presetClass="entr" presetSubtype="8" fill="hold" grpId="0" nodeType="withEffect">
                                  <p:stCondLst>
                                    <p:cond delay="0"/>
                                  </p:stCondLst>
                                  <p:childTnLst>
                                    <p:set>
                                      <p:cBhvr>
                                        <p:cTn id="112" dur="1" fill="hold">
                                          <p:stCondLst>
                                            <p:cond delay="0"/>
                                          </p:stCondLst>
                                        </p:cTn>
                                        <p:tgtEl>
                                          <p:spTgt spid="104"/>
                                        </p:tgtEl>
                                        <p:attrNameLst>
                                          <p:attrName>style.visibility</p:attrName>
                                        </p:attrNameLst>
                                      </p:cBhvr>
                                      <p:to>
                                        <p:strVal val="visible"/>
                                      </p:to>
                                    </p:set>
                                    <p:animEffect transition="in" filter="wipe(left)">
                                      <p:cBhvr>
                                        <p:cTn id="113" dur="500"/>
                                        <p:tgtEl>
                                          <p:spTgt spid="104"/>
                                        </p:tgtEl>
                                      </p:cBhvr>
                                    </p:animEffect>
                                  </p:childTnLst>
                                </p:cTn>
                              </p:par>
                            </p:childTnLst>
                          </p:cTn>
                        </p:par>
                        <p:par>
                          <p:cTn id="114" fill="hold">
                            <p:stCondLst>
                              <p:cond delay="8500"/>
                            </p:stCondLst>
                            <p:childTnLst>
                              <p:par>
                                <p:cTn id="115" presetID="10" presetClass="entr" presetSubtype="0" fill="hold" nodeType="afterEffect">
                                  <p:stCondLst>
                                    <p:cond delay="0"/>
                                  </p:stCondLst>
                                  <p:childTnLst>
                                    <p:set>
                                      <p:cBhvr>
                                        <p:cTn id="116" dur="1" fill="hold">
                                          <p:stCondLst>
                                            <p:cond delay="0"/>
                                          </p:stCondLst>
                                        </p:cTn>
                                        <p:tgtEl>
                                          <p:spTgt spid="66"/>
                                        </p:tgtEl>
                                        <p:attrNameLst>
                                          <p:attrName>style.visibility</p:attrName>
                                        </p:attrNameLst>
                                      </p:cBhvr>
                                      <p:to>
                                        <p:strVal val="visible"/>
                                      </p:to>
                                    </p:set>
                                    <p:animEffect transition="in" filter="fade">
                                      <p:cBhvr>
                                        <p:cTn id="117" dur="500"/>
                                        <p:tgtEl>
                                          <p:spTgt spid="66"/>
                                        </p:tgtEl>
                                      </p:cBhvr>
                                    </p:animEffect>
                                  </p:childTnLst>
                                </p:cTn>
                              </p:par>
                              <p:par>
                                <p:cTn id="118" presetID="10" presetClass="entr" presetSubtype="0" fill="hold" nodeType="withEffect">
                                  <p:stCondLst>
                                    <p:cond delay="0"/>
                                  </p:stCondLst>
                                  <p:childTnLst>
                                    <p:set>
                                      <p:cBhvr>
                                        <p:cTn id="119" dur="1" fill="hold">
                                          <p:stCondLst>
                                            <p:cond delay="0"/>
                                          </p:stCondLst>
                                        </p:cTn>
                                        <p:tgtEl>
                                          <p:spTgt spid="140"/>
                                        </p:tgtEl>
                                        <p:attrNameLst>
                                          <p:attrName>style.visibility</p:attrName>
                                        </p:attrNameLst>
                                      </p:cBhvr>
                                      <p:to>
                                        <p:strVal val="visible"/>
                                      </p:to>
                                    </p:set>
                                    <p:animEffect transition="in" filter="fade">
                                      <p:cBhvr>
                                        <p:cTn id="120" dur="500"/>
                                        <p:tgtEl>
                                          <p:spTgt spid="140"/>
                                        </p:tgtEl>
                                      </p:cBhvr>
                                    </p:animEffect>
                                  </p:childTnLst>
                                </p:cTn>
                              </p:par>
                            </p:childTnLst>
                          </p:cTn>
                        </p:par>
                        <p:par>
                          <p:cTn id="121" fill="hold">
                            <p:stCondLst>
                              <p:cond delay="9000"/>
                            </p:stCondLst>
                            <p:childTnLst>
                              <p:par>
                                <p:cTn id="122" presetID="22" presetClass="entr" presetSubtype="8" fill="hold" grpId="0" nodeType="afterEffect">
                                  <p:stCondLst>
                                    <p:cond delay="0"/>
                                  </p:stCondLst>
                                  <p:childTnLst>
                                    <p:set>
                                      <p:cBhvr>
                                        <p:cTn id="123" dur="1" fill="hold">
                                          <p:stCondLst>
                                            <p:cond delay="0"/>
                                          </p:stCondLst>
                                        </p:cTn>
                                        <p:tgtEl>
                                          <p:spTgt spid="105"/>
                                        </p:tgtEl>
                                        <p:attrNameLst>
                                          <p:attrName>style.visibility</p:attrName>
                                        </p:attrNameLst>
                                      </p:cBhvr>
                                      <p:to>
                                        <p:strVal val="visible"/>
                                      </p:to>
                                    </p:set>
                                    <p:animEffect transition="in" filter="wipe(left)">
                                      <p:cBhvr>
                                        <p:cTn id="124" dur="500"/>
                                        <p:tgtEl>
                                          <p:spTgt spid="105"/>
                                        </p:tgtEl>
                                      </p:cBhvr>
                                    </p:animEffect>
                                  </p:childTnLst>
                                </p:cTn>
                              </p:par>
                              <p:par>
                                <p:cTn id="125" presetID="22" presetClass="entr" presetSubtype="8" fill="hold" grpId="0" nodeType="withEffect">
                                  <p:stCondLst>
                                    <p:cond delay="0"/>
                                  </p:stCondLst>
                                  <p:childTnLst>
                                    <p:set>
                                      <p:cBhvr>
                                        <p:cTn id="126" dur="1" fill="hold">
                                          <p:stCondLst>
                                            <p:cond delay="0"/>
                                          </p:stCondLst>
                                        </p:cTn>
                                        <p:tgtEl>
                                          <p:spTgt spid="106"/>
                                        </p:tgtEl>
                                        <p:attrNameLst>
                                          <p:attrName>style.visibility</p:attrName>
                                        </p:attrNameLst>
                                      </p:cBhvr>
                                      <p:to>
                                        <p:strVal val="visible"/>
                                      </p:to>
                                    </p:set>
                                    <p:animEffect transition="in" filter="wipe(left)">
                                      <p:cBhvr>
                                        <p:cTn id="127" dur="500"/>
                                        <p:tgtEl>
                                          <p:spTgt spid="10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0" grpId="0"/>
      <p:bldP spid="91" grpId="0"/>
      <p:bldP spid="92" grpId="0"/>
      <p:bldP spid="93" grpId="0"/>
      <p:bldP spid="94" grpId="0"/>
      <p:bldP spid="95" grpId="0"/>
      <p:bldP spid="96" grpId="0"/>
      <p:bldP spid="97" grpId="0"/>
      <p:bldP spid="98" grpId="0"/>
      <p:bldP spid="99" grpId="0"/>
      <p:bldP spid="100" grpId="0"/>
      <p:bldP spid="101" grpId="0"/>
      <p:bldP spid="102" grpId="0"/>
      <p:bldP spid="103" grpId="0"/>
      <p:bldP spid="104" grpId="0"/>
      <p:bldP spid="105" grpId="0"/>
      <p:bldP spid="106" grpId="0"/>
      <p:bldP spid="107" grpId="0" animBg="1"/>
    </p:bldLst>
  </p:timing>
</p:sld>
</file>

<file path=ppt/slides/slide6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6">
            <a:extLst>
              <a:ext uri="{FF2B5EF4-FFF2-40B4-BE49-F238E27FC236}">
                <a16:creationId xmlns:a16="http://schemas.microsoft.com/office/drawing/2014/main" id="{EED293C6-A8F9-4BE4-A431-43A0A5ED39AA}"/>
              </a:ext>
            </a:extLst>
          </p:cNvPr>
          <p:cNvGrpSpPr/>
          <p:nvPr/>
        </p:nvGrpSpPr>
        <p:grpSpPr>
          <a:xfrm>
            <a:off x="3789083" y="5585270"/>
            <a:ext cx="736712" cy="815798"/>
            <a:chOff x="3789083" y="5585270"/>
            <a:chExt cx="736712" cy="815798"/>
          </a:xfrm>
        </p:grpSpPr>
        <p:sp>
          <p:nvSpPr>
            <p:cNvPr id="3" name="Freeform: Shape 57">
              <a:extLst>
                <a:ext uri="{FF2B5EF4-FFF2-40B4-BE49-F238E27FC236}">
                  <a16:creationId xmlns:a16="http://schemas.microsoft.com/office/drawing/2014/main" id="{EF706029-A97F-48BA-B131-99BF6E16961F}"/>
                </a:ext>
              </a:extLst>
            </p:cNvPr>
            <p:cNvSpPr/>
            <p:nvPr/>
          </p:nvSpPr>
          <p:spPr>
            <a:xfrm rot="20288979">
              <a:off x="3789083" y="5658462"/>
              <a:ext cx="736712" cy="742606"/>
            </a:xfrm>
            <a:custGeom>
              <a:avLst/>
              <a:gdLst>
                <a:gd name="connsiteX0" fmla="*/ 528439 w 528438"/>
                <a:gd name="connsiteY0" fmla="*/ 266333 h 532665"/>
                <a:gd name="connsiteX1" fmla="*/ 264219 w 528438"/>
                <a:gd name="connsiteY1" fmla="*/ 532666 h 532665"/>
                <a:gd name="connsiteX2" fmla="*/ 0 w 528438"/>
                <a:gd name="connsiteY2" fmla="*/ 266333 h 532665"/>
                <a:gd name="connsiteX3" fmla="*/ 264219 w 528438"/>
                <a:gd name="connsiteY3" fmla="*/ 0 h 532665"/>
                <a:gd name="connsiteX4" fmla="*/ 528439 w 528438"/>
                <a:gd name="connsiteY4" fmla="*/ 266333 h 5326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8438" h="532665">
                  <a:moveTo>
                    <a:pt x="528439" y="266333"/>
                  </a:moveTo>
                  <a:cubicBezTo>
                    <a:pt x="528439" y="413425"/>
                    <a:pt x="410144" y="532666"/>
                    <a:pt x="264219" y="532666"/>
                  </a:cubicBezTo>
                  <a:cubicBezTo>
                    <a:pt x="118295" y="532666"/>
                    <a:pt x="0" y="413425"/>
                    <a:pt x="0" y="266333"/>
                  </a:cubicBezTo>
                  <a:cubicBezTo>
                    <a:pt x="0" y="119241"/>
                    <a:pt x="118295" y="0"/>
                    <a:pt x="264219" y="0"/>
                  </a:cubicBezTo>
                  <a:cubicBezTo>
                    <a:pt x="410144" y="0"/>
                    <a:pt x="528439" y="119241"/>
                    <a:pt x="528439" y="266333"/>
                  </a:cubicBezTo>
                  <a:close/>
                </a:path>
              </a:pathLst>
            </a:custGeom>
            <a:solidFill>
              <a:schemeClr val="accent1"/>
            </a:solidFill>
            <a:ln w="10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useBgFill="1">
          <p:nvSpPr>
            <p:cNvPr id="4" name="Freeform: Shape 59">
              <a:extLst>
                <a:ext uri="{FF2B5EF4-FFF2-40B4-BE49-F238E27FC236}">
                  <a16:creationId xmlns:a16="http://schemas.microsoft.com/office/drawing/2014/main" id="{4C3641F8-A5F0-4E08-A014-E04ED11D5C3C}"/>
                </a:ext>
              </a:extLst>
            </p:cNvPr>
            <p:cNvSpPr/>
            <p:nvPr/>
          </p:nvSpPr>
          <p:spPr>
            <a:xfrm>
              <a:off x="3887832" y="5754726"/>
              <a:ext cx="539214" cy="550078"/>
            </a:xfrm>
            <a:custGeom>
              <a:avLst/>
              <a:gdLst>
                <a:gd name="connsiteX0" fmla="*/ 372520 w 386774"/>
                <a:gd name="connsiteY0" fmla="*/ 269677 h 394567"/>
                <a:gd name="connsiteX1" fmla="*/ 120994 w 386774"/>
                <a:gd name="connsiteY1" fmla="*/ 380644 h 394567"/>
                <a:gd name="connsiteX2" fmla="*/ 14254 w 386774"/>
                <a:gd name="connsiteY2" fmla="*/ 124891 h 394567"/>
                <a:gd name="connsiteX3" fmla="*/ 265780 w 386774"/>
                <a:gd name="connsiteY3" fmla="*/ 13924 h 394567"/>
                <a:gd name="connsiteX4" fmla="*/ 372520 w 386774"/>
                <a:gd name="connsiteY4" fmla="*/ 269677 h 3945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6774" h="394567">
                  <a:moveTo>
                    <a:pt x="372520" y="269677"/>
                  </a:moveTo>
                  <a:cubicBezTo>
                    <a:pt x="332360" y="371132"/>
                    <a:pt x="219279" y="420803"/>
                    <a:pt x="120994" y="380644"/>
                  </a:cubicBezTo>
                  <a:cubicBezTo>
                    <a:pt x="21652" y="340484"/>
                    <a:pt x="-25905" y="226347"/>
                    <a:pt x="14254" y="124891"/>
                  </a:cubicBezTo>
                  <a:cubicBezTo>
                    <a:pt x="54414" y="23435"/>
                    <a:pt x="167495" y="-26236"/>
                    <a:pt x="265780" y="13924"/>
                  </a:cubicBezTo>
                  <a:cubicBezTo>
                    <a:pt x="365122" y="54083"/>
                    <a:pt x="412679" y="169278"/>
                    <a:pt x="372520" y="269677"/>
                  </a:cubicBezTo>
                  <a:close/>
                </a:path>
              </a:pathLst>
            </a:custGeom>
            <a:ln w="10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5" name="Freeform: Shape 65">
              <a:extLst>
                <a:ext uri="{FF2B5EF4-FFF2-40B4-BE49-F238E27FC236}">
                  <a16:creationId xmlns:a16="http://schemas.microsoft.com/office/drawing/2014/main" id="{737A1A98-EAEC-4D1A-AA49-35A95D4D71E8}"/>
                </a:ext>
              </a:extLst>
            </p:cNvPr>
            <p:cNvSpPr/>
            <p:nvPr/>
          </p:nvSpPr>
          <p:spPr>
            <a:xfrm>
              <a:off x="4262220" y="5585270"/>
              <a:ext cx="194371" cy="170810"/>
            </a:xfrm>
            <a:custGeom>
              <a:avLst/>
              <a:gdLst>
                <a:gd name="connsiteX0" fmla="*/ 0 w 174377"/>
                <a:gd name="connsiteY0" fmla="*/ 85603 h 153240"/>
                <a:gd name="connsiteX1" fmla="*/ 124706 w 174377"/>
                <a:gd name="connsiteY1" fmla="*/ 153240 h 153240"/>
                <a:gd name="connsiteX2" fmla="*/ 174377 w 174377"/>
                <a:gd name="connsiteY2" fmla="*/ 71864 h 153240"/>
                <a:gd name="connsiteX3" fmla="*/ 34875 w 174377"/>
                <a:gd name="connsiteY3" fmla="*/ 0 h 153240"/>
                <a:gd name="connsiteX4" fmla="*/ 0 w 174377"/>
                <a:gd name="connsiteY4" fmla="*/ 85603 h 1532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4377" h="153240">
                  <a:moveTo>
                    <a:pt x="0" y="85603"/>
                  </a:moveTo>
                  <a:cubicBezTo>
                    <a:pt x="46501" y="96171"/>
                    <a:pt x="89831" y="119422"/>
                    <a:pt x="124706" y="153240"/>
                  </a:cubicBezTo>
                  <a:cubicBezTo>
                    <a:pt x="121536" y="119422"/>
                    <a:pt x="141615" y="85603"/>
                    <a:pt x="174377" y="71864"/>
                  </a:cubicBezTo>
                  <a:cubicBezTo>
                    <a:pt x="124706" y="54955"/>
                    <a:pt x="78205" y="30648"/>
                    <a:pt x="34875" y="0"/>
                  </a:cubicBezTo>
                  <a:cubicBezTo>
                    <a:pt x="43330" y="33818"/>
                    <a:pt x="28534" y="67637"/>
                    <a:pt x="0" y="85603"/>
                  </a:cubicBezTo>
                  <a:close/>
                </a:path>
              </a:pathLst>
            </a:custGeom>
            <a:solidFill>
              <a:schemeClr val="accent1"/>
            </a:solidFill>
            <a:ln w="10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sp>
        <p:nvSpPr>
          <p:cNvPr id="6" name="Title 1">
            <a:extLst>
              <a:ext uri="{FF2B5EF4-FFF2-40B4-BE49-F238E27FC236}">
                <a16:creationId xmlns:a16="http://schemas.microsoft.com/office/drawing/2014/main" id="{4FCE82D3-FF61-4B68-A04F-4261BE3A47A1}"/>
              </a:ext>
            </a:extLst>
          </p:cNvPr>
          <p:cNvSpPr txBox="1">
            <a:spLocks/>
          </p:cNvSpPr>
          <p:nvPr/>
        </p:nvSpPr>
        <p:spPr>
          <a:xfrm>
            <a:off x="2043113" y="304800"/>
            <a:ext cx="8105775" cy="1105808"/>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ID" sz="4400" b="0" i="0" u="none" strike="noStrike" kern="1200" cap="none" spc="0" normalizeH="0" baseline="0" noProof="0">
                <a:ln>
                  <a:noFill/>
                </a:ln>
                <a:solidFill>
                  <a:srgbClr val="000000"/>
                </a:solidFill>
                <a:effectLst/>
                <a:uLnTx/>
                <a:uFillTx/>
                <a:latin typeface="等线 Light" panose="020F0302020204030204"/>
                <a:ea typeface="+mj-ea"/>
                <a:cs typeface="+mj-cs"/>
              </a:rPr>
              <a:t>Tree Infographic</a:t>
            </a:r>
          </a:p>
        </p:txBody>
      </p:sp>
      <p:sp>
        <p:nvSpPr>
          <p:cNvPr id="7" name="Freeform: Shape 4">
            <a:extLst>
              <a:ext uri="{FF2B5EF4-FFF2-40B4-BE49-F238E27FC236}">
                <a16:creationId xmlns:a16="http://schemas.microsoft.com/office/drawing/2014/main" id="{F00E6F4F-D7A4-4D7B-9EC2-3DD3F35D0096}"/>
              </a:ext>
            </a:extLst>
          </p:cNvPr>
          <p:cNvSpPr/>
          <p:nvPr/>
        </p:nvSpPr>
        <p:spPr>
          <a:xfrm>
            <a:off x="6015810" y="5103465"/>
            <a:ext cx="157852" cy="1764367"/>
          </a:xfrm>
          <a:custGeom>
            <a:avLst/>
            <a:gdLst>
              <a:gd name="connsiteX0" fmla="*/ 0 w 141615"/>
              <a:gd name="connsiteY0" fmla="*/ 0 h 2342993"/>
              <a:gd name="connsiteX1" fmla="*/ 141615 w 141615"/>
              <a:gd name="connsiteY1" fmla="*/ 0 h 2342993"/>
              <a:gd name="connsiteX2" fmla="*/ 141615 w 141615"/>
              <a:gd name="connsiteY2" fmla="*/ 2342993 h 2342993"/>
              <a:gd name="connsiteX3" fmla="*/ 0 w 141615"/>
              <a:gd name="connsiteY3" fmla="*/ 2342993 h 2342993"/>
            </a:gdLst>
            <a:ahLst/>
            <a:cxnLst>
              <a:cxn ang="0">
                <a:pos x="connsiteX0" y="connsiteY0"/>
              </a:cxn>
              <a:cxn ang="0">
                <a:pos x="connsiteX1" y="connsiteY1"/>
              </a:cxn>
              <a:cxn ang="0">
                <a:pos x="connsiteX2" y="connsiteY2"/>
              </a:cxn>
              <a:cxn ang="0">
                <a:pos x="connsiteX3" y="connsiteY3"/>
              </a:cxn>
            </a:cxnLst>
            <a:rect l="l" t="t" r="r" b="b"/>
            <a:pathLst>
              <a:path w="141615" h="2342993">
                <a:moveTo>
                  <a:pt x="0" y="0"/>
                </a:moveTo>
                <a:lnTo>
                  <a:pt x="141615" y="0"/>
                </a:lnTo>
                <a:lnTo>
                  <a:pt x="141615" y="2342993"/>
                </a:lnTo>
                <a:lnTo>
                  <a:pt x="0" y="2342993"/>
                </a:lnTo>
                <a:close/>
              </a:path>
            </a:pathLst>
          </a:custGeom>
          <a:solidFill>
            <a:schemeClr val="tx2">
              <a:lumMod val="25000"/>
              <a:lumOff val="75000"/>
            </a:schemeClr>
          </a:solidFill>
          <a:ln w="10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nvGrpSpPr>
          <p:cNvPr id="8" name="Group 3">
            <a:extLst>
              <a:ext uri="{FF2B5EF4-FFF2-40B4-BE49-F238E27FC236}">
                <a16:creationId xmlns:a16="http://schemas.microsoft.com/office/drawing/2014/main" id="{EBDAC178-64AF-4236-A2D5-FBE623E3485D}"/>
              </a:ext>
            </a:extLst>
          </p:cNvPr>
          <p:cNvGrpSpPr/>
          <p:nvPr/>
        </p:nvGrpSpPr>
        <p:grpSpPr>
          <a:xfrm>
            <a:off x="5499644" y="3951804"/>
            <a:ext cx="1185079" cy="1185079"/>
            <a:chOff x="5499644" y="3951804"/>
            <a:chExt cx="1185079" cy="1185079"/>
          </a:xfrm>
        </p:grpSpPr>
        <p:sp>
          <p:nvSpPr>
            <p:cNvPr id="9" name="Freeform: Shape 5">
              <a:extLst>
                <a:ext uri="{FF2B5EF4-FFF2-40B4-BE49-F238E27FC236}">
                  <a16:creationId xmlns:a16="http://schemas.microsoft.com/office/drawing/2014/main" id="{95278E0F-D6B5-4548-B40A-22C22F97F067}"/>
                </a:ext>
              </a:extLst>
            </p:cNvPr>
            <p:cNvSpPr/>
            <p:nvPr/>
          </p:nvSpPr>
          <p:spPr>
            <a:xfrm rot="19446319">
              <a:off x="5499644" y="3951804"/>
              <a:ext cx="1185079" cy="1185079"/>
            </a:xfrm>
            <a:custGeom>
              <a:avLst/>
              <a:gdLst>
                <a:gd name="connsiteX0" fmla="*/ 1063177 w 1063176"/>
                <a:gd name="connsiteY0" fmla="*/ 531588 h 1063176"/>
                <a:gd name="connsiteX1" fmla="*/ 531588 w 1063176"/>
                <a:gd name="connsiteY1" fmla="*/ 1063177 h 1063176"/>
                <a:gd name="connsiteX2" fmla="*/ 0 w 1063176"/>
                <a:gd name="connsiteY2" fmla="*/ 531588 h 1063176"/>
                <a:gd name="connsiteX3" fmla="*/ 531588 w 1063176"/>
                <a:gd name="connsiteY3" fmla="*/ 0 h 1063176"/>
                <a:gd name="connsiteX4" fmla="*/ 1063177 w 1063176"/>
                <a:gd name="connsiteY4" fmla="*/ 531588 h 10631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3176" h="1063176">
                  <a:moveTo>
                    <a:pt x="1063177" y="531588"/>
                  </a:moveTo>
                  <a:cubicBezTo>
                    <a:pt x="1063177" y="825176"/>
                    <a:pt x="825176" y="1063177"/>
                    <a:pt x="531588" y="1063177"/>
                  </a:cubicBezTo>
                  <a:cubicBezTo>
                    <a:pt x="238000" y="1063177"/>
                    <a:pt x="0" y="825176"/>
                    <a:pt x="0" y="531588"/>
                  </a:cubicBezTo>
                  <a:cubicBezTo>
                    <a:pt x="0" y="238000"/>
                    <a:pt x="238000" y="0"/>
                    <a:pt x="531588" y="0"/>
                  </a:cubicBezTo>
                  <a:cubicBezTo>
                    <a:pt x="825176" y="0"/>
                    <a:pt x="1063177" y="238000"/>
                    <a:pt x="1063177" y="531588"/>
                  </a:cubicBezTo>
                  <a:close/>
                </a:path>
              </a:pathLst>
            </a:custGeom>
            <a:solidFill>
              <a:schemeClr val="tx2">
                <a:lumMod val="25000"/>
                <a:lumOff val="75000"/>
              </a:schemeClr>
            </a:solidFill>
            <a:ln w="10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0" name="Freeform: Shape 8">
              <a:extLst>
                <a:ext uri="{FF2B5EF4-FFF2-40B4-BE49-F238E27FC236}">
                  <a16:creationId xmlns:a16="http://schemas.microsoft.com/office/drawing/2014/main" id="{2D1671D3-F5B9-44FD-8442-F6F150B2AF29}"/>
                </a:ext>
              </a:extLst>
            </p:cNvPr>
            <p:cNvSpPr/>
            <p:nvPr/>
          </p:nvSpPr>
          <p:spPr>
            <a:xfrm>
              <a:off x="5621534" y="4060100"/>
              <a:ext cx="941298" cy="968487"/>
            </a:xfrm>
            <a:custGeom>
              <a:avLst/>
              <a:gdLst>
                <a:gd name="connsiteX0" fmla="*/ 174788 w 844471"/>
                <a:gd name="connsiteY0" fmla="*/ 82508 h 868864"/>
                <a:gd name="connsiteX1" fmla="*/ 764500 w 844471"/>
                <a:gd name="connsiteY1" fmla="*/ 179736 h 868864"/>
                <a:gd name="connsiteX2" fmla="*/ 670442 w 844471"/>
                <a:gd name="connsiteY2" fmla="*/ 786357 h 868864"/>
                <a:gd name="connsiteX3" fmla="*/ 80730 w 844471"/>
                <a:gd name="connsiteY3" fmla="*/ 689129 h 868864"/>
                <a:gd name="connsiteX4" fmla="*/ 174788 w 844471"/>
                <a:gd name="connsiteY4" fmla="*/ 82508 h 8688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4471" h="868864">
                  <a:moveTo>
                    <a:pt x="174788" y="82508"/>
                  </a:moveTo>
                  <a:cubicBezTo>
                    <a:pt x="363961" y="-58051"/>
                    <a:pt x="627112" y="-14720"/>
                    <a:pt x="764500" y="179736"/>
                  </a:cubicBezTo>
                  <a:cubicBezTo>
                    <a:pt x="900831" y="374193"/>
                    <a:pt x="858558" y="645799"/>
                    <a:pt x="670442" y="786357"/>
                  </a:cubicBezTo>
                  <a:cubicBezTo>
                    <a:pt x="481269" y="926915"/>
                    <a:pt x="218118" y="883585"/>
                    <a:pt x="80730" y="689129"/>
                  </a:cubicBezTo>
                  <a:cubicBezTo>
                    <a:pt x="-56658" y="494672"/>
                    <a:pt x="-14384" y="223066"/>
                    <a:pt x="174788" y="82508"/>
                  </a:cubicBezTo>
                  <a:close/>
                </a:path>
              </a:pathLst>
            </a:custGeom>
            <a:solidFill>
              <a:schemeClr val="accent1"/>
            </a:solidFill>
            <a:ln w="10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sp>
        <p:nvSpPr>
          <p:cNvPr id="11" name="Freeform: Shape 10">
            <a:extLst>
              <a:ext uri="{FF2B5EF4-FFF2-40B4-BE49-F238E27FC236}">
                <a16:creationId xmlns:a16="http://schemas.microsoft.com/office/drawing/2014/main" id="{28180689-B347-405F-8E12-BA1BF8D97EC7}"/>
              </a:ext>
            </a:extLst>
          </p:cNvPr>
          <p:cNvSpPr/>
          <p:nvPr/>
        </p:nvSpPr>
        <p:spPr>
          <a:xfrm>
            <a:off x="6051151" y="3528472"/>
            <a:ext cx="83637" cy="424081"/>
          </a:xfrm>
          <a:custGeom>
            <a:avLst/>
            <a:gdLst>
              <a:gd name="connsiteX0" fmla="*/ 0 w 75034"/>
              <a:gd name="connsiteY0" fmla="*/ 0 h 380458"/>
              <a:gd name="connsiteX1" fmla="*/ 75035 w 75034"/>
              <a:gd name="connsiteY1" fmla="*/ 0 h 380458"/>
              <a:gd name="connsiteX2" fmla="*/ 75035 w 75034"/>
              <a:gd name="connsiteY2" fmla="*/ 380459 h 380458"/>
              <a:gd name="connsiteX3" fmla="*/ 0 w 75034"/>
              <a:gd name="connsiteY3" fmla="*/ 380459 h 380458"/>
            </a:gdLst>
            <a:ahLst/>
            <a:cxnLst>
              <a:cxn ang="0">
                <a:pos x="connsiteX0" y="connsiteY0"/>
              </a:cxn>
              <a:cxn ang="0">
                <a:pos x="connsiteX1" y="connsiteY1"/>
              </a:cxn>
              <a:cxn ang="0">
                <a:pos x="connsiteX2" y="connsiteY2"/>
              </a:cxn>
              <a:cxn ang="0">
                <a:pos x="connsiteX3" y="connsiteY3"/>
              </a:cxn>
            </a:cxnLst>
            <a:rect l="l" t="t" r="r" b="b"/>
            <a:pathLst>
              <a:path w="75034" h="380458">
                <a:moveTo>
                  <a:pt x="0" y="0"/>
                </a:moveTo>
                <a:lnTo>
                  <a:pt x="75035" y="0"/>
                </a:lnTo>
                <a:lnTo>
                  <a:pt x="75035" y="380459"/>
                </a:lnTo>
                <a:lnTo>
                  <a:pt x="0" y="380459"/>
                </a:lnTo>
                <a:close/>
              </a:path>
            </a:pathLst>
          </a:custGeom>
          <a:solidFill>
            <a:schemeClr val="tx2">
              <a:lumMod val="25000"/>
              <a:lumOff val="75000"/>
            </a:schemeClr>
          </a:solidFill>
          <a:ln w="10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2" name="Freeform: Shape 11">
            <a:extLst>
              <a:ext uri="{FF2B5EF4-FFF2-40B4-BE49-F238E27FC236}">
                <a16:creationId xmlns:a16="http://schemas.microsoft.com/office/drawing/2014/main" id="{0696AEEA-C66B-4813-B2A4-10116E8D4CC2}"/>
              </a:ext>
            </a:extLst>
          </p:cNvPr>
          <p:cNvSpPr/>
          <p:nvPr/>
        </p:nvSpPr>
        <p:spPr>
          <a:xfrm>
            <a:off x="5940418" y="3528472"/>
            <a:ext cx="305103" cy="143716"/>
          </a:xfrm>
          <a:custGeom>
            <a:avLst/>
            <a:gdLst>
              <a:gd name="connsiteX0" fmla="*/ 273719 w 273719"/>
              <a:gd name="connsiteY0" fmla="*/ 0 h 128933"/>
              <a:gd name="connsiteX1" fmla="*/ 136331 w 273719"/>
              <a:gd name="connsiteY1" fmla="*/ 128933 h 128933"/>
              <a:gd name="connsiteX2" fmla="*/ 0 w 273719"/>
              <a:gd name="connsiteY2" fmla="*/ 0 h 128933"/>
              <a:gd name="connsiteX3" fmla="*/ 136331 w 273719"/>
              <a:gd name="connsiteY3" fmla="*/ 0 h 128933"/>
              <a:gd name="connsiteX4" fmla="*/ 273719 w 273719"/>
              <a:gd name="connsiteY4" fmla="*/ 0 h 1289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3719" h="128933">
                <a:moveTo>
                  <a:pt x="273719" y="0"/>
                </a:moveTo>
                <a:cubicBezTo>
                  <a:pt x="273719" y="70808"/>
                  <a:pt x="212423" y="128933"/>
                  <a:pt x="136331" y="128933"/>
                </a:cubicBezTo>
                <a:cubicBezTo>
                  <a:pt x="60239" y="128933"/>
                  <a:pt x="0" y="71864"/>
                  <a:pt x="0" y="0"/>
                </a:cubicBezTo>
                <a:lnTo>
                  <a:pt x="136331" y="0"/>
                </a:lnTo>
                <a:lnTo>
                  <a:pt x="273719" y="0"/>
                </a:lnTo>
                <a:close/>
              </a:path>
            </a:pathLst>
          </a:custGeom>
          <a:solidFill>
            <a:schemeClr val="tx2">
              <a:lumMod val="50000"/>
              <a:lumOff val="50000"/>
            </a:schemeClr>
          </a:solidFill>
          <a:ln w="10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3" name="Freeform: Shape 14">
            <a:extLst>
              <a:ext uri="{FF2B5EF4-FFF2-40B4-BE49-F238E27FC236}">
                <a16:creationId xmlns:a16="http://schemas.microsoft.com/office/drawing/2014/main" id="{A8723FF5-F8C4-4B32-A047-4A130C722A98}"/>
              </a:ext>
            </a:extLst>
          </p:cNvPr>
          <p:cNvSpPr/>
          <p:nvPr/>
        </p:nvSpPr>
        <p:spPr>
          <a:xfrm>
            <a:off x="5512798" y="2397587"/>
            <a:ext cx="1161517" cy="1152089"/>
          </a:xfrm>
          <a:custGeom>
            <a:avLst/>
            <a:gdLst>
              <a:gd name="connsiteX0" fmla="*/ 521021 w 1042038"/>
              <a:gd name="connsiteY0" fmla="*/ 1033580 h 1033580"/>
              <a:gd name="connsiteX1" fmla="*/ 1042039 w 1042038"/>
              <a:gd name="connsiteY1" fmla="*/ 516790 h 1033580"/>
              <a:gd name="connsiteX2" fmla="*/ 521021 w 1042038"/>
              <a:gd name="connsiteY2" fmla="*/ 0 h 1033580"/>
              <a:gd name="connsiteX3" fmla="*/ 4 w 1042038"/>
              <a:gd name="connsiteY3" fmla="*/ 516790 h 1033580"/>
              <a:gd name="connsiteX4" fmla="*/ 521021 w 1042038"/>
              <a:gd name="connsiteY4" fmla="*/ 1033580 h 10335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2038" h="1033580">
                <a:moveTo>
                  <a:pt x="521021" y="1033580"/>
                </a:moveTo>
                <a:cubicBezTo>
                  <a:pt x="808479" y="1033580"/>
                  <a:pt x="1042039" y="802134"/>
                  <a:pt x="1042039" y="516790"/>
                </a:cubicBezTo>
                <a:cubicBezTo>
                  <a:pt x="1042039" y="232503"/>
                  <a:pt x="807422" y="0"/>
                  <a:pt x="521021" y="0"/>
                </a:cubicBezTo>
                <a:cubicBezTo>
                  <a:pt x="233563" y="0"/>
                  <a:pt x="4" y="231446"/>
                  <a:pt x="4" y="516790"/>
                </a:cubicBezTo>
                <a:cubicBezTo>
                  <a:pt x="-1053" y="802134"/>
                  <a:pt x="233563" y="1033580"/>
                  <a:pt x="521021" y="1033580"/>
                </a:cubicBezTo>
                <a:close/>
              </a:path>
            </a:pathLst>
          </a:custGeom>
          <a:solidFill>
            <a:schemeClr val="accent3"/>
          </a:solidFill>
          <a:ln w="10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nvGrpSpPr>
          <p:cNvPr id="14" name="Group 25">
            <a:extLst>
              <a:ext uri="{FF2B5EF4-FFF2-40B4-BE49-F238E27FC236}">
                <a16:creationId xmlns:a16="http://schemas.microsoft.com/office/drawing/2014/main" id="{E78D466D-2359-42FD-967B-9986FFDBF7CD}"/>
              </a:ext>
            </a:extLst>
          </p:cNvPr>
          <p:cNvGrpSpPr/>
          <p:nvPr/>
        </p:nvGrpSpPr>
        <p:grpSpPr>
          <a:xfrm>
            <a:off x="5046002" y="1828430"/>
            <a:ext cx="742572" cy="775332"/>
            <a:chOff x="5046002" y="1828430"/>
            <a:chExt cx="742572" cy="775332"/>
          </a:xfrm>
        </p:grpSpPr>
        <p:sp>
          <p:nvSpPr>
            <p:cNvPr id="15" name="Freeform: Shape 15">
              <a:extLst>
                <a:ext uri="{FF2B5EF4-FFF2-40B4-BE49-F238E27FC236}">
                  <a16:creationId xmlns:a16="http://schemas.microsoft.com/office/drawing/2014/main" id="{6F71810B-1CD4-46F9-BF15-2B34EAD46DC4}"/>
                </a:ext>
              </a:extLst>
            </p:cNvPr>
            <p:cNvSpPr/>
            <p:nvPr/>
          </p:nvSpPr>
          <p:spPr>
            <a:xfrm>
              <a:off x="5046002" y="1828430"/>
              <a:ext cx="742572" cy="736682"/>
            </a:xfrm>
            <a:custGeom>
              <a:avLst/>
              <a:gdLst>
                <a:gd name="connsiteX0" fmla="*/ 266321 w 532642"/>
                <a:gd name="connsiteY0" fmla="*/ 528415 h 528415"/>
                <a:gd name="connsiteX1" fmla="*/ 532643 w 532642"/>
                <a:gd name="connsiteY1" fmla="*/ 264208 h 528415"/>
                <a:gd name="connsiteX2" fmla="*/ 266321 w 532642"/>
                <a:gd name="connsiteY2" fmla="*/ 0 h 528415"/>
                <a:gd name="connsiteX3" fmla="*/ 0 w 532642"/>
                <a:gd name="connsiteY3" fmla="*/ 264208 h 528415"/>
                <a:gd name="connsiteX4" fmla="*/ 266321 w 532642"/>
                <a:gd name="connsiteY4" fmla="*/ 528415 h 5284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2642" h="528415">
                  <a:moveTo>
                    <a:pt x="266321" y="528415"/>
                  </a:moveTo>
                  <a:cubicBezTo>
                    <a:pt x="413221" y="528415"/>
                    <a:pt x="532643" y="410050"/>
                    <a:pt x="532643" y="264208"/>
                  </a:cubicBezTo>
                  <a:cubicBezTo>
                    <a:pt x="532643" y="118365"/>
                    <a:pt x="413221" y="0"/>
                    <a:pt x="266321" y="0"/>
                  </a:cubicBezTo>
                  <a:cubicBezTo>
                    <a:pt x="119422" y="0"/>
                    <a:pt x="0" y="118365"/>
                    <a:pt x="0" y="264208"/>
                  </a:cubicBezTo>
                  <a:cubicBezTo>
                    <a:pt x="0" y="410050"/>
                    <a:pt x="119422" y="528415"/>
                    <a:pt x="266321" y="528415"/>
                  </a:cubicBezTo>
                  <a:close/>
                </a:path>
              </a:pathLst>
            </a:custGeom>
            <a:solidFill>
              <a:schemeClr val="accent3"/>
            </a:solidFill>
            <a:ln w="10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useBgFill="1">
          <p:nvSpPr>
            <p:cNvPr id="16" name="Freeform: Shape 16">
              <a:extLst>
                <a:ext uri="{FF2B5EF4-FFF2-40B4-BE49-F238E27FC236}">
                  <a16:creationId xmlns:a16="http://schemas.microsoft.com/office/drawing/2014/main" id="{2912EB65-5E1E-4105-9C69-35AC8687D0A3}"/>
                </a:ext>
              </a:extLst>
            </p:cNvPr>
            <p:cNvSpPr/>
            <p:nvPr/>
          </p:nvSpPr>
          <p:spPr>
            <a:xfrm>
              <a:off x="5135876" y="1918306"/>
              <a:ext cx="562824" cy="556930"/>
            </a:xfrm>
            <a:custGeom>
              <a:avLst/>
              <a:gdLst>
                <a:gd name="connsiteX0" fmla="*/ 201855 w 403709"/>
                <a:gd name="connsiteY0" fmla="*/ 399482 h 399481"/>
                <a:gd name="connsiteX1" fmla="*/ 403709 w 403709"/>
                <a:gd name="connsiteY1" fmla="*/ 199741 h 399481"/>
                <a:gd name="connsiteX2" fmla="*/ 201855 w 403709"/>
                <a:gd name="connsiteY2" fmla="*/ 0 h 399481"/>
                <a:gd name="connsiteX3" fmla="*/ 0 w 403709"/>
                <a:gd name="connsiteY3" fmla="*/ 199741 h 399481"/>
                <a:gd name="connsiteX4" fmla="*/ 201855 w 403709"/>
                <a:gd name="connsiteY4" fmla="*/ 399482 h 3994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3709" h="399481">
                  <a:moveTo>
                    <a:pt x="201855" y="399482"/>
                  </a:moveTo>
                  <a:cubicBezTo>
                    <a:pt x="312822" y="399482"/>
                    <a:pt x="403709" y="309651"/>
                    <a:pt x="403709" y="199741"/>
                  </a:cubicBezTo>
                  <a:cubicBezTo>
                    <a:pt x="403709" y="89831"/>
                    <a:pt x="312822" y="0"/>
                    <a:pt x="201855" y="0"/>
                  </a:cubicBezTo>
                  <a:cubicBezTo>
                    <a:pt x="90887" y="0"/>
                    <a:pt x="0" y="89831"/>
                    <a:pt x="0" y="199741"/>
                  </a:cubicBezTo>
                  <a:cubicBezTo>
                    <a:pt x="0" y="309651"/>
                    <a:pt x="90887" y="399482"/>
                    <a:pt x="201855" y="399482"/>
                  </a:cubicBezTo>
                  <a:close/>
                </a:path>
              </a:pathLst>
            </a:custGeom>
            <a:ln w="10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7" name="Freeform: Shape 17">
              <a:extLst>
                <a:ext uri="{FF2B5EF4-FFF2-40B4-BE49-F238E27FC236}">
                  <a16:creationId xmlns:a16="http://schemas.microsoft.com/office/drawing/2014/main" id="{AAAB79B3-18C5-4B5F-823D-BCA8C18A581C}"/>
                </a:ext>
              </a:extLst>
            </p:cNvPr>
            <p:cNvSpPr/>
            <p:nvPr/>
          </p:nvSpPr>
          <p:spPr>
            <a:xfrm>
              <a:off x="5589398" y="2417637"/>
              <a:ext cx="195548" cy="186125"/>
            </a:xfrm>
            <a:custGeom>
              <a:avLst/>
              <a:gdLst>
                <a:gd name="connsiteX0" fmla="*/ 108854 w 175433"/>
                <a:gd name="connsiteY0" fmla="*/ 0 h 166979"/>
                <a:gd name="connsiteX1" fmla="*/ 0 w 175433"/>
                <a:gd name="connsiteY1" fmla="*/ 90887 h 166979"/>
                <a:gd name="connsiteX2" fmla="*/ 57069 w 175433"/>
                <a:gd name="connsiteY2" fmla="*/ 166979 h 166979"/>
                <a:gd name="connsiteX3" fmla="*/ 175434 w 175433"/>
                <a:gd name="connsiteY3" fmla="*/ 64467 h 166979"/>
                <a:gd name="connsiteX4" fmla="*/ 108854 w 175433"/>
                <a:gd name="connsiteY4" fmla="*/ 0 h 1669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5433" h="166979">
                  <a:moveTo>
                    <a:pt x="108854" y="0"/>
                  </a:moveTo>
                  <a:cubicBezTo>
                    <a:pt x="81376" y="39103"/>
                    <a:pt x="44387" y="70808"/>
                    <a:pt x="0" y="90887"/>
                  </a:cubicBezTo>
                  <a:cubicBezTo>
                    <a:pt x="32762" y="101456"/>
                    <a:pt x="57069" y="131047"/>
                    <a:pt x="57069" y="166979"/>
                  </a:cubicBezTo>
                  <a:cubicBezTo>
                    <a:pt x="90887" y="126820"/>
                    <a:pt x="131047" y="93001"/>
                    <a:pt x="175434" y="64467"/>
                  </a:cubicBezTo>
                  <a:cubicBezTo>
                    <a:pt x="141615" y="59183"/>
                    <a:pt x="115195" y="33819"/>
                    <a:pt x="108854" y="0"/>
                  </a:cubicBezTo>
                  <a:close/>
                </a:path>
              </a:pathLst>
            </a:custGeom>
            <a:solidFill>
              <a:schemeClr val="accent3"/>
            </a:solidFill>
            <a:ln w="10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grpSp>
        <p:nvGrpSpPr>
          <p:cNvPr id="18" name="Group 29">
            <a:extLst>
              <a:ext uri="{FF2B5EF4-FFF2-40B4-BE49-F238E27FC236}">
                <a16:creationId xmlns:a16="http://schemas.microsoft.com/office/drawing/2014/main" id="{30A11896-3A42-4DDE-B47C-A43F58ABF08B}"/>
              </a:ext>
            </a:extLst>
          </p:cNvPr>
          <p:cNvGrpSpPr/>
          <p:nvPr/>
        </p:nvGrpSpPr>
        <p:grpSpPr>
          <a:xfrm>
            <a:off x="6398948" y="1828435"/>
            <a:ext cx="742572" cy="775327"/>
            <a:chOff x="6398948" y="1828435"/>
            <a:chExt cx="742572" cy="775327"/>
          </a:xfrm>
        </p:grpSpPr>
        <p:sp>
          <p:nvSpPr>
            <p:cNvPr id="19" name="Freeform: Shape 12">
              <a:extLst>
                <a:ext uri="{FF2B5EF4-FFF2-40B4-BE49-F238E27FC236}">
                  <a16:creationId xmlns:a16="http://schemas.microsoft.com/office/drawing/2014/main" id="{C73A5457-04EA-484E-906C-6EFA714B9BE5}"/>
                </a:ext>
              </a:extLst>
            </p:cNvPr>
            <p:cNvSpPr/>
            <p:nvPr/>
          </p:nvSpPr>
          <p:spPr>
            <a:xfrm>
              <a:off x="6398948" y="1828435"/>
              <a:ext cx="742572" cy="736682"/>
            </a:xfrm>
            <a:custGeom>
              <a:avLst/>
              <a:gdLst>
                <a:gd name="connsiteX0" fmla="*/ 266321 w 532642"/>
                <a:gd name="connsiteY0" fmla="*/ 528415 h 528415"/>
                <a:gd name="connsiteX1" fmla="*/ 532643 w 532642"/>
                <a:gd name="connsiteY1" fmla="*/ 264208 h 528415"/>
                <a:gd name="connsiteX2" fmla="*/ 266321 w 532642"/>
                <a:gd name="connsiteY2" fmla="*/ 0 h 528415"/>
                <a:gd name="connsiteX3" fmla="*/ 0 w 532642"/>
                <a:gd name="connsiteY3" fmla="*/ 264208 h 528415"/>
                <a:gd name="connsiteX4" fmla="*/ 266321 w 532642"/>
                <a:gd name="connsiteY4" fmla="*/ 528415 h 5284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2642" h="528415">
                  <a:moveTo>
                    <a:pt x="266321" y="528415"/>
                  </a:moveTo>
                  <a:cubicBezTo>
                    <a:pt x="413221" y="528415"/>
                    <a:pt x="532643" y="410050"/>
                    <a:pt x="532643" y="264208"/>
                  </a:cubicBezTo>
                  <a:cubicBezTo>
                    <a:pt x="532643" y="118365"/>
                    <a:pt x="413221" y="0"/>
                    <a:pt x="266321" y="0"/>
                  </a:cubicBezTo>
                  <a:cubicBezTo>
                    <a:pt x="119422" y="0"/>
                    <a:pt x="0" y="118365"/>
                    <a:pt x="0" y="264208"/>
                  </a:cubicBezTo>
                  <a:cubicBezTo>
                    <a:pt x="0" y="410050"/>
                    <a:pt x="119422" y="528415"/>
                    <a:pt x="266321" y="528415"/>
                  </a:cubicBezTo>
                  <a:close/>
                </a:path>
              </a:pathLst>
            </a:custGeom>
            <a:solidFill>
              <a:schemeClr val="accent3"/>
            </a:solidFill>
            <a:ln w="10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useBgFill="1">
          <p:nvSpPr>
            <p:cNvPr id="20" name="Freeform: Shape 13">
              <a:extLst>
                <a:ext uri="{FF2B5EF4-FFF2-40B4-BE49-F238E27FC236}">
                  <a16:creationId xmlns:a16="http://schemas.microsoft.com/office/drawing/2014/main" id="{27A870FD-A835-4DD4-9027-DB08744F1E22}"/>
                </a:ext>
              </a:extLst>
            </p:cNvPr>
            <p:cNvSpPr/>
            <p:nvPr/>
          </p:nvSpPr>
          <p:spPr>
            <a:xfrm>
              <a:off x="6488816" y="1918311"/>
              <a:ext cx="562836" cy="556930"/>
            </a:xfrm>
            <a:custGeom>
              <a:avLst/>
              <a:gdLst>
                <a:gd name="connsiteX0" fmla="*/ 201864 w 403718"/>
                <a:gd name="connsiteY0" fmla="*/ 399482 h 399481"/>
                <a:gd name="connsiteX1" fmla="*/ 403719 w 403718"/>
                <a:gd name="connsiteY1" fmla="*/ 199741 h 399481"/>
                <a:gd name="connsiteX2" fmla="*/ 201864 w 403718"/>
                <a:gd name="connsiteY2" fmla="*/ 0 h 399481"/>
                <a:gd name="connsiteX3" fmla="*/ 9 w 403718"/>
                <a:gd name="connsiteY3" fmla="*/ 199741 h 399481"/>
                <a:gd name="connsiteX4" fmla="*/ 201864 w 403718"/>
                <a:gd name="connsiteY4" fmla="*/ 399482 h 3994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3718" h="399481">
                  <a:moveTo>
                    <a:pt x="201864" y="399482"/>
                  </a:moveTo>
                  <a:cubicBezTo>
                    <a:pt x="312831" y="399482"/>
                    <a:pt x="403719" y="309651"/>
                    <a:pt x="403719" y="199741"/>
                  </a:cubicBezTo>
                  <a:cubicBezTo>
                    <a:pt x="403719" y="89831"/>
                    <a:pt x="312831" y="0"/>
                    <a:pt x="201864" y="0"/>
                  </a:cubicBezTo>
                  <a:cubicBezTo>
                    <a:pt x="90897" y="0"/>
                    <a:pt x="9" y="89831"/>
                    <a:pt x="9" y="199741"/>
                  </a:cubicBezTo>
                  <a:cubicBezTo>
                    <a:pt x="-1048" y="309651"/>
                    <a:pt x="89840" y="399482"/>
                    <a:pt x="201864" y="399482"/>
                  </a:cubicBezTo>
                  <a:close/>
                </a:path>
              </a:pathLst>
            </a:custGeom>
            <a:ln w="10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1" name="Freeform: Shape 18">
              <a:extLst>
                <a:ext uri="{FF2B5EF4-FFF2-40B4-BE49-F238E27FC236}">
                  <a16:creationId xmlns:a16="http://schemas.microsoft.com/office/drawing/2014/main" id="{F54EC21E-751B-4AEF-A889-3F89E38FBFD4}"/>
                </a:ext>
              </a:extLst>
            </p:cNvPr>
            <p:cNvSpPr/>
            <p:nvPr/>
          </p:nvSpPr>
          <p:spPr>
            <a:xfrm>
              <a:off x="6402171" y="2417637"/>
              <a:ext cx="195548" cy="186125"/>
            </a:xfrm>
            <a:custGeom>
              <a:avLst/>
              <a:gdLst>
                <a:gd name="connsiteX0" fmla="*/ 66580 w 175433"/>
                <a:gd name="connsiteY0" fmla="*/ 0 h 166979"/>
                <a:gd name="connsiteX1" fmla="*/ 175434 w 175433"/>
                <a:gd name="connsiteY1" fmla="*/ 90887 h 166979"/>
                <a:gd name="connsiteX2" fmla="*/ 118365 w 175433"/>
                <a:gd name="connsiteY2" fmla="*/ 166979 h 166979"/>
                <a:gd name="connsiteX3" fmla="*/ 0 w 175433"/>
                <a:gd name="connsiteY3" fmla="*/ 64467 h 166979"/>
                <a:gd name="connsiteX4" fmla="*/ 66580 w 175433"/>
                <a:gd name="connsiteY4" fmla="*/ 0 h 1669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5433" h="166979">
                  <a:moveTo>
                    <a:pt x="66580" y="0"/>
                  </a:moveTo>
                  <a:cubicBezTo>
                    <a:pt x="94058" y="39103"/>
                    <a:pt x="131047" y="70808"/>
                    <a:pt x="175434" y="90887"/>
                  </a:cubicBezTo>
                  <a:cubicBezTo>
                    <a:pt x="142672" y="101456"/>
                    <a:pt x="118365" y="131047"/>
                    <a:pt x="118365" y="166979"/>
                  </a:cubicBezTo>
                  <a:cubicBezTo>
                    <a:pt x="84546" y="126820"/>
                    <a:pt x="44387" y="93001"/>
                    <a:pt x="0" y="64467"/>
                  </a:cubicBezTo>
                  <a:cubicBezTo>
                    <a:pt x="33819" y="60239"/>
                    <a:pt x="60239" y="33819"/>
                    <a:pt x="66580" y="0"/>
                  </a:cubicBezTo>
                  <a:close/>
                </a:path>
              </a:pathLst>
            </a:custGeom>
            <a:solidFill>
              <a:schemeClr val="accent3"/>
            </a:solidFill>
            <a:ln w="10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sp>
        <p:nvSpPr>
          <p:cNvPr id="22" name="Freeform: Shape 20">
            <a:extLst>
              <a:ext uri="{FF2B5EF4-FFF2-40B4-BE49-F238E27FC236}">
                <a16:creationId xmlns:a16="http://schemas.microsoft.com/office/drawing/2014/main" id="{E18AFECF-6B70-413D-BA13-094B1D732038}"/>
              </a:ext>
            </a:extLst>
          </p:cNvPr>
          <p:cNvSpPr/>
          <p:nvPr/>
        </p:nvSpPr>
        <p:spPr>
          <a:xfrm rot="19515377">
            <a:off x="6536347" y="4038359"/>
            <a:ext cx="424077" cy="83637"/>
          </a:xfrm>
          <a:custGeom>
            <a:avLst/>
            <a:gdLst>
              <a:gd name="connsiteX0" fmla="*/ 0 w 380454"/>
              <a:gd name="connsiteY0" fmla="*/ 0 h 75034"/>
              <a:gd name="connsiteX1" fmla="*/ 380454 w 380454"/>
              <a:gd name="connsiteY1" fmla="*/ 0 h 75034"/>
              <a:gd name="connsiteX2" fmla="*/ 380454 w 380454"/>
              <a:gd name="connsiteY2" fmla="*/ 75034 h 75034"/>
              <a:gd name="connsiteX3" fmla="*/ 0 w 380454"/>
              <a:gd name="connsiteY3" fmla="*/ 75034 h 75034"/>
            </a:gdLst>
            <a:ahLst/>
            <a:cxnLst>
              <a:cxn ang="0">
                <a:pos x="connsiteX0" y="connsiteY0"/>
              </a:cxn>
              <a:cxn ang="0">
                <a:pos x="connsiteX1" y="connsiteY1"/>
              </a:cxn>
              <a:cxn ang="0">
                <a:pos x="connsiteX2" y="connsiteY2"/>
              </a:cxn>
              <a:cxn ang="0">
                <a:pos x="connsiteX3" y="connsiteY3"/>
              </a:cxn>
            </a:cxnLst>
            <a:rect l="l" t="t" r="r" b="b"/>
            <a:pathLst>
              <a:path w="380454" h="75034">
                <a:moveTo>
                  <a:pt x="0" y="0"/>
                </a:moveTo>
                <a:lnTo>
                  <a:pt x="380454" y="0"/>
                </a:lnTo>
                <a:lnTo>
                  <a:pt x="380454" y="75034"/>
                </a:lnTo>
                <a:lnTo>
                  <a:pt x="0" y="75034"/>
                </a:lnTo>
                <a:close/>
              </a:path>
            </a:pathLst>
          </a:custGeom>
          <a:solidFill>
            <a:schemeClr val="tx2">
              <a:lumMod val="25000"/>
              <a:lumOff val="75000"/>
            </a:schemeClr>
          </a:solidFill>
          <a:ln w="10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3" name="Freeform: Shape 21">
            <a:extLst>
              <a:ext uri="{FF2B5EF4-FFF2-40B4-BE49-F238E27FC236}">
                <a16:creationId xmlns:a16="http://schemas.microsoft.com/office/drawing/2014/main" id="{3D86CE8B-FFB6-490E-86F6-B6EB750FBF60}"/>
              </a:ext>
            </a:extLst>
          </p:cNvPr>
          <p:cNvSpPr/>
          <p:nvPr/>
        </p:nvSpPr>
        <p:spPr>
          <a:xfrm>
            <a:off x="6776331" y="3833575"/>
            <a:ext cx="233716" cy="275137"/>
          </a:xfrm>
          <a:custGeom>
            <a:avLst/>
            <a:gdLst>
              <a:gd name="connsiteX0" fmla="*/ 209676 w 209675"/>
              <a:gd name="connsiteY0" fmla="*/ 225105 h 246835"/>
              <a:gd name="connsiteX1" fmla="*/ 25787 w 209675"/>
              <a:gd name="connsiteY1" fmla="*/ 186002 h 246835"/>
              <a:gd name="connsiteX2" fmla="*/ 53265 w 209675"/>
              <a:gd name="connsiteY2" fmla="*/ 0 h 246835"/>
              <a:gd name="connsiteX3" fmla="*/ 131470 w 209675"/>
              <a:gd name="connsiteY3" fmla="*/ 112024 h 246835"/>
              <a:gd name="connsiteX4" fmla="*/ 209676 w 209675"/>
              <a:gd name="connsiteY4" fmla="*/ 225105 h 2468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9675" h="246835">
                <a:moveTo>
                  <a:pt x="209676" y="225105"/>
                </a:moveTo>
                <a:cubicBezTo>
                  <a:pt x="151550" y="265265"/>
                  <a:pt x="69117" y="248355"/>
                  <a:pt x="25787" y="186002"/>
                </a:cubicBezTo>
                <a:cubicBezTo>
                  <a:pt x="-17543" y="123649"/>
                  <a:pt x="-4861" y="41216"/>
                  <a:pt x="53265" y="0"/>
                </a:cubicBezTo>
                <a:lnTo>
                  <a:pt x="131470" y="112024"/>
                </a:lnTo>
                <a:lnTo>
                  <a:pt x="209676" y="225105"/>
                </a:lnTo>
                <a:close/>
              </a:path>
            </a:pathLst>
          </a:custGeom>
          <a:solidFill>
            <a:schemeClr val="tx2">
              <a:lumMod val="50000"/>
              <a:lumOff val="50000"/>
            </a:schemeClr>
          </a:solidFill>
          <a:ln w="10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4" name="Freeform: Shape 23">
            <a:extLst>
              <a:ext uri="{FF2B5EF4-FFF2-40B4-BE49-F238E27FC236}">
                <a16:creationId xmlns:a16="http://schemas.microsoft.com/office/drawing/2014/main" id="{675A2F8D-1E61-4640-93FB-EBE414C8DEC5}"/>
              </a:ext>
            </a:extLst>
          </p:cNvPr>
          <p:cNvSpPr/>
          <p:nvPr/>
        </p:nvSpPr>
        <p:spPr>
          <a:xfrm rot="19515377">
            <a:off x="6801642" y="3063464"/>
            <a:ext cx="1152076" cy="1161499"/>
          </a:xfrm>
          <a:custGeom>
            <a:avLst/>
            <a:gdLst>
              <a:gd name="connsiteX0" fmla="*/ 1033568 w 1033568"/>
              <a:gd name="connsiteY0" fmla="*/ 521011 h 1042022"/>
              <a:gd name="connsiteX1" fmla="*/ 516784 w 1033568"/>
              <a:gd name="connsiteY1" fmla="*/ 1042023 h 1042022"/>
              <a:gd name="connsiteX2" fmla="*/ 0 w 1033568"/>
              <a:gd name="connsiteY2" fmla="*/ 521011 h 1042022"/>
              <a:gd name="connsiteX3" fmla="*/ 516784 w 1033568"/>
              <a:gd name="connsiteY3" fmla="*/ 0 h 1042022"/>
              <a:gd name="connsiteX4" fmla="*/ 1033568 w 1033568"/>
              <a:gd name="connsiteY4" fmla="*/ 521011 h 10420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3568" h="1042022">
                <a:moveTo>
                  <a:pt x="1033568" y="521011"/>
                </a:moveTo>
                <a:cubicBezTo>
                  <a:pt x="1033568" y="808758"/>
                  <a:pt x="802196" y="1042023"/>
                  <a:pt x="516784" y="1042023"/>
                </a:cubicBezTo>
                <a:cubicBezTo>
                  <a:pt x="231372" y="1042023"/>
                  <a:pt x="0" y="808758"/>
                  <a:pt x="0" y="521011"/>
                </a:cubicBezTo>
                <a:cubicBezTo>
                  <a:pt x="0" y="233265"/>
                  <a:pt x="231372" y="0"/>
                  <a:pt x="516784" y="0"/>
                </a:cubicBezTo>
                <a:cubicBezTo>
                  <a:pt x="802196" y="0"/>
                  <a:pt x="1033568" y="233265"/>
                  <a:pt x="1033568" y="521011"/>
                </a:cubicBezTo>
                <a:close/>
              </a:path>
            </a:pathLst>
          </a:custGeom>
          <a:solidFill>
            <a:schemeClr val="accent4"/>
          </a:solidFill>
          <a:ln w="10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nvGrpSpPr>
          <p:cNvPr id="25" name="Group 30">
            <a:extLst>
              <a:ext uri="{FF2B5EF4-FFF2-40B4-BE49-F238E27FC236}">
                <a16:creationId xmlns:a16="http://schemas.microsoft.com/office/drawing/2014/main" id="{E9BB36A8-4D64-47C1-9D69-158A60D9FB08}"/>
              </a:ext>
            </a:extLst>
          </p:cNvPr>
          <p:cNvGrpSpPr/>
          <p:nvPr/>
        </p:nvGrpSpPr>
        <p:grpSpPr>
          <a:xfrm>
            <a:off x="7268858" y="2275147"/>
            <a:ext cx="736672" cy="837513"/>
            <a:chOff x="7268858" y="2275147"/>
            <a:chExt cx="736672" cy="837513"/>
          </a:xfrm>
        </p:grpSpPr>
        <p:sp>
          <p:nvSpPr>
            <p:cNvPr id="26" name="Freeform: Shape 24">
              <a:extLst>
                <a:ext uri="{FF2B5EF4-FFF2-40B4-BE49-F238E27FC236}">
                  <a16:creationId xmlns:a16="http://schemas.microsoft.com/office/drawing/2014/main" id="{997514FB-ABA4-4329-AE65-4E9BCB4F9652}"/>
                </a:ext>
              </a:extLst>
            </p:cNvPr>
            <p:cNvSpPr/>
            <p:nvPr/>
          </p:nvSpPr>
          <p:spPr>
            <a:xfrm rot="19515377">
              <a:off x="7268858" y="2275147"/>
              <a:ext cx="736672" cy="742566"/>
            </a:xfrm>
            <a:custGeom>
              <a:avLst/>
              <a:gdLst>
                <a:gd name="connsiteX0" fmla="*/ 528409 w 528409"/>
                <a:gd name="connsiteY0" fmla="*/ 266318 h 532636"/>
                <a:gd name="connsiteX1" fmla="*/ 264205 w 528409"/>
                <a:gd name="connsiteY1" fmla="*/ 532636 h 532636"/>
                <a:gd name="connsiteX2" fmla="*/ 0 w 528409"/>
                <a:gd name="connsiteY2" fmla="*/ 266318 h 532636"/>
                <a:gd name="connsiteX3" fmla="*/ 264205 w 528409"/>
                <a:gd name="connsiteY3" fmla="*/ 0 h 532636"/>
                <a:gd name="connsiteX4" fmla="*/ 528409 w 528409"/>
                <a:gd name="connsiteY4" fmla="*/ 266318 h 5326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8409" h="532636">
                  <a:moveTo>
                    <a:pt x="528409" y="266318"/>
                  </a:moveTo>
                  <a:cubicBezTo>
                    <a:pt x="528409" y="413402"/>
                    <a:pt x="410121" y="532636"/>
                    <a:pt x="264205" y="532636"/>
                  </a:cubicBezTo>
                  <a:cubicBezTo>
                    <a:pt x="118288" y="532636"/>
                    <a:pt x="0" y="413402"/>
                    <a:pt x="0" y="266318"/>
                  </a:cubicBezTo>
                  <a:cubicBezTo>
                    <a:pt x="0" y="119235"/>
                    <a:pt x="118288" y="0"/>
                    <a:pt x="264205" y="0"/>
                  </a:cubicBezTo>
                  <a:cubicBezTo>
                    <a:pt x="410121" y="0"/>
                    <a:pt x="528409" y="119235"/>
                    <a:pt x="528409" y="266318"/>
                  </a:cubicBezTo>
                  <a:close/>
                </a:path>
              </a:pathLst>
            </a:custGeom>
            <a:solidFill>
              <a:schemeClr val="accent4"/>
            </a:solidFill>
            <a:ln w="10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useBgFill="1">
          <p:nvSpPr>
            <p:cNvPr id="27" name="Freeform: Shape 26">
              <a:extLst>
                <a:ext uri="{FF2B5EF4-FFF2-40B4-BE49-F238E27FC236}">
                  <a16:creationId xmlns:a16="http://schemas.microsoft.com/office/drawing/2014/main" id="{8EF073FC-245E-4AF9-89B7-CBAA244C3915}"/>
                </a:ext>
              </a:extLst>
            </p:cNvPr>
            <p:cNvSpPr/>
            <p:nvPr/>
          </p:nvSpPr>
          <p:spPr>
            <a:xfrm>
              <a:off x="7369040" y="2367855"/>
              <a:ext cx="536308" cy="557150"/>
            </a:xfrm>
            <a:custGeom>
              <a:avLst/>
              <a:gdLst>
                <a:gd name="connsiteX0" fmla="*/ 370421 w 384690"/>
                <a:gd name="connsiteY0" fmla="*/ 273270 h 399640"/>
                <a:gd name="connsiteX1" fmla="*/ 119952 w 384690"/>
                <a:gd name="connsiteY1" fmla="*/ 385294 h 399640"/>
                <a:gd name="connsiteX2" fmla="*/ 14269 w 384690"/>
                <a:gd name="connsiteY2" fmla="*/ 126370 h 399640"/>
                <a:gd name="connsiteX3" fmla="*/ 264738 w 384690"/>
                <a:gd name="connsiteY3" fmla="*/ 14346 h 399640"/>
                <a:gd name="connsiteX4" fmla="*/ 370421 w 384690"/>
                <a:gd name="connsiteY4" fmla="*/ 273270 h 3996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4690" h="399640">
                  <a:moveTo>
                    <a:pt x="370421" y="273270"/>
                  </a:moveTo>
                  <a:cubicBezTo>
                    <a:pt x="330261" y="375782"/>
                    <a:pt x="218237" y="426510"/>
                    <a:pt x="119952" y="385294"/>
                  </a:cubicBezTo>
                  <a:cubicBezTo>
                    <a:pt x="21667" y="345134"/>
                    <a:pt x="-25891" y="228883"/>
                    <a:pt x="14269" y="126370"/>
                  </a:cubicBezTo>
                  <a:cubicBezTo>
                    <a:pt x="54429" y="23858"/>
                    <a:pt x="166453" y="-26870"/>
                    <a:pt x="264738" y="14346"/>
                  </a:cubicBezTo>
                  <a:cubicBezTo>
                    <a:pt x="363023" y="54506"/>
                    <a:pt x="410581" y="170757"/>
                    <a:pt x="370421" y="273270"/>
                  </a:cubicBezTo>
                  <a:close/>
                </a:path>
              </a:pathLst>
            </a:custGeom>
            <a:ln w="10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8" name="Freeform: Shape 27">
              <a:extLst>
                <a:ext uri="{FF2B5EF4-FFF2-40B4-BE49-F238E27FC236}">
                  <a16:creationId xmlns:a16="http://schemas.microsoft.com/office/drawing/2014/main" id="{56E5F577-D8BE-4BC8-B132-75CFEFCD46B6}"/>
                </a:ext>
              </a:extLst>
            </p:cNvPr>
            <p:cNvSpPr/>
            <p:nvPr/>
          </p:nvSpPr>
          <p:spPr>
            <a:xfrm>
              <a:off x="7430596" y="2968944"/>
              <a:ext cx="187302" cy="143716"/>
            </a:xfrm>
            <a:custGeom>
              <a:avLst/>
              <a:gdLst>
                <a:gd name="connsiteX0" fmla="*/ 168036 w 168035"/>
                <a:gd name="connsiteY0" fmla="*/ 38046 h 128933"/>
                <a:gd name="connsiteX1" fmla="*/ 30648 w 168035"/>
                <a:gd name="connsiteY1" fmla="*/ 0 h 128933"/>
                <a:gd name="connsiteX2" fmla="*/ 0 w 168035"/>
                <a:gd name="connsiteY2" fmla="*/ 89831 h 128933"/>
                <a:gd name="connsiteX3" fmla="*/ 151127 w 168035"/>
                <a:gd name="connsiteY3" fmla="*/ 128933 h 128933"/>
                <a:gd name="connsiteX4" fmla="*/ 168036 w 168035"/>
                <a:gd name="connsiteY4" fmla="*/ 38046 h 1289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035" h="128933">
                  <a:moveTo>
                    <a:pt x="168036" y="38046"/>
                  </a:moveTo>
                  <a:cubicBezTo>
                    <a:pt x="120479" y="38046"/>
                    <a:pt x="72921" y="25364"/>
                    <a:pt x="30648" y="0"/>
                  </a:cubicBezTo>
                  <a:cubicBezTo>
                    <a:pt x="41216" y="32762"/>
                    <a:pt x="29591" y="69751"/>
                    <a:pt x="0" y="89831"/>
                  </a:cubicBezTo>
                  <a:cubicBezTo>
                    <a:pt x="51785" y="95115"/>
                    <a:pt x="103569" y="108853"/>
                    <a:pt x="151127" y="128933"/>
                  </a:cubicBezTo>
                  <a:cubicBezTo>
                    <a:pt x="137388" y="99342"/>
                    <a:pt x="143729" y="62353"/>
                    <a:pt x="168036" y="38046"/>
                  </a:cubicBezTo>
                  <a:close/>
                </a:path>
              </a:pathLst>
            </a:custGeom>
            <a:solidFill>
              <a:schemeClr val="accent4"/>
            </a:solidFill>
            <a:ln w="10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grpSp>
        <p:nvGrpSpPr>
          <p:cNvPr id="29" name="Group 37">
            <a:extLst>
              <a:ext uri="{FF2B5EF4-FFF2-40B4-BE49-F238E27FC236}">
                <a16:creationId xmlns:a16="http://schemas.microsoft.com/office/drawing/2014/main" id="{B955B0CC-1167-46D2-BC0B-F4F48DDE0F8B}"/>
              </a:ext>
            </a:extLst>
          </p:cNvPr>
          <p:cNvGrpSpPr/>
          <p:nvPr/>
        </p:nvGrpSpPr>
        <p:grpSpPr>
          <a:xfrm>
            <a:off x="7935960" y="3390333"/>
            <a:ext cx="836887" cy="742566"/>
            <a:chOff x="7935960" y="3390333"/>
            <a:chExt cx="836887" cy="742566"/>
          </a:xfrm>
        </p:grpSpPr>
        <p:sp>
          <p:nvSpPr>
            <p:cNvPr id="30" name="Freeform: Shape 22">
              <a:extLst>
                <a:ext uri="{FF2B5EF4-FFF2-40B4-BE49-F238E27FC236}">
                  <a16:creationId xmlns:a16="http://schemas.microsoft.com/office/drawing/2014/main" id="{581F0388-C6A4-40E9-939D-26DEE09CAD2B}"/>
                </a:ext>
              </a:extLst>
            </p:cNvPr>
            <p:cNvSpPr/>
            <p:nvPr/>
          </p:nvSpPr>
          <p:spPr>
            <a:xfrm rot="19515377">
              <a:off x="8036175" y="3390333"/>
              <a:ext cx="736672" cy="742566"/>
            </a:xfrm>
            <a:custGeom>
              <a:avLst/>
              <a:gdLst>
                <a:gd name="connsiteX0" fmla="*/ 528409 w 528409"/>
                <a:gd name="connsiteY0" fmla="*/ 266318 h 532636"/>
                <a:gd name="connsiteX1" fmla="*/ 264204 w 528409"/>
                <a:gd name="connsiteY1" fmla="*/ 532636 h 532636"/>
                <a:gd name="connsiteX2" fmla="*/ 0 w 528409"/>
                <a:gd name="connsiteY2" fmla="*/ 266318 h 532636"/>
                <a:gd name="connsiteX3" fmla="*/ 264204 w 528409"/>
                <a:gd name="connsiteY3" fmla="*/ 0 h 532636"/>
                <a:gd name="connsiteX4" fmla="*/ 528409 w 528409"/>
                <a:gd name="connsiteY4" fmla="*/ 266318 h 5326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8409" h="532636">
                  <a:moveTo>
                    <a:pt x="528409" y="266318"/>
                  </a:moveTo>
                  <a:cubicBezTo>
                    <a:pt x="528409" y="413402"/>
                    <a:pt x="410121" y="532636"/>
                    <a:pt x="264204" y="532636"/>
                  </a:cubicBezTo>
                  <a:cubicBezTo>
                    <a:pt x="118288" y="532636"/>
                    <a:pt x="0" y="413402"/>
                    <a:pt x="0" y="266318"/>
                  </a:cubicBezTo>
                  <a:cubicBezTo>
                    <a:pt x="0" y="119235"/>
                    <a:pt x="118288" y="0"/>
                    <a:pt x="264204" y="0"/>
                  </a:cubicBezTo>
                  <a:cubicBezTo>
                    <a:pt x="410121" y="0"/>
                    <a:pt x="528409" y="119235"/>
                    <a:pt x="528409" y="266318"/>
                  </a:cubicBezTo>
                  <a:close/>
                </a:path>
              </a:pathLst>
            </a:custGeom>
            <a:solidFill>
              <a:schemeClr val="accent4"/>
            </a:solidFill>
            <a:ln w="10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1" name="Freeform: Shape 28">
              <a:extLst>
                <a:ext uri="{FF2B5EF4-FFF2-40B4-BE49-F238E27FC236}">
                  <a16:creationId xmlns:a16="http://schemas.microsoft.com/office/drawing/2014/main" id="{B67F5D77-5E03-4987-999C-1BA670CE10BC}"/>
                </a:ext>
              </a:extLst>
            </p:cNvPr>
            <p:cNvSpPr/>
            <p:nvPr/>
          </p:nvSpPr>
          <p:spPr>
            <a:xfrm>
              <a:off x="7935960" y="3622711"/>
              <a:ext cx="120156" cy="176700"/>
            </a:xfrm>
            <a:custGeom>
              <a:avLst/>
              <a:gdLst>
                <a:gd name="connsiteX0" fmla="*/ 107797 w 107796"/>
                <a:gd name="connsiteY0" fmla="*/ 16909 h 158524"/>
                <a:gd name="connsiteX1" fmla="*/ 95115 w 107796"/>
                <a:gd name="connsiteY1" fmla="*/ 158525 h 158524"/>
                <a:gd name="connsiteX2" fmla="*/ 0 w 107796"/>
                <a:gd name="connsiteY2" fmla="*/ 155354 h 158524"/>
                <a:gd name="connsiteX3" fmla="*/ 15852 w 107796"/>
                <a:gd name="connsiteY3" fmla="*/ 0 h 158524"/>
                <a:gd name="connsiteX4" fmla="*/ 107797 w 107796"/>
                <a:gd name="connsiteY4" fmla="*/ 16909 h 1585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796" h="158524">
                  <a:moveTo>
                    <a:pt x="107797" y="16909"/>
                  </a:moveTo>
                  <a:cubicBezTo>
                    <a:pt x="90887" y="61296"/>
                    <a:pt x="86660" y="110967"/>
                    <a:pt x="95115" y="158525"/>
                  </a:cubicBezTo>
                  <a:cubicBezTo>
                    <a:pt x="67637" y="137388"/>
                    <a:pt x="29591" y="135274"/>
                    <a:pt x="0" y="155354"/>
                  </a:cubicBezTo>
                  <a:cubicBezTo>
                    <a:pt x="12682" y="104626"/>
                    <a:pt x="19023" y="51785"/>
                    <a:pt x="15852" y="0"/>
                  </a:cubicBezTo>
                  <a:cubicBezTo>
                    <a:pt x="40159" y="24307"/>
                    <a:pt x="77149" y="31705"/>
                    <a:pt x="107797" y="16909"/>
                  </a:cubicBezTo>
                  <a:close/>
                </a:path>
              </a:pathLst>
            </a:custGeom>
            <a:solidFill>
              <a:schemeClr val="accent4"/>
            </a:solidFill>
            <a:ln w="10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useBgFill="1">
          <p:nvSpPr>
            <p:cNvPr id="32" name="Freeform: Shape 31">
              <a:extLst>
                <a:ext uri="{FF2B5EF4-FFF2-40B4-BE49-F238E27FC236}">
                  <a16:creationId xmlns:a16="http://schemas.microsoft.com/office/drawing/2014/main" id="{2E36B362-5777-459C-9196-97A0A0319005}"/>
                </a:ext>
              </a:extLst>
            </p:cNvPr>
            <p:cNvSpPr/>
            <p:nvPr/>
          </p:nvSpPr>
          <p:spPr>
            <a:xfrm>
              <a:off x="8134904" y="3486577"/>
              <a:ext cx="539215" cy="550078"/>
            </a:xfrm>
            <a:custGeom>
              <a:avLst/>
              <a:gdLst>
                <a:gd name="connsiteX0" fmla="*/ 372520 w 386774"/>
                <a:gd name="connsiteY0" fmla="*/ 269677 h 394567"/>
                <a:gd name="connsiteX1" fmla="*/ 120994 w 386774"/>
                <a:gd name="connsiteY1" fmla="*/ 380644 h 394567"/>
                <a:gd name="connsiteX2" fmla="*/ 14254 w 386774"/>
                <a:gd name="connsiteY2" fmla="*/ 124891 h 394567"/>
                <a:gd name="connsiteX3" fmla="*/ 265780 w 386774"/>
                <a:gd name="connsiteY3" fmla="*/ 13924 h 394567"/>
                <a:gd name="connsiteX4" fmla="*/ 372520 w 386774"/>
                <a:gd name="connsiteY4" fmla="*/ 269677 h 3945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6774" h="394567">
                  <a:moveTo>
                    <a:pt x="372520" y="269677"/>
                  </a:moveTo>
                  <a:cubicBezTo>
                    <a:pt x="332360" y="371132"/>
                    <a:pt x="219279" y="420803"/>
                    <a:pt x="120994" y="380644"/>
                  </a:cubicBezTo>
                  <a:cubicBezTo>
                    <a:pt x="21652" y="340484"/>
                    <a:pt x="-25905" y="226346"/>
                    <a:pt x="14254" y="124891"/>
                  </a:cubicBezTo>
                  <a:cubicBezTo>
                    <a:pt x="54414" y="23435"/>
                    <a:pt x="167495" y="-26236"/>
                    <a:pt x="265780" y="13924"/>
                  </a:cubicBezTo>
                  <a:cubicBezTo>
                    <a:pt x="365122" y="54083"/>
                    <a:pt x="412679" y="168221"/>
                    <a:pt x="372520" y="269677"/>
                  </a:cubicBezTo>
                  <a:close/>
                </a:path>
              </a:pathLst>
            </a:custGeom>
            <a:ln w="10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sp>
        <p:nvSpPr>
          <p:cNvPr id="33" name="Freeform: Shape 32">
            <a:extLst>
              <a:ext uri="{FF2B5EF4-FFF2-40B4-BE49-F238E27FC236}">
                <a16:creationId xmlns:a16="http://schemas.microsoft.com/office/drawing/2014/main" id="{9803F8FE-0F2A-4E9E-800A-9AA510DD8447}"/>
              </a:ext>
            </a:extLst>
          </p:cNvPr>
          <p:cNvSpPr/>
          <p:nvPr/>
        </p:nvSpPr>
        <p:spPr>
          <a:xfrm rot="18284623">
            <a:off x="5393316" y="3869876"/>
            <a:ext cx="83637" cy="424077"/>
          </a:xfrm>
          <a:custGeom>
            <a:avLst/>
            <a:gdLst>
              <a:gd name="connsiteX0" fmla="*/ 0 w 75034"/>
              <a:gd name="connsiteY0" fmla="*/ 0 h 380454"/>
              <a:gd name="connsiteX1" fmla="*/ 75034 w 75034"/>
              <a:gd name="connsiteY1" fmla="*/ 0 h 380454"/>
              <a:gd name="connsiteX2" fmla="*/ 75034 w 75034"/>
              <a:gd name="connsiteY2" fmla="*/ 380455 h 380454"/>
              <a:gd name="connsiteX3" fmla="*/ 0 w 75034"/>
              <a:gd name="connsiteY3" fmla="*/ 380455 h 380454"/>
            </a:gdLst>
            <a:ahLst/>
            <a:cxnLst>
              <a:cxn ang="0">
                <a:pos x="connsiteX0" y="connsiteY0"/>
              </a:cxn>
              <a:cxn ang="0">
                <a:pos x="connsiteX1" y="connsiteY1"/>
              </a:cxn>
              <a:cxn ang="0">
                <a:pos x="connsiteX2" y="connsiteY2"/>
              </a:cxn>
              <a:cxn ang="0">
                <a:pos x="connsiteX3" y="connsiteY3"/>
              </a:cxn>
            </a:cxnLst>
            <a:rect l="l" t="t" r="r" b="b"/>
            <a:pathLst>
              <a:path w="75034" h="380454">
                <a:moveTo>
                  <a:pt x="0" y="0"/>
                </a:moveTo>
                <a:lnTo>
                  <a:pt x="75034" y="0"/>
                </a:lnTo>
                <a:lnTo>
                  <a:pt x="75034" y="380455"/>
                </a:lnTo>
                <a:lnTo>
                  <a:pt x="0" y="380455"/>
                </a:lnTo>
                <a:close/>
              </a:path>
            </a:pathLst>
          </a:custGeom>
          <a:solidFill>
            <a:schemeClr val="tx2">
              <a:lumMod val="25000"/>
              <a:lumOff val="75000"/>
            </a:schemeClr>
          </a:solidFill>
          <a:ln w="10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4" name="Freeform: Shape 33">
            <a:extLst>
              <a:ext uri="{FF2B5EF4-FFF2-40B4-BE49-F238E27FC236}">
                <a16:creationId xmlns:a16="http://schemas.microsoft.com/office/drawing/2014/main" id="{FD45B7DD-F0A1-4776-BEF6-BA69B85A26CB}"/>
              </a:ext>
            </a:extLst>
          </p:cNvPr>
          <p:cNvSpPr/>
          <p:nvPr/>
        </p:nvSpPr>
        <p:spPr>
          <a:xfrm>
            <a:off x="5173537" y="3835932"/>
            <a:ext cx="233716" cy="275137"/>
          </a:xfrm>
          <a:custGeom>
            <a:avLst/>
            <a:gdLst>
              <a:gd name="connsiteX0" fmla="*/ 0 w 209675"/>
              <a:gd name="connsiteY0" fmla="*/ 225105 h 246835"/>
              <a:gd name="connsiteX1" fmla="*/ 183888 w 209675"/>
              <a:gd name="connsiteY1" fmla="*/ 186002 h 246835"/>
              <a:gd name="connsiteX2" fmla="*/ 156411 w 209675"/>
              <a:gd name="connsiteY2" fmla="*/ 0 h 246835"/>
              <a:gd name="connsiteX3" fmla="*/ 78205 w 209675"/>
              <a:gd name="connsiteY3" fmla="*/ 112024 h 246835"/>
              <a:gd name="connsiteX4" fmla="*/ 0 w 209675"/>
              <a:gd name="connsiteY4" fmla="*/ 225105 h 2468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9675" h="246835">
                <a:moveTo>
                  <a:pt x="0" y="225105"/>
                </a:moveTo>
                <a:cubicBezTo>
                  <a:pt x="58126" y="265265"/>
                  <a:pt x="140558" y="248355"/>
                  <a:pt x="183888" y="186002"/>
                </a:cubicBezTo>
                <a:cubicBezTo>
                  <a:pt x="227219" y="123649"/>
                  <a:pt x="214536" y="41216"/>
                  <a:pt x="156411" y="0"/>
                </a:cubicBezTo>
                <a:lnTo>
                  <a:pt x="78205" y="112024"/>
                </a:lnTo>
                <a:lnTo>
                  <a:pt x="0" y="225105"/>
                </a:lnTo>
                <a:close/>
              </a:path>
            </a:pathLst>
          </a:custGeom>
          <a:solidFill>
            <a:schemeClr val="tx2">
              <a:lumMod val="50000"/>
              <a:lumOff val="50000"/>
            </a:schemeClr>
          </a:solidFill>
          <a:ln w="10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5" name="Freeform: Shape 35">
            <a:extLst>
              <a:ext uri="{FF2B5EF4-FFF2-40B4-BE49-F238E27FC236}">
                <a16:creationId xmlns:a16="http://schemas.microsoft.com/office/drawing/2014/main" id="{3885EF13-FE1D-40D8-BFC0-1F7C45DA5CD3}"/>
              </a:ext>
            </a:extLst>
          </p:cNvPr>
          <p:cNvSpPr/>
          <p:nvPr/>
        </p:nvSpPr>
        <p:spPr>
          <a:xfrm rot="18284623">
            <a:off x="4225444" y="3069620"/>
            <a:ext cx="1161499" cy="1152076"/>
          </a:xfrm>
          <a:custGeom>
            <a:avLst/>
            <a:gdLst>
              <a:gd name="connsiteX0" fmla="*/ 1042023 w 1042022"/>
              <a:gd name="connsiteY0" fmla="*/ 516784 h 1033568"/>
              <a:gd name="connsiteX1" fmla="*/ 521011 w 1042022"/>
              <a:gd name="connsiteY1" fmla="*/ 1033568 h 1033568"/>
              <a:gd name="connsiteX2" fmla="*/ 0 w 1042022"/>
              <a:gd name="connsiteY2" fmla="*/ 516784 h 1033568"/>
              <a:gd name="connsiteX3" fmla="*/ 521011 w 1042022"/>
              <a:gd name="connsiteY3" fmla="*/ 0 h 1033568"/>
              <a:gd name="connsiteX4" fmla="*/ 1042023 w 1042022"/>
              <a:gd name="connsiteY4" fmla="*/ 516784 h 10335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2022" h="1033568">
                <a:moveTo>
                  <a:pt x="1042023" y="516784"/>
                </a:moveTo>
                <a:cubicBezTo>
                  <a:pt x="1042023" y="802196"/>
                  <a:pt x="808758" y="1033568"/>
                  <a:pt x="521011" y="1033568"/>
                </a:cubicBezTo>
                <a:cubicBezTo>
                  <a:pt x="233265" y="1033568"/>
                  <a:pt x="0" y="802196"/>
                  <a:pt x="0" y="516784"/>
                </a:cubicBezTo>
                <a:cubicBezTo>
                  <a:pt x="0" y="231372"/>
                  <a:pt x="233265" y="0"/>
                  <a:pt x="521011" y="0"/>
                </a:cubicBezTo>
                <a:cubicBezTo>
                  <a:pt x="808758" y="0"/>
                  <a:pt x="1042023" y="231372"/>
                  <a:pt x="1042023" y="516784"/>
                </a:cubicBezTo>
                <a:close/>
              </a:path>
            </a:pathLst>
          </a:custGeom>
          <a:solidFill>
            <a:schemeClr val="accent2"/>
          </a:solidFill>
          <a:ln w="10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nvGrpSpPr>
          <p:cNvPr id="36" name="Group 19">
            <a:extLst>
              <a:ext uri="{FF2B5EF4-FFF2-40B4-BE49-F238E27FC236}">
                <a16:creationId xmlns:a16="http://schemas.microsoft.com/office/drawing/2014/main" id="{99F575ED-0300-4D60-8101-B1E410F3F5AE}"/>
              </a:ext>
            </a:extLst>
          </p:cNvPr>
          <p:cNvGrpSpPr/>
          <p:nvPr/>
        </p:nvGrpSpPr>
        <p:grpSpPr>
          <a:xfrm>
            <a:off x="4186893" y="2273776"/>
            <a:ext cx="736672" cy="838859"/>
            <a:chOff x="4186893" y="2273776"/>
            <a:chExt cx="736672" cy="838859"/>
          </a:xfrm>
        </p:grpSpPr>
        <p:sp>
          <p:nvSpPr>
            <p:cNvPr id="37" name="Freeform: Shape 36">
              <a:extLst>
                <a:ext uri="{FF2B5EF4-FFF2-40B4-BE49-F238E27FC236}">
                  <a16:creationId xmlns:a16="http://schemas.microsoft.com/office/drawing/2014/main" id="{8F7D979D-C138-493E-A995-71041A11B3FF}"/>
                </a:ext>
              </a:extLst>
            </p:cNvPr>
            <p:cNvSpPr/>
            <p:nvPr/>
          </p:nvSpPr>
          <p:spPr>
            <a:xfrm rot="18284623">
              <a:off x="4183948" y="2276721"/>
              <a:ext cx="742562" cy="736672"/>
            </a:xfrm>
            <a:custGeom>
              <a:avLst/>
              <a:gdLst>
                <a:gd name="connsiteX0" fmla="*/ 532636 w 532636"/>
                <a:gd name="connsiteY0" fmla="*/ 264205 h 528409"/>
                <a:gd name="connsiteX1" fmla="*/ 266318 w 532636"/>
                <a:gd name="connsiteY1" fmla="*/ 528409 h 528409"/>
                <a:gd name="connsiteX2" fmla="*/ 0 w 532636"/>
                <a:gd name="connsiteY2" fmla="*/ 264205 h 528409"/>
                <a:gd name="connsiteX3" fmla="*/ 266318 w 532636"/>
                <a:gd name="connsiteY3" fmla="*/ 0 h 528409"/>
                <a:gd name="connsiteX4" fmla="*/ 532636 w 532636"/>
                <a:gd name="connsiteY4" fmla="*/ 264205 h 5284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2636" h="528409">
                  <a:moveTo>
                    <a:pt x="532636" y="264205"/>
                  </a:moveTo>
                  <a:cubicBezTo>
                    <a:pt x="532636" y="410121"/>
                    <a:pt x="413402" y="528409"/>
                    <a:pt x="266318" y="528409"/>
                  </a:cubicBezTo>
                  <a:cubicBezTo>
                    <a:pt x="119235" y="528409"/>
                    <a:pt x="0" y="410121"/>
                    <a:pt x="0" y="264205"/>
                  </a:cubicBezTo>
                  <a:cubicBezTo>
                    <a:pt x="0" y="118288"/>
                    <a:pt x="119235" y="0"/>
                    <a:pt x="266318" y="0"/>
                  </a:cubicBezTo>
                  <a:cubicBezTo>
                    <a:pt x="413402" y="0"/>
                    <a:pt x="532636" y="118288"/>
                    <a:pt x="532636" y="264205"/>
                  </a:cubicBezTo>
                  <a:close/>
                </a:path>
              </a:pathLst>
            </a:custGeom>
            <a:solidFill>
              <a:schemeClr val="accent2"/>
            </a:solidFill>
            <a:ln w="10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useBgFill="1">
          <p:nvSpPr>
            <p:cNvPr id="38" name="Freeform: Shape 38">
              <a:extLst>
                <a:ext uri="{FF2B5EF4-FFF2-40B4-BE49-F238E27FC236}">
                  <a16:creationId xmlns:a16="http://schemas.microsoft.com/office/drawing/2014/main" id="{8FC08AFB-9363-4AC9-8E40-774C29BB5037}"/>
                </a:ext>
              </a:extLst>
            </p:cNvPr>
            <p:cNvSpPr/>
            <p:nvPr/>
          </p:nvSpPr>
          <p:spPr>
            <a:xfrm>
              <a:off x="4287075" y="2366482"/>
              <a:ext cx="536308" cy="557150"/>
            </a:xfrm>
            <a:custGeom>
              <a:avLst/>
              <a:gdLst>
                <a:gd name="connsiteX0" fmla="*/ 370421 w 384690"/>
                <a:gd name="connsiteY0" fmla="*/ 273270 h 399640"/>
                <a:gd name="connsiteX1" fmla="*/ 119952 w 384690"/>
                <a:gd name="connsiteY1" fmla="*/ 385294 h 399640"/>
                <a:gd name="connsiteX2" fmla="*/ 14269 w 384690"/>
                <a:gd name="connsiteY2" fmla="*/ 126370 h 399640"/>
                <a:gd name="connsiteX3" fmla="*/ 264738 w 384690"/>
                <a:gd name="connsiteY3" fmla="*/ 14346 h 399640"/>
                <a:gd name="connsiteX4" fmla="*/ 370421 w 384690"/>
                <a:gd name="connsiteY4" fmla="*/ 273270 h 3996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4690" h="399640">
                  <a:moveTo>
                    <a:pt x="370421" y="273270"/>
                  </a:moveTo>
                  <a:cubicBezTo>
                    <a:pt x="330261" y="375782"/>
                    <a:pt x="218237" y="426510"/>
                    <a:pt x="119952" y="385294"/>
                  </a:cubicBezTo>
                  <a:cubicBezTo>
                    <a:pt x="21667" y="345134"/>
                    <a:pt x="-25890" y="228883"/>
                    <a:pt x="14269" y="126370"/>
                  </a:cubicBezTo>
                  <a:cubicBezTo>
                    <a:pt x="54429" y="23858"/>
                    <a:pt x="166453" y="-26870"/>
                    <a:pt x="264738" y="14346"/>
                  </a:cubicBezTo>
                  <a:cubicBezTo>
                    <a:pt x="363023" y="54506"/>
                    <a:pt x="410581" y="170757"/>
                    <a:pt x="370421" y="273270"/>
                  </a:cubicBezTo>
                  <a:close/>
                </a:path>
              </a:pathLst>
            </a:custGeom>
            <a:ln w="10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9" name="Freeform: Shape 39">
              <a:extLst>
                <a:ext uri="{FF2B5EF4-FFF2-40B4-BE49-F238E27FC236}">
                  <a16:creationId xmlns:a16="http://schemas.microsoft.com/office/drawing/2014/main" id="{5AE028C9-20F0-4154-823E-D029D4BD895E}"/>
                </a:ext>
              </a:extLst>
            </p:cNvPr>
            <p:cNvSpPr/>
            <p:nvPr/>
          </p:nvSpPr>
          <p:spPr>
            <a:xfrm>
              <a:off x="4565685" y="2968919"/>
              <a:ext cx="187303" cy="143716"/>
            </a:xfrm>
            <a:custGeom>
              <a:avLst/>
              <a:gdLst>
                <a:gd name="connsiteX0" fmla="*/ 0 w 168036"/>
                <a:gd name="connsiteY0" fmla="*/ 38046 h 128933"/>
                <a:gd name="connsiteX1" fmla="*/ 137388 w 168036"/>
                <a:gd name="connsiteY1" fmla="*/ 0 h 128933"/>
                <a:gd name="connsiteX2" fmla="*/ 168036 w 168036"/>
                <a:gd name="connsiteY2" fmla="*/ 89831 h 128933"/>
                <a:gd name="connsiteX3" fmla="*/ 16909 w 168036"/>
                <a:gd name="connsiteY3" fmla="*/ 128933 h 128933"/>
                <a:gd name="connsiteX4" fmla="*/ 0 w 168036"/>
                <a:gd name="connsiteY4" fmla="*/ 38046 h 1289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036" h="128933">
                  <a:moveTo>
                    <a:pt x="0" y="38046"/>
                  </a:moveTo>
                  <a:cubicBezTo>
                    <a:pt x="47557" y="38046"/>
                    <a:pt x="95115" y="25364"/>
                    <a:pt x="137388" y="0"/>
                  </a:cubicBezTo>
                  <a:cubicBezTo>
                    <a:pt x="126820" y="32762"/>
                    <a:pt x="138445" y="69751"/>
                    <a:pt x="168036" y="89831"/>
                  </a:cubicBezTo>
                  <a:cubicBezTo>
                    <a:pt x="116251" y="95115"/>
                    <a:pt x="64467" y="108854"/>
                    <a:pt x="16909" y="128933"/>
                  </a:cubicBezTo>
                  <a:cubicBezTo>
                    <a:pt x="29591" y="98285"/>
                    <a:pt x="23250" y="61296"/>
                    <a:pt x="0" y="38046"/>
                  </a:cubicBezTo>
                  <a:close/>
                </a:path>
              </a:pathLst>
            </a:custGeom>
            <a:solidFill>
              <a:schemeClr val="accent2"/>
            </a:solidFill>
            <a:ln w="10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grpSp>
        <p:nvGrpSpPr>
          <p:cNvPr id="40" name="Group 9">
            <a:extLst>
              <a:ext uri="{FF2B5EF4-FFF2-40B4-BE49-F238E27FC236}">
                <a16:creationId xmlns:a16="http://schemas.microsoft.com/office/drawing/2014/main" id="{0EFDBFB6-100B-48D1-9B8A-57FC18BAF9CF}"/>
              </a:ext>
            </a:extLst>
          </p:cNvPr>
          <p:cNvGrpSpPr/>
          <p:nvPr/>
        </p:nvGrpSpPr>
        <p:grpSpPr>
          <a:xfrm>
            <a:off x="3412312" y="3390608"/>
            <a:ext cx="835311" cy="742562"/>
            <a:chOff x="3412312" y="3390608"/>
            <a:chExt cx="835311" cy="742562"/>
          </a:xfrm>
        </p:grpSpPr>
        <p:sp>
          <p:nvSpPr>
            <p:cNvPr id="41" name="Freeform: Shape 34">
              <a:extLst>
                <a:ext uri="{FF2B5EF4-FFF2-40B4-BE49-F238E27FC236}">
                  <a16:creationId xmlns:a16="http://schemas.microsoft.com/office/drawing/2014/main" id="{4F90001E-0405-403D-988B-833C72D548C6}"/>
                </a:ext>
              </a:extLst>
            </p:cNvPr>
            <p:cNvSpPr/>
            <p:nvPr/>
          </p:nvSpPr>
          <p:spPr>
            <a:xfrm rot="18284623">
              <a:off x="3409367" y="3393553"/>
              <a:ext cx="742562" cy="736672"/>
            </a:xfrm>
            <a:custGeom>
              <a:avLst/>
              <a:gdLst>
                <a:gd name="connsiteX0" fmla="*/ 532636 w 532636"/>
                <a:gd name="connsiteY0" fmla="*/ 264205 h 528409"/>
                <a:gd name="connsiteX1" fmla="*/ 266318 w 532636"/>
                <a:gd name="connsiteY1" fmla="*/ 528409 h 528409"/>
                <a:gd name="connsiteX2" fmla="*/ 0 w 532636"/>
                <a:gd name="connsiteY2" fmla="*/ 264205 h 528409"/>
                <a:gd name="connsiteX3" fmla="*/ 266318 w 532636"/>
                <a:gd name="connsiteY3" fmla="*/ 0 h 528409"/>
                <a:gd name="connsiteX4" fmla="*/ 532636 w 532636"/>
                <a:gd name="connsiteY4" fmla="*/ 264205 h 5284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2636" h="528409">
                  <a:moveTo>
                    <a:pt x="532636" y="264205"/>
                  </a:moveTo>
                  <a:cubicBezTo>
                    <a:pt x="532636" y="410121"/>
                    <a:pt x="413402" y="528409"/>
                    <a:pt x="266318" y="528409"/>
                  </a:cubicBezTo>
                  <a:cubicBezTo>
                    <a:pt x="119235" y="528409"/>
                    <a:pt x="0" y="410121"/>
                    <a:pt x="0" y="264205"/>
                  </a:cubicBezTo>
                  <a:cubicBezTo>
                    <a:pt x="0" y="118289"/>
                    <a:pt x="119235" y="0"/>
                    <a:pt x="266318" y="0"/>
                  </a:cubicBezTo>
                  <a:cubicBezTo>
                    <a:pt x="413402" y="0"/>
                    <a:pt x="532636" y="118289"/>
                    <a:pt x="532636" y="264205"/>
                  </a:cubicBezTo>
                  <a:close/>
                </a:path>
              </a:pathLst>
            </a:custGeom>
            <a:solidFill>
              <a:schemeClr val="accent2"/>
            </a:solidFill>
            <a:ln w="10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42" name="Freeform: Shape 40">
              <a:extLst>
                <a:ext uri="{FF2B5EF4-FFF2-40B4-BE49-F238E27FC236}">
                  <a16:creationId xmlns:a16="http://schemas.microsoft.com/office/drawing/2014/main" id="{14C28970-022A-4ABC-BF33-B5D73D57744A}"/>
                </a:ext>
              </a:extLst>
            </p:cNvPr>
            <p:cNvSpPr/>
            <p:nvPr/>
          </p:nvSpPr>
          <p:spPr>
            <a:xfrm>
              <a:off x="4127467" y="3625068"/>
              <a:ext cx="120156" cy="176700"/>
            </a:xfrm>
            <a:custGeom>
              <a:avLst/>
              <a:gdLst>
                <a:gd name="connsiteX0" fmla="*/ 0 w 107796"/>
                <a:gd name="connsiteY0" fmla="*/ 16909 h 158524"/>
                <a:gd name="connsiteX1" fmla="*/ 12682 w 107796"/>
                <a:gd name="connsiteY1" fmla="*/ 158525 h 158524"/>
                <a:gd name="connsiteX2" fmla="*/ 107797 w 107796"/>
                <a:gd name="connsiteY2" fmla="*/ 155354 h 158524"/>
                <a:gd name="connsiteX3" fmla="*/ 91944 w 107796"/>
                <a:gd name="connsiteY3" fmla="*/ 0 h 158524"/>
                <a:gd name="connsiteX4" fmla="*/ 0 w 107796"/>
                <a:gd name="connsiteY4" fmla="*/ 16909 h 1585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796" h="158524">
                  <a:moveTo>
                    <a:pt x="0" y="16909"/>
                  </a:moveTo>
                  <a:cubicBezTo>
                    <a:pt x="16909" y="61296"/>
                    <a:pt x="21137" y="110967"/>
                    <a:pt x="12682" y="158525"/>
                  </a:cubicBezTo>
                  <a:cubicBezTo>
                    <a:pt x="40160" y="137388"/>
                    <a:pt x="78205" y="135274"/>
                    <a:pt x="107797" y="155354"/>
                  </a:cubicBezTo>
                  <a:cubicBezTo>
                    <a:pt x="95115" y="104626"/>
                    <a:pt x="88774" y="51785"/>
                    <a:pt x="91944" y="0"/>
                  </a:cubicBezTo>
                  <a:cubicBezTo>
                    <a:pt x="67637" y="24307"/>
                    <a:pt x="30648" y="30648"/>
                    <a:pt x="0" y="16909"/>
                  </a:cubicBezTo>
                  <a:close/>
                </a:path>
              </a:pathLst>
            </a:custGeom>
            <a:solidFill>
              <a:schemeClr val="accent2"/>
            </a:solidFill>
            <a:ln w="10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useBgFill="1">
          <p:nvSpPr>
            <p:cNvPr id="43" name="Freeform: Shape 42">
              <a:extLst>
                <a:ext uri="{FF2B5EF4-FFF2-40B4-BE49-F238E27FC236}">
                  <a16:creationId xmlns:a16="http://schemas.microsoft.com/office/drawing/2014/main" id="{3C833D9D-7988-46BA-B705-99BD05267898}"/>
                </a:ext>
              </a:extLst>
            </p:cNvPr>
            <p:cNvSpPr/>
            <p:nvPr/>
          </p:nvSpPr>
          <p:spPr>
            <a:xfrm>
              <a:off x="3511041" y="3486850"/>
              <a:ext cx="539214" cy="550078"/>
            </a:xfrm>
            <a:custGeom>
              <a:avLst/>
              <a:gdLst>
                <a:gd name="connsiteX0" fmla="*/ 372520 w 386774"/>
                <a:gd name="connsiteY0" fmla="*/ 269677 h 394567"/>
                <a:gd name="connsiteX1" fmla="*/ 120994 w 386774"/>
                <a:gd name="connsiteY1" fmla="*/ 380644 h 394567"/>
                <a:gd name="connsiteX2" fmla="*/ 14254 w 386774"/>
                <a:gd name="connsiteY2" fmla="*/ 124891 h 394567"/>
                <a:gd name="connsiteX3" fmla="*/ 265780 w 386774"/>
                <a:gd name="connsiteY3" fmla="*/ 13924 h 394567"/>
                <a:gd name="connsiteX4" fmla="*/ 372520 w 386774"/>
                <a:gd name="connsiteY4" fmla="*/ 269677 h 3945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6774" h="394567">
                  <a:moveTo>
                    <a:pt x="372520" y="269677"/>
                  </a:moveTo>
                  <a:cubicBezTo>
                    <a:pt x="332360" y="371132"/>
                    <a:pt x="219279" y="420803"/>
                    <a:pt x="120994" y="380644"/>
                  </a:cubicBezTo>
                  <a:cubicBezTo>
                    <a:pt x="21652" y="340484"/>
                    <a:pt x="-25905" y="226346"/>
                    <a:pt x="14254" y="124891"/>
                  </a:cubicBezTo>
                  <a:cubicBezTo>
                    <a:pt x="54414" y="23435"/>
                    <a:pt x="167495" y="-26236"/>
                    <a:pt x="265780" y="13924"/>
                  </a:cubicBezTo>
                  <a:cubicBezTo>
                    <a:pt x="365122" y="53026"/>
                    <a:pt x="412679" y="168221"/>
                    <a:pt x="372520" y="269677"/>
                  </a:cubicBezTo>
                  <a:close/>
                </a:path>
              </a:pathLst>
            </a:custGeom>
            <a:ln w="10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sp>
        <p:nvSpPr>
          <p:cNvPr id="44" name="Freeform: Shape 44">
            <a:extLst>
              <a:ext uri="{FF2B5EF4-FFF2-40B4-BE49-F238E27FC236}">
                <a16:creationId xmlns:a16="http://schemas.microsoft.com/office/drawing/2014/main" id="{1573D52D-BD6F-42B4-962C-D4D3F012CE08}"/>
              </a:ext>
            </a:extLst>
          </p:cNvPr>
          <p:cNvSpPr/>
          <p:nvPr/>
        </p:nvSpPr>
        <p:spPr>
          <a:xfrm rot="17511021">
            <a:off x="6800962" y="4616148"/>
            <a:ext cx="83642" cy="424100"/>
          </a:xfrm>
          <a:custGeom>
            <a:avLst/>
            <a:gdLst>
              <a:gd name="connsiteX0" fmla="*/ 0 w 75038"/>
              <a:gd name="connsiteY0" fmla="*/ 0 h 380475"/>
              <a:gd name="connsiteX1" fmla="*/ 75038 w 75038"/>
              <a:gd name="connsiteY1" fmla="*/ 0 h 380475"/>
              <a:gd name="connsiteX2" fmla="*/ 75038 w 75038"/>
              <a:gd name="connsiteY2" fmla="*/ 380476 h 380475"/>
              <a:gd name="connsiteX3" fmla="*/ 0 w 75038"/>
              <a:gd name="connsiteY3" fmla="*/ 380476 h 380475"/>
            </a:gdLst>
            <a:ahLst/>
            <a:cxnLst>
              <a:cxn ang="0">
                <a:pos x="connsiteX0" y="connsiteY0"/>
              </a:cxn>
              <a:cxn ang="0">
                <a:pos x="connsiteX1" y="connsiteY1"/>
              </a:cxn>
              <a:cxn ang="0">
                <a:pos x="connsiteX2" y="connsiteY2"/>
              </a:cxn>
              <a:cxn ang="0">
                <a:pos x="connsiteX3" y="connsiteY3"/>
              </a:cxn>
            </a:cxnLst>
            <a:rect l="l" t="t" r="r" b="b"/>
            <a:pathLst>
              <a:path w="75038" h="380475">
                <a:moveTo>
                  <a:pt x="0" y="0"/>
                </a:moveTo>
                <a:lnTo>
                  <a:pt x="75038" y="0"/>
                </a:lnTo>
                <a:lnTo>
                  <a:pt x="75038" y="380476"/>
                </a:lnTo>
                <a:lnTo>
                  <a:pt x="0" y="380476"/>
                </a:lnTo>
                <a:close/>
              </a:path>
            </a:pathLst>
          </a:custGeom>
          <a:solidFill>
            <a:schemeClr val="tx2">
              <a:lumMod val="25000"/>
              <a:lumOff val="75000"/>
            </a:schemeClr>
          </a:solidFill>
          <a:ln w="10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45" name="Freeform: Shape 45">
            <a:extLst>
              <a:ext uri="{FF2B5EF4-FFF2-40B4-BE49-F238E27FC236}">
                <a16:creationId xmlns:a16="http://schemas.microsoft.com/office/drawing/2014/main" id="{FBEF6EBA-5B0E-49B3-87A5-8D46DC091155}"/>
              </a:ext>
            </a:extLst>
          </p:cNvPr>
          <p:cNvSpPr/>
          <p:nvPr/>
        </p:nvSpPr>
        <p:spPr>
          <a:xfrm>
            <a:off x="6896333" y="4756869"/>
            <a:ext cx="200886" cy="292407"/>
          </a:xfrm>
          <a:custGeom>
            <a:avLst/>
            <a:gdLst>
              <a:gd name="connsiteX0" fmla="*/ 78767 w 180222"/>
              <a:gd name="connsiteY0" fmla="*/ 262329 h 262329"/>
              <a:gd name="connsiteX1" fmla="*/ 10073 w 180222"/>
              <a:gd name="connsiteY1" fmla="*/ 87952 h 262329"/>
              <a:gd name="connsiteX2" fmla="*/ 180223 w 180222"/>
              <a:gd name="connsiteY2" fmla="*/ 8690 h 262329"/>
              <a:gd name="connsiteX3" fmla="*/ 129495 w 180222"/>
              <a:gd name="connsiteY3" fmla="*/ 135509 h 262329"/>
              <a:gd name="connsiteX4" fmla="*/ 78767 w 180222"/>
              <a:gd name="connsiteY4" fmla="*/ 262329 h 2623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0222" h="262329">
                <a:moveTo>
                  <a:pt x="78767" y="262329"/>
                </a:moveTo>
                <a:cubicBezTo>
                  <a:pt x="13244" y="235908"/>
                  <a:pt x="-17404" y="157703"/>
                  <a:pt x="10073" y="87952"/>
                </a:cubicBezTo>
                <a:cubicBezTo>
                  <a:pt x="38608" y="18201"/>
                  <a:pt x="114700" y="-17731"/>
                  <a:pt x="180223" y="8690"/>
                </a:cubicBezTo>
                <a:lnTo>
                  <a:pt x="129495" y="135509"/>
                </a:lnTo>
                <a:lnTo>
                  <a:pt x="78767" y="262329"/>
                </a:lnTo>
                <a:close/>
              </a:path>
            </a:pathLst>
          </a:custGeom>
          <a:solidFill>
            <a:schemeClr val="tx2">
              <a:lumMod val="50000"/>
              <a:lumOff val="50000"/>
            </a:schemeClr>
          </a:solidFill>
          <a:ln w="10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46" name="Freeform: Shape 49">
            <a:extLst>
              <a:ext uri="{FF2B5EF4-FFF2-40B4-BE49-F238E27FC236}">
                <a16:creationId xmlns:a16="http://schemas.microsoft.com/office/drawing/2014/main" id="{9B2DAE68-4140-4926-8109-A95D6CD2D16A}"/>
              </a:ext>
            </a:extLst>
          </p:cNvPr>
          <p:cNvSpPr/>
          <p:nvPr/>
        </p:nvSpPr>
        <p:spPr>
          <a:xfrm rot="17511021">
            <a:off x="6974152" y="4537883"/>
            <a:ext cx="1161564" cy="1152140"/>
          </a:xfrm>
          <a:custGeom>
            <a:avLst/>
            <a:gdLst>
              <a:gd name="connsiteX0" fmla="*/ 1042081 w 1042080"/>
              <a:gd name="connsiteY0" fmla="*/ 516813 h 1033625"/>
              <a:gd name="connsiteX1" fmla="*/ 521041 w 1042080"/>
              <a:gd name="connsiteY1" fmla="*/ 1033626 h 1033625"/>
              <a:gd name="connsiteX2" fmla="*/ 0 w 1042080"/>
              <a:gd name="connsiteY2" fmla="*/ 516813 h 1033625"/>
              <a:gd name="connsiteX3" fmla="*/ 521041 w 1042080"/>
              <a:gd name="connsiteY3" fmla="*/ 0 h 1033625"/>
              <a:gd name="connsiteX4" fmla="*/ 1042081 w 1042080"/>
              <a:gd name="connsiteY4" fmla="*/ 516813 h 1033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2080" h="1033625">
                <a:moveTo>
                  <a:pt x="1042081" y="516813"/>
                </a:moveTo>
                <a:cubicBezTo>
                  <a:pt x="1042081" y="802241"/>
                  <a:pt x="808803" y="1033626"/>
                  <a:pt x="521041" y="1033626"/>
                </a:cubicBezTo>
                <a:cubicBezTo>
                  <a:pt x="233278" y="1033626"/>
                  <a:pt x="0" y="802241"/>
                  <a:pt x="0" y="516813"/>
                </a:cubicBezTo>
                <a:cubicBezTo>
                  <a:pt x="0" y="231385"/>
                  <a:pt x="233278" y="0"/>
                  <a:pt x="521041" y="0"/>
                </a:cubicBezTo>
                <a:cubicBezTo>
                  <a:pt x="808803" y="0"/>
                  <a:pt x="1042081" y="231385"/>
                  <a:pt x="1042081" y="516813"/>
                </a:cubicBezTo>
                <a:close/>
              </a:path>
            </a:pathLst>
          </a:custGeom>
          <a:solidFill>
            <a:schemeClr val="accent5"/>
          </a:solidFill>
          <a:ln w="10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nvGrpSpPr>
          <p:cNvPr id="47" name="Group 41">
            <a:extLst>
              <a:ext uri="{FF2B5EF4-FFF2-40B4-BE49-F238E27FC236}">
                <a16:creationId xmlns:a16="http://schemas.microsoft.com/office/drawing/2014/main" id="{25DB3B84-BDFD-4C18-A476-FA21FBDE75CA}"/>
              </a:ext>
            </a:extLst>
          </p:cNvPr>
          <p:cNvGrpSpPr/>
          <p:nvPr/>
        </p:nvGrpSpPr>
        <p:grpSpPr>
          <a:xfrm>
            <a:off x="8065542" y="4408519"/>
            <a:ext cx="832412" cy="742606"/>
            <a:chOff x="8065542" y="4408519"/>
            <a:chExt cx="832412" cy="742606"/>
          </a:xfrm>
        </p:grpSpPr>
        <p:sp>
          <p:nvSpPr>
            <p:cNvPr id="48" name="Freeform: Shape 50">
              <a:extLst>
                <a:ext uri="{FF2B5EF4-FFF2-40B4-BE49-F238E27FC236}">
                  <a16:creationId xmlns:a16="http://schemas.microsoft.com/office/drawing/2014/main" id="{0DAE0924-08D5-438B-BFB6-006C2BBDF925}"/>
                </a:ext>
              </a:extLst>
            </p:cNvPr>
            <p:cNvSpPr/>
            <p:nvPr/>
          </p:nvSpPr>
          <p:spPr>
            <a:xfrm rot="17511021">
              <a:off x="8158295" y="4411466"/>
              <a:ext cx="742606" cy="736712"/>
            </a:xfrm>
            <a:custGeom>
              <a:avLst/>
              <a:gdLst>
                <a:gd name="connsiteX0" fmla="*/ 532666 w 532666"/>
                <a:gd name="connsiteY0" fmla="*/ 264219 h 528438"/>
                <a:gd name="connsiteX1" fmla="*/ 266333 w 532666"/>
                <a:gd name="connsiteY1" fmla="*/ 528438 h 528438"/>
                <a:gd name="connsiteX2" fmla="*/ 0 w 532666"/>
                <a:gd name="connsiteY2" fmla="*/ 264219 h 528438"/>
                <a:gd name="connsiteX3" fmla="*/ 266333 w 532666"/>
                <a:gd name="connsiteY3" fmla="*/ 0 h 528438"/>
                <a:gd name="connsiteX4" fmla="*/ 532666 w 532666"/>
                <a:gd name="connsiteY4" fmla="*/ 264219 h 5284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2666" h="528438">
                  <a:moveTo>
                    <a:pt x="532666" y="264219"/>
                  </a:moveTo>
                  <a:cubicBezTo>
                    <a:pt x="532666" y="410143"/>
                    <a:pt x="413425" y="528438"/>
                    <a:pt x="266333" y="528438"/>
                  </a:cubicBezTo>
                  <a:cubicBezTo>
                    <a:pt x="119241" y="528438"/>
                    <a:pt x="0" y="410143"/>
                    <a:pt x="0" y="264219"/>
                  </a:cubicBezTo>
                  <a:cubicBezTo>
                    <a:pt x="0" y="118295"/>
                    <a:pt x="119241" y="0"/>
                    <a:pt x="266333" y="0"/>
                  </a:cubicBezTo>
                  <a:cubicBezTo>
                    <a:pt x="413425" y="0"/>
                    <a:pt x="532666" y="118295"/>
                    <a:pt x="532666" y="264219"/>
                  </a:cubicBezTo>
                  <a:close/>
                </a:path>
              </a:pathLst>
            </a:custGeom>
            <a:solidFill>
              <a:schemeClr val="accent5"/>
            </a:solidFill>
            <a:ln w="10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useBgFill="1">
          <p:nvSpPr>
            <p:cNvPr id="49" name="Freeform: Shape 52">
              <a:extLst>
                <a:ext uri="{FF2B5EF4-FFF2-40B4-BE49-F238E27FC236}">
                  <a16:creationId xmlns:a16="http://schemas.microsoft.com/office/drawing/2014/main" id="{53845932-9DF9-443B-B8AD-FF09406920B6}"/>
                </a:ext>
              </a:extLst>
            </p:cNvPr>
            <p:cNvSpPr/>
            <p:nvPr/>
          </p:nvSpPr>
          <p:spPr>
            <a:xfrm>
              <a:off x="8261750" y="4501247"/>
              <a:ext cx="535696" cy="557150"/>
            </a:xfrm>
            <a:custGeom>
              <a:avLst/>
              <a:gdLst>
                <a:gd name="connsiteX0" fmla="*/ 370421 w 384250"/>
                <a:gd name="connsiteY0" fmla="*/ 273270 h 399640"/>
                <a:gd name="connsiteX1" fmla="*/ 119952 w 384250"/>
                <a:gd name="connsiteY1" fmla="*/ 385294 h 399640"/>
                <a:gd name="connsiteX2" fmla="*/ 14269 w 384250"/>
                <a:gd name="connsiteY2" fmla="*/ 126370 h 399640"/>
                <a:gd name="connsiteX3" fmla="*/ 264738 w 384250"/>
                <a:gd name="connsiteY3" fmla="*/ 14346 h 399640"/>
                <a:gd name="connsiteX4" fmla="*/ 370421 w 384250"/>
                <a:gd name="connsiteY4" fmla="*/ 273270 h 3996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4250" h="399640">
                  <a:moveTo>
                    <a:pt x="370421" y="273270"/>
                  </a:moveTo>
                  <a:cubicBezTo>
                    <a:pt x="330261" y="375782"/>
                    <a:pt x="218237" y="426510"/>
                    <a:pt x="119952" y="385294"/>
                  </a:cubicBezTo>
                  <a:cubicBezTo>
                    <a:pt x="21667" y="345134"/>
                    <a:pt x="-25891" y="228883"/>
                    <a:pt x="14269" y="126370"/>
                  </a:cubicBezTo>
                  <a:cubicBezTo>
                    <a:pt x="54429" y="23858"/>
                    <a:pt x="166453" y="-26870"/>
                    <a:pt x="264738" y="14346"/>
                  </a:cubicBezTo>
                  <a:cubicBezTo>
                    <a:pt x="363023" y="54506"/>
                    <a:pt x="409524" y="170757"/>
                    <a:pt x="370421" y="273270"/>
                  </a:cubicBezTo>
                  <a:close/>
                </a:path>
              </a:pathLst>
            </a:custGeom>
            <a:ln w="10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50" name="Freeform: Shape 53">
              <a:extLst>
                <a:ext uri="{FF2B5EF4-FFF2-40B4-BE49-F238E27FC236}">
                  <a16:creationId xmlns:a16="http://schemas.microsoft.com/office/drawing/2014/main" id="{09FF5071-F3E8-4894-A40D-89ECCD8B993B}"/>
                </a:ext>
              </a:extLst>
            </p:cNvPr>
            <p:cNvSpPr/>
            <p:nvPr/>
          </p:nvSpPr>
          <p:spPr>
            <a:xfrm>
              <a:off x="8065542" y="4813676"/>
              <a:ext cx="150784" cy="192015"/>
            </a:xfrm>
            <a:custGeom>
              <a:avLst/>
              <a:gdLst>
                <a:gd name="connsiteX0" fmla="*/ 135274 w 135274"/>
                <a:gd name="connsiteY0" fmla="*/ 135274 h 172263"/>
                <a:gd name="connsiteX1" fmla="*/ 91944 w 135274"/>
                <a:gd name="connsiteY1" fmla="*/ 0 h 172263"/>
                <a:gd name="connsiteX2" fmla="*/ 0 w 135274"/>
                <a:gd name="connsiteY2" fmla="*/ 24307 h 172263"/>
                <a:gd name="connsiteX3" fmla="*/ 50728 w 135274"/>
                <a:gd name="connsiteY3" fmla="*/ 172263 h 172263"/>
                <a:gd name="connsiteX4" fmla="*/ 135274 w 135274"/>
                <a:gd name="connsiteY4" fmla="*/ 135274 h 1722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274" h="172263">
                  <a:moveTo>
                    <a:pt x="135274" y="135274"/>
                  </a:moveTo>
                  <a:cubicBezTo>
                    <a:pt x="108853" y="95115"/>
                    <a:pt x="94058" y="48614"/>
                    <a:pt x="91944" y="0"/>
                  </a:cubicBezTo>
                  <a:cubicBezTo>
                    <a:pt x="70807" y="26421"/>
                    <a:pt x="33818" y="38046"/>
                    <a:pt x="0" y="24307"/>
                  </a:cubicBezTo>
                  <a:cubicBezTo>
                    <a:pt x="24307" y="70808"/>
                    <a:pt x="41216" y="120479"/>
                    <a:pt x="50728" y="172263"/>
                  </a:cubicBezTo>
                  <a:cubicBezTo>
                    <a:pt x="67637" y="143729"/>
                    <a:pt x="102512" y="128933"/>
                    <a:pt x="135274" y="135274"/>
                  </a:cubicBezTo>
                  <a:close/>
                </a:path>
              </a:pathLst>
            </a:custGeom>
            <a:solidFill>
              <a:schemeClr val="accent5"/>
            </a:solidFill>
            <a:ln w="10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grpSp>
        <p:nvGrpSpPr>
          <p:cNvPr id="51" name="Group 47">
            <a:extLst>
              <a:ext uri="{FF2B5EF4-FFF2-40B4-BE49-F238E27FC236}">
                <a16:creationId xmlns:a16="http://schemas.microsoft.com/office/drawing/2014/main" id="{1271FA9B-3F44-4104-B56C-3B1B985A072A}"/>
              </a:ext>
            </a:extLst>
          </p:cNvPr>
          <p:cNvGrpSpPr/>
          <p:nvPr/>
        </p:nvGrpSpPr>
        <p:grpSpPr>
          <a:xfrm>
            <a:off x="7658403" y="5584091"/>
            <a:ext cx="736712" cy="816353"/>
            <a:chOff x="7658403" y="5584091"/>
            <a:chExt cx="736712" cy="816353"/>
          </a:xfrm>
        </p:grpSpPr>
        <p:sp>
          <p:nvSpPr>
            <p:cNvPr id="52" name="Freeform: Shape 46">
              <a:extLst>
                <a:ext uri="{FF2B5EF4-FFF2-40B4-BE49-F238E27FC236}">
                  <a16:creationId xmlns:a16="http://schemas.microsoft.com/office/drawing/2014/main" id="{12011E4F-7A3E-497A-A2F1-A16081E18A15}"/>
                </a:ext>
              </a:extLst>
            </p:cNvPr>
            <p:cNvSpPr/>
            <p:nvPr/>
          </p:nvSpPr>
          <p:spPr>
            <a:xfrm rot="17511021">
              <a:off x="7655456" y="5660785"/>
              <a:ext cx="742606" cy="736712"/>
            </a:xfrm>
            <a:custGeom>
              <a:avLst/>
              <a:gdLst>
                <a:gd name="connsiteX0" fmla="*/ 532666 w 532666"/>
                <a:gd name="connsiteY0" fmla="*/ 264219 h 528438"/>
                <a:gd name="connsiteX1" fmla="*/ 266333 w 532666"/>
                <a:gd name="connsiteY1" fmla="*/ 528439 h 528438"/>
                <a:gd name="connsiteX2" fmla="*/ 0 w 532666"/>
                <a:gd name="connsiteY2" fmla="*/ 264219 h 528438"/>
                <a:gd name="connsiteX3" fmla="*/ 266333 w 532666"/>
                <a:gd name="connsiteY3" fmla="*/ 0 h 528438"/>
                <a:gd name="connsiteX4" fmla="*/ 532666 w 532666"/>
                <a:gd name="connsiteY4" fmla="*/ 264219 h 5284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2666" h="528438">
                  <a:moveTo>
                    <a:pt x="532666" y="264219"/>
                  </a:moveTo>
                  <a:cubicBezTo>
                    <a:pt x="532666" y="410144"/>
                    <a:pt x="413425" y="528439"/>
                    <a:pt x="266333" y="528439"/>
                  </a:cubicBezTo>
                  <a:cubicBezTo>
                    <a:pt x="119241" y="528439"/>
                    <a:pt x="0" y="410144"/>
                    <a:pt x="0" y="264219"/>
                  </a:cubicBezTo>
                  <a:cubicBezTo>
                    <a:pt x="0" y="118295"/>
                    <a:pt x="119241" y="0"/>
                    <a:pt x="266333" y="0"/>
                  </a:cubicBezTo>
                  <a:cubicBezTo>
                    <a:pt x="413425" y="0"/>
                    <a:pt x="532666" y="118295"/>
                    <a:pt x="532666" y="264219"/>
                  </a:cubicBezTo>
                  <a:close/>
                </a:path>
              </a:pathLst>
            </a:custGeom>
            <a:solidFill>
              <a:schemeClr val="accent5"/>
            </a:solidFill>
            <a:ln w="10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useBgFill="1">
          <p:nvSpPr>
            <p:cNvPr id="53" name="Freeform: Shape 48">
              <a:extLst>
                <a:ext uri="{FF2B5EF4-FFF2-40B4-BE49-F238E27FC236}">
                  <a16:creationId xmlns:a16="http://schemas.microsoft.com/office/drawing/2014/main" id="{4207B7FD-047B-4DBE-A24B-38E9A1DF6370}"/>
                </a:ext>
              </a:extLst>
            </p:cNvPr>
            <p:cNvSpPr/>
            <p:nvPr/>
          </p:nvSpPr>
          <p:spPr>
            <a:xfrm>
              <a:off x="7757152" y="5754102"/>
              <a:ext cx="539214" cy="550078"/>
            </a:xfrm>
            <a:custGeom>
              <a:avLst/>
              <a:gdLst>
                <a:gd name="connsiteX0" fmla="*/ 372520 w 386774"/>
                <a:gd name="connsiteY0" fmla="*/ 269677 h 394567"/>
                <a:gd name="connsiteX1" fmla="*/ 120994 w 386774"/>
                <a:gd name="connsiteY1" fmla="*/ 380644 h 394567"/>
                <a:gd name="connsiteX2" fmla="*/ 14254 w 386774"/>
                <a:gd name="connsiteY2" fmla="*/ 124891 h 394567"/>
                <a:gd name="connsiteX3" fmla="*/ 265780 w 386774"/>
                <a:gd name="connsiteY3" fmla="*/ 13924 h 394567"/>
                <a:gd name="connsiteX4" fmla="*/ 372520 w 386774"/>
                <a:gd name="connsiteY4" fmla="*/ 269677 h 3945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6774" h="394567">
                  <a:moveTo>
                    <a:pt x="372520" y="269677"/>
                  </a:moveTo>
                  <a:cubicBezTo>
                    <a:pt x="332360" y="371132"/>
                    <a:pt x="219279" y="420803"/>
                    <a:pt x="120994" y="380644"/>
                  </a:cubicBezTo>
                  <a:cubicBezTo>
                    <a:pt x="21652" y="340484"/>
                    <a:pt x="-25905" y="226347"/>
                    <a:pt x="14254" y="124891"/>
                  </a:cubicBezTo>
                  <a:cubicBezTo>
                    <a:pt x="54414" y="23435"/>
                    <a:pt x="167495" y="-26236"/>
                    <a:pt x="265780" y="13924"/>
                  </a:cubicBezTo>
                  <a:cubicBezTo>
                    <a:pt x="365122" y="54083"/>
                    <a:pt x="412679" y="168221"/>
                    <a:pt x="372520" y="269677"/>
                  </a:cubicBezTo>
                  <a:close/>
                </a:path>
              </a:pathLst>
            </a:custGeom>
            <a:ln w="10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54" name="Freeform: Shape 54">
              <a:extLst>
                <a:ext uri="{FF2B5EF4-FFF2-40B4-BE49-F238E27FC236}">
                  <a16:creationId xmlns:a16="http://schemas.microsoft.com/office/drawing/2014/main" id="{71A26305-C9C7-405A-A51F-CF97F2D42EA8}"/>
                </a:ext>
              </a:extLst>
            </p:cNvPr>
            <p:cNvSpPr/>
            <p:nvPr/>
          </p:nvSpPr>
          <p:spPr>
            <a:xfrm>
              <a:off x="7735699" y="5584091"/>
              <a:ext cx="194371" cy="170810"/>
            </a:xfrm>
            <a:custGeom>
              <a:avLst/>
              <a:gdLst>
                <a:gd name="connsiteX0" fmla="*/ 174377 w 174377"/>
                <a:gd name="connsiteY0" fmla="*/ 85603 h 153240"/>
                <a:gd name="connsiteX1" fmla="*/ 49671 w 174377"/>
                <a:gd name="connsiteY1" fmla="*/ 153240 h 153240"/>
                <a:gd name="connsiteX2" fmla="*/ 0 w 174377"/>
                <a:gd name="connsiteY2" fmla="*/ 71864 h 153240"/>
                <a:gd name="connsiteX3" fmla="*/ 139501 w 174377"/>
                <a:gd name="connsiteY3" fmla="*/ 0 h 153240"/>
                <a:gd name="connsiteX4" fmla="*/ 174377 w 174377"/>
                <a:gd name="connsiteY4" fmla="*/ 85603 h 1532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4377" h="153240">
                  <a:moveTo>
                    <a:pt x="174377" y="85603"/>
                  </a:moveTo>
                  <a:cubicBezTo>
                    <a:pt x="127877" y="96172"/>
                    <a:pt x="84546" y="119422"/>
                    <a:pt x="49671" y="153240"/>
                  </a:cubicBezTo>
                  <a:cubicBezTo>
                    <a:pt x="52842" y="119422"/>
                    <a:pt x="32762" y="85603"/>
                    <a:pt x="0" y="71864"/>
                  </a:cubicBezTo>
                  <a:cubicBezTo>
                    <a:pt x="49671" y="54955"/>
                    <a:pt x="96172" y="30648"/>
                    <a:pt x="139501" y="0"/>
                  </a:cubicBezTo>
                  <a:cubicBezTo>
                    <a:pt x="131047" y="32762"/>
                    <a:pt x="145842" y="67637"/>
                    <a:pt x="174377" y="85603"/>
                  </a:cubicBezTo>
                  <a:close/>
                </a:path>
              </a:pathLst>
            </a:custGeom>
            <a:solidFill>
              <a:schemeClr val="accent5"/>
            </a:solidFill>
            <a:ln w="10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sp>
        <p:nvSpPr>
          <p:cNvPr id="55" name="Freeform: Shape 55">
            <a:extLst>
              <a:ext uri="{FF2B5EF4-FFF2-40B4-BE49-F238E27FC236}">
                <a16:creationId xmlns:a16="http://schemas.microsoft.com/office/drawing/2014/main" id="{3C3CCFBF-40D7-4166-898F-5E63187A4EE9}"/>
              </a:ext>
            </a:extLst>
          </p:cNvPr>
          <p:cNvSpPr/>
          <p:nvPr/>
        </p:nvSpPr>
        <p:spPr>
          <a:xfrm rot="20288851">
            <a:off x="5129998" y="4789037"/>
            <a:ext cx="424061" cy="83634"/>
          </a:xfrm>
          <a:custGeom>
            <a:avLst/>
            <a:gdLst>
              <a:gd name="connsiteX0" fmla="*/ 0 w 380440"/>
              <a:gd name="connsiteY0" fmla="*/ 0 h 75031"/>
              <a:gd name="connsiteX1" fmla="*/ 380440 w 380440"/>
              <a:gd name="connsiteY1" fmla="*/ 0 h 75031"/>
              <a:gd name="connsiteX2" fmla="*/ 380440 w 380440"/>
              <a:gd name="connsiteY2" fmla="*/ 75031 h 75031"/>
              <a:gd name="connsiteX3" fmla="*/ 0 w 380440"/>
              <a:gd name="connsiteY3" fmla="*/ 75031 h 75031"/>
            </a:gdLst>
            <a:ahLst/>
            <a:cxnLst>
              <a:cxn ang="0">
                <a:pos x="connsiteX0" y="connsiteY0"/>
              </a:cxn>
              <a:cxn ang="0">
                <a:pos x="connsiteX1" y="connsiteY1"/>
              </a:cxn>
              <a:cxn ang="0">
                <a:pos x="connsiteX2" y="connsiteY2"/>
              </a:cxn>
              <a:cxn ang="0">
                <a:pos x="connsiteX3" y="connsiteY3"/>
              </a:cxn>
            </a:cxnLst>
            <a:rect l="l" t="t" r="r" b="b"/>
            <a:pathLst>
              <a:path w="380440" h="75031">
                <a:moveTo>
                  <a:pt x="0" y="0"/>
                </a:moveTo>
                <a:lnTo>
                  <a:pt x="380440" y="0"/>
                </a:lnTo>
                <a:lnTo>
                  <a:pt x="380440" y="75031"/>
                </a:lnTo>
                <a:lnTo>
                  <a:pt x="0" y="75031"/>
                </a:lnTo>
                <a:close/>
              </a:path>
            </a:pathLst>
          </a:custGeom>
          <a:solidFill>
            <a:schemeClr val="tx2">
              <a:lumMod val="25000"/>
              <a:lumOff val="75000"/>
            </a:schemeClr>
          </a:solidFill>
          <a:ln w="1055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56" name="Freeform: Shape 56">
            <a:extLst>
              <a:ext uri="{FF2B5EF4-FFF2-40B4-BE49-F238E27FC236}">
                <a16:creationId xmlns:a16="http://schemas.microsoft.com/office/drawing/2014/main" id="{2FC25E17-E334-4966-806D-C0BAFA0EDC51}"/>
              </a:ext>
            </a:extLst>
          </p:cNvPr>
          <p:cNvSpPr/>
          <p:nvPr/>
        </p:nvSpPr>
        <p:spPr>
          <a:xfrm>
            <a:off x="5088720" y="4758048"/>
            <a:ext cx="200886" cy="292406"/>
          </a:xfrm>
          <a:custGeom>
            <a:avLst/>
            <a:gdLst>
              <a:gd name="connsiteX0" fmla="*/ 101456 w 180222"/>
              <a:gd name="connsiteY0" fmla="*/ 262329 h 262328"/>
              <a:gd name="connsiteX1" fmla="*/ 170150 w 180222"/>
              <a:gd name="connsiteY1" fmla="*/ 87952 h 262328"/>
              <a:gd name="connsiteX2" fmla="*/ 0 w 180222"/>
              <a:gd name="connsiteY2" fmla="*/ 8690 h 262328"/>
              <a:gd name="connsiteX3" fmla="*/ 50728 w 180222"/>
              <a:gd name="connsiteY3" fmla="*/ 135509 h 262328"/>
              <a:gd name="connsiteX4" fmla="*/ 101456 w 180222"/>
              <a:gd name="connsiteY4" fmla="*/ 262329 h 2623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0222" h="262328">
                <a:moveTo>
                  <a:pt x="101456" y="262329"/>
                </a:moveTo>
                <a:cubicBezTo>
                  <a:pt x="166979" y="235908"/>
                  <a:pt x="197627" y="157703"/>
                  <a:pt x="170150" y="87952"/>
                </a:cubicBezTo>
                <a:cubicBezTo>
                  <a:pt x="141615" y="18201"/>
                  <a:pt x="65524" y="-17731"/>
                  <a:pt x="0" y="8690"/>
                </a:cubicBezTo>
                <a:lnTo>
                  <a:pt x="50728" y="135509"/>
                </a:lnTo>
                <a:lnTo>
                  <a:pt x="101456" y="262329"/>
                </a:lnTo>
                <a:close/>
              </a:path>
            </a:pathLst>
          </a:custGeom>
          <a:solidFill>
            <a:schemeClr val="tx2">
              <a:lumMod val="50000"/>
              <a:lumOff val="50000"/>
            </a:schemeClr>
          </a:solidFill>
          <a:ln w="10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57" name="Freeform: Shape 60">
            <a:extLst>
              <a:ext uri="{FF2B5EF4-FFF2-40B4-BE49-F238E27FC236}">
                <a16:creationId xmlns:a16="http://schemas.microsoft.com/office/drawing/2014/main" id="{42398BEB-06F7-4719-A937-A98181FD0BFF}"/>
              </a:ext>
            </a:extLst>
          </p:cNvPr>
          <p:cNvSpPr/>
          <p:nvPr/>
        </p:nvSpPr>
        <p:spPr>
          <a:xfrm rot="20288979">
            <a:off x="4055561" y="4534533"/>
            <a:ext cx="1152140" cy="1161564"/>
          </a:xfrm>
          <a:custGeom>
            <a:avLst/>
            <a:gdLst>
              <a:gd name="connsiteX0" fmla="*/ 1033626 w 1033625"/>
              <a:gd name="connsiteY0" fmla="*/ 521040 h 1042080"/>
              <a:gd name="connsiteX1" fmla="*/ 516813 w 1033625"/>
              <a:gd name="connsiteY1" fmla="*/ 1042080 h 1042080"/>
              <a:gd name="connsiteX2" fmla="*/ 0 w 1033625"/>
              <a:gd name="connsiteY2" fmla="*/ 521040 h 1042080"/>
              <a:gd name="connsiteX3" fmla="*/ 516813 w 1033625"/>
              <a:gd name="connsiteY3" fmla="*/ 0 h 1042080"/>
              <a:gd name="connsiteX4" fmla="*/ 1033626 w 1033625"/>
              <a:gd name="connsiteY4" fmla="*/ 521040 h 10420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3625" h="1042080">
                <a:moveTo>
                  <a:pt x="1033626" y="521040"/>
                </a:moveTo>
                <a:cubicBezTo>
                  <a:pt x="1033626" y="808803"/>
                  <a:pt x="802241" y="1042080"/>
                  <a:pt x="516813" y="1042080"/>
                </a:cubicBezTo>
                <a:cubicBezTo>
                  <a:pt x="231385" y="1042080"/>
                  <a:pt x="0" y="808803"/>
                  <a:pt x="0" y="521040"/>
                </a:cubicBezTo>
                <a:cubicBezTo>
                  <a:pt x="0" y="233278"/>
                  <a:pt x="231385" y="0"/>
                  <a:pt x="516813" y="0"/>
                </a:cubicBezTo>
                <a:cubicBezTo>
                  <a:pt x="802241" y="0"/>
                  <a:pt x="1033626" y="233278"/>
                  <a:pt x="1033626" y="521040"/>
                </a:cubicBezTo>
                <a:close/>
              </a:path>
            </a:pathLst>
          </a:custGeom>
          <a:solidFill>
            <a:schemeClr val="accent1"/>
          </a:solidFill>
          <a:ln w="10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nvGrpSpPr>
          <p:cNvPr id="58" name="Group 7">
            <a:extLst>
              <a:ext uri="{FF2B5EF4-FFF2-40B4-BE49-F238E27FC236}">
                <a16:creationId xmlns:a16="http://schemas.microsoft.com/office/drawing/2014/main" id="{C60AC432-8B49-40DE-92C7-02BDF7D09732}"/>
              </a:ext>
            </a:extLst>
          </p:cNvPr>
          <p:cNvGrpSpPr/>
          <p:nvPr/>
        </p:nvGrpSpPr>
        <p:grpSpPr>
          <a:xfrm>
            <a:off x="3291570" y="4397905"/>
            <a:ext cx="828828" cy="742606"/>
            <a:chOff x="3291570" y="4397905"/>
            <a:chExt cx="828828" cy="742606"/>
          </a:xfrm>
        </p:grpSpPr>
        <p:sp>
          <p:nvSpPr>
            <p:cNvPr id="59" name="Freeform: Shape 61">
              <a:extLst>
                <a:ext uri="{FF2B5EF4-FFF2-40B4-BE49-F238E27FC236}">
                  <a16:creationId xmlns:a16="http://schemas.microsoft.com/office/drawing/2014/main" id="{3DAA0FCA-7EFA-41C3-ADDA-0E213B190790}"/>
                </a:ext>
              </a:extLst>
            </p:cNvPr>
            <p:cNvSpPr/>
            <p:nvPr/>
          </p:nvSpPr>
          <p:spPr>
            <a:xfrm rot="20288979">
              <a:off x="3291570" y="4397905"/>
              <a:ext cx="736712" cy="742606"/>
            </a:xfrm>
            <a:custGeom>
              <a:avLst/>
              <a:gdLst>
                <a:gd name="connsiteX0" fmla="*/ 528439 w 528438"/>
                <a:gd name="connsiteY0" fmla="*/ 266333 h 532665"/>
                <a:gd name="connsiteX1" fmla="*/ 264219 w 528438"/>
                <a:gd name="connsiteY1" fmla="*/ 532666 h 532665"/>
                <a:gd name="connsiteX2" fmla="*/ 0 w 528438"/>
                <a:gd name="connsiteY2" fmla="*/ 266333 h 532665"/>
                <a:gd name="connsiteX3" fmla="*/ 264219 w 528438"/>
                <a:gd name="connsiteY3" fmla="*/ 0 h 532665"/>
                <a:gd name="connsiteX4" fmla="*/ 528439 w 528438"/>
                <a:gd name="connsiteY4" fmla="*/ 266333 h 5326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8438" h="532665">
                  <a:moveTo>
                    <a:pt x="528439" y="266333"/>
                  </a:moveTo>
                  <a:cubicBezTo>
                    <a:pt x="528439" y="413425"/>
                    <a:pt x="410144" y="532666"/>
                    <a:pt x="264219" y="532666"/>
                  </a:cubicBezTo>
                  <a:cubicBezTo>
                    <a:pt x="118295" y="532666"/>
                    <a:pt x="0" y="413425"/>
                    <a:pt x="0" y="266333"/>
                  </a:cubicBezTo>
                  <a:cubicBezTo>
                    <a:pt x="0" y="119242"/>
                    <a:pt x="118295" y="0"/>
                    <a:pt x="264219" y="0"/>
                  </a:cubicBezTo>
                  <a:cubicBezTo>
                    <a:pt x="410144" y="0"/>
                    <a:pt x="528439" y="119242"/>
                    <a:pt x="528439" y="266333"/>
                  </a:cubicBezTo>
                  <a:close/>
                </a:path>
              </a:pathLst>
            </a:custGeom>
            <a:solidFill>
              <a:schemeClr val="accent1"/>
            </a:solidFill>
            <a:ln w="10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useBgFill="1">
          <p:nvSpPr>
            <p:cNvPr id="60" name="Freeform: Shape 63">
              <a:extLst>
                <a:ext uri="{FF2B5EF4-FFF2-40B4-BE49-F238E27FC236}">
                  <a16:creationId xmlns:a16="http://schemas.microsoft.com/office/drawing/2014/main" id="{28DFC960-3B8A-4034-97DB-116756A24B7A}"/>
                </a:ext>
              </a:extLst>
            </p:cNvPr>
            <p:cNvSpPr/>
            <p:nvPr/>
          </p:nvSpPr>
          <p:spPr>
            <a:xfrm>
              <a:off x="3391772" y="4490633"/>
              <a:ext cx="536308" cy="557150"/>
            </a:xfrm>
            <a:custGeom>
              <a:avLst/>
              <a:gdLst>
                <a:gd name="connsiteX0" fmla="*/ 370421 w 384690"/>
                <a:gd name="connsiteY0" fmla="*/ 273270 h 399640"/>
                <a:gd name="connsiteX1" fmla="*/ 119952 w 384690"/>
                <a:gd name="connsiteY1" fmla="*/ 385294 h 399640"/>
                <a:gd name="connsiteX2" fmla="*/ 14269 w 384690"/>
                <a:gd name="connsiteY2" fmla="*/ 126370 h 399640"/>
                <a:gd name="connsiteX3" fmla="*/ 264738 w 384690"/>
                <a:gd name="connsiteY3" fmla="*/ 14346 h 399640"/>
                <a:gd name="connsiteX4" fmla="*/ 370421 w 384690"/>
                <a:gd name="connsiteY4" fmla="*/ 273270 h 3996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4690" h="399640">
                  <a:moveTo>
                    <a:pt x="370421" y="273270"/>
                  </a:moveTo>
                  <a:cubicBezTo>
                    <a:pt x="330261" y="375782"/>
                    <a:pt x="218237" y="426510"/>
                    <a:pt x="119952" y="385294"/>
                  </a:cubicBezTo>
                  <a:cubicBezTo>
                    <a:pt x="21667" y="345134"/>
                    <a:pt x="-25890" y="228883"/>
                    <a:pt x="14269" y="126370"/>
                  </a:cubicBezTo>
                  <a:cubicBezTo>
                    <a:pt x="54429" y="23858"/>
                    <a:pt x="166453" y="-26870"/>
                    <a:pt x="264738" y="14346"/>
                  </a:cubicBezTo>
                  <a:cubicBezTo>
                    <a:pt x="363023" y="54506"/>
                    <a:pt x="410581" y="170757"/>
                    <a:pt x="370421" y="273270"/>
                  </a:cubicBezTo>
                  <a:close/>
                </a:path>
              </a:pathLst>
            </a:custGeom>
            <a:ln w="10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61" name="Freeform: Shape 64">
              <a:extLst>
                <a:ext uri="{FF2B5EF4-FFF2-40B4-BE49-F238E27FC236}">
                  <a16:creationId xmlns:a16="http://schemas.microsoft.com/office/drawing/2014/main" id="{3AFD73BE-A7B4-4F7E-826D-FFFA8E35885C}"/>
                </a:ext>
              </a:extLst>
            </p:cNvPr>
            <p:cNvSpPr/>
            <p:nvPr/>
          </p:nvSpPr>
          <p:spPr>
            <a:xfrm>
              <a:off x="3969614" y="4816032"/>
              <a:ext cx="150784" cy="192014"/>
            </a:xfrm>
            <a:custGeom>
              <a:avLst/>
              <a:gdLst>
                <a:gd name="connsiteX0" fmla="*/ 0 w 135274"/>
                <a:gd name="connsiteY0" fmla="*/ 135274 h 172263"/>
                <a:gd name="connsiteX1" fmla="*/ 43330 w 135274"/>
                <a:gd name="connsiteY1" fmla="*/ 0 h 172263"/>
                <a:gd name="connsiteX2" fmla="*/ 135274 w 135274"/>
                <a:gd name="connsiteY2" fmla="*/ 24307 h 172263"/>
                <a:gd name="connsiteX3" fmla="*/ 84546 w 135274"/>
                <a:gd name="connsiteY3" fmla="*/ 172264 h 172263"/>
                <a:gd name="connsiteX4" fmla="*/ 0 w 135274"/>
                <a:gd name="connsiteY4" fmla="*/ 135274 h 1722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274" h="172263">
                  <a:moveTo>
                    <a:pt x="0" y="135274"/>
                  </a:moveTo>
                  <a:cubicBezTo>
                    <a:pt x="26421" y="95115"/>
                    <a:pt x="41216" y="48614"/>
                    <a:pt x="43330" y="0"/>
                  </a:cubicBezTo>
                  <a:cubicBezTo>
                    <a:pt x="64467" y="26421"/>
                    <a:pt x="101456" y="38046"/>
                    <a:pt x="135274" y="24307"/>
                  </a:cubicBezTo>
                  <a:cubicBezTo>
                    <a:pt x="110967" y="70808"/>
                    <a:pt x="94058" y="120479"/>
                    <a:pt x="84546" y="172264"/>
                  </a:cubicBezTo>
                  <a:cubicBezTo>
                    <a:pt x="67637" y="143729"/>
                    <a:pt x="32762" y="127877"/>
                    <a:pt x="0" y="135274"/>
                  </a:cubicBezTo>
                  <a:close/>
                </a:path>
              </a:pathLst>
            </a:custGeom>
            <a:solidFill>
              <a:schemeClr val="accent1"/>
            </a:solidFill>
            <a:ln w="105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sp>
        <p:nvSpPr>
          <p:cNvPr id="62" name="Freeform: Shape 68">
            <a:extLst>
              <a:ext uri="{FF2B5EF4-FFF2-40B4-BE49-F238E27FC236}">
                <a16:creationId xmlns:a16="http://schemas.microsoft.com/office/drawing/2014/main" id="{F24D1A39-E723-4557-9A6F-8D328475C9AD}"/>
              </a:ext>
            </a:extLst>
          </p:cNvPr>
          <p:cNvSpPr/>
          <p:nvPr/>
        </p:nvSpPr>
        <p:spPr>
          <a:xfrm>
            <a:off x="5775927" y="4345517"/>
            <a:ext cx="632512" cy="397652"/>
          </a:xfrm>
          <a:custGeom>
            <a:avLst/>
            <a:gdLst>
              <a:gd name="connsiteX0" fmla="*/ 521003 w 521003"/>
              <a:gd name="connsiteY0" fmla="*/ 242077 h 327546"/>
              <a:gd name="connsiteX1" fmla="*/ 465218 w 521003"/>
              <a:gd name="connsiteY1" fmla="*/ 152514 h 327546"/>
              <a:gd name="connsiteX2" fmla="*/ 492343 w 521003"/>
              <a:gd name="connsiteY2" fmla="*/ 152514 h 327546"/>
              <a:gd name="connsiteX3" fmla="*/ 492343 w 521003"/>
              <a:gd name="connsiteY3" fmla="*/ 78304 h 327546"/>
              <a:gd name="connsiteX4" fmla="*/ 492343 w 521003"/>
              <a:gd name="connsiteY4" fmla="*/ 73186 h 327546"/>
              <a:gd name="connsiteX5" fmla="*/ 491831 w 521003"/>
              <a:gd name="connsiteY5" fmla="*/ 68068 h 327546"/>
              <a:gd name="connsiteX6" fmla="*/ 485178 w 521003"/>
              <a:gd name="connsiteY6" fmla="*/ 46573 h 327546"/>
              <a:gd name="connsiteX7" fmla="*/ 454470 w 521003"/>
              <a:gd name="connsiteY7" fmla="*/ 13818 h 327546"/>
              <a:gd name="connsiteX8" fmla="*/ 452935 w 521003"/>
              <a:gd name="connsiteY8" fmla="*/ 12795 h 327546"/>
              <a:gd name="connsiteX9" fmla="*/ 450888 w 521003"/>
              <a:gd name="connsiteY9" fmla="*/ 11771 h 327546"/>
              <a:gd name="connsiteX10" fmla="*/ 445258 w 521003"/>
              <a:gd name="connsiteY10" fmla="*/ 9212 h 327546"/>
              <a:gd name="connsiteX11" fmla="*/ 418133 w 521003"/>
              <a:gd name="connsiteY11" fmla="*/ 4094 h 327546"/>
              <a:gd name="connsiteX12" fmla="*/ 351600 w 521003"/>
              <a:gd name="connsiteY12" fmla="*/ 45549 h 327546"/>
              <a:gd name="connsiteX13" fmla="*/ 346482 w 521003"/>
              <a:gd name="connsiteY13" fmla="*/ 59879 h 327546"/>
              <a:gd name="connsiteX14" fmla="*/ 344435 w 521003"/>
              <a:gd name="connsiteY14" fmla="*/ 72674 h 327546"/>
              <a:gd name="connsiteX15" fmla="*/ 344435 w 521003"/>
              <a:gd name="connsiteY15" fmla="*/ 77792 h 327546"/>
              <a:gd name="connsiteX16" fmla="*/ 344435 w 521003"/>
              <a:gd name="connsiteY16" fmla="*/ 91099 h 327546"/>
              <a:gd name="connsiteX17" fmla="*/ 343412 w 521003"/>
              <a:gd name="connsiteY17" fmla="*/ 89051 h 327546"/>
              <a:gd name="connsiteX18" fmla="*/ 307075 w 521003"/>
              <a:gd name="connsiteY18" fmla="*/ 50667 h 327546"/>
              <a:gd name="connsiteX19" fmla="*/ 303492 w 521003"/>
              <a:gd name="connsiteY19" fmla="*/ 48620 h 327546"/>
              <a:gd name="connsiteX20" fmla="*/ 297862 w 521003"/>
              <a:gd name="connsiteY20" fmla="*/ 46061 h 327546"/>
              <a:gd name="connsiteX21" fmla="*/ 265108 w 521003"/>
              <a:gd name="connsiteY21" fmla="*/ 39408 h 327546"/>
              <a:gd name="connsiteX22" fmla="*/ 186804 w 521003"/>
              <a:gd name="connsiteY22" fmla="*/ 88028 h 327546"/>
              <a:gd name="connsiteX23" fmla="*/ 180662 w 521003"/>
              <a:gd name="connsiteY23" fmla="*/ 104917 h 327546"/>
              <a:gd name="connsiteX24" fmla="*/ 178103 w 521003"/>
              <a:gd name="connsiteY24" fmla="*/ 125900 h 327546"/>
              <a:gd name="connsiteX25" fmla="*/ 192433 w 521003"/>
              <a:gd name="connsiteY25" fmla="*/ 173497 h 327546"/>
              <a:gd name="connsiteX26" fmla="*/ 193969 w 521003"/>
              <a:gd name="connsiteY26" fmla="*/ 176056 h 327546"/>
              <a:gd name="connsiteX27" fmla="*/ 199087 w 521003"/>
              <a:gd name="connsiteY27" fmla="*/ 182709 h 327546"/>
              <a:gd name="connsiteX28" fmla="*/ 233377 w 521003"/>
              <a:gd name="connsiteY28" fmla="*/ 206763 h 327546"/>
              <a:gd name="connsiteX29" fmla="*/ 208299 w 521003"/>
              <a:gd name="connsiteY29" fmla="*/ 216488 h 327546"/>
              <a:gd name="connsiteX30" fmla="*/ 137160 w 521003"/>
              <a:gd name="connsiteY30" fmla="*/ 148419 h 327546"/>
              <a:gd name="connsiteX31" fmla="*/ 165308 w 521003"/>
              <a:gd name="connsiteY31" fmla="*/ 127948 h 327546"/>
              <a:gd name="connsiteX32" fmla="*/ 170426 w 521003"/>
              <a:gd name="connsiteY32" fmla="*/ 121294 h 327546"/>
              <a:gd name="connsiteX33" fmla="*/ 171962 w 521003"/>
              <a:gd name="connsiteY33" fmla="*/ 118735 h 327546"/>
              <a:gd name="connsiteX34" fmla="*/ 184245 w 521003"/>
              <a:gd name="connsiteY34" fmla="*/ 77280 h 327546"/>
              <a:gd name="connsiteX35" fmla="*/ 183221 w 521003"/>
              <a:gd name="connsiteY35" fmla="*/ 66533 h 327546"/>
              <a:gd name="connsiteX36" fmla="*/ 176568 w 521003"/>
              <a:gd name="connsiteY36" fmla="*/ 44014 h 327546"/>
              <a:gd name="connsiteX37" fmla="*/ 144837 w 521003"/>
              <a:gd name="connsiteY37" fmla="*/ 10236 h 327546"/>
              <a:gd name="connsiteX38" fmla="*/ 141254 w 521003"/>
              <a:gd name="connsiteY38" fmla="*/ 8189 h 327546"/>
              <a:gd name="connsiteX39" fmla="*/ 135625 w 521003"/>
              <a:gd name="connsiteY39" fmla="*/ 5630 h 327546"/>
              <a:gd name="connsiteX40" fmla="*/ 107476 w 521003"/>
              <a:gd name="connsiteY40" fmla="*/ 0 h 327546"/>
              <a:gd name="connsiteX41" fmla="*/ 38384 w 521003"/>
              <a:gd name="connsiteY41" fmla="*/ 42990 h 327546"/>
              <a:gd name="connsiteX42" fmla="*/ 32755 w 521003"/>
              <a:gd name="connsiteY42" fmla="*/ 57832 h 327546"/>
              <a:gd name="connsiteX43" fmla="*/ 30196 w 521003"/>
              <a:gd name="connsiteY43" fmla="*/ 76257 h 327546"/>
              <a:gd name="connsiteX44" fmla="*/ 42479 w 521003"/>
              <a:gd name="connsiteY44" fmla="*/ 118224 h 327546"/>
              <a:gd name="connsiteX45" fmla="*/ 44014 w 521003"/>
              <a:gd name="connsiteY45" fmla="*/ 120783 h 327546"/>
              <a:gd name="connsiteX46" fmla="*/ 49132 w 521003"/>
              <a:gd name="connsiteY46" fmla="*/ 127436 h 327546"/>
              <a:gd name="connsiteX47" fmla="*/ 76769 w 521003"/>
              <a:gd name="connsiteY47" fmla="*/ 147396 h 327546"/>
              <a:gd name="connsiteX48" fmla="*/ 0 w 521003"/>
              <a:gd name="connsiteY48" fmla="*/ 249754 h 327546"/>
              <a:gd name="connsiteX49" fmla="*/ 0 w 521003"/>
              <a:gd name="connsiteY49" fmla="*/ 254872 h 327546"/>
              <a:gd name="connsiteX50" fmla="*/ 163773 w 521003"/>
              <a:gd name="connsiteY50" fmla="*/ 254872 h 327546"/>
              <a:gd name="connsiteX51" fmla="*/ 143301 w 521003"/>
              <a:gd name="connsiteY51" fmla="*/ 322428 h 327546"/>
              <a:gd name="connsiteX52" fmla="*/ 143301 w 521003"/>
              <a:gd name="connsiteY52" fmla="*/ 327546 h 327546"/>
              <a:gd name="connsiteX53" fmla="*/ 385379 w 521003"/>
              <a:gd name="connsiteY53" fmla="*/ 327546 h 327546"/>
              <a:gd name="connsiteX54" fmla="*/ 385379 w 521003"/>
              <a:gd name="connsiteY54" fmla="*/ 322428 h 327546"/>
              <a:gd name="connsiteX55" fmla="*/ 359789 w 521003"/>
              <a:gd name="connsiteY55" fmla="*/ 248219 h 327546"/>
              <a:gd name="connsiteX56" fmla="*/ 521003 w 521003"/>
              <a:gd name="connsiteY56" fmla="*/ 248219 h 327546"/>
              <a:gd name="connsiteX57" fmla="*/ 521003 w 521003"/>
              <a:gd name="connsiteY57" fmla="*/ 242077 h 327546"/>
              <a:gd name="connsiteX58" fmla="*/ 54250 w 521003"/>
              <a:gd name="connsiteY58" fmla="*/ 119759 h 327546"/>
              <a:gd name="connsiteX59" fmla="*/ 54250 w 521003"/>
              <a:gd name="connsiteY59" fmla="*/ 119759 h 327546"/>
              <a:gd name="connsiteX60" fmla="*/ 55273 w 521003"/>
              <a:gd name="connsiteY60" fmla="*/ 117200 h 327546"/>
              <a:gd name="connsiteX61" fmla="*/ 56297 w 521003"/>
              <a:gd name="connsiteY61" fmla="*/ 114641 h 327546"/>
              <a:gd name="connsiteX62" fmla="*/ 56297 w 521003"/>
              <a:gd name="connsiteY62" fmla="*/ 114129 h 327546"/>
              <a:gd name="connsiteX63" fmla="*/ 57832 w 521003"/>
              <a:gd name="connsiteY63" fmla="*/ 110035 h 327546"/>
              <a:gd name="connsiteX64" fmla="*/ 58856 w 521003"/>
              <a:gd name="connsiteY64" fmla="*/ 105941 h 327546"/>
              <a:gd name="connsiteX65" fmla="*/ 58856 w 521003"/>
              <a:gd name="connsiteY65" fmla="*/ 105429 h 327546"/>
              <a:gd name="connsiteX66" fmla="*/ 59368 w 521003"/>
              <a:gd name="connsiteY66" fmla="*/ 102870 h 327546"/>
              <a:gd name="connsiteX67" fmla="*/ 59880 w 521003"/>
              <a:gd name="connsiteY67" fmla="*/ 100311 h 327546"/>
              <a:gd name="connsiteX68" fmla="*/ 60391 w 521003"/>
              <a:gd name="connsiteY68" fmla="*/ 97240 h 327546"/>
              <a:gd name="connsiteX69" fmla="*/ 60903 w 521003"/>
              <a:gd name="connsiteY69" fmla="*/ 94681 h 327546"/>
              <a:gd name="connsiteX70" fmla="*/ 60903 w 521003"/>
              <a:gd name="connsiteY70" fmla="*/ 88540 h 327546"/>
              <a:gd name="connsiteX71" fmla="*/ 59368 w 521003"/>
              <a:gd name="connsiteY71" fmla="*/ 73186 h 327546"/>
              <a:gd name="connsiteX72" fmla="*/ 69092 w 521003"/>
              <a:gd name="connsiteY72" fmla="*/ 73698 h 327546"/>
              <a:gd name="connsiteX73" fmla="*/ 73186 w 521003"/>
              <a:gd name="connsiteY73" fmla="*/ 73698 h 327546"/>
              <a:gd name="connsiteX74" fmla="*/ 80863 w 521003"/>
              <a:gd name="connsiteY74" fmla="*/ 73186 h 327546"/>
              <a:gd name="connsiteX75" fmla="*/ 84446 w 521003"/>
              <a:gd name="connsiteY75" fmla="*/ 72674 h 327546"/>
              <a:gd name="connsiteX76" fmla="*/ 88028 w 521003"/>
              <a:gd name="connsiteY76" fmla="*/ 71651 h 327546"/>
              <a:gd name="connsiteX77" fmla="*/ 95193 w 521003"/>
              <a:gd name="connsiteY77" fmla="*/ 69603 h 327546"/>
              <a:gd name="connsiteX78" fmla="*/ 98776 w 521003"/>
              <a:gd name="connsiteY78" fmla="*/ 68068 h 327546"/>
              <a:gd name="connsiteX79" fmla="*/ 105429 w 521003"/>
              <a:gd name="connsiteY79" fmla="*/ 64997 h 327546"/>
              <a:gd name="connsiteX80" fmla="*/ 106964 w 521003"/>
              <a:gd name="connsiteY80" fmla="*/ 63974 h 327546"/>
              <a:gd name="connsiteX81" fmla="*/ 106964 w 521003"/>
              <a:gd name="connsiteY81" fmla="*/ 63974 h 327546"/>
              <a:gd name="connsiteX82" fmla="*/ 108500 w 521003"/>
              <a:gd name="connsiteY82" fmla="*/ 62950 h 327546"/>
              <a:gd name="connsiteX83" fmla="*/ 112082 w 521003"/>
              <a:gd name="connsiteY83" fmla="*/ 60903 h 327546"/>
              <a:gd name="connsiteX84" fmla="*/ 114641 w 521003"/>
              <a:gd name="connsiteY84" fmla="*/ 58856 h 327546"/>
              <a:gd name="connsiteX85" fmla="*/ 118224 w 521003"/>
              <a:gd name="connsiteY85" fmla="*/ 56297 h 327546"/>
              <a:gd name="connsiteX86" fmla="*/ 121294 w 521003"/>
              <a:gd name="connsiteY86" fmla="*/ 53738 h 327546"/>
              <a:gd name="connsiteX87" fmla="*/ 121294 w 521003"/>
              <a:gd name="connsiteY87" fmla="*/ 53738 h 327546"/>
              <a:gd name="connsiteX88" fmla="*/ 123853 w 521003"/>
              <a:gd name="connsiteY88" fmla="*/ 51179 h 327546"/>
              <a:gd name="connsiteX89" fmla="*/ 123853 w 521003"/>
              <a:gd name="connsiteY89" fmla="*/ 51179 h 327546"/>
              <a:gd name="connsiteX90" fmla="*/ 127436 w 521003"/>
              <a:gd name="connsiteY90" fmla="*/ 54250 h 327546"/>
              <a:gd name="connsiteX91" fmla="*/ 131019 w 521003"/>
              <a:gd name="connsiteY91" fmla="*/ 56809 h 327546"/>
              <a:gd name="connsiteX92" fmla="*/ 131530 w 521003"/>
              <a:gd name="connsiteY92" fmla="*/ 57320 h 327546"/>
              <a:gd name="connsiteX93" fmla="*/ 135113 w 521003"/>
              <a:gd name="connsiteY93" fmla="*/ 59879 h 327546"/>
              <a:gd name="connsiteX94" fmla="*/ 138184 w 521003"/>
              <a:gd name="connsiteY94" fmla="*/ 61927 h 327546"/>
              <a:gd name="connsiteX95" fmla="*/ 140231 w 521003"/>
              <a:gd name="connsiteY95" fmla="*/ 62950 h 327546"/>
              <a:gd name="connsiteX96" fmla="*/ 142790 w 521003"/>
              <a:gd name="connsiteY96" fmla="*/ 64486 h 327546"/>
              <a:gd name="connsiteX97" fmla="*/ 144325 w 521003"/>
              <a:gd name="connsiteY97" fmla="*/ 65509 h 327546"/>
              <a:gd name="connsiteX98" fmla="*/ 146884 w 521003"/>
              <a:gd name="connsiteY98" fmla="*/ 67045 h 327546"/>
              <a:gd name="connsiteX99" fmla="*/ 149955 w 521003"/>
              <a:gd name="connsiteY99" fmla="*/ 68580 h 327546"/>
              <a:gd name="connsiteX100" fmla="*/ 156096 w 521003"/>
              <a:gd name="connsiteY100" fmla="*/ 70627 h 327546"/>
              <a:gd name="connsiteX101" fmla="*/ 154049 w 521003"/>
              <a:gd name="connsiteY101" fmla="*/ 89051 h 327546"/>
              <a:gd name="connsiteX102" fmla="*/ 154049 w 521003"/>
              <a:gd name="connsiteY102" fmla="*/ 93146 h 327546"/>
              <a:gd name="connsiteX103" fmla="*/ 154561 w 521003"/>
              <a:gd name="connsiteY103" fmla="*/ 97240 h 327546"/>
              <a:gd name="connsiteX104" fmla="*/ 154561 w 521003"/>
              <a:gd name="connsiteY104" fmla="*/ 99799 h 327546"/>
              <a:gd name="connsiteX105" fmla="*/ 155073 w 521003"/>
              <a:gd name="connsiteY105" fmla="*/ 102358 h 327546"/>
              <a:gd name="connsiteX106" fmla="*/ 156096 w 521003"/>
              <a:gd name="connsiteY106" fmla="*/ 106452 h 327546"/>
              <a:gd name="connsiteX107" fmla="*/ 157120 w 521003"/>
              <a:gd name="connsiteY107" fmla="*/ 110035 h 327546"/>
              <a:gd name="connsiteX108" fmla="*/ 158143 w 521003"/>
              <a:gd name="connsiteY108" fmla="*/ 113106 h 327546"/>
              <a:gd name="connsiteX109" fmla="*/ 159167 w 521003"/>
              <a:gd name="connsiteY109" fmla="*/ 115665 h 327546"/>
              <a:gd name="connsiteX110" fmla="*/ 160702 w 521003"/>
              <a:gd name="connsiteY110" fmla="*/ 119247 h 327546"/>
              <a:gd name="connsiteX111" fmla="*/ 111570 w 521003"/>
              <a:gd name="connsiteY111" fmla="*/ 145348 h 327546"/>
              <a:gd name="connsiteX112" fmla="*/ 111059 w 521003"/>
              <a:gd name="connsiteY112" fmla="*/ 145348 h 327546"/>
              <a:gd name="connsiteX113" fmla="*/ 107988 w 521003"/>
              <a:gd name="connsiteY113" fmla="*/ 145348 h 327546"/>
              <a:gd name="connsiteX114" fmla="*/ 107988 w 521003"/>
              <a:gd name="connsiteY114" fmla="*/ 145348 h 327546"/>
              <a:gd name="connsiteX115" fmla="*/ 103894 w 521003"/>
              <a:gd name="connsiteY115" fmla="*/ 145348 h 327546"/>
              <a:gd name="connsiteX116" fmla="*/ 103894 w 521003"/>
              <a:gd name="connsiteY116" fmla="*/ 145348 h 327546"/>
              <a:gd name="connsiteX117" fmla="*/ 54250 w 521003"/>
              <a:gd name="connsiteY117" fmla="*/ 119759 h 327546"/>
              <a:gd name="connsiteX118" fmla="*/ 127436 w 521003"/>
              <a:gd name="connsiteY118" fmla="*/ 215464 h 327546"/>
              <a:gd name="connsiteX119" fmla="*/ 106964 w 521003"/>
              <a:gd name="connsiteY119" fmla="*/ 228259 h 327546"/>
              <a:gd name="connsiteX120" fmla="*/ 86493 w 521003"/>
              <a:gd name="connsiteY120" fmla="*/ 215464 h 327546"/>
              <a:gd name="connsiteX121" fmla="*/ 92122 w 521003"/>
              <a:gd name="connsiteY121" fmla="*/ 161726 h 327546"/>
              <a:gd name="connsiteX122" fmla="*/ 81375 w 521003"/>
              <a:gd name="connsiteY122" fmla="*/ 150978 h 327546"/>
              <a:gd name="connsiteX123" fmla="*/ 91611 w 521003"/>
              <a:gd name="connsiteY123" fmla="*/ 154049 h 327546"/>
              <a:gd name="connsiteX124" fmla="*/ 93146 w 521003"/>
              <a:gd name="connsiteY124" fmla="*/ 154561 h 327546"/>
              <a:gd name="connsiteX125" fmla="*/ 100311 w 521003"/>
              <a:gd name="connsiteY125" fmla="*/ 155584 h 327546"/>
              <a:gd name="connsiteX126" fmla="*/ 103382 w 521003"/>
              <a:gd name="connsiteY126" fmla="*/ 155584 h 327546"/>
              <a:gd name="connsiteX127" fmla="*/ 103894 w 521003"/>
              <a:gd name="connsiteY127" fmla="*/ 155584 h 327546"/>
              <a:gd name="connsiteX128" fmla="*/ 107476 w 521003"/>
              <a:gd name="connsiteY128" fmla="*/ 155584 h 327546"/>
              <a:gd name="connsiteX129" fmla="*/ 110547 w 521003"/>
              <a:gd name="connsiteY129" fmla="*/ 155584 h 327546"/>
              <a:gd name="connsiteX130" fmla="*/ 114641 w 521003"/>
              <a:gd name="connsiteY130" fmla="*/ 155584 h 327546"/>
              <a:gd name="connsiteX131" fmla="*/ 121806 w 521003"/>
              <a:gd name="connsiteY131" fmla="*/ 154561 h 327546"/>
              <a:gd name="connsiteX132" fmla="*/ 123342 w 521003"/>
              <a:gd name="connsiteY132" fmla="*/ 154049 h 327546"/>
              <a:gd name="connsiteX133" fmla="*/ 123342 w 521003"/>
              <a:gd name="connsiteY133" fmla="*/ 154049 h 327546"/>
              <a:gd name="connsiteX134" fmla="*/ 133577 w 521003"/>
              <a:gd name="connsiteY134" fmla="*/ 150978 h 327546"/>
              <a:gd name="connsiteX135" fmla="*/ 122318 w 521003"/>
              <a:gd name="connsiteY135" fmla="*/ 161726 h 327546"/>
              <a:gd name="connsiteX136" fmla="*/ 127436 w 521003"/>
              <a:gd name="connsiteY136" fmla="*/ 215464 h 327546"/>
              <a:gd name="connsiteX137" fmla="*/ 203693 w 521003"/>
              <a:gd name="connsiteY137" fmla="*/ 173497 h 327546"/>
              <a:gd name="connsiteX138" fmla="*/ 204205 w 521003"/>
              <a:gd name="connsiteY138" fmla="*/ 172473 h 327546"/>
              <a:gd name="connsiteX139" fmla="*/ 204716 w 521003"/>
              <a:gd name="connsiteY139" fmla="*/ 171450 h 327546"/>
              <a:gd name="connsiteX140" fmla="*/ 205740 w 521003"/>
              <a:gd name="connsiteY140" fmla="*/ 168891 h 327546"/>
              <a:gd name="connsiteX141" fmla="*/ 205740 w 521003"/>
              <a:gd name="connsiteY141" fmla="*/ 168379 h 327546"/>
              <a:gd name="connsiteX142" fmla="*/ 206252 w 521003"/>
              <a:gd name="connsiteY142" fmla="*/ 166332 h 327546"/>
              <a:gd name="connsiteX143" fmla="*/ 208299 w 521003"/>
              <a:gd name="connsiteY143" fmla="*/ 159167 h 327546"/>
              <a:gd name="connsiteX144" fmla="*/ 208811 w 521003"/>
              <a:gd name="connsiteY144" fmla="*/ 156608 h 327546"/>
              <a:gd name="connsiteX145" fmla="*/ 210346 w 521003"/>
              <a:gd name="connsiteY145" fmla="*/ 147907 h 327546"/>
              <a:gd name="connsiteX146" fmla="*/ 210858 w 521003"/>
              <a:gd name="connsiteY146" fmla="*/ 143302 h 327546"/>
              <a:gd name="connsiteX147" fmla="*/ 210858 w 521003"/>
              <a:gd name="connsiteY147" fmla="*/ 138184 h 327546"/>
              <a:gd name="connsiteX148" fmla="*/ 208811 w 521003"/>
              <a:gd name="connsiteY148" fmla="*/ 119759 h 327546"/>
              <a:gd name="connsiteX149" fmla="*/ 221094 w 521003"/>
              <a:gd name="connsiteY149" fmla="*/ 120783 h 327546"/>
              <a:gd name="connsiteX150" fmla="*/ 227747 w 521003"/>
              <a:gd name="connsiteY150" fmla="*/ 120783 h 327546"/>
              <a:gd name="connsiteX151" fmla="*/ 230306 w 521003"/>
              <a:gd name="connsiteY151" fmla="*/ 120783 h 327546"/>
              <a:gd name="connsiteX152" fmla="*/ 234912 w 521003"/>
              <a:gd name="connsiteY152" fmla="*/ 120271 h 327546"/>
              <a:gd name="connsiteX153" fmla="*/ 237983 w 521003"/>
              <a:gd name="connsiteY153" fmla="*/ 119759 h 327546"/>
              <a:gd name="connsiteX154" fmla="*/ 243613 w 521003"/>
              <a:gd name="connsiteY154" fmla="*/ 118735 h 327546"/>
              <a:gd name="connsiteX155" fmla="*/ 245660 w 521003"/>
              <a:gd name="connsiteY155" fmla="*/ 118224 h 327546"/>
              <a:gd name="connsiteX156" fmla="*/ 247707 w 521003"/>
              <a:gd name="connsiteY156" fmla="*/ 117712 h 327546"/>
              <a:gd name="connsiteX157" fmla="*/ 251801 w 521003"/>
              <a:gd name="connsiteY157" fmla="*/ 116176 h 327546"/>
              <a:gd name="connsiteX158" fmla="*/ 255896 w 521003"/>
              <a:gd name="connsiteY158" fmla="*/ 114641 h 327546"/>
              <a:gd name="connsiteX159" fmla="*/ 259990 w 521003"/>
              <a:gd name="connsiteY159" fmla="*/ 112594 h 327546"/>
              <a:gd name="connsiteX160" fmla="*/ 265108 w 521003"/>
              <a:gd name="connsiteY160" fmla="*/ 110035 h 327546"/>
              <a:gd name="connsiteX161" fmla="*/ 266131 w 521003"/>
              <a:gd name="connsiteY161" fmla="*/ 109523 h 327546"/>
              <a:gd name="connsiteX162" fmla="*/ 267155 w 521003"/>
              <a:gd name="connsiteY162" fmla="*/ 109011 h 327546"/>
              <a:gd name="connsiteX163" fmla="*/ 270737 w 521003"/>
              <a:gd name="connsiteY163" fmla="*/ 106452 h 327546"/>
              <a:gd name="connsiteX164" fmla="*/ 274320 w 521003"/>
              <a:gd name="connsiteY164" fmla="*/ 103894 h 327546"/>
              <a:gd name="connsiteX165" fmla="*/ 277902 w 521003"/>
              <a:gd name="connsiteY165" fmla="*/ 101335 h 327546"/>
              <a:gd name="connsiteX166" fmla="*/ 281485 w 521003"/>
              <a:gd name="connsiteY166" fmla="*/ 97752 h 327546"/>
              <a:gd name="connsiteX167" fmla="*/ 284044 w 521003"/>
              <a:gd name="connsiteY167" fmla="*/ 95193 h 327546"/>
              <a:gd name="connsiteX168" fmla="*/ 284044 w 521003"/>
              <a:gd name="connsiteY168" fmla="*/ 95193 h 327546"/>
              <a:gd name="connsiteX169" fmla="*/ 287626 w 521003"/>
              <a:gd name="connsiteY169" fmla="*/ 98264 h 327546"/>
              <a:gd name="connsiteX170" fmla="*/ 288650 w 521003"/>
              <a:gd name="connsiteY170" fmla="*/ 99287 h 327546"/>
              <a:gd name="connsiteX171" fmla="*/ 291721 w 521003"/>
              <a:gd name="connsiteY171" fmla="*/ 101846 h 327546"/>
              <a:gd name="connsiteX172" fmla="*/ 292744 w 521003"/>
              <a:gd name="connsiteY172" fmla="*/ 102870 h 327546"/>
              <a:gd name="connsiteX173" fmla="*/ 294280 w 521003"/>
              <a:gd name="connsiteY173" fmla="*/ 103894 h 327546"/>
              <a:gd name="connsiteX174" fmla="*/ 302980 w 521003"/>
              <a:gd name="connsiteY174" fmla="*/ 109523 h 327546"/>
              <a:gd name="connsiteX175" fmla="*/ 306563 w 521003"/>
              <a:gd name="connsiteY175" fmla="*/ 111570 h 327546"/>
              <a:gd name="connsiteX176" fmla="*/ 310145 w 521003"/>
              <a:gd name="connsiteY176" fmla="*/ 113617 h 327546"/>
              <a:gd name="connsiteX177" fmla="*/ 321917 w 521003"/>
              <a:gd name="connsiteY177" fmla="*/ 118224 h 327546"/>
              <a:gd name="connsiteX178" fmla="*/ 319358 w 521003"/>
              <a:gd name="connsiteY178" fmla="*/ 139719 h 327546"/>
              <a:gd name="connsiteX179" fmla="*/ 319869 w 521003"/>
              <a:gd name="connsiteY179" fmla="*/ 148931 h 327546"/>
              <a:gd name="connsiteX180" fmla="*/ 319869 w 521003"/>
              <a:gd name="connsiteY180" fmla="*/ 150978 h 327546"/>
              <a:gd name="connsiteX181" fmla="*/ 320381 w 521003"/>
              <a:gd name="connsiteY181" fmla="*/ 153025 h 327546"/>
              <a:gd name="connsiteX182" fmla="*/ 320893 w 521003"/>
              <a:gd name="connsiteY182" fmla="*/ 155584 h 327546"/>
              <a:gd name="connsiteX183" fmla="*/ 321405 w 521003"/>
              <a:gd name="connsiteY183" fmla="*/ 158143 h 327546"/>
              <a:gd name="connsiteX184" fmla="*/ 322428 w 521003"/>
              <a:gd name="connsiteY184" fmla="*/ 161726 h 327546"/>
              <a:gd name="connsiteX185" fmla="*/ 323452 w 521003"/>
              <a:gd name="connsiteY185" fmla="*/ 165308 h 327546"/>
              <a:gd name="connsiteX186" fmla="*/ 326011 w 521003"/>
              <a:gd name="connsiteY186" fmla="*/ 172985 h 327546"/>
              <a:gd name="connsiteX187" fmla="*/ 326523 w 521003"/>
              <a:gd name="connsiteY187" fmla="*/ 174009 h 327546"/>
              <a:gd name="connsiteX188" fmla="*/ 268178 w 521003"/>
              <a:gd name="connsiteY188" fmla="*/ 204716 h 327546"/>
              <a:gd name="connsiteX189" fmla="*/ 265108 w 521003"/>
              <a:gd name="connsiteY189" fmla="*/ 204716 h 327546"/>
              <a:gd name="connsiteX190" fmla="*/ 261525 w 521003"/>
              <a:gd name="connsiteY190" fmla="*/ 204716 h 327546"/>
              <a:gd name="connsiteX191" fmla="*/ 203693 w 521003"/>
              <a:gd name="connsiteY191" fmla="*/ 173497 h 327546"/>
              <a:gd name="connsiteX192" fmla="*/ 287115 w 521003"/>
              <a:gd name="connsiteY192" fmla="*/ 282508 h 327546"/>
              <a:gd name="connsiteX193" fmla="*/ 264596 w 521003"/>
              <a:gd name="connsiteY193" fmla="*/ 296327 h 327546"/>
              <a:gd name="connsiteX194" fmla="*/ 242077 w 521003"/>
              <a:gd name="connsiteY194" fmla="*/ 282508 h 327546"/>
              <a:gd name="connsiteX195" fmla="*/ 248730 w 521003"/>
              <a:gd name="connsiteY195" fmla="*/ 221605 h 327546"/>
              <a:gd name="connsiteX196" fmla="*/ 235936 w 521003"/>
              <a:gd name="connsiteY196" fmla="*/ 208811 h 327546"/>
              <a:gd name="connsiteX197" fmla="*/ 246172 w 521003"/>
              <a:gd name="connsiteY197" fmla="*/ 211881 h 327546"/>
              <a:gd name="connsiteX198" fmla="*/ 249754 w 521003"/>
              <a:gd name="connsiteY198" fmla="*/ 212905 h 327546"/>
              <a:gd name="connsiteX199" fmla="*/ 254872 w 521003"/>
              <a:gd name="connsiteY199" fmla="*/ 213929 h 327546"/>
              <a:gd name="connsiteX200" fmla="*/ 261013 w 521003"/>
              <a:gd name="connsiteY200" fmla="*/ 214440 h 327546"/>
              <a:gd name="connsiteX201" fmla="*/ 265108 w 521003"/>
              <a:gd name="connsiteY201" fmla="*/ 214440 h 327546"/>
              <a:gd name="connsiteX202" fmla="*/ 268178 w 521003"/>
              <a:gd name="connsiteY202" fmla="*/ 214440 h 327546"/>
              <a:gd name="connsiteX203" fmla="*/ 275344 w 521003"/>
              <a:gd name="connsiteY203" fmla="*/ 213929 h 327546"/>
              <a:gd name="connsiteX204" fmla="*/ 280461 w 521003"/>
              <a:gd name="connsiteY204" fmla="*/ 213417 h 327546"/>
              <a:gd name="connsiteX205" fmla="*/ 284044 w 521003"/>
              <a:gd name="connsiteY205" fmla="*/ 212393 h 327546"/>
              <a:gd name="connsiteX206" fmla="*/ 294280 w 521003"/>
              <a:gd name="connsiteY206" fmla="*/ 209322 h 327546"/>
              <a:gd name="connsiteX207" fmla="*/ 281485 w 521003"/>
              <a:gd name="connsiteY207" fmla="*/ 222117 h 327546"/>
              <a:gd name="connsiteX208" fmla="*/ 287115 w 521003"/>
              <a:gd name="connsiteY208" fmla="*/ 282508 h 327546"/>
              <a:gd name="connsiteX209" fmla="*/ 318846 w 521003"/>
              <a:gd name="connsiteY209" fmla="*/ 216488 h 327546"/>
              <a:gd name="connsiteX210" fmla="*/ 296327 w 521003"/>
              <a:gd name="connsiteY210" fmla="*/ 207787 h 327546"/>
              <a:gd name="connsiteX211" fmla="*/ 331129 w 521003"/>
              <a:gd name="connsiteY211" fmla="*/ 183221 h 327546"/>
              <a:gd name="connsiteX212" fmla="*/ 336247 w 521003"/>
              <a:gd name="connsiteY212" fmla="*/ 176568 h 327546"/>
              <a:gd name="connsiteX213" fmla="*/ 337782 w 521003"/>
              <a:gd name="connsiteY213" fmla="*/ 174009 h 327546"/>
              <a:gd name="connsiteX214" fmla="*/ 348018 w 521003"/>
              <a:gd name="connsiteY214" fmla="*/ 152514 h 327546"/>
              <a:gd name="connsiteX215" fmla="*/ 371560 w 521003"/>
              <a:gd name="connsiteY215" fmla="*/ 152514 h 327546"/>
              <a:gd name="connsiteX216" fmla="*/ 318846 w 521003"/>
              <a:gd name="connsiteY216" fmla="*/ 216488 h 327546"/>
              <a:gd name="connsiteX217" fmla="*/ 445258 w 521003"/>
              <a:gd name="connsiteY217" fmla="*/ 152514 h 327546"/>
              <a:gd name="connsiteX218" fmla="*/ 418133 w 521003"/>
              <a:gd name="connsiteY218" fmla="*/ 175032 h 327546"/>
              <a:gd name="connsiteX219" fmla="*/ 391008 w 521003"/>
              <a:gd name="connsiteY219" fmla="*/ 152514 h 327546"/>
              <a:gd name="connsiteX220" fmla="*/ 390496 w 521003"/>
              <a:gd name="connsiteY220" fmla="*/ 150466 h 327546"/>
              <a:gd name="connsiteX221" fmla="*/ 396126 w 521003"/>
              <a:gd name="connsiteY221" fmla="*/ 148931 h 327546"/>
              <a:gd name="connsiteX222" fmla="*/ 396126 w 521003"/>
              <a:gd name="connsiteY222" fmla="*/ 148931 h 327546"/>
              <a:gd name="connsiteX223" fmla="*/ 415063 w 521003"/>
              <a:gd name="connsiteY223" fmla="*/ 146884 h 327546"/>
              <a:gd name="connsiteX224" fmla="*/ 420692 w 521003"/>
              <a:gd name="connsiteY224" fmla="*/ 146884 h 327546"/>
              <a:gd name="connsiteX225" fmla="*/ 439628 w 521003"/>
              <a:gd name="connsiteY225" fmla="*/ 148931 h 327546"/>
              <a:gd name="connsiteX226" fmla="*/ 445770 w 521003"/>
              <a:gd name="connsiteY226" fmla="*/ 150466 h 327546"/>
              <a:gd name="connsiteX227" fmla="*/ 445258 w 521003"/>
              <a:gd name="connsiteY227" fmla="*/ 152514 h 327546"/>
              <a:gd name="connsiteX228" fmla="*/ 418133 w 521003"/>
              <a:gd name="connsiteY228" fmla="*/ 142278 h 327546"/>
              <a:gd name="connsiteX229" fmla="*/ 418133 w 521003"/>
              <a:gd name="connsiteY229" fmla="*/ 142278 h 327546"/>
              <a:gd name="connsiteX230" fmla="*/ 367466 w 521003"/>
              <a:gd name="connsiteY230" fmla="*/ 117712 h 327546"/>
              <a:gd name="connsiteX231" fmla="*/ 370537 w 521003"/>
              <a:gd name="connsiteY231" fmla="*/ 110035 h 327546"/>
              <a:gd name="connsiteX232" fmla="*/ 371048 w 521003"/>
              <a:gd name="connsiteY232" fmla="*/ 107988 h 327546"/>
              <a:gd name="connsiteX233" fmla="*/ 371560 w 521003"/>
              <a:gd name="connsiteY233" fmla="*/ 105429 h 327546"/>
              <a:gd name="connsiteX234" fmla="*/ 371560 w 521003"/>
              <a:gd name="connsiteY234" fmla="*/ 104917 h 327546"/>
              <a:gd name="connsiteX235" fmla="*/ 372072 w 521003"/>
              <a:gd name="connsiteY235" fmla="*/ 101335 h 327546"/>
              <a:gd name="connsiteX236" fmla="*/ 372072 w 521003"/>
              <a:gd name="connsiteY236" fmla="*/ 100823 h 327546"/>
              <a:gd name="connsiteX237" fmla="*/ 372584 w 521003"/>
              <a:gd name="connsiteY237" fmla="*/ 98264 h 327546"/>
              <a:gd name="connsiteX238" fmla="*/ 373096 w 521003"/>
              <a:gd name="connsiteY238" fmla="*/ 95705 h 327546"/>
              <a:gd name="connsiteX239" fmla="*/ 373607 w 521003"/>
              <a:gd name="connsiteY239" fmla="*/ 91610 h 327546"/>
              <a:gd name="connsiteX240" fmla="*/ 373607 w 521003"/>
              <a:gd name="connsiteY240" fmla="*/ 87516 h 327546"/>
              <a:gd name="connsiteX241" fmla="*/ 373607 w 521003"/>
              <a:gd name="connsiteY241" fmla="*/ 82910 h 327546"/>
              <a:gd name="connsiteX242" fmla="*/ 373096 w 521003"/>
              <a:gd name="connsiteY242" fmla="*/ 77792 h 327546"/>
              <a:gd name="connsiteX243" fmla="*/ 372072 w 521003"/>
              <a:gd name="connsiteY243" fmla="*/ 72674 h 327546"/>
              <a:gd name="connsiteX244" fmla="*/ 391008 w 521003"/>
              <a:gd name="connsiteY244" fmla="*/ 72674 h 327546"/>
              <a:gd name="connsiteX245" fmla="*/ 393567 w 521003"/>
              <a:gd name="connsiteY245" fmla="*/ 72162 h 327546"/>
              <a:gd name="connsiteX246" fmla="*/ 396126 w 521003"/>
              <a:gd name="connsiteY246" fmla="*/ 71651 h 327546"/>
              <a:gd name="connsiteX247" fmla="*/ 398685 w 521003"/>
              <a:gd name="connsiteY247" fmla="*/ 71139 h 327546"/>
              <a:gd name="connsiteX248" fmla="*/ 399709 w 521003"/>
              <a:gd name="connsiteY248" fmla="*/ 70627 h 327546"/>
              <a:gd name="connsiteX249" fmla="*/ 405850 w 521003"/>
              <a:gd name="connsiteY249" fmla="*/ 69092 h 327546"/>
              <a:gd name="connsiteX250" fmla="*/ 413527 w 521003"/>
              <a:gd name="connsiteY250" fmla="*/ 66021 h 327546"/>
              <a:gd name="connsiteX251" fmla="*/ 418133 w 521003"/>
              <a:gd name="connsiteY251" fmla="*/ 63462 h 327546"/>
              <a:gd name="connsiteX252" fmla="*/ 419669 w 521003"/>
              <a:gd name="connsiteY252" fmla="*/ 62438 h 327546"/>
              <a:gd name="connsiteX253" fmla="*/ 419669 w 521003"/>
              <a:gd name="connsiteY253" fmla="*/ 62438 h 327546"/>
              <a:gd name="connsiteX254" fmla="*/ 425810 w 521003"/>
              <a:gd name="connsiteY254" fmla="*/ 58344 h 327546"/>
              <a:gd name="connsiteX255" fmla="*/ 433999 w 521003"/>
              <a:gd name="connsiteY255" fmla="*/ 51179 h 327546"/>
              <a:gd name="connsiteX256" fmla="*/ 433999 w 521003"/>
              <a:gd name="connsiteY256" fmla="*/ 51179 h 327546"/>
              <a:gd name="connsiteX257" fmla="*/ 435022 w 521003"/>
              <a:gd name="connsiteY257" fmla="*/ 51691 h 327546"/>
              <a:gd name="connsiteX258" fmla="*/ 436046 w 521003"/>
              <a:gd name="connsiteY258" fmla="*/ 52714 h 327546"/>
              <a:gd name="connsiteX259" fmla="*/ 437581 w 521003"/>
              <a:gd name="connsiteY259" fmla="*/ 54250 h 327546"/>
              <a:gd name="connsiteX260" fmla="*/ 441164 w 521003"/>
              <a:gd name="connsiteY260" fmla="*/ 57320 h 327546"/>
              <a:gd name="connsiteX261" fmla="*/ 444235 w 521003"/>
              <a:gd name="connsiteY261" fmla="*/ 59879 h 327546"/>
              <a:gd name="connsiteX262" fmla="*/ 446793 w 521003"/>
              <a:gd name="connsiteY262" fmla="*/ 61927 h 327546"/>
              <a:gd name="connsiteX263" fmla="*/ 449352 w 521003"/>
              <a:gd name="connsiteY263" fmla="*/ 63462 h 327546"/>
              <a:gd name="connsiteX264" fmla="*/ 451911 w 521003"/>
              <a:gd name="connsiteY264" fmla="*/ 64997 h 327546"/>
              <a:gd name="connsiteX265" fmla="*/ 453447 w 521003"/>
              <a:gd name="connsiteY265" fmla="*/ 65509 h 327546"/>
              <a:gd name="connsiteX266" fmla="*/ 456006 w 521003"/>
              <a:gd name="connsiteY266" fmla="*/ 67045 h 327546"/>
              <a:gd name="connsiteX267" fmla="*/ 458053 w 521003"/>
              <a:gd name="connsiteY267" fmla="*/ 68068 h 327546"/>
              <a:gd name="connsiteX268" fmla="*/ 460612 w 521003"/>
              <a:gd name="connsiteY268" fmla="*/ 69092 h 327546"/>
              <a:gd name="connsiteX269" fmla="*/ 464706 w 521003"/>
              <a:gd name="connsiteY269" fmla="*/ 70627 h 327546"/>
              <a:gd name="connsiteX270" fmla="*/ 464194 w 521003"/>
              <a:gd name="connsiteY270" fmla="*/ 73186 h 327546"/>
              <a:gd name="connsiteX271" fmla="*/ 463171 w 521003"/>
              <a:gd name="connsiteY271" fmla="*/ 78304 h 327546"/>
              <a:gd name="connsiteX272" fmla="*/ 462659 w 521003"/>
              <a:gd name="connsiteY272" fmla="*/ 83422 h 327546"/>
              <a:gd name="connsiteX273" fmla="*/ 462659 w 521003"/>
              <a:gd name="connsiteY273" fmla="*/ 88028 h 327546"/>
              <a:gd name="connsiteX274" fmla="*/ 462659 w 521003"/>
              <a:gd name="connsiteY274" fmla="*/ 91610 h 327546"/>
              <a:gd name="connsiteX275" fmla="*/ 462659 w 521003"/>
              <a:gd name="connsiteY275" fmla="*/ 93658 h 327546"/>
              <a:gd name="connsiteX276" fmla="*/ 462659 w 521003"/>
              <a:gd name="connsiteY276" fmla="*/ 96217 h 327546"/>
              <a:gd name="connsiteX277" fmla="*/ 463171 w 521003"/>
              <a:gd name="connsiteY277" fmla="*/ 100311 h 327546"/>
              <a:gd name="connsiteX278" fmla="*/ 464194 w 521003"/>
              <a:gd name="connsiteY278" fmla="*/ 104405 h 327546"/>
              <a:gd name="connsiteX279" fmla="*/ 465218 w 521003"/>
              <a:gd name="connsiteY279" fmla="*/ 108499 h 327546"/>
              <a:gd name="connsiteX280" fmla="*/ 466242 w 521003"/>
              <a:gd name="connsiteY280" fmla="*/ 112594 h 327546"/>
              <a:gd name="connsiteX281" fmla="*/ 467265 w 521003"/>
              <a:gd name="connsiteY281" fmla="*/ 115665 h 327546"/>
              <a:gd name="connsiteX282" fmla="*/ 467777 w 521003"/>
              <a:gd name="connsiteY282" fmla="*/ 117712 h 327546"/>
              <a:gd name="connsiteX283" fmla="*/ 418133 w 521003"/>
              <a:gd name="connsiteY283" fmla="*/ 142278 h 3275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Lst>
            <a:rect l="l" t="t" r="r" b="b"/>
            <a:pathLst>
              <a:path w="521003" h="327546">
                <a:moveTo>
                  <a:pt x="521003" y="242077"/>
                </a:moveTo>
                <a:cubicBezTo>
                  <a:pt x="521003" y="203693"/>
                  <a:pt x="498996" y="168891"/>
                  <a:pt x="465218" y="152514"/>
                </a:cubicBezTo>
                <a:lnTo>
                  <a:pt x="492343" y="152514"/>
                </a:lnTo>
                <a:lnTo>
                  <a:pt x="492343" y="78304"/>
                </a:lnTo>
                <a:cubicBezTo>
                  <a:pt x="492343" y="76769"/>
                  <a:pt x="492343" y="74721"/>
                  <a:pt x="492343" y="73186"/>
                </a:cubicBezTo>
                <a:cubicBezTo>
                  <a:pt x="492343" y="71651"/>
                  <a:pt x="491831" y="69603"/>
                  <a:pt x="491831" y="68068"/>
                </a:cubicBezTo>
                <a:cubicBezTo>
                  <a:pt x="490808" y="60391"/>
                  <a:pt x="488760" y="53226"/>
                  <a:pt x="485178" y="46573"/>
                </a:cubicBezTo>
                <a:cubicBezTo>
                  <a:pt x="478525" y="32754"/>
                  <a:pt x="467777" y="21495"/>
                  <a:pt x="454470" y="13818"/>
                </a:cubicBezTo>
                <a:cubicBezTo>
                  <a:pt x="453959" y="13306"/>
                  <a:pt x="453447" y="13306"/>
                  <a:pt x="452935" y="12795"/>
                </a:cubicBezTo>
                <a:lnTo>
                  <a:pt x="450888" y="11771"/>
                </a:lnTo>
                <a:cubicBezTo>
                  <a:pt x="448841" y="10747"/>
                  <a:pt x="446793" y="10236"/>
                  <a:pt x="445258" y="9212"/>
                </a:cubicBezTo>
                <a:cubicBezTo>
                  <a:pt x="436558" y="5630"/>
                  <a:pt x="427345" y="4094"/>
                  <a:pt x="418133" y="4094"/>
                </a:cubicBezTo>
                <a:cubicBezTo>
                  <a:pt x="389473" y="4094"/>
                  <a:pt x="363883" y="19960"/>
                  <a:pt x="351600" y="45549"/>
                </a:cubicBezTo>
                <a:cubicBezTo>
                  <a:pt x="349041" y="50155"/>
                  <a:pt x="347506" y="55273"/>
                  <a:pt x="346482" y="59879"/>
                </a:cubicBezTo>
                <a:cubicBezTo>
                  <a:pt x="345459" y="63974"/>
                  <a:pt x="344947" y="68580"/>
                  <a:pt x="344435" y="72674"/>
                </a:cubicBezTo>
                <a:cubicBezTo>
                  <a:pt x="344435" y="74210"/>
                  <a:pt x="344435" y="76257"/>
                  <a:pt x="344435" y="77792"/>
                </a:cubicBezTo>
                <a:lnTo>
                  <a:pt x="344435" y="91099"/>
                </a:lnTo>
                <a:cubicBezTo>
                  <a:pt x="343923" y="90587"/>
                  <a:pt x="343923" y="89563"/>
                  <a:pt x="343412" y="89051"/>
                </a:cubicBezTo>
                <a:cubicBezTo>
                  <a:pt x="335735" y="72674"/>
                  <a:pt x="322940" y="59368"/>
                  <a:pt x="307075" y="50667"/>
                </a:cubicBezTo>
                <a:cubicBezTo>
                  <a:pt x="306051" y="50155"/>
                  <a:pt x="304516" y="49132"/>
                  <a:pt x="303492" y="48620"/>
                </a:cubicBezTo>
                <a:cubicBezTo>
                  <a:pt x="301445" y="47597"/>
                  <a:pt x="299398" y="47085"/>
                  <a:pt x="297862" y="46061"/>
                </a:cubicBezTo>
                <a:cubicBezTo>
                  <a:pt x="287626" y="41967"/>
                  <a:pt x="276367" y="39408"/>
                  <a:pt x="265108" y="39408"/>
                </a:cubicBezTo>
                <a:cubicBezTo>
                  <a:pt x="231841" y="39408"/>
                  <a:pt x="201646" y="58344"/>
                  <a:pt x="186804" y="88028"/>
                </a:cubicBezTo>
                <a:cubicBezTo>
                  <a:pt x="184245" y="93658"/>
                  <a:pt x="182198" y="99287"/>
                  <a:pt x="180662" y="104917"/>
                </a:cubicBezTo>
                <a:cubicBezTo>
                  <a:pt x="179127" y="111570"/>
                  <a:pt x="178103" y="118735"/>
                  <a:pt x="178103" y="125900"/>
                </a:cubicBezTo>
                <a:cubicBezTo>
                  <a:pt x="178103" y="142790"/>
                  <a:pt x="183221" y="159167"/>
                  <a:pt x="192433" y="173497"/>
                </a:cubicBezTo>
                <a:cubicBezTo>
                  <a:pt x="192945" y="174521"/>
                  <a:pt x="193457" y="175032"/>
                  <a:pt x="193969" y="176056"/>
                </a:cubicBezTo>
                <a:cubicBezTo>
                  <a:pt x="195504" y="178103"/>
                  <a:pt x="197551" y="180662"/>
                  <a:pt x="199087" y="182709"/>
                </a:cubicBezTo>
                <a:cubicBezTo>
                  <a:pt x="208299" y="193457"/>
                  <a:pt x="220070" y="201645"/>
                  <a:pt x="233377" y="206763"/>
                </a:cubicBezTo>
                <a:cubicBezTo>
                  <a:pt x="224676" y="209322"/>
                  <a:pt x="215976" y="212393"/>
                  <a:pt x="208299" y="216488"/>
                </a:cubicBezTo>
                <a:cubicBezTo>
                  <a:pt x="197040" y="183733"/>
                  <a:pt x="170426" y="158143"/>
                  <a:pt x="137160" y="148419"/>
                </a:cubicBezTo>
                <a:cubicBezTo>
                  <a:pt x="147908" y="143813"/>
                  <a:pt x="157632" y="137160"/>
                  <a:pt x="165308" y="127948"/>
                </a:cubicBezTo>
                <a:cubicBezTo>
                  <a:pt x="167356" y="125900"/>
                  <a:pt x="168891" y="123342"/>
                  <a:pt x="170426" y="121294"/>
                </a:cubicBezTo>
                <a:cubicBezTo>
                  <a:pt x="170938" y="120271"/>
                  <a:pt x="171450" y="119759"/>
                  <a:pt x="171962" y="118735"/>
                </a:cubicBezTo>
                <a:cubicBezTo>
                  <a:pt x="179639" y="106452"/>
                  <a:pt x="184245" y="92122"/>
                  <a:pt x="184245" y="77280"/>
                </a:cubicBezTo>
                <a:cubicBezTo>
                  <a:pt x="184245" y="73698"/>
                  <a:pt x="184245" y="70115"/>
                  <a:pt x="183221" y="66533"/>
                </a:cubicBezTo>
                <a:cubicBezTo>
                  <a:pt x="182198" y="58856"/>
                  <a:pt x="180150" y="51179"/>
                  <a:pt x="176568" y="44014"/>
                </a:cubicBezTo>
                <a:cubicBezTo>
                  <a:pt x="169915" y="29684"/>
                  <a:pt x="158655" y="17913"/>
                  <a:pt x="144837" y="10236"/>
                </a:cubicBezTo>
                <a:cubicBezTo>
                  <a:pt x="143813" y="9724"/>
                  <a:pt x="142278" y="8700"/>
                  <a:pt x="141254" y="8189"/>
                </a:cubicBezTo>
                <a:cubicBezTo>
                  <a:pt x="139207" y="7165"/>
                  <a:pt x="137672" y="6141"/>
                  <a:pt x="135625" y="5630"/>
                </a:cubicBezTo>
                <a:cubicBezTo>
                  <a:pt x="126412" y="2047"/>
                  <a:pt x="117200" y="0"/>
                  <a:pt x="107476" y="0"/>
                </a:cubicBezTo>
                <a:cubicBezTo>
                  <a:pt x="77792" y="0"/>
                  <a:pt x="51691" y="16377"/>
                  <a:pt x="38384" y="42990"/>
                </a:cubicBezTo>
                <a:cubicBezTo>
                  <a:pt x="35825" y="47597"/>
                  <a:pt x="34290" y="52714"/>
                  <a:pt x="32755" y="57832"/>
                </a:cubicBezTo>
                <a:cubicBezTo>
                  <a:pt x="31219" y="63974"/>
                  <a:pt x="30196" y="70115"/>
                  <a:pt x="30196" y="76257"/>
                </a:cubicBezTo>
                <a:cubicBezTo>
                  <a:pt x="30196" y="91099"/>
                  <a:pt x="34290" y="105941"/>
                  <a:pt x="42479" y="118224"/>
                </a:cubicBezTo>
                <a:cubicBezTo>
                  <a:pt x="42990" y="119247"/>
                  <a:pt x="43502" y="119759"/>
                  <a:pt x="44014" y="120783"/>
                </a:cubicBezTo>
                <a:cubicBezTo>
                  <a:pt x="45549" y="122830"/>
                  <a:pt x="47597" y="125389"/>
                  <a:pt x="49132" y="127436"/>
                </a:cubicBezTo>
                <a:cubicBezTo>
                  <a:pt x="56809" y="136136"/>
                  <a:pt x="66533" y="142790"/>
                  <a:pt x="76769" y="147396"/>
                </a:cubicBezTo>
                <a:cubicBezTo>
                  <a:pt x="32243" y="160191"/>
                  <a:pt x="0" y="201134"/>
                  <a:pt x="0" y="249754"/>
                </a:cubicBezTo>
                <a:lnTo>
                  <a:pt x="0" y="254872"/>
                </a:lnTo>
                <a:lnTo>
                  <a:pt x="163773" y="254872"/>
                </a:lnTo>
                <a:cubicBezTo>
                  <a:pt x="150978" y="274320"/>
                  <a:pt x="143301" y="297350"/>
                  <a:pt x="143301" y="322428"/>
                </a:cubicBezTo>
                <a:lnTo>
                  <a:pt x="143301" y="327546"/>
                </a:lnTo>
                <a:lnTo>
                  <a:pt x="385379" y="327546"/>
                </a:lnTo>
                <a:lnTo>
                  <a:pt x="385379" y="322428"/>
                </a:lnTo>
                <a:cubicBezTo>
                  <a:pt x="385379" y="294280"/>
                  <a:pt x="375655" y="268690"/>
                  <a:pt x="359789" y="248219"/>
                </a:cubicBezTo>
                <a:lnTo>
                  <a:pt x="521003" y="248219"/>
                </a:lnTo>
                <a:lnTo>
                  <a:pt x="521003" y="242077"/>
                </a:lnTo>
                <a:close/>
                <a:moveTo>
                  <a:pt x="54250" y="119759"/>
                </a:moveTo>
                <a:cubicBezTo>
                  <a:pt x="54250" y="119759"/>
                  <a:pt x="54250" y="119247"/>
                  <a:pt x="54250" y="119759"/>
                </a:cubicBezTo>
                <a:cubicBezTo>
                  <a:pt x="54762" y="118735"/>
                  <a:pt x="54762" y="118224"/>
                  <a:pt x="55273" y="117200"/>
                </a:cubicBezTo>
                <a:cubicBezTo>
                  <a:pt x="55785" y="116176"/>
                  <a:pt x="55785" y="115153"/>
                  <a:pt x="56297" y="114641"/>
                </a:cubicBezTo>
                <a:cubicBezTo>
                  <a:pt x="56297" y="114641"/>
                  <a:pt x="56297" y="114641"/>
                  <a:pt x="56297" y="114129"/>
                </a:cubicBezTo>
                <a:cubicBezTo>
                  <a:pt x="56809" y="112594"/>
                  <a:pt x="57321" y="111570"/>
                  <a:pt x="57832" y="110035"/>
                </a:cubicBezTo>
                <a:cubicBezTo>
                  <a:pt x="58344" y="108499"/>
                  <a:pt x="58344" y="107476"/>
                  <a:pt x="58856" y="105941"/>
                </a:cubicBezTo>
                <a:cubicBezTo>
                  <a:pt x="58856" y="105941"/>
                  <a:pt x="58856" y="105429"/>
                  <a:pt x="58856" y="105429"/>
                </a:cubicBezTo>
                <a:cubicBezTo>
                  <a:pt x="58856" y="104405"/>
                  <a:pt x="59368" y="103894"/>
                  <a:pt x="59368" y="102870"/>
                </a:cubicBezTo>
                <a:cubicBezTo>
                  <a:pt x="59368" y="101846"/>
                  <a:pt x="59880" y="101335"/>
                  <a:pt x="59880" y="100311"/>
                </a:cubicBezTo>
                <a:cubicBezTo>
                  <a:pt x="59880" y="99287"/>
                  <a:pt x="60391" y="98264"/>
                  <a:pt x="60391" y="97240"/>
                </a:cubicBezTo>
                <a:cubicBezTo>
                  <a:pt x="60391" y="96217"/>
                  <a:pt x="60391" y="95193"/>
                  <a:pt x="60903" y="94681"/>
                </a:cubicBezTo>
                <a:cubicBezTo>
                  <a:pt x="60903" y="92634"/>
                  <a:pt x="60903" y="90587"/>
                  <a:pt x="60903" y="88540"/>
                </a:cubicBezTo>
                <a:cubicBezTo>
                  <a:pt x="60903" y="83422"/>
                  <a:pt x="60391" y="78304"/>
                  <a:pt x="59368" y="73186"/>
                </a:cubicBezTo>
                <a:cubicBezTo>
                  <a:pt x="62438" y="73698"/>
                  <a:pt x="66021" y="73698"/>
                  <a:pt x="69092" y="73698"/>
                </a:cubicBezTo>
                <a:cubicBezTo>
                  <a:pt x="70627" y="73698"/>
                  <a:pt x="71651" y="73698"/>
                  <a:pt x="73186" y="73698"/>
                </a:cubicBezTo>
                <a:cubicBezTo>
                  <a:pt x="75745" y="73698"/>
                  <a:pt x="78304" y="73186"/>
                  <a:pt x="80863" y="73186"/>
                </a:cubicBezTo>
                <a:cubicBezTo>
                  <a:pt x="82398" y="73186"/>
                  <a:pt x="83422" y="72674"/>
                  <a:pt x="84446" y="72674"/>
                </a:cubicBezTo>
                <a:cubicBezTo>
                  <a:pt x="85981" y="72162"/>
                  <a:pt x="87004" y="72162"/>
                  <a:pt x="88028" y="71651"/>
                </a:cubicBezTo>
                <a:cubicBezTo>
                  <a:pt x="90587" y="71139"/>
                  <a:pt x="93146" y="70115"/>
                  <a:pt x="95193" y="69603"/>
                </a:cubicBezTo>
                <a:cubicBezTo>
                  <a:pt x="96217" y="69092"/>
                  <a:pt x="97752" y="68580"/>
                  <a:pt x="98776" y="68068"/>
                </a:cubicBezTo>
                <a:cubicBezTo>
                  <a:pt x="101335" y="67045"/>
                  <a:pt x="103382" y="66021"/>
                  <a:pt x="105429" y="64997"/>
                </a:cubicBezTo>
                <a:cubicBezTo>
                  <a:pt x="105941" y="64997"/>
                  <a:pt x="106452" y="64486"/>
                  <a:pt x="106964" y="63974"/>
                </a:cubicBezTo>
                <a:lnTo>
                  <a:pt x="106964" y="63974"/>
                </a:lnTo>
                <a:cubicBezTo>
                  <a:pt x="107476" y="63974"/>
                  <a:pt x="107988" y="63462"/>
                  <a:pt x="108500" y="62950"/>
                </a:cubicBezTo>
                <a:cubicBezTo>
                  <a:pt x="109523" y="62438"/>
                  <a:pt x="111059" y="61415"/>
                  <a:pt x="112082" y="60903"/>
                </a:cubicBezTo>
                <a:cubicBezTo>
                  <a:pt x="113106" y="60391"/>
                  <a:pt x="114129" y="59368"/>
                  <a:pt x="114641" y="58856"/>
                </a:cubicBezTo>
                <a:cubicBezTo>
                  <a:pt x="115665" y="57832"/>
                  <a:pt x="117200" y="57320"/>
                  <a:pt x="118224" y="56297"/>
                </a:cubicBezTo>
                <a:cubicBezTo>
                  <a:pt x="119247" y="55273"/>
                  <a:pt x="120271" y="54761"/>
                  <a:pt x="121294" y="53738"/>
                </a:cubicBezTo>
                <a:lnTo>
                  <a:pt x="121294" y="53738"/>
                </a:lnTo>
                <a:cubicBezTo>
                  <a:pt x="122318" y="52714"/>
                  <a:pt x="123342" y="52202"/>
                  <a:pt x="123853" y="51179"/>
                </a:cubicBezTo>
                <a:lnTo>
                  <a:pt x="123853" y="51179"/>
                </a:lnTo>
                <a:cubicBezTo>
                  <a:pt x="124877" y="52202"/>
                  <a:pt x="125901" y="53226"/>
                  <a:pt x="127436" y="54250"/>
                </a:cubicBezTo>
                <a:cubicBezTo>
                  <a:pt x="128460" y="55273"/>
                  <a:pt x="129483" y="56297"/>
                  <a:pt x="131019" y="56809"/>
                </a:cubicBezTo>
                <a:cubicBezTo>
                  <a:pt x="131019" y="56809"/>
                  <a:pt x="131019" y="56809"/>
                  <a:pt x="131530" y="57320"/>
                </a:cubicBezTo>
                <a:cubicBezTo>
                  <a:pt x="132554" y="58344"/>
                  <a:pt x="134089" y="59368"/>
                  <a:pt x="135113" y="59879"/>
                </a:cubicBezTo>
                <a:cubicBezTo>
                  <a:pt x="136136" y="60391"/>
                  <a:pt x="137160" y="61415"/>
                  <a:pt x="138184" y="61927"/>
                </a:cubicBezTo>
                <a:cubicBezTo>
                  <a:pt x="138695" y="62438"/>
                  <a:pt x="139207" y="62950"/>
                  <a:pt x="140231" y="62950"/>
                </a:cubicBezTo>
                <a:cubicBezTo>
                  <a:pt x="141254" y="63462"/>
                  <a:pt x="141766" y="63974"/>
                  <a:pt x="142790" y="64486"/>
                </a:cubicBezTo>
                <a:cubicBezTo>
                  <a:pt x="143301" y="64997"/>
                  <a:pt x="143813" y="64997"/>
                  <a:pt x="144325" y="65509"/>
                </a:cubicBezTo>
                <a:cubicBezTo>
                  <a:pt x="145349" y="66021"/>
                  <a:pt x="145860" y="66533"/>
                  <a:pt x="146884" y="67045"/>
                </a:cubicBezTo>
                <a:cubicBezTo>
                  <a:pt x="147908" y="67556"/>
                  <a:pt x="148931" y="68068"/>
                  <a:pt x="149955" y="68580"/>
                </a:cubicBezTo>
                <a:cubicBezTo>
                  <a:pt x="152002" y="69603"/>
                  <a:pt x="154049" y="70115"/>
                  <a:pt x="156096" y="70627"/>
                </a:cubicBezTo>
                <a:cubicBezTo>
                  <a:pt x="154561" y="76769"/>
                  <a:pt x="154049" y="82910"/>
                  <a:pt x="154049" y="89051"/>
                </a:cubicBezTo>
                <a:cubicBezTo>
                  <a:pt x="154049" y="90587"/>
                  <a:pt x="154049" y="91610"/>
                  <a:pt x="154049" y="93146"/>
                </a:cubicBezTo>
                <a:cubicBezTo>
                  <a:pt x="154049" y="94681"/>
                  <a:pt x="154049" y="95705"/>
                  <a:pt x="154561" y="97240"/>
                </a:cubicBezTo>
                <a:cubicBezTo>
                  <a:pt x="154561" y="97752"/>
                  <a:pt x="154561" y="98776"/>
                  <a:pt x="154561" y="99799"/>
                </a:cubicBezTo>
                <a:cubicBezTo>
                  <a:pt x="154561" y="100823"/>
                  <a:pt x="155073" y="101335"/>
                  <a:pt x="155073" y="102358"/>
                </a:cubicBezTo>
                <a:cubicBezTo>
                  <a:pt x="155073" y="103894"/>
                  <a:pt x="155584" y="104917"/>
                  <a:pt x="156096" y="106452"/>
                </a:cubicBezTo>
                <a:cubicBezTo>
                  <a:pt x="156096" y="107476"/>
                  <a:pt x="156608" y="109011"/>
                  <a:pt x="157120" y="110035"/>
                </a:cubicBezTo>
                <a:cubicBezTo>
                  <a:pt x="157120" y="111058"/>
                  <a:pt x="157632" y="112082"/>
                  <a:pt x="158143" y="113106"/>
                </a:cubicBezTo>
                <a:cubicBezTo>
                  <a:pt x="158655" y="114129"/>
                  <a:pt x="158655" y="115153"/>
                  <a:pt x="159167" y="115665"/>
                </a:cubicBezTo>
                <a:cubicBezTo>
                  <a:pt x="159679" y="117200"/>
                  <a:pt x="160191" y="118224"/>
                  <a:pt x="160702" y="119247"/>
                </a:cubicBezTo>
                <a:cubicBezTo>
                  <a:pt x="148931" y="134601"/>
                  <a:pt x="131019" y="144325"/>
                  <a:pt x="111570" y="145348"/>
                </a:cubicBezTo>
                <a:lnTo>
                  <a:pt x="111059" y="145348"/>
                </a:lnTo>
                <a:cubicBezTo>
                  <a:pt x="110035" y="145348"/>
                  <a:pt x="109011" y="145348"/>
                  <a:pt x="107988" y="145348"/>
                </a:cubicBezTo>
                <a:lnTo>
                  <a:pt x="107988" y="145348"/>
                </a:lnTo>
                <a:cubicBezTo>
                  <a:pt x="106452" y="145348"/>
                  <a:pt x="105429" y="145348"/>
                  <a:pt x="103894" y="145348"/>
                </a:cubicBezTo>
                <a:cubicBezTo>
                  <a:pt x="103894" y="145348"/>
                  <a:pt x="103894" y="145348"/>
                  <a:pt x="103894" y="145348"/>
                </a:cubicBezTo>
                <a:cubicBezTo>
                  <a:pt x="83934" y="143813"/>
                  <a:pt x="66021" y="134601"/>
                  <a:pt x="54250" y="119759"/>
                </a:cubicBezTo>
                <a:close/>
                <a:moveTo>
                  <a:pt x="127436" y="215464"/>
                </a:moveTo>
                <a:lnTo>
                  <a:pt x="106964" y="228259"/>
                </a:lnTo>
                <a:lnTo>
                  <a:pt x="86493" y="215464"/>
                </a:lnTo>
                <a:lnTo>
                  <a:pt x="92122" y="161726"/>
                </a:lnTo>
                <a:lnTo>
                  <a:pt x="81375" y="150978"/>
                </a:lnTo>
                <a:cubicBezTo>
                  <a:pt x="84446" y="152002"/>
                  <a:pt x="88028" y="153025"/>
                  <a:pt x="91611" y="154049"/>
                </a:cubicBezTo>
                <a:cubicBezTo>
                  <a:pt x="92122" y="154049"/>
                  <a:pt x="92634" y="154049"/>
                  <a:pt x="93146" y="154561"/>
                </a:cubicBezTo>
                <a:cubicBezTo>
                  <a:pt x="95705" y="155073"/>
                  <a:pt x="97752" y="155073"/>
                  <a:pt x="100311" y="155584"/>
                </a:cubicBezTo>
                <a:cubicBezTo>
                  <a:pt x="101335" y="155584"/>
                  <a:pt x="102358" y="155584"/>
                  <a:pt x="103382" y="155584"/>
                </a:cubicBezTo>
                <a:lnTo>
                  <a:pt x="103894" y="155584"/>
                </a:lnTo>
                <a:cubicBezTo>
                  <a:pt x="104917" y="155584"/>
                  <a:pt x="105941" y="155584"/>
                  <a:pt x="107476" y="155584"/>
                </a:cubicBezTo>
                <a:cubicBezTo>
                  <a:pt x="108500" y="155584"/>
                  <a:pt x="109523" y="155584"/>
                  <a:pt x="110547" y="155584"/>
                </a:cubicBezTo>
                <a:cubicBezTo>
                  <a:pt x="112082" y="155584"/>
                  <a:pt x="113106" y="155584"/>
                  <a:pt x="114641" y="155584"/>
                </a:cubicBezTo>
                <a:cubicBezTo>
                  <a:pt x="117200" y="155584"/>
                  <a:pt x="119247" y="155073"/>
                  <a:pt x="121806" y="154561"/>
                </a:cubicBezTo>
                <a:cubicBezTo>
                  <a:pt x="122318" y="154561"/>
                  <a:pt x="122830" y="154561"/>
                  <a:pt x="123342" y="154049"/>
                </a:cubicBezTo>
                <a:lnTo>
                  <a:pt x="123342" y="154049"/>
                </a:lnTo>
                <a:cubicBezTo>
                  <a:pt x="126924" y="153537"/>
                  <a:pt x="129995" y="152514"/>
                  <a:pt x="133577" y="150978"/>
                </a:cubicBezTo>
                <a:lnTo>
                  <a:pt x="122318" y="161726"/>
                </a:lnTo>
                <a:lnTo>
                  <a:pt x="127436" y="215464"/>
                </a:lnTo>
                <a:close/>
                <a:moveTo>
                  <a:pt x="203693" y="173497"/>
                </a:moveTo>
                <a:cubicBezTo>
                  <a:pt x="203693" y="172985"/>
                  <a:pt x="204205" y="172985"/>
                  <a:pt x="204205" y="172473"/>
                </a:cubicBezTo>
                <a:cubicBezTo>
                  <a:pt x="204205" y="171962"/>
                  <a:pt x="204716" y="171962"/>
                  <a:pt x="204716" y="171450"/>
                </a:cubicBezTo>
                <a:cubicBezTo>
                  <a:pt x="205228" y="170426"/>
                  <a:pt x="205228" y="169914"/>
                  <a:pt x="205740" y="168891"/>
                </a:cubicBezTo>
                <a:cubicBezTo>
                  <a:pt x="205740" y="168891"/>
                  <a:pt x="205740" y="168379"/>
                  <a:pt x="205740" y="168379"/>
                </a:cubicBezTo>
                <a:cubicBezTo>
                  <a:pt x="205740" y="167867"/>
                  <a:pt x="206252" y="166844"/>
                  <a:pt x="206252" y="166332"/>
                </a:cubicBezTo>
                <a:cubicBezTo>
                  <a:pt x="207275" y="163773"/>
                  <a:pt x="207787" y="161726"/>
                  <a:pt x="208299" y="159167"/>
                </a:cubicBezTo>
                <a:cubicBezTo>
                  <a:pt x="208299" y="158143"/>
                  <a:pt x="208811" y="157120"/>
                  <a:pt x="208811" y="156608"/>
                </a:cubicBezTo>
                <a:cubicBezTo>
                  <a:pt x="209322" y="154049"/>
                  <a:pt x="209834" y="150978"/>
                  <a:pt x="210346" y="147907"/>
                </a:cubicBezTo>
                <a:cubicBezTo>
                  <a:pt x="210346" y="146372"/>
                  <a:pt x="210858" y="144837"/>
                  <a:pt x="210858" y="143302"/>
                </a:cubicBezTo>
                <a:cubicBezTo>
                  <a:pt x="210858" y="141766"/>
                  <a:pt x="210858" y="139719"/>
                  <a:pt x="210858" y="138184"/>
                </a:cubicBezTo>
                <a:cubicBezTo>
                  <a:pt x="210858" y="132042"/>
                  <a:pt x="210346" y="125389"/>
                  <a:pt x="208811" y="119759"/>
                </a:cubicBezTo>
                <a:cubicBezTo>
                  <a:pt x="212905" y="120271"/>
                  <a:pt x="216999" y="120783"/>
                  <a:pt x="221094" y="120783"/>
                </a:cubicBezTo>
                <a:cubicBezTo>
                  <a:pt x="223141" y="120783"/>
                  <a:pt x="225188" y="120783"/>
                  <a:pt x="227747" y="120783"/>
                </a:cubicBezTo>
                <a:cubicBezTo>
                  <a:pt x="228770" y="120783"/>
                  <a:pt x="229282" y="120783"/>
                  <a:pt x="230306" y="120783"/>
                </a:cubicBezTo>
                <a:cubicBezTo>
                  <a:pt x="231841" y="120783"/>
                  <a:pt x="233377" y="120271"/>
                  <a:pt x="234912" y="120271"/>
                </a:cubicBezTo>
                <a:cubicBezTo>
                  <a:pt x="235936" y="120271"/>
                  <a:pt x="236959" y="119759"/>
                  <a:pt x="237983" y="119759"/>
                </a:cubicBezTo>
                <a:cubicBezTo>
                  <a:pt x="240030" y="119247"/>
                  <a:pt x="241565" y="118735"/>
                  <a:pt x="243613" y="118735"/>
                </a:cubicBezTo>
                <a:cubicBezTo>
                  <a:pt x="244124" y="118735"/>
                  <a:pt x="245148" y="118224"/>
                  <a:pt x="245660" y="118224"/>
                </a:cubicBezTo>
                <a:cubicBezTo>
                  <a:pt x="246172" y="118224"/>
                  <a:pt x="246683" y="117712"/>
                  <a:pt x="247707" y="117712"/>
                </a:cubicBezTo>
                <a:cubicBezTo>
                  <a:pt x="249242" y="117200"/>
                  <a:pt x="250266" y="116688"/>
                  <a:pt x="251801" y="116176"/>
                </a:cubicBezTo>
                <a:cubicBezTo>
                  <a:pt x="253337" y="115665"/>
                  <a:pt x="254360" y="115153"/>
                  <a:pt x="255896" y="114641"/>
                </a:cubicBezTo>
                <a:cubicBezTo>
                  <a:pt x="257431" y="114129"/>
                  <a:pt x="258454" y="113617"/>
                  <a:pt x="259990" y="112594"/>
                </a:cubicBezTo>
                <a:cubicBezTo>
                  <a:pt x="261525" y="111570"/>
                  <a:pt x="263572" y="111058"/>
                  <a:pt x="265108" y="110035"/>
                </a:cubicBezTo>
                <a:cubicBezTo>
                  <a:pt x="265620" y="110035"/>
                  <a:pt x="266131" y="109523"/>
                  <a:pt x="266131" y="109523"/>
                </a:cubicBezTo>
                <a:cubicBezTo>
                  <a:pt x="266643" y="109523"/>
                  <a:pt x="267155" y="109011"/>
                  <a:pt x="267155" y="109011"/>
                </a:cubicBezTo>
                <a:cubicBezTo>
                  <a:pt x="268178" y="108499"/>
                  <a:pt x="269714" y="107476"/>
                  <a:pt x="270737" y="106452"/>
                </a:cubicBezTo>
                <a:cubicBezTo>
                  <a:pt x="271761" y="105429"/>
                  <a:pt x="273296" y="104917"/>
                  <a:pt x="274320" y="103894"/>
                </a:cubicBezTo>
                <a:cubicBezTo>
                  <a:pt x="275344" y="102870"/>
                  <a:pt x="276879" y="101846"/>
                  <a:pt x="277902" y="101335"/>
                </a:cubicBezTo>
                <a:cubicBezTo>
                  <a:pt x="278926" y="100311"/>
                  <a:pt x="280461" y="99287"/>
                  <a:pt x="281485" y="97752"/>
                </a:cubicBezTo>
                <a:cubicBezTo>
                  <a:pt x="282509" y="96728"/>
                  <a:pt x="283532" y="96217"/>
                  <a:pt x="284044" y="95193"/>
                </a:cubicBezTo>
                <a:lnTo>
                  <a:pt x="284044" y="95193"/>
                </a:lnTo>
                <a:cubicBezTo>
                  <a:pt x="285068" y="96217"/>
                  <a:pt x="286091" y="97240"/>
                  <a:pt x="287626" y="98264"/>
                </a:cubicBezTo>
                <a:cubicBezTo>
                  <a:pt x="287626" y="98776"/>
                  <a:pt x="288138" y="98776"/>
                  <a:pt x="288650" y="99287"/>
                </a:cubicBezTo>
                <a:cubicBezTo>
                  <a:pt x="289674" y="100311"/>
                  <a:pt x="290697" y="101335"/>
                  <a:pt x="291721" y="101846"/>
                </a:cubicBezTo>
                <a:cubicBezTo>
                  <a:pt x="292233" y="102358"/>
                  <a:pt x="292233" y="102358"/>
                  <a:pt x="292744" y="102870"/>
                </a:cubicBezTo>
                <a:cubicBezTo>
                  <a:pt x="293256" y="103382"/>
                  <a:pt x="293768" y="103894"/>
                  <a:pt x="294280" y="103894"/>
                </a:cubicBezTo>
                <a:cubicBezTo>
                  <a:pt x="296839" y="105941"/>
                  <a:pt x="299910" y="107988"/>
                  <a:pt x="302980" y="109523"/>
                </a:cubicBezTo>
                <a:cubicBezTo>
                  <a:pt x="304004" y="110035"/>
                  <a:pt x="305539" y="111058"/>
                  <a:pt x="306563" y="111570"/>
                </a:cubicBezTo>
                <a:cubicBezTo>
                  <a:pt x="307586" y="112082"/>
                  <a:pt x="309122" y="113106"/>
                  <a:pt x="310145" y="113617"/>
                </a:cubicBezTo>
                <a:cubicBezTo>
                  <a:pt x="313728" y="115153"/>
                  <a:pt x="317822" y="116688"/>
                  <a:pt x="321917" y="118224"/>
                </a:cubicBezTo>
                <a:cubicBezTo>
                  <a:pt x="320381" y="125389"/>
                  <a:pt x="319358" y="132554"/>
                  <a:pt x="319358" y="139719"/>
                </a:cubicBezTo>
                <a:cubicBezTo>
                  <a:pt x="319358" y="142790"/>
                  <a:pt x="319358" y="145860"/>
                  <a:pt x="319869" y="148931"/>
                </a:cubicBezTo>
                <a:cubicBezTo>
                  <a:pt x="319869" y="149443"/>
                  <a:pt x="319869" y="150466"/>
                  <a:pt x="319869" y="150978"/>
                </a:cubicBezTo>
                <a:cubicBezTo>
                  <a:pt x="319869" y="151490"/>
                  <a:pt x="319869" y="152514"/>
                  <a:pt x="320381" y="153025"/>
                </a:cubicBezTo>
                <a:cubicBezTo>
                  <a:pt x="320381" y="154049"/>
                  <a:pt x="320893" y="154561"/>
                  <a:pt x="320893" y="155584"/>
                </a:cubicBezTo>
                <a:cubicBezTo>
                  <a:pt x="320893" y="156608"/>
                  <a:pt x="321405" y="157120"/>
                  <a:pt x="321405" y="158143"/>
                </a:cubicBezTo>
                <a:cubicBezTo>
                  <a:pt x="321405" y="159167"/>
                  <a:pt x="321917" y="160702"/>
                  <a:pt x="322428" y="161726"/>
                </a:cubicBezTo>
                <a:cubicBezTo>
                  <a:pt x="322940" y="163261"/>
                  <a:pt x="322940" y="164285"/>
                  <a:pt x="323452" y="165308"/>
                </a:cubicBezTo>
                <a:cubicBezTo>
                  <a:pt x="324475" y="167867"/>
                  <a:pt x="324987" y="170426"/>
                  <a:pt x="326011" y="172985"/>
                </a:cubicBezTo>
                <a:cubicBezTo>
                  <a:pt x="326011" y="173497"/>
                  <a:pt x="326523" y="173497"/>
                  <a:pt x="326523" y="174009"/>
                </a:cubicBezTo>
                <a:cubicBezTo>
                  <a:pt x="312704" y="192433"/>
                  <a:pt x="291209" y="203693"/>
                  <a:pt x="268178" y="204716"/>
                </a:cubicBezTo>
                <a:cubicBezTo>
                  <a:pt x="267155" y="204716"/>
                  <a:pt x="266131" y="204716"/>
                  <a:pt x="265108" y="204716"/>
                </a:cubicBezTo>
                <a:cubicBezTo>
                  <a:pt x="264084" y="204716"/>
                  <a:pt x="262549" y="204716"/>
                  <a:pt x="261525" y="204716"/>
                </a:cubicBezTo>
                <a:cubicBezTo>
                  <a:pt x="238495" y="202669"/>
                  <a:pt x="217511" y="191410"/>
                  <a:pt x="203693" y="173497"/>
                </a:cubicBezTo>
                <a:close/>
                <a:moveTo>
                  <a:pt x="287115" y="282508"/>
                </a:moveTo>
                <a:lnTo>
                  <a:pt x="264596" y="296327"/>
                </a:lnTo>
                <a:lnTo>
                  <a:pt x="242077" y="282508"/>
                </a:lnTo>
                <a:lnTo>
                  <a:pt x="248730" y="221605"/>
                </a:lnTo>
                <a:lnTo>
                  <a:pt x="235936" y="208811"/>
                </a:lnTo>
                <a:cubicBezTo>
                  <a:pt x="239518" y="209834"/>
                  <a:pt x="242589" y="210858"/>
                  <a:pt x="246172" y="211881"/>
                </a:cubicBezTo>
                <a:cubicBezTo>
                  <a:pt x="247195" y="212393"/>
                  <a:pt x="248730" y="212393"/>
                  <a:pt x="249754" y="212905"/>
                </a:cubicBezTo>
                <a:cubicBezTo>
                  <a:pt x="251289" y="213417"/>
                  <a:pt x="253337" y="213417"/>
                  <a:pt x="254872" y="213929"/>
                </a:cubicBezTo>
                <a:cubicBezTo>
                  <a:pt x="256919" y="213929"/>
                  <a:pt x="258966" y="214440"/>
                  <a:pt x="261013" y="214440"/>
                </a:cubicBezTo>
                <a:cubicBezTo>
                  <a:pt x="262549" y="214440"/>
                  <a:pt x="263572" y="214440"/>
                  <a:pt x="265108" y="214440"/>
                </a:cubicBezTo>
                <a:cubicBezTo>
                  <a:pt x="266131" y="214440"/>
                  <a:pt x="267155" y="214440"/>
                  <a:pt x="268178" y="214440"/>
                </a:cubicBezTo>
                <a:cubicBezTo>
                  <a:pt x="270737" y="214440"/>
                  <a:pt x="272785" y="214440"/>
                  <a:pt x="275344" y="213929"/>
                </a:cubicBezTo>
                <a:cubicBezTo>
                  <a:pt x="276879" y="213929"/>
                  <a:pt x="278926" y="213417"/>
                  <a:pt x="280461" y="213417"/>
                </a:cubicBezTo>
                <a:cubicBezTo>
                  <a:pt x="281997" y="213417"/>
                  <a:pt x="283020" y="212905"/>
                  <a:pt x="284044" y="212393"/>
                </a:cubicBezTo>
                <a:cubicBezTo>
                  <a:pt x="287626" y="211881"/>
                  <a:pt x="290697" y="210858"/>
                  <a:pt x="294280" y="209322"/>
                </a:cubicBezTo>
                <a:lnTo>
                  <a:pt x="281485" y="222117"/>
                </a:lnTo>
                <a:lnTo>
                  <a:pt x="287115" y="282508"/>
                </a:lnTo>
                <a:close/>
                <a:moveTo>
                  <a:pt x="318846" y="216488"/>
                </a:moveTo>
                <a:cubicBezTo>
                  <a:pt x="311681" y="212905"/>
                  <a:pt x="304004" y="209834"/>
                  <a:pt x="296327" y="207787"/>
                </a:cubicBezTo>
                <a:cubicBezTo>
                  <a:pt x="309634" y="202669"/>
                  <a:pt x="321405" y="193969"/>
                  <a:pt x="331129" y="183221"/>
                </a:cubicBezTo>
                <a:cubicBezTo>
                  <a:pt x="333176" y="181174"/>
                  <a:pt x="334711" y="178615"/>
                  <a:pt x="336247" y="176568"/>
                </a:cubicBezTo>
                <a:cubicBezTo>
                  <a:pt x="336758" y="175544"/>
                  <a:pt x="337270" y="175032"/>
                  <a:pt x="337782" y="174009"/>
                </a:cubicBezTo>
                <a:cubicBezTo>
                  <a:pt x="342388" y="167355"/>
                  <a:pt x="345459" y="160191"/>
                  <a:pt x="348018" y="152514"/>
                </a:cubicBezTo>
                <a:lnTo>
                  <a:pt x="371560" y="152514"/>
                </a:lnTo>
                <a:cubicBezTo>
                  <a:pt x="345459" y="165308"/>
                  <a:pt x="326011" y="188851"/>
                  <a:pt x="318846" y="216488"/>
                </a:cubicBezTo>
                <a:close/>
                <a:moveTo>
                  <a:pt x="445258" y="152514"/>
                </a:moveTo>
                <a:cubicBezTo>
                  <a:pt x="442699" y="165308"/>
                  <a:pt x="431440" y="175032"/>
                  <a:pt x="418133" y="175032"/>
                </a:cubicBezTo>
                <a:cubicBezTo>
                  <a:pt x="404315" y="175032"/>
                  <a:pt x="393055" y="165308"/>
                  <a:pt x="391008" y="152514"/>
                </a:cubicBezTo>
                <a:cubicBezTo>
                  <a:pt x="391008" y="152002"/>
                  <a:pt x="390496" y="150978"/>
                  <a:pt x="390496" y="150466"/>
                </a:cubicBezTo>
                <a:cubicBezTo>
                  <a:pt x="392544" y="149955"/>
                  <a:pt x="394079" y="149443"/>
                  <a:pt x="396126" y="148931"/>
                </a:cubicBezTo>
                <a:cubicBezTo>
                  <a:pt x="396126" y="148931"/>
                  <a:pt x="396126" y="148931"/>
                  <a:pt x="396126" y="148931"/>
                </a:cubicBezTo>
                <a:cubicBezTo>
                  <a:pt x="402268" y="147907"/>
                  <a:pt x="408409" y="146884"/>
                  <a:pt x="415063" y="146884"/>
                </a:cubicBezTo>
                <a:lnTo>
                  <a:pt x="420692" y="146884"/>
                </a:lnTo>
                <a:cubicBezTo>
                  <a:pt x="427345" y="146884"/>
                  <a:pt x="433487" y="147396"/>
                  <a:pt x="439628" y="148931"/>
                </a:cubicBezTo>
                <a:cubicBezTo>
                  <a:pt x="441676" y="149443"/>
                  <a:pt x="443723" y="149955"/>
                  <a:pt x="445770" y="150466"/>
                </a:cubicBezTo>
                <a:cubicBezTo>
                  <a:pt x="445770" y="151490"/>
                  <a:pt x="445770" y="152002"/>
                  <a:pt x="445258" y="152514"/>
                </a:cubicBezTo>
                <a:close/>
                <a:moveTo>
                  <a:pt x="418133" y="142278"/>
                </a:moveTo>
                <a:lnTo>
                  <a:pt x="418133" y="142278"/>
                </a:lnTo>
                <a:cubicBezTo>
                  <a:pt x="398173" y="142278"/>
                  <a:pt x="379749" y="133066"/>
                  <a:pt x="367466" y="117712"/>
                </a:cubicBezTo>
                <a:cubicBezTo>
                  <a:pt x="368490" y="115153"/>
                  <a:pt x="369513" y="112594"/>
                  <a:pt x="370537" y="110035"/>
                </a:cubicBezTo>
                <a:cubicBezTo>
                  <a:pt x="370537" y="109523"/>
                  <a:pt x="371048" y="108499"/>
                  <a:pt x="371048" y="107988"/>
                </a:cubicBezTo>
                <a:cubicBezTo>
                  <a:pt x="371048" y="106964"/>
                  <a:pt x="371560" y="106452"/>
                  <a:pt x="371560" y="105429"/>
                </a:cubicBezTo>
                <a:cubicBezTo>
                  <a:pt x="371560" y="105429"/>
                  <a:pt x="371560" y="104917"/>
                  <a:pt x="371560" y="104917"/>
                </a:cubicBezTo>
                <a:cubicBezTo>
                  <a:pt x="372072" y="103382"/>
                  <a:pt x="372072" y="102358"/>
                  <a:pt x="372072" y="101335"/>
                </a:cubicBezTo>
                <a:cubicBezTo>
                  <a:pt x="372072" y="101335"/>
                  <a:pt x="372072" y="100823"/>
                  <a:pt x="372072" y="100823"/>
                </a:cubicBezTo>
                <a:cubicBezTo>
                  <a:pt x="372072" y="99799"/>
                  <a:pt x="372584" y="99287"/>
                  <a:pt x="372584" y="98264"/>
                </a:cubicBezTo>
                <a:cubicBezTo>
                  <a:pt x="372584" y="97240"/>
                  <a:pt x="372584" y="96728"/>
                  <a:pt x="373096" y="95705"/>
                </a:cubicBezTo>
                <a:cubicBezTo>
                  <a:pt x="373096" y="94169"/>
                  <a:pt x="373096" y="93146"/>
                  <a:pt x="373607" y="91610"/>
                </a:cubicBezTo>
                <a:cubicBezTo>
                  <a:pt x="374119" y="90075"/>
                  <a:pt x="373607" y="89051"/>
                  <a:pt x="373607" y="87516"/>
                </a:cubicBezTo>
                <a:cubicBezTo>
                  <a:pt x="373607" y="85981"/>
                  <a:pt x="373607" y="84446"/>
                  <a:pt x="373607" y="82910"/>
                </a:cubicBezTo>
                <a:cubicBezTo>
                  <a:pt x="373607" y="81375"/>
                  <a:pt x="373607" y="79328"/>
                  <a:pt x="373096" y="77792"/>
                </a:cubicBezTo>
                <a:cubicBezTo>
                  <a:pt x="373096" y="76257"/>
                  <a:pt x="372584" y="74210"/>
                  <a:pt x="372072" y="72674"/>
                </a:cubicBezTo>
                <a:lnTo>
                  <a:pt x="391008" y="72674"/>
                </a:lnTo>
                <a:cubicBezTo>
                  <a:pt x="392032" y="72674"/>
                  <a:pt x="392544" y="72674"/>
                  <a:pt x="393567" y="72162"/>
                </a:cubicBezTo>
                <a:cubicBezTo>
                  <a:pt x="394591" y="72162"/>
                  <a:pt x="395103" y="72162"/>
                  <a:pt x="396126" y="71651"/>
                </a:cubicBezTo>
                <a:cubicBezTo>
                  <a:pt x="397150" y="71651"/>
                  <a:pt x="398173" y="71139"/>
                  <a:pt x="398685" y="71139"/>
                </a:cubicBezTo>
                <a:cubicBezTo>
                  <a:pt x="399197" y="71139"/>
                  <a:pt x="399709" y="71139"/>
                  <a:pt x="399709" y="70627"/>
                </a:cubicBezTo>
                <a:cubicBezTo>
                  <a:pt x="401756" y="70115"/>
                  <a:pt x="403803" y="69603"/>
                  <a:pt x="405850" y="69092"/>
                </a:cubicBezTo>
                <a:cubicBezTo>
                  <a:pt x="408409" y="68068"/>
                  <a:pt x="410968" y="67045"/>
                  <a:pt x="413527" y="66021"/>
                </a:cubicBezTo>
                <a:cubicBezTo>
                  <a:pt x="415063" y="64997"/>
                  <a:pt x="416598" y="64486"/>
                  <a:pt x="418133" y="63462"/>
                </a:cubicBezTo>
                <a:cubicBezTo>
                  <a:pt x="418645" y="63462"/>
                  <a:pt x="419157" y="62950"/>
                  <a:pt x="419669" y="62438"/>
                </a:cubicBezTo>
                <a:cubicBezTo>
                  <a:pt x="419669" y="62438"/>
                  <a:pt x="419669" y="62438"/>
                  <a:pt x="419669" y="62438"/>
                </a:cubicBezTo>
                <a:cubicBezTo>
                  <a:pt x="421716" y="60903"/>
                  <a:pt x="423763" y="59879"/>
                  <a:pt x="425810" y="58344"/>
                </a:cubicBezTo>
                <a:cubicBezTo>
                  <a:pt x="428881" y="56297"/>
                  <a:pt x="431440" y="53738"/>
                  <a:pt x="433999" y="51179"/>
                </a:cubicBezTo>
                <a:lnTo>
                  <a:pt x="433999" y="51179"/>
                </a:lnTo>
                <a:cubicBezTo>
                  <a:pt x="434511" y="51179"/>
                  <a:pt x="434511" y="51691"/>
                  <a:pt x="435022" y="51691"/>
                </a:cubicBezTo>
                <a:cubicBezTo>
                  <a:pt x="435022" y="52202"/>
                  <a:pt x="435534" y="52202"/>
                  <a:pt x="436046" y="52714"/>
                </a:cubicBezTo>
                <a:cubicBezTo>
                  <a:pt x="436558" y="53226"/>
                  <a:pt x="437069" y="53738"/>
                  <a:pt x="437581" y="54250"/>
                </a:cubicBezTo>
                <a:cubicBezTo>
                  <a:pt x="438605" y="55273"/>
                  <a:pt x="440140" y="56297"/>
                  <a:pt x="441164" y="57320"/>
                </a:cubicBezTo>
                <a:cubicBezTo>
                  <a:pt x="442187" y="58344"/>
                  <a:pt x="443211" y="58856"/>
                  <a:pt x="444235" y="59879"/>
                </a:cubicBezTo>
                <a:cubicBezTo>
                  <a:pt x="445258" y="60391"/>
                  <a:pt x="445770" y="61415"/>
                  <a:pt x="446793" y="61927"/>
                </a:cubicBezTo>
                <a:cubicBezTo>
                  <a:pt x="447817" y="62438"/>
                  <a:pt x="448329" y="62950"/>
                  <a:pt x="449352" y="63462"/>
                </a:cubicBezTo>
                <a:cubicBezTo>
                  <a:pt x="450376" y="63974"/>
                  <a:pt x="450888" y="64486"/>
                  <a:pt x="451911" y="64997"/>
                </a:cubicBezTo>
                <a:cubicBezTo>
                  <a:pt x="452423" y="64997"/>
                  <a:pt x="452935" y="65509"/>
                  <a:pt x="453447" y="65509"/>
                </a:cubicBezTo>
                <a:cubicBezTo>
                  <a:pt x="454470" y="66021"/>
                  <a:pt x="454982" y="66533"/>
                  <a:pt x="456006" y="67045"/>
                </a:cubicBezTo>
                <a:cubicBezTo>
                  <a:pt x="456517" y="67556"/>
                  <a:pt x="457541" y="67556"/>
                  <a:pt x="458053" y="68068"/>
                </a:cubicBezTo>
                <a:cubicBezTo>
                  <a:pt x="459076" y="68580"/>
                  <a:pt x="459588" y="68580"/>
                  <a:pt x="460612" y="69092"/>
                </a:cubicBezTo>
                <a:cubicBezTo>
                  <a:pt x="462147" y="69603"/>
                  <a:pt x="463683" y="70115"/>
                  <a:pt x="464706" y="70627"/>
                </a:cubicBezTo>
                <a:cubicBezTo>
                  <a:pt x="464706" y="71651"/>
                  <a:pt x="464194" y="72674"/>
                  <a:pt x="464194" y="73186"/>
                </a:cubicBezTo>
                <a:cubicBezTo>
                  <a:pt x="463683" y="74721"/>
                  <a:pt x="463683" y="76769"/>
                  <a:pt x="463171" y="78304"/>
                </a:cubicBezTo>
                <a:cubicBezTo>
                  <a:pt x="463171" y="79839"/>
                  <a:pt x="462659" y="81887"/>
                  <a:pt x="462659" y="83422"/>
                </a:cubicBezTo>
                <a:cubicBezTo>
                  <a:pt x="462659" y="84957"/>
                  <a:pt x="462659" y="86493"/>
                  <a:pt x="462659" y="88028"/>
                </a:cubicBezTo>
                <a:cubicBezTo>
                  <a:pt x="462659" y="89563"/>
                  <a:pt x="462659" y="90587"/>
                  <a:pt x="462659" y="91610"/>
                </a:cubicBezTo>
                <a:cubicBezTo>
                  <a:pt x="462659" y="92122"/>
                  <a:pt x="462659" y="93146"/>
                  <a:pt x="462659" y="93658"/>
                </a:cubicBezTo>
                <a:cubicBezTo>
                  <a:pt x="462659" y="94681"/>
                  <a:pt x="462659" y="95193"/>
                  <a:pt x="462659" y="96217"/>
                </a:cubicBezTo>
                <a:cubicBezTo>
                  <a:pt x="462659" y="97752"/>
                  <a:pt x="463171" y="98776"/>
                  <a:pt x="463171" y="100311"/>
                </a:cubicBezTo>
                <a:cubicBezTo>
                  <a:pt x="463171" y="101846"/>
                  <a:pt x="463683" y="102870"/>
                  <a:pt x="464194" y="104405"/>
                </a:cubicBezTo>
                <a:cubicBezTo>
                  <a:pt x="464706" y="105941"/>
                  <a:pt x="464706" y="106964"/>
                  <a:pt x="465218" y="108499"/>
                </a:cubicBezTo>
                <a:cubicBezTo>
                  <a:pt x="465730" y="110035"/>
                  <a:pt x="466242" y="111058"/>
                  <a:pt x="466242" y="112594"/>
                </a:cubicBezTo>
                <a:cubicBezTo>
                  <a:pt x="466753" y="113617"/>
                  <a:pt x="466753" y="114641"/>
                  <a:pt x="467265" y="115665"/>
                </a:cubicBezTo>
                <a:cubicBezTo>
                  <a:pt x="467265" y="116176"/>
                  <a:pt x="467777" y="117200"/>
                  <a:pt x="467777" y="117712"/>
                </a:cubicBezTo>
                <a:cubicBezTo>
                  <a:pt x="457029" y="133066"/>
                  <a:pt x="438093" y="142278"/>
                  <a:pt x="418133" y="142278"/>
                </a:cubicBezTo>
                <a:close/>
              </a:path>
            </a:pathLst>
          </a:custGeom>
          <a:solidFill>
            <a:schemeClr val="bg2"/>
          </a:solidFill>
          <a:ln w="511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nvGrpSpPr>
          <p:cNvPr id="63" name="Graphic 1">
            <a:extLst>
              <a:ext uri="{FF2B5EF4-FFF2-40B4-BE49-F238E27FC236}">
                <a16:creationId xmlns:a16="http://schemas.microsoft.com/office/drawing/2014/main" id="{B1C81E2D-4650-4497-8B6F-D9ADBB054BF8}"/>
              </a:ext>
            </a:extLst>
          </p:cNvPr>
          <p:cNvGrpSpPr/>
          <p:nvPr/>
        </p:nvGrpSpPr>
        <p:grpSpPr>
          <a:xfrm>
            <a:off x="3500360" y="4654690"/>
            <a:ext cx="319132" cy="229036"/>
            <a:chOff x="4137887" y="24034"/>
            <a:chExt cx="522026" cy="374650"/>
          </a:xfrm>
          <a:solidFill>
            <a:schemeClr val="accent1"/>
          </a:solidFill>
        </p:grpSpPr>
        <p:sp>
          <p:nvSpPr>
            <p:cNvPr id="64" name="Freeform: Shape 70">
              <a:extLst>
                <a:ext uri="{FF2B5EF4-FFF2-40B4-BE49-F238E27FC236}">
                  <a16:creationId xmlns:a16="http://schemas.microsoft.com/office/drawing/2014/main" id="{5D4B31C6-FCC0-43D6-B695-F1C2F7C3FD75}"/>
                </a:ext>
              </a:extLst>
            </p:cNvPr>
            <p:cNvSpPr/>
            <p:nvPr/>
          </p:nvSpPr>
          <p:spPr>
            <a:xfrm>
              <a:off x="4137887" y="388449"/>
              <a:ext cx="522026" cy="10235"/>
            </a:xfrm>
            <a:custGeom>
              <a:avLst/>
              <a:gdLst>
                <a:gd name="connsiteX0" fmla="*/ 516909 w 522026"/>
                <a:gd name="connsiteY0" fmla="*/ 0 h 10235"/>
                <a:gd name="connsiteX1" fmla="*/ 5118 w 522026"/>
                <a:gd name="connsiteY1" fmla="*/ 0 h 10235"/>
                <a:gd name="connsiteX2" fmla="*/ 0 w 522026"/>
                <a:gd name="connsiteY2" fmla="*/ 5118 h 10235"/>
                <a:gd name="connsiteX3" fmla="*/ 5118 w 522026"/>
                <a:gd name="connsiteY3" fmla="*/ 10236 h 10235"/>
                <a:gd name="connsiteX4" fmla="*/ 516909 w 522026"/>
                <a:gd name="connsiteY4" fmla="*/ 10236 h 10235"/>
                <a:gd name="connsiteX5" fmla="*/ 522027 w 522026"/>
                <a:gd name="connsiteY5" fmla="*/ 5118 h 10235"/>
                <a:gd name="connsiteX6" fmla="*/ 516909 w 522026"/>
                <a:gd name="connsiteY6" fmla="*/ 0 h 102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22026" h="10235">
                  <a:moveTo>
                    <a:pt x="516909" y="0"/>
                  </a:moveTo>
                  <a:lnTo>
                    <a:pt x="5118" y="0"/>
                  </a:lnTo>
                  <a:cubicBezTo>
                    <a:pt x="2047" y="0"/>
                    <a:pt x="0" y="2047"/>
                    <a:pt x="0" y="5118"/>
                  </a:cubicBezTo>
                  <a:cubicBezTo>
                    <a:pt x="0" y="8189"/>
                    <a:pt x="2047" y="10236"/>
                    <a:pt x="5118" y="10236"/>
                  </a:cubicBezTo>
                  <a:lnTo>
                    <a:pt x="516909" y="10236"/>
                  </a:lnTo>
                  <a:cubicBezTo>
                    <a:pt x="519980" y="10236"/>
                    <a:pt x="522027" y="8189"/>
                    <a:pt x="522027" y="5118"/>
                  </a:cubicBezTo>
                  <a:cubicBezTo>
                    <a:pt x="522027" y="2047"/>
                    <a:pt x="519980" y="0"/>
                    <a:pt x="516909" y="0"/>
                  </a:cubicBezTo>
                  <a:close/>
                </a:path>
              </a:pathLst>
            </a:custGeom>
            <a:grpFill/>
            <a:ln w="511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65" name="Freeform: Shape 71">
              <a:extLst>
                <a:ext uri="{FF2B5EF4-FFF2-40B4-BE49-F238E27FC236}">
                  <a16:creationId xmlns:a16="http://schemas.microsoft.com/office/drawing/2014/main" id="{CAA09EF3-0414-4B97-BA74-0E635A31DF4F}"/>
                </a:ext>
              </a:extLst>
            </p:cNvPr>
            <p:cNvSpPr/>
            <p:nvPr/>
          </p:nvSpPr>
          <p:spPr>
            <a:xfrm>
              <a:off x="4548344" y="275343"/>
              <a:ext cx="84957" cy="74209"/>
            </a:xfrm>
            <a:custGeom>
              <a:avLst/>
              <a:gdLst>
                <a:gd name="connsiteX0" fmla="*/ 0 w 84957"/>
                <a:gd name="connsiteY0" fmla="*/ 5118 h 74209"/>
                <a:gd name="connsiteX1" fmla="*/ 0 w 84957"/>
                <a:gd name="connsiteY1" fmla="*/ 69092 h 74209"/>
                <a:gd name="connsiteX2" fmla="*/ 5118 w 84957"/>
                <a:gd name="connsiteY2" fmla="*/ 74210 h 74209"/>
                <a:gd name="connsiteX3" fmla="*/ 79839 w 84957"/>
                <a:gd name="connsiteY3" fmla="*/ 74210 h 74209"/>
                <a:gd name="connsiteX4" fmla="*/ 84957 w 84957"/>
                <a:gd name="connsiteY4" fmla="*/ 69092 h 74209"/>
                <a:gd name="connsiteX5" fmla="*/ 84957 w 84957"/>
                <a:gd name="connsiteY5" fmla="*/ 5118 h 74209"/>
                <a:gd name="connsiteX6" fmla="*/ 79839 w 84957"/>
                <a:gd name="connsiteY6" fmla="*/ 0 h 74209"/>
                <a:gd name="connsiteX7" fmla="*/ 5118 w 84957"/>
                <a:gd name="connsiteY7" fmla="*/ 0 h 74209"/>
                <a:gd name="connsiteX8" fmla="*/ 0 w 84957"/>
                <a:gd name="connsiteY8" fmla="*/ 5118 h 742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957" h="74209">
                  <a:moveTo>
                    <a:pt x="0" y="5118"/>
                  </a:moveTo>
                  <a:lnTo>
                    <a:pt x="0" y="69092"/>
                  </a:lnTo>
                  <a:cubicBezTo>
                    <a:pt x="0" y="72163"/>
                    <a:pt x="2047" y="74210"/>
                    <a:pt x="5118" y="74210"/>
                  </a:cubicBezTo>
                  <a:lnTo>
                    <a:pt x="79839" y="74210"/>
                  </a:lnTo>
                  <a:cubicBezTo>
                    <a:pt x="82910" y="74210"/>
                    <a:pt x="84957" y="72163"/>
                    <a:pt x="84957" y="69092"/>
                  </a:cubicBezTo>
                  <a:lnTo>
                    <a:pt x="84957" y="5118"/>
                  </a:lnTo>
                  <a:cubicBezTo>
                    <a:pt x="84957" y="2047"/>
                    <a:pt x="82910" y="0"/>
                    <a:pt x="79839" y="0"/>
                  </a:cubicBezTo>
                  <a:lnTo>
                    <a:pt x="5118" y="0"/>
                  </a:lnTo>
                  <a:cubicBezTo>
                    <a:pt x="2559" y="0"/>
                    <a:pt x="0" y="2047"/>
                    <a:pt x="0" y="5118"/>
                  </a:cubicBezTo>
                  <a:close/>
                </a:path>
              </a:pathLst>
            </a:custGeom>
            <a:grpFill/>
            <a:ln w="511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66" name="Freeform: Shape 72">
              <a:extLst>
                <a:ext uri="{FF2B5EF4-FFF2-40B4-BE49-F238E27FC236}">
                  <a16:creationId xmlns:a16="http://schemas.microsoft.com/office/drawing/2014/main" id="{6691BE57-34A3-4610-990D-54909900F443}"/>
                </a:ext>
              </a:extLst>
            </p:cNvPr>
            <p:cNvSpPr/>
            <p:nvPr/>
          </p:nvSpPr>
          <p:spPr>
            <a:xfrm>
              <a:off x="4420396" y="209834"/>
              <a:ext cx="84957" cy="138183"/>
            </a:xfrm>
            <a:custGeom>
              <a:avLst/>
              <a:gdLst>
                <a:gd name="connsiteX0" fmla="*/ 5118 w 84957"/>
                <a:gd name="connsiteY0" fmla="*/ 0 h 138183"/>
                <a:gd name="connsiteX1" fmla="*/ 0 w 84957"/>
                <a:gd name="connsiteY1" fmla="*/ 5118 h 138183"/>
                <a:gd name="connsiteX2" fmla="*/ 0 w 84957"/>
                <a:gd name="connsiteY2" fmla="*/ 133066 h 138183"/>
                <a:gd name="connsiteX3" fmla="*/ 5118 w 84957"/>
                <a:gd name="connsiteY3" fmla="*/ 138184 h 138183"/>
                <a:gd name="connsiteX4" fmla="*/ 79839 w 84957"/>
                <a:gd name="connsiteY4" fmla="*/ 138184 h 138183"/>
                <a:gd name="connsiteX5" fmla="*/ 84957 w 84957"/>
                <a:gd name="connsiteY5" fmla="*/ 133066 h 138183"/>
                <a:gd name="connsiteX6" fmla="*/ 84957 w 84957"/>
                <a:gd name="connsiteY6" fmla="*/ 5118 h 138183"/>
                <a:gd name="connsiteX7" fmla="*/ 79839 w 84957"/>
                <a:gd name="connsiteY7" fmla="*/ 0 h 138183"/>
                <a:gd name="connsiteX8" fmla="*/ 5118 w 84957"/>
                <a:gd name="connsiteY8" fmla="*/ 0 h 1381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957" h="138183">
                  <a:moveTo>
                    <a:pt x="5118" y="0"/>
                  </a:moveTo>
                  <a:cubicBezTo>
                    <a:pt x="2047" y="0"/>
                    <a:pt x="0" y="2047"/>
                    <a:pt x="0" y="5118"/>
                  </a:cubicBezTo>
                  <a:lnTo>
                    <a:pt x="0" y="133066"/>
                  </a:lnTo>
                  <a:cubicBezTo>
                    <a:pt x="0" y="136136"/>
                    <a:pt x="2047" y="138184"/>
                    <a:pt x="5118" y="138184"/>
                  </a:cubicBezTo>
                  <a:lnTo>
                    <a:pt x="79839" y="138184"/>
                  </a:lnTo>
                  <a:cubicBezTo>
                    <a:pt x="82910" y="138184"/>
                    <a:pt x="84957" y="136136"/>
                    <a:pt x="84957" y="133066"/>
                  </a:cubicBezTo>
                  <a:lnTo>
                    <a:pt x="84957" y="5118"/>
                  </a:lnTo>
                  <a:cubicBezTo>
                    <a:pt x="84957" y="2047"/>
                    <a:pt x="82910" y="0"/>
                    <a:pt x="79839" y="0"/>
                  </a:cubicBezTo>
                  <a:lnTo>
                    <a:pt x="5118" y="0"/>
                  </a:lnTo>
                  <a:close/>
                </a:path>
              </a:pathLst>
            </a:custGeom>
            <a:grpFill/>
            <a:ln w="511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67" name="Freeform: Shape 73">
              <a:extLst>
                <a:ext uri="{FF2B5EF4-FFF2-40B4-BE49-F238E27FC236}">
                  <a16:creationId xmlns:a16="http://schemas.microsoft.com/office/drawing/2014/main" id="{39ABDF66-8729-4A35-B269-DE483A7C6B28}"/>
                </a:ext>
              </a:extLst>
            </p:cNvPr>
            <p:cNvSpPr/>
            <p:nvPr/>
          </p:nvSpPr>
          <p:spPr>
            <a:xfrm>
              <a:off x="4292448" y="144836"/>
              <a:ext cx="84957" cy="202157"/>
            </a:xfrm>
            <a:custGeom>
              <a:avLst/>
              <a:gdLst>
                <a:gd name="connsiteX0" fmla="*/ 5118 w 84957"/>
                <a:gd name="connsiteY0" fmla="*/ 0 h 202157"/>
                <a:gd name="connsiteX1" fmla="*/ 0 w 84957"/>
                <a:gd name="connsiteY1" fmla="*/ 5118 h 202157"/>
                <a:gd name="connsiteX2" fmla="*/ 0 w 84957"/>
                <a:gd name="connsiteY2" fmla="*/ 197040 h 202157"/>
                <a:gd name="connsiteX3" fmla="*/ 5118 w 84957"/>
                <a:gd name="connsiteY3" fmla="*/ 202157 h 202157"/>
                <a:gd name="connsiteX4" fmla="*/ 79839 w 84957"/>
                <a:gd name="connsiteY4" fmla="*/ 202157 h 202157"/>
                <a:gd name="connsiteX5" fmla="*/ 84957 w 84957"/>
                <a:gd name="connsiteY5" fmla="*/ 197040 h 202157"/>
                <a:gd name="connsiteX6" fmla="*/ 84957 w 84957"/>
                <a:gd name="connsiteY6" fmla="*/ 5118 h 202157"/>
                <a:gd name="connsiteX7" fmla="*/ 79839 w 84957"/>
                <a:gd name="connsiteY7" fmla="*/ 0 h 202157"/>
                <a:gd name="connsiteX8" fmla="*/ 5118 w 84957"/>
                <a:gd name="connsiteY8" fmla="*/ 0 h 2021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957" h="202157">
                  <a:moveTo>
                    <a:pt x="5118" y="0"/>
                  </a:moveTo>
                  <a:cubicBezTo>
                    <a:pt x="2047" y="0"/>
                    <a:pt x="0" y="2047"/>
                    <a:pt x="0" y="5118"/>
                  </a:cubicBezTo>
                  <a:lnTo>
                    <a:pt x="0" y="197040"/>
                  </a:lnTo>
                  <a:cubicBezTo>
                    <a:pt x="0" y="200110"/>
                    <a:pt x="2047" y="202157"/>
                    <a:pt x="5118" y="202157"/>
                  </a:cubicBezTo>
                  <a:lnTo>
                    <a:pt x="79839" y="202157"/>
                  </a:lnTo>
                  <a:cubicBezTo>
                    <a:pt x="82910" y="202157"/>
                    <a:pt x="84957" y="200110"/>
                    <a:pt x="84957" y="197040"/>
                  </a:cubicBezTo>
                  <a:lnTo>
                    <a:pt x="84957" y="5118"/>
                  </a:lnTo>
                  <a:cubicBezTo>
                    <a:pt x="84957" y="2047"/>
                    <a:pt x="82910" y="0"/>
                    <a:pt x="79839" y="0"/>
                  </a:cubicBezTo>
                  <a:lnTo>
                    <a:pt x="5118" y="0"/>
                  </a:lnTo>
                  <a:close/>
                </a:path>
              </a:pathLst>
            </a:custGeom>
            <a:grpFill/>
            <a:ln w="511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68" name="Freeform: Shape 74">
              <a:extLst>
                <a:ext uri="{FF2B5EF4-FFF2-40B4-BE49-F238E27FC236}">
                  <a16:creationId xmlns:a16="http://schemas.microsoft.com/office/drawing/2014/main" id="{0A14E541-DCBA-4858-8D89-85DC32C04EAC}"/>
                </a:ext>
              </a:extLst>
            </p:cNvPr>
            <p:cNvSpPr/>
            <p:nvPr/>
          </p:nvSpPr>
          <p:spPr>
            <a:xfrm>
              <a:off x="4164500" y="79327"/>
              <a:ext cx="84957" cy="266131"/>
            </a:xfrm>
            <a:custGeom>
              <a:avLst/>
              <a:gdLst>
                <a:gd name="connsiteX0" fmla="*/ 5118 w 84957"/>
                <a:gd name="connsiteY0" fmla="*/ 266131 h 266131"/>
                <a:gd name="connsiteX1" fmla="*/ 79839 w 84957"/>
                <a:gd name="connsiteY1" fmla="*/ 266131 h 266131"/>
                <a:gd name="connsiteX2" fmla="*/ 84957 w 84957"/>
                <a:gd name="connsiteY2" fmla="*/ 261013 h 266131"/>
                <a:gd name="connsiteX3" fmla="*/ 84957 w 84957"/>
                <a:gd name="connsiteY3" fmla="*/ 5118 h 266131"/>
                <a:gd name="connsiteX4" fmla="*/ 79839 w 84957"/>
                <a:gd name="connsiteY4" fmla="*/ 0 h 266131"/>
                <a:gd name="connsiteX5" fmla="*/ 5118 w 84957"/>
                <a:gd name="connsiteY5" fmla="*/ 0 h 266131"/>
                <a:gd name="connsiteX6" fmla="*/ 0 w 84957"/>
                <a:gd name="connsiteY6" fmla="*/ 5118 h 266131"/>
                <a:gd name="connsiteX7" fmla="*/ 0 w 84957"/>
                <a:gd name="connsiteY7" fmla="*/ 261013 h 266131"/>
                <a:gd name="connsiteX8" fmla="*/ 5118 w 84957"/>
                <a:gd name="connsiteY8" fmla="*/ 266131 h 2661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957" h="266131">
                  <a:moveTo>
                    <a:pt x="5118" y="266131"/>
                  </a:moveTo>
                  <a:lnTo>
                    <a:pt x="79839" y="266131"/>
                  </a:lnTo>
                  <a:cubicBezTo>
                    <a:pt x="82910" y="266131"/>
                    <a:pt x="84957" y="264084"/>
                    <a:pt x="84957" y="261013"/>
                  </a:cubicBezTo>
                  <a:lnTo>
                    <a:pt x="84957" y="5118"/>
                  </a:lnTo>
                  <a:cubicBezTo>
                    <a:pt x="84957" y="2047"/>
                    <a:pt x="82910" y="0"/>
                    <a:pt x="79839" y="0"/>
                  </a:cubicBezTo>
                  <a:lnTo>
                    <a:pt x="5118" y="0"/>
                  </a:lnTo>
                  <a:cubicBezTo>
                    <a:pt x="2047" y="0"/>
                    <a:pt x="0" y="2047"/>
                    <a:pt x="0" y="5118"/>
                  </a:cubicBezTo>
                  <a:lnTo>
                    <a:pt x="0" y="261013"/>
                  </a:lnTo>
                  <a:cubicBezTo>
                    <a:pt x="0" y="264084"/>
                    <a:pt x="2559" y="266131"/>
                    <a:pt x="5118" y="266131"/>
                  </a:cubicBezTo>
                  <a:close/>
                </a:path>
              </a:pathLst>
            </a:custGeom>
            <a:grpFill/>
            <a:ln w="511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69" name="Freeform: Shape 75">
              <a:extLst>
                <a:ext uri="{FF2B5EF4-FFF2-40B4-BE49-F238E27FC236}">
                  <a16:creationId xmlns:a16="http://schemas.microsoft.com/office/drawing/2014/main" id="{84E8B724-B0A1-40AC-8A83-BC3C15895203}"/>
                </a:ext>
              </a:extLst>
            </p:cNvPr>
            <p:cNvSpPr/>
            <p:nvPr/>
          </p:nvSpPr>
          <p:spPr>
            <a:xfrm>
              <a:off x="4274356" y="24034"/>
              <a:ext cx="316977" cy="188870"/>
            </a:xfrm>
            <a:custGeom>
              <a:avLst/>
              <a:gdLst>
                <a:gd name="connsiteX0" fmla="*/ 3762 w 316977"/>
                <a:gd name="connsiteY0" fmla="*/ 14350 h 188870"/>
                <a:gd name="connsiteX1" fmla="*/ 255563 w 316977"/>
                <a:gd name="connsiteY1" fmla="*/ 161746 h 188870"/>
                <a:gd name="connsiteX2" fmla="*/ 240209 w 316977"/>
                <a:gd name="connsiteY2" fmla="*/ 188359 h 188870"/>
                <a:gd name="connsiteX3" fmla="*/ 316978 w 316977"/>
                <a:gd name="connsiteY3" fmla="*/ 188871 h 188870"/>
                <a:gd name="connsiteX4" fmla="*/ 279105 w 316977"/>
                <a:gd name="connsiteY4" fmla="*/ 122338 h 188870"/>
                <a:gd name="connsiteX5" fmla="*/ 263752 w 316977"/>
                <a:gd name="connsiteY5" fmla="*/ 148951 h 188870"/>
                <a:gd name="connsiteX6" fmla="*/ 11439 w 316977"/>
                <a:gd name="connsiteY6" fmla="*/ 1043 h 188870"/>
                <a:gd name="connsiteX7" fmla="*/ 691 w 316977"/>
                <a:gd name="connsiteY7" fmla="*/ 3602 h 188870"/>
                <a:gd name="connsiteX8" fmla="*/ 3762 w 316977"/>
                <a:gd name="connsiteY8" fmla="*/ 14350 h 1888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6977" h="188870">
                  <a:moveTo>
                    <a:pt x="3762" y="14350"/>
                  </a:moveTo>
                  <a:lnTo>
                    <a:pt x="255563" y="161746"/>
                  </a:lnTo>
                  <a:lnTo>
                    <a:pt x="240209" y="188359"/>
                  </a:lnTo>
                  <a:lnTo>
                    <a:pt x="316978" y="188871"/>
                  </a:lnTo>
                  <a:lnTo>
                    <a:pt x="279105" y="122338"/>
                  </a:lnTo>
                  <a:lnTo>
                    <a:pt x="263752" y="148951"/>
                  </a:lnTo>
                  <a:lnTo>
                    <a:pt x="11439" y="1043"/>
                  </a:lnTo>
                  <a:cubicBezTo>
                    <a:pt x="7856" y="-1004"/>
                    <a:pt x="3250" y="20"/>
                    <a:pt x="691" y="3602"/>
                  </a:cubicBezTo>
                  <a:cubicBezTo>
                    <a:pt x="-844" y="7185"/>
                    <a:pt x="179" y="12303"/>
                    <a:pt x="3762" y="14350"/>
                  </a:cubicBezTo>
                  <a:close/>
                </a:path>
              </a:pathLst>
            </a:custGeom>
            <a:grpFill/>
            <a:ln w="511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grpSp>
        <p:nvGrpSpPr>
          <p:cNvPr id="70" name="Graphic 1">
            <a:extLst>
              <a:ext uri="{FF2B5EF4-FFF2-40B4-BE49-F238E27FC236}">
                <a16:creationId xmlns:a16="http://schemas.microsoft.com/office/drawing/2014/main" id="{39A8581D-CE9D-421A-B25A-276331E1EBD1}"/>
              </a:ext>
            </a:extLst>
          </p:cNvPr>
          <p:cNvGrpSpPr/>
          <p:nvPr/>
        </p:nvGrpSpPr>
        <p:grpSpPr>
          <a:xfrm>
            <a:off x="3997873" y="5917600"/>
            <a:ext cx="319132" cy="224330"/>
            <a:chOff x="3542674" y="31731"/>
            <a:chExt cx="522026" cy="366954"/>
          </a:xfrm>
          <a:solidFill>
            <a:schemeClr val="accent1"/>
          </a:solidFill>
        </p:grpSpPr>
        <p:sp>
          <p:nvSpPr>
            <p:cNvPr id="71" name="Freeform: Shape 77">
              <a:extLst>
                <a:ext uri="{FF2B5EF4-FFF2-40B4-BE49-F238E27FC236}">
                  <a16:creationId xmlns:a16="http://schemas.microsoft.com/office/drawing/2014/main" id="{88DF52A7-AA1C-449E-B1FA-B4AEBEDC0E14}"/>
                </a:ext>
              </a:extLst>
            </p:cNvPr>
            <p:cNvSpPr/>
            <p:nvPr/>
          </p:nvSpPr>
          <p:spPr>
            <a:xfrm>
              <a:off x="3542674" y="388449"/>
              <a:ext cx="522026" cy="10235"/>
            </a:xfrm>
            <a:custGeom>
              <a:avLst/>
              <a:gdLst>
                <a:gd name="connsiteX0" fmla="*/ 516909 w 522026"/>
                <a:gd name="connsiteY0" fmla="*/ 10236 h 10235"/>
                <a:gd name="connsiteX1" fmla="*/ 5118 w 522026"/>
                <a:gd name="connsiteY1" fmla="*/ 10236 h 10235"/>
                <a:gd name="connsiteX2" fmla="*/ 0 w 522026"/>
                <a:gd name="connsiteY2" fmla="*/ 5118 h 10235"/>
                <a:gd name="connsiteX3" fmla="*/ 5118 w 522026"/>
                <a:gd name="connsiteY3" fmla="*/ 0 h 10235"/>
                <a:gd name="connsiteX4" fmla="*/ 516909 w 522026"/>
                <a:gd name="connsiteY4" fmla="*/ 0 h 10235"/>
                <a:gd name="connsiteX5" fmla="*/ 522027 w 522026"/>
                <a:gd name="connsiteY5" fmla="*/ 5118 h 10235"/>
                <a:gd name="connsiteX6" fmla="*/ 516909 w 522026"/>
                <a:gd name="connsiteY6" fmla="*/ 10236 h 102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22026" h="10235">
                  <a:moveTo>
                    <a:pt x="516909" y="10236"/>
                  </a:moveTo>
                  <a:lnTo>
                    <a:pt x="5118" y="10236"/>
                  </a:lnTo>
                  <a:cubicBezTo>
                    <a:pt x="2047" y="10236"/>
                    <a:pt x="0" y="8189"/>
                    <a:pt x="0" y="5118"/>
                  </a:cubicBezTo>
                  <a:cubicBezTo>
                    <a:pt x="0" y="2047"/>
                    <a:pt x="2047" y="0"/>
                    <a:pt x="5118" y="0"/>
                  </a:cubicBezTo>
                  <a:lnTo>
                    <a:pt x="516909" y="0"/>
                  </a:lnTo>
                  <a:cubicBezTo>
                    <a:pt x="519980" y="0"/>
                    <a:pt x="522027" y="2047"/>
                    <a:pt x="522027" y="5118"/>
                  </a:cubicBezTo>
                  <a:cubicBezTo>
                    <a:pt x="522027" y="8189"/>
                    <a:pt x="519468" y="10236"/>
                    <a:pt x="516909" y="10236"/>
                  </a:cubicBezTo>
                  <a:close/>
                </a:path>
              </a:pathLst>
            </a:custGeom>
            <a:grpFill/>
            <a:ln w="511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nvGrpSpPr>
            <p:cNvPr id="72" name="Graphic 1">
              <a:extLst>
                <a:ext uri="{FF2B5EF4-FFF2-40B4-BE49-F238E27FC236}">
                  <a16:creationId xmlns:a16="http://schemas.microsoft.com/office/drawing/2014/main" id="{507E5121-F167-4BD9-AF38-B5F40970C1B2}"/>
                </a:ext>
              </a:extLst>
            </p:cNvPr>
            <p:cNvGrpSpPr/>
            <p:nvPr/>
          </p:nvGrpSpPr>
          <p:grpSpPr>
            <a:xfrm>
              <a:off x="3568776" y="79327"/>
              <a:ext cx="468866" cy="270225"/>
              <a:chOff x="3568776" y="79327"/>
              <a:chExt cx="468866" cy="270225"/>
            </a:xfrm>
            <a:grpFill/>
          </p:grpSpPr>
          <p:sp>
            <p:nvSpPr>
              <p:cNvPr id="74" name="Freeform: Shape 80">
                <a:extLst>
                  <a:ext uri="{FF2B5EF4-FFF2-40B4-BE49-F238E27FC236}">
                    <a16:creationId xmlns:a16="http://schemas.microsoft.com/office/drawing/2014/main" id="{0AD8630D-085B-4A64-80F8-23178DEC99B3}"/>
                  </a:ext>
                </a:extLst>
              </p:cNvPr>
              <p:cNvSpPr/>
              <p:nvPr/>
            </p:nvSpPr>
            <p:spPr>
              <a:xfrm>
                <a:off x="3568776" y="275343"/>
                <a:ext cx="85023" cy="74209"/>
              </a:xfrm>
              <a:custGeom>
                <a:avLst/>
                <a:gdLst>
                  <a:gd name="connsiteX0" fmla="*/ 80351 w 85023"/>
                  <a:gd name="connsiteY0" fmla="*/ 0 h 74209"/>
                  <a:gd name="connsiteX1" fmla="*/ 5118 w 85023"/>
                  <a:gd name="connsiteY1" fmla="*/ 0 h 74209"/>
                  <a:gd name="connsiteX2" fmla="*/ 0 w 85023"/>
                  <a:gd name="connsiteY2" fmla="*/ 5118 h 74209"/>
                  <a:gd name="connsiteX3" fmla="*/ 0 w 85023"/>
                  <a:gd name="connsiteY3" fmla="*/ 69092 h 74209"/>
                  <a:gd name="connsiteX4" fmla="*/ 5118 w 85023"/>
                  <a:gd name="connsiteY4" fmla="*/ 74210 h 74209"/>
                  <a:gd name="connsiteX5" fmla="*/ 79839 w 85023"/>
                  <a:gd name="connsiteY5" fmla="*/ 74210 h 74209"/>
                  <a:gd name="connsiteX6" fmla="*/ 84957 w 85023"/>
                  <a:gd name="connsiteY6" fmla="*/ 69092 h 74209"/>
                  <a:gd name="connsiteX7" fmla="*/ 84957 w 85023"/>
                  <a:gd name="connsiteY7" fmla="*/ 5118 h 74209"/>
                  <a:gd name="connsiteX8" fmla="*/ 80351 w 85023"/>
                  <a:gd name="connsiteY8" fmla="*/ 0 h 742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5023" h="74209">
                    <a:moveTo>
                      <a:pt x="80351" y="0"/>
                    </a:moveTo>
                    <a:lnTo>
                      <a:pt x="5118" y="0"/>
                    </a:lnTo>
                    <a:cubicBezTo>
                      <a:pt x="2047" y="0"/>
                      <a:pt x="0" y="2047"/>
                      <a:pt x="0" y="5118"/>
                    </a:cubicBezTo>
                    <a:lnTo>
                      <a:pt x="0" y="69092"/>
                    </a:lnTo>
                    <a:cubicBezTo>
                      <a:pt x="0" y="72163"/>
                      <a:pt x="2047" y="74210"/>
                      <a:pt x="5118" y="74210"/>
                    </a:cubicBezTo>
                    <a:lnTo>
                      <a:pt x="79839" y="74210"/>
                    </a:lnTo>
                    <a:cubicBezTo>
                      <a:pt x="82910" y="74210"/>
                      <a:pt x="84957" y="72163"/>
                      <a:pt x="84957" y="69092"/>
                    </a:cubicBezTo>
                    <a:lnTo>
                      <a:pt x="84957" y="5118"/>
                    </a:lnTo>
                    <a:cubicBezTo>
                      <a:pt x="85469" y="2047"/>
                      <a:pt x="82910" y="0"/>
                      <a:pt x="80351" y="0"/>
                    </a:cubicBezTo>
                    <a:close/>
                  </a:path>
                </a:pathLst>
              </a:custGeom>
              <a:grpFill/>
              <a:ln w="511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75" name="Freeform: Shape 81">
                <a:extLst>
                  <a:ext uri="{FF2B5EF4-FFF2-40B4-BE49-F238E27FC236}">
                    <a16:creationId xmlns:a16="http://schemas.microsoft.com/office/drawing/2014/main" id="{7CDA73FB-47AD-44A7-9BAB-B3904E495600}"/>
                  </a:ext>
                </a:extLst>
              </p:cNvPr>
              <p:cNvSpPr/>
              <p:nvPr/>
            </p:nvSpPr>
            <p:spPr>
              <a:xfrm>
                <a:off x="3696723" y="209834"/>
                <a:ext cx="85023" cy="138183"/>
              </a:xfrm>
              <a:custGeom>
                <a:avLst/>
                <a:gdLst>
                  <a:gd name="connsiteX0" fmla="*/ 80351 w 85023"/>
                  <a:gd name="connsiteY0" fmla="*/ 0 h 138183"/>
                  <a:gd name="connsiteX1" fmla="*/ 5118 w 85023"/>
                  <a:gd name="connsiteY1" fmla="*/ 0 h 138183"/>
                  <a:gd name="connsiteX2" fmla="*/ 0 w 85023"/>
                  <a:gd name="connsiteY2" fmla="*/ 5118 h 138183"/>
                  <a:gd name="connsiteX3" fmla="*/ 0 w 85023"/>
                  <a:gd name="connsiteY3" fmla="*/ 133066 h 138183"/>
                  <a:gd name="connsiteX4" fmla="*/ 5118 w 85023"/>
                  <a:gd name="connsiteY4" fmla="*/ 138184 h 138183"/>
                  <a:gd name="connsiteX5" fmla="*/ 79839 w 85023"/>
                  <a:gd name="connsiteY5" fmla="*/ 138184 h 138183"/>
                  <a:gd name="connsiteX6" fmla="*/ 84957 w 85023"/>
                  <a:gd name="connsiteY6" fmla="*/ 133066 h 138183"/>
                  <a:gd name="connsiteX7" fmla="*/ 84957 w 85023"/>
                  <a:gd name="connsiteY7" fmla="*/ 5118 h 138183"/>
                  <a:gd name="connsiteX8" fmla="*/ 80351 w 85023"/>
                  <a:gd name="connsiteY8" fmla="*/ 0 h 1381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5023" h="138183">
                    <a:moveTo>
                      <a:pt x="80351" y="0"/>
                    </a:moveTo>
                    <a:lnTo>
                      <a:pt x="5118" y="0"/>
                    </a:lnTo>
                    <a:cubicBezTo>
                      <a:pt x="2047" y="0"/>
                      <a:pt x="0" y="2047"/>
                      <a:pt x="0" y="5118"/>
                    </a:cubicBezTo>
                    <a:lnTo>
                      <a:pt x="0" y="133066"/>
                    </a:lnTo>
                    <a:cubicBezTo>
                      <a:pt x="0" y="136136"/>
                      <a:pt x="2047" y="138184"/>
                      <a:pt x="5118" y="138184"/>
                    </a:cubicBezTo>
                    <a:lnTo>
                      <a:pt x="79839" y="138184"/>
                    </a:lnTo>
                    <a:cubicBezTo>
                      <a:pt x="82910" y="138184"/>
                      <a:pt x="84957" y="136136"/>
                      <a:pt x="84957" y="133066"/>
                    </a:cubicBezTo>
                    <a:lnTo>
                      <a:pt x="84957" y="5118"/>
                    </a:lnTo>
                    <a:cubicBezTo>
                      <a:pt x="85469" y="2559"/>
                      <a:pt x="82910" y="0"/>
                      <a:pt x="80351" y="0"/>
                    </a:cubicBezTo>
                    <a:close/>
                  </a:path>
                </a:pathLst>
              </a:custGeom>
              <a:grpFill/>
              <a:ln w="511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76" name="Freeform: Shape 82">
                <a:extLst>
                  <a:ext uri="{FF2B5EF4-FFF2-40B4-BE49-F238E27FC236}">
                    <a16:creationId xmlns:a16="http://schemas.microsoft.com/office/drawing/2014/main" id="{084F4AC7-929A-47A7-AA32-0EAEBE3EF1C1}"/>
                  </a:ext>
                </a:extLst>
              </p:cNvPr>
              <p:cNvSpPr/>
              <p:nvPr/>
            </p:nvSpPr>
            <p:spPr>
              <a:xfrm>
                <a:off x="3824671" y="144836"/>
                <a:ext cx="85023" cy="202157"/>
              </a:xfrm>
              <a:custGeom>
                <a:avLst/>
                <a:gdLst>
                  <a:gd name="connsiteX0" fmla="*/ 80351 w 85023"/>
                  <a:gd name="connsiteY0" fmla="*/ 0 h 202157"/>
                  <a:gd name="connsiteX1" fmla="*/ 5118 w 85023"/>
                  <a:gd name="connsiteY1" fmla="*/ 0 h 202157"/>
                  <a:gd name="connsiteX2" fmla="*/ 0 w 85023"/>
                  <a:gd name="connsiteY2" fmla="*/ 5118 h 202157"/>
                  <a:gd name="connsiteX3" fmla="*/ 0 w 85023"/>
                  <a:gd name="connsiteY3" fmla="*/ 197040 h 202157"/>
                  <a:gd name="connsiteX4" fmla="*/ 5118 w 85023"/>
                  <a:gd name="connsiteY4" fmla="*/ 202157 h 202157"/>
                  <a:gd name="connsiteX5" fmla="*/ 79839 w 85023"/>
                  <a:gd name="connsiteY5" fmla="*/ 202157 h 202157"/>
                  <a:gd name="connsiteX6" fmla="*/ 84957 w 85023"/>
                  <a:gd name="connsiteY6" fmla="*/ 197040 h 202157"/>
                  <a:gd name="connsiteX7" fmla="*/ 84957 w 85023"/>
                  <a:gd name="connsiteY7" fmla="*/ 5118 h 202157"/>
                  <a:gd name="connsiteX8" fmla="*/ 80351 w 85023"/>
                  <a:gd name="connsiteY8" fmla="*/ 0 h 2021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5023" h="202157">
                    <a:moveTo>
                      <a:pt x="80351" y="0"/>
                    </a:moveTo>
                    <a:lnTo>
                      <a:pt x="5118" y="0"/>
                    </a:lnTo>
                    <a:cubicBezTo>
                      <a:pt x="2047" y="0"/>
                      <a:pt x="0" y="2047"/>
                      <a:pt x="0" y="5118"/>
                    </a:cubicBezTo>
                    <a:lnTo>
                      <a:pt x="0" y="197040"/>
                    </a:lnTo>
                    <a:cubicBezTo>
                      <a:pt x="0" y="200110"/>
                      <a:pt x="2047" y="202157"/>
                      <a:pt x="5118" y="202157"/>
                    </a:cubicBezTo>
                    <a:lnTo>
                      <a:pt x="79839" y="202157"/>
                    </a:lnTo>
                    <a:cubicBezTo>
                      <a:pt x="82910" y="202157"/>
                      <a:pt x="84957" y="200110"/>
                      <a:pt x="84957" y="197040"/>
                    </a:cubicBezTo>
                    <a:lnTo>
                      <a:pt x="84957" y="5118"/>
                    </a:lnTo>
                    <a:cubicBezTo>
                      <a:pt x="85469" y="2047"/>
                      <a:pt x="82910" y="0"/>
                      <a:pt x="80351" y="0"/>
                    </a:cubicBezTo>
                    <a:close/>
                  </a:path>
                </a:pathLst>
              </a:custGeom>
              <a:grpFill/>
              <a:ln w="511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77" name="Freeform: Shape 83">
                <a:extLst>
                  <a:ext uri="{FF2B5EF4-FFF2-40B4-BE49-F238E27FC236}">
                    <a16:creationId xmlns:a16="http://schemas.microsoft.com/office/drawing/2014/main" id="{B62A6DE1-F2BA-4EA0-B0E5-CD8BD49B9838}"/>
                  </a:ext>
                </a:extLst>
              </p:cNvPr>
              <p:cNvSpPr/>
              <p:nvPr/>
            </p:nvSpPr>
            <p:spPr>
              <a:xfrm>
                <a:off x="3952619" y="79327"/>
                <a:ext cx="85023" cy="266131"/>
              </a:xfrm>
              <a:custGeom>
                <a:avLst/>
                <a:gdLst>
                  <a:gd name="connsiteX0" fmla="*/ 80351 w 85023"/>
                  <a:gd name="connsiteY0" fmla="*/ 0 h 266131"/>
                  <a:gd name="connsiteX1" fmla="*/ 5118 w 85023"/>
                  <a:gd name="connsiteY1" fmla="*/ 0 h 266131"/>
                  <a:gd name="connsiteX2" fmla="*/ 0 w 85023"/>
                  <a:gd name="connsiteY2" fmla="*/ 5118 h 266131"/>
                  <a:gd name="connsiteX3" fmla="*/ 0 w 85023"/>
                  <a:gd name="connsiteY3" fmla="*/ 261013 h 266131"/>
                  <a:gd name="connsiteX4" fmla="*/ 5118 w 85023"/>
                  <a:gd name="connsiteY4" fmla="*/ 266131 h 266131"/>
                  <a:gd name="connsiteX5" fmla="*/ 79839 w 85023"/>
                  <a:gd name="connsiteY5" fmla="*/ 266131 h 266131"/>
                  <a:gd name="connsiteX6" fmla="*/ 84957 w 85023"/>
                  <a:gd name="connsiteY6" fmla="*/ 261013 h 266131"/>
                  <a:gd name="connsiteX7" fmla="*/ 84957 w 85023"/>
                  <a:gd name="connsiteY7" fmla="*/ 5118 h 266131"/>
                  <a:gd name="connsiteX8" fmla="*/ 80351 w 85023"/>
                  <a:gd name="connsiteY8" fmla="*/ 0 h 2661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5023" h="266131">
                    <a:moveTo>
                      <a:pt x="80351" y="0"/>
                    </a:moveTo>
                    <a:lnTo>
                      <a:pt x="5118" y="0"/>
                    </a:lnTo>
                    <a:cubicBezTo>
                      <a:pt x="2047" y="0"/>
                      <a:pt x="0" y="2047"/>
                      <a:pt x="0" y="5118"/>
                    </a:cubicBezTo>
                    <a:lnTo>
                      <a:pt x="0" y="261013"/>
                    </a:lnTo>
                    <a:cubicBezTo>
                      <a:pt x="0" y="264084"/>
                      <a:pt x="2047" y="266131"/>
                      <a:pt x="5118" y="266131"/>
                    </a:cubicBezTo>
                    <a:lnTo>
                      <a:pt x="79839" y="266131"/>
                    </a:lnTo>
                    <a:cubicBezTo>
                      <a:pt x="82910" y="266131"/>
                      <a:pt x="84957" y="264084"/>
                      <a:pt x="84957" y="261013"/>
                    </a:cubicBezTo>
                    <a:lnTo>
                      <a:pt x="84957" y="5118"/>
                    </a:lnTo>
                    <a:cubicBezTo>
                      <a:pt x="85469" y="2559"/>
                      <a:pt x="82910" y="0"/>
                      <a:pt x="80351" y="0"/>
                    </a:cubicBezTo>
                    <a:close/>
                  </a:path>
                </a:pathLst>
              </a:custGeom>
              <a:grpFill/>
              <a:ln w="511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sp>
          <p:nvSpPr>
            <p:cNvPr id="73" name="Freeform: Shape 79">
              <a:extLst>
                <a:ext uri="{FF2B5EF4-FFF2-40B4-BE49-F238E27FC236}">
                  <a16:creationId xmlns:a16="http://schemas.microsoft.com/office/drawing/2014/main" id="{8DADE73C-4331-471F-A019-DD5B78D9CA6A}"/>
                </a:ext>
              </a:extLst>
            </p:cNvPr>
            <p:cNvSpPr/>
            <p:nvPr/>
          </p:nvSpPr>
          <p:spPr>
            <a:xfrm>
              <a:off x="3614590" y="31731"/>
              <a:ext cx="317045" cy="188339"/>
            </a:xfrm>
            <a:custGeom>
              <a:avLst/>
              <a:gdLst>
                <a:gd name="connsiteX0" fmla="*/ 317046 w 317045"/>
                <a:gd name="connsiteY0" fmla="*/ 0 h 188339"/>
                <a:gd name="connsiteX1" fmla="*/ 240277 w 317045"/>
                <a:gd name="connsiteY1" fmla="*/ 512 h 188339"/>
                <a:gd name="connsiteX2" fmla="*/ 255631 w 317045"/>
                <a:gd name="connsiteY2" fmla="*/ 27125 h 188339"/>
                <a:gd name="connsiteX3" fmla="*/ 3830 w 317045"/>
                <a:gd name="connsiteY3" fmla="*/ 174009 h 188339"/>
                <a:gd name="connsiteX4" fmla="*/ 1271 w 317045"/>
                <a:gd name="connsiteY4" fmla="*/ 184757 h 188339"/>
                <a:gd name="connsiteX5" fmla="*/ 7924 w 317045"/>
                <a:gd name="connsiteY5" fmla="*/ 188339 h 188339"/>
                <a:gd name="connsiteX6" fmla="*/ 12018 w 317045"/>
                <a:gd name="connsiteY6" fmla="*/ 187316 h 188339"/>
                <a:gd name="connsiteX7" fmla="*/ 263308 w 317045"/>
                <a:gd name="connsiteY7" fmla="*/ 39920 h 188339"/>
                <a:gd name="connsiteX8" fmla="*/ 278661 w 317045"/>
                <a:gd name="connsiteY8" fmla="*/ 66533 h 188339"/>
                <a:gd name="connsiteX9" fmla="*/ 317046 w 317045"/>
                <a:gd name="connsiteY9" fmla="*/ 0 h 1883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7045" h="188339">
                  <a:moveTo>
                    <a:pt x="317046" y="0"/>
                  </a:moveTo>
                  <a:lnTo>
                    <a:pt x="240277" y="512"/>
                  </a:lnTo>
                  <a:lnTo>
                    <a:pt x="255631" y="27125"/>
                  </a:lnTo>
                  <a:lnTo>
                    <a:pt x="3830" y="174009"/>
                  </a:lnTo>
                  <a:cubicBezTo>
                    <a:pt x="247" y="176056"/>
                    <a:pt x="-1288" y="180662"/>
                    <a:pt x="1271" y="184757"/>
                  </a:cubicBezTo>
                  <a:cubicBezTo>
                    <a:pt x="2806" y="187316"/>
                    <a:pt x="5365" y="188339"/>
                    <a:pt x="7924" y="188339"/>
                  </a:cubicBezTo>
                  <a:cubicBezTo>
                    <a:pt x="9459" y="188339"/>
                    <a:pt x="10483" y="187827"/>
                    <a:pt x="12018" y="187316"/>
                  </a:cubicBezTo>
                  <a:lnTo>
                    <a:pt x="263308" y="39920"/>
                  </a:lnTo>
                  <a:lnTo>
                    <a:pt x="278661" y="66533"/>
                  </a:lnTo>
                  <a:lnTo>
                    <a:pt x="317046" y="0"/>
                  </a:lnTo>
                  <a:close/>
                </a:path>
              </a:pathLst>
            </a:custGeom>
            <a:grpFill/>
            <a:ln w="511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sp>
        <p:nvSpPr>
          <p:cNvPr id="78" name="Freeform: Shape 84">
            <a:extLst>
              <a:ext uri="{FF2B5EF4-FFF2-40B4-BE49-F238E27FC236}">
                <a16:creationId xmlns:a16="http://schemas.microsoft.com/office/drawing/2014/main" id="{14B77CD2-E546-44B4-80CB-A6B61D63688C}"/>
              </a:ext>
            </a:extLst>
          </p:cNvPr>
          <p:cNvSpPr/>
          <p:nvPr/>
        </p:nvSpPr>
        <p:spPr>
          <a:xfrm>
            <a:off x="8290780" y="3680269"/>
            <a:ext cx="227462" cy="162694"/>
          </a:xfrm>
          <a:custGeom>
            <a:avLst/>
            <a:gdLst>
              <a:gd name="connsiteX0" fmla="*/ 341365 w 372072"/>
              <a:gd name="connsiteY0" fmla="*/ 0 h 266131"/>
              <a:gd name="connsiteX1" fmla="*/ 30707 w 372072"/>
              <a:gd name="connsiteY1" fmla="*/ 0 h 266131"/>
              <a:gd name="connsiteX2" fmla="*/ 0 w 372072"/>
              <a:gd name="connsiteY2" fmla="*/ 30707 h 266131"/>
              <a:gd name="connsiteX3" fmla="*/ 0 w 372072"/>
              <a:gd name="connsiteY3" fmla="*/ 235424 h 266131"/>
              <a:gd name="connsiteX4" fmla="*/ 30707 w 372072"/>
              <a:gd name="connsiteY4" fmla="*/ 266131 h 266131"/>
              <a:gd name="connsiteX5" fmla="*/ 341365 w 372072"/>
              <a:gd name="connsiteY5" fmla="*/ 266131 h 266131"/>
              <a:gd name="connsiteX6" fmla="*/ 372072 w 372072"/>
              <a:gd name="connsiteY6" fmla="*/ 235424 h 266131"/>
              <a:gd name="connsiteX7" fmla="*/ 372072 w 372072"/>
              <a:gd name="connsiteY7" fmla="*/ 30707 h 266131"/>
              <a:gd name="connsiteX8" fmla="*/ 341365 w 372072"/>
              <a:gd name="connsiteY8" fmla="*/ 0 h 266131"/>
              <a:gd name="connsiteX9" fmla="*/ 43502 w 372072"/>
              <a:gd name="connsiteY9" fmla="*/ 220070 h 266131"/>
              <a:gd name="connsiteX10" fmla="*/ 33266 w 372072"/>
              <a:gd name="connsiteY10" fmla="*/ 220070 h 266131"/>
              <a:gd name="connsiteX11" fmla="*/ 28149 w 372072"/>
              <a:gd name="connsiteY11" fmla="*/ 214952 h 266131"/>
              <a:gd name="connsiteX12" fmla="*/ 33266 w 372072"/>
              <a:gd name="connsiteY12" fmla="*/ 209834 h 266131"/>
              <a:gd name="connsiteX13" fmla="*/ 43502 w 372072"/>
              <a:gd name="connsiteY13" fmla="*/ 209834 h 266131"/>
              <a:gd name="connsiteX14" fmla="*/ 48620 w 372072"/>
              <a:gd name="connsiteY14" fmla="*/ 214952 h 266131"/>
              <a:gd name="connsiteX15" fmla="*/ 43502 w 372072"/>
              <a:gd name="connsiteY15" fmla="*/ 220070 h 266131"/>
              <a:gd name="connsiteX16" fmla="*/ 68580 w 372072"/>
              <a:gd name="connsiteY16" fmla="*/ 220070 h 266131"/>
              <a:gd name="connsiteX17" fmla="*/ 58344 w 372072"/>
              <a:gd name="connsiteY17" fmla="*/ 220070 h 266131"/>
              <a:gd name="connsiteX18" fmla="*/ 53226 w 372072"/>
              <a:gd name="connsiteY18" fmla="*/ 214952 h 266131"/>
              <a:gd name="connsiteX19" fmla="*/ 58344 w 372072"/>
              <a:gd name="connsiteY19" fmla="*/ 209834 h 266131"/>
              <a:gd name="connsiteX20" fmla="*/ 68580 w 372072"/>
              <a:gd name="connsiteY20" fmla="*/ 209834 h 266131"/>
              <a:gd name="connsiteX21" fmla="*/ 73698 w 372072"/>
              <a:gd name="connsiteY21" fmla="*/ 214952 h 266131"/>
              <a:gd name="connsiteX22" fmla="*/ 68580 w 372072"/>
              <a:gd name="connsiteY22" fmla="*/ 220070 h 266131"/>
              <a:gd name="connsiteX23" fmla="*/ 93146 w 372072"/>
              <a:gd name="connsiteY23" fmla="*/ 220070 h 266131"/>
              <a:gd name="connsiteX24" fmla="*/ 82910 w 372072"/>
              <a:gd name="connsiteY24" fmla="*/ 220070 h 266131"/>
              <a:gd name="connsiteX25" fmla="*/ 77792 w 372072"/>
              <a:gd name="connsiteY25" fmla="*/ 214952 h 266131"/>
              <a:gd name="connsiteX26" fmla="*/ 82910 w 372072"/>
              <a:gd name="connsiteY26" fmla="*/ 209834 h 266131"/>
              <a:gd name="connsiteX27" fmla="*/ 93146 w 372072"/>
              <a:gd name="connsiteY27" fmla="*/ 209834 h 266131"/>
              <a:gd name="connsiteX28" fmla="*/ 98264 w 372072"/>
              <a:gd name="connsiteY28" fmla="*/ 214952 h 266131"/>
              <a:gd name="connsiteX29" fmla="*/ 93146 w 372072"/>
              <a:gd name="connsiteY29" fmla="*/ 220070 h 266131"/>
              <a:gd name="connsiteX30" fmla="*/ 118224 w 372072"/>
              <a:gd name="connsiteY30" fmla="*/ 220070 h 266131"/>
              <a:gd name="connsiteX31" fmla="*/ 107988 w 372072"/>
              <a:gd name="connsiteY31" fmla="*/ 220070 h 266131"/>
              <a:gd name="connsiteX32" fmla="*/ 102870 w 372072"/>
              <a:gd name="connsiteY32" fmla="*/ 214952 h 266131"/>
              <a:gd name="connsiteX33" fmla="*/ 107988 w 372072"/>
              <a:gd name="connsiteY33" fmla="*/ 209834 h 266131"/>
              <a:gd name="connsiteX34" fmla="*/ 118224 w 372072"/>
              <a:gd name="connsiteY34" fmla="*/ 209834 h 266131"/>
              <a:gd name="connsiteX35" fmla="*/ 123342 w 372072"/>
              <a:gd name="connsiteY35" fmla="*/ 214952 h 266131"/>
              <a:gd name="connsiteX36" fmla="*/ 118224 w 372072"/>
              <a:gd name="connsiteY36" fmla="*/ 220070 h 266131"/>
              <a:gd name="connsiteX37" fmla="*/ 125901 w 372072"/>
              <a:gd name="connsiteY37" fmla="*/ 177592 h 266131"/>
              <a:gd name="connsiteX38" fmla="*/ 33266 w 372072"/>
              <a:gd name="connsiteY38" fmla="*/ 177592 h 266131"/>
              <a:gd name="connsiteX39" fmla="*/ 28149 w 372072"/>
              <a:gd name="connsiteY39" fmla="*/ 172474 h 266131"/>
              <a:gd name="connsiteX40" fmla="*/ 33266 w 372072"/>
              <a:gd name="connsiteY40" fmla="*/ 167356 h 266131"/>
              <a:gd name="connsiteX41" fmla="*/ 125901 w 372072"/>
              <a:gd name="connsiteY41" fmla="*/ 167356 h 266131"/>
              <a:gd name="connsiteX42" fmla="*/ 131019 w 372072"/>
              <a:gd name="connsiteY42" fmla="*/ 172474 h 266131"/>
              <a:gd name="connsiteX43" fmla="*/ 125901 w 372072"/>
              <a:gd name="connsiteY43" fmla="*/ 177592 h 266131"/>
              <a:gd name="connsiteX44" fmla="*/ 176056 w 372072"/>
              <a:gd name="connsiteY44" fmla="*/ 132554 h 266131"/>
              <a:gd name="connsiteX45" fmla="*/ 170938 w 372072"/>
              <a:gd name="connsiteY45" fmla="*/ 137672 h 266131"/>
              <a:gd name="connsiteX46" fmla="*/ 32755 w 372072"/>
              <a:gd name="connsiteY46" fmla="*/ 137672 h 266131"/>
              <a:gd name="connsiteX47" fmla="*/ 27637 w 372072"/>
              <a:gd name="connsiteY47" fmla="*/ 132554 h 266131"/>
              <a:gd name="connsiteX48" fmla="*/ 27637 w 372072"/>
              <a:gd name="connsiteY48" fmla="*/ 112594 h 266131"/>
              <a:gd name="connsiteX49" fmla="*/ 32755 w 372072"/>
              <a:gd name="connsiteY49" fmla="*/ 107476 h 266131"/>
              <a:gd name="connsiteX50" fmla="*/ 170938 w 372072"/>
              <a:gd name="connsiteY50" fmla="*/ 107476 h 266131"/>
              <a:gd name="connsiteX51" fmla="*/ 176056 w 372072"/>
              <a:gd name="connsiteY51" fmla="*/ 112594 h 266131"/>
              <a:gd name="connsiteX52" fmla="*/ 176056 w 372072"/>
              <a:gd name="connsiteY52" fmla="*/ 132554 h 266131"/>
              <a:gd name="connsiteX53" fmla="*/ 344435 w 372072"/>
              <a:gd name="connsiteY53" fmla="*/ 229282 h 266131"/>
              <a:gd name="connsiteX54" fmla="*/ 339317 w 372072"/>
              <a:gd name="connsiteY54" fmla="*/ 234400 h 266131"/>
              <a:gd name="connsiteX55" fmla="*/ 256919 w 372072"/>
              <a:gd name="connsiteY55" fmla="*/ 234400 h 266131"/>
              <a:gd name="connsiteX56" fmla="*/ 251801 w 372072"/>
              <a:gd name="connsiteY56" fmla="*/ 229282 h 266131"/>
              <a:gd name="connsiteX57" fmla="*/ 251801 w 372072"/>
              <a:gd name="connsiteY57" fmla="*/ 186804 h 266131"/>
              <a:gd name="connsiteX58" fmla="*/ 256919 w 372072"/>
              <a:gd name="connsiteY58" fmla="*/ 181686 h 266131"/>
              <a:gd name="connsiteX59" fmla="*/ 339317 w 372072"/>
              <a:gd name="connsiteY59" fmla="*/ 181686 h 266131"/>
              <a:gd name="connsiteX60" fmla="*/ 344435 w 372072"/>
              <a:gd name="connsiteY60" fmla="*/ 186804 h 266131"/>
              <a:gd name="connsiteX61" fmla="*/ 344435 w 372072"/>
              <a:gd name="connsiteY61" fmla="*/ 229282 h 266131"/>
              <a:gd name="connsiteX62" fmla="*/ 361836 w 372072"/>
              <a:gd name="connsiteY62" fmla="*/ 79328 h 266131"/>
              <a:gd name="connsiteX63" fmla="*/ 10236 w 372072"/>
              <a:gd name="connsiteY63" fmla="*/ 79328 h 266131"/>
              <a:gd name="connsiteX64" fmla="*/ 10236 w 372072"/>
              <a:gd name="connsiteY64" fmla="*/ 36849 h 266131"/>
              <a:gd name="connsiteX65" fmla="*/ 361836 w 372072"/>
              <a:gd name="connsiteY65" fmla="*/ 36849 h 266131"/>
              <a:gd name="connsiteX66" fmla="*/ 361836 w 372072"/>
              <a:gd name="connsiteY66" fmla="*/ 79328 h 2661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Lst>
            <a:rect l="l" t="t" r="r" b="b"/>
            <a:pathLst>
              <a:path w="372072" h="266131">
                <a:moveTo>
                  <a:pt x="341365" y="0"/>
                </a:moveTo>
                <a:lnTo>
                  <a:pt x="30707" y="0"/>
                </a:lnTo>
                <a:cubicBezTo>
                  <a:pt x="13818" y="0"/>
                  <a:pt x="0" y="13818"/>
                  <a:pt x="0" y="30707"/>
                </a:cubicBezTo>
                <a:lnTo>
                  <a:pt x="0" y="235424"/>
                </a:lnTo>
                <a:cubicBezTo>
                  <a:pt x="0" y="252313"/>
                  <a:pt x="13818" y="266131"/>
                  <a:pt x="30707" y="266131"/>
                </a:cubicBezTo>
                <a:lnTo>
                  <a:pt x="341365" y="266131"/>
                </a:lnTo>
                <a:cubicBezTo>
                  <a:pt x="358254" y="266131"/>
                  <a:pt x="372072" y="252313"/>
                  <a:pt x="372072" y="235424"/>
                </a:cubicBezTo>
                <a:lnTo>
                  <a:pt x="372072" y="30707"/>
                </a:lnTo>
                <a:cubicBezTo>
                  <a:pt x="372072" y="13818"/>
                  <a:pt x="358254" y="0"/>
                  <a:pt x="341365" y="0"/>
                </a:cubicBezTo>
                <a:close/>
                <a:moveTo>
                  <a:pt x="43502" y="220070"/>
                </a:moveTo>
                <a:lnTo>
                  <a:pt x="33266" y="220070"/>
                </a:lnTo>
                <a:cubicBezTo>
                  <a:pt x="30707" y="220070"/>
                  <a:pt x="28149" y="218023"/>
                  <a:pt x="28149" y="214952"/>
                </a:cubicBezTo>
                <a:cubicBezTo>
                  <a:pt x="28149" y="212393"/>
                  <a:pt x="30707" y="209834"/>
                  <a:pt x="33266" y="209834"/>
                </a:cubicBezTo>
                <a:lnTo>
                  <a:pt x="43502" y="209834"/>
                </a:lnTo>
                <a:cubicBezTo>
                  <a:pt x="46061" y="209834"/>
                  <a:pt x="48620" y="212393"/>
                  <a:pt x="48620" y="214952"/>
                </a:cubicBezTo>
                <a:cubicBezTo>
                  <a:pt x="48620" y="218023"/>
                  <a:pt x="46061" y="220070"/>
                  <a:pt x="43502" y="220070"/>
                </a:cubicBezTo>
                <a:close/>
                <a:moveTo>
                  <a:pt x="68580" y="220070"/>
                </a:moveTo>
                <a:lnTo>
                  <a:pt x="58344" y="220070"/>
                </a:lnTo>
                <a:cubicBezTo>
                  <a:pt x="55785" y="220070"/>
                  <a:pt x="53226" y="218023"/>
                  <a:pt x="53226" y="214952"/>
                </a:cubicBezTo>
                <a:cubicBezTo>
                  <a:pt x="53226" y="212393"/>
                  <a:pt x="55785" y="209834"/>
                  <a:pt x="58344" y="209834"/>
                </a:cubicBezTo>
                <a:lnTo>
                  <a:pt x="68580" y="209834"/>
                </a:lnTo>
                <a:cubicBezTo>
                  <a:pt x="71651" y="209834"/>
                  <a:pt x="73698" y="212393"/>
                  <a:pt x="73698" y="214952"/>
                </a:cubicBezTo>
                <a:cubicBezTo>
                  <a:pt x="73698" y="218023"/>
                  <a:pt x="71139" y="220070"/>
                  <a:pt x="68580" y="220070"/>
                </a:cubicBezTo>
                <a:close/>
                <a:moveTo>
                  <a:pt x="93146" y="220070"/>
                </a:moveTo>
                <a:lnTo>
                  <a:pt x="82910" y="220070"/>
                </a:lnTo>
                <a:cubicBezTo>
                  <a:pt x="79840" y="220070"/>
                  <a:pt x="77792" y="218023"/>
                  <a:pt x="77792" y="214952"/>
                </a:cubicBezTo>
                <a:cubicBezTo>
                  <a:pt x="77792" y="212393"/>
                  <a:pt x="79840" y="209834"/>
                  <a:pt x="82910" y="209834"/>
                </a:cubicBezTo>
                <a:lnTo>
                  <a:pt x="93146" y="209834"/>
                </a:lnTo>
                <a:cubicBezTo>
                  <a:pt x="95705" y="209834"/>
                  <a:pt x="98264" y="212393"/>
                  <a:pt x="98264" y="214952"/>
                </a:cubicBezTo>
                <a:cubicBezTo>
                  <a:pt x="98264" y="218023"/>
                  <a:pt x="96217" y="220070"/>
                  <a:pt x="93146" y="220070"/>
                </a:cubicBezTo>
                <a:close/>
                <a:moveTo>
                  <a:pt x="118224" y="220070"/>
                </a:moveTo>
                <a:lnTo>
                  <a:pt x="107988" y="220070"/>
                </a:lnTo>
                <a:cubicBezTo>
                  <a:pt x="105429" y="220070"/>
                  <a:pt x="102870" y="218023"/>
                  <a:pt x="102870" y="214952"/>
                </a:cubicBezTo>
                <a:cubicBezTo>
                  <a:pt x="102870" y="212393"/>
                  <a:pt x="105429" y="209834"/>
                  <a:pt x="107988" y="209834"/>
                </a:cubicBezTo>
                <a:lnTo>
                  <a:pt x="118224" y="209834"/>
                </a:lnTo>
                <a:cubicBezTo>
                  <a:pt x="120783" y="209834"/>
                  <a:pt x="123342" y="212393"/>
                  <a:pt x="123342" y="214952"/>
                </a:cubicBezTo>
                <a:cubicBezTo>
                  <a:pt x="123342" y="218023"/>
                  <a:pt x="121295" y="220070"/>
                  <a:pt x="118224" y="220070"/>
                </a:cubicBezTo>
                <a:close/>
                <a:moveTo>
                  <a:pt x="125901" y="177592"/>
                </a:moveTo>
                <a:lnTo>
                  <a:pt x="33266" y="177592"/>
                </a:lnTo>
                <a:cubicBezTo>
                  <a:pt x="30707" y="177592"/>
                  <a:pt x="28149" y="175033"/>
                  <a:pt x="28149" y="172474"/>
                </a:cubicBezTo>
                <a:cubicBezTo>
                  <a:pt x="28149" y="169915"/>
                  <a:pt x="30707" y="167356"/>
                  <a:pt x="33266" y="167356"/>
                </a:cubicBezTo>
                <a:lnTo>
                  <a:pt x="125901" y="167356"/>
                </a:lnTo>
                <a:cubicBezTo>
                  <a:pt x="128971" y="167356"/>
                  <a:pt x="131019" y="169915"/>
                  <a:pt x="131019" y="172474"/>
                </a:cubicBezTo>
                <a:cubicBezTo>
                  <a:pt x="131019" y="175033"/>
                  <a:pt x="128460" y="177592"/>
                  <a:pt x="125901" y="177592"/>
                </a:cubicBezTo>
                <a:close/>
                <a:moveTo>
                  <a:pt x="176056" y="132554"/>
                </a:moveTo>
                <a:cubicBezTo>
                  <a:pt x="176056" y="135625"/>
                  <a:pt x="173497" y="137672"/>
                  <a:pt x="170938" y="137672"/>
                </a:cubicBezTo>
                <a:lnTo>
                  <a:pt x="32755" y="137672"/>
                </a:lnTo>
                <a:cubicBezTo>
                  <a:pt x="30196" y="137672"/>
                  <a:pt x="27637" y="135625"/>
                  <a:pt x="27637" y="132554"/>
                </a:cubicBezTo>
                <a:lnTo>
                  <a:pt x="27637" y="112594"/>
                </a:lnTo>
                <a:cubicBezTo>
                  <a:pt x="27637" y="110035"/>
                  <a:pt x="30196" y="107476"/>
                  <a:pt x="32755" y="107476"/>
                </a:cubicBezTo>
                <a:lnTo>
                  <a:pt x="170938" y="107476"/>
                </a:lnTo>
                <a:cubicBezTo>
                  <a:pt x="173497" y="107476"/>
                  <a:pt x="176056" y="110035"/>
                  <a:pt x="176056" y="112594"/>
                </a:cubicBezTo>
                <a:lnTo>
                  <a:pt x="176056" y="132554"/>
                </a:lnTo>
                <a:close/>
                <a:moveTo>
                  <a:pt x="344435" y="229282"/>
                </a:moveTo>
                <a:cubicBezTo>
                  <a:pt x="344435" y="232353"/>
                  <a:pt x="341876" y="234400"/>
                  <a:pt x="339317" y="234400"/>
                </a:cubicBezTo>
                <a:lnTo>
                  <a:pt x="256919" y="234400"/>
                </a:lnTo>
                <a:cubicBezTo>
                  <a:pt x="254360" y="234400"/>
                  <a:pt x="251801" y="232353"/>
                  <a:pt x="251801" y="229282"/>
                </a:cubicBezTo>
                <a:lnTo>
                  <a:pt x="251801" y="186804"/>
                </a:lnTo>
                <a:cubicBezTo>
                  <a:pt x="251801" y="184245"/>
                  <a:pt x="254360" y="181686"/>
                  <a:pt x="256919" y="181686"/>
                </a:cubicBezTo>
                <a:lnTo>
                  <a:pt x="339317" y="181686"/>
                </a:lnTo>
                <a:cubicBezTo>
                  <a:pt x="341876" y="181686"/>
                  <a:pt x="344435" y="184245"/>
                  <a:pt x="344435" y="186804"/>
                </a:cubicBezTo>
                <a:lnTo>
                  <a:pt x="344435" y="229282"/>
                </a:lnTo>
                <a:close/>
                <a:moveTo>
                  <a:pt x="361836" y="79328"/>
                </a:moveTo>
                <a:lnTo>
                  <a:pt x="10236" y="79328"/>
                </a:lnTo>
                <a:lnTo>
                  <a:pt x="10236" y="36849"/>
                </a:lnTo>
                <a:lnTo>
                  <a:pt x="361836" y="36849"/>
                </a:lnTo>
                <a:lnTo>
                  <a:pt x="361836" y="79328"/>
                </a:lnTo>
                <a:close/>
              </a:path>
            </a:pathLst>
          </a:custGeom>
          <a:solidFill>
            <a:schemeClr val="accent4"/>
          </a:solidFill>
          <a:ln w="511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79" name="Freeform: Shape 85">
            <a:extLst>
              <a:ext uri="{FF2B5EF4-FFF2-40B4-BE49-F238E27FC236}">
                <a16:creationId xmlns:a16="http://schemas.microsoft.com/office/drawing/2014/main" id="{AB9499D7-D440-481F-95AE-20A96D60FDCD}"/>
              </a:ext>
            </a:extLst>
          </p:cNvPr>
          <p:cNvSpPr/>
          <p:nvPr/>
        </p:nvSpPr>
        <p:spPr>
          <a:xfrm>
            <a:off x="7523463" y="2565082"/>
            <a:ext cx="227462" cy="162696"/>
          </a:xfrm>
          <a:custGeom>
            <a:avLst/>
            <a:gdLst>
              <a:gd name="connsiteX0" fmla="*/ 341365 w 372071"/>
              <a:gd name="connsiteY0" fmla="*/ 0 h 266131"/>
              <a:gd name="connsiteX1" fmla="*/ 30707 w 372071"/>
              <a:gd name="connsiteY1" fmla="*/ 0 h 266131"/>
              <a:gd name="connsiteX2" fmla="*/ 0 w 372071"/>
              <a:gd name="connsiteY2" fmla="*/ 30707 h 266131"/>
              <a:gd name="connsiteX3" fmla="*/ 0 w 372071"/>
              <a:gd name="connsiteY3" fmla="*/ 235424 h 266131"/>
              <a:gd name="connsiteX4" fmla="*/ 30707 w 372071"/>
              <a:gd name="connsiteY4" fmla="*/ 266131 h 266131"/>
              <a:gd name="connsiteX5" fmla="*/ 341365 w 372071"/>
              <a:gd name="connsiteY5" fmla="*/ 266131 h 266131"/>
              <a:gd name="connsiteX6" fmla="*/ 372072 w 372071"/>
              <a:gd name="connsiteY6" fmla="*/ 235424 h 266131"/>
              <a:gd name="connsiteX7" fmla="*/ 372072 w 372071"/>
              <a:gd name="connsiteY7" fmla="*/ 30707 h 266131"/>
              <a:gd name="connsiteX8" fmla="*/ 341365 w 372071"/>
              <a:gd name="connsiteY8" fmla="*/ 0 h 266131"/>
              <a:gd name="connsiteX9" fmla="*/ 33266 w 372071"/>
              <a:gd name="connsiteY9" fmla="*/ 36849 h 266131"/>
              <a:gd name="connsiteX10" fmla="*/ 38384 w 372071"/>
              <a:gd name="connsiteY10" fmla="*/ 31731 h 266131"/>
              <a:gd name="connsiteX11" fmla="*/ 120783 w 372071"/>
              <a:gd name="connsiteY11" fmla="*/ 31731 h 266131"/>
              <a:gd name="connsiteX12" fmla="*/ 125901 w 372071"/>
              <a:gd name="connsiteY12" fmla="*/ 36849 h 266131"/>
              <a:gd name="connsiteX13" fmla="*/ 125901 w 372071"/>
              <a:gd name="connsiteY13" fmla="*/ 79328 h 266131"/>
              <a:gd name="connsiteX14" fmla="*/ 120783 w 372071"/>
              <a:gd name="connsiteY14" fmla="*/ 84446 h 266131"/>
              <a:gd name="connsiteX15" fmla="*/ 38384 w 372071"/>
              <a:gd name="connsiteY15" fmla="*/ 84446 h 266131"/>
              <a:gd name="connsiteX16" fmla="*/ 33266 w 372071"/>
              <a:gd name="connsiteY16" fmla="*/ 79328 h 266131"/>
              <a:gd name="connsiteX17" fmla="*/ 33266 w 372071"/>
              <a:gd name="connsiteY17" fmla="*/ 36849 h 266131"/>
              <a:gd name="connsiteX18" fmla="*/ 43502 w 372071"/>
              <a:gd name="connsiteY18" fmla="*/ 220070 h 266131"/>
              <a:gd name="connsiteX19" fmla="*/ 33266 w 372071"/>
              <a:gd name="connsiteY19" fmla="*/ 220070 h 266131"/>
              <a:gd name="connsiteX20" fmla="*/ 28149 w 372071"/>
              <a:gd name="connsiteY20" fmla="*/ 214952 h 266131"/>
              <a:gd name="connsiteX21" fmla="*/ 33266 w 372071"/>
              <a:gd name="connsiteY21" fmla="*/ 209834 h 266131"/>
              <a:gd name="connsiteX22" fmla="*/ 43502 w 372071"/>
              <a:gd name="connsiteY22" fmla="*/ 209834 h 266131"/>
              <a:gd name="connsiteX23" fmla="*/ 48620 w 372071"/>
              <a:gd name="connsiteY23" fmla="*/ 214952 h 266131"/>
              <a:gd name="connsiteX24" fmla="*/ 43502 w 372071"/>
              <a:gd name="connsiteY24" fmla="*/ 220070 h 266131"/>
              <a:gd name="connsiteX25" fmla="*/ 68580 w 372071"/>
              <a:gd name="connsiteY25" fmla="*/ 220070 h 266131"/>
              <a:gd name="connsiteX26" fmla="*/ 58344 w 372071"/>
              <a:gd name="connsiteY26" fmla="*/ 220070 h 266131"/>
              <a:gd name="connsiteX27" fmla="*/ 53226 w 372071"/>
              <a:gd name="connsiteY27" fmla="*/ 214952 h 266131"/>
              <a:gd name="connsiteX28" fmla="*/ 58344 w 372071"/>
              <a:gd name="connsiteY28" fmla="*/ 209834 h 266131"/>
              <a:gd name="connsiteX29" fmla="*/ 68580 w 372071"/>
              <a:gd name="connsiteY29" fmla="*/ 209834 h 266131"/>
              <a:gd name="connsiteX30" fmla="*/ 73698 w 372071"/>
              <a:gd name="connsiteY30" fmla="*/ 214952 h 266131"/>
              <a:gd name="connsiteX31" fmla="*/ 68580 w 372071"/>
              <a:gd name="connsiteY31" fmla="*/ 220070 h 266131"/>
              <a:gd name="connsiteX32" fmla="*/ 93658 w 372071"/>
              <a:gd name="connsiteY32" fmla="*/ 220070 h 266131"/>
              <a:gd name="connsiteX33" fmla="*/ 83422 w 372071"/>
              <a:gd name="connsiteY33" fmla="*/ 220070 h 266131"/>
              <a:gd name="connsiteX34" fmla="*/ 78304 w 372071"/>
              <a:gd name="connsiteY34" fmla="*/ 214952 h 266131"/>
              <a:gd name="connsiteX35" fmla="*/ 83422 w 372071"/>
              <a:gd name="connsiteY35" fmla="*/ 209834 h 266131"/>
              <a:gd name="connsiteX36" fmla="*/ 93658 w 372071"/>
              <a:gd name="connsiteY36" fmla="*/ 209834 h 266131"/>
              <a:gd name="connsiteX37" fmla="*/ 98776 w 372071"/>
              <a:gd name="connsiteY37" fmla="*/ 214952 h 266131"/>
              <a:gd name="connsiteX38" fmla="*/ 93658 w 372071"/>
              <a:gd name="connsiteY38" fmla="*/ 220070 h 266131"/>
              <a:gd name="connsiteX39" fmla="*/ 118224 w 372071"/>
              <a:gd name="connsiteY39" fmla="*/ 220070 h 266131"/>
              <a:gd name="connsiteX40" fmla="*/ 107988 w 372071"/>
              <a:gd name="connsiteY40" fmla="*/ 220070 h 266131"/>
              <a:gd name="connsiteX41" fmla="*/ 102870 w 372071"/>
              <a:gd name="connsiteY41" fmla="*/ 214952 h 266131"/>
              <a:gd name="connsiteX42" fmla="*/ 107988 w 372071"/>
              <a:gd name="connsiteY42" fmla="*/ 209834 h 266131"/>
              <a:gd name="connsiteX43" fmla="*/ 118224 w 372071"/>
              <a:gd name="connsiteY43" fmla="*/ 209834 h 266131"/>
              <a:gd name="connsiteX44" fmla="*/ 123342 w 372071"/>
              <a:gd name="connsiteY44" fmla="*/ 214952 h 266131"/>
              <a:gd name="connsiteX45" fmla="*/ 118224 w 372071"/>
              <a:gd name="connsiteY45" fmla="*/ 220070 h 266131"/>
              <a:gd name="connsiteX46" fmla="*/ 125901 w 372071"/>
              <a:gd name="connsiteY46" fmla="*/ 177592 h 266131"/>
              <a:gd name="connsiteX47" fmla="*/ 33266 w 372071"/>
              <a:gd name="connsiteY47" fmla="*/ 177592 h 266131"/>
              <a:gd name="connsiteX48" fmla="*/ 28149 w 372071"/>
              <a:gd name="connsiteY48" fmla="*/ 172474 h 266131"/>
              <a:gd name="connsiteX49" fmla="*/ 33266 w 372071"/>
              <a:gd name="connsiteY49" fmla="*/ 167356 h 266131"/>
              <a:gd name="connsiteX50" fmla="*/ 125901 w 372071"/>
              <a:gd name="connsiteY50" fmla="*/ 167356 h 266131"/>
              <a:gd name="connsiteX51" fmla="*/ 131019 w 372071"/>
              <a:gd name="connsiteY51" fmla="*/ 172474 h 266131"/>
              <a:gd name="connsiteX52" fmla="*/ 125901 w 372071"/>
              <a:gd name="connsiteY52" fmla="*/ 177592 h 266131"/>
              <a:gd name="connsiteX53" fmla="*/ 269202 w 372071"/>
              <a:gd name="connsiteY53" fmla="*/ 224164 h 266131"/>
              <a:gd name="connsiteX54" fmla="*/ 264596 w 372071"/>
              <a:gd name="connsiteY54" fmla="*/ 227235 h 266131"/>
              <a:gd name="connsiteX55" fmla="*/ 258966 w 372071"/>
              <a:gd name="connsiteY55" fmla="*/ 229282 h 266131"/>
              <a:gd name="connsiteX56" fmla="*/ 249754 w 372071"/>
              <a:gd name="connsiteY56" fmla="*/ 230818 h 266131"/>
              <a:gd name="connsiteX57" fmla="*/ 216488 w 372071"/>
              <a:gd name="connsiteY57" fmla="*/ 197551 h 266131"/>
              <a:gd name="connsiteX58" fmla="*/ 249754 w 372071"/>
              <a:gd name="connsiteY58" fmla="*/ 164285 h 266131"/>
              <a:gd name="connsiteX59" fmla="*/ 258966 w 372071"/>
              <a:gd name="connsiteY59" fmla="*/ 165820 h 266131"/>
              <a:gd name="connsiteX60" fmla="*/ 264084 w 372071"/>
              <a:gd name="connsiteY60" fmla="*/ 167867 h 266131"/>
              <a:gd name="connsiteX61" fmla="*/ 268690 w 372071"/>
              <a:gd name="connsiteY61" fmla="*/ 170426 h 266131"/>
              <a:gd name="connsiteX62" fmla="*/ 283021 w 372071"/>
              <a:gd name="connsiteY62" fmla="*/ 197551 h 266131"/>
              <a:gd name="connsiteX63" fmla="*/ 269202 w 372071"/>
              <a:gd name="connsiteY63" fmla="*/ 224164 h 266131"/>
              <a:gd name="connsiteX64" fmla="*/ 288138 w 372071"/>
              <a:gd name="connsiteY64" fmla="*/ 230306 h 266131"/>
              <a:gd name="connsiteX65" fmla="*/ 278926 w 372071"/>
              <a:gd name="connsiteY65" fmla="*/ 228771 h 266131"/>
              <a:gd name="connsiteX66" fmla="*/ 293256 w 372071"/>
              <a:gd name="connsiteY66" fmla="*/ 196528 h 266131"/>
              <a:gd name="connsiteX67" fmla="*/ 278926 w 372071"/>
              <a:gd name="connsiteY67" fmla="*/ 164285 h 266131"/>
              <a:gd name="connsiteX68" fmla="*/ 288138 w 372071"/>
              <a:gd name="connsiteY68" fmla="*/ 162750 h 266131"/>
              <a:gd name="connsiteX69" fmla="*/ 321405 w 372071"/>
              <a:gd name="connsiteY69" fmla="*/ 196016 h 266131"/>
              <a:gd name="connsiteX70" fmla="*/ 288138 w 372071"/>
              <a:gd name="connsiteY70" fmla="*/ 230306 h 2661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372071" h="266131">
                <a:moveTo>
                  <a:pt x="341365" y="0"/>
                </a:moveTo>
                <a:lnTo>
                  <a:pt x="30707" y="0"/>
                </a:lnTo>
                <a:cubicBezTo>
                  <a:pt x="13818" y="0"/>
                  <a:pt x="0" y="13818"/>
                  <a:pt x="0" y="30707"/>
                </a:cubicBezTo>
                <a:lnTo>
                  <a:pt x="0" y="235424"/>
                </a:lnTo>
                <a:cubicBezTo>
                  <a:pt x="0" y="252313"/>
                  <a:pt x="13818" y="266131"/>
                  <a:pt x="30707" y="266131"/>
                </a:cubicBezTo>
                <a:lnTo>
                  <a:pt x="341365" y="266131"/>
                </a:lnTo>
                <a:cubicBezTo>
                  <a:pt x="358254" y="266131"/>
                  <a:pt x="372072" y="252313"/>
                  <a:pt x="372072" y="235424"/>
                </a:cubicBezTo>
                <a:lnTo>
                  <a:pt x="372072" y="30707"/>
                </a:lnTo>
                <a:cubicBezTo>
                  <a:pt x="372072" y="13818"/>
                  <a:pt x="358254" y="0"/>
                  <a:pt x="341365" y="0"/>
                </a:cubicBezTo>
                <a:close/>
                <a:moveTo>
                  <a:pt x="33266" y="36849"/>
                </a:moveTo>
                <a:cubicBezTo>
                  <a:pt x="33266" y="33778"/>
                  <a:pt x="35314" y="31731"/>
                  <a:pt x="38384" y="31731"/>
                </a:cubicBezTo>
                <a:lnTo>
                  <a:pt x="120783" y="31731"/>
                </a:lnTo>
                <a:cubicBezTo>
                  <a:pt x="123853" y="31731"/>
                  <a:pt x="125901" y="33778"/>
                  <a:pt x="125901" y="36849"/>
                </a:cubicBezTo>
                <a:lnTo>
                  <a:pt x="125901" y="79328"/>
                </a:lnTo>
                <a:cubicBezTo>
                  <a:pt x="125901" y="82398"/>
                  <a:pt x="123853" y="84446"/>
                  <a:pt x="120783" y="84446"/>
                </a:cubicBezTo>
                <a:lnTo>
                  <a:pt x="38384" y="84446"/>
                </a:lnTo>
                <a:cubicBezTo>
                  <a:pt x="35314" y="84446"/>
                  <a:pt x="33266" y="82398"/>
                  <a:pt x="33266" y="79328"/>
                </a:cubicBezTo>
                <a:lnTo>
                  <a:pt x="33266" y="36849"/>
                </a:lnTo>
                <a:close/>
                <a:moveTo>
                  <a:pt x="43502" y="220070"/>
                </a:moveTo>
                <a:lnTo>
                  <a:pt x="33266" y="220070"/>
                </a:lnTo>
                <a:cubicBezTo>
                  <a:pt x="30707" y="220070"/>
                  <a:pt x="28149" y="218023"/>
                  <a:pt x="28149" y="214952"/>
                </a:cubicBezTo>
                <a:cubicBezTo>
                  <a:pt x="28149" y="212393"/>
                  <a:pt x="30707" y="209834"/>
                  <a:pt x="33266" y="209834"/>
                </a:cubicBezTo>
                <a:lnTo>
                  <a:pt x="43502" y="209834"/>
                </a:lnTo>
                <a:cubicBezTo>
                  <a:pt x="46573" y="209834"/>
                  <a:pt x="48620" y="212393"/>
                  <a:pt x="48620" y="214952"/>
                </a:cubicBezTo>
                <a:cubicBezTo>
                  <a:pt x="48620" y="218023"/>
                  <a:pt x="46573" y="220070"/>
                  <a:pt x="43502" y="220070"/>
                </a:cubicBezTo>
                <a:close/>
                <a:moveTo>
                  <a:pt x="68580" y="220070"/>
                </a:moveTo>
                <a:lnTo>
                  <a:pt x="58344" y="220070"/>
                </a:lnTo>
                <a:cubicBezTo>
                  <a:pt x="55785" y="220070"/>
                  <a:pt x="53226" y="218023"/>
                  <a:pt x="53226" y="214952"/>
                </a:cubicBezTo>
                <a:cubicBezTo>
                  <a:pt x="53226" y="212393"/>
                  <a:pt x="55785" y="209834"/>
                  <a:pt x="58344" y="209834"/>
                </a:cubicBezTo>
                <a:lnTo>
                  <a:pt x="68580" y="209834"/>
                </a:lnTo>
                <a:cubicBezTo>
                  <a:pt x="71139" y="209834"/>
                  <a:pt x="73698" y="212393"/>
                  <a:pt x="73698" y="214952"/>
                </a:cubicBezTo>
                <a:cubicBezTo>
                  <a:pt x="73698" y="218023"/>
                  <a:pt x="71139" y="220070"/>
                  <a:pt x="68580" y="220070"/>
                </a:cubicBezTo>
                <a:close/>
                <a:moveTo>
                  <a:pt x="93658" y="220070"/>
                </a:moveTo>
                <a:lnTo>
                  <a:pt x="83422" y="220070"/>
                </a:lnTo>
                <a:cubicBezTo>
                  <a:pt x="80863" y="220070"/>
                  <a:pt x="78304" y="218023"/>
                  <a:pt x="78304" y="214952"/>
                </a:cubicBezTo>
                <a:cubicBezTo>
                  <a:pt x="78304" y="212393"/>
                  <a:pt x="80863" y="209834"/>
                  <a:pt x="83422" y="209834"/>
                </a:cubicBezTo>
                <a:lnTo>
                  <a:pt x="93658" y="209834"/>
                </a:lnTo>
                <a:cubicBezTo>
                  <a:pt x="96728" y="209834"/>
                  <a:pt x="98776" y="212393"/>
                  <a:pt x="98776" y="214952"/>
                </a:cubicBezTo>
                <a:cubicBezTo>
                  <a:pt x="98776" y="218023"/>
                  <a:pt x="96217" y="220070"/>
                  <a:pt x="93658" y="220070"/>
                </a:cubicBezTo>
                <a:close/>
                <a:moveTo>
                  <a:pt x="118224" y="220070"/>
                </a:moveTo>
                <a:lnTo>
                  <a:pt x="107988" y="220070"/>
                </a:lnTo>
                <a:cubicBezTo>
                  <a:pt x="105429" y="220070"/>
                  <a:pt x="102870" y="218023"/>
                  <a:pt x="102870" y="214952"/>
                </a:cubicBezTo>
                <a:cubicBezTo>
                  <a:pt x="102870" y="212393"/>
                  <a:pt x="105429" y="209834"/>
                  <a:pt x="107988" y="209834"/>
                </a:cubicBezTo>
                <a:lnTo>
                  <a:pt x="118224" y="209834"/>
                </a:lnTo>
                <a:cubicBezTo>
                  <a:pt x="121295" y="209834"/>
                  <a:pt x="123342" y="212393"/>
                  <a:pt x="123342" y="214952"/>
                </a:cubicBezTo>
                <a:cubicBezTo>
                  <a:pt x="123342" y="218023"/>
                  <a:pt x="121295" y="220070"/>
                  <a:pt x="118224" y="220070"/>
                </a:cubicBezTo>
                <a:close/>
                <a:moveTo>
                  <a:pt x="125901" y="177592"/>
                </a:moveTo>
                <a:lnTo>
                  <a:pt x="33266" y="177592"/>
                </a:lnTo>
                <a:cubicBezTo>
                  <a:pt x="30196" y="177592"/>
                  <a:pt x="28149" y="175544"/>
                  <a:pt x="28149" y="172474"/>
                </a:cubicBezTo>
                <a:cubicBezTo>
                  <a:pt x="28149" y="169403"/>
                  <a:pt x="30196" y="167356"/>
                  <a:pt x="33266" y="167356"/>
                </a:cubicBezTo>
                <a:lnTo>
                  <a:pt x="125901" y="167356"/>
                </a:lnTo>
                <a:cubicBezTo>
                  <a:pt x="128971" y="167356"/>
                  <a:pt x="131019" y="169403"/>
                  <a:pt x="131019" y="172474"/>
                </a:cubicBezTo>
                <a:cubicBezTo>
                  <a:pt x="131019" y="175544"/>
                  <a:pt x="128971" y="177592"/>
                  <a:pt x="125901" y="177592"/>
                </a:cubicBezTo>
                <a:close/>
                <a:moveTo>
                  <a:pt x="269202" y="224164"/>
                </a:moveTo>
                <a:cubicBezTo>
                  <a:pt x="267667" y="225188"/>
                  <a:pt x="266131" y="226212"/>
                  <a:pt x="264596" y="227235"/>
                </a:cubicBezTo>
                <a:cubicBezTo>
                  <a:pt x="263061" y="228259"/>
                  <a:pt x="261014" y="228771"/>
                  <a:pt x="258966" y="229282"/>
                </a:cubicBezTo>
                <a:cubicBezTo>
                  <a:pt x="255896" y="230306"/>
                  <a:pt x="252825" y="230818"/>
                  <a:pt x="249754" y="230818"/>
                </a:cubicBezTo>
                <a:cubicBezTo>
                  <a:pt x="231329" y="230818"/>
                  <a:pt x="216488" y="215976"/>
                  <a:pt x="216488" y="197551"/>
                </a:cubicBezTo>
                <a:cubicBezTo>
                  <a:pt x="216488" y="179127"/>
                  <a:pt x="231329" y="164285"/>
                  <a:pt x="249754" y="164285"/>
                </a:cubicBezTo>
                <a:cubicBezTo>
                  <a:pt x="252825" y="164285"/>
                  <a:pt x="255896" y="164797"/>
                  <a:pt x="258966" y="165820"/>
                </a:cubicBezTo>
                <a:cubicBezTo>
                  <a:pt x="261014" y="166332"/>
                  <a:pt x="262549" y="166844"/>
                  <a:pt x="264084" y="167867"/>
                </a:cubicBezTo>
                <a:cubicBezTo>
                  <a:pt x="265620" y="168891"/>
                  <a:pt x="267155" y="169403"/>
                  <a:pt x="268690" y="170426"/>
                </a:cubicBezTo>
                <a:cubicBezTo>
                  <a:pt x="277391" y="176568"/>
                  <a:pt x="283021" y="186292"/>
                  <a:pt x="283021" y="197551"/>
                </a:cubicBezTo>
                <a:cubicBezTo>
                  <a:pt x="283021" y="208299"/>
                  <a:pt x="277391" y="218023"/>
                  <a:pt x="269202" y="224164"/>
                </a:cubicBezTo>
                <a:close/>
                <a:moveTo>
                  <a:pt x="288138" y="230306"/>
                </a:moveTo>
                <a:cubicBezTo>
                  <a:pt x="285068" y="230306"/>
                  <a:pt x="281997" y="229794"/>
                  <a:pt x="278926" y="228771"/>
                </a:cubicBezTo>
                <a:cubicBezTo>
                  <a:pt x="287626" y="221094"/>
                  <a:pt x="293256" y="209323"/>
                  <a:pt x="293256" y="196528"/>
                </a:cubicBezTo>
                <a:cubicBezTo>
                  <a:pt x="293256" y="183733"/>
                  <a:pt x="287626" y="172474"/>
                  <a:pt x="278926" y="164285"/>
                </a:cubicBezTo>
                <a:cubicBezTo>
                  <a:pt x="281997" y="163261"/>
                  <a:pt x="285068" y="162750"/>
                  <a:pt x="288138" y="162750"/>
                </a:cubicBezTo>
                <a:cubicBezTo>
                  <a:pt x="306563" y="162750"/>
                  <a:pt x="321405" y="177592"/>
                  <a:pt x="321405" y="196016"/>
                </a:cubicBezTo>
                <a:cubicBezTo>
                  <a:pt x="321405" y="215464"/>
                  <a:pt x="306563" y="230306"/>
                  <a:pt x="288138" y="230306"/>
                </a:cubicBezTo>
                <a:close/>
              </a:path>
            </a:pathLst>
          </a:custGeom>
          <a:solidFill>
            <a:schemeClr val="accent4"/>
          </a:solidFill>
          <a:ln w="511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nvGrpSpPr>
          <p:cNvPr id="80" name="Graphic 1">
            <a:extLst>
              <a:ext uri="{FF2B5EF4-FFF2-40B4-BE49-F238E27FC236}">
                <a16:creationId xmlns:a16="http://schemas.microsoft.com/office/drawing/2014/main" id="{FC800F25-5659-42B4-9508-F80F6C8F9EA4}"/>
              </a:ext>
            </a:extLst>
          </p:cNvPr>
          <p:cNvGrpSpPr/>
          <p:nvPr/>
        </p:nvGrpSpPr>
        <p:grpSpPr>
          <a:xfrm>
            <a:off x="8415867" y="4666091"/>
            <a:ext cx="227462" cy="227462"/>
            <a:chOff x="7131353" y="598283"/>
            <a:chExt cx="372072" cy="372072"/>
          </a:xfrm>
          <a:solidFill>
            <a:schemeClr val="accent5"/>
          </a:solidFill>
        </p:grpSpPr>
        <p:sp>
          <p:nvSpPr>
            <p:cNvPr id="81" name="Freeform: Shape 87">
              <a:extLst>
                <a:ext uri="{FF2B5EF4-FFF2-40B4-BE49-F238E27FC236}">
                  <a16:creationId xmlns:a16="http://schemas.microsoft.com/office/drawing/2014/main" id="{817FE827-B4C1-4825-AD2F-3F95BAA94D2F}"/>
                </a:ext>
              </a:extLst>
            </p:cNvPr>
            <p:cNvSpPr/>
            <p:nvPr/>
          </p:nvSpPr>
          <p:spPr>
            <a:xfrm>
              <a:off x="7131353" y="598283"/>
              <a:ext cx="372072" cy="372072"/>
            </a:xfrm>
            <a:custGeom>
              <a:avLst/>
              <a:gdLst>
                <a:gd name="connsiteX0" fmla="*/ 368490 w 372072"/>
                <a:gd name="connsiteY0" fmla="*/ 10236 h 372072"/>
                <a:gd name="connsiteX1" fmla="*/ 367978 w 372072"/>
                <a:gd name="connsiteY1" fmla="*/ 9212 h 372072"/>
                <a:gd name="connsiteX2" fmla="*/ 366954 w 372072"/>
                <a:gd name="connsiteY2" fmla="*/ 7677 h 372072"/>
                <a:gd name="connsiteX3" fmla="*/ 365419 w 372072"/>
                <a:gd name="connsiteY3" fmla="*/ 6141 h 372072"/>
                <a:gd name="connsiteX4" fmla="*/ 364907 w 372072"/>
                <a:gd name="connsiteY4" fmla="*/ 5630 h 372072"/>
                <a:gd name="connsiteX5" fmla="*/ 355183 w 372072"/>
                <a:gd name="connsiteY5" fmla="*/ 512 h 372072"/>
                <a:gd name="connsiteX6" fmla="*/ 351089 w 372072"/>
                <a:gd name="connsiteY6" fmla="*/ 0 h 372072"/>
                <a:gd name="connsiteX7" fmla="*/ 351089 w 372072"/>
                <a:gd name="connsiteY7" fmla="*/ 0 h 372072"/>
                <a:gd name="connsiteX8" fmla="*/ 19960 w 372072"/>
                <a:gd name="connsiteY8" fmla="*/ 0 h 372072"/>
                <a:gd name="connsiteX9" fmla="*/ 15866 w 372072"/>
                <a:gd name="connsiteY9" fmla="*/ 512 h 372072"/>
                <a:gd name="connsiteX10" fmla="*/ 3583 w 372072"/>
                <a:gd name="connsiteY10" fmla="*/ 8700 h 372072"/>
                <a:gd name="connsiteX11" fmla="*/ 3071 w 372072"/>
                <a:gd name="connsiteY11" fmla="*/ 9212 h 372072"/>
                <a:gd name="connsiteX12" fmla="*/ 2047 w 372072"/>
                <a:gd name="connsiteY12" fmla="*/ 11771 h 372072"/>
                <a:gd name="connsiteX13" fmla="*/ 1535 w 372072"/>
                <a:gd name="connsiteY13" fmla="*/ 12795 h 372072"/>
                <a:gd name="connsiteX14" fmla="*/ 1024 w 372072"/>
                <a:gd name="connsiteY14" fmla="*/ 14842 h 372072"/>
                <a:gd name="connsiteX15" fmla="*/ 512 w 372072"/>
                <a:gd name="connsiteY15" fmla="*/ 16377 h 372072"/>
                <a:gd name="connsiteX16" fmla="*/ 0 w 372072"/>
                <a:gd name="connsiteY16" fmla="*/ 20472 h 372072"/>
                <a:gd name="connsiteX17" fmla="*/ 0 w 372072"/>
                <a:gd name="connsiteY17" fmla="*/ 186292 h 372072"/>
                <a:gd name="connsiteX18" fmla="*/ 0 w 372072"/>
                <a:gd name="connsiteY18" fmla="*/ 186292 h 372072"/>
                <a:gd name="connsiteX19" fmla="*/ 0 w 372072"/>
                <a:gd name="connsiteY19" fmla="*/ 190898 h 372072"/>
                <a:gd name="connsiteX20" fmla="*/ 185780 w 372072"/>
                <a:gd name="connsiteY20" fmla="*/ 372072 h 372072"/>
                <a:gd name="connsiteX21" fmla="*/ 372072 w 372072"/>
                <a:gd name="connsiteY21" fmla="*/ 185780 h 372072"/>
                <a:gd name="connsiteX22" fmla="*/ 372072 w 372072"/>
                <a:gd name="connsiteY22" fmla="*/ 20983 h 372072"/>
                <a:gd name="connsiteX23" fmla="*/ 368490 w 372072"/>
                <a:gd name="connsiteY23" fmla="*/ 10236 h 372072"/>
                <a:gd name="connsiteX24" fmla="*/ 311681 w 372072"/>
                <a:gd name="connsiteY24" fmla="*/ 185780 h 372072"/>
                <a:gd name="connsiteX25" fmla="*/ 184245 w 372072"/>
                <a:gd name="connsiteY25" fmla="*/ 313216 h 372072"/>
                <a:gd name="connsiteX26" fmla="*/ 56809 w 372072"/>
                <a:gd name="connsiteY26" fmla="*/ 185780 h 372072"/>
                <a:gd name="connsiteX27" fmla="*/ 56809 w 372072"/>
                <a:gd name="connsiteY27" fmla="*/ 68580 h 372072"/>
                <a:gd name="connsiteX28" fmla="*/ 67045 w 372072"/>
                <a:gd name="connsiteY28" fmla="*/ 58344 h 372072"/>
                <a:gd name="connsiteX29" fmla="*/ 300933 w 372072"/>
                <a:gd name="connsiteY29" fmla="*/ 58344 h 372072"/>
                <a:gd name="connsiteX30" fmla="*/ 311169 w 372072"/>
                <a:gd name="connsiteY30" fmla="*/ 68580 h 372072"/>
                <a:gd name="connsiteX31" fmla="*/ 311169 w 372072"/>
                <a:gd name="connsiteY31" fmla="*/ 185780 h 372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72072" h="372072">
                  <a:moveTo>
                    <a:pt x="368490" y="10236"/>
                  </a:moveTo>
                  <a:cubicBezTo>
                    <a:pt x="368490" y="9724"/>
                    <a:pt x="367978" y="9724"/>
                    <a:pt x="367978" y="9212"/>
                  </a:cubicBezTo>
                  <a:cubicBezTo>
                    <a:pt x="367466" y="8700"/>
                    <a:pt x="367466" y="8189"/>
                    <a:pt x="366954" y="7677"/>
                  </a:cubicBezTo>
                  <a:cubicBezTo>
                    <a:pt x="366443" y="7165"/>
                    <a:pt x="365931" y="6653"/>
                    <a:pt x="365419" y="6141"/>
                  </a:cubicBezTo>
                  <a:cubicBezTo>
                    <a:pt x="365419" y="6141"/>
                    <a:pt x="364907" y="5630"/>
                    <a:pt x="364907" y="5630"/>
                  </a:cubicBezTo>
                  <a:cubicBezTo>
                    <a:pt x="362348" y="3071"/>
                    <a:pt x="358766" y="1535"/>
                    <a:pt x="355183" y="512"/>
                  </a:cubicBezTo>
                  <a:cubicBezTo>
                    <a:pt x="353648" y="0"/>
                    <a:pt x="352624" y="0"/>
                    <a:pt x="351089" y="0"/>
                  </a:cubicBezTo>
                  <a:lnTo>
                    <a:pt x="351089" y="0"/>
                  </a:lnTo>
                  <a:lnTo>
                    <a:pt x="19960" y="0"/>
                  </a:lnTo>
                  <a:cubicBezTo>
                    <a:pt x="18425" y="0"/>
                    <a:pt x="17401" y="0"/>
                    <a:pt x="15866" y="512"/>
                  </a:cubicBezTo>
                  <a:cubicBezTo>
                    <a:pt x="10748" y="1535"/>
                    <a:pt x="6142" y="4606"/>
                    <a:pt x="3583" y="8700"/>
                  </a:cubicBezTo>
                  <a:cubicBezTo>
                    <a:pt x="3583" y="8700"/>
                    <a:pt x="3071" y="9212"/>
                    <a:pt x="3071" y="9212"/>
                  </a:cubicBezTo>
                  <a:cubicBezTo>
                    <a:pt x="2559" y="9724"/>
                    <a:pt x="2047" y="10748"/>
                    <a:pt x="2047" y="11771"/>
                  </a:cubicBezTo>
                  <a:cubicBezTo>
                    <a:pt x="2047" y="12283"/>
                    <a:pt x="1535" y="12283"/>
                    <a:pt x="1535" y="12795"/>
                  </a:cubicBezTo>
                  <a:cubicBezTo>
                    <a:pt x="1024" y="13307"/>
                    <a:pt x="1024" y="14330"/>
                    <a:pt x="1024" y="14842"/>
                  </a:cubicBezTo>
                  <a:cubicBezTo>
                    <a:pt x="1024" y="15354"/>
                    <a:pt x="512" y="15866"/>
                    <a:pt x="512" y="16377"/>
                  </a:cubicBezTo>
                  <a:cubicBezTo>
                    <a:pt x="0" y="17913"/>
                    <a:pt x="0" y="18936"/>
                    <a:pt x="0" y="20472"/>
                  </a:cubicBezTo>
                  <a:lnTo>
                    <a:pt x="0" y="186292"/>
                  </a:lnTo>
                  <a:lnTo>
                    <a:pt x="0" y="186292"/>
                  </a:lnTo>
                  <a:cubicBezTo>
                    <a:pt x="0" y="187827"/>
                    <a:pt x="0" y="189363"/>
                    <a:pt x="0" y="190898"/>
                  </a:cubicBezTo>
                  <a:cubicBezTo>
                    <a:pt x="2559" y="291209"/>
                    <a:pt x="84957" y="372072"/>
                    <a:pt x="185780" y="372072"/>
                  </a:cubicBezTo>
                  <a:cubicBezTo>
                    <a:pt x="288138" y="372072"/>
                    <a:pt x="372072" y="288650"/>
                    <a:pt x="372072" y="185780"/>
                  </a:cubicBezTo>
                  <a:lnTo>
                    <a:pt x="372072" y="20983"/>
                  </a:lnTo>
                  <a:cubicBezTo>
                    <a:pt x="371560" y="16889"/>
                    <a:pt x="370537" y="13307"/>
                    <a:pt x="368490" y="10236"/>
                  </a:cubicBezTo>
                  <a:close/>
                  <a:moveTo>
                    <a:pt x="311681" y="185780"/>
                  </a:moveTo>
                  <a:cubicBezTo>
                    <a:pt x="311681" y="255895"/>
                    <a:pt x="254872" y="313216"/>
                    <a:pt x="184245" y="313216"/>
                  </a:cubicBezTo>
                  <a:cubicBezTo>
                    <a:pt x="113618" y="313216"/>
                    <a:pt x="56809" y="256407"/>
                    <a:pt x="56809" y="185780"/>
                  </a:cubicBezTo>
                  <a:lnTo>
                    <a:pt x="56809" y="68580"/>
                  </a:lnTo>
                  <a:cubicBezTo>
                    <a:pt x="56809" y="62950"/>
                    <a:pt x="61415" y="58344"/>
                    <a:pt x="67045" y="58344"/>
                  </a:cubicBezTo>
                  <a:lnTo>
                    <a:pt x="300933" y="58344"/>
                  </a:lnTo>
                  <a:cubicBezTo>
                    <a:pt x="306563" y="58344"/>
                    <a:pt x="311169" y="62950"/>
                    <a:pt x="311169" y="68580"/>
                  </a:cubicBezTo>
                  <a:lnTo>
                    <a:pt x="311169" y="185780"/>
                  </a:lnTo>
                  <a:close/>
                </a:path>
              </a:pathLst>
            </a:custGeom>
            <a:grpFill/>
            <a:ln w="511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82" name="Freeform: Shape 88">
              <a:extLst>
                <a:ext uri="{FF2B5EF4-FFF2-40B4-BE49-F238E27FC236}">
                  <a16:creationId xmlns:a16="http://schemas.microsoft.com/office/drawing/2014/main" id="{36C1EB75-3F20-499D-B814-8794F776E83E}"/>
                </a:ext>
              </a:extLst>
            </p:cNvPr>
            <p:cNvSpPr/>
            <p:nvPr/>
          </p:nvSpPr>
          <p:spPr>
            <a:xfrm>
              <a:off x="7257880" y="698082"/>
              <a:ext cx="117085" cy="172985"/>
            </a:xfrm>
            <a:custGeom>
              <a:avLst/>
              <a:gdLst>
                <a:gd name="connsiteX0" fmla="*/ 103267 w 117085"/>
                <a:gd name="connsiteY0" fmla="*/ 45038 h 172985"/>
                <a:gd name="connsiteX1" fmla="*/ 82795 w 117085"/>
                <a:gd name="connsiteY1" fmla="*/ 48108 h 172985"/>
                <a:gd name="connsiteX2" fmla="*/ 74095 w 117085"/>
                <a:gd name="connsiteY2" fmla="*/ 43502 h 172985"/>
                <a:gd name="connsiteX3" fmla="*/ 71536 w 117085"/>
                <a:gd name="connsiteY3" fmla="*/ 39408 h 172985"/>
                <a:gd name="connsiteX4" fmla="*/ 64370 w 117085"/>
                <a:gd name="connsiteY4" fmla="*/ 34290 h 172985"/>
                <a:gd name="connsiteX5" fmla="*/ 64370 w 117085"/>
                <a:gd name="connsiteY5" fmla="*/ 62439 h 172985"/>
                <a:gd name="connsiteX6" fmla="*/ 103778 w 117085"/>
                <a:gd name="connsiteY6" fmla="*/ 78816 h 172985"/>
                <a:gd name="connsiteX7" fmla="*/ 117085 w 117085"/>
                <a:gd name="connsiteY7" fmla="*/ 108500 h 172985"/>
                <a:gd name="connsiteX8" fmla="*/ 112479 w 117085"/>
                <a:gd name="connsiteY8" fmla="*/ 127948 h 172985"/>
                <a:gd name="connsiteX9" fmla="*/ 100708 w 117085"/>
                <a:gd name="connsiteY9" fmla="*/ 142790 h 172985"/>
                <a:gd name="connsiteX10" fmla="*/ 85354 w 117085"/>
                <a:gd name="connsiteY10" fmla="*/ 151490 h 172985"/>
                <a:gd name="connsiteX11" fmla="*/ 65394 w 117085"/>
                <a:gd name="connsiteY11" fmla="*/ 154561 h 172985"/>
                <a:gd name="connsiteX12" fmla="*/ 65394 w 117085"/>
                <a:gd name="connsiteY12" fmla="*/ 172985 h 172985"/>
                <a:gd name="connsiteX13" fmla="*/ 51064 w 117085"/>
                <a:gd name="connsiteY13" fmla="*/ 172985 h 172985"/>
                <a:gd name="connsiteX14" fmla="*/ 51064 w 117085"/>
                <a:gd name="connsiteY14" fmla="*/ 154561 h 172985"/>
                <a:gd name="connsiteX15" fmla="*/ 28033 w 117085"/>
                <a:gd name="connsiteY15" fmla="*/ 149955 h 172985"/>
                <a:gd name="connsiteX16" fmla="*/ 12680 w 117085"/>
                <a:gd name="connsiteY16" fmla="*/ 140743 h 172985"/>
                <a:gd name="connsiteX17" fmla="*/ 2956 w 117085"/>
                <a:gd name="connsiteY17" fmla="*/ 127948 h 172985"/>
                <a:gd name="connsiteX18" fmla="*/ 397 w 117085"/>
                <a:gd name="connsiteY18" fmla="*/ 121295 h 172985"/>
                <a:gd name="connsiteX19" fmla="*/ 7050 w 117085"/>
                <a:gd name="connsiteY19" fmla="*/ 110547 h 172985"/>
                <a:gd name="connsiteX20" fmla="*/ 29569 w 117085"/>
                <a:gd name="connsiteY20" fmla="*/ 107988 h 172985"/>
                <a:gd name="connsiteX21" fmla="*/ 38269 w 117085"/>
                <a:gd name="connsiteY21" fmla="*/ 114129 h 172985"/>
                <a:gd name="connsiteX22" fmla="*/ 41340 w 117085"/>
                <a:gd name="connsiteY22" fmla="*/ 121295 h 172985"/>
                <a:gd name="connsiteX23" fmla="*/ 51064 w 117085"/>
                <a:gd name="connsiteY23" fmla="*/ 128971 h 172985"/>
                <a:gd name="connsiteX24" fmla="*/ 51064 w 117085"/>
                <a:gd name="connsiteY24" fmla="*/ 94681 h 172985"/>
                <a:gd name="connsiteX25" fmla="*/ 23427 w 117085"/>
                <a:gd name="connsiteY25" fmla="*/ 85469 h 172985"/>
                <a:gd name="connsiteX26" fmla="*/ 9097 w 117085"/>
                <a:gd name="connsiteY26" fmla="*/ 72674 h 172985"/>
                <a:gd name="connsiteX27" fmla="*/ 2956 w 117085"/>
                <a:gd name="connsiteY27" fmla="*/ 51179 h 172985"/>
                <a:gd name="connsiteX28" fmla="*/ 15239 w 117085"/>
                <a:gd name="connsiteY28" fmla="*/ 22519 h 172985"/>
                <a:gd name="connsiteX29" fmla="*/ 51064 w 117085"/>
                <a:gd name="connsiteY29" fmla="*/ 9724 h 172985"/>
                <a:gd name="connsiteX30" fmla="*/ 51064 w 117085"/>
                <a:gd name="connsiteY30" fmla="*/ 0 h 172985"/>
                <a:gd name="connsiteX31" fmla="*/ 65394 w 117085"/>
                <a:gd name="connsiteY31" fmla="*/ 0 h 172985"/>
                <a:gd name="connsiteX32" fmla="*/ 65394 w 117085"/>
                <a:gd name="connsiteY32" fmla="*/ 9724 h 172985"/>
                <a:gd name="connsiteX33" fmla="*/ 98660 w 117085"/>
                <a:gd name="connsiteY33" fmla="*/ 19960 h 172985"/>
                <a:gd name="connsiteX34" fmla="*/ 110432 w 117085"/>
                <a:gd name="connsiteY34" fmla="*/ 34802 h 172985"/>
                <a:gd name="connsiteX35" fmla="*/ 103267 w 117085"/>
                <a:gd name="connsiteY35" fmla="*/ 45038 h 172985"/>
                <a:gd name="connsiteX36" fmla="*/ 50552 w 117085"/>
                <a:gd name="connsiteY36" fmla="*/ 33778 h 172985"/>
                <a:gd name="connsiteX37" fmla="*/ 41852 w 117085"/>
                <a:gd name="connsiteY37" fmla="*/ 38896 h 172985"/>
                <a:gd name="connsiteX38" fmla="*/ 39293 w 117085"/>
                <a:gd name="connsiteY38" fmla="*/ 46061 h 172985"/>
                <a:gd name="connsiteX39" fmla="*/ 41852 w 117085"/>
                <a:gd name="connsiteY39" fmla="*/ 53738 h 172985"/>
                <a:gd name="connsiteX40" fmla="*/ 50552 w 117085"/>
                <a:gd name="connsiteY40" fmla="*/ 58856 h 172985"/>
                <a:gd name="connsiteX41" fmla="*/ 50552 w 117085"/>
                <a:gd name="connsiteY41" fmla="*/ 33778 h 172985"/>
                <a:gd name="connsiteX42" fmla="*/ 64882 w 117085"/>
                <a:gd name="connsiteY42" fmla="*/ 128971 h 172985"/>
                <a:gd name="connsiteX43" fmla="*/ 77165 w 117085"/>
                <a:gd name="connsiteY43" fmla="*/ 122830 h 172985"/>
                <a:gd name="connsiteX44" fmla="*/ 80748 w 117085"/>
                <a:gd name="connsiteY44" fmla="*/ 113618 h 172985"/>
                <a:gd name="connsiteX45" fmla="*/ 77677 w 117085"/>
                <a:gd name="connsiteY45" fmla="*/ 105429 h 172985"/>
                <a:gd name="connsiteX46" fmla="*/ 64882 w 117085"/>
                <a:gd name="connsiteY46" fmla="*/ 98264 h 172985"/>
                <a:gd name="connsiteX47" fmla="*/ 64882 w 117085"/>
                <a:gd name="connsiteY47" fmla="*/ 128971 h 1729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117085" h="172985">
                  <a:moveTo>
                    <a:pt x="103267" y="45038"/>
                  </a:moveTo>
                  <a:lnTo>
                    <a:pt x="82795" y="48108"/>
                  </a:lnTo>
                  <a:cubicBezTo>
                    <a:pt x="79212" y="48620"/>
                    <a:pt x="75630" y="46573"/>
                    <a:pt x="74095" y="43502"/>
                  </a:cubicBezTo>
                  <a:cubicBezTo>
                    <a:pt x="73071" y="41967"/>
                    <a:pt x="72559" y="40432"/>
                    <a:pt x="71536" y="39408"/>
                  </a:cubicBezTo>
                  <a:cubicBezTo>
                    <a:pt x="70000" y="37873"/>
                    <a:pt x="67441" y="35825"/>
                    <a:pt x="64370" y="34290"/>
                  </a:cubicBezTo>
                  <a:lnTo>
                    <a:pt x="64370" y="62439"/>
                  </a:lnTo>
                  <a:cubicBezTo>
                    <a:pt x="83819" y="67556"/>
                    <a:pt x="97125" y="73186"/>
                    <a:pt x="103778" y="78816"/>
                  </a:cubicBezTo>
                  <a:cubicBezTo>
                    <a:pt x="112479" y="86493"/>
                    <a:pt x="117085" y="96729"/>
                    <a:pt x="117085" y="108500"/>
                  </a:cubicBezTo>
                  <a:cubicBezTo>
                    <a:pt x="117085" y="115665"/>
                    <a:pt x="115550" y="121806"/>
                    <a:pt x="112479" y="127948"/>
                  </a:cubicBezTo>
                  <a:cubicBezTo>
                    <a:pt x="109408" y="133578"/>
                    <a:pt x="105314" y="138695"/>
                    <a:pt x="100708" y="142790"/>
                  </a:cubicBezTo>
                  <a:cubicBezTo>
                    <a:pt x="95590" y="146884"/>
                    <a:pt x="90472" y="149443"/>
                    <a:pt x="85354" y="151490"/>
                  </a:cubicBezTo>
                  <a:cubicBezTo>
                    <a:pt x="79724" y="153026"/>
                    <a:pt x="73071" y="154561"/>
                    <a:pt x="65394" y="154561"/>
                  </a:cubicBezTo>
                  <a:lnTo>
                    <a:pt x="65394" y="172985"/>
                  </a:lnTo>
                  <a:lnTo>
                    <a:pt x="51064" y="172985"/>
                  </a:lnTo>
                  <a:lnTo>
                    <a:pt x="51064" y="154561"/>
                  </a:lnTo>
                  <a:cubicBezTo>
                    <a:pt x="41340" y="153537"/>
                    <a:pt x="33663" y="152002"/>
                    <a:pt x="28033" y="149955"/>
                  </a:cubicBezTo>
                  <a:cubicBezTo>
                    <a:pt x="21892" y="147908"/>
                    <a:pt x="17286" y="144837"/>
                    <a:pt x="12680" y="140743"/>
                  </a:cubicBezTo>
                  <a:cubicBezTo>
                    <a:pt x="8585" y="136648"/>
                    <a:pt x="5003" y="132554"/>
                    <a:pt x="2956" y="127948"/>
                  </a:cubicBezTo>
                  <a:cubicBezTo>
                    <a:pt x="1932" y="125901"/>
                    <a:pt x="909" y="123853"/>
                    <a:pt x="397" y="121295"/>
                  </a:cubicBezTo>
                  <a:cubicBezTo>
                    <a:pt x="-1139" y="116177"/>
                    <a:pt x="1932" y="111059"/>
                    <a:pt x="7050" y="110547"/>
                  </a:cubicBezTo>
                  <a:lnTo>
                    <a:pt x="29569" y="107988"/>
                  </a:lnTo>
                  <a:cubicBezTo>
                    <a:pt x="33663" y="107476"/>
                    <a:pt x="37246" y="110035"/>
                    <a:pt x="38269" y="114129"/>
                  </a:cubicBezTo>
                  <a:cubicBezTo>
                    <a:pt x="39293" y="117200"/>
                    <a:pt x="40317" y="119247"/>
                    <a:pt x="41340" y="121295"/>
                  </a:cubicBezTo>
                  <a:cubicBezTo>
                    <a:pt x="43387" y="124365"/>
                    <a:pt x="46458" y="126412"/>
                    <a:pt x="51064" y="128971"/>
                  </a:cubicBezTo>
                  <a:lnTo>
                    <a:pt x="51064" y="94681"/>
                  </a:lnTo>
                  <a:cubicBezTo>
                    <a:pt x="38269" y="91099"/>
                    <a:pt x="29057" y="88028"/>
                    <a:pt x="23427" y="85469"/>
                  </a:cubicBezTo>
                  <a:cubicBezTo>
                    <a:pt x="17798" y="82910"/>
                    <a:pt x="13191" y="78816"/>
                    <a:pt x="9097" y="72674"/>
                  </a:cubicBezTo>
                  <a:cubicBezTo>
                    <a:pt x="5003" y="67045"/>
                    <a:pt x="2956" y="59880"/>
                    <a:pt x="2956" y="51179"/>
                  </a:cubicBezTo>
                  <a:cubicBezTo>
                    <a:pt x="2956" y="39920"/>
                    <a:pt x="7050" y="30196"/>
                    <a:pt x="15239" y="22519"/>
                  </a:cubicBezTo>
                  <a:cubicBezTo>
                    <a:pt x="23427" y="14842"/>
                    <a:pt x="35199" y="10748"/>
                    <a:pt x="51064" y="9724"/>
                  </a:cubicBezTo>
                  <a:lnTo>
                    <a:pt x="51064" y="0"/>
                  </a:lnTo>
                  <a:lnTo>
                    <a:pt x="65394" y="0"/>
                  </a:lnTo>
                  <a:lnTo>
                    <a:pt x="65394" y="9724"/>
                  </a:lnTo>
                  <a:cubicBezTo>
                    <a:pt x="79724" y="10748"/>
                    <a:pt x="90984" y="13818"/>
                    <a:pt x="98660" y="19960"/>
                  </a:cubicBezTo>
                  <a:cubicBezTo>
                    <a:pt x="103778" y="24054"/>
                    <a:pt x="107873" y="28660"/>
                    <a:pt x="110432" y="34802"/>
                  </a:cubicBezTo>
                  <a:cubicBezTo>
                    <a:pt x="111967" y="38896"/>
                    <a:pt x="108385" y="44014"/>
                    <a:pt x="103267" y="45038"/>
                  </a:cubicBezTo>
                  <a:close/>
                  <a:moveTo>
                    <a:pt x="50552" y="33778"/>
                  </a:moveTo>
                  <a:cubicBezTo>
                    <a:pt x="46458" y="35314"/>
                    <a:pt x="43387" y="36849"/>
                    <a:pt x="41852" y="38896"/>
                  </a:cubicBezTo>
                  <a:cubicBezTo>
                    <a:pt x="40317" y="40943"/>
                    <a:pt x="39293" y="43502"/>
                    <a:pt x="39293" y="46061"/>
                  </a:cubicBezTo>
                  <a:cubicBezTo>
                    <a:pt x="39293" y="49132"/>
                    <a:pt x="40317" y="51179"/>
                    <a:pt x="41852" y="53738"/>
                  </a:cubicBezTo>
                  <a:cubicBezTo>
                    <a:pt x="43387" y="55785"/>
                    <a:pt x="46458" y="57832"/>
                    <a:pt x="50552" y="58856"/>
                  </a:cubicBezTo>
                  <a:lnTo>
                    <a:pt x="50552" y="33778"/>
                  </a:lnTo>
                  <a:close/>
                  <a:moveTo>
                    <a:pt x="64882" y="128971"/>
                  </a:moveTo>
                  <a:cubicBezTo>
                    <a:pt x="70512" y="127948"/>
                    <a:pt x="74606" y="125901"/>
                    <a:pt x="77165" y="122830"/>
                  </a:cubicBezTo>
                  <a:cubicBezTo>
                    <a:pt x="79724" y="119759"/>
                    <a:pt x="80748" y="116688"/>
                    <a:pt x="80748" y="113618"/>
                  </a:cubicBezTo>
                  <a:cubicBezTo>
                    <a:pt x="80748" y="110547"/>
                    <a:pt x="79724" y="107988"/>
                    <a:pt x="77677" y="105429"/>
                  </a:cubicBezTo>
                  <a:cubicBezTo>
                    <a:pt x="75630" y="102870"/>
                    <a:pt x="71536" y="100311"/>
                    <a:pt x="64882" y="98264"/>
                  </a:cubicBezTo>
                  <a:lnTo>
                    <a:pt x="64882" y="128971"/>
                  </a:lnTo>
                  <a:close/>
                </a:path>
              </a:pathLst>
            </a:custGeom>
            <a:grpFill/>
            <a:ln w="511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grpSp>
        <p:nvGrpSpPr>
          <p:cNvPr id="83" name="Graphic 1">
            <a:extLst>
              <a:ext uri="{FF2B5EF4-FFF2-40B4-BE49-F238E27FC236}">
                <a16:creationId xmlns:a16="http://schemas.microsoft.com/office/drawing/2014/main" id="{006E829B-734F-4794-B3D4-7C322A2A0EC7}"/>
              </a:ext>
            </a:extLst>
          </p:cNvPr>
          <p:cNvGrpSpPr/>
          <p:nvPr/>
        </p:nvGrpSpPr>
        <p:grpSpPr>
          <a:xfrm>
            <a:off x="3631876" y="3661925"/>
            <a:ext cx="297544" cy="199928"/>
            <a:chOff x="5902031" y="2356285"/>
            <a:chExt cx="486713" cy="327034"/>
          </a:xfrm>
          <a:solidFill>
            <a:schemeClr val="accent2"/>
          </a:solidFill>
        </p:grpSpPr>
        <p:sp>
          <p:nvSpPr>
            <p:cNvPr id="84" name="Freeform: Shape 90">
              <a:extLst>
                <a:ext uri="{FF2B5EF4-FFF2-40B4-BE49-F238E27FC236}">
                  <a16:creationId xmlns:a16="http://schemas.microsoft.com/office/drawing/2014/main" id="{7EF56C13-4937-4BB3-85E2-C2223CEFFD7C}"/>
                </a:ext>
              </a:extLst>
            </p:cNvPr>
            <p:cNvSpPr/>
            <p:nvPr/>
          </p:nvSpPr>
          <p:spPr>
            <a:xfrm>
              <a:off x="6281780" y="2609569"/>
              <a:ext cx="83421" cy="73751"/>
            </a:xfrm>
            <a:custGeom>
              <a:avLst/>
              <a:gdLst>
                <a:gd name="connsiteX0" fmla="*/ 83422 w 83421"/>
                <a:gd name="connsiteY0" fmla="*/ 36902 h 73751"/>
                <a:gd name="connsiteX1" fmla="*/ 41967 w 83421"/>
                <a:gd name="connsiteY1" fmla="*/ 73751 h 73751"/>
                <a:gd name="connsiteX2" fmla="*/ 39920 w 83421"/>
                <a:gd name="connsiteY2" fmla="*/ 73751 h 73751"/>
                <a:gd name="connsiteX3" fmla="*/ 0 w 83421"/>
                <a:gd name="connsiteY3" fmla="*/ 36902 h 73751"/>
                <a:gd name="connsiteX4" fmla="*/ 10236 w 83421"/>
                <a:gd name="connsiteY4" fmla="*/ 36902 h 73751"/>
                <a:gd name="connsiteX5" fmla="*/ 10236 w 83421"/>
                <a:gd name="connsiteY5" fmla="*/ 30249 h 73751"/>
                <a:gd name="connsiteX6" fmla="*/ 43502 w 83421"/>
                <a:gd name="connsiteY6" fmla="*/ 53 h 73751"/>
                <a:gd name="connsiteX7" fmla="*/ 73698 w 83421"/>
                <a:gd name="connsiteY7" fmla="*/ 31784 h 73751"/>
                <a:gd name="connsiteX8" fmla="*/ 73698 w 83421"/>
                <a:gd name="connsiteY8" fmla="*/ 36902 h 73751"/>
                <a:gd name="connsiteX9" fmla="*/ 83422 w 83421"/>
                <a:gd name="connsiteY9" fmla="*/ 36902 h 737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3421" h="73751">
                  <a:moveTo>
                    <a:pt x="83422" y="36902"/>
                  </a:moveTo>
                  <a:cubicBezTo>
                    <a:pt x="80863" y="57886"/>
                    <a:pt x="62950" y="73751"/>
                    <a:pt x="41967" y="73751"/>
                  </a:cubicBezTo>
                  <a:cubicBezTo>
                    <a:pt x="41455" y="73751"/>
                    <a:pt x="40943" y="73751"/>
                    <a:pt x="39920" y="73751"/>
                  </a:cubicBezTo>
                  <a:cubicBezTo>
                    <a:pt x="18936" y="72728"/>
                    <a:pt x="2559" y="56862"/>
                    <a:pt x="0" y="36902"/>
                  </a:cubicBezTo>
                  <a:lnTo>
                    <a:pt x="10236" y="36902"/>
                  </a:lnTo>
                  <a:lnTo>
                    <a:pt x="10236" y="30249"/>
                  </a:lnTo>
                  <a:cubicBezTo>
                    <a:pt x="11259" y="12848"/>
                    <a:pt x="26102" y="-970"/>
                    <a:pt x="43502" y="53"/>
                  </a:cubicBezTo>
                  <a:cubicBezTo>
                    <a:pt x="60391" y="565"/>
                    <a:pt x="73698" y="14895"/>
                    <a:pt x="73698" y="31784"/>
                  </a:cubicBezTo>
                  <a:lnTo>
                    <a:pt x="73698" y="36902"/>
                  </a:lnTo>
                  <a:lnTo>
                    <a:pt x="83422" y="36902"/>
                  </a:lnTo>
                  <a:close/>
                </a:path>
              </a:pathLst>
            </a:custGeom>
            <a:grpFill/>
            <a:ln w="511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85" name="Freeform: Shape 91">
              <a:extLst>
                <a:ext uri="{FF2B5EF4-FFF2-40B4-BE49-F238E27FC236}">
                  <a16:creationId xmlns:a16="http://schemas.microsoft.com/office/drawing/2014/main" id="{45E79409-D95E-4C50-B903-59510F7D94A6}"/>
                </a:ext>
              </a:extLst>
            </p:cNvPr>
            <p:cNvSpPr/>
            <p:nvPr/>
          </p:nvSpPr>
          <p:spPr>
            <a:xfrm>
              <a:off x="6215759" y="2431519"/>
              <a:ext cx="172985" cy="214952"/>
            </a:xfrm>
            <a:custGeom>
              <a:avLst/>
              <a:gdLst>
                <a:gd name="connsiteX0" fmla="*/ 172985 w 172985"/>
                <a:gd name="connsiteY0" fmla="*/ 135113 h 214952"/>
                <a:gd name="connsiteX1" fmla="*/ 172985 w 172985"/>
                <a:gd name="connsiteY1" fmla="*/ 197551 h 214952"/>
                <a:gd name="connsiteX2" fmla="*/ 155584 w 172985"/>
                <a:gd name="connsiteY2" fmla="*/ 214952 h 214952"/>
                <a:gd name="connsiteX3" fmla="*/ 149443 w 172985"/>
                <a:gd name="connsiteY3" fmla="*/ 214952 h 214952"/>
                <a:gd name="connsiteX4" fmla="*/ 149443 w 172985"/>
                <a:gd name="connsiteY4" fmla="*/ 211881 h 214952"/>
                <a:gd name="connsiteX5" fmla="*/ 149443 w 172985"/>
                <a:gd name="connsiteY5" fmla="*/ 209834 h 214952"/>
                <a:gd name="connsiteX6" fmla="*/ 137672 w 172985"/>
                <a:gd name="connsiteY6" fmla="*/ 180662 h 214952"/>
                <a:gd name="connsiteX7" fmla="*/ 109011 w 172985"/>
                <a:gd name="connsiteY7" fmla="*/ 167867 h 214952"/>
                <a:gd name="connsiteX8" fmla="*/ 78816 w 172985"/>
                <a:gd name="connsiteY8" fmla="*/ 178615 h 214952"/>
                <a:gd name="connsiteX9" fmla="*/ 64997 w 172985"/>
                <a:gd name="connsiteY9" fmla="*/ 207787 h 214952"/>
                <a:gd name="connsiteX10" fmla="*/ 64997 w 172985"/>
                <a:gd name="connsiteY10" fmla="*/ 209834 h 214952"/>
                <a:gd name="connsiteX11" fmla="*/ 65509 w 172985"/>
                <a:gd name="connsiteY11" fmla="*/ 214952 h 214952"/>
                <a:gd name="connsiteX12" fmla="*/ 0 w 172985"/>
                <a:gd name="connsiteY12" fmla="*/ 214952 h 214952"/>
                <a:gd name="connsiteX13" fmla="*/ 0 w 172985"/>
                <a:gd name="connsiteY13" fmla="*/ 0 h 214952"/>
                <a:gd name="connsiteX14" fmla="*/ 36337 w 172985"/>
                <a:gd name="connsiteY14" fmla="*/ 0 h 214952"/>
                <a:gd name="connsiteX15" fmla="*/ 112082 w 172985"/>
                <a:gd name="connsiteY15" fmla="*/ 75745 h 214952"/>
                <a:gd name="connsiteX16" fmla="*/ 112082 w 172985"/>
                <a:gd name="connsiteY16" fmla="*/ 102358 h 214952"/>
                <a:gd name="connsiteX17" fmla="*/ 139207 w 172985"/>
                <a:gd name="connsiteY17" fmla="*/ 102358 h 214952"/>
                <a:gd name="connsiteX18" fmla="*/ 172985 w 172985"/>
                <a:gd name="connsiteY18" fmla="*/ 135113 h 2149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72985" h="214952">
                  <a:moveTo>
                    <a:pt x="172985" y="135113"/>
                  </a:moveTo>
                  <a:lnTo>
                    <a:pt x="172985" y="197551"/>
                  </a:lnTo>
                  <a:cubicBezTo>
                    <a:pt x="172985" y="207275"/>
                    <a:pt x="165308" y="214952"/>
                    <a:pt x="155584" y="214952"/>
                  </a:cubicBezTo>
                  <a:lnTo>
                    <a:pt x="149443" y="214952"/>
                  </a:lnTo>
                  <a:cubicBezTo>
                    <a:pt x="149443" y="213929"/>
                    <a:pt x="149443" y="212905"/>
                    <a:pt x="149443" y="211881"/>
                  </a:cubicBezTo>
                  <a:cubicBezTo>
                    <a:pt x="149443" y="211370"/>
                    <a:pt x="149443" y="210346"/>
                    <a:pt x="149443" y="209834"/>
                  </a:cubicBezTo>
                  <a:cubicBezTo>
                    <a:pt x="149443" y="198575"/>
                    <a:pt x="144837" y="188339"/>
                    <a:pt x="137672" y="180662"/>
                  </a:cubicBezTo>
                  <a:cubicBezTo>
                    <a:pt x="130507" y="172985"/>
                    <a:pt x="120271" y="168379"/>
                    <a:pt x="109011" y="167867"/>
                  </a:cubicBezTo>
                  <a:cubicBezTo>
                    <a:pt x="97752" y="167356"/>
                    <a:pt x="87004" y="171450"/>
                    <a:pt x="78816" y="178615"/>
                  </a:cubicBezTo>
                  <a:cubicBezTo>
                    <a:pt x="70627" y="186292"/>
                    <a:pt x="65509" y="196528"/>
                    <a:pt x="64997" y="207787"/>
                  </a:cubicBezTo>
                  <a:cubicBezTo>
                    <a:pt x="64997" y="208299"/>
                    <a:pt x="64997" y="209323"/>
                    <a:pt x="64997" y="209834"/>
                  </a:cubicBezTo>
                  <a:cubicBezTo>
                    <a:pt x="64997" y="211370"/>
                    <a:pt x="64997" y="213417"/>
                    <a:pt x="65509" y="214952"/>
                  </a:cubicBezTo>
                  <a:lnTo>
                    <a:pt x="0" y="214952"/>
                  </a:lnTo>
                  <a:lnTo>
                    <a:pt x="0" y="0"/>
                  </a:lnTo>
                  <a:lnTo>
                    <a:pt x="36337" y="0"/>
                  </a:lnTo>
                  <a:cubicBezTo>
                    <a:pt x="78304" y="0"/>
                    <a:pt x="112082" y="34290"/>
                    <a:pt x="112082" y="75745"/>
                  </a:cubicBezTo>
                  <a:lnTo>
                    <a:pt x="112082" y="102358"/>
                  </a:lnTo>
                  <a:lnTo>
                    <a:pt x="139207" y="102358"/>
                  </a:lnTo>
                  <a:cubicBezTo>
                    <a:pt x="158143" y="102358"/>
                    <a:pt x="172985" y="117200"/>
                    <a:pt x="172985" y="135113"/>
                  </a:cubicBezTo>
                  <a:close/>
                </a:path>
              </a:pathLst>
            </a:custGeom>
            <a:grpFill/>
            <a:ln w="511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86" name="Freeform: Shape 92">
              <a:extLst>
                <a:ext uri="{FF2B5EF4-FFF2-40B4-BE49-F238E27FC236}">
                  <a16:creationId xmlns:a16="http://schemas.microsoft.com/office/drawing/2014/main" id="{420405FE-655C-45DE-90FE-81563C3014A2}"/>
                </a:ext>
              </a:extLst>
            </p:cNvPr>
            <p:cNvSpPr/>
            <p:nvPr/>
          </p:nvSpPr>
          <p:spPr>
            <a:xfrm>
              <a:off x="6022302" y="2609569"/>
              <a:ext cx="83422" cy="73751"/>
            </a:xfrm>
            <a:custGeom>
              <a:avLst/>
              <a:gdLst>
                <a:gd name="connsiteX0" fmla="*/ 83422 w 83422"/>
                <a:gd name="connsiteY0" fmla="*/ 36902 h 73751"/>
                <a:gd name="connsiteX1" fmla="*/ 41967 w 83422"/>
                <a:gd name="connsiteY1" fmla="*/ 73751 h 73751"/>
                <a:gd name="connsiteX2" fmla="*/ 39920 w 83422"/>
                <a:gd name="connsiteY2" fmla="*/ 73751 h 73751"/>
                <a:gd name="connsiteX3" fmla="*/ 0 w 83422"/>
                <a:gd name="connsiteY3" fmla="*/ 36902 h 73751"/>
                <a:gd name="connsiteX4" fmla="*/ 9724 w 83422"/>
                <a:gd name="connsiteY4" fmla="*/ 36902 h 73751"/>
                <a:gd name="connsiteX5" fmla="*/ 9724 w 83422"/>
                <a:gd name="connsiteY5" fmla="*/ 30249 h 73751"/>
                <a:gd name="connsiteX6" fmla="*/ 42990 w 83422"/>
                <a:gd name="connsiteY6" fmla="*/ 53 h 73751"/>
                <a:gd name="connsiteX7" fmla="*/ 73186 w 83422"/>
                <a:gd name="connsiteY7" fmla="*/ 31784 h 73751"/>
                <a:gd name="connsiteX8" fmla="*/ 73186 w 83422"/>
                <a:gd name="connsiteY8" fmla="*/ 36902 h 73751"/>
                <a:gd name="connsiteX9" fmla="*/ 83422 w 83422"/>
                <a:gd name="connsiteY9" fmla="*/ 36902 h 737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3422" h="73751">
                  <a:moveTo>
                    <a:pt x="83422" y="36902"/>
                  </a:moveTo>
                  <a:cubicBezTo>
                    <a:pt x="80863" y="57886"/>
                    <a:pt x="62950" y="73751"/>
                    <a:pt x="41967" y="73751"/>
                  </a:cubicBezTo>
                  <a:cubicBezTo>
                    <a:pt x="41455" y="73751"/>
                    <a:pt x="40431" y="73751"/>
                    <a:pt x="39920" y="73751"/>
                  </a:cubicBezTo>
                  <a:cubicBezTo>
                    <a:pt x="18936" y="72728"/>
                    <a:pt x="2559" y="56862"/>
                    <a:pt x="0" y="36902"/>
                  </a:cubicBezTo>
                  <a:lnTo>
                    <a:pt x="9724" y="36902"/>
                  </a:lnTo>
                  <a:lnTo>
                    <a:pt x="9724" y="30249"/>
                  </a:lnTo>
                  <a:cubicBezTo>
                    <a:pt x="10748" y="12848"/>
                    <a:pt x="25590" y="-970"/>
                    <a:pt x="42990" y="53"/>
                  </a:cubicBezTo>
                  <a:cubicBezTo>
                    <a:pt x="59879" y="565"/>
                    <a:pt x="73186" y="14895"/>
                    <a:pt x="73186" y="31784"/>
                  </a:cubicBezTo>
                  <a:lnTo>
                    <a:pt x="73186" y="36902"/>
                  </a:lnTo>
                  <a:lnTo>
                    <a:pt x="83422" y="36902"/>
                  </a:lnTo>
                  <a:close/>
                </a:path>
              </a:pathLst>
            </a:custGeom>
            <a:grpFill/>
            <a:ln w="511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87" name="Freeform: Shape 93">
              <a:extLst>
                <a:ext uri="{FF2B5EF4-FFF2-40B4-BE49-F238E27FC236}">
                  <a16:creationId xmlns:a16="http://schemas.microsoft.com/office/drawing/2014/main" id="{B9B45832-7825-4983-A3CC-B3EDBFC873D9}"/>
                </a:ext>
              </a:extLst>
            </p:cNvPr>
            <p:cNvSpPr/>
            <p:nvPr/>
          </p:nvSpPr>
          <p:spPr>
            <a:xfrm>
              <a:off x="5960375" y="2437660"/>
              <a:ext cx="511" cy="511"/>
            </a:xfrm>
            <a:custGeom>
              <a:avLst/>
              <a:gdLst>
                <a:gd name="connsiteX0" fmla="*/ 512 w 511"/>
                <a:gd name="connsiteY0" fmla="*/ 0 h 511"/>
                <a:gd name="connsiteX1" fmla="*/ 0 w 511"/>
                <a:gd name="connsiteY1" fmla="*/ 512 h 511"/>
                <a:gd name="connsiteX2" fmla="*/ 512 w 511"/>
                <a:gd name="connsiteY2" fmla="*/ 0 h 511"/>
                <a:gd name="connsiteX3" fmla="*/ 512 w 511"/>
                <a:gd name="connsiteY3" fmla="*/ 0 h 511"/>
              </a:gdLst>
              <a:ahLst/>
              <a:cxnLst>
                <a:cxn ang="0">
                  <a:pos x="connsiteX0" y="connsiteY0"/>
                </a:cxn>
                <a:cxn ang="0">
                  <a:pos x="connsiteX1" y="connsiteY1"/>
                </a:cxn>
                <a:cxn ang="0">
                  <a:pos x="connsiteX2" y="connsiteY2"/>
                </a:cxn>
                <a:cxn ang="0">
                  <a:pos x="connsiteX3" y="connsiteY3"/>
                </a:cxn>
              </a:cxnLst>
              <a:rect l="l" t="t" r="r" b="b"/>
              <a:pathLst>
                <a:path w="511" h="511">
                  <a:moveTo>
                    <a:pt x="512" y="0"/>
                  </a:moveTo>
                  <a:lnTo>
                    <a:pt x="0" y="512"/>
                  </a:lnTo>
                  <a:cubicBezTo>
                    <a:pt x="0" y="0"/>
                    <a:pt x="512" y="0"/>
                    <a:pt x="512" y="0"/>
                  </a:cubicBezTo>
                  <a:lnTo>
                    <a:pt x="512" y="0"/>
                  </a:lnTo>
                  <a:close/>
                </a:path>
              </a:pathLst>
            </a:custGeom>
            <a:grpFill/>
            <a:ln w="511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88" name="Freeform: Shape 94">
              <a:extLst>
                <a:ext uri="{FF2B5EF4-FFF2-40B4-BE49-F238E27FC236}">
                  <a16:creationId xmlns:a16="http://schemas.microsoft.com/office/drawing/2014/main" id="{065D503B-C412-4F59-A7EC-30D628923D82}"/>
                </a:ext>
              </a:extLst>
            </p:cNvPr>
            <p:cNvSpPr/>
            <p:nvPr/>
          </p:nvSpPr>
          <p:spPr>
            <a:xfrm>
              <a:off x="5956281" y="2431519"/>
              <a:ext cx="247706" cy="214952"/>
            </a:xfrm>
            <a:custGeom>
              <a:avLst/>
              <a:gdLst>
                <a:gd name="connsiteX0" fmla="*/ 247707 w 247706"/>
                <a:gd name="connsiteY0" fmla="*/ 0 h 214952"/>
                <a:gd name="connsiteX1" fmla="*/ 247707 w 247706"/>
                <a:gd name="connsiteY1" fmla="*/ 214952 h 214952"/>
                <a:gd name="connsiteX2" fmla="*/ 149443 w 247706"/>
                <a:gd name="connsiteY2" fmla="*/ 214952 h 214952"/>
                <a:gd name="connsiteX3" fmla="*/ 149443 w 247706"/>
                <a:gd name="connsiteY3" fmla="*/ 211881 h 214952"/>
                <a:gd name="connsiteX4" fmla="*/ 149443 w 247706"/>
                <a:gd name="connsiteY4" fmla="*/ 209834 h 214952"/>
                <a:gd name="connsiteX5" fmla="*/ 109011 w 247706"/>
                <a:gd name="connsiteY5" fmla="*/ 167867 h 214952"/>
                <a:gd name="connsiteX6" fmla="*/ 65509 w 247706"/>
                <a:gd name="connsiteY6" fmla="*/ 207787 h 214952"/>
                <a:gd name="connsiteX7" fmla="*/ 65509 w 247706"/>
                <a:gd name="connsiteY7" fmla="*/ 209834 h 214952"/>
                <a:gd name="connsiteX8" fmla="*/ 66021 w 247706"/>
                <a:gd name="connsiteY8" fmla="*/ 214952 h 214952"/>
                <a:gd name="connsiteX9" fmla="*/ 17401 w 247706"/>
                <a:gd name="connsiteY9" fmla="*/ 214952 h 214952"/>
                <a:gd name="connsiteX10" fmla="*/ 0 w 247706"/>
                <a:gd name="connsiteY10" fmla="*/ 197551 h 214952"/>
                <a:gd name="connsiteX11" fmla="*/ 0 w 247706"/>
                <a:gd name="connsiteY11" fmla="*/ 89052 h 214952"/>
                <a:gd name="connsiteX12" fmla="*/ 30707 w 247706"/>
                <a:gd name="connsiteY12" fmla="*/ 94681 h 214952"/>
                <a:gd name="connsiteX13" fmla="*/ 115665 w 247706"/>
                <a:gd name="connsiteY13" fmla="*/ 9724 h 214952"/>
                <a:gd name="connsiteX14" fmla="*/ 115665 w 247706"/>
                <a:gd name="connsiteY14" fmla="*/ 0 h 214952"/>
                <a:gd name="connsiteX15" fmla="*/ 247707 w 247706"/>
                <a:gd name="connsiteY15" fmla="*/ 0 h 2149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47706" h="214952">
                  <a:moveTo>
                    <a:pt x="247707" y="0"/>
                  </a:moveTo>
                  <a:lnTo>
                    <a:pt x="247707" y="214952"/>
                  </a:lnTo>
                  <a:lnTo>
                    <a:pt x="149443" y="214952"/>
                  </a:lnTo>
                  <a:cubicBezTo>
                    <a:pt x="149443" y="213929"/>
                    <a:pt x="149443" y="212905"/>
                    <a:pt x="149443" y="211881"/>
                  </a:cubicBezTo>
                  <a:cubicBezTo>
                    <a:pt x="149443" y="211370"/>
                    <a:pt x="149443" y="210346"/>
                    <a:pt x="149443" y="209834"/>
                  </a:cubicBezTo>
                  <a:cubicBezTo>
                    <a:pt x="149443" y="187316"/>
                    <a:pt x="131530" y="168891"/>
                    <a:pt x="109011" y="167867"/>
                  </a:cubicBezTo>
                  <a:cubicBezTo>
                    <a:pt x="85981" y="166844"/>
                    <a:pt x="66533" y="184757"/>
                    <a:pt x="65509" y="207787"/>
                  </a:cubicBezTo>
                  <a:cubicBezTo>
                    <a:pt x="65509" y="208299"/>
                    <a:pt x="65509" y="209323"/>
                    <a:pt x="65509" y="209834"/>
                  </a:cubicBezTo>
                  <a:cubicBezTo>
                    <a:pt x="65509" y="211370"/>
                    <a:pt x="65509" y="213417"/>
                    <a:pt x="66021" y="214952"/>
                  </a:cubicBezTo>
                  <a:lnTo>
                    <a:pt x="17401" y="214952"/>
                  </a:lnTo>
                  <a:cubicBezTo>
                    <a:pt x="7677" y="214952"/>
                    <a:pt x="0" y="207275"/>
                    <a:pt x="0" y="197551"/>
                  </a:cubicBezTo>
                  <a:lnTo>
                    <a:pt x="0" y="89052"/>
                  </a:lnTo>
                  <a:cubicBezTo>
                    <a:pt x="9724" y="92634"/>
                    <a:pt x="19960" y="94681"/>
                    <a:pt x="30707" y="94681"/>
                  </a:cubicBezTo>
                  <a:cubicBezTo>
                    <a:pt x="77792" y="94681"/>
                    <a:pt x="115665" y="56297"/>
                    <a:pt x="115665" y="9724"/>
                  </a:cubicBezTo>
                  <a:lnTo>
                    <a:pt x="115665" y="0"/>
                  </a:lnTo>
                  <a:lnTo>
                    <a:pt x="247707" y="0"/>
                  </a:lnTo>
                  <a:close/>
                </a:path>
              </a:pathLst>
            </a:custGeom>
            <a:grpFill/>
            <a:ln w="511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89" name="Freeform: Shape 95">
              <a:extLst>
                <a:ext uri="{FF2B5EF4-FFF2-40B4-BE49-F238E27FC236}">
                  <a16:creationId xmlns:a16="http://schemas.microsoft.com/office/drawing/2014/main" id="{1B2010F4-7EC9-4687-B4E6-330354FFA5F2}"/>
                </a:ext>
              </a:extLst>
            </p:cNvPr>
            <p:cNvSpPr/>
            <p:nvPr/>
          </p:nvSpPr>
          <p:spPr>
            <a:xfrm>
              <a:off x="5960375" y="2437660"/>
              <a:ext cx="511" cy="511"/>
            </a:xfrm>
            <a:custGeom>
              <a:avLst/>
              <a:gdLst>
                <a:gd name="connsiteX0" fmla="*/ 512 w 511"/>
                <a:gd name="connsiteY0" fmla="*/ 0 h 511"/>
                <a:gd name="connsiteX1" fmla="*/ 0 w 511"/>
                <a:gd name="connsiteY1" fmla="*/ 512 h 511"/>
                <a:gd name="connsiteX2" fmla="*/ 512 w 511"/>
                <a:gd name="connsiteY2" fmla="*/ 0 h 511"/>
                <a:gd name="connsiteX3" fmla="*/ 512 w 511"/>
                <a:gd name="connsiteY3" fmla="*/ 0 h 511"/>
              </a:gdLst>
              <a:ahLst/>
              <a:cxnLst>
                <a:cxn ang="0">
                  <a:pos x="connsiteX0" y="connsiteY0"/>
                </a:cxn>
                <a:cxn ang="0">
                  <a:pos x="connsiteX1" y="connsiteY1"/>
                </a:cxn>
                <a:cxn ang="0">
                  <a:pos x="connsiteX2" y="connsiteY2"/>
                </a:cxn>
                <a:cxn ang="0">
                  <a:pos x="connsiteX3" y="connsiteY3"/>
                </a:cxn>
              </a:cxnLst>
              <a:rect l="l" t="t" r="r" b="b"/>
              <a:pathLst>
                <a:path w="511" h="511">
                  <a:moveTo>
                    <a:pt x="512" y="0"/>
                  </a:moveTo>
                  <a:lnTo>
                    <a:pt x="0" y="512"/>
                  </a:lnTo>
                  <a:cubicBezTo>
                    <a:pt x="0" y="0"/>
                    <a:pt x="512" y="0"/>
                    <a:pt x="512" y="0"/>
                  </a:cubicBezTo>
                  <a:lnTo>
                    <a:pt x="512" y="0"/>
                  </a:lnTo>
                  <a:close/>
                </a:path>
              </a:pathLst>
            </a:custGeom>
            <a:grpFill/>
            <a:ln w="511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90" name="Freeform: Shape 96">
              <a:extLst>
                <a:ext uri="{FF2B5EF4-FFF2-40B4-BE49-F238E27FC236}">
                  <a16:creationId xmlns:a16="http://schemas.microsoft.com/office/drawing/2014/main" id="{3C9DDC16-CAF5-4457-8DBA-10B0303C09BF}"/>
                </a:ext>
              </a:extLst>
            </p:cNvPr>
            <p:cNvSpPr/>
            <p:nvPr/>
          </p:nvSpPr>
          <p:spPr>
            <a:xfrm>
              <a:off x="5960375" y="2437660"/>
              <a:ext cx="511" cy="511"/>
            </a:xfrm>
            <a:custGeom>
              <a:avLst/>
              <a:gdLst>
                <a:gd name="connsiteX0" fmla="*/ 512 w 511"/>
                <a:gd name="connsiteY0" fmla="*/ 0 h 511"/>
                <a:gd name="connsiteX1" fmla="*/ 0 w 511"/>
                <a:gd name="connsiteY1" fmla="*/ 512 h 511"/>
                <a:gd name="connsiteX2" fmla="*/ 512 w 511"/>
                <a:gd name="connsiteY2" fmla="*/ 0 h 511"/>
                <a:gd name="connsiteX3" fmla="*/ 512 w 511"/>
                <a:gd name="connsiteY3" fmla="*/ 0 h 511"/>
              </a:gdLst>
              <a:ahLst/>
              <a:cxnLst>
                <a:cxn ang="0">
                  <a:pos x="connsiteX0" y="connsiteY0"/>
                </a:cxn>
                <a:cxn ang="0">
                  <a:pos x="connsiteX1" y="connsiteY1"/>
                </a:cxn>
                <a:cxn ang="0">
                  <a:pos x="connsiteX2" y="connsiteY2"/>
                </a:cxn>
                <a:cxn ang="0">
                  <a:pos x="connsiteX3" y="connsiteY3"/>
                </a:cxn>
              </a:cxnLst>
              <a:rect l="l" t="t" r="r" b="b"/>
              <a:pathLst>
                <a:path w="511" h="511">
                  <a:moveTo>
                    <a:pt x="512" y="0"/>
                  </a:moveTo>
                  <a:lnTo>
                    <a:pt x="0" y="512"/>
                  </a:lnTo>
                  <a:cubicBezTo>
                    <a:pt x="0" y="0"/>
                    <a:pt x="512" y="0"/>
                    <a:pt x="512" y="0"/>
                  </a:cubicBezTo>
                  <a:lnTo>
                    <a:pt x="512" y="0"/>
                  </a:lnTo>
                  <a:close/>
                </a:path>
              </a:pathLst>
            </a:custGeom>
            <a:grpFill/>
            <a:ln w="511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nvGrpSpPr>
            <p:cNvPr id="91" name="Graphic 1">
              <a:extLst>
                <a:ext uri="{FF2B5EF4-FFF2-40B4-BE49-F238E27FC236}">
                  <a16:creationId xmlns:a16="http://schemas.microsoft.com/office/drawing/2014/main" id="{AC2B1F23-C352-4DA6-ABD7-C0F27562A6A1}"/>
                </a:ext>
              </a:extLst>
            </p:cNvPr>
            <p:cNvGrpSpPr/>
            <p:nvPr/>
          </p:nvGrpSpPr>
          <p:grpSpPr>
            <a:xfrm>
              <a:off x="5902031" y="2356285"/>
              <a:ext cx="170426" cy="164284"/>
              <a:chOff x="5902031" y="2356285"/>
              <a:chExt cx="170426" cy="164284"/>
            </a:xfrm>
            <a:grpFill/>
          </p:grpSpPr>
          <p:sp>
            <p:nvSpPr>
              <p:cNvPr id="93" name="Freeform: Shape 99">
                <a:extLst>
                  <a:ext uri="{FF2B5EF4-FFF2-40B4-BE49-F238E27FC236}">
                    <a16:creationId xmlns:a16="http://schemas.microsoft.com/office/drawing/2014/main" id="{0A54A342-4C83-4BF6-98DB-505CD79271A4}"/>
                  </a:ext>
                </a:extLst>
              </p:cNvPr>
              <p:cNvSpPr/>
              <p:nvPr/>
            </p:nvSpPr>
            <p:spPr>
              <a:xfrm>
                <a:off x="5902031" y="2356285"/>
                <a:ext cx="170426" cy="164284"/>
              </a:xfrm>
              <a:custGeom>
                <a:avLst/>
                <a:gdLst>
                  <a:gd name="connsiteX0" fmla="*/ 170426 w 170426"/>
                  <a:gd name="connsiteY0" fmla="*/ 11771 h 164284"/>
                  <a:gd name="connsiteX1" fmla="*/ 170426 w 170426"/>
                  <a:gd name="connsiteY1" fmla="*/ 75233 h 164284"/>
                  <a:gd name="connsiteX2" fmla="*/ 158143 w 170426"/>
                  <a:gd name="connsiteY2" fmla="*/ 75233 h 164284"/>
                  <a:gd name="connsiteX3" fmla="*/ 158143 w 170426"/>
                  <a:gd name="connsiteY3" fmla="*/ 12283 h 164284"/>
                  <a:gd name="connsiteX4" fmla="*/ 12795 w 170426"/>
                  <a:gd name="connsiteY4" fmla="*/ 12283 h 164284"/>
                  <a:gd name="connsiteX5" fmla="*/ 12795 w 170426"/>
                  <a:gd name="connsiteY5" fmla="*/ 84957 h 164284"/>
                  <a:gd name="connsiteX6" fmla="*/ 54762 w 170426"/>
                  <a:gd name="connsiteY6" fmla="*/ 150978 h 164284"/>
                  <a:gd name="connsiteX7" fmla="*/ 54762 w 170426"/>
                  <a:gd name="connsiteY7" fmla="*/ 164285 h 164284"/>
                  <a:gd name="connsiteX8" fmla="*/ 0 w 170426"/>
                  <a:gd name="connsiteY8" fmla="*/ 84957 h 164284"/>
                  <a:gd name="connsiteX9" fmla="*/ 0 w 170426"/>
                  <a:gd name="connsiteY9" fmla="*/ 11771 h 164284"/>
                  <a:gd name="connsiteX10" fmla="*/ 11771 w 170426"/>
                  <a:gd name="connsiteY10" fmla="*/ 0 h 164284"/>
                  <a:gd name="connsiteX11" fmla="*/ 158143 w 170426"/>
                  <a:gd name="connsiteY11" fmla="*/ 0 h 164284"/>
                  <a:gd name="connsiteX12" fmla="*/ 170426 w 170426"/>
                  <a:gd name="connsiteY12" fmla="*/ 11771 h 164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0426" h="164284">
                    <a:moveTo>
                      <a:pt x="170426" y="11771"/>
                    </a:moveTo>
                    <a:lnTo>
                      <a:pt x="170426" y="75233"/>
                    </a:lnTo>
                    <a:lnTo>
                      <a:pt x="158143" y="75233"/>
                    </a:lnTo>
                    <a:lnTo>
                      <a:pt x="158143" y="12283"/>
                    </a:lnTo>
                    <a:lnTo>
                      <a:pt x="12795" y="12283"/>
                    </a:lnTo>
                    <a:lnTo>
                      <a:pt x="12795" y="84957"/>
                    </a:lnTo>
                    <a:cubicBezTo>
                      <a:pt x="12795" y="114130"/>
                      <a:pt x="30196" y="139207"/>
                      <a:pt x="54762" y="150978"/>
                    </a:cubicBezTo>
                    <a:lnTo>
                      <a:pt x="54762" y="164285"/>
                    </a:lnTo>
                    <a:cubicBezTo>
                      <a:pt x="23031" y="152002"/>
                      <a:pt x="0" y="121295"/>
                      <a:pt x="0" y="84957"/>
                    </a:cubicBezTo>
                    <a:lnTo>
                      <a:pt x="0" y="11771"/>
                    </a:lnTo>
                    <a:cubicBezTo>
                      <a:pt x="0" y="5118"/>
                      <a:pt x="5118" y="0"/>
                      <a:pt x="11771" y="0"/>
                    </a:cubicBezTo>
                    <a:lnTo>
                      <a:pt x="158143" y="0"/>
                    </a:lnTo>
                    <a:cubicBezTo>
                      <a:pt x="164797" y="0"/>
                      <a:pt x="170426" y="5118"/>
                      <a:pt x="170426" y="11771"/>
                    </a:cubicBezTo>
                    <a:close/>
                  </a:path>
                </a:pathLst>
              </a:custGeom>
              <a:grpFill/>
              <a:ln w="511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94" name="Freeform: Shape 100">
                <a:extLst>
                  <a:ext uri="{FF2B5EF4-FFF2-40B4-BE49-F238E27FC236}">
                    <a16:creationId xmlns:a16="http://schemas.microsoft.com/office/drawing/2014/main" id="{DDC10EF0-AB44-4572-9AFF-02DF52B26742}"/>
                  </a:ext>
                </a:extLst>
              </p:cNvPr>
              <p:cNvSpPr/>
              <p:nvPr/>
            </p:nvSpPr>
            <p:spPr>
              <a:xfrm>
                <a:off x="5925573" y="2379828"/>
                <a:ext cx="122829" cy="122829"/>
              </a:xfrm>
              <a:custGeom>
                <a:avLst/>
                <a:gdLst>
                  <a:gd name="connsiteX0" fmla="*/ 113106 w 122829"/>
                  <a:gd name="connsiteY0" fmla="*/ 0 h 122829"/>
                  <a:gd name="connsiteX1" fmla="*/ 9724 w 122829"/>
                  <a:gd name="connsiteY1" fmla="*/ 0 h 122829"/>
                  <a:gd name="connsiteX2" fmla="*/ 0 w 122829"/>
                  <a:gd name="connsiteY2" fmla="*/ 9724 h 122829"/>
                  <a:gd name="connsiteX3" fmla="*/ 0 w 122829"/>
                  <a:gd name="connsiteY3" fmla="*/ 61415 h 122829"/>
                  <a:gd name="connsiteX4" fmla="*/ 31219 w 122829"/>
                  <a:gd name="connsiteY4" fmla="*/ 114641 h 122829"/>
                  <a:gd name="connsiteX5" fmla="*/ 61415 w 122829"/>
                  <a:gd name="connsiteY5" fmla="*/ 122830 h 122829"/>
                  <a:gd name="connsiteX6" fmla="*/ 122830 w 122829"/>
                  <a:gd name="connsiteY6" fmla="*/ 61415 h 122829"/>
                  <a:gd name="connsiteX7" fmla="*/ 122830 w 122829"/>
                  <a:gd name="connsiteY7" fmla="*/ 9724 h 122829"/>
                  <a:gd name="connsiteX8" fmla="*/ 113106 w 122829"/>
                  <a:gd name="connsiteY8" fmla="*/ 0 h 122829"/>
                  <a:gd name="connsiteX9" fmla="*/ 96728 w 122829"/>
                  <a:gd name="connsiteY9" fmla="*/ 31731 h 122829"/>
                  <a:gd name="connsiteX10" fmla="*/ 83422 w 122829"/>
                  <a:gd name="connsiteY10" fmla="*/ 51691 h 122829"/>
                  <a:gd name="connsiteX11" fmla="*/ 56297 w 122829"/>
                  <a:gd name="connsiteY11" fmla="*/ 92634 h 122829"/>
                  <a:gd name="connsiteX12" fmla="*/ 30707 w 122829"/>
                  <a:gd name="connsiteY12" fmla="*/ 68068 h 122829"/>
                  <a:gd name="connsiteX13" fmla="*/ 30707 w 122829"/>
                  <a:gd name="connsiteY13" fmla="*/ 68068 h 122829"/>
                  <a:gd name="connsiteX14" fmla="*/ 26613 w 122829"/>
                  <a:gd name="connsiteY14" fmla="*/ 64486 h 122829"/>
                  <a:gd name="connsiteX15" fmla="*/ 26613 w 122829"/>
                  <a:gd name="connsiteY15" fmla="*/ 57321 h 122829"/>
                  <a:gd name="connsiteX16" fmla="*/ 33778 w 122829"/>
                  <a:gd name="connsiteY16" fmla="*/ 57321 h 122829"/>
                  <a:gd name="connsiteX17" fmla="*/ 34802 w 122829"/>
                  <a:gd name="connsiteY17" fmla="*/ 58344 h 122829"/>
                  <a:gd name="connsiteX18" fmla="*/ 34802 w 122829"/>
                  <a:gd name="connsiteY18" fmla="*/ 58344 h 122829"/>
                  <a:gd name="connsiteX19" fmla="*/ 54250 w 122829"/>
                  <a:gd name="connsiteY19" fmla="*/ 77280 h 122829"/>
                  <a:gd name="connsiteX20" fmla="*/ 70627 w 122829"/>
                  <a:gd name="connsiteY20" fmla="*/ 52203 h 122829"/>
                  <a:gd name="connsiteX21" fmla="*/ 82398 w 122829"/>
                  <a:gd name="connsiteY21" fmla="*/ 34290 h 122829"/>
                  <a:gd name="connsiteX22" fmla="*/ 87516 w 122829"/>
                  <a:gd name="connsiteY22" fmla="*/ 26613 h 122829"/>
                  <a:gd name="connsiteX23" fmla="*/ 94681 w 122829"/>
                  <a:gd name="connsiteY23" fmla="*/ 25078 h 122829"/>
                  <a:gd name="connsiteX24" fmla="*/ 96728 w 122829"/>
                  <a:gd name="connsiteY24" fmla="*/ 31731 h 122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22829" h="122829">
                    <a:moveTo>
                      <a:pt x="113106" y="0"/>
                    </a:moveTo>
                    <a:lnTo>
                      <a:pt x="9724" y="0"/>
                    </a:lnTo>
                    <a:cubicBezTo>
                      <a:pt x="4606" y="0"/>
                      <a:pt x="0" y="4094"/>
                      <a:pt x="0" y="9724"/>
                    </a:cubicBezTo>
                    <a:lnTo>
                      <a:pt x="0" y="61415"/>
                    </a:lnTo>
                    <a:cubicBezTo>
                      <a:pt x="0" y="84446"/>
                      <a:pt x="12795" y="104405"/>
                      <a:pt x="31219" y="114641"/>
                    </a:cubicBezTo>
                    <a:cubicBezTo>
                      <a:pt x="39920" y="119759"/>
                      <a:pt x="50667" y="122830"/>
                      <a:pt x="61415" y="122830"/>
                    </a:cubicBezTo>
                    <a:cubicBezTo>
                      <a:pt x="95193" y="122830"/>
                      <a:pt x="122830" y="95193"/>
                      <a:pt x="122830" y="61415"/>
                    </a:cubicBezTo>
                    <a:lnTo>
                      <a:pt x="122830" y="9724"/>
                    </a:lnTo>
                    <a:cubicBezTo>
                      <a:pt x="122830" y="4094"/>
                      <a:pt x="118224" y="0"/>
                      <a:pt x="113106" y="0"/>
                    </a:cubicBezTo>
                    <a:close/>
                    <a:moveTo>
                      <a:pt x="96728" y="31731"/>
                    </a:moveTo>
                    <a:lnTo>
                      <a:pt x="83422" y="51691"/>
                    </a:lnTo>
                    <a:lnTo>
                      <a:pt x="56297" y="92634"/>
                    </a:lnTo>
                    <a:lnTo>
                      <a:pt x="30707" y="68068"/>
                    </a:lnTo>
                    <a:lnTo>
                      <a:pt x="30707" y="68068"/>
                    </a:lnTo>
                    <a:lnTo>
                      <a:pt x="26613" y="64486"/>
                    </a:lnTo>
                    <a:cubicBezTo>
                      <a:pt x="24566" y="62439"/>
                      <a:pt x="24566" y="59368"/>
                      <a:pt x="26613" y="57321"/>
                    </a:cubicBezTo>
                    <a:cubicBezTo>
                      <a:pt x="28660" y="55273"/>
                      <a:pt x="31731" y="55273"/>
                      <a:pt x="33778" y="57321"/>
                    </a:cubicBezTo>
                    <a:lnTo>
                      <a:pt x="34802" y="58344"/>
                    </a:lnTo>
                    <a:lnTo>
                      <a:pt x="34802" y="58344"/>
                    </a:lnTo>
                    <a:lnTo>
                      <a:pt x="54250" y="77280"/>
                    </a:lnTo>
                    <a:lnTo>
                      <a:pt x="70627" y="52203"/>
                    </a:lnTo>
                    <a:lnTo>
                      <a:pt x="82398" y="34290"/>
                    </a:lnTo>
                    <a:lnTo>
                      <a:pt x="87516" y="26613"/>
                    </a:lnTo>
                    <a:cubicBezTo>
                      <a:pt x="89052" y="24054"/>
                      <a:pt x="92122" y="23542"/>
                      <a:pt x="94681" y="25078"/>
                    </a:cubicBezTo>
                    <a:cubicBezTo>
                      <a:pt x="97752" y="26613"/>
                      <a:pt x="98264" y="29684"/>
                      <a:pt x="96728" y="31731"/>
                    </a:cubicBezTo>
                    <a:close/>
                  </a:path>
                </a:pathLst>
              </a:custGeom>
              <a:grpFill/>
              <a:ln w="511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sp>
          <p:nvSpPr>
            <p:cNvPr id="92" name="Freeform: Shape 98">
              <a:extLst>
                <a:ext uri="{FF2B5EF4-FFF2-40B4-BE49-F238E27FC236}">
                  <a16:creationId xmlns:a16="http://schemas.microsoft.com/office/drawing/2014/main" id="{CD8B46F4-1185-41B7-ABCA-8C2FF6E83639}"/>
                </a:ext>
              </a:extLst>
            </p:cNvPr>
            <p:cNvSpPr/>
            <p:nvPr/>
          </p:nvSpPr>
          <p:spPr>
            <a:xfrm>
              <a:off x="5960375" y="2437660"/>
              <a:ext cx="511" cy="511"/>
            </a:xfrm>
            <a:custGeom>
              <a:avLst/>
              <a:gdLst>
                <a:gd name="connsiteX0" fmla="*/ 512 w 511"/>
                <a:gd name="connsiteY0" fmla="*/ 0 h 511"/>
                <a:gd name="connsiteX1" fmla="*/ 0 w 511"/>
                <a:gd name="connsiteY1" fmla="*/ 512 h 511"/>
                <a:gd name="connsiteX2" fmla="*/ 512 w 511"/>
                <a:gd name="connsiteY2" fmla="*/ 0 h 511"/>
                <a:gd name="connsiteX3" fmla="*/ 512 w 511"/>
                <a:gd name="connsiteY3" fmla="*/ 0 h 511"/>
              </a:gdLst>
              <a:ahLst/>
              <a:cxnLst>
                <a:cxn ang="0">
                  <a:pos x="connsiteX0" y="connsiteY0"/>
                </a:cxn>
                <a:cxn ang="0">
                  <a:pos x="connsiteX1" y="connsiteY1"/>
                </a:cxn>
                <a:cxn ang="0">
                  <a:pos x="connsiteX2" y="connsiteY2"/>
                </a:cxn>
                <a:cxn ang="0">
                  <a:pos x="connsiteX3" y="connsiteY3"/>
                </a:cxn>
              </a:cxnLst>
              <a:rect l="l" t="t" r="r" b="b"/>
              <a:pathLst>
                <a:path w="511" h="511">
                  <a:moveTo>
                    <a:pt x="512" y="0"/>
                  </a:moveTo>
                  <a:lnTo>
                    <a:pt x="0" y="512"/>
                  </a:lnTo>
                  <a:cubicBezTo>
                    <a:pt x="0" y="0"/>
                    <a:pt x="512" y="0"/>
                    <a:pt x="512" y="0"/>
                  </a:cubicBezTo>
                  <a:lnTo>
                    <a:pt x="512" y="0"/>
                  </a:lnTo>
                  <a:close/>
                </a:path>
              </a:pathLst>
            </a:custGeom>
            <a:grpFill/>
            <a:ln w="511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grpSp>
        <p:nvGrpSpPr>
          <p:cNvPr id="95" name="Graphic 1">
            <a:extLst>
              <a:ext uri="{FF2B5EF4-FFF2-40B4-BE49-F238E27FC236}">
                <a16:creationId xmlns:a16="http://schemas.microsoft.com/office/drawing/2014/main" id="{55AFE991-4F3E-4AF8-A08B-1356CD56A3E0}"/>
              </a:ext>
            </a:extLst>
          </p:cNvPr>
          <p:cNvGrpSpPr/>
          <p:nvPr/>
        </p:nvGrpSpPr>
        <p:grpSpPr>
          <a:xfrm>
            <a:off x="7905363" y="5907745"/>
            <a:ext cx="242792" cy="242792"/>
            <a:chOff x="8277253" y="565529"/>
            <a:chExt cx="397149" cy="397149"/>
          </a:xfrm>
          <a:solidFill>
            <a:schemeClr val="accent5"/>
          </a:solidFill>
        </p:grpSpPr>
        <p:sp>
          <p:nvSpPr>
            <p:cNvPr id="96" name="Freeform: Shape 102">
              <a:extLst>
                <a:ext uri="{FF2B5EF4-FFF2-40B4-BE49-F238E27FC236}">
                  <a16:creationId xmlns:a16="http://schemas.microsoft.com/office/drawing/2014/main" id="{57A2A71D-EDA7-49B1-B294-A8D204309351}"/>
                </a:ext>
              </a:extLst>
            </p:cNvPr>
            <p:cNvSpPr/>
            <p:nvPr/>
          </p:nvSpPr>
          <p:spPr>
            <a:xfrm>
              <a:off x="8277253" y="565529"/>
              <a:ext cx="397149" cy="397149"/>
            </a:xfrm>
            <a:custGeom>
              <a:avLst/>
              <a:gdLst>
                <a:gd name="connsiteX0" fmla="*/ 198575 w 397149"/>
                <a:gd name="connsiteY0" fmla="*/ 0 h 397149"/>
                <a:gd name="connsiteX1" fmla="*/ 0 w 397149"/>
                <a:gd name="connsiteY1" fmla="*/ 198575 h 397149"/>
                <a:gd name="connsiteX2" fmla="*/ 198575 w 397149"/>
                <a:gd name="connsiteY2" fmla="*/ 397150 h 397149"/>
                <a:gd name="connsiteX3" fmla="*/ 397150 w 397149"/>
                <a:gd name="connsiteY3" fmla="*/ 198575 h 397149"/>
                <a:gd name="connsiteX4" fmla="*/ 198575 w 397149"/>
                <a:gd name="connsiteY4" fmla="*/ 0 h 397149"/>
                <a:gd name="connsiteX5" fmla="*/ 198575 w 397149"/>
                <a:gd name="connsiteY5" fmla="*/ 343412 h 397149"/>
                <a:gd name="connsiteX6" fmla="*/ 53738 w 397149"/>
                <a:gd name="connsiteY6" fmla="*/ 198575 h 397149"/>
                <a:gd name="connsiteX7" fmla="*/ 198575 w 397149"/>
                <a:gd name="connsiteY7" fmla="*/ 53738 h 397149"/>
                <a:gd name="connsiteX8" fmla="*/ 343412 w 397149"/>
                <a:gd name="connsiteY8" fmla="*/ 198575 h 397149"/>
                <a:gd name="connsiteX9" fmla="*/ 198575 w 397149"/>
                <a:gd name="connsiteY9" fmla="*/ 343412 h 3971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7149" h="397149">
                  <a:moveTo>
                    <a:pt x="198575" y="0"/>
                  </a:moveTo>
                  <a:cubicBezTo>
                    <a:pt x="89051" y="0"/>
                    <a:pt x="0" y="89052"/>
                    <a:pt x="0" y="198575"/>
                  </a:cubicBezTo>
                  <a:cubicBezTo>
                    <a:pt x="0" y="308098"/>
                    <a:pt x="89051" y="397150"/>
                    <a:pt x="198575" y="397150"/>
                  </a:cubicBezTo>
                  <a:cubicBezTo>
                    <a:pt x="308098" y="397150"/>
                    <a:pt x="397150" y="308098"/>
                    <a:pt x="397150" y="198575"/>
                  </a:cubicBezTo>
                  <a:cubicBezTo>
                    <a:pt x="397150" y="89052"/>
                    <a:pt x="308098" y="0"/>
                    <a:pt x="198575" y="0"/>
                  </a:cubicBezTo>
                  <a:close/>
                  <a:moveTo>
                    <a:pt x="198575" y="343412"/>
                  </a:moveTo>
                  <a:cubicBezTo>
                    <a:pt x="118736" y="343412"/>
                    <a:pt x="53738" y="278414"/>
                    <a:pt x="53738" y="198575"/>
                  </a:cubicBezTo>
                  <a:cubicBezTo>
                    <a:pt x="53738" y="118736"/>
                    <a:pt x="118736" y="53738"/>
                    <a:pt x="198575" y="53738"/>
                  </a:cubicBezTo>
                  <a:cubicBezTo>
                    <a:pt x="278414" y="53738"/>
                    <a:pt x="343412" y="118736"/>
                    <a:pt x="343412" y="198575"/>
                  </a:cubicBezTo>
                  <a:cubicBezTo>
                    <a:pt x="343412" y="278414"/>
                    <a:pt x="278926" y="343412"/>
                    <a:pt x="198575" y="343412"/>
                  </a:cubicBezTo>
                  <a:close/>
                </a:path>
              </a:pathLst>
            </a:custGeom>
            <a:grpFill/>
            <a:ln w="511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97" name="Freeform: Shape 103">
              <a:extLst>
                <a:ext uri="{FF2B5EF4-FFF2-40B4-BE49-F238E27FC236}">
                  <a16:creationId xmlns:a16="http://schemas.microsoft.com/office/drawing/2014/main" id="{D855508E-29CF-4196-AB84-50040B32CE00}"/>
                </a:ext>
              </a:extLst>
            </p:cNvPr>
            <p:cNvSpPr/>
            <p:nvPr/>
          </p:nvSpPr>
          <p:spPr>
            <a:xfrm>
              <a:off x="8413507" y="676587"/>
              <a:ext cx="125782" cy="185268"/>
            </a:xfrm>
            <a:custGeom>
              <a:avLst/>
              <a:gdLst>
                <a:gd name="connsiteX0" fmla="*/ 110941 w 125782"/>
                <a:gd name="connsiteY0" fmla="*/ 49132 h 185268"/>
                <a:gd name="connsiteX1" fmla="*/ 89445 w 125782"/>
                <a:gd name="connsiteY1" fmla="*/ 52714 h 185268"/>
                <a:gd name="connsiteX2" fmla="*/ 80233 w 125782"/>
                <a:gd name="connsiteY2" fmla="*/ 47597 h 185268"/>
                <a:gd name="connsiteX3" fmla="*/ 77674 w 125782"/>
                <a:gd name="connsiteY3" fmla="*/ 43502 h 185268"/>
                <a:gd name="connsiteX4" fmla="*/ 69997 w 125782"/>
                <a:gd name="connsiteY4" fmla="*/ 37873 h 185268"/>
                <a:gd name="connsiteX5" fmla="*/ 69997 w 125782"/>
                <a:gd name="connsiteY5" fmla="*/ 67556 h 185268"/>
                <a:gd name="connsiteX6" fmla="*/ 111964 w 125782"/>
                <a:gd name="connsiteY6" fmla="*/ 84957 h 185268"/>
                <a:gd name="connsiteX7" fmla="*/ 125783 w 125782"/>
                <a:gd name="connsiteY7" fmla="*/ 116688 h 185268"/>
                <a:gd name="connsiteX8" fmla="*/ 120665 w 125782"/>
                <a:gd name="connsiteY8" fmla="*/ 137160 h 185268"/>
                <a:gd name="connsiteX9" fmla="*/ 107870 w 125782"/>
                <a:gd name="connsiteY9" fmla="*/ 153026 h 185268"/>
                <a:gd name="connsiteX10" fmla="*/ 91493 w 125782"/>
                <a:gd name="connsiteY10" fmla="*/ 162238 h 185268"/>
                <a:gd name="connsiteX11" fmla="*/ 69997 w 125782"/>
                <a:gd name="connsiteY11" fmla="*/ 165820 h 185268"/>
                <a:gd name="connsiteX12" fmla="*/ 69997 w 125782"/>
                <a:gd name="connsiteY12" fmla="*/ 185268 h 185268"/>
                <a:gd name="connsiteX13" fmla="*/ 55155 w 125782"/>
                <a:gd name="connsiteY13" fmla="*/ 185268 h 185268"/>
                <a:gd name="connsiteX14" fmla="*/ 55155 w 125782"/>
                <a:gd name="connsiteY14" fmla="*/ 165820 h 185268"/>
                <a:gd name="connsiteX15" fmla="*/ 30589 w 125782"/>
                <a:gd name="connsiteY15" fmla="*/ 160702 h 185268"/>
                <a:gd name="connsiteX16" fmla="*/ 14212 w 125782"/>
                <a:gd name="connsiteY16" fmla="*/ 150978 h 185268"/>
                <a:gd name="connsiteX17" fmla="*/ 3465 w 125782"/>
                <a:gd name="connsiteY17" fmla="*/ 137160 h 185268"/>
                <a:gd name="connsiteX18" fmla="*/ 394 w 125782"/>
                <a:gd name="connsiteY18" fmla="*/ 129995 h 185268"/>
                <a:gd name="connsiteX19" fmla="*/ 7559 w 125782"/>
                <a:gd name="connsiteY19" fmla="*/ 118224 h 185268"/>
                <a:gd name="connsiteX20" fmla="*/ 31613 w 125782"/>
                <a:gd name="connsiteY20" fmla="*/ 115153 h 185268"/>
                <a:gd name="connsiteX21" fmla="*/ 40825 w 125782"/>
                <a:gd name="connsiteY21" fmla="*/ 121294 h 185268"/>
                <a:gd name="connsiteX22" fmla="*/ 43896 w 125782"/>
                <a:gd name="connsiteY22" fmla="*/ 128971 h 185268"/>
                <a:gd name="connsiteX23" fmla="*/ 54132 w 125782"/>
                <a:gd name="connsiteY23" fmla="*/ 137160 h 185268"/>
                <a:gd name="connsiteX24" fmla="*/ 54132 w 125782"/>
                <a:gd name="connsiteY24" fmla="*/ 101335 h 185268"/>
                <a:gd name="connsiteX25" fmla="*/ 24448 w 125782"/>
                <a:gd name="connsiteY25" fmla="*/ 91099 h 185268"/>
                <a:gd name="connsiteX26" fmla="*/ 9094 w 125782"/>
                <a:gd name="connsiteY26" fmla="*/ 77280 h 185268"/>
                <a:gd name="connsiteX27" fmla="*/ 2441 w 125782"/>
                <a:gd name="connsiteY27" fmla="*/ 54762 h 185268"/>
                <a:gd name="connsiteX28" fmla="*/ 15236 w 125782"/>
                <a:gd name="connsiteY28" fmla="*/ 24054 h 185268"/>
                <a:gd name="connsiteX29" fmla="*/ 53620 w 125782"/>
                <a:gd name="connsiteY29" fmla="*/ 10236 h 185268"/>
                <a:gd name="connsiteX30" fmla="*/ 53620 w 125782"/>
                <a:gd name="connsiteY30" fmla="*/ 0 h 185268"/>
                <a:gd name="connsiteX31" fmla="*/ 68462 w 125782"/>
                <a:gd name="connsiteY31" fmla="*/ 0 h 185268"/>
                <a:gd name="connsiteX32" fmla="*/ 68462 w 125782"/>
                <a:gd name="connsiteY32" fmla="*/ 10236 h 185268"/>
                <a:gd name="connsiteX33" fmla="*/ 103776 w 125782"/>
                <a:gd name="connsiteY33" fmla="*/ 20983 h 185268"/>
                <a:gd name="connsiteX34" fmla="*/ 116059 w 125782"/>
                <a:gd name="connsiteY34" fmla="*/ 36849 h 185268"/>
                <a:gd name="connsiteX35" fmla="*/ 110941 w 125782"/>
                <a:gd name="connsiteY35" fmla="*/ 49132 h 185268"/>
                <a:gd name="connsiteX36" fmla="*/ 54644 w 125782"/>
                <a:gd name="connsiteY36" fmla="*/ 37361 h 185268"/>
                <a:gd name="connsiteX37" fmla="*/ 45432 w 125782"/>
                <a:gd name="connsiteY37" fmla="*/ 42990 h 185268"/>
                <a:gd name="connsiteX38" fmla="*/ 42873 w 125782"/>
                <a:gd name="connsiteY38" fmla="*/ 50667 h 185268"/>
                <a:gd name="connsiteX39" fmla="*/ 45432 w 125782"/>
                <a:gd name="connsiteY39" fmla="*/ 58344 h 185268"/>
                <a:gd name="connsiteX40" fmla="*/ 54644 w 125782"/>
                <a:gd name="connsiteY40" fmla="*/ 63974 h 185268"/>
                <a:gd name="connsiteX41" fmla="*/ 54644 w 125782"/>
                <a:gd name="connsiteY41" fmla="*/ 37361 h 185268"/>
                <a:gd name="connsiteX42" fmla="*/ 69486 w 125782"/>
                <a:gd name="connsiteY42" fmla="*/ 138695 h 185268"/>
                <a:gd name="connsiteX43" fmla="*/ 82281 w 125782"/>
                <a:gd name="connsiteY43" fmla="*/ 132042 h 185268"/>
                <a:gd name="connsiteX44" fmla="*/ 86375 w 125782"/>
                <a:gd name="connsiteY44" fmla="*/ 121806 h 185268"/>
                <a:gd name="connsiteX45" fmla="*/ 82792 w 125782"/>
                <a:gd name="connsiteY45" fmla="*/ 113106 h 185268"/>
                <a:gd name="connsiteX46" fmla="*/ 69486 w 125782"/>
                <a:gd name="connsiteY46" fmla="*/ 105429 h 185268"/>
                <a:gd name="connsiteX47" fmla="*/ 69486 w 125782"/>
                <a:gd name="connsiteY47" fmla="*/ 138695 h 1852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125782" h="185268">
                  <a:moveTo>
                    <a:pt x="110941" y="49132"/>
                  </a:moveTo>
                  <a:lnTo>
                    <a:pt x="89445" y="52714"/>
                  </a:lnTo>
                  <a:cubicBezTo>
                    <a:pt x="85863" y="53226"/>
                    <a:pt x="81769" y="51179"/>
                    <a:pt x="80233" y="47597"/>
                  </a:cubicBezTo>
                  <a:cubicBezTo>
                    <a:pt x="79210" y="45549"/>
                    <a:pt x="78698" y="44526"/>
                    <a:pt x="77674" y="43502"/>
                  </a:cubicBezTo>
                  <a:cubicBezTo>
                    <a:pt x="76139" y="41455"/>
                    <a:pt x="73580" y="39920"/>
                    <a:pt x="69997" y="37873"/>
                  </a:cubicBezTo>
                  <a:lnTo>
                    <a:pt x="69997" y="67556"/>
                  </a:lnTo>
                  <a:cubicBezTo>
                    <a:pt x="90981" y="73186"/>
                    <a:pt x="104799" y="78816"/>
                    <a:pt x="111964" y="84957"/>
                  </a:cubicBezTo>
                  <a:cubicBezTo>
                    <a:pt x="121177" y="93146"/>
                    <a:pt x="125783" y="103894"/>
                    <a:pt x="125783" y="116688"/>
                  </a:cubicBezTo>
                  <a:cubicBezTo>
                    <a:pt x="125783" y="124365"/>
                    <a:pt x="124247" y="131019"/>
                    <a:pt x="120665" y="137160"/>
                  </a:cubicBezTo>
                  <a:cubicBezTo>
                    <a:pt x="117082" y="143302"/>
                    <a:pt x="112988" y="148419"/>
                    <a:pt x="107870" y="153026"/>
                  </a:cubicBezTo>
                  <a:cubicBezTo>
                    <a:pt x="102752" y="157120"/>
                    <a:pt x="97122" y="160191"/>
                    <a:pt x="91493" y="162238"/>
                  </a:cubicBezTo>
                  <a:cubicBezTo>
                    <a:pt x="85863" y="164285"/>
                    <a:pt x="78698" y="165309"/>
                    <a:pt x="69997" y="165820"/>
                  </a:cubicBezTo>
                  <a:lnTo>
                    <a:pt x="69997" y="185268"/>
                  </a:lnTo>
                  <a:lnTo>
                    <a:pt x="55155" y="185268"/>
                  </a:lnTo>
                  <a:lnTo>
                    <a:pt x="55155" y="165820"/>
                  </a:lnTo>
                  <a:cubicBezTo>
                    <a:pt x="44920" y="164797"/>
                    <a:pt x="36731" y="163261"/>
                    <a:pt x="30589" y="160702"/>
                  </a:cubicBezTo>
                  <a:cubicBezTo>
                    <a:pt x="24448" y="158143"/>
                    <a:pt x="18818" y="155073"/>
                    <a:pt x="14212" y="150978"/>
                  </a:cubicBezTo>
                  <a:cubicBezTo>
                    <a:pt x="9606" y="146884"/>
                    <a:pt x="6024" y="142278"/>
                    <a:pt x="3465" y="137160"/>
                  </a:cubicBezTo>
                  <a:cubicBezTo>
                    <a:pt x="2441" y="135113"/>
                    <a:pt x="1417" y="132554"/>
                    <a:pt x="394" y="129995"/>
                  </a:cubicBezTo>
                  <a:cubicBezTo>
                    <a:pt x="-1142" y="124877"/>
                    <a:pt x="1929" y="119247"/>
                    <a:pt x="7559" y="118224"/>
                  </a:cubicBezTo>
                  <a:lnTo>
                    <a:pt x="31613" y="115153"/>
                  </a:lnTo>
                  <a:cubicBezTo>
                    <a:pt x="35707" y="114641"/>
                    <a:pt x="39802" y="117200"/>
                    <a:pt x="40825" y="121294"/>
                  </a:cubicBezTo>
                  <a:cubicBezTo>
                    <a:pt x="41849" y="124365"/>
                    <a:pt x="42873" y="126924"/>
                    <a:pt x="43896" y="128971"/>
                  </a:cubicBezTo>
                  <a:cubicBezTo>
                    <a:pt x="45943" y="132042"/>
                    <a:pt x="49526" y="134601"/>
                    <a:pt x="54132" y="137160"/>
                  </a:cubicBezTo>
                  <a:lnTo>
                    <a:pt x="54132" y="101335"/>
                  </a:lnTo>
                  <a:cubicBezTo>
                    <a:pt x="40314" y="97240"/>
                    <a:pt x="30589" y="94170"/>
                    <a:pt x="24448" y="91099"/>
                  </a:cubicBezTo>
                  <a:cubicBezTo>
                    <a:pt x="18818" y="88028"/>
                    <a:pt x="13700" y="83934"/>
                    <a:pt x="9094" y="77280"/>
                  </a:cubicBezTo>
                  <a:cubicBezTo>
                    <a:pt x="5000" y="71139"/>
                    <a:pt x="2441" y="63462"/>
                    <a:pt x="2441" y="54762"/>
                  </a:cubicBezTo>
                  <a:cubicBezTo>
                    <a:pt x="2441" y="42479"/>
                    <a:pt x="6535" y="32243"/>
                    <a:pt x="15236" y="24054"/>
                  </a:cubicBezTo>
                  <a:cubicBezTo>
                    <a:pt x="23936" y="15866"/>
                    <a:pt x="36731" y="11259"/>
                    <a:pt x="53620" y="10236"/>
                  </a:cubicBezTo>
                  <a:lnTo>
                    <a:pt x="53620" y="0"/>
                  </a:lnTo>
                  <a:lnTo>
                    <a:pt x="68462" y="0"/>
                  </a:lnTo>
                  <a:lnTo>
                    <a:pt x="68462" y="10236"/>
                  </a:lnTo>
                  <a:cubicBezTo>
                    <a:pt x="83816" y="11259"/>
                    <a:pt x="95587" y="14842"/>
                    <a:pt x="103776" y="20983"/>
                  </a:cubicBezTo>
                  <a:cubicBezTo>
                    <a:pt x="109405" y="25078"/>
                    <a:pt x="113500" y="30707"/>
                    <a:pt x="116059" y="36849"/>
                  </a:cubicBezTo>
                  <a:cubicBezTo>
                    <a:pt x="119641" y="42479"/>
                    <a:pt x="116059" y="48108"/>
                    <a:pt x="110941" y="49132"/>
                  </a:cubicBezTo>
                  <a:close/>
                  <a:moveTo>
                    <a:pt x="54644" y="37361"/>
                  </a:moveTo>
                  <a:cubicBezTo>
                    <a:pt x="50037" y="38896"/>
                    <a:pt x="46967" y="40432"/>
                    <a:pt x="45432" y="42990"/>
                  </a:cubicBezTo>
                  <a:cubicBezTo>
                    <a:pt x="43896" y="45038"/>
                    <a:pt x="42873" y="47597"/>
                    <a:pt x="42873" y="50667"/>
                  </a:cubicBezTo>
                  <a:cubicBezTo>
                    <a:pt x="42873" y="53738"/>
                    <a:pt x="43896" y="56297"/>
                    <a:pt x="45432" y="58344"/>
                  </a:cubicBezTo>
                  <a:cubicBezTo>
                    <a:pt x="46967" y="60391"/>
                    <a:pt x="50037" y="62438"/>
                    <a:pt x="54644" y="63974"/>
                  </a:cubicBezTo>
                  <a:lnTo>
                    <a:pt x="54644" y="37361"/>
                  </a:lnTo>
                  <a:close/>
                  <a:moveTo>
                    <a:pt x="69486" y="138695"/>
                  </a:moveTo>
                  <a:cubicBezTo>
                    <a:pt x="75115" y="137160"/>
                    <a:pt x="79722" y="135113"/>
                    <a:pt x="82281" y="132042"/>
                  </a:cubicBezTo>
                  <a:cubicBezTo>
                    <a:pt x="84840" y="128971"/>
                    <a:pt x="86375" y="125901"/>
                    <a:pt x="86375" y="121806"/>
                  </a:cubicBezTo>
                  <a:cubicBezTo>
                    <a:pt x="86375" y="118736"/>
                    <a:pt x="85351" y="115665"/>
                    <a:pt x="82792" y="113106"/>
                  </a:cubicBezTo>
                  <a:cubicBezTo>
                    <a:pt x="80745" y="110547"/>
                    <a:pt x="76139" y="107988"/>
                    <a:pt x="69486" y="105429"/>
                  </a:cubicBezTo>
                  <a:lnTo>
                    <a:pt x="69486" y="138695"/>
                  </a:lnTo>
                  <a:close/>
                </a:path>
              </a:pathLst>
            </a:custGeom>
            <a:grpFill/>
            <a:ln w="511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grpSp>
        <p:nvGrpSpPr>
          <p:cNvPr id="98" name="Graphic 1">
            <a:extLst>
              <a:ext uri="{FF2B5EF4-FFF2-40B4-BE49-F238E27FC236}">
                <a16:creationId xmlns:a16="http://schemas.microsoft.com/office/drawing/2014/main" id="{C50B1EA9-CAC2-455C-951F-D539AE51E08C}"/>
              </a:ext>
            </a:extLst>
          </p:cNvPr>
          <p:cNvGrpSpPr/>
          <p:nvPr/>
        </p:nvGrpSpPr>
        <p:grpSpPr>
          <a:xfrm>
            <a:off x="4391908" y="2568090"/>
            <a:ext cx="326642" cy="153934"/>
            <a:chOff x="7058678" y="2436125"/>
            <a:chExt cx="534309" cy="251801"/>
          </a:xfrm>
          <a:solidFill>
            <a:schemeClr val="accent2"/>
          </a:solidFill>
        </p:grpSpPr>
        <p:grpSp>
          <p:nvGrpSpPr>
            <p:cNvPr id="99" name="Graphic 1">
              <a:extLst>
                <a:ext uri="{FF2B5EF4-FFF2-40B4-BE49-F238E27FC236}">
                  <a16:creationId xmlns:a16="http://schemas.microsoft.com/office/drawing/2014/main" id="{1D9C2714-2342-48D9-AC04-2D53E34CC7DA}"/>
                </a:ext>
              </a:extLst>
            </p:cNvPr>
            <p:cNvGrpSpPr/>
            <p:nvPr/>
          </p:nvGrpSpPr>
          <p:grpSpPr>
            <a:xfrm>
              <a:off x="7150289" y="2436125"/>
              <a:ext cx="442699" cy="251801"/>
              <a:chOff x="7150289" y="2436125"/>
              <a:chExt cx="442699" cy="251801"/>
            </a:xfrm>
            <a:grpFill/>
          </p:grpSpPr>
          <p:sp>
            <p:nvSpPr>
              <p:cNvPr id="104" name="Freeform: Shape 110">
                <a:extLst>
                  <a:ext uri="{FF2B5EF4-FFF2-40B4-BE49-F238E27FC236}">
                    <a16:creationId xmlns:a16="http://schemas.microsoft.com/office/drawing/2014/main" id="{D1D9F43D-B244-4268-8CFE-C08578E90530}"/>
                  </a:ext>
                </a:extLst>
              </p:cNvPr>
              <p:cNvSpPr/>
              <p:nvPr/>
            </p:nvSpPr>
            <p:spPr>
              <a:xfrm>
                <a:off x="7216310" y="2613661"/>
                <a:ext cx="83421" cy="73752"/>
              </a:xfrm>
              <a:custGeom>
                <a:avLst/>
                <a:gdLst>
                  <a:gd name="connsiteX0" fmla="*/ 83422 w 83421"/>
                  <a:gd name="connsiteY0" fmla="*/ 37416 h 73752"/>
                  <a:gd name="connsiteX1" fmla="*/ 70115 w 83421"/>
                  <a:gd name="connsiteY1" fmla="*/ 63005 h 73752"/>
                  <a:gd name="connsiteX2" fmla="*/ 41967 w 83421"/>
                  <a:gd name="connsiteY2" fmla="*/ 73753 h 73752"/>
                  <a:gd name="connsiteX3" fmla="*/ 39920 w 83421"/>
                  <a:gd name="connsiteY3" fmla="*/ 73753 h 73752"/>
                  <a:gd name="connsiteX4" fmla="*/ 0 w 83421"/>
                  <a:gd name="connsiteY4" fmla="*/ 36904 h 73752"/>
                  <a:gd name="connsiteX5" fmla="*/ 9724 w 83421"/>
                  <a:gd name="connsiteY5" fmla="*/ 36904 h 73752"/>
                  <a:gd name="connsiteX6" fmla="*/ 9724 w 83421"/>
                  <a:gd name="connsiteY6" fmla="*/ 31786 h 73752"/>
                  <a:gd name="connsiteX7" fmla="*/ 9724 w 83421"/>
                  <a:gd name="connsiteY7" fmla="*/ 30251 h 73752"/>
                  <a:gd name="connsiteX8" fmla="*/ 19960 w 83421"/>
                  <a:gd name="connsiteY8" fmla="*/ 8244 h 73752"/>
                  <a:gd name="connsiteX9" fmla="*/ 42990 w 83421"/>
                  <a:gd name="connsiteY9" fmla="*/ 55 h 73752"/>
                  <a:gd name="connsiteX10" fmla="*/ 73186 w 83421"/>
                  <a:gd name="connsiteY10" fmla="*/ 31786 h 73752"/>
                  <a:gd name="connsiteX11" fmla="*/ 73186 w 83421"/>
                  <a:gd name="connsiteY11" fmla="*/ 36904 h 73752"/>
                  <a:gd name="connsiteX12" fmla="*/ 83422 w 83421"/>
                  <a:gd name="connsiteY12" fmla="*/ 36904 h 737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3421" h="73752">
                    <a:moveTo>
                      <a:pt x="83422" y="37416"/>
                    </a:moveTo>
                    <a:cubicBezTo>
                      <a:pt x="82398" y="47140"/>
                      <a:pt x="77792" y="56352"/>
                      <a:pt x="70115" y="63005"/>
                    </a:cubicBezTo>
                    <a:cubicBezTo>
                      <a:pt x="62438" y="70171"/>
                      <a:pt x="52202" y="73753"/>
                      <a:pt x="41967" y="73753"/>
                    </a:cubicBezTo>
                    <a:cubicBezTo>
                      <a:pt x="41455" y="73753"/>
                      <a:pt x="40431" y="73753"/>
                      <a:pt x="39920" y="73753"/>
                    </a:cubicBezTo>
                    <a:cubicBezTo>
                      <a:pt x="18936" y="72730"/>
                      <a:pt x="2559" y="57376"/>
                      <a:pt x="0" y="36904"/>
                    </a:cubicBezTo>
                    <a:lnTo>
                      <a:pt x="9724" y="36904"/>
                    </a:lnTo>
                    <a:lnTo>
                      <a:pt x="9724" y="31786"/>
                    </a:lnTo>
                    <a:cubicBezTo>
                      <a:pt x="9724" y="31274"/>
                      <a:pt x="9724" y="30763"/>
                      <a:pt x="9724" y="30251"/>
                    </a:cubicBezTo>
                    <a:cubicBezTo>
                      <a:pt x="10236" y="21551"/>
                      <a:pt x="13818" y="13874"/>
                      <a:pt x="19960" y="8244"/>
                    </a:cubicBezTo>
                    <a:cubicBezTo>
                      <a:pt x="26101" y="2614"/>
                      <a:pt x="34290" y="-457"/>
                      <a:pt x="42990" y="55"/>
                    </a:cubicBezTo>
                    <a:cubicBezTo>
                      <a:pt x="59879" y="567"/>
                      <a:pt x="73186" y="14897"/>
                      <a:pt x="73186" y="31786"/>
                    </a:cubicBezTo>
                    <a:lnTo>
                      <a:pt x="73186" y="36904"/>
                    </a:lnTo>
                    <a:lnTo>
                      <a:pt x="83422" y="36904"/>
                    </a:lnTo>
                    <a:close/>
                  </a:path>
                </a:pathLst>
              </a:custGeom>
              <a:grpFill/>
              <a:ln w="511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05" name="Freeform: Shape 111">
                <a:extLst>
                  <a:ext uri="{FF2B5EF4-FFF2-40B4-BE49-F238E27FC236}">
                    <a16:creationId xmlns:a16="http://schemas.microsoft.com/office/drawing/2014/main" id="{2ED0C821-749C-44BD-9101-FAEED2E1C405}"/>
                  </a:ext>
                </a:extLst>
              </p:cNvPr>
              <p:cNvSpPr/>
              <p:nvPr/>
            </p:nvSpPr>
            <p:spPr>
              <a:xfrm>
                <a:off x="7150289" y="2436125"/>
                <a:ext cx="257942" cy="214952"/>
              </a:xfrm>
              <a:custGeom>
                <a:avLst/>
                <a:gdLst>
                  <a:gd name="connsiteX0" fmla="*/ 257943 w 257942"/>
                  <a:gd name="connsiteY0" fmla="*/ 0 h 214952"/>
                  <a:gd name="connsiteX1" fmla="*/ 257943 w 257942"/>
                  <a:gd name="connsiteY1" fmla="*/ 214952 h 214952"/>
                  <a:gd name="connsiteX2" fmla="*/ 149443 w 257942"/>
                  <a:gd name="connsiteY2" fmla="*/ 214952 h 214952"/>
                  <a:gd name="connsiteX3" fmla="*/ 149443 w 257942"/>
                  <a:gd name="connsiteY3" fmla="*/ 211882 h 214952"/>
                  <a:gd name="connsiteX4" fmla="*/ 149443 w 257942"/>
                  <a:gd name="connsiteY4" fmla="*/ 209834 h 214952"/>
                  <a:gd name="connsiteX5" fmla="*/ 109523 w 257942"/>
                  <a:gd name="connsiteY5" fmla="*/ 167867 h 214952"/>
                  <a:gd name="connsiteX6" fmla="*/ 79328 w 257942"/>
                  <a:gd name="connsiteY6" fmla="*/ 178615 h 214952"/>
                  <a:gd name="connsiteX7" fmla="*/ 66021 w 257942"/>
                  <a:gd name="connsiteY7" fmla="*/ 207787 h 214952"/>
                  <a:gd name="connsiteX8" fmla="*/ 66021 w 257942"/>
                  <a:gd name="connsiteY8" fmla="*/ 209834 h 214952"/>
                  <a:gd name="connsiteX9" fmla="*/ 66533 w 257942"/>
                  <a:gd name="connsiteY9" fmla="*/ 214952 h 214952"/>
                  <a:gd name="connsiteX10" fmla="*/ 17913 w 257942"/>
                  <a:gd name="connsiteY10" fmla="*/ 214952 h 214952"/>
                  <a:gd name="connsiteX11" fmla="*/ 512 w 257942"/>
                  <a:gd name="connsiteY11" fmla="*/ 197551 h 214952"/>
                  <a:gd name="connsiteX12" fmla="*/ 512 w 257942"/>
                  <a:gd name="connsiteY12" fmla="*/ 112594 h 214952"/>
                  <a:gd name="connsiteX13" fmla="*/ 37361 w 257942"/>
                  <a:gd name="connsiteY13" fmla="*/ 112594 h 214952"/>
                  <a:gd name="connsiteX14" fmla="*/ 42479 w 257942"/>
                  <a:gd name="connsiteY14" fmla="*/ 107476 h 214952"/>
                  <a:gd name="connsiteX15" fmla="*/ 37361 w 257942"/>
                  <a:gd name="connsiteY15" fmla="*/ 102358 h 214952"/>
                  <a:gd name="connsiteX16" fmla="*/ 0 w 257942"/>
                  <a:gd name="connsiteY16" fmla="*/ 102358 h 214952"/>
                  <a:gd name="connsiteX17" fmla="*/ 0 w 257942"/>
                  <a:gd name="connsiteY17" fmla="*/ 82398 h 214952"/>
                  <a:gd name="connsiteX18" fmla="*/ 67044 w 257942"/>
                  <a:gd name="connsiteY18" fmla="*/ 82398 h 214952"/>
                  <a:gd name="connsiteX19" fmla="*/ 72162 w 257942"/>
                  <a:gd name="connsiteY19" fmla="*/ 77280 h 214952"/>
                  <a:gd name="connsiteX20" fmla="*/ 67044 w 257942"/>
                  <a:gd name="connsiteY20" fmla="*/ 72163 h 214952"/>
                  <a:gd name="connsiteX21" fmla="*/ 0 w 257942"/>
                  <a:gd name="connsiteY21" fmla="*/ 72163 h 214952"/>
                  <a:gd name="connsiteX22" fmla="*/ 0 w 257942"/>
                  <a:gd name="connsiteY22" fmla="*/ 52203 h 214952"/>
                  <a:gd name="connsiteX23" fmla="*/ 96729 w 257942"/>
                  <a:gd name="connsiteY23" fmla="*/ 52203 h 214952"/>
                  <a:gd name="connsiteX24" fmla="*/ 101847 w 257942"/>
                  <a:gd name="connsiteY24" fmla="*/ 47085 h 214952"/>
                  <a:gd name="connsiteX25" fmla="*/ 96729 w 257942"/>
                  <a:gd name="connsiteY25" fmla="*/ 41967 h 214952"/>
                  <a:gd name="connsiteX26" fmla="*/ 0 w 257942"/>
                  <a:gd name="connsiteY26" fmla="*/ 41967 h 214952"/>
                  <a:gd name="connsiteX27" fmla="*/ 0 w 257942"/>
                  <a:gd name="connsiteY27" fmla="*/ 17401 h 214952"/>
                  <a:gd name="connsiteX28" fmla="*/ 17401 w 257942"/>
                  <a:gd name="connsiteY28" fmla="*/ 0 h 214952"/>
                  <a:gd name="connsiteX29" fmla="*/ 257943 w 257942"/>
                  <a:gd name="connsiteY29" fmla="*/ 0 h 2149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57942" h="214952">
                    <a:moveTo>
                      <a:pt x="257943" y="0"/>
                    </a:moveTo>
                    <a:lnTo>
                      <a:pt x="257943" y="214952"/>
                    </a:lnTo>
                    <a:lnTo>
                      <a:pt x="149443" y="214952"/>
                    </a:lnTo>
                    <a:cubicBezTo>
                      <a:pt x="149443" y="213929"/>
                      <a:pt x="149443" y="212905"/>
                      <a:pt x="149443" y="211882"/>
                    </a:cubicBezTo>
                    <a:cubicBezTo>
                      <a:pt x="149443" y="211370"/>
                      <a:pt x="149443" y="210346"/>
                      <a:pt x="149443" y="209834"/>
                    </a:cubicBezTo>
                    <a:cubicBezTo>
                      <a:pt x="149443" y="187315"/>
                      <a:pt x="132042" y="168891"/>
                      <a:pt x="109523" y="167867"/>
                    </a:cubicBezTo>
                    <a:cubicBezTo>
                      <a:pt x="98264" y="167356"/>
                      <a:pt x="87516" y="171450"/>
                      <a:pt x="79328" y="178615"/>
                    </a:cubicBezTo>
                    <a:cubicBezTo>
                      <a:pt x="71139" y="186292"/>
                      <a:pt x="66021" y="196528"/>
                      <a:pt x="66021" y="207787"/>
                    </a:cubicBezTo>
                    <a:cubicBezTo>
                      <a:pt x="66021" y="208299"/>
                      <a:pt x="66021" y="209323"/>
                      <a:pt x="66021" y="209834"/>
                    </a:cubicBezTo>
                    <a:cubicBezTo>
                      <a:pt x="66021" y="211370"/>
                      <a:pt x="66021" y="213417"/>
                      <a:pt x="66533" y="214952"/>
                    </a:cubicBezTo>
                    <a:lnTo>
                      <a:pt x="17913" y="214952"/>
                    </a:lnTo>
                    <a:cubicBezTo>
                      <a:pt x="8189" y="214952"/>
                      <a:pt x="512" y="207275"/>
                      <a:pt x="512" y="197551"/>
                    </a:cubicBezTo>
                    <a:lnTo>
                      <a:pt x="512" y="112594"/>
                    </a:lnTo>
                    <a:lnTo>
                      <a:pt x="37361" y="112594"/>
                    </a:lnTo>
                    <a:cubicBezTo>
                      <a:pt x="40432" y="112594"/>
                      <a:pt x="42479" y="110547"/>
                      <a:pt x="42479" y="107476"/>
                    </a:cubicBezTo>
                    <a:cubicBezTo>
                      <a:pt x="42479" y="104405"/>
                      <a:pt x="40432" y="102358"/>
                      <a:pt x="37361" y="102358"/>
                    </a:cubicBezTo>
                    <a:lnTo>
                      <a:pt x="0" y="102358"/>
                    </a:lnTo>
                    <a:lnTo>
                      <a:pt x="0" y="82398"/>
                    </a:lnTo>
                    <a:lnTo>
                      <a:pt x="67044" y="82398"/>
                    </a:lnTo>
                    <a:cubicBezTo>
                      <a:pt x="69603" y="82398"/>
                      <a:pt x="72162" y="79839"/>
                      <a:pt x="72162" y="77280"/>
                    </a:cubicBezTo>
                    <a:cubicBezTo>
                      <a:pt x="72162" y="74210"/>
                      <a:pt x="69603" y="72163"/>
                      <a:pt x="67044" y="72163"/>
                    </a:cubicBezTo>
                    <a:lnTo>
                      <a:pt x="0" y="72163"/>
                    </a:lnTo>
                    <a:lnTo>
                      <a:pt x="0" y="52203"/>
                    </a:lnTo>
                    <a:lnTo>
                      <a:pt x="96729" y="52203"/>
                    </a:lnTo>
                    <a:cubicBezTo>
                      <a:pt x="99288" y="52203"/>
                      <a:pt x="101847" y="49644"/>
                      <a:pt x="101847" y="47085"/>
                    </a:cubicBezTo>
                    <a:cubicBezTo>
                      <a:pt x="101847" y="44526"/>
                      <a:pt x="99288" y="41967"/>
                      <a:pt x="96729" y="41967"/>
                    </a:cubicBezTo>
                    <a:lnTo>
                      <a:pt x="0" y="41967"/>
                    </a:lnTo>
                    <a:lnTo>
                      <a:pt x="0" y="17401"/>
                    </a:lnTo>
                    <a:cubicBezTo>
                      <a:pt x="0" y="7677"/>
                      <a:pt x="7677" y="0"/>
                      <a:pt x="17401" y="0"/>
                    </a:cubicBezTo>
                    <a:lnTo>
                      <a:pt x="257943" y="0"/>
                    </a:lnTo>
                    <a:close/>
                  </a:path>
                </a:pathLst>
              </a:custGeom>
              <a:grpFill/>
              <a:ln w="511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06" name="Freeform: Shape 112">
                <a:extLst>
                  <a:ext uri="{FF2B5EF4-FFF2-40B4-BE49-F238E27FC236}">
                    <a16:creationId xmlns:a16="http://schemas.microsoft.com/office/drawing/2014/main" id="{0CE0B5E1-DAC5-4F16-B260-475284529A9C}"/>
                  </a:ext>
                </a:extLst>
              </p:cNvPr>
              <p:cNvSpPr/>
              <p:nvPr/>
            </p:nvSpPr>
            <p:spPr>
              <a:xfrm>
                <a:off x="7486024" y="2614175"/>
                <a:ext cx="83422" cy="73751"/>
              </a:xfrm>
              <a:custGeom>
                <a:avLst/>
                <a:gdLst>
                  <a:gd name="connsiteX0" fmla="*/ 83422 w 83422"/>
                  <a:gd name="connsiteY0" fmla="*/ 36902 h 73751"/>
                  <a:gd name="connsiteX1" fmla="*/ 41967 w 83422"/>
                  <a:gd name="connsiteY1" fmla="*/ 73751 h 73751"/>
                  <a:gd name="connsiteX2" fmla="*/ 39920 w 83422"/>
                  <a:gd name="connsiteY2" fmla="*/ 73751 h 73751"/>
                  <a:gd name="connsiteX3" fmla="*/ 0 w 83422"/>
                  <a:gd name="connsiteY3" fmla="*/ 36902 h 73751"/>
                  <a:gd name="connsiteX4" fmla="*/ 10236 w 83422"/>
                  <a:gd name="connsiteY4" fmla="*/ 36902 h 73751"/>
                  <a:gd name="connsiteX5" fmla="*/ 10236 w 83422"/>
                  <a:gd name="connsiteY5" fmla="*/ 30249 h 73751"/>
                  <a:gd name="connsiteX6" fmla="*/ 43502 w 83422"/>
                  <a:gd name="connsiteY6" fmla="*/ 53 h 73751"/>
                  <a:gd name="connsiteX7" fmla="*/ 73698 w 83422"/>
                  <a:gd name="connsiteY7" fmla="*/ 31785 h 73751"/>
                  <a:gd name="connsiteX8" fmla="*/ 73698 w 83422"/>
                  <a:gd name="connsiteY8" fmla="*/ 36902 h 73751"/>
                  <a:gd name="connsiteX9" fmla="*/ 83422 w 83422"/>
                  <a:gd name="connsiteY9" fmla="*/ 36902 h 737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3422" h="73751">
                    <a:moveTo>
                      <a:pt x="83422" y="36902"/>
                    </a:moveTo>
                    <a:cubicBezTo>
                      <a:pt x="80863" y="57886"/>
                      <a:pt x="62951" y="73751"/>
                      <a:pt x="41967" y="73751"/>
                    </a:cubicBezTo>
                    <a:cubicBezTo>
                      <a:pt x="41455" y="73751"/>
                      <a:pt x="40943" y="73751"/>
                      <a:pt x="39920" y="73751"/>
                    </a:cubicBezTo>
                    <a:cubicBezTo>
                      <a:pt x="18936" y="72728"/>
                      <a:pt x="2559" y="56862"/>
                      <a:pt x="0" y="36902"/>
                    </a:cubicBezTo>
                    <a:lnTo>
                      <a:pt x="10236" y="36902"/>
                    </a:lnTo>
                    <a:lnTo>
                      <a:pt x="10236" y="30249"/>
                    </a:lnTo>
                    <a:cubicBezTo>
                      <a:pt x="11259" y="12848"/>
                      <a:pt x="26102" y="-970"/>
                      <a:pt x="43502" y="53"/>
                    </a:cubicBezTo>
                    <a:cubicBezTo>
                      <a:pt x="60392" y="565"/>
                      <a:pt x="73698" y="14895"/>
                      <a:pt x="73698" y="31785"/>
                    </a:cubicBezTo>
                    <a:lnTo>
                      <a:pt x="73698" y="36902"/>
                    </a:lnTo>
                    <a:lnTo>
                      <a:pt x="83422" y="36902"/>
                    </a:lnTo>
                    <a:close/>
                  </a:path>
                </a:pathLst>
              </a:custGeom>
              <a:grpFill/>
              <a:ln w="511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07" name="Freeform: Shape 113">
                <a:extLst>
                  <a:ext uri="{FF2B5EF4-FFF2-40B4-BE49-F238E27FC236}">
                    <a16:creationId xmlns:a16="http://schemas.microsoft.com/office/drawing/2014/main" id="{BAF101F2-63A7-4BC2-9DA6-B4850DC5BD9D}"/>
                  </a:ext>
                </a:extLst>
              </p:cNvPr>
              <p:cNvSpPr/>
              <p:nvPr/>
            </p:nvSpPr>
            <p:spPr>
              <a:xfrm>
                <a:off x="7420003" y="2436125"/>
                <a:ext cx="172985" cy="214952"/>
              </a:xfrm>
              <a:custGeom>
                <a:avLst/>
                <a:gdLst>
                  <a:gd name="connsiteX0" fmla="*/ 172985 w 172985"/>
                  <a:gd name="connsiteY0" fmla="*/ 135113 h 214952"/>
                  <a:gd name="connsiteX1" fmla="*/ 172985 w 172985"/>
                  <a:gd name="connsiteY1" fmla="*/ 197551 h 214952"/>
                  <a:gd name="connsiteX2" fmla="*/ 155584 w 172985"/>
                  <a:gd name="connsiteY2" fmla="*/ 214952 h 214952"/>
                  <a:gd name="connsiteX3" fmla="*/ 149443 w 172985"/>
                  <a:gd name="connsiteY3" fmla="*/ 214952 h 214952"/>
                  <a:gd name="connsiteX4" fmla="*/ 149443 w 172985"/>
                  <a:gd name="connsiteY4" fmla="*/ 211882 h 214952"/>
                  <a:gd name="connsiteX5" fmla="*/ 149443 w 172985"/>
                  <a:gd name="connsiteY5" fmla="*/ 209834 h 214952"/>
                  <a:gd name="connsiteX6" fmla="*/ 137672 w 172985"/>
                  <a:gd name="connsiteY6" fmla="*/ 180662 h 214952"/>
                  <a:gd name="connsiteX7" fmla="*/ 109011 w 172985"/>
                  <a:gd name="connsiteY7" fmla="*/ 167867 h 214952"/>
                  <a:gd name="connsiteX8" fmla="*/ 78816 w 172985"/>
                  <a:gd name="connsiteY8" fmla="*/ 178615 h 214952"/>
                  <a:gd name="connsiteX9" fmla="*/ 64998 w 172985"/>
                  <a:gd name="connsiteY9" fmla="*/ 207787 h 214952"/>
                  <a:gd name="connsiteX10" fmla="*/ 64998 w 172985"/>
                  <a:gd name="connsiteY10" fmla="*/ 209834 h 214952"/>
                  <a:gd name="connsiteX11" fmla="*/ 65509 w 172985"/>
                  <a:gd name="connsiteY11" fmla="*/ 214952 h 214952"/>
                  <a:gd name="connsiteX12" fmla="*/ 0 w 172985"/>
                  <a:gd name="connsiteY12" fmla="*/ 214952 h 214952"/>
                  <a:gd name="connsiteX13" fmla="*/ 0 w 172985"/>
                  <a:gd name="connsiteY13" fmla="*/ 0 h 214952"/>
                  <a:gd name="connsiteX14" fmla="*/ 36337 w 172985"/>
                  <a:gd name="connsiteY14" fmla="*/ 0 h 214952"/>
                  <a:gd name="connsiteX15" fmla="*/ 112082 w 172985"/>
                  <a:gd name="connsiteY15" fmla="*/ 75745 h 214952"/>
                  <a:gd name="connsiteX16" fmla="*/ 112082 w 172985"/>
                  <a:gd name="connsiteY16" fmla="*/ 102358 h 214952"/>
                  <a:gd name="connsiteX17" fmla="*/ 139207 w 172985"/>
                  <a:gd name="connsiteY17" fmla="*/ 102358 h 214952"/>
                  <a:gd name="connsiteX18" fmla="*/ 172985 w 172985"/>
                  <a:gd name="connsiteY18" fmla="*/ 135113 h 2149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72985" h="214952">
                    <a:moveTo>
                      <a:pt x="172985" y="135113"/>
                    </a:moveTo>
                    <a:lnTo>
                      <a:pt x="172985" y="197551"/>
                    </a:lnTo>
                    <a:cubicBezTo>
                      <a:pt x="172985" y="207275"/>
                      <a:pt x="165308" y="214952"/>
                      <a:pt x="155584" y="214952"/>
                    </a:cubicBezTo>
                    <a:lnTo>
                      <a:pt x="149443" y="214952"/>
                    </a:lnTo>
                    <a:cubicBezTo>
                      <a:pt x="149443" y="213929"/>
                      <a:pt x="149443" y="212905"/>
                      <a:pt x="149443" y="211882"/>
                    </a:cubicBezTo>
                    <a:cubicBezTo>
                      <a:pt x="149443" y="211370"/>
                      <a:pt x="149443" y="210346"/>
                      <a:pt x="149443" y="209834"/>
                    </a:cubicBezTo>
                    <a:cubicBezTo>
                      <a:pt x="149443" y="198575"/>
                      <a:pt x="144837" y="188339"/>
                      <a:pt x="137672" y="180662"/>
                    </a:cubicBezTo>
                    <a:cubicBezTo>
                      <a:pt x="130507" y="172985"/>
                      <a:pt x="120271" y="168379"/>
                      <a:pt x="109011" y="167867"/>
                    </a:cubicBezTo>
                    <a:cubicBezTo>
                      <a:pt x="97752" y="167356"/>
                      <a:pt x="87004" y="171450"/>
                      <a:pt x="78816" y="178615"/>
                    </a:cubicBezTo>
                    <a:cubicBezTo>
                      <a:pt x="70627" y="186292"/>
                      <a:pt x="65509" y="196528"/>
                      <a:pt x="64998" y="207787"/>
                    </a:cubicBezTo>
                    <a:cubicBezTo>
                      <a:pt x="64998" y="208299"/>
                      <a:pt x="64998" y="209323"/>
                      <a:pt x="64998" y="209834"/>
                    </a:cubicBezTo>
                    <a:cubicBezTo>
                      <a:pt x="64998" y="211370"/>
                      <a:pt x="64998" y="213417"/>
                      <a:pt x="65509" y="214952"/>
                    </a:cubicBezTo>
                    <a:lnTo>
                      <a:pt x="0" y="214952"/>
                    </a:lnTo>
                    <a:lnTo>
                      <a:pt x="0" y="0"/>
                    </a:lnTo>
                    <a:lnTo>
                      <a:pt x="36337" y="0"/>
                    </a:lnTo>
                    <a:cubicBezTo>
                      <a:pt x="78304" y="0"/>
                      <a:pt x="112082" y="34290"/>
                      <a:pt x="112082" y="75745"/>
                    </a:cubicBezTo>
                    <a:lnTo>
                      <a:pt x="112082" y="102358"/>
                    </a:lnTo>
                    <a:lnTo>
                      <a:pt x="139207" y="102358"/>
                    </a:lnTo>
                    <a:cubicBezTo>
                      <a:pt x="158143" y="102358"/>
                      <a:pt x="172985" y="117200"/>
                      <a:pt x="172985" y="135113"/>
                    </a:cubicBezTo>
                    <a:close/>
                  </a:path>
                </a:pathLst>
              </a:custGeom>
              <a:grpFill/>
              <a:ln w="511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grpSp>
          <p:nvGrpSpPr>
            <p:cNvPr id="100" name="Graphic 1">
              <a:extLst>
                <a:ext uri="{FF2B5EF4-FFF2-40B4-BE49-F238E27FC236}">
                  <a16:creationId xmlns:a16="http://schemas.microsoft.com/office/drawing/2014/main" id="{E30909E9-59BF-4E17-B4E8-1DABCD5B2700}"/>
                </a:ext>
              </a:extLst>
            </p:cNvPr>
            <p:cNvGrpSpPr/>
            <p:nvPr/>
          </p:nvGrpSpPr>
          <p:grpSpPr>
            <a:xfrm>
              <a:off x="7058678" y="2478092"/>
              <a:ext cx="91610" cy="70627"/>
              <a:chOff x="7058678" y="2478092"/>
              <a:chExt cx="91610" cy="70627"/>
            </a:xfrm>
            <a:grpFill/>
          </p:grpSpPr>
          <p:sp>
            <p:nvSpPr>
              <p:cNvPr id="101" name="Freeform: Shape 107">
                <a:extLst>
                  <a:ext uri="{FF2B5EF4-FFF2-40B4-BE49-F238E27FC236}">
                    <a16:creationId xmlns:a16="http://schemas.microsoft.com/office/drawing/2014/main" id="{6048A6C8-5044-4F4C-B4F6-D3E724B28EB4}"/>
                  </a:ext>
                </a:extLst>
              </p:cNvPr>
              <p:cNvSpPr/>
              <p:nvPr/>
            </p:nvSpPr>
            <p:spPr>
              <a:xfrm>
                <a:off x="7058678" y="2538483"/>
                <a:ext cx="91610" cy="10235"/>
              </a:xfrm>
              <a:custGeom>
                <a:avLst/>
                <a:gdLst>
                  <a:gd name="connsiteX0" fmla="*/ 91611 w 91610"/>
                  <a:gd name="connsiteY0" fmla="*/ 0 h 10235"/>
                  <a:gd name="connsiteX1" fmla="*/ 91611 w 91610"/>
                  <a:gd name="connsiteY1" fmla="*/ 10236 h 10235"/>
                  <a:gd name="connsiteX2" fmla="*/ 5118 w 91610"/>
                  <a:gd name="connsiteY2" fmla="*/ 10236 h 10235"/>
                  <a:gd name="connsiteX3" fmla="*/ 0 w 91610"/>
                  <a:gd name="connsiteY3" fmla="*/ 5118 h 10235"/>
                  <a:gd name="connsiteX4" fmla="*/ 5118 w 91610"/>
                  <a:gd name="connsiteY4" fmla="*/ 0 h 10235"/>
                  <a:gd name="connsiteX5" fmla="*/ 91611 w 91610"/>
                  <a:gd name="connsiteY5" fmla="*/ 0 h 102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1610" h="10235">
                    <a:moveTo>
                      <a:pt x="91611" y="0"/>
                    </a:moveTo>
                    <a:lnTo>
                      <a:pt x="91611" y="10236"/>
                    </a:lnTo>
                    <a:lnTo>
                      <a:pt x="5118" y="10236"/>
                    </a:lnTo>
                    <a:cubicBezTo>
                      <a:pt x="2047" y="10236"/>
                      <a:pt x="0" y="8189"/>
                      <a:pt x="0" y="5118"/>
                    </a:cubicBezTo>
                    <a:cubicBezTo>
                      <a:pt x="0" y="2047"/>
                      <a:pt x="2047" y="0"/>
                      <a:pt x="5118" y="0"/>
                    </a:cubicBezTo>
                    <a:lnTo>
                      <a:pt x="91611" y="0"/>
                    </a:lnTo>
                    <a:close/>
                  </a:path>
                </a:pathLst>
              </a:custGeom>
              <a:grpFill/>
              <a:ln w="511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02" name="Freeform: Shape 108">
                <a:extLst>
                  <a:ext uri="{FF2B5EF4-FFF2-40B4-BE49-F238E27FC236}">
                    <a16:creationId xmlns:a16="http://schemas.microsoft.com/office/drawing/2014/main" id="{1A9B035B-B93F-4AF0-8C56-BAC96E40B10F}"/>
                  </a:ext>
                </a:extLst>
              </p:cNvPr>
              <p:cNvSpPr/>
              <p:nvPr/>
            </p:nvSpPr>
            <p:spPr>
              <a:xfrm>
                <a:off x="7088874" y="2508287"/>
                <a:ext cx="61414" cy="10235"/>
              </a:xfrm>
              <a:custGeom>
                <a:avLst/>
                <a:gdLst>
                  <a:gd name="connsiteX0" fmla="*/ 61415 w 61414"/>
                  <a:gd name="connsiteY0" fmla="*/ 0 h 10235"/>
                  <a:gd name="connsiteX1" fmla="*/ 61415 w 61414"/>
                  <a:gd name="connsiteY1" fmla="*/ 10236 h 10235"/>
                  <a:gd name="connsiteX2" fmla="*/ 5118 w 61414"/>
                  <a:gd name="connsiteY2" fmla="*/ 10236 h 10235"/>
                  <a:gd name="connsiteX3" fmla="*/ 0 w 61414"/>
                  <a:gd name="connsiteY3" fmla="*/ 5118 h 10235"/>
                  <a:gd name="connsiteX4" fmla="*/ 5118 w 61414"/>
                  <a:gd name="connsiteY4" fmla="*/ 0 h 10235"/>
                  <a:gd name="connsiteX5" fmla="*/ 61415 w 61414"/>
                  <a:gd name="connsiteY5" fmla="*/ 0 h 102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1414" h="10235">
                    <a:moveTo>
                      <a:pt x="61415" y="0"/>
                    </a:moveTo>
                    <a:lnTo>
                      <a:pt x="61415" y="10236"/>
                    </a:lnTo>
                    <a:lnTo>
                      <a:pt x="5118" y="10236"/>
                    </a:lnTo>
                    <a:cubicBezTo>
                      <a:pt x="2559" y="10236"/>
                      <a:pt x="0" y="7677"/>
                      <a:pt x="0" y="5118"/>
                    </a:cubicBezTo>
                    <a:cubicBezTo>
                      <a:pt x="0" y="2047"/>
                      <a:pt x="2559" y="0"/>
                      <a:pt x="5118" y="0"/>
                    </a:cubicBezTo>
                    <a:lnTo>
                      <a:pt x="61415" y="0"/>
                    </a:lnTo>
                    <a:close/>
                  </a:path>
                </a:pathLst>
              </a:custGeom>
              <a:grpFill/>
              <a:ln w="511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03" name="Freeform: Shape 109">
                <a:extLst>
                  <a:ext uri="{FF2B5EF4-FFF2-40B4-BE49-F238E27FC236}">
                    <a16:creationId xmlns:a16="http://schemas.microsoft.com/office/drawing/2014/main" id="{5F258668-8BFD-495B-8564-A9BF82808B38}"/>
                  </a:ext>
                </a:extLst>
              </p:cNvPr>
              <p:cNvSpPr/>
              <p:nvPr/>
            </p:nvSpPr>
            <p:spPr>
              <a:xfrm>
                <a:off x="7118558" y="2478092"/>
                <a:ext cx="31731" cy="10235"/>
              </a:xfrm>
              <a:custGeom>
                <a:avLst/>
                <a:gdLst>
                  <a:gd name="connsiteX0" fmla="*/ 31731 w 31731"/>
                  <a:gd name="connsiteY0" fmla="*/ 0 h 10235"/>
                  <a:gd name="connsiteX1" fmla="*/ 31731 w 31731"/>
                  <a:gd name="connsiteY1" fmla="*/ 10236 h 10235"/>
                  <a:gd name="connsiteX2" fmla="*/ 5118 w 31731"/>
                  <a:gd name="connsiteY2" fmla="*/ 10236 h 10235"/>
                  <a:gd name="connsiteX3" fmla="*/ 0 w 31731"/>
                  <a:gd name="connsiteY3" fmla="*/ 5118 h 10235"/>
                  <a:gd name="connsiteX4" fmla="*/ 5118 w 31731"/>
                  <a:gd name="connsiteY4" fmla="*/ 0 h 10235"/>
                  <a:gd name="connsiteX5" fmla="*/ 31731 w 31731"/>
                  <a:gd name="connsiteY5" fmla="*/ 0 h 102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731" h="10235">
                    <a:moveTo>
                      <a:pt x="31731" y="0"/>
                    </a:moveTo>
                    <a:lnTo>
                      <a:pt x="31731" y="10236"/>
                    </a:lnTo>
                    <a:lnTo>
                      <a:pt x="5118" y="10236"/>
                    </a:lnTo>
                    <a:cubicBezTo>
                      <a:pt x="2559" y="10236"/>
                      <a:pt x="0" y="7677"/>
                      <a:pt x="0" y="5118"/>
                    </a:cubicBezTo>
                    <a:cubicBezTo>
                      <a:pt x="0" y="2559"/>
                      <a:pt x="2559" y="0"/>
                      <a:pt x="5118" y="0"/>
                    </a:cubicBezTo>
                    <a:lnTo>
                      <a:pt x="31731" y="0"/>
                    </a:lnTo>
                    <a:close/>
                  </a:path>
                </a:pathLst>
              </a:custGeom>
              <a:grpFill/>
              <a:ln w="511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grpSp>
      <p:grpSp>
        <p:nvGrpSpPr>
          <p:cNvPr id="108" name="Graphic 1">
            <a:extLst>
              <a:ext uri="{FF2B5EF4-FFF2-40B4-BE49-F238E27FC236}">
                <a16:creationId xmlns:a16="http://schemas.microsoft.com/office/drawing/2014/main" id="{79409897-B8E9-454A-ABDC-1FEFD9ECEA01}"/>
              </a:ext>
            </a:extLst>
          </p:cNvPr>
          <p:cNvGrpSpPr/>
          <p:nvPr/>
        </p:nvGrpSpPr>
        <p:grpSpPr>
          <a:xfrm>
            <a:off x="5283480" y="2053630"/>
            <a:ext cx="267616" cy="286282"/>
            <a:chOff x="5370106" y="1116216"/>
            <a:chExt cx="437754" cy="468288"/>
          </a:xfrm>
          <a:solidFill>
            <a:schemeClr val="accent3"/>
          </a:solidFill>
        </p:grpSpPr>
        <p:grpSp>
          <p:nvGrpSpPr>
            <p:cNvPr id="109" name="Graphic 1">
              <a:extLst>
                <a:ext uri="{FF2B5EF4-FFF2-40B4-BE49-F238E27FC236}">
                  <a16:creationId xmlns:a16="http://schemas.microsoft.com/office/drawing/2014/main" id="{3B1BAEDE-B1D3-426F-96ED-562321ABEE0C}"/>
                </a:ext>
              </a:extLst>
            </p:cNvPr>
            <p:cNvGrpSpPr/>
            <p:nvPr/>
          </p:nvGrpSpPr>
          <p:grpSpPr>
            <a:xfrm>
              <a:off x="5496180" y="1116216"/>
              <a:ext cx="148419" cy="148419"/>
              <a:chOff x="5496180" y="1116216"/>
              <a:chExt cx="148419" cy="148419"/>
            </a:xfrm>
            <a:grpFill/>
          </p:grpSpPr>
          <p:sp>
            <p:nvSpPr>
              <p:cNvPr id="111" name="Freeform: Shape 117">
                <a:extLst>
                  <a:ext uri="{FF2B5EF4-FFF2-40B4-BE49-F238E27FC236}">
                    <a16:creationId xmlns:a16="http://schemas.microsoft.com/office/drawing/2014/main" id="{02F036BF-C1BC-4E39-B061-B67B86AC542A}"/>
                  </a:ext>
                </a:extLst>
              </p:cNvPr>
              <p:cNvSpPr/>
              <p:nvPr/>
            </p:nvSpPr>
            <p:spPr>
              <a:xfrm>
                <a:off x="5496180" y="1116216"/>
                <a:ext cx="148419" cy="148419"/>
              </a:xfrm>
              <a:custGeom>
                <a:avLst/>
                <a:gdLst>
                  <a:gd name="connsiteX0" fmla="*/ 74210 w 148419"/>
                  <a:gd name="connsiteY0" fmla="*/ 0 h 148419"/>
                  <a:gd name="connsiteX1" fmla="*/ 0 w 148419"/>
                  <a:gd name="connsiteY1" fmla="*/ 74210 h 148419"/>
                  <a:gd name="connsiteX2" fmla="*/ 74210 w 148419"/>
                  <a:gd name="connsiteY2" fmla="*/ 148419 h 148419"/>
                  <a:gd name="connsiteX3" fmla="*/ 148419 w 148419"/>
                  <a:gd name="connsiteY3" fmla="*/ 74210 h 148419"/>
                  <a:gd name="connsiteX4" fmla="*/ 74210 w 148419"/>
                  <a:gd name="connsiteY4" fmla="*/ 0 h 148419"/>
                  <a:gd name="connsiteX5" fmla="*/ 74210 w 148419"/>
                  <a:gd name="connsiteY5" fmla="*/ 128460 h 148419"/>
                  <a:gd name="connsiteX6" fmla="*/ 19960 w 148419"/>
                  <a:gd name="connsiteY6" fmla="*/ 74210 h 148419"/>
                  <a:gd name="connsiteX7" fmla="*/ 74210 w 148419"/>
                  <a:gd name="connsiteY7" fmla="*/ 19960 h 148419"/>
                  <a:gd name="connsiteX8" fmla="*/ 128460 w 148419"/>
                  <a:gd name="connsiteY8" fmla="*/ 74210 h 148419"/>
                  <a:gd name="connsiteX9" fmla="*/ 74210 w 148419"/>
                  <a:gd name="connsiteY9" fmla="*/ 128460 h 1484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8419" h="148419">
                    <a:moveTo>
                      <a:pt x="74210" y="0"/>
                    </a:moveTo>
                    <a:cubicBezTo>
                      <a:pt x="33266" y="0"/>
                      <a:pt x="0" y="33266"/>
                      <a:pt x="0" y="74210"/>
                    </a:cubicBezTo>
                    <a:cubicBezTo>
                      <a:pt x="0" y="115153"/>
                      <a:pt x="33266" y="148419"/>
                      <a:pt x="74210" y="148419"/>
                    </a:cubicBezTo>
                    <a:cubicBezTo>
                      <a:pt x="115153" y="148419"/>
                      <a:pt x="148419" y="115153"/>
                      <a:pt x="148419" y="74210"/>
                    </a:cubicBezTo>
                    <a:cubicBezTo>
                      <a:pt x="148419" y="33266"/>
                      <a:pt x="115153" y="0"/>
                      <a:pt x="74210" y="0"/>
                    </a:cubicBezTo>
                    <a:close/>
                    <a:moveTo>
                      <a:pt x="74210" y="128460"/>
                    </a:moveTo>
                    <a:cubicBezTo>
                      <a:pt x="44526" y="128460"/>
                      <a:pt x="19960" y="104405"/>
                      <a:pt x="19960" y="74210"/>
                    </a:cubicBezTo>
                    <a:cubicBezTo>
                      <a:pt x="19960" y="44526"/>
                      <a:pt x="44014" y="19960"/>
                      <a:pt x="74210" y="19960"/>
                    </a:cubicBezTo>
                    <a:cubicBezTo>
                      <a:pt x="104405" y="19960"/>
                      <a:pt x="128460" y="44014"/>
                      <a:pt x="128460" y="74210"/>
                    </a:cubicBezTo>
                    <a:cubicBezTo>
                      <a:pt x="128460" y="103894"/>
                      <a:pt x="104405" y="128460"/>
                      <a:pt x="74210" y="128460"/>
                    </a:cubicBezTo>
                    <a:close/>
                  </a:path>
                </a:pathLst>
              </a:custGeom>
              <a:grpFill/>
              <a:ln w="511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12" name="Freeform: Shape 118">
                <a:extLst>
                  <a:ext uri="{FF2B5EF4-FFF2-40B4-BE49-F238E27FC236}">
                    <a16:creationId xmlns:a16="http://schemas.microsoft.com/office/drawing/2014/main" id="{3ECFD488-50C0-4B56-99B7-B3D01064E98F}"/>
                  </a:ext>
                </a:extLst>
              </p:cNvPr>
              <p:cNvSpPr/>
              <p:nvPr/>
            </p:nvSpPr>
            <p:spPr>
              <a:xfrm>
                <a:off x="5546717" y="1158183"/>
                <a:ext cx="47215" cy="68579"/>
              </a:xfrm>
              <a:custGeom>
                <a:avLst/>
                <a:gdLst>
                  <a:gd name="connsiteX0" fmla="*/ 42097 w 47215"/>
                  <a:gd name="connsiteY0" fmla="*/ 17913 h 68579"/>
                  <a:gd name="connsiteX1" fmla="*/ 33909 w 47215"/>
                  <a:gd name="connsiteY1" fmla="*/ 19448 h 68579"/>
                  <a:gd name="connsiteX2" fmla="*/ 30326 w 47215"/>
                  <a:gd name="connsiteY2" fmla="*/ 17401 h 68579"/>
                  <a:gd name="connsiteX3" fmla="*/ 29302 w 47215"/>
                  <a:gd name="connsiteY3" fmla="*/ 15865 h 68579"/>
                  <a:gd name="connsiteX4" fmla="*/ 26232 w 47215"/>
                  <a:gd name="connsiteY4" fmla="*/ 13818 h 68579"/>
                  <a:gd name="connsiteX5" fmla="*/ 26232 w 47215"/>
                  <a:gd name="connsiteY5" fmla="*/ 25078 h 68579"/>
                  <a:gd name="connsiteX6" fmla="*/ 42097 w 47215"/>
                  <a:gd name="connsiteY6" fmla="*/ 31731 h 68579"/>
                  <a:gd name="connsiteX7" fmla="*/ 47215 w 47215"/>
                  <a:gd name="connsiteY7" fmla="*/ 43502 h 68579"/>
                  <a:gd name="connsiteX8" fmla="*/ 45168 w 47215"/>
                  <a:gd name="connsiteY8" fmla="*/ 51179 h 68579"/>
                  <a:gd name="connsiteX9" fmla="*/ 40562 w 47215"/>
                  <a:gd name="connsiteY9" fmla="*/ 56809 h 68579"/>
                  <a:gd name="connsiteX10" fmla="*/ 34420 w 47215"/>
                  <a:gd name="connsiteY10" fmla="*/ 60391 h 68579"/>
                  <a:gd name="connsiteX11" fmla="*/ 26232 w 47215"/>
                  <a:gd name="connsiteY11" fmla="*/ 61415 h 68579"/>
                  <a:gd name="connsiteX12" fmla="*/ 26232 w 47215"/>
                  <a:gd name="connsiteY12" fmla="*/ 68580 h 68579"/>
                  <a:gd name="connsiteX13" fmla="*/ 20602 w 47215"/>
                  <a:gd name="connsiteY13" fmla="*/ 68580 h 68579"/>
                  <a:gd name="connsiteX14" fmla="*/ 20602 w 47215"/>
                  <a:gd name="connsiteY14" fmla="*/ 61415 h 68579"/>
                  <a:gd name="connsiteX15" fmla="*/ 11390 w 47215"/>
                  <a:gd name="connsiteY15" fmla="*/ 59368 h 68579"/>
                  <a:gd name="connsiteX16" fmla="*/ 5248 w 47215"/>
                  <a:gd name="connsiteY16" fmla="*/ 55785 h 68579"/>
                  <a:gd name="connsiteX17" fmla="*/ 1154 w 47215"/>
                  <a:gd name="connsiteY17" fmla="*/ 50667 h 68579"/>
                  <a:gd name="connsiteX18" fmla="*/ 130 w 47215"/>
                  <a:gd name="connsiteY18" fmla="*/ 48108 h 68579"/>
                  <a:gd name="connsiteX19" fmla="*/ 2689 w 47215"/>
                  <a:gd name="connsiteY19" fmla="*/ 44014 h 68579"/>
                  <a:gd name="connsiteX20" fmla="*/ 11902 w 47215"/>
                  <a:gd name="connsiteY20" fmla="*/ 42990 h 68579"/>
                  <a:gd name="connsiteX21" fmla="*/ 15484 w 47215"/>
                  <a:gd name="connsiteY21" fmla="*/ 45549 h 68579"/>
                  <a:gd name="connsiteX22" fmla="*/ 16508 w 47215"/>
                  <a:gd name="connsiteY22" fmla="*/ 48108 h 68579"/>
                  <a:gd name="connsiteX23" fmla="*/ 20602 w 47215"/>
                  <a:gd name="connsiteY23" fmla="*/ 51179 h 68579"/>
                  <a:gd name="connsiteX24" fmla="*/ 20602 w 47215"/>
                  <a:gd name="connsiteY24" fmla="*/ 37361 h 68579"/>
                  <a:gd name="connsiteX25" fmla="*/ 9343 w 47215"/>
                  <a:gd name="connsiteY25" fmla="*/ 33778 h 68579"/>
                  <a:gd name="connsiteX26" fmla="*/ 3713 w 47215"/>
                  <a:gd name="connsiteY26" fmla="*/ 28660 h 68579"/>
                  <a:gd name="connsiteX27" fmla="*/ 1154 w 47215"/>
                  <a:gd name="connsiteY27" fmla="*/ 19960 h 68579"/>
                  <a:gd name="connsiteX28" fmla="*/ 5760 w 47215"/>
                  <a:gd name="connsiteY28" fmla="*/ 8700 h 68579"/>
                  <a:gd name="connsiteX29" fmla="*/ 20090 w 47215"/>
                  <a:gd name="connsiteY29" fmla="*/ 3583 h 68579"/>
                  <a:gd name="connsiteX30" fmla="*/ 20090 w 47215"/>
                  <a:gd name="connsiteY30" fmla="*/ 0 h 68579"/>
                  <a:gd name="connsiteX31" fmla="*/ 25720 w 47215"/>
                  <a:gd name="connsiteY31" fmla="*/ 0 h 68579"/>
                  <a:gd name="connsiteX32" fmla="*/ 25720 w 47215"/>
                  <a:gd name="connsiteY32" fmla="*/ 3583 h 68579"/>
                  <a:gd name="connsiteX33" fmla="*/ 39026 w 47215"/>
                  <a:gd name="connsiteY33" fmla="*/ 7677 h 68579"/>
                  <a:gd name="connsiteX34" fmla="*/ 43633 w 47215"/>
                  <a:gd name="connsiteY34" fmla="*/ 13818 h 68579"/>
                  <a:gd name="connsiteX35" fmla="*/ 42097 w 47215"/>
                  <a:gd name="connsiteY35" fmla="*/ 17913 h 68579"/>
                  <a:gd name="connsiteX36" fmla="*/ 21114 w 47215"/>
                  <a:gd name="connsiteY36" fmla="*/ 13307 h 68579"/>
                  <a:gd name="connsiteX37" fmla="*/ 17531 w 47215"/>
                  <a:gd name="connsiteY37" fmla="*/ 15354 h 68579"/>
                  <a:gd name="connsiteX38" fmla="*/ 16508 w 47215"/>
                  <a:gd name="connsiteY38" fmla="*/ 18424 h 68579"/>
                  <a:gd name="connsiteX39" fmla="*/ 17531 w 47215"/>
                  <a:gd name="connsiteY39" fmla="*/ 21495 h 68579"/>
                  <a:gd name="connsiteX40" fmla="*/ 21114 w 47215"/>
                  <a:gd name="connsiteY40" fmla="*/ 23542 h 68579"/>
                  <a:gd name="connsiteX41" fmla="*/ 21114 w 47215"/>
                  <a:gd name="connsiteY41" fmla="*/ 13307 h 68579"/>
                  <a:gd name="connsiteX42" fmla="*/ 26743 w 47215"/>
                  <a:gd name="connsiteY42" fmla="*/ 51691 h 68579"/>
                  <a:gd name="connsiteX43" fmla="*/ 31350 w 47215"/>
                  <a:gd name="connsiteY43" fmla="*/ 49132 h 68579"/>
                  <a:gd name="connsiteX44" fmla="*/ 32885 w 47215"/>
                  <a:gd name="connsiteY44" fmla="*/ 45549 h 68579"/>
                  <a:gd name="connsiteX45" fmla="*/ 31350 w 47215"/>
                  <a:gd name="connsiteY45" fmla="*/ 41967 h 68579"/>
                  <a:gd name="connsiteX46" fmla="*/ 26232 w 47215"/>
                  <a:gd name="connsiteY46" fmla="*/ 38896 h 68579"/>
                  <a:gd name="connsiteX47" fmla="*/ 26232 w 47215"/>
                  <a:gd name="connsiteY47" fmla="*/ 51691 h 68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47215" h="68579">
                    <a:moveTo>
                      <a:pt x="42097" y="17913"/>
                    </a:moveTo>
                    <a:lnTo>
                      <a:pt x="33909" y="19448"/>
                    </a:lnTo>
                    <a:cubicBezTo>
                      <a:pt x="32373" y="19448"/>
                      <a:pt x="31350" y="18936"/>
                      <a:pt x="30326" y="17401"/>
                    </a:cubicBezTo>
                    <a:cubicBezTo>
                      <a:pt x="29814" y="16889"/>
                      <a:pt x="29814" y="16377"/>
                      <a:pt x="29302" y="15865"/>
                    </a:cubicBezTo>
                    <a:cubicBezTo>
                      <a:pt x="28791" y="15354"/>
                      <a:pt x="27767" y="14330"/>
                      <a:pt x="26232" y="13818"/>
                    </a:cubicBezTo>
                    <a:lnTo>
                      <a:pt x="26232" y="25078"/>
                    </a:lnTo>
                    <a:cubicBezTo>
                      <a:pt x="33909" y="27125"/>
                      <a:pt x="39026" y="29172"/>
                      <a:pt x="42097" y="31731"/>
                    </a:cubicBezTo>
                    <a:cubicBezTo>
                      <a:pt x="45680" y="34802"/>
                      <a:pt x="47215" y="38896"/>
                      <a:pt x="47215" y="43502"/>
                    </a:cubicBezTo>
                    <a:cubicBezTo>
                      <a:pt x="47215" y="46061"/>
                      <a:pt x="46703" y="48620"/>
                      <a:pt x="45168" y="51179"/>
                    </a:cubicBezTo>
                    <a:cubicBezTo>
                      <a:pt x="44144" y="53738"/>
                      <a:pt x="42097" y="55273"/>
                      <a:pt x="40562" y="56809"/>
                    </a:cubicBezTo>
                    <a:cubicBezTo>
                      <a:pt x="38515" y="58344"/>
                      <a:pt x="36467" y="59368"/>
                      <a:pt x="34420" y="60391"/>
                    </a:cubicBezTo>
                    <a:cubicBezTo>
                      <a:pt x="32373" y="60903"/>
                      <a:pt x="29814" y="61415"/>
                      <a:pt x="26232" y="61415"/>
                    </a:cubicBezTo>
                    <a:lnTo>
                      <a:pt x="26232" y="68580"/>
                    </a:lnTo>
                    <a:lnTo>
                      <a:pt x="20602" y="68580"/>
                    </a:lnTo>
                    <a:lnTo>
                      <a:pt x="20602" y="61415"/>
                    </a:lnTo>
                    <a:cubicBezTo>
                      <a:pt x="17019" y="60903"/>
                      <a:pt x="13949" y="60391"/>
                      <a:pt x="11390" y="59368"/>
                    </a:cubicBezTo>
                    <a:cubicBezTo>
                      <a:pt x="8831" y="58344"/>
                      <a:pt x="6784" y="57321"/>
                      <a:pt x="5248" y="55785"/>
                    </a:cubicBezTo>
                    <a:cubicBezTo>
                      <a:pt x="3713" y="54250"/>
                      <a:pt x="2178" y="52714"/>
                      <a:pt x="1154" y="50667"/>
                    </a:cubicBezTo>
                    <a:cubicBezTo>
                      <a:pt x="642" y="49644"/>
                      <a:pt x="130" y="49132"/>
                      <a:pt x="130" y="48108"/>
                    </a:cubicBezTo>
                    <a:cubicBezTo>
                      <a:pt x="-381" y="46061"/>
                      <a:pt x="642" y="44014"/>
                      <a:pt x="2689" y="44014"/>
                    </a:cubicBezTo>
                    <a:lnTo>
                      <a:pt x="11902" y="42990"/>
                    </a:lnTo>
                    <a:cubicBezTo>
                      <a:pt x="13437" y="42990"/>
                      <a:pt x="14972" y="44014"/>
                      <a:pt x="15484" y="45549"/>
                    </a:cubicBezTo>
                    <a:cubicBezTo>
                      <a:pt x="15996" y="46573"/>
                      <a:pt x="15996" y="47597"/>
                      <a:pt x="16508" y="48108"/>
                    </a:cubicBezTo>
                    <a:cubicBezTo>
                      <a:pt x="17531" y="49132"/>
                      <a:pt x="18555" y="50156"/>
                      <a:pt x="20602" y="51179"/>
                    </a:cubicBezTo>
                    <a:lnTo>
                      <a:pt x="20602" y="37361"/>
                    </a:lnTo>
                    <a:cubicBezTo>
                      <a:pt x="15484" y="35825"/>
                      <a:pt x="11902" y="34802"/>
                      <a:pt x="9343" y="33778"/>
                    </a:cubicBezTo>
                    <a:cubicBezTo>
                      <a:pt x="7295" y="32755"/>
                      <a:pt x="5248" y="31219"/>
                      <a:pt x="3713" y="28660"/>
                    </a:cubicBezTo>
                    <a:cubicBezTo>
                      <a:pt x="2178" y="26101"/>
                      <a:pt x="1154" y="23542"/>
                      <a:pt x="1154" y="19960"/>
                    </a:cubicBezTo>
                    <a:cubicBezTo>
                      <a:pt x="1154" y="15354"/>
                      <a:pt x="2689" y="11771"/>
                      <a:pt x="5760" y="8700"/>
                    </a:cubicBezTo>
                    <a:cubicBezTo>
                      <a:pt x="8831" y="5630"/>
                      <a:pt x="13949" y="4094"/>
                      <a:pt x="20090" y="3583"/>
                    </a:cubicBezTo>
                    <a:lnTo>
                      <a:pt x="20090" y="0"/>
                    </a:lnTo>
                    <a:lnTo>
                      <a:pt x="25720" y="0"/>
                    </a:lnTo>
                    <a:lnTo>
                      <a:pt x="25720" y="3583"/>
                    </a:lnTo>
                    <a:cubicBezTo>
                      <a:pt x="31350" y="4094"/>
                      <a:pt x="35956" y="5118"/>
                      <a:pt x="39026" y="7677"/>
                    </a:cubicBezTo>
                    <a:cubicBezTo>
                      <a:pt x="41074" y="9212"/>
                      <a:pt x="42609" y="11259"/>
                      <a:pt x="43633" y="13818"/>
                    </a:cubicBezTo>
                    <a:cubicBezTo>
                      <a:pt x="45168" y="15354"/>
                      <a:pt x="44144" y="17401"/>
                      <a:pt x="42097" y="17913"/>
                    </a:cubicBezTo>
                    <a:close/>
                    <a:moveTo>
                      <a:pt x="21114" y="13307"/>
                    </a:moveTo>
                    <a:cubicBezTo>
                      <a:pt x="19578" y="13818"/>
                      <a:pt x="18555" y="14330"/>
                      <a:pt x="17531" y="15354"/>
                    </a:cubicBezTo>
                    <a:cubicBezTo>
                      <a:pt x="17019" y="16377"/>
                      <a:pt x="16508" y="16889"/>
                      <a:pt x="16508" y="18424"/>
                    </a:cubicBezTo>
                    <a:cubicBezTo>
                      <a:pt x="16508" y="19448"/>
                      <a:pt x="17019" y="20472"/>
                      <a:pt x="17531" y="21495"/>
                    </a:cubicBezTo>
                    <a:cubicBezTo>
                      <a:pt x="18043" y="22519"/>
                      <a:pt x="19067" y="23031"/>
                      <a:pt x="21114" y="23542"/>
                    </a:cubicBezTo>
                    <a:lnTo>
                      <a:pt x="21114" y="13307"/>
                    </a:lnTo>
                    <a:close/>
                    <a:moveTo>
                      <a:pt x="26743" y="51691"/>
                    </a:moveTo>
                    <a:cubicBezTo>
                      <a:pt x="28791" y="51179"/>
                      <a:pt x="30326" y="50156"/>
                      <a:pt x="31350" y="49132"/>
                    </a:cubicBezTo>
                    <a:cubicBezTo>
                      <a:pt x="32373" y="48108"/>
                      <a:pt x="32885" y="46573"/>
                      <a:pt x="32885" y="45549"/>
                    </a:cubicBezTo>
                    <a:cubicBezTo>
                      <a:pt x="32885" y="44526"/>
                      <a:pt x="32373" y="42990"/>
                      <a:pt x="31350" y="41967"/>
                    </a:cubicBezTo>
                    <a:cubicBezTo>
                      <a:pt x="30326" y="40943"/>
                      <a:pt x="28791" y="39920"/>
                      <a:pt x="26232" y="38896"/>
                    </a:cubicBezTo>
                    <a:lnTo>
                      <a:pt x="26232" y="51691"/>
                    </a:lnTo>
                    <a:close/>
                  </a:path>
                </a:pathLst>
              </a:custGeom>
              <a:grpFill/>
              <a:ln w="511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sp>
          <p:nvSpPr>
            <p:cNvPr id="110" name="Freeform: Shape 116">
              <a:extLst>
                <a:ext uri="{FF2B5EF4-FFF2-40B4-BE49-F238E27FC236}">
                  <a16:creationId xmlns:a16="http://schemas.microsoft.com/office/drawing/2014/main" id="{05F03378-906C-4E53-BCBD-667694A05052}"/>
                </a:ext>
              </a:extLst>
            </p:cNvPr>
            <p:cNvSpPr/>
            <p:nvPr/>
          </p:nvSpPr>
          <p:spPr>
            <a:xfrm>
              <a:off x="5370106" y="1246930"/>
              <a:ext cx="437754" cy="337574"/>
            </a:xfrm>
            <a:custGeom>
              <a:avLst/>
              <a:gdLst>
                <a:gd name="connsiteX0" fmla="*/ 422401 w 437754"/>
                <a:gd name="connsiteY0" fmla="*/ 149235 h 337574"/>
                <a:gd name="connsiteX1" fmla="*/ 408071 w 437754"/>
                <a:gd name="connsiteY1" fmla="*/ 149235 h 337574"/>
                <a:gd name="connsiteX2" fmla="*/ 315948 w 437754"/>
                <a:gd name="connsiteY2" fmla="*/ 45854 h 337574"/>
                <a:gd name="connsiteX3" fmla="*/ 315948 w 437754"/>
                <a:gd name="connsiteY3" fmla="*/ 11052 h 337574"/>
                <a:gd name="connsiteX4" fmla="*/ 309295 w 437754"/>
                <a:gd name="connsiteY4" fmla="*/ 816 h 337574"/>
                <a:gd name="connsiteX5" fmla="*/ 297012 w 437754"/>
                <a:gd name="connsiteY5" fmla="*/ 3375 h 337574"/>
                <a:gd name="connsiteX6" fmla="*/ 255557 w 437754"/>
                <a:gd name="connsiteY6" fmla="*/ 44830 h 337574"/>
                <a:gd name="connsiteX7" fmla="*/ 150128 w 437754"/>
                <a:gd name="connsiteY7" fmla="*/ 44830 h 337574"/>
                <a:gd name="connsiteX8" fmla="*/ 52376 w 437754"/>
                <a:gd name="connsiteY8" fmla="*/ 85773 h 337574"/>
                <a:gd name="connsiteX9" fmla="*/ 42652 w 437754"/>
                <a:gd name="connsiteY9" fmla="*/ 96521 h 337574"/>
                <a:gd name="connsiteX10" fmla="*/ 34975 w 437754"/>
                <a:gd name="connsiteY10" fmla="*/ 95497 h 337574"/>
                <a:gd name="connsiteX11" fmla="*/ 39581 w 437754"/>
                <a:gd name="connsiteY11" fmla="*/ 87820 h 337574"/>
                <a:gd name="connsiteX12" fmla="*/ 31393 w 437754"/>
                <a:gd name="connsiteY12" fmla="*/ 74514 h 337574"/>
                <a:gd name="connsiteX13" fmla="*/ 18086 w 437754"/>
                <a:gd name="connsiteY13" fmla="*/ 83214 h 337574"/>
                <a:gd name="connsiteX14" fmla="*/ 18086 w 437754"/>
                <a:gd name="connsiteY14" fmla="*/ 90379 h 337574"/>
                <a:gd name="connsiteX15" fmla="*/ 15015 w 437754"/>
                <a:gd name="connsiteY15" fmla="*/ 88844 h 337574"/>
                <a:gd name="connsiteX16" fmla="*/ 10409 w 437754"/>
                <a:gd name="connsiteY16" fmla="*/ 78608 h 337574"/>
                <a:gd name="connsiteX17" fmla="*/ 5803 w 437754"/>
                <a:gd name="connsiteY17" fmla="*/ 72979 h 337574"/>
                <a:gd name="connsiteX18" fmla="*/ 174 w 437754"/>
                <a:gd name="connsiteY18" fmla="*/ 77585 h 337574"/>
                <a:gd name="connsiteX19" fmla="*/ 8874 w 437754"/>
                <a:gd name="connsiteY19" fmla="*/ 97545 h 337574"/>
                <a:gd name="connsiteX20" fmla="*/ 24228 w 437754"/>
                <a:gd name="connsiteY20" fmla="*/ 101127 h 337574"/>
                <a:gd name="connsiteX21" fmla="*/ 35487 w 437754"/>
                <a:gd name="connsiteY21" fmla="*/ 106757 h 337574"/>
                <a:gd name="connsiteX22" fmla="*/ 13992 w 437754"/>
                <a:gd name="connsiteY22" fmla="*/ 179431 h 337574"/>
                <a:gd name="connsiteX23" fmla="*/ 121980 w 437754"/>
                <a:gd name="connsiteY23" fmla="*/ 308914 h 337574"/>
                <a:gd name="connsiteX24" fmla="*/ 121980 w 437754"/>
                <a:gd name="connsiteY24" fmla="*/ 327339 h 337574"/>
                <a:gd name="connsiteX25" fmla="*/ 132216 w 437754"/>
                <a:gd name="connsiteY25" fmla="*/ 337575 h 337574"/>
                <a:gd name="connsiteX26" fmla="*/ 148593 w 437754"/>
                <a:gd name="connsiteY26" fmla="*/ 337575 h 337574"/>
                <a:gd name="connsiteX27" fmla="*/ 158829 w 437754"/>
                <a:gd name="connsiteY27" fmla="*/ 327339 h 337574"/>
                <a:gd name="connsiteX28" fmla="*/ 158829 w 437754"/>
                <a:gd name="connsiteY28" fmla="*/ 310961 h 337574"/>
                <a:gd name="connsiteX29" fmla="*/ 257604 w 437754"/>
                <a:gd name="connsiteY29" fmla="*/ 310961 h 337574"/>
                <a:gd name="connsiteX30" fmla="*/ 257604 w 437754"/>
                <a:gd name="connsiteY30" fmla="*/ 327339 h 337574"/>
                <a:gd name="connsiteX31" fmla="*/ 267840 w 437754"/>
                <a:gd name="connsiteY31" fmla="*/ 337575 h 337574"/>
                <a:gd name="connsiteX32" fmla="*/ 284218 w 437754"/>
                <a:gd name="connsiteY32" fmla="*/ 337575 h 337574"/>
                <a:gd name="connsiteX33" fmla="*/ 294453 w 437754"/>
                <a:gd name="connsiteY33" fmla="*/ 327339 h 337574"/>
                <a:gd name="connsiteX34" fmla="*/ 294453 w 437754"/>
                <a:gd name="connsiteY34" fmla="*/ 309938 h 337574"/>
                <a:gd name="connsiteX35" fmla="*/ 403977 w 437754"/>
                <a:gd name="connsiteY35" fmla="*/ 213209 h 337574"/>
                <a:gd name="connsiteX36" fmla="*/ 422913 w 437754"/>
                <a:gd name="connsiteY36" fmla="*/ 213209 h 337574"/>
                <a:gd name="connsiteX37" fmla="*/ 437755 w 437754"/>
                <a:gd name="connsiteY37" fmla="*/ 198367 h 337574"/>
                <a:gd name="connsiteX38" fmla="*/ 437755 w 437754"/>
                <a:gd name="connsiteY38" fmla="*/ 164589 h 337574"/>
                <a:gd name="connsiteX39" fmla="*/ 422401 w 437754"/>
                <a:gd name="connsiteY39" fmla="*/ 149235 h 337574"/>
                <a:gd name="connsiteX40" fmla="*/ 27298 w 437754"/>
                <a:gd name="connsiteY40" fmla="*/ 87820 h 337574"/>
                <a:gd name="connsiteX41" fmla="*/ 27298 w 437754"/>
                <a:gd name="connsiteY41" fmla="*/ 85262 h 337574"/>
                <a:gd name="connsiteX42" fmla="*/ 28322 w 437754"/>
                <a:gd name="connsiteY42" fmla="*/ 83726 h 337574"/>
                <a:gd name="connsiteX43" fmla="*/ 28834 w 437754"/>
                <a:gd name="connsiteY43" fmla="*/ 85262 h 337574"/>
                <a:gd name="connsiteX44" fmla="*/ 27298 w 437754"/>
                <a:gd name="connsiteY44" fmla="*/ 87820 h 337574"/>
                <a:gd name="connsiteX45" fmla="*/ 238156 w 437754"/>
                <a:gd name="connsiteY45" fmla="*/ 70420 h 337574"/>
                <a:gd name="connsiteX46" fmla="*/ 162923 w 437754"/>
                <a:gd name="connsiteY46" fmla="*/ 70420 h 337574"/>
                <a:gd name="connsiteX47" fmla="*/ 157805 w 437754"/>
                <a:gd name="connsiteY47" fmla="*/ 65302 h 337574"/>
                <a:gd name="connsiteX48" fmla="*/ 162923 w 437754"/>
                <a:gd name="connsiteY48" fmla="*/ 60184 h 337574"/>
                <a:gd name="connsiteX49" fmla="*/ 237645 w 437754"/>
                <a:gd name="connsiteY49" fmla="*/ 60184 h 337574"/>
                <a:gd name="connsiteX50" fmla="*/ 242762 w 437754"/>
                <a:gd name="connsiteY50" fmla="*/ 65302 h 337574"/>
                <a:gd name="connsiteX51" fmla="*/ 238156 w 437754"/>
                <a:gd name="connsiteY51" fmla="*/ 70420 h 337574"/>
                <a:gd name="connsiteX52" fmla="*/ 352286 w 437754"/>
                <a:gd name="connsiteY52" fmla="*/ 151283 h 337574"/>
                <a:gd name="connsiteX53" fmla="*/ 340515 w 437754"/>
                <a:gd name="connsiteY53" fmla="*/ 139511 h 337574"/>
                <a:gd name="connsiteX54" fmla="*/ 352286 w 437754"/>
                <a:gd name="connsiteY54" fmla="*/ 127740 h 337574"/>
                <a:gd name="connsiteX55" fmla="*/ 364057 w 437754"/>
                <a:gd name="connsiteY55" fmla="*/ 139511 h 337574"/>
                <a:gd name="connsiteX56" fmla="*/ 352286 w 437754"/>
                <a:gd name="connsiteY56" fmla="*/ 151283 h 3375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437754" h="337574">
                  <a:moveTo>
                    <a:pt x="422401" y="149235"/>
                  </a:moveTo>
                  <a:lnTo>
                    <a:pt x="408071" y="149235"/>
                  </a:lnTo>
                  <a:cubicBezTo>
                    <a:pt x="405512" y="97033"/>
                    <a:pt x="366104" y="54042"/>
                    <a:pt x="315948" y="45854"/>
                  </a:cubicBezTo>
                  <a:lnTo>
                    <a:pt x="315948" y="11052"/>
                  </a:lnTo>
                  <a:cubicBezTo>
                    <a:pt x="315948" y="6446"/>
                    <a:pt x="313390" y="2351"/>
                    <a:pt x="309295" y="816"/>
                  </a:cubicBezTo>
                  <a:cubicBezTo>
                    <a:pt x="305201" y="-719"/>
                    <a:pt x="300595" y="-207"/>
                    <a:pt x="297012" y="3375"/>
                  </a:cubicBezTo>
                  <a:lnTo>
                    <a:pt x="255557" y="44830"/>
                  </a:lnTo>
                  <a:lnTo>
                    <a:pt x="150128" y="44830"/>
                  </a:lnTo>
                  <a:cubicBezTo>
                    <a:pt x="113791" y="44830"/>
                    <a:pt x="77966" y="59672"/>
                    <a:pt x="52376" y="85773"/>
                  </a:cubicBezTo>
                  <a:cubicBezTo>
                    <a:pt x="48794" y="89356"/>
                    <a:pt x="45723" y="92938"/>
                    <a:pt x="42652" y="96521"/>
                  </a:cubicBezTo>
                  <a:cubicBezTo>
                    <a:pt x="40093" y="97033"/>
                    <a:pt x="37022" y="96521"/>
                    <a:pt x="34975" y="95497"/>
                  </a:cubicBezTo>
                  <a:cubicBezTo>
                    <a:pt x="37534" y="93450"/>
                    <a:pt x="39070" y="90379"/>
                    <a:pt x="39581" y="87820"/>
                  </a:cubicBezTo>
                  <a:cubicBezTo>
                    <a:pt x="40605" y="81679"/>
                    <a:pt x="37022" y="75538"/>
                    <a:pt x="31393" y="74514"/>
                  </a:cubicBezTo>
                  <a:cubicBezTo>
                    <a:pt x="25763" y="73490"/>
                    <a:pt x="19622" y="77073"/>
                    <a:pt x="18086" y="83214"/>
                  </a:cubicBezTo>
                  <a:cubicBezTo>
                    <a:pt x="17574" y="85262"/>
                    <a:pt x="17574" y="87820"/>
                    <a:pt x="18086" y="90379"/>
                  </a:cubicBezTo>
                  <a:cubicBezTo>
                    <a:pt x="17063" y="89868"/>
                    <a:pt x="16039" y="89356"/>
                    <a:pt x="15015" y="88844"/>
                  </a:cubicBezTo>
                  <a:cubicBezTo>
                    <a:pt x="11945" y="86797"/>
                    <a:pt x="9898" y="82191"/>
                    <a:pt x="10409" y="78608"/>
                  </a:cubicBezTo>
                  <a:cubicBezTo>
                    <a:pt x="10921" y="76049"/>
                    <a:pt x="8874" y="72979"/>
                    <a:pt x="5803" y="72979"/>
                  </a:cubicBezTo>
                  <a:cubicBezTo>
                    <a:pt x="3244" y="72467"/>
                    <a:pt x="174" y="74514"/>
                    <a:pt x="174" y="77585"/>
                  </a:cubicBezTo>
                  <a:cubicBezTo>
                    <a:pt x="-850" y="85262"/>
                    <a:pt x="2732" y="93450"/>
                    <a:pt x="8874" y="97545"/>
                  </a:cubicBezTo>
                  <a:cubicBezTo>
                    <a:pt x="13480" y="100615"/>
                    <a:pt x="19110" y="101639"/>
                    <a:pt x="24228" y="101127"/>
                  </a:cubicBezTo>
                  <a:cubicBezTo>
                    <a:pt x="27298" y="104198"/>
                    <a:pt x="31393" y="105733"/>
                    <a:pt x="35487" y="106757"/>
                  </a:cubicBezTo>
                  <a:cubicBezTo>
                    <a:pt x="21157" y="128252"/>
                    <a:pt x="13992" y="153330"/>
                    <a:pt x="13992" y="179431"/>
                  </a:cubicBezTo>
                  <a:cubicBezTo>
                    <a:pt x="14504" y="243405"/>
                    <a:pt x="59541" y="297143"/>
                    <a:pt x="121980" y="308914"/>
                  </a:cubicBezTo>
                  <a:lnTo>
                    <a:pt x="121980" y="327339"/>
                  </a:lnTo>
                  <a:cubicBezTo>
                    <a:pt x="121980" y="332969"/>
                    <a:pt x="126586" y="337575"/>
                    <a:pt x="132216" y="337575"/>
                  </a:cubicBezTo>
                  <a:lnTo>
                    <a:pt x="148593" y="337575"/>
                  </a:lnTo>
                  <a:cubicBezTo>
                    <a:pt x="154223" y="337575"/>
                    <a:pt x="158829" y="332969"/>
                    <a:pt x="158829" y="327339"/>
                  </a:cubicBezTo>
                  <a:lnTo>
                    <a:pt x="158829" y="310961"/>
                  </a:lnTo>
                  <a:lnTo>
                    <a:pt x="257604" y="310961"/>
                  </a:lnTo>
                  <a:lnTo>
                    <a:pt x="257604" y="327339"/>
                  </a:lnTo>
                  <a:cubicBezTo>
                    <a:pt x="257604" y="332969"/>
                    <a:pt x="262210" y="337575"/>
                    <a:pt x="267840" y="337575"/>
                  </a:cubicBezTo>
                  <a:lnTo>
                    <a:pt x="284218" y="337575"/>
                  </a:lnTo>
                  <a:cubicBezTo>
                    <a:pt x="289847" y="337575"/>
                    <a:pt x="294453" y="332969"/>
                    <a:pt x="294453" y="327339"/>
                  </a:cubicBezTo>
                  <a:lnTo>
                    <a:pt x="294453" y="309938"/>
                  </a:lnTo>
                  <a:cubicBezTo>
                    <a:pt x="347168" y="302773"/>
                    <a:pt x="390158" y="264388"/>
                    <a:pt x="403977" y="213209"/>
                  </a:cubicBezTo>
                  <a:lnTo>
                    <a:pt x="422913" y="213209"/>
                  </a:lnTo>
                  <a:cubicBezTo>
                    <a:pt x="431101" y="213209"/>
                    <a:pt x="437755" y="206556"/>
                    <a:pt x="437755" y="198367"/>
                  </a:cubicBezTo>
                  <a:lnTo>
                    <a:pt x="437755" y="164589"/>
                  </a:lnTo>
                  <a:cubicBezTo>
                    <a:pt x="437243" y="155889"/>
                    <a:pt x="430590" y="149235"/>
                    <a:pt x="422401" y="149235"/>
                  </a:cubicBezTo>
                  <a:close/>
                  <a:moveTo>
                    <a:pt x="27298" y="87820"/>
                  </a:moveTo>
                  <a:cubicBezTo>
                    <a:pt x="26787" y="86797"/>
                    <a:pt x="26787" y="85773"/>
                    <a:pt x="27298" y="85262"/>
                  </a:cubicBezTo>
                  <a:cubicBezTo>
                    <a:pt x="27298" y="84238"/>
                    <a:pt x="28322" y="83726"/>
                    <a:pt x="28322" y="83726"/>
                  </a:cubicBezTo>
                  <a:cubicBezTo>
                    <a:pt x="28834" y="83726"/>
                    <a:pt x="28834" y="84750"/>
                    <a:pt x="28834" y="85262"/>
                  </a:cubicBezTo>
                  <a:cubicBezTo>
                    <a:pt x="28834" y="86285"/>
                    <a:pt x="28322" y="87309"/>
                    <a:pt x="27298" y="87820"/>
                  </a:cubicBezTo>
                  <a:close/>
                  <a:moveTo>
                    <a:pt x="238156" y="70420"/>
                  </a:moveTo>
                  <a:lnTo>
                    <a:pt x="162923" y="70420"/>
                  </a:lnTo>
                  <a:cubicBezTo>
                    <a:pt x="160364" y="70420"/>
                    <a:pt x="157805" y="68372"/>
                    <a:pt x="157805" y="65302"/>
                  </a:cubicBezTo>
                  <a:cubicBezTo>
                    <a:pt x="157805" y="62743"/>
                    <a:pt x="160364" y="60184"/>
                    <a:pt x="162923" y="60184"/>
                  </a:cubicBezTo>
                  <a:lnTo>
                    <a:pt x="237645" y="60184"/>
                  </a:lnTo>
                  <a:cubicBezTo>
                    <a:pt x="240715" y="60184"/>
                    <a:pt x="242762" y="62743"/>
                    <a:pt x="242762" y="65302"/>
                  </a:cubicBezTo>
                  <a:cubicBezTo>
                    <a:pt x="243274" y="67861"/>
                    <a:pt x="240715" y="70420"/>
                    <a:pt x="238156" y="70420"/>
                  </a:cubicBezTo>
                  <a:close/>
                  <a:moveTo>
                    <a:pt x="352286" y="151283"/>
                  </a:moveTo>
                  <a:cubicBezTo>
                    <a:pt x="345632" y="151283"/>
                    <a:pt x="340515" y="146165"/>
                    <a:pt x="340515" y="139511"/>
                  </a:cubicBezTo>
                  <a:cubicBezTo>
                    <a:pt x="340515" y="132858"/>
                    <a:pt x="345632" y="127740"/>
                    <a:pt x="352286" y="127740"/>
                  </a:cubicBezTo>
                  <a:cubicBezTo>
                    <a:pt x="358939" y="127740"/>
                    <a:pt x="364057" y="132858"/>
                    <a:pt x="364057" y="139511"/>
                  </a:cubicBezTo>
                  <a:cubicBezTo>
                    <a:pt x="364057" y="146165"/>
                    <a:pt x="358427" y="151283"/>
                    <a:pt x="352286" y="151283"/>
                  </a:cubicBezTo>
                  <a:close/>
                </a:path>
              </a:pathLst>
            </a:custGeom>
            <a:grpFill/>
            <a:ln w="511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grpSp>
        <p:nvGrpSpPr>
          <p:cNvPr id="113" name="Graphic 1">
            <a:extLst>
              <a:ext uri="{FF2B5EF4-FFF2-40B4-BE49-F238E27FC236}">
                <a16:creationId xmlns:a16="http://schemas.microsoft.com/office/drawing/2014/main" id="{4C68E962-D99E-43F4-A33B-94C01A4C5AF5}"/>
              </a:ext>
            </a:extLst>
          </p:cNvPr>
          <p:cNvGrpSpPr/>
          <p:nvPr/>
        </p:nvGrpSpPr>
        <p:grpSpPr>
          <a:xfrm>
            <a:off x="6636426" y="2037052"/>
            <a:ext cx="267616" cy="319448"/>
            <a:chOff x="5896739" y="486713"/>
            <a:chExt cx="437754" cy="522538"/>
          </a:xfrm>
          <a:solidFill>
            <a:schemeClr val="accent3"/>
          </a:solidFill>
        </p:grpSpPr>
        <p:sp>
          <p:nvSpPr>
            <p:cNvPr id="114" name="Freeform: Shape 120">
              <a:extLst>
                <a:ext uri="{FF2B5EF4-FFF2-40B4-BE49-F238E27FC236}">
                  <a16:creationId xmlns:a16="http://schemas.microsoft.com/office/drawing/2014/main" id="{C30915DB-65E2-4389-B885-70C02AA62E77}"/>
                </a:ext>
              </a:extLst>
            </p:cNvPr>
            <p:cNvSpPr/>
            <p:nvPr/>
          </p:nvSpPr>
          <p:spPr>
            <a:xfrm>
              <a:off x="5896739" y="671677"/>
              <a:ext cx="437754" cy="337574"/>
            </a:xfrm>
            <a:custGeom>
              <a:avLst/>
              <a:gdLst>
                <a:gd name="connsiteX0" fmla="*/ 422401 w 437754"/>
                <a:gd name="connsiteY0" fmla="*/ 149235 h 337574"/>
                <a:gd name="connsiteX1" fmla="*/ 408071 w 437754"/>
                <a:gd name="connsiteY1" fmla="*/ 149235 h 337574"/>
                <a:gd name="connsiteX2" fmla="*/ 315948 w 437754"/>
                <a:gd name="connsiteY2" fmla="*/ 45854 h 337574"/>
                <a:gd name="connsiteX3" fmla="*/ 315948 w 437754"/>
                <a:gd name="connsiteY3" fmla="*/ 11052 h 337574"/>
                <a:gd name="connsiteX4" fmla="*/ 309295 w 437754"/>
                <a:gd name="connsiteY4" fmla="*/ 816 h 337574"/>
                <a:gd name="connsiteX5" fmla="*/ 297012 w 437754"/>
                <a:gd name="connsiteY5" fmla="*/ 3375 h 337574"/>
                <a:gd name="connsiteX6" fmla="*/ 255557 w 437754"/>
                <a:gd name="connsiteY6" fmla="*/ 44830 h 337574"/>
                <a:gd name="connsiteX7" fmla="*/ 150128 w 437754"/>
                <a:gd name="connsiteY7" fmla="*/ 44830 h 337574"/>
                <a:gd name="connsiteX8" fmla="*/ 52376 w 437754"/>
                <a:gd name="connsiteY8" fmla="*/ 85773 h 337574"/>
                <a:gd name="connsiteX9" fmla="*/ 42652 w 437754"/>
                <a:gd name="connsiteY9" fmla="*/ 96521 h 337574"/>
                <a:gd name="connsiteX10" fmla="*/ 34975 w 437754"/>
                <a:gd name="connsiteY10" fmla="*/ 95497 h 337574"/>
                <a:gd name="connsiteX11" fmla="*/ 39581 w 437754"/>
                <a:gd name="connsiteY11" fmla="*/ 87821 h 337574"/>
                <a:gd name="connsiteX12" fmla="*/ 31393 w 437754"/>
                <a:gd name="connsiteY12" fmla="*/ 74514 h 337574"/>
                <a:gd name="connsiteX13" fmla="*/ 18086 w 437754"/>
                <a:gd name="connsiteY13" fmla="*/ 83214 h 337574"/>
                <a:gd name="connsiteX14" fmla="*/ 18086 w 437754"/>
                <a:gd name="connsiteY14" fmla="*/ 90379 h 337574"/>
                <a:gd name="connsiteX15" fmla="*/ 15015 w 437754"/>
                <a:gd name="connsiteY15" fmla="*/ 88844 h 337574"/>
                <a:gd name="connsiteX16" fmla="*/ 10409 w 437754"/>
                <a:gd name="connsiteY16" fmla="*/ 78608 h 337574"/>
                <a:gd name="connsiteX17" fmla="*/ 5803 w 437754"/>
                <a:gd name="connsiteY17" fmla="*/ 72979 h 337574"/>
                <a:gd name="connsiteX18" fmla="*/ 174 w 437754"/>
                <a:gd name="connsiteY18" fmla="*/ 77585 h 337574"/>
                <a:gd name="connsiteX19" fmla="*/ 8874 w 437754"/>
                <a:gd name="connsiteY19" fmla="*/ 97545 h 337574"/>
                <a:gd name="connsiteX20" fmla="*/ 24228 w 437754"/>
                <a:gd name="connsiteY20" fmla="*/ 101127 h 337574"/>
                <a:gd name="connsiteX21" fmla="*/ 35487 w 437754"/>
                <a:gd name="connsiteY21" fmla="*/ 106757 h 337574"/>
                <a:gd name="connsiteX22" fmla="*/ 13992 w 437754"/>
                <a:gd name="connsiteY22" fmla="*/ 179431 h 337574"/>
                <a:gd name="connsiteX23" fmla="*/ 121980 w 437754"/>
                <a:gd name="connsiteY23" fmla="*/ 308914 h 337574"/>
                <a:gd name="connsiteX24" fmla="*/ 121980 w 437754"/>
                <a:gd name="connsiteY24" fmla="*/ 327339 h 337574"/>
                <a:gd name="connsiteX25" fmla="*/ 132216 w 437754"/>
                <a:gd name="connsiteY25" fmla="*/ 337575 h 337574"/>
                <a:gd name="connsiteX26" fmla="*/ 148593 w 437754"/>
                <a:gd name="connsiteY26" fmla="*/ 337575 h 337574"/>
                <a:gd name="connsiteX27" fmla="*/ 158829 w 437754"/>
                <a:gd name="connsiteY27" fmla="*/ 327339 h 337574"/>
                <a:gd name="connsiteX28" fmla="*/ 158829 w 437754"/>
                <a:gd name="connsiteY28" fmla="*/ 310961 h 337574"/>
                <a:gd name="connsiteX29" fmla="*/ 257605 w 437754"/>
                <a:gd name="connsiteY29" fmla="*/ 310961 h 337574"/>
                <a:gd name="connsiteX30" fmla="*/ 257605 w 437754"/>
                <a:gd name="connsiteY30" fmla="*/ 327339 h 337574"/>
                <a:gd name="connsiteX31" fmla="*/ 267840 w 437754"/>
                <a:gd name="connsiteY31" fmla="*/ 337575 h 337574"/>
                <a:gd name="connsiteX32" fmla="*/ 284217 w 437754"/>
                <a:gd name="connsiteY32" fmla="*/ 337575 h 337574"/>
                <a:gd name="connsiteX33" fmla="*/ 294453 w 437754"/>
                <a:gd name="connsiteY33" fmla="*/ 327339 h 337574"/>
                <a:gd name="connsiteX34" fmla="*/ 294453 w 437754"/>
                <a:gd name="connsiteY34" fmla="*/ 309938 h 337574"/>
                <a:gd name="connsiteX35" fmla="*/ 403977 w 437754"/>
                <a:gd name="connsiteY35" fmla="*/ 213209 h 337574"/>
                <a:gd name="connsiteX36" fmla="*/ 422913 w 437754"/>
                <a:gd name="connsiteY36" fmla="*/ 213209 h 337574"/>
                <a:gd name="connsiteX37" fmla="*/ 437755 w 437754"/>
                <a:gd name="connsiteY37" fmla="*/ 198367 h 337574"/>
                <a:gd name="connsiteX38" fmla="*/ 437755 w 437754"/>
                <a:gd name="connsiteY38" fmla="*/ 164589 h 337574"/>
                <a:gd name="connsiteX39" fmla="*/ 422401 w 437754"/>
                <a:gd name="connsiteY39" fmla="*/ 149235 h 337574"/>
                <a:gd name="connsiteX40" fmla="*/ 27298 w 437754"/>
                <a:gd name="connsiteY40" fmla="*/ 88332 h 337574"/>
                <a:gd name="connsiteX41" fmla="*/ 27298 w 437754"/>
                <a:gd name="connsiteY41" fmla="*/ 85773 h 337574"/>
                <a:gd name="connsiteX42" fmla="*/ 28322 w 437754"/>
                <a:gd name="connsiteY42" fmla="*/ 84238 h 337574"/>
                <a:gd name="connsiteX43" fmla="*/ 28834 w 437754"/>
                <a:gd name="connsiteY43" fmla="*/ 85773 h 337574"/>
                <a:gd name="connsiteX44" fmla="*/ 27298 w 437754"/>
                <a:gd name="connsiteY44" fmla="*/ 88332 h 337574"/>
                <a:gd name="connsiteX45" fmla="*/ 238156 w 437754"/>
                <a:gd name="connsiteY45" fmla="*/ 70420 h 337574"/>
                <a:gd name="connsiteX46" fmla="*/ 163435 w 437754"/>
                <a:gd name="connsiteY46" fmla="*/ 70420 h 337574"/>
                <a:gd name="connsiteX47" fmla="*/ 158317 w 437754"/>
                <a:gd name="connsiteY47" fmla="*/ 65302 h 337574"/>
                <a:gd name="connsiteX48" fmla="*/ 163435 w 437754"/>
                <a:gd name="connsiteY48" fmla="*/ 60184 h 337574"/>
                <a:gd name="connsiteX49" fmla="*/ 238156 w 437754"/>
                <a:gd name="connsiteY49" fmla="*/ 60184 h 337574"/>
                <a:gd name="connsiteX50" fmla="*/ 243274 w 437754"/>
                <a:gd name="connsiteY50" fmla="*/ 65302 h 337574"/>
                <a:gd name="connsiteX51" fmla="*/ 238156 w 437754"/>
                <a:gd name="connsiteY51" fmla="*/ 70420 h 337574"/>
                <a:gd name="connsiteX52" fmla="*/ 351774 w 437754"/>
                <a:gd name="connsiteY52" fmla="*/ 151794 h 337574"/>
                <a:gd name="connsiteX53" fmla="*/ 340003 w 437754"/>
                <a:gd name="connsiteY53" fmla="*/ 140023 h 337574"/>
                <a:gd name="connsiteX54" fmla="*/ 351774 w 437754"/>
                <a:gd name="connsiteY54" fmla="*/ 128252 h 337574"/>
                <a:gd name="connsiteX55" fmla="*/ 363545 w 437754"/>
                <a:gd name="connsiteY55" fmla="*/ 140023 h 337574"/>
                <a:gd name="connsiteX56" fmla="*/ 351774 w 437754"/>
                <a:gd name="connsiteY56" fmla="*/ 151794 h 3375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437754" h="337574">
                  <a:moveTo>
                    <a:pt x="422401" y="149235"/>
                  </a:moveTo>
                  <a:lnTo>
                    <a:pt x="408071" y="149235"/>
                  </a:lnTo>
                  <a:cubicBezTo>
                    <a:pt x="405512" y="97033"/>
                    <a:pt x="366104" y="54042"/>
                    <a:pt x="315948" y="45854"/>
                  </a:cubicBezTo>
                  <a:lnTo>
                    <a:pt x="315948" y="11052"/>
                  </a:lnTo>
                  <a:cubicBezTo>
                    <a:pt x="315948" y="6446"/>
                    <a:pt x="313390" y="2351"/>
                    <a:pt x="309295" y="816"/>
                  </a:cubicBezTo>
                  <a:cubicBezTo>
                    <a:pt x="305201" y="-719"/>
                    <a:pt x="300595" y="-208"/>
                    <a:pt x="297012" y="3375"/>
                  </a:cubicBezTo>
                  <a:lnTo>
                    <a:pt x="255557" y="44830"/>
                  </a:lnTo>
                  <a:lnTo>
                    <a:pt x="150128" y="44830"/>
                  </a:lnTo>
                  <a:cubicBezTo>
                    <a:pt x="113791" y="44830"/>
                    <a:pt x="77966" y="59672"/>
                    <a:pt x="52376" y="85773"/>
                  </a:cubicBezTo>
                  <a:cubicBezTo>
                    <a:pt x="48794" y="89356"/>
                    <a:pt x="45723" y="92938"/>
                    <a:pt x="42652" y="96521"/>
                  </a:cubicBezTo>
                  <a:cubicBezTo>
                    <a:pt x="40093" y="97033"/>
                    <a:pt x="37022" y="96521"/>
                    <a:pt x="34975" y="95497"/>
                  </a:cubicBezTo>
                  <a:cubicBezTo>
                    <a:pt x="37534" y="93450"/>
                    <a:pt x="39070" y="90379"/>
                    <a:pt x="39581" y="87821"/>
                  </a:cubicBezTo>
                  <a:cubicBezTo>
                    <a:pt x="40605" y="81679"/>
                    <a:pt x="37022" y="75538"/>
                    <a:pt x="31393" y="74514"/>
                  </a:cubicBezTo>
                  <a:cubicBezTo>
                    <a:pt x="25763" y="73490"/>
                    <a:pt x="19622" y="77073"/>
                    <a:pt x="18086" y="83214"/>
                  </a:cubicBezTo>
                  <a:cubicBezTo>
                    <a:pt x="17574" y="85262"/>
                    <a:pt x="17574" y="87821"/>
                    <a:pt x="18086" y="90379"/>
                  </a:cubicBezTo>
                  <a:cubicBezTo>
                    <a:pt x="17063" y="89868"/>
                    <a:pt x="16039" y="89356"/>
                    <a:pt x="15015" y="88844"/>
                  </a:cubicBezTo>
                  <a:cubicBezTo>
                    <a:pt x="11945" y="86797"/>
                    <a:pt x="9898" y="82191"/>
                    <a:pt x="10409" y="78608"/>
                  </a:cubicBezTo>
                  <a:cubicBezTo>
                    <a:pt x="10921" y="76049"/>
                    <a:pt x="8874" y="72979"/>
                    <a:pt x="5803" y="72979"/>
                  </a:cubicBezTo>
                  <a:cubicBezTo>
                    <a:pt x="3244" y="72467"/>
                    <a:pt x="174" y="74514"/>
                    <a:pt x="174" y="77585"/>
                  </a:cubicBezTo>
                  <a:cubicBezTo>
                    <a:pt x="-850" y="85262"/>
                    <a:pt x="2732" y="93450"/>
                    <a:pt x="8874" y="97545"/>
                  </a:cubicBezTo>
                  <a:cubicBezTo>
                    <a:pt x="13480" y="100615"/>
                    <a:pt x="19110" y="101639"/>
                    <a:pt x="24228" y="101127"/>
                  </a:cubicBezTo>
                  <a:cubicBezTo>
                    <a:pt x="27298" y="104198"/>
                    <a:pt x="31393" y="105733"/>
                    <a:pt x="35487" y="106757"/>
                  </a:cubicBezTo>
                  <a:cubicBezTo>
                    <a:pt x="21157" y="128252"/>
                    <a:pt x="13992" y="153330"/>
                    <a:pt x="13992" y="179431"/>
                  </a:cubicBezTo>
                  <a:cubicBezTo>
                    <a:pt x="14504" y="243405"/>
                    <a:pt x="59541" y="297143"/>
                    <a:pt x="121980" y="308914"/>
                  </a:cubicBezTo>
                  <a:lnTo>
                    <a:pt x="121980" y="327339"/>
                  </a:lnTo>
                  <a:cubicBezTo>
                    <a:pt x="121980" y="332969"/>
                    <a:pt x="126586" y="337575"/>
                    <a:pt x="132216" y="337575"/>
                  </a:cubicBezTo>
                  <a:lnTo>
                    <a:pt x="148593" y="337575"/>
                  </a:lnTo>
                  <a:cubicBezTo>
                    <a:pt x="154223" y="337575"/>
                    <a:pt x="158829" y="332969"/>
                    <a:pt x="158829" y="327339"/>
                  </a:cubicBezTo>
                  <a:lnTo>
                    <a:pt x="158829" y="310961"/>
                  </a:lnTo>
                  <a:lnTo>
                    <a:pt x="257605" y="310961"/>
                  </a:lnTo>
                  <a:lnTo>
                    <a:pt x="257605" y="327339"/>
                  </a:lnTo>
                  <a:cubicBezTo>
                    <a:pt x="257605" y="332969"/>
                    <a:pt x="262210" y="337575"/>
                    <a:pt x="267840" y="337575"/>
                  </a:cubicBezTo>
                  <a:lnTo>
                    <a:pt x="284217" y="337575"/>
                  </a:lnTo>
                  <a:cubicBezTo>
                    <a:pt x="289847" y="337575"/>
                    <a:pt x="294453" y="332969"/>
                    <a:pt x="294453" y="327339"/>
                  </a:cubicBezTo>
                  <a:lnTo>
                    <a:pt x="294453" y="309938"/>
                  </a:lnTo>
                  <a:cubicBezTo>
                    <a:pt x="347168" y="302773"/>
                    <a:pt x="390158" y="264388"/>
                    <a:pt x="403977" y="213209"/>
                  </a:cubicBezTo>
                  <a:lnTo>
                    <a:pt x="422913" y="213209"/>
                  </a:lnTo>
                  <a:cubicBezTo>
                    <a:pt x="431101" y="213209"/>
                    <a:pt x="437755" y="206556"/>
                    <a:pt x="437755" y="198367"/>
                  </a:cubicBezTo>
                  <a:lnTo>
                    <a:pt x="437755" y="164589"/>
                  </a:lnTo>
                  <a:cubicBezTo>
                    <a:pt x="437243" y="155889"/>
                    <a:pt x="430590" y="149235"/>
                    <a:pt x="422401" y="149235"/>
                  </a:cubicBezTo>
                  <a:close/>
                  <a:moveTo>
                    <a:pt x="27298" y="88332"/>
                  </a:moveTo>
                  <a:cubicBezTo>
                    <a:pt x="26787" y="87309"/>
                    <a:pt x="26787" y="86285"/>
                    <a:pt x="27298" y="85773"/>
                  </a:cubicBezTo>
                  <a:cubicBezTo>
                    <a:pt x="27298" y="84750"/>
                    <a:pt x="28322" y="84238"/>
                    <a:pt x="28322" y="84238"/>
                  </a:cubicBezTo>
                  <a:cubicBezTo>
                    <a:pt x="28834" y="84238"/>
                    <a:pt x="28834" y="85262"/>
                    <a:pt x="28834" y="85773"/>
                  </a:cubicBezTo>
                  <a:cubicBezTo>
                    <a:pt x="28834" y="86797"/>
                    <a:pt x="27810" y="87821"/>
                    <a:pt x="27298" y="88332"/>
                  </a:cubicBezTo>
                  <a:close/>
                  <a:moveTo>
                    <a:pt x="238156" y="70420"/>
                  </a:moveTo>
                  <a:lnTo>
                    <a:pt x="163435" y="70420"/>
                  </a:lnTo>
                  <a:cubicBezTo>
                    <a:pt x="160876" y="70420"/>
                    <a:pt x="158317" y="68373"/>
                    <a:pt x="158317" y="65302"/>
                  </a:cubicBezTo>
                  <a:cubicBezTo>
                    <a:pt x="158317" y="62743"/>
                    <a:pt x="160876" y="60184"/>
                    <a:pt x="163435" y="60184"/>
                  </a:cubicBezTo>
                  <a:lnTo>
                    <a:pt x="238156" y="60184"/>
                  </a:lnTo>
                  <a:cubicBezTo>
                    <a:pt x="241227" y="60184"/>
                    <a:pt x="243274" y="62743"/>
                    <a:pt x="243274" y="65302"/>
                  </a:cubicBezTo>
                  <a:cubicBezTo>
                    <a:pt x="243274" y="68373"/>
                    <a:pt x="240715" y="70420"/>
                    <a:pt x="238156" y="70420"/>
                  </a:cubicBezTo>
                  <a:close/>
                  <a:moveTo>
                    <a:pt x="351774" y="151794"/>
                  </a:moveTo>
                  <a:cubicBezTo>
                    <a:pt x="345121" y="151794"/>
                    <a:pt x="340003" y="146677"/>
                    <a:pt x="340003" y="140023"/>
                  </a:cubicBezTo>
                  <a:cubicBezTo>
                    <a:pt x="340003" y="133370"/>
                    <a:pt x="345121" y="128252"/>
                    <a:pt x="351774" y="128252"/>
                  </a:cubicBezTo>
                  <a:cubicBezTo>
                    <a:pt x="358427" y="128252"/>
                    <a:pt x="363545" y="133370"/>
                    <a:pt x="363545" y="140023"/>
                  </a:cubicBezTo>
                  <a:cubicBezTo>
                    <a:pt x="363545" y="146677"/>
                    <a:pt x="358427" y="151794"/>
                    <a:pt x="351774" y="151794"/>
                  </a:cubicBezTo>
                  <a:close/>
                </a:path>
              </a:pathLst>
            </a:custGeom>
            <a:grpFill/>
            <a:ln w="511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15" name="Freeform: Shape 121">
              <a:extLst>
                <a:ext uri="{FF2B5EF4-FFF2-40B4-BE49-F238E27FC236}">
                  <a16:creationId xmlns:a16="http://schemas.microsoft.com/office/drawing/2014/main" id="{7715483A-5379-4E92-83E2-821631BF3497}"/>
                </a:ext>
              </a:extLst>
            </p:cNvPr>
            <p:cNvSpPr/>
            <p:nvPr/>
          </p:nvSpPr>
          <p:spPr>
            <a:xfrm>
              <a:off x="5958840" y="486713"/>
              <a:ext cx="286169" cy="214952"/>
            </a:xfrm>
            <a:custGeom>
              <a:avLst/>
              <a:gdLst>
                <a:gd name="connsiteX0" fmla="*/ 281485 w 286169"/>
                <a:gd name="connsiteY0" fmla="*/ 90075 h 214952"/>
                <a:gd name="connsiteX1" fmla="*/ 76769 w 286169"/>
                <a:gd name="connsiteY1" fmla="*/ 90075 h 214952"/>
                <a:gd name="connsiteX2" fmla="*/ 60903 w 286169"/>
                <a:gd name="connsiteY2" fmla="*/ 90075 h 214952"/>
                <a:gd name="connsiteX3" fmla="*/ 60903 w 286169"/>
                <a:gd name="connsiteY3" fmla="*/ 64997 h 214952"/>
                <a:gd name="connsiteX4" fmla="*/ 60903 w 286169"/>
                <a:gd name="connsiteY4" fmla="*/ 64486 h 214952"/>
                <a:gd name="connsiteX5" fmla="*/ 60391 w 286169"/>
                <a:gd name="connsiteY5" fmla="*/ 62950 h 214952"/>
                <a:gd name="connsiteX6" fmla="*/ 60391 w 286169"/>
                <a:gd name="connsiteY6" fmla="*/ 62439 h 214952"/>
                <a:gd name="connsiteX7" fmla="*/ 59879 w 286169"/>
                <a:gd name="connsiteY7" fmla="*/ 61415 h 214952"/>
                <a:gd name="connsiteX8" fmla="*/ 59368 w 286169"/>
                <a:gd name="connsiteY8" fmla="*/ 60903 h 214952"/>
                <a:gd name="connsiteX9" fmla="*/ 59368 w 286169"/>
                <a:gd name="connsiteY9" fmla="*/ 60903 h 214952"/>
                <a:gd name="connsiteX10" fmla="*/ 60391 w 286169"/>
                <a:gd name="connsiteY10" fmla="*/ 7677 h 214952"/>
                <a:gd name="connsiteX11" fmla="*/ 60391 w 286169"/>
                <a:gd name="connsiteY11" fmla="*/ 2559 h 214952"/>
                <a:gd name="connsiteX12" fmla="*/ 55785 w 286169"/>
                <a:gd name="connsiteY12" fmla="*/ 0 h 214952"/>
                <a:gd name="connsiteX13" fmla="*/ 26101 w 286169"/>
                <a:gd name="connsiteY13" fmla="*/ 11771 h 214952"/>
                <a:gd name="connsiteX14" fmla="*/ 8189 w 286169"/>
                <a:gd name="connsiteY14" fmla="*/ 64997 h 214952"/>
                <a:gd name="connsiteX15" fmla="*/ 8189 w 286169"/>
                <a:gd name="connsiteY15" fmla="*/ 162238 h 214952"/>
                <a:gd name="connsiteX16" fmla="*/ 5118 w 286169"/>
                <a:gd name="connsiteY16" fmla="*/ 162238 h 214952"/>
                <a:gd name="connsiteX17" fmla="*/ 0 w 286169"/>
                <a:gd name="connsiteY17" fmla="*/ 167356 h 214952"/>
                <a:gd name="connsiteX18" fmla="*/ 0 w 286169"/>
                <a:gd name="connsiteY18" fmla="*/ 209834 h 214952"/>
                <a:gd name="connsiteX19" fmla="*/ 5118 w 286169"/>
                <a:gd name="connsiteY19" fmla="*/ 214952 h 214952"/>
                <a:gd name="connsiteX20" fmla="*/ 63462 w 286169"/>
                <a:gd name="connsiteY20" fmla="*/ 214952 h 214952"/>
                <a:gd name="connsiteX21" fmla="*/ 68580 w 286169"/>
                <a:gd name="connsiteY21" fmla="*/ 209834 h 214952"/>
                <a:gd name="connsiteX22" fmla="*/ 68580 w 286169"/>
                <a:gd name="connsiteY22" fmla="*/ 167356 h 214952"/>
                <a:gd name="connsiteX23" fmla="*/ 63462 w 286169"/>
                <a:gd name="connsiteY23" fmla="*/ 162238 h 214952"/>
                <a:gd name="connsiteX24" fmla="*/ 60391 w 286169"/>
                <a:gd name="connsiteY24" fmla="*/ 162238 h 214952"/>
                <a:gd name="connsiteX25" fmla="*/ 60391 w 286169"/>
                <a:gd name="connsiteY25" fmla="*/ 142790 h 214952"/>
                <a:gd name="connsiteX26" fmla="*/ 76257 w 286169"/>
                <a:gd name="connsiteY26" fmla="*/ 142790 h 214952"/>
                <a:gd name="connsiteX27" fmla="*/ 280973 w 286169"/>
                <a:gd name="connsiteY27" fmla="*/ 142790 h 214952"/>
                <a:gd name="connsiteX28" fmla="*/ 286091 w 286169"/>
                <a:gd name="connsiteY28" fmla="*/ 137672 h 214952"/>
                <a:gd name="connsiteX29" fmla="*/ 286091 w 286169"/>
                <a:gd name="connsiteY29" fmla="*/ 95193 h 214952"/>
                <a:gd name="connsiteX30" fmla="*/ 281485 w 286169"/>
                <a:gd name="connsiteY30" fmla="*/ 90075 h 214952"/>
                <a:gd name="connsiteX31" fmla="*/ 71651 w 286169"/>
                <a:gd name="connsiteY31" fmla="*/ 132554 h 214952"/>
                <a:gd name="connsiteX32" fmla="*/ 60903 w 286169"/>
                <a:gd name="connsiteY32" fmla="*/ 132554 h 214952"/>
                <a:gd name="connsiteX33" fmla="*/ 60903 w 286169"/>
                <a:gd name="connsiteY33" fmla="*/ 100311 h 214952"/>
                <a:gd name="connsiteX34" fmla="*/ 71651 w 286169"/>
                <a:gd name="connsiteY34" fmla="*/ 100311 h 214952"/>
                <a:gd name="connsiteX35" fmla="*/ 71651 w 286169"/>
                <a:gd name="connsiteY35" fmla="*/ 132554 h 2149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286169" h="214952">
                  <a:moveTo>
                    <a:pt x="281485" y="90075"/>
                  </a:moveTo>
                  <a:lnTo>
                    <a:pt x="76769" y="90075"/>
                  </a:lnTo>
                  <a:lnTo>
                    <a:pt x="60903" y="90075"/>
                  </a:lnTo>
                  <a:lnTo>
                    <a:pt x="60903" y="64997"/>
                  </a:lnTo>
                  <a:cubicBezTo>
                    <a:pt x="60903" y="64997"/>
                    <a:pt x="60903" y="64997"/>
                    <a:pt x="60903" y="64486"/>
                  </a:cubicBezTo>
                  <a:cubicBezTo>
                    <a:pt x="60903" y="63974"/>
                    <a:pt x="60903" y="63462"/>
                    <a:pt x="60391" y="62950"/>
                  </a:cubicBezTo>
                  <a:cubicBezTo>
                    <a:pt x="60391" y="62950"/>
                    <a:pt x="60391" y="62439"/>
                    <a:pt x="60391" y="62439"/>
                  </a:cubicBezTo>
                  <a:cubicBezTo>
                    <a:pt x="60391" y="61927"/>
                    <a:pt x="59879" y="61415"/>
                    <a:pt x="59879" y="61415"/>
                  </a:cubicBezTo>
                  <a:cubicBezTo>
                    <a:pt x="59879" y="61415"/>
                    <a:pt x="59879" y="61415"/>
                    <a:pt x="59368" y="60903"/>
                  </a:cubicBezTo>
                  <a:cubicBezTo>
                    <a:pt x="59368" y="60903"/>
                    <a:pt x="59368" y="60903"/>
                    <a:pt x="59368" y="60903"/>
                  </a:cubicBezTo>
                  <a:cubicBezTo>
                    <a:pt x="38384" y="41455"/>
                    <a:pt x="59879" y="7677"/>
                    <a:pt x="60391" y="7677"/>
                  </a:cubicBezTo>
                  <a:cubicBezTo>
                    <a:pt x="61415" y="6142"/>
                    <a:pt x="61415" y="4094"/>
                    <a:pt x="60391" y="2559"/>
                  </a:cubicBezTo>
                  <a:cubicBezTo>
                    <a:pt x="59368" y="1024"/>
                    <a:pt x="57832" y="0"/>
                    <a:pt x="55785" y="0"/>
                  </a:cubicBezTo>
                  <a:cubicBezTo>
                    <a:pt x="44014" y="0"/>
                    <a:pt x="34290" y="4094"/>
                    <a:pt x="26101" y="11771"/>
                  </a:cubicBezTo>
                  <a:cubicBezTo>
                    <a:pt x="7677" y="30196"/>
                    <a:pt x="8189" y="63462"/>
                    <a:pt x="8189" y="64997"/>
                  </a:cubicBezTo>
                  <a:lnTo>
                    <a:pt x="8189" y="162238"/>
                  </a:lnTo>
                  <a:lnTo>
                    <a:pt x="5118" y="162238"/>
                  </a:lnTo>
                  <a:cubicBezTo>
                    <a:pt x="2047" y="162238"/>
                    <a:pt x="0" y="164285"/>
                    <a:pt x="0" y="167356"/>
                  </a:cubicBezTo>
                  <a:lnTo>
                    <a:pt x="0" y="209834"/>
                  </a:lnTo>
                  <a:cubicBezTo>
                    <a:pt x="0" y="212905"/>
                    <a:pt x="2047" y="214952"/>
                    <a:pt x="5118" y="214952"/>
                  </a:cubicBezTo>
                  <a:lnTo>
                    <a:pt x="63462" y="214952"/>
                  </a:lnTo>
                  <a:cubicBezTo>
                    <a:pt x="66533" y="214952"/>
                    <a:pt x="68580" y="212905"/>
                    <a:pt x="68580" y="209834"/>
                  </a:cubicBezTo>
                  <a:lnTo>
                    <a:pt x="68580" y="167356"/>
                  </a:lnTo>
                  <a:cubicBezTo>
                    <a:pt x="68580" y="164285"/>
                    <a:pt x="66533" y="162238"/>
                    <a:pt x="63462" y="162238"/>
                  </a:cubicBezTo>
                  <a:lnTo>
                    <a:pt x="60391" y="162238"/>
                  </a:lnTo>
                  <a:lnTo>
                    <a:pt x="60391" y="142790"/>
                  </a:lnTo>
                  <a:lnTo>
                    <a:pt x="76257" y="142790"/>
                  </a:lnTo>
                  <a:lnTo>
                    <a:pt x="280973" y="142790"/>
                  </a:lnTo>
                  <a:cubicBezTo>
                    <a:pt x="284044" y="142790"/>
                    <a:pt x="286091" y="140743"/>
                    <a:pt x="286091" y="137672"/>
                  </a:cubicBezTo>
                  <a:lnTo>
                    <a:pt x="286091" y="95193"/>
                  </a:lnTo>
                  <a:cubicBezTo>
                    <a:pt x="286603" y="92634"/>
                    <a:pt x="284556" y="90075"/>
                    <a:pt x="281485" y="90075"/>
                  </a:cubicBezTo>
                  <a:close/>
                  <a:moveTo>
                    <a:pt x="71651" y="132554"/>
                  </a:moveTo>
                  <a:lnTo>
                    <a:pt x="60903" y="132554"/>
                  </a:lnTo>
                  <a:lnTo>
                    <a:pt x="60903" y="100311"/>
                  </a:lnTo>
                  <a:lnTo>
                    <a:pt x="71651" y="100311"/>
                  </a:lnTo>
                  <a:lnTo>
                    <a:pt x="71651" y="132554"/>
                  </a:lnTo>
                  <a:close/>
                </a:path>
              </a:pathLst>
            </a:custGeom>
            <a:grpFill/>
            <a:ln w="511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sp>
        <p:nvSpPr>
          <p:cNvPr id="116" name="TextBox 122">
            <a:extLst>
              <a:ext uri="{FF2B5EF4-FFF2-40B4-BE49-F238E27FC236}">
                <a16:creationId xmlns:a16="http://schemas.microsoft.com/office/drawing/2014/main" id="{342AD558-163A-423A-9EB3-37C11F677D94}"/>
              </a:ext>
            </a:extLst>
          </p:cNvPr>
          <p:cNvSpPr txBox="1"/>
          <p:nvPr/>
        </p:nvSpPr>
        <p:spPr>
          <a:xfrm>
            <a:off x="5609148" y="2742799"/>
            <a:ext cx="968816" cy="46166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F0F0F0"/>
                </a:solidFill>
                <a:effectLst/>
                <a:uLnTx/>
                <a:uFillTx/>
                <a:latin typeface="等线 Light" panose="020F0302020204030204"/>
                <a:ea typeface="+mn-ea"/>
                <a:cs typeface="+mn-cs"/>
              </a:rPr>
              <a:t>60%</a:t>
            </a:r>
          </a:p>
        </p:txBody>
      </p:sp>
      <p:sp>
        <p:nvSpPr>
          <p:cNvPr id="117" name="TextBox 123">
            <a:extLst>
              <a:ext uri="{FF2B5EF4-FFF2-40B4-BE49-F238E27FC236}">
                <a16:creationId xmlns:a16="http://schemas.microsoft.com/office/drawing/2014/main" id="{416118DF-4877-459C-A91D-000DE0F081F6}"/>
              </a:ext>
            </a:extLst>
          </p:cNvPr>
          <p:cNvSpPr txBox="1"/>
          <p:nvPr/>
        </p:nvSpPr>
        <p:spPr>
          <a:xfrm>
            <a:off x="6893272" y="3413381"/>
            <a:ext cx="968816" cy="46166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F0F0F0"/>
                </a:solidFill>
                <a:effectLst/>
                <a:uLnTx/>
                <a:uFillTx/>
                <a:latin typeface="等线 Light" panose="020F0302020204030204"/>
                <a:ea typeface="+mn-ea"/>
                <a:cs typeface="+mn-cs"/>
              </a:rPr>
              <a:t>65%</a:t>
            </a:r>
          </a:p>
        </p:txBody>
      </p:sp>
      <p:sp>
        <p:nvSpPr>
          <p:cNvPr id="118" name="TextBox 126">
            <a:extLst>
              <a:ext uri="{FF2B5EF4-FFF2-40B4-BE49-F238E27FC236}">
                <a16:creationId xmlns:a16="http://schemas.microsoft.com/office/drawing/2014/main" id="{4BB535CB-B472-471E-B67E-C51A8FB3CAFC}"/>
              </a:ext>
            </a:extLst>
          </p:cNvPr>
          <p:cNvSpPr txBox="1"/>
          <p:nvPr/>
        </p:nvSpPr>
        <p:spPr>
          <a:xfrm>
            <a:off x="7070526" y="4883121"/>
            <a:ext cx="968816" cy="46166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F0F0F0"/>
                </a:solidFill>
                <a:effectLst/>
                <a:uLnTx/>
                <a:uFillTx/>
                <a:latin typeface="等线 Light" panose="020F0302020204030204"/>
                <a:ea typeface="+mn-ea"/>
                <a:cs typeface="+mn-cs"/>
              </a:rPr>
              <a:t>55%</a:t>
            </a:r>
          </a:p>
        </p:txBody>
      </p:sp>
      <p:sp>
        <p:nvSpPr>
          <p:cNvPr id="119" name="TextBox 127">
            <a:extLst>
              <a:ext uri="{FF2B5EF4-FFF2-40B4-BE49-F238E27FC236}">
                <a16:creationId xmlns:a16="http://schemas.microsoft.com/office/drawing/2014/main" id="{BB548A51-3462-4FBF-9CDF-61FA1BACCAED}"/>
              </a:ext>
            </a:extLst>
          </p:cNvPr>
          <p:cNvSpPr txBox="1"/>
          <p:nvPr/>
        </p:nvSpPr>
        <p:spPr>
          <a:xfrm>
            <a:off x="4147223" y="4884483"/>
            <a:ext cx="968816" cy="46166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F0F0F0"/>
                </a:solidFill>
                <a:effectLst/>
                <a:uLnTx/>
                <a:uFillTx/>
                <a:latin typeface="等线 Light" panose="020F0302020204030204"/>
                <a:ea typeface="+mn-ea"/>
                <a:cs typeface="+mn-cs"/>
              </a:rPr>
              <a:t>80%</a:t>
            </a:r>
          </a:p>
        </p:txBody>
      </p:sp>
      <p:sp>
        <p:nvSpPr>
          <p:cNvPr id="120" name="TextBox 128">
            <a:extLst>
              <a:ext uri="{FF2B5EF4-FFF2-40B4-BE49-F238E27FC236}">
                <a16:creationId xmlns:a16="http://schemas.microsoft.com/office/drawing/2014/main" id="{5FBDE80D-876C-4053-9D26-A20D6BFA161A}"/>
              </a:ext>
            </a:extLst>
          </p:cNvPr>
          <p:cNvSpPr txBox="1"/>
          <p:nvPr/>
        </p:nvSpPr>
        <p:spPr>
          <a:xfrm>
            <a:off x="4321785" y="3414826"/>
            <a:ext cx="968816" cy="46166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F0F0F0"/>
                </a:solidFill>
                <a:effectLst/>
                <a:uLnTx/>
                <a:uFillTx/>
                <a:latin typeface="等线 Light" panose="020F0302020204030204"/>
                <a:ea typeface="+mn-ea"/>
                <a:cs typeface="+mn-cs"/>
              </a:rPr>
              <a:t>75%</a:t>
            </a:r>
          </a:p>
        </p:txBody>
      </p:sp>
      <p:sp>
        <p:nvSpPr>
          <p:cNvPr id="121" name="TextBox 131">
            <a:extLst>
              <a:ext uri="{FF2B5EF4-FFF2-40B4-BE49-F238E27FC236}">
                <a16:creationId xmlns:a16="http://schemas.microsoft.com/office/drawing/2014/main" id="{A485C85F-1F86-41A1-A020-EC7235BB9429}"/>
              </a:ext>
            </a:extLst>
          </p:cNvPr>
          <p:cNvSpPr txBox="1"/>
          <p:nvPr/>
        </p:nvSpPr>
        <p:spPr>
          <a:xfrm>
            <a:off x="1061655" y="3681294"/>
            <a:ext cx="2251643" cy="340158"/>
          </a:xfrm>
          <a:prstGeom prst="rect">
            <a:avLst/>
          </a:prstGeom>
          <a:noFill/>
        </p:spPr>
        <p:txBody>
          <a:bodyPr wrap="square" rtlCol="0">
            <a:spAutoFit/>
          </a:bodyPr>
          <a:lstStyle/>
          <a:p>
            <a:pPr marL="0" marR="0" lvl="0" indent="0" algn="r" defTabSz="914400" rtl="0" eaLnBrk="1" fontAlgn="auto" latinLnBrk="0" hangingPunct="1">
              <a:lnSpc>
                <a:spcPct val="15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rPr>
              <a:t>A wonderful serenity </a:t>
            </a:r>
            <a:r>
              <a:rPr kumimoji="0" lang="en-US" sz="1200" b="0" i="0" u="none" strike="noStrike" kern="1200" cap="none" spc="0" normalizeH="0" baseline="0" noProof="0">
                <a:ln>
                  <a:noFill/>
                </a:ln>
                <a:solidFill>
                  <a:srgbClr val="000000"/>
                </a:solidFill>
                <a:effectLst/>
                <a:uLnTx/>
                <a:uFillTx/>
                <a:latin typeface="等线" panose="020F0502020204030204"/>
                <a:ea typeface="+mn-ea"/>
                <a:cs typeface="+mn-cs"/>
              </a:rPr>
              <a:t>has taken</a:t>
            </a:r>
            <a:endPar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122" name="TextBox 132">
            <a:extLst>
              <a:ext uri="{FF2B5EF4-FFF2-40B4-BE49-F238E27FC236}">
                <a16:creationId xmlns:a16="http://schemas.microsoft.com/office/drawing/2014/main" id="{C4943AF4-F4C4-4386-A0C2-116EEC9AD6B4}"/>
              </a:ext>
            </a:extLst>
          </p:cNvPr>
          <p:cNvSpPr txBox="1"/>
          <p:nvPr/>
        </p:nvSpPr>
        <p:spPr>
          <a:xfrm>
            <a:off x="1165276" y="3433558"/>
            <a:ext cx="2148023" cy="338554"/>
          </a:xfrm>
          <a:prstGeom prst="rect">
            <a:avLst/>
          </a:prstGeom>
          <a:noFill/>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等线 Light" panose="020F0302020204030204"/>
                <a:ea typeface="+mn-ea"/>
                <a:cs typeface="+mn-cs"/>
              </a:rPr>
              <a:t>Description</a:t>
            </a:r>
          </a:p>
        </p:txBody>
      </p:sp>
      <p:sp>
        <p:nvSpPr>
          <p:cNvPr id="123" name="TextBox 133">
            <a:extLst>
              <a:ext uri="{FF2B5EF4-FFF2-40B4-BE49-F238E27FC236}">
                <a16:creationId xmlns:a16="http://schemas.microsoft.com/office/drawing/2014/main" id="{2CDEA8C2-0BB3-434D-8A62-93977C876626}"/>
              </a:ext>
            </a:extLst>
          </p:cNvPr>
          <p:cNvSpPr txBox="1"/>
          <p:nvPr/>
        </p:nvSpPr>
        <p:spPr>
          <a:xfrm>
            <a:off x="1462776" y="5946883"/>
            <a:ext cx="2251643" cy="340158"/>
          </a:xfrm>
          <a:prstGeom prst="rect">
            <a:avLst/>
          </a:prstGeom>
          <a:noFill/>
        </p:spPr>
        <p:txBody>
          <a:bodyPr wrap="square" rtlCol="0">
            <a:spAutoFit/>
          </a:bodyPr>
          <a:lstStyle/>
          <a:p>
            <a:pPr marL="0" marR="0" lvl="0" indent="0" algn="r" defTabSz="914400" rtl="0" eaLnBrk="1" fontAlgn="auto" latinLnBrk="0" hangingPunct="1">
              <a:lnSpc>
                <a:spcPct val="15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rPr>
              <a:t>A wonderful serenity </a:t>
            </a:r>
            <a:r>
              <a:rPr kumimoji="0" lang="en-US" sz="1200" b="0" i="0" u="none" strike="noStrike" kern="1200" cap="none" spc="0" normalizeH="0" baseline="0" noProof="0">
                <a:ln>
                  <a:noFill/>
                </a:ln>
                <a:solidFill>
                  <a:srgbClr val="000000"/>
                </a:solidFill>
                <a:effectLst/>
                <a:uLnTx/>
                <a:uFillTx/>
                <a:latin typeface="等线" panose="020F0502020204030204"/>
                <a:ea typeface="+mn-ea"/>
                <a:cs typeface="+mn-cs"/>
              </a:rPr>
              <a:t>has taken.</a:t>
            </a:r>
            <a:endPar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124" name="TextBox 134">
            <a:extLst>
              <a:ext uri="{FF2B5EF4-FFF2-40B4-BE49-F238E27FC236}">
                <a16:creationId xmlns:a16="http://schemas.microsoft.com/office/drawing/2014/main" id="{E2730506-2354-4930-B65D-F7D9A8595685}"/>
              </a:ext>
            </a:extLst>
          </p:cNvPr>
          <p:cNvSpPr txBox="1"/>
          <p:nvPr/>
        </p:nvSpPr>
        <p:spPr>
          <a:xfrm>
            <a:off x="1566397" y="5699147"/>
            <a:ext cx="2148023" cy="338554"/>
          </a:xfrm>
          <a:prstGeom prst="rect">
            <a:avLst/>
          </a:prstGeom>
          <a:noFill/>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等线 Light" panose="020F0302020204030204"/>
                <a:ea typeface="+mn-ea"/>
                <a:cs typeface="+mn-cs"/>
              </a:rPr>
              <a:t>Description</a:t>
            </a:r>
          </a:p>
        </p:txBody>
      </p:sp>
      <p:sp>
        <p:nvSpPr>
          <p:cNvPr id="125" name="TextBox 135">
            <a:extLst>
              <a:ext uri="{FF2B5EF4-FFF2-40B4-BE49-F238E27FC236}">
                <a16:creationId xmlns:a16="http://schemas.microsoft.com/office/drawing/2014/main" id="{F50D131C-6FC3-4295-8A52-EAD63554DB86}"/>
              </a:ext>
            </a:extLst>
          </p:cNvPr>
          <p:cNvSpPr txBox="1"/>
          <p:nvPr/>
        </p:nvSpPr>
        <p:spPr>
          <a:xfrm>
            <a:off x="7290045" y="1735058"/>
            <a:ext cx="2251643" cy="340158"/>
          </a:xfrm>
          <a:prstGeom prst="rect">
            <a:avLst/>
          </a:prstGeom>
          <a:noFill/>
        </p:spPr>
        <p:txBody>
          <a:bodyPr wrap="square" rtlCol="0">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rPr>
              <a:t>A wonderful serenity </a:t>
            </a:r>
            <a:r>
              <a:rPr kumimoji="0" lang="en-US" sz="1200" b="0" i="0" u="none" strike="noStrike" kern="1200" cap="none" spc="0" normalizeH="0" baseline="0" noProof="0">
                <a:ln>
                  <a:noFill/>
                </a:ln>
                <a:solidFill>
                  <a:srgbClr val="000000"/>
                </a:solidFill>
                <a:effectLst/>
                <a:uLnTx/>
                <a:uFillTx/>
                <a:latin typeface="等线" panose="020F0502020204030204"/>
                <a:ea typeface="+mn-ea"/>
                <a:cs typeface="+mn-cs"/>
              </a:rPr>
              <a:t>has taken.</a:t>
            </a:r>
            <a:endPar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126" name="TextBox 136">
            <a:extLst>
              <a:ext uri="{FF2B5EF4-FFF2-40B4-BE49-F238E27FC236}">
                <a16:creationId xmlns:a16="http://schemas.microsoft.com/office/drawing/2014/main" id="{91387D86-E6AC-4BBD-961B-6B85089827A7}"/>
              </a:ext>
            </a:extLst>
          </p:cNvPr>
          <p:cNvSpPr txBox="1"/>
          <p:nvPr/>
        </p:nvSpPr>
        <p:spPr>
          <a:xfrm>
            <a:off x="7290045" y="1494942"/>
            <a:ext cx="2148023" cy="33855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等线 Light" panose="020F0302020204030204"/>
                <a:ea typeface="+mn-ea"/>
                <a:cs typeface="+mn-cs"/>
              </a:rPr>
              <a:t>Description</a:t>
            </a:r>
          </a:p>
        </p:txBody>
      </p:sp>
      <p:sp>
        <p:nvSpPr>
          <p:cNvPr id="127" name="TextBox 124">
            <a:extLst>
              <a:ext uri="{FF2B5EF4-FFF2-40B4-BE49-F238E27FC236}">
                <a16:creationId xmlns:a16="http://schemas.microsoft.com/office/drawing/2014/main" id="{888852C8-D992-488C-96BB-9FC50B6986E6}"/>
              </a:ext>
            </a:extLst>
          </p:cNvPr>
          <p:cNvSpPr txBox="1"/>
          <p:nvPr/>
        </p:nvSpPr>
        <p:spPr>
          <a:xfrm>
            <a:off x="929376" y="4709247"/>
            <a:ext cx="2251643" cy="340158"/>
          </a:xfrm>
          <a:prstGeom prst="rect">
            <a:avLst/>
          </a:prstGeom>
          <a:noFill/>
        </p:spPr>
        <p:txBody>
          <a:bodyPr wrap="square" rtlCol="0">
            <a:spAutoFit/>
          </a:bodyPr>
          <a:lstStyle/>
          <a:p>
            <a:pPr marL="0" marR="0" lvl="0" indent="0" algn="r" defTabSz="914400" rtl="0" eaLnBrk="1" fontAlgn="auto" latinLnBrk="0" hangingPunct="1">
              <a:lnSpc>
                <a:spcPct val="15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等线" panose="020F0502020204030204"/>
                <a:ea typeface="+mn-ea"/>
                <a:cs typeface="+mn-cs"/>
              </a:rPr>
              <a:t>A wonderful serenity has taken.</a:t>
            </a:r>
            <a:endPar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128" name="TextBox 125">
            <a:extLst>
              <a:ext uri="{FF2B5EF4-FFF2-40B4-BE49-F238E27FC236}">
                <a16:creationId xmlns:a16="http://schemas.microsoft.com/office/drawing/2014/main" id="{42CDF1C0-00DD-4154-B2F8-B70879C07A81}"/>
              </a:ext>
            </a:extLst>
          </p:cNvPr>
          <p:cNvSpPr txBox="1"/>
          <p:nvPr/>
        </p:nvSpPr>
        <p:spPr>
          <a:xfrm>
            <a:off x="1032997" y="4441847"/>
            <a:ext cx="2148023" cy="338554"/>
          </a:xfrm>
          <a:prstGeom prst="rect">
            <a:avLst/>
          </a:prstGeom>
          <a:noFill/>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等线 Light" panose="020F0302020204030204"/>
                <a:ea typeface="+mn-ea"/>
                <a:cs typeface="+mn-cs"/>
              </a:rPr>
              <a:t>Description</a:t>
            </a:r>
          </a:p>
        </p:txBody>
      </p:sp>
      <p:sp>
        <p:nvSpPr>
          <p:cNvPr id="129" name="TextBox 139">
            <a:extLst>
              <a:ext uri="{FF2B5EF4-FFF2-40B4-BE49-F238E27FC236}">
                <a16:creationId xmlns:a16="http://schemas.microsoft.com/office/drawing/2014/main" id="{CEB218B4-0D09-4FA8-BD45-E795452D626F}"/>
              </a:ext>
            </a:extLst>
          </p:cNvPr>
          <p:cNvSpPr txBox="1"/>
          <p:nvPr/>
        </p:nvSpPr>
        <p:spPr>
          <a:xfrm>
            <a:off x="2723079" y="1743654"/>
            <a:ext cx="2251643" cy="340158"/>
          </a:xfrm>
          <a:prstGeom prst="rect">
            <a:avLst/>
          </a:prstGeom>
          <a:noFill/>
        </p:spPr>
        <p:txBody>
          <a:bodyPr wrap="square" rtlCol="0">
            <a:spAutoFit/>
          </a:bodyPr>
          <a:lstStyle/>
          <a:p>
            <a:pPr marL="0" marR="0" lvl="0" indent="0" algn="r" defTabSz="914400" rtl="0" eaLnBrk="1" fontAlgn="auto" latinLnBrk="0" hangingPunct="1">
              <a:lnSpc>
                <a:spcPct val="15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等线" panose="020F0502020204030204"/>
                <a:ea typeface="+mn-ea"/>
                <a:cs typeface="+mn-cs"/>
              </a:rPr>
              <a:t>A wonderful serenity has taken.</a:t>
            </a:r>
            <a:endPar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130" name="TextBox 140">
            <a:extLst>
              <a:ext uri="{FF2B5EF4-FFF2-40B4-BE49-F238E27FC236}">
                <a16:creationId xmlns:a16="http://schemas.microsoft.com/office/drawing/2014/main" id="{DFEA7138-2EDD-4513-9ABE-9026EBFBB31F}"/>
              </a:ext>
            </a:extLst>
          </p:cNvPr>
          <p:cNvSpPr txBox="1"/>
          <p:nvPr/>
        </p:nvSpPr>
        <p:spPr>
          <a:xfrm>
            <a:off x="2826700" y="1503538"/>
            <a:ext cx="2148023" cy="338554"/>
          </a:xfrm>
          <a:prstGeom prst="rect">
            <a:avLst/>
          </a:prstGeom>
          <a:noFill/>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等线 Light" panose="020F0302020204030204"/>
                <a:ea typeface="+mn-ea"/>
                <a:cs typeface="+mn-cs"/>
              </a:rPr>
              <a:t>Description</a:t>
            </a:r>
          </a:p>
        </p:txBody>
      </p:sp>
      <p:sp>
        <p:nvSpPr>
          <p:cNvPr id="131" name="TextBox 129">
            <a:extLst>
              <a:ext uri="{FF2B5EF4-FFF2-40B4-BE49-F238E27FC236}">
                <a16:creationId xmlns:a16="http://schemas.microsoft.com/office/drawing/2014/main" id="{819BD3CD-28CF-4403-B30C-FCC8C6D6548C}"/>
              </a:ext>
            </a:extLst>
          </p:cNvPr>
          <p:cNvSpPr txBox="1"/>
          <p:nvPr/>
        </p:nvSpPr>
        <p:spPr>
          <a:xfrm>
            <a:off x="8496204" y="5946883"/>
            <a:ext cx="2251643" cy="340158"/>
          </a:xfrm>
          <a:prstGeom prst="rect">
            <a:avLst/>
          </a:prstGeom>
          <a:noFill/>
        </p:spPr>
        <p:txBody>
          <a:bodyPr wrap="square" rtlCol="0">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rPr>
              <a:t>A wonderful serenity </a:t>
            </a:r>
            <a:r>
              <a:rPr kumimoji="0" lang="en-US" sz="1200" b="0" i="0" u="none" strike="noStrike" kern="1200" cap="none" spc="0" normalizeH="0" baseline="0" noProof="0">
                <a:ln>
                  <a:noFill/>
                </a:ln>
                <a:solidFill>
                  <a:srgbClr val="000000"/>
                </a:solidFill>
                <a:effectLst/>
                <a:uLnTx/>
                <a:uFillTx/>
                <a:latin typeface="等线" panose="020F0502020204030204"/>
                <a:ea typeface="+mn-ea"/>
                <a:cs typeface="+mn-cs"/>
              </a:rPr>
              <a:t>has taken.</a:t>
            </a:r>
            <a:endPar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132" name="TextBox 130">
            <a:extLst>
              <a:ext uri="{FF2B5EF4-FFF2-40B4-BE49-F238E27FC236}">
                <a16:creationId xmlns:a16="http://schemas.microsoft.com/office/drawing/2014/main" id="{00F3C433-6C2A-4F63-9958-14A09A3D144E}"/>
              </a:ext>
            </a:extLst>
          </p:cNvPr>
          <p:cNvSpPr txBox="1"/>
          <p:nvPr/>
        </p:nvSpPr>
        <p:spPr>
          <a:xfrm>
            <a:off x="8496204" y="5699147"/>
            <a:ext cx="2148023" cy="33855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等线 Light" panose="020F0302020204030204"/>
                <a:ea typeface="+mn-ea"/>
                <a:cs typeface="+mn-cs"/>
              </a:rPr>
              <a:t>Description</a:t>
            </a:r>
          </a:p>
        </p:txBody>
      </p:sp>
      <p:sp>
        <p:nvSpPr>
          <p:cNvPr id="133" name="TextBox 141">
            <a:extLst>
              <a:ext uri="{FF2B5EF4-FFF2-40B4-BE49-F238E27FC236}">
                <a16:creationId xmlns:a16="http://schemas.microsoft.com/office/drawing/2014/main" id="{E59CE928-0793-4903-96F0-EDD382C3A800}"/>
              </a:ext>
            </a:extLst>
          </p:cNvPr>
          <p:cNvSpPr txBox="1"/>
          <p:nvPr/>
        </p:nvSpPr>
        <p:spPr>
          <a:xfrm>
            <a:off x="9009684" y="4689583"/>
            <a:ext cx="2251643" cy="340158"/>
          </a:xfrm>
          <a:prstGeom prst="rect">
            <a:avLst/>
          </a:prstGeom>
          <a:noFill/>
        </p:spPr>
        <p:txBody>
          <a:bodyPr wrap="square" rtlCol="0">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等线" panose="020F0502020204030204"/>
                <a:ea typeface="+mn-ea"/>
                <a:cs typeface="+mn-cs"/>
              </a:rPr>
              <a:t>A wonderful serenity has taken.</a:t>
            </a:r>
            <a:endPar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134" name="TextBox 142">
            <a:extLst>
              <a:ext uri="{FF2B5EF4-FFF2-40B4-BE49-F238E27FC236}">
                <a16:creationId xmlns:a16="http://schemas.microsoft.com/office/drawing/2014/main" id="{69AB660F-3B41-42F3-8D25-855CA3430073}"/>
              </a:ext>
            </a:extLst>
          </p:cNvPr>
          <p:cNvSpPr txBox="1"/>
          <p:nvPr/>
        </p:nvSpPr>
        <p:spPr>
          <a:xfrm>
            <a:off x="9009684" y="4441847"/>
            <a:ext cx="2148023" cy="33855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等线 Light" panose="020F0302020204030204"/>
                <a:ea typeface="+mn-ea"/>
                <a:cs typeface="+mn-cs"/>
              </a:rPr>
              <a:t>Description</a:t>
            </a:r>
          </a:p>
        </p:txBody>
      </p:sp>
      <p:sp>
        <p:nvSpPr>
          <p:cNvPr id="135" name="TextBox 143">
            <a:extLst>
              <a:ext uri="{FF2B5EF4-FFF2-40B4-BE49-F238E27FC236}">
                <a16:creationId xmlns:a16="http://schemas.microsoft.com/office/drawing/2014/main" id="{CB8A75F3-AD22-4802-88C5-8B7FF6594CE0}"/>
              </a:ext>
            </a:extLst>
          </p:cNvPr>
          <p:cNvSpPr txBox="1"/>
          <p:nvPr/>
        </p:nvSpPr>
        <p:spPr>
          <a:xfrm>
            <a:off x="1785696" y="2582004"/>
            <a:ext cx="2251643" cy="340158"/>
          </a:xfrm>
          <a:prstGeom prst="rect">
            <a:avLst/>
          </a:prstGeom>
          <a:noFill/>
        </p:spPr>
        <p:txBody>
          <a:bodyPr wrap="square" rtlCol="0">
            <a:spAutoFit/>
          </a:bodyPr>
          <a:lstStyle/>
          <a:p>
            <a:pPr marL="0" marR="0" lvl="0" indent="0" algn="r" defTabSz="914400" rtl="0" eaLnBrk="1" fontAlgn="auto" latinLnBrk="0" hangingPunct="1">
              <a:lnSpc>
                <a:spcPct val="15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rPr>
              <a:t>A wonderful serenity </a:t>
            </a:r>
            <a:r>
              <a:rPr kumimoji="0" lang="en-US" sz="1200" b="0" i="0" u="none" strike="noStrike" kern="1200" cap="none" spc="0" normalizeH="0" baseline="0" noProof="0">
                <a:ln>
                  <a:noFill/>
                </a:ln>
                <a:solidFill>
                  <a:srgbClr val="000000"/>
                </a:solidFill>
                <a:effectLst/>
                <a:uLnTx/>
                <a:uFillTx/>
                <a:latin typeface="等线" panose="020F0502020204030204"/>
                <a:ea typeface="+mn-ea"/>
                <a:cs typeface="+mn-cs"/>
              </a:rPr>
              <a:t>has taken</a:t>
            </a:r>
            <a:endPar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136" name="TextBox 144">
            <a:extLst>
              <a:ext uri="{FF2B5EF4-FFF2-40B4-BE49-F238E27FC236}">
                <a16:creationId xmlns:a16="http://schemas.microsoft.com/office/drawing/2014/main" id="{5D3F0FEE-E2CC-4FDD-842E-1317A9F98CF3}"/>
              </a:ext>
            </a:extLst>
          </p:cNvPr>
          <p:cNvSpPr txBox="1"/>
          <p:nvPr/>
        </p:nvSpPr>
        <p:spPr>
          <a:xfrm>
            <a:off x="1889317" y="2341888"/>
            <a:ext cx="2148023" cy="338554"/>
          </a:xfrm>
          <a:prstGeom prst="rect">
            <a:avLst/>
          </a:prstGeom>
          <a:noFill/>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等线 Light" panose="020F0302020204030204"/>
                <a:ea typeface="+mn-ea"/>
                <a:cs typeface="+mn-cs"/>
              </a:rPr>
              <a:t>Description</a:t>
            </a:r>
          </a:p>
        </p:txBody>
      </p:sp>
      <p:sp>
        <p:nvSpPr>
          <p:cNvPr id="137" name="TextBox 147">
            <a:extLst>
              <a:ext uri="{FF2B5EF4-FFF2-40B4-BE49-F238E27FC236}">
                <a16:creationId xmlns:a16="http://schemas.microsoft.com/office/drawing/2014/main" id="{9CABEE11-BF5C-4ACA-BAEB-0DB0311C473F}"/>
              </a:ext>
            </a:extLst>
          </p:cNvPr>
          <p:cNvSpPr txBox="1"/>
          <p:nvPr/>
        </p:nvSpPr>
        <p:spPr>
          <a:xfrm>
            <a:off x="8918773" y="3681294"/>
            <a:ext cx="2251643" cy="340158"/>
          </a:xfrm>
          <a:prstGeom prst="rect">
            <a:avLst/>
          </a:prstGeom>
          <a:noFill/>
        </p:spPr>
        <p:txBody>
          <a:bodyPr wrap="square" rtlCol="0">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rPr>
              <a:t>A wonderful serenity </a:t>
            </a:r>
            <a:r>
              <a:rPr kumimoji="0" lang="en-US" sz="1200" b="0" i="0" u="none" strike="noStrike" kern="1200" cap="none" spc="0" normalizeH="0" baseline="0" noProof="0">
                <a:ln>
                  <a:noFill/>
                </a:ln>
                <a:solidFill>
                  <a:srgbClr val="000000"/>
                </a:solidFill>
                <a:effectLst/>
                <a:uLnTx/>
                <a:uFillTx/>
                <a:latin typeface="等线" panose="020F0502020204030204"/>
                <a:ea typeface="+mn-ea"/>
                <a:cs typeface="+mn-cs"/>
              </a:rPr>
              <a:t>has taken</a:t>
            </a:r>
            <a:endPar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138" name="TextBox 148">
            <a:extLst>
              <a:ext uri="{FF2B5EF4-FFF2-40B4-BE49-F238E27FC236}">
                <a16:creationId xmlns:a16="http://schemas.microsoft.com/office/drawing/2014/main" id="{80B12006-C05B-4902-B568-83A2B5E80470}"/>
              </a:ext>
            </a:extLst>
          </p:cNvPr>
          <p:cNvSpPr txBox="1"/>
          <p:nvPr/>
        </p:nvSpPr>
        <p:spPr>
          <a:xfrm>
            <a:off x="8918773" y="3433558"/>
            <a:ext cx="2148023" cy="33855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等线 Light" panose="020F0302020204030204"/>
                <a:ea typeface="+mn-ea"/>
                <a:cs typeface="+mn-cs"/>
              </a:rPr>
              <a:t>Description</a:t>
            </a:r>
          </a:p>
        </p:txBody>
      </p:sp>
      <p:sp>
        <p:nvSpPr>
          <p:cNvPr id="139" name="TextBox 149">
            <a:extLst>
              <a:ext uri="{FF2B5EF4-FFF2-40B4-BE49-F238E27FC236}">
                <a16:creationId xmlns:a16="http://schemas.microsoft.com/office/drawing/2014/main" id="{07D8646A-E295-496D-AEB9-B40CD3A01CED}"/>
              </a:ext>
            </a:extLst>
          </p:cNvPr>
          <p:cNvSpPr txBox="1"/>
          <p:nvPr/>
        </p:nvSpPr>
        <p:spPr>
          <a:xfrm>
            <a:off x="8154661" y="2582004"/>
            <a:ext cx="2251643" cy="340158"/>
          </a:xfrm>
          <a:prstGeom prst="rect">
            <a:avLst/>
          </a:prstGeom>
          <a:noFill/>
        </p:spPr>
        <p:txBody>
          <a:bodyPr wrap="square" rtlCol="0">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rPr>
              <a:t>A wonderful serenity </a:t>
            </a:r>
            <a:r>
              <a:rPr kumimoji="0" lang="en-US" sz="1200" b="0" i="0" u="none" strike="noStrike" kern="1200" cap="none" spc="0" normalizeH="0" baseline="0" noProof="0">
                <a:ln>
                  <a:noFill/>
                </a:ln>
                <a:solidFill>
                  <a:srgbClr val="000000"/>
                </a:solidFill>
                <a:effectLst/>
                <a:uLnTx/>
                <a:uFillTx/>
                <a:latin typeface="等线" panose="020F0502020204030204"/>
                <a:ea typeface="+mn-ea"/>
                <a:cs typeface="+mn-cs"/>
              </a:rPr>
              <a:t>has taken</a:t>
            </a:r>
            <a:endPar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140" name="TextBox 150">
            <a:extLst>
              <a:ext uri="{FF2B5EF4-FFF2-40B4-BE49-F238E27FC236}">
                <a16:creationId xmlns:a16="http://schemas.microsoft.com/office/drawing/2014/main" id="{D8E5AD44-D0B6-4723-B56C-E08BF27F6EDF}"/>
              </a:ext>
            </a:extLst>
          </p:cNvPr>
          <p:cNvSpPr txBox="1"/>
          <p:nvPr/>
        </p:nvSpPr>
        <p:spPr>
          <a:xfrm>
            <a:off x="8154661" y="2341888"/>
            <a:ext cx="2148023" cy="33855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等线 Light" panose="020F0302020204030204"/>
                <a:ea typeface="+mn-ea"/>
                <a:cs typeface="+mn-cs"/>
              </a:rPr>
              <a:t>Description</a:t>
            </a:r>
          </a:p>
        </p:txBody>
      </p:sp>
    </p:spTree>
    <p:extLst>
      <p:ext uri="{BB962C8B-B14F-4D97-AF65-F5344CB8AC3E}">
        <p14:creationId xmlns:p14="http://schemas.microsoft.com/office/powerpoint/2010/main" val="1923612299"/>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par>
                          <p:cTn id="8" fill="hold">
                            <p:stCondLst>
                              <p:cond delay="500"/>
                            </p:stCondLst>
                            <p:childTnLst>
                              <p:par>
                                <p:cTn id="9" presetID="22" presetClass="entr" presetSubtype="4" fill="hold" grpId="0" nodeType="after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wipe(down)">
                                      <p:cBhvr>
                                        <p:cTn id="11" dur="500"/>
                                        <p:tgtEl>
                                          <p:spTgt spid="7"/>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fade">
                                      <p:cBhvr>
                                        <p:cTn id="15" dur="500"/>
                                        <p:tgtEl>
                                          <p:spTgt spid="8"/>
                                        </p:tgtEl>
                                      </p:cBhvr>
                                    </p:animEffect>
                                  </p:childTnLst>
                                </p:cTn>
                              </p:par>
                            </p:childTnLst>
                          </p:cTn>
                        </p:par>
                        <p:par>
                          <p:cTn id="16" fill="hold">
                            <p:stCondLst>
                              <p:cond delay="1500"/>
                            </p:stCondLst>
                            <p:childTnLst>
                              <p:par>
                                <p:cTn id="17" presetID="22" presetClass="entr" presetSubtype="2" fill="hold" grpId="0" nodeType="afterEffect">
                                  <p:stCondLst>
                                    <p:cond delay="0"/>
                                  </p:stCondLst>
                                  <p:childTnLst>
                                    <p:set>
                                      <p:cBhvr>
                                        <p:cTn id="18" dur="1" fill="hold">
                                          <p:stCondLst>
                                            <p:cond delay="0"/>
                                          </p:stCondLst>
                                        </p:cTn>
                                        <p:tgtEl>
                                          <p:spTgt spid="55"/>
                                        </p:tgtEl>
                                        <p:attrNameLst>
                                          <p:attrName>style.visibility</p:attrName>
                                        </p:attrNameLst>
                                      </p:cBhvr>
                                      <p:to>
                                        <p:strVal val="visible"/>
                                      </p:to>
                                    </p:set>
                                    <p:animEffect transition="in" filter="wipe(right)">
                                      <p:cBhvr>
                                        <p:cTn id="19" dur="500"/>
                                        <p:tgtEl>
                                          <p:spTgt spid="55"/>
                                        </p:tgtEl>
                                      </p:cBhvr>
                                    </p:animEffect>
                                  </p:childTnLst>
                                </p:cTn>
                              </p:par>
                              <p:par>
                                <p:cTn id="20" presetID="22" presetClass="entr" presetSubtype="2" fill="hold" grpId="0" nodeType="withEffect">
                                  <p:stCondLst>
                                    <p:cond delay="0"/>
                                  </p:stCondLst>
                                  <p:childTnLst>
                                    <p:set>
                                      <p:cBhvr>
                                        <p:cTn id="21" dur="1" fill="hold">
                                          <p:stCondLst>
                                            <p:cond delay="0"/>
                                          </p:stCondLst>
                                        </p:cTn>
                                        <p:tgtEl>
                                          <p:spTgt spid="33"/>
                                        </p:tgtEl>
                                        <p:attrNameLst>
                                          <p:attrName>style.visibility</p:attrName>
                                        </p:attrNameLst>
                                      </p:cBhvr>
                                      <p:to>
                                        <p:strVal val="visible"/>
                                      </p:to>
                                    </p:set>
                                    <p:animEffect transition="in" filter="wipe(right)">
                                      <p:cBhvr>
                                        <p:cTn id="22" dur="500"/>
                                        <p:tgtEl>
                                          <p:spTgt spid="33"/>
                                        </p:tgtEl>
                                      </p:cBhvr>
                                    </p:animEffect>
                                  </p:childTnLst>
                                </p:cTn>
                              </p:par>
                              <p:par>
                                <p:cTn id="23" presetID="22" presetClass="entr" presetSubtype="4" fill="hold" grpId="0" nodeType="withEffect">
                                  <p:stCondLst>
                                    <p:cond delay="0"/>
                                  </p:stCondLst>
                                  <p:childTnLst>
                                    <p:set>
                                      <p:cBhvr>
                                        <p:cTn id="24" dur="1" fill="hold">
                                          <p:stCondLst>
                                            <p:cond delay="0"/>
                                          </p:stCondLst>
                                        </p:cTn>
                                        <p:tgtEl>
                                          <p:spTgt spid="11"/>
                                        </p:tgtEl>
                                        <p:attrNameLst>
                                          <p:attrName>style.visibility</p:attrName>
                                        </p:attrNameLst>
                                      </p:cBhvr>
                                      <p:to>
                                        <p:strVal val="visible"/>
                                      </p:to>
                                    </p:set>
                                    <p:animEffect transition="in" filter="wipe(down)">
                                      <p:cBhvr>
                                        <p:cTn id="25" dur="500"/>
                                        <p:tgtEl>
                                          <p:spTgt spid="11"/>
                                        </p:tgtEl>
                                      </p:cBhvr>
                                    </p:animEffect>
                                  </p:childTnLst>
                                </p:cTn>
                              </p:par>
                              <p:par>
                                <p:cTn id="26" presetID="22" presetClass="entr" presetSubtype="8" fill="hold" grpId="0" nodeType="withEffect">
                                  <p:stCondLst>
                                    <p:cond delay="0"/>
                                  </p:stCondLst>
                                  <p:childTnLst>
                                    <p:set>
                                      <p:cBhvr>
                                        <p:cTn id="27" dur="1" fill="hold">
                                          <p:stCondLst>
                                            <p:cond delay="0"/>
                                          </p:stCondLst>
                                        </p:cTn>
                                        <p:tgtEl>
                                          <p:spTgt spid="22"/>
                                        </p:tgtEl>
                                        <p:attrNameLst>
                                          <p:attrName>style.visibility</p:attrName>
                                        </p:attrNameLst>
                                      </p:cBhvr>
                                      <p:to>
                                        <p:strVal val="visible"/>
                                      </p:to>
                                    </p:set>
                                    <p:animEffect transition="in" filter="wipe(left)">
                                      <p:cBhvr>
                                        <p:cTn id="28" dur="500"/>
                                        <p:tgtEl>
                                          <p:spTgt spid="22"/>
                                        </p:tgtEl>
                                      </p:cBhvr>
                                    </p:animEffect>
                                  </p:childTnLst>
                                </p:cTn>
                              </p:par>
                              <p:par>
                                <p:cTn id="29" presetID="22" presetClass="entr" presetSubtype="8" fill="hold" grpId="0" nodeType="withEffect">
                                  <p:stCondLst>
                                    <p:cond delay="0"/>
                                  </p:stCondLst>
                                  <p:childTnLst>
                                    <p:set>
                                      <p:cBhvr>
                                        <p:cTn id="30" dur="1" fill="hold">
                                          <p:stCondLst>
                                            <p:cond delay="0"/>
                                          </p:stCondLst>
                                        </p:cTn>
                                        <p:tgtEl>
                                          <p:spTgt spid="44"/>
                                        </p:tgtEl>
                                        <p:attrNameLst>
                                          <p:attrName>style.visibility</p:attrName>
                                        </p:attrNameLst>
                                      </p:cBhvr>
                                      <p:to>
                                        <p:strVal val="visible"/>
                                      </p:to>
                                    </p:set>
                                    <p:animEffect transition="in" filter="wipe(left)">
                                      <p:cBhvr>
                                        <p:cTn id="31" dur="500"/>
                                        <p:tgtEl>
                                          <p:spTgt spid="44"/>
                                        </p:tgtEl>
                                      </p:cBhvr>
                                    </p:animEffect>
                                  </p:childTnLst>
                                </p:cTn>
                              </p:par>
                            </p:childTnLst>
                          </p:cTn>
                        </p:par>
                        <p:par>
                          <p:cTn id="32" fill="hold">
                            <p:stCondLst>
                              <p:cond delay="2000"/>
                            </p:stCondLst>
                            <p:childTnLst>
                              <p:par>
                                <p:cTn id="33" presetID="10" presetClass="entr" presetSubtype="0" fill="hold" grpId="0" nodeType="afterEffect">
                                  <p:stCondLst>
                                    <p:cond delay="0"/>
                                  </p:stCondLst>
                                  <p:childTnLst>
                                    <p:set>
                                      <p:cBhvr>
                                        <p:cTn id="34" dur="1" fill="hold">
                                          <p:stCondLst>
                                            <p:cond delay="0"/>
                                          </p:stCondLst>
                                        </p:cTn>
                                        <p:tgtEl>
                                          <p:spTgt spid="56"/>
                                        </p:tgtEl>
                                        <p:attrNameLst>
                                          <p:attrName>style.visibility</p:attrName>
                                        </p:attrNameLst>
                                      </p:cBhvr>
                                      <p:to>
                                        <p:strVal val="visible"/>
                                      </p:to>
                                    </p:set>
                                    <p:animEffect transition="in" filter="fade">
                                      <p:cBhvr>
                                        <p:cTn id="35" dur="500"/>
                                        <p:tgtEl>
                                          <p:spTgt spid="56"/>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34"/>
                                        </p:tgtEl>
                                        <p:attrNameLst>
                                          <p:attrName>style.visibility</p:attrName>
                                        </p:attrNameLst>
                                      </p:cBhvr>
                                      <p:to>
                                        <p:strVal val="visible"/>
                                      </p:to>
                                    </p:set>
                                    <p:animEffect transition="in" filter="fade">
                                      <p:cBhvr>
                                        <p:cTn id="38" dur="500"/>
                                        <p:tgtEl>
                                          <p:spTgt spid="34"/>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12"/>
                                        </p:tgtEl>
                                        <p:attrNameLst>
                                          <p:attrName>style.visibility</p:attrName>
                                        </p:attrNameLst>
                                      </p:cBhvr>
                                      <p:to>
                                        <p:strVal val="visible"/>
                                      </p:to>
                                    </p:set>
                                    <p:animEffect transition="in" filter="fade">
                                      <p:cBhvr>
                                        <p:cTn id="41" dur="500"/>
                                        <p:tgtEl>
                                          <p:spTgt spid="12"/>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23"/>
                                        </p:tgtEl>
                                        <p:attrNameLst>
                                          <p:attrName>style.visibility</p:attrName>
                                        </p:attrNameLst>
                                      </p:cBhvr>
                                      <p:to>
                                        <p:strVal val="visible"/>
                                      </p:to>
                                    </p:set>
                                    <p:animEffect transition="in" filter="fade">
                                      <p:cBhvr>
                                        <p:cTn id="44" dur="500"/>
                                        <p:tgtEl>
                                          <p:spTgt spid="23"/>
                                        </p:tgtEl>
                                      </p:cBhvr>
                                    </p:animEffect>
                                  </p:childTnLst>
                                </p:cTn>
                              </p:par>
                              <p:par>
                                <p:cTn id="45" presetID="10" presetClass="entr" presetSubtype="0" fill="hold" grpId="0" nodeType="withEffect">
                                  <p:stCondLst>
                                    <p:cond delay="0"/>
                                  </p:stCondLst>
                                  <p:childTnLst>
                                    <p:set>
                                      <p:cBhvr>
                                        <p:cTn id="46" dur="1" fill="hold">
                                          <p:stCondLst>
                                            <p:cond delay="0"/>
                                          </p:stCondLst>
                                        </p:cTn>
                                        <p:tgtEl>
                                          <p:spTgt spid="45"/>
                                        </p:tgtEl>
                                        <p:attrNameLst>
                                          <p:attrName>style.visibility</p:attrName>
                                        </p:attrNameLst>
                                      </p:cBhvr>
                                      <p:to>
                                        <p:strVal val="visible"/>
                                      </p:to>
                                    </p:set>
                                    <p:animEffect transition="in" filter="fade">
                                      <p:cBhvr>
                                        <p:cTn id="47" dur="500"/>
                                        <p:tgtEl>
                                          <p:spTgt spid="45"/>
                                        </p:tgtEl>
                                      </p:cBhvr>
                                    </p:animEffect>
                                  </p:childTnLst>
                                </p:cTn>
                              </p:par>
                            </p:childTnLst>
                          </p:cTn>
                        </p:par>
                        <p:par>
                          <p:cTn id="48" fill="hold">
                            <p:stCondLst>
                              <p:cond delay="2500"/>
                            </p:stCondLst>
                            <p:childTnLst>
                              <p:par>
                                <p:cTn id="49" presetID="10" presetClass="entr" presetSubtype="0" fill="hold" grpId="0" nodeType="afterEffect">
                                  <p:stCondLst>
                                    <p:cond delay="0"/>
                                  </p:stCondLst>
                                  <p:childTnLst>
                                    <p:set>
                                      <p:cBhvr>
                                        <p:cTn id="50" dur="1" fill="hold">
                                          <p:stCondLst>
                                            <p:cond delay="0"/>
                                          </p:stCondLst>
                                        </p:cTn>
                                        <p:tgtEl>
                                          <p:spTgt spid="57"/>
                                        </p:tgtEl>
                                        <p:attrNameLst>
                                          <p:attrName>style.visibility</p:attrName>
                                        </p:attrNameLst>
                                      </p:cBhvr>
                                      <p:to>
                                        <p:strVal val="visible"/>
                                      </p:to>
                                    </p:set>
                                    <p:animEffect transition="in" filter="fade">
                                      <p:cBhvr>
                                        <p:cTn id="51" dur="500"/>
                                        <p:tgtEl>
                                          <p:spTgt spid="57"/>
                                        </p:tgtEl>
                                      </p:cBhvr>
                                    </p:animEffect>
                                  </p:childTnLst>
                                </p:cTn>
                              </p:par>
                              <p:par>
                                <p:cTn id="52" presetID="10" presetClass="entr" presetSubtype="0" fill="hold" grpId="0" nodeType="withEffect">
                                  <p:stCondLst>
                                    <p:cond delay="0"/>
                                  </p:stCondLst>
                                  <p:childTnLst>
                                    <p:set>
                                      <p:cBhvr>
                                        <p:cTn id="53" dur="1" fill="hold">
                                          <p:stCondLst>
                                            <p:cond delay="0"/>
                                          </p:stCondLst>
                                        </p:cTn>
                                        <p:tgtEl>
                                          <p:spTgt spid="35"/>
                                        </p:tgtEl>
                                        <p:attrNameLst>
                                          <p:attrName>style.visibility</p:attrName>
                                        </p:attrNameLst>
                                      </p:cBhvr>
                                      <p:to>
                                        <p:strVal val="visible"/>
                                      </p:to>
                                    </p:set>
                                    <p:animEffect transition="in" filter="fade">
                                      <p:cBhvr>
                                        <p:cTn id="54" dur="500"/>
                                        <p:tgtEl>
                                          <p:spTgt spid="35"/>
                                        </p:tgtEl>
                                      </p:cBhvr>
                                    </p:animEffect>
                                  </p:childTnLst>
                                </p:cTn>
                              </p:par>
                              <p:par>
                                <p:cTn id="55" presetID="10" presetClass="entr" presetSubtype="0" fill="hold" grpId="0" nodeType="withEffect">
                                  <p:stCondLst>
                                    <p:cond delay="0"/>
                                  </p:stCondLst>
                                  <p:childTnLst>
                                    <p:set>
                                      <p:cBhvr>
                                        <p:cTn id="56" dur="1" fill="hold">
                                          <p:stCondLst>
                                            <p:cond delay="0"/>
                                          </p:stCondLst>
                                        </p:cTn>
                                        <p:tgtEl>
                                          <p:spTgt spid="13"/>
                                        </p:tgtEl>
                                        <p:attrNameLst>
                                          <p:attrName>style.visibility</p:attrName>
                                        </p:attrNameLst>
                                      </p:cBhvr>
                                      <p:to>
                                        <p:strVal val="visible"/>
                                      </p:to>
                                    </p:set>
                                    <p:animEffect transition="in" filter="fade">
                                      <p:cBhvr>
                                        <p:cTn id="57" dur="500"/>
                                        <p:tgtEl>
                                          <p:spTgt spid="13"/>
                                        </p:tgtEl>
                                      </p:cBhvr>
                                    </p:animEffect>
                                  </p:childTnLst>
                                </p:cTn>
                              </p:par>
                              <p:par>
                                <p:cTn id="58" presetID="10" presetClass="entr" presetSubtype="0" fill="hold" grpId="0" nodeType="withEffect">
                                  <p:stCondLst>
                                    <p:cond delay="0"/>
                                  </p:stCondLst>
                                  <p:childTnLst>
                                    <p:set>
                                      <p:cBhvr>
                                        <p:cTn id="59" dur="1" fill="hold">
                                          <p:stCondLst>
                                            <p:cond delay="0"/>
                                          </p:stCondLst>
                                        </p:cTn>
                                        <p:tgtEl>
                                          <p:spTgt spid="24"/>
                                        </p:tgtEl>
                                        <p:attrNameLst>
                                          <p:attrName>style.visibility</p:attrName>
                                        </p:attrNameLst>
                                      </p:cBhvr>
                                      <p:to>
                                        <p:strVal val="visible"/>
                                      </p:to>
                                    </p:set>
                                    <p:animEffect transition="in" filter="fade">
                                      <p:cBhvr>
                                        <p:cTn id="60" dur="500"/>
                                        <p:tgtEl>
                                          <p:spTgt spid="24"/>
                                        </p:tgtEl>
                                      </p:cBhvr>
                                    </p:animEffect>
                                  </p:childTnLst>
                                </p:cTn>
                              </p:par>
                              <p:par>
                                <p:cTn id="61" presetID="10" presetClass="entr" presetSubtype="0" fill="hold" grpId="0" nodeType="withEffect">
                                  <p:stCondLst>
                                    <p:cond delay="0"/>
                                  </p:stCondLst>
                                  <p:childTnLst>
                                    <p:set>
                                      <p:cBhvr>
                                        <p:cTn id="62" dur="1" fill="hold">
                                          <p:stCondLst>
                                            <p:cond delay="0"/>
                                          </p:stCondLst>
                                        </p:cTn>
                                        <p:tgtEl>
                                          <p:spTgt spid="46"/>
                                        </p:tgtEl>
                                        <p:attrNameLst>
                                          <p:attrName>style.visibility</p:attrName>
                                        </p:attrNameLst>
                                      </p:cBhvr>
                                      <p:to>
                                        <p:strVal val="visible"/>
                                      </p:to>
                                    </p:set>
                                    <p:animEffect transition="in" filter="fade">
                                      <p:cBhvr>
                                        <p:cTn id="63" dur="500"/>
                                        <p:tgtEl>
                                          <p:spTgt spid="46"/>
                                        </p:tgtEl>
                                      </p:cBhvr>
                                    </p:animEffect>
                                  </p:childTnLst>
                                </p:cTn>
                              </p:par>
                            </p:childTnLst>
                          </p:cTn>
                        </p:par>
                        <p:par>
                          <p:cTn id="64" fill="hold">
                            <p:stCondLst>
                              <p:cond delay="3000"/>
                            </p:stCondLst>
                            <p:childTnLst>
                              <p:par>
                                <p:cTn id="65" presetID="10" presetClass="entr" presetSubtype="0" fill="hold" nodeType="afterEffect">
                                  <p:stCondLst>
                                    <p:cond delay="0"/>
                                  </p:stCondLst>
                                  <p:childTnLst>
                                    <p:set>
                                      <p:cBhvr>
                                        <p:cTn id="66" dur="1" fill="hold">
                                          <p:stCondLst>
                                            <p:cond delay="0"/>
                                          </p:stCondLst>
                                        </p:cTn>
                                        <p:tgtEl>
                                          <p:spTgt spid="2"/>
                                        </p:tgtEl>
                                        <p:attrNameLst>
                                          <p:attrName>style.visibility</p:attrName>
                                        </p:attrNameLst>
                                      </p:cBhvr>
                                      <p:to>
                                        <p:strVal val="visible"/>
                                      </p:to>
                                    </p:set>
                                    <p:animEffect transition="in" filter="fade">
                                      <p:cBhvr>
                                        <p:cTn id="67" dur="500"/>
                                        <p:tgtEl>
                                          <p:spTgt spid="2"/>
                                        </p:tgtEl>
                                      </p:cBhvr>
                                    </p:animEffect>
                                  </p:childTnLst>
                                </p:cTn>
                              </p:par>
                              <p:par>
                                <p:cTn id="68" presetID="10" presetClass="entr" presetSubtype="0" fill="hold" nodeType="withEffect">
                                  <p:stCondLst>
                                    <p:cond delay="0"/>
                                  </p:stCondLst>
                                  <p:childTnLst>
                                    <p:set>
                                      <p:cBhvr>
                                        <p:cTn id="69" dur="1" fill="hold">
                                          <p:stCondLst>
                                            <p:cond delay="0"/>
                                          </p:stCondLst>
                                        </p:cTn>
                                        <p:tgtEl>
                                          <p:spTgt spid="58"/>
                                        </p:tgtEl>
                                        <p:attrNameLst>
                                          <p:attrName>style.visibility</p:attrName>
                                        </p:attrNameLst>
                                      </p:cBhvr>
                                      <p:to>
                                        <p:strVal val="visible"/>
                                      </p:to>
                                    </p:set>
                                    <p:animEffect transition="in" filter="fade">
                                      <p:cBhvr>
                                        <p:cTn id="70" dur="500"/>
                                        <p:tgtEl>
                                          <p:spTgt spid="58"/>
                                        </p:tgtEl>
                                      </p:cBhvr>
                                    </p:animEffect>
                                  </p:childTnLst>
                                </p:cTn>
                              </p:par>
                              <p:par>
                                <p:cTn id="71" presetID="10" presetClass="entr" presetSubtype="0" fill="hold" nodeType="withEffect">
                                  <p:stCondLst>
                                    <p:cond delay="0"/>
                                  </p:stCondLst>
                                  <p:childTnLst>
                                    <p:set>
                                      <p:cBhvr>
                                        <p:cTn id="72" dur="1" fill="hold">
                                          <p:stCondLst>
                                            <p:cond delay="0"/>
                                          </p:stCondLst>
                                        </p:cTn>
                                        <p:tgtEl>
                                          <p:spTgt spid="63"/>
                                        </p:tgtEl>
                                        <p:attrNameLst>
                                          <p:attrName>style.visibility</p:attrName>
                                        </p:attrNameLst>
                                      </p:cBhvr>
                                      <p:to>
                                        <p:strVal val="visible"/>
                                      </p:to>
                                    </p:set>
                                    <p:animEffect transition="in" filter="fade">
                                      <p:cBhvr>
                                        <p:cTn id="73" dur="500"/>
                                        <p:tgtEl>
                                          <p:spTgt spid="63"/>
                                        </p:tgtEl>
                                      </p:cBhvr>
                                    </p:animEffect>
                                  </p:childTnLst>
                                </p:cTn>
                              </p:par>
                              <p:par>
                                <p:cTn id="74" presetID="10" presetClass="entr" presetSubtype="0" fill="hold" nodeType="withEffect">
                                  <p:stCondLst>
                                    <p:cond delay="0"/>
                                  </p:stCondLst>
                                  <p:childTnLst>
                                    <p:set>
                                      <p:cBhvr>
                                        <p:cTn id="75" dur="1" fill="hold">
                                          <p:stCondLst>
                                            <p:cond delay="0"/>
                                          </p:stCondLst>
                                        </p:cTn>
                                        <p:tgtEl>
                                          <p:spTgt spid="70"/>
                                        </p:tgtEl>
                                        <p:attrNameLst>
                                          <p:attrName>style.visibility</p:attrName>
                                        </p:attrNameLst>
                                      </p:cBhvr>
                                      <p:to>
                                        <p:strVal val="visible"/>
                                      </p:to>
                                    </p:set>
                                    <p:animEffect transition="in" filter="fade">
                                      <p:cBhvr>
                                        <p:cTn id="76" dur="500"/>
                                        <p:tgtEl>
                                          <p:spTgt spid="70"/>
                                        </p:tgtEl>
                                      </p:cBhvr>
                                    </p:animEffect>
                                  </p:childTnLst>
                                </p:cTn>
                              </p:par>
                            </p:childTnLst>
                          </p:cTn>
                        </p:par>
                        <p:par>
                          <p:cTn id="77" fill="hold">
                            <p:stCondLst>
                              <p:cond delay="3500"/>
                            </p:stCondLst>
                            <p:childTnLst>
                              <p:par>
                                <p:cTn id="78" presetID="22" presetClass="entr" presetSubtype="2" fill="hold" grpId="0" nodeType="afterEffect">
                                  <p:stCondLst>
                                    <p:cond delay="0"/>
                                  </p:stCondLst>
                                  <p:childTnLst>
                                    <p:set>
                                      <p:cBhvr>
                                        <p:cTn id="79" dur="1" fill="hold">
                                          <p:stCondLst>
                                            <p:cond delay="0"/>
                                          </p:stCondLst>
                                        </p:cTn>
                                        <p:tgtEl>
                                          <p:spTgt spid="128"/>
                                        </p:tgtEl>
                                        <p:attrNameLst>
                                          <p:attrName>style.visibility</p:attrName>
                                        </p:attrNameLst>
                                      </p:cBhvr>
                                      <p:to>
                                        <p:strVal val="visible"/>
                                      </p:to>
                                    </p:set>
                                    <p:animEffect transition="in" filter="wipe(right)">
                                      <p:cBhvr>
                                        <p:cTn id="80" dur="500"/>
                                        <p:tgtEl>
                                          <p:spTgt spid="128"/>
                                        </p:tgtEl>
                                      </p:cBhvr>
                                    </p:animEffect>
                                  </p:childTnLst>
                                </p:cTn>
                              </p:par>
                              <p:par>
                                <p:cTn id="81" presetID="22" presetClass="entr" presetSubtype="2" fill="hold" grpId="0" nodeType="withEffect">
                                  <p:stCondLst>
                                    <p:cond delay="0"/>
                                  </p:stCondLst>
                                  <p:childTnLst>
                                    <p:set>
                                      <p:cBhvr>
                                        <p:cTn id="82" dur="1" fill="hold">
                                          <p:stCondLst>
                                            <p:cond delay="0"/>
                                          </p:stCondLst>
                                        </p:cTn>
                                        <p:tgtEl>
                                          <p:spTgt spid="127"/>
                                        </p:tgtEl>
                                        <p:attrNameLst>
                                          <p:attrName>style.visibility</p:attrName>
                                        </p:attrNameLst>
                                      </p:cBhvr>
                                      <p:to>
                                        <p:strVal val="visible"/>
                                      </p:to>
                                    </p:set>
                                    <p:animEffect transition="in" filter="wipe(right)">
                                      <p:cBhvr>
                                        <p:cTn id="83" dur="500"/>
                                        <p:tgtEl>
                                          <p:spTgt spid="127"/>
                                        </p:tgtEl>
                                      </p:cBhvr>
                                    </p:animEffect>
                                  </p:childTnLst>
                                </p:cTn>
                              </p:par>
                              <p:par>
                                <p:cTn id="84" presetID="22" presetClass="entr" presetSubtype="2" fill="hold" grpId="0" nodeType="withEffect">
                                  <p:stCondLst>
                                    <p:cond delay="0"/>
                                  </p:stCondLst>
                                  <p:childTnLst>
                                    <p:set>
                                      <p:cBhvr>
                                        <p:cTn id="85" dur="1" fill="hold">
                                          <p:stCondLst>
                                            <p:cond delay="0"/>
                                          </p:stCondLst>
                                        </p:cTn>
                                        <p:tgtEl>
                                          <p:spTgt spid="123"/>
                                        </p:tgtEl>
                                        <p:attrNameLst>
                                          <p:attrName>style.visibility</p:attrName>
                                        </p:attrNameLst>
                                      </p:cBhvr>
                                      <p:to>
                                        <p:strVal val="visible"/>
                                      </p:to>
                                    </p:set>
                                    <p:animEffect transition="in" filter="wipe(right)">
                                      <p:cBhvr>
                                        <p:cTn id="86" dur="500"/>
                                        <p:tgtEl>
                                          <p:spTgt spid="123"/>
                                        </p:tgtEl>
                                      </p:cBhvr>
                                    </p:animEffect>
                                  </p:childTnLst>
                                </p:cTn>
                              </p:par>
                              <p:par>
                                <p:cTn id="87" presetID="22" presetClass="entr" presetSubtype="2" fill="hold" grpId="0" nodeType="withEffect">
                                  <p:stCondLst>
                                    <p:cond delay="0"/>
                                  </p:stCondLst>
                                  <p:childTnLst>
                                    <p:set>
                                      <p:cBhvr>
                                        <p:cTn id="88" dur="1" fill="hold">
                                          <p:stCondLst>
                                            <p:cond delay="0"/>
                                          </p:stCondLst>
                                        </p:cTn>
                                        <p:tgtEl>
                                          <p:spTgt spid="124"/>
                                        </p:tgtEl>
                                        <p:attrNameLst>
                                          <p:attrName>style.visibility</p:attrName>
                                        </p:attrNameLst>
                                      </p:cBhvr>
                                      <p:to>
                                        <p:strVal val="visible"/>
                                      </p:to>
                                    </p:set>
                                    <p:animEffect transition="in" filter="wipe(right)">
                                      <p:cBhvr>
                                        <p:cTn id="89" dur="500"/>
                                        <p:tgtEl>
                                          <p:spTgt spid="124"/>
                                        </p:tgtEl>
                                      </p:cBhvr>
                                    </p:animEffect>
                                  </p:childTnLst>
                                </p:cTn>
                              </p:par>
                            </p:childTnLst>
                          </p:cTn>
                        </p:par>
                        <p:par>
                          <p:cTn id="90" fill="hold">
                            <p:stCondLst>
                              <p:cond delay="4000"/>
                            </p:stCondLst>
                            <p:childTnLst>
                              <p:par>
                                <p:cTn id="91" presetID="10" presetClass="entr" presetSubtype="0" fill="hold" nodeType="afterEffect">
                                  <p:stCondLst>
                                    <p:cond delay="0"/>
                                  </p:stCondLst>
                                  <p:childTnLst>
                                    <p:set>
                                      <p:cBhvr>
                                        <p:cTn id="92" dur="1" fill="hold">
                                          <p:stCondLst>
                                            <p:cond delay="0"/>
                                          </p:stCondLst>
                                        </p:cTn>
                                        <p:tgtEl>
                                          <p:spTgt spid="40"/>
                                        </p:tgtEl>
                                        <p:attrNameLst>
                                          <p:attrName>style.visibility</p:attrName>
                                        </p:attrNameLst>
                                      </p:cBhvr>
                                      <p:to>
                                        <p:strVal val="visible"/>
                                      </p:to>
                                    </p:set>
                                    <p:animEffect transition="in" filter="fade">
                                      <p:cBhvr>
                                        <p:cTn id="93" dur="500"/>
                                        <p:tgtEl>
                                          <p:spTgt spid="40"/>
                                        </p:tgtEl>
                                      </p:cBhvr>
                                    </p:animEffect>
                                  </p:childTnLst>
                                </p:cTn>
                              </p:par>
                              <p:par>
                                <p:cTn id="94" presetID="10" presetClass="entr" presetSubtype="0" fill="hold" nodeType="withEffect">
                                  <p:stCondLst>
                                    <p:cond delay="0"/>
                                  </p:stCondLst>
                                  <p:childTnLst>
                                    <p:set>
                                      <p:cBhvr>
                                        <p:cTn id="95" dur="1" fill="hold">
                                          <p:stCondLst>
                                            <p:cond delay="0"/>
                                          </p:stCondLst>
                                        </p:cTn>
                                        <p:tgtEl>
                                          <p:spTgt spid="36"/>
                                        </p:tgtEl>
                                        <p:attrNameLst>
                                          <p:attrName>style.visibility</p:attrName>
                                        </p:attrNameLst>
                                      </p:cBhvr>
                                      <p:to>
                                        <p:strVal val="visible"/>
                                      </p:to>
                                    </p:set>
                                    <p:animEffect transition="in" filter="fade">
                                      <p:cBhvr>
                                        <p:cTn id="96" dur="500"/>
                                        <p:tgtEl>
                                          <p:spTgt spid="36"/>
                                        </p:tgtEl>
                                      </p:cBhvr>
                                    </p:animEffect>
                                  </p:childTnLst>
                                </p:cTn>
                              </p:par>
                              <p:par>
                                <p:cTn id="97" presetID="10" presetClass="entr" presetSubtype="0" fill="hold" nodeType="withEffect">
                                  <p:stCondLst>
                                    <p:cond delay="0"/>
                                  </p:stCondLst>
                                  <p:childTnLst>
                                    <p:set>
                                      <p:cBhvr>
                                        <p:cTn id="98" dur="1" fill="hold">
                                          <p:stCondLst>
                                            <p:cond delay="0"/>
                                          </p:stCondLst>
                                        </p:cTn>
                                        <p:tgtEl>
                                          <p:spTgt spid="83"/>
                                        </p:tgtEl>
                                        <p:attrNameLst>
                                          <p:attrName>style.visibility</p:attrName>
                                        </p:attrNameLst>
                                      </p:cBhvr>
                                      <p:to>
                                        <p:strVal val="visible"/>
                                      </p:to>
                                    </p:set>
                                    <p:animEffect transition="in" filter="fade">
                                      <p:cBhvr>
                                        <p:cTn id="99" dur="500"/>
                                        <p:tgtEl>
                                          <p:spTgt spid="83"/>
                                        </p:tgtEl>
                                      </p:cBhvr>
                                    </p:animEffect>
                                  </p:childTnLst>
                                </p:cTn>
                              </p:par>
                              <p:par>
                                <p:cTn id="100" presetID="10" presetClass="entr" presetSubtype="0" fill="hold" nodeType="withEffect">
                                  <p:stCondLst>
                                    <p:cond delay="0"/>
                                  </p:stCondLst>
                                  <p:childTnLst>
                                    <p:set>
                                      <p:cBhvr>
                                        <p:cTn id="101" dur="1" fill="hold">
                                          <p:stCondLst>
                                            <p:cond delay="0"/>
                                          </p:stCondLst>
                                        </p:cTn>
                                        <p:tgtEl>
                                          <p:spTgt spid="98"/>
                                        </p:tgtEl>
                                        <p:attrNameLst>
                                          <p:attrName>style.visibility</p:attrName>
                                        </p:attrNameLst>
                                      </p:cBhvr>
                                      <p:to>
                                        <p:strVal val="visible"/>
                                      </p:to>
                                    </p:set>
                                    <p:animEffect transition="in" filter="fade">
                                      <p:cBhvr>
                                        <p:cTn id="102" dur="500"/>
                                        <p:tgtEl>
                                          <p:spTgt spid="98"/>
                                        </p:tgtEl>
                                      </p:cBhvr>
                                    </p:animEffect>
                                  </p:childTnLst>
                                </p:cTn>
                              </p:par>
                            </p:childTnLst>
                          </p:cTn>
                        </p:par>
                        <p:par>
                          <p:cTn id="103" fill="hold">
                            <p:stCondLst>
                              <p:cond delay="4500"/>
                            </p:stCondLst>
                            <p:childTnLst>
                              <p:par>
                                <p:cTn id="104" presetID="22" presetClass="entr" presetSubtype="2" fill="hold" grpId="0" nodeType="afterEffect">
                                  <p:stCondLst>
                                    <p:cond delay="0"/>
                                  </p:stCondLst>
                                  <p:childTnLst>
                                    <p:set>
                                      <p:cBhvr>
                                        <p:cTn id="105" dur="1" fill="hold">
                                          <p:stCondLst>
                                            <p:cond delay="0"/>
                                          </p:stCondLst>
                                        </p:cTn>
                                        <p:tgtEl>
                                          <p:spTgt spid="122"/>
                                        </p:tgtEl>
                                        <p:attrNameLst>
                                          <p:attrName>style.visibility</p:attrName>
                                        </p:attrNameLst>
                                      </p:cBhvr>
                                      <p:to>
                                        <p:strVal val="visible"/>
                                      </p:to>
                                    </p:set>
                                    <p:animEffect transition="in" filter="wipe(right)">
                                      <p:cBhvr>
                                        <p:cTn id="106" dur="500"/>
                                        <p:tgtEl>
                                          <p:spTgt spid="122"/>
                                        </p:tgtEl>
                                      </p:cBhvr>
                                    </p:animEffect>
                                  </p:childTnLst>
                                </p:cTn>
                              </p:par>
                              <p:par>
                                <p:cTn id="107" presetID="22" presetClass="entr" presetSubtype="2" fill="hold" grpId="0" nodeType="withEffect">
                                  <p:stCondLst>
                                    <p:cond delay="0"/>
                                  </p:stCondLst>
                                  <p:childTnLst>
                                    <p:set>
                                      <p:cBhvr>
                                        <p:cTn id="108" dur="1" fill="hold">
                                          <p:stCondLst>
                                            <p:cond delay="0"/>
                                          </p:stCondLst>
                                        </p:cTn>
                                        <p:tgtEl>
                                          <p:spTgt spid="121"/>
                                        </p:tgtEl>
                                        <p:attrNameLst>
                                          <p:attrName>style.visibility</p:attrName>
                                        </p:attrNameLst>
                                      </p:cBhvr>
                                      <p:to>
                                        <p:strVal val="visible"/>
                                      </p:to>
                                    </p:set>
                                    <p:animEffect transition="in" filter="wipe(right)">
                                      <p:cBhvr>
                                        <p:cTn id="109" dur="500"/>
                                        <p:tgtEl>
                                          <p:spTgt spid="121"/>
                                        </p:tgtEl>
                                      </p:cBhvr>
                                    </p:animEffect>
                                  </p:childTnLst>
                                </p:cTn>
                              </p:par>
                              <p:par>
                                <p:cTn id="110" presetID="22" presetClass="entr" presetSubtype="2" fill="hold" grpId="0" nodeType="withEffect">
                                  <p:stCondLst>
                                    <p:cond delay="0"/>
                                  </p:stCondLst>
                                  <p:childTnLst>
                                    <p:set>
                                      <p:cBhvr>
                                        <p:cTn id="111" dur="1" fill="hold">
                                          <p:stCondLst>
                                            <p:cond delay="0"/>
                                          </p:stCondLst>
                                        </p:cTn>
                                        <p:tgtEl>
                                          <p:spTgt spid="136"/>
                                        </p:tgtEl>
                                        <p:attrNameLst>
                                          <p:attrName>style.visibility</p:attrName>
                                        </p:attrNameLst>
                                      </p:cBhvr>
                                      <p:to>
                                        <p:strVal val="visible"/>
                                      </p:to>
                                    </p:set>
                                    <p:animEffect transition="in" filter="wipe(right)">
                                      <p:cBhvr>
                                        <p:cTn id="112" dur="500"/>
                                        <p:tgtEl>
                                          <p:spTgt spid="136"/>
                                        </p:tgtEl>
                                      </p:cBhvr>
                                    </p:animEffect>
                                  </p:childTnLst>
                                </p:cTn>
                              </p:par>
                              <p:par>
                                <p:cTn id="113" presetID="22" presetClass="entr" presetSubtype="2" fill="hold" grpId="0" nodeType="withEffect">
                                  <p:stCondLst>
                                    <p:cond delay="0"/>
                                  </p:stCondLst>
                                  <p:childTnLst>
                                    <p:set>
                                      <p:cBhvr>
                                        <p:cTn id="114" dur="1" fill="hold">
                                          <p:stCondLst>
                                            <p:cond delay="0"/>
                                          </p:stCondLst>
                                        </p:cTn>
                                        <p:tgtEl>
                                          <p:spTgt spid="135"/>
                                        </p:tgtEl>
                                        <p:attrNameLst>
                                          <p:attrName>style.visibility</p:attrName>
                                        </p:attrNameLst>
                                      </p:cBhvr>
                                      <p:to>
                                        <p:strVal val="visible"/>
                                      </p:to>
                                    </p:set>
                                    <p:animEffect transition="in" filter="wipe(right)">
                                      <p:cBhvr>
                                        <p:cTn id="115" dur="500"/>
                                        <p:tgtEl>
                                          <p:spTgt spid="135"/>
                                        </p:tgtEl>
                                      </p:cBhvr>
                                    </p:animEffect>
                                  </p:childTnLst>
                                </p:cTn>
                              </p:par>
                            </p:childTnLst>
                          </p:cTn>
                        </p:par>
                        <p:par>
                          <p:cTn id="116" fill="hold">
                            <p:stCondLst>
                              <p:cond delay="5000"/>
                            </p:stCondLst>
                            <p:childTnLst>
                              <p:par>
                                <p:cTn id="117" presetID="10" presetClass="entr" presetSubtype="0" fill="hold" nodeType="afterEffect">
                                  <p:stCondLst>
                                    <p:cond delay="0"/>
                                  </p:stCondLst>
                                  <p:childTnLst>
                                    <p:set>
                                      <p:cBhvr>
                                        <p:cTn id="118" dur="1" fill="hold">
                                          <p:stCondLst>
                                            <p:cond delay="0"/>
                                          </p:stCondLst>
                                        </p:cTn>
                                        <p:tgtEl>
                                          <p:spTgt spid="14"/>
                                        </p:tgtEl>
                                        <p:attrNameLst>
                                          <p:attrName>style.visibility</p:attrName>
                                        </p:attrNameLst>
                                      </p:cBhvr>
                                      <p:to>
                                        <p:strVal val="visible"/>
                                      </p:to>
                                    </p:set>
                                    <p:animEffect transition="in" filter="fade">
                                      <p:cBhvr>
                                        <p:cTn id="119" dur="500"/>
                                        <p:tgtEl>
                                          <p:spTgt spid="14"/>
                                        </p:tgtEl>
                                      </p:cBhvr>
                                    </p:animEffect>
                                  </p:childTnLst>
                                </p:cTn>
                              </p:par>
                              <p:par>
                                <p:cTn id="120" presetID="10" presetClass="entr" presetSubtype="0" fill="hold" nodeType="withEffect">
                                  <p:stCondLst>
                                    <p:cond delay="0"/>
                                  </p:stCondLst>
                                  <p:childTnLst>
                                    <p:set>
                                      <p:cBhvr>
                                        <p:cTn id="121" dur="1" fill="hold">
                                          <p:stCondLst>
                                            <p:cond delay="0"/>
                                          </p:stCondLst>
                                        </p:cTn>
                                        <p:tgtEl>
                                          <p:spTgt spid="18"/>
                                        </p:tgtEl>
                                        <p:attrNameLst>
                                          <p:attrName>style.visibility</p:attrName>
                                        </p:attrNameLst>
                                      </p:cBhvr>
                                      <p:to>
                                        <p:strVal val="visible"/>
                                      </p:to>
                                    </p:set>
                                    <p:animEffect transition="in" filter="fade">
                                      <p:cBhvr>
                                        <p:cTn id="122" dur="500"/>
                                        <p:tgtEl>
                                          <p:spTgt spid="18"/>
                                        </p:tgtEl>
                                      </p:cBhvr>
                                    </p:animEffect>
                                  </p:childTnLst>
                                </p:cTn>
                              </p:par>
                              <p:par>
                                <p:cTn id="123" presetID="10" presetClass="entr" presetSubtype="0" fill="hold" nodeType="withEffect">
                                  <p:stCondLst>
                                    <p:cond delay="0"/>
                                  </p:stCondLst>
                                  <p:childTnLst>
                                    <p:set>
                                      <p:cBhvr>
                                        <p:cTn id="124" dur="1" fill="hold">
                                          <p:stCondLst>
                                            <p:cond delay="0"/>
                                          </p:stCondLst>
                                        </p:cTn>
                                        <p:tgtEl>
                                          <p:spTgt spid="113"/>
                                        </p:tgtEl>
                                        <p:attrNameLst>
                                          <p:attrName>style.visibility</p:attrName>
                                        </p:attrNameLst>
                                      </p:cBhvr>
                                      <p:to>
                                        <p:strVal val="visible"/>
                                      </p:to>
                                    </p:set>
                                    <p:animEffect transition="in" filter="fade">
                                      <p:cBhvr>
                                        <p:cTn id="125" dur="500"/>
                                        <p:tgtEl>
                                          <p:spTgt spid="113"/>
                                        </p:tgtEl>
                                      </p:cBhvr>
                                    </p:animEffect>
                                  </p:childTnLst>
                                </p:cTn>
                              </p:par>
                              <p:par>
                                <p:cTn id="126" presetID="10" presetClass="entr" presetSubtype="0" fill="hold" nodeType="withEffect">
                                  <p:stCondLst>
                                    <p:cond delay="0"/>
                                  </p:stCondLst>
                                  <p:childTnLst>
                                    <p:set>
                                      <p:cBhvr>
                                        <p:cTn id="127" dur="1" fill="hold">
                                          <p:stCondLst>
                                            <p:cond delay="0"/>
                                          </p:stCondLst>
                                        </p:cTn>
                                        <p:tgtEl>
                                          <p:spTgt spid="108"/>
                                        </p:tgtEl>
                                        <p:attrNameLst>
                                          <p:attrName>style.visibility</p:attrName>
                                        </p:attrNameLst>
                                      </p:cBhvr>
                                      <p:to>
                                        <p:strVal val="visible"/>
                                      </p:to>
                                    </p:set>
                                    <p:animEffect transition="in" filter="fade">
                                      <p:cBhvr>
                                        <p:cTn id="128" dur="500"/>
                                        <p:tgtEl>
                                          <p:spTgt spid="108"/>
                                        </p:tgtEl>
                                      </p:cBhvr>
                                    </p:animEffect>
                                  </p:childTnLst>
                                </p:cTn>
                              </p:par>
                            </p:childTnLst>
                          </p:cTn>
                        </p:par>
                        <p:par>
                          <p:cTn id="129" fill="hold">
                            <p:stCondLst>
                              <p:cond delay="5500"/>
                            </p:stCondLst>
                            <p:childTnLst>
                              <p:par>
                                <p:cTn id="130" presetID="22" presetClass="entr" presetSubtype="2" fill="hold" grpId="0" nodeType="afterEffect">
                                  <p:stCondLst>
                                    <p:cond delay="0"/>
                                  </p:stCondLst>
                                  <p:childTnLst>
                                    <p:set>
                                      <p:cBhvr>
                                        <p:cTn id="131" dur="1" fill="hold">
                                          <p:stCondLst>
                                            <p:cond delay="0"/>
                                          </p:stCondLst>
                                        </p:cTn>
                                        <p:tgtEl>
                                          <p:spTgt spid="130"/>
                                        </p:tgtEl>
                                        <p:attrNameLst>
                                          <p:attrName>style.visibility</p:attrName>
                                        </p:attrNameLst>
                                      </p:cBhvr>
                                      <p:to>
                                        <p:strVal val="visible"/>
                                      </p:to>
                                    </p:set>
                                    <p:animEffect transition="in" filter="wipe(right)">
                                      <p:cBhvr>
                                        <p:cTn id="132" dur="500"/>
                                        <p:tgtEl>
                                          <p:spTgt spid="130"/>
                                        </p:tgtEl>
                                      </p:cBhvr>
                                    </p:animEffect>
                                  </p:childTnLst>
                                </p:cTn>
                              </p:par>
                              <p:par>
                                <p:cTn id="133" presetID="22" presetClass="entr" presetSubtype="2" fill="hold" grpId="0" nodeType="withEffect">
                                  <p:stCondLst>
                                    <p:cond delay="0"/>
                                  </p:stCondLst>
                                  <p:childTnLst>
                                    <p:set>
                                      <p:cBhvr>
                                        <p:cTn id="134" dur="1" fill="hold">
                                          <p:stCondLst>
                                            <p:cond delay="0"/>
                                          </p:stCondLst>
                                        </p:cTn>
                                        <p:tgtEl>
                                          <p:spTgt spid="129"/>
                                        </p:tgtEl>
                                        <p:attrNameLst>
                                          <p:attrName>style.visibility</p:attrName>
                                        </p:attrNameLst>
                                      </p:cBhvr>
                                      <p:to>
                                        <p:strVal val="visible"/>
                                      </p:to>
                                    </p:set>
                                    <p:animEffect transition="in" filter="wipe(right)">
                                      <p:cBhvr>
                                        <p:cTn id="135" dur="500"/>
                                        <p:tgtEl>
                                          <p:spTgt spid="129"/>
                                        </p:tgtEl>
                                      </p:cBhvr>
                                    </p:animEffect>
                                  </p:childTnLst>
                                </p:cTn>
                              </p:par>
                              <p:par>
                                <p:cTn id="136" presetID="22" presetClass="entr" presetSubtype="8" fill="hold" grpId="0" nodeType="withEffect">
                                  <p:stCondLst>
                                    <p:cond delay="0"/>
                                  </p:stCondLst>
                                  <p:childTnLst>
                                    <p:set>
                                      <p:cBhvr>
                                        <p:cTn id="137" dur="1" fill="hold">
                                          <p:stCondLst>
                                            <p:cond delay="0"/>
                                          </p:stCondLst>
                                        </p:cTn>
                                        <p:tgtEl>
                                          <p:spTgt spid="126"/>
                                        </p:tgtEl>
                                        <p:attrNameLst>
                                          <p:attrName>style.visibility</p:attrName>
                                        </p:attrNameLst>
                                      </p:cBhvr>
                                      <p:to>
                                        <p:strVal val="visible"/>
                                      </p:to>
                                    </p:set>
                                    <p:animEffect transition="in" filter="wipe(left)">
                                      <p:cBhvr>
                                        <p:cTn id="138" dur="500"/>
                                        <p:tgtEl>
                                          <p:spTgt spid="126"/>
                                        </p:tgtEl>
                                      </p:cBhvr>
                                    </p:animEffect>
                                  </p:childTnLst>
                                </p:cTn>
                              </p:par>
                              <p:par>
                                <p:cTn id="139" presetID="22" presetClass="entr" presetSubtype="8" fill="hold" grpId="0" nodeType="withEffect">
                                  <p:stCondLst>
                                    <p:cond delay="0"/>
                                  </p:stCondLst>
                                  <p:childTnLst>
                                    <p:set>
                                      <p:cBhvr>
                                        <p:cTn id="140" dur="1" fill="hold">
                                          <p:stCondLst>
                                            <p:cond delay="0"/>
                                          </p:stCondLst>
                                        </p:cTn>
                                        <p:tgtEl>
                                          <p:spTgt spid="125"/>
                                        </p:tgtEl>
                                        <p:attrNameLst>
                                          <p:attrName>style.visibility</p:attrName>
                                        </p:attrNameLst>
                                      </p:cBhvr>
                                      <p:to>
                                        <p:strVal val="visible"/>
                                      </p:to>
                                    </p:set>
                                    <p:animEffect transition="in" filter="wipe(left)">
                                      <p:cBhvr>
                                        <p:cTn id="141" dur="500"/>
                                        <p:tgtEl>
                                          <p:spTgt spid="125"/>
                                        </p:tgtEl>
                                      </p:cBhvr>
                                    </p:animEffect>
                                  </p:childTnLst>
                                </p:cTn>
                              </p:par>
                            </p:childTnLst>
                          </p:cTn>
                        </p:par>
                        <p:par>
                          <p:cTn id="142" fill="hold">
                            <p:stCondLst>
                              <p:cond delay="6000"/>
                            </p:stCondLst>
                            <p:childTnLst>
                              <p:par>
                                <p:cTn id="143" presetID="10" presetClass="entr" presetSubtype="0" fill="hold" nodeType="afterEffect">
                                  <p:stCondLst>
                                    <p:cond delay="0"/>
                                  </p:stCondLst>
                                  <p:childTnLst>
                                    <p:set>
                                      <p:cBhvr>
                                        <p:cTn id="144" dur="1" fill="hold">
                                          <p:stCondLst>
                                            <p:cond delay="0"/>
                                          </p:stCondLst>
                                        </p:cTn>
                                        <p:tgtEl>
                                          <p:spTgt spid="25"/>
                                        </p:tgtEl>
                                        <p:attrNameLst>
                                          <p:attrName>style.visibility</p:attrName>
                                        </p:attrNameLst>
                                      </p:cBhvr>
                                      <p:to>
                                        <p:strVal val="visible"/>
                                      </p:to>
                                    </p:set>
                                    <p:animEffect transition="in" filter="fade">
                                      <p:cBhvr>
                                        <p:cTn id="145" dur="500"/>
                                        <p:tgtEl>
                                          <p:spTgt spid="25"/>
                                        </p:tgtEl>
                                      </p:cBhvr>
                                    </p:animEffect>
                                  </p:childTnLst>
                                </p:cTn>
                              </p:par>
                              <p:par>
                                <p:cTn id="146" presetID="10" presetClass="entr" presetSubtype="0" fill="hold" nodeType="withEffect">
                                  <p:stCondLst>
                                    <p:cond delay="0"/>
                                  </p:stCondLst>
                                  <p:childTnLst>
                                    <p:set>
                                      <p:cBhvr>
                                        <p:cTn id="147" dur="1" fill="hold">
                                          <p:stCondLst>
                                            <p:cond delay="0"/>
                                          </p:stCondLst>
                                        </p:cTn>
                                        <p:tgtEl>
                                          <p:spTgt spid="29"/>
                                        </p:tgtEl>
                                        <p:attrNameLst>
                                          <p:attrName>style.visibility</p:attrName>
                                        </p:attrNameLst>
                                      </p:cBhvr>
                                      <p:to>
                                        <p:strVal val="visible"/>
                                      </p:to>
                                    </p:set>
                                    <p:animEffect transition="in" filter="fade">
                                      <p:cBhvr>
                                        <p:cTn id="148" dur="500"/>
                                        <p:tgtEl>
                                          <p:spTgt spid="29"/>
                                        </p:tgtEl>
                                      </p:cBhvr>
                                    </p:animEffect>
                                  </p:childTnLst>
                                </p:cTn>
                              </p:par>
                              <p:par>
                                <p:cTn id="149" presetID="10" presetClass="entr" presetSubtype="0" fill="hold" grpId="0" nodeType="withEffect">
                                  <p:stCondLst>
                                    <p:cond delay="0"/>
                                  </p:stCondLst>
                                  <p:childTnLst>
                                    <p:set>
                                      <p:cBhvr>
                                        <p:cTn id="150" dur="1" fill="hold">
                                          <p:stCondLst>
                                            <p:cond delay="0"/>
                                          </p:stCondLst>
                                        </p:cTn>
                                        <p:tgtEl>
                                          <p:spTgt spid="78"/>
                                        </p:tgtEl>
                                        <p:attrNameLst>
                                          <p:attrName>style.visibility</p:attrName>
                                        </p:attrNameLst>
                                      </p:cBhvr>
                                      <p:to>
                                        <p:strVal val="visible"/>
                                      </p:to>
                                    </p:set>
                                    <p:animEffect transition="in" filter="fade">
                                      <p:cBhvr>
                                        <p:cTn id="151" dur="500"/>
                                        <p:tgtEl>
                                          <p:spTgt spid="78"/>
                                        </p:tgtEl>
                                      </p:cBhvr>
                                    </p:animEffect>
                                  </p:childTnLst>
                                </p:cTn>
                              </p:par>
                              <p:par>
                                <p:cTn id="152" presetID="10" presetClass="entr" presetSubtype="0" fill="hold" grpId="0" nodeType="withEffect">
                                  <p:stCondLst>
                                    <p:cond delay="0"/>
                                  </p:stCondLst>
                                  <p:childTnLst>
                                    <p:set>
                                      <p:cBhvr>
                                        <p:cTn id="153" dur="1" fill="hold">
                                          <p:stCondLst>
                                            <p:cond delay="0"/>
                                          </p:stCondLst>
                                        </p:cTn>
                                        <p:tgtEl>
                                          <p:spTgt spid="79"/>
                                        </p:tgtEl>
                                        <p:attrNameLst>
                                          <p:attrName>style.visibility</p:attrName>
                                        </p:attrNameLst>
                                      </p:cBhvr>
                                      <p:to>
                                        <p:strVal val="visible"/>
                                      </p:to>
                                    </p:set>
                                    <p:animEffect transition="in" filter="fade">
                                      <p:cBhvr>
                                        <p:cTn id="154" dur="500"/>
                                        <p:tgtEl>
                                          <p:spTgt spid="79"/>
                                        </p:tgtEl>
                                      </p:cBhvr>
                                    </p:animEffect>
                                  </p:childTnLst>
                                </p:cTn>
                              </p:par>
                            </p:childTnLst>
                          </p:cTn>
                        </p:par>
                        <p:par>
                          <p:cTn id="155" fill="hold">
                            <p:stCondLst>
                              <p:cond delay="6500"/>
                            </p:stCondLst>
                            <p:childTnLst>
                              <p:par>
                                <p:cTn id="156" presetID="22" presetClass="entr" presetSubtype="8" fill="hold" grpId="0" nodeType="afterEffect">
                                  <p:stCondLst>
                                    <p:cond delay="0"/>
                                  </p:stCondLst>
                                  <p:childTnLst>
                                    <p:set>
                                      <p:cBhvr>
                                        <p:cTn id="157" dur="1" fill="hold">
                                          <p:stCondLst>
                                            <p:cond delay="0"/>
                                          </p:stCondLst>
                                        </p:cTn>
                                        <p:tgtEl>
                                          <p:spTgt spid="140"/>
                                        </p:tgtEl>
                                        <p:attrNameLst>
                                          <p:attrName>style.visibility</p:attrName>
                                        </p:attrNameLst>
                                      </p:cBhvr>
                                      <p:to>
                                        <p:strVal val="visible"/>
                                      </p:to>
                                    </p:set>
                                    <p:animEffect transition="in" filter="wipe(left)">
                                      <p:cBhvr>
                                        <p:cTn id="158" dur="500"/>
                                        <p:tgtEl>
                                          <p:spTgt spid="140"/>
                                        </p:tgtEl>
                                      </p:cBhvr>
                                    </p:animEffect>
                                  </p:childTnLst>
                                </p:cTn>
                              </p:par>
                              <p:par>
                                <p:cTn id="159" presetID="22" presetClass="entr" presetSubtype="8" fill="hold" grpId="0" nodeType="withEffect">
                                  <p:stCondLst>
                                    <p:cond delay="0"/>
                                  </p:stCondLst>
                                  <p:childTnLst>
                                    <p:set>
                                      <p:cBhvr>
                                        <p:cTn id="160" dur="1" fill="hold">
                                          <p:stCondLst>
                                            <p:cond delay="0"/>
                                          </p:stCondLst>
                                        </p:cTn>
                                        <p:tgtEl>
                                          <p:spTgt spid="139"/>
                                        </p:tgtEl>
                                        <p:attrNameLst>
                                          <p:attrName>style.visibility</p:attrName>
                                        </p:attrNameLst>
                                      </p:cBhvr>
                                      <p:to>
                                        <p:strVal val="visible"/>
                                      </p:to>
                                    </p:set>
                                    <p:animEffect transition="in" filter="wipe(left)">
                                      <p:cBhvr>
                                        <p:cTn id="161" dur="500"/>
                                        <p:tgtEl>
                                          <p:spTgt spid="139"/>
                                        </p:tgtEl>
                                      </p:cBhvr>
                                    </p:animEffect>
                                  </p:childTnLst>
                                </p:cTn>
                              </p:par>
                              <p:par>
                                <p:cTn id="162" presetID="22" presetClass="entr" presetSubtype="8" fill="hold" grpId="0" nodeType="withEffect">
                                  <p:stCondLst>
                                    <p:cond delay="0"/>
                                  </p:stCondLst>
                                  <p:childTnLst>
                                    <p:set>
                                      <p:cBhvr>
                                        <p:cTn id="163" dur="1" fill="hold">
                                          <p:stCondLst>
                                            <p:cond delay="0"/>
                                          </p:stCondLst>
                                        </p:cTn>
                                        <p:tgtEl>
                                          <p:spTgt spid="138"/>
                                        </p:tgtEl>
                                        <p:attrNameLst>
                                          <p:attrName>style.visibility</p:attrName>
                                        </p:attrNameLst>
                                      </p:cBhvr>
                                      <p:to>
                                        <p:strVal val="visible"/>
                                      </p:to>
                                    </p:set>
                                    <p:animEffect transition="in" filter="wipe(left)">
                                      <p:cBhvr>
                                        <p:cTn id="164" dur="500"/>
                                        <p:tgtEl>
                                          <p:spTgt spid="138"/>
                                        </p:tgtEl>
                                      </p:cBhvr>
                                    </p:animEffect>
                                  </p:childTnLst>
                                </p:cTn>
                              </p:par>
                              <p:par>
                                <p:cTn id="165" presetID="22" presetClass="entr" presetSubtype="8" fill="hold" grpId="0" nodeType="withEffect">
                                  <p:stCondLst>
                                    <p:cond delay="0"/>
                                  </p:stCondLst>
                                  <p:childTnLst>
                                    <p:set>
                                      <p:cBhvr>
                                        <p:cTn id="166" dur="1" fill="hold">
                                          <p:stCondLst>
                                            <p:cond delay="0"/>
                                          </p:stCondLst>
                                        </p:cTn>
                                        <p:tgtEl>
                                          <p:spTgt spid="137"/>
                                        </p:tgtEl>
                                        <p:attrNameLst>
                                          <p:attrName>style.visibility</p:attrName>
                                        </p:attrNameLst>
                                      </p:cBhvr>
                                      <p:to>
                                        <p:strVal val="visible"/>
                                      </p:to>
                                    </p:set>
                                    <p:animEffect transition="in" filter="wipe(left)">
                                      <p:cBhvr>
                                        <p:cTn id="167" dur="500"/>
                                        <p:tgtEl>
                                          <p:spTgt spid="137"/>
                                        </p:tgtEl>
                                      </p:cBhvr>
                                    </p:animEffect>
                                  </p:childTnLst>
                                </p:cTn>
                              </p:par>
                            </p:childTnLst>
                          </p:cTn>
                        </p:par>
                        <p:par>
                          <p:cTn id="168" fill="hold">
                            <p:stCondLst>
                              <p:cond delay="7000"/>
                            </p:stCondLst>
                            <p:childTnLst>
                              <p:par>
                                <p:cTn id="169" presetID="10" presetClass="entr" presetSubtype="0" fill="hold" nodeType="afterEffect">
                                  <p:stCondLst>
                                    <p:cond delay="0"/>
                                  </p:stCondLst>
                                  <p:childTnLst>
                                    <p:set>
                                      <p:cBhvr>
                                        <p:cTn id="170" dur="1" fill="hold">
                                          <p:stCondLst>
                                            <p:cond delay="0"/>
                                          </p:stCondLst>
                                        </p:cTn>
                                        <p:tgtEl>
                                          <p:spTgt spid="47"/>
                                        </p:tgtEl>
                                        <p:attrNameLst>
                                          <p:attrName>style.visibility</p:attrName>
                                        </p:attrNameLst>
                                      </p:cBhvr>
                                      <p:to>
                                        <p:strVal val="visible"/>
                                      </p:to>
                                    </p:set>
                                    <p:animEffect transition="in" filter="fade">
                                      <p:cBhvr>
                                        <p:cTn id="171" dur="500"/>
                                        <p:tgtEl>
                                          <p:spTgt spid="47"/>
                                        </p:tgtEl>
                                      </p:cBhvr>
                                    </p:animEffect>
                                  </p:childTnLst>
                                </p:cTn>
                              </p:par>
                              <p:par>
                                <p:cTn id="172" presetID="10" presetClass="entr" presetSubtype="0" fill="hold" nodeType="withEffect">
                                  <p:stCondLst>
                                    <p:cond delay="0"/>
                                  </p:stCondLst>
                                  <p:childTnLst>
                                    <p:set>
                                      <p:cBhvr>
                                        <p:cTn id="173" dur="1" fill="hold">
                                          <p:stCondLst>
                                            <p:cond delay="0"/>
                                          </p:stCondLst>
                                        </p:cTn>
                                        <p:tgtEl>
                                          <p:spTgt spid="80"/>
                                        </p:tgtEl>
                                        <p:attrNameLst>
                                          <p:attrName>style.visibility</p:attrName>
                                        </p:attrNameLst>
                                      </p:cBhvr>
                                      <p:to>
                                        <p:strVal val="visible"/>
                                      </p:to>
                                    </p:set>
                                    <p:animEffect transition="in" filter="fade">
                                      <p:cBhvr>
                                        <p:cTn id="174" dur="500"/>
                                        <p:tgtEl>
                                          <p:spTgt spid="80"/>
                                        </p:tgtEl>
                                      </p:cBhvr>
                                    </p:animEffect>
                                  </p:childTnLst>
                                </p:cTn>
                              </p:par>
                              <p:par>
                                <p:cTn id="175" presetID="10" presetClass="entr" presetSubtype="0" fill="hold" nodeType="withEffect">
                                  <p:stCondLst>
                                    <p:cond delay="0"/>
                                  </p:stCondLst>
                                  <p:childTnLst>
                                    <p:set>
                                      <p:cBhvr>
                                        <p:cTn id="176" dur="1" fill="hold">
                                          <p:stCondLst>
                                            <p:cond delay="0"/>
                                          </p:stCondLst>
                                        </p:cTn>
                                        <p:tgtEl>
                                          <p:spTgt spid="51"/>
                                        </p:tgtEl>
                                        <p:attrNameLst>
                                          <p:attrName>style.visibility</p:attrName>
                                        </p:attrNameLst>
                                      </p:cBhvr>
                                      <p:to>
                                        <p:strVal val="visible"/>
                                      </p:to>
                                    </p:set>
                                    <p:animEffect transition="in" filter="fade">
                                      <p:cBhvr>
                                        <p:cTn id="177" dur="500"/>
                                        <p:tgtEl>
                                          <p:spTgt spid="51"/>
                                        </p:tgtEl>
                                      </p:cBhvr>
                                    </p:animEffect>
                                  </p:childTnLst>
                                </p:cTn>
                              </p:par>
                              <p:par>
                                <p:cTn id="178" presetID="10" presetClass="entr" presetSubtype="0" fill="hold" nodeType="withEffect">
                                  <p:stCondLst>
                                    <p:cond delay="0"/>
                                  </p:stCondLst>
                                  <p:childTnLst>
                                    <p:set>
                                      <p:cBhvr>
                                        <p:cTn id="179" dur="1" fill="hold">
                                          <p:stCondLst>
                                            <p:cond delay="0"/>
                                          </p:stCondLst>
                                        </p:cTn>
                                        <p:tgtEl>
                                          <p:spTgt spid="95"/>
                                        </p:tgtEl>
                                        <p:attrNameLst>
                                          <p:attrName>style.visibility</p:attrName>
                                        </p:attrNameLst>
                                      </p:cBhvr>
                                      <p:to>
                                        <p:strVal val="visible"/>
                                      </p:to>
                                    </p:set>
                                    <p:animEffect transition="in" filter="fade">
                                      <p:cBhvr>
                                        <p:cTn id="180" dur="500"/>
                                        <p:tgtEl>
                                          <p:spTgt spid="95"/>
                                        </p:tgtEl>
                                      </p:cBhvr>
                                    </p:animEffect>
                                  </p:childTnLst>
                                </p:cTn>
                              </p:par>
                            </p:childTnLst>
                          </p:cTn>
                        </p:par>
                        <p:par>
                          <p:cTn id="181" fill="hold">
                            <p:stCondLst>
                              <p:cond delay="7500"/>
                            </p:stCondLst>
                            <p:childTnLst>
                              <p:par>
                                <p:cTn id="182" presetID="22" presetClass="entr" presetSubtype="8" fill="hold" grpId="0" nodeType="afterEffect">
                                  <p:stCondLst>
                                    <p:cond delay="0"/>
                                  </p:stCondLst>
                                  <p:childTnLst>
                                    <p:set>
                                      <p:cBhvr>
                                        <p:cTn id="183" dur="1" fill="hold">
                                          <p:stCondLst>
                                            <p:cond delay="0"/>
                                          </p:stCondLst>
                                        </p:cTn>
                                        <p:tgtEl>
                                          <p:spTgt spid="134"/>
                                        </p:tgtEl>
                                        <p:attrNameLst>
                                          <p:attrName>style.visibility</p:attrName>
                                        </p:attrNameLst>
                                      </p:cBhvr>
                                      <p:to>
                                        <p:strVal val="visible"/>
                                      </p:to>
                                    </p:set>
                                    <p:animEffect transition="in" filter="wipe(left)">
                                      <p:cBhvr>
                                        <p:cTn id="184" dur="500"/>
                                        <p:tgtEl>
                                          <p:spTgt spid="134"/>
                                        </p:tgtEl>
                                      </p:cBhvr>
                                    </p:animEffect>
                                  </p:childTnLst>
                                </p:cTn>
                              </p:par>
                              <p:par>
                                <p:cTn id="185" presetID="22" presetClass="entr" presetSubtype="8" fill="hold" grpId="0" nodeType="withEffect">
                                  <p:stCondLst>
                                    <p:cond delay="0"/>
                                  </p:stCondLst>
                                  <p:childTnLst>
                                    <p:set>
                                      <p:cBhvr>
                                        <p:cTn id="186" dur="1" fill="hold">
                                          <p:stCondLst>
                                            <p:cond delay="0"/>
                                          </p:stCondLst>
                                        </p:cTn>
                                        <p:tgtEl>
                                          <p:spTgt spid="133"/>
                                        </p:tgtEl>
                                        <p:attrNameLst>
                                          <p:attrName>style.visibility</p:attrName>
                                        </p:attrNameLst>
                                      </p:cBhvr>
                                      <p:to>
                                        <p:strVal val="visible"/>
                                      </p:to>
                                    </p:set>
                                    <p:animEffect transition="in" filter="wipe(left)">
                                      <p:cBhvr>
                                        <p:cTn id="187" dur="500"/>
                                        <p:tgtEl>
                                          <p:spTgt spid="133"/>
                                        </p:tgtEl>
                                      </p:cBhvr>
                                    </p:animEffect>
                                  </p:childTnLst>
                                </p:cTn>
                              </p:par>
                              <p:par>
                                <p:cTn id="188" presetID="22" presetClass="entr" presetSubtype="8" fill="hold" grpId="0" nodeType="withEffect">
                                  <p:stCondLst>
                                    <p:cond delay="0"/>
                                  </p:stCondLst>
                                  <p:childTnLst>
                                    <p:set>
                                      <p:cBhvr>
                                        <p:cTn id="189" dur="1" fill="hold">
                                          <p:stCondLst>
                                            <p:cond delay="0"/>
                                          </p:stCondLst>
                                        </p:cTn>
                                        <p:tgtEl>
                                          <p:spTgt spid="132"/>
                                        </p:tgtEl>
                                        <p:attrNameLst>
                                          <p:attrName>style.visibility</p:attrName>
                                        </p:attrNameLst>
                                      </p:cBhvr>
                                      <p:to>
                                        <p:strVal val="visible"/>
                                      </p:to>
                                    </p:set>
                                    <p:animEffect transition="in" filter="wipe(left)">
                                      <p:cBhvr>
                                        <p:cTn id="190" dur="500"/>
                                        <p:tgtEl>
                                          <p:spTgt spid="132"/>
                                        </p:tgtEl>
                                      </p:cBhvr>
                                    </p:animEffect>
                                  </p:childTnLst>
                                </p:cTn>
                              </p:par>
                              <p:par>
                                <p:cTn id="191" presetID="22" presetClass="entr" presetSubtype="8" fill="hold" grpId="0" nodeType="withEffect">
                                  <p:stCondLst>
                                    <p:cond delay="0"/>
                                  </p:stCondLst>
                                  <p:childTnLst>
                                    <p:set>
                                      <p:cBhvr>
                                        <p:cTn id="192" dur="1" fill="hold">
                                          <p:stCondLst>
                                            <p:cond delay="0"/>
                                          </p:stCondLst>
                                        </p:cTn>
                                        <p:tgtEl>
                                          <p:spTgt spid="131"/>
                                        </p:tgtEl>
                                        <p:attrNameLst>
                                          <p:attrName>style.visibility</p:attrName>
                                        </p:attrNameLst>
                                      </p:cBhvr>
                                      <p:to>
                                        <p:strVal val="visible"/>
                                      </p:to>
                                    </p:set>
                                    <p:animEffect transition="in" filter="wipe(left)">
                                      <p:cBhvr>
                                        <p:cTn id="193" dur="500"/>
                                        <p:tgtEl>
                                          <p:spTgt spid="1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7" grpId="0" animBg="1"/>
      <p:bldP spid="11" grpId="0" animBg="1"/>
      <p:bldP spid="12" grpId="0" animBg="1"/>
      <p:bldP spid="13" grpId="0" animBg="1"/>
      <p:bldP spid="22" grpId="0" animBg="1"/>
      <p:bldP spid="23" grpId="0" animBg="1"/>
      <p:bldP spid="24" grpId="0" animBg="1"/>
      <p:bldP spid="33" grpId="0" animBg="1"/>
      <p:bldP spid="34" grpId="0" animBg="1"/>
      <p:bldP spid="35" grpId="0" animBg="1"/>
      <p:bldP spid="44" grpId="0" animBg="1"/>
      <p:bldP spid="45" grpId="0" animBg="1"/>
      <p:bldP spid="46" grpId="0" animBg="1"/>
      <p:bldP spid="55" grpId="0" animBg="1"/>
      <p:bldP spid="56" grpId="0" animBg="1"/>
      <p:bldP spid="57" grpId="0" animBg="1"/>
      <p:bldP spid="78" grpId="0" animBg="1"/>
      <p:bldP spid="79" grpId="0" animBg="1"/>
      <p:bldP spid="121" grpId="0"/>
      <p:bldP spid="122" grpId="0"/>
      <p:bldP spid="123" grpId="0"/>
      <p:bldP spid="124" grpId="0"/>
      <p:bldP spid="125" grpId="0"/>
      <p:bldP spid="126" grpId="0"/>
      <p:bldP spid="127" grpId="0"/>
      <p:bldP spid="128" grpId="0"/>
      <p:bldP spid="129" grpId="0"/>
      <p:bldP spid="130" grpId="0"/>
      <p:bldP spid="131" grpId="0"/>
      <p:bldP spid="132" grpId="0"/>
      <p:bldP spid="133" grpId="0"/>
      <p:bldP spid="134" grpId="0"/>
      <p:bldP spid="135" grpId="0"/>
      <p:bldP spid="136" grpId="0"/>
      <p:bldP spid="137" grpId="0"/>
      <p:bldP spid="138" grpId="0"/>
      <p:bldP spid="139" grpId="0"/>
      <p:bldP spid="140" grpId="0"/>
    </p:bldLst>
  </p:timing>
</p:sld>
</file>

<file path=ppt/slides/slide6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Shape 91">
            <a:extLst>
              <a:ext uri="{FF2B5EF4-FFF2-40B4-BE49-F238E27FC236}">
                <a16:creationId xmlns:a16="http://schemas.microsoft.com/office/drawing/2014/main" id="{E6FA9D05-AF8D-4D03-A4E5-4C1D39A256AB}"/>
              </a:ext>
            </a:extLst>
          </p:cNvPr>
          <p:cNvSpPr/>
          <p:nvPr/>
        </p:nvSpPr>
        <p:spPr>
          <a:xfrm>
            <a:off x="-14513" y="6553200"/>
            <a:ext cx="12209996" cy="314507"/>
          </a:xfrm>
          <a:custGeom>
            <a:avLst/>
            <a:gdLst>
              <a:gd name="connsiteX0" fmla="*/ 0 w 10320963"/>
              <a:gd name="connsiteY0" fmla="*/ 0 h 696153"/>
              <a:gd name="connsiteX1" fmla="*/ 10320963 w 10320963"/>
              <a:gd name="connsiteY1" fmla="*/ 0 h 696153"/>
              <a:gd name="connsiteX2" fmla="*/ 10320963 w 10320963"/>
              <a:gd name="connsiteY2" fmla="*/ 696153 h 696153"/>
              <a:gd name="connsiteX3" fmla="*/ 0 w 10320963"/>
              <a:gd name="connsiteY3" fmla="*/ 696153 h 696153"/>
            </a:gdLst>
            <a:ahLst/>
            <a:cxnLst>
              <a:cxn ang="0">
                <a:pos x="connsiteX0" y="connsiteY0"/>
              </a:cxn>
              <a:cxn ang="0">
                <a:pos x="connsiteX1" y="connsiteY1"/>
              </a:cxn>
              <a:cxn ang="0">
                <a:pos x="connsiteX2" y="connsiteY2"/>
              </a:cxn>
              <a:cxn ang="0">
                <a:pos x="connsiteX3" y="connsiteY3"/>
              </a:cxn>
            </a:cxnLst>
            <a:rect l="l" t="t" r="r" b="b"/>
            <a:pathLst>
              <a:path w="10320963" h="696153">
                <a:moveTo>
                  <a:pt x="0" y="0"/>
                </a:moveTo>
                <a:lnTo>
                  <a:pt x="10320963" y="0"/>
                </a:lnTo>
                <a:lnTo>
                  <a:pt x="10320963" y="696153"/>
                </a:lnTo>
                <a:lnTo>
                  <a:pt x="0" y="696153"/>
                </a:lnTo>
                <a:close/>
              </a:path>
            </a:pathLst>
          </a:custGeom>
          <a:solidFill>
            <a:srgbClr val="398541"/>
          </a:solidFill>
          <a:ln w="1224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nvGrpSpPr>
          <p:cNvPr id="3" name="Group 6">
            <a:extLst>
              <a:ext uri="{FF2B5EF4-FFF2-40B4-BE49-F238E27FC236}">
                <a16:creationId xmlns:a16="http://schemas.microsoft.com/office/drawing/2014/main" id="{0D816E89-5F16-4835-B9AF-2D9B341D05F1}"/>
              </a:ext>
            </a:extLst>
          </p:cNvPr>
          <p:cNvGrpSpPr/>
          <p:nvPr/>
        </p:nvGrpSpPr>
        <p:grpSpPr>
          <a:xfrm>
            <a:off x="5657025" y="1566302"/>
            <a:ext cx="2254093" cy="1906427"/>
            <a:chOff x="5657025" y="1566302"/>
            <a:chExt cx="2254093" cy="1906427"/>
          </a:xfrm>
        </p:grpSpPr>
        <p:sp>
          <p:nvSpPr>
            <p:cNvPr id="4" name="Freeform: Shape 108">
              <a:extLst>
                <a:ext uri="{FF2B5EF4-FFF2-40B4-BE49-F238E27FC236}">
                  <a16:creationId xmlns:a16="http://schemas.microsoft.com/office/drawing/2014/main" id="{B24703B5-2D67-4D51-BB6A-415F68BDECFD}"/>
                </a:ext>
              </a:extLst>
            </p:cNvPr>
            <p:cNvSpPr/>
            <p:nvPr/>
          </p:nvSpPr>
          <p:spPr>
            <a:xfrm>
              <a:off x="5657025" y="1566302"/>
              <a:ext cx="1649406" cy="1649406"/>
            </a:xfrm>
            <a:custGeom>
              <a:avLst/>
              <a:gdLst>
                <a:gd name="connsiteX0" fmla="*/ 1424173 w 1424172"/>
                <a:gd name="connsiteY0" fmla="*/ 712086 h 1424172"/>
                <a:gd name="connsiteX1" fmla="*/ 712086 w 1424172"/>
                <a:gd name="connsiteY1" fmla="*/ 1424173 h 1424172"/>
                <a:gd name="connsiteX2" fmla="*/ 0 w 1424172"/>
                <a:gd name="connsiteY2" fmla="*/ 712086 h 1424172"/>
                <a:gd name="connsiteX3" fmla="*/ 712086 w 1424172"/>
                <a:gd name="connsiteY3" fmla="*/ 0 h 1424172"/>
                <a:gd name="connsiteX4" fmla="*/ 1424173 w 1424172"/>
                <a:gd name="connsiteY4" fmla="*/ 712086 h 14241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24172" h="1424172">
                  <a:moveTo>
                    <a:pt x="1424173" y="712086"/>
                  </a:moveTo>
                  <a:cubicBezTo>
                    <a:pt x="1424173" y="1105361"/>
                    <a:pt x="1105361" y="1424173"/>
                    <a:pt x="712086" y="1424173"/>
                  </a:cubicBezTo>
                  <a:cubicBezTo>
                    <a:pt x="318812" y="1424173"/>
                    <a:pt x="0" y="1105361"/>
                    <a:pt x="0" y="712086"/>
                  </a:cubicBezTo>
                  <a:cubicBezTo>
                    <a:pt x="0" y="318812"/>
                    <a:pt x="318812" y="0"/>
                    <a:pt x="712086" y="0"/>
                  </a:cubicBezTo>
                  <a:cubicBezTo>
                    <a:pt x="1105361" y="0"/>
                    <a:pt x="1424173" y="318812"/>
                    <a:pt x="1424173" y="712086"/>
                  </a:cubicBezTo>
                  <a:close/>
                </a:path>
              </a:pathLst>
            </a:custGeom>
            <a:solidFill>
              <a:schemeClr val="accent3"/>
            </a:solidFill>
            <a:ln w="1224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5" name="Freeform: Shape 109">
              <a:extLst>
                <a:ext uri="{FF2B5EF4-FFF2-40B4-BE49-F238E27FC236}">
                  <a16:creationId xmlns:a16="http://schemas.microsoft.com/office/drawing/2014/main" id="{60D3AC17-61AC-47A7-8773-7BFA533041E7}"/>
                </a:ext>
              </a:extLst>
            </p:cNvPr>
            <p:cNvSpPr/>
            <p:nvPr/>
          </p:nvSpPr>
          <p:spPr>
            <a:xfrm>
              <a:off x="6539925" y="1931102"/>
              <a:ext cx="1371193" cy="1371193"/>
            </a:xfrm>
            <a:custGeom>
              <a:avLst/>
              <a:gdLst>
                <a:gd name="connsiteX0" fmla="*/ 1183951 w 1183950"/>
                <a:gd name="connsiteY0" fmla="*/ 591975 h 1183950"/>
                <a:gd name="connsiteX1" fmla="*/ 591975 w 1183950"/>
                <a:gd name="connsiteY1" fmla="*/ 1183951 h 1183950"/>
                <a:gd name="connsiteX2" fmla="*/ 0 w 1183950"/>
                <a:gd name="connsiteY2" fmla="*/ 591975 h 1183950"/>
                <a:gd name="connsiteX3" fmla="*/ 591975 w 1183950"/>
                <a:gd name="connsiteY3" fmla="*/ 0 h 1183950"/>
                <a:gd name="connsiteX4" fmla="*/ 1183951 w 1183950"/>
                <a:gd name="connsiteY4" fmla="*/ 591975 h 1183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3950" h="1183950">
                  <a:moveTo>
                    <a:pt x="1183951" y="591975"/>
                  </a:moveTo>
                  <a:cubicBezTo>
                    <a:pt x="1183951" y="918914"/>
                    <a:pt x="918914" y="1183951"/>
                    <a:pt x="591975" y="1183951"/>
                  </a:cubicBezTo>
                  <a:cubicBezTo>
                    <a:pt x="265036" y="1183951"/>
                    <a:pt x="0" y="918914"/>
                    <a:pt x="0" y="591975"/>
                  </a:cubicBezTo>
                  <a:cubicBezTo>
                    <a:pt x="0" y="265036"/>
                    <a:pt x="265036" y="0"/>
                    <a:pt x="591975" y="0"/>
                  </a:cubicBezTo>
                  <a:cubicBezTo>
                    <a:pt x="918914" y="0"/>
                    <a:pt x="1183951" y="265036"/>
                    <a:pt x="1183951" y="591975"/>
                  </a:cubicBezTo>
                  <a:close/>
                </a:path>
              </a:pathLst>
            </a:custGeom>
            <a:solidFill>
              <a:schemeClr val="accent3"/>
            </a:solidFill>
            <a:ln w="1224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6" name="Freeform: Shape 111">
              <a:extLst>
                <a:ext uri="{FF2B5EF4-FFF2-40B4-BE49-F238E27FC236}">
                  <a16:creationId xmlns:a16="http://schemas.microsoft.com/office/drawing/2014/main" id="{68700AA6-FCBD-4247-91FD-25AFCC51786B}"/>
                </a:ext>
              </a:extLst>
            </p:cNvPr>
            <p:cNvSpPr/>
            <p:nvPr/>
          </p:nvSpPr>
          <p:spPr>
            <a:xfrm rot="16821151">
              <a:off x="6119954" y="2212280"/>
              <a:ext cx="1260449" cy="1260449"/>
            </a:xfrm>
            <a:custGeom>
              <a:avLst/>
              <a:gdLst>
                <a:gd name="connsiteX0" fmla="*/ 1088330 w 1088329"/>
                <a:gd name="connsiteY0" fmla="*/ 544165 h 1088329"/>
                <a:gd name="connsiteX1" fmla="*/ 544165 w 1088329"/>
                <a:gd name="connsiteY1" fmla="*/ 1088329 h 1088329"/>
                <a:gd name="connsiteX2" fmla="*/ 0 w 1088329"/>
                <a:gd name="connsiteY2" fmla="*/ 544165 h 1088329"/>
                <a:gd name="connsiteX3" fmla="*/ 544165 w 1088329"/>
                <a:gd name="connsiteY3" fmla="*/ 0 h 1088329"/>
                <a:gd name="connsiteX4" fmla="*/ 1088330 w 1088329"/>
                <a:gd name="connsiteY4" fmla="*/ 544165 h 10883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8329" h="1088329">
                  <a:moveTo>
                    <a:pt x="1088330" y="544165"/>
                  </a:moveTo>
                  <a:cubicBezTo>
                    <a:pt x="1088330" y="844698"/>
                    <a:pt x="844699" y="1088329"/>
                    <a:pt x="544165" y="1088329"/>
                  </a:cubicBezTo>
                  <a:cubicBezTo>
                    <a:pt x="243631" y="1088329"/>
                    <a:pt x="0" y="844698"/>
                    <a:pt x="0" y="544165"/>
                  </a:cubicBezTo>
                  <a:cubicBezTo>
                    <a:pt x="0" y="243631"/>
                    <a:pt x="243631" y="0"/>
                    <a:pt x="544165" y="0"/>
                  </a:cubicBezTo>
                  <a:cubicBezTo>
                    <a:pt x="844699" y="0"/>
                    <a:pt x="1088330" y="243631"/>
                    <a:pt x="1088330" y="544165"/>
                  </a:cubicBezTo>
                  <a:close/>
                </a:path>
              </a:pathLst>
            </a:custGeom>
            <a:solidFill>
              <a:schemeClr val="accent3"/>
            </a:solidFill>
            <a:ln w="1224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sp>
        <p:nvSpPr>
          <p:cNvPr id="7" name="Freeform: Shape 115">
            <a:extLst>
              <a:ext uri="{FF2B5EF4-FFF2-40B4-BE49-F238E27FC236}">
                <a16:creationId xmlns:a16="http://schemas.microsoft.com/office/drawing/2014/main" id="{836A18B2-9912-430D-8B54-75157FA61E7E}"/>
              </a:ext>
            </a:extLst>
          </p:cNvPr>
          <p:cNvSpPr/>
          <p:nvPr/>
        </p:nvSpPr>
        <p:spPr>
          <a:xfrm>
            <a:off x="5672638" y="5272500"/>
            <a:ext cx="14194" cy="282471"/>
          </a:xfrm>
          <a:custGeom>
            <a:avLst/>
            <a:gdLst>
              <a:gd name="connsiteX0" fmla="*/ 11031 w 12256"/>
              <a:gd name="connsiteY0" fmla="*/ 28190 h 243898"/>
              <a:gd name="connsiteX1" fmla="*/ 12256 w 12256"/>
              <a:gd name="connsiteY1" fmla="*/ 0 h 243898"/>
              <a:gd name="connsiteX2" fmla="*/ 9805 w 12256"/>
              <a:gd name="connsiteY2" fmla="*/ 37994 h 243898"/>
              <a:gd name="connsiteX3" fmla="*/ 8580 w 12256"/>
              <a:gd name="connsiteY3" fmla="*/ 80891 h 243898"/>
              <a:gd name="connsiteX4" fmla="*/ 7354 w 12256"/>
              <a:gd name="connsiteY4" fmla="*/ 100501 h 243898"/>
              <a:gd name="connsiteX5" fmla="*/ 6128 w 12256"/>
              <a:gd name="connsiteY5" fmla="*/ 142172 h 243898"/>
              <a:gd name="connsiteX6" fmla="*/ 4902 w 12256"/>
              <a:gd name="connsiteY6" fmla="*/ 148300 h 243898"/>
              <a:gd name="connsiteX7" fmla="*/ 4902 w 12256"/>
              <a:gd name="connsiteY7" fmla="*/ 167910 h 243898"/>
              <a:gd name="connsiteX8" fmla="*/ 2451 w 12256"/>
              <a:gd name="connsiteY8" fmla="*/ 218161 h 243898"/>
              <a:gd name="connsiteX9" fmla="*/ 1226 w 12256"/>
              <a:gd name="connsiteY9" fmla="*/ 243899 h 243898"/>
              <a:gd name="connsiteX10" fmla="*/ 0 w 12256"/>
              <a:gd name="connsiteY10" fmla="*/ 243899 h 243898"/>
              <a:gd name="connsiteX11" fmla="*/ 1226 w 12256"/>
              <a:gd name="connsiteY11" fmla="*/ 218161 h 243898"/>
              <a:gd name="connsiteX12" fmla="*/ 2451 w 12256"/>
              <a:gd name="connsiteY12" fmla="*/ 196100 h 243898"/>
              <a:gd name="connsiteX13" fmla="*/ 7354 w 12256"/>
              <a:gd name="connsiteY13" fmla="*/ 102952 h 243898"/>
              <a:gd name="connsiteX14" fmla="*/ 7354 w 12256"/>
              <a:gd name="connsiteY14" fmla="*/ 84568 h 243898"/>
              <a:gd name="connsiteX15" fmla="*/ 9805 w 12256"/>
              <a:gd name="connsiteY15" fmla="*/ 49025 h 243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256" h="243898">
                <a:moveTo>
                  <a:pt x="11031" y="28190"/>
                </a:moveTo>
                <a:lnTo>
                  <a:pt x="12256" y="0"/>
                </a:lnTo>
                <a:lnTo>
                  <a:pt x="9805" y="37994"/>
                </a:lnTo>
                <a:lnTo>
                  <a:pt x="8580" y="80891"/>
                </a:lnTo>
                <a:lnTo>
                  <a:pt x="7354" y="100501"/>
                </a:lnTo>
                <a:lnTo>
                  <a:pt x="6128" y="142172"/>
                </a:lnTo>
                <a:lnTo>
                  <a:pt x="4902" y="148300"/>
                </a:lnTo>
                <a:lnTo>
                  <a:pt x="4902" y="167910"/>
                </a:lnTo>
                <a:lnTo>
                  <a:pt x="2451" y="218161"/>
                </a:lnTo>
                <a:lnTo>
                  <a:pt x="1226" y="243899"/>
                </a:lnTo>
                <a:lnTo>
                  <a:pt x="0" y="243899"/>
                </a:lnTo>
                <a:lnTo>
                  <a:pt x="1226" y="218161"/>
                </a:lnTo>
                <a:lnTo>
                  <a:pt x="2451" y="196100"/>
                </a:lnTo>
                <a:lnTo>
                  <a:pt x="7354" y="102952"/>
                </a:lnTo>
                <a:lnTo>
                  <a:pt x="7354" y="84568"/>
                </a:lnTo>
                <a:lnTo>
                  <a:pt x="9805" y="49025"/>
                </a:lnTo>
                <a:close/>
              </a:path>
            </a:pathLst>
          </a:custGeom>
          <a:solidFill>
            <a:srgbClr val="603913"/>
          </a:solidFill>
          <a:ln w="1224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8" name="Freeform: Shape 118">
            <a:extLst>
              <a:ext uri="{FF2B5EF4-FFF2-40B4-BE49-F238E27FC236}">
                <a16:creationId xmlns:a16="http://schemas.microsoft.com/office/drawing/2014/main" id="{45BDAC14-06AA-41D5-B420-813F8F475AFA}"/>
              </a:ext>
            </a:extLst>
          </p:cNvPr>
          <p:cNvSpPr/>
          <p:nvPr/>
        </p:nvSpPr>
        <p:spPr>
          <a:xfrm>
            <a:off x="4970008" y="4508833"/>
            <a:ext cx="14194" cy="14194"/>
          </a:xfrm>
          <a:custGeom>
            <a:avLst/>
            <a:gdLst>
              <a:gd name="connsiteX0" fmla="*/ 0 w 12256"/>
              <a:gd name="connsiteY0" fmla="*/ 0 h 12256"/>
              <a:gd name="connsiteX1" fmla="*/ 0 w 12256"/>
              <a:gd name="connsiteY1" fmla="*/ 0 h 12256"/>
              <a:gd name="connsiteX2" fmla="*/ 0 w 12256"/>
              <a:gd name="connsiteY2" fmla="*/ 0 h 12256"/>
            </a:gdLst>
            <a:ahLst/>
            <a:cxnLst>
              <a:cxn ang="0">
                <a:pos x="connsiteX0" y="connsiteY0"/>
              </a:cxn>
              <a:cxn ang="0">
                <a:pos x="connsiteX1" y="connsiteY1"/>
              </a:cxn>
              <a:cxn ang="0">
                <a:pos x="connsiteX2" y="connsiteY2"/>
              </a:cxn>
            </a:cxnLst>
            <a:rect l="l" t="t" r="r" b="b"/>
            <a:pathLst>
              <a:path w="12256" h="12256">
                <a:moveTo>
                  <a:pt x="0" y="0"/>
                </a:moveTo>
                <a:lnTo>
                  <a:pt x="0" y="0"/>
                </a:lnTo>
                <a:lnTo>
                  <a:pt x="0" y="0"/>
                </a:lnTo>
                <a:close/>
              </a:path>
            </a:pathLst>
          </a:custGeom>
          <a:solidFill>
            <a:srgbClr val="B27946"/>
          </a:solidFill>
          <a:ln w="1224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9" name="Freeform: Shape 121">
            <a:extLst>
              <a:ext uri="{FF2B5EF4-FFF2-40B4-BE49-F238E27FC236}">
                <a16:creationId xmlns:a16="http://schemas.microsoft.com/office/drawing/2014/main" id="{A30ED32B-92D5-4499-86F8-810E22F43042}"/>
              </a:ext>
            </a:extLst>
          </p:cNvPr>
          <p:cNvSpPr/>
          <p:nvPr/>
        </p:nvSpPr>
        <p:spPr>
          <a:xfrm>
            <a:off x="5688253" y="5102165"/>
            <a:ext cx="7097" cy="149042"/>
          </a:xfrm>
          <a:custGeom>
            <a:avLst/>
            <a:gdLst>
              <a:gd name="connsiteX0" fmla="*/ 6128 w 6128"/>
              <a:gd name="connsiteY0" fmla="*/ 0 h 128690"/>
              <a:gd name="connsiteX1" fmla="*/ 0 w 6128"/>
              <a:gd name="connsiteY1" fmla="*/ 128690 h 128690"/>
              <a:gd name="connsiteX2" fmla="*/ 4902 w 6128"/>
              <a:gd name="connsiteY2" fmla="*/ 0 h 128690"/>
            </a:gdLst>
            <a:ahLst/>
            <a:cxnLst>
              <a:cxn ang="0">
                <a:pos x="connsiteX0" y="connsiteY0"/>
              </a:cxn>
              <a:cxn ang="0">
                <a:pos x="connsiteX1" y="connsiteY1"/>
              </a:cxn>
              <a:cxn ang="0">
                <a:pos x="connsiteX2" y="connsiteY2"/>
              </a:cxn>
            </a:cxnLst>
            <a:rect l="l" t="t" r="r" b="b"/>
            <a:pathLst>
              <a:path w="6128" h="128690">
                <a:moveTo>
                  <a:pt x="6128" y="0"/>
                </a:moveTo>
                <a:lnTo>
                  <a:pt x="0" y="128690"/>
                </a:lnTo>
                <a:lnTo>
                  <a:pt x="4902" y="0"/>
                </a:lnTo>
                <a:close/>
              </a:path>
            </a:pathLst>
          </a:custGeom>
          <a:solidFill>
            <a:srgbClr val="B27946"/>
          </a:solidFill>
          <a:ln w="1224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0" name="Freeform: Shape 127">
            <a:extLst>
              <a:ext uri="{FF2B5EF4-FFF2-40B4-BE49-F238E27FC236}">
                <a16:creationId xmlns:a16="http://schemas.microsoft.com/office/drawing/2014/main" id="{DFC07FE3-7B6D-422B-BB16-C64A76173772}"/>
              </a:ext>
            </a:extLst>
          </p:cNvPr>
          <p:cNvSpPr/>
          <p:nvPr/>
        </p:nvSpPr>
        <p:spPr>
          <a:xfrm>
            <a:off x="4970008" y="4508833"/>
            <a:ext cx="14194" cy="14194"/>
          </a:xfrm>
          <a:custGeom>
            <a:avLst/>
            <a:gdLst>
              <a:gd name="connsiteX0" fmla="*/ 0 w 12256"/>
              <a:gd name="connsiteY0" fmla="*/ 0 h 12256"/>
              <a:gd name="connsiteX1" fmla="*/ 0 w 12256"/>
              <a:gd name="connsiteY1" fmla="*/ 0 h 12256"/>
              <a:gd name="connsiteX2" fmla="*/ 0 w 12256"/>
              <a:gd name="connsiteY2" fmla="*/ 0 h 12256"/>
            </a:gdLst>
            <a:ahLst/>
            <a:cxnLst>
              <a:cxn ang="0">
                <a:pos x="connsiteX0" y="connsiteY0"/>
              </a:cxn>
              <a:cxn ang="0">
                <a:pos x="connsiteX1" y="connsiteY1"/>
              </a:cxn>
              <a:cxn ang="0">
                <a:pos x="connsiteX2" y="connsiteY2"/>
              </a:cxn>
            </a:cxnLst>
            <a:rect l="l" t="t" r="r" b="b"/>
            <a:pathLst>
              <a:path w="12256" h="12256">
                <a:moveTo>
                  <a:pt x="0" y="0"/>
                </a:moveTo>
                <a:lnTo>
                  <a:pt x="0" y="0"/>
                </a:lnTo>
                <a:lnTo>
                  <a:pt x="0" y="0"/>
                </a:lnTo>
                <a:close/>
              </a:path>
            </a:pathLst>
          </a:custGeom>
          <a:solidFill>
            <a:srgbClr val="754C29"/>
          </a:solidFill>
          <a:ln w="1224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1" name="Freeform: Shape 129">
            <a:extLst>
              <a:ext uri="{FF2B5EF4-FFF2-40B4-BE49-F238E27FC236}">
                <a16:creationId xmlns:a16="http://schemas.microsoft.com/office/drawing/2014/main" id="{C9EF9D22-6540-4A07-9D72-7EB5EDA91879}"/>
              </a:ext>
            </a:extLst>
          </p:cNvPr>
          <p:cNvSpPr/>
          <p:nvPr/>
        </p:nvSpPr>
        <p:spPr>
          <a:xfrm>
            <a:off x="6706002" y="4109966"/>
            <a:ext cx="14194" cy="14194"/>
          </a:xfrm>
          <a:custGeom>
            <a:avLst/>
            <a:gdLst>
              <a:gd name="connsiteX0" fmla="*/ 0 w 12256"/>
              <a:gd name="connsiteY0" fmla="*/ 0 h 12256"/>
              <a:gd name="connsiteX1" fmla="*/ 0 w 12256"/>
              <a:gd name="connsiteY1" fmla="*/ 0 h 12256"/>
              <a:gd name="connsiteX2" fmla="*/ 0 w 12256"/>
              <a:gd name="connsiteY2" fmla="*/ 0 h 12256"/>
            </a:gdLst>
            <a:ahLst/>
            <a:cxnLst>
              <a:cxn ang="0">
                <a:pos x="connsiteX0" y="connsiteY0"/>
              </a:cxn>
              <a:cxn ang="0">
                <a:pos x="connsiteX1" y="connsiteY1"/>
              </a:cxn>
              <a:cxn ang="0">
                <a:pos x="connsiteX2" y="connsiteY2"/>
              </a:cxn>
            </a:cxnLst>
            <a:rect l="l" t="t" r="r" b="b"/>
            <a:pathLst>
              <a:path w="12256" h="12256">
                <a:moveTo>
                  <a:pt x="0" y="0"/>
                </a:moveTo>
                <a:lnTo>
                  <a:pt x="0" y="0"/>
                </a:lnTo>
                <a:lnTo>
                  <a:pt x="0" y="0"/>
                </a:lnTo>
                <a:close/>
              </a:path>
            </a:pathLst>
          </a:custGeom>
          <a:solidFill>
            <a:srgbClr val="B27946"/>
          </a:solidFill>
          <a:ln w="1224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2" name="Freeform: Shape 130">
            <a:extLst>
              <a:ext uri="{FF2B5EF4-FFF2-40B4-BE49-F238E27FC236}">
                <a16:creationId xmlns:a16="http://schemas.microsoft.com/office/drawing/2014/main" id="{02F6F479-17B9-4CAC-94B1-8CF70E50DA3D}"/>
              </a:ext>
            </a:extLst>
          </p:cNvPr>
          <p:cNvSpPr/>
          <p:nvPr/>
        </p:nvSpPr>
        <p:spPr>
          <a:xfrm>
            <a:off x="6483148" y="4081577"/>
            <a:ext cx="14194" cy="14194"/>
          </a:xfrm>
          <a:custGeom>
            <a:avLst/>
            <a:gdLst>
              <a:gd name="connsiteX0" fmla="*/ 0 w 12256"/>
              <a:gd name="connsiteY0" fmla="*/ 0 h 12256"/>
              <a:gd name="connsiteX1" fmla="*/ 0 w 12256"/>
              <a:gd name="connsiteY1" fmla="*/ 0 h 12256"/>
              <a:gd name="connsiteX2" fmla="*/ 0 w 12256"/>
              <a:gd name="connsiteY2" fmla="*/ 0 h 12256"/>
            </a:gdLst>
            <a:ahLst/>
            <a:cxnLst>
              <a:cxn ang="0">
                <a:pos x="connsiteX0" y="connsiteY0"/>
              </a:cxn>
              <a:cxn ang="0">
                <a:pos x="connsiteX1" y="connsiteY1"/>
              </a:cxn>
              <a:cxn ang="0">
                <a:pos x="connsiteX2" y="connsiteY2"/>
              </a:cxn>
            </a:cxnLst>
            <a:rect l="l" t="t" r="r" b="b"/>
            <a:pathLst>
              <a:path w="12256" h="12256">
                <a:moveTo>
                  <a:pt x="0" y="0"/>
                </a:moveTo>
                <a:lnTo>
                  <a:pt x="0" y="0"/>
                </a:lnTo>
                <a:lnTo>
                  <a:pt x="0" y="0"/>
                </a:lnTo>
                <a:close/>
              </a:path>
            </a:pathLst>
          </a:custGeom>
          <a:solidFill>
            <a:srgbClr val="B27946"/>
          </a:solidFill>
          <a:ln w="1224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3" name="Freeform: Shape 131">
            <a:extLst>
              <a:ext uri="{FF2B5EF4-FFF2-40B4-BE49-F238E27FC236}">
                <a16:creationId xmlns:a16="http://schemas.microsoft.com/office/drawing/2014/main" id="{2A3ED76A-2A2F-48DE-82B1-DD40BBD884D2}"/>
              </a:ext>
            </a:extLst>
          </p:cNvPr>
          <p:cNvSpPr/>
          <p:nvPr/>
        </p:nvSpPr>
        <p:spPr>
          <a:xfrm>
            <a:off x="6483148" y="4081577"/>
            <a:ext cx="14194" cy="14194"/>
          </a:xfrm>
          <a:custGeom>
            <a:avLst/>
            <a:gdLst>
              <a:gd name="connsiteX0" fmla="*/ 0 w 12256"/>
              <a:gd name="connsiteY0" fmla="*/ 0 h 12256"/>
              <a:gd name="connsiteX1" fmla="*/ 0 w 12256"/>
              <a:gd name="connsiteY1" fmla="*/ 0 h 12256"/>
              <a:gd name="connsiteX2" fmla="*/ 0 w 12256"/>
              <a:gd name="connsiteY2" fmla="*/ 0 h 12256"/>
            </a:gdLst>
            <a:ahLst/>
            <a:cxnLst>
              <a:cxn ang="0">
                <a:pos x="connsiteX0" y="connsiteY0"/>
              </a:cxn>
              <a:cxn ang="0">
                <a:pos x="connsiteX1" y="connsiteY1"/>
              </a:cxn>
              <a:cxn ang="0">
                <a:pos x="connsiteX2" y="connsiteY2"/>
              </a:cxn>
            </a:cxnLst>
            <a:rect l="l" t="t" r="r" b="b"/>
            <a:pathLst>
              <a:path w="12256" h="12256">
                <a:moveTo>
                  <a:pt x="0" y="0"/>
                </a:moveTo>
                <a:lnTo>
                  <a:pt x="0" y="0"/>
                </a:lnTo>
                <a:lnTo>
                  <a:pt x="0" y="0"/>
                </a:lnTo>
                <a:close/>
              </a:path>
            </a:pathLst>
          </a:custGeom>
          <a:solidFill>
            <a:srgbClr val="754C29"/>
          </a:solidFill>
          <a:ln w="1224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nvGrpSpPr>
          <p:cNvPr id="14" name="Group 4">
            <a:extLst>
              <a:ext uri="{FF2B5EF4-FFF2-40B4-BE49-F238E27FC236}">
                <a16:creationId xmlns:a16="http://schemas.microsoft.com/office/drawing/2014/main" id="{F8A1E5F1-2F9F-4950-B011-0627D52BEEDB}"/>
              </a:ext>
            </a:extLst>
          </p:cNvPr>
          <p:cNvGrpSpPr/>
          <p:nvPr/>
        </p:nvGrpSpPr>
        <p:grpSpPr>
          <a:xfrm>
            <a:off x="4148143" y="3740907"/>
            <a:ext cx="3520250" cy="3127613"/>
            <a:chOff x="4148143" y="3740907"/>
            <a:chExt cx="3520250" cy="3127613"/>
          </a:xfrm>
        </p:grpSpPr>
        <p:sp>
          <p:nvSpPr>
            <p:cNvPr id="15" name="Freeform: Shape 112">
              <a:extLst>
                <a:ext uri="{FF2B5EF4-FFF2-40B4-BE49-F238E27FC236}">
                  <a16:creationId xmlns:a16="http://schemas.microsoft.com/office/drawing/2014/main" id="{EBC2F203-1503-4606-8BF6-617BE07C8FB3}"/>
                </a:ext>
              </a:extLst>
            </p:cNvPr>
            <p:cNvSpPr/>
            <p:nvPr/>
          </p:nvSpPr>
          <p:spPr>
            <a:xfrm>
              <a:off x="6490245" y="3756522"/>
              <a:ext cx="190206" cy="407383"/>
            </a:xfrm>
            <a:custGeom>
              <a:avLst/>
              <a:gdLst>
                <a:gd name="connsiteX0" fmla="*/ 0 w 164233"/>
                <a:gd name="connsiteY0" fmla="*/ 345625 h 351753"/>
                <a:gd name="connsiteX1" fmla="*/ 164233 w 164233"/>
                <a:gd name="connsiteY1" fmla="*/ 351753 h 351753"/>
                <a:gd name="connsiteX2" fmla="*/ 131142 w 164233"/>
                <a:gd name="connsiteY2" fmla="*/ 55153 h 351753"/>
                <a:gd name="connsiteX3" fmla="*/ 25738 w 164233"/>
                <a:gd name="connsiteY3" fmla="*/ 0 h 351753"/>
                <a:gd name="connsiteX4" fmla="*/ 0 w 164233"/>
                <a:gd name="connsiteY4" fmla="*/ 345625 h 3517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4233" h="351753">
                  <a:moveTo>
                    <a:pt x="0" y="345625"/>
                  </a:moveTo>
                  <a:lnTo>
                    <a:pt x="164233" y="351753"/>
                  </a:lnTo>
                  <a:lnTo>
                    <a:pt x="131142" y="55153"/>
                  </a:lnTo>
                  <a:lnTo>
                    <a:pt x="25738" y="0"/>
                  </a:lnTo>
                  <a:lnTo>
                    <a:pt x="0" y="345625"/>
                  </a:lnTo>
                  <a:close/>
                </a:path>
              </a:pathLst>
            </a:custGeom>
            <a:solidFill>
              <a:srgbClr val="B27946"/>
            </a:solidFill>
            <a:ln w="1224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6" name="Freeform: Shape 113">
              <a:extLst>
                <a:ext uri="{FF2B5EF4-FFF2-40B4-BE49-F238E27FC236}">
                  <a16:creationId xmlns:a16="http://schemas.microsoft.com/office/drawing/2014/main" id="{513D7298-5B5D-41E8-BAF4-67045471140A}"/>
                </a:ext>
              </a:extLst>
            </p:cNvPr>
            <p:cNvSpPr/>
            <p:nvPr/>
          </p:nvSpPr>
          <p:spPr>
            <a:xfrm>
              <a:off x="6490245" y="4109966"/>
              <a:ext cx="215756" cy="95103"/>
            </a:xfrm>
            <a:custGeom>
              <a:avLst/>
              <a:gdLst>
                <a:gd name="connsiteX0" fmla="*/ 186295 w 186294"/>
                <a:gd name="connsiteY0" fmla="*/ 0 h 82116"/>
                <a:gd name="connsiteX1" fmla="*/ 51476 w 186294"/>
                <a:gd name="connsiteY1" fmla="*/ 82117 h 82116"/>
                <a:gd name="connsiteX2" fmla="*/ 0 w 186294"/>
                <a:gd name="connsiteY2" fmla="*/ 40445 h 82116"/>
                <a:gd name="connsiteX3" fmla="*/ 0 w 186294"/>
                <a:gd name="connsiteY3" fmla="*/ 40445 h 82116"/>
                <a:gd name="connsiteX4" fmla="*/ 178941 w 186294"/>
                <a:gd name="connsiteY4" fmla="*/ 1226 h 821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6294" h="82116">
                  <a:moveTo>
                    <a:pt x="186295" y="0"/>
                  </a:moveTo>
                  <a:lnTo>
                    <a:pt x="51476" y="82117"/>
                  </a:lnTo>
                  <a:lnTo>
                    <a:pt x="0" y="40445"/>
                  </a:lnTo>
                  <a:lnTo>
                    <a:pt x="0" y="40445"/>
                  </a:lnTo>
                  <a:lnTo>
                    <a:pt x="178941" y="1226"/>
                  </a:lnTo>
                  <a:close/>
                </a:path>
              </a:pathLst>
            </a:custGeom>
            <a:solidFill>
              <a:srgbClr val="754C29"/>
            </a:solidFill>
            <a:ln w="1224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7" name="Freeform: Shape 114">
              <a:extLst>
                <a:ext uri="{FF2B5EF4-FFF2-40B4-BE49-F238E27FC236}">
                  <a16:creationId xmlns:a16="http://schemas.microsoft.com/office/drawing/2014/main" id="{B5AC240D-997A-4993-ACD0-D1D3F0266784}"/>
                </a:ext>
              </a:extLst>
            </p:cNvPr>
            <p:cNvSpPr/>
            <p:nvPr/>
          </p:nvSpPr>
          <p:spPr>
            <a:xfrm>
              <a:off x="6887692" y="4146871"/>
              <a:ext cx="564943" cy="709727"/>
            </a:xfrm>
            <a:custGeom>
              <a:avLst/>
              <a:gdLst>
                <a:gd name="connsiteX0" fmla="*/ 487797 w 487797"/>
                <a:gd name="connsiteY0" fmla="*/ 0 h 612810"/>
                <a:gd name="connsiteX1" fmla="*/ 474316 w 487797"/>
                <a:gd name="connsiteY1" fmla="*/ 42897 h 612810"/>
                <a:gd name="connsiteX2" fmla="*/ 393425 w 487797"/>
                <a:gd name="connsiteY2" fmla="*/ 294149 h 612810"/>
                <a:gd name="connsiteX3" fmla="*/ 393425 w 487797"/>
                <a:gd name="connsiteY3" fmla="*/ 294149 h 612810"/>
                <a:gd name="connsiteX4" fmla="*/ 357882 w 487797"/>
                <a:gd name="connsiteY4" fmla="*/ 323564 h 612810"/>
                <a:gd name="connsiteX5" fmla="*/ 346851 w 487797"/>
                <a:gd name="connsiteY5" fmla="*/ 330918 h 612810"/>
                <a:gd name="connsiteX6" fmla="*/ 280667 w 487797"/>
                <a:gd name="connsiteY6" fmla="*/ 384845 h 612810"/>
                <a:gd name="connsiteX7" fmla="*/ 203453 w 487797"/>
                <a:gd name="connsiteY7" fmla="*/ 447352 h 612810"/>
                <a:gd name="connsiteX8" fmla="*/ 166685 w 487797"/>
                <a:gd name="connsiteY8" fmla="*/ 476767 h 612810"/>
                <a:gd name="connsiteX9" fmla="*/ 11031 w 487797"/>
                <a:gd name="connsiteY9" fmla="*/ 604231 h 612810"/>
                <a:gd name="connsiteX10" fmla="*/ 9805 w 487797"/>
                <a:gd name="connsiteY10" fmla="*/ 605457 h 612810"/>
                <a:gd name="connsiteX11" fmla="*/ 0 w 487797"/>
                <a:gd name="connsiteY11" fmla="*/ 612811 h 612810"/>
                <a:gd name="connsiteX12" fmla="*/ 11031 w 487797"/>
                <a:gd name="connsiteY12" fmla="*/ 319887 h 612810"/>
                <a:gd name="connsiteX13" fmla="*/ 11031 w 487797"/>
                <a:gd name="connsiteY13" fmla="*/ 313759 h 612810"/>
                <a:gd name="connsiteX14" fmla="*/ 12256 w 487797"/>
                <a:gd name="connsiteY14" fmla="*/ 284344 h 612810"/>
                <a:gd name="connsiteX15" fmla="*/ 24512 w 487797"/>
                <a:gd name="connsiteY15" fmla="*/ 276991 h 612810"/>
                <a:gd name="connsiteX16" fmla="*/ 170361 w 487797"/>
                <a:gd name="connsiteY16" fmla="*/ 189971 h 612810"/>
                <a:gd name="connsiteX17" fmla="*/ 213258 w 487797"/>
                <a:gd name="connsiteY17" fmla="*/ 164233 h 612810"/>
                <a:gd name="connsiteX18" fmla="*/ 230417 w 487797"/>
                <a:gd name="connsiteY18" fmla="*/ 154428 h 612810"/>
                <a:gd name="connsiteX19" fmla="*/ 270863 w 487797"/>
                <a:gd name="connsiteY19" fmla="*/ 129916 h 612810"/>
                <a:gd name="connsiteX20" fmla="*/ 404455 w 487797"/>
                <a:gd name="connsiteY20" fmla="*/ 50251 h 612810"/>
                <a:gd name="connsiteX21" fmla="*/ 446127 w 487797"/>
                <a:gd name="connsiteY21" fmla="*/ 25738 h 612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87797" h="612810">
                  <a:moveTo>
                    <a:pt x="487797" y="0"/>
                  </a:moveTo>
                  <a:lnTo>
                    <a:pt x="474316" y="42897"/>
                  </a:lnTo>
                  <a:lnTo>
                    <a:pt x="393425" y="294149"/>
                  </a:lnTo>
                  <a:lnTo>
                    <a:pt x="393425" y="294149"/>
                  </a:lnTo>
                  <a:lnTo>
                    <a:pt x="357882" y="323564"/>
                  </a:lnTo>
                  <a:lnTo>
                    <a:pt x="346851" y="330918"/>
                  </a:lnTo>
                  <a:lnTo>
                    <a:pt x="280667" y="384845"/>
                  </a:lnTo>
                  <a:lnTo>
                    <a:pt x="203453" y="447352"/>
                  </a:lnTo>
                  <a:lnTo>
                    <a:pt x="166685" y="476767"/>
                  </a:lnTo>
                  <a:lnTo>
                    <a:pt x="11031" y="604231"/>
                  </a:lnTo>
                  <a:lnTo>
                    <a:pt x="9805" y="605457"/>
                  </a:lnTo>
                  <a:lnTo>
                    <a:pt x="0" y="612811"/>
                  </a:lnTo>
                  <a:lnTo>
                    <a:pt x="11031" y="319887"/>
                  </a:lnTo>
                  <a:lnTo>
                    <a:pt x="11031" y="313759"/>
                  </a:lnTo>
                  <a:lnTo>
                    <a:pt x="12256" y="284344"/>
                  </a:lnTo>
                  <a:lnTo>
                    <a:pt x="24512" y="276991"/>
                  </a:lnTo>
                  <a:lnTo>
                    <a:pt x="170361" y="189971"/>
                  </a:lnTo>
                  <a:lnTo>
                    <a:pt x="213258" y="164233"/>
                  </a:lnTo>
                  <a:lnTo>
                    <a:pt x="230417" y="154428"/>
                  </a:lnTo>
                  <a:lnTo>
                    <a:pt x="270863" y="129916"/>
                  </a:lnTo>
                  <a:lnTo>
                    <a:pt x="404455" y="50251"/>
                  </a:lnTo>
                  <a:lnTo>
                    <a:pt x="446127" y="25738"/>
                  </a:lnTo>
                  <a:close/>
                </a:path>
              </a:pathLst>
            </a:custGeom>
            <a:solidFill>
              <a:srgbClr val="B27946"/>
            </a:solidFill>
            <a:ln w="1224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8" name="Freeform: Shape 116">
              <a:extLst>
                <a:ext uri="{FF2B5EF4-FFF2-40B4-BE49-F238E27FC236}">
                  <a16:creationId xmlns:a16="http://schemas.microsoft.com/office/drawing/2014/main" id="{8808FDB0-34E6-410E-B54E-18E00D925A5E}"/>
                </a:ext>
              </a:extLst>
            </p:cNvPr>
            <p:cNvSpPr/>
            <p:nvPr/>
          </p:nvSpPr>
          <p:spPr>
            <a:xfrm>
              <a:off x="4524299" y="4581226"/>
              <a:ext cx="1171050" cy="943937"/>
            </a:xfrm>
            <a:custGeom>
              <a:avLst/>
              <a:gdLst>
                <a:gd name="connsiteX0" fmla="*/ 1011138 w 1011138"/>
                <a:gd name="connsiteY0" fmla="*/ 449803 h 815038"/>
                <a:gd name="connsiteX1" fmla="*/ 1005010 w 1011138"/>
                <a:gd name="connsiteY1" fmla="*/ 578493 h 815038"/>
                <a:gd name="connsiteX2" fmla="*/ 1003784 w 1011138"/>
                <a:gd name="connsiteY2" fmla="*/ 596878 h 815038"/>
                <a:gd name="connsiteX3" fmla="*/ 1001333 w 1011138"/>
                <a:gd name="connsiteY3" fmla="*/ 634872 h 815038"/>
                <a:gd name="connsiteX4" fmla="*/ 1000108 w 1011138"/>
                <a:gd name="connsiteY4" fmla="*/ 677769 h 815038"/>
                <a:gd name="connsiteX5" fmla="*/ 998882 w 1011138"/>
                <a:gd name="connsiteY5" fmla="*/ 697379 h 815038"/>
                <a:gd name="connsiteX6" fmla="*/ 997656 w 1011138"/>
                <a:gd name="connsiteY6" fmla="*/ 739050 h 815038"/>
                <a:gd name="connsiteX7" fmla="*/ 996431 w 1011138"/>
                <a:gd name="connsiteY7" fmla="*/ 745178 h 815038"/>
                <a:gd name="connsiteX8" fmla="*/ 996431 w 1011138"/>
                <a:gd name="connsiteY8" fmla="*/ 764788 h 815038"/>
                <a:gd name="connsiteX9" fmla="*/ 993980 w 1011138"/>
                <a:gd name="connsiteY9" fmla="*/ 815039 h 815038"/>
                <a:gd name="connsiteX10" fmla="*/ 992754 w 1011138"/>
                <a:gd name="connsiteY10" fmla="*/ 815039 h 815038"/>
                <a:gd name="connsiteX11" fmla="*/ 962113 w 1011138"/>
                <a:gd name="connsiteY11" fmla="*/ 796654 h 815038"/>
                <a:gd name="connsiteX12" fmla="*/ 0 w 1011138"/>
                <a:gd name="connsiteY12" fmla="*/ 219386 h 815038"/>
                <a:gd name="connsiteX13" fmla="*/ 96824 w 1011138"/>
                <a:gd name="connsiteY13" fmla="*/ 0 h 815038"/>
                <a:gd name="connsiteX14" fmla="*/ 328467 w 1011138"/>
                <a:gd name="connsiteY14" fmla="*/ 116434 h 815038"/>
                <a:gd name="connsiteX15" fmla="*/ 601781 w 1011138"/>
                <a:gd name="connsiteY15" fmla="*/ 253704 h 815038"/>
                <a:gd name="connsiteX16" fmla="*/ 979272 w 1011138"/>
                <a:gd name="connsiteY16" fmla="*/ 435096 h 815038"/>
                <a:gd name="connsiteX17" fmla="*/ 987851 w 1011138"/>
                <a:gd name="connsiteY17" fmla="*/ 438773 h 815038"/>
                <a:gd name="connsiteX18" fmla="*/ 1009913 w 1011138"/>
                <a:gd name="connsiteY18" fmla="*/ 449803 h 815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011138" h="815038">
                  <a:moveTo>
                    <a:pt x="1011138" y="449803"/>
                  </a:moveTo>
                  <a:lnTo>
                    <a:pt x="1005010" y="578493"/>
                  </a:lnTo>
                  <a:lnTo>
                    <a:pt x="1003784" y="596878"/>
                  </a:lnTo>
                  <a:lnTo>
                    <a:pt x="1001333" y="634872"/>
                  </a:lnTo>
                  <a:lnTo>
                    <a:pt x="1000108" y="677769"/>
                  </a:lnTo>
                  <a:lnTo>
                    <a:pt x="998882" y="697379"/>
                  </a:lnTo>
                  <a:lnTo>
                    <a:pt x="997656" y="739050"/>
                  </a:lnTo>
                  <a:lnTo>
                    <a:pt x="996431" y="745178"/>
                  </a:lnTo>
                  <a:lnTo>
                    <a:pt x="996431" y="764788"/>
                  </a:lnTo>
                  <a:lnTo>
                    <a:pt x="993980" y="815039"/>
                  </a:lnTo>
                  <a:lnTo>
                    <a:pt x="992754" y="815039"/>
                  </a:lnTo>
                  <a:lnTo>
                    <a:pt x="962113" y="796654"/>
                  </a:lnTo>
                  <a:lnTo>
                    <a:pt x="0" y="219386"/>
                  </a:lnTo>
                  <a:lnTo>
                    <a:pt x="96824" y="0"/>
                  </a:lnTo>
                  <a:lnTo>
                    <a:pt x="328467" y="116434"/>
                  </a:lnTo>
                  <a:lnTo>
                    <a:pt x="601781" y="253704"/>
                  </a:lnTo>
                  <a:lnTo>
                    <a:pt x="979272" y="435096"/>
                  </a:lnTo>
                  <a:lnTo>
                    <a:pt x="987851" y="438773"/>
                  </a:lnTo>
                  <a:lnTo>
                    <a:pt x="1009913" y="449803"/>
                  </a:lnTo>
                  <a:close/>
                </a:path>
              </a:pathLst>
            </a:custGeom>
            <a:solidFill>
              <a:srgbClr val="B27946"/>
            </a:solidFill>
            <a:ln w="1224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9" name="Freeform: Shape 117">
              <a:extLst>
                <a:ext uri="{FF2B5EF4-FFF2-40B4-BE49-F238E27FC236}">
                  <a16:creationId xmlns:a16="http://schemas.microsoft.com/office/drawing/2014/main" id="{42DAB9E4-486C-41F1-8219-C5C20DDA03EB}"/>
                </a:ext>
              </a:extLst>
            </p:cNvPr>
            <p:cNvSpPr/>
            <p:nvPr/>
          </p:nvSpPr>
          <p:spPr>
            <a:xfrm>
              <a:off x="4148143" y="3740907"/>
              <a:ext cx="821864" cy="837478"/>
            </a:xfrm>
            <a:custGeom>
              <a:avLst/>
              <a:gdLst>
                <a:gd name="connsiteX0" fmla="*/ 709635 w 709635"/>
                <a:gd name="connsiteY0" fmla="*/ 663062 h 723116"/>
                <a:gd name="connsiteX1" fmla="*/ 433870 w 709635"/>
                <a:gd name="connsiteY1" fmla="*/ 723117 h 723116"/>
                <a:gd name="connsiteX2" fmla="*/ 425291 w 709635"/>
                <a:gd name="connsiteY2" fmla="*/ 710861 h 723116"/>
                <a:gd name="connsiteX3" fmla="*/ 247576 w 709635"/>
                <a:gd name="connsiteY3" fmla="*/ 441224 h 723116"/>
                <a:gd name="connsiteX4" fmla="*/ 113983 w 709635"/>
                <a:gd name="connsiteY4" fmla="*/ 254929 h 723116"/>
                <a:gd name="connsiteX5" fmla="*/ 0 w 709635"/>
                <a:gd name="connsiteY5" fmla="*/ 98050 h 723116"/>
                <a:gd name="connsiteX6" fmla="*/ 150751 w 709635"/>
                <a:gd name="connsiteY6" fmla="*/ 0 h 723116"/>
                <a:gd name="connsiteX7" fmla="*/ 708409 w 709635"/>
                <a:gd name="connsiteY7" fmla="*/ 663062 h 723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09635" h="723116">
                  <a:moveTo>
                    <a:pt x="709635" y="663062"/>
                  </a:moveTo>
                  <a:lnTo>
                    <a:pt x="433870" y="723117"/>
                  </a:lnTo>
                  <a:lnTo>
                    <a:pt x="425291" y="710861"/>
                  </a:lnTo>
                  <a:lnTo>
                    <a:pt x="247576" y="441224"/>
                  </a:lnTo>
                  <a:lnTo>
                    <a:pt x="113983" y="254929"/>
                  </a:lnTo>
                  <a:lnTo>
                    <a:pt x="0" y="98050"/>
                  </a:lnTo>
                  <a:lnTo>
                    <a:pt x="150751" y="0"/>
                  </a:lnTo>
                  <a:lnTo>
                    <a:pt x="708409" y="663062"/>
                  </a:lnTo>
                  <a:close/>
                </a:path>
              </a:pathLst>
            </a:custGeom>
            <a:solidFill>
              <a:srgbClr val="B27946"/>
            </a:solidFill>
            <a:ln w="1224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0" name="Freeform: Shape 119">
              <a:extLst>
                <a:ext uri="{FF2B5EF4-FFF2-40B4-BE49-F238E27FC236}">
                  <a16:creationId xmlns:a16="http://schemas.microsoft.com/office/drawing/2014/main" id="{31839370-B2AB-47ED-A8B2-A97D82CB40CD}"/>
                </a:ext>
              </a:extLst>
            </p:cNvPr>
            <p:cNvSpPr/>
            <p:nvPr/>
          </p:nvSpPr>
          <p:spPr>
            <a:xfrm>
              <a:off x="5604506" y="3919759"/>
              <a:ext cx="765086" cy="2948761"/>
            </a:xfrm>
            <a:custGeom>
              <a:avLst/>
              <a:gdLst>
                <a:gd name="connsiteX0" fmla="*/ 660610 w 660610"/>
                <a:gd name="connsiteY0" fmla="*/ 2718430 h 2718429"/>
                <a:gd name="connsiteX1" fmla="*/ 0 w 660610"/>
                <a:gd name="connsiteY1" fmla="*/ 2718430 h 2718429"/>
                <a:gd name="connsiteX2" fmla="*/ 35543 w 660610"/>
                <a:gd name="connsiteY2" fmla="*/ 1940159 h 2718429"/>
                <a:gd name="connsiteX3" fmla="*/ 35543 w 660610"/>
                <a:gd name="connsiteY3" fmla="*/ 1940159 h 2718429"/>
                <a:gd name="connsiteX4" fmla="*/ 35543 w 660610"/>
                <a:gd name="connsiteY4" fmla="*/ 1936483 h 2718429"/>
                <a:gd name="connsiteX5" fmla="*/ 39220 w 660610"/>
                <a:gd name="connsiteY5" fmla="*/ 1873976 h 2718429"/>
                <a:gd name="connsiteX6" fmla="*/ 40445 w 660610"/>
                <a:gd name="connsiteY6" fmla="*/ 1843335 h 2718429"/>
                <a:gd name="connsiteX7" fmla="*/ 40445 w 660610"/>
                <a:gd name="connsiteY7" fmla="*/ 1822500 h 2718429"/>
                <a:gd name="connsiteX8" fmla="*/ 41671 w 660610"/>
                <a:gd name="connsiteY8" fmla="*/ 1816372 h 2718429"/>
                <a:gd name="connsiteX9" fmla="*/ 42897 w 660610"/>
                <a:gd name="connsiteY9" fmla="*/ 1791859 h 2718429"/>
                <a:gd name="connsiteX10" fmla="*/ 63732 w 660610"/>
                <a:gd name="connsiteY10" fmla="*/ 1335928 h 2718429"/>
                <a:gd name="connsiteX11" fmla="*/ 63732 w 660610"/>
                <a:gd name="connsiteY11" fmla="*/ 1316318 h 2718429"/>
                <a:gd name="connsiteX12" fmla="*/ 64958 w 660610"/>
                <a:gd name="connsiteY12" fmla="*/ 1310190 h 2718429"/>
                <a:gd name="connsiteX13" fmla="*/ 66184 w 660610"/>
                <a:gd name="connsiteY13" fmla="*/ 1268519 h 2718429"/>
                <a:gd name="connsiteX14" fmla="*/ 67409 w 660610"/>
                <a:gd name="connsiteY14" fmla="*/ 1248909 h 2718429"/>
                <a:gd name="connsiteX15" fmla="*/ 68635 w 660610"/>
                <a:gd name="connsiteY15" fmla="*/ 1206012 h 2718429"/>
                <a:gd name="connsiteX16" fmla="*/ 71086 w 660610"/>
                <a:gd name="connsiteY16" fmla="*/ 1168018 h 2718429"/>
                <a:gd name="connsiteX17" fmla="*/ 72312 w 660610"/>
                <a:gd name="connsiteY17" fmla="*/ 1149633 h 2718429"/>
                <a:gd name="connsiteX18" fmla="*/ 78440 w 660610"/>
                <a:gd name="connsiteY18" fmla="*/ 1020943 h 2718429"/>
                <a:gd name="connsiteX19" fmla="*/ 77214 w 660610"/>
                <a:gd name="connsiteY19" fmla="*/ 1020943 h 2718429"/>
                <a:gd name="connsiteX20" fmla="*/ 123788 w 660610"/>
                <a:gd name="connsiteY20" fmla="*/ 0 h 2718429"/>
                <a:gd name="connsiteX21" fmla="*/ 528243 w 660610"/>
                <a:gd name="connsiteY21" fmla="*/ 0 h 2718429"/>
                <a:gd name="connsiteX22" fmla="*/ 547853 w 660610"/>
                <a:gd name="connsiteY22" fmla="*/ 411809 h 2718429"/>
                <a:gd name="connsiteX23" fmla="*/ 562560 w 660610"/>
                <a:gd name="connsiteY23" fmla="*/ 714537 h 2718429"/>
                <a:gd name="connsiteX24" fmla="*/ 567463 w 660610"/>
                <a:gd name="connsiteY24" fmla="*/ 801557 h 2718429"/>
                <a:gd name="connsiteX25" fmla="*/ 567463 w 660610"/>
                <a:gd name="connsiteY25" fmla="*/ 819941 h 2718429"/>
                <a:gd name="connsiteX26" fmla="*/ 571140 w 660610"/>
                <a:gd name="connsiteY26" fmla="*/ 882448 h 2718429"/>
                <a:gd name="connsiteX27" fmla="*/ 577268 w 660610"/>
                <a:gd name="connsiteY27" fmla="*/ 1024620 h 2718429"/>
                <a:gd name="connsiteX28" fmla="*/ 578493 w 660610"/>
                <a:gd name="connsiteY28" fmla="*/ 1038102 h 2718429"/>
                <a:gd name="connsiteX29" fmla="*/ 579719 w 660610"/>
                <a:gd name="connsiteY29" fmla="*/ 1063840 h 2718429"/>
                <a:gd name="connsiteX30" fmla="*/ 580945 w 660610"/>
                <a:gd name="connsiteY30" fmla="*/ 1087127 h 2718429"/>
                <a:gd name="connsiteX31" fmla="*/ 587073 w 660610"/>
                <a:gd name="connsiteY31" fmla="*/ 1217043 h 2718429"/>
                <a:gd name="connsiteX32" fmla="*/ 589524 w 660610"/>
                <a:gd name="connsiteY32" fmla="*/ 1262391 h 2718429"/>
                <a:gd name="connsiteX33" fmla="*/ 590750 w 660610"/>
                <a:gd name="connsiteY33" fmla="*/ 1283226 h 2718429"/>
                <a:gd name="connsiteX34" fmla="*/ 591975 w 660610"/>
                <a:gd name="connsiteY34" fmla="*/ 1318769 h 2718429"/>
                <a:gd name="connsiteX35" fmla="*/ 593201 w 660610"/>
                <a:gd name="connsiteY35" fmla="*/ 1338379 h 2718429"/>
                <a:gd name="connsiteX36" fmla="*/ 598103 w 660610"/>
                <a:gd name="connsiteY36" fmla="*/ 1430301 h 2718429"/>
                <a:gd name="connsiteX37" fmla="*/ 599329 w 660610"/>
                <a:gd name="connsiteY37" fmla="*/ 1452362 h 2718429"/>
                <a:gd name="connsiteX38" fmla="*/ 600555 w 660610"/>
                <a:gd name="connsiteY38" fmla="*/ 1478100 h 2718429"/>
                <a:gd name="connsiteX39" fmla="*/ 605457 w 660610"/>
                <a:gd name="connsiteY39" fmla="*/ 1584729 h 2718429"/>
                <a:gd name="connsiteX40" fmla="*/ 612811 w 660610"/>
                <a:gd name="connsiteY40" fmla="*/ 1746511 h 2718429"/>
                <a:gd name="connsiteX41" fmla="*/ 618939 w 660610"/>
                <a:gd name="connsiteY41" fmla="*/ 1877653 h 2718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660610" h="2718429">
                  <a:moveTo>
                    <a:pt x="660610" y="2718430"/>
                  </a:moveTo>
                  <a:lnTo>
                    <a:pt x="0" y="2718430"/>
                  </a:lnTo>
                  <a:lnTo>
                    <a:pt x="35543" y="1940159"/>
                  </a:lnTo>
                  <a:lnTo>
                    <a:pt x="35543" y="1940159"/>
                  </a:lnTo>
                  <a:lnTo>
                    <a:pt x="35543" y="1936483"/>
                  </a:lnTo>
                  <a:lnTo>
                    <a:pt x="39220" y="1873976"/>
                  </a:lnTo>
                  <a:lnTo>
                    <a:pt x="40445" y="1843335"/>
                  </a:lnTo>
                  <a:lnTo>
                    <a:pt x="40445" y="1822500"/>
                  </a:lnTo>
                  <a:lnTo>
                    <a:pt x="41671" y="1816372"/>
                  </a:lnTo>
                  <a:lnTo>
                    <a:pt x="42897" y="1791859"/>
                  </a:lnTo>
                  <a:lnTo>
                    <a:pt x="63732" y="1335928"/>
                  </a:lnTo>
                  <a:lnTo>
                    <a:pt x="63732" y="1316318"/>
                  </a:lnTo>
                  <a:lnTo>
                    <a:pt x="64958" y="1310190"/>
                  </a:lnTo>
                  <a:lnTo>
                    <a:pt x="66184" y="1268519"/>
                  </a:lnTo>
                  <a:lnTo>
                    <a:pt x="67409" y="1248909"/>
                  </a:lnTo>
                  <a:lnTo>
                    <a:pt x="68635" y="1206012"/>
                  </a:lnTo>
                  <a:lnTo>
                    <a:pt x="71086" y="1168018"/>
                  </a:lnTo>
                  <a:lnTo>
                    <a:pt x="72312" y="1149633"/>
                  </a:lnTo>
                  <a:lnTo>
                    <a:pt x="78440" y="1020943"/>
                  </a:lnTo>
                  <a:lnTo>
                    <a:pt x="77214" y="1020943"/>
                  </a:lnTo>
                  <a:lnTo>
                    <a:pt x="123788" y="0"/>
                  </a:lnTo>
                  <a:lnTo>
                    <a:pt x="528243" y="0"/>
                  </a:lnTo>
                  <a:lnTo>
                    <a:pt x="547853" y="411809"/>
                  </a:lnTo>
                  <a:lnTo>
                    <a:pt x="562560" y="714537"/>
                  </a:lnTo>
                  <a:lnTo>
                    <a:pt x="567463" y="801557"/>
                  </a:lnTo>
                  <a:lnTo>
                    <a:pt x="567463" y="819941"/>
                  </a:lnTo>
                  <a:lnTo>
                    <a:pt x="571140" y="882448"/>
                  </a:lnTo>
                  <a:lnTo>
                    <a:pt x="577268" y="1024620"/>
                  </a:lnTo>
                  <a:lnTo>
                    <a:pt x="578493" y="1038102"/>
                  </a:lnTo>
                  <a:lnTo>
                    <a:pt x="579719" y="1063840"/>
                  </a:lnTo>
                  <a:lnTo>
                    <a:pt x="580945" y="1087127"/>
                  </a:lnTo>
                  <a:lnTo>
                    <a:pt x="587073" y="1217043"/>
                  </a:lnTo>
                  <a:lnTo>
                    <a:pt x="589524" y="1262391"/>
                  </a:lnTo>
                  <a:lnTo>
                    <a:pt x="590750" y="1283226"/>
                  </a:lnTo>
                  <a:lnTo>
                    <a:pt x="591975" y="1318769"/>
                  </a:lnTo>
                  <a:lnTo>
                    <a:pt x="593201" y="1338379"/>
                  </a:lnTo>
                  <a:lnTo>
                    <a:pt x="598103" y="1430301"/>
                  </a:lnTo>
                  <a:lnTo>
                    <a:pt x="599329" y="1452362"/>
                  </a:lnTo>
                  <a:lnTo>
                    <a:pt x="600555" y="1478100"/>
                  </a:lnTo>
                  <a:lnTo>
                    <a:pt x="605457" y="1584729"/>
                  </a:lnTo>
                  <a:lnTo>
                    <a:pt x="612811" y="1746511"/>
                  </a:lnTo>
                  <a:lnTo>
                    <a:pt x="618939" y="1877653"/>
                  </a:lnTo>
                  <a:close/>
                </a:path>
              </a:pathLst>
            </a:custGeom>
            <a:solidFill>
              <a:srgbClr val="B27946"/>
            </a:solidFill>
            <a:ln w="1224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1" name="Freeform: Shape 120">
              <a:extLst>
                <a:ext uri="{FF2B5EF4-FFF2-40B4-BE49-F238E27FC236}">
                  <a16:creationId xmlns:a16="http://schemas.microsoft.com/office/drawing/2014/main" id="{352F2CCA-8712-4BF5-9C6D-BB81DC87AF96}"/>
                </a:ext>
              </a:extLst>
            </p:cNvPr>
            <p:cNvSpPr/>
            <p:nvPr/>
          </p:nvSpPr>
          <p:spPr>
            <a:xfrm>
              <a:off x="5638571" y="5085131"/>
              <a:ext cx="56777" cy="440031"/>
            </a:xfrm>
            <a:custGeom>
              <a:avLst/>
              <a:gdLst>
                <a:gd name="connsiteX0" fmla="*/ 49025 w 49024"/>
                <a:gd name="connsiteY0" fmla="*/ 14707 h 379942"/>
                <a:gd name="connsiteX1" fmla="*/ 42897 w 49024"/>
                <a:gd name="connsiteY1" fmla="*/ 143398 h 379942"/>
                <a:gd name="connsiteX2" fmla="*/ 41671 w 49024"/>
                <a:gd name="connsiteY2" fmla="*/ 161782 h 379942"/>
                <a:gd name="connsiteX3" fmla="*/ 39220 w 49024"/>
                <a:gd name="connsiteY3" fmla="*/ 199776 h 379942"/>
                <a:gd name="connsiteX4" fmla="*/ 37994 w 49024"/>
                <a:gd name="connsiteY4" fmla="*/ 242673 h 379942"/>
                <a:gd name="connsiteX5" fmla="*/ 36769 w 49024"/>
                <a:gd name="connsiteY5" fmla="*/ 262283 h 379942"/>
                <a:gd name="connsiteX6" fmla="*/ 35543 w 49024"/>
                <a:gd name="connsiteY6" fmla="*/ 303954 h 379942"/>
                <a:gd name="connsiteX7" fmla="*/ 34317 w 49024"/>
                <a:gd name="connsiteY7" fmla="*/ 310082 h 379942"/>
                <a:gd name="connsiteX8" fmla="*/ 34317 w 49024"/>
                <a:gd name="connsiteY8" fmla="*/ 329692 h 379942"/>
                <a:gd name="connsiteX9" fmla="*/ 31866 w 49024"/>
                <a:gd name="connsiteY9" fmla="*/ 379943 h 379942"/>
                <a:gd name="connsiteX10" fmla="*/ 30641 w 49024"/>
                <a:gd name="connsiteY10" fmla="*/ 379943 h 379942"/>
                <a:gd name="connsiteX11" fmla="*/ 0 w 49024"/>
                <a:gd name="connsiteY11" fmla="*/ 361558 h 379942"/>
                <a:gd name="connsiteX12" fmla="*/ 1226 w 49024"/>
                <a:gd name="connsiteY12" fmla="*/ 329692 h 379942"/>
                <a:gd name="connsiteX13" fmla="*/ 2451 w 49024"/>
                <a:gd name="connsiteY13" fmla="*/ 310082 h 379942"/>
                <a:gd name="connsiteX14" fmla="*/ 2451 w 49024"/>
                <a:gd name="connsiteY14" fmla="*/ 303954 h 379942"/>
                <a:gd name="connsiteX15" fmla="*/ 4902 w 49024"/>
                <a:gd name="connsiteY15" fmla="*/ 262283 h 379942"/>
                <a:gd name="connsiteX16" fmla="*/ 6128 w 49024"/>
                <a:gd name="connsiteY16" fmla="*/ 242673 h 379942"/>
                <a:gd name="connsiteX17" fmla="*/ 7354 w 49024"/>
                <a:gd name="connsiteY17" fmla="*/ 199776 h 379942"/>
                <a:gd name="connsiteX18" fmla="*/ 9805 w 49024"/>
                <a:gd name="connsiteY18" fmla="*/ 161782 h 379942"/>
                <a:gd name="connsiteX19" fmla="*/ 9805 w 49024"/>
                <a:gd name="connsiteY19" fmla="*/ 143398 h 379942"/>
                <a:gd name="connsiteX20" fmla="*/ 15933 w 49024"/>
                <a:gd name="connsiteY20" fmla="*/ 14707 h 379942"/>
                <a:gd name="connsiteX21" fmla="*/ 15933 w 49024"/>
                <a:gd name="connsiteY21" fmla="*/ 14707 h 379942"/>
                <a:gd name="connsiteX22" fmla="*/ 17159 w 49024"/>
                <a:gd name="connsiteY22" fmla="*/ 0 h 379942"/>
                <a:gd name="connsiteX23" fmla="*/ 25738 w 49024"/>
                <a:gd name="connsiteY23" fmla="*/ 3677 h 379942"/>
                <a:gd name="connsiteX24" fmla="*/ 47799 w 49024"/>
                <a:gd name="connsiteY24" fmla="*/ 14707 h 379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49024" h="379942">
                  <a:moveTo>
                    <a:pt x="49025" y="14707"/>
                  </a:moveTo>
                  <a:lnTo>
                    <a:pt x="42897" y="143398"/>
                  </a:lnTo>
                  <a:lnTo>
                    <a:pt x="41671" y="161782"/>
                  </a:lnTo>
                  <a:lnTo>
                    <a:pt x="39220" y="199776"/>
                  </a:lnTo>
                  <a:lnTo>
                    <a:pt x="37994" y="242673"/>
                  </a:lnTo>
                  <a:lnTo>
                    <a:pt x="36769" y="262283"/>
                  </a:lnTo>
                  <a:lnTo>
                    <a:pt x="35543" y="303954"/>
                  </a:lnTo>
                  <a:lnTo>
                    <a:pt x="34317" y="310082"/>
                  </a:lnTo>
                  <a:lnTo>
                    <a:pt x="34317" y="329692"/>
                  </a:lnTo>
                  <a:lnTo>
                    <a:pt x="31866" y="379943"/>
                  </a:lnTo>
                  <a:lnTo>
                    <a:pt x="30641" y="379943"/>
                  </a:lnTo>
                  <a:lnTo>
                    <a:pt x="0" y="361558"/>
                  </a:lnTo>
                  <a:lnTo>
                    <a:pt x="1226" y="329692"/>
                  </a:lnTo>
                  <a:lnTo>
                    <a:pt x="2451" y="310082"/>
                  </a:lnTo>
                  <a:lnTo>
                    <a:pt x="2451" y="303954"/>
                  </a:lnTo>
                  <a:lnTo>
                    <a:pt x="4902" y="262283"/>
                  </a:lnTo>
                  <a:lnTo>
                    <a:pt x="6128" y="242673"/>
                  </a:lnTo>
                  <a:lnTo>
                    <a:pt x="7354" y="199776"/>
                  </a:lnTo>
                  <a:lnTo>
                    <a:pt x="9805" y="161782"/>
                  </a:lnTo>
                  <a:lnTo>
                    <a:pt x="9805" y="143398"/>
                  </a:lnTo>
                  <a:lnTo>
                    <a:pt x="15933" y="14707"/>
                  </a:lnTo>
                  <a:lnTo>
                    <a:pt x="15933" y="14707"/>
                  </a:lnTo>
                  <a:lnTo>
                    <a:pt x="17159" y="0"/>
                  </a:lnTo>
                  <a:lnTo>
                    <a:pt x="25738" y="3677"/>
                  </a:lnTo>
                  <a:lnTo>
                    <a:pt x="47799" y="14707"/>
                  </a:lnTo>
                  <a:close/>
                </a:path>
              </a:pathLst>
            </a:custGeom>
            <a:solidFill>
              <a:srgbClr val="754C29"/>
            </a:solidFill>
            <a:ln w="1224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2" name="Freeform: Shape 122">
              <a:extLst>
                <a:ext uri="{FF2B5EF4-FFF2-40B4-BE49-F238E27FC236}">
                  <a16:creationId xmlns:a16="http://schemas.microsoft.com/office/drawing/2014/main" id="{B2DCD19A-688B-40B1-839D-7ADEA7B3BC0C}"/>
                </a:ext>
              </a:extLst>
            </p:cNvPr>
            <p:cNvSpPr/>
            <p:nvPr/>
          </p:nvSpPr>
          <p:spPr>
            <a:xfrm>
              <a:off x="5651347" y="5122037"/>
              <a:ext cx="654368" cy="908451"/>
            </a:xfrm>
            <a:custGeom>
              <a:avLst/>
              <a:gdLst>
                <a:gd name="connsiteX0" fmla="*/ 565012 w 565011"/>
                <a:gd name="connsiteY0" fmla="*/ 546627 h 784398"/>
                <a:gd name="connsiteX1" fmla="*/ 565012 w 565011"/>
                <a:gd name="connsiteY1" fmla="*/ 546627 h 784398"/>
                <a:gd name="connsiteX2" fmla="*/ 0 w 565011"/>
                <a:gd name="connsiteY2" fmla="*/ 784398 h 784398"/>
                <a:gd name="connsiteX3" fmla="*/ 1226 w 565011"/>
                <a:gd name="connsiteY3" fmla="*/ 778270 h 784398"/>
                <a:gd name="connsiteX4" fmla="*/ 2451 w 565011"/>
                <a:gd name="connsiteY4" fmla="*/ 753758 h 784398"/>
                <a:gd name="connsiteX5" fmla="*/ 23287 w 565011"/>
                <a:gd name="connsiteY5" fmla="*/ 297826 h 784398"/>
                <a:gd name="connsiteX6" fmla="*/ 538048 w 565011"/>
                <a:gd name="connsiteY6" fmla="*/ 0 h 784398"/>
                <a:gd name="connsiteX7" fmla="*/ 539274 w 565011"/>
                <a:gd name="connsiteY7" fmla="*/ 25738 h 784398"/>
                <a:gd name="connsiteX8" fmla="*/ 540499 w 565011"/>
                <a:gd name="connsiteY8" fmla="*/ 49025 h 784398"/>
                <a:gd name="connsiteX9" fmla="*/ 546628 w 565011"/>
                <a:gd name="connsiteY9" fmla="*/ 178941 h 784398"/>
                <a:gd name="connsiteX10" fmla="*/ 549079 w 565011"/>
                <a:gd name="connsiteY10" fmla="*/ 224289 h 784398"/>
                <a:gd name="connsiteX11" fmla="*/ 550304 w 565011"/>
                <a:gd name="connsiteY11" fmla="*/ 245124 h 784398"/>
                <a:gd name="connsiteX12" fmla="*/ 551530 w 565011"/>
                <a:gd name="connsiteY12" fmla="*/ 280668 h 784398"/>
                <a:gd name="connsiteX13" fmla="*/ 552756 w 565011"/>
                <a:gd name="connsiteY13" fmla="*/ 300277 h 784398"/>
                <a:gd name="connsiteX14" fmla="*/ 557658 w 565011"/>
                <a:gd name="connsiteY14" fmla="*/ 392199 h 784398"/>
                <a:gd name="connsiteX15" fmla="*/ 558884 w 565011"/>
                <a:gd name="connsiteY15" fmla="*/ 414260 h 7843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65011" h="784398">
                  <a:moveTo>
                    <a:pt x="565012" y="546627"/>
                  </a:moveTo>
                  <a:lnTo>
                    <a:pt x="565012" y="546627"/>
                  </a:lnTo>
                  <a:lnTo>
                    <a:pt x="0" y="784398"/>
                  </a:lnTo>
                  <a:lnTo>
                    <a:pt x="1226" y="778270"/>
                  </a:lnTo>
                  <a:lnTo>
                    <a:pt x="2451" y="753758"/>
                  </a:lnTo>
                  <a:lnTo>
                    <a:pt x="23287" y="297826"/>
                  </a:lnTo>
                  <a:lnTo>
                    <a:pt x="538048" y="0"/>
                  </a:lnTo>
                  <a:lnTo>
                    <a:pt x="539274" y="25738"/>
                  </a:lnTo>
                  <a:lnTo>
                    <a:pt x="540499" y="49025"/>
                  </a:lnTo>
                  <a:lnTo>
                    <a:pt x="546628" y="178941"/>
                  </a:lnTo>
                  <a:lnTo>
                    <a:pt x="549079" y="224289"/>
                  </a:lnTo>
                  <a:lnTo>
                    <a:pt x="550304" y="245124"/>
                  </a:lnTo>
                  <a:lnTo>
                    <a:pt x="551530" y="280668"/>
                  </a:lnTo>
                  <a:lnTo>
                    <a:pt x="552756" y="300277"/>
                  </a:lnTo>
                  <a:lnTo>
                    <a:pt x="557658" y="392199"/>
                  </a:lnTo>
                  <a:lnTo>
                    <a:pt x="558884" y="414260"/>
                  </a:lnTo>
                  <a:close/>
                </a:path>
              </a:pathLst>
            </a:custGeom>
            <a:solidFill>
              <a:srgbClr val="754C29"/>
            </a:solidFill>
            <a:ln w="1224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3" name="Freeform: Shape 123">
              <a:extLst>
                <a:ext uri="{FF2B5EF4-FFF2-40B4-BE49-F238E27FC236}">
                  <a16:creationId xmlns:a16="http://schemas.microsoft.com/office/drawing/2014/main" id="{56900719-F0AB-4744-B2D1-5C87D0089C8C}"/>
                </a:ext>
              </a:extLst>
            </p:cNvPr>
            <p:cNvSpPr/>
            <p:nvPr/>
          </p:nvSpPr>
          <p:spPr>
            <a:xfrm>
              <a:off x="5652767" y="4811177"/>
              <a:ext cx="1389645" cy="1212214"/>
            </a:xfrm>
            <a:custGeom>
              <a:avLst/>
              <a:gdLst>
                <a:gd name="connsiteX0" fmla="*/ 1199884 w 1199883"/>
                <a:gd name="connsiteY0" fmla="*/ 0 h 1046681"/>
                <a:gd name="connsiteX1" fmla="*/ 1198658 w 1199883"/>
                <a:gd name="connsiteY1" fmla="*/ 2451 h 1046681"/>
                <a:gd name="connsiteX2" fmla="*/ 1180274 w 1199883"/>
                <a:gd name="connsiteY2" fmla="*/ 101727 h 1046681"/>
                <a:gd name="connsiteX3" fmla="*/ 908186 w 1199883"/>
                <a:gd name="connsiteY3" fmla="*/ 452254 h 1046681"/>
                <a:gd name="connsiteX4" fmla="*/ 908186 w 1199883"/>
                <a:gd name="connsiteY4" fmla="*/ 453480 h 1046681"/>
                <a:gd name="connsiteX5" fmla="*/ 893478 w 1199883"/>
                <a:gd name="connsiteY5" fmla="*/ 462060 h 1046681"/>
                <a:gd name="connsiteX6" fmla="*/ 826069 w 1199883"/>
                <a:gd name="connsiteY6" fmla="*/ 507407 h 1046681"/>
                <a:gd name="connsiteX7" fmla="*/ 824844 w 1199883"/>
                <a:gd name="connsiteY7" fmla="*/ 507407 h 1046681"/>
                <a:gd name="connsiteX8" fmla="*/ 557658 w 1199883"/>
                <a:gd name="connsiteY8" fmla="*/ 682672 h 1046681"/>
                <a:gd name="connsiteX9" fmla="*/ 469413 w 1199883"/>
                <a:gd name="connsiteY9" fmla="*/ 740276 h 1046681"/>
                <a:gd name="connsiteX10" fmla="*/ 316210 w 1199883"/>
                <a:gd name="connsiteY10" fmla="*/ 839551 h 1046681"/>
                <a:gd name="connsiteX11" fmla="*/ 0 w 1199883"/>
                <a:gd name="connsiteY11" fmla="*/ 1046681 h 1046681"/>
                <a:gd name="connsiteX12" fmla="*/ 1226 w 1199883"/>
                <a:gd name="connsiteY12" fmla="*/ 1022169 h 1046681"/>
                <a:gd name="connsiteX13" fmla="*/ 22061 w 1199883"/>
                <a:gd name="connsiteY13" fmla="*/ 566238 h 1046681"/>
                <a:gd name="connsiteX14" fmla="*/ 296601 w 1199883"/>
                <a:gd name="connsiteY14" fmla="*/ 433870 h 1046681"/>
                <a:gd name="connsiteX15" fmla="*/ 539274 w 1199883"/>
                <a:gd name="connsiteY15" fmla="*/ 317436 h 1046681"/>
                <a:gd name="connsiteX16" fmla="*/ 561335 w 1199883"/>
                <a:gd name="connsiteY16" fmla="*/ 307631 h 1046681"/>
                <a:gd name="connsiteX17" fmla="*/ 824844 w 1199883"/>
                <a:gd name="connsiteY17" fmla="*/ 180167 h 1046681"/>
                <a:gd name="connsiteX18" fmla="*/ 947406 w 1199883"/>
                <a:gd name="connsiteY18" fmla="*/ 121337 h 1046681"/>
                <a:gd name="connsiteX19" fmla="*/ 1194982 w 1199883"/>
                <a:gd name="connsiteY19" fmla="*/ 2451 h 1046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199883" h="1046681">
                  <a:moveTo>
                    <a:pt x="1199884" y="0"/>
                  </a:moveTo>
                  <a:lnTo>
                    <a:pt x="1198658" y="2451"/>
                  </a:lnTo>
                  <a:lnTo>
                    <a:pt x="1180274" y="101727"/>
                  </a:lnTo>
                  <a:lnTo>
                    <a:pt x="908186" y="452254"/>
                  </a:lnTo>
                  <a:lnTo>
                    <a:pt x="908186" y="453480"/>
                  </a:lnTo>
                  <a:lnTo>
                    <a:pt x="893478" y="462060"/>
                  </a:lnTo>
                  <a:lnTo>
                    <a:pt x="826069" y="507407"/>
                  </a:lnTo>
                  <a:lnTo>
                    <a:pt x="824844" y="507407"/>
                  </a:lnTo>
                  <a:lnTo>
                    <a:pt x="557658" y="682672"/>
                  </a:lnTo>
                  <a:lnTo>
                    <a:pt x="469413" y="740276"/>
                  </a:lnTo>
                  <a:lnTo>
                    <a:pt x="316210" y="839551"/>
                  </a:lnTo>
                  <a:lnTo>
                    <a:pt x="0" y="1046681"/>
                  </a:lnTo>
                  <a:lnTo>
                    <a:pt x="1226" y="1022169"/>
                  </a:lnTo>
                  <a:lnTo>
                    <a:pt x="22061" y="566238"/>
                  </a:lnTo>
                  <a:lnTo>
                    <a:pt x="296601" y="433870"/>
                  </a:lnTo>
                  <a:lnTo>
                    <a:pt x="539274" y="317436"/>
                  </a:lnTo>
                  <a:lnTo>
                    <a:pt x="561335" y="307631"/>
                  </a:lnTo>
                  <a:lnTo>
                    <a:pt x="824844" y="180167"/>
                  </a:lnTo>
                  <a:lnTo>
                    <a:pt x="947406" y="121337"/>
                  </a:lnTo>
                  <a:lnTo>
                    <a:pt x="1194982" y="2451"/>
                  </a:lnTo>
                  <a:close/>
                </a:path>
              </a:pathLst>
            </a:custGeom>
            <a:solidFill>
              <a:srgbClr val="B27946"/>
            </a:solidFill>
            <a:ln w="1224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4" name="Freeform: Shape 124">
              <a:extLst>
                <a:ext uri="{FF2B5EF4-FFF2-40B4-BE49-F238E27FC236}">
                  <a16:creationId xmlns:a16="http://schemas.microsoft.com/office/drawing/2014/main" id="{70695A74-8C55-4FA2-8A8C-76FF3311CAAD}"/>
                </a:ext>
              </a:extLst>
            </p:cNvPr>
            <p:cNvSpPr/>
            <p:nvPr/>
          </p:nvSpPr>
          <p:spPr>
            <a:xfrm>
              <a:off x="7343338" y="3912663"/>
              <a:ext cx="325055" cy="574878"/>
            </a:xfrm>
            <a:custGeom>
              <a:avLst/>
              <a:gdLst>
                <a:gd name="connsiteX0" fmla="*/ 280667 w 280667"/>
                <a:gd name="connsiteY0" fmla="*/ 0 h 496376"/>
                <a:gd name="connsiteX1" fmla="*/ 212033 w 280667"/>
                <a:gd name="connsiteY1" fmla="*/ 328467 h 496376"/>
                <a:gd name="connsiteX2" fmla="*/ 0 w 280667"/>
                <a:gd name="connsiteY2" fmla="*/ 496377 h 496376"/>
                <a:gd name="connsiteX3" fmla="*/ 0 w 280667"/>
                <a:gd name="connsiteY3" fmla="*/ 496377 h 496376"/>
                <a:gd name="connsiteX4" fmla="*/ 131141 w 280667"/>
                <a:gd name="connsiteY4" fmla="*/ 88245 h 4963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667" h="496376">
                  <a:moveTo>
                    <a:pt x="280667" y="0"/>
                  </a:moveTo>
                  <a:lnTo>
                    <a:pt x="212033" y="328467"/>
                  </a:lnTo>
                  <a:lnTo>
                    <a:pt x="0" y="496377"/>
                  </a:lnTo>
                  <a:lnTo>
                    <a:pt x="0" y="496377"/>
                  </a:lnTo>
                  <a:lnTo>
                    <a:pt x="131141" y="88245"/>
                  </a:lnTo>
                  <a:close/>
                </a:path>
              </a:pathLst>
            </a:custGeom>
            <a:solidFill>
              <a:srgbClr val="B27946"/>
            </a:solidFill>
            <a:ln w="1224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5" name="Freeform: Shape 125">
              <a:extLst>
                <a:ext uri="{FF2B5EF4-FFF2-40B4-BE49-F238E27FC236}">
                  <a16:creationId xmlns:a16="http://schemas.microsoft.com/office/drawing/2014/main" id="{ABE98941-C7B8-47AD-AA88-27550C24D4D9}"/>
                </a:ext>
              </a:extLst>
            </p:cNvPr>
            <p:cNvSpPr/>
            <p:nvPr/>
          </p:nvSpPr>
          <p:spPr>
            <a:xfrm>
              <a:off x="7343338" y="4146871"/>
              <a:ext cx="109297" cy="340669"/>
            </a:xfrm>
            <a:custGeom>
              <a:avLst/>
              <a:gdLst>
                <a:gd name="connsiteX0" fmla="*/ 94373 w 94372"/>
                <a:gd name="connsiteY0" fmla="*/ 0 h 294149"/>
                <a:gd name="connsiteX1" fmla="*/ 80891 w 94372"/>
                <a:gd name="connsiteY1" fmla="*/ 42897 h 294149"/>
                <a:gd name="connsiteX2" fmla="*/ 0 w 94372"/>
                <a:gd name="connsiteY2" fmla="*/ 294149 h 294149"/>
                <a:gd name="connsiteX3" fmla="*/ 0 w 94372"/>
                <a:gd name="connsiteY3" fmla="*/ 294149 h 294149"/>
                <a:gd name="connsiteX4" fmla="*/ 52702 w 94372"/>
                <a:gd name="connsiteY4" fmla="*/ 25738 h 2941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372" h="294149">
                  <a:moveTo>
                    <a:pt x="94373" y="0"/>
                  </a:moveTo>
                  <a:lnTo>
                    <a:pt x="80891" y="42897"/>
                  </a:lnTo>
                  <a:lnTo>
                    <a:pt x="0" y="294149"/>
                  </a:lnTo>
                  <a:lnTo>
                    <a:pt x="0" y="294149"/>
                  </a:lnTo>
                  <a:lnTo>
                    <a:pt x="52702" y="25738"/>
                  </a:lnTo>
                  <a:close/>
                </a:path>
              </a:pathLst>
            </a:custGeom>
            <a:solidFill>
              <a:srgbClr val="754C29"/>
            </a:solidFill>
            <a:ln w="1224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6" name="Freeform: Shape 126">
              <a:extLst>
                <a:ext uri="{FF2B5EF4-FFF2-40B4-BE49-F238E27FC236}">
                  <a16:creationId xmlns:a16="http://schemas.microsoft.com/office/drawing/2014/main" id="{6AD8B10A-EAB4-4DA0-910C-96F048BD2FAD}"/>
                </a:ext>
              </a:extLst>
            </p:cNvPr>
            <p:cNvSpPr/>
            <p:nvPr/>
          </p:nvSpPr>
          <p:spPr>
            <a:xfrm>
              <a:off x="4636436" y="4508833"/>
              <a:ext cx="333572" cy="207239"/>
            </a:xfrm>
            <a:custGeom>
              <a:avLst/>
              <a:gdLst>
                <a:gd name="connsiteX0" fmla="*/ 288021 w 288021"/>
                <a:gd name="connsiteY0" fmla="*/ 0 h 178940"/>
                <a:gd name="connsiteX1" fmla="*/ 288021 w 288021"/>
                <a:gd name="connsiteY1" fmla="*/ 0 h 178940"/>
                <a:gd name="connsiteX2" fmla="*/ 231643 w 288021"/>
                <a:gd name="connsiteY2" fmla="*/ 178941 h 178940"/>
                <a:gd name="connsiteX3" fmla="*/ 0 w 288021"/>
                <a:gd name="connsiteY3" fmla="*/ 62507 h 178940"/>
                <a:gd name="connsiteX4" fmla="*/ 12256 w 288021"/>
                <a:gd name="connsiteY4" fmla="*/ 60055 h 178940"/>
                <a:gd name="connsiteX5" fmla="*/ 288021 w 288021"/>
                <a:gd name="connsiteY5" fmla="*/ 0 h 178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8021" h="178940">
                  <a:moveTo>
                    <a:pt x="288021" y="0"/>
                  </a:moveTo>
                  <a:lnTo>
                    <a:pt x="288021" y="0"/>
                  </a:lnTo>
                  <a:lnTo>
                    <a:pt x="231643" y="178941"/>
                  </a:lnTo>
                  <a:lnTo>
                    <a:pt x="0" y="62507"/>
                  </a:lnTo>
                  <a:lnTo>
                    <a:pt x="12256" y="60055"/>
                  </a:lnTo>
                  <a:lnTo>
                    <a:pt x="288021" y="0"/>
                  </a:lnTo>
                  <a:close/>
                </a:path>
              </a:pathLst>
            </a:custGeom>
            <a:solidFill>
              <a:srgbClr val="754C29"/>
            </a:solidFill>
            <a:ln w="1224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7" name="Freeform: Shape 128">
              <a:extLst>
                <a:ext uri="{FF2B5EF4-FFF2-40B4-BE49-F238E27FC236}">
                  <a16:creationId xmlns:a16="http://schemas.microsoft.com/office/drawing/2014/main" id="{2AF161CF-B026-472F-85BD-D2EA4A39AA66}"/>
                </a:ext>
              </a:extLst>
            </p:cNvPr>
            <p:cNvSpPr/>
            <p:nvPr/>
          </p:nvSpPr>
          <p:spPr>
            <a:xfrm>
              <a:off x="6239000" y="4109966"/>
              <a:ext cx="555006" cy="637335"/>
            </a:xfrm>
            <a:custGeom>
              <a:avLst/>
              <a:gdLst>
                <a:gd name="connsiteX0" fmla="*/ 479218 w 479218"/>
                <a:gd name="connsiteY0" fmla="*/ 138495 h 550304"/>
                <a:gd name="connsiteX1" fmla="*/ 26964 w 479218"/>
                <a:gd name="connsiteY1" fmla="*/ 540499 h 550304"/>
                <a:gd name="connsiteX2" fmla="*/ 14708 w 479218"/>
                <a:gd name="connsiteY2" fmla="*/ 550304 h 550304"/>
                <a:gd name="connsiteX3" fmla="*/ 0 w 479218"/>
                <a:gd name="connsiteY3" fmla="*/ 247576 h 550304"/>
                <a:gd name="connsiteX4" fmla="*/ 12256 w 479218"/>
                <a:gd name="connsiteY4" fmla="*/ 240222 h 550304"/>
                <a:gd name="connsiteX5" fmla="*/ 85794 w 479218"/>
                <a:gd name="connsiteY5" fmla="*/ 196100 h 550304"/>
                <a:gd name="connsiteX6" fmla="*/ 257381 w 479218"/>
                <a:gd name="connsiteY6" fmla="*/ 89470 h 550304"/>
                <a:gd name="connsiteX7" fmla="*/ 268412 w 479218"/>
                <a:gd name="connsiteY7" fmla="*/ 82117 h 550304"/>
                <a:gd name="connsiteX8" fmla="*/ 403230 w 479218"/>
                <a:gd name="connsiteY8" fmla="*/ 0 h 550304"/>
                <a:gd name="connsiteX9" fmla="*/ 403230 w 479218"/>
                <a:gd name="connsiteY9" fmla="*/ 0 h 550304"/>
                <a:gd name="connsiteX10" fmla="*/ 403230 w 479218"/>
                <a:gd name="connsiteY10" fmla="*/ 0 h 550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79218" h="550304">
                  <a:moveTo>
                    <a:pt x="479218" y="138495"/>
                  </a:moveTo>
                  <a:lnTo>
                    <a:pt x="26964" y="540499"/>
                  </a:lnTo>
                  <a:lnTo>
                    <a:pt x="14708" y="550304"/>
                  </a:lnTo>
                  <a:lnTo>
                    <a:pt x="0" y="247576"/>
                  </a:lnTo>
                  <a:lnTo>
                    <a:pt x="12256" y="240222"/>
                  </a:lnTo>
                  <a:lnTo>
                    <a:pt x="85794" y="196100"/>
                  </a:lnTo>
                  <a:lnTo>
                    <a:pt x="257381" y="89470"/>
                  </a:lnTo>
                  <a:lnTo>
                    <a:pt x="268412" y="82117"/>
                  </a:lnTo>
                  <a:lnTo>
                    <a:pt x="403230" y="0"/>
                  </a:lnTo>
                  <a:lnTo>
                    <a:pt x="403230" y="0"/>
                  </a:lnTo>
                  <a:lnTo>
                    <a:pt x="403230" y="0"/>
                  </a:lnTo>
                  <a:close/>
                </a:path>
              </a:pathLst>
            </a:custGeom>
            <a:solidFill>
              <a:srgbClr val="B27946"/>
            </a:solidFill>
            <a:ln w="1224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8" name="Freeform: Shape 132">
              <a:extLst>
                <a:ext uri="{FF2B5EF4-FFF2-40B4-BE49-F238E27FC236}">
                  <a16:creationId xmlns:a16="http://schemas.microsoft.com/office/drawing/2014/main" id="{B4689943-684F-43C1-85A9-F81122F24E5F}"/>
                </a:ext>
              </a:extLst>
            </p:cNvPr>
            <p:cNvSpPr/>
            <p:nvPr/>
          </p:nvSpPr>
          <p:spPr>
            <a:xfrm>
              <a:off x="6608060" y="4814016"/>
              <a:ext cx="432933" cy="584816"/>
            </a:xfrm>
            <a:custGeom>
              <a:avLst/>
              <a:gdLst>
                <a:gd name="connsiteX0" fmla="*/ 373815 w 373814"/>
                <a:gd name="connsiteY0" fmla="*/ 0 h 504956"/>
                <a:gd name="connsiteX1" fmla="*/ 355430 w 373814"/>
                <a:gd name="connsiteY1" fmla="*/ 99275 h 504956"/>
                <a:gd name="connsiteX2" fmla="*/ 83343 w 373814"/>
                <a:gd name="connsiteY2" fmla="*/ 449803 h 504956"/>
                <a:gd name="connsiteX3" fmla="*/ 83343 w 373814"/>
                <a:gd name="connsiteY3" fmla="*/ 451029 h 504956"/>
                <a:gd name="connsiteX4" fmla="*/ 68635 w 373814"/>
                <a:gd name="connsiteY4" fmla="*/ 459608 h 504956"/>
                <a:gd name="connsiteX5" fmla="*/ 1226 w 373814"/>
                <a:gd name="connsiteY5" fmla="*/ 504956 h 504956"/>
                <a:gd name="connsiteX6" fmla="*/ 0 w 373814"/>
                <a:gd name="connsiteY6" fmla="*/ 504956 h 504956"/>
                <a:gd name="connsiteX7" fmla="*/ 40446 w 373814"/>
                <a:gd name="connsiteY7" fmla="*/ 158105 h 504956"/>
                <a:gd name="connsiteX8" fmla="*/ 122562 w 373814"/>
                <a:gd name="connsiteY8" fmla="*/ 118885 h 504956"/>
                <a:gd name="connsiteX9" fmla="*/ 370138 w 373814"/>
                <a:gd name="connsiteY9" fmla="*/ 0 h 5049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73814" h="504956">
                  <a:moveTo>
                    <a:pt x="373815" y="0"/>
                  </a:moveTo>
                  <a:lnTo>
                    <a:pt x="355430" y="99275"/>
                  </a:lnTo>
                  <a:lnTo>
                    <a:pt x="83343" y="449803"/>
                  </a:lnTo>
                  <a:lnTo>
                    <a:pt x="83343" y="451029"/>
                  </a:lnTo>
                  <a:lnTo>
                    <a:pt x="68635" y="459608"/>
                  </a:lnTo>
                  <a:lnTo>
                    <a:pt x="1226" y="504956"/>
                  </a:lnTo>
                  <a:lnTo>
                    <a:pt x="0" y="504956"/>
                  </a:lnTo>
                  <a:lnTo>
                    <a:pt x="40446" y="158105"/>
                  </a:lnTo>
                  <a:lnTo>
                    <a:pt x="122562" y="118885"/>
                  </a:lnTo>
                  <a:lnTo>
                    <a:pt x="370138" y="0"/>
                  </a:lnTo>
                  <a:close/>
                </a:path>
              </a:pathLst>
            </a:custGeom>
            <a:solidFill>
              <a:srgbClr val="754C29"/>
            </a:solidFill>
            <a:ln w="1224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9" name="Freeform: Shape 133">
              <a:extLst>
                <a:ext uri="{FF2B5EF4-FFF2-40B4-BE49-F238E27FC236}">
                  <a16:creationId xmlns:a16="http://schemas.microsoft.com/office/drawing/2014/main" id="{7C902088-7923-41D4-A077-6F1F70AEB2BF}"/>
                </a:ext>
              </a:extLst>
            </p:cNvPr>
            <p:cNvSpPr/>
            <p:nvPr/>
          </p:nvSpPr>
          <p:spPr>
            <a:xfrm>
              <a:off x="6887692" y="4337078"/>
              <a:ext cx="246985" cy="519520"/>
            </a:xfrm>
            <a:custGeom>
              <a:avLst/>
              <a:gdLst>
                <a:gd name="connsiteX0" fmla="*/ 166685 w 213258"/>
                <a:gd name="connsiteY0" fmla="*/ 312534 h 448577"/>
                <a:gd name="connsiteX1" fmla="*/ 11031 w 213258"/>
                <a:gd name="connsiteY1" fmla="*/ 439998 h 448577"/>
                <a:gd name="connsiteX2" fmla="*/ 9805 w 213258"/>
                <a:gd name="connsiteY2" fmla="*/ 441224 h 448577"/>
                <a:gd name="connsiteX3" fmla="*/ 0 w 213258"/>
                <a:gd name="connsiteY3" fmla="*/ 448578 h 448577"/>
                <a:gd name="connsiteX4" fmla="*/ 11031 w 213258"/>
                <a:gd name="connsiteY4" fmla="*/ 155654 h 448577"/>
                <a:gd name="connsiteX5" fmla="*/ 24512 w 213258"/>
                <a:gd name="connsiteY5" fmla="*/ 112757 h 448577"/>
                <a:gd name="connsiteX6" fmla="*/ 170361 w 213258"/>
                <a:gd name="connsiteY6" fmla="*/ 25738 h 448577"/>
                <a:gd name="connsiteX7" fmla="*/ 213258 w 213258"/>
                <a:gd name="connsiteY7" fmla="*/ 0 h 4485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3258" h="448577">
                  <a:moveTo>
                    <a:pt x="166685" y="312534"/>
                  </a:moveTo>
                  <a:lnTo>
                    <a:pt x="11031" y="439998"/>
                  </a:lnTo>
                  <a:lnTo>
                    <a:pt x="9805" y="441224"/>
                  </a:lnTo>
                  <a:lnTo>
                    <a:pt x="0" y="448578"/>
                  </a:lnTo>
                  <a:lnTo>
                    <a:pt x="11031" y="155654"/>
                  </a:lnTo>
                  <a:lnTo>
                    <a:pt x="24512" y="112757"/>
                  </a:lnTo>
                  <a:lnTo>
                    <a:pt x="170361" y="25738"/>
                  </a:lnTo>
                  <a:lnTo>
                    <a:pt x="213258" y="0"/>
                  </a:lnTo>
                  <a:close/>
                </a:path>
              </a:pathLst>
            </a:custGeom>
            <a:solidFill>
              <a:srgbClr val="754C29"/>
            </a:solidFill>
            <a:ln w="1224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0" name="Freeform: Shape 134">
              <a:extLst>
                <a:ext uri="{FF2B5EF4-FFF2-40B4-BE49-F238E27FC236}">
                  <a16:creationId xmlns:a16="http://schemas.microsoft.com/office/drawing/2014/main" id="{BD6FCC97-990D-40F1-B9D0-9A9AA8CA5B51}"/>
                </a:ext>
              </a:extLst>
            </p:cNvPr>
            <p:cNvSpPr/>
            <p:nvPr/>
          </p:nvSpPr>
          <p:spPr>
            <a:xfrm>
              <a:off x="6608060" y="4337078"/>
              <a:ext cx="526617" cy="1063171"/>
            </a:xfrm>
            <a:custGeom>
              <a:avLst/>
              <a:gdLst>
                <a:gd name="connsiteX0" fmla="*/ 454706 w 454705"/>
                <a:gd name="connsiteY0" fmla="*/ 0 h 917990"/>
                <a:gd name="connsiteX1" fmla="*/ 375040 w 454705"/>
                <a:gd name="connsiteY1" fmla="*/ 409358 h 917990"/>
                <a:gd name="connsiteX2" fmla="*/ 355430 w 454705"/>
                <a:gd name="connsiteY2" fmla="*/ 511085 h 917990"/>
                <a:gd name="connsiteX3" fmla="*/ 317436 w 454705"/>
                <a:gd name="connsiteY3" fmla="*/ 703507 h 917990"/>
                <a:gd name="connsiteX4" fmla="*/ 83343 w 454705"/>
                <a:gd name="connsiteY4" fmla="*/ 861612 h 917990"/>
                <a:gd name="connsiteX5" fmla="*/ 68635 w 454705"/>
                <a:gd name="connsiteY5" fmla="*/ 871417 h 917990"/>
                <a:gd name="connsiteX6" fmla="*/ 0 w 454705"/>
                <a:gd name="connsiteY6" fmla="*/ 917991 h 917990"/>
                <a:gd name="connsiteX7" fmla="*/ 1226 w 454705"/>
                <a:gd name="connsiteY7" fmla="*/ 916765 h 917990"/>
                <a:gd name="connsiteX8" fmla="*/ 122562 w 454705"/>
                <a:gd name="connsiteY8" fmla="*/ 530694 h 917990"/>
                <a:gd name="connsiteX9" fmla="*/ 252478 w 454705"/>
                <a:gd name="connsiteY9" fmla="*/ 120111 h 917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705" h="917990">
                  <a:moveTo>
                    <a:pt x="454706" y="0"/>
                  </a:moveTo>
                  <a:lnTo>
                    <a:pt x="375040" y="409358"/>
                  </a:lnTo>
                  <a:lnTo>
                    <a:pt x="355430" y="511085"/>
                  </a:lnTo>
                  <a:lnTo>
                    <a:pt x="317436" y="703507"/>
                  </a:lnTo>
                  <a:lnTo>
                    <a:pt x="83343" y="861612"/>
                  </a:lnTo>
                  <a:lnTo>
                    <a:pt x="68635" y="871417"/>
                  </a:lnTo>
                  <a:lnTo>
                    <a:pt x="0" y="917991"/>
                  </a:lnTo>
                  <a:lnTo>
                    <a:pt x="1226" y="916765"/>
                  </a:lnTo>
                  <a:lnTo>
                    <a:pt x="122562" y="530694"/>
                  </a:lnTo>
                  <a:lnTo>
                    <a:pt x="252478" y="120111"/>
                  </a:lnTo>
                  <a:close/>
                </a:path>
              </a:pathLst>
            </a:custGeom>
            <a:solidFill>
              <a:srgbClr val="B27946"/>
            </a:solidFill>
            <a:ln w="1224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1" name="Freeform: Shape 135">
              <a:extLst>
                <a:ext uri="{FF2B5EF4-FFF2-40B4-BE49-F238E27FC236}">
                  <a16:creationId xmlns:a16="http://schemas.microsoft.com/office/drawing/2014/main" id="{07475BA2-E61D-4A04-A1E0-4FC155240794}"/>
                </a:ext>
              </a:extLst>
            </p:cNvPr>
            <p:cNvSpPr/>
            <p:nvPr/>
          </p:nvSpPr>
          <p:spPr>
            <a:xfrm>
              <a:off x="6239000" y="4396697"/>
              <a:ext cx="31228" cy="350605"/>
            </a:xfrm>
            <a:custGeom>
              <a:avLst/>
              <a:gdLst>
                <a:gd name="connsiteX0" fmla="*/ 26964 w 26963"/>
                <a:gd name="connsiteY0" fmla="*/ 292924 h 302728"/>
                <a:gd name="connsiteX1" fmla="*/ 14708 w 26963"/>
                <a:gd name="connsiteY1" fmla="*/ 302728 h 302728"/>
                <a:gd name="connsiteX2" fmla="*/ 0 w 26963"/>
                <a:gd name="connsiteY2" fmla="*/ 0 h 302728"/>
              </a:gdLst>
              <a:ahLst/>
              <a:cxnLst>
                <a:cxn ang="0">
                  <a:pos x="connsiteX0" y="connsiteY0"/>
                </a:cxn>
                <a:cxn ang="0">
                  <a:pos x="connsiteX1" y="connsiteY1"/>
                </a:cxn>
                <a:cxn ang="0">
                  <a:pos x="connsiteX2" y="connsiteY2"/>
                </a:cxn>
              </a:cxnLst>
              <a:rect l="l" t="t" r="r" b="b"/>
              <a:pathLst>
                <a:path w="26963" h="302728">
                  <a:moveTo>
                    <a:pt x="26964" y="292924"/>
                  </a:moveTo>
                  <a:lnTo>
                    <a:pt x="14708" y="302728"/>
                  </a:lnTo>
                  <a:lnTo>
                    <a:pt x="0" y="0"/>
                  </a:lnTo>
                  <a:close/>
                </a:path>
              </a:pathLst>
            </a:custGeom>
            <a:solidFill>
              <a:srgbClr val="754C29"/>
            </a:solidFill>
            <a:ln w="1224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grpSp>
        <p:nvGrpSpPr>
          <p:cNvPr id="32" name="Group 3">
            <a:extLst>
              <a:ext uri="{FF2B5EF4-FFF2-40B4-BE49-F238E27FC236}">
                <a16:creationId xmlns:a16="http://schemas.microsoft.com/office/drawing/2014/main" id="{7203988B-9640-4D8F-BAE3-97AE71BE3648}"/>
              </a:ext>
            </a:extLst>
          </p:cNvPr>
          <p:cNvGrpSpPr/>
          <p:nvPr/>
        </p:nvGrpSpPr>
        <p:grpSpPr>
          <a:xfrm>
            <a:off x="6454759" y="2399522"/>
            <a:ext cx="2137698" cy="1902070"/>
            <a:chOff x="6454759" y="2541762"/>
            <a:chExt cx="2137698" cy="1902070"/>
          </a:xfrm>
          <a:effectLst>
            <a:outerShdw blurRad="63500" sx="102000" sy="102000" algn="ctr" rotWithShape="0">
              <a:prstClr val="black">
                <a:alpha val="30000"/>
              </a:prstClr>
            </a:outerShdw>
          </a:effectLst>
        </p:grpSpPr>
        <p:sp>
          <p:nvSpPr>
            <p:cNvPr id="33" name="Freeform: Shape 136">
              <a:extLst>
                <a:ext uri="{FF2B5EF4-FFF2-40B4-BE49-F238E27FC236}">
                  <a16:creationId xmlns:a16="http://schemas.microsoft.com/office/drawing/2014/main" id="{08A372A4-18EC-4457-B3A4-F92FD0C8499E}"/>
                </a:ext>
              </a:extLst>
            </p:cNvPr>
            <p:cNvSpPr/>
            <p:nvPr/>
          </p:nvSpPr>
          <p:spPr>
            <a:xfrm>
              <a:off x="7221264" y="3072639"/>
              <a:ext cx="1371193" cy="1371193"/>
            </a:xfrm>
            <a:custGeom>
              <a:avLst/>
              <a:gdLst>
                <a:gd name="connsiteX0" fmla="*/ 1183951 w 1183950"/>
                <a:gd name="connsiteY0" fmla="*/ 591976 h 1183950"/>
                <a:gd name="connsiteX1" fmla="*/ 591975 w 1183950"/>
                <a:gd name="connsiteY1" fmla="*/ 1183951 h 1183950"/>
                <a:gd name="connsiteX2" fmla="*/ 0 w 1183950"/>
                <a:gd name="connsiteY2" fmla="*/ 591976 h 1183950"/>
                <a:gd name="connsiteX3" fmla="*/ 591975 w 1183950"/>
                <a:gd name="connsiteY3" fmla="*/ 0 h 1183950"/>
                <a:gd name="connsiteX4" fmla="*/ 1183951 w 1183950"/>
                <a:gd name="connsiteY4" fmla="*/ 591976 h 1183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3950" h="1183950">
                  <a:moveTo>
                    <a:pt x="1183951" y="591976"/>
                  </a:moveTo>
                  <a:cubicBezTo>
                    <a:pt x="1183951" y="918915"/>
                    <a:pt x="918914" y="1183951"/>
                    <a:pt x="591975" y="1183951"/>
                  </a:cubicBezTo>
                  <a:cubicBezTo>
                    <a:pt x="265036" y="1183951"/>
                    <a:pt x="0" y="918915"/>
                    <a:pt x="0" y="591976"/>
                  </a:cubicBezTo>
                  <a:cubicBezTo>
                    <a:pt x="0" y="265037"/>
                    <a:pt x="265036" y="0"/>
                    <a:pt x="591975" y="0"/>
                  </a:cubicBezTo>
                  <a:cubicBezTo>
                    <a:pt x="918914" y="0"/>
                    <a:pt x="1183951" y="265037"/>
                    <a:pt x="1183951" y="591976"/>
                  </a:cubicBezTo>
                  <a:close/>
                </a:path>
              </a:pathLst>
            </a:custGeom>
            <a:solidFill>
              <a:schemeClr val="accent4"/>
            </a:solidFill>
            <a:ln w="1224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4" name="Freeform: Shape 137">
              <a:extLst>
                <a:ext uri="{FF2B5EF4-FFF2-40B4-BE49-F238E27FC236}">
                  <a16:creationId xmlns:a16="http://schemas.microsoft.com/office/drawing/2014/main" id="{F926EF64-9B29-412A-801C-3CEAD7CE850A}"/>
                </a:ext>
              </a:extLst>
            </p:cNvPr>
            <p:cNvSpPr/>
            <p:nvPr/>
          </p:nvSpPr>
          <p:spPr>
            <a:xfrm>
              <a:off x="6454759" y="3066962"/>
              <a:ext cx="1240603" cy="1240603"/>
            </a:xfrm>
            <a:custGeom>
              <a:avLst/>
              <a:gdLst>
                <a:gd name="connsiteX0" fmla="*/ 1071194 w 1071193"/>
                <a:gd name="connsiteY0" fmla="*/ 535597 h 1071193"/>
                <a:gd name="connsiteX1" fmla="*/ 535597 w 1071193"/>
                <a:gd name="connsiteY1" fmla="*/ 1071194 h 1071193"/>
                <a:gd name="connsiteX2" fmla="*/ 0 w 1071193"/>
                <a:gd name="connsiteY2" fmla="*/ 535597 h 1071193"/>
                <a:gd name="connsiteX3" fmla="*/ 535597 w 1071193"/>
                <a:gd name="connsiteY3" fmla="*/ 0 h 1071193"/>
                <a:gd name="connsiteX4" fmla="*/ 1071194 w 1071193"/>
                <a:gd name="connsiteY4" fmla="*/ 535597 h 10711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1193" h="1071193">
                  <a:moveTo>
                    <a:pt x="1071194" y="535597"/>
                  </a:moveTo>
                  <a:cubicBezTo>
                    <a:pt x="1071194" y="831399"/>
                    <a:pt x="831399" y="1071194"/>
                    <a:pt x="535597" y="1071194"/>
                  </a:cubicBezTo>
                  <a:cubicBezTo>
                    <a:pt x="239795" y="1071194"/>
                    <a:pt x="0" y="831399"/>
                    <a:pt x="0" y="535597"/>
                  </a:cubicBezTo>
                  <a:cubicBezTo>
                    <a:pt x="0" y="239795"/>
                    <a:pt x="239795" y="0"/>
                    <a:pt x="535597" y="0"/>
                  </a:cubicBezTo>
                  <a:cubicBezTo>
                    <a:pt x="831399" y="0"/>
                    <a:pt x="1071194" y="239795"/>
                    <a:pt x="1071194" y="535597"/>
                  </a:cubicBezTo>
                  <a:close/>
                </a:path>
              </a:pathLst>
            </a:custGeom>
            <a:solidFill>
              <a:schemeClr val="accent4"/>
            </a:solidFill>
            <a:ln w="1224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5" name="Freeform: Shape 138">
              <a:extLst>
                <a:ext uri="{FF2B5EF4-FFF2-40B4-BE49-F238E27FC236}">
                  <a16:creationId xmlns:a16="http://schemas.microsoft.com/office/drawing/2014/main" id="{836D2744-330A-4989-A97F-C024CBF6AB0E}"/>
                </a:ext>
              </a:extLst>
            </p:cNvPr>
            <p:cNvSpPr/>
            <p:nvPr/>
          </p:nvSpPr>
          <p:spPr>
            <a:xfrm>
              <a:off x="7248234" y="2541762"/>
              <a:ext cx="1240603" cy="1240603"/>
            </a:xfrm>
            <a:custGeom>
              <a:avLst/>
              <a:gdLst>
                <a:gd name="connsiteX0" fmla="*/ 1071194 w 1071193"/>
                <a:gd name="connsiteY0" fmla="*/ 535597 h 1071193"/>
                <a:gd name="connsiteX1" fmla="*/ 535597 w 1071193"/>
                <a:gd name="connsiteY1" fmla="*/ 1071194 h 1071193"/>
                <a:gd name="connsiteX2" fmla="*/ 0 w 1071193"/>
                <a:gd name="connsiteY2" fmla="*/ 535597 h 1071193"/>
                <a:gd name="connsiteX3" fmla="*/ 535597 w 1071193"/>
                <a:gd name="connsiteY3" fmla="*/ 0 h 1071193"/>
                <a:gd name="connsiteX4" fmla="*/ 1071194 w 1071193"/>
                <a:gd name="connsiteY4" fmla="*/ 535597 h 10711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1193" h="1071193">
                  <a:moveTo>
                    <a:pt x="1071194" y="535597"/>
                  </a:moveTo>
                  <a:cubicBezTo>
                    <a:pt x="1071194" y="831399"/>
                    <a:pt x="831398" y="1071194"/>
                    <a:pt x="535597" y="1071194"/>
                  </a:cubicBezTo>
                  <a:cubicBezTo>
                    <a:pt x="239795" y="1071194"/>
                    <a:pt x="0" y="831399"/>
                    <a:pt x="0" y="535597"/>
                  </a:cubicBezTo>
                  <a:cubicBezTo>
                    <a:pt x="0" y="239795"/>
                    <a:pt x="239795" y="0"/>
                    <a:pt x="535597" y="0"/>
                  </a:cubicBezTo>
                  <a:cubicBezTo>
                    <a:pt x="831398" y="0"/>
                    <a:pt x="1071194" y="239795"/>
                    <a:pt x="1071194" y="535597"/>
                  </a:cubicBezTo>
                  <a:close/>
                </a:path>
              </a:pathLst>
            </a:custGeom>
            <a:solidFill>
              <a:schemeClr val="accent4"/>
            </a:solidFill>
            <a:ln w="1224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grpSp>
        <p:nvGrpSpPr>
          <p:cNvPr id="36" name="Group 7">
            <a:extLst>
              <a:ext uri="{FF2B5EF4-FFF2-40B4-BE49-F238E27FC236}">
                <a16:creationId xmlns:a16="http://schemas.microsoft.com/office/drawing/2014/main" id="{1D8A1E61-ED3F-4A02-9C0F-527CC1D9CBCD}"/>
              </a:ext>
            </a:extLst>
          </p:cNvPr>
          <p:cNvGrpSpPr/>
          <p:nvPr/>
        </p:nvGrpSpPr>
        <p:grpSpPr>
          <a:xfrm>
            <a:off x="3593137" y="2728836"/>
            <a:ext cx="1975881" cy="1839613"/>
            <a:chOff x="3593137" y="2728836"/>
            <a:chExt cx="1975881" cy="1839613"/>
          </a:xfrm>
        </p:grpSpPr>
        <p:sp>
          <p:nvSpPr>
            <p:cNvPr id="37" name="Freeform: Shape 140">
              <a:extLst>
                <a:ext uri="{FF2B5EF4-FFF2-40B4-BE49-F238E27FC236}">
                  <a16:creationId xmlns:a16="http://schemas.microsoft.com/office/drawing/2014/main" id="{ECB29C82-4B7A-4397-BFCB-BE47742661DD}"/>
                </a:ext>
              </a:extLst>
            </p:cNvPr>
            <p:cNvSpPr/>
            <p:nvPr/>
          </p:nvSpPr>
          <p:spPr>
            <a:xfrm>
              <a:off x="3919612" y="2728836"/>
              <a:ext cx="1649406" cy="1649406"/>
            </a:xfrm>
            <a:custGeom>
              <a:avLst/>
              <a:gdLst>
                <a:gd name="connsiteX0" fmla="*/ 1424173 w 1424172"/>
                <a:gd name="connsiteY0" fmla="*/ 712086 h 1424172"/>
                <a:gd name="connsiteX1" fmla="*/ 712086 w 1424172"/>
                <a:gd name="connsiteY1" fmla="*/ 1424173 h 1424172"/>
                <a:gd name="connsiteX2" fmla="*/ 0 w 1424172"/>
                <a:gd name="connsiteY2" fmla="*/ 712086 h 1424172"/>
                <a:gd name="connsiteX3" fmla="*/ 712086 w 1424172"/>
                <a:gd name="connsiteY3" fmla="*/ 0 h 1424172"/>
                <a:gd name="connsiteX4" fmla="*/ 1424173 w 1424172"/>
                <a:gd name="connsiteY4" fmla="*/ 712086 h 14241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24172" h="1424172">
                  <a:moveTo>
                    <a:pt x="1424173" y="712086"/>
                  </a:moveTo>
                  <a:cubicBezTo>
                    <a:pt x="1424173" y="1105361"/>
                    <a:pt x="1105361" y="1424173"/>
                    <a:pt x="712086" y="1424173"/>
                  </a:cubicBezTo>
                  <a:cubicBezTo>
                    <a:pt x="318812" y="1424173"/>
                    <a:pt x="0" y="1105361"/>
                    <a:pt x="0" y="712086"/>
                  </a:cubicBezTo>
                  <a:cubicBezTo>
                    <a:pt x="0" y="318812"/>
                    <a:pt x="318812" y="0"/>
                    <a:pt x="712086" y="0"/>
                  </a:cubicBezTo>
                  <a:cubicBezTo>
                    <a:pt x="1105361" y="0"/>
                    <a:pt x="1424173" y="318812"/>
                    <a:pt x="1424173" y="712086"/>
                  </a:cubicBezTo>
                  <a:close/>
                </a:path>
              </a:pathLst>
            </a:custGeom>
            <a:solidFill>
              <a:schemeClr val="accent1"/>
            </a:solidFill>
            <a:ln w="1224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8" name="Freeform: Shape 139">
              <a:extLst>
                <a:ext uri="{FF2B5EF4-FFF2-40B4-BE49-F238E27FC236}">
                  <a16:creationId xmlns:a16="http://schemas.microsoft.com/office/drawing/2014/main" id="{17BEF9EF-CA48-4F9F-A8CA-72C46BA17E42}"/>
                </a:ext>
              </a:extLst>
            </p:cNvPr>
            <p:cNvSpPr/>
            <p:nvPr/>
          </p:nvSpPr>
          <p:spPr>
            <a:xfrm>
              <a:off x="3593137" y="3288102"/>
              <a:ext cx="1280349" cy="1280347"/>
            </a:xfrm>
            <a:custGeom>
              <a:avLst/>
              <a:gdLst>
                <a:gd name="connsiteX0" fmla="*/ 1105511 w 1105511"/>
                <a:gd name="connsiteY0" fmla="*/ 552756 h 1105510"/>
                <a:gd name="connsiteX1" fmla="*/ 552756 w 1105511"/>
                <a:gd name="connsiteY1" fmla="*/ 1105511 h 1105510"/>
                <a:gd name="connsiteX2" fmla="*/ 0 w 1105511"/>
                <a:gd name="connsiteY2" fmla="*/ 552756 h 1105510"/>
                <a:gd name="connsiteX3" fmla="*/ 552756 w 1105511"/>
                <a:gd name="connsiteY3" fmla="*/ 0 h 1105510"/>
                <a:gd name="connsiteX4" fmla="*/ 1105511 w 1105511"/>
                <a:gd name="connsiteY4" fmla="*/ 552756 h 11055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5511" h="1105510">
                  <a:moveTo>
                    <a:pt x="1105511" y="552756"/>
                  </a:moveTo>
                  <a:cubicBezTo>
                    <a:pt x="1105511" y="858034"/>
                    <a:pt x="858034" y="1105511"/>
                    <a:pt x="552756" y="1105511"/>
                  </a:cubicBezTo>
                  <a:cubicBezTo>
                    <a:pt x="247477" y="1105511"/>
                    <a:pt x="0" y="858034"/>
                    <a:pt x="0" y="552756"/>
                  </a:cubicBezTo>
                  <a:cubicBezTo>
                    <a:pt x="0" y="247477"/>
                    <a:pt x="247477" y="0"/>
                    <a:pt x="552756" y="0"/>
                  </a:cubicBezTo>
                  <a:cubicBezTo>
                    <a:pt x="858034" y="0"/>
                    <a:pt x="1105511" y="247477"/>
                    <a:pt x="1105511" y="552756"/>
                  </a:cubicBezTo>
                  <a:close/>
                </a:path>
              </a:pathLst>
            </a:custGeom>
            <a:solidFill>
              <a:schemeClr val="accent1"/>
            </a:solidFill>
            <a:ln w="1224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grpSp>
        <p:nvGrpSpPr>
          <p:cNvPr id="39" name="Group 2">
            <a:extLst>
              <a:ext uri="{FF2B5EF4-FFF2-40B4-BE49-F238E27FC236}">
                <a16:creationId xmlns:a16="http://schemas.microsoft.com/office/drawing/2014/main" id="{7B88B49A-3914-4BC3-863E-036522EAEBD1}"/>
              </a:ext>
            </a:extLst>
          </p:cNvPr>
          <p:cNvGrpSpPr/>
          <p:nvPr/>
        </p:nvGrpSpPr>
        <p:grpSpPr>
          <a:xfrm>
            <a:off x="4481715" y="1857291"/>
            <a:ext cx="2218609" cy="2308032"/>
            <a:chOff x="4481715" y="1999531"/>
            <a:chExt cx="2218609" cy="2308032"/>
          </a:xfrm>
          <a:effectLst>
            <a:outerShdw blurRad="63500" sx="102000" sy="102000" algn="ctr" rotWithShape="0">
              <a:prstClr val="black">
                <a:alpha val="30000"/>
              </a:prstClr>
            </a:outerShdw>
          </a:effectLst>
        </p:grpSpPr>
        <p:sp>
          <p:nvSpPr>
            <p:cNvPr id="40" name="Freeform: Shape 110">
              <a:extLst>
                <a:ext uri="{FF2B5EF4-FFF2-40B4-BE49-F238E27FC236}">
                  <a16:creationId xmlns:a16="http://schemas.microsoft.com/office/drawing/2014/main" id="{4D9541F5-C2B9-474A-B50D-865FC08C2188}"/>
                </a:ext>
              </a:extLst>
            </p:cNvPr>
            <p:cNvSpPr/>
            <p:nvPr/>
          </p:nvSpPr>
          <p:spPr>
            <a:xfrm>
              <a:off x="4481715" y="1999531"/>
              <a:ext cx="1649406" cy="1649406"/>
            </a:xfrm>
            <a:custGeom>
              <a:avLst/>
              <a:gdLst>
                <a:gd name="connsiteX0" fmla="*/ 1424173 w 1424172"/>
                <a:gd name="connsiteY0" fmla="*/ 712086 h 1424172"/>
                <a:gd name="connsiteX1" fmla="*/ 712087 w 1424172"/>
                <a:gd name="connsiteY1" fmla="*/ 1424173 h 1424172"/>
                <a:gd name="connsiteX2" fmla="*/ 0 w 1424172"/>
                <a:gd name="connsiteY2" fmla="*/ 712086 h 1424172"/>
                <a:gd name="connsiteX3" fmla="*/ 712087 w 1424172"/>
                <a:gd name="connsiteY3" fmla="*/ 0 h 1424172"/>
                <a:gd name="connsiteX4" fmla="*/ 1424173 w 1424172"/>
                <a:gd name="connsiteY4" fmla="*/ 712086 h 14241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24172" h="1424172">
                  <a:moveTo>
                    <a:pt x="1424173" y="712086"/>
                  </a:moveTo>
                  <a:cubicBezTo>
                    <a:pt x="1424173" y="1105361"/>
                    <a:pt x="1105361" y="1424173"/>
                    <a:pt x="712087" y="1424173"/>
                  </a:cubicBezTo>
                  <a:cubicBezTo>
                    <a:pt x="318812" y="1424173"/>
                    <a:pt x="0" y="1105361"/>
                    <a:pt x="0" y="712086"/>
                  </a:cubicBezTo>
                  <a:cubicBezTo>
                    <a:pt x="0" y="318812"/>
                    <a:pt x="318812" y="0"/>
                    <a:pt x="712087" y="0"/>
                  </a:cubicBezTo>
                  <a:cubicBezTo>
                    <a:pt x="1105361" y="0"/>
                    <a:pt x="1424173" y="318812"/>
                    <a:pt x="1424173" y="712086"/>
                  </a:cubicBezTo>
                  <a:close/>
                </a:path>
              </a:pathLst>
            </a:custGeom>
            <a:solidFill>
              <a:schemeClr val="accent2"/>
            </a:solidFill>
            <a:ln w="1224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41" name="Freeform: Shape 141">
              <a:extLst>
                <a:ext uri="{FF2B5EF4-FFF2-40B4-BE49-F238E27FC236}">
                  <a16:creationId xmlns:a16="http://schemas.microsoft.com/office/drawing/2014/main" id="{4B2CA622-7E25-4560-990B-8821A70B063D}"/>
                </a:ext>
              </a:extLst>
            </p:cNvPr>
            <p:cNvSpPr/>
            <p:nvPr/>
          </p:nvSpPr>
          <p:spPr>
            <a:xfrm>
              <a:off x="5224092" y="2831331"/>
              <a:ext cx="1476232" cy="1476232"/>
            </a:xfrm>
            <a:custGeom>
              <a:avLst/>
              <a:gdLst>
                <a:gd name="connsiteX0" fmla="*/ 1274647 w 1274646"/>
                <a:gd name="connsiteY0" fmla="*/ 637323 h 1274646"/>
                <a:gd name="connsiteX1" fmla="*/ 637323 w 1274646"/>
                <a:gd name="connsiteY1" fmla="*/ 1274647 h 1274646"/>
                <a:gd name="connsiteX2" fmla="*/ 0 w 1274646"/>
                <a:gd name="connsiteY2" fmla="*/ 637323 h 1274646"/>
                <a:gd name="connsiteX3" fmla="*/ 637323 w 1274646"/>
                <a:gd name="connsiteY3" fmla="*/ 0 h 1274646"/>
                <a:gd name="connsiteX4" fmla="*/ 1274647 w 1274646"/>
                <a:gd name="connsiteY4" fmla="*/ 637323 h 12746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4646" h="1274646">
                  <a:moveTo>
                    <a:pt x="1274647" y="637323"/>
                  </a:moveTo>
                  <a:cubicBezTo>
                    <a:pt x="1274647" y="989307"/>
                    <a:pt x="989307" y="1274647"/>
                    <a:pt x="637323" y="1274647"/>
                  </a:cubicBezTo>
                  <a:cubicBezTo>
                    <a:pt x="285339" y="1274647"/>
                    <a:pt x="0" y="989307"/>
                    <a:pt x="0" y="637323"/>
                  </a:cubicBezTo>
                  <a:cubicBezTo>
                    <a:pt x="0" y="285339"/>
                    <a:pt x="285339" y="0"/>
                    <a:pt x="637323" y="0"/>
                  </a:cubicBezTo>
                  <a:cubicBezTo>
                    <a:pt x="989307" y="0"/>
                    <a:pt x="1274647" y="285339"/>
                    <a:pt x="1274647" y="637323"/>
                  </a:cubicBezTo>
                  <a:close/>
                </a:path>
              </a:pathLst>
            </a:custGeom>
            <a:solidFill>
              <a:schemeClr val="accent2"/>
            </a:solidFill>
            <a:ln w="1224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sp>
        <p:nvSpPr>
          <p:cNvPr id="42" name="Title 1">
            <a:extLst>
              <a:ext uri="{FF2B5EF4-FFF2-40B4-BE49-F238E27FC236}">
                <a16:creationId xmlns:a16="http://schemas.microsoft.com/office/drawing/2014/main" id="{7EDB2498-88A6-49CE-AE96-8EEC94B941BD}"/>
              </a:ext>
            </a:extLst>
          </p:cNvPr>
          <p:cNvSpPr txBox="1">
            <a:spLocks/>
          </p:cNvSpPr>
          <p:nvPr/>
        </p:nvSpPr>
        <p:spPr>
          <a:xfrm>
            <a:off x="2043113" y="304800"/>
            <a:ext cx="8105775" cy="1105808"/>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4400" b="0" i="0" u="none" strike="noStrike" kern="1200" cap="none" spc="0" normalizeH="0" baseline="0" noProof="0">
                <a:ln>
                  <a:noFill/>
                </a:ln>
                <a:solidFill>
                  <a:srgbClr val="000000"/>
                </a:solidFill>
                <a:effectLst/>
                <a:uLnTx/>
                <a:uFillTx/>
                <a:latin typeface="等线 Light" panose="020F0302020204030204"/>
                <a:ea typeface="+mj-ea"/>
                <a:cs typeface="+mj-cs"/>
              </a:rPr>
              <a:t>Tree Infographic</a:t>
            </a:r>
            <a:endParaRPr kumimoji="0" lang="en-ID" sz="4400" b="0" i="0" u="none" strike="noStrike" kern="1200" cap="none" spc="0" normalizeH="0" baseline="0" noProof="0">
              <a:ln>
                <a:noFill/>
              </a:ln>
              <a:solidFill>
                <a:srgbClr val="000000"/>
              </a:solidFill>
              <a:effectLst/>
              <a:uLnTx/>
              <a:uFillTx/>
              <a:latin typeface="等线 Light" panose="020F0302020204030204"/>
              <a:ea typeface="+mj-ea"/>
              <a:cs typeface="+mj-cs"/>
            </a:endParaRPr>
          </a:p>
        </p:txBody>
      </p:sp>
      <p:grpSp>
        <p:nvGrpSpPr>
          <p:cNvPr id="43" name="Group 81">
            <a:extLst>
              <a:ext uri="{FF2B5EF4-FFF2-40B4-BE49-F238E27FC236}">
                <a16:creationId xmlns:a16="http://schemas.microsoft.com/office/drawing/2014/main" id="{2098A29B-3EC8-4AFC-B871-D6ED42C5ECD9}"/>
              </a:ext>
            </a:extLst>
          </p:cNvPr>
          <p:cNvGrpSpPr/>
          <p:nvPr/>
        </p:nvGrpSpPr>
        <p:grpSpPr>
          <a:xfrm flipH="1">
            <a:off x="7058736" y="1738819"/>
            <a:ext cx="1430101" cy="257001"/>
            <a:chOff x="2736952" y="2100510"/>
            <a:chExt cx="1430101" cy="257001"/>
          </a:xfrm>
        </p:grpSpPr>
        <p:cxnSp>
          <p:nvCxnSpPr>
            <p:cNvPr id="44" name="Straight Connector 82">
              <a:extLst>
                <a:ext uri="{FF2B5EF4-FFF2-40B4-BE49-F238E27FC236}">
                  <a16:creationId xmlns:a16="http://schemas.microsoft.com/office/drawing/2014/main" id="{F0A6E520-6A93-4807-8524-52C87C4FFF37}"/>
                </a:ext>
              </a:extLst>
            </p:cNvPr>
            <p:cNvCxnSpPr>
              <a:cxnSpLocks/>
            </p:cNvCxnSpPr>
            <p:nvPr/>
          </p:nvCxnSpPr>
          <p:spPr>
            <a:xfrm flipH="1" flipV="1">
              <a:off x="3910047" y="2100510"/>
              <a:ext cx="257006" cy="257001"/>
            </a:xfrm>
            <a:prstGeom prst="line">
              <a:avLst/>
            </a:prstGeom>
            <a:ln w="28575">
              <a:solidFill>
                <a:schemeClr val="accent3"/>
              </a:solidFill>
              <a:headEnd type="oval"/>
            </a:ln>
          </p:spPr>
          <p:style>
            <a:lnRef idx="1">
              <a:schemeClr val="accent1"/>
            </a:lnRef>
            <a:fillRef idx="0">
              <a:schemeClr val="accent1"/>
            </a:fillRef>
            <a:effectRef idx="0">
              <a:schemeClr val="accent1"/>
            </a:effectRef>
            <a:fontRef idx="minor">
              <a:schemeClr val="tx1"/>
            </a:fontRef>
          </p:style>
        </p:cxnSp>
        <p:cxnSp>
          <p:nvCxnSpPr>
            <p:cNvPr id="45" name="Straight Connector 83">
              <a:extLst>
                <a:ext uri="{FF2B5EF4-FFF2-40B4-BE49-F238E27FC236}">
                  <a16:creationId xmlns:a16="http://schemas.microsoft.com/office/drawing/2014/main" id="{553ACBAC-F462-4C29-AE8C-3FAC89CB476F}"/>
                </a:ext>
              </a:extLst>
            </p:cNvPr>
            <p:cNvCxnSpPr>
              <a:cxnSpLocks/>
            </p:cNvCxnSpPr>
            <p:nvPr/>
          </p:nvCxnSpPr>
          <p:spPr>
            <a:xfrm flipH="1">
              <a:off x="2736952" y="2105266"/>
              <a:ext cx="1181159" cy="0"/>
            </a:xfrm>
            <a:prstGeom prst="line">
              <a:avLst/>
            </a:prstGeom>
            <a:ln w="28575">
              <a:solidFill>
                <a:schemeClr val="accent3"/>
              </a:solidFill>
              <a:tailEnd type="oval"/>
            </a:ln>
          </p:spPr>
          <p:style>
            <a:lnRef idx="1">
              <a:schemeClr val="accent1"/>
            </a:lnRef>
            <a:fillRef idx="0">
              <a:schemeClr val="accent1"/>
            </a:fillRef>
            <a:effectRef idx="0">
              <a:schemeClr val="accent1"/>
            </a:effectRef>
            <a:fontRef idx="minor">
              <a:schemeClr val="tx1"/>
            </a:fontRef>
          </p:style>
        </p:cxnSp>
      </p:grpSp>
      <p:grpSp>
        <p:nvGrpSpPr>
          <p:cNvPr id="46" name="Group 84">
            <a:extLst>
              <a:ext uri="{FF2B5EF4-FFF2-40B4-BE49-F238E27FC236}">
                <a16:creationId xmlns:a16="http://schemas.microsoft.com/office/drawing/2014/main" id="{67158E95-B279-40B3-8A78-AF83FE15F9FF}"/>
              </a:ext>
            </a:extLst>
          </p:cNvPr>
          <p:cNvGrpSpPr/>
          <p:nvPr/>
        </p:nvGrpSpPr>
        <p:grpSpPr>
          <a:xfrm flipV="1">
            <a:off x="3126137" y="3937490"/>
            <a:ext cx="568745" cy="250903"/>
            <a:chOff x="3592205" y="2100504"/>
            <a:chExt cx="568745" cy="250903"/>
          </a:xfrm>
        </p:grpSpPr>
        <p:cxnSp>
          <p:nvCxnSpPr>
            <p:cNvPr id="47" name="Straight Connector 85">
              <a:extLst>
                <a:ext uri="{FF2B5EF4-FFF2-40B4-BE49-F238E27FC236}">
                  <a16:creationId xmlns:a16="http://schemas.microsoft.com/office/drawing/2014/main" id="{533BF0BA-C41C-48E9-A1DD-6A640E2CE4F0}"/>
                </a:ext>
              </a:extLst>
            </p:cNvPr>
            <p:cNvCxnSpPr>
              <a:cxnSpLocks/>
            </p:cNvCxnSpPr>
            <p:nvPr/>
          </p:nvCxnSpPr>
          <p:spPr>
            <a:xfrm flipH="1" flipV="1">
              <a:off x="3910049" y="2100504"/>
              <a:ext cx="250901" cy="250903"/>
            </a:xfrm>
            <a:prstGeom prst="line">
              <a:avLst/>
            </a:prstGeom>
            <a:ln w="28575">
              <a:solidFill>
                <a:schemeClr val="accent1"/>
              </a:solidFill>
              <a:headEnd type="oval"/>
            </a:ln>
          </p:spPr>
          <p:style>
            <a:lnRef idx="1">
              <a:schemeClr val="accent1"/>
            </a:lnRef>
            <a:fillRef idx="0">
              <a:schemeClr val="accent1"/>
            </a:fillRef>
            <a:effectRef idx="0">
              <a:schemeClr val="accent1"/>
            </a:effectRef>
            <a:fontRef idx="minor">
              <a:schemeClr val="tx1"/>
            </a:fontRef>
          </p:style>
        </p:cxnSp>
        <p:cxnSp>
          <p:nvCxnSpPr>
            <p:cNvPr id="48" name="Straight Connector 86">
              <a:extLst>
                <a:ext uri="{FF2B5EF4-FFF2-40B4-BE49-F238E27FC236}">
                  <a16:creationId xmlns:a16="http://schemas.microsoft.com/office/drawing/2014/main" id="{C343C3AF-9024-4A41-8311-B16BDE226DC4}"/>
                </a:ext>
              </a:extLst>
            </p:cNvPr>
            <p:cNvCxnSpPr>
              <a:cxnSpLocks/>
            </p:cNvCxnSpPr>
            <p:nvPr/>
          </p:nvCxnSpPr>
          <p:spPr>
            <a:xfrm flipH="1" flipV="1">
              <a:off x="3592205" y="2102885"/>
              <a:ext cx="328289" cy="0"/>
            </a:xfrm>
            <a:prstGeom prst="line">
              <a:avLst/>
            </a:prstGeom>
            <a:ln w="28575">
              <a:solidFill>
                <a:schemeClr val="accent1"/>
              </a:solidFill>
              <a:tailEnd type="oval"/>
            </a:ln>
          </p:spPr>
          <p:style>
            <a:lnRef idx="1">
              <a:schemeClr val="accent1"/>
            </a:lnRef>
            <a:fillRef idx="0">
              <a:schemeClr val="accent1"/>
            </a:fillRef>
            <a:effectRef idx="0">
              <a:schemeClr val="accent1"/>
            </a:effectRef>
            <a:fontRef idx="minor">
              <a:schemeClr val="tx1"/>
            </a:fontRef>
          </p:style>
        </p:cxnSp>
      </p:grpSp>
      <p:sp>
        <p:nvSpPr>
          <p:cNvPr id="49" name="TextBox 98">
            <a:extLst>
              <a:ext uri="{FF2B5EF4-FFF2-40B4-BE49-F238E27FC236}">
                <a16:creationId xmlns:a16="http://schemas.microsoft.com/office/drawing/2014/main" id="{DAE35542-E0F6-47C6-B805-78147E3E85B5}"/>
              </a:ext>
            </a:extLst>
          </p:cNvPr>
          <p:cNvSpPr txBox="1"/>
          <p:nvPr/>
        </p:nvSpPr>
        <p:spPr>
          <a:xfrm>
            <a:off x="1554003" y="2180934"/>
            <a:ext cx="2251643" cy="616836"/>
          </a:xfrm>
          <a:prstGeom prst="rect">
            <a:avLst/>
          </a:prstGeom>
          <a:noFill/>
        </p:spPr>
        <p:txBody>
          <a:bodyPr wrap="square" rtlCol="0">
            <a:spAutoFit/>
          </a:bodyPr>
          <a:lstStyle/>
          <a:p>
            <a:pPr marL="0" marR="0" lvl="0" indent="0" algn="r" defTabSz="914400" rtl="0" eaLnBrk="1" fontAlgn="auto" latinLnBrk="0" hangingPunct="1">
              <a:lnSpc>
                <a:spcPct val="15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rPr>
              <a:t>A wonderful serenity </a:t>
            </a:r>
            <a:r>
              <a:rPr kumimoji="0" lang="en-US" sz="1200" b="0" i="0" u="none" strike="noStrike" kern="1200" cap="none" spc="0" normalizeH="0" baseline="0" noProof="0">
                <a:ln>
                  <a:noFill/>
                </a:ln>
                <a:solidFill>
                  <a:srgbClr val="000000"/>
                </a:solidFill>
                <a:effectLst/>
                <a:uLnTx/>
                <a:uFillTx/>
                <a:latin typeface="等线" panose="020F0502020204030204"/>
                <a:ea typeface="+mn-ea"/>
                <a:cs typeface="+mn-cs"/>
              </a:rPr>
              <a:t>has taken has this </a:t>
            </a:r>
            <a:r>
              <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rPr>
              <a:t>possession of </a:t>
            </a:r>
            <a:r>
              <a:rPr kumimoji="0" lang="en-US" sz="1200" b="0" i="0" u="none" strike="noStrike" kern="1200" cap="none" spc="0" normalizeH="0" baseline="0" noProof="0">
                <a:ln>
                  <a:noFill/>
                </a:ln>
                <a:solidFill>
                  <a:srgbClr val="000000"/>
                </a:solidFill>
                <a:effectLst/>
                <a:uLnTx/>
                <a:uFillTx/>
                <a:latin typeface="等线" panose="020F0502020204030204"/>
                <a:ea typeface="+mn-ea"/>
                <a:cs typeface="+mn-cs"/>
              </a:rPr>
              <a:t>my entire</a:t>
            </a:r>
            <a:endPar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50" name="TextBox 99">
            <a:extLst>
              <a:ext uri="{FF2B5EF4-FFF2-40B4-BE49-F238E27FC236}">
                <a16:creationId xmlns:a16="http://schemas.microsoft.com/office/drawing/2014/main" id="{1B40ADA0-8899-4B7C-A8A3-3EDF5DA01B7E}"/>
              </a:ext>
            </a:extLst>
          </p:cNvPr>
          <p:cNvSpPr txBox="1"/>
          <p:nvPr/>
        </p:nvSpPr>
        <p:spPr>
          <a:xfrm>
            <a:off x="1657624" y="1918798"/>
            <a:ext cx="2148023" cy="338554"/>
          </a:xfrm>
          <a:prstGeom prst="rect">
            <a:avLst/>
          </a:prstGeom>
          <a:noFill/>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等线 Light" panose="020F0302020204030204"/>
                <a:ea typeface="+mn-ea"/>
                <a:cs typeface="+mn-cs"/>
              </a:rPr>
              <a:t>Description</a:t>
            </a:r>
          </a:p>
        </p:txBody>
      </p:sp>
      <p:sp>
        <p:nvSpPr>
          <p:cNvPr id="51" name="TextBox 100">
            <a:extLst>
              <a:ext uri="{FF2B5EF4-FFF2-40B4-BE49-F238E27FC236}">
                <a16:creationId xmlns:a16="http://schemas.microsoft.com/office/drawing/2014/main" id="{56C2B704-5AEE-48CF-9471-14A3509D45EA}"/>
              </a:ext>
            </a:extLst>
          </p:cNvPr>
          <p:cNvSpPr txBox="1"/>
          <p:nvPr/>
        </p:nvSpPr>
        <p:spPr>
          <a:xfrm>
            <a:off x="2992755" y="1535851"/>
            <a:ext cx="812892" cy="461665"/>
          </a:xfrm>
          <a:prstGeom prst="rect">
            <a:avLst/>
          </a:prstGeom>
          <a:noFill/>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FF4C38"/>
                </a:solidFill>
                <a:effectLst/>
                <a:uLnTx/>
                <a:uFillTx/>
                <a:latin typeface="等线 Light" panose="020F0302020204030204"/>
                <a:ea typeface="+mn-ea"/>
                <a:cs typeface="+mn-cs"/>
              </a:rPr>
              <a:t>25%</a:t>
            </a:r>
          </a:p>
        </p:txBody>
      </p:sp>
      <p:sp>
        <p:nvSpPr>
          <p:cNvPr id="52" name="TextBox 101">
            <a:extLst>
              <a:ext uri="{FF2B5EF4-FFF2-40B4-BE49-F238E27FC236}">
                <a16:creationId xmlns:a16="http://schemas.microsoft.com/office/drawing/2014/main" id="{B72117E1-C97D-4D56-8A2F-DA24E2E541B2}"/>
              </a:ext>
            </a:extLst>
          </p:cNvPr>
          <p:cNvSpPr txBox="1"/>
          <p:nvPr/>
        </p:nvSpPr>
        <p:spPr>
          <a:xfrm>
            <a:off x="8499937" y="1980552"/>
            <a:ext cx="2261988" cy="616836"/>
          </a:xfrm>
          <a:prstGeom prst="rect">
            <a:avLst/>
          </a:prstGeom>
          <a:noFill/>
        </p:spPr>
        <p:txBody>
          <a:bodyPr wrap="square" rtlCol="0">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rPr>
              <a:t>A wonderful serenity </a:t>
            </a:r>
            <a:r>
              <a:rPr kumimoji="0" lang="en-US" sz="1200" b="0" i="0" u="none" strike="noStrike" kern="1200" cap="none" spc="0" normalizeH="0" baseline="0" noProof="0">
                <a:ln>
                  <a:noFill/>
                </a:ln>
                <a:solidFill>
                  <a:srgbClr val="000000"/>
                </a:solidFill>
                <a:effectLst/>
                <a:uLnTx/>
                <a:uFillTx/>
                <a:latin typeface="等线" panose="020F0502020204030204"/>
                <a:ea typeface="+mn-ea"/>
                <a:cs typeface="+mn-cs"/>
              </a:rPr>
              <a:t>has taken has this </a:t>
            </a:r>
            <a:r>
              <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rPr>
              <a:t>possession of </a:t>
            </a:r>
            <a:r>
              <a:rPr kumimoji="0" lang="en-US" sz="1200" b="0" i="0" u="none" strike="noStrike" kern="1200" cap="none" spc="0" normalizeH="0" baseline="0" noProof="0">
                <a:ln>
                  <a:noFill/>
                </a:ln>
                <a:solidFill>
                  <a:srgbClr val="000000"/>
                </a:solidFill>
                <a:effectLst/>
                <a:uLnTx/>
                <a:uFillTx/>
                <a:latin typeface="等线" panose="020F0502020204030204"/>
                <a:ea typeface="+mn-ea"/>
                <a:cs typeface="+mn-cs"/>
              </a:rPr>
              <a:t>my entire</a:t>
            </a:r>
            <a:endPar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53" name="TextBox 102">
            <a:extLst>
              <a:ext uri="{FF2B5EF4-FFF2-40B4-BE49-F238E27FC236}">
                <a16:creationId xmlns:a16="http://schemas.microsoft.com/office/drawing/2014/main" id="{650A2838-59FE-498F-82A9-4784C5ECE955}"/>
              </a:ext>
            </a:extLst>
          </p:cNvPr>
          <p:cNvSpPr txBox="1"/>
          <p:nvPr/>
        </p:nvSpPr>
        <p:spPr>
          <a:xfrm>
            <a:off x="8499937" y="1728320"/>
            <a:ext cx="2148023" cy="33855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等线 Light" panose="020F0302020204030204"/>
                <a:ea typeface="+mn-ea"/>
                <a:cs typeface="+mn-cs"/>
              </a:rPr>
              <a:t>Description</a:t>
            </a:r>
          </a:p>
        </p:txBody>
      </p:sp>
      <p:sp>
        <p:nvSpPr>
          <p:cNvPr id="54" name="TextBox 103">
            <a:extLst>
              <a:ext uri="{FF2B5EF4-FFF2-40B4-BE49-F238E27FC236}">
                <a16:creationId xmlns:a16="http://schemas.microsoft.com/office/drawing/2014/main" id="{954BEE2B-6FF1-44A1-945A-AA283513EA89}"/>
              </a:ext>
            </a:extLst>
          </p:cNvPr>
          <p:cNvSpPr txBox="1"/>
          <p:nvPr/>
        </p:nvSpPr>
        <p:spPr>
          <a:xfrm>
            <a:off x="8499937" y="1335469"/>
            <a:ext cx="812892" cy="46166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FF388A"/>
                </a:solidFill>
                <a:effectLst/>
                <a:uLnTx/>
                <a:uFillTx/>
                <a:latin typeface="等线 Light" panose="020F0302020204030204"/>
                <a:ea typeface="+mn-ea"/>
                <a:cs typeface="+mn-cs"/>
              </a:rPr>
              <a:t>20%</a:t>
            </a:r>
          </a:p>
        </p:txBody>
      </p:sp>
      <p:sp>
        <p:nvSpPr>
          <p:cNvPr id="55" name="TextBox 105">
            <a:extLst>
              <a:ext uri="{FF2B5EF4-FFF2-40B4-BE49-F238E27FC236}">
                <a16:creationId xmlns:a16="http://schemas.microsoft.com/office/drawing/2014/main" id="{B0E09D0C-6069-4944-BF62-AEE6B728DB56}"/>
              </a:ext>
            </a:extLst>
          </p:cNvPr>
          <p:cNvSpPr txBox="1"/>
          <p:nvPr/>
        </p:nvSpPr>
        <p:spPr>
          <a:xfrm>
            <a:off x="868815" y="4389958"/>
            <a:ext cx="2251643" cy="616836"/>
          </a:xfrm>
          <a:prstGeom prst="rect">
            <a:avLst/>
          </a:prstGeom>
          <a:noFill/>
        </p:spPr>
        <p:txBody>
          <a:bodyPr wrap="square" rtlCol="0">
            <a:spAutoFit/>
          </a:bodyPr>
          <a:lstStyle/>
          <a:p>
            <a:pPr marL="0" marR="0" lvl="0" indent="0" algn="r" defTabSz="914400" rtl="0" eaLnBrk="1" fontAlgn="auto" latinLnBrk="0" hangingPunct="1">
              <a:lnSpc>
                <a:spcPct val="15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rPr>
              <a:t>A wonderful serenity </a:t>
            </a:r>
            <a:r>
              <a:rPr kumimoji="0" lang="en-US" sz="1200" b="0" i="0" u="none" strike="noStrike" kern="1200" cap="none" spc="0" normalizeH="0" baseline="0" noProof="0">
                <a:ln>
                  <a:noFill/>
                </a:ln>
                <a:solidFill>
                  <a:srgbClr val="000000"/>
                </a:solidFill>
                <a:effectLst/>
                <a:uLnTx/>
                <a:uFillTx/>
                <a:latin typeface="等线" panose="020F0502020204030204"/>
                <a:ea typeface="+mn-ea"/>
                <a:cs typeface="+mn-cs"/>
              </a:rPr>
              <a:t>has taken has this </a:t>
            </a:r>
            <a:r>
              <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rPr>
              <a:t>possession of </a:t>
            </a:r>
            <a:r>
              <a:rPr kumimoji="0" lang="en-US" sz="1200" b="0" i="0" u="none" strike="noStrike" kern="1200" cap="none" spc="0" normalizeH="0" baseline="0" noProof="0">
                <a:ln>
                  <a:noFill/>
                </a:ln>
                <a:solidFill>
                  <a:srgbClr val="000000"/>
                </a:solidFill>
                <a:effectLst/>
                <a:uLnTx/>
                <a:uFillTx/>
                <a:latin typeface="等线" panose="020F0502020204030204"/>
                <a:ea typeface="+mn-ea"/>
                <a:cs typeface="+mn-cs"/>
              </a:rPr>
              <a:t>my entire</a:t>
            </a:r>
            <a:endPar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56" name="TextBox 106">
            <a:extLst>
              <a:ext uri="{FF2B5EF4-FFF2-40B4-BE49-F238E27FC236}">
                <a16:creationId xmlns:a16="http://schemas.microsoft.com/office/drawing/2014/main" id="{5452DCC3-8FBD-428F-95F5-5452C20C9A07}"/>
              </a:ext>
            </a:extLst>
          </p:cNvPr>
          <p:cNvSpPr txBox="1"/>
          <p:nvPr/>
        </p:nvSpPr>
        <p:spPr>
          <a:xfrm>
            <a:off x="972436" y="4127822"/>
            <a:ext cx="2148023" cy="338554"/>
          </a:xfrm>
          <a:prstGeom prst="rect">
            <a:avLst/>
          </a:prstGeom>
          <a:noFill/>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等线 Light" panose="020F0302020204030204"/>
                <a:ea typeface="+mn-ea"/>
                <a:cs typeface="+mn-cs"/>
              </a:rPr>
              <a:t>Description</a:t>
            </a:r>
          </a:p>
        </p:txBody>
      </p:sp>
      <p:sp>
        <p:nvSpPr>
          <p:cNvPr id="57" name="TextBox 107">
            <a:extLst>
              <a:ext uri="{FF2B5EF4-FFF2-40B4-BE49-F238E27FC236}">
                <a16:creationId xmlns:a16="http://schemas.microsoft.com/office/drawing/2014/main" id="{44BA9934-89FF-409E-9C80-9224B990CBE8}"/>
              </a:ext>
            </a:extLst>
          </p:cNvPr>
          <p:cNvSpPr txBox="1"/>
          <p:nvPr/>
        </p:nvSpPr>
        <p:spPr>
          <a:xfrm>
            <a:off x="2307567" y="3744875"/>
            <a:ext cx="812892" cy="461665"/>
          </a:xfrm>
          <a:prstGeom prst="rect">
            <a:avLst/>
          </a:prstGeom>
          <a:noFill/>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FFD229"/>
                </a:solidFill>
                <a:effectLst/>
                <a:uLnTx/>
                <a:uFillTx/>
                <a:latin typeface="等线 Light" panose="020F0302020204030204"/>
                <a:ea typeface="+mn-ea"/>
                <a:cs typeface="+mn-cs"/>
              </a:rPr>
              <a:t>30%</a:t>
            </a:r>
          </a:p>
        </p:txBody>
      </p:sp>
      <p:grpSp>
        <p:nvGrpSpPr>
          <p:cNvPr id="58" name="Group 183">
            <a:extLst>
              <a:ext uri="{FF2B5EF4-FFF2-40B4-BE49-F238E27FC236}">
                <a16:creationId xmlns:a16="http://schemas.microsoft.com/office/drawing/2014/main" id="{74D67414-1789-45B8-B1FE-142BA75589A6}"/>
              </a:ext>
            </a:extLst>
          </p:cNvPr>
          <p:cNvGrpSpPr/>
          <p:nvPr/>
        </p:nvGrpSpPr>
        <p:grpSpPr>
          <a:xfrm flipH="1" flipV="1">
            <a:off x="8066899" y="4124160"/>
            <a:ext cx="989520" cy="454225"/>
            <a:chOff x="3374750" y="2100504"/>
            <a:chExt cx="989520" cy="454225"/>
          </a:xfrm>
        </p:grpSpPr>
        <p:cxnSp>
          <p:nvCxnSpPr>
            <p:cNvPr id="59" name="Straight Connector 184">
              <a:extLst>
                <a:ext uri="{FF2B5EF4-FFF2-40B4-BE49-F238E27FC236}">
                  <a16:creationId xmlns:a16="http://schemas.microsoft.com/office/drawing/2014/main" id="{98E7DA30-D5AF-441E-84FF-754D5D42DA36}"/>
                </a:ext>
              </a:extLst>
            </p:cNvPr>
            <p:cNvCxnSpPr>
              <a:cxnSpLocks/>
            </p:cNvCxnSpPr>
            <p:nvPr/>
          </p:nvCxnSpPr>
          <p:spPr>
            <a:xfrm flipH="1" flipV="1">
              <a:off x="3910049" y="2100504"/>
              <a:ext cx="454221" cy="454225"/>
            </a:xfrm>
            <a:prstGeom prst="line">
              <a:avLst/>
            </a:prstGeom>
            <a:ln w="28575">
              <a:solidFill>
                <a:schemeClr val="accent4"/>
              </a:solidFill>
              <a:headEnd type="oval"/>
            </a:ln>
          </p:spPr>
          <p:style>
            <a:lnRef idx="1">
              <a:schemeClr val="accent1"/>
            </a:lnRef>
            <a:fillRef idx="0">
              <a:schemeClr val="accent1"/>
            </a:fillRef>
            <a:effectRef idx="0">
              <a:schemeClr val="accent1"/>
            </a:effectRef>
            <a:fontRef idx="minor">
              <a:schemeClr val="tx1"/>
            </a:fontRef>
          </p:style>
        </p:cxnSp>
        <p:cxnSp>
          <p:nvCxnSpPr>
            <p:cNvPr id="60" name="Straight Connector 185">
              <a:extLst>
                <a:ext uri="{FF2B5EF4-FFF2-40B4-BE49-F238E27FC236}">
                  <a16:creationId xmlns:a16="http://schemas.microsoft.com/office/drawing/2014/main" id="{E173E81B-CD59-4862-953F-1A5F00BA57A4}"/>
                </a:ext>
              </a:extLst>
            </p:cNvPr>
            <p:cNvCxnSpPr>
              <a:cxnSpLocks/>
            </p:cNvCxnSpPr>
            <p:nvPr/>
          </p:nvCxnSpPr>
          <p:spPr>
            <a:xfrm flipH="1" flipV="1">
              <a:off x="3374750" y="2102885"/>
              <a:ext cx="545743" cy="0"/>
            </a:xfrm>
            <a:prstGeom prst="line">
              <a:avLst/>
            </a:prstGeom>
            <a:ln w="28575">
              <a:solidFill>
                <a:schemeClr val="accent4"/>
              </a:solidFill>
              <a:tailEnd type="oval"/>
            </a:ln>
          </p:spPr>
          <p:style>
            <a:lnRef idx="1">
              <a:schemeClr val="accent1"/>
            </a:lnRef>
            <a:fillRef idx="0">
              <a:schemeClr val="accent1"/>
            </a:fillRef>
            <a:effectRef idx="0">
              <a:schemeClr val="accent1"/>
            </a:effectRef>
            <a:fontRef idx="minor">
              <a:schemeClr val="tx1"/>
            </a:fontRef>
          </p:style>
        </p:cxnSp>
      </p:grpSp>
      <p:sp>
        <p:nvSpPr>
          <p:cNvPr id="61" name="TextBox 186">
            <a:extLst>
              <a:ext uri="{FF2B5EF4-FFF2-40B4-BE49-F238E27FC236}">
                <a16:creationId xmlns:a16="http://schemas.microsoft.com/office/drawing/2014/main" id="{7A4D940A-9D95-4540-A85F-626FA702C152}"/>
              </a:ext>
            </a:extLst>
          </p:cNvPr>
          <p:cNvSpPr txBox="1"/>
          <p:nvPr/>
        </p:nvSpPr>
        <p:spPr>
          <a:xfrm>
            <a:off x="9058576" y="4791954"/>
            <a:ext cx="2261988" cy="616836"/>
          </a:xfrm>
          <a:prstGeom prst="rect">
            <a:avLst/>
          </a:prstGeom>
          <a:noFill/>
        </p:spPr>
        <p:txBody>
          <a:bodyPr wrap="square" rtlCol="0">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rPr>
              <a:t>A wonderful serenity </a:t>
            </a:r>
            <a:r>
              <a:rPr kumimoji="0" lang="en-US" sz="1200" b="0" i="0" u="none" strike="noStrike" kern="1200" cap="none" spc="0" normalizeH="0" baseline="0" noProof="0">
                <a:ln>
                  <a:noFill/>
                </a:ln>
                <a:solidFill>
                  <a:srgbClr val="000000"/>
                </a:solidFill>
                <a:effectLst/>
                <a:uLnTx/>
                <a:uFillTx/>
                <a:latin typeface="等线" panose="020F0502020204030204"/>
                <a:ea typeface="+mn-ea"/>
                <a:cs typeface="+mn-cs"/>
              </a:rPr>
              <a:t>has taken has this </a:t>
            </a:r>
            <a:r>
              <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rPr>
              <a:t>possession of </a:t>
            </a:r>
            <a:r>
              <a:rPr kumimoji="0" lang="en-US" sz="1200" b="0" i="0" u="none" strike="noStrike" kern="1200" cap="none" spc="0" normalizeH="0" baseline="0" noProof="0">
                <a:ln>
                  <a:noFill/>
                </a:ln>
                <a:solidFill>
                  <a:srgbClr val="000000"/>
                </a:solidFill>
                <a:effectLst/>
                <a:uLnTx/>
                <a:uFillTx/>
                <a:latin typeface="等线" panose="020F0502020204030204"/>
                <a:ea typeface="+mn-ea"/>
                <a:cs typeface="+mn-cs"/>
              </a:rPr>
              <a:t>my entire</a:t>
            </a:r>
            <a:endPar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62" name="TextBox 187">
            <a:extLst>
              <a:ext uri="{FF2B5EF4-FFF2-40B4-BE49-F238E27FC236}">
                <a16:creationId xmlns:a16="http://schemas.microsoft.com/office/drawing/2014/main" id="{522C2854-EEB1-4AAC-B3AC-ECB3DB802C5E}"/>
              </a:ext>
            </a:extLst>
          </p:cNvPr>
          <p:cNvSpPr txBox="1"/>
          <p:nvPr/>
        </p:nvSpPr>
        <p:spPr>
          <a:xfrm>
            <a:off x="9058576" y="4539722"/>
            <a:ext cx="2148023" cy="33855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等线 Light" panose="020F0302020204030204"/>
                <a:ea typeface="+mn-ea"/>
                <a:cs typeface="+mn-cs"/>
              </a:rPr>
              <a:t>Description</a:t>
            </a:r>
          </a:p>
        </p:txBody>
      </p:sp>
      <p:sp>
        <p:nvSpPr>
          <p:cNvPr id="63" name="TextBox 188">
            <a:extLst>
              <a:ext uri="{FF2B5EF4-FFF2-40B4-BE49-F238E27FC236}">
                <a16:creationId xmlns:a16="http://schemas.microsoft.com/office/drawing/2014/main" id="{C170BDE5-3A51-485E-AD41-FDF019B3B4CA}"/>
              </a:ext>
            </a:extLst>
          </p:cNvPr>
          <p:cNvSpPr txBox="1"/>
          <p:nvPr/>
        </p:nvSpPr>
        <p:spPr>
          <a:xfrm>
            <a:off x="9058576" y="4146871"/>
            <a:ext cx="812892" cy="46166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8F38FF"/>
                </a:solidFill>
                <a:effectLst/>
                <a:uLnTx/>
                <a:uFillTx/>
                <a:latin typeface="等线 Light" panose="020F0302020204030204"/>
                <a:ea typeface="+mn-ea"/>
                <a:cs typeface="+mn-cs"/>
              </a:rPr>
              <a:t>25%</a:t>
            </a:r>
          </a:p>
        </p:txBody>
      </p:sp>
      <p:sp>
        <p:nvSpPr>
          <p:cNvPr id="64" name="Freeform: Shape 63">
            <a:extLst>
              <a:ext uri="{FF2B5EF4-FFF2-40B4-BE49-F238E27FC236}">
                <a16:creationId xmlns:a16="http://schemas.microsoft.com/office/drawing/2014/main" id="{5EADAAB2-C889-4CAC-866C-028A0585BA23}"/>
              </a:ext>
            </a:extLst>
          </p:cNvPr>
          <p:cNvSpPr/>
          <p:nvPr/>
        </p:nvSpPr>
        <p:spPr>
          <a:xfrm>
            <a:off x="4209551" y="3429809"/>
            <a:ext cx="428112" cy="604678"/>
          </a:xfrm>
          <a:custGeom>
            <a:avLst/>
            <a:gdLst>
              <a:gd name="connsiteX0" fmla="*/ 337185 w 674370"/>
              <a:gd name="connsiteY0" fmla="*/ 0 h 952500"/>
              <a:gd name="connsiteX1" fmla="*/ 0 w 674370"/>
              <a:gd name="connsiteY1" fmla="*/ 615315 h 952500"/>
              <a:gd name="connsiteX2" fmla="*/ 337185 w 674370"/>
              <a:gd name="connsiteY2" fmla="*/ 952500 h 952500"/>
              <a:gd name="connsiteX3" fmla="*/ 674370 w 674370"/>
              <a:gd name="connsiteY3" fmla="*/ 615315 h 952500"/>
              <a:gd name="connsiteX4" fmla="*/ 337185 w 674370"/>
              <a:gd name="connsiteY4" fmla="*/ 0 h 952500"/>
              <a:gd name="connsiteX5" fmla="*/ 332423 w 674370"/>
              <a:gd name="connsiteY5" fmla="*/ 876300 h 952500"/>
              <a:gd name="connsiteX6" fmla="*/ 76200 w 674370"/>
              <a:gd name="connsiteY6" fmla="*/ 654368 h 952500"/>
              <a:gd name="connsiteX7" fmla="*/ 121920 w 674370"/>
              <a:gd name="connsiteY7" fmla="*/ 641985 h 952500"/>
              <a:gd name="connsiteX8" fmla="*/ 341948 w 674370"/>
              <a:gd name="connsiteY8" fmla="*/ 830580 h 952500"/>
              <a:gd name="connsiteX9" fmla="*/ 332423 w 674370"/>
              <a:gd name="connsiteY9" fmla="*/ 876300 h 952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74370" h="952500">
                <a:moveTo>
                  <a:pt x="337185" y="0"/>
                </a:moveTo>
                <a:cubicBezTo>
                  <a:pt x="337185" y="0"/>
                  <a:pt x="0" y="429578"/>
                  <a:pt x="0" y="615315"/>
                </a:cubicBezTo>
                <a:cubicBezTo>
                  <a:pt x="0" y="801053"/>
                  <a:pt x="150495" y="952500"/>
                  <a:pt x="337185" y="952500"/>
                </a:cubicBezTo>
                <a:cubicBezTo>
                  <a:pt x="522923" y="952500"/>
                  <a:pt x="674370" y="802005"/>
                  <a:pt x="674370" y="615315"/>
                </a:cubicBezTo>
                <a:cubicBezTo>
                  <a:pt x="674370" y="429578"/>
                  <a:pt x="337185" y="0"/>
                  <a:pt x="337185" y="0"/>
                </a:cubicBezTo>
                <a:close/>
                <a:moveTo>
                  <a:pt x="332423" y="876300"/>
                </a:moveTo>
                <a:cubicBezTo>
                  <a:pt x="128588" y="834390"/>
                  <a:pt x="78105" y="661988"/>
                  <a:pt x="76200" y="654368"/>
                </a:cubicBezTo>
                <a:lnTo>
                  <a:pt x="121920" y="641985"/>
                </a:lnTo>
                <a:cubicBezTo>
                  <a:pt x="123825" y="648653"/>
                  <a:pt x="167640" y="794385"/>
                  <a:pt x="341948" y="830580"/>
                </a:cubicBezTo>
                <a:lnTo>
                  <a:pt x="332423" y="876300"/>
                </a:lnTo>
                <a:close/>
              </a:path>
            </a:pathLst>
          </a:custGeom>
          <a:solidFill>
            <a:schemeClr val="bg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nvGrpSpPr>
          <p:cNvPr id="65" name="Graphic 1">
            <a:extLst>
              <a:ext uri="{FF2B5EF4-FFF2-40B4-BE49-F238E27FC236}">
                <a16:creationId xmlns:a16="http://schemas.microsoft.com/office/drawing/2014/main" id="{D2C31F60-A595-46B2-AE8B-12A85A032DF8}"/>
              </a:ext>
            </a:extLst>
          </p:cNvPr>
          <p:cNvGrpSpPr/>
          <p:nvPr/>
        </p:nvGrpSpPr>
        <p:grpSpPr>
          <a:xfrm>
            <a:off x="7344658" y="3099295"/>
            <a:ext cx="604072" cy="604678"/>
            <a:chOff x="3504247" y="1264920"/>
            <a:chExt cx="951547" cy="952500"/>
          </a:xfrm>
          <a:solidFill>
            <a:schemeClr val="bg2"/>
          </a:solidFill>
        </p:grpSpPr>
        <p:sp>
          <p:nvSpPr>
            <p:cNvPr id="66" name="Freeform: Shape 65">
              <a:extLst>
                <a:ext uri="{FF2B5EF4-FFF2-40B4-BE49-F238E27FC236}">
                  <a16:creationId xmlns:a16="http://schemas.microsoft.com/office/drawing/2014/main" id="{6CA3C18D-C347-4E94-B4C9-19CC01F39B79}"/>
                </a:ext>
              </a:extLst>
            </p:cNvPr>
            <p:cNvSpPr/>
            <p:nvPr/>
          </p:nvSpPr>
          <p:spPr>
            <a:xfrm>
              <a:off x="3643311" y="1403985"/>
              <a:ext cx="674369" cy="674369"/>
            </a:xfrm>
            <a:custGeom>
              <a:avLst/>
              <a:gdLst>
                <a:gd name="connsiteX0" fmla="*/ 674370 w 674369"/>
                <a:gd name="connsiteY0" fmla="*/ 337185 h 674369"/>
                <a:gd name="connsiteX1" fmla="*/ 337185 w 674369"/>
                <a:gd name="connsiteY1" fmla="*/ 674370 h 674369"/>
                <a:gd name="connsiteX2" fmla="*/ 0 w 674369"/>
                <a:gd name="connsiteY2" fmla="*/ 337185 h 674369"/>
                <a:gd name="connsiteX3" fmla="*/ 337185 w 674369"/>
                <a:gd name="connsiteY3" fmla="*/ 0 h 674369"/>
                <a:gd name="connsiteX4" fmla="*/ 674370 w 674369"/>
                <a:gd name="connsiteY4" fmla="*/ 337185 h 6743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4369" h="674369">
                  <a:moveTo>
                    <a:pt x="674370" y="337185"/>
                  </a:moveTo>
                  <a:cubicBezTo>
                    <a:pt x="674370" y="523407"/>
                    <a:pt x="523407" y="674370"/>
                    <a:pt x="337185" y="674370"/>
                  </a:cubicBezTo>
                  <a:cubicBezTo>
                    <a:pt x="150963" y="674370"/>
                    <a:pt x="0" y="523407"/>
                    <a:pt x="0" y="337185"/>
                  </a:cubicBezTo>
                  <a:cubicBezTo>
                    <a:pt x="0" y="150963"/>
                    <a:pt x="150963" y="0"/>
                    <a:pt x="337185" y="0"/>
                  </a:cubicBezTo>
                  <a:cubicBezTo>
                    <a:pt x="523407" y="0"/>
                    <a:pt x="674370" y="150963"/>
                    <a:pt x="674370" y="337185"/>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67" name="Freeform: Shape 66">
              <a:extLst>
                <a:ext uri="{FF2B5EF4-FFF2-40B4-BE49-F238E27FC236}">
                  <a16:creationId xmlns:a16="http://schemas.microsoft.com/office/drawing/2014/main" id="{EB3060FA-8474-4C3C-ADED-B1CCE97AE345}"/>
                </a:ext>
              </a:extLst>
            </p:cNvPr>
            <p:cNvSpPr/>
            <p:nvPr/>
          </p:nvSpPr>
          <p:spPr>
            <a:xfrm>
              <a:off x="3956684" y="1264920"/>
              <a:ext cx="47625" cy="75247"/>
            </a:xfrm>
            <a:custGeom>
              <a:avLst/>
              <a:gdLst>
                <a:gd name="connsiteX0" fmla="*/ 0 w 47625"/>
                <a:gd name="connsiteY0" fmla="*/ 0 h 75247"/>
                <a:gd name="connsiteX1" fmla="*/ 47625 w 47625"/>
                <a:gd name="connsiteY1" fmla="*/ 0 h 75247"/>
                <a:gd name="connsiteX2" fmla="*/ 47625 w 47625"/>
                <a:gd name="connsiteY2" fmla="*/ 75248 h 75247"/>
                <a:gd name="connsiteX3" fmla="*/ 0 w 47625"/>
                <a:gd name="connsiteY3" fmla="*/ 75248 h 75247"/>
              </a:gdLst>
              <a:ahLst/>
              <a:cxnLst>
                <a:cxn ang="0">
                  <a:pos x="connsiteX0" y="connsiteY0"/>
                </a:cxn>
                <a:cxn ang="0">
                  <a:pos x="connsiteX1" y="connsiteY1"/>
                </a:cxn>
                <a:cxn ang="0">
                  <a:pos x="connsiteX2" y="connsiteY2"/>
                </a:cxn>
                <a:cxn ang="0">
                  <a:pos x="connsiteX3" y="connsiteY3"/>
                </a:cxn>
              </a:cxnLst>
              <a:rect l="l" t="t" r="r" b="b"/>
              <a:pathLst>
                <a:path w="47625" h="75247">
                  <a:moveTo>
                    <a:pt x="0" y="0"/>
                  </a:moveTo>
                  <a:lnTo>
                    <a:pt x="47625" y="0"/>
                  </a:lnTo>
                  <a:lnTo>
                    <a:pt x="47625" y="75248"/>
                  </a:lnTo>
                  <a:lnTo>
                    <a:pt x="0" y="75248"/>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68" name="Freeform: Shape 67">
              <a:extLst>
                <a:ext uri="{FF2B5EF4-FFF2-40B4-BE49-F238E27FC236}">
                  <a16:creationId xmlns:a16="http://schemas.microsoft.com/office/drawing/2014/main" id="{6D06A4F9-2DF8-4230-A18A-B1EF03BBAD23}"/>
                </a:ext>
              </a:extLst>
            </p:cNvPr>
            <p:cNvSpPr/>
            <p:nvPr/>
          </p:nvSpPr>
          <p:spPr>
            <a:xfrm rot="-2700000">
              <a:off x="3646166" y="1393671"/>
              <a:ext cx="47624" cy="75246"/>
            </a:xfrm>
            <a:custGeom>
              <a:avLst/>
              <a:gdLst>
                <a:gd name="connsiteX0" fmla="*/ 0 w 47624"/>
                <a:gd name="connsiteY0" fmla="*/ 0 h 75246"/>
                <a:gd name="connsiteX1" fmla="*/ 47625 w 47624"/>
                <a:gd name="connsiteY1" fmla="*/ 0 h 75246"/>
                <a:gd name="connsiteX2" fmla="*/ 47625 w 47624"/>
                <a:gd name="connsiteY2" fmla="*/ 75247 h 75246"/>
                <a:gd name="connsiteX3" fmla="*/ 0 w 47624"/>
                <a:gd name="connsiteY3" fmla="*/ 75247 h 75246"/>
              </a:gdLst>
              <a:ahLst/>
              <a:cxnLst>
                <a:cxn ang="0">
                  <a:pos x="connsiteX0" y="connsiteY0"/>
                </a:cxn>
                <a:cxn ang="0">
                  <a:pos x="connsiteX1" y="connsiteY1"/>
                </a:cxn>
                <a:cxn ang="0">
                  <a:pos x="connsiteX2" y="connsiteY2"/>
                </a:cxn>
                <a:cxn ang="0">
                  <a:pos x="connsiteX3" y="connsiteY3"/>
                </a:cxn>
              </a:cxnLst>
              <a:rect l="l" t="t" r="r" b="b"/>
              <a:pathLst>
                <a:path w="47624" h="75246">
                  <a:moveTo>
                    <a:pt x="0" y="0"/>
                  </a:moveTo>
                  <a:lnTo>
                    <a:pt x="47625" y="0"/>
                  </a:lnTo>
                  <a:lnTo>
                    <a:pt x="47625" y="75247"/>
                  </a:lnTo>
                  <a:lnTo>
                    <a:pt x="0" y="75247"/>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69" name="Freeform: Shape 68">
              <a:extLst>
                <a:ext uri="{FF2B5EF4-FFF2-40B4-BE49-F238E27FC236}">
                  <a16:creationId xmlns:a16="http://schemas.microsoft.com/office/drawing/2014/main" id="{2CBF307D-66B4-49A3-A2DF-BE8669B9898D}"/>
                </a:ext>
              </a:extLst>
            </p:cNvPr>
            <p:cNvSpPr/>
            <p:nvPr/>
          </p:nvSpPr>
          <p:spPr>
            <a:xfrm>
              <a:off x="3504247" y="1717357"/>
              <a:ext cx="75247" cy="47625"/>
            </a:xfrm>
            <a:custGeom>
              <a:avLst/>
              <a:gdLst>
                <a:gd name="connsiteX0" fmla="*/ 0 w 75247"/>
                <a:gd name="connsiteY0" fmla="*/ 0 h 47625"/>
                <a:gd name="connsiteX1" fmla="*/ 75247 w 75247"/>
                <a:gd name="connsiteY1" fmla="*/ 0 h 47625"/>
                <a:gd name="connsiteX2" fmla="*/ 75247 w 75247"/>
                <a:gd name="connsiteY2" fmla="*/ 47625 h 47625"/>
                <a:gd name="connsiteX3" fmla="*/ 0 w 75247"/>
                <a:gd name="connsiteY3" fmla="*/ 47625 h 47625"/>
              </a:gdLst>
              <a:ahLst/>
              <a:cxnLst>
                <a:cxn ang="0">
                  <a:pos x="connsiteX0" y="connsiteY0"/>
                </a:cxn>
                <a:cxn ang="0">
                  <a:pos x="connsiteX1" y="connsiteY1"/>
                </a:cxn>
                <a:cxn ang="0">
                  <a:pos x="connsiteX2" y="connsiteY2"/>
                </a:cxn>
                <a:cxn ang="0">
                  <a:pos x="connsiteX3" y="connsiteY3"/>
                </a:cxn>
              </a:cxnLst>
              <a:rect l="l" t="t" r="r" b="b"/>
              <a:pathLst>
                <a:path w="75247" h="47625">
                  <a:moveTo>
                    <a:pt x="0" y="0"/>
                  </a:moveTo>
                  <a:lnTo>
                    <a:pt x="75247" y="0"/>
                  </a:lnTo>
                  <a:lnTo>
                    <a:pt x="75247" y="47625"/>
                  </a:lnTo>
                  <a:lnTo>
                    <a:pt x="0" y="47625"/>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70" name="Freeform: Shape 69">
              <a:extLst>
                <a:ext uri="{FF2B5EF4-FFF2-40B4-BE49-F238E27FC236}">
                  <a16:creationId xmlns:a16="http://schemas.microsoft.com/office/drawing/2014/main" id="{D39F2ECE-88FF-4011-8EEA-FAAFD23CE340}"/>
                </a:ext>
              </a:extLst>
            </p:cNvPr>
            <p:cNvSpPr/>
            <p:nvPr/>
          </p:nvSpPr>
          <p:spPr>
            <a:xfrm rot="-2700000">
              <a:off x="3632314" y="2028140"/>
              <a:ext cx="75246" cy="47624"/>
            </a:xfrm>
            <a:custGeom>
              <a:avLst/>
              <a:gdLst>
                <a:gd name="connsiteX0" fmla="*/ 0 w 75246"/>
                <a:gd name="connsiteY0" fmla="*/ 0 h 47624"/>
                <a:gd name="connsiteX1" fmla="*/ 75247 w 75246"/>
                <a:gd name="connsiteY1" fmla="*/ 0 h 47624"/>
                <a:gd name="connsiteX2" fmla="*/ 75247 w 75246"/>
                <a:gd name="connsiteY2" fmla="*/ 47625 h 47624"/>
                <a:gd name="connsiteX3" fmla="*/ 0 w 75246"/>
                <a:gd name="connsiteY3" fmla="*/ 47625 h 47624"/>
              </a:gdLst>
              <a:ahLst/>
              <a:cxnLst>
                <a:cxn ang="0">
                  <a:pos x="connsiteX0" y="connsiteY0"/>
                </a:cxn>
                <a:cxn ang="0">
                  <a:pos x="connsiteX1" y="connsiteY1"/>
                </a:cxn>
                <a:cxn ang="0">
                  <a:pos x="connsiteX2" y="connsiteY2"/>
                </a:cxn>
                <a:cxn ang="0">
                  <a:pos x="connsiteX3" y="connsiteY3"/>
                </a:cxn>
              </a:cxnLst>
              <a:rect l="l" t="t" r="r" b="b"/>
              <a:pathLst>
                <a:path w="75246" h="47624">
                  <a:moveTo>
                    <a:pt x="0" y="0"/>
                  </a:moveTo>
                  <a:lnTo>
                    <a:pt x="75247" y="0"/>
                  </a:lnTo>
                  <a:lnTo>
                    <a:pt x="75247" y="47625"/>
                  </a:lnTo>
                  <a:lnTo>
                    <a:pt x="0" y="47625"/>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71" name="Freeform: Shape 70">
              <a:extLst>
                <a:ext uri="{FF2B5EF4-FFF2-40B4-BE49-F238E27FC236}">
                  <a16:creationId xmlns:a16="http://schemas.microsoft.com/office/drawing/2014/main" id="{769E6001-DDDB-401A-A70A-31CAC2173117}"/>
                </a:ext>
              </a:extLst>
            </p:cNvPr>
            <p:cNvSpPr/>
            <p:nvPr/>
          </p:nvSpPr>
          <p:spPr>
            <a:xfrm>
              <a:off x="3956684" y="2142172"/>
              <a:ext cx="47625" cy="75247"/>
            </a:xfrm>
            <a:custGeom>
              <a:avLst/>
              <a:gdLst>
                <a:gd name="connsiteX0" fmla="*/ 0 w 47625"/>
                <a:gd name="connsiteY0" fmla="*/ 0 h 75247"/>
                <a:gd name="connsiteX1" fmla="*/ 47625 w 47625"/>
                <a:gd name="connsiteY1" fmla="*/ 0 h 75247"/>
                <a:gd name="connsiteX2" fmla="*/ 47625 w 47625"/>
                <a:gd name="connsiteY2" fmla="*/ 75248 h 75247"/>
                <a:gd name="connsiteX3" fmla="*/ 0 w 47625"/>
                <a:gd name="connsiteY3" fmla="*/ 75248 h 75247"/>
              </a:gdLst>
              <a:ahLst/>
              <a:cxnLst>
                <a:cxn ang="0">
                  <a:pos x="connsiteX0" y="connsiteY0"/>
                </a:cxn>
                <a:cxn ang="0">
                  <a:pos x="connsiteX1" y="connsiteY1"/>
                </a:cxn>
                <a:cxn ang="0">
                  <a:pos x="connsiteX2" y="connsiteY2"/>
                </a:cxn>
                <a:cxn ang="0">
                  <a:pos x="connsiteX3" y="connsiteY3"/>
                </a:cxn>
              </a:cxnLst>
              <a:rect l="l" t="t" r="r" b="b"/>
              <a:pathLst>
                <a:path w="47625" h="75247">
                  <a:moveTo>
                    <a:pt x="0" y="0"/>
                  </a:moveTo>
                  <a:lnTo>
                    <a:pt x="47625" y="0"/>
                  </a:lnTo>
                  <a:lnTo>
                    <a:pt x="47625" y="75248"/>
                  </a:lnTo>
                  <a:lnTo>
                    <a:pt x="0" y="75248"/>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72" name="Freeform: Shape 71">
              <a:extLst>
                <a:ext uri="{FF2B5EF4-FFF2-40B4-BE49-F238E27FC236}">
                  <a16:creationId xmlns:a16="http://schemas.microsoft.com/office/drawing/2014/main" id="{5C449E18-8839-40EE-A9BF-A24FC575445F}"/>
                </a:ext>
              </a:extLst>
            </p:cNvPr>
            <p:cNvSpPr/>
            <p:nvPr/>
          </p:nvSpPr>
          <p:spPr>
            <a:xfrm rot="-2699514">
              <a:off x="4266268" y="2013785"/>
              <a:ext cx="47624" cy="75246"/>
            </a:xfrm>
            <a:custGeom>
              <a:avLst/>
              <a:gdLst>
                <a:gd name="connsiteX0" fmla="*/ 0 w 47624"/>
                <a:gd name="connsiteY0" fmla="*/ 0 h 75246"/>
                <a:gd name="connsiteX1" fmla="*/ 47624 w 47624"/>
                <a:gd name="connsiteY1" fmla="*/ 0 h 75246"/>
                <a:gd name="connsiteX2" fmla="*/ 47624 w 47624"/>
                <a:gd name="connsiteY2" fmla="*/ 75247 h 75246"/>
                <a:gd name="connsiteX3" fmla="*/ 0 w 47624"/>
                <a:gd name="connsiteY3" fmla="*/ 75247 h 75246"/>
              </a:gdLst>
              <a:ahLst/>
              <a:cxnLst>
                <a:cxn ang="0">
                  <a:pos x="connsiteX0" y="connsiteY0"/>
                </a:cxn>
                <a:cxn ang="0">
                  <a:pos x="connsiteX1" y="connsiteY1"/>
                </a:cxn>
                <a:cxn ang="0">
                  <a:pos x="connsiteX2" y="connsiteY2"/>
                </a:cxn>
                <a:cxn ang="0">
                  <a:pos x="connsiteX3" y="connsiteY3"/>
                </a:cxn>
              </a:cxnLst>
              <a:rect l="l" t="t" r="r" b="b"/>
              <a:pathLst>
                <a:path w="47624" h="75246">
                  <a:moveTo>
                    <a:pt x="0" y="0"/>
                  </a:moveTo>
                  <a:lnTo>
                    <a:pt x="47624" y="0"/>
                  </a:lnTo>
                  <a:lnTo>
                    <a:pt x="47624" y="75247"/>
                  </a:lnTo>
                  <a:lnTo>
                    <a:pt x="0" y="75247"/>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73" name="Freeform: Shape 72">
              <a:extLst>
                <a:ext uri="{FF2B5EF4-FFF2-40B4-BE49-F238E27FC236}">
                  <a16:creationId xmlns:a16="http://schemas.microsoft.com/office/drawing/2014/main" id="{32C394DE-C122-4034-90A3-278555FD7273}"/>
                </a:ext>
              </a:extLst>
            </p:cNvPr>
            <p:cNvSpPr/>
            <p:nvPr/>
          </p:nvSpPr>
          <p:spPr>
            <a:xfrm>
              <a:off x="4380547" y="1717357"/>
              <a:ext cx="75247" cy="47625"/>
            </a:xfrm>
            <a:custGeom>
              <a:avLst/>
              <a:gdLst>
                <a:gd name="connsiteX0" fmla="*/ 0 w 75247"/>
                <a:gd name="connsiteY0" fmla="*/ 0 h 47625"/>
                <a:gd name="connsiteX1" fmla="*/ 75247 w 75247"/>
                <a:gd name="connsiteY1" fmla="*/ 0 h 47625"/>
                <a:gd name="connsiteX2" fmla="*/ 75247 w 75247"/>
                <a:gd name="connsiteY2" fmla="*/ 47625 h 47625"/>
                <a:gd name="connsiteX3" fmla="*/ 0 w 75247"/>
                <a:gd name="connsiteY3" fmla="*/ 47625 h 47625"/>
              </a:gdLst>
              <a:ahLst/>
              <a:cxnLst>
                <a:cxn ang="0">
                  <a:pos x="connsiteX0" y="connsiteY0"/>
                </a:cxn>
                <a:cxn ang="0">
                  <a:pos x="connsiteX1" y="connsiteY1"/>
                </a:cxn>
                <a:cxn ang="0">
                  <a:pos x="connsiteX2" y="connsiteY2"/>
                </a:cxn>
                <a:cxn ang="0">
                  <a:pos x="connsiteX3" y="connsiteY3"/>
                </a:cxn>
              </a:cxnLst>
              <a:rect l="l" t="t" r="r" b="b"/>
              <a:pathLst>
                <a:path w="75247" h="47625">
                  <a:moveTo>
                    <a:pt x="0" y="0"/>
                  </a:moveTo>
                  <a:lnTo>
                    <a:pt x="75247" y="0"/>
                  </a:lnTo>
                  <a:lnTo>
                    <a:pt x="75247" y="47625"/>
                  </a:lnTo>
                  <a:lnTo>
                    <a:pt x="0" y="47625"/>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74" name="Freeform: Shape 73">
              <a:extLst>
                <a:ext uri="{FF2B5EF4-FFF2-40B4-BE49-F238E27FC236}">
                  <a16:creationId xmlns:a16="http://schemas.microsoft.com/office/drawing/2014/main" id="{044B0644-495F-4A0B-A5A9-9BF4E0164508}"/>
                </a:ext>
              </a:extLst>
            </p:cNvPr>
            <p:cNvSpPr/>
            <p:nvPr/>
          </p:nvSpPr>
          <p:spPr>
            <a:xfrm rot="-2700000">
              <a:off x="4252353" y="1408059"/>
              <a:ext cx="75246" cy="47624"/>
            </a:xfrm>
            <a:custGeom>
              <a:avLst/>
              <a:gdLst>
                <a:gd name="connsiteX0" fmla="*/ 0 w 75246"/>
                <a:gd name="connsiteY0" fmla="*/ 0 h 47624"/>
                <a:gd name="connsiteX1" fmla="*/ 75247 w 75246"/>
                <a:gd name="connsiteY1" fmla="*/ 0 h 47624"/>
                <a:gd name="connsiteX2" fmla="*/ 75247 w 75246"/>
                <a:gd name="connsiteY2" fmla="*/ 47625 h 47624"/>
                <a:gd name="connsiteX3" fmla="*/ 0 w 75246"/>
                <a:gd name="connsiteY3" fmla="*/ 47625 h 47624"/>
              </a:gdLst>
              <a:ahLst/>
              <a:cxnLst>
                <a:cxn ang="0">
                  <a:pos x="connsiteX0" y="connsiteY0"/>
                </a:cxn>
                <a:cxn ang="0">
                  <a:pos x="connsiteX1" y="connsiteY1"/>
                </a:cxn>
                <a:cxn ang="0">
                  <a:pos x="connsiteX2" y="connsiteY2"/>
                </a:cxn>
                <a:cxn ang="0">
                  <a:pos x="connsiteX3" y="connsiteY3"/>
                </a:cxn>
              </a:cxnLst>
              <a:rect l="l" t="t" r="r" b="b"/>
              <a:pathLst>
                <a:path w="75246" h="47624">
                  <a:moveTo>
                    <a:pt x="0" y="0"/>
                  </a:moveTo>
                  <a:lnTo>
                    <a:pt x="75247" y="0"/>
                  </a:lnTo>
                  <a:lnTo>
                    <a:pt x="75247" y="47625"/>
                  </a:lnTo>
                  <a:lnTo>
                    <a:pt x="0" y="47625"/>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sp>
        <p:nvSpPr>
          <p:cNvPr id="75" name="Freeform: Shape 74">
            <a:extLst>
              <a:ext uri="{FF2B5EF4-FFF2-40B4-BE49-F238E27FC236}">
                <a16:creationId xmlns:a16="http://schemas.microsoft.com/office/drawing/2014/main" id="{8AD976C8-7961-4C0B-A949-B3574A91210E}"/>
              </a:ext>
            </a:extLst>
          </p:cNvPr>
          <p:cNvSpPr/>
          <p:nvPr/>
        </p:nvSpPr>
        <p:spPr>
          <a:xfrm>
            <a:off x="5212992" y="2681994"/>
            <a:ext cx="604758" cy="327758"/>
          </a:xfrm>
          <a:custGeom>
            <a:avLst/>
            <a:gdLst>
              <a:gd name="connsiteX0" fmla="*/ 714375 w 952622"/>
              <a:gd name="connsiteY0" fmla="*/ 269590 h 516287"/>
              <a:gd name="connsiteX1" fmla="*/ 476250 w 952622"/>
              <a:gd name="connsiteY1" fmla="*/ 33 h 516287"/>
              <a:gd name="connsiteX2" fmla="*/ 307658 w 952622"/>
              <a:gd name="connsiteY2" fmla="*/ 209583 h 516287"/>
              <a:gd name="connsiteX3" fmla="*/ 139065 w 952622"/>
              <a:gd name="connsiteY3" fmla="*/ 359125 h 516287"/>
              <a:gd name="connsiteX4" fmla="*/ 0 w 952622"/>
              <a:gd name="connsiteY4" fmla="*/ 516288 h 516287"/>
              <a:gd name="connsiteX5" fmla="*/ 952500 w 952622"/>
              <a:gd name="connsiteY5" fmla="*/ 516288 h 516287"/>
              <a:gd name="connsiteX6" fmla="*/ 714375 w 952622"/>
              <a:gd name="connsiteY6" fmla="*/ 269590 h 516287"/>
              <a:gd name="connsiteX7" fmla="*/ 590550 w 952622"/>
              <a:gd name="connsiteY7" fmla="*/ 229585 h 516287"/>
              <a:gd name="connsiteX8" fmla="*/ 504825 w 952622"/>
              <a:gd name="connsiteY8" fmla="*/ 112428 h 516287"/>
              <a:gd name="connsiteX9" fmla="*/ 525780 w 952622"/>
              <a:gd name="connsiteY9" fmla="*/ 69565 h 516287"/>
              <a:gd name="connsiteX10" fmla="*/ 638175 w 952622"/>
              <a:gd name="connsiteY10" fmla="*/ 221013 h 516287"/>
              <a:gd name="connsiteX11" fmla="*/ 590550 w 952622"/>
              <a:gd name="connsiteY11" fmla="*/ 229585 h 516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52622" h="516287">
                <a:moveTo>
                  <a:pt x="714375" y="269590"/>
                </a:moveTo>
                <a:cubicBezTo>
                  <a:pt x="714375" y="269590"/>
                  <a:pt x="720090" y="33"/>
                  <a:pt x="476250" y="33"/>
                </a:cubicBezTo>
                <a:cubicBezTo>
                  <a:pt x="476250" y="33"/>
                  <a:pt x="307658" y="-7587"/>
                  <a:pt x="307658" y="209583"/>
                </a:cubicBezTo>
                <a:cubicBezTo>
                  <a:pt x="307658" y="209583"/>
                  <a:pt x="139065" y="179103"/>
                  <a:pt x="139065" y="359125"/>
                </a:cubicBezTo>
                <a:cubicBezTo>
                  <a:pt x="139065" y="359125"/>
                  <a:pt x="0" y="308643"/>
                  <a:pt x="0" y="516288"/>
                </a:cubicBezTo>
                <a:lnTo>
                  <a:pt x="952500" y="516288"/>
                </a:lnTo>
                <a:cubicBezTo>
                  <a:pt x="952500" y="516288"/>
                  <a:pt x="965835" y="269590"/>
                  <a:pt x="714375" y="269590"/>
                </a:cubicBezTo>
                <a:close/>
                <a:moveTo>
                  <a:pt x="590550" y="229585"/>
                </a:moveTo>
                <a:cubicBezTo>
                  <a:pt x="579120" y="174340"/>
                  <a:pt x="550545" y="134335"/>
                  <a:pt x="504825" y="112428"/>
                </a:cubicBezTo>
                <a:lnTo>
                  <a:pt x="525780" y="69565"/>
                </a:lnTo>
                <a:cubicBezTo>
                  <a:pt x="566738" y="89568"/>
                  <a:pt x="620078" y="132430"/>
                  <a:pt x="638175" y="221013"/>
                </a:cubicBezTo>
                <a:lnTo>
                  <a:pt x="590550" y="229585"/>
                </a:lnTo>
                <a:close/>
              </a:path>
            </a:pathLst>
          </a:custGeom>
          <a:solidFill>
            <a:schemeClr val="bg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nvGrpSpPr>
          <p:cNvPr id="76" name="Graphic 1">
            <a:extLst>
              <a:ext uri="{FF2B5EF4-FFF2-40B4-BE49-F238E27FC236}">
                <a16:creationId xmlns:a16="http://schemas.microsoft.com/office/drawing/2014/main" id="{AC55BD3E-886B-4056-BE47-5B0E080D8A1F}"/>
              </a:ext>
            </a:extLst>
          </p:cNvPr>
          <p:cNvGrpSpPr/>
          <p:nvPr/>
        </p:nvGrpSpPr>
        <p:grpSpPr>
          <a:xfrm>
            <a:off x="6456009" y="2162522"/>
            <a:ext cx="461972" cy="463180"/>
            <a:chOff x="8959214" y="2548890"/>
            <a:chExt cx="727710" cy="729614"/>
          </a:xfrm>
          <a:solidFill>
            <a:schemeClr val="bg2"/>
          </a:solidFill>
        </p:grpSpPr>
        <p:sp>
          <p:nvSpPr>
            <p:cNvPr id="77" name="Freeform: Shape 76">
              <a:extLst>
                <a:ext uri="{FF2B5EF4-FFF2-40B4-BE49-F238E27FC236}">
                  <a16:creationId xmlns:a16="http://schemas.microsoft.com/office/drawing/2014/main" id="{59612E9F-B481-43E5-A33E-AEEFC923C176}"/>
                </a:ext>
              </a:extLst>
            </p:cNvPr>
            <p:cNvSpPr/>
            <p:nvPr/>
          </p:nvSpPr>
          <p:spPr>
            <a:xfrm>
              <a:off x="8959214" y="3156584"/>
              <a:ext cx="120967" cy="121920"/>
            </a:xfrm>
            <a:custGeom>
              <a:avLst/>
              <a:gdLst>
                <a:gd name="connsiteX0" fmla="*/ 120968 w 120967"/>
                <a:gd name="connsiteY0" fmla="*/ 33338 h 121920"/>
                <a:gd name="connsiteX1" fmla="*/ 33338 w 120967"/>
                <a:gd name="connsiteY1" fmla="*/ 121920 h 121920"/>
                <a:gd name="connsiteX2" fmla="*/ 0 w 120967"/>
                <a:gd name="connsiteY2" fmla="*/ 88583 h 121920"/>
                <a:gd name="connsiteX3" fmla="*/ 87630 w 120967"/>
                <a:gd name="connsiteY3" fmla="*/ 0 h 121920"/>
                <a:gd name="connsiteX4" fmla="*/ 103823 w 120967"/>
                <a:gd name="connsiteY4" fmla="*/ 18098 h 121920"/>
                <a:gd name="connsiteX5" fmla="*/ 120968 w 120967"/>
                <a:gd name="connsiteY5" fmla="*/ 33338 h 121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0967" h="121920">
                  <a:moveTo>
                    <a:pt x="120968" y="33338"/>
                  </a:moveTo>
                  <a:lnTo>
                    <a:pt x="33338" y="121920"/>
                  </a:lnTo>
                  <a:lnTo>
                    <a:pt x="0" y="88583"/>
                  </a:lnTo>
                  <a:lnTo>
                    <a:pt x="87630" y="0"/>
                  </a:lnTo>
                  <a:cubicBezTo>
                    <a:pt x="92393" y="5715"/>
                    <a:pt x="98108" y="12383"/>
                    <a:pt x="103823" y="18098"/>
                  </a:cubicBezTo>
                  <a:cubicBezTo>
                    <a:pt x="109538" y="22860"/>
                    <a:pt x="115253" y="27623"/>
                    <a:pt x="120968" y="3333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nvGrpSpPr>
            <p:cNvPr id="78" name="Graphic 1">
              <a:extLst>
                <a:ext uri="{FF2B5EF4-FFF2-40B4-BE49-F238E27FC236}">
                  <a16:creationId xmlns:a16="http://schemas.microsoft.com/office/drawing/2014/main" id="{611EF0C6-58B7-44D0-8864-598BE61F5AD0}"/>
                </a:ext>
              </a:extLst>
            </p:cNvPr>
            <p:cNvGrpSpPr/>
            <p:nvPr/>
          </p:nvGrpSpPr>
          <p:grpSpPr>
            <a:xfrm>
              <a:off x="8971174" y="2548890"/>
              <a:ext cx="715750" cy="716279"/>
              <a:chOff x="8971174" y="2548890"/>
              <a:chExt cx="715750" cy="716279"/>
            </a:xfrm>
            <a:grpFill/>
          </p:grpSpPr>
          <p:sp>
            <p:nvSpPr>
              <p:cNvPr id="79" name="Freeform: Shape 78">
                <a:extLst>
                  <a:ext uri="{FF2B5EF4-FFF2-40B4-BE49-F238E27FC236}">
                    <a16:creationId xmlns:a16="http://schemas.microsoft.com/office/drawing/2014/main" id="{608D398E-E41D-45E5-A4E1-5C2D3394EAC7}"/>
                  </a:ext>
                </a:extLst>
              </p:cNvPr>
              <p:cNvSpPr/>
              <p:nvPr/>
            </p:nvSpPr>
            <p:spPr>
              <a:xfrm>
                <a:off x="8971174" y="2548890"/>
                <a:ext cx="715750" cy="716279"/>
              </a:xfrm>
              <a:custGeom>
                <a:avLst/>
                <a:gdLst>
                  <a:gd name="connsiteX0" fmla="*/ 686223 w 715750"/>
                  <a:gd name="connsiteY0" fmla="*/ 3810 h 716279"/>
                  <a:gd name="connsiteX1" fmla="*/ 91863 w 715750"/>
                  <a:gd name="connsiteY1" fmla="*/ 180975 h 716279"/>
                  <a:gd name="connsiteX2" fmla="*/ 75670 w 715750"/>
                  <a:gd name="connsiteY2" fmla="*/ 606743 h 716279"/>
                  <a:gd name="connsiteX3" fmla="*/ 149965 w 715750"/>
                  <a:gd name="connsiteY3" fmla="*/ 532447 h 716279"/>
                  <a:gd name="connsiteX4" fmla="*/ 183303 w 715750"/>
                  <a:gd name="connsiteY4" fmla="*/ 565785 h 716279"/>
                  <a:gd name="connsiteX5" fmla="*/ 109008 w 715750"/>
                  <a:gd name="connsiteY5" fmla="*/ 640080 h 716279"/>
                  <a:gd name="connsiteX6" fmla="*/ 313795 w 715750"/>
                  <a:gd name="connsiteY6" fmla="*/ 716280 h 716279"/>
                  <a:gd name="connsiteX7" fmla="*/ 535728 w 715750"/>
                  <a:gd name="connsiteY7" fmla="*/ 624840 h 716279"/>
                  <a:gd name="connsiteX8" fmla="*/ 711940 w 715750"/>
                  <a:gd name="connsiteY8" fmla="*/ 30480 h 716279"/>
                  <a:gd name="connsiteX9" fmla="*/ 715750 w 715750"/>
                  <a:gd name="connsiteY9" fmla="*/ 0 h 716279"/>
                  <a:gd name="connsiteX10" fmla="*/ 686223 w 715750"/>
                  <a:gd name="connsiteY10" fmla="*/ 3810 h 716279"/>
                  <a:gd name="connsiteX11" fmla="*/ 390948 w 715750"/>
                  <a:gd name="connsiteY11" fmla="*/ 454342 h 716279"/>
                  <a:gd name="connsiteX12" fmla="*/ 303318 w 715750"/>
                  <a:gd name="connsiteY12" fmla="*/ 488632 h 716279"/>
                  <a:gd name="connsiteX13" fmla="*/ 215688 w 715750"/>
                  <a:gd name="connsiteY13" fmla="*/ 455295 h 716279"/>
                  <a:gd name="connsiteX14" fmla="*/ 183303 w 715750"/>
                  <a:gd name="connsiteY14" fmla="*/ 362902 h 716279"/>
                  <a:gd name="connsiteX15" fmla="*/ 194733 w 715750"/>
                  <a:gd name="connsiteY15" fmla="*/ 299085 h 716279"/>
                  <a:gd name="connsiteX16" fmla="*/ 217593 w 715750"/>
                  <a:gd name="connsiteY16" fmla="*/ 264795 h 716279"/>
                  <a:gd name="connsiteX17" fmla="*/ 249978 w 715750"/>
                  <a:gd name="connsiteY17" fmla="*/ 242888 h 716279"/>
                  <a:gd name="connsiteX18" fmla="*/ 303318 w 715750"/>
                  <a:gd name="connsiteY18" fmla="*/ 233363 h 716279"/>
                  <a:gd name="connsiteX19" fmla="*/ 390948 w 715750"/>
                  <a:gd name="connsiteY19" fmla="*/ 267652 h 716279"/>
                  <a:gd name="connsiteX20" fmla="*/ 424286 w 715750"/>
                  <a:gd name="connsiteY20" fmla="*/ 361950 h 716279"/>
                  <a:gd name="connsiteX21" fmla="*/ 390948 w 715750"/>
                  <a:gd name="connsiteY21" fmla="*/ 454342 h 716279"/>
                  <a:gd name="connsiteX22" fmla="*/ 500486 w 715750"/>
                  <a:gd name="connsiteY22" fmla="*/ 500063 h 716279"/>
                  <a:gd name="connsiteX23" fmla="*/ 500486 w 715750"/>
                  <a:gd name="connsiteY23" fmla="*/ 516255 h 716279"/>
                  <a:gd name="connsiteX24" fmla="*/ 439525 w 715750"/>
                  <a:gd name="connsiteY24" fmla="*/ 516255 h 716279"/>
                  <a:gd name="connsiteX25" fmla="*/ 445240 w 715750"/>
                  <a:gd name="connsiteY25" fmla="*/ 499110 h 716279"/>
                  <a:gd name="connsiteX26" fmla="*/ 465243 w 715750"/>
                  <a:gd name="connsiteY26" fmla="*/ 477202 h 716279"/>
                  <a:gd name="connsiteX27" fmla="*/ 479530 w 715750"/>
                  <a:gd name="connsiteY27" fmla="*/ 461963 h 716279"/>
                  <a:gd name="connsiteX28" fmla="*/ 483340 w 715750"/>
                  <a:gd name="connsiteY28" fmla="*/ 451485 h 716279"/>
                  <a:gd name="connsiteX29" fmla="*/ 480483 w 715750"/>
                  <a:gd name="connsiteY29" fmla="*/ 442913 h 716279"/>
                  <a:gd name="connsiteX30" fmla="*/ 471911 w 715750"/>
                  <a:gd name="connsiteY30" fmla="*/ 440055 h 716279"/>
                  <a:gd name="connsiteX31" fmla="*/ 463338 w 715750"/>
                  <a:gd name="connsiteY31" fmla="*/ 442913 h 716279"/>
                  <a:gd name="connsiteX32" fmla="*/ 459528 w 715750"/>
                  <a:gd name="connsiteY32" fmla="*/ 454342 h 716279"/>
                  <a:gd name="connsiteX33" fmla="*/ 442383 w 715750"/>
                  <a:gd name="connsiteY33" fmla="*/ 452438 h 716279"/>
                  <a:gd name="connsiteX34" fmla="*/ 451908 w 715750"/>
                  <a:gd name="connsiteY34" fmla="*/ 431482 h 716279"/>
                  <a:gd name="connsiteX35" fmla="*/ 472863 w 715750"/>
                  <a:gd name="connsiteY35" fmla="*/ 424815 h 716279"/>
                  <a:gd name="connsiteX36" fmla="*/ 493818 w 715750"/>
                  <a:gd name="connsiteY36" fmla="*/ 432435 h 716279"/>
                  <a:gd name="connsiteX37" fmla="*/ 501438 w 715750"/>
                  <a:gd name="connsiteY37" fmla="*/ 450532 h 716279"/>
                  <a:gd name="connsiteX38" fmla="*/ 499533 w 715750"/>
                  <a:gd name="connsiteY38" fmla="*/ 461963 h 716279"/>
                  <a:gd name="connsiteX39" fmla="*/ 492865 w 715750"/>
                  <a:gd name="connsiteY39" fmla="*/ 473392 h 716279"/>
                  <a:gd name="connsiteX40" fmla="*/ 481436 w 715750"/>
                  <a:gd name="connsiteY40" fmla="*/ 484822 h 716279"/>
                  <a:gd name="connsiteX41" fmla="*/ 470958 w 715750"/>
                  <a:gd name="connsiteY41" fmla="*/ 495300 h 716279"/>
                  <a:gd name="connsiteX42" fmla="*/ 467148 w 715750"/>
                  <a:gd name="connsiteY42" fmla="*/ 500063 h 716279"/>
                  <a:gd name="connsiteX43" fmla="*/ 500486 w 715750"/>
                  <a:gd name="connsiteY43" fmla="*/ 500063 h 716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715750" h="716279">
                    <a:moveTo>
                      <a:pt x="686223" y="3810"/>
                    </a:moveTo>
                    <a:cubicBezTo>
                      <a:pt x="667173" y="6667"/>
                      <a:pt x="209973" y="62865"/>
                      <a:pt x="91863" y="180975"/>
                    </a:cubicBezTo>
                    <a:cubicBezTo>
                      <a:pt x="-25295" y="297180"/>
                      <a:pt x="-30057" y="483870"/>
                      <a:pt x="75670" y="606743"/>
                    </a:cubicBezTo>
                    <a:lnTo>
                      <a:pt x="149965" y="532447"/>
                    </a:lnTo>
                    <a:lnTo>
                      <a:pt x="183303" y="565785"/>
                    </a:lnTo>
                    <a:lnTo>
                      <a:pt x="109008" y="640080"/>
                    </a:lnTo>
                    <a:cubicBezTo>
                      <a:pt x="168063" y="690563"/>
                      <a:pt x="240453" y="716280"/>
                      <a:pt x="313795" y="716280"/>
                    </a:cubicBezTo>
                    <a:cubicBezTo>
                      <a:pt x="393805" y="716280"/>
                      <a:pt x="474768" y="685800"/>
                      <a:pt x="535728" y="624840"/>
                    </a:cubicBezTo>
                    <a:cubicBezTo>
                      <a:pt x="653838" y="506730"/>
                      <a:pt x="710036" y="50482"/>
                      <a:pt x="711940" y="30480"/>
                    </a:cubicBezTo>
                    <a:lnTo>
                      <a:pt x="715750" y="0"/>
                    </a:lnTo>
                    <a:lnTo>
                      <a:pt x="686223" y="3810"/>
                    </a:lnTo>
                    <a:close/>
                    <a:moveTo>
                      <a:pt x="390948" y="454342"/>
                    </a:moveTo>
                    <a:cubicBezTo>
                      <a:pt x="369040" y="477202"/>
                      <a:pt x="340465" y="488632"/>
                      <a:pt x="303318" y="488632"/>
                    </a:cubicBezTo>
                    <a:cubicBezTo>
                      <a:pt x="266170" y="488632"/>
                      <a:pt x="237595" y="477202"/>
                      <a:pt x="215688" y="455295"/>
                    </a:cubicBezTo>
                    <a:cubicBezTo>
                      <a:pt x="193780" y="432435"/>
                      <a:pt x="183303" y="401955"/>
                      <a:pt x="183303" y="362902"/>
                    </a:cubicBezTo>
                    <a:cubicBezTo>
                      <a:pt x="183303" y="338138"/>
                      <a:pt x="187113" y="316230"/>
                      <a:pt x="194733" y="299085"/>
                    </a:cubicBezTo>
                    <a:cubicBezTo>
                      <a:pt x="200448" y="286702"/>
                      <a:pt x="208068" y="275272"/>
                      <a:pt x="217593" y="264795"/>
                    </a:cubicBezTo>
                    <a:cubicBezTo>
                      <a:pt x="227118" y="254317"/>
                      <a:pt x="237595" y="247650"/>
                      <a:pt x="249978" y="242888"/>
                    </a:cubicBezTo>
                    <a:cubicBezTo>
                      <a:pt x="265218" y="236220"/>
                      <a:pt x="283315" y="233363"/>
                      <a:pt x="303318" y="233363"/>
                    </a:cubicBezTo>
                    <a:cubicBezTo>
                      <a:pt x="339513" y="233363"/>
                      <a:pt x="369040" y="244792"/>
                      <a:pt x="390948" y="267652"/>
                    </a:cubicBezTo>
                    <a:cubicBezTo>
                      <a:pt x="412855" y="290513"/>
                      <a:pt x="424286" y="321945"/>
                      <a:pt x="424286" y="361950"/>
                    </a:cubicBezTo>
                    <a:cubicBezTo>
                      <a:pt x="423333" y="400050"/>
                      <a:pt x="412855" y="431482"/>
                      <a:pt x="390948" y="454342"/>
                    </a:cubicBezTo>
                    <a:close/>
                    <a:moveTo>
                      <a:pt x="500486" y="500063"/>
                    </a:moveTo>
                    <a:lnTo>
                      <a:pt x="500486" y="516255"/>
                    </a:lnTo>
                    <a:lnTo>
                      <a:pt x="439525" y="516255"/>
                    </a:lnTo>
                    <a:cubicBezTo>
                      <a:pt x="440478" y="510540"/>
                      <a:pt x="442383" y="503872"/>
                      <a:pt x="445240" y="499110"/>
                    </a:cubicBezTo>
                    <a:cubicBezTo>
                      <a:pt x="448098" y="493395"/>
                      <a:pt x="454765" y="486727"/>
                      <a:pt x="465243" y="477202"/>
                    </a:cubicBezTo>
                    <a:cubicBezTo>
                      <a:pt x="472863" y="469582"/>
                      <a:pt x="477625" y="464820"/>
                      <a:pt x="479530" y="461963"/>
                    </a:cubicBezTo>
                    <a:cubicBezTo>
                      <a:pt x="482388" y="458152"/>
                      <a:pt x="483340" y="454342"/>
                      <a:pt x="483340" y="451485"/>
                    </a:cubicBezTo>
                    <a:cubicBezTo>
                      <a:pt x="483340" y="447675"/>
                      <a:pt x="482388" y="444817"/>
                      <a:pt x="480483" y="442913"/>
                    </a:cubicBezTo>
                    <a:cubicBezTo>
                      <a:pt x="478578" y="441007"/>
                      <a:pt x="475720" y="440055"/>
                      <a:pt x="471911" y="440055"/>
                    </a:cubicBezTo>
                    <a:cubicBezTo>
                      <a:pt x="468100" y="440055"/>
                      <a:pt x="465243" y="441007"/>
                      <a:pt x="463338" y="442913"/>
                    </a:cubicBezTo>
                    <a:cubicBezTo>
                      <a:pt x="461433" y="444817"/>
                      <a:pt x="459528" y="448627"/>
                      <a:pt x="459528" y="454342"/>
                    </a:cubicBezTo>
                    <a:lnTo>
                      <a:pt x="442383" y="452438"/>
                    </a:lnTo>
                    <a:cubicBezTo>
                      <a:pt x="443336" y="442913"/>
                      <a:pt x="447145" y="436245"/>
                      <a:pt x="451908" y="431482"/>
                    </a:cubicBezTo>
                    <a:cubicBezTo>
                      <a:pt x="456670" y="426720"/>
                      <a:pt x="464290" y="424815"/>
                      <a:pt x="472863" y="424815"/>
                    </a:cubicBezTo>
                    <a:cubicBezTo>
                      <a:pt x="481436" y="424815"/>
                      <a:pt x="489055" y="427672"/>
                      <a:pt x="493818" y="432435"/>
                    </a:cubicBezTo>
                    <a:cubicBezTo>
                      <a:pt x="498580" y="437197"/>
                      <a:pt x="501438" y="442913"/>
                      <a:pt x="501438" y="450532"/>
                    </a:cubicBezTo>
                    <a:cubicBezTo>
                      <a:pt x="501438" y="454342"/>
                      <a:pt x="500486" y="458152"/>
                      <a:pt x="499533" y="461963"/>
                    </a:cubicBezTo>
                    <a:cubicBezTo>
                      <a:pt x="497628" y="465772"/>
                      <a:pt x="495723" y="469582"/>
                      <a:pt x="492865" y="473392"/>
                    </a:cubicBezTo>
                    <a:cubicBezTo>
                      <a:pt x="490961" y="476250"/>
                      <a:pt x="487150" y="480060"/>
                      <a:pt x="481436" y="484822"/>
                    </a:cubicBezTo>
                    <a:cubicBezTo>
                      <a:pt x="475720" y="489585"/>
                      <a:pt x="472863" y="493395"/>
                      <a:pt x="470958" y="495300"/>
                    </a:cubicBezTo>
                    <a:cubicBezTo>
                      <a:pt x="469053" y="497205"/>
                      <a:pt x="468100" y="498157"/>
                      <a:pt x="467148" y="500063"/>
                    </a:cubicBezTo>
                    <a:lnTo>
                      <a:pt x="500486" y="500063"/>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80" name="Freeform: Shape 79">
                <a:extLst>
                  <a:ext uri="{FF2B5EF4-FFF2-40B4-BE49-F238E27FC236}">
                    <a16:creationId xmlns:a16="http://schemas.microsoft.com/office/drawing/2014/main" id="{40418D3D-1454-4DC9-ADD4-7CAF341BFCFB}"/>
                  </a:ext>
                </a:extLst>
              </p:cNvPr>
              <p:cNvSpPr/>
              <p:nvPr/>
            </p:nvSpPr>
            <p:spPr>
              <a:xfrm>
                <a:off x="9205912" y="2824162"/>
                <a:ext cx="137160" cy="170497"/>
              </a:xfrm>
              <a:custGeom>
                <a:avLst/>
                <a:gdLst>
                  <a:gd name="connsiteX0" fmla="*/ 68580 w 137160"/>
                  <a:gd name="connsiteY0" fmla="*/ 0 h 170497"/>
                  <a:gd name="connsiteX1" fmla="*/ 19050 w 137160"/>
                  <a:gd name="connsiteY1" fmla="*/ 20955 h 170497"/>
                  <a:gd name="connsiteX2" fmla="*/ 0 w 137160"/>
                  <a:gd name="connsiteY2" fmla="*/ 84772 h 170497"/>
                  <a:gd name="connsiteX3" fmla="*/ 19050 w 137160"/>
                  <a:gd name="connsiteY3" fmla="*/ 148590 h 170497"/>
                  <a:gd name="connsiteX4" fmla="*/ 68580 w 137160"/>
                  <a:gd name="connsiteY4" fmla="*/ 170497 h 170497"/>
                  <a:gd name="connsiteX5" fmla="*/ 118110 w 137160"/>
                  <a:gd name="connsiteY5" fmla="*/ 148590 h 170497"/>
                  <a:gd name="connsiteX6" fmla="*/ 137160 w 137160"/>
                  <a:gd name="connsiteY6" fmla="*/ 83820 h 170497"/>
                  <a:gd name="connsiteX7" fmla="*/ 118110 w 137160"/>
                  <a:gd name="connsiteY7" fmla="*/ 20003 h 170497"/>
                  <a:gd name="connsiteX8" fmla="*/ 68580 w 137160"/>
                  <a:gd name="connsiteY8" fmla="*/ 0 h 1704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7160" h="170497">
                    <a:moveTo>
                      <a:pt x="68580" y="0"/>
                    </a:moveTo>
                    <a:cubicBezTo>
                      <a:pt x="47625" y="0"/>
                      <a:pt x="31432" y="6667"/>
                      <a:pt x="19050" y="20955"/>
                    </a:cubicBezTo>
                    <a:cubicBezTo>
                      <a:pt x="6668" y="35242"/>
                      <a:pt x="0" y="56197"/>
                      <a:pt x="0" y="84772"/>
                    </a:cubicBezTo>
                    <a:cubicBezTo>
                      <a:pt x="0" y="112395"/>
                      <a:pt x="6668" y="134303"/>
                      <a:pt x="19050" y="148590"/>
                    </a:cubicBezTo>
                    <a:cubicBezTo>
                      <a:pt x="32385" y="162878"/>
                      <a:pt x="48577" y="170497"/>
                      <a:pt x="68580" y="170497"/>
                    </a:cubicBezTo>
                    <a:cubicBezTo>
                      <a:pt x="88582" y="170497"/>
                      <a:pt x="104775" y="162878"/>
                      <a:pt x="118110" y="148590"/>
                    </a:cubicBezTo>
                    <a:cubicBezTo>
                      <a:pt x="130493" y="134303"/>
                      <a:pt x="137160" y="112395"/>
                      <a:pt x="137160" y="83820"/>
                    </a:cubicBezTo>
                    <a:cubicBezTo>
                      <a:pt x="137160" y="55245"/>
                      <a:pt x="130493" y="34290"/>
                      <a:pt x="118110" y="20003"/>
                    </a:cubicBezTo>
                    <a:cubicBezTo>
                      <a:pt x="105727" y="6667"/>
                      <a:pt x="89535" y="0"/>
                      <a:pt x="68580" y="0"/>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grpSp>
      <p:sp>
        <p:nvSpPr>
          <p:cNvPr id="81" name="Freeform: Shape 97">
            <a:extLst>
              <a:ext uri="{FF2B5EF4-FFF2-40B4-BE49-F238E27FC236}">
                <a16:creationId xmlns:a16="http://schemas.microsoft.com/office/drawing/2014/main" id="{8945D90D-F412-4564-95CD-9B14B3B8FAFF}"/>
              </a:ext>
            </a:extLst>
          </p:cNvPr>
          <p:cNvSpPr/>
          <p:nvPr/>
        </p:nvSpPr>
        <p:spPr>
          <a:xfrm>
            <a:off x="-14513" y="6775217"/>
            <a:ext cx="12209996" cy="102649"/>
          </a:xfrm>
          <a:custGeom>
            <a:avLst/>
            <a:gdLst>
              <a:gd name="connsiteX0" fmla="*/ 0 w 10320963"/>
              <a:gd name="connsiteY0" fmla="*/ 0 h 218160"/>
              <a:gd name="connsiteX1" fmla="*/ 10320963 w 10320963"/>
              <a:gd name="connsiteY1" fmla="*/ 0 h 218160"/>
              <a:gd name="connsiteX2" fmla="*/ 10320963 w 10320963"/>
              <a:gd name="connsiteY2" fmla="*/ 218161 h 218160"/>
              <a:gd name="connsiteX3" fmla="*/ 0 w 10320963"/>
              <a:gd name="connsiteY3" fmla="*/ 218161 h 218160"/>
            </a:gdLst>
            <a:ahLst/>
            <a:cxnLst>
              <a:cxn ang="0">
                <a:pos x="connsiteX0" y="connsiteY0"/>
              </a:cxn>
              <a:cxn ang="0">
                <a:pos x="connsiteX1" y="connsiteY1"/>
              </a:cxn>
              <a:cxn ang="0">
                <a:pos x="connsiteX2" y="connsiteY2"/>
              </a:cxn>
              <a:cxn ang="0">
                <a:pos x="connsiteX3" y="connsiteY3"/>
              </a:cxn>
            </a:cxnLst>
            <a:rect l="l" t="t" r="r" b="b"/>
            <a:pathLst>
              <a:path w="10320963" h="218160">
                <a:moveTo>
                  <a:pt x="0" y="0"/>
                </a:moveTo>
                <a:lnTo>
                  <a:pt x="10320963" y="0"/>
                </a:lnTo>
                <a:lnTo>
                  <a:pt x="10320963" y="218161"/>
                </a:lnTo>
                <a:lnTo>
                  <a:pt x="0" y="218161"/>
                </a:lnTo>
                <a:close/>
              </a:path>
            </a:pathLst>
          </a:custGeom>
          <a:solidFill>
            <a:srgbClr val="95C93D"/>
          </a:solidFill>
          <a:ln w="1224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nvGrpSpPr>
          <p:cNvPr id="82" name="Group 87">
            <a:extLst>
              <a:ext uri="{FF2B5EF4-FFF2-40B4-BE49-F238E27FC236}">
                <a16:creationId xmlns:a16="http://schemas.microsoft.com/office/drawing/2014/main" id="{62D15185-42B0-42DB-A1B5-032CEFF681B8}"/>
              </a:ext>
            </a:extLst>
          </p:cNvPr>
          <p:cNvGrpSpPr/>
          <p:nvPr/>
        </p:nvGrpSpPr>
        <p:grpSpPr>
          <a:xfrm>
            <a:off x="3819525" y="1934244"/>
            <a:ext cx="1111609" cy="280181"/>
            <a:chOff x="3078620" y="2100506"/>
            <a:chExt cx="1111609" cy="280181"/>
          </a:xfrm>
        </p:grpSpPr>
        <p:cxnSp>
          <p:nvCxnSpPr>
            <p:cNvPr id="83" name="Straight Connector 88">
              <a:extLst>
                <a:ext uri="{FF2B5EF4-FFF2-40B4-BE49-F238E27FC236}">
                  <a16:creationId xmlns:a16="http://schemas.microsoft.com/office/drawing/2014/main" id="{474AEE05-EF33-48EB-93A9-D7AC323F982A}"/>
                </a:ext>
              </a:extLst>
            </p:cNvPr>
            <p:cNvCxnSpPr>
              <a:cxnSpLocks/>
            </p:cNvCxnSpPr>
            <p:nvPr/>
          </p:nvCxnSpPr>
          <p:spPr>
            <a:xfrm flipH="1" flipV="1">
              <a:off x="3910048" y="2100506"/>
              <a:ext cx="280181" cy="280181"/>
            </a:xfrm>
            <a:prstGeom prst="line">
              <a:avLst/>
            </a:prstGeom>
            <a:ln w="28575">
              <a:solidFill>
                <a:schemeClr val="accent2"/>
              </a:solidFill>
              <a:headEnd type="oval"/>
            </a:ln>
          </p:spPr>
          <p:style>
            <a:lnRef idx="1">
              <a:schemeClr val="accent1"/>
            </a:lnRef>
            <a:fillRef idx="0">
              <a:schemeClr val="accent1"/>
            </a:fillRef>
            <a:effectRef idx="0">
              <a:schemeClr val="accent1"/>
            </a:effectRef>
            <a:fontRef idx="minor">
              <a:schemeClr val="tx1"/>
            </a:fontRef>
          </p:style>
        </p:cxnSp>
        <p:cxnSp>
          <p:nvCxnSpPr>
            <p:cNvPr id="84" name="Straight Connector 89">
              <a:extLst>
                <a:ext uri="{FF2B5EF4-FFF2-40B4-BE49-F238E27FC236}">
                  <a16:creationId xmlns:a16="http://schemas.microsoft.com/office/drawing/2014/main" id="{937EED80-A594-460C-AAB3-806B5497B373}"/>
                </a:ext>
              </a:extLst>
            </p:cNvPr>
            <p:cNvCxnSpPr>
              <a:cxnSpLocks/>
            </p:cNvCxnSpPr>
            <p:nvPr/>
          </p:nvCxnSpPr>
          <p:spPr>
            <a:xfrm flipH="1">
              <a:off x="3078620" y="2105266"/>
              <a:ext cx="839494" cy="0"/>
            </a:xfrm>
            <a:prstGeom prst="line">
              <a:avLst/>
            </a:prstGeom>
            <a:ln w="28575">
              <a:solidFill>
                <a:schemeClr val="accent2"/>
              </a:solidFill>
              <a:tailEnd type="ova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390799774"/>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42"/>
                                        </p:tgtEl>
                                        <p:attrNameLst>
                                          <p:attrName>style.visibility</p:attrName>
                                        </p:attrNameLst>
                                      </p:cBhvr>
                                      <p:to>
                                        <p:strVal val="visible"/>
                                      </p:to>
                                    </p:set>
                                    <p:animEffect transition="in" filter="fade">
                                      <p:cBhvr>
                                        <p:cTn id="7" dur="500"/>
                                        <p:tgtEl>
                                          <p:spTgt spid="42"/>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500"/>
                                        <p:tgtEl>
                                          <p:spTgt spid="2"/>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81"/>
                                        </p:tgtEl>
                                        <p:attrNameLst>
                                          <p:attrName>style.visibility</p:attrName>
                                        </p:attrNameLst>
                                      </p:cBhvr>
                                      <p:to>
                                        <p:strVal val="visible"/>
                                      </p:to>
                                    </p:set>
                                    <p:animEffect transition="in" filter="fade">
                                      <p:cBhvr>
                                        <p:cTn id="14" dur="500"/>
                                        <p:tgtEl>
                                          <p:spTgt spid="81"/>
                                        </p:tgtEl>
                                      </p:cBhvr>
                                    </p:animEffect>
                                  </p:childTnLst>
                                </p:cTn>
                              </p:par>
                            </p:childTnLst>
                          </p:cTn>
                        </p:par>
                        <p:par>
                          <p:cTn id="15" fill="hold">
                            <p:stCondLst>
                              <p:cond delay="1000"/>
                            </p:stCondLst>
                            <p:childTnLst>
                              <p:par>
                                <p:cTn id="16" presetID="22" presetClass="entr" presetSubtype="4" fill="hold" nodeType="afterEffect">
                                  <p:stCondLst>
                                    <p:cond delay="0"/>
                                  </p:stCondLst>
                                  <p:childTnLst>
                                    <p:set>
                                      <p:cBhvr>
                                        <p:cTn id="17" dur="1" fill="hold">
                                          <p:stCondLst>
                                            <p:cond delay="0"/>
                                          </p:stCondLst>
                                        </p:cTn>
                                        <p:tgtEl>
                                          <p:spTgt spid="14"/>
                                        </p:tgtEl>
                                        <p:attrNameLst>
                                          <p:attrName>style.visibility</p:attrName>
                                        </p:attrNameLst>
                                      </p:cBhvr>
                                      <p:to>
                                        <p:strVal val="visible"/>
                                      </p:to>
                                    </p:set>
                                    <p:animEffect transition="in" filter="wipe(down)">
                                      <p:cBhvr>
                                        <p:cTn id="18" dur="500"/>
                                        <p:tgtEl>
                                          <p:spTgt spid="14"/>
                                        </p:tgtEl>
                                      </p:cBhvr>
                                    </p:animEffect>
                                  </p:childTnLst>
                                </p:cTn>
                              </p:par>
                            </p:childTnLst>
                          </p:cTn>
                        </p:par>
                        <p:par>
                          <p:cTn id="19" fill="hold">
                            <p:stCondLst>
                              <p:cond delay="1500"/>
                            </p:stCondLst>
                            <p:childTnLst>
                              <p:par>
                                <p:cTn id="20" presetID="10" presetClass="entr" presetSubtype="0" fill="hold" nodeType="afterEffect">
                                  <p:stCondLst>
                                    <p:cond delay="0"/>
                                  </p:stCondLst>
                                  <p:childTnLst>
                                    <p:set>
                                      <p:cBhvr>
                                        <p:cTn id="21" dur="1" fill="hold">
                                          <p:stCondLst>
                                            <p:cond delay="0"/>
                                          </p:stCondLst>
                                        </p:cTn>
                                        <p:tgtEl>
                                          <p:spTgt spid="36"/>
                                        </p:tgtEl>
                                        <p:attrNameLst>
                                          <p:attrName>style.visibility</p:attrName>
                                        </p:attrNameLst>
                                      </p:cBhvr>
                                      <p:to>
                                        <p:strVal val="visible"/>
                                      </p:to>
                                    </p:set>
                                    <p:animEffect transition="in" filter="fade">
                                      <p:cBhvr>
                                        <p:cTn id="22" dur="500"/>
                                        <p:tgtEl>
                                          <p:spTgt spid="36"/>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64"/>
                                        </p:tgtEl>
                                        <p:attrNameLst>
                                          <p:attrName>style.visibility</p:attrName>
                                        </p:attrNameLst>
                                      </p:cBhvr>
                                      <p:to>
                                        <p:strVal val="visible"/>
                                      </p:to>
                                    </p:set>
                                    <p:animEffect transition="in" filter="fade">
                                      <p:cBhvr>
                                        <p:cTn id="25" dur="500"/>
                                        <p:tgtEl>
                                          <p:spTgt spid="64"/>
                                        </p:tgtEl>
                                      </p:cBhvr>
                                    </p:animEffect>
                                  </p:childTnLst>
                                </p:cTn>
                              </p:par>
                            </p:childTnLst>
                          </p:cTn>
                        </p:par>
                        <p:par>
                          <p:cTn id="26" fill="hold">
                            <p:stCondLst>
                              <p:cond delay="2000"/>
                            </p:stCondLst>
                            <p:childTnLst>
                              <p:par>
                                <p:cTn id="27" presetID="10" presetClass="entr" presetSubtype="0" fill="hold" nodeType="afterEffect">
                                  <p:stCondLst>
                                    <p:cond delay="0"/>
                                  </p:stCondLst>
                                  <p:childTnLst>
                                    <p:set>
                                      <p:cBhvr>
                                        <p:cTn id="28" dur="1" fill="hold">
                                          <p:stCondLst>
                                            <p:cond delay="0"/>
                                          </p:stCondLst>
                                        </p:cTn>
                                        <p:tgtEl>
                                          <p:spTgt spid="39"/>
                                        </p:tgtEl>
                                        <p:attrNameLst>
                                          <p:attrName>style.visibility</p:attrName>
                                        </p:attrNameLst>
                                      </p:cBhvr>
                                      <p:to>
                                        <p:strVal val="visible"/>
                                      </p:to>
                                    </p:set>
                                    <p:animEffect transition="in" filter="fade">
                                      <p:cBhvr>
                                        <p:cTn id="29" dur="500"/>
                                        <p:tgtEl>
                                          <p:spTgt spid="39"/>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75"/>
                                        </p:tgtEl>
                                        <p:attrNameLst>
                                          <p:attrName>style.visibility</p:attrName>
                                        </p:attrNameLst>
                                      </p:cBhvr>
                                      <p:to>
                                        <p:strVal val="visible"/>
                                      </p:to>
                                    </p:set>
                                    <p:animEffect transition="in" filter="fade">
                                      <p:cBhvr>
                                        <p:cTn id="32" dur="500"/>
                                        <p:tgtEl>
                                          <p:spTgt spid="75"/>
                                        </p:tgtEl>
                                      </p:cBhvr>
                                    </p:animEffect>
                                  </p:childTnLst>
                                </p:cTn>
                              </p:par>
                            </p:childTnLst>
                          </p:cTn>
                        </p:par>
                        <p:par>
                          <p:cTn id="33" fill="hold">
                            <p:stCondLst>
                              <p:cond delay="2500"/>
                            </p:stCondLst>
                            <p:childTnLst>
                              <p:par>
                                <p:cTn id="34" presetID="10" presetClass="entr" presetSubtype="0" fill="hold" nodeType="afterEffect">
                                  <p:stCondLst>
                                    <p:cond delay="0"/>
                                  </p:stCondLst>
                                  <p:childTnLst>
                                    <p:set>
                                      <p:cBhvr>
                                        <p:cTn id="35" dur="1" fill="hold">
                                          <p:stCondLst>
                                            <p:cond delay="0"/>
                                          </p:stCondLst>
                                        </p:cTn>
                                        <p:tgtEl>
                                          <p:spTgt spid="3"/>
                                        </p:tgtEl>
                                        <p:attrNameLst>
                                          <p:attrName>style.visibility</p:attrName>
                                        </p:attrNameLst>
                                      </p:cBhvr>
                                      <p:to>
                                        <p:strVal val="visible"/>
                                      </p:to>
                                    </p:set>
                                    <p:animEffect transition="in" filter="fade">
                                      <p:cBhvr>
                                        <p:cTn id="36" dur="500"/>
                                        <p:tgtEl>
                                          <p:spTgt spid="3"/>
                                        </p:tgtEl>
                                      </p:cBhvr>
                                    </p:animEffect>
                                  </p:childTnLst>
                                </p:cTn>
                              </p:par>
                              <p:par>
                                <p:cTn id="37" presetID="10" presetClass="entr" presetSubtype="0" fill="hold" nodeType="withEffect">
                                  <p:stCondLst>
                                    <p:cond delay="0"/>
                                  </p:stCondLst>
                                  <p:childTnLst>
                                    <p:set>
                                      <p:cBhvr>
                                        <p:cTn id="38" dur="1" fill="hold">
                                          <p:stCondLst>
                                            <p:cond delay="0"/>
                                          </p:stCondLst>
                                        </p:cTn>
                                        <p:tgtEl>
                                          <p:spTgt spid="76"/>
                                        </p:tgtEl>
                                        <p:attrNameLst>
                                          <p:attrName>style.visibility</p:attrName>
                                        </p:attrNameLst>
                                      </p:cBhvr>
                                      <p:to>
                                        <p:strVal val="visible"/>
                                      </p:to>
                                    </p:set>
                                    <p:animEffect transition="in" filter="fade">
                                      <p:cBhvr>
                                        <p:cTn id="39" dur="500"/>
                                        <p:tgtEl>
                                          <p:spTgt spid="76"/>
                                        </p:tgtEl>
                                      </p:cBhvr>
                                    </p:animEffect>
                                  </p:childTnLst>
                                </p:cTn>
                              </p:par>
                            </p:childTnLst>
                          </p:cTn>
                        </p:par>
                        <p:par>
                          <p:cTn id="40" fill="hold">
                            <p:stCondLst>
                              <p:cond delay="3000"/>
                            </p:stCondLst>
                            <p:childTnLst>
                              <p:par>
                                <p:cTn id="41" presetID="10" presetClass="entr" presetSubtype="0" fill="hold" nodeType="afterEffect">
                                  <p:stCondLst>
                                    <p:cond delay="0"/>
                                  </p:stCondLst>
                                  <p:childTnLst>
                                    <p:set>
                                      <p:cBhvr>
                                        <p:cTn id="42" dur="1" fill="hold">
                                          <p:stCondLst>
                                            <p:cond delay="0"/>
                                          </p:stCondLst>
                                        </p:cTn>
                                        <p:tgtEl>
                                          <p:spTgt spid="32"/>
                                        </p:tgtEl>
                                        <p:attrNameLst>
                                          <p:attrName>style.visibility</p:attrName>
                                        </p:attrNameLst>
                                      </p:cBhvr>
                                      <p:to>
                                        <p:strVal val="visible"/>
                                      </p:to>
                                    </p:set>
                                    <p:animEffect transition="in" filter="fade">
                                      <p:cBhvr>
                                        <p:cTn id="43" dur="500"/>
                                        <p:tgtEl>
                                          <p:spTgt spid="32"/>
                                        </p:tgtEl>
                                      </p:cBhvr>
                                    </p:animEffect>
                                  </p:childTnLst>
                                </p:cTn>
                              </p:par>
                              <p:par>
                                <p:cTn id="44" presetID="10" presetClass="entr" presetSubtype="0" fill="hold" nodeType="withEffect">
                                  <p:stCondLst>
                                    <p:cond delay="0"/>
                                  </p:stCondLst>
                                  <p:childTnLst>
                                    <p:set>
                                      <p:cBhvr>
                                        <p:cTn id="45" dur="1" fill="hold">
                                          <p:stCondLst>
                                            <p:cond delay="0"/>
                                          </p:stCondLst>
                                        </p:cTn>
                                        <p:tgtEl>
                                          <p:spTgt spid="65"/>
                                        </p:tgtEl>
                                        <p:attrNameLst>
                                          <p:attrName>style.visibility</p:attrName>
                                        </p:attrNameLst>
                                      </p:cBhvr>
                                      <p:to>
                                        <p:strVal val="visible"/>
                                      </p:to>
                                    </p:set>
                                    <p:animEffect transition="in" filter="fade">
                                      <p:cBhvr>
                                        <p:cTn id="46" dur="500"/>
                                        <p:tgtEl>
                                          <p:spTgt spid="65"/>
                                        </p:tgtEl>
                                      </p:cBhvr>
                                    </p:animEffect>
                                  </p:childTnLst>
                                </p:cTn>
                              </p:par>
                            </p:childTnLst>
                          </p:cTn>
                        </p:par>
                        <p:par>
                          <p:cTn id="47" fill="hold">
                            <p:stCondLst>
                              <p:cond delay="3500"/>
                            </p:stCondLst>
                            <p:childTnLst>
                              <p:par>
                                <p:cTn id="48" presetID="22" presetClass="entr" presetSubtype="2" fill="hold" nodeType="afterEffect">
                                  <p:stCondLst>
                                    <p:cond delay="0"/>
                                  </p:stCondLst>
                                  <p:childTnLst>
                                    <p:set>
                                      <p:cBhvr>
                                        <p:cTn id="49" dur="1" fill="hold">
                                          <p:stCondLst>
                                            <p:cond delay="0"/>
                                          </p:stCondLst>
                                        </p:cTn>
                                        <p:tgtEl>
                                          <p:spTgt spid="46"/>
                                        </p:tgtEl>
                                        <p:attrNameLst>
                                          <p:attrName>style.visibility</p:attrName>
                                        </p:attrNameLst>
                                      </p:cBhvr>
                                      <p:to>
                                        <p:strVal val="visible"/>
                                      </p:to>
                                    </p:set>
                                    <p:animEffect transition="in" filter="wipe(right)">
                                      <p:cBhvr>
                                        <p:cTn id="50" dur="500"/>
                                        <p:tgtEl>
                                          <p:spTgt spid="46"/>
                                        </p:tgtEl>
                                      </p:cBhvr>
                                    </p:animEffect>
                                  </p:childTnLst>
                                </p:cTn>
                              </p:par>
                            </p:childTnLst>
                          </p:cTn>
                        </p:par>
                        <p:par>
                          <p:cTn id="51" fill="hold">
                            <p:stCondLst>
                              <p:cond delay="4000"/>
                            </p:stCondLst>
                            <p:childTnLst>
                              <p:par>
                                <p:cTn id="52" presetID="10" presetClass="entr" presetSubtype="0" fill="hold" grpId="0" nodeType="afterEffect">
                                  <p:stCondLst>
                                    <p:cond delay="0"/>
                                  </p:stCondLst>
                                  <p:childTnLst>
                                    <p:set>
                                      <p:cBhvr>
                                        <p:cTn id="53" dur="1" fill="hold">
                                          <p:stCondLst>
                                            <p:cond delay="0"/>
                                          </p:stCondLst>
                                        </p:cTn>
                                        <p:tgtEl>
                                          <p:spTgt spid="57"/>
                                        </p:tgtEl>
                                        <p:attrNameLst>
                                          <p:attrName>style.visibility</p:attrName>
                                        </p:attrNameLst>
                                      </p:cBhvr>
                                      <p:to>
                                        <p:strVal val="visible"/>
                                      </p:to>
                                    </p:set>
                                    <p:animEffect transition="in" filter="fade">
                                      <p:cBhvr>
                                        <p:cTn id="54" dur="500"/>
                                        <p:tgtEl>
                                          <p:spTgt spid="57"/>
                                        </p:tgtEl>
                                      </p:cBhvr>
                                    </p:animEffect>
                                  </p:childTnLst>
                                </p:cTn>
                              </p:par>
                              <p:par>
                                <p:cTn id="55" presetID="10" presetClass="entr" presetSubtype="0" fill="hold" grpId="0" nodeType="withEffect">
                                  <p:stCondLst>
                                    <p:cond delay="0"/>
                                  </p:stCondLst>
                                  <p:childTnLst>
                                    <p:set>
                                      <p:cBhvr>
                                        <p:cTn id="56" dur="1" fill="hold">
                                          <p:stCondLst>
                                            <p:cond delay="0"/>
                                          </p:stCondLst>
                                        </p:cTn>
                                        <p:tgtEl>
                                          <p:spTgt spid="56"/>
                                        </p:tgtEl>
                                        <p:attrNameLst>
                                          <p:attrName>style.visibility</p:attrName>
                                        </p:attrNameLst>
                                      </p:cBhvr>
                                      <p:to>
                                        <p:strVal val="visible"/>
                                      </p:to>
                                    </p:set>
                                    <p:animEffect transition="in" filter="fade">
                                      <p:cBhvr>
                                        <p:cTn id="57" dur="500"/>
                                        <p:tgtEl>
                                          <p:spTgt spid="56"/>
                                        </p:tgtEl>
                                      </p:cBhvr>
                                    </p:animEffect>
                                  </p:childTnLst>
                                </p:cTn>
                              </p:par>
                              <p:par>
                                <p:cTn id="58" presetID="10" presetClass="entr" presetSubtype="0" fill="hold" grpId="0" nodeType="withEffect">
                                  <p:stCondLst>
                                    <p:cond delay="0"/>
                                  </p:stCondLst>
                                  <p:childTnLst>
                                    <p:set>
                                      <p:cBhvr>
                                        <p:cTn id="59" dur="1" fill="hold">
                                          <p:stCondLst>
                                            <p:cond delay="0"/>
                                          </p:stCondLst>
                                        </p:cTn>
                                        <p:tgtEl>
                                          <p:spTgt spid="55"/>
                                        </p:tgtEl>
                                        <p:attrNameLst>
                                          <p:attrName>style.visibility</p:attrName>
                                        </p:attrNameLst>
                                      </p:cBhvr>
                                      <p:to>
                                        <p:strVal val="visible"/>
                                      </p:to>
                                    </p:set>
                                    <p:animEffect transition="in" filter="fade">
                                      <p:cBhvr>
                                        <p:cTn id="60" dur="500"/>
                                        <p:tgtEl>
                                          <p:spTgt spid="55"/>
                                        </p:tgtEl>
                                      </p:cBhvr>
                                    </p:animEffect>
                                  </p:childTnLst>
                                </p:cTn>
                              </p:par>
                            </p:childTnLst>
                          </p:cTn>
                        </p:par>
                        <p:par>
                          <p:cTn id="61" fill="hold">
                            <p:stCondLst>
                              <p:cond delay="4500"/>
                            </p:stCondLst>
                            <p:childTnLst>
                              <p:par>
                                <p:cTn id="62" presetID="22" presetClass="entr" presetSubtype="2" fill="hold" nodeType="afterEffect">
                                  <p:stCondLst>
                                    <p:cond delay="0"/>
                                  </p:stCondLst>
                                  <p:childTnLst>
                                    <p:set>
                                      <p:cBhvr>
                                        <p:cTn id="63" dur="1" fill="hold">
                                          <p:stCondLst>
                                            <p:cond delay="0"/>
                                          </p:stCondLst>
                                        </p:cTn>
                                        <p:tgtEl>
                                          <p:spTgt spid="82"/>
                                        </p:tgtEl>
                                        <p:attrNameLst>
                                          <p:attrName>style.visibility</p:attrName>
                                        </p:attrNameLst>
                                      </p:cBhvr>
                                      <p:to>
                                        <p:strVal val="visible"/>
                                      </p:to>
                                    </p:set>
                                    <p:animEffect transition="in" filter="wipe(right)">
                                      <p:cBhvr>
                                        <p:cTn id="64" dur="500"/>
                                        <p:tgtEl>
                                          <p:spTgt spid="82"/>
                                        </p:tgtEl>
                                      </p:cBhvr>
                                    </p:animEffect>
                                  </p:childTnLst>
                                </p:cTn>
                              </p:par>
                            </p:childTnLst>
                          </p:cTn>
                        </p:par>
                        <p:par>
                          <p:cTn id="65" fill="hold">
                            <p:stCondLst>
                              <p:cond delay="5000"/>
                            </p:stCondLst>
                            <p:childTnLst>
                              <p:par>
                                <p:cTn id="66" presetID="10" presetClass="entr" presetSubtype="0" fill="hold" grpId="0" nodeType="afterEffect">
                                  <p:stCondLst>
                                    <p:cond delay="0"/>
                                  </p:stCondLst>
                                  <p:childTnLst>
                                    <p:set>
                                      <p:cBhvr>
                                        <p:cTn id="67" dur="1" fill="hold">
                                          <p:stCondLst>
                                            <p:cond delay="0"/>
                                          </p:stCondLst>
                                        </p:cTn>
                                        <p:tgtEl>
                                          <p:spTgt spid="51"/>
                                        </p:tgtEl>
                                        <p:attrNameLst>
                                          <p:attrName>style.visibility</p:attrName>
                                        </p:attrNameLst>
                                      </p:cBhvr>
                                      <p:to>
                                        <p:strVal val="visible"/>
                                      </p:to>
                                    </p:set>
                                    <p:animEffect transition="in" filter="fade">
                                      <p:cBhvr>
                                        <p:cTn id="68" dur="500"/>
                                        <p:tgtEl>
                                          <p:spTgt spid="51"/>
                                        </p:tgtEl>
                                      </p:cBhvr>
                                    </p:animEffect>
                                  </p:childTnLst>
                                </p:cTn>
                              </p:par>
                              <p:par>
                                <p:cTn id="69" presetID="10" presetClass="entr" presetSubtype="0" fill="hold" grpId="0" nodeType="withEffect">
                                  <p:stCondLst>
                                    <p:cond delay="0"/>
                                  </p:stCondLst>
                                  <p:childTnLst>
                                    <p:set>
                                      <p:cBhvr>
                                        <p:cTn id="70" dur="1" fill="hold">
                                          <p:stCondLst>
                                            <p:cond delay="0"/>
                                          </p:stCondLst>
                                        </p:cTn>
                                        <p:tgtEl>
                                          <p:spTgt spid="50"/>
                                        </p:tgtEl>
                                        <p:attrNameLst>
                                          <p:attrName>style.visibility</p:attrName>
                                        </p:attrNameLst>
                                      </p:cBhvr>
                                      <p:to>
                                        <p:strVal val="visible"/>
                                      </p:to>
                                    </p:set>
                                    <p:animEffect transition="in" filter="fade">
                                      <p:cBhvr>
                                        <p:cTn id="71" dur="500"/>
                                        <p:tgtEl>
                                          <p:spTgt spid="50"/>
                                        </p:tgtEl>
                                      </p:cBhvr>
                                    </p:animEffect>
                                  </p:childTnLst>
                                </p:cTn>
                              </p:par>
                              <p:par>
                                <p:cTn id="72" presetID="10" presetClass="entr" presetSubtype="0" fill="hold" grpId="0" nodeType="withEffect">
                                  <p:stCondLst>
                                    <p:cond delay="0"/>
                                  </p:stCondLst>
                                  <p:childTnLst>
                                    <p:set>
                                      <p:cBhvr>
                                        <p:cTn id="73" dur="1" fill="hold">
                                          <p:stCondLst>
                                            <p:cond delay="0"/>
                                          </p:stCondLst>
                                        </p:cTn>
                                        <p:tgtEl>
                                          <p:spTgt spid="49"/>
                                        </p:tgtEl>
                                        <p:attrNameLst>
                                          <p:attrName>style.visibility</p:attrName>
                                        </p:attrNameLst>
                                      </p:cBhvr>
                                      <p:to>
                                        <p:strVal val="visible"/>
                                      </p:to>
                                    </p:set>
                                    <p:animEffect transition="in" filter="fade">
                                      <p:cBhvr>
                                        <p:cTn id="74" dur="500"/>
                                        <p:tgtEl>
                                          <p:spTgt spid="49"/>
                                        </p:tgtEl>
                                      </p:cBhvr>
                                    </p:animEffect>
                                  </p:childTnLst>
                                </p:cTn>
                              </p:par>
                            </p:childTnLst>
                          </p:cTn>
                        </p:par>
                        <p:par>
                          <p:cTn id="75" fill="hold">
                            <p:stCondLst>
                              <p:cond delay="5500"/>
                            </p:stCondLst>
                            <p:childTnLst>
                              <p:par>
                                <p:cTn id="76" presetID="22" presetClass="entr" presetSubtype="8" fill="hold" nodeType="afterEffect">
                                  <p:stCondLst>
                                    <p:cond delay="0"/>
                                  </p:stCondLst>
                                  <p:childTnLst>
                                    <p:set>
                                      <p:cBhvr>
                                        <p:cTn id="77" dur="1" fill="hold">
                                          <p:stCondLst>
                                            <p:cond delay="0"/>
                                          </p:stCondLst>
                                        </p:cTn>
                                        <p:tgtEl>
                                          <p:spTgt spid="43"/>
                                        </p:tgtEl>
                                        <p:attrNameLst>
                                          <p:attrName>style.visibility</p:attrName>
                                        </p:attrNameLst>
                                      </p:cBhvr>
                                      <p:to>
                                        <p:strVal val="visible"/>
                                      </p:to>
                                    </p:set>
                                    <p:animEffect transition="in" filter="wipe(left)">
                                      <p:cBhvr>
                                        <p:cTn id="78" dur="500"/>
                                        <p:tgtEl>
                                          <p:spTgt spid="43"/>
                                        </p:tgtEl>
                                      </p:cBhvr>
                                    </p:animEffect>
                                  </p:childTnLst>
                                </p:cTn>
                              </p:par>
                            </p:childTnLst>
                          </p:cTn>
                        </p:par>
                        <p:par>
                          <p:cTn id="79" fill="hold">
                            <p:stCondLst>
                              <p:cond delay="6000"/>
                            </p:stCondLst>
                            <p:childTnLst>
                              <p:par>
                                <p:cTn id="80" presetID="10" presetClass="entr" presetSubtype="0" fill="hold" grpId="0" nodeType="afterEffect">
                                  <p:stCondLst>
                                    <p:cond delay="0"/>
                                  </p:stCondLst>
                                  <p:childTnLst>
                                    <p:set>
                                      <p:cBhvr>
                                        <p:cTn id="81" dur="1" fill="hold">
                                          <p:stCondLst>
                                            <p:cond delay="0"/>
                                          </p:stCondLst>
                                        </p:cTn>
                                        <p:tgtEl>
                                          <p:spTgt spid="54"/>
                                        </p:tgtEl>
                                        <p:attrNameLst>
                                          <p:attrName>style.visibility</p:attrName>
                                        </p:attrNameLst>
                                      </p:cBhvr>
                                      <p:to>
                                        <p:strVal val="visible"/>
                                      </p:to>
                                    </p:set>
                                    <p:animEffect transition="in" filter="fade">
                                      <p:cBhvr>
                                        <p:cTn id="82" dur="500"/>
                                        <p:tgtEl>
                                          <p:spTgt spid="54"/>
                                        </p:tgtEl>
                                      </p:cBhvr>
                                    </p:animEffect>
                                  </p:childTnLst>
                                </p:cTn>
                              </p:par>
                              <p:par>
                                <p:cTn id="83" presetID="10" presetClass="entr" presetSubtype="0" fill="hold" grpId="0" nodeType="withEffect">
                                  <p:stCondLst>
                                    <p:cond delay="0"/>
                                  </p:stCondLst>
                                  <p:childTnLst>
                                    <p:set>
                                      <p:cBhvr>
                                        <p:cTn id="84" dur="1" fill="hold">
                                          <p:stCondLst>
                                            <p:cond delay="0"/>
                                          </p:stCondLst>
                                        </p:cTn>
                                        <p:tgtEl>
                                          <p:spTgt spid="53"/>
                                        </p:tgtEl>
                                        <p:attrNameLst>
                                          <p:attrName>style.visibility</p:attrName>
                                        </p:attrNameLst>
                                      </p:cBhvr>
                                      <p:to>
                                        <p:strVal val="visible"/>
                                      </p:to>
                                    </p:set>
                                    <p:animEffect transition="in" filter="fade">
                                      <p:cBhvr>
                                        <p:cTn id="85" dur="500"/>
                                        <p:tgtEl>
                                          <p:spTgt spid="53"/>
                                        </p:tgtEl>
                                      </p:cBhvr>
                                    </p:animEffect>
                                  </p:childTnLst>
                                </p:cTn>
                              </p:par>
                              <p:par>
                                <p:cTn id="86" presetID="10" presetClass="entr" presetSubtype="0" fill="hold" grpId="0" nodeType="withEffect">
                                  <p:stCondLst>
                                    <p:cond delay="0"/>
                                  </p:stCondLst>
                                  <p:childTnLst>
                                    <p:set>
                                      <p:cBhvr>
                                        <p:cTn id="87" dur="1" fill="hold">
                                          <p:stCondLst>
                                            <p:cond delay="0"/>
                                          </p:stCondLst>
                                        </p:cTn>
                                        <p:tgtEl>
                                          <p:spTgt spid="52"/>
                                        </p:tgtEl>
                                        <p:attrNameLst>
                                          <p:attrName>style.visibility</p:attrName>
                                        </p:attrNameLst>
                                      </p:cBhvr>
                                      <p:to>
                                        <p:strVal val="visible"/>
                                      </p:to>
                                    </p:set>
                                    <p:animEffect transition="in" filter="fade">
                                      <p:cBhvr>
                                        <p:cTn id="88" dur="500"/>
                                        <p:tgtEl>
                                          <p:spTgt spid="52"/>
                                        </p:tgtEl>
                                      </p:cBhvr>
                                    </p:animEffect>
                                  </p:childTnLst>
                                </p:cTn>
                              </p:par>
                            </p:childTnLst>
                          </p:cTn>
                        </p:par>
                        <p:par>
                          <p:cTn id="89" fill="hold">
                            <p:stCondLst>
                              <p:cond delay="6500"/>
                            </p:stCondLst>
                            <p:childTnLst>
                              <p:par>
                                <p:cTn id="90" presetID="22" presetClass="entr" presetSubtype="8" fill="hold" nodeType="afterEffect">
                                  <p:stCondLst>
                                    <p:cond delay="0"/>
                                  </p:stCondLst>
                                  <p:childTnLst>
                                    <p:set>
                                      <p:cBhvr>
                                        <p:cTn id="91" dur="1" fill="hold">
                                          <p:stCondLst>
                                            <p:cond delay="0"/>
                                          </p:stCondLst>
                                        </p:cTn>
                                        <p:tgtEl>
                                          <p:spTgt spid="58"/>
                                        </p:tgtEl>
                                        <p:attrNameLst>
                                          <p:attrName>style.visibility</p:attrName>
                                        </p:attrNameLst>
                                      </p:cBhvr>
                                      <p:to>
                                        <p:strVal val="visible"/>
                                      </p:to>
                                    </p:set>
                                    <p:animEffect transition="in" filter="wipe(left)">
                                      <p:cBhvr>
                                        <p:cTn id="92" dur="500"/>
                                        <p:tgtEl>
                                          <p:spTgt spid="58"/>
                                        </p:tgtEl>
                                      </p:cBhvr>
                                    </p:animEffect>
                                  </p:childTnLst>
                                </p:cTn>
                              </p:par>
                            </p:childTnLst>
                          </p:cTn>
                        </p:par>
                        <p:par>
                          <p:cTn id="93" fill="hold">
                            <p:stCondLst>
                              <p:cond delay="7000"/>
                            </p:stCondLst>
                            <p:childTnLst>
                              <p:par>
                                <p:cTn id="94" presetID="10" presetClass="entr" presetSubtype="0" fill="hold" grpId="0" nodeType="afterEffect">
                                  <p:stCondLst>
                                    <p:cond delay="0"/>
                                  </p:stCondLst>
                                  <p:childTnLst>
                                    <p:set>
                                      <p:cBhvr>
                                        <p:cTn id="95" dur="1" fill="hold">
                                          <p:stCondLst>
                                            <p:cond delay="0"/>
                                          </p:stCondLst>
                                        </p:cTn>
                                        <p:tgtEl>
                                          <p:spTgt spid="63"/>
                                        </p:tgtEl>
                                        <p:attrNameLst>
                                          <p:attrName>style.visibility</p:attrName>
                                        </p:attrNameLst>
                                      </p:cBhvr>
                                      <p:to>
                                        <p:strVal val="visible"/>
                                      </p:to>
                                    </p:set>
                                    <p:animEffect transition="in" filter="fade">
                                      <p:cBhvr>
                                        <p:cTn id="96" dur="500"/>
                                        <p:tgtEl>
                                          <p:spTgt spid="63"/>
                                        </p:tgtEl>
                                      </p:cBhvr>
                                    </p:animEffect>
                                  </p:childTnLst>
                                </p:cTn>
                              </p:par>
                              <p:par>
                                <p:cTn id="97" presetID="10" presetClass="entr" presetSubtype="0" fill="hold" grpId="0" nodeType="withEffect">
                                  <p:stCondLst>
                                    <p:cond delay="0"/>
                                  </p:stCondLst>
                                  <p:childTnLst>
                                    <p:set>
                                      <p:cBhvr>
                                        <p:cTn id="98" dur="1" fill="hold">
                                          <p:stCondLst>
                                            <p:cond delay="0"/>
                                          </p:stCondLst>
                                        </p:cTn>
                                        <p:tgtEl>
                                          <p:spTgt spid="62"/>
                                        </p:tgtEl>
                                        <p:attrNameLst>
                                          <p:attrName>style.visibility</p:attrName>
                                        </p:attrNameLst>
                                      </p:cBhvr>
                                      <p:to>
                                        <p:strVal val="visible"/>
                                      </p:to>
                                    </p:set>
                                    <p:animEffect transition="in" filter="fade">
                                      <p:cBhvr>
                                        <p:cTn id="99" dur="500"/>
                                        <p:tgtEl>
                                          <p:spTgt spid="62"/>
                                        </p:tgtEl>
                                      </p:cBhvr>
                                    </p:animEffect>
                                  </p:childTnLst>
                                </p:cTn>
                              </p:par>
                              <p:par>
                                <p:cTn id="100" presetID="10" presetClass="entr" presetSubtype="0" fill="hold" grpId="0" nodeType="withEffect">
                                  <p:stCondLst>
                                    <p:cond delay="0"/>
                                  </p:stCondLst>
                                  <p:childTnLst>
                                    <p:set>
                                      <p:cBhvr>
                                        <p:cTn id="101" dur="1" fill="hold">
                                          <p:stCondLst>
                                            <p:cond delay="0"/>
                                          </p:stCondLst>
                                        </p:cTn>
                                        <p:tgtEl>
                                          <p:spTgt spid="61"/>
                                        </p:tgtEl>
                                        <p:attrNameLst>
                                          <p:attrName>style.visibility</p:attrName>
                                        </p:attrNameLst>
                                      </p:cBhvr>
                                      <p:to>
                                        <p:strVal val="visible"/>
                                      </p:to>
                                    </p:set>
                                    <p:animEffect transition="in" filter="fade">
                                      <p:cBhvr>
                                        <p:cTn id="102" dur="500"/>
                                        <p:tgtEl>
                                          <p:spTgt spid="6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42" grpId="0"/>
      <p:bldP spid="49" grpId="0"/>
      <p:bldP spid="50" grpId="0"/>
      <p:bldP spid="51" grpId="0"/>
      <p:bldP spid="52" grpId="0"/>
      <p:bldP spid="53" grpId="0"/>
      <p:bldP spid="54" grpId="0"/>
      <p:bldP spid="55" grpId="0"/>
      <p:bldP spid="56" grpId="0"/>
      <p:bldP spid="57" grpId="0"/>
      <p:bldP spid="61" grpId="0"/>
      <p:bldP spid="62" grpId="0"/>
      <p:bldP spid="63" grpId="0"/>
      <p:bldP spid="64" grpId="0" animBg="1"/>
      <p:bldP spid="75" grpId="0" animBg="1"/>
      <p:bldP spid="81" grpId="0" animBg="1"/>
    </p:bldLst>
  </p:timing>
</p:sld>
</file>

<file path=ppt/slides/slide6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93">
            <a:extLst>
              <a:ext uri="{FF2B5EF4-FFF2-40B4-BE49-F238E27FC236}">
                <a16:creationId xmlns:a16="http://schemas.microsoft.com/office/drawing/2014/main" id="{620462CD-EC90-426A-874E-6FB51686E602}"/>
              </a:ext>
            </a:extLst>
          </p:cNvPr>
          <p:cNvSpPr txBox="1">
            <a:spLocks/>
          </p:cNvSpPr>
          <p:nvPr/>
        </p:nvSpPr>
        <p:spPr>
          <a:xfrm>
            <a:off x="571500" y="646341"/>
            <a:ext cx="11023600" cy="587375"/>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4400" b="0" i="0" u="none" strike="noStrike" kern="1200" cap="none" spc="0" normalizeH="0" baseline="0" noProof="0">
                <a:ln>
                  <a:noFill/>
                </a:ln>
                <a:solidFill>
                  <a:srgbClr val="000000"/>
                </a:solidFill>
                <a:effectLst/>
                <a:uLnTx/>
                <a:uFillTx/>
                <a:latin typeface="等线 Light" panose="020F0302020204030204"/>
                <a:ea typeface="+mj-ea"/>
                <a:cs typeface="+mj-cs"/>
              </a:rPr>
              <a:t>Special Tree Diagram</a:t>
            </a:r>
            <a:endParaRPr kumimoji="0" lang="en-US" sz="4400" b="0" i="0" u="none" strike="noStrike" kern="1200" cap="none" spc="0" normalizeH="0" baseline="0" noProof="0" dirty="0">
              <a:ln>
                <a:noFill/>
              </a:ln>
              <a:solidFill>
                <a:srgbClr val="000000"/>
              </a:solidFill>
              <a:effectLst/>
              <a:uLnTx/>
              <a:uFillTx/>
              <a:latin typeface="等线 Light" panose="020F0302020204030204"/>
              <a:ea typeface="+mj-ea"/>
              <a:cs typeface="+mj-cs"/>
            </a:endParaRPr>
          </a:p>
        </p:txBody>
      </p:sp>
      <p:grpSp>
        <p:nvGrpSpPr>
          <p:cNvPr id="4" name="Group 57">
            <a:extLst>
              <a:ext uri="{FF2B5EF4-FFF2-40B4-BE49-F238E27FC236}">
                <a16:creationId xmlns:a16="http://schemas.microsoft.com/office/drawing/2014/main" id="{A4977BF2-5730-4F94-91CB-F7C7E73EA4B3}"/>
              </a:ext>
            </a:extLst>
          </p:cNvPr>
          <p:cNvGrpSpPr/>
          <p:nvPr/>
        </p:nvGrpSpPr>
        <p:grpSpPr>
          <a:xfrm>
            <a:off x="2423604" y="2167391"/>
            <a:ext cx="7422864" cy="4298951"/>
            <a:chOff x="3192748" y="2624138"/>
            <a:chExt cx="7422864" cy="4298951"/>
          </a:xfrm>
        </p:grpSpPr>
        <p:sp>
          <p:nvSpPr>
            <p:cNvPr id="5" name="Freeform 5">
              <a:extLst>
                <a:ext uri="{FF2B5EF4-FFF2-40B4-BE49-F238E27FC236}">
                  <a16:creationId xmlns:a16="http://schemas.microsoft.com/office/drawing/2014/main" id="{A15B2340-FEED-4776-B760-3D73304415F5}"/>
                </a:ext>
              </a:extLst>
            </p:cNvPr>
            <p:cNvSpPr>
              <a:spLocks/>
            </p:cNvSpPr>
            <p:nvPr/>
          </p:nvSpPr>
          <p:spPr bwMode="auto">
            <a:xfrm>
              <a:off x="6416675" y="5438776"/>
              <a:ext cx="676275" cy="1484313"/>
            </a:xfrm>
            <a:custGeom>
              <a:avLst/>
              <a:gdLst>
                <a:gd name="T0" fmla="*/ 1702 w 1702"/>
                <a:gd name="T1" fmla="*/ 3739 h 3739"/>
                <a:gd name="T2" fmla="*/ 0 w 1702"/>
                <a:gd name="T3" fmla="*/ 3739 h 3739"/>
                <a:gd name="T4" fmla="*/ 229 w 1702"/>
                <a:gd name="T5" fmla="*/ 0 h 3739"/>
                <a:gd name="T6" fmla="*/ 1473 w 1702"/>
                <a:gd name="T7" fmla="*/ 0 h 3739"/>
                <a:gd name="T8" fmla="*/ 1702 w 1702"/>
                <a:gd name="T9" fmla="*/ 3739 h 3739"/>
              </a:gdLst>
              <a:ahLst/>
              <a:cxnLst>
                <a:cxn ang="0">
                  <a:pos x="T0" y="T1"/>
                </a:cxn>
                <a:cxn ang="0">
                  <a:pos x="T2" y="T3"/>
                </a:cxn>
                <a:cxn ang="0">
                  <a:pos x="T4" y="T5"/>
                </a:cxn>
                <a:cxn ang="0">
                  <a:pos x="T6" y="T7"/>
                </a:cxn>
                <a:cxn ang="0">
                  <a:pos x="T8" y="T9"/>
                </a:cxn>
              </a:cxnLst>
              <a:rect l="0" t="0" r="r" b="b"/>
              <a:pathLst>
                <a:path w="1702" h="3739">
                  <a:moveTo>
                    <a:pt x="1702" y="3739"/>
                  </a:moveTo>
                  <a:lnTo>
                    <a:pt x="0" y="3739"/>
                  </a:lnTo>
                  <a:lnTo>
                    <a:pt x="229" y="0"/>
                  </a:lnTo>
                  <a:lnTo>
                    <a:pt x="1473" y="0"/>
                  </a:lnTo>
                  <a:lnTo>
                    <a:pt x="1702" y="3739"/>
                  </a:lnTo>
                  <a:close/>
                </a:path>
              </a:pathLst>
            </a:custGeom>
            <a:solidFill>
              <a:srgbClr val="6D6E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6" name="Freeform 6">
              <a:extLst>
                <a:ext uri="{FF2B5EF4-FFF2-40B4-BE49-F238E27FC236}">
                  <a16:creationId xmlns:a16="http://schemas.microsoft.com/office/drawing/2014/main" id="{2B2967FE-A106-49AB-A2A0-96CE5D65BABF}"/>
                </a:ext>
              </a:extLst>
            </p:cNvPr>
            <p:cNvSpPr>
              <a:spLocks/>
            </p:cNvSpPr>
            <p:nvPr/>
          </p:nvSpPr>
          <p:spPr bwMode="auto">
            <a:xfrm>
              <a:off x="6416675" y="5438776"/>
              <a:ext cx="347663" cy="1484313"/>
            </a:xfrm>
            <a:custGeom>
              <a:avLst/>
              <a:gdLst>
                <a:gd name="T0" fmla="*/ 874 w 874"/>
                <a:gd name="T1" fmla="*/ 0 h 3739"/>
                <a:gd name="T2" fmla="*/ 229 w 874"/>
                <a:gd name="T3" fmla="*/ 0 h 3739"/>
                <a:gd name="T4" fmla="*/ 0 w 874"/>
                <a:gd name="T5" fmla="*/ 3739 h 3739"/>
                <a:gd name="T6" fmla="*/ 119 w 874"/>
                <a:gd name="T7" fmla="*/ 3739 h 3739"/>
                <a:gd name="T8" fmla="*/ 874 w 874"/>
                <a:gd name="T9" fmla="*/ 0 h 3739"/>
              </a:gdLst>
              <a:ahLst/>
              <a:cxnLst>
                <a:cxn ang="0">
                  <a:pos x="T0" y="T1"/>
                </a:cxn>
                <a:cxn ang="0">
                  <a:pos x="T2" y="T3"/>
                </a:cxn>
                <a:cxn ang="0">
                  <a:pos x="T4" y="T5"/>
                </a:cxn>
                <a:cxn ang="0">
                  <a:pos x="T6" y="T7"/>
                </a:cxn>
                <a:cxn ang="0">
                  <a:pos x="T8" y="T9"/>
                </a:cxn>
              </a:cxnLst>
              <a:rect l="0" t="0" r="r" b="b"/>
              <a:pathLst>
                <a:path w="874" h="3739">
                  <a:moveTo>
                    <a:pt x="874" y="0"/>
                  </a:moveTo>
                  <a:lnTo>
                    <a:pt x="229" y="0"/>
                  </a:lnTo>
                  <a:lnTo>
                    <a:pt x="0" y="3739"/>
                  </a:lnTo>
                  <a:lnTo>
                    <a:pt x="119" y="3739"/>
                  </a:lnTo>
                  <a:lnTo>
                    <a:pt x="874" y="0"/>
                  </a:lnTo>
                  <a:close/>
                </a:path>
              </a:pathLst>
            </a:custGeom>
            <a:solidFill>
              <a:srgbClr val="D1D3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7" name="Freeform 7">
              <a:extLst>
                <a:ext uri="{FF2B5EF4-FFF2-40B4-BE49-F238E27FC236}">
                  <a16:creationId xmlns:a16="http://schemas.microsoft.com/office/drawing/2014/main" id="{92AB770A-B575-43AA-8968-5784C932E336}"/>
                </a:ext>
              </a:extLst>
            </p:cNvPr>
            <p:cNvSpPr>
              <a:spLocks/>
            </p:cNvSpPr>
            <p:nvPr/>
          </p:nvSpPr>
          <p:spPr bwMode="auto">
            <a:xfrm>
              <a:off x="6464300" y="5438776"/>
              <a:ext cx="398463" cy="1484313"/>
            </a:xfrm>
            <a:custGeom>
              <a:avLst/>
              <a:gdLst>
                <a:gd name="T0" fmla="*/ 0 w 1004"/>
                <a:gd name="T1" fmla="*/ 3739 h 3739"/>
                <a:gd name="T2" fmla="*/ 755 w 1004"/>
                <a:gd name="T3" fmla="*/ 0 h 3739"/>
                <a:gd name="T4" fmla="*/ 1004 w 1004"/>
                <a:gd name="T5" fmla="*/ 0 h 3739"/>
                <a:gd name="T6" fmla="*/ 845 w 1004"/>
                <a:gd name="T7" fmla="*/ 3739 h 3739"/>
                <a:gd name="T8" fmla="*/ 0 w 1004"/>
                <a:gd name="T9" fmla="*/ 3739 h 3739"/>
              </a:gdLst>
              <a:ahLst/>
              <a:cxnLst>
                <a:cxn ang="0">
                  <a:pos x="T0" y="T1"/>
                </a:cxn>
                <a:cxn ang="0">
                  <a:pos x="T2" y="T3"/>
                </a:cxn>
                <a:cxn ang="0">
                  <a:pos x="T4" y="T5"/>
                </a:cxn>
                <a:cxn ang="0">
                  <a:pos x="T6" y="T7"/>
                </a:cxn>
                <a:cxn ang="0">
                  <a:pos x="T8" y="T9"/>
                </a:cxn>
              </a:cxnLst>
              <a:rect l="0" t="0" r="r" b="b"/>
              <a:pathLst>
                <a:path w="1004" h="3739">
                  <a:moveTo>
                    <a:pt x="0" y="3739"/>
                  </a:moveTo>
                  <a:lnTo>
                    <a:pt x="755" y="0"/>
                  </a:lnTo>
                  <a:lnTo>
                    <a:pt x="1004" y="0"/>
                  </a:lnTo>
                  <a:lnTo>
                    <a:pt x="845" y="3739"/>
                  </a:lnTo>
                  <a:lnTo>
                    <a:pt x="0" y="3739"/>
                  </a:lnTo>
                  <a:close/>
                </a:path>
              </a:pathLst>
            </a:custGeom>
            <a:solidFill>
              <a:srgbClr val="9493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8" name="Freeform 8">
              <a:extLst>
                <a:ext uri="{FF2B5EF4-FFF2-40B4-BE49-F238E27FC236}">
                  <a16:creationId xmlns:a16="http://schemas.microsoft.com/office/drawing/2014/main" id="{DFE82BA9-6A68-4206-9162-5F5D1D07E608}"/>
                </a:ext>
              </a:extLst>
            </p:cNvPr>
            <p:cNvSpPr>
              <a:spLocks/>
            </p:cNvSpPr>
            <p:nvPr/>
          </p:nvSpPr>
          <p:spPr bwMode="auto">
            <a:xfrm>
              <a:off x="6122988" y="5573713"/>
              <a:ext cx="433388" cy="881063"/>
            </a:xfrm>
            <a:custGeom>
              <a:avLst/>
              <a:gdLst>
                <a:gd name="T0" fmla="*/ 1056 w 1093"/>
                <a:gd name="T1" fmla="*/ 1565 h 2221"/>
                <a:gd name="T2" fmla="*/ 406 w 1093"/>
                <a:gd name="T3" fmla="*/ 1013 h 2221"/>
                <a:gd name="T4" fmla="*/ 191 w 1093"/>
                <a:gd name="T5" fmla="*/ 0 h 2221"/>
                <a:gd name="T6" fmla="*/ 0 w 1093"/>
                <a:gd name="T7" fmla="*/ 0 h 2221"/>
                <a:gd name="T8" fmla="*/ 148 w 1093"/>
                <a:gd name="T9" fmla="*/ 1092 h 2221"/>
                <a:gd name="T10" fmla="*/ 829 w 1093"/>
                <a:gd name="T11" fmla="*/ 2221 h 2221"/>
                <a:gd name="T12" fmla="*/ 1093 w 1093"/>
                <a:gd name="T13" fmla="*/ 2074 h 2221"/>
                <a:gd name="T14" fmla="*/ 1056 w 1093"/>
                <a:gd name="T15" fmla="*/ 1565 h 22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93" h="2221">
                  <a:moveTo>
                    <a:pt x="1056" y="1565"/>
                  </a:moveTo>
                  <a:lnTo>
                    <a:pt x="406" y="1013"/>
                  </a:lnTo>
                  <a:lnTo>
                    <a:pt x="191" y="0"/>
                  </a:lnTo>
                  <a:lnTo>
                    <a:pt x="0" y="0"/>
                  </a:lnTo>
                  <a:lnTo>
                    <a:pt x="148" y="1092"/>
                  </a:lnTo>
                  <a:lnTo>
                    <a:pt x="829" y="2221"/>
                  </a:lnTo>
                  <a:lnTo>
                    <a:pt x="1093" y="2074"/>
                  </a:lnTo>
                  <a:lnTo>
                    <a:pt x="1056" y="1565"/>
                  </a:lnTo>
                  <a:close/>
                </a:path>
              </a:pathLst>
            </a:custGeom>
            <a:solidFill>
              <a:srgbClr val="9493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9" name="Freeform 9">
              <a:extLst>
                <a:ext uri="{FF2B5EF4-FFF2-40B4-BE49-F238E27FC236}">
                  <a16:creationId xmlns:a16="http://schemas.microsoft.com/office/drawing/2014/main" id="{DB1DC5F2-28BD-42DE-A8F7-A77A8C22F967}"/>
                </a:ext>
              </a:extLst>
            </p:cNvPr>
            <p:cNvSpPr>
              <a:spLocks/>
            </p:cNvSpPr>
            <p:nvPr/>
          </p:nvSpPr>
          <p:spPr bwMode="auto">
            <a:xfrm>
              <a:off x="6181725" y="6007101"/>
              <a:ext cx="374650" cy="449263"/>
            </a:xfrm>
            <a:custGeom>
              <a:avLst/>
              <a:gdLst>
                <a:gd name="T0" fmla="*/ 945 w 945"/>
                <a:gd name="T1" fmla="*/ 984 h 1131"/>
                <a:gd name="T2" fmla="*/ 0 w 945"/>
                <a:gd name="T3" fmla="*/ 0 h 1131"/>
                <a:gd name="T4" fmla="*/ 680 w 945"/>
                <a:gd name="T5" fmla="*/ 1131 h 1131"/>
                <a:gd name="T6" fmla="*/ 945 w 945"/>
                <a:gd name="T7" fmla="*/ 984 h 1131"/>
              </a:gdLst>
              <a:ahLst/>
              <a:cxnLst>
                <a:cxn ang="0">
                  <a:pos x="T0" y="T1"/>
                </a:cxn>
                <a:cxn ang="0">
                  <a:pos x="T2" y="T3"/>
                </a:cxn>
                <a:cxn ang="0">
                  <a:pos x="T4" y="T5"/>
                </a:cxn>
                <a:cxn ang="0">
                  <a:pos x="T6" y="T7"/>
                </a:cxn>
              </a:cxnLst>
              <a:rect l="0" t="0" r="r" b="b"/>
              <a:pathLst>
                <a:path w="945" h="1131">
                  <a:moveTo>
                    <a:pt x="945" y="984"/>
                  </a:moveTo>
                  <a:lnTo>
                    <a:pt x="0" y="0"/>
                  </a:lnTo>
                  <a:lnTo>
                    <a:pt x="680" y="1131"/>
                  </a:lnTo>
                  <a:lnTo>
                    <a:pt x="945" y="984"/>
                  </a:lnTo>
                  <a:close/>
                </a:path>
              </a:pathLst>
            </a:custGeom>
            <a:solidFill>
              <a:srgbClr val="6D6E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0" name="Freeform 10">
              <a:extLst>
                <a:ext uri="{FF2B5EF4-FFF2-40B4-BE49-F238E27FC236}">
                  <a16:creationId xmlns:a16="http://schemas.microsoft.com/office/drawing/2014/main" id="{DF43B5A8-5864-4A8A-835F-43B49E6EBB04}"/>
                </a:ext>
              </a:extLst>
            </p:cNvPr>
            <p:cNvSpPr>
              <a:spLocks/>
            </p:cNvSpPr>
            <p:nvPr/>
          </p:nvSpPr>
          <p:spPr bwMode="auto">
            <a:xfrm>
              <a:off x="6122988" y="5573713"/>
              <a:ext cx="161925" cy="420688"/>
            </a:xfrm>
            <a:custGeom>
              <a:avLst/>
              <a:gdLst>
                <a:gd name="T0" fmla="*/ 0 w 406"/>
                <a:gd name="T1" fmla="*/ 0 h 1063"/>
                <a:gd name="T2" fmla="*/ 191 w 406"/>
                <a:gd name="T3" fmla="*/ 0 h 1063"/>
                <a:gd name="T4" fmla="*/ 406 w 406"/>
                <a:gd name="T5" fmla="*/ 1013 h 1063"/>
                <a:gd name="T6" fmla="*/ 145 w 406"/>
                <a:gd name="T7" fmla="*/ 1063 h 1063"/>
                <a:gd name="T8" fmla="*/ 0 w 406"/>
                <a:gd name="T9" fmla="*/ 0 h 1063"/>
              </a:gdLst>
              <a:ahLst/>
              <a:cxnLst>
                <a:cxn ang="0">
                  <a:pos x="T0" y="T1"/>
                </a:cxn>
                <a:cxn ang="0">
                  <a:pos x="T2" y="T3"/>
                </a:cxn>
                <a:cxn ang="0">
                  <a:pos x="T4" y="T5"/>
                </a:cxn>
                <a:cxn ang="0">
                  <a:pos x="T6" y="T7"/>
                </a:cxn>
                <a:cxn ang="0">
                  <a:pos x="T8" y="T9"/>
                </a:cxn>
              </a:cxnLst>
              <a:rect l="0" t="0" r="r" b="b"/>
              <a:pathLst>
                <a:path w="406" h="1063">
                  <a:moveTo>
                    <a:pt x="0" y="0"/>
                  </a:moveTo>
                  <a:lnTo>
                    <a:pt x="191" y="0"/>
                  </a:lnTo>
                  <a:lnTo>
                    <a:pt x="406" y="1013"/>
                  </a:lnTo>
                  <a:lnTo>
                    <a:pt x="145" y="1063"/>
                  </a:lnTo>
                  <a:lnTo>
                    <a:pt x="0" y="0"/>
                  </a:lnTo>
                  <a:close/>
                </a:path>
              </a:pathLst>
            </a:custGeom>
            <a:solidFill>
              <a:srgbClr val="D1D3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1" name="Freeform 11">
              <a:extLst>
                <a:ext uri="{FF2B5EF4-FFF2-40B4-BE49-F238E27FC236}">
                  <a16:creationId xmlns:a16="http://schemas.microsoft.com/office/drawing/2014/main" id="{970DD992-707A-44E3-979A-935DEB2D30A2}"/>
                </a:ext>
              </a:extLst>
            </p:cNvPr>
            <p:cNvSpPr>
              <a:spLocks/>
            </p:cNvSpPr>
            <p:nvPr/>
          </p:nvSpPr>
          <p:spPr bwMode="auto">
            <a:xfrm>
              <a:off x="6938963" y="5619751"/>
              <a:ext cx="320675" cy="542925"/>
            </a:xfrm>
            <a:custGeom>
              <a:avLst/>
              <a:gdLst>
                <a:gd name="T0" fmla="*/ 0 w 810"/>
                <a:gd name="T1" fmla="*/ 926 h 1367"/>
                <a:gd name="T2" fmla="*/ 0 w 810"/>
                <a:gd name="T3" fmla="*/ 1367 h 1367"/>
                <a:gd name="T4" fmla="*/ 264 w 810"/>
                <a:gd name="T5" fmla="*/ 1281 h 1367"/>
                <a:gd name="T6" fmla="*/ 743 w 810"/>
                <a:gd name="T7" fmla="*/ 595 h 1367"/>
                <a:gd name="T8" fmla="*/ 810 w 810"/>
                <a:gd name="T9" fmla="*/ 0 h 1367"/>
                <a:gd name="T10" fmla="*/ 645 w 810"/>
                <a:gd name="T11" fmla="*/ 0 h 1367"/>
                <a:gd name="T12" fmla="*/ 546 w 810"/>
                <a:gd name="T13" fmla="*/ 557 h 1367"/>
                <a:gd name="T14" fmla="*/ 0 w 810"/>
                <a:gd name="T15" fmla="*/ 926 h 136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10" h="1367">
                  <a:moveTo>
                    <a:pt x="0" y="926"/>
                  </a:moveTo>
                  <a:lnTo>
                    <a:pt x="0" y="1367"/>
                  </a:lnTo>
                  <a:lnTo>
                    <a:pt x="264" y="1281"/>
                  </a:lnTo>
                  <a:lnTo>
                    <a:pt x="743" y="595"/>
                  </a:lnTo>
                  <a:lnTo>
                    <a:pt x="810" y="0"/>
                  </a:lnTo>
                  <a:lnTo>
                    <a:pt x="645" y="0"/>
                  </a:lnTo>
                  <a:lnTo>
                    <a:pt x="546" y="557"/>
                  </a:lnTo>
                  <a:lnTo>
                    <a:pt x="0" y="926"/>
                  </a:lnTo>
                  <a:close/>
                </a:path>
              </a:pathLst>
            </a:custGeom>
            <a:solidFill>
              <a:srgbClr val="9493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2" name="Freeform 12">
              <a:extLst>
                <a:ext uri="{FF2B5EF4-FFF2-40B4-BE49-F238E27FC236}">
                  <a16:creationId xmlns:a16="http://schemas.microsoft.com/office/drawing/2014/main" id="{E27C37DF-0C75-40A9-9757-B99A72A5BEE0}"/>
                </a:ext>
              </a:extLst>
            </p:cNvPr>
            <p:cNvSpPr>
              <a:spLocks/>
            </p:cNvSpPr>
            <p:nvPr/>
          </p:nvSpPr>
          <p:spPr bwMode="auto">
            <a:xfrm>
              <a:off x="6938963" y="5856288"/>
              <a:ext cx="293688" cy="306388"/>
            </a:xfrm>
            <a:custGeom>
              <a:avLst/>
              <a:gdLst>
                <a:gd name="T0" fmla="*/ 0 w 743"/>
                <a:gd name="T1" fmla="*/ 772 h 772"/>
                <a:gd name="T2" fmla="*/ 743 w 743"/>
                <a:gd name="T3" fmla="*/ 0 h 772"/>
                <a:gd name="T4" fmla="*/ 264 w 743"/>
                <a:gd name="T5" fmla="*/ 686 h 772"/>
                <a:gd name="T6" fmla="*/ 0 w 743"/>
                <a:gd name="T7" fmla="*/ 772 h 772"/>
              </a:gdLst>
              <a:ahLst/>
              <a:cxnLst>
                <a:cxn ang="0">
                  <a:pos x="T0" y="T1"/>
                </a:cxn>
                <a:cxn ang="0">
                  <a:pos x="T2" y="T3"/>
                </a:cxn>
                <a:cxn ang="0">
                  <a:pos x="T4" y="T5"/>
                </a:cxn>
                <a:cxn ang="0">
                  <a:pos x="T6" y="T7"/>
                </a:cxn>
              </a:cxnLst>
              <a:rect l="0" t="0" r="r" b="b"/>
              <a:pathLst>
                <a:path w="743" h="772">
                  <a:moveTo>
                    <a:pt x="0" y="772"/>
                  </a:moveTo>
                  <a:lnTo>
                    <a:pt x="743" y="0"/>
                  </a:lnTo>
                  <a:lnTo>
                    <a:pt x="264" y="686"/>
                  </a:lnTo>
                  <a:lnTo>
                    <a:pt x="0" y="772"/>
                  </a:lnTo>
                  <a:close/>
                </a:path>
              </a:pathLst>
            </a:custGeom>
            <a:solidFill>
              <a:srgbClr val="6D6E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3" name="Freeform 13">
              <a:extLst>
                <a:ext uri="{FF2B5EF4-FFF2-40B4-BE49-F238E27FC236}">
                  <a16:creationId xmlns:a16="http://schemas.microsoft.com/office/drawing/2014/main" id="{3B1C90D4-A2C9-4275-BC47-4FADE078C826}"/>
                </a:ext>
              </a:extLst>
            </p:cNvPr>
            <p:cNvSpPr>
              <a:spLocks/>
            </p:cNvSpPr>
            <p:nvPr/>
          </p:nvSpPr>
          <p:spPr bwMode="auto">
            <a:xfrm>
              <a:off x="7154863" y="5619751"/>
              <a:ext cx="104775" cy="220663"/>
            </a:xfrm>
            <a:custGeom>
              <a:avLst/>
              <a:gdLst>
                <a:gd name="T0" fmla="*/ 0 w 264"/>
                <a:gd name="T1" fmla="*/ 556 h 556"/>
                <a:gd name="T2" fmla="*/ 99 w 264"/>
                <a:gd name="T3" fmla="*/ 0 h 556"/>
                <a:gd name="T4" fmla="*/ 264 w 264"/>
                <a:gd name="T5" fmla="*/ 0 h 556"/>
                <a:gd name="T6" fmla="*/ 202 w 264"/>
                <a:gd name="T7" fmla="*/ 556 h 556"/>
                <a:gd name="T8" fmla="*/ 0 w 264"/>
                <a:gd name="T9" fmla="*/ 556 h 556"/>
              </a:gdLst>
              <a:ahLst/>
              <a:cxnLst>
                <a:cxn ang="0">
                  <a:pos x="T0" y="T1"/>
                </a:cxn>
                <a:cxn ang="0">
                  <a:pos x="T2" y="T3"/>
                </a:cxn>
                <a:cxn ang="0">
                  <a:pos x="T4" y="T5"/>
                </a:cxn>
                <a:cxn ang="0">
                  <a:pos x="T6" y="T7"/>
                </a:cxn>
                <a:cxn ang="0">
                  <a:pos x="T8" y="T9"/>
                </a:cxn>
              </a:cxnLst>
              <a:rect l="0" t="0" r="r" b="b"/>
              <a:pathLst>
                <a:path w="264" h="556">
                  <a:moveTo>
                    <a:pt x="0" y="556"/>
                  </a:moveTo>
                  <a:lnTo>
                    <a:pt x="99" y="0"/>
                  </a:lnTo>
                  <a:lnTo>
                    <a:pt x="264" y="0"/>
                  </a:lnTo>
                  <a:lnTo>
                    <a:pt x="202" y="556"/>
                  </a:lnTo>
                  <a:lnTo>
                    <a:pt x="0" y="556"/>
                  </a:lnTo>
                  <a:close/>
                </a:path>
              </a:pathLst>
            </a:custGeom>
            <a:solidFill>
              <a:srgbClr val="D1D3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4" name="Freeform 16">
              <a:extLst>
                <a:ext uri="{FF2B5EF4-FFF2-40B4-BE49-F238E27FC236}">
                  <a16:creationId xmlns:a16="http://schemas.microsoft.com/office/drawing/2014/main" id="{43459243-6B25-4616-AAB6-D042CDE7E207}"/>
                </a:ext>
              </a:extLst>
            </p:cNvPr>
            <p:cNvSpPr>
              <a:spLocks/>
            </p:cNvSpPr>
            <p:nvPr/>
          </p:nvSpPr>
          <p:spPr bwMode="auto">
            <a:xfrm>
              <a:off x="4918075" y="4032251"/>
              <a:ext cx="447675" cy="963613"/>
            </a:xfrm>
            <a:custGeom>
              <a:avLst/>
              <a:gdLst>
                <a:gd name="T0" fmla="*/ 0 w 1131"/>
                <a:gd name="T1" fmla="*/ 0 h 2429"/>
                <a:gd name="T2" fmla="*/ 490 w 1131"/>
                <a:gd name="T3" fmla="*/ 2429 h 2429"/>
                <a:gd name="T4" fmla="*/ 1131 w 1131"/>
                <a:gd name="T5" fmla="*/ 431 h 2429"/>
                <a:gd name="T6" fmla="*/ 0 w 1131"/>
                <a:gd name="T7" fmla="*/ 0 h 2429"/>
              </a:gdLst>
              <a:ahLst/>
              <a:cxnLst>
                <a:cxn ang="0">
                  <a:pos x="T0" y="T1"/>
                </a:cxn>
                <a:cxn ang="0">
                  <a:pos x="T2" y="T3"/>
                </a:cxn>
                <a:cxn ang="0">
                  <a:pos x="T4" y="T5"/>
                </a:cxn>
                <a:cxn ang="0">
                  <a:pos x="T6" y="T7"/>
                </a:cxn>
              </a:cxnLst>
              <a:rect l="0" t="0" r="r" b="b"/>
              <a:pathLst>
                <a:path w="1131" h="2429">
                  <a:moveTo>
                    <a:pt x="0" y="0"/>
                  </a:moveTo>
                  <a:lnTo>
                    <a:pt x="490" y="2429"/>
                  </a:lnTo>
                  <a:lnTo>
                    <a:pt x="1131" y="431"/>
                  </a:lnTo>
                  <a:lnTo>
                    <a:pt x="0" y="0"/>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5" name="Freeform 17">
              <a:extLst>
                <a:ext uri="{FF2B5EF4-FFF2-40B4-BE49-F238E27FC236}">
                  <a16:creationId xmlns:a16="http://schemas.microsoft.com/office/drawing/2014/main" id="{AA51A08B-3370-411D-AFD5-5FBFCD2C419C}"/>
                </a:ext>
              </a:extLst>
            </p:cNvPr>
            <p:cNvSpPr>
              <a:spLocks/>
            </p:cNvSpPr>
            <p:nvPr/>
          </p:nvSpPr>
          <p:spPr bwMode="auto">
            <a:xfrm>
              <a:off x="5519738" y="2816226"/>
              <a:ext cx="944563" cy="608013"/>
            </a:xfrm>
            <a:custGeom>
              <a:avLst/>
              <a:gdLst>
                <a:gd name="T0" fmla="*/ 0 w 2381"/>
                <a:gd name="T1" fmla="*/ 1275 h 1533"/>
                <a:gd name="T2" fmla="*/ 844 w 2381"/>
                <a:gd name="T3" fmla="*/ 0 h 1533"/>
                <a:gd name="T4" fmla="*/ 2381 w 2381"/>
                <a:gd name="T5" fmla="*/ 1533 h 1533"/>
                <a:gd name="T6" fmla="*/ 0 w 2381"/>
                <a:gd name="T7" fmla="*/ 1275 h 1533"/>
              </a:gdLst>
              <a:ahLst/>
              <a:cxnLst>
                <a:cxn ang="0">
                  <a:pos x="T0" y="T1"/>
                </a:cxn>
                <a:cxn ang="0">
                  <a:pos x="T2" y="T3"/>
                </a:cxn>
                <a:cxn ang="0">
                  <a:pos x="T4" y="T5"/>
                </a:cxn>
                <a:cxn ang="0">
                  <a:pos x="T6" y="T7"/>
                </a:cxn>
              </a:cxnLst>
              <a:rect l="0" t="0" r="r" b="b"/>
              <a:pathLst>
                <a:path w="2381" h="1533">
                  <a:moveTo>
                    <a:pt x="0" y="1275"/>
                  </a:moveTo>
                  <a:lnTo>
                    <a:pt x="844" y="0"/>
                  </a:lnTo>
                  <a:lnTo>
                    <a:pt x="2381" y="1533"/>
                  </a:lnTo>
                  <a:lnTo>
                    <a:pt x="0" y="1275"/>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6" name="Freeform 18">
              <a:extLst>
                <a:ext uri="{FF2B5EF4-FFF2-40B4-BE49-F238E27FC236}">
                  <a16:creationId xmlns:a16="http://schemas.microsoft.com/office/drawing/2014/main" id="{0A80CC5E-CC4D-4062-9E1C-761B4CAEF83E}"/>
                </a:ext>
              </a:extLst>
            </p:cNvPr>
            <p:cNvSpPr>
              <a:spLocks/>
            </p:cNvSpPr>
            <p:nvPr/>
          </p:nvSpPr>
          <p:spPr bwMode="auto">
            <a:xfrm>
              <a:off x="4918075" y="3321051"/>
              <a:ext cx="601663" cy="882650"/>
            </a:xfrm>
            <a:custGeom>
              <a:avLst/>
              <a:gdLst>
                <a:gd name="T0" fmla="*/ 0 w 1518"/>
                <a:gd name="T1" fmla="*/ 1791 h 2222"/>
                <a:gd name="T2" fmla="*/ 1131 w 1518"/>
                <a:gd name="T3" fmla="*/ 2222 h 2222"/>
                <a:gd name="T4" fmla="*/ 1518 w 1518"/>
                <a:gd name="T5" fmla="*/ 0 h 2222"/>
                <a:gd name="T6" fmla="*/ 0 w 1518"/>
                <a:gd name="T7" fmla="*/ 1791 h 2222"/>
              </a:gdLst>
              <a:ahLst/>
              <a:cxnLst>
                <a:cxn ang="0">
                  <a:pos x="T0" y="T1"/>
                </a:cxn>
                <a:cxn ang="0">
                  <a:pos x="T2" y="T3"/>
                </a:cxn>
                <a:cxn ang="0">
                  <a:pos x="T4" y="T5"/>
                </a:cxn>
                <a:cxn ang="0">
                  <a:pos x="T6" y="T7"/>
                </a:cxn>
              </a:cxnLst>
              <a:rect l="0" t="0" r="r" b="b"/>
              <a:pathLst>
                <a:path w="1518" h="2222">
                  <a:moveTo>
                    <a:pt x="0" y="1791"/>
                  </a:moveTo>
                  <a:lnTo>
                    <a:pt x="1131" y="2222"/>
                  </a:lnTo>
                  <a:lnTo>
                    <a:pt x="1518" y="0"/>
                  </a:lnTo>
                  <a:lnTo>
                    <a:pt x="0" y="1791"/>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7" name="Freeform 19">
              <a:extLst>
                <a:ext uri="{FF2B5EF4-FFF2-40B4-BE49-F238E27FC236}">
                  <a16:creationId xmlns:a16="http://schemas.microsoft.com/office/drawing/2014/main" id="{DBB1F0F2-81E3-4ABC-B04B-753F100C219D}"/>
                </a:ext>
              </a:extLst>
            </p:cNvPr>
            <p:cNvSpPr>
              <a:spLocks/>
            </p:cNvSpPr>
            <p:nvPr/>
          </p:nvSpPr>
          <p:spPr bwMode="auto">
            <a:xfrm>
              <a:off x="5854700" y="2624138"/>
              <a:ext cx="669925" cy="800100"/>
            </a:xfrm>
            <a:custGeom>
              <a:avLst/>
              <a:gdLst>
                <a:gd name="T0" fmla="*/ 0 w 1689"/>
                <a:gd name="T1" fmla="*/ 482 h 2015"/>
                <a:gd name="T2" fmla="*/ 1689 w 1689"/>
                <a:gd name="T3" fmla="*/ 0 h 2015"/>
                <a:gd name="T4" fmla="*/ 1537 w 1689"/>
                <a:gd name="T5" fmla="*/ 2015 h 2015"/>
                <a:gd name="T6" fmla="*/ 0 w 1689"/>
                <a:gd name="T7" fmla="*/ 482 h 2015"/>
              </a:gdLst>
              <a:ahLst/>
              <a:cxnLst>
                <a:cxn ang="0">
                  <a:pos x="T0" y="T1"/>
                </a:cxn>
                <a:cxn ang="0">
                  <a:pos x="T2" y="T3"/>
                </a:cxn>
                <a:cxn ang="0">
                  <a:pos x="T4" y="T5"/>
                </a:cxn>
                <a:cxn ang="0">
                  <a:pos x="T6" y="T7"/>
                </a:cxn>
              </a:cxnLst>
              <a:rect l="0" t="0" r="r" b="b"/>
              <a:pathLst>
                <a:path w="1689" h="2015">
                  <a:moveTo>
                    <a:pt x="0" y="482"/>
                  </a:moveTo>
                  <a:lnTo>
                    <a:pt x="1689" y="0"/>
                  </a:lnTo>
                  <a:lnTo>
                    <a:pt x="1537" y="2015"/>
                  </a:lnTo>
                  <a:lnTo>
                    <a:pt x="0" y="482"/>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8" name="Freeform 20">
              <a:extLst>
                <a:ext uri="{FF2B5EF4-FFF2-40B4-BE49-F238E27FC236}">
                  <a16:creationId xmlns:a16="http://schemas.microsoft.com/office/drawing/2014/main" id="{5FF655AB-4FD1-4F7A-9DA3-2E8339D5E5C7}"/>
                </a:ext>
              </a:extLst>
            </p:cNvPr>
            <p:cNvSpPr>
              <a:spLocks/>
            </p:cNvSpPr>
            <p:nvPr/>
          </p:nvSpPr>
          <p:spPr bwMode="auto">
            <a:xfrm>
              <a:off x="5111750" y="4203701"/>
              <a:ext cx="636588" cy="792163"/>
            </a:xfrm>
            <a:custGeom>
              <a:avLst/>
              <a:gdLst>
                <a:gd name="T0" fmla="*/ 0 w 1602"/>
                <a:gd name="T1" fmla="*/ 1998 h 1998"/>
                <a:gd name="T2" fmla="*/ 641 w 1602"/>
                <a:gd name="T3" fmla="*/ 0 h 1998"/>
                <a:gd name="T4" fmla="*/ 1602 w 1602"/>
                <a:gd name="T5" fmla="*/ 1136 h 1998"/>
                <a:gd name="T6" fmla="*/ 0 w 1602"/>
                <a:gd name="T7" fmla="*/ 1998 h 1998"/>
              </a:gdLst>
              <a:ahLst/>
              <a:cxnLst>
                <a:cxn ang="0">
                  <a:pos x="T0" y="T1"/>
                </a:cxn>
                <a:cxn ang="0">
                  <a:pos x="T2" y="T3"/>
                </a:cxn>
                <a:cxn ang="0">
                  <a:pos x="T4" y="T5"/>
                </a:cxn>
                <a:cxn ang="0">
                  <a:pos x="T6" y="T7"/>
                </a:cxn>
              </a:cxnLst>
              <a:rect l="0" t="0" r="r" b="b"/>
              <a:pathLst>
                <a:path w="1602" h="1998">
                  <a:moveTo>
                    <a:pt x="0" y="1998"/>
                  </a:moveTo>
                  <a:lnTo>
                    <a:pt x="641" y="0"/>
                  </a:lnTo>
                  <a:lnTo>
                    <a:pt x="1602" y="1136"/>
                  </a:lnTo>
                  <a:lnTo>
                    <a:pt x="0" y="1998"/>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9" name="Freeform 21">
              <a:extLst>
                <a:ext uri="{FF2B5EF4-FFF2-40B4-BE49-F238E27FC236}">
                  <a16:creationId xmlns:a16="http://schemas.microsoft.com/office/drawing/2014/main" id="{1FE680D5-45B5-4E2A-B141-6ED5FE65D266}"/>
                </a:ext>
              </a:extLst>
            </p:cNvPr>
            <p:cNvSpPr>
              <a:spLocks/>
            </p:cNvSpPr>
            <p:nvPr/>
          </p:nvSpPr>
          <p:spPr bwMode="auto">
            <a:xfrm>
              <a:off x="5111750" y="4654551"/>
              <a:ext cx="850900" cy="635000"/>
            </a:xfrm>
            <a:custGeom>
              <a:avLst/>
              <a:gdLst>
                <a:gd name="T0" fmla="*/ 0 w 2143"/>
                <a:gd name="T1" fmla="*/ 862 h 1603"/>
                <a:gd name="T2" fmla="*/ 1602 w 2143"/>
                <a:gd name="T3" fmla="*/ 0 h 1603"/>
                <a:gd name="T4" fmla="*/ 2143 w 2143"/>
                <a:gd name="T5" fmla="*/ 1603 h 1603"/>
                <a:gd name="T6" fmla="*/ 0 w 2143"/>
                <a:gd name="T7" fmla="*/ 862 h 1603"/>
              </a:gdLst>
              <a:ahLst/>
              <a:cxnLst>
                <a:cxn ang="0">
                  <a:pos x="T0" y="T1"/>
                </a:cxn>
                <a:cxn ang="0">
                  <a:pos x="T2" y="T3"/>
                </a:cxn>
                <a:cxn ang="0">
                  <a:pos x="T4" y="T5"/>
                </a:cxn>
                <a:cxn ang="0">
                  <a:pos x="T6" y="T7"/>
                </a:cxn>
              </a:cxnLst>
              <a:rect l="0" t="0" r="r" b="b"/>
              <a:pathLst>
                <a:path w="2143" h="1603">
                  <a:moveTo>
                    <a:pt x="0" y="862"/>
                  </a:moveTo>
                  <a:lnTo>
                    <a:pt x="1602" y="0"/>
                  </a:lnTo>
                  <a:lnTo>
                    <a:pt x="2143" y="1603"/>
                  </a:lnTo>
                  <a:lnTo>
                    <a:pt x="0" y="862"/>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0" name="Freeform 22">
              <a:extLst>
                <a:ext uri="{FF2B5EF4-FFF2-40B4-BE49-F238E27FC236}">
                  <a16:creationId xmlns:a16="http://schemas.microsoft.com/office/drawing/2014/main" id="{0508B56B-E35F-4C5A-A09C-CAECDF1533C4}"/>
                </a:ext>
              </a:extLst>
            </p:cNvPr>
            <p:cNvSpPr>
              <a:spLocks/>
            </p:cNvSpPr>
            <p:nvPr/>
          </p:nvSpPr>
          <p:spPr bwMode="auto">
            <a:xfrm>
              <a:off x="5111750" y="4995863"/>
              <a:ext cx="850900" cy="663575"/>
            </a:xfrm>
            <a:custGeom>
              <a:avLst/>
              <a:gdLst>
                <a:gd name="T0" fmla="*/ 0 w 2143"/>
                <a:gd name="T1" fmla="*/ 0 h 1671"/>
                <a:gd name="T2" fmla="*/ 2143 w 2143"/>
                <a:gd name="T3" fmla="*/ 741 h 1671"/>
                <a:gd name="T4" fmla="*/ 2024 w 2143"/>
                <a:gd name="T5" fmla="*/ 1671 h 1671"/>
                <a:gd name="T6" fmla="*/ 0 w 2143"/>
                <a:gd name="T7" fmla="*/ 0 h 1671"/>
              </a:gdLst>
              <a:ahLst/>
              <a:cxnLst>
                <a:cxn ang="0">
                  <a:pos x="T0" y="T1"/>
                </a:cxn>
                <a:cxn ang="0">
                  <a:pos x="T2" y="T3"/>
                </a:cxn>
                <a:cxn ang="0">
                  <a:pos x="T4" y="T5"/>
                </a:cxn>
                <a:cxn ang="0">
                  <a:pos x="T6" y="T7"/>
                </a:cxn>
              </a:cxnLst>
              <a:rect l="0" t="0" r="r" b="b"/>
              <a:pathLst>
                <a:path w="2143" h="1671">
                  <a:moveTo>
                    <a:pt x="0" y="0"/>
                  </a:moveTo>
                  <a:lnTo>
                    <a:pt x="2143" y="741"/>
                  </a:lnTo>
                  <a:lnTo>
                    <a:pt x="2024" y="1671"/>
                  </a:lnTo>
                  <a:lnTo>
                    <a:pt x="0" y="0"/>
                  </a:lnTo>
                  <a:close/>
                </a:path>
              </a:pathLst>
            </a:custGeom>
            <a:solidFill>
              <a:srgbClr val="64B4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1" name="Freeform 23">
              <a:extLst>
                <a:ext uri="{FF2B5EF4-FFF2-40B4-BE49-F238E27FC236}">
                  <a16:creationId xmlns:a16="http://schemas.microsoft.com/office/drawing/2014/main" id="{24C85AC1-706C-409D-8359-C2ACB0E1F62E}"/>
                </a:ext>
              </a:extLst>
            </p:cNvPr>
            <p:cNvSpPr>
              <a:spLocks/>
            </p:cNvSpPr>
            <p:nvPr/>
          </p:nvSpPr>
          <p:spPr bwMode="auto">
            <a:xfrm>
              <a:off x="5365750" y="3321051"/>
              <a:ext cx="736600" cy="882650"/>
            </a:xfrm>
            <a:custGeom>
              <a:avLst/>
              <a:gdLst>
                <a:gd name="T0" fmla="*/ 0 w 1856"/>
                <a:gd name="T1" fmla="*/ 2222 h 2222"/>
                <a:gd name="T2" fmla="*/ 387 w 1856"/>
                <a:gd name="T3" fmla="*/ 0 h 2222"/>
                <a:gd name="T4" fmla="*/ 1856 w 1856"/>
                <a:gd name="T5" fmla="*/ 1171 h 2222"/>
                <a:gd name="T6" fmla="*/ 0 w 1856"/>
                <a:gd name="T7" fmla="*/ 2222 h 2222"/>
              </a:gdLst>
              <a:ahLst/>
              <a:cxnLst>
                <a:cxn ang="0">
                  <a:pos x="T0" y="T1"/>
                </a:cxn>
                <a:cxn ang="0">
                  <a:pos x="T2" y="T3"/>
                </a:cxn>
                <a:cxn ang="0">
                  <a:pos x="T4" y="T5"/>
                </a:cxn>
                <a:cxn ang="0">
                  <a:pos x="T6" y="T7"/>
                </a:cxn>
              </a:cxnLst>
              <a:rect l="0" t="0" r="r" b="b"/>
              <a:pathLst>
                <a:path w="1856" h="2222">
                  <a:moveTo>
                    <a:pt x="0" y="2222"/>
                  </a:moveTo>
                  <a:lnTo>
                    <a:pt x="387" y="0"/>
                  </a:lnTo>
                  <a:lnTo>
                    <a:pt x="1856" y="1171"/>
                  </a:lnTo>
                  <a:lnTo>
                    <a:pt x="0" y="2222"/>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2" name="Freeform 24">
              <a:extLst>
                <a:ext uri="{FF2B5EF4-FFF2-40B4-BE49-F238E27FC236}">
                  <a16:creationId xmlns:a16="http://schemas.microsoft.com/office/drawing/2014/main" id="{A08B2977-1EA4-4ABA-8303-0982237A1730}"/>
                </a:ext>
              </a:extLst>
            </p:cNvPr>
            <p:cNvSpPr>
              <a:spLocks/>
            </p:cNvSpPr>
            <p:nvPr/>
          </p:nvSpPr>
          <p:spPr bwMode="auto">
            <a:xfrm>
              <a:off x="6464300" y="2624138"/>
              <a:ext cx="817563" cy="800100"/>
            </a:xfrm>
            <a:custGeom>
              <a:avLst/>
              <a:gdLst>
                <a:gd name="T0" fmla="*/ 0 w 2058"/>
                <a:gd name="T1" fmla="*/ 2015 h 2015"/>
                <a:gd name="T2" fmla="*/ 152 w 2058"/>
                <a:gd name="T3" fmla="*/ 0 h 2015"/>
                <a:gd name="T4" fmla="*/ 2058 w 2058"/>
                <a:gd name="T5" fmla="*/ 172 h 2015"/>
                <a:gd name="T6" fmla="*/ 0 w 2058"/>
                <a:gd name="T7" fmla="*/ 2015 h 2015"/>
              </a:gdLst>
              <a:ahLst/>
              <a:cxnLst>
                <a:cxn ang="0">
                  <a:pos x="T0" y="T1"/>
                </a:cxn>
                <a:cxn ang="0">
                  <a:pos x="T2" y="T3"/>
                </a:cxn>
                <a:cxn ang="0">
                  <a:pos x="T4" y="T5"/>
                </a:cxn>
                <a:cxn ang="0">
                  <a:pos x="T6" y="T7"/>
                </a:cxn>
              </a:cxnLst>
              <a:rect l="0" t="0" r="r" b="b"/>
              <a:pathLst>
                <a:path w="2058" h="2015">
                  <a:moveTo>
                    <a:pt x="0" y="2015"/>
                  </a:moveTo>
                  <a:lnTo>
                    <a:pt x="152" y="0"/>
                  </a:lnTo>
                  <a:lnTo>
                    <a:pt x="2058" y="172"/>
                  </a:lnTo>
                  <a:lnTo>
                    <a:pt x="0" y="2015"/>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3" name="Freeform 25">
              <a:extLst>
                <a:ext uri="{FF2B5EF4-FFF2-40B4-BE49-F238E27FC236}">
                  <a16:creationId xmlns:a16="http://schemas.microsoft.com/office/drawing/2014/main" id="{DFACCB97-8928-4F4A-95D0-23E6A3BFEE5E}"/>
                </a:ext>
              </a:extLst>
            </p:cNvPr>
            <p:cNvSpPr>
              <a:spLocks/>
            </p:cNvSpPr>
            <p:nvPr/>
          </p:nvSpPr>
          <p:spPr bwMode="auto">
            <a:xfrm>
              <a:off x="5748338" y="4443413"/>
              <a:ext cx="750888" cy="846138"/>
            </a:xfrm>
            <a:custGeom>
              <a:avLst/>
              <a:gdLst>
                <a:gd name="T0" fmla="*/ 0 w 1894"/>
                <a:gd name="T1" fmla="*/ 532 h 2135"/>
                <a:gd name="T2" fmla="*/ 1894 w 1894"/>
                <a:gd name="T3" fmla="*/ 0 h 2135"/>
                <a:gd name="T4" fmla="*/ 541 w 1894"/>
                <a:gd name="T5" fmla="*/ 2135 h 2135"/>
                <a:gd name="T6" fmla="*/ 0 w 1894"/>
                <a:gd name="T7" fmla="*/ 532 h 2135"/>
              </a:gdLst>
              <a:ahLst/>
              <a:cxnLst>
                <a:cxn ang="0">
                  <a:pos x="T0" y="T1"/>
                </a:cxn>
                <a:cxn ang="0">
                  <a:pos x="T2" y="T3"/>
                </a:cxn>
                <a:cxn ang="0">
                  <a:pos x="T4" y="T5"/>
                </a:cxn>
                <a:cxn ang="0">
                  <a:pos x="T6" y="T7"/>
                </a:cxn>
              </a:cxnLst>
              <a:rect l="0" t="0" r="r" b="b"/>
              <a:pathLst>
                <a:path w="1894" h="2135">
                  <a:moveTo>
                    <a:pt x="0" y="532"/>
                  </a:moveTo>
                  <a:lnTo>
                    <a:pt x="1894" y="0"/>
                  </a:lnTo>
                  <a:lnTo>
                    <a:pt x="541" y="2135"/>
                  </a:lnTo>
                  <a:lnTo>
                    <a:pt x="0" y="532"/>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4" name="Freeform 26">
              <a:extLst>
                <a:ext uri="{FF2B5EF4-FFF2-40B4-BE49-F238E27FC236}">
                  <a16:creationId xmlns:a16="http://schemas.microsoft.com/office/drawing/2014/main" id="{AE97B18F-E46D-4E2E-B086-02504F04E62A}"/>
                </a:ext>
              </a:extLst>
            </p:cNvPr>
            <p:cNvSpPr>
              <a:spLocks/>
            </p:cNvSpPr>
            <p:nvPr/>
          </p:nvSpPr>
          <p:spPr bwMode="auto">
            <a:xfrm>
              <a:off x="5365750" y="4203701"/>
              <a:ext cx="1133475" cy="450850"/>
            </a:xfrm>
            <a:custGeom>
              <a:avLst/>
              <a:gdLst>
                <a:gd name="T0" fmla="*/ 0 w 2855"/>
                <a:gd name="T1" fmla="*/ 0 h 1136"/>
                <a:gd name="T2" fmla="*/ 961 w 2855"/>
                <a:gd name="T3" fmla="*/ 1136 h 1136"/>
                <a:gd name="T4" fmla="*/ 2855 w 2855"/>
                <a:gd name="T5" fmla="*/ 604 h 1136"/>
                <a:gd name="T6" fmla="*/ 0 w 2855"/>
                <a:gd name="T7" fmla="*/ 0 h 1136"/>
              </a:gdLst>
              <a:ahLst/>
              <a:cxnLst>
                <a:cxn ang="0">
                  <a:pos x="T0" y="T1"/>
                </a:cxn>
                <a:cxn ang="0">
                  <a:pos x="T2" y="T3"/>
                </a:cxn>
                <a:cxn ang="0">
                  <a:pos x="T4" y="T5"/>
                </a:cxn>
                <a:cxn ang="0">
                  <a:pos x="T6" y="T7"/>
                </a:cxn>
              </a:cxnLst>
              <a:rect l="0" t="0" r="r" b="b"/>
              <a:pathLst>
                <a:path w="2855" h="1136">
                  <a:moveTo>
                    <a:pt x="0" y="0"/>
                  </a:moveTo>
                  <a:lnTo>
                    <a:pt x="961" y="1136"/>
                  </a:lnTo>
                  <a:lnTo>
                    <a:pt x="2855" y="604"/>
                  </a:lnTo>
                  <a:lnTo>
                    <a:pt x="0" y="0"/>
                  </a:ln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5" name="Freeform 27">
              <a:extLst>
                <a:ext uri="{FF2B5EF4-FFF2-40B4-BE49-F238E27FC236}">
                  <a16:creationId xmlns:a16="http://schemas.microsoft.com/office/drawing/2014/main" id="{D43B7F85-7210-4B3C-9CCA-D022FC36341A}"/>
                </a:ext>
              </a:extLst>
            </p:cNvPr>
            <p:cNvSpPr>
              <a:spLocks/>
            </p:cNvSpPr>
            <p:nvPr/>
          </p:nvSpPr>
          <p:spPr bwMode="auto">
            <a:xfrm>
              <a:off x="6464300" y="2692401"/>
              <a:ext cx="817563" cy="1069975"/>
            </a:xfrm>
            <a:custGeom>
              <a:avLst/>
              <a:gdLst>
                <a:gd name="T0" fmla="*/ 1664 w 2058"/>
                <a:gd name="T1" fmla="*/ 2695 h 2695"/>
                <a:gd name="T2" fmla="*/ 0 w 2058"/>
                <a:gd name="T3" fmla="*/ 1843 h 2695"/>
                <a:gd name="T4" fmla="*/ 2058 w 2058"/>
                <a:gd name="T5" fmla="*/ 0 h 2695"/>
                <a:gd name="T6" fmla="*/ 1664 w 2058"/>
                <a:gd name="T7" fmla="*/ 2695 h 2695"/>
              </a:gdLst>
              <a:ahLst/>
              <a:cxnLst>
                <a:cxn ang="0">
                  <a:pos x="T0" y="T1"/>
                </a:cxn>
                <a:cxn ang="0">
                  <a:pos x="T2" y="T3"/>
                </a:cxn>
                <a:cxn ang="0">
                  <a:pos x="T4" y="T5"/>
                </a:cxn>
                <a:cxn ang="0">
                  <a:pos x="T6" y="T7"/>
                </a:cxn>
              </a:cxnLst>
              <a:rect l="0" t="0" r="r" b="b"/>
              <a:pathLst>
                <a:path w="2058" h="2695">
                  <a:moveTo>
                    <a:pt x="1664" y="2695"/>
                  </a:moveTo>
                  <a:lnTo>
                    <a:pt x="0" y="1843"/>
                  </a:lnTo>
                  <a:lnTo>
                    <a:pt x="2058" y="0"/>
                  </a:lnTo>
                  <a:lnTo>
                    <a:pt x="1664" y="2695"/>
                  </a:ln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6" name="Freeform 28">
              <a:extLst>
                <a:ext uri="{FF2B5EF4-FFF2-40B4-BE49-F238E27FC236}">
                  <a16:creationId xmlns:a16="http://schemas.microsoft.com/office/drawing/2014/main" id="{E4679B36-1E1D-4AFA-BF75-24ECAE4DA96E}"/>
                </a:ext>
              </a:extLst>
            </p:cNvPr>
            <p:cNvSpPr>
              <a:spLocks/>
            </p:cNvSpPr>
            <p:nvPr/>
          </p:nvSpPr>
          <p:spPr bwMode="auto">
            <a:xfrm>
              <a:off x="5915025" y="5289551"/>
              <a:ext cx="796925" cy="369888"/>
            </a:xfrm>
            <a:custGeom>
              <a:avLst/>
              <a:gdLst>
                <a:gd name="T0" fmla="*/ 0 w 2009"/>
                <a:gd name="T1" fmla="*/ 930 h 930"/>
                <a:gd name="T2" fmla="*/ 119 w 2009"/>
                <a:gd name="T3" fmla="*/ 0 h 930"/>
                <a:gd name="T4" fmla="*/ 2009 w 2009"/>
                <a:gd name="T5" fmla="*/ 740 h 930"/>
                <a:gd name="T6" fmla="*/ 0 w 2009"/>
                <a:gd name="T7" fmla="*/ 930 h 930"/>
              </a:gdLst>
              <a:ahLst/>
              <a:cxnLst>
                <a:cxn ang="0">
                  <a:pos x="T0" y="T1"/>
                </a:cxn>
                <a:cxn ang="0">
                  <a:pos x="T2" y="T3"/>
                </a:cxn>
                <a:cxn ang="0">
                  <a:pos x="T4" y="T5"/>
                </a:cxn>
                <a:cxn ang="0">
                  <a:pos x="T6" y="T7"/>
                </a:cxn>
              </a:cxnLst>
              <a:rect l="0" t="0" r="r" b="b"/>
              <a:pathLst>
                <a:path w="2009" h="930">
                  <a:moveTo>
                    <a:pt x="0" y="930"/>
                  </a:moveTo>
                  <a:lnTo>
                    <a:pt x="119" y="0"/>
                  </a:lnTo>
                  <a:lnTo>
                    <a:pt x="2009" y="740"/>
                  </a:lnTo>
                  <a:lnTo>
                    <a:pt x="0" y="93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7" name="Freeform 29">
              <a:extLst>
                <a:ext uri="{FF2B5EF4-FFF2-40B4-BE49-F238E27FC236}">
                  <a16:creationId xmlns:a16="http://schemas.microsoft.com/office/drawing/2014/main" id="{A488224D-4931-4019-9E6C-CBB3A4AB3138}"/>
                </a:ext>
              </a:extLst>
            </p:cNvPr>
            <p:cNvSpPr>
              <a:spLocks/>
            </p:cNvSpPr>
            <p:nvPr/>
          </p:nvSpPr>
          <p:spPr bwMode="auto">
            <a:xfrm>
              <a:off x="5365750" y="3762376"/>
              <a:ext cx="1758950" cy="441325"/>
            </a:xfrm>
            <a:custGeom>
              <a:avLst/>
              <a:gdLst>
                <a:gd name="T0" fmla="*/ 0 w 4432"/>
                <a:gd name="T1" fmla="*/ 1112 h 1112"/>
                <a:gd name="T2" fmla="*/ 1856 w 4432"/>
                <a:gd name="T3" fmla="*/ 61 h 1112"/>
                <a:gd name="T4" fmla="*/ 4432 w 4432"/>
                <a:gd name="T5" fmla="*/ 0 h 1112"/>
                <a:gd name="T6" fmla="*/ 0 w 4432"/>
                <a:gd name="T7" fmla="*/ 1112 h 1112"/>
              </a:gdLst>
              <a:ahLst/>
              <a:cxnLst>
                <a:cxn ang="0">
                  <a:pos x="T0" y="T1"/>
                </a:cxn>
                <a:cxn ang="0">
                  <a:pos x="T2" y="T3"/>
                </a:cxn>
                <a:cxn ang="0">
                  <a:pos x="T4" y="T5"/>
                </a:cxn>
                <a:cxn ang="0">
                  <a:pos x="T6" y="T7"/>
                </a:cxn>
              </a:cxnLst>
              <a:rect l="0" t="0" r="r" b="b"/>
              <a:pathLst>
                <a:path w="4432" h="1112">
                  <a:moveTo>
                    <a:pt x="0" y="1112"/>
                  </a:moveTo>
                  <a:lnTo>
                    <a:pt x="1856" y="61"/>
                  </a:lnTo>
                  <a:lnTo>
                    <a:pt x="4432" y="0"/>
                  </a:lnTo>
                  <a:lnTo>
                    <a:pt x="0" y="1112"/>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8" name="Freeform 30">
              <a:extLst>
                <a:ext uri="{FF2B5EF4-FFF2-40B4-BE49-F238E27FC236}">
                  <a16:creationId xmlns:a16="http://schemas.microsoft.com/office/drawing/2014/main" id="{8CCA2F0E-194E-4804-92FA-E38AA95467AC}"/>
                </a:ext>
              </a:extLst>
            </p:cNvPr>
            <p:cNvSpPr>
              <a:spLocks/>
            </p:cNvSpPr>
            <p:nvPr/>
          </p:nvSpPr>
          <p:spPr bwMode="auto">
            <a:xfrm>
              <a:off x="5365750" y="3762376"/>
              <a:ext cx="1758950" cy="681038"/>
            </a:xfrm>
            <a:custGeom>
              <a:avLst/>
              <a:gdLst>
                <a:gd name="T0" fmla="*/ 4432 w 4432"/>
                <a:gd name="T1" fmla="*/ 0 h 1716"/>
                <a:gd name="T2" fmla="*/ 0 w 4432"/>
                <a:gd name="T3" fmla="*/ 1112 h 1716"/>
                <a:gd name="T4" fmla="*/ 2855 w 4432"/>
                <a:gd name="T5" fmla="*/ 1716 h 1716"/>
                <a:gd name="T6" fmla="*/ 4432 w 4432"/>
                <a:gd name="T7" fmla="*/ 0 h 1716"/>
              </a:gdLst>
              <a:ahLst/>
              <a:cxnLst>
                <a:cxn ang="0">
                  <a:pos x="T0" y="T1"/>
                </a:cxn>
                <a:cxn ang="0">
                  <a:pos x="T2" y="T3"/>
                </a:cxn>
                <a:cxn ang="0">
                  <a:pos x="T4" y="T5"/>
                </a:cxn>
                <a:cxn ang="0">
                  <a:pos x="T6" y="T7"/>
                </a:cxn>
              </a:cxnLst>
              <a:rect l="0" t="0" r="r" b="b"/>
              <a:pathLst>
                <a:path w="4432" h="1716">
                  <a:moveTo>
                    <a:pt x="4432" y="0"/>
                  </a:moveTo>
                  <a:lnTo>
                    <a:pt x="0" y="1112"/>
                  </a:lnTo>
                  <a:lnTo>
                    <a:pt x="2855" y="1716"/>
                  </a:lnTo>
                  <a:lnTo>
                    <a:pt x="4432" y="0"/>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9" name="Freeform 31">
              <a:extLst>
                <a:ext uri="{FF2B5EF4-FFF2-40B4-BE49-F238E27FC236}">
                  <a16:creationId xmlns:a16="http://schemas.microsoft.com/office/drawing/2014/main" id="{F1C27BE1-2932-47BA-B76B-65B1B10728B9}"/>
                </a:ext>
              </a:extLst>
            </p:cNvPr>
            <p:cNvSpPr>
              <a:spLocks/>
            </p:cNvSpPr>
            <p:nvPr/>
          </p:nvSpPr>
          <p:spPr bwMode="auto">
            <a:xfrm>
              <a:off x="7124700" y="2692401"/>
              <a:ext cx="817563" cy="1069975"/>
            </a:xfrm>
            <a:custGeom>
              <a:avLst/>
              <a:gdLst>
                <a:gd name="T0" fmla="*/ 394 w 2057"/>
                <a:gd name="T1" fmla="*/ 0 h 2695"/>
                <a:gd name="T2" fmla="*/ 2057 w 2057"/>
                <a:gd name="T3" fmla="*/ 713 h 2695"/>
                <a:gd name="T4" fmla="*/ 0 w 2057"/>
                <a:gd name="T5" fmla="*/ 2695 h 2695"/>
                <a:gd name="T6" fmla="*/ 394 w 2057"/>
                <a:gd name="T7" fmla="*/ 0 h 2695"/>
              </a:gdLst>
              <a:ahLst/>
              <a:cxnLst>
                <a:cxn ang="0">
                  <a:pos x="T0" y="T1"/>
                </a:cxn>
                <a:cxn ang="0">
                  <a:pos x="T2" y="T3"/>
                </a:cxn>
                <a:cxn ang="0">
                  <a:pos x="T4" y="T5"/>
                </a:cxn>
                <a:cxn ang="0">
                  <a:pos x="T6" y="T7"/>
                </a:cxn>
              </a:cxnLst>
              <a:rect l="0" t="0" r="r" b="b"/>
              <a:pathLst>
                <a:path w="2057" h="2695">
                  <a:moveTo>
                    <a:pt x="394" y="0"/>
                  </a:moveTo>
                  <a:lnTo>
                    <a:pt x="2057" y="713"/>
                  </a:lnTo>
                  <a:lnTo>
                    <a:pt x="0" y="2695"/>
                  </a:lnTo>
                  <a:lnTo>
                    <a:pt x="394" y="0"/>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0" name="Freeform 32">
              <a:extLst>
                <a:ext uri="{FF2B5EF4-FFF2-40B4-BE49-F238E27FC236}">
                  <a16:creationId xmlns:a16="http://schemas.microsoft.com/office/drawing/2014/main" id="{0A476484-4C7E-4F86-B821-13BD5452D1A4}"/>
                </a:ext>
              </a:extLst>
            </p:cNvPr>
            <p:cNvSpPr>
              <a:spLocks/>
            </p:cNvSpPr>
            <p:nvPr/>
          </p:nvSpPr>
          <p:spPr bwMode="auto">
            <a:xfrm>
              <a:off x="7804150" y="2974976"/>
              <a:ext cx="549275" cy="1289050"/>
            </a:xfrm>
            <a:custGeom>
              <a:avLst/>
              <a:gdLst>
                <a:gd name="T0" fmla="*/ 346 w 1384"/>
                <a:gd name="T1" fmla="*/ 0 h 3248"/>
                <a:gd name="T2" fmla="*/ 1384 w 1384"/>
                <a:gd name="T3" fmla="*/ 1302 h 3248"/>
                <a:gd name="T4" fmla="*/ 0 w 1384"/>
                <a:gd name="T5" fmla="*/ 3248 h 3248"/>
                <a:gd name="T6" fmla="*/ 346 w 1384"/>
                <a:gd name="T7" fmla="*/ 0 h 3248"/>
              </a:gdLst>
              <a:ahLst/>
              <a:cxnLst>
                <a:cxn ang="0">
                  <a:pos x="T0" y="T1"/>
                </a:cxn>
                <a:cxn ang="0">
                  <a:pos x="T2" y="T3"/>
                </a:cxn>
                <a:cxn ang="0">
                  <a:pos x="T4" y="T5"/>
                </a:cxn>
                <a:cxn ang="0">
                  <a:pos x="T6" y="T7"/>
                </a:cxn>
              </a:cxnLst>
              <a:rect l="0" t="0" r="r" b="b"/>
              <a:pathLst>
                <a:path w="1384" h="3248">
                  <a:moveTo>
                    <a:pt x="346" y="0"/>
                  </a:moveTo>
                  <a:lnTo>
                    <a:pt x="1384" y="1302"/>
                  </a:lnTo>
                  <a:lnTo>
                    <a:pt x="0" y="3248"/>
                  </a:lnTo>
                  <a:lnTo>
                    <a:pt x="346" y="0"/>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1" name="Freeform 33">
              <a:extLst>
                <a:ext uri="{FF2B5EF4-FFF2-40B4-BE49-F238E27FC236}">
                  <a16:creationId xmlns:a16="http://schemas.microsoft.com/office/drawing/2014/main" id="{E25C1672-C7F0-40B1-B86A-7713548B65C1}"/>
                </a:ext>
              </a:extLst>
            </p:cNvPr>
            <p:cNvSpPr>
              <a:spLocks/>
            </p:cNvSpPr>
            <p:nvPr/>
          </p:nvSpPr>
          <p:spPr bwMode="auto">
            <a:xfrm>
              <a:off x="7124700" y="2974976"/>
              <a:ext cx="817563" cy="1289050"/>
            </a:xfrm>
            <a:custGeom>
              <a:avLst/>
              <a:gdLst>
                <a:gd name="T0" fmla="*/ 0 w 2057"/>
                <a:gd name="T1" fmla="*/ 1982 h 3248"/>
                <a:gd name="T2" fmla="*/ 2057 w 2057"/>
                <a:gd name="T3" fmla="*/ 0 h 3248"/>
                <a:gd name="T4" fmla="*/ 1711 w 2057"/>
                <a:gd name="T5" fmla="*/ 3248 h 3248"/>
                <a:gd name="T6" fmla="*/ 0 w 2057"/>
                <a:gd name="T7" fmla="*/ 1982 h 3248"/>
              </a:gdLst>
              <a:ahLst/>
              <a:cxnLst>
                <a:cxn ang="0">
                  <a:pos x="T0" y="T1"/>
                </a:cxn>
                <a:cxn ang="0">
                  <a:pos x="T2" y="T3"/>
                </a:cxn>
                <a:cxn ang="0">
                  <a:pos x="T4" y="T5"/>
                </a:cxn>
                <a:cxn ang="0">
                  <a:pos x="T6" y="T7"/>
                </a:cxn>
              </a:cxnLst>
              <a:rect l="0" t="0" r="r" b="b"/>
              <a:pathLst>
                <a:path w="2057" h="3248">
                  <a:moveTo>
                    <a:pt x="0" y="1982"/>
                  </a:moveTo>
                  <a:lnTo>
                    <a:pt x="2057" y="0"/>
                  </a:lnTo>
                  <a:lnTo>
                    <a:pt x="1711" y="3248"/>
                  </a:lnTo>
                  <a:lnTo>
                    <a:pt x="0" y="1982"/>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2" name="Freeform 34">
              <a:extLst>
                <a:ext uri="{FF2B5EF4-FFF2-40B4-BE49-F238E27FC236}">
                  <a16:creationId xmlns:a16="http://schemas.microsoft.com/office/drawing/2014/main" id="{D9D3A4D6-FBA2-4295-AD5D-793F8CDF008F}"/>
                </a:ext>
              </a:extLst>
            </p:cNvPr>
            <p:cNvSpPr>
              <a:spLocks/>
            </p:cNvSpPr>
            <p:nvPr/>
          </p:nvSpPr>
          <p:spPr bwMode="auto">
            <a:xfrm>
              <a:off x="5962650" y="4443413"/>
              <a:ext cx="776288" cy="846138"/>
            </a:xfrm>
            <a:custGeom>
              <a:avLst/>
              <a:gdLst>
                <a:gd name="T0" fmla="*/ 0 w 1957"/>
                <a:gd name="T1" fmla="*/ 2135 h 2135"/>
                <a:gd name="T2" fmla="*/ 1353 w 1957"/>
                <a:gd name="T3" fmla="*/ 0 h 2135"/>
                <a:gd name="T4" fmla="*/ 1957 w 1957"/>
                <a:gd name="T5" fmla="*/ 1807 h 2135"/>
                <a:gd name="T6" fmla="*/ 0 w 1957"/>
                <a:gd name="T7" fmla="*/ 2135 h 2135"/>
              </a:gdLst>
              <a:ahLst/>
              <a:cxnLst>
                <a:cxn ang="0">
                  <a:pos x="T0" y="T1"/>
                </a:cxn>
                <a:cxn ang="0">
                  <a:pos x="T2" y="T3"/>
                </a:cxn>
                <a:cxn ang="0">
                  <a:pos x="T4" y="T5"/>
                </a:cxn>
                <a:cxn ang="0">
                  <a:pos x="T6" y="T7"/>
                </a:cxn>
              </a:cxnLst>
              <a:rect l="0" t="0" r="r" b="b"/>
              <a:pathLst>
                <a:path w="1957" h="2135">
                  <a:moveTo>
                    <a:pt x="0" y="2135"/>
                  </a:moveTo>
                  <a:lnTo>
                    <a:pt x="1353" y="0"/>
                  </a:lnTo>
                  <a:lnTo>
                    <a:pt x="1957" y="1807"/>
                  </a:lnTo>
                  <a:lnTo>
                    <a:pt x="0" y="2135"/>
                  </a:ln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3" name="Freeform 35">
              <a:extLst>
                <a:ext uri="{FF2B5EF4-FFF2-40B4-BE49-F238E27FC236}">
                  <a16:creationId xmlns:a16="http://schemas.microsoft.com/office/drawing/2014/main" id="{DAC37249-8158-478C-8A55-63CD25DFC886}"/>
                </a:ext>
              </a:extLst>
            </p:cNvPr>
            <p:cNvSpPr>
              <a:spLocks/>
            </p:cNvSpPr>
            <p:nvPr/>
          </p:nvSpPr>
          <p:spPr bwMode="auto">
            <a:xfrm>
              <a:off x="5962650" y="5160963"/>
              <a:ext cx="776288" cy="423863"/>
            </a:xfrm>
            <a:custGeom>
              <a:avLst/>
              <a:gdLst>
                <a:gd name="T0" fmla="*/ 1890 w 1957"/>
                <a:gd name="T1" fmla="*/ 1068 h 1068"/>
                <a:gd name="T2" fmla="*/ 0 w 1957"/>
                <a:gd name="T3" fmla="*/ 328 h 1068"/>
                <a:gd name="T4" fmla="*/ 1957 w 1957"/>
                <a:gd name="T5" fmla="*/ 0 h 1068"/>
                <a:gd name="T6" fmla="*/ 1890 w 1957"/>
                <a:gd name="T7" fmla="*/ 1068 h 1068"/>
              </a:gdLst>
              <a:ahLst/>
              <a:cxnLst>
                <a:cxn ang="0">
                  <a:pos x="T0" y="T1"/>
                </a:cxn>
                <a:cxn ang="0">
                  <a:pos x="T2" y="T3"/>
                </a:cxn>
                <a:cxn ang="0">
                  <a:pos x="T4" y="T5"/>
                </a:cxn>
                <a:cxn ang="0">
                  <a:pos x="T6" y="T7"/>
                </a:cxn>
              </a:cxnLst>
              <a:rect l="0" t="0" r="r" b="b"/>
              <a:pathLst>
                <a:path w="1957" h="1068">
                  <a:moveTo>
                    <a:pt x="1890" y="1068"/>
                  </a:moveTo>
                  <a:lnTo>
                    <a:pt x="0" y="328"/>
                  </a:lnTo>
                  <a:lnTo>
                    <a:pt x="1957" y="0"/>
                  </a:lnTo>
                  <a:lnTo>
                    <a:pt x="1890" y="1068"/>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4" name="Freeform 36">
              <a:extLst>
                <a:ext uri="{FF2B5EF4-FFF2-40B4-BE49-F238E27FC236}">
                  <a16:creationId xmlns:a16="http://schemas.microsoft.com/office/drawing/2014/main" id="{1BD4DD68-ED9B-489C-ADD8-DD20AC737246}"/>
                </a:ext>
              </a:extLst>
            </p:cNvPr>
            <p:cNvSpPr>
              <a:spLocks/>
            </p:cNvSpPr>
            <p:nvPr/>
          </p:nvSpPr>
          <p:spPr bwMode="auto">
            <a:xfrm>
              <a:off x="6499225" y="4443413"/>
              <a:ext cx="862013" cy="717550"/>
            </a:xfrm>
            <a:custGeom>
              <a:avLst/>
              <a:gdLst>
                <a:gd name="T0" fmla="*/ 0 w 2171"/>
                <a:gd name="T1" fmla="*/ 0 h 1807"/>
                <a:gd name="T2" fmla="*/ 0 w 2171"/>
                <a:gd name="T3" fmla="*/ 0 h 1807"/>
                <a:gd name="T4" fmla="*/ 604 w 2171"/>
                <a:gd name="T5" fmla="*/ 1807 h 1807"/>
                <a:gd name="T6" fmla="*/ 2171 w 2171"/>
                <a:gd name="T7" fmla="*/ 525 h 1807"/>
                <a:gd name="T8" fmla="*/ 0 w 2171"/>
                <a:gd name="T9" fmla="*/ 0 h 1807"/>
              </a:gdLst>
              <a:ahLst/>
              <a:cxnLst>
                <a:cxn ang="0">
                  <a:pos x="T0" y="T1"/>
                </a:cxn>
                <a:cxn ang="0">
                  <a:pos x="T2" y="T3"/>
                </a:cxn>
                <a:cxn ang="0">
                  <a:pos x="T4" y="T5"/>
                </a:cxn>
                <a:cxn ang="0">
                  <a:pos x="T6" y="T7"/>
                </a:cxn>
                <a:cxn ang="0">
                  <a:pos x="T8" y="T9"/>
                </a:cxn>
              </a:cxnLst>
              <a:rect l="0" t="0" r="r" b="b"/>
              <a:pathLst>
                <a:path w="2171" h="1807">
                  <a:moveTo>
                    <a:pt x="0" y="0"/>
                  </a:moveTo>
                  <a:lnTo>
                    <a:pt x="0" y="0"/>
                  </a:lnTo>
                  <a:lnTo>
                    <a:pt x="604" y="1807"/>
                  </a:lnTo>
                  <a:lnTo>
                    <a:pt x="2171" y="525"/>
                  </a:lnTo>
                  <a:lnTo>
                    <a:pt x="0" y="0"/>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5" name="Freeform 37">
              <a:extLst>
                <a:ext uri="{FF2B5EF4-FFF2-40B4-BE49-F238E27FC236}">
                  <a16:creationId xmlns:a16="http://schemas.microsoft.com/office/drawing/2014/main" id="{000B4212-A54B-4FF4-81CD-1504221C4D16}"/>
                </a:ext>
              </a:extLst>
            </p:cNvPr>
            <p:cNvSpPr>
              <a:spLocks/>
            </p:cNvSpPr>
            <p:nvPr/>
          </p:nvSpPr>
          <p:spPr bwMode="auto">
            <a:xfrm>
              <a:off x="6499225" y="3762376"/>
              <a:ext cx="862013" cy="889000"/>
            </a:xfrm>
            <a:custGeom>
              <a:avLst/>
              <a:gdLst>
                <a:gd name="T0" fmla="*/ 0 w 2171"/>
                <a:gd name="T1" fmla="*/ 1716 h 2241"/>
                <a:gd name="T2" fmla="*/ 1577 w 2171"/>
                <a:gd name="T3" fmla="*/ 0 h 2241"/>
                <a:gd name="T4" fmla="*/ 2171 w 2171"/>
                <a:gd name="T5" fmla="*/ 2241 h 2241"/>
                <a:gd name="T6" fmla="*/ 0 w 2171"/>
                <a:gd name="T7" fmla="*/ 1716 h 2241"/>
              </a:gdLst>
              <a:ahLst/>
              <a:cxnLst>
                <a:cxn ang="0">
                  <a:pos x="T0" y="T1"/>
                </a:cxn>
                <a:cxn ang="0">
                  <a:pos x="T2" y="T3"/>
                </a:cxn>
                <a:cxn ang="0">
                  <a:pos x="T4" y="T5"/>
                </a:cxn>
                <a:cxn ang="0">
                  <a:pos x="T6" y="T7"/>
                </a:cxn>
              </a:cxnLst>
              <a:rect l="0" t="0" r="r" b="b"/>
              <a:pathLst>
                <a:path w="2171" h="2241">
                  <a:moveTo>
                    <a:pt x="0" y="1716"/>
                  </a:moveTo>
                  <a:lnTo>
                    <a:pt x="1577" y="0"/>
                  </a:lnTo>
                  <a:lnTo>
                    <a:pt x="2171" y="2241"/>
                  </a:lnTo>
                  <a:lnTo>
                    <a:pt x="0" y="1716"/>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6" name="Freeform 38">
              <a:extLst>
                <a:ext uri="{FF2B5EF4-FFF2-40B4-BE49-F238E27FC236}">
                  <a16:creationId xmlns:a16="http://schemas.microsoft.com/office/drawing/2014/main" id="{355C7BDC-FDD6-492E-8702-CBD5B40969A7}"/>
                </a:ext>
              </a:extLst>
            </p:cNvPr>
            <p:cNvSpPr>
              <a:spLocks/>
            </p:cNvSpPr>
            <p:nvPr/>
          </p:nvSpPr>
          <p:spPr bwMode="auto">
            <a:xfrm>
              <a:off x="7124700" y="3762376"/>
              <a:ext cx="679450" cy="889000"/>
            </a:xfrm>
            <a:custGeom>
              <a:avLst/>
              <a:gdLst>
                <a:gd name="T0" fmla="*/ 594 w 1711"/>
                <a:gd name="T1" fmla="*/ 2241 h 2241"/>
                <a:gd name="T2" fmla="*/ 0 w 1711"/>
                <a:gd name="T3" fmla="*/ 0 h 2241"/>
                <a:gd name="T4" fmla="*/ 1711 w 1711"/>
                <a:gd name="T5" fmla="*/ 1266 h 2241"/>
                <a:gd name="T6" fmla="*/ 594 w 1711"/>
                <a:gd name="T7" fmla="*/ 2241 h 2241"/>
              </a:gdLst>
              <a:ahLst/>
              <a:cxnLst>
                <a:cxn ang="0">
                  <a:pos x="T0" y="T1"/>
                </a:cxn>
                <a:cxn ang="0">
                  <a:pos x="T2" y="T3"/>
                </a:cxn>
                <a:cxn ang="0">
                  <a:pos x="T4" y="T5"/>
                </a:cxn>
                <a:cxn ang="0">
                  <a:pos x="T6" y="T7"/>
                </a:cxn>
              </a:cxnLst>
              <a:rect l="0" t="0" r="r" b="b"/>
              <a:pathLst>
                <a:path w="1711" h="2241">
                  <a:moveTo>
                    <a:pt x="594" y="2241"/>
                  </a:moveTo>
                  <a:lnTo>
                    <a:pt x="0" y="0"/>
                  </a:lnTo>
                  <a:lnTo>
                    <a:pt x="1711" y="1266"/>
                  </a:lnTo>
                  <a:lnTo>
                    <a:pt x="594" y="2241"/>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7" name="Freeform 39">
              <a:extLst>
                <a:ext uri="{FF2B5EF4-FFF2-40B4-BE49-F238E27FC236}">
                  <a16:creationId xmlns:a16="http://schemas.microsoft.com/office/drawing/2014/main" id="{19938A6F-2614-4D25-B2E8-76873A424F2E}"/>
                </a:ext>
              </a:extLst>
            </p:cNvPr>
            <p:cNvSpPr>
              <a:spLocks/>
            </p:cNvSpPr>
            <p:nvPr/>
          </p:nvSpPr>
          <p:spPr bwMode="auto">
            <a:xfrm>
              <a:off x="6711950" y="5160963"/>
              <a:ext cx="615950" cy="641350"/>
            </a:xfrm>
            <a:custGeom>
              <a:avLst/>
              <a:gdLst>
                <a:gd name="T0" fmla="*/ 0 w 1552"/>
                <a:gd name="T1" fmla="*/ 1068 h 1619"/>
                <a:gd name="T2" fmla="*/ 67 w 1552"/>
                <a:gd name="T3" fmla="*/ 0 h 1619"/>
                <a:gd name="T4" fmla="*/ 1552 w 1552"/>
                <a:gd name="T5" fmla="*/ 1619 h 1619"/>
                <a:gd name="T6" fmla="*/ 0 w 1552"/>
                <a:gd name="T7" fmla="*/ 1068 h 1619"/>
              </a:gdLst>
              <a:ahLst/>
              <a:cxnLst>
                <a:cxn ang="0">
                  <a:pos x="T0" y="T1"/>
                </a:cxn>
                <a:cxn ang="0">
                  <a:pos x="T2" y="T3"/>
                </a:cxn>
                <a:cxn ang="0">
                  <a:pos x="T4" y="T5"/>
                </a:cxn>
                <a:cxn ang="0">
                  <a:pos x="T6" y="T7"/>
                </a:cxn>
              </a:cxnLst>
              <a:rect l="0" t="0" r="r" b="b"/>
              <a:pathLst>
                <a:path w="1552" h="1619">
                  <a:moveTo>
                    <a:pt x="0" y="1068"/>
                  </a:moveTo>
                  <a:lnTo>
                    <a:pt x="67" y="0"/>
                  </a:lnTo>
                  <a:lnTo>
                    <a:pt x="1552" y="1619"/>
                  </a:lnTo>
                  <a:lnTo>
                    <a:pt x="0" y="1068"/>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8" name="Freeform 40">
              <a:extLst>
                <a:ext uri="{FF2B5EF4-FFF2-40B4-BE49-F238E27FC236}">
                  <a16:creationId xmlns:a16="http://schemas.microsoft.com/office/drawing/2014/main" id="{BD6CD661-6FB2-4354-9050-78B977C84461}"/>
                </a:ext>
              </a:extLst>
            </p:cNvPr>
            <p:cNvSpPr>
              <a:spLocks/>
            </p:cNvSpPr>
            <p:nvPr/>
          </p:nvSpPr>
          <p:spPr bwMode="auto">
            <a:xfrm>
              <a:off x="7804150" y="3492501"/>
              <a:ext cx="742950" cy="820738"/>
            </a:xfrm>
            <a:custGeom>
              <a:avLst/>
              <a:gdLst>
                <a:gd name="T0" fmla="*/ 0 w 1873"/>
                <a:gd name="T1" fmla="*/ 1946 h 2067"/>
                <a:gd name="T2" fmla="*/ 1384 w 1873"/>
                <a:gd name="T3" fmla="*/ 0 h 2067"/>
                <a:gd name="T4" fmla="*/ 1873 w 1873"/>
                <a:gd name="T5" fmla="*/ 2067 h 2067"/>
                <a:gd name="T6" fmla="*/ 0 w 1873"/>
                <a:gd name="T7" fmla="*/ 1946 h 2067"/>
              </a:gdLst>
              <a:ahLst/>
              <a:cxnLst>
                <a:cxn ang="0">
                  <a:pos x="T0" y="T1"/>
                </a:cxn>
                <a:cxn ang="0">
                  <a:pos x="T2" y="T3"/>
                </a:cxn>
                <a:cxn ang="0">
                  <a:pos x="T4" y="T5"/>
                </a:cxn>
                <a:cxn ang="0">
                  <a:pos x="T6" y="T7"/>
                </a:cxn>
              </a:cxnLst>
              <a:rect l="0" t="0" r="r" b="b"/>
              <a:pathLst>
                <a:path w="1873" h="2067">
                  <a:moveTo>
                    <a:pt x="0" y="1946"/>
                  </a:moveTo>
                  <a:lnTo>
                    <a:pt x="1384" y="0"/>
                  </a:lnTo>
                  <a:lnTo>
                    <a:pt x="1873" y="2067"/>
                  </a:lnTo>
                  <a:lnTo>
                    <a:pt x="0" y="1946"/>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9" name="Freeform 41">
              <a:extLst>
                <a:ext uri="{FF2B5EF4-FFF2-40B4-BE49-F238E27FC236}">
                  <a16:creationId xmlns:a16="http://schemas.microsoft.com/office/drawing/2014/main" id="{51644A25-AFBD-416B-AF5E-F84F3307524B}"/>
                </a:ext>
              </a:extLst>
            </p:cNvPr>
            <p:cNvSpPr>
              <a:spLocks/>
            </p:cNvSpPr>
            <p:nvPr/>
          </p:nvSpPr>
          <p:spPr bwMode="auto">
            <a:xfrm>
              <a:off x="6738938" y="4651376"/>
              <a:ext cx="622300" cy="1150938"/>
            </a:xfrm>
            <a:custGeom>
              <a:avLst/>
              <a:gdLst>
                <a:gd name="T0" fmla="*/ 0 w 1567"/>
                <a:gd name="T1" fmla="*/ 1282 h 2901"/>
                <a:gd name="T2" fmla="*/ 1567 w 1567"/>
                <a:gd name="T3" fmla="*/ 0 h 2901"/>
                <a:gd name="T4" fmla="*/ 1485 w 1567"/>
                <a:gd name="T5" fmla="*/ 2901 h 2901"/>
                <a:gd name="T6" fmla="*/ 0 w 1567"/>
                <a:gd name="T7" fmla="*/ 1282 h 2901"/>
              </a:gdLst>
              <a:ahLst/>
              <a:cxnLst>
                <a:cxn ang="0">
                  <a:pos x="T0" y="T1"/>
                </a:cxn>
                <a:cxn ang="0">
                  <a:pos x="T2" y="T3"/>
                </a:cxn>
                <a:cxn ang="0">
                  <a:pos x="T4" y="T5"/>
                </a:cxn>
                <a:cxn ang="0">
                  <a:pos x="T6" y="T7"/>
                </a:cxn>
              </a:cxnLst>
              <a:rect l="0" t="0" r="r" b="b"/>
              <a:pathLst>
                <a:path w="1567" h="2901">
                  <a:moveTo>
                    <a:pt x="0" y="1282"/>
                  </a:moveTo>
                  <a:lnTo>
                    <a:pt x="1567" y="0"/>
                  </a:lnTo>
                  <a:lnTo>
                    <a:pt x="1485" y="2901"/>
                  </a:lnTo>
                  <a:lnTo>
                    <a:pt x="0" y="1282"/>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40" name="Freeform 42">
              <a:extLst>
                <a:ext uri="{FF2B5EF4-FFF2-40B4-BE49-F238E27FC236}">
                  <a16:creationId xmlns:a16="http://schemas.microsoft.com/office/drawing/2014/main" id="{01D63D1D-1EB6-4707-89B9-210A1CFC2892}"/>
                </a:ext>
              </a:extLst>
            </p:cNvPr>
            <p:cNvSpPr>
              <a:spLocks/>
            </p:cNvSpPr>
            <p:nvPr/>
          </p:nvSpPr>
          <p:spPr bwMode="auto">
            <a:xfrm>
              <a:off x="7804150" y="4264026"/>
              <a:ext cx="749300" cy="806450"/>
            </a:xfrm>
            <a:custGeom>
              <a:avLst/>
              <a:gdLst>
                <a:gd name="T0" fmla="*/ 0 w 1890"/>
                <a:gd name="T1" fmla="*/ 0 h 2033"/>
                <a:gd name="T2" fmla="*/ 1873 w 1890"/>
                <a:gd name="T3" fmla="*/ 121 h 2033"/>
                <a:gd name="T4" fmla="*/ 1890 w 1890"/>
                <a:gd name="T5" fmla="*/ 2033 h 2033"/>
                <a:gd name="T6" fmla="*/ 0 w 1890"/>
                <a:gd name="T7" fmla="*/ 0 h 2033"/>
              </a:gdLst>
              <a:ahLst/>
              <a:cxnLst>
                <a:cxn ang="0">
                  <a:pos x="T0" y="T1"/>
                </a:cxn>
                <a:cxn ang="0">
                  <a:pos x="T2" y="T3"/>
                </a:cxn>
                <a:cxn ang="0">
                  <a:pos x="T4" y="T5"/>
                </a:cxn>
                <a:cxn ang="0">
                  <a:pos x="T6" y="T7"/>
                </a:cxn>
              </a:cxnLst>
              <a:rect l="0" t="0" r="r" b="b"/>
              <a:pathLst>
                <a:path w="1890" h="2033">
                  <a:moveTo>
                    <a:pt x="0" y="0"/>
                  </a:moveTo>
                  <a:lnTo>
                    <a:pt x="1873" y="121"/>
                  </a:lnTo>
                  <a:lnTo>
                    <a:pt x="1890" y="2033"/>
                  </a:lnTo>
                  <a:lnTo>
                    <a:pt x="0" y="0"/>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41" name="Freeform 43">
              <a:extLst>
                <a:ext uri="{FF2B5EF4-FFF2-40B4-BE49-F238E27FC236}">
                  <a16:creationId xmlns:a16="http://schemas.microsoft.com/office/drawing/2014/main" id="{D8E86C03-352A-496E-8B8F-0ADE79694205}"/>
                </a:ext>
              </a:extLst>
            </p:cNvPr>
            <p:cNvSpPr>
              <a:spLocks/>
            </p:cNvSpPr>
            <p:nvPr/>
          </p:nvSpPr>
          <p:spPr bwMode="auto">
            <a:xfrm>
              <a:off x="7361238" y="4264026"/>
              <a:ext cx="1192213" cy="806450"/>
            </a:xfrm>
            <a:custGeom>
              <a:avLst/>
              <a:gdLst>
                <a:gd name="T0" fmla="*/ 3007 w 3007"/>
                <a:gd name="T1" fmla="*/ 2033 h 2033"/>
                <a:gd name="T2" fmla="*/ 1117 w 3007"/>
                <a:gd name="T3" fmla="*/ 0 h 2033"/>
                <a:gd name="T4" fmla="*/ 0 w 3007"/>
                <a:gd name="T5" fmla="*/ 975 h 2033"/>
                <a:gd name="T6" fmla="*/ 3007 w 3007"/>
                <a:gd name="T7" fmla="*/ 2033 h 2033"/>
              </a:gdLst>
              <a:ahLst/>
              <a:cxnLst>
                <a:cxn ang="0">
                  <a:pos x="T0" y="T1"/>
                </a:cxn>
                <a:cxn ang="0">
                  <a:pos x="T2" y="T3"/>
                </a:cxn>
                <a:cxn ang="0">
                  <a:pos x="T4" y="T5"/>
                </a:cxn>
                <a:cxn ang="0">
                  <a:pos x="T6" y="T7"/>
                </a:cxn>
              </a:cxnLst>
              <a:rect l="0" t="0" r="r" b="b"/>
              <a:pathLst>
                <a:path w="3007" h="2033">
                  <a:moveTo>
                    <a:pt x="3007" y="2033"/>
                  </a:moveTo>
                  <a:lnTo>
                    <a:pt x="1117" y="0"/>
                  </a:lnTo>
                  <a:lnTo>
                    <a:pt x="0" y="975"/>
                  </a:lnTo>
                  <a:lnTo>
                    <a:pt x="3007" y="2033"/>
                  </a:ln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42" name="Freeform 44">
              <a:extLst>
                <a:ext uri="{FF2B5EF4-FFF2-40B4-BE49-F238E27FC236}">
                  <a16:creationId xmlns:a16="http://schemas.microsoft.com/office/drawing/2014/main" id="{58B82D64-1755-4592-985A-1696BEB8352B}"/>
                </a:ext>
              </a:extLst>
            </p:cNvPr>
            <p:cNvSpPr>
              <a:spLocks/>
            </p:cNvSpPr>
            <p:nvPr/>
          </p:nvSpPr>
          <p:spPr bwMode="auto">
            <a:xfrm>
              <a:off x="7327900" y="4651376"/>
              <a:ext cx="657225" cy="1150938"/>
            </a:xfrm>
            <a:custGeom>
              <a:avLst/>
              <a:gdLst>
                <a:gd name="T0" fmla="*/ 0 w 1654"/>
                <a:gd name="T1" fmla="*/ 2901 h 2901"/>
                <a:gd name="T2" fmla="*/ 82 w 1654"/>
                <a:gd name="T3" fmla="*/ 0 h 2901"/>
                <a:gd name="T4" fmla="*/ 1654 w 1654"/>
                <a:gd name="T5" fmla="*/ 2531 h 2901"/>
                <a:gd name="T6" fmla="*/ 0 w 1654"/>
                <a:gd name="T7" fmla="*/ 2901 h 2901"/>
              </a:gdLst>
              <a:ahLst/>
              <a:cxnLst>
                <a:cxn ang="0">
                  <a:pos x="T0" y="T1"/>
                </a:cxn>
                <a:cxn ang="0">
                  <a:pos x="T2" y="T3"/>
                </a:cxn>
                <a:cxn ang="0">
                  <a:pos x="T4" y="T5"/>
                </a:cxn>
                <a:cxn ang="0">
                  <a:pos x="T6" y="T7"/>
                </a:cxn>
              </a:cxnLst>
              <a:rect l="0" t="0" r="r" b="b"/>
              <a:pathLst>
                <a:path w="1654" h="2901">
                  <a:moveTo>
                    <a:pt x="0" y="2901"/>
                  </a:moveTo>
                  <a:lnTo>
                    <a:pt x="82" y="0"/>
                  </a:lnTo>
                  <a:lnTo>
                    <a:pt x="1654" y="2531"/>
                  </a:lnTo>
                  <a:lnTo>
                    <a:pt x="0" y="2901"/>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43" name="Freeform 45">
              <a:extLst>
                <a:ext uri="{FF2B5EF4-FFF2-40B4-BE49-F238E27FC236}">
                  <a16:creationId xmlns:a16="http://schemas.microsoft.com/office/drawing/2014/main" id="{139C307F-A607-4E66-9506-A2EB4A31AF38}"/>
                </a:ext>
              </a:extLst>
            </p:cNvPr>
            <p:cNvSpPr>
              <a:spLocks/>
            </p:cNvSpPr>
            <p:nvPr/>
          </p:nvSpPr>
          <p:spPr bwMode="auto">
            <a:xfrm>
              <a:off x="7361238" y="4651376"/>
              <a:ext cx="1192213" cy="1004888"/>
            </a:xfrm>
            <a:custGeom>
              <a:avLst/>
              <a:gdLst>
                <a:gd name="T0" fmla="*/ 0 w 3007"/>
                <a:gd name="T1" fmla="*/ 0 h 2531"/>
                <a:gd name="T2" fmla="*/ 1572 w 3007"/>
                <a:gd name="T3" fmla="*/ 2531 h 2531"/>
                <a:gd name="T4" fmla="*/ 3007 w 3007"/>
                <a:gd name="T5" fmla="*/ 1058 h 2531"/>
                <a:gd name="T6" fmla="*/ 0 w 3007"/>
                <a:gd name="T7" fmla="*/ 0 h 2531"/>
              </a:gdLst>
              <a:ahLst/>
              <a:cxnLst>
                <a:cxn ang="0">
                  <a:pos x="T0" y="T1"/>
                </a:cxn>
                <a:cxn ang="0">
                  <a:pos x="T2" y="T3"/>
                </a:cxn>
                <a:cxn ang="0">
                  <a:pos x="T4" y="T5"/>
                </a:cxn>
                <a:cxn ang="0">
                  <a:pos x="T6" y="T7"/>
                </a:cxn>
              </a:cxnLst>
              <a:rect l="0" t="0" r="r" b="b"/>
              <a:pathLst>
                <a:path w="3007" h="2531">
                  <a:moveTo>
                    <a:pt x="0" y="0"/>
                  </a:moveTo>
                  <a:lnTo>
                    <a:pt x="1572" y="2531"/>
                  </a:lnTo>
                  <a:lnTo>
                    <a:pt x="3007" y="1058"/>
                  </a:lnTo>
                  <a:lnTo>
                    <a:pt x="0" y="0"/>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44" name="Freeform 46">
              <a:extLst>
                <a:ext uri="{FF2B5EF4-FFF2-40B4-BE49-F238E27FC236}">
                  <a16:creationId xmlns:a16="http://schemas.microsoft.com/office/drawing/2014/main" id="{E11306B6-E67F-4441-B387-B4803DD0AE52}"/>
                </a:ext>
              </a:extLst>
            </p:cNvPr>
            <p:cNvSpPr>
              <a:spLocks/>
            </p:cNvSpPr>
            <p:nvPr/>
          </p:nvSpPr>
          <p:spPr bwMode="auto">
            <a:xfrm>
              <a:off x="5519738" y="3321051"/>
              <a:ext cx="944563" cy="465138"/>
            </a:xfrm>
            <a:custGeom>
              <a:avLst/>
              <a:gdLst>
                <a:gd name="T0" fmla="*/ 0 w 2381"/>
                <a:gd name="T1" fmla="*/ 0 h 1171"/>
                <a:gd name="T2" fmla="*/ 1469 w 2381"/>
                <a:gd name="T3" fmla="*/ 1171 h 1171"/>
                <a:gd name="T4" fmla="*/ 1479 w 2381"/>
                <a:gd name="T5" fmla="*/ 1161 h 1171"/>
                <a:gd name="T6" fmla="*/ 1508 w 2381"/>
                <a:gd name="T7" fmla="*/ 1132 h 1171"/>
                <a:gd name="T8" fmla="*/ 1552 w 2381"/>
                <a:gd name="T9" fmla="*/ 1085 h 1171"/>
                <a:gd name="T10" fmla="*/ 1609 w 2381"/>
                <a:gd name="T11" fmla="*/ 1027 h 1171"/>
                <a:gd name="T12" fmla="*/ 1677 w 2381"/>
                <a:gd name="T13" fmla="*/ 958 h 1171"/>
                <a:gd name="T14" fmla="*/ 1753 w 2381"/>
                <a:gd name="T15" fmla="*/ 880 h 1171"/>
                <a:gd name="T16" fmla="*/ 1834 w 2381"/>
                <a:gd name="T17" fmla="*/ 796 h 1171"/>
                <a:gd name="T18" fmla="*/ 1918 w 2381"/>
                <a:gd name="T19" fmla="*/ 710 h 1171"/>
                <a:gd name="T20" fmla="*/ 2003 w 2381"/>
                <a:gd name="T21" fmla="*/ 625 h 1171"/>
                <a:gd name="T22" fmla="*/ 2084 w 2381"/>
                <a:gd name="T23" fmla="*/ 542 h 1171"/>
                <a:gd name="T24" fmla="*/ 2162 w 2381"/>
                <a:gd name="T25" fmla="*/ 465 h 1171"/>
                <a:gd name="T26" fmla="*/ 2231 w 2381"/>
                <a:gd name="T27" fmla="*/ 396 h 1171"/>
                <a:gd name="T28" fmla="*/ 2290 w 2381"/>
                <a:gd name="T29" fmla="*/ 338 h 1171"/>
                <a:gd name="T30" fmla="*/ 2336 w 2381"/>
                <a:gd name="T31" fmla="*/ 294 h 1171"/>
                <a:gd name="T32" fmla="*/ 2354 w 2381"/>
                <a:gd name="T33" fmla="*/ 278 h 1171"/>
                <a:gd name="T34" fmla="*/ 2368 w 2381"/>
                <a:gd name="T35" fmla="*/ 266 h 1171"/>
                <a:gd name="T36" fmla="*/ 2376 w 2381"/>
                <a:gd name="T37" fmla="*/ 260 h 1171"/>
                <a:gd name="T38" fmla="*/ 2381 w 2381"/>
                <a:gd name="T39" fmla="*/ 258 h 1171"/>
                <a:gd name="T40" fmla="*/ 2356 w 2381"/>
                <a:gd name="T41" fmla="*/ 257 h 1171"/>
                <a:gd name="T42" fmla="*/ 2283 w 2381"/>
                <a:gd name="T43" fmla="*/ 251 h 1171"/>
                <a:gd name="T44" fmla="*/ 2167 w 2381"/>
                <a:gd name="T45" fmla="*/ 238 h 1171"/>
                <a:gd name="T46" fmla="*/ 2016 w 2381"/>
                <a:gd name="T47" fmla="*/ 223 h 1171"/>
                <a:gd name="T48" fmla="*/ 1835 w 2381"/>
                <a:gd name="T49" fmla="*/ 203 h 1171"/>
                <a:gd name="T50" fmla="*/ 1634 w 2381"/>
                <a:gd name="T51" fmla="*/ 181 h 1171"/>
                <a:gd name="T52" fmla="*/ 1419 w 2381"/>
                <a:gd name="T53" fmla="*/ 158 h 1171"/>
                <a:gd name="T54" fmla="*/ 1197 w 2381"/>
                <a:gd name="T55" fmla="*/ 134 h 1171"/>
                <a:gd name="T56" fmla="*/ 974 w 2381"/>
                <a:gd name="T57" fmla="*/ 108 h 1171"/>
                <a:gd name="T58" fmla="*/ 758 w 2381"/>
                <a:gd name="T59" fmla="*/ 85 h 1171"/>
                <a:gd name="T60" fmla="*/ 556 w 2381"/>
                <a:gd name="T61" fmla="*/ 62 h 1171"/>
                <a:gd name="T62" fmla="*/ 375 w 2381"/>
                <a:gd name="T63" fmla="*/ 42 h 1171"/>
                <a:gd name="T64" fmla="*/ 222 w 2381"/>
                <a:gd name="T65" fmla="*/ 24 h 1171"/>
                <a:gd name="T66" fmla="*/ 104 w 2381"/>
                <a:gd name="T67" fmla="*/ 12 h 1171"/>
                <a:gd name="T68" fmla="*/ 28 w 2381"/>
                <a:gd name="T69" fmla="*/ 2 h 1171"/>
                <a:gd name="T70" fmla="*/ 0 w 2381"/>
                <a:gd name="T71" fmla="*/ 0 h 1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381" h="1171">
                  <a:moveTo>
                    <a:pt x="0" y="0"/>
                  </a:moveTo>
                  <a:lnTo>
                    <a:pt x="1469" y="1171"/>
                  </a:lnTo>
                  <a:lnTo>
                    <a:pt x="1479" y="1161"/>
                  </a:lnTo>
                  <a:lnTo>
                    <a:pt x="1508" y="1132"/>
                  </a:lnTo>
                  <a:lnTo>
                    <a:pt x="1552" y="1085"/>
                  </a:lnTo>
                  <a:lnTo>
                    <a:pt x="1609" y="1027"/>
                  </a:lnTo>
                  <a:lnTo>
                    <a:pt x="1677" y="958"/>
                  </a:lnTo>
                  <a:lnTo>
                    <a:pt x="1753" y="880"/>
                  </a:lnTo>
                  <a:lnTo>
                    <a:pt x="1834" y="796"/>
                  </a:lnTo>
                  <a:lnTo>
                    <a:pt x="1918" y="710"/>
                  </a:lnTo>
                  <a:lnTo>
                    <a:pt x="2003" y="625"/>
                  </a:lnTo>
                  <a:lnTo>
                    <a:pt x="2084" y="542"/>
                  </a:lnTo>
                  <a:lnTo>
                    <a:pt x="2162" y="465"/>
                  </a:lnTo>
                  <a:lnTo>
                    <a:pt x="2231" y="396"/>
                  </a:lnTo>
                  <a:lnTo>
                    <a:pt x="2290" y="338"/>
                  </a:lnTo>
                  <a:lnTo>
                    <a:pt x="2336" y="294"/>
                  </a:lnTo>
                  <a:lnTo>
                    <a:pt x="2354" y="278"/>
                  </a:lnTo>
                  <a:lnTo>
                    <a:pt x="2368" y="266"/>
                  </a:lnTo>
                  <a:lnTo>
                    <a:pt x="2376" y="260"/>
                  </a:lnTo>
                  <a:lnTo>
                    <a:pt x="2381" y="258"/>
                  </a:lnTo>
                  <a:lnTo>
                    <a:pt x="2356" y="257"/>
                  </a:lnTo>
                  <a:lnTo>
                    <a:pt x="2283" y="251"/>
                  </a:lnTo>
                  <a:lnTo>
                    <a:pt x="2167" y="238"/>
                  </a:lnTo>
                  <a:lnTo>
                    <a:pt x="2016" y="223"/>
                  </a:lnTo>
                  <a:lnTo>
                    <a:pt x="1835" y="203"/>
                  </a:lnTo>
                  <a:lnTo>
                    <a:pt x="1634" y="181"/>
                  </a:lnTo>
                  <a:lnTo>
                    <a:pt x="1419" y="158"/>
                  </a:lnTo>
                  <a:lnTo>
                    <a:pt x="1197" y="134"/>
                  </a:lnTo>
                  <a:lnTo>
                    <a:pt x="974" y="108"/>
                  </a:lnTo>
                  <a:lnTo>
                    <a:pt x="758" y="85"/>
                  </a:lnTo>
                  <a:lnTo>
                    <a:pt x="556" y="62"/>
                  </a:lnTo>
                  <a:lnTo>
                    <a:pt x="375" y="42"/>
                  </a:lnTo>
                  <a:lnTo>
                    <a:pt x="222" y="24"/>
                  </a:lnTo>
                  <a:lnTo>
                    <a:pt x="104" y="12"/>
                  </a:lnTo>
                  <a:lnTo>
                    <a:pt x="28" y="2"/>
                  </a:lnTo>
                  <a:lnTo>
                    <a:pt x="0" y="0"/>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45" name="Freeform 47">
              <a:extLst>
                <a:ext uri="{FF2B5EF4-FFF2-40B4-BE49-F238E27FC236}">
                  <a16:creationId xmlns:a16="http://schemas.microsoft.com/office/drawing/2014/main" id="{BD40879D-8A00-4CCF-9AC4-CC56A1B529B3}"/>
                </a:ext>
              </a:extLst>
            </p:cNvPr>
            <p:cNvSpPr>
              <a:spLocks/>
            </p:cNvSpPr>
            <p:nvPr/>
          </p:nvSpPr>
          <p:spPr bwMode="auto">
            <a:xfrm>
              <a:off x="6102350" y="3424238"/>
              <a:ext cx="1022350" cy="361950"/>
            </a:xfrm>
            <a:custGeom>
              <a:avLst/>
              <a:gdLst>
                <a:gd name="T0" fmla="*/ 0 w 2576"/>
                <a:gd name="T1" fmla="*/ 913 h 913"/>
                <a:gd name="T2" fmla="*/ 912 w 2576"/>
                <a:gd name="T3" fmla="*/ 0 h 913"/>
                <a:gd name="T4" fmla="*/ 2576 w 2576"/>
                <a:gd name="T5" fmla="*/ 852 h 913"/>
                <a:gd name="T6" fmla="*/ 0 w 2576"/>
                <a:gd name="T7" fmla="*/ 913 h 913"/>
              </a:gdLst>
              <a:ahLst/>
              <a:cxnLst>
                <a:cxn ang="0">
                  <a:pos x="T0" y="T1"/>
                </a:cxn>
                <a:cxn ang="0">
                  <a:pos x="T2" y="T3"/>
                </a:cxn>
                <a:cxn ang="0">
                  <a:pos x="T4" y="T5"/>
                </a:cxn>
                <a:cxn ang="0">
                  <a:pos x="T6" y="T7"/>
                </a:cxn>
              </a:cxnLst>
              <a:rect l="0" t="0" r="r" b="b"/>
              <a:pathLst>
                <a:path w="2576" h="913">
                  <a:moveTo>
                    <a:pt x="0" y="913"/>
                  </a:moveTo>
                  <a:lnTo>
                    <a:pt x="912" y="0"/>
                  </a:lnTo>
                  <a:lnTo>
                    <a:pt x="2576" y="852"/>
                  </a:lnTo>
                  <a:lnTo>
                    <a:pt x="0" y="913"/>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46" name="Freeform 48">
              <a:extLst>
                <a:ext uri="{FF2B5EF4-FFF2-40B4-BE49-F238E27FC236}">
                  <a16:creationId xmlns:a16="http://schemas.microsoft.com/office/drawing/2014/main" id="{DE9D43A2-D14D-4A79-BD5B-75F3343E7AFE}"/>
                </a:ext>
              </a:extLst>
            </p:cNvPr>
            <p:cNvSpPr>
              <a:spLocks/>
            </p:cNvSpPr>
            <p:nvPr/>
          </p:nvSpPr>
          <p:spPr bwMode="auto">
            <a:xfrm>
              <a:off x="3713163" y="2763838"/>
              <a:ext cx="2132013" cy="369888"/>
            </a:xfrm>
            <a:custGeom>
              <a:avLst/>
              <a:gdLst>
                <a:gd name="T0" fmla="*/ 5360 w 5374"/>
                <a:gd name="T1" fmla="*/ 931 h 931"/>
                <a:gd name="T2" fmla="*/ 4078 w 5374"/>
                <a:gd name="T3" fmla="*/ 25 h 931"/>
                <a:gd name="T4" fmla="*/ 0 w 5374"/>
                <a:gd name="T5" fmla="*/ 25 h 931"/>
                <a:gd name="T6" fmla="*/ 0 w 5374"/>
                <a:gd name="T7" fmla="*/ 0 h 931"/>
                <a:gd name="T8" fmla="*/ 4086 w 5374"/>
                <a:gd name="T9" fmla="*/ 0 h 931"/>
                <a:gd name="T10" fmla="*/ 5374 w 5374"/>
                <a:gd name="T11" fmla="*/ 910 h 931"/>
                <a:gd name="T12" fmla="*/ 5360 w 5374"/>
                <a:gd name="T13" fmla="*/ 931 h 931"/>
              </a:gdLst>
              <a:ahLst/>
              <a:cxnLst>
                <a:cxn ang="0">
                  <a:pos x="T0" y="T1"/>
                </a:cxn>
                <a:cxn ang="0">
                  <a:pos x="T2" y="T3"/>
                </a:cxn>
                <a:cxn ang="0">
                  <a:pos x="T4" y="T5"/>
                </a:cxn>
                <a:cxn ang="0">
                  <a:pos x="T6" y="T7"/>
                </a:cxn>
                <a:cxn ang="0">
                  <a:pos x="T8" y="T9"/>
                </a:cxn>
                <a:cxn ang="0">
                  <a:pos x="T10" y="T11"/>
                </a:cxn>
                <a:cxn ang="0">
                  <a:pos x="T12" y="T13"/>
                </a:cxn>
              </a:cxnLst>
              <a:rect l="0" t="0" r="r" b="b"/>
              <a:pathLst>
                <a:path w="5374" h="931">
                  <a:moveTo>
                    <a:pt x="5360" y="931"/>
                  </a:moveTo>
                  <a:lnTo>
                    <a:pt x="4078" y="25"/>
                  </a:lnTo>
                  <a:lnTo>
                    <a:pt x="0" y="25"/>
                  </a:lnTo>
                  <a:lnTo>
                    <a:pt x="0" y="0"/>
                  </a:lnTo>
                  <a:lnTo>
                    <a:pt x="4086" y="0"/>
                  </a:lnTo>
                  <a:lnTo>
                    <a:pt x="5374" y="910"/>
                  </a:lnTo>
                  <a:lnTo>
                    <a:pt x="5360" y="931"/>
                  </a:lnTo>
                  <a:close/>
                </a:path>
              </a:pathLst>
            </a:custGeom>
            <a:solidFill>
              <a:srgbClr val="6D6E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47" name="Freeform 49">
              <a:extLst>
                <a:ext uri="{FF2B5EF4-FFF2-40B4-BE49-F238E27FC236}">
                  <a16:creationId xmlns:a16="http://schemas.microsoft.com/office/drawing/2014/main" id="{6AC6F340-E7BD-455F-B81A-A15E422451D6}"/>
                </a:ext>
              </a:extLst>
            </p:cNvPr>
            <p:cNvSpPr>
              <a:spLocks/>
            </p:cNvSpPr>
            <p:nvPr/>
          </p:nvSpPr>
          <p:spPr bwMode="auto">
            <a:xfrm>
              <a:off x="8059738" y="2763838"/>
              <a:ext cx="1870075" cy="695325"/>
            </a:xfrm>
            <a:custGeom>
              <a:avLst/>
              <a:gdLst>
                <a:gd name="T0" fmla="*/ 24 w 4712"/>
                <a:gd name="T1" fmla="*/ 1751 h 1751"/>
                <a:gd name="T2" fmla="*/ 0 w 4712"/>
                <a:gd name="T3" fmla="*/ 1743 h 1751"/>
                <a:gd name="T4" fmla="*/ 621 w 4712"/>
                <a:gd name="T5" fmla="*/ 0 h 1751"/>
                <a:gd name="T6" fmla="*/ 4712 w 4712"/>
                <a:gd name="T7" fmla="*/ 0 h 1751"/>
                <a:gd name="T8" fmla="*/ 4712 w 4712"/>
                <a:gd name="T9" fmla="*/ 25 h 1751"/>
                <a:gd name="T10" fmla="*/ 639 w 4712"/>
                <a:gd name="T11" fmla="*/ 25 h 1751"/>
                <a:gd name="T12" fmla="*/ 24 w 4712"/>
                <a:gd name="T13" fmla="*/ 1751 h 1751"/>
              </a:gdLst>
              <a:ahLst/>
              <a:cxnLst>
                <a:cxn ang="0">
                  <a:pos x="T0" y="T1"/>
                </a:cxn>
                <a:cxn ang="0">
                  <a:pos x="T2" y="T3"/>
                </a:cxn>
                <a:cxn ang="0">
                  <a:pos x="T4" y="T5"/>
                </a:cxn>
                <a:cxn ang="0">
                  <a:pos x="T6" y="T7"/>
                </a:cxn>
                <a:cxn ang="0">
                  <a:pos x="T8" y="T9"/>
                </a:cxn>
                <a:cxn ang="0">
                  <a:pos x="T10" y="T11"/>
                </a:cxn>
                <a:cxn ang="0">
                  <a:pos x="T12" y="T13"/>
                </a:cxn>
              </a:cxnLst>
              <a:rect l="0" t="0" r="r" b="b"/>
              <a:pathLst>
                <a:path w="4712" h="1751">
                  <a:moveTo>
                    <a:pt x="24" y="1751"/>
                  </a:moveTo>
                  <a:lnTo>
                    <a:pt x="0" y="1743"/>
                  </a:lnTo>
                  <a:lnTo>
                    <a:pt x="621" y="0"/>
                  </a:lnTo>
                  <a:lnTo>
                    <a:pt x="4712" y="0"/>
                  </a:lnTo>
                  <a:lnTo>
                    <a:pt x="4712" y="25"/>
                  </a:lnTo>
                  <a:lnTo>
                    <a:pt x="639" y="25"/>
                  </a:lnTo>
                  <a:lnTo>
                    <a:pt x="24" y="1751"/>
                  </a:lnTo>
                  <a:close/>
                </a:path>
              </a:pathLst>
            </a:custGeom>
            <a:solidFill>
              <a:srgbClr val="6D6E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48" name="Freeform 50">
              <a:extLst>
                <a:ext uri="{FF2B5EF4-FFF2-40B4-BE49-F238E27FC236}">
                  <a16:creationId xmlns:a16="http://schemas.microsoft.com/office/drawing/2014/main" id="{4E342619-8D31-4DEC-BFFB-266D94C8B730}"/>
                </a:ext>
              </a:extLst>
            </p:cNvPr>
            <p:cNvSpPr>
              <a:spLocks/>
            </p:cNvSpPr>
            <p:nvPr/>
          </p:nvSpPr>
          <p:spPr bwMode="auto">
            <a:xfrm>
              <a:off x="8247062" y="4290390"/>
              <a:ext cx="2368550" cy="280988"/>
            </a:xfrm>
            <a:custGeom>
              <a:avLst/>
              <a:gdLst>
                <a:gd name="T0" fmla="*/ 8 w 5968"/>
                <a:gd name="T1" fmla="*/ 708 h 708"/>
                <a:gd name="T2" fmla="*/ 0 w 5968"/>
                <a:gd name="T3" fmla="*/ 685 h 708"/>
                <a:gd name="T4" fmla="*/ 1884 w 5968"/>
                <a:gd name="T5" fmla="*/ 0 h 708"/>
                <a:gd name="T6" fmla="*/ 5968 w 5968"/>
                <a:gd name="T7" fmla="*/ 0 h 708"/>
                <a:gd name="T8" fmla="*/ 5968 w 5968"/>
                <a:gd name="T9" fmla="*/ 25 h 708"/>
                <a:gd name="T10" fmla="*/ 1887 w 5968"/>
                <a:gd name="T11" fmla="*/ 25 h 708"/>
                <a:gd name="T12" fmla="*/ 8 w 5968"/>
                <a:gd name="T13" fmla="*/ 708 h 708"/>
              </a:gdLst>
              <a:ahLst/>
              <a:cxnLst>
                <a:cxn ang="0">
                  <a:pos x="T0" y="T1"/>
                </a:cxn>
                <a:cxn ang="0">
                  <a:pos x="T2" y="T3"/>
                </a:cxn>
                <a:cxn ang="0">
                  <a:pos x="T4" y="T5"/>
                </a:cxn>
                <a:cxn ang="0">
                  <a:pos x="T6" y="T7"/>
                </a:cxn>
                <a:cxn ang="0">
                  <a:pos x="T8" y="T9"/>
                </a:cxn>
                <a:cxn ang="0">
                  <a:pos x="T10" y="T11"/>
                </a:cxn>
                <a:cxn ang="0">
                  <a:pos x="T12" y="T13"/>
                </a:cxn>
              </a:cxnLst>
              <a:rect l="0" t="0" r="r" b="b"/>
              <a:pathLst>
                <a:path w="5968" h="708">
                  <a:moveTo>
                    <a:pt x="8" y="708"/>
                  </a:moveTo>
                  <a:lnTo>
                    <a:pt x="0" y="685"/>
                  </a:lnTo>
                  <a:lnTo>
                    <a:pt x="1884" y="0"/>
                  </a:lnTo>
                  <a:lnTo>
                    <a:pt x="5968" y="0"/>
                  </a:lnTo>
                  <a:lnTo>
                    <a:pt x="5968" y="25"/>
                  </a:lnTo>
                  <a:lnTo>
                    <a:pt x="1887" y="25"/>
                  </a:lnTo>
                  <a:lnTo>
                    <a:pt x="8" y="708"/>
                  </a:lnTo>
                  <a:close/>
                </a:path>
              </a:pathLst>
            </a:custGeom>
            <a:solidFill>
              <a:srgbClr val="6D6E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49" name="Freeform 51">
              <a:extLst>
                <a:ext uri="{FF2B5EF4-FFF2-40B4-BE49-F238E27FC236}">
                  <a16:creationId xmlns:a16="http://schemas.microsoft.com/office/drawing/2014/main" id="{B5945F1C-2B7F-4821-B2A6-F14B051ADD2E}"/>
                </a:ext>
              </a:extLst>
            </p:cNvPr>
            <p:cNvSpPr>
              <a:spLocks/>
            </p:cNvSpPr>
            <p:nvPr/>
          </p:nvSpPr>
          <p:spPr bwMode="auto">
            <a:xfrm>
              <a:off x="7375476" y="5082724"/>
              <a:ext cx="2298700" cy="777875"/>
            </a:xfrm>
            <a:custGeom>
              <a:avLst/>
              <a:gdLst>
                <a:gd name="T0" fmla="*/ 5789 w 5789"/>
                <a:gd name="T1" fmla="*/ 1958 h 1958"/>
                <a:gd name="T2" fmla="*/ 1702 w 5789"/>
                <a:gd name="T3" fmla="*/ 1958 h 1958"/>
                <a:gd name="T4" fmla="*/ 1697 w 5789"/>
                <a:gd name="T5" fmla="*/ 1954 h 1958"/>
                <a:gd name="T6" fmla="*/ 0 w 5789"/>
                <a:gd name="T7" fmla="*/ 15 h 1958"/>
                <a:gd name="T8" fmla="*/ 19 w 5789"/>
                <a:gd name="T9" fmla="*/ 0 h 1958"/>
                <a:gd name="T10" fmla="*/ 1712 w 5789"/>
                <a:gd name="T11" fmla="*/ 1934 h 1958"/>
                <a:gd name="T12" fmla="*/ 5789 w 5789"/>
                <a:gd name="T13" fmla="*/ 1934 h 1958"/>
                <a:gd name="T14" fmla="*/ 5789 w 5789"/>
                <a:gd name="T15" fmla="*/ 1958 h 195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89" h="1958">
                  <a:moveTo>
                    <a:pt x="5789" y="1958"/>
                  </a:moveTo>
                  <a:lnTo>
                    <a:pt x="1702" y="1958"/>
                  </a:lnTo>
                  <a:lnTo>
                    <a:pt x="1697" y="1954"/>
                  </a:lnTo>
                  <a:lnTo>
                    <a:pt x="0" y="15"/>
                  </a:lnTo>
                  <a:lnTo>
                    <a:pt x="19" y="0"/>
                  </a:lnTo>
                  <a:lnTo>
                    <a:pt x="1712" y="1934"/>
                  </a:lnTo>
                  <a:lnTo>
                    <a:pt x="5789" y="1934"/>
                  </a:lnTo>
                  <a:lnTo>
                    <a:pt x="5789" y="1958"/>
                  </a:lnTo>
                  <a:close/>
                </a:path>
              </a:pathLst>
            </a:custGeom>
            <a:solidFill>
              <a:srgbClr val="6D6E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50" name="Freeform 52">
              <a:extLst>
                <a:ext uri="{FF2B5EF4-FFF2-40B4-BE49-F238E27FC236}">
                  <a16:creationId xmlns:a16="http://schemas.microsoft.com/office/drawing/2014/main" id="{F207608B-D9B6-42EA-BF09-DB711A7B1DF7}"/>
                </a:ext>
              </a:extLst>
            </p:cNvPr>
            <p:cNvSpPr>
              <a:spLocks/>
            </p:cNvSpPr>
            <p:nvPr/>
          </p:nvSpPr>
          <p:spPr bwMode="auto">
            <a:xfrm>
              <a:off x="3192748" y="4188278"/>
              <a:ext cx="2005013" cy="138113"/>
            </a:xfrm>
            <a:custGeom>
              <a:avLst/>
              <a:gdLst>
                <a:gd name="T0" fmla="*/ 4084 w 5052"/>
                <a:gd name="T1" fmla="*/ 346 h 346"/>
                <a:gd name="T2" fmla="*/ 0 w 5052"/>
                <a:gd name="T3" fmla="*/ 346 h 346"/>
                <a:gd name="T4" fmla="*/ 0 w 5052"/>
                <a:gd name="T5" fmla="*/ 322 h 346"/>
                <a:gd name="T6" fmla="*/ 4081 w 5052"/>
                <a:gd name="T7" fmla="*/ 322 h 346"/>
                <a:gd name="T8" fmla="*/ 5044 w 5052"/>
                <a:gd name="T9" fmla="*/ 0 h 346"/>
                <a:gd name="T10" fmla="*/ 5052 w 5052"/>
                <a:gd name="T11" fmla="*/ 23 h 346"/>
                <a:gd name="T12" fmla="*/ 4084 w 5052"/>
                <a:gd name="T13" fmla="*/ 346 h 346"/>
              </a:gdLst>
              <a:ahLst/>
              <a:cxnLst>
                <a:cxn ang="0">
                  <a:pos x="T0" y="T1"/>
                </a:cxn>
                <a:cxn ang="0">
                  <a:pos x="T2" y="T3"/>
                </a:cxn>
                <a:cxn ang="0">
                  <a:pos x="T4" y="T5"/>
                </a:cxn>
                <a:cxn ang="0">
                  <a:pos x="T6" y="T7"/>
                </a:cxn>
                <a:cxn ang="0">
                  <a:pos x="T8" y="T9"/>
                </a:cxn>
                <a:cxn ang="0">
                  <a:pos x="T10" y="T11"/>
                </a:cxn>
                <a:cxn ang="0">
                  <a:pos x="T12" y="T13"/>
                </a:cxn>
              </a:cxnLst>
              <a:rect l="0" t="0" r="r" b="b"/>
              <a:pathLst>
                <a:path w="5052" h="346">
                  <a:moveTo>
                    <a:pt x="4084" y="346"/>
                  </a:moveTo>
                  <a:lnTo>
                    <a:pt x="0" y="346"/>
                  </a:lnTo>
                  <a:lnTo>
                    <a:pt x="0" y="322"/>
                  </a:lnTo>
                  <a:lnTo>
                    <a:pt x="4081" y="322"/>
                  </a:lnTo>
                  <a:lnTo>
                    <a:pt x="5044" y="0"/>
                  </a:lnTo>
                  <a:lnTo>
                    <a:pt x="5052" y="23"/>
                  </a:lnTo>
                  <a:lnTo>
                    <a:pt x="4084" y="346"/>
                  </a:lnTo>
                  <a:close/>
                </a:path>
              </a:pathLst>
            </a:custGeom>
            <a:solidFill>
              <a:srgbClr val="6D6E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51" name="Freeform 53">
              <a:extLst>
                <a:ext uri="{FF2B5EF4-FFF2-40B4-BE49-F238E27FC236}">
                  <a16:creationId xmlns:a16="http://schemas.microsoft.com/office/drawing/2014/main" id="{0AEA1F64-5053-4D0B-96AA-FCEA2CF1CB0F}"/>
                </a:ext>
              </a:extLst>
            </p:cNvPr>
            <p:cNvSpPr>
              <a:spLocks/>
            </p:cNvSpPr>
            <p:nvPr/>
          </p:nvSpPr>
          <p:spPr bwMode="auto">
            <a:xfrm>
              <a:off x="3783714" y="4591304"/>
              <a:ext cx="2708275" cy="1201738"/>
            </a:xfrm>
            <a:custGeom>
              <a:avLst/>
              <a:gdLst>
                <a:gd name="T0" fmla="*/ 4088 w 6824"/>
                <a:gd name="T1" fmla="*/ 3026 h 3026"/>
                <a:gd name="T2" fmla="*/ 0 w 6824"/>
                <a:gd name="T3" fmla="*/ 3026 h 3026"/>
                <a:gd name="T4" fmla="*/ 0 w 6824"/>
                <a:gd name="T5" fmla="*/ 3002 h 3026"/>
                <a:gd name="T6" fmla="*/ 4078 w 6824"/>
                <a:gd name="T7" fmla="*/ 3002 h 3026"/>
                <a:gd name="T8" fmla="*/ 6806 w 6824"/>
                <a:gd name="T9" fmla="*/ 0 h 3026"/>
                <a:gd name="T10" fmla="*/ 6824 w 6824"/>
                <a:gd name="T11" fmla="*/ 17 h 3026"/>
                <a:gd name="T12" fmla="*/ 4088 w 6824"/>
                <a:gd name="T13" fmla="*/ 3026 h 3026"/>
              </a:gdLst>
              <a:ahLst/>
              <a:cxnLst>
                <a:cxn ang="0">
                  <a:pos x="T0" y="T1"/>
                </a:cxn>
                <a:cxn ang="0">
                  <a:pos x="T2" y="T3"/>
                </a:cxn>
                <a:cxn ang="0">
                  <a:pos x="T4" y="T5"/>
                </a:cxn>
                <a:cxn ang="0">
                  <a:pos x="T6" y="T7"/>
                </a:cxn>
                <a:cxn ang="0">
                  <a:pos x="T8" y="T9"/>
                </a:cxn>
                <a:cxn ang="0">
                  <a:pos x="T10" y="T11"/>
                </a:cxn>
                <a:cxn ang="0">
                  <a:pos x="T12" y="T13"/>
                </a:cxn>
              </a:cxnLst>
              <a:rect l="0" t="0" r="r" b="b"/>
              <a:pathLst>
                <a:path w="6824" h="3026">
                  <a:moveTo>
                    <a:pt x="4088" y="3026"/>
                  </a:moveTo>
                  <a:lnTo>
                    <a:pt x="0" y="3026"/>
                  </a:lnTo>
                  <a:lnTo>
                    <a:pt x="0" y="3002"/>
                  </a:lnTo>
                  <a:lnTo>
                    <a:pt x="4078" y="3002"/>
                  </a:lnTo>
                  <a:lnTo>
                    <a:pt x="6806" y="0"/>
                  </a:lnTo>
                  <a:lnTo>
                    <a:pt x="6824" y="17"/>
                  </a:lnTo>
                  <a:lnTo>
                    <a:pt x="4088" y="3026"/>
                  </a:lnTo>
                  <a:close/>
                </a:path>
              </a:pathLst>
            </a:custGeom>
            <a:solidFill>
              <a:srgbClr val="6D6E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grpSp>
        <p:nvGrpSpPr>
          <p:cNvPr id="52" name="Group 58">
            <a:extLst>
              <a:ext uri="{FF2B5EF4-FFF2-40B4-BE49-F238E27FC236}">
                <a16:creationId xmlns:a16="http://schemas.microsoft.com/office/drawing/2014/main" id="{B3C77EE4-49DF-4877-86B1-1FF29E897A7A}"/>
              </a:ext>
            </a:extLst>
          </p:cNvPr>
          <p:cNvGrpSpPr/>
          <p:nvPr/>
        </p:nvGrpSpPr>
        <p:grpSpPr>
          <a:xfrm>
            <a:off x="647808" y="2101749"/>
            <a:ext cx="3712260" cy="975323"/>
            <a:chOff x="521569" y="2172666"/>
            <a:chExt cx="3712260" cy="975323"/>
          </a:xfrm>
        </p:grpSpPr>
        <p:grpSp>
          <p:nvGrpSpPr>
            <p:cNvPr id="53" name="Group 59">
              <a:extLst>
                <a:ext uri="{FF2B5EF4-FFF2-40B4-BE49-F238E27FC236}">
                  <a16:creationId xmlns:a16="http://schemas.microsoft.com/office/drawing/2014/main" id="{C9BF9DEB-F3AA-4350-90AF-51262AC83FC4}"/>
                </a:ext>
              </a:extLst>
            </p:cNvPr>
            <p:cNvGrpSpPr/>
            <p:nvPr/>
          </p:nvGrpSpPr>
          <p:grpSpPr>
            <a:xfrm>
              <a:off x="521569" y="2249549"/>
              <a:ext cx="259660" cy="259660"/>
              <a:chOff x="2288721" y="2772229"/>
              <a:chExt cx="2471965" cy="2471965"/>
            </a:xfrm>
          </p:grpSpPr>
          <p:sp>
            <p:nvSpPr>
              <p:cNvPr id="57" name="Oval 63">
                <a:extLst>
                  <a:ext uri="{FF2B5EF4-FFF2-40B4-BE49-F238E27FC236}">
                    <a16:creationId xmlns:a16="http://schemas.microsoft.com/office/drawing/2014/main" id="{B1DC3F5A-462C-4CD7-9BEF-9508C7E39D77}"/>
                  </a:ext>
                </a:extLst>
              </p:cNvPr>
              <p:cNvSpPr/>
              <p:nvPr/>
            </p:nvSpPr>
            <p:spPr>
              <a:xfrm>
                <a:off x="2288721" y="2772229"/>
                <a:ext cx="2471965" cy="2471965"/>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等线" panose="020F0502020204030204"/>
                  <a:ea typeface="+mn-ea"/>
                  <a:cs typeface="+mn-cs"/>
                </a:endParaRPr>
              </a:p>
            </p:txBody>
          </p:sp>
          <p:sp>
            <p:nvSpPr>
              <p:cNvPr id="58" name="Freeform 29">
                <a:extLst>
                  <a:ext uri="{FF2B5EF4-FFF2-40B4-BE49-F238E27FC236}">
                    <a16:creationId xmlns:a16="http://schemas.microsoft.com/office/drawing/2014/main" id="{03FB613E-AD2C-4932-91DF-FF7252B60FAB}"/>
                  </a:ext>
                </a:extLst>
              </p:cNvPr>
              <p:cNvSpPr>
                <a:spLocks/>
              </p:cNvSpPr>
              <p:nvPr/>
            </p:nvSpPr>
            <p:spPr bwMode="auto">
              <a:xfrm>
                <a:off x="2804183" y="3513718"/>
                <a:ext cx="1503332" cy="1160049"/>
              </a:xfrm>
              <a:custGeom>
                <a:avLst/>
                <a:gdLst>
                  <a:gd name="T0" fmla="*/ 198196 w 59"/>
                  <a:gd name="T1" fmla="*/ 41487 h 45"/>
                  <a:gd name="T2" fmla="*/ 102515 w 59"/>
                  <a:gd name="T3" fmla="*/ 134832 h 45"/>
                  <a:gd name="T4" fmla="*/ 85429 w 59"/>
                  <a:gd name="T5" fmla="*/ 152118 h 45"/>
                  <a:gd name="T6" fmla="*/ 78595 w 59"/>
                  <a:gd name="T7" fmla="*/ 155575 h 45"/>
                  <a:gd name="T8" fmla="*/ 68343 w 59"/>
                  <a:gd name="T9" fmla="*/ 152118 h 45"/>
                  <a:gd name="T10" fmla="*/ 51258 w 59"/>
                  <a:gd name="T11" fmla="*/ 134832 h 45"/>
                  <a:gd name="T12" fmla="*/ 3417 w 59"/>
                  <a:gd name="T13" fmla="*/ 89888 h 45"/>
                  <a:gd name="T14" fmla="*/ 0 w 59"/>
                  <a:gd name="T15" fmla="*/ 79516 h 45"/>
                  <a:gd name="T16" fmla="*/ 3417 w 59"/>
                  <a:gd name="T17" fmla="*/ 69144 h 45"/>
                  <a:gd name="T18" fmla="*/ 20503 w 59"/>
                  <a:gd name="T19" fmla="*/ 51858 h 45"/>
                  <a:gd name="T20" fmla="*/ 30755 w 59"/>
                  <a:gd name="T21" fmla="*/ 48401 h 45"/>
                  <a:gd name="T22" fmla="*/ 37589 w 59"/>
                  <a:gd name="T23" fmla="*/ 51858 h 45"/>
                  <a:gd name="T24" fmla="*/ 78595 w 59"/>
                  <a:gd name="T25" fmla="*/ 89888 h 45"/>
                  <a:gd name="T26" fmla="*/ 160607 w 59"/>
                  <a:gd name="T27" fmla="*/ 3457 h 45"/>
                  <a:gd name="T28" fmla="*/ 170858 w 59"/>
                  <a:gd name="T29" fmla="*/ 0 h 45"/>
                  <a:gd name="T30" fmla="*/ 181110 w 59"/>
                  <a:gd name="T31" fmla="*/ 3457 h 45"/>
                  <a:gd name="T32" fmla="*/ 198196 w 59"/>
                  <a:gd name="T33" fmla="*/ 24201 h 45"/>
                  <a:gd name="T34" fmla="*/ 201613 w 59"/>
                  <a:gd name="T35" fmla="*/ 31115 h 45"/>
                  <a:gd name="T36" fmla="*/ 198196 w 59"/>
                  <a:gd name="T37" fmla="*/ 41487 h 4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9" h="45">
                    <a:moveTo>
                      <a:pt x="58" y="12"/>
                    </a:moveTo>
                    <a:cubicBezTo>
                      <a:pt x="30" y="39"/>
                      <a:pt x="30" y="39"/>
                      <a:pt x="30" y="39"/>
                    </a:cubicBezTo>
                    <a:cubicBezTo>
                      <a:pt x="25" y="44"/>
                      <a:pt x="25" y="44"/>
                      <a:pt x="25" y="44"/>
                    </a:cubicBezTo>
                    <a:cubicBezTo>
                      <a:pt x="24" y="45"/>
                      <a:pt x="24" y="45"/>
                      <a:pt x="23" y="45"/>
                    </a:cubicBezTo>
                    <a:cubicBezTo>
                      <a:pt x="22" y="45"/>
                      <a:pt x="21" y="45"/>
                      <a:pt x="20" y="44"/>
                    </a:cubicBezTo>
                    <a:cubicBezTo>
                      <a:pt x="15" y="39"/>
                      <a:pt x="15" y="39"/>
                      <a:pt x="15" y="39"/>
                    </a:cubicBezTo>
                    <a:cubicBezTo>
                      <a:pt x="1" y="26"/>
                      <a:pt x="1" y="26"/>
                      <a:pt x="1" y="26"/>
                    </a:cubicBezTo>
                    <a:cubicBezTo>
                      <a:pt x="0" y="25"/>
                      <a:pt x="0" y="24"/>
                      <a:pt x="0" y="23"/>
                    </a:cubicBezTo>
                    <a:cubicBezTo>
                      <a:pt x="0" y="22"/>
                      <a:pt x="0" y="21"/>
                      <a:pt x="1" y="20"/>
                    </a:cubicBezTo>
                    <a:cubicBezTo>
                      <a:pt x="6" y="15"/>
                      <a:pt x="6" y="15"/>
                      <a:pt x="6" y="15"/>
                    </a:cubicBezTo>
                    <a:cubicBezTo>
                      <a:pt x="7" y="14"/>
                      <a:pt x="8" y="14"/>
                      <a:pt x="9" y="14"/>
                    </a:cubicBezTo>
                    <a:cubicBezTo>
                      <a:pt x="10" y="14"/>
                      <a:pt x="11" y="14"/>
                      <a:pt x="11" y="15"/>
                    </a:cubicBezTo>
                    <a:cubicBezTo>
                      <a:pt x="23" y="26"/>
                      <a:pt x="23" y="26"/>
                      <a:pt x="23" y="26"/>
                    </a:cubicBezTo>
                    <a:cubicBezTo>
                      <a:pt x="47" y="1"/>
                      <a:pt x="47" y="1"/>
                      <a:pt x="47" y="1"/>
                    </a:cubicBezTo>
                    <a:cubicBezTo>
                      <a:pt x="48" y="1"/>
                      <a:pt x="49" y="0"/>
                      <a:pt x="50" y="0"/>
                    </a:cubicBezTo>
                    <a:cubicBezTo>
                      <a:pt x="51" y="0"/>
                      <a:pt x="52" y="1"/>
                      <a:pt x="53" y="1"/>
                    </a:cubicBezTo>
                    <a:cubicBezTo>
                      <a:pt x="58" y="7"/>
                      <a:pt x="58" y="7"/>
                      <a:pt x="58" y="7"/>
                    </a:cubicBezTo>
                    <a:cubicBezTo>
                      <a:pt x="58" y="7"/>
                      <a:pt x="59" y="8"/>
                      <a:pt x="59" y="9"/>
                    </a:cubicBezTo>
                    <a:cubicBezTo>
                      <a:pt x="59" y="10"/>
                      <a:pt x="58" y="11"/>
                      <a:pt x="58" y="12"/>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grpSp>
        <p:grpSp>
          <p:nvGrpSpPr>
            <p:cNvPr id="54" name="Group 60">
              <a:extLst>
                <a:ext uri="{FF2B5EF4-FFF2-40B4-BE49-F238E27FC236}">
                  <a16:creationId xmlns:a16="http://schemas.microsoft.com/office/drawing/2014/main" id="{CA6BE3D3-3B95-410D-A16E-344F89C6B164}"/>
                </a:ext>
              </a:extLst>
            </p:cNvPr>
            <p:cNvGrpSpPr/>
            <p:nvPr/>
          </p:nvGrpSpPr>
          <p:grpSpPr>
            <a:xfrm>
              <a:off x="835374" y="2172666"/>
              <a:ext cx="3398455" cy="975323"/>
              <a:chOff x="1090766" y="688621"/>
              <a:chExt cx="3398455" cy="975323"/>
            </a:xfrm>
          </p:grpSpPr>
          <p:sp>
            <p:nvSpPr>
              <p:cNvPr id="55" name="Rectangle 61">
                <a:extLst>
                  <a:ext uri="{FF2B5EF4-FFF2-40B4-BE49-F238E27FC236}">
                    <a16:creationId xmlns:a16="http://schemas.microsoft.com/office/drawing/2014/main" id="{27595B5B-D346-4E88-B6FB-C82978F1B00B}"/>
                  </a:ext>
                </a:extLst>
              </p:cNvPr>
              <p:cNvSpPr/>
              <p:nvPr/>
            </p:nvSpPr>
            <p:spPr>
              <a:xfrm>
                <a:off x="1090766" y="688621"/>
                <a:ext cx="2132703" cy="368114"/>
              </a:xfrm>
              <a:prstGeom prst="rect">
                <a:avLst/>
              </a:prstGeom>
            </p:spPr>
            <p:txBody>
              <a:bodyPr wrap="square">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lumMod val="75000"/>
                        <a:lumOff val="25000"/>
                      </a:srgbClr>
                    </a:solidFill>
                    <a:effectLst/>
                    <a:uLnTx/>
                    <a:uFillTx/>
                    <a:latin typeface="Inter SemiBold" panose="020B0502030000000004" pitchFamily="34" charset="0"/>
                    <a:ea typeface="+mn-ea"/>
                    <a:cs typeface="Open Sans Light" panose="020B0306030504020204" pitchFamily="34" charset="0"/>
                  </a:rPr>
                  <a:t>Your Title Text</a:t>
                </a:r>
              </a:p>
            </p:txBody>
          </p:sp>
          <p:sp>
            <p:nvSpPr>
              <p:cNvPr id="56" name="Rectangle 62">
                <a:extLst>
                  <a:ext uri="{FF2B5EF4-FFF2-40B4-BE49-F238E27FC236}">
                    <a16:creationId xmlns:a16="http://schemas.microsoft.com/office/drawing/2014/main" id="{9A190776-7EC1-4C8F-B6A0-40745595527B}"/>
                  </a:ext>
                </a:extLst>
              </p:cNvPr>
              <p:cNvSpPr/>
              <p:nvPr/>
            </p:nvSpPr>
            <p:spPr>
              <a:xfrm>
                <a:off x="1090766" y="1054546"/>
                <a:ext cx="3398455" cy="609398"/>
              </a:xfrm>
              <a:prstGeom prst="rect">
                <a:avLst/>
              </a:prstGeom>
            </p:spPr>
            <p:txBody>
              <a:bodyPr wrap="square">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id-ID" sz="1400" b="0" i="0" u="none" strike="noStrike" kern="1200" cap="none" spc="0" normalizeH="0" baseline="0" noProof="0" dirty="0">
                    <a:ln>
                      <a:noFill/>
                    </a:ln>
                    <a:solidFill>
                      <a:srgbClr val="FFFFFF">
                        <a:lumMod val="65000"/>
                      </a:srgbClr>
                    </a:solidFill>
                    <a:effectLst/>
                    <a:uLnTx/>
                    <a:uFillTx/>
                    <a:latin typeface="Segoe UI Light" panose="020B0502040204020203" pitchFamily="34" charset="0"/>
                    <a:ea typeface="+mn-ea"/>
                    <a:cs typeface="Segoe UI Light" panose="020B0502040204020203" pitchFamily="34" charset="0"/>
                  </a:rPr>
                  <a:t>The quick, brown fox jumps over a lazy dog. DJs flock by when MTV ax quiz prog. </a:t>
                </a:r>
                <a:endParaRPr kumimoji="0" lang="en-US" sz="1400" b="0" i="0" u="none" strike="noStrike" kern="1200" cap="none" spc="0" normalizeH="0" baseline="0" noProof="0" dirty="0">
                  <a:ln>
                    <a:noFill/>
                  </a:ln>
                  <a:solidFill>
                    <a:srgbClr val="FFFFFF">
                      <a:lumMod val="65000"/>
                    </a:srgbClr>
                  </a:solidFill>
                  <a:effectLst/>
                  <a:uLnTx/>
                  <a:uFillTx/>
                  <a:latin typeface="Segoe UI Light" panose="020B0502040204020203" pitchFamily="34" charset="0"/>
                  <a:ea typeface="+mn-ea"/>
                  <a:cs typeface="Segoe UI Light" panose="020B0502040204020203" pitchFamily="34" charset="0"/>
                </a:endParaRPr>
              </a:p>
            </p:txBody>
          </p:sp>
        </p:grpSp>
      </p:grpSp>
      <p:grpSp>
        <p:nvGrpSpPr>
          <p:cNvPr id="59" name="Group 65">
            <a:extLst>
              <a:ext uri="{FF2B5EF4-FFF2-40B4-BE49-F238E27FC236}">
                <a16:creationId xmlns:a16="http://schemas.microsoft.com/office/drawing/2014/main" id="{EBCE331A-6616-476F-BDF3-87E538526F4E}"/>
              </a:ext>
            </a:extLst>
          </p:cNvPr>
          <p:cNvGrpSpPr/>
          <p:nvPr/>
        </p:nvGrpSpPr>
        <p:grpSpPr>
          <a:xfrm>
            <a:off x="306756" y="3628691"/>
            <a:ext cx="3735807" cy="975323"/>
            <a:chOff x="523288" y="4099740"/>
            <a:chExt cx="3735807" cy="975323"/>
          </a:xfrm>
        </p:grpSpPr>
        <p:grpSp>
          <p:nvGrpSpPr>
            <p:cNvPr id="60" name="Group 66">
              <a:extLst>
                <a:ext uri="{FF2B5EF4-FFF2-40B4-BE49-F238E27FC236}">
                  <a16:creationId xmlns:a16="http://schemas.microsoft.com/office/drawing/2014/main" id="{B7980812-B495-4505-8E1C-3DF9E716394F}"/>
                </a:ext>
              </a:extLst>
            </p:cNvPr>
            <p:cNvGrpSpPr/>
            <p:nvPr/>
          </p:nvGrpSpPr>
          <p:grpSpPr>
            <a:xfrm>
              <a:off x="523288" y="4176623"/>
              <a:ext cx="259660" cy="259660"/>
              <a:chOff x="2288721" y="2772229"/>
              <a:chExt cx="2471965" cy="2471965"/>
            </a:xfrm>
          </p:grpSpPr>
          <p:sp>
            <p:nvSpPr>
              <p:cNvPr id="64" name="Oval 70">
                <a:extLst>
                  <a:ext uri="{FF2B5EF4-FFF2-40B4-BE49-F238E27FC236}">
                    <a16:creationId xmlns:a16="http://schemas.microsoft.com/office/drawing/2014/main" id="{47E47240-8BE2-4ECD-A579-7FEF98755812}"/>
                  </a:ext>
                </a:extLst>
              </p:cNvPr>
              <p:cNvSpPr/>
              <p:nvPr/>
            </p:nvSpPr>
            <p:spPr>
              <a:xfrm>
                <a:off x="2288721" y="2772229"/>
                <a:ext cx="2471965" cy="2471965"/>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等线" panose="020F0502020204030204"/>
                  <a:ea typeface="+mn-ea"/>
                  <a:cs typeface="+mn-cs"/>
                </a:endParaRPr>
              </a:p>
            </p:txBody>
          </p:sp>
          <p:sp>
            <p:nvSpPr>
              <p:cNvPr id="65" name="Freeform 29">
                <a:extLst>
                  <a:ext uri="{FF2B5EF4-FFF2-40B4-BE49-F238E27FC236}">
                    <a16:creationId xmlns:a16="http://schemas.microsoft.com/office/drawing/2014/main" id="{F4A21CD6-9080-4A89-A6AC-0719A99E0B60}"/>
                  </a:ext>
                </a:extLst>
              </p:cNvPr>
              <p:cNvSpPr>
                <a:spLocks/>
              </p:cNvSpPr>
              <p:nvPr/>
            </p:nvSpPr>
            <p:spPr bwMode="auto">
              <a:xfrm>
                <a:off x="2804183" y="3513718"/>
                <a:ext cx="1503332" cy="1160049"/>
              </a:xfrm>
              <a:custGeom>
                <a:avLst/>
                <a:gdLst>
                  <a:gd name="T0" fmla="*/ 198196 w 59"/>
                  <a:gd name="T1" fmla="*/ 41487 h 45"/>
                  <a:gd name="T2" fmla="*/ 102515 w 59"/>
                  <a:gd name="T3" fmla="*/ 134832 h 45"/>
                  <a:gd name="T4" fmla="*/ 85429 w 59"/>
                  <a:gd name="T5" fmla="*/ 152118 h 45"/>
                  <a:gd name="T6" fmla="*/ 78595 w 59"/>
                  <a:gd name="T7" fmla="*/ 155575 h 45"/>
                  <a:gd name="T8" fmla="*/ 68343 w 59"/>
                  <a:gd name="T9" fmla="*/ 152118 h 45"/>
                  <a:gd name="T10" fmla="*/ 51258 w 59"/>
                  <a:gd name="T11" fmla="*/ 134832 h 45"/>
                  <a:gd name="T12" fmla="*/ 3417 w 59"/>
                  <a:gd name="T13" fmla="*/ 89888 h 45"/>
                  <a:gd name="T14" fmla="*/ 0 w 59"/>
                  <a:gd name="T15" fmla="*/ 79516 h 45"/>
                  <a:gd name="T16" fmla="*/ 3417 w 59"/>
                  <a:gd name="T17" fmla="*/ 69144 h 45"/>
                  <a:gd name="T18" fmla="*/ 20503 w 59"/>
                  <a:gd name="T19" fmla="*/ 51858 h 45"/>
                  <a:gd name="T20" fmla="*/ 30755 w 59"/>
                  <a:gd name="T21" fmla="*/ 48401 h 45"/>
                  <a:gd name="T22" fmla="*/ 37589 w 59"/>
                  <a:gd name="T23" fmla="*/ 51858 h 45"/>
                  <a:gd name="T24" fmla="*/ 78595 w 59"/>
                  <a:gd name="T25" fmla="*/ 89888 h 45"/>
                  <a:gd name="T26" fmla="*/ 160607 w 59"/>
                  <a:gd name="T27" fmla="*/ 3457 h 45"/>
                  <a:gd name="T28" fmla="*/ 170858 w 59"/>
                  <a:gd name="T29" fmla="*/ 0 h 45"/>
                  <a:gd name="T30" fmla="*/ 181110 w 59"/>
                  <a:gd name="T31" fmla="*/ 3457 h 45"/>
                  <a:gd name="T32" fmla="*/ 198196 w 59"/>
                  <a:gd name="T33" fmla="*/ 24201 h 45"/>
                  <a:gd name="T34" fmla="*/ 201613 w 59"/>
                  <a:gd name="T35" fmla="*/ 31115 h 45"/>
                  <a:gd name="T36" fmla="*/ 198196 w 59"/>
                  <a:gd name="T37" fmla="*/ 41487 h 4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9" h="45">
                    <a:moveTo>
                      <a:pt x="58" y="12"/>
                    </a:moveTo>
                    <a:cubicBezTo>
                      <a:pt x="30" y="39"/>
                      <a:pt x="30" y="39"/>
                      <a:pt x="30" y="39"/>
                    </a:cubicBezTo>
                    <a:cubicBezTo>
                      <a:pt x="25" y="44"/>
                      <a:pt x="25" y="44"/>
                      <a:pt x="25" y="44"/>
                    </a:cubicBezTo>
                    <a:cubicBezTo>
                      <a:pt x="24" y="45"/>
                      <a:pt x="24" y="45"/>
                      <a:pt x="23" y="45"/>
                    </a:cubicBezTo>
                    <a:cubicBezTo>
                      <a:pt x="22" y="45"/>
                      <a:pt x="21" y="45"/>
                      <a:pt x="20" y="44"/>
                    </a:cubicBezTo>
                    <a:cubicBezTo>
                      <a:pt x="15" y="39"/>
                      <a:pt x="15" y="39"/>
                      <a:pt x="15" y="39"/>
                    </a:cubicBezTo>
                    <a:cubicBezTo>
                      <a:pt x="1" y="26"/>
                      <a:pt x="1" y="26"/>
                      <a:pt x="1" y="26"/>
                    </a:cubicBezTo>
                    <a:cubicBezTo>
                      <a:pt x="0" y="25"/>
                      <a:pt x="0" y="24"/>
                      <a:pt x="0" y="23"/>
                    </a:cubicBezTo>
                    <a:cubicBezTo>
                      <a:pt x="0" y="22"/>
                      <a:pt x="0" y="21"/>
                      <a:pt x="1" y="20"/>
                    </a:cubicBezTo>
                    <a:cubicBezTo>
                      <a:pt x="6" y="15"/>
                      <a:pt x="6" y="15"/>
                      <a:pt x="6" y="15"/>
                    </a:cubicBezTo>
                    <a:cubicBezTo>
                      <a:pt x="7" y="14"/>
                      <a:pt x="8" y="14"/>
                      <a:pt x="9" y="14"/>
                    </a:cubicBezTo>
                    <a:cubicBezTo>
                      <a:pt x="10" y="14"/>
                      <a:pt x="11" y="14"/>
                      <a:pt x="11" y="15"/>
                    </a:cubicBezTo>
                    <a:cubicBezTo>
                      <a:pt x="23" y="26"/>
                      <a:pt x="23" y="26"/>
                      <a:pt x="23" y="26"/>
                    </a:cubicBezTo>
                    <a:cubicBezTo>
                      <a:pt x="47" y="1"/>
                      <a:pt x="47" y="1"/>
                      <a:pt x="47" y="1"/>
                    </a:cubicBezTo>
                    <a:cubicBezTo>
                      <a:pt x="48" y="1"/>
                      <a:pt x="49" y="0"/>
                      <a:pt x="50" y="0"/>
                    </a:cubicBezTo>
                    <a:cubicBezTo>
                      <a:pt x="51" y="0"/>
                      <a:pt x="52" y="1"/>
                      <a:pt x="53" y="1"/>
                    </a:cubicBezTo>
                    <a:cubicBezTo>
                      <a:pt x="58" y="7"/>
                      <a:pt x="58" y="7"/>
                      <a:pt x="58" y="7"/>
                    </a:cubicBezTo>
                    <a:cubicBezTo>
                      <a:pt x="58" y="7"/>
                      <a:pt x="59" y="8"/>
                      <a:pt x="59" y="9"/>
                    </a:cubicBezTo>
                    <a:cubicBezTo>
                      <a:pt x="59" y="10"/>
                      <a:pt x="58" y="11"/>
                      <a:pt x="58" y="12"/>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grpSp>
        <p:grpSp>
          <p:nvGrpSpPr>
            <p:cNvPr id="61" name="Group 67">
              <a:extLst>
                <a:ext uri="{FF2B5EF4-FFF2-40B4-BE49-F238E27FC236}">
                  <a16:creationId xmlns:a16="http://schemas.microsoft.com/office/drawing/2014/main" id="{6ECC85EB-24A0-4B3F-8300-FF6A643FCA58}"/>
                </a:ext>
              </a:extLst>
            </p:cNvPr>
            <p:cNvGrpSpPr/>
            <p:nvPr/>
          </p:nvGrpSpPr>
          <p:grpSpPr>
            <a:xfrm>
              <a:off x="837093" y="4099740"/>
              <a:ext cx="3422002" cy="975323"/>
              <a:chOff x="1090766" y="688621"/>
              <a:chExt cx="3422002" cy="975323"/>
            </a:xfrm>
          </p:grpSpPr>
          <p:sp>
            <p:nvSpPr>
              <p:cNvPr id="62" name="Rectangle 68">
                <a:extLst>
                  <a:ext uri="{FF2B5EF4-FFF2-40B4-BE49-F238E27FC236}">
                    <a16:creationId xmlns:a16="http://schemas.microsoft.com/office/drawing/2014/main" id="{9AA84B23-802F-4CF4-A9E1-A382F70895C2}"/>
                  </a:ext>
                </a:extLst>
              </p:cNvPr>
              <p:cNvSpPr/>
              <p:nvPr/>
            </p:nvSpPr>
            <p:spPr>
              <a:xfrm>
                <a:off x="1090766" y="688621"/>
                <a:ext cx="2132703" cy="368114"/>
              </a:xfrm>
              <a:prstGeom prst="rect">
                <a:avLst/>
              </a:prstGeom>
            </p:spPr>
            <p:txBody>
              <a:bodyPr wrap="square">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lumMod val="75000"/>
                        <a:lumOff val="25000"/>
                      </a:srgbClr>
                    </a:solidFill>
                    <a:effectLst/>
                    <a:uLnTx/>
                    <a:uFillTx/>
                    <a:latin typeface="Inter SemiBold" panose="020B0502030000000004" pitchFamily="34" charset="0"/>
                    <a:ea typeface="+mn-ea"/>
                    <a:cs typeface="Open Sans Light" panose="020B0306030504020204" pitchFamily="34" charset="0"/>
                  </a:rPr>
                  <a:t>Your Title Text</a:t>
                </a:r>
              </a:p>
            </p:txBody>
          </p:sp>
          <p:sp>
            <p:nvSpPr>
              <p:cNvPr id="63" name="Rectangle 69">
                <a:extLst>
                  <a:ext uri="{FF2B5EF4-FFF2-40B4-BE49-F238E27FC236}">
                    <a16:creationId xmlns:a16="http://schemas.microsoft.com/office/drawing/2014/main" id="{5844DE8E-338C-4ED3-9DB8-CD6729909293}"/>
                  </a:ext>
                </a:extLst>
              </p:cNvPr>
              <p:cNvSpPr/>
              <p:nvPr/>
            </p:nvSpPr>
            <p:spPr>
              <a:xfrm>
                <a:off x="1090766" y="1054546"/>
                <a:ext cx="3422002" cy="609398"/>
              </a:xfrm>
              <a:prstGeom prst="rect">
                <a:avLst/>
              </a:prstGeom>
            </p:spPr>
            <p:txBody>
              <a:bodyPr wrap="square">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id-ID" sz="1400" b="0" i="0" u="none" strike="noStrike" kern="1200" cap="none" spc="0" normalizeH="0" baseline="0" noProof="0" dirty="0">
                    <a:ln>
                      <a:noFill/>
                    </a:ln>
                    <a:solidFill>
                      <a:srgbClr val="FFFFFF">
                        <a:lumMod val="65000"/>
                      </a:srgbClr>
                    </a:solidFill>
                    <a:effectLst/>
                    <a:uLnTx/>
                    <a:uFillTx/>
                    <a:latin typeface="Segoe UI Light" panose="020B0502040204020203" pitchFamily="34" charset="0"/>
                    <a:ea typeface="+mn-ea"/>
                    <a:cs typeface="Segoe UI Light" panose="020B0502040204020203" pitchFamily="34" charset="0"/>
                  </a:rPr>
                  <a:t>The quick, brown fox jumps over a lazy dog. DJs flock by when MTV ax quiz prog. </a:t>
                </a:r>
                <a:endParaRPr kumimoji="0" lang="en-US" sz="1400" b="0" i="0" u="none" strike="noStrike" kern="1200" cap="none" spc="0" normalizeH="0" baseline="0" noProof="0" dirty="0">
                  <a:ln>
                    <a:noFill/>
                  </a:ln>
                  <a:solidFill>
                    <a:srgbClr val="FFFFFF">
                      <a:lumMod val="65000"/>
                    </a:srgbClr>
                  </a:solidFill>
                  <a:effectLst/>
                  <a:uLnTx/>
                  <a:uFillTx/>
                  <a:latin typeface="Segoe UI Light" panose="020B0502040204020203" pitchFamily="34" charset="0"/>
                  <a:ea typeface="+mn-ea"/>
                  <a:cs typeface="Segoe UI Light" panose="020B0502040204020203" pitchFamily="34" charset="0"/>
                </a:endParaRPr>
              </a:p>
            </p:txBody>
          </p:sp>
        </p:grpSp>
      </p:grpSp>
      <p:grpSp>
        <p:nvGrpSpPr>
          <p:cNvPr id="66" name="Group 72">
            <a:extLst>
              <a:ext uri="{FF2B5EF4-FFF2-40B4-BE49-F238E27FC236}">
                <a16:creationId xmlns:a16="http://schemas.microsoft.com/office/drawing/2014/main" id="{6FFB1BE2-6E4E-4E47-8E77-91C55933C091}"/>
              </a:ext>
            </a:extLst>
          </p:cNvPr>
          <p:cNvGrpSpPr/>
          <p:nvPr/>
        </p:nvGrpSpPr>
        <p:grpSpPr>
          <a:xfrm>
            <a:off x="7833518" y="1930517"/>
            <a:ext cx="3887877" cy="975323"/>
            <a:chOff x="8850133" y="2168332"/>
            <a:chExt cx="3887877" cy="975323"/>
          </a:xfrm>
        </p:grpSpPr>
        <p:grpSp>
          <p:nvGrpSpPr>
            <p:cNvPr id="67" name="Group 73">
              <a:extLst>
                <a:ext uri="{FF2B5EF4-FFF2-40B4-BE49-F238E27FC236}">
                  <a16:creationId xmlns:a16="http://schemas.microsoft.com/office/drawing/2014/main" id="{49256900-0594-4E1B-B99C-87B27E127F80}"/>
                </a:ext>
              </a:extLst>
            </p:cNvPr>
            <p:cNvGrpSpPr/>
            <p:nvPr/>
          </p:nvGrpSpPr>
          <p:grpSpPr>
            <a:xfrm>
              <a:off x="8850133" y="2245215"/>
              <a:ext cx="259660" cy="259660"/>
              <a:chOff x="2288721" y="2772229"/>
              <a:chExt cx="2471965" cy="2471965"/>
            </a:xfrm>
          </p:grpSpPr>
          <p:sp>
            <p:nvSpPr>
              <p:cNvPr id="71" name="Oval 77">
                <a:extLst>
                  <a:ext uri="{FF2B5EF4-FFF2-40B4-BE49-F238E27FC236}">
                    <a16:creationId xmlns:a16="http://schemas.microsoft.com/office/drawing/2014/main" id="{5637A5FE-2D56-464A-BD4E-2BB492360B65}"/>
                  </a:ext>
                </a:extLst>
              </p:cNvPr>
              <p:cNvSpPr/>
              <p:nvPr/>
            </p:nvSpPr>
            <p:spPr>
              <a:xfrm>
                <a:off x="2288721" y="2772229"/>
                <a:ext cx="2471965" cy="2471965"/>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等线" panose="020F0502020204030204"/>
                  <a:ea typeface="+mn-ea"/>
                  <a:cs typeface="+mn-cs"/>
                </a:endParaRPr>
              </a:p>
            </p:txBody>
          </p:sp>
          <p:sp>
            <p:nvSpPr>
              <p:cNvPr id="72" name="Freeform 29">
                <a:extLst>
                  <a:ext uri="{FF2B5EF4-FFF2-40B4-BE49-F238E27FC236}">
                    <a16:creationId xmlns:a16="http://schemas.microsoft.com/office/drawing/2014/main" id="{EF9A79D1-6F85-4F0E-A231-C892AB398EC7}"/>
                  </a:ext>
                </a:extLst>
              </p:cNvPr>
              <p:cNvSpPr>
                <a:spLocks/>
              </p:cNvSpPr>
              <p:nvPr/>
            </p:nvSpPr>
            <p:spPr bwMode="auto">
              <a:xfrm>
                <a:off x="2804183" y="3513718"/>
                <a:ext cx="1503332" cy="1160049"/>
              </a:xfrm>
              <a:custGeom>
                <a:avLst/>
                <a:gdLst>
                  <a:gd name="T0" fmla="*/ 198196 w 59"/>
                  <a:gd name="T1" fmla="*/ 41487 h 45"/>
                  <a:gd name="T2" fmla="*/ 102515 w 59"/>
                  <a:gd name="T3" fmla="*/ 134832 h 45"/>
                  <a:gd name="T4" fmla="*/ 85429 w 59"/>
                  <a:gd name="T5" fmla="*/ 152118 h 45"/>
                  <a:gd name="T6" fmla="*/ 78595 w 59"/>
                  <a:gd name="T7" fmla="*/ 155575 h 45"/>
                  <a:gd name="T8" fmla="*/ 68343 w 59"/>
                  <a:gd name="T9" fmla="*/ 152118 h 45"/>
                  <a:gd name="T10" fmla="*/ 51258 w 59"/>
                  <a:gd name="T11" fmla="*/ 134832 h 45"/>
                  <a:gd name="T12" fmla="*/ 3417 w 59"/>
                  <a:gd name="T13" fmla="*/ 89888 h 45"/>
                  <a:gd name="T14" fmla="*/ 0 w 59"/>
                  <a:gd name="T15" fmla="*/ 79516 h 45"/>
                  <a:gd name="T16" fmla="*/ 3417 w 59"/>
                  <a:gd name="T17" fmla="*/ 69144 h 45"/>
                  <a:gd name="T18" fmla="*/ 20503 w 59"/>
                  <a:gd name="T19" fmla="*/ 51858 h 45"/>
                  <a:gd name="T20" fmla="*/ 30755 w 59"/>
                  <a:gd name="T21" fmla="*/ 48401 h 45"/>
                  <a:gd name="T22" fmla="*/ 37589 w 59"/>
                  <a:gd name="T23" fmla="*/ 51858 h 45"/>
                  <a:gd name="T24" fmla="*/ 78595 w 59"/>
                  <a:gd name="T25" fmla="*/ 89888 h 45"/>
                  <a:gd name="T26" fmla="*/ 160607 w 59"/>
                  <a:gd name="T27" fmla="*/ 3457 h 45"/>
                  <a:gd name="T28" fmla="*/ 170858 w 59"/>
                  <a:gd name="T29" fmla="*/ 0 h 45"/>
                  <a:gd name="T30" fmla="*/ 181110 w 59"/>
                  <a:gd name="T31" fmla="*/ 3457 h 45"/>
                  <a:gd name="T32" fmla="*/ 198196 w 59"/>
                  <a:gd name="T33" fmla="*/ 24201 h 45"/>
                  <a:gd name="T34" fmla="*/ 201613 w 59"/>
                  <a:gd name="T35" fmla="*/ 31115 h 45"/>
                  <a:gd name="T36" fmla="*/ 198196 w 59"/>
                  <a:gd name="T37" fmla="*/ 41487 h 4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9" h="45">
                    <a:moveTo>
                      <a:pt x="58" y="12"/>
                    </a:moveTo>
                    <a:cubicBezTo>
                      <a:pt x="30" y="39"/>
                      <a:pt x="30" y="39"/>
                      <a:pt x="30" y="39"/>
                    </a:cubicBezTo>
                    <a:cubicBezTo>
                      <a:pt x="25" y="44"/>
                      <a:pt x="25" y="44"/>
                      <a:pt x="25" y="44"/>
                    </a:cubicBezTo>
                    <a:cubicBezTo>
                      <a:pt x="24" y="45"/>
                      <a:pt x="24" y="45"/>
                      <a:pt x="23" y="45"/>
                    </a:cubicBezTo>
                    <a:cubicBezTo>
                      <a:pt x="22" y="45"/>
                      <a:pt x="21" y="45"/>
                      <a:pt x="20" y="44"/>
                    </a:cubicBezTo>
                    <a:cubicBezTo>
                      <a:pt x="15" y="39"/>
                      <a:pt x="15" y="39"/>
                      <a:pt x="15" y="39"/>
                    </a:cubicBezTo>
                    <a:cubicBezTo>
                      <a:pt x="1" y="26"/>
                      <a:pt x="1" y="26"/>
                      <a:pt x="1" y="26"/>
                    </a:cubicBezTo>
                    <a:cubicBezTo>
                      <a:pt x="0" y="25"/>
                      <a:pt x="0" y="24"/>
                      <a:pt x="0" y="23"/>
                    </a:cubicBezTo>
                    <a:cubicBezTo>
                      <a:pt x="0" y="22"/>
                      <a:pt x="0" y="21"/>
                      <a:pt x="1" y="20"/>
                    </a:cubicBezTo>
                    <a:cubicBezTo>
                      <a:pt x="6" y="15"/>
                      <a:pt x="6" y="15"/>
                      <a:pt x="6" y="15"/>
                    </a:cubicBezTo>
                    <a:cubicBezTo>
                      <a:pt x="7" y="14"/>
                      <a:pt x="8" y="14"/>
                      <a:pt x="9" y="14"/>
                    </a:cubicBezTo>
                    <a:cubicBezTo>
                      <a:pt x="10" y="14"/>
                      <a:pt x="11" y="14"/>
                      <a:pt x="11" y="15"/>
                    </a:cubicBezTo>
                    <a:cubicBezTo>
                      <a:pt x="23" y="26"/>
                      <a:pt x="23" y="26"/>
                      <a:pt x="23" y="26"/>
                    </a:cubicBezTo>
                    <a:cubicBezTo>
                      <a:pt x="47" y="1"/>
                      <a:pt x="47" y="1"/>
                      <a:pt x="47" y="1"/>
                    </a:cubicBezTo>
                    <a:cubicBezTo>
                      <a:pt x="48" y="1"/>
                      <a:pt x="49" y="0"/>
                      <a:pt x="50" y="0"/>
                    </a:cubicBezTo>
                    <a:cubicBezTo>
                      <a:pt x="51" y="0"/>
                      <a:pt x="52" y="1"/>
                      <a:pt x="53" y="1"/>
                    </a:cubicBezTo>
                    <a:cubicBezTo>
                      <a:pt x="58" y="7"/>
                      <a:pt x="58" y="7"/>
                      <a:pt x="58" y="7"/>
                    </a:cubicBezTo>
                    <a:cubicBezTo>
                      <a:pt x="58" y="7"/>
                      <a:pt x="59" y="8"/>
                      <a:pt x="59" y="9"/>
                    </a:cubicBezTo>
                    <a:cubicBezTo>
                      <a:pt x="59" y="10"/>
                      <a:pt x="58" y="11"/>
                      <a:pt x="58" y="12"/>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grpSp>
        <p:grpSp>
          <p:nvGrpSpPr>
            <p:cNvPr id="68" name="Group 74">
              <a:extLst>
                <a:ext uri="{FF2B5EF4-FFF2-40B4-BE49-F238E27FC236}">
                  <a16:creationId xmlns:a16="http://schemas.microsoft.com/office/drawing/2014/main" id="{9CE32412-6BB8-41E1-9C43-70FD3155FC65}"/>
                </a:ext>
              </a:extLst>
            </p:cNvPr>
            <p:cNvGrpSpPr/>
            <p:nvPr/>
          </p:nvGrpSpPr>
          <p:grpSpPr>
            <a:xfrm>
              <a:off x="9163938" y="2168332"/>
              <a:ext cx="3574072" cy="975323"/>
              <a:chOff x="1090766" y="688621"/>
              <a:chExt cx="3574072" cy="975323"/>
            </a:xfrm>
          </p:grpSpPr>
          <p:sp>
            <p:nvSpPr>
              <p:cNvPr id="69" name="Rectangle 75">
                <a:extLst>
                  <a:ext uri="{FF2B5EF4-FFF2-40B4-BE49-F238E27FC236}">
                    <a16:creationId xmlns:a16="http://schemas.microsoft.com/office/drawing/2014/main" id="{D8DC3AC9-59D5-455D-9871-52AFCFB849DD}"/>
                  </a:ext>
                </a:extLst>
              </p:cNvPr>
              <p:cNvSpPr/>
              <p:nvPr/>
            </p:nvSpPr>
            <p:spPr>
              <a:xfrm>
                <a:off x="1090766" y="688621"/>
                <a:ext cx="2132703" cy="368114"/>
              </a:xfrm>
              <a:prstGeom prst="rect">
                <a:avLst/>
              </a:prstGeom>
            </p:spPr>
            <p:txBody>
              <a:bodyPr wrap="square">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lumMod val="75000"/>
                        <a:lumOff val="25000"/>
                      </a:srgbClr>
                    </a:solidFill>
                    <a:effectLst/>
                    <a:uLnTx/>
                    <a:uFillTx/>
                    <a:latin typeface="Inter SemiBold" panose="020B0502030000000004" pitchFamily="34" charset="0"/>
                    <a:ea typeface="+mn-ea"/>
                    <a:cs typeface="Open Sans Light" panose="020B0306030504020204" pitchFamily="34" charset="0"/>
                  </a:rPr>
                  <a:t>Your Title Text</a:t>
                </a:r>
              </a:p>
            </p:txBody>
          </p:sp>
          <p:sp>
            <p:nvSpPr>
              <p:cNvPr id="70" name="Rectangle 76">
                <a:extLst>
                  <a:ext uri="{FF2B5EF4-FFF2-40B4-BE49-F238E27FC236}">
                    <a16:creationId xmlns:a16="http://schemas.microsoft.com/office/drawing/2014/main" id="{822B7C2B-15AD-4753-A1D9-7356A0044ADA}"/>
                  </a:ext>
                </a:extLst>
              </p:cNvPr>
              <p:cNvSpPr/>
              <p:nvPr/>
            </p:nvSpPr>
            <p:spPr>
              <a:xfrm>
                <a:off x="1090766" y="1054546"/>
                <a:ext cx="3574072" cy="609398"/>
              </a:xfrm>
              <a:prstGeom prst="rect">
                <a:avLst/>
              </a:prstGeom>
            </p:spPr>
            <p:txBody>
              <a:bodyPr wrap="square">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id-ID" sz="1400" b="0" i="0" u="none" strike="noStrike" kern="1200" cap="none" spc="0" normalizeH="0" baseline="0" noProof="0" dirty="0">
                    <a:ln>
                      <a:noFill/>
                    </a:ln>
                    <a:solidFill>
                      <a:srgbClr val="FFFFFF">
                        <a:lumMod val="65000"/>
                      </a:srgbClr>
                    </a:solidFill>
                    <a:effectLst/>
                    <a:uLnTx/>
                    <a:uFillTx/>
                    <a:latin typeface="Segoe UI Light" panose="020B0502040204020203" pitchFamily="34" charset="0"/>
                    <a:ea typeface="+mn-ea"/>
                    <a:cs typeface="Segoe UI Light" panose="020B0502040204020203" pitchFamily="34" charset="0"/>
                  </a:rPr>
                  <a:t>The quick, brown fox jumps over a lazy dog. DJs flock by when MTV ax quiz prog. </a:t>
                </a:r>
                <a:endParaRPr kumimoji="0" lang="en-US" sz="1400" b="0" i="0" u="none" strike="noStrike" kern="1200" cap="none" spc="0" normalizeH="0" baseline="0" noProof="0" dirty="0">
                  <a:ln>
                    <a:noFill/>
                  </a:ln>
                  <a:solidFill>
                    <a:srgbClr val="FFFFFF">
                      <a:lumMod val="65000"/>
                    </a:srgbClr>
                  </a:solidFill>
                  <a:effectLst/>
                  <a:uLnTx/>
                  <a:uFillTx/>
                  <a:latin typeface="Segoe UI Light" panose="020B0502040204020203" pitchFamily="34" charset="0"/>
                  <a:ea typeface="+mn-ea"/>
                  <a:cs typeface="Segoe UI Light" panose="020B0502040204020203" pitchFamily="34" charset="0"/>
                </a:endParaRPr>
              </a:p>
            </p:txBody>
          </p:sp>
        </p:grpSp>
      </p:grpSp>
      <p:grpSp>
        <p:nvGrpSpPr>
          <p:cNvPr id="73" name="Group 79">
            <a:extLst>
              <a:ext uri="{FF2B5EF4-FFF2-40B4-BE49-F238E27FC236}">
                <a16:creationId xmlns:a16="http://schemas.microsoft.com/office/drawing/2014/main" id="{F0806924-2B85-480A-A5CA-653F523AE257}"/>
              </a:ext>
            </a:extLst>
          </p:cNvPr>
          <p:cNvGrpSpPr/>
          <p:nvPr/>
        </p:nvGrpSpPr>
        <p:grpSpPr>
          <a:xfrm>
            <a:off x="8116854" y="3446123"/>
            <a:ext cx="3901603" cy="975323"/>
            <a:chOff x="8851852" y="4095406"/>
            <a:chExt cx="3901603" cy="975323"/>
          </a:xfrm>
        </p:grpSpPr>
        <p:grpSp>
          <p:nvGrpSpPr>
            <p:cNvPr id="74" name="Group 80">
              <a:extLst>
                <a:ext uri="{FF2B5EF4-FFF2-40B4-BE49-F238E27FC236}">
                  <a16:creationId xmlns:a16="http://schemas.microsoft.com/office/drawing/2014/main" id="{12D943CA-D4F9-402C-9E56-F08FBDADB1D7}"/>
                </a:ext>
              </a:extLst>
            </p:cNvPr>
            <p:cNvGrpSpPr/>
            <p:nvPr/>
          </p:nvGrpSpPr>
          <p:grpSpPr>
            <a:xfrm>
              <a:off x="8851852" y="4172289"/>
              <a:ext cx="259660" cy="259660"/>
              <a:chOff x="2288721" y="2772229"/>
              <a:chExt cx="2471965" cy="2471965"/>
            </a:xfrm>
          </p:grpSpPr>
          <p:sp>
            <p:nvSpPr>
              <p:cNvPr id="78" name="Oval 84">
                <a:extLst>
                  <a:ext uri="{FF2B5EF4-FFF2-40B4-BE49-F238E27FC236}">
                    <a16:creationId xmlns:a16="http://schemas.microsoft.com/office/drawing/2014/main" id="{C2BB44FD-FBE0-4D66-8F58-54F6B0479E62}"/>
                  </a:ext>
                </a:extLst>
              </p:cNvPr>
              <p:cNvSpPr/>
              <p:nvPr/>
            </p:nvSpPr>
            <p:spPr>
              <a:xfrm>
                <a:off x="2288721" y="2772229"/>
                <a:ext cx="2471965" cy="2471965"/>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等线" panose="020F0502020204030204"/>
                  <a:ea typeface="+mn-ea"/>
                  <a:cs typeface="+mn-cs"/>
                </a:endParaRPr>
              </a:p>
            </p:txBody>
          </p:sp>
          <p:sp>
            <p:nvSpPr>
              <p:cNvPr id="79" name="Freeform 29">
                <a:extLst>
                  <a:ext uri="{FF2B5EF4-FFF2-40B4-BE49-F238E27FC236}">
                    <a16:creationId xmlns:a16="http://schemas.microsoft.com/office/drawing/2014/main" id="{A74C0A04-637E-42D6-864B-56A42E90E361}"/>
                  </a:ext>
                </a:extLst>
              </p:cNvPr>
              <p:cNvSpPr>
                <a:spLocks/>
              </p:cNvSpPr>
              <p:nvPr/>
            </p:nvSpPr>
            <p:spPr bwMode="auto">
              <a:xfrm>
                <a:off x="2804183" y="3513718"/>
                <a:ext cx="1503332" cy="1160049"/>
              </a:xfrm>
              <a:custGeom>
                <a:avLst/>
                <a:gdLst>
                  <a:gd name="T0" fmla="*/ 198196 w 59"/>
                  <a:gd name="T1" fmla="*/ 41487 h 45"/>
                  <a:gd name="T2" fmla="*/ 102515 w 59"/>
                  <a:gd name="T3" fmla="*/ 134832 h 45"/>
                  <a:gd name="T4" fmla="*/ 85429 w 59"/>
                  <a:gd name="T5" fmla="*/ 152118 h 45"/>
                  <a:gd name="T6" fmla="*/ 78595 w 59"/>
                  <a:gd name="T7" fmla="*/ 155575 h 45"/>
                  <a:gd name="T8" fmla="*/ 68343 w 59"/>
                  <a:gd name="T9" fmla="*/ 152118 h 45"/>
                  <a:gd name="T10" fmla="*/ 51258 w 59"/>
                  <a:gd name="T11" fmla="*/ 134832 h 45"/>
                  <a:gd name="T12" fmla="*/ 3417 w 59"/>
                  <a:gd name="T13" fmla="*/ 89888 h 45"/>
                  <a:gd name="T14" fmla="*/ 0 w 59"/>
                  <a:gd name="T15" fmla="*/ 79516 h 45"/>
                  <a:gd name="T16" fmla="*/ 3417 w 59"/>
                  <a:gd name="T17" fmla="*/ 69144 h 45"/>
                  <a:gd name="T18" fmla="*/ 20503 w 59"/>
                  <a:gd name="T19" fmla="*/ 51858 h 45"/>
                  <a:gd name="T20" fmla="*/ 30755 w 59"/>
                  <a:gd name="T21" fmla="*/ 48401 h 45"/>
                  <a:gd name="T22" fmla="*/ 37589 w 59"/>
                  <a:gd name="T23" fmla="*/ 51858 h 45"/>
                  <a:gd name="T24" fmla="*/ 78595 w 59"/>
                  <a:gd name="T25" fmla="*/ 89888 h 45"/>
                  <a:gd name="T26" fmla="*/ 160607 w 59"/>
                  <a:gd name="T27" fmla="*/ 3457 h 45"/>
                  <a:gd name="T28" fmla="*/ 170858 w 59"/>
                  <a:gd name="T29" fmla="*/ 0 h 45"/>
                  <a:gd name="T30" fmla="*/ 181110 w 59"/>
                  <a:gd name="T31" fmla="*/ 3457 h 45"/>
                  <a:gd name="T32" fmla="*/ 198196 w 59"/>
                  <a:gd name="T33" fmla="*/ 24201 h 45"/>
                  <a:gd name="T34" fmla="*/ 201613 w 59"/>
                  <a:gd name="T35" fmla="*/ 31115 h 45"/>
                  <a:gd name="T36" fmla="*/ 198196 w 59"/>
                  <a:gd name="T37" fmla="*/ 41487 h 4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9" h="45">
                    <a:moveTo>
                      <a:pt x="58" y="12"/>
                    </a:moveTo>
                    <a:cubicBezTo>
                      <a:pt x="30" y="39"/>
                      <a:pt x="30" y="39"/>
                      <a:pt x="30" y="39"/>
                    </a:cubicBezTo>
                    <a:cubicBezTo>
                      <a:pt x="25" y="44"/>
                      <a:pt x="25" y="44"/>
                      <a:pt x="25" y="44"/>
                    </a:cubicBezTo>
                    <a:cubicBezTo>
                      <a:pt x="24" y="45"/>
                      <a:pt x="24" y="45"/>
                      <a:pt x="23" y="45"/>
                    </a:cubicBezTo>
                    <a:cubicBezTo>
                      <a:pt x="22" y="45"/>
                      <a:pt x="21" y="45"/>
                      <a:pt x="20" y="44"/>
                    </a:cubicBezTo>
                    <a:cubicBezTo>
                      <a:pt x="15" y="39"/>
                      <a:pt x="15" y="39"/>
                      <a:pt x="15" y="39"/>
                    </a:cubicBezTo>
                    <a:cubicBezTo>
                      <a:pt x="1" y="26"/>
                      <a:pt x="1" y="26"/>
                      <a:pt x="1" y="26"/>
                    </a:cubicBezTo>
                    <a:cubicBezTo>
                      <a:pt x="0" y="25"/>
                      <a:pt x="0" y="24"/>
                      <a:pt x="0" y="23"/>
                    </a:cubicBezTo>
                    <a:cubicBezTo>
                      <a:pt x="0" y="22"/>
                      <a:pt x="0" y="21"/>
                      <a:pt x="1" y="20"/>
                    </a:cubicBezTo>
                    <a:cubicBezTo>
                      <a:pt x="6" y="15"/>
                      <a:pt x="6" y="15"/>
                      <a:pt x="6" y="15"/>
                    </a:cubicBezTo>
                    <a:cubicBezTo>
                      <a:pt x="7" y="14"/>
                      <a:pt x="8" y="14"/>
                      <a:pt x="9" y="14"/>
                    </a:cubicBezTo>
                    <a:cubicBezTo>
                      <a:pt x="10" y="14"/>
                      <a:pt x="11" y="14"/>
                      <a:pt x="11" y="15"/>
                    </a:cubicBezTo>
                    <a:cubicBezTo>
                      <a:pt x="23" y="26"/>
                      <a:pt x="23" y="26"/>
                      <a:pt x="23" y="26"/>
                    </a:cubicBezTo>
                    <a:cubicBezTo>
                      <a:pt x="47" y="1"/>
                      <a:pt x="47" y="1"/>
                      <a:pt x="47" y="1"/>
                    </a:cubicBezTo>
                    <a:cubicBezTo>
                      <a:pt x="48" y="1"/>
                      <a:pt x="49" y="0"/>
                      <a:pt x="50" y="0"/>
                    </a:cubicBezTo>
                    <a:cubicBezTo>
                      <a:pt x="51" y="0"/>
                      <a:pt x="52" y="1"/>
                      <a:pt x="53" y="1"/>
                    </a:cubicBezTo>
                    <a:cubicBezTo>
                      <a:pt x="58" y="7"/>
                      <a:pt x="58" y="7"/>
                      <a:pt x="58" y="7"/>
                    </a:cubicBezTo>
                    <a:cubicBezTo>
                      <a:pt x="58" y="7"/>
                      <a:pt x="59" y="8"/>
                      <a:pt x="59" y="9"/>
                    </a:cubicBezTo>
                    <a:cubicBezTo>
                      <a:pt x="59" y="10"/>
                      <a:pt x="58" y="11"/>
                      <a:pt x="58" y="12"/>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grpSp>
        <p:grpSp>
          <p:nvGrpSpPr>
            <p:cNvPr id="75" name="Group 81">
              <a:extLst>
                <a:ext uri="{FF2B5EF4-FFF2-40B4-BE49-F238E27FC236}">
                  <a16:creationId xmlns:a16="http://schemas.microsoft.com/office/drawing/2014/main" id="{1723AD83-87D2-4662-936D-DEF821559502}"/>
                </a:ext>
              </a:extLst>
            </p:cNvPr>
            <p:cNvGrpSpPr/>
            <p:nvPr/>
          </p:nvGrpSpPr>
          <p:grpSpPr>
            <a:xfrm>
              <a:off x="9165656" y="4095406"/>
              <a:ext cx="3587799" cy="975323"/>
              <a:chOff x="1090765" y="688621"/>
              <a:chExt cx="3587799" cy="975323"/>
            </a:xfrm>
          </p:grpSpPr>
          <p:sp>
            <p:nvSpPr>
              <p:cNvPr id="76" name="Rectangle 82">
                <a:extLst>
                  <a:ext uri="{FF2B5EF4-FFF2-40B4-BE49-F238E27FC236}">
                    <a16:creationId xmlns:a16="http://schemas.microsoft.com/office/drawing/2014/main" id="{9B4A8313-2B4C-4C9E-865E-6849BB72B2D7}"/>
                  </a:ext>
                </a:extLst>
              </p:cNvPr>
              <p:cNvSpPr/>
              <p:nvPr/>
            </p:nvSpPr>
            <p:spPr>
              <a:xfrm>
                <a:off x="1090766" y="688621"/>
                <a:ext cx="2132703" cy="368114"/>
              </a:xfrm>
              <a:prstGeom prst="rect">
                <a:avLst/>
              </a:prstGeom>
            </p:spPr>
            <p:txBody>
              <a:bodyPr wrap="square">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lumMod val="75000"/>
                        <a:lumOff val="25000"/>
                      </a:srgbClr>
                    </a:solidFill>
                    <a:effectLst/>
                    <a:uLnTx/>
                    <a:uFillTx/>
                    <a:latin typeface="Inter SemiBold" panose="020B0502030000000004" pitchFamily="34" charset="0"/>
                    <a:ea typeface="+mn-ea"/>
                    <a:cs typeface="Open Sans Light" panose="020B0306030504020204" pitchFamily="34" charset="0"/>
                  </a:rPr>
                  <a:t>Your Title Text</a:t>
                </a:r>
              </a:p>
            </p:txBody>
          </p:sp>
          <p:sp>
            <p:nvSpPr>
              <p:cNvPr id="77" name="Rectangle 83">
                <a:extLst>
                  <a:ext uri="{FF2B5EF4-FFF2-40B4-BE49-F238E27FC236}">
                    <a16:creationId xmlns:a16="http://schemas.microsoft.com/office/drawing/2014/main" id="{4E812C85-EACB-4DA7-B448-1C8DEC618C64}"/>
                  </a:ext>
                </a:extLst>
              </p:cNvPr>
              <p:cNvSpPr/>
              <p:nvPr/>
            </p:nvSpPr>
            <p:spPr>
              <a:xfrm>
                <a:off x="1090765" y="1054546"/>
                <a:ext cx="3587799" cy="609398"/>
              </a:xfrm>
              <a:prstGeom prst="rect">
                <a:avLst/>
              </a:prstGeom>
            </p:spPr>
            <p:txBody>
              <a:bodyPr wrap="square">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id-ID" sz="1400" b="0" i="0" u="none" strike="noStrike" kern="1200" cap="none" spc="0" normalizeH="0" baseline="0" noProof="0" dirty="0">
                    <a:ln>
                      <a:noFill/>
                    </a:ln>
                    <a:solidFill>
                      <a:srgbClr val="FFFFFF">
                        <a:lumMod val="65000"/>
                      </a:srgbClr>
                    </a:solidFill>
                    <a:effectLst/>
                    <a:uLnTx/>
                    <a:uFillTx/>
                    <a:latin typeface="Segoe UI Light" panose="020B0502040204020203" pitchFamily="34" charset="0"/>
                    <a:ea typeface="+mn-ea"/>
                    <a:cs typeface="Segoe UI Light" panose="020B0502040204020203" pitchFamily="34" charset="0"/>
                  </a:rPr>
                  <a:t>The quick, brown fox jumps over a lazy dog. DJs flock by when MTV ax quiz prog. </a:t>
                </a:r>
                <a:endParaRPr kumimoji="0" lang="en-US" sz="1400" b="0" i="0" u="none" strike="noStrike" kern="1200" cap="none" spc="0" normalizeH="0" baseline="0" noProof="0" dirty="0">
                  <a:ln>
                    <a:noFill/>
                  </a:ln>
                  <a:solidFill>
                    <a:srgbClr val="FFFFFF">
                      <a:lumMod val="65000"/>
                    </a:srgbClr>
                  </a:solidFill>
                  <a:effectLst/>
                  <a:uLnTx/>
                  <a:uFillTx/>
                  <a:latin typeface="Segoe UI Light" panose="020B0502040204020203" pitchFamily="34" charset="0"/>
                  <a:ea typeface="+mn-ea"/>
                  <a:cs typeface="Segoe UI Light" panose="020B0502040204020203" pitchFamily="34" charset="0"/>
                </a:endParaRPr>
              </a:p>
            </p:txBody>
          </p:sp>
        </p:grpSp>
      </p:grpSp>
      <p:grpSp>
        <p:nvGrpSpPr>
          <p:cNvPr id="80" name="Group 86">
            <a:extLst>
              <a:ext uri="{FF2B5EF4-FFF2-40B4-BE49-F238E27FC236}">
                <a16:creationId xmlns:a16="http://schemas.microsoft.com/office/drawing/2014/main" id="{591BBDCB-BDE6-4C6F-9BE7-0168B6CDADE3}"/>
              </a:ext>
            </a:extLst>
          </p:cNvPr>
          <p:cNvGrpSpPr/>
          <p:nvPr/>
        </p:nvGrpSpPr>
        <p:grpSpPr>
          <a:xfrm>
            <a:off x="793374" y="5110938"/>
            <a:ext cx="3990601" cy="975323"/>
            <a:chOff x="523288" y="4099740"/>
            <a:chExt cx="3990601" cy="975323"/>
          </a:xfrm>
        </p:grpSpPr>
        <p:grpSp>
          <p:nvGrpSpPr>
            <p:cNvPr id="81" name="Group 87">
              <a:extLst>
                <a:ext uri="{FF2B5EF4-FFF2-40B4-BE49-F238E27FC236}">
                  <a16:creationId xmlns:a16="http://schemas.microsoft.com/office/drawing/2014/main" id="{6EC67F36-96A7-4768-9143-A41F22C0B361}"/>
                </a:ext>
              </a:extLst>
            </p:cNvPr>
            <p:cNvGrpSpPr/>
            <p:nvPr/>
          </p:nvGrpSpPr>
          <p:grpSpPr>
            <a:xfrm>
              <a:off x="523288" y="4176623"/>
              <a:ext cx="259660" cy="259660"/>
              <a:chOff x="2288721" y="2772229"/>
              <a:chExt cx="2471965" cy="2471965"/>
            </a:xfrm>
          </p:grpSpPr>
          <p:sp>
            <p:nvSpPr>
              <p:cNvPr id="85" name="Oval 91">
                <a:extLst>
                  <a:ext uri="{FF2B5EF4-FFF2-40B4-BE49-F238E27FC236}">
                    <a16:creationId xmlns:a16="http://schemas.microsoft.com/office/drawing/2014/main" id="{77FDAB3A-B9ED-499F-895E-72915C863AB6}"/>
                  </a:ext>
                </a:extLst>
              </p:cNvPr>
              <p:cNvSpPr/>
              <p:nvPr/>
            </p:nvSpPr>
            <p:spPr>
              <a:xfrm>
                <a:off x="2288721" y="2772229"/>
                <a:ext cx="2471965" cy="2471965"/>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等线" panose="020F0502020204030204"/>
                  <a:ea typeface="+mn-ea"/>
                  <a:cs typeface="+mn-cs"/>
                </a:endParaRPr>
              </a:p>
            </p:txBody>
          </p:sp>
          <p:sp>
            <p:nvSpPr>
              <p:cNvPr id="86" name="Freeform 29">
                <a:extLst>
                  <a:ext uri="{FF2B5EF4-FFF2-40B4-BE49-F238E27FC236}">
                    <a16:creationId xmlns:a16="http://schemas.microsoft.com/office/drawing/2014/main" id="{3475F251-44BF-4CC0-9883-2EC5AD0E5E64}"/>
                  </a:ext>
                </a:extLst>
              </p:cNvPr>
              <p:cNvSpPr>
                <a:spLocks/>
              </p:cNvSpPr>
              <p:nvPr/>
            </p:nvSpPr>
            <p:spPr bwMode="auto">
              <a:xfrm>
                <a:off x="2804183" y="3513718"/>
                <a:ext cx="1503332" cy="1160049"/>
              </a:xfrm>
              <a:custGeom>
                <a:avLst/>
                <a:gdLst>
                  <a:gd name="T0" fmla="*/ 198196 w 59"/>
                  <a:gd name="T1" fmla="*/ 41487 h 45"/>
                  <a:gd name="T2" fmla="*/ 102515 w 59"/>
                  <a:gd name="T3" fmla="*/ 134832 h 45"/>
                  <a:gd name="T4" fmla="*/ 85429 w 59"/>
                  <a:gd name="T5" fmla="*/ 152118 h 45"/>
                  <a:gd name="T6" fmla="*/ 78595 w 59"/>
                  <a:gd name="T7" fmla="*/ 155575 h 45"/>
                  <a:gd name="T8" fmla="*/ 68343 w 59"/>
                  <a:gd name="T9" fmla="*/ 152118 h 45"/>
                  <a:gd name="T10" fmla="*/ 51258 w 59"/>
                  <a:gd name="T11" fmla="*/ 134832 h 45"/>
                  <a:gd name="T12" fmla="*/ 3417 w 59"/>
                  <a:gd name="T13" fmla="*/ 89888 h 45"/>
                  <a:gd name="T14" fmla="*/ 0 w 59"/>
                  <a:gd name="T15" fmla="*/ 79516 h 45"/>
                  <a:gd name="T16" fmla="*/ 3417 w 59"/>
                  <a:gd name="T17" fmla="*/ 69144 h 45"/>
                  <a:gd name="T18" fmla="*/ 20503 w 59"/>
                  <a:gd name="T19" fmla="*/ 51858 h 45"/>
                  <a:gd name="T20" fmla="*/ 30755 w 59"/>
                  <a:gd name="T21" fmla="*/ 48401 h 45"/>
                  <a:gd name="T22" fmla="*/ 37589 w 59"/>
                  <a:gd name="T23" fmla="*/ 51858 h 45"/>
                  <a:gd name="T24" fmla="*/ 78595 w 59"/>
                  <a:gd name="T25" fmla="*/ 89888 h 45"/>
                  <a:gd name="T26" fmla="*/ 160607 w 59"/>
                  <a:gd name="T27" fmla="*/ 3457 h 45"/>
                  <a:gd name="T28" fmla="*/ 170858 w 59"/>
                  <a:gd name="T29" fmla="*/ 0 h 45"/>
                  <a:gd name="T30" fmla="*/ 181110 w 59"/>
                  <a:gd name="T31" fmla="*/ 3457 h 45"/>
                  <a:gd name="T32" fmla="*/ 198196 w 59"/>
                  <a:gd name="T33" fmla="*/ 24201 h 45"/>
                  <a:gd name="T34" fmla="*/ 201613 w 59"/>
                  <a:gd name="T35" fmla="*/ 31115 h 45"/>
                  <a:gd name="T36" fmla="*/ 198196 w 59"/>
                  <a:gd name="T37" fmla="*/ 41487 h 4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9" h="45">
                    <a:moveTo>
                      <a:pt x="58" y="12"/>
                    </a:moveTo>
                    <a:cubicBezTo>
                      <a:pt x="30" y="39"/>
                      <a:pt x="30" y="39"/>
                      <a:pt x="30" y="39"/>
                    </a:cubicBezTo>
                    <a:cubicBezTo>
                      <a:pt x="25" y="44"/>
                      <a:pt x="25" y="44"/>
                      <a:pt x="25" y="44"/>
                    </a:cubicBezTo>
                    <a:cubicBezTo>
                      <a:pt x="24" y="45"/>
                      <a:pt x="24" y="45"/>
                      <a:pt x="23" y="45"/>
                    </a:cubicBezTo>
                    <a:cubicBezTo>
                      <a:pt x="22" y="45"/>
                      <a:pt x="21" y="45"/>
                      <a:pt x="20" y="44"/>
                    </a:cubicBezTo>
                    <a:cubicBezTo>
                      <a:pt x="15" y="39"/>
                      <a:pt x="15" y="39"/>
                      <a:pt x="15" y="39"/>
                    </a:cubicBezTo>
                    <a:cubicBezTo>
                      <a:pt x="1" y="26"/>
                      <a:pt x="1" y="26"/>
                      <a:pt x="1" y="26"/>
                    </a:cubicBezTo>
                    <a:cubicBezTo>
                      <a:pt x="0" y="25"/>
                      <a:pt x="0" y="24"/>
                      <a:pt x="0" y="23"/>
                    </a:cubicBezTo>
                    <a:cubicBezTo>
                      <a:pt x="0" y="22"/>
                      <a:pt x="0" y="21"/>
                      <a:pt x="1" y="20"/>
                    </a:cubicBezTo>
                    <a:cubicBezTo>
                      <a:pt x="6" y="15"/>
                      <a:pt x="6" y="15"/>
                      <a:pt x="6" y="15"/>
                    </a:cubicBezTo>
                    <a:cubicBezTo>
                      <a:pt x="7" y="14"/>
                      <a:pt x="8" y="14"/>
                      <a:pt x="9" y="14"/>
                    </a:cubicBezTo>
                    <a:cubicBezTo>
                      <a:pt x="10" y="14"/>
                      <a:pt x="11" y="14"/>
                      <a:pt x="11" y="15"/>
                    </a:cubicBezTo>
                    <a:cubicBezTo>
                      <a:pt x="23" y="26"/>
                      <a:pt x="23" y="26"/>
                      <a:pt x="23" y="26"/>
                    </a:cubicBezTo>
                    <a:cubicBezTo>
                      <a:pt x="47" y="1"/>
                      <a:pt x="47" y="1"/>
                      <a:pt x="47" y="1"/>
                    </a:cubicBezTo>
                    <a:cubicBezTo>
                      <a:pt x="48" y="1"/>
                      <a:pt x="49" y="0"/>
                      <a:pt x="50" y="0"/>
                    </a:cubicBezTo>
                    <a:cubicBezTo>
                      <a:pt x="51" y="0"/>
                      <a:pt x="52" y="1"/>
                      <a:pt x="53" y="1"/>
                    </a:cubicBezTo>
                    <a:cubicBezTo>
                      <a:pt x="58" y="7"/>
                      <a:pt x="58" y="7"/>
                      <a:pt x="58" y="7"/>
                    </a:cubicBezTo>
                    <a:cubicBezTo>
                      <a:pt x="58" y="7"/>
                      <a:pt x="59" y="8"/>
                      <a:pt x="59" y="9"/>
                    </a:cubicBezTo>
                    <a:cubicBezTo>
                      <a:pt x="59" y="10"/>
                      <a:pt x="58" y="11"/>
                      <a:pt x="58" y="12"/>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grpSp>
        <p:grpSp>
          <p:nvGrpSpPr>
            <p:cNvPr id="82" name="Group 88">
              <a:extLst>
                <a:ext uri="{FF2B5EF4-FFF2-40B4-BE49-F238E27FC236}">
                  <a16:creationId xmlns:a16="http://schemas.microsoft.com/office/drawing/2014/main" id="{7EC07973-85C6-465B-A1C4-80EAE8482521}"/>
                </a:ext>
              </a:extLst>
            </p:cNvPr>
            <p:cNvGrpSpPr/>
            <p:nvPr/>
          </p:nvGrpSpPr>
          <p:grpSpPr>
            <a:xfrm>
              <a:off x="837093" y="4099740"/>
              <a:ext cx="3676796" cy="975323"/>
              <a:chOff x="1090766" y="688621"/>
              <a:chExt cx="3676796" cy="975323"/>
            </a:xfrm>
          </p:grpSpPr>
          <p:sp>
            <p:nvSpPr>
              <p:cNvPr id="83" name="Rectangle 89">
                <a:extLst>
                  <a:ext uri="{FF2B5EF4-FFF2-40B4-BE49-F238E27FC236}">
                    <a16:creationId xmlns:a16="http://schemas.microsoft.com/office/drawing/2014/main" id="{A3666886-325D-4BB2-BCC8-FDCA0FF168C9}"/>
                  </a:ext>
                </a:extLst>
              </p:cNvPr>
              <p:cNvSpPr/>
              <p:nvPr/>
            </p:nvSpPr>
            <p:spPr>
              <a:xfrm>
                <a:off x="1090766" y="688621"/>
                <a:ext cx="2132703" cy="368114"/>
              </a:xfrm>
              <a:prstGeom prst="rect">
                <a:avLst/>
              </a:prstGeom>
            </p:spPr>
            <p:txBody>
              <a:bodyPr wrap="square">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lumMod val="75000"/>
                        <a:lumOff val="25000"/>
                      </a:srgbClr>
                    </a:solidFill>
                    <a:effectLst/>
                    <a:uLnTx/>
                    <a:uFillTx/>
                    <a:latin typeface="Inter SemiBold" panose="020B0502030000000004" pitchFamily="34" charset="0"/>
                    <a:ea typeface="+mn-ea"/>
                    <a:cs typeface="Open Sans Light" panose="020B0306030504020204" pitchFamily="34" charset="0"/>
                  </a:rPr>
                  <a:t>Your Title Text</a:t>
                </a:r>
              </a:p>
            </p:txBody>
          </p:sp>
          <p:sp>
            <p:nvSpPr>
              <p:cNvPr id="84" name="Rectangle 90">
                <a:extLst>
                  <a:ext uri="{FF2B5EF4-FFF2-40B4-BE49-F238E27FC236}">
                    <a16:creationId xmlns:a16="http://schemas.microsoft.com/office/drawing/2014/main" id="{BD9E48F0-E5BE-4860-B07B-C32FB3636B7F}"/>
                  </a:ext>
                </a:extLst>
              </p:cNvPr>
              <p:cNvSpPr/>
              <p:nvPr/>
            </p:nvSpPr>
            <p:spPr>
              <a:xfrm>
                <a:off x="1090766" y="1054546"/>
                <a:ext cx="3676796" cy="609398"/>
              </a:xfrm>
              <a:prstGeom prst="rect">
                <a:avLst/>
              </a:prstGeom>
            </p:spPr>
            <p:txBody>
              <a:bodyPr wrap="square">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id-ID" sz="1400" b="0" i="0" u="none" strike="noStrike" kern="1200" cap="none" spc="0" normalizeH="0" baseline="0" noProof="0" dirty="0">
                    <a:ln>
                      <a:noFill/>
                    </a:ln>
                    <a:solidFill>
                      <a:srgbClr val="FFFFFF">
                        <a:lumMod val="65000"/>
                      </a:srgbClr>
                    </a:solidFill>
                    <a:effectLst/>
                    <a:uLnTx/>
                    <a:uFillTx/>
                    <a:latin typeface="Segoe UI Light" panose="020B0502040204020203" pitchFamily="34" charset="0"/>
                    <a:ea typeface="+mn-ea"/>
                    <a:cs typeface="Segoe UI Light" panose="020B0502040204020203" pitchFamily="34" charset="0"/>
                  </a:rPr>
                  <a:t>The quick, brown fox jumps over a lazy dog. DJs flock by when MTV ax quiz prog. </a:t>
                </a:r>
                <a:endParaRPr kumimoji="0" lang="en-US" sz="1400" b="0" i="0" u="none" strike="noStrike" kern="1200" cap="none" spc="0" normalizeH="0" baseline="0" noProof="0" dirty="0">
                  <a:ln>
                    <a:noFill/>
                  </a:ln>
                  <a:solidFill>
                    <a:srgbClr val="FFFFFF">
                      <a:lumMod val="65000"/>
                    </a:srgbClr>
                  </a:solidFill>
                  <a:effectLst/>
                  <a:uLnTx/>
                  <a:uFillTx/>
                  <a:latin typeface="Segoe UI Light" panose="020B0502040204020203" pitchFamily="34" charset="0"/>
                  <a:ea typeface="+mn-ea"/>
                  <a:cs typeface="Segoe UI Light" panose="020B0502040204020203" pitchFamily="34" charset="0"/>
                </a:endParaRPr>
              </a:p>
            </p:txBody>
          </p:sp>
        </p:grpSp>
      </p:grpSp>
      <p:grpSp>
        <p:nvGrpSpPr>
          <p:cNvPr id="87" name="Group 95">
            <a:extLst>
              <a:ext uri="{FF2B5EF4-FFF2-40B4-BE49-F238E27FC236}">
                <a16:creationId xmlns:a16="http://schemas.microsoft.com/office/drawing/2014/main" id="{432C0A8F-8CFD-4896-BA94-15360BDBE49C}"/>
              </a:ext>
            </a:extLst>
          </p:cNvPr>
          <p:cNvGrpSpPr/>
          <p:nvPr/>
        </p:nvGrpSpPr>
        <p:grpSpPr>
          <a:xfrm>
            <a:off x="7628844" y="5033850"/>
            <a:ext cx="3901603" cy="975323"/>
            <a:chOff x="8851852" y="4095406"/>
            <a:chExt cx="3901603" cy="975323"/>
          </a:xfrm>
        </p:grpSpPr>
        <p:grpSp>
          <p:nvGrpSpPr>
            <p:cNvPr id="88" name="Group 96">
              <a:extLst>
                <a:ext uri="{FF2B5EF4-FFF2-40B4-BE49-F238E27FC236}">
                  <a16:creationId xmlns:a16="http://schemas.microsoft.com/office/drawing/2014/main" id="{FAFF4DC6-7686-4C3A-9879-FEE2061F2A19}"/>
                </a:ext>
              </a:extLst>
            </p:cNvPr>
            <p:cNvGrpSpPr/>
            <p:nvPr/>
          </p:nvGrpSpPr>
          <p:grpSpPr>
            <a:xfrm>
              <a:off x="8851852" y="4172289"/>
              <a:ext cx="259660" cy="259660"/>
              <a:chOff x="2288721" y="2772229"/>
              <a:chExt cx="2471965" cy="2471965"/>
            </a:xfrm>
          </p:grpSpPr>
          <p:sp>
            <p:nvSpPr>
              <p:cNvPr id="92" name="Oval 100">
                <a:extLst>
                  <a:ext uri="{FF2B5EF4-FFF2-40B4-BE49-F238E27FC236}">
                    <a16:creationId xmlns:a16="http://schemas.microsoft.com/office/drawing/2014/main" id="{A577CB0D-A034-4689-A0E8-71DFC540187D}"/>
                  </a:ext>
                </a:extLst>
              </p:cNvPr>
              <p:cNvSpPr/>
              <p:nvPr/>
            </p:nvSpPr>
            <p:spPr>
              <a:xfrm>
                <a:off x="2288721" y="2772229"/>
                <a:ext cx="2471965" cy="2471965"/>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等线" panose="020F0502020204030204"/>
                  <a:ea typeface="+mn-ea"/>
                  <a:cs typeface="+mn-cs"/>
                </a:endParaRPr>
              </a:p>
            </p:txBody>
          </p:sp>
          <p:sp>
            <p:nvSpPr>
              <p:cNvPr id="93" name="Freeform 29">
                <a:extLst>
                  <a:ext uri="{FF2B5EF4-FFF2-40B4-BE49-F238E27FC236}">
                    <a16:creationId xmlns:a16="http://schemas.microsoft.com/office/drawing/2014/main" id="{8EB08181-4CEB-4D1E-BC5C-2A95BC1DD8CC}"/>
                  </a:ext>
                </a:extLst>
              </p:cNvPr>
              <p:cNvSpPr>
                <a:spLocks/>
              </p:cNvSpPr>
              <p:nvPr/>
            </p:nvSpPr>
            <p:spPr bwMode="auto">
              <a:xfrm>
                <a:off x="2804183" y="3513718"/>
                <a:ext cx="1503332" cy="1160049"/>
              </a:xfrm>
              <a:custGeom>
                <a:avLst/>
                <a:gdLst>
                  <a:gd name="T0" fmla="*/ 198196 w 59"/>
                  <a:gd name="T1" fmla="*/ 41487 h 45"/>
                  <a:gd name="T2" fmla="*/ 102515 w 59"/>
                  <a:gd name="T3" fmla="*/ 134832 h 45"/>
                  <a:gd name="T4" fmla="*/ 85429 w 59"/>
                  <a:gd name="T5" fmla="*/ 152118 h 45"/>
                  <a:gd name="T6" fmla="*/ 78595 w 59"/>
                  <a:gd name="T7" fmla="*/ 155575 h 45"/>
                  <a:gd name="T8" fmla="*/ 68343 w 59"/>
                  <a:gd name="T9" fmla="*/ 152118 h 45"/>
                  <a:gd name="T10" fmla="*/ 51258 w 59"/>
                  <a:gd name="T11" fmla="*/ 134832 h 45"/>
                  <a:gd name="T12" fmla="*/ 3417 w 59"/>
                  <a:gd name="T13" fmla="*/ 89888 h 45"/>
                  <a:gd name="T14" fmla="*/ 0 w 59"/>
                  <a:gd name="T15" fmla="*/ 79516 h 45"/>
                  <a:gd name="T16" fmla="*/ 3417 w 59"/>
                  <a:gd name="T17" fmla="*/ 69144 h 45"/>
                  <a:gd name="T18" fmla="*/ 20503 w 59"/>
                  <a:gd name="T19" fmla="*/ 51858 h 45"/>
                  <a:gd name="T20" fmla="*/ 30755 w 59"/>
                  <a:gd name="T21" fmla="*/ 48401 h 45"/>
                  <a:gd name="T22" fmla="*/ 37589 w 59"/>
                  <a:gd name="T23" fmla="*/ 51858 h 45"/>
                  <a:gd name="T24" fmla="*/ 78595 w 59"/>
                  <a:gd name="T25" fmla="*/ 89888 h 45"/>
                  <a:gd name="T26" fmla="*/ 160607 w 59"/>
                  <a:gd name="T27" fmla="*/ 3457 h 45"/>
                  <a:gd name="T28" fmla="*/ 170858 w 59"/>
                  <a:gd name="T29" fmla="*/ 0 h 45"/>
                  <a:gd name="T30" fmla="*/ 181110 w 59"/>
                  <a:gd name="T31" fmla="*/ 3457 h 45"/>
                  <a:gd name="T32" fmla="*/ 198196 w 59"/>
                  <a:gd name="T33" fmla="*/ 24201 h 45"/>
                  <a:gd name="T34" fmla="*/ 201613 w 59"/>
                  <a:gd name="T35" fmla="*/ 31115 h 45"/>
                  <a:gd name="T36" fmla="*/ 198196 w 59"/>
                  <a:gd name="T37" fmla="*/ 41487 h 4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9" h="45">
                    <a:moveTo>
                      <a:pt x="58" y="12"/>
                    </a:moveTo>
                    <a:cubicBezTo>
                      <a:pt x="30" y="39"/>
                      <a:pt x="30" y="39"/>
                      <a:pt x="30" y="39"/>
                    </a:cubicBezTo>
                    <a:cubicBezTo>
                      <a:pt x="25" y="44"/>
                      <a:pt x="25" y="44"/>
                      <a:pt x="25" y="44"/>
                    </a:cubicBezTo>
                    <a:cubicBezTo>
                      <a:pt x="24" y="45"/>
                      <a:pt x="24" y="45"/>
                      <a:pt x="23" y="45"/>
                    </a:cubicBezTo>
                    <a:cubicBezTo>
                      <a:pt x="22" y="45"/>
                      <a:pt x="21" y="45"/>
                      <a:pt x="20" y="44"/>
                    </a:cubicBezTo>
                    <a:cubicBezTo>
                      <a:pt x="15" y="39"/>
                      <a:pt x="15" y="39"/>
                      <a:pt x="15" y="39"/>
                    </a:cubicBezTo>
                    <a:cubicBezTo>
                      <a:pt x="1" y="26"/>
                      <a:pt x="1" y="26"/>
                      <a:pt x="1" y="26"/>
                    </a:cubicBezTo>
                    <a:cubicBezTo>
                      <a:pt x="0" y="25"/>
                      <a:pt x="0" y="24"/>
                      <a:pt x="0" y="23"/>
                    </a:cubicBezTo>
                    <a:cubicBezTo>
                      <a:pt x="0" y="22"/>
                      <a:pt x="0" y="21"/>
                      <a:pt x="1" y="20"/>
                    </a:cubicBezTo>
                    <a:cubicBezTo>
                      <a:pt x="6" y="15"/>
                      <a:pt x="6" y="15"/>
                      <a:pt x="6" y="15"/>
                    </a:cubicBezTo>
                    <a:cubicBezTo>
                      <a:pt x="7" y="14"/>
                      <a:pt x="8" y="14"/>
                      <a:pt x="9" y="14"/>
                    </a:cubicBezTo>
                    <a:cubicBezTo>
                      <a:pt x="10" y="14"/>
                      <a:pt x="11" y="14"/>
                      <a:pt x="11" y="15"/>
                    </a:cubicBezTo>
                    <a:cubicBezTo>
                      <a:pt x="23" y="26"/>
                      <a:pt x="23" y="26"/>
                      <a:pt x="23" y="26"/>
                    </a:cubicBezTo>
                    <a:cubicBezTo>
                      <a:pt x="47" y="1"/>
                      <a:pt x="47" y="1"/>
                      <a:pt x="47" y="1"/>
                    </a:cubicBezTo>
                    <a:cubicBezTo>
                      <a:pt x="48" y="1"/>
                      <a:pt x="49" y="0"/>
                      <a:pt x="50" y="0"/>
                    </a:cubicBezTo>
                    <a:cubicBezTo>
                      <a:pt x="51" y="0"/>
                      <a:pt x="52" y="1"/>
                      <a:pt x="53" y="1"/>
                    </a:cubicBezTo>
                    <a:cubicBezTo>
                      <a:pt x="58" y="7"/>
                      <a:pt x="58" y="7"/>
                      <a:pt x="58" y="7"/>
                    </a:cubicBezTo>
                    <a:cubicBezTo>
                      <a:pt x="58" y="7"/>
                      <a:pt x="59" y="8"/>
                      <a:pt x="59" y="9"/>
                    </a:cubicBezTo>
                    <a:cubicBezTo>
                      <a:pt x="59" y="10"/>
                      <a:pt x="58" y="11"/>
                      <a:pt x="58" y="12"/>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grpSp>
        <p:grpSp>
          <p:nvGrpSpPr>
            <p:cNvPr id="89" name="Group 97">
              <a:extLst>
                <a:ext uri="{FF2B5EF4-FFF2-40B4-BE49-F238E27FC236}">
                  <a16:creationId xmlns:a16="http://schemas.microsoft.com/office/drawing/2014/main" id="{0E74CFC8-4E85-4158-89AD-F9FF38123AE9}"/>
                </a:ext>
              </a:extLst>
            </p:cNvPr>
            <p:cNvGrpSpPr/>
            <p:nvPr/>
          </p:nvGrpSpPr>
          <p:grpSpPr>
            <a:xfrm>
              <a:off x="9165656" y="4095406"/>
              <a:ext cx="3587799" cy="975323"/>
              <a:chOff x="1090765" y="688621"/>
              <a:chExt cx="3587799" cy="975323"/>
            </a:xfrm>
          </p:grpSpPr>
          <p:sp>
            <p:nvSpPr>
              <p:cNvPr id="90" name="Rectangle 98">
                <a:extLst>
                  <a:ext uri="{FF2B5EF4-FFF2-40B4-BE49-F238E27FC236}">
                    <a16:creationId xmlns:a16="http://schemas.microsoft.com/office/drawing/2014/main" id="{FCF35685-33FA-4293-8810-2E8605460649}"/>
                  </a:ext>
                </a:extLst>
              </p:cNvPr>
              <p:cNvSpPr/>
              <p:nvPr/>
            </p:nvSpPr>
            <p:spPr>
              <a:xfrm>
                <a:off x="1090766" y="688621"/>
                <a:ext cx="2132703" cy="368114"/>
              </a:xfrm>
              <a:prstGeom prst="rect">
                <a:avLst/>
              </a:prstGeom>
            </p:spPr>
            <p:txBody>
              <a:bodyPr wrap="square">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lumMod val="75000"/>
                        <a:lumOff val="25000"/>
                      </a:srgbClr>
                    </a:solidFill>
                    <a:effectLst/>
                    <a:uLnTx/>
                    <a:uFillTx/>
                    <a:latin typeface="Inter SemiBold" panose="020B0502030000000004" pitchFamily="34" charset="0"/>
                    <a:ea typeface="+mn-ea"/>
                    <a:cs typeface="Open Sans Light" panose="020B0306030504020204" pitchFamily="34" charset="0"/>
                  </a:rPr>
                  <a:t>Your Title Text</a:t>
                </a:r>
              </a:p>
            </p:txBody>
          </p:sp>
          <p:sp>
            <p:nvSpPr>
              <p:cNvPr id="91" name="Rectangle 99">
                <a:extLst>
                  <a:ext uri="{FF2B5EF4-FFF2-40B4-BE49-F238E27FC236}">
                    <a16:creationId xmlns:a16="http://schemas.microsoft.com/office/drawing/2014/main" id="{E5FBF210-BE85-4D4C-9B3C-216173D21D85}"/>
                  </a:ext>
                </a:extLst>
              </p:cNvPr>
              <p:cNvSpPr/>
              <p:nvPr/>
            </p:nvSpPr>
            <p:spPr>
              <a:xfrm>
                <a:off x="1090765" y="1054546"/>
                <a:ext cx="3587799" cy="609398"/>
              </a:xfrm>
              <a:prstGeom prst="rect">
                <a:avLst/>
              </a:prstGeom>
            </p:spPr>
            <p:txBody>
              <a:bodyPr wrap="square">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id-ID" sz="1400" b="0" i="0" u="none" strike="noStrike" kern="1200" cap="none" spc="0" normalizeH="0" baseline="0" noProof="0" dirty="0">
                    <a:ln>
                      <a:noFill/>
                    </a:ln>
                    <a:solidFill>
                      <a:srgbClr val="FFFFFF">
                        <a:lumMod val="65000"/>
                      </a:srgbClr>
                    </a:solidFill>
                    <a:effectLst/>
                    <a:uLnTx/>
                    <a:uFillTx/>
                    <a:latin typeface="Segoe UI Light" panose="020B0502040204020203" pitchFamily="34" charset="0"/>
                    <a:ea typeface="+mn-ea"/>
                    <a:cs typeface="Segoe UI Light" panose="020B0502040204020203" pitchFamily="34" charset="0"/>
                  </a:rPr>
                  <a:t>The quick, brown fox jumps over a lazy dog. DJs flock by when MTV ax quiz prog. </a:t>
                </a:r>
                <a:endParaRPr kumimoji="0" lang="en-US" sz="1400" b="0" i="0" u="none" strike="noStrike" kern="1200" cap="none" spc="0" normalizeH="0" baseline="0" noProof="0" dirty="0">
                  <a:ln>
                    <a:noFill/>
                  </a:ln>
                  <a:solidFill>
                    <a:srgbClr val="FFFFFF">
                      <a:lumMod val="65000"/>
                    </a:srgbClr>
                  </a:solidFill>
                  <a:effectLst/>
                  <a:uLnTx/>
                  <a:uFillTx/>
                  <a:latin typeface="Segoe UI Light" panose="020B0502040204020203" pitchFamily="34" charset="0"/>
                  <a:ea typeface="+mn-ea"/>
                  <a:cs typeface="Segoe UI Light" panose="020B0502040204020203" pitchFamily="34" charset="0"/>
                </a:endParaRPr>
              </a:p>
            </p:txBody>
          </p:sp>
        </p:grpSp>
      </p:grpSp>
    </p:spTree>
    <p:extLst>
      <p:ext uri="{BB962C8B-B14F-4D97-AF65-F5344CB8AC3E}">
        <p14:creationId xmlns:p14="http://schemas.microsoft.com/office/powerpoint/2010/main" val="3498514857"/>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6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7954A6-D0D6-4045-A127-B4DBE3557247}"/>
              </a:ext>
            </a:extLst>
          </p:cNvPr>
          <p:cNvSpPr txBox="1">
            <a:spLocks/>
          </p:cNvSpPr>
          <p:nvPr/>
        </p:nvSpPr>
        <p:spPr>
          <a:xfrm>
            <a:off x="2043113" y="304800"/>
            <a:ext cx="8105775" cy="1105808"/>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ID" sz="4400" b="0" i="0" u="none" strike="noStrike" kern="1200" cap="none" spc="0" normalizeH="0" baseline="0" noProof="0">
                <a:ln>
                  <a:noFill/>
                </a:ln>
                <a:solidFill>
                  <a:srgbClr val="000000"/>
                </a:solidFill>
                <a:effectLst/>
                <a:uLnTx/>
                <a:uFillTx/>
                <a:latin typeface="等线 Light" panose="020F0302020204030204"/>
                <a:ea typeface="+mj-ea"/>
                <a:cs typeface="+mj-cs"/>
              </a:rPr>
              <a:t>Tree Infographic</a:t>
            </a:r>
          </a:p>
        </p:txBody>
      </p:sp>
      <p:sp>
        <p:nvSpPr>
          <p:cNvPr id="3" name="Freeform: Shape 4">
            <a:extLst>
              <a:ext uri="{FF2B5EF4-FFF2-40B4-BE49-F238E27FC236}">
                <a16:creationId xmlns:a16="http://schemas.microsoft.com/office/drawing/2014/main" id="{C887ACA7-BBB0-4335-99B3-338C01751070}"/>
              </a:ext>
            </a:extLst>
          </p:cNvPr>
          <p:cNvSpPr/>
          <p:nvPr/>
        </p:nvSpPr>
        <p:spPr>
          <a:xfrm>
            <a:off x="6112677" y="5141778"/>
            <a:ext cx="878145" cy="1066554"/>
          </a:xfrm>
          <a:custGeom>
            <a:avLst/>
            <a:gdLst>
              <a:gd name="connsiteX0" fmla="*/ 953 w 759142"/>
              <a:gd name="connsiteY0" fmla="*/ 0 h 922019"/>
              <a:gd name="connsiteX1" fmla="*/ 759143 w 759142"/>
              <a:gd name="connsiteY1" fmla="*/ 0 h 922019"/>
              <a:gd name="connsiteX2" fmla="*/ 759143 w 759142"/>
              <a:gd name="connsiteY2" fmla="*/ 290513 h 922019"/>
              <a:gd name="connsiteX3" fmla="*/ 709613 w 759142"/>
              <a:gd name="connsiteY3" fmla="*/ 272415 h 922019"/>
              <a:gd name="connsiteX4" fmla="*/ 622935 w 759142"/>
              <a:gd name="connsiteY4" fmla="*/ 373380 h 922019"/>
              <a:gd name="connsiteX5" fmla="*/ 709613 w 759142"/>
              <a:gd name="connsiteY5" fmla="*/ 474345 h 922019"/>
              <a:gd name="connsiteX6" fmla="*/ 759143 w 759142"/>
              <a:gd name="connsiteY6" fmla="*/ 456247 h 922019"/>
              <a:gd name="connsiteX7" fmla="*/ 759143 w 759142"/>
              <a:gd name="connsiteY7" fmla="*/ 750570 h 922019"/>
              <a:gd name="connsiteX8" fmla="*/ 673418 w 759142"/>
              <a:gd name="connsiteY8" fmla="*/ 716280 h 922019"/>
              <a:gd name="connsiteX9" fmla="*/ 360045 w 759142"/>
              <a:gd name="connsiteY9" fmla="*/ 922020 h 922019"/>
              <a:gd name="connsiteX10" fmla="*/ 136208 w 759142"/>
              <a:gd name="connsiteY10" fmla="*/ 839152 h 922019"/>
              <a:gd name="connsiteX11" fmla="*/ 0 w 759142"/>
              <a:gd name="connsiteY11" fmla="*/ 880110 h 922019"/>
              <a:gd name="connsiteX12" fmla="*/ 0 w 759142"/>
              <a:gd name="connsiteY12" fmla="*/ 0 h 922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59142" h="922019">
                <a:moveTo>
                  <a:pt x="953" y="0"/>
                </a:moveTo>
                <a:lnTo>
                  <a:pt x="759143" y="0"/>
                </a:lnTo>
                <a:lnTo>
                  <a:pt x="759143" y="290513"/>
                </a:lnTo>
                <a:cubicBezTo>
                  <a:pt x="745808" y="279082"/>
                  <a:pt x="728663" y="272415"/>
                  <a:pt x="709613" y="272415"/>
                </a:cubicBezTo>
                <a:cubicBezTo>
                  <a:pt x="656272" y="272415"/>
                  <a:pt x="622935" y="323850"/>
                  <a:pt x="622935" y="373380"/>
                </a:cubicBezTo>
                <a:cubicBezTo>
                  <a:pt x="622935" y="422910"/>
                  <a:pt x="656272" y="474345"/>
                  <a:pt x="709613" y="474345"/>
                </a:cubicBezTo>
                <a:cubicBezTo>
                  <a:pt x="728663" y="474345"/>
                  <a:pt x="744855" y="467677"/>
                  <a:pt x="759143" y="456247"/>
                </a:cubicBezTo>
                <a:lnTo>
                  <a:pt x="759143" y="750570"/>
                </a:lnTo>
                <a:cubicBezTo>
                  <a:pt x="728663" y="742950"/>
                  <a:pt x="700088" y="731520"/>
                  <a:pt x="673418" y="716280"/>
                </a:cubicBezTo>
                <a:cubicBezTo>
                  <a:pt x="622935" y="837247"/>
                  <a:pt x="501967" y="922020"/>
                  <a:pt x="360045" y="922020"/>
                </a:cubicBezTo>
                <a:cubicBezTo>
                  <a:pt x="274320" y="922020"/>
                  <a:pt x="196215" y="890588"/>
                  <a:pt x="136208" y="839152"/>
                </a:cubicBezTo>
                <a:cubicBezTo>
                  <a:pt x="76200" y="864870"/>
                  <a:pt x="38100" y="879157"/>
                  <a:pt x="0" y="880110"/>
                </a:cubicBezTo>
                <a:lnTo>
                  <a:pt x="0" y="0"/>
                </a:lnTo>
                <a:close/>
              </a:path>
            </a:pathLst>
          </a:custGeom>
          <a:solidFill>
            <a:schemeClr val="accent2">
              <a:lumMod val="75000"/>
            </a:scheme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4" name="Freeform: Shape 7">
            <a:extLst>
              <a:ext uri="{FF2B5EF4-FFF2-40B4-BE49-F238E27FC236}">
                <a16:creationId xmlns:a16="http://schemas.microsoft.com/office/drawing/2014/main" id="{8AB8D4D3-C9DD-4F63-8D20-B8113E47C351}"/>
              </a:ext>
            </a:extLst>
          </p:cNvPr>
          <p:cNvSpPr/>
          <p:nvPr/>
        </p:nvSpPr>
        <p:spPr>
          <a:xfrm>
            <a:off x="5198171" y="5141778"/>
            <a:ext cx="878145" cy="1067657"/>
          </a:xfrm>
          <a:custGeom>
            <a:avLst/>
            <a:gdLst>
              <a:gd name="connsiteX0" fmla="*/ 952 w 759142"/>
              <a:gd name="connsiteY0" fmla="*/ 0 h 922972"/>
              <a:gd name="connsiteX1" fmla="*/ 759143 w 759142"/>
              <a:gd name="connsiteY1" fmla="*/ 0 h 922972"/>
              <a:gd name="connsiteX2" fmla="*/ 759143 w 759142"/>
              <a:gd name="connsiteY2" fmla="*/ 881063 h 922972"/>
              <a:gd name="connsiteX3" fmla="*/ 622935 w 759142"/>
              <a:gd name="connsiteY3" fmla="*/ 840105 h 922972"/>
              <a:gd name="connsiteX4" fmla="*/ 399098 w 759142"/>
              <a:gd name="connsiteY4" fmla="*/ 922972 h 922972"/>
              <a:gd name="connsiteX5" fmla="*/ 85725 w 759142"/>
              <a:gd name="connsiteY5" fmla="*/ 717232 h 922972"/>
              <a:gd name="connsiteX6" fmla="*/ 0 w 759142"/>
              <a:gd name="connsiteY6" fmla="*/ 751522 h 922972"/>
              <a:gd name="connsiteX7" fmla="*/ 0 w 759142"/>
              <a:gd name="connsiteY7" fmla="*/ 457200 h 922972"/>
              <a:gd name="connsiteX8" fmla="*/ 49530 w 759142"/>
              <a:gd name="connsiteY8" fmla="*/ 475297 h 922972"/>
              <a:gd name="connsiteX9" fmla="*/ 136208 w 759142"/>
              <a:gd name="connsiteY9" fmla="*/ 374332 h 922972"/>
              <a:gd name="connsiteX10" fmla="*/ 49530 w 759142"/>
              <a:gd name="connsiteY10" fmla="*/ 273367 h 922972"/>
              <a:gd name="connsiteX11" fmla="*/ 0 w 759142"/>
              <a:gd name="connsiteY11" fmla="*/ 291465 h 922972"/>
              <a:gd name="connsiteX12" fmla="*/ 0 w 759142"/>
              <a:gd name="connsiteY12" fmla="*/ 0 h 922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59142" h="922972">
                <a:moveTo>
                  <a:pt x="952" y="0"/>
                </a:moveTo>
                <a:lnTo>
                  <a:pt x="759143" y="0"/>
                </a:lnTo>
                <a:lnTo>
                  <a:pt x="759143" y="881063"/>
                </a:lnTo>
                <a:cubicBezTo>
                  <a:pt x="721043" y="880110"/>
                  <a:pt x="682943" y="865822"/>
                  <a:pt x="622935" y="840105"/>
                </a:cubicBezTo>
                <a:cubicBezTo>
                  <a:pt x="562928" y="891540"/>
                  <a:pt x="484822" y="922972"/>
                  <a:pt x="399098" y="922972"/>
                </a:cubicBezTo>
                <a:cubicBezTo>
                  <a:pt x="258127" y="922972"/>
                  <a:pt x="136208" y="838200"/>
                  <a:pt x="85725" y="717232"/>
                </a:cubicBezTo>
                <a:cubicBezTo>
                  <a:pt x="59055" y="732472"/>
                  <a:pt x="30480" y="743902"/>
                  <a:pt x="0" y="751522"/>
                </a:cubicBezTo>
                <a:lnTo>
                  <a:pt x="0" y="457200"/>
                </a:lnTo>
                <a:cubicBezTo>
                  <a:pt x="13335" y="468630"/>
                  <a:pt x="30480" y="475297"/>
                  <a:pt x="49530" y="475297"/>
                </a:cubicBezTo>
                <a:cubicBezTo>
                  <a:pt x="102870" y="475297"/>
                  <a:pt x="136208" y="423863"/>
                  <a:pt x="136208" y="374332"/>
                </a:cubicBezTo>
                <a:cubicBezTo>
                  <a:pt x="136208" y="324802"/>
                  <a:pt x="102870" y="273367"/>
                  <a:pt x="49530" y="273367"/>
                </a:cubicBezTo>
                <a:cubicBezTo>
                  <a:pt x="30480" y="273367"/>
                  <a:pt x="14288" y="280035"/>
                  <a:pt x="0" y="291465"/>
                </a:cubicBezTo>
                <a:lnTo>
                  <a:pt x="0" y="0"/>
                </a:lnTo>
                <a:close/>
              </a:path>
            </a:pathLst>
          </a:custGeom>
          <a:solidFill>
            <a:schemeClr val="accent1">
              <a:lumMod val="75000"/>
            </a:scheme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5" name="Freeform: Shape 8">
            <a:extLst>
              <a:ext uri="{FF2B5EF4-FFF2-40B4-BE49-F238E27FC236}">
                <a16:creationId xmlns:a16="http://schemas.microsoft.com/office/drawing/2014/main" id="{07D0EC3F-430F-45FC-8ADA-614778F36F07}"/>
              </a:ext>
            </a:extLst>
          </p:cNvPr>
          <p:cNvSpPr/>
          <p:nvPr/>
        </p:nvSpPr>
        <p:spPr>
          <a:xfrm>
            <a:off x="4316720" y="4037761"/>
            <a:ext cx="514546" cy="1065453"/>
          </a:xfrm>
          <a:custGeom>
            <a:avLst/>
            <a:gdLst>
              <a:gd name="connsiteX0" fmla="*/ 143828 w 444817"/>
              <a:gd name="connsiteY0" fmla="*/ 0 h 921067"/>
              <a:gd name="connsiteX1" fmla="*/ 444818 w 444817"/>
              <a:gd name="connsiteY1" fmla="*/ 0 h 921067"/>
              <a:gd name="connsiteX2" fmla="*/ 444818 w 444817"/>
              <a:gd name="connsiteY2" fmla="*/ 456247 h 921067"/>
              <a:gd name="connsiteX3" fmla="*/ 395288 w 444817"/>
              <a:gd name="connsiteY3" fmla="*/ 438150 h 921067"/>
              <a:gd name="connsiteX4" fmla="*/ 308610 w 444817"/>
              <a:gd name="connsiteY4" fmla="*/ 539115 h 921067"/>
              <a:gd name="connsiteX5" fmla="*/ 395288 w 444817"/>
              <a:gd name="connsiteY5" fmla="*/ 640080 h 921067"/>
              <a:gd name="connsiteX6" fmla="*/ 444818 w 444817"/>
              <a:gd name="connsiteY6" fmla="*/ 621982 h 921067"/>
              <a:gd name="connsiteX7" fmla="*/ 444818 w 444817"/>
              <a:gd name="connsiteY7" fmla="*/ 921068 h 921067"/>
              <a:gd name="connsiteX8" fmla="*/ 35243 w 444817"/>
              <a:gd name="connsiteY8" fmla="*/ 921068 h 921067"/>
              <a:gd name="connsiteX9" fmla="*/ 74295 w 444817"/>
              <a:gd name="connsiteY9" fmla="*/ 844868 h 921067"/>
              <a:gd name="connsiteX10" fmla="*/ 0 w 444817"/>
              <a:gd name="connsiteY10" fmla="*/ 604838 h 921067"/>
              <a:gd name="connsiteX11" fmla="*/ 238125 w 444817"/>
              <a:gd name="connsiteY11" fmla="*/ 218122 h 921067"/>
              <a:gd name="connsiteX12" fmla="*/ 143828 w 444817"/>
              <a:gd name="connsiteY12" fmla="*/ 0 h 9210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44817" h="921067">
                <a:moveTo>
                  <a:pt x="143828" y="0"/>
                </a:moveTo>
                <a:lnTo>
                  <a:pt x="444818" y="0"/>
                </a:lnTo>
                <a:lnTo>
                  <a:pt x="444818" y="456247"/>
                </a:lnTo>
                <a:cubicBezTo>
                  <a:pt x="431483" y="444817"/>
                  <a:pt x="414338" y="438150"/>
                  <a:pt x="395288" y="438150"/>
                </a:cubicBezTo>
                <a:cubicBezTo>
                  <a:pt x="341948" y="438150"/>
                  <a:pt x="308610" y="489585"/>
                  <a:pt x="308610" y="539115"/>
                </a:cubicBezTo>
                <a:cubicBezTo>
                  <a:pt x="308610" y="588645"/>
                  <a:pt x="341948" y="640080"/>
                  <a:pt x="395288" y="640080"/>
                </a:cubicBezTo>
                <a:cubicBezTo>
                  <a:pt x="414338" y="640080"/>
                  <a:pt x="430530" y="633413"/>
                  <a:pt x="444818" y="621982"/>
                </a:cubicBezTo>
                <a:lnTo>
                  <a:pt x="444818" y="921068"/>
                </a:lnTo>
                <a:lnTo>
                  <a:pt x="35243" y="921068"/>
                </a:lnTo>
                <a:cubicBezTo>
                  <a:pt x="45720" y="894397"/>
                  <a:pt x="59055" y="868680"/>
                  <a:pt x="74295" y="844868"/>
                </a:cubicBezTo>
                <a:cubicBezTo>
                  <a:pt x="27623" y="777240"/>
                  <a:pt x="0" y="694372"/>
                  <a:pt x="0" y="604838"/>
                </a:cubicBezTo>
                <a:cubicBezTo>
                  <a:pt x="0" y="437197"/>
                  <a:pt x="96203" y="291465"/>
                  <a:pt x="238125" y="218122"/>
                </a:cubicBezTo>
                <a:cubicBezTo>
                  <a:pt x="187643" y="157163"/>
                  <a:pt x="154305" y="81915"/>
                  <a:pt x="143828" y="0"/>
                </a:cubicBezTo>
                <a:close/>
              </a:path>
            </a:pathLst>
          </a:custGeom>
          <a:solidFill>
            <a:schemeClr val="accent5"/>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6" name="Freeform: Shape 9">
            <a:extLst>
              <a:ext uri="{FF2B5EF4-FFF2-40B4-BE49-F238E27FC236}">
                <a16:creationId xmlns:a16="http://schemas.microsoft.com/office/drawing/2014/main" id="{B7487D00-01CD-4051-B61C-B2A7318EA399}"/>
              </a:ext>
            </a:extLst>
          </p:cNvPr>
          <p:cNvSpPr/>
          <p:nvPr/>
        </p:nvSpPr>
        <p:spPr>
          <a:xfrm>
            <a:off x="7357726" y="4037761"/>
            <a:ext cx="515648" cy="1067657"/>
          </a:xfrm>
          <a:custGeom>
            <a:avLst/>
            <a:gdLst>
              <a:gd name="connsiteX0" fmla="*/ 953 w 445769"/>
              <a:gd name="connsiteY0" fmla="*/ 0 h 922972"/>
              <a:gd name="connsiteX1" fmla="*/ 301943 w 445769"/>
              <a:gd name="connsiteY1" fmla="*/ 0 h 922972"/>
              <a:gd name="connsiteX2" fmla="*/ 207645 w 445769"/>
              <a:gd name="connsiteY2" fmla="*/ 219075 h 922972"/>
              <a:gd name="connsiteX3" fmla="*/ 445770 w 445769"/>
              <a:gd name="connsiteY3" fmla="*/ 605790 h 922972"/>
              <a:gd name="connsiteX4" fmla="*/ 371475 w 445769"/>
              <a:gd name="connsiteY4" fmla="*/ 846772 h 922972"/>
              <a:gd name="connsiteX5" fmla="*/ 410528 w 445769"/>
              <a:gd name="connsiteY5" fmla="*/ 922972 h 922972"/>
              <a:gd name="connsiteX6" fmla="*/ 0 w 445769"/>
              <a:gd name="connsiteY6" fmla="*/ 922972 h 922972"/>
              <a:gd name="connsiteX7" fmla="*/ 0 w 445769"/>
              <a:gd name="connsiteY7" fmla="*/ 623888 h 922972"/>
              <a:gd name="connsiteX8" fmla="*/ 48578 w 445769"/>
              <a:gd name="connsiteY8" fmla="*/ 641032 h 922972"/>
              <a:gd name="connsiteX9" fmla="*/ 135255 w 445769"/>
              <a:gd name="connsiteY9" fmla="*/ 540068 h 922972"/>
              <a:gd name="connsiteX10" fmla="*/ 48578 w 445769"/>
              <a:gd name="connsiteY10" fmla="*/ 439103 h 922972"/>
              <a:gd name="connsiteX11" fmla="*/ 0 w 445769"/>
              <a:gd name="connsiteY11" fmla="*/ 456247 h 922972"/>
              <a:gd name="connsiteX12" fmla="*/ 0 w 445769"/>
              <a:gd name="connsiteY12" fmla="*/ 0 h 922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45769" h="922972">
                <a:moveTo>
                  <a:pt x="953" y="0"/>
                </a:moveTo>
                <a:lnTo>
                  <a:pt x="301943" y="0"/>
                </a:lnTo>
                <a:cubicBezTo>
                  <a:pt x="291465" y="81915"/>
                  <a:pt x="258128" y="157163"/>
                  <a:pt x="207645" y="219075"/>
                </a:cubicBezTo>
                <a:cubicBezTo>
                  <a:pt x="349568" y="292417"/>
                  <a:pt x="445770" y="438150"/>
                  <a:pt x="445770" y="605790"/>
                </a:cubicBezTo>
                <a:cubicBezTo>
                  <a:pt x="445770" y="695325"/>
                  <a:pt x="418147" y="778193"/>
                  <a:pt x="371475" y="846772"/>
                </a:cubicBezTo>
                <a:cubicBezTo>
                  <a:pt x="386715" y="870585"/>
                  <a:pt x="400050" y="896303"/>
                  <a:pt x="410528" y="922972"/>
                </a:cubicBezTo>
                <a:lnTo>
                  <a:pt x="0" y="922972"/>
                </a:lnTo>
                <a:lnTo>
                  <a:pt x="0" y="623888"/>
                </a:lnTo>
                <a:cubicBezTo>
                  <a:pt x="13335" y="634365"/>
                  <a:pt x="30480" y="641032"/>
                  <a:pt x="48578" y="641032"/>
                </a:cubicBezTo>
                <a:cubicBezTo>
                  <a:pt x="101918" y="641032"/>
                  <a:pt x="135255" y="589597"/>
                  <a:pt x="135255" y="540068"/>
                </a:cubicBezTo>
                <a:cubicBezTo>
                  <a:pt x="135255" y="490538"/>
                  <a:pt x="101918" y="439103"/>
                  <a:pt x="48578" y="439103"/>
                </a:cubicBezTo>
                <a:cubicBezTo>
                  <a:pt x="30480" y="439103"/>
                  <a:pt x="13335" y="445770"/>
                  <a:pt x="0" y="456247"/>
                </a:cubicBezTo>
                <a:lnTo>
                  <a:pt x="0" y="0"/>
                </a:lnTo>
                <a:close/>
              </a:path>
            </a:pathLst>
          </a:custGeom>
          <a:solidFill>
            <a:schemeClr val="accent6"/>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7" name="Freeform: Shape 13">
            <a:extLst>
              <a:ext uri="{FF2B5EF4-FFF2-40B4-BE49-F238E27FC236}">
                <a16:creationId xmlns:a16="http://schemas.microsoft.com/office/drawing/2014/main" id="{AF1AA25D-CA72-446B-BAE9-8F92E900BD30}"/>
              </a:ext>
            </a:extLst>
          </p:cNvPr>
          <p:cNvSpPr/>
          <p:nvPr/>
        </p:nvSpPr>
        <p:spPr>
          <a:xfrm>
            <a:off x="4478686" y="2932641"/>
            <a:ext cx="683123" cy="1066556"/>
          </a:xfrm>
          <a:custGeom>
            <a:avLst/>
            <a:gdLst>
              <a:gd name="connsiteX0" fmla="*/ 300990 w 590549"/>
              <a:gd name="connsiteY0" fmla="*/ 0 h 922020"/>
              <a:gd name="connsiteX1" fmla="*/ 590550 w 590549"/>
              <a:gd name="connsiteY1" fmla="*/ 0 h 922020"/>
              <a:gd name="connsiteX2" fmla="*/ 590550 w 590549"/>
              <a:gd name="connsiteY2" fmla="*/ 378142 h 922020"/>
              <a:gd name="connsiteX3" fmla="*/ 541020 w 590549"/>
              <a:gd name="connsiteY3" fmla="*/ 360045 h 922020"/>
              <a:gd name="connsiteX4" fmla="*/ 454343 w 590549"/>
              <a:gd name="connsiteY4" fmla="*/ 461010 h 922020"/>
              <a:gd name="connsiteX5" fmla="*/ 541020 w 590549"/>
              <a:gd name="connsiteY5" fmla="*/ 561975 h 922020"/>
              <a:gd name="connsiteX6" fmla="*/ 590550 w 590549"/>
              <a:gd name="connsiteY6" fmla="*/ 543878 h 922020"/>
              <a:gd name="connsiteX7" fmla="*/ 590550 w 590549"/>
              <a:gd name="connsiteY7" fmla="*/ 922020 h 922020"/>
              <a:gd name="connsiteX8" fmla="*/ 953 w 590549"/>
              <a:gd name="connsiteY8" fmla="*/ 922020 h 922020"/>
              <a:gd name="connsiteX9" fmla="*/ 0 w 590549"/>
              <a:gd name="connsiteY9" fmla="*/ 901065 h 922020"/>
              <a:gd name="connsiteX10" fmla="*/ 246697 w 590549"/>
              <a:gd name="connsiteY10" fmla="*/ 510540 h 922020"/>
              <a:gd name="connsiteX11" fmla="*/ 339090 w 590549"/>
              <a:gd name="connsiteY11" fmla="*/ 345758 h 922020"/>
              <a:gd name="connsiteX12" fmla="*/ 280988 w 590549"/>
              <a:gd name="connsiteY12" fmla="*/ 130493 h 922020"/>
              <a:gd name="connsiteX13" fmla="*/ 300990 w 590549"/>
              <a:gd name="connsiteY13" fmla="*/ 0 h 9220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90549" h="922020">
                <a:moveTo>
                  <a:pt x="300990" y="0"/>
                </a:moveTo>
                <a:lnTo>
                  <a:pt x="590550" y="0"/>
                </a:lnTo>
                <a:lnTo>
                  <a:pt x="590550" y="378142"/>
                </a:lnTo>
                <a:cubicBezTo>
                  <a:pt x="577215" y="366713"/>
                  <a:pt x="560070" y="360045"/>
                  <a:pt x="541020" y="360045"/>
                </a:cubicBezTo>
                <a:cubicBezTo>
                  <a:pt x="487680" y="360045"/>
                  <a:pt x="454343" y="411480"/>
                  <a:pt x="454343" y="461010"/>
                </a:cubicBezTo>
                <a:cubicBezTo>
                  <a:pt x="454343" y="510540"/>
                  <a:pt x="487680" y="561975"/>
                  <a:pt x="541020" y="561975"/>
                </a:cubicBezTo>
                <a:cubicBezTo>
                  <a:pt x="560070" y="561975"/>
                  <a:pt x="576263" y="555308"/>
                  <a:pt x="590550" y="543878"/>
                </a:cubicBezTo>
                <a:lnTo>
                  <a:pt x="590550" y="922020"/>
                </a:lnTo>
                <a:lnTo>
                  <a:pt x="953" y="922020"/>
                </a:lnTo>
                <a:cubicBezTo>
                  <a:pt x="953" y="915353"/>
                  <a:pt x="0" y="907733"/>
                  <a:pt x="0" y="901065"/>
                </a:cubicBezTo>
                <a:cubicBezTo>
                  <a:pt x="0" y="729615"/>
                  <a:pt x="100013" y="581978"/>
                  <a:pt x="246697" y="510540"/>
                </a:cubicBezTo>
                <a:cubicBezTo>
                  <a:pt x="264795" y="448628"/>
                  <a:pt x="297180" y="392430"/>
                  <a:pt x="339090" y="345758"/>
                </a:cubicBezTo>
                <a:cubicBezTo>
                  <a:pt x="301943" y="281940"/>
                  <a:pt x="280988" y="208598"/>
                  <a:pt x="280988" y="130493"/>
                </a:cubicBezTo>
                <a:cubicBezTo>
                  <a:pt x="280988" y="84773"/>
                  <a:pt x="287655" y="41910"/>
                  <a:pt x="300990" y="0"/>
                </a:cubicBezTo>
                <a:close/>
              </a:path>
            </a:pathLst>
          </a:custGeom>
          <a:solidFill>
            <a:schemeClr val="accent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8" name="Freeform: Shape 14">
            <a:extLst>
              <a:ext uri="{FF2B5EF4-FFF2-40B4-BE49-F238E27FC236}">
                <a16:creationId xmlns:a16="http://schemas.microsoft.com/office/drawing/2014/main" id="{26CE1CEB-3A13-4084-A2FA-71DAFD39B884}"/>
              </a:ext>
            </a:extLst>
          </p:cNvPr>
          <p:cNvSpPr/>
          <p:nvPr/>
        </p:nvSpPr>
        <p:spPr>
          <a:xfrm>
            <a:off x="7028283" y="2932641"/>
            <a:ext cx="683125" cy="1065453"/>
          </a:xfrm>
          <a:custGeom>
            <a:avLst/>
            <a:gdLst>
              <a:gd name="connsiteX0" fmla="*/ 0 w 590550"/>
              <a:gd name="connsiteY0" fmla="*/ 0 h 921067"/>
              <a:gd name="connsiteX1" fmla="*/ 289560 w 590550"/>
              <a:gd name="connsiteY1" fmla="*/ 0 h 921067"/>
              <a:gd name="connsiteX2" fmla="*/ 309563 w 590550"/>
              <a:gd name="connsiteY2" fmla="*/ 129540 h 921067"/>
              <a:gd name="connsiteX3" fmla="*/ 251460 w 590550"/>
              <a:gd name="connsiteY3" fmla="*/ 344805 h 921067"/>
              <a:gd name="connsiteX4" fmla="*/ 343853 w 590550"/>
              <a:gd name="connsiteY4" fmla="*/ 509588 h 921067"/>
              <a:gd name="connsiteX5" fmla="*/ 590550 w 590550"/>
              <a:gd name="connsiteY5" fmla="*/ 900113 h 921067"/>
              <a:gd name="connsiteX6" fmla="*/ 589597 w 590550"/>
              <a:gd name="connsiteY6" fmla="*/ 921068 h 921067"/>
              <a:gd name="connsiteX7" fmla="*/ 0 w 590550"/>
              <a:gd name="connsiteY7" fmla="*/ 921068 h 921067"/>
              <a:gd name="connsiteX8" fmla="*/ 0 w 590550"/>
              <a:gd name="connsiteY8" fmla="*/ 540068 h 921067"/>
              <a:gd name="connsiteX9" fmla="*/ 52388 w 590550"/>
              <a:gd name="connsiteY9" fmla="*/ 561023 h 921067"/>
              <a:gd name="connsiteX10" fmla="*/ 139065 w 590550"/>
              <a:gd name="connsiteY10" fmla="*/ 460058 h 921067"/>
              <a:gd name="connsiteX11" fmla="*/ 52388 w 590550"/>
              <a:gd name="connsiteY11" fmla="*/ 359092 h 921067"/>
              <a:gd name="connsiteX12" fmla="*/ 0 w 590550"/>
              <a:gd name="connsiteY12" fmla="*/ 380048 h 921067"/>
              <a:gd name="connsiteX13" fmla="*/ 0 w 590550"/>
              <a:gd name="connsiteY13" fmla="*/ 0 h 9210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90550" h="921067">
                <a:moveTo>
                  <a:pt x="0" y="0"/>
                </a:moveTo>
                <a:lnTo>
                  <a:pt x="289560" y="0"/>
                </a:lnTo>
                <a:cubicBezTo>
                  <a:pt x="302895" y="40958"/>
                  <a:pt x="309563" y="84773"/>
                  <a:pt x="309563" y="129540"/>
                </a:cubicBezTo>
                <a:cubicBezTo>
                  <a:pt x="309563" y="207645"/>
                  <a:pt x="288607" y="280988"/>
                  <a:pt x="251460" y="344805"/>
                </a:cubicBezTo>
                <a:cubicBezTo>
                  <a:pt x="293370" y="392430"/>
                  <a:pt x="324803" y="447675"/>
                  <a:pt x="343853" y="509588"/>
                </a:cubicBezTo>
                <a:cubicBezTo>
                  <a:pt x="490538" y="581025"/>
                  <a:pt x="590550" y="729615"/>
                  <a:pt x="590550" y="900113"/>
                </a:cubicBezTo>
                <a:cubicBezTo>
                  <a:pt x="590550" y="907733"/>
                  <a:pt x="590550" y="914400"/>
                  <a:pt x="589597" y="921068"/>
                </a:cubicBezTo>
                <a:lnTo>
                  <a:pt x="0" y="921068"/>
                </a:lnTo>
                <a:lnTo>
                  <a:pt x="0" y="540068"/>
                </a:lnTo>
                <a:cubicBezTo>
                  <a:pt x="14288" y="552450"/>
                  <a:pt x="32385" y="561023"/>
                  <a:pt x="52388" y="561023"/>
                </a:cubicBezTo>
                <a:cubicBezTo>
                  <a:pt x="105728" y="561023"/>
                  <a:pt x="139065" y="509588"/>
                  <a:pt x="139065" y="460058"/>
                </a:cubicBezTo>
                <a:cubicBezTo>
                  <a:pt x="139065" y="410528"/>
                  <a:pt x="105728" y="359092"/>
                  <a:pt x="52388" y="359092"/>
                </a:cubicBezTo>
                <a:cubicBezTo>
                  <a:pt x="32385" y="359092"/>
                  <a:pt x="14288" y="366713"/>
                  <a:pt x="0" y="380048"/>
                </a:cubicBezTo>
                <a:lnTo>
                  <a:pt x="0" y="0"/>
                </a:lnTo>
                <a:close/>
              </a:path>
            </a:pathLst>
          </a:custGeom>
          <a:solidFill>
            <a:schemeClr val="accent4"/>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9" name="Freeform: Shape 137">
            <a:extLst>
              <a:ext uri="{FF2B5EF4-FFF2-40B4-BE49-F238E27FC236}">
                <a16:creationId xmlns:a16="http://schemas.microsoft.com/office/drawing/2014/main" id="{DD5AB944-5B1D-46AB-AAB1-A1005AF41D9B}"/>
              </a:ext>
            </a:extLst>
          </p:cNvPr>
          <p:cNvSpPr/>
          <p:nvPr/>
        </p:nvSpPr>
        <p:spPr>
          <a:xfrm>
            <a:off x="5041713" y="2932641"/>
            <a:ext cx="1034602" cy="1225217"/>
          </a:xfrm>
          <a:custGeom>
            <a:avLst/>
            <a:gdLst>
              <a:gd name="connsiteX0" fmla="*/ 552008 w 1034602"/>
              <a:gd name="connsiteY0" fmla="*/ 1067658 h 1225217"/>
              <a:gd name="connsiteX1" fmla="*/ 640153 w 1034602"/>
              <a:gd name="connsiteY1" fmla="*/ 1067658 h 1225217"/>
              <a:gd name="connsiteX2" fmla="*/ 640153 w 1034602"/>
              <a:gd name="connsiteY2" fmla="*/ 1110628 h 1225217"/>
              <a:gd name="connsiteX3" fmla="*/ 675411 w 1034602"/>
              <a:gd name="connsiteY3" fmla="*/ 1162414 h 1225217"/>
              <a:gd name="connsiteX4" fmla="*/ 596081 w 1034602"/>
              <a:gd name="connsiteY4" fmla="*/ 1225217 h 1225217"/>
              <a:gd name="connsiteX5" fmla="*/ 516750 w 1034602"/>
              <a:gd name="connsiteY5" fmla="*/ 1162414 h 1225217"/>
              <a:gd name="connsiteX6" fmla="*/ 552008 w 1034602"/>
              <a:gd name="connsiteY6" fmla="*/ 1110628 h 1225217"/>
              <a:gd name="connsiteX7" fmla="*/ 157558 w 1034602"/>
              <a:gd name="connsiteY7" fmla="*/ 0 h 1225217"/>
              <a:gd name="connsiteX8" fmla="*/ 500223 w 1034602"/>
              <a:gd name="connsiteY8" fmla="*/ 0 h 1225217"/>
              <a:gd name="connsiteX9" fmla="*/ 479288 w 1034602"/>
              <a:gd name="connsiteY9" fmla="*/ 57294 h 1225217"/>
              <a:gd name="connsiteX10" fmla="*/ 596080 w 1034602"/>
              <a:gd name="connsiteY10" fmla="*/ 157560 h 1225217"/>
              <a:gd name="connsiteX11" fmla="*/ 712873 w 1034602"/>
              <a:gd name="connsiteY11" fmla="*/ 57294 h 1225217"/>
              <a:gd name="connsiteX12" fmla="*/ 691939 w 1034602"/>
              <a:gd name="connsiteY12" fmla="*/ 0 h 1225217"/>
              <a:gd name="connsiteX13" fmla="*/ 1034602 w 1034602"/>
              <a:gd name="connsiteY13" fmla="*/ 0 h 1225217"/>
              <a:gd name="connsiteX14" fmla="*/ 1034602 w 1034602"/>
              <a:gd name="connsiteY14" fmla="*/ 1066556 h 1225217"/>
              <a:gd name="connsiteX15" fmla="*/ 157558 w 1034602"/>
              <a:gd name="connsiteY15" fmla="*/ 1066556 h 1225217"/>
              <a:gd name="connsiteX16" fmla="*/ 157558 w 1034602"/>
              <a:gd name="connsiteY16" fmla="*/ 575147 h 1225217"/>
              <a:gd name="connsiteX17" fmla="*/ 114589 w 1034602"/>
              <a:gd name="connsiteY17" fmla="*/ 575147 h 1225217"/>
              <a:gd name="connsiteX18" fmla="*/ 62803 w 1034602"/>
              <a:gd name="connsiteY18" fmla="*/ 610405 h 1225217"/>
              <a:gd name="connsiteX19" fmla="*/ 0 w 1034602"/>
              <a:gd name="connsiteY19" fmla="*/ 531075 h 1225217"/>
              <a:gd name="connsiteX20" fmla="*/ 62803 w 1034602"/>
              <a:gd name="connsiteY20" fmla="*/ 451744 h 1225217"/>
              <a:gd name="connsiteX21" fmla="*/ 114589 w 1034602"/>
              <a:gd name="connsiteY21" fmla="*/ 487002 h 1225217"/>
              <a:gd name="connsiteX22" fmla="*/ 157558 w 1034602"/>
              <a:gd name="connsiteY22" fmla="*/ 487002 h 1225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034602" h="1225217">
                <a:moveTo>
                  <a:pt x="552008" y="1067658"/>
                </a:moveTo>
                <a:lnTo>
                  <a:pt x="640153" y="1067658"/>
                </a:lnTo>
                <a:lnTo>
                  <a:pt x="640153" y="1110628"/>
                </a:lnTo>
                <a:cubicBezTo>
                  <a:pt x="661088" y="1121646"/>
                  <a:pt x="675411" y="1141479"/>
                  <a:pt x="675411" y="1162414"/>
                </a:cubicBezTo>
                <a:cubicBezTo>
                  <a:pt x="675411" y="1196570"/>
                  <a:pt x="640153" y="1225217"/>
                  <a:pt x="596081" y="1225217"/>
                </a:cubicBezTo>
                <a:cubicBezTo>
                  <a:pt x="552008" y="1225217"/>
                  <a:pt x="516750" y="1197672"/>
                  <a:pt x="516750" y="1162414"/>
                </a:cubicBezTo>
                <a:cubicBezTo>
                  <a:pt x="516750" y="1140378"/>
                  <a:pt x="531074" y="1121646"/>
                  <a:pt x="552008" y="1110628"/>
                </a:cubicBezTo>
                <a:close/>
                <a:moveTo>
                  <a:pt x="157558" y="0"/>
                </a:moveTo>
                <a:lnTo>
                  <a:pt x="500223" y="0"/>
                </a:lnTo>
                <a:cubicBezTo>
                  <a:pt x="487001" y="15426"/>
                  <a:pt x="479288" y="35258"/>
                  <a:pt x="479288" y="57294"/>
                </a:cubicBezTo>
                <a:cubicBezTo>
                  <a:pt x="479288" y="118996"/>
                  <a:pt x="538786" y="157560"/>
                  <a:pt x="596080" y="157560"/>
                </a:cubicBezTo>
                <a:cubicBezTo>
                  <a:pt x="653375" y="157560"/>
                  <a:pt x="712873" y="118996"/>
                  <a:pt x="712873" y="57294"/>
                </a:cubicBezTo>
                <a:cubicBezTo>
                  <a:pt x="712873" y="35258"/>
                  <a:pt x="705160" y="16528"/>
                  <a:pt x="691939" y="0"/>
                </a:cubicBezTo>
                <a:lnTo>
                  <a:pt x="1034602" y="0"/>
                </a:lnTo>
                <a:lnTo>
                  <a:pt x="1034602" y="1066556"/>
                </a:lnTo>
                <a:lnTo>
                  <a:pt x="157558" y="1066556"/>
                </a:lnTo>
                <a:lnTo>
                  <a:pt x="157558" y="575147"/>
                </a:lnTo>
                <a:lnTo>
                  <a:pt x="114589" y="575147"/>
                </a:lnTo>
                <a:cubicBezTo>
                  <a:pt x="103570" y="596082"/>
                  <a:pt x="84839" y="610405"/>
                  <a:pt x="62803" y="610405"/>
                </a:cubicBezTo>
                <a:cubicBezTo>
                  <a:pt x="27546" y="610405"/>
                  <a:pt x="0" y="575147"/>
                  <a:pt x="0" y="531075"/>
                </a:cubicBezTo>
                <a:cubicBezTo>
                  <a:pt x="0" y="487002"/>
                  <a:pt x="28647" y="451744"/>
                  <a:pt x="62803" y="451744"/>
                </a:cubicBezTo>
                <a:cubicBezTo>
                  <a:pt x="83738" y="451744"/>
                  <a:pt x="103570" y="466068"/>
                  <a:pt x="114589" y="487002"/>
                </a:cubicBezTo>
                <a:lnTo>
                  <a:pt x="157558" y="487002"/>
                </a:lnTo>
                <a:close/>
              </a:path>
            </a:pathLst>
          </a:custGeom>
          <a:solidFill>
            <a:schemeClr val="accent3"/>
          </a:solidFill>
          <a:ln w="9525" cap="flat">
            <a:noFill/>
            <a:prstDash val="solid"/>
            <a:miter/>
          </a:ln>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0" name="Freeform: Shape 140">
            <a:extLst>
              <a:ext uri="{FF2B5EF4-FFF2-40B4-BE49-F238E27FC236}">
                <a16:creationId xmlns:a16="http://schemas.microsoft.com/office/drawing/2014/main" id="{B5029BED-3E0C-4129-9190-C455243F70C4}"/>
              </a:ext>
            </a:extLst>
          </p:cNvPr>
          <p:cNvSpPr/>
          <p:nvPr/>
        </p:nvSpPr>
        <p:spPr>
          <a:xfrm>
            <a:off x="6114879" y="2064411"/>
            <a:ext cx="877045" cy="988328"/>
          </a:xfrm>
          <a:custGeom>
            <a:avLst/>
            <a:gdLst>
              <a:gd name="connsiteX0" fmla="*/ 393349 w 877045"/>
              <a:gd name="connsiteY0" fmla="*/ 830769 h 988328"/>
              <a:gd name="connsiteX1" fmla="*/ 481494 w 877045"/>
              <a:gd name="connsiteY1" fmla="*/ 830769 h 988328"/>
              <a:gd name="connsiteX2" fmla="*/ 481494 w 877045"/>
              <a:gd name="connsiteY2" fmla="*/ 873739 h 988328"/>
              <a:gd name="connsiteX3" fmla="*/ 516752 w 877045"/>
              <a:gd name="connsiteY3" fmla="*/ 925525 h 988328"/>
              <a:gd name="connsiteX4" fmla="*/ 437422 w 877045"/>
              <a:gd name="connsiteY4" fmla="*/ 988328 h 988328"/>
              <a:gd name="connsiteX5" fmla="*/ 358091 w 877045"/>
              <a:gd name="connsiteY5" fmla="*/ 925525 h 988328"/>
              <a:gd name="connsiteX6" fmla="*/ 393349 w 877045"/>
              <a:gd name="connsiteY6" fmla="*/ 873739 h 988328"/>
              <a:gd name="connsiteX7" fmla="*/ 243502 w 877045"/>
              <a:gd name="connsiteY7" fmla="*/ 0 h 988328"/>
              <a:gd name="connsiteX8" fmla="*/ 322832 w 877045"/>
              <a:gd name="connsiteY8" fmla="*/ 62804 h 988328"/>
              <a:gd name="connsiteX9" fmla="*/ 287574 w 877045"/>
              <a:gd name="connsiteY9" fmla="*/ 114589 h 988328"/>
              <a:gd name="connsiteX10" fmla="*/ 287574 w 877045"/>
              <a:gd name="connsiteY10" fmla="*/ 157560 h 988328"/>
              <a:gd name="connsiteX11" fmla="*/ 599388 w 877045"/>
              <a:gd name="connsiteY11" fmla="*/ 157560 h 988328"/>
              <a:gd name="connsiteX12" fmla="*/ 877045 w 877045"/>
              <a:gd name="connsiteY12" fmla="*/ 277657 h 988328"/>
              <a:gd name="connsiteX13" fmla="*/ 877045 w 877045"/>
              <a:gd name="connsiteY13" fmla="*/ 452846 h 988328"/>
              <a:gd name="connsiteX14" fmla="*/ 819751 w 877045"/>
              <a:gd name="connsiteY14" fmla="*/ 431911 h 988328"/>
              <a:gd name="connsiteX15" fmla="*/ 719485 w 877045"/>
              <a:gd name="connsiteY15" fmla="*/ 548703 h 988328"/>
              <a:gd name="connsiteX16" fmla="*/ 819751 w 877045"/>
              <a:gd name="connsiteY16" fmla="*/ 665496 h 988328"/>
              <a:gd name="connsiteX17" fmla="*/ 877045 w 877045"/>
              <a:gd name="connsiteY17" fmla="*/ 644561 h 988328"/>
              <a:gd name="connsiteX18" fmla="*/ 877045 w 877045"/>
              <a:gd name="connsiteY18" fmla="*/ 830768 h 988328"/>
              <a:gd name="connsiteX19" fmla="*/ 0 w 877045"/>
              <a:gd name="connsiteY19" fmla="*/ 830768 h 988328"/>
              <a:gd name="connsiteX20" fmla="*/ 0 w 877045"/>
              <a:gd name="connsiteY20" fmla="*/ 157560 h 988328"/>
              <a:gd name="connsiteX21" fmla="*/ 199429 w 877045"/>
              <a:gd name="connsiteY21" fmla="*/ 157560 h 988328"/>
              <a:gd name="connsiteX22" fmla="*/ 199429 w 877045"/>
              <a:gd name="connsiteY22" fmla="*/ 114589 h 988328"/>
              <a:gd name="connsiteX23" fmla="*/ 164171 w 877045"/>
              <a:gd name="connsiteY23" fmla="*/ 62804 h 988328"/>
              <a:gd name="connsiteX24" fmla="*/ 243502 w 877045"/>
              <a:gd name="connsiteY24" fmla="*/ 0 h 988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877045" h="988328">
                <a:moveTo>
                  <a:pt x="393349" y="830769"/>
                </a:moveTo>
                <a:lnTo>
                  <a:pt x="481494" y="830769"/>
                </a:lnTo>
                <a:lnTo>
                  <a:pt x="481494" y="873739"/>
                </a:lnTo>
                <a:cubicBezTo>
                  <a:pt x="502429" y="884757"/>
                  <a:pt x="516752" y="904590"/>
                  <a:pt x="516752" y="925525"/>
                </a:cubicBezTo>
                <a:cubicBezTo>
                  <a:pt x="516752" y="959681"/>
                  <a:pt x="481494" y="988328"/>
                  <a:pt x="437422" y="988328"/>
                </a:cubicBezTo>
                <a:cubicBezTo>
                  <a:pt x="393349" y="988328"/>
                  <a:pt x="358091" y="960783"/>
                  <a:pt x="358091" y="925525"/>
                </a:cubicBezTo>
                <a:cubicBezTo>
                  <a:pt x="358091" y="903489"/>
                  <a:pt x="372415" y="884757"/>
                  <a:pt x="393349" y="873739"/>
                </a:cubicBezTo>
                <a:close/>
                <a:moveTo>
                  <a:pt x="243502" y="0"/>
                </a:moveTo>
                <a:cubicBezTo>
                  <a:pt x="287574" y="0"/>
                  <a:pt x="322832" y="28647"/>
                  <a:pt x="322832" y="62804"/>
                </a:cubicBezTo>
                <a:cubicBezTo>
                  <a:pt x="322832" y="83738"/>
                  <a:pt x="308508" y="103571"/>
                  <a:pt x="287574" y="114589"/>
                </a:cubicBezTo>
                <a:lnTo>
                  <a:pt x="287574" y="157560"/>
                </a:lnTo>
                <a:lnTo>
                  <a:pt x="599388" y="157560"/>
                </a:lnTo>
                <a:cubicBezTo>
                  <a:pt x="708467" y="160865"/>
                  <a:pt x="806528" y="206040"/>
                  <a:pt x="877045" y="277657"/>
                </a:cubicBezTo>
                <a:lnTo>
                  <a:pt x="877045" y="452846"/>
                </a:lnTo>
                <a:cubicBezTo>
                  <a:pt x="861619" y="439624"/>
                  <a:pt x="841787" y="431911"/>
                  <a:pt x="819751" y="431911"/>
                </a:cubicBezTo>
                <a:cubicBezTo>
                  <a:pt x="758048" y="431911"/>
                  <a:pt x="719485" y="491410"/>
                  <a:pt x="719485" y="548703"/>
                </a:cubicBezTo>
                <a:cubicBezTo>
                  <a:pt x="719485" y="605999"/>
                  <a:pt x="758048" y="665496"/>
                  <a:pt x="819751" y="665496"/>
                </a:cubicBezTo>
                <a:cubicBezTo>
                  <a:pt x="841787" y="665496"/>
                  <a:pt x="860518" y="657783"/>
                  <a:pt x="877045" y="644561"/>
                </a:cubicBezTo>
                <a:lnTo>
                  <a:pt x="877045" y="830768"/>
                </a:lnTo>
                <a:lnTo>
                  <a:pt x="0" y="830768"/>
                </a:lnTo>
                <a:lnTo>
                  <a:pt x="0" y="157560"/>
                </a:lnTo>
                <a:lnTo>
                  <a:pt x="199429" y="157560"/>
                </a:lnTo>
                <a:lnTo>
                  <a:pt x="199429" y="114589"/>
                </a:lnTo>
                <a:cubicBezTo>
                  <a:pt x="178494" y="103571"/>
                  <a:pt x="164171" y="84840"/>
                  <a:pt x="164171" y="62804"/>
                </a:cubicBezTo>
                <a:cubicBezTo>
                  <a:pt x="164171" y="27546"/>
                  <a:pt x="199429" y="0"/>
                  <a:pt x="243502" y="0"/>
                </a:cubicBezTo>
                <a:close/>
              </a:path>
            </a:pathLst>
          </a:custGeom>
          <a:solidFill>
            <a:schemeClr val="accent2"/>
          </a:solidFill>
          <a:ln w="9525" cap="flat">
            <a:noFill/>
            <a:prstDash val="solid"/>
            <a:miter/>
          </a:ln>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1" name="Freeform: Shape 138">
            <a:extLst>
              <a:ext uri="{FF2B5EF4-FFF2-40B4-BE49-F238E27FC236}">
                <a16:creationId xmlns:a16="http://schemas.microsoft.com/office/drawing/2014/main" id="{FB1BEE63-549D-47D7-967F-EC2CCF3C7AAB}"/>
              </a:ext>
            </a:extLst>
          </p:cNvPr>
          <p:cNvSpPr/>
          <p:nvPr/>
        </p:nvSpPr>
        <p:spPr>
          <a:xfrm>
            <a:off x="4841182" y="2386141"/>
            <a:ext cx="478189" cy="509038"/>
          </a:xfrm>
          <a:custGeom>
            <a:avLst/>
            <a:gdLst>
              <a:gd name="connsiteX0" fmla="*/ 415385 w 478189"/>
              <a:gd name="connsiteY0" fmla="*/ 147645 h 509038"/>
              <a:gd name="connsiteX1" fmla="*/ 478189 w 478189"/>
              <a:gd name="connsiteY1" fmla="*/ 226976 h 509038"/>
              <a:gd name="connsiteX2" fmla="*/ 415385 w 478189"/>
              <a:gd name="connsiteY2" fmla="*/ 306306 h 509038"/>
              <a:gd name="connsiteX3" fmla="*/ 363601 w 478189"/>
              <a:gd name="connsiteY3" fmla="*/ 271048 h 509038"/>
              <a:gd name="connsiteX4" fmla="*/ 320629 w 478189"/>
              <a:gd name="connsiteY4" fmla="*/ 271048 h 509038"/>
              <a:gd name="connsiteX5" fmla="*/ 320629 w 478189"/>
              <a:gd name="connsiteY5" fmla="*/ 182903 h 509038"/>
              <a:gd name="connsiteX6" fmla="*/ 363601 w 478189"/>
              <a:gd name="connsiteY6" fmla="*/ 182903 h 509038"/>
              <a:gd name="connsiteX7" fmla="*/ 415385 w 478189"/>
              <a:gd name="connsiteY7" fmla="*/ 147645 h 509038"/>
              <a:gd name="connsiteX8" fmla="*/ 320628 w 478189"/>
              <a:gd name="connsiteY8" fmla="*/ 0 h 509038"/>
              <a:gd name="connsiteX9" fmla="*/ 320628 w 478189"/>
              <a:gd name="connsiteY9" fmla="*/ 509038 h 509038"/>
              <a:gd name="connsiteX10" fmla="*/ 0 w 478189"/>
              <a:gd name="connsiteY10" fmla="*/ 509038 h 509038"/>
              <a:gd name="connsiteX11" fmla="*/ 247909 w 478189"/>
              <a:gd name="connsiteY11" fmla="*/ 244603 h 509038"/>
              <a:gd name="connsiteX12" fmla="*/ 247909 w 478189"/>
              <a:gd name="connsiteY12" fmla="*/ 225873 h 509038"/>
              <a:gd name="connsiteX13" fmla="*/ 320628 w 478189"/>
              <a:gd name="connsiteY13" fmla="*/ 0 h 509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78189" h="509038">
                <a:moveTo>
                  <a:pt x="415385" y="147645"/>
                </a:moveTo>
                <a:cubicBezTo>
                  <a:pt x="449542" y="147645"/>
                  <a:pt x="478189" y="182903"/>
                  <a:pt x="478189" y="226976"/>
                </a:cubicBezTo>
                <a:cubicBezTo>
                  <a:pt x="478189" y="271048"/>
                  <a:pt x="450643" y="306306"/>
                  <a:pt x="415385" y="306306"/>
                </a:cubicBezTo>
                <a:cubicBezTo>
                  <a:pt x="393349" y="306306"/>
                  <a:pt x="374619" y="291982"/>
                  <a:pt x="363601" y="271048"/>
                </a:cubicBezTo>
                <a:lnTo>
                  <a:pt x="320629" y="271048"/>
                </a:lnTo>
                <a:lnTo>
                  <a:pt x="320629" y="182903"/>
                </a:lnTo>
                <a:lnTo>
                  <a:pt x="363601" y="182903"/>
                </a:lnTo>
                <a:cubicBezTo>
                  <a:pt x="374619" y="161969"/>
                  <a:pt x="394451" y="147645"/>
                  <a:pt x="415385" y="147645"/>
                </a:cubicBezTo>
                <a:close/>
                <a:moveTo>
                  <a:pt x="320628" y="0"/>
                </a:moveTo>
                <a:lnTo>
                  <a:pt x="320628" y="509038"/>
                </a:lnTo>
                <a:lnTo>
                  <a:pt x="0" y="509038"/>
                </a:lnTo>
                <a:cubicBezTo>
                  <a:pt x="47379" y="394449"/>
                  <a:pt x="135524" y="300796"/>
                  <a:pt x="247909" y="244603"/>
                </a:cubicBezTo>
                <a:cubicBezTo>
                  <a:pt x="247909" y="237992"/>
                  <a:pt x="247909" y="232482"/>
                  <a:pt x="247909" y="225873"/>
                </a:cubicBezTo>
                <a:cubicBezTo>
                  <a:pt x="246806" y="142135"/>
                  <a:pt x="274352" y="63905"/>
                  <a:pt x="320628" y="0"/>
                </a:cubicBezTo>
                <a:close/>
              </a:path>
            </a:pathLst>
          </a:custGeom>
          <a:solidFill>
            <a:schemeClr val="accent1"/>
          </a:solidFill>
          <a:ln w="9525" cap="flat">
            <a:noFill/>
            <a:prstDash val="solid"/>
            <a:miter/>
          </a:ln>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2" name="Freeform: Shape 139">
            <a:extLst>
              <a:ext uri="{FF2B5EF4-FFF2-40B4-BE49-F238E27FC236}">
                <a16:creationId xmlns:a16="http://schemas.microsoft.com/office/drawing/2014/main" id="{67CA06DF-41A3-4D54-AC13-4F5F5901386B}"/>
              </a:ext>
            </a:extLst>
          </p:cNvPr>
          <p:cNvSpPr/>
          <p:nvPr/>
        </p:nvSpPr>
        <p:spPr>
          <a:xfrm>
            <a:off x="5199271" y="2064411"/>
            <a:ext cx="877044" cy="988328"/>
          </a:xfrm>
          <a:custGeom>
            <a:avLst/>
            <a:gdLst>
              <a:gd name="connsiteX0" fmla="*/ 394450 w 877044"/>
              <a:gd name="connsiteY0" fmla="*/ 830769 h 988328"/>
              <a:gd name="connsiteX1" fmla="*/ 482595 w 877044"/>
              <a:gd name="connsiteY1" fmla="*/ 830769 h 988328"/>
              <a:gd name="connsiteX2" fmla="*/ 482595 w 877044"/>
              <a:gd name="connsiteY2" fmla="*/ 873739 h 988328"/>
              <a:gd name="connsiteX3" fmla="*/ 517853 w 877044"/>
              <a:gd name="connsiteY3" fmla="*/ 925525 h 988328"/>
              <a:gd name="connsiteX4" fmla="*/ 438523 w 877044"/>
              <a:gd name="connsiteY4" fmla="*/ 988328 h 988328"/>
              <a:gd name="connsiteX5" fmla="*/ 359192 w 877044"/>
              <a:gd name="connsiteY5" fmla="*/ 925525 h 988328"/>
              <a:gd name="connsiteX6" fmla="*/ 394450 w 877044"/>
              <a:gd name="connsiteY6" fmla="*/ 873739 h 988328"/>
              <a:gd name="connsiteX7" fmla="*/ 632442 w 877044"/>
              <a:gd name="connsiteY7" fmla="*/ 0 h 988328"/>
              <a:gd name="connsiteX8" fmla="*/ 711772 w 877044"/>
              <a:gd name="connsiteY8" fmla="*/ 62804 h 988328"/>
              <a:gd name="connsiteX9" fmla="*/ 676514 w 877044"/>
              <a:gd name="connsiteY9" fmla="*/ 114589 h 988328"/>
              <a:gd name="connsiteX10" fmla="*/ 676514 w 877044"/>
              <a:gd name="connsiteY10" fmla="*/ 157560 h 988328"/>
              <a:gd name="connsiteX11" fmla="*/ 877044 w 877044"/>
              <a:gd name="connsiteY11" fmla="*/ 157560 h 988328"/>
              <a:gd name="connsiteX12" fmla="*/ 877044 w 877044"/>
              <a:gd name="connsiteY12" fmla="*/ 830768 h 988328"/>
              <a:gd name="connsiteX13" fmla="*/ 0 w 877044"/>
              <a:gd name="connsiteY13" fmla="*/ 830768 h 988328"/>
              <a:gd name="connsiteX14" fmla="*/ 0 w 877044"/>
              <a:gd name="connsiteY14" fmla="*/ 645664 h 988328"/>
              <a:gd name="connsiteX15" fmla="*/ 57295 w 877044"/>
              <a:gd name="connsiteY15" fmla="*/ 666598 h 988328"/>
              <a:gd name="connsiteX16" fmla="*/ 157560 w 877044"/>
              <a:gd name="connsiteY16" fmla="*/ 549805 h 988328"/>
              <a:gd name="connsiteX17" fmla="*/ 57295 w 877044"/>
              <a:gd name="connsiteY17" fmla="*/ 433013 h 988328"/>
              <a:gd name="connsiteX18" fmla="*/ 0 w 877044"/>
              <a:gd name="connsiteY18" fmla="*/ 453947 h 988328"/>
              <a:gd name="connsiteX19" fmla="*/ 0 w 877044"/>
              <a:gd name="connsiteY19" fmla="*/ 277657 h 988328"/>
              <a:gd name="connsiteX20" fmla="*/ 276555 w 877044"/>
              <a:gd name="connsiteY20" fmla="*/ 157560 h 988328"/>
              <a:gd name="connsiteX21" fmla="*/ 588369 w 877044"/>
              <a:gd name="connsiteY21" fmla="*/ 157560 h 988328"/>
              <a:gd name="connsiteX22" fmla="*/ 588369 w 877044"/>
              <a:gd name="connsiteY22" fmla="*/ 114589 h 988328"/>
              <a:gd name="connsiteX23" fmla="*/ 553111 w 877044"/>
              <a:gd name="connsiteY23" fmla="*/ 62804 h 988328"/>
              <a:gd name="connsiteX24" fmla="*/ 632442 w 877044"/>
              <a:gd name="connsiteY24" fmla="*/ 0 h 988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877044" h="988328">
                <a:moveTo>
                  <a:pt x="394450" y="830769"/>
                </a:moveTo>
                <a:lnTo>
                  <a:pt x="482595" y="830769"/>
                </a:lnTo>
                <a:lnTo>
                  <a:pt x="482595" y="873739"/>
                </a:lnTo>
                <a:cubicBezTo>
                  <a:pt x="503530" y="884757"/>
                  <a:pt x="517853" y="904590"/>
                  <a:pt x="517853" y="925525"/>
                </a:cubicBezTo>
                <a:cubicBezTo>
                  <a:pt x="517853" y="959681"/>
                  <a:pt x="482595" y="988328"/>
                  <a:pt x="438523" y="988328"/>
                </a:cubicBezTo>
                <a:cubicBezTo>
                  <a:pt x="394450" y="988328"/>
                  <a:pt x="359192" y="960783"/>
                  <a:pt x="359192" y="925525"/>
                </a:cubicBezTo>
                <a:cubicBezTo>
                  <a:pt x="359192" y="903489"/>
                  <a:pt x="373516" y="884757"/>
                  <a:pt x="394450" y="873739"/>
                </a:cubicBezTo>
                <a:close/>
                <a:moveTo>
                  <a:pt x="632442" y="0"/>
                </a:moveTo>
                <a:cubicBezTo>
                  <a:pt x="676514" y="0"/>
                  <a:pt x="711772" y="28647"/>
                  <a:pt x="711772" y="62804"/>
                </a:cubicBezTo>
                <a:cubicBezTo>
                  <a:pt x="711772" y="83738"/>
                  <a:pt x="697448" y="103571"/>
                  <a:pt x="676514" y="114589"/>
                </a:cubicBezTo>
                <a:lnTo>
                  <a:pt x="676514" y="157560"/>
                </a:lnTo>
                <a:lnTo>
                  <a:pt x="877044" y="157560"/>
                </a:lnTo>
                <a:lnTo>
                  <a:pt x="877044" y="830768"/>
                </a:lnTo>
                <a:lnTo>
                  <a:pt x="0" y="830768"/>
                </a:lnTo>
                <a:lnTo>
                  <a:pt x="0" y="645664"/>
                </a:lnTo>
                <a:cubicBezTo>
                  <a:pt x="15426" y="658884"/>
                  <a:pt x="35258" y="666598"/>
                  <a:pt x="57295" y="666598"/>
                </a:cubicBezTo>
                <a:cubicBezTo>
                  <a:pt x="118996" y="666598"/>
                  <a:pt x="157560" y="607100"/>
                  <a:pt x="157560" y="549805"/>
                </a:cubicBezTo>
                <a:cubicBezTo>
                  <a:pt x="157560" y="492511"/>
                  <a:pt x="118996" y="433013"/>
                  <a:pt x="57295" y="433013"/>
                </a:cubicBezTo>
                <a:cubicBezTo>
                  <a:pt x="35258" y="433013"/>
                  <a:pt x="16528" y="440727"/>
                  <a:pt x="0" y="453947"/>
                </a:cubicBezTo>
                <a:lnTo>
                  <a:pt x="0" y="277657"/>
                </a:lnTo>
                <a:cubicBezTo>
                  <a:pt x="70516" y="206040"/>
                  <a:pt x="168578" y="160865"/>
                  <a:pt x="276555" y="157560"/>
                </a:cubicBezTo>
                <a:lnTo>
                  <a:pt x="588369" y="157560"/>
                </a:lnTo>
                <a:lnTo>
                  <a:pt x="588369" y="114589"/>
                </a:lnTo>
                <a:cubicBezTo>
                  <a:pt x="567435" y="103571"/>
                  <a:pt x="553111" y="84840"/>
                  <a:pt x="553111" y="62804"/>
                </a:cubicBezTo>
                <a:cubicBezTo>
                  <a:pt x="553111" y="27546"/>
                  <a:pt x="588369" y="0"/>
                  <a:pt x="632442" y="0"/>
                </a:cubicBezTo>
                <a:close/>
              </a:path>
            </a:pathLst>
          </a:custGeom>
          <a:solidFill>
            <a:schemeClr val="accent1"/>
          </a:solidFill>
          <a:ln w="9525" cap="flat">
            <a:noFill/>
            <a:prstDash val="solid"/>
            <a:miter/>
          </a:ln>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3" name="Freeform: Shape 20">
            <a:extLst>
              <a:ext uri="{FF2B5EF4-FFF2-40B4-BE49-F238E27FC236}">
                <a16:creationId xmlns:a16="http://schemas.microsoft.com/office/drawing/2014/main" id="{ACAD81A1-270C-4966-A3C8-AA2899E44007}"/>
              </a:ext>
            </a:extLst>
          </p:cNvPr>
          <p:cNvSpPr/>
          <p:nvPr/>
        </p:nvSpPr>
        <p:spPr>
          <a:xfrm>
            <a:off x="5493457" y="1828625"/>
            <a:ext cx="582859" cy="355885"/>
          </a:xfrm>
          <a:custGeom>
            <a:avLst/>
            <a:gdLst>
              <a:gd name="connsiteX0" fmla="*/ 503872 w 503872"/>
              <a:gd name="connsiteY0" fmla="*/ 0 h 307657"/>
              <a:gd name="connsiteX1" fmla="*/ 503872 w 503872"/>
              <a:gd name="connsiteY1" fmla="*/ 307658 h 307657"/>
              <a:gd name="connsiteX2" fmla="*/ 375285 w 503872"/>
              <a:gd name="connsiteY2" fmla="*/ 307658 h 307657"/>
              <a:gd name="connsiteX3" fmla="*/ 393383 w 503872"/>
              <a:gd name="connsiteY3" fmla="*/ 258128 h 307657"/>
              <a:gd name="connsiteX4" fmla="*/ 292417 w 503872"/>
              <a:gd name="connsiteY4" fmla="*/ 171450 h 307657"/>
              <a:gd name="connsiteX5" fmla="*/ 191452 w 503872"/>
              <a:gd name="connsiteY5" fmla="*/ 258128 h 307657"/>
              <a:gd name="connsiteX6" fmla="*/ 209550 w 503872"/>
              <a:gd name="connsiteY6" fmla="*/ 307658 h 307657"/>
              <a:gd name="connsiteX7" fmla="*/ 0 w 503872"/>
              <a:gd name="connsiteY7" fmla="*/ 307658 h 307657"/>
              <a:gd name="connsiteX8" fmla="*/ 503872 w 503872"/>
              <a:gd name="connsiteY8" fmla="*/ 0 h 307657"/>
              <a:gd name="connsiteX9" fmla="*/ 503872 w 503872"/>
              <a:gd name="connsiteY9" fmla="*/ 0 h 3076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03872" h="307657">
                <a:moveTo>
                  <a:pt x="503872" y="0"/>
                </a:moveTo>
                <a:lnTo>
                  <a:pt x="503872" y="307658"/>
                </a:lnTo>
                <a:lnTo>
                  <a:pt x="375285" y="307658"/>
                </a:lnTo>
                <a:cubicBezTo>
                  <a:pt x="386715" y="294323"/>
                  <a:pt x="393383" y="277178"/>
                  <a:pt x="393383" y="258128"/>
                </a:cubicBezTo>
                <a:cubicBezTo>
                  <a:pt x="393383" y="204788"/>
                  <a:pt x="341947" y="171450"/>
                  <a:pt x="292417" y="171450"/>
                </a:cubicBezTo>
                <a:cubicBezTo>
                  <a:pt x="242888" y="171450"/>
                  <a:pt x="191452" y="204788"/>
                  <a:pt x="191452" y="258128"/>
                </a:cubicBezTo>
                <a:cubicBezTo>
                  <a:pt x="191452" y="277178"/>
                  <a:pt x="198120" y="293370"/>
                  <a:pt x="209550" y="307658"/>
                </a:cubicBezTo>
                <a:lnTo>
                  <a:pt x="0" y="307658"/>
                </a:lnTo>
                <a:cubicBezTo>
                  <a:pt x="91440" y="125730"/>
                  <a:pt x="282892" y="0"/>
                  <a:pt x="503872" y="0"/>
                </a:cubicBezTo>
                <a:lnTo>
                  <a:pt x="503872" y="0"/>
                </a:lnTo>
                <a:close/>
              </a:path>
            </a:pathLst>
          </a:custGeom>
          <a:solidFill>
            <a:schemeClr val="accent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4" name="Freeform: Shape 21">
            <a:extLst>
              <a:ext uri="{FF2B5EF4-FFF2-40B4-BE49-F238E27FC236}">
                <a16:creationId xmlns:a16="http://schemas.microsoft.com/office/drawing/2014/main" id="{B9DCDC13-0F7D-436D-A357-32DC1FFE882E}"/>
              </a:ext>
            </a:extLst>
          </p:cNvPr>
          <p:cNvSpPr/>
          <p:nvPr/>
        </p:nvSpPr>
        <p:spPr>
          <a:xfrm>
            <a:off x="6114879" y="1828625"/>
            <a:ext cx="581758" cy="355885"/>
          </a:xfrm>
          <a:custGeom>
            <a:avLst/>
            <a:gdLst>
              <a:gd name="connsiteX0" fmla="*/ 502920 w 502920"/>
              <a:gd name="connsiteY0" fmla="*/ 307658 h 307657"/>
              <a:gd name="connsiteX1" fmla="*/ 293370 w 502920"/>
              <a:gd name="connsiteY1" fmla="*/ 307658 h 307657"/>
              <a:gd name="connsiteX2" fmla="*/ 311467 w 502920"/>
              <a:gd name="connsiteY2" fmla="*/ 258128 h 307657"/>
              <a:gd name="connsiteX3" fmla="*/ 210503 w 502920"/>
              <a:gd name="connsiteY3" fmla="*/ 171450 h 307657"/>
              <a:gd name="connsiteX4" fmla="*/ 109538 w 502920"/>
              <a:gd name="connsiteY4" fmla="*/ 258128 h 307657"/>
              <a:gd name="connsiteX5" fmla="*/ 127635 w 502920"/>
              <a:gd name="connsiteY5" fmla="*/ 307658 h 307657"/>
              <a:gd name="connsiteX6" fmla="*/ 0 w 502920"/>
              <a:gd name="connsiteY6" fmla="*/ 307658 h 307657"/>
              <a:gd name="connsiteX7" fmla="*/ 0 w 502920"/>
              <a:gd name="connsiteY7" fmla="*/ 0 h 307657"/>
              <a:gd name="connsiteX8" fmla="*/ 0 w 502920"/>
              <a:gd name="connsiteY8" fmla="*/ 0 h 307657"/>
              <a:gd name="connsiteX9" fmla="*/ 502920 w 502920"/>
              <a:gd name="connsiteY9" fmla="*/ 307658 h 3076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02920" h="307657">
                <a:moveTo>
                  <a:pt x="502920" y="307658"/>
                </a:moveTo>
                <a:lnTo>
                  <a:pt x="293370" y="307658"/>
                </a:lnTo>
                <a:cubicBezTo>
                  <a:pt x="304800" y="294323"/>
                  <a:pt x="311467" y="277178"/>
                  <a:pt x="311467" y="258128"/>
                </a:cubicBezTo>
                <a:cubicBezTo>
                  <a:pt x="311467" y="204788"/>
                  <a:pt x="260033" y="171450"/>
                  <a:pt x="210503" y="171450"/>
                </a:cubicBezTo>
                <a:cubicBezTo>
                  <a:pt x="160973" y="171450"/>
                  <a:pt x="109538" y="204788"/>
                  <a:pt x="109538" y="258128"/>
                </a:cubicBezTo>
                <a:cubicBezTo>
                  <a:pt x="109538" y="277178"/>
                  <a:pt x="116205" y="293370"/>
                  <a:pt x="127635" y="307658"/>
                </a:cubicBezTo>
                <a:lnTo>
                  <a:pt x="0" y="307658"/>
                </a:lnTo>
                <a:lnTo>
                  <a:pt x="0" y="0"/>
                </a:lnTo>
                <a:lnTo>
                  <a:pt x="0" y="0"/>
                </a:lnTo>
                <a:cubicBezTo>
                  <a:pt x="220980" y="0"/>
                  <a:pt x="411480" y="125730"/>
                  <a:pt x="502920" y="307658"/>
                </a:cubicBezTo>
                <a:close/>
              </a:path>
            </a:pathLst>
          </a:custGeom>
          <a:solidFill>
            <a:schemeClr val="accent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5" name="Freeform: Shape 133">
            <a:extLst>
              <a:ext uri="{FF2B5EF4-FFF2-40B4-BE49-F238E27FC236}">
                <a16:creationId xmlns:a16="http://schemas.microsoft.com/office/drawing/2014/main" id="{3E7B225D-0C92-42AA-99AF-C8DEEF7B054A}"/>
              </a:ext>
            </a:extLst>
          </p:cNvPr>
          <p:cNvSpPr/>
          <p:nvPr/>
        </p:nvSpPr>
        <p:spPr>
          <a:xfrm>
            <a:off x="6870724" y="5141778"/>
            <a:ext cx="997140" cy="881451"/>
          </a:xfrm>
          <a:custGeom>
            <a:avLst/>
            <a:gdLst>
              <a:gd name="connsiteX0" fmla="*/ 157558 w 997140"/>
              <a:gd name="connsiteY0" fmla="*/ 0 h 881451"/>
              <a:gd name="connsiteX1" fmla="*/ 975104 w 997140"/>
              <a:gd name="connsiteY1" fmla="*/ 0 h 881451"/>
              <a:gd name="connsiteX2" fmla="*/ 997140 w 997140"/>
              <a:gd name="connsiteY2" fmla="*/ 146540 h 881451"/>
              <a:gd name="connsiteX3" fmla="*/ 579552 w 997140"/>
              <a:gd name="connsiteY3" fmla="*/ 643459 h 881451"/>
              <a:gd name="connsiteX4" fmla="*/ 217056 w 997140"/>
              <a:gd name="connsiteY4" fmla="*/ 881451 h 881451"/>
              <a:gd name="connsiteX5" fmla="*/ 157558 w 997140"/>
              <a:gd name="connsiteY5" fmla="*/ 877044 h 881451"/>
              <a:gd name="connsiteX6" fmla="*/ 157558 w 997140"/>
              <a:gd name="connsiteY6" fmla="*/ 477084 h 881451"/>
              <a:gd name="connsiteX7" fmla="*/ 114589 w 997140"/>
              <a:gd name="connsiteY7" fmla="*/ 477084 h 881451"/>
              <a:gd name="connsiteX8" fmla="*/ 62803 w 997140"/>
              <a:gd name="connsiteY8" fmla="*/ 512342 h 881451"/>
              <a:gd name="connsiteX9" fmla="*/ 0 w 997140"/>
              <a:gd name="connsiteY9" fmla="*/ 433012 h 881451"/>
              <a:gd name="connsiteX10" fmla="*/ 62803 w 997140"/>
              <a:gd name="connsiteY10" fmla="*/ 353681 h 881451"/>
              <a:gd name="connsiteX11" fmla="*/ 114589 w 997140"/>
              <a:gd name="connsiteY11" fmla="*/ 388939 h 881451"/>
              <a:gd name="connsiteX12" fmla="*/ 157558 w 997140"/>
              <a:gd name="connsiteY12" fmla="*/ 388939 h 8814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97140" h="881451">
                <a:moveTo>
                  <a:pt x="157558" y="0"/>
                </a:moveTo>
                <a:lnTo>
                  <a:pt x="975104" y="0"/>
                </a:lnTo>
                <a:cubicBezTo>
                  <a:pt x="989428" y="46276"/>
                  <a:pt x="997140" y="94756"/>
                  <a:pt x="997140" y="146540"/>
                </a:cubicBezTo>
                <a:cubicBezTo>
                  <a:pt x="997140" y="392246"/>
                  <a:pt x="817544" y="597183"/>
                  <a:pt x="579552" y="643459"/>
                </a:cubicBezTo>
                <a:cubicBezTo>
                  <a:pt x="521157" y="783389"/>
                  <a:pt x="381226" y="881451"/>
                  <a:pt x="217056" y="881451"/>
                </a:cubicBezTo>
                <a:cubicBezTo>
                  <a:pt x="197224" y="881451"/>
                  <a:pt x="177391" y="880349"/>
                  <a:pt x="157558" y="877044"/>
                </a:cubicBezTo>
                <a:lnTo>
                  <a:pt x="157558" y="477084"/>
                </a:lnTo>
                <a:lnTo>
                  <a:pt x="114589" y="477084"/>
                </a:lnTo>
                <a:cubicBezTo>
                  <a:pt x="103571" y="498019"/>
                  <a:pt x="84839" y="512342"/>
                  <a:pt x="62803" y="512342"/>
                </a:cubicBezTo>
                <a:cubicBezTo>
                  <a:pt x="27546" y="512342"/>
                  <a:pt x="0" y="477084"/>
                  <a:pt x="0" y="433012"/>
                </a:cubicBezTo>
                <a:cubicBezTo>
                  <a:pt x="0" y="388939"/>
                  <a:pt x="28647" y="353681"/>
                  <a:pt x="62803" y="353681"/>
                </a:cubicBezTo>
                <a:cubicBezTo>
                  <a:pt x="83738" y="353681"/>
                  <a:pt x="103571" y="368005"/>
                  <a:pt x="114589" y="388939"/>
                </a:cubicBezTo>
                <a:lnTo>
                  <a:pt x="157558" y="388939"/>
                </a:lnTo>
                <a:close/>
              </a:path>
            </a:pathLst>
          </a:custGeom>
          <a:solidFill>
            <a:schemeClr val="accent2">
              <a:lumMod val="75000"/>
            </a:schemeClr>
          </a:solidFill>
          <a:ln w="9525" cap="flat">
            <a:noFill/>
            <a:prstDash val="solid"/>
            <a:miter/>
          </a:ln>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6" name="Freeform: Shape 136">
            <a:extLst>
              <a:ext uri="{FF2B5EF4-FFF2-40B4-BE49-F238E27FC236}">
                <a16:creationId xmlns:a16="http://schemas.microsoft.com/office/drawing/2014/main" id="{F2305A88-153B-4166-909F-B2CBBF30380E}"/>
              </a:ext>
            </a:extLst>
          </p:cNvPr>
          <p:cNvSpPr/>
          <p:nvPr/>
        </p:nvSpPr>
        <p:spPr>
          <a:xfrm>
            <a:off x="6113777" y="2932641"/>
            <a:ext cx="1034604" cy="1225217"/>
          </a:xfrm>
          <a:custGeom>
            <a:avLst/>
            <a:gdLst>
              <a:gd name="connsiteX0" fmla="*/ 394449 w 1034604"/>
              <a:gd name="connsiteY0" fmla="*/ 1067658 h 1225217"/>
              <a:gd name="connsiteX1" fmla="*/ 482594 w 1034604"/>
              <a:gd name="connsiteY1" fmla="*/ 1067658 h 1225217"/>
              <a:gd name="connsiteX2" fmla="*/ 482594 w 1034604"/>
              <a:gd name="connsiteY2" fmla="*/ 1110628 h 1225217"/>
              <a:gd name="connsiteX3" fmla="*/ 517852 w 1034604"/>
              <a:gd name="connsiteY3" fmla="*/ 1162414 h 1225217"/>
              <a:gd name="connsiteX4" fmla="*/ 438522 w 1034604"/>
              <a:gd name="connsiteY4" fmla="*/ 1225217 h 1225217"/>
              <a:gd name="connsiteX5" fmla="*/ 359191 w 1034604"/>
              <a:gd name="connsiteY5" fmla="*/ 1162414 h 1225217"/>
              <a:gd name="connsiteX6" fmla="*/ 394449 w 1034604"/>
              <a:gd name="connsiteY6" fmla="*/ 1110628 h 1225217"/>
              <a:gd name="connsiteX7" fmla="*/ 0 w 1034604"/>
              <a:gd name="connsiteY7" fmla="*/ 0 h 1225217"/>
              <a:gd name="connsiteX8" fmla="*/ 342663 w 1034604"/>
              <a:gd name="connsiteY8" fmla="*/ 0 h 1225217"/>
              <a:gd name="connsiteX9" fmla="*/ 321730 w 1034604"/>
              <a:gd name="connsiteY9" fmla="*/ 57294 h 1225217"/>
              <a:gd name="connsiteX10" fmla="*/ 438522 w 1034604"/>
              <a:gd name="connsiteY10" fmla="*/ 157560 h 1225217"/>
              <a:gd name="connsiteX11" fmla="*/ 555315 w 1034604"/>
              <a:gd name="connsiteY11" fmla="*/ 57294 h 1225217"/>
              <a:gd name="connsiteX12" fmla="*/ 534381 w 1034604"/>
              <a:gd name="connsiteY12" fmla="*/ 0 h 1225217"/>
              <a:gd name="connsiteX13" fmla="*/ 877044 w 1034604"/>
              <a:gd name="connsiteY13" fmla="*/ 0 h 1225217"/>
              <a:gd name="connsiteX14" fmla="*/ 877044 w 1034604"/>
              <a:gd name="connsiteY14" fmla="*/ 487002 h 1225217"/>
              <a:gd name="connsiteX15" fmla="*/ 920016 w 1034604"/>
              <a:gd name="connsiteY15" fmla="*/ 487002 h 1225217"/>
              <a:gd name="connsiteX16" fmla="*/ 971800 w 1034604"/>
              <a:gd name="connsiteY16" fmla="*/ 451744 h 1225217"/>
              <a:gd name="connsiteX17" fmla="*/ 1034604 w 1034604"/>
              <a:gd name="connsiteY17" fmla="*/ 531074 h 1225217"/>
              <a:gd name="connsiteX18" fmla="*/ 971800 w 1034604"/>
              <a:gd name="connsiteY18" fmla="*/ 610405 h 1225217"/>
              <a:gd name="connsiteX19" fmla="*/ 920016 w 1034604"/>
              <a:gd name="connsiteY19" fmla="*/ 575147 h 1225217"/>
              <a:gd name="connsiteX20" fmla="*/ 877044 w 1034604"/>
              <a:gd name="connsiteY20" fmla="*/ 575147 h 1225217"/>
              <a:gd name="connsiteX21" fmla="*/ 877044 w 1034604"/>
              <a:gd name="connsiteY21" fmla="*/ 1066556 h 1225217"/>
              <a:gd name="connsiteX22" fmla="*/ 0 w 1034604"/>
              <a:gd name="connsiteY22" fmla="*/ 1066556 h 1225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034604" h="1225217">
                <a:moveTo>
                  <a:pt x="394449" y="1067658"/>
                </a:moveTo>
                <a:lnTo>
                  <a:pt x="482594" y="1067658"/>
                </a:lnTo>
                <a:lnTo>
                  <a:pt x="482594" y="1110628"/>
                </a:lnTo>
                <a:cubicBezTo>
                  <a:pt x="503529" y="1121646"/>
                  <a:pt x="517852" y="1141479"/>
                  <a:pt x="517852" y="1162414"/>
                </a:cubicBezTo>
                <a:cubicBezTo>
                  <a:pt x="517852" y="1196570"/>
                  <a:pt x="482594" y="1225217"/>
                  <a:pt x="438522" y="1225217"/>
                </a:cubicBezTo>
                <a:cubicBezTo>
                  <a:pt x="394449" y="1225217"/>
                  <a:pt x="359191" y="1197672"/>
                  <a:pt x="359191" y="1162414"/>
                </a:cubicBezTo>
                <a:cubicBezTo>
                  <a:pt x="359191" y="1140378"/>
                  <a:pt x="373515" y="1121646"/>
                  <a:pt x="394449" y="1110628"/>
                </a:cubicBezTo>
                <a:close/>
                <a:moveTo>
                  <a:pt x="0" y="0"/>
                </a:moveTo>
                <a:lnTo>
                  <a:pt x="342663" y="0"/>
                </a:lnTo>
                <a:cubicBezTo>
                  <a:pt x="329442" y="15425"/>
                  <a:pt x="321730" y="35258"/>
                  <a:pt x="321730" y="57294"/>
                </a:cubicBezTo>
                <a:cubicBezTo>
                  <a:pt x="321730" y="118996"/>
                  <a:pt x="381228" y="157560"/>
                  <a:pt x="438522" y="157560"/>
                </a:cubicBezTo>
                <a:cubicBezTo>
                  <a:pt x="495817" y="157560"/>
                  <a:pt x="555315" y="118996"/>
                  <a:pt x="555315" y="57294"/>
                </a:cubicBezTo>
                <a:cubicBezTo>
                  <a:pt x="555315" y="35258"/>
                  <a:pt x="547601" y="16528"/>
                  <a:pt x="534381" y="0"/>
                </a:cubicBezTo>
                <a:lnTo>
                  <a:pt x="877044" y="0"/>
                </a:lnTo>
                <a:lnTo>
                  <a:pt x="877044" y="487002"/>
                </a:lnTo>
                <a:lnTo>
                  <a:pt x="920016" y="487002"/>
                </a:lnTo>
                <a:cubicBezTo>
                  <a:pt x="931034" y="466068"/>
                  <a:pt x="950865" y="451744"/>
                  <a:pt x="971800" y="451744"/>
                </a:cubicBezTo>
                <a:cubicBezTo>
                  <a:pt x="1005956" y="451744"/>
                  <a:pt x="1034604" y="487002"/>
                  <a:pt x="1034604" y="531074"/>
                </a:cubicBezTo>
                <a:cubicBezTo>
                  <a:pt x="1034604" y="575147"/>
                  <a:pt x="1007058" y="610405"/>
                  <a:pt x="971800" y="610405"/>
                </a:cubicBezTo>
                <a:cubicBezTo>
                  <a:pt x="949764" y="610405"/>
                  <a:pt x="931034" y="596082"/>
                  <a:pt x="920016" y="575147"/>
                </a:cubicBezTo>
                <a:lnTo>
                  <a:pt x="877044" y="575147"/>
                </a:lnTo>
                <a:lnTo>
                  <a:pt x="877044" y="1066556"/>
                </a:lnTo>
                <a:lnTo>
                  <a:pt x="0" y="1066556"/>
                </a:lnTo>
                <a:close/>
              </a:path>
            </a:pathLst>
          </a:custGeom>
          <a:solidFill>
            <a:schemeClr val="accent4"/>
          </a:solidFill>
          <a:ln w="9525" cap="flat">
            <a:noFill/>
            <a:prstDash val="solid"/>
            <a:miter/>
          </a:ln>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7" name="Freeform: Shape 135">
            <a:extLst>
              <a:ext uri="{FF2B5EF4-FFF2-40B4-BE49-F238E27FC236}">
                <a16:creationId xmlns:a16="http://schemas.microsoft.com/office/drawing/2014/main" id="{A5B86B9A-3BEE-44A8-BECD-94D4B4E21B8D}"/>
              </a:ext>
            </a:extLst>
          </p:cNvPr>
          <p:cNvSpPr/>
          <p:nvPr/>
        </p:nvSpPr>
        <p:spPr>
          <a:xfrm>
            <a:off x="6113777" y="4037761"/>
            <a:ext cx="1364046" cy="1066555"/>
          </a:xfrm>
          <a:custGeom>
            <a:avLst/>
            <a:gdLst>
              <a:gd name="connsiteX0" fmla="*/ 0 w 1364046"/>
              <a:gd name="connsiteY0" fmla="*/ 0 h 1066555"/>
              <a:gd name="connsiteX1" fmla="*/ 342663 w 1364046"/>
              <a:gd name="connsiteY1" fmla="*/ 0 h 1066555"/>
              <a:gd name="connsiteX2" fmla="*/ 321730 w 1364046"/>
              <a:gd name="connsiteY2" fmla="*/ 57294 h 1066555"/>
              <a:gd name="connsiteX3" fmla="*/ 438522 w 1364046"/>
              <a:gd name="connsiteY3" fmla="*/ 157560 h 1066555"/>
              <a:gd name="connsiteX4" fmla="*/ 555314 w 1364046"/>
              <a:gd name="connsiteY4" fmla="*/ 57294 h 1066555"/>
              <a:gd name="connsiteX5" fmla="*/ 534380 w 1364046"/>
              <a:gd name="connsiteY5" fmla="*/ 0 h 1066555"/>
              <a:gd name="connsiteX6" fmla="*/ 1206487 w 1364046"/>
              <a:gd name="connsiteY6" fmla="*/ 0 h 1066555"/>
              <a:gd name="connsiteX7" fmla="*/ 1206487 w 1364046"/>
              <a:gd name="connsiteY7" fmla="*/ 579553 h 1066555"/>
              <a:gd name="connsiteX8" fmla="*/ 1249457 w 1364046"/>
              <a:gd name="connsiteY8" fmla="*/ 579553 h 1066555"/>
              <a:gd name="connsiteX9" fmla="*/ 1301243 w 1364046"/>
              <a:gd name="connsiteY9" fmla="*/ 544295 h 1066555"/>
              <a:gd name="connsiteX10" fmla="*/ 1364046 w 1364046"/>
              <a:gd name="connsiteY10" fmla="*/ 623626 h 1066555"/>
              <a:gd name="connsiteX11" fmla="*/ 1301243 w 1364046"/>
              <a:gd name="connsiteY11" fmla="*/ 702956 h 1066555"/>
              <a:gd name="connsiteX12" fmla="*/ 1249457 w 1364046"/>
              <a:gd name="connsiteY12" fmla="*/ 667698 h 1066555"/>
              <a:gd name="connsiteX13" fmla="*/ 1206487 w 1364046"/>
              <a:gd name="connsiteY13" fmla="*/ 667698 h 1066555"/>
              <a:gd name="connsiteX14" fmla="*/ 1206487 w 1364046"/>
              <a:gd name="connsiteY14" fmla="*/ 1066555 h 1066555"/>
              <a:gd name="connsiteX15" fmla="*/ 0 w 1364046"/>
              <a:gd name="connsiteY15" fmla="*/ 1066555 h 10665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364046" h="1066555">
                <a:moveTo>
                  <a:pt x="0" y="0"/>
                </a:moveTo>
                <a:lnTo>
                  <a:pt x="342663" y="0"/>
                </a:lnTo>
                <a:cubicBezTo>
                  <a:pt x="329442" y="15425"/>
                  <a:pt x="321730" y="35258"/>
                  <a:pt x="321730" y="57294"/>
                </a:cubicBezTo>
                <a:cubicBezTo>
                  <a:pt x="321730" y="118996"/>
                  <a:pt x="381227" y="157560"/>
                  <a:pt x="438522" y="157560"/>
                </a:cubicBezTo>
                <a:cubicBezTo>
                  <a:pt x="495816" y="157560"/>
                  <a:pt x="555314" y="118996"/>
                  <a:pt x="555314" y="57294"/>
                </a:cubicBezTo>
                <a:cubicBezTo>
                  <a:pt x="555314" y="35258"/>
                  <a:pt x="547601" y="16528"/>
                  <a:pt x="534380" y="0"/>
                </a:cubicBezTo>
                <a:lnTo>
                  <a:pt x="1206487" y="0"/>
                </a:lnTo>
                <a:lnTo>
                  <a:pt x="1206487" y="579553"/>
                </a:lnTo>
                <a:lnTo>
                  <a:pt x="1249457" y="579553"/>
                </a:lnTo>
                <a:cubicBezTo>
                  <a:pt x="1260476" y="558619"/>
                  <a:pt x="1280308" y="544295"/>
                  <a:pt x="1301243" y="544295"/>
                </a:cubicBezTo>
                <a:cubicBezTo>
                  <a:pt x="1335399" y="544295"/>
                  <a:pt x="1364046" y="579553"/>
                  <a:pt x="1364046" y="623626"/>
                </a:cubicBezTo>
                <a:cubicBezTo>
                  <a:pt x="1364046" y="667698"/>
                  <a:pt x="1336501" y="702956"/>
                  <a:pt x="1301243" y="702956"/>
                </a:cubicBezTo>
                <a:cubicBezTo>
                  <a:pt x="1279207" y="702956"/>
                  <a:pt x="1260476" y="688633"/>
                  <a:pt x="1249457" y="667698"/>
                </a:cubicBezTo>
                <a:lnTo>
                  <a:pt x="1206487" y="667698"/>
                </a:lnTo>
                <a:lnTo>
                  <a:pt x="1206487" y="1066555"/>
                </a:lnTo>
                <a:lnTo>
                  <a:pt x="0" y="1066555"/>
                </a:lnTo>
                <a:close/>
              </a:path>
            </a:pathLst>
          </a:custGeom>
          <a:solidFill>
            <a:schemeClr val="accent6"/>
          </a:solidFill>
          <a:ln w="9525" cap="flat">
            <a:noFill/>
            <a:prstDash val="solid"/>
            <a:miter/>
          </a:ln>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8" name="Freeform: Shape 134">
            <a:extLst>
              <a:ext uri="{FF2B5EF4-FFF2-40B4-BE49-F238E27FC236}">
                <a16:creationId xmlns:a16="http://schemas.microsoft.com/office/drawing/2014/main" id="{BD2D7290-8593-4D08-861F-8BDA5AE7A33D}"/>
              </a:ext>
            </a:extLst>
          </p:cNvPr>
          <p:cNvSpPr/>
          <p:nvPr/>
        </p:nvSpPr>
        <p:spPr>
          <a:xfrm>
            <a:off x="4711168" y="4037761"/>
            <a:ext cx="1364047" cy="1066555"/>
          </a:xfrm>
          <a:custGeom>
            <a:avLst/>
            <a:gdLst>
              <a:gd name="connsiteX0" fmla="*/ 157560 w 1364047"/>
              <a:gd name="connsiteY0" fmla="*/ 0 h 1066555"/>
              <a:gd name="connsiteX1" fmla="*/ 829667 w 1364047"/>
              <a:gd name="connsiteY1" fmla="*/ 0 h 1066555"/>
              <a:gd name="connsiteX2" fmla="*/ 808733 w 1364047"/>
              <a:gd name="connsiteY2" fmla="*/ 57294 h 1066555"/>
              <a:gd name="connsiteX3" fmla="*/ 925525 w 1364047"/>
              <a:gd name="connsiteY3" fmla="*/ 157560 h 1066555"/>
              <a:gd name="connsiteX4" fmla="*/ 1042316 w 1364047"/>
              <a:gd name="connsiteY4" fmla="*/ 57294 h 1066555"/>
              <a:gd name="connsiteX5" fmla="*/ 1021383 w 1364047"/>
              <a:gd name="connsiteY5" fmla="*/ 0 h 1066555"/>
              <a:gd name="connsiteX6" fmla="*/ 1364047 w 1364047"/>
              <a:gd name="connsiteY6" fmla="*/ 0 h 1066555"/>
              <a:gd name="connsiteX7" fmla="*/ 1364047 w 1364047"/>
              <a:gd name="connsiteY7" fmla="*/ 1066555 h 1066555"/>
              <a:gd name="connsiteX8" fmla="*/ 157560 w 1364047"/>
              <a:gd name="connsiteY8" fmla="*/ 1066555 h 1066555"/>
              <a:gd name="connsiteX9" fmla="*/ 157560 w 1364047"/>
              <a:gd name="connsiteY9" fmla="*/ 667698 h 1066555"/>
              <a:gd name="connsiteX10" fmla="*/ 114589 w 1364047"/>
              <a:gd name="connsiteY10" fmla="*/ 667698 h 1066555"/>
              <a:gd name="connsiteX11" fmla="*/ 62804 w 1364047"/>
              <a:gd name="connsiteY11" fmla="*/ 702956 h 1066555"/>
              <a:gd name="connsiteX12" fmla="*/ 0 w 1364047"/>
              <a:gd name="connsiteY12" fmla="*/ 623626 h 1066555"/>
              <a:gd name="connsiteX13" fmla="*/ 62804 w 1364047"/>
              <a:gd name="connsiteY13" fmla="*/ 544295 h 1066555"/>
              <a:gd name="connsiteX14" fmla="*/ 114589 w 1364047"/>
              <a:gd name="connsiteY14" fmla="*/ 579553 h 1066555"/>
              <a:gd name="connsiteX15" fmla="*/ 157560 w 1364047"/>
              <a:gd name="connsiteY15" fmla="*/ 579553 h 10665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364047" h="1066555">
                <a:moveTo>
                  <a:pt x="157560" y="0"/>
                </a:moveTo>
                <a:lnTo>
                  <a:pt x="829667" y="0"/>
                </a:lnTo>
                <a:cubicBezTo>
                  <a:pt x="816445" y="15425"/>
                  <a:pt x="808733" y="35258"/>
                  <a:pt x="808733" y="57294"/>
                </a:cubicBezTo>
                <a:cubicBezTo>
                  <a:pt x="808733" y="118996"/>
                  <a:pt x="868231" y="157560"/>
                  <a:pt x="925525" y="157560"/>
                </a:cubicBezTo>
                <a:cubicBezTo>
                  <a:pt x="982820" y="157560"/>
                  <a:pt x="1042316" y="118996"/>
                  <a:pt x="1042316" y="57294"/>
                </a:cubicBezTo>
                <a:cubicBezTo>
                  <a:pt x="1042316" y="35258"/>
                  <a:pt x="1034604" y="16528"/>
                  <a:pt x="1021383" y="0"/>
                </a:cubicBezTo>
                <a:lnTo>
                  <a:pt x="1364047" y="0"/>
                </a:lnTo>
                <a:lnTo>
                  <a:pt x="1364047" y="1066555"/>
                </a:lnTo>
                <a:lnTo>
                  <a:pt x="157560" y="1066555"/>
                </a:lnTo>
                <a:lnTo>
                  <a:pt x="157560" y="667698"/>
                </a:lnTo>
                <a:lnTo>
                  <a:pt x="114589" y="667698"/>
                </a:lnTo>
                <a:cubicBezTo>
                  <a:pt x="103571" y="688633"/>
                  <a:pt x="84841" y="702956"/>
                  <a:pt x="62804" y="702956"/>
                </a:cubicBezTo>
                <a:cubicBezTo>
                  <a:pt x="27546" y="702956"/>
                  <a:pt x="0" y="667698"/>
                  <a:pt x="0" y="623626"/>
                </a:cubicBezTo>
                <a:cubicBezTo>
                  <a:pt x="0" y="579553"/>
                  <a:pt x="28647" y="544295"/>
                  <a:pt x="62804" y="544295"/>
                </a:cubicBezTo>
                <a:cubicBezTo>
                  <a:pt x="83738" y="544295"/>
                  <a:pt x="103571" y="558619"/>
                  <a:pt x="114589" y="579553"/>
                </a:cubicBezTo>
                <a:lnTo>
                  <a:pt x="157560" y="579553"/>
                </a:lnTo>
                <a:close/>
              </a:path>
            </a:pathLst>
          </a:custGeom>
          <a:solidFill>
            <a:schemeClr val="accent5"/>
          </a:solidFill>
          <a:ln w="9525" cap="flat">
            <a:noFill/>
            <a:prstDash val="solid"/>
            <a:miter/>
          </a:ln>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9" name="Freeform: Shape 141">
            <a:extLst>
              <a:ext uri="{FF2B5EF4-FFF2-40B4-BE49-F238E27FC236}">
                <a16:creationId xmlns:a16="http://schemas.microsoft.com/office/drawing/2014/main" id="{D54B5A17-FC67-4396-AA56-27FB57F912F3}"/>
              </a:ext>
            </a:extLst>
          </p:cNvPr>
          <p:cNvSpPr/>
          <p:nvPr/>
        </p:nvSpPr>
        <p:spPr>
          <a:xfrm>
            <a:off x="6870725" y="2386140"/>
            <a:ext cx="479287" cy="509038"/>
          </a:xfrm>
          <a:custGeom>
            <a:avLst/>
            <a:gdLst>
              <a:gd name="connsiteX0" fmla="*/ 62803 w 479287"/>
              <a:gd name="connsiteY0" fmla="*/ 147645 h 509038"/>
              <a:gd name="connsiteX1" fmla="*/ 114589 w 479287"/>
              <a:gd name="connsiteY1" fmla="*/ 182903 h 509038"/>
              <a:gd name="connsiteX2" fmla="*/ 157560 w 479287"/>
              <a:gd name="connsiteY2" fmla="*/ 182903 h 509038"/>
              <a:gd name="connsiteX3" fmla="*/ 157560 w 479287"/>
              <a:gd name="connsiteY3" fmla="*/ 271048 h 509038"/>
              <a:gd name="connsiteX4" fmla="*/ 114589 w 479287"/>
              <a:gd name="connsiteY4" fmla="*/ 271048 h 509038"/>
              <a:gd name="connsiteX5" fmla="*/ 62803 w 479287"/>
              <a:gd name="connsiteY5" fmla="*/ 306306 h 509038"/>
              <a:gd name="connsiteX6" fmla="*/ 0 w 479287"/>
              <a:gd name="connsiteY6" fmla="*/ 226976 h 509038"/>
              <a:gd name="connsiteX7" fmla="*/ 62803 w 479287"/>
              <a:gd name="connsiteY7" fmla="*/ 147645 h 509038"/>
              <a:gd name="connsiteX8" fmla="*/ 158660 w 479287"/>
              <a:gd name="connsiteY8" fmla="*/ 0 h 509038"/>
              <a:gd name="connsiteX9" fmla="*/ 232481 w 479287"/>
              <a:gd name="connsiteY9" fmla="*/ 226974 h 509038"/>
              <a:gd name="connsiteX10" fmla="*/ 232481 w 479287"/>
              <a:gd name="connsiteY10" fmla="*/ 245705 h 509038"/>
              <a:gd name="connsiteX11" fmla="*/ 479287 w 479287"/>
              <a:gd name="connsiteY11" fmla="*/ 509038 h 509038"/>
              <a:gd name="connsiteX12" fmla="*/ 158660 w 479287"/>
              <a:gd name="connsiteY12" fmla="*/ 509038 h 509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79287" h="509038">
                <a:moveTo>
                  <a:pt x="62803" y="147645"/>
                </a:moveTo>
                <a:cubicBezTo>
                  <a:pt x="83738" y="147645"/>
                  <a:pt x="103571" y="161969"/>
                  <a:pt x="114589" y="182903"/>
                </a:cubicBezTo>
                <a:lnTo>
                  <a:pt x="157560" y="182903"/>
                </a:lnTo>
                <a:lnTo>
                  <a:pt x="157560" y="271048"/>
                </a:lnTo>
                <a:lnTo>
                  <a:pt x="114589" y="271048"/>
                </a:lnTo>
                <a:cubicBezTo>
                  <a:pt x="103571" y="291982"/>
                  <a:pt x="84839" y="306306"/>
                  <a:pt x="62803" y="306306"/>
                </a:cubicBezTo>
                <a:cubicBezTo>
                  <a:pt x="27546" y="306306"/>
                  <a:pt x="0" y="271048"/>
                  <a:pt x="0" y="226976"/>
                </a:cubicBezTo>
                <a:cubicBezTo>
                  <a:pt x="0" y="182903"/>
                  <a:pt x="28647" y="147645"/>
                  <a:pt x="62803" y="147645"/>
                </a:cubicBezTo>
                <a:close/>
                <a:moveTo>
                  <a:pt x="158660" y="0"/>
                </a:moveTo>
                <a:cubicBezTo>
                  <a:pt x="204936" y="63905"/>
                  <a:pt x="232481" y="142134"/>
                  <a:pt x="232481" y="226974"/>
                </a:cubicBezTo>
                <a:cubicBezTo>
                  <a:pt x="232481" y="233585"/>
                  <a:pt x="232481" y="239094"/>
                  <a:pt x="232481" y="245705"/>
                </a:cubicBezTo>
                <a:cubicBezTo>
                  <a:pt x="343765" y="300796"/>
                  <a:pt x="431910" y="394449"/>
                  <a:pt x="479287" y="509038"/>
                </a:cubicBezTo>
                <a:lnTo>
                  <a:pt x="158660" y="509038"/>
                </a:lnTo>
                <a:close/>
              </a:path>
            </a:pathLst>
          </a:custGeom>
          <a:solidFill>
            <a:schemeClr val="accent2"/>
          </a:solidFill>
          <a:ln w="9525" cap="flat">
            <a:noFill/>
            <a:prstDash val="solid"/>
            <a:miter/>
          </a:ln>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0" name="Freeform: Shape 38">
            <a:extLst>
              <a:ext uri="{FF2B5EF4-FFF2-40B4-BE49-F238E27FC236}">
                <a16:creationId xmlns:a16="http://schemas.microsoft.com/office/drawing/2014/main" id="{A1BF2BA2-DDAB-42D4-9957-67718E4E18F3}"/>
              </a:ext>
            </a:extLst>
          </p:cNvPr>
          <p:cNvSpPr/>
          <p:nvPr/>
        </p:nvSpPr>
        <p:spPr>
          <a:xfrm>
            <a:off x="5635924" y="6155446"/>
            <a:ext cx="1088221" cy="1419195"/>
          </a:xfrm>
          <a:custGeom>
            <a:avLst/>
            <a:gdLst>
              <a:gd name="connsiteX0" fmla="*/ 414049 w 940749"/>
              <a:gd name="connsiteY0" fmla="*/ 37147 h 1226871"/>
              <a:gd name="connsiteX1" fmla="*/ 414049 w 940749"/>
              <a:gd name="connsiteY1" fmla="*/ 37147 h 1226871"/>
              <a:gd name="connsiteX2" fmla="*/ 414049 w 940749"/>
              <a:gd name="connsiteY2" fmla="*/ 37147 h 1226871"/>
              <a:gd name="connsiteX3" fmla="*/ 396904 w 940749"/>
              <a:gd name="connsiteY3" fmla="*/ 37147 h 1226871"/>
              <a:gd name="connsiteX4" fmla="*/ 380712 w 940749"/>
              <a:gd name="connsiteY4" fmla="*/ 37147 h 1226871"/>
              <a:gd name="connsiteX5" fmla="*/ 380712 w 940749"/>
              <a:gd name="connsiteY5" fmla="*/ 36195 h 1226871"/>
              <a:gd name="connsiteX6" fmla="*/ 379759 w 940749"/>
              <a:gd name="connsiteY6" fmla="*/ 36195 h 1226871"/>
              <a:gd name="connsiteX7" fmla="*/ 249267 w 940749"/>
              <a:gd name="connsiteY7" fmla="*/ 0 h 1226871"/>
              <a:gd name="connsiteX8" fmla="*/ 194022 w 940749"/>
              <a:gd name="connsiteY8" fmla="*/ 35242 h 1226871"/>
              <a:gd name="connsiteX9" fmla="*/ 195927 w 940749"/>
              <a:gd name="connsiteY9" fmla="*/ 40957 h 1226871"/>
              <a:gd name="connsiteX10" fmla="*/ 196879 w 940749"/>
              <a:gd name="connsiteY10" fmla="*/ 44767 h 1226871"/>
              <a:gd name="connsiteX11" fmla="*/ 198784 w 940749"/>
              <a:gd name="connsiteY11" fmla="*/ 897255 h 1226871"/>
              <a:gd name="connsiteX12" fmla="*/ 198784 w 940749"/>
              <a:gd name="connsiteY12" fmla="*/ 898207 h 1226871"/>
              <a:gd name="connsiteX13" fmla="*/ 176877 w 940749"/>
              <a:gd name="connsiteY13" fmla="*/ 1010602 h 1226871"/>
              <a:gd name="connsiteX14" fmla="*/ 113059 w 940749"/>
              <a:gd name="connsiteY14" fmla="*/ 1106805 h 1226871"/>
              <a:gd name="connsiteX15" fmla="*/ 4474 w 940749"/>
              <a:gd name="connsiteY15" fmla="*/ 1207770 h 1226871"/>
              <a:gd name="connsiteX16" fmla="*/ 10189 w 940749"/>
              <a:gd name="connsiteY16" fmla="*/ 1225868 h 1226871"/>
              <a:gd name="connsiteX17" fmla="*/ 213072 w 940749"/>
              <a:gd name="connsiteY17" fmla="*/ 1223963 h 1226871"/>
              <a:gd name="connsiteX18" fmla="*/ 231169 w 940749"/>
              <a:gd name="connsiteY18" fmla="*/ 1223010 h 1226871"/>
              <a:gd name="connsiteX19" fmla="*/ 233074 w 940749"/>
              <a:gd name="connsiteY19" fmla="*/ 1223010 h 1226871"/>
              <a:gd name="connsiteX20" fmla="*/ 698847 w 940749"/>
              <a:gd name="connsiteY20" fmla="*/ 1223010 h 1226871"/>
              <a:gd name="connsiteX21" fmla="*/ 700752 w 940749"/>
              <a:gd name="connsiteY21" fmla="*/ 1223010 h 1226871"/>
              <a:gd name="connsiteX22" fmla="*/ 719802 w 940749"/>
              <a:gd name="connsiteY22" fmla="*/ 1223963 h 1226871"/>
              <a:gd name="connsiteX23" fmla="*/ 874107 w 940749"/>
              <a:gd name="connsiteY23" fmla="*/ 1223963 h 1226871"/>
              <a:gd name="connsiteX24" fmla="*/ 930304 w 940749"/>
              <a:gd name="connsiteY24" fmla="*/ 1226820 h 1226871"/>
              <a:gd name="connsiteX25" fmla="*/ 936972 w 940749"/>
              <a:gd name="connsiteY25" fmla="*/ 1209675 h 1226871"/>
              <a:gd name="connsiteX26" fmla="*/ 828387 w 940749"/>
              <a:gd name="connsiteY26" fmla="*/ 1098232 h 1226871"/>
              <a:gd name="connsiteX27" fmla="*/ 753139 w 940749"/>
              <a:gd name="connsiteY27" fmla="*/ 892492 h 1226871"/>
              <a:gd name="connsiteX28" fmla="*/ 751234 w 940749"/>
              <a:gd name="connsiteY28" fmla="*/ 640080 h 1226871"/>
              <a:gd name="connsiteX29" fmla="*/ 736947 w 940749"/>
              <a:gd name="connsiteY29" fmla="*/ 77152 h 1226871"/>
              <a:gd name="connsiteX30" fmla="*/ 541684 w 940749"/>
              <a:gd name="connsiteY30" fmla="*/ 952 h 1226871"/>
              <a:gd name="connsiteX31" fmla="*/ 414049 w 940749"/>
              <a:gd name="connsiteY31" fmla="*/ 37147 h 1226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940749" h="1226871">
                <a:moveTo>
                  <a:pt x="414049" y="37147"/>
                </a:moveTo>
                <a:lnTo>
                  <a:pt x="414049" y="37147"/>
                </a:lnTo>
                <a:lnTo>
                  <a:pt x="414049" y="37147"/>
                </a:lnTo>
                <a:lnTo>
                  <a:pt x="396904" y="37147"/>
                </a:lnTo>
                <a:lnTo>
                  <a:pt x="380712" y="37147"/>
                </a:lnTo>
                <a:lnTo>
                  <a:pt x="380712" y="36195"/>
                </a:lnTo>
                <a:lnTo>
                  <a:pt x="379759" y="36195"/>
                </a:lnTo>
                <a:cubicBezTo>
                  <a:pt x="338802" y="35242"/>
                  <a:pt x="298797" y="20955"/>
                  <a:pt x="249267" y="0"/>
                </a:cubicBezTo>
                <a:cubicBezTo>
                  <a:pt x="232122" y="13335"/>
                  <a:pt x="214024" y="24765"/>
                  <a:pt x="194022" y="35242"/>
                </a:cubicBezTo>
                <a:cubicBezTo>
                  <a:pt x="194974" y="37147"/>
                  <a:pt x="195927" y="39052"/>
                  <a:pt x="195927" y="40957"/>
                </a:cubicBezTo>
                <a:cubicBezTo>
                  <a:pt x="195927" y="41910"/>
                  <a:pt x="196879" y="43815"/>
                  <a:pt x="196879" y="44767"/>
                </a:cubicBezTo>
                <a:cubicBezTo>
                  <a:pt x="197832" y="374332"/>
                  <a:pt x="197832" y="677227"/>
                  <a:pt x="198784" y="897255"/>
                </a:cubicBezTo>
                <a:cubicBezTo>
                  <a:pt x="198784" y="897255"/>
                  <a:pt x="198784" y="898207"/>
                  <a:pt x="198784" y="898207"/>
                </a:cubicBezTo>
                <a:cubicBezTo>
                  <a:pt x="194022" y="948690"/>
                  <a:pt x="186402" y="990600"/>
                  <a:pt x="176877" y="1010602"/>
                </a:cubicBezTo>
                <a:cubicBezTo>
                  <a:pt x="159732" y="1047750"/>
                  <a:pt x="136872" y="1078230"/>
                  <a:pt x="113059" y="1106805"/>
                </a:cubicBezTo>
                <a:cubicBezTo>
                  <a:pt x="79722" y="1145857"/>
                  <a:pt x="43527" y="1182052"/>
                  <a:pt x="4474" y="1207770"/>
                </a:cubicBezTo>
                <a:cubicBezTo>
                  <a:pt x="-4098" y="1213485"/>
                  <a:pt x="664" y="1226820"/>
                  <a:pt x="10189" y="1225868"/>
                </a:cubicBezTo>
                <a:cubicBezTo>
                  <a:pt x="77817" y="1222057"/>
                  <a:pt x="145444" y="1221105"/>
                  <a:pt x="213072" y="1223963"/>
                </a:cubicBezTo>
                <a:cubicBezTo>
                  <a:pt x="218787" y="1223963"/>
                  <a:pt x="225454" y="1223963"/>
                  <a:pt x="231169" y="1223010"/>
                </a:cubicBezTo>
                <a:cubicBezTo>
                  <a:pt x="232122" y="1223010"/>
                  <a:pt x="232122" y="1223010"/>
                  <a:pt x="233074" y="1223010"/>
                </a:cubicBezTo>
                <a:lnTo>
                  <a:pt x="698847" y="1223010"/>
                </a:lnTo>
                <a:cubicBezTo>
                  <a:pt x="699799" y="1223010"/>
                  <a:pt x="699799" y="1223010"/>
                  <a:pt x="700752" y="1223010"/>
                </a:cubicBezTo>
                <a:cubicBezTo>
                  <a:pt x="706467" y="1224915"/>
                  <a:pt x="713134" y="1223963"/>
                  <a:pt x="719802" y="1223963"/>
                </a:cubicBezTo>
                <a:cubicBezTo>
                  <a:pt x="771237" y="1222057"/>
                  <a:pt x="822672" y="1222057"/>
                  <a:pt x="874107" y="1223963"/>
                </a:cubicBezTo>
                <a:cubicBezTo>
                  <a:pt x="893157" y="1224915"/>
                  <a:pt x="911254" y="1225868"/>
                  <a:pt x="930304" y="1226820"/>
                </a:cubicBezTo>
                <a:cubicBezTo>
                  <a:pt x="939829" y="1227772"/>
                  <a:pt x="944592" y="1215390"/>
                  <a:pt x="936972" y="1209675"/>
                </a:cubicBezTo>
                <a:cubicBezTo>
                  <a:pt x="905539" y="1183005"/>
                  <a:pt x="864582" y="1138238"/>
                  <a:pt x="828387" y="1098232"/>
                </a:cubicBezTo>
                <a:cubicBezTo>
                  <a:pt x="780762" y="1043940"/>
                  <a:pt x="753139" y="969645"/>
                  <a:pt x="753139" y="892492"/>
                </a:cubicBezTo>
                <a:cubicBezTo>
                  <a:pt x="752187" y="784860"/>
                  <a:pt x="752187" y="643890"/>
                  <a:pt x="751234" y="640080"/>
                </a:cubicBezTo>
                <a:cubicBezTo>
                  <a:pt x="749329" y="538163"/>
                  <a:pt x="743614" y="334327"/>
                  <a:pt x="736947" y="77152"/>
                </a:cubicBezTo>
                <a:cubicBezTo>
                  <a:pt x="665509" y="70485"/>
                  <a:pt x="597882" y="44767"/>
                  <a:pt x="541684" y="952"/>
                </a:cubicBezTo>
                <a:cubicBezTo>
                  <a:pt x="494059" y="21907"/>
                  <a:pt x="455007" y="36195"/>
                  <a:pt x="414049" y="37147"/>
                </a:cubicBezTo>
                <a:close/>
              </a:path>
            </a:pathLst>
          </a:custGeom>
          <a:solidFill>
            <a:srgbClr val="7A5330"/>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1" name="Freeform: Shape 132">
            <a:extLst>
              <a:ext uri="{FF2B5EF4-FFF2-40B4-BE49-F238E27FC236}">
                <a16:creationId xmlns:a16="http://schemas.microsoft.com/office/drawing/2014/main" id="{CFEF72D8-A4F6-43D5-8077-EE7577A7976E}"/>
              </a:ext>
            </a:extLst>
          </p:cNvPr>
          <p:cNvSpPr/>
          <p:nvPr/>
        </p:nvSpPr>
        <p:spPr>
          <a:xfrm>
            <a:off x="4322228" y="5141777"/>
            <a:ext cx="997143" cy="880348"/>
          </a:xfrm>
          <a:custGeom>
            <a:avLst/>
            <a:gdLst>
              <a:gd name="connsiteX0" fmla="*/ 934339 w 997143"/>
              <a:gd name="connsiteY0" fmla="*/ 353681 h 880348"/>
              <a:gd name="connsiteX1" fmla="*/ 997143 w 997143"/>
              <a:gd name="connsiteY1" fmla="*/ 433012 h 880348"/>
              <a:gd name="connsiteX2" fmla="*/ 934339 w 997143"/>
              <a:gd name="connsiteY2" fmla="*/ 512342 h 880348"/>
              <a:gd name="connsiteX3" fmla="*/ 882555 w 997143"/>
              <a:gd name="connsiteY3" fmla="*/ 477084 h 880348"/>
              <a:gd name="connsiteX4" fmla="*/ 839583 w 997143"/>
              <a:gd name="connsiteY4" fmla="*/ 477084 h 880348"/>
              <a:gd name="connsiteX5" fmla="*/ 839583 w 997143"/>
              <a:gd name="connsiteY5" fmla="*/ 388939 h 880348"/>
              <a:gd name="connsiteX6" fmla="*/ 882555 w 997143"/>
              <a:gd name="connsiteY6" fmla="*/ 388939 h 880348"/>
              <a:gd name="connsiteX7" fmla="*/ 934339 w 997143"/>
              <a:gd name="connsiteY7" fmla="*/ 353681 h 880348"/>
              <a:gd name="connsiteX8" fmla="*/ 22036 w 997143"/>
              <a:gd name="connsiteY8" fmla="*/ 0 h 880348"/>
              <a:gd name="connsiteX9" fmla="*/ 839582 w 997143"/>
              <a:gd name="connsiteY9" fmla="*/ 0 h 880348"/>
              <a:gd name="connsiteX10" fmla="*/ 839582 w 997143"/>
              <a:gd name="connsiteY10" fmla="*/ 875942 h 880348"/>
              <a:gd name="connsiteX11" fmla="*/ 780084 w 997143"/>
              <a:gd name="connsiteY11" fmla="*/ 880348 h 880348"/>
              <a:gd name="connsiteX12" fmla="*/ 417588 w 997143"/>
              <a:gd name="connsiteY12" fmla="*/ 642357 h 880348"/>
              <a:gd name="connsiteX13" fmla="*/ 0 w 997143"/>
              <a:gd name="connsiteY13" fmla="*/ 146540 h 880348"/>
              <a:gd name="connsiteX14" fmla="*/ 22036 w 997143"/>
              <a:gd name="connsiteY14" fmla="*/ 0 h 880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97143" h="880348">
                <a:moveTo>
                  <a:pt x="934339" y="353681"/>
                </a:moveTo>
                <a:cubicBezTo>
                  <a:pt x="968496" y="353681"/>
                  <a:pt x="997143" y="388939"/>
                  <a:pt x="997143" y="433012"/>
                </a:cubicBezTo>
                <a:cubicBezTo>
                  <a:pt x="997143" y="477084"/>
                  <a:pt x="969597" y="512342"/>
                  <a:pt x="934339" y="512342"/>
                </a:cubicBezTo>
                <a:cubicBezTo>
                  <a:pt x="912303" y="512342"/>
                  <a:pt x="893573" y="498019"/>
                  <a:pt x="882555" y="477084"/>
                </a:cubicBezTo>
                <a:lnTo>
                  <a:pt x="839583" y="477084"/>
                </a:lnTo>
                <a:lnTo>
                  <a:pt x="839583" y="388939"/>
                </a:lnTo>
                <a:lnTo>
                  <a:pt x="882555" y="388939"/>
                </a:lnTo>
                <a:cubicBezTo>
                  <a:pt x="893573" y="368005"/>
                  <a:pt x="913405" y="353681"/>
                  <a:pt x="934339" y="353681"/>
                </a:cubicBezTo>
                <a:close/>
                <a:moveTo>
                  <a:pt x="22036" y="0"/>
                </a:moveTo>
                <a:lnTo>
                  <a:pt x="839582" y="0"/>
                </a:lnTo>
                <a:lnTo>
                  <a:pt x="839582" y="875942"/>
                </a:lnTo>
                <a:cubicBezTo>
                  <a:pt x="819749" y="879247"/>
                  <a:pt x="799917" y="880348"/>
                  <a:pt x="780084" y="880348"/>
                </a:cubicBezTo>
                <a:cubicBezTo>
                  <a:pt x="615914" y="880348"/>
                  <a:pt x="475983" y="782287"/>
                  <a:pt x="417588" y="642357"/>
                </a:cubicBezTo>
                <a:cubicBezTo>
                  <a:pt x="179596" y="597183"/>
                  <a:pt x="0" y="392246"/>
                  <a:pt x="0" y="146540"/>
                </a:cubicBezTo>
                <a:cubicBezTo>
                  <a:pt x="0" y="95857"/>
                  <a:pt x="7713" y="46276"/>
                  <a:pt x="22036" y="0"/>
                </a:cubicBezTo>
                <a:close/>
              </a:path>
            </a:pathLst>
          </a:custGeom>
          <a:solidFill>
            <a:schemeClr val="accent1">
              <a:lumMod val="75000"/>
            </a:schemeClr>
          </a:solidFill>
          <a:ln w="9525" cap="flat">
            <a:noFill/>
            <a:prstDash val="solid"/>
            <a:miter/>
          </a:ln>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2" name="Freeform: Shape 41">
            <a:extLst>
              <a:ext uri="{FF2B5EF4-FFF2-40B4-BE49-F238E27FC236}">
                <a16:creationId xmlns:a16="http://schemas.microsoft.com/office/drawing/2014/main" id="{211CDCE2-4FB3-4446-BE67-24723D05F107}"/>
              </a:ext>
            </a:extLst>
          </p:cNvPr>
          <p:cNvSpPr/>
          <p:nvPr/>
        </p:nvSpPr>
        <p:spPr>
          <a:xfrm>
            <a:off x="5494604" y="3263675"/>
            <a:ext cx="286378" cy="404488"/>
          </a:xfrm>
          <a:custGeom>
            <a:avLst/>
            <a:gdLst>
              <a:gd name="connsiteX0" fmla="*/ 337185 w 674370"/>
              <a:gd name="connsiteY0" fmla="*/ 0 h 952500"/>
              <a:gd name="connsiteX1" fmla="*/ 0 w 674370"/>
              <a:gd name="connsiteY1" fmla="*/ 615315 h 952500"/>
              <a:gd name="connsiteX2" fmla="*/ 337185 w 674370"/>
              <a:gd name="connsiteY2" fmla="*/ 952500 h 952500"/>
              <a:gd name="connsiteX3" fmla="*/ 674370 w 674370"/>
              <a:gd name="connsiteY3" fmla="*/ 615315 h 952500"/>
              <a:gd name="connsiteX4" fmla="*/ 337185 w 674370"/>
              <a:gd name="connsiteY4" fmla="*/ 0 h 952500"/>
              <a:gd name="connsiteX5" fmla="*/ 332423 w 674370"/>
              <a:gd name="connsiteY5" fmla="*/ 876300 h 952500"/>
              <a:gd name="connsiteX6" fmla="*/ 76200 w 674370"/>
              <a:gd name="connsiteY6" fmla="*/ 654368 h 952500"/>
              <a:gd name="connsiteX7" fmla="*/ 121920 w 674370"/>
              <a:gd name="connsiteY7" fmla="*/ 641985 h 952500"/>
              <a:gd name="connsiteX8" fmla="*/ 341948 w 674370"/>
              <a:gd name="connsiteY8" fmla="*/ 830580 h 952500"/>
              <a:gd name="connsiteX9" fmla="*/ 332423 w 674370"/>
              <a:gd name="connsiteY9" fmla="*/ 876300 h 952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74370" h="952500">
                <a:moveTo>
                  <a:pt x="337185" y="0"/>
                </a:moveTo>
                <a:cubicBezTo>
                  <a:pt x="337185" y="0"/>
                  <a:pt x="0" y="429578"/>
                  <a:pt x="0" y="615315"/>
                </a:cubicBezTo>
                <a:cubicBezTo>
                  <a:pt x="0" y="801053"/>
                  <a:pt x="150495" y="952500"/>
                  <a:pt x="337185" y="952500"/>
                </a:cubicBezTo>
                <a:cubicBezTo>
                  <a:pt x="522923" y="952500"/>
                  <a:pt x="674370" y="802005"/>
                  <a:pt x="674370" y="615315"/>
                </a:cubicBezTo>
                <a:cubicBezTo>
                  <a:pt x="674370" y="429578"/>
                  <a:pt x="337185" y="0"/>
                  <a:pt x="337185" y="0"/>
                </a:cubicBezTo>
                <a:close/>
                <a:moveTo>
                  <a:pt x="332423" y="876300"/>
                </a:moveTo>
                <a:cubicBezTo>
                  <a:pt x="128588" y="834390"/>
                  <a:pt x="78105" y="661988"/>
                  <a:pt x="76200" y="654368"/>
                </a:cubicBezTo>
                <a:lnTo>
                  <a:pt x="121920" y="641985"/>
                </a:lnTo>
                <a:cubicBezTo>
                  <a:pt x="123825" y="648653"/>
                  <a:pt x="167640" y="794385"/>
                  <a:pt x="341948" y="830580"/>
                </a:cubicBezTo>
                <a:lnTo>
                  <a:pt x="332423" y="876300"/>
                </a:lnTo>
                <a:close/>
              </a:path>
            </a:pathLst>
          </a:custGeom>
          <a:solidFill>
            <a:schemeClr val="bg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3" name="Freeform: Shape 46">
            <a:extLst>
              <a:ext uri="{FF2B5EF4-FFF2-40B4-BE49-F238E27FC236}">
                <a16:creationId xmlns:a16="http://schemas.microsoft.com/office/drawing/2014/main" id="{DCD1BF86-DA4F-49B9-B08E-20AD95F84FC4}"/>
              </a:ext>
            </a:extLst>
          </p:cNvPr>
          <p:cNvSpPr/>
          <p:nvPr/>
        </p:nvSpPr>
        <p:spPr>
          <a:xfrm>
            <a:off x="5483148" y="2448952"/>
            <a:ext cx="404540" cy="219246"/>
          </a:xfrm>
          <a:custGeom>
            <a:avLst/>
            <a:gdLst>
              <a:gd name="connsiteX0" fmla="*/ 714375 w 952622"/>
              <a:gd name="connsiteY0" fmla="*/ 269590 h 516287"/>
              <a:gd name="connsiteX1" fmla="*/ 476250 w 952622"/>
              <a:gd name="connsiteY1" fmla="*/ 33 h 516287"/>
              <a:gd name="connsiteX2" fmla="*/ 307658 w 952622"/>
              <a:gd name="connsiteY2" fmla="*/ 209583 h 516287"/>
              <a:gd name="connsiteX3" fmla="*/ 139065 w 952622"/>
              <a:gd name="connsiteY3" fmla="*/ 359125 h 516287"/>
              <a:gd name="connsiteX4" fmla="*/ 0 w 952622"/>
              <a:gd name="connsiteY4" fmla="*/ 516288 h 516287"/>
              <a:gd name="connsiteX5" fmla="*/ 952500 w 952622"/>
              <a:gd name="connsiteY5" fmla="*/ 516288 h 516287"/>
              <a:gd name="connsiteX6" fmla="*/ 714375 w 952622"/>
              <a:gd name="connsiteY6" fmla="*/ 269590 h 516287"/>
              <a:gd name="connsiteX7" fmla="*/ 590550 w 952622"/>
              <a:gd name="connsiteY7" fmla="*/ 229585 h 516287"/>
              <a:gd name="connsiteX8" fmla="*/ 504825 w 952622"/>
              <a:gd name="connsiteY8" fmla="*/ 112428 h 516287"/>
              <a:gd name="connsiteX9" fmla="*/ 525780 w 952622"/>
              <a:gd name="connsiteY9" fmla="*/ 69565 h 516287"/>
              <a:gd name="connsiteX10" fmla="*/ 638175 w 952622"/>
              <a:gd name="connsiteY10" fmla="*/ 221013 h 516287"/>
              <a:gd name="connsiteX11" fmla="*/ 590550 w 952622"/>
              <a:gd name="connsiteY11" fmla="*/ 229585 h 516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52622" h="516287">
                <a:moveTo>
                  <a:pt x="714375" y="269590"/>
                </a:moveTo>
                <a:cubicBezTo>
                  <a:pt x="714375" y="269590"/>
                  <a:pt x="720090" y="33"/>
                  <a:pt x="476250" y="33"/>
                </a:cubicBezTo>
                <a:cubicBezTo>
                  <a:pt x="476250" y="33"/>
                  <a:pt x="307658" y="-7587"/>
                  <a:pt x="307658" y="209583"/>
                </a:cubicBezTo>
                <a:cubicBezTo>
                  <a:pt x="307658" y="209583"/>
                  <a:pt x="139065" y="179103"/>
                  <a:pt x="139065" y="359125"/>
                </a:cubicBezTo>
                <a:cubicBezTo>
                  <a:pt x="139065" y="359125"/>
                  <a:pt x="0" y="308643"/>
                  <a:pt x="0" y="516288"/>
                </a:cubicBezTo>
                <a:lnTo>
                  <a:pt x="952500" y="516288"/>
                </a:lnTo>
                <a:cubicBezTo>
                  <a:pt x="952500" y="516288"/>
                  <a:pt x="965835" y="269590"/>
                  <a:pt x="714375" y="269590"/>
                </a:cubicBezTo>
                <a:close/>
                <a:moveTo>
                  <a:pt x="590550" y="229585"/>
                </a:moveTo>
                <a:cubicBezTo>
                  <a:pt x="579120" y="174340"/>
                  <a:pt x="550545" y="134335"/>
                  <a:pt x="504825" y="112428"/>
                </a:cubicBezTo>
                <a:lnTo>
                  <a:pt x="525780" y="69565"/>
                </a:lnTo>
                <a:cubicBezTo>
                  <a:pt x="566738" y="89568"/>
                  <a:pt x="620078" y="132430"/>
                  <a:pt x="638175" y="221013"/>
                </a:cubicBezTo>
                <a:lnTo>
                  <a:pt x="590550" y="229585"/>
                </a:lnTo>
                <a:close/>
              </a:path>
            </a:pathLst>
          </a:custGeom>
          <a:solidFill>
            <a:schemeClr val="bg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nvGrpSpPr>
          <p:cNvPr id="24" name="Graphic 1">
            <a:extLst>
              <a:ext uri="{FF2B5EF4-FFF2-40B4-BE49-F238E27FC236}">
                <a16:creationId xmlns:a16="http://schemas.microsoft.com/office/drawing/2014/main" id="{28DF7552-2C9C-466A-87EB-6F4670F59903}"/>
              </a:ext>
            </a:extLst>
          </p:cNvPr>
          <p:cNvGrpSpPr/>
          <p:nvPr/>
        </p:nvGrpSpPr>
        <p:grpSpPr>
          <a:xfrm>
            <a:off x="5575878" y="5451923"/>
            <a:ext cx="237030" cy="447366"/>
            <a:chOff x="1558289" y="3338512"/>
            <a:chExt cx="558164" cy="1053465"/>
          </a:xfrm>
          <a:solidFill>
            <a:schemeClr val="bg2"/>
          </a:solidFill>
        </p:grpSpPr>
        <p:sp>
          <p:nvSpPr>
            <p:cNvPr id="25" name="Freeform: Shape 48">
              <a:extLst>
                <a:ext uri="{FF2B5EF4-FFF2-40B4-BE49-F238E27FC236}">
                  <a16:creationId xmlns:a16="http://schemas.microsoft.com/office/drawing/2014/main" id="{430D7D5C-361B-4621-9D69-458B9514EF77}"/>
                </a:ext>
              </a:extLst>
            </p:cNvPr>
            <p:cNvSpPr/>
            <p:nvPr/>
          </p:nvSpPr>
          <p:spPr>
            <a:xfrm>
              <a:off x="1558289" y="3338512"/>
              <a:ext cx="558164" cy="781050"/>
            </a:xfrm>
            <a:custGeom>
              <a:avLst/>
              <a:gdLst>
                <a:gd name="connsiteX0" fmla="*/ 558165 w 558164"/>
                <a:gd name="connsiteY0" fmla="*/ 503872 h 781050"/>
                <a:gd name="connsiteX1" fmla="*/ 304800 w 558164"/>
                <a:gd name="connsiteY1" fmla="*/ 781050 h 781050"/>
                <a:gd name="connsiteX2" fmla="*/ 304800 w 558164"/>
                <a:gd name="connsiteY2" fmla="*/ 702945 h 781050"/>
                <a:gd name="connsiteX3" fmla="*/ 426720 w 558164"/>
                <a:gd name="connsiteY3" fmla="*/ 549593 h 781050"/>
                <a:gd name="connsiteX4" fmla="*/ 386715 w 558164"/>
                <a:gd name="connsiteY4" fmla="*/ 518160 h 781050"/>
                <a:gd name="connsiteX5" fmla="*/ 303848 w 558164"/>
                <a:gd name="connsiteY5" fmla="*/ 621982 h 781050"/>
                <a:gd name="connsiteX6" fmla="*/ 303848 w 558164"/>
                <a:gd name="connsiteY6" fmla="*/ 347663 h 781050"/>
                <a:gd name="connsiteX7" fmla="*/ 253365 w 558164"/>
                <a:gd name="connsiteY7" fmla="*/ 347663 h 781050"/>
                <a:gd name="connsiteX8" fmla="*/ 253365 w 558164"/>
                <a:gd name="connsiteY8" fmla="*/ 461010 h 781050"/>
                <a:gd name="connsiteX9" fmla="*/ 213360 w 558164"/>
                <a:gd name="connsiteY9" fmla="*/ 406718 h 781050"/>
                <a:gd name="connsiteX10" fmla="*/ 172403 w 558164"/>
                <a:gd name="connsiteY10" fmla="*/ 436245 h 781050"/>
                <a:gd name="connsiteX11" fmla="*/ 253365 w 558164"/>
                <a:gd name="connsiteY11" fmla="*/ 546735 h 781050"/>
                <a:gd name="connsiteX12" fmla="*/ 253365 w 558164"/>
                <a:gd name="connsiteY12" fmla="*/ 781050 h 781050"/>
                <a:gd name="connsiteX13" fmla="*/ 0 w 558164"/>
                <a:gd name="connsiteY13" fmla="*/ 503872 h 781050"/>
                <a:gd name="connsiteX14" fmla="*/ 258128 w 558164"/>
                <a:gd name="connsiteY14" fmla="*/ 25717 h 781050"/>
                <a:gd name="connsiteX15" fmla="*/ 278130 w 558164"/>
                <a:gd name="connsiteY15" fmla="*/ 0 h 781050"/>
                <a:gd name="connsiteX16" fmla="*/ 298133 w 558164"/>
                <a:gd name="connsiteY16" fmla="*/ 25717 h 781050"/>
                <a:gd name="connsiteX17" fmla="*/ 558165 w 558164"/>
                <a:gd name="connsiteY17" fmla="*/ 503872 h 781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58164" h="781050">
                  <a:moveTo>
                    <a:pt x="558165" y="503872"/>
                  </a:moveTo>
                  <a:cubicBezTo>
                    <a:pt x="558165" y="648653"/>
                    <a:pt x="446723" y="768668"/>
                    <a:pt x="304800" y="781050"/>
                  </a:cubicBezTo>
                  <a:lnTo>
                    <a:pt x="304800" y="702945"/>
                  </a:lnTo>
                  <a:lnTo>
                    <a:pt x="426720" y="549593"/>
                  </a:lnTo>
                  <a:lnTo>
                    <a:pt x="386715" y="518160"/>
                  </a:lnTo>
                  <a:lnTo>
                    <a:pt x="303848" y="621982"/>
                  </a:lnTo>
                  <a:lnTo>
                    <a:pt x="303848" y="347663"/>
                  </a:lnTo>
                  <a:lnTo>
                    <a:pt x="253365" y="347663"/>
                  </a:lnTo>
                  <a:lnTo>
                    <a:pt x="253365" y="461010"/>
                  </a:lnTo>
                  <a:lnTo>
                    <a:pt x="213360" y="406718"/>
                  </a:lnTo>
                  <a:lnTo>
                    <a:pt x="172403" y="436245"/>
                  </a:lnTo>
                  <a:lnTo>
                    <a:pt x="253365" y="546735"/>
                  </a:lnTo>
                  <a:lnTo>
                    <a:pt x="253365" y="781050"/>
                  </a:lnTo>
                  <a:cubicBezTo>
                    <a:pt x="111442" y="768668"/>
                    <a:pt x="0" y="648653"/>
                    <a:pt x="0" y="503872"/>
                  </a:cubicBezTo>
                  <a:cubicBezTo>
                    <a:pt x="0" y="357188"/>
                    <a:pt x="247650" y="39053"/>
                    <a:pt x="258128" y="25717"/>
                  </a:cubicBezTo>
                  <a:lnTo>
                    <a:pt x="278130" y="0"/>
                  </a:lnTo>
                  <a:lnTo>
                    <a:pt x="298133" y="25717"/>
                  </a:lnTo>
                  <a:cubicBezTo>
                    <a:pt x="309562" y="40005"/>
                    <a:pt x="558165" y="357188"/>
                    <a:pt x="558165" y="503872"/>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6" name="Freeform: Shape 49">
              <a:extLst>
                <a:ext uri="{FF2B5EF4-FFF2-40B4-BE49-F238E27FC236}">
                  <a16:creationId xmlns:a16="http://schemas.microsoft.com/office/drawing/2014/main" id="{5701C064-7F7B-4D83-9176-BFEC1037760E}"/>
                </a:ext>
              </a:extLst>
            </p:cNvPr>
            <p:cNvSpPr/>
            <p:nvPr/>
          </p:nvSpPr>
          <p:spPr>
            <a:xfrm>
              <a:off x="1812606" y="4119562"/>
              <a:ext cx="50482" cy="272415"/>
            </a:xfrm>
            <a:custGeom>
              <a:avLst/>
              <a:gdLst>
                <a:gd name="connsiteX0" fmla="*/ 50482 w 50482"/>
                <a:gd name="connsiteY0" fmla="*/ 0 h 272415"/>
                <a:gd name="connsiteX1" fmla="*/ 50482 w 50482"/>
                <a:gd name="connsiteY1" fmla="*/ 272415 h 272415"/>
                <a:gd name="connsiteX2" fmla="*/ 0 w 50482"/>
                <a:gd name="connsiteY2" fmla="*/ 272415 h 272415"/>
                <a:gd name="connsiteX3" fmla="*/ 0 w 50482"/>
                <a:gd name="connsiteY3" fmla="*/ 0 h 272415"/>
                <a:gd name="connsiteX4" fmla="*/ 25718 w 50482"/>
                <a:gd name="connsiteY4" fmla="*/ 953 h 272415"/>
                <a:gd name="connsiteX5" fmla="*/ 50482 w 50482"/>
                <a:gd name="connsiteY5" fmla="*/ 0 h 2724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482" h="272415">
                  <a:moveTo>
                    <a:pt x="50482" y="0"/>
                  </a:moveTo>
                  <a:lnTo>
                    <a:pt x="50482" y="272415"/>
                  </a:lnTo>
                  <a:lnTo>
                    <a:pt x="0" y="272415"/>
                  </a:lnTo>
                  <a:lnTo>
                    <a:pt x="0" y="0"/>
                  </a:lnTo>
                  <a:cubicBezTo>
                    <a:pt x="8573" y="953"/>
                    <a:pt x="17145" y="953"/>
                    <a:pt x="25718" y="953"/>
                  </a:cubicBezTo>
                  <a:cubicBezTo>
                    <a:pt x="33338" y="1905"/>
                    <a:pt x="41910" y="953"/>
                    <a:pt x="50482" y="0"/>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grpSp>
        <p:nvGrpSpPr>
          <p:cNvPr id="27" name="Graphic 1">
            <a:extLst>
              <a:ext uri="{FF2B5EF4-FFF2-40B4-BE49-F238E27FC236}">
                <a16:creationId xmlns:a16="http://schemas.microsoft.com/office/drawing/2014/main" id="{66E83E1C-002B-4914-8C5B-A8C70879C266}"/>
              </a:ext>
            </a:extLst>
          </p:cNvPr>
          <p:cNvGrpSpPr/>
          <p:nvPr/>
        </p:nvGrpSpPr>
        <p:grpSpPr>
          <a:xfrm>
            <a:off x="6375613" y="3359201"/>
            <a:ext cx="353372" cy="213436"/>
            <a:chOff x="1347787" y="2615565"/>
            <a:chExt cx="952500" cy="575309"/>
          </a:xfrm>
          <a:solidFill>
            <a:schemeClr val="bg2"/>
          </a:solidFill>
        </p:grpSpPr>
        <p:sp>
          <p:nvSpPr>
            <p:cNvPr id="28" name="Freeform: Shape 52">
              <a:extLst>
                <a:ext uri="{FF2B5EF4-FFF2-40B4-BE49-F238E27FC236}">
                  <a16:creationId xmlns:a16="http://schemas.microsoft.com/office/drawing/2014/main" id="{DD34EF5E-FB0D-4345-B178-91A3D089186B}"/>
                </a:ext>
              </a:extLst>
            </p:cNvPr>
            <p:cNvSpPr/>
            <p:nvPr/>
          </p:nvSpPr>
          <p:spPr>
            <a:xfrm>
              <a:off x="2062162" y="2812732"/>
              <a:ext cx="238125" cy="378142"/>
            </a:xfrm>
            <a:custGeom>
              <a:avLst/>
              <a:gdLst>
                <a:gd name="connsiteX0" fmla="*/ 43815 w 238125"/>
                <a:gd name="connsiteY0" fmla="*/ 0 h 378142"/>
                <a:gd name="connsiteX1" fmla="*/ 0 w 238125"/>
                <a:gd name="connsiteY1" fmla="*/ 0 h 378142"/>
                <a:gd name="connsiteX2" fmla="*/ 0 w 238125"/>
                <a:gd name="connsiteY2" fmla="*/ 378142 h 378142"/>
                <a:gd name="connsiteX3" fmla="*/ 238125 w 238125"/>
                <a:gd name="connsiteY3" fmla="*/ 378142 h 378142"/>
                <a:gd name="connsiteX4" fmla="*/ 238125 w 238125"/>
                <a:gd name="connsiteY4" fmla="*/ 195263 h 378142"/>
                <a:gd name="connsiteX5" fmla="*/ 43815 w 238125"/>
                <a:gd name="connsiteY5" fmla="*/ 0 h 3781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8125" h="378142">
                  <a:moveTo>
                    <a:pt x="43815" y="0"/>
                  </a:moveTo>
                  <a:lnTo>
                    <a:pt x="0" y="0"/>
                  </a:lnTo>
                  <a:lnTo>
                    <a:pt x="0" y="378142"/>
                  </a:lnTo>
                  <a:lnTo>
                    <a:pt x="238125" y="378142"/>
                  </a:lnTo>
                  <a:lnTo>
                    <a:pt x="238125" y="195263"/>
                  </a:lnTo>
                  <a:cubicBezTo>
                    <a:pt x="238125" y="87630"/>
                    <a:pt x="150495" y="0"/>
                    <a:pt x="43815" y="0"/>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9" name="Freeform: Shape 53">
              <a:extLst>
                <a:ext uri="{FF2B5EF4-FFF2-40B4-BE49-F238E27FC236}">
                  <a16:creationId xmlns:a16="http://schemas.microsoft.com/office/drawing/2014/main" id="{6BB2F509-1D17-4EB3-8AC8-718E9EEFB56E}"/>
                </a:ext>
              </a:extLst>
            </p:cNvPr>
            <p:cNvSpPr/>
            <p:nvPr/>
          </p:nvSpPr>
          <p:spPr>
            <a:xfrm>
              <a:off x="1347787" y="2714625"/>
              <a:ext cx="139065" cy="476250"/>
            </a:xfrm>
            <a:custGeom>
              <a:avLst/>
              <a:gdLst>
                <a:gd name="connsiteX0" fmla="*/ 0 w 139065"/>
                <a:gd name="connsiteY0" fmla="*/ 0 h 476250"/>
                <a:gd name="connsiteX1" fmla="*/ 139065 w 139065"/>
                <a:gd name="connsiteY1" fmla="*/ 0 h 476250"/>
                <a:gd name="connsiteX2" fmla="*/ 139065 w 139065"/>
                <a:gd name="connsiteY2" fmla="*/ 476250 h 476250"/>
                <a:gd name="connsiteX3" fmla="*/ 0 w 139065"/>
                <a:gd name="connsiteY3" fmla="*/ 476250 h 476250"/>
              </a:gdLst>
              <a:ahLst/>
              <a:cxnLst>
                <a:cxn ang="0">
                  <a:pos x="connsiteX0" y="connsiteY0"/>
                </a:cxn>
                <a:cxn ang="0">
                  <a:pos x="connsiteX1" y="connsiteY1"/>
                </a:cxn>
                <a:cxn ang="0">
                  <a:pos x="connsiteX2" y="connsiteY2"/>
                </a:cxn>
                <a:cxn ang="0">
                  <a:pos x="connsiteX3" y="connsiteY3"/>
                </a:cxn>
              </a:cxnLst>
              <a:rect l="l" t="t" r="r" b="b"/>
              <a:pathLst>
                <a:path w="139065" h="476250">
                  <a:moveTo>
                    <a:pt x="0" y="0"/>
                  </a:moveTo>
                  <a:lnTo>
                    <a:pt x="139065" y="0"/>
                  </a:lnTo>
                  <a:lnTo>
                    <a:pt x="139065" y="476250"/>
                  </a:lnTo>
                  <a:lnTo>
                    <a:pt x="0" y="47625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0" name="Freeform: Shape 54">
              <a:extLst>
                <a:ext uri="{FF2B5EF4-FFF2-40B4-BE49-F238E27FC236}">
                  <a16:creationId xmlns:a16="http://schemas.microsoft.com/office/drawing/2014/main" id="{1E075F56-6C33-410A-B516-07953A03F1A7}"/>
                </a:ext>
              </a:extLst>
            </p:cNvPr>
            <p:cNvSpPr/>
            <p:nvPr/>
          </p:nvSpPr>
          <p:spPr>
            <a:xfrm>
              <a:off x="1522094" y="2615565"/>
              <a:ext cx="540067" cy="435292"/>
            </a:xfrm>
            <a:custGeom>
              <a:avLst/>
              <a:gdLst>
                <a:gd name="connsiteX0" fmla="*/ 344805 w 540067"/>
                <a:gd name="connsiteY0" fmla="*/ 99060 h 435292"/>
                <a:gd name="connsiteX1" fmla="*/ 540068 w 540067"/>
                <a:gd name="connsiteY1" fmla="*/ 99060 h 435292"/>
                <a:gd name="connsiteX2" fmla="*/ 540068 w 540067"/>
                <a:gd name="connsiteY2" fmla="*/ 0 h 435292"/>
                <a:gd name="connsiteX3" fmla="*/ 344805 w 540067"/>
                <a:gd name="connsiteY3" fmla="*/ 0 h 435292"/>
                <a:gd name="connsiteX4" fmla="*/ 259080 w 540067"/>
                <a:gd name="connsiteY4" fmla="*/ 0 h 435292"/>
                <a:gd name="connsiteX5" fmla="*/ 63818 w 540067"/>
                <a:gd name="connsiteY5" fmla="*/ 0 h 435292"/>
                <a:gd name="connsiteX6" fmla="*/ 63818 w 540067"/>
                <a:gd name="connsiteY6" fmla="*/ 99060 h 435292"/>
                <a:gd name="connsiteX7" fmla="*/ 259080 w 540067"/>
                <a:gd name="connsiteY7" fmla="*/ 99060 h 435292"/>
                <a:gd name="connsiteX8" fmla="*/ 259080 w 540067"/>
                <a:gd name="connsiteY8" fmla="*/ 197167 h 435292"/>
                <a:gd name="connsiteX9" fmla="*/ 0 w 540067"/>
                <a:gd name="connsiteY9" fmla="*/ 197167 h 435292"/>
                <a:gd name="connsiteX10" fmla="*/ 0 w 540067"/>
                <a:gd name="connsiteY10" fmla="*/ 435292 h 435292"/>
                <a:gd name="connsiteX11" fmla="*/ 505778 w 540067"/>
                <a:gd name="connsiteY11" fmla="*/ 435292 h 435292"/>
                <a:gd name="connsiteX12" fmla="*/ 505778 w 540067"/>
                <a:gd name="connsiteY12" fmla="*/ 197167 h 435292"/>
                <a:gd name="connsiteX13" fmla="*/ 344805 w 540067"/>
                <a:gd name="connsiteY13" fmla="*/ 197167 h 435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40067" h="435292">
                  <a:moveTo>
                    <a:pt x="344805" y="99060"/>
                  </a:moveTo>
                  <a:lnTo>
                    <a:pt x="540068" y="99060"/>
                  </a:lnTo>
                  <a:lnTo>
                    <a:pt x="540068" y="0"/>
                  </a:lnTo>
                  <a:lnTo>
                    <a:pt x="344805" y="0"/>
                  </a:lnTo>
                  <a:lnTo>
                    <a:pt x="259080" y="0"/>
                  </a:lnTo>
                  <a:lnTo>
                    <a:pt x="63818" y="0"/>
                  </a:lnTo>
                  <a:lnTo>
                    <a:pt x="63818" y="99060"/>
                  </a:lnTo>
                  <a:lnTo>
                    <a:pt x="259080" y="99060"/>
                  </a:lnTo>
                  <a:lnTo>
                    <a:pt x="259080" y="197167"/>
                  </a:lnTo>
                  <a:lnTo>
                    <a:pt x="0" y="197167"/>
                  </a:lnTo>
                  <a:lnTo>
                    <a:pt x="0" y="435292"/>
                  </a:lnTo>
                  <a:lnTo>
                    <a:pt x="505778" y="435292"/>
                  </a:lnTo>
                  <a:lnTo>
                    <a:pt x="505778" y="197167"/>
                  </a:lnTo>
                  <a:lnTo>
                    <a:pt x="344805" y="197167"/>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grpSp>
        <p:nvGrpSpPr>
          <p:cNvPr id="31" name="Graphic 1">
            <a:extLst>
              <a:ext uri="{FF2B5EF4-FFF2-40B4-BE49-F238E27FC236}">
                <a16:creationId xmlns:a16="http://schemas.microsoft.com/office/drawing/2014/main" id="{9772C065-F844-4967-BA2D-B7DA04795464}"/>
              </a:ext>
            </a:extLst>
          </p:cNvPr>
          <p:cNvGrpSpPr/>
          <p:nvPr/>
        </p:nvGrpSpPr>
        <p:grpSpPr>
          <a:xfrm>
            <a:off x="6324450" y="5536179"/>
            <a:ext cx="340298" cy="277752"/>
            <a:chOff x="1403984" y="4770119"/>
            <a:chExt cx="917257" cy="748665"/>
          </a:xfrm>
          <a:solidFill>
            <a:schemeClr val="bg2"/>
          </a:solidFill>
        </p:grpSpPr>
        <p:sp>
          <p:nvSpPr>
            <p:cNvPr id="32" name="Freeform: Shape 59">
              <a:extLst>
                <a:ext uri="{FF2B5EF4-FFF2-40B4-BE49-F238E27FC236}">
                  <a16:creationId xmlns:a16="http://schemas.microsoft.com/office/drawing/2014/main" id="{68AB212A-9E3F-473B-8BD8-75DE6F88CA17}"/>
                </a:ext>
              </a:extLst>
            </p:cNvPr>
            <p:cNvSpPr/>
            <p:nvPr/>
          </p:nvSpPr>
          <p:spPr>
            <a:xfrm>
              <a:off x="1957387" y="4770119"/>
              <a:ext cx="363854" cy="734377"/>
            </a:xfrm>
            <a:custGeom>
              <a:avLst/>
              <a:gdLst>
                <a:gd name="connsiteX0" fmla="*/ 103823 w 363854"/>
                <a:gd name="connsiteY0" fmla="*/ 374333 h 734377"/>
                <a:gd name="connsiteX1" fmla="*/ 0 w 363854"/>
                <a:gd name="connsiteY1" fmla="*/ 734378 h 734377"/>
                <a:gd name="connsiteX2" fmla="*/ 363855 w 363854"/>
                <a:gd name="connsiteY2" fmla="*/ 643890 h 734377"/>
                <a:gd name="connsiteX3" fmla="*/ 286703 w 363854"/>
                <a:gd name="connsiteY3" fmla="*/ 563880 h 734377"/>
                <a:gd name="connsiteX4" fmla="*/ 321945 w 363854"/>
                <a:gd name="connsiteY4" fmla="*/ 392430 h 734377"/>
                <a:gd name="connsiteX5" fmla="*/ 75248 w 363854"/>
                <a:gd name="connsiteY5" fmla="*/ 0 h 734377"/>
                <a:gd name="connsiteX6" fmla="*/ 9525 w 363854"/>
                <a:gd name="connsiteY6" fmla="*/ 135255 h 734377"/>
                <a:gd name="connsiteX7" fmla="*/ 171450 w 363854"/>
                <a:gd name="connsiteY7" fmla="*/ 392430 h 734377"/>
                <a:gd name="connsiteX8" fmla="*/ 167640 w 363854"/>
                <a:gd name="connsiteY8" fmla="*/ 440055 h 734377"/>
                <a:gd name="connsiteX9" fmla="*/ 103823 w 363854"/>
                <a:gd name="connsiteY9" fmla="*/ 374333 h 734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3854" h="734377">
                  <a:moveTo>
                    <a:pt x="103823" y="374333"/>
                  </a:moveTo>
                  <a:lnTo>
                    <a:pt x="0" y="734378"/>
                  </a:lnTo>
                  <a:lnTo>
                    <a:pt x="363855" y="643890"/>
                  </a:lnTo>
                  <a:lnTo>
                    <a:pt x="286703" y="563880"/>
                  </a:lnTo>
                  <a:cubicBezTo>
                    <a:pt x="309563" y="509588"/>
                    <a:pt x="321945" y="451485"/>
                    <a:pt x="321945" y="392430"/>
                  </a:cubicBezTo>
                  <a:cubicBezTo>
                    <a:pt x="321945" y="225743"/>
                    <a:pt x="224790" y="72390"/>
                    <a:pt x="75248" y="0"/>
                  </a:cubicBezTo>
                  <a:lnTo>
                    <a:pt x="9525" y="135255"/>
                  </a:lnTo>
                  <a:cubicBezTo>
                    <a:pt x="107633" y="182880"/>
                    <a:pt x="171450" y="283845"/>
                    <a:pt x="171450" y="392430"/>
                  </a:cubicBezTo>
                  <a:cubicBezTo>
                    <a:pt x="171450" y="408623"/>
                    <a:pt x="170498" y="424815"/>
                    <a:pt x="167640" y="440055"/>
                  </a:cubicBezTo>
                  <a:lnTo>
                    <a:pt x="103823" y="374333"/>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3" name="Freeform: Shape 60">
              <a:extLst>
                <a:ext uri="{FF2B5EF4-FFF2-40B4-BE49-F238E27FC236}">
                  <a16:creationId xmlns:a16="http://schemas.microsoft.com/office/drawing/2014/main" id="{2960E455-6F2D-495B-91C3-7CE6D4A7017A}"/>
                </a:ext>
              </a:extLst>
            </p:cNvPr>
            <p:cNvSpPr/>
            <p:nvPr/>
          </p:nvSpPr>
          <p:spPr>
            <a:xfrm>
              <a:off x="1403984" y="4784407"/>
              <a:ext cx="363854" cy="734377"/>
            </a:xfrm>
            <a:custGeom>
              <a:avLst/>
              <a:gdLst>
                <a:gd name="connsiteX0" fmla="*/ 260985 w 363854"/>
                <a:gd name="connsiteY0" fmla="*/ 360045 h 734377"/>
                <a:gd name="connsiteX1" fmla="*/ 363855 w 363854"/>
                <a:gd name="connsiteY1" fmla="*/ 0 h 734377"/>
                <a:gd name="connsiteX2" fmla="*/ 0 w 363854"/>
                <a:gd name="connsiteY2" fmla="*/ 90488 h 734377"/>
                <a:gd name="connsiteX3" fmla="*/ 77153 w 363854"/>
                <a:gd name="connsiteY3" fmla="*/ 170498 h 734377"/>
                <a:gd name="connsiteX4" fmla="*/ 41910 w 363854"/>
                <a:gd name="connsiteY4" fmla="*/ 341948 h 734377"/>
                <a:gd name="connsiteX5" fmla="*/ 288608 w 363854"/>
                <a:gd name="connsiteY5" fmla="*/ 734378 h 734377"/>
                <a:gd name="connsiteX6" fmla="*/ 354330 w 363854"/>
                <a:gd name="connsiteY6" fmla="*/ 599123 h 734377"/>
                <a:gd name="connsiteX7" fmla="*/ 192405 w 363854"/>
                <a:gd name="connsiteY7" fmla="*/ 341948 h 734377"/>
                <a:gd name="connsiteX8" fmla="*/ 196215 w 363854"/>
                <a:gd name="connsiteY8" fmla="*/ 294323 h 734377"/>
                <a:gd name="connsiteX9" fmla="*/ 260985 w 363854"/>
                <a:gd name="connsiteY9" fmla="*/ 360045 h 734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3854" h="734377">
                  <a:moveTo>
                    <a:pt x="260985" y="360045"/>
                  </a:moveTo>
                  <a:lnTo>
                    <a:pt x="363855" y="0"/>
                  </a:lnTo>
                  <a:lnTo>
                    <a:pt x="0" y="90488"/>
                  </a:lnTo>
                  <a:lnTo>
                    <a:pt x="77153" y="170498"/>
                  </a:lnTo>
                  <a:cubicBezTo>
                    <a:pt x="54293" y="224790"/>
                    <a:pt x="41910" y="282893"/>
                    <a:pt x="41910" y="341948"/>
                  </a:cubicBezTo>
                  <a:cubicBezTo>
                    <a:pt x="41910" y="508635"/>
                    <a:pt x="139065" y="661988"/>
                    <a:pt x="288608" y="734378"/>
                  </a:cubicBezTo>
                  <a:lnTo>
                    <a:pt x="354330" y="599123"/>
                  </a:lnTo>
                  <a:cubicBezTo>
                    <a:pt x="256222" y="551498"/>
                    <a:pt x="192405" y="450533"/>
                    <a:pt x="192405" y="341948"/>
                  </a:cubicBezTo>
                  <a:cubicBezTo>
                    <a:pt x="192405" y="325755"/>
                    <a:pt x="193358" y="309563"/>
                    <a:pt x="196215" y="294323"/>
                  </a:cubicBezTo>
                  <a:lnTo>
                    <a:pt x="260985" y="360045"/>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grpSp>
        <p:nvGrpSpPr>
          <p:cNvPr id="34" name="Graphic 1">
            <a:extLst>
              <a:ext uri="{FF2B5EF4-FFF2-40B4-BE49-F238E27FC236}">
                <a16:creationId xmlns:a16="http://schemas.microsoft.com/office/drawing/2014/main" id="{5C372164-9B4B-46D7-A172-17798CCF3F7D}"/>
              </a:ext>
            </a:extLst>
          </p:cNvPr>
          <p:cNvGrpSpPr/>
          <p:nvPr/>
        </p:nvGrpSpPr>
        <p:grpSpPr>
          <a:xfrm>
            <a:off x="6529193" y="4383022"/>
            <a:ext cx="375656" cy="376032"/>
            <a:chOff x="3504247" y="1264920"/>
            <a:chExt cx="951547" cy="952500"/>
          </a:xfrm>
          <a:solidFill>
            <a:schemeClr val="bg2"/>
          </a:solidFill>
        </p:grpSpPr>
        <p:sp>
          <p:nvSpPr>
            <p:cNvPr id="35" name="Freeform: Shape 62">
              <a:extLst>
                <a:ext uri="{FF2B5EF4-FFF2-40B4-BE49-F238E27FC236}">
                  <a16:creationId xmlns:a16="http://schemas.microsoft.com/office/drawing/2014/main" id="{008977D1-0020-42BA-B369-709B51EFFCBE}"/>
                </a:ext>
              </a:extLst>
            </p:cNvPr>
            <p:cNvSpPr/>
            <p:nvPr/>
          </p:nvSpPr>
          <p:spPr>
            <a:xfrm>
              <a:off x="3643311" y="1403985"/>
              <a:ext cx="674369" cy="674369"/>
            </a:xfrm>
            <a:custGeom>
              <a:avLst/>
              <a:gdLst>
                <a:gd name="connsiteX0" fmla="*/ 674370 w 674369"/>
                <a:gd name="connsiteY0" fmla="*/ 337185 h 674369"/>
                <a:gd name="connsiteX1" fmla="*/ 337185 w 674369"/>
                <a:gd name="connsiteY1" fmla="*/ 674370 h 674369"/>
                <a:gd name="connsiteX2" fmla="*/ 0 w 674369"/>
                <a:gd name="connsiteY2" fmla="*/ 337185 h 674369"/>
                <a:gd name="connsiteX3" fmla="*/ 337185 w 674369"/>
                <a:gd name="connsiteY3" fmla="*/ 0 h 674369"/>
                <a:gd name="connsiteX4" fmla="*/ 674370 w 674369"/>
                <a:gd name="connsiteY4" fmla="*/ 337185 h 6743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4369" h="674369">
                  <a:moveTo>
                    <a:pt x="674370" y="337185"/>
                  </a:moveTo>
                  <a:cubicBezTo>
                    <a:pt x="674370" y="523407"/>
                    <a:pt x="523407" y="674370"/>
                    <a:pt x="337185" y="674370"/>
                  </a:cubicBezTo>
                  <a:cubicBezTo>
                    <a:pt x="150963" y="674370"/>
                    <a:pt x="0" y="523407"/>
                    <a:pt x="0" y="337185"/>
                  </a:cubicBezTo>
                  <a:cubicBezTo>
                    <a:pt x="0" y="150963"/>
                    <a:pt x="150963" y="0"/>
                    <a:pt x="337185" y="0"/>
                  </a:cubicBezTo>
                  <a:cubicBezTo>
                    <a:pt x="523407" y="0"/>
                    <a:pt x="674370" y="150963"/>
                    <a:pt x="674370" y="337185"/>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6" name="Freeform: Shape 63">
              <a:extLst>
                <a:ext uri="{FF2B5EF4-FFF2-40B4-BE49-F238E27FC236}">
                  <a16:creationId xmlns:a16="http://schemas.microsoft.com/office/drawing/2014/main" id="{B5F2DF72-9408-4AB0-8EF1-4B6B564EA2D7}"/>
                </a:ext>
              </a:extLst>
            </p:cNvPr>
            <p:cNvSpPr/>
            <p:nvPr/>
          </p:nvSpPr>
          <p:spPr>
            <a:xfrm>
              <a:off x="3956684" y="1264920"/>
              <a:ext cx="47625" cy="75247"/>
            </a:xfrm>
            <a:custGeom>
              <a:avLst/>
              <a:gdLst>
                <a:gd name="connsiteX0" fmla="*/ 0 w 47625"/>
                <a:gd name="connsiteY0" fmla="*/ 0 h 75247"/>
                <a:gd name="connsiteX1" fmla="*/ 47625 w 47625"/>
                <a:gd name="connsiteY1" fmla="*/ 0 h 75247"/>
                <a:gd name="connsiteX2" fmla="*/ 47625 w 47625"/>
                <a:gd name="connsiteY2" fmla="*/ 75248 h 75247"/>
                <a:gd name="connsiteX3" fmla="*/ 0 w 47625"/>
                <a:gd name="connsiteY3" fmla="*/ 75248 h 75247"/>
              </a:gdLst>
              <a:ahLst/>
              <a:cxnLst>
                <a:cxn ang="0">
                  <a:pos x="connsiteX0" y="connsiteY0"/>
                </a:cxn>
                <a:cxn ang="0">
                  <a:pos x="connsiteX1" y="connsiteY1"/>
                </a:cxn>
                <a:cxn ang="0">
                  <a:pos x="connsiteX2" y="connsiteY2"/>
                </a:cxn>
                <a:cxn ang="0">
                  <a:pos x="connsiteX3" y="connsiteY3"/>
                </a:cxn>
              </a:cxnLst>
              <a:rect l="l" t="t" r="r" b="b"/>
              <a:pathLst>
                <a:path w="47625" h="75247">
                  <a:moveTo>
                    <a:pt x="0" y="0"/>
                  </a:moveTo>
                  <a:lnTo>
                    <a:pt x="47625" y="0"/>
                  </a:lnTo>
                  <a:lnTo>
                    <a:pt x="47625" y="75248"/>
                  </a:lnTo>
                  <a:lnTo>
                    <a:pt x="0" y="75248"/>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7" name="Freeform: Shape 64">
              <a:extLst>
                <a:ext uri="{FF2B5EF4-FFF2-40B4-BE49-F238E27FC236}">
                  <a16:creationId xmlns:a16="http://schemas.microsoft.com/office/drawing/2014/main" id="{FF023561-9DA7-4845-8154-321820B84A5D}"/>
                </a:ext>
              </a:extLst>
            </p:cNvPr>
            <p:cNvSpPr/>
            <p:nvPr/>
          </p:nvSpPr>
          <p:spPr>
            <a:xfrm rot="-2700000">
              <a:off x="3646166" y="1393671"/>
              <a:ext cx="47624" cy="75246"/>
            </a:xfrm>
            <a:custGeom>
              <a:avLst/>
              <a:gdLst>
                <a:gd name="connsiteX0" fmla="*/ 0 w 47624"/>
                <a:gd name="connsiteY0" fmla="*/ 0 h 75246"/>
                <a:gd name="connsiteX1" fmla="*/ 47625 w 47624"/>
                <a:gd name="connsiteY1" fmla="*/ 0 h 75246"/>
                <a:gd name="connsiteX2" fmla="*/ 47625 w 47624"/>
                <a:gd name="connsiteY2" fmla="*/ 75247 h 75246"/>
                <a:gd name="connsiteX3" fmla="*/ 0 w 47624"/>
                <a:gd name="connsiteY3" fmla="*/ 75247 h 75246"/>
              </a:gdLst>
              <a:ahLst/>
              <a:cxnLst>
                <a:cxn ang="0">
                  <a:pos x="connsiteX0" y="connsiteY0"/>
                </a:cxn>
                <a:cxn ang="0">
                  <a:pos x="connsiteX1" y="connsiteY1"/>
                </a:cxn>
                <a:cxn ang="0">
                  <a:pos x="connsiteX2" y="connsiteY2"/>
                </a:cxn>
                <a:cxn ang="0">
                  <a:pos x="connsiteX3" y="connsiteY3"/>
                </a:cxn>
              </a:cxnLst>
              <a:rect l="l" t="t" r="r" b="b"/>
              <a:pathLst>
                <a:path w="47624" h="75246">
                  <a:moveTo>
                    <a:pt x="0" y="0"/>
                  </a:moveTo>
                  <a:lnTo>
                    <a:pt x="47625" y="0"/>
                  </a:lnTo>
                  <a:lnTo>
                    <a:pt x="47625" y="75247"/>
                  </a:lnTo>
                  <a:lnTo>
                    <a:pt x="0" y="75247"/>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8" name="Freeform: Shape 65">
              <a:extLst>
                <a:ext uri="{FF2B5EF4-FFF2-40B4-BE49-F238E27FC236}">
                  <a16:creationId xmlns:a16="http://schemas.microsoft.com/office/drawing/2014/main" id="{026A064F-EA99-4B65-8C9C-6EEC629694A7}"/>
                </a:ext>
              </a:extLst>
            </p:cNvPr>
            <p:cNvSpPr/>
            <p:nvPr/>
          </p:nvSpPr>
          <p:spPr>
            <a:xfrm>
              <a:off x="3504247" y="1717357"/>
              <a:ext cx="75247" cy="47625"/>
            </a:xfrm>
            <a:custGeom>
              <a:avLst/>
              <a:gdLst>
                <a:gd name="connsiteX0" fmla="*/ 0 w 75247"/>
                <a:gd name="connsiteY0" fmla="*/ 0 h 47625"/>
                <a:gd name="connsiteX1" fmla="*/ 75247 w 75247"/>
                <a:gd name="connsiteY1" fmla="*/ 0 h 47625"/>
                <a:gd name="connsiteX2" fmla="*/ 75247 w 75247"/>
                <a:gd name="connsiteY2" fmla="*/ 47625 h 47625"/>
                <a:gd name="connsiteX3" fmla="*/ 0 w 75247"/>
                <a:gd name="connsiteY3" fmla="*/ 47625 h 47625"/>
              </a:gdLst>
              <a:ahLst/>
              <a:cxnLst>
                <a:cxn ang="0">
                  <a:pos x="connsiteX0" y="connsiteY0"/>
                </a:cxn>
                <a:cxn ang="0">
                  <a:pos x="connsiteX1" y="connsiteY1"/>
                </a:cxn>
                <a:cxn ang="0">
                  <a:pos x="connsiteX2" y="connsiteY2"/>
                </a:cxn>
                <a:cxn ang="0">
                  <a:pos x="connsiteX3" y="connsiteY3"/>
                </a:cxn>
              </a:cxnLst>
              <a:rect l="l" t="t" r="r" b="b"/>
              <a:pathLst>
                <a:path w="75247" h="47625">
                  <a:moveTo>
                    <a:pt x="0" y="0"/>
                  </a:moveTo>
                  <a:lnTo>
                    <a:pt x="75247" y="0"/>
                  </a:lnTo>
                  <a:lnTo>
                    <a:pt x="75247" y="47625"/>
                  </a:lnTo>
                  <a:lnTo>
                    <a:pt x="0" y="47625"/>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9" name="Freeform: Shape 66">
              <a:extLst>
                <a:ext uri="{FF2B5EF4-FFF2-40B4-BE49-F238E27FC236}">
                  <a16:creationId xmlns:a16="http://schemas.microsoft.com/office/drawing/2014/main" id="{E311E73B-030E-410D-B0E2-65693E18F7EC}"/>
                </a:ext>
              </a:extLst>
            </p:cNvPr>
            <p:cNvSpPr/>
            <p:nvPr/>
          </p:nvSpPr>
          <p:spPr>
            <a:xfrm rot="-2700000">
              <a:off x="3632314" y="2028140"/>
              <a:ext cx="75246" cy="47624"/>
            </a:xfrm>
            <a:custGeom>
              <a:avLst/>
              <a:gdLst>
                <a:gd name="connsiteX0" fmla="*/ 0 w 75246"/>
                <a:gd name="connsiteY0" fmla="*/ 0 h 47624"/>
                <a:gd name="connsiteX1" fmla="*/ 75247 w 75246"/>
                <a:gd name="connsiteY1" fmla="*/ 0 h 47624"/>
                <a:gd name="connsiteX2" fmla="*/ 75247 w 75246"/>
                <a:gd name="connsiteY2" fmla="*/ 47625 h 47624"/>
                <a:gd name="connsiteX3" fmla="*/ 0 w 75246"/>
                <a:gd name="connsiteY3" fmla="*/ 47625 h 47624"/>
              </a:gdLst>
              <a:ahLst/>
              <a:cxnLst>
                <a:cxn ang="0">
                  <a:pos x="connsiteX0" y="connsiteY0"/>
                </a:cxn>
                <a:cxn ang="0">
                  <a:pos x="connsiteX1" y="connsiteY1"/>
                </a:cxn>
                <a:cxn ang="0">
                  <a:pos x="connsiteX2" y="connsiteY2"/>
                </a:cxn>
                <a:cxn ang="0">
                  <a:pos x="connsiteX3" y="connsiteY3"/>
                </a:cxn>
              </a:cxnLst>
              <a:rect l="l" t="t" r="r" b="b"/>
              <a:pathLst>
                <a:path w="75246" h="47624">
                  <a:moveTo>
                    <a:pt x="0" y="0"/>
                  </a:moveTo>
                  <a:lnTo>
                    <a:pt x="75247" y="0"/>
                  </a:lnTo>
                  <a:lnTo>
                    <a:pt x="75247" y="47625"/>
                  </a:lnTo>
                  <a:lnTo>
                    <a:pt x="0" y="47625"/>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40" name="Freeform: Shape 67">
              <a:extLst>
                <a:ext uri="{FF2B5EF4-FFF2-40B4-BE49-F238E27FC236}">
                  <a16:creationId xmlns:a16="http://schemas.microsoft.com/office/drawing/2014/main" id="{C58BC333-572B-4B96-9602-D3A0C70BF72D}"/>
                </a:ext>
              </a:extLst>
            </p:cNvPr>
            <p:cNvSpPr/>
            <p:nvPr/>
          </p:nvSpPr>
          <p:spPr>
            <a:xfrm>
              <a:off x="3956684" y="2142172"/>
              <a:ext cx="47625" cy="75247"/>
            </a:xfrm>
            <a:custGeom>
              <a:avLst/>
              <a:gdLst>
                <a:gd name="connsiteX0" fmla="*/ 0 w 47625"/>
                <a:gd name="connsiteY0" fmla="*/ 0 h 75247"/>
                <a:gd name="connsiteX1" fmla="*/ 47625 w 47625"/>
                <a:gd name="connsiteY1" fmla="*/ 0 h 75247"/>
                <a:gd name="connsiteX2" fmla="*/ 47625 w 47625"/>
                <a:gd name="connsiteY2" fmla="*/ 75248 h 75247"/>
                <a:gd name="connsiteX3" fmla="*/ 0 w 47625"/>
                <a:gd name="connsiteY3" fmla="*/ 75248 h 75247"/>
              </a:gdLst>
              <a:ahLst/>
              <a:cxnLst>
                <a:cxn ang="0">
                  <a:pos x="connsiteX0" y="connsiteY0"/>
                </a:cxn>
                <a:cxn ang="0">
                  <a:pos x="connsiteX1" y="connsiteY1"/>
                </a:cxn>
                <a:cxn ang="0">
                  <a:pos x="connsiteX2" y="connsiteY2"/>
                </a:cxn>
                <a:cxn ang="0">
                  <a:pos x="connsiteX3" y="connsiteY3"/>
                </a:cxn>
              </a:cxnLst>
              <a:rect l="l" t="t" r="r" b="b"/>
              <a:pathLst>
                <a:path w="47625" h="75247">
                  <a:moveTo>
                    <a:pt x="0" y="0"/>
                  </a:moveTo>
                  <a:lnTo>
                    <a:pt x="47625" y="0"/>
                  </a:lnTo>
                  <a:lnTo>
                    <a:pt x="47625" y="75248"/>
                  </a:lnTo>
                  <a:lnTo>
                    <a:pt x="0" y="75248"/>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41" name="Freeform: Shape 68">
              <a:extLst>
                <a:ext uri="{FF2B5EF4-FFF2-40B4-BE49-F238E27FC236}">
                  <a16:creationId xmlns:a16="http://schemas.microsoft.com/office/drawing/2014/main" id="{30A31D0B-49BE-4ECE-B10E-6EDAFEE875F1}"/>
                </a:ext>
              </a:extLst>
            </p:cNvPr>
            <p:cNvSpPr/>
            <p:nvPr/>
          </p:nvSpPr>
          <p:spPr>
            <a:xfrm rot="-2699514">
              <a:off x="4266268" y="2013785"/>
              <a:ext cx="47624" cy="75246"/>
            </a:xfrm>
            <a:custGeom>
              <a:avLst/>
              <a:gdLst>
                <a:gd name="connsiteX0" fmla="*/ 0 w 47624"/>
                <a:gd name="connsiteY0" fmla="*/ 0 h 75246"/>
                <a:gd name="connsiteX1" fmla="*/ 47624 w 47624"/>
                <a:gd name="connsiteY1" fmla="*/ 0 h 75246"/>
                <a:gd name="connsiteX2" fmla="*/ 47624 w 47624"/>
                <a:gd name="connsiteY2" fmla="*/ 75247 h 75246"/>
                <a:gd name="connsiteX3" fmla="*/ 0 w 47624"/>
                <a:gd name="connsiteY3" fmla="*/ 75247 h 75246"/>
              </a:gdLst>
              <a:ahLst/>
              <a:cxnLst>
                <a:cxn ang="0">
                  <a:pos x="connsiteX0" y="connsiteY0"/>
                </a:cxn>
                <a:cxn ang="0">
                  <a:pos x="connsiteX1" y="connsiteY1"/>
                </a:cxn>
                <a:cxn ang="0">
                  <a:pos x="connsiteX2" y="connsiteY2"/>
                </a:cxn>
                <a:cxn ang="0">
                  <a:pos x="connsiteX3" y="connsiteY3"/>
                </a:cxn>
              </a:cxnLst>
              <a:rect l="l" t="t" r="r" b="b"/>
              <a:pathLst>
                <a:path w="47624" h="75246">
                  <a:moveTo>
                    <a:pt x="0" y="0"/>
                  </a:moveTo>
                  <a:lnTo>
                    <a:pt x="47624" y="0"/>
                  </a:lnTo>
                  <a:lnTo>
                    <a:pt x="47624" y="75247"/>
                  </a:lnTo>
                  <a:lnTo>
                    <a:pt x="0" y="75247"/>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42" name="Freeform: Shape 69">
              <a:extLst>
                <a:ext uri="{FF2B5EF4-FFF2-40B4-BE49-F238E27FC236}">
                  <a16:creationId xmlns:a16="http://schemas.microsoft.com/office/drawing/2014/main" id="{99C9BC1E-7A56-4EFC-A070-2E6DF0F807BC}"/>
                </a:ext>
              </a:extLst>
            </p:cNvPr>
            <p:cNvSpPr/>
            <p:nvPr/>
          </p:nvSpPr>
          <p:spPr>
            <a:xfrm>
              <a:off x="4380547" y="1717357"/>
              <a:ext cx="75247" cy="47625"/>
            </a:xfrm>
            <a:custGeom>
              <a:avLst/>
              <a:gdLst>
                <a:gd name="connsiteX0" fmla="*/ 0 w 75247"/>
                <a:gd name="connsiteY0" fmla="*/ 0 h 47625"/>
                <a:gd name="connsiteX1" fmla="*/ 75247 w 75247"/>
                <a:gd name="connsiteY1" fmla="*/ 0 h 47625"/>
                <a:gd name="connsiteX2" fmla="*/ 75247 w 75247"/>
                <a:gd name="connsiteY2" fmla="*/ 47625 h 47625"/>
                <a:gd name="connsiteX3" fmla="*/ 0 w 75247"/>
                <a:gd name="connsiteY3" fmla="*/ 47625 h 47625"/>
              </a:gdLst>
              <a:ahLst/>
              <a:cxnLst>
                <a:cxn ang="0">
                  <a:pos x="connsiteX0" y="connsiteY0"/>
                </a:cxn>
                <a:cxn ang="0">
                  <a:pos x="connsiteX1" y="connsiteY1"/>
                </a:cxn>
                <a:cxn ang="0">
                  <a:pos x="connsiteX2" y="connsiteY2"/>
                </a:cxn>
                <a:cxn ang="0">
                  <a:pos x="connsiteX3" y="connsiteY3"/>
                </a:cxn>
              </a:cxnLst>
              <a:rect l="l" t="t" r="r" b="b"/>
              <a:pathLst>
                <a:path w="75247" h="47625">
                  <a:moveTo>
                    <a:pt x="0" y="0"/>
                  </a:moveTo>
                  <a:lnTo>
                    <a:pt x="75247" y="0"/>
                  </a:lnTo>
                  <a:lnTo>
                    <a:pt x="75247" y="47625"/>
                  </a:lnTo>
                  <a:lnTo>
                    <a:pt x="0" y="47625"/>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43" name="Freeform: Shape 70">
              <a:extLst>
                <a:ext uri="{FF2B5EF4-FFF2-40B4-BE49-F238E27FC236}">
                  <a16:creationId xmlns:a16="http://schemas.microsoft.com/office/drawing/2014/main" id="{1B44A156-A4A6-4EBF-A001-DF7CF5FAD12A}"/>
                </a:ext>
              </a:extLst>
            </p:cNvPr>
            <p:cNvSpPr/>
            <p:nvPr/>
          </p:nvSpPr>
          <p:spPr>
            <a:xfrm rot="-2700000">
              <a:off x="4252353" y="1408059"/>
              <a:ext cx="75246" cy="47624"/>
            </a:xfrm>
            <a:custGeom>
              <a:avLst/>
              <a:gdLst>
                <a:gd name="connsiteX0" fmla="*/ 0 w 75246"/>
                <a:gd name="connsiteY0" fmla="*/ 0 h 47624"/>
                <a:gd name="connsiteX1" fmla="*/ 75247 w 75246"/>
                <a:gd name="connsiteY1" fmla="*/ 0 h 47624"/>
                <a:gd name="connsiteX2" fmla="*/ 75247 w 75246"/>
                <a:gd name="connsiteY2" fmla="*/ 47625 h 47624"/>
                <a:gd name="connsiteX3" fmla="*/ 0 w 75246"/>
                <a:gd name="connsiteY3" fmla="*/ 47625 h 47624"/>
              </a:gdLst>
              <a:ahLst/>
              <a:cxnLst>
                <a:cxn ang="0">
                  <a:pos x="connsiteX0" y="connsiteY0"/>
                </a:cxn>
                <a:cxn ang="0">
                  <a:pos x="connsiteX1" y="connsiteY1"/>
                </a:cxn>
                <a:cxn ang="0">
                  <a:pos x="connsiteX2" y="connsiteY2"/>
                </a:cxn>
                <a:cxn ang="0">
                  <a:pos x="connsiteX3" y="connsiteY3"/>
                </a:cxn>
              </a:cxnLst>
              <a:rect l="l" t="t" r="r" b="b"/>
              <a:pathLst>
                <a:path w="75246" h="47624">
                  <a:moveTo>
                    <a:pt x="0" y="0"/>
                  </a:moveTo>
                  <a:lnTo>
                    <a:pt x="75247" y="0"/>
                  </a:lnTo>
                  <a:lnTo>
                    <a:pt x="75247" y="47625"/>
                  </a:lnTo>
                  <a:lnTo>
                    <a:pt x="0" y="47625"/>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grpSp>
        <p:nvGrpSpPr>
          <p:cNvPr id="44" name="Graphic 1">
            <a:extLst>
              <a:ext uri="{FF2B5EF4-FFF2-40B4-BE49-F238E27FC236}">
                <a16:creationId xmlns:a16="http://schemas.microsoft.com/office/drawing/2014/main" id="{1772797F-A2AA-4CFD-83EC-434DAB48F7E0}"/>
              </a:ext>
            </a:extLst>
          </p:cNvPr>
          <p:cNvGrpSpPr/>
          <p:nvPr/>
        </p:nvGrpSpPr>
        <p:grpSpPr>
          <a:xfrm>
            <a:off x="6350655" y="2403601"/>
            <a:ext cx="309140" cy="309948"/>
            <a:chOff x="8959214" y="2548890"/>
            <a:chExt cx="727710" cy="729614"/>
          </a:xfrm>
          <a:solidFill>
            <a:schemeClr val="bg2"/>
          </a:solidFill>
        </p:grpSpPr>
        <p:sp>
          <p:nvSpPr>
            <p:cNvPr id="45" name="Freeform: Shape 72">
              <a:extLst>
                <a:ext uri="{FF2B5EF4-FFF2-40B4-BE49-F238E27FC236}">
                  <a16:creationId xmlns:a16="http://schemas.microsoft.com/office/drawing/2014/main" id="{CB9D5889-1C8A-432D-8054-11046F24C8EC}"/>
                </a:ext>
              </a:extLst>
            </p:cNvPr>
            <p:cNvSpPr/>
            <p:nvPr/>
          </p:nvSpPr>
          <p:spPr>
            <a:xfrm>
              <a:off x="8959214" y="3156584"/>
              <a:ext cx="120967" cy="121920"/>
            </a:xfrm>
            <a:custGeom>
              <a:avLst/>
              <a:gdLst>
                <a:gd name="connsiteX0" fmla="*/ 120968 w 120967"/>
                <a:gd name="connsiteY0" fmla="*/ 33338 h 121920"/>
                <a:gd name="connsiteX1" fmla="*/ 33338 w 120967"/>
                <a:gd name="connsiteY1" fmla="*/ 121920 h 121920"/>
                <a:gd name="connsiteX2" fmla="*/ 0 w 120967"/>
                <a:gd name="connsiteY2" fmla="*/ 88583 h 121920"/>
                <a:gd name="connsiteX3" fmla="*/ 87630 w 120967"/>
                <a:gd name="connsiteY3" fmla="*/ 0 h 121920"/>
                <a:gd name="connsiteX4" fmla="*/ 103823 w 120967"/>
                <a:gd name="connsiteY4" fmla="*/ 18098 h 121920"/>
                <a:gd name="connsiteX5" fmla="*/ 120968 w 120967"/>
                <a:gd name="connsiteY5" fmla="*/ 33338 h 121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0967" h="121920">
                  <a:moveTo>
                    <a:pt x="120968" y="33338"/>
                  </a:moveTo>
                  <a:lnTo>
                    <a:pt x="33338" y="121920"/>
                  </a:lnTo>
                  <a:lnTo>
                    <a:pt x="0" y="88583"/>
                  </a:lnTo>
                  <a:lnTo>
                    <a:pt x="87630" y="0"/>
                  </a:lnTo>
                  <a:cubicBezTo>
                    <a:pt x="92393" y="5715"/>
                    <a:pt x="98108" y="12383"/>
                    <a:pt x="103823" y="18098"/>
                  </a:cubicBezTo>
                  <a:cubicBezTo>
                    <a:pt x="109538" y="22860"/>
                    <a:pt x="115253" y="27623"/>
                    <a:pt x="120968" y="3333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nvGrpSpPr>
            <p:cNvPr id="46" name="Graphic 1">
              <a:extLst>
                <a:ext uri="{FF2B5EF4-FFF2-40B4-BE49-F238E27FC236}">
                  <a16:creationId xmlns:a16="http://schemas.microsoft.com/office/drawing/2014/main" id="{F5751E9E-245C-48AB-BD1A-FD03BA0BA680}"/>
                </a:ext>
              </a:extLst>
            </p:cNvPr>
            <p:cNvGrpSpPr/>
            <p:nvPr/>
          </p:nvGrpSpPr>
          <p:grpSpPr>
            <a:xfrm>
              <a:off x="8971174" y="2548890"/>
              <a:ext cx="715750" cy="716279"/>
              <a:chOff x="8971174" y="2548890"/>
              <a:chExt cx="715750" cy="716279"/>
            </a:xfrm>
            <a:grpFill/>
          </p:grpSpPr>
          <p:sp>
            <p:nvSpPr>
              <p:cNvPr id="47" name="Freeform: Shape 74">
                <a:extLst>
                  <a:ext uri="{FF2B5EF4-FFF2-40B4-BE49-F238E27FC236}">
                    <a16:creationId xmlns:a16="http://schemas.microsoft.com/office/drawing/2014/main" id="{7BEF057C-2B29-4A92-AEAF-EF4FC31DA24B}"/>
                  </a:ext>
                </a:extLst>
              </p:cNvPr>
              <p:cNvSpPr/>
              <p:nvPr/>
            </p:nvSpPr>
            <p:spPr>
              <a:xfrm>
                <a:off x="8971174" y="2548890"/>
                <a:ext cx="715750" cy="716279"/>
              </a:xfrm>
              <a:custGeom>
                <a:avLst/>
                <a:gdLst>
                  <a:gd name="connsiteX0" fmla="*/ 686223 w 715750"/>
                  <a:gd name="connsiteY0" fmla="*/ 3810 h 716279"/>
                  <a:gd name="connsiteX1" fmla="*/ 91863 w 715750"/>
                  <a:gd name="connsiteY1" fmla="*/ 180975 h 716279"/>
                  <a:gd name="connsiteX2" fmla="*/ 75670 w 715750"/>
                  <a:gd name="connsiteY2" fmla="*/ 606743 h 716279"/>
                  <a:gd name="connsiteX3" fmla="*/ 149965 w 715750"/>
                  <a:gd name="connsiteY3" fmla="*/ 532447 h 716279"/>
                  <a:gd name="connsiteX4" fmla="*/ 183303 w 715750"/>
                  <a:gd name="connsiteY4" fmla="*/ 565785 h 716279"/>
                  <a:gd name="connsiteX5" fmla="*/ 109008 w 715750"/>
                  <a:gd name="connsiteY5" fmla="*/ 640080 h 716279"/>
                  <a:gd name="connsiteX6" fmla="*/ 313795 w 715750"/>
                  <a:gd name="connsiteY6" fmla="*/ 716280 h 716279"/>
                  <a:gd name="connsiteX7" fmla="*/ 535728 w 715750"/>
                  <a:gd name="connsiteY7" fmla="*/ 624840 h 716279"/>
                  <a:gd name="connsiteX8" fmla="*/ 711940 w 715750"/>
                  <a:gd name="connsiteY8" fmla="*/ 30480 h 716279"/>
                  <a:gd name="connsiteX9" fmla="*/ 715750 w 715750"/>
                  <a:gd name="connsiteY9" fmla="*/ 0 h 716279"/>
                  <a:gd name="connsiteX10" fmla="*/ 686223 w 715750"/>
                  <a:gd name="connsiteY10" fmla="*/ 3810 h 716279"/>
                  <a:gd name="connsiteX11" fmla="*/ 390948 w 715750"/>
                  <a:gd name="connsiteY11" fmla="*/ 454342 h 716279"/>
                  <a:gd name="connsiteX12" fmla="*/ 303318 w 715750"/>
                  <a:gd name="connsiteY12" fmla="*/ 488632 h 716279"/>
                  <a:gd name="connsiteX13" fmla="*/ 215688 w 715750"/>
                  <a:gd name="connsiteY13" fmla="*/ 455295 h 716279"/>
                  <a:gd name="connsiteX14" fmla="*/ 183303 w 715750"/>
                  <a:gd name="connsiteY14" fmla="*/ 362902 h 716279"/>
                  <a:gd name="connsiteX15" fmla="*/ 194733 w 715750"/>
                  <a:gd name="connsiteY15" fmla="*/ 299085 h 716279"/>
                  <a:gd name="connsiteX16" fmla="*/ 217593 w 715750"/>
                  <a:gd name="connsiteY16" fmla="*/ 264795 h 716279"/>
                  <a:gd name="connsiteX17" fmla="*/ 249978 w 715750"/>
                  <a:gd name="connsiteY17" fmla="*/ 242888 h 716279"/>
                  <a:gd name="connsiteX18" fmla="*/ 303318 w 715750"/>
                  <a:gd name="connsiteY18" fmla="*/ 233363 h 716279"/>
                  <a:gd name="connsiteX19" fmla="*/ 390948 w 715750"/>
                  <a:gd name="connsiteY19" fmla="*/ 267652 h 716279"/>
                  <a:gd name="connsiteX20" fmla="*/ 424286 w 715750"/>
                  <a:gd name="connsiteY20" fmla="*/ 361950 h 716279"/>
                  <a:gd name="connsiteX21" fmla="*/ 390948 w 715750"/>
                  <a:gd name="connsiteY21" fmla="*/ 454342 h 716279"/>
                  <a:gd name="connsiteX22" fmla="*/ 500486 w 715750"/>
                  <a:gd name="connsiteY22" fmla="*/ 500063 h 716279"/>
                  <a:gd name="connsiteX23" fmla="*/ 500486 w 715750"/>
                  <a:gd name="connsiteY23" fmla="*/ 516255 h 716279"/>
                  <a:gd name="connsiteX24" fmla="*/ 439525 w 715750"/>
                  <a:gd name="connsiteY24" fmla="*/ 516255 h 716279"/>
                  <a:gd name="connsiteX25" fmla="*/ 445240 w 715750"/>
                  <a:gd name="connsiteY25" fmla="*/ 499110 h 716279"/>
                  <a:gd name="connsiteX26" fmla="*/ 465243 w 715750"/>
                  <a:gd name="connsiteY26" fmla="*/ 477202 h 716279"/>
                  <a:gd name="connsiteX27" fmla="*/ 479530 w 715750"/>
                  <a:gd name="connsiteY27" fmla="*/ 461963 h 716279"/>
                  <a:gd name="connsiteX28" fmla="*/ 483340 w 715750"/>
                  <a:gd name="connsiteY28" fmla="*/ 451485 h 716279"/>
                  <a:gd name="connsiteX29" fmla="*/ 480483 w 715750"/>
                  <a:gd name="connsiteY29" fmla="*/ 442913 h 716279"/>
                  <a:gd name="connsiteX30" fmla="*/ 471911 w 715750"/>
                  <a:gd name="connsiteY30" fmla="*/ 440055 h 716279"/>
                  <a:gd name="connsiteX31" fmla="*/ 463338 w 715750"/>
                  <a:gd name="connsiteY31" fmla="*/ 442913 h 716279"/>
                  <a:gd name="connsiteX32" fmla="*/ 459528 w 715750"/>
                  <a:gd name="connsiteY32" fmla="*/ 454342 h 716279"/>
                  <a:gd name="connsiteX33" fmla="*/ 442383 w 715750"/>
                  <a:gd name="connsiteY33" fmla="*/ 452438 h 716279"/>
                  <a:gd name="connsiteX34" fmla="*/ 451908 w 715750"/>
                  <a:gd name="connsiteY34" fmla="*/ 431482 h 716279"/>
                  <a:gd name="connsiteX35" fmla="*/ 472863 w 715750"/>
                  <a:gd name="connsiteY35" fmla="*/ 424815 h 716279"/>
                  <a:gd name="connsiteX36" fmla="*/ 493818 w 715750"/>
                  <a:gd name="connsiteY36" fmla="*/ 432435 h 716279"/>
                  <a:gd name="connsiteX37" fmla="*/ 501438 w 715750"/>
                  <a:gd name="connsiteY37" fmla="*/ 450532 h 716279"/>
                  <a:gd name="connsiteX38" fmla="*/ 499533 w 715750"/>
                  <a:gd name="connsiteY38" fmla="*/ 461963 h 716279"/>
                  <a:gd name="connsiteX39" fmla="*/ 492865 w 715750"/>
                  <a:gd name="connsiteY39" fmla="*/ 473392 h 716279"/>
                  <a:gd name="connsiteX40" fmla="*/ 481436 w 715750"/>
                  <a:gd name="connsiteY40" fmla="*/ 484822 h 716279"/>
                  <a:gd name="connsiteX41" fmla="*/ 470958 w 715750"/>
                  <a:gd name="connsiteY41" fmla="*/ 495300 h 716279"/>
                  <a:gd name="connsiteX42" fmla="*/ 467148 w 715750"/>
                  <a:gd name="connsiteY42" fmla="*/ 500063 h 716279"/>
                  <a:gd name="connsiteX43" fmla="*/ 500486 w 715750"/>
                  <a:gd name="connsiteY43" fmla="*/ 500063 h 716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715750" h="716279">
                    <a:moveTo>
                      <a:pt x="686223" y="3810"/>
                    </a:moveTo>
                    <a:cubicBezTo>
                      <a:pt x="667173" y="6667"/>
                      <a:pt x="209973" y="62865"/>
                      <a:pt x="91863" y="180975"/>
                    </a:cubicBezTo>
                    <a:cubicBezTo>
                      <a:pt x="-25295" y="297180"/>
                      <a:pt x="-30057" y="483870"/>
                      <a:pt x="75670" y="606743"/>
                    </a:cubicBezTo>
                    <a:lnTo>
                      <a:pt x="149965" y="532447"/>
                    </a:lnTo>
                    <a:lnTo>
                      <a:pt x="183303" y="565785"/>
                    </a:lnTo>
                    <a:lnTo>
                      <a:pt x="109008" y="640080"/>
                    </a:lnTo>
                    <a:cubicBezTo>
                      <a:pt x="168063" y="690563"/>
                      <a:pt x="240453" y="716280"/>
                      <a:pt x="313795" y="716280"/>
                    </a:cubicBezTo>
                    <a:cubicBezTo>
                      <a:pt x="393805" y="716280"/>
                      <a:pt x="474768" y="685800"/>
                      <a:pt x="535728" y="624840"/>
                    </a:cubicBezTo>
                    <a:cubicBezTo>
                      <a:pt x="653838" y="506730"/>
                      <a:pt x="710036" y="50482"/>
                      <a:pt x="711940" y="30480"/>
                    </a:cubicBezTo>
                    <a:lnTo>
                      <a:pt x="715750" y="0"/>
                    </a:lnTo>
                    <a:lnTo>
                      <a:pt x="686223" y="3810"/>
                    </a:lnTo>
                    <a:close/>
                    <a:moveTo>
                      <a:pt x="390948" y="454342"/>
                    </a:moveTo>
                    <a:cubicBezTo>
                      <a:pt x="369040" y="477202"/>
                      <a:pt x="340465" y="488632"/>
                      <a:pt x="303318" y="488632"/>
                    </a:cubicBezTo>
                    <a:cubicBezTo>
                      <a:pt x="266170" y="488632"/>
                      <a:pt x="237595" y="477202"/>
                      <a:pt x="215688" y="455295"/>
                    </a:cubicBezTo>
                    <a:cubicBezTo>
                      <a:pt x="193780" y="432435"/>
                      <a:pt x="183303" y="401955"/>
                      <a:pt x="183303" y="362902"/>
                    </a:cubicBezTo>
                    <a:cubicBezTo>
                      <a:pt x="183303" y="338138"/>
                      <a:pt x="187113" y="316230"/>
                      <a:pt x="194733" y="299085"/>
                    </a:cubicBezTo>
                    <a:cubicBezTo>
                      <a:pt x="200448" y="286702"/>
                      <a:pt x="208068" y="275272"/>
                      <a:pt x="217593" y="264795"/>
                    </a:cubicBezTo>
                    <a:cubicBezTo>
                      <a:pt x="227118" y="254317"/>
                      <a:pt x="237595" y="247650"/>
                      <a:pt x="249978" y="242888"/>
                    </a:cubicBezTo>
                    <a:cubicBezTo>
                      <a:pt x="265218" y="236220"/>
                      <a:pt x="283315" y="233363"/>
                      <a:pt x="303318" y="233363"/>
                    </a:cubicBezTo>
                    <a:cubicBezTo>
                      <a:pt x="339513" y="233363"/>
                      <a:pt x="369040" y="244792"/>
                      <a:pt x="390948" y="267652"/>
                    </a:cubicBezTo>
                    <a:cubicBezTo>
                      <a:pt x="412855" y="290513"/>
                      <a:pt x="424286" y="321945"/>
                      <a:pt x="424286" y="361950"/>
                    </a:cubicBezTo>
                    <a:cubicBezTo>
                      <a:pt x="423333" y="400050"/>
                      <a:pt x="412855" y="431482"/>
                      <a:pt x="390948" y="454342"/>
                    </a:cubicBezTo>
                    <a:close/>
                    <a:moveTo>
                      <a:pt x="500486" y="500063"/>
                    </a:moveTo>
                    <a:lnTo>
                      <a:pt x="500486" y="516255"/>
                    </a:lnTo>
                    <a:lnTo>
                      <a:pt x="439525" y="516255"/>
                    </a:lnTo>
                    <a:cubicBezTo>
                      <a:pt x="440478" y="510540"/>
                      <a:pt x="442383" y="503872"/>
                      <a:pt x="445240" y="499110"/>
                    </a:cubicBezTo>
                    <a:cubicBezTo>
                      <a:pt x="448098" y="493395"/>
                      <a:pt x="454765" y="486727"/>
                      <a:pt x="465243" y="477202"/>
                    </a:cubicBezTo>
                    <a:cubicBezTo>
                      <a:pt x="472863" y="469582"/>
                      <a:pt x="477625" y="464820"/>
                      <a:pt x="479530" y="461963"/>
                    </a:cubicBezTo>
                    <a:cubicBezTo>
                      <a:pt x="482388" y="458152"/>
                      <a:pt x="483340" y="454342"/>
                      <a:pt x="483340" y="451485"/>
                    </a:cubicBezTo>
                    <a:cubicBezTo>
                      <a:pt x="483340" y="447675"/>
                      <a:pt x="482388" y="444817"/>
                      <a:pt x="480483" y="442913"/>
                    </a:cubicBezTo>
                    <a:cubicBezTo>
                      <a:pt x="478578" y="441007"/>
                      <a:pt x="475720" y="440055"/>
                      <a:pt x="471911" y="440055"/>
                    </a:cubicBezTo>
                    <a:cubicBezTo>
                      <a:pt x="468100" y="440055"/>
                      <a:pt x="465243" y="441007"/>
                      <a:pt x="463338" y="442913"/>
                    </a:cubicBezTo>
                    <a:cubicBezTo>
                      <a:pt x="461433" y="444817"/>
                      <a:pt x="459528" y="448627"/>
                      <a:pt x="459528" y="454342"/>
                    </a:cubicBezTo>
                    <a:lnTo>
                      <a:pt x="442383" y="452438"/>
                    </a:lnTo>
                    <a:cubicBezTo>
                      <a:pt x="443336" y="442913"/>
                      <a:pt x="447145" y="436245"/>
                      <a:pt x="451908" y="431482"/>
                    </a:cubicBezTo>
                    <a:cubicBezTo>
                      <a:pt x="456670" y="426720"/>
                      <a:pt x="464290" y="424815"/>
                      <a:pt x="472863" y="424815"/>
                    </a:cubicBezTo>
                    <a:cubicBezTo>
                      <a:pt x="481436" y="424815"/>
                      <a:pt x="489055" y="427672"/>
                      <a:pt x="493818" y="432435"/>
                    </a:cubicBezTo>
                    <a:cubicBezTo>
                      <a:pt x="498580" y="437197"/>
                      <a:pt x="501438" y="442913"/>
                      <a:pt x="501438" y="450532"/>
                    </a:cubicBezTo>
                    <a:cubicBezTo>
                      <a:pt x="501438" y="454342"/>
                      <a:pt x="500486" y="458152"/>
                      <a:pt x="499533" y="461963"/>
                    </a:cubicBezTo>
                    <a:cubicBezTo>
                      <a:pt x="497628" y="465772"/>
                      <a:pt x="495723" y="469582"/>
                      <a:pt x="492865" y="473392"/>
                    </a:cubicBezTo>
                    <a:cubicBezTo>
                      <a:pt x="490961" y="476250"/>
                      <a:pt x="487150" y="480060"/>
                      <a:pt x="481436" y="484822"/>
                    </a:cubicBezTo>
                    <a:cubicBezTo>
                      <a:pt x="475720" y="489585"/>
                      <a:pt x="472863" y="493395"/>
                      <a:pt x="470958" y="495300"/>
                    </a:cubicBezTo>
                    <a:cubicBezTo>
                      <a:pt x="469053" y="497205"/>
                      <a:pt x="468100" y="498157"/>
                      <a:pt x="467148" y="500063"/>
                    </a:cubicBezTo>
                    <a:lnTo>
                      <a:pt x="500486" y="500063"/>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48" name="Freeform: Shape 75">
                <a:extLst>
                  <a:ext uri="{FF2B5EF4-FFF2-40B4-BE49-F238E27FC236}">
                    <a16:creationId xmlns:a16="http://schemas.microsoft.com/office/drawing/2014/main" id="{F3A25681-BDBB-4B36-8426-5D8A70019B2F}"/>
                  </a:ext>
                </a:extLst>
              </p:cNvPr>
              <p:cNvSpPr/>
              <p:nvPr/>
            </p:nvSpPr>
            <p:spPr>
              <a:xfrm>
                <a:off x="9205912" y="2824162"/>
                <a:ext cx="137160" cy="170497"/>
              </a:xfrm>
              <a:custGeom>
                <a:avLst/>
                <a:gdLst>
                  <a:gd name="connsiteX0" fmla="*/ 68580 w 137160"/>
                  <a:gd name="connsiteY0" fmla="*/ 0 h 170497"/>
                  <a:gd name="connsiteX1" fmla="*/ 19050 w 137160"/>
                  <a:gd name="connsiteY1" fmla="*/ 20955 h 170497"/>
                  <a:gd name="connsiteX2" fmla="*/ 0 w 137160"/>
                  <a:gd name="connsiteY2" fmla="*/ 84772 h 170497"/>
                  <a:gd name="connsiteX3" fmla="*/ 19050 w 137160"/>
                  <a:gd name="connsiteY3" fmla="*/ 148590 h 170497"/>
                  <a:gd name="connsiteX4" fmla="*/ 68580 w 137160"/>
                  <a:gd name="connsiteY4" fmla="*/ 170497 h 170497"/>
                  <a:gd name="connsiteX5" fmla="*/ 118110 w 137160"/>
                  <a:gd name="connsiteY5" fmla="*/ 148590 h 170497"/>
                  <a:gd name="connsiteX6" fmla="*/ 137160 w 137160"/>
                  <a:gd name="connsiteY6" fmla="*/ 83820 h 170497"/>
                  <a:gd name="connsiteX7" fmla="*/ 118110 w 137160"/>
                  <a:gd name="connsiteY7" fmla="*/ 20003 h 170497"/>
                  <a:gd name="connsiteX8" fmla="*/ 68580 w 137160"/>
                  <a:gd name="connsiteY8" fmla="*/ 0 h 1704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7160" h="170497">
                    <a:moveTo>
                      <a:pt x="68580" y="0"/>
                    </a:moveTo>
                    <a:cubicBezTo>
                      <a:pt x="47625" y="0"/>
                      <a:pt x="31432" y="6667"/>
                      <a:pt x="19050" y="20955"/>
                    </a:cubicBezTo>
                    <a:cubicBezTo>
                      <a:pt x="6668" y="35242"/>
                      <a:pt x="0" y="56197"/>
                      <a:pt x="0" y="84772"/>
                    </a:cubicBezTo>
                    <a:cubicBezTo>
                      <a:pt x="0" y="112395"/>
                      <a:pt x="6668" y="134303"/>
                      <a:pt x="19050" y="148590"/>
                    </a:cubicBezTo>
                    <a:cubicBezTo>
                      <a:pt x="32385" y="162878"/>
                      <a:pt x="48577" y="170497"/>
                      <a:pt x="68580" y="170497"/>
                    </a:cubicBezTo>
                    <a:cubicBezTo>
                      <a:pt x="88582" y="170497"/>
                      <a:pt x="104775" y="162878"/>
                      <a:pt x="118110" y="148590"/>
                    </a:cubicBezTo>
                    <a:cubicBezTo>
                      <a:pt x="130493" y="134303"/>
                      <a:pt x="137160" y="112395"/>
                      <a:pt x="137160" y="83820"/>
                    </a:cubicBezTo>
                    <a:cubicBezTo>
                      <a:pt x="137160" y="55245"/>
                      <a:pt x="130493" y="34290"/>
                      <a:pt x="118110" y="20003"/>
                    </a:cubicBezTo>
                    <a:cubicBezTo>
                      <a:pt x="105727" y="6667"/>
                      <a:pt x="89535" y="0"/>
                      <a:pt x="68580" y="0"/>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grpSp>
      <p:grpSp>
        <p:nvGrpSpPr>
          <p:cNvPr id="49" name="Graphic 1">
            <a:extLst>
              <a:ext uri="{FF2B5EF4-FFF2-40B4-BE49-F238E27FC236}">
                <a16:creationId xmlns:a16="http://schemas.microsoft.com/office/drawing/2014/main" id="{B354708A-24F6-466C-9D6B-CAEC4BB8109A}"/>
              </a:ext>
            </a:extLst>
          </p:cNvPr>
          <p:cNvGrpSpPr/>
          <p:nvPr/>
        </p:nvGrpSpPr>
        <p:grpSpPr>
          <a:xfrm>
            <a:off x="5266241" y="4405911"/>
            <a:ext cx="411460" cy="330254"/>
            <a:chOff x="6348412" y="2426970"/>
            <a:chExt cx="1081087" cy="867727"/>
          </a:xfrm>
          <a:solidFill>
            <a:schemeClr val="bg2"/>
          </a:solidFill>
        </p:grpSpPr>
        <p:grpSp>
          <p:nvGrpSpPr>
            <p:cNvPr id="50" name="Graphic 1">
              <a:extLst>
                <a:ext uri="{FF2B5EF4-FFF2-40B4-BE49-F238E27FC236}">
                  <a16:creationId xmlns:a16="http://schemas.microsoft.com/office/drawing/2014/main" id="{6CA565DB-350A-4C3F-8BFC-D82575BEF981}"/>
                </a:ext>
              </a:extLst>
            </p:cNvPr>
            <p:cNvGrpSpPr/>
            <p:nvPr/>
          </p:nvGrpSpPr>
          <p:grpSpPr>
            <a:xfrm>
              <a:off x="6348412" y="2426970"/>
              <a:ext cx="1081087" cy="529589"/>
              <a:chOff x="6348412" y="2426970"/>
              <a:chExt cx="1081087" cy="529589"/>
            </a:xfrm>
            <a:grpFill/>
          </p:grpSpPr>
          <p:sp>
            <p:nvSpPr>
              <p:cNvPr id="52" name="Freeform: Shape 79">
                <a:extLst>
                  <a:ext uri="{FF2B5EF4-FFF2-40B4-BE49-F238E27FC236}">
                    <a16:creationId xmlns:a16="http://schemas.microsoft.com/office/drawing/2014/main" id="{EF7AD418-18F8-4CDF-A8F7-4DF7B439B478}"/>
                  </a:ext>
                </a:extLst>
              </p:cNvPr>
              <p:cNvSpPr/>
              <p:nvPr/>
            </p:nvSpPr>
            <p:spPr>
              <a:xfrm>
                <a:off x="6348412" y="2426970"/>
                <a:ext cx="463867" cy="333375"/>
              </a:xfrm>
              <a:custGeom>
                <a:avLst/>
                <a:gdLst>
                  <a:gd name="connsiteX0" fmla="*/ 442913 w 463867"/>
                  <a:gd name="connsiteY0" fmla="*/ 189547 h 333375"/>
                  <a:gd name="connsiteX1" fmla="*/ 462915 w 463867"/>
                  <a:gd name="connsiteY1" fmla="*/ 194310 h 333375"/>
                  <a:gd name="connsiteX2" fmla="*/ 299085 w 463867"/>
                  <a:gd name="connsiteY2" fmla="*/ 333375 h 333375"/>
                  <a:gd name="connsiteX3" fmla="*/ 22860 w 463867"/>
                  <a:gd name="connsiteY3" fmla="*/ 184785 h 333375"/>
                  <a:gd name="connsiteX4" fmla="*/ 0 w 463867"/>
                  <a:gd name="connsiteY4" fmla="*/ 166688 h 333375"/>
                  <a:gd name="connsiteX5" fmla="*/ 22860 w 463867"/>
                  <a:gd name="connsiteY5" fmla="*/ 148590 h 333375"/>
                  <a:gd name="connsiteX6" fmla="*/ 299085 w 463867"/>
                  <a:gd name="connsiteY6" fmla="*/ 0 h 333375"/>
                  <a:gd name="connsiteX7" fmla="*/ 463868 w 463867"/>
                  <a:gd name="connsiteY7" fmla="*/ 146685 h 333375"/>
                  <a:gd name="connsiteX8" fmla="*/ 442913 w 463867"/>
                  <a:gd name="connsiteY8" fmla="*/ 143827 h 333375"/>
                  <a:gd name="connsiteX9" fmla="*/ 293370 w 463867"/>
                  <a:gd name="connsiteY9" fmla="*/ 143827 h 333375"/>
                  <a:gd name="connsiteX10" fmla="*/ 293370 w 463867"/>
                  <a:gd name="connsiteY10" fmla="*/ 189547 h 333375"/>
                  <a:gd name="connsiteX11" fmla="*/ 442913 w 463867"/>
                  <a:gd name="connsiteY11" fmla="*/ 189547 h 333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63867" h="333375">
                    <a:moveTo>
                      <a:pt x="442913" y="189547"/>
                    </a:moveTo>
                    <a:cubicBezTo>
                      <a:pt x="450532" y="189547"/>
                      <a:pt x="457200" y="191452"/>
                      <a:pt x="462915" y="194310"/>
                    </a:cubicBezTo>
                    <a:cubicBezTo>
                      <a:pt x="449580" y="273367"/>
                      <a:pt x="381000" y="333375"/>
                      <a:pt x="299085" y="333375"/>
                    </a:cubicBezTo>
                    <a:cubicBezTo>
                      <a:pt x="214313" y="333375"/>
                      <a:pt x="41910" y="200025"/>
                      <a:pt x="22860" y="184785"/>
                    </a:cubicBezTo>
                    <a:lnTo>
                      <a:pt x="0" y="166688"/>
                    </a:lnTo>
                    <a:lnTo>
                      <a:pt x="22860" y="148590"/>
                    </a:lnTo>
                    <a:cubicBezTo>
                      <a:pt x="41910" y="133350"/>
                      <a:pt x="215265" y="0"/>
                      <a:pt x="299085" y="0"/>
                    </a:cubicBezTo>
                    <a:cubicBezTo>
                      <a:pt x="383857" y="0"/>
                      <a:pt x="454343" y="63817"/>
                      <a:pt x="463868" y="146685"/>
                    </a:cubicBezTo>
                    <a:cubicBezTo>
                      <a:pt x="457200" y="144780"/>
                      <a:pt x="449580" y="143827"/>
                      <a:pt x="442913" y="143827"/>
                    </a:cubicBezTo>
                    <a:lnTo>
                      <a:pt x="293370" y="143827"/>
                    </a:lnTo>
                    <a:lnTo>
                      <a:pt x="293370" y="189547"/>
                    </a:lnTo>
                    <a:lnTo>
                      <a:pt x="442913" y="189547"/>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53" name="Freeform: Shape 80">
                <a:extLst>
                  <a:ext uri="{FF2B5EF4-FFF2-40B4-BE49-F238E27FC236}">
                    <a16:creationId xmlns:a16="http://schemas.microsoft.com/office/drawing/2014/main" id="{9054D76A-A909-4870-99FE-D541AB0CB4B7}"/>
                  </a:ext>
                </a:extLst>
              </p:cNvPr>
              <p:cNvSpPr/>
              <p:nvPr/>
            </p:nvSpPr>
            <p:spPr>
              <a:xfrm>
                <a:off x="7052309" y="2685097"/>
                <a:ext cx="377189" cy="271462"/>
              </a:xfrm>
              <a:custGeom>
                <a:avLst/>
                <a:gdLst>
                  <a:gd name="connsiteX0" fmla="*/ 377190 w 377189"/>
                  <a:gd name="connsiteY0" fmla="*/ 135255 h 271462"/>
                  <a:gd name="connsiteX1" fmla="*/ 354330 w 377189"/>
                  <a:gd name="connsiteY1" fmla="*/ 153353 h 271462"/>
                  <a:gd name="connsiteX2" fmla="*/ 133350 w 377189"/>
                  <a:gd name="connsiteY2" fmla="*/ 271463 h 271462"/>
                  <a:gd name="connsiteX3" fmla="*/ 0 w 377189"/>
                  <a:gd name="connsiteY3" fmla="*/ 160973 h 271462"/>
                  <a:gd name="connsiteX4" fmla="*/ 28575 w 377189"/>
                  <a:gd name="connsiteY4" fmla="*/ 158115 h 271462"/>
                  <a:gd name="connsiteX5" fmla="*/ 155257 w 377189"/>
                  <a:gd name="connsiteY5" fmla="*/ 158115 h 271462"/>
                  <a:gd name="connsiteX6" fmla="*/ 155257 w 377189"/>
                  <a:gd name="connsiteY6" fmla="*/ 112395 h 271462"/>
                  <a:gd name="connsiteX7" fmla="*/ 29527 w 377189"/>
                  <a:gd name="connsiteY7" fmla="*/ 112395 h 271462"/>
                  <a:gd name="connsiteX8" fmla="*/ 0 w 377189"/>
                  <a:gd name="connsiteY8" fmla="*/ 115253 h 271462"/>
                  <a:gd name="connsiteX9" fmla="*/ 134302 w 377189"/>
                  <a:gd name="connsiteY9" fmla="*/ 0 h 271462"/>
                  <a:gd name="connsiteX10" fmla="*/ 355282 w 377189"/>
                  <a:gd name="connsiteY10" fmla="*/ 118110 h 271462"/>
                  <a:gd name="connsiteX11" fmla="*/ 377190 w 377189"/>
                  <a:gd name="connsiteY11" fmla="*/ 135255 h 2714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77189" h="271462">
                    <a:moveTo>
                      <a:pt x="377190" y="135255"/>
                    </a:moveTo>
                    <a:lnTo>
                      <a:pt x="354330" y="153353"/>
                    </a:lnTo>
                    <a:cubicBezTo>
                      <a:pt x="339090" y="165735"/>
                      <a:pt x="201930" y="271463"/>
                      <a:pt x="133350" y="271463"/>
                    </a:cubicBezTo>
                    <a:cubicBezTo>
                      <a:pt x="67627" y="271463"/>
                      <a:pt x="12382" y="223838"/>
                      <a:pt x="0" y="160973"/>
                    </a:cubicBezTo>
                    <a:cubicBezTo>
                      <a:pt x="8572" y="159068"/>
                      <a:pt x="18097" y="158115"/>
                      <a:pt x="28575" y="158115"/>
                    </a:cubicBezTo>
                    <a:lnTo>
                      <a:pt x="155257" y="158115"/>
                    </a:lnTo>
                    <a:lnTo>
                      <a:pt x="155257" y="112395"/>
                    </a:lnTo>
                    <a:lnTo>
                      <a:pt x="29527" y="112395"/>
                    </a:lnTo>
                    <a:cubicBezTo>
                      <a:pt x="19050" y="112395"/>
                      <a:pt x="9525" y="113348"/>
                      <a:pt x="0" y="115253"/>
                    </a:cubicBezTo>
                    <a:cubicBezTo>
                      <a:pt x="9525" y="49530"/>
                      <a:pt x="66675" y="0"/>
                      <a:pt x="134302" y="0"/>
                    </a:cubicBezTo>
                    <a:cubicBezTo>
                      <a:pt x="202882" y="0"/>
                      <a:pt x="340042" y="105728"/>
                      <a:pt x="355282" y="118110"/>
                    </a:cubicBezTo>
                    <a:lnTo>
                      <a:pt x="377190" y="135255"/>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sp>
          <p:nvSpPr>
            <p:cNvPr id="51" name="Freeform: Shape 78">
              <a:extLst>
                <a:ext uri="{FF2B5EF4-FFF2-40B4-BE49-F238E27FC236}">
                  <a16:creationId xmlns:a16="http://schemas.microsoft.com/office/drawing/2014/main" id="{25EBAAA5-4936-4BFA-9AE7-E4583FC7E798}"/>
                </a:ext>
              </a:extLst>
            </p:cNvPr>
            <p:cNvSpPr/>
            <p:nvPr/>
          </p:nvSpPr>
          <p:spPr>
            <a:xfrm>
              <a:off x="6679881" y="2572702"/>
              <a:ext cx="498157" cy="721994"/>
            </a:xfrm>
            <a:custGeom>
              <a:avLst/>
              <a:gdLst>
                <a:gd name="connsiteX0" fmla="*/ 272415 w 498157"/>
                <a:gd name="connsiteY0" fmla="*/ 452438 h 721994"/>
                <a:gd name="connsiteX1" fmla="*/ 324803 w 498157"/>
                <a:gd name="connsiteY1" fmla="*/ 300990 h 721994"/>
                <a:gd name="connsiteX2" fmla="*/ 373380 w 498157"/>
                <a:gd name="connsiteY2" fmla="*/ 273367 h 721994"/>
                <a:gd name="connsiteX3" fmla="*/ 370523 w 498157"/>
                <a:gd name="connsiteY3" fmla="*/ 247650 h 721994"/>
                <a:gd name="connsiteX4" fmla="*/ 372428 w 498157"/>
                <a:gd name="connsiteY4" fmla="*/ 227647 h 721994"/>
                <a:gd name="connsiteX5" fmla="*/ 292418 w 498157"/>
                <a:gd name="connsiteY5" fmla="*/ 269557 h 721994"/>
                <a:gd name="connsiteX6" fmla="*/ 265748 w 498157"/>
                <a:gd name="connsiteY6" fmla="*/ 304800 h 721994"/>
                <a:gd name="connsiteX7" fmla="*/ 181928 w 498157"/>
                <a:gd name="connsiteY7" fmla="*/ 29527 h 721994"/>
                <a:gd name="connsiteX8" fmla="*/ 132398 w 498157"/>
                <a:gd name="connsiteY8" fmla="*/ 0 h 721994"/>
                <a:gd name="connsiteX9" fmla="*/ 133350 w 498157"/>
                <a:gd name="connsiteY9" fmla="*/ 20002 h 721994"/>
                <a:gd name="connsiteX10" fmla="*/ 131445 w 498157"/>
                <a:gd name="connsiteY10" fmla="*/ 47625 h 721994"/>
                <a:gd name="connsiteX11" fmla="*/ 149543 w 498157"/>
                <a:gd name="connsiteY11" fmla="*/ 60960 h 721994"/>
                <a:gd name="connsiteX12" fmla="*/ 226695 w 498157"/>
                <a:gd name="connsiteY12" fmla="*/ 451485 h 721994"/>
                <a:gd name="connsiteX13" fmla="*/ 0 w 498157"/>
                <a:gd name="connsiteY13" fmla="*/ 699135 h 721994"/>
                <a:gd name="connsiteX14" fmla="*/ 0 w 498157"/>
                <a:gd name="connsiteY14" fmla="*/ 721995 h 721994"/>
                <a:gd name="connsiteX15" fmla="*/ 498157 w 498157"/>
                <a:gd name="connsiteY15" fmla="*/ 721995 h 721994"/>
                <a:gd name="connsiteX16" fmla="*/ 498157 w 498157"/>
                <a:gd name="connsiteY16" fmla="*/ 699135 h 721994"/>
                <a:gd name="connsiteX17" fmla="*/ 272415 w 498157"/>
                <a:gd name="connsiteY17" fmla="*/ 452438 h 721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98157" h="721994">
                  <a:moveTo>
                    <a:pt x="272415" y="452438"/>
                  </a:moveTo>
                  <a:cubicBezTo>
                    <a:pt x="274320" y="416242"/>
                    <a:pt x="283845" y="342900"/>
                    <a:pt x="324803" y="300990"/>
                  </a:cubicBezTo>
                  <a:cubicBezTo>
                    <a:pt x="339090" y="286702"/>
                    <a:pt x="354330" y="277177"/>
                    <a:pt x="373380" y="273367"/>
                  </a:cubicBezTo>
                  <a:cubicBezTo>
                    <a:pt x="371475" y="264795"/>
                    <a:pt x="370523" y="256222"/>
                    <a:pt x="370523" y="247650"/>
                  </a:cubicBezTo>
                  <a:cubicBezTo>
                    <a:pt x="370523" y="240982"/>
                    <a:pt x="371475" y="234315"/>
                    <a:pt x="372428" y="227647"/>
                  </a:cubicBezTo>
                  <a:cubicBezTo>
                    <a:pt x="340995" y="233363"/>
                    <a:pt x="314325" y="247650"/>
                    <a:pt x="292418" y="269557"/>
                  </a:cubicBezTo>
                  <a:cubicBezTo>
                    <a:pt x="281940" y="280035"/>
                    <a:pt x="273368" y="292417"/>
                    <a:pt x="265748" y="304800"/>
                  </a:cubicBezTo>
                  <a:cubicBezTo>
                    <a:pt x="256223" y="202882"/>
                    <a:pt x="234315" y="83820"/>
                    <a:pt x="181928" y="29527"/>
                  </a:cubicBezTo>
                  <a:cubicBezTo>
                    <a:pt x="167640" y="14288"/>
                    <a:pt x="150495" y="4763"/>
                    <a:pt x="132398" y="0"/>
                  </a:cubicBezTo>
                  <a:cubicBezTo>
                    <a:pt x="133350" y="6667"/>
                    <a:pt x="133350" y="13335"/>
                    <a:pt x="133350" y="20002"/>
                  </a:cubicBezTo>
                  <a:cubicBezTo>
                    <a:pt x="133350" y="29527"/>
                    <a:pt x="132398" y="38100"/>
                    <a:pt x="131445" y="47625"/>
                  </a:cubicBezTo>
                  <a:cubicBezTo>
                    <a:pt x="137160" y="50482"/>
                    <a:pt x="143828" y="55245"/>
                    <a:pt x="149543" y="60960"/>
                  </a:cubicBezTo>
                  <a:cubicBezTo>
                    <a:pt x="214313" y="127635"/>
                    <a:pt x="227648" y="348615"/>
                    <a:pt x="226695" y="451485"/>
                  </a:cubicBezTo>
                  <a:cubicBezTo>
                    <a:pt x="100013" y="462915"/>
                    <a:pt x="0" y="569595"/>
                    <a:pt x="0" y="699135"/>
                  </a:cubicBezTo>
                  <a:lnTo>
                    <a:pt x="0" y="721995"/>
                  </a:lnTo>
                  <a:lnTo>
                    <a:pt x="498157" y="721995"/>
                  </a:lnTo>
                  <a:lnTo>
                    <a:pt x="498157" y="699135"/>
                  </a:lnTo>
                  <a:cubicBezTo>
                    <a:pt x="498157" y="571500"/>
                    <a:pt x="398145" y="464820"/>
                    <a:pt x="272415" y="45243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grpSp>
        <p:nvGrpSpPr>
          <p:cNvPr id="54" name="Group 84">
            <a:extLst>
              <a:ext uri="{FF2B5EF4-FFF2-40B4-BE49-F238E27FC236}">
                <a16:creationId xmlns:a16="http://schemas.microsoft.com/office/drawing/2014/main" id="{BE7B7DF1-1C9B-41B6-B489-F9B6604832CE}"/>
              </a:ext>
            </a:extLst>
          </p:cNvPr>
          <p:cNvGrpSpPr/>
          <p:nvPr/>
        </p:nvGrpSpPr>
        <p:grpSpPr>
          <a:xfrm>
            <a:off x="4089254" y="1916765"/>
            <a:ext cx="1328100" cy="410590"/>
            <a:chOff x="2992544" y="2100512"/>
            <a:chExt cx="1328100" cy="410590"/>
          </a:xfrm>
        </p:grpSpPr>
        <p:cxnSp>
          <p:nvCxnSpPr>
            <p:cNvPr id="55" name="Straight Connector 85">
              <a:extLst>
                <a:ext uri="{FF2B5EF4-FFF2-40B4-BE49-F238E27FC236}">
                  <a16:creationId xmlns:a16="http://schemas.microsoft.com/office/drawing/2014/main" id="{F83C5502-4F28-4D1B-B608-589FAD998AA6}"/>
                </a:ext>
              </a:extLst>
            </p:cNvPr>
            <p:cNvCxnSpPr>
              <a:cxnSpLocks/>
            </p:cNvCxnSpPr>
            <p:nvPr/>
          </p:nvCxnSpPr>
          <p:spPr>
            <a:xfrm flipH="1" flipV="1">
              <a:off x="3910054" y="2100512"/>
              <a:ext cx="410590" cy="410590"/>
            </a:xfrm>
            <a:prstGeom prst="line">
              <a:avLst/>
            </a:prstGeom>
            <a:ln w="28575">
              <a:solidFill>
                <a:schemeClr val="accent1"/>
              </a:solidFill>
              <a:headEnd type="oval"/>
            </a:ln>
          </p:spPr>
          <p:style>
            <a:lnRef idx="1">
              <a:schemeClr val="accent1"/>
            </a:lnRef>
            <a:fillRef idx="0">
              <a:schemeClr val="accent1"/>
            </a:fillRef>
            <a:effectRef idx="0">
              <a:schemeClr val="accent1"/>
            </a:effectRef>
            <a:fontRef idx="minor">
              <a:schemeClr val="tx1"/>
            </a:fontRef>
          </p:style>
        </p:cxnSp>
        <p:cxnSp>
          <p:nvCxnSpPr>
            <p:cNvPr id="56" name="Straight Connector 86">
              <a:extLst>
                <a:ext uri="{FF2B5EF4-FFF2-40B4-BE49-F238E27FC236}">
                  <a16:creationId xmlns:a16="http://schemas.microsoft.com/office/drawing/2014/main" id="{7F2AA8B3-166A-4420-B40D-9819AC9563ED}"/>
                </a:ext>
              </a:extLst>
            </p:cNvPr>
            <p:cNvCxnSpPr>
              <a:cxnSpLocks/>
            </p:cNvCxnSpPr>
            <p:nvPr/>
          </p:nvCxnSpPr>
          <p:spPr>
            <a:xfrm flipH="1">
              <a:off x="2992544" y="2105266"/>
              <a:ext cx="925572" cy="0"/>
            </a:xfrm>
            <a:prstGeom prst="line">
              <a:avLst/>
            </a:prstGeom>
            <a:ln w="28575">
              <a:solidFill>
                <a:schemeClr val="accent1"/>
              </a:solidFill>
              <a:tailEnd type="oval"/>
            </a:ln>
          </p:spPr>
          <p:style>
            <a:lnRef idx="1">
              <a:schemeClr val="accent1"/>
            </a:lnRef>
            <a:fillRef idx="0">
              <a:schemeClr val="accent1"/>
            </a:fillRef>
            <a:effectRef idx="0">
              <a:schemeClr val="accent1"/>
            </a:effectRef>
            <a:fontRef idx="minor">
              <a:schemeClr val="tx1"/>
            </a:fontRef>
          </p:style>
        </p:cxnSp>
      </p:grpSp>
      <p:sp>
        <p:nvSpPr>
          <p:cNvPr id="57" name="TextBox 87">
            <a:extLst>
              <a:ext uri="{FF2B5EF4-FFF2-40B4-BE49-F238E27FC236}">
                <a16:creationId xmlns:a16="http://schemas.microsoft.com/office/drawing/2014/main" id="{1C89A9E4-16F0-4016-AA75-AC7CBDC23A90}"/>
              </a:ext>
            </a:extLst>
          </p:cNvPr>
          <p:cNvSpPr txBox="1"/>
          <p:nvPr/>
        </p:nvSpPr>
        <p:spPr>
          <a:xfrm>
            <a:off x="1837611" y="1870755"/>
            <a:ext cx="2251643" cy="616836"/>
          </a:xfrm>
          <a:prstGeom prst="rect">
            <a:avLst/>
          </a:prstGeom>
          <a:noFill/>
        </p:spPr>
        <p:txBody>
          <a:bodyPr wrap="square" rtlCol="0">
            <a:spAutoFit/>
          </a:bodyPr>
          <a:lstStyle/>
          <a:p>
            <a:pPr marL="0" marR="0" lvl="0" indent="0" algn="r" defTabSz="914400" rtl="0" eaLnBrk="1" fontAlgn="auto" latinLnBrk="0" hangingPunct="1">
              <a:lnSpc>
                <a:spcPct val="15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rPr>
              <a:t>A wonderful serenity </a:t>
            </a:r>
            <a:r>
              <a:rPr kumimoji="0" lang="en-US" sz="1200" b="0" i="0" u="none" strike="noStrike" kern="1200" cap="none" spc="0" normalizeH="0" baseline="0" noProof="0">
                <a:ln>
                  <a:noFill/>
                </a:ln>
                <a:solidFill>
                  <a:srgbClr val="000000"/>
                </a:solidFill>
                <a:effectLst/>
                <a:uLnTx/>
                <a:uFillTx/>
                <a:latin typeface="等线" panose="020F0502020204030204"/>
                <a:ea typeface="+mn-ea"/>
                <a:cs typeface="+mn-cs"/>
              </a:rPr>
              <a:t>has taken has this </a:t>
            </a:r>
            <a:r>
              <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rPr>
              <a:t>possession of </a:t>
            </a:r>
            <a:r>
              <a:rPr kumimoji="0" lang="en-US" sz="1200" b="0" i="0" u="none" strike="noStrike" kern="1200" cap="none" spc="0" normalizeH="0" baseline="0" noProof="0">
                <a:ln>
                  <a:noFill/>
                </a:ln>
                <a:solidFill>
                  <a:srgbClr val="000000"/>
                </a:solidFill>
                <a:effectLst/>
                <a:uLnTx/>
                <a:uFillTx/>
                <a:latin typeface="等线" panose="020F0502020204030204"/>
                <a:ea typeface="+mn-ea"/>
                <a:cs typeface="+mn-cs"/>
              </a:rPr>
              <a:t>my entire</a:t>
            </a:r>
            <a:endPar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58" name="TextBox 88">
            <a:extLst>
              <a:ext uri="{FF2B5EF4-FFF2-40B4-BE49-F238E27FC236}">
                <a16:creationId xmlns:a16="http://schemas.microsoft.com/office/drawing/2014/main" id="{54DE5BCF-D66B-456E-9ACB-358222734DD0}"/>
              </a:ext>
            </a:extLst>
          </p:cNvPr>
          <p:cNvSpPr txBox="1"/>
          <p:nvPr/>
        </p:nvSpPr>
        <p:spPr>
          <a:xfrm>
            <a:off x="1941232" y="1608619"/>
            <a:ext cx="2148023" cy="338554"/>
          </a:xfrm>
          <a:prstGeom prst="rect">
            <a:avLst/>
          </a:prstGeom>
          <a:noFill/>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等线 Light" panose="020F0302020204030204"/>
                <a:ea typeface="+mn-ea"/>
                <a:cs typeface="+mn-cs"/>
              </a:rPr>
              <a:t>Description</a:t>
            </a:r>
          </a:p>
        </p:txBody>
      </p:sp>
      <p:grpSp>
        <p:nvGrpSpPr>
          <p:cNvPr id="59" name="Group 93">
            <a:extLst>
              <a:ext uri="{FF2B5EF4-FFF2-40B4-BE49-F238E27FC236}">
                <a16:creationId xmlns:a16="http://schemas.microsoft.com/office/drawing/2014/main" id="{E8ECA8D4-F009-4E22-8915-4BC1313C3CCE}"/>
              </a:ext>
            </a:extLst>
          </p:cNvPr>
          <p:cNvGrpSpPr/>
          <p:nvPr/>
        </p:nvGrpSpPr>
        <p:grpSpPr>
          <a:xfrm>
            <a:off x="3760915" y="3107552"/>
            <a:ext cx="1111609" cy="280181"/>
            <a:chOff x="3078620" y="2100506"/>
            <a:chExt cx="1111609" cy="280181"/>
          </a:xfrm>
        </p:grpSpPr>
        <p:cxnSp>
          <p:nvCxnSpPr>
            <p:cNvPr id="60" name="Straight Connector 94">
              <a:extLst>
                <a:ext uri="{FF2B5EF4-FFF2-40B4-BE49-F238E27FC236}">
                  <a16:creationId xmlns:a16="http://schemas.microsoft.com/office/drawing/2014/main" id="{8A52DD56-C644-4F03-92FF-A1307DD8A924}"/>
                </a:ext>
              </a:extLst>
            </p:cNvPr>
            <p:cNvCxnSpPr>
              <a:cxnSpLocks/>
            </p:cNvCxnSpPr>
            <p:nvPr/>
          </p:nvCxnSpPr>
          <p:spPr>
            <a:xfrm flipH="1" flipV="1">
              <a:off x="3910048" y="2100506"/>
              <a:ext cx="280181" cy="280181"/>
            </a:xfrm>
            <a:prstGeom prst="line">
              <a:avLst/>
            </a:prstGeom>
            <a:ln w="28575">
              <a:solidFill>
                <a:schemeClr val="accent3"/>
              </a:solidFill>
              <a:headEnd type="oval"/>
            </a:ln>
          </p:spPr>
          <p:style>
            <a:lnRef idx="1">
              <a:schemeClr val="accent1"/>
            </a:lnRef>
            <a:fillRef idx="0">
              <a:schemeClr val="accent1"/>
            </a:fillRef>
            <a:effectRef idx="0">
              <a:schemeClr val="accent1"/>
            </a:effectRef>
            <a:fontRef idx="minor">
              <a:schemeClr val="tx1"/>
            </a:fontRef>
          </p:style>
        </p:cxnSp>
        <p:cxnSp>
          <p:nvCxnSpPr>
            <p:cNvPr id="61" name="Straight Connector 95">
              <a:extLst>
                <a:ext uri="{FF2B5EF4-FFF2-40B4-BE49-F238E27FC236}">
                  <a16:creationId xmlns:a16="http://schemas.microsoft.com/office/drawing/2014/main" id="{2E37E945-9A64-4B76-865F-C5F621745358}"/>
                </a:ext>
              </a:extLst>
            </p:cNvPr>
            <p:cNvCxnSpPr>
              <a:cxnSpLocks/>
            </p:cNvCxnSpPr>
            <p:nvPr/>
          </p:nvCxnSpPr>
          <p:spPr>
            <a:xfrm flipH="1">
              <a:off x="3078620" y="2105266"/>
              <a:ext cx="839494" cy="0"/>
            </a:xfrm>
            <a:prstGeom prst="line">
              <a:avLst/>
            </a:prstGeom>
            <a:ln w="28575">
              <a:solidFill>
                <a:schemeClr val="accent3"/>
              </a:solidFill>
              <a:tailEnd type="oval"/>
            </a:ln>
          </p:spPr>
          <p:style>
            <a:lnRef idx="1">
              <a:schemeClr val="accent1"/>
            </a:lnRef>
            <a:fillRef idx="0">
              <a:schemeClr val="accent1"/>
            </a:fillRef>
            <a:effectRef idx="0">
              <a:schemeClr val="accent1"/>
            </a:effectRef>
            <a:fontRef idx="minor">
              <a:schemeClr val="tx1"/>
            </a:fontRef>
          </p:style>
        </p:cxnSp>
      </p:grpSp>
      <p:sp>
        <p:nvSpPr>
          <p:cNvPr id="62" name="TextBox 96">
            <a:extLst>
              <a:ext uri="{FF2B5EF4-FFF2-40B4-BE49-F238E27FC236}">
                <a16:creationId xmlns:a16="http://schemas.microsoft.com/office/drawing/2014/main" id="{978C0D39-AE3A-4E8A-BDEA-3AA88A4E267A}"/>
              </a:ext>
            </a:extLst>
          </p:cNvPr>
          <p:cNvSpPr txBox="1"/>
          <p:nvPr/>
        </p:nvSpPr>
        <p:spPr>
          <a:xfrm>
            <a:off x="1514128" y="3065785"/>
            <a:ext cx="2251643" cy="616836"/>
          </a:xfrm>
          <a:prstGeom prst="rect">
            <a:avLst/>
          </a:prstGeom>
          <a:noFill/>
        </p:spPr>
        <p:txBody>
          <a:bodyPr wrap="square" rtlCol="0">
            <a:spAutoFit/>
          </a:bodyPr>
          <a:lstStyle/>
          <a:p>
            <a:pPr marL="0" marR="0" lvl="0" indent="0" algn="r" defTabSz="914400" rtl="0" eaLnBrk="1" fontAlgn="auto" latinLnBrk="0" hangingPunct="1">
              <a:lnSpc>
                <a:spcPct val="15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rPr>
              <a:t>A wonderful serenity </a:t>
            </a:r>
            <a:r>
              <a:rPr kumimoji="0" lang="en-US" sz="1200" b="0" i="0" u="none" strike="noStrike" kern="1200" cap="none" spc="0" normalizeH="0" baseline="0" noProof="0">
                <a:ln>
                  <a:noFill/>
                </a:ln>
                <a:solidFill>
                  <a:srgbClr val="000000"/>
                </a:solidFill>
                <a:effectLst/>
                <a:uLnTx/>
                <a:uFillTx/>
                <a:latin typeface="等线" panose="020F0502020204030204"/>
                <a:ea typeface="+mn-ea"/>
                <a:cs typeface="+mn-cs"/>
              </a:rPr>
              <a:t>has taken has this </a:t>
            </a:r>
            <a:r>
              <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rPr>
              <a:t>possession of </a:t>
            </a:r>
            <a:r>
              <a:rPr kumimoji="0" lang="en-US" sz="1200" b="0" i="0" u="none" strike="noStrike" kern="1200" cap="none" spc="0" normalizeH="0" baseline="0" noProof="0">
                <a:ln>
                  <a:noFill/>
                </a:ln>
                <a:solidFill>
                  <a:srgbClr val="000000"/>
                </a:solidFill>
                <a:effectLst/>
                <a:uLnTx/>
                <a:uFillTx/>
                <a:latin typeface="等线" panose="020F0502020204030204"/>
                <a:ea typeface="+mn-ea"/>
                <a:cs typeface="+mn-cs"/>
              </a:rPr>
              <a:t>my entire</a:t>
            </a:r>
            <a:endPar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63" name="TextBox 97">
            <a:extLst>
              <a:ext uri="{FF2B5EF4-FFF2-40B4-BE49-F238E27FC236}">
                <a16:creationId xmlns:a16="http://schemas.microsoft.com/office/drawing/2014/main" id="{85E61949-645E-4765-B7D4-6D7458B73276}"/>
              </a:ext>
            </a:extLst>
          </p:cNvPr>
          <p:cNvSpPr txBox="1"/>
          <p:nvPr/>
        </p:nvSpPr>
        <p:spPr>
          <a:xfrm>
            <a:off x="1617749" y="2803649"/>
            <a:ext cx="2148023" cy="338554"/>
          </a:xfrm>
          <a:prstGeom prst="rect">
            <a:avLst/>
          </a:prstGeom>
          <a:noFill/>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等线 Light" panose="020F0302020204030204"/>
                <a:ea typeface="+mn-ea"/>
                <a:cs typeface="+mn-cs"/>
              </a:rPr>
              <a:t>Description</a:t>
            </a:r>
          </a:p>
        </p:txBody>
      </p:sp>
      <p:grpSp>
        <p:nvGrpSpPr>
          <p:cNvPr id="64" name="Group 98">
            <a:extLst>
              <a:ext uri="{FF2B5EF4-FFF2-40B4-BE49-F238E27FC236}">
                <a16:creationId xmlns:a16="http://schemas.microsoft.com/office/drawing/2014/main" id="{C3963769-8A3C-47A9-B4A4-573B4BA5050C}"/>
              </a:ext>
            </a:extLst>
          </p:cNvPr>
          <p:cNvGrpSpPr/>
          <p:nvPr/>
        </p:nvGrpSpPr>
        <p:grpSpPr>
          <a:xfrm flipV="1">
            <a:off x="3490124" y="4129976"/>
            <a:ext cx="1102219" cy="290846"/>
            <a:chOff x="3098674" y="2100504"/>
            <a:chExt cx="1102219" cy="290846"/>
          </a:xfrm>
        </p:grpSpPr>
        <p:cxnSp>
          <p:nvCxnSpPr>
            <p:cNvPr id="65" name="Straight Connector 99">
              <a:extLst>
                <a:ext uri="{FF2B5EF4-FFF2-40B4-BE49-F238E27FC236}">
                  <a16:creationId xmlns:a16="http://schemas.microsoft.com/office/drawing/2014/main" id="{82FD070D-E7B1-4FC5-A715-FCBDA6B10D6F}"/>
                </a:ext>
              </a:extLst>
            </p:cNvPr>
            <p:cNvCxnSpPr>
              <a:cxnSpLocks/>
            </p:cNvCxnSpPr>
            <p:nvPr/>
          </p:nvCxnSpPr>
          <p:spPr>
            <a:xfrm flipH="1" flipV="1">
              <a:off x="3910050" y="2100504"/>
              <a:ext cx="290843" cy="290846"/>
            </a:xfrm>
            <a:prstGeom prst="line">
              <a:avLst/>
            </a:prstGeom>
            <a:ln w="28575">
              <a:solidFill>
                <a:schemeClr val="accent5"/>
              </a:solidFill>
              <a:headEnd type="oval"/>
            </a:ln>
          </p:spPr>
          <p:style>
            <a:lnRef idx="1">
              <a:schemeClr val="accent1"/>
            </a:lnRef>
            <a:fillRef idx="0">
              <a:schemeClr val="accent1"/>
            </a:fillRef>
            <a:effectRef idx="0">
              <a:schemeClr val="accent1"/>
            </a:effectRef>
            <a:fontRef idx="minor">
              <a:schemeClr val="tx1"/>
            </a:fontRef>
          </p:style>
        </p:cxnSp>
        <p:cxnSp>
          <p:nvCxnSpPr>
            <p:cNvPr id="66" name="Straight Connector 100">
              <a:extLst>
                <a:ext uri="{FF2B5EF4-FFF2-40B4-BE49-F238E27FC236}">
                  <a16:creationId xmlns:a16="http://schemas.microsoft.com/office/drawing/2014/main" id="{C628208E-5F13-4054-8A94-297F18CACDB3}"/>
                </a:ext>
              </a:extLst>
            </p:cNvPr>
            <p:cNvCxnSpPr>
              <a:cxnSpLocks/>
            </p:cNvCxnSpPr>
            <p:nvPr/>
          </p:nvCxnSpPr>
          <p:spPr>
            <a:xfrm flipH="1" flipV="1">
              <a:off x="3098674" y="2102885"/>
              <a:ext cx="811661" cy="0"/>
            </a:xfrm>
            <a:prstGeom prst="line">
              <a:avLst/>
            </a:prstGeom>
            <a:ln w="28575">
              <a:solidFill>
                <a:schemeClr val="accent5"/>
              </a:solidFill>
              <a:tailEnd type="oval"/>
            </a:ln>
          </p:spPr>
          <p:style>
            <a:lnRef idx="1">
              <a:schemeClr val="accent1"/>
            </a:lnRef>
            <a:fillRef idx="0">
              <a:schemeClr val="accent1"/>
            </a:fillRef>
            <a:effectRef idx="0">
              <a:schemeClr val="accent1"/>
            </a:effectRef>
            <a:fontRef idx="minor">
              <a:schemeClr val="tx1"/>
            </a:fontRef>
          </p:style>
        </p:cxnSp>
      </p:grpSp>
      <p:grpSp>
        <p:nvGrpSpPr>
          <p:cNvPr id="67" name="Group 105">
            <a:extLst>
              <a:ext uri="{FF2B5EF4-FFF2-40B4-BE49-F238E27FC236}">
                <a16:creationId xmlns:a16="http://schemas.microsoft.com/office/drawing/2014/main" id="{8C48594F-E1A5-470B-9D03-ED8C91439404}"/>
              </a:ext>
            </a:extLst>
          </p:cNvPr>
          <p:cNvGrpSpPr/>
          <p:nvPr/>
        </p:nvGrpSpPr>
        <p:grpSpPr>
          <a:xfrm flipV="1">
            <a:off x="3382297" y="5306500"/>
            <a:ext cx="1074134" cy="290846"/>
            <a:chOff x="3126759" y="2100504"/>
            <a:chExt cx="1074134" cy="290846"/>
          </a:xfrm>
        </p:grpSpPr>
        <p:cxnSp>
          <p:nvCxnSpPr>
            <p:cNvPr id="68" name="Straight Connector 106">
              <a:extLst>
                <a:ext uri="{FF2B5EF4-FFF2-40B4-BE49-F238E27FC236}">
                  <a16:creationId xmlns:a16="http://schemas.microsoft.com/office/drawing/2014/main" id="{835149AB-C8A1-43B3-B3BE-157504DC4E3F}"/>
                </a:ext>
              </a:extLst>
            </p:cNvPr>
            <p:cNvCxnSpPr>
              <a:cxnSpLocks/>
            </p:cNvCxnSpPr>
            <p:nvPr/>
          </p:nvCxnSpPr>
          <p:spPr>
            <a:xfrm flipH="1" flipV="1">
              <a:off x="3910050" y="2100504"/>
              <a:ext cx="290843" cy="290846"/>
            </a:xfrm>
            <a:prstGeom prst="line">
              <a:avLst/>
            </a:prstGeom>
            <a:ln w="28575">
              <a:solidFill>
                <a:schemeClr val="accent1">
                  <a:lumMod val="75000"/>
                </a:schemeClr>
              </a:solidFill>
              <a:headEnd type="oval"/>
            </a:ln>
          </p:spPr>
          <p:style>
            <a:lnRef idx="1">
              <a:schemeClr val="accent1"/>
            </a:lnRef>
            <a:fillRef idx="0">
              <a:schemeClr val="accent1"/>
            </a:fillRef>
            <a:effectRef idx="0">
              <a:schemeClr val="accent1"/>
            </a:effectRef>
            <a:fontRef idx="minor">
              <a:schemeClr val="tx1"/>
            </a:fontRef>
          </p:style>
        </p:cxnSp>
        <p:cxnSp>
          <p:nvCxnSpPr>
            <p:cNvPr id="69" name="Straight Connector 107">
              <a:extLst>
                <a:ext uri="{FF2B5EF4-FFF2-40B4-BE49-F238E27FC236}">
                  <a16:creationId xmlns:a16="http://schemas.microsoft.com/office/drawing/2014/main" id="{91CF43E7-8CC4-459B-84D3-571AC3CAEF0D}"/>
                </a:ext>
              </a:extLst>
            </p:cNvPr>
            <p:cNvCxnSpPr>
              <a:cxnSpLocks/>
            </p:cNvCxnSpPr>
            <p:nvPr/>
          </p:nvCxnSpPr>
          <p:spPr>
            <a:xfrm flipH="1" flipV="1">
              <a:off x="3126759" y="2102885"/>
              <a:ext cx="793736" cy="0"/>
            </a:xfrm>
            <a:prstGeom prst="line">
              <a:avLst/>
            </a:prstGeom>
            <a:ln w="28575">
              <a:solidFill>
                <a:schemeClr val="accent1">
                  <a:lumMod val="75000"/>
                </a:schemeClr>
              </a:solidFill>
              <a:tailEnd type="oval"/>
            </a:ln>
          </p:spPr>
          <p:style>
            <a:lnRef idx="1">
              <a:schemeClr val="accent1"/>
            </a:lnRef>
            <a:fillRef idx="0">
              <a:schemeClr val="accent1"/>
            </a:fillRef>
            <a:effectRef idx="0">
              <a:schemeClr val="accent1"/>
            </a:effectRef>
            <a:fontRef idx="minor">
              <a:schemeClr val="tx1"/>
            </a:fontRef>
          </p:style>
        </p:cxnSp>
      </p:grpSp>
      <p:sp>
        <p:nvSpPr>
          <p:cNvPr id="70" name="TextBox 108">
            <a:extLst>
              <a:ext uri="{FF2B5EF4-FFF2-40B4-BE49-F238E27FC236}">
                <a16:creationId xmlns:a16="http://schemas.microsoft.com/office/drawing/2014/main" id="{436AEFED-326A-4E0C-8891-419481C82FDA}"/>
              </a:ext>
            </a:extLst>
          </p:cNvPr>
          <p:cNvSpPr txBox="1"/>
          <p:nvPr/>
        </p:nvSpPr>
        <p:spPr>
          <a:xfrm>
            <a:off x="1186634" y="4355136"/>
            <a:ext cx="2251643" cy="616836"/>
          </a:xfrm>
          <a:prstGeom prst="rect">
            <a:avLst/>
          </a:prstGeom>
          <a:noFill/>
        </p:spPr>
        <p:txBody>
          <a:bodyPr wrap="square" rtlCol="0">
            <a:spAutoFit/>
          </a:bodyPr>
          <a:lstStyle/>
          <a:p>
            <a:pPr marL="0" marR="0" lvl="0" indent="0" algn="r" defTabSz="914400" rtl="0" eaLnBrk="1" fontAlgn="auto" latinLnBrk="0" hangingPunct="1">
              <a:lnSpc>
                <a:spcPct val="15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rPr>
              <a:t>A wonderful serenity </a:t>
            </a:r>
            <a:r>
              <a:rPr kumimoji="0" lang="en-US" sz="1200" b="0" i="0" u="none" strike="noStrike" kern="1200" cap="none" spc="0" normalizeH="0" baseline="0" noProof="0">
                <a:ln>
                  <a:noFill/>
                </a:ln>
                <a:solidFill>
                  <a:srgbClr val="000000"/>
                </a:solidFill>
                <a:effectLst/>
                <a:uLnTx/>
                <a:uFillTx/>
                <a:latin typeface="等线" panose="020F0502020204030204"/>
                <a:ea typeface="+mn-ea"/>
                <a:cs typeface="+mn-cs"/>
              </a:rPr>
              <a:t>has taken has this </a:t>
            </a:r>
            <a:r>
              <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rPr>
              <a:t>possession of </a:t>
            </a:r>
            <a:r>
              <a:rPr kumimoji="0" lang="en-US" sz="1200" b="0" i="0" u="none" strike="noStrike" kern="1200" cap="none" spc="0" normalizeH="0" baseline="0" noProof="0">
                <a:ln>
                  <a:noFill/>
                </a:ln>
                <a:solidFill>
                  <a:srgbClr val="000000"/>
                </a:solidFill>
                <a:effectLst/>
                <a:uLnTx/>
                <a:uFillTx/>
                <a:latin typeface="等线" panose="020F0502020204030204"/>
                <a:ea typeface="+mn-ea"/>
                <a:cs typeface="+mn-cs"/>
              </a:rPr>
              <a:t>my entire</a:t>
            </a:r>
            <a:endPar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71" name="TextBox 109">
            <a:extLst>
              <a:ext uri="{FF2B5EF4-FFF2-40B4-BE49-F238E27FC236}">
                <a16:creationId xmlns:a16="http://schemas.microsoft.com/office/drawing/2014/main" id="{FF4AAE86-9534-40AB-A004-A19C8EB7B8B1}"/>
              </a:ext>
            </a:extLst>
          </p:cNvPr>
          <p:cNvSpPr txBox="1"/>
          <p:nvPr/>
        </p:nvSpPr>
        <p:spPr>
          <a:xfrm>
            <a:off x="1290255" y="4093000"/>
            <a:ext cx="2148023" cy="338554"/>
          </a:xfrm>
          <a:prstGeom prst="rect">
            <a:avLst/>
          </a:prstGeom>
          <a:noFill/>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等线 Light" panose="020F0302020204030204"/>
                <a:ea typeface="+mn-ea"/>
                <a:cs typeface="+mn-cs"/>
              </a:rPr>
              <a:t>Description</a:t>
            </a:r>
          </a:p>
        </p:txBody>
      </p:sp>
      <p:sp>
        <p:nvSpPr>
          <p:cNvPr id="72" name="TextBox 110">
            <a:extLst>
              <a:ext uri="{FF2B5EF4-FFF2-40B4-BE49-F238E27FC236}">
                <a16:creationId xmlns:a16="http://schemas.microsoft.com/office/drawing/2014/main" id="{E98C615D-4254-40E9-B822-FC65A2B4DB84}"/>
              </a:ext>
            </a:extLst>
          </p:cNvPr>
          <p:cNvSpPr txBox="1"/>
          <p:nvPr/>
        </p:nvSpPr>
        <p:spPr>
          <a:xfrm>
            <a:off x="1129656" y="5544782"/>
            <a:ext cx="2251643" cy="616836"/>
          </a:xfrm>
          <a:prstGeom prst="rect">
            <a:avLst/>
          </a:prstGeom>
          <a:noFill/>
        </p:spPr>
        <p:txBody>
          <a:bodyPr wrap="square" rtlCol="0">
            <a:spAutoFit/>
          </a:bodyPr>
          <a:lstStyle/>
          <a:p>
            <a:pPr marL="0" marR="0" lvl="0" indent="0" algn="r" defTabSz="914400" rtl="0" eaLnBrk="1" fontAlgn="auto" latinLnBrk="0" hangingPunct="1">
              <a:lnSpc>
                <a:spcPct val="15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rPr>
              <a:t>A wonderful serenity </a:t>
            </a:r>
            <a:r>
              <a:rPr kumimoji="0" lang="en-US" sz="1200" b="0" i="0" u="none" strike="noStrike" kern="1200" cap="none" spc="0" normalizeH="0" baseline="0" noProof="0">
                <a:ln>
                  <a:noFill/>
                </a:ln>
                <a:solidFill>
                  <a:srgbClr val="000000"/>
                </a:solidFill>
                <a:effectLst/>
                <a:uLnTx/>
                <a:uFillTx/>
                <a:latin typeface="等线" panose="020F0502020204030204"/>
                <a:ea typeface="+mn-ea"/>
                <a:cs typeface="+mn-cs"/>
              </a:rPr>
              <a:t>has taken has this </a:t>
            </a:r>
            <a:r>
              <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rPr>
              <a:t>possession of </a:t>
            </a:r>
            <a:r>
              <a:rPr kumimoji="0" lang="en-US" sz="1200" b="0" i="0" u="none" strike="noStrike" kern="1200" cap="none" spc="0" normalizeH="0" baseline="0" noProof="0">
                <a:ln>
                  <a:noFill/>
                </a:ln>
                <a:solidFill>
                  <a:srgbClr val="000000"/>
                </a:solidFill>
                <a:effectLst/>
                <a:uLnTx/>
                <a:uFillTx/>
                <a:latin typeface="等线" panose="020F0502020204030204"/>
                <a:ea typeface="+mn-ea"/>
                <a:cs typeface="+mn-cs"/>
              </a:rPr>
              <a:t>my entire</a:t>
            </a:r>
            <a:endPar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73" name="TextBox 111">
            <a:extLst>
              <a:ext uri="{FF2B5EF4-FFF2-40B4-BE49-F238E27FC236}">
                <a16:creationId xmlns:a16="http://schemas.microsoft.com/office/drawing/2014/main" id="{A1FE4F6C-ABE4-4B51-BFA5-C3F1463F1BD8}"/>
              </a:ext>
            </a:extLst>
          </p:cNvPr>
          <p:cNvSpPr txBox="1"/>
          <p:nvPr/>
        </p:nvSpPr>
        <p:spPr>
          <a:xfrm>
            <a:off x="1233277" y="5282646"/>
            <a:ext cx="2148023" cy="338554"/>
          </a:xfrm>
          <a:prstGeom prst="rect">
            <a:avLst/>
          </a:prstGeom>
          <a:noFill/>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等线 Light" panose="020F0302020204030204"/>
                <a:ea typeface="+mn-ea"/>
                <a:cs typeface="+mn-cs"/>
              </a:rPr>
              <a:t>Description</a:t>
            </a:r>
          </a:p>
        </p:txBody>
      </p:sp>
      <p:grpSp>
        <p:nvGrpSpPr>
          <p:cNvPr id="74" name="Group 112">
            <a:extLst>
              <a:ext uri="{FF2B5EF4-FFF2-40B4-BE49-F238E27FC236}">
                <a16:creationId xmlns:a16="http://schemas.microsoft.com/office/drawing/2014/main" id="{6C421591-F7E1-4B8C-BE3C-BC2817CA773E}"/>
              </a:ext>
            </a:extLst>
          </p:cNvPr>
          <p:cNvGrpSpPr/>
          <p:nvPr/>
        </p:nvGrpSpPr>
        <p:grpSpPr>
          <a:xfrm flipH="1">
            <a:off x="6863243" y="1887417"/>
            <a:ext cx="1363892" cy="446382"/>
            <a:chOff x="2992544" y="2100512"/>
            <a:chExt cx="1363892" cy="446382"/>
          </a:xfrm>
        </p:grpSpPr>
        <p:cxnSp>
          <p:nvCxnSpPr>
            <p:cNvPr id="75" name="Straight Connector 113">
              <a:extLst>
                <a:ext uri="{FF2B5EF4-FFF2-40B4-BE49-F238E27FC236}">
                  <a16:creationId xmlns:a16="http://schemas.microsoft.com/office/drawing/2014/main" id="{D0D2A5C5-E12C-451E-A89A-652595489482}"/>
                </a:ext>
              </a:extLst>
            </p:cNvPr>
            <p:cNvCxnSpPr>
              <a:cxnSpLocks/>
            </p:cNvCxnSpPr>
            <p:nvPr/>
          </p:nvCxnSpPr>
          <p:spPr>
            <a:xfrm flipH="1" flipV="1">
              <a:off x="3910053" y="2100512"/>
              <a:ext cx="446383" cy="446382"/>
            </a:xfrm>
            <a:prstGeom prst="line">
              <a:avLst/>
            </a:prstGeom>
            <a:ln w="28575">
              <a:solidFill>
                <a:schemeClr val="accent2"/>
              </a:solidFill>
              <a:headEnd type="oval"/>
            </a:ln>
          </p:spPr>
          <p:style>
            <a:lnRef idx="1">
              <a:schemeClr val="accent1"/>
            </a:lnRef>
            <a:fillRef idx="0">
              <a:schemeClr val="accent1"/>
            </a:fillRef>
            <a:effectRef idx="0">
              <a:schemeClr val="accent1"/>
            </a:effectRef>
            <a:fontRef idx="minor">
              <a:schemeClr val="tx1"/>
            </a:fontRef>
          </p:style>
        </p:cxnSp>
        <p:cxnSp>
          <p:nvCxnSpPr>
            <p:cNvPr id="76" name="Straight Connector 114">
              <a:extLst>
                <a:ext uri="{FF2B5EF4-FFF2-40B4-BE49-F238E27FC236}">
                  <a16:creationId xmlns:a16="http://schemas.microsoft.com/office/drawing/2014/main" id="{C36E65AC-19D2-40FE-B4BC-31FCDE9C8CC5}"/>
                </a:ext>
              </a:extLst>
            </p:cNvPr>
            <p:cNvCxnSpPr>
              <a:cxnSpLocks/>
            </p:cNvCxnSpPr>
            <p:nvPr/>
          </p:nvCxnSpPr>
          <p:spPr>
            <a:xfrm flipH="1">
              <a:off x="2992544" y="2105266"/>
              <a:ext cx="925572" cy="0"/>
            </a:xfrm>
            <a:prstGeom prst="line">
              <a:avLst/>
            </a:prstGeom>
            <a:ln w="28575">
              <a:solidFill>
                <a:schemeClr val="accent2"/>
              </a:solidFill>
              <a:tailEnd type="oval"/>
            </a:ln>
          </p:spPr>
          <p:style>
            <a:lnRef idx="1">
              <a:schemeClr val="accent1"/>
            </a:lnRef>
            <a:fillRef idx="0">
              <a:schemeClr val="accent1"/>
            </a:fillRef>
            <a:effectRef idx="0">
              <a:schemeClr val="accent1"/>
            </a:effectRef>
            <a:fontRef idx="minor">
              <a:schemeClr val="tx1"/>
            </a:fontRef>
          </p:style>
        </p:cxnSp>
      </p:grpSp>
      <p:grpSp>
        <p:nvGrpSpPr>
          <p:cNvPr id="77" name="Group 115">
            <a:extLst>
              <a:ext uri="{FF2B5EF4-FFF2-40B4-BE49-F238E27FC236}">
                <a16:creationId xmlns:a16="http://schemas.microsoft.com/office/drawing/2014/main" id="{BD92F669-25FE-43C0-B2FE-4B7609A80BA0}"/>
              </a:ext>
            </a:extLst>
          </p:cNvPr>
          <p:cNvGrpSpPr/>
          <p:nvPr/>
        </p:nvGrpSpPr>
        <p:grpSpPr>
          <a:xfrm flipH="1">
            <a:off x="7278147" y="3064810"/>
            <a:ext cx="1111609" cy="280181"/>
            <a:chOff x="3078620" y="2100506"/>
            <a:chExt cx="1111609" cy="280181"/>
          </a:xfrm>
        </p:grpSpPr>
        <p:cxnSp>
          <p:nvCxnSpPr>
            <p:cNvPr id="78" name="Straight Connector 116">
              <a:extLst>
                <a:ext uri="{FF2B5EF4-FFF2-40B4-BE49-F238E27FC236}">
                  <a16:creationId xmlns:a16="http://schemas.microsoft.com/office/drawing/2014/main" id="{7764F780-623B-4C06-B73A-79B5A52F5B5B}"/>
                </a:ext>
              </a:extLst>
            </p:cNvPr>
            <p:cNvCxnSpPr>
              <a:cxnSpLocks/>
            </p:cNvCxnSpPr>
            <p:nvPr/>
          </p:nvCxnSpPr>
          <p:spPr>
            <a:xfrm flipH="1" flipV="1">
              <a:off x="3910048" y="2100506"/>
              <a:ext cx="280181" cy="280181"/>
            </a:xfrm>
            <a:prstGeom prst="line">
              <a:avLst/>
            </a:prstGeom>
            <a:ln w="28575">
              <a:solidFill>
                <a:schemeClr val="accent4"/>
              </a:solidFill>
              <a:headEnd type="oval"/>
            </a:ln>
          </p:spPr>
          <p:style>
            <a:lnRef idx="1">
              <a:schemeClr val="accent1"/>
            </a:lnRef>
            <a:fillRef idx="0">
              <a:schemeClr val="accent1"/>
            </a:fillRef>
            <a:effectRef idx="0">
              <a:schemeClr val="accent1"/>
            </a:effectRef>
            <a:fontRef idx="minor">
              <a:schemeClr val="tx1"/>
            </a:fontRef>
          </p:style>
        </p:cxnSp>
        <p:cxnSp>
          <p:nvCxnSpPr>
            <p:cNvPr id="79" name="Straight Connector 117">
              <a:extLst>
                <a:ext uri="{FF2B5EF4-FFF2-40B4-BE49-F238E27FC236}">
                  <a16:creationId xmlns:a16="http://schemas.microsoft.com/office/drawing/2014/main" id="{F4306FE6-F625-4E54-9401-3972BED7A7F5}"/>
                </a:ext>
              </a:extLst>
            </p:cNvPr>
            <p:cNvCxnSpPr>
              <a:cxnSpLocks/>
            </p:cNvCxnSpPr>
            <p:nvPr/>
          </p:nvCxnSpPr>
          <p:spPr>
            <a:xfrm flipH="1">
              <a:off x="3078620" y="2105266"/>
              <a:ext cx="839494" cy="0"/>
            </a:xfrm>
            <a:prstGeom prst="line">
              <a:avLst/>
            </a:prstGeom>
            <a:ln w="28575">
              <a:solidFill>
                <a:schemeClr val="accent4"/>
              </a:solidFill>
              <a:tailEnd type="oval"/>
            </a:ln>
          </p:spPr>
          <p:style>
            <a:lnRef idx="1">
              <a:schemeClr val="accent1"/>
            </a:lnRef>
            <a:fillRef idx="0">
              <a:schemeClr val="accent1"/>
            </a:fillRef>
            <a:effectRef idx="0">
              <a:schemeClr val="accent1"/>
            </a:effectRef>
            <a:fontRef idx="minor">
              <a:schemeClr val="tx1"/>
            </a:fontRef>
          </p:style>
        </p:cxnSp>
      </p:grpSp>
      <p:grpSp>
        <p:nvGrpSpPr>
          <p:cNvPr id="80" name="Group 118">
            <a:extLst>
              <a:ext uri="{FF2B5EF4-FFF2-40B4-BE49-F238E27FC236}">
                <a16:creationId xmlns:a16="http://schemas.microsoft.com/office/drawing/2014/main" id="{B72BFB06-652D-468E-B434-3B86CFE7D960}"/>
              </a:ext>
            </a:extLst>
          </p:cNvPr>
          <p:cNvGrpSpPr/>
          <p:nvPr/>
        </p:nvGrpSpPr>
        <p:grpSpPr>
          <a:xfrm flipH="1" flipV="1">
            <a:off x="7601062" y="4097394"/>
            <a:ext cx="1008286" cy="290846"/>
            <a:chOff x="3192607" y="2100504"/>
            <a:chExt cx="1008286" cy="290846"/>
          </a:xfrm>
        </p:grpSpPr>
        <p:cxnSp>
          <p:nvCxnSpPr>
            <p:cNvPr id="81" name="Straight Connector 119">
              <a:extLst>
                <a:ext uri="{FF2B5EF4-FFF2-40B4-BE49-F238E27FC236}">
                  <a16:creationId xmlns:a16="http://schemas.microsoft.com/office/drawing/2014/main" id="{17AE7471-0763-46FC-8764-3BD2C772AA80}"/>
                </a:ext>
              </a:extLst>
            </p:cNvPr>
            <p:cNvCxnSpPr>
              <a:cxnSpLocks/>
            </p:cNvCxnSpPr>
            <p:nvPr/>
          </p:nvCxnSpPr>
          <p:spPr>
            <a:xfrm flipH="1" flipV="1">
              <a:off x="3910050" y="2100504"/>
              <a:ext cx="290843" cy="290846"/>
            </a:xfrm>
            <a:prstGeom prst="line">
              <a:avLst/>
            </a:prstGeom>
            <a:ln w="28575">
              <a:solidFill>
                <a:schemeClr val="accent6"/>
              </a:solidFill>
              <a:headEnd type="oval"/>
            </a:ln>
          </p:spPr>
          <p:style>
            <a:lnRef idx="1">
              <a:schemeClr val="accent1"/>
            </a:lnRef>
            <a:fillRef idx="0">
              <a:schemeClr val="accent1"/>
            </a:fillRef>
            <a:effectRef idx="0">
              <a:schemeClr val="accent1"/>
            </a:effectRef>
            <a:fontRef idx="minor">
              <a:schemeClr val="tx1"/>
            </a:fontRef>
          </p:style>
        </p:cxnSp>
        <p:cxnSp>
          <p:nvCxnSpPr>
            <p:cNvPr id="82" name="Straight Connector 120">
              <a:extLst>
                <a:ext uri="{FF2B5EF4-FFF2-40B4-BE49-F238E27FC236}">
                  <a16:creationId xmlns:a16="http://schemas.microsoft.com/office/drawing/2014/main" id="{42F6A751-B305-4462-8F7F-429201235DAF}"/>
                </a:ext>
              </a:extLst>
            </p:cNvPr>
            <p:cNvCxnSpPr>
              <a:cxnSpLocks/>
            </p:cNvCxnSpPr>
            <p:nvPr/>
          </p:nvCxnSpPr>
          <p:spPr>
            <a:xfrm flipH="1" flipV="1">
              <a:off x="3192607" y="2102885"/>
              <a:ext cx="727888" cy="0"/>
            </a:xfrm>
            <a:prstGeom prst="line">
              <a:avLst/>
            </a:prstGeom>
            <a:ln w="28575">
              <a:solidFill>
                <a:schemeClr val="accent6"/>
              </a:solidFill>
              <a:tailEnd type="oval"/>
            </a:ln>
          </p:spPr>
          <p:style>
            <a:lnRef idx="1">
              <a:schemeClr val="accent1"/>
            </a:lnRef>
            <a:fillRef idx="0">
              <a:schemeClr val="accent1"/>
            </a:fillRef>
            <a:effectRef idx="0">
              <a:schemeClr val="accent1"/>
            </a:effectRef>
            <a:fontRef idx="minor">
              <a:schemeClr val="tx1"/>
            </a:fontRef>
          </p:style>
        </p:cxnSp>
      </p:grpSp>
      <p:grpSp>
        <p:nvGrpSpPr>
          <p:cNvPr id="83" name="Group 121">
            <a:extLst>
              <a:ext uri="{FF2B5EF4-FFF2-40B4-BE49-F238E27FC236}">
                <a16:creationId xmlns:a16="http://schemas.microsoft.com/office/drawing/2014/main" id="{4538314C-BFF5-4176-82E1-8B1EAEB4686B}"/>
              </a:ext>
            </a:extLst>
          </p:cNvPr>
          <p:cNvGrpSpPr/>
          <p:nvPr/>
        </p:nvGrpSpPr>
        <p:grpSpPr>
          <a:xfrm flipH="1" flipV="1">
            <a:off x="7690461" y="5283466"/>
            <a:ext cx="1243989" cy="290846"/>
            <a:chOff x="2956904" y="2100504"/>
            <a:chExt cx="1243989" cy="290846"/>
          </a:xfrm>
        </p:grpSpPr>
        <p:cxnSp>
          <p:nvCxnSpPr>
            <p:cNvPr id="84" name="Straight Connector 122">
              <a:extLst>
                <a:ext uri="{FF2B5EF4-FFF2-40B4-BE49-F238E27FC236}">
                  <a16:creationId xmlns:a16="http://schemas.microsoft.com/office/drawing/2014/main" id="{0A69FA2C-E69D-4E3E-9166-CA4D46B7ABBB}"/>
                </a:ext>
              </a:extLst>
            </p:cNvPr>
            <p:cNvCxnSpPr>
              <a:cxnSpLocks/>
            </p:cNvCxnSpPr>
            <p:nvPr/>
          </p:nvCxnSpPr>
          <p:spPr>
            <a:xfrm flipH="1" flipV="1">
              <a:off x="3910050" y="2100504"/>
              <a:ext cx="290843" cy="290846"/>
            </a:xfrm>
            <a:prstGeom prst="line">
              <a:avLst/>
            </a:prstGeom>
            <a:ln w="28575">
              <a:solidFill>
                <a:schemeClr val="accent2">
                  <a:lumMod val="75000"/>
                </a:schemeClr>
              </a:solidFill>
              <a:headEnd type="oval"/>
            </a:ln>
          </p:spPr>
          <p:style>
            <a:lnRef idx="1">
              <a:schemeClr val="accent1"/>
            </a:lnRef>
            <a:fillRef idx="0">
              <a:schemeClr val="accent1"/>
            </a:fillRef>
            <a:effectRef idx="0">
              <a:schemeClr val="accent1"/>
            </a:effectRef>
            <a:fontRef idx="minor">
              <a:schemeClr val="tx1"/>
            </a:fontRef>
          </p:style>
        </p:cxnSp>
        <p:cxnSp>
          <p:nvCxnSpPr>
            <p:cNvPr id="85" name="Straight Connector 123">
              <a:extLst>
                <a:ext uri="{FF2B5EF4-FFF2-40B4-BE49-F238E27FC236}">
                  <a16:creationId xmlns:a16="http://schemas.microsoft.com/office/drawing/2014/main" id="{2C3A87FD-7D6D-436A-92AF-911F8B2B6CEF}"/>
                </a:ext>
              </a:extLst>
            </p:cNvPr>
            <p:cNvCxnSpPr>
              <a:cxnSpLocks/>
            </p:cNvCxnSpPr>
            <p:nvPr/>
          </p:nvCxnSpPr>
          <p:spPr>
            <a:xfrm flipH="1" flipV="1">
              <a:off x="2956904" y="2102885"/>
              <a:ext cx="963591" cy="0"/>
            </a:xfrm>
            <a:prstGeom prst="line">
              <a:avLst/>
            </a:prstGeom>
            <a:ln w="28575">
              <a:solidFill>
                <a:schemeClr val="accent2">
                  <a:lumMod val="75000"/>
                </a:schemeClr>
              </a:solidFill>
              <a:tailEnd type="oval"/>
            </a:ln>
          </p:spPr>
          <p:style>
            <a:lnRef idx="1">
              <a:schemeClr val="accent1"/>
            </a:lnRef>
            <a:fillRef idx="0">
              <a:schemeClr val="accent1"/>
            </a:fillRef>
            <a:effectRef idx="0">
              <a:schemeClr val="accent1"/>
            </a:effectRef>
            <a:fontRef idx="minor">
              <a:schemeClr val="tx1"/>
            </a:fontRef>
          </p:style>
        </p:cxnSp>
      </p:grpSp>
      <p:sp>
        <p:nvSpPr>
          <p:cNvPr id="86" name="TextBox 124">
            <a:extLst>
              <a:ext uri="{FF2B5EF4-FFF2-40B4-BE49-F238E27FC236}">
                <a16:creationId xmlns:a16="http://schemas.microsoft.com/office/drawing/2014/main" id="{036C0C3D-6504-4276-9F68-93AFBD858B16}"/>
              </a:ext>
            </a:extLst>
          </p:cNvPr>
          <p:cNvSpPr txBox="1"/>
          <p:nvPr/>
        </p:nvSpPr>
        <p:spPr>
          <a:xfrm>
            <a:off x="8227134" y="1853740"/>
            <a:ext cx="2251643" cy="616836"/>
          </a:xfrm>
          <a:prstGeom prst="rect">
            <a:avLst/>
          </a:prstGeom>
          <a:noFill/>
        </p:spPr>
        <p:txBody>
          <a:bodyPr wrap="square" rtlCol="0">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rPr>
              <a:t>A wonderful serenity </a:t>
            </a:r>
            <a:r>
              <a:rPr kumimoji="0" lang="en-US" sz="1200" b="0" i="0" u="none" strike="noStrike" kern="1200" cap="none" spc="0" normalizeH="0" baseline="0" noProof="0">
                <a:ln>
                  <a:noFill/>
                </a:ln>
                <a:solidFill>
                  <a:srgbClr val="000000"/>
                </a:solidFill>
                <a:effectLst/>
                <a:uLnTx/>
                <a:uFillTx/>
                <a:latin typeface="等线" panose="020F0502020204030204"/>
                <a:ea typeface="+mn-ea"/>
                <a:cs typeface="+mn-cs"/>
              </a:rPr>
              <a:t>has taken has this </a:t>
            </a:r>
            <a:r>
              <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rPr>
              <a:t>possession of </a:t>
            </a:r>
            <a:r>
              <a:rPr kumimoji="0" lang="en-US" sz="1200" b="0" i="0" u="none" strike="noStrike" kern="1200" cap="none" spc="0" normalizeH="0" baseline="0" noProof="0">
                <a:ln>
                  <a:noFill/>
                </a:ln>
                <a:solidFill>
                  <a:srgbClr val="000000"/>
                </a:solidFill>
                <a:effectLst/>
                <a:uLnTx/>
                <a:uFillTx/>
                <a:latin typeface="等线" panose="020F0502020204030204"/>
                <a:ea typeface="+mn-ea"/>
                <a:cs typeface="+mn-cs"/>
              </a:rPr>
              <a:t>my entire</a:t>
            </a:r>
            <a:endPar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87" name="TextBox 125">
            <a:extLst>
              <a:ext uri="{FF2B5EF4-FFF2-40B4-BE49-F238E27FC236}">
                <a16:creationId xmlns:a16="http://schemas.microsoft.com/office/drawing/2014/main" id="{EE46DDF8-004B-4985-A5E1-5C2054D3B7A4}"/>
              </a:ext>
            </a:extLst>
          </p:cNvPr>
          <p:cNvSpPr txBox="1"/>
          <p:nvPr/>
        </p:nvSpPr>
        <p:spPr>
          <a:xfrm>
            <a:off x="8227134" y="1591604"/>
            <a:ext cx="2148023" cy="33855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等线 Light" panose="020F0302020204030204"/>
                <a:ea typeface="+mn-ea"/>
                <a:cs typeface="+mn-cs"/>
              </a:rPr>
              <a:t>Description</a:t>
            </a:r>
          </a:p>
        </p:txBody>
      </p:sp>
      <p:sp>
        <p:nvSpPr>
          <p:cNvPr id="88" name="TextBox 126">
            <a:extLst>
              <a:ext uri="{FF2B5EF4-FFF2-40B4-BE49-F238E27FC236}">
                <a16:creationId xmlns:a16="http://schemas.microsoft.com/office/drawing/2014/main" id="{24D93FFB-18FF-4EF2-85E8-CD4901703809}"/>
              </a:ext>
            </a:extLst>
          </p:cNvPr>
          <p:cNvSpPr txBox="1"/>
          <p:nvPr/>
        </p:nvSpPr>
        <p:spPr>
          <a:xfrm>
            <a:off x="8392338" y="3035376"/>
            <a:ext cx="2251643" cy="616836"/>
          </a:xfrm>
          <a:prstGeom prst="rect">
            <a:avLst/>
          </a:prstGeom>
          <a:noFill/>
        </p:spPr>
        <p:txBody>
          <a:bodyPr wrap="square" rtlCol="0">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rPr>
              <a:t>A wonderful serenity </a:t>
            </a:r>
            <a:r>
              <a:rPr kumimoji="0" lang="en-US" sz="1200" b="0" i="0" u="none" strike="noStrike" kern="1200" cap="none" spc="0" normalizeH="0" baseline="0" noProof="0">
                <a:ln>
                  <a:noFill/>
                </a:ln>
                <a:solidFill>
                  <a:srgbClr val="000000"/>
                </a:solidFill>
                <a:effectLst/>
                <a:uLnTx/>
                <a:uFillTx/>
                <a:latin typeface="等线" panose="020F0502020204030204"/>
                <a:ea typeface="+mn-ea"/>
                <a:cs typeface="+mn-cs"/>
              </a:rPr>
              <a:t>has taken has this </a:t>
            </a:r>
            <a:r>
              <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rPr>
              <a:t>possession of </a:t>
            </a:r>
            <a:r>
              <a:rPr kumimoji="0" lang="en-US" sz="1200" b="0" i="0" u="none" strike="noStrike" kern="1200" cap="none" spc="0" normalizeH="0" baseline="0" noProof="0">
                <a:ln>
                  <a:noFill/>
                </a:ln>
                <a:solidFill>
                  <a:srgbClr val="000000"/>
                </a:solidFill>
                <a:effectLst/>
                <a:uLnTx/>
                <a:uFillTx/>
                <a:latin typeface="等线" panose="020F0502020204030204"/>
                <a:ea typeface="+mn-ea"/>
                <a:cs typeface="+mn-cs"/>
              </a:rPr>
              <a:t>my entire</a:t>
            </a:r>
            <a:endPar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89" name="TextBox 127">
            <a:extLst>
              <a:ext uri="{FF2B5EF4-FFF2-40B4-BE49-F238E27FC236}">
                <a16:creationId xmlns:a16="http://schemas.microsoft.com/office/drawing/2014/main" id="{85A0A254-51B5-4B3C-8C3E-9B0D782B2F60}"/>
              </a:ext>
            </a:extLst>
          </p:cNvPr>
          <p:cNvSpPr txBox="1"/>
          <p:nvPr/>
        </p:nvSpPr>
        <p:spPr>
          <a:xfrm>
            <a:off x="8392338" y="2773240"/>
            <a:ext cx="2148023" cy="33855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等线 Light" panose="020F0302020204030204"/>
                <a:ea typeface="+mn-ea"/>
                <a:cs typeface="+mn-cs"/>
              </a:rPr>
              <a:t>Description</a:t>
            </a:r>
          </a:p>
        </p:txBody>
      </p:sp>
      <p:sp>
        <p:nvSpPr>
          <p:cNvPr id="90" name="TextBox 128">
            <a:extLst>
              <a:ext uri="{FF2B5EF4-FFF2-40B4-BE49-F238E27FC236}">
                <a16:creationId xmlns:a16="http://schemas.microsoft.com/office/drawing/2014/main" id="{C332DBAE-AA54-4907-9A0E-37FF650A5DC9}"/>
              </a:ext>
            </a:extLst>
          </p:cNvPr>
          <p:cNvSpPr txBox="1"/>
          <p:nvPr/>
        </p:nvSpPr>
        <p:spPr>
          <a:xfrm>
            <a:off x="8600431" y="4334887"/>
            <a:ext cx="2251643" cy="616836"/>
          </a:xfrm>
          <a:prstGeom prst="rect">
            <a:avLst/>
          </a:prstGeom>
          <a:noFill/>
        </p:spPr>
        <p:txBody>
          <a:bodyPr wrap="square" rtlCol="0">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rPr>
              <a:t>A wonderful serenity </a:t>
            </a:r>
            <a:r>
              <a:rPr kumimoji="0" lang="en-US" sz="1200" b="0" i="0" u="none" strike="noStrike" kern="1200" cap="none" spc="0" normalizeH="0" baseline="0" noProof="0">
                <a:ln>
                  <a:noFill/>
                </a:ln>
                <a:solidFill>
                  <a:srgbClr val="000000"/>
                </a:solidFill>
                <a:effectLst/>
                <a:uLnTx/>
                <a:uFillTx/>
                <a:latin typeface="等线" panose="020F0502020204030204"/>
                <a:ea typeface="+mn-ea"/>
                <a:cs typeface="+mn-cs"/>
              </a:rPr>
              <a:t>has taken has this </a:t>
            </a:r>
            <a:r>
              <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rPr>
              <a:t>possession of </a:t>
            </a:r>
            <a:r>
              <a:rPr kumimoji="0" lang="en-US" sz="1200" b="0" i="0" u="none" strike="noStrike" kern="1200" cap="none" spc="0" normalizeH="0" baseline="0" noProof="0">
                <a:ln>
                  <a:noFill/>
                </a:ln>
                <a:solidFill>
                  <a:srgbClr val="000000"/>
                </a:solidFill>
                <a:effectLst/>
                <a:uLnTx/>
                <a:uFillTx/>
                <a:latin typeface="等线" panose="020F0502020204030204"/>
                <a:ea typeface="+mn-ea"/>
                <a:cs typeface="+mn-cs"/>
              </a:rPr>
              <a:t>my entire</a:t>
            </a:r>
            <a:endPar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91" name="TextBox 129">
            <a:extLst>
              <a:ext uri="{FF2B5EF4-FFF2-40B4-BE49-F238E27FC236}">
                <a16:creationId xmlns:a16="http://schemas.microsoft.com/office/drawing/2014/main" id="{F16A3902-CAD2-4588-913F-19046D70839C}"/>
              </a:ext>
            </a:extLst>
          </p:cNvPr>
          <p:cNvSpPr txBox="1"/>
          <p:nvPr/>
        </p:nvSpPr>
        <p:spPr>
          <a:xfrm>
            <a:off x="8600431" y="4072751"/>
            <a:ext cx="2148023" cy="33855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等线 Light" panose="020F0302020204030204"/>
                <a:ea typeface="+mn-ea"/>
                <a:cs typeface="+mn-cs"/>
              </a:rPr>
              <a:t>Description</a:t>
            </a:r>
          </a:p>
        </p:txBody>
      </p:sp>
      <p:sp>
        <p:nvSpPr>
          <p:cNvPr id="92" name="TextBox 130">
            <a:extLst>
              <a:ext uri="{FF2B5EF4-FFF2-40B4-BE49-F238E27FC236}">
                <a16:creationId xmlns:a16="http://schemas.microsoft.com/office/drawing/2014/main" id="{902AEA0C-93DF-425F-A2DE-A8BFFE92A241}"/>
              </a:ext>
            </a:extLst>
          </p:cNvPr>
          <p:cNvSpPr txBox="1"/>
          <p:nvPr/>
        </p:nvSpPr>
        <p:spPr>
          <a:xfrm>
            <a:off x="8934450" y="5514373"/>
            <a:ext cx="2251643" cy="616836"/>
          </a:xfrm>
          <a:prstGeom prst="rect">
            <a:avLst/>
          </a:prstGeom>
          <a:noFill/>
        </p:spPr>
        <p:txBody>
          <a:bodyPr wrap="square" rtlCol="0">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rPr>
              <a:t>A wonderful serenity </a:t>
            </a:r>
            <a:r>
              <a:rPr kumimoji="0" lang="en-US" sz="1200" b="0" i="0" u="none" strike="noStrike" kern="1200" cap="none" spc="0" normalizeH="0" baseline="0" noProof="0">
                <a:ln>
                  <a:noFill/>
                </a:ln>
                <a:solidFill>
                  <a:srgbClr val="000000"/>
                </a:solidFill>
                <a:effectLst/>
                <a:uLnTx/>
                <a:uFillTx/>
                <a:latin typeface="等线" panose="020F0502020204030204"/>
                <a:ea typeface="+mn-ea"/>
                <a:cs typeface="+mn-cs"/>
              </a:rPr>
              <a:t>has taken has this </a:t>
            </a:r>
            <a:r>
              <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rPr>
              <a:t>possession of </a:t>
            </a:r>
            <a:r>
              <a:rPr kumimoji="0" lang="en-US" sz="1200" b="0" i="0" u="none" strike="noStrike" kern="1200" cap="none" spc="0" normalizeH="0" baseline="0" noProof="0">
                <a:ln>
                  <a:noFill/>
                </a:ln>
                <a:solidFill>
                  <a:srgbClr val="000000"/>
                </a:solidFill>
                <a:effectLst/>
                <a:uLnTx/>
                <a:uFillTx/>
                <a:latin typeface="等线" panose="020F0502020204030204"/>
                <a:ea typeface="+mn-ea"/>
                <a:cs typeface="+mn-cs"/>
              </a:rPr>
              <a:t>my entire</a:t>
            </a:r>
            <a:endPar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93" name="TextBox 131">
            <a:extLst>
              <a:ext uri="{FF2B5EF4-FFF2-40B4-BE49-F238E27FC236}">
                <a16:creationId xmlns:a16="http://schemas.microsoft.com/office/drawing/2014/main" id="{94283326-BB9E-4A27-8A9B-705C01569A95}"/>
              </a:ext>
            </a:extLst>
          </p:cNvPr>
          <p:cNvSpPr txBox="1"/>
          <p:nvPr/>
        </p:nvSpPr>
        <p:spPr>
          <a:xfrm>
            <a:off x="8934450" y="5252237"/>
            <a:ext cx="2148023" cy="33855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等线 Light" panose="020F0302020204030204"/>
                <a:ea typeface="+mn-ea"/>
                <a:cs typeface="+mn-cs"/>
              </a:rPr>
              <a:t>Description</a:t>
            </a:r>
          </a:p>
        </p:txBody>
      </p:sp>
    </p:spTree>
    <p:extLst>
      <p:ext uri="{BB962C8B-B14F-4D97-AF65-F5344CB8AC3E}">
        <p14:creationId xmlns:p14="http://schemas.microsoft.com/office/powerpoint/2010/main" val="151734055"/>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20"/>
                                        </p:tgtEl>
                                        <p:attrNameLst>
                                          <p:attrName>style.visibility</p:attrName>
                                        </p:attrNameLst>
                                      </p:cBhvr>
                                      <p:to>
                                        <p:strVal val="visible"/>
                                      </p:to>
                                    </p:set>
                                    <p:animEffect transition="in" filter="fade">
                                      <p:cBhvr>
                                        <p:cTn id="11" dur="500"/>
                                        <p:tgtEl>
                                          <p:spTgt spid="20"/>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4"/>
                                        </p:tgtEl>
                                        <p:attrNameLst>
                                          <p:attrName>style.visibility</p:attrName>
                                        </p:attrNameLst>
                                      </p:cBhvr>
                                      <p:to>
                                        <p:strVal val="visible"/>
                                      </p:to>
                                    </p:set>
                                    <p:animEffect transition="in" filter="fade">
                                      <p:cBhvr>
                                        <p:cTn id="15" dur="500"/>
                                        <p:tgtEl>
                                          <p:spTgt spid="4"/>
                                        </p:tgtEl>
                                      </p:cBhvr>
                                    </p:animEffect>
                                  </p:childTnLst>
                                </p:cTn>
                              </p:par>
                              <p:par>
                                <p:cTn id="16" presetID="10" presetClass="entr" presetSubtype="0" fill="hold" nodeType="withEffect">
                                  <p:stCondLst>
                                    <p:cond delay="0"/>
                                  </p:stCondLst>
                                  <p:childTnLst>
                                    <p:set>
                                      <p:cBhvr>
                                        <p:cTn id="17" dur="1" fill="hold">
                                          <p:stCondLst>
                                            <p:cond delay="0"/>
                                          </p:stCondLst>
                                        </p:cTn>
                                        <p:tgtEl>
                                          <p:spTgt spid="24"/>
                                        </p:tgtEl>
                                        <p:attrNameLst>
                                          <p:attrName>style.visibility</p:attrName>
                                        </p:attrNameLst>
                                      </p:cBhvr>
                                      <p:to>
                                        <p:strVal val="visible"/>
                                      </p:to>
                                    </p:set>
                                    <p:animEffect transition="in" filter="fade">
                                      <p:cBhvr>
                                        <p:cTn id="18" dur="500"/>
                                        <p:tgtEl>
                                          <p:spTgt spid="24"/>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21"/>
                                        </p:tgtEl>
                                        <p:attrNameLst>
                                          <p:attrName>style.visibility</p:attrName>
                                        </p:attrNameLst>
                                      </p:cBhvr>
                                      <p:to>
                                        <p:strVal val="visible"/>
                                      </p:to>
                                    </p:set>
                                    <p:animEffect transition="in" filter="fade">
                                      <p:cBhvr>
                                        <p:cTn id="21" dur="500"/>
                                        <p:tgtEl>
                                          <p:spTgt spid="21"/>
                                        </p:tgtEl>
                                      </p:cBhvr>
                                    </p:animEffect>
                                  </p:childTnLst>
                                </p:cTn>
                              </p:par>
                            </p:childTnLst>
                          </p:cTn>
                        </p:par>
                        <p:par>
                          <p:cTn id="22" fill="hold">
                            <p:stCondLst>
                              <p:cond delay="1500"/>
                            </p:stCondLst>
                            <p:childTnLst>
                              <p:par>
                                <p:cTn id="23" presetID="10" presetClass="entr" presetSubtype="0" fill="hold" grpId="0" nodeType="afterEffect">
                                  <p:stCondLst>
                                    <p:cond delay="0"/>
                                  </p:stCondLst>
                                  <p:childTnLst>
                                    <p:set>
                                      <p:cBhvr>
                                        <p:cTn id="24" dur="1" fill="hold">
                                          <p:stCondLst>
                                            <p:cond delay="0"/>
                                          </p:stCondLst>
                                        </p:cTn>
                                        <p:tgtEl>
                                          <p:spTgt spid="3"/>
                                        </p:tgtEl>
                                        <p:attrNameLst>
                                          <p:attrName>style.visibility</p:attrName>
                                        </p:attrNameLst>
                                      </p:cBhvr>
                                      <p:to>
                                        <p:strVal val="visible"/>
                                      </p:to>
                                    </p:set>
                                    <p:animEffect transition="in" filter="fade">
                                      <p:cBhvr>
                                        <p:cTn id="25" dur="500"/>
                                        <p:tgtEl>
                                          <p:spTgt spid="3"/>
                                        </p:tgtEl>
                                      </p:cBhvr>
                                    </p:animEffect>
                                  </p:childTnLst>
                                </p:cTn>
                              </p:par>
                              <p:par>
                                <p:cTn id="26" presetID="10" presetClass="entr" presetSubtype="0" fill="hold" nodeType="withEffect">
                                  <p:stCondLst>
                                    <p:cond delay="0"/>
                                  </p:stCondLst>
                                  <p:childTnLst>
                                    <p:set>
                                      <p:cBhvr>
                                        <p:cTn id="27" dur="1" fill="hold">
                                          <p:stCondLst>
                                            <p:cond delay="0"/>
                                          </p:stCondLst>
                                        </p:cTn>
                                        <p:tgtEl>
                                          <p:spTgt spid="31"/>
                                        </p:tgtEl>
                                        <p:attrNameLst>
                                          <p:attrName>style.visibility</p:attrName>
                                        </p:attrNameLst>
                                      </p:cBhvr>
                                      <p:to>
                                        <p:strVal val="visible"/>
                                      </p:to>
                                    </p:set>
                                    <p:animEffect transition="in" filter="fade">
                                      <p:cBhvr>
                                        <p:cTn id="28" dur="500"/>
                                        <p:tgtEl>
                                          <p:spTgt spid="31"/>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15"/>
                                        </p:tgtEl>
                                        <p:attrNameLst>
                                          <p:attrName>style.visibility</p:attrName>
                                        </p:attrNameLst>
                                      </p:cBhvr>
                                      <p:to>
                                        <p:strVal val="visible"/>
                                      </p:to>
                                    </p:set>
                                    <p:animEffect transition="in" filter="fade">
                                      <p:cBhvr>
                                        <p:cTn id="31" dur="500"/>
                                        <p:tgtEl>
                                          <p:spTgt spid="15"/>
                                        </p:tgtEl>
                                      </p:cBhvr>
                                    </p:animEffect>
                                  </p:childTnLst>
                                </p:cTn>
                              </p:par>
                            </p:childTnLst>
                          </p:cTn>
                        </p:par>
                        <p:par>
                          <p:cTn id="32" fill="hold">
                            <p:stCondLst>
                              <p:cond delay="2000"/>
                            </p:stCondLst>
                            <p:childTnLst>
                              <p:par>
                                <p:cTn id="33" presetID="22" presetClass="entr" presetSubtype="2" fill="hold" nodeType="afterEffect">
                                  <p:stCondLst>
                                    <p:cond delay="0"/>
                                  </p:stCondLst>
                                  <p:childTnLst>
                                    <p:set>
                                      <p:cBhvr>
                                        <p:cTn id="34" dur="1" fill="hold">
                                          <p:stCondLst>
                                            <p:cond delay="0"/>
                                          </p:stCondLst>
                                        </p:cTn>
                                        <p:tgtEl>
                                          <p:spTgt spid="67"/>
                                        </p:tgtEl>
                                        <p:attrNameLst>
                                          <p:attrName>style.visibility</p:attrName>
                                        </p:attrNameLst>
                                      </p:cBhvr>
                                      <p:to>
                                        <p:strVal val="visible"/>
                                      </p:to>
                                    </p:set>
                                    <p:animEffect transition="in" filter="wipe(right)">
                                      <p:cBhvr>
                                        <p:cTn id="35" dur="500"/>
                                        <p:tgtEl>
                                          <p:spTgt spid="67"/>
                                        </p:tgtEl>
                                      </p:cBhvr>
                                    </p:animEffect>
                                  </p:childTnLst>
                                </p:cTn>
                              </p:par>
                              <p:par>
                                <p:cTn id="36" presetID="22" presetClass="entr" presetSubtype="8" fill="hold" nodeType="withEffect">
                                  <p:stCondLst>
                                    <p:cond delay="0"/>
                                  </p:stCondLst>
                                  <p:childTnLst>
                                    <p:set>
                                      <p:cBhvr>
                                        <p:cTn id="37" dur="1" fill="hold">
                                          <p:stCondLst>
                                            <p:cond delay="0"/>
                                          </p:stCondLst>
                                        </p:cTn>
                                        <p:tgtEl>
                                          <p:spTgt spid="83"/>
                                        </p:tgtEl>
                                        <p:attrNameLst>
                                          <p:attrName>style.visibility</p:attrName>
                                        </p:attrNameLst>
                                      </p:cBhvr>
                                      <p:to>
                                        <p:strVal val="visible"/>
                                      </p:to>
                                    </p:set>
                                    <p:animEffect transition="in" filter="wipe(left)">
                                      <p:cBhvr>
                                        <p:cTn id="38" dur="500"/>
                                        <p:tgtEl>
                                          <p:spTgt spid="83"/>
                                        </p:tgtEl>
                                      </p:cBhvr>
                                    </p:animEffect>
                                  </p:childTnLst>
                                </p:cTn>
                              </p:par>
                            </p:childTnLst>
                          </p:cTn>
                        </p:par>
                        <p:par>
                          <p:cTn id="39" fill="hold">
                            <p:stCondLst>
                              <p:cond delay="2500"/>
                            </p:stCondLst>
                            <p:childTnLst>
                              <p:par>
                                <p:cTn id="40" presetID="10" presetClass="entr" presetSubtype="0" fill="hold" grpId="0" nodeType="afterEffect">
                                  <p:stCondLst>
                                    <p:cond delay="0"/>
                                  </p:stCondLst>
                                  <p:childTnLst>
                                    <p:set>
                                      <p:cBhvr>
                                        <p:cTn id="41" dur="1" fill="hold">
                                          <p:stCondLst>
                                            <p:cond delay="0"/>
                                          </p:stCondLst>
                                        </p:cTn>
                                        <p:tgtEl>
                                          <p:spTgt spid="73"/>
                                        </p:tgtEl>
                                        <p:attrNameLst>
                                          <p:attrName>style.visibility</p:attrName>
                                        </p:attrNameLst>
                                      </p:cBhvr>
                                      <p:to>
                                        <p:strVal val="visible"/>
                                      </p:to>
                                    </p:set>
                                    <p:animEffect transition="in" filter="fade">
                                      <p:cBhvr>
                                        <p:cTn id="42" dur="500"/>
                                        <p:tgtEl>
                                          <p:spTgt spid="73"/>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72"/>
                                        </p:tgtEl>
                                        <p:attrNameLst>
                                          <p:attrName>style.visibility</p:attrName>
                                        </p:attrNameLst>
                                      </p:cBhvr>
                                      <p:to>
                                        <p:strVal val="visible"/>
                                      </p:to>
                                    </p:set>
                                    <p:animEffect transition="in" filter="fade">
                                      <p:cBhvr>
                                        <p:cTn id="45" dur="500"/>
                                        <p:tgtEl>
                                          <p:spTgt spid="72"/>
                                        </p:tgtEl>
                                      </p:cBhvr>
                                    </p:animEffect>
                                  </p:childTnLst>
                                </p:cTn>
                              </p:par>
                              <p:par>
                                <p:cTn id="46" presetID="10" presetClass="entr" presetSubtype="0" fill="hold" grpId="0" nodeType="withEffect">
                                  <p:stCondLst>
                                    <p:cond delay="0"/>
                                  </p:stCondLst>
                                  <p:childTnLst>
                                    <p:set>
                                      <p:cBhvr>
                                        <p:cTn id="47" dur="1" fill="hold">
                                          <p:stCondLst>
                                            <p:cond delay="0"/>
                                          </p:stCondLst>
                                        </p:cTn>
                                        <p:tgtEl>
                                          <p:spTgt spid="93"/>
                                        </p:tgtEl>
                                        <p:attrNameLst>
                                          <p:attrName>style.visibility</p:attrName>
                                        </p:attrNameLst>
                                      </p:cBhvr>
                                      <p:to>
                                        <p:strVal val="visible"/>
                                      </p:to>
                                    </p:set>
                                    <p:animEffect transition="in" filter="fade">
                                      <p:cBhvr>
                                        <p:cTn id="48" dur="500"/>
                                        <p:tgtEl>
                                          <p:spTgt spid="93"/>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92"/>
                                        </p:tgtEl>
                                        <p:attrNameLst>
                                          <p:attrName>style.visibility</p:attrName>
                                        </p:attrNameLst>
                                      </p:cBhvr>
                                      <p:to>
                                        <p:strVal val="visible"/>
                                      </p:to>
                                    </p:set>
                                    <p:animEffect transition="in" filter="fade">
                                      <p:cBhvr>
                                        <p:cTn id="51" dur="500"/>
                                        <p:tgtEl>
                                          <p:spTgt spid="92"/>
                                        </p:tgtEl>
                                      </p:cBhvr>
                                    </p:animEffect>
                                  </p:childTnLst>
                                </p:cTn>
                              </p:par>
                            </p:childTnLst>
                          </p:cTn>
                        </p:par>
                        <p:par>
                          <p:cTn id="52" fill="hold">
                            <p:stCondLst>
                              <p:cond delay="3000"/>
                            </p:stCondLst>
                            <p:childTnLst>
                              <p:par>
                                <p:cTn id="53" presetID="10" presetClass="entr" presetSubtype="0" fill="hold" nodeType="afterEffect">
                                  <p:stCondLst>
                                    <p:cond delay="0"/>
                                  </p:stCondLst>
                                  <p:childTnLst>
                                    <p:set>
                                      <p:cBhvr>
                                        <p:cTn id="54" dur="1" fill="hold">
                                          <p:stCondLst>
                                            <p:cond delay="0"/>
                                          </p:stCondLst>
                                        </p:cTn>
                                        <p:tgtEl>
                                          <p:spTgt spid="49"/>
                                        </p:tgtEl>
                                        <p:attrNameLst>
                                          <p:attrName>style.visibility</p:attrName>
                                        </p:attrNameLst>
                                      </p:cBhvr>
                                      <p:to>
                                        <p:strVal val="visible"/>
                                      </p:to>
                                    </p:set>
                                    <p:animEffect transition="in" filter="fade">
                                      <p:cBhvr>
                                        <p:cTn id="55" dur="500"/>
                                        <p:tgtEl>
                                          <p:spTgt spid="49"/>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18"/>
                                        </p:tgtEl>
                                        <p:attrNameLst>
                                          <p:attrName>style.visibility</p:attrName>
                                        </p:attrNameLst>
                                      </p:cBhvr>
                                      <p:to>
                                        <p:strVal val="visible"/>
                                      </p:to>
                                    </p:set>
                                    <p:animEffect transition="in" filter="fade">
                                      <p:cBhvr>
                                        <p:cTn id="58" dur="500"/>
                                        <p:tgtEl>
                                          <p:spTgt spid="18"/>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5"/>
                                        </p:tgtEl>
                                        <p:attrNameLst>
                                          <p:attrName>style.visibility</p:attrName>
                                        </p:attrNameLst>
                                      </p:cBhvr>
                                      <p:to>
                                        <p:strVal val="visible"/>
                                      </p:to>
                                    </p:set>
                                    <p:animEffect transition="in" filter="fade">
                                      <p:cBhvr>
                                        <p:cTn id="61" dur="500"/>
                                        <p:tgtEl>
                                          <p:spTgt spid="5"/>
                                        </p:tgtEl>
                                      </p:cBhvr>
                                    </p:animEffect>
                                  </p:childTnLst>
                                </p:cTn>
                              </p:par>
                              <p:par>
                                <p:cTn id="62" presetID="10" presetClass="entr" presetSubtype="0" fill="hold" grpId="0" nodeType="withEffect">
                                  <p:stCondLst>
                                    <p:cond delay="0"/>
                                  </p:stCondLst>
                                  <p:childTnLst>
                                    <p:set>
                                      <p:cBhvr>
                                        <p:cTn id="63" dur="1" fill="hold">
                                          <p:stCondLst>
                                            <p:cond delay="0"/>
                                          </p:stCondLst>
                                        </p:cTn>
                                        <p:tgtEl>
                                          <p:spTgt spid="17"/>
                                        </p:tgtEl>
                                        <p:attrNameLst>
                                          <p:attrName>style.visibility</p:attrName>
                                        </p:attrNameLst>
                                      </p:cBhvr>
                                      <p:to>
                                        <p:strVal val="visible"/>
                                      </p:to>
                                    </p:set>
                                    <p:animEffect transition="in" filter="fade">
                                      <p:cBhvr>
                                        <p:cTn id="64" dur="500"/>
                                        <p:tgtEl>
                                          <p:spTgt spid="17"/>
                                        </p:tgtEl>
                                      </p:cBhvr>
                                    </p:animEffect>
                                  </p:childTnLst>
                                </p:cTn>
                              </p:par>
                              <p:par>
                                <p:cTn id="65" presetID="10" presetClass="entr" presetSubtype="0" fill="hold" nodeType="withEffect">
                                  <p:stCondLst>
                                    <p:cond delay="0"/>
                                  </p:stCondLst>
                                  <p:childTnLst>
                                    <p:set>
                                      <p:cBhvr>
                                        <p:cTn id="66" dur="1" fill="hold">
                                          <p:stCondLst>
                                            <p:cond delay="0"/>
                                          </p:stCondLst>
                                        </p:cTn>
                                        <p:tgtEl>
                                          <p:spTgt spid="34"/>
                                        </p:tgtEl>
                                        <p:attrNameLst>
                                          <p:attrName>style.visibility</p:attrName>
                                        </p:attrNameLst>
                                      </p:cBhvr>
                                      <p:to>
                                        <p:strVal val="visible"/>
                                      </p:to>
                                    </p:set>
                                    <p:animEffect transition="in" filter="fade">
                                      <p:cBhvr>
                                        <p:cTn id="67" dur="500"/>
                                        <p:tgtEl>
                                          <p:spTgt spid="34"/>
                                        </p:tgtEl>
                                      </p:cBhvr>
                                    </p:animEffect>
                                  </p:childTnLst>
                                </p:cTn>
                              </p:par>
                              <p:par>
                                <p:cTn id="68" presetID="10" presetClass="entr" presetSubtype="0" fill="hold" grpId="0" nodeType="withEffect">
                                  <p:stCondLst>
                                    <p:cond delay="0"/>
                                  </p:stCondLst>
                                  <p:childTnLst>
                                    <p:set>
                                      <p:cBhvr>
                                        <p:cTn id="69" dur="1" fill="hold">
                                          <p:stCondLst>
                                            <p:cond delay="0"/>
                                          </p:stCondLst>
                                        </p:cTn>
                                        <p:tgtEl>
                                          <p:spTgt spid="6"/>
                                        </p:tgtEl>
                                        <p:attrNameLst>
                                          <p:attrName>style.visibility</p:attrName>
                                        </p:attrNameLst>
                                      </p:cBhvr>
                                      <p:to>
                                        <p:strVal val="visible"/>
                                      </p:to>
                                    </p:set>
                                    <p:animEffect transition="in" filter="fade">
                                      <p:cBhvr>
                                        <p:cTn id="70" dur="500"/>
                                        <p:tgtEl>
                                          <p:spTgt spid="6"/>
                                        </p:tgtEl>
                                      </p:cBhvr>
                                    </p:animEffect>
                                  </p:childTnLst>
                                </p:cTn>
                              </p:par>
                            </p:childTnLst>
                          </p:cTn>
                        </p:par>
                        <p:par>
                          <p:cTn id="71" fill="hold">
                            <p:stCondLst>
                              <p:cond delay="3500"/>
                            </p:stCondLst>
                            <p:childTnLst>
                              <p:par>
                                <p:cTn id="72" presetID="22" presetClass="entr" presetSubtype="2" fill="hold" nodeType="afterEffect">
                                  <p:stCondLst>
                                    <p:cond delay="0"/>
                                  </p:stCondLst>
                                  <p:childTnLst>
                                    <p:set>
                                      <p:cBhvr>
                                        <p:cTn id="73" dur="1" fill="hold">
                                          <p:stCondLst>
                                            <p:cond delay="0"/>
                                          </p:stCondLst>
                                        </p:cTn>
                                        <p:tgtEl>
                                          <p:spTgt spid="64"/>
                                        </p:tgtEl>
                                        <p:attrNameLst>
                                          <p:attrName>style.visibility</p:attrName>
                                        </p:attrNameLst>
                                      </p:cBhvr>
                                      <p:to>
                                        <p:strVal val="visible"/>
                                      </p:to>
                                    </p:set>
                                    <p:animEffect transition="in" filter="wipe(right)">
                                      <p:cBhvr>
                                        <p:cTn id="74" dur="500"/>
                                        <p:tgtEl>
                                          <p:spTgt spid="64"/>
                                        </p:tgtEl>
                                      </p:cBhvr>
                                    </p:animEffect>
                                  </p:childTnLst>
                                </p:cTn>
                              </p:par>
                              <p:par>
                                <p:cTn id="75" presetID="22" presetClass="entr" presetSubtype="8" fill="hold" nodeType="withEffect">
                                  <p:stCondLst>
                                    <p:cond delay="0"/>
                                  </p:stCondLst>
                                  <p:childTnLst>
                                    <p:set>
                                      <p:cBhvr>
                                        <p:cTn id="76" dur="1" fill="hold">
                                          <p:stCondLst>
                                            <p:cond delay="0"/>
                                          </p:stCondLst>
                                        </p:cTn>
                                        <p:tgtEl>
                                          <p:spTgt spid="80"/>
                                        </p:tgtEl>
                                        <p:attrNameLst>
                                          <p:attrName>style.visibility</p:attrName>
                                        </p:attrNameLst>
                                      </p:cBhvr>
                                      <p:to>
                                        <p:strVal val="visible"/>
                                      </p:to>
                                    </p:set>
                                    <p:animEffect transition="in" filter="wipe(left)">
                                      <p:cBhvr>
                                        <p:cTn id="77" dur="500"/>
                                        <p:tgtEl>
                                          <p:spTgt spid="80"/>
                                        </p:tgtEl>
                                      </p:cBhvr>
                                    </p:animEffect>
                                  </p:childTnLst>
                                </p:cTn>
                              </p:par>
                            </p:childTnLst>
                          </p:cTn>
                        </p:par>
                        <p:par>
                          <p:cTn id="78" fill="hold">
                            <p:stCondLst>
                              <p:cond delay="4000"/>
                            </p:stCondLst>
                            <p:childTnLst>
                              <p:par>
                                <p:cTn id="79" presetID="10" presetClass="entr" presetSubtype="0" fill="hold" grpId="0" nodeType="afterEffect">
                                  <p:stCondLst>
                                    <p:cond delay="0"/>
                                  </p:stCondLst>
                                  <p:childTnLst>
                                    <p:set>
                                      <p:cBhvr>
                                        <p:cTn id="80" dur="1" fill="hold">
                                          <p:stCondLst>
                                            <p:cond delay="0"/>
                                          </p:stCondLst>
                                        </p:cTn>
                                        <p:tgtEl>
                                          <p:spTgt spid="71"/>
                                        </p:tgtEl>
                                        <p:attrNameLst>
                                          <p:attrName>style.visibility</p:attrName>
                                        </p:attrNameLst>
                                      </p:cBhvr>
                                      <p:to>
                                        <p:strVal val="visible"/>
                                      </p:to>
                                    </p:set>
                                    <p:animEffect transition="in" filter="fade">
                                      <p:cBhvr>
                                        <p:cTn id="81" dur="500"/>
                                        <p:tgtEl>
                                          <p:spTgt spid="71"/>
                                        </p:tgtEl>
                                      </p:cBhvr>
                                    </p:animEffect>
                                  </p:childTnLst>
                                </p:cTn>
                              </p:par>
                              <p:par>
                                <p:cTn id="82" presetID="10" presetClass="entr" presetSubtype="0" fill="hold" grpId="0" nodeType="withEffect">
                                  <p:stCondLst>
                                    <p:cond delay="0"/>
                                  </p:stCondLst>
                                  <p:childTnLst>
                                    <p:set>
                                      <p:cBhvr>
                                        <p:cTn id="83" dur="1" fill="hold">
                                          <p:stCondLst>
                                            <p:cond delay="0"/>
                                          </p:stCondLst>
                                        </p:cTn>
                                        <p:tgtEl>
                                          <p:spTgt spid="70"/>
                                        </p:tgtEl>
                                        <p:attrNameLst>
                                          <p:attrName>style.visibility</p:attrName>
                                        </p:attrNameLst>
                                      </p:cBhvr>
                                      <p:to>
                                        <p:strVal val="visible"/>
                                      </p:to>
                                    </p:set>
                                    <p:animEffect transition="in" filter="fade">
                                      <p:cBhvr>
                                        <p:cTn id="84" dur="500"/>
                                        <p:tgtEl>
                                          <p:spTgt spid="70"/>
                                        </p:tgtEl>
                                      </p:cBhvr>
                                    </p:animEffect>
                                  </p:childTnLst>
                                </p:cTn>
                              </p:par>
                              <p:par>
                                <p:cTn id="85" presetID="10" presetClass="entr" presetSubtype="0" fill="hold" grpId="0" nodeType="withEffect">
                                  <p:stCondLst>
                                    <p:cond delay="0"/>
                                  </p:stCondLst>
                                  <p:childTnLst>
                                    <p:set>
                                      <p:cBhvr>
                                        <p:cTn id="86" dur="1" fill="hold">
                                          <p:stCondLst>
                                            <p:cond delay="0"/>
                                          </p:stCondLst>
                                        </p:cTn>
                                        <p:tgtEl>
                                          <p:spTgt spid="91"/>
                                        </p:tgtEl>
                                        <p:attrNameLst>
                                          <p:attrName>style.visibility</p:attrName>
                                        </p:attrNameLst>
                                      </p:cBhvr>
                                      <p:to>
                                        <p:strVal val="visible"/>
                                      </p:to>
                                    </p:set>
                                    <p:animEffect transition="in" filter="fade">
                                      <p:cBhvr>
                                        <p:cTn id="87" dur="500"/>
                                        <p:tgtEl>
                                          <p:spTgt spid="91"/>
                                        </p:tgtEl>
                                      </p:cBhvr>
                                    </p:animEffect>
                                  </p:childTnLst>
                                </p:cTn>
                              </p:par>
                              <p:par>
                                <p:cTn id="88" presetID="10" presetClass="entr" presetSubtype="0" fill="hold" grpId="0" nodeType="withEffect">
                                  <p:stCondLst>
                                    <p:cond delay="0"/>
                                  </p:stCondLst>
                                  <p:childTnLst>
                                    <p:set>
                                      <p:cBhvr>
                                        <p:cTn id="89" dur="1" fill="hold">
                                          <p:stCondLst>
                                            <p:cond delay="0"/>
                                          </p:stCondLst>
                                        </p:cTn>
                                        <p:tgtEl>
                                          <p:spTgt spid="90"/>
                                        </p:tgtEl>
                                        <p:attrNameLst>
                                          <p:attrName>style.visibility</p:attrName>
                                        </p:attrNameLst>
                                      </p:cBhvr>
                                      <p:to>
                                        <p:strVal val="visible"/>
                                      </p:to>
                                    </p:set>
                                    <p:animEffect transition="in" filter="fade">
                                      <p:cBhvr>
                                        <p:cTn id="90" dur="500"/>
                                        <p:tgtEl>
                                          <p:spTgt spid="90"/>
                                        </p:tgtEl>
                                      </p:cBhvr>
                                    </p:animEffect>
                                  </p:childTnLst>
                                </p:cTn>
                              </p:par>
                            </p:childTnLst>
                          </p:cTn>
                        </p:par>
                        <p:par>
                          <p:cTn id="91" fill="hold">
                            <p:stCondLst>
                              <p:cond delay="4500"/>
                            </p:stCondLst>
                            <p:childTnLst>
                              <p:par>
                                <p:cTn id="92" presetID="10" presetClass="entr" presetSubtype="0" fill="hold" grpId="0" nodeType="afterEffect">
                                  <p:stCondLst>
                                    <p:cond delay="0"/>
                                  </p:stCondLst>
                                  <p:childTnLst>
                                    <p:set>
                                      <p:cBhvr>
                                        <p:cTn id="93" dur="1" fill="hold">
                                          <p:stCondLst>
                                            <p:cond delay="0"/>
                                          </p:stCondLst>
                                        </p:cTn>
                                        <p:tgtEl>
                                          <p:spTgt spid="9"/>
                                        </p:tgtEl>
                                        <p:attrNameLst>
                                          <p:attrName>style.visibility</p:attrName>
                                        </p:attrNameLst>
                                      </p:cBhvr>
                                      <p:to>
                                        <p:strVal val="visible"/>
                                      </p:to>
                                    </p:set>
                                    <p:animEffect transition="in" filter="fade">
                                      <p:cBhvr>
                                        <p:cTn id="94" dur="500"/>
                                        <p:tgtEl>
                                          <p:spTgt spid="9"/>
                                        </p:tgtEl>
                                      </p:cBhvr>
                                    </p:animEffect>
                                  </p:childTnLst>
                                </p:cTn>
                              </p:par>
                              <p:par>
                                <p:cTn id="95" presetID="10" presetClass="entr" presetSubtype="0" fill="hold" grpId="0" nodeType="withEffect">
                                  <p:stCondLst>
                                    <p:cond delay="0"/>
                                  </p:stCondLst>
                                  <p:childTnLst>
                                    <p:set>
                                      <p:cBhvr>
                                        <p:cTn id="96" dur="1" fill="hold">
                                          <p:stCondLst>
                                            <p:cond delay="0"/>
                                          </p:stCondLst>
                                        </p:cTn>
                                        <p:tgtEl>
                                          <p:spTgt spid="7"/>
                                        </p:tgtEl>
                                        <p:attrNameLst>
                                          <p:attrName>style.visibility</p:attrName>
                                        </p:attrNameLst>
                                      </p:cBhvr>
                                      <p:to>
                                        <p:strVal val="visible"/>
                                      </p:to>
                                    </p:set>
                                    <p:animEffect transition="in" filter="fade">
                                      <p:cBhvr>
                                        <p:cTn id="97" dur="500"/>
                                        <p:tgtEl>
                                          <p:spTgt spid="7"/>
                                        </p:tgtEl>
                                      </p:cBhvr>
                                    </p:animEffect>
                                  </p:childTnLst>
                                </p:cTn>
                              </p:par>
                              <p:par>
                                <p:cTn id="98" presetID="10" presetClass="entr" presetSubtype="0" fill="hold" grpId="0" nodeType="withEffect">
                                  <p:stCondLst>
                                    <p:cond delay="0"/>
                                  </p:stCondLst>
                                  <p:childTnLst>
                                    <p:set>
                                      <p:cBhvr>
                                        <p:cTn id="99" dur="1" fill="hold">
                                          <p:stCondLst>
                                            <p:cond delay="0"/>
                                          </p:stCondLst>
                                        </p:cTn>
                                        <p:tgtEl>
                                          <p:spTgt spid="22"/>
                                        </p:tgtEl>
                                        <p:attrNameLst>
                                          <p:attrName>style.visibility</p:attrName>
                                        </p:attrNameLst>
                                      </p:cBhvr>
                                      <p:to>
                                        <p:strVal val="visible"/>
                                      </p:to>
                                    </p:set>
                                    <p:animEffect transition="in" filter="fade">
                                      <p:cBhvr>
                                        <p:cTn id="100" dur="500"/>
                                        <p:tgtEl>
                                          <p:spTgt spid="22"/>
                                        </p:tgtEl>
                                      </p:cBhvr>
                                    </p:animEffect>
                                  </p:childTnLst>
                                </p:cTn>
                              </p:par>
                              <p:par>
                                <p:cTn id="101" presetID="10" presetClass="entr" presetSubtype="0" fill="hold" grpId="0" nodeType="withEffect">
                                  <p:stCondLst>
                                    <p:cond delay="0"/>
                                  </p:stCondLst>
                                  <p:childTnLst>
                                    <p:set>
                                      <p:cBhvr>
                                        <p:cTn id="102" dur="1" fill="hold">
                                          <p:stCondLst>
                                            <p:cond delay="0"/>
                                          </p:stCondLst>
                                        </p:cTn>
                                        <p:tgtEl>
                                          <p:spTgt spid="16"/>
                                        </p:tgtEl>
                                        <p:attrNameLst>
                                          <p:attrName>style.visibility</p:attrName>
                                        </p:attrNameLst>
                                      </p:cBhvr>
                                      <p:to>
                                        <p:strVal val="visible"/>
                                      </p:to>
                                    </p:set>
                                    <p:animEffect transition="in" filter="fade">
                                      <p:cBhvr>
                                        <p:cTn id="103" dur="500"/>
                                        <p:tgtEl>
                                          <p:spTgt spid="16"/>
                                        </p:tgtEl>
                                      </p:cBhvr>
                                    </p:animEffect>
                                  </p:childTnLst>
                                </p:cTn>
                              </p:par>
                              <p:par>
                                <p:cTn id="104" presetID="10" presetClass="entr" presetSubtype="0" fill="hold" nodeType="withEffect">
                                  <p:stCondLst>
                                    <p:cond delay="0"/>
                                  </p:stCondLst>
                                  <p:childTnLst>
                                    <p:set>
                                      <p:cBhvr>
                                        <p:cTn id="105" dur="1" fill="hold">
                                          <p:stCondLst>
                                            <p:cond delay="0"/>
                                          </p:stCondLst>
                                        </p:cTn>
                                        <p:tgtEl>
                                          <p:spTgt spid="27"/>
                                        </p:tgtEl>
                                        <p:attrNameLst>
                                          <p:attrName>style.visibility</p:attrName>
                                        </p:attrNameLst>
                                      </p:cBhvr>
                                      <p:to>
                                        <p:strVal val="visible"/>
                                      </p:to>
                                    </p:set>
                                    <p:animEffect transition="in" filter="fade">
                                      <p:cBhvr>
                                        <p:cTn id="106" dur="500"/>
                                        <p:tgtEl>
                                          <p:spTgt spid="27"/>
                                        </p:tgtEl>
                                      </p:cBhvr>
                                    </p:animEffect>
                                  </p:childTnLst>
                                </p:cTn>
                              </p:par>
                              <p:par>
                                <p:cTn id="107" presetID="10" presetClass="entr" presetSubtype="0" fill="hold" grpId="0" nodeType="withEffect">
                                  <p:stCondLst>
                                    <p:cond delay="0"/>
                                  </p:stCondLst>
                                  <p:childTnLst>
                                    <p:set>
                                      <p:cBhvr>
                                        <p:cTn id="108" dur="1" fill="hold">
                                          <p:stCondLst>
                                            <p:cond delay="0"/>
                                          </p:stCondLst>
                                        </p:cTn>
                                        <p:tgtEl>
                                          <p:spTgt spid="8"/>
                                        </p:tgtEl>
                                        <p:attrNameLst>
                                          <p:attrName>style.visibility</p:attrName>
                                        </p:attrNameLst>
                                      </p:cBhvr>
                                      <p:to>
                                        <p:strVal val="visible"/>
                                      </p:to>
                                    </p:set>
                                    <p:animEffect transition="in" filter="fade">
                                      <p:cBhvr>
                                        <p:cTn id="109" dur="500"/>
                                        <p:tgtEl>
                                          <p:spTgt spid="8"/>
                                        </p:tgtEl>
                                      </p:cBhvr>
                                    </p:animEffect>
                                  </p:childTnLst>
                                </p:cTn>
                              </p:par>
                            </p:childTnLst>
                          </p:cTn>
                        </p:par>
                        <p:par>
                          <p:cTn id="110" fill="hold">
                            <p:stCondLst>
                              <p:cond delay="5000"/>
                            </p:stCondLst>
                            <p:childTnLst>
                              <p:par>
                                <p:cTn id="111" presetID="22" presetClass="entr" presetSubtype="2" fill="hold" nodeType="afterEffect">
                                  <p:stCondLst>
                                    <p:cond delay="0"/>
                                  </p:stCondLst>
                                  <p:childTnLst>
                                    <p:set>
                                      <p:cBhvr>
                                        <p:cTn id="112" dur="1" fill="hold">
                                          <p:stCondLst>
                                            <p:cond delay="0"/>
                                          </p:stCondLst>
                                        </p:cTn>
                                        <p:tgtEl>
                                          <p:spTgt spid="59"/>
                                        </p:tgtEl>
                                        <p:attrNameLst>
                                          <p:attrName>style.visibility</p:attrName>
                                        </p:attrNameLst>
                                      </p:cBhvr>
                                      <p:to>
                                        <p:strVal val="visible"/>
                                      </p:to>
                                    </p:set>
                                    <p:animEffect transition="in" filter="wipe(right)">
                                      <p:cBhvr>
                                        <p:cTn id="113" dur="500"/>
                                        <p:tgtEl>
                                          <p:spTgt spid="59"/>
                                        </p:tgtEl>
                                      </p:cBhvr>
                                    </p:animEffect>
                                  </p:childTnLst>
                                </p:cTn>
                              </p:par>
                              <p:par>
                                <p:cTn id="114" presetID="22" presetClass="entr" presetSubtype="8" fill="hold" nodeType="withEffect">
                                  <p:stCondLst>
                                    <p:cond delay="0"/>
                                  </p:stCondLst>
                                  <p:childTnLst>
                                    <p:set>
                                      <p:cBhvr>
                                        <p:cTn id="115" dur="1" fill="hold">
                                          <p:stCondLst>
                                            <p:cond delay="0"/>
                                          </p:stCondLst>
                                        </p:cTn>
                                        <p:tgtEl>
                                          <p:spTgt spid="77"/>
                                        </p:tgtEl>
                                        <p:attrNameLst>
                                          <p:attrName>style.visibility</p:attrName>
                                        </p:attrNameLst>
                                      </p:cBhvr>
                                      <p:to>
                                        <p:strVal val="visible"/>
                                      </p:to>
                                    </p:set>
                                    <p:animEffect transition="in" filter="wipe(left)">
                                      <p:cBhvr>
                                        <p:cTn id="116" dur="500"/>
                                        <p:tgtEl>
                                          <p:spTgt spid="77"/>
                                        </p:tgtEl>
                                      </p:cBhvr>
                                    </p:animEffect>
                                  </p:childTnLst>
                                </p:cTn>
                              </p:par>
                            </p:childTnLst>
                          </p:cTn>
                        </p:par>
                        <p:par>
                          <p:cTn id="117" fill="hold">
                            <p:stCondLst>
                              <p:cond delay="5500"/>
                            </p:stCondLst>
                            <p:childTnLst>
                              <p:par>
                                <p:cTn id="118" presetID="10" presetClass="entr" presetSubtype="0" fill="hold" grpId="0" nodeType="afterEffect">
                                  <p:stCondLst>
                                    <p:cond delay="0"/>
                                  </p:stCondLst>
                                  <p:childTnLst>
                                    <p:set>
                                      <p:cBhvr>
                                        <p:cTn id="119" dur="1" fill="hold">
                                          <p:stCondLst>
                                            <p:cond delay="0"/>
                                          </p:stCondLst>
                                        </p:cTn>
                                        <p:tgtEl>
                                          <p:spTgt spid="63"/>
                                        </p:tgtEl>
                                        <p:attrNameLst>
                                          <p:attrName>style.visibility</p:attrName>
                                        </p:attrNameLst>
                                      </p:cBhvr>
                                      <p:to>
                                        <p:strVal val="visible"/>
                                      </p:to>
                                    </p:set>
                                    <p:animEffect transition="in" filter="fade">
                                      <p:cBhvr>
                                        <p:cTn id="120" dur="500"/>
                                        <p:tgtEl>
                                          <p:spTgt spid="63"/>
                                        </p:tgtEl>
                                      </p:cBhvr>
                                    </p:animEffect>
                                  </p:childTnLst>
                                </p:cTn>
                              </p:par>
                              <p:par>
                                <p:cTn id="121" presetID="10" presetClass="entr" presetSubtype="0" fill="hold" grpId="0" nodeType="withEffect">
                                  <p:stCondLst>
                                    <p:cond delay="0"/>
                                  </p:stCondLst>
                                  <p:childTnLst>
                                    <p:set>
                                      <p:cBhvr>
                                        <p:cTn id="122" dur="1" fill="hold">
                                          <p:stCondLst>
                                            <p:cond delay="0"/>
                                          </p:stCondLst>
                                        </p:cTn>
                                        <p:tgtEl>
                                          <p:spTgt spid="62"/>
                                        </p:tgtEl>
                                        <p:attrNameLst>
                                          <p:attrName>style.visibility</p:attrName>
                                        </p:attrNameLst>
                                      </p:cBhvr>
                                      <p:to>
                                        <p:strVal val="visible"/>
                                      </p:to>
                                    </p:set>
                                    <p:animEffect transition="in" filter="fade">
                                      <p:cBhvr>
                                        <p:cTn id="123" dur="500"/>
                                        <p:tgtEl>
                                          <p:spTgt spid="62"/>
                                        </p:tgtEl>
                                      </p:cBhvr>
                                    </p:animEffect>
                                  </p:childTnLst>
                                </p:cTn>
                              </p:par>
                              <p:par>
                                <p:cTn id="124" presetID="10" presetClass="entr" presetSubtype="0" fill="hold" grpId="0" nodeType="withEffect">
                                  <p:stCondLst>
                                    <p:cond delay="0"/>
                                  </p:stCondLst>
                                  <p:childTnLst>
                                    <p:set>
                                      <p:cBhvr>
                                        <p:cTn id="125" dur="1" fill="hold">
                                          <p:stCondLst>
                                            <p:cond delay="0"/>
                                          </p:stCondLst>
                                        </p:cTn>
                                        <p:tgtEl>
                                          <p:spTgt spid="89"/>
                                        </p:tgtEl>
                                        <p:attrNameLst>
                                          <p:attrName>style.visibility</p:attrName>
                                        </p:attrNameLst>
                                      </p:cBhvr>
                                      <p:to>
                                        <p:strVal val="visible"/>
                                      </p:to>
                                    </p:set>
                                    <p:animEffect transition="in" filter="fade">
                                      <p:cBhvr>
                                        <p:cTn id="126" dur="500"/>
                                        <p:tgtEl>
                                          <p:spTgt spid="89"/>
                                        </p:tgtEl>
                                      </p:cBhvr>
                                    </p:animEffect>
                                  </p:childTnLst>
                                </p:cTn>
                              </p:par>
                              <p:par>
                                <p:cTn id="127" presetID="10" presetClass="entr" presetSubtype="0" fill="hold" grpId="0" nodeType="withEffect">
                                  <p:stCondLst>
                                    <p:cond delay="0"/>
                                  </p:stCondLst>
                                  <p:childTnLst>
                                    <p:set>
                                      <p:cBhvr>
                                        <p:cTn id="128" dur="1" fill="hold">
                                          <p:stCondLst>
                                            <p:cond delay="0"/>
                                          </p:stCondLst>
                                        </p:cTn>
                                        <p:tgtEl>
                                          <p:spTgt spid="88"/>
                                        </p:tgtEl>
                                        <p:attrNameLst>
                                          <p:attrName>style.visibility</p:attrName>
                                        </p:attrNameLst>
                                      </p:cBhvr>
                                      <p:to>
                                        <p:strVal val="visible"/>
                                      </p:to>
                                    </p:set>
                                    <p:animEffect transition="in" filter="fade">
                                      <p:cBhvr>
                                        <p:cTn id="129" dur="500"/>
                                        <p:tgtEl>
                                          <p:spTgt spid="88"/>
                                        </p:tgtEl>
                                      </p:cBhvr>
                                    </p:animEffect>
                                  </p:childTnLst>
                                </p:cTn>
                              </p:par>
                            </p:childTnLst>
                          </p:cTn>
                        </p:par>
                        <p:par>
                          <p:cTn id="130" fill="hold">
                            <p:stCondLst>
                              <p:cond delay="6000"/>
                            </p:stCondLst>
                            <p:childTnLst>
                              <p:par>
                                <p:cTn id="131" presetID="10" presetClass="entr" presetSubtype="0" fill="hold" grpId="0" nodeType="afterEffect">
                                  <p:stCondLst>
                                    <p:cond delay="0"/>
                                  </p:stCondLst>
                                  <p:childTnLst>
                                    <p:set>
                                      <p:cBhvr>
                                        <p:cTn id="132" dur="1" fill="hold">
                                          <p:stCondLst>
                                            <p:cond delay="0"/>
                                          </p:stCondLst>
                                        </p:cTn>
                                        <p:tgtEl>
                                          <p:spTgt spid="11"/>
                                        </p:tgtEl>
                                        <p:attrNameLst>
                                          <p:attrName>style.visibility</p:attrName>
                                        </p:attrNameLst>
                                      </p:cBhvr>
                                      <p:to>
                                        <p:strVal val="visible"/>
                                      </p:to>
                                    </p:set>
                                    <p:animEffect transition="in" filter="fade">
                                      <p:cBhvr>
                                        <p:cTn id="133" dur="500"/>
                                        <p:tgtEl>
                                          <p:spTgt spid="11"/>
                                        </p:tgtEl>
                                      </p:cBhvr>
                                    </p:animEffect>
                                  </p:childTnLst>
                                </p:cTn>
                              </p:par>
                              <p:par>
                                <p:cTn id="134" presetID="10" presetClass="entr" presetSubtype="0" fill="hold" grpId="0" nodeType="withEffect">
                                  <p:stCondLst>
                                    <p:cond delay="0"/>
                                  </p:stCondLst>
                                  <p:childTnLst>
                                    <p:set>
                                      <p:cBhvr>
                                        <p:cTn id="135" dur="1" fill="hold">
                                          <p:stCondLst>
                                            <p:cond delay="0"/>
                                          </p:stCondLst>
                                        </p:cTn>
                                        <p:tgtEl>
                                          <p:spTgt spid="12"/>
                                        </p:tgtEl>
                                        <p:attrNameLst>
                                          <p:attrName>style.visibility</p:attrName>
                                        </p:attrNameLst>
                                      </p:cBhvr>
                                      <p:to>
                                        <p:strVal val="visible"/>
                                      </p:to>
                                    </p:set>
                                    <p:animEffect transition="in" filter="fade">
                                      <p:cBhvr>
                                        <p:cTn id="136" dur="500"/>
                                        <p:tgtEl>
                                          <p:spTgt spid="12"/>
                                        </p:tgtEl>
                                      </p:cBhvr>
                                    </p:animEffect>
                                  </p:childTnLst>
                                </p:cTn>
                              </p:par>
                              <p:par>
                                <p:cTn id="137" presetID="10" presetClass="entr" presetSubtype="0" fill="hold" grpId="0" nodeType="withEffect">
                                  <p:stCondLst>
                                    <p:cond delay="0"/>
                                  </p:stCondLst>
                                  <p:childTnLst>
                                    <p:set>
                                      <p:cBhvr>
                                        <p:cTn id="138" dur="1" fill="hold">
                                          <p:stCondLst>
                                            <p:cond delay="0"/>
                                          </p:stCondLst>
                                        </p:cTn>
                                        <p:tgtEl>
                                          <p:spTgt spid="23"/>
                                        </p:tgtEl>
                                        <p:attrNameLst>
                                          <p:attrName>style.visibility</p:attrName>
                                        </p:attrNameLst>
                                      </p:cBhvr>
                                      <p:to>
                                        <p:strVal val="visible"/>
                                      </p:to>
                                    </p:set>
                                    <p:animEffect transition="in" filter="fade">
                                      <p:cBhvr>
                                        <p:cTn id="139" dur="500"/>
                                        <p:tgtEl>
                                          <p:spTgt spid="23"/>
                                        </p:tgtEl>
                                      </p:cBhvr>
                                    </p:animEffect>
                                  </p:childTnLst>
                                </p:cTn>
                              </p:par>
                              <p:par>
                                <p:cTn id="140" presetID="10" presetClass="entr" presetSubtype="0" fill="hold" grpId="0" nodeType="withEffect">
                                  <p:stCondLst>
                                    <p:cond delay="0"/>
                                  </p:stCondLst>
                                  <p:childTnLst>
                                    <p:set>
                                      <p:cBhvr>
                                        <p:cTn id="141" dur="1" fill="hold">
                                          <p:stCondLst>
                                            <p:cond delay="0"/>
                                          </p:stCondLst>
                                        </p:cTn>
                                        <p:tgtEl>
                                          <p:spTgt spid="13"/>
                                        </p:tgtEl>
                                        <p:attrNameLst>
                                          <p:attrName>style.visibility</p:attrName>
                                        </p:attrNameLst>
                                      </p:cBhvr>
                                      <p:to>
                                        <p:strVal val="visible"/>
                                      </p:to>
                                    </p:set>
                                    <p:animEffect transition="in" filter="fade">
                                      <p:cBhvr>
                                        <p:cTn id="142" dur="500"/>
                                        <p:tgtEl>
                                          <p:spTgt spid="13"/>
                                        </p:tgtEl>
                                      </p:cBhvr>
                                    </p:animEffect>
                                  </p:childTnLst>
                                </p:cTn>
                              </p:par>
                              <p:par>
                                <p:cTn id="143" presetID="10" presetClass="entr" presetSubtype="0" fill="hold" nodeType="withEffect">
                                  <p:stCondLst>
                                    <p:cond delay="0"/>
                                  </p:stCondLst>
                                  <p:childTnLst>
                                    <p:set>
                                      <p:cBhvr>
                                        <p:cTn id="144" dur="1" fill="hold">
                                          <p:stCondLst>
                                            <p:cond delay="0"/>
                                          </p:stCondLst>
                                        </p:cTn>
                                        <p:tgtEl>
                                          <p:spTgt spid="44"/>
                                        </p:tgtEl>
                                        <p:attrNameLst>
                                          <p:attrName>style.visibility</p:attrName>
                                        </p:attrNameLst>
                                      </p:cBhvr>
                                      <p:to>
                                        <p:strVal val="visible"/>
                                      </p:to>
                                    </p:set>
                                    <p:animEffect transition="in" filter="fade">
                                      <p:cBhvr>
                                        <p:cTn id="145" dur="500"/>
                                        <p:tgtEl>
                                          <p:spTgt spid="44"/>
                                        </p:tgtEl>
                                      </p:cBhvr>
                                    </p:animEffect>
                                  </p:childTnLst>
                                </p:cTn>
                              </p:par>
                              <p:par>
                                <p:cTn id="146" presetID="10" presetClass="entr" presetSubtype="0" fill="hold" grpId="0" nodeType="withEffect">
                                  <p:stCondLst>
                                    <p:cond delay="0"/>
                                  </p:stCondLst>
                                  <p:childTnLst>
                                    <p:set>
                                      <p:cBhvr>
                                        <p:cTn id="147" dur="1" fill="hold">
                                          <p:stCondLst>
                                            <p:cond delay="0"/>
                                          </p:stCondLst>
                                        </p:cTn>
                                        <p:tgtEl>
                                          <p:spTgt spid="10"/>
                                        </p:tgtEl>
                                        <p:attrNameLst>
                                          <p:attrName>style.visibility</p:attrName>
                                        </p:attrNameLst>
                                      </p:cBhvr>
                                      <p:to>
                                        <p:strVal val="visible"/>
                                      </p:to>
                                    </p:set>
                                    <p:animEffect transition="in" filter="fade">
                                      <p:cBhvr>
                                        <p:cTn id="148" dur="500"/>
                                        <p:tgtEl>
                                          <p:spTgt spid="10"/>
                                        </p:tgtEl>
                                      </p:cBhvr>
                                    </p:animEffect>
                                  </p:childTnLst>
                                </p:cTn>
                              </p:par>
                              <p:par>
                                <p:cTn id="149" presetID="10" presetClass="entr" presetSubtype="0" fill="hold" grpId="0" nodeType="withEffect">
                                  <p:stCondLst>
                                    <p:cond delay="0"/>
                                  </p:stCondLst>
                                  <p:childTnLst>
                                    <p:set>
                                      <p:cBhvr>
                                        <p:cTn id="150" dur="1" fill="hold">
                                          <p:stCondLst>
                                            <p:cond delay="0"/>
                                          </p:stCondLst>
                                        </p:cTn>
                                        <p:tgtEl>
                                          <p:spTgt spid="14"/>
                                        </p:tgtEl>
                                        <p:attrNameLst>
                                          <p:attrName>style.visibility</p:attrName>
                                        </p:attrNameLst>
                                      </p:cBhvr>
                                      <p:to>
                                        <p:strVal val="visible"/>
                                      </p:to>
                                    </p:set>
                                    <p:animEffect transition="in" filter="fade">
                                      <p:cBhvr>
                                        <p:cTn id="151" dur="500"/>
                                        <p:tgtEl>
                                          <p:spTgt spid="14"/>
                                        </p:tgtEl>
                                      </p:cBhvr>
                                    </p:animEffect>
                                  </p:childTnLst>
                                </p:cTn>
                              </p:par>
                              <p:par>
                                <p:cTn id="152" presetID="10" presetClass="entr" presetSubtype="0" fill="hold" grpId="0" nodeType="withEffect">
                                  <p:stCondLst>
                                    <p:cond delay="0"/>
                                  </p:stCondLst>
                                  <p:childTnLst>
                                    <p:set>
                                      <p:cBhvr>
                                        <p:cTn id="153" dur="1" fill="hold">
                                          <p:stCondLst>
                                            <p:cond delay="0"/>
                                          </p:stCondLst>
                                        </p:cTn>
                                        <p:tgtEl>
                                          <p:spTgt spid="19"/>
                                        </p:tgtEl>
                                        <p:attrNameLst>
                                          <p:attrName>style.visibility</p:attrName>
                                        </p:attrNameLst>
                                      </p:cBhvr>
                                      <p:to>
                                        <p:strVal val="visible"/>
                                      </p:to>
                                    </p:set>
                                    <p:animEffect transition="in" filter="fade">
                                      <p:cBhvr>
                                        <p:cTn id="154" dur="500"/>
                                        <p:tgtEl>
                                          <p:spTgt spid="19"/>
                                        </p:tgtEl>
                                      </p:cBhvr>
                                    </p:animEffect>
                                  </p:childTnLst>
                                </p:cTn>
                              </p:par>
                            </p:childTnLst>
                          </p:cTn>
                        </p:par>
                        <p:par>
                          <p:cTn id="155" fill="hold">
                            <p:stCondLst>
                              <p:cond delay="6500"/>
                            </p:stCondLst>
                            <p:childTnLst>
                              <p:par>
                                <p:cTn id="156" presetID="22" presetClass="entr" presetSubtype="2" fill="hold" nodeType="afterEffect">
                                  <p:stCondLst>
                                    <p:cond delay="0"/>
                                  </p:stCondLst>
                                  <p:childTnLst>
                                    <p:set>
                                      <p:cBhvr>
                                        <p:cTn id="157" dur="1" fill="hold">
                                          <p:stCondLst>
                                            <p:cond delay="0"/>
                                          </p:stCondLst>
                                        </p:cTn>
                                        <p:tgtEl>
                                          <p:spTgt spid="54"/>
                                        </p:tgtEl>
                                        <p:attrNameLst>
                                          <p:attrName>style.visibility</p:attrName>
                                        </p:attrNameLst>
                                      </p:cBhvr>
                                      <p:to>
                                        <p:strVal val="visible"/>
                                      </p:to>
                                    </p:set>
                                    <p:animEffect transition="in" filter="wipe(right)">
                                      <p:cBhvr>
                                        <p:cTn id="158" dur="500"/>
                                        <p:tgtEl>
                                          <p:spTgt spid="54"/>
                                        </p:tgtEl>
                                      </p:cBhvr>
                                    </p:animEffect>
                                  </p:childTnLst>
                                </p:cTn>
                              </p:par>
                              <p:par>
                                <p:cTn id="159" presetID="22" presetClass="entr" presetSubtype="8" fill="hold" nodeType="withEffect">
                                  <p:stCondLst>
                                    <p:cond delay="0"/>
                                  </p:stCondLst>
                                  <p:childTnLst>
                                    <p:set>
                                      <p:cBhvr>
                                        <p:cTn id="160" dur="1" fill="hold">
                                          <p:stCondLst>
                                            <p:cond delay="0"/>
                                          </p:stCondLst>
                                        </p:cTn>
                                        <p:tgtEl>
                                          <p:spTgt spid="74"/>
                                        </p:tgtEl>
                                        <p:attrNameLst>
                                          <p:attrName>style.visibility</p:attrName>
                                        </p:attrNameLst>
                                      </p:cBhvr>
                                      <p:to>
                                        <p:strVal val="visible"/>
                                      </p:to>
                                    </p:set>
                                    <p:animEffect transition="in" filter="wipe(left)">
                                      <p:cBhvr>
                                        <p:cTn id="161" dur="500"/>
                                        <p:tgtEl>
                                          <p:spTgt spid="74"/>
                                        </p:tgtEl>
                                      </p:cBhvr>
                                    </p:animEffect>
                                  </p:childTnLst>
                                </p:cTn>
                              </p:par>
                            </p:childTnLst>
                          </p:cTn>
                        </p:par>
                        <p:par>
                          <p:cTn id="162" fill="hold">
                            <p:stCondLst>
                              <p:cond delay="7000"/>
                            </p:stCondLst>
                            <p:childTnLst>
                              <p:par>
                                <p:cTn id="163" presetID="10" presetClass="entr" presetSubtype="0" fill="hold" grpId="0" nodeType="afterEffect">
                                  <p:stCondLst>
                                    <p:cond delay="0"/>
                                  </p:stCondLst>
                                  <p:childTnLst>
                                    <p:set>
                                      <p:cBhvr>
                                        <p:cTn id="164" dur="1" fill="hold">
                                          <p:stCondLst>
                                            <p:cond delay="0"/>
                                          </p:stCondLst>
                                        </p:cTn>
                                        <p:tgtEl>
                                          <p:spTgt spid="58"/>
                                        </p:tgtEl>
                                        <p:attrNameLst>
                                          <p:attrName>style.visibility</p:attrName>
                                        </p:attrNameLst>
                                      </p:cBhvr>
                                      <p:to>
                                        <p:strVal val="visible"/>
                                      </p:to>
                                    </p:set>
                                    <p:animEffect transition="in" filter="fade">
                                      <p:cBhvr>
                                        <p:cTn id="165" dur="500"/>
                                        <p:tgtEl>
                                          <p:spTgt spid="58"/>
                                        </p:tgtEl>
                                      </p:cBhvr>
                                    </p:animEffect>
                                  </p:childTnLst>
                                </p:cTn>
                              </p:par>
                              <p:par>
                                <p:cTn id="166" presetID="10" presetClass="entr" presetSubtype="0" fill="hold" grpId="0" nodeType="withEffect">
                                  <p:stCondLst>
                                    <p:cond delay="0"/>
                                  </p:stCondLst>
                                  <p:childTnLst>
                                    <p:set>
                                      <p:cBhvr>
                                        <p:cTn id="167" dur="1" fill="hold">
                                          <p:stCondLst>
                                            <p:cond delay="0"/>
                                          </p:stCondLst>
                                        </p:cTn>
                                        <p:tgtEl>
                                          <p:spTgt spid="57"/>
                                        </p:tgtEl>
                                        <p:attrNameLst>
                                          <p:attrName>style.visibility</p:attrName>
                                        </p:attrNameLst>
                                      </p:cBhvr>
                                      <p:to>
                                        <p:strVal val="visible"/>
                                      </p:to>
                                    </p:set>
                                    <p:animEffect transition="in" filter="fade">
                                      <p:cBhvr>
                                        <p:cTn id="168" dur="500"/>
                                        <p:tgtEl>
                                          <p:spTgt spid="57"/>
                                        </p:tgtEl>
                                      </p:cBhvr>
                                    </p:animEffect>
                                  </p:childTnLst>
                                </p:cTn>
                              </p:par>
                              <p:par>
                                <p:cTn id="169" presetID="10" presetClass="entr" presetSubtype="0" fill="hold" grpId="0" nodeType="withEffect">
                                  <p:stCondLst>
                                    <p:cond delay="0"/>
                                  </p:stCondLst>
                                  <p:childTnLst>
                                    <p:set>
                                      <p:cBhvr>
                                        <p:cTn id="170" dur="1" fill="hold">
                                          <p:stCondLst>
                                            <p:cond delay="0"/>
                                          </p:stCondLst>
                                        </p:cTn>
                                        <p:tgtEl>
                                          <p:spTgt spid="87"/>
                                        </p:tgtEl>
                                        <p:attrNameLst>
                                          <p:attrName>style.visibility</p:attrName>
                                        </p:attrNameLst>
                                      </p:cBhvr>
                                      <p:to>
                                        <p:strVal val="visible"/>
                                      </p:to>
                                    </p:set>
                                    <p:animEffect transition="in" filter="fade">
                                      <p:cBhvr>
                                        <p:cTn id="171" dur="500"/>
                                        <p:tgtEl>
                                          <p:spTgt spid="87"/>
                                        </p:tgtEl>
                                      </p:cBhvr>
                                    </p:animEffect>
                                  </p:childTnLst>
                                </p:cTn>
                              </p:par>
                              <p:par>
                                <p:cTn id="172" presetID="10" presetClass="entr" presetSubtype="0" fill="hold" grpId="0" nodeType="withEffect">
                                  <p:stCondLst>
                                    <p:cond delay="0"/>
                                  </p:stCondLst>
                                  <p:childTnLst>
                                    <p:set>
                                      <p:cBhvr>
                                        <p:cTn id="173" dur="1" fill="hold">
                                          <p:stCondLst>
                                            <p:cond delay="0"/>
                                          </p:stCondLst>
                                        </p:cTn>
                                        <p:tgtEl>
                                          <p:spTgt spid="86"/>
                                        </p:tgtEl>
                                        <p:attrNameLst>
                                          <p:attrName>style.visibility</p:attrName>
                                        </p:attrNameLst>
                                      </p:cBhvr>
                                      <p:to>
                                        <p:strVal val="visible"/>
                                      </p:to>
                                    </p:set>
                                    <p:animEffect transition="in" filter="fade">
                                      <p:cBhvr>
                                        <p:cTn id="174" dur="500"/>
                                        <p:tgtEl>
                                          <p:spTgt spid="8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animBg="1"/>
      <p:bldP spid="4" grpId="0" animBg="1"/>
      <p:bldP spid="5" grpId="0" animBg="1"/>
      <p:bldP spid="6" grpId="0" animBg="1"/>
      <p:bldP spid="7" grpId="0" animBg="1"/>
      <p:bldP spid="8" grpId="0" animBg="1"/>
      <p:bldP spid="9" grpId="0" animBg="1"/>
      <p:bldP spid="10"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57" grpId="0"/>
      <p:bldP spid="58" grpId="0"/>
      <p:bldP spid="62" grpId="0"/>
      <p:bldP spid="63" grpId="0"/>
      <p:bldP spid="70" grpId="0"/>
      <p:bldP spid="71" grpId="0"/>
      <p:bldP spid="72" grpId="0"/>
      <p:bldP spid="73" grpId="0"/>
      <p:bldP spid="86" grpId="0"/>
      <p:bldP spid="87" grpId="0"/>
      <p:bldP spid="88" grpId="0"/>
      <p:bldP spid="89" grpId="0"/>
      <p:bldP spid="90" grpId="0"/>
      <p:bldP spid="91" grpId="0"/>
      <p:bldP spid="92" grpId="0"/>
      <p:bldP spid="93" grpId="0"/>
    </p:bldLst>
  </p:timing>
</p:sld>
</file>

<file path=ppt/slides/slide6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Shape 38">
            <a:extLst>
              <a:ext uri="{FF2B5EF4-FFF2-40B4-BE49-F238E27FC236}">
                <a16:creationId xmlns:a16="http://schemas.microsoft.com/office/drawing/2014/main" id="{F5A36007-0066-4598-A304-E7414D3CC491}"/>
              </a:ext>
            </a:extLst>
          </p:cNvPr>
          <p:cNvSpPr/>
          <p:nvPr/>
        </p:nvSpPr>
        <p:spPr>
          <a:xfrm>
            <a:off x="4994848" y="6302384"/>
            <a:ext cx="2182437" cy="173899"/>
          </a:xfrm>
          <a:custGeom>
            <a:avLst/>
            <a:gdLst>
              <a:gd name="connsiteX0" fmla="*/ 2182438 w 2182437"/>
              <a:gd name="connsiteY0" fmla="*/ 86950 h 173899"/>
              <a:gd name="connsiteX1" fmla="*/ 1091219 w 2182437"/>
              <a:gd name="connsiteY1" fmla="*/ 173899 h 173899"/>
              <a:gd name="connsiteX2" fmla="*/ 0 w 2182437"/>
              <a:gd name="connsiteY2" fmla="*/ 86950 h 173899"/>
              <a:gd name="connsiteX3" fmla="*/ 1091219 w 2182437"/>
              <a:gd name="connsiteY3" fmla="*/ 0 h 173899"/>
              <a:gd name="connsiteX4" fmla="*/ 2182438 w 2182437"/>
              <a:gd name="connsiteY4" fmla="*/ 86950 h 1738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82437" h="173899">
                <a:moveTo>
                  <a:pt x="2182438" y="86950"/>
                </a:moveTo>
                <a:cubicBezTo>
                  <a:pt x="2182438" y="134971"/>
                  <a:pt x="1693882" y="173899"/>
                  <a:pt x="1091219" y="173899"/>
                </a:cubicBezTo>
                <a:cubicBezTo>
                  <a:pt x="488555" y="173899"/>
                  <a:pt x="0" y="134971"/>
                  <a:pt x="0" y="86950"/>
                </a:cubicBezTo>
                <a:cubicBezTo>
                  <a:pt x="0" y="38929"/>
                  <a:pt x="488555" y="0"/>
                  <a:pt x="1091219" y="0"/>
                </a:cubicBezTo>
                <a:cubicBezTo>
                  <a:pt x="1693882" y="0"/>
                  <a:pt x="2182438" y="38929"/>
                  <a:pt x="2182438" y="86950"/>
                </a:cubicBezTo>
                <a:close/>
              </a:path>
            </a:pathLst>
          </a:custGeom>
          <a:solidFill>
            <a:schemeClr val="accent1"/>
          </a:solidFill>
          <a:ln w="144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 name="Freeform: Shape 42">
            <a:extLst>
              <a:ext uri="{FF2B5EF4-FFF2-40B4-BE49-F238E27FC236}">
                <a16:creationId xmlns:a16="http://schemas.microsoft.com/office/drawing/2014/main" id="{DDCB748B-05A4-45A0-BD3B-60C6F39EB366}"/>
              </a:ext>
            </a:extLst>
          </p:cNvPr>
          <p:cNvSpPr/>
          <p:nvPr/>
        </p:nvSpPr>
        <p:spPr>
          <a:xfrm>
            <a:off x="5161581" y="4460452"/>
            <a:ext cx="1911443" cy="1927384"/>
          </a:xfrm>
          <a:custGeom>
            <a:avLst/>
            <a:gdLst>
              <a:gd name="connsiteX0" fmla="*/ 1911444 w 1911443"/>
              <a:gd name="connsiteY0" fmla="*/ 30432 h 1927384"/>
              <a:gd name="connsiteX1" fmla="*/ 1869419 w 1911443"/>
              <a:gd name="connsiteY1" fmla="*/ 99992 h 1927384"/>
              <a:gd name="connsiteX2" fmla="*/ 1612917 w 1911443"/>
              <a:gd name="connsiteY2" fmla="*/ 347799 h 1927384"/>
              <a:gd name="connsiteX3" fmla="*/ 1243381 w 1911443"/>
              <a:gd name="connsiteY3" fmla="*/ 563724 h 1927384"/>
              <a:gd name="connsiteX4" fmla="*/ 1241932 w 1911443"/>
              <a:gd name="connsiteY4" fmla="*/ 565173 h 1927384"/>
              <a:gd name="connsiteX5" fmla="*/ 1234686 w 1911443"/>
              <a:gd name="connsiteY5" fmla="*/ 576766 h 1927384"/>
              <a:gd name="connsiteX6" fmla="*/ 1207152 w 1911443"/>
              <a:gd name="connsiteY6" fmla="*/ 628936 h 1927384"/>
              <a:gd name="connsiteX7" fmla="*/ 1186863 w 1911443"/>
              <a:gd name="connsiteY7" fmla="*/ 684004 h 1927384"/>
              <a:gd name="connsiteX8" fmla="*/ 1168024 w 1911443"/>
              <a:gd name="connsiteY8" fmla="*/ 759360 h 1927384"/>
              <a:gd name="connsiteX9" fmla="*/ 1168024 w 1911443"/>
              <a:gd name="connsiteY9" fmla="*/ 762259 h 1927384"/>
              <a:gd name="connsiteX10" fmla="*/ 1182516 w 1911443"/>
              <a:gd name="connsiteY10" fmla="*/ 1347720 h 1927384"/>
              <a:gd name="connsiteX11" fmla="*/ 1183965 w 1911443"/>
              <a:gd name="connsiteY11" fmla="*/ 1596975 h 1927384"/>
              <a:gd name="connsiteX12" fmla="*/ 1257872 w 1911443"/>
              <a:gd name="connsiteY12" fmla="*/ 1799858 h 1927384"/>
              <a:gd name="connsiteX13" fmla="*/ 1365111 w 1911443"/>
              <a:gd name="connsiteY13" fmla="*/ 1909994 h 1927384"/>
              <a:gd name="connsiteX14" fmla="*/ 1357865 w 1911443"/>
              <a:gd name="connsiteY14" fmla="*/ 1927385 h 1927384"/>
              <a:gd name="connsiteX15" fmla="*/ 1302796 w 1911443"/>
              <a:gd name="connsiteY15" fmla="*/ 1924486 h 1927384"/>
              <a:gd name="connsiteX16" fmla="*/ 1150634 w 1911443"/>
              <a:gd name="connsiteY16" fmla="*/ 1924486 h 1927384"/>
              <a:gd name="connsiteX17" fmla="*/ 1131795 w 1911443"/>
              <a:gd name="connsiteY17" fmla="*/ 1923037 h 1927384"/>
              <a:gd name="connsiteX18" fmla="*/ 1130346 w 1911443"/>
              <a:gd name="connsiteY18" fmla="*/ 1923037 h 1927384"/>
              <a:gd name="connsiteX19" fmla="*/ 672411 w 1911443"/>
              <a:gd name="connsiteY19" fmla="*/ 1923037 h 1927384"/>
              <a:gd name="connsiteX20" fmla="*/ 670962 w 1911443"/>
              <a:gd name="connsiteY20" fmla="*/ 1923037 h 1927384"/>
              <a:gd name="connsiteX21" fmla="*/ 652123 w 1911443"/>
              <a:gd name="connsiteY21" fmla="*/ 1924486 h 1927384"/>
              <a:gd name="connsiteX22" fmla="*/ 453587 w 1911443"/>
              <a:gd name="connsiteY22" fmla="*/ 1925935 h 1927384"/>
              <a:gd name="connsiteX23" fmla="*/ 447791 w 1911443"/>
              <a:gd name="connsiteY23" fmla="*/ 1908545 h 1927384"/>
              <a:gd name="connsiteX24" fmla="*/ 555029 w 1911443"/>
              <a:gd name="connsiteY24" fmla="*/ 1808553 h 1927384"/>
              <a:gd name="connsiteX25" fmla="*/ 617343 w 1911443"/>
              <a:gd name="connsiteY25" fmla="*/ 1714358 h 1927384"/>
              <a:gd name="connsiteX26" fmla="*/ 639080 w 1911443"/>
              <a:gd name="connsiteY26" fmla="*/ 1602772 h 1927384"/>
              <a:gd name="connsiteX27" fmla="*/ 639080 w 1911443"/>
              <a:gd name="connsiteY27" fmla="*/ 1601323 h 1927384"/>
              <a:gd name="connsiteX28" fmla="*/ 637631 w 1911443"/>
              <a:gd name="connsiteY28" fmla="*/ 763708 h 1927384"/>
              <a:gd name="connsiteX29" fmla="*/ 637631 w 1911443"/>
              <a:gd name="connsiteY29" fmla="*/ 759360 h 1927384"/>
              <a:gd name="connsiteX30" fmla="*/ 614445 w 1911443"/>
              <a:gd name="connsiteY30" fmla="*/ 704292 h 1927384"/>
              <a:gd name="connsiteX31" fmla="*/ 550681 w 1911443"/>
              <a:gd name="connsiteY31" fmla="*/ 605749 h 1927384"/>
              <a:gd name="connsiteX32" fmla="*/ 468079 w 1911443"/>
              <a:gd name="connsiteY32" fmla="*/ 527495 h 1927384"/>
              <a:gd name="connsiteX33" fmla="*/ 379680 w 1911443"/>
              <a:gd name="connsiteY33" fmla="*/ 460833 h 1927384"/>
              <a:gd name="connsiteX34" fmla="*/ 298527 w 1911443"/>
              <a:gd name="connsiteY34" fmla="*/ 398519 h 1927384"/>
              <a:gd name="connsiteX35" fmla="*/ 110136 w 1911443"/>
              <a:gd name="connsiteY35" fmla="*/ 236213 h 1927384"/>
              <a:gd name="connsiteX36" fmla="*/ 18839 w 1911443"/>
              <a:gd name="connsiteY36" fmla="*/ 82602 h 1927384"/>
              <a:gd name="connsiteX37" fmla="*/ 0 w 1911443"/>
              <a:gd name="connsiteY37" fmla="*/ 23186 h 1927384"/>
              <a:gd name="connsiteX38" fmla="*/ 98543 w 1911443"/>
              <a:gd name="connsiteY38" fmla="*/ 0 h 1927384"/>
              <a:gd name="connsiteX39" fmla="*/ 117382 w 1911443"/>
              <a:gd name="connsiteY39" fmla="*/ 40576 h 1927384"/>
              <a:gd name="connsiteX40" fmla="*/ 199984 w 1911443"/>
              <a:gd name="connsiteY40" fmla="*/ 156509 h 1927384"/>
              <a:gd name="connsiteX41" fmla="*/ 323163 w 1911443"/>
              <a:gd name="connsiteY41" fmla="*/ 247806 h 1927384"/>
              <a:gd name="connsiteX42" fmla="*/ 470978 w 1911443"/>
              <a:gd name="connsiteY42" fmla="*/ 320265 h 1927384"/>
              <a:gd name="connsiteX43" fmla="*/ 568071 w 1911443"/>
              <a:gd name="connsiteY43" fmla="*/ 365189 h 1927384"/>
              <a:gd name="connsiteX44" fmla="*/ 618792 w 1911443"/>
              <a:gd name="connsiteY44" fmla="*/ 391274 h 1927384"/>
              <a:gd name="connsiteX45" fmla="*/ 623140 w 1911443"/>
              <a:gd name="connsiteY45" fmla="*/ 394172 h 1927384"/>
              <a:gd name="connsiteX46" fmla="*/ 637631 w 1911443"/>
              <a:gd name="connsiteY46" fmla="*/ 385477 h 1927384"/>
              <a:gd name="connsiteX47" fmla="*/ 637631 w 1911443"/>
              <a:gd name="connsiteY47" fmla="*/ 218823 h 1927384"/>
              <a:gd name="connsiteX48" fmla="*/ 878192 w 1911443"/>
              <a:gd name="connsiteY48" fmla="*/ 243459 h 1927384"/>
              <a:gd name="connsiteX49" fmla="*/ 888336 w 1911443"/>
              <a:gd name="connsiteY49" fmla="*/ 243459 h 1927384"/>
              <a:gd name="connsiteX50" fmla="*/ 902828 w 1911443"/>
              <a:gd name="connsiteY50" fmla="*/ 243459 h 1927384"/>
              <a:gd name="connsiteX51" fmla="*/ 917319 w 1911443"/>
              <a:gd name="connsiteY51" fmla="*/ 243459 h 1927384"/>
              <a:gd name="connsiteX52" fmla="*/ 928912 w 1911443"/>
              <a:gd name="connsiteY52" fmla="*/ 243459 h 1927384"/>
              <a:gd name="connsiteX53" fmla="*/ 1157880 w 1911443"/>
              <a:gd name="connsiteY53" fmla="*/ 220272 h 1927384"/>
              <a:gd name="connsiteX54" fmla="*/ 1162228 w 1911443"/>
              <a:gd name="connsiteY54" fmla="*/ 385477 h 1927384"/>
              <a:gd name="connsiteX55" fmla="*/ 1162228 w 1911443"/>
              <a:gd name="connsiteY55" fmla="*/ 398519 h 1927384"/>
              <a:gd name="connsiteX56" fmla="*/ 1460755 w 1911443"/>
              <a:gd name="connsiteY56" fmla="*/ 292731 h 1927384"/>
              <a:gd name="connsiteX57" fmla="*/ 1462204 w 1911443"/>
              <a:gd name="connsiteY57" fmla="*/ 292731 h 1927384"/>
              <a:gd name="connsiteX58" fmla="*/ 1547705 w 1911443"/>
              <a:gd name="connsiteY58" fmla="*/ 244908 h 1927384"/>
              <a:gd name="connsiteX59" fmla="*/ 1785367 w 1911443"/>
              <a:gd name="connsiteY59" fmla="*/ 40576 h 1927384"/>
              <a:gd name="connsiteX60" fmla="*/ 1796961 w 1911443"/>
              <a:gd name="connsiteY60" fmla="*/ 26085 h 1927384"/>
              <a:gd name="connsiteX61" fmla="*/ 1907097 w 1911443"/>
              <a:gd name="connsiteY61" fmla="*/ 36229 h 1927384"/>
              <a:gd name="connsiteX62" fmla="*/ 1911444 w 1911443"/>
              <a:gd name="connsiteY62" fmla="*/ 36229 h 19273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1911443" h="1927384">
                <a:moveTo>
                  <a:pt x="1911444" y="30432"/>
                </a:moveTo>
                <a:cubicBezTo>
                  <a:pt x="1898402" y="53619"/>
                  <a:pt x="1885359" y="76805"/>
                  <a:pt x="1869419" y="99992"/>
                </a:cubicBezTo>
                <a:cubicBezTo>
                  <a:pt x="1808554" y="191289"/>
                  <a:pt x="1721604" y="279688"/>
                  <a:pt x="1612917" y="347799"/>
                </a:cubicBezTo>
                <a:cubicBezTo>
                  <a:pt x="1559298" y="381129"/>
                  <a:pt x="1276711" y="524596"/>
                  <a:pt x="1243381" y="563724"/>
                </a:cubicBezTo>
                <a:cubicBezTo>
                  <a:pt x="1243381" y="563724"/>
                  <a:pt x="1243381" y="565173"/>
                  <a:pt x="1241932" y="565173"/>
                </a:cubicBezTo>
                <a:cubicBezTo>
                  <a:pt x="1239033" y="569520"/>
                  <a:pt x="1237584" y="572419"/>
                  <a:pt x="1234686" y="576766"/>
                </a:cubicBezTo>
                <a:cubicBezTo>
                  <a:pt x="1224542" y="594156"/>
                  <a:pt x="1215846" y="611546"/>
                  <a:pt x="1207152" y="628936"/>
                </a:cubicBezTo>
                <a:cubicBezTo>
                  <a:pt x="1199906" y="647775"/>
                  <a:pt x="1192660" y="665165"/>
                  <a:pt x="1186863" y="684004"/>
                </a:cubicBezTo>
                <a:cubicBezTo>
                  <a:pt x="1178168" y="708640"/>
                  <a:pt x="1172371" y="734725"/>
                  <a:pt x="1168024" y="759360"/>
                </a:cubicBezTo>
                <a:cubicBezTo>
                  <a:pt x="1168024" y="760810"/>
                  <a:pt x="1168024" y="760810"/>
                  <a:pt x="1168024" y="762259"/>
                </a:cubicBezTo>
                <a:cubicBezTo>
                  <a:pt x="1175270" y="1030354"/>
                  <a:pt x="1181067" y="1243380"/>
                  <a:pt x="1182516" y="1347720"/>
                </a:cubicBezTo>
                <a:cubicBezTo>
                  <a:pt x="1182516" y="1352067"/>
                  <a:pt x="1182516" y="1491187"/>
                  <a:pt x="1183965" y="1596975"/>
                </a:cubicBezTo>
                <a:cubicBezTo>
                  <a:pt x="1183965" y="1672332"/>
                  <a:pt x="1211499" y="1746239"/>
                  <a:pt x="1257872" y="1799858"/>
                </a:cubicBezTo>
                <a:cubicBezTo>
                  <a:pt x="1292653" y="1838986"/>
                  <a:pt x="1333229" y="1883910"/>
                  <a:pt x="1365111" y="1909994"/>
                </a:cubicBezTo>
                <a:cubicBezTo>
                  <a:pt x="1372356" y="1915791"/>
                  <a:pt x="1368008" y="1927385"/>
                  <a:pt x="1357865" y="1927385"/>
                </a:cubicBezTo>
                <a:cubicBezTo>
                  <a:pt x="1339025" y="1925935"/>
                  <a:pt x="1321636" y="1925935"/>
                  <a:pt x="1302796" y="1924486"/>
                </a:cubicBezTo>
                <a:cubicBezTo>
                  <a:pt x="1252075" y="1923037"/>
                  <a:pt x="1201355" y="1923037"/>
                  <a:pt x="1150634" y="1924486"/>
                </a:cubicBezTo>
                <a:cubicBezTo>
                  <a:pt x="1144838" y="1924486"/>
                  <a:pt x="1137592" y="1924486"/>
                  <a:pt x="1131795" y="1923037"/>
                </a:cubicBezTo>
                <a:cubicBezTo>
                  <a:pt x="1131795" y="1923037"/>
                  <a:pt x="1130346" y="1923037"/>
                  <a:pt x="1130346" y="1923037"/>
                </a:cubicBezTo>
                <a:lnTo>
                  <a:pt x="672411" y="1923037"/>
                </a:lnTo>
                <a:cubicBezTo>
                  <a:pt x="672411" y="1923037"/>
                  <a:pt x="670962" y="1923037"/>
                  <a:pt x="670962" y="1923037"/>
                </a:cubicBezTo>
                <a:cubicBezTo>
                  <a:pt x="665165" y="1924486"/>
                  <a:pt x="659369" y="1924486"/>
                  <a:pt x="652123" y="1924486"/>
                </a:cubicBezTo>
                <a:cubicBezTo>
                  <a:pt x="585461" y="1921588"/>
                  <a:pt x="518800" y="1923037"/>
                  <a:pt x="453587" y="1925935"/>
                </a:cubicBezTo>
                <a:cubicBezTo>
                  <a:pt x="443443" y="1925935"/>
                  <a:pt x="439096" y="1912893"/>
                  <a:pt x="447791" y="1908545"/>
                </a:cubicBezTo>
                <a:cubicBezTo>
                  <a:pt x="486918" y="1882460"/>
                  <a:pt x="521698" y="1847681"/>
                  <a:pt x="555029" y="1808553"/>
                </a:cubicBezTo>
                <a:cubicBezTo>
                  <a:pt x="578215" y="1781019"/>
                  <a:pt x="601402" y="1750587"/>
                  <a:pt x="617343" y="1714358"/>
                </a:cubicBezTo>
                <a:cubicBezTo>
                  <a:pt x="626038" y="1694069"/>
                  <a:pt x="634733" y="1653493"/>
                  <a:pt x="639080" y="1602772"/>
                </a:cubicBezTo>
                <a:lnTo>
                  <a:pt x="639080" y="1601323"/>
                </a:lnTo>
                <a:cubicBezTo>
                  <a:pt x="639080" y="1385398"/>
                  <a:pt x="637631" y="1086871"/>
                  <a:pt x="637631" y="763708"/>
                </a:cubicBezTo>
                <a:cubicBezTo>
                  <a:pt x="637631" y="762259"/>
                  <a:pt x="637631" y="760810"/>
                  <a:pt x="637631" y="759360"/>
                </a:cubicBezTo>
                <a:cubicBezTo>
                  <a:pt x="630385" y="740521"/>
                  <a:pt x="623140" y="721682"/>
                  <a:pt x="614445" y="704292"/>
                </a:cubicBezTo>
                <a:cubicBezTo>
                  <a:pt x="597054" y="666614"/>
                  <a:pt x="575317" y="634732"/>
                  <a:pt x="550681" y="605749"/>
                </a:cubicBezTo>
                <a:cubicBezTo>
                  <a:pt x="526046" y="576766"/>
                  <a:pt x="498512" y="552130"/>
                  <a:pt x="468079" y="527495"/>
                </a:cubicBezTo>
                <a:cubicBezTo>
                  <a:pt x="439096" y="504308"/>
                  <a:pt x="408663" y="482571"/>
                  <a:pt x="379680" y="460833"/>
                </a:cubicBezTo>
                <a:cubicBezTo>
                  <a:pt x="350697" y="439096"/>
                  <a:pt x="323163" y="418808"/>
                  <a:pt x="298527" y="398519"/>
                </a:cubicBezTo>
                <a:cubicBezTo>
                  <a:pt x="276790" y="381129"/>
                  <a:pt x="146365" y="279688"/>
                  <a:pt x="110136" y="236213"/>
                </a:cubicBezTo>
                <a:cubicBezTo>
                  <a:pt x="68110" y="188391"/>
                  <a:pt x="39127" y="134772"/>
                  <a:pt x="18839" y="82602"/>
                </a:cubicBezTo>
                <a:cubicBezTo>
                  <a:pt x="11593" y="62314"/>
                  <a:pt x="4347" y="43475"/>
                  <a:pt x="0" y="23186"/>
                </a:cubicBezTo>
                <a:cubicBezTo>
                  <a:pt x="33331" y="17390"/>
                  <a:pt x="66661" y="10144"/>
                  <a:pt x="98543" y="0"/>
                </a:cubicBezTo>
                <a:cubicBezTo>
                  <a:pt x="104339" y="13042"/>
                  <a:pt x="110136" y="26085"/>
                  <a:pt x="117382" y="40576"/>
                </a:cubicBezTo>
                <a:cubicBezTo>
                  <a:pt x="139119" y="82602"/>
                  <a:pt x="165204" y="121729"/>
                  <a:pt x="199984" y="156509"/>
                </a:cubicBezTo>
                <a:cubicBezTo>
                  <a:pt x="233315" y="191289"/>
                  <a:pt x="275341" y="220272"/>
                  <a:pt x="323163" y="247806"/>
                </a:cubicBezTo>
                <a:cubicBezTo>
                  <a:pt x="370985" y="275341"/>
                  <a:pt x="421706" y="298527"/>
                  <a:pt x="470978" y="320265"/>
                </a:cubicBezTo>
                <a:cubicBezTo>
                  <a:pt x="504308" y="334756"/>
                  <a:pt x="536190" y="349248"/>
                  <a:pt x="568071" y="365189"/>
                </a:cubicBezTo>
                <a:cubicBezTo>
                  <a:pt x="585461" y="373883"/>
                  <a:pt x="602851" y="382578"/>
                  <a:pt x="618792" y="391274"/>
                </a:cubicBezTo>
                <a:cubicBezTo>
                  <a:pt x="620241" y="392723"/>
                  <a:pt x="621690" y="392723"/>
                  <a:pt x="623140" y="394172"/>
                </a:cubicBezTo>
                <a:cubicBezTo>
                  <a:pt x="630385" y="397070"/>
                  <a:pt x="637631" y="392723"/>
                  <a:pt x="637631" y="385477"/>
                </a:cubicBezTo>
                <a:cubicBezTo>
                  <a:pt x="637631" y="330409"/>
                  <a:pt x="637631" y="273891"/>
                  <a:pt x="637631" y="218823"/>
                </a:cubicBezTo>
                <a:cubicBezTo>
                  <a:pt x="712987" y="234764"/>
                  <a:pt x="794140" y="243459"/>
                  <a:pt x="878192" y="243459"/>
                </a:cubicBezTo>
                <a:lnTo>
                  <a:pt x="888336" y="243459"/>
                </a:lnTo>
                <a:lnTo>
                  <a:pt x="902828" y="243459"/>
                </a:lnTo>
                <a:lnTo>
                  <a:pt x="917319" y="243459"/>
                </a:lnTo>
                <a:cubicBezTo>
                  <a:pt x="921667" y="243459"/>
                  <a:pt x="924565" y="243459"/>
                  <a:pt x="928912" y="243459"/>
                </a:cubicBezTo>
                <a:cubicBezTo>
                  <a:pt x="1008616" y="243459"/>
                  <a:pt x="1085422" y="236213"/>
                  <a:pt x="1157880" y="220272"/>
                </a:cubicBezTo>
                <a:cubicBezTo>
                  <a:pt x="1159329" y="276790"/>
                  <a:pt x="1160778" y="331858"/>
                  <a:pt x="1162228" y="385477"/>
                </a:cubicBezTo>
                <a:cubicBezTo>
                  <a:pt x="1162228" y="389824"/>
                  <a:pt x="1162228" y="394172"/>
                  <a:pt x="1162228" y="398519"/>
                </a:cubicBezTo>
                <a:cubicBezTo>
                  <a:pt x="1195558" y="386926"/>
                  <a:pt x="1427424" y="302875"/>
                  <a:pt x="1460755" y="292731"/>
                </a:cubicBezTo>
                <a:cubicBezTo>
                  <a:pt x="1460755" y="292731"/>
                  <a:pt x="1462204" y="292731"/>
                  <a:pt x="1462204" y="292731"/>
                </a:cubicBezTo>
                <a:cubicBezTo>
                  <a:pt x="1491187" y="278239"/>
                  <a:pt x="1520170" y="262298"/>
                  <a:pt x="1547705" y="244908"/>
                </a:cubicBezTo>
                <a:cubicBezTo>
                  <a:pt x="1641900" y="185492"/>
                  <a:pt x="1723053" y="114484"/>
                  <a:pt x="1785367" y="40576"/>
                </a:cubicBezTo>
                <a:cubicBezTo>
                  <a:pt x="1789715" y="36229"/>
                  <a:pt x="1794062" y="30432"/>
                  <a:pt x="1796961" y="26085"/>
                </a:cubicBezTo>
                <a:cubicBezTo>
                  <a:pt x="1833190" y="31882"/>
                  <a:pt x="1869419" y="36229"/>
                  <a:pt x="1907097" y="36229"/>
                </a:cubicBezTo>
                <a:lnTo>
                  <a:pt x="1911444" y="36229"/>
                </a:lnTo>
                <a:close/>
              </a:path>
            </a:pathLst>
          </a:custGeom>
          <a:solidFill>
            <a:srgbClr val="7A5330"/>
          </a:solidFill>
          <a:ln w="144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4" name="Freeform: Shape 43">
            <a:extLst>
              <a:ext uri="{FF2B5EF4-FFF2-40B4-BE49-F238E27FC236}">
                <a16:creationId xmlns:a16="http://schemas.microsoft.com/office/drawing/2014/main" id="{D46CFE32-C90D-4E9E-B5AB-BF9A2904B8EB}"/>
              </a:ext>
            </a:extLst>
          </p:cNvPr>
          <p:cNvSpPr/>
          <p:nvPr/>
        </p:nvSpPr>
        <p:spPr>
          <a:xfrm>
            <a:off x="3937040" y="3118529"/>
            <a:ext cx="1572340" cy="1388296"/>
          </a:xfrm>
          <a:custGeom>
            <a:avLst/>
            <a:gdLst>
              <a:gd name="connsiteX0" fmla="*/ 23186 w 1572340"/>
              <a:gd name="connsiteY0" fmla="*/ 226069 h 1388296"/>
              <a:gd name="connsiteX1" fmla="*/ 463732 w 1572340"/>
              <a:gd name="connsiteY1" fmla="*/ 226069 h 1388296"/>
              <a:gd name="connsiteX2" fmla="*/ 463732 w 1572340"/>
              <a:gd name="connsiteY2" fmla="*/ 140569 h 1388296"/>
              <a:gd name="connsiteX3" fmla="*/ 420257 w 1572340"/>
              <a:gd name="connsiteY3" fmla="*/ 76806 h 1388296"/>
              <a:gd name="connsiteX4" fmla="*/ 518800 w 1572340"/>
              <a:gd name="connsiteY4" fmla="*/ 0 h 1388296"/>
              <a:gd name="connsiteX5" fmla="*/ 617343 w 1572340"/>
              <a:gd name="connsiteY5" fmla="*/ 76806 h 1388296"/>
              <a:gd name="connsiteX6" fmla="*/ 573868 w 1572340"/>
              <a:gd name="connsiteY6" fmla="*/ 140569 h 1388296"/>
              <a:gd name="connsiteX7" fmla="*/ 573868 w 1572340"/>
              <a:gd name="connsiteY7" fmla="*/ 226069 h 1388296"/>
              <a:gd name="connsiteX8" fmla="*/ 1379602 w 1572340"/>
              <a:gd name="connsiteY8" fmla="*/ 226069 h 1388296"/>
              <a:gd name="connsiteX9" fmla="*/ 1379602 w 1572340"/>
              <a:gd name="connsiteY9" fmla="*/ 727479 h 1388296"/>
              <a:gd name="connsiteX10" fmla="*/ 1431772 w 1572340"/>
              <a:gd name="connsiteY10" fmla="*/ 727479 h 1388296"/>
              <a:gd name="connsiteX11" fmla="*/ 1495535 w 1572340"/>
              <a:gd name="connsiteY11" fmla="*/ 684004 h 1388296"/>
              <a:gd name="connsiteX12" fmla="*/ 1572341 w 1572340"/>
              <a:gd name="connsiteY12" fmla="*/ 782547 h 1388296"/>
              <a:gd name="connsiteX13" fmla="*/ 1495535 w 1572340"/>
              <a:gd name="connsiteY13" fmla="*/ 881090 h 1388296"/>
              <a:gd name="connsiteX14" fmla="*/ 1431772 w 1572340"/>
              <a:gd name="connsiteY14" fmla="*/ 837615 h 1388296"/>
              <a:gd name="connsiteX15" fmla="*/ 1379602 w 1572340"/>
              <a:gd name="connsiteY15" fmla="*/ 837615 h 1388296"/>
              <a:gd name="connsiteX16" fmla="*/ 1379602 w 1572340"/>
              <a:gd name="connsiteY16" fmla="*/ 1321635 h 1388296"/>
              <a:gd name="connsiteX17" fmla="*/ 1095566 w 1572340"/>
              <a:gd name="connsiteY17" fmla="*/ 1388297 h 1388296"/>
              <a:gd name="connsiteX18" fmla="*/ 495613 w 1572340"/>
              <a:gd name="connsiteY18" fmla="*/ 983980 h 1388296"/>
              <a:gd name="connsiteX19" fmla="*/ 0 w 1572340"/>
              <a:gd name="connsiteY19" fmla="*/ 389824 h 1388296"/>
              <a:gd name="connsiteX20" fmla="*/ 23186 w 1572340"/>
              <a:gd name="connsiteY20" fmla="*/ 226069 h 1388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572340" h="1388296">
                <a:moveTo>
                  <a:pt x="23186" y="226069"/>
                </a:moveTo>
                <a:lnTo>
                  <a:pt x="463732" y="226069"/>
                </a:lnTo>
                <a:lnTo>
                  <a:pt x="463732" y="140569"/>
                </a:lnTo>
                <a:cubicBezTo>
                  <a:pt x="437647" y="126077"/>
                  <a:pt x="420257" y="102890"/>
                  <a:pt x="420257" y="76806"/>
                </a:cubicBezTo>
                <a:cubicBezTo>
                  <a:pt x="420257" y="34780"/>
                  <a:pt x="463732" y="0"/>
                  <a:pt x="518800" y="0"/>
                </a:cubicBezTo>
                <a:cubicBezTo>
                  <a:pt x="573868" y="0"/>
                  <a:pt x="617343" y="34780"/>
                  <a:pt x="617343" y="76806"/>
                </a:cubicBezTo>
                <a:cubicBezTo>
                  <a:pt x="617343" y="104340"/>
                  <a:pt x="599953" y="127526"/>
                  <a:pt x="573868" y="140569"/>
                </a:cubicBezTo>
                <a:lnTo>
                  <a:pt x="573868" y="226069"/>
                </a:lnTo>
                <a:lnTo>
                  <a:pt x="1379602" y="226069"/>
                </a:lnTo>
                <a:lnTo>
                  <a:pt x="1379602" y="727479"/>
                </a:lnTo>
                <a:lnTo>
                  <a:pt x="1431772" y="727479"/>
                </a:lnTo>
                <a:cubicBezTo>
                  <a:pt x="1446263" y="701394"/>
                  <a:pt x="1469450" y="684004"/>
                  <a:pt x="1495535" y="684004"/>
                </a:cubicBezTo>
                <a:cubicBezTo>
                  <a:pt x="1537560" y="684004"/>
                  <a:pt x="1572341" y="727479"/>
                  <a:pt x="1572341" y="782547"/>
                </a:cubicBezTo>
                <a:cubicBezTo>
                  <a:pt x="1572341" y="836166"/>
                  <a:pt x="1537560" y="881090"/>
                  <a:pt x="1495535" y="881090"/>
                </a:cubicBezTo>
                <a:cubicBezTo>
                  <a:pt x="1468001" y="881090"/>
                  <a:pt x="1444814" y="863700"/>
                  <a:pt x="1431772" y="837615"/>
                </a:cubicBezTo>
                <a:lnTo>
                  <a:pt x="1379602" y="837615"/>
                </a:lnTo>
                <a:lnTo>
                  <a:pt x="1379602" y="1321635"/>
                </a:lnTo>
                <a:cubicBezTo>
                  <a:pt x="1294101" y="1365110"/>
                  <a:pt x="1197007" y="1388297"/>
                  <a:pt x="1095566" y="1388297"/>
                </a:cubicBezTo>
                <a:cubicBezTo>
                  <a:pt x="828920" y="1388297"/>
                  <a:pt x="599953" y="1223092"/>
                  <a:pt x="495613" y="983980"/>
                </a:cubicBezTo>
                <a:cubicBezTo>
                  <a:pt x="215925" y="944853"/>
                  <a:pt x="0" y="694148"/>
                  <a:pt x="0" y="389824"/>
                </a:cubicBezTo>
                <a:cubicBezTo>
                  <a:pt x="1449" y="333307"/>
                  <a:pt x="10144" y="278239"/>
                  <a:pt x="23186" y="226069"/>
                </a:cubicBezTo>
                <a:close/>
              </a:path>
            </a:pathLst>
          </a:custGeom>
          <a:solidFill>
            <a:schemeClr val="accent3"/>
          </a:solidFill>
          <a:ln w="144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5" name="Freeform: Shape 44">
            <a:extLst>
              <a:ext uri="{FF2B5EF4-FFF2-40B4-BE49-F238E27FC236}">
                <a16:creationId xmlns:a16="http://schemas.microsoft.com/office/drawing/2014/main" id="{34FA267B-F6B2-488C-99DD-D7A9191728F3}"/>
              </a:ext>
            </a:extLst>
          </p:cNvPr>
          <p:cNvSpPr/>
          <p:nvPr/>
        </p:nvSpPr>
        <p:spPr>
          <a:xfrm>
            <a:off x="6822320" y="3344598"/>
            <a:ext cx="1379602" cy="1162227"/>
          </a:xfrm>
          <a:custGeom>
            <a:avLst/>
            <a:gdLst>
              <a:gd name="connsiteX0" fmla="*/ 0 w 1379602"/>
              <a:gd name="connsiteY0" fmla="*/ 0 h 1162227"/>
              <a:gd name="connsiteX1" fmla="*/ 953548 w 1379602"/>
              <a:gd name="connsiteY1" fmla="*/ 0 h 1162227"/>
              <a:gd name="connsiteX2" fmla="*/ 953548 w 1379602"/>
              <a:gd name="connsiteY2" fmla="*/ 34780 h 1162227"/>
              <a:gd name="connsiteX3" fmla="*/ 910073 w 1379602"/>
              <a:gd name="connsiteY3" fmla="*/ 117382 h 1162227"/>
              <a:gd name="connsiteX4" fmla="*/ 1041948 w 1379602"/>
              <a:gd name="connsiteY4" fmla="*/ 227518 h 1162227"/>
              <a:gd name="connsiteX5" fmla="*/ 1173821 w 1379602"/>
              <a:gd name="connsiteY5" fmla="*/ 117382 h 1162227"/>
              <a:gd name="connsiteX6" fmla="*/ 1130346 w 1379602"/>
              <a:gd name="connsiteY6" fmla="*/ 34780 h 1162227"/>
              <a:gd name="connsiteX7" fmla="*/ 1130346 w 1379602"/>
              <a:gd name="connsiteY7" fmla="*/ 0 h 1162227"/>
              <a:gd name="connsiteX8" fmla="*/ 1357865 w 1379602"/>
              <a:gd name="connsiteY8" fmla="*/ 0 h 1162227"/>
              <a:gd name="connsiteX9" fmla="*/ 1379602 w 1379602"/>
              <a:gd name="connsiteY9" fmla="*/ 163755 h 1162227"/>
              <a:gd name="connsiteX10" fmla="*/ 883989 w 1379602"/>
              <a:gd name="connsiteY10" fmla="*/ 757911 h 1162227"/>
              <a:gd name="connsiteX11" fmla="*/ 284036 w 1379602"/>
              <a:gd name="connsiteY11" fmla="*/ 1162227 h 1162227"/>
              <a:gd name="connsiteX12" fmla="*/ 1450 w 1379602"/>
              <a:gd name="connsiteY12" fmla="*/ 1095566 h 1162227"/>
              <a:gd name="connsiteX13" fmla="*/ 1450 w 1379602"/>
              <a:gd name="connsiteY13" fmla="*/ 643428 h 1162227"/>
              <a:gd name="connsiteX14" fmla="*/ 2899 w 1379602"/>
              <a:gd name="connsiteY14" fmla="*/ 643428 h 1162227"/>
              <a:gd name="connsiteX15" fmla="*/ 85501 w 1379602"/>
              <a:gd name="connsiteY15" fmla="*/ 686902 h 1162227"/>
              <a:gd name="connsiteX16" fmla="*/ 195637 w 1379602"/>
              <a:gd name="connsiteY16" fmla="*/ 555029 h 1162227"/>
              <a:gd name="connsiteX17" fmla="*/ 85501 w 1379602"/>
              <a:gd name="connsiteY17" fmla="*/ 423155 h 1162227"/>
              <a:gd name="connsiteX18" fmla="*/ 2899 w 1379602"/>
              <a:gd name="connsiteY18" fmla="*/ 466630 h 1162227"/>
              <a:gd name="connsiteX19" fmla="*/ 1450 w 1379602"/>
              <a:gd name="connsiteY19" fmla="*/ 466630 h 1162227"/>
              <a:gd name="connsiteX20" fmla="*/ 1450 w 1379602"/>
              <a:gd name="connsiteY20" fmla="*/ 0 h 1162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379602" h="1162227">
                <a:moveTo>
                  <a:pt x="0" y="0"/>
                </a:moveTo>
                <a:lnTo>
                  <a:pt x="953548" y="0"/>
                </a:lnTo>
                <a:lnTo>
                  <a:pt x="953548" y="34780"/>
                </a:lnTo>
                <a:cubicBezTo>
                  <a:pt x="927464" y="55068"/>
                  <a:pt x="910073" y="84051"/>
                  <a:pt x="910073" y="117382"/>
                </a:cubicBezTo>
                <a:cubicBezTo>
                  <a:pt x="910073" y="186942"/>
                  <a:pt x="978184" y="227518"/>
                  <a:pt x="1041948" y="227518"/>
                </a:cubicBezTo>
                <a:cubicBezTo>
                  <a:pt x="1105710" y="227518"/>
                  <a:pt x="1173821" y="185493"/>
                  <a:pt x="1173821" y="117382"/>
                </a:cubicBezTo>
                <a:cubicBezTo>
                  <a:pt x="1173821" y="84051"/>
                  <a:pt x="1156431" y="55068"/>
                  <a:pt x="1130346" y="34780"/>
                </a:cubicBezTo>
                <a:lnTo>
                  <a:pt x="1130346" y="0"/>
                </a:lnTo>
                <a:lnTo>
                  <a:pt x="1357865" y="0"/>
                </a:lnTo>
                <a:cubicBezTo>
                  <a:pt x="1372356" y="52170"/>
                  <a:pt x="1379602" y="107238"/>
                  <a:pt x="1379602" y="163755"/>
                </a:cubicBezTo>
                <a:cubicBezTo>
                  <a:pt x="1379602" y="468079"/>
                  <a:pt x="1163677" y="718784"/>
                  <a:pt x="883989" y="757911"/>
                </a:cubicBezTo>
                <a:cubicBezTo>
                  <a:pt x="779649" y="995574"/>
                  <a:pt x="550681" y="1162227"/>
                  <a:pt x="284036" y="1162227"/>
                </a:cubicBezTo>
                <a:cubicBezTo>
                  <a:pt x="182595" y="1162227"/>
                  <a:pt x="86950" y="1137592"/>
                  <a:pt x="1450" y="1095566"/>
                </a:cubicBezTo>
                <a:lnTo>
                  <a:pt x="1450" y="643428"/>
                </a:lnTo>
                <a:lnTo>
                  <a:pt x="2899" y="643428"/>
                </a:lnTo>
                <a:cubicBezTo>
                  <a:pt x="23187" y="669513"/>
                  <a:pt x="52170" y="686902"/>
                  <a:pt x="85501" y="686902"/>
                </a:cubicBezTo>
                <a:cubicBezTo>
                  <a:pt x="155060" y="686902"/>
                  <a:pt x="195637" y="618792"/>
                  <a:pt x="195637" y="555029"/>
                </a:cubicBezTo>
                <a:cubicBezTo>
                  <a:pt x="195637" y="491266"/>
                  <a:pt x="153612" y="423155"/>
                  <a:pt x="85501" y="423155"/>
                </a:cubicBezTo>
                <a:cubicBezTo>
                  <a:pt x="52170" y="423155"/>
                  <a:pt x="23187" y="440545"/>
                  <a:pt x="2899" y="466630"/>
                </a:cubicBezTo>
                <a:lnTo>
                  <a:pt x="1450" y="466630"/>
                </a:lnTo>
                <a:lnTo>
                  <a:pt x="1450" y="0"/>
                </a:lnTo>
                <a:close/>
              </a:path>
            </a:pathLst>
          </a:custGeom>
          <a:solidFill>
            <a:schemeClr val="accent5"/>
          </a:solidFill>
          <a:ln w="144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6" name="Freeform: Shape 45">
            <a:extLst>
              <a:ext uri="{FF2B5EF4-FFF2-40B4-BE49-F238E27FC236}">
                <a16:creationId xmlns:a16="http://schemas.microsoft.com/office/drawing/2014/main" id="{07FAC753-72A7-4EC7-8159-A8BB70610BEB}"/>
              </a:ext>
            </a:extLst>
          </p:cNvPr>
          <p:cNvSpPr/>
          <p:nvPr/>
        </p:nvSpPr>
        <p:spPr>
          <a:xfrm>
            <a:off x="6103536" y="1814284"/>
            <a:ext cx="2065055" cy="1723052"/>
          </a:xfrm>
          <a:custGeom>
            <a:avLst/>
            <a:gdLst>
              <a:gd name="connsiteX0" fmla="*/ 2065056 w 2065055"/>
              <a:gd name="connsiteY0" fmla="*/ 1496984 h 1723052"/>
              <a:gd name="connsiteX1" fmla="*/ 1814351 w 2065055"/>
              <a:gd name="connsiteY1" fmla="*/ 1496984 h 1723052"/>
              <a:gd name="connsiteX2" fmla="*/ 1814351 w 2065055"/>
              <a:gd name="connsiteY2" fmla="*/ 1582484 h 1723052"/>
              <a:gd name="connsiteX3" fmla="*/ 1857826 w 2065055"/>
              <a:gd name="connsiteY3" fmla="*/ 1646247 h 1723052"/>
              <a:gd name="connsiteX4" fmla="*/ 1759282 w 2065055"/>
              <a:gd name="connsiteY4" fmla="*/ 1723053 h 1723052"/>
              <a:gd name="connsiteX5" fmla="*/ 1660739 w 2065055"/>
              <a:gd name="connsiteY5" fmla="*/ 1646247 h 1723052"/>
              <a:gd name="connsiteX6" fmla="*/ 1704214 w 2065055"/>
              <a:gd name="connsiteY6" fmla="*/ 1582484 h 1723052"/>
              <a:gd name="connsiteX7" fmla="*/ 1704214 w 2065055"/>
              <a:gd name="connsiteY7" fmla="*/ 1496984 h 1723052"/>
              <a:gd name="connsiteX8" fmla="*/ 0 w 2065055"/>
              <a:gd name="connsiteY8" fmla="*/ 1496984 h 1723052"/>
              <a:gd name="connsiteX9" fmla="*/ 0 w 2065055"/>
              <a:gd name="connsiteY9" fmla="*/ 836166 h 1723052"/>
              <a:gd name="connsiteX10" fmla="*/ 0 w 2065055"/>
              <a:gd name="connsiteY10" fmla="*/ 836166 h 1723052"/>
              <a:gd name="connsiteX11" fmla="*/ 82602 w 2065055"/>
              <a:gd name="connsiteY11" fmla="*/ 879641 h 1723052"/>
              <a:gd name="connsiteX12" fmla="*/ 192738 w 2065055"/>
              <a:gd name="connsiteY12" fmla="*/ 747767 h 1723052"/>
              <a:gd name="connsiteX13" fmla="*/ 82602 w 2065055"/>
              <a:gd name="connsiteY13" fmla="*/ 615894 h 1723052"/>
              <a:gd name="connsiteX14" fmla="*/ 0 w 2065055"/>
              <a:gd name="connsiteY14" fmla="*/ 659368 h 1723052"/>
              <a:gd name="connsiteX15" fmla="*/ 0 w 2065055"/>
              <a:gd name="connsiteY15" fmla="*/ 659368 h 1723052"/>
              <a:gd name="connsiteX16" fmla="*/ 0 w 2065055"/>
              <a:gd name="connsiteY16" fmla="*/ 0 h 1723052"/>
              <a:gd name="connsiteX17" fmla="*/ 898480 w 2065055"/>
              <a:gd name="connsiteY17" fmla="*/ 589809 h 1723052"/>
              <a:gd name="connsiteX18" fmla="*/ 898480 w 2065055"/>
              <a:gd name="connsiteY18" fmla="*/ 589809 h 1723052"/>
              <a:gd name="connsiteX19" fmla="*/ 1570891 w 2065055"/>
              <a:gd name="connsiteY19" fmla="*/ 1095566 h 1723052"/>
              <a:gd name="connsiteX20" fmla="*/ 2065056 w 2065055"/>
              <a:gd name="connsiteY20" fmla="*/ 1496984 h 1723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065055" h="1723052">
                <a:moveTo>
                  <a:pt x="2065056" y="1496984"/>
                </a:moveTo>
                <a:lnTo>
                  <a:pt x="1814351" y="1496984"/>
                </a:lnTo>
                <a:lnTo>
                  <a:pt x="1814351" y="1582484"/>
                </a:lnTo>
                <a:cubicBezTo>
                  <a:pt x="1840435" y="1596976"/>
                  <a:pt x="1857826" y="1620162"/>
                  <a:pt x="1857826" y="1646247"/>
                </a:cubicBezTo>
                <a:cubicBezTo>
                  <a:pt x="1857826" y="1688273"/>
                  <a:pt x="1814351" y="1723053"/>
                  <a:pt x="1759282" y="1723053"/>
                </a:cubicBezTo>
                <a:cubicBezTo>
                  <a:pt x="1704214" y="1723053"/>
                  <a:pt x="1660739" y="1688273"/>
                  <a:pt x="1660739" y="1646247"/>
                </a:cubicBezTo>
                <a:cubicBezTo>
                  <a:pt x="1660739" y="1618713"/>
                  <a:pt x="1678129" y="1595527"/>
                  <a:pt x="1704214" y="1582484"/>
                </a:cubicBezTo>
                <a:lnTo>
                  <a:pt x="1704214" y="1496984"/>
                </a:lnTo>
                <a:lnTo>
                  <a:pt x="0" y="1496984"/>
                </a:lnTo>
                <a:lnTo>
                  <a:pt x="0" y="836166"/>
                </a:lnTo>
                <a:lnTo>
                  <a:pt x="0" y="836166"/>
                </a:lnTo>
                <a:cubicBezTo>
                  <a:pt x="20288" y="862251"/>
                  <a:pt x="49271" y="879641"/>
                  <a:pt x="82602" y="879641"/>
                </a:cubicBezTo>
                <a:cubicBezTo>
                  <a:pt x="152162" y="879641"/>
                  <a:pt x="192738" y="811530"/>
                  <a:pt x="192738" y="747767"/>
                </a:cubicBezTo>
                <a:cubicBezTo>
                  <a:pt x="192738" y="684004"/>
                  <a:pt x="150712" y="615894"/>
                  <a:pt x="82602" y="615894"/>
                </a:cubicBezTo>
                <a:cubicBezTo>
                  <a:pt x="49271" y="615894"/>
                  <a:pt x="20288" y="633284"/>
                  <a:pt x="0" y="659368"/>
                </a:cubicBezTo>
                <a:lnTo>
                  <a:pt x="0" y="659368"/>
                </a:lnTo>
                <a:lnTo>
                  <a:pt x="0" y="0"/>
                </a:lnTo>
                <a:cubicBezTo>
                  <a:pt x="389824" y="14492"/>
                  <a:pt x="726030" y="249256"/>
                  <a:pt x="898480" y="589809"/>
                </a:cubicBezTo>
                <a:lnTo>
                  <a:pt x="898480" y="589809"/>
                </a:lnTo>
                <a:cubicBezTo>
                  <a:pt x="1211499" y="589809"/>
                  <a:pt x="1476695" y="801386"/>
                  <a:pt x="1570891" y="1095566"/>
                </a:cubicBezTo>
                <a:cubicBezTo>
                  <a:pt x="1799859" y="1115854"/>
                  <a:pt x="1992597" y="1276711"/>
                  <a:pt x="2065056" y="1496984"/>
                </a:cubicBezTo>
                <a:close/>
              </a:path>
            </a:pathLst>
          </a:custGeom>
          <a:solidFill>
            <a:schemeClr val="accent2"/>
          </a:solidFill>
          <a:ln w="144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7" name="Freeform: Shape 46">
            <a:extLst>
              <a:ext uri="{FF2B5EF4-FFF2-40B4-BE49-F238E27FC236}">
                <a16:creationId xmlns:a16="http://schemas.microsoft.com/office/drawing/2014/main" id="{7A482981-E04D-47CA-A16A-804E394BFE10}"/>
              </a:ext>
            </a:extLst>
          </p:cNvPr>
          <p:cNvSpPr/>
          <p:nvPr/>
        </p:nvSpPr>
        <p:spPr>
          <a:xfrm>
            <a:off x="3968921" y="1814284"/>
            <a:ext cx="2292573" cy="1498432"/>
          </a:xfrm>
          <a:custGeom>
            <a:avLst/>
            <a:gdLst>
              <a:gd name="connsiteX0" fmla="*/ 2099835 w 2292573"/>
              <a:gd name="connsiteY0" fmla="*/ 694148 h 1498432"/>
              <a:gd name="connsiteX1" fmla="*/ 2152006 w 2292573"/>
              <a:gd name="connsiteY1" fmla="*/ 694148 h 1498432"/>
              <a:gd name="connsiteX2" fmla="*/ 2215768 w 2292573"/>
              <a:gd name="connsiteY2" fmla="*/ 650673 h 1498432"/>
              <a:gd name="connsiteX3" fmla="*/ 2292574 w 2292573"/>
              <a:gd name="connsiteY3" fmla="*/ 749216 h 1498432"/>
              <a:gd name="connsiteX4" fmla="*/ 2215768 w 2292573"/>
              <a:gd name="connsiteY4" fmla="*/ 847759 h 1498432"/>
              <a:gd name="connsiteX5" fmla="*/ 2152006 w 2292573"/>
              <a:gd name="connsiteY5" fmla="*/ 804285 h 1498432"/>
              <a:gd name="connsiteX6" fmla="*/ 2099835 w 2292573"/>
              <a:gd name="connsiteY6" fmla="*/ 804285 h 1498432"/>
              <a:gd name="connsiteX7" fmla="*/ 2099835 w 2292573"/>
              <a:gd name="connsiteY7" fmla="*/ 1498433 h 1498432"/>
              <a:gd name="connsiteX8" fmla="*/ 575317 w 2292573"/>
              <a:gd name="connsiteY8" fmla="*/ 1498433 h 1498432"/>
              <a:gd name="connsiteX9" fmla="*/ 575317 w 2292573"/>
              <a:gd name="connsiteY9" fmla="*/ 1463653 h 1498432"/>
              <a:gd name="connsiteX10" fmla="*/ 618792 w 2292573"/>
              <a:gd name="connsiteY10" fmla="*/ 1381051 h 1498432"/>
              <a:gd name="connsiteX11" fmla="*/ 486918 w 2292573"/>
              <a:gd name="connsiteY11" fmla="*/ 1270914 h 1498432"/>
              <a:gd name="connsiteX12" fmla="*/ 355045 w 2292573"/>
              <a:gd name="connsiteY12" fmla="*/ 1381051 h 1498432"/>
              <a:gd name="connsiteX13" fmla="*/ 398519 w 2292573"/>
              <a:gd name="connsiteY13" fmla="*/ 1463653 h 1498432"/>
              <a:gd name="connsiteX14" fmla="*/ 398519 w 2292573"/>
              <a:gd name="connsiteY14" fmla="*/ 1498433 h 1498432"/>
              <a:gd name="connsiteX15" fmla="*/ 0 w 2292573"/>
              <a:gd name="connsiteY15" fmla="*/ 1498433 h 1498432"/>
              <a:gd name="connsiteX16" fmla="*/ 495614 w 2292573"/>
              <a:gd name="connsiteY16" fmla="*/ 1097015 h 1498432"/>
              <a:gd name="connsiteX17" fmla="*/ 1168025 w 2292573"/>
              <a:gd name="connsiteY17" fmla="*/ 591258 h 1498432"/>
              <a:gd name="connsiteX18" fmla="*/ 1168025 w 2292573"/>
              <a:gd name="connsiteY18" fmla="*/ 591258 h 1498432"/>
              <a:gd name="connsiteX19" fmla="*/ 2099835 w 2292573"/>
              <a:gd name="connsiteY19" fmla="*/ 0 h 1498432"/>
              <a:gd name="connsiteX20" fmla="*/ 2099835 w 2292573"/>
              <a:gd name="connsiteY20" fmla="*/ 694148 h 1498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292573" h="1498432">
                <a:moveTo>
                  <a:pt x="2099835" y="694148"/>
                </a:moveTo>
                <a:lnTo>
                  <a:pt x="2152006" y="694148"/>
                </a:lnTo>
                <a:cubicBezTo>
                  <a:pt x="2166497" y="668063"/>
                  <a:pt x="2189684" y="650673"/>
                  <a:pt x="2215768" y="650673"/>
                </a:cubicBezTo>
                <a:cubicBezTo>
                  <a:pt x="2257794" y="650673"/>
                  <a:pt x="2292574" y="694148"/>
                  <a:pt x="2292574" y="749216"/>
                </a:cubicBezTo>
                <a:cubicBezTo>
                  <a:pt x="2292574" y="802835"/>
                  <a:pt x="2257794" y="847759"/>
                  <a:pt x="2215768" y="847759"/>
                </a:cubicBezTo>
                <a:cubicBezTo>
                  <a:pt x="2188235" y="847759"/>
                  <a:pt x="2165048" y="830369"/>
                  <a:pt x="2152006" y="804285"/>
                </a:cubicBezTo>
                <a:lnTo>
                  <a:pt x="2099835" y="804285"/>
                </a:lnTo>
                <a:lnTo>
                  <a:pt x="2099835" y="1498433"/>
                </a:lnTo>
                <a:lnTo>
                  <a:pt x="575317" y="1498433"/>
                </a:lnTo>
                <a:lnTo>
                  <a:pt x="575317" y="1463653"/>
                </a:lnTo>
                <a:cubicBezTo>
                  <a:pt x="601402" y="1443365"/>
                  <a:pt x="618792" y="1414381"/>
                  <a:pt x="618792" y="1381051"/>
                </a:cubicBezTo>
                <a:cubicBezTo>
                  <a:pt x="618792" y="1311491"/>
                  <a:pt x="550681" y="1270914"/>
                  <a:pt x="486918" y="1270914"/>
                </a:cubicBezTo>
                <a:cubicBezTo>
                  <a:pt x="423155" y="1270914"/>
                  <a:pt x="355045" y="1312940"/>
                  <a:pt x="355045" y="1381051"/>
                </a:cubicBezTo>
                <a:cubicBezTo>
                  <a:pt x="355045" y="1414381"/>
                  <a:pt x="372435" y="1443365"/>
                  <a:pt x="398519" y="1463653"/>
                </a:cubicBezTo>
                <a:lnTo>
                  <a:pt x="398519" y="1498433"/>
                </a:lnTo>
                <a:lnTo>
                  <a:pt x="0" y="1498433"/>
                </a:lnTo>
                <a:cubicBezTo>
                  <a:pt x="72458" y="1278160"/>
                  <a:pt x="265197" y="1115854"/>
                  <a:pt x="495614" y="1097015"/>
                </a:cubicBezTo>
                <a:cubicBezTo>
                  <a:pt x="589809" y="802835"/>
                  <a:pt x="855005" y="591258"/>
                  <a:pt x="1168025" y="591258"/>
                </a:cubicBezTo>
                <a:lnTo>
                  <a:pt x="1168025" y="591258"/>
                </a:lnTo>
                <a:cubicBezTo>
                  <a:pt x="1346271" y="240561"/>
                  <a:pt x="1696969" y="1449"/>
                  <a:pt x="2099835" y="0"/>
                </a:cubicBezTo>
                <a:lnTo>
                  <a:pt x="2099835" y="694148"/>
                </a:lnTo>
                <a:close/>
              </a:path>
            </a:pathLst>
          </a:custGeom>
          <a:solidFill>
            <a:schemeClr val="accent1"/>
          </a:solidFill>
          <a:ln w="144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8" name="Freeform: Shape 47">
            <a:extLst>
              <a:ext uri="{FF2B5EF4-FFF2-40B4-BE49-F238E27FC236}">
                <a16:creationId xmlns:a16="http://schemas.microsoft.com/office/drawing/2014/main" id="{107B2902-8521-4804-9DE9-78050EDA88D7}"/>
              </a:ext>
            </a:extLst>
          </p:cNvPr>
          <p:cNvSpPr/>
          <p:nvPr/>
        </p:nvSpPr>
        <p:spPr>
          <a:xfrm>
            <a:off x="5351421" y="3343149"/>
            <a:ext cx="1630306" cy="1379601"/>
          </a:xfrm>
          <a:custGeom>
            <a:avLst/>
            <a:gdLst>
              <a:gd name="connsiteX0" fmla="*/ 1437569 w 1630306"/>
              <a:gd name="connsiteY0" fmla="*/ 502859 h 1379601"/>
              <a:gd name="connsiteX1" fmla="*/ 1489738 w 1630306"/>
              <a:gd name="connsiteY1" fmla="*/ 502859 h 1379601"/>
              <a:gd name="connsiteX2" fmla="*/ 1553502 w 1630306"/>
              <a:gd name="connsiteY2" fmla="*/ 459384 h 1379601"/>
              <a:gd name="connsiteX3" fmla="*/ 1630307 w 1630306"/>
              <a:gd name="connsiteY3" fmla="*/ 557927 h 1379601"/>
              <a:gd name="connsiteX4" fmla="*/ 1553502 w 1630306"/>
              <a:gd name="connsiteY4" fmla="*/ 656470 h 1379601"/>
              <a:gd name="connsiteX5" fmla="*/ 1489738 w 1630306"/>
              <a:gd name="connsiteY5" fmla="*/ 612995 h 1379601"/>
              <a:gd name="connsiteX6" fmla="*/ 1437569 w 1630306"/>
              <a:gd name="connsiteY6" fmla="*/ 612995 h 1379601"/>
              <a:gd name="connsiteX7" fmla="*/ 1437569 w 1630306"/>
              <a:gd name="connsiteY7" fmla="*/ 1079625 h 1379601"/>
              <a:gd name="connsiteX8" fmla="*/ 1430323 w 1630306"/>
              <a:gd name="connsiteY8" fmla="*/ 1075278 h 1379601"/>
              <a:gd name="connsiteX9" fmla="*/ 768056 w 1630306"/>
              <a:gd name="connsiteY9" fmla="*/ 1379602 h 1379601"/>
              <a:gd name="connsiteX10" fmla="*/ 718785 w 1630306"/>
              <a:gd name="connsiteY10" fmla="*/ 1379602 h 1379601"/>
              <a:gd name="connsiteX11" fmla="*/ 669513 w 1630306"/>
              <a:gd name="connsiteY11" fmla="*/ 1379602 h 1379601"/>
              <a:gd name="connsiteX12" fmla="*/ 7246 w 1630306"/>
              <a:gd name="connsiteY12" fmla="*/ 1075278 h 1379601"/>
              <a:gd name="connsiteX13" fmla="*/ 0 w 1630306"/>
              <a:gd name="connsiteY13" fmla="*/ 1079625 h 1379601"/>
              <a:gd name="connsiteX14" fmla="*/ 0 w 1630306"/>
              <a:gd name="connsiteY14" fmla="*/ 644877 h 1379601"/>
              <a:gd name="connsiteX15" fmla="*/ 1449 w 1630306"/>
              <a:gd name="connsiteY15" fmla="*/ 644877 h 1379601"/>
              <a:gd name="connsiteX16" fmla="*/ 84052 w 1630306"/>
              <a:gd name="connsiteY16" fmla="*/ 688352 h 1379601"/>
              <a:gd name="connsiteX17" fmla="*/ 194188 w 1630306"/>
              <a:gd name="connsiteY17" fmla="*/ 556478 h 1379601"/>
              <a:gd name="connsiteX18" fmla="*/ 84052 w 1630306"/>
              <a:gd name="connsiteY18" fmla="*/ 424604 h 1379601"/>
              <a:gd name="connsiteX19" fmla="*/ 1449 w 1630306"/>
              <a:gd name="connsiteY19" fmla="*/ 468079 h 1379601"/>
              <a:gd name="connsiteX20" fmla="*/ 0 w 1630306"/>
              <a:gd name="connsiteY20" fmla="*/ 468079 h 1379601"/>
              <a:gd name="connsiteX21" fmla="*/ 0 w 1630306"/>
              <a:gd name="connsiteY21" fmla="*/ 0 h 1379601"/>
              <a:gd name="connsiteX22" fmla="*/ 1437569 w 1630306"/>
              <a:gd name="connsiteY22" fmla="*/ 0 h 1379601"/>
              <a:gd name="connsiteX23" fmla="*/ 1437569 w 1630306"/>
              <a:gd name="connsiteY23" fmla="*/ 502859 h 1379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630306" h="1379601">
                <a:moveTo>
                  <a:pt x="1437569" y="502859"/>
                </a:moveTo>
                <a:lnTo>
                  <a:pt x="1489738" y="502859"/>
                </a:lnTo>
                <a:cubicBezTo>
                  <a:pt x="1504230" y="476774"/>
                  <a:pt x="1527417" y="459384"/>
                  <a:pt x="1553502" y="459384"/>
                </a:cubicBezTo>
                <a:cubicBezTo>
                  <a:pt x="1595528" y="459384"/>
                  <a:pt x="1630307" y="502859"/>
                  <a:pt x="1630307" y="557927"/>
                </a:cubicBezTo>
                <a:cubicBezTo>
                  <a:pt x="1630307" y="611546"/>
                  <a:pt x="1595528" y="656470"/>
                  <a:pt x="1553502" y="656470"/>
                </a:cubicBezTo>
                <a:cubicBezTo>
                  <a:pt x="1525967" y="656470"/>
                  <a:pt x="1502781" y="639080"/>
                  <a:pt x="1489738" y="612995"/>
                </a:cubicBezTo>
                <a:lnTo>
                  <a:pt x="1437569" y="612995"/>
                </a:lnTo>
                <a:lnTo>
                  <a:pt x="1437569" y="1079625"/>
                </a:lnTo>
                <a:cubicBezTo>
                  <a:pt x="1434670" y="1078176"/>
                  <a:pt x="1433221" y="1076727"/>
                  <a:pt x="1430323" y="1075278"/>
                </a:cubicBezTo>
                <a:cubicBezTo>
                  <a:pt x="1302797" y="1276711"/>
                  <a:pt x="1039049" y="1375254"/>
                  <a:pt x="768056" y="1379602"/>
                </a:cubicBezTo>
                <a:lnTo>
                  <a:pt x="718785" y="1379602"/>
                </a:lnTo>
                <a:lnTo>
                  <a:pt x="669513" y="1379602"/>
                </a:lnTo>
                <a:cubicBezTo>
                  <a:pt x="398519" y="1373805"/>
                  <a:pt x="134772" y="1276711"/>
                  <a:pt x="7246" y="1075278"/>
                </a:cubicBezTo>
                <a:cubicBezTo>
                  <a:pt x="4348" y="1076727"/>
                  <a:pt x="2899" y="1078176"/>
                  <a:pt x="0" y="1079625"/>
                </a:cubicBezTo>
                <a:lnTo>
                  <a:pt x="0" y="644877"/>
                </a:lnTo>
                <a:lnTo>
                  <a:pt x="1449" y="644877"/>
                </a:lnTo>
                <a:cubicBezTo>
                  <a:pt x="21737" y="670962"/>
                  <a:pt x="50721" y="688352"/>
                  <a:pt x="84052" y="688352"/>
                </a:cubicBezTo>
                <a:cubicBezTo>
                  <a:pt x="153611" y="688352"/>
                  <a:pt x="194188" y="620241"/>
                  <a:pt x="194188" y="556478"/>
                </a:cubicBezTo>
                <a:cubicBezTo>
                  <a:pt x="194188" y="492715"/>
                  <a:pt x="152162" y="424604"/>
                  <a:pt x="84052" y="424604"/>
                </a:cubicBezTo>
                <a:cubicBezTo>
                  <a:pt x="50721" y="424604"/>
                  <a:pt x="21737" y="441994"/>
                  <a:pt x="1449" y="468079"/>
                </a:cubicBezTo>
                <a:lnTo>
                  <a:pt x="0" y="468079"/>
                </a:lnTo>
                <a:lnTo>
                  <a:pt x="0" y="0"/>
                </a:lnTo>
                <a:lnTo>
                  <a:pt x="1437569" y="0"/>
                </a:lnTo>
                <a:lnTo>
                  <a:pt x="1437569" y="502859"/>
                </a:lnTo>
                <a:close/>
              </a:path>
            </a:pathLst>
          </a:custGeom>
          <a:solidFill>
            <a:schemeClr val="accent4"/>
          </a:solidFill>
          <a:ln w="144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9" name="Title 1">
            <a:extLst>
              <a:ext uri="{FF2B5EF4-FFF2-40B4-BE49-F238E27FC236}">
                <a16:creationId xmlns:a16="http://schemas.microsoft.com/office/drawing/2014/main" id="{1323DC42-607B-4AE0-86BC-2475CFE4CDF2}"/>
              </a:ext>
            </a:extLst>
          </p:cNvPr>
          <p:cNvSpPr txBox="1">
            <a:spLocks/>
          </p:cNvSpPr>
          <p:nvPr/>
        </p:nvSpPr>
        <p:spPr>
          <a:xfrm>
            <a:off x="2043113" y="304800"/>
            <a:ext cx="8105775" cy="1105808"/>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ID" sz="4400" b="0" i="0" u="none" strike="noStrike" kern="1200" cap="none" spc="0" normalizeH="0" baseline="0" noProof="0">
                <a:ln>
                  <a:noFill/>
                </a:ln>
                <a:solidFill>
                  <a:srgbClr val="000000"/>
                </a:solidFill>
                <a:effectLst/>
                <a:uLnTx/>
                <a:uFillTx/>
                <a:latin typeface="等线 Light" panose="020F0302020204030204"/>
                <a:ea typeface="+mj-ea"/>
                <a:cs typeface="+mj-cs"/>
              </a:rPr>
              <a:t>Tree Infographic</a:t>
            </a:r>
          </a:p>
        </p:txBody>
      </p:sp>
      <p:grpSp>
        <p:nvGrpSpPr>
          <p:cNvPr id="10" name="Group 16">
            <a:extLst>
              <a:ext uri="{FF2B5EF4-FFF2-40B4-BE49-F238E27FC236}">
                <a16:creationId xmlns:a16="http://schemas.microsoft.com/office/drawing/2014/main" id="{B2F3166E-93DF-4488-B4B2-8B46D4A1074B}"/>
              </a:ext>
            </a:extLst>
          </p:cNvPr>
          <p:cNvGrpSpPr/>
          <p:nvPr/>
        </p:nvGrpSpPr>
        <p:grpSpPr>
          <a:xfrm flipH="1">
            <a:off x="6721778" y="1906466"/>
            <a:ext cx="967811" cy="257001"/>
            <a:chOff x="3199242" y="2100510"/>
            <a:chExt cx="967811" cy="257001"/>
          </a:xfrm>
        </p:grpSpPr>
        <p:cxnSp>
          <p:nvCxnSpPr>
            <p:cNvPr id="11" name="Straight Connector 17">
              <a:extLst>
                <a:ext uri="{FF2B5EF4-FFF2-40B4-BE49-F238E27FC236}">
                  <a16:creationId xmlns:a16="http://schemas.microsoft.com/office/drawing/2014/main" id="{DEA0EA68-9438-4318-B94A-E34AFFBEB42C}"/>
                </a:ext>
              </a:extLst>
            </p:cNvPr>
            <p:cNvCxnSpPr>
              <a:cxnSpLocks/>
            </p:cNvCxnSpPr>
            <p:nvPr/>
          </p:nvCxnSpPr>
          <p:spPr>
            <a:xfrm flipH="1" flipV="1">
              <a:off x="3910047" y="2100510"/>
              <a:ext cx="257006" cy="257001"/>
            </a:xfrm>
            <a:prstGeom prst="line">
              <a:avLst/>
            </a:prstGeom>
            <a:ln w="28575">
              <a:solidFill>
                <a:schemeClr val="accent2"/>
              </a:solidFill>
              <a:headEnd type="oval"/>
            </a:ln>
          </p:spPr>
          <p:style>
            <a:lnRef idx="1">
              <a:schemeClr val="accent1"/>
            </a:lnRef>
            <a:fillRef idx="0">
              <a:schemeClr val="accent1"/>
            </a:fillRef>
            <a:effectRef idx="0">
              <a:schemeClr val="accent1"/>
            </a:effectRef>
            <a:fontRef idx="minor">
              <a:schemeClr val="tx1"/>
            </a:fontRef>
          </p:style>
        </p:cxnSp>
        <p:cxnSp>
          <p:nvCxnSpPr>
            <p:cNvPr id="12" name="Straight Connector 18">
              <a:extLst>
                <a:ext uri="{FF2B5EF4-FFF2-40B4-BE49-F238E27FC236}">
                  <a16:creationId xmlns:a16="http://schemas.microsoft.com/office/drawing/2014/main" id="{81ACD766-166F-4E83-9AFF-E7EF62FDC937}"/>
                </a:ext>
              </a:extLst>
            </p:cNvPr>
            <p:cNvCxnSpPr>
              <a:cxnSpLocks/>
            </p:cNvCxnSpPr>
            <p:nvPr/>
          </p:nvCxnSpPr>
          <p:spPr>
            <a:xfrm flipH="1">
              <a:off x="3199242" y="2105266"/>
              <a:ext cx="718869" cy="0"/>
            </a:xfrm>
            <a:prstGeom prst="line">
              <a:avLst/>
            </a:prstGeom>
            <a:ln w="28575">
              <a:solidFill>
                <a:schemeClr val="accent2"/>
              </a:solidFill>
              <a:tailEnd type="oval"/>
            </a:ln>
          </p:spPr>
          <p:style>
            <a:lnRef idx="1">
              <a:schemeClr val="accent1"/>
            </a:lnRef>
            <a:fillRef idx="0">
              <a:schemeClr val="accent1"/>
            </a:fillRef>
            <a:effectRef idx="0">
              <a:schemeClr val="accent1"/>
            </a:effectRef>
            <a:fontRef idx="minor">
              <a:schemeClr val="tx1"/>
            </a:fontRef>
          </p:style>
        </p:cxnSp>
      </p:grpSp>
      <p:grpSp>
        <p:nvGrpSpPr>
          <p:cNvPr id="13" name="Group 19">
            <a:extLst>
              <a:ext uri="{FF2B5EF4-FFF2-40B4-BE49-F238E27FC236}">
                <a16:creationId xmlns:a16="http://schemas.microsoft.com/office/drawing/2014/main" id="{B196CA73-E46A-4917-B763-7EDEB439DFD9}"/>
              </a:ext>
            </a:extLst>
          </p:cNvPr>
          <p:cNvGrpSpPr/>
          <p:nvPr/>
        </p:nvGrpSpPr>
        <p:grpSpPr>
          <a:xfrm flipV="1">
            <a:off x="4538932" y="4319273"/>
            <a:ext cx="1309982" cy="992146"/>
            <a:chOff x="3592205" y="2100504"/>
            <a:chExt cx="1309982" cy="992146"/>
          </a:xfrm>
        </p:grpSpPr>
        <p:cxnSp>
          <p:nvCxnSpPr>
            <p:cNvPr id="14" name="Straight Connector 20">
              <a:extLst>
                <a:ext uri="{FF2B5EF4-FFF2-40B4-BE49-F238E27FC236}">
                  <a16:creationId xmlns:a16="http://schemas.microsoft.com/office/drawing/2014/main" id="{E222488F-052B-4638-AB6C-06905767679F}"/>
                </a:ext>
              </a:extLst>
            </p:cNvPr>
            <p:cNvCxnSpPr>
              <a:cxnSpLocks/>
            </p:cNvCxnSpPr>
            <p:nvPr/>
          </p:nvCxnSpPr>
          <p:spPr>
            <a:xfrm flipH="1" flipV="1">
              <a:off x="3910050" y="2100504"/>
              <a:ext cx="992137" cy="992146"/>
            </a:xfrm>
            <a:prstGeom prst="line">
              <a:avLst/>
            </a:prstGeom>
            <a:ln w="28575">
              <a:solidFill>
                <a:schemeClr val="accent4"/>
              </a:solidFill>
              <a:headEnd type="oval"/>
            </a:ln>
          </p:spPr>
          <p:style>
            <a:lnRef idx="1">
              <a:schemeClr val="accent1"/>
            </a:lnRef>
            <a:fillRef idx="0">
              <a:schemeClr val="accent1"/>
            </a:fillRef>
            <a:effectRef idx="0">
              <a:schemeClr val="accent1"/>
            </a:effectRef>
            <a:fontRef idx="minor">
              <a:schemeClr val="tx1"/>
            </a:fontRef>
          </p:style>
        </p:cxnSp>
        <p:cxnSp>
          <p:nvCxnSpPr>
            <p:cNvPr id="15" name="Straight Connector 21">
              <a:extLst>
                <a:ext uri="{FF2B5EF4-FFF2-40B4-BE49-F238E27FC236}">
                  <a16:creationId xmlns:a16="http://schemas.microsoft.com/office/drawing/2014/main" id="{EACEF680-B858-4479-B1AF-BDC519C7C7F0}"/>
                </a:ext>
              </a:extLst>
            </p:cNvPr>
            <p:cNvCxnSpPr>
              <a:cxnSpLocks/>
            </p:cNvCxnSpPr>
            <p:nvPr/>
          </p:nvCxnSpPr>
          <p:spPr>
            <a:xfrm flipH="1" flipV="1">
              <a:off x="3592205" y="2102885"/>
              <a:ext cx="328289" cy="0"/>
            </a:xfrm>
            <a:prstGeom prst="line">
              <a:avLst/>
            </a:prstGeom>
            <a:ln w="28575">
              <a:solidFill>
                <a:schemeClr val="accent4"/>
              </a:solidFill>
              <a:tailEnd type="oval"/>
            </a:ln>
          </p:spPr>
          <p:style>
            <a:lnRef idx="1">
              <a:schemeClr val="accent1"/>
            </a:lnRef>
            <a:fillRef idx="0">
              <a:schemeClr val="accent1"/>
            </a:fillRef>
            <a:effectRef idx="0">
              <a:schemeClr val="accent1"/>
            </a:effectRef>
            <a:fontRef idx="minor">
              <a:schemeClr val="tx1"/>
            </a:fontRef>
          </p:style>
        </p:cxnSp>
      </p:grpSp>
      <p:grpSp>
        <p:nvGrpSpPr>
          <p:cNvPr id="16" name="Group 22">
            <a:extLst>
              <a:ext uri="{FF2B5EF4-FFF2-40B4-BE49-F238E27FC236}">
                <a16:creationId xmlns:a16="http://schemas.microsoft.com/office/drawing/2014/main" id="{DEC3EFE8-8A8E-49CE-86B5-0B1BBB497095}"/>
              </a:ext>
            </a:extLst>
          </p:cNvPr>
          <p:cNvGrpSpPr/>
          <p:nvPr/>
        </p:nvGrpSpPr>
        <p:grpSpPr>
          <a:xfrm>
            <a:off x="3813973" y="2244362"/>
            <a:ext cx="1111609" cy="280181"/>
            <a:chOff x="3078620" y="2100506"/>
            <a:chExt cx="1111609" cy="280181"/>
          </a:xfrm>
        </p:grpSpPr>
        <p:cxnSp>
          <p:nvCxnSpPr>
            <p:cNvPr id="17" name="Straight Connector 23">
              <a:extLst>
                <a:ext uri="{FF2B5EF4-FFF2-40B4-BE49-F238E27FC236}">
                  <a16:creationId xmlns:a16="http://schemas.microsoft.com/office/drawing/2014/main" id="{1DF5DF37-27A7-40E9-AAA3-7793FBA1333D}"/>
                </a:ext>
              </a:extLst>
            </p:cNvPr>
            <p:cNvCxnSpPr>
              <a:cxnSpLocks/>
            </p:cNvCxnSpPr>
            <p:nvPr/>
          </p:nvCxnSpPr>
          <p:spPr>
            <a:xfrm flipH="1" flipV="1">
              <a:off x="3910048" y="2100506"/>
              <a:ext cx="280181" cy="280181"/>
            </a:xfrm>
            <a:prstGeom prst="line">
              <a:avLst/>
            </a:prstGeom>
            <a:ln w="28575">
              <a:solidFill>
                <a:schemeClr val="accent1"/>
              </a:solidFill>
              <a:headEnd type="oval"/>
            </a:ln>
          </p:spPr>
          <p:style>
            <a:lnRef idx="1">
              <a:schemeClr val="accent1"/>
            </a:lnRef>
            <a:fillRef idx="0">
              <a:schemeClr val="accent1"/>
            </a:fillRef>
            <a:effectRef idx="0">
              <a:schemeClr val="accent1"/>
            </a:effectRef>
            <a:fontRef idx="minor">
              <a:schemeClr val="tx1"/>
            </a:fontRef>
          </p:style>
        </p:cxnSp>
        <p:cxnSp>
          <p:nvCxnSpPr>
            <p:cNvPr id="18" name="Straight Connector 24">
              <a:extLst>
                <a:ext uri="{FF2B5EF4-FFF2-40B4-BE49-F238E27FC236}">
                  <a16:creationId xmlns:a16="http://schemas.microsoft.com/office/drawing/2014/main" id="{9261144A-9A16-4217-846A-91B298C7F67E}"/>
                </a:ext>
              </a:extLst>
            </p:cNvPr>
            <p:cNvCxnSpPr>
              <a:cxnSpLocks/>
            </p:cNvCxnSpPr>
            <p:nvPr/>
          </p:nvCxnSpPr>
          <p:spPr>
            <a:xfrm flipH="1">
              <a:off x="3078620" y="2105266"/>
              <a:ext cx="839494" cy="0"/>
            </a:xfrm>
            <a:prstGeom prst="line">
              <a:avLst/>
            </a:prstGeom>
            <a:ln w="28575">
              <a:solidFill>
                <a:schemeClr val="accent1"/>
              </a:solidFill>
              <a:tailEnd type="oval"/>
            </a:ln>
          </p:spPr>
          <p:style>
            <a:lnRef idx="1">
              <a:schemeClr val="accent1"/>
            </a:lnRef>
            <a:fillRef idx="0">
              <a:schemeClr val="accent1"/>
            </a:fillRef>
            <a:effectRef idx="0">
              <a:schemeClr val="accent1"/>
            </a:effectRef>
            <a:fontRef idx="minor">
              <a:schemeClr val="tx1"/>
            </a:fontRef>
          </p:style>
        </p:cxnSp>
      </p:grpSp>
      <p:grpSp>
        <p:nvGrpSpPr>
          <p:cNvPr id="19" name="Group 25">
            <a:extLst>
              <a:ext uri="{FF2B5EF4-FFF2-40B4-BE49-F238E27FC236}">
                <a16:creationId xmlns:a16="http://schemas.microsoft.com/office/drawing/2014/main" id="{B6C0D5A9-5B88-4B36-82E0-E70B3B5F7567}"/>
              </a:ext>
            </a:extLst>
          </p:cNvPr>
          <p:cNvGrpSpPr/>
          <p:nvPr/>
        </p:nvGrpSpPr>
        <p:grpSpPr>
          <a:xfrm flipH="1" flipV="1">
            <a:off x="7945549" y="3884086"/>
            <a:ext cx="594768" cy="298036"/>
            <a:chOff x="3613314" y="2100504"/>
            <a:chExt cx="594768" cy="298036"/>
          </a:xfrm>
        </p:grpSpPr>
        <p:cxnSp>
          <p:nvCxnSpPr>
            <p:cNvPr id="20" name="Straight Connector 26">
              <a:extLst>
                <a:ext uri="{FF2B5EF4-FFF2-40B4-BE49-F238E27FC236}">
                  <a16:creationId xmlns:a16="http://schemas.microsoft.com/office/drawing/2014/main" id="{52C9E41A-807D-4A9B-B8DE-FDB3FA4E4307}"/>
                </a:ext>
              </a:extLst>
            </p:cNvPr>
            <p:cNvCxnSpPr>
              <a:cxnSpLocks/>
            </p:cNvCxnSpPr>
            <p:nvPr/>
          </p:nvCxnSpPr>
          <p:spPr>
            <a:xfrm flipH="1" flipV="1">
              <a:off x="3910049" y="2100504"/>
              <a:ext cx="298033" cy="298036"/>
            </a:xfrm>
            <a:prstGeom prst="line">
              <a:avLst/>
            </a:prstGeom>
            <a:ln w="28575">
              <a:solidFill>
                <a:schemeClr val="accent5"/>
              </a:solidFill>
              <a:headEnd type="oval"/>
            </a:ln>
          </p:spPr>
          <p:style>
            <a:lnRef idx="1">
              <a:schemeClr val="accent1"/>
            </a:lnRef>
            <a:fillRef idx="0">
              <a:schemeClr val="accent1"/>
            </a:fillRef>
            <a:effectRef idx="0">
              <a:schemeClr val="accent1"/>
            </a:effectRef>
            <a:fontRef idx="minor">
              <a:schemeClr val="tx1"/>
            </a:fontRef>
          </p:style>
        </p:cxnSp>
        <p:cxnSp>
          <p:nvCxnSpPr>
            <p:cNvPr id="21" name="Straight Connector 27">
              <a:extLst>
                <a:ext uri="{FF2B5EF4-FFF2-40B4-BE49-F238E27FC236}">
                  <a16:creationId xmlns:a16="http://schemas.microsoft.com/office/drawing/2014/main" id="{8168B25C-0025-4C11-887C-EFCA93995FA4}"/>
                </a:ext>
              </a:extLst>
            </p:cNvPr>
            <p:cNvCxnSpPr>
              <a:cxnSpLocks/>
            </p:cNvCxnSpPr>
            <p:nvPr/>
          </p:nvCxnSpPr>
          <p:spPr>
            <a:xfrm flipH="1" flipV="1">
              <a:off x="3613314" y="2102885"/>
              <a:ext cx="307179" cy="0"/>
            </a:xfrm>
            <a:prstGeom prst="line">
              <a:avLst/>
            </a:prstGeom>
            <a:ln w="28575">
              <a:solidFill>
                <a:schemeClr val="accent5"/>
              </a:solidFill>
              <a:tailEnd type="oval"/>
            </a:ln>
          </p:spPr>
          <p:style>
            <a:lnRef idx="1">
              <a:schemeClr val="accent1"/>
            </a:lnRef>
            <a:fillRef idx="0">
              <a:schemeClr val="accent1"/>
            </a:fillRef>
            <a:effectRef idx="0">
              <a:schemeClr val="accent1"/>
            </a:effectRef>
            <a:fontRef idx="minor">
              <a:schemeClr val="tx1"/>
            </a:fontRef>
          </p:style>
        </p:cxnSp>
      </p:grpSp>
      <p:sp>
        <p:nvSpPr>
          <p:cNvPr id="22" name="TextBox 28">
            <a:extLst>
              <a:ext uri="{FF2B5EF4-FFF2-40B4-BE49-F238E27FC236}">
                <a16:creationId xmlns:a16="http://schemas.microsoft.com/office/drawing/2014/main" id="{202A778E-8CB6-4583-ADAD-0C39981D5519}"/>
              </a:ext>
            </a:extLst>
          </p:cNvPr>
          <p:cNvSpPr txBox="1"/>
          <p:nvPr/>
        </p:nvSpPr>
        <p:spPr>
          <a:xfrm>
            <a:off x="1448289" y="2165648"/>
            <a:ext cx="2251643" cy="616836"/>
          </a:xfrm>
          <a:prstGeom prst="rect">
            <a:avLst/>
          </a:prstGeom>
          <a:noFill/>
        </p:spPr>
        <p:txBody>
          <a:bodyPr wrap="square" rtlCol="0">
            <a:spAutoFit/>
          </a:bodyPr>
          <a:lstStyle/>
          <a:p>
            <a:pPr marL="0" marR="0" lvl="0" indent="0" algn="r" defTabSz="914400" rtl="0" eaLnBrk="1" fontAlgn="auto" latinLnBrk="0" hangingPunct="1">
              <a:lnSpc>
                <a:spcPct val="15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rPr>
              <a:t>A wonderful serenity </a:t>
            </a:r>
            <a:r>
              <a:rPr kumimoji="0" lang="en-US" sz="1200" b="0" i="0" u="none" strike="noStrike" kern="1200" cap="none" spc="0" normalizeH="0" baseline="0" noProof="0">
                <a:ln>
                  <a:noFill/>
                </a:ln>
                <a:solidFill>
                  <a:srgbClr val="000000"/>
                </a:solidFill>
                <a:effectLst/>
                <a:uLnTx/>
                <a:uFillTx/>
                <a:latin typeface="等线" panose="020F0502020204030204"/>
                <a:ea typeface="+mn-ea"/>
                <a:cs typeface="+mn-cs"/>
              </a:rPr>
              <a:t>has taken has this </a:t>
            </a:r>
            <a:r>
              <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rPr>
              <a:t>possession of </a:t>
            </a:r>
            <a:r>
              <a:rPr kumimoji="0" lang="en-US" sz="1200" b="0" i="0" u="none" strike="noStrike" kern="1200" cap="none" spc="0" normalizeH="0" baseline="0" noProof="0">
                <a:ln>
                  <a:noFill/>
                </a:ln>
                <a:solidFill>
                  <a:srgbClr val="000000"/>
                </a:solidFill>
                <a:effectLst/>
                <a:uLnTx/>
                <a:uFillTx/>
                <a:latin typeface="等线" panose="020F0502020204030204"/>
                <a:ea typeface="+mn-ea"/>
                <a:cs typeface="+mn-cs"/>
              </a:rPr>
              <a:t>my entire</a:t>
            </a:r>
            <a:endPar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23" name="TextBox 29">
            <a:extLst>
              <a:ext uri="{FF2B5EF4-FFF2-40B4-BE49-F238E27FC236}">
                <a16:creationId xmlns:a16="http://schemas.microsoft.com/office/drawing/2014/main" id="{85841C3D-D628-437F-9AF5-2424A8AA11F3}"/>
              </a:ext>
            </a:extLst>
          </p:cNvPr>
          <p:cNvSpPr txBox="1"/>
          <p:nvPr/>
        </p:nvSpPr>
        <p:spPr>
          <a:xfrm>
            <a:off x="1551910" y="1903512"/>
            <a:ext cx="2148023" cy="338554"/>
          </a:xfrm>
          <a:prstGeom prst="rect">
            <a:avLst/>
          </a:prstGeom>
          <a:noFill/>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等线 Light" panose="020F0302020204030204"/>
                <a:ea typeface="+mn-ea"/>
                <a:cs typeface="+mn-cs"/>
              </a:rPr>
              <a:t>Description</a:t>
            </a:r>
          </a:p>
        </p:txBody>
      </p:sp>
      <p:sp>
        <p:nvSpPr>
          <p:cNvPr id="24" name="TextBox 31">
            <a:extLst>
              <a:ext uri="{FF2B5EF4-FFF2-40B4-BE49-F238E27FC236}">
                <a16:creationId xmlns:a16="http://schemas.microsoft.com/office/drawing/2014/main" id="{CFB66A80-4811-4150-B61D-B96E75F0A2F3}"/>
              </a:ext>
            </a:extLst>
          </p:cNvPr>
          <p:cNvSpPr txBox="1"/>
          <p:nvPr/>
        </p:nvSpPr>
        <p:spPr>
          <a:xfrm>
            <a:off x="7830483" y="1830302"/>
            <a:ext cx="2261988" cy="616836"/>
          </a:xfrm>
          <a:prstGeom prst="rect">
            <a:avLst/>
          </a:prstGeom>
          <a:noFill/>
        </p:spPr>
        <p:txBody>
          <a:bodyPr wrap="square" rtlCol="0">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rPr>
              <a:t>A wonderful serenity </a:t>
            </a:r>
            <a:r>
              <a:rPr kumimoji="0" lang="en-US" sz="1200" b="0" i="0" u="none" strike="noStrike" kern="1200" cap="none" spc="0" normalizeH="0" baseline="0" noProof="0">
                <a:ln>
                  <a:noFill/>
                </a:ln>
                <a:solidFill>
                  <a:srgbClr val="000000"/>
                </a:solidFill>
                <a:effectLst/>
                <a:uLnTx/>
                <a:uFillTx/>
                <a:latin typeface="等线" panose="020F0502020204030204"/>
                <a:ea typeface="+mn-ea"/>
                <a:cs typeface="+mn-cs"/>
              </a:rPr>
              <a:t>has taken has this </a:t>
            </a:r>
            <a:r>
              <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rPr>
              <a:t>possession of </a:t>
            </a:r>
            <a:r>
              <a:rPr kumimoji="0" lang="en-US" sz="1200" b="0" i="0" u="none" strike="noStrike" kern="1200" cap="none" spc="0" normalizeH="0" baseline="0" noProof="0">
                <a:ln>
                  <a:noFill/>
                </a:ln>
                <a:solidFill>
                  <a:srgbClr val="000000"/>
                </a:solidFill>
                <a:effectLst/>
                <a:uLnTx/>
                <a:uFillTx/>
                <a:latin typeface="等线" panose="020F0502020204030204"/>
                <a:ea typeface="+mn-ea"/>
                <a:cs typeface="+mn-cs"/>
              </a:rPr>
              <a:t>my entire</a:t>
            </a:r>
            <a:endPar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25" name="TextBox 32">
            <a:extLst>
              <a:ext uri="{FF2B5EF4-FFF2-40B4-BE49-F238E27FC236}">
                <a16:creationId xmlns:a16="http://schemas.microsoft.com/office/drawing/2014/main" id="{38047E21-6311-4D7D-846A-858D42E66F1C}"/>
              </a:ext>
            </a:extLst>
          </p:cNvPr>
          <p:cNvSpPr txBox="1"/>
          <p:nvPr/>
        </p:nvSpPr>
        <p:spPr>
          <a:xfrm>
            <a:off x="7830483" y="1578070"/>
            <a:ext cx="2148023" cy="33855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等线 Light" panose="020F0302020204030204"/>
                <a:ea typeface="+mn-ea"/>
                <a:cs typeface="+mn-cs"/>
              </a:rPr>
              <a:t>Description</a:t>
            </a:r>
          </a:p>
        </p:txBody>
      </p:sp>
      <p:sp>
        <p:nvSpPr>
          <p:cNvPr id="26" name="TextBox 33">
            <a:extLst>
              <a:ext uri="{FF2B5EF4-FFF2-40B4-BE49-F238E27FC236}">
                <a16:creationId xmlns:a16="http://schemas.microsoft.com/office/drawing/2014/main" id="{EB93F482-800A-4367-BABE-38C7A7755111}"/>
              </a:ext>
            </a:extLst>
          </p:cNvPr>
          <p:cNvSpPr txBox="1"/>
          <p:nvPr/>
        </p:nvSpPr>
        <p:spPr>
          <a:xfrm>
            <a:off x="6341101" y="2528897"/>
            <a:ext cx="1029098" cy="52322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F0F0F0"/>
                </a:solidFill>
                <a:effectLst/>
                <a:uLnTx/>
                <a:uFillTx/>
                <a:latin typeface="等线 Light" panose="020F0302020204030204"/>
                <a:ea typeface="+mn-ea"/>
                <a:cs typeface="+mn-cs"/>
              </a:rPr>
              <a:t>15%</a:t>
            </a:r>
          </a:p>
        </p:txBody>
      </p:sp>
      <p:sp>
        <p:nvSpPr>
          <p:cNvPr id="27" name="TextBox 35">
            <a:extLst>
              <a:ext uri="{FF2B5EF4-FFF2-40B4-BE49-F238E27FC236}">
                <a16:creationId xmlns:a16="http://schemas.microsoft.com/office/drawing/2014/main" id="{A1CF8A5C-459A-4FF9-9F42-22EF5697FDAC}"/>
              </a:ext>
            </a:extLst>
          </p:cNvPr>
          <p:cNvSpPr txBox="1"/>
          <p:nvPr/>
        </p:nvSpPr>
        <p:spPr>
          <a:xfrm>
            <a:off x="8684921" y="4093255"/>
            <a:ext cx="2261988" cy="616836"/>
          </a:xfrm>
          <a:prstGeom prst="rect">
            <a:avLst/>
          </a:prstGeom>
          <a:noFill/>
        </p:spPr>
        <p:txBody>
          <a:bodyPr wrap="square" rtlCol="0">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rPr>
              <a:t>A wonderful serenity </a:t>
            </a:r>
            <a:r>
              <a:rPr kumimoji="0" lang="en-US" sz="1200" b="0" i="0" u="none" strike="noStrike" kern="1200" cap="none" spc="0" normalizeH="0" baseline="0" noProof="0">
                <a:ln>
                  <a:noFill/>
                </a:ln>
                <a:solidFill>
                  <a:srgbClr val="000000"/>
                </a:solidFill>
                <a:effectLst/>
                <a:uLnTx/>
                <a:uFillTx/>
                <a:latin typeface="等线" panose="020F0502020204030204"/>
                <a:ea typeface="+mn-ea"/>
                <a:cs typeface="+mn-cs"/>
              </a:rPr>
              <a:t>has taken has this </a:t>
            </a:r>
            <a:r>
              <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rPr>
              <a:t>possession of </a:t>
            </a:r>
            <a:r>
              <a:rPr kumimoji="0" lang="en-US" sz="1200" b="0" i="0" u="none" strike="noStrike" kern="1200" cap="none" spc="0" normalizeH="0" baseline="0" noProof="0">
                <a:ln>
                  <a:noFill/>
                </a:ln>
                <a:solidFill>
                  <a:srgbClr val="000000"/>
                </a:solidFill>
                <a:effectLst/>
                <a:uLnTx/>
                <a:uFillTx/>
                <a:latin typeface="等线" panose="020F0502020204030204"/>
                <a:ea typeface="+mn-ea"/>
                <a:cs typeface="+mn-cs"/>
              </a:rPr>
              <a:t>my entire</a:t>
            </a:r>
            <a:endPar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28" name="TextBox 36">
            <a:extLst>
              <a:ext uri="{FF2B5EF4-FFF2-40B4-BE49-F238E27FC236}">
                <a16:creationId xmlns:a16="http://schemas.microsoft.com/office/drawing/2014/main" id="{B9591AE5-DE44-4FAF-B8A8-503495DC5C52}"/>
              </a:ext>
            </a:extLst>
          </p:cNvPr>
          <p:cNvSpPr txBox="1"/>
          <p:nvPr/>
        </p:nvSpPr>
        <p:spPr>
          <a:xfrm>
            <a:off x="8684921" y="3841023"/>
            <a:ext cx="2148023" cy="33855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等线 Light" panose="020F0302020204030204"/>
                <a:ea typeface="+mn-ea"/>
                <a:cs typeface="+mn-cs"/>
              </a:rPr>
              <a:t>Description</a:t>
            </a:r>
          </a:p>
        </p:txBody>
      </p:sp>
      <p:sp>
        <p:nvSpPr>
          <p:cNvPr id="29" name="TextBox 37">
            <a:extLst>
              <a:ext uri="{FF2B5EF4-FFF2-40B4-BE49-F238E27FC236}">
                <a16:creationId xmlns:a16="http://schemas.microsoft.com/office/drawing/2014/main" id="{91863B21-92AB-45C2-8953-8E5475D8C318}"/>
              </a:ext>
            </a:extLst>
          </p:cNvPr>
          <p:cNvSpPr txBox="1"/>
          <p:nvPr/>
        </p:nvSpPr>
        <p:spPr>
          <a:xfrm>
            <a:off x="6947834" y="3487080"/>
            <a:ext cx="1029098" cy="52322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F0F0F0"/>
                </a:solidFill>
                <a:effectLst/>
                <a:uLnTx/>
                <a:uFillTx/>
                <a:latin typeface="等线 Light" panose="020F0302020204030204"/>
                <a:ea typeface="+mn-ea"/>
                <a:cs typeface="+mn-cs"/>
              </a:rPr>
              <a:t>20%</a:t>
            </a:r>
          </a:p>
        </p:txBody>
      </p:sp>
      <p:sp>
        <p:nvSpPr>
          <p:cNvPr id="30" name="TextBox 39">
            <a:extLst>
              <a:ext uri="{FF2B5EF4-FFF2-40B4-BE49-F238E27FC236}">
                <a16:creationId xmlns:a16="http://schemas.microsoft.com/office/drawing/2014/main" id="{8BF4687C-F8D6-45BF-93F1-8A8A1643C001}"/>
              </a:ext>
            </a:extLst>
          </p:cNvPr>
          <p:cNvSpPr txBox="1"/>
          <p:nvPr/>
        </p:nvSpPr>
        <p:spPr>
          <a:xfrm>
            <a:off x="2182008" y="5234385"/>
            <a:ext cx="2251643" cy="616836"/>
          </a:xfrm>
          <a:prstGeom prst="rect">
            <a:avLst/>
          </a:prstGeom>
          <a:noFill/>
        </p:spPr>
        <p:txBody>
          <a:bodyPr wrap="square" rtlCol="0">
            <a:spAutoFit/>
          </a:bodyPr>
          <a:lstStyle/>
          <a:p>
            <a:pPr marL="0" marR="0" lvl="0" indent="0" algn="r" defTabSz="914400" rtl="0" eaLnBrk="1" fontAlgn="auto" latinLnBrk="0" hangingPunct="1">
              <a:lnSpc>
                <a:spcPct val="15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rPr>
              <a:t>A wonderful serenity </a:t>
            </a:r>
            <a:r>
              <a:rPr kumimoji="0" lang="en-US" sz="1200" b="0" i="0" u="none" strike="noStrike" kern="1200" cap="none" spc="0" normalizeH="0" baseline="0" noProof="0">
                <a:ln>
                  <a:noFill/>
                </a:ln>
                <a:solidFill>
                  <a:srgbClr val="000000"/>
                </a:solidFill>
                <a:effectLst/>
                <a:uLnTx/>
                <a:uFillTx/>
                <a:latin typeface="等线" panose="020F0502020204030204"/>
                <a:ea typeface="+mn-ea"/>
                <a:cs typeface="+mn-cs"/>
              </a:rPr>
              <a:t>has taken has this </a:t>
            </a:r>
            <a:r>
              <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rPr>
              <a:t>possession of </a:t>
            </a:r>
            <a:r>
              <a:rPr kumimoji="0" lang="en-US" sz="1200" b="0" i="0" u="none" strike="noStrike" kern="1200" cap="none" spc="0" normalizeH="0" baseline="0" noProof="0">
                <a:ln>
                  <a:noFill/>
                </a:ln>
                <a:solidFill>
                  <a:srgbClr val="000000"/>
                </a:solidFill>
                <a:effectLst/>
                <a:uLnTx/>
                <a:uFillTx/>
                <a:latin typeface="等线" panose="020F0502020204030204"/>
                <a:ea typeface="+mn-ea"/>
                <a:cs typeface="+mn-cs"/>
              </a:rPr>
              <a:t>my entire</a:t>
            </a:r>
            <a:endPar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31" name="TextBox 40">
            <a:extLst>
              <a:ext uri="{FF2B5EF4-FFF2-40B4-BE49-F238E27FC236}">
                <a16:creationId xmlns:a16="http://schemas.microsoft.com/office/drawing/2014/main" id="{4D120F13-5A54-4271-BD00-F7C87F957A2F}"/>
              </a:ext>
            </a:extLst>
          </p:cNvPr>
          <p:cNvSpPr txBox="1"/>
          <p:nvPr/>
        </p:nvSpPr>
        <p:spPr>
          <a:xfrm>
            <a:off x="2285629" y="4972249"/>
            <a:ext cx="2148023" cy="338554"/>
          </a:xfrm>
          <a:prstGeom prst="rect">
            <a:avLst/>
          </a:prstGeom>
          <a:noFill/>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等线 Light" panose="020F0302020204030204"/>
                <a:ea typeface="+mn-ea"/>
                <a:cs typeface="+mn-cs"/>
              </a:rPr>
              <a:t>Description</a:t>
            </a:r>
          </a:p>
        </p:txBody>
      </p:sp>
      <p:sp>
        <p:nvSpPr>
          <p:cNvPr id="32" name="TextBox 48">
            <a:extLst>
              <a:ext uri="{FF2B5EF4-FFF2-40B4-BE49-F238E27FC236}">
                <a16:creationId xmlns:a16="http://schemas.microsoft.com/office/drawing/2014/main" id="{F6DB41E7-2061-48F4-ADA7-289DBA23B92B}"/>
              </a:ext>
            </a:extLst>
          </p:cNvPr>
          <p:cNvSpPr txBox="1"/>
          <p:nvPr/>
        </p:nvSpPr>
        <p:spPr>
          <a:xfrm>
            <a:off x="5622377" y="3651670"/>
            <a:ext cx="1029098" cy="52322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F0F0F0"/>
                </a:solidFill>
                <a:effectLst/>
                <a:uLnTx/>
                <a:uFillTx/>
                <a:latin typeface="等线 Light" panose="020F0302020204030204"/>
                <a:ea typeface="+mn-ea"/>
                <a:cs typeface="+mn-cs"/>
              </a:rPr>
              <a:t>10%</a:t>
            </a:r>
          </a:p>
        </p:txBody>
      </p:sp>
      <p:sp>
        <p:nvSpPr>
          <p:cNvPr id="33" name="TextBox 49">
            <a:extLst>
              <a:ext uri="{FF2B5EF4-FFF2-40B4-BE49-F238E27FC236}">
                <a16:creationId xmlns:a16="http://schemas.microsoft.com/office/drawing/2014/main" id="{A1341564-0A13-408E-8C46-F2CD646D51E0}"/>
              </a:ext>
            </a:extLst>
          </p:cNvPr>
          <p:cNvSpPr txBox="1"/>
          <p:nvPr/>
        </p:nvSpPr>
        <p:spPr>
          <a:xfrm>
            <a:off x="4923304" y="2556870"/>
            <a:ext cx="1029098" cy="52322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F0F0F0"/>
                </a:solidFill>
                <a:effectLst/>
                <a:uLnTx/>
                <a:uFillTx/>
                <a:latin typeface="等线 Light" panose="020F0302020204030204"/>
                <a:ea typeface="+mn-ea"/>
                <a:cs typeface="+mn-cs"/>
              </a:rPr>
              <a:t>25%</a:t>
            </a:r>
          </a:p>
        </p:txBody>
      </p:sp>
      <p:sp>
        <p:nvSpPr>
          <p:cNvPr id="34" name="TextBox 50">
            <a:extLst>
              <a:ext uri="{FF2B5EF4-FFF2-40B4-BE49-F238E27FC236}">
                <a16:creationId xmlns:a16="http://schemas.microsoft.com/office/drawing/2014/main" id="{90F97143-BD91-4108-B65A-72DD6EE9A101}"/>
              </a:ext>
            </a:extLst>
          </p:cNvPr>
          <p:cNvSpPr txBox="1"/>
          <p:nvPr/>
        </p:nvSpPr>
        <p:spPr>
          <a:xfrm>
            <a:off x="4213168" y="3501258"/>
            <a:ext cx="1029098" cy="52322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F0F0F0"/>
                </a:solidFill>
                <a:effectLst/>
                <a:uLnTx/>
                <a:uFillTx/>
                <a:latin typeface="等线 Light" panose="020F0302020204030204"/>
                <a:ea typeface="+mn-ea"/>
                <a:cs typeface="+mn-cs"/>
              </a:rPr>
              <a:t>30%</a:t>
            </a:r>
          </a:p>
        </p:txBody>
      </p:sp>
      <p:grpSp>
        <p:nvGrpSpPr>
          <p:cNvPr id="35" name="Group 61">
            <a:extLst>
              <a:ext uri="{FF2B5EF4-FFF2-40B4-BE49-F238E27FC236}">
                <a16:creationId xmlns:a16="http://schemas.microsoft.com/office/drawing/2014/main" id="{73378164-2DAF-49B9-89AC-71ABE501E2D7}"/>
              </a:ext>
            </a:extLst>
          </p:cNvPr>
          <p:cNvGrpSpPr/>
          <p:nvPr/>
        </p:nvGrpSpPr>
        <p:grpSpPr>
          <a:xfrm flipV="1">
            <a:off x="3461470" y="3656518"/>
            <a:ext cx="638701" cy="320859"/>
            <a:chOff x="3592205" y="2100504"/>
            <a:chExt cx="638701" cy="320859"/>
          </a:xfrm>
        </p:grpSpPr>
        <p:cxnSp>
          <p:nvCxnSpPr>
            <p:cNvPr id="36" name="Straight Connector 62">
              <a:extLst>
                <a:ext uri="{FF2B5EF4-FFF2-40B4-BE49-F238E27FC236}">
                  <a16:creationId xmlns:a16="http://schemas.microsoft.com/office/drawing/2014/main" id="{B4DB0DA3-54D6-45B9-91FE-A0B8A78E22CE}"/>
                </a:ext>
              </a:extLst>
            </p:cNvPr>
            <p:cNvCxnSpPr>
              <a:cxnSpLocks/>
            </p:cNvCxnSpPr>
            <p:nvPr/>
          </p:nvCxnSpPr>
          <p:spPr>
            <a:xfrm flipH="1" flipV="1">
              <a:off x="3910051" y="2100504"/>
              <a:ext cx="320855" cy="320859"/>
            </a:xfrm>
            <a:prstGeom prst="line">
              <a:avLst/>
            </a:prstGeom>
            <a:ln w="28575">
              <a:solidFill>
                <a:schemeClr val="accent3"/>
              </a:solidFill>
              <a:headEnd type="oval"/>
            </a:ln>
          </p:spPr>
          <p:style>
            <a:lnRef idx="1">
              <a:schemeClr val="accent1"/>
            </a:lnRef>
            <a:fillRef idx="0">
              <a:schemeClr val="accent1"/>
            </a:fillRef>
            <a:effectRef idx="0">
              <a:schemeClr val="accent1"/>
            </a:effectRef>
            <a:fontRef idx="minor">
              <a:schemeClr val="tx1"/>
            </a:fontRef>
          </p:style>
        </p:cxnSp>
        <p:cxnSp>
          <p:nvCxnSpPr>
            <p:cNvPr id="37" name="Straight Connector 63">
              <a:extLst>
                <a:ext uri="{FF2B5EF4-FFF2-40B4-BE49-F238E27FC236}">
                  <a16:creationId xmlns:a16="http://schemas.microsoft.com/office/drawing/2014/main" id="{C42D41F2-6D92-4B80-B7AE-6CEF2FB63352}"/>
                </a:ext>
              </a:extLst>
            </p:cNvPr>
            <p:cNvCxnSpPr>
              <a:cxnSpLocks/>
            </p:cNvCxnSpPr>
            <p:nvPr/>
          </p:nvCxnSpPr>
          <p:spPr>
            <a:xfrm flipH="1" flipV="1">
              <a:off x="3592205" y="2102885"/>
              <a:ext cx="328289" cy="0"/>
            </a:xfrm>
            <a:prstGeom prst="line">
              <a:avLst/>
            </a:prstGeom>
            <a:ln w="28575">
              <a:solidFill>
                <a:schemeClr val="accent3"/>
              </a:solidFill>
              <a:tailEnd type="oval"/>
            </a:ln>
          </p:spPr>
          <p:style>
            <a:lnRef idx="1">
              <a:schemeClr val="accent1"/>
            </a:lnRef>
            <a:fillRef idx="0">
              <a:schemeClr val="accent1"/>
            </a:fillRef>
            <a:effectRef idx="0">
              <a:schemeClr val="accent1"/>
            </a:effectRef>
            <a:fontRef idx="minor">
              <a:schemeClr val="tx1"/>
            </a:fontRef>
          </p:style>
        </p:cxnSp>
      </p:grpSp>
      <p:sp>
        <p:nvSpPr>
          <p:cNvPr id="38" name="TextBox 64">
            <a:extLst>
              <a:ext uri="{FF2B5EF4-FFF2-40B4-BE49-F238E27FC236}">
                <a16:creationId xmlns:a16="http://schemas.microsoft.com/office/drawing/2014/main" id="{9FC48C13-C222-46E3-B5AA-50215E88FEF7}"/>
              </a:ext>
            </a:extLst>
          </p:cNvPr>
          <p:cNvSpPr txBox="1"/>
          <p:nvPr/>
        </p:nvSpPr>
        <p:spPr>
          <a:xfrm>
            <a:off x="1104546" y="3900343"/>
            <a:ext cx="2251643" cy="616836"/>
          </a:xfrm>
          <a:prstGeom prst="rect">
            <a:avLst/>
          </a:prstGeom>
          <a:noFill/>
        </p:spPr>
        <p:txBody>
          <a:bodyPr wrap="square" rtlCol="0">
            <a:spAutoFit/>
          </a:bodyPr>
          <a:lstStyle/>
          <a:p>
            <a:pPr marL="0" marR="0" lvl="0" indent="0" algn="r" defTabSz="914400" rtl="0" eaLnBrk="1" fontAlgn="auto" latinLnBrk="0" hangingPunct="1">
              <a:lnSpc>
                <a:spcPct val="15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rPr>
              <a:t>A wonderful serenity </a:t>
            </a:r>
            <a:r>
              <a:rPr kumimoji="0" lang="en-US" sz="1200" b="0" i="0" u="none" strike="noStrike" kern="1200" cap="none" spc="0" normalizeH="0" baseline="0" noProof="0">
                <a:ln>
                  <a:noFill/>
                </a:ln>
                <a:solidFill>
                  <a:srgbClr val="000000"/>
                </a:solidFill>
                <a:effectLst/>
                <a:uLnTx/>
                <a:uFillTx/>
                <a:latin typeface="等线" panose="020F0502020204030204"/>
                <a:ea typeface="+mn-ea"/>
                <a:cs typeface="+mn-cs"/>
              </a:rPr>
              <a:t>has taken has this </a:t>
            </a:r>
            <a:r>
              <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rPr>
              <a:t>possession of </a:t>
            </a:r>
            <a:r>
              <a:rPr kumimoji="0" lang="en-US" sz="1200" b="0" i="0" u="none" strike="noStrike" kern="1200" cap="none" spc="0" normalizeH="0" baseline="0" noProof="0">
                <a:ln>
                  <a:noFill/>
                </a:ln>
                <a:solidFill>
                  <a:srgbClr val="000000"/>
                </a:solidFill>
                <a:effectLst/>
                <a:uLnTx/>
                <a:uFillTx/>
                <a:latin typeface="等线" panose="020F0502020204030204"/>
                <a:ea typeface="+mn-ea"/>
                <a:cs typeface="+mn-cs"/>
              </a:rPr>
              <a:t>my entire</a:t>
            </a:r>
            <a:endPar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39" name="TextBox 65">
            <a:extLst>
              <a:ext uri="{FF2B5EF4-FFF2-40B4-BE49-F238E27FC236}">
                <a16:creationId xmlns:a16="http://schemas.microsoft.com/office/drawing/2014/main" id="{5122F142-BEA0-409C-83DA-CF37247FB838}"/>
              </a:ext>
            </a:extLst>
          </p:cNvPr>
          <p:cNvSpPr txBox="1"/>
          <p:nvPr/>
        </p:nvSpPr>
        <p:spPr>
          <a:xfrm>
            <a:off x="1208167" y="3638207"/>
            <a:ext cx="2148023" cy="338554"/>
          </a:xfrm>
          <a:prstGeom prst="rect">
            <a:avLst/>
          </a:prstGeom>
          <a:noFill/>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等线 Light" panose="020F0302020204030204"/>
                <a:ea typeface="+mn-ea"/>
                <a:cs typeface="+mn-cs"/>
              </a:rPr>
              <a:t>Description</a:t>
            </a:r>
          </a:p>
        </p:txBody>
      </p:sp>
    </p:spTree>
    <p:extLst>
      <p:ext uri="{BB962C8B-B14F-4D97-AF65-F5344CB8AC3E}">
        <p14:creationId xmlns:p14="http://schemas.microsoft.com/office/powerpoint/2010/main" val="2427534377"/>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500"/>
                                        <p:tgtEl>
                                          <p:spTgt spid="2"/>
                                        </p:tgtEl>
                                      </p:cBhvr>
                                    </p:animEffect>
                                  </p:childTnLst>
                                </p:cTn>
                              </p:par>
                              <p:par>
                                <p:cTn id="12" presetID="22" presetClass="entr" presetSubtype="4" fill="hold" grpId="0" nodeType="withEffect">
                                  <p:stCondLst>
                                    <p:cond delay="0"/>
                                  </p:stCondLst>
                                  <p:childTnLst>
                                    <p:set>
                                      <p:cBhvr>
                                        <p:cTn id="13" dur="1" fill="hold">
                                          <p:stCondLst>
                                            <p:cond delay="0"/>
                                          </p:stCondLst>
                                        </p:cTn>
                                        <p:tgtEl>
                                          <p:spTgt spid="3"/>
                                        </p:tgtEl>
                                        <p:attrNameLst>
                                          <p:attrName>style.visibility</p:attrName>
                                        </p:attrNameLst>
                                      </p:cBhvr>
                                      <p:to>
                                        <p:strVal val="visible"/>
                                      </p:to>
                                    </p:set>
                                    <p:animEffect transition="in" filter="wipe(down)">
                                      <p:cBhvr>
                                        <p:cTn id="14" dur="500"/>
                                        <p:tgtEl>
                                          <p:spTgt spid="3"/>
                                        </p:tgtEl>
                                      </p:cBhvr>
                                    </p:animEffect>
                                  </p:childTnLst>
                                </p:cTn>
                              </p:par>
                            </p:childTnLst>
                          </p:cTn>
                        </p:par>
                        <p:par>
                          <p:cTn id="15" fill="hold">
                            <p:stCondLst>
                              <p:cond delay="1000"/>
                            </p:stCondLst>
                            <p:childTnLst>
                              <p:par>
                                <p:cTn id="16" presetID="10" presetClass="entr" presetSubtype="0" fill="hold" grpId="0" nodeType="afterEffect">
                                  <p:stCondLst>
                                    <p:cond delay="0"/>
                                  </p:stCondLst>
                                  <p:childTnLst>
                                    <p:set>
                                      <p:cBhvr>
                                        <p:cTn id="17" dur="1" fill="hold">
                                          <p:stCondLst>
                                            <p:cond delay="0"/>
                                          </p:stCondLst>
                                        </p:cTn>
                                        <p:tgtEl>
                                          <p:spTgt spid="4"/>
                                        </p:tgtEl>
                                        <p:attrNameLst>
                                          <p:attrName>style.visibility</p:attrName>
                                        </p:attrNameLst>
                                      </p:cBhvr>
                                      <p:to>
                                        <p:strVal val="visible"/>
                                      </p:to>
                                    </p:set>
                                    <p:animEffect transition="in" filter="fade">
                                      <p:cBhvr>
                                        <p:cTn id="18" dur="500"/>
                                        <p:tgtEl>
                                          <p:spTgt spid="4"/>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34"/>
                                        </p:tgtEl>
                                        <p:attrNameLst>
                                          <p:attrName>style.visibility</p:attrName>
                                        </p:attrNameLst>
                                      </p:cBhvr>
                                      <p:to>
                                        <p:strVal val="visible"/>
                                      </p:to>
                                    </p:set>
                                    <p:animEffect transition="in" filter="fade">
                                      <p:cBhvr>
                                        <p:cTn id="21" dur="500"/>
                                        <p:tgtEl>
                                          <p:spTgt spid="34"/>
                                        </p:tgtEl>
                                      </p:cBhvr>
                                    </p:animEffect>
                                  </p:childTnLst>
                                </p:cTn>
                              </p:par>
                            </p:childTnLst>
                          </p:cTn>
                        </p:par>
                        <p:par>
                          <p:cTn id="22" fill="hold">
                            <p:stCondLst>
                              <p:cond delay="1500"/>
                            </p:stCondLst>
                            <p:childTnLst>
                              <p:par>
                                <p:cTn id="23" presetID="22" presetClass="entr" presetSubtype="2" fill="hold" nodeType="afterEffect">
                                  <p:stCondLst>
                                    <p:cond delay="0"/>
                                  </p:stCondLst>
                                  <p:childTnLst>
                                    <p:set>
                                      <p:cBhvr>
                                        <p:cTn id="24" dur="1" fill="hold">
                                          <p:stCondLst>
                                            <p:cond delay="0"/>
                                          </p:stCondLst>
                                        </p:cTn>
                                        <p:tgtEl>
                                          <p:spTgt spid="35"/>
                                        </p:tgtEl>
                                        <p:attrNameLst>
                                          <p:attrName>style.visibility</p:attrName>
                                        </p:attrNameLst>
                                      </p:cBhvr>
                                      <p:to>
                                        <p:strVal val="visible"/>
                                      </p:to>
                                    </p:set>
                                    <p:animEffect transition="in" filter="wipe(right)">
                                      <p:cBhvr>
                                        <p:cTn id="25" dur="500"/>
                                        <p:tgtEl>
                                          <p:spTgt spid="35"/>
                                        </p:tgtEl>
                                      </p:cBhvr>
                                    </p:animEffect>
                                  </p:childTnLst>
                                </p:cTn>
                              </p:par>
                            </p:childTnLst>
                          </p:cTn>
                        </p:par>
                        <p:par>
                          <p:cTn id="26" fill="hold">
                            <p:stCondLst>
                              <p:cond delay="2000"/>
                            </p:stCondLst>
                            <p:childTnLst>
                              <p:par>
                                <p:cTn id="27" presetID="10" presetClass="entr" presetSubtype="0" fill="hold" grpId="0" nodeType="afterEffect">
                                  <p:stCondLst>
                                    <p:cond delay="0"/>
                                  </p:stCondLst>
                                  <p:childTnLst>
                                    <p:set>
                                      <p:cBhvr>
                                        <p:cTn id="28" dur="1" fill="hold">
                                          <p:stCondLst>
                                            <p:cond delay="0"/>
                                          </p:stCondLst>
                                        </p:cTn>
                                        <p:tgtEl>
                                          <p:spTgt spid="39"/>
                                        </p:tgtEl>
                                        <p:attrNameLst>
                                          <p:attrName>style.visibility</p:attrName>
                                        </p:attrNameLst>
                                      </p:cBhvr>
                                      <p:to>
                                        <p:strVal val="visible"/>
                                      </p:to>
                                    </p:set>
                                    <p:animEffect transition="in" filter="fade">
                                      <p:cBhvr>
                                        <p:cTn id="29" dur="500"/>
                                        <p:tgtEl>
                                          <p:spTgt spid="39"/>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38"/>
                                        </p:tgtEl>
                                        <p:attrNameLst>
                                          <p:attrName>style.visibility</p:attrName>
                                        </p:attrNameLst>
                                      </p:cBhvr>
                                      <p:to>
                                        <p:strVal val="visible"/>
                                      </p:to>
                                    </p:set>
                                    <p:animEffect transition="in" filter="fade">
                                      <p:cBhvr>
                                        <p:cTn id="32" dur="500"/>
                                        <p:tgtEl>
                                          <p:spTgt spid="38"/>
                                        </p:tgtEl>
                                      </p:cBhvr>
                                    </p:animEffect>
                                  </p:childTnLst>
                                </p:cTn>
                              </p:par>
                            </p:childTnLst>
                          </p:cTn>
                        </p:par>
                        <p:par>
                          <p:cTn id="33" fill="hold">
                            <p:stCondLst>
                              <p:cond delay="2500"/>
                            </p:stCondLst>
                            <p:childTnLst>
                              <p:par>
                                <p:cTn id="34" presetID="10" presetClass="entr" presetSubtype="0" fill="hold" grpId="0" nodeType="afterEffect">
                                  <p:stCondLst>
                                    <p:cond delay="0"/>
                                  </p:stCondLst>
                                  <p:childTnLst>
                                    <p:set>
                                      <p:cBhvr>
                                        <p:cTn id="35" dur="1" fill="hold">
                                          <p:stCondLst>
                                            <p:cond delay="0"/>
                                          </p:stCondLst>
                                        </p:cTn>
                                        <p:tgtEl>
                                          <p:spTgt spid="33"/>
                                        </p:tgtEl>
                                        <p:attrNameLst>
                                          <p:attrName>style.visibility</p:attrName>
                                        </p:attrNameLst>
                                      </p:cBhvr>
                                      <p:to>
                                        <p:strVal val="visible"/>
                                      </p:to>
                                    </p:set>
                                    <p:animEffect transition="in" filter="fade">
                                      <p:cBhvr>
                                        <p:cTn id="36" dur="500"/>
                                        <p:tgtEl>
                                          <p:spTgt spid="33"/>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7"/>
                                        </p:tgtEl>
                                        <p:attrNameLst>
                                          <p:attrName>style.visibility</p:attrName>
                                        </p:attrNameLst>
                                      </p:cBhvr>
                                      <p:to>
                                        <p:strVal val="visible"/>
                                      </p:to>
                                    </p:set>
                                    <p:animEffect transition="in" filter="fade">
                                      <p:cBhvr>
                                        <p:cTn id="39" dur="500"/>
                                        <p:tgtEl>
                                          <p:spTgt spid="7"/>
                                        </p:tgtEl>
                                      </p:cBhvr>
                                    </p:animEffect>
                                  </p:childTnLst>
                                </p:cTn>
                              </p:par>
                            </p:childTnLst>
                          </p:cTn>
                        </p:par>
                        <p:par>
                          <p:cTn id="40" fill="hold">
                            <p:stCondLst>
                              <p:cond delay="3000"/>
                            </p:stCondLst>
                            <p:childTnLst>
                              <p:par>
                                <p:cTn id="41" presetID="22" presetClass="entr" presetSubtype="2" fill="hold" nodeType="afterEffect">
                                  <p:stCondLst>
                                    <p:cond delay="0"/>
                                  </p:stCondLst>
                                  <p:childTnLst>
                                    <p:set>
                                      <p:cBhvr>
                                        <p:cTn id="42" dur="1" fill="hold">
                                          <p:stCondLst>
                                            <p:cond delay="0"/>
                                          </p:stCondLst>
                                        </p:cTn>
                                        <p:tgtEl>
                                          <p:spTgt spid="16"/>
                                        </p:tgtEl>
                                        <p:attrNameLst>
                                          <p:attrName>style.visibility</p:attrName>
                                        </p:attrNameLst>
                                      </p:cBhvr>
                                      <p:to>
                                        <p:strVal val="visible"/>
                                      </p:to>
                                    </p:set>
                                    <p:animEffect transition="in" filter="wipe(right)">
                                      <p:cBhvr>
                                        <p:cTn id="43" dur="500"/>
                                        <p:tgtEl>
                                          <p:spTgt spid="16"/>
                                        </p:tgtEl>
                                      </p:cBhvr>
                                    </p:animEffect>
                                  </p:childTnLst>
                                </p:cTn>
                              </p:par>
                            </p:childTnLst>
                          </p:cTn>
                        </p:par>
                        <p:par>
                          <p:cTn id="44" fill="hold">
                            <p:stCondLst>
                              <p:cond delay="3500"/>
                            </p:stCondLst>
                            <p:childTnLst>
                              <p:par>
                                <p:cTn id="45" presetID="10" presetClass="entr" presetSubtype="0" fill="hold" grpId="0" nodeType="afterEffect">
                                  <p:stCondLst>
                                    <p:cond delay="0"/>
                                  </p:stCondLst>
                                  <p:childTnLst>
                                    <p:set>
                                      <p:cBhvr>
                                        <p:cTn id="46" dur="1" fill="hold">
                                          <p:stCondLst>
                                            <p:cond delay="0"/>
                                          </p:stCondLst>
                                        </p:cTn>
                                        <p:tgtEl>
                                          <p:spTgt spid="23"/>
                                        </p:tgtEl>
                                        <p:attrNameLst>
                                          <p:attrName>style.visibility</p:attrName>
                                        </p:attrNameLst>
                                      </p:cBhvr>
                                      <p:to>
                                        <p:strVal val="visible"/>
                                      </p:to>
                                    </p:set>
                                    <p:animEffect transition="in" filter="fade">
                                      <p:cBhvr>
                                        <p:cTn id="47" dur="500"/>
                                        <p:tgtEl>
                                          <p:spTgt spid="23"/>
                                        </p:tgtEl>
                                      </p:cBhvr>
                                    </p:animEffect>
                                  </p:childTnLst>
                                </p:cTn>
                              </p:par>
                              <p:par>
                                <p:cTn id="48" presetID="10" presetClass="entr" presetSubtype="0" fill="hold" grpId="0" nodeType="withEffect">
                                  <p:stCondLst>
                                    <p:cond delay="0"/>
                                  </p:stCondLst>
                                  <p:childTnLst>
                                    <p:set>
                                      <p:cBhvr>
                                        <p:cTn id="49" dur="1" fill="hold">
                                          <p:stCondLst>
                                            <p:cond delay="0"/>
                                          </p:stCondLst>
                                        </p:cTn>
                                        <p:tgtEl>
                                          <p:spTgt spid="22"/>
                                        </p:tgtEl>
                                        <p:attrNameLst>
                                          <p:attrName>style.visibility</p:attrName>
                                        </p:attrNameLst>
                                      </p:cBhvr>
                                      <p:to>
                                        <p:strVal val="visible"/>
                                      </p:to>
                                    </p:set>
                                    <p:animEffect transition="in" filter="fade">
                                      <p:cBhvr>
                                        <p:cTn id="50" dur="500"/>
                                        <p:tgtEl>
                                          <p:spTgt spid="22"/>
                                        </p:tgtEl>
                                      </p:cBhvr>
                                    </p:animEffect>
                                  </p:childTnLst>
                                </p:cTn>
                              </p:par>
                            </p:childTnLst>
                          </p:cTn>
                        </p:par>
                        <p:par>
                          <p:cTn id="51" fill="hold">
                            <p:stCondLst>
                              <p:cond delay="4000"/>
                            </p:stCondLst>
                            <p:childTnLst>
                              <p:par>
                                <p:cTn id="52" presetID="10" presetClass="entr" presetSubtype="0" fill="hold" grpId="0" nodeType="afterEffect">
                                  <p:stCondLst>
                                    <p:cond delay="0"/>
                                  </p:stCondLst>
                                  <p:childTnLst>
                                    <p:set>
                                      <p:cBhvr>
                                        <p:cTn id="53" dur="1" fill="hold">
                                          <p:stCondLst>
                                            <p:cond delay="0"/>
                                          </p:stCondLst>
                                        </p:cTn>
                                        <p:tgtEl>
                                          <p:spTgt spid="6"/>
                                        </p:tgtEl>
                                        <p:attrNameLst>
                                          <p:attrName>style.visibility</p:attrName>
                                        </p:attrNameLst>
                                      </p:cBhvr>
                                      <p:to>
                                        <p:strVal val="visible"/>
                                      </p:to>
                                    </p:set>
                                    <p:animEffect transition="in" filter="fade">
                                      <p:cBhvr>
                                        <p:cTn id="54" dur="500"/>
                                        <p:tgtEl>
                                          <p:spTgt spid="6"/>
                                        </p:tgtEl>
                                      </p:cBhvr>
                                    </p:animEffect>
                                  </p:childTnLst>
                                </p:cTn>
                              </p:par>
                              <p:par>
                                <p:cTn id="55" presetID="10" presetClass="entr" presetSubtype="0" fill="hold" grpId="0" nodeType="withEffect">
                                  <p:stCondLst>
                                    <p:cond delay="0"/>
                                  </p:stCondLst>
                                  <p:childTnLst>
                                    <p:set>
                                      <p:cBhvr>
                                        <p:cTn id="56" dur="1" fill="hold">
                                          <p:stCondLst>
                                            <p:cond delay="0"/>
                                          </p:stCondLst>
                                        </p:cTn>
                                        <p:tgtEl>
                                          <p:spTgt spid="26"/>
                                        </p:tgtEl>
                                        <p:attrNameLst>
                                          <p:attrName>style.visibility</p:attrName>
                                        </p:attrNameLst>
                                      </p:cBhvr>
                                      <p:to>
                                        <p:strVal val="visible"/>
                                      </p:to>
                                    </p:set>
                                    <p:animEffect transition="in" filter="fade">
                                      <p:cBhvr>
                                        <p:cTn id="57" dur="500"/>
                                        <p:tgtEl>
                                          <p:spTgt spid="26"/>
                                        </p:tgtEl>
                                      </p:cBhvr>
                                    </p:animEffect>
                                  </p:childTnLst>
                                </p:cTn>
                              </p:par>
                            </p:childTnLst>
                          </p:cTn>
                        </p:par>
                        <p:par>
                          <p:cTn id="58" fill="hold">
                            <p:stCondLst>
                              <p:cond delay="4500"/>
                            </p:stCondLst>
                            <p:childTnLst>
                              <p:par>
                                <p:cTn id="59" presetID="22" presetClass="entr" presetSubtype="8" fill="hold" nodeType="afterEffect">
                                  <p:stCondLst>
                                    <p:cond delay="0"/>
                                  </p:stCondLst>
                                  <p:childTnLst>
                                    <p:set>
                                      <p:cBhvr>
                                        <p:cTn id="60" dur="1" fill="hold">
                                          <p:stCondLst>
                                            <p:cond delay="0"/>
                                          </p:stCondLst>
                                        </p:cTn>
                                        <p:tgtEl>
                                          <p:spTgt spid="10"/>
                                        </p:tgtEl>
                                        <p:attrNameLst>
                                          <p:attrName>style.visibility</p:attrName>
                                        </p:attrNameLst>
                                      </p:cBhvr>
                                      <p:to>
                                        <p:strVal val="visible"/>
                                      </p:to>
                                    </p:set>
                                    <p:animEffect transition="in" filter="wipe(left)">
                                      <p:cBhvr>
                                        <p:cTn id="61" dur="500"/>
                                        <p:tgtEl>
                                          <p:spTgt spid="10"/>
                                        </p:tgtEl>
                                      </p:cBhvr>
                                    </p:animEffect>
                                  </p:childTnLst>
                                </p:cTn>
                              </p:par>
                            </p:childTnLst>
                          </p:cTn>
                        </p:par>
                        <p:par>
                          <p:cTn id="62" fill="hold">
                            <p:stCondLst>
                              <p:cond delay="5000"/>
                            </p:stCondLst>
                            <p:childTnLst>
                              <p:par>
                                <p:cTn id="63" presetID="10" presetClass="entr" presetSubtype="0" fill="hold" grpId="0" nodeType="afterEffect">
                                  <p:stCondLst>
                                    <p:cond delay="0"/>
                                  </p:stCondLst>
                                  <p:childTnLst>
                                    <p:set>
                                      <p:cBhvr>
                                        <p:cTn id="64" dur="1" fill="hold">
                                          <p:stCondLst>
                                            <p:cond delay="0"/>
                                          </p:stCondLst>
                                        </p:cTn>
                                        <p:tgtEl>
                                          <p:spTgt spid="25"/>
                                        </p:tgtEl>
                                        <p:attrNameLst>
                                          <p:attrName>style.visibility</p:attrName>
                                        </p:attrNameLst>
                                      </p:cBhvr>
                                      <p:to>
                                        <p:strVal val="visible"/>
                                      </p:to>
                                    </p:set>
                                    <p:animEffect transition="in" filter="fade">
                                      <p:cBhvr>
                                        <p:cTn id="65" dur="500"/>
                                        <p:tgtEl>
                                          <p:spTgt spid="25"/>
                                        </p:tgtEl>
                                      </p:cBhvr>
                                    </p:animEffect>
                                  </p:childTnLst>
                                </p:cTn>
                              </p:par>
                              <p:par>
                                <p:cTn id="66" presetID="10" presetClass="entr" presetSubtype="0" fill="hold" grpId="0" nodeType="withEffect">
                                  <p:stCondLst>
                                    <p:cond delay="0"/>
                                  </p:stCondLst>
                                  <p:childTnLst>
                                    <p:set>
                                      <p:cBhvr>
                                        <p:cTn id="67" dur="1" fill="hold">
                                          <p:stCondLst>
                                            <p:cond delay="0"/>
                                          </p:stCondLst>
                                        </p:cTn>
                                        <p:tgtEl>
                                          <p:spTgt spid="24"/>
                                        </p:tgtEl>
                                        <p:attrNameLst>
                                          <p:attrName>style.visibility</p:attrName>
                                        </p:attrNameLst>
                                      </p:cBhvr>
                                      <p:to>
                                        <p:strVal val="visible"/>
                                      </p:to>
                                    </p:set>
                                    <p:animEffect transition="in" filter="fade">
                                      <p:cBhvr>
                                        <p:cTn id="68" dur="500"/>
                                        <p:tgtEl>
                                          <p:spTgt spid="24"/>
                                        </p:tgtEl>
                                      </p:cBhvr>
                                    </p:animEffect>
                                  </p:childTnLst>
                                </p:cTn>
                              </p:par>
                            </p:childTnLst>
                          </p:cTn>
                        </p:par>
                        <p:par>
                          <p:cTn id="69" fill="hold">
                            <p:stCondLst>
                              <p:cond delay="5500"/>
                            </p:stCondLst>
                            <p:childTnLst>
                              <p:par>
                                <p:cTn id="70" presetID="10" presetClass="entr" presetSubtype="0" fill="hold" grpId="0" nodeType="afterEffect">
                                  <p:stCondLst>
                                    <p:cond delay="0"/>
                                  </p:stCondLst>
                                  <p:childTnLst>
                                    <p:set>
                                      <p:cBhvr>
                                        <p:cTn id="71" dur="1" fill="hold">
                                          <p:stCondLst>
                                            <p:cond delay="0"/>
                                          </p:stCondLst>
                                        </p:cTn>
                                        <p:tgtEl>
                                          <p:spTgt spid="5"/>
                                        </p:tgtEl>
                                        <p:attrNameLst>
                                          <p:attrName>style.visibility</p:attrName>
                                        </p:attrNameLst>
                                      </p:cBhvr>
                                      <p:to>
                                        <p:strVal val="visible"/>
                                      </p:to>
                                    </p:set>
                                    <p:animEffect transition="in" filter="fade">
                                      <p:cBhvr>
                                        <p:cTn id="72" dur="500"/>
                                        <p:tgtEl>
                                          <p:spTgt spid="5"/>
                                        </p:tgtEl>
                                      </p:cBhvr>
                                    </p:animEffect>
                                  </p:childTnLst>
                                </p:cTn>
                              </p:par>
                              <p:par>
                                <p:cTn id="73" presetID="10" presetClass="entr" presetSubtype="0" fill="hold" grpId="0" nodeType="withEffect">
                                  <p:stCondLst>
                                    <p:cond delay="0"/>
                                  </p:stCondLst>
                                  <p:childTnLst>
                                    <p:set>
                                      <p:cBhvr>
                                        <p:cTn id="74" dur="1" fill="hold">
                                          <p:stCondLst>
                                            <p:cond delay="0"/>
                                          </p:stCondLst>
                                        </p:cTn>
                                        <p:tgtEl>
                                          <p:spTgt spid="29"/>
                                        </p:tgtEl>
                                        <p:attrNameLst>
                                          <p:attrName>style.visibility</p:attrName>
                                        </p:attrNameLst>
                                      </p:cBhvr>
                                      <p:to>
                                        <p:strVal val="visible"/>
                                      </p:to>
                                    </p:set>
                                    <p:animEffect transition="in" filter="fade">
                                      <p:cBhvr>
                                        <p:cTn id="75" dur="500"/>
                                        <p:tgtEl>
                                          <p:spTgt spid="29"/>
                                        </p:tgtEl>
                                      </p:cBhvr>
                                    </p:animEffect>
                                  </p:childTnLst>
                                </p:cTn>
                              </p:par>
                            </p:childTnLst>
                          </p:cTn>
                        </p:par>
                        <p:par>
                          <p:cTn id="76" fill="hold">
                            <p:stCondLst>
                              <p:cond delay="6000"/>
                            </p:stCondLst>
                            <p:childTnLst>
                              <p:par>
                                <p:cTn id="77" presetID="22" presetClass="entr" presetSubtype="8" fill="hold" nodeType="afterEffect">
                                  <p:stCondLst>
                                    <p:cond delay="0"/>
                                  </p:stCondLst>
                                  <p:childTnLst>
                                    <p:set>
                                      <p:cBhvr>
                                        <p:cTn id="78" dur="1" fill="hold">
                                          <p:stCondLst>
                                            <p:cond delay="0"/>
                                          </p:stCondLst>
                                        </p:cTn>
                                        <p:tgtEl>
                                          <p:spTgt spid="19"/>
                                        </p:tgtEl>
                                        <p:attrNameLst>
                                          <p:attrName>style.visibility</p:attrName>
                                        </p:attrNameLst>
                                      </p:cBhvr>
                                      <p:to>
                                        <p:strVal val="visible"/>
                                      </p:to>
                                    </p:set>
                                    <p:animEffect transition="in" filter="wipe(left)">
                                      <p:cBhvr>
                                        <p:cTn id="79" dur="500"/>
                                        <p:tgtEl>
                                          <p:spTgt spid="19"/>
                                        </p:tgtEl>
                                      </p:cBhvr>
                                    </p:animEffect>
                                  </p:childTnLst>
                                </p:cTn>
                              </p:par>
                            </p:childTnLst>
                          </p:cTn>
                        </p:par>
                        <p:par>
                          <p:cTn id="80" fill="hold">
                            <p:stCondLst>
                              <p:cond delay="6500"/>
                            </p:stCondLst>
                            <p:childTnLst>
                              <p:par>
                                <p:cTn id="81" presetID="10" presetClass="entr" presetSubtype="0" fill="hold" grpId="0" nodeType="afterEffect">
                                  <p:stCondLst>
                                    <p:cond delay="0"/>
                                  </p:stCondLst>
                                  <p:childTnLst>
                                    <p:set>
                                      <p:cBhvr>
                                        <p:cTn id="82" dur="1" fill="hold">
                                          <p:stCondLst>
                                            <p:cond delay="0"/>
                                          </p:stCondLst>
                                        </p:cTn>
                                        <p:tgtEl>
                                          <p:spTgt spid="28"/>
                                        </p:tgtEl>
                                        <p:attrNameLst>
                                          <p:attrName>style.visibility</p:attrName>
                                        </p:attrNameLst>
                                      </p:cBhvr>
                                      <p:to>
                                        <p:strVal val="visible"/>
                                      </p:to>
                                    </p:set>
                                    <p:animEffect transition="in" filter="fade">
                                      <p:cBhvr>
                                        <p:cTn id="83" dur="500"/>
                                        <p:tgtEl>
                                          <p:spTgt spid="28"/>
                                        </p:tgtEl>
                                      </p:cBhvr>
                                    </p:animEffect>
                                  </p:childTnLst>
                                </p:cTn>
                              </p:par>
                              <p:par>
                                <p:cTn id="84" presetID="10" presetClass="entr" presetSubtype="0" fill="hold" grpId="0" nodeType="withEffect">
                                  <p:stCondLst>
                                    <p:cond delay="0"/>
                                  </p:stCondLst>
                                  <p:childTnLst>
                                    <p:set>
                                      <p:cBhvr>
                                        <p:cTn id="85" dur="1" fill="hold">
                                          <p:stCondLst>
                                            <p:cond delay="0"/>
                                          </p:stCondLst>
                                        </p:cTn>
                                        <p:tgtEl>
                                          <p:spTgt spid="27"/>
                                        </p:tgtEl>
                                        <p:attrNameLst>
                                          <p:attrName>style.visibility</p:attrName>
                                        </p:attrNameLst>
                                      </p:cBhvr>
                                      <p:to>
                                        <p:strVal val="visible"/>
                                      </p:to>
                                    </p:set>
                                    <p:animEffect transition="in" filter="fade">
                                      <p:cBhvr>
                                        <p:cTn id="86" dur="500"/>
                                        <p:tgtEl>
                                          <p:spTgt spid="27"/>
                                        </p:tgtEl>
                                      </p:cBhvr>
                                    </p:animEffect>
                                  </p:childTnLst>
                                </p:cTn>
                              </p:par>
                            </p:childTnLst>
                          </p:cTn>
                        </p:par>
                        <p:par>
                          <p:cTn id="87" fill="hold">
                            <p:stCondLst>
                              <p:cond delay="7000"/>
                            </p:stCondLst>
                            <p:childTnLst>
                              <p:par>
                                <p:cTn id="88" presetID="10" presetClass="entr" presetSubtype="0" fill="hold" grpId="0" nodeType="afterEffect">
                                  <p:stCondLst>
                                    <p:cond delay="0"/>
                                  </p:stCondLst>
                                  <p:childTnLst>
                                    <p:set>
                                      <p:cBhvr>
                                        <p:cTn id="89" dur="1" fill="hold">
                                          <p:stCondLst>
                                            <p:cond delay="0"/>
                                          </p:stCondLst>
                                        </p:cTn>
                                        <p:tgtEl>
                                          <p:spTgt spid="8"/>
                                        </p:tgtEl>
                                        <p:attrNameLst>
                                          <p:attrName>style.visibility</p:attrName>
                                        </p:attrNameLst>
                                      </p:cBhvr>
                                      <p:to>
                                        <p:strVal val="visible"/>
                                      </p:to>
                                    </p:set>
                                    <p:animEffect transition="in" filter="fade">
                                      <p:cBhvr>
                                        <p:cTn id="90" dur="500"/>
                                        <p:tgtEl>
                                          <p:spTgt spid="8"/>
                                        </p:tgtEl>
                                      </p:cBhvr>
                                    </p:animEffect>
                                  </p:childTnLst>
                                </p:cTn>
                              </p:par>
                              <p:par>
                                <p:cTn id="91" presetID="10" presetClass="entr" presetSubtype="0" fill="hold" grpId="0" nodeType="withEffect">
                                  <p:stCondLst>
                                    <p:cond delay="0"/>
                                  </p:stCondLst>
                                  <p:childTnLst>
                                    <p:set>
                                      <p:cBhvr>
                                        <p:cTn id="92" dur="1" fill="hold">
                                          <p:stCondLst>
                                            <p:cond delay="0"/>
                                          </p:stCondLst>
                                        </p:cTn>
                                        <p:tgtEl>
                                          <p:spTgt spid="32"/>
                                        </p:tgtEl>
                                        <p:attrNameLst>
                                          <p:attrName>style.visibility</p:attrName>
                                        </p:attrNameLst>
                                      </p:cBhvr>
                                      <p:to>
                                        <p:strVal val="visible"/>
                                      </p:to>
                                    </p:set>
                                    <p:animEffect transition="in" filter="fade">
                                      <p:cBhvr>
                                        <p:cTn id="93" dur="500"/>
                                        <p:tgtEl>
                                          <p:spTgt spid="32"/>
                                        </p:tgtEl>
                                      </p:cBhvr>
                                    </p:animEffect>
                                  </p:childTnLst>
                                </p:cTn>
                              </p:par>
                            </p:childTnLst>
                          </p:cTn>
                        </p:par>
                        <p:par>
                          <p:cTn id="94" fill="hold">
                            <p:stCondLst>
                              <p:cond delay="7500"/>
                            </p:stCondLst>
                            <p:childTnLst>
                              <p:par>
                                <p:cTn id="95" presetID="22" presetClass="entr" presetSubtype="2" fill="hold" nodeType="afterEffect">
                                  <p:stCondLst>
                                    <p:cond delay="0"/>
                                  </p:stCondLst>
                                  <p:childTnLst>
                                    <p:set>
                                      <p:cBhvr>
                                        <p:cTn id="96" dur="1" fill="hold">
                                          <p:stCondLst>
                                            <p:cond delay="0"/>
                                          </p:stCondLst>
                                        </p:cTn>
                                        <p:tgtEl>
                                          <p:spTgt spid="13"/>
                                        </p:tgtEl>
                                        <p:attrNameLst>
                                          <p:attrName>style.visibility</p:attrName>
                                        </p:attrNameLst>
                                      </p:cBhvr>
                                      <p:to>
                                        <p:strVal val="visible"/>
                                      </p:to>
                                    </p:set>
                                    <p:animEffect transition="in" filter="wipe(right)">
                                      <p:cBhvr>
                                        <p:cTn id="97" dur="500"/>
                                        <p:tgtEl>
                                          <p:spTgt spid="13"/>
                                        </p:tgtEl>
                                      </p:cBhvr>
                                    </p:animEffect>
                                  </p:childTnLst>
                                </p:cTn>
                              </p:par>
                            </p:childTnLst>
                          </p:cTn>
                        </p:par>
                        <p:par>
                          <p:cTn id="98" fill="hold">
                            <p:stCondLst>
                              <p:cond delay="8000"/>
                            </p:stCondLst>
                            <p:childTnLst>
                              <p:par>
                                <p:cTn id="99" presetID="10" presetClass="entr" presetSubtype="0" fill="hold" grpId="0" nodeType="afterEffect">
                                  <p:stCondLst>
                                    <p:cond delay="0"/>
                                  </p:stCondLst>
                                  <p:childTnLst>
                                    <p:set>
                                      <p:cBhvr>
                                        <p:cTn id="100" dur="1" fill="hold">
                                          <p:stCondLst>
                                            <p:cond delay="0"/>
                                          </p:stCondLst>
                                        </p:cTn>
                                        <p:tgtEl>
                                          <p:spTgt spid="31"/>
                                        </p:tgtEl>
                                        <p:attrNameLst>
                                          <p:attrName>style.visibility</p:attrName>
                                        </p:attrNameLst>
                                      </p:cBhvr>
                                      <p:to>
                                        <p:strVal val="visible"/>
                                      </p:to>
                                    </p:set>
                                    <p:animEffect transition="in" filter="fade">
                                      <p:cBhvr>
                                        <p:cTn id="101" dur="500"/>
                                        <p:tgtEl>
                                          <p:spTgt spid="31"/>
                                        </p:tgtEl>
                                      </p:cBhvr>
                                    </p:animEffect>
                                  </p:childTnLst>
                                </p:cTn>
                              </p:par>
                              <p:par>
                                <p:cTn id="102" presetID="10" presetClass="entr" presetSubtype="0" fill="hold" grpId="0" nodeType="withEffect">
                                  <p:stCondLst>
                                    <p:cond delay="0"/>
                                  </p:stCondLst>
                                  <p:childTnLst>
                                    <p:set>
                                      <p:cBhvr>
                                        <p:cTn id="103" dur="1" fill="hold">
                                          <p:stCondLst>
                                            <p:cond delay="0"/>
                                          </p:stCondLst>
                                        </p:cTn>
                                        <p:tgtEl>
                                          <p:spTgt spid="30"/>
                                        </p:tgtEl>
                                        <p:attrNameLst>
                                          <p:attrName>style.visibility</p:attrName>
                                        </p:attrNameLst>
                                      </p:cBhvr>
                                      <p:to>
                                        <p:strVal val="visible"/>
                                      </p:to>
                                    </p:set>
                                    <p:animEffect transition="in" filter="fade">
                                      <p:cBhvr>
                                        <p:cTn id="104" dur="5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3" grpId="0" animBg="1"/>
      <p:bldP spid="4" grpId="0" animBg="1"/>
      <p:bldP spid="5" grpId="0" animBg="1"/>
      <p:bldP spid="6" grpId="0" animBg="1"/>
      <p:bldP spid="7" grpId="0" animBg="1"/>
      <p:bldP spid="8" grpId="0" animBg="1"/>
      <p:bldP spid="9" grpId="0"/>
      <p:bldP spid="22" grpId="0"/>
      <p:bldP spid="23" grpId="0"/>
      <p:bldP spid="24" grpId="0"/>
      <p:bldP spid="25" grpId="0"/>
      <p:bldP spid="26" grpId="0"/>
      <p:bldP spid="27" grpId="0"/>
      <p:bldP spid="28" grpId="0"/>
      <p:bldP spid="29" grpId="0"/>
      <p:bldP spid="30" grpId="0"/>
      <p:bldP spid="31" grpId="0"/>
      <p:bldP spid="32" grpId="0"/>
      <p:bldP spid="33" grpId="0"/>
      <p:bldP spid="34" grpId="0"/>
      <p:bldP spid="38" grpId="0"/>
      <p:bldP spid="39" grpId="0"/>
    </p:bld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图片 2" descr="许多高楼大厦&#10;&#10;中度可信度描述已自动生成">
            <a:extLst>
              <a:ext uri="{FF2B5EF4-FFF2-40B4-BE49-F238E27FC236}">
                <a16:creationId xmlns:a16="http://schemas.microsoft.com/office/drawing/2014/main" id="{02BAFC66-3FCE-4B03-A715-DAE5F40F9DC5}"/>
              </a:ext>
            </a:extLst>
          </p:cNvPr>
          <p:cNvPicPr>
            <a:picLocks noChangeAspect="1"/>
          </p:cNvPicPr>
          <p:nvPr/>
        </p:nvPicPr>
        <p:blipFill rotWithShape="1">
          <a:blip r:embed="rId3">
            <a:extLst>
              <a:ext uri="{28A0092B-C50C-407E-A947-70E740481C1C}">
                <a14:useLocalDpi xmlns:a14="http://schemas.microsoft.com/office/drawing/2010/main" val="0"/>
              </a:ext>
            </a:extLst>
          </a:blip>
          <a:srcRect t="7663" b="7663"/>
          <a:stretch/>
        </p:blipFill>
        <p:spPr>
          <a:xfrm>
            <a:off x="0" y="0"/>
            <a:ext cx="12192003" cy="6858000"/>
          </a:xfrm>
          <a:prstGeom prst="rect">
            <a:avLst/>
          </a:prstGeom>
        </p:spPr>
      </p:pic>
      <p:sp>
        <p:nvSpPr>
          <p:cNvPr id="5" name="Picture 2-mask">
            <a:extLst>
              <a:ext uri="{FF2B5EF4-FFF2-40B4-BE49-F238E27FC236}">
                <a16:creationId xmlns:a16="http://schemas.microsoft.com/office/drawing/2014/main" id="{C8C1E264-EE88-4CF2-A1CB-B33C6499D598}"/>
              </a:ext>
            </a:extLst>
          </p:cNvPr>
          <p:cNvSpPr/>
          <p:nvPr/>
        </p:nvSpPr>
        <p:spPr>
          <a:xfrm>
            <a:off x="0" y="0"/>
            <a:ext cx="12192003" cy="6858000"/>
          </a:xfrm>
          <a:prstGeom prst="rect">
            <a:avLst/>
          </a:prstGeom>
          <a:solidFill>
            <a:srgbClr val="020E38">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grpSp>
        <p:nvGrpSpPr>
          <p:cNvPr id="6" name="组合 5">
            <a:extLst>
              <a:ext uri="{FF2B5EF4-FFF2-40B4-BE49-F238E27FC236}">
                <a16:creationId xmlns:a16="http://schemas.microsoft.com/office/drawing/2014/main" id="{EC933760-FFD3-4EE6-811A-FDD4F62ABB21}"/>
              </a:ext>
            </a:extLst>
          </p:cNvPr>
          <p:cNvGrpSpPr/>
          <p:nvPr/>
        </p:nvGrpSpPr>
        <p:grpSpPr>
          <a:xfrm>
            <a:off x="1808585" y="1989087"/>
            <a:ext cx="8594005" cy="2327159"/>
            <a:chOff x="643374" y="1914671"/>
            <a:chExt cx="10929636" cy="2959627"/>
          </a:xfrm>
        </p:grpSpPr>
        <p:sp>
          <p:nvSpPr>
            <p:cNvPr id="7" name="文本框 6">
              <a:extLst>
                <a:ext uri="{FF2B5EF4-FFF2-40B4-BE49-F238E27FC236}">
                  <a16:creationId xmlns:a16="http://schemas.microsoft.com/office/drawing/2014/main" id="{736B90B6-B24B-48D1-94FB-FFDD9F2EBD48}"/>
                </a:ext>
              </a:extLst>
            </p:cNvPr>
            <p:cNvSpPr txBox="1"/>
            <p:nvPr/>
          </p:nvSpPr>
          <p:spPr>
            <a:xfrm>
              <a:off x="781232" y="2635490"/>
              <a:ext cx="10621246" cy="1416169"/>
            </a:xfrm>
            <a:prstGeom prst="rect">
              <a:avLst/>
            </a:prstGeom>
            <a:noFill/>
            <a:effectLst/>
          </p:spPr>
          <p:txBody>
            <a:bodyPr wrap="none" lIns="0" tIns="0" rIns="0" bIns="0" rtlCol="0" anchor="t">
              <a:spAutoFit/>
            </a:bodyPr>
            <a:lstStyle/>
            <a:p>
              <a:pPr algn="ctr"/>
              <a:r>
                <a:rPr lang="zh-CN" altLang="en-US" sz="7236" dirty="0">
                  <a:solidFill>
                    <a:schemeClr val="bg1"/>
                  </a:solidFill>
                  <a:latin typeface="+mj-ea"/>
                  <a:ea typeface="+mj-ea"/>
                </a:rPr>
                <a:t>输入你的封面大标题</a:t>
              </a:r>
            </a:p>
          </p:txBody>
        </p:sp>
        <p:sp>
          <p:nvSpPr>
            <p:cNvPr id="8" name="文本框 7">
              <a:extLst>
                <a:ext uri="{FF2B5EF4-FFF2-40B4-BE49-F238E27FC236}">
                  <a16:creationId xmlns:a16="http://schemas.microsoft.com/office/drawing/2014/main" id="{0875ECDC-7475-48A7-9CA5-D6A002A4DF77}"/>
                </a:ext>
              </a:extLst>
            </p:cNvPr>
            <p:cNvSpPr txBox="1"/>
            <p:nvPr/>
          </p:nvSpPr>
          <p:spPr>
            <a:xfrm>
              <a:off x="3534887" y="1914671"/>
              <a:ext cx="5113932" cy="472057"/>
            </a:xfrm>
            <a:prstGeom prst="rect">
              <a:avLst/>
            </a:prstGeom>
            <a:noFill/>
            <a:effectLst/>
          </p:spPr>
          <p:txBody>
            <a:bodyPr wrap="none" lIns="0" tIns="0" rIns="0" bIns="0" rtlCol="0" anchor="t">
              <a:spAutoFit/>
            </a:bodyPr>
            <a:lstStyle/>
            <a:p>
              <a:pPr algn="ctr"/>
              <a:r>
                <a:rPr lang="zh-CN" altLang="en-US" sz="2412" dirty="0">
                  <a:solidFill>
                    <a:schemeClr val="bg1"/>
                  </a:solidFill>
                  <a:latin typeface="+mn-ea"/>
                </a:rPr>
                <a:t>输入你的副标题或大标题英文</a:t>
              </a:r>
            </a:p>
          </p:txBody>
        </p:sp>
        <p:cxnSp>
          <p:nvCxnSpPr>
            <p:cNvPr id="9" name="直接连接符 8">
              <a:extLst>
                <a:ext uri="{FF2B5EF4-FFF2-40B4-BE49-F238E27FC236}">
                  <a16:creationId xmlns:a16="http://schemas.microsoft.com/office/drawing/2014/main" id="{9C5AA37A-A872-4595-B47C-2C9A2A0C9715}"/>
                </a:ext>
              </a:extLst>
            </p:cNvPr>
            <p:cNvCxnSpPr/>
            <p:nvPr/>
          </p:nvCxnSpPr>
          <p:spPr>
            <a:xfrm flipH="1">
              <a:off x="643374" y="2169877"/>
              <a:ext cx="2548614" cy="0"/>
            </a:xfrm>
            <a:prstGeom prst="line">
              <a:avLst/>
            </a:prstGeom>
            <a:ln w="25527">
              <a:solidFill>
                <a:schemeClr val="bg1"/>
              </a:solidFill>
            </a:ln>
            <a:effectLst/>
          </p:spPr>
          <p:style>
            <a:lnRef idx="1">
              <a:schemeClr val="accent1"/>
            </a:lnRef>
            <a:fillRef idx="0">
              <a:schemeClr val="accent1"/>
            </a:fillRef>
            <a:effectRef idx="0">
              <a:schemeClr val="accent1"/>
            </a:effectRef>
            <a:fontRef idx="minor">
              <a:schemeClr val="tx1"/>
            </a:fontRef>
          </p:style>
        </p:cxnSp>
        <p:cxnSp>
          <p:nvCxnSpPr>
            <p:cNvPr id="10" name="直接连接符 9">
              <a:extLst>
                <a:ext uri="{FF2B5EF4-FFF2-40B4-BE49-F238E27FC236}">
                  <a16:creationId xmlns:a16="http://schemas.microsoft.com/office/drawing/2014/main" id="{FE573F20-CB61-4879-9B7A-3E51CA83051B}"/>
                </a:ext>
              </a:extLst>
            </p:cNvPr>
            <p:cNvCxnSpPr/>
            <p:nvPr/>
          </p:nvCxnSpPr>
          <p:spPr>
            <a:xfrm flipH="1">
              <a:off x="9024394" y="2169877"/>
              <a:ext cx="2548614" cy="0"/>
            </a:xfrm>
            <a:prstGeom prst="line">
              <a:avLst/>
            </a:prstGeom>
            <a:ln w="25527">
              <a:solidFill>
                <a:schemeClr val="bg1"/>
              </a:solidFill>
            </a:ln>
            <a:effectLst/>
          </p:spPr>
          <p:style>
            <a:lnRef idx="1">
              <a:schemeClr val="accent1"/>
            </a:lnRef>
            <a:fillRef idx="0">
              <a:schemeClr val="accent1"/>
            </a:fillRef>
            <a:effectRef idx="0">
              <a:schemeClr val="accent1"/>
            </a:effectRef>
            <a:fontRef idx="minor">
              <a:schemeClr val="tx1"/>
            </a:fontRef>
          </p:style>
        </p:cxnSp>
        <p:grpSp>
          <p:nvGrpSpPr>
            <p:cNvPr id="11" name="组合 10">
              <a:extLst>
                <a:ext uri="{FF2B5EF4-FFF2-40B4-BE49-F238E27FC236}">
                  <a16:creationId xmlns:a16="http://schemas.microsoft.com/office/drawing/2014/main" id="{B1D3B0F7-6847-4F6F-AA2C-8E2A77B4A892}"/>
                </a:ext>
              </a:extLst>
            </p:cNvPr>
            <p:cNvGrpSpPr/>
            <p:nvPr/>
          </p:nvGrpSpPr>
          <p:grpSpPr>
            <a:xfrm>
              <a:off x="3727698" y="4585819"/>
              <a:ext cx="1782637" cy="288478"/>
              <a:chOff x="3491447" y="4943197"/>
              <a:chExt cx="1782637" cy="288478"/>
            </a:xfrm>
          </p:grpSpPr>
          <p:sp>
            <p:nvSpPr>
              <p:cNvPr id="16" name="矩形 15">
                <a:extLst>
                  <a:ext uri="{FF2B5EF4-FFF2-40B4-BE49-F238E27FC236}">
                    <a16:creationId xmlns:a16="http://schemas.microsoft.com/office/drawing/2014/main" id="{603BA424-3F47-4FA9-851A-C4926A4115F3}"/>
                  </a:ext>
                </a:extLst>
              </p:cNvPr>
              <p:cNvSpPr/>
              <p:nvPr/>
            </p:nvSpPr>
            <p:spPr>
              <a:xfrm>
                <a:off x="3491447" y="4985636"/>
                <a:ext cx="220552" cy="220552"/>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2530" tIns="61265" rIns="122530" bIns="61265" rtlCol="0" anchor="ctr"/>
              <a:lstStyle/>
              <a:p>
                <a:pPr algn="ctr"/>
                <a:endParaRPr lang="zh-CN" altLang="en-US" sz="5896" dirty="0">
                  <a:solidFill>
                    <a:schemeClr val="bg1"/>
                  </a:solidFill>
                </a:endParaRPr>
              </a:p>
            </p:txBody>
          </p:sp>
          <p:sp>
            <p:nvSpPr>
              <p:cNvPr id="17" name="文本框 16">
                <a:extLst>
                  <a:ext uri="{FF2B5EF4-FFF2-40B4-BE49-F238E27FC236}">
                    <a16:creationId xmlns:a16="http://schemas.microsoft.com/office/drawing/2014/main" id="{24198218-D22D-40C6-8510-FC5658D879D4}"/>
                  </a:ext>
                </a:extLst>
              </p:cNvPr>
              <p:cNvSpPr txBox="1"/>
              <p:nvPr/>
            </p:nvSpPr>
            <p:spPr>
              <a:xfrm>
                <a:off x="3910914" y="4943197"/>
                <a:ext cx="1363170" cy="288478"/>
              </a:xfrm>
              <a:prstGeom prst="rect">
                <a:avLst/>
              </a:prstGeom>
              <a:noFill/>
              <a:effectLst/>
            </p:spPr>
            <p:txBody>
              <a:bodyPr wrap="none" lIns="0" tIns="0" rIns="0" bIns="0" rtlCol="0" anchor="t">
                <a:spAutoFit/>
              </a:bodyPr>
              <a:lstStyle/>
              <a:p>
                <a:r>
                  <a:rPr lang="zh-CN" altLang="en-US" sz="1474" dirty="0">
                    <a:solidFill>
                      <a:schemeClr val="bg1"/>
                    </a:solidFill>
                    <a:latin typeface="+mn-ea"/>
                  </a:rPr>
                  <a:t>汇报人：</a:t>
                </a:r>
                <a:r>
                  <a:rPr lang="en-US" altLang="zh-CN" sz="1474" dirty="0">
                    <a:solidFill>
                      <a:schemeClr val="bg1"/>
                    </a:solidFill>
                    <a:latin typeface="+mn-ea"/>
                  </a:rPr>
                  <a:t>xxx</a:t>
                </a:r>
                <a:endParaRPr lang="zh-CN" altLang="en-US" sz="1474" dirty="0">
                  <a:solidFill>
                    <a:schemeClr val="bg1"/>
                  </a:solidFill>
                  <a:latin typeface="+mn-ea"/>
                </a:endParaRPr>
              </a:p>
            </p:txBody>
          </p:sp>
        </p:grpSp>
        <p:grpSp>
          <p:nvGrpSpPr>
            <p:cNvPr id="12" name="组合 11">
              <a:extLst>
                <a:ext uri="{FF2B5EF4-FFF2-40B4-BE49-F238E27FC236}">
                  <a16:creationId xmlns:a16="http://schemas.microsoft.com/office/drawing/2014/main" id="{7FF66933-3FC1-4138-B99D-98FAFB27AE2C}"/>
                </a:ext>
              </a:extLst>
            </p:cNvPr>
            <p:cNvGrpSpPr/>
            <p:nvPr/>
          </p:nvGrpSpPr>
          <p:grpSpPr>
            <a:xfrm>
              <a:off x="6754176" y="4585820"/>
              <a:ext cx="1542240" cy="288478"/>
              <a:chOff x="4259357" y="4943198"/>
              <a:chExt cx="1542240" cy="288478"/>
            </a:xfrm>
          </p:grpSpPr>
          <p:sp>
            <p:nvSpPr>
              <p:cNvPr id="14" name="矩形 13">
                <a:extLst>
                  <a:ext uri="{FF2B5EF4-FFF2-40B4-BE49-F238E27FC236}">
                    <a16:creationId xmlns:a16="http://schemas.microsoft.com/office/drawing/2014/main" id="{1302A430-C573-4642-B53D-ACB7875FD17C}"/>
                  </a:ext>
                </a:extLst>
              </p:cNvPr>
              <p:cNvSpPr/>
              <p:nvPr/>
            </p:nvSpPr>
            <p:spPr>
              <a:xfrm>
                <a:off x="4259357" y="4985637"/>
                <a:ext cx="220552" cy="220552"/>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2530" tIns="61265" rIns="122530" bIns="61265" rtlCol="0" anchor="ctr"/>
              <a:lstStyle/>
              <a:p>
                <a:pPr algn="ctr"/>
                <a:endParaRPr lang="zh-CN" altLang="en-US" sz="5896" dirty="0">
                  <a:solidFill>
                    <a:schemeClr val="bg1"/>
                  </a:solidFill>
                </a:endParaRPr>
              </a:p>
            </p:txBody>
          </p:sp>
          <p:sp>
            <p:nvSpPr>
              <p:cNvPr id="15" name="文本框 14">
                <a:extLst>
                  <a:ext uri="{FF2B5EF4-FFF2-40B4-BE49-F238E27FC236}">
                    <a16:creationId xmlns:a16="http://schemas.microsoft.com/office/drawing/2014/main" id="{D6D24CD6-3C6A-4026-B7CD-52F6C9FADCC2}"/>
                  </a:ext>
                </a:extLst>
              </p:cNvPr>
              <p:cNvSpPr txBox="1"/>
              <p:nvPr/>
            </p:nvSpPr>
            <p:spPr>
              <a:xfrm>
                <a:off x="4678825" y="4943198"/>
                <a:ext cx="1122772" cy="288478"/>
              </a:xfrm>
              <a:prstGeom prst="rect">
                <a:avLst/>
              </a:prstGeom>
              <a:noFill/>
              <a:effectLst/>
            </p:spPr>
            <p:txBody>
              <a:bodyPr wrap="none" lIns="0" tIns="0" rIns="0" bIns="0" rtlCol="0" anchor="t">
                <a:spAutoFit/>
              </a:bodyPr>
              <a:lstStyle/>
              <a:p>
                <a:r>
                  <a:rPr lang="zh-CN" altLang="en-US" sz="1474" dirty="0">
                    <a:solidFill>
                      <a:schemeClr val="bg1"/>
                    </a:solidFill>
                    <a:latin typeface="+mn-ea"/>
                  </a:rPr>
                  <a:t>单位：</a:t>
                </a:r>
                <a:r>
                  <a:rPr lang="en-US" altLang="zh-CN" sz="1474" dirty="0">
                    <a:solidFill>
                      <a:schemeClr val="bg1"/>
                    </a:solidFill>
                    <a:latin typeface="+mn-ea"/>
                  </a:rPr>
                  <a:t>xxx</a:t>
                </a:r>
                <a:endParaRPr lang="zh-CN" altLang="en-US" sz="1474" dirty="0">
                  <a:solidFill>
                    <a:schemeClr val="bg1"/>
                  </a:solidFill>
                  <a:latin typeface="+mn-ea"/>
                </a:endParaRPr>
              </a:p>
            </p:txBody>
          </p:sp>
        </p:grpSp>
        <p:cxnSp>
          <p:nvCxnSpPr>
            <p:cNvPr id="13" name="直接连接符 12">
              <a:extLst>
                <a:ext uri="{FF2B5EF4-FFF2-40B4-BE49-F238E27FC236}">
                  <a16:creationId xmlns:a16="http://schemas.microsoft.com/office/drawing/2014/main" id="{4316E720-C81D-47B1-B27B-2B1BB90337FE}"/>
                </a:ext>
              </a:extLst>
            </p:cNvPr>
            <p:cNvCxnSpPr>
              <a:cxnSpLocks/>
            </p:cNvCxnSpPr>
            <p:nvPr/>
          </p:nvCxnSpPr>
          <p:spPr>
            <a:xfrm flipH="1">
              <a:off x="643374" y="4212038"/>
              <a:ext cx="10929636" cy="0"/>
            </a:xfrm>
            <a:prstGeom prst="line">
              <a:avLst/>
            </a:prstGeom>
            <a:ln w="25527">
              <a:solidFill>
                <a:schemeClr val="bg1"/>
              </a:solidFill>
            </a:ln>
            <a:effectLst/>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552149186"/>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6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Shape 268">
            <a:extLst>
              <a:ext uri="{FF2B5EF4-FFF2-40B4-BE49-F238E27FC236}">
                <a16:creationId xmlns:a16="http://schemas.microsoft.com/office/drawing/2014/main" id="{0DB43492-E63A-450B-95BD-5FFCB76141EF}"/>
              </a:ext>
            </a:extLst>
          </p:cNvPr>
          <p:cNvSpPr/>
          <p:nvPr/>
        </p:nvSpPr>
        <p:spPr>
          <a:xfrm rot="963684">
            <a:off x="9213492" y="-1033620"/>
            <a:ext cx="4573650" cy="3664118"/>
          </a:xfrm>
          <a:custGeom>
            <a:avLst/>
            <a:gdLst>
              <a:gd name="connsiteX0" fmla="*/ 2341554 w 2358209"/>
              <a:gd name="connsiteY0" fmla="*/ 536996 h 1889247"/>
              <a:gd name="connsiteX1" fmla="*/ 1363433 w 2358209"/>
              <a:gd name="connsiteY1" fmla="*/ 244900 h 1889247"/>
              <a:gd name="connsiteX2" fmla="*/ 762 w 2358209"/>
              <a:gd name="connsiteY2" fmla="*/ 969781 h 1889247"/>
              <a:gd name="connsiteX3" fmla="*/ 480444 w 2358209"/>
              <a:gd name="connsiteY3" fmla="*/ 1429364 h 1889247"/>
              <a:gd name="connsiteX4" fmla="*/ 1116892 w 2358209"/>
              <a:gd name="connsiteY4" fmla="*/ 1312793 h 1889247"/>
              <a:gd name="connsiteX5" fmla="*/ 1551017 w 2358209"/>
              <a:gd name="connsiteY5" fmla="*/ 1831332 h 1889247"/>
              <a:gd name="connsiteX6" fmla="*/ 2367012 w 2358209"/>
              <a:gd name="connsiteY6" fmla="*/ 1437403 h 1889247"/>
              <a:gd name="connsiteX7" fmla="*/ 2242402 w 2358209"/>
              <a:gd name="connsiteY7" fmla="*/ 866609 h 1889247"/>
              <a:gd name="connsiteX8" fmla="*/ 2341554 w 2358209"/>
              <a:gd name="connsiteY8" fmla="*/ 536996 h 18892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58209" h="1889247">
                <a:moveTo>
                  <a:pt x="2341554" y="536996"/>
                </a:moveTo>
                <a:cubicBezTo>
                  <a:pt x="2368352" y="-2981"/>
                  <a:pt x="1654189" y="-198605"/>
                  <a:pt x="1363433" y="244900"/>
                </a:cubicBezTo>
                <a:cubicBezTo>
                  <a:pt x="1047218" y="725921"/>
                  <a:pt x="-32735" y="1039"/>
                  <a:pt x="762" y="969781"/>
                </a:cubicBezTo>
                <a:cubicBezTo>
                  <a:pt x="10142" y="1228380"/>
                  <a:pt x="239263" y="1402566"/>
                  <a:pt x="480444" y="1429364"/>
                </a:cubicBezTo>
                <a:cubicBezTo>
                  <a:pt x="799338" y="1470901"/>
                  <a:pt x="956105" y="1245799"/>
                  <a:pt x="1116892" y="1312793"/>
                </a:cubicBezTo>
                <a:cubicBezTo>
                  <a:pt x="1407649" y="1433384"/>
                  <a:pt x="1321896" y="1705382"/>
                  <a:pt x="1551017" y="1831332"/>
                </a:cubicBezTo>
                <a:cubicBezTo>
                  <a:pt x="1911448" y="2028296"/>
                  <a:pt x="2304037" y="1780416"/>
                  <a:pt x="2367012" y="1437403"/>
                </a:cubicBezTo>
                <a:cubicBezTo>
                  <a:pt x="2393810" y="1290015"/>
                  <a:pt x="2199525" y="1078312"/>
                  <a:pt x="2242402" y="866609"/>
                </a:cubicBezTo>
                <a:cubicBezTo>
                  <a:pt x="2266520" y="754058"/>
                  <a:pt x="2336194" y="660266"/>
                  <a:pt x="2341554" y="536996"/>
                </a:cubicBezTo>
                <a:close/>
              </a:path>
            </a:pathLst>
          </a:custGeom>
          <a:solidFill>
            <a:schemeClr val="accent1">
              <a:lumMod val="60000"/>
              <a:lumOff val="40000"/>
              <a:alpha val="50000"/>
            </a:schemeClr>
          </a:solidFill>
          <a:ln w="1338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nvGrpSpPr>
          <p:cNvPr id="3" name="Group 1">
            <a:extLst>
              <a:ext uri="{FF2B5EF4-FFF2-40B4-BE49-F238E27FC236}">
                <a16:creationId xmlns:a16="http://schemas.microsoft.com/office/drawing/2014/main" id="{EEA7AFBD-9E86-4A33-AE47-3A2192FF3792}"/>
              </a:ext>
            </a:extLst>
          </p:cNvPr>
          <p:cNvGrpSpPr/>
          <p:nvPr/>
        </p:nvGrpSpPr>
        <p:grpSpPr>
          <a:xfrm>
            <a:off x="8422236" y="60703"/>
            <a:ext cx="3771352" cy="323899"/>
            <a:chOff x="8422236" y="60703"/>
            <a:chExt cx="3771352" cy="323899"/>
          </a:xfrm>
        </p:grpSpPr>
        <p:sp>
          <p:nvSpPr>
            <p:cNvPr id="4" name="Freeform: Shape 2">
              <a:extLst>
                <a:ext uri="{FF2B5EF4-FFF2-40B4-BE49-F238E27FC236}">
                  <a16:creationId xmlns:a16="http://schemas.microsoft.com/office/drawing/2014/main" id="{5CEA38C3-9782-4EDF-BD76-3B588F3A1F96}"/>
                </a:ext>
              </a:extLst>
            </p:cNvPr>
            <p:cNvSpPr/>
            <p:nvPr/>
          </p:nvSpPr>
          <p:spPr>
            <a:xfrm>
              <a:off x="10697846" y="60703"/>
              <a:ext cx="1495742" cy="323899"/>
            </a:xfrm>
            <a:custGeom>
              <a:avLst/>
              <a:gdLst>
                <a:gd name="connsiteX0" fmla="*/ 0 w 1495742"/>
                <a:gd name="connsiteY0" fmla="*/ 161949 h 323899"/>
                <a:gd name="connsiteX1" fmla="*/ 0 w 1495742"/>
                <a:gd name="connsiteY1" fmla="*/ 161950 h 323899"/>
                <a:gd name="connsiteX2" fmla="*/ 0 w 1495742"/>
                <a:gd name="connsiteY2" fmla="*/ 161950 h 323899"/>
                <a:gd name="connsiteX3" fmla="*/ 161950 w 1495742"/>
                <a:gd name="connsiteY3" fmla="*/ 0 h 323899"/>
                <a:gd name="connsiteX4" fmla="*/ 1495742 w 1495742"/>
                <a:gd name="connsiteY4" fmla="*/ 0 h 323899"/>
                <a:gd name="connsiteX5" fmla="*/ 1495742 w 1495742"/>
                <a:gd name="connsiteY5" fmla="*/ 323899 h 323899"/>
                <a:gd name="connsiteX6" fmla="*/ 161950 w 1495742"/>
                <a:gd name="connsiteY6" fmla="*/ 323899 h 323899"/>
                <a:gd name="connsiteX7" fmla="*/ 12727 w 1495742"/>
                <a:gd name="connsiteY7" fmla="*/ 224988 h 323899"/>
                <a:gd name="connsiteX8" fmla="*/ 0 w 1495742"/>
                <a:gd name="connsiteY8" fmla="*/ 161950 h 323899"/>
                <a:gd name="connsiteX9" fmla="*/ 12727 w 1495742"/>
                <a:gd name="connsiteY9" fmla="*/ 98912 h 323899"/>
                <a:gd name="connsiteX10" fmla="*/ 161950 w 1495742"/>
                <a:gd name="connsiteY10" fmla="*/ 0 h 3238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95742" h="323899">
                  <a:moveTo>
                    <a:pt x="0" y="161949"/>
                  </a:moveTo>
                  <a:lnTo>
                    <a:pt x="0" y="161950"/>
                  </a:lnTo>
                  <a:lnTo>
                    <a:pt x="0" y="161950"/>
                  </a:lnTo>
                  <a:close/>
                  <a:moveTo>
                    <a:pt x="161950" y="0"/>
                  </a:moveTo>
                  <a:lnTo>
                    <a:pt x="1495742" y="0"/>
                  </a:lnTo>
                  <a:lnTo>
                    <a:pt x="1495742" y="323899"/>
                  </a:lnTo>
                  <a:lnTo>
                    <a:pt x="161950" y="323899"/>
                  </a:lnTo>
                  <a:cubicBezTo>
                    <a:pt x="94868" y="323899"/>
                    <a:pt x="37312" y="283114"/>
                    <a:pt x="12727" y="224988"/>
                  </a:cubicBezTo>
                  <a:lnTo>
                    <a:pt x="0" y="161950"/>
                  </a:lnTo>
                  <a:lnTo>
                    <a:pt x="12727" y="98912"/>
                  </a:lnTo>
                  <a:cubicBezTo>
                    <a:pt x="37312" y="40785"/>
                    <a:pt x="94868" y="0"/>
                    <a:pt x="161950" y="0"/>
                  </a:cubicBezTo>
                  <a:close/>
                </a:path>
              </a:pathLst>
            </a:cu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FFFFFF"/>
                </a:solidFill>
                <a:effectLst/>
                <a:uLnTx/>
                <a:uFillTx/>
                <a:latin typeface="等线" panose="020F0502020204030204"/>
                <a:ea typeface="+mn-ea"/>
                <a:cs typeface="+mn-cs"/>
              </a:endParaRPr>
            </a:p>
          </p:txBody>
        </p:sp>
        <p:sp>
          <p:nvSpPr>
            <p:cNvPr id="6" name="TextBox 4">
              <a:extLst>
                <a:ext uri="{FF2B5EF4-FFF2-40B4-BE49-F238E27FC236}">
                  <a16:creationId xmlns:a16="http://schemas.microsoft.com/office/drawing/2014/main" id="{4ABC775B-ACCE-4372-A5EE-CB2081A7FE91}"/>
                </a:ext>
              </a:extLst>
            </p:cNvPr>
            <p:cNvSpPr txBox="1"/>
            <p:nvPr/>
          </p:nvSpPr>
          <p:spPr>
            <a:xfrm>
              <a:off x="8422236" y="162456"/>
              <a:ext cx="1770253" cy="129918"/>
            </a:xfrm>
            <a:custGeom>
              <a:avLst/>
              <a:gdLst/>
              <a:ahLst/>
              <a:cxnLst/>
              <a:rect l="l" t="t" r="r" b="b"/>
              <a:pathLst>
                <a:path w="1770253" h="129918">
                  <a:moveTo>
                    <a:pt x="312189" y="83589"/>
                  </a:moveTo>
                  <a:cubicBezTo>
                    <a:pt x="307569" y="83494"/>
                    <a:pt x="302403" y="83764"/>
                    <a:pt x="296690" y="84400"/>
                  </a:cubicBezTo>
                  <a:cubicBezTo>
                    <a:pt x="290978" y="85036"/>
                    <a:pt x="285999" y="86608"/>
                    <a:pt x="281755" y="89116"/>
                  </a:cubicBezTo>
                  <a:cubicBezTo>
                    <a:pt x="277511" y="91623"/>
                    <a:pt x="275282" y="95637"/>
                    <a:pt x="275069" y="101156"/>
                  </a:cubicBezTo>
                  <a:cubicBezTo>
                    <a:pt x="275061" y="105015"/>
                    <a:pt x="276480" y="108388"/>
                    <a:pt x="279324" y="111275"/>
                  </a:cubicBezTo>
                  <a:cubicBezTo>
                    <a:pt x="282168" y="114161"/>
                    <a:pt x="286484" y="115678"/>
                    <a:pt x="292271" y="115825"/>
                  </a:cubicBezTo>
                  <a:cubicBezTo>
                    <a:pt x="297247" y="115717"/>
                    <a:pt x="301559" y="114203"/>
                    <a:pt x="305208" y="111284"/>
                  </a:cubicBezTo>
                  <a:cubicBezTo>
                    <a:pt x="308856" y="108365"/>
                    <a:pt x="311679" y="104692"/>
                    <a:pt x="313678" y="100264"/>
                  </a:cubicBezTo>
                  <a:cubicBezTo>
                    <a:pt x="315676" y="95836"/>
                    <a:pt x="316689" y="91304"/>
                    <a:pt x="316716" y="86668"/>
                  </a:cubicBezTo>
                  <a:lnTo>
                    <a:pt x="316716" y="83589"/>
                  </a:lnTo>
                  <a:close/>
                  <a:moveTo>
                    <a:pt x="1545989" y="49204"/>
                  </a:moveTo>
                  <a:cubicBezTo>
                    <a:pt x="1538637" y="49268"/>
                    <a:pt x="1532474" y="52126"/>
                    <a:pt x="1527499" y="57780"/>
                  </a:cubicBezTo>
                  <a:cubicBezTo>
                    <a:pt x="1522523" y="63434"/>
                    <a:pt x="1519936" y="71497"/>
                    <a:pt x="1519736" y="81971"/>
                  </a:cubicBezTo>
                  <a:cubicBezTo>
                    <a:pt x="1519864" y="92049"/>
                    <a:pt x="1522278" y="100000"/>
                    <a:pt x="1526978" y="105823"/>
                  </a:cubicBezTo>
                  <a:cubicBezTo>
                    <a:pt x="1531678" y="111646"/>
                    <a:pt x="1537894" y="114618"/>
                    <a:pt x="1545627" y="114739"/>
                  </a:cubicBezTo>
                  <a:cubicBezTo>
                    <a:pt x="1552669" y="114826"/>
                    <a:pt x="1558772" y="112254"/>
                    <a:pt x="1563935" y="107022"/>
                  </a:cubicBezTo>
                  <a:cubicBezTo>
                    <a:pt x="1569099" y="101791"/>
                    <a:pt x="1571807" y="93380"/>
                    <a:pt x="1572059" y="81790"/>
                  </a:cubicBezTo>
                  <a:cubicBezTo>
                    <a:pt x="1572063" y="76258"/>
                    <a:pt x="1571111" y="71028"/>
                    <a:pt x="1569203" y="66100"/>
                  </a:cubicBezTo>
                  <a:cubicBezTo>
                    <a:pt x="1567296" y="61172"/>
                    <a:pt x="1564412" y="57149"/>
                    <a:pt x="1560553" y="54031"/>
                  </a:cubicBezTo>
                  <a:cubicBezTo>
                    <a:pt x="1556694" y="50913"/>
                    <a:pt x="1551840" y="49304"/>
                    <a:pt x="1545989" y="49204"/>
                  </a:cubicBezTo>
                  <a:close/>
                  <a:moveTo>
                    <a:pt x="1652213" y="47937"/>
                  </a:moveTo>
                  <a:cubicBezTo>
                    <a:pt x="1645397" y="47959"/>
                    <a:pt x="1639565" y="49952"/>
                    <a:pt x="1634718" y="53915"/>
                  </a:cubicBezTo>
                  <a:cubicBezTo>
                    <a:pt x="1629871" y="57877"/>
                    <a:pt x="1626710" y="63674"/>
                    <a:pt x="1625235" y="71305"/>
                  </a:cubicBezTo>
                  <a:lnTo>
                    <a:pt x="1673759" y="71305"/>
                  </a:lnTo>
                  <a:cubicBezTo>
                    <a:pt x="1673336" y="63674"/>
                    <a:pt x="1671103" y="57877"/>
                    <a:pt x="1667059" y="53915"/>
                  </a:cubicBezTo>
                  <a:cubicBezTo>
                    <a:pt x="1663016" y="49952"/>
                    <a:pt x="1658067" y="47959"/>
                    <a:pt x="1652213" y="47937"/>
                  </a:cubicBezTo>
                  <a:close/>
                  <a:moveTo>
                    <a:pt x="607752" y="47937"/>
                  </a:moveTo>
                  <a:cubicBezTo>
                    <a:pt x="600936" y="47959"/>
                    <a:pt x="595104" y="49952"/>
                    <a:pt x="590257" y="53915"/>
                  </a:cubicBezTo>
                  <a:cubicBezTo>
                    <a:pt x="585410" y="57877"/>
                    <a:pt x="582249" y="63674"/>
                    <a:pt x="580774" y="71305"/>
                  </a:cubicBezTo>
                  <a:lnTo>
                    <a:pt x="629298" y="71305"/>
                  </a:lnTo>
                  <a:cubicBezTo>
                    <a:pt x="628875" y="63674"/>
                    <a:pt x="626642" y="57877"/>
                    <a:pt x="622598" y="53915"/>
                  </a:cubicBezTo>
                  <a:cubicBezTo>
                    <a:pt x="618555" y="49952"/>
                    <a:pt x="613606" y="47959"/>
                    <a:pt x="607752" y="47937"/>
                  </a:cubicBezTo>
                  <a:close/>
                  <a:moveTo>
                    <a:pt x="207702" y="47937"/>
                  </a:moveTo>
                  <a:cubicBezTo>
                    <a:pt x="200886" y="47959"/>
                    <a:pt x="195054" y="49952"/>
                    <a:pt x="190207" y="53915"/>
                  </a:cubicBezTo>
                  <a:cubicBezTo>
                    <a:pt x="185360" y="57877"/>
                    <a:pt x="182199" y="63674"/>
                    <a:pt x="180724" y="71305"/>
                  </a:cubicBezTo>
                  <a:lnTo>
                    <a:pt x="229248" y="71305"/>
                  </a:lnTo>
                  <a:cubicBezTo>
                    <a:pt x="228825" y="63674"/>
                    <a:pt x="226592" y="57877"/>
                    <a:pt x="222548" y="53915"/>
                  </a:cubicBezTo>
                  <a:cubicBezTo>
                    <a:pt x="218505" y="49952"/>
                    <a:pt x="213556" y="47959"/>
                    <a:pt x="207702" y="47937"/>
                  </a:cubicBezTo>
                  <a:close/>
                  <a:moveTo>
                    <a:pt x="1452407" y="36196"/>
                  </a:moveTo>
                  <a:lnTo>
                    <a:pt x="1469592" y="36196"/>
                  </a:lnTo>
                  <a:cubicBezTo>
                    <a:pt x="1473633" y="36170"/>
                    <a:pt x="1476577" y="37081"/>
                    <a:pt x="1478426" y="38929"/>
                  </a:cubicBezTo>
                  <a:cubicBezTo>
                    <a:pt x="1480275" y="40778"/>
                    <a:pt x="1481186" y="43722"/>
                    <a:pt x="1481160" y="47761"/>
                  </a:cubicBezTo>
                  <a:lnTo>
                    <a:pt x="1481160" y="108765"/>
                  </a:lnTo>
                  <a:cubicBezTo>
                    <a:pt x="1481167" y="110120"/>
                    <a:pt x="1481514" y="111123"/>
                    <a:pt x="1482200" y="111775"/>
                  </a:cubicBezTo>
                  <a:cubicBezTo>
                    <a:pt x="1482886" y="112428"/>
                    <a:pt x="1483867" y="112752"/>
                    <a:pt x="1485141" y="112748"/>
                  </a:cubicBezTo>
                  <a:lnTo>
                    <a:pt x="1492561" y="112748"/>
                  </a:lnTo>
                  <a:lnTo>
                    <a:pt x="1492561" y="127747"/>
                  </a:lnTo>
                  <a:lnTo>
                    <a:pt x="1475376" y="127747"/>
                  </a:lnTo>
                  <a:cubicBezTo>
                    <a:pt x="1471336" y="127773"/>
                    <a:pt x="1468391" y="126862"/>
                    <a:pt x="1466542" y="125014"/>
                  </a:cubicBezTo>
                  <a:cubicBezTo>
                    <a:pt x="1464693" y="123165"/>
                    <a:pt x="1463782" y="120221"/>
                    <a:pt x="1463809" y="116182"/>
                  </a:cubicBezTo>
                  <a:lnTo>
                    <a:pt x="1463809" y="55177"/>
                  </a:lnTo>
                  <a:cubicBezTo>
                    <a:pt x="1463801" y="53823"/>
                    <a:pt x="1463454" y="52820"/>
                    <a:pt x="1462768" y="52167"/>
                  </a:cubicBezTo>
                  <a:cubicBezTo>
                    <a:pt x="1462082" y="51515"/>
                    <a:pt x="1461101" y="51191"/>
                    <a:pt x="1459827" y="51194"/>
                  </a:cubicBezTo>
                  <a:lnTo>
                    <a:pt x="1452407" y="51194"/>
                  </a:lnTo>
                  <a:close/>
                  <a:moveTo>
                    <a:pt x="462562" y="36196"/>
                  </a:moveTo>
                  <a:lnTo>
                    <a:pt x="471609" y="36196"/>
                  </a:lnTo>
                  <a:cubicBezTo>
                    <a:pt x="475582" y="36128"/>
                    <a:pt x="478582" y="36761"/>
                    <a:pt x="480610" y="38093"/>
                  </a:cubicBezTo>
                  <a:cubicBezTo>
                    <a:pt x="482638" y="39426"/>
                    <a:pt x="484282" y="41866"/>
                    <a:pt x="485541" y="45412"/>
                  </a:cubicBezTo>
                  <a:lnTo>
                    <a:pt x="505262" y="98085"/>
                  </a:lnTo>
                  <a:cubicBezTo>
                    <a:pt x="506189" y="100801"/>
                    <a:pt x="506958" y="103426"/>
                    <a:pt x="507569" y="105960"/>
                  </a:cubicBezTo>
                  <a:cubicBezTo>
                    <a:pt x="508180" y="108495"/>
                    <a:pt x="508496" y="109853"/>
                    <a:pt x="508519" y="110034"/>
                  </a:cubicBezTo>
                  <a:lnTo>
                    <a:pt x="508881" y="110034"/>
                  </a:lnTo>
                  <a:cubicBezTo>
                    <a:pt x="508903" y="109853"/>
                    <a:pt x="509220" y="108495"/>
                    <a:pt x="509831" y="105960"/>
                  </a:cubicBezTo>
                  <a:cubicBezTo>
                    <a:pt x="510441" y="103426"/>
                    <a:pt x="511210" y="100801"/>
                    <a:pt x="512138" y="98085"/>
                  </a:cubicBezTo>
                  <a:lnTo>
                    <a:pt x="531678" y="45412"/>
                  </a:lnTo>
                  <a:cubicBezTo>
                    <a:pt x="532948" y="41866"/>
                    <a:pt x="534614" y="39426"/>
                    <a:pt x="536676" y="38093"/>
                  </a:cubicBezTo>
                  <a:cubicBezTo>
                    <a:pt x="538738" y="36761"/>
                    <a:pt x="541716" y="36128"/>
                    <a:pt x="545610" y="36196"/>
                  </a:cubicBezTo>
                  <a:lnTo>
                    <a:pt x="554113" y="36196"/>
                  </a:lnTo>
                  <a:lnTo>
                    <a:pt x="554113" y="51194"/>
                  </a:lnTo>
                  <a:lnTo>
                    <a:pt x="552304" y="51194"/>
                  </a:lnTo>
                  <a:cubicBezTo>
                    <a:pt x="550778" y="51175"/>
                    <a:pt x="549534" y="51439"/>
                    <a:pt x="548572" y="51986"/>
                  </a:cubicBezTo>
                  <a:cubicBezTo>
                    <a:pt x="547611" y="52533"/>
                    <a:pt x="546865" y="53475"/>
                    <a:pt x="546333" y="54814"/>
                  </a:cubicBezTo>
                  <a:lnTo>
                    <a:pt x="518470" y="127747"/>
                  </a:lnTo>
                  <a:lnTo>
                    <a:pt x="498206" y="127747"/>
                  </a:lnTo>
                  <a:lnTo>
                    <a:pt x="469981" y="54815"/>
                  </a:lnTo>
                  <a:cubicBezTo>
                    <a:pt x="469453" y="53476"/>
                    <a:pt x="468744" y="52533"/>
                    <a:pt x="467855" y="51986"/>
                  </a:cubicBezTo>
                  <a:cubicBezTo>
                    <a:pt x="466965" y="51439"/>
                    <a:pt x="465804" y="51175"/>
                    <a:pt x="464372" y="51194"/>
                  </a:cubicBezTo>
                  <a:lnTo>
                    <a:pt x="462562" y="51194"/>
                  </a:lnTo>
                  <a:close/>
                  <a:moveTo>
                    <a:pt x="417471" y="36196"/>
                  </a:moveTo>
                  <a:lnTo>
                    <a:pt x="434656" y="36196"/>
                  </a:lnTo>
                  <a:cubicBezTo>
                    <a:pt x="438696" y="36170"/>
                    <a:pt x="441641" y="37081"/>
                    <a:pt x="443490" y="38929"/>
                  </a:cubicBezTo>
                  <a:cubicBezTo>
                    <a:pt x="445339" y="40778"/>
                    <a:pt x="446250" y="43722"/>
                    <a:pt x="446224" y="47761"/>
                  </a:cubicBezTo>
                  <a:lnTo>
                    <a:pt x="446224" y="108765"/>
                  </a:lnTo>
                  <a:cubicBezTo>
                    <a:pt x="446231" y="110120"/>
                    <a:pt x="446578" y="111123"/>
                    <a:pt x="447264" y="111775"/>
                  </a:cubicBezTo>
                  <a:cubicBezTo>
                    <a:pt x="447950" y="112428"/>
                    <a:pt x="448931" y="112752"/>
                    <a:pt x="450205" y="112748"/>
                  </a:cubicBezTo>
                  <a:lnTo>
                    <a:pt x="457625" y="112748"/>
                  </a:lnTo>
                  <a:lnTo>
                    <a:pt x="457625" y="127747"/>
                  </a:lnTo>
                  <a:lnTo>
                    <a:pt x="440440" y="127747"/>
                  </a:lnTo>
                  <a:cubicBezTo>
                    <a:pt x="436400" y="127773"/>
                    <a:pt x="433455" y="126862"/>
                    <a:pt x="431606" y="125014"/>
                  </a:cubicBezTo>
                  <a:cubicBezTo>
                    <a:pt x="429757" y="123165"/>
                    <a:pt x="428846" y="120221"/>
                    <a:pt x="428873" y="116182"/>
                  </a:cubicBezTo>
                  <a:lnTo>
                    <a:pt x="428873" y="55177"/>
                  </a:lnTo>
                  <a:cubicBezTo>
                    <a:pt x="428865" y="53823"/>
                    <a:pt x="428518" y="52820"/>
                    <a:pt x="427832" y="52167"/>
                  </a:cubicBezTo>
                  <a:cubicBezTo>
                    <a:pt x="427146" y="51515"/>
                    <a:pt x="426166" y="51191"/>
                    <a:pt x="424891" y="51194"/>
                  </a:cubicBezTo>
                  <a:lnTo>
                    <a:pt x="417471" y="51194"/>
                  </a:lnTo>
                  <a:close/>
                  <a:moveTo>
                    <a:pt x="150063" y="35110"/>
                  </a:moveTo>
                  <a:cubicBezTo>
                    <a:pt x="151288" y="35125"/>
                    <a:pt x="152366" y="35185"/>
                    <a:pt x="153298" y="35291"/>
                  </a:cubicBezTo>
                  <a:cubicBezTo>
                    <a:pt x="154229" y="35396"/>
                    <a:pt x="154719" y="35456"/>
                    <a:pt x="154768" y="35472"/>
                  </a:cubicBezTo>
                  <a:lnTo>
                    <a:pt x="154768" y="52823"/>
                  </a:lnTo>
                  <a:cubicBezTo>
                    <a:pt x="154730" y="52800"/>
                    <a:pt x="154218" y="52710"/>
                    <a:pt x="153230" y="52552"/>
                  </a:cubicBezTo>
                  <a:cubicBezTo>
                    <a:pt x="152242" y="52393"/>
                    <a:pt x="151005" y="52303"/>
                    <a:pt x="149520" y="52280"/>
                  </a:cubicBezTo>
                  <a:cubicBezTo>
                    <a:pt x="143800" y="52329"/>
                    <a:pt x="138635" y="54222"/>
                    <a:pt x="134024" y="57958"/>
                  </a:cubicBezTo>
                  <a:cubicBezTo>
                    <a:pt x="129413" y="61695"/>
                    <a:pt x="126012" y="66981"/>
                    <a:pt x="123821" y="73816"/>
                  </a:cubicBezTo>
                  <a:cubicBezTo>
                    <a:pt x="123018" y="76448"/>
                    <a:pt x="122453" y="79147"/>
                    <a:pt x="122125" y="81915"/>
                  </a:cubicBezTo>
                  <a:cubicBezTo>
                    <a:pt x="121797" y="84682"/>
                    <a:pt x="121638" y="87472"/>
                    <a:pt x="121650" y="90285"/>
                  </a:cubicBezTo>
                  <a:lnTo>
                    <a:pt x="121650" y="127747"/>
                  </a:lnTo>
                  <a:lnTo>
                    <a:pt x="104118" y="127747"/>
                  </a:lnTo>
                  <a:lnTo>
                    <a:pt x="104118" y="55176"/>
                  </a:lnTo>
                  <a:cubicBezTo>
                    <a:pt x="104110" y="53822"/>
                    <a:pt x="103763" y="52819"/>
                    <a:pt x="103077" y="52167"/>
                  </a:cubicBezTo>
                  <a:cubicBezTo>
                    <a:pt x="102391" y="51515"/>
                    <a:pt x="101411" y="51190"/>
                    <a:pt x="100136" y="51194"/>
                  </a:cubicBezTo>
                  <a:lnTo>
                    <a:pt x="92716" y="51194"/>
                  </a:lnTo>
                  <a:lnTo>
                    <a:pt x="92716" y="36196"/>
                  </a:lnTo>
                  <a:lnTo>
                    <a:pt x="109359" y="36196"/>
                  </a:lnTo>
                  <a:cubicBezTo>
                    <a:pt x="113328" y="36177"/>
                    <a:pt x="116280" y="37028"/>
                    <a:pt x="118216" y="38748"/>
                  </a:cubicBezTo>
                  <a:cubicBezTo>
                    <a:pt x="120151" y="40469"/>
                    <a:pt x="121115" y="43172"/>
                    <a:pt x="121108" y="46857"/>
                  </a:cubicBezTo>
                  <a:lnTo>
                    <a:pt x="121108" y="52642"/>
                  </a:lnTo>
                  <a:cubicBezTo>
                    <a:pt x="121092" y="54490"/>
                    <a:pt x="121032" y="55998"/>
                    <a:pt x="120927" y="57166"/>
                  </a:cubicBezTo>
                  <a:cubicBezTo>
                    <a:pt x="120821" y="58335"/>
                    <a:pt x="120761" y="58939"/>
                    <a:pt x="120746" y="58976"/>
                  </a:cubicBezTo>
                  <a:lnTo>
                    <a:pt x="121108" y="58976"/>
                  </a:lnTo>
                  <a:cubicBezTo>
                    <a:pt x="123332" y="52127"/>
                    <a:pt x="126936" y="46476"/>
                    <a:pt x="131920" y="42024"/>
                  </a:cubicBezTo>
                  <a:cubicBezTo>
                    <a:pt x="136904" y="37573"/>
                    <a:pt x="142952" y="35268"/>
                    <a:pt x="150063" y="35110"/>
                  </a:cubicBezTo>
                  <a:close/>
                  <a:moveTo>
                    <a:pt x="1736784" y="34024"/>
                  </a:moveTo>
                  <a:cubicBezTo>
                    <a:pt x="1740633" y="33985"/>
                    <a:pt x="1744865" y="34485"/>
                    <a:pt x="1749480" y="35524"/>
                  </a:cubicBezTo>
                  <a:cubicBezTo>
                    <a:pt x="1754095" y="36562"/>
                    <a:pt x="1758096" y="38374"/>
                    <a:pt x="1761484" y="40959"/>
                  </a:cubicBezTo>
                  <a:cubicBezTo>
                    <a:pt x="1764871" y="43545"/>
                    <a:pt x="1766648" y="47138"/>
                    <a:pt x="1766814" y="51738"/>
                  </a:cubicBezTo>
                  <a:lnTo>
                    <a:pt x="1766814" y="60428"/>
                  </a:lnTo>
                  <a:lnTo>
                    <a:pt x="1751092" y="60428"/>
                  </a:lnTo>
                  <a:lnTo>
                    <a:pt x="1751092" y="55902"/>
                  </a:lnTo>
                  <a:cubicBezTo>
                    <a:pt x="1750870" y="53202"/>
                    <a:pt x="1749277" y="51225"/>
                    <a:pt x="1746315" y="49973"/>
                  </a:cubicBezTo>
                  <a:cubicBezTo>
                    <a:pt x="1743353" y="48721"/>
                    <a:pt x="1740357" y="48103"/>
                    <a:pt x="1737327" y="48118"/>
                  </a:cubicBezTo>
                  <a:cubicBezTo>
                    <a:pt x="1732102" y="48118"/>
                    <a:pt x="1727974" y="49023"/>
                    <a:pt x="1724944" y="50833"/>
                  </a:cubicBezTo>
                  <a:cubicBezTo>
                    <a:pt x="1721915" y="52644"/>
                    <a:pt x="1720368" y="55359"/>
                    <a:pt x="1720304" y="58980"/>
                  </a:cubicBezTo>
                  <a:cubicBezTo>
                    <a:pt x="1720564" y="63180"/>
                    <a:pt x="1723165" y="66490"/>
                    <a:pt x="1728108" y="68911"/>
                  </a:cubicBezTo>
                  <a:cubicBezTo>
                    <a:pt x="1733051" y="71332"/>
                    <a:pt x="1738774" y="73732"/>
                    <a:pt x="1745278" y="76110"/>
                  </a:cubicBezTo>
                  <a:cubicBezTo>
                    <a:pt x="1751782" y="78489"/>
                    <a:pt x="1757505" y="81714"/>
                    <a:pt x="1762448" y="85787"/>
                  </a:cubicBezTo>
                  <a:cubicBezTo>
                    <a:pt x="1767391" y="89860"/>
                    <a:pt x="1769993" y="95648"/>
                    <a:pt x="1770253" y="103153"/>
                  </a:cubicBezTo>
                  <a:cubicBezTo>
                    <a:pt x="1770050" y="111393"/>
                    <a:pt x="1766841" y="117890"/>
                    <a:pt x="1760624" y="122643"/>
                  </a:cubicBezTo>
                  <a:cubicBezTo>
                    <a:pt x="1754408" y="127396"/>
                    <a:pt x="1746401" y="129821"/>
                    <a:pt x="1736603" y="129918"/>
                  </a:cubicBezTo>
                  <a:cubicBezTo>
                    <a:pt x="1728460" y="129720"/>
                    <a:pt x="1721682" y="128330"/>
                    <a:pt x="1716269" y="125748"/>
                  </a:cubicBezTo>
                  <a:cubicBezTo>
                    <a:pt x="1710856" y="123167"/>
                    <a:pt x="1706801" y="120585"/>
                    <a:pt x="1704103" y="118004"/>
                  </a:cubicBezTo>
                  <a:cubicBezTo>
                    <a:pt x="1701404" y="115422"/>
                    <a:pt x="1700056" y="114032"/>
                    <a:pt x="1700057" y="113834"/>
                  </a:cubicBezTo>
                  <a:lnTo>
                    <a:pt x="1709098" y="102066"/>
                  </a:lnTo>
                  <a:cubicBezTo>
                    <a:pt x="1709128" y="102234"/>
                    <a:pt x="1710273" y="103407"/>
                    <a:pt x="1712533" y="105586"/>
                  </a:cubicBezTo>
                  <a:cubicBezTo>
                    <a:pt x="1714793" y="107766"/>
                    <a:pt x="1717989" y="109945"/>
                    <a:pt x="1722121" y="112124"/>
                  </a:cubicBezTo>
                  <a:cubicBezTo>
                    <a:pt x="1726252" y="114303"/>
                    <a:pt x="1731140" y="115476"/>
                    <a:pt x="1736784" y="115644"/>
                  </a:cubicBezTo>
                  <a:cubicBezTo>
                    <a:pt x="1741172" y="115652"/>
                    <a:pt x="1744892" y="114686"/>
                    <a:pt x="1747944" y="112747"/>
                  </a:cubicBezTo>
                  <a:cubicBezTo>
                    <a:pt x="1750997" y="110809"/>
                    <a:pt x="1752589" y="107852"/>
                    <a:pt x="1752721" y="103877"/>
                  </a:cubicBezTo>
                  <a:cubicBezTo>
                    <a:pt x="1752461" y="99887"/>
                    <a:pt x="1749859" y="96653"/>
                    <a:pt x="1744916" y="94174"/>
                  </a:cubicBezTo>
                  <a:cubicBezTo>
                    <a:pt x="1739973" y="91695"/>
                    <a:pt x="1734250" y="89197"/>
                    <a:pt x="1727746" y="86678"/>
                  </a:cubicBezTo>
                  <a:cubicBezTo>
                    <a:pt x="1721243" y="84160"/>
                    <a:pt x="1715519" y="80846"/>
                    <a:pt x="1710576" y="76738"/>
                  </a:cubicBezTo>
                  <a:cubicBezTo>
                    <a:pt x="1705633" y="72630"/>
                    <a:pt x="1703032" y="66952"/>
                    <a:pt x="1702772" y="59704"/>
                  </a:cubicBezTo>
                  <a:cubicBezTo>
                    <a:pt x="1703023" y="50956"/>
                    <a:pt x="1706361" y="44483"/>
                    <a:pt x="1712785" y="40283"/>
                  </a:cubicBezTo>
                  <a:cubicBezTo>
                    <a:pt x="1719208" y="36084"/>
                    <a:pt x="1727208" y="33997"/>
                    <a:pt x="1736784" y="34024"/>
                  </a:cubicBezTo>
                  <a:close/>
                  <a:moveTo>
                    <a:pt x="1652394" y="34024"/>
                  </a:moveTo>
                  <a:cubicBezTo>
                    <a:pt x="1660972" y="34114"/>
                    <a:pt x="1668188" y="36064"/>
                    <a:pt x="1674042" y="39872"/>
                  </a:cubicBezTo>
                  <a:cubicBezTo>
                    <a:pt x="1679896" y="43679"/>
                    <a:pt x="1684322" y="48805"/>
                    <a:pt x="1687320" y="55248"/>
                  </a:cubicBezTo>
                  <a:cubicBezTo>
                    <a:pt x="1690318" y="61691"/>
                    <a:pt x="1691823" y="68910"/>
                    <a:pt x="1691833" y="76905"/>
                  </a:cubicBezTo>
                  <a:cubicBezTo>
                    <a:pt x="1691811" y="78234"/>
                    <a:pt x="1691720" y="79732"/>
                    <a:pt x="1691562" y="81399"/>
                  </a:cubicBezTo>
                  <a:cubicBezTo>
                    <a:pt x="1691404" y="83067"/>
                    <a:pt x="1691314" y="83977"/>
                    <a:pt x="1691291" y="84132"/>
                  </a:cubicBezTo>
                  <a:lnTo>
                    <a:pt x="1624511" y="84132"/>
                  </a:lnTo>
                  <a:cubicBezTo>
                    <a:pt x="1625280" y="93964"/>
                    <a:pt x="1628630" y="101511"/>
                    <a:pt x="1634560" y="106770"/>
                  </a:cubicBezTo>
                  <a:cubicBezTo>
                    <a:pt x="1640489" y="112030"/>
                    <a:pt x="1647641" y="114686"/>
                    <a:pt x="1656015" y="114739"/>
                  </a:cubicBezTo>
                  <a:cubicBezTo>
                    <a:pt x="1661304" y="114607"/>
                    <a:pt x="1665953" y="113684"/>
                    <a:pt x="1669959" y="111969"/>
                  </a:cubicBezTo>
                  <a:cubicBezTo>
                    <a:pt x="1673966" y="110254"/>
                    <a:pt x="1677097" y="108539"/>
                    <a:pt x="1679353" y="106824"/>
                  </a:cubicBezTo>
                  <a:cubicBezTo>
                    <a:pt x="1681610" y="105109"/>
                    <a:pt x="1682757" y="104186"/>
                    <a:pt x="1682796" y="104054"/>
                  </a:cubicBezTo>
                  <a:lnTo>
                    <a:pt x="1690388" y="116546"/>
                  </a:lnTo>
                  <a:cubicBezTo>
                    <a:pt x="1690354" y="116711"/>
                    <a:pt x="1688914" y="117867"/>
                    <a:pt x="1686068" y="120013"/>
                  </a:cubicBezTo>
                  <a:cubicBezTo>
                    <a:pt x="1683222" y="122159"/>
                    <a:pt x="1679169" y="124305"/>
                    <a:pt x="1673910" y="126452"/>
                  </a:cubicBezTo>
                  <a:cubicBezTo>
                    <a:pt x="1668650" y="128598"/>
                    <a:pt x="1662383" y="129753"/>
                    <a:pt x="1655110" y="129918"/>
                  </a:cubicBezTo>
                  <a:cubicBezTo>
                    <a:pt x="1640407" y="129618"/>
                    <a:pt x="1628674" y="125021"/>
                    <a:pt x="1619909" y="116126"/>
                  </a:cubicBezTo>
                  <a:cubicBezTo>
                    <a:pt x="1611144" y="107232"/>
                    <a:pt x="1606653" y="95845"/>
                    <a:pt x="1606436" y="81964"/>
                  </a:cubicBezTo>
                  <a:cubicBezTo>
                    <a:pt x="1606721" y="67219"/>
                    <a:pt x="1611122" y="55587"/>
                    <a:pt x="1619638" y="47068"/>
                  </a:cubicBezTo>
                  <a:cubicBezTo>
                    <a:pt x="1628153" y="38549"/>
                    <a:pt x="1639072" y="34201"/>
                    <a:pt x="1652394" y="34024"/>
                  </a:cubicBezTo>
                  <a:close/>
                  <a:moveTo>
                    <a:pt x="1355785" y="34024"/>
                  </a:moveTo>
                  <a:cubicBezTo>
                    <a:pt x="1359633" y="33985"/>
                    <a:pt x="1363865" y="34485"/>
                    <a:pt x="1368480" y="35524"/>
                  </a:cubicBezTo>
                  <a:cubicBezTo>
                    <a:pt x="1373095" y="36562"/>
                    <a:pt x="1377096" y="38374"/>
                    <a:pt x="1380484" y="40959"/>
                  </a:cubicBezTo>
                  <a:cubicBezTo>
                    <a:pt x="1383871" y="43545"/>
                    <a:pt x="1385648" y="47138"/>
                    <a:pt x="1385814" y="51738"/>
                  </a:cubicBezTo>
                  <a:lnTo>
                    <a:pt x="1385814" y="60428"/>
                  </a:lnTo>
                  <a:lnTo>
                    <a:pt x="1370092" y="60428"/>
                  </a:lnTo>
                  <a:lnTo>
                    <a:pt x="1370092" y="55902"/>
                  </a:lnTo>
                  <a:cubicBezTo>
                    <a:pt x="1369869" y="53202"/>
                    <a:pt x="1368277" y="51225"/>
                    <a:pt x="1365315" y="49973"/>
                  </a:cubicBezTo>
                  <a:cubicBezTo>
                    <a:pt x="1362353" y="48721"/>
                    <a:pt x="1359357" y="48103"/>
                    <a:pt x="1356327" y="48118"/>
                  </a:cubicBezTo>
                  <a:cubicBezTo>
                    <a:pt x="1351102" y="48118"/>
                    <a:pt x="1346974" y="49023"/>
                    <a:pt x="1343944" y="50833"/>
                  </a:cubicBezTo>
                  <a:cubicBezTo>
                    <a:pt x="1340915" y="52644"/>
                    <a:pt x="1339368" y="55359"/>
                    <a:pt x="1339304" y="58980"/>
                  </a:cubicBezTo>
                  <a:cubicBezTo>
                    <a:pt x="1339564" y="63180"/>
                    <a:pt x="1342165" y="66490"/>
                    <a:pt x="1347108" y="68911"/>
                  </a:cubicBezTo>
                  <a:cubicBezTo>
                    <a:pt x="1352051" y="71332"/>
                    <a:pt x="1357774" y="73732"/>
                    <a:pt x="1364278" y="76110"/>
                  </a:cubicBezTo>
                  <a:cubicBezTo>
                    <a:pt x="1370782" y="78489"/>
                    <a:pt x="1376505" y="81714"/>
                    <a:pt x="1381448" y="85787"/>
                  </a:cubicBezTo>
                  <a:cubicBezTo>
                    <a:pt x="1386391" y="89860"/>
                    <a:pt x="1388993" y="95648"/>
                    <a:pt x="1389253" y="103153"/>
                  </a:cubicBezTo>
                  <a:cubicBezTo>
                    <a:pt x="1389050" y="111393"/>
                    <a:pt x="1385841" y="117890"/>
                    <a:pt x="1379624" y="122643"/>
                  </a:cubicBezTo>
                  <a:cubicBezTo>
                    <a:pt x="1373408" y="127396"/>
                    <a:pt x="1365401" y="129821"/>
                    <a:pt x="1355603" y="129918"/>
                  </a:cubicBezTo>
                  <a:cubicBezTo>
                    <a:pt x="1347460" y="129720"/>
                    <a:pt x="1340682" y="128330"/>
                    <a:pt x="1335269" y="125748"/>
                  </a:cubicBezTo>
                  <a:cubicBezTo>
                    <a:pt x="1329856" y="123167"/>
                    <a:pt x="1325801" y="120585"/>
                    <a:pt x="1323103" y="118004"/>
                  </a:cubicBezTo>
                  <a:cubicBezTo>
                    <a:pt x="1320404" y="115422"/>
                    <a:pt x="1319056" y="114032"/>
                    <a:pt x="1319057" y="113834"/>
                  </a:cubicBezTo>
                  <a:lnTo>
                    <a:pt x="1328098" y="102066"/>
                  </a:lnTo>
                  <a:cubicBezTo>
                    <a:pt x="1328128" y="102234"/>
                    <a:pt x="1329273" y="103407"/>
                    <a:pt x="1331533" y="105586"/>
                  </a:cubicBezTo>
                  <a:cubicBezTo>
                    <a:pt x="1333793" y="107766"/>
                    <a:pt x="1336989" y="109945"/>
                    <a:pt x="1341121" y="112124"/>
                  </a:cubicBezTo>
                  <a:cubicBezTo>
                    <a:pt x="1345252" y="114303"/>
                    <a:pt x="1350140" y="115476"/>
                    <a:pt x="1355784" y="115644"/>
                  </a:cubicBezTo>
                  <a:cubicBezTo>
                    <a:pt x="1360172" y="115652"/>
                    <a:pt x="1363892" y="114686"/>
                    <a:pt x="1366944" y="112747"/>
                  </a:cubicBezTo>
                  <a:cubicBezTo>
                    <a:pt x="1369997" y="110809"/>
                    <a:pt x="1371589" y="107852"/>
                    <a:pt x="1371721" y="103877"/>
                  </a:cubicBezTo>
                  <a:cubicBezTo>
                    <a:pt x="1371461" y="99887"/>
                    <a:pt x="1368859" y="96653"/>
                    <a:pt x="1363916" y="94174"/>
                  </a:cubicBezTo>
                  <a:cubicBezTo>
                    <a:pt x="1358973" y="91695"/>
                    <a:pt x="1353250" y="89197"/>
                    <a:pt x="1346746" y="86678"/>
                  </a:cubicBezTo>
                  <a:cubicBezTo>
                    <a:pt x="1340243" y="84160"/>
                    <a:pt x="1334519" y="80846"/>
                    <a:pt x="1329576" y="76738"/>
                  </a:cubicBezTo>
                  <a:cubicBezTo>
                    <a:pt x="1324633" y="72630"/>
                    <a:pt x="1322032" y="66952"/>
                    <a:pt x="1321772" y="59704"/>
                  </a:cubicBezTo>
                  <a:cubicBezTo>
                    <a:pt x="1322023" y="50956"/>
                    <a:pt x="1325361" y="44483"/>
                    <a:pt x="1331785" y="40283"/>
                  </a:cubicBezTo>
                  <a:cubicBezTo>
                    <a:pt x="1338208" y="36084"/>
                    <a:pt x="1346208" y="33997"/>
                    <a:pt x="1355785" y="34024"/>
                  </a:cubicBezTo>
                  <a:close/>
                  <a:moveTo>
                    <a:pt x="607933" y="34024"/>
                  </a:moveTo>
                  <a:cubicBezTo>
                    <a:pt x="616511" y="34114"/>
                    <a:pt x="623728" y="36064"/>
                    <a:pt x="629581" y="39872"/>
                  </a:cubicBezTo>
                  <a:cubicBezTo>
                    <a:pt x="635435" y="43679"/>
                    <a:pt x="639861" y="48805"/>
                    <a:pt x="642859" y="55248"/>
                  </a:cubicBezTo>
                  <a:cubicBezTo>
                    <a:pt x="645857" y="61691"/>
                    <a:pt x="647362" y="68910"/>
                    <a:pt x="647372" y="76905"/>
                  </a:cubicBezTo>
                  <a:cubicBezTo>
                    <a:pt x="647350" y="78234"/>
                    <a:pt x="647260" y="79732"/>
                    <a:pt x="647101" y="81399"/>
                  </a:cubicBezTo>
                  <a:cubicBezTo>
                    <a:pt x="646943" y="83067"/>
                    <a:pt x="646853" y="83977"/>
                    <a:pt x="646830" y="84132"/>
                  </a:cubicBezTo>
                  <a:lnTo>
                    <a:pt x="580050" y="84132"/>
                  </a:lnTo>
                  <a:cubicBezTo>
                    <a:pt x="580819" y="93964"/>
                    <a:pt x="584169" y="101511"/>
                    <a:pt x="590098" y="106770"/>
                  </a:cubicBezTo>
                  <a:cubicBezTo>
                    <a:pt x="596028" y="112030"/>
                    <a:pt x="603180" y="114686"/>
                    <a:pt x="611554" y="114739"/>
                  </a:cubicBezTo>
                  <a:cubicBezTo>
                    <a:pt x="616844" y="114607"/>
                    <a:pt x="621492" y="113684"/>
                    <a:pt x="625498" y="111969"/>
                  </a:cubicBezTo>
                  <a:cubicBezTo>
                    <a:pt x="629505" y="110254"/>
                    <a:pt x="632636" y="108539"/>
                    <a:pt x="634892" y="106824"/>
                  </a:cubicBezTo>
                  <a:cubicBezTo>
                    <a:pt x="637149" y="105109"/>
                    <a:pt x="638296" y="104186"/>
                    <a:pt x="638335" y="104054"/>
                  </a:cubicBezTo>
                  <a:lnTo>
                    <a:pt x="645926" y="116546"/>
                  </a:lnTo>
                  <a:cubicBezTo>
                    <a:pt x="645893" y="116711"/>
                    <a:pt x="644454" y="117867"/>
                    <a:pt x="641607" y="120013"/>
                  </a:cubicBezTo>
                  <a:cubicBezTo>
                    <a:pt x="638761" y="122159"/>
                    <a:pt x="634708" y="124305"/>
                    <a:pt x="629449" y="126452"/>
                  </a:cubicBezTo>
                  <a:cubicBezTo>
                    <a:pt x="624189" y="128598"/>
                    <a:pt x="617922" y="129753"/>
                    <a:pt x="610649" y="129918"/>
                  </a:cubicBezTo>
                  <a:cubicBezTo>
                    <a:pt x="595946" y="129618"/>
                    <a:pt x="584213" y="125021"/>
                    <a:pt x="575448" y="116126"/>
                  </a:cubicBezTo>
                  <a:cubicBezTo>
                    <a:pt x="566684" y="107232"/>
                    <a:pt x="562192" y="95845"/>
                    <a:pt x="561975" y="81964"/>
                  </a:cubicBezTo>
                  <a:cubicBezTo>
                    <a:pt x="562260" y="67219"/>
                    <a:pt x="566661" y="55587"/>
                    <a:pt x="575177" y="47068"/>
                  </a:cubicBezTo>
                  <a:cubicBezTo>
                    <a:pt x="583692" y="38549"/>
                    <a:pt x="594611" y="34201"/>
                    <a:pt x="607933" y="34024"/>
                  </a:cubicBezTo>
                  <a:close/>
                  <a:moveTo>
                    <a:pt x="296434" y="34024"/>
                  </a:moveTo>
                  <a:cubicBezTo>
                    <a:pt x="310987" y="34249"/>
                    <a:pt x="320969" y="37685"/>
                    <a:pt x="326380" y="44332"/>
                  </a:cubicBezTo>
                  <a:cubicBezTo>
                    <a:pt x="331792" y="50979"/>
                    <a:pt x="334354" y="59487"/>
                    <a:pt x="334067" y="69856"/>
                  </a:cubicBezTo>
                  <a:lnTo>
                    <a:pt x="334067" y="108764"/>
                  </a:lnTo>
                  <a:cubicBezTo>
                    <a:pt x="334074" y="110118"/>
                    <a:pt x="334421" y="111122"/>
                    <a:pt x="335107" y="111775"/>
                  </a:cubicBezTo>
                  <a:cubicBezTo>
                    <a:pt x="335793" y="112428"/>
                    <a:pt x="336774" y="112752"/>
                    <a:pt x="338048" y="112748"/>
                  </a:cubicBezTo>
                  <a:lnTo>
                    <a:pt x="345468" y="112748"/>
                  </a:lnTo>
                  <a:lnTo>
                    <a:pt x="345468" y="127747"/>
                  </a:lnTo>
                  <a:lnTo>
                    <a:pt x="329006" y="127747"/>
                  </a:lnTo>
                  <a:cubicBezTo>
                    <a:pt x="324973" y="127717"/>
                    <a:pt x="322059" y="126783"/>
                    <a:pt x="320263" y="124946"/>
                  </a:cubicBezTo>
                  <a:cubicBezTo>
                    <a:pt x="318467" y="123109"/>
                    <a:pt x="317586" y="120549"/>
                    <a:pt x="317619" y="117266"/>
                  </a:cubicBezTo>
                  <a:cubicBezTo>
                    <a:pt x="317634" y="115696"/>
                    <a:pt x="317695" y="114408"/>
                    <a:pt x="317800" y="113402"/>
                  </a:cubicBezTo>
                  <a:cubicBezTo>
                    <a:pt x="317906" y="112396"/>
                    <a:pt x="317966" y="111876"/>
                    <a:pt x="317981" y="111841"/>
                  </a:cubicBezTo>
                  <a:lnTo>
                    <a:pt x="317619" y="111841"/>
                  </a:lnTo>
                  <a:cubicBezTo>
                    <a:pt x="317665" y="112064"/>
                    <a:pt x="316769" y="113626"/>
                    <a:pt x="314931" y="116528"/>
                  </a:cubicBezTo>
                  <a:cubicBezTo>
                    <a:pt x="313092" y="119429"/>
                    <a:pt x="310037" y="122330"/>
                    <a:pt x="305764" y="125232"/>
                  </a:cubicBezTo>
                  <a:cubicBezTo>
                    <a:pt x="301491" y="128133"/>
                    <a:pt x="295726" y="129695"/>
                    <a:pt x="288468" y="129918"/>
                  </a:cubicBezTo>
                  <a:cubicBezTo>
                    <a:pt x="283126" y="129913"/>
                    <a:pt x="278104" y="128860"/>
                    <a:pt x="273402" y="126759"/>
                  </a:cubicBezTo>
                  <a:cubicBezTo>
                    <a:pt x="268701" y="124658"/>
                    <a:pt x="264874" y="121541"/>
                    <a:pt x="261922" y="117409"/>
                  </a:cubicBezTo>
                  <a:cubicBezTo>
                    <a:pt x="258970" y="113277"/>
                    <a:pt x="257448" y="108161"/>
                    <a:pt x="257356" y="102063"/>
                  </a:cubicBezTo>
                  <a:cubicBezTo>
                    <a:pt x="257523" y="94756"/>
                    <a:pt x="259676" y="88979"/>
                    <a:pt x="263816" y="84729"/>
                  </a:cubicBezTo>
                  <a:cubicBezTo>
                    <a:pt x="267955" y="80480"/>
                    <a:pt x="273077" y="77354"/>
                    <a:pt x="279182" y="75352"/>
                  </a:cubicBezTo>
                  <a:cubicBezTo>
                    <a:pt x="285286" y="73350"/>
                    <a:pt x="291370" y="72068"/>
                    <a:pt x="297434" y="71505"/>
                  </a:cubicBezTo>
                  <a:cubicBezTo>
                    <a:pt x="303497" y="70943"/>
                    <a:pt x="308536" y="70695"/>
                    <a:pt x="312551" y="70762"/>
                  </a:cubicBezTo>
                  <a:lnTo>
                    <a:pt x="316535" y="70762"/>
                  </a:lnTo>
                  <a:lnTo>
                    <a:pt x="316535" y="69856"/>
                  </a:lnTo>
                  <a:cubicBezTo>
                    <a:pt x="316584" y="61889"/>
                    <a:pt x="314992" y="56221"/>
                    <a:pt x="311758" y="52851"/>
                  </a:cubicBezTo>
                  <a:cubicBezTo>
                    <a:pt x="308525" y="49480"/>
                    <a:pt x="303357" y="47842"/>
                    <a:pt x="296253" y="47937"/>
                  </a:cubicBezTo>
                  <a:cubicBezTo>
                    <a:pt x="294699" y="47913"/>
                    <a:pt x="292756" y="48081"/>
                    <a:pt x="290424" y="48440"/>
                  </a:cubicBezTo>
                  <a:cubicBezTo>
                    <a:pt x="288092" y="48799"/>
                    <a:pt x="286002" y="49490"/>
                    <a:pt x="284153" y="50513"/>
                  </a:cubicBezTo>
                  <a:cubicBezTo>
                    <a:pt x="282304" y="51536"/>
                    <a:pt x="281327" y="53033"/>
                    <a:pt x="281222" y="55002"/>
                  </a:cubicBezTo>
                  <a:lnTo>
                    <a:pt x="281222" y="60255"/>
                  </a:lnTo>
                  <a:lnTo>
                    <a:pt x="264776" y="60255"/>
                  </a:lnTo>
                  <a:lnTo>
                    <a:pt x="264776" y="51198"/>
                  </a:lnTo>
                  <a:cubicBezTo>
                    <a:pt x="265002" y="46262"/>
                    <a:pt x="267081" y="42555"/>
                    <a:pt x="271012" y="40076"/>
                  </a:cubicBezTo>
                  <a:cubicBezTo>
                    <a:pt x="274942" y="37598"/>
                    <a:pt x="279366" y="35953"/>
                    <a:pt x="284282" y="35142"/>
                  </a:cubicBezTo>
                  <a:cubicBezTo>
                    <a:pt x="289199" y="34331"/>
                    <a:pt x="293249" y="33958"/>
                    <a:pt x="296434" y="34024"/>
                  </a:cubicBezTo>
                  <a:close/>
                  <a:moveTo>
                    <a:pt x="207883" y="34024"/>
                  </a:moveTo>
                  <a:cubicBezTo>
                    <a:pt x="216461" y="34114"/>
                    <a:pt x="223677" y="36064"/>
                    <a:pt x="229531" y="39872"/>
                  </a:cubicBezTo>
                  <a:cubicBezTo>
                    <a:pt x="235385" y="43679"/>
                    <a:pt x="239811" y="48805"/>
                    <a:pt x="242809" y="55248"/>
                  </a:cubicBezTo>
                  <a:cubicBezTo>
                    <a:pt x="245807" y="61691"/>
                    <a:pt x="247312" y="68910"/>
                    <a:pt x="247322" y="76905"/>
                  </a:cubicBezTo>
                  <a:cubicBezTo>
                    <a:pt x="247300" y="78234"/>
                    <a:pt x="247210" y="79732"/>
                    <a:pt x="247051" y="81399"/>
                  </a:cubicBezTo>
                  <a:cubicBezTo>
                    <a:pt x="246893" y="83067"/>
                    <a:pt x="246803" y="83977"/>
                    <a:pt x="246780" y="84132"/>
                  </a:cubicBezTo>
                  <a:lnTo>
                    <a:pt x="180000" y="84132"/>
                  </a:lnTo>
                  <a:cubicBezTo>
                    <a:pt x="180769" y="93964"/>
                    <a:pt x="184119" y="101511"/>
                    <a:pt x="190048" y="106770"/>
                  </a:cubicBezTo>
                  <a:cubicBezTo>
                    <a:pt x="195978" y="112030"/>
                    <a:pt x="203130" y="114686"/>
                    <a:pt x="211504" y="114739"/>
                  </a:cubicBezTo>
                  <a:cubicBezTo>
                    <a:pt x="216793" y="114607"/>
                    <a:pt x="221442" y="113684"/>
                    <a:pt x="225448" y="111969"/>
                  </a:cubicBezTo>
                  <a:cubicBezTo>
                    <a:pt x="229455" y="110254"/>
                    <a:pt x="232586" y="108539"/>
                    <a:pt x="234842" y="106824"/>
                  </a:cubicBezTo>
                  <a:cubicBezTo>
                    <a:pt x="237099" y="105109"/>
                    <a:pt x="238246" y="104186"/>
                    <a:pt x="238285" y="104054"/>
                  </a:cubicBezTo>
                  <a:lnTo>
                    <a:pt x="245876" y="116546"/>
                  </a:lnTo>
                  <a:cubicBezTo>
                    <a:pt x="245843" y="116711"/>
                    <a:pt x="244404" y="117867"/>
                    <a:pt x="241557" y="120013"/>
                  </a:cubicBezTo>
                  <a:cubicBezTo>
                    <a:pt x="238711" y="122159"/>
                    <a:pt x="234658" y="124305"/>
                    <a:pt x="229399" y="126452"/>
                  </a:cubicBezTo>
                  <a:cubicBezTo>
                    <a:pt x="224139" y="128598"/>
                    <a:pt x="217872" y="129753"/>
                    <a:pt x="210599" y="129918"/>
                  </a:cubicBezTo>
                  <a:cubicBezTo>
                    <a:pt x="195896" y="129618"/>
                    <a:pt x="184163" y="125021"/>
                    <a:pt x="175398" y="116126"/>
                  </a:cubicBezTo>
                  <a:cubicBezTo>
                    <a:pt x="166634" y="107232"/>
                    <a:pt x="162142" y="95845"/>
                    <a:pt x="161925" y="81964"/>
                  </a:cubicBezTo>
                  <a:cubicBezTo>
                    <a:pt x="162210" y="67219"/>
                    <a:pt x="166611" y="55587"/>
                    <a:pt x="175127" y="47068"/>
                  </a:cubicBezTo>
                  <a:cubicBezTo>
                    <a:pt x="183642" y="38549"/>
                    <a:pt x="194561" y="34201"/>
                    <a:pt x="207883" y="34024"/>
                  </a:cubicBezTo>
                  <a:close/>
                  <a:moveTo>
                    <a:pt x="49217" y="34024"/>
                  </a:moveTo>
                  <a:cubicBezTo>
                    <a:pt x="53101" y="33984"/>
                    <a:pt x="57582" y="34566"/>
                    <a:pt x="62662" y="35771"/>
                  </a:cubicBezTo>
                  <a:cubicBezTo>
                    <a:pt x="67741" y="36976"/>
                    <a:pt x="72207" y="39045"/>
                    <a:pt x="76059" y="41978"/>
                  </a:cubicBezTo>
                  <a:cubicBezTo>
                    <a:pt x="79911" y="44911"/>
                    <a:pt x="81938" y="48948"/>
                    <a:pt x="82140" y="54091"/>
                  </a:cubicBezTo>
                  <a:lnTo>
                    <a:pt x="82140" y="63505"/>
                  </a:lnTo>
                  <a:lnTo>
                    <a:pt x="66237" y="63505"/>
                  </a:lnTo>
                  <a:lnTo>
                    <a:pt x="66237" y="58436"/>
                  </a:lnTo>
                  <a:cubicBezTo>
                    <a:pt x="65946" y="55193"/>
                    <a:pt x="63947" y="52809"/>
                    <a:pt x="60239" y="51285"/>
                  </a:cubicBezTo>
                  <a:cubicBezTo>
                    <a:pt x="56531" y="49762"/>
                    <a:pt x="52857" y="49007"/>
                    <a:pt x="49217" y="49023"/>
                  </a:cubicBezTo>
                  <a:cubicBezTo>
                    <a:pt x="40070" y="49177"/>
                    <a:pt x="32609" y="52217"/>
                    <a:pt x="26834" y="58142"/>
                  </a:cubicBezTo>
                  <a:cubicBezTo>
                    <a:pt x="21059" y="64067"/>
                    <a:pt x="18079" y="71950"/>
                    <a:pt x="17894" y="81790"/>
                  </a:cubicBezTo>
                  <a:cubicBezTo>
                    <a:pt x="18173" y="92257"/>
                    <a:pt x="21417" y="100290"/>
                    <a:pt x="27626" y="105891"/>
                  </a:cubicBezTo>
                  <a:cubicBezTo>
                    <a:pt x="33835" y="111492"/>
                    <a:pt x="41334" y="114321"/>
                    <a:pt x="50123" y="114377"/>
                  </a:cubicBezTo>
                  <a:cubicBezTo>
                    <a:pt x="55888" y="114221"/>
                    <a:pt x="60890" y="113126"/>
                    <a:pt x="65130" y="111092"/>
                  </a:cubicBezTo>
                  <a:cubicBezTo>
                    <a:pt x="69370" y="109058"/>
                    <a:pt x="72655" y="107024"/>
                    <a:pt x="74984" y="104990"/>
                  </a:cubicBezTo>
                  <a:cubicBezTo>
                    <a:pt x="77313" y="102956"/>
                    <a:pt x="78493" y="101861"/>
                    <a:pt x="78526" y="101704"/>
                  </a:cubicBezTo>
                  <a:lnTo>
                    <a:pt x="86121" y="114196"/>
                  </a:lnTo>
                  <a:cubicBezTo>
                    <a:pt x="86110" y="114390"/>
                    <a:pt x="84686" y="115749"/>
                    <a:pt x="81848" y="118272"/>
                  </a:cubicBezTo>
                  <a:cubicBezTo>
                    <a:pt x="79011" y="120796"/>
                    <a:pt x="74826" y="123319"/>
                    <a:pt x="69294" y="125842"/>
                  </a:cubicBezTo>
                  <a:cubicBezTo>
                    <a:pt x="63762" y="128366"/>
                    <a:pt x="56949" y="129724"/>
                    <a:pt x="48855" y="129918"/>
                  </a:cubicBezTo>
                  <a:cubicBezTo>
                    <a:pt x="34225" y="129640"/>
                    <a:pt x="22483" y="125089"/>
                    <a:pt x="13632" y="116264"/>
                  </a:cubicBezTo>
                  <a:cubicBezTo>
                    <a:pt x="4780" y="107439"/>
                    <a:pt x="236" y="96008"/>
                    <a:pt x="0" y="81971"/>
                  </a:cubicBezTo>
                  <a:cubicBezTo>
                    <a:pt x="61" y="72887"/>
                    <a:pt x="2128" y="64747"/>
                    <a:pt x="6202" y="57552"/>
                  </a:cubicBezTo>
                  <a:cubicBezTo>
                    <a:pt x="10275" y="50356"/>
                    <a:pt x="15988" y="44659"/>
                    <a:pt x="23340" y="40461"/>
                  </a:cubicBezTo>
                  <a:cubicBezTo>
                    <a:pt x="30693" y="36262"/>
                    <a:pt x="39319" y="34117"/>
                    <a:pt x="49217" y="34024"/>
                  </a:cubicBezTo>
                  <a:close/>
                  <a:moveTo>
                    <a:pt x="362378" y="11040"/>
                  </a:moveTo>
                  <a:lnTo>
                    <a:pt x="379549" y="11040"/>
                  </a:lnTo>
                  <a:lnTo>
                    <a:pt x="379549" y="36196"/>
                  </a:lnTo>
                  <a:lnTo>
                    <a:pt x="401447" y="36196"/>
                  </a:lnTo>
                  <a:lnTo>
                    <a:pt x="401447" y="50289"/>
                  </a:lnTo>
                  <a:lnTo>
                    <a:pt x="379549" y="50289"/>
                  </a:lnTo>
                  <a:lnTo>
                    <a:pt x="379549" y="92291"/>
                  </a:lnTo>
                  <a:cubicBezTo>
                    <a:pt x="379664" y="98302"/>
                    <a:pt x="380841" y="102794"/>
                    <a:pt x="383081" y="105768"/>
                  </a:cubicBezTo>
                  <a:cubicBezTo>
                    <a:pt x="385321" y="108742"/>
                    <a:pt x="387933" y="110700"/>
                    <a:pt x="390916" y="111642"/>
                  </a:cubicBezTo>
                  <a:cubicBezTo>
                    <a:pt x="393900" y="112584"/>
                    <a:pt x="396566" y="113013"/>
                    <a:pt x="398913" y="112929"/>
                  </a:cubicBezTo>
                  <a:cubicBezTo>
                    <a:pt x="400195" y="112914"/>
                    <a:pt x="401205" y="112854"/>
                    <a:pt x="401944" y="112748"/>
                  </a:cubicBezTo>
                  <a:cubicBezTo>
                    <a:pt x="402683" y="112643"/>
                    <a:pt x="403060" y="112582"/>
                    <a:pt x="403075" y="112567"/>
                  </a:cubicBezTo>
                  <a:lnTo>
                    <a:pt x="403075" y="128109"/>
                  </a:lnTo>
                  <a:cubicBezTo>
                    <a:pt x="403056" y="128124"/>
                    <a:pt x="402506" y="128184"/>
                    <a:pt x="401424" y="128290"/>
                  </a:cubicBezTo>
                  <a:cubicBezTo>
                    <a:pt x="400342" y="128395"/>
                    <a:pt x="398841" y="128456"/>
                    <a:pt x="396922" y="128471"/>
                  </a:cubicBezTo>
                  <a:cubicBezTo>
                    <a:pt x="392845" y="128615"/>
                    <a:pt x="388112" y="127925"/>
                    <a:pt x="382725" y="126401"/>
                  </a:cubicBezTo>
                  <a:cubicBezTo>
                    <a:pt x="377337" y="124877"/>
                    <a:pt x="372593" y="121655"/>
                    <a:pt x="368492" y="116734"/>
                  </a:cubicBezTo>
                  <a:cubicBezTo>
                    <a:pt x="364392" y="111813"/>
                    <a:pt x="362233" y="104329"/>
                    <a:pt x="362017" y="94282"/>
                  </a:cubicBezTo>
                  <a:lnTo>
                    <a:pt x="362017" y="50289"/>
                  </a:lnTo>
                  <a:lnTo>
                    <a:pt x="350072" y="50289"/>
                  </a:lnTo>
                  <a:lnTo>
                    <a:pt x="350072" y="36196"/>
                  </a:lnTo>
                  <a:lnTo>
                    <a:pt x="362378" y="36196"/>
                  </a:lnTo>
                  <a:close/>
                  <a:moveTo>
                    <a:pt x="1560111" y="1"/>
                  </a:moveTo>
                  <a:lnTo>
                    <a:pt x="1577482" y="1"/>
                  </a:lnTo>
                  <a:cubicBezTo>
                    <a:pt x="1581522" y="-25"/>
                    <a:pt x="1584467" y="886"/>
                    <a:pt x="1586316" y="2734"/>
                  </a:cubicBezTo>
                  <a:cubicBezTo>
                    <a:pt x="1588164" y="4583"/>
                    <a:pt x="1589076" y="7527"/>
                    <a:pt x="1589049" y="11566"/>
                  </a:cubicBezTo>
                  <a:lnTo>
                    <a:pt x="1589049" y="108766"/>
                  </a:lnTo>
                  <a:cubicBezTo>
                    <a:pt x="1589057" y="110120"/>
                    <a:pt x="1589404" y="111123"/>
                    <a:pt x="1590090" y="111775"/>
                  </a:cubicBezTo>
                  <a:cubicBezTo>
                    <a:pt x="1590776" y="112428"/>
                    <a:pt x="1591756" y="112752"/>
                    <a:pt x="1593031" y="112748"/>
                  </a:cubicBezTo>
                  <a:lnTo>
                    <a:pt x="1600451" y="112748"/>
                  </a:lnTo>
                  <a:lnTo>
                    <a:pt x="1600451" y="127747"/>
                  </a:lnTo>
                  <a:lnTo>
                    <a:pt x="1583627" y="127747"/>
                  </a:lnTo>
                  <a:cubicBezTo>
                    <a:pt x="1579681" y="127724"/>
                    <a:pt x="1576819" y="126866"/>
                    <a:pt x="1575042" y="125172"/>
                  </a:cubicBezTo>
                  <a:cubicBezTo>
                    <a:pt x="1573264" y="123478"/>
                    <a:pt x="1572391" y="121083"/>
                    <a:pt x="1572421" y="117989"/>
                  </a:cubicBezTo>
                  <a:cubicBezTo>
                    <a:pt x="1572428" y="116607"/>
                    <a:pt x="1572459" y="115485"/>
                    <a:pt x="1572511" y="114623"/>
                  </a:cubicBezTo>
                  <a:cubicBezTo>
                    <a:pt x="1572564" y="113761"/>
                    <a:pt x="1572594" y="113317"/>
                    <a:pt x="1572602" y="113291"/>
                  </a:cubicBezTo>
                  <a:lnTo>
                    <a:pt x="1572240" y="113291"/>
                  </a:lnTo>
                  <a:cubicBezTo>
                    <a:pt x="1572285" y="113496"/>
                    <a:pt x="1571351" y="114933"/>
                    <a:pt x="1569438" y="117602"/>
                  </a:cubicBezTo>
                  <a:cubicBezTo>
                    <a:pt x="1567524" y="120270"/>
                    <a:pt x="1564364" y="122939"/>
                    <a:pt x="1559956" y="125608"/>
                  </a:cubicBezTo>
                  <a:cubicBezTo>
                    <a:pt x="1555549" y="128276"/>
                    <a:pt x="1549626" y="129713"/>
                    <a:pt x="1542187" y="129918"/>
                  </a:cubicBezTo>
                  <a:cubicBezTo>
                    <a:pt x="1529655" y="129697"/>
                    <a:pt x="1519831" y="125259"/>
                    <a:pt x="1512714" y="116603"/>
                  </a:cubicBezTo>
                  <a:cubicBezTo>
                    <a:pt x="1505597" y="107948"/>
                    <a:pt x="1501973" y="96404"/>
                    <a:pt x="1501842" y="81971"/>
                  </a:cubicBezTo>
                  <a:cubicBezTo>
                    <a:pt x="1502052" y="67221"/>
                    <a:pt x="1505925" y="55587"/>
                    <a:pt x="1513460" y="47068"/>
                  </a:cubicBezTo>
                  <a:cubicBezTo>
                    <a:pt x="1520995" y="38548"/>
                    <a:pt x="1530933" y="34200"/>
                    <a:pt x="1543273" y="34024"/>
                  </a:cubicBezTo>
                  <a:cubicBezTo>
                    <a:pt x="1550290" y="34198"/>
                    <a:pt x="1555870" y="35416"/>
                    <a:pt x="1560010" y="37679"/>
                  </a:cubicBezTo>
                  <a:cubicBezTo>
                    <a:pt x="1564151" y="39941"/>
                    <a:pt x="1567115" y="42203"/>
                    <a:pt x="1568902" y="44465"/>
                  </a:cubicBezTo>
                  <a:cubicBezTo>
                    <a:pt x="1570689" y="46727"/>
                    <a:pt x="1571561" y="47945"/>
                    <a:pt x="1571517" y="48119"/>
                  </a:cubicBezTo>
                  <a:lnTo>
                    <a:pt x="1571879" y="48119"/>
                  </a:lnTo>
                  <a:cubicBezTo>
                    <a:pt x="1571864" y="48078"/>
                    <a:pt x="1571803" y="47483"/>
                    <a:pt x="1571698" y="46335"/>
                  </a:cubicBezTo>
                  <a:cubicBezTo>
                    <a:pt x="1571593" y="45187"/>
                    <a:pt x="1571532" y="43733"/>
                    <a:pt x="1571517" y="41975"/>
                  </a:cubicBezTo>
                  <a:lnTo>
                    <a:pt x="1571517" y="18985"/>
                  </a:lnTo>
                  <a:cubicBezTo>
                    <a:pt x="1571510" y="17630"/>
                    <a:pt x="1571163" y="16626"/>
                    <a:pt x="1570476" y="15973"/>
                  </a:cubicBezTo>
                  <a:cubicBezTo>
                    <a:pt x="1569790" y="15320"/>
                    <a:pt x="1568809" y="14996"/>
                    <a:pt x="1567534" y="14999"/>
                  </a:cubicBezTo>
                  <a:lnTo>
                    <a:pt x="1560111" y="14999"/>
                  </a:lnTo>
                  <a:close/>
                  <a:moveTo>
                    <a:pt x="1464171" y="1"/>
                  </a:moveTo>
                  <a:lnTo>
                    <a:pt x="1479893" y="1"/>
                  </a:lnTo>
                  <a:lnTo>
                    <a:pt x="1479893" y="18257"/>
                  </a:lnTo>
                  <a:lnTo>
                    <a:pt x="1464171" y="18257"/>
                  </a:lnTo>
                  <a:close/>
                  <a:moveTo>
                    <a:pt x="1403515" y="1"/>
                  </a:moveTo>
                  <a:lnTo>
                    <a:pt x="1420881" y="1"/>
                  </a:lnTo>
                  <a:cubicBezTo>
                    <a:pt x="1424922" y="-25"/>
                    <a:pt x="1427866" y="886"/>
                    <a:pt x="1429715" y="2734"/>
                  </a:cubicBezTo>
                  <a:cubicBezTo>
                    <a:pt x="1431564" y="4583"/>
                    <a:pt x="1432475" y="7527"/>
                    <a:pt x="1432449" y="11566"/>
                  </a:cubicBezTo>
                  <a:lnTo>
                    <a:pt x="1432449" y="108766"/>
                  </a:lnTo>
                  <a:cubicBezTo>
                    <a:pt x="1432456" y="110120"/>
                    <a:pt x="1432803" y="111123"/>
                    <a:pt x="1433489" y="111775"/>
                  </a:cubicBezTo>
                  <a:cubicBezTo>
                    <a:pt x="1434176" y="112428"/>
                    <a:pt x="1435156" y="112752"/>
                    <a:pt x="1436430" y="112748"/>
                  </a:cubicBezTo>
                  <a:lnTo>
                    <a:pt x="1443850" y="112748"/>
                  </a:lnTo>
                  <a:lnTo>
                    <a:pt x="1443850" y="127747"/>
                  </a:lnTo>
                  <a:lnTo>
                    <a:pt x="1426484" y="127747"/>
                  </a:lnTo>
                  <a:cubicBezTo>
                    <a:pt x="1422444" y="127773"/>
                    <a:pt x="1419499" y="126862"/>
                    <a:pt x="1417650" y="125014"/>
                  </a:cubicBezTo>
                  <a:cubicBezTo>
                    <a:pt x="1415802" y="123165"/>
                    <a:pt x="1414890" y="120221"/>
                    <a:pt x="1414917" y="116182"/>
                  </a:cubicBezTo>
                  <a:lnTo>
                    <a:pt x="1414917" y="18982"/>
                  </a:lnTo>
                  <a:cubicBezTo>
                    <a:pt x="1414909" y="17628"/>
                    <a:pt x="1414562" y="16625"/>
                    <a:pt x="1413876" y="15972"/>
                  </a:cubicBezTo>
                  <a:cubicBezTo>
                    <a:pt x="1413190" y="15320"/>
                    <a:pt x="1412210" y="14996"/>
                    <a:pt x="1410935" y="14999"/>
                  </a:cubicBezTo>
                  <a:lnTo>
                    <a:pt x="1403515" y="14999"/>
                  </a:lnTo>
                  <a:close/>
                  <a:moveTo>
                    <a:pt x="429234" y="1"/>
                  </a:moveTo>
                  <a:lnTo>
                    <a:pt x="444957" y="1"/>
                  </a:lnTo>
                  <a:lnTo>
                    <a:pt x="444957" y="18257"/>
                  </a:lnTo>
                  <a:lnTo>
                    <a:pt x="429234" y="18257"/>
                  </a:lnTo>
                  <a:close/>
                </a:path>
              </a:pathLst>
            </a:custGeom>
            <a:solidFill>
              <a:schemeClr val="tx1">
                <a:lumMod val="50000"/>
                <a:lumOff val="50000"/>
              </a:schemeClr>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400" b="0" i="0" u="none" strike="noStrike" kern="1200" cap="none" spc="0" normalizeH="0" baseline="0" noProof="0">
                <a:ln>
                  <a:noFill/>
                </a:ln>
                <a:solidFill>
                  <a:srgbClr val="000000">
                    <a:lumMod val="50000"/>
                    <a:lumOff val="50000"/>
                  </a:srgbClr>
                </a:solidFill>
                <a:effectLst/>
                <a:uLnTx/>
                <a:uFillTx/>
                <a:latin typeface="等线" panose="020F0502020204030204"/>
                <a:ea typeface="+mn-ea"/>
                <a:cs typeface="+mn-cs"/>
              </a:endParaRPr>
            </a:p>
          </p:txBody>
        </p:sp>
        <p:sp>
          <p:nvSpPr>
            <p:cNvPr id="7" name="TextBox 5">
              <a:extLst>
                <a:ext uri="{FF2B5EF4-FFF2-40B4-BE49-F238E27FC236}">
                  <a16:creationId xmlns:a16="http://schemas.microsoft.com/office/drawing/2014/main" id="{FB27C595-33CC-484D-B5D6-96EEB5747720}"/>
                </a:ext>
              </a:extLst>
            </p:cNvPr>
            <p:cNvSpPr txBox="1"/>
            <p:nvPr/>
          </p:nvSpPr>
          <p:spPr>
            <a:xfrm>
              <a:off x="10868391" y="150964"/>
              <a:ext cx="669776" cy="152902"/>
            </a:xfrm>
            <a:custGeom>
              <a:avLst/>
              <a:gdLst/>
              <a:ahLst/>
              <a:cxnLst/>
              <a:rect l="l" t="t" r="r" b="b"/>
              <a:pathLst>
                <a:path w="669776" h="152902">
                  <a:moveTo>
                    <a:pt x="566641" y="38345"/>
                  </a:moveTo>
                  <a:cubicBezTo>
                    <a:pt x="559599" y="38258"/>
                    <a:pt x="553496" y="40830"/>
                    <a:pt x="548332" y="46061"/>
                  </a:cubicBezTo>
                  <a:cubicBezTo>
                    <a:pt x="543169" y="51292"/>
                    <a:pt x="540461" y="59703"/>
                    <a:pt x="540208" y="71293"/>
                  </a:cubicBezTo>
                  <a:cubicBezTo>
                    <a:pt x="540213" y="76825"/>
                    <a:pt x="541189" y="82055"/>
                    <a:pt x="543138" y="86983"/>
                  </a:cubicBezTo>
                  <a:cubicBezTo>
                    <a:pt x="545087" y="91911"/>
                    <a:pt x="547982" y="95935"/>
                    <a:pt x="551822" y="99052"/>
                  </a:cubicBezTo>
                  <a:cubicBezTo>
                    <a:pt x="555662" y="102170"/>
                    <a:pt x="560420" y="103780"/>
                    <a:pt x="566098" y="103880"/>
                  </a:cubicBezTo>
                  <a:cubicBezTo>
                    <a:pt x="573536" y="103816"/>
                    <a:pt x="579752" y="100957"/>
                    <a:pt x="584746" y="95303"/>
                  </a:cubicBezTo>
                  <a:cubicBezTo>
                    <a:pt x="589740" y="89650"/>
                    <a:pt x="592335" y="81586"/>
                    <a:pt x="592532" y="71112"/>
                  </a:cubicBezTo>
                  <a:cubicBezTo>
                    <a:pt x="592403" y="61034"/>
                    <a:pt x="589989" y="53084"/>
                    <a:pt x="585290" y="47260"/>
                  </a:cubicBezTo>
                  <a:cubicBezTo>
                    <a:pt x="580590" y="41437"/>
                    <a:pt x="574374" y="38465"/>
                    <a:pt x="566641" y="38345"/>
                  </a:cubicBezTo>
                  <a:close/>
                  <a:moveTo>
                    <a:pt x="144464" y="38164"/>
                  </a:moveTo>
                  <a:cubicBezTo>
                    <a:pt x="135635" y="38333"/>
                    <a:pt x="128265" y="41388"/>
                    <a:pt x="122355" y="47328"/>
                  </a:cubicBezTo>
                  <a:cubicBezTo>
                    <a:pt x="116445" y="53269"/>
                    <a:pt x="113374" y="61076"/>
                    <a:pt x="113144" y="70750"/>
                  </a:cubicBezTo>
                  <a:cubicBezTo>
                    <a:pt x="113374" y="80519"/>
                    <a:pt x="116445" y="88409"/>
                    <a:pt x="122355" y="94421"/>
                  </a:cubicBezTo>
                  <a:cubicBezTo>
                    <a:pt x="128265" y="100433"/>
                    <a:pt x="135635" y="103526"/>
                    <a:pt x="144464" y="103699"/>
                  </a:cubicBezTo>
                  <a:cubicBezTo>
                    <a:pt x="153381" y="103526"/>
                    <a:pt x="160803" y="100433"/>
                    <a:pt x="166732" y="94421"/>
                  </a:cubicBezTo>
                  <a:cubicBezTo>
                    <a:pt x="172661" y="88409"/>
                    <a:pt x="175739" y="80519"/>
                    <a:pt x="175965" y="70750"/>
                  </a:cubicBezTo>
                  <a:cubicBezTo>
                    <a:pt x="175739" y="61076"/>
                    <a:pt x="172661" y="53269"/>
                    <a:pt x="166732" y="47328"/>
                  </a:cubicBezTo>
                  <a:cubicBezTo>
                    <a:pt x="160803" y="41388"/>
                    <a:pt x="153381" y="38333"/>
                    <a:pt x="144464" y="38164"/>
                  </a:cubicBezTo>
                  <a:close/>
                  <a:moveTo>
                    <a:pt x="464877" y="36897"/>
                  </a:moveTo>
                  <a:cubicBezTo>
                    <a:pt x="458061" y="36919"/>
                    <a:pt x="452229" y="38912"/>
                    <a:pt x="447382" y="42875"/>
                  </a:cubicBezTo>
                  <a:cubicBezTo>
                    <a:pt x="442535" y="46837"/>
                    <a:pt x="439374" y="52634"/>
                    <a:pt x="437899" y="60265"/>
                  </a:cubicBezTo>
                  <a:lnTo>
                    <a:pt x="486423" y="60265"/>
                  </a:lnTo>
                  <a:cubicBezTo>
                    <a:pt x="486001" y="52634"/>
                    <a:pt x="483768" y="46837"/>
                    <a:pt x="479724" y="42875"/>
                  </a:cubicBezTo>
                  <a:cubicBezTo>
                    <a:pt x="475680" y="38912"/>
                    <a:pt x="470731" y="36919"/>
                    <a:pt x="464877" y="36897"/>
                  </a:cubicBezTo>
                  <a:close/>
                  <a:moveTo>
                    <a:pt x="570081" y="22984"/>
                  </a:moveTo>
                  <a:cubicBezTo>
                    <a:pt x="582533" y="23206"/>
                    <a:pt x="592335" y="27644"/>
                    <a:pt x="599486" y="36299"/>
                  </a:cubicBezTo>
                  <a:cubicBezTo>
                    <a:pt x="606637" y="44954"/>
                    <a:pt x="610283" y="56498"/>
                    <a:pt x="610426" y="70931"/>
                  </a:cubicBezTo>
                  <a:cubicBezTo>
                    <a:pt x="610185" y="85681"/>
                    <a:pt x="606237" y="97315"/>
                    <a:pt x="598582" y="105835"/>
                  </a:cubicBezTo>
                  <a:cubicBezTo>
                    <a:pt x="590926" y="114354"/>
                    <a:pt x="581003" y="118702"/>
                    <a:pt x="568814" y="118878"/>
                  </a:cubicBezTo>
                  <a:cubicBezTo>
                    <a:pt x="562083" y="118698"/>
                    <a:pt x="556654" y="117433"/>
                    <a:pt x="552525" y="115084"/>
                  </a:cubicBezTo>
                  <a:cubicBezTo>
                    <a:pt x="548397" y="112735"/>
                    <a:pt x="545395" y="110385"/>
                    <a:pt x="543520" y="108036"/>
                  </a:cubicBezTo>
                  <a:cubicBezTo>
                    <a:pt x="541644" y="105687"/>
                    <a:pt x="540721" y="104422"/>
                    <a:pt x="540750" y="104242"/>
                  </a:cubicBezTo>
                  <a:lnTo>
                    <a:pt x="540389" y="104242"/>
                  </a:lnTo>
                  <a:cubicBezTo>
                    <a:pt x="540404" y="104279"/>
                    <a:pt x="540464" y="105017"/>
                    <a:pt x="540569" y="106455"/>
                  </a:cubicBezTo>
                  <a:cubicBezTo>
                    <a:pt x="540675" y="107893"/>
                    <a:pt x="540735" y="109806"/>
                    <a:pt x="540750" y="112192"/>
                  </a:cubicBezTo>
                  <a:lnTo>
                    <a:pt x="540750" y="152902"/>
                  </a:lnTo>
                  <a:lnTo>
                    <a:pt x="523218" y="152902"/>
                  </a:lnTo>
                  <a:lnTo>
                    <a:pt x="523218" y="44137"/>
                  </a:lnTo>
                  <a:cubicBezTo>
                    <a:pt x="523211" y="42783"/>
                    <a:pt x="522864" y="41780"/>
                    <a:pt x="522178" y="41127"/>
                  </a:cubicBezTo>
                  <a:cubicBezTo>
                    <a:pt x="521491" y="40475"/>
                    <a:pt x="520511" y="40151"/>
                    <a:pt x="519237" y="40154"/>
                  </a:cubicBezTo>
                  <a:lnTo>
                    <a:pt x="511817" y="40154"/>
                  </a:lnTo>
                  <a:lnTo>
                    <a:pt x="511817" y="25156"/>
                  </a:lnTo>
                  <a:lnTo>
                    <a:pt x="528279" y="25156"/>
                  </a:lnTo>
                  <a:cubicBezTo>
                    <a:pt x="532304" y="25179"/>
                    <a:pt x="535189" y="25992"/>
                    <a:pt x="536932" y="27595"/>
                  </a:cubicBezTo>
                  <a:cubicBezTo>
                    <a:pt x="538675" y="29199"/>
                    <a:pt x="539526" y="31458"/>
                    <a:pt x="539485" y="34372"/>
                  </a:cubicBezTo>
                  <a:cubicBezTo>
                    <a:pt x="539478" y="35761"/>
                    <a:pt x="539447" y="36913"/>
                    <a:pt x="539395" y="37828"/>
                  </a:cubicBezTo>
                  <a:cubicBezTo>
                    <a:pt x="539342" y="38742"/>
                    <a:pt x="539312" y="39216"/>
                    <a:pt x="539304" y="39249"/>
                  </a:cubicBezTo>
                  <a:lnTo>
                    <a:pt x="539666" y="39249"/>
                  </a:lnTo>
                  <a:cubicBezTo>
                    <a:pt x="539619" y="39049"/>
                    <a:pt x="540557" y="37643"/>
                    <a:pt x="542482" y="35032"/>
                  </a:cubicBezTo>
                  <a:cubicBezTo>
                    <a:pt x="544406" y="32422"/>
                    <a:pt x="547598" y="29812"/>
                    <a:pt x="552057" y="27201"/>
                  </a:cubicBezTo>
                  <a:cubicBezTo>
                    <a:pt x="556515" y="24591"/>
                    <a:pt x="562524" y="23185"/>
                    <a:pt x="570081" y="22984"/>
                  </a:cubicBezTo>
                  <a:close/>
                  <a:moveTo>
                    <a:pt x="465058" y="22984"/>
                  </a:moveTo>
                  <a:cubicBezTo>
                    <a:pt x="473637" y="23074"/>
                    <a:pt x="480853" y="25024"/>
                    <a:pt x="486707" y="28832"/>
                  </a:cubicBezTo>
                  <a:cubicBezTo>
                    <a:pt x="492561" y="32639"/>
                    <a:pt x="496987" y="37765"/>
                    <a:pt x="499985" y="44208"/>
                  </a:cubicBezTo>
                  <a:cubicBezTo>
                    <a:pt x="502983" y="50651"/>
                    <a:pt x="504487" y="57870"/>
                    <a:pt x="504498" y="65865"/>
                  </a:cubicBezTo>
                  <a:cubicBezTo>
                    <a:pt x="504475" y="67194"/>
                    <a:pt x="504385" y="68692"/>
                    <a:pt x="504227" y="70359"/>
                  </a:cubicBezTo>
                  <a:cubicBezTo>
                    <a:pt x="504069" y="72027"/>
                    <a:pt x="503978" y="72937"/>
                    <a:pt x="503956" y="73092"/>
                  </a:cubicBezTo>
                  <a:lnTo>
                    <a:pt x="437175" y="73092"/>
                  </a:lnTo>
                  <a:cubicBezTo>
                    <a:pt x="437945" y="82924"/>
                    <a:pt x="441294" y="90471"/>
                    <a:pt x="447224" y="95730"/>
                  </a:cubicBezTo>
                  <a:cubicBezTo>
                    <a:pt x="453154" y="100990"/>
                    <a:pt x="460305" y="103646"/>
                    <a:pt x="468679" y="103699"/>
                  </a:cubicBezTo>
                  <a:cubicBezTo>
                    <a:pt x="473969" y="103567"/>
                    <a:pt x="478617" y="102644"/>
                    <a:pt x="482623" y="100929"/>
                  </a:cubicBezTo>
                  <a:cubicBezTo>
                    <a:pt x="486630" y="99214"/>
                    <a:pt x="489761" y="97499"/>
                    <a:pt x="492018" y="95784"/>
                  </a:cubicBezTo>
                  <a:cubicBezTo>
                    <a:pt x="494274" y="94069"/>
                    <a:pt x="495422" y="93146"/>
                    <a:pt x="495461" y="93014"/>
                  </a:cubicBezTo>
                  <a:lnTo>
                    <a:pt x="503052" y="105506"/>
                  </a:lnTo>
                  <a:cubicBezTo>
                    <a:pt x="503019" y="105671"/>
                    <a:pt x="501579" y="106827"/>
                    <a:pt x="498733" y="108973"/>
                  </a:cubicBezTo>
                  <a:cubicBezTo>
                    <a:pt x="495887" y="111119"/>
                    <a:pt x="491834" y="113265"/>
                    <a:pt x="486574" y="115412"/>
                  </a:cubicBezTo>
                  <a:cubicBezTo>
                    <a:pt x="481315" y="117558"/>
                    <a:pt x="475048" y="118713"/>
                    <a:pt x="467774" y="118878"/>
                  </a:cubicBezTo>
                  <a:cubicBezTo>
                    <a:pt x="453072" y="118578"/>
                    <a:pt x="441339" y="113981"/>
                    <a:pt x="432574" y="105086"/>
                  </a:cubicBezTo>
                  <a:cubicBezTo>
                    <a:pt x="423809" y="96192"/>
                    <a:pt x="419318" y="84805"/>
                    <a:pt x="419100" y="70924"/>
                  </a:cubicBezTo>
                  <a:cubicBezTo>
                    <a:pt x="419386" y="56179"/>
                    <a:pt x="423786" y="44547"/>
                    <a:pt x="432302" y="36028"/>
                  </a:cubicBezTo>
                  <a:cubicBezTo>
                    <a:pt x="440818" y="27509"/>
                    <a:pt x="451737" y="23161"/>
                    <a:pt x="465058" y="22984"/>
                  </a:cubicBezTo>
                  <a:close/>
                  <a:moveTo>
                    <a:pt x="373068" y="22984"/>
                  </a:moveTo>
                  <a:cubicBezTo>
                    <a:pt x="376951" y="22944"/>
                    <a:pt x="381433" y="23526"/>
                    <a:pt x="386512" y="24731"/>
                  </a:cubicBezTo>
                  <a:cubicBezTo>
                    <a:pt x="391591" y="25936"/>
                    <a:pt x="396057" y="28005"/>
                    <a:pt x="399909" y="30938"/>
                  </a:cubicBezTo>
                  <a:cubicBezTo>
                    <a:pt x="403761" y="33871"/>
                    <a:pt x="405789" y="37908"/>
                    <a:pt x="405990" y="43051"/>
                  </a:cubicBezTo>
                  <a:lnTo>
                    <a:pt x="405990" y="52465"/>
                  </a:lnTo>
                  <a:lnTo>
                    <a:pt x="390087" y="52465"/>
                  </a:lnTo>
                  <a:lnTo>
                    <a:pt x="390087" y="47396"/>
                  </a:lnTo>
                  <a:cubicBezTo>
                    <a:pt x="389797" y="44153"/>
                    <a:pt x="387798" y="41769"/>
                    <a:pt x="384090" y="40245"/>
                  </a:cubicBezTo>
                  <a:cubicBezTo>
                    <a:pt x="380382" y="38722"/>
                    <a:pt x="376708" y="37967"/>
                    <a:pt x="373068" y="37983"/>
                  </a:cubicBezTo>
                  <a:cubicBezTo>
                    <a:pt x="363920" y="38137"/>
                    <a:pt x="356459" y="41177"/>
                    <a:pt x="350684" y="47102"/>
                  </a:cubicBezTo>
                  <a:cubicBezTo>
                    <a:pt x="344909" y="53027"/>
                    <a:pt x="341929" y="60910"/>
                    <a:pt x="341744" y="70750"/>
                  </a:cubicBezTo>
                  <a:cubicBezTo>
                    <a:pt x="342023" y="81217"/>
                    <a:pt x="345267" y="89250"/>
                    <a:pt x="351476" y="94851"/>
                  </a:cubicBezTo>
                  <a:cubicBezTo>
                    <a:pt x="357685" y="100452"/>
                    <a:pt x="365184" y="103281"/>
                    <a:pt x="373973" y="103337"/>
                  </a:cubicBezTo>
                  <a:cubicBezTo>
                    <a:pt x="379738" y="103181"/>
                    <a:pt x="384741" y="102086"/>
                    <a:pt x="388981" y="100052"/>
                  </a:cubicBezTo>
                  <a:cubicBezTo>
                    <a:pt x="393221" y="98018"/>
                    <a:pt x="396505" y="95984"/>
                    <a:pt x="398834" y="93950"/>
                  </a:cubicBezTo>
                  <a:cubicBezTo>
                    <a:pt x="401163" y="91916"/>
                    <a:pt x="402344" y="90821"/>
                    <a:pt x="402376" y="90664"/>
                  </a:cubicBezTo>
                  <a:lnTo>
                    <a:pt x="409972" y="103156"/>
                  </a:lnTo>
                  <a:cubicBezTo>
                    <a:pt x="409961" y="103350"/>
                    <a:pt x="408537" y="104709"/>
                    <a:pt x="405699" y="107232"/>
                  </a:cubicBezTo>
                  <a:cubicBezTo>
                    <a:pt x="402861" y="109756"/>
                    <a:pt x="398676" y="112279"/>
                    <a:pt x="393145" y="114802"/>
                  </a:cubicBezTo>
                  <a:cubicBezTo>
                    <a:pt x="387613" y="117326"/>
                    <a:pt x="380800" y="118684"/>
                    <a:pt x="372706" y="118878"/>
                  </a:cubicBezTo>
                  <a:cubicBezTo>
                    <a:pt x="358075" y="118600"/>
                    <a:pt x="346334" y="114049"/>
                    <a:pt x="337482" y="105224"/>
                  </a:cubicBezTo>
                  <a:cubicBezTo>
                    <a:pt x="328631" y="96399"/>
                    <a:pt x="324087" y="84968"/>
                    <a:pt x="323850" y="70931"/>
                  </a:cubicBezTo>
                  <a:cubicBezTo>
                    <a:pt x="323911" y="61847"/>
                    <a:pt x="325979" y="53707"/>
                    <a:pt x="330052" y="46512"/>
                  </a:cubicBezTo>
                  <a:cubicBezTo>
                    <a:pt x="334125" y="39316"/>
                    <a:pt x="339838" y="33619"/>
                    <a:pt x="347191" y="29421"/>
                  </a:cubicBezTo>
                  <a:cubicBezTo>
                    <a:pt x="354543" y="25222"/>
                    <a:pt x="363169" y="23077"/>
                    <a:pt x="373068" y="22984"/>
                  </a:cubicBezTo>
                  <a:close/>
                  <a:moveTo>
                    <a:pt x="269808" y="22984"/>
                  </a:moveTo>
                  <a:cubicBezTo>
                    <a:pt x="280620" y="22987"/>
                    <a:pt x="288579" y="25918"/>
                    <a:pt x="293688" y="31776"/>
                  </a:cubicBezTo>
                  <a:cubicBezTo>
                    <a:pt x="298796" y="37634"/>
                    <a:pt x="301328" y="46401"/>
                    <a:pt x="301282" y="58077"/>
                  </a:cubicBezTo>
                  <a:lnTo>
                    <a:pt x="301282" y="97725"/>
                  </a:lnTo>
                  <a:cubicBezTo>
                    <a:pt x="301290" y="99080"/>
                    <a:pt x="301637" y="100083"/>
                    <a:pt x="302323" y="100735"/>
                  </a:cubicBezTo>
                  <a:cubicBezTo>
                    <a:pt x="303009" y="101388"/>
                    <a:pt x="303989" y="101712"/>
                    <a:pt x="305264" y="101708"/>
                  </a:cubicBezTo>
                  <a:lnTo>
                    <a:pt x="312684" y="101708"/>
                  </a:lnTo>
                  <a:lnTo>
                    <a:pt x="312684" y="116707"/>
                  </a:lnTo>
                  <a:lnTo>
                    <a:pt x="295318" y="116707"/>
                  </a:lnTo>
                  <a:cubicBezTo>
                    <a:pt x="291277" y="116733"/>
                    <a:pt x="288333" y="115822"/>
                    <a:pt x="286484" y="113974"/>
                  </a:cubicBezTo>
                  <a:cubicBezTo>
                    <a:pt x="284635" y="112125"/>
                    <a:pt x="283724" y="109181"/>
                    <a:pt x="283750" y="105142"/>
                  </a:cubicBezTo>
                  <a:lnTo>
                    <a:pt x="283750" y="62060"/>
                  </a:lnTo>
                  <a:cubicBezTo>
                    <a:pt x="283950" y="55479"/>
                    <a:pt x="282917" y="50040"/>
                    <a:pt x="280649" y="45744"/>
                  </a:cubicBezTo>
                  <a:cubicBezTo>
                    <a:pt x="278382" y="41448"/>
                    <a:pt x="273682" y="39223"/>
                    <a:pt x="266549" y="39068"/>
                  </a:cubicBezTo>
                  <a:cubicBezTo>
                    <a:pt x="259390" y="39178"/>
                    <a:pt x="253249" y="41267"/>
                    <a:pt x="248126" y="45337"/>
                  </a:cubicBezTo>
                  <a:cubicBezTo>
                    <a:pt x="243004" y="49406"/>
                    <a:pt x="239488" y="54800"/>
                    <a:pt x="237580" y="61517"/>
                  </a:cubicBezTo>
                  <a:cubicBezTo>
                    <a:pt x="236957" y="63331"/>
                    <a:pt x="236527" y="65270"/>
                    <a:pt x="236290" y="67333"/>
                  </a:cubicBezTo>
                  <a:cubicBezTo>
                    <a:pt x="236052" y="69396"/>
                    <a:pt x="235939" y="71561"/>
                    <a:pt x="235950" y="73828"/>
                  </a:cubicBezTo>
                  <a:lnTo>
                    <a:pt x="235950" y="116707"/>
                  </a:lnTo>
                  <a:lnTo>
                    <a:pt x="218418" y="116707"/>
                  </a:lnTo>
                  <a:lnTo>
                    <a:pt x="218418" y="44137"/>
                  </a:lnTo>
                  <a:cubicBezTo>
                    <a:pt x="218411" y="42783"/>
                    <a:pt x="218064" y="41780"/>
                    <a:pt x="217378" y="41127"/>
                  </a:cubicBezTo>
                  <a:cubicBezTo>
                    <a:pt x="216691" y="40475"/>
                    <a:pt x="215711" y="40151"/>
                    <a:pt x="214437" y="40154"/>
                  </a:cubicBezTo>
                  <a:lnTo>
                    <a:pt x="207017" y="40154"/>
                  </a:lnTo>
                  <a:lnTo>
                    <a:pt x="207017" y="25156"/>
                  </a:lnTo>
                  <a:lnTo>
                    <a:pt x="223841" y="25156"/>
                  </a:lnTo>
                  <a:cubicBezTo>
                    <a:pt x="231582" y="25186"/>
                    <a:pt x="235438" y="28559"/>
                    <a:pt x="235408" y="35275"/>
                  </a:cubicBezTo>
                  <a:lnTo>
                    <a:pt x="235408" y="38709"/>
                  </a:lnTo>
                  <a:cubicBezTo>
                    <a:pt x="235393" y="40193"/>
                    <a:pt x="235333" y="41430"/>
                    <a:pt x="235227" y="42418"/>
                  </a:cubicBezTo>
                  <a:cubicBezTo>
                    <a:pt x="235122" y="43406"/>
                    <a:pt x="235062" y="43918"/>
                    <a:pt x="235047" y="43956"/>
                  </a:cubicBezTo>
                  <a:lnTo>
                    <a:pt x="235408" y="43956"/>
                  </a:lnTo>
                  <a:cubicBezTo>
                    <a:pt x="236604" y="41191"/>
                    <a:pt x="238637" y="38200"/>
                    <a:pt x="241510" y="34981"/>
                  </a:cubicBezTo>
                  <a:cubicBezTo>
                    <a:pt x="244382" y="31763"/>
                    <a:pt x="248159" y="28987"/>
                    <a:pt x="252842" y="26653"/>
                  </a:cubicBezTo>
                  <a:cubicBezTo>
                    <a:pt x="257525" y="24319"/>
                    <a:pt x="263181" y="23096"/>
                    <a:pt x="269808" y="22984"/>
                  </a:cubicBezTo>
                  <a:close/>
                  <a:moveTo>
                    <a:pt x="144464" y="22984"/>
                  </a:moveTo>
                  <a:cubicBezTo>
                    <a:pt x="153680" y="23061"/>
                    <a:pt x="161999" y="25137"/>
                    <a:pt x="169420" y="29213"/>
                  </a:cubicBezTo>
                  <a:cubicBezTo>
                    <a:pt x="176842" y="33288"/>
                    <a:pt x="182744" y="38903"/>
                    <a:pt x="187128" y="46056"/>
                  </a:cubicBezTo>
                  <a:cubicBezTo>
                    <a:pt x="191512" y="53209"/>
                    <a:pt x="193756" y="61440"/>
                    <a:pt x="193859" y="70750"/>
                  </a:cubicBezTo>
                  <a:cubicBezTo>
                    <a:pt x="193756" y="80121"/>
                    <a:pt x="191512" y="88411"/>
                    <a:pt x="187128" y="95619"/>
                  </a:cubicBezTo>
                  <a:cubicBezTo>
                    <a:pt x="182744" y="102827"/>
                    <a:pt x="176842" y="108486"/>
                    <a:pt x="169420" y="112596"/>
                  </a:cubicBezTo>
                  <a:cubicBezTo>
                    <a:pt x="161999" y="116706"/>
                    <a:pt x="153680" y="118801"/>
                    <a:pt x="144464" y="118878"/>
                  </a:cubicBezTo>
                  <a:cubicBezTo>
                    <a:pt x="135251" y="118801"/>
                    <a:pt x="126948" y="116706"/>
                    <a:pt x="119555" y="112596"/>
                  </a:cubicBezTo>
                  <a:cubicBezTo>
                    <a:pt x="112163" y="108486"/>
                    <a:pt x="106290" y="102827"/>
                    <a:pt x="101935" y="95619"/>
                  </a:cubicBezTo>
                  <a:cubicBezTo>
                    <a:pt x="97580" y="88411"/>
                    <a:pt x="95352" y="80121"/>
                    <a:pt x="95250" y="70750"/>
                  </a:cubicBezTo>
                  <a:cubicBezTo>
                    <a:pt x="95352" y="61440"/>
                    <a:pt x="97580" y="53209"/>
                    <a:pt x="101935" y="46056"/>
                  </a:cubicBezTo>
                  <a:cubicBezTo>
                    <a:pt x="106290" y="38903"/>
                    <a:pt x="112163" y="33288"/>
                    <a:pt x="119555" y="29213"/>
                  </a:cubicBezTo>
                  <a:cubicBezTo>
                    <a:pt x="126948" y="25137"/>
                    <a:pt x="135251" y="23061"/>
                    <a:pt x="144464" y="22984"/>
                  </a:cubicBezTo>
                  <a:close/>
                  <a:moveTo>
                    <a:pt x="49218" y="22984"/>
                  </a:moveTo>
                  <a:cubicBezTo>
                    <a:pt x="53101" y="22944"/>
                    <a:pt x="57583" y="23526"/>
                    <a:pt x="62662" y="24731"/>
                  </a:cubicBezTo>
                  <a:cubicBezTo>
                    <a:pt x="67741" y="25936"/>
                    <a:pt x="72207" y="28005"/>
                    <a:pt x="76059" y="30938"/>
                  </a:cubicBezTo>
                  <a:cubicBezTo>
                    <a:pt x="79911" y="33871"/>
                    <a:pt x="81939" y="37908"/>
                    <a:pt x="82140" y="43051"/>
                  </a:cubicBezTo>
                  <a:lnTo>
                    <a:pt x="82140" y="52465"/>
                  </a:lnTo>
                  <a:lnTo>
                    <a:pt x="66237" y="52465"/>
                  </a:lnTo>
                  <a:lnTo>
                    <a:pt x="66237" y="47396"/>
                  </a:lnTo>
                  <a:cubicBezTo>
                    <a:pt x="65947" y="44153"/>
                    <a:pt x="63948" y="41769"/>
                    <a:pt x="60240" y="40245"/>
                  </a:cubicBezTo>
                  <a:cubicBezTo>
                    <a:pt x="56532" y="38722"/>
                    <a:pt x="52858" y="37967"/>
                    <a:pt x="49218" y="37983"/>
                  </a:cubicBezTo>
                  <a:cubicBezTo>
                    <a:pt x="40070" y="38137"/>
                    <a:pt x="32609" y="41177"/>
                    <a:pt x="26834" y="47102"/>
                  </a:cubicBezTo>
                  <a:cubicBezTo>
                    <a:pt x="21059" y="53027"/>
                    <a:pt x="18079" y="60910"/>
                    <a:pt x="17894" y="70750"/>
                  </a:cubicBezTo>
                  <a:cubicBezTo>
                    <a:pt x="18173" y="81217"/>
                    <a:pt x="21417" y="89250"/>
                    <a:pt x="27626" y="94851"/>
                  </a:cubicBezTo>
                  <a:cubicBezTo>
                    <a:pt x="33835" y="100452"/>
                    <a:pt x="41334" y="103281"/>
                    <a:pt x="50123" y="103337"/>
                  </a:cubicBezTo>
                  <a:cubicBezTo>
                    <a:pt x="55888" y="103181"/>
                    <a:pt x="60891" y="102086"/>
                    <a:pt x="65131" y="100052"/>
                  </a:cubicBezTo>
                  <a:cubicBezTo>
                    <a:pt x="69371" y="98018"/>
                    <a:pt x="72655" y="95984"/>
                    <a:pt x="74984" y="93950"/>
                  </a:cubicBezTo>
                  <a:cubicBezTo>
                    <a:pt x="77313" y="91916"/>
                    <a:pt x="78494" y="90821"/>
                    <a:pt x="78526" y="90664"/>
                  </a:cubicBezTo>
                  <a:lnTo>
                    <a:pt x="86122" y="103156"/>
                  </a:lnTo>
                  <a:cubicBezTo>
                    <a:pt x="86111" y="103350"/>
                    <a:pt x="84687" y="104709"/>
                    <a:pt x="81849" y="107232"/>
                  </a:cubicBezTo>
                  <a:cubicBezTo>
                    <a:pt x="79011" y="109756"/>
                    <a:pt x="74827" y="112279"/>
                    <a:pt x="69295" y="114802"/>
                  </a:cubicBezTo>
                  <a:cubicBezTo>
                    <a:pt x="63763" y="117326"/>
                    <a:pt x="56950" y="118684"/>
                    <a:pt x="48856" y="118878"/>
                  </a:cubicBezTo>
                  <a:cubicBezTo>
                    <a:pt x="34225" y="118600"/>
                    <a:pt x="22484" y="114049"/>
                    <a:pt x="13632" y="105224"/>
                  </a:cubicBezTo>
                  <a:cubicBezTo>
                    <a:pt x="4781" y="96399"/>
                    <a:pt x="237" y="84968"/>
                    <a:pt x="0" y="70931"/>
                  </a:cubicBezTo>
                  <a:cubicBezTo>
                    <a:pt x="61" y="61847"/>
                    <a:pt x="2129" y="53707"/>
                    <a:pt x="6202" y="46512"/>
                  </a:cubicBezTo>
                  <a:cubicBezTo>
                    <a:pt x="10275" y="39316"/>
                    <a:pt x="15988" y="33619"/>
                    <a:pt x="23341" y="29421"/>
                  </a:cubicBezTo>
                  <a:cubicBezTo>
                    <a:pt x="30693" y="25222"/>
                    <a:pt x="39319" y="23077"/>
                    <a:pt x="49218" y="22984"/>
                  </a:cubicBezTo>
                  <a:close/>
                  <a:moveTo>
                    <a:pt x="629079" y="0"/>
                  </a:moveTo>
                  <a:lnTo>
                    <a:pt x="646249" y="0"/>
                  </a:lnTo>
                  <a:lnTo>
                    <a:pt x="646249" y="25156"/>
                  </a:lnTo>
                  <a:lnTo>
                    <a:pt x="668147" y="25156"/>
                  </a:lnTo>
                  <a:lnTo>
                    <a:pt x="668147" y="39249"/>
                  </a:lnTo>
                  <a:lnTo>
                    <a:pt x="646249" y="39249"/>
                  </a:lnTo>
                  <a:lnTo>
                    <a:pt x="646249" y="81251"/>
                  </a:lnTo>
                  <a:cubicBezTo>
                    <a:pt x="646364" y="87262"/>
                    <a:pt x="647542" y="91754"/>
                    <a:pt x="649781" y="94728"/>
                  </a:cubicBezTo>
                  <a:cubicBezTo>
                    <a:pt x="652021" y="97702"/>
                    <a:pt x="654633" y="99660"/>
                    <a:pt x="657617" y="100602"/>
                  </a:cubicBezTo>
                  <a:cubicBezTo>
                    <a:pt x="660601" y="101544"/>
                    <a:pt x="663266" y="101973"/>
                    <a:pt x="665613" y="101889"/>
                  </a:cubicBezTo>
                  <a:cubicBezTo>
                    <a:pt x="666895" y="101874"/>
                    <a:pt x="667906" y="101814"/>
                    <a:pt x="668645" y="101708"/>
                  </a:cubicBezTo>
                  <a:cubicBezTo>
                    <a:pt x="669384" y="101603"/>
                    <a:pt x="669761" y="101542"/>
                    <a:pt x="669776" y="101527"/>
                  </a:cubicBezTo>
                  <a:lnTo>
                    <a:pt x="669776" y="117069"/>
                  </a:lnTo>
                  <a:cubicBezTo>
                    <a:pt x="669757" y="117084"/>
                    <a:pt x="669207" y="117144"/>
                    <a:pt x="668124" y="117250"/>
                  </a:cubicBezTo>
                  <a:cubicBezTo>
                    <a:pt x="667042" y="117355"/>
                    <a:pt x="665542" y="117416"/>
                    <a:pt x="663623" y="117431"/>
                  </a:cubicBezTo>
                  <a:cubicBezTo>
                    <a:pt x="659545" y="117575"/>
                    <a:pt x="654813" y="116885"/>
                    <a:pt x="649425" y="115361"/>
                  </a:cubicBezTo>
                  <a:cubicBezTo>
                    <a:pt x="644038" y="113837"/>
                    <a:pt x="639294" y="110615"/>
                    <a:pt x="635193" y="105694"/>
                  </a:cubicBezTo>
                  <a:cubicBezTo>
                    <a:pt x="631092" y="100773"/>
                    <a:pt x="628934" y="93289"/>
                    <a:pt x="628717" y="83242"/>
                  </a:cubicBezTo>
                  <a:lnTo>
                    <a:pt x="628717" y="39249"/>
                  </a:lnTo>
                  <a:lnTo>
                    <a:pt x="616773" y="39249"/>
                  </a:lnTo>
                  <a:lnTo>
                    <a:pt x="616773" y="25156"/>
                  </a:lnTo>
                  <a:lnTo>
                    <a:pt x="629079" y="25156"/>
                  </a:ln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400" b="0" i="0" u="none" strike="noStrike" kern="1200" cap="none" spc="0" normalizeH="0" baseline="0" noProof="0">
                <a:ln>
                  <a:noFill/>
                </a:ln>
                <a:solidFill>
                  <a:srgbClr val="FFFFFF"/>
                </a:solidFill>
                <a:effectLst/>
                <a:uLnTx/>
                <a:uFillTx/>
                <a:latin typeface="等线" panose="020F0502020204030204"/>
                <a:ea typeface="+mn-ea"/>
                <a:cs typeface="+mn-cs"/>
              </a:endParaRPr>
            </a:p>
          </p:txBody>
        </p:sp>
      </p:grpSp>
      <p:grpSp>
        <p:nvGrpSpPr>
          <p:cNvPr id="8" name="Group 6">
            <a:extLst>
              <a:ext uri="{FF2B5EF4-FFF2-40B4-BE49-F238E27FC236}">
                <a16:creationId xmlns:a16="http://schemas.microsoft.com/office/drawing/2014/main" id="{C3F1227B-50EE-46CA-9B8B-0289DACAEFA5}"/>
              </a:ext>
            </a:extLst>
          </p:cNvPr>
          <p:cNvGrpSpPr/>
          <p:nvPr/>
        </p:nvGrpSpPr>
        <p:grpSpPr>
          <a:xfrm flipH="1">
            <a:off x="-868881" y="5162786"/>
            <a:ext cx="3917327" cy="2161269"/>
            <a:chOff x="9395503" y="5755181"/>
            <a:chExt cx="2898653" cy="1599246"/>
          </a:xfrm>
        </p:grpSpPr>
        <p:grpSp>
          <p:nvGrpSpPr>
            <p:cNvPr id="9" name="Group 7">
              <a:extLst>
                <a:ext uri="{FF2B5EF4-FFF2-40B4-BE49-F238E27FC236}">
                  <a16:creationId xmlns:a16="http://schemas.microsoft.com/office/drawing/2014/main" id="{13FD1B99-95D3-4E88-9A5C-E498B7FA8654}"/>
                </a:ext>
              </a:extLst>
            </p:cNvPr>
            <p:cNvGrpSpPr/>
            <p:nvPr/>
          </p:nvGrpSpPr>
          <p:grpSpPr>
            <a:xfrm>
              <a:off x="10025741" y="5755181"/>
              <a:ext cx="1384574" cy="1599246"/>
              <a:chOff x="9347995" y="5423912"/>
              <a:chExt cx="1762745" cy="2036053"/>
            </a:xfrm>
          </p:grpSpPr>
          <p:grpSp>
            <p:nvGrpSpPr>
              <p:cNvPr id="28" name="Group 26">
                <a:extLst>
                  <a:ext uri="{FF2B5EF4-FFF2-40B4-BE49-F238E27FC236}">
                    <a16:creationId xmlns:a16="http://schemas.microsoft.com/office/drawing/2014/main" id="{73A0F4A9-4EB1-47D7-9309-C59E61B6E766}"/>
                  </a:ext>
                </a:extLst>
              </p:cNvPr>
              <p:cNvGrpSpPr/>
              <p:nvPr/>
            </p:nvGrpSpPr>
            <p:grpSpPr>
              <a:xfrm>
                <a:off x="9347995" y="5423912"/>
                <a:ext cx="1389377" cy="2036053"/>
                <a:chOff x="-100584" y="5147437"/>
                <a:chExt cx="2297093" cy="3366259"/>
              </a:xfrm>
            </p:grpSpPr>
            <p:sp>
              <p:nvSpPr>
                <p:cNvPr id="38" name="Freeform: Shape 36">
                  <a:extLst>
                    <a:ext uri="{FF2B5EF4-FFF2-40B4-BE49-F238E27FC236}">
                      <a16:creationId xmlns:a16="http://schemas.microsoft.com/office/drawing/2014/main" id="{5DBDFD03-3AD9-4F34-B88F-C41E032A999F}"/>
                    </a:ext>
                  </a:extLst>
                </p:cNvPr>
                <p:cNvSpPr/>
                <p:nvPr/>
              </p:nvSpPr>
              <p:spPr>
                <a:xfrm>
                  <a:off x="730149" y="5393498"/>
                  <a:ext cx="195977" cy="827460"/>
                </a:xfrm>
                <a:custGeom>
                  <a:avLst/>
                  <a:gdLst>
                    <a:gd name="connsiteX0" fmla="*/ 129556 w 195977"/>
                    <a:gd name="connsiteY0" fmla="*/ 844880 h 827459"/>
                    <a:gd name="connsiteX1" fmla="*/ 48988 w 195977"/>
                    <a:gd name="connsiteY1" fmla="*/ 0 h 827459"/>
                    <a:gd name="connsiteX2" fmla="*/ 129556 w 195977"/>
                    <a:gd name="connsiteY2" fmla="*/ 844880 h 827459"/>
                  </a:gdLst>
                  <a:ahLst/>
                  <a:cxnLst>
                    <a:cxn ang="0">
                      <a:pos x="connsiteX0" y="connsiteY0"/>
                    </a:cxn>
                    <a:cxn ang="0">
                      <a:pos x="connsiteX1" y="connsiteY1"/>
                    </a:cxn>
                    <a:cxn ang="0">
                      <a:pos x="connsiteX2" y="connsiteY2"/>
                    </a:cxn>
                  </a:cxnLst>
                  <a:rect l="l" t="t" r="r" b="b"/>
                  <a:pathLst>
                    <a:path w="195977" h="827459">
                      <a:moveTo>
                        <a:pt x="129556" y="844880"/>
                      </a:moveTo>
                      <a:cubicBezTo>
                        <a:pt x="129556" y="844880"/>
                        <a:pt x="-96907" y="402842"/>
                        <a:pt x="48988" y="0"/>
                      </a:cubicBezTo>
                      <a:cubicBezTo>
                        <a:pt x="48988" y="0"/>
                        <a:pt x="336421" y="400665"/>
                        <a:pt x="129556" y="844880"/>
                      </a:cubicBezTo>
                      <a:close/>
                    </a:path>
                  </a:pathLst>
                </a:custGeom>
                <a:solidFill>
                  <a:schemeClr val="accent3"/>
                </a:solidFill>
                <a:ln w="2176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9" name="Freeform: Shape 37">
                  <a:extLst>
                    <a:ext uri="{FF2B5EF4-FFF2-40B4-BE49-F238E27FC236}">
                      <a16:creationId xmlns:a16="http://schemas.microsoft.com/office/drawing/2014/main" id="{5647D0C4-0D6B-492F-8C82-71EF232C5438}"/>
                    </a:ext>
                  </a:extLst>
                </p:cNvPr>
                <p:cNvSpPr/>
                <p:nvPr/>
              </p:nvSpPr>
              <p:spPr>
                <a:xfrm>
                  <a:off x="-100584" y="5643913"/>
                  <a:ext cx="871011" cy="479056"/>
                </a:xfrm>
                <a:custGeom>
                  <a:avLst/>
                  <a:gdLst>
                    <a:gd name="connsiteX0" fmla="*/ 890608 w 871010"/>
                    <a:gd name="connsiteY0" fmla="*/ 487766 h 479055"/>
                    <a:gd name="connsiteX1" fmla="*/ 0 w 871010"/>
                    <a:gd name="connsiteY1" fmla="*/ 0 h 479055"/>
                    <a:gd name="connsiteX2" fmla="*/ 890608 w 871010"/>
                    <a:gd name="connsiteY2" fmla="*/ 487766 h 479055"/>
                  </a:gdLst>
                  <a:ahLst/>
                  <a:cxnLst>
                    <a:cxn ang="0">
                      <a:pos x="connsiteX0" y="connsiteY0"/>
                    </a:cxn>
                    <a:cxn ang="0">
                      <a:pos x="connsiteX1" y="connsiteY1"/>
                    </a:cxn>
                    <a:cxn ang="0">
                      <a:pos x="connsiteX2" y="connsiteY2"/>
                    </a:cxn>
                  </a:cxnLst>
                  <a:rect l="l" t="t" r="r" b="b"/>
                  <a:pathLst>
                    <a:path w="871010" h="479055">
                      <a:moveTo>
                        <a:pt x="890608" y="487766"/>
                      </a:moveTo>
                      <a:cubicBezTo>
                        <a:pt x="890608" y="487766"/>
                        <a:pt x="511719" y="30485"/>
                        <a:pt x="0" y="0"/>
                      </a:cubicBezTo>
                      <a:cubicBezTo>
                        <a:pt x="2178" y="0"/>
                        <a:pt x="304854" y="505186"/>
                        <a:pt x="890608" y="487766"/>
                      </a:cubicBezTo>
                      <a:close/>
                    </a:path>
                  </a:pathLst>
                </a:custGeom>
                <a:solidFill>
                  <a:schemeClr val="accent3"/>
                </a:solidFill>
                <a:ln w="2176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40" name="Freeform: Shape 38">
                  <a:extLst>
                    <a:ext uri="{FF2B5EF4-FFF2-40B4-BE49-F238E27FC236}">
                      <a16:creationId xmlns:a16="http://schemas.microsoft.com/office/drawing/2014/main" id="{BBCDB69D-6ACC-4C2E-9F7D-C85978A3601B}"/>
                    </a:ext>
                  </a:extLst>
                </p:cNvPr>
                <p:cNvSpPr/>
                <p:nvPr/>
              </p:nvSpPr>
              <p:spPr>
                <a:xfrm>
                  <a:off x="43132" y="6014093"/>
                  <a:ext cx="1045213" cy="566157"/>
                </a:xfrm>
                <a:custGeom>
                  <a:avLst/>
                  <a:gdLst>
                    <a:gd name="connsiteX0" fmla="*/ 1051745 w 1045212"/>
                    <a:gd name="connsiteY0" fmla="*/ 577044 h 566156"/>
                    <a:gd name="connsiteX1" fmla="*/ 0 w 1045212"/>
                    <a:gd name="connsiteY1" fmla="*/ 0 h 566156"/>
                    <a:gd name="connsiteX2" fmla="*/ 1051745 w 1045212"/>
                    <a:gd name="connsiteY2" fmla="*/ 577044 h 566156"/>
                  </a:gdLst>
                  <a:ahLst/>
                  <a:cxnLst>
                    <a:cxn ang="0">
                      <a:pos x="connsiteX0" y="connsiteY0"/>
                    </a:cxn>
                    <a:cxn ang="0">
                      <a:pos x="connsiteX1" y="connsiteY1"/>
                    </a:cxn>
                    <a:cxn ang="0">
                      <a:pos x="connsiteX2" y="connsiteY2"/>
                    </a:cxn>
                  </a:cxnLst>
                  <a:rect l="l" t="t" r="r" b="b"/>
                  <a:pathLst>
                    <a:path w="1045212" h="566156">
                      <a:moveTo>
                        <a:pt x="1051745" y="577044"/>
                      </a:moveTo>
                      <a:cubicBezTo>
                        <a:pt x="1051745" y="577044"/>
                        <a:pt x="605352" y="34840"/>
                        <a:pt x="0" y="0"/>
                      </a:cubicBezTo>
                      <a:cubicBezTo>
                        <a:pt x="0" y="2177"/>
                        <a:pt x="359292" y="598820"/>
                        <a:pt x="1051745" y="577044"/>
                      </a:cubicBezTo>
                      <a:close/>
                    </a:path>
                  </a:pathLst>
                </a:custGeom>
                <a:solidFill>
                  <a:schemeClr val="accent1">
                    <a:lumMod val="50000"/>
                  </a:schemeClr>
                </a:solidFill>
                <a:ln w="2176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41" name="Freeform: Shape 39">
                  <a:extLst>
                    <a:ext uri="{FF2B5EF4-FFF2-40B4-BE49-F238E27FC236}">
                      <a16:creationId xmlns:a16="http://schemas.microsoft.com/office/drawing/2014/main" id="{A88659C8-AEF4-40E8-B30B-487982393803}"/>
                    </a:ext>
                  </a:extLst>
                </p:cNvPr>
                <p:cNvSpPr/>
                <p:nvPr/>
              </p:nvSpPr>
              <p:spPr>
                <a:xfrm>
                  <a:off x="485170" y="6547587"/>
                  <a:ext cx="871011" cy="479056"/>
                </a:xfrm>
                <a:custGeom>
                  <a:avLst/>
                  <a:gdLst>
                    <a:gd name="connsiteX0" fmla="*/ 890608 w 871010"/>
                    <a:gd name="connsiteY0" fmla="*/ 487766 h 479055"/>
                    <a:gd name="connsiteX1" fmla="*/ 0 w 871010"/>
                    <a:gd name="connsiteY1" fmla="*/ 0 h 479055"/>
                    <a:gd name="connsiteX2" fmla="*/ 890608 w 871010"/>
                    <a:gd name="connsiteY2" fmla="*/ 487766 h 479055"/>
                  </a:gdLst>
                  <a:ahLst/>
                  <a:cxnLst>
                    <a:cxn ang="0">
                      <a:pos x="connsiteX0" y="connsiteY0"/>
                    </a:cxn>
                    <a:cxn ang="0">
                      <a:pos x="connsiteX1" y="connsiteY1"/>
                    </a:cxn>
                    <a:cxn ang="0">
                      <a:pos x="connsiteX2" y="connsiteY2"/>
                    </a:cxn>
                  </a:cxnLst>
                  <a:rect l="l" t="t" r="r" b="b"/>
                  <a:pathLst>
                    <a:path w="871010" h="479055">
                      <a:moveTo>
                        <a:pt x="890608" y="487766"/>
                      </a:moveTo>
                      <a:cubicBezTo>
                        <a:pt x="890608" y="487766"/>
                        <a:pt x="511719" y="30485"/>
                        <a:pt x="0" y="0"/>
                      </a:cubicBezTo>
                      <a:cubicBezTo>
                        <a:pt x="0" y="0"/>
                        <a:pt x="304854" y="505186"/>
                        <a:pt x="890608" y="487766"/>
                      </a:cubicBezTo>
                      <a:close/>
                    </a:path>
                  </a:pathLst>
                </a:custGeom>
                <a:solidFill>
                  <a:schemeClr val="accent1">
                    <a:lumMod val="75000"/>
                  </a:schemeClr>
                </a:solidFill>
                <a:ln w="2176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42" name="Freeform: Shape 40">
                  <a:extLst>
                    <a:ext uri="{FF2B5EF4-FFF2-40B4-BE49-F238E27FC236}">
                      <a16:creationId xmlns:a16="http://schemas.microsoft.com/office/drawing/2014/main" id="{B9C49919-41A7-4A7B-B203-1B68197DDB33}"/>
                    </a:ext>
                  </a:extLst>
                </p:cNvPr>
                <p:cNvSpPr/>
                <p:nvPr/>
              </p:nvSpPr>
              <p:spPr>
                <a:xfrm>
                  <a:off x="768249" y="7015755"/>
                  <a:ext cx="892786" cy="479056"/>
                </a:xfrm>
                <a:custGeom>
                  <a:avLst/>
                  <a:gdLst>
                    <a:gd name="connsiteX0" fmla="*/ 901496 w 892785"/>
                    <a:gd name="connsiteY0" fmla="*/ 494299 h 479055"/>
                    <a:gd name="connsiteX1" fmla="*/ 0 w 892785"/>
                    <a:gd name="connsiteY1" fmla="*/ 0 h 479055"/>
                    <a:gd name="connsiteX2" fmla="*/ 901496 w 892785"/>
                    <a:gd name="connsiteY2" fmla="*/ 494299 h 479055"/>
                  </a:gdLst>
                  <a:ahLst/>
                  <a:cxnLst>
                    <a:cxn ang="0">
                      <a:pos x="connsiteX0" y="connsiteY0"/>
                    </a:cxn>
                    <a:cxn ang="0">
                      <a:pos x="connsiteX1" y="connsiteY1"/>
                    </a:cxn>
                    <a:cxn ang="0">
                      <a:pos x="connsiteX2" y="connsiteY2"/>
                    </a:cxn>
                  </a:cxnLst>
                  <a:rect l="l" t="t" r="r" b="b"/>
                  <a:pathLst>
                    <a:path w="892785" h="479055">
                      <a:moveTo>
                        <a:pt x="901496" y="494299"/>
                      </a:moveTo>
                      <a:cubicBezTo>
                        <a:pt x="901496" y="494299"/>
                        <a:pt x="518251" y="30485"/>
                        <a:pt x="0" y="0"/>
                      </a:cubicBezTo>
                      <a:cubicBezTo>
                        <a:pt x="0" y="2177"/>
                        <a:pt x="307031" y="511719"/>
                        <a:pt x="901496" y="494299"/>
                      </a:cubicBezTo>
                      <a:close/>
                    </a:path>
                  </a:pathLst>
                </a:custGeom>
                <a:solidFill>
                  <a:schemeClr val="accent1">
                    <a:lumMod val="50000"/>
                  </a:schemeClr>
                </a:solidFill>
                <a:ln w="2176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43" name="Freeform: Shape 41">
                  <a:extLst>
                    <a:ext uri="{FF2B5EF4-FFF2-40B4-BE49-F238E27FC236}">
                      <a16:creationId xmlns:a16="http://schemas.microsoft.com/office/drawing/2014/main" id="{E0B86696-DF06-48BC-996F-B7E16E1087CA}"/>
                    </a:ext>
                  </a:extLst>
                </p:cNvPr>
                <p:cNvSpPr/>
                <p:nvPr/>
              </p:nvSpPr>
              <p:spPr>
                <a:xfrm>
                  <a:off x="1083990" y="7549249"/>
                  <a:ext cx="871011" cy="479056"/>
                </a:xfrm>
                <a:custGeom>
                  <a:avLst/>
                  <a:gdLst>
                    <a:gd name="connsiteX0" fmla="*/ 877543 w 871010"/>
                    <a:gd name="connsiteY0" fmla="*/ 481233 h 479055"/>
                    <a:gd name="connsiteX1" fmla="*/ 0 w 871010"/>
                    <a:gd name="connsiteY1" fmla="*/ 0 h 479055"/>
                    <a:gd name="connsiteX2" fmla="*/ 877543 w 871010"/>
                    <a:gd name="connsiteY2" fmla="*/ 481233 h 479055"/>
                  </a:gdLst>
                  <a:ahLst/>
                  <a:cxnLst>
                    <a:cxn ang="0">
                      <a:pos x="connsiteX0" y="connsiteY0"/>
                    </a:cxn>
                    <a:cxn ang="0">
                      <a:pos x="connsiteX1" y="connsiteY1"/>
                    </a:cxn>
                    <a:cxn ang="0">
                      <a:pos x="connsiteX2" y="connsiteY2"/>
                    </a:cxn>
                  </a:cxnLst>
                  <a:rect l="l" t="t" r="r" b="b"/>
                  <a:pathLst>
                    <a:path w="871010" h="479055">
                      <a:moveTo>
                        <a:pt x="877543" y="481233"/>
                      </a:moveTo>
                      <a:cubicBezTo>
                        <a:pt x="877543" y="481233"/>
                        <a:pt x="505186" y="28308"/>
                        <a:pt x="0" y="0"/>
                      </a:cubicBezTo>
                      <a:cubicBezTo>
                        <a:pt x="0" y="0"/>
                        <a:pt x="300499" y="496476"/>
                        <a:pt x="877543" y="481233"/>
                      </a:cubicBezTo>
                      <a:close/>
                    </a:path>
                  </a:pathLst>
                </a:custGeom>
                <a:solidFill>
                  <a:schemeClr val="accent1">
                    <a:lumMod val="50000"/>
                  </a:schemeClr>
                </a:solidFill>
                <a:ln w="2176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44" name="Freeform: Shape 42">
                  <a:extLst>
                    <a:ext uri="{FF2B5EF4-FFF2-40B4-BE49-F238E27FC236}">
                      <a16:creationId xmlns:a16="http://schemas.microsoft.com/office/drawing/2014/main" id="{682064DC-5B21-4C6B-9521-666BB34A4CED}"/>
                    </a:ext>
                  </a:extLst>
                </p:cNvPr>
                <p:cNvSpPr/>
                <p:nvPr/>
              </p:nvSpPr>
              <p:spPr>
                <a:xfrm>
                  <a:off x="1013640" y="5702706"/>
                  <a:ext cx="239528" cy="1001662"/>
                </a:xfrm>
                <a:custGeom>
                  <a:avLst/>
                  <a:gdLst>
                    <a:gd name="connsiteX0" fmla="*/ 155274 w 239527"/>
                    <a:gd name="connsiteY0" fmla="*/ 1010372 h 1001662"/>
                    <a:gd name="connsiteX1" fmla="*/ 59462 w 239527"/>
                    <a:gd name="connsiteY1" fmla="*/ 0 h 1001662"/>
                    <a:gd name="connsiteX2" fmla="*/ 155274 w 239527"/>
                    <a:gd name="connsiteY2" fmla="*/ 1010372 h 1001662"/>
                  </a:gdLst>
                  <a:ahLst/>
                  <a:cxnLst>
                    <a:cxn ang="0">
                      <a:pos x="connsiteX0" y="connsiteY0"/>
                    </a:cxn>
                    <a:cxn ang="0">
                      <a:pos x="connsiteX1" y="connsiteY1"/>
                    </a:cxn>
                    <a:cxn ang="0">
                      <a:pos x="connsiteX2" y="connsiteY2"/>
                    </a:cxn>
                  </a:cxnLst>
                  <a:rect l="l" t="t" r="r" b="b"/>
                  <a:pathLst>
                    <a:path w="239527" h="1001662">
                      <a:moveTo>
                        <a:pt x="155274" y="1010372"/>
                      </a:moveTo>
                      <a:cubicBezTo>
                        <a:pt x="155274" y="1010372"/>
                        <a:pt x="-116917" y="481233"/>
                        <a:pt x="59462" y="0"/>
                      </a:cubicBezTo>
                      <a:cubicBezTo>
                        <a:pt x="57285" y="0"/>
                        <a:pt x="403512" y="479056"/>
                        <a:pt x="155274" y="1010372"/>
                      </a:cubicBezTo>
                      <a:close/>
                    </a:path>
                  </a:pathLst>
                </a:custGeom>
                <a:solidFill>
                  <a:schemeClr val="accent3"/>
                </a:solidFill>
                <a:ln w="2176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45" name="Freeform: Shape 43">
                  <a:extLst>
                    <a:ext uri="{FF2B5EF4-FFF2-40B4-BE49-F238E27FC236}">
                      <a16:creationId xmlns:a16="http://schemas.microsoft.com/office/drawing/2014/main" id="{E6A1A3DE-08DA-45D2-8453-D74AC9E6A6FF}"/>
                    </a:ext>
                  </a:extLst>
                </p:cNvPr>
                <p:cNvSpPr/>
                <p:nvPr/>
              </p:nvSpPr>
              <p:spPr>
                <a:xfrm>
                  <a:off x="1296872" y="5998850"/>
                  <a:ext cx="283078" cy="1197639"/>
                </a:xfrm>
                <a:custGeom>
                  <a:avLst/>
                  <a:gdLst>
                    <a:gd name="connsiteX0" fmla="*/ 185605 w 283078"/>
                    <a:gd name="connsiteY0" fmla="*/ 1206350 h 1197639"/>
                    <a:gd name="connsiteX1" fmla="*/ 70196 w 283078"/>
                    <a:gd name="connsiteY1" fmla="*/ 0 h 1197639"/>
                    <a:gd name="connsiteX2" fmla="*/ 185605 w 283078"/>
                    <a:gd name="connsiteY2" fmla="*/ 1206350 h 1197639"/>
                  </a:gdLst>
                  <a:ahLst/>
                  <a:cxnLst>
                    <a:cxn ang="0">
                      <a:pos x="connsiteX0" y="connsiteY0"/>
                    </a:cxn>
                    <a:cxn ang="0">
                      <a:pos x="connsiteX1" y="connsiteY1"/>
                    </a:cxn>
                    <a:cxn ang="0">
                      <a:pos x="connsiteX2" y="connsiteY2"/>
                    </a:cxn>
                  </a:cxnLst>
                  <a:rect l="l" t="t" r="r" b="b"/>
                  <a:pathLst>
                    <a:path w="283078" h="1197639">
                      <a:moveTo>
                        <a:pt x="185605" y="1206350"/>
                      </a:moveTo>
                      <a:cubicBezTo>
                        <a:pt x="185605" y="1206350"/>
                        <a:pt x="-138846" y="577044"/>
                        <a:pt x="70196" y="0"/>
                      </a:cubicBezTo>
                      <a:cubicBezTo>
                        <a:pt x="70196" y="0"/>
                        <a:pt x="479571" y="570512"/>
                        <a:pt x="185605" y="1206350"/>
                      </a:cubicBezTo>
                      <a:close/>
                    </a:path>
                  </a:pathLst>
                </a:custGeom>
                <a:solidFill>
                  <a:schemeClr val="accent1">
                    <a:lumMod val="50000"/>
                  </a:schemeClr>
                </a:solidFill>
                <a:ln w="2176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46" name="Freeform: Shape 44">
                  <a:extLst>
                    <a:ext uri="{FF2B5EF4-FFF2-40B4-BE49-F238E27FC236}">
                      <a16:creationId xmlns:a16="http://schemas.microsoft.com/office/drawing/2014/main" id="{8392E80E-4FC5-4846-BE81-A04C1BF19395}"/>
                    </a:ext>
                  </a:extLst>
                </p:cNvPr>
                <p:cNvSpPr/>
                <p:nvPr/>
              </p:nvSpPr>
              <p:spPr>
                <a:xfrm>
                  <a:off x="1646301" y="6835020"/>
                  <a:ext cx="195977" cy="849235"/>
                </a:xfrm>
                <a:custGeom>
                  <a:avLst/>
                  <a:gdLst>
                    <a:gd name="connsiteX0" fmla="*/ 132320 w 195977"/>
                    <a:gd name="connsiteY0" fmla="*/ 853590 h 849235"/>
                    <a:gd name="connsiteX1" fmla="*/ 49574 w 195977"/>
                    <a:gd name="connsiteY1" fmla="*/ 0 h 849235"/>
                    <a:gd name="connsiteX2" fmla="*/ 132320 w 195977"/>
                    <a:gd name="connsiteY2" fmla="*/ 853590 h 849235"/>
                  </a:gdLst>
                  <a:ahLst/>
                  <a:cxnLst>
                    <a:cxn ang="0">
                      <a:pos x="connsiteX0" y="connsiteY0"/>
                    </a:cxn>
                    <a:cxn ang="0">
                      <a:pos x="connsiteX1" y="connsiteY1"/>
                    </a:cxn>
                    <a:cxn ang="0">
                      <a:pos x="connsiteX2" y="connsiteY2"/>
                    </a:cxn>
                  </a:cxnLst>
                  <a:rect l="l" t="t" r="r" b="b"/>
                  <a:pathLst>
                    <a:path w="195977" h="849235">
                      <a:moveTo>
                        <a:pt x="132320" y="853590"/>
                      </a:moveTo>
                      <a:cubicBezTo>
                        <a:pt x="132320" y="853590"/>
                        <a:pt x="-98498" y="407197"/>
                        <a:pt x="49574" y="0"/>
                      </a:cubicBezTo>
                      <a:cubicBezTo>
                        <a:pt x="51751" y="0"/>
                        <a:pt x="341362" y="405020"/>
                        <a:pt x="132320" y="853590"/>
                      </a:cubicBezTo>
                      <a:close/>
                    </a:path>
                  </a:pathLst>
                </a:custGeom>
                <a:solidFill>
                  <a:schemeClr val="accent1">
                    <a:lumMod val="50000"/>
                  </a:schemeClr>
                </a:solidFill>
                <a:ln w="2176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47" name="Freeform: Shape 45">
                  <a:extLst>
                    <a:ext uri="{FF2B5EF4-FFF2-40B4-BE49-F238E27FC236}">
                      <a16:creationId xmlns:a16="http://schemas.microsoft.com/office/drawing/2014/main" id="{4D270329-B78A-490A-8F9E-179768D5BCE2}"/>
                    </a:ext>
                  </a:extLst>
                </p:cNvPr>
                <p:cNvSpPr/>
                <p:nvPr/>
              </p:nvSpPr>
              <p:spPr>
                <a:xfrm>
                  <a:off x="1910781" y="7224797"/>
                  <a:ext cx="239528" cy="1001662"/>
                </a:xfrm>
                <a:custGeom>
                  <a:avLst/>
                  <a:gdLst>
                    <a:gd name="connsiteX0" fmla="*/ 155274 w 239527"/>
                    <a:gd name="connsiteY0" fmla="*/ 1010372 h 1001662"/>
                    <a:gd name="connsiteX1" fmla="*/ 59462 w 239527"/>
                    <a:gd name="connsiteY1" fmla="*/ 0 h 1001662"/>
                    <a:gd name="connsiteX2" fmla="*/ 155274 w 239527"/>
                    <a:gd name="connsiteY2" fmla="*/ 1010372 h 1001662"/>
                  </a:gdLst>
                  <a:ahLst/>
                  <a:cxnLst>
                    <a:cxn ang="0">
                      <a:pos x="connsiteX0" y="connsiteY0"/>
                    </a:cxn>
                    <a:cxn ang="0">
                      <a:pos x="connsiteX1" y="connsiteY1"/>
                    </a:cxn>
                    <a:cxn ang="0">
                      <a:pos x="connsiteX2" y="connsiteY2"/>
                    </a:cxn>
                  </a:cxnLst>
                  <a:rect l="l" t="t" r="r" b="b"/>
                  <a:pathLst>
                    <a:path w="239527" h="1001662">
                      <a:moveTo>
                        <a:pt x="155274" y="1010372"/>
                      </a:moveTo>
                      <a:cubicBezTo>
                        <a:pt x="155274" y="1010372"/>
                        <a:pt x="-116917" y="481233"/>
                        <a:pt x="59462" y="0"/>
                      </a:cubicBezTo>
                      <a:cubicBezTo>
                        <a:pt x="57285" y="0"/>
                        <a:pt x="401334" y="479056"/>
                        <a:pt x="155274" y="1010372"/>
                      </a:cubicBezTo>
                      <a:close/>
                    </a:path>
                  </a:pathLst>
                </a:custGeom>
                <a:solidFill>
                  <a:schemeClr val="accent1">
                    <a:lumMod val="50000"/>
                  </a:schemeClr>
                </a:solidFill>
                <a:ln w="2176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48" name="Freeform: Shape 46">
                  <a:extLst>
                    <a:ext uri="{FF2B5EF4-FFF2-40B4-BE49-F238E27FC236}">
                      <a16:creationId xmlns:a16="http://schemas.microsoft.com/office/drawing/2014/main" id="{50D8E9EF-6AD7-40A5-BD3C-A3029F608A5D}"/>
                    </a:ext>
                  </a:extLst>
                </p:cNvPr>
                <p:cNvSpPr/>
                <p:nvPr/>
              </p:nvSpPr>
              <p:spPr>
                <a:xfrm>
                  <a:off x="40955" y="5147437"/>
                  <a:ext cx="609707" cy="783909"/>
                </a:xfrm>
                <a:custGeom>
                  <a:avLst/>
                  <a:gdLst>
                    <a:gd name="connsiteX0" fmla="*/ 618418 w 609707"/>
                    <a:gd name="connsiteY0" fmla="*/ 803507 h 783909"/>
                    <a:gd name="connsiteX1" fmla="*/ 0 w 609707"/>
                    <a:gd name="connsiteY1" fmla="*/ 0 h 783909"/>
                    <a:gd name="connsiteX2" fmla="*/ 618418 w 609707"/>
                    <a:gd name="connsiteY2" fmla="*/ 803507 h 783909"/>
                  </a:gdLst>
                  <a:ahLst/>
                  <a:cxnLst>
                    <a:cxn ang="0">
                      <a:pos x="connsiteX0" y="connsiteY0"/>
                    </a:cxn>
                    <a:cxn ang="0">
                      <a:pos x="connsiteX1" y="connsiteY1"/>
                    </a:cxn>
                    <a:cxn ang="0">
                      <a:pos x="connsiteX2" y="connsiteY2"/>
                    </a:cxn>
                  </a:cxnLst>
                  <a:rect l="l" t="t" r="r" b="b"/>
                  <a:pathLst>
                    <a:path w="609707" h="783909">
                      <a:moveTo>
                        <a:pt x="618418" y="803507"/>
                      </a:moveTo>
                      <a:cubicBezTo>
                        <a:pt x="618418" y="803507"/>
                        <a:pt x="106699" y="500831"/>
                        <a:pt x="0" y="0"/>
                      </a:cubicBezTo>
                      <a:cubicBezTo>
                        <a:pt x="0" y="0"/>
                        <a:pt x="546559" y="222108"/>
                        <a:pt x="618418" y="803507"/>
                      </a:cubicBezTo>
                      <a:close/>
                    </a:path>
                  </a:pathLst>
                </a:custGeom>
                <a:solidFill>
                  <a:schemeClr val="accent1">
                    <a:lumMod val="50000"/>
                  </a:schemeClr>
                </a:solidFill>
                <a:ln w="2176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49" name="Freeform: Shape 47">
                  <a:extLst>
                    <a:ext uri="{FF2B5EF4-FFF2-40B4-BE49-F238E27FC236}">
                      <a16:creationId xmlns:a16="http://schemas.microsoft.com/office/drawing/2014/main" id="{A79DBCD8-42CD-4488-9DFB-812F358A775F}"/>
                    </a:ext>
                  </a:extLst>
                </p:cNvPr>
                <p:cNvSpPr/>
                <p:nvPr/>
              </p:nvSpPr>
              <p:spPr>
                <a:xfrm>
                  <a:off x="367387" y="5530485"/>
                  <a:ext cx="1829122" cy="2983211"/>
                </a:xfrm>
                <a:custGeom>
                  <a:avLst/>
                  <a:gdLst>
                    <a:gd name="connsiteX0" fmla="*/ 1840206 w 1829122"/>
                    <a:gd name="connsiteY0" fmla="*/ 2987763 h 2983210"/>
                    <a:gd name="connsiteX1" fmla="*/ 1596323 w 1829122"/>
                    <a:gd name="connsiteY1" fmla="*/ 2491287 h 2983210"/>
                    <a:gd name="connsiteX2" fmla="*/ 1594146 w 1829122"/>
                    <a:gd name="connsiteY2" fmla="*/ 2486932 h 2983210"/>
                    <a:gd name="connsiteX3" fmla="*/ 1298002 w 1829122"/>
                    <a:gd name="connsiteY3" fmla="*/ 1970858 h 2983210"/>
                    <a:gd name="connsiteX4" fmla="*/ 1295825 w 1829122"/>
                    <a:gd name="connsiteY4" fmla="*/ 1966503 h 2983210"/>
                    <a:gd name="connsiteX5" fmla="*/ 1119445 w 1829122"/>
                    <a:gd name="connsiteY5" fmla="*/ 1676892 h 2983210"/>
                    <a:gd name="connsiteX6" fmla="*/ 1073717 w 1829122"/>
                    <a:gd name="connsiteY6" fmla="*/ 1047586 h 2983210"/>
                    <a:gd name="connsiteX7" fmla="*/ 1062829 w 1829122"/>
                    <a:gd name="connsiteY7" fmla="*/ 1038876 h 2983210"/>
                    <a:gd name="connsiteX8" fmla="*/ 1054119 w 1829122"/>
                    <a:gd name="connsiteY8" fmla="*/ 1049764 h 2983210"/>
                    <a:gd name="connsiteX9" fmla="*/ 1097670 w 1829122"/>
                    <a:gd name="connsiteY9" fmla="*/ 1639874 h 2983210"/>
                    <a:gd name="connsiteX10" fmla="*/ 725313 w 1829122"/>
                    <a:gd name="connsiteY10" fmla="*/ 1054119 h 2983210"/>
                    <a:gd name="connsiteX11" fmla="*/ 723135 w 1829122"/>
                    <a:gd name="connsiteY11" fmla="*/ 1049764 h 2983210"/>
                    <a:gd name="connsiteX12" fmla="*/ 19794 w 1829122"/>
                    <a:gd name="connsiteY12" fmla="*/ 4551 h 2983210"/>
                    <a:gd name="connsiteX13" fmla="*/ 4551 w 1829122"/>
                    <a:gd name="connsiteY13" fmla="*/ 2374 h 2983210"/>
                    <a:gd name="connsiteX14" fmla="*/ 2374 w 1829122"/>
                    <a:gd name="connsiteY14" fmla="*/ 17617 h 2983210"/>
                    <a:gd name="connsiteX15" fmla="*/ 686117 w 1829122"/>
                    <a:gd name="connsiteY15" fmla="*/ 1032344 h 2983210"/>
                    <a:gd name="connsiteX16" fmla="*/ 270210 w 1829122"/>
                    <a:gd name="connsiteY16" fmla="*/ 825479 h 2983210"/>
                    <a:gd name="connsiteX17" fmla="*/ 257144 w 1829122"/>
                    <a:gd name="connsiteY17" fmla="*/ 829834 h 2983210"/>
                    <a:gd name="connsiteX18" fmla="*/ 261499 w 1829122"/>
                    <a:gd name="connsiteY18" fmla="*/ 842899 h 2983210"/>
                    <a:gd name="connsiteX19" fmla="*/ 707892 w 1829122"/>
                    <a:gd name="connsiteY19" fmla="*/ 1065007 h 2983210"/>
                    <a:gd name="connsiteX20" fmla="*/ 1263162 w 1829122"/>
                    <a:gd name="connsiteY20" fmla="*/ 1949082 h 2983210"/>
                    <a:gd name="connsiteX21" fmla="*/ 836367 w 1829122"/>
                    <a:gd name="connsiteY21" fmla="*/ 1733507 h 2983210"/>
                    <a:gd name="connsiteX22" fmla="*/ 823301 w 1829122"/>
                    <a:gd name="connsiteY22" fmla="*/ 1737862 h 2983210"/>
                    <a:gd name="connsiteX23" fmla="*/ 827656 w 1829122"/>
                    <a:gd name="connsiteY23" fmla="*/ 1750928 h 2983210"/>
                    <a:gd name="connsiteX24" fmla="*/ 1282759 w 1829122"/>
                    <a:gd name="connsiteY24" fmla="*/ 1981745 h 2983210"/>
                    <a:gd name="connsiteX25" fmla="*/ 1563660 w 1829122"/>
                    <a:gd name="connsiteY25" fmla="*/ 2471689 h 2983210"/>
                    <a:gd name="connsiteX26" fmla="*/ 1171706 w 1829122"/>
                    <a:gd name="connsiteY26" fmla="*/ 2271356 h 2983210"/>
                    <a:gd name="connsiteX27" fmla="*/ 1158641 w 1829122"/>
                    <a:gd name="connsiteY27" fmla="*/ 2275711 h 2983210"/>
                    <a:gd name="connsiteX28" fmla="*/ 1162995 w 1829122"/>
                    <a:gd name="connsiteY28" fmla="*/ 2288777 h 2983210"/>
                    <a:gd name="connsiteX29" fmla="*/ 1581080 w 1829122"/>
                    <a:gd name="connsiteY29" fmla="*/ 2502174 h 2983210"/>
                    <a:gd name="connsiteX30" fmla="*/ 1822786 w 1829122"/>
                    <a:gd name="connsiteY30" fmla="*/ 2996473 h 2983210"/>
                    <a:gd name="connsiteX31" fmla="*/ 1831496 w 1829122"/>
                    <a:gd name="connsiteY31" fmla="*/ 3003005 h 2983210"/>
                    <a:gd name="connsiteX32" fmla="*/ 1835851 w 1829122"/>
                    <a:gd name="connsiteY32" fmla="*/ 3003005 h 2983210"/>
                    <a:gd name="connsiteX33" fmla="*/ 1840206 w 1829122"/>
                    <a:gd name="connsiteY33" fmla="*/ 2987763 h 29832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829122" h="2983210">
                      <a:moveTo>
                        <a:pt x="1840206" y="2987763"/>
                      </a:moveTo>
                      <a:cubicBezTo>
                        <a:pt x="1779236" y="2841868"/>
                        <a:pt x="1694312" y="2674199"/>
                        <a:pt x="1596323" y="2491287"/>
                      </a:cubicBezTo>
                      <a:cubicBezTo>
                        <a:pt x="1596323" y="2489109"/>
                        <a:pt x="1596323" y="2489109"/>
                        <a:pt x="1594146" y="2486932"/>
                      </a:cubicBezTo>
                      <a:cubicBezTo>
                        <a:pt x="1504867" y="2323617"/>
                        <a:pt x="1404701" y="2147237"/>
                        <a:pt x="1298002" y="1970858"/>
                      </a:cubicBezTo>
                      <a:cubicBezTo>
                        <a:pt x="1298002" y="1968680"/>
                        <a:pt x="1295825" y="1968680"/>
                        <a:pt x="1295825" y="1966503"/>
                      </a:cubicBezTo>
                      <a:cubicBezTo>
                        <a:pt x="1239209" y="1870692"/>
                        <a:pt x="1180416" y="1774880"/>
                        <a:pt x="1119445" y="1676892"/>
                      </a:cubicBezTo>
                      <a:lnTo>
                        <a:pt x="1073717" y="1047586"/>
                      </a:lnTo>
                      <a:cubicBezTo>
                        <a:pt x="1073717" y="1041054"/>
                        <a:pt x="1067184" y="1038876"/>
                        <a:pt x="1062829" y="1038876"/>
                      </a:cubicBezTo>
                      <a:cubicBezTo>
                        <a:pt x="1056297" y="1038876"/>
                        <a:pt x="1051942" y="1043232"/>
                        <a:pt x="1054119" y="1049764"/>
                      </a:cubicBezTo>
                      <a:lnTo>
                        <a:pt x="1097670" y="1639874"/>
                      </a:lnTo>
                      <a:cubicBezTo>
                        <a:pt x="975728" y="1439541"/>
                        <a:pt x="847254" y="1241386"/>
                        <a:pt x="725313" y="1054119"/>
                      </a:cubicBezTo>
                      <a:cubicBezTo>
                        <a:pt x="725313" y="1051942"/>
                        <a:pt x="723135" y="1051942"/>
                        <a:pt x="723135" y="1049764"/>
                      </a:cubicBezTo>
                      <a:cubicBezTo>
                        <a:pt x="346423" y="470542"/>
                        <a:pt x="26327" y="15439"/>
                        <a:pt x="19794" y="4551"/>
                      </a:cubicBezTo>
                      <a:cubicBezTo>
                        <a:pt x="17617" y="196"/>
                        <a:pt x="11084" y="-1981"/>
                        <a:pt x="4551" y="2374"/>
                      </a:cubicBezTo>
                      <a:cubicBezTo>
                        <a:pt x="196" y="4551"/>
                        <a:pt x="-1981" y="11084"/>
                        <a:pt x="2374" y="17617"/>
                      </a:cubicBezTo>
                      <a:cubicBezTo>
                        <a:pt x="8906" y="26327"/>
                        <a:pt x="318115" y="466187"/>
                        <a:pt x="686117" y="1032344"/>
                      </a:cubicBezTo>
                      <a:lnTo>
                        <a:pt x="270210" y="825479"/>
                      </a:lnTo>
                      <a:cubicBezTo>
                        <a:pt x="265855" y="823301"/>
                        <a:pt x="259322" y="825479"/>
                        <a:pt x="257144" y="829834"/>
                      </a:cubicBezTo>
                      <a:cubicBezTo>
                        <a:pt x="254967" y="834189"/>
                        <a:pt x="257144" y="840722"/>
                        <a:pt x="261499" y="842899"/>
                      </a:cubicBezTo>
                      <a:lnTo>
                        <a:pt x="707892" y="1065007"/>
                      </a:lnTo>
                      <a:cubicBezTo>
                        <a:pt x="888627" y="1343730"/>
                        <a:pt x="1082427" y="1650761"/>
                        <a:pt x="1263162" y="1949082"/>
                      </a:cubicBezTo>
                      <a:lnTo>
                        <a:pt x="836367" y="1733507"/>
                      </a:lnTo>
                      <a:cubicBezTo>
                        <a:pt x="832012" y="1731330"/>
                        <a:pt x="825479" y="1733507"/>
                        <a:pt x="823301" y="1737862"/>
                      </a:cubicBezTo>
                      <a:cubicBezTo>
                        <a:pt x="821124" y="1742217"/>
                        <a:pt x="823301" y="1748750"/>
                        <a:pt x="827656" y="1750928"/>
                      </a:cubicBezTo>
                      <a:lnTo>
                        <a:pt x="1282759" y="1981745"/>
                      </a:lnTo>
                      <a:cubicBezTo>
                        <a:pt x="1382926" y="2149415"/>
                        <a:pt x="1478737" y="2314907"/>
                        <a:pt x="1563660" y="2471689"/>
                      </a:cubicBezTo>
                      <a:lnTo>
                        <a:pt x="1171706" y="2271356"/>
                      </a:lnTo>
                      <a:cubicBezTo>
                        <a:pt x="1167350" y="2269179"/>
                        <a:pt x="1160818" y="2271356"/>
                        <a:pt x="1158641" y="2275711"/>
                      </a:cubicBezTo>
                      <a:cubicBezTo>
                        <a:pt x="1156463" y="2280067"/>
                        <a:pt x="1158641" y="2286599"/>
                        <a:pt x="1162995" y="2288777"/>
                      </a:cubicBezTo>
                      <a:lnTo>
                        <a:pt x="1581080" y="2502174"/>
                      </a:lnTo>
                      <a:cubicBezTo>
                        <a:pt x="1679069" y="2682909"/>
                        <a:pt x="1761815" y="2850578"/>
                        <a:pt x="1822786" y="2996473"/>
                      </a:cubicBezTo>
                      <a:cubicBezTo>
                        <a:pt x="1824964" y="3000828"/>
                        <a:pt x="1827141" y="3003005"/>
                        <a:pt x="1831496" y="3003005"/>
                      </a:cubicBezTo>
                      <a:cubicBezTo>
                        <a:pt x="1833674" y="3003005"/>
                        <a:pt x="1833674" y="3003005"/>
                        <a:pt x="1835851" y="3003005"/>
                      </a:cubicBezTo>
                      <a:cubicBezTo>
                        <a:pt x="1840206" y="3000828"/>
                        <a:pt x="1844561" y="2994295"/>
                        <a:pt x="1840206" y="2987763"/>
                      </a:cubicBezTo>
                      <a:close/>
                    </a:path>
                  </a:pathLst>
                </a:custGeom>
                <a:solidFill>
                  <a:schemeClr val="accent1">
                    <a:lumMod val="75000"/>
                  </a:schemeClr>
                </a:solidFill>
                <a:ln w="2176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grpSp>
            <p:nvGrpSpPr>
              <p:cNvPr id="29" name="Group 27">
                <a:extLst>
                  <a:ext uri="{FF2B5EF4-FFF2-40B4-BE49-F238E27FC236}">
                    <a16:creationId xmlns:a16="http://schemas.microsoft.com/office/drawing/2014/main" id="{0630A367-EA3A-48C0-BC5A-ACC29D5C2F5B}"/>
                  </a:ext>
                </a:extLst>
              </p:cNvPr>
              <p:cNvGrpSpPr/>
              <p:nvPr/>
            </p:nvGrpSpPr>
            <p:grpSpPr>
              <a:xfrm flipH="1">
                <a:off x="10526583" y="5476544"/>
                <a:ext cx="584157" cy="1417155"/>
                <a:chOff x="5096315" y="5919603"/>
                <a:chExt cx="871010" cy="2113057"/>
              </a:xfrm>
            </p:grpSpPr>
            <p:sp>
              <p:nvSpPr>
                <p:cNvPr id="30" name="Freeform: Shape 28">
                  <a:extLst>
                    <a:ext uri="{FF2B5EF4-FFF2-40B4-BE49-F238E27FC236}">
                      <a16:creationId xmlns:a16="http://schemas.microsoft.com/office/drawing/2014/main" id="{6E8D51B0-CE0E-4A2D-B8C7-D42290BF3895}"/>
                    </a:ext>
                  </a:extLst>
                </p:cNvPr>
                <p:cNvSpPr/>
                <p:nvPr/>
              </p:nvSpPr>
              <p:spPr>
                <a:xfrm>
                  <a:off x="5179101" y="6551125"/>
                  <a:ext cx="435505" cy="522606"/>
                </a:xfrm>
                <a:custGeom>
                  <a:avLst/>
                  <a:gdLst>
                    <a:gd name="connsiteX0" fmla="*/ 442854 w 435505"/>
                    <a:gd name="connsiteY0" fmla="*/ 538666 h 522606"/>
                    <a:gd name="connsiteX1" fmla="*/ 431967 w 435505"/>
                    <a:gd name="connsiteY1" fmla="*/ 529955 h 522606"/>
                    <a:gd name="connsiteX2" fmla="*/ 7349 w 435505"/>
                    <a:gd name="connsiteY2" fmla="*/ 20414 h 522606"/>
                    <a:gd name="connsiteX3" fmla="*/ 817 w 435505"/>
                    <a:gd name="connsiteY3" fmla="*/ 7349 h 522606"/>
                    <a:gd name="connsiteX4" fmla="*/ 13882 w 435505"/>
                    <a:gd name="connsiteY4" fmla="*/ 817 h 522606"/>
                    <a:gd name="connsiteX5" fmla="*/ 453742 w 435505"/>
                    <a:gd name="connsiteY5" fmla="*/ 527778 h 522606"/>
                    <a:gd name="connsiteX6" fmla="*/ 442854 w 435505"/>
                    <a:gd name="connsiteY6" fmla="*/ 538666 h 522606"/>
                    <a:gd name="connsiteX7" fmla="*/ 442854 w 435505"/>
                    <a:gd name="connsiteY7" fmla="*/ 538666 h 522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505" h="522606">
                      <a:moveTo>
                        <a:pt x="442854" y="538666"/>
                      </a:moveTo>
                      <a:cubicBezTo>
                        <a:pt x="438500" y="538666"/>
                        <a:pt x="434144" y="534311"/>
                        <a:pt x="431967" y="529955"/>
                      </a:cubicBezTo>
                      <a:cubicBezTo>
                        <a:pt x="377528" y="118403"/>
                        <a:pt x="11704" y="20414"/>
                        <a:pt x="7349" y="20414"/>
                      </a:cubicBezTo>
                      <a:cubicBezTo>
                        <a:pt x="817" y="18237"/>
                        <a:pt x="-1361" y="13882"/>
                        <a:pt x="817" y="7349"/>
                      </a:cubicBezTo>
                      <a:cubicBezTo>
                        <a:pt x="2994" y="817"/>
                        <a:pt x="7349" y="-1361"/>
                        <a:pt x="13882" y="817"/>
                      </a:cubicBezTo>
                      <a:cubicBezTo>
                        <a:pt x="18237" y="817"/>
                        <a:pt x="397126" y="100983"/>
                        <a:pt x="453742" y="527778"/>
                      </a:cubicBezTo>
                      <a:cubicBezTo>
                        <a:pt x="453742" y="532133"/>
                        <a:pt x="449387" y="536488"/>
                        <a:pt x="442854" y="538666"/>
                      </a:cubicBezTo>
                      <a:cubicBezTo>
                        <a:pt x="442854" y="536488"/>
                        <a:pt x="442854" y="538666"/>
                        <a:pt x="442854" y="538666"/>
                      </a:cubicBezTo>
                      <a:close/>
                    </a:path>
                  </a:pathLst>
                </a:custGeom>
                <a:solidFill>
                  <a:srgbClr val="333C4B"/>
                </a:solidFill>
                <a:ln w="2176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1" name="Freeform: Shape 29">
                  <a:extLst>
                    <a:ext uri="{FF2B5EF4-FFF2-40B4-BE49-F238E27FC236}">
                      <a16:creationId xmlns:a16="http://schemas.microsoft.com/office/drawing/2014/main" id="{370EB710-7226-4EA0-B81C-FA70596988CD}"/>
                    </a:ext>
                  </a:extLst>
                </p:cNvPr>
                <p:cNvSpPr/>
                <p:nvPr/>
              </p:nvSpPr>
              <p:spPr>
                <a:xfrm>
                  <a:off x="5553096" y="6086698"/>
                  <a:ext cx="174202" cy="653258"/>
                </a:xfrm>
                <a:custGeom>
                  <a:avLst/>
                  <a:gdLst>
                    <a:gd name="connsiteX0" fmla="*/ 18776 w 174202"/>
                    <a:gd name="connsiteY0" fmla="*/ 665576 h 653257"/>
                    <a:gd name="connsiteX1" fmla="*/ 7889 w 174202"/>
                    <a:gd name="connsiteY1" fmla="*/ 656866 h 653257"/>
                    <a:gd name="connsiteX2" fmla="*/ 164670 w 174202"/>
                    <a:gd name="connsiteY2" fmla="*/ 3608 h 653257"/>
                    <a:gd name="connsiteX3" fmla="*/ 179913 w 174202"/>
                    <a:gd name="connsiteY3" fmla="*/ 1430 h 653257"/>
                    <a:gd name="connsiteX4" fmla="*/ 182091 w 174202"/>
                    <a:gd name="connsiteY4" fmla="*/ 16673 h 653257"/>
                    <a:gd name="connsiteX5" fmla="*/ 29664 w 174202"/>
                    <a:gd name="connsiteY5" fmla="*/ 654688 h 653257"/>
                    <a:gd name="connsiteX6" fmla="*/ 18776 w 174202"/>
                    <a:gd name="connsiteY6" fmla="*/ 665576 h 653257"/>
                    <a:gd name="connsiteX7" fmla="*/ 18776 w 174202"/>
                    <a:gd name="connsiteY7" fmla="*/ 665576 h 6532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4202" h="653257">
                      <a:moveTo>
                        <a:pt x="18776" y="665576"/>
                      </a:moveTo>
                      <a:cubicBezTo>
                        <a:pt x="14421" y="665576"/>
                        <a:pt x="10066" y="661221"/>
                        <a:pt x="7889" y="656866"/>
                      </a:cubicBezTo>
                      <a:cubicBezTo>
                        <a:pt x="-42195" y="269266"/>
                        <a:pt x="162493" y="5785"/>
                        <a:pt x="164670" y="3608"/>
                      </a:cubicBezTo>
                      <a:cubicBezTo>
                        <a:pt x="169026" y="-747"/>
                        <a:pt x="175558" y="-747"/>
                        <a:pt x="179913" y="1430"/>
                      </a:cubicBezTo>
                      <a:cubicBezTo>
                        <a:pt x="184268" y="5785"/>
                        <a:pt x="184268" y="12318"/>
                        <a:pt x="182091" y="16673"/>
                      </a:cubicBezTo>
                      <a:cubicBezTo>
                        <a:pt x="179913" y="18851"/>
                        <a:pt x="-18242" y="275799"/>
                        <a:pt x="29664" y="654688"/>
                      </a:cubicBezTo>
                      <a:cubicBezTo>
                        <a:pt x="29664" y="659043"/>
                        <a:pt x="27486" y="665576"/>
                        <a:pt x="18776" y="665576"/>
                      </a:cubicBezTo>
                      <a:cubicBezTo>
                        <a:pt x="20954" y="665576"/>
                        <a:pt x="20954" y="665576"/>
                        <a:pt x="18776" y="665576"/>
                      </a:cubicBezTo>
                      <a:close/>
                    </a:path>
                  </a:pathLst>
                </a:custGeom>
                <a:solidFill>
                  <a:srgbClr val="333C4B"/>
                </a:solidFill>
                <a:ln w="2176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2" name="Freeform: Shape 30">
                  <a:extLst>
                    <a:ext uri="{FF2B5EF4-FFF2-40B4-BE49-F238E27FC236}">
                      <a16:creationId xmlns:a16="http://schemas.microsoft.com/office/drawing/2014/main" id="{6A0E2962-AD39-47E8-9DA1-7A9A6078C218}"/>
                    </a:ext>
                  </a:extLst>
                </p:cNvPr>
                <p:cNvSpPr/>
                <p:nvPr/>
              </p:nvSpPr>
              <p:spPr>
                <a:xfrm>
                  <a:off x="5231981" y="6055269"/>
                  <a:ext cx="610759" cy="1977391"/>
                </a:xfrm>
                <a:custGeom>
                  <a:avLst/>
                  <a:gdLst>
                    <a:gd name="connsiteX0" fmla="*/ 4551 w 610759"/>
                    <a:gd name="connsiteY0" fmla="*/ 2374 h 1977391"/>
                    <a:gd name="connsiteX1" fmla="*/ 19794 w 610759"/>
                    <a:gd name="connsiteY1" fmla="*/ 4551 h 1977391"/>
                    <a:gd name="connsiteX2" fmla="*/ 404435 w 610759"/>
                    <a:gd name="connsiteY2" fmla="*/ 1068157 h 1977391"/>
                    <a:gd name="connsiteX3" fmla="*/ 403443 w 610759"/>
                    <a:gd name="connsiteY3" fmla="*/ 1165598 h 1977391"/>
                    <a:gd name="connsiteX4" fmla="*/ 416717 w 610759"/>
                    <a:gd name="connsiteY4" fmla="*/ 1109476 h 1977391"/>
                    <a:gd name="connsiteX5" fmla="*/ 592485 w 610759"/>
                    <a:gd name="connsiteY5" fmla="*/ 599016 h 1977391"/>
                    <a:gd name="connsiteX6" fmla="*/ 605549 w 610759"/>
                    <a:gd name="connsiteY6" fmla="*/ 594661 h 1977391"/>
                    <a:gd name="connsiteX7" fmla="*/ 609905 w 610759"/>
                    <a:gd name="connsiteY7" fmla="*/ 607726 h 1977391"/>
                    <a:gd name="connsiteX8" fmla="*/ 406003 w 610759"/>
                    <a:gd name="connsiteY8" fmla="*/ 1237678 h 1977391"/>
                    <a:gd name="connsiteX9" fmla="*/ 394802 w 610759"/>
                    <a:gd name="connsiteY9" fmla="*/ 1309621 h 1977391"/>
                    <a:gd name="connsiteX10" fmla="*/ 392765 w 610759"/>
                    <a:gd name="connsiteY10" fmla="*/ 1335452 h 1977391"/>
                    <a:gd name="connsiteX11" fmla="*/ 217949 w 610759"/>
                    <a:gd name="connsiteY11" fmla="*/ 1973036 h 1977391"/>
                    <a:gd name="connsiteX12" fmla="*/ 207061 w 610759"/>
                    <a:gd name="connsiteY12" fmla="*/ 1977391 h 1977391"/>
                    <a:gd name="connsiteX13" fmla="*/ 202706 w 610759"/>
                    <a:gd name="connsiteY13" fmla="*/ 1977391 h 1977391"/>
                    <a:gd name="connsiteX14" fmla="*/ 198351 w 610759"/>
                    <a:gd name="connsiteY14" fmla="*/ 1964326 h 1977391"/>
                    <a:gd name="connsiteX15" fmla="*/ 354713 w 610759"/>
                    <a:gd name="connsiteY15" fmla="*/ 1455742 h 1977391"/>
                    <a:gd name="connsiteX16" fmla="*/ 369254 w 610759"/>
                    <a:gd name="connsiteY16" fmla="*/ 1353496 h 1977391"/>
                    <a:gd name="connsiteX17" fmla="*/ 368198 w 610759"/>
                    <a:gd name="connsiteY17" fmla="*/ 1352440 h 1977391"/>
                    <a:gd name="connsiteX18" fmla="*/ 372786 w 610759"/>
                    <a:gd name="connsiteY18" fmla="*/ 1323875 h 1977391"/>
                    <a:gd name="connsiteX19" fmla="*/ 382081 w 610759"/>
                    <a:gd name="connsiteY19" fmla="*/ 1205730 h 1977391"/>
                    <a:gd name="connsiteX20" fmla="*/ 2374 w 610759"/>
                    <a:gd name="connsiteY20" fmla="*/ 17617 h 1977391"/>
                    <a:gd name="connsiteX21" fmla="*/ 4551 w 610759"/>
                    <a:gd name="connsiteY21" fmla="*/ 2374 h 19773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610759" h="1977391">
                      <a:moveTo>
                        <a:pt x="4551" y="2374"/>
                      </a:moveTo>
                      <a:cubicBezTo>
                        <a:pt x="8906" y="-1981"/>
                        <a:pt x="15439" y="196"/>
                        <a:pt x="19794" y="4551"/>
                      </a:cubicBezTo>
                      <a:cubicBezTo>
                        <a:pt x="300831" y="367518"/>
                        <a:pt x="395980" y="741321"/>
                        <a:pt x="404435" y="1068157"/>
                      </a:cubicBezTo>
                      <a:lnTo>
                        <a:pt x="403443" y="1165598"/>
                      </a:lnTo>
                      <a:lnTo>
                        <a:pt x="416717" y="1109476"/>
                      </a:lnTo>
                      <a:cubicBezTo>
                        <a:pt x="483880" y="856645"/>
                        <a:pt x="590852" y="602283"/>
                        <a:pt x="592485" y="599016"/>
                      </a:cubicBezTo>
                      <a:cubicBezTo>
                        <a:pt x="594662" y="594661"/>
                        <a:pt x="601195" y="590306"/>
                        <a:pt x="605549" y="594661"/>
                      </a:cubicBezTo>
                      <a:cubicBezTo>
                        <a:pt x="609905" y="596838"/>
                        <a:pt x="612082" y="603371"/>
                        <a:pt x="609905" y="607726"/>
                      </a:cubicBezTo>
                      <a:cubicBezTo>
                        <a:pt x="607999" y="611537"/>
                        <a:pt x="462717" y="953783"/>
                        <a:pt x="406003" y="1237678"/>
                      </a:cubicBezTo>
                      <a:lnTo>
                        <a:pt x="394802" y="1309621"/>
                      </a:lnTo>
                      <a:lnTo>
                        <a:pt x="392765" y="1335452"/>
                      </a:lnTo>
                      <a:cubicBezTo>
                        <a:pt x="359778" y="1630731"/>
                        <a:pt x="268441" y="1862527"/>
                        <a:pt x="217949" y="1973036"/>
                      </a:cubicBezTo>
                      <a:cubicBezTo>
                        <a:pt x="213594" y="1975214"/>
                        <a:pt x="211417" y="1977391"/>
                        <a:pt x="207061" y="1977391"/>
                      </a:cubicBezTo>
                      <a:cubicBezTo>
                        <a:pt x="204884" y="1977391"/>
                        <a:pt x="204884" y="1977391"/>
                        <a:pt x="202706" y="1977391"/>
                      </a:cubicBezTo>
                      <a:cubicBezTo>
                        <a:pt x="198351" y="1975214"/>
                        <a:pt x="196174" y="1968681"/>
                        <a:pt x="198351" y="1964326"/>
                      </a:cubicBezTo>
                      <a:cubicBezTo>
                        <a:pt x="241630" y="1871237"/>
                        <a:pt x="314305" y="1689652"/>
                        <a:pt x="354713" y="1455742"/>
                      </a:cubicBezTo>
                      <a:lnTo>
                        <a:pt x="369254" y="1353496"/>
                      </a:lnTo>
                      <a:lnTo>
                        <a:pt x="368198" y="1352440"/>
                      </a:lnTo>
                      <a:lnTo>
                        <a:pt x="372786" y="1323875"/>
                      </a:lnTo>
                      <a:lnTo>
                        <a:pt x="382081" y="1205730"/>
                      </a:lnTo>
                      <a:cubicBezTo>
                        <a:pt x="398140" y="852699"/>
                        <a:pt x="320293" y="428081"/>
                        <a:pt x="2374" y="17617"/>
                      </a:cubicBezTo>
                      <a:cubicBezTo>
                        <a:pt x="-1981" y="13261"/>
                        <a:pt x="196" y="6729"/>
                        <a:pt x="4551" y="2374"/>
                      </a:cubicBezTo>
                      <a:close/>
                    </a:path>
                  </a:pathLst>
                </a:custGeom>
                <a:solidFill>
                  <a:schemeClr val="tx1">
                    <a:lumMod val="75000"/>
                    <a:lumOff val="25000"/>
                  </a:schemeClr>
                </a:solidFill>
                <a:ln w="2176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3" name="Freeform: Shape 31">
                  <a:extLst>
                    <a:ext uri="{FF2B5EF4-FFF2-40B4-BE49-F238E27FC236}">
                      <a16:creationId xmlns:a16="http://schemas.microsoft.com/office/drawing/2014/main" id="{E27B5DE0-B49D-4BF8-9CFB-BC3EC6B4A851}"/>
                    </a:ext>
                  </a:extLst>
                </p:cNvPr>
                <p:cNvSpPr/>
                <p:nvPr/>
              </p:nvSpPr>
              <p:spPr>
                <a:xfrm>
                  <a:off x="5096315" y="5919603"/>
                  <a:ext cx="283078" cy="283078"/>
                </a:xfrm>
                <a:custGeom>
                  <a:avLst/>
                  <a:gdLst>
                    <a:gd name="connsiteX0" fmla="*/ 292644 w 283078"/>
                    <a:gd name="connsiteY0" fmla="*/ 161992 h 283078"/>
                    <a:gd name="connsiteX1" fmla="*/ 131507 w 283078"/>
                    <a:gd name="connsiteY1" fmla="*/ 292644 h 283078"/>
                    <a:gd name="connsiteX2" fmla="*/ 856 w 283078"/>
                    <a:gd name="connsiteY2" fmla="*/ 131507 h 283078"/>
                    <a:gd name="connsiteX3" fmla="*/ 161992 w 283078"/>
                    <a:gd name="connsiteY3" fmla="*/ 856 h 283078"/>
                    <a:gd name="connsiteX4" fmla="*/ 292644 w 283078"/>
                    <a:gd name="connsiteY4" fmla="*/ 161992 h 2830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078" h="283078">
                      <a:moveTo>
                        <a:pt x="292644" y="161992"/>
                      </a:moveTo>
                      <a:cubicBezTo>
                        <a:pt x="283934" y="242561"/>
                        <a:pt x="212076" y="301354"/>
                        <a:pt x="131507" y="292644"/>
                      </a:cubicBezTo>
                      <a:cubicBezTo>
                        <a:pt x="50939" y="283934"/>
                        <a:pt x="-7855" y="212076"/>
                        <a:pt x="856" y="131507"/>
                      </a:cubicBezTo>
                      <a:cubicBezTo>
                        <a:pt x="9566" y="50939"/>
                        <a:pt x="81424" y="-7855"/>
                        <a:pt x="161992" y="856"/>
                      </a:cubicBezTo>
                      <a:cubicBezTo>
                        <a:pt x="242561" y="7388"/>
                        <a:pt x="301354" y="81424"/>
                        <a:pt x="292644" y="161992"/>
                      </a:cubicBezTo>
                      <a:close/>
                    </a:path>
                  </a:pathLst>
                </a:custGeom>
                <a:solidFill>
                  <a:schemeClr val="accent2"/>
                </a:solidFill>
                <a:ln w="2176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4" name="Freeform: Shape 32">
                  <a:extLst>
                    <a:ext uri="{FF2B5EF4-FFF2-40B4-BE49-F238E27FC236}">
                      <a16:creationId xmlns:a16="http://schemas.microsoft.com/office/drawing/2014/main" id="{FADE0501-C97A-4C3F-ADE5-2A9B52484976}"/>
                    </a:ext>
                  </a:extLst>
                </p:cNvPr>
                <p:cNvSpPr/>
                <p:nvPr/>
              </p:nvSpPr>
              <p:spPr>
                <a:xfrm>
                  <a:off x="5544886" y="6004527"/>
                  <a:ext cx="283078" cy="283078"/>
                </a:xfrm>
                <a:custGeom>
                  <a:avLst/>
                  <a:gdLst>
                    <a:gd name="connsiteX0" fmla="*/ 292644 w 283078"/>
                    <a:gd name="connsiteY0" fmla="*/ 161993 h 283078"/>
                    <a:gd name="connsiteX1" fmla="*/ 131507 w 283078"/>
                    <a:gd name="connsiteY1" fmla="*/ 292644 h 283078"/>
                    <a:gd name="connsiteX2" fmla="*/ 856 w 283078"/>
                    <a:gd name="connsiteY2" fmla="*/ 131507 h 283078"/>
                    <a:gd name="connsiteX3" fmla="*/ 161992 w 283078"/>
                    <a:gd name="connsiteY3" fmla="*/ 856 h 283078"/>
                    <a:gd name="connsiteX4" fmla="*/ 292644 w 283078"/>
                    <a:gd name="connsiteY4" fmla="*/ 161993 h 2830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078" h="283078">
                      <a:moveTo>
                        <a:pt x="292644" y="161993"/>
                      </a:moveTo>
                      <a:cubicBezTo>
                        <a:pt x="283934" y="242561"/>
                        <a:pt x="212076" y="301354"/>
                        <a:pt x="131507" y="292644"/>
                      </a:cubicBezTo>
                      <a:cubicBezTo>
                        <a:pt x="50939" y="283934"/>
                        <a:pt x="-7854" y="212076"/>
                        <a:pt x="856" y="131507"/>
                      </a:cubicBezTo>
                      <a:cubicBezTo>
                        <a:pt x="9566" y="50939"/>
                        <a:pt x="81424" y="-7854"/>
                        <a:pt x="161992" y="856"/>
                      </a:cubicBezTo>
                      <a:cubicBezTo>
                        <a:pt x="244739" y="9566"/>
                        <a:pt x="301355" y="81424"/>
                        <a:pt x="292644" y="161993"/>
                      </a:cubicBezTo>
                      <a:close/>
                    </a:path>
                  </a:pathLst>
                </a:custGeom>
                <a:solidFill>
                  <a:schemeClr val="accent3"/>
                </a:solidFill>
                <a:ln w="2176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5" name="Freeform: Shape 33">
                  <a:extLst>
                    <a:ext uri="{FF2B5EF4-FFF2-40B4-BE49-F238E27FC236}">
                      <a16:creationId xmlns:a16="http://schemas.microsoft.com/office/drawing/2014/main" id="{94184913-8CC2-4D1E-9062-0384B73BADDB}"/>
                    </a:ext>
                  </a:extLst>
                </p:cNvPr>
                <p:cNvSpPr/>
                <p:nvPr/>
              </p:nvSpPr>
              <p:spPr>
                <a:xfrm>
                  <a:off x="5684247" y="6533666"/>
                  <a:ext cx="283078" cy="283078"/>
                </a:xfrm>
                <a:custGeom>
                  <a:avLst/>
                  <a:gdLst>
                    <a:gd name="connsiteX0" fmla="*/ 292645 w 283078"/>
                    <a:gd name="connsiteY0" fmla="*/ 161993 h 283078"/>
                    <a:gd name="connsiteX1" fmla="*/ 131507 w 283078"/>
                    <a:gd name="connsiteY1" fmla="*/ 292644 h 283078"/>
                    <a:gd name="connsiteX2" fmla="*/ 856 w 283078"/>
                    <a:gd name="connsiteY2" fmla="*/ 131507 h 283078"/>
                    <a:gd name="connsiteX3" fmla="*/ 161993 w 283078"/>
                    <a:gd name="connsiteY3" fmla="*/ 856 h 283078"/>
                    <a:gd name="connsiteX4" fmla="*/ 292645 w 283078"/>
                    <a:gd name="connsiteY4" fmla="*/ 161993 h 2830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078" h="283078">
                      <a:moveTo>
                        <a:pt x="292645" y="161993"/>
                      </a:moveTo>
                      <a:cubicBezTo>
                        <a:pt x="283934" y="242561"/>
                        <a:pt x="212076" y="301354"/>
                        <a:pt x="131507" y="292644"/>
                      </a:cubicBezTo>
                      <a:cubicBezTo>
                        <a:pt x="50939" y="283934"/>
                        <a:pt x="-7854" y="212076"/>
                        <a:pt x="856" y="131507"/>
                      </a:cubicBezTo>
                      <a:cubicBezTo>
                        <a:pt x="9566" y="50939"/>
                        <a:pt x="81424" y="-7855"/>
                        <a:pt x="161993" y="856"/>
                      </a:cubicBezTo>
                      <a:cubicBezTo>
                        <a:pt x="242561" y="9566"/>
                        <a:pt x="301355" y="81424"/>
                        <a:pt x="292645" y="161993"/>
                      </a:cubicBezTo>
                      <a:close/>
                    </a:path>
                  </a:pathLst>
                </a:custGeom>
                <a:solidFill>
                  <a:schemeClr val="accent2"/>
                </a:solidFill>
                <a:ln w="2176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6" name="Freeform: Shape 34">
                  <a:extLst>
                    <a:ext uri="{FF2B5EF4-FFF2-40B4-BE49-F238E27FC236}">
                      <a16:creationId xmlns:a16="http://schemas.microsoft.com/office/drawing/2014/main" id="{AC7CB7AC-1727-4065-BDAE-A33722B6FE83}"/>
                    </a:ext>
                  </a:extLst>
                </p:cNvPr>
                <p:cNvSpPr/>
                <p:nvPr/>
              </p:nvSpPr>
              <p:spPr>
                <a:xfrm>
                  <a:off x="5100670" y="6435677"/>
                  <a:ext cx="283078" cy="283078"/>
                </a:xfrm>
                <a:custGeom>
                  <a:avLst/>
                  <a:gdLst>
                    <a:gd name="connsiteX0" fmla="*/ 292644 w 283078"/>
                    <a:gd name="connsiteY0" fmla="*/ 161993 h 283078"/>
                    <a:gd name="connsiteX1" fmla="*/ 131507 w 283078"/>
                    <a:gd name="connsiteY1" fmla="*/ 292644 h 283078"/>
                    <a:gd name="connsiteX2" fmla="*/ 856 w 283078"/>
                    <a:gd name="connsiteY2" fmla="*/ 131507 h 283078"/>
                    <a:gd name="connsiteX3" fmla="*/ 161992 w 283078"/>
                    <a:gd name="connsiteY3" fmla="*/ 856 h 283078"/>
                    <a:gd name="connsiteX4" fmla="*/ 292644 w 283078"/>
                    <a:gd name="connsiteY4" fmla="*/ 161993 h 2830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078" h="283078">
                      <a:moveTo>
                        <a:pt x="292644" y="161993"/>
                      </a:moveTo>
                      <a:cubicBezTo>
                        <a:pt x="283934" y="242561"/>
                        <a:pt x="212076" y="301354"/>
                        <a:pt x="131507" y="292644"/>
                      </a:cubicBezTo>
                      <a:cubicBezTo>
                        <a:pt x="50939" y="283934"/>
                        <a:pt x="-7854" y="212076"/>
                        <a:pt x="856" y="131507"/>
                      </a:cubicBezTo>
                      <a:cubicBezTo>
                        <a:pt x="9566" y="50939"/>
                        <a:pt x="81424" y="-7855"/>
                        <a:pt x="161992" y="856"/>
                      </a:cubicBezTo>
                      <a:cubicBezTo>
                        <a:pt x="242561" y="9566"/>
                        <a:pt x="301354" y="81424"/>
                        <a:pt x="292644" y="161993"/>
                      </a:cubicBezTo>
                      <a:close/>
                    </a:path>
                  </a:pathLst>
                </a:custGeom>
                <a:solidFill>
                  <a:schemeClr val="accent3"/>
                </a:solidFill>
                <a:ln w="2176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7" name="Freeform: Shape 35">
                  <a:extLst>
                    <a:ext uri="{FF2B5EF4-FFF2-40B4-BE49-F238E27FC236}">
                      <a16:creationId xmlns:a16="http://schemas.microsoft.com/office/drawing/2014/main" id="{3C8A4EDE-19A6-4C36-AC02-B0936039BDA8}"/>
                    </a:ext>
                  </a:extLst>
                </p:cNvPr>
                <p:cNvSpPr/>
                <p:nvPr/>
              </p:nvSpPr>
              <p:spPr>
                <a:xfrm>
                  <a:off x="5229144" y="7054095"/>
                  <a:ext cx="283078" cy="283078"/>
                </a:xfrm>
                <a:custGeom>
                  <a:avLst/>
                  <a:gdLst>
                    <a:gd name="connsiteX0" fmla="*/ 292644 w 283078"/>
                    <a:gd name="connsiteY0" fmla="*/ 161993 h 283078"/>
                    <a:gd name="connsiteX1" fmla="*/ 131507 w 283078"/>
                    <a:gd name="connsiteY1" fmla="*/ 292644 h 283078"/>
                    <a:gd name="connsiteX2" fmla="*/ 856 w 283078"/>
                    <a:gd name="connsiteY2" fmla="*/ 131507 h 283078"/>
                    <a:gd name="connsiteX3" fmla="*/ 161992 w 283078"/>
                    <a:gd name="connsiteY3" fmla="*/ 856 h 283078"/>
                    <a:gd name="connsiteX4" fmla="*/ 292644 w 283078"/>
                    <a:gd name="connsiteY4" fmla="*/ 161993 h 2830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078" h="283078">
                      <a:moveTo>
                        <a:pt x="292644" y="161993"/>
                      </a:moveTo>
                      <a:cubicBezTo>
                        <a:pt x="283934" y="242561"/>
                        <a:pt x="212076" y="301354"/>
                        <a:pt x="131507" y="292644"/>
                      </a:cubicBezTo>
                      <a:cubicBezTo>
                        <a:pt x="50939" y="283934"/>
                        <a:pt x="-7854" y="212076"/>
                        <a:pt x="856" y="131507"/>
                      </a:cubicBezTo>
                      <a:cubicBezTo>
                        <a:pt x="9566" y="50939"/>
                        <a:pt x="81424" y="-7855"/>
                        <a:pt x="161992" y="856"/>
                      </a:cubicBezTo>
                      <a:cubicBezTo>
                        <a:pt x="244739" y="9566"/>
                        <a:pt x="301355" y="81424"/>
                        <a:pt x="292644" y="161993"/>
                      </a:cubicBezTo>
                      <a:close/>
                    </a:path>
                  </a:pathLst>
                </a:custGeom>
                <a:solidFill>
                  <a:schemeClr val="accent1"/>
                </a:solidFill>
                <a:ln w="2176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grpSp>
        <p:grpSp>
          <p:nvGrpSpPr>
            <p:cNvPr id="10" name="Group 8">
              <a:extLst>
                <a:ext uri="{FF2B5EF4-FFF2-40B4-BE49-F238E27FC236}">
                  <a16:creationId xmlns:a16="http://schemas.microsoft.com/office/drawing/2014/main" id="{668D6DF4-2836-4480-9297-EBD15C10CBC1}"/>
                </a:ext>
              </a:extLst>
            </p:cNvPr>
            <p:cNvGrpSpPr/>
            <p:nvPr/>
          </p:nvGrpSpPr>
          <p:grpSpPr>
            <a:xfrm rot="262840">
              <a:off x="9922309" y="6046790"/>
              <a:ext cx="700304" cy="1244936"/>
              <a:chOff x="1704725" y="5707061"/>
              <a:chExt cx="1197640" cy="2129055"/>
            </a:xfrm>
          </p:grpSpPr>
          <p:sp>
            <p:nvSpPr>
              <p:cNvPr id="26" name="Freeform: Shape 24">
                <a:extLst>
                  <a:ext uri="{FF2B5EF4-FFF2-40B4-BE49-F238E27FC236}">
                    <a16:creationId xmlns:a16="http://schemas.microsoft.com/office/drawing/2014/main" id="{A5235C60-7BDC-47EF-A3F9-19F0A2B882FE}"/>
                  </a:ext>
                </a:extLst>
              </p:cNvPr>
              <p:cNvSpPr/>
              <p:nvPr/>
            </p:nvSpPr>
            <p:spPr>
              <a:xfrm>
                <a:off x="1704725" y="5707061"/>
                <a:ext cx="1197640" cy="1981549"/>
              </a:xfrm>
              <a:custGeom>
                <a:avLst/>
                <a:gdLst>
                  <a:gd name="connsiteX0" fmla="*/ 1153949 w 1197639"/>
                  <a:gd name="connsiteY0" fmla="*/ 975532 h 1981548"/>
                  <a:gd name="connsiteX1" fmla="*/ 844740 w 1197639"/>
                  <a:gd name="connsiteY1" fmla="*/ 1964129 h 1981548"/>
                  <a:gd name="connsiteX2" fmla="*/ 41233 w 1197639"/>
                  <a:gd name="connsiteY2" fmla="*/ 1310871 h 1981548"/>
                  <a:gd name="connsiteX3" fmla="*/ 252453 w 1197639"/>
                  <a:gd name="connsiteY3" fmla="*/ 0 h 1981548"/>
                  <a:gd name="connsiteX4" fmla="*/ 1153949 w 1197639"/>
                  <a:gd name="connsiteY4" fmla="*/ 975532 h 19815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7639" h="1981548">
                    <a:moveTo>
                      <a:pt x="1153949" y="975532"/>
                    </a:moveTo>
                    <a:cubicBezTo>
                      <a:pt x="1317264" y="1517736"/>
                      <a:pt x="1151771" y="1872673"/>
                      <a:pt x="844740" y="1964129"/>
                    </a:cubicBezTo>
                    <a:cubicBezTo>
                      <a:pt x="537709" y="2055585"/>
                      <a:pt x="204548" y="1853075"/>
                      <a:pt x="41233" y="1310871"/>
                    </a:cubicBezTo>
                    <a:cubicBezTo>
                      <a:pt x="-122081" y="768667"/>
                      <a:pt x="252453" y="0"/>
                      <a:pt x="252453" y="0"/>
                    </a:cubicBezTo>
                    <a:cubicBezTo>
                      <a:pt x="252453" y="0"/>
                      <a:pt x="990635" y="433328"/>
                      <a:pt x="1153949" y="975532"/>
                    </a:cubicBezTo>
                    <a:close/>
                  </a:path>
                </a:pathLst>
              </a:custGeom>
              <a:solidFill>
                <a:schemeClr val="accent2"/>
              </a:solidFill>
              <a:ln w="2176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7" name="Freeform: Shape 25">
                <a:extLst>
                  <a:ext uri="{FF2B5EF4-FFF2-40B4-BE49-F238E27FC236}">
                    <a16:creationId xmlns:a16="http://schemas.microsoft.com/office/drawing/2014/main" id="{E3290B16-D2C7-4D3C-A559-BC005ED24655}"/>
                  </a:ext>
                </a:extLst>
              </p:cNvPr>
              <p:cNvSpPr/>
              <p:nvPr/>
            </p:nvSpPr>
            <p:spPr>
              <a:xfrm>
                <a:off x="1840952" y="6094095"/>
                <a:ext cx="827460" cy="1742021"/>
              </a:xfrm>
              <a:custGeom>
                <a:avLst/>
                <a:gdLst>
                  <a:gd name="connsiteX0" fmla="*/ 832632 w 827460"/>
                  <a:gd name="connsiteY0" fmla="*/ 952145 h 1742020"/>
                  <a:gd name="connsiteX1" fmla="*/ 815211 w 827460"/>
                  <a:gd name="connsiteY1" fmla="*/ 958678 h 1742020"/>
                  <a:gd name="connsiteX2" fmla="*/ 636654 w 827460"/>
                  <a:gd name="connsiteY2" fmla="*/ 1289662 h 1742020"/>
                  <a:gd name="connsiteX3" fmla="*/ 603991 w 827460"/>
                  <a:gd name="connsiteY3" fmla="*/ 1182963 h 1742020"/>
                  <a:gd name="connsiteX4" fmla="*/ 603991 w 827460"/>
                  <a:gd name="connsiteY4" fmla="*/ 1182963 h 1742020"/>
                  <a:gd name="connsiteX5" fmla="*/ 538666 w 827460"/>
                  <a:gd name="connsiteY5" fmla="*/ 967388 h 1742020"/>
                  <a:gd name="connsiteX6" fmla="*/ 730288 w 827460"/>
                  <a:gd name="connsiteY6" fmla="*/ 610274 h 1742020"/>
                  <a:gd name="connsiteX7" fmla="*/ 723755 w 827460"/>
                  <a:gd name="connsiteY7" fmla="*/ 592854 h 1742020"/>
                  <a:gd name="connsiteX8" fmla="*/ 706335 w 827460"/>
                  <a:gd name="connsiteY8" fmla="*/ 599386 h 1742020"/>
                  <a:gd name="connsiteX9" fmla="*/ 527778 w 827460"/>
                  <a:gd name="connsiteY9" fmla="*/ 932548 h 1742020"/>
                  <a:gd name="connsiteX10" fmla="*/ 429789 w 827460"/>
                  <a:gd name="connsiteY10" fmla="*/ 608096 h 1742020"/>
                  <a:gd name="connsiteX11" fmla="*/ 621412 w 827460"/>
                  <a:gd name="connsiteY11" fmla="*/ 250982 h 1742020"/>
                  <a:gd name="connsiteX12" fmla="*/ 614879 w 827460"/>
                  <a:gd name="connsiteY12" fmla="*/ 233562 h 1742020"/>
                  <a:gd name="connsiteX13" fmla="*/ 597459 w 827460"/>
                  <a:gd name="connsiteY13" fmla="*/ 240094 h 1742020"/>
                  <a:gd name="connsiteX14" fmla="*/ 418902 w 827460"/>
                  <a:gd name="connsiteY14" fmla="*/ 568901 h 1742020"/>
                  <a:gd name="connsiteX15" fmla="*/ 251232 w 827460"/>
                  <a:gd name="connsiteY15" fmla="*/ 9276 h 1742020"/>
                  <a:gd name="connsiteX16" fmla="*/ 233812 w 827460"/>
                  <a:gd name="connsiteY16" fmla="*/ 566 h 1742020"/>
                  <a:gd name="connsiteX17" fmla="*/ 225102 w 827460"/>
                  <a:gd name="connsiteY17" fmla="*/ 17987 h 1742020"/>
                  <a:gd name="connsiteX18" fmla="*/ 351398 w 827460"/>
                  <a:gd name="connsiteY18" fmla="*/ 438249 h 1742020"/>
                  <a:gd name="connsiteX19" fmla="*/ 18237 w 827460"/>
                  <a:gd name="connsiteY19" fmla="*/ 259692 h 1742020"/>
                  <a:gd name="connsiteX20" fmla="*/ 817 w 827460"/>
                  <a:gd name="connsiteY20" fmla="*/ 266225 h 1742020"/>
                  <a:gd name="connsiteX21" fmla="*/ 7349 w 827460"/>
                  <a:gd name="connsiteY21" fmla="*/ 283645 h 1742020"/>
                  <a:gd name="connsiteX22" fmla="*/ 364463 w 827460"/>
                  <a:gd name="connsiteY22" fmla="*/ 475267 h 1742020"/>
                  <a:gd name="connsiteX23" fmla="*/ 403659 w 827460"/>
                  <a:gd name="connsiteY23" fmla="*/ 608096 h 1742020"/>
                  <a:gd name="connsiteX24" fmla="*/ 403659 w 827460"/>
                  <a:gd name="connsiteY24" fmla="*/ 608096 h 1742020"/>
                  <a:gd name="connsiteX25" fmla="*/ 460275 w 827460"/>
                  <a:gd name="connsiteY25" fmla="*/ 799719 h 1742020"/>
                  <a:gd name="connsiteX26" fmla="*/ 127113 w 827460"/>
                  <a:gd name="connsiteY26" fmla="*/ 621161 h 1742020"/>
                  <a:gd name="connsiteX27" fmla="*/ 109693 w 827460"/>
                  <a:gd name="connsiteY27" fmla="*/ 627694 h 1742020"/>
                  <a:gd name="connsiteX28" fmla="*/ 116225 w 827460"/>
                  <a:gd name="connsiteY28" fmla="*/ 645114 h 1742020"/>
                  <a:gd name="connsiteX29" fmla="*/ 473340 w 827460"/>
                  <a:gd name="connsiteY29" fmla="*/ 836736 h 1742020"/>
                  <a:gd name="connsiteX30" fmla="*/ 512535 w 827460"/>
                  <a:gd name="connsiteY30" fmla="*/ 969566 h 1742020"/>
                  <a:gd name="connsiteX31" fmla="*/ 512535 w 827460"/>
                  <a:gd name="connsiteY31" fmla="*/ 969566 h 1742020"/>
                  <a:gd name="connsiteX32" fmla="*/ 569151 w 827460"/>
                  <a:gd name="connsiteY32" fmla="*/ 1161188 h 1742020"/>
                  <a:gd name="connsiteX33" fmla="*/ 235989 w 827460"/>
                  <a:gd name="connsiteY33" fmla="*/ 982631 h 1742020"/>
                  <a:gd name="connsiteX34" fmla="*/ 218569 w 827460"/>
                  <a:gd name="connsiteY34" fmla="*/ 989163 h 1742020"/>
                  <a:gd name="connsiteX35" fmla="*/ 225102 w 827460"/>
                  <a:gd name="connsiteY35" fmla="*/ 1006584 h 1742020"/>
                  <a:gd name="connsiteX36" fmla="*/ 582216 w 827460"/>
                  <a:gd name="connsiteY36" fmla="*/ 1198206 h 1742020"/>
                  <a:gd name="connsiteX37" fmla="*/ 745531 w 827460"/>
                  <a:gd name="connsiteY37" fmla="*/ 1738233 h 1742020"/>
                  <a:gd name="connsiteX38" fmla="*/ 758596 w 827460"/>
                  <a:gd name="connsiteY38" fmla="*/ 1746943 h 1742020"/>
                  <a:gd name="connsiteX39" fmla="*/ 762951 w 827460"/>
                  <a:gd name="connsiteY39" fmla="*/ 1746943 h 1742020"/>
                  <a:gd name="connsiteX40" fmla="*/ 771661 w 827460"/>
                  <a:gd name="connsiteY40" fmla="*/ 1729522 h 1742020"/>
                  <a:gd name="connsiteX41" fmla="*/ 651897 w 827460"/>
                  <a:gd name="connsiteY41" fmla="*/ 1328858 h 1742020"/>
                  <a:gd name="connsiteX42" fmla="*/ 843519 w 827460"/>
                  <a:gd name="connsiteY42" fmla="*/ 971743 h 1742020"/>
                  <a:gd name="connsiteX43" fmla="*/ 832632 w 827460"/>
                  <a:gd name="connsiteY43" fmla="*/ 952145 h 17420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827460" h="1742020">
                    <a:moveTo>
                      <a:pt x="832632" y="952145"/>
                    </a:moveTo>
                    <a:cubicBezTo>
                      <a:pt x="826099" y="947790"/>
                      <a:pt x="817389" y="949968"/>
                      <a:pt x="815211" y="958678"/>
                    </a:cubicBezTo>
                    <a:lnTo>
                      <a:pt x="636654" y="1289662"/>
                    </a:lnTo>
                    <a:lnTo>
                      <a:pt x="603991" y="1182963"/>
                    </a:lnTo>
                    <a:cubicBezTo>
                      <a:pt x="603991" y="1182963"/>
                      <a:pt x="603991" y="1182963"/>
                      <a:pt x="603991" y="1182963"/>
                    </a:cubicBezTo>
                    <a:lnTo>
                      <a:pt x="538666" y="967388"/>
                    </a:lnTo>
                    <a:lnTo>
                      <a:pt x="730288" y="610274"/>
                    </a:lnTo>
                    <a:cubicBezTo>
                      <a:pt x="734643" y="603741"/>
                      <a:pt x="730288" y="595031"/>
                      <a:pt x="723755" y="592854"/>
                    </a:cubicBezTo>
                    <a:cubicBezTo>
                      <a:pt x="717223" y="588499"/>
                      <a:pt x="708513" y="592854"/>
                      <a:pt x="706335" y="599386"/>
                    </a:cubicBezTo>
                    <a:lnTo>
                      <a:pt x="527778" y="932548"/>
                    </a:lnTo>
                    <a:lnTo>
                      <a:pt x="429789" y="608096"/>
                    </a:lnTo>
                    <a:lnTo>
                      <a:pt x="621412" y="250982"/>
                    </a:lnTo>
                    <a:cubicBezTo>
                      <a:pt x="625767" y="244449"/>
                      <a:pt x="621412" y="235739"/>
                      <a:pt x="614879" y="233562"/>
                    </a:cubicBezTo>
                    <a:cubicBezTo>
                      <a:pt x="608346" y="231384"/>
                      <a:pt x="599636" y="233562"/>
                      <a:pt x="597459" y="240094"/>
                    </a:cubicBezTo>
                    <a:lnTo>
                      <a:pt x="418902" y="568901"/>
                    </a:lnTo>
                    <a:lnTo>
                      <a:pt x="251232" y="9276"/>
                    </a:lnTo>
                    <a:cubicBezTo>
                      <a:pt x="249055" y="2744"/>
                      <a:pt x="242522" y="-1611"/>
                      <a:pt x="233812" y="566"/>
                    </a:cubicBezTo>
                    <a:cubicBezTo>
                      <a:pt x="227279" y="2744"/>
                      <a:pt x="222924" y="9276"/>
                      <a:pt x="225102" y="17987"/>
                    </a:cubicBezTo>
                    <a:lnTo>
                      <a:pt x="351398" y="438249"/>
                    </a:lnTo>
                    <a:lnTo>
                      <a:pt x="18237" y="259692"/>
                    </a:lnTo>
                    <a:cubicBezTo>
                      <a:pt x="11704" y="255337"/>
                      <a:pt x="2994" y="259692"/>
                      <a:pt x="817" y="266225"/>
                    </a:cubicBezTo>
                    <a:cubicBezTo>
                      <a:pt x="-1361" y="272757"/>
                      <a:pt x="817" y="281467"/>
                      <a:pt x="7349" y="283645"/>
                    </a:cubicBezTo>
                    <a:lnTo>
                      <a:pt x="364463" y="475267"/>
                    </a:lnTo>
                    <a:lnTo>
                      <a:pt x="403659" y="608096"/>
                    </a:lnTo>
                    <a:cubicBezTo>
                      <a:pt x="403659" y="608096"/>
                      <a:pt x="403659" y="608096"/>
                      <a:pt x="403659" y="608096"/>
                    </a:cubicBezTo>
                    <a:lnTo>
                      <a:pt x="460275" y="799719"/>
                    </a:lnTo>
                    <a:lnTo>
                      <a:pt x="127113" y="621161"/>
                    </a:lnTo>
                    <a:cubicBezTo>
                      <a:pt x="120581" y="616806"/>
                      <a:pt x="111870" y="621161"/>
                      <a:pt x="109693" y="627694"/>
                    </a:cubicBezTo>
                    <a:cubicBezTo>
                      <a:pt x="105338" y="634227"/>
                      <a:pt x="109693" y="642937"/>
                      <a:pt x="116225" y="645114"/>
                    </a:cubicBezTo>
                    <a:lnTo>
                      <a:pt x="473340" y="836736"/>
                    </a:lnTo>
                    <a:lnTo>
                      <a:pt x="512535" y="969566"/>
                    </a:lnTo>
                    <a:cubicBezTo>
                      <a:pt x="512535" y="969566"/>
                      <a:pt x="512535" y="969566"/>
                      <a:pt x="512535" y="969566"/>
                    </a:cubicBezTo>
                    <a:lnTo>
                      <a:pt x="569151" y="1161188"/>
                    </a:lnTo>
                    <a:lnTo>
                      <a:pt x="235989" y="982631"/>
                    </a:lnTo>
                    <a:cubicBezTo>
                      <a:pt x="229457" y="978276"/>
                      <a:pt x="220747" y="982631"/>
                      <a:pt x="218569" y="989163"/>
                    </a:cubicBezTo>
                    <a:cubicBezTo>
                      <a:pt x="214214" y="995696"/>
                      <a:pt x="218569" y="1004406"/>
                      <a:pt x="225102" y="1006584"/>
                    </a:cubicBezTo>
                    <a:lnTo>
                      <a:pt x="582216" y="1198206"/>
                    </a:lnTo>
                    <a:lnTo>
                      <a:pt x="745531" y="1738233"/>
                    </a:lnTo>
                    <a:cubicBezTo>
                      <a:pt x="747708" y="1744765"/>
                      <a:pt x="752063" y="1746943"/>
                      <a:pt x="758596" y="1746943"/>
                    </a:cubicBezTo>
                    <a:cubicBezTo>
                      <a:pt x="760773" y="1746943"/>
                      <a:pt x="760773" y="1746943"/>
                      <a:pt x="762951" y="1746943"/>
                    </a:cubicBezTo>
                    <a:cubicBezTo>
                      <a:pt x="769484" y="1744765"/>
                      <a:pt x="773839" y="1738233"/>
                      <a:pt x="771661" y="1729522"/>
                    </a:cubicBezTo>
                    <a:lnTo>
                      <a:pt x="651897" y="1328858"/>
                    </a:lnTo>
                    <a:lnTo>
                      <a:pt x="843519" y="971743"/>
                    </a:lnTo>
                    <a:cubicBezTo>
                      <a:pt x="841342" y="963033"/>
                      <a:pt x="839164" y="956500"/>
                      <a:pt x="832632" y="952145"/>
                    </a:cubicBezTo>
                    <a:close/>
                  </a:path>
                </a:pathLst>
              </a:custGeom>
              <a:solidFill>
                <a:schemeClr val="tx1">
                  <a:lumMod val="75000"/>
                  <a:lumOff val="25000"/>
                </a:schemeClr>
              </a:solidFill>
              <a:ln w="2176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grpSp>
          <p:nvGrpSpPr>
            <p:cNvPr id="11" name="Group 9">
              <a:extLst>
                <a:ext uri="{FF2B5EF4-FFF2-40B4-BE49-F238E27FC236}">
                  <a16:creationId xmlns:a16="http://schemas.microsoft.com/office/drawing/2014/main" id="{CFAC9F66-A339-4DAA-B9F2-28568A0A8581}"/>
                </a:ext>
              </a:extLst>
            </p:cNvPr>
            <p:cNvGrpSpPr/>
            <p:nvPr/>
          </p:nvGrpSpPr>
          <p:grpSpPr>
            <a:xfrm rot="3886594">
              <a:off x="9386235" y="6329629"/>
              <a:ext cx="750720" cy="732184"/>
              <a:chOff x="-309627" y="6497504"/>
              <a:chExt cx="1763796" cy="1720246"/>
            </a:xfrm>
          </p:grpSpPr>
          <p:sp>
            <p:nvSpPr>
              <p:cNvPr id="24" name="Freeform: Shape 22">
                <a:extLst>
                  <a:ext uri="{FF2B5EF4-FFF2-40B4-BE49-F238E27FC236}">
                    <a16:creationId xmlns:a16="http://schemas.microsoft.com/office/drawing/2014/main" id="{9529C341-692B-44C7-ACBA-FAB1D3BA6C35}"/>
                  </a:ext>
                </a:extLst>
              </p:cNvPr>
              <p:cNvSpPr/>
              <p:nvPr/>
            </p:nvSpPr>
            <p:spPr>
              <a:xfrm>
                <a:off x="-309627" y="6497504"/>
                <a:ext cx="1763796" cy="1720246"/>
              </a:xfrm>
              <a:custGeom>
                <a:avLst/>
                <a:gdLst>
                  <a:gd name="connsiteX0" fmla="*/ 1391439 w 1763796"/>
                  <a:gd name="connsiteY0" fmla="*/ 450748 h 1720245"/>
                  <a:gd name="connsiteX1" fmla="*/ 1628790 w 1763796"/>
                  <a:gd name="connsiteY1" fmla="*/ 1565641 h 1720245"/>
                  <a:gd name="connsiteX2" fmla="*/ 505186 w 1763796"/>
                  <a:gd name="connsiteY2" fmla="*/ 1371842 h 1720245"/>
                  <a:gd name="connsiteX3" fmla="*/ 0 w 1763796"/>
                  <a:gd name="connsiteY3" fmla="*/ 0 h 1720245"/>
                  <a:gd name="connsiteX4" fmla="*/ 1391439 w 1763796"/>
                  <a:gd name="connsiteY4" fmla="*/ 450748 h 17202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63796" h="1720245">
                    <a:moveTo>
                      <a:pt x="1391439" y="450748"/>
                    </a:moveTo>
                    <a:cubicBezTo>
                      <a:pt x="1842187" y="884075"/>
                      <a:pt x="1872673" y="1310871"/>
                      <a:pt x="1628790" y="1565641"/>
                    </a:cubicBezTo>
                    <a:cubicBezTo>
                      <a:pt x="1384907" y="1820412"/>
                      <a:pt x="955934" y="1805169"/>
                      <a:pt x="505186" y="1371842"/>
                    </a:cubicBezTo>
                    <a:cubicBezTo>
                      <a:pt x="56616" y="940691"/>
                      <a:pt x="0" y="0"/>
                      <a:pt x="0" y="0"/>
                    </a:cubicBezTo>
                    <a:cubicBezTo>
                      <a:pt x="0" y="0"/>
                      <a:pt x="940691" y="19598"/>
                      <a:pt x="1391439" y="450748"/>
                    </a:cubicBezTo>
                    <a:close/>
                  </a:path>
                </a:pathLst>
              </a:custGeom>
              <a:solidFill>
                <a:schemeClr val="accent1"/>
              </a:solidFill>
              <a:ln w="2176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5" name="Freeform: Shape 23">
                <a:extLst>
                  <a:ext uri="{FF2B5EF4-FFF2-40B4-BE49-F238E27FC236}">
                    <a16:creationId xmlns:a16="http://schemas.microsoft.com/office/drawing/2014/main" id="{006D3122-6B21-45DD-93A8-AFB08F296856}"/>
                  </a:ext>
                </a:extLst>
              </p:cNvPr>
              <p:cNvSpPr/>
              <p:nvPr/>
            </p:nvSpPr>
            <p:spPr>
              <a:xfrm>
                <a:off x="-72277" y="6801813"/>
                <a:ext cx="1524268" cy="1393617"/>
              </a:xfrm>
              <a:custGeom>
                <a:avLst/>
                <a:gdLst>
                  <a:gd name="connsiteX0" fmla="*/ 1530801 w 1524268"/>
                  <a:gd name="connsiteY0" fmla="*/ 1372386 h 1393616"/>
                  <a:gd name="connsiteX1" fmla="*/ 1199817 w 1524268"/>
                  <a:gd name="connsiteY1" fmla="*/ 1054467 h 1393616"/>
                  <a:gd name="connsiteX2" fmla="*/ 1191107 w 1524268"/>
                  <a:gd name="connsiteY2" fmla="*/ 608074 h 1393616"/>
                  <a:gd name="connsiteX3" fmla="*/ 1175864 w 1524268"/>
                  <a:gd name="connsiteY3" fmla="*/ 592832 h 1393616"/>
                  <a:gd name="connsiteX4" fmla="*/ 1160622 w 1524268"/>
                  <a:gd name="connsiteY4" fmla="*/ 608074 h 1393616"/>
                  <a:gd name="connsiteX5" fmla="*/ 1169332 w 1524268"/>
                  <a:gd name="connsiteY5" fmla="*/ 1023982 h 1393616"/>
                  <a:gd name="connsiteX6" fmla="*/ 1080053 w 1524268"/>
                  <a:gd name="connsiteY6" fmla="*/ 939058 h 1393616"/>
                  <a:gd name="connsiteX7" fmla="*/ 1080053 w 1524268"/>
                  <a:gd name="connsiteY7" fmla="*/ 939058 h 1393616"/>
                  <a:gd name="connsiteX8" fmla="*/ 901496 w 1524268"/>
                  <a:gd name="connsiteY8" fmla="*/ 767034 h 1393616"/>
                  <a:gd name="connsiteX9" fmla="*/ 890608 w 1524268"/>
                  <a:gd name="connsiteY9" fmla="*/ 320641 h 1393616"/>
                  <a:gd name="connsiteX10" fmla="*/ 875366 w 1524268"/>
                  <a:gd name="connsiteY10" fmla="*/ 305398 h 1393616"/>
                  <a:gd name="connsiteX11" fmla="*/ 860123 w 1524268"/>
                  <a:gd name="connsiteY11" fmla="*/ 320641 h 1393616"/>
                  <a:gd name="connsiteX12" fmla="*/ 868833 w 1524268"/>
                  <a:gd name="connsiteY12" fmla="*/ 736548 h 1393616"/>
                  <a:gd name="connsiteX13" fmla="*/ 779554 w 1524268"/>
                  <a:gd name="connsiteY13" fmla="*/ 651625 h 1393616"/>
                  <a:gd name="connsiteX14" fmla="*/ 779554 w 1524268"/>
                  <a:gd name="connsiteY14" fmla="*/ 651625 h 1393616"/>
                  <a:gd name="connsiteX15" fmla="*/ 600997 w 1524268"/>
                  <a:gd name="connsiteY15" fmla="*/ 479600 h 1393616"/>
                  <a:gd name="connsiteX16" fmla="*/ 590110 w 1524268"/>
                  <a:gd name="connsiteY16" fmla="*/ 33207 h 1393616"/>
                  <a:gd name="connsiteX17" fmla="*/ 574867 w 1524268"/>
                  <a:gd name="connsiteY17" fmla="*/ 17965 h 1393616"/>
                  <a:gd name="connsiteX18" fmla="*/ 574867 w 1524268"/>
                  <a:gd name="connsiteY18" fmla="*/ 17965 h 1393616"/>
                  <a:gd name="connsiteX19" fmla="*/ 559624 w 1524268"/>
                  <a:gd name="connsiteY19" fmla="*/ 33207 h 1393616"/>
                  <a:gd name="connsiteX20" fmla="*/ 568334 w 1524268"/>
                  <a:gd name="connsiteY20" fmla="*/ 451292 h 1393616"/>
                  <a:gd name="connsiteX21" fmla="*/ 104521 w 1524268"/>
                  <a:gd name="connsiteY21" fmla="*/ 4899 h 1393616"/>
                  <a:gd name="connsiteX22" fmla="*/ 82746 w 1524268"/>
                  <a:gd name="connsiteY22" fmla="*/ 4899 h 1393616"/>
                  <a:gd name="connsiteX23" fmla="*/ 82746 w 1524268"/>
                  <a:gd name="connsiteY23" fmla="*/ 26675 h 1393616"/>
                  <a:gd name="connsiteX24" fmla="*/ 431150 w 1524268"/>
                  <a:gd name="connsiteY24" fmla="*/ 362014 h 1393616"/>
                  <a:gd name="connsiteX25" fmla="*/ 15243 w 1524268"/>
                  <a:gd name="connsiteY25" fmla="*/ 370724 h 1393616"/>
                  <a:gd name="connsiteX26" fmla="*/ 0 w 1524268"/>
                  <a:gd name="connsiteY26" fmla="*/ 385967 h 1393616"/>
                  <a:gd name="connsiteX27" fmla="*/ 15243 w 1524268"/>
                  <a:gd name="connsiteY27" fmla="*/ 401209 h 1393616"/>
                  <a:gd name="connsiteX28" fmla="*/ 15243 w 1524268"/>
                  <a:gd name="connsiteY28" fmla="*/ 401209 h 1393616"/>
                  <a:gd name="connsiteX29" fmla="*/ 461636 w 1524268"/>
                  <a:gd name="connsiteY29" fmla="*/ 392499 h 1393616"/>
                  <a:gd name="connsiteX30" fmla="*/ 729471 w 1524268"/>
                  <a:gd name="connsiteY30" fmla="*/ 651625 h 1393616"/>
                  <a:gd name="connsiteX31" fmla="*/ 313564 w 1524268"/>
                  <a:gd name="connsiteY31" fmla="*/ 660335 h 1393616"/>
                  <a:gd name="connsiteX32" fmla="*/ 298321 w 1524268"/>
                  <a:gd name="connsiteY32" fmla="*/ 675578 h 1393616"/>
                  <a:gd name="connsiteX33" fmla="*/ 313564 w 1524268"/>
                  <a:gd name="connsiteY33" fmla="*/ 690820 h 1393616"/>
                  <a:gd name="connsiteX34" fmla="*/ 313564 w 1524268"/>
                  <a:gd name="connsiteY34" fmla="*/ 690820 h 1393616"/>
                  <a:gd name="connsiteX35" fmla="*/ 759957 w 1524268"/>
                  <a:gd name="connsiteY35" fmla="*/ 682110 h 1393616"/>
                  <a:gd name="connsiteX36" fmla="*/ 871011 w 1524268"/>
                  <a:gd name="connsiteY36" fmla="*/ 788809 h 1393616"/>
                  <a:gd name="connsiteX37" fmla="*/ 871011 w 1524268"/>
                  <a:gd name="connsiteY37" fmla="*/ 788809 h 1393616"/>
                  <a:gd name="connsiteX38" fmla="*/ 1029970 w 1524268"/>
                  <a:gd name="connsiteY38" fmla="*/ 941236 h 1393616"/>
                  <a:gd name="connsiteX39" fmla="*/ 614062 w 1524268"/>
                  <a:gd name="connsiteY39" fmla="*/ 949946 h 1393616"/>
                  <a:gd name="connsiteX40" fmla="*/ 598820 w 1524268"/>
                  <a:gd name="connsiteY40" fmla="*/ 965189 h 1393616"/>
                  <a:gd name="connsiteX41" fmla="*/ 614062 w 1524268"/>
                  <a:gd name="connsiteY41" fmla="*/ 980431 h 1393616"/>
                  <a:gd name="connsiteX42" fmla="*/ 614062 w 1524268"/>
                  <a:gd name="connsiteY42" fmla="*/ 980431 h 1393616"/>
                  <a:gd name="connsiteX43" fmla="*/ 1060455 w 1524268"/>
                  <a:gd name="connsiteY43" fmla="*/ 971721 h 1393616"/>
                  <a:gd name="connsiteX44" fmla="*/ 1506848 w 1524268"/>
                  <a:gd name="connsiteY44" fmla="*/ 1400694 h 1393616"/>
                  <a:gd name="connsiteX45" fmla="*/ 1517736 w 1524268"/>
                  <a:gd name="connsiteY45" fmla="*/ 1405049 h 1393616"/>
                  <a:gd name="connsiteX46" fmla="*/ 1528624 w 1524268"/>
                  <a:gd name="connsiteY46" fmla="*/ 1400694 h 1393616"/>
                  <a:gd name="connsiteX47" fmla="*/ 1530801 w 1524268"/>
                  <a:gd name="connsiteY47" fmla="*/ 1372386 h 13936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1524268" h="1393616">
                    <a:moveTo>
                      <a:pt x="1530801" y="1372386"/>
                    </a:moveTo>
                    <a:lnTo>
                      <a:pt x="1199817" y="1054467"/>
                    </a:lnTo>
                    <a:lnTo>
                      <a:pt x="1191107" y="608074"/>
                    </a:lnTo>
                    <a:cubicBezTo>
                      <a:pt x="1191107" y="599364"/>
                      <a:pt x="1184574" y="592832"/>
                      <a:pt x="1175864" y="592832"/>
                    </a:cubicBezTo>
                    <a:cubicBezTo>
                      <a:pt x="1167154" y="592832"/>
                      <a:pt x="1160622" y="599364"/>
                      <a:pt x="1160622" y="608074"/>
                    </a:cubicBezTo>
                    <a:lnTo>
                      <a:pt x="1169332" y="1023982"/>
                    </a:lnTo>
                    <a:lnTo>
                      <a:pt x="1080053" y="939058"/>
                    </a:lnTo>
                    <a:cubicBezTo>
                      <a:pt x="1080053" y="939058"/>
                      <a:pt x="1080053" y="939058"/>
                      <a:pt x="1080053" y="939058"/>
                    </a:cubicBezTo>
                    <a:lnTo>
                      <a:pt x="901496" y="767034"/>
                    </a:lnTo>
                    <a:lnTo>
                      <a:pt x="890608" y="320641"/>
                    </a:lnTo>
                    <a:cubicBezTo>
                      <a:pt x="890608" y="311931"/>
                      <a:pt x="884076" y="305398"/>
                      <a:pt x="875366" y="305398"/>
                    </a:cubicBezTo>
                    <a:cubicBezTo>
                      <a:pt x="866656" y="305398"/>
                      <a:pt x="860123" y="311931"/>
                      <a:pt x="860123" y="320641"/>
                    </a:cubicBezTo>
                    <a:lnTo>
                      <a:pt x="868833" y="736548"/>
                    </a:lnTo>
                    <a:lnTo>
                      <a:pt x="779554" y="651625"/>
                    </a:lnTo>
                    <a:cubicBezTo>
                      <a:pt x="779554" y="651625"/>
                      <a:pt x="779554" y="651625"/>
                      <a:pt x="779554" y="651625"/>
                    </a:cubicBezTo>
                    <a:lnTo>
                      <a:pt x="600997" y="479600"/>
                    </a:lnTo>
                    <a:lnTo>
                      <a:pt x="590110" y="33207"/>
                    </a:lnTo>
                    <a:cubicBezTo>
                      <a:pt x="590110" y="24497"/>
                      <a:pt x="583577" y="17965"/>
                      <a:pt x="574867" y="17965"/>
                    </a:cubicBezTo>
                    <a:cubicBezTo>
                      <a:pt x="574867" y="17965"/>
                      <a:pt x="574867" y="17965"/>
                      <a:pt x="574867" y="17965"/>
                    </a:cubicBezTo>
                    <a:cubicBezTo>
                      <a:pt x="566157" y="17965"/>
                      <a:pt x="559624" y="24497"/>
                      <a:pt x="559624" y="33207"/>
                    </a:cubicBezTo>
                    <a:lnTo>
                      <a:pt x="568334" y="451292"/>
                    </a:lnTo>
                    <a:lnTo>
                      <a:pt x="104521" y="4899"/>
                    </a:lnTo>
                    <a:cubicBezTo>
                      <a:pt x="97989" y="-1633"/>
                      <a:pt x="89279" y="-1633"/>
                      <a:pt x="82746" y="4899"/>
                    </a:cubicBezTo>
                    <a:cubicBezTo>
                      <a:pt x="76213" y="11432"/>
                      <a:pt x="76213" y="20142"/>
                      <a:pt x="82746" y="26675"/>
                    </a:cubicBezTo>
                    <a:lnTo>
                      <a:pt x="431150" y="362014"/>
                    </a:lnTo>
                    <a:lnTo>
                      <a:pt x="15243" y="370724"/>
                    </a:lnTo>
                    <a:cubicBezTo>
                      <a:pt x="6533" y="370724"/>
                      <a:pt x="0" y="377256"/>
                      <a:pt x="0" y="385967"/>
                    </a:cubicBezTo>
                    <a:cubicBezTo>
                      <a:pt x="0" y="394677"/>
                      <a:pt x="6533" y="401209"/>
                      <a:pt x="15243" y="401209"/>
                    </a:cubicBezTo>
                    <a:cubicBezTo>
                      <a:pt x="15243" y="401209"/>
                      <a:pt x="15243" y="401209"/>
                      <a:pt x="15243" y="401209"/>
                    </a:cubicBezTo>
                    <a:lnTo>
                      <a:pt x="461636" y="392499"/>
                    </a:lnTo>
                    <a:lnTo>
                      <a:pt x="729471" y="651625"/>
                    </a:lnTo>
                    <a:lnTo>
                      <a:pt x="313564" y="660335"/>
                    </a:lnTo>
                    <a:cubicBezTo>
                      <a:pt x="304854" y="660335"/>
                      <a:pt x="298321" y="666867"/>
                      <a:pt x="298321" y="675578"/>
                    </a:cubicBezTo>
                    <a:cubicBezTo>
                      <a:pt x="298321" y="684288"/>
                      <a:pt x="304854" y="690820"/>
                      <a:pt x="313564" y="690820"/>
                    </a:cubicBezTo>
                    <a:cubicBezTo>
                      <a:pt x="313564" y="690820"/>
                      <a:pt x="313564" y="690820"/>
                      <a:pt x="313564" y="690820"/>
                    </a:cubicBezTo>
                    <a:lnTo>
                      <a:pt x="759957" y="682110"/>
                    </a:lnTo>
                    <a:lnTo>
                      <a:pt x="871011" y="788809"/>
                    </a:lnTo>
                    <a:cubicBezTo>
                      <a:pt x="871011" y="788809"/>
                      <a:pt x="871011" y="788809"/>
                      <a:pt x="871011" y="788809"/>
                    </a:cubicBezTo>
                    <a:lnTo>
                      <a:pt x="1029970" y="941236"/>
                    </a:lnTo>
                    <a:lnTo>
                      <a:pt x="614062" y="949946"/>
                    </a:lnTo>
                    <a:cubicBezTo>
                      <a:pt x="605352" y="949946"/>
                      <a:pt x="598820" y="956478"/>
                      <a:pt x="598820" y="965189"/>
                    </a:cubicBezTo>
                    <a:cubicBezTo>
                      <a:pt x="598820" y="973899"/>
                      <a:pt x="605352" y="980431"/>
                      <a:pt x="614062" y="980431"/>
                    </a:cubicBezTo>
                    <a:cubicBezTo>
                      <a:pt x="614062" y="980431"/>
                      <a:pt x="614062" y="980431"/>
                      <a:pt x="614062" y="980431"/>
                    </a:cubicBezTo>
                    <a:lnTo>
                      <a:pt x="1060455" y="971721"/>
                    </a:lnTo>
                    <a:lnTo>
                      <a:pt x="1506848" y="1400694"/>
                    </a:lnTo>
                    <a:cubicBezTo>
                      <a:pt x="1509026" y="1402871"/>
                      <a:pt x="1513381" y="1405049"/>
                      <a:pt x="1517736" y="1405049"/>
                    </a:cubicBezTo>
                    <a:cubicBezTo>
                      <a:pt x="1522091" y="1405049"/>
                      <a:pt x="1526446" y="1402871"/>
                      <a:pt x="1528624" y="1400694"/>
                    </a:cubicBezTo>
                    <a:cubicBezTo>
                      <a:pt x="1535156" y="1387629"/>
                      <a:pt x="1535156" y="1378919"/>
                      <a:pt x="1530801" y="1372386"/>
                    </a:cubicBezTo>
                    <a:close/>
                  </a:path>
                </a:pathLst>
              </a:custGeom>
              <a:solidFill>
                <a:schemeClr val="tx1">
                  <a:lumMod val="75000"/>
                  <a:lumOff val="25000"/>
                </a:schemeClr>
              </a:solidFill>
              <a:ln w="2176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grpSp>
          <p:nvGrpSpPr>
            <p:cNvPr id="12" name="Group 10">
              <a:extLst>
                <a:ext uri="{FF2B5EF4-FFF2-40B4-BE49-F238E27FC236}">
                  <a16:creationId xmlns:a16="http://schemas.microsoft.com/office/drawing/2014/main" id="{E13005F4-3CC3-40CA-A5F8-097F3F62A523}"/>
                </a:ext>
              </a:extLst>
            </p:cNvPr>
            <p:cNvGrpSpPr/>
            <p:nvPr/>
          </p:nvGrpSpPr>
          <p:grpSpPr>
            <a:xfrm rot="3493196">
              <a:off x="10513856" y="6335665"/>
              <a:ext cx="659318" cy="643039"/>
              <a:chOff x="-309627" y="6497504"/>
              <a:chExt cx="1763796" cy="1720246"/>
            </a:xfrm>
          </p:grpSpPr>
          <p:sp>
            <p:nvSpPr>
              <p:cNvPr id="22" name="Freeform: Shape 20">
                <a:extLst>
                  <a:ext uri="{FF2B5EF4-FFF2-40B4-BE49-F238E27FC236}">
                    <a16:creationId xmlns:a16="http://schemas.microsoft.com/office/drawing/2014/main" id="{E9B02385-C948-4F54-8876-EB4208D45E1B}"/>
                  </a:ext>
                </a:extLst>
              </p:cNvPr>
              <p:cNvSpPr/>
              <p:nvPr/>
            </p:nvSpPr>
            <p:spPr>
              <a:xfrm>
                <a:off x="-309627" y="6497504"/>
                <a:ext cx="1763796" cy="1720246"/>
              </a:xfrm>
              <a:custGeom>
                <a:avLst/>
                <a:gdLst>
                  <a:gd name="connsiteX0" fmla="*/ 1391439 w 1763796"/>
                  <a:gd name="connsiteY0" fmla="*/ 450748 h 1720245"/>
                  <a:gd name="connsiteX1" fmla="*/ 1628790 w 1763796"/>
                  <a:gd name="connsiteY1" fmla="*/ 1565641 h 1720245"/>
                  <a:gd name="connsiteX2" fmla="*/ 505186 w 1763796"/>
                  <a:gd name="connsiteY2" fmla="*/ 1371842 h 1720245"/>
                  <a:gd name="connsiteX3" fmla="*/ 0 w 1763796"/>
                  <a:gd name="connsiteY3" fmla="*/ 0 h 1720245"/>
                  <a:gd name="connsiteX4" fmla="*/ 1391439 w 1763796"/>
                  <a:gd name="connsiteY4" fmla="*/ 450748 h 17202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63796" h="1720245">
                    <a:moveTo>
                      <a:pt x="1391439" y="450748"/>
                    </a:moveTo>
                    <a:cubicBezTo>
                      <a:pt x="1842187" y="884075"/>
                      <a:pt x="1872673" y="1310871"/>
                      <a:pt x="1628790" y="1565641"/>
                    </a:cubicBezTo>
                    <a:cubicBezTo>
                      <a:pt x="1384907" y="1820412"/>
                      <a:pt x="955934" y="1805169"/>
                      <a:pt x="505186" y="1371842"/>
                    </a:cubicBezTo>
                    <a:cubicBezTo>
                      <a:pt x="56616" y="940691"/>
                      <a:pt x="0" y="0"/>
                      <a:pt x="0" y="0"/>
                    </a:cubicBezTo>
                    <a:cubicBezTo>
                      <a:pt x="0" y="0"/>
                      <a:pt x="940691" y="19598"/>
                      <a:pt x="1391439" y="450748"/>
                    </a:cubicBezTo>
                    <a:close/>
                  </a:path>
                </a:pathLst>
              </a:custGeom>
              <a:solidFill>
                <a:schemeClr val="accent3"/>
              </a:solidFill>
              <a:ln w="2176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3" name="Freeform: Shape 21">
                <a:extLst>
                  <a:ext uri="{FF2B5EF4-FFF2-40B4-BE49-F238E27FC236}">
                    <a16:creationId xmlns:a16="http://schemas.microsoft.com/office/drawing/2014/main" id="{D6340BEB-0FD5-4161-8011-00650867A9AF}"/>
                  </a:ext>
                </a:extLst>
              </p:cNvPr>
              <p:cNvSpPr/>
              <p:nvPr/>
            </p:nvSpPr>
            <p:spPr>
              <a:xfrm>
                <a:off x="-72277" y="6801813"/>
                <a:ext cx="1524268" cy="1393617"/>
              </a:xfrm>
              <a:custGeom>
                <a:avLst/>
                <a:gdLst>
                  <a:gd name="connsiteX0" fmla="*/ 1530801 w 1524268"/>
                  <a:gd name="connsiteY0" fmla="*/ 1372386 h 1393616"/>
                  <a:gd name="connsiteX1" fmla="*/ 1199817 w 1524268"/>
                  <a:gd name="connsiteY1" fmla="*/ 1054467 h 1393616"/>
                  <a:gd name="connsiteX2" fmla="*/ 1191107 w 1524268"/>
                  <a:gd name="connsiteY2" fmla="*/ 608074 h 1393616"/>
                  <a:gd name="connsiteX3" fmla="*/ 1175864 w 1524268"/>
                  <a:gd name="connsiteY3" fmla="*/ 592832 h 1393616"/>
                  <a:gd name="connsiteX4" fmla="*/ 1160622 w 1524268"/>
                  <a:gd name="connsiteY4" fmla="*/ 608074 h 1393616"/>
                  <a:gd name="connsiteX5" fmla="*/ 1169332 w 1524268"/>
                  <a:gd name="connsiteY5" fmla="*/ 1023982 h 1393616"/>
                  <a:gd name="connsiteX6" fmla="*/ 1080053 w 1524268"/>
                  <a:gd name="connsiteY6" fmla="*/ 939058 h 1393616"/>
                  <a:gd name="connsiteX7" fmla="*/ 1080053 w 1524268"/>
                  <a:gd name="connsiteY7" fmla="*/ 939058 h 1393616"/>
                  <a:gd name="connsiteX8" fmla="*/ 901496 w 1524268"/>
                  <a:gd name="connsiteY8" fmla="*/ 767034 h 1393616"/>
                  <a:gd name="connsiteX9" fmla="*/ 890608 w 1524268"/>
                  <a:gd name="connsiteY9" fmla="*/ 320641 h 1393616"/>
                  <a:gd name="connsiteX10" fmla="*/ 875366 w 1524268"/>
                  <a:gd name="connsiteY10" fmla="*/ 305398 h 1393616"/>
                  <a:gd name="connsiteX11" fmla="*/ 860123 w 1524268"/>
                  <a:gd name="connsiteY11" fmla="*/ 320641 h 1393616"/>
                  <a:gd name="connsiteX12" fmla="*/ 868833 w 1524268"/>
                  <a:gd name="connsiteY12" fmla="*/ 736548 h 1393616"/>
                  <a:gd name="connsiteX13" fmla="*/ 779554 w 1524268"/>
                  <a:gd name="connsiteY13" fmla="*/ 651625 h 1393616"/>
                  <a:gd name="connsiteX14" fmla="*/ 779554 w 1524268"/>
                  <a:gd name="connsiteY14" fmla="*/ 651625 h 1393616"/>
                  <a:gd name="connsiteX15" fmla="*/ 600997 w 1524268"/>
                  <a:gd name="connsiteY15" fmla="*/ 479600 h 1393616"/>
                  <a:gd name="connsiteX16" fmla="*/ 590110 w 1524268"/>
                  <a:gd name="connsiteY16" fmla="*/ 33207 h 1393616"/>
                  <a:gd name="connsiteX17" fmla="*/ 574867 w 1524268"/>
                  <a:gd name="connsiteY17" fmla="*/ 17965 h 1393616"/>
                  <a:gd name="connsiteX18" fmla="*/ 574867 w 1524268"/>
                  <a:gd name="connsiteY18" fmla="*/ 17965 h 1393616"/>
                  <a:gd name="connsiteX19" fmla="*/ 559624 w 1524268"/>
                  <a:gd name="connsiteY19" fmla="*/ 33207 h 1393616"/>
                  <a:gd name="connsiteX20" fmla="*/ 568334 w 1524268"/>
                  <a:gd name="connsiteY20" fmla="*/ 451292 h 1393616"/>
                  <a:gd name="connsiteX21" fmla="*/ 104521 w 1524268"/>
                  <a:gd name="connsiteY21" fmla="*/ 4899 h 1393616"/>
                  <a:gd name="connsiteX22" fmla="*/ 82746 w 1524268"/>
                  <a:gd name="connsiteY22" fmla="*/ 4899 h 1393616"/>
                  <a:gd name="connsiteX23" fmla="*/ 82746 w 1524268"/>
                  <a:gd name="connsiteY23" fmla="*/ 26675 h 1393616"/>
                  <a:gd name="connsiteX24" fmla="*/ 431150 w 1524268"/>
                  <a:gd name="connsiteY24" fmla="*/ 362014 h 1393616"/>
                  <a:gd name="connsiteX25" fmla="*/ 15243 w 1524268"/>
                  <a:gd name="connsiteY25" fmla="*/ 370724 h 1393616"/>
                  <a:gd name="connsiteX26" fmla="*/ 0 w 1524268"/>
                  <a:gd name="connsiteY26" fmla="*/ 385967 h 1393616"/>
                  <a:gd name="connsiteX27" fmla="*/ 15243 w 1524268"/>
                  <a:gd name="connsiteY27" fmla="*/ 401209 h 1393616"/>
                  <a:gd name="connsiteX28" fmla="*/ 15243 w 1524268"/>
                  <a:gd name="connsiteY28" fmla="*/ 401209 h 1393616"/>
                  <a:gd name="connsiteX29" fmla="*/ 461636 w 1524268"/>
                  <a:gd name="connsiteY29" fmla="*/ 392499 h 1393616"/>
                  <a:gd name="connsiteX30" fmla="*/ 729471 w 1524268"/>
                  <a:gd name="connsiteY30" fmla="*/ 651625 h 1393616"/>
                  <a:gd name="connsiteX31" fmla="*/ 313564 w 1524268"/>
                  <a:gd name="connsiteY31" fmla="*/ 660335 h 1393616"/>
                  <a:gd name="connsiteX32" fmla="*/ 298321 w 1524268"/>
                  <a:gd name="connsiteY32" fmla="*/ 675578 h 1393616"/>
                  <a:gd name="connsiteX33" fmla="*/ 313564 w 1524268"/>
                  <a:gd name="connsiteY33" fmla="*/ 690820 h 1393616"/>
                  <a:gd name="connsiteX34" fmla="*/ 313564 w 1524268"/>
                  <a:gd name="connsiteY34" fmla="*/ 690820 h 1393616"/>
                  <a:gd name="connsiteX35" fmla="*/ 759957 w 1524268"/>
                  <a:gd name="connsiteY35" fmla="*/ 682110 h 1393616"/>
                  <a:gd name="connsiteX36" fmla="*/ 871011 w 1524268"/>
                  <a:gd name="connsiteY36" fmla="*/ 788809 h 1393616"/>
                  <a:gd name="connsiteX37" fmla="*/ 871011 w 1524268"/>
                  <a:gd name="connsiteY37" fmla="*/ 788809 h 1393616"/>
                  <a:gd name="connsiteX38" fmla="*/ 1029970 w 1524268"/>
                  <a:gd name="connsiteY38" fmla="*/ 941236 h 1393616"/>
                  <a:gd name="connsiteX39" fmla="*/ 614062 w 1524268"/>
                  <a:gd name="connsiteY39" fmla="*/ 949946 h 1393616"/>
                  <a:gd name="connsiteX40" fmla="*/ 598820 w 1524268"/>
                  <a:gd name="connsiteY40" fmla="*/ 965189 h 1393616"/>
                  <a:gd name="connsiteX41" fmla="*/ 614062 w 1524268"/>
                  <a:gd name="connsiteY41" fmla="*/ 980431 h 1393616"/>
                  <a:gd name="connsiteX42" fmla="*/ 614062 w 1524268"/>
                  <a:gd name="connsiteY42" fmla="*/ 980431 h 1393616"/>
                  <a:gd name="connsiteX43" fmla="*/ 1060455 w 1524268"/>
                  <a:gd name="connsiteY43" fmla="*/ 971721 h 1393616"/>
                  <a:gd name="connsiteX44" fmla="*/ 1506848 w 1524268"/>
                  <a:gd name="connsiteY44" fmla="*/ 1400694 h 1393616"/>
                  <a:gd name="connsiteX45" fmla="*/ 1517736 w 1524268"/>
                  <a:gd name="connsiteY45" fmla="*/ 1405049 h 1393616"/>
                  <a:gd name="connsiteX46" fmla="*/ 1528624 w 1524268"/>
                  <a:gd name="connsiteY46" fmla="*/ 1400694 h 1393616"/>
                  <a:gd name="connsiteX47" fmla="*/ 1530801 w 1524268"/>
                  <a:gd name="connsiteY47" fmla="*/ 1372386 h 13936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1524268" h="1393616">
                    <a:moveTo>
                      <a:pt x="1530801" y="1372386"/>
                    </a:moveTo>
                    <a:lnTo>
                      <a:pt x="1199817" y="1054467"/>
                    </a:lnTo>
                    <a:lnTo>
                      <a:pt x="1191107" y="608074"/>
                    </a:lnTo>
                    <a:cubicBezTo>
                      <a:pt x="1191107" y="599364"/>
                      <a:pt x="1184574" y="592832"/>
                      <a:pt x="1175864" y="592832"/>
                    </a:cubicBezTo>
                    <a:cubicBezTo>
                      <a:pt x="1167154" y="592832"/>
                      <a:pt x="1160622" y="599364"/>
                      <a:pt x="1160622" y="608074"/>
                    </a:cubicBezTo>
                    <a:lnTo>
                      <a:pt x="1169332" y="1023982"/>
                    </a:lnTo>
                    <a:lnTo>
                      <a:pt x="1080053" y="939058"/>
                    </a:lnTo>
                    <a:cubicBezTo>
                      <a:pt x="1080053" y="939058"/>
                      <a:pt x="1080053" y="939058"/>
                      <a:pt x="1080053" y="939058"/>
                    </a:cubicBezTo>
                    <a:lnTo>
                      <a:pt x="901496" y="767034"/>
                    </a:lnTo>
                    <a:lnTo>
                      <a:pt x="890608" y="320641"/>
                    </a:lnTo>
                    <a:cubicBezTo>
                      <a:pt x="890608" y="311931"/>
                      <a:pt x="884076" y="305398"/>
                      <a:pt x="875366" y="305398"/>
                    </a:cubicBezTo>
                    <a:cubicBezTo>
                      <a:pt x="866656" y="305398"/>
                      <a:pt x="860123" y="311931"/>
                      <a:pt x="860123" y="320641"/>
                    </a:cubicBezTo>
                    <a:lnTo>
                      <a:pt x="868833" y="736548"/>
                    </a:lnTo>
                    <a:lnTo>
                      <a:pt x="779554" y="651625"/>
                    </a:lnTo>
                    <a:cubicBezTo>
                      <a:pt x="779554" y="651625"/>
                      <a:pt x="779554" y="651625"/>
                      <a:pt x="779554" y="651625"/>
                    </a:cubicBezTo>
                    <a:lnTo>
                      <a:pt x="600997" y="479600"/>
                    </a:lnTo>
                    <a:lnTo>
                      <a:pt x="590110" y="33207"/>
                    </a:lnTo>
                    <a:cubicBezTo>
                      <a:pt x="590110" y="24497"/>
                      <a:pt x="583577" y="17965"/>
                      <a:pt x="574867" y="17965"/>
                    </a:cubicBezTo>
                    <a:cubicBezTo>
                      <a:pt x="574867" y="17965"/>
                      <a:pt x="574867" y="17965"/>
                      <a:pt x="574867" y="17965"/>
                    </a:cubicBezTo>
                    <a:cubicBezTo>
                      <a:pt x="566157" y="17965"/>
                      <a:pt x="559624" y="24497"/>
                      <a:pt x="559624" y="33207"/>
                    </a:cubicBezTo>
                    <a:lnTo>
                      <a:pt x="568334" y="451292"/>
                    </a:lnTo>
                    <a:lnTo>
                      <a:pt x="104521" y="4899"/>
                    </a:lnTo>
                    <a:cubicBezTo>
                      <a:pt x="97989" y="-1633"/>
                      <a:pt x="89279" y="-1633"/>
                      <a:pt x="82746" y="4899"/>
                    </a:cubicBezTo>
                    <a:cubicBezTo>
                      <a:pt x="76213" y="11432"/>
                      <a:pt x="76213" y="20142"/>
                      <a:pt x="82746" y="26675"/>
                    </a:cubicBezTo>
                    <a:lnTo>
                      <a:pt x="431150" y="362014"/>
                    </a:lnTo>
                    <a:lnTo>
                      <a:pt x="15243" y="370724"/>
                    </a:lnTo>
                    <a:cubicBezTo>
                      <a:pt x="6533" y="370724"/>
                      <a:pt x="0" y="377256"/>
                      <a:pt x="0" y="385967"/>
                    </a:cubicBezTo>
                    <a:cubicBezTo>
                      <a:pt x="0" y="394677"/>
                      <a:pt x="6533" y="401209"/>
                      <a:pt x="15243" y="401209"/>
                    </a:cubicBezTo>
                    <a:cubicBezTo>
                      <a:pt x="15243" y="401209"/>
                      <a:pt x="15243" y="401209"/>
                      <a:pt x="15243" y="401209"/>
                    </a:cubicBezTo>
                    <a:lnTo>
                      <a:pt x="461636" y="392499"/>
                    </a:lnTo>
                    <a:lnTo>
                      <a:pt x="729471" y="651625"/>
                    </a:lnTo>
                    <a:lnTo>
                      <a:pt x="313564" y="660335"/>
                    </a:lnTo>
                    <a:cubicBezTo>
                      <a:pt x="304854" y="660335"/>
                      <a:pt x="298321" y="666867"/>
                      <a:pt x="298321" y="675578"/>
                    </a:cubicBezTo>
                    <a:cubicBezTo>
                      <a:pt x="298321" y="684288"/>
                      <a:pt x="304854" y="690820"/>
                      <a:pt x="313564" y="690820"/>
                    </a:cubicBezTo>
                    <a:cubicBezTo>
                      <a:pt x="313564" y="690820"/>
                      <a:pt x="313564" y="690820"/>
                      <a:pt x="313564" y="690820"/>
                    </a:cubicBezTo>
                    <a:lnTo>
                      <a:pt x="759957" y="682110"/>
                    </a:lnTo>
                    <a:lnTo>
                      <a:pt x="871011" y="788809"/>
                    </a:lnTo>
                    <a:cubicBezTo>
                      <a:pt x="871011" y="788809"/>
                      <a:pt x="871011" y="788809"/>
                      <a:pt x="871011" y="788809"/>
                    </a:cubicBezTo>
                    <a:lnTo>
                      <a:pt x="1029970" y="941236"/>
                    </a:lnTo>
                    <a:lnTo>
                      <a:pt x="614062" y="949946"/>
                    </a:lnTo>
                    <a:cubicBezTo>
                      <a:pt x="605352" y="949946"/>
                      <a:pt x="598820" y="956478"/>
                      <a:pt x="598820" y="965189"/>
                    </a:cubicBezTo>
                    <a:cubicBezTo>
                      <a:pt x="598820" y="973899"/>
                      <a:pt x="605352" y="980431"/>
                      <a:pt x="614062" y="980431"/>
                    </a:cubicBezTo>
                    <a:cubicBezTo>
                      <a:pt x="614062" y="980431"/>
                      <a:pt x="614062" y="980431"/>
                      <a:pt x="614062" y="980431"/>
                    </a:cubicBezTo>
                    <a:lnTo>
                      <a:pt x="1060455" y="971721"/>
                    </a:lnTo>
                    <a:lnTo>
                      <a:pt x="1506848" y="1400694"/>
                    </a:lnTo>
                    <a:cubicBezTo>
                      <a:pt x="1509026" y="1402871"/>
                      <a:pt x="1513381" y="1405049"/>
                      <a:pt x="1517736" y="1405049"/>
                    </a:cubicBezTo>
                    <a:cubicBezTo>
                      <a:pt x="1522091" y="1405049"/>
                      <a:pt x="1526446" y="1402871"/>
                      <a:pt x="1528624" y="1400694"/>
                    </a:cubicBezTo>
                    <a:cubicBezTo>
                      <a:pt x="1535156" y="1387629"/>
                      <a:pt x="1535156" y="1378919"/>
                      <a:pt x="1530801" y="1372386"/>
                    </a:cubicBezTo>
                    <a:close/>
                  </a:path>
                </a:pathLst>
              </a:custGeom>
              <a:solidFill>
                <a:schemeClr val="tx1">
                  <a:lumMod val="75000"/>
                  <a:lumOff val="25000"/>
                </a:schemeClr>
              </a:solidFill>
              <a:ln w="2176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grpSp>
          <p:nvGrpSpPr>
            <p:cNvPr id="13" name="Group 11">
              <a:extLst>
                <a:ext uri="{FF2B5EF4-FFF2-40B4-BE49-F238E27FC236}">
                  <a16:creationId xmlns:a16="http://schemas.microsoft.com/office/drawing/2014/main" id="{E40F25E1-01D1-4A0E-91EF-DBFFD5E06040}"/>
                </a:ext>
              </a:extLst>
            </p:cNvPr>
            <p:cNvGrpSpPr/>
            <p:nvPr/>
          </p:nvGrpSpPr>
          <p:grpSpPr>
            <a:xfrm rot="2272986">
              <a:off x="11272739" y="6289183"/>
              <a:ext cx="723381" cy="705520"/>
              <a:chOff x="-309627" y="6497504"/>
              <a:chExt cx="1763796" cy="1720246"/>
            </a:xfrm>
          </p:grpSpPr>
          <p:sp>
            <p:nvSpPr>
              <p:cNvPr id="20" name="Freeform: Shape 18">
                <a:extLst>
                  <a:ext uri="{FF2B5EF4-FFF2-40B4-BE49-F238E27FC236}">
                    <a16:creationId xmlns:a16="http://schemas.microsoft.com/office/drawing/2014/main" id="{562C7F6B-5297-48AF-B912-0546C9ABEABA}"/>
                  </a:ext>
                </a:extLst>
              </p:cNvPr>
              <p:cNvSpPr/>
              <p:nvPr/>
            </p:nvSpPr>
            <p:spPr>
              <a:xfrm>
                <a:off x="-309627" y="6497504"/>
                <a:ext cx="1763796" cy="1720246"/>
              </a:xfrm>
              <a:custGeom>
                <a:avLst/>
                <a:gdLst>
                  <a:gd name="connsiteX0" fmla="*/ 1391439 w 1763796"/>
                  <a:gd name="connsiteY0" fmla="*/ 450748 h 1720245"/>
                  <a:gd name="connsiteX1" fmla="*/ 1628790 w 1763796"/>
                  <a:gd name="connsiteY1" fmla="*/ 1565641 h 1720245"/>
                  <a:gd name="connsiteX2" fmla="*/ 505186 w 1763796"/>
                  <a:gd name="connsiteY2" fmla="*/ 1371842 h 1720245"/>
                  <a:gd name="connsiteX3" fmla="*/ 0 w 1763796"/>
                  <a:gd name="connsiteY3" fmla="*/ 0 h 1720245"/>
                  <a:gd name="connsiteX4" fmla="*/ 1391439 w 1763796"/>
                  <a:gd name="connsiteY4" fmla="*/ 450748 h 17202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63796" h="1720245">
                    <a:moveTo>
                      <a:pt x="1391439" y="450748"/>
                    </a:moveTo>
                    <a:cubicBezTo>
                      <a:pt x="1842187" y="884075"/>
                      <a:pt x="1872673" y="1310871"/>
                      <a:pt x="1628790" y="1565641"/>
                    </a:cubicBezTo>
                    <a:cubicBezTo>
                      <a:pt x="1384907" y="1820412"/>
                      <a:pt x="955934" y="1805169"/>
                      <a:pt x="505186" y="1371842"/>
                    </a:cubicBezTo>
                    <a:cubicBezTo>
                      <a:pt x="56616" y="940691"/>
                      <a:pt x="0" y="0"/>
                      <a:pt x="0" y="0"/>
                    </a:cubicBezTo>
                    <a:cubicBezTo>
                      <a:pt x="0" y="0"/>
                      <a:pt x="940691" y="19598"/>
                      <a:pt x="1391439" y="450748"/>
                    </a:cubicBezTo>
                    <a:close/>
                  </a:path>
                </a:pathLst>
              </a:custGeom>
              <a:solidFill>
                <a:schemeClr val="accent3"/>
              </a:solidFill>
              <a:ln w="2176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1" name="Freeform: Shape 19">
                <a:extLst>
                  <a:ext uri="{FF2B5EF4-FFF2-40B4-BE49-F238E27FC236}">
                    <a16:creationId xmlns:a16="http://schemas.microsoft.com/office/drawing/2014/main" id="{22E5CAE5-0C6D-41A3-AB99-D27D90ADB107}"/>
                  </a:ext>
                </a:extLst>
              </p:cNvPr>
              <p:cNvSpPr/>
              <p:nvPr/>
            </p:nvSpPr>
            <p:spPr>
              <a:xfrm>
                <a:off x="-72277" y="6801813"/>
                <a:ext cx="1524268" cy="1393617"/>
              </a:xfrm>
              <a:custGeom>
                <a:avLst/>
                <a:gdLst>
                  <a:gd name="connsiteX0" fmla="*/ 1530801 w 1524268"/>
                  <a:gd name="connsiteY0" fmla="*/ 1372386 h 1393616"/>
                  <a:gd name="connsiteX1" fmla="*/ 1199817 w 1524268"/>
                  <a:gd name="connsiteY1" fmla="*/ 1054467 h 1393616"/>
                  <a:gd name="connsiteX2" fmla="*/ 1191107 w 1524268"/>
                  <a:gd name="connsiteY2" fmla="*/ 608074 h 1393616"/>
                  <a:gd name="connsiteX3" fmla="*/ 1175864 w 1524268"/>
                  <a:gd name="connsiteY3" fmla="*/ 592832 h 1393616"/>
                  <a:gd name="connsiteX4" fmla="*/ 1160622 w 1524268"/>
                  <a:gd name="connsiteY4" fmla="*/ 608074 h 1393616"/>
                  <a:gd name="connsiteX5" fmla="*/ 1169332 w 1524268"/>
                  <a:gd name="connsiteY5" fmla="*/ 1023982 h 1393616"/>
                  <a:gd name="connsiteX6" fmla="*/ 1080053 w 1524268"/>
                  <a:gd name="connsiteY6" fmla="*/ 939058 h 1393616"/>
                  <a:gd name="connsiteX7" fmla="*/ 1080053 w 1524268"/>
                  <a:gd name="connsiteY7" fmla="*/ 939058 h 1393616"/>
                  <a:gd name="connsiteX8" fmla="*/ 901496 w 1524268"/>
                  <a:gd name="connsiteY8" fmla="*/ 767034 h 1393616"/>
                  <a:gd name="connsiteX9" fmla="*/ 890608 w 1524268"/>
                  <a:gd name="connsiteY9" fmla="*/ 320641 h 1393616"/>
                  <a:gd name="connsiteX10" fmla="*/ 875366 w 1524268"/>
                  <a:gd name="connsiteY10" fmla="*/ 305398 h 1393616"/>
                  <a:gd name="connsiteX11" fmla="*/ 860123 w 1524268"/>
                  <a:gd name="connsiteY11" fmla="*/ 320641 h 1393616"/>
                  <a:gd name="connsiteX12" fmla="*/ 868833 w 1524268"/>
                  <a:gd name="connsiteY12" fmla="*/ 736548 h 1393616"/>
                  <a:gd name="connsiteX13" fmla="*/ 779554 w 1524268"/>
                  <a:gd name="connsiteY13" fmla="*/ 651625 h 1393616"/>
                  <a:gd name="connsiteX14" fmla="*/ 779554 w 1524268"/>
                  <a:gd name="connsiteY14" fmla="*/ 651625 h 1393616"/>
                  <a:gd name="connsiteX15" fmla="*/ 600997 w 1524268"/>
                  <a:gd name="connsiteY15" fmla="*/ 479600 h 1393616"/>
                  <a:gd name="connsiteX16" fmla="*/ 590110 w 1524268"/>
                  <a:gd name="connsiteY16" fmla="*/ 33207 h 1393616"/>
                  <a:gd name="connsiteX17" fmla="*/ 574867 w 1524268"/>
                  <a:gd name="connsiteY17" fmla="*/ 17965 h 1393616"/>
                  <a:gd name="connsiteX18" fmla="*/ 574867 w 1524268"/>
                  <a:gd name="connsiteY18" fmla="*/ 17965 h 1393616"/>
                  <a:gd name="connsiteX19" fmla="*/ 559624 w 1524268"/>
                  <a:gd name="connsiteY19" fmla="*/ 33207 h 1393616"/>
                  <a:gd name="connsiteX20" fmla="*/ 568334 w 1524268"/>
                  <a:gd name="connsiteY20" fmla="*/ 451292 h 1393616"/>
                  <a:gd name="connsiteX21" fmla="*/ 104521 w 1524268"/>
                  <a:gd name="connsiteY21" fmla="*/ 4899 h 1393616"/>
                  <a:gd name="connsiteX22" fmla="*/ 82746 w 1524268"/>
                  <a:gd name="connsiteY22" fmla="*/ 4899 h 1393616"/>
                  <a:gd name="connsiteX23" fmla="*/ 82746 w 1524268"/>
                  <a:gd name="connsiteY23" fmla="*/ 26675 h 1393616"/>
                  <a:gd name="connsiteX24" fmla="*/ 431150 w 1524268"/>
                  <a:gd name="connsiteY24" fmla="*/ 362014 h 1393616"/>
                  <a:gd name="connsiteX25" fmla="*/ 15243 w 1524268"/>
                  <a:gd name="connsiteY25" fmla="*/ 370724 h 1393616"/>
                  <a:gd name="connsiteX26" fmla="*/ 0 w 1524268"/>
                  <a:gd name="connsiteY26" fmla="*/ 385967 h 1393616"/>
                  <a:gd name="connsiteX27" fmla="*/ 15243 w 1524268"/>
                  <a:gd name="connsiteY27" fmla="*/ 401209 h 1393616"/>
                  <a:gd name="connsiteX28" fmla="*/ 15243 w 1524268"/>
                  <a:gd name="connsiteY28" fmla="*/ 401209 h 1393616"/>
                  <a:gd name="connsiteX29" fmla="*/ 461636 w 1524268"/>
                  <a:gd name="connsiteY29" fmla="*/ 392499 h 1393616"/>
                  <a:gd name="connsiteX30" fmla="*/ 729471 w 1524268"/>
                  <a:gd name="connsiteY30" fmla="*/ 651625 h 1393616"/>
                  <a:gd name="connsiteX31" fmla="*/ 313564 w 1524268"/>
                  <a:gd name="connsiteY31" fmla="*/ 660335 h 1393616"/>
                  <a:gd name="connsiteX32" fmla="*/ 298321 w 1524268"/>
                  <a:gd name="connsiteY32" fmla="*/ 675578 h 1393616"/>
                  <a:gd name="connsiteX33" fmla="*/ 313564 w 1524268"/>
                  <a:gd name="connsiteY33" fmla="*/ 690820 h 1393616"/>
                  <a:gd name="connsiteX34" fmla="*/ 313564 w 1524268"/>
                  <a:gd name="connsiteY34" fmla="*/ 690820 h 1393616"/>
                  <a:gd name="connsiteX35" fmla="*/ 759957 w 1524268"/>
                  <a:gd name="connsiteY35" fmla="*/ 682110 h 1393616"/>
                  <a:gd name="connsiteX36" fmla="*/ 871011 w 1524268"/>
                  <a:gd name="connsiteY36" fmla="*/ 788809 h 1393616"/>
                  <a:gd name="connsiteX37" fmla="*/ 871011 w 1524268"/>
                  <a:gd name="connsiteY37" fmla="*/ 788809 h 1393616"/>
                  <a:gd name="connsiteX38" fmla="*/ 1029970 w 1524268"/>
                  <a:gd name="connsiteY38" fmla="*/ 941236 h 1393616"/>
                  <a:gd name="connsiteX39" fmla="*/ 614062 w 1524268"/>
                  <a:gd name="connsiteY39" fmla="*/ 949946 h 1393616"/>
                  <a:gd name="connsiteX40" fmla="*/ 598820 w 1524268"/>
                  <a:gd name="connsiteY40" fmla="*/ 965189 h 1393616"/>
                  <a:gd name="connsiteX41" fmla="*/ 614062 w 1524268"/>
                  <a:gd name="connsiteY41" fmla="*/ 980431 h 1393616"/>
                  <a:gd name="connsiteX42" fmla="*/ 614062 w 1524268"/>
                  <a:gd name="connsiteY42" fmla="*/ 980431 h 1393616"/>
                  <a:gd name="connsiteX43" fmla="*/ 1060455 w 1524268"/>
                  <a:gd name="connsiteY43" fmla="*/ 971721 h 1393616"/>
                  <a:gd name="connsiteX44" fmla="*/ 1506848 w 1524268"/>
                  <a:gd name="connsiteY44" fmla="*/ 1400694 h 1393616"/>
                  <a:gd name="connsiteX45" fmla="*/ 1517736 w 1524268"/>
                  <a:gd name="connsiteY45" fmla="*/ 1405049 h 1393616"/>
                  <a:gd name="connsiteX46" fmla="*/ 1528624 w 1524268"/>
                  <a:gd name="connsiteY46" fmla="*/ 1400694 h 1393616"/>
                  <a:gd name="connsiteX47" fmla="*/ 1530801 w 1524268"/>
                  <a:gd name="connsiteY47" fmla="*/ 1372386 h 13936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1524268" h="1393616">
                    <a:moveTo>
                      <a:pt x="1530801" y="1372386"/>
                    </a:moveTo>
                    <a:lnTo>
                      <a:pt x="1199817" y="1054467"/>
                    </a:lnTo>
                    <a:lnTo>
                      <a:pt x="1191107" y="608074"/>
                    </a:lnTo>
                    <a:cubicBezTo>
                      <a:pt x="1191107" y="599364"/>
                      <a:pt x="1184574" y="592832"/>
                      <a:pt x="1175864" y="592832"/>
                    </a:cubicBezTo>
                    <a:cubicBezTo>
                      <a:pt x="1167154" y="592832"/>
                      <a:pt x="1160622" y="599364"/>
                      <a:pt x="1160622" y="608074"/>
                    </a:cubicBezTo>
                    <a:lnTo>
                      <a:pt x="1169332" y="1023982"/>
                    </a:lnTo>
                    <a:lnTo>
                      <a:pt x="1080053" y="939058"/>
                    </a:lnTo>
                    <a:cubicBezTo>
                      <a:pt x="1080053" y="939058"/>
                      <a:pt x="1080053" y="939058"/>
                      <a:pt x="1080053" y="939058"/>
                    </a:cubicBezTo>
                    <a:lnTo>
                      <a:pt x="901496" y="767034"/>
                    </a:lnTo>
                    <a:lnTo>
                      <a:pt x="890608" y="320641"/>
                    </a:lnTo>
                    <a:cubicBezTo>
                      <a:pt x="890608" y="311931"/>
                      <a:pt x="884076" y="305398"/>
                      <a:pt x="875366" y="305398"/>
                    </a:cubicBezTo>
                    <a:cubicBezTo>
                      <a:pt x="866656" y="305398"/>
                      <a:pt x="860123" y="311931"/>
                      <a:pt x="860123" y="320641"/>
                    </a:cubicBezTo>
                    <a:lnTo>
                      <a:pt x="868833" y="736548"/>
                    </a:lnTo>
                    <a:lnTo>
                      <a:pt x="779554" y="651625"/>
                    </a:lnTo>
                    <a:cubicBezTo>
                      <a:pt x="779554" y="651625"/>
                      <a:pt x="779554" y="651625"/>
                      <a:pt x="779554" y="651625"/>
                    </a:cubicBezTo>
                    <a:lnTo>
                      <a:pt x="600997" y="479600"/>
                    </a:lnTo>
                    <a:lnTo>
                      <a:pt x="590110" y="33207"/>
                    </a:lnTo>
                    <a:cubicBezTo>
                      <a:pt x="590110" y="24497"/>
                      <a:pt x="583577" y="17965"/>
                      <a:pt x="574867" y="17965"/>
                    </a:cubicBezTo>
                    <a:cubicBezTo>
                      <a:pt x="574867" y="17965"/>
                      <a:pt x="574867" y="17965"/>
                      <a:pt x="574867" y="17965"/>
                    </a:cubicBezTo>
                    <a:cubicBezTo>
                      <a:pt x="566157" y="17965"/>
                      <a:pt x="559624" y="24497"/>
                      <a:pt x="559624" y="33207"/>
                    </a:cubicBezTo>
                    <a:lnTo>
                      <a:pt x="568334" y="451292"/>
                    </a:lnTo>
                    <a:lnTo>
                      <a:pt x="104521" y="4899"/>
                    </a:lnTo>
                    <a:cubicBezTo>
                      <a:pt x="97989" y="-1633"/>
                      <a:pt x="89279" y="-1633"/>
                      <a:pt x="82746" y="4899"/>
                    </a:cubicBezTo>
                    <a:cubicBezTo>
                      <a:pt x="76213" y="11432"/>
                      <a:pt x="76213" y="20142"/>
                      <a:pt x="82746" y="26675"/>
                    </a:cubicBezTo>
                    <a:lnTo>
                      <a:pt x="431150" y="362014"/>
                    </a:lnTo>
                    <a:lnTo>
                      <a:pt x="15243" y="370724"/>
                    </a:lnTo>
                    <a:cubicBezTo>
                      <a:pt x="6533" y="370724"/>
                      <a:pt x="0" y="377256"/>
                      <a:pt x="0" y="385967"/>
                    </a:cubicBezTo>
                    <a:cubicBezTo>
                      <a:pt x="0" y="394677"/>
                      <a:pt x="6533" y="401209"/>
                      <a:pt x="15243" y="401209"/>
                    </a:cubicBezTo>
                    <a:cubicBezTo>
                      <a:pt x="15243" y="401209"/>
                      <a:pt x="15243" y="401209"/>
                      <a:pt x="15243" y="401209"/>
                    </a:cubicBezTo>
                    <a:lnTo>
                      <a:pt x="461636" y="392499"/>
                    </a:lnTo>
                    <a:lnTo>
                      <a:pt x="729471" y="651625"/>
                    </a:lnTo>
                    <a:lnTo>
                      <a:pt x="313564" y="660335"/>
                    </a:lnTo>
                    <a:cubicBezTo>
                      <a:pt x="304854" y="660335"/>
                      <a:pt x="298321" y="666867"/>
                      <a:pt x="298321" y="675578"/>
                    </a:cubicBezTo>
                    <a:cubicBezTo>
                      <a:pt x="298321" y="684288"/>
                      <a:pt x="304854" y="690820"/>
                      <a:pt x="313564" y="690820"/>
                    </a:cubicBezTo>
                    <a:cubicBezTo>
                      <a:pt x="313564" y="690820"/>
                      <a:pt x="313564" y="690820"/>
                      <a:pt x="313564" y="690820"/>
                    </a:cubicBezTo>
                    <a:lnTo>
                      <a:pt x="759957" y="682110"/>
                    </a:lnTo>
                    <a:lnTo>
                      <a:pt x="871011" y="788809"/>
                    </a:lnTo>
                    <a:cubicBezTo>
                      <a:pt x="871011" y="788809"/>
                      <a:pt x="871011" y="788809"/>
                      <a:pt x="871011" y="788809"/>
                    </a:cubicBezTo>
                    <a:lnTo>
                      <a:pt x="1029970" y="941236"/>
                    </a:lnTo>
                    <a:lnTo>
                      <a:pt x="614062" y="949946"/>
                    </a:lnTo>
                    <a:cubicBezTo>
                      <a:pt x="605352" y="949946"/>
                      <a:pt x="598820" y="956478"/>
                      <a:pt x="598820" y="965189"/>
                    </a:cubicBezTo>
                    <a:cubicBezTo>
                      <a:pt x="598820" y="973899"/>
                      <a:pt x="605352" y="980431"/>
                      <a:pt x="614062" y="980431"/>
                    </a:cubicBezTo>
                    <a:cubicBezTo>
                      <a:pt x="614062" y="980431"/>
                      <a:pt x="614062" y="980431"/>
                      <a:pt x="614062" y="980431"/>
                    </a:cubicBezTo>
                    <a:lnTo>
                      <a:pt x="1060455" y="971721"/>
                    </a:lnTo>
                    <a:lnTo>
                      <a:pt x="1506848" y="1400694"/>
                    </a:lnTo>
                    <a:cubicBezTo>
                      <a:pt x="1509026" y="1402871"/>
                      <a:pt x="1513381" y="1405049"/>
                      <a:pt x="1517736" y="1405049"/>
                    </a:cubicBezTo>
                    <a:cubicBezTo>
                      <a:pt x="1522091" y="1405049"/>
                      <a:pt x="1526446" y="1402871"/>
                      <a:pt x="1528624" y="1400694"/>
                    </a:cubicBezTo>
                    <a:cubicBezTo>
                      <a:pt x="1535156" y="1387629"/>
                      <a:pt x="1535156" y="1378919"/>
                      <a:pt x="1530801" y="1372386"/>
                    </a:cubicBezTo>
                    <a:close/>
                  </a:path>
                </a:pathLst>
              </a:custGeom>
              <a:solidFill>
                <a:schemeClr val="tx1">
                  <a:lumMod val="75000"/>
                  <a:lumOff val="25000"/>
                </a:schemeClr>
              </a:solidFill>
              <a:ln w="2176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grpSp>
          <p:nvGrpSpPr>
            <p:cNvPr id="14" name="Group 12">
              <a:extLst>
                <a:ext uri="{FF2B5EF4-FFF2-40B4-BE49-F238E27FC236}">
                  <a16:creationId xmlns:a16="http://schemas.microsoft.com/office/drawing/2014/main" id="{A72BAB68-7204-4D1D-A144-BAA0353C0F89}"/>
                </a:ext>
              </a:extLst>
            </p:cNvPr>
            <p:cNvGrpSpPr/>
            <p:nvPr/>
          </p:nvGrpSpPr>
          <p:grpSpPr>
            <a:xfrm rot="2492765">
              <a:off x="10995797" y="6235142"/>
              <a:ext cx="516653" cy="918458"/>
              <a:chOff x="1704725" y="5707061"/>
              <a:chExt cx="1197640" cy="2129055"/>
            </a:xfrm>
          </p:grpSpPr>
          <p:sp>
            <p:nvSpPr>
              <p:cNvPr id="18" name="Freeform: Shape 16">
                <a:extLst>
                  <a:ext uri="{FF2B5EF4-FFF2-40B4-BE49-F238E27FC236}">
                    <a16:creationId xmlns:a16="http://schemas.microsoft.com/office/drawing/2014/main" id="{7B78922C-EC18-43D7-A944-F7E9324B4D04}"/>
                  </a:ext>
                </a:extLst>
              </p:cNvPr>
              <p:cNvSpPr/>
              <p:nvPr/>
            </p:nvSpPr>
            <p:spPr>
              <a:xfrm>
                <a:off x="1704725" y="5707061"/>
                <a:ext cx="1197640" cy="1981549"/>
              </a:xfrm>
              <a:custGeom>
                <a:avLst/>
                <a:gdLst>
                  <a:gd name="connsiteX0" fmla="*/ 1153949 w 1197639"/>
                  <a:gd name="connsiteY0" fmla="*/ 975532 h 1981548"/>
                  <a:gd name="connsiteX1" fmla="*/ 844740 w 1197639"/>
                  <a:gd name="connsiteY1" fmla="*/ 1964129 h 1981548"/>
                  <a:gd name="connsiteX2" fmla="*/ 41233 w 1197639"/>
                  <a:gd name="connsiteY2" fmla="*/ 1310871 h 1981548"/>
                  <a:gd name="connsiteX3" fmla="*/ 252453 w 1197639"/>
                  <a:gd name="connsiteY3" fmla="*/ 0 h 1981548"/>
                  <a:gd name="connsiteX4" fmla="*/ 1153949 w 1197639"/>
                  <a:gd name="connsiteY4" fmla="*/ 975532 h 19815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7639" h="1981548">
                    <a:moveTo>
                      <a:pt x="1153949" y="975532"/>
                    </a:moveTo>
                    <a:cubicBezTo>
                      <a:pt x="1317264" y="1517736"/>
                      <a:pt x="1151771" y="1872673"/>
                      <a:pt x="844740" y="1964129"/>
                    </a:cubicBezTo>
                    <a:cubicBezTo>
                      <a:pt x="537709" y="2055585"/>
                      <a:pt x="204548" y="1853075"/>
                      <a:pt x="41233" y="1310871"/>
                    </a:cubicBezTo>
                    <a:cubicBezTo>
                      <a:pt x="-122081" y="768667"/>
                      <a:pt x="252453" y="0"/>
                      <a:pt x="252453" y="0"/>
                    </a:cubicBezTo>
                    <a:cubicBezTo>
                      <a:pt x="252453" y="0"/>
                      <a:pt x="990635" y="433328"/>
                      <a:pt x="1153949" y="975532"/>
                    </a:cubicBezTo>
                    <a:close/>
                  </a:path>
                </a:pathLst>
              </a:custGeom>
              <a:solidFill>
                <a:schemeClr val="accent1">
                  <a:lumMod val="75000"/>
                </a:schemeClr>
              </a:solidFill>
              <a:ln w="2176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9" name="Freeform: Shape 17">
                <a:extLst>
                  <a:ext uri="{FF2B5EF4-FFF2-40B4-BE49-F238E27FC236}">
                    <a16:creationId xmlns:a16="http://schemas.microsoft.com/office/drawing/2014/main" id="{56386598-2E82-4179-BE07-DF80BDC2E89E}"/>
                  </a:ext>
                </a:extLst>
              </p:cNvPr>
              <p:cNvSpPr/>
              <p:nvPr/>
            </p:nvSpPr>
            <p:spPr>
              <a:xfrm>
                <a:off x="1840952" y="6094095"/>
                <a:ext cx="827460" cy="1742021"/>
              </a:xfrm>
              <a:custGeom>
                <a:avLst/>
                <a:gdLst>
                  <a:gd name="connsiteX0" fmla="*/ 832632 w 827460"/>
                  <a:gd name="connsiteY0" fmla="*/ 952145 h 1742020"/>
                  <a:gd name="connsiteX1" fmla="*/ 815211 w 827460"/>
                  <a:gd name="connsiteY1" fmla="*/ 958678 h 1742020"/>
                  <a:gd name="connsiteX2" fmla="*/ 636654 w 827460"/>
                  <a:gd name="connsiteY2" fmla="*/ 1289662 h 1742020"/>
                  <a:gd name="connsiteX3" fmla="*/ 603991 w 827460"/>
                  <a:gd name="connsiteY3" fmla="*/ 1182963 h 1742020"/>
                  <a:gd name="connsiteX4" fmla="*/ 603991 w 827460"/>
                  <a:gd name="connsiteY4" fmla="*/ 1182963 h 1742020"/>
                  <a:gd name="connsiteX5" fmla="*/ 538666 w 827460"/>
                  <a:gd name="connsiteY5" fmla="*/ 967388 h 1742020"/>
                  <a:gd name="connsiteX6" fmla="*/ 730288 w 827460"/>
                  <a:gd name="connsiteY6" fmla="*/ 610274 h 1742020"/>
                  <a:gd name="connsiteX7" fmla="*/ 723755 w 827460"/>
                  <a:gd name="connsiteY7" fmla="*/ 592854 h 1742020"/>
                  <a:gd name="connsiteX8" fmla="*/ 706335 w 827460"/>
                  <a:gd name="connsiteY8" fmla="*/ 599386 h 1742020"/>
                  <a:gd name="connsiteX9" fmla="*/ 527778 w 827460"/>
                  <a:gd name="connsiteY9" fmla="*/ 932548 h 1742020"/>
                  <a:gd name="connsiteX10" fmla="*/ 429789 w 827460"/>
                  <a:gd name="connsiteY10" fmla="*/ 608096 h 1742020"/>
                  <a:gd name="connsiteX11" fmla="*/ 621412 w 827460"/>
                  <a:gd name="connsiteY11" fmla="*/ 250982 h 1742020"/>
                  <a:gd name="connsiteX12" fmla="*/ 614879 w 827460"/>
                  <a:gd name="connsiteY12" fmla="*/ 233562 h 1742020"/>
                  <a:gd name="connsiteX13" fmla="*/ 597459 w 827460"/>
                  <a:gd name="connsiteY13" fmla="*/ 240094 h 1742020"/>
                  <a:gd name="connsiteX14" fmla="*/ 418902 w 827460"/>
                  <a:gd name="connsiteY14" fmla="*/ 568901 h 1742020"/>
                  <a:gd name="connsiteX15" fmla="*/ 251232 w 827460"/>
                  <a:gd name="connsiteY15" fmla="*/ 9276 h 1742020"/>
                  <a:gd name="connsiteX16" fmla="*/ 233812 w 827460"/>
                  <a:gd name="connsiteY16" fmla="*/ 566 h 1742020"/>
                  <a:gd name="connsiteX17" fmla="*/ 225102 w 827460"/>
                  <a:gd name="connsiteY17" fmla="*/ 17987 h 1742020"/>
                  <a:gd name="connsiteX18" fmla="*/ 351398 w 827460"/>
                  <a:gd name="connsiteY18" fmla="*/ 438249 h 1742020"/>
                  <a:gd name="connsiteX19" fmla="*/ 18237 w 827460"/>
                  <a:gd name="connsiteY19" fmla="*/ 259692 h 1742020"/>
                  <a:gd name="connsiteX20" fmla="*/ 817 w 827460"/>
                  <a:gd name="connsiteY20" fmla="*/ 266225 h 1742020"/>
                  <a:gd name="connsiteX21" fmla="*/ 7349 w 827460"/>
                  <a:gd name="connsiteY21" fmla="*/ 283645 h 1742020"/>
                  <a:gd name="connsiteX22" fmla="*/ 364463 w 827460"/>
                  <a:gd name="connsiteY22" fmla="*/ 475267 h 1742020"/>
                  <a:gd name="connsiteX23" fmla="*/ 403659 w 827460"/>
                  <a:gd name="connsiteY23" fmla="*/ 608096 h 1742020"/>
                  <a:gd name="connsiteX24" fmla="*/ 403659 w 827460"/>
                  <a:gd name="connsiteY24" fmla="*/ 608096 h 1742020"/>
                  <a:gd name="connsiteX25" fmla="*/ 460275 w 827460"/>
                  <a:gd name="connsiteY25" fmla="*/ 799719 h 1742020"/>
                  <a:gd name="connsiteX26" fmla="*/ 127113 w 827460"/>
                  <a:gd name="connsiteY26" fmla="*/ 621161 h 1742020"/>
                  <a:gd name="connsiteX27" fmla="*/ 109693 w 827460"/>
                  <a:gd name="connsiteY27" fmla="*/ 627694 h 1742020"/>
                  <a:gd name="connsiteX28" fmla="*/ 116225 w 827460"/>
                  <a:gd name="connsiteY28" fmla="*/ 645114 h 1742020"/>
                  <a:gd name="connsiteX29" fmla="*/ 473340 w 827460"/>
                  <a:gd name="connsiteY29" fmla="*/ 836736 h 1742020"/>
                  <a:gd name="connsiteX30" fmla="*/ 512535 w 827460"/>
                  <a:gd name="connsiteY30" fmla="*/ 969566 h 1742020"/>
                  <a:gd name="connsiteX31" fmla="*/ 512535 w 827460"/>
                  <a:gd name="connsiteY31" fmla="*/ 969566 h 1742020"/>
                  <a:gd name="connsiteX32" fmla="*/ 569151 w 827460"/>
                  <a:gd name="connsiteY32" fmla="*/ 1161188 h 1742020"/>
                  <a:gd name="connsiteX33" fmla="*/ 235989 w 827460"/>
                  <a:gd name="connsiteY33" fmla="*/ 982631 h 1742020"/>
                  <a:gd name="connsiteX34" fmla="*/ 218569 w 827460"/>
                  <a:gd name="connsiteY34" fmla="*/ 989163 h 1742020"/>
                  <a:gd name="connsiteX35" fmla="*/ 225102 w 827460"/>
                  <a:gd name="connsiteY35" fmla="*/ 1006584 h 1742020"/>
                  <a:gd name="connsiteX36" fmla="*/ 582216 w 827460"/>
                  <a:gd name="connsiteY36" fmla="*/ 1198206 h 1742020"/>
                  <a:gd name="connsiteX37" fmla="*/ 745531 w 827460"/>
                  <a:gd name="connsiteY37" fmla="*/ 1738233 h 1742020"/>
                  <a:gd name="connsiteX38" fmla="*/ 758596 w 827460"/>
                  <a:gd name="connsiteY38" fmla="*/ 1746943 h 1742020"/>
                  <a:gd name="connsiteX39" fmla="*/ 762951 w 827460"/>
                  <a:gd name="connsiteY39" fmla="*/ 1746943 h 1742020"/>
                  <a:gd name="connsiteX40" fmla="*/ 771661 w 827460"/>
                  <a:gd name="connsiteY40" fmla="*/ 1729522 h 1742020"/>
                  <a:gd name="connsiteX41" fmla="*/ 651897 w 827460"/>
                  <a:gd name="connsiteY41" fmla="*/ 1328858 h 1742020"/>
                  <a:gd name="connsiteX42" fmla="*/ 843519 w 827460"/>
                  <a:gd name="connsiteY42" fmla="*/ 971743 h 1742020"/>
                  <a:gd name="connsiteX43" fmla="*/ 832632 w 827460"/>
                  <a:gd name="connsiteY43" fmla="*/ 952145 h 17420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827460" h="1742020">
                    <a:moveTo>
                      <a:pt x="832632" y="952145"/>
                    </a:moveTo>
                    <a:cubicBezTo>
                      <a:pt x="826099" y="947790"/>
                      <a:pt x="817389" y="949968"/>
                      <a:pt x="815211" y="958678"/>
                    </a:cubicBezTo>
                    <a:lnTo>
                      <a:pt x="636654" y="1289662"/>
                    </a:lnTo>
                    <a:lnTo>
                      <a:pt x="603991" y="1182963"/>
                    </a:lnTo>
                    <a:cubicBezTo>
                      <a:pt x="603991" y="1182963"/>
                      <a:pt x="603991" y="1182963"/>
                      <a:pt x="603991" y="1182963"/>
                    </a:cubicBezTo>
                    <a:lnTo>
                      <a:pt x="538666" y="967388"/>
                    </a:lnTo>
                    <a:lnTo>
                      <a:pt x="730288" y="610274"/>
                    </a:lnTo>
                    <a:cubicBezTo>
                      <a:pt x="734643" y="603741"/>
                      <a:pt x="730288" y="595031"/>
                      <a:pt x="723755" y="592854"/>
                    </a:cubicBezTo>
                    <a:cubicBezTo>
                      <a:pt x="717223" y="588499"/>
                      <a:pt x="708513" y="592854"/>
                      <a:pt x="706335" y="599386"/>
                    </a:cubicBezTo>
                    <a:lnTo>
                      <a:pt x="527778" y="932548"/>
                    </a:lnTo>
                    <a:lnTo>
                      <a:pt x="429789" y="608096"/>
                    </a:lnTo>
                    <a:lnTo>
                      <a:pt x="621412" y="250982"/>
                    </a:lnTo>
                    <a:cubicBezTo>
                      <a:pt x="625767" y="244449"/>
                      <a:pt x="621412" y="235739"/>
                      <a:pt x="614879" y="233562"/>
                    </a:cubicBezTo>
                    <a:cubicBezTo>
                      <a:pt x="608346" y="231384"/>
                      <a:pt x="599636" y="233562"/>
                      <a:pt x="597459" y="240094"/>
                    </a:cubicBezTo>
                    <a:lnTo>
                      <a:pt x="418902" y="568901"/>
                    </a:lnTo>
                    <a:lnTo>
                      <a:pt x="251232" y="9276"/>
                    </a:lnTo>
                    <a:cubicBezTo>
                      <a:pt x="249055" y="2744"/>
                      <a:pt x="242522" y="-1611"/>
                      <a:pt x="233812" y="566"/>
                    </a:cubicBezTo>
                    <a:cubicBezTo>
                      <a:pt x="227279" y="2744"/>
                      <a:pt x="222924" y="9276"/>
                      <a:pt x="225102" y="17987"/>
                    </a:cubicBezTo>
                    <a:lnTo>
                      <a:pt x="351398" y="438249"/>
                    </a:lnTo>
                    <a:lnTo>
                      <a:pt x="18237" y="259692"/>
                    </a:lnTo>
                    <a:cubicBezTo>
                      <a:pt x="11704" y="255337"/>
                      <a:pt x="2994" y="259692"/>
                      <a:pt x="817" y="266225"/>
                    </a:cubicBezTo>
                    <a:cubicBezTo>
                      <a:pt x="-1361" y="272757"/>
                      <a:pt x="817" y="281467"/>
                      <a:pt x="7349" y="283645"/>
                    </a:cubicBezTo>
                    <a:lnTo>
                      <a:pt x="364463" y="475267"/>
                    </a:lnTo>
                    <a:lnTo>
                      <a:pt x="403659" y="608096"/>
                    </a:lnTo>
                    <a:cubicBezTo>
                      <a:pt x="403659" y="608096"/>
                      <a:pt x="403659" y="608096"/>
                      <a:pt x="403659" y="608096"/>
                    </a:cubicBezTo>
                    <a:lnTo>
                      <a:pt x="460275" y="799719"/>
                    </a:lnTo>
                    <a:lnTo>
                      <a:pt x="127113" y="621161"/>
                    </a:lnTo>
                    <a:cubicBezTo>
                      <a:pt x="120581" y="616806"/>
                      <a:pt x="111870" y="621161"/>
                      <a:pt x="109693" y="627694"/>
                    </a:cubicBezTo>
                    <a:cubicBezTo>
                      <a:pt x="105338" y="634227"/>
                      <a:pt x="109693" y="642937"/>
                      <a:pt x="116225" y="645114"/>
                    </a:cubicBezTo>
                    <a:lnTo>
                      <a:pt x="473340" y="836736"/>
                    </a:lnTo>
                    <a:lnTo>
                      <a:pt x="512535" y="969566"/>
                    </a:lnTo>
                    <a:cubicBezTo>
                      <a:pt x="512535" y="969566"/>
                      <a:pt x="512535" y="969566"/>
                      <a:pt x="512535" y="969566"/>
                    </a:cubicBezTo>
                    <a:lnTo>
                      <a:pt x="569151" y="1161188"/>
                    </a:lnTo>
                    <a:lnTo>
                      <a:pt x="235989" y="982631"/>
                    </a:lnTo>
                    <a:cubicBezTo>
                      <a:pt x="229457" y="978276"/>
                      <a:pt x="220747" y="982631"/>
                      <a:pt x="218569" y="989163"/>
                    </a:cubicBezTo>
                    <a:cubicBezTo>
                      <a:pt x="214214" y="995696"/>
                      <a:pt x="218569" y="1004406"/>
                      <a:pt x="225102" y="1006584"/>
                    </a:cubicBezTo>
                    <a:lnTo>
                      <a:pt x="582216" y="1198206"/>
                    </a:lnTo>
                    <a:lnTo>
                      <a:pt x="745531" y="1738233"/>
                    </a:lnTo>
                    <a:cubicBezTo>
                      <a:pt x="747708" y="1744765"/>
                      <a:pt x="752063" y="1746943"/>
                      <a:pt x="758596" y="1746943"/>
                    </a:cubicBezTo>
                    <a:cubicBezTo>
                      <a:pt x="760773" y="1746943"/>
                      <a:pt x="760773" y="1746943"/>
                      <a:pt x="762951" y="1746943"/>
                    </a:cubicBezTo>
                    <a:cubicBezTo>
                      <a:pt x="769484" y="1744765"/>
                      <a:pt x="773839" y="1738233"/>
                      <a:pt x="771661" y="1729522"/>
                    </a:cubicBezTo>
                    <a:lnTo>
                      <a:pt x="651897" y="1328858"/>
                    </a:lnTo>
                    <a:lnTo>
                      <a:pt x="843519" y="971743"/>
                    </a:lnTo>
                    <a:cubicBezTo>
                      <a:pt x="841342" y="963033"/>
                      <a:pt x="839164" y="956500"/>
                      <a:pt x="832632" y="952145"/>
                    </a:cubicBezTo>
                    <a:close/>
                  </a:path>
                </a:pathLst>
              </a:custGeom>
              <a:solidFill>
                <a:schemeClr val="tx1">
                  <a:lumMod val="75000"/>
                  <a:lumOff val="25000"/>
                </a:schemeClr>
              </a:solidFill>
              <a:ln w="2176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grpSp>
          <p:nvGrpSpPr>
            <p:cNvPr id="15" name="Group 13">
              <a:extLst>
                <a:ext uri="{FF2B5EF4-FFF2-40B4-BE49-F238E27FC236}">
                  <a16:creationId xmlns:a16="http://schemas.microsoft.com/office/drawing/2014/main" id="{6A1847EA-A678-46FE-B568-8C51D3E96D12}"/>
                </a:ext>
              </a:extLst>
            </p:cNvPr>
            <p:cNvGrpSpPr/>
            <p:nvPr/>
          </p:nvGrpSpPr>
          <p:grpSpPr>
            <a:xfrm rot="21012104">
              <a:off x="11777503" y="6201304"/>
              <a:ext cx="516653" cy="918458"/>
              <a:chOff x="1704725" y="5707061"/>
              <a:chExt cx="1197640" cy="2129055"/>
            </a:xfrm>
          </p:grpSpPr>
          <p:sp>
            <p:nvSpPr>
              <p:cNvPr id="16" name="Freeform: Shape 14">
                <a:extLst>
                  <a:ext uri="{FF2B5EF4-FFF2-40B4-BE49-F238E27FC236}">
                    <a16:creationId xmlns:a16="http://schemas.microsoft.com/office/drawing/2014/main" id="{B633D81F-6055-4177-AFBC-AA50B17262B7}"/>
                  </a:ext>
                </a:extLst>
              </p:cNvPr>
              <p:cNvSpPr/>
              <p:nvPr/>
            </p:nvSpPr>
            <p:spPr>
              <a:xfrm>
                <a:off x="1704725" y="5707061"/>
                <a:ext cx="1197640" cy="1981549"/>
              </a:xfrm>
              <a:custGeom>
                <a:avLst/>
                <a:gdLst>
                  <a:gd name="connsiteX0" fmla="*/ 1153949 w 1197639"/>
                  <a:gd name="connsiteY0" fmla="*/ 975532 h 1981548"/>
                  <a:gd name="connsiteX1" fmla="*/ 844740 w 1197639"/>
                  <a:gd name="connsiteY1" fmla="*/ 1964129 h 1981548"/>
                  <a:gd name="connsiteX2" fmla="*/ 41233 w 1197639"/>
                  <a:gd name="connsiteY2" fmla="*/ 1310871 h 1981548"/>
                  <a:gd name="connsiteX3" fmla="*/ 252453 w 1197639"/>
                  <a:gd name="connsiteY3" fmla="*/ 0 h 1981548"/>
                  <a:gd name="connsiteX4" fmla="*/ 1153949 w 1197639"/>
                  <a:gd name="connsiteY4" fmla="*/ 975532 h 19815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7639" h="1981548">
                    <a:moveTo>
                      <a:pt x="1153949" y="975532"/>
                    </a:moveTo>
                    <a:cubicBezTo>
                      <a:pt x="1317264" y="1517736"/>
                      <a:pt x="1151771" y="1872673"/>
                      <a:pt x="844740" y="1964129"/>
                    </a:cubicBezTo>
                    <a:cubicBezTo>
                      <a:pt x="537709" y="2055585"/>
                      <a:pt x="204548" y="1853075"/>
                      <a:pt x="41233" y="1310871"/>
                    </a:cubicBezTo>
                    <a:cubicBezTo>
                      <a:pt x="-122081" y="768667"/>
                      <a:pt x="252453" y="0"/>
                      <a:pt x="252453" y="0"/>
                    </a:cubicBezTo>
                    <a:cubicBezTo>
                      <a:pt x="252453" y="0"/>
                      <a:pt x="990635" y="433328"/>
                      <a:pt x="1153949" y="975532"/>
                    </a:cubicBezTo>
                    <a:close/>
                  </a:path>
                </a:pathLst>
              </a:custGeom>
              <a:solidFill>
                <a:schemeClr val="accent2"/>
              </a:solidFill>
              <a:ln w="2176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7" name="Freeform: Shape 15">
                <a:extLst>
                  <a:ext uri="{FF2B5EF4-FFF2-40B4-BE49-F238E27FC236}">
                    <a16:creationId xmlns:a16="http://schemas.microsoft.com/office/drawing/2014/main" id="{1F088E9F-881D-4833-B6BE-73C82D737314}"/>
                  </a:ext>
                </a:extLst>
              </p:cNvPr>
              <p:cNvSpPr/>
              <p:nvPr/>
            </p:nvSpPr>
            <p:spPr>
              <a:xfrm>
                <a:off x="1840952" y="6094095"/>
                <a:ext cx="827460" cy="1742021"/>
              </a:xfrm>
              <a:custGeom>
                <a:avLst/>
                <a:gdLst>
                  <a:gd name="connsiteX0" fmla="*/ 832632 w 827460"/>
                  <a:gd name="connsiteY0" fmla="*/ 952145 h 1742020"/>
                  <a:gd name="connsiteX1" fmla="*/ 815211 w 827460"/>
                  <a:gd name="connsiteY1" fmla="*/ 958678 h 1742020"/>
                  <a:gd name="connsiteX2" fmla="*/ 636654 w 827460"/>
                  <a:gd name="connsiteY2" fmla="*/ 1289662 h 1742020"/>
                  <a:gd name="connsiteX3" fmla="*/ 603991 w 827460"/>
                  <a:gd name="connsiteY3" fmla="*/ 1182963 h 1742020"/>
                  <a:gd name="connsiteX4" fmla="*/ 603991 w 827460"/>
                  <a:gd name="connsiteY4" fmla="*/ 1182963 h 1742020"/>
                  <a:gd name="connsiteX5" fmla="*/ 538666 w 827460"/>
                  <a:gd name="connsiteY5" fmla="*/ 967388 h 1742020"/>
                  <a:gd name="connsiteX6" fmla="*/ 730288 w 827460"/>
                  <a:gd name="connsiteY6" fmla="*/ 610274 h 1742020"/>
                  <a:gd name="connsiteX7" fmla="*/ 723755 w 827460"/>
                  <a:gd name="connsiteY7" fmla="*/ 592854 h 1742020"/>
                  <a:gd name="connsiteX8" fmla="*/ 706335 w 827460"/>
                  <a:gd name="connsiteY8" fmla="*/ 599386 h 1742020"/>
                  <a:gd name="connsiteX9" fmla="*/ 527778 w 827460"/>
                  <a:gd name="connsiteY9" fmla="*/ 932548 h 1742020"/>
                  <a:gd name="connsiteX10" fmla="*/ 429789 w 827460"/>
                  <a:gd name="connsiteY10" fmla="*/ 608096 h 1742020"/>
                  <a:gd name="connsiteX11" fmla="*/ 621412 w 827460"/>
                  <a:gd name="connsiteY11" fmla="*/ 250982 h 1742020"/>
                  <a:gd name="connsiteX12" fmla="*/ 614879 w 827460"/>
                  <a:gd name="connsiteY12" fmla="*/ 233562 h 1742020"/>
                  <a:gd name="connsiteX13" fmla="*/ 597459 w 827460"/>
                  <a:gd name="connsiteY13" fmla="*/ 240094 h 1742020"/>
                  <a:gd name="connsiteX14" fmla="*/ 418902 w 827460"/>
                  <a:gd name="connsiteY14" fmla="*/ 568901 h 1742020"/>
                  <a:gd name="connsiteX15" fmla="*/ 251232 w 827460"/>
                  <a:gd name="connsiteY15" fmla="*/ 9276 h 1742020"/>
                  <a:gd name="connsiteX16" fmla="*/ 233812 w 827460"/>
                  <a:gd name="connsiteY16" fmla="*/ 566 h 1742020"/>
                  <a:gd name="connsiteX17" fmla="*/ 225102 w 827460"/>
                  <a:gd name="connsiteY17" fmla="*/ 17987 h 1742020"/>
                  <a:gd name="connsiteX18" fmla="*/ 351398 w 827460"/>
                  <a:gd name="connsiteY18" fmla="*/ 438249 h 1742020"/>
                  <a:gd name="connsiteX19" fmla="*/ 18237 w 827460"/>
                  <a:gd name="connsiteY19" fmla="*/ 259692 h 1742020"/>
                  <a:gd name="connsiteX20" fmla="*/ 817 w 827460"/>
                  <a:gd name="connsiteY20" fmla="*/ 266225 h 1742020"/>
                  <a:gd name="connsiteX21" fmla="*/ 7349 w 827460"/>
                  <a:gd name="connsiteY21" fmla="*/ 283645 h 1742020"/>
                  <a:gd name="connsiteX22" fmla="*/ 364463 w 827460"/>
                  <a:gd name="connsiteY22" fmla="*/ 475267 h 1742020"/>
                  <a:gd name="connsiteX23" fmla="*/ 403659 w 827460"/>
                  <a:gd name="connsiteY23" fmla="*/ 608096 h 1742020"/>
                  <a:gd name="connsiteX24" fmla="*/ 403659 w 827460"/>
                  <a:gd name="connsiteY24" fmla="*/ 608096 h 1742020"/>
                  <a:gd name="connsiteX25" fmla="*/ 460275 w 827460"/>
                  <a:gd name="connsiteY25" fmla="*/ 799719 h 1742020"/>
                  <a:gd name="connsiteX26" fmla="*/ 127113 w 827460"/>
                  <a:gd name="connsiteY26" fmla="*/ 621161 h 1742020"/>
                  <a:gd name="connsiteX27" fmla="*/ 109693 w 827460"/>
                  <a:gd name="connsiteY27" fmla="*/ 627694 h 1742020"/>
                  <a:gd name="connsiteX28" fmla="*/ 116225 w 827460"/>
                  <a:gd name="connsiteY28" fmla="*/ 645114 h 1742020"/>
                  <a:gd name="connsiteX29" fmla="*/ 473340 w 827460"/>
                  <a:gd name="connsiteY29" fmla="*/ 836736 h 1742020"/>
                  <a:gd name="connsiteX30" fmla="*/ 512535 w 827460"/>
                  <a:gd name="connsiteY30" fmla="*/ 969566 h 1742020"/>
                  <a:gd name="connsiteX31" fmla="*/ 512535 w 827460"/>
                  <a:gd name="connsiteY31" fmla="*/ 969566 h 1742020"/>
                  <a:gd name="connsiteX32" fmla="*/ 569151 w 827460"/>
                  <a:gd name="connsiteY32" fmla="*/ 1161188 h 1742020"/>
                  <a:gd name="connsiteX33" fmla="*/ 235989 w 827460"/>
                  <a:gd name="connsiteY33" fmla="*/ 982631 h 1742020"/>
                  <a:gd name="connsiteX34" fmla="*/ 218569 w 827460"/>
                  <a:gd name="connsiteY34" fmla="*/ 989163 h 1742020"/>
                  <a:gd name="connsiteX35" fmla="*/ 225102 w 827460"/>
                  <a:gd name="connsiteY35" fmla="*/ 1006584 h 1742020"/>
                  <a:gd name="connsiteX36" fmla="*/ 582216 w 827460"/>
                  <a:gd name="connsiteY36" fmla="*/ 1198206 h 1742020"/>
                  <a:gd name="connsiteX37" fmla="*/ 745531 w 827460"/>
                  <a:gd name="connsiteY37" fmla="*/ 1738233 h 1742020"/>
                  <a:gd name="connsiteX38" fmla="*/ 758596 w 827460"/>
                  <a:gd name="connsiteY38" fmla="*/ 1746943 h 1742020"/>
                  <a:gd name="connsiteX39" fmla="*/ 762951 w 827460"/>
                  <a:gd name="connsiteY39" fmla="*/ 1746943 h 1742020"/>
                  <a:gd name="connsiteX40" fmla="*/ 771661 w 827460"/>
                  <a:gd name="connsiteY40" fmla="*/ 1729522 h 1742020"/>
                  <a:gd name="connsiteX41" fmla="*/ 651897 w 827460"/>
                  <a:gd name="connsiteY41" fmla="*/ 1328858 h 1742020"/>
                  <a:gd name="connsiteX42" fmla="*/ 843519 w 827460"/>
                  <a:gd name="connsiteY42" fmla="*/ 971743 h 1742020"/>
                  <a:gd name="connsiteX43" fmla="*/ 832632 w 827460"/>
                  <a:gd name="connsiteY43" fmla="*/ 952145 h 17420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827460" h="1742020">
                    <a:moveTo>
                      <a:pt x="832632" y="952145"/>
                    </a:moveTo>
                    <a:cubicBezTo>
                      <a:pt x="826099" y="947790"/>
                      <a:pt x="817389" y="949968"/>
                      <a:pt x="815211" y="958678"/>
                    </a:cubicBezTo>
                    <a:lnTo>
                      <a:pt x="636654" y="1289662"/>
                    </a:lnTo>
                    <a:lnTo>
                      <a:pt x="603991" y="1182963"/>
                    </a:lnTo>
                    <a:cubicBezTo>
                      <a:pt x="603991" y="1182963"/>
                      <a:pt x="603991" y="1182963"/>
                      <a:pt x="603991" y="1182963"/>
                    </a:cubicBezTo>
                    <a:lnTo>
                      <a:pt x="538666" y="967388"/>
                    </a:lnTo>
                    <a:lnTo>
                      <a:pt x="730288" y="610274"/>
                    </a:lnTo>
                    <a:cubicBezTo>
                      <a:pt x="734643" y="603741"/>
                      <a:pt x="730288" y="595031"/>
                      <a:pt x="723755" y="592854"/>
                    </a:cubicBezTo>
                    <a:cubicBezTo>
                      <a:pt x="717223" y="588499"/>
                      <a:pt x="708513" y="592854"/>
                      <a:pt x="706335" y="599386"/>
                    </a:cubicBezTo>
                    <a:lnTo>
                      <a:pt x="527778" y="932548"/>
                    </a:lnTo>
                    <a:lnTo>
                      <a:pt x="429789" y="608096"/>
                    </a:lnTo>
                    <a:lnTo>
                      <a:pt x="621412" y="250982"/>
                    </a:lnTo>
                    <a:cubicBezTo>
                      <a:pt x="625767" y="244449"/>
                      <a:pt x="621412" y="235739"/>
                      <a:pt x="614879" y="233562"/>
                    </a:cubicBezTo>
                    <a:cubicBezTo>
                      <a:pt x="608346" y="231384"/>
                      <a:pt x="599636" y="233562"/>
                      <a:pt x="597459" y="240094"/>
                    </a:cubicBezTo>
                    <a:lnTo>
                      <a:pt x="418902" y="568901"/>
                    </a:lnTo>
                    <a:lnTo>
                      <a:pt x="251232" y="9276"/>
                    </a:lnTo>
                    <a:cubicBezTo>
                      <a:pt x="249055" y="2744"/>
                      <a:pt x="242522" y="-1611"/>
                      <a:pt x="233812" y="566"/>
                    </a:cubicBezTo>
                    <a:cubicBezTo>
                      <a:pt x="227279" y="2744"/>
                      <a:pt x="222924" y="9276"/>
                      <a:pt x="225102" y="17987"/>
                    </a:cubicBezTo>
                    <a:lnTo>
                      <a:pt x="351398" y="438249"/>
                    </a:lnTo>
                    <a:lnTo>
                      <a:pt x="18237" y="259692"/>
                    </a:lnTo>
                    <a:cubicBezTo>
                      <a:pt x="11704" y="255337"/>
                      <a:pt x="2994" y="259692"/>
                      <a:pt x="817" y="266225"/>
                    </a:cubicBezTo>
                    <a:cubicBezTo>
                      <a:pt x="-1361" y="272757"/>
                      <a:pt x="817" y="281467"/>
                      <a:pt x="7349" y="283645"/>
                    </a:cubicBezTo>
                    <a:lnTo>
                      <a:pt x="364463" y="475267"/>
                    </a:lnTo>
                    <a:lnTo>
                      <a:pt x="403659" y="608096"/>
                    </a:lnTo>
                    <a:cubicBezTo>
                      <a:pt x="403659" y="608096"/>
                      <a:pt x="403659" y="608096"/>
                      <a:pt x="403659" y="608096"/>
                    </a:cubicBezTo>
                    <a:lnTo>
                      <a:pt x="460275" y="799719"/>
                    </a:lnTo>
                    <a:lnTo>
                      <a:pt x="127113" y="621161"/>
                    </a:lnTo>
                    <a:cubicBezTo>
                      <a:pt x="120581" y="616806"/>
                      <a:pt x="111870" y="621161"/>
                      <a:pt x="109693" y="627694"/>
                    </a:cubicBezTo>
                    <a:cubicBezTo>
                      <a:pt x="105338" y="634227"/>
                      <a:pt x="109693" y="642937"/>
                      <a:pt x="116225" y="645114"/>
                    </a:cubicBezTo>
                    <a:lnTo>
                      <a:pt x="473340" y="836736"/>
                    </a:lnTo>
                    <a:lnTo>
                      <a:pt x="512535" y="969566"/>
                    </a:lnTo>
                    <a:cubicBezTo>
                      <a:pt x="512535" y="969566"/>
                      <a:pt x="512535" y="969566"/>
                      <a:pt x="512535" y="969566"/>
                    </a:cubicBezTo>
                    <a:lnTo>
                      <a:pt x="569151" y="1161188"/>
                    </a:lnTo>
                    <a:lnTo>
                      <a:pt x="235989" y="982631"/>
                    </a:lnTo>
                    <a:cubicBezTo>
                      <a:pt x="229457" y="978276"/>
                      <a:pt x="220747" y="982631"/>
                      <a:pt x="218569" y="989163"/>
                    </a:cubicBezTo>
                    <a:cubicBezTo>
                      <a:pt x="214214" y="995696"/>
                      <a:pt x="218569" y="1004406"/>
                      <a:pt x="225102" y="1006584"/>
                    </a:cubicBezTo>
                    <a:lnTo>
                      <a:pt x="582216" y="1198206"/>
                    </a:lnTo>
                    <a:lnTo>
                      <a:pt x="745531" y="1738233"/>
                    </a:lnTo>
                    <a:cubicBezTo>
                      <a:pt x="747708" y="1744765"/>
                      <a:pt x="752063" y="1746943"/>
                      <a:pt x="758596" y="1746943"/>
                    </a:cubicBezTo>
                    <a:cubicBezTo>
                      <a:pt x="760773" y="1746943"/>
                      <a:pt x="760773" y="1746943"/>
                      <a:pt x="762951" y="1746943"/>
                    </a:cubicBezTo>
                    <a:cubicBezTo>
                      <a:pt x="769484" y="1744765"/>
                      <a:pt x="773839" y="1738233"/>
                      <a:pt x="771661" y="1729522"/>
                    </a:cubicBezTo>
                    <a:lnTo>
                      <a:pt x="651897" y="1328858"/>
                    </a:lnTo>
                    <a:lnTo>
                      <a:pt x="843519" y="971743"/>
                    </a:lnTo>
                    <a:cubicBezTo>
                      <a:pt x="841342" y="963033"/>
                      <a:pt x="839164" y="956500"/>
                      <a:pt x="832632" y="952145"/>
                    </a:cubicBezTo>
                    <a:close/>
                  </a:path>
                </a:pathLst>
              </a:custGeom>
              <a:solidFill>
                <a:schemeClr val="tx1">
                  <a:lumMod val="75000"/>
                  <a:lumOff val="25000"/>
                </a:schemeClr>
              </a:solidFill>
              <a:ln w="2176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grpSp>
      <p:sp>
        <p:nvSpPr>
          <p:cNvPr id="51" name="TextBox 49">
            <a:extLst>
              <a:ext uri="{FF2B5EF4-FFF2-40B4-BE49-F238E27FC236}">
                <a16:creationId xmlns:a16="http://schemas.microsoft.com/office/drawing/2014/main" id="{292F4028-AE6A-4873-974D-692BBCFECC21}"/>
              </a:ext>
            </a:extLst>
          </p:cNvPr>
          <p:cNvSpPr txBox="1"/>
          <p:nvPr/>
        </p:nvSpPr>
        <p:spPr>
          <a:xfrm>
            <a:off x="1418691" y="4268635"/>
            <a:ext cx="936264" cy="361757"/>
          </a:xfrm>
          <a:prstGeom prst="rect">
            <a:avLst/>
          </a:prstGeom>
          <a:noFill/>
        </p:spPr>
        <p:txBody>
          <a:bodyPr wrap="none" lIns="72000" tIns="36000" rIns="72000" bIns="36000" rtlCol="0" anchor="b">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lumMod val="50000"/>
                    <a:lumOff val="50000"/>
                  </a:srgbClr>
                </a:solidFill>
                <a:effectLst/>
                <a:uLnTx/>
                <a:uFillTx/>
                <a:latin typeface="等线" panose="020F0502020204030204"/>
                <a:ea typeface="+mn-ea"/>
                <a:cs typeface="+mn-cs"/>
              </a:rPr>
              <a:t>Title here</a:t>
            </a:r>
            <a:endParaRPr kumimoji="0" lang="id-ID" sz="1400" b="0" i="0" u="none" strike="noStrike" kern="1200" cap="none" spc="0" normalizeH="0" baseline="0" noProof="0" dirty="0">
              <a:ln>
                <a:noFill/>
              </a:ln>
              <a:solidFill>
                <a:srgbClr val="000000">
                  <a:lumMod val="50000"/>
                  <a:lumOff val="50000"/>
                </a:srgbClr>
              </a:solidFill>
              <a:effectLst/>
              <a:uLnTx/>
              <a:uFillTx/>
              <a:latin typeface="等线" panose="020F0502020204030204"/>
              <a:ea typeface="+mn-ea"/>
              <a:cs typeface="+mn-cs"/>
            </a:endParaRPr>
          </a:p>
        </p:txBody>
      </p:sp>
      <p:sp>
        <p:nvSpPr>
          <p:cNvPr id="52" name="TextBox 50">
            <a:extLst>
              <a:ext uri="{FF2B5EF4-FFF2-40B4-BE49-F238E27FC236}">
                <a16:creationId xmlns:a16="http://schemas.microsoft.com/office/drawing/2014/main" id="{4C22298C-0CD4-4D8A-959D-0B2AEA58DB73}"/>
              </a:ext>
            </a:extLst>
          </p:cNvPr>
          <p:cNvSpPr txBox="1"/>
          <p:nvPr/>
        </p:nvSpPr>
        <p:spPr>
          <a:xfrm>
            <a:off x="1418691" y="4551201"/>
            <a:ext cx="1791691" cy="300394"/>
          </a:xfrm>
          <a:prstGeom prst="rect">
            <a:avLst/>
          </a:prstGeom>
          <a:noFill/>
        </p:spPr>
        <p:txBody>
          <a:bodyPr wrap="square" lIns="72000" tIns="36000" rIns="72000" bIns="36000" rtlCol="0" anchor="t">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FFFFF">
                    <a:lumMod val="50000"/>
                  </a:srgbClr>
                </a:solidFill>
                <a:effectLst/>
                <a:uLnTx/>
                <a:uFillTx/>
                <a:latin typeface="等线" panose="020F0502020204030204"/>
                <a:ea typeface="+mn-ea"/>
                <a:cs typeface="+mn-cs"/>
              </a:rPr>
              <a:t>Best fit for your great words.</a:t>
            </a:r>
          </a:p>
        </p:txBody>
      </p:sp>
      <p:sp>
        <p:nvSpPr>
          <p:cNvPr id="53" name="Oval 51">
            <a:extLst>
              <a:ext uri="{FF2B5EF4-FFF2-40B4-BE49-F238E27FC236}">
                <a16:creationId xmlns:a16="http://schemas.microsoft.com/office/drawing/2014/main" id="{6FEAFEEB-45B8-4EB8-B141-4E969A700269}"/>
              </a:ext>
            </a:extLst>
          </p:cNvPr>
          <p:cNvSpPr/>
          <p:nvPr/>
        </p:nvSpPr>
        <p:spPr>
          <a:xfrm>
            <a:off x="775772" y="4264270"/>
            <a:ext cx="550460" cy="55046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等线" panose="020F0502020204030204"/>
              <a:ea typeface="+mn-ea"/>
              <a:cs typeface="+mn-cs"/>
            </a:endParaRPr>
          </a:p>
        </p:txBody>
      </p:sp>
      <p:sp>
        <p:nvSpPr>
          <p:cNvPr id="54" name="Oval 52">
            <a:extLst>
              <a:ext uri="{FF2B5EF4-FFF2-40B4-BE49-F238E27FC236}">
                <a16:creationId xmlns:a16="http://schemas.microsoft.com/office/drawing/2014/main" id="{E25A09E5-FE57-4309-854B-FDD709771022}"/>
              </a:ext>
            </a:extLst>
          </p:cNvPr>
          <p:cNvSpPr/>
          <p:nvPr/>
        </p:nvSpPr>
        <p:spPr>
          <a:xfrm>
            <a:off x="1775811" y="2091971"/>
            <a:ext cx="550460" cy="55046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等线" panose="020F0502020204030204"/>
              <a:ea typeface="+mn-ea"/>
              <a:cs typeface="+mn-cs"/>
            </a:endParaRPr>
          </a:p>
        </p:txBody>
      </p:sp>
      <p:sp>
        <p:nvSpPr>
          <p:cNvPr id="55" name="TextBox 53">
            <a:extLst>
              <a:ext uri="{FF2B5EF4-FFF2-40B4-BE49-F238E27FC236}">
                <a16:creationId xmlns:a16="http://schemas.microsoft.com/office/drawing/2014/main" id="{D01B1BA3-397F-46FC-B57C-924ECCE2CB0D}"/>
              </a:ext>
            </a:extLst>
          </p:cNvPr>
          <p:cNvSpPr txBox="1"/>
          <p:nvPr/>
        </p:nvSpPr>
        <p:spPr>
          <a:xfrm>
            <a:off x="2418730" y="2104780"/>
            <a:ext cx="936264" cy="361757"/>
          </a:xfrm>
          <a:prstGeom prst="rect">
            <a:avLst/>
          </a:prstGeom>
          <a:noFill/>
        </p:spPr>
        <p:txBody>
          <a:bodyPr wrap="none" lIns="72000" tIns="36000" rIns="72000" bIns="36000" rtlCol="0" anchor="b">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lumMod val="50000"/>
                    <a:lumOff val="50000"/>
                  </a:srgbClr>
                </a:solidFill>
                <a:effectLst/>
                <a:uLnTx/>
                <a:uFillTx/>
                <a:latin typeface="等线" panose="020F0502020204030204"/>
                <a:ea typeface="+mn-ea"/>
                <a:cs typeface="+mn-cs"/>
              </a:rPr>
              <a:t>Title here</a:t>
            </a:r>
            <a:endParaRPr kumimoji="0" lang="id-ID" sz="1400" b="0" i="0" u="none" strike="noStrike" kern="1200" cap="none" spc="0" normalizeH="0" baseline="0" noProof="0" dirty="0">
              <a:ln>
                <a:noFill/>
              </a:ln>
              <a:solidFill>
                <a:srgbClr val="000000">
                  <a:lumMod val="50000"/>
                  <a:lumOff val="50000"/>
                </a:srgbClr>
              </a:solidFill>
              <a:effectLst/>
              <a:uLnTx/>
              <a:uFillTx/>
              <a:latin typeface="等线" panose="020F0502020204030204"/>
              <a:ea typeface="+mn-ea"/>
              <a:cs typeface="+mn-cs"/>
            </a:endParaRPr>
          </a:p>
        </p:txBody>
      </p:sp>
      <p:sp>
        <p:nvSpPr>
          <p:cNvPr id="56" name="TextBox 54">
            <a:extLst>
              <a:ext uri="{FF2B5EF4-FFF2-40B4-BE49-F238E27FC236}">
                <a16:creationId xmlns:a16="http://schemas.microsoft.com/office/drawing/2014/main" id="{49D2D739-6FA8-4251-A82D-5D0565ECDF91}"/>
              </a:ext>
            </a:extLst>
          </p:cNvPr>
          <p:cNvSpPr txBox="1"/>
          <p:nvPr/>
        </p:nvSpPr>
        <p:spPr>
          <a:xfrm>
            <a:off x="2418730" y="2387346"/>
            <a:ext cx="1791691" cy="300394"/>
          </a:xfrm>
          <a:prstGeom prst="rect">
            <a:avLst/>
          </a:prstGeom>
          <a:noFill/>
        </p:spPr>
        <p:txBody>
          <a:bodyPr wrap="square" lIns="72000" tIns="36000" rIns="72000" bIns="36000" rtlCol="0" anchor="t">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FFFFF">
                    <a:lumMod val="50000"/>
                  </a:srgbClr>
                </a:solidFill>
                <a:effectLst/>
                <a:uLnTx/>
                <a:uFillTx/>
                <a:latin typeface="等线" panose="020F0502020204030204"/>
                <a:ea typeface="+mn-ea"/>
                <a:cs typeface="+mn-cs"/>
              </a:rPr>
              <a:t>Best fit for your great words.</a:t>
            </a:r>
          </a:p>
        </p:txBody>
      </p:sp>
      <p:sp>
        <p:nvSpPr>
          <p:cNvPr id="57" name="Oval 55">
            <a:extLst>
              <a:ext uri="{FF2B5EF4-FFF2-40B4-BE49-F238E27FC236}">
                <a16:creationId xmlns:a16="http://schemas.microsoft.com/office/drawing/2014/main" id="{12242A54-1686-490B-B6F9-DF1C79798A2F}"/>
              </a:ext>
            </a:extLst>
          </p:cNvPr>
          <p:cNvSpPr/>
          <p:nvPr/>
        </p:nvSpPr>
        <p:spPr>
          <a:xfrm>
            <a:off x="10867356" y="4401991"/>
            <a:ext cx="550460" cy="55046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等线" panose="020F0502020204030204"/>
              <a:ea typeface="+mn-ea"/>
              <a:cs typeface="+mn-cs"/>
            </a:endParaRPr>
          </a:p>
        </p:txBody>
      </p:sp>
      <p:sp>
        <p:nvSpPr>
          <p:cNvPr id="58" name="TextBox 56">
            <a:extLst>
              <a:ext uri="{FF2B5EF4-FFF2-40B4-BE49-F238E27FC236}">
                <a16:creationId xmlns:a16="http://schemas.microsoft.com/office/drawing/2014/main" id="{CB546727-8DFD-4E0A-B28F-8E12CBC27B1C}"/>
              </a:ext>
            </a:extLst>
          </p:cNvPr>
          <p:cNvSpPr txBox="1"/>
          <p:nvPr/>
        </p:nvSpPr>
        <p:spPr>
          <a:xfrm>
            <a:off x="9724627" y="4373507"/>
            <a:ext cx="1050270" cy="403050"/>
          </a:xfrm>
          <a:prstGeom prst="rect">
            <a:avLst/>
          </a:prstGeom>
          <a:noFill/>
        </p:spPr>
        <p:txBody>
          <a:bodyPr wrap="none" lIns="72000" tIns="36000" rIns="72000" bIns="36000" rtlCol="0" anchor="b">
            <a:spAutoFit/>
          </a:bodyPr>
          <a:lstStyle/>
          <a:p>
            <a:pPr marL="0" marR="0" lvl="0" indent="0" algn="r" defTabSz="914400" rtl="0" eaLnBrk="1" fontAlgn="auto" latinLnBrk="0" hangingPunct="1">
              <a:lnSpc>
                <a:spcPct val="15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lumMod val="50000"/>
                    <a:lumOff val="50000"/>
                  </a:srgbClr>
                </a:solidFill>
                <a:effectLst/>
                <a:uLnTx/>
                <a:uFillTx/>
                <a:latin typeface="等线" panose="020F0502020204030204"/>
                <a:ea typeface="+mn-ea"/>
                <a:cs typeface="+mn-cs"/>
              </a:rPr>
              <a:t>Title here</a:t>
            </a:r>
            <a:endParaRPr kumimoji="0" lang="id-ID" sz="1600" b="0" i="0" u="none" strike="noStrike" kern="1200" cap="none" spc="0" normalizeH="0" baseline="0" noProof="0" dirty="0">
              <a:ln>
                <a:noFill/>
              </a:ln>
              <a:solidFill>
                <a:srgbClr val="000000">
                  <a:lumMod val="50000"/>
                  <a:lumOff val="50000"/>
                </a:srgbClr>
              </a:solidFill>
              <a:effectLst/>
              <a:uLnTx/>
              <a:uFillTx/>
              <a:latin typeface="等线" panose="020F0502020204030204"/>
              <a:ea typeface="+mn-ea"/>
              <a:cs typeface="+mn-cs"/>
            </a:endParaRPr>
          </a:p>
        </p:txBody>
      </p:sp>
      <p:sp>
        <p:nvSpPr>
          <p:cNvPr id="59" name="TextBox 57">
            <a:extLst>
              <a:ext uri="{FF2B5EF4-FFF2-40B4-BE49-F238E27FC236}">
                <a16:creationId xmlns:a16="http://schemas.microsoft.com/office/drawing/2014/main" id="{943753BF-925E-4695-A2C2-46EA7DF10D82}"/>
              </a:ext>
            </a:extLst>
          </p:cNvPr>
          <p:cNvSpPr txBox="1"/>
          <p:nvPr/>
        </p:nvSpPr>
        <p:spPr>
          <a:xfrm>
            <a:off x="8983206" y="4697366"/>
            <a:ext cx="1791691" cy="300394"/>
          </a:xfrm>
          <a:prstGeom prst="rect">
            <a:avLst/>
          </a:prstGeom>
          <a:noFill/>
        </p:spPr>
        <p:txBody>
          <a:bodyPr wrap="square" lIns="72000" tIns="36000" rIns="72000" bIns="36000" rtlCol="0" anchor="t">
            <a:spAutoFit/>
          </a:bodyPr>
          <a:lstStyle/>
          <a:p>
            <a:pPr marL="0" marR="0" lvl="0" indent="0" algn="r" defTabSz="914400" rtl="0" eaLnBrk="1" fontAlgn="auto" latinLnBrk="0" hangingPunct="1">
              <a:lnSpc>
                <a:spcPct val="15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FFFFF">
                    <a:lumMod val="50000"/>
                  </a:srgbClr>
                </a:solidFill>
                <a:effectLst/>
                <a:uLnTx/>
                <a:uFillTx/>
                <a:latin typeface="等线" panose="020F0502020204030204"/>
                <a:ea typeface="+mn-ea"/>
                <a:cs typeface="+mn-cs"/>
              </a:rPr>
              <a:t>Best fit for your great words.</a:t>
            </a:r>
          </a:p>
        </p:txBody>
      </p:sp>
      <p:sp>
        <p:nvSpPr>
          <p:cNvPr id="60" name="Oval 5">
            <a:extLst>
              <a:ext uri="{FF2B5EF4-FFF2-40B4-BE49-F238E27FC236}">
                <a16:creationId xmlns:a16="http://schemas.microsoft.com/office/drawing/2014/main" id="{D01B473E-D0D3-4000-8FE0-E5677024E5F8}"/>
              </a:ext>
            </a:extLst>
          </p:cNvPr>
          <p:cNvSpPr>
            <a:spLocks noChangeArrowheads="1"/>
          </p:cNvSpPr>
          <p:nvPr/>
        </p:nvSpPr>
        <p:spPr bwMode="auto">
          <a:xfrm>
            <a:off x="3540804" y="3318199"/>
            <a:ext cx="2538808" cy="2538806"/>
          </a:xfrm>
          <a:prstGeom prst="ellipse">
            <a:avLst/>
          </a:pr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61" name="Freeform 6">
            <a:extLst>
              <a:ext uri="{FF2B5EF4-FFF2-40B4-BE49-F238E27FC236}">
                <a16:creationId xmlns:a16="http://schemas.microsoft.com/office/drawing/2014/main" id="{56CECB1E-E1CA-46CC-BAEC-514DF83D1DE6}"/>
              </a:ext>
            </a:extLst>
          </p:cNvPr>
          <p:cNvSpPr>
            <a:spLocks noEditPoints="1"/>
          </p:cNvSpPr>
          <p:nvPr/>
        </p:nvSpPr>
        <p:spPr bwMode="auto">
          <a:xfrm>
            <a:off x="5887741" y="2756492"/>
            <a:ext cx="3039338" cy="3272919"/>
          </a:xfrm>
          <a:custGeom>
            <a:avLst/>
            <a:gdLst>
              <a:gd name="T0" fmla="*/ 114 w 871"/>
              <a:gd name="T1" fmla="*/ 461 h 937"/>
              <a:gd name="T2" fmla="*/ 54 w 871"/>
              <a:gd name="T3" fmla="*/ 465 h 937"/>
              <a:gd name="T4" fmla="*/ 50 w 871"/>
              <a:gd name="T5" fmla="*/ 465 h 937"/>
              <a:gd name="T6" fmla="*/ 55 w 871"/>
              <a:gd name="T7" fmla="*/ 524 h 937"/>
              <a:gd name="T8" fmla="*/ 55 w 871"/>
              <a:gd name="T9" fmla="*/ 524 h 937"/>
              <a:gd name="T10" fmla="*/ 55 w 871"/>
              <a:gd name="T11" fmla="*/ 524 h 937"/>
              <a:gd name="T12" fmla="*/ 55 w 871"/>
              <a:gd name="T13" fmla="*/ 524 h 937"/>
              <a:gd name="T14" fmla="*/ 55 w 871"/>
              <a:gd name="T15" fmla="*/ 524 h 937"/>
              <a:gd name="T16" fmla="*/ 55 w 871"/>
              <a:gd name="T17" fmla="*/ 524 h 937"/>
              <a:gd name="T18" fmla="*/ 55 w 871"/>
              <a:gd name="T19" fmla="*/ 524 h 937"/>
              <a:gd name="T20" fmla="*/ 55 w 871"/>
              <a:gd name="T21" fmla="*/ 524 h 937"/>
              <a:gd name="T22" fmla="*/ 55 w 871"/>
              <a:gd name="T23" fmla="*/ 525 h 937"/>
              <a:gd name="T24" fmla="*/ 55 w 871"/>
              <a:gd name="T25" fmla="*/ 525 h 937"/>
              <a:gd name="T26" fmla="*/ 55 w 871"/>
              <a:gd name="T27" fmla="*/ 525 h 937"/>
              <a:gd name="T28" fmla="*/ 55 w 871"/>
              <a:gd name="T29" fmla="*/ 525 h 937"/>
              <a:gd name="T30" fmla="*/ 55 w 871"/>
              <a:gd name="T31" fmla="*/ 526 h 937"/>
              <a:gd name="T32" fmla="*/ 55 w 871"/>
              <a:gd name="T33" fmla="*/ 526 h 937"/>
              <a:gd name="T34" fmla="*/ 55 w 871"/>
              <a:gd name="T35" fmla="*/ 526 h 937"/>
              <a:gd name="T36" fmla="*/ 55 w 871"/>
              <a:gd name="T37" fmla="*/ 526 h 937"/>
              <a:gd name="T38" fmla="*/ 55 w 871"/>
              <a:gd name="T39" fmla="*/ 527 h 937"/>
              <a:gd name="T40" fmla="*/ 55 w 871"/>
              <a:gd name="T41" fmla="*/ 527 h 937"/>
              <a:gd name="T42" fmla="*/ 55 w 871"/>
              <a:gd name="T43" fmla="*/ 527 h 937"/>
              <a:gd name="T44" fmla="*/ 55 w 871"/>
              <a:gd name="T45" fmla="*/ 527 h 937"/>
              <a:gd name="T46" fmla="*/ 55 w 871"/>
              <a:gd name="T47" fmla="*/ 528 h 937"/>
              <a:gd name="T48" fmla="*/ 55 w 871"/>
              <a:gd name="T49" fmla="*/ 528 h 937"/>
              <a:gd name="T50" fmla="*/ 55 w 871"/>
              <a:gd name="T51" fmla="*/ 528 h 937"/>
              <a:gd name="T52" fmla="*/ 55 w 871"/>
              <a:gd name="T53" fmla="*/ 528 h 937"/>
              <a:gd name="T54" fmla="*/ 0 w 871"/>
              <a:gd name="T55" fmla="*/ 716 h 937"/>
              <a:gd name="T56" fmla="*/ 42 w 871"/>
              <a:gd name="T57" fmla="*/ 772 h 937"/>
              <a:gd name="T58" fmla="*/ 114 w 871"/>
              <a:gd name="T59" fmla="*/ 461 h 937"/>
              <a:gd name="T60" fmla="*/ 481 w 871"/>
              <a:gd name="T61" fmla="*/ 0 h 937"/>
              <a:gd name="T62" fmla="*/ 482 w 871"/>
              <a:gd name="T63" fmla="*/ 36 h 937"/>
              <a:gd name="T64" fmla="*/ 482 w 871"/>
              <a:gd name="T65" fmla="*/ 36 h 937"/>
              <a:gd name="T66" fmla="*/ 482 w 871"/>
              <a:gd name="T67" fmla="*/ 37 h 937"/>
              <a:gd name="T68" fmla="*/ 482 w 871"/>
              <a:gd name="T69" fmla="*/ 37 h 937"/>
              <a:gd name="T70" fmla="*/ 482 w 871"/>
              <a:gd name="T71" fmla="*/ 37 h 937"/>
              <a:gd name="T72" fmla="*/ 482 w 871"/>
              <a:gd name="T73" fmla="*/ 37 h 937"/>
              <a:gd name="T74" fmla="*/ 143 w 871"/>
              <a:gd name="T75" fmla="*/ 456 h 937"/>
              <a:gd name="T76" fmla="*/ 71 w 871"/>
              <a:gd name="T77" fmla="*/ 803 h 937"/>
              <a:gd name="T78" fmla="*/ 131 w 871"/>
              <a:gd name="T79" fmla="*/ 852 h 937"/>
              <a:gd name="T80" fmla="*/ 296 w 871"/>
              <a:gd name="T81" fmla="*/ 733 h 937"/>
              <a:gd name="T82" fmla="*/ 298 w 871"/>
              <a:gd name="T83" fmla="*/ 726 h 937"/>
              <a:gd name="T84" fmla="*/ 300 w 871"/>
              <a:gd name="T85" fmla="*/ 725 h 937"/>
              <a:gd name="T86" fmla="*/ 338 w 871"/>
              <a:gd name="T87" fmla="*/ 595 h 937"/>
              <a:gd name="T88" fmla="*/ 327 w 871"/>
              <a:gd name="T89" fmla="*/ 715 h 937"/>
              <a:gd name="T90" fmla="*/ 530 w 871"/>
              <a:gd name="T91" fmla="*/ 505 h 937"/>
              <a:gd name="T92" fmla="*/ 530 w 871"/>
              <a:gd name="T93" fmla="*/ 505 h 937"/>
              <a:gd name="T94" fmla="*/ 530 w 871"/>
              <a:gd name="T95" fmla="*/ 505 h 937"/>
              <a:gd name="T96" fmla="*/ 309 w 871"/>
              <a:gd name="T97" fmla="*/ 764 h 937"/>
              <a:gd name="T98" fmla="*/ 203 w 871"/>
              <a:gd name="T99" fmla="*/ 894 h 937"/>
              <a:gd name="T100" fmla="*/ 400 w 871"/>
              <a:gd name="T101" fmla="*/ 937 h 937"/>
              <a:gd name="T102" fmla="*/ 871 w 871"/>
              <a:gd name="T103" fmla="*/ 465 h 937"/>
              <a:gd name="T104" fmla="*/ 481 w 871"/>
              <a:gd name="T105" fmla="*/ 0 h 9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71" h="937">
                <a:moveTo>
                  <a:pt x="114" y="461"/>
                </a:moveTo>
                <a:cubicBezTo>
                  <a:pt x="94" y="464"/>
                  <a:pt x="75" y="465"/>
                  <a:pt x="54" y="465"/>
                </a:cubicBezTo>
                <a:cubicBezTo>
                  <a:pt x="53" y="465"/>
                  <a:pt x="52" y="465"/>
                  <a:pt x="50" y="465"/>
                </a:cubicBezTo>
                <a:cubicBezTo>
                  <a:pt x="53" y="484"/>
                  <a:pt x="55" y="504"/>
                  <a:pt x="55" y="524"/>
                </a:cubicBezTo>
                <a:cubicBezTo>
                  <a:pt x="55" y="524"/>
                  <a:pt x="55" y="524"/>
                  <a:pt x="55" y="524"/>
                </a:cubicBezTo>
                <a:cubicBezTo>
                  <a:pt x="55" y="524"/>
                  <a:pt x="55" y="524"/>
                  <a:pt x="55" y="524"/>
                </a:cubicBezTo>
                <a:cubicBezTo>
                  <a:pt x="55" y="524"/>
                  <a:pt x="55" y="524"/>
                  <a:pt x="55" y="524"/>
                </a:cubicBezTo>
                <a:cubicBezTo>
                  <a:pt x="55" y="524"/>
                  <a:pt x="55" y="524"/>
                  <a:pt x="55" y="524"/>
                </a:cubicBezTo>
                <a:cubicBezTo>
                  <a:pt x="55" y="524"/>
                  <a:pt x="55" y="524"/>
                  <a:pt x="55" y="524"/>
                </a:cubicBezTo>
                <a:cubicBezTo>
                  <a:pt x="55" y="524"/>
                  <a:pt x="55" y="524"/>
                  <a:pt x="55" y="524"/>
                </a:cubicBezTo>
                <a:cubicBezTo>
                  <a:pt x="55" y="524"/>
                  <a:pt x="55" y="524"/>
                  <a:pt x="55" y="524"/>
                </a:cubicBezTo>
                <a:cubicBezTo>
                  <a:pt x="55" y="525"/>
                  <a:pt x="55" y="525"/>
                  <a:pt x="55" y="525"/>
                </a:cubicBezTo>
                <a:cubicBezTo>
                  <a:pt x="55" y="525"/>
                  <a:pt x="55" y="525"/>
                  <a:pt x="55" y="525"/>
                </a:cubicBezTo>
                <a:cubicBezTo>
                  <a:pt x="55" y="525"/>
                  <a:pt x="55" y="525"/>
                  <a:pt x="55" y="525"/>
                </a:cubicBezTo>
                <a:cubicBezTo>
                  <a:pt x="55" y="525"/>
                  <a:pt x="55" y="525"/>
                  <a:pt x="55" y="525"/>
                </a:cubicBezTo>
                <a:cubicBezTo>
                  <a:pt x="55" y="525"/>
                  <a:pt x="55" y="526"/>
                  <a:pt x="55" y="526"/>
                </a:cubicBezTo>
                <a:cubicBezTo>
                  <a:pt x="55" y="526"/>
                  <a:pt x="55" y="526"/>
                  <a:pt x="55" y="526"/>
                </a:cubicBezTo>
                <a:cubicBezTo>
                  <a:pt x="55" y="526"/>
                  <a:pt x="55" y="526"/>
                  <a:pt x="55" y="526"/>
                </a:cubicBezTo>
                <a:cubicBezTo>
                  <a:pt x="55" y="526"/>
                  <a:pt x="55" y="526"/>
                  <a:pt x="55" y="526"/>
                </a:cubicBezTo>
                <a:cubicBezTo>
                  <a:pt x="55" y="526"/>
                  <a:pt x="55" y="527"/>
                  <a:pt x="55" y="527"/>
                </a:cubicBezTo>
                <a:cubicBezTo>
                  <a:pt x="55" y="527"/>
                  <a:pt x="55" y="527"/>
                  <a:pt x="55" y="527"/>
                </a:cubicBezTo>
                <a:cubicBezTo>
                  <a:pt x="55" y="527"/>
                  <a:pt x="55" y="527"/>
                  <a:pt x="55" y="527"/>
                </a:cubicBezTo>
                <a:cubicBezTo>
                  <a:pt x="55" y="527"/>
                  <a:pt x="55" y="527"/>
                  <a:pt x="55" y="527"/>
                </a:cubicBezTo>
                <a:cubicBezTo>
                  <a:pt x="55" y="527"/>
                  <a:pt x="55" y="528"/>
                  <a:pt x="55" y="528"/>
                </a:cubicBezTo>
                <a:cubicBezTo>
                  <a:pt x="55" y="528"/>
                  <a:pt x="55" y="528"/>
                  <a:pt x="55" y="528"/>
                </a:cubicBezTo>
                <a:cubicBezTo>
                  <a:pt x="55" y="528"/>
                  <a:pt x="55" y="528"/>
                  <a:pt x="55" y="528"/>
                </a:cubicBezTo>
                <a:cubicBezTo>
                  <a:pt x="55" y="528"/>
                  <a:pt x="55" y="528"/>
                  <a:pt x="55" y="528"/>
                </a:cubicBezTo>
                <a:cubicBezTo>
                  <a:pt x="54" y="597"/>
                  <a:pt x="34" y="662"/>
                  <a:pt x="0" y="716"/>
                </a:cubicBezTo>
                <a:cubicBezTo>
                  <a:pt x="13" y="736"/>
                  <a:pt x="27" y="755"/>
                  <a:pt x="42" y="772"/>
                </a:cubicBezTo>
                <a:cubicBezTo>
                  <a:pt x="63" y="716"/>
                  <a:pt x="98" y="607"/>
                  <a:pt x="114" y="461"/>
                </a:cubicBezTo>
                <a:moveTo>
                  <a:pt x="481" y="0"/>
                </a:moveTo>
                <a:cubicBezTo>
                  <a:pt x="482" y="12"/>
                  <a:pt x="482" y="24"/>
                  <a:pt x="482" y="36"/>
                </a:cubicBezTo>
                <a:cubicBezTo>
                  <a:pt x="482" y="36"/>
                  <a:pt x="482" y="36"/>
                  <a:pt x="482" y="36"/>
                </a:cubicBezTo>
                <a:cubicBezTo>
                  <a:pt x="482" y="37"/>
                  <a:pt x="482" y="37"/>
                  <a:pt x="482" y="37"/>
                </a:cubicBezTo>
                <a:cubicBezTo>
                  <a:pt x="482" y="37"/>
                  <a:pt x="482" y="37"/>
                  <a:pt x="482" y="37"/>
                </a:cubicBezTo>
                <a:cubicBezTo>
                  <a:pt x="482" y="37"/>
                  <a:pt x="482" y="37"/>
                  <a:pt x="482" y="37"/>
                </a:cubicBezTo>
                <a:cubicBezTo>
                  <a:pt x="482" y="37"/>
                  <a:pt x="482" y="37"/>
                  <a:pt x="482" y="37"/>
                </a:cubicBezTo>
                <a:cubicBezTo>
                  <a:pt x="482" y="243"/>
                  <a:pt x="337" y="415"/>
                  <a:pt x="143" y="456"/>
                </a:cubicBezTo>
                <a:cubicBezTo>
                  <a:pt x="137" y="550"/>
                  <a:pt x="116" y="666"/>
                  <a:pt x="71" y="803"/>
                </a:cubicBezTo>
                <a:cubicBezTo>
                  <a:pt x="89" y="821"/>
                  <a:pt x="109" y="838"/>
                  <a:pt x="131" y="852"/>
                </a:cubicBezTo>
                <a:cubicBezTo>
                  <a:pt x="185" y="846"/>
                  <a:pt x="251" y="819"/>
                  <a:pt x="296" y="733"/>
                </a:cubicBezTo>
                <a:cubicBezTo>
                  <a:pt x="298" y="726"/>
                  <a:pt x="298" y="726"/>
                  <a:pt x="298" y="726"/>
                </a:cubicBezTo>
                <a:cubicBezTo>
                  <a:pt x="299" y="726"/>
                  <a:pt x="299" y="725"/>
                  <a:pt x="300" y="725"/>
                </a:cubicBezTo>
                <a:cubicBezTo>
                  <a:pt x="317" y="691"/>
                  <a:pt x="330" y="648"/>
                  <a:pt x="338" y="595"/>
                </a:cubicBezTo>
                <a:cubicBezTo>
                  <a:pt x="338" y="595"/>
                  <a:pt x="347" y="647"/>
                  <a:pt x="327" y="715"/>
                </a:cubicBezTo>
                <a:cubicBezTo>
                  <a:pt x="504" y="640"/>
                  <a:pt x="530" y="505"/>
                  <a:pt x="530" y="505"/>
                </a:cubicBezTo>
                <a:cubicBezTo>
                  <a:pt x="530" y="505"/>
                  <a:pt x="530" y="505"/>
                  <a:pt x="530" y="505"/>
                </a:cubicBezTo>
                <a:cubicBezTo>
                  <a:pt x="530" y="505"/>
                  <a:pt x="530" y="505"/>
                  <a:pt x="530" y="505"/>
                </a:cubicBezTo>
                <a:cubicBezTo>
                  <a:pt x="510" y="644"/>
                  <a:pt x="364" y="735"/>
                  <a:pt x="309" y="764"/>
                </a:cubicBezTo>
                <a:cubicBezTo>
                  <a:pt x="288" y="807"/>
                  <a:pt x="255" y="853"/>
                  <a:pt x="203" y="894"/>
                </a:cubicBezTo>
                <a:cubicBezTo>
                  <a:pt x="263" y="921"/>
                  <a:pt x="329" y="937"/>
                  <a:pt x="400" y="937"/>
                </a:cubicBezTo>
                <a:cubicBezTo>
                  <a:pt x="660" y="937"/>
                  <a:pt x="871" y="725"/>
                  <a:pt x="871" y="465"/>
                </a:cubicBezTo>
                <a:cubicBezTo>
                  <a:pt x="871" y="232"/>
                  <a:pt x="703" y="39"/>
                  <a:pt x="481" y="0"/>
                </a:cubicBezTo>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62" name="Freeform 7">
            <a:extLst>
              <a:ext uri="{FF2B5EF4-FFF2-40B4-BE49-F238E27FC236}">
                <a16:creationId xmlns:a16="http://schemas.microsoft.com/office/drawing/2014/main" id="{8003C249-FEAB-47CC-BCAB-0C012D486151}"/>
              </a:ext>
            </a:extLst>
          </p:cNvPr>
          <p:cNvSpPr>
            <a:spLocks noEditPoints="1"/>
          </p:cNvSpPr>
          <p:nvPr/>
        </p:nvSpPr>
        <p:spPr bwMode="auto">
          <a:xfrm>
            <a:off x="5637475" y="4313701"/>
            <a:ext cx="442136" cy="942668"/>
          </a:xfrm>
          <a:custGeom>
            <a:avLst/>
            <a:gdLst>
              <a:gd name="T0" fmla="*/ 127 w 127"/>
              <a:gd name="T1" fmla="*/ 82 h 270"/>
              <a:gd name="T2" fmla="*/ 127 w 127"/>
              <a:gd name="T3" fmla="*/ 81 h 270"/>
              <a:gd name="T4" fmla="*/ 127 w 127"/>
              <a:gd name="T5" fmla="*/ 81 h 270"/>
              <a:gd name="T6" fmla="*/ 127 w 127"/>
              <a:gd name="T7" fmla="*/ 81 h 270"/>
              <a:gd name="T8" fmla="*/ 127 w 127"/>
              <a:gd name="T9" fmla="*/ 80 h 270"/>
              <a:gd name="T10" fmla="*/ 127 w 127"/>
              <a:gd name="T11" fmla="*/ 80 h 270"/>
              <a:gd name="T12" fmla="*/ 127 w 127"/>
              <a:gd name="T13" fmla="*/ 80 h 270"/>
              <a:gd name="T14" fmla="*/ 127 w 127"/>
              <a:gd name="T15" fmla="*/ 79 h 270"/>
              <a:gd name="T16" fmla="*/ 127 w 127"/>
              <a:gd name="T17" fmla="*/ 79 h 270"/>
              <a:gd name="T18" fmla="*/ 127 w 127"/>
              <a:gd name="T19" fmla="*/ 79 h 270"/>
              <a:gd name="T20" fmla="*/ 127 w 127"/>
              <a:gd name="T21" fmla="*/ 78 h 270"/>
              <a:gd name="T22" fmla="*/ 127 w 127"/>
              <a:gd name="T23" fmla="*/ 78 h 270"/>
              <a:gd name="T24" fmla="*/ 127 w 127"/>
              <a:gd name="T25" fmla="*/ 78 h 270"/>
              <a:gd name="T26" fmla="*/ 127 w 127"/>
              <a:gd name="T27" fmla="*/ 78 h 270"/>
              <a:gd name="T28" fmla="*/ 127 w 127"/>
              <a:gd name="T29" fmla="*/ 78 h 270"/>
              <a:gd name="T30" fmla="*/ 0 w 127"/>
              <a:gd name="T31" fmla="*/ 25 h 270"/>
              <a:gd name="T32" fmla="*/ 127 w 127"/>
              <a:gd name="T33" fmla="*/ 82 h 270"/>
              <a:gd name="T34" fmla="*/ 0 w 127"/>
              <a:gd name="T35" fmla="*/ 25 h 270"/>
              <a:gd name="T36" fmla="*/ 0 w 127"/>
              <a:gd name="T37" fmla="*/ 25 h 270"/>
              <a:gd name="T38" fmla="*/ 0 w 127"/>
              <a:gd name="T39" fmla="*/ 23 h 270"/>
              <a:gd name="T40" fmla="*/ 0 w 127"/>
              <a:gd name="T41" fmla="*/ 23 h 270"/>
              <a:gd name="T42" fmla="*/ 0 w 127"/>
              <a:gd name="T43" fmla="*/ 23 h 270"/>
              <a:gd name="T44" fmla="*/ 0 w 127"/>
              <a:gd name="T45" fmla="*/ 22 h 270"/>
              <a:gd name="T46" fmla="*/ 0 w 127"/>
              <a:gd name="T47" fmla="*/ 22 h 270"/>
              <a:gd name="T48" fmla="*/ 0 w 127"/>
              <a:gd name="T49" fmla="*/ 22 h 270"/>
              <a:gd name="T50" fmla="*/ 0 w 127"/>
              <a:gd name="T51" fmla="*/ 21 h 270"/>
              <a:gd name="T52" fmla="*/ 0 w 127"/>
              <a:gd name="T53" fmla="*/ 21 h 270"/>
              <a:gd name="T54" fmla="*/ 0 w 127"/>
              <a:gd name="T55" fmla="*/ 21 h 270"/>
              <a:gd name="T56" fmla="*/ 0 w 127"/>
              <a:gd name="T57" fmla="*/ 20 h 270"/>
              <a:gd name="T58" fmla="*/ 0 w 127"/>
              <a:gd name="T59" fmla="*/ 20 h 270"/>
              <a:gd name="T60" fmla="*/ 0 w 127"/>
              <a:gd name="T61" fmla="*/ 19 h 270"/>
              <a:gd name="T62" fmla="*/ 0 w 127"/>
              <a:gd name="T63" fmla="*/ 19 h 270"/>
              <a:gd name="T64" fmla="*/ 127 w 127"/>
              <a:gd name="T65" fmla="*/ 78 h 270"/>
              <a:gd name="T66" fmla="*/ 122 w 127"/>
              <a:gd name="T67" fmla="*/ 19 h 270"/>
              <a:gd name="T68" fmla="*/ 0 w 127"/>
              <a:gd name="T69" fmla="*/ 19 h 270"/>
              <a:gd name="T70" fmla="*/ 0 w 127"/>
              <a:gd name="T71" fmla="*/ 0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7" h="270">
                <a:moveTo>
                  <a:pt x="127" y="82"/>
                </a:moveTo>
                <a:cubicBezTo>
                  <a:pt x="127" y="82"/>
                  <a:pt x="127" y="82"/>
                  <a:pt x="127" y="82"/>
                </a:cubicBezTo>
                <a:cubicBezTo>
                  <a:pt x="127" y="82"/>
                  <a:pt x="127" y="82"/>
                  <a:pt x="127" y="82"/>
                </a:cubicBezTo>
                <a:moveTo>
                  <a:pt x="127" y="81"/>
                </a:moveTo>
                <a:cubicBezTo>
                  <a:pt x="127" y="82"/>
                  <a:pt x="127" y="82"/>
                  <a:pt x="127" y="82"/>
                </a:cubicBezTo>
                <a:cubicBezTo>
                  <a:pt x="127" y="82"/>
                  <a:pt x="127" y="81"/>
                  <a:pt x="127" y="81"/>
                </a:cubicBezTo>
                <a:moveTo>
                  <a:pt x="127" y="81"/>
                </a:moveTo>
                <a:cubicBezTo>
                  <a:pt x="127" y="81"/>
                  <a:pt x="127" y="81"/>
                  <a:pt x="127" y="81"/>
                </a:cubicBezTo>
                <a:cubicBezTo>
                  <a:pt x="127" y="81"/>
                  <a:pt x="127" y="81"/>
                  <a:pt x="127" y="81"/>
                </a:cubicBezTo>
                <a:moveTo>
                  <a:pt x="127" y="80"/>
                </a:moveTo>
                <a:cubicBezTo>
                  <a:pt x="127" y="80"/>
                  <a:pt x="127" y="81"/>
                  <a:pt x="127" y="81"/>
                </a:cubicBezTo>
                <a:cubicBezTo>
                  <a:pt x="127" y="81"/>
                  <a:pt x="127" y="80"/>
                  <a:pt x="127" y="80"/>
                </a:cubicBezTo>
                <a:moveTo>
                  <a:pt x="127" y="80"/>
                </a:moveTo>
                <a:cubicBezTo>
                  <a:pt x="127" y="80"/>
                  <a:pt x="127" y="80"/>
                  <a:pt x="127" y="80"/>
                </a:cubicBezTo>
                <a:cubicBezTo>
                  <a:pt x="127" y="80"/>
                  <a:pt x="127" y="80"/>
                  <a:pt x="127" y="80"/>
                </a:cubicBezTo>
                <a:moveTo>
                  <a:pt x="127" y="79"/>
                </a:moveTo>
                <a:cubicBezTo>
                  <a:pt x="127" y="79"/>
                  <a:pt x="127" y="80"/>
                  <a:pt x="127" y="80"/>
                </a:cubicBezTo>
                <a:cubicBezTo>
                  <a:pt x="127" y="80"/>
                  <a:pt x="127" y="79"/>
                  <a:pt x="127" y="79"/>
                </a:cubicBezTo>
                <a:moveTo>
                  <a:pt x="127" y="79"/>
                </a:moveTo>
                <a:cubicBezTo>
                  <a:pt x="127" y="79"/>
                  <a:pt x="127" y="79"/>
                  <a:pt x="127" y="79"/>
                </a:cubicBezTo>
                <a:cubicBezTo>
                  <a:pt x="127" y="79"/>
                  <a:pt x="127" y="79"/>
                  <a:pt x="127" y="79"/>
                </a:cubicBezTo>
                <a:moveTo>
                  <a:pt x="127" y="78"/>
                </a:moveTo>
                <a:cubicBezTo>
                  <a:pt x="127" y="79"/>
                  <a:pt x="127" y="79"/>
                  <a:pt x="127" y="79"/>
                </a:cubicBezTo>
                <a:cubicBezTo>
                  <a:pt x="127" y="79"/>
                  <a:pt x="127" y="79"/>
                  <a:pt x="127" y="78"/>
                </a:cubicBezTo>
                <a:cubicBezTo>
                  <a:pt x="127" y="78"/>
                  <a:pt x="127" y="78"/>
                  <a:pt x="127" y="78"/>
                </a:cubicBezTo>
                <a:moveTo>
                  <a:pt x="127" y="78"/>
                </a:moveTo>
                <a:cubicBezTo>
                  <a:pt x="127" y="78"/>
                  <a:pt x="127" y="78"/>
                  <a:pt x="127" y="78"/>
                </a:cubicBezTo>
                <a:cubicBezTo>
                  <a:pt x="127" y="78"/>
                  <a:pt x="127" y="78"/>
                  <a:pt x="127" y="78"/>
                </a:cubicBezTo>
                <a:moveTo>
                  <a:pt x="127" y="78"/>
                </a:moveTo>
                <a:cubicBezTo>
                  <a:pt x="127" y="78"/>
                  <a:pt x="127" y="78"/>
                  <a:pt x="127" y="78"/>
                </a:cubicBezTo>
                <a:cubicBezTo>
                  <a:pt x="127" y="78"/>
                  <a:pt x="127" y="78"/>
                  <a:pt x="127" y="78"/>
                </a:cubicBezTo>
                <a:moveTo>
                  <a:pt x="0" y="25"/>
                </a:moveTo>
                <a:cubicBezTo>
                  <a:pt x="1" y="115"/>
                  <a:pt x="28" y="199"/>
                  <a:pt x="72" y="270"/>
                </a:cubicBezTo>
                <a:cubicBezTo>
                  <a:pt x="106" y="216"/>
                  <a:pt x="126" y="151"/>
                  <a:pt x="127" y="82"/>
                </a:cubicBezTo>
                <a:cubicBezTo>
                  <a:pt x="126" y="151"/>
                  <a:pt x="106" y="216"/>
                  <a:pt x="72" y="270"/>
                </a:cubicBezTo>
                <a:cubicBezTo>
                  <a:pt x="28" y="199"/>
                  <a:pt x="1" y="115"/>
                  <a:pt x="0" y="25"/>
                </a:cubicBezTo>
                <a:moveTo>
                  <a:pt x="0" y="24"/>
                </a:moveTo>
                <a:cubicBezTo>
                  <a:pt x="0" y="24"/>
                  <a:pt x="0" y="25"/>
                  <a:pt x="0" y="25"/>
                </a:cubicBezTo>
                <a:cubicBezTo>
                  <a:pt x="0" y="25"/>
                  <a:pt x="0" y="24"/>
                  <a:pt x="0" y="24"/>
                </a:cubicBezTo>
                <a:moveTo>
                  <a:pt x="0" y="23"/>
                </a:moveTo>
                <a:cubicBezTo>
                  <a:pt x="0" y="24"/>
                  <a:pt x="0" y="24"/>
                  <a:pt x="0" y="24"/>
                </a:cubicBezTo>
                <a:cubicBezTo>
                  <a:pt x="0" y="24"/>
                  <a:pt x="0" y="24"/>
                  <a:pt x="0" y="23"/>
                </a:cubicBezTo>
                <a:moveTo>
                  <a:pt x="0" y="22"/>
                </a:moveTo>
                <a:cubicBezTo>
                  <a:pt x="0" y="23"/>
                  <a:pt x="0" y="23"/>
                  <a:pt x="0" y="23"/>
                </a:cubicBezTo>
                <a:cubicBezTo>
                  <a:pt x="0" y="23"/>
                  <a:pt x="0" y="23"/>
                  <a:pt x="0" y="22"/>
                </a:cubicBezTo>
                <a:moveTo>
                  <a:pt x="0" y="22"/>
                </a:moveTo>
                <a:cubicBezTo>
                  <a:pt x="0" y="22"/>
                  <a:pt x="0" y="22"/>
                  <a:pt x="0" y="22"/>
                </a:cubicBezTo>
                <a:cubicBezTo>
                  <a:pt x="0" y="22"/>
                  <a:pt x="0" y="22"/>
                  <a:pt x="0" y="22"/>
                </a:cubicBezTo>
                <a:moveTo>
                  <a:pt x="0" y="21"/>
                </a:moveTo>
                <a:cubicBezTo>
                  <a:pt x="0" y="21"/>
                  <a:pt x="0" y="22"/>
                  <a:pt x="0" y="22"/>
                </a:cubicBezTo>
                <a:cubicBezTo>
                  <a:pt x="0" y="22"/>
                  <a:pt x="0" y="21"/>
                  <a:pt x="0" y="21"/>
                </a:cubicBezTo>
                <a:moveTo>
                  <a:pt x="0" y="21"/>
                </a:moveTo>
                <a:cubicBezTo>
                  <a:pt x="0" y="21"/>
                  <a:pt x="0" y="21"/>
                  <a:pt x="0" y="21"/>
                </a:cubicBezTo>
                <a:cubicBezTo>
                  <a:pt x="0" y="21"/>
                  <a:pt x="0" y="21"/>
                  <a:pt x="0" y="21"/>
                </a:cubicBezTo>
                <a:moveTo>
                  <a:pt x="0" y="20"/>
                </a:moveTo>
                <a:cubicBezTo>
                  <a:pt x="0" y="20"/>
                  <a:pt x="0" y="20"/>
                  <a:pt x="0" y="21"/>
                </a:cubicBezTo>
                <a:cubicBezTo>
                  <a:pt x="0" y="20"/>
                  <a:pt x="0" y="20"/>
                  <a:pt x="0" y="20"/>
                </a:cubicBezTo>
                <a:moveTo>
                  <a:pt x="0" y="20"/>
                </a:moveTo>
                <a:cubicBezTo>
                  <a:pt x="0" y="20"/>
                  <a:pt x="0" y="20"/>
                  <a:pt x="0" y="20"/>
                </a:cubicBezTo>
                <a:cubicBezTo>
                  <a:pt x="0" y="20"/>
                  <a:pt x="0" y="20"/>
                  <a:pt x="0" y="20"/>
                </a:cubicBezTo>
                <a:moveTo>
                  <a:pt x="0" y="19"/>
                </a:moveTo>
                <a:cubicBezTo>
                  <a:pt x="0" y="19"/>
                  <a:pt x="0" y="19"/>
                  <a:pt x="0" y="19"/>
                </a:cubicBezTo>
                <a:cubicBezTo>
                  <a:pt x="0" y="19"/>
                  <a:pt x="0" y="19"/>
                  <a:pt x="0" y="19"/>
                </a:cubicBezTo>
                <a:cubicBezTo>
                  <a:pt x="0" y="19"/>
                  <a:pt x="0" y="19"/>
                  <a:pt x="0" y="19"/>
                </a:cubicBezTo>
                <a:moveTo>
                  <a:pt x="122" y="19"/>
                </a:moveTo>
                <a:cubicBezTo>
                  <a:pt x="125" y="38"/>
                  <a:pt x="127" y="58"/>
                  <a:pt x="127" y="78"/>
                </a:cubicBezTo>
                <a:cubicBezTo>
                  <a:pt x="127" y="58"/>
                  <a:pt x="125" y="38"/>
                  <a:pt x="122" y="19"/>
                </a:cubicBezTo>
                <a:cubicBezTo>
                  <a:pt x="122" y="19"/>
                  <a:pt x="122" y="19"/>
                  <a:pt x="122" y="19"/>
                </a:cubicBezTo>
                <a:moveTo>
                  <a:pt x="0" y="0"/>
                </a:moveTo>
                <a:cubicBezTo>
                  <a:pt x="0" y="6"/>
                  <a:pt x="0" y="13"/>
                  <a:pt x="0" y="19"/>
                </a:cubicBezTo>
                <a:cubicBezTo>
                  <a:pt x="0" y="13"/>
                  <a:pt x="0" y="6"/>
                  <a:pt x="0" y="0"/>
                </a:cubicBezTo>
                <a:cubicBezTo>
                  <a:pt x="0" y="0"/>
                  <a:pt x="0" y="0"/>
                  <a:pt x="0" y="0"/>
                </a:cubicBezTo>
              </a:path>
            </a:pathLst>
          </a:custGeom>
          <a:solidFill>
            <a:srgbClr val="A1C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63" name="Freeform 8">
            <a:extLst>
              <a:ext uri="{FF2B5EF4-FFF2-40B4-BE49-F238E27FC236}">
                <a16:creationId xmlns:a16="http://schemas.microsoft.com/office/drawing/2014/main" id="{891E1718-9A82-420F-B39C-793837A18049}"/>
              </a:ext>
            </a:extLst>
          </p:cNvPr>
          <p:cNvSpPr>
            <a:spLocks/>
          </p:cNvSpPr>
          <p:nvPr/>
        </p:nvSpPr>
        <p:spPr bwMode="auto">
          <a:xfrm>
            <a:off x="4583578" y="1391153"/>
            <a:ext cx="2983724" cy="2358060"/>
          </a:xfrm>
          <a:custGeom>
            <a:avLst/>
            <a:gdLst>
              <a:gd name="T0" fmla="*/ 0 w 855"/>
              <a:gd name="T1" fmla="*/ 428 h 675"/>
              <a:gd name="T2" fmla="*/ 64 w 855"/>
              <a:gd name="T3" fmla="*/ 552 h 675"/>
              <a:gd name="T4" fmla="*/ 64 w 855"/>
              <a:gd name="T5" fmla="*/ 552 h 675"/>
              <a:gd name="T6" fmla="*/ 65 w 855"/>
              <a:gd name="T7" fmla="*/ 552 h 675"/>
              <a:gd name="T8" fmla="*/ 65 w 855"/>
              <a:gd name="T9" fmla="*/ 552 h 675"/>
              <a:gd name="T10" fmla="*/ 65 w 855"/>
              <a:gd name="T11" fmla="*/ 552 h 675"/>
              <a:gd name="T12" fmla="*/ 66 w 855"/>
              <a:gd name="T13" fmla="*/ 552 h 675"/>
              <a:gd name="T14" fmla="*/ 66 w 855"/>
              <a:gd name="T15" fmla="*/ 552 h 675"/>
              <a:gd name="T16" fmla="*/ 66 w 855"/>
              <a:gd name="T17" fmla="*/ 552 h 675"/>
              <a:gd name="T18" fmla="*/ 67 w 855"/>
              <a:gd name="T19" fmla="*/ 552 h 675"/>
              <a:gd name="T20" fmla="*/ 67 w 855"/>
              <a:gd name="T21" fmla="*/ 552 h 675"/>
              <a:gd name="T22" fmla="*/ 67 w 855"/>
              <a:gd name="T23" fmla="*/ 552 h 675"/>
              <a:gd name="T24" fmla="*/ 68 w 855"/>
              <a:gd name="T25" fmla="*/ 552 h 675"/>
              <a:gd name="T26" fmla="*/ 68 w 855"/>
              <a:gd name="T27" fmla="*/ 552 h 675"/>
              <a:gd name="T28" fmla="*/ 68 w 855"/>
              <a:gd name="T29" fmla="*/ 552 h 675"/>
              <a:gd name="T30" fmla="*/ 68 w 855"/>
              <a:gd name="T31" fmla="*/ 552 h 675"/>
              <a:gd name="T32" fmla="*/ 69 w 855"/>
              <a:gd name="T33" fmla="*/ 552 h 675"/>
              <a:gd name="T34" fmla="*/ 70 w 855"/>
              <a:gd name="T35" fmla="*/ 552 h 675"/>
              <a:gd name="T36" fmla="*/ 70 w 855"/>
              <a:gd name="T37" fmla="*/ 552 h 675"/>
              <a:gd name="T38" fmla="*/ 70 w 855"/>
              <a:gd name="T39" fmla="*/ 552 h 675"/>
              <a:gd name="T40" fmla="*/ 71 w 855"/>
              <a:gd name="T41" fmla="*/ 552 h 675"/>
              <a:gd name="T42" fmla="*/ 71 w 855"/>
              <a:gd name="T43" fmla="*/ 552 h 675"/>
              <a:gd name="T44" fmla="*/ 71 w 855"/>
              <a:gd name="T45" fmla="*/ 552 h 675"/>
              <a:gd name="T46" fmla="*/ 72 w 855"/>
              <a:gd name="T47" fmla="*/ 552 h 675"/>
              <a:gd name="T48" fmla="*/ 72 w 855"/>
              <a:gd name="T49" fmla="*/ 552 h 675"/>
              <a:gd name="T50" fmla="*/ 72 w 855"/>
              <a:gd name="T51" fmla="*/ 552 h 675"/>
              <a:gd name="T52" fmla="*/ 359 w 855"/>
              <a:gd name="T53" fmla="*/ 632 h 675"/>
              <a:gd name="T54" fmla="*/ 369 w 855"/>
              <a:gd name="T55" fmla="*/ 614 h 675"/>
              <a:gd name="T56" fmla="*/ 757 w 855"/>
              <a:gd name="T57" fmla="*/ 385 h 675"/>
              <a:gd name="T58" fmla="*/ 758 w 855"/>
              <a:gd name="T59" fmla="*/ 385 h 675"/>
              <a:gd name="T60" fmla="*/ 759 w 855"/>
              <a:gd name="T61" fmla="*/ 385 h 675"/>
              <a:gd name="T62" fmla="*/ 759 w 855"/>
              <a:gd name="T63" fmla="*/ 385 h 675"/>
              <a:gd name="T64" fmla="*/ 760 w 855"/>
              <a:gd name="T65" fmla="*/ 385 h 675"/>
              <a:gd name="T66" fmla="*/ 760 w 855"/>
              <a:gd name="T67" fmla="*/ 385 h 675"/>
              <a:gd name="T68" fmla="*/ 761 w 855"/>
              <a:gd name="T69" fmla="*/ 385 h 675"/>
              <a:gd name="T70" fmla="*/ 762 w 855"/>
              <a:gd name="T71" fmla="*/ 385 h 675"/>
              <a:gd name="T72" fmla="*/ 762 w 855"/>
              <a:gd name="T73" fmla="*/ 385 h 675"/>
              <a:gd name="T74" fmla="*/ 763 w 855"/>
              <a:gd name="T75" fmla="*/ 385 h 675"/>
              <a:gd name="T76" fmla="*/ 763 w 855"/>
              <a:gd name="T77" fmla="*/ 385 h 675"/>
              <a:gd name="T78" fmla="*/ 764 w 855"/>
              <a:gd name="T79" fmla="*/ 385 h 675"/>
              <a:gd name="T80" fmla="*/ 764 w 855"/>
              <a:gd name="T81" fmla="*/ 384 h 675"/>
              <a:gd name="T82" fmla="*/ 765 w 855"/>
              <a:gd name="T83" fmla="*/ 384 h 675"/>
              <a:gd name="T84" fmla="*/ 766 w 855"/>
              <a:gd name="T85" fmla="*/ 384 h 675"/>
              <a:gd name="T86" fmla="*/ 766 w 855"/>
              <a:gd name="T87" fmla="*/ 384 h 675"/>
              <a:gd name="T88" fmla="*/ 767 w 855"/>
              <a:gd name="T89" fmla="*/ 384 h 675"/>
              <a:gd name="T90" fmla="*/ 767 w 855"/>
              <a:gd name="T91" fmla="*/ 384 h 675"/>
              <a:gd name="T92" fmla="*/ 768 w 855"/>
              <a:gd name="T93" fmla="*/ 384 h 675"/>
              <a:gd name="T94" fmla="*/ 768 w 855"/>
              <a:gd name="T95" fmla="*/ 384 h 675"/>
              <a:gd name="T96" fmla="*/ 769 w 855"/>
              <a:gd name="T97" fmla="*/ 384 h 675"/>
              <a:gd name="T98" fmla="*/ 770 w 855"/>
              <a:gd name="T99" fmla="*/ 384 h 675"/>
              <a:gd name="T100" fmla="*/ 771 w 855"/>
              <a:gd name="T101" fmla="*/ 384 h 675"/>
              <a:gd name="T102" fmla="*/ 771 w 855"/>
              <a:gd name="T103" fmla="*/ 384 h 675"/>
              <a:gd name="T104" fmla="*/ 772 w 855"/>
              <a:gd name="T105" fmla="*/ 384 h 675"/>
              <a:gd name="T106" fmla="*/ 773 w 855"/>
              <a:gd name="T107" fmla="*/ 384 h 675"/>
              <a:gd name="T108" fmla="*/ 774 w 855"/>
              <a:gd name="T109" fmla="*/ 384 h 675"/>
              <a:gd name="T110" fmla="*/ 774 w 855"/>
              <a:gd name="T111" fmla="*/ 384 h 675"/>
              <a:gd name="T112" fmla="*/ 774 w 855"/>
              <a:gd name="T113" fmla="*/ 384 h 675"/>
              <a:gd name="T114" fmla="*/ 775 w 855"/>
              <a:gd name="T115" fmla="*/ 384 h 675"/>
              <a:gd name="T116" fmla="*/ 775 w 855"/>
              <a:gd name="T117" fmla="*/ 384 h 675"/>
              <a:gd name="T118" fmla="*/ 855 w 855"/>
              <a:gd name="T119" fmla="*/ 391 h 6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55" h="675">
                <a:moveTo>
                  <a:pt x="428" y="0"/>
                </a:moveTo>
                <a:cubicBezTo>
                  <a:pt x="192" y="0"/>
                  <a:pt x="0" y="192"/>
                  <a:pt x="0" y="428"/>
                </a:cubicBezTo>
                <a:cubicBezTo>
                  <a:pt x="0" y="472"/>
                  <a:pt x="7" y="515"/>
                  <a:pt x="19" y="554"/>
                </a:cubicBezTo>
                <a:cubicBezTo>
                  <a:pt x="34" y="553"/>
                  <a:pt x="49" y="552"/>
                  <a:pt x="64" y="552"/>
                </a:cubicBezTo>
                <a:cubicBezTo>
                  <a:pt x="64" y="552"/>
                  <a:pt x="64" y="552"/>
                  <a:pt x="64" y="552"/>
                </a:cubicBezTo>
                <a:cubicBezTo>
                  <a:pt x="64" y="552"/>
                  <a:pt x="64" y="552"/>
                  <a:pt x="64" y="552"/>
                </a:cubicBezTo>
                <a:cubicBezTo>
                  <a:pt x="65" y="552"/>
                  <a:pt x="65" y="552"/>
                  <a:pt x="65" y="552"/>
                </a:cubicBezTo>
                <a:cubicBezTo>
                  <a:pt x="65" y="552"/>
                  <a:pt x="65" y="552"/>
                  <a:pt x="65" y="552"/>
                </a:cubicBezTo>
                <a:cubicBezTo>
                  <a:pt x="65" y="552"/>
                  <a:pt x="65" y="552"/>
                  <a:pt x="65" y="552"/>
                </a:cubicBezTo>
                <a:cubicBezTo>
                  <a:pt x="65" y="552"/>
                  <a:pt x="65" y="552"/>
                  <a:pt x="65" y="552"/>
                </a:cubicBezTo>
                <a:cubicBezTo>
                  <a:pt x="65" y="552"/>
                  <a:pt x="65" y="552"/>
                  <a:pt x="65" y="552"/>
                </a:cubicBezTo>
                <a:cubicBezTo>
                  <a:pt x="65" y="552"/>
                  <a:pt x="65" y="552"/>
                  <a:pt x="65" y="552"/>
                </a:cubicBezTo>
                <a:cubicBezTo>
                  <a:pt x="65" y="552"/>
                  <a:pt x="65" y="552"/>
                  <a:pt x="66" y="552"/>
                </a:cubicBezTo>
                <a:cubicBezTo>
                  <a:pt x="66" y="552"/>
                  <a:pt x="66" y="552"/>
                  <a:pt x="66" y="552"/>
                </a:cubicBezTo>
                <a:cubicBezTo>
                  <a:pt x="66" y="552"/>
                  <a:pt x="66" y="552"/>
                  <a:pt x="66" y="552"/>
                </a:cubicBezTo>
                <a:cubicBezTo>
                  <a:pt x="66" y="552"/>
                  <a:pt x="66" y="552"/>
                  <a:pt x="66" y="552"/>
                </a:cubicBezTo>
                <a:cubicBezTo>
                  <a:pt x="66" y="552"/>
                  <a:pt x="66" y="552"/>
                  <a:pt x="66" y="552"/>
                </a:cubicBezTo>
                <a:cubicBezTo>
                  <a:pt x="66" y="552"/>
                  <a:pt x="66" y="552"/>
                  <a:pt x="66" y="552"/>
                </a:cubicBezTo>
                <a:cubicBezTo>
                  <a:pt x="66" y="552"/>
                  <a:pt x="66" y="552"/>
                  <a:pt x="66" y="552"/>
                </a:cubicBezTo>
                <a:cubicBezTo>
                  <a:pt x="67" y="552"/>
                  <a:pt x="67" y="552"/>
                  <a:pt x="67" y="552"/>
                </a:cubicBezTo>
                <a:cubicBezTo>
                  <a:pt x="67" y="552"/>
                  <a:pt x="67" y="552"/>
                  <a:pt x="67" y="552"/>
                </a:cubicBezTo>
                <a:cubicBezTo>
                  <a:pt x="67" y="552"/>
                  <a:pt x="67" y="552"/>
                  <a:pt x="67" y="552"/>
                </a:cubicBezTo>
                <a:cubicBezTo>
                  <a:pt x="67" y="552"/>
                  <a:pt x="67" y="552"/>
                  <a:pt x="67" y="552"/>
                </a:cubicBezTo>
                <a:cubicBezTo>
                  <a:pt x="67" y="552"/>
                  <a:pt x="67" y="552"/>
                  <a:pt x="67" y="552"/>
                </a:cubicBezTo>
                <a:cubicBezTo>
                  <a:pt x="67" y="552"/>
                  <a:pt x="67" y="552"/>
                  <a:pt x="67" y="552"/>
                </a:cubicBezTo>
                <a:cubicBezTo>
                  <a:pt x="67" y="552"/>
                  <a:pt x="67" y="552"/>
                  <a:pt x="68" y="552"/>
                </a:cubicBezTo>
                <a:cubicBezTo>
                  <a:pt x="68" y="552"/>
                  <a:pt x="68" y="552"/>
                  <a:pt x="68" y="552"/>
                </a:cubicBezTo>
                <a:cubicBezTo>
                  <a:pt x="68" y="552"/>
                  <a:pt x="68" y="552"/>
                  <a:pt x="68" y="552"/>
                </a:cubicBezTo>
                <a:cubicBezTo>
                  <a:pt x="68" y="552"/>
                  <a:pt x="68" y="552"/>
                  <a:pt x="68" y="552"/>
                </a:cubicBezTo>
                <a:cubicBezTo>
                  <a:pt x="68" y="552"/>
                  <a:pt x="68" y="552"/>
                  <a:pt x="68" y="552"/>
                </a:cubicBezTo>
                <a:cubicBezTo>
                  <a:pt x="68" y="552"/>
                  <a:pt x="68" y="552"/>
                  <a:pt x="68" y="552"/>
                </a:cubicBezTo>
                <a:cubicBezTo>
                  <a:pt x="68" y="552"/>
                  <a:pt x="68" y="552"/>
                  <a:pt x="68" y="552"/>
                </a:cubicBezTo>
                <a:cubicBezTo>
                  <a:pt x="69" y="552"/>
                  <a:pt x="69" y="552"/>
                  <a:pt x="69" y="552"/>
                </a:cubicBezTo>
                <a:cubicBezTo>
                  <a:pt x="69" y="552"/>
                  <a:pt x="69" y="552"/>
                  <a:pt x="69" y="552"/>
                </a:cubicBezTo>
                <a:cubicBezTo>
                  <a:pt x="69" y="552"/>
                  <a:pt x="69" y="552"/>
                  <a:pt x="70" y="552"/>
                </a:cubicBezTo>
                <a:cubicBezTo>
                  <a:pt x="70" y="552"/>
                  <a:pt x="70" y="552"/>
                  <a:pt x="70" y="552"/>
                </a:cubicBezTo>
                <a:cubicBezTo>
                  <a:pt x="70" y="552"/>
                  <a:pt x="70" y="552"/>
                  <a:pt x="70" y="552"/>
                </a:cubicBezTo>
                <a:cubicBezTo>
                  <a:pt x="70" y="552"/>
                  <a:pt x="70" y="552"/>
                  <a:pt x="70" y="552"/>
                </a:cubicBezTo>
                <a:cubicBezTo>
                  <a:pt x="70" y="552"/>
                  <a:pt x="70" y="552"/>
                  <a:pt x="70" y="552"/>
                </a:cubicBezTo>
                <a:cubicBezTo>
                  <a:pt x="70" y="552"/>
                  <a:pt x="70" y="552"/>
                  <a:pt x="70" y="552"/>
                </a:cubicBezTo>
                <a:cubicBezTo>
                  <a:pt x="70" y="552"/>
                  <a:pt x="71" y="552"/>
                  <a:pt x="71" y="552"/>
                </a:cubicBezTo>
                <a:cubicBezTo>
                  <a:pt x="71" y="552"/>
                  <a:pt x="71" y="552"/>
                  <a:pt x="71" y="552"/>
                </a:cubicBezTo>
                <a:cubicBezTo>
                  <a:pt x="71" y="552"/>
                  <a:pt x="71" y="552"/>
                  <a:pt x="71" y="552"/>
                </a:cubicBezTo>
                <a:cubicBezTo>
                  <a:pt x="71" y="552"/>
                  <a:pt x="71" y="552"/>
                  <a:pt x="71" y="552"/>
                </a:cubicBezTo>
                <a:cubicBezTo>
                  <a:pt x="71" y="552"/>
                  <a:pt x="71" y="552"/>
                  <a:pt x="71" y="552"/>
                </a:cubicBezTo>
                <a:cubicBezTo>
                  <a:pt x="71" y="552"/>
                  <a:pt x="71" y="552"/>
                  <a:pt x="71" y="552"/>
                </a:cubicBezTo>
                <a:cubicBezTo>
                  <a:pt x="71" y="552"/>
                  <a:pt x="71" y="552"/>
                  <a:pt x="72" y="552"/>
                </a:cubicBezTo>
                <a:cubicBezTo>
                  <a:pt x="72" y="552"/>
                  <a:pt x="72" y="552"/>
                  <a:pt x="72" y="552"/>
                </a:cubicBezTo>
                <a:cubicBezTo>
                  <a:pt x="72" y="552"/>
                  <a:pt x="72" y="552"/>
                  <a:pt x="72" y="552"/>
                </a:cubicBezTo>
                <a:cubicBezTo>
                  <a:pt x="72" y="552"/>
                  <a:pt x="72" y="552"/>
                  <a:pt x="72" y="552"/>
                </a:cubicBezTo>
                <a:cubicBezTo>
                  <a:pt x="72" y="552"/>
                  <a:pt x="72" y="552"/>
                  <a:pt x="72" y="552"/>
                </a:cubicBezTo>
                <a:cubicBezTo>
                  <a:pt x="72" y="552"/>
                  <a:pt x="72" y="552"/>
                  <a:pt x="72" y="552"/>
                </a:cubicBezTo>
                <a:cubicBezTo>
                  <a:pt x="178" y="554"/>
                  <a:pt x="273" y="601"/>
                  <a:pt x="338" y="675"/>
                </a:cubicBezTo>
                <a:cubicBezTo>
                  <a:pt x="344" y="660"/>
                  <a:pt x="351" y="646"/>
                  <a:pt x="359" y="632"/>
                </a:cubicBezTo>
                <a:cubicBezTo>
                  <a:pt x="335" y="593"/>
                  <a:pt x="313" y="549"/>
                  <a:pt x="300" y="500"/>
                </a:cubicBezTo>
                <a:cubicBezTo>
                  <a:pt x="300" y="500"/>
                  <a:pt x="326" y="556"/>
                  <a:pt x="369" y="614"/>
                </a:cubicBezTo>
                <a:cubicBezTo>
                  <a:pt x="448" y="481"/>
                  <a:pt x="592" y="390"/>
                  <a:pt x="757" y="385"/>
                </a:cubicBezTo>
                <a:cubicBezTo>
                  <a:pt x="757" y="385"/>
                  <a:pt x="757" y="385"/>
                  <a:pt x="757" y="385"/>
                </a:cubicBezTo>
                <a:cubicBezTo>
                  <a:pt x="757" y="385"/>
                  <a:pt x="758" y="385"/>
                  <a:pt x="758" y="385"/>
                </a:cubicBezTo>
                <a:cubicBezTo>
                  <a:pt x="758" y="385"/>
                  <a:pt x="758" y="385"/>
                  <a:pt x="758" y="385"/>
                </a:cubicBezTo>
                <a:cubicBezTo>
                  <a:pt x="758" y="385"/>
                  <a:pt x="759" y="385"/>
                  <a:pt x="759" y="385"/>
                </a:cubicBezTo>
                <a:cubicBezTo>
                  <a:pt x="759" y="385"/>
                  <a:pt x="759" y="385"/>
                  <a:pt x="759" y="385"/>
                </a:cubicBezTo>
                <a:cubicBezTo>
                  <a:pt x="759" y="385"/>
                  <a:pt x="759" y="385"/>
                  <a:pt x="759" y="385"/>
                </a:cubicBezTo>
                <a:cubicBezTo>
                  <a:pt x="759" y="385"/>
                  <a:pt x="759" y="385"/>
                  <a:pt x="759" y="385"/>
                </a:cubicBezTo>
                <a:cubicBezTo>
                  <a:pt x="759" y="385"/>
                  <a:pt x="760" y="385"/>
                  <a:pt x="760" y="385"/>
                </a:cubicBezTo>
                <a:cubicBezTo>
                  <a:pt x="760" y="385"/>
                  <a:pt x="760" y="385"/>
                  <a:pt x="760" y="385"/>
                </a:cubicBezTo>
                <a:cubicBezTo>
                  <a:pt x="760" y="385"/>
                  <a:pt x="760" y="385"/>
                  <a:pt x="760" y="385"/>
                </a:cubicBezTo>
                <a:cubicBezTo>
                  <a:pt x="760" y="385"/>
                  <a:pt x="760" y="385"/>
                  <a:pt x="760" y="385"/>
                </a:cubicBezTo>
                <a:cubicBezTo>
                  <a:pt x="761" y="385"/>
                  <a:pt x="761" y="385"/>
                  <a:pt x="761" y="385"/>
                </a:cubicBezTo>
                <a:cubicBezTo>
                  <a:pt x="761" y="385"/>
                  <a:pt x="761" y="385"/>
                  <a:pt x="761" y="385"/>
                </a:cubicBezTo>
                <a:cubicBezTo>
                  <a:pt x="761" y="385"/>
                  <a:pt x="761" y="385"/>
                  <a:pt x="762" y="385"/>
                </a:cubicBezTo>
                <a:cubicBezTo>
                  <a:pt x="762" y="385"/>
                  <a:pt x="762" y="385"/>
                  <a:pt x="762" y="385"/>
                </a:cubicBezTo>
                <a:cubicBezTo>
                  <a:pt x="762" y="385"/>
                  <a:pt x="762" y="385"/>
                  <a:pt x="762" y="385"/>
                </a:cubicBezTo>
                <a:cubicBezTo>
                  <a:pt x="762" y="385"/>
                  <a:pt x="762" y="385"/>
                  <a:pt x="762" y="385"/>
                </a:cubicBezTo>
                <a:cubicBezTo>
                  <a:pt x="762" y="385"/>
                  <a:pt x="762" y="385"/>
                  <a:pt x="763" y="385"/>
                </a:cubicBezTo>
                <a:cubicBezTo>
                  <a:pt x="763" y="385"/>
                  <a:pt x="763" y="385"/>
                  <a:pt x="763" y="385"/>
                </a:cubicBezTo>
                <a:cubicBezTo>
                  <a:pt x="763" y="385"/>
                  <a:pt x="763" y="385"/>
                  <a:pt x="763" y="385"/>
                </a:cubicBezTo>
                <a:cubicBezTo>
                  <a:pt x="763" y="385"/>
                  <a:pt x="763" y="385"/>
                  <a:pt x="763" y="385"/>
                </a:cubicBezTo>
                <a:cubicBezTo>
                  <a:pt x="763" y="385"/>
                  <a:pt x="764" y="385"/>
                  <a:pt x="764" y="385"/>
                </a:cubicBezTo>
                <a:cubicBezTo>
                  <a:pt x="764" y="385"/>
                  <a:pt x="764" y="385"/>
                  <a:pt x="764" y="385"/>
                </a:cubicBezTo>
                <a:cubicBezTo>
                  <a:pt x="764" y="385"/>
                  <a:pt x="764" y="385"/>
                  <a:pt x="764" y="384"/>
                </a:cubicBezTo>
                <a:cubicBezTo>
                  <a:pt x="764" y="384"/>
                  <a:pt x="764" y="384"/>
                  <a:pt x="764" y="384"/>
                </a:cubicBezTo>
                <a:cubicBezTo>
                  <a:pt x="765" y="384"/>
                  <a:pt x="765" y="384"/>
                  <a:pt x="765" y="384"/>
                </a:cubicBezTo>
                <a:cubicBezTo>
                  <a:pt x="765" y="384"/>
                  <a:pt x="765" y="384"/>
                  <a:pt x="765" y="384"/>
                </a:cubicBezTo>
                <a:cubicBezTo>
                  <a:pt x="765" y="384"/>
                  <a:pt x="765" y="384"/>
                  <a:pt x="766" y="384"/>
                </a:cubicBezTo>
                <a:cubicBezTo>
                  <a:pt x="766" y="384"/>
                  <a:pt x="766" y="384"/>
                  <a:pt x="766" y="384"/>
                </a:cubicBezTo>
                <a:cubicBezTo>
                  <a:pt x="766" y="384"/>
                  <a:pt x="766" y="384"/>
                  <a:pt x="766" y="384"/>
                </a:cubicBezTo>
                <a:cubicBezTo>
                  <a:pt x="766" y="384"/>
                  <a:pt x="766" y="384"/>
                  <a:pt x="766" y="384"/>
                </a:cubicBezTo>
                <a:cubicBezTo>
                  <a:pt x="766" y="384"/>
                  <a:pt x="767" y="384"/>
                  <a:pt x="767" y="384"/>
                </a:cubicBezTo>
                <a:cubicBezTo>
                  <a:pt x="767" y="384"/>
                  <a:pt x="767" y="384"/>
                  <a:pt x="767" y="384"/>
                </a:cubicBezTo>
                <a:cubicBezTo>
                  <a:pt x="767" y="384"/>
                  <a:pt x="767" y="384"/>
                  <a:pt x="767" y="384"/>
                </a:cubicBezTo>
                <a:cubicBezTo>
                  <a:pt x="767" y="384"/>
                  <a:pt x="767" y="384"/>
                  <a:pt x="767" y="384"/>
                </a:cubicBezTo>
                <a:cubicBezTo>
                  <a:pt x="767" y="384"/>
                  <a:pt x="768" y="384"/>
                  <a:pt x="768" y="384"/>
                </a:cubicBezTo>
                <a:cubicBezTo>
                  <a:pt x="768" y="384"/>
                  <a:pt x="768" y="384"/>
                  <a:pt x="768" y="384"/>
                </a:cubicBezTo>
                <a:cubicBezTo>
                  <a:pt x="768" y="384"/>
                  <a:pt x="768" y="384"/>
                  <a:pt x="768" y="384"/>
                </a:cubicBezTo>
                <a:cubicBezTo>
                  <a:pt x="768" y="384"/>
                  <a:pt x="768" y="384"/>
                  <a:pt x="768" y="384"/>
                </a:cubicBezTo>
                <a:cubicBezTo>
                  <a:pt x="769" y="384"/>
                  <a:pt x="769" y="384"/>
                  <a:pt x="769" y="384"/>
                </a:cubicBezTo>
                <a:cubicBezTo>
                  <a:pt x="769" y="384"/>
                  <a:pt x="769" y="384"/>
                  <a:pt x="769" y="384"/>
                </a:cubicBezTo>
                <a:cubicBezTo>
                  <a:pt x="769" y="384"/>
                  <a:pt x="769" y="384"/>
                  <a:pt x="770" y="384"/>
                </a:cubicBezTo>
                <a:cubicBezTo>
                  <a:pt x="770" y="384"/>
                  <a:pt x="770" y="384"/>
                  <a:pt x="770" y="384"/>
                </a:cubicBezTo>
                <a:cubicBezTo>
                  <a:pt x="770" y="384"/>
                  <a:pt x="770" y="384"/>
                  <a:pt x="771" y="384"/>
                </a:cubicBezTo>
                <a:cubicBezTo>
                  <a:pt x="771" y="384"/>
                  <a:pt x="771" y="384"/>
                  <a:pt x="771" y="384"/>
                </a:cubicBezTo>
                <a:cubicBezTo>
                  <a:pt x="771" y="384"/>
                  <a:pt x="771" y="384"/>
                  <a:pt x="771" y="384"/>
                </a:cubicBezTo>
                <a:cubicBezTo>
                  <a:pt x="771" y="384"/>
                  <a:pt x="771" y="384"/>
                  <a:pt x="771" y="384"/>
                </a:cubicBezTo>
                <a:cubicBezTo>
                  <a:pt x="771" y="384"/>
                  <a:pt x="772" y="384"/>
                  <a:pt x="772" y="384"/>
                </a:cubicBezTo>
                <a:cubicBezTo>
                  <a:pt x="772" y="384"/>
                  <a:pt x="772" y="384"/>
                  <a:pt x="772" y="384"/>
                </a:cubicBezTo>
                <a:cubicBezTo>
                  <a:pt x="772" y="384"/>
                  <a:pt x="773" y="384"/>
                  <a:pt x="773" y="384"/>
                </a:cubicBezTo>
                <a:cubicBezTo>
                  <a:pt x="773" y="384"/>
                  <a:pt x="773" y="384"/>
                  <a:pt x="773" y="384"/>
                </a:cubicBezTo>
                <a:cubicBezTo>
                  <a:pt x="773" y="384"/>
                  <a:pt x="773" y="384"/>
                  <a:pt x="774" y="384"/>
                </a:cubicBezTo>
                <a:cubicBezTo>
                  <a:pt x="774" y="384"/>
                  <a:pt x="774" y="384"/>
                  <a:pt x="774" y="384"/>
                </a:cubicBezTo>
                <a:cubicBezTo>
                  <a:pt x="774" y="384"/>
                  <a:pt x="774" y="384"/>
                  <a:pt x="774" y="384"/>
                </a:cubicBezTo>
                <a:cubicBezTo>
                  <a:pt x="774" y="384"/>
                  <a:pt x="774" y="384"/>
                  <a:pt x="774" y="384"/>
                </a:cubicBezTo>
                <a:cubicBezTo>
                  <a:pt x="774" y="384"/>
                  <a:pt x="774" y="384"/>
                  <a:pt x="774" y="384"/>
                </a:cubicBezTo>
                <a:cubicBezTo>
                  <a:pt x="774" y="384"/>
                  <a:pt x="774" y="384"/>
                  <a:pt x="774" y="384"/>
                </a:cubicBezTo>
                <a:cubicBezTo>
                  <a:pt x="775" y="384"/>
                  <a:pt x="775" y="384"/>
                  <a:pt x="775" y="384"/>
                </a:cubicBezTo>
                <a:cubicBezTo>
                  <a:pt x="775" y="384"/>
                  <a:pt x="775" y="384"/>
                  <a:pt x="775" y="384"/>
                </a:cubicBezTo>
                <a:cubicBezTo>
                  <a:pt x="775" y="384"/>
                  <a:pt x="775" y="384"/>
                  <a:pt x="775" y="384"/>
                </a:cubicBezTo>
                <a:cubicBezTo>
                  <a:pt x="775" y="384"/>
                  <a:pt x="775" y="384"/>
                  <a:pt x="775" y="384"/>
                </a:cubicBezTo>
                <a:cubicBezTo>
                  <a:pt x="775" y="384"/>
                  <a:pt x="775" y="384"/>
                  <a:pt x="775" y="384"/>
                </a:cubicBezTo>
                <a:cubicBezTo>
                  <a:pt x="802" y="385"/>
                  <a:pt x="829" y="387"/>
                  <a:pt x="855" y="391"/>
                </a:cubicBezTo>
                <a:cubicBezTo>
                  <a:pt x="836" y="172"/>
                  <a:pt x="653" y="0"/>
                  <a:pt x="428" y="0"/>
                </a:cubicBezTo>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64" name="Freeform 9">
            <a:extLst>
              <a:ext uri="{FF2B5EF4-FFF2-40B4-BE49-F238E27FC236}">
                <a16:creationId xmlns:a16="http://schemas.microsoft.com/office/drawing/2014/main" id="{BE6D160E-F4DE-4BC1-B135-6A665D5C5574}"/>
              </a:ext>
            </a:extLst>
          </p:cNvPr>
          <p:cNvSpPr>
            <a:spLocks noEditPoints="1"/>
          </p:cNvSpPr>
          <p:nvPr/>
        </p:nvSpPr>
        <p:spPr bwMode="auto">
          <a:xfrm>
            <a:off x="4650316" y="3318199"/>
            <a:ext cx="1112292" cy="995501"/>
          </a:xfrm>
          <a:custGeom>
            <a:avLst/>
            <a:gdLst>
              <a:gd name="T0" fmla="*/ 319 w 319"/>
              <a:gd name="T1" fmla="*/ 123 h 285"/>
              <a:gd name="T2" fmla="*/ 53 w 319"/>
              <a:gd name="T3" fmla="*/ 0 h 285"/>
              <a:gd name="T4" fmla="*/ 53 w 319"/>
              <a:gd name="T5" fmla="*/ 0 h 285"/>
              <a:gd name="T6" fmla="*/ 53 w 319"/>
              <a:gd name="T7" fmla="*/ 0 h 285"/>
              <a:gd name="T8" fmla="*/ 53 w 319"/>
              <a:gd name="T9" fmla="*/ 0 h 285"/>
              <a:gd name="T10" fmla="*/ 53 w 319"/>
              <a:gd name="T11" fmla="*/ 0 h 285"/>
              <a:gd name="T12" fmla="*/ 52 w 319"/>
              <a:gd name="T13" fmla="*/ 0 h 285"/>
              <a:gd name="T14" fmla="*/ 52 w 319"/>
              <a:gd name="T15" fmla="*/ 0 h 285"/>
              <a:gd name="T16" fmla="*/ 52 w 319"/>
              <a:gd name="T17" fmla="*/ 0 h 285"/>
              <a:gd name="T18" fmla="*/ 51 w 319"/>
              <a:gd name="T19" fmla="*/ 0 h 285"/>
              <a:gd name="T20" fmla="*/ 51 w 319"/>
              <a:gd name="T21" fmla="*/ 0 h 285"/>
              <a:gd name="T22" fmla="*/ 51 w 319"/>
              <a:gd name="T23" fmla="*/ 0 h 285"/>
              <a:gd name="T24" fmla="*/ 51 w 319"/>
              <a:gd name="T25" fmla="*/ 0 h 285"/>
              <a:gd name="T26" fmla="*/ 51 w 319"/>
              <a:gd name="T27" fmla="*/ 0 h 285"/>
              <a:gd name="T28" fmla="*/ 51 w 319"/>
              <a:gd name="T29" fmla="*/ 0 h 285"/>
              <a:gd name="T30" fmla="*/ 49 w 319"/>
              <a:gd name="T31" fmla="*/ 0 h 285"/>
              <a:gd name="T32" fmla="*/ 49 w 319"/>
              <a:gd name="T33" fmla="*/ 0 h 285"/>
              <a:gd name="T34" fmla="*/ 49 w 319"/>
              <a:gd name="T35" fmla="*/ 0 h 285"/>
              <a:gd name="T36" fmla="*/ 49 w 319"/>
              <a:gd name="T37" fmla="*/ 0 h 285"/>
              <a:gd name="T38" fmla="*/ 49 w 319"/>
              <a:gd name="T39" fmla="*/ 0 h 285"/>
              <a:gd name="T40" fmla="*/ 49 w 319"/>
              <a:gd name="T41" fmla="*/ 0 h 285"/>
              <a:gd name="T42" fmla="*/ 48 w 319"/>
              <a:gd name="T43" fmla="*/ 0 h 285"/>
              <a:gd name="T44" fmla="*/ 48 w 319"/>
              <a:gd name="T45" fmla="*/ 0 h 285"/>
              <a:gd name="T46" fmla="*/ 48 w 319"/>
              <a:gd name="T47" fmla="*/ 0 h 285"/>
              <a:gd name="T48" fmla="*/ 48 w 319"/>
              <a:gd name="T49" fmla="*/ 0 h 285"/>
              <a:gd name="T50" fmla="*/ 48 w 319"/>
              <a:gd name="T51" fmla="*/ 0 h 285"/>
              <a:gd name="T52" fmla="*/ 0 w 319"/>
              <a:gd name="T53" fmla="*/ 2 h 285"/>
              <a:gd name="T54" fmla="*/ 283 w 319"/>
              <a:gd name="T55" fmla="*/ 285 h 285"/>
              <a:gd name="T56" fmla="*/ 45 w 319"/>
              <a:gd name="T57" fmla="*/ 0 h 285"/>
              <a:gd name="T58" fmla="*/ 47 w 319"/>
              <a:gd name="T59" fmla="*/ 0 h 285"/>
              <a:gd name="T60" fmla="*/ 45 w 319"/>
              <a:gd name="T61" fmla="*/ 0 h 285"/>
              <a:gd name="T62" fmla="*/ 45 w 319"/>
              <a:gd name="T63" fmla="*/ 0 h 285"/>
              <a:gd name="T64" fmla="*/ 47 w 319"/>
              <a:gd name="T65" fmla="*/ 0 h 285"/>
              <a:gd name="T66" fmla="*/ 46 w 319"/>
              <a:gd name="T67" fmla="*/ 0 h 285"/>
              <a:gd name="T68" fmla="*/ 46 w 319"/>
              <a:gd name="T69" fmla="*/ 0 h 285"/>
              <a:gd name="T70" fmla="*/ 47 w 319"/>
              <a:gd name="T71" fmla="*/ 0 h 285"/>
              <a:gd name="T72" fmla="*/ 46 w 319"/>
              <a:gd name="T73" fmla="*/ 0 h 285"/>
              <a:gd name="T74" fmla="*/ 46 w 319"/>
              <a:gd name="T75" fmla="*/ 0 h 285"/>
              <a:gd name="T76" fmla="*/ 46 w 319"/>
              <a:gd name="T77" fmla="*/ 0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19" h="285">
                <a:moveTo>
                  <a:pt x="53" y="0"/>
                </a:moveTo>
                <a:cubicBezTo>
                  <a:pt x="159" y="2"/>
                  <a:pt x="254" y="49"/>
                  <a:pt x="319" y="123"/>
                </a:cubicBezTo>
                <a:cubicBezTo>
                  <a:pt x="319" y="123"/>
                  <a:pt x="319" y="123"/>
                  <a:pt x="319" y="123"/>
                </a:cubicBezTo>
                <a:cubicBezTo>
                  <a:pt x="254" y="49"/>
                  <a:pt x="159" y="2"/>
                  <a:pt x="53" y="0"/>
                </a:cubicBezTo>
                <a:moveTo>
                  <a:pt x="53" y="0"/>
                </a:moveTo>
                <a:cubicBezTo>
                  <a:pt x="53" y="0"/>
                  <a:pt x="53" y="0"/>
                  <a:pt x="53" y="0"/>
                </a:cubicBezTo>
                <a:cubicBezTo>
                  <a:pt x="53" y="0"/>
                  <a:pt x="53" y="0"/>
                  <a:pt x="53" y="0"/>
                </a:cubicBezTo>
                <a:moveTo>
                  <a:pt x="53" y="0"/>
                </a:moveTo>
                <a:cubicBezTo>
                  <a:pt x="53" y="0"/>
                  <a:pt x="53" y="0"/>
                  <a:pt x="53" y="0"/>
                </a:cubicBezTo>
                <a:cubicBezTo>
                  <a:pt x="53" y="0"/>
                  <a:pt x="53" y="0"/>
                  <a:pt x="53" y="0"/>
                </a:cubicBezTo>
                <a:moveTo>
                  <a:pt x="52" y="0"/>
                </a:moveTo>
                <a:cubicBezTo>
                  <a:pt x="52" y="0"/>
                  <a:pt x="52" y="0"/>
                  <a:pt x="53" y="0"/>
                </a:cubicBezTo>
                <a:cubicBezTo>
                  <a:pt x="52" y="0"/>
                  <a:pt x="52" y="0"/>
                  <a:pt x="52" y="0"/>
                </a:cubicBezTo>
                <a:moveTo>
                  <a:pt x="52" y="0"/>
                </a:moveTo>
                <a:cubicBezTo>
                  <a:pt x="52" y="0"/>
                  <a:pt x="52" y="0"/>
                  <a:pt x="52" y="0"/>
                </a:cubicBezTo>
                <a:cubicBezTo>
                  <a:pt x="52" y="0"/>
                  <a:pt x="52" y="0"/>
                  <a:pt x="52" y="0"/>
                </a:cubicBezTo>
                <a:moveTo>
                  <a:pt x="52" y="0"/>
                </a:moveTo>
                <a:cubicBezTo>
                  <a:pt x="52" y="0"/>
                  <a:pt x="52" y="0"/>
                  <a:pt x="52" y="0"/>
                </a:cubicBezTo>
                <a:cubicBezTo>
                  <a:pt x="52" y="0"/>
                  <a:pt x="52" y="0"/>
                  <a:pt x="52" y="0"/>
                </a:cubicBezTo>
                <a:moveTo>
                  <a:pt x="51" y="0"/>
                </a:moveTo>
                <a:cubicBezTo>
                  <a:pt x="51" y="0"/>
                  <a:pt x="52" y="0"/>
                  <a:pt x="52" y="0"/>
                </a:cubicBezTo>
                <a:cubicBezTo>
                  <a:pt x="52" y="0"/>
                  <a:pt x="51" y="0"/>
                  <a:pt x="51" y="0"/>
                </a:cubicBezTo>
                <a:moveTo>
                  <a:pt x="51" y="0"/>
                </a:moveTo>
                <a:cubicBezTo>
                  <a:pt x="51" y="0"/>
                  <a:pt x="51" y="0"/>
                  <a:pt x="51" y="0"/>
                </a:cubicBezTo>
                <a:cubicBezTo>
                  <a:pt x="51" y="0"/>
                  <a:pt x="51" y="0"/>
                  <a:pt x="51" y="0"/>
                </a:cubicBezTo>
                <a:moveTo>
                  <a:pt x="51" y="0"/>
                </a:moveTo>
                <a:cubicBezTo>
                  <a:pt x="51" y="0"/>
                  <a:pt x="51" y="0"/>
                  <a:pt x="51" y="0"/>
                </a:cubicBezTo>
                <a:cubicBezTo>
                  <a:pt x="51" y="0"/>
                  <a:pt x="51" y="0"/>
                  <a:pt x="51" y="0"/>
                </a:cubicBezTo>
                <a:moveTo>
                  <a:pt x="50" y="0"/>
                </a:moveTo>
                <a:cubicBezTo>
                  <a:pt x="50" y="0"/>
                  <a:pt x="50" y="0"/>
                  <a:pt x="51" y="0"/>
                </a:cubicBezTo>
                <a:cubicBezTo>
                  <a:pt x="50" y="0"/>
                  <a:pt x="50" y="0"/>
                  <a:pt x="50" y="0"/>
                </a:cubicBezTo>
                <a:moveTo>
                  <a:pt x="49" y="0"/>
                </a:moveTo>
                <a:cubicBezTo>
                  <a:pt x="50" y="0"/>
                  <a:pt x="50" y="0"/>
                  <a:pt x="50" y="0"/>
                </a:cubicBezTo>
                <a:cubicBezTo>
                  <a:pt x="50" y="0"/>
                  <a:pt x="50" y="0"/>
                  <a:pt x="49" y="0"/>
                </a:cubicBezTo>
                <a:moveTo>
                  <a:pt x="49" y="0"/>
                </a:moveTo>
                <a:cubicBezTo>
                  <a:pt x="49" y="0"/>
                  <a:pt x="49" y="0"/>
                  <a:pt x="49" y="0"/>
                </a:cubicBezTo>
                <a:cubicBezTo>
                  <a:pt x="49" y="0"/>
                  <a:pt x="49" y="0"/>
                  <a:pt x="49" y="0"/>
                </a:cubicBezTo>
                <a:moveTo>
                  <a:pt x="49" y="0"/>
                </a:moveTo>
                <a:cubicBezTo>
                  <a:pt x="49" y="0"/>
                  <a:pt x="49" y="0"/>
                  <a:pt x="49" y="0"/>
                </a:cubicBezTo>
                <a:cubicBezTo>
                  <a:pt x="49" y="0"/>
                  <a:pt x="49" y="0"/>
                  <a:pt x="49" y="0"/>
                </a:cubicBezTo>
                <a:moveTo>
                  <a:pt x="49" y="0"/>
                </a:moveTo>
                <a:cubicBezTo>
                  <a:pt x="49" y="0"/>
                  <a:pt x="49" y="0"/>
                  <a:pt x="49" y="0"/>
                </a:cubicBezTo>
                <a:cubicBezTo>
                  <a:pt x="49" y="0"/>
                  <a:pt x="49" y="0"/>
                  <a:pt x="49" y="0"/>
                </a:cubicBezTo>
                <a:moveTo>
                  <a:pt x="48" y="0"/>
                </a:moveTo>
                <a:cubicBezTo>
                  <a:pt x="48" y="0"/>
                  <a:pt x="48" y="0"/>
                  <a:pt x="48" y="0"/>
                </a:cubicBezTo>
                <a:cubicBezTo>
                  <a:pt x="48" y="0"/>
                  <a:pt x="48" y="0"/>
                  <a:pt x="48" y="0"/>
                </a:cubicBezTo>
                <a:moveTo>
                  <a:pt x="48" y="0"/>
                </a:moveTo>
                <a:cubicBezTo>
                  <a:pt x="48" y="0"/>
                  <a:pt x="48" y="0"/>
                  <a:pt x="48" y="0"/>
                </a:cubicBezTo>
                <a:cubicBezTo>
                  <a:pt x="48" y="0"/>
                  <a:pt x="48" y="0"/>
                  <a:pt x="48" y="0"/>
                </a:cubicBezTo>
                <a:moveTo>
                  <a:pt x="48" y="0"/>
                </a:moveTo>
                <a:cubicBezTo>
                  <a:pt x="48" y="0"/>
                  <a:pt x="48" y="0"/>
                  <a:pt x="48" y="0"/>
                </a:cubicBezTo>
                <a:cubicBezTo>
                  <a:pt x="48" y="0"/>
                  <a:pt x="48" y="0"/>
                  <a:pt x="48" y="0"/>
                </a:cubicBezTo>
                <a:moveTo>
                  <a:pt x="45" y="0"/>
                </a:moveTo>
                <a:cubicBezTo>
                  <a:pt x="30" y="0"/>
                  <a:pt x="15" y="1"/>
                  <a:pt x="0" y="2"/>
                </a:cubicBezTo>
                <a:cubicBezTo>
                  <a:pt x="42" y="137"/>
                  <a:pt x="149" y="244"/>
                  <a:pt x="283" y="285"/>
                </a:cubicBezTo>
                <a:cubicBezTo>
                  <a:pt x="283" y="285"/>
                  <a:pt x="283" y="285"/>
                  <a:pt x="283" y="285"/>
                </a:cubicBezTo>
                <a:cubicBezTo>
                  <a:pt x="149" y="244"/>
                  <a:pt x="42" y="137"/>
                  <a:pt x="0" y="2"/>
                </a:cubicBezTo>
                <a:cubicBezTo>
                  <a:pt x="15" y="1"/>
                  <a:pt x="30" y="0"/>
                  <a:pt x="45" y="0"/>
                </a:cubicBezTo>
                <a:moveTo>
                  <a:pt x="47" y="0"/>
                </a:moveTo>
                <a:cubicBezTo>
                  <a:pt x="47" y="0"/>
                  <a:pt x="47" y="0"/>
                  <a:pt x="47" y="0"/>
                </a:cubicBezTo>
                <a:cubicBezTo>
                  <a:pt x="47" y="0"/>
                  <a:pt x="47" y="0"/>
                  <a:pt x="47" y="0"/>
                </a:cubicBezTo>
                <a:moveTo>
                  <a:pt x="45" y="0"/>
                </a:moveTo>
                <a:cubicBezTo>
                  <a:pt x="45" y="0"/>
                  <a:pt x="45" y="0"/>
                  <a:pt x="45" y="0"/>
                </a:cubicBezTo>
                <a:cubicBezTo>
                  <a:pt x="45" y="0"/>
                  <a:pt x="45" y="0"/>
                  <a:pt x="45" y="0"/>
                </a:cubicBezTo>
                <a:moveTo>
                  <a:pt x="47" y="0"/>
                </a:moveTo>
                <a:cubicBezTo>
                  <a:pt x="47" y="0"/>
                  <a:pt x="47" y="0"/>
                  <a:pt x="47" y="0"/>
                </a:cubicBezTo>
                <a:cubicBezTo>
                  <a:pt x="47" y="0"/>
                  <a:pt x="47" y="0"/>
                  <a:pt x="47" y="0"/>
                </a:cubicBezTo>
                <a:moveTo>
                  <a:pt x="46" y="0"/>
                </a:moveTo>
                <a:cubicBezTo>
                  <a:pt x="46" y="0"/>
                  <a:pt x="46" y="0"/>
                  <a:pt x="46" y="0"/>
                </a:cubicBezTo>
                <a:cubicBezTo>
                  <a:pt x="46" y="0"/>
                  <a:pt x="46" y="0"/>
                  <a:pt x="46" y="0"/>
                </a:cubicBezTo>
                <a:moveTo>
                  <a:pt x="47" y="0"/>
                </a:moveTo>
                <a:cubicBezTo>
                  <a:pt x="47" y="0"/>
                  <a:pt x="47" y="0"/>
                  <a:pt x="47" y="0"/>
                </a:cubicBezTo>
                <a:cubicBezTo>
                  <a:pt x="47" y="0"/>
                  <a:pt x="47" y="0"/>
                  <a:pt x="47" y="0"/>
                </a:cubicBezTo>
                <a:moveTo>
                  <a:pt x="46" y="0"/>
                </a:moveTo>
                <a:cubicBezTo>
                  <a:pt x="46" y="0"/>
                  <a:pt x="46" y="0"/>
                  <a:pt x="47" y="0"/>
                </a:cubicBezTo>
                <a:cubicBezTo>
                  <a:pt x="46" y="0"/>
                  <a:pt x="46" y="0"/>
                  <a:pt x="46" y="0"/>
                </a:cubicBezTo>
                <a:moveTo>
                  <a:pt x="46" y="0"/>
                </a:moveTo>
                <a:cubicBezTo>
                  <a:pt x="46" y="0"/>
                  <a:pt x="46" y="0"/>
                  <a:pt x="46" y="0"/>
                </a:cubicBezTo>
                <a:cubicBezTo>
                  <a:pt x="46" y="0"/>
                  <a:pt x="46" y="0"/>
                  <a:pt x="46" y="0"/>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65" name="Freeform 10">
            <a:extLst>
              <a:ext uri="{FF2B5EF4-FFF2-40B4-BE49-F238E27FC236}">
                <a16:creationId xmlns:a16="http://schemas.microsoft.com/office/drawing/2014/main" id="{64D02601-21FB-437E-B96C-27300DFBAAA5}"/>
              </a:ext>
            </a:extLst>
          </p:cNvPr>
          <p:cNvSpPr>
            <a:spLocks noEditPoints="1"/>
          </p:cNvSpPr>
          <p:nvPr/>
        </p:nvSpPr>
        <p:spPr bwMode="auto">
          <a:xfrm>
            <a:off x="5762607" y="2734246"/>
            <a:ext cx="1807475" cy="1646192"/>
          </a:xfrm>
          <a:custGeom>
            <a:avLst/>
            <a:gdLst>
              <a:gd name="T0" fmla="*/ 90 w 518"/>
              <a:gd name="T1" fmla="*/ 472 h 472"/>
              <a:gd name="T2" fmla="*/ 86 w 518"/>
              <a:gd name="T3" fmla="*/ 472 h 472"/>
              <a:gd name="T4" fmla="*/ 150 w 518"/>
              <a:gd name="T5" fmla="*/ 468 h 472"/>
              <a:gd name="T6" fmla="*/ 21 w 518"/>
              <a:gd name="T7" fmla="*/ 248 h 472"/>
              <a:gd name="T8" fmla="*/ 0 w 518"/>
              <a:gd name="T9" fmla="*/ 291 h 472"/>
              <a:gd name="T10" fmla="*/ 21 w 518"/>
              <a:gd name="T11" fmla="*/ 248 h 472"/>
              <a:gd name="T12" fmla="*/ 518 w 518"/>
              <a:gd name="T13" fmla="*/ 44 h 472"/>
              <a:gd name="T14" fmla="*/ 419 w 518"/>
              <a:gd name="T15" fmla="*/ 1 h 472"/>
              <a:gd name="T16" fmla="*/ 31 w 518"/>
              <a:gd name="T17" fmla="*/ 230 h 472"/>
              <a:gd name="T18" fmla="*/ 420 w 518"/>
              <a:gd name="T19" fmla="*/ 1 h 472"/>
              <a:gd name="T20" fmla="*/ 420 w 518"/>
              <a:gd name="T21" fmla="*/ 1 h 472"/>
              <a:gd name="T22" fmla="*/ 420 w 518"/>
              <a:gd name="T23" fmla="*/ 1 h 472"/>
              <a:gd name="T24" fmla="*/ 421 w 518"/>
              <a:gd name="T25" fmla="*/ 1 h 472"/>
              <a:gd name="T26" fmla="*/ 421 w 518"/>
              <a:gd name="T27" fmla="*/ 1 h 472"/>
              <a:gd name="T28" fmla="*/ 421 w 518"/>
              <a:gd name="T29" fmla="*/ 1 h 472"/>
              <a:gd name="T30" fmla="*/ 422 w 518"/>
              <a:gd name="T31" fmla="*/ 1 h 472"/>
              <a:gd name="T32" fmla="*/ 422 w 518"/>
              <a:gd name="T33" fmla="*/ 1 h 472"/>
              <a:gd name="T34" fmla="*/ 422 w 518"/>
              <a:gd name="T35" fmla="*/ 1 h 472"/>
              <a:gd name="T36" fmla="*/ 424 w 518"/>
              <a:gd name="T37" fmla="*/ 1 h 472"/>
              <a:gd name="T38" fmla="*/ 424 w 518"/>
              <a:gd name="T39" fmla="*/ 1 h 472"/>
              <a:gd name="T40" fmla="*/ 424 w 518"/>
              <a:gd name="T41" fmla="*/ 1 h 472"/>
              <a:gd name="T42" fmla="*/ 425 w 518"/>
              <a:gd name="T43" fmla="*/ 1 h 472"/>
              <a:gd name="T44" fmla="*/ 425 w 518"/>
              <a:gd name="T45" fmla="*/ 1 h 472"/>
              <a:gd name="T46" fmla="*/ 425 w 518"/>
              <a:gd name="T47" fmla="*/ 1 h 472"/>
              <a:gd name="T48" fmla="*/ 426 w 518"/>
              <a:gd name="T49" fmla="*/ 1 h 472"/>
              <a:gd name="T50" fmla="*/ 426 w 518"/>
              <a:gd name="T51" fmla="*/ 1 h 472"/>
              <a:gd name="T52" fmla="*/ 426 w 518"/>
              <a:gd name="T53" fmla="*/ 1 h 472"/>
              <a:gd name="T54" fmla="*/ 427 w 518"/>
              <a:gd name="T55" fmla="*/ 0 h 472"/>
              <a:gd name="T56" fmla="*/ 427 w 518"/>
              <a:gd name="T57" fmla="*/ 0 h 472"/>
              <a:gd name="T58" fmla="*/ 427 w 518"/>
              <a:gd name="T59" fmla="*/ 0 h 472"/>
              <a:gd name="T60" fmla="*/ 428 w 518"/>
              <a:gd name="T61" fmla="*/ 0 h 472"/>
              <a:gd name="T62" fmla="*/ 428 w 518"/>
              <a:gd name="T63" fmla="*/ 0 h 472"/>
              <a:gd name="T64" fmla="*/ 428 w 518"/>
              <a:gd name="T65" fmla="*/ 0 h 472"/>
              <a:gd name="T66" fmla="*/ 429 w 518"/>
              <a:gd name="T67" fmla="*/ 0 h 472"/>
              <a:gd name="T68" fmla="*/ 429 w 518"/>
              <a:gd name="T69" fmla="*/ 0 h 472"/>
              <a:gd name="T70" fmla="*/ 429 w 518"/>
              <a:gd name="T71" fmla="*/ 0 h 472"/>
              <a:gd name="T72" fmla="*/ 430 w 518"/>
              <a:gd name="T73" fmla="*/ 0 h 472"/>
              <a:gd name="T74" fmla="*/ 430 w 518"/>
              <a:gd name="T75" fmla="*/ 0 h 472"/>
              <a:gd name="T76" fmla="*/ 430 w 518"/>
              <a:gd name="T77" fmla="*/ 0 h 472"/>
              <a:gd name="T78" fmla="*/ 432 w 518"/>
              <a:gd name="T79" fmla="*/ 0 h 472"/>
              <a:gd name="T80" fmla="*/ 432 w 518"/>
              <a:gd name="T81" fmla="*/ 0 h 472"/>
              <a:gd name="T82" fmla="*/ 432 w 518"/>
              <a:gd name="T83" fmla="*/ 0 h 472"/>
              <a:gd name="T84" fmla="*/ 433 w 518"/>
              <a:gd name="T85" fmla="*/ 0 h 472"/>
              <a:gd name="T86" fmla="*/ 433 w 518"/>
              <a:gd name="T87" fmla="*/ 0 h 472"/>
              <a:gd name="T88" fmla="*/ 433 w 518"/>
              <a:gd name="T89" fmla="*/ 0 h 472"/>
              <a:gd name="T90" fmla="*/ 437 w 518"/>
              <a:gd name="T91" fmla="*/ 0 h 472"/>
              <a:gd name="T92" fmla="*/ 518 w 518"/>
              <a:gd name="T93" fmla="*/ 43 h 472"/>
              <a:gd name="T94" fmla="*/ 437 w 518"/>
              <a:gd name="T95" fmla="*/ 0 h 472"/>
              <a:gd name="T96" fmla="*/ 437 w 518"/>
              <a:gd name="T97" fmla="*/ 0 h 472"/>
              <a:gd name="T98" fmla="*/ 437 w 518"/>
              <a:gd name="T99" fmla="*/ 0 h 472"/>
              <a:gd name="T100" fmla="*/ 437 w 518"/>
              <a:gd name="T101" fmla="*/ 0 h 472"/>
              <a:gd name="T102" fmla="*/ 436 w 518"/>
              <a:gd name="T103" fmla="*/ 0 h 472"/>
              <a:gd name="T104" fmla="*/ 435 w 518"/>
              <a:gd name="T105" fmla="*/ 0 h 472"/>
              <a:gd name="T106" fmla="*/ 435 w 518"/>
              <a:gd name="T107" fmla="*/ 0 h 472"/>
              <a:gd name="T108" fmla="*/ 436 w 518"/>
              <a:gd name="T109" fmla="*/ 0 h 472"/>
              <a:gd name="T110" fmla="*/ 436 w 518"/>
              <a:gd name="T111" fmla="*/ 0 h 472"/>
              <a:gd name="T112" fmla="*/ 436 w 518"/>
              <a:gd name="T113" fmla="*/ 0 h 4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8" h="472">
                <a:moveTo>
                  <a:pt x="150" y="468"/>
                </a:moveTo>
                <a:cubicBezTo>
                  <a:pt x="130" y="471"/>
                  <a:pt x="111" y="472"/>
                  <a:pt x="90" y="472"/>
                </a:cubicBezTo>
                <a:cubicBezTo>
                  <a:pt x="89" y="472"/>
                  <a:pt x="88" y="472"/>
                  <a:pt x="86" y="472"/>
                </a:cubicBezTo>
                <a:cubicBezTo>
                  <a:pt x="86" y="472"/>
                  <a:pt x="86" y="472"/>
                  <a:pt x="86" y="472"/>
                </a:cubicBezTo>
                <a:cubicBezTo>
                  <a:pt x="88" y="472"/>
                  <a:pt x="89" y="472"/>
                  <a:pt x="90" y="472"/>
                </a:cubicBezTo>
                <a:cubicBezTo>
                  <a:pt x="111" y="472"/>
                  <a:pt x="130" y="471"/>
                  <a:pt x="150" y="468"/>
                </a:cubicBezTo>
                <a:cubicBezTo>
                  <a:pt x="150" y="468"/>
                  <a:pt x="150" y="468"/>
                  <a:pt x="150" y="468"/>
                </a:cubicBezTo>
                <a:moveTo>
                  <a:pt x="21" y="248"/>
                </a:moveTo>
                <a:cubicBezTo>
                  <a:pt x="13" y="262"/>
                  <a:pt x="6" y="276"/>
                  <a:pt x="0" y="291"/>
                </a:cubicBezTo>
                <a:cubicBezTo>
                  <a:pt x="0" y="291"/>
                  <a:pt x="0" y="291"/>
                  <a:pt x="0" y="291"/>
                </a:cubicBezTo>
                <a:cubicBezTo>
                  <a:pt x="6" y="276"/>
                  <a:pt x="13" y="262"/>
                  <a:pt x="21" y="248"/>
                </a:cubicBezTo>
                <a:cubicBezTo>
                  <a:pt x="21" y="248"/>
                  <a:pt x="21" y="248"/>
                  <a:pt x="21" y="248"/>
                </a:cubicBezTo>
                <a:moveTo>
                  <a:pt x="518" y="43"/>
                </a:moveTo>
                <a:cubicBezTo>
                  <a:pt x="518" y="44"/>
                  <a:pt x="518" y="44"/>
                  <a:pt x="518" y="44"/>
                </a:cubicBezTo>
                <a:cubicBezTo>
                  <a:pt x="518" y="44"/>
                  <a:pt x="518" y="44"/>
                  <a:pt x="518" y="43"/>
                </a:cubicBezTo>
                <a:moveTo>
                  <a:pt x="419" y="1"/>
                </a:moveTo>
                <a:cubicBezTo>
                  <a:pt x="254" y="6"/>
                  <a:pt x="110" y="97"/>
                  <a:pt x="31" y="230"/>
                </a:cubicBezTo>
                <a:cubicBezTo>
                  <a:pt x="31" y="230"/>
                  <a:pt x="31" y="230"/>
                  <a:pt x="31" y="230"/>
                </a:cubicBezTo>
                <a:cubicBezTo>
                  <a:pt x="110" y="97"/>
                  <a:pt x="254" y="6"/>
                  <a:pt x="419" y="1"/>
                </a:cubicBezTo>
                <a:moveTo>
                  <a:pt x="420" y="1"/>
                </a:moveTo>
                <a:cubicBezTo>
                  <a:pt x="420" y="1"/>
                  <a:pt x="419" y="1"/>
                  <a:pt x="419" y="1"/>
                </a:cubicBezTo>
                <a:cubicBezTo>
                  <a:pt x="419" y="1"/>
                  <a:pt x="420" y="1"/>
                  <a:pt x="420" y="1"/>
                </a:cubicBezTo>
                <a:moveTo>
                  <a:pt x="421" y="1"/>
                </a:moveTo>
                <a:cubicBezTo>
                  <a:pt x="421" y="1"/>
                  <a:pt x="420" y="1"/>
                  <a:pt x="420" y="1"/>
                </a:cubicBezTo>
                <a:cubicBezTo>
                  <a:pt x="420" y="1"/>
                  <a:pt x="421" y="1"/>
                  <a:pt x="421" y="1"/>
                </a:cubicBezTo>
                <a:moveTo>
                  <a:pt x="421" y="1"/>
                </a:moveTo>
                <a:cubicBezTo>
                  <a:pt x="421" y="1"/>
                  <a:pt x="421" y="1"/>
                  <a:pt x="421" y="1"/>
                </a:cubicBezTo>
                <a:cubicBezTo>
                  <a:pt x="421" y="1"/>
                  <a:pt x="421" y="1"/>
                  <a:pt x="421" y="1"/>
                </a:cubicBezTo>
                <a:moveTo>
                  <a:pt x="422" y="1"/>
                </a:moveTo>
                <a:cubicBezTo>
                  <a:pt x="422" y="1"/>
                  <a:pt x="421" y="1"/>
                  <a:pt x="421" y="1"/>
                </a:cubicBezTo>
                <a:cubicBezTo>
                  <a:pt x="421" y="1"/>
                  <a:pt x="422" y="1"/>
                  <a:pt x="422" y="1"/>
                </a:cubicBezTo>
                <a:moveTo>
                  <a:pt x="422" y="1"/>
                </a:moveTo>
                <a:cubicBezTo>
                  <a:pt x="422" y="1"/>
                  <a:pt x="422" y="1"/>
                  <a:pt x="422" y="1"/>
                </a:cubicBezTo>
                <a:cubicBezTo>
                  <a:pt x="422" y="1"/>
                  <a:pt x="422" y="1"/>
                  <a:pt x="422" y="1"/>
                </a:cubicBezTo>
                <a:moveTo>
                  <a:pt x="423" y="1"/>
                </a:moveTo>
                <a:cubicBezTo>
                  <a:pt x="423" y="1"/>
                  <a:pt x="423" y="1"/>
                  <a:pt x="422" y="1"/>
                </a:cubicBezTo>
                <a:cubicBezTo>
                  <a:pt x="423" y="1"/>
                  <a:pt x="423" y="1"/>
                  <a:pt x="423" y="1"/>
                </a:cubicBezTo>
                <a:moveTo>
                  <a:pt x="424" y="1"/>
                </a:moveTo>
                <a:cubicBezTo>
                  <a:pt x="423" y="1"/>
                  <a:pt x="423" y="1"/>
                  <a:pt x="423" y="1"/>
                </a:cubicBezTo>
                <a:cubicBezTo>
                  <a:pt x="423" y="1"/>
                  <a:pt x="423" y="1"/>
                  <a:pt x="424" y="1"/>
                </a:cubicBezTo>
                <a:moveTo>
                  <a:pt x="424" y="1"/>
                </a:moveTo>
                <a:cubicBezTo>
                  <a:pt x="424" y="1"/>
                  <a:pt x="424" y="1"/>
                  <a:pt x="424" y="1"/>
                </a:cubicBezTo>
                <a:cubicBezTo>
                  <a:pt x="424" y="1"/>
                  <a:pt x="424" y="1"/>
                  <a:pt x="424" y="1"/>
                </a:cubicBezTo>
                <a:moveTo>
                  <a:pt x="425" y="1"/>
                </a:moveTo>
                <a:cubicBezTo>
                  <a:pt x="424" y="1"/>
                  <a:pt x="424" y="1"/>
                  <a:pt x="424" y="1"/>
                </a:cubicBezTo>
                <a:cubicBezTo>
                  <a:pt x="424" y="1"/>
                  <a:pt x="424" y="1"/>
                  <a:pt x="425" y="1"/>
                </a:cubicBezTo>
                <a:moveTo>
                  <a:pt x="425" y="1"/>
                </a:moveTo>
                <a:cubicBezTo>
                  <a:pt x="425" y="1"/>
                  <a:pt x="425" y="1"/>
                  <a:pt x="425" y="1"/>
                </a:cubicBezTo>
                <a:cubicBezTo>
                  <a:pt x="425" y="1"/>
                  <a:pt x="425" y="1"/>
                  <a:pt x="425" y="1"/>
                </a:cubicBezTo>
                <a:moveTo>
                  <a:pt x="426" y="1"/>
                </a:moveTo>
                <a:cubicBezTo>
                  <a:pt x="426" y="1"/>
                  <a:pt x="425" y="1"/>
                  <a:pt x="425" y="1"/>
                </a:cubicBezTo>
                <a:cubicBezTo>
                  <a:pt x="425" y="1"/>
                  <a:pt x="426" y="1"/>
                  <a:pt x="426" y="1"/>
                </a:cubicBezTo>
                <a:moveTo>
                  <a:pt x="426" y="0"/>
                </a:moveTo>
                <a:cubicBezTo>
                  <a:pt x="426" y="1"/>
                  <a:pt x="426" y="1"/>
                  <a:pt x="426" y="1"/>
                </a:cubicBezTo>
                <a:cubicBezTo>
                  <a:pt x="426" y="1"/>
                  <a:pt x="426" y="1"/>
                  <a:pt x="426" y="0"/>
                </a:cubicBezTo>
                <a:moveTo>
                  <a:pt x="427" y="0"/>
                </a:moveTo>
                <a:cubicBezTo>
                  <a:pt x="427" y="0"/>
                  <a:pt x="427" y="0"/>
                  <a:pt x="426" y="0"/>
                </a:cubicBezTo>
                <a:cubicBezTo>
                  <a:pt x="427" y="0"/>
                  <a:pt x="427" y="0"/>
                  <a:pt x="427" y="0"/>
                </a:cubicBezTo>
                <a:moveTo>
                  <a:pt x="428" y="0"/>
                </a:moveTo>
                <a:cubicBezTo>
                  <a:pt x="427" y="0"/>
                  <a:pt x="427" y="0"/>
                  <a:pt x="427" y="0"/>
                </a:cubicBezTo>
                <a:cubicBezTo>
                  <a:pt x="427" y="0"/>
                  <a:pt x="427" y="0"/>
                  <a:pt x="428" y="0"/>
                </a:cubicBezTo>
                <a:moveTo>
                  <a:pt x="428" y="0"/>
                </a:moveTo>
                <a:cubicBezTo>
                  <a:pt x="428" y="0"/>
                  <a:pt x="428" y="0"/>
                  <a:pt x="428" y="0"/>
                </a:cubicBezTo>
                <a:cubicBezTo>
                  <a:pt x="428" y="0"/>
                  <a:pt x="428" y="0"/>
                  <a:pt x="428" y="0"/>
                </a:cubicBezTo>
                <a:moveTo>
                  <a:pt x="429" y="0"/>
                </a:moveTo>
                <a:cubicBezTo>
                  <a:pt x="429" y="0"/>
                  <a:pt x="428" y="0"/>
                  <a:pt x="428" y="0"/>
                </a:cubicBezTo>
                <a:cubicBezTo>
                  <a:pt x="428" y="0"/>
                  <a:pt x="429" y="0"/>
                  <a:pt x="429" y="0"/>
                </a:cubicBezTo>
                <a:moveTo>
                  <a:pt x="429" y="0"/>
                </a:moveTo>
                <a:cubicBezTo>
                  <a:pt x="429" y="0"/>
                  <a:pt x="429" y="0"/>
                  <a:pt x="429" y="0"/>
                </a:cubicBezTo>
                <a:cubicBezTo>
                  <a:pt x="429" y="0"/>
                  <a:pt x="429" y="0"/>
                  <a:pt x="429" y="0"/>
                </a:cubicBezTo>
                <a:moveTo>
                  <a:pt x="430" y="0"/>
                </a:moveTo>
                <a:cubicBezTo>
                  <a:pt x="430" y="0"/>
                  <a:pt x="429" y="0"/>
                  <a:pt x="429" y="0"/>
                </a:cubicBezTo>
                <a:cubicBezTo>
                  <a:pt x="429" y="0"/>
                  <a:pt x="430" y="0"/>
                  <a:pt x="430" y="0"/>
                </a:cubicBezTo>
                <a:moveTo>
                  <a:pt x="430" y="0"/>
                </a:moveTo>
                <a:cubicBezTo>
                  <a:pt x="430" y="0"/>
                  <a:pt x="430" y="0"/>
                  <a:pt x="430" y="0"/>
                </a:cubicBezTo>
                <a:cubicBezTo>
                  <a:pt x="430" y="0"/>
                  <a:pt x="430" y="0"/>
                  <a:pt x="430" y="0"/>
                </a:cubicBezTo>
                <a:moveTo>
                  <a:pt x="431" y="0"/>
                </a:moveTo>
                <a:cubicBezTo>
                  <a:pt x="431" y="0"/>
                  <a:pt x="431" y="0"/>
                  <a:pt x="430" y="0"/>
                </a:cubicBezTo>
                <a:cubicBezTo>
                  <a:pt x="431" y="0"/>
                  <a:pt x="431" y="0"/>
                  <a:pt x="431" y="0"/>
                </a:cubicBezTo>
                <a:moveTo>
                  <a:pt x="432" y="0"/>
                </a:moveTo>
                <a:cubicBezTo>
                  <a:pt x="431" y="0"/>
                  <a:pt x="431" y="0"/>
                  <a:pt x="431" y="0"/>
                </a:cubicBezTo>
                <a:cubicBezTo>
                  <a:pt x="431" y="0"/>
                  <a:pt x="431" y="0"/>
                  <a:pt x="432" y="0"/>
                </a:cubicBezTo>
                <a:moveTo>
                  <a:pt x="433" y="0"/>
                </a:moveTo>
                <a:cubicBezTo>
                  <a:pt x="432" y="0"/>
                  <a:pt x="432" y="0"/>
                  <a:pt x="432" y="0"/>
                </a:cubicBezTo>
                <a:cubicBezTo>
                  <a:pt x="432" y="0"/>
                  <a:pt x="432" y="0"/>
                  <a:pt x="433" y="0"/>
                </a:cubicBezTo>
                <a:moveTo>
                  <a:pt x="433" y="0"/>
                </a:moveTo>
                <a:cubicBezTo>
                  <a:pt x="433" y="0"/>
                  <a:pt x="433" y="0"/>
                  <a:pt x="433" y="0"/>
                </a:cubicBezTo>
                <a:cubicBezTo>
                  <a:pt x="433" y="0"/>
                  <a:pt x="433" y="0"/>
                  <a:pt x="433" y="0"/>
                </a:cubicBezTo>
                <a:moveTo>
                  <a:pt x="434" y="0"/>
                </a:moveTo>
                <a:cubicBezTo>
                  <a:pt x="434" y="0"/>
                  <a:pt x="433" y="0"/>
                  <a:pt x="433" y="0"/>
                </a:cubicBezTo>
                <a:cubicBezTo>
                  <a:pt x="433" y="0"/>
                  <a:pt x="434" y="0"/>
                  <a:pt x="434" y="0"/>
                </a:cubicBezTo>
                <a:moveTo>
                  <a:pt x="437" y="0"/>
                </a:moveTo>
                <a:cubicBezTo>
                  <a:pt x="464" y="1"/>
                  <a:pt x="491" y="3"/>
                  <a:pt x="517" y="7"/>
                </a:cubicBezTo>
                <a:cubicBezTo>
                  <a:pt x="518" y="19"/>
                  <a:pt x="518" y="31"/>
                  <a:pt x="518" y="43"/>
                </a:cubicBezTo>
                <a:cubicBezTo>
                  <a:pt x="518" y="31"/>
                  <a:pt x="518" y="19"/>
                  <a:pt x="517" y="7"/>
                </a:cubicBezTo>
                <a:cubicBezTo>
                  <a:pt x="491" y="3"/>
                  <a:pt x="464" y="1"/>
                  <a:pt x="437" y="0"/>
                </a:cubicBezTo>
                <a:moveTo>
                  <a:pt x="437" y="0"/>
                </a:moveTo>
                <a:cubicBezTo>
                  <a:pt x="437" y="0"/>
                  <a:pt x="437" y="0"/>
                  <a:pt x="437" y="0"/>
                </a:cubicBezTo>
                <a:cubicBezTo>
                  <a:pt x="437" y="0"/>
                  <a:pt x="437" y="0"/>
                  <a:pt x="437" y="0"/>
                </a:cubicBezTo>
                <a:moveTo>
                  <a:pt x="437" y="0"/>
                </a:moveTo>
                <a:cubicBezTo>
                  <a:pt x="437" y="0"/>
                  <a:pt x="437" y="0"/>
                  <a:pt x="437" y="0"/>
                </a:cubicBezTo>
                <a:cubicBezTo>
                  <a:pt x="437" y="0"/>
                  <a:pt x="437" y="0"/>
                  <a:pt x="437" y="0"/>
                </a:cubicBezTo>
                <a:moveTo>
                  <a:pt x="436" y="0"/>
                </a:moveTo>
                <a:cubicBezTo>
                  <a:pt x="436" y="0"/>
                  <a:pt x="436" y="0"/>
                  <a:pt x="436" y="0"/>
                </a:cubicBezTo>
                <a:cubicBezTo>
                  <a:pt x="436" y="0"/>
                  <a:pt x="436" y="0"/>
                  <a:pt x="436" y="0"/>
                </a:cubicBezTo>
                <a:moveTo>
                  <a:pt x="435" y="0"/>
                </a:moveTo>
                <a:cubicBezTo>
                  <a:pt x="435" y="0"/>
                  <a:pt x="434" y="0"/>
                  <a:pt x="434" y="0"/>
                </a:cubicBezTo>
                <a:cubicBezTo>
                  <a:pt x="434" y="0"/>
                  <a:pt x="435" y="0"/>
                  <a:pt x="435" y="0"/>
                </a:cubicBezTo>
                <a:moveTo>
                  <a:pt x="436" y="0"/>
                </a:moveTo>
                <a:cubicBezTo>
                  <a:pt x="436" y="0"/>
                  <a:pt x="436" y="0"/>
                  <a:pt x="436" y="0"/>
                </a:cubicBezTo>
                <a:cubicBezTo>
                  <a:pt x="436" y="0"/>
                  <a:pt x="436" y="0"/>
                  <a:pt x="436" y="0"/>
                </a:cubicBezTo>
                <a:moveTo>
                  <a:pt x="436" y="0"/>
                </a:moveTo>
                <a:cubicBezTo>
                  <a:pt x="435" y="0"/>
                  <a:pt x="435" y="0"/>
                  <a:pt x="435" y="0"/>
                </a:cubicBezTo>
                <a:cubicBezTo>
                  <a:pt x="435" y="0"/>
                  <a:pt x="435" y="0"/>
                  <a:pt x="436" y="0"/>
                </a:cubicBezTo>
              </a:path>
            </a:pathLst>
          </a:custGeom>
          <a:solidFill>
            <a:srgbClr val="88AD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66" name="Freeform 11">
            <a:extLst>
              <a:ext uri="{FF2B5EF4-FFF2-40B4-BE49-F238E27FC236}">
                <a16:creationId xmlns:a16="http://schemas.microsoft.com/office/drawing/2014/main" id="{40E6E84A-BBAE-486D-AF7F-90B8638DB397}"/>
              </a:ext>
            </a:extLst>
          </p:cNvPr>
          <p:cNvSpPr>
            <a:spLocks noEditPoints="1"/>
          </p:cNvSpPr>
          <p:nvPr/>
        </p:nvSpPr>
        <p:spPr bwMode="auto">
          <a:xfrm>
            <a:off x="5637475" y="3749213"/>
            <a:ext cx="425452" cy="631226"/>
          </a:xfrm>
          <a:custGeom>
            <a:avLst/>
            <a:gdLst>
              <a:gd name="T0" fmla="*/ 0 w 122"/>
              <a:gd name="T1" fmla="*/ 162 h 181"/>
              <a:gd name="T2" fmla="*/ 0 w 122"/>
              <a:gd name="T3" fmla="*/ 162 h 181"/>
              <a:gd name="T4" fmla="*/ 0 w 122"/>
              <a:gd name="T5" fmla="*/ 162 h 181"/>
              <a:gd name="T6" fmla="*/ 0 w 122"/>
              <a:gd name="T7" fmla="*/ 162 h 181"/>
              <a:gd name="T8" fmla="*/ 122 w 122"/>
              <a:gd name="T9" fmla="*/ 181 h 181"/>
              <a:gd name="T10" fmla="*/ 122 w 122"/>
              <a:gd name="T11" fmla="*/ 181 h 181"/>
              <a:gd name="T12" fmla="*/ 122 w 122"/>
              <a:gd name="T13" fmla="*/ 181 h 181"/>
              <a:gd name="T14" fmla="*/ 122 w 122"/>
              <a:gd name="T15" fmla="*/ 181 h 181"/>
              <a:gd name="T16" fmla="*/ 122 w 122"/>
              <a:gd name="T17" fmla="*/ 181 h 181"/>
              <a:gd name="T18" fmla="*/ 122 w 122"/>
              <a:gd name="T19" fmla="*/ 181 h 181"/>
              <a:gd name="T20" fmla="*/ 0 w 122"/>
              <a:gd name="T21" fmla="*/ 162 h 181"/>
              <a:gd name="T22" fmla="*/ 0 w 122"/>
              <a:gd name="T23" fmla="*/ 162 h 181"/>
              <a:gd name="T24" fmla="*/ 0 w 122"/>
              <a:gd name="T25" fmla="*/ 162 h 181"/>
              <a:gd name="T26" fmla="*/ 36 w 122"/>
              <a:gd name="T27" fmla="*/ 0 h 181"/>
              <a:gd name="T28" fmla="*/ 36 w 122"/>
              <a:gd name="T29" fmla="*/ 0 h 181"/>
              <a:gd name="T30" fmla="*/ 36 w 122"/>
              <a:gd name="T31" fmla="*/ 0 h 181"/>
              <a:gd name="T32" fmla="*/ 36 w 122"/>
              <a:gd name="T33" fmla="*/ 0 h 181"/>
              <a:gd name="T34" fmla="*/ 36 w 122"/>
              <a:gd name="T35" fmla="*/ 0 h 181"/>
              <a:gd name="T36" fmla="*/ 36 w 122"/>
              <a:gd name="T37" fmla="*/ 0 h 181"/>
              <a:gd name="T38" fmla="*/ 36 w 122"/>
              <a:gd name="T39"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2" h="181">
                <a:moveTo>
                  <a:pt x="0" y="162"/>
                </a:moveTo>
                <a:cubicBezTo>
                  <a:pt x="0" y="162"/>
                  <a:pt x="0" y="162"/>
                  <a:pt x="0" y="162"/>
                </a:cubicBezTo>
                <a:cubicBezTo>
                  <a:pt x="0" y="162"/>
                  <a:pt x="0" y="162"/>
                  <a:pt x="0" y="162"/>
                </a:cubicBezTo>
                <a:cubicBezTo>
                  <a:pt x="0" y="162"/>
                  <a:pt x="0" y="162"/>
                  <a:pt x="0" y="162"/>
                </a:cubicBezTo>
                <a:cubicBezTo>
                  <a:pt x="39" y="174"/>
                  <a:pt x="80" y="181"/>
                  <a:pt x="122" y="181"/>
                </a:cubicBezTo>
                <a:cubicBezTo>
                  <a:pt x="122" y="181"/>
                  <a:pt x="122" y="181"/>
                  <a:pt x="122" y="181"/>
                </a:cubicBezTo>
                <a:cubicBezTo>
                  <a:pt x="122" y="181"/>
                  <a:pt x="122" y="181"/>
                  <a:pt x="122" y="181"/>
                </a:cubicBezTo>
                <a:cubicBezTo>
                  <a:pt x="122" y="181"/>
                  <a:pt x="122" y="181"/>
                  <a:pt x="122" y="181"/>
                </a:cubicBezTo>
                <a:cubicBezTo>
                  <a:pt x="122" y="181"/>
                  <a:pt x="122" y="181"/>
                  <a:pt x="122" y="181"/>
                </a:cubicBezTo>
                <a:cubicBezTo>
                  <a:pt x="122" y="181"/>
                  <a:pt x="122" y="181"/>
                  <a:pt x="122" y="181"/>
                </a:cubicBezTo>
                <a:cubicBezTo>
                  <a:pt x="80" y="181"/>
                  <a:pt x="39" y="174"/>
                  <a:pt x="0" y="162"/>
                </a:cubicBezTo>
                <a:cubicBezTo>
                  <a:pt x="0" y="162"/>
                  <a:pt x="0" y="162"/>
                  <a:pt x="0" y="162"/>
                </a:cubicBezTo>
                <a:cubicBezTo>
                  <a:pt x="0" y="162"/>
                  <a:pt x="0" y="162"/>
                  <a:pt x="0" y="162"/>
                </a:cubicBezTo>
                <a:moveTo>
                  <a:pt x="36" y="0"/>
                </a:moveTo>
                <a:cubicBezTo>
                  <a:pt x="36" y="0"/>
                  <a:pt x="36" y="0"/>
                  <a:pt x="36" y="0"/>
                </a:cubicBezTo>
                <a:cubicBezTo>
                  <a:pt x="36" y="0"/>
                  <a:pt x="36" y="0"/>
                  <a:pt x="36" y="0"/>
                </a:cubicBezTo>
                <a:cubicBezTo>
                  <a:pt x="36" y="0"/>
                  <a:pt x="36" y="0"/>
                  <a:pt x="36" y="0"/>
                </a:cubicBezTo>
                <a:cubicBezTo>
                  <a:pt x="36" y="0"/>
                  <a:pt x="36" y="0"/>
                  <a:pt x="36" y="0"/>
                </a:cubicBezTo>
                <a:cubicBezTo>
                  <a:pt x="36" y="0"/>
                  <a:pt x="36" y="0"/>
                  <a:pt x="36" y="0"/>
                </a:cubicBezTo>
                <a:cubicBezTo>
                  <a:pt x="36" y="0"/>
                  <a:pt x="36" y="0"/>
                  <a:pt x="36" y="0"/>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67" name="Freeform 12">
            <a:extLst>
              <a:ext uri="{FF2B5EF4-FFF2-40B4-BE49-F238E27FC236}">
                <a16:creationId xmlns:a16="http://schemas.microsoft.com/office/drawing/2014/main" id="{EFDD4B39-554E-41DC-8191-6880C361FE36}"/>
              </a:ext>
            </a:extLst>
          </p:cNvPr>
          <p:cNvSpPr>
            <a:spLocks/>
          </p:cNvSpPr>
          <p:nvPr/>
        </p:nvSpPr>
        <p:spPr bwMode="auto">
          <a:xfrm>
            <a:off x="4280478" y="3137452"/>
            <a:ext cx="3456448" cy="5305633"/>
          </a:xfrm>
          <a:custGeom>
            <a:avLst/>
            <a:gdLst>
              <a:gd name="T0" fmla="*/ 991 w 991"/>
              <a:gd name="T1" fmla="*/ 396 h 1520"/>
              <a:gd name="T2" fmla="*/ 788 w 991"/>
              <a:gd name="T3" fmla="*/ 606 h 1520"/>
              <a:gd name="T4" fmla="*/ 799 w 991"/>
              <a:gd name="T5" fmla="*/ 486 h 1520"/>
              <a:gd name="T6" fmla="*/ 761 w 991"/>
              <a:gd name="T7" fmla="*/ 616 h 1520"/>
              <a:gd name="T8" fmla="*/ 759 w 991"/>
              <a:gd name="T9" fmla="*/ 617 h 1520"/>
              <a:gd name="T10" fmla="*/ 757 w 991"/>
              <a:gd name="T11" fmla="*/ 624 h 1520"/>
              <a:gd name="T12" fmla="*/ 524 w 991"/>
              <a:gd name="T13" fmla="*/ 742 h 1520"/>
              <a:gd name="T14" fmla="*/ 524 w 991"/>
              <a:gd name="T15" fmla="*/ 740 h 1520"/>
              <a:gd name="T16" fmla="*/ 519 w 991"/>
              <a:gd name="T17" fmla="*/ 732 h 1520"/>
              <a:gd name="T18" fmla="*/ 575 w 991"/>
              <a:gd name="T19" fmla="*/ 52 h 1520"/>
              <a:gd name="T20" fmla="*/ 581 w 991"/>
              <a:gd name="T21" fmla="*/ 266 h 1520"/>
              <a:gd name="T22" fmla="*/ 581 w 991"/>
              <a:gd name="T23" fmla="*/ 229 h 1520"/>
              <a:gd name="T24" fmla="*/ 387 w 991"/>
              <a:gd name="T25" fmla="*/ 0 h 1520"/>
              <a:gd name="T26" fmla="*/ 580 w 991"/>
              <a:gd name="T27" fmla="*/ 287 h 1520"/>
              <a:gd name="T28" fmla="*/ 490 w 991"/>
              <a:gd name="T29" fmla="*/ 695 h 1520"/>
              <a:gd name="T30" fmla="*/ 277 w 991"/>
              <a:gd name="T31" fmla="*/ 486 h 1520"/>
              <a:gd name="T32" fmla="*/ 277 w 991"/>
              <a:gd name="T33" fmla="*/ 486 h 1520"/>
              <a:gd name="T34" fmla="*/ 108 w 991"/>
              <a:gd name="T35" fmla="*/ 396 h 1520"/>
              <a:gd name="T36" fmla="*/ 252 w 991"/>
              <a:gd name="T37" fmla="*/ 500 h 1520"/>
              <a:gd name="T38" fmla="*/ 0 w 991"/>
              <a:gd name="T39" fmla="*/ 500 h 1520"/>
              <a:gd name="T40" fmla="*/ 279 w 991"/>
              <a:gd name="T41" fmla="*/ 523 h 1520"/>
              <a:gd name="T42" fmla="*/ 446 w 991"/>
              <a:gd name="T43" fmla="*/ 752 h 1520"/>
              <a:gd name="T44" fmla="*/ 447 w 991"/>
              <a:gd name="T45" fmla="*/ 1520 h 1520"/>
              <a:gd name="T46" fmla="*/ 486 w 991"/>
              <a:gd name="T47" fmla="*/ 1520 h 1520"/>
              <a:gd name="T48" fmla="*/ 524 w 991"/>
              <a:gd name="T49" fmla="*/ 1520 h 1520"/>
              <a:gd name="T50" fmla="*/ 593 w 991"/>
              <a:gd name="T51" fmla="*/ 1520 h 1520"/>
              <a:gd name="T52" fmla="*/ 584 w 991"/>
              <a:gd name="T53" fmla="*/ 835 h 1520"/>
              <a:gd name="T54" fmla="*/ 770 w 991"/>
              <a:gd name="T55" fmla="*/ 655 h 1520"/>
              <a:gd name="T56" fmla="*/ 991 w 991"/>
              <a:gd name="T57" fmla="*/ 396 h 15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91" h="1520">
                <a:moveTo>
                  <a:pt x="991" y="396"/>
                </a:moveTo>
                <a:cubicBezTo>
                  <a:pt x="991" y="396"/>
                  <a:pt x="965" y="531"/>
                  <a:pt x="788" y="606"/>
                </a:cubicBezTo>
                <a:cubicBezTo>
                  <a:pt x="808" y="538"/>
                  <a:pt x="799" y="486"/>
                  <a:pt x="799" y="486"/>
                </a:cubicBezTo>
                <a:cubicBezTo>
                  <a:pt x="791" y="539"/>
                  <a:pt x="778" y="582"/>
                  <a:pt x="761" y="616"/>
                </a:cubicBezTo>
                <a:cubicBezTo>
                  <a:pt x="760" y="616"/>
                  <a:pt x="760" y="617"/>
                  <a:pt x="759" y="617"/>
                </a:cubicBezTo>
                <a:cubicBezTo>
                  <a:pt x="757" y="624"/>
                  <a:pt x="757" y="624"/>
                  <a:pt x="757" y="624"/>
                </a:cubicBezTo>
                <a:cubicBezTo>
                  <a:pt x="690" y="753"/>
                  <a:pt x="575" y="750"/>
                  <a:pt x="524" y="742"/>
                </a:cubicBezTo>
                <a:cubicBezTo>
                  <a:pt x="524" y="740"/>
                  <a:pt x="524" y="740"/>
                  <a:pt x="524" y="740"/>
                </a:cubicBezTo>
                <a:cubicBezTo>
                  <a:pt x="524" y="740"/>
                  <a:pt x="522" y="737"/>
                  <a:pt x="519" y="732"/>
                </a:cubicBezTo>
                <a:cubicBezTo>
                  <a:pt x="676" y="291"/>
                  <a:pt x="575" y="52"/>
                  <a:pt x="575" y="52"/>
                </a:cubicBezTo>
                <a:cubicBezTo>
                  <a:pt x="583" y="128"/>
                  <a:pt x="584" y="200"/>
                  <a:pt x="581" y="266"/>
                </a:cubicBezTo>
                <a:cubicBezTo>
                  <a:pt x="581" y="229"/>
                  <a:pt x="581" y="229"/>
                  <a:pt x="581" y="229"/>
                </a:cubicBezTo>
                <a:cubicBezTo>
                  <a:pt x="467" y="174"/>
                  <a:pt x="387" y="0"/>
                  <a:pt x="387" y="0"/>
                </a:cubicBezTo>
                <a:cubicBezTo>
                  <a:pt x="432" y="164"/>
                  <a:pt x="567" y="276"/>
                  <a:pt x="580" y="287"/>
                </a:cubicBezTo>
                <a:cubicBezTo>
                  <a:pt x="567" y="503"/>
                  <a:pt x="509" y="652"/>
                  <a:pt x="490" y="695"/>
                </a:cubicBezTo>
                <a:cubicBezTo>
                  <a:pt x="448" y="643"/>
                  <a:pt x="371" y="555"/>
                  <a:pt x="277" y="486"/>
                </a:cubicBezTo>
                <a:cubicBezTo>
                  <a:pt x="277" y="486"/>
                  <a:pt x="277" y="486"/>
                  <a:pt x="277" y="486"/>
                </a:cubicBezTo>
                <a:cubicBezTo>
                  <a:pt x="225" y="447"/>
                  <a:pt x="168" y="414"/>
                  <a:pt x="108" y="396"/>
                </a:cubicBezTo>
                <a:cubicBezTo>
                  <a:pt x="108" y="396"/>
                  <a:pt x="175" y="434"/>
                  <a:pt x="252" y="500"/>
                </a:cubicBezTo>
                <a:cubicBezTo>
                  <a:pt x="163" y="536"/>
                  <a:pt x="0" y="500"/>
                  <a:pt x="0" y="500"/>
                </a:cubicBezTo>
                <a:cubicBezTo>
                  <a:pt x="84" y="554"/>
                  <a:pt x="218" y="536"/>
                  <a:pt x="279" y="523"/>
                </a:cubicBezTo>
                <a:cubicBezTo>
                  <a:pt x="345" y="584"/>
                  <a:pt x="413" y="662"/>
                  <a:pt x="446" y="752"/>
                </a:cubicBezTo>
                <a:cubicBezTo>
                  <a:pt x="524" y="960"/>
                  <a:pt x="447" y="1520"/>
                  <a:pt x="447" y="1520"/>
                </a:cubicBezTo>
                <a:cubicBezTo>
                  <a:pt x="486" y="1520"/>
                  <a:pt x="486" y="1520"/>
                  <a:pt x="486" y="1520"/>
                </a:cubicBezTo>
                <a:cubicBezTo>
                  <a:pt x="524" y="1520"/>
                  <a:pt x="524" y="1520"/>
                  <a:pt x="524" y="1520"/>
                </a:cubicBezTo>
                <a:cubicBezTo>
                  <a:pt x="593" y="1520"/>
                  <a:pt x="593" y="1520"/>
                  <a:pt x="593" y="1520"/>
                </a:cubicBezTo>
                <a:cubicBezTo>
                  <a:pt x="552" y="1147"/>
                  <a:pt x="574" y="909"/>
                  <a:pt x="584" y="835"/>
                </a:cubicBezTo>
                <a:cubicBezTo>
                  <a:pt x="686" y="784"/>
                  <a:pt x="740" y="717"/>
                  <a:pt x="770" y="655"/>
                </a:cubicBezTo>
                <a:cubicBezTo>
                  <a:pt x="825" y="626"/>
                  <a:pt x="971" y="535"/>
                  <a:pt x="991" y="396"/>
                </a:cubicBezTo>
              </a:path>
            </a:pathLst>
          </a:custGeom>
          <a:solidFill>
            <a:srgbClr val="8575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68" name="Freeform 13">
            <a:extLst>
              <a:ext uri="{FF2B5EF4-FFF2-40B4-BE49-F238E27FC236}">
                <a16:creationId xmlns:a16="http://schemas.microsoft.com/office/drawing/2014/main" id="{E1E7E4F1-DF95-47D4-83BA-0D172FA2A14E}"/>
              </a:ext>
            </a:extLst>
          </p:cNvPr>
          <p:cNvSpPr>
            <a:spLocks noEditPoints="1"/>
          </p:cNvSpPr>
          <p:nvPr/>
        </p:nvSpPr>
        <p:spPr bwMode="auto">
          <a:xfrm>
            <a:off x="5637475" y="4380438"/>
            <a:ext cx="0" cy="22246"/>
          </a:xfrm>
          <a:custGeom>
            <a:avLst/>
            <a:gdLst>
              <a:gd name="T0" fmla="*/ 6 h 6"/>
              <a:gd name="T1" fmla="*/ 6 h 6"/>
              <a:gd name="T2" fmla="*/ 6 h 6"/>
              <a:gd name="T3" fmla="*/ 5 h 6"/>
              <a:gd name="T4" fmla="*/ 5 h 6"/>
              <a:gd name="T5" fmla="*/ 5 h 6"/>
              <a:gd name="T6" fmla="*/ 4 h 6"/>
              <a:gd name="T7" fmla="*/ 4 h 6"/>
              <a:gd name="T8" fmla="*/ 4 h 6"/>
              <a:gd name="T9" fmla="*/ 3 h 6"/>
              <a:gd name="T10" fmla="*/ 3 h 6"/>
              <a:gd name="T11" fmla="*/ 3 h 6"/>
              <a:gd name="T12" fmla="*/ 3 h 6"/>
              <a:gd name="T13" fmla="*/ 3 h 6"/>
              <a:gd name="T14" fmla="*/ 3 h 6"/>
              <a:gd name="T15" fmla="*/ 2 h 6"/>
              <a:gd name="T16" fmla="*/ 2 h 6"/>
              <a:gd name="T17" fmla="*/ 2 h 6"/>
              <a:gd name="T18" fmla="*/ 2 h 6"/>
              <a:gd name="T19" fmla="*/ 2 h 6"/>
              <a:gd name="T20" fmla="*/ 2 h 6"/>
              <a:gd name="T21" fmla="*/ 1 h 6"/>
              <a:gd name="T22" fmla="*/ 1 h 6"/>
              <a:gd name="T23" fmla="*/ 1 h 6"/>
              <a:gd name="T24" fmla="*/ 0 h 6"/>
              <a:gd name="T25" fmla="*/ 1 h 6"/>
              <a:gd name="T26" fmla="*/ 0 h 6"/>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 ang="0">
                <a:pos x="0" y="T12"/>
              </a:cxn>
              <a:cxn ang="0">
                <a:pos x="0" y="T13"/>
              </a:cxn>
              <a:cxn ang="0">
                <a:pos x="0" y="T14"/>
              </a:cxn>
              <a:cxn ang="0">
                <a:pos x="0" y="T15"/>
              </a:cxn>
              <a:cxn ang="0">
                <a:pos x="0" y="T16"/>
              </a:cxn>
              <a:cxn ang="0">
                <a:pos x="0" y="T17"/>
              </a:cxn>
              <a:cxn ang="0">
                <a:pos x="0" y="T18"/>
              </a:cxn>
              <a:cxn ang="0">
                <a:pos x="0" y="T19"/>
              </a:cxn>
              <a:cxn ang="0">
                <a:pos x="0" y="T20"/>
              </a:cxn>
              <a:cxn ang="0">
                <a:pos x="0" y="T21"/>
              </a:cxn>
              <a:cxn ang="0">
                <a:pos x="0" y="T22"/>
              </a:cxn>
              <a:cxn ang="0">
                <a:pos x="0" y="T23"/>
              </a:cxn>
              <a:cxn ang="0">
                <a:pos x="0" y="T24"/>
              </a:cxn>
              <a:cxn ang="0">
                <a:pos x="0" y="T25"/>
              </a:cxn>
              <a:cxn ang="0">
                <a:pos x="0" y="T26"/>
              </a:cxn>
            </a:cxnLst>
            <a:rect l="0" t="0" r="r" b="b"/>
            <a:pathLst>
              <a:path h="6">
                <a:moveTo>
                  <a:pt x="0" y="6"/>
                </a:moveTo>
                <a:cubicBezTo>
                  <a:pt x="0" y="6"/>
                  <a:pt x="0" y="6"/>
                  <a:pt x="0" y="6"/>
                </a:cubicBezTo>
                <a:cubicBezTo>
                  <a:pt x="0" y="6"/>
                  <a:pt x="0" y="6"/>
                  <a:pt x="0" y="6"/>
                </a:cubicBezTo>
                <a:moveTo>
                  <a:pt x="0" y="5"/>
                </a:moveTo>
                <a:cubicBezTo>
                  <a:pt x="0" y="5"/>
                  <a:pt x="0" y="5"/>
                  <a:pt x="0" y="5"/>
                </a:cubicBezTo>
                <a:cubicBezTo>
                  <a:pt x="0" y="5"/>
                  <a:pt x="0" y="5"/>
                  <a:pt x="0" y="5"/>
                </a:cubicBezTo>
                <a:moveTo>
                  <a:pt x="0" y="4"/>
                </a:moveTo>
                <a:cubicBezTo>
                  <a:pt x="0" y="4"/>
                  <a:pt x="0" y="4"/>
                  <a:pt x="0" y="4"/>
                </a:cubicBezTo>
                <a:cubicBezTo>
                  <a:pt x="0" y="4"/>
                  <a:pt x="0" y="4"/>
                  <a:pt x="0" y="4"/>
                </a:cubicBezTo>
                <a:moveTo>
                  <a:pt x="0" y="3"/>
                </a:moveTo>
                <a:cubicBezTo>
                  <a:pt x="0" y="3"/>
                  <a:pt x="0" y="3"/>
                  <a:pt x="0" y="3"/>
                </a:cubicBezTo>
                <a:cubicBezTo>
                  <a:pt x="0" y="3"/>
                  <a:pt x="0" y="3"/>
                  <a:pt x="0" y="3"/>
                </a:cubicBezTo>
                <a:moveTo>
                  <a:pt x="0" y="3"/>
                </a:moveTo>
                <a:cubicBezTo>
                  <a:pt x="0" y="3"/>
                  <a:pt x="0" y="3"/>
                  <a:pt x="0" y="3"/>
                </a:cubicBezTo>
                <a:cubicBezTo>
                  <a:pt x="0" y="3"/>
                  <a:pt x="0" y="3"/>
                  <a:pt x="0" y="3"/>
                </a:cubicBezTo>
                <a:moveTo>
                  <a:pt x="0" y="2"/>
                </a:moveTo>
                <a:cubicBezTo>
                  <a:pt x="0" y="2"/>
                  <a:pt x="0" y="2"/>
                  <a:pt x="0" y="2"/>
                </a:cubicBezTo>
                <a:cubicBezTo>
                  <a:pt x="0" y="2"/>
                  <a:pt x="0" y="2"/>
                  <a:pt x="0" y="2"/>
                </a:cubicBezTo>
                <a:moveTo>
                  <a:pt x="0" y="2"/>
                </a:moveTo>
                <a:cubicBezTo>
                  <a:pt x="0" y="2"/>
                  <a:pt x="0" y="2"/>
                  <a:pt x="0" y="2"/>
                </a:cubicBezTo>
                <a:cubicBezTo>
                  <a:pt x="0" y="2"/>
                  <a:pt x="0" y="2"/>
                  <a:pt x="0" y="2"/>
                </a:cubicBezTo>
                <a:moveTo>
                  <a:pt x="0" y="1"/>
                </a:moveTo>
                <a:cubicBezTo>
                  <a:pt x="0" y="1"/>
                  <a:pt x="0" y="1"/>
                  <a:pt x="0" y="1"/>
                </a:cubicBezTo>
                <a:cubicBezTo>
                  <a:pt x="0" y="1"/>
                  <a:pt x="0" y="1"/>
                  <a:pt x="0" y="1"/>
                </a:cubicBezTo>
                <a:moveTo>
                  <a:pt x="0" y="0"/>
                </a:moveTo>
                <a:cubicBezTo>
                  <a:pt x="0" y="1"/>
                  <a:pt x="0" y="1"/>
                  <a:pt x="0" y="1"/>
                </a:cubicBezTo>
                <a:cubicBezTo>
                  <a:pt x="0" y="1"/>
                  <a:pt x="0" y="1"/>
                  <a:pt x="0" y="0"/>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69" name="Freeform 14">
            <a:extLst>
              <a:ext uri="{FF2B5EF4-FFF2-40B4-BE49-F238E27FC236}">
                <a16:creationId xmlns:a16="http://schemas.microsoft.com/office/drawing/2014/main" id="{C4261CAA-C998-4805-BF15-4FDC05C37541}"/>
              </a:ext>
            </a:extLst>
          </p:cNvPr>
          <p:cNvSpPr>
            <a:spLocks noEditPoints="1"/>
          </p:cNvSpPr>
          <p:nvPr/>
        </p:nvSpPr>
        <p:spPr bwMode="auto">
          <a:xfrm>
            <a:off x="6079612" y="4586212"/>
            <a:ext cx="0" cy="13904"/>
          </a:xfrm>
          <a:custGeom>
            <a:avLst/>
            <a:gdLst>
              <a:gd name="T0" fmla="*/ 4 h 4"/>
              <a:gd name="T1" fmla="*/ 4 h 4"/>
              <a:gd name="T2" fmla="*/ 4 h 4"/>
              <a:gd name="T3" fmla="*/ 4 h 4"/>
              <a:gd name="T4" fmla="*/ 4 h 4"/>
              <a:gd name="T5" fmla="*/ 4 h 4"/>
              <a:gd name="T6" fmla="*/ 3 h 4"/>
              <a:gd name="T7" fmla="*/ 3 h 4"/>
              <a:gd name="T8" fmla="*/ 3 h 4"/>
              <a:gd name="T9" fmla="*/ 3 h 4"/>
              <a:gd name="T10" fmla="*/ 3 h 4"/>
              <a:gd name="T11" fmla="*/ 3 h 4"/>
              <a:gd name="T12" fmla="*/ 2 h 4"/>
              <a:gd name="T13" fmla="*/ 2 h 4"/>
              <a:gd name="T14" fmla="*/ 2 h 4"/>
              <a:gd name="T15" fmla="*/ 2 h 4"/>
              <a:gd name="T16" fmla="*/ 2 h 4"/>
              <a:gd name="T17" fmla="*/ 2 h 4"/>
              <a:gd name="T18" fmla="*/ 1 h 4"/>
              <a:gd name="T19" fmla="*/ 1 h 4"/>
              <a:gd name="T20" fmla="*/ 1 h 4"/>
              <a:gd name="T21" fmla="*/ 1 h 4"/>
              <a:gd name="T22" fmla="*/ 1 h 4"/>
              <a:gd name="T23" fmla="*/ 1 h 4"/>
              <a:gd name="T24" fmla="*/ 0 h 4"/>
              <a:gd name="T25" fmla="*/ 0 h 4"/>
              <a:gd name="T26" fmla="*/ 0 h 4"/>
              <a:gd name="T27" fmla="*/ 0 h 4"/>
              <a:gd name="T28" fmla="*/ 0 h 4"/>
              <a:gd name="T29" fmla="*/ 0 h 4"/>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 ang="0">
                <a:pos x="0" y="T12"/>
              </a:cxn>
              <a:cxn ang="0">
                <a:pos x="0" y="T13"/>
              </a:cxn>
              <a:cxn ang="0">
                <a:pos x="0" y="T14"/>
              </a:cxn>
              <a:cxn ang="0">
                <a:pos x="0" y="T15"/>
              </a:cxn>
              <a:cxn ang="0">
                <a:pos x="0" y="T16"/>
              </a:cxn>
              <a:cxn ang="0">
                <a:pos x="0" y="T17"/>
              </a:cxn>
              <a:cxn ang="0">
                <a:pos x="0" y="T18"/>
              </a:cxn>
              <a:cxn ang="0">
                <a:pos x="0" y="T19"/>
              </a:cxn>
              <a:cxn ang="0">
                <a:pos x="0" y="T20"/>
              </a:cxn>
              <a:cxn ang="0">
                <a:pos x="0" y="T21"/>
              </a:cxn>
              <a:cxn ang="0">
                <a:pos x="0" y="T22"/>
              </a:cxn>
              <a:cxn ang="0">
                <a:pos x="0" y="T23"/>
              </a:cxn>
              <a:cxn ang="0">
                <a:pos x="0" y="T24"/>
              </a:cxn>
              <a:cxn ang="0">
                <a:pos x="0" y="T25"/>
              </a:cxn>
              <a:cxn ang="0">
                <a:pos x="0" y="T26"/>
              </a:cxn>
              <a:cxn ang="0">
                <a:pos x="0" y="T27"/>
              </a:cxn>
              <a:cxn ang="0">
                <a:pos x="0" y="T28"/>
              </a:cxn>
              <a:cxn ang="0">
                <a:pos x="0" y="T29"/>
              </a:cxn>
            </a:cxnLst>
            <a:rect l="0" t="0" r="r" b="b"/>
            <a:pathLst>
              <a:path h="4">
                <a:moveTo>
                  <a:pt x="0" y="4"/>
                </a:moveTo>
                <a:cubicBezTo>
                  <a:pt x="0" y="4"/>
                  <a:pt x="0" y="4"/>
                  <a:pt x="0" y="4"/>
                </a:cubicBezTo>
                <a:cubicBezTo>
                  <a:pt x="0" y="4"/>
                  <a:pt x="0" y="4"/>
                  <a:pt x="0" y="4"/>
                </a:cubicBezTo>
                <a:moveTo>
                  <a:pt x="0" y="4"/>
                </a:moveTo>
                <a:cubicBezTo>
                  <a:pt x="0" y="4"/>
                  <a:pt x="0" y="4"/>
                  <a:pt x="0" y="4"/>
                </a:cubicBezTo>
                <a:cubicBezTo>
                  <a:pt x="0" y="4"/>
                  <a:pt x="0" y="4"/>
                  <a:pt x="0" y="4"/>
                </a:cubicBezTo>
                <a:moveTo>
                  <a:pt x="0" y="3"/>
                </a:moveTo>
                <a:cubicBezTo>
                  <a:pt x="0" y="3"/>
                  <a:pt x="0" y="3"/>
                  <a:pt x="0" y="3"/>
                </a:cubicBezTo>
                <a:cubicBezTo>
                  <a:pt x="0" y="3"/>
                  <a:pt x="0" y="3"/>
                  <a:pt x="0" y="3"/>
                </a:cubicBezTo>
                <a:moveTo>
                  <a:pt x="0" y="3"/>
                </a:moveTo>
                <a:cubicBezTo>
                  <a:pt x="0" y="3"/>
                  <a:pt x="0" y="3"/>
                  <a:pt x="0" y="3"/>
                </a:cubicBezTo>
                <a:cubicBezTo>
                  <a:pt x="0" y="3"/>
                  <a:pt x="0" y="3"/>
                  <a:pt x="0" y="3"/>
                </a:cubicBezTo>
                <a:moveTo>
                  <a:pt x="0" y="2"/>
                </a:moveTo>
                <a:cubicBezTo>
                  <a:pt x="0" y="2"/>
                  <a:pt x="0" y="2"/>
                  <a:pt x="0" y="2"/>
                </a:cubicBezTo>
                <a:cubicBezTo>
                  <a:pt x="0" y="2"/>
                  <a:pt x="0" y="2"/>
                  <a:pt x="0" y="2"/>
                </a:cubicBezTo>
                <a:moveTo>
                  <a:pt x="0" y="2"/>
                </a:moveTo>
                <a:cubicBezTo>
                  <a:pt x="0" y="2"/>
                  <a:pt x="0" y="2"/>
                  <a:pt x="0" y="2"/>
                </a:cubicBezTo>
                <a:cubicBezTo>
                  <a:pt x="0" y="2"/>
                  <a:pt x="0" y="2"/>
                  <a:pt x="0" y="2"/>
                </a:cubicBezTo>
                <a:moveTo>
                  <a:pt x="0" y="1"/>
                </a:moveTo>
                <a:cubicBezTo>
                  <a:pt x="0" y="1"/>
                  <a:pt x="0" y="1"/>
                  <a:pt x="0" y="1"/>
                </a:cubicBezTo>
                <a:cubicBezTo>
                  <a:pt x="0" y="1"/>
                  <a:pt x="0" y="1"/>
                  <a:pt x="0" y="1"/>
                </a:cubicBezTo>
                <a:moveTo>
                  <a:pt x="0" y="1"/>
                </a:moveTo>
                <a:cubicBezTo>
                  <a:pt x="0" y="1"/>
                  <a:pt x="0" y="1"/>
                  <a:pt x="0" y="1"/>
                </a:cubicBezTo>
                <a:cubicBezTo>
                  <a:pt x="0" y="1"/>
                  <a:pt x="0" y="1"/>
                  <a:pt x="0" y="1"/>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path>
            </a:pathLst>
          </a:custGeom>
          <a:solidFill>
            <a:srgbClr val="BAD25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70" name="Freeform 15">
            <a:extLst>
              <a:ext uri="{FF2B5EF4-FFF2-40B4-BE49-F238E27FC236}">
                <a16:creationId xmlns:a16="http://schemas.microsoft.com/office/drawing/2014/main" id="{7C1A911B-DBAF-41F5-9AE1-38CA42AE8CA0}"/>
              </a:ext>
            </a:extLst>
          </p:cNvPr>
          <p:cNvSpPr>
            <a:spLocks noEditPoints="1"/>
          </p:cNvSpPr>
          <p:nvPr/>
        </p:nvSpPr>
        <p:spPr bwMode="auto">
          <a:xfrm>
            <a:off x="5637475" y="4313701"/>
            <a:ext cx="442136" cy="942668"/>
          </a:xfrm>
          <a:custGeom>
            <a:avLst/>
            <a:gdLst>
              <a:gd name="T0" fmla="*/ 81 w 127"/>
              <a:gd name="T1" fmla="*/ 241 h 270"/>
              <a:gd name="T2" fmla="*/ 60 w 127"/>
              <a:gd name="T3" fmla="*/ 238 h 270"/>
              <a:gd name="T4" fmla="*/ 61 w 127"/>
              <a:gd name="T5" fmla="*/ 239 h 270"/>
              <a:gd name="T6" fmla="*/ 111 w 127"/>
              <a:gd name="T7" fmla="*/ 166 h 270"/>
              <a:gd name="T8" fmla="*/ 53 w 127"/>
              <a:gd name="T9" fmla="*/ 224 h 270"/>
              <a:gd name="T10" fmla="*/ 116 w 127"/>
              <a:gd name="T11" fmla="*/ 141 h 270"/>
              <a:gd name="T12" fmla="*/ 39 w 127"/>
              <a:gd name="T13" fmla="*/ 195 h 270"/>
              <a:gd name="T14" fmla="*/ 39 w 127"/>
              <a:gd name="T15" fmla="*/ 196 h 270"/>
              <a:gd name="T16" fmla="*/ 121 w 127"/>
              <a:gd name="T17" fmla="*/ 91 h 270"/>
              <a:gd name="T18" fmla="*/ 33 w 127"/>
              <a:gd name="T19" fmla="*/ 179 h 270"/>
              <a:gd name="T20" fmla="*/ 121 w 127"/>
              <a:gd name="T21" fmla="*/ 71 h 270"/>
              <a:gd name="T22" fmla="*/ 22 w 127"/>
              <a:gd name="T23" fmla="*/ 146 h 270"/>
              <a:gd name="T24" fmla="*/ 22 w 127"/>
              <a:gd name="T25" fmla="*/ 148 h 270"/>
              <a:gd name="T26" fmla="*/ 13 w 127"/>
              <a:gd name="T27" fmla="*/ 48 h 270"/>
              <a:gd name="T28" fmla="*/ 12 w 127"/>
              <a:gd name="T29" fmla="*/ 48 h 270"/>
              <a:gd name="T30" fmla="*/ 8 w 127"/>
              <a:gd name="T31" fmla="*/ 75 h 270"/>
              <a:gd name="T32" fmla="*/ 55 w 127"/>
              <a:gd name="T33" fmla="*/ 48 h 270"/>
              <a:gd name="T34" fmla="*/ 11 w 127"/>
              <a:gd name="T35" fmla="*/ 93 h 270"/>
              <a:gd name="T36" fmla="*/ 78 w 127"/>
              <a:gd name="T37" fmla="*/ 48 h 270"/>
              <a:gd name="T38" fmla="*/ 77 w 127"/>
              <a:gd name="T39" fmla="*/ 48 h 270"/>
              <a:gd name="T40" fmla="*/ 18 w 127"/>
              <a:gd name="T41" fmla="*/ 130 h 270"/>
              <a:gd name="T42" fmla="*/ 99 w 127"/>
              <a:gd name="T43" fmla="*/ 48 h 270"/>
              <a:gd name="T44" fmla="*/ 100 w 127"/>
              <a:gd name="T45" fmla="*/ 48 h 270"/>
              <a:gd name="T46" fmla="*/ 96 w 127"/>
              <a:gd name="T47" fmla="*/ 29 h 270"/>
              <a:gd name="T48" fmla="*/ 77 w 127"/>
              <a:gd name="T49" fmla="*/ 48 h 270"/>
              <a:gd name="T50" fmla="*/ 77 w 127"/>
              <a:gd name="T51" fmla="*/ 28 h 270"/>
              <a:gd name="T52" fmla="*/ 33 w 127"/>
              <a:gd name="T53" fmla="*/ 48 h 270"/>
              <a:gd name="T54" fmla="*/ 35 w 127"/>
              <a:gd name="T55" fmla="*/ 48 h 270"/>
              <a:gd name="T56" fmla="*/ 39 w 127"/>
              <a:gd name="T57" fmla="*/ 21 h 270"/>
              <a:gd name="T58" fmla="*/ 12 w 127"/>
              <a:gd name="T59" fmla="*/ 48 h 270"/>
              <a:gd name="T60" fmla="*/ 22 w 127"/>
              <a:gd name="T61" fmla="*/ 18 h 270"/>
              <a:gd name="T62" fmla="*/ 0 w 127"/>
              <a:gd name="T63" fmla="*/ 0 h 270"/>
              <a:gd name="T64" fmla="*/ 0 w 127"/>
              <a:gd name="T65" fmla="*/ 19 h 270"/>
              <a:gd name="T66" fmla="*/ 0 w 127"/>
              <a:gd name="T67" fmla="*/ 20 h 270"/>
              <a:gd name="T68" fmla="*/ 0 w 127"/>
              <a:gd name="T69" fmla="*/ 21 h 270"/>
              <a:gd name="T70" fmla="*/ 0 w 127"/>
              <a:gd name="T71" fmla="*/ 22 h 270"/>
              <a:gd name="T72" fmla="*/ 0 w 127"/>
              <a:gd name="T73" fmla="*/ 23 h 270"/>
              <a:gd name="T74" fmla="*/ 0 w 127"/>
              <a:gd name="T75" fmla="*/ 24 h 270"/>
              <a:gd name="T76" fmla="*/ 72 w 127"/>
              <a:gd name="T77" fmla="*/ 270 h 270"/>
              <a:gd name="T78" fmla="*/ 127 w 127"/>
              <a:gd name="T79" fmla="*/ 82 h 270"/>
              <a:gd name="T80" fmla="*/ 127 w 127"/>
              <a:gd name="T81" fmla="*/ 81 h 270"/>
              <a:gd name="T82" fmla="*/ 127 w 127"/>
              <a:gd name="T83" fmla="*/ 80 h 270"/>
              <a:gd name="T84" fmla="*/ 127 w 127"/>
              <a:gd name="T85" fmla="*/ 80 h 270"/>
              <a:gd name="T86" fmla="*/ 127 w 127"/>
              <a:gd name="T87" fmla="*/ 79 h 270"/>
              <a:gd name="T88" fmla="*/ 127 w 127"/>
              <a:gd name="T89" fmla="*/ 78 h 270"/>
              <a:gd name="T90" fmla="*/ 127 w 127"/>
              <a:gd name="T91" fmla="*/ 78 h 270"/>
              <a:gd name="T92" fmla="*/ 0 w 127"/>
              <a:gd name="T93" fmla="*/ 0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7" h="270">
                <a:moveTo>
                  <a:pt x="68" y="252"/>
                </a:moveTo>
                <a:cubicBezTo>
                  <a:pt x="83" y="237"/>
                  <a:pt x="83" y="237"/>
                  <a:pt x="83" y="237"/>
                </a:cubicBezTo>
                <a:cubicBezTo>
                  <a:pt x="83" y="238"/>
                  <a:pt x="82" y="239"/>
                  <a:pt x="81" y="241"/>
                </a:cubicBezTo>
                <a:cubicBezTo>
                  <a:pt x="69" y="253"/>
                  <a:pt x="69" y="253"/>
                  <a:pt x="69" y="253"/>
                </a:cubicBezTo>
                <a:cubicBezTo>
                  <a:pt x="69" y="253"/>
                  <a:pt x="69" y="252"/>
                  <a:pt x="68" y="252"/>
                </a:cubicBezTo>
                <a:moveTo>
                  <a:pt x="60" y="238"/>
                </a:moveTo>
                <a:cubicBezTo>
                  <a:pt x="101" y="198"/>
                  <a:pt x="101" y="198"/>
                  <a:pt x="101" y="198"/>
                </a:cubicBezTo>
                <a:cubicBezTo>
                  <a:pt x="100" y="199"/>
                  <a:pt x="100" y="200"/>
                  <a:pt x="100" y="200"/>
                </a:cubicBezTo>
                <a:cubicBezTo>
                  <a:pt x="61" y="239"/>
                  <a:pt x="61" y="239"/>
                  <a:pt x="61" y="239"/>
                </a:cubicBezTo>
                <a:cubicBezTo>
                  <a:pt x="61" y="239"/>
                  <a:pt x="61" y="239"/>
                  <a:pt x="60" y="238"/>
                </a:cubicBezTo>
                <a:moveTo>
                  <a:pt x="53" y="224"/>
                </a:moveTo>
                <a:cubicBezTo>
                  <a:pt x="111" y="166"/>
                  <a:pt x="111" y="166"/>
                  <a:pt x="111" y="166"/>
                </a:cubicBezTo>
                <a:cubicBezTo>
                  <a:pt x="110" y="167"/>
                  <a:pt x="110" y="168"/>
                  <a:pt x="110" y="168"/>
                </a:cubicBezTo>
                <a:cubicBezTo>
                  <a:pt x="53" y="225"/>
                  <a:pt x="53" y="225"/>
                  <a:pt x="53" y="225"/>
                </a:cubicBezTo>
                <a:cubicBezTo>
                  <a:pt x="53" y="225"/>
                  <a:pt x="53" y="225"/>
                  <a:pt x="53" y="224"/>
                </a:cubicBezTo>
                <a:moveTo>
                  <a:pt x="46" y="210"/>
                </a:moveTo>
                <a:cubicBezTo>
                  <a:pt x="116" y="139"/>
                  <a:pt x="116" y="139"/>
                  <a:pt x="116" y="139"/>
                </a:cubicBezTo>
                <a:cubicBezTo>
                  <a:pt x="116" y="139"/>
                  <a:pt x="116" y="140"/>
                  <a:pt x="116" y="141"/>
                </a:cubicBezTo>
                <a:cubicBezTo>
                  <a:pt x="46" y="211"/>
                  <a:pt x="46" y="211"/>
                  <a:pt x="46" y="211"/>
                </a:cubicBezTo>
                <a:cubicBezTo>
                  <a:pt x="46" y="210"/>
                  <a:pt x="46" y="210"/>
                  <a:pt x="46" y="210"/>
                </a:cubicBezTo>
                <a:moveTo>
                  <a:pt x="39" y="195"/>
                </a:moveTo>
                <a:cubicBezTo>
                  <a:pt x="120" y="114"/>
                  <a:pt x="120" y="114"/>
                  <a:pt x="120" y="114"/>
                </a:cubicBezTo>
                <a:cubicBezTo>
                  <a:pt x="120" y="114"/>
                  <a:pt x="120" y="115"/>
                  <a:pt x="120" y="116"/>
                </a:cubicBezTo>
                <a:cubicBezTo>
                  <a:pt x="39" y="196"/>
                  <a:pt x="39" y="196"/>
                  <a:pt x="39" y="196"/>
                </a:cubicBezTo>
                <a:cubicBezTo>
                  <a:pt x="39" y="195"/>
                  <a:pt x="39" y="195"/>
                  <a:pt x="39" y="195"/>
                </a:cubicBezTo>
                <a:moveTo>
                  <a:pt x="33" y="179"/>
                </a:moveTo>
                <a:cubicBezTo>
                  <a:pt x="121" y="91"/>
                  <a:pt x="121" y="91"/>
                  <a:pt x="121" y="91"/>
                </a:cubicBezTo>
                <a:cubicBezTo>
                  <a:pt x="121" y="91"/>
                  <a:pt x="121" y="92"/>
                  <a:pt x="121" y="92"/>
                </a:cubicBezTo>
                <a:cubicBezTo>
                  <a:pt x="33" y="180"/>
                  <a:pt x="33" y="180"/>
                  <a:pt x="33" y="180"/>
                </a:cubicBezTo>
                <a:cubicBezTo>
                  <a:pt x="33" y="180"/>
                  <a:pt x="33" y="179"/>
                  <a:pt x="33" y="179"/>
                </a:cubicBezTo>
                <a:moveTo>
                  <a:pt x="27" y="163"/>
                </a:moveTo>
                <a:cubicBezTo>
                  <a:pt x="121" y="69"/>
                  <a:pt x="121" y="69"/>
                  <a:pt x="121" y="69"/>
                </a:cubicBezTo>
                <a:cubicBezTo>
                  <a:pt x="121" y="70"/>
                  <a:pt x="121" y="70"/>
                  <a:pt x="121" y="71"/>
                </a:cubicBezTo>
                <a:cubicBezTo>
                  <a:pt x="28" y="164"/>
                  <a:pt x="28" y="164"/>
                  <a:pt x="28" y="164"/>
                </a:cubicBezTo>
                <a:cubicBezTo>
                  <a:pt x="27" y="164"/>
                  <a:pt x="27" y="163"/>
                  <a:pt x="27" y="163"/>
                </a:cubicBezTo>
                <a:moveTo>
                  <a:pt x="22" y="146"/>
                </a:moveTo>
                <a:cubicBezTo>
                  <a:pt x="119" y="49"/>
                  <a:pt x="119" y="49"/>
                  <a:pt x="119" y="49"/>
                </a:cubicBezTo>
                <a:cubicBezTo>
                  <a:pt x="119" y="50"/>
                  <a:pt x="119" y="50"/>
                  <a:pt x="119" y="51"/>
                </a:cubicBezTo>
                <a:cubicBezTo>
                  <a:pt x="22" y="148"/>
                  <a:pt x="22" y="148"/>
                  <a:pt x="22" y="148"/>
                </a:cubicBezTo>
                <a:cubicBezTo>
                  <a:pt x="22" y="147"/>
                  <a:pt x="22" y="147"/>
                  <a:pt x="22" y="146"/>
                </a:cubicBezTo>
                <a:moveTo>
                  <a:pt x="12" y="48"/>
                </a:moveTo>
                <a:cubicBezTo>
                  <a:pt x="13" y="48"/>
                  <a:pt x="13" y="48"/>
                  <a:pt x="13" y="48"/>
                </a:cubicBezTo>
                <a:cubicBezTo>
                  <a:pt x="7" y="55"/>
                  <a:pt x="7" y="55"/>
                  <a:pt x="7" y="55"/>
                </a:cubicBezTo>
                <a:cubicBezTo>
                  <a:pt x="7" y="54"/>
                  <a:pt x="7" y="54"/>
                  <a:pt x="7" y="53"/>
                </a:cubicBezTo>
                <a:cubicBezTo>
                  <a:pt x="12" y="48"/>
                  <a:pt x="12" y="48"/>
                  <a:pt x="12" y="48"/>
                </a:cubicBezTo>
                <a:moveTo>
                  <a:pt x="33" y="48"/>
                </a:moveTo>
                <a:cubicBezTo>
                  <a:pt x="35" y="48"/>
                  <a:pt x="35" y="48"/>
                  <a:pt x="35" y="48"/>
                </a:cubicBezTo>
                <a:cubicBezTo>
                  <a:pt x="8" y="75"/>
                  <a:pt x="8" y="75"/>
                  <a:pt x="8" y="75"/>
                </a:cubicBezTo>
                <a:cubicBezTo>
                  <a:pt x="8" y="74"/>
                  <a:pt x="8" y="74"/>
                  <a:pt x="8" y="73"/>
                </a:cubicBezTo>
                <a:cubicBezTo>
                  <a:pt x="33" y="48"/>
                  <a:pt x="33" y="48"/>
                  <a:pt x="33" y="48"/>
                </a:cubicBezTo>
                <a:moveTo>
                  <a:pt x="55" y="48"/>
                </a:moveTo>
                <a:cubicBezTo>
                  <a:pt x="57" y="48"/>
                  <a:pt x="57" y="48"/>
                  <a:pt x="57" y="48"/>
                </a:cubicBezTo>
                <a:cubicBezTo>
                  <a:pt x="11" y="94"/>
                  <a:pt x="11" y="94"/>
                  <a:pt x="11" y="94"/>
                </a:cubicBezTo>
                <a:cubicBezTo>
                  <a:pt x="11" y="94"/>
                  <a:pt x="11" y="93"/>
                  <a:pt x="11" y="93"/>
                </a:cubicBezTo>
                <a:cubicBezTo>
                  <a:pt x="55" y="48"/>
                  <a:pt x="55" y="48"/>
                  <a:pt x="55" y="48"/>
                </a:cubicBezTo>
                <a:moveTo>
                  <a:pt x="77" y="48"/>
                </a:moveTo>
                <a:cubicBezTo>
                  <a:pt x="78" y="48"/>
                  <a:pt x="78" y="48"/>
                  <a:pt x="78" y="48"/>
                </a:cubicBezTo>
                <a:cubicBezTo>
                  <a:pt x="14" y="113"/>
                  <a:pt x="14" y="113"/>
                  <a:pt x="14" y="113"/>
                </a:cubicBezTo>
                <a:cubicBezTo>
                  <a:pt x="14" y="112"/>
                  <a:pt x="14" y="112"/>
                  <a:pt x="14" y="111"/>
                </a:cubicBezTo>
                <a:cubicBezTo>
                  <a:pt x="77" y="48"/>
                  <a:pt x="77" y="48"/>
                  <a:pt x="77" y="48"/>
                </a:cubicBezTo>
                <a:moveTo>
                  <a:pt x="99" y="48"/>
                </a:moveTo>
                <a:cubicBezTo>
                  <a:pt x="100" y="48"/>
                  <a:pt x="100" y="48"/>
                  <a:pt x="100" y="48"/>
                </a:cubicBezTo>
                <a:cubicBezTo>
                  <a:pt x="18" y="130"/>
                  <a:pt x="18" y="130"/>
                  <a:pt x="18" y="130"/>
                </a:cubicBezTo>
                <a:cubicBezTo>
                  <a:pt x="18" y="130"/>
                  <a:pt x="18" y="130"/>
                  <a:pt x="18" y="129"/>
                </a:cubicBezTo>
                <a:cubicBezTo>
                  <a:pt x="99" y="48"/>
                  <a:pt x="99" y="48"/>
                  <a:pt x="99" y="48"/>
                </a:cubicBezTo>
                <a:moveTo>
                  <a:pt x="99" y="48"/>
                </a:moveTo>
                <a:cubicBezTo>
                  <a:pt x="117" y="30"/>
                  <a:pt x="117" y="30"/>
                  <a:pt x="117" y="30"/>
                </a:cubicBezTo>
                <a:cubicBezTo>
                  <a:pt x="117" y="31"/>
                  <a:pt x="117" y="31"/>
                  <a:pt x="117" y="31"/>
                </a:cubicBezTo>
                <a:cubicBezTo>
                  <a:pt x="100" y="48"/>
                  <a:pt x="100" y="48"/>
                  <a:pt x="100" y="48"/>
                </a:cubicBezTo>
                <a:cubicBezTo>
                  <a:pt x="99" y="48"/>
                  <a:pt x="99" y="48"/>
                  <a:pt x="99" y="48"/>
                </a:cubicBezTo>
                <a:moveTo>
                  <a:pt x="77" y="48"/>
                </a:moveTo>
                <a:cubicBezTo>
                  <a:pt x="96" y="29"/>
                  <a:pt x="96" y="29"/>
                  <a:pt x="96" y="29"/>
                </a:cubicBezTo>
                <a:cubicBezTo>
                  <a:pt x="96" y="29"/>
                  <a:pt x="97" y="29"/>
                  <a:pt x="97" y="29"/>
                </a:cubicBezTo>
                <a:cubicBezTo>
                  <a:pt x="78" y="48"/>
                  <a:pt x="78" y="48"/>
                  <a:pt x="78" y="48"/>
                </a:cubicBezTo>
                <a:cubicBezTo>
                  <a:pt x="77" y="48"/>
                  <a:pt x="77" y="48"/>
                  <a:pt x="77" y="48"/>
                </a:cubicBezTo>
                <a:moveTo>
                  <a:pt x="55" y="48"/>
                </a:moveTo>
                <a:cubicBezTo>
                  <a:pt x="76" y="28"/>
                  <a:pt x="76" y="28"/>
                  <a:pt x="76" y="28"/>
                </a:cubicBezTo>
                <a:cubicBezTo>
                  <a:pt x="76" y="28"/>
                  <a:pt x="77" y="28"/>
                  <a:pt x="77" y="28"/>
                </a:cubicBezTo>
                <a:cubicBezTo>
                  <a:pt x="57" y="48"/>
                  <a:pt x="57" y="48"/>
                  <a:pt x="57" y="48"/>
                </a:cubicBezTo>
                <a:cubicBezTo>
                  <a:pt x="55" y="48"/>
                  <a:pt x="55" y="48"/>
                  <a:pt x="55" y="48"/>
                </a:cubicBezTo>
                <a:moveTo>
                  <a:pt x="33" y="48"/>
                </a:moveTo>
                <a:cubicBezTo>
                  <a:pt x="57" y="25"/>
                  <a:pt x="57" y="25"/>
                  <a:pt x="57" y="25"/>
                </a:cubicBezTo>
                <a:cubicBezTo>
                  <a:pt x="57" y="25"/>
                  <a:pt x="58" y="25"/>
                  <a:pt x="58" y="25"/>
                </a:cubicBezTo>
                <a:cubicBezTo>
                  <a:pt x="35" y="48"/>
                  <a:pt x="35" y="48"/>
                  <a:pt x="35" y="48"/>
                </a:cubicBezTo>
                <a:cubicBezTo>
                  <a:pt x="33" y="48"/>
                  <a:pt x="33" y="48"/>
                  <a:pt x="33" y="48"/>
                </a:cubicBezTo>
                <a:moveTo>
                  <a:pt x="12" y="48"/>
                </a:moveTo>
                <a:cubicBezTo>
                  <a:pt x="39" y="21"/>
                  <a:pt x="39" y="21"/>
                  <a:pt x="39" y="21"/>
                </a:cubicBezTo>
                <a:cubicBezTo>
                  <a:pt x="39" y="21"/>
                  <a:pt x="39" y="22"/>
                  <a:pt x="40" y="22"/>
                </a:cubicBezTo>
                <a:cubicBezTo>
                  <a:pt x="13" y="48"/>
                  <a:pt x="13" y="48"/>
                  <a:pt x="13" y="48"/>
                </a:cubicBezTo>
                <a:cubicBezTo>
                  <a:pt x="12" y="48"/>
                  <a:pt x="12" y="48"/>
                  <a:pt x="12" y="48"/>
                </a:cubicBezTo>
                <a:moveTo>
                  <a:pt x="6" y="32"/>
                </a:moveTo>
                <a:cubicBezTo>
                  <a:pt x="21" y="17"/>
                  <a:pt x="21" y="17"/>
                  <a:pt x="21" y="17"/>
                </a:cubicBezTo>
                <a:cubicBezTo>
                  <a:pt x="21" y="17"/>
                  <a:pt x="22" y="17"/>
                  <a:pt x="22" y="18"/>
                </a:cubicBezTo>
                <a:cubicBezTo>
                  <a:pt x="6" y="34"/>
                  <a:pt x="6" y="34"/>
                  <a:pt x="6" y="34"/>
                </a:cubicBezTo>
                <a:cubicBezTo>
                  <a:pt x="6" y="33"/>
                  <a:pt x="6" y="33"/>
                  <a:pt x="6" y="32"/>
                </a:cubicBezTo>
                <a:moveTo>
                  <a:pt x="0" y="0"/>
                </a:moveTo>
                <a:cubicBezTo>
                  <a:pt x="0" y="6"/>
                  <a:pt x="0" y="13"/>
                  <a:pt x="0" y="19"/>
                </a:cubicBezTo>
                <a:cubicBezTo>
                  <a:pt x="0" y="19"/>
                  <a:pt x="0" y="19"/>
                  <a:pt x="0" y="19"/>
                </a:cubicBezTo>
                <a:cubicBezTo>
                  <a:pt x="0" y="19"/>
                  <a:pt x="0" y="19"/>
                  <a:pt x="0" y="19"/>
                </a:cubicBezTo>
                <a:cubicBezTo>
                  <a:pt x="0" y="20"/>
                  <a:pt x="0" y="20"/>
                  <a:pt x="0" y="20"/>
                </a:cubicBezTo>
                <a:cubicBezTo>
                  <a:pt x="0" y="20"/>
                  <a:pt x="0" y="20"/>
                  <a:pt x="0" y="20"/>
                </a:cubicBezTo>
                <a:cubicBezTo>
                  <a:pt x="0" y="20"/>
                  <a:pt x="0" y="20"/>
                  <a:pt x="0" y="20"/>
                </a:cubicBezTo>
                <a:cubicBezTo>
                  <a:pt x="0" y="20"/>
                  <a:pt x="0" y="20"/>
                  <a:pt x="0" y="21"/>
                </a:cubicBezTo>
                <a:cubicBezTo>
                  <a:pt x="0" y="21"/>
                  <a:pt x="0" y="21"/>
                  <a:pt x="0" y="21"/>
                </a:cubicBezTo>
                <a:cubicBezTo>
                  <a:pt x="0" y="21"/>
                  <a:pt x="0" y="21"/>
                  <a:pt x="0" y="21"/>
                </a:cubicBezTo>
                <a:cubicBezTo>
                  <a:pt x="0" y="21"/>
                  <a:pt x="0" y="21"/>
                  <a:pt x="0" y="21"/>
                </a:cubicBezTo>
                <a:cubicBezTo>
                  <a:pt x="0" y="21"/>
                  <a:pt x="0" y="22"/>
                  <a:pt x="0" y="22"/>
                </a:cubicBezTo>
                <a:cubicBezTo>
                  <a:pt x="0" y="22"/>
                  <a:pt x="0" y="22"/>
                  <a:pt x="0" y="22"/>
                </a:cubicBezTo>
                <a:cubicBezTo>
                  <a:pt x="0" y="22"/>
                  <a:pt x="0" y="22"/>
                  <a:pt x="0" y="22"/>
                </a:cubicBezTo>
                <a:cubicBezTo>
                  <a:pt x="0" y="22"/>
                  <a:pt x="0" y="22"/>
                  <a:pt x="0" y="22"/>
                </a:cubicBezTo>
                <a:cubicBezTo>
                  <a:pt x="0" y="23"/>
                  <a:pt x="0" y="23"/>
                  <a:pt x="0" y="23"/>
                </a:cubicBezTo>
                <a:cubicBezTo>
                  <a:pt x="0" y="23"/>
                  <a:pt x="0" y="23"/>
                  <a:pt x="0" y="23"/>
                </a:cubicBezTo>
                <a:cubicBezTo>
                  <a:pt x="0" y="24"/>
                  <a:pt x="0" y="24"/>
                  <a:pt x="0" y="24"/>
                </a:cubicBezTo>
                <a:cubicBezTo>
                  <a:pt x="0" y="24"/>
                  <a:pt x="0" y="24"/>
                  <a:pt x="0" y="24"/>
                </a:cubicBezTo>
                <a:cubicBezTo>
                  <a:pt x="0" y="24"/>
                  <a:pt x="0" y="25"/>
                  <a:pt x="0" y="25"/>
                </a:cubicBezTo>
                <a:cubicBezTo>
                  <a:pt x="0" y="25"/>
                  <a:pt x="0" y="25"/>
                  <a:pt x="0" y="25"/>
                </a:cubicBezTo>
                <a:cubicBezTo>
                  <a:pt x="1" y="115"/>
                  <a:pt x="28" y="199"/>
                  <a:pt x="72" y="270"/>
                </a:cubicBezTo>
                <a:cubicBezTo>
                  <a:pt x="106" y="216"/>
                  <a:pt x="126" y="151"/>
                  <a:pt x="127" y="82"/>
                </a:cubicBezTo>
                <a:cubicBezTo>
                  <a:pt x="127" y="82"/>
                  <a:pt x="127" y="82"/>
                  <a:pt x="127" y="82"/>
                </a:cubicBezTo>
                <a:cubicBezTo>
                  <a:pt x="127" y="82"/>
                  <a:pt x="127" y="82"/>
                  <a:pt x="127" y="82"/>
                </a:cubicBezTo>
                <a:cubicBezTo>
                  <a:pt x="127" y="82"/>
                  <a:pt x="127" y="82"/>
                  <a:pt x="127" y="82"/>
                </a:cubicBezTo>
                <a:cubicBezTo>
                  <a:pt x="127" y="82"/>
                  <a:pt x="127" y="82"/>
                  <a:pt x="127" y="81"/>
                </a:cubicBezTo>
                <a:cubicBezTo>
                  <a:pt x="127" y="81"/>
                  <a:pt x="127" y="81"/>
                  <a:pt x="127" y="81"/>
                </a:cubicBezTo>
                <a:cubicBezTo>
                  <a:pt x="127" y="81"/>
                  <a:pt x="127" y="81"/>
                  <a:pt x="127" y="81"/>
                </a:cubicBezTo>
                <a:cubicBezTo>
                  <a:pt x="127" y="81"/>
                  <a:pt x="127" y="81"/>
                  <a:pt x="127" y="81"/>
                </a:cubicBezTo>
                <a:cubicBezTo>
                  <a:pt x="127" y="81"/>
                  <a:pt x="127" y="80"/>
                  <a:pt x="127" y="80"/>
                </a:cubicBezTo>
                <a:cubicBezTo>
                  <a:pt x="127" y="80"/>
                  <a:pt x="127" y="80"/>
                  <a:pt x="127" y="80"/>
                </a:cubicBezTo>
                <a:cubicBezTo>
                  <a:pt x="127" y="80"/>
                  <a:pt x="127" y="80"/>
                  <a:pt x="127" y="80"/>
                </a:cubicBezTo>
                <a:cubicBezTo>
                  <a:pt x="127" y="80"/>
                  <a:pt x="127" y="80"/>
                  <a:pt x="127" y="80"/>
                </a:cubicBezTo>
                <a:cubicBezTo>
                  <a:pt x="127" y="80"/>
                  <a:pt x="127" y="79"/>
                  <a:pt x="127" y="79"/>
                </a:cubicBezTo>
                <a:cubicBezTo>
                  <a:pt x="127" y="79"/>
                  <a:pt x="127" y="79"/>
                  <a:pt x="127" y="79"/>
                </a:cubicBezTo>
                <a:cubicBezTo>
                  <a:pt x="127" y="79"/>
                  <a:pt x="127" y="79"/>
                  <a:pt x="127" y="79"/>
                </a:cubicBezTo>
                <a:cubicBezTo>
                  <a:pt x="127" y="79"/>
                  <a:pt x="127" y="79"/>
                  <a:pt x="127" y="79"/>
                </a:cubicBezTo>
                <a:cubicBezTo>
                  <a:pt x="127" y="79"/>
                  <a:pt x="127" y="79"/>
                  <a:pt x="127" y="78"/>
                </a:cubicBezTo>
                <a:cubicBezTo>
                  <a:pt x="127" y="78"/>
                  <a:pt x="127" y="78"/>
                  <a:pt x="127" y="78"/>
                </a:cubicBezTo>
                <a:cubicBezTo>
                  <a:pt x="127" y="78"/>
                  <a:pt x="127" y="78"/>
                  <a:pt x="127" y="78"/>
                </a:cubicBezTo>
                <a:cubicBezTo>
                  <a:pt x="127" y="78"/>
                  <a:pt x="127" y="78"/>
                  <a:pt x="127" y="78"/>
                </a:cubicBezTo>
                <a:cubicBezTo>
                  <a:pt x="127" y="78"/>
                  <a:pt x="127" y="78"/>
                  <a:pt x="127" y="78"/>
                </a:cubicBezTo>
                <a:cubicBezTo>
                  <a:pt x="127" y="78"/>
                  <a:pt x="127" y="78"/>
                  <a:pt x="127" y="78"/>
                </a:cubicBezTo>
                <a:cubicBezTo>
                  <a:pt x="127" y="58"/>
                  <a:pt x="125" y="38"/>
                  <a:pt x="122" y="19"/>
                </a:cubicBezTo>
                <a:cubicBezTo>
                  <a:pt x="80" y="19"/>
                  <a:pt x="39" y="12"/>
                  <a:pt x="0" y="0"/>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71" name="Freeform 16">
            <a:extLst>
              <a:ext uri="{FF2B5EF4-FFF2-40B4-BE49-F238E27FC236}">
                <a16:creationId xmlns:a16="http://schemas.microsoft.com/office/drawing/2014/main" id="{713DB865-C86F-498E-847A-24791C2B3290}"/>
              </a:ext>
            </a:extLst>
          </p:cNvPr>
          <p:cNvSpPr>
            <a:spLocks/>
          </p:cNvSpPr>
          <p:nvPr/>
        </p:nvSpPr>
        <p:spPr bwMode="auto">
          <a:xfrm>
            <a:off x="5637475" y="4313701"/>
            <a:ext cx="425452" cy="66737"/>
          </a:xfrm>
          <a:custGeom>
            <a:avLst/>
            <a:gdLst>
              <a:gd name="T0" fmla="*/ 0 w 122"/>
              <a:gd name="T1" fmla="*/ 0 h 19"/>
              <a:gd name="T2" fmla="*/ 0 w 122"/>
              <a:gd name="T3" fmla="*/ 0 h 19"/>
              <a:gd name="T4" fmla="*/ 122 w 122"/>
              <a:gd name="T5" fmla="*/ 19 h 19"/>
              <a:gd name="T6" fmla="*/ 122 w 122"/>
              <a:gd name="T7" fmla="*/ 19 h 19"/>
              <a:gd name="T8" fmla="*/ 0 w 122"/>
              <a:gd name="T9" fmla="*/ 0 h 19"/>
            </a:gdLst>
            <a:ahLst/>
            <a:cxnLst>
              <a:cxn ang="0">
                <a:pos x="T0" y="T1"/>
              </a:cxn>
              <a:cxn ang="0">
                <a:pos x="T2" y="T3"/>
              </a:cxn>
              <a:cxn ang="0">
                <a:pos x="T4" y="T5"/>
              </a:cxn>
              <a:cxn ang="0">
                <a:pos x="T6" y="T7"/>
              </a:cxn>
              <a:cxn ang="0">
                <a:pos x="T8" y="T9"/>
              </a:cxn>
            </a:cxnLst>
            <a:rect l="0" t="0" r="r" b="b"/>
            <a:pathLst>
              <a:path w="122" h="19">
                <a:moveTo>
                  <a:pt x="0" y="0"/>
                </a:moveTo>
                <a:cubicBezTo>
                  <a:pt x="0" y="0"/>
                  <a:pt x="0" y="0"/>
                  <a:pt x="0" y="0"/>
                </a:cubicBezTo>
                <a:cubicBezTo>
                  <a:pt x="39" y="12"/>
                  <a:pt x="80" y="19"/>
                  <a:pt x="122" y="19"/>
                </a:cubicBezTo>
                <a:cubicBezTo>
                  <a:pt x="122" y="19"/>
                  <a:pt x="122" y="19"/>
                  <a:pt x="122" y="19"/>
                </a:cubicBezTo>
                <a:cubicBezTo>
                  <a:pt x="80" y="19"/>
                  <a:pt x="39" y="12"/>
                  <a:pt x="0" y="0"/>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72" name="Freeform 17">
            <a:extLst>
              <a:ext uri="{FF2B5EF4-FFF2-40B4-BE49-F238E27FC236}">
                <a16:creationId xmlns:a16="http://schemas.microsoft.com/office/drawing/2014/main" id="{EDCA6D51-A7FE-4CCE-9BB9-5EB0DFE84601}"/>
              </a:ext>
            </a:extLst>
          </p:cNvPr>
          <p:cNvSpPr>
            <a:spLocks/>
          </p:cNvSpPr>
          <p:nvPr/>
        </p:nvSpPr>
        <p:spPr bwMode="auto">
          <a:xfrm>
            <a:off x="5662501" y="4480544"/>
            <a:ext cx="19466" cy="25027"/>
          </a:xfrm>
          <a:custGeom>
            <a:avLst/>
            <a:gdLst>
              <a:gd name="T0" fmla="*/ 6 w 6"/>
              <a:gd name="T1" fmla="*/ 0 h 7"/>
              <a:gd name="T2" fmla="*/ 5 w 6"/>
              <a:gd name="T3" fmla="*/ 0 h 7"/>
              <a:gd name="T4" fmla="*/ 0 w 6"/>
              <a:gd name="T5" fmla="*/ 5 h 7"/>
              <a:gd name="T6" fmla="*/ 0 w 6"/>
              <a:gd name="T7" fmla="*/ 7 h 7"/>
              <a:gd name="T8" fmla="*/ 6 w 6"/>
              <a:gd name="T9" fmla="*/ 0 h 7"/>
            </a:gdLst>
            <a:ahLst/>
            <a:cxnLst>
              <a:cxn ang="0">
                <a:pos x="T0" y="T1"/>
              </a:cxn>
              <a:cxn ang="0">
                <a:pos x="T2" y="T3"/>
              </a:cxn>
              <a:cxn ang="0">
                <a:pos x="T4" y="T5"/>
              </a:cxn>
              <a:cxn ang="0">
                <a:pos x="T6" y="T7"/>
              </a:cxn>
              <a:cxn ang="0">
                <a:pos x="T8" y="T9"/>
              </a:cxn>
            </a:cxnLst>
            <a:rect l="0" t="0" r="r" b="b"/>
            <a:pathLst>
              <a:path w="6" h="7">
                <a:moveTo>
                  <a:pt x="6" y="0"/>
                </a:moveTo>
                <a:cubicBezTo>
                  <a:pt x="5" y="0"/>
                  <a:pt x="5" y="0"/>
                  <a:pt x="5" y="0"/>
                </a:cubicBezTo>
                <a:cubicBezTo>
                  <a:pt x="0" y="5"/>
                  <a:pt x="0" y="5"/>
                  <a:pt x="0" y="5"/>
                </a:cubicBezTo>
                <a:cubicBezTo>
                  <a:pt x="0" y="6"/>
                  <a:pt x="0" y="6"/>
                  <a:pt x="0" y="7"/>
                </a:cubicBezTo>
                <a:cubicBezTo>
                  <a:pt x="6" y="0"/>
                  <a:pt x="6" y="0"/>
                  <a:pt x="6" y="0"/>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73" name="Freeform 18">
            <a:extLst>
              <a:ext uri="{FF2B5EF4-FFF2-40B4-BE49-F238E27FC236}">
                <a16:creationId xmlns:a16="http://schemas.microsoft.com/office/drawing/2014/main" id="{0612DCB0-C10C-4EFE-AFC7-8FC5E1BF8C97}"/>
              </a:ext>
            </a:extLst>
          </p:cNvPr>
          <p:cNvSpPr>
            <a:spLocks/>
          </p:cNvSpPr>
          <p:nvPr/>
        </p:nvSpPr>
        <p:spPr bwMode="auto">
          <a:xfrm>
            <a:off x="5665283" y="4480544"/>
            <a:ext cx="94545" cy="94545"/>
          </a:xfrm>
          <a:custGeom>
            <a:avLst/>
            <a:gdLst>
              <a:gd name="T0" fmla="*/ 27 w 27"/>
              <a:gd name="T1" fmla="*/ 0 h 27"/>
              <a:gd name="T2" fmla="*/ 25 w 27"/>
              <a:gd name="T3" fmla="*/ 0 h 27"/>
              <a:gd name="T4" fmla="*/ 0 w 27"/>
              <a:gd name="T5" fmla="*/ 25 h 27"/>
              <a:gd name="T6" fmla="*/ 0 w 27"/>
              <a:gd name="T7" fmla="*/ 27 h 27"/>
              <a:gd name="T8" fmla="*/ 27 w 27"/>
              <a:gd name="T9" fmla="*/ 0 h 27"/>
            </a:gdLst>
            <a:ahLst/>
            <a:cxnLst>
              <a:cxn ang="0">
                <a:pos x="T0" y="T1"/>
              </a:cxn>
              <a:cxn ang="0">
                <a:pos x="T2" y="T3"/>
              </a:cxn>
              <a:cxn ang="0">
                <a:pos x="T4" y="T5"/>
              </a:cxn>
              <a:cxn ang="0">
                <a:pos x="T6" y="T7"/>
              </a:cxn>
              <a:cxn ang="0">
                <a:pos x="T8" y="T9"/>
              </a:cxn>
            </a:cxnLst>
            <a:rect l="0" t="0" r="r" b="b"/>
            <a:pathLst>
              <a:path w="27" h="27">
                <a:moveTo>
                  <a:pt x="27" y="0"/>
                </a:moveTo>
                <a:cubicBezTo>
                  <a:pt x="25" y="0"/>
                  <a:pt x="25" y="0"/>
                  <a:pt x="25" y="0"/>
                </a:cubicBezTo>
                <a:cubicBezTo>
                  <a:pt x="0" y="25"/>
                  <a:pt x="0" y="25"/>
                  <a:pt x="0" y="25"/>
                </a:cubicBezTo>
                <a:cubicBezTo>
                  <a:pt x="0" y="26"/>
                  <a:pt x="0" y="26"/>
                  <a:pt x="0" y="27"/>
                </a:cubicBezTo>
                <a:cubicBezTo>
                  <a:pt x="27" y="0"/>
                  <a:pt x="27" y="0"/>
                  <a:pt x="27" y="0"/>
                </a:cubicBezTo>
              </a:path>
            </a:pathLst>
          </a:custGeom>
          <a:solidFill>
            <a:srgbClr val="7491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74" name="Freeform 19">
            <a:extLst>
              <a:ext uri="{FF2B5EF4-FFF2-40B4-BE49-F238E27FC236}">
                <a16:creationId xmlns:a16="http://schemas.microsoft.com/office/drawing/2014/main" id="{0FE3B1FA-F73E-48A7-AF95-057738519FF0}"/>
              </a:ext>
            </a:extLst>
          </p:cNvPr>
          <p:cNvSpPr>
            <a:spLocks/>
          </p:cNvSpPr>
          <p:nvPr/>
        </p:nvSpPr>
        <p:spPr bwMode="auto">
          <a:xfrm>
            <a:off x="5676406" y="4480544"/>
            <a:ext cx="158502" cy="161282"/>
          </a:xfrm>
          <a:custGeom>
            <a:avLst/>
            <a:gdLst>
              <a:gd name="T0" fmla="*/ 46 w 46"/>
              <a:gd name="T1" fmla="*/ 0 h 46"/>
              <a:gd name="T2" fmla="*/ 44 w 46"/>
              <a:gd name="T3" fmla="*/ 0 h 46"/>
              <a:gd name="T4" fmla="*/ 0 w 46"/>
              <a:gd name="T5" fmla="*/ 45 h 46"/>
              <a:gd name="T6" fmla="*/ 0 w 46"/>
              <a:gd name="T7" fmla="*/ 46 h 46"/>
              <a:gd name="T8" fmla="*/ 46 w 46"/>
              <a:gd name="T9" fmla="*/ 0 h 46"/>
            </a:gdLst>
            <a:ahLst/>
            <a:cxnLst>
              <a:cxn ang="0">
                <a:pos x="T0" y="T1"/>
              </a:cxn>
              <a:cxn ang="0">
                <a:pos x="T2" y="T3"/>
              </a:cxn>
              <a:cxn ang="0">
                <a:pos x="T4" y="T5"/>
              </a:cxn>
              <a:cxn ang="0">
                <a:pos x="T6" y="T7"/>
              </a:cxn>
              <a:cxn ang="0">
                <a:pos x="T8" y="T9"/>
              </a:cxn>
            </a:cxnLst>
            <a:rect l="0" t="0" r="r" b="b"/>
            <a:pathLst>
              <a:path w="46" h="46">
                <a:moveTo>
                  <a:pt x="46" y="0"/>
                </a:moveTo>
                <a:cubicBezTo>
                  <a:pt x="44" y="0"/>
                  <a:pt x="44" y="0"/>
                  <a:pt x="44" y="0"/>
                </a:cubicBezTo>
                <a:cubicBezTo>
                  <a:pt x="0" y="45"/>
                  <a:pt x="0" y="45"/>
                  <a:pt x="0" y="45"/>
                </a:cubicBezTo>
                <a:cubicBezTo>
                  <a:pt x="0" y="45"/>
                  <a:pt x="0" y="46"/>
                  <a:pt x="0" y="46"/>
                </a:cubicBezTo>
                <a:cubicBezTo>
                  <a:pt x="46" y="0"/>
                  <a:pt x="46" y="0"/>
                  <a:pt x="46" y="0"/>
                </a:cubicBezTo>
              </a:path>
            </a:pathLst>
          </a:custGeom>
          <a:solidFill>
            <a:srgbClr val="7491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75" name="Freeform 20">
            <a:extLst>
              <a:ext uri="{FF2B5EF4-FFF2-40B4-BE49-F238E27FC236}">
                <a16:creationId xmlns:a16="http://schemas.microsoft.com/office/drawing/2014/main" id="{331F1E0C-81F9-4279-9F26-E6371DA33CD2}"/>
              </a:ext>
            </a:extLst>
          </p:cNvPr>
          <p:cNvSpPr>
            <a:spLocks/>
          </p:cNvSpPr>
          <p:nvPr/>
        </p:nvSpPr>
        <p:spPr bwMode="auto">
          <a:xfrm>
            <a:off x="5684747" y="4480544"/>
            <a:ext cx="225239" cy="228020"/>
          </a:xfrm>
          <a:custGeom>
            <a:avLst/>
            <a:gdLst>
              <a:gd name="T0" fmla="*/ 64 w 64"/>
              <a:gd name="T1" fmla="*/ 0 h 65"/>
              <a:gd name="T2" fmla="*/ 63 w 64"/>
              <a:gd name="T3" fmla="*/ 0 h 65"/>
              <a:gd name="T4" fmla="*/ 0 w 64"/>
              <a:gd name="T5" fmla="*/ 63 h 65"/>
              <a:gd name="T6" fmla="*/ 0 w 64"/>
              <a:gd name="T7" fmla="*/ 65 h 65"/>
              <a:gd name="T8" fmla="*/ 64 w 64"/>
              <a:gd name="T9" fmla="*/ 0 h 65"/>
            </a:gdLst>
            <a:ahLst/>
            <a:cxnLst>
              <a:cxn ang="0">
                <a:pos x="T0" y="T1"/>
              </a:cxn>
              <a:cxn ang="0">
                <a:pos x="T2" y="T3"/>
              </a:cxn>
              <a:cxn ang="0">
                <a:pos x="T4" y="T5"/>
              </a:cxn>
              <a:cxn ang="0">
                <a:pos x="T6" y="T7"/>
              </a:cxn>
              <a:cxn ang="0">
                <a:pos x="T8" y="T9"/>
              </a:cxn>
            </a:cxnLst>
            <a:rect l="0" t="0" r="r" b="b"/>
            <a:pathLst>
              <a:path w="64" h="65">
                <a:moveTo>
                  <a:pt x="64" y="0"/>
                </a:moveTo>
                <a:cubicBezTo>
                  <a:pt x="63" y="0"/>
                  <a:pt x="63" y="0"/>
                  <a:pt x="63" y="0"/>
                </a:cubicBezTo>
                <a:cubicBezTo>
                  <a:pt x="0" y="63"/>
                  <a:pt x="0" y="63"/>
                  <a:pt x="0" y="63"/>
                </a:cubicBezTo>
                <a:cubicBezTo>
                  <a:pt x="0" y="64"/>
                  <a:pt x="0" y="64"/>
                  <a:pt x="0" y="65"/>
                </a:cubicBezTo>
                <a:cubicBezTo>
                  <a:pt x="64" y="0"/>
                  <a:pt x="64" y="0"/>
                  <a:pt x="64" y="0"/>
                </a:cubicBezTo>
              </a:path>
            </a:pathLst>
          </a:custGeom>
          <a:solidFill>
            <a:srgbClr val="7491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76" name="Freeform 21">
            <a:extLst>
              <a:ext uri="{FF2B5EF4-FFF2-40B4-BE49-F238E27FC236}">
                <a16:creationId xmlns:a16="http://schemas.microsoft.com/office/drawing/2014/main" id="{3B10753B-9A96-4B6F-B3D3-B96F19F037C6}"/>
              </a:ext>
            </a:extLst>
          </p:cNvPr>
          <p:cNvSpPr>
            <a:spLocks/>
          </p:cNvSpPr>
          <p:nvPr/>
        </p:nvSpPr>
        <p:spPr bwMode="auto">
          <a:xfrm>
            <a:off x="5701431" y="4480544"/>
            <a:ext cx="283634" cy="286415"/>
          </a:xfrm>
          <a:custGeom>
            <a:avLst/>
            <a:gdLst>
              <a:gd name="T0" fmla="*/ 82 w 82"/>
              <a:gd name="T1" fmla="*/ 0 h 82"/>
              <a:gd name="T2" fmla="*/ 81 w 82"/>
              <a:gd name="T3" fmla="*/ 0 h 82"/>
              <a:gd name="T4" fmla="*/ 0 w 82"/>
              <a:gd name="T5" fmla="*/ 81 h 82"/>
              <a:gd name="T6" fmla="*/ 0 w 82"/>
              <a:gd name="T7" fmla="*/ 82 h 82"/>
              <a:gd name="T8" fmla="*/ 82 w 82"/>
              <a:gd name="T9" fmla="*/ 0 h 82"/>
            </a:gdLst>
            <a:ahLst/>
            <a:cxnLst>
              <a:cxn ang="0">
                <a:pos x="T0" y="T1"/>
              </a:cxn>
              <a:cxn ang="0">
                <a:pos x="T2" y="T3"/>
              </a:cxn>
              <a:cxn ang="0">
                <a:pos x="T4" y="T5"/>
              </a:cxn>
              <a:cxn ang="0">
                <a:pos x="T6" y="T7"/>
              </a:cxn>
              <a:cxn ang="0">
                <a:pos x="T8" y="T9"/>
              </a:cxn>
            </a:cxnLst>
            <a:rect l="0" t="0" r="r" b="b"/>
            <a:pathLst>
              <a:path w="82" h="82">
                <a:moveTo>
                  <a:pt x="82" y="0"/>
                </a:moveTo>
                <a:cubicBezTo>
                  <a:pt x="81" y="0"/>
                  <a:pt x="81" y="0"/>
                  <a:pt x="81" y="0"/>
                </a:cubicBezTo>
                <a:cubicBezTo>
                  <a:pt x="0" y="81"/>
                  <a:pt x="0" y="81"/>
                  <a:pt x="0" y="81"/>
                </a:cubicBezTo>
                <a:cubicBezTo>
                  <a:pt x="0" y="82"/>
                  <a:pt x="0" y="82"/>
                  <a:pt x="0" y="82"/>
                </a:cubicBezTo>
                <a:cubicBezTo>
                  <a:pt x="82" y="0"/>
                  <a:pt x="82" y="0"/>
                  <a:pt x="82" y="0"/>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77" name="Freeform 22">
            <a:extLst>
              <a:ext uri="{FF2B5EF4-FFF2-40B4-BE49-F238E27FC236}">
                <a16:creationId xmlns:a16="http://schemas.microsoft.com/office/drawing/2014/main" id="{BBA8EEE7-3666-4A37-BB7A-B2BF60CDF244}"/>
              </a:ext>
            </a:extLst>
          </p:cNvPr>
          <p:cNvSpPr>
            <a:spLocks/>
          </p:cNvSpPr>
          <p:nvPr/>
        </p:nvSpPr>
        <p:spPr bwMode="auto">
          <a:xfrm>
            <a:off x="5715336" y="4486106"/>
            <a:ext cx="336469" cy="344810"/>
          </a:xfrm>
          <a:custGeom>
            <a:avLst/>
            <a:gdLst>
              <a:gd name="T0" fmla="*/ 97 w 97"/>
              <a:gd name="T1" fmla="*/ 0 h 99"/>
              <a:gd name="T2" fmla="*/ 0 w 97"/>
              <a:gd name="T3" fmla="*/ 97 h 99"/>
              <a:gd name="T4" fmla="*/ 0 w 97"/>
              <a:gd name="T5" fmla="*/ 99 h 99"/>
              <a:gd name="T6" fmla="*/ 97 w 97"/>
              <a:gd name="T7" fmla="*/ 2 h 99"/>
              <a:gd name="T8" fmla="*/ 97 w 97"/>
              <a:gd name="T9" fmla="*/ 0 h 99"/>
            </a:gdLst>
            <a:ahLst/>
            <a:cxnLst>
              <a:cxn ang="0">
                <a:pos x="T0" y="T1"/>
              </a:cxn>
              <a:cxn ang="0">
                <a:pos x="T2" y="T3"/>
              </a:cxn>
              <a:cxn ang="0">
                <a:pos x="T4" y="T5"/>
              </a:cxn>
              <a:cxn ang="0">
                <a:pos x="T6" y="T7"/>
              </a:cxn>
              <a:cxn ang="0">
                <a:pos x="T8" y="T9"/>
              </a:cxn>
            </a:cxnLst>
            <a:rect l="0" t="0" r="r" b="b"/>
            <a:pathLst>
              <a:path w="97" h="99">
                <a:moveTo>
                  <a:pt x="97" y="0"/>
                </a:moveTo>
                <a:cubicBezTo>
                  <a:pt x="0" y="97"/>
                  <a:pt x="0" y="97"/>
                  <a:pt x="0" y="97"/>
                </a:cubicBezTo>
                <a:cubicBezTo>
                  <a:pt x="0" y="98"/>
                  <a:pt x="0" y="98"/>
                  <a:pt x="0" y="99"/>
                </a:cubicBezTo>
                <a:cubicBezTo>
                  <a:pt x="97" y="2"/>
                  <a:pt x="97" y="2"/>
                  <a:pt x="97" y="2"/>
                </a:cubicBezTo>
                <a:cubicBezTo>
                  <a:pt x="97" y="1"/>
                  <a:pt x="97" y="1"/>
                  <a:pt x="97" y="0"/>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78" name="Freeform 23">
            <a:extLst>
              <a:ext uri="{FF2B5EF4-FFF2-40B4-BE49-F238E27FC236}">
                <a16:creationId xmlns:a16="http://schemas.microsoft.com/office/drawing/2014/main" id="{D25AAC0D-DBB8-4A0E-8834-541A09AD66D5}"/>
              </a:ext>
            </a:extLst>
          </p:cNvPr>
          <p:cNvSpPr>
            <a:spLocks/>
          </p:cNvSpPr>
          <p:nvPr/>
        </p:nvSpPr>
        <p:spPr bwMode="auto">
          <a:xfrm>
            <a:off x="5732020" y="4555625"/>
            <a:ext cx="328126" cy="330907"/>
          </a:xfrm>
          <a:custGeom>
            <a:avLst/>
            <a:gdLst>
              <a:gd name="T0" fmla="*/ 94 w 94"/>
              <a:gd name="T1" fmla="*/ 0 h 95"/>
              <a:gd name="T2" fmla="*/ 0 w 94"/>
              <a:gd name="T3" fmla="*/ 94 h 95"/>
              <a:gd name="T4" fmla="*/ 1 w 94"/>
              <a:gd name="T5" fmla="*/ 95 h 95"/>
              <a:gd name="T6" fmla="*/ 94 w 94"/>
              <a:gd name="T7" fmla="*/ 2 h 95"/>
              <a:gd name="T8" fmla="*/ 94 w 94"/>
              <a:gd name="T9" fmla="*/ 0 h 95"/>
            </a:gdLst>
            <a:ahLst/>
            <a:cxnLst>
              <a:cxn ang="0">
                <a:pos x="T0" y="T1"/>
              </a:cxn>
              <a:cxn ang="0">
                <a:pos x="T2" y="T3"/>
              </a:cxn>
              <a:cxn ang="0">
                <a:pos x="T4" y="T5"/>
              </a:cxn>
              <a:cxn ang="0">
                <a:pos x="T6" y="T7"/>
              </a:cxn>
              <a:cxn ang="0">
                <a:pos x="T8" y="T9"/>
              </a:cxn>
            </a:cxnLst>
            <a:rect l="0" t="0" r="r" b="b"/>
            <a:pathLst>
              <a:path w="94" h="95">
                <a:moveTo>
                  <a:pt x="94" y="0"/>
                </a:moveTo>
                <a:cubicBezTo>
                  <a:pt x="0" y="94"/>
                  <a:pt x="0" y="94"/>
                  <a:pt x="0" y="94"/>
                </a:cubicBezTo>
                <a:cubicBezTo>
                  <a:pt x="0" y="94"/>
                  <a:pt x="0" y="95"/>
                  <a:pt x="1" y="95"/>
                </a:cubicBezTo>
                <a:cubicBezTo>
                  <a:pt x="94" y="2"/>
                  <a:pt x="94" y="2"/>
                  <a:pt x="94" y="2"/>
                </a:cubicBezTo>
                <a:cubicBezTo>
                  <a:pt x="94" y="1"/>
                  <a:pt x="94" y="1"/>
                  <a:pt x="94" y="0"/>
                </a:cubicBezTo>
              </a:path>
            </a:pathLst>
          </a:custGeom>
          <a:solidFill>
            <a:srgbClr val="7491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79" name="Freeform 24">
            <a:extLst>
              <a:ext uri="{FF2B5EF4-FFF2-40B4-BE49-F238E27FC236}">
                <a16:creationId xmlns:a16="http://schemas.microsoft.com/office/drawing/2014/main" id="{2C3F681C-A99F-4585-80BE-AA4AFA291714}"/>
              </a:ext>
            </a:extLst>
          </p:cNvPr>
          <p:cNvSpPr>
            <a:spLocks/>
          </p:cNvSpPr>
          <p:nvPr/>
        </p:nvSpPr>
        <p:spPr bwMode="auto">
          <a:xfrm>
            <a:off x="5751485" y="4630704"/>
            <a:ext cx="308661" cy="311441"/>
          </a:xfrm>
          <a:custGeom>
            <a:avLst/>
            <a:gdLst>
              <a:gd name="T0" fmla="*/ 88 w 88"/>
              <a:gd name="T1" fmla="*/ 0 h 89"/>
              <a:gd name="T2" fmla="*/ 0 w 88"/>
              <a:gd name="T3" fmla="*/ 88 h 89"/>
              <a:gd name="T4" fmla="*/ 0 w 88"/>
              <a:gd name="T5" fmla="*/ 89 h 89"/>
              <a:gd name="T6" fmla="*/ 88 w 88"/>
              <a:gd name="T7" fmla="*/ 1 h 89"/>
              <a:gd name="T8" fmla="*/ 88 w 88"/>
              <a:gd name="T9" fmla="*/ 0 h 89"/>
            </a:gdLst>
            <a:ahLst/>
            <a:cxnLst>
              <a:cxn ang="0">
                <a:pos x="T0" y="T1"/>
              </a:cxn>
              <a:cxn ang="0">
                <a:pos x="T2" y="T3"/>
              </a:cxn>
              <a:cxn ang="0">
                <a:pos x="T4" y="T5"/>
              </a:cxn>
              <a:cxn ang="0">
                <a:pos x="T6" y="T7"/>
              </a:cxn>
              <a:cxn ang="0">
                <a:pos x="T8" y="T9"/>
              </a:cxn>
            </a:cxnLst>
            <a:rect l="0" t="0" r="r" b="b"/>
            <a:pathLst>
              <a:path w="88" h="89">
                <a:moveTo>
                  <a:pt x="88" y="0"/>
                </a:moveTo>
                <a:cubicBezTo>
                  <a:pt x="0" y="88"/>
                  <a:pt x="0" y="88"/>
                  <a:pt x="0" y="88"/>
                </a:cubicBezTo>
                <a:cubicBezTo>
                  <a:pt x="0" y="88"/>
                  <a:pt x="0" y="89"/>
                  <a:pt x="0" y="89"/>
                </a:cubicBezTo>
                <a:cubicBezTo>
                  <a:pt x="88" y="1"/>
                  <a:pt x="88" y="1"/>
                  <a:pt x="88" y="1"/>
                </a:cubicBezTo>
                <a:cubicBezTo>
                  <a:pt x="88" y="1"/>
                  <a:pt x="88" y="0"/>
                  <a:pt x="88" y="0"/>
                </a:cubicBezTo>
              </a:path>
            </a:pathLst>
          </a:custGeom>
          <a:solidFill>
            <a:srgbClr val="7491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80" name="Freeform 25">
            <a:extLst>
              <a:ext uri="{FF2B5EF4-FFF2-40B4-BE49-F238E27FC236}">
                <a16:creationId xmlns:a16="http://schemas.microsoft.com/office/drawing/2014/main" id="{0CA5FEA6-D62D-416A-AEA7-8CD39BE9DD8B}"/>
              </a:ext>
            </a:extLst>
          </p:cNvPr>
          <p:cNvSpPr>
            <a:spLocks/>
          </p:cNvSpPr>
          <p:nvPr/>
        </p:nvSpPr>
        <p:spPr bwMode="auto">
          <a:xfrm>
            <a:off x="5773730" y="4711345"/>
            <a:ext cx="283634" cy="286415"/>
          </a:xfrm>
          <a:custGeom>
            <a:avLst/>
            <a:gdLst>
              <a:gd name="T0" fmla="*/ 81 w 81"/>
              <a:gd name="T1" fmla="*/ 0 h 82"/>
              <a:gd name="T2" fmla="*/ 0 w 81"/>
              <a:gd name="T3" fmla="*/ 81 h 82"/>
              <a:gd name="T4" fmla="*/ 0 w 81"/>
              <a:gd name="T5" fmla="*/ 82 h 82"/>
              <a:gd name="T6" fmla="*/ 81 w 81"/>
              <a:gd name="T7" fmla="*/ 2 h 82"/>
              <a:gd name="T8" fmla="*/ 81 w 81"/>
              <a:gd name="T9" fmla="*/ 0 h 82"/>
            </a:gdLst>
            <a:ahLst/>
            <a:cxnLst>
              <a:cxn ang="0">
                <a:pos x="T0" y="T1"/>
              </a:cxn>
              <a:cxn ang="0">
                <a:pos x="T2" y="T3"/>
              </a:cxn>
              <a:cxn ang="0">
                <a:pos x="T4" y="T5"/>
              </a:cxn>
              <a:cxn ang="0">
                <a:pos x="T6" y="T7"/>
              </a:cxn>
              <a:cxn ang="0">
                <a:pos x="T8" y="T9"/>
              </a:cxn>
            </a:cxnLst>
            <a:rect l="0" t="0" r="r" b="b"/>
            <a:pathLst>
              <a:path w="81" h="82">
                <a:moveTo>
                  <a:pt x="81" y="0"/>
                </a:moveTo>
                <a:cubicBezTo>
                  <a:pt x="0" y="81"/>
                  <a:pt x="0" y="81"/>
                  <a:pt x="0" y="81"/>
                </a:cubicBezTo>
                <a:cubicBezTo>
                  <a:pt x="0" y="81"/>
                  <a:pt x="0" y="81"/>
                  <a:pt x="0" y="82"/>
                </a:cubicBezTo>
                <a:cubicBezTo>
                  <a:pt x="81" y="2"/>
                  <a:pt x="81" y="2"/>
                  <a:pt x="81" y="2"/>
                </a:cubicBezTo>
                <a:cubicBezTo>
                  <a:pt x="81" y="1"/>
                  <a:pt x="81" y="0"/>
                  <a:pt x="81" y="0"/>
                </a:cubicBezTo>
              </a:path>
            </a:pathLst>
          </a:custGeom>
          <a:solidFill>
            <a:srgbClr val="7491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81" name="Freeform 26">
            <a:extLst>
              <a:ext uri="{FF2B5EF4-FFF2-40B4-BE49-F238E27FC236}">
                <a16:creationId xmlns:a16="http://schemas.microsoft.com/office/drawing/2014/main" id="{4B5DAB1C-A4E8-4DAB-A03B-BD9510F9153A}"/>
              </a:ext>
            </a:extLst>
          </p:cNvPr>
          <p:cNvSpPr>
            <a:spLocks/>
          </p:cNvSpPr>
          <p:nvPr/>
        </p:nvSpPr>
        <p:spPr bwMode="auto">
          <a:xfrm>
            <a:off x="5798758" y="4800328"/>
            <a:ext cx="244704" cy="250265"/>
          </a:xfrm>
          <a:custGeom>
            <a:avLst/>
            <a:gdLst>
              <a:gd name="T0" fmla="*/ 70 w 70"/>
              <a:gd name="T1" fmla="*/ 0 h 72"/>
              <a:gd name="T2" fmla="*/ 0 w 70"/>
              <a:gd name="T3" fmla="*/ 71 h 72"/>
              <a:gd name="T4" fmla="*/ 0 w 70"/>
              <a:gd name="T5" fmla="*/ 72 h 72"/>
              <a:gd name="T6" fmla="*/ 70 w 70"/>
              <a:gd name="T7" fmla="*/ 2 h 72"/>
              <a:gd name="T8" fmla="*/ 70 w 70"/>
              <a:gd name="T9" fmla="*/ 0 h 72"/>
            </a:gdLst>
            <a:ahLst/>
            <a:cxnLst>
              <a:cxn ang="0">
                <a:pos x="T0" y="T1"/>
              </a:cxn>
              <a:cxn ang="0">
                <a:pos x="T2" y="T3"/>
              </a:cxn>
              <a:cxn ang="0">
                <a:pos x="T4" y="T5"/>
              </a:cxn>
              <a:cxn ang="0">
                <a:pos x="T6" y="T7"/>
              </a:cxn>
              <a:cxn ang="0">
                <a:pos x="T8" y="T9"/>
              </a:cxn>
            </a:cxnLst>
            <a:rect l="0" t="0" r="r" b="b"/>
            <a:pathLst>
              <a:path w="70" h="72">
                <a:moveTo>
                  <a:pt x="70" y="0"/>
                </a:moveTo>
                <a:cubicBezTo>
                  <a:pt x="0" y="71"/>
                  <a:pt x="0" y="71"/>
                  <a:pt x="0" y="71"/>
                </a:cubicBezTo>
                <a:cubicBezTo>
                  <a:pt x="0" y="71"/>
                  <a:pt x="0" y="71"/>
                  <a:pt x="0" y="72"/>
                </a:cubicBezTo>
                <a:cubicBezTo>
                  <a:pt x="70" y="2"/>
                  <a:pt x="70" y="2"/>
                  <a:pt x="70" y="2"/>
                </a:cubicBezTo>
                <a:cubicBezTo>
                  <a:pt x="70" y="1"/>
                  <a:pt x="70" y="0"/>
                  <a:pt x="70" y="0"/>
                </a:cubicBezTo>
              </a:path>
            </a:pathLst>
          </a:custGeom>
          <a:solidFill>
            <a:srgbClr val="7491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82" name="Freeform 27">
            <a:extLst>
              <a:ext uri="{FF2B5EF4-FFF2-40B4-BE49-F238E27FC236}">
                <a16:creationId xmlns:a16="http://schemas.microsoft.com/office/drawing/2014/main" id="{75441B27-4D4E-4F7B-B8E7-148BE58BC6F2}"/>
              </a:ext>
            </a:extLst>
          </p:cNvPr>
          <p:cNvSpPr>
            <a:spLocks/>
          </p:cNvSpPr>
          <p:nvPr/>
        </p:nvSpPr>
        <p:spPr bwMode="auto">
          <a:xfrm>
            <a:off x="5821003" y="4894873"/>
            <a:ext cx="202994" cy="205774"/>
          </a:xfrm>
          <a:custGeom>
            <a:avLst/>
            <a:gdLst>
              <a:gd name="T0" fmla="*/ 58 w 58"/>
              <a:gd name="T1" fmla="*/ 0 h 59"/>
              <a:gd name="T2" fmla="*/ 0 w 58"/>
              <a:gd name="T3" fmla="*/ 58 h 59"/>
              <a:gd name="T4" fmla="*/ 0 w 58"/>
              <a:gd name="T5" fmla="*/ 59 h 59"/>
              <a:gd name="T6" fmla="*/ 57 w 58"/>
              <a:gd name="T7" fmla="*/ 2 h 59"/>
              <a:gd name="T8" fmla="*/ 58 w 58"/>
              <a:gd name="T9" fmla="*/ 0 h 59"/>
            </a:gdLst>
            <a:ahLst/>
            <a:cxnLst>
              <a:cxn ang="0">
                <a:pos x="T0" y="T1"/>
              </a:cxn>
              <a:cxn ang="0">
                <a:pos x="T2" y="T3"/>
              </a:cxn>
              <a:cxn ang="0">
                <a:pos x="T4" y="T5"/>
              </a:cxn>
              <a:cxn ang="0">
                <a:pos x="T6" y="T7"/>
              </a:cxn>
              <a:cxn ang="0">
                <a:pos x="T8" y="T9"/>
              </a:cxn>
            </a:cxnLst>
            <a:rect l="0" t="0" r="r" b="b"/>
            <a:pathLst>
              <a:path w="58" h="59">
                <a:moveTo>
                  <a:pt x="58" y="0"/>
                </a:moveTo>
                <a:cubicBezTo>
                  <a:pt x="0" y="58"/>
                  <a:pt x="0" y="58"/>
                  <a:pt x="0" y="58"/>
                </a:cubicBezTo>
                <a:cubicBezTo>
                  <a:pt x="0" y="59"/>
                  <a:pt x="0" y="59"/>
                  <a:pt x="0" y="59"/>
                </a:cubicBezTo>
                <a:cubicBezTo>
                  <a:pt x="57" y="2"/>
                  <a:pt x="57" y="2"/>
                  <a:pt x="57" y="2"/>
                </a:cubicBezTo>
                <a:cubicBezTo>
                  <a:pt x="57" y="2"/>
                  <a:pt x="57" y="1"/>
                  <a:pt x="58" y="0"/>
                </a:cubicBezTo>
              </a:path>
            </a:pathLst>
          </a:custGeom>
          <a:solidFill>
            <a:srgbClr val="7491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83" name="Freeform 28">
            <a:extLst>
              <a:ext uri="{FF2B5EF4-FFF2-40B4-BE49-F238E27FC236}">
                <a16:creationId xmlns:a16="http://schemas.microsoft.com/office/drawing/2014/main" id="{A8EF2C27-3808-4AAA-A6F7-43D4725841DE}"/>
              </a:ext>
            </a:extLst>
          </p:cNvPr>
          <p:cNvSpPr>
            <a:spLocks/>
          </p:cNvSpPr>
          <p:nvPr/>
        </p:nvSpPr>
        <p:spPr bwMode="auto">
          <a:xfrm>
            <a:off x="5846029" y="5006102"/>
            <a:ext cx="144598" cy="141818"/>
          </a:xfrm>
          <a:custGeom>
            <a:avLst/>
            <a:gdLst>
              <a:gd name="T0" fmla="*/ 41 w 41"/>
              <a:gd name="T1" fmla="*/ 0 h 41"/>
              <a:gd name="T2" fmla="*/ 0 w 41"/>
              <a:gd name="T3" fmla="*/ 40 h 41"/>
              <a:gd name="T4" fmla="*/ 1 w 41"/>
              <a:gd name="T5" fmla="*/ 41 h 41"/>
              <a:gd name="T6" fmla="*/ 40 w 41"/>
              <a:gd name="T7" fmla="*/ 2 h 41"/>
              <a:gd name="T8" fmla="*/ 41 w 41"/>
              <a:gd name="T9" fmla="*/ 0 h 41"/>
            </a:gdLst>
            <a:ahLst/>
            <a:cxnLst>
              <a:cxn ang="0">
                <a:pos x="T0" y="T1"/>
              </a:cxn>
              <a:cxn ang="0">
                <a:pos x="T2" y="T3"/>
              </a:cxn>
              <a:cxn ang="0">
                <a:pos x="T4" y="T5"/>
              </a:cxn>
              <a:cxn ang="0">
                <a:pos x="T6" y="T7"/>
              </a:cxn>
              <a:cxn ang="0">
                <a:pos x="T8" y="T9"/>
              </a:cxn>
            </a:cxnLst>
            <a:rect l="0" t="0" r="r" b="b"/>
            <a:pathLst>
              <a:path w="41" h="41">
                <a:moveTo>
                  <a:pt x="41" y="0"/>
                </a:moveTo>
                <a:cubicBezTo>
                  <a:pt x="0" y="40"/>
                  <a:pt x="0" y="40"/>
                  <a:pt x="0" y="40"/>
                </a:cubicBezTo>
                <a:cubicBezTo>
                  <a:pt x="1" y="41"/>
                  <a:pt x="1" y="41"/>
                  <a:pt x="1" y="41"/>
                </a:cubicBezTo>
                <a:cubicBezTo>
                  <a:pt x="40" y="2"/>
                  <a:pt x="40" y="2"/>
                  <a:pt x="40" y="2"/>
                </a:cubicBezTo>
                <a:cubicBezTo>
                  <a:pt x="40" y="2"/>
                  <a:pt x="40" y="1"/>
                  <a:pt x="41" y="0"/>
                </a:cubicBezTo>
              </a:path>
            </a:pathLst>
          </a:custGeom>
          <a:solidFill>
            <a:srgbClr val="7491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84" name="Freeform 29">
            <a:extLst>
              <a:ext uri="{FF2B5EF4-FFF2-40B4-BE49-F238E27FC236}">
                <a16:creationId xmlns:a16="http://schemas.microsoft.com/office/drawing/2014/main" id="{186F76B7-E1FA-4ABB-9586-3CE4D985E20C}"/>
              </a:ext>
            </a:extLst>
          </p:cNvPr>
          <p:cNvSpPr>
            <a:spLocks/>
          </p:cNvSpPr>
          <p:nvPr/>
        </p:nvSpPr>
        <p:spPr bwMode="auto">
          <a:xfrm>
            <a:off x="5873837" y="5142358"/>
            <a:ext cx="52834" cy="55615"/>
          </a:xfrm>
          <a:custGeom>
            <a:avLst/>
            <a:gdLst>
              <a:gd name="T0" fmla="*/ 15 w 15"/>
              <a:gd name="T1" fmla="*/ 0 h 16"/>
              <a:gd name="T2" fmla="*/ 0 w 15"/>
              <a:gd name="T3" fmla="*/ 15 h 16"/>
              <a:gd name="T4" fmla="*/ 1 w 15"/>
              <a:gd name="T5" fmla="*/ 16 h 16"/>
              <a:gd name="T6" fmla="*/ 13 w 15"/>
              <a:gd name="T7" fmla="*/ 4 h 16"/>
              <a:gd name="T8" fmla="*/ 15 w 15"/>
              <a:gd name="T9" fmla="*/ 0 h 16"/>
            </a:gdLst>
            <a:ahLst/>
            <a:cxnLst>
              <a:cxn ang="0">
                <a:pos x="T0" y="T1"/>
              </a:cxn>
              <a:cxn ang="0">
                <a:pos x="T2" y="T3"/>
              </a:cxn>
              <a:cxn ang="0">
                <a:pos x="T4" y="T5"/>
              </a:cxn>
              <a:cxn ang="0">
                <a:pos x="T6" y="T7"/>
              </a:cxn>
              <a:cxn ang="0">
                <a:pos x="T8" y="T9"/>
              </a:cxn>
            </a:cxnLst>
            <a:rect l="0" t="0" r="r" b="b"/>
            <a:pathLst>
              <a:path w="15" h="16">
                <a:moveTo>
                  <a:pt x="15" y="0"/>
                </a:moveTo>
                <a:cubicBezTo>
                  <a:pt x="0" y="15"/>
                  <a:pt x="0" y="15"/>
                  <a:pt x="0" y="15"/>
                </a:cubicBezTo>
                <a:cubicBezTo>
                  <a:pt x="1" y="15"/>
                  <a:pt x="1" y="16"/>
                  <a:pt x="1" y="16"/>
                </a:cubicBezTo>
                <a:cubicBezTo>
                  <a:pt x="13" y="4"/>
                  <a:pt x="13" y="4"/>
                  <a:pt x="13" y="4"/>
                </a:cubicBezTo>
                <a:cubicBezTo>
                  <a:pt x="14" y="2"/>
                  <a:pt x="15" y="1"/>
                  <a:pt x="15" y="0"/>
                </a:cubicBezTo>
              </a:path>
            </a:pathLst>
          </a:custGeom>
          <a:solidFill>
            <a:srgbClr val="7491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85" name="Freeform 30">
            <a:extLst>
              <a:ext uri="{FF2B5EF4-FFF2-40B4-BE49-F238E27FC236}">
                <a16:creationId xmlns:a16="http://schemas.microsoft.com/office/drawing/2014/main" id="{8E72D283-D826-43CD-A661-3945FD83FEE8}"/>
              </a:ext>
            </a:extLst>
          </p:cNvPr>
          <p:cNvSpPr>
            <a:spLocks/>
          </p:cNvSpPr>
          <p:nvPr/>
        </p:nvSpPr>
        <p:spPr bwMode="auto">
          <a:xfrm>
            <a:off x="5656940" y="4374877"/>
            <a:ext cx="58396" cy="58396"/>
          </a:xfrm>
          <a:custGeom>
            <a:avLst/>
            <a:gdLst>
              <a:gd name="T0" fmla="*/ 15 w 16"/>
              <a:gd name="T1" fmla="*/ 0 h 17"/>
              <a:gd name="T2" fmla="*/ 0 w 16"/>
              <a:gd name="T3" fmla="*/ 15 h 17"/>
              <a:gd name="T4" fmla="*/ 0 w 16"/>
              <a:gd name="T5" fmla="*/ 17 h 17"/>
              <a:gd name="T6" fmla="*/ 16 w 16"/>
              <a:gd name="T7" fmla="*/ 1 h 17"/>
              <a:gd name="T8" fmla="*/ 15 w 16"/>
              <a:gd name="T9" fmla="*/ 0 h 17"/>
            </a:gdLst>
            <a:ahLst/>
            <a:cxnLst>
              <a:cxn ang="0">
                <a:pos x="T0" y="T1"/>
              </a:cxn>
              <a:cxn ang="0">
                <a:pos x="T2" y="T3"/>
              </a:cxn>
              <a:cxn ang="0">
                <a:pos x="T4" y="T5"/>
              </a:cxn>
              <a:cxn ang="0">
                <a:pos x="T6" y="T7"/>
              </a:cxn>
              <a:cxn ang="0">
                <a:pos x="T8" y="T9"/>
              </a:cxn>
            </a:cxnLst>
            <a:rect l="0" t="0" r="r" b="b"/>
            <a:pathLst>
              <a:path w="16" h="17">
                <a:moveTo>
                  <a:pt x="15" y="0"/>
                </a:moveTo>
                <a:cubicBezTo>
                  <a:pt x="0" y="15"/>
                  <a:pt x="0" y="15"/>
                  <a:pt x="0" y="15"/>
                </a:cubicBezTo>
                <a:cubicBezTo>
                  <a:pt x="0" y="16"/>
                  <a:pt x="0" y="16"/>
                  <a:pt x="0" y="17"/>
                </a:cubicBezTo>
                <a:cubicBezTo>
                  <a:pt x="16" y="1"/>
                  <a:pt x="16" y="1"/>
                  <a:pt x="16" y="1"/>
                </a:cubicBezTo>
                <a:cubicBezTo>
                  <a:pt x="16" y="0"/>
                  <a:pt x="15" y="0"/>
                  <a:pt x="15" y="0"/>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86" name="Freeform 31">
            <a:extLst>
              <a:ext uri="{FF2B5EF4-FFF2-40B4-BE49-F238E27FC236}">
                <a16:creationId xmlns:a16="http://schemas.microsoft.com/office/drawing/2014/main" id="{878D8BF1-FCB8-4271-8262-8E9D24EC79FB}"/>
              </a:ext>
            </a:extLst>
          </p:cNvPr>
          <p:cNvSpPr>
            <a:spLocks/>
          </p:cNvSpPr>
          <p:nvPr/>
        </p:nvSpPr>
        <p:spPr bwMode="auto">
          <a:xfrm>
            <a:off x="5679186" y="4388780"/>
            <a:ext cx="97326" cy="91765"/>
          </a:xfrm>
          <a:custGeom>
            <a:avLst/>
            <a:gdLst>
              <a:gd name="T0" fmla="*/ 27 w 28"/>
              <a:gd name="T1" fmla="*/ 0 h 27"/>
              <a:gd name="T2" fmla="*/ 0 w 28"/>
              <a:gd name="T3" fmla="*/ 27 h 27"/>
              <a:gd name="T4" fmla="*/ 1 w 28"/>
              <a:gd name="T5" fmla="*/ 27 h 27"/>
              <a:gd name="T6" fmla="*/ 28 w 28"/>
              <a:gd name="T7" fmla="*/ 1 h 27"/>
              <a:gd name="T8" fmla="*/ 27 w 28"/>
              <a:gd name="T9" fmla="*/ 0 h 27"/>
            </a:gdLst>
            <a:ahLst/>
            <a:cxnLst>
              <a:cxn ang="0">
                <a:pos x="T0" y="T1"/>
              </a:cxn>
              <a:cxn ang="0">
                <a:pos x="T2" y="T3"/>
              </a:cxn>
              <a:cxn ang="0">
                <a:pos x="T4" y="T5"/>
              </a:cxn>
              <a:cxn ang="0">
                <a:pos x="T6" y="T7"/>
              </a:cxn>
              <a:cxn ang="0">
                <a:pos x="T8" y="T9"/>
              </a:cxn>
            </a:cxnLst>
            <a:rect l="0" t="0" r="r" b="b"/>
            <a:pathLst>
              <a:path w="28" h="27">
                <a:moveTo>
                  <a:pt x="27" y="0"/>
                </a:moveTo>
                <a:cubicBezTo>
                  <a:pt x="0" y="27"/>
                  <a:pt x="0" y="27"/>
                  <a:pt x="0" y="27"/>
                </a:cubicBezTo>
                <a:cubicBezTo>
                  <a:pt x="1" y="27"/>
                  <a:pt x="1" y="27"/>
                  <a:pt x="1" y="27"/>
                </a:cubicBezTo>
                <a:cubicBezTo>
                  <a:pt x="28" y="1"/>
                  <a:pt x="28" y="1"/>
                  <a:pt x="28" y="1"/>
                </a:cubicBezTo>
                <a:cubicBezTo>
                  <a:pt x="27" y="1"/>
                  <a:pt x="27" y="0"/>
                  <a:pt x="27" y="0"/>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87" name="Freeform 32">
            <a:extLst>
              <a:ext uri="{FF2B5EF4-FFF2-40B4-BE49-F238E27FC236}">
                <a16:creationId xmlns:a16="http://schemas.microsoft.com/office/drawing/2014/main" id="{329B80C6-4339-48E4-9692-AA4C36805244}"/>
              </a:ext>
            </a:extLst>
          </p:cNvPr>
          <p:cNvSpPr>
            <a:spLocks/>
          </p:cNvSpPr>
          <p:nvPr/>
        </p:nvSpPr>
        <p:spPr bwMode="auto">
          <a:xfrm>
            <a:off x="5751485" y="4402684"/>
            <a:ext cx="88983" cy="77860"/>
          </a:xfrm>
          <a:custGeom>
            <a:avLst/>
            <a:gdLst>
              <a:gd name="T0" fmla="*/ 24 w 25"/>
              <a:gd name="T1" fmla="*/ 0 h 23"/>
              <a:gd name="T2" fmla="*/ 0 w 25"/>
              <a:gd name="T3" fmla="*/ 23 h 23"/>
              <a:gd name="T4" fmla="*/ 2 w 25"/>
              <a:gd name="T5" fmla="*/ 23 h 23"/>
              <a:gd name="T6" fmla="*/ 25 w 25"/>
              <a:gd name="T7" fmla="*/ 0 h 23"/>
              <a:gd name="T8" fmla="*/ 24 w 25"/>
              <a:gd name="T9" fmla="*/ 0 h 23"/>
            </a:gdLst>
            <a:ahLst/>
            <a:cxnLst>
              <a:cxn ang="0">
                <a:pos x="T0" y="T1"/>
              </a:cxn>
              <a:cxn ang="0">
                <a:pos x="T2" y="T3"/>
              </a:cxn>
              <a:cxn ang="0">
                <a:pos x="T4" y="T5"/>
              </a:cxn>
              <a:cxn ang="0">
                <a:pos x="T6" y="T7"/>
              </a:cxn>
              <a:cxn ang="0">
                <a:pos x="T8" y="T9"/>
              </a:cxn>
            </a:cxnLst>
            <a:rect l="0" t="0" r="r" b="b"/>
            <a:pathLst>
              <a:path w="25" h="23">
                <a:moveTo>
                  <a:pt x="24" y="0"/>
                </a:moveTo>
                <a:cubicBezTo>
                  <a:pt x="0" y="23"/>
                  <a:pt x="0" y="23"/>
                  <a:pt x="0" y="23"/>
                </a:cubicBezTo>
                <a:cubicBezTo>
                  <a:pt x="2" y="23"/>
                  <a:pt x="2" y="23"/>
                  <a:pt x="2" y="23"/>
                </a:cubicBezTo>
                <a:cubicBezTo>
                  <a:pt x="25" y="0"/>
                  <a:pt x="25" y="0"/>
                  <a:pt x="25" y="0"/>
                </a:cubicBezTo>
                <a:cubicBezTo>
                  <a:pt x="25" y="0"/>
                  <a:pt x="24" y="0"/>
                  <a:pt x="24" y="0"/>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88" name="Freeform 33">
            <a:extLst>
              <a:ext uri="{FF2B5EF4-FFF2-40B4-BE49-F238E27FC236}">
                <a16:creationId xmlns:a16="http://schemas.microsoft.com/office/drawing/2014/main" id="{6FE3E3C9-6501-430E-8054-3ADD45B4B297}"/>
              </a:ext>
            </a:extLst>
          </p:cNvPr>
          <p:cNvSpPr>
            <a:spLocks/>
          </p:cNvSpPr>
          <p:nvPr/>
        </p:nvSpPr>
        <p:spPr bwMode="auto">
          <a:xfrm>
            <a:off x="5829345" y="4411026"/>
            <a:ext cx="77860" cy="69519"/>
          </a:xfrm>
          <a:custGeom>
            <a:avLst/>
            <a:gdLst>
              <a:gd name="T0" fmla="*/ 21 w 22"/>
              <a:gd name="T1" fmla="*/ 0 h 20"/>
              <a:gd name="T2" fmla="*/ 0 w 22"/>
              <a:gd name="T3" fmla="*/ 20 h 20"/>
              <a:gd name="T4" fmla="*/ 2 w 22"/>
              <a:gd name="T5" fmla="*/ 20 h 20"/>
              <a:gd name="T6" fmla="*/ 22 w 22"/>
              <a:gd name="T7" fmla="*/ 0 h 20"/>
              <a:gd name="T8" fmla="*/ 21 w 22"/>
              <a:gd name="T9" fmla="*/ 0 h 20"/>
            </a:gdLst>
            <a:ahLst/>
            <a:cxnLst>
              <a:cxn ang="0">
                <a:pos x="T0" y="T1"/>
              </a:cxn>
              <a:cxn ang="0">
                <a:pos x="T2" y="T3"/>
              </a:cxn>
              <a:cxn ang="0">
                <a:pos x="T4" y="T5"/>
              </a:cxn>
              <a:cxn ang="0">
                <a:pos x="T6" y="T7"/>
              </a:cxn>
              <a:cxn ang="0">
                <a:pos x="T8" y="T9"/>
              </a:cxn>
            </a:cxnLst>
            <a:rect l="0" t="0" r="r" b="b"/>
            <a:pathLst>
              <a:path w="22" h="20">
                <a:moveTo>
                  <a:pt x="21" y="0"/>
                </a:moveTo>
                <a:cubicBezTo>
                  <a:pt x="0" y="20"/>
                  <a:pt x="0" y="20"/>
                  <a:pt x="0" y="20"/>
                </a:cubicBezTo>
                <a:cubicBezTo>
                  <a:pt x="2" y="20"/>
                  <a:pt x="2" y="20"/>
                  <a:pt x="2" y="20"/>
                </a:cubicBezTo>
                <a:cubicBezTo>
                  <a:pt x="22" y="0"/>
                  <a:pt x="22" y="0"/>
                  <a:pt x="22" y="0"/>
                </a:cubicBezTo>
                <a:cubicBezTo>
                  <a:pt x="22" y="0"/>
                  <a:pt x="21" y="0"/>
                  <a:pt x="21" y="0"/>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89" name="Freeform 34">
            <a:extLst>
              <a:ext uri="{FF2B5EF4-FFF2-40B4-BE49-F238E27FC236}">
                <a16:creationId xmlns:a16="http://schemas.microsoft.com/office/drawing/2014/main" id="{9592F688-55AC-4B0C-A325-6153DCE7092C}"/>
              </a:ext>
            </a:extLst>
          </p:cNvPr>
          <p:cNvSpPr>
            <a:spLocks/>
          </p:cNvSpPr>
          <p:nvPr/>
        </p:nvSpPr>
        <p:spPr bwMode="auto">
          <a:xfrm>
            <a:off x="5907205" y="4416587"/>
            <a:ext cx="69519" cy="63957"/>
          </a:xfrm>
          <a:custGeom>
            <a:avLst/>
            <a:gdLst>
              <a:gd name="T0" fmla="*/ 19 w 20"/>
              <a:gd name="T1" fmla="*/ 0 h 19"/>
              <a:gd name="T2" fmla="*/ 0 w 20"/>
              <a:gd name="T3" fmla="*/ 19 h 19"/>
              <a:gd name="T4" fmla="*/ 1 w 20"/>
              <a:gd name="T5" fmla="*/ 19 h 19"/>
              <a:gd name="T6" fmla="*/ 20 w 20"/>
              <a:gd name="T7" fmla="*/ 0 h 19"/>
              <a:gd name="T8" fmla="*/ 19 w 20"/>
              <a:gd name="T9" fmla="*/ 0 h 19"/>
            </a:gdLst>
            <a:ahLst/>
            <a:cxnLst>
              <a:cxn ang="0">
                <a:pos x="T0" y="T1"/>
              </a:cxn>
              <a:cxn ang="0">
                <a:pos x="T2" y="T3"/>
              </a:cxn>
              <a:cxn ang="0">
                <a:pos x="T4" y="T5"/>
              </a:cxn>
              <a:cxn ang="0">
                <a:pos x="T6" y="T7"/>
              </a:cxn>
              <a:cxn ang="0">
                <a:pos x="T8" y="T9"/>
              </a:cxn>
            </a:cxnLst>
            <a:rect l="0" t="0" r="r" b="b"/>
            <a:pathLst>
              <a:path w="20" h="19">
                <a:moveTo>
                  <a:pt x="19" y="0"/>
                </a:moveTo>
                <a:cubicBezTo>
                  <a:pt x="0" y="19"/>
                  <a:pt x="0" y="19"/>
                  <a:pt x="0" y="19"/>
                </a:cubicBezTo>
                <a:cubicBezTo>
                  <a:pt x="1" y="19"/>
                  <a:pt x="1" y="19"/>
                  <a:pt x="1" y="19"/>
                </a:cubicBezTo>
                <a:cubicBezTo>
                  <a:pt x="20" y="0"/>
                  <a:pt x="20" y="0"/>
                  <a:pt x="20" y="0"/>
                </a:cubicBezTo>
                <a:cubicBezTo>
                  <a:pt x="20" y="0"/>
                  <a:pt x="19" y="0"/>
                  <a:pt x="19" y="0"/>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90" name="Freeform 35">
            <a:extLst>
              <a:ext uri="{FF2B5EF4-FFF2-40B4-BE49-F238E27FC236}">
                <a16:creationId xmlns:a16="http://schemas.microsoft.com/office/drawing/2014/main" id="{FA637AFC-203F-4DB2-A360-A8878D55BF8E}"/>
              </a:ext>
            </a:extLst>
          </p:cNvPr>
          <p:cNvSpPr>
            <a:spLocks/>
          </p:cNvSpPr>
          <p:nvPr/>
        </p:nvSpPr>
        <p:spPr bwMode="auto">
          <a:xfrm>
            <a:off x="5982285" y="4419368"/>
            <a:ext cx="63957" cy="61176"/>
          </a:xfrm>
          <a:custGeom>
            <a:avLst/>
            <a:gdLst>
              <a:gd name="T0" fmla="*/ 18 w 18"/>
              <a:gd name="T1" fmla="*/ 0 h 18"/>
              <a:gd name="T2" fmla="*/ 0 w 18"/>
              <a:gd name="T3" fmla="*/ 18 h 18"/>
              <a:gd name="T4" fmla="*/ 1 w 18"/>
              <a:gd name="T5" fmla="*/ 18 h 18"/>
              <a:gd name="T6" fmla="*/ 18 w 18"/>
              <a:gd name="T7" fmla="*/ 1 h 18"/>
              <a:gd name="T8" fmla="*/ 18 w 18"/>
              <a:gd name="T9" fmla="*/ 0 h 18"/>
            </a:gdLst>
            <a:ahLst/>
            <a:cxnLst>
              <a:cxn ang="0">
                <a:pos x="T0" y="T1"/>
              </a:cxn>
              <a:cxn ang="0">
                <a:pos x="T2" y="T3"/>
              </a:cxn>
              <a:cxn ang="0">
                <a:pos x="T4" y="T5"/>
              </a:cxn>
              <a:cxn ang="0">
                <a:pos x="T6" y="T7"/>
              </a:cxn>
              <a:cxn ang="0">
                <a:pos x="T8" y="T9"/>
              </a:cxn>
            </a:cxnLst>
            <a:rect l="0" t="0" r="r" b="b"/>
            <a:pathLst>
              <a:path w="18" h="18">
                <a:moveTo>
                  <a:pt x="18" y="0"/>
                </a:moveTo>
                <a:cubicBezTo>
                  <a:pt x="0" y="18"/>
                  <a:pt x="0" y="18"/>
                  <a:pt x="0" y="18"/>
                </a:cubicBezTo>
                <a:cubicBezTo>
                  <a:pt x="1" y="18"/>
                  <a:pt x="1" y="18"/>
                  <a:pt x="1" y="18"/>
                </a:cubicBezTo>
                <a:cubicBezTo>
                  <a:pt x="18" y="1"/>
                  <a:pt x="18" y="1"/>
                  <a:pt x="18" y="1"/>
                </a:cubicBezTo>
                <a:cubicBezTo>
                  <a:pt x="18" y="1"/>
                  <a:pt x="18" y="1"/>
                  <a:pt x="18" y="0"/>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91" name="Freeform 36">
            <a:extLst>
              <a:ext uri="{FF2B5EF4-FFF2-40B4-BE49-F238E27FC236}">
                <a16:creationId xmlns:a16="http://schemas.microsoft.com/office/drawing/2014/main" id="{49E679F8-68AB-4CB4-8464-B5DE178F7E48}"/>
              </a:ext>
            </a:extLst>
          </p:cNvPr>
          <p:cNvSpPr>
            <a:spLocks noEditPoints="1"/>
          </p:cNvSpPr>
          <p:nvPr/>
        </p:nvSpPr>
        <p:spPr bwMode="auto">
          <a:xfrm>
            <a:off x="4806036" y="3318199"/>
            <a:ext cx="27807" cy="0"/>
          </a:xfrm>
          <a:custGeom>
            <a:avLst/>
            <a:gdLst>
              <a:gd name="T0" fmla="*/ 8 w 8"/>
              <a:gd name="T1" fmla="*/ 8 w 8"/>
              <a:gd name="T2" fmla="*/ 8 w 8"/>
              <a:gd name="T3" fmla="*/ 8 w 8"/>
              <a:gd name="T4" fmla="*/ 7 w 8"/>
              <a:gd name="T5" fmla="*/ 7 w 8"/>
              <a:gd name="T6" fmla="*/ 7 w 8"/>
              <a:gd name="T7" fmla="*/ 7 w 8"/>
              <a:gd name="T8" fmla="*/ 7 w 8"/>
              <a:gd name="T9" fmla="*/ 6 w 8"/>
              <a:gd name="T10" fmla="*/ 6 w 8"/>
              <a:gd name="T11" fmla="*/ 6 w 8"/>
              <a:gd name="T12" fmla="*/ 6 w 8"/>
              <a:gd name="T13" fmla="*/ 5 w 8"/>
              <a:gd name="T14" fmla="*/ 5 w 8"/>
              <a:gd name="T15" fmla="*/ 4 w 8"/>
              <a:gd name="T16" fmla="*/ 4 w 8"/>
              <a:gd name="T17" fmla="*/ 4 w 8"/>
              <a:gd name="T18" fmla="*/ 4 w 8"/>
              <a:gd name="T19" fmla="*/ 3 w 8"/>
              <a:gd name="T20" fmla="*/ 3 w 8"/>
              <a:gd name="T21" fmla="*/ 3 w 8"/>
              <a:gd name="T22" fmla="*/ 3 w 8"/>
              <a:gd name="T23" fmla="*/ 3 w 8"/>
              <a:gd name="T24" fmla="*/ 3 w 8"/>
              <a:gd name="T25" fmla="*/ 0 w 8"/>
              <a:gd name="T26" fmla="*/ 0 w 8"/>
              <a:gd name="T27" fmla="*/ 2 w 8"/>
              <a:gd name="T28" fmla="*/ 1 w 8"/>
              <a:gd name="T29" fmla="*/ 1 w 8"/>
              <a:gd name="T30" fmla="*/ 2 w 8"/>
              <a:gd name="T31" fmla="*/ 1 w 8"/>
              <a:gd name="T32" fmla="*/ 1 w 8"/>
              <a:gd name="T33" fmla="*/ 2 w 8"/>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 ang="0">
                <a:pos x="T11" y="0"/>
              </a:cxn>
              <a:cxn ang="0">
                <a:pos x="T12" y="0"/>
              </a:cxn>
              <a:cxn ang="0">
                <a:pos x="T13" y="0"/>
              </a:cxn>
              <a:cxn ang="0">
                <a:pos x="T14" y="0"/>
              </a:cxn>
              <a:cxn ang="0">
                <a:pos x="T15" y="0"/>
              </a:cxn>
              <a:cxn ang="0">
                <a:pos x="T16" y="0"/>
              </a:cxn>
              <a:cxn ang="0">
                <a:pos x="T17" y="0"/>
              </a:cxn>
              <a:cxn ang="0">
                <a:pos x="T18" y="0"/>
              </a:cxn>
              <a:cxn ang="0">
                <a:pos x="T19" y="0"/>
              </a:cxn>
              <a:cxn ang="0">
                <a:pos x="T20" y="0"/>
              </a:cxn>
              <a:cxn ang="0">
                <a:pos x="T21" y="0"/>
              </a:cxn>
              <a:cxn ang="0">
                <a:pos x="T22" y="0"/>
              </a:cxn>
              <a:cxn ang="0">
                <a:pos x="T23" y="0"/>
              </a:cxn>
              <a:cxn ang="0">
                <a:pos x="T24" y="0"/>
              </a:cxn>
              <a:cxn ang="0">
                <a:pos x="T25" y="0"/>
              </a:cxn>
              <a:cxn ang="0">
                <a:pos x="T26" y="0"/>
              </a:cxn>
              <a:cxn ang="0">
                <a:pos x="T27" y="0"/>
              </a:cxn>
              <a:cxn ang="0">
                <a:pos x="T28" y="0"/>
              </a:cxn>
              <a:cxn ang="0">
                <a:pos x="T29" y="0"/>
              </a:cxn>
              <a:cxn ang="0">
                <a:pos x="T30" y="0"/>
              </a:cxn>
              <a:cxn ang="0">
                <a:pos x="T31" y="0"/>
              </a:cxn>
              <a:cxn ang="0">
                <a:pos x="T32" y="0"/>
              </a:cxn>
              <a:cxn ang="0">
                <a:pos x="T33" y="0"/>
              </a:cxn>
            </a:cxnLst>
            <a:rect l="0" t="0" r="r" b="b"/>
            <a:pathLst>
              <a:path w="8">
                <a:moveTo>
                  <a:pt x="8" y="0"/>
                </a:moveTo>
                <a:cubicBezTo>
                  <a:pt x="8" y="0"/>
                  <a:pt x="8" y="0"/>
                  <a:pt x="8" y="0"/>
                </a:cubicBezTo>
                <a:cubicBezTo>
                  <a:pt x="8" y="0"/>
                  <a:pt x="8" y="0"/>
                  <a:pt x="8" y="0"/>
                </a:cubicBezTo>
                <a:moveTo>
                  <a:pt x="8" y="0"/>
                </a:moveTo>
                <a:cubicBezTo>
                  <a:pt x="8" y="0"/>
                  <a:pt x="8" y="0"/>
                  <a:pt x="8" y="0"/>
                </a:cubicBezTo>
                <a:cubicBezTo>
                  <a:pt x="8" y="0"/>
                  <a:pt x="8" y="0"/>
                  <a:pt x="8" y="0"/>
                </a:cubicBezTo>
                <a:moveTo>
                  <a:pt x="8" y="0"/>
                </a:moveTo>
                <a:cubicBezTo>
                  <a:pt x="8" y="0"/>
                  <a:pt x="8" y="0"/>
                  <a:pt x="8" y="0"/>
                </a:cubicBezTo>
                <a:cubicBezTo>
                  <a:pt x="8" y="0"/>
                  <a:pt x="8" y="0"/>
                  <a:pt x="8" y="0"/>
                </a:cubicBezTo>
                <a:moveTo>
                  <a:pt x="7" y="0"/>
                </a:moveTo>
                <a:cubicBezTo>
                  <a:pt x="7" y="0"/>
                  <a:pt x="7" y="0"/>
                  <a:pt x="7" y="0"/>
                </a:cubicBezTo>
                <a:cubicBezTo>
                  <a:pt x="7" y="0"/>
                  <a:pt x="7" y="0"/>
                  <a:pt x="7" y="0"/>
                </a:cubicBezTo>
                <a:moveTo>
                  <a:pt x="7" y="0"/>
                </a:moveTo>
                <a:cubicBezTo>
                  <a:pt x="7" y="0"/>
                  <a:pt x="7" y="0"/>
                  <a:pt x="7" y="0"/>
                </a:cubicBezTo>
                <a:cubicBezTo>
                  <a:pt x="7" y="0"/>
                  <a:pt x="7" y="0"/>
                  <a:pt x="7" y="0"/>
                </a:cubicBezTo>
                <a:moveTo>
                  <a:pt x="7" y="0"/>
                </a:moveTo>
                <a:cubicBezTo>
                  <a:pt x="7" y="0"/>
                  <a:pt x="7" y="0"/>
                  <a:pt x="7" y="0"/>
                </a:cubicBezTo>
                <a:cubicBezTo>
                  <a:pt x="7" y="0"/>
                  <a:pt x="7" y="0"/>
                  <a:pt x="7" y="0"/>
                </a:cubicBezTo>
                <a:moveTo>
                  <a:pt x="6" y="0"/>
                </a:moveTo>
                <a:cubicBezTo>
                  <a:pt x="6" y="0"/>
                  <a:pt x="6" y="0"/>
                  <a:pt x="6" y="0"/>
                </a:cubicBezTo>
                <a:cubicBezTo>
                  <a:pt x="6" y="0"/>
                  <a:pt x="6" y="0"/>
                  <a:pt x="6" y="0"/>
                </a:cubicBezTo>
                <a:moveTo>
                  <a:pt x="6" y="0"/>
                </a:moveTo>
                <a:cubicBezTo>
                  <a:pt x="6" y="0"/>
                  <a:pt x="6" y="0"/>
                  <a:pt x="6" y="0"/>
                </a:cubicBezTo>
                <a:cubicBezTo>
                  <a:pt x="6" y="0"/>
                  <a:pt x="6" y="0"/>
                  <a:pt x="6" y="0"/>
                </a:cubicBezTo>
                <a:moveTo>
                  <a:pt x="6" y="0"/>
                </a:moveTo>
                <a:cubicBezTo>
                  <a:pt x="6" y="0"/>
                  <a:pt x="6" y="0"/>
                  <a:pt x="6" y="0"/>
                </a:cubicBezTo>
                <a:cubicBezTo>
                  <a:pt x="6" y="0"/>
                  <a:pt x="6" y="0"/>
                  <a:pt x="6" y="0"/>
                </a:cubicBezTo>
                <a:moveTo>
                  <a:pt x="5" y="0"/>
                </a:moveTo>
                <a:cubicBezTo>
                  <a:pt x="5" y="0"/>
                  <a:pt x="5" y="0"/>
                  <a:pt x="5" y="0"/>
                </a:cubicBezTo>
                <a:cubicBezTo>
                  <a:pt x="5" y="0"/>
                  <a:pt x="5" y="0"/>
                  <a:pt x="5" y="0"/>
                </a:cubicBezTo>
                <a:moveTo>
                  <a:pt x="4" y="0"/>
                </a:moveTo>
                <a:cubicBezTo>
                  <a:pt x="4" y="0"/>
                  <a:pt x="4" y="0"/>
                  <a:pt x="4" y="0"/>
                </a:cubicBezTo>
                <a:cubicBezTo>
                  <a:pt x="4" y="0"/>
                  <a:pt x="4" y="0"/>
                  <a:pt x="4" y="0"/>
                </a:cubicBezTo>
                <a:moveTo>
                  <a:pt x="4" y="0"/>
                </a:moveTo>
                <a:cubicBezTo>
                  <a:pt x="4" y="0"/>
                  <a:pt x="4" y="0"/>
                  <a:pt x="4" y="0"/>
                </a:cubicBezTo>
                <a:cubicBezTo>
                  <a:pt x="4" y="0"/>
                  <a:pt x="4" y="0"/>
                  <a:pt x="4" y="0"/>
                </a:cubicBezTo>
                <a:moveTo>
                  <a:pt x="4" y="0"/>
                </a:moveTo>
                <a:cubicBezTo>
                  <a:pt x="4" y="0"/>
                  <a:pt x="4" y="0"/>
                  <a:pt x="4" y="0"/>
                </a:cubicBezTo>
                <a:cubicBezTo>
                  <a:pt x="4" y="0"/>
                  <a:pt x="4" y="0"/>
                  <a:pt x="4" y="0"/>
                </a:cubicBezTo>
                <a:moveTo>
                  <a:pt x="3" y="0"/>
                </a:moveTo>
                <a:cubicBezTo>
                  <a:pt x="3" y="0"/>
                  <a:pt x="3" y="0"/>
                  <a:pt x="4" y="0"/>
                </a:cubicBezTo>
                <a:cubicBezTo>
                  <a:pt x="3" y="0"/>
                  <a:pt x="3" y="0"/>
                  <a:pt x="3" y="0"/>
                </a:cubicBezTo>
                <a:moveTo>
                  <a:pt x="3" y="0"/>
                </a:moveTo>
                <a:cubicBezTo>
                  <a:pt x="3" y="0"/>
                  <a:pt x="3" y="0"/>
                  <a:pt x="3" y="0"/>
                </a:cubicBezTo>
                <a:cubicBezTo>
                  <a:pt x="3" y="0"/>
                  <a:pt x="3" y="0"/>
                  <a:pt x="3" y="0"/>
                </a:cubicBezTo>
                <a:moveTo>
                  <a:pt x="3" y="0"/>
                </a:moveTo>
                <a:cubicBezTo>
                  <a:pt x="3" y="0"/>
                  <a:pt x="3" y="0"/>
                  <a:pt x="3" y="0"/>
                </a:cubicBezTo>
                <a:cubicBezTo>
                  <a:pt x="3" y="0"/>
                  <a:pt x="3" y="0"/>
                  <a:pt x="3" y="0"/>
                </a:cubicBezTo>
                <a:moveTo>
                  <a:pt x="2" y="0"/>
                </a:moveTo>
                <a:cubicBezTo>
                  <a:pt x="3" y="0"/>
                  <a:pt x="3" y="0"/>
                  <a:pt x="3" y="0"/>
                </a:cubicBezTo>
                <a:cubicBezTo>
                  <a:pt x="3" y="0"/>
                  <a:pt x="3" y="0"/>
                  <a:pt x="2" y="0"/>
                </a:cubicBezTo>
                <a:moveTo>
                  <a:pt x="0" y="0"/>
                </a:moveTo>
                <a:cubicBezTo>
                  <a:pt x="0" y="0"/>
                  <a:pt x="0" y="0"/>
                  <a:pt x="0" y="0"/>
                </a:cubicBezTo>
                <a:cubicBezTo>
                  <a:pt x="0" y="0"/>
                  <a:pt x="0" y="0"/>
                  <a:pt x="0" y="0"/>
                </a:cubicBezTo>
                <a:moveTo>
                  <a:pt x="2" y="0"/>
                </a:moveTo>
                <a:cubicBezTo>
                  <a:pt x="2" y="0"/>
                  <a:pt x="2" y="0"/>
                  <a:pt x="2" y="0"/>
                </a:cubicBezTo>
                <a:cubicBezTo>
                  <a:pt x="2" y="0"/>
                  <a:pt x="2" y="0"/>
                  <a:pt x="2" y="0"/>
                </a:cubicBezTo>
                <a:moveTo>
                  <a:pt x="1" y="0"/>
                </a:moveTo>
                <a:cubicBezTo>
                  <a:pt x="1" y="0"/>
                  <a:pt x="1" y="0"/>
                  <a:pt x="0" y="0"/>
                </a:cubicBezTo>
                <a:cubicBezTo>
                  <a:pt x="1" y="0"/>
                  <a:pt x="1" y="0"/>
                  <a:pt x="1" y="0"/>
                </a:cubicBezTo>
                <a:moveTo>
                  <a:pt x="2" y="0"/>
                </a:moveTo>
                <a:cubicBezTo>
                  <a:pt x="2" y="0"/>
                  <a:pt x="2" y="0"/>
                  <a:pt x="2" y="0"/>
                </a:cubicBezTo>
                <a:cubicBezTo>
                  <a:pt x="2" y="0"/>
                  <a:pt x="2" y="0"/>
                  <a:pt x="2" y="0"/>
                </a:cubicBezTo>
                <a:moveTo>
                  <a:pt x="1" y="0"/>
                </a:moveTo>
                <a:cubicBezTo>
                  <a:pt x="1" y="0"/>
                  <a:pt x="1" y="0"/>
                  <a:pt x="1" y="0"/>
                </a:cubicBezTo>
                <a:cubicBezTo>
                  <a:pt x="1" y="0"/>
                  <a:pt x="1" y="0"/>
                  <a:pt x="1" y="0"/>
                </a:cubicBezTo>
                <a:moveTo>
                  <a:pt x="2" y="0"/>
                </a:moveTo>
                <a:cubicBezTo>
                  <a:pt x="2" y="0"/>
                  <a:pt x="2" y="0"/>
                  <a:pt x="2" y="0"/>
                </a:cubicBezTo>
                <a:cubicBezTo>
                  <a:pt x="2" y="0"/>
                  <a:pt x="2" y="0"/>
                  <a:pt x="2" y="0"/>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92" name="Freeform 37">
            <a:extLst>
              <a:ext uri="{FF2B5EF4-FFF2-40B4-BE49-F238E27FC236}">
                <a16:creationId xmlns:a16="http://schemas.microsoft.com/office/drawing/2014/main" id="{AF3F0E47-379D-4347-8217-EBCB264E2988}"/>
              </a:ext>
            </a:extLst>
          </p:cNvPr>
          <p:cNvSpPr>
            <a:spLocks noEditPoints="1"/>
          </p:cNvSpPr>
          <p:nvPr/>
        </p:nvSpPr>
        <p:spPr bwMode="auto">
          <a:xfrm>
            <a:off x="4650316" y="3318199"/>
            <a:ext cx="1112292" cy="995501"/>
          </a:xfrm>
          <a:custGeom>
            <a:avLst/>
            <a:gdLst>
              <a:gd name="T0" fmla="*/ 275 w 319"/>
              <a:gd name="T1" fmla="*/ 277 h 285"/>
              <a:gd name="T2" fmla="*/ 271 w 319"/>
              <a:gd name="T3" fmla="*/ 258 h 285"/>
              <a:gd name="T4" fmla="*/ 278 w 319"/>
              <a:gd name="T5" fmla="*/ 249 h 285"/>
              <a:gd name="T6" fmla="*/ 241 w 319"/>
              <a:gd name="T7" fmla="*/ 264 h 285"/>
              <a:gd name="T8" fmla="*/ 241 w 319"/>
              <a:gd name="T9" fmla="*/ 264 h 285"/>
              <a:gd name="T10" fmla="*/ 271 w 319"/>
              <a:gd name="T11" fmla="*/ 235 h 285"/>
              <a:gd name="T12" fmla="*/ 271 w 319"/>
              <a:gd name="T13" fmla="*/ 213 h 285"/>
              <a:gd name="T14" fmla="*/ 287 w 319"/>
              <a:gd name="T15" fmla="*/ 195 h 285"/>
              <a:gd name="T16" fmla="*/ 210 w 319"/>
              <a:gd name="T17" fmla="*/ 250 h 285"/>
              <a:gd name="T18" fmla="*/ 210 w 319"/>
              <a:gd name="T19" fmla="*/ 250 h 285"/>
              <a:gd name="T20" fmla="*/ 196 w 319"/>
              <a:gd name="T21" fmla="*/ 243 h 285"/>
              <a:gd name="T22" fmla="*/ 295 w 319"/>
              <a:gd name="T23" fmla="*/ 167 h 285"/>
              <a:gd name="T24" fmla="*/ 271 w 319"/>
              <a:gd name="T25" fmla="*/ 143 h 285"/>
              <a:gd name="T26" fmla="*/ 271 w 319"/>
              <a:gd name="T27" fmla="*/ 166 h 285"/>
              <a:gd name="T28" fmla="*/ 271 w 319"/>
              <a:gd name="T29" fmla="*/ 166 h 285"/>
              <a:gd name="T30" fmla="*/ 168 w 319"/>
              <a:gd name="T31" fmla="*/ 225 h 285"/>
              <a:gd name="T32" fmla="*/ 302 w 319"/>
              <a:gd name="T33" fmla="*/ 115 h 285"/>
              <a:gd name="T34" fmla="*/ 290 w 319"/>
              <a:gd name="T35" fmla="*/ 102 h 285"/>
              <a:gd name="T36" fmla="*/ 154 w 319"/>
              <a:gd name="T37" fmla="*/ 215 h 285"/>
              <a:gd name="T38" fmla="*/ 154 w 319"/>
              <a:gd name="T39" fmla="*/ 215 h 285"/>
              <a:gd name="T40" fmla="*/ 271 w 319"/>
              <a:gd name="T41" fmla="*/ 99 h 285"/>
              <a:gd name="T42" fmla="*/ 266 w 319"/>
              <a:gd name="T43" fmla="*/ 82 h 285"/>
              <a:gd name="T44" fmla="*/ 252 w 319"/>
              <a:gd name="T45" fmla="*/ 72 h 285"/>
              <a:gd name="T46" fmla="*/ 117 w 319"/>
              <a:gd name="T47" fmla="*/ 184 h 285"/>
              <a:gd name="T48" fmla="*/ 117 w 319"/>
              <a:gd name="T49" fmla="*/ 184 h 285"/>
              <a:gd name="T50" fmla="*/ 107 w 319"/>
              <a:gd name="T51" fmla="*/ 174 h 285"/>
              <a:gd name="T52" fmla="*/ 211 w 319"/>
              <a:gd name="T53" fmla="*/ 46 h 285"/>
              <a:gd name="T54" fmla="*/ 195 w 319"/>
              <a:gd name="T55" fmla="*/ 38 h 285"/>
              <a:gd name="T56" fmla="*/ 85 w 319"/>
              <a:gd name="T57" fmla="*/ 150 h 285"/>
              <a:gd name="T58" fmla="*/ 169 w 319"/>
              <a:gd name="T59" fmla="*/ 42 h 285"/>
              <a:gd name="T60" fmla="*/ 170 w 319"/>
              <a:gd name="T61" fmla="*/ 42 h 285"/>
              <a:gd name="T62" fmla="*/ 169 w 319"/>
              <a:gd name="T63" fmla="*/ 42 h 285"/>
              <a:gd name="T64" fmla="*/ 148 w 319"/>
              <a:gd name="T65" fmla="*/ 42 h 285"/>
              <a:gd name="T66" fmla="*/ 146 w 319"/>
              <a:gd name="T67" fmla="*/ 42 h 285"/>
              <a:gd name="T68" fmla="*/ 146 w 319"/>
              <a:gd name="T69" fmla="*/ 21 h 285"/>
              <a:gd name="T70" fmla="*/ 56 w 319"/>
              <a:gd name="T71" fmla="*/ 110 h 285"/>
              <a:gd name="T72" fmla="*/ 127 w 319"/>
              <a:gd name="T73" fmla="*/ 16 h 285"/>
              <a:gd name="T74" fmla="*/ 48 w 319"/>
              <a:gd name="T75" fmla="*/ 97 h 285"/>
              <a:gd name="T76" fmla="*/ 78 w 319"/>
              <a:gd name="T77" fmla="*/ 42 h 285"/>
              <a:gd name="T78" fmla="*/ 80 w 319"/>
              <a:gd name="T79" fmla="*/ 42 h 285"/>
              <a:gd name="T80" fmla="*/ 78 w 319"/>
              <a:gd name="T81" fmla="*/ 42 h 285"/>
              <a:gd name="T82" fmla="*/ 57 w 319"/>
              <a:gd name="T83" fmla="*/ 42 h 285"/>
              <a:gd name="T84" fmla="*/ 55 w 319"/>
              <a:gd name="T85" fmla="*/ 42 h 285"/>
              <a:gd name="T86" fmla="*/ 12 w 319"/>
              <a:gd name="T87" fmla="*/ 19 h 285"/>
              <a:gd name="T88" fmla="*/ 67 w 319"/>
              <a:gd name="T89" fmla="*/ 8 h 285"/>
              <a:gd name="T90" fmla="*/ 25 w 319"/>
              <a:gd name="T91" fmla="*/ 52 h 285"/>
              <a:gd name="T92" fmla="*/ 44 w 319"/>
              <a:gd name="T93" fmla="*/ 8 h 285"/>
              <a:gd name="T94" fmla="*/ 44 w 319"/>
              <a:gd name="T95" fmla="*/ 8 h 285"/>
              <a:gd name="T96" fmla="*/ 46 w 319"/>
              <a:gd name="T97" fmla="*/ 0 h 285"/>
              <a:gd name="T98" fmla="*/ 45 w 319"/>
              <a:gd name="T99" fmla="*/ 0 h 285"/>
              <a:gd name="T100" fmla="*/ 53 w 319"/>
              <a:gd name="T101" fmla="*/ 0 h 285"/>
              <a:gd name="T102" fmla="*/ 53 w 319"/>
              <a:gd name="T103" fmla="*/ 0 h 285"/>
              <a:gd name="T104" fmla="*/ 52 w 319"/>
              <a:gd name="T105" fmla="*/ 0 h 285"/>
              <a:gd name="T106" fmla="*/ 51 w 319"/>
              <a:gd name="T107" fmla="*/ 0 h 285"/>
              <a:gd name="T108" fmla="*/ 51 w 319"/>
              <a:gd name="T109" fmla="*/ 0 h 285"/>
              <a:gd name="T110" fmla="*/ 49 w 319"/>
              <a:gd name="T111" fmla="*/ 0 h 285"/>
              <a:gd name="T112" fmla="*/ 49 w 319"/>
              <a:gd name="T113" fmla="*/ 0 h 285"/>
              <a:gd name="T114" fmla="*/ 48 w 319"/>
              <a:gd name="T115" fmla="*/ 0 h 285"/>
              <a:gd name="T116" fmla="*/ 48 w 319"/>
              <a:gd name="T117" fmla="*/ 0 h 285"/>
              <a:gd name="T118" fmla="*/ 47 w 319"/>
              <a:gd name="T119" fmla="*/ 0 h 285"/>
              <a:gd name="T120" fmla="*/ 46 w 319"/>
              <a:gd name="T121" fmla="*/ 0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19" h="285">
                <a:moveTo>
                  <a:pt x="274" y="276"/>
                </a:moveTo>
                <a:cubicBezTo>
                  <a:pt x="277" y="274"/>
                  <a:pt x="277" y="274"/>
                  <a:pt x="277" y="274"/>
                </a:cubicBezTo>
                <a:cubicBezTo>
                  <a:pt x="277" y="275"/>
                  <a:pt x="277" y="275"/>
                  <a:pt x="277" y="276"/>
                </a:cubicBezTo>
                <a:cubicBezTo>
                  <a:pt x="275" y="277"/>
                  <a:pt x="275" y="277"/>
                  <a:pt x="275" y="277"/>
                </a:cubicBezTo>
                <a:cubicBezTo>
                  <a:pt x="275" y="277"/>
                  <a:pt x="275" y="277"/>
                  <a:pt x="274" y="276"/>
                </a:cubicBezTo>
                <a:moveTo>
                  <a:pt x="257" y="271"/>
                </a:moveTo>
                <a:cubicBezTo>
                  <a:pt x="271" y="257"/>
                  <a:pt x="271" y="257"/>
                  <a:pt x="271" y="257"/>
                </a:cubicBezTo>
                <a:cubicBezTo>
                  <a:pt x="271" y="258"/>
                  <a:pt x="271" y="258"/>
                  <a:pt x="271" y="258"/>
                </a:cubicBezTo>
                <a:cubicBezTo>
                  <a:pt x="258" y="271"/>
                  <a:pt x="258" y="271"/>
                  <a:pt x="258" y="271"/>
                </a:cubicBezTo>
                <a:cubicBezTo>
                  <a:pt x="258" y="271"/>
                  <a:pt x="258" y="271"/>
                  <a:pt x="257" y="271"/>
                </a:cubicBezTo>
                <a:moveTo>
                  <a:pt x="271" y="257"/>
                </a:moveTo>
                <a:cubicBezTo>
                  <a:pt x="278" y="249"/>
                  <a:pt x="278" y="249"/>
                  <a:pt x="278" y="249"/>
                </a:cubicBezTo>
                <a:cubicBezTo>
                  <a:pt x="278" y="250"/>
                  <a:pt x="278" y="251"/>
                  <a:pt x="278" y="251"/>
                </a:cubicBezTo>
                <a:cubicBezTo>
                  <a:pt x="271" y="258"/>
                  <a:pt x="271" y="258"/>
                  <a:pt x="271" y="258"/>
                </a:cubicBezTo>
                <a:cubicBezTo>
                  <a:pt x="271" y="257"/>
                  <a:pt x="271" y="257"/>
                  <a:pt x="271" y="257"/>
                </a:cubicBezTo>
                <a:moveTo>
                  <a:pt x="241" y="264"/>
                </a:moveTo>
                <a:cubicBezTo>
                  <a:pt x="271" y="234"/>
                  <a:pt x="271" y="234"/>
                  <a:pt x="271" y="234"/>
                </a:cubicBezTo>
                <a:cubicBezTo>
                  <a:pt x="271" y="235"/>
                  <a:pt x="271" y="235"/>
                  <a:pt x="271" y="235"/>
                </a:cubicBezTo>
                <a:cubicBezTo>
                  <a:pt x="242" y="265"/>
                  <a:pt x="242" y="265"/>
                  <a:pt x="242" y="265"/>
                </a:cubicBezTo>
                <a:cubicBezTo>
                  <a:pt x="242" y="265"/>
                  <a:pt x="241" y="265"/>
                  <a:pt x="241" y="264"/>
                </a:cubicBezTo>
                <a:moveTo>
                  <a:pt x="271" y="234"/>
                </a:moveTo>
                <a:cubicBezTo>
                  <a:pt x="282" y="223"/>
                  <a:pt x="282" y="223"/>
                  <a:pt x="282" y="223"/>
                </a:cubicBezTo>
                <a:cubicBezTo>
                  <a:pt x="282" y="224"/>
                  <a:pt x="282" y="225"/>
                  <a:pt x="282" y="225"/>
                </a:cubicBezTo>
                <a:cubicBezTo>
                  <a:pt x="271" y="235"/>
                  <a:pt x="271" y="235"/>
                  <a:pt x="271" y="235"/>
                </a:cubicBezTo>
                <a:cubicBezTo>
                  <a:pt x="271" y="234"/>
                  <a:pt x="271" y="234"/>
                  <a:pt x="271" y="234"/>
                </a:cubicBezTo>
                <a:moveTo>
                  <a:pt x="225" y="257"/>
                </a:moveTo>
                <a:cubicBezTo>
                  <a:pt x="271" y="211"/>
                  <a:pt x="271" y="211"/>
                  <a:pt x="271" y="211"/>
                </a:cubicBezTo>
                <a:cubicBezTo>
                  <a:pt x="271" y="213"/>
                  <a:pt x="271" y="213"/>
                  <a:pt x="271" y="213"/>
                </a:cubicBezTo>
                <a:cubicBezTo>
                  <a:pt x="226" y="258"/>
                  <a:pt x="226" y="258"/>
                  <a:pt x="226" y="258"/>
                </a:cubicBezTo>
                <a:cubicBezTo>
                  <a:pt x="226" y="258"/>
                  <a:pt x="226" y="258"/>
                  <a:pt x="225" y="257"/>
                </a:cubicBezTo>
                <a:moveTo>
                  <a:pt x="271" y="211"/>
                </a:moveTo>
                <a:cubicBezTo>
                  <a:pt x="287" y="195"/>
                  <a:pt x="287" y="195"/>
                  <a:pt x="287" y="195"/>
                </a:cubicBezTo>
                <a:cubicBezTo>
                  <a:pt x="287" y="196"/>
                  <a:pt x="287" y="197"/>
                  <a:pt x="287" y="197"/>
                </a:cubicBezTo>
                <a:cubicBezTo>
                  <a:pt x="271" y="213"/>
                  <a:pt x="271" y="213"/>
                  <a:pt x="271" y="213"/>
                </a:cubicBezTo>
                <a:cubicBezTo>
                  <a:pt x="271" y="211"/>
                  <a:pt x="271" y="211"/>
                  <a:pt x="271" y="211"/>
                </a:cubicBezTo>
                <a:moveTo>
                  <a:pt x="210" y="250"/>
                </a:moveTo>
                <a:cubicBezTo>
                  <a:pt x="271" y="189"/>
                  <a:pt x="271" y="189"/>
                  <a:pt x="271" y="189"/>
                </a:cubicBezTo>
                <a:cubicBezTo>
                  <a:pt x="271" y="190"/>
                  <a:pt x="271" y="190"/>
                  <a:pt x="271" y="190"/>
                </a:cubicBezTo>
                <a:cubicBezTo>
                  <a:pt x="211" y="251"/>
                  <a:pt x="211" y="251"/>
                  <a:pt x="211" y="251"/>
                </a:cubicBezTo>
                <a:cubicBezTo>
                  <a:pt x="211" y="250"/>
                  <a:pt x="210" y="250"/>
                  <a:pt x="210" y="250"/>
                </a:cubicBezTo>
                <a:moveTo>
                  <a:pt x="195" y="242"/>
                </a:moveTo>
                <a:cubicBezTo>
                  <a:pt x="271" y="166"/>
                  <a:pt x="271" y="166"/>
                  <a:pt x="271" y="166"/>
                </a:cubicBezTo>
                <a:cubicBezTo>
                  <a:pt x="271" y="167"/>
                  <a:pt x="271" y="167"/>
                  <a:pt x="271" y="167"/>
                </a:cubicBezTo>
                <a:cubicBezTo>
                  <a:pt x="196" y="243"/>
                  <a:pt x="196" y="243"/>
                  <a:pt x="196" y="243"/>
                </a:cubicBezTo>
                <a:cubicBezTo>
                  <a:pt x="196" y="242"/>
                  <a:pt x="196" y="242"/>
                  <a:pt x="195" y="242"/>
                </a:cubicBezTo>
                <a:moveTo>
                  <a:pt x="271" y="189"/>
                </a:moveTo>
                <a:cubicBezTo>
                  <a:pt x="296" y="164"/>
                  <a:pt x="296" y="164"/>
                  <a:pt x="296" y="164"/>
                </a:cubicBezTo>
                <a:cubicBezTo>
                  <a:pt x="295" y="165"/>
                  <a:pt x="295" y="166"/>
                  <a:pt x="295" y="167"/>
                </a:cubicBezTo>
                <a:cubicBezTo>
                  <a:pt x="271" y="190"/>
                  <a:pt x="271" y="190"/>
                  <a:pt x="271" y="190"/>
                </a:cubicBezTo>
                <a:cubicBezTo>
                  <a:pt x="271" y="189"/>
                  <a:pt x="271" y="189"/>
                  <a:pt x="271" y="189"/>
                </a:cubicBezTo>
                <a:moveTo>
                  <a:pt x="181" y="233"/>
                </a:moveTo>
                <a:cubicBezTo>
                  <a:pt x="271" y="143"/>
                  <a:pt x="271" y="143"/>
                  <a:pt x="271" y="143"/>
                </a:cubicBezTo>
                <a:cubicBezTo>
                  <a:pt x="271" y="145"/>
                  <a:pt x="271" y="145"/>
                  <a:pt x="271" y="145"/>
                </a:cubicBezTo>
                <a:cubicBezTo>
                  <a:pt x="182" y="234"/>
                  <a:pt x="182" y="234"/>
                  <a:pt x="182" y="234"/>
                </a:cubicBezTo>
                <a:cubicBezTo>
                  <a:pt x="182" y="234"/>
                  <a:pt x="181" y="234"/>
                  <a:pt x="181" y="233"/>
                </a:cubicBezTo>
                <a:moveTo>
                  <a:pt x="271" y="166"/>
                </a:moveTo>
                <a:cubicBezTo>
                  <a:pt x="308" y="129"/>
                  <a:pt x="308" y="129"/>
                  <a:pt x="308" y="129"/>
                </a:cubicBezTo>
                <a:cubicBezTo>
                  <a:pt x="308" y="130"/>
                  <a:pt x="307" y="131"/>
                  <a:pt x="307" y="132"/>
                </a:cubicBezTo>
                <a:cubicBezTo>
                  <a:pt x="271" y="167"/>
                  <a:pt x="271" y="167"/>
                  <a:pt x="271" y="167"/>
                </a:cubicBezTo>
                <a:cubicBezTo>
                  <a:pt x="271" y="166"/>
                  <a:pt x="271" y="166"/>
                  <a:pt x="271" y="166"/>
                </a:cubicBezTo>
                <a:moveTo>
                  <a:pt x="167" y="225"/>
                </a:moveTo>
                <a:cubicBezTo>
                  <a:pt x="271" y="121"/>
                  <a:pt x="271" y="121"/>
                  <a:pt x="271" y="121"/>
                </a:cubicBezTo>
                <a:cubicBezTo>
                  <a:pt x="271" y="122"/>
                  <a:pt x="271" y="122"/>
                  <a:pt x="271" y="122"/>
                </a:cubicBezTo>
                <a:cubicBezTo>
                  <a:pt x="168" y="225"/>
                  <a:pt x="168" y="225"/>
                  <a:pt x="168" y="225"/>
                </a:cubicBezTo>
                <a:cubicBezTo>
                  <a:pt x="168" y="225"/>
                  <a:pt x="168" y="225"/>
                  <a:pt x="167" y="225"/>
                </a:cubicBezTo>
                <a:moveTo>
                  <a:pt x="271" y="143"/>
                </a:moveTo>
                <a:cubicBezTo>
                  <a:pt x="301" y="114"/>
                  <a:pt x="301" y="114"/>
                  <a:pt x="301" y="114"/>
                </a:cubicBezTo>
                <a:cubicBezTo>
                  <a:pt x="301" y="114"/>
                  <a:pt x="301" y="114"/>
                  <a:pt x="302" y="115"/>
                </a:cubicBezTo>
                <a:cubicBezTo>
                  <a:pt x="271" y="145"/>
                  <a:pt x="271" y="145"/>
                  <a:pt x="271" y="145"/>
                </a:cubicBezTo>
                <a:cubicBezTo>
                  <a:pt x="271" y="143"/>
                  <a:pt x="271" y="143"/>
                  <a:pt x="271" y="143"/>
                </a:cubicBezTo>
                <a:moveTo>
                  <a:pt x="271" y="121"/>
                </a:moveTo>
                <a:cubicBezTo>
                  <a:pt x="290" y="102"/>
                  <a:pt x="290" y="102"/>
                  <a:pt x="290" y="102"/>
                </a:cubicBezTo>
                <a:cubicBezTo>
                  <a:pt x="290" y="103"/>
                  <a:pt x="290" y="103"/>
                  <a:pt x="290" y="103"/>
                </a:cubicBezTo>
                <a:cubicBezTo>
                  <a:pt x="271" y="122"/>
                  <a:pt x="271" y="122"/>
                  <a:pt x="271" y="122"/>
                </a:cubicBezTo>
                <a:cubicBezTo>
                  <a:pt x="271" y="121"/>
                  <a:pt x="271" y="121"/>
                  <a:pt x="271" y="121"/>
                </a:cubicBezTo>
                <a:moveTo>
                  <a:pt x="154" y="215"/>
                </a:moveTo>
                <a:cubicBezTo>
                  <a:pt x="271" y="98"/>
                  <a:pt x="271" y="98"/>
                  <a:pt x="271" y="98"/>
                </a:cubicBezTo>
                <a:cubicBezTo>
                  <a:pt x="271" y="99"/>
                  <a:pt x="271" y="99"/>
                  <a:pt x="271" y="99"/>
                </a:cubicBezTo>
                <a:cubicBezTo>
                  <a:pt x="155" y="216"/>
                  <a:pt x="155" y="216"/>
                  <a:pt x="155" y="216"/>
                </a:cubicBezTo>
                <a:cubicBezTo>
                  <a:pt x="155" y="216"/>
                  <a:pt x="155" y="215"/>
                  <a:pt x="154" y="215"/>
                </a:cubicBezTo>
                <a:moveTo>
                  <a:pt x="271" y="98"/>
                </a:moveTo>
                <a:cubicBezTo>
                  <a:pt x="278" y="92"/>
                  <a:pt x="278" y="92"/>
                  <a:pt x="278" y="92"/>
                </a:cubicBezTo>
                <a:cubicBezTo>
                  <a:pt x="278" y="92"/>
                  <a:pt x="278" y="92"/>
                  <a:pt x="279" y="92"/>
                </a:cubicBezTo>
                <a:cubicBezTo>
                  <a:pt x="271" y="99"/>
                  <a:pt x="271" y="99"/>
                  <a:pt x="271" y="99"/>
                </a:cubicBezTo>
                <a:cubicBezTo>
                  <a:pt x="271" y="98"/>
                  <a:pt x="271" y="98"/>
                  <a:pt x="271" y="98"/>
                </a:cubicBezTo>
                <a:moveTo>
                  <a:pt x="141" y="205"/>
                </a:moveTo>
                <a:cubicBezTo>
                  <a:pt x="265" y="81"/>
                  <a:pt x="265" y="81"/>
                  <a:pt x="265" y="81"/>
                </a:cubicBezTo>
                <a:cubicBezTo>
                  <a:pt x="266" y="82"/>
                  <a:pt x="266" y="82"/>
                  <a:pt x="266" y="82"/>
                </a:cubicBezTo>
                <a:cubicBezTo>
                  <a:pt x="142" y="206"/>
                  <a:pt x="142" y="206"/>
                  <a:pt x="142" y="206"/>
                </a:cubicBezTo>
                <a:cubicBezTo>
                  <a:pt x="142" y="206"/>
                  <a:pt x="142" y="205"/>
                  <a:pt x="141" y="205"/>
                </a:cubicBezTo>
                <a:moveTo>
                  <a:pt x="129" y="195"/>
                </a:moveTo>
                <a:cubicBezTo>
                  <a:pt x="252" y="72"/>
                  <a:pt x="252" y="72"/>
                  <a:pt x="252" y="72"/>
                </a:cubicBezTo>
                <a:cubicBezTo>
                  <a:pt x="253" y="72"/>
                  <a:pt x="253" y="72"/>
                  <a:pt x="253" y="72"/>
                </a:cubicBezTo>
                <a:cubicBezTo>
                  <a:pt x="130" y="196"/>
                  <a:pt x="130" y="196"/>
                  <a:pt x="130" y="196"/>
                </a:cubicBezTo>
                <a:cubicBezTo>
                  <a:pt x="130" y="195"/>
                  <a:pt x="129" y="195"/>
                  <a:pt x="129" y="195"/>
                </a:cubicBezTo>
                <a:moveTo>
                  <a:pt x="117" y="184"/>
                </a:moveTo>
                <a:cubicBezTo>
                  <a:pt x="239" y="62"/>
                  <a:pt x="239" y="62"/>
                  <a:pt x="239" y="62"/>
                </a:cubicBezTo>
                <a:cubicBezTo>
                  <a:pt x="239" y="63"/>
                  <a:pt x="240" y="63"/>
                  <a:pt x="240" y="63"/>
                </a:cubicBezTo>
                <a:cubicBezTo>
                  <a:pt x="118" y="185"/>
                  <a:pt x="118" y="185"/>
                  <a:pt x="118" y="185"/>
                </a:cubicBezTo>
                <a:cubicBezTo>
                  <a:pt x="118" y="184"/>
                  <a:pt x="118" y="184"/>
                  <a:pt x="117" y="184"/>
                </a:cubicBezTo>
                <a:moveTo>
                  <a:pt x="106" y="173"/>
                </a:moveTo>
                <a:cubicBezTo>
                  <a:pt x="225" y="54"/>
                  <a:pt x="225" y="54"/>
                  <a:pt x="225" y="54"/>
                </a:cubicBezTo>
                <a:cubicBezTo>
                  <a:pt x="225" y="54"/>
                  <a:pt x="225" y="54"/>
                  <a:pt x="226" y="54"/>
                </a:cubicBezTo>
                <a:cubicBezTo>
                  <a:pt x="107" y="174"/>
                  <a:pt x="107" y="174"/>
                  <a:pt x="107" y="174"/>
                </a:cubicBezTo>
                <a:cubicBezTo>
                  <a:pt x="106" y="173"/>
                  <a:pt x="106" y="173"/>
                  <a:pt x="106" y="173"/>
                </a:cubicBezTo>
                <a:moveTo>
                  <a:pt x="95" y="161"/>
                </a:moveTo>
                <a:cubicBezTo>
                  <a:pt x="210" y="46"/>
                  <a:pt x="210" y="46"/>
                  <a:pt x="210" y="46"/>
                </a:cubicBezTo>
                <a:cubicBezTo>
                  <a:pt x="211" y="46"/>
                  <a:pt x="211" y="46"/>
                  <a:pt x="211" y="46"/>
                </a:cubicBezTo>
                <a:cubicBezTo>
                  <a:pt x="96" y="162"/>
                  <a:pt x="96" y="162"/>
                  <a:pt x="96" y="162"/>
                </a:cubicBezTo>
                <a:cubicBezTo>
                  <a:pt x="95" y="162"/>
                  <a:pt x="95" y="161"/>
                  <a:pt x="95" y="161"/>
                </a:cubicBezTo>
                <a:moveTo>
                  <a:pt x="191" y="42"/>
                </a:moveTo>
                <a:cubicBezTo>
                  <a:pt x="195" y="38"/>
                  <a:pt x="195" y="38"/>
                  <a:pt x="195" y="38"/>
                </a:cubicBezTo>
                <a:cubicBezTo>
                  <a:pt x="195" y="39"/>
                  <a:pt x="196" y="39"/>
                  <a:pt x="196" y="39"/>
                </a:cubicBezTo>
                <a:cubicBezTo>
                  <a:pt x="193" y="42"/>
                  <a:pt x="193" y="42"/>
                  <a:pt x="193" y="42"/>
                </a:cubicBezTo>
                <a:cubicBezTo>
                  <a:pt x="193" y="42"/>
                  <a:pt x="193" y="42"/>
                  <a:pt x="193" y="42"/>
                </a:cubicBezTo>
                <a:cubicBezTo>
                  <a:pt x="85" y="150"/>
                  <a:pt x="85" y="150"/>
                  <a:pt x="85" y="150"/>
                </a:cubicBezTo>
                <a:cubicBezTo>
                  <a:pt x="85" y="149"/>
                  <a:pt x="85" y="149"/>
                  <a:pt x="84" y="149"/>
                </a:cubicBezTo>
                <a:cubicBezTo>
                  <a:pt x="191" y="42"/>
                  <a:pt x="191" y="42"/>
                  <a:pt x="191" y="42"/>
                </a:cubicBezTo>
                <a:cubicBezTo>
                  <a:pt x="191" y="42"/>
                  <a:pt x="191" y="42"/>
                  <a:pt x="191" y="42"/>
                </a:cubicBezTo>
                <a:moveTo>
                  <a:pt x="169" y="42"/>
                </a:moveTo>
                <a:cubicBezTo>
                  <a:pt x="179" y="32"/>
                  <a:pt x="179" y="32"/>
                  <a:pt x="179" y="32"/>
                </a:cubicBezTo>
                <a:cubicBezTo>
                  <a:pt x="179" y="32"/>
                  <a:pt x="180" y="32"/>
                  <a:pt x="180" y="32"/>
                </a:cubicBezTo>
                <a:cubicBezTo>
                  <a:pt x="170" y="42"/>
                  <a:pt x="170" y="42"/>
                  <a:pt x="170" y="42"/>
                </a:cubicBezTo>
                <a:cubicBezTo>
                  <a:pt x="170" y="42"/>
                  <a:pt x="170" y="42"/>
                  <a:pt x="170" y="42"/>
                </a:cubicBezTo>
                <a:cubicBezTo>
                  <a:pt x="75" y="137"/>
                  <a:pt x="75" y="137"/>
                  <a:pt x="75" y="137"/>
                </a:cubicBezTo>
                <a:cubicBezTo>
                  <a:pt x="75" y="137"/>
                  <a:pt x="75" y="137"/>
                  <a:pt x="74" y="136"/>
                </a:cubicBezTo>
                <a:cubicBezTo>
                  <a:pt x="169" y="42"/>
                  <a:pt x="169" y="42"/>
                  <a:pt x="169" y="42"/>
                </a:cubicBezTo>
                <a:cubicBezTo>
                  <a:pt x="169" y="42"/>
                  <a:pt x="169" y="42"/>
                  <a:pt x="169" y="42"/>
                </a:cubicBezTo>
                <a:moveTo>
                  <a:pt x="146" y="42"/>
                </a:moveTo>
                <a:cubicBezTo>
                  <a:pt x="162" y="26"/>
                  <a:pt x="162" y="26"/>
                  <a:pt x="162" y="26"/>
                </a:cubicBezTo>
                <a:cubicBezTo>
                  <a:pt x="163" y="26"/>
                  <a:pt x="163" y="26"/>
                  <a:pt x="164" y="26"/>
                </a:cubicBezTo>
                <a:cubicBezTo>
                  <a:pt x="148" y="42"/>
                  <a:pt x="148" y="42"/>
                  <a:pt x="148" y="42"/>
                </a:cubicBezTo>
                <a:cubicBezTo>
                  <a:pt x="148" y="42"/>
                  <a:pt x="148" y="42"/>
                  <a:pt x="148" y="42"/>
                </a:cubicBezTo>
                <a:cubicBezTo>
                  <a:pt x="65" y="124"/>
                  <a:pt x="65" y="124"/>
                  <a:pt x="65" y="124"/>
                </a:cubicBezTo>
                <a:cubicBezTo>
                  <a:pt x="65" y="124"/>
                  <a:pt x="65" y="123"/>
                  <a:pt x="65" y="123"/>
                </a:cubicBezTo>
                <a:cubicBezTo>
                  <a:pt x="146" y="42"/>
                  <a:pt x="146" y="42"/>
                  <a:pt x="146" y="42"/>
                </a:cubicBezTo>
                <a:cubicBezTo>
                  <a:pt x="146" y="42"/>
                  <a:pt x="146" y="42"/>
                  <a:pt x="146" y="42"/>
                </a:cubicBezTo>
                <a:moveTo>
                  <a:pt x="123" y="42"/>
                </a:moveTo>
                <a:cubicBezTo>
                  <a:pt x="145" y="20"/>
                  <a:pt x="145" y="20"/>
                  <a:pt x="145" y="20"/>
                </a:cubicBezTo>
                <a:cubicBezTo>
                  <a:pt x="146" y="20"/>
                  <a:pt x="146" y="20"/>
                  <a:pt x="146" y="21"/>
                </a:cubicBezTo>
                <a:cubicBezTo>
                  <a:pt x="125" y="42"/>
                  <a:pt x="125" y="42"/>
                  <a:pt x="125" y="42"/>
                </a:cubicBezTo>
                <a:cubicBezTo>
                  <a:pt x="125" y="42"/>
                  <a:pt x="125" y="42"/>
                  <a:pt x="125" y="42"/>
                </a:cubicBezTo>
                <a:cubicBezTo>
                  <a:pt x="56" y="111"/>
                  <a:pt x="56" y="111"/>
                  <a:pt x="56" y="111"/>
                </a:cubicBezTo>
                <a:cubicBezTo>
                  <a:pt x="56" y="110"/>
                  <a:pt x="56" y="110"/>
                  <a:pt x="56" y="110"/>
                </a:cubicBezTo>
                <a:cubicBezTo>
                  <a:pt x="123" y="42"/>
                  <a:pt x="123" y="42"/>
                  <a:pt x="123" y="42"/>
                </a:cubicBezTo>
                <a:cubicBezTo>
                  <a:pt x="123" y="42"/>
                  <a:pt x="123" y="42"/>
                  <a:pt x="123" y="42"/>
                </a:cubicBezTo>
                <a:moveTo>
                  <a:pt x="101" y="42"/>
                </a:moveTo>
                <a:cubicBezTo>
                  <a:pt x="127" y="16"/>
                  <a:pt x="127" y="16"/>
                  <a:pt x="127" y="16"/>
                </a:cubicBezTo>
                <a:cubicBezTo>
                  <a:pt x="127" y="16"/>
                  <a:pt x="128" y="16"/>
                  <a:pt x="128" y="16"/>
                </a:cubicBezTo>
                <a:cubicBezTo>
                  <a:pt x="102" y="42"/>
                  <a:pt x="102" y="42"/>
                  <a:pt x="102" y="42"/>
                </a:cubicBezTo>
                <a:cubicBezTo>
                  <a:pt x="102" y="42"/>
                  <a:pt x="102" y="42"/>
                  <a:pt x="102" y="42"/>
                </a:cubicBezTo>
                <a:cubicBezTo>
                  <a:pt x="48" y="97"/>
                  <a:pt x="48" y="97"/>
                  <a:pt x="48" y="97"/>
                </a:cubicBezTo>
                <a:cubicBezTo>
                  <a:pt x="47" y="96"/>
                  <a:pt x="47" y="96"/>
                  <a:pt x="47" y="96"/>
                </a:cubicBezTo>
                <a:cubicBezTo>
                  <a:pt x="101" y="42"/>
                  <a:pt x="101" y="42"/>
                  <a:pt x="101" y="42"/>
                </a:cubicBezTo>
                <a:cubicBezTo>
                  <a:pt x="101" y="42"/>
                  <a:pt x="101" y="42"/>
                  <a:pt x="101" y="42"/>
                </a:cubicBezTo>
                <a:moveTo>
                  <a:pt x="78" y="42"/>
                </a:moveTo>
                <a:cubicBezTo>
                  <a:pt x="108" y="12"/>
                  <a:pt x="108" y="12"/>
                  <a:pt x="108" y="12"/>
                </a:cubicBezTo>
                <a:cubicBezTo>
                  <a:pt x="108" y="12"/>
                  <a:pt x="109" y="12"/>
                  <a:pt x="109" y="12"/>
                </a:cubicBezTo>
                <a:cubicBezTo>
                  <a:pt x="80" y="42"/>
                  <a:pt x="80" y="42"/>
                  <a:pt x="80" y="42"/>
                </a:cubicBezTo>
                <a:cubicBezTo>
                  <a:pt x="80" y="42"/>
                  <a:pt x="80" y="42"/>
                  <a:pt x="80" y="42"/>
                </a:cubicBezTo>
                <a:cubicBezTo>
                  <a:pt x="39" y="82"/>
                  <a:pt x="39" y="82"/>
                  <a:pt x="39" y="82"/>
                </a:cubicBezTo>
                <a:cubicBezTo>
                  <a:pt x="39" y="82"/>
                  <a:pt x="39" y="81"/>
                  <a:pt x="39" y="81"/>
                </a:cubicBezTo>
                <a:cubicBezTo>
                  <a:pt x="78" y="42"/>
                  <a:pt x="78" y="42"/>
                  <a:pt x="78" y="42"/>
                </a:cubicBezTo>
                <a:cubicBezTo>
                  <a:pt x="78" y="42"/>
                  <a:pt x="78" y="42"/>
                  <a:pt x="78" y="42"/>
                </a:cubicBezTo>
                <a:moveTo>
                  <a:pt x="55" y="42"/>
                </a:moveTo>
                <a:cubicBezTo>
                  <a:pt x="88" y="9"/>
                  <a:pt x="88" y="9"/>
                  <a:pt x="88" y="9"/>
                </a:cubicBezTo>
                <a:cubicBezTo>
                  <a:pt x="88" y="9"/>
                  <a:pt x="89" y="9"/>
                  <a:pt x="89" y="10"/>
                </a:cubicBezTo>
                <a:cubicBezTo>
                  <a:pt x="57" y="42"/>
                  <a:pt x="57" y="42"/>
                  <a:pt x="57" y="42"/>
                </a:cubicBezTo>
                <a:cubicBezTo>
                  <a:pt x="57" y="42"/>
                  <a:pt x="57" y="42"/>
                  <a:pt x="57" y="42"/>
                </a:cubicBezTo>
                <a:cubicBezTo>
                  <a:pt x="32" y="67"/>
                  <a:pt x="32" y="67"/>
                  <a:pt x="32" y="67"/>
                </a:cubicBezTo>
                <a:cubicBezTo>
                  <a:pt x="32" y="67"/>
                  <a:pt x="31" y="66"/>
                  <a:pt x="31" y="66"/>
                </a:cubicBezTo>
                <a:cubicBezTo>
                  <a:pt x="55" y="42"/>
                  <a:pt x="55" y="42"/>
                  <a:pt x="55" y="42"/>
                </a:cubicBezTo>
                <a:cubicBezTo>
                  <a:pt x="55" y="42"/>
                  <a:pt x="55" y="42"/>
                  <a:pt x="55" y="42"/>
                </a:cubicBezTo>
                <a:moveTo>
                  <a:pt x="20" y="9"/>
                </a:moveTo>
                <a:cubicBezTo>
                  <a:pt x="21" y="9"/>
                  <a:pt x="21" y="9"/>
                  <a:pt x="22" y="9"/>
                </a:cubicBezTo>
                <a:cubicBezTo>
                  <a:pt x="12" y="19"/>
                  <a:pt x="12" y="19"/>
                  <a:pt x="12" y="19"/>
                </a:cubicBezTo>
                <a:cubicBezTo>
                  <a:pt x="12" y="18"/>
                  <a:pt x="12" y="18"/>
                  <a:pt x="12" y="18"/>
                </a:cubicBezTo>
                <a:cubicBezTo>
                  <a:pt x="20" y="9"/>
                  <a:pt x="20" y="9"/>
                  <a:pt x="20" y="9"/>
                </a:cubicBezTo>
                <a:moveTo>
                  <a:pt x="33" y="42"/>
                </a:moveTo>
                <a:cubicBezTo>
                  <a:pt x="67" y="8"/>
                  <a:pt x="67" y="8"/>
                  <a:pt x="67" y="8"/>
                </a:cubicBezTo>
                <a:cubicBezTo>
                  <a:pt x="67" y="8"/>
                  <a:pt x="68" y="8"/>
                  <a:pt x="68" y="8"/>
                </a:cubicBezTo>
                <a:cubicBezTo>
                  <a:pt x="34" y="42"/>
                  <a:pt x="34" y="42"/>
                  <a:pt x="34" y="42"/>
                </a:cubicBezTo>
                <a:cubicBezTo>
                  <a:pt x="34" y="42"/>
                  <a:pt x="34" y="42"/>
                  <a:pt x="34" y="42"/>
                </a:cubicBezTo>
                <a:cubicBezTo>
                  <a:pt x="25" y="52"/>
                  <a:pt x="25" y="52"/>
                  <a:pt x="25" y="52"/>
                </a:cubicBezTo>
                <a:cubicBezTo>
                  <a:pt x="24" y="51"/>
                  <a:pt x="24" y="51"/>
                  <a:pt x="24" y="50"/>
                </a:cubicBezTo>
                <a:cubicBezTo>
                  <a:pt x="33" y="42"/>
                  <a:pt x="33" y="42"/>
                  <a:pt x="33" y="42"/>
                </a:cubicBezTo>
                <a:cubicBezTo>
                  <a:pt x="33" y="42"/>
                  <a:pt x="33" y="42"/>
                  <a:pt x="33" y="42"/>
                </a:cubicBezTo>
                <a:moveTo>
                  <a:pt x="44" y="8"/>
                </a:moveTo>
                <a:cubicBezTo>
                  <a:pt x="45" y="8"/>
                  <a:pt x="45" y="8"/>
                  <a:pt x="46" y="8"/>
                </a:cubicBezTo>
                <a:cubicBezTo>
                  <a:pt x="18" y="36"/>
                  <a:pt x="18" y="36"/>
                  <a:pt x="18" y="36"/>
                </a:cubicBezTo>
                <a:cubicBezTo>
                  <a:pt x="18" y="35"/>
                  <a:pt x="18" y="35"/>
                  <a:pt x="18" y="34"/>
                </a:cubicBezTo>
                <a:cubicBezTo>
                  <a:pt x="44" y="8"/>
                  <a:pt x="44" y="8"/>
                  <a:pt x="44" y="8"/>
                </a:cubicBezTo>
                <a:moveTo>
                  <a:pt x="46" y="0"/>
                </a:moveTo>
                <a:cubicBezTo>
                  <a:pt x="46" y="0"/>
                  <a:pt x="46" y="0"/>
                  <a:pt x="46" y="0"/>
                </a:cubicBezTo>
                <a:cubicBezTo>
                  <a:pt x="46" y="0"/>
                  <a:pt x="46" y="0"/>
                  <a:pt x="46" y="0"/>
                </a:cubicBezTo>
                <a:cubicBezTo>
                  <a:pt x="46" y="0"/>
                  <a:pt x="46" y="0"/>
                  <a:pt x="46" y="0"/>
                </a:cubicBezTo>
                <a:cubicBezTo>
                  <a:pt x="46" y="0"/>
                  <a:pt x="46" y="0"/>
                  <a:pt x="46" y="0"/>
                </a:cubicBezTo>
                <a:cubicBezTo>
                  <a:pt x="46" y="0"/>
                  <a:pt x="46" y="0"/>
                  <a:pt x="45" y="0"/>
                </a:cubicBezTo>
                <a:cubicBezTo>
                  <a:pt x="45" y="0"/>
                  <a:pt x="45" y="0"/>
                  <a:pt x="45" y="0"/>
                </a:cubicBezTo>
                <a:cubicBezTo>
                  <a:pt x="45" y="0"/>
                  <a:pt x="45" y="0"/>
                  <a:pt x="45" y="0"/>
                </a:cubicBezTo>
                <a:cubicBezTo>
                  <a:pt x="30" y="0"/>
                  <a:pt x="15" y="1"/>
                  <a:pt x="0" y="2"/>
                </a:cubicBezTo>
                <a:cubicBezTo>
                  <a:pt x="42" y="137"/>
                  <a:pt x="149" y="244"/>
                  <a:pt x="283" y="285"/>
                </a:cubicBezTo>
                <a:cubicBezTo>
                  <a:pt x="286" y="228"/>
                  <a:pt x="298" y="173"/>
                  <a:pt x="319" y="123"/>
                </a:cubicBezTo>
                <a:cubicBezTo>
                  <a:pt x="254" y="49"/>
                  <a:pt x="159" y="2"/>
                  <a:pt x="53" y="0"/>
                </a:cubicBezTo>
                <a:cubicBezTo>
                  <a:pt x="53" y="0"/>
                  <a:pt x="53" y="0"/>
                  <a:pt x="53" y="0"/>
                </a:cubicBezTo>
                <a:cubicBezTo>
                  <a:pt x="53" y="0"/>
                  <a:pt x="53" y="0"/>
                  <a:pt x="53" y="0"/>
                </a:cubicBezTo>
                <a:cubicBezTo>
                  <a:pt x="53" y="0"/>
                  <a:pt x="53" y="0"/>
                  <a:pt x="53" y="0"/>
                </a:cubicBezTo>
                <a:cubicBezTo>
                  <a:pt x="53" y="0"/>
                  <a:pt x="53" y="0"/>
                  <a:pt x="53" y="0"/>
                </a:cubicBezTo>
                <a:cubicBezTo>
                  <a:pt x="53" y="0"/>
                  <a:pt x="53" y="0"/>
                  <a:pt x="53" y="0"/>
                </a:cubicBezTo>
                <a:cubicBezTo>
                  <a:pt x="52" y="0"/>
                  <a:pt x="52" y="0"/>
                  <a:pt x="52" y="0"/>
                </a:cubicBezTo>
                <a:cubicBezTo>
                  <a:pt x="52" y="0"/>
                  <a:pt x="52" y="0"/>
                  <a:pt x="52" y="0"/>
                </a:cubicBezTo>
                <a:cubicBezTo>
                  <a:pt x="52" y="0"/>
                  <a:pt x="52" y="0"/>
                  <a:pt x="52" y="0"/>
                </a:cubicBezTo>
                <a:cubicBezTo>
                  <a:pt x="52" y="0"/>
                  <a:pt x="52" y="0"/>
                  <a:pt x="52" y="0"/>
                </a:cubicBezTo>
                <a:cubicBezTo>
                  <a:pt x="52" y="0"/>
                  <a:pt x="52" y="0"/>
                  <a:pt x="52" y="0"/>
                </a:cubicBezTo>
                <a:cubicBezTo>
                  <a:pt x="52" y="0"/>
                  <a:pt x="52" y="0"/>
                  <a:pt x="52" y="0"/>
                </a:cubicBezTo>
                <a:cubicBezTo>
                  <a:pt x="52" y="0"/>
                  <a:pt x="51" y="0"/>
                  <a:pt x="51" y="0"/>
                </a:cubicBezTo>
                <a:cubicBezTo>
                  <a:pt x="51" y="0"/>
                  <a:pt x="51" y="0"/>
                  <a:pt x="51" y="0"/>
                </a:cubicBezTo>
                <a:cubicBezTo>
                  <a:pt x="51" y="0"/>
                  <a:pt x="51" y="0"/>
                  <a:pt x="51" y="0"/>
                </a:cubicBezTo>
                <a:cubicBezTo>
                  <a:pt x="51" y="0"/>
                  <a:pt x="51" y="0"/>
                  <a:pt x="51" y="0"/>
                </a:cubicBezTo>
                <a:cubicBezTo>
                  <a:pt x="51" y="0"/>
                  <a:pt x="51" y="0"/>
                  <a:pt x="51" y="0"/>
                </a:cubicBezTo>
                <a:cubicBezTo>
                  <a:pt x="51" y="0"/>
                  <a:pt x="51" y="0"/>
                  <a:pt x="51" y="0"/>
                </a:cubicBezTo>
                <a:cubicBezTo>
                  <a:pt x="50" y="0"/>
                  <a:pt x="50" y="0"/>
                  <a:pt x="50" y="0"/>
                </a:cubicBezTo>
                <a:cubicBezTo>
                  <a:pt x="50" y="0"/>
                  <a:pt x="50" y="0"/>
                  <a:pt x="50" y="0"/>
                </a:cubicBezTo>
                <a:cubicBezTo>
                  <a:pt x="50" y="0"/>
                  <a:pt x="50" y="0"/>
                  <a:pt x="49" y="0"/>
                </a:cubicBezTo>
                <a:cubicBezTo>
                  <a:pt x="49" y="0"/>
                  <a:pt x="49" y="0"/>
                  <a:pt x="49" y="0"/>
                </a:cubicBezTo>
                <a:cubicBezTo>
                  <a:pt x="49" y="0"/>
                  <a:pt x="49" y="0"/>
                  <a:pt x="49" y="0"/>
                </a:cubicBezTo>
                <a:cubicBezTo>
                  <a:pt x="49" y="0"/>
                  <a:pt x="49" y="0"/>
                  <a:pt x="49" y="0"/>
                </a:cubicBezTo>
                <a:cubicBezTo>
                  <a:pt x="49" y="0"/>
                  <a:pt x="49" y="0"/>
                  <a:pt x="49" y="0"/>
                </a:cubicBezTo>
                <a:cubicBezTo>
                  <a:pt x="49" y="0"/>
                  <a:pt x="49" y="0"/>
                  <a:pt x="49" y="0"/>
                </a:cubicBezTo>
                <a:cubicBezTo>
                  <a:pt x="49" y="0"/>
                  <a:pt x="49" y="0"/>
                  <a:pt x="49" y="0"/>
                </a:cubicBezTo>
                <a:cubicBezTo>
                  <a:pt x="48" y="0"/>
                  <a:pt x="48" y="0"/>
                  <a:pt x="48" y="0"/>
                </a:cubicBezTo>
                <a:cubicBezTo>
                  <a:pt x="48" y="0"/>
                  <a:pt x="48" y="0"/>
                  <a:pt x="48" y="0"/>
                </a:cubicBezTo>
                <a:cubicBezTo>
                  <a:pt x="48" y="0"/>
                  <a:pt x="48" y="0"/>
                  <a:pt x="48" y="0"/>
                </a:cubicBezTo>
                <a:cubicBezTo>
                  <a:pt x="48" y="0"/>
                  <a:pt x="48" y="0"/>
                  <a:pt x="48" y="0"/>
                </a:cubicBezTo>
                <a:cubicBezTo>
                  <a:pt x="48" y="0"/>
                  <a:pt x="48" y="0"/>
                  <a:pt x="48" y="0"/>
                </a:cubicBezTo>
                <a:cubicBezTo>
                  <a:pt x="48" y="0"/>
                  <a:pt x="48" y="0"/>
                  <a:pt x="48" y="0"/>
                </a:cubicBezTo>
                <a:cubicBezTo>
                  <a:pt x="48" y="0"/>
                  <a:pt x="48" y="0"/>
                  <a:pt x="47" y="0"/>
                </a:cubicBezTo>
                <a:cubicBezTo>
                  <a:pt x="47" y="0"/>
                  <a:pt x="47" y="0"/>
                  <a:pt x="47" y="0"/>
                </a:cubicBezTo>
                <a:cubicBezTo>
                  <a:pt x="47" y="0"/>
                  <a:pt x="47" y="0"/>
                  <a:pt x="47" y="0"/>
                </a:cubicBezTo>
                <a:cubicBezTo>
                  <a:pt x="47" y="0"/>
                  <a:pt x="47" y="0"/>
                  <a:pt x="47" y="0"/>
                </a:cubicBezTo>
                <a:cubicBezTo>
                  <a:pt x="47" y="0"/>
                  <a:pt x="47" y="0"/>
                  <a:pt x="47" y="0"/>
                </a:cubicBezTo>
                <a:cubicBezTo>
                  <a:pt x="47" y="0"/>
                  <a:pt x="47" y="0"/>
                  <a:pt x="47" y="0"/>
                </a:cubicBezTo>
                <a:cubicBezTo>
                  <a:pt x="47" y="0"/>
                  <a:pt x="47" y="0"/>
                  <a:pt x="47" y="0"/>
                </a:cubicBezTo>
                <a:cubicBezTo>
                  <a:pt x="46" y="0"/>
                  <a:pt x="46" y="0"/>
                  <a:pt x="46" y="0"/>
                </a:cubicBezTo>
                <a:cubicBezTo>
                  <a:pt x="46" y="0"/>
                  <a:pt x="46" y="0"/>
                  <a:pt x="46" y="0"/>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93" name="Freeform 38">
            <a:extLst>
              <a:ext uri="{FF2B5EF4-FFF2-40B4-BE49-F238E27FC236}">
                <a16:creationId xmlns:a16="http://schemas.microsoft.com/office/drawing/2014/main" id="{9DBF253A-51F8-4F21-A9B4-76705D3E3251}"/>
              </a:ext>
            </a:extLst>
          </p:cNvPr>
          <p:cNvSpPr>
            <a:spLocks/>
          </p:cNvSpPr>
          <p:nvPr/>
        </p:nvSpPr>
        <p:spPr bwMode="auto">
          <a:xfrm>
            <a:off x="5637475" y="3749213"/>
            <a:ext cx="125133" cy="564488"/>
          </a:xfrm>
          <a:custGeom>
            <a:avLst/>
            <a:gdLst>
              <a:gd name="T0" fmla="*/ 36 w 36"/>
              <a:gd name="T1" fmla="*/ 0 h 162"/>
              <a:gd name="T2" fmla="*/ 0 w 36"/>
              <a:gd name="T3" fmla="*/ 162 h 162"/>
              <a:gd name="T4" fmla="*/ 0 w 36"/>
              <a:gd name="T5" fmla="*/ 162 h 162"/>
              <a:gd name="T6" fmla="*/ 0 w 36"/>
              <a:gd name="T7" fmla="*/ 162 h 162"/>
              <a:gd name="T8" fmla="*/ 0 w 36"/>
              <a:gd name="T9" fmla="*/ 162 h 162"/>
              <a:gd name="T10" fmla="*/ 0 w 36"/>
              <a:gd name="T11" fmla="*/ 162 h 162"/>
              <a:gd name="T12" fmla="*/ 0 w 36"/>
              <a:gd name="T13" fmla="*/ 162 h 162"/>
              <a:gd name="T14" fmla="*/ 36 w 36"/>
              <a:gd name="T15" fmla="*/ 0 h 162"/>
              <a:gd name="T16" fmla="*/ 36 w 36"/>
              <a:gd name="T17" fmla="*/ 0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 h="162">
                <a:moveTo>
                  <a:pt x="36" y="0"/>
                </a:moveTo>
                <a:cubicBezTo>
                  <a:pt x="15" y="50"/>
                  <a:pt x="3" y="105"/>
                  <a:pt x="0" y="162"/>
                </a:cubicBezTo>
                <a:cubicBezTo>
                  <a:pt x="0" y="162"/>
                  <a:pt x="0" y="162"/>
                  <a:pt x="0" y="162"/>
                </a:cubicBezTo>
                <a:cubicBezTo>
                  <a:pt x="0" y="162"/>
                  <a:pt x="0" y="162"/>
                  <a:pt x="0" y="162"/>
                </a:cubicBezTo>
                <a:cubicBezTo>
                  <a:pt x="0" y="162"/>
                  <a:pt x="0" y="162"/>
                  <a:pt x="0" y="162"/>
                </a:cubicBezTo>
                <a:cubicBezTo>
                  <a:pt x="0" y="162"/>
                  <a:pt x="0" y="162"/>
                  <a:pt x="0" y="162"/>
                </a:cubicBezTo>
                <a:cubicBezTo>
                  <a:pt x="0" y="162"/>
                  <a:pt x="0" y="162"/>
                  <a:pt x="0" y="162"/>
                </a:cubicBezTo>
                <a:cubicBezTo>
                  <a:pt x="3" y="105"/>
                  <a:pt x="15" y="50"/>
                  <a:pt x="36" y="0"/>
                </a:cubicBezTo>
                <a:cubicBezTo>
                  <a:pt x="36" y="0"/>
                  <a:pt x="36" y="0"/>
                  <a:pt x="36" y="0"/>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94" name="Freeform 39">
            <a:extLst>
              <a:ext uri="{FF2B5EF4-FFF2-40B4-BE49-F238E27FC236}">
                <a16:creationId xmlns:a16="http://schemas.microsoft.com/office/drawing/2014/main" id="{BE1B5830-1ED3-454A-B51A-90F4765E7F2B}"/>
              </a:ext>
            </a:extLst>
          </p:cNvPr>
          <p:cNvSpPr>
            <a:spLocks/>
          </p:cNvSpPr>
          <p:nvPr/>
        </p:nvSpPr>
        <p:spPr bwMode="auto">
          <a:xfrm>
            <a:off x="4733737" y="3465577"/>
            <a:ext cx="33369" cy="36150"/>
          </a:xfrm>
          <a:custGeom>
            <a:avLst/>
            <a:gdLst>
              <a:gd name="T0" fmla="*/ 10 w 10"/>
              <a:gd name="T1" fmla="*/ 0 h 10"/>
              <a:gd name="T2" fmla="*/ 10 w 10"/>
              <a:gd name="T3" fmla="*/ 0 h 10"/>
              <a:gd name="T4" fmla="*/ 10 w 10"/>
              <a:gd name="T5" fmla="*/ 0 h 10"/>
              <a:gd name="T6" fmla="*/ 9 w 10"/>
              <a:gd name="T7" fmla="*/ 0 h 10"/>
              <a:gd name="T8" fmla="*/ 0 w 10"/>
              <a:gd name="T9" fmla="*/ 8 h 10"/>
              <a:gd name="T10" fmla="*/ 1 w 10"/>
              <a:gd name="T11" fmla="*/ 10 h 10"/>
              <a:gd name="T12" fmla="*/ 10 w 10"/>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10" h="10">
                <a:moveTo>
                  <a:pt x="10" y="0"/>
                </a:moveTo>
                <a:cubicBezTo>
                  <a:pt x="10" y="0"/>
                  <a:pt x="10" y="0"/>
                  <a:pt x="10" y="0"/>
                </a:cubicBezTo>
                <a:cubicBezTo>
                  <a:pt x="10" y="0"/>
                  <a:pt x="10" y="0"/>
                  <a:pt x="10" y="0"/>
                </a:cubicBezTo>
                <a:cubicBezTo>
                  <a:pt x="9" y="0"/>
                  <a:pt x="9" y="0"/>
                  <a:pt x="9" y="0"/>
                </a:cubicBezTo>
                <a:cubicBezTo>
                  <a:pt x="0" y="8"/>
                  <a:pt x="0" y="8"/>
                  <a:pt x="0" y="8"/>
                </a:cubicBezTo>
                <a:cubicBezTo>
                  <a:pt x="0" y="9"/>
                  <a:pt x="0" y="9"/>
                  <a:pt x="1" y="10"/>
                </a:cubicBezTo>
                <a:cubicBezTo>
                  <a:pt x="10" y="0"/>
                  <a:pt x="10" y="0"/>
                  <a:pt x="10" y="0"/>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95" name="Freeform 40">
            <a:extLst>
              <a:ext uri="{FF2B5EF4-FFF2-40B4-BE49-F238E27FC236}">
                <a16:creationId xmlns:a16="http://schemas.microsoft.com/office/drawing/2014/main" id="{2BE6A5B6-E1ED-4B29-B42F-AD01AE1FB802}"/>
              </a:ext>
            </a:extLst>
          </p:cNvPr>
          <p:cNvSpPr>
            <a:spLocks/>
          </p:cNvSpPr>
          <p:nvPr/>
        </p:nvSpPr>
        <p:spPr bwMode="auto">
          <a:xfrm>
            <a:off x="4758763" y="3465577"/>
            <a:ext cx="88983" cy="88983"/>
          </a:xfrm>
          <a:custGeom>
            <a:avLst/>
            <a:gdLst>
              <a:gd name="T0" fmla="*/ 26 w 26"/>
              <a:gd name="T1" fmla="*/ 0 h 25"/>
              <a:gd name="T2" fmla="*/ 26 w 26"/>
              <a:gd name="T3" fmla="*/ 0 h 25"/>
              <a:gd name="T4" fmla="*/ 26 w 26"/>
              <a:gd name="T5" fmla="*/ 0 h 25"/>
              <a:gd name="T6" fmla="*/ 24 w 26"/>
              <a:gd name="T7" fmla="*/ 0 h 25"/>
              <a:gd name="T8" fmla="*/ 0 w 26"/>
              <a:gd name="T9" fmla="*/ 24 h 25"/>
              <a:gd name="T10" fmla="*/ 1 w 26"/>
              <a:gd name="T11" fmla="*/ 25 h 25"/>
              <a:gd name="T12" fmla="*/ 26 w 26"/>
              <a:gd name="T13" fmla="*/ 0 h 25"/>
            </a:gdLst>
            <a:ahLst/>
            <a:cxnLst>
              <a:cxn ang="0">
                <a:pos x="T0" y="T1"/>
              </a:cxn>
              <a:cxn ang="0">
                <a:pos x="T2" y="T3"/>
              </a:cxn>
              <a:cxn ang="0">
                <a:pos x="T4" y="T5"/>
              </a:cxn>
              <a:cxn ang="0">
                <a:pos x="T6" y="T7"/>
              </a:cxn>
              <a:cxn ang="0">
                <a:pos x="T8" y="T9"/>
              </a:cxn>
              <a:cxn ang="0">
                <a:pos x="T10" y="T11"/>
              </a:cxn>
              <a:cxn ang="0">
                <a:pos x="T12" y="T13"/>
              </a:cxn>
            </a:cxnLst>
            <a:rect l="0" t="0" r="r" b="b"/>
            <a:pathLst>
              <a:path w="26" h="25">
                <a:moveTo>
                  <a:pt x="26" y="0"/>
                </a:moveTo>
                <a:cubicBezTo>
                  <a:pt x="26" y="0"/>
                  <a:pt x="26" y="0"/>
                  <a:pt x="26" y="0"/>
                </a:cubicBezTo>
                <a:cubicBezTo>
                  <a:pt x="26" y="0"/>
                  <a:pt x="26" y="0"/>
                  <a:pt x="26" y="0"/>
                </a:cubicBezTo>
                <a:cubicBezTo>
                  <a:pt x="24" y="0"/>
                  <a:pt x="24" y="0"/>
                  <a:pt x="24" y="0"/>
                </a:cubicBezTo>
                <a:cubicBezTo>
                  <a:pt x="0" y="24"/>
                  <a:pt x="0" y="24"/>
                  <a:pt x="0" y="24"/>
                </a:cubicBezTo>
                <a:cubicBezTo>
                  <a:pt x="0" y="24"/>
                  <a:pt x="1" y="25"/>
                  <a:pt x="1" y="25"/>
                </a:cubicBezTo>
                <a:cubicBezTo>
                  <a:pt x="26" y="0"/>
                  <a:pt x="26" y="0"/>
                  <a:pt x="26" y="0"/>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96" name="Freeform 41">
            <a:extLst>
              <a:ext uri="{FF2B5EF4-FFF2-40B4-BE49-F238E27FC236}">
                <a16:creationId xmlns:a16="http://schemas.microsoft.com/office/drawing/2014/main" id="{2ECD4E4E-0C1F-43EC-888F-B8F3D11F64AB}"/>
              </a:ext>
            </a:extLst>
          </p:cNvPr>
          <p:cNvSpPr>
            <a:spLocks/>
          </p:cNvSpPr>
          <p:nvPr/>
        </p:nvSpPr>
        <p:spPr bwMode="auto">
          <a:xfrm>
            <a:off x="4786572" y="3465577"/>
            <a:ext cx="141818" cy="139036"/>
          </a:xfrm>
          <a:custGeom>
            <a:avLst/>
            <a:gdLst>
              <a:gd name="T0" fmla="*/ 41 w 41"/>
              <a:gd name="T1" fmla="*/ 0 h 40"/>
              <a:gd name="T2" fmla="*/ 41 w 41"/>
              <a:gd name="T3" fmla="*/ 0 h 40"/>
              <a:gd name="T4" fmla="*/ 41 w 41"/>
              <a:gd name="T5" fmla="*/ 0 h 40"/>
              <a:gd name="T6" fmla="*/ 39 w 41"/>
              <a:gd name="T7" fmla="*/ 0 h 40"/>
              <a:gd name="T8" fmla="*/ 0 w 41"/>
              <a:gd name="T9" fmla="*/ 39 h 40"/>
              <a:gd name="T10" fmla="*/ 0 w 41"/>
              <a:gd name="T11" fmla="*/ 40 h 40"/>
              <a:gd name="T12" fmla="*/ 41 w 41"/>
              <a:gd name="T13" fmla="*/ 0 h 40"/>
            </a:gdLst>
            <a:ahLst/>
            <a:cxnLst>
              <a:cxn ang="0">
                <a:pos x="T0" y="T1"/>
              </a:cxn>
              <a:cxn ang="0">
                <a:pos x="T2" y="T3"/>
              </a:cxn>
              <a:cxn ang="0">
                <a:pos x="T4" y="T5"/>
              </a:cxn>
              <a:cxn ang="0">
                <a:pos x="T6" y="T7"/>
              </a:cxn>
              <a:cxn ang="0">
                <a:pos x="T8" y="T9"/>
              </a:cxn>
              <a:cxn ang="0">
                <a:pos x="T10" y="T11"/>
              </a:cxn>
              <a:cxn ang="0">
                <a:pos x="T12" y="T13"/>
              </a:cxn>
            </a:cxnLst>
            <a:rect l="0" t="0" r="r" b="b"/>
            <a:pathLst>
              <a:path w="41" h="40">
                <a:moveTo>
                  <a:pt x="41" y="0"/>
                </a:moveTo>
                <a:cubicBezTo>
                  <a:pt x="41" y="0"/>
                  <a:pt x="41" y="0"/>
                  <a:pt x="41" y="0"/>
                </a:cubicBezTo>
                <a:cubicBezTo>
                  <a:pt x="41" y="0"/>
                  <a:pt x="41" y="0"/>
                  <a:pt x="41" y="0"/>
                </a:cubicBezTo>
                <a:cubicBezTo>
                  <a:pt x="39" y="0"/>
                  <a:pt x="39" y="0"/>
                  <a:pt x="39" y="0"/>
                </a:cubicBezTo>
                <a:cubicBezTo>
                  <a:pt x="0" y="39"/>
                  <a:pt x="0" y="39"/>
                  <a:pt x="0" y="39"/>
                </a:cubicBezTo>
                <a:cubicBezTo>
                  <a:pt x="0" y="39"/>
                  <a:pt x="0" y="40"/>
                  <a:pt x="0" y="40"/>
                </a:cubicBezTo>
                <a:cubicBezTo>
                  <a:pt x="41" y="0"/>
                  <a:pt x="41" y="0"/>
                  <a:pt x="41" y="0"/>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97" name="Freeform 42">
            <a:extLst>
              <a:ext uri="{FF2B5EF4-FFF2-40B4-BE49-F238E27FC236}">
                <a16:creationId xmlns:a16="http://schemas.microsoft.com/office/drawing/2014/main" id="{005D029E-BC3F-40DB-8A0B-D45E23A984E2}"/>
              </a:ext>
            </a:extLst>
          </p:cNvPr>
          <p:cNvSpPr>
            <a:spLocks/>
          </p:cNvSpPr>
          <p:nvPr/>
        </p:nvSpPr>
        <p:spPr bwMode="auto">
          <a:xfrm>
            <a:off x="4814379" y="3465577"/>
            <a:ext cx="191871" cy="191871"/>
          </a:xfrm>
          <a:custGeom>
            <a:avLst/>
            <a:gdLst>
              <a:gd name="T0" fmla="*/ 55 w 55"/>
              <a:gd name="T1" fmla="*/ 0 h 55"/>
              <a:gd name="T2" fmla="*/ 55 w 55"/>
              <a:gd name="T3" fmla="*/ 0 h 55"/>
              <a:gd name="T4" fmla="*/ 55 w 55"/>
              <a:gd name="T5" fmla="*/ 0 h 55"/>
              <a:gd name="T6" fmla="*/ 54 w 55"/>
              <a:gd name="T7" fmla="*/ 0 h 55"/>
              <a:gd name="T8" fmla="*/ 0 w 55"/>
              <a:gd name="T9" fmla="*/ 54 h 55"/>
              <a:gd name="T10" fmla="*/ 1 w 55"/>
              <a:gd name="T11" fmla="*/ 55 h 55"/>
              <a:gd name="T12" fmla="*/ 55 w 55"/>
              <a:gd name="T13" fmla="*/ 0 h 55"/>
            </a:gdLst>
            <a:ahLst/>
            <a:cxnLst>
              <a:cxn ang="0">
                <a:pos x="T0" y="T1"/>
              </a:cxn>
              <a:cxn ang="0">
                <a:pos x="T2" y="T3"/>
              </a:cxn>
              <a:cxn ang="0">
                <a:pos x="T4" y="T5"/>
              </a:cxn>
              <a:cxn ang="0">
                <a:pos x="T6" y="T7"/>
              </a:cxn>
              <a:cxn ang="0">
                <a:pos x="T8" y="T9"/>
              </a:cxn>
              <a:cxn ang="0">
                <a:pos x="T10" y="T11"/>
              </a:cxn>
              <a:cxn ang="0">
                <a:pos x="T12" y="T13"/>
              </a:cxn>
            </a:cxnLst>
            <a:rect l="0" t="0" r="r" b="b"/>
            <a:pathLst>
              <a:path w="55" h="55">
                <a:moveTo>
                  <a:pt x="55" y="0"/>
                </a:moveTo>
                <a:cubicBezTo>
                  <a:pt x="55" y="0"/>
                  <a:pt x="55" y="0"/>
                  <a:pt x="55" y="0"/>
                </a:cubicBezTo>
                <a:cubicBezTo>
                  <a:pt x="55" y="0"/>
                  <a:pt x="55" y="0"/>
                  <a:pt x="55" y="0"/>
                </a:cubicBezTo>
                <a:cubicBezTo>
                  <a:pt x="54" y="0"/>
                  <a:pt x="54" y="0"/>
                  <a:pt x="54" y="0"/>
                </a:cubicBezTo>
                <a:cubicBezTo>
                  <a:pt x="0" y="54"/>
                  <a:pt x="0" y="54"/>
                  <a:pt x="0" y="54"/>
                </a:cubicBezTo>
                <a:cubicBezTo>
                  <a:pt x="0" y="54"/>
                  <a:pt x="0" y="54"/>
                  <a:pt x="1" y="55"/>
                </a:cubicBezTo>
                <a:cubicBezTo>
                  <a:pt x="55" y="0"/>
                  <a:pt x="55" y="0"/>
                  <a:pt x="55" y="0"/>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98" name="Freeform 43">
            <a:extLst>
              <a:ext uri="{FF2B5EF4-FFF2-40B4-BE49-F238E27FC236}">
                <a16:creationId xmlns:a16="http://schemas.microsoft.com/office/drawing/2014/main" id="{85DFD67E-EC8C-477A-8AF3-EA014A6E89D6}"/>
              </a:ext>
            </a:extLst>
          </p:cNvPr>
          <p:cNvSpPr>
            <a:spLocks/>
          </p:cNvSpPr>
          <p:nvPr/>
        </p:nvSpPr>
        <p:spPr bwMode="auto">
          <a:xfrm>
            <a:off x="4844967" y="3465577"/>
            <a:ext cx="241924" cy="241924"/>
          </a:xfrm>
          <a:custGeom>
            <a:avLst/>
            <a:gdLst>
              <a:gd name="T0" fmla="*/ 69 w 69"/>
              <a:gd name="T1" fmla="*/ 0 h 69"/>
              <a:gd name="T2" fmla="*/ 69 w 69"/>
              <a:gd name="T3" fmla="*/ 0 h 69"/>
              <a:gd name="T4" fmla="*/ 69 w 69"/>
              <a:gd name="T5" fmla="*/ 0 h 69"/>
              <a:gd name="T6" fmla="*/ 67 w 69"/>
              <a:gd name="T7" fmla="*/ 0 h 69"/>
              <a:gd name="T8" fmla="*/ 0 w 69"/>
              <a:gd name="T9" fmla="*/ 68 h 69"/>
              <a:gd name="T10" fmla="*/ 0 w 69"/>
              <a:gd name="T11" fmla="*/ 69 h 69"/>
              <a:gd name="T12" fmla="*/ 69 w 69"/>
              <a:gd name="T13" fmla="*/ 0 h 69"/>
            </a:gdLst>
            <a:ahLst/>
            <a:cxnLst>
              <a:cxn ang="0">
                <a:pos x="T0" y="T1"/>
              </a:cxn>
              <a:cxn ang="0">
                <a:pos x="T2" y="T3"/>
              </a:cxn>
              <a:cxn ang="0">
                <a:pos x="T4" y="T5"/>
              </a:cxn>
              <a:cxn ang="0">
                <a:pos x="T6" y="T7"/>
              </a:cxn>
              <a:cxn ang="0">
                <a:pos x="T8" y="T9"/>
              </a:cxn>
              <a:cxn ang="0">
                <a:pos x="T10" y="T11"/>
              </a:cxn>
              <a:cxn ang="0">
                <a:pos x="T12" y="T13"/>
              </a:cxn>
            </a:cxnLst>
            <a:rect l="0" t="0" r="r" b="b"/>
            <a:pathLst>
              <a:path w="69" h="69">
                <a:moveTo>
                  <a:pt x="69" y="0"/>
                </a:moveTo>
                <a:cubicBezTo>
                  <a:pt x="69" y="0"/>
                  <a:pt x="69" y="0"/>
                  <a:pt x="69" y="0"/>
                </a:cubicBezTo>
                <a:cubicBezTo>
                  <a:pt x="69" y="0"/>
                  <a:pt x="69" y="0"/>
                  <a:pt x="69" y="0"/>
                </a:cubicBezTo>
                <a:cubicBezTo>
                  <a:pt x="67" y="0"/>
                  <a:pt x="67" y="0"/>
                  <a:pt x="67" y="0"/>
                </a:cubicBezTo>
                <a:cubicBezTo>
                  <a:pt x="0" y="68"/>
                  <a:pt x="0" y="68"/>
                  <a:pt x="0" y="68"/>
                </a:cubicBezTo>
                <a:cubicBezTo>
                  <a:pt x="0" y="68"/>
                  <a:pt x="0" y="68"/>
                  <a:pt x="0" y="69"/>
                </a:cubicBezTo>
                <a:cubicBezTo>
                  <a:pt x="69" y="0"/>
                  <a:pt x="69" y="0"/>
                  <a:pt x="69" y="0"/>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99" name="Freeform 44">
            <a:extLst>
              <a:ext uri="{FF2B5EF4-FFF2-40B4-BE49-F238E27FC236}">
                <a16:creationId xmlns:a16="http://schemas.microsoft.com/office/drawing/2014/main" id="{E098E8DE-36D5-4277-87F4-AA0B03CBDDD9}"/>
              </a:ext>
            </a:extLst>
          </p:cNvPr>
          <p:cNvSpPr>
            <a:spLocks/>
          </p:cNvSpPr>
          <p:nvPr/>
        </p:nvSpPr>
        <p:spPr bwMode="auto">
          <a:xfrm>
            <a:off x="4875555" y="3465577"/>
            <a:ext cx="289196" cy="286415"/>
          </a:xfrm>
          <a:custGeom>
            <a:avLst/>
            <a:gdLst>
              <a:gd name="T0" fmla="*/ 83 w 83"/>
              <a:gd name="T1" fmla="*/ 0 h 82"/>
              <a:gd name="T2" fmla="*/ 83 w 83"/>
              <a:gd name="T3" fmla="*/ 0 h 82"/>
              <a:gd name="T4" fmla="*/ 83 w 83"/>
              <a:gd name="T5" fmla="*/ 0 h 82"/>
              <a:gd name="T6" fmla="*/ 81 w 83"/>
              <a:gd name="T7" fmla="*/ 0 h 82"/>
              <a:gd name="T8" fmla="*/ 0 w 83"/>
              <a:gd name="T9" fmla="*/ 81 h 82"/>
              <a:gd name="T10" fmla="*/ 0 w 83"/>
              <a:gd name="T11" fmla="*/ 82 h 82"/>
              <a:gd name="T12" fmla="*/ 83 w 83"/>
              <a:gd name="T13" fmla="*/ 0 h 82"/>
            </a:gdLst>
            <a:ahLst/>
            <a:cxnLst>
              <a:cxn ang="0">
                <a:pos x="T0" y="T1"/>
              </a:cxn>
              <a:cxn ang="0">
                <a:pos x="T2" y="T3"/>
              </a:cxn>
              <a:cxn ang="0">
                <a:pos x="T4" y="T5"/>
              </a:cxn>
              <a:cxn ang="0">
                <a:pos x="T6" y="T7"/>
              </a:cxn>
              <a:cxn ang="0">
                <a:pos x="T8" y="T9"/>
              </a:cxn>
              <a:cxn ang="0">
                <a:pos x="T10" y="T11"/>
              </a:cxn>
              <a:cxn ang="0">
                <a:pos x="T12" y="T13"/>
              </a:cxn>
            </a:cxnLst>
            <a:rect l="0" t="0" r="r" b="b"/>
            <a:pathLst>
              <a:path w="83" h="82">
                <a:moveTo>
                  <a:pt x="83" y="0"/>
                </a:moveTo>
                <a:cubicBezTo>
                  <a:pt x="83" y="0"/>
                  <a:pt x="83" y="0"/>
                  <a:pt x="83" y="0"/>
                </a:cubicBezTo>
                <a:cubicBezTo>
                  <a:pt x="83" y="0"/>
                  <a:pt x="83" y="0"/>
                  <a:pt x="83" y="0"/>
                </a:cubicBezTo>
                <a:cubicBezTo>
                  <a:pt x="81" y="0"/>
                  <a:pt x="81" y="0"/>
                  <a:pt x="81" y="0"/>
                </a:cubicBezTo>
                <a:cubicBezTo>
                  <a:pt x="0" y="81"/>
                  <a:pt x="0" y="81"/>
                  <a:pt x="0" y="81"/>
                </a:cubicBezTo>
                <a:cubicBezTo>
                  <a:pt x="0" y="81"/>
                  <a:pt x="0" y="82"/>
                  <a:pt x="0" y="82"/>
                </a:cubicBezTo>
                <a:cubicBezTo>
                  <a:pt x="83" y="0"/>
                  <a:pt x="83" y="0"/>
                  <a:pt x="83" y="0"/>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00" name="Freeform 45">
            <a:extLst>
              <a:ext uri="{FF2B5EF4-FFF2-40B4-BE49-F238E27FC236}">
                <a16:creationId xmlns:a16="http://schemas.microsoft.com/office/drawing/2014/main" id="{466E6D3C-9AB7-4DBA-A8EC-1F82913D8F00}"/>
              </a:ext>
            </a:extLst>
          </p:cNvPr>
          <p:cNvSpPr>
            <a:spLocks/>
          </p:cNvSpPr>
          <p:nvPr/>
        </p:nvSpPr>
        <p:spPr bwMode="auto">
          <a:xfrm>
            <a:off x="4908924" y="3465577"/>
            <a:ext cx="333687" cy="330907"/>
          </a:xfrm>
          <a:custGeom>
            <a:avLst/>
            <a:gdLst>
              <a:gd name="T0" fmla="*/ 96 w 96"/>
              <a:gd name="T1" fmla="*/ 0 h 95"/>
              <a:gd name="T2" fmla="*/ 96 w 96"/>
              <a:gd name="T3" fmla="*/ 0 h 95"/>
              <a:gd name="T4" fmla="*/ 96 w 96"/>
              <a:gd name="T5" fmla="*/ 0 h 95"/>
              <a:gd name="T6" fmla="*/ 95 w 96"/>
              <a:gd name="T7" fmla="*/ 0 h 95"/>
              <a:gd name="T8" fmla="*/ 0 w 96"/>
              <a:gd name="T9" fmla="*/ 94 h 95"/>
              <a:gd name="T10" fmla="*/ 1 w 96"/>
              <a:gd name="T11" fmla="*/ 95 h 95"/>
              <a:gd name="T12" fmla="*/ 96 w 96"/>
              <a:gd name="T13" fmla="*/ 0 h 95"/>
            </a:gdLst>
            <a:ahLst/>
            <a:cxnLst>
              <a:cxn ang="0">
                <a:pos x="T0" y="T1"/>
              </a:cxn>
              <a:cxn ang="0">
                <a:pos x="T2" y="T3"/>
              </a:cxn>
              <a:cxn ang="0">
                <a:pos x="T4" y="T5"/>
              </a:cxn>
              <a:cxn ang="0">
                <a:pos x="T6" y="T7"/>
              </a:cxn>
              <a:cxn ang="0">
                <a:pos x="T8" y="T9"/>
              </a:cxn>
              <a:cxn ang="0">
                <a:pos x="T10" y="T11"/>
              </a:cxn>
              <a:cxn ang="0">
                <a:pos x="T12" y="T13"/>
              </a:cxn>
            </a:cxnLst>
            <a:rect l="0" t="0" r="r" b="b"/>
            <a:pathLst>
              <a:path w="96" h="95">
                <a:moveTo>
                  <a:pt x="96" y="0"/>
                </a:moveTo>
                <a:cubicBezTo>
                  <a:pt x="96" y="0"/>
                  <a:pt x="96" y="0"/>
                  <a:pt x="96" y="0"/>
                </a:cubicBezTo>
                <a:cubicBezTo>
                  <a:pt x="96" y="0"/>
                  <a:pt x="96" y="0"/>
                  <a:pt x="96" y="0"/>
                </a:cubicBezTo>
                <a:cubicBezTo>
                  <a:pt x="95" y="0"/>
                  <a:pt x="95" y="0"/>
                  <a:pt x="95" y="0"/>
                </a:cubicBezTo>
                <a:cubicBezTo>
                  <a:pt x="0" y="94"/>
                  <a:pt x="0" y="94"/>
                  <a:pt x="0" y="94"/>
                </a:cubicBezTo>
                <a:cubicBezTo>
                  <a:pt x="1" y="95"/>
                  <a:pt x="1" y="95"/>
                  <a:pt x="1" y="95"/>
                </a:cubicBezTo>
                <a:cubicBezTo>
                  <a:pt x="96" y="0"/>
                  <a:pt x="96" y="0"/>
                  <a:pt x="96" y="0"/>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01" name="Freeform 46">
            <a:extLst>
              <a:ext uri="{FF2B5EF4-FFF2-40B4-BE49-F238E27FC236}">
                <a16:creationId xmlns:a16="http://schemas.microsoft.com/office/drawing/2014/main" id="{59109FD7-6E4A-4008-B463-9C4A1A054471}"/>
              </a:ext>
            </a:extLst>
          </p:cNvPr>
          <p:cNvSpPr>
            <a:spLocks/>
          </p:cNvSpPr>
          <p:nvPr/>
        </p:nvSpPr>
        <p:spPr bwMode="auto">
          <a:xfrm>
            <a:off x="4942293" y="3465577"/>
            <a:ext cx="380960" cy="378179"/>
          </a:xfrm>
          <a:custGeom>
            <a:avLst/>
            <a:gdLst>
              <a:gd name="T0" fmla="*/ 109 w 109"/>
              <a:gd name="T1" fmla="*/ 0 h 108"/>
              <a:gd name="T2" fmla="*/ 109 w 109"/>
              <a:gd name="T3" fmla="*/ 0 h 108"/>
              <a:gd name="T4" fmla="*/ 109 w 109"/>
              <a:gd name="T5" fmla="*/ 0 h 108"/>
              <a:gd name="T6" fmla="*/ 107 w 109"/>
              <a:gd name="T7" fmla="*/ 0 h 108"/>
              <a:gd name="T8" fmla="*/ 0 w 109"/>
              <a:gd name="T9" fmla="*/ 107 h 108"/>
              <a:gd name="T10" fmla="*/ 1 w 109"/>
              <a:gd name="T11" fmla="*/ 108 h 108"/>
              <a:gd name="T12" fmla="*/ 109 w 109"/>
              <a:gd name="T13" fmla="*/ 0 h 108"/>
            </a:gdLst>
            <a:ahLst/>
            <a:cxnLst>
              <a:cxn ang="0">
                <a:pos x="T0" y="T1"/>
              </a:cxn>
              <a:cxn ang="0">
                <a:pos x="T2" y="T3"/>
              </a:cxn>
              <a:cxn ang="0">
                <a:pos x="T4" y="T5"/>
              </a:cxn>
              <a:cxn ang="0">
                <a:pos x="T6" y="T7"/>
              </a:cxn>
              <a:cxn ang="0">
                <a:pos x="T8" y="T9"/>
              </a:cxn>
              <a:cxn ang="0">
                <a:pos x="T10" y="T11"/>
              </a:cxn>
              <a:cxn ang="0">
                <a:pos x="T12" y="T13"/>
              </a:cxn>
            </a:cxnLst>
            <a:rect l="0" t="0" r="r" b="b"/>
            <a:pathLst>
              <a:path w="109" h="108">
                <a:moveTo>
                  <a:pt x="109" y="0"/>
                </a:moveTo>
                <a:cubicBezTo>
                  <a:pt x="109" y="0"/>
                  <a:pt x="109" y="0"/>
                  <a:pt x="109" y="0"/>
                </a:cubicBezTo>
                <a:cubicBezTo>
                  <a:pt x="109" y="0"/>
                  <a:pt x="109" y="0"/>
                  <a:pt x="109" y="0"/>
                </a:cubicBezTo>
                <a:cubicBezTo>
                  <a:pt x="107" y="0"/>
                  <a:pt x="107" y="0"/>
                  <a:pt x="107" y="0"/>
                </a:cubicBezTo>
                <a:cubicBezTo>
                  <a:pt x="0" y="107"/>
                  <a:pt x="0" y="107"/>
                  <a:pt x="0" y="107"/>
                </a:cubicBezTo>
                <a:cubicBezTo>
                  <a:pt x="1" y="107"/>
                  <a:pt x="1" y="107"/>
                  <a:pt x="1" y="108"/>
                </a:cubicBezTo>
                <a:cubicBezTo>
                  <a:pt x="109" y="0"/>
                  <a:pt x="109" y="0"/>
                  <a:pt x="109" y="0"/>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02" name="Freeform 47">
            <a:extLst>
              <a:ext uri="{FF2B5EF4-FFF2-40B4-BE49-F238E27FC236}">
                <a16:creationId xmlns:a16="http://schemas.microsoft.com/office/drawing/2014/main" id="{7C4A9F25-C250-420C-B360-9904222C72E4}"/>
              </a:ext>
            </a:extLst>
          </p:cNvPr>
          <p:cNvSpPr>
            <a:spLocks/>
          </p:cNvSpPr>
          <p:nvPr/>
        </p:nvSpPr>
        <p:spPr bwMode="auto">
          <a:xfrm>
            <a:off x="4981223" y="3479482"/>
            <a:ext cx="405986" cy="405986"/>
          </a:xfrm>
          <a:custGeom>
            <a:avLst/>
            <a:gdLst>
              <a:gd name="T0" fmla="*/ 115 w 116"/>
              <a:gd name="T1" fmla="*/ 0 h 116"/>
              <a:gd name="T2" fmla="*/ 0 w 116"/>
              <a:gd name="T3" fmla="*/ 115 h 116"/>
              <a:gd name="T4" fmla="*/ 1 w 116"/>
              <a:gd name="T5" fmla="*/ 116 h 116"/>
              <a:gd name="T6" fmla="*/ 116 w 116"/>
              <a:gd name="T7" fmla="*/ 0 h 116"/>
              <a:gd name="T8" fmla="*/ 115 w 116"/>
              <a:gd name="T9" fmla="*/ 0 h 116"/>
            </a:gdLst>
            <a:ahLst/>
            <a:cxnLst>
              <a:cxn ang="0">
                <a:pos x="T0" y="T1"/>
              </a:cxn>
              <a:cxn ang="0">
                <a:pos x="T2" y="T3"/>
              </a:cxn>
              <a:cxn ang="0">
                <a:pos x="T4" y="T5"/>
              </a:cxn>
              <a:cxn ang="0">
                <a:pos x="T6" y="T7"/>
              </a:cxn>
              <a:cxn ang="0">
                <a:pos x="T8" y="T9"/>
              </a:cxn>
            </a:cxnLst>
            <a:rect l="0" t="0" r="r" b="b"/>
            <a:pathLst>
              <a:path w="116" h="116">
                <a:moveTo>
                  <a:pt x="115" y="0"/>
                </a:moveTo>
                <a:cubicBezTo>
                  <a:pt x="0" y="115"/>
                  <a:pt x="0" y="115"/>
                  <a:pt x="0" y="115"/>
                </a:cubicBezTo>
                <a:cubicBezTo>
                  <a:pt x="0" y="115"/>
                  <a:pt x="0" y="116"/>
                  <a:pt x="1" y="116"/>
                </a:cubicBezTo>
                <a:cubicBezTo>
                  <a:pt x="116" y="0"/>
                  <a:pt x="116" y="0"/>
                  <a:pt x="116" y="0"/>
                </a:cubicBezTo>
                <a:cubicBezTo>
                  <a:pt x="116" y="0"/>
                  <a:pt x="116" y="0"/>
                  <a:pt x="115" y="0"/>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03" name="Freeform 48">
            <a:extLst>
              <a:ext uri="{FF2B5EF4-FFF2-40B4-BE49-F238E27FC236}">
                <a16:creationId xmlns:a16="http://schemas.microsoft.com/office/drawing/2014/main" id="{D7E8615F-F2DD-4192-93D8-5E41973F96F8}"/>
              </a:ext>
            </a:extLst>
          </p:cNvPr>
          <p:cNvSpPr>
            <a:spLocks/>
          </p:cNvSpPr>
          <p:nvPr/>
        </p:nvSpPr>
        <p:spPr bwMode="auto">
          <a:xfrm>
            <a:off x="5020153" y="3507289"/>
            <a:ext cx="417110" cy="419890"/>
          </a:xfrm>
          <a:custGeom>
            <a:avLst/>
            <a:gdLst>
              <a:gd name="T0" fmla="*/ 119 w 120"/>
              <a:gd name="T1" fmla="*/ 0 h 120"/>
              <a:gd name="T2" fmla="*/ 0 w 120"/>
              <a:gd name="T3" fmla="*/ 119 h 120"/>
              <a:gd name="T4" fmla="*/ 1 w 120"/>
              <a:gd name="T5" fmla="*/ 120 h 120"/>
              <a:gd name="T6" fmla="*/ 120 w 120"/>
              <a:gd name="T7" fmla="*/ 0 h 120"/>
              <a:gd name="T8" fmla="*/ 119 w 120"/>
              <a:gd name="T9" fmla="*/ 0 h 120"/>
            </a:gdLst>
            <a:ahLst/>
            <a:cxnLst>
              <a:cxn ang="0">
                <a:pos x="T0" y="T1"/>
              </a:cxn>
              <a:cxn ang="0">
                <a:pos x="T2" y="T3"/>
              </a:cxn>
              <a:cxn ang="0">
                <a:pos x="T4" y="T5"/>
              </a:cxn>
              <a:cxn ang="0">
                <a:pos x="T6" y="T7"/>
              </a:cxn>
              <a:cxn ang="0">
                <a:pos x="T8" y="T9"/>
              </a:cxn>
            </a:cxnLst>
            <a:rect l="0" t="0" r="r" b="b"/>
            <a:pathLst>
              <a:path w="120" h="120">
                <a:moveTo>
                  <a:pt x="119" y="0"/>
                </a:moveTo>
                <a:cubicBezTo>
                  <a:pt x="0" y="119"/>
                  <a:pt x="0" y="119"/>
                  <a:pt x="0" y="119"/>
                </a:cubicBezTo>
                <a:cubicBezTo>
                  <a:pt x="0" y="119"/>
                  <a:pt x="0" y="119"/>
                  <a:pt x="1" y="120"/>
                </a:cubicBezTo>
                <a:cubicBezTo>
                  <a:pt x="120" y="0"/>
                  <a:pt x="120" y="0"/>
                  <a:pt x="120" y="0"/>
                </a:cubicBezTo>
                <a:cubicBezTo>
                  <a:pt x="119" y="0"/>
                  <a:pt x="119" y="0"/>
                  <a:pt x="119" y="0"/>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04" name="Freeform 49">
            <a:extLst>
              <a:ext uri="{FF2B5EF4-FFF2-40B4-BE49-F238E27FC236}">
                <a16:creationId xmlns:a16="http://schemas.microsoft.com/office/drawing/2014/main" id="{FC345D59-9C40-4C04-A4DE-FB13B1A5C306}"/>
              </a:ext>
            </a:extLst>
          </p:cNvPr>
          <p:cNvSpPr>
            <a:spLocks/>
          </p:cNvSpPr>
          <p:nvPr/>
        </p:nvSpPr>
        <p:spPr bwMode="auto">
          <a:xfrm>
            <a:off x="5059083" y="3535096"/>
            <a:ext cx="428233" cy="431013"/>
          </a:xfrm>
          <a:custGeom>
            <a:avLst/>
            <a:gdLst>
              <a:gd name="T0" fmla="*/ 122 w 123"/>
              <a:gd name="T1" fmla="*/ 0 h 123"/>
              <a:gd name="T2" fmla="*/ 0 w 123"/>
              <a:gd name="T3" fmla="*/ 122 h 123"/>
              <a:gd name="T4" fmla="*/ 1 w 123"/>
              <a:gd name="T5" fmla="*/ 123 h 123"/>
              <a:gd name="T6" fmla="*/ 123 w 123"/>
              <a:gd name="T7" fmla="*/ 1 h 123"/>
              <a:gd name="T8" fmla="*/ 122 w 123"/>
              <a:gd name="T9" fmla="*/ 0 h 123"/>
            </a:gdLst>
            <a:ahLst/>
            <a:cxnLst>
              <a:cxn ang="0">
                <a:pos x="T0" y="T1"/>
              </a:cxn>
              <a:cxn ang="0">
                <a:pos x="T2" y="T3"/>
              </a:cxn>
              <a:cxn ang="0">
                <a:pos x="T4" y="T5"/>
              </a:cxn>
              <a:cxn ang="0">
                <a:pos x="T6" y="T7"/>
              </a:cxn>
              <a:cxn ang="0">
                <a:pos x="T8" y="T9"/>
              </a:cxn>
            </a:cxnLst>
            <a:rect l="0" t="0" r="r" b="b"/>
            <a:pathLst>
              <a:path w="123" h="123">
                <a:moveTo>
                  <a:pt x="122" y="0"/>
                </a:moveTo>
                <a:cubicBezTo>
                  <a:pt x="0" y="122"/>
                  <a:pt x="0" y="122"/>
                  <a:pt x="0" y="122"/>
                </a:cubicBezTo>
                <a:cubicBezTo>
                  <a:pt x="1" y="122"/>
                  <a:pt x="1" y="122"/>
                  <a:pt x="1" y="123"/>
                </a:cubicBezTo>
                <a:cubicBezTo>
                  <a:pt x="123" y="1"/>
                  <a:pt x="123" y="1"/>
                  <a:pt x="123" y="1"/>
                </a:cubicBezTo>
                <a:cubicBezTo>
                  <a:pt x="123" y="1"/>
                  <a:pt x="122" y="1"/>
                  <a:pt x="122" y="0"/>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05" name="Freeform 50">
            <a:extLst>
              <a:ext uri="{FF2B5EF4-FFF2-40B4-BE49-F238E27FC236}">
                <a16:creationId xmlns:a16="http://schemas.microsoft.com/office/drawing/2014/main" id="{1E64CCBE-D605-451C-9AFC-D5D3DE70DBF4}"/>
              </a:ext>
            </a:extLst>
          </p:cNvPr>
          <p:cNvSpPr>
            <a:spLocks/>
          </p:cNvSpPr>
          <p:nvPr/>
        </p:nvSpPr>
        <p:spPr bwMode="auto">
          <a:xfrm>
            <a:off x="5100793" y="3571245"/>
            <a:ext cx="431013" cy="431013"/>
          </a:xfrm>
          <a:custGeom>
            <a:avLst/>
            <a:gdLst>
              <a:gd name="T0" fmla="*/ 123 w 124"/>
              <a:gd name="T1" fmla="*/ 0 h 124"/>
              <a:gd name="T2" fmla="*/ 0 w 124"/>
              <a:gd name="T3" fmla="*/ 123 h 124"/>
              <a:gd name="T4" fmla="*/ 1 w 124"/>
              <a:gd name="T5" fmla="*/ 124 h 124"/>
              <a:gd name="T6" fmla="*/ 124 w 124"/>
              <a:gd name="T7" fmla="*/ 0 h 124"/>
              <a:gd name="T8" fmla="*/ 123 w 124"/>
              <a:gd name="T9" fmla="*/ 0 h 124"/>
            </a:gdLst>
            <a:ahLst/>
            <a:cxnLst>
              <a:cxn ang="0">
                <a:pos x="T0" y="T1"/>
              </a:cxn>
              <a:cxn ang="0">
                <a:pos x="T2" y="T3"/>
              </a:cxn>
              <a:cxn ang="0">
                <a:pos x="T4" y="T5"/>
              </a:cxn>
              <a:cxn ang="0">
                <a:pos x="T6" y="T7"/>
              </a:cxn>
              <a:cxn ang="0">
                <a:pos x="T8" y="T9"/>
              </a:cxn>
            </a:cxnLst>
            <a:rect l="0" t="0" r="r" b="b"/>
            <a:pathLst>
              <a:path w="124" h="124">
                <a:moveTo>
                  <a:pt x="123" y="0"/>
                </a:moveTo>
                <a:cubicBezTo>
                  <a:pt x="0" y="123"/>
                  <a:pt x="0" y="123"/>
                  <a:pt x="0" y="123"/>
                </a:cubicBezTo>
                <a:cubicBezTo>
                  <a:pt x="0" y="123"/>
                  <a:pt x="1" y="123"/>
                  <a:pt x="1" y="124"/>
                </a:cubicBezTo>
                <a:cubicBezTo>
                  <a:pt x="124" y="0"/>
                  <a:pt x="124" y="0"/>
                  <a:pt x="124" y="0"/>
                </a:cubicBezTo>
                <a:cubicBezTo>
                  <a:pt x="124" y="0"/>
                  <a:pt x="124" y="0"/>
                  <a:pt x="123" y="0"/>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06" name="Freeform 51">
            <a:extLst>
              <a:ext uri="{FF2B5EF4-FFF2-40B4-BE49-F238E27FC236}">
                <a16:creationId xmlns:a16="http://schemas.microsoft.com/office/drawing/2014/main" id="{E7A6DED1-8DC1-4521-8D83-D925C123850E}"/>
              </a:ext>
            </a:extLst>
          </p:cNvPr>
          <p:cNvSpPr>
            <a:spLocks/>
          </p:cNvSpPr>
          <p:nvPr/>
        </p:nvSpPr>
        <p:spPr bwMode="auto">
          <a:xfrm>
            <a:off x="5142505" y="3601834"/>
            <a:ext cx="436575" cy="436575"/>
          </a:xfrm>
          <a:custGeom>
            <a:avLst/>
            <a:gdLst>
              <a:gd name="T0" fmla="*/ 124 w 125"/>
              <a:gd name="T1" fmla="*/ 0 h 125"/>
              <a:gd name="T2" fmla="*/ 0 w 125"/>
              <a:gd name="T3" fmla="*/ 124 h 125"/>
              <a:gd name="T4" fmla="*/ 1 w 125"/>
              <a:gd name="T5" fmla="*/ 125 h 125"/>
              <a:gd name="T6" fmla="*/ 125 w 125"/>
              <a:gd name="T7" fmla="*/ 1 h 125"/>
              <a:gd name="T8" fmla="*/ 124 w 125"/>
              <a:gd name="T9" fmla="*/ 0 h 125"/>
            </a:gdLst>
            <a:ahLst/>
            <a:cxnLst>
              <a:cxn ang="0">
                <a:pos x="T0" y="T1"/>
              </a:cxn>
              <a:cxn ang="0">
                <a:pos x="T2" y="T3"/>
              </a:cxn>
              <a:cxn ang="0">
                <a:pos x="T4" y="T5"/>
              </a:cxn>
              <a:cxn ang="0">
                <a:pos x="T6" y="T7"/>
              </a:cxn>
              <a:cxn ang="0">
                <a:pos x="T8" y="T9"/>
              </a:cxn>
            </a:cxnLst>
            <a:rect l="0" t="0" r="r" b="b"/>
            <a:pathLst>
              <a:path w="125" h="125">
                <a:moveTo>
                  <a:pt x="124" y="0"/>
                </a:moveTo>
                <a:cubicBezTo>
                  <a:pt x="0" y="124"/>
                  <a:pt x="0" y="124"/>
                  <a:pt x="0" y="124"/>
                </a:cubicBezTo>
                <a:cubicBezTo>
                  <a:pt x="1" y="124"/>
                  <a:pt x="1" y="125"/>
                  <a:pt x="1" y="125"/>
                </a:cubicBezTo>
                <a:cubicBezTo>
                  <a:pt x="125" y="1"/>
                  <a:pt x="125" y="1"/>
                  <a:pt x="125" y="1"/>
                </a:cubicBezTo>
                <a:cubicBezTo>
                  <a:pt x="125" y="1"/>
                  <a:pt x="125" y="1"/>
                  <a:pt x="124" y="0"/>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07" name="Freeform 52">
            <a:extLst>
              <a:ext uri="{FF2B5EF4-FFF2-40B4-BE49-F238E27FC236}">
                <a16:creationId xmlns:a16="http://schemas.microsoft.com/office/drawing/2014/main" id="{9AA6EA72-B99E-4251-BAB4-1E30F7471B1E}"/>
              </a:ext>
            </a:extLst>
          </p:cNvPr>
          <p:cNvSpPr>
            <a:spLocks/>
          </p:cNvSpPr>
          <p:nvPr/>
        </p:nvSpPr>
        <p:spPr bwMode="auto">
          <a:xfrm>
            <a:off x="5186996" y="3660229"/>
            <a:ext cx="408767" cy="414329"/>
          </a:xfrm>
          <a:custGeom>
            <a:avLst/>
            <a:gdLst>
              <a:gd name="T0" fmla="*/ 117 w 117"/>
              <a:gd name="T1" fmla="*/ 0 h 118"/>
              <a:gd name="T2" fmla="*/ 0 w 117"/>
              <a:gd name="T3" fmla="*/ 117 h 118"/>
              <a:gd name="T4" fmla="*/ 1 w 117"/>
              <a:gd name="T5" fmla="*/ 118 h 118"/>
              <a:gd name="T6" fmla="*/ 117 w 117"/>
              <a:gd name="T7" fmla="*/ 1 h 118"/>
              <a:gd name="T8" fmla="*/ 117 w 117"/>
              <a:gd name="T9" fmla="*/ 0 h 118"/>
            </a:gdLst>
            <a:ahLst/>
            <a:cxnLst>
              <a:cxn ang="0">
                <a:pos x="T0" y="T1"/>
              </a:cxn>
              <a:cxn ang="0">
                <a:pos x="T2" y="T3"/>
              </a:cxn>
              <a:cxn ang="0">
                <a:pos x="T4" y="T5"/>
              </a:cxn>
              <a:cxn ang="0">
                <a:pos x="T6" y="T7"/>
              </a:cxn>
              <a:cxn ang="0">
                <a:pos x="T8" y="T9"/>
              </a:cxn>
            </a:cxnLst>
            <a:rect l="0" t="0" r="r" b="b"/>
            <a:pathLst>
              <a:path w="117" h="118">
                <a:moveTo>
                  <a:pt x="117" y="0"/>
                </a:moveTo>
                <a:cubicBezTo>
                  <a:pt x="0" y="117"/>
                  <a:pt x="0" y="117"/>
                  <a:pt x="0" y="117"/>
                </a:cubicBezTo>
                <a:cubicBezTo>
                  <a:pt x="1" y="117"/>
                  <a:pt x="1" y="118"/>
                  <a:pt x="1" y="118"/>
                </a:cubicBezTo>
                <a:cubicBezTo>
                  <a:pt x="117" y="1"/>
                  <a:pt x="117" y="1"/>
                  <a:pt x="117" y="1"/>
                </a:cubicBezTo>
                <a:cubicBezTo>
                  <a:pt x="117" y="0"/>
                  <a:pt x="117" y="0"/>
                  <a:pt x="117" y="0"/>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08" name="Freeform 53">
            <a:extLst>
              <a:ext uri="{FF2B5EF4-FFF2-40B4-BE49-F238E27FC236}">
                <a16:creationId xmlns:a16="http://schemas.microsoft.com/office/drawing/2014/main" id="{647937BE-E406-464E-A9ED-A0033135A993}"/>
              </a:ext>
            </a:extLst>
          </p:cNvPr>
          <p:cNvSpPr>
            <a:spLocks/>
          </p:cNvSpPr>
          <p:nvPr/>
        </p:nvSpPr>
        <p:spPr bwMode="auto">
          <a:xfrm>
            <a:off x="5231488" y="3740870"/>
            <a:ext cx="364276" cy="364276"/>
          </a:xfrm>
          <a:custGeom>
            <a:avLst/>
            <a:gdLst>
              <a:gd name="T0" fmla="*/ 104 w 104"/>
              <a:gd name="T1" fmla="*/ 0 h 104"/>
              <a:gd name="T2" fmla="*/ 0 w 104"/>
              <a:gd name="T3" fmla="*/ 104 h 104"/>
              <a:gd name="T4" fmla="*/ 1 w 104"/>
              <a:gd name="T5" fmla="*/ 104 h 104"/>
              <a:gd name="T6" fmla="*/ 104 w 104"/>
              <a:gd name="T7" fmla="*/ 1 h 104"/>
              <a:gd name="T8" fmla="*/ 104 w 104"/>
              <a:gd name="T9" fmla="*/ 0 h 104"/>
            </a:gdLst>
            <a:ahLst/>
            <a:cxnLst>
              <a:cxn ang="0">
                <a:pos x="T0" y="T1"/>
              </a:cxn>
              <a:cxn ang="0">
                <a:pos x="T2" y="T3"/>
              </a:cxn>
              <a:cxn ang="0">
                <a:pos x="T4" y="T5"/>
              </a:cxn>
              <a:cxn ang="0">
                <a:pos x="T6" y="T7"/>
              </a:cxn>
              <a:cxn ang="0">
                <a:pos x="T8" y="T9"/>
              </a:cxn>
            </a:cxnLst>
            <a:rect l="0" t="0" r="r" b="b"/>
            <a:pathLst>
              <a:path w="104" h="104">
                <a:moveTo>
                  <a:pt x="104" y="0"/>
                </a:moveTo>
                <a:cubicBezTo>
                  <a:pt x="0" y="104"/>
                  <a:pt x="0" y="104"/>
                  <a:pt x="0" y="104"/>
                </a:cubicBezTo>
                <a:cubicBezTo>
                  <a:pt x="1" y="104"/>
                  <a:pt x="1" y="104"/>
                  <a:pt x="1" y="104"/>
                </a:cubicBezTo>
                <a:cubicBezTo>
                  <a:pt x="104" y="1"/>
                  <a:pt x="104" y="1"/>
                  <a:pt x="104" y="1"/>
                </a:cubicBezTo>
                <a:cubicBezTo>
                  <a:pt x="104" y="0"/>
                  <a:pt x="104" y="0"/>
                  <a:pt x="104" y="0"/>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09" name="Freeform 54">
            <a:extLst>
              <a:ext uri="{FF2B5EF4-FFF2-40B4-BE49-F238E27FC236}">
                <a16:creationId xmlns:a16="http://schemas.microsoft.com/office/drawing/2014/main" id="{D31C944F-0EC7-4B85-8766-FB8DFD6075FC}"/>
              </a:ext>
            </a:extLst>
          </p:cNvPr>
          <p:cNvSpPr>
            <a:spLocks/>
          </p:cNvSpPr>
          <p:nvPr/>
        </p:nvSpPr>
        <p:spPr bwMode="auto">
          <a:xfrm>
            <a:off x="5281541" y="3818730"/>
            <a:ext cx="314223" cy="317003"/>
          </a:xfrm>
          <a:custGeom>
            <a:avLst/>
            <a:gdLst>
              <a:gd name="T0" fmla="*/ 90 w 90"/>
              <a:gd name="T1" fmla="*/ 0 h 91"/>
              <a:gd name="T2" fmla="*/ 0 w 90"/>
              <a:gd name="T3" fmla="*/ 90 h 91"/>
              <a:gd name="T4" fmla="*/ 1 w 90"/>
              <a:gd name="T5" fmla="*/ 91 h 91"/>
              <a:gd name="T6" fmla="*/ 90 w 90"/>
              <a:gd name="T7" fmla="*/ 2 h 91"/>
              <a:gd name="T8" fmla="*/ 90 w 90"/>
              <a:gd name="T9" fmla="*/ 0 h 91"/>
            </a:gdLst>
            <a:ahLst/>
            <a:cxnLst>
              <a:cxn ang="0">
                <a:pos x="T0" y="T1"/>
              </a:cxn>
              <a:cxn ang="0">
                <a:pos x="T2" y="T3"/>
              </a:cxn>
              <a:cxn ang="0">
                <a:pos x="T4" y="T5"/>
              </a:cxn>
              <a:cxn ang="0">
                <a:pos x="T6" y="T7"/>
              </a:cxn>
              <a:cxn ang="0">
                <a:pos x="T8" y="T9"/>
              </a:cxn>
            </a:cxnLst>
            <a:rect l="0" t="0" r="r" b="b"/>
            <a:pathLst>
              <a:path w="90" h="91">
                <a:moveTo>
                  <a:pt x="90" y="0"/>
                </a:moveTo>
                <a:cubicBezTo>
                  <a:pt x="0" y="90"/>
                  <a:pt x="0" y="90"/>
                  <a:pt x="0" y="90"/>
                </a:cubicBezTo>
                <a:cubicBezTo>
                  <a:pt x="0" y="91"/>
                  <a:pt x="1" y="91"/>
                  <a:pt x="1" y="91"/>
                </a:cubicBezTo>
                <a:cubicBezTo>
                  <a:pt x="90" y="2"/>
                  <a:pt x="90" y="2"/>
                  <a:pt x="90" y="2"/>
                </a:cubicBezTo>
                <a:cubicBezTo>
                  <a:pt x="90" y="0"/>
                  <a:pt x="90" y="0"/>
                  <a:pt x="90" y="0"/>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10" name="Freeform 55">
            <a:extLst>
              <a:ext uri="{FF2B5EF4-FFF2-40B4-BE49-F238E27FC236}">
                <a16:creationId xmlns:a16="http://schemas.microsoft.com/office/drawing/2014/main" id="{3FD89A1D-6E75-4371-80A4-53D22718D612}"/>
              </a:ext>
            </a:extLst>
          </p:cNvPr>
          <p:cNvSpPr>
            <a:spLocks/>
          </p:cNvSpPr>
          <p:nvPr/>
        </p:nvSpPr>
        <p:spPr bwMode="auto">
          <a:xfrm>
            <a:off x="5328814" y="3899372"/>
            <a:ext cx="266950" cy="266950"/>
          </a:xfrm>
          <a:custGeom>
            <a:avLst/>
            <a:gdLst>
              <a:gd name="T0" fmla="*/ 76 w 76"/>
              <a:gd name="T1" fmla="*/ 0 h 77"/>
              <a:gd name="T2" fmla="*/ 0 w 76"/>
              <a:gd name="T3" fmla="*/ 76 h 77"/>
              <a:gd name="T4" fmla="*/ 1 w 76"/>
              <a:gd name="T5" fmla="*/ 77 h 77"/>
              <a:gd name="T6" fmla="*/ 76 w 76"/>
              <a:gd name="T7" fmla="*/ 1 h 77"/>
              <a:gd name="T8" fmla="*/ 76 w 76"/>
              <a:gd name="T9" fmla="*/ 0 h 77"/>
            </a:gdLst>
            <a:ahLst/>
            <a:cxnLst>
              <a:cxn ang="0">
                <a:pos x="T0" y="T1"/>
              </a:cxn>
              <a:cxn ang="0">
                <a:pos x="T2" y="T3"/>
              </a:cxn>
              <a:cxn ang="0">
                <a:pos x="T4" y="T5"/>
              </a:cxn>
              <a:cxn ang="0">
                <a:pos x="T6" y="T7"/>
              </a:cxn>
              <a:cxn ang="0">
                <a:pos x="T8" y="T9"/>
              </a:cxn>
            </a:cxnLst>
            <a:rect l="0" t="0" r="r" b="b"/>
            <a:pathLst>
              <a:path w="76" h="77">
                <a:moveTo>
                  <a:pt x="76" y="0"/>
                </a:moveTo>
                <a:cubicBezTo>
                  <a:pt x="0" y="76"/>
                  <a:pt x="0" y="76"/>
                  <a:pt x="0" y="76"/>
                </a:cubicBezTo>
                <a:cubicBezTo>
                  <a:pt x="1" y="76"/>
                  <a:pt x="1" y="76"/>
                  <a:pt x="1" y="77"/>
                </a:cubicBezTo>
                <a:cubicBezTo>
                  <a:pt x="76" y="1"/>
                  <a:pt x="76" y="1"/>
                  <a:pt x="76" y="1"/>
                </a:cubicBezTo>
                <a:cubicBezTo>
                  <a:pt x="76" y="0"/>
                  <a:pt x="76" y="0"/>
                  <a:pt x="76" y="0"/>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11" name="Freeform 56">
            <a:extLst>
              <a:ext uri="{FF2B5EF4-FFF2-40B4-BE49-F238E27FC236}">
                <a16:creationId xmlns:a16="http://schemas.microsoft.com/office/drawing/2014/main" id="{05A59692-19F3-4573-891E-583CCD0C8278}"/>
              </a:ext>
            </a:extLst>
          </p:cNvPr>
          <p:cNvSpPr>
            <a:spLocks/>
          </p:cNvSpPr>
          <p:nvPr/>
        </p:nvSpPr>
        <p:spPr bwMode="auto">
          <a:xfrm>
            <a:off x="5381647" y="3980012"/>
            <a:ext cx="214117" cy="216897"/>
          </a:xfrm>
          <a:custGeom>
            <a:avLst/>
            <a:gdLst>
              <a:gd name="T0" fmla="*/ 61 w 61"/>
              <a:gd name="T1" fmla="*/ 0 h 62"/>
              <a:gd name="T2" fmla="*/ 0 w 61"/>
              <a:gd name="T3" fmla="*/ 61 h 62"/>
              <a:gd name="T4" fmla="*/ 1 w 61"/>
              <a:gd name="T5" fmla="*/ 62 h 62"/>
              <a:gd name="T6" fmla="*/ 61 w 61"/>
              <a:gd name="T7" fmla="*/ 1 h 62"/>
              <a:gd name="T8" fmla="*/ 61 w 61"/>
              <a:gd name="T9" fmla="*/ 0 h 62"/>
            </a:gdLst>
            <a:ahLst/>
            <a:cxnLst>
              <a:cxn ang="0">
                <a:pos x="T0" y="T1"/>
              </a:cxn>
              <a:cxn ang="0">
                <a:pos x="T2" y="T3"/>
              </a:cxn>
              <a:cxn ang="0">
                <a:pos x="T4" y="T5"/>
              </a:cxn>
              <a:cxn ang="0">
                <a:pos x="T6" y="T7"/>
              </a:cxn>
              <a:cxn ang="0">
                <a:pos x="T8" y="T9"/>
              </a:cxn>
            </a:cxnLst>
            <a:rect l="0" t="0" r="r" b="b"/>
            <a:pathLst>
              <a:path w="61" h="62">
                <a:moveTo>
                  <a:pt x="61" y="0"/>
                </a:moveTo>
                <a:cubicBezTo>
                  <a:pt x="0" y="61"/>
                  <a:pt x="0" y="61"/>
                  <a:pt x="0" y="61"/>
                </a:cubicBezTo>
                <a:cubicBezTo>
                  <a:pt x="0" y="61"/>
                  <a:pt x="1" y="61"/>
                  <a:pt x="1" y="62"/>
                </a:cubicBezTo>
                <a:cubicBezTo>
                  <a:pt x="61" y="1"/>
                  <a:pt x="61" y="1"/>
                  <a:pt x="61" y="1"/>
                </a:cubicBezTo>
                <a:cubicBezTo>
                  <a:pt x="61" y="0"/>
                  <a:pt x="61" y="0"/>
                  <a:pt x="61" y="0"/>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12" name="Freeform 57">
            <a:extLst>
              <a:ext uri="{FF2B5EF4-FFF2-40B4-BE49-F238E27FC236}">
                <a16:creationId xmlns:a16="http://schemas.microsoft.com/office/drawing/2014/main" id="{342977FE-44C3-408D-B27D-B11456A8D314}"/>
              </a:ext>
            </a:extLst>
          </p:cNvPr>
          <p:cNvSpPr>
            <a:spLocks/>
          </p:cNvSpPr>
          <p:nvPr/>
        </p:nvSpPr>
        <p:spPr bwMode="auto">
          <a:xfrm>
            <a:off x="5434482" y="4055093"/>
            <a:ext cx="161282" cy="164063"/>
          </a:xfrm>
          <a:custGeom>
            <a:avLst/>
            <a:gdLst>
              <a:gd name="T0" fmla="*/ 46 w 46"/>
              <a:gd name="T1" fmla="*/ 0 h 47"/>
              <a:gd name="T2" fmla="*/ 0 w 46"/>
              <a:gd name="T3" fmla="*/ 46 h 47"/>
              <a:gd name="T4" fmla="*/ 1 w 46"/>
              <a:gd name="T5" fmla="*/ 47 h 47"/>
              <a:gd name="T6" fmla="*/ 46 w 46"/>
              <a:gd name="T7" fmla="*/ 2 h 47"/>
              <a:gd name="T8" fmla="*/ 46 w 46"/>
              <a:gd name="T9" fmla="*/ 0 h 47"/>
            </a:gdLst>
            <a:ahLst/>
            <a:cxnLst>
              <a:cxn ang="0">
                <a:pos x="T0" y="T1"/>
              </a:cxn>
              <a:cxn ang="0">
                <a:pos x="T2" y="T3"/>
              </a:cxn>
              <a:cxn ang="0">
                <a:pos x="T4" y="T5"/>
              </a:cxn>
              <a:cxn ang="0">
                <a:pos x="T6" y="T7"/>
              </a:cxn>
              <a:cxn ang="0">
                <a:pos x="T8" y="T9"/>
              </a:cxn>
            </a:cxnLst>
            <a:rect l="0" t="0" r="r" b="b"/>
            <a:pathLst>
              <a:path w="46" h="47">
                <a:moveTo>
                  <a:pt x="46" y="0"/>
                </a:moveTo>
                <a:cubicBezTo>
                  <a:pt x="0" y="46"/>
                  <a:pt x="0" y="46"/>
                  <a:pt x="0" y="46"/>
                </a:cubicBezTo>
                <a:cubicBezTo>
                  <a:pt x="1" y="47"/>
                  <a:pt x="1" y="47"/>
                  <a:pt x="1" y="47"/>
                </a:cubicBezTo>
                <a:cubicBezTo>
                  <a:pt x="46" y="2"/>
                  <a:pt x="46" y="2"/>
                  <a:pt x="46" y="2"/>
                </a:cubicBezTo>
                <a:cubicBezTo>
                  <a:pt x="46" y="0"/>
                  <a:pt x="46" y="0"/>
                  <a:pt x="46" y="0"/>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13" name="Freeform 58">
            <a:extLst>
              <a:ext uri="{FF2B5EF4-FFF2-40B4-BE49-F238E27FC236}">
                <a16:creationId xmlns:a16="http://schemas.microsoft.com/office/drawing/2014/main" id="{37EF2B63-A7CA-44F8-A197-28B63C50BB2E}"/>
              </a:ext>
            </a:extLst>
          </p:cNvPr>
          <p:cNvSpPr>
            <a:spLocks/>
          </p:cNvSpPr>
          <p:nvPr/>
        </p:nvSpPr>
        <p:spPr bwMode="auto">
          <a:xfrm>
            <a:off x="5490096" y="4135734"/>
            <a:ext cx="105668" cy="108449"/>
          </a:xfrm>
          <a:custGeom>
            <a:avLst/>
            <a:gdLst>
              <a:gd name="T0" fmla="*/ 30 w 30"/>
              <a:gd name="T1" fmla="*/ 0 h 31"/>
              <a:gd name="T2" fmla="*/ 0 w 30"/>
              <a:gd name="T3" fmla="*/ 30 h 31"/>
              <a:gd name="T4" fmla="*/ 1 w 30"/>
              <a:gd name="T5" fmla="*/ 31 h 31"/>
              <a:gd name="T6" fmla="*/ 30 w 30"/>
              <a:gd name="T7" fmla="*/ 1 h 31"/>
              <a:gd name="T8" fmla="*/ 30 w 30"/>
              <a:gd name="T9" fmla="*/ 0 h 31"/>
            </a:gdLst>
            <a:ahLst/>
            <a:cxnLst>
              <a:cxn ang="0">
                <a:pos x="T0" y="T1"/>
              </a:cxn>
              <a:cxn ang="0">
                <a:pos x="T2" y="T3"/>
              </a:cxn>
              <a:cxn ang="0">
                <a:pos x="T4" y="T5"/>
              </a:cxn>
              <a:cxn ang="0">
                <a:pos x="T6" y="T7"/>
              </a:cxn>
              <a:cxn ang="0">
                <a:pos x="T8" y="T9"/>
              </a:cxn>
            </a:cxnLst>
            <a:rect l="0" t="0" r="r" b="b"/>
            <a:pathLst>
              <a:path w="30" h="31">
                <a:moveTo>
                  <a:pt x="30" y="0"/>
                </a:moveTo>
                <a:cubicBezTo>
                  <a:pt x="0" y="30"/>
                  <a:pt x="0" y="30"/>
                  <a:pt x="0" y="30"/>
                </a:cubicBezTo>
                <a:cubicBezTo>
                  <a:pt x="0" y="31"/>
                  <a:pt x="1" y="31"/>
                  <a:pt x="1" y="31"/>
                </a:cubicBezTo>
                <a:cubicBezTo>
                  <a:pt x="30" y="1"/>
                  <a:pt x="30" y="1"/>
                  <a:pt x="30" y="1"/>
                </a:cubicBezTo>
                <a:cubicBezTo>
                  <a:pt x="30" y="0"/>
                  <a:pt x="30" y="0"/>
                  <a:pt x="30" y="0"/>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14" name="Freeform 59">
            <a:extLst>
              <a:ext uri="{FF2B5EF4-FFF2-40B4-BE49-F238E27FC236}">
                <a16:creationId xmlns:a16="http://schemas.microsoft.com/office/drawing/2014/main" id="{27B900CD-0567-463C-BA93-9E7F19E16E7F}"/>
              </a:ext>
            </a:extLst>
          </p:cNvPr>
          <p:cNvSpPr>
            <a:spLocks/>
          </p:cNvSpPr>
          <p:nvPr/>
        </p:nvSpPr>
        <p:spPr bwMode="auto">
          <a:xfrm>
            <a:off x="5545711" y="4216375"/>
            <a:ext cx="50053" cy="50053"/>
          </a:xfrm>
          <a:custGeom>
            <a:avLst/>
            <a:gdLst>
              <a:gd name="T0" fmla="*/ 14 w 14"/>
              <a:gd name="T1" fmla="*/ 0 h 14"/>
              <a:gd name="T2" fmla="*/ 0 w 14"/>
              <a:gd name="T3" fmla="*/ 14 h 14"/>
              <a:gd name="T4" fmla="*/ 1 w 14"/>
              <a:gd name="T5" fmla="*/ 14 h 14"/>
              <a:gd name="T6" fmla="*/ 14 w 14"/>
              <a:gd name="T7" fmla="*/ 1 h 14"/>
              <a:gd name="T8" fmla="*/ 14 w 14"/>
              <a:gd name="T9" fmla="*/ 0 h 14"/>
            </a:gdLst>
            <a:ahLst/>
            <a:cxnLst>
              <a:cxn ang="0">
                <a:pos x="T0" y="T1"/>
              </a:cxn>
              <a:cxn ang="0">
                <a:pos x="T2" y="T3"/>
              </a:cxn>
              <a:cxn ang="0">
                <a:pos x="T4" y="T5"/>
              </a:cxn>
              <a:cxn ang="0">
                <a:pos x="T6" y="T7"/>
              </a:cxn>
              <a:cxn ang="0">
                <a:pos x="T8" y="T9"/>
              </a:cxn>
            </a:cxnLst>
            <a:rect l="0" t="0" r="r" b="b"/>
            <a:pathLst>
              <a:path w="14" h="14">
                <a:moveTo>
                  <a:pt x="14" y="0"/>
                </a:moveTo>
                <a:cubicBezTo>
                  <a:pt x="0" y="14"/>
                  <a:pt x="0" y="14"/>
                  <a:pt x="0" y="14"/>
                </a:cubicBezTo>
                <a:cubicBezTo>
                  <a:pt x="1" y="14"/>
                  <a:pt x="1" y="14"/>
                  <a:pt x="1" y="14"/>
                </a:cubicBezTo>
                <a:cubicBezTo>
                  <a:pt x="14" y="1"/>
                  <a:pt x="14" y="1"/>
                  <a:pt x="14" y="1"/>
                </a:cubicBezTo>
                <a:cubicBezTo>
                  <a:pt x="14" y="0"/>
                  <a:pt x="14" y="0"/>
                  <a:pt x="14" y="0"/>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15" name="Freeform 60">
            <a:extLst>
              <a:ext uri="{FF2B5EF4-FFF2-40B4-BE49-F238E27FC236}">
                <a16:creationId xmlns:a16="http://schemas.microsoft.com/office/drawing/2014/main" id="{D7B72106-129C-4D63-9DA4-D5B73866C507}"/>
              </a:ext>
            </a:extLst>
          </p:cNvPr>
          <p:cNvSpPr>
            <a:spLocks/>
          </p:cNvSpPr>
          <p:nvPr/>
        </p:nvSpPr>
        <p:spPr bwMode="auto">
          <a:xfrm>
            <a:off x="5595764" y="3640764"/>
            <a:ext cx="27807" cy="25027"/>
          </a:xfrm>
          <a:custGeom>
            <a:avLst/>
            <a:gdLst>
              <a:gd name="T0" fmla="*/ 7 w 8"/>
              <a:gd name="T1" fmla="*/ 0 h 7"/>
              <a:gd name="T2" fmla="*/ 0 w 8"/>
              <a:gd name="T3" fmla="*/ 6 h 7"/>
              <a:gd name="T4" fmla="*/ 0 w 8"/>
              <a:gd name="T5" fmla="*/ 7 h 7"/>
              <a:gd name="T6" fmla="*/ 8 w 8"/>
              <a:gd name="T7" fmla="*/ 0 h 7"/>
              <a:gd name="T8" fmla="*/ 7 w 8"/>
              <a:gd name="T9" fmla="*/ 0 h 7"/>
            </a:gdLst>
            <a:ahLst/>
            <a:cxnLst>
              <a:cxn ang="0">
                <a:pos x="T0" y="T1"/>
              </a:cxn>
              <a:cxn ang="0">
                <a:pos x="T2" y="T3"/>
              </a:cxn>
              <a:cxn ang="0">
                <a:pos x="T4" y="T5"/>
              </a:cxn>
              <a:cxn ang="0">
                <a:pos x="T6" y="T7"/>
              </a:cxn>
              <a:cxn ang="0">
                <a:pos x="T8" y="T9"/>
              </a:cxn>
            </a:cxnLst>
            <a:rect l="0" t="0" r="r" b="b"/>
            <a:pathLst>
              <a:path w="8" h="7">
                <a:moveTo>
                  <a:pt x="7" y="0"/>
                </a:moveTo>
                <a:cubicBezTo>
                  <a:pt x="0" y="6"/>
                  <a:pt x="0" y="6"/>
                  <a:pt x="0" y="6"/>
                </a:cubicBezTo>
                <a:cubicBezTo>
                  <a:pt x="0" y="7"/>
                  <a:pt x="0" y="7"/>
                  <a:pt x="0" y="7"/>
                </a:cubicBezTo>
                <a:cubicBezTo>
                  <a:pt x="8" y="0"/>
                  <a:pt x="8" y="0"/>
                  <a:pt x="8" y="0"/>
                </a:cubicBezTo>
                <a:cubicBezTo>
                  <a:pt x="7" y="0"/>
                  <a:pt x="7" y="0"/>
                  <a:pt x="7" y="0"/>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16" name="Freeform 61">
            <a:extLst>
              <a:ext uri="{FF2B5EF4-FFF2-40B4-BE49-F238E27FC236}">
                <a16:creationId xmlns:a16="http://schemas.microsoft.com/office/drawing/2014/main" id="{3AC586BD-322B-4EF5-B737-CACD529B388C}"/>
              </a:ext>
            </a:extLst>
          </p:cNvPr>
          <p:cNvSpPr>
            <a:spLocks/>
          </p:cNvSpPr>
          <p:nvPr/>
        </p:nvSpPr>
        <p:spPr bwMode="auto">
          <a:xfrm>
            <a:off x="5595764" y="3674132"/>
            <a:ext cx="66737" cy="72299"/>
          </a:xfrm>
          <a:custGeom>
            <a:avLst/>
            <a:gdLst>
              <a:gd name="T0" fmla="*/ 19 w 19"/>
              <a:gd name="T1" fmla="*/ 0 h 20"/>
              <a:gd name="T2" fmla="*/ 0 w 19"/>
              <a:gd name="T3" fmla="*/ 19 h 20"/>
              <a:gd name="T4" fmla="*/ 0 w 19"/>
              <a:gd name="T5" fmla="*/ 20 h 20"/>
              <a:gd name="T6" fmla="*/ 19 w 19"/>
              <a:gd name="T7" fmla="*/ 1 h 20"/>
              <a:gd name="T8" fmla="*/ 19 w 19"/>
              <a:gd name="T9" fmla="*/ 0 h 20"/>
            </a:gdLst>
            <a:ahLst/>
            <a:cxnLst>
              <a:cxn ang="0">
                <a:pos x="T0" y="T1"/>
              </a:cxn>
              <a:cxn ang="0">
                <a:pos x="T2" y="T3"/>
              </a:cxn>
              <a:cxn ang="0">
                <a:pos x="T4" y="T5"/>
              </a:cxn>
              <a:cxn ang="0">
                <a:pos x="T6" y="T7"/>
              </a:cxn>
              <a:cxn ang="0">
                <a:pos x="T8" y="T9"/>
              </a:cxn>
            </a:cxnLst>
            <a:rect l="0" t="0" r="r" b="b"/>
            <a:pathLst>
              <a:path w="19" h="20">
                <a:moveTo>
                  <a:pt x="19" y="0"/>
                </a:moveTo>
                <a:cubicBezTo>
                  <a:pt x="0" y="19"/>
                  <a:pt x="0" y="19"/>
                  <a:pt x="0" y="19"/>
                </a:cubicBezTo>
                <a:cubicBezTo>
                  <a:pt x="0" y="20"/>
                  <a:pt x="0" y="20"/>
                  <a:pt x="0" y="20"/>
                </a:cubicBezTo>
                <a:cubicBezTo>
                  <a:pt x="19" y="1"/>
                  <a:pt x="19" y="1"/>
                  <a:pt x="19" y="1"/>
                </a:cubicBezTo>
                <a:cubicBezTo>
                  <a:pt x="19" y="1"/>
                  <a:pt x="19" y="1"/>
                  <a:pt x="19" y="0"/>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17" name="Freeform 62">
            <a:extLst>
              <a:ext uri="{FF2B5EF4-FFF2-40B4-BE49-F238E27FC236}">
                <a16:creationId xmlns:a16="http://schemas.microsoft.com/office/drawing/2014/main" id="{0CA9C2C8-4EF1-4661-BEF3-2AFE73BA4E10}"/>
              </a:ext>
            </a:extLst>
          </p:cNvPr>
          <p:cNvSpPr>
            <a:spLocks/>
          </p:cNvSpPr>
          <p:nvPr/>
        </p:nvSpPr>
        <p:spPr bwMode="auto">
          <a:xfrm>
            <a:off x="5595764" y="3718624"/>
            <a:ext cx="108449" cy="105668"/>
          </a:xfrm>
          <a:custGeom>
            <a:avLst/>
            <a:gdLst>
              <a:gd name="T0" fmla="*/ 30 w 31"/>
              <a:gd name="T1" fmla="*/ 0 h 31"/>
              <a:gd name="T2" fmla="*/ 0 w 31"/>
              <a:gd name="T3" fmla="*/ 29 h 31"/>
              <a:gd name="T4" fmla="*/ 0 w 31"/>
              <a:gd name="T5" fmla="*/ 31 h 31"/>
              <a:gd name="T6" fmla="*/ 31 w 31"/>
              <a:gd name="T7" fmla="*/ 1 h 31"/>
              <a:gd name="T8" fmla="*/ 30 w 31"/>
              <a:gd name="T9" fmla="*/ 0 h 31"/>
            </a:gdLst>
            <a:ahLst/>
            <a:cxnLst>
              <a:cxn ang="0">
                <a:pos x="T0" y="T1"/>
              </a:cxn>
              <a:cxn ang="0">
                <a:pos x="T2" y="T3"/>
              </a:cxn>
              <a:cxn ang="0">
                <a:pos x="T4" y="T5"/>
              </a:cxn>
              <a:cxn ang="0">
                <a:pos x="T6" y="T7"/>
              </a:cxn>
              <a:cxn ang="0">
                <a:pos x="T8" y="T9"/>
              </a:cxn>
            </a:cxnLst>
            <a:rect l="0" t="0" r="r" b="b"/>
            <a:pathLst>
              <a:path w="31" h="31">
                <a:moveTo>
                  <a:pt x="30" y="0"/>
                </a:moveTo>
                <a:cubicBezTo>
                  <a:pt x="0" y="29"/>
                  <a:pt x="0" y="29"/>
                  <a:pt x="0" y="29"/>
                </a:cubicBezTo>
                <a:cubicBezTo>
                  <a:pt x="0" y="31"/>
                  <a:pt x="0" y="31"/>
                  <a:pt x="0" y="31"/>
                </a:cubicBezTo>
                <a:cubicBezTo>
                  <a:pt x="31" y="1"/>
                  <a:pt x="31" y="1"/>
                  <a:pt x="31" y="1"/>
                </a:cubicBezTo>
                <a:cubicBezTo>
                  <a:pt x="30" y="0"/>
                  <a:pt x="30" y="0"/>
                  <a:pt x="30" y="0"/>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18" name="Freeform 63">
            <a:extLst>
              <a:ext uri="{FF2B5EF4-FFF2-40B4-BE49-F238E27FC236}">
                <a16:creationId xmlns:a16="http://schemas.microsoft.com/office/drawing/2014/main" id="{BCEE043D-DB4D-4E1B-8A19-FE6902E443E4}"/>
              </a:ext>
            </a:extLst>
          </p:cNvPr>
          <p:cNvSpPr>
            <a:spLocks/>
          </p:cNvSpPr>
          <p:nvPr/>
        </p:nvSpPr>
        <p:spPr bwMode="auto">
          <a:xfrm>
            <a:off x="5595764" y="3768677"/>
            <a:ext cx="127913" cy="133475"/>
          </a:xfrm>
          <a:custGeom>
            <a:avLst/>
            <a:gdLst>
              <a:gd name="T0" fmla="*/ 37 w 37"/>
              <a:gd name="T1" fmla="*/ 0 h 38"/>
              <a:gd name="T2" fmla="*/ 0 w 37"/>
              <a:gd name="T3" fmla="*/ 37 h 38"/>
              <a:gd name="T4" fmla="*/ 0 w 37"/>
              <a:gd name="T5" fmla="*/ 38 h 38"/>
              <a:gd name="T6" fmla="*/ 36 w 37"/>
              <a:gd name="T7" fmla="*/ 3 h 38"/>
              <a:gd name="T8" fmla="*/ 37 w 37"/>
              <a:gd name="T9" fmla="*/ 0 h 38"/>
            </a:gdLst>
            <a:ahLst/>
            <a:cxnLst>
              <a:cxn ang="0">
                <a:pos x="T0" y="T1"/>
              </a:cxn>
              <a:cxn ang="0">
                <a:pos x="T2" y="T3"/>
              </a:cxn>
              <a:cxn ang="0">
                <a:pos x="T4" y="T5"/>
              </a:cxn>
              <a:cxn ang="0">
                <a:pos x="T6" y="T7"/>
              </a:cxn>
              <a:cxn ang="0">
                <a:pos x="T8" y="T9"/>
              </a:cxn>
            </a:cxnLst>
            <a:rect l="0" t="0" r="r" b="b"/>
            <a:pathLst>
              <a:path w="37" h="38">
                <a:moveTo>
                  <a:pt x="37" y="0"/>
                </a:moveTo>
                <a:cubicBezTo>
                  <a:pt x="0" y="37"/>
                  <a:pt x="0" y="37"/>
                  <a:pt x="0" y="37"/>
                </a:cubicBezTo>
                <a:cubicBezTo>
                  <a:pt x="0" y="38"/>
                  <a:pt x="0" y="38"/>
                  <a:pt x="0" y="38"/>
                </a:cubicBezTo>
                <a:cubicBezTo>
                  <a:pt x="36" y="3"/>
                  <a:pt x="36" y="3"/>
                  <a:pt x="36" y="3"/>
                </a:cubicBezTo>
                <a:cubicBezTo>
                  <a:pt x="36" y="2"/>
                  <a:pt x="37" y="1"/>
                  <a:pt x="37" y="0"/>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19" name="Freeform 64">
            <a:extLst>
              <a:ext uri="{FF2B5EF4-FFF2-40B4-BE49-F238E27FC236}">
                <a16:creationId xmlns:a16="http://schemas.microsoft.com/office/drawing/2014/main" id="{E7FC2B5D-45AA-4D9C-87DA-A7C01CB8C0EA}"/>
              </a:ext>
            </a:extLst>
          </p:cNvPr>
          <p:cNvSpPr>
            <a:spLocks/>
          </p:cNvSpPr>
          <p:nvPr/>
        </p:nvSpPr>
        <p:spPr bwMode="auto">
          <a:xfrm>
            <a:off x="5595764" y="3891029"/>
            <a:ext cx="86203" cy="91765"/>
          </a:xfrm>
          <a:custGeom>
            <a:avLst/>
            <a:gdLst>
              <a:gd name="T0" fmla="*/ 25 w 25"/>
              <a:gd name="T1" fmla="*/ 0 h 26"/>
              <a:gd name="T2" fmla="*/ 0 w 25"/>
              <a:gd name="T3" fmla="*/ 25 h 26"/>
              <a:gd name="T4" fmla="*/ 0 w 25"/>
              <a:gd name="T5" fmla="*/ 26 h 26"/>
              <a:gd name="T6" fmla="*/ 24 w 25"/>
              <a:gd name="T7" fmla="*/ 3 h 26"/>
              <a:gd name="T8" fmla="*/ 25 w 25"/>
              <a:gd name="T9" fmla="*/ 0 h 26"/>
            </a:gdLst>
            <a:ahLst/>
            <a:cxnLst>
              <a:cxn ang="0">
                <a:pos x="T0" y="T1"/>
              </a:cxn>
              <a:cxn ang="0">
                <a:pos x="T2" y="T3"/>
              </a:cxn>
              <a:cxn ang="0">
                <a:pos x="T4" y="T5"/>
              </a:cxn>
              <a:cxn ang="0">
                <a:pos x="T6" y="T7"/>
              </a:cxn>
              <a:cxn ang="0">
                <a:pos x="T8" y="T9"/>
              </a:cxn>
            </a:cxnLst>
            <a:rect l="0" t="0" r="r" b="b"/>
            <a:pathLst>
              <a:path w="25" h="26">
                <a:moveTo>
                  <a:pt x="25" y="0"/>
                </a:moveTo>
                <a:cubicBezTo>
                  <a:pt x="0" y="25"/>
                  <a:pt x="0" y="25"/>
                  <a:pt x="0" y="25"/>
                </a:cubicBezTo>
                <a:cubicBezTo>
                  <a:pt x="0" y="26"/>
                  <a:pt x="0" y="26"/>
                  <a:pt x="0" y="26"/>
                </a:cubicBezTo>
                <a:cubicBezTo>
                  <a:pt x="24" y="3"/>
                  <a:pt x="24" y="3"/>
                  <a:pt x="24" y="3"/>
                </a:cubicBezTo>
                <a:cubicBezTo>
                  <a:pt x="24" y="2"/>
                  <a:pt x="24" y="1"/>
                  <a:pt x="25" y="0"/>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20" name="Freeform 65">
            <a:extLst>
              <a:ext uri="{FF2B5EF4-FFF2-40B4-BE49-F238E27FC236}">
                <a16:creationId xmlns:a16="http://schemas.microsoft.com/office/drawing/2014/main" id="{8299A255-B7B7-417E-9D26-2B0625B7986E}"/>
              </a:ext>
            </a:extLst>
          </p:cNvPr>
          <p:cNvSpPr>
            <a:spLocks/>
          </p:cNvSpPr>
          <p:nvPr/>
        </p:nvSpPr>
        <p:spPr bwMode="auto">
          <a:xfrm>
            <a:off x="5595764" y="3999478"/>
            <a:ext cx="55615" cy="63957"/>
          </a:xfrm>
          <a:custGeom>
            <a:avLst/>
            <a:gdLst>
              <a:gd name="T0" fmla="*/ 16 w 16"/>
              <a:gd name="T1" fmla="*/ 0 h 18"/>
              <a:gd name="T2" fmla="*/ 0 w 16"/>
              <a:gd name="T3" fmla="*/ 16 h 18"/>
              <a:gd name="T4" fmla="*/ 0 w 16"/>
              <a:gd name="T5" fmla="*/ 18 h 18"/>
              <a:gd name="T6" fmla="*/ 16 w 16"/>
              <a:gd name="T7" fmla="*/ 2 h 18"/>
              <a:gd name="T8" fmla="*/ 16 w 16"/>
              <a:gd name="T9" fmla="*/ 0 h 18"/>
            </a:gdLst>
            <a:ahLst/>
            <a:cxnLst>
              <a:cxn ang="0">
                <a:pos x="T0" y="T1"/>
              </a:cxn>
              <a:cxn ang="0">
                <a:pos x="T2" y="T3"/>
              </a:cxn>
              <a:cxn ang="0">
                <a:pos x="T4" y="T5"/>
              </a:cxn>
              <a:cxn ang="0">
                <a:pos x="T6" y="T7"/>
              </a:cxn>
              <a:cxn ang="0">
                <a:pos x="T8" y="T9"/>
              </a:cxn>
            </a:cxnLst>
            <a:rect l="0" t="0" r="r" b="b"/>
            <a:pathLst>
              <a:path w="16" h="18">
                <a:moveTo>
                  <a:pt x="16" y="0"/>
                </a:moveTo>
                <a:cubicBezTo>
                  <a:pt x="0" y="16"/>
                  <a:pt x="0" y="16"/>
                  <a:pt x="0" y="16"/>
                </a:cubicBezTo>
                <a:cubicBezTo>
                  <a:pt x="0" y="18"/>
                  <a:pt x="0" y="18"/>
                  <a:pt x="0" y="18"/>
                </a:cubicBezTo>
                <a:cubicBezTo>
                  <a:pt x="16" y="2"/>
                  <a:pt x="16" y="2"/>
                  <a:pt x="16" y="2"/>
                </a:cubicBezTo>
                <a:cubicBezTo>
                  <a:pt x="16" y="2"/>
                  <a:pt x="16" y="1"/>
                  <a:pt x="16" y="0"/>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21" name="Freeform 66">
            <a:extLst>
              <a:ext uri="{FF2B5EF4-FFF2-40B4-BE49-F238E27FC236}">
                <a16:creationId xmlns:a16="http://schemas.microsoft.com/office/drawing/2014/main" id="{2C327903-7860-448E-934A-F1D9BDCA903E}"/>
              </a:ext>
            </a:extLst>
          </p:cNvPr>
          <p:cNvSpPr>
            <a:spLocks/>
          </p:cNvSpPr>
          <p:nvPr/>
        </p:nvSpPr>
        <p:spPr bwMode="auto">
          <a:xfrm>
            <a:off x="5595764" y="4096804"/>
            <a:ext cx="38930" cy="41712"/>
          </a:xfrm>
          <a:custGeom>
            <a:avLst/>
            <a:gdLst>
              <a:gd name="T0" fmla="*/ 11 w 11"/>
              <a:gd name="T1" fmla="*/ 0 h 12"/>
              <a:gd name="T2" fmla="*/ 0 w 11"/>
              <a:gd name="T3" fmla="*/ 11 h 12"/>
              <a:gd name="T4" fmla="*/ 0 w 11"/>
              <a:gd name="T5" fmla="*/ 12 h 12"/>
              <a:gd name="T6" fmla="*/ 11 w 11"/>
              <a:gd name="T7" fmla="*/ 2 h 12"/>
              <a:gd name="T8" fmla="*/ 11 w 11"/>
              <a:gd name="T9" fmla="*/ 0 h 12"/>
            </a:gdLst>
            <a:ahLst/>
            <a:cxnLst>
              <a:cxn ang="0">
                <a:pos x="T0" y="T1"/>
              </a:cxn>
              <a:cxn ang="0">
                <a:pos x="T2" y="T3"/>
              </a:cxn>
              <a:cxn ang="0">
                <a:pos x="T4" y="T5"/>
              </a:cxn>
              <a:cxn ang="0">
                <a:pos x="T6" y="T7"/>
              </a:cxn>
              <a:cxn ang="0">
                <a:pos x="T8" y="T9"/>
              </a:cxn>
            </a:cxnLst>
            <a:rect l="0" t="0" r="r" b="b"/>
            <a:pathLst>
              <a:path w="11" h="12">
                <a:moveTo>
                  <a:pt x="11" y="0"/>
                </a:moveTo>
                <a:cubicBezTo>
                  <a:pt x="0" y="11"/>
                  <a:pt x="0" y="11"/>
                  <a:pt x="0" y="11"/>
                </a:cubicBezTo>
                <a:cubicBezTo>
                  <a:pt x="0" y="12"/>
                  <a:pt x="0" y="12"/>
                  <a:pt x="0" y="12"/>
                </a:cubicBezTo>
                <a:cubicBezTo>
                  <a:pt x="11" y="2"/>
                  <a:pt x="11" y="2"/>
                  <a:pt x="11" y="2"/>
                </a:cubicBezTo>
                <a:cubicBezTo>
                  <a:pt x="11" y="2"/>
                  <a:pt x="11" y="1"/>
                  <a:pt x="11" y="0"/>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22" name="Freeform 67">
            <a:extLst>
              <a:ext uri="{FF2B5EF4-FFF2-40B4-BE49-F238E27FC236}">
                <a16:creationId xmlns:a16="http://schemas.microsoft.com/office/drawing/2014/main" id="{F3CE29F4-E31F-4C52-83E7-4CDE02091B09}"/>
              </a:ext>
            </a:extLst>
          </p:cNvPr>
          <p:cNvSpPr>
            <a:spLocks/>
          </p:cNvSpPr>
          <p:nvPr/>
        </p:nvSpPr>
        <p:spPr bwMode="auto">
          <a:xfrm>
            <a:off x="5595764" y="4188567"/>
            <a:ext cx="25027" cy="30589"/>
          </a:xfrm>
          <a:custGeom>
            <a:avLst/>
            <a:gdLst>
              <a:gd name="T0" fmla="*/ 7 w 7"/>
              <a:gd name="T1" fmla="*/ 0 h 9"/>
              <a:gd name="T2" fmla="*/ 0 w 7"/>
              <a:gd name="T3" fmla="*/ 8 h 9"/>
              <a:gd name="T4" fmla="*/ 0 w 7"/>
              <a:gd name="T5" fmla="*/ 9 h 9"/>
              <a:gd name="T6" fmla="*/ 7 w 7"/>
              <a:gd name="T7" fmla="*/ 2 h 9"/>
              <a:gd name="T8" fmla="*/ 7 w 7"/>
              <a:gd name="T9" fmla="*/ 0 h 9"/>
            </a:gdLst>
            <a:ahLst/>
            <a:cxnLst>
              <a:cxn ang="0">
                <a:pos x="T0" y="T1"/>
              </a:cxn>
              <a:cxn ang="0">
                <a:pos x="T2" y="T3"/>
              </a:cxn>
              <a:cxn ang="0">
                <a:pos x="T4" y="T5"/>
              </a:cxn>
              <a:cxn ang="0">
                <a:pos x="T6" y="T7"/>
              </a:cxn>
              <a:cxn ang="0">
                <a:pos x="T8" y="T9"/>
              </a:cxn>
            </a:cxnLst>
            <a:rect l="0" t="0" r="r" b="b"/>
            <a:pathLst>
              <a:path w="7" h="9">
                <a:moveTo>
                  <a:pt x="7" y="0"/>
                </a:moveTo>
                <a:cubicBezTo>
                  <a:pt x="0" y="8"/>
                  <a:pt x="0" y="8"/>
                  <a:pt x="0" y="8"/>
                </a:cubicBezTo>
                <a:cubicBezTo>
                  <a:pt x="0" y="9"/>
                  <a:pt x="0" y="9"/>
                  <a:pt x="0" y="9"/>
                </a:cubicBezTo>
                <a:cubicBezTo>
                  <a:pt x="7" y="2"/>
                  <a:pt x="7" y="2"/>
                  <a:pt x="7" y="2"/>
                </a:cubicBezTo>
                <a:cubicBezTo>
                  <a:pt x="7" y="2"/>
                  <a:pt x="7" y="1"/>
                  <a:pt x="7" y="0"/>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23" name="Freeform 68">
            <a:extLst>
              <a:ext uri="{FF2B5EF4-FFF2-40B4-BE49-F238E27FC236}">
                <a16:creationId xmlns:a16="http://schemas.microsoft.com/office/drawing/2014/main" id="{323F37F2-4F02-4772-89D6-65D9A41F749B}"/>
              </a:ext>
            </a:extLst>
          </p:cNvPr>
          <p:cNvSpPr>
            <a:spLocks/>
          </p:cNvSpPr>
          <p:nvPr/>
        </p:nvSpPr>
        <p:spPr bwMode="auto">
          <a:xfrm>
            <a:off x="5606887" y="4274771"/>
            <a:ext cx="8343" cy="11123"/>
          </a:xfrm>
          <a:custGeom>
            <a:avLst/>
            <a:gdLst>
              <a:gd name="T0" fmla="*/ 3 w 3"/>
              <a:gd name="T1" fmla="*/ 0 h 3"/>
              <a:gd name="T2" fmla="*/ 0 w 3"/>
              <a:gd name="T3" fmla="*/ 2 h 3"/>
              <a:gd name="T4" fmla="*/ 1 w 3"/>
              <a:gd name="T5" fmla="*/ 3 h 3"/>
              <a:gd name="T6" fmla="*/ 3 w 3"/>
              <a:gd name="T7" fmla="*/ 2 h 3"/>
              <a:gd name="T8" fmla="*/ 3 w 3"/>
              <a:gd name="T9" fmla="*/ 0 h 3"/>
            </a:gdLst>
            <a:ahLst/>
            <a:cxnLst>
              <a:cxn ang="0">
                <a:pos x="T0" y="T1"/>
              </a:cxn>
              <a:cxn ang="0">
                <a:pos x="T2" y="T3"/>
              </a:cxn>
              <a:cxn ang="0">
                <a:pos x="T4" y="T5"/>
              </a:cxn>
              <a:cxn ang="0">
                <a:pos x="T6" y="T7"/>
              </a:cxn>
              <a:cxn ang="0">
                <a:pos x="T8" y="T9"/>
              </a:cxn>
            </a:cxnLst>
            <a:rect l="0" t="0" r="r" b="b"/>
            <a:pathLst>
              <a:path w="3" h="3">
                <a:moveTo>
                  <a:pt x="3" y="0"/>
                </a:moveTo>
                <a:cubicBezTo>
                  <a:pt x="0" y="2"/>
                  <a:pt x="0" y="2"/>
                  <a:pt x="0" y="2"/>
                </a:cubicBezTo>
                <a:cubicBezTo>
                  <a:pt x="1" y="3"/>
                  <a:pt x="1" y="3"/>
                  <a:pt x="1" y="3"/>
                </a:cubicBezTo>
                <a:cubicBezTo>
                  <a:pt x="3" y="2"/>
                  <a:pt x="3" y="2"/>
                  <a:pt x="3" y="2"/>
                </a:cubicBezTo>
                <a:cubicBezTo>
                  <a:pt x="3" y="1"/>
                  <a:pt x="3" y="1"/>
                  <a:pt x="3" y="0"/>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24" name="Freeform 69">
            <a:extLst>
              <a:ext uri="{FF2B5EF4-FFF2-40B4-BE49-F238E27FC236}">
                <a16:creationId xmlns:a16="http://schemas.microsoft.com/office/drawing/2014/main" id="{927B16A2-3A93-415A-AA6A-85276D683AD5}"/>
              </a:ext>
            </a:extLst>
          </p:cNvPr>
          <p:cNvSpPr>
            <a:spLocks/>
          </p:cNvSpPr>
          <p:nvPr/>
        </p:nvSpPr>
        <p:spPr bwMode="auto">
          <a:xfrm>
            <a:off x="4692026" y="3351568"/>
            <a:ext cx="33369" cy="33369"/>
          </a:xfrm>
          <a:custGeom>
            <a:avLst/>
            <a:gdLst>
              <a:gd name="T0" fmla="*/ 10 w 10"/>
              <a:gd name="T1" fmla="*/ 0 h 10"/>
              <a:gd name="T2" fmla="*/ 8 w 10"/>
              <a:gd name="T3" fmla="*/ 0 h 10"/>
              <a:gd name="T4" fmla="*/ 0 w 10"/>
              <a:gd name="T5" fmla="*/ 9 h 10"/>
              <a:gd name="T6" fmla="*/ 0 w 10"/>
              <a:gd name="T7" fmla="*/ 10 h 10"/>
              <a:gd name="T8" fmla="*/ 10 w 10"/>
              <a:gd name="T9" fmla="*/ 0 h 10"/>
            </a:gdLst>
            <a:ahLst/>
            <a:cxnLst>
              <a:cxn ang="0">
                <a:pos x="T0" y="T1"/>
              </a:cxn>
              <a:cxn ang="0">
                <a:pos x="T2" y="T3"/>
              </a:cxn>
              <a:cxn ang="0">
                <a:pos x="T4" y="T5"/>
              </a:cxn>
              <a:cxn ang="0">
                <a:pos x="T6" y="T7"/>
              </a:cxn>
              <a:cxn ang="0">
                <a:pos x="T8" y="T9"/>
              </a:cxn>
            </a:cxnLst>
            <a:rect l="0" t="0" r="r" b="b"/>
            <a:pathLst>
              <a:path w="10" h="10">
                <a:moveTo>
                  <a:pt x="10" y="0"/>
                </a:moveTo>
                <a:cubicBezTo>
                  <a:pt x="9" y="0"/>
                  <a:pt x="9" y="0"/>
                  <a:pt x="8" y="0"/>
                </a:cubicBezTo>
                <a:cubicBezTo>
                  <a:pt x="0" y="9"/>
                  <a:pt x="0" y="9"/>
                  <a:pt x="0" y="9"/>
                </a:cubicBezTo>
                <a:cubicBezTo>
                  <a:pt x="0" y="9"/>
                  <a:pt x="0" y="9"/>
                  <a:pt x="0" y="10"/>
                </a:cubicBezTo>
                <a:cubicBezTo>
                  <a:pt x="10" y="0"/>
                  <a:pt x="10" y="0"/>
                  <a:pt x="10" y="0"/>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25" name="Freeform 70">
            <a:extLst>
              <a:ext uri="{FF2B5EF4-FFF2-40B4-BE49-F238E27FC236}">
                <a16:creationId xmlns:a16="http://schemas.microsoft.com/office/drawing/2014/main" id="{313CB27C-826D-49DA-B594-C3FFD09FF559}"/>
              </a:ext>
            </a:extLst>
          </p:cNvPr>
          <p:cNvSpPr>
            <a:spLocks/>
          </p:cNvSpPr>
          <p:nvPr/>
        </p:nvSpPr>
        <p:spPr bwMode="auto">
          <a:xfrm>
            <a:off x="4711492" y="3346007"/>
            <a:ext cx="97326" cy="100106"/>
          </a:xfrm>
          <a:custGeom>
            <a:avLst/>
            <a:gdLst>
              <a:gd name="T0" fmla="*/ 28 w 28"/>
              <a:gd name="T1" fmla="*/ 0 h 28"/>
              <a:gd name="T2" fmla="*/ 26 w 28"/>
              <a:gd name="T3" fmla="*/ 0 h 28"/>
              <a:gd name="T4" fmla="*/ 0 w 28"/>
              <a:gd name="T5" fmla="*/ 26 h 28"/>
              <a:gd name="T6" fmla="*/ 0 w 28"/>
              <a:gd name="T7" fmla="*/ 28 h 28"/>
              <a:gd name="T8" fmla="*/ 28 w 28"/>
              <a:gd name="T9" fmla="*/ 0 h 28"/>
            </a:gdLst>
            <a:ahLst/>
            <a:cxnLst>
              <a:cxn ang="0">
                <a:pos x="T0" y="T1"/>
              </a:cxn>
              <a:cxn ang="0">
                <a:pos x="T2" y="T3"/>
              </a:cxn>
              <a:cxn ang="0">
                <a:pos x="T4" y="T5"/>
              </a:cxn>
              <a:cxn ang="0">
                <a:pos x="T6" y="T7"/>
              </a:cxn>
              <a:cxn ang="0">
                <a:pos x="T8" y="T9"/>
              </a:cxn>
            </a:cxnLst>
            <a:rect l="0" t="0" r="r" b="b"/>
            <a:pathLst>
              <a:path w="28" h="28">
                <a:moveTo>
                  <a:pt x="28" y="0"/>
                </a:moveTo>
                <a:cubicBezTo>
                  <a:pt x="27" y="0"/>
                  <a:pt x="27" y="0"/>
                  <a:pt x="26" y="0"/>
                </a:cubicBezTo>
                <a:cubicBezTo>
                  <a:pt x="0" y="26"/>
                  <a:pt x="0" y="26"/>
                  <a:pt x="0" y="26"/>
                </a:cubicBezTo>
                <a:cubicBezTo>
                  <a:pt x="0" y="27"/>
                  <a:pt x="0" y="27"/>
                  <a:pt x="0" y="28"/>
                </a:cubicBezTo>
                <a:cubicBezTo>
                  <a:pt x="28" y="0"/>
                  <a:pt x="28" y="0"/>
                  <a:pt x="28" y="0"/>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26" name="Freeform 71">
            <a:extLst>
              <a:ext uri="{FF2B5EF4-FFF2-40B4-BE49-F238E27FC236}">
                <a16:creationId xmlns:a16="http://schemas.microsoft.com/office/drawing/2014/main" id="{8B2F074F-CB59-4A89-816A-BB23A835F7E8}"/>
              </a:ext>
            </a:extLst>
          </p:cNvPr>
          <p:cNvSpPr>
            <a:spLocks/>
          </p:cNvSpPr>
          <p:nvPr/>
        </p:nvSpPr>
        <p:spPr bwMode="auto">
          <a:xfrm>
            <a:off x="4764325" y="3346007"/>
            <a:ext cx="122352" cy="119572"/>
          </a:xfrm>
          <a:custGeom>
            <a:avLst/>
            <a:gdLst>
              <a:gd name="T0" fmla="*/ 34 w 35"/>
              <a:gd name="T1" fmla="*/ 0 h 34"/>
              <a:gd name="T2" fmla="*/ 0 w 35"/>
              <a:gd name="T3" fmla="*/ 34 h 34"/>
              <a:gd name="T4" fmla="*/ 0 w 35"/>
              <a:gd name="T5" fmla="*/ 34 h 34"/>
              <a:gd name="T6" fmla="*/ 1 w 35"/>
              <a:gd name="T7" fmla="*/ 34 h 34"/>
              <a:gd name="T8" fmla="*/ 1 w 35"/>
              <a:gd name="T9" fmla="*/ 34 h 34"/>
              <a:gd name="T10" fmla="*/ 35 w 35"/>
              <a:gd name="T11" fmla="*/ 0 h 34"/>
              <a:gd name="T12" fmla="*/ 34 w 35"/>
              <a:gd name="T13" fmla="*/ 0 h 34"/>
            </a:gdLst>
            <a:ahLst/>
            <a:cxnLst>
              <a:cxn ang="0">
                <a:pos x="T0" y="T1"/>
              </a:cxn>
              <a:cxn ang="0">
                <a:pos x="T2" y="T3"/>
              </a:cxn>
              <a:cxn ang="0">
                <a:pos x="T4" y="T5"/>
              </a:cxn>
              <a:cxn ang="0">
                <a:pos x="T6" y="T7"/>
              </a:cxn>
              <a:cxn ang="0">
                <a:pos x="T8" y="T9"/>
              </a:cxn>
              <a:cxn ang="0">
                <a:pos x="T10" y="T11"/>
              </a:cxn>
              <a:cxn ang="0">
                <a:pos x="T12" y="T13"/>
              </a:cxn>
            </a:cxnLst>
            <a:rect l="0" t="0" r="r" b="b"/>
            <a:pathLst>
              <a:path w="35" h="34">
                <a:moveTo>
                  <a:pt x="34" y="0"/>
                </a:moveTo>
                <a:cubicBezTo>
                  <a:pt x="0" y="34"/>
                  <a:pt x="0" y="34"/>
                  <a:pt x="0" y="34"/>
                </a:cubicBezTo>
                <a:cubicBezTo>
                  <a:pt x="0" y="34"/>
                  <a:pt x="0" y="34"/>
                  <a:pt x="0" y="34"/>
                </a:cubicBezTo>
                <a:cubicBezTo>
                  <a:pt x="1" y="34"/>
                  <a:pt x="1" y="34"/>
                  <a:pt x="1" y="34"/>
                </a:cubicBezTo>
                <a:cubicBezTo>
                  <a:pt x="1" y="34"/>
                  <a:pt x="1" y="34"/>
                  <a:pt x="1" y="34"/>
                </a:cubicBezTo>
                <a:cubicBezTo>
                  <a:pt x="35" y="0"/>
                  <a:pt x="35" y="0"/>
                  <a:pt x="35" y="0"/>
                </a:cubicBezTo>
                <a:cubicBezTo>
                  <a:pt x="35" y="0"/>
                  <a:pt x="34" y="0"/>
                  <a:pt x="34" y="0"/>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27" name="Freeform 72">
            <a:extLst>
              <a:ext uri="{FF2B5EF4-FFF2-40B4-BE49-F238E27FC236}">
                <a16:creationId xmlns:a16="http://schemas.microsoft.com/office/drawing/2014/main" id="{D2653ED2-5360-4C0C-B9AB-B846F09E3AB7}"/>
              </a:ext>
            </a:extLst>
          </p:cNvPr>
          <p:cNvSpPr>
            <a:spLocks/>
          </p:cNvSpPr>
          <p:nvPr/>
        </p:nvSpPr>
        <p:spPr bwMode="auto">
          <a:xfrm>
            <a:off x="4842186" y="3351568"/>
            <a:ext cx="116791" cy="114010"/>
          </a:xfrm>
          <a:custGeom>
            <a:avLst/>
            <a:gdLst>
              <a:gd name="T0" fmla="*/ 33 w 34"/>
              <a:gd name="T1" fmla="*/ 0 h 33"/>
              <a:gd name="T2" fmla="*/ 0 w 34"/>
              <a:gd name="T3" fmla="*/ 33 h 33"/>
              <a:gd name="T4" fmla="*/ 0 w 34"/>
              <a:gd name="T5" fmla="*/ 33 h 33"/>
              <a:gd name="T6" fmla="*/ 2 w 34"/>
              <a:gd name="T7" fmla="*/ 33 h 33"/>
              <a:gd name="T8" fmla="*/ 2 w 34"/>
              <a:gd name="T9" fmla="*/ 33 h 33"/>
              <a:gd name="T10" fmla="*/ 34 w 34"/>
              <a:gd name="T11" fmla="*/ 1 h 33"/>
              <a:gd name="T12" fmla="*/ 33 w 34"/>
              <a:gd name="T13" fmla="*/ 0 h 33"/>
            </a:gdLst>
            <a:ahLst/>
            <a:cxnLst>
              <a:cxn ang="0">
                <a:pos x="T0" y="T1"/>
              </a:cxn>
              <a:cxn ang="0">
                <a:pos x="T2" y="T3"/>
              </a:cxn>
              <a:cxn ang="0">
                <a:pos x="T4" y="T5"/>
              </a:cxn>
              <a:cxn ang="0">
                <a:pos x="T6" y="T7"/>
              </a:cxn>
              <a:cxn ang="0">
                <a:pos x="T8" y="T9"/>
              </a:cxn>
              <a:cxn ang="0">
                <a:pos x="T10" y="T11"/>
              </a:cxn>
              <a:cxn ang="0">
                <a:pos x="T12" y="T13"/>
              </a:cxn>
            </a:cxnLst>
            <a:rect l="0" t="0" r="r" b="b"/>
            <a:pathLst>
              <a:path w="34" h="33">
                <a:moveTo>
                  <a:pt x="33" y="0"/>
                </a:moveTo>
                <a:cubicBezTo>
                  <a:pt x="0" y="33"/>
                  <a:pt x="0" y="33"/>
                  <a:pt x="0" y="33"/>
                </a:cubicBezTo>
                <a:cubicBezTo>
                  <a:pt x="0" y="33"/>
                  <a:pt x="0" y="33"/>
                  <a:pt x="0" y="33"/>
                </a:cubicBezTo>
                <a:cubicBezTo>
                  <a:pt x="2" y="33"/>
                  <a:pt x="2" y="33"/>
                  <a:pt x="2" y="33"/>
                </a:cubicBezTo>
                <a:cubicBezTo>
                  <a:pt x="2" y="33"/>
                  <a:pt x="2" y="33"/>
                  <a:pt x="2" y="33"/>
                </a:cubicBezTo>
                <a:cubicBezTo>
                  <a:pt x="34" y="1"/>
                  <a:pt x="34" y="1"/>
                  <a:pt x="34" y="1"/>
                </a:cubicBezTo>
                <a:cubicBezTo>
                  <a:pt x="34" y="0"/>
                  <a:pt x="33" y="0"/>
                  <a:pt x="33" y="0"/>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28" name="Freeform 73">
            <a:extLst>
              <a:ext uri="{FF2B5EF4-FFF2-40B4-BE49-F238E27FC236}">
                <a16:creationId xmlns:a16="http://schemas.microsoft.com/office/drawing/2014/main" id="{275167B2-05BF-4108-8770-6CF917D180E9}"/>
              </a:ext>
            </a:extLst>
          </p:cNvPr>
          <p:cNvSpPr>
            <a:spLocks/>
          </p:cNvSpPr>
          <p:nvPr/>
        </p:nvSpPr>
        <p:spPr bwMode="auto">
          <a:xfrm>
            <a:off x="4922827" y="3359910"/>
            <a:ext cx="108449" cy="105668"/>
          </a:xfrm>
          <a:custGeom>
            <a:avLst/>
            <a:gdLst>
              <a:gd name="T0" fmla="*/ 30 w 31"/>
              <a:gd name="T1" fmla="*/ 0 h 30"/>
              <a:gd name="T2" fmla="*/ 0 w 31"/>
              <a:gd name="T3" fmla="*/ 30 h 30"/>
              <a:gd name="T4" fmla="*/ 0 w 31"/>
              <a:gd name="T5" fmla="*/ 30 h 30"/>
              <a:gd name="T6" fmla="*/ 2 w 31"/>
              <a:gd name="T7" fmla="*/ 30 h 30"/>
              <a:gd name="T8" fmla="*/ 2 w 31"/>
              <a:gd name="T9" fmla="*/ 30 h 30"/>
              <a:gd name="T10" fmla="*/ 31 w 31"/>
              <a:gd name="T11" fmla="*/ 0 h 30"/>
              <a:gd name="T12" fmla="*/ 30 w 31"/>
              <a:gd name="T13" fmla="*/ 0 h 30"/>
            </a:gdLst>
            <a:ahLst/>
            <a:cxnLst>
              <a:cxn ang="0">
                <a:pos x="T0" y="T1"/>
              </a:cxn>
              <a:cxn ang="0">
                <a:pos x="T2" y="T3"/>
              </a:cxn>
              <a:cxn ang="0">
                <a:pos x="T4" y="T5"/>
              </a:cxn>
              <a:cxn ang="0">
                <a:pos x="T6" y="T7"/>
              </a:cxn>
              <a:cxn ang="0">
                <a:pos x="T8" y="T9"/>
              </a:cxn>
              <a:cxn ang="0">
                <a:pos x="T10" y="T11"/>
              </a:cxn>
              <a:cxn ang="0">
                <a:pos x="T12" y="T13"/>
              </a:cxn>
            </a:cxnLst>
            <a:rect l="0" t="0" r="r" b="b"/>
            <a:pathLst>
              <a:path w="31" h="30">
                <a:moveTo>
                  <a:pt x="30" y="0"/>
                </a:moveTo>
                <a:cubicBezTo>
                  <a:pt x="0" y="30"/>
                  <a:pt x="0" y="30"/>
                  <a:pt x="0" y="30"/>
                </a:cubicBezTo>
                <a:cubicBezTo>
                  <a:pt x="0" y="30"/>
                  <a:pt x="0" y="30"/>
                  <a:pt x="0" y="30"/>
                </a:cubicBezTo>
                <a:cubicBezTo>
                  <a:pt x="2" y="30"/>
                  <a:pt x="2" y="30"/>
                  <a:pt x="2" y="30"/>
                </a:cubicBezTo>
                <a:cubicBezTo>
                  <a:pt x="2" y="30"/>
                  <a:pt x="2" y="30"/>
                  <a:pt x="2" y="30"/>
                </a:cubicBezTo>
                <a:cubicBezTo>
                  <a:pt x="31" y="0"/>
                  <a:pt x="31" y="0"/>
                  <a:pt x="31" y="0"/>
                </a:cubicBezTo>
                <a:cubicBezTo>
                  <a:pt x="31" y="0"/>
                  <a:pt x="30" y="0"/>
                  <a:pt x="30" y="0"/>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29" name="Freeform 74">
            <a:extLst>
              <a:ext uri="{FF2B5EF4-FFF2-40B4-BE49-F238E27FC236}">
                <a16:creationId xmlns:a16="http://schemas.microsoft.com/office/drawing/2014/main" id="{822AEE47-79F7-48C9-9A5F-EA220DD7FB1C}"/>
              </a:ext>
            </a:extLst>
          </p:cNvPr>
          <p:cNvSpPr>
            <a:spLocks/>
          </p:cNvSpPr>
          <p:nvPr/>
        </p:nvSpPr>
        <p:spPr bwMode="auto">
          <a:xfrm>
            <a:off x="5000687" y="3376594"/>
            <a:ext cx="94545" cy="88983"/>
          </a:xfrm>
          <a:custGeom>
            <a:avLst/>
            <a:gdLst>
              <a:gd name="T0" fmla="*/ 26 w 27"/>
              <a:gd name="T1" fmla="*/ 0 h 26"/>
              <a:gd name="T2" fmla="*/ 0 w 27"/>
              <a:gd name="T3" fmla="*/ 26 h 26"/>
              <a:gd name="T4" fmla="*/ 0 w 27"/>
              <a:gd name="T5" fmla="*/ 26 h 26"/>
              <a:gd name="T6" fmla="*/ 1 w 27"/>
              <a:gd name="T7" fmla="*/ 26 h 26"/>
              <a:gd name="T8" fmla="*/ 1 w 27"/>
              <a:gd name="T9" fmla="*/ 26 h 26"/>
              <a:gd name="T10" fmla="*/ 27 w 27"/>
              <a:gd name="T11" fmla="*/ 0 h 26"/>
              <a:gd name="T12" fmla="*/ 26 w 27"/>
              <a:gd name="T13" fmla="*/ 0 h 26"/>
            </a:gdLst>
            <a:ahLst/>
            <a:cxnLst>
              <a:cxn ang="0">
                <a:pos x="T0" y="T1"/>
              </a:cxn>
              <a:cxn ang="0">
                <a:pos x="T2" y="T3"/>
              </a:cxn>
              <a:cxn ang="0">
                <a:pos x="T4" y="T5"/>
              </a:cxn>
              <a:cxn ang="0">
                <a:pos x="T6" y="T7"/>
              </a:cxn>
              <a:cxn ang="0">
                <a:pos x="T8" y="T9"/>
              </a:cxn>
              <a:cxn ang="0">
                <a:pos x="T10" y="T11"/>
              </a:cxn>
              <a:cxn ang="0">
                <a:pos x="T12" y="T13"/>
              </a:cxn>
            </a:cxnLst>
            <a:rect l="0" t="0" r="r" b="b"/>
            <a:pathLst>
              <a:path w="27" h="26">
                <a:moveTo>
                  <a:pt x="26" y="0"/>
                </a:moveTo>
                <a:cubicBezTo>
                  <a:pt x="0" y="26"/>
                  <a:pt x="0" y="26"/>
                  <a:pt x="0" y="26"/>
                </a:cubicBezTo>
                <a:cubicBezTo>
                  <a:pt x="0" y="26"/>
                  <a:pt x="0" y="26"/>
                  <a:pt x="0" y="26"/>
                </a:cubicBezTo>
                <a:cubicBezTo>
                  <a:pt x="1" y="26"/>
                  <a:pt x="1" y="26"/>
                  <a:pt x="1" y="26"/>
                </a:cubicBezTo>
                <a:cubicBezTo>
                  <a:pt x="1" y="26"/>
                  <a:pt x="1" y="26"/>
                  <a:pt x="1" y="26"/>
                </a:cubicBezTo>
                <a:cubicBezTo>
                  <a:pt x="27" y="0"/>
                  <a:pt x="27" y="0"/>
                  <a:pt x="27" y="0"/>
                </a:cubicBezTo>
                <a:cubicBezTo>
                  <a:pt x="27" y="0"/>
                  <a:pt x="26" y="0"/>
                  <a:pt x="26" y="0"/>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30" name="Freeform 75">
            <a:extLst>
              <a:ext uri="{FF2B5EF4-FFF2-40B4-BE49-F238E27FC236}">
                <a16:creationId xmlns:a16="http://schemas.microsoft.com/office/drawing/2014/main" id="{73901A85-C6D0-4394-97F7-0AB273D606AC}"/>
              </a:ext>
            </a:extLst>
          </p:cNvPr>
          <p:cNvSpPr>
            <a:spLocks/>
          </p:cNvSpPr>
          <p:nvPr/>
        </p:nvSpPr>
        <p:spPr bwMode="auto">
          <a:xfrm>
            <a:off x="5078548" y="3390498"/>
            <a:ext cx="80642" cy="75080"/>
          </a:xfrm>
          <a:custGeom>
            <a:avLst/>
            <a:gdLst>
              <a:gd name="T0" fmla="*/ 22 w 23"/>
              <a:gd name="T1" fmla="*/ 0 h 22"/>
              <a:gd name="T2" fmla="*/ 0 w 23"/>
              <a:gd name="T3" fmla="*/ 22 h 22"/>
              <a:gd name="T4" fmla="*/ 0 w 23"/>
              <a:gd name="T5" fmla="*/ 22 h 22"/>
              <a:gd name="T6" fmla="*/ 2 w 23"/>
              <a:gd name="T7" fmla="*/ 22 h 22"/>
              <a:gd name="T8" fmla="*/ 2 w 23"/>
              <a:gd name="T9" fmla="*/ 22 h 22"/>
              <a:gd name="T10" fmla="*/ 23 w 23"/>
              <a:gd name="T11" fmla="*/ 1 h 22"/>
              <a:gd name="T12" fmla="*/ 22 w 23"/>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23" h="22">
                <a:moveTo>
                  <a:pt x="22" y="0"/>
                </a:moveTo>
                <a:cubicBezTo>
                  <a:pt x="0" y="22"/>
                  <a:pt x="0" y="22"/>
                  <a:pt x="0" y="22"/>
                </a:cubicBezTo>
                <a:cubicBezTo>
                  <a:pt x="0" y="22"/>
                  <a:pt x="0" y="22"/>
                  <a:pt x="0" y="22"/>
                </a:cubicBezTo>
                <a:cubicBezTo>
                  <a:pt x="2" y="22"/>
                  <a:pt x="2" y="22"/>
                  <a:pt x="2" y="22"/>
                </a:cubicBezTo>
                <a:cubicBezTo>
                  <a:pt x="2" y="22"/>
                  <a:pt x="2" y="22"/>
                  <a:pt x="2" y="22"/>
                </a:cubicBezTo>
                <a:cubicBezTo>
                  <a:pt x="23" y="1"/>
                  <a:pt x="23" y="1"/>
                  <a:pt x="23" y="1"/>
                </a:cubicBezTo>
                <a:cubicBezTo>
                  <a:pt x="23" y="0"/>
                  <a:pt x="23" y="0"/>
                  <a:pt x="22" y="0"/>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31" name="Freeform 76">
            <a:extLst>
              <a:ext uri="{FF2B5EF4-FFF2-40B4-BE49-F238E27FC236}">
                <a16:creationId xmlns:a16="http://schemas.microsoft.com/office/drawing/2014/main" id="{3298FE8A-4D3F-469C-9ECF-5C306A052990}"/>
              </a:ext>
            </a:extLst>
          </p:cNvPr>
          <p:cNvSpPr>
            <a:spLocks/>
          </p:cNvSpPr>
          <p:nvPr/>
        </p:nvSpPr>
        <p:spPr bwMode="auto">
          <a:xfrm>
            <a:off x="5159189" y="3409963"/>
            <a:ext cx="63957" cy="55615"/>
          </a:xfrm>
          <a:custGeom>
            <a:avLst/>
            <a:gdLst>
              <a:gd name="T0" fmla="*/ 16 w 18"/>
              <a:gd name="T1" fmla="*/ 0 h 16"/>
              <a:gd name="T2" fmla="*/ 0 w 18"/>
              <a:gd name="T3" fmla="*/ 16 h 16"/>
              <a:gd name="T4" fmla="*/ 0 w 18"/>
              <a:gd name="T5" fmla="*/ 16 h 16"/>
              <a:gd name="T6" fmla="*/ 2 w 18"/>
              <a:gd name="T7" fmla="*/ 16 h 16"/>
              <a:gd name="T8" fmla="*/ 2 w 18"/>
              <a:gd name="T9" fmla="*/ 16 h 16"/>
              <a:gd name="T10" fmla="*/ 18 w 18"/>
              <a:gd name="T11" fmla="*/ 0 h 16"/>
              <a:gd name="T12" fmla="*/ 16 w 18"/>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8" h="16">
                <a:moveTo>
                  <a:pt x="16" y="0"/>
                </a:moveTo>
                <a:cubicBezTo>
                  <a:pt x="0" y="16"/>
                  <a:pt x="0" y="16"/>
                  <a:pt x="0" y="16"/>
                </a:cubicBezTo>
                <a:cubicBezTo>
                  <a:pt x="0" y="16"/>
                  <a:pt x="0" y="16"/>
                  <a:pt x="0" y="16"/>
                </a:cubicBezTo>
                <a:cubicBezTo>
                  <a:pt x="2" y="16"/>
                  <a:pt x="2" y="16"/>
                  <a:pt x="2" y="16"/>
                </a:cubicBezTo>
                <a:cubicBezTo>
                  <a:pt x="2" y="16"/>
                  <a:pt x="2" y="16"/>
                  <a:pt x="2" y="16"/>
                </a:cubicBezTo>
                <a:cubicBezTo>
                  <a:pt x="18" y="0"/>
                  <a:pt x="18" y="0"/>
                  <a:pt x="18" y="0"/>
                </a:cubicBezTo>
                <a:cubicBezTo>
                  <a:pt x="17" y="0"/>
                  <a:pt x="17" y="0"/>
                  <a:pt x="16" y="0"/>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32" name="Freeform 77">
            <a:extLst>
              <a:ext uri="{FF2B5EF4-FFF2-40B4-BE49-F238E27FC236}">
                <a16:creationId xmlns:a16="http://schemas.microsoft.com/office/drawing/2014/main" id="{B9914474-A6F0-42CD-B522-2C8F0196A8F3}"/>
              </a:ext>
            </a:extLst>
          </p:cNvPr>
          <p:cNvSpPr>
            <a:spLocks/>
          </p:cNvSpPr>
          <p:nvPr/>
        </p:nvSpPr>
        <p:spPr bwMode="auto">
          <a:xfrm>
            <a:off x="5239831" y="3432209"/>
            <a:ext cx="38930" cy="33369"/>
          </a:xfrm>
          <a:custGeom>
            <a:avLst/>
            <a:gdLst>
              <a:gd name="T0" fmla="*/ 10 w 11"/>
              <a:gd name="T1" fmla="*/ 0 h 10"/>
              <a:gd name="T2" fmla="*/ 0 w 11"/>
              <a:gd name="T3" fmla="*/ 10 h 10"/>
              <a:gd name="T4" fmla="*/ 0 w 11"/>
              <a:gd name="T5" fmla="*/ 10 h 10"/>
              <a:gd name="T6" fmla="*/ 1 w 11"/>
              <a:gd name="T7" fmla="*/ 10 h 10"/>
              <a:gd name="T8" fmla="*/ 1 w 11"/>
              <a:gd name="T9" fmla="*/ 10 h 10"/>
              <a:gd name="T10" fmla="*/ 11 w 11"/>
              <a:gd name="T11" fmla="*/ 0 h 10"/>
              <a:gd name="T12" fmla="*/ 10 w 11"/>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11" h="10">
                <a:moveTo>
                  <a:pt x="10" y="0"/>
                </a:moveTo>
                <a:cubicBezTo>
                  <a:pt x="0" y="10"/>
                  <a:pt x="0" y="10"/>
                  <a:pt x="0" y="10"/>
                </a:cubicBezTo>
                <a:cubicBezTo>
                  <a:pt x="0" y="10"/>
                  <a:pt x="0" y="10"/>
                  <a:pt x="0" y="10"/>
                </a:cubicBezTo>
                <a:cubicBezTo>
                  <a:pt x="1" y="10"/>
                  <a:pt x="1" y="10"/>
                  <a:pt x="1" y="10"/>
                </a:cubicBezTo>
                <a:cubicBezTo>
                  <a:pt x="1" y="10"/>
                  <a:pt x="1" y="10"/>
                  <a:pt x="1" y="10"/>
                </a:cubicBezTo>
                <a:cubicBezTo>
                  <a:pt x="11" y="0"/>
                  <a:pt x="11" y="0"/>
                  <a:pt x="11" y="0"/>
                </a:cubicBezTo>
                <a:cubicBezTo>
                  <a:pt x="11" y="0"/>
                  <a:pt x="10" y="0"/>
                  <a:pt x="10" y="0"/>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33" name="Freeform 78">
            <a:extLst>
              <a:ext uri="{FF2B5EF4-FFF2-40B4-BE49-F238E27FC236}">
                <a16:creationId xmlns:a16="http://schemas.microsoft.com/office/drawing/2014/main" id="{0365AA3E-D37D-456F-B7C4-459E2261CC06}"/>
              </a:ext>
            </a:extLst>
          </p:cNvPr>
          <p:cNvSpPr>
            <a:spLocks/>
          </p:cNvSpPr>
          <p:nvPr/>
        </p:nvSpPr>
        <p:spPr bwMode="auto">
          <a:xfrm>
            <a:off x="5314910" y="3451674"/>
            <a:ext cx="19466" cy="13904"/>
          </a:xfrm>
          <a:custGeom>
            <a:avLst/>
            <a:gdLst>
              <a:gd name="T0" fmla="*/ 4 w 5"/>
              <a:gd name="T1" fmla="*/ 0 h 4"/>
              <a:gd name="T2" fmla="*/ 0 w 5"/>
              <a:gd name="T3" fmla="*/ 4 h 4"/>
              <a:gd name="T4" fmla="*/ 0 w 5"/>
              <a:gd name="T5" fmla="*/ 4 h 4"/>
              <a:gd name="T6" fmla="*/ 2 w 5"/>
              <a:gd name="T7" fmla="*/ 4 h 4"/>
              <a:gd name="T8" fmla="*/ 2 w 5"/>
              <a:gd name="T9" fmla="*/ 4 h 4"/>
              <a:gd name="T10" fmla="*/ 5 w 5"/>
              <a:gd name="T11" fmla="*/ 1 h 4"/>
              <a:gd name="T12" fmla="*/ 4 w 5"/>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5" h="4">
                <a:moveTo>
                  <a:pt x="4" y="0"/>
                </a:moveTo>
                <a:cubicBezTo>
                  <a:pt x="0" y="4"/>
                  <a:pt x="0" y="4"/>
                  <a:pt x="0" y="4"/>
                </a:cubicBezTo>
                <a:cubicBezTo>
                  <a:pt x="0" y="4"/>
                  <a:pt x="0" y="4"/>
                  <a:pt x="0" y="4"/>
                </a:cubicBezTo>
                <a:cubicBezTo>
                  <a:pt x="2" y="4"/>
                  <a:pt x="2" y="4"/>
                  <a:pt x="2" y="4"/>
                </a:cubicBezTo>
                <a:cubicBezTo>
                  <a:pt x="2" y="4"/>
                  <a:pt x="2" y="4"/>
                  <a:pt x="2" y="4"/>
                </a:cubicBezTo>
                <a:cubicBezTo>
                  <a:pt x="5" y="1"/>
                  <a:pt x="5" y="1"/>
                  <a:pt x="5" y="1"/>
                </a:cubicBezTo>
                <a:cubicBezTo>
                  <a:pt x="5" y="1"/>
                  <a:pt x="4" y="1"/>
                  <a:pt x="4" y="0"/>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34" name="Freeform 79">
            <a:extLst>
              <a:ext uri="{FF2B5EF4-FFF2-40B4-BE49-F238E27FC236}">
                <a16:creationId xmlns:a16="http://schemas.microsoft.com/office/drawing/2014/main" id="{EFDBE888-308D-4506-90A0-63F98F4FEB3C}"/>
              </a:ext>
            </a:extLst>
          </p:cNvPr>
          <p:cNvSpPr>
            <a:spLocks noEditPoints="1"/>
          </p:cNvSpPr>
          <p:nvPr/>
        </p:nvSpPr>
        <p:spPr bwMode="auto">
          <a:xfrm>
            <a:off x="7570082" y="2884405"/>
            <a:ext cx="0" cy="2781"/>
          </a:xfrm>
          <a:custGeom>
            <a:avLst/>
            <a:gdLst>
              <a:gd name="T0" fmla="*/ 1 h 1"/>
              <a:gd name="T1" fmla="*/ 1 h 1"/>
              <a:gd name="T2" fmla="*/ 1 h 1"/>
              <a:gd name="T3" fmla="*/ 1 h 1"/>
              <a:gd name="T4" fmla="*/ 0 h 1"/>
              <a:gd name="T5" fmla="*/ 0 h 1"/>
              <a:gd name="T6" fmla="*/ 0 h 1"/>
            </a:gdLst>
            <a:ahLst/>
            <a:cxnLst>
              <a:cxn ang="0">
                <a:pos x="0" y="T0"/>
              </a:cxn>
              <a:cxn ang="0">
                <a:pos x="0" y="T1"/>
              </a:cxn>
              <a:cxn ang="0">
                <a:pos x="0" y="T2"/>
              </a:cxn>
              <a:cxn ang="0">
                <a:pos x="0" y="T3"/>
              </a:cxn>
              <a:cxn ang="0">
                <a:pos x="0" y="T4"/>
              </a:cxn>
              <a:cxn ang="0">
                <a:pos x="0" y="T5"/>
              </a:cxn>
              <a:cxn ang="0">
                <a:pos x="0" y="T6"/>
              </a:cxn>
            </a:cxnLst>
            <a:rect l="0" t="0" r="r" b="b"/>
            <a:pathLst>
              <a:path h="1">
                <a:moveTo>
                  <a:pt x="0" y="1"/>
                </a:moveTo>
                <a:cubicBezTo>
                  <a:pt x="0" y="1"/>
                  <a:pt x="0" y="1"/>
                  <a:pt x="0" y="1"/>
                </a:cubicBezTo>
                <a:cubicBezTo>
                  <a:pt x="0" y="1"/>
                  <a:pt x="0" y="1"/>
                  <a:pt x="0" y="1"/>
                </a:cubicBezTo>
                <a:cubicBezTo>
                  <a:pt x="0" y="1"/>
                  <a:pt x="0" y="1"/>
                  <a:pt x="0" y="1"/>
                </a:cubicBezTo>
                <a:moveTo>
                  <a:pt x="0" y="0"/>
                </a:moveTo>
                <a:cubicBezTo>
                  <a:pt x="0" y="0"/>
                  <a:pt x="0" y="0"/>
                  <a:pt x="0" y="0"/>
                </a:cubicBezTo>
                <a:cubicBezTo>
                  <a:pt x="0" y="0"/>
                  <a:pt x="0" y="0"/>
                  <a:pt x="0" y="0"/>
                </a:cubicBezTo>
              </a:path>
            </a:pathLst>
          </a:custGeom>
          <a:solidFill>
            <a:srgbClr val="B3CF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35" name="Freeform 80">
            <a:extLst>
              <a:ext uri="{FF2B5EF4-FFF2-40B4-BE49-F238E27FC236}">
                <a16:creationId xmlns:a16="http://schemas.microsoft.com/office/drawing/2014/main" id="{7763E8E8-78AF-4081-B3AB-D0F11740DFF0}"/>
              </a:ext>
            </a:extLst>
          </p:cNvPr>
          <p:cNvSpPr>
            <a:spLocks noEditPoints="1"/>
          </p:cNvSpPr>
          <p:nvPr/>
        </p:nvSpPr>
        <p:spPr bwMode="auto">
          <a:xfrm>
            <a:off x="7225272" y="2734246"/>
            <a:ext cx="63957" cy="2781"/>
          </a:xfrm>
          <a:custGeom>
            <a:avLst/>
            <a:gdLst>
              <a:gd name="T0" fmla="*/ 0 w 18"/>
              <a:gd name="T1" fmla="*/ 1 h 1"/>
              <a:gd name="T2" fmla="*/ 1 w 18"/>
              <a:gd name="T3" fmla="*/ 1 h 1"/>
              <a:gd name="T4" fmla="*/ 1 w 18"/>
              <a:gd name="T5" fmla="*/ 1 h 1"/>
              <a:gd name="T6" fmla="*/ 2 w 18"/>
              <a:gd name="T7" fmla="*/ 1 h 1"/>
              <a:gd name="T8" fmla="*/ 2 w 18"/>
              <a:gd name="T9" fmla="*/ 1 h 1"/>
              <a:gd name="T10" fmla="*/ 2 w 18"/>
              <a:gd name="T11" fmla="*/ 1 h 1"/>
              <a:gd name="T12" fmla="*/ 3 w 18"/>
              <a:gd name="T13" fmla="*/ 1 h 1"/>
              <a:gd name="T14" fmla="*/ 3 w 18"/>
              <a:gd name="T15" fmla="*/ 1 h 1"/>
              <a:gd name="T16" fmla="*/ 3 w 18"/>
              <a:gd name="T17" fmla="*/ 1 h 1"/>
              <a:gd name="T18" fmla="*/ 4 w 18"/>
              <a:gd name="T19" fmla="*/ 1 h 1"/>
              <a:gd name="T20" fmla="*/ 5 w 18"/>
              <a:gd name="T21" fmla="*/ 1 h 1"/>
              <a:gd name="T22" fmla="*/ 5 w 18"/>
              <a:gd name="T23" fmla="*/ 1 h 1"/>
              <a:gd name="T24" fmla="*/ 5 w 18"/>
              <a:gd name="T25" fmla="*/ 1 h 1"/>
              <a:gd name="T26" fmla="*/ 6 w 18"/>
              <a:gd name="T27" fmla="*/ 1 h 1"/>
              <a:gd name="T28" fmla="*/ 6 w 18"/>
              <a:gd name="T29" fmla="*/ 1 h 1"/>
              <a:gd name="T30" fmla="*/ 6 w 18"/>
              <a:gd name="T31" fmla="*/ 1 h 1"/>
              <a:gd name="T32" fmla="*/ 7 w 18"/>
              <a:gd name="T33" fmla="*/ 1 h 1"/>
              <a:gd name="T34" fmla="*/ 7 w 18"/>
              <a:gd name="T35" fmla="*/ 1 h 1"/>
              <a:gd name="T36" fmla="*/ 7 w 18"/>
              <a:gd name="T37" fmla="*/ 0 h 1"/>
              <a:gd name="T38" fmla="*/ 8 w 18"/>
              <a:gd name="T39" fmla="*/ 0 h 1"/>
              <a:gd name="T40" fmla="*/ 8 w 18"/>
              <a:gd name="T41" fmla="*/ 0 h 1"/>
              <a:gd name="T42" fmla="*/ 9 w 18"/>
              <a:gd name="T43" fmla="*/ 0 h 1"/>
              <a:gd name="T44" fmla="*/ 9 w 18"/>
              <a:gd name="T45" fmla="*/ 0 h 1"/>
              <a:gd name="T46" fmla="*/ 9 w 18"/>
              <a:gd name="T47" fmla="*/ 0 h 1"/>
              <a:gd name="T48" fmla="*/ 10 w 18"/>
              <a:gd name="T49" fmla="*/ 0 h 1"/>
              <a:gd name="T50" fmla="*/ 10 w 18"/>
              <a:gd name="T51" fmla="*/ 0 h 1"/>
              <a:gd name="T52" fmla="*/ 10 w 18"/>
              <a:gd name="T53" fmla="*/ 0 h 1"/>
              <a:gd name="T54" fmla="*/ 11 w 18"/>
              <a:gd name="T55" fmla="*/ 0 h 1"/>
              <a:gd name="T56" fmla="*/ 11 w 18"/>
              <a:gd name="T57" fmla="*/ 0 h 1"/>
              <a:gd name="T58" fmla="*/ 11 w 18"/>
              <a:gd name="T59" fmla="*/ 0 h 1"/>
              <a:gd name="T60" fmla="*/ 12 w 18"/>
              <a:gd name="T61" fmla="*/ 0 h 1"/>
              <a:gd name="T62" fmla="*/ 13 w 18"/>
              <a:gd name="T63" fmla="*/ 0 h 1"/>
              <a:gd name="T64" fmla="*/ 13 w 18"/>
              <a:gd name="T65" fmla="*/ 0 h 1"/>
              <a:gd name="T66" fmla="*/ 14 w 18"/>
              <a:gd name="T67" fmla="*/ 0 h 1"/>
              <a:gd name="T68" fmla="*/ 14 w 18"/>
              <a:gd name="T69" fmla="*/ 0 h 1"/>
              <a:gd name="T70" fmla="*/ 14 w 18"/>
              <a:gd name="T71" fmla="*/ 0 h 1"/>
              <a:gd name="T72" fmla="*/ 15 w 18"/>
              <a:gd name="T73" fmla="*/ 0 h 1"/>
              <a:gd name="T74" fmla="*/ 18 w 18"/>
              <a:gd name="T75" fmla="*/ 0 h 1"/>
              <a:gd name="T76" fmla="*/ 18 w 18"/>
              <a:gd name="T77" fmla="*/ 0 h 1"/>
              <a:gd name="T78" fmla="*/ 18 w 18"/>
              <a:gd name="T79" fmla="*/ 0 h 1"/>
              <a:gd name="T80" fmla="*/ 17 w 18"/>
              <a:gd name="T81" fmla="*/ 0 h 1"/>
              <a:gd name="T82" fmla="*/ 17 w 18"/>
              <a:gd name="T83" fmla="*/ 0 h 1"/>
              <a:gd name="T84" fmla="*/ 16 w 18"/>
              <a:gd name="T85" fmla="*/ 0 h 1"/>
              <a:gd name="T86" fmla="*/ 17 w 18"/>
              <a:gd name="T87" fmla="*/ 0 h 1"/>
              <a:gd name="T88" fmla="*/ 17 w 18"/>
              <a:gd name="T89" fmla="*/ 0 h 1"/>
              <a:gd name="T90" fmla="*/ 17 w 18"/>
              <a:gd name="T91" fmla="*/ 0 h 1"/>
              <a:gd name="T92" fmla="*/ 17 w 18"/>
              <a:gd name="T93"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8" h="1">
                <a:moveTo>
                  <a:pt x="0" y="1"/>
                </a:moveTo>
                <a:cubicBezTo>
                  <a:pt x="0" y="1"/>
                  <a:pt x="0" y="1"/>
                  <a:pt x="0" y="1"/>
                </a:cubicBezTo>
                <a:cubicBezTo>
                  <a:pt x="0" y="1"/>
                  <a:pt x="0" y="1"/>
                  <a:pt x="0" y="1"/>
                </a:cubicBezTo>
                <a:moveTo>
                  <a:pt x="1" y="1"/>
                </a:moveTo>
                <a:cubicBezTo>
                  <a:pt x="1" y="1"/>
                  <a:pt x="1" y="1"/>
                  <a:pt x="1" y="1"/>
                </a:cubicBezTo>
                <a:cubicBezTo>
                  <a:pt x="1" y="1"/>
                  <a:pt x="1" y="1"/>
                  <a:pt x="1" y="1"/>
                </a:cubicBezTo>
                <a:moveTo>
                  <a:pt x="2" y="1"/>
                </a:moveTo>
                <a:cubicBezTo>
                  <a:pt x="2" y="1"/>
                  <a:pt x="2" y="1"/>
                  <a:pt x="2" y="1"/>
                </a:cubicBezTo>
                <a:cubicBezTo>
                  <a:pt x="2" y="1"/>
                  <a:pt x="2" y="1"/>
                  <a:pt x="2" y="1"/>
                </a:cubicBezTo>
                <a:moveTo>
                  <a:pt x="2" y="1"/>
                </a:moveTo>
                <a:cubicBezTo>
                  <a:pt x="2" y="1"/>
                  <a:pt x="2" y="1"/>
                  <a:pt x="2" y="1"/>
                </a:cubicBezTo>
                <a:cubicBezTo>
                  <a:pt x="2" y="1"/>
                  <a:pt x="2" y="1"/>
                  <a:pt x="2" y="1"/>
                </a:cubicBezTo>
                <a:moveTo>
                  <a:pt x="3" y="1"/>
                </a:moveTo>
                <a:cubicBezTo>
                  <a:pt x="3" y="1"/>
                  <a:pt x="3" y="1"/>
                  <a:pt x="3" y="1"/>
                </a:cubicBezTo>
                <a:cubicBezTo>
                  <a:pt x="3" y="1"/>
                  <a:pt x="3" y="1"/>
                  <a:pt x="3" y="1"/>
                </a:cubicBezTo>
                <a:moveTo>
                  <a:pt x="3" y="1"/>
                </a:moveTo>
                <a:cubicBezTo>
                  <a:pt x="3" y="1"/>
                  <a:pt x="3" y="1"/>
                  <a:pt x="3" y="1"/>
                </a:cubicBezTo>
                <a:cubicBezTo>
                  <a:pt x="3" y="1"/>
                  <a:pt x="3" y="1"/>
                  <a:pt x="3" y="1"/>
                </a:cubicBezTo>
                <a:moveTo>
                  <a:pt x="4" y="1"/>
                </a:moveTo>
                <a:cubicBezTo>
                  <a:pt x="4" y="1"/>
                  <a:pt x="4" y="1"/>
                  <a:pt x="4" y="1"/>
                </a:cubicBezTo>
                <a:cubicBezTo>
                  <a:pt x="4" y="1"/>
                  <a:pt x="4" y="1"/>
                  <a:pt x="4" y="1"/>
                </a:cubicBezTo>
                <a:moveTo>
                  <a:pt x="5" y="1"/>
                </a:moveTo>
                <a:cubicBezTo>
                  <a:pt x="5" y="1"/>
                  <a:pt x="5" y="1"/>
                  <a:pt x="5" y="1"/>
                </a:cubicBezTo>
                <a:cubicBezTo>
                  <a:pt x="5" y="1"/>
                  <a:pt x="5" y="1"/>
                  <a:pt x="5" y="1"/>
                </a:cubicBezTo>
                <a:moveTo>
                  <a:pt x="5" y="1"/>
                </a:moveTo>
                <a:cubicBezTo>
                  <a:pt x="5" y="1"/>
                  <a:pt x="5" y="1"/>
                  <a:pt x="5" y="1"/>
                </a:cubicBezTo>
                <a:cubicBezTo>
                  <a:pt x="5" y="1"/>
                  <a:pt x="5" y="1"/>
                  <a:pt x="5" y="1"/>
                </a:cubicBezTo>
                <a:moveTo>
                  <a:pt x="6" y="1"/>
                </a:moveTo>
                <a:cubicBezTo>
                  <a:pt x="6" y="1"/>
                  <a:pt x="6" y="1"/>
                  <a:pt x="6" y="1"/>
                </a:cubicBezTo>
                <a:cubicBezTo>
                  <a:pt x="6" y="1"/>
                  <a:pt x="6" y="1"/>
                  <a:pt x="6" y="1"/>
                </a:cubicBezTo>
                <a:moveTo>
                  <a:pt x="6" y="1"/>
                </a:moveTo>
                <a:cubicBezTo>
                  <a:pt x="6" y="1"/>
                  <a:pt x="6" y="1"/>
                  <a:pt x="6" y="1"/>
                </a:cubicBezTo>
                <a:cubicBezTo>
                  <a:pt x="6" y="1"/>
                  <a:pt x="6" y="1"/>
                  <a:pt x="6" y="1"/>
                </a:cubicBezTo>
                <a:moveTo>
                  <a:pt x="7" y="1"/>
                </a:moveTo>
                <a:cubicBezTo>
                  <a:pt x="7" y="1"/>
                  <a:pt x="7" y="1"/>
                  <a:pt x="7" y="1"/>
                </a:cubicBezTo>
                <a:cubicBezTo>
                  <a:pt x="7" y="1"/>
                  <a:pt x="7" y="1"/>
                  <a:pt x="7" y="1"/>
                </a:cubicBezTo>
                <a:moveTo>
                  <a:pt x="7" y="0"/>
                </a:moveTo>
                <a:cubicBezTo>
                  <a:pt x="7" y="0"/>
                  <a:pt x="7" y="0"/>
                  <a:pt x="7" y="0"/>
                </a:cubicBezTo>
                <a:cubicBezTo>
                  <a:pt x="7" y="0"/>
                  <a:pt x="7" y="0"/>
                  <a:pt x="7" y="0"/>
                </a:cubicBezTo>
                <a:moveTo>
                  <a:pt x="8" y="0"/>
                </a:moveTo>
                <a:cubicBezTo>
                  <a:pt x="8" y="0"/>
                  <a:pt x="8" y="0"/>
                  <a:pt x="8" y="0"/>
                </a:cubicBezTo>
                <a:cubicBezTo>
                  <a:pt x="8" y="0"/>
                  <a:pt x="8" y="0"/>
                  <a:pt x="8" y="0"/>
                </a:cubicBezTo>
                <a:moveTo>
                  <a:pt x="9" y="0"/>
                </a:moveTo>
                <a:cubicBezTo>
                  <a:pt x="9" y="0"/>
                  <a:pt x="9" y="0"/>
                  <a:pt x="9" y="0"/>
                </a:cubicBezTo>
                <a:cubicBezTo>
                  <a:pt x="9" y="0"/>
                  <a:pt x="9" y="0"/>
                  <a:pt x="9" y="0"/>
                </a:cubicBezTo>
                <a:moveTo>
                  <a:pt x="9" y="0"/>
                </a:moveTo>
                <a:cubicBezTo>
                  <a:pt x="9" y="0"/>
                  <a:pt x="9" y="0"/>
                  <a:pt x="9" y="0"/>
                </a:cubicBezTo>
                <a:cubicBezTo>
                  <a:pt x="9" y="0"/>
                  <a:pt x="9" y="0"/>
                  <a:pt x="9" y="0"/>
                </a:cubicBezTo>
                <a:moveTo>
                  <a:pt x="10" y="0"/>
                </a:moveTo>
                <a:cubicBezTo>
                  <a:pt x="10" y="0"/>
                  <a:pt x="10" y="0"/>
                  <a:pt x="10" y="0"/>
                </a:cubicBezTo>
                <a:cubicBezTo>
                  <a:pt x="10" y="0"/>
                  <a:pt x="10" y="0"/>
                  <a:pt x="10" y="0"/>
                </a:cubicBezTo>
                <a:moveTo>
                  <a:pt x="10" y="0"/>
                </a:moveTo>
                <a:cubicBezTo>
                  <a:pt x="10" y="0"/>
                  <a:pt x="10" y="0"/>
                  <a:pt x="10" y="0"/>
                </a:cubicBezTo>
                <a:cubicBezTo>
                  <a:pt x="10" y="0"/>
                  <a:pt x="10" y="0"/>
                  <a:pt x="10" y="0"/>
                </a:cubicBezTo>
                <a:moveTo>
                  <a:pt x="11" y="0"/>
                </a:moveTo>
                <a:cubicBezTo>
                  <a:pt x="11" y="0"/>
                  <a:pt x="11" y="0"/>
                  <a:pt x="11" y="0"/>
                </a:cubicBezTo>
                <a:cubicBezTo>
                  <a:pt x="11" y="0"/>
                  <a:pt x="11" y="0"/>
                  <a:pt x="11" y="0"/>
                </a:cubicBezTo>
                <a:moveTo>
                  <a:pt x="11" y="0"/>
                </a:moveTo>
                <a:cubicBezTo>
                  <a:pt x="11" y="0"/>
                  <a:pt x="11" y="0"/>
                  <a:pt x="11" y="0"/>
                </a:cubicBezTo>
                <a:cubicBezTo>
                  <a:pt x="11" y="0"/>
                  <a:pt x="11" y="0"/>
                  <a:pt x="11" y="0"/>
                </a:cubicBezTo>
                <a:moveTo>
                  <a:pt x="12" y="0"/>
                </a:moveTo>
                <a:cubicBezTo>
                  <a:pt x="12" y="0"/>
                  <a:pt x="12" y="0"/>
                  <a:pt x="12" y="0"/>
                </a:cubicBezTo>
                <a:cubicBezTo>
                  <a:pt x="12" y="0"/>
                  <a:pt x="12" y="0"/>
                  <a:pt x="12" y="0"/>
                </a:cubicBezTo>
                <a:moveTo>
                  <a:pt x="13" y="0"/>
                </a:moveTo>
                <a:cubicBezTo>
                  <a:pt x="13" y="0"/>
                  <a:pt x="13" y="0"/>
                  <a:pt x="13" y="0"/>
                </a:cubicBezTo>
                <a:cubicBezTo>
                  <a:pt x="13" y="0"/>
                  <a:pt x="13" y="0"/>
                  <a:pt x="13" y="0"/>
                </a:cubicBezTo>
                <a:moveTo>
                  <a:pt x="14" y="0"/>
                </a:moveTo>
                <a:cubicBezTo>
                  <a:pt x="14" y="0"/>
                  <a:pt x="14" y="0"/>
                  <a:pt x="14" y="0"/>
                </a:cubicBezTo>
                <a:cubicBezTo>
                  <a:pt x="14" y="0"/>
                  <a:pt x="14" y="0"/>
                  <a:pt x="14" y="0"/>
                </a:cubicBezTo>
                <a:moveTo>
                  <a:pt x="14" y="0"/>
                </a:moveTo>
                <a:cubicBezTo>
                  <a:pt x="14" y="0"/>
                  <a:pt x="14" y="0"/>
                  <a:pt x="14" y="0"/>
                </a:cubicBezTo>
                <a:cubicBezTo>
                  <a:pt x="14" y="0"/>
                  <a:pt x="14" y="0"/>
                  <a:pt x="14" y="0"/>
                </a:cubicBezTo>
                <a:moveTo>
                  <a:pt x="15" y="0"/>
                </a:moveTo>
                <a:cubicBezTo>
                  <a:pt x="15" y="0"/>
                  <a:pt x="15" y="0"/>
                  <a:pt x="15" y="0"/>
                </a:cubicBezTo>
                <a:cubicBezTo>
                  <a:pt x="15" y="0"/>
                  <a:pt x="15" y="0"/>
                  <a:pt x="15" y="0"/>
                </a:cubicBezTo>
                <a:moveTo>
                  <a:pt x="18" y="0"/>
                </a:moveTo>
                <a:cubicBezTo>
                  <a:pt x="18" y="0"/>
                  <a:pt x="18" y="0"/>
                  <a:pt x="18" y="0"/>
                </a:cubicBezTo>
                <a:cubicBezTo>
                  <a:pt x="18" y="0"/>
                  <a:pt x="18" y="0"/>
                  <a:pt x="18" y="0"/>
                </a:cubicBezTo>
                <a:moveTo>
                  <a:pt x="18" y="0"/>
                </a:moveTo>
                <a:cubicBezTo>
                  <a:pt x="18" y="0"/>
                  <a:pt x="18" y="0"/>
                  <a:pt x="18" y="0"/>
                </a:cubicBezTo>
                <a:cubicBezTo>
                  <a:pt x="18" y="0"/>
                  <a:pt x="18" y="0"/>
                  <a:pt x="18" y="0"/>
                </a:cubicBezTo>
                <a:moveTo>
                  <a:pt x="17" y="0"/>
                </a:moveTo>
                <a:cubicBezTo>
                  <a:pt x="18" y="0"/>
                  <a:pt x="18" y="0"/>
                  <a:pt x="18" y="0"/>
                </a:cubicBezTo>
                <a:cubicBezTo>
                  <a:pt x="18" y="0"/>
                  <a:pt x="18" y="0"/>
                  <a:pt x="17" y="0"/>
                </a:cubicBezTo>
                <a:moveTo>
                  <a:pt x="16" y="0"/>
                </a:moveTo>
                <a:cubicBezTo>
                  <a:pt x="16" y="0"/>
                  <a:pt x="16" y="0"/>
                  <a:pt x="16" y="0"/>
                </a:cubicBezTo>
                <a:cubicBezTo>
                  <a:pt x="16" y="0"/>
                  <a:pt x="16" y="0"/>
                  <a:pt x="16" y="0"/>
                </a:cubicBezTo>
                <a:moveTo>
                  <a:pt x="17" y="0"/>
                </a:moveTo>
                <a:cubicBezTo>
                  <a:pt x="17" y="0"/>
                  <a:pt x="17" y="0"/>
                  <a:pt x="17" y="0"/>
                </a:cubicBezTo>
                <a:cubicBezTo>
                  <a:pt x="17" y="0"/>
                  <a:pt x="17" y="0"/>
                  <a:pt x="17" y="0"/>
                </a:cubicBezTo>
                <a:moveTo>
                  <a:pt x="17" y="0"/>
                </a:moveTo>
                <a:cubicBezTo>
                  <a:pt x="17" y="0"/>
                  <a:pt x="17" y="0"/>
                  <a:pt x="17" y="0"/>
                </a:cubicBezTo>
                <a:cubicBezTo>
                  <a:pt x="17" y="0"/>
                  <a:pt x="17" y="0"/>
                  <a:pt x="17" y="0"/>
                </a:cubicBezTo>
                <a:cubicBezTo>
                  <a:pt x="17" y="0"/>
                  <a:pt x="17" y="0"/>
                  <a:pt x="17" y="0"/>
                </a:cubicBezTo>
                <a:cubicBezTo>
                  <a:pt x="17" y="0"/>
                  <a:pt x="17" y="0"/>
                  <a:pt x="17" y="0"/>
                </a:cubicBezTo>
              </a:path>
            </a:pathLst>
          </a:custGeom>
          <a:solidFill>
            <a:srgbClr val="B3CF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36" name="Freeform 81">
            <a:extLst>
              <a:ext uri="{FF2B5EF4-FFF2-40B4-BE49-F238E27FC236}">
                <a16:creationId xmlns:a16="http://schemas.microsoft.com/office/drawing/2014/main" id="{EA648108-6D3A-4E71-80A6-43FFB6A7CBC0}"/>
              </a:ext>
            </a:extLst>
          </p:cNvPr>
          <p:cNvSpPr>
            <a:spLocks noEditPoints="1"/>
          </p:cNvSpPr>
          <p:nvPr/>
        </p:nvSpPr>
        <p:spPr bwMode="auto">
          <a:xfrm>
            <a:off x="5762607" y="2734246"/>
            <a:ext cx="1807475" cy="1646192"/>
          </a:xfrm>
          <a:custGeom>
            <a:avLst/>
            <a:gdLst>
              <a:gd name="T0" fmla="*/ 157 w 518"/>
              <a:gd name="T1" fmla="*/ 377 h 472"/>
              <a:gd name="T2" fmla="*/ 158 w 518"/>
              <a:gd name="T3" fmla="*/ 307 h 472"/>
              <a:gd name="T4" fmla="*/ 158 w 518"/>
              <a:gd name="T5" fmla="*/ 305 h 472"/>
              <a:gd name="T6" fmla="*/ 0 w 518"/>
              <a:gd name="T7" fmla="*/ 291 h 472"/>
              <a:gd name="T8" fmla="*/ 153 w 518"/>
              <a:gd name="T9" fmla="*/ 428 h 472"/>
              <a:gd name="T10" fmla="*/ 154 w 518"/>
              <a:gd name="T11" fmla="*/ 402 h 472"/>
              <a:gd name="T12" fmla="*/ 130 w 518"/>
              <a:gd name="T13" fmla="*/ 380 h 472"/>
              <a:gd name="T14" fmla="*/ 106 w 518"/>
              <a:gd name="T15" fmla="*/ 357 h 472"/>
              <a:gd name="T16" fmla="*/ 84 w 518"/>
              <a:gd name="T17" fmla="*/ 333 h 472"/>
              <a:gd name="T18" fmla="*/ 63 w 518"/>
              <a:gd name="T19" fmla="*/ 307 h 472"/>
              <a:gd name="T20" fmla="*/ 43 w 518"/>
              <a:gd name="T21" fmla="*/ 281 h 472"/>
              <a:gd name="T22" fmla="*/ 21 w 518"/>
              <a:gd name="T23" fmla="*/ 248 h 472"/>
              <a:gd name="T24" fmla="*/ 93 w 518"/>
              <a:gd name="T25" fmla="*/ 301 h 472"/>
              <a:gd name="T26" fmla="*/ 197 w 518"/>
              <a:gd name="T27" fmla="*/ 452 h 472"/>
              <a:gd name="T28" fmla="*/ 326 w 518"/>
              <a:gd name="T29" fmla="*/ 396 h 472"/>
              <a:gd name="T30" fmla="*/ 260 w 518"/>
              <a:gd name="T31" fmla="*/ 205 h 472"/>
              <a:gd name="T32" fmla="*/ 282 w 518"/>
              <a:gd name="T33" fmla="*/ 205 h 472"/>
              <a:gd name="T34" fmla="*/ 247 w 518"/>
              <a:gd name="T35" fmla="*/ 287 h 472"/>
              <a:gd name="T36" fmla="*/ 375 w 518"/>
              <a:gd name="T37" fmla="*/ 205 h 472"/>
              <a:gd name="T38" fmla="*/ 247 w 518"/>
              <a:gd name="T39" fmla="*/ 356 h 472"/>
              <a:gd name="T40" fmla="*/ 446 w 518"/>
              <a:gd name="T41" fmla="*/ 205 h 472"/>
              <a:gd name="T42" fmla="*/ 468 w 518"/>
              <a:gd name="T43" fmla="*/ 205 h 472"/>
              <a:gd name="T44" fmla="*/ 488 w 518"/>
              <a:gd name="T45" fmla="*/ 187 h 472"/>
              <a:gd name="T46" fmla="*/ 445 w 518"/>
              <a:gd name="T47" fmla="*/ 205 h 472"/>
              <a:gd name="T48" fmla="*/ 190 w 518"/>
              <a:gd name="T49" fmla="*/ 205 h 472"/>
              <a:gd name="T50" fmla="*/ 505 w 518"/>
              <a:gd name="T51" fmla="*/ 122 h 472"/>
              <a:gd name="T52" fmla="*/ 151 w 518"/>
              <a:gd name="T53" fmla="*/ 102 h 472"/>
              <a:gd name="T54" fmla="*/ 510 w 518"/>
              <a:gd name="T55" fmla="*/ 71 h 472"/>
              <a:gd name="T56" fmla="*/ 95 w 518"/>
              <a:gd name="T57" fmla="*/ 205 h 472"/>
              <a:gd name="T58" fmla="*/ 353 w 518"/>
              <a:gd name="T59" fmla="*/ 205 h 472"/>
              <a:gd name="T60" fmla="*/ 298 w 518"/>
              <a:gd name="T61" fmla="*/ 27 h 472"/>
              <a:gd name="T62" fmla="*/ 328 w 518"/>
              <a:gd name="T63" fmla="*/ 205 h 472"/>
              <a:gd name="T64" fmla="*/ 247 w 518"/>
              <a:gd name="T65" fmla="*/ 124 h 472"/>
              <a:gd name="T66" fmla="*/ 282 w 518"/>
              <a:gd name="T67" fmla="*/ 205 h 472"/>
              <a:gd name="T68" fmla="*/ 247 w 518"/>
              <a:gd name="T69" fmla="*/ 146 h 472"/>
              <a:gd name="T70" fmla="*/ 410 w 518"/>
              <a:gd name="T71" fmla="*/ 8 h 472"/>
              <a:gd name="T72" fmla="*/ 247 w 518"/>
              <a:gd name="T73" fmla="*/ 193 h 472"/>
              <a:gd name="T74" fmla="*/ 433 w 518"/>
              <a:gd name="T75" fmla="*/ 0 h 472"/>
              <a:gd name="T76" fmla="*/ 430 w 518"/>
              <a:gd name="T77" fmla="*/ 0 h 472"/>
              <a:gd name="T78" fmla="*/ 428 w 518"/>
              <a:gd name="T79" fmla="*/ 0 h 472"/>
              <a:gd name="T80" fmla="*/ 426 w 518"/>
              <a:gd name="T81" fmla="*/ 1 h 472"/>
              <a:gd name="T82" fmla="*/ 424 w 518"/>
              <a:gd name="T83" fmla="*/ 1 h 472"/>
              <a:gd name="T84" fmla="*/ 421 w 518"/>
              <a:gd name="T85" fmla="*/ 1 h 472"/>
              <a:gd name="T86" fmla="*/ 37 w 518"/>
              <a:gd name="T87" fmla="*/ 240 h 472"/>
              <a:gd name="T88" fmla="*/ 58 w 518"/>
              <a:gd name="T89" fmla="*/ 265 h 472"/>
              <a:gd name="T90" fmla="*/ 81 w 518"/>
              <a:gd name="T91" fmla="*/ 289 h 472"/>
              <a:gd name="T92" fmla="*/ 119 w 518"/>
              <a:gd name="T93" fmla="*/ 205 h 472"/>
              <a:gd name="T94" fmla="*/ 247 w 518"/>
              <a:gd name="T95" fmla="*/ 99 h 472"/>
              <a:gd name="T96" fmla="*/ 188 w 518"/>
              <a:gd name="T97" fmla="*/ 205 h 472"/>
              <a:gd name="T98" fmla="*/ 235 w 518"/>
              <a:gd name="T99" fmla="*/ 205 h 472"/>
              <a:gd name="T100" fmla="*/ 247 w 518"/>
              <a:gd name="T101" fmla="*/ 239 h 472"/>
              <a:gd name="T102" fmla="*/ 247 w 518"/>
              <a:gd name="T103" fmla="*/ 286 h 472"/>
              <a:gd name="T104" fmla="*/ 247 w 518"/>
              <a:gd name="T105" fmla="*/ 332 h 472"/>
              <a:gd name="T106" fmla="*/ 247 w 518"/>
              <a:gd name="T107" fmla="*/ 379 h 472"/>
              <a:gd name="T108" fmla="*/ 517 w 518"/>
              <a:gd name="T109" fmla="*/ 7 h 472"/>
              <a:gd name="T110" fmla="*/ 436 w 518"/>
              <a:gd name="T111" fmla="*/ 0 h 4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18" h="472">
                <a:moveTo>
                  <a:pt x="156" y="378"/>
                </a:moveTo>
                <a:cubicBezTo>
                  <a:pt x="156" y="378"/>
                  <a:pt x="156" y="378"/>
                  <a:pt x="156" y="378"/>
                </a:cubicBezTo>
                <a:cubicBezTo>
                  <a:pt x="156" y="382"/>
                  <a:pt x="156" y="382"/>
                  <a:pt x="156" y="382"/>
                </a:cubicBezTo>
                <a:cubicBezTo>
                  <a:pt x="156" y="381"/>
                  <a:pt x="156" y="380"/>
                  <a:pt x="156" y="378"/>
                </a:cubicBezTo>
                <a:moveTo>
                  <a:pt x="157" y="354"/>
                </a:moveTo>
                <a:cubicBezTo>
                  <a:pt x="156" y="355"/>
                  <a:pt x="156" y="355"/>
                  <a:pt x="156" y="355"/>
                </a:cubicBezTo>
                <a:cubicBezTo>
                  <a:pt x="156" y="377"/>
                  <a:pt x="156" y="377"/>
                  <a:pt x="156" y="377"/>
                </a:cubicBezTo>
                <a:cubicBezTo>
                  <a:pt x="157" y="377"/>
                  <a:pt x="157" y="377"/>
                  <a:pt x="157" y="377"/>
                </a:cubicBezTo>
                <a:cubicBezTo>
                  <a:pt x="157" y="369"/>
                  <a:pt x="157" y="362"/>
                  <a:pt x="157" y="354"/>
                </a:cubicBezTo>
                <a:moveTo>
                  <a:pt x="158" y="330"/>
                </a:moveTo>
                <a:cubicBezTo>
                  <a:pt x="147" y="341"/>
                  <a:pt x="147" y="341"/>
                  <a:pt x="147" y="341"/>
                </a:cubicBezTo>
                <a:cubicBezTo>
                  <a:pt x="150" y="342"/>
                  <a:pt x="153" y="344"/>
                  <a:pt x="156" y="345"/>
                </a:cubicBezTo>
                <a:cubicBezTo>
                  <a:pt x="156" y="353"/>
                  <a:pt x="156" y="353"/>
                  <a:pt x="156" y="353"/>
                </a:cubicBezTo>
                <a:cubicBezTo>
                  <a:pt x="157" y="352"/>
                  <a:pt x="157" y="352"/>
                  <a:pt x="157" y="352"/>
                </a:cubicBezTo>
                <a:cubicBezTo>
                  <a:pt x="158" y="345"/>
                  <a:pt x="158" y="338"/>
                  <a:pt x="158" y="330"/>
                </a:cubicBezTo>
                <a:moveTo>
                  <a:pt x="158" y="307"/>
                </a:moveTo>
                <a:cubicBezTo>
                  <a:pt x="133" y="332"/>
                  <a:pt x="133" y="332"/>
                  <a:pt x="133" y="332"/>
                </a:cubicBezTo>
                <a:cubicBezTo>
                  <a:pt x="137" y="335"/>
                  <a:pt x="142" y="338"/>
                  <a:pt x="146" y="340"/>
                </a:cubicBezTo>
                <a:cubicBezTo>
                  <a:pt x="158" y="329"/>
                  <a:pt x="158" y="329"/>
                  <a:pt x="158" y="329"/>
                </a:cubicBezTo>
                <a:cubicBezTo>
                  <a:pt x="158" y="322"/>
                  <a:pt x="158" y="314"/>
                  <a:pt x="158" y="307"/>
                </a:cubicBezTo>
                <a:moveTo>
                  <a:pt x="158" y="284"/>
                </a:moveTo>
                <a:cubicBezTo>
                  <a:pt x="119" y="323"/>
                  <a:pt x="119" y="323"/>
                  <a:pt x="119" y="323"/>
                </a:cubicBezTo>
                <a:cubicBezTo>
                  <a:pt x="123" y="326"/>
                  <a:pt x="127" y="329"/>
                  <a:pt x="132" y="331"/>
                </a:cubicBezTo>
                <a:cubicBezTo>
                  <a:pt x="158" y="305"/>
                  <a:pt x="158" y="305"/>
                  <a:pt x="158" y="305"/>
                </a:cubicBezTo>
                <a:cubicBezTo>
                  <a:pt x="158" y="298"/>
                  <a:pt x="158" y="291"/>
                  <a:pt x="158" y="284"/>
                </a:cubicBezTo>
                <a:moveTo>
                  <a:pt x="157" y="261"/>
                </a:moveTo>
                <a:cubicBezTo>
                  <a:pt x="106" y="312"/>
                  <a:pt x="106" y="312"/>
                  <a:pt x="106" y="312"/>
                </a:cubicBezTo>
                <a:cubicBezTo>
                  <a:pt x="110" y="316"/>
                  <a:pt x="114" y="319"/>
                  <a:pt x="118" y="322"/>
                </a:cubicBezTo>
                <a:cubicBezTo>
                  <a:pt x="158" y="282"/>
                  <a:pt x="158" y="282"/>
                  <a:pt x="158" y="282"/>
                </a:cubicBezTo>
                <a:cubicBezTo>
                  <a:pt x="157" y="275"/>
                  <a:pt x="157" y="268"/>
                  <a:pt x="157" y="261"/>
                </a:cubicBezTo>
                <a:moveTo>
                  <a:pt x="21" y="248"/>
                </a:moveTo>
                <a:cubicBezTo>
                  <a:pt x="13" y="262"/>
                  <a:pt x="6" y="276"/>
                  <a:pt x="0" y="291"/>
                </a:cubicBezTo>
                <a:cubicBezTo>
                  <a:pt x="44" y="341"/>
                  <a:pt x="75" y="403"/>
                  <a:pt x="86" y="472"/>
                </a:cubicBezTo>
                <a:cubicBezTo>
                  <a:pt x="88" y="472"/>
                  <a:pt x="89" y="472"/>
                  <a:pt x="90" y="472"/>
                </a:cubicBezTo>
                <a:cubicBezTo>
                  <a:pt x="111" y="472"/>
                  <a:pt x="130" y="471"/>
                  <a:pt x="150" y="468"/>
                </a:cubicBezTo>
                <a:cubicBezTo>
                  <a:pt x="150" y="463"/>
                  <a:pt x="151" y="458"/>
                  <a:pt x="151" y="453"/>
                </a:cubicBezTo>
                <a:cubicBezTo>
                  <a:pt x="142" y="462"/>
                  <a:pt x="142" y="462"/>
                  <a:pt x="142" y="462"/>
                </a:cubicBezTo>
                <a:cubicBezTo>
                  <a:pt x="142" y="462"/>
                  <a:pt x="141" y="463"/>
                  <a:pt x="140" y="463"/>
                </a:cubicBezTo>
                <a:cubicBezTo>
                  <a:pt x="151" y="452"/>
                  <a:pt x="151" y="452"/>
                  <a:pt x="151" y="452"/>
                </a:cubicBezTo>
                <a:cubicBezTo>
                  <a:pt x="152" y="444"/>
                  <a:pt x="153" y="436"/>
                  <a:pt x="153" y="428"/>
                </a:cubicBezTo>
                <a:cubicBezTo>
                  <a:pt x="117" y="464"/>
                  <a:pt x="117" y="464"/>
                  <a:pt x="117" y="464"/>
                </a:cubicBezTo>
                <a:cubicBezTo>
                  <a:pt x="116" y="464"/>
                  <a:pt x="116" y="465"/>
                  <a:pt x="115" y="465"/>
                </a:cubicBezTo>
                <a:cubicBezTo>
                  <a:pt x="154" y="426"/>
                  <a:pt x="154" y="426"/>
                  <a:pt x="154" y="426"/>
                </a:cubicBezTo>
                <a:cubicBezTo>
                  <a:pt x="154" y="418"/>
                  <a:pt x="155" y="411"/>
                  <a:pt x="155" y="403"/>
                </a:cubicBezTo>
                <a:cubicBezTo>
                  <a:pt x="155" y="403"/>
                  <a:pt x="155" y="403"/>
                  <a:pt x="155" y="403"/>
                </a:cubicBezTo>
                <a:cubicBezTo>
                  <a:pt x="93" y="465"/>
                  <a:pt x="93" y="465"/>
                  <a:pt x="93" y="465"/>
                </a:cubicBezTo>
                <a:cubicBezTo>
                  <a:pt x="93" y="465"/>
                  <a:pt x="92" y="465"/>
                  <a:pt x="91" y="465"/>
                </a:cubicBezTo>
                <a:cubicBezTo>
                  <a:pt x="154" y="402"/>
                  <a:pt x="154" y="402"/>
                  <a:pt x="154" y="402"/>
                </a:cubicBezTo>
                <a:cubicBezTo>
                  <a:pt x="152" y="400"/>
                  <a:pt x="148" y="397"/>
                  <a:pt x="143" y="392"/>
                </a:cubicBezTo>
                <a:cubicBezTo>
                  <a:pt x="88" y="447"/>
                  <a:pt x="88" y="447"/>
                  <a:pt x="88" y="447"/>
                </a:cubicBezTo>
                <a:cubicBezTo>
                  <a:pt x="88" y="446"/>
                  <a:pt x="88" y="446"/>
                  <a:pt x="88" y="446"/>
                </a:cubicBezTo>
                <a:cubicBezTo>
                  <a:pt x="142" y="391"/>
                  <a:pt x="142" y="391"/>
                  <a:pt x="142" y="391"/>
                </a:cubicBezTo>
                <a:cubicBezTo>
                  <a:pt x="138" y="389"/>
                  <a:pt x="135" y="385"/>
                  <a:pt x="130" y="381"/>
                </a:cubicBezTo>
                <a:cubicBezTo>
                  <a:pt x="83" y="428"/>
                  <a:pt x="83" y="428"/>
                  <a:pt x="83" y="428"/>
                </a:cubicBezTo>
                <a:cubicBezTo>
                  <a:pt x="83" y="428"/>
                  <a:pt x="83" y="427"/>
                  <a:pt x="83" y="427"/>
                </a:cubicBezTo>
                <a:cubicBezTo>
                  <a:pt x="130" y="380"/>
                  <a:pt x="130" y="380"/>
                  <a:pt x="130" y="380"/>
                </a:cubicBezTo>
                <a:cubicBezTo>
                  <a:pt x="126" y="377"/>
                  <a:pt x="122" y="374"/>
                  <a:pt x="119" y="370"/>
                </a:cubicBezTo>
                <a:cubicBezTo>
                  <a:pt x="78" y="410"/>
                  <a:pt x="78" y="410"/>
                  <a:pt x="78" y="410"/>
                </a:cubicBezTo>
                <a:cubicBezTo>
                  <a:pt x="78" y="410"/>
                  <a:pt x="78" y="410"/>
                  <a:pt x="77" y="409"/>
                </a:cubicBezTo>
                <a:cubicBezTo>
                  <a:pt x="118" y="369"/>
                  <a:pt x="118" y="369"/>
                  <a:pt x="118" y="369"/>
                </a:cubicBezTo>
                <a:cubicBezTo>
                  <a:pt x="114" y="365"/>
                  <a:pt x="111" y="362"/>
                  <a:pt x="107" y="358"/>
                </a:cubicBezTo>
                <a:cubicBezTo>
                  <a:pt x="72" y="393"/>
                  <a:pt x="72" y="393"/>
                  <a:pt x="72" y="393"/>
                </a:cubicBezTo>
                <a:cubicBezTo>
                  <a:pt x="71" y="393"/>
                  <a:pt x="71" y="393"/>
                  <a:pt x="71" y="392"/>
                </a:cubicBezTo>
                <a:cubicBezTo>
                  <a:pt x="106" y="357"/>
                  <a:pt x="106" y="357"/>
                  <a:pt x="106" y="357"/>
                </a:cubicBezTo>
                <a:cubicBezTo>
                  <a:pt x="103" y="354"/>
                  <a:pt x="99" y="350"/>
                  <a:pt x="96" y="346"/>
                </a:cubicBezTo>
                <a:cubicBezTo>
                  <a:pt x="65" y="377"/>
                  <a:pt x="65" y="377"/>
                  <a:pt x="65" y="377"/>
                </a:cubicBezTo>
                <a:cubicBezTo>
                  <a:pt x="64" y="377"/>
                  <a:pt x="64" y="376"/>
                  <a:pt x="64" y="376"/>
                </a:cubicBezTo>
                <a:cubicBezTo>
                  <a:pt x="95" y="345"/>
                  <a:pt x="95" y="345"/>
                  <a:pt x="95" y="345"/>
                </a:cubicBezTo>
                <a:cubicBezTo>
                  <a:pt x="92" y="341"/>
                  <a:pt x="88" y="338"/>
                  <a:pt x="85" y="334"/>
                </a:cubicBezTo>
                <a:cubicBezTo>
                  <a:pt x="57" y="361"/>
                  <a:pt x="57" y="361"/>
                  <a:pt x="57" y="361"/>
                </a:cubicBezTo>
                <a:cubicBezTo>
                  <a:pt x="57" y="361"/>
                  <a:pt x="57" y="361"/>
                  <a:pt x="56" y="360"/>
                </a:cubicBezTo>
                <a:cubicBezTo>
                  <a:pt x="84" y="333"/>
                  <a:pt x="84" y="333"/>
                  <a:pt x="84" y="333"/>
                </a:cubicBezTo>
                <a:cubicBezTo>
                  <a:pt x="81" y="329"/>
                  <a:pt x="77" y="325"/>
                  <a:pt x="74" y="321"/>
                </a:cubicBezTo>
                <a:cubicBezTo>
                  <a:pt x="49" y="346"/>
                  <a:pt x="49" y="346"/>
                  <a:pt x="49" y="346"/>
                </a:cubicBezTo>
                <a:cubicBezTo>
                  <a:pt x="49" y="346"/>
                  <a:pt x="48" y="346"/>
                  <a:pt x="48" y="345"/>
                </a:cubicBezTo>
                <a:cubicBezTo>
                  <a:pt x="73" y="320"/>
                  <a:pt x="73" y="320"/>
                  <a:pt x="73" y="320"/>
                </a:cubicBezTo>
                <a:cubicBezTo>
                  <a:pt x="70" y="316"/>
                  <a:pt x="67" y="312"/>
                  <a:pt x="63" y="308"/>
                </a:cubicBezTo>
                <a:cubicBezTo>
                  <a:pt x="40" y="332"/>
                  <a:pt x="40" y="332"/>
                  <a:pt x="40" y="332"/>
                </a:cubicBezTo>
                <a:cubicBezTo>
                  <a:pt x="40" y="331"/>
                  <a:pt x="40" y="331"/>
                  <a:pt x="39" y="331"/>
                </a:cubicBezTo>
                <a:cubicBezTo>
                  <a:pt x="63" y="307"/>
                  <a:pt x="63" y="307"/>
                  <a:pt x="63" y="307"/>
                </a:cubicBezTo>
                <a:cubicBezTo>
                  <a:pt x="60" y="303"/>
                  <a:pt x="56" y="299"/>
                  <a:pt x="53" y="295"/>
                </a:cubicBezTo>
                <a:cubicBezTo>
                  <a:pt x="31" y="318"/>
                  <a:pt x="31" y="318"/>
                  <a:pt x="31" y="318"/>
                </a:cubicBezTo>
                <a:cubicBezTo>
                  <a:pt x="30" y="318"/>
                  <a:pt x="30" y="317"/>
                  <a:pt x="30" y="317"/>
                </a:cubicBezTo>
                <a:cubicBezTo>
                  <a:pt x="53" y="294"/>
                  <a:pt x="53" y="294"/>
                  <a:pt x="53" y="294"/>
                </a:cubicBezTo>
                <a:cubicBezTo>
                  <a:pt x="50" y="290"/>
                  <a:pt x="46" y="286"/>
                  <a:pt x="43" y="282"/>
                </a:cubicBezTo>
                <a:cubicBezTo>
                  <a:pt x="21" y="305"/>
                  <a:pt x="21" y="305"/>
                  <a:pt x="21" y="305"/>
                </a:cubicBezTo>
                <a:cubicBezTo>
                  <a:pt x="20" y="304"/>
                  <a:pt x="20" y="304"/>
                  <a:pt x="20" y="304"/>
                </a:cubicBezTo>
                <a:cubicBezTo>
                  <a:pt x="43" y="281"/>
                  <a:pt x="43" y="281"/>
                  <a:pt x="43" y="281"/>
                </a:cubicBezTo>
                <a:cubicBezTo>
                  <a:pt x="40" y="277"/>
                  <a:pt x="37" y="272"/>
                  <a:pt x="34" y="268"/>
                </a:cubicBezTo>
                <a:cubicBezTo>
                  <a:pt x="10" y="292"/>
                  <a:pt x="10" y="292"/>
                  <a:pt x="10" y="292"/>
                </a:cubicBezTo>
                <a:cubicBezTo>
                  <a:pt x="10" y="292"/>
                  <a:pt x="10" y="291"/>
                  <a:pt x="9" y="291"/>
                </a:cubicBezTo>
                <a:cubicBezTo>
                  <a:pt x="33" y="267"/>
                  <a:pt x="33" y="267"/>
                  <a:pt x="33" y="267"/>
                </a:cubicBezTo>
                <a:cubicBezTo>
                  <a:pt x="30" y="263"/>
                  <a:pt x="27" y="258"/>
                  <a:pt x="25" y="254"/>
                </a:cubicBezTo>
                <a:cubicBezTo>
                  <a:pt x="24" y="255"/>
                  <a:pt x="24" y="255"/>
                  <a:pt x="24" y="255"/>
                </a:cubicBezTo>
                <a:cubicBezTo>
                  <a:pt x="24" y="254"/>
                  <a:pt x="24" y="254"/>
                  <a:pt x="24" y="254"/>
                </a:cubicBezTo>
                <a:cubicBezTo>
                  <a:pt x="23" y="252"/>
                  <a:pt x="22" y="250"/>
                  <a:pt x="21" y="248"/>
                </a:cubicBezTo>
                <a:moveTo>
                  <a:pt x="156" y="239"/>
                </a:moveTo>
                <a:cubicBezTo>
                  <a:pt x="93" y="302"/>
                  <a:pt x="93" y="302"/>
                  <a:pt x="93" y="302"/>
                </a:cubicBezTo>
                <a:cubicBezTo>
                  <a:pt x="97" y="305"/>
                  <a:pt x="101" y="308"/>
                  <a:pt x="105" y="312"/>
                </a:cubicBezTo>
                <a:cubicBezTo>
                  <a:pt x="157" y="260"/>
                  <a:pt x="157" y="260"/>
                  <a:pt x="157" y="260"/>
                </a:cubicBezTo>
                <a:cubicBezTo>
                  <a:pt x="157" y="253"/>
                  <a:pt x="156" y="246"/>
                  <a:pt x="156" y="239"/>
                </a:cubicBezTo>
                <a:moveTo>
                  <a:pt x="155" y="217"/>
                </a:moveTo>
                <a:cubicBezTo>
                  <a:pt x="81" y="290"/>
                  <a:pt x="81" y="290"/>
                  <a:pt x="81" y="290"/>
                </a:cubicBezTo>
                <a:cubicBezTo>
                  <a:pt x="85" y="294"/>
                  <a:pt x="89" y="297"/>
                  <a:pt x="93" y="301"/>
                </a:cubicBezTo>
                <a:cubicBezTo>
                  <a:pt x="156" y="238"/>
                  <a:pt x="156" y="238"/>
                  <a:pt x="156" y="238"/>
                </a:cubicBezTo>
                <a:cubicBezTo>
                  <a:pt x="155" y="231"/>
                  <a:pt x="155" y="224"/>
                  <a:pt x="155" y="217"/>
                </a:cubicBezTo>
                <a:moveTo>
                  <a:pt x="230" y="443"/>
                </a:moveTo>
                <a:cubicBezTo>
                  <a:pt x="247" y="425"/>
                  <a:pt x="247" y="425"/>
                  <a:pt x="247" y="425"/>
                </a:cubicBezTo>
                <a:cubicBezTo>
                  <a:pt x="247" y="427"/>
                  <a:pt x="247" y="427"/>
                  <a:pt x="247" y="427"/>
                </a:cubicBezTo>
                <a:cubicBezTo>
                  <a:pt x="233" y="442"/>
                  <a:pt x="233" y="442"/>
                  <a:pt x="233" y="442"/>
                </a:cubicBezTo>
                <a:cubicBezTo>
                  <a:pt x="232" y="442"/>
                  <a:pt x="231" y="442"/>
                  <a:pt x="230" y="443"/>
                </a:cubicBezTo>
                <a:moveTo>
                  <a:pt x="197" y="452"/>
                </a:moveTo>
                <a:cubicBezTo>
                  <a:pt x="247" y="402"/>
                  <a:pt x="247" y="402"/>
                  <a:pt x="247" y="402"/>
                </a:cubicBezTo>
                <a:cubicBezTo>
                  <a:pt x="247" y="404"/>
                  <a:pt x="247" y="404"/>
                  <a:pt x="247" y="404"/>
                </a:cubicBezTo>
                <a:cubicBezTo>
                  <a:pt x="199" y="452"/>
                  <a:pt x="199" y="452"/>
                  <a:pt x="199" y="452"/>
                </a:cubicBezTo>
                <a:cubicBezTo>
                  <a:pt x="199" y="452"/>
                  <a:pt x="198" y="452"/>
                  <a:pt x="197" y="452"/>
                </a:cubicBezTo>
                <a:moveTo>
                  <a:pt x="321" y="399"/>
                </a:moveTo>
                <a:cubicBezTo>
                  <a:pt x="444" y="275"/>
                  <a:pt x="444" y="275"/>
                  <a:pt x="444" y="275"/>
                </a:cubicBezTo>
                <a:cubicBezTo>
                  <a:pt x="443" y="277"/>
                  <a:pt x="442" y="278"/>
                  <a:pt x="441" y="280"/>
                </a:cubicBezTo>
                <a:cubicBezTo>
                  <a:pt x="326" y="396"/>
                  <a:pt x="326" y="396"/>
                  <a:pt x="326" y="396"/>
                </a:cubicBezTo>
                <a:cubicBezTo>
                  <a:pt x="324" y="397"/>
                  <a:pt x="322" y="398"/>
                  <a:pt x="321" y="399"/>
                </a:cubicBezTo>
                <a:moveTo>
                  <a:pt x="269" y="427"/>
                </a:moveTo>
                <a:cubicBezTo>
                  <a:pt x="473" y="223"/>
                  <a:pt x="473" y="223"/>
                  <a:pt x="473" y="223"/>
                </a:cubicBezTo>
                <a:cubicBezTo>
                  <a:pt x="472" y="224"/>
                  <a:pt x="472" y="225"/>
                  <a:pt x="471" y="226"/>
                </a:cubicBezTo>
                <a:cubicBezTo>
                  <a:pt x="272" y="426"/>
                  <a:pt x="272" y="426"/>
                  <a:pt x="272" y="426"/>
                </a:cubicBezTo>
                <a:cubicBezTo>
                  <a:pt x="271" y="426"/>
                  <a:pt x="270" y="427"/>
                  <a:pt x="269" y="427"/>
                </a:cubicBezTo>
                <a:moveTo>
                  <a:pt x="258" y="205"/>
                </a:moveTo>
                <a:cubicBezTo>
                  <a:pt x="260" y="205"/>
                  <a:pt x="260" y="205"/>
                  <a:pt x="260" y="205"/>
                </a:cubicBezTo>
                <a:cubicBezTo>
                  <a:pt x="247" y="218"/>
                  <a:pt x="247" y="218"/>
                  <a:pt x="247" y="218"/>
                </a:cubicBezTo>
                <a:cubicBezTo>
                  <a:pt x="247" y="216"/>
                  <a:pt x="247" y="216"/>
                  <a:pt x="247" y="216"/>
                </a:cubicBezTo>
                <a:cubicBezTo>
                  <a:pt x="258" y="205"/>
                  <a:pt x="258" y="205"/>
                  <a:pt x="258" y="205"/>
                </a:cubicBezTo>
                <a:moveTo>
                  <a:pt x="282" y="205"/>
                </a:moveTo>
                <a:cubicBezTo>
                  <a:pt x="283" y="205"/>
                  <a:pt x="283" y="205"/>
                  <a:pt x="283" y="205"/>
                </a:cubicBezTo>
                <a:cubicBezTo>
                  <a:pt x="247" y="241"/>
                  <a:pt x="247" y="241"/>
                  <a:pt x="247" y="241"/>
                </a:cubicBezTo>
                <a:cubicBezTo>
                  <a:pt x="247" y="239"/>
                  <a:pt x="247" y="239"/>
                  <a:pt x="247" y="239"/>
                </a:cubicBezTo>
                <a:cubicBezTo>
                  <a:pt x="282" y="205"/>
                  <a:pt x="282" y="205"/>
                  <a:pt x="282" y="205"/>
                </a:cubicBezTo>
                <a:moveTo>
                  <a:pt x="305" y="205"/>
                </a:moveTo>
                <a:cubicBezTo>
                  <a:pt x="307" y="205"/>
                  <a:pt x="307" y="205"/>
                  <a:pt x="307" y="205"/>
                </a:cubicBezTo>
                <a:cubicBezTo>
                  <a:pt x="247" y="264"/>
                  <a:pt x="247" y="264"/>
                  <a:pt x="247" y="264"/>
                </a:cubicBezTo>
                <a:cubicBezTo>
                  <a:pt x="247" y="262"/>
                  <a:pt x="247" y="262"/>
                  <a:pt x="247" y="262"/>
                </a:cubicBezTo>
                <a:cubicBezTo>
                  <a:pt x="305" y="205"/>
                  <a:pt x="305" y="205"/>
                  <a:pt x="305" y="205"/>
                </a:cubicBezTo>
                <a:moveTo>
                  <a:pt x="328" y="205"/>
                </a:moveTo>
                <a:cubicBezTo>
                  <a:pt x="330" y="205"/>
                  <a:pt x="330" y="205"/>
                  <a:pt x="330" y="205"/>
                </a:cubicBezTo>
                <a:cubicBezTo>
                  <a:pt x="247" y="287"/>
                  <a:pt x="247" y="287"/>
                  <a:pt x="247" y="287"/>
                </a:cubicBezTo>
                <a:cubicBezTo>
                  <a:pt x="247" y="286"/>
                  <a:pt x="247" y="286"/>
                  <a:pt x="247" y="286"/>
                </a:cubicBezTo>
                <a:cubicBezTo>
                  <a:pt x="328" y="205"/>
                  <a:pt x="328" y="205"/>
                  <a:pt x="328" y="205"/>
                </a:cubicBezTo>
                <a:moveTo>
                  <a:pt x="351" y="205"/>
                </a:moveTo>
                <a:cubicBezTo>
                  <a:pt x="353" y="205"/>
                  <a:pt x="353" y="205"/>
                  <a:pt x="353" y="205"/>
                </a:cubicBezTo>
                <a:cubicBezTo>
                  <a:pt x="247" y="311"/>
                  <a:pt x="247" y="311"/>
                  <a:pt x="247" y="311"/>
                </a:cubicBezTo>
                <a:cubicBezTo>
                  <a:pt x="247" y="309"/>
                  <a:pt x="247" y="309"/>
                  <a:pt x="247" y="309"/>
                </a:cubicBezTo>
                <a:cubicBezTo>
                  <a:pt x="351" y="205"/>
                  <a:pt x="351" y="205"/>
                  <a:pt x="351" y="205"/>
                </a:cubicBezTo>
                <a:moveTo>
                  <a:pt x="375" y="205"/>
                </a:moveTo>
                <a:cubicBezTo>
                  <a:pt x="376" y="205"/>
                  <a:pt x="376" y="205"/>
                  <a:pt x="376" y="205"/>
                </a:cubicBezTo>
                <a:cubicBezTo>
                  <a:pt x="247" y="334"/>
                  <a:pt x="247" y="334"/>
                  <a:pt x="247" y="334"/>
                </a:cubicBezTo>
                <a:cubicBezTo>
                  <a:pt x="247" y="332"/>
                  <a:pt x="247" y="332"/>
                  <a:pt x="247" y="332"/>
                </a:cubicBezTo>
                <a:cubicBezTo>
                  <a:pt x="375" y="205"/>
                  <a:pt x="375" y="205"/>
                  <a:pt x="375" y="205"/>
                </a:cubicBezTo>
                <a:moveTo>
                  <a:pt x="398" y="205"/>
                </a:moveTo>
                <a:cubicBezTo>
                  <a:pt x="400" y="205"/>
                  <a:pt x="400" y="205"/>
                  <a:pt x="400" y="205"/>
                </a:cubicBezTo>
                <a:cubicBezTo>
                  <a:pt x="247" y="357"/>
                  <a:pt x="247" y="357"/>
                  <a:pt x="247" y="357"/>
                </a:cubicBezTo>
                <a:cubicBezTo>
                  <a:pt x="247" y="356"/>
                  <a:pt x="247" y="356"/>
                  <a:pt x="247" y="356"/>
                </a:cubicBezTo>
                <a:cubicBezTo>
                  <a:pt x="398" y="205"/>
                  <a:pt x="398" y="205"/>
                  <a:pt x="398" y="205"/>
                </a:cubicBezTo>
                <a:moveTo>
                  <a:pt x="421" y="205"/>
                </a:moveTo>
                <a:cubicBezTo>
                  <a:pt x="423" y="205"/>
                  <a:pt x="423" y="205"/>
                  <a:pt x="423" y="205"/>
                </a:cubicBezTo>
                <a:cubicBezTo>
                  <a:pt x="247" y="381"/>
                  <a:pt x="247" y="381"/>
                  <a:pt x="247" y="381"/>
                </a:cubicBezTo>
                <a:cubicBezTo>
                  <a:pt x="247" y="379"/>
                  <a:pt x="247" y="379"/>
                  <a:pt x="247" y="379"/>
                </a:cubicBezTo>
                <a:cubicBezTo>
                  <a:pt x="421" y="205"/>
                  <a:pt x="421" y="205"/>
                  <a:pt x="421" y="205"/>
                </a:cubicBezTo>
                <a:moveTo>
                  <a:pt x="445" y="205"/>
                </a:moveTo>
                <a:cubicBezTo>
                  <a:pt x="446" y="205"/>
                  <a:pt x="446" y="205"/>
                  <a:pt x="446" y="205"/>
                </a:cubicBezTo>
                <a:cubicBezTo>
                  <a:pt x="247" y="404"/>
                  <a:pt x="247" y="404"/>
                  <a:pt x="247" y="404"/>
                </a:cubicBezTo>
                <a:cubicBezTo>
                  <a:pt x="247" y="402"/>
                  <a:pt x="247" y="402"/>
                  <a:pt x="247" y="402"/>
                </a:cubicBezTo>
                <a:cubicBezTo>
                  <a:pt x="445" y="205"/>
                  <a:pt x="445" y="205"/>
                  <a:pt x="445" y="205"/>
                </a:cubicBezTo>
                <a:moveTo>
                  <a:pt x="468" y="205"/>
                </a:moveTo>
                <a:cubicBezTo>
                  <a:pt x="470" y="205"/>
                  <a:pt x="470" y="205"/>
                  <a:pt x="470" y="205"/>
                </a:cubicBezTo>
                <a:cubicBezTo>
                  <a:pt x="247" y="427"/>
                  <a:pt x="247" y="427"/>
                  <a:pt x="247" y="427"/>
                </a:cubicBezTo>
                <a:cubicBezTo>
                  <a:pt x="247" y="425"/>
                  <a:pt x="247" y="425"/>
                  <a:pt x="247" y="425"/>
                </a:cubicBezTo>
                <a:cubicBezTo>
                  <a:pt x="468" y="205"/>
                  <a:pt x="468" y="205"/>
                  <a:pt x="468" y="205"/>
                </a:cubicBezTo>
                <a:moveTo>
                  <a:pt x="235" y="205"/>
                </a:moveTo>
                <a:cubicBezTo>
                  <a:pt x="247" y="193"/>
                  <a:pt x="247" y="193"/>
                  <a:pt x="247" y="193"/>
                </a:cubicBezTo>
                <a:cubicBezTo>
                  <a:pt x="247" y="194"/>
                  <a:pt x="247" y="194"/>
                  <a:pt x="247" y="194"/>
                </a:cubicBezTo>
                <a:cubicBezTo>
                  <a:pt x="237" y="205"/>
                  <a:pt x="237" y="205"/>
                  <a:pt x="237" y="205"/>
                </a:cubicBezTo>
                <a:cubicBezTo>
                  <a:pt x="235" y="205"/>
                  <a:pt x="235" y="205"/>
                  <a:pt x="235" y="205"/>
                </a:cubicBezTo>
                <a:moveTo>
                  <a:pt x="468" y="205"/>
                </a:moveTo>
                <a:cubicBezTo>
                  <a:pt x="488" y="184"/>
                  <a:pt x="488" y="184"/>
                  <a:pt x="488" y="184"/>
                </a:cubicBezTo>
                <a:cubicBezTo>
                  <a:pt x="488" y="185"/>
                  <a:pt x="488" y="186"/>
                  <a:pt x="488" y="187"/>
                </a:cubicBezTo>
                <a:cubicBezTo>
                  <a:pt x="470" y="205"/>
                  <a:pt x="470" y="205"/>
                  <a:pt x="470" y="205"/>
                </a:cubicBezTo>
                <a:cubicBezTo>
                  <a:pt x="468" y="205"/>
                  <a:pt x="468" y="205"/>
                  <a:pt x="468" y="205"/>
                </a:cubicBezTo>
                <a:moveTo>
                  <a:pt x="212" y="205"/>
                </a:moveTo>
                <a:cubicBezTo>
                  <a:pt x="247" y="169"/>
                  <a:pt x="247" y="169"/>
                  <a:pt x="247" y="169"/>
                </a:cubicBezTo>
                <a:cubicBezTo>
                  <a:pt x="247" y="171"/>
                  <a:pt x="247" y="171"/>
                  <a:pt x="247" y="171"/>
                </a:cubicBezTo>
                <a:cubicBezTo>
                  <a:pt x="213" y="205"/>
                  <a:pt x="213" y="205"/>
                  <a:pt x="213" y="205"/>
                </a:cubicBezTo>
                <a:cubicBezTo>
                  <a:pt x="212" y="205"/>
                  <a:pt x="212" y="205"/>
                  <a:pt x="212" y="205"/>
                </a:cubicBezTo>
                <a:moveTo>
                  <a:pt x="445" y="205"/>
                </a:moveTo>
                <a:cubicBezTo>
                  <a:pt x="498" y="151"/>
                  <a:pt x="498" y="151"/>
                  <a:pt x="498" y="151"/>
                </a:cubicBezTo>
                <a:cubicBezTo>
                  <a:pt x="498" y="152"/>
                  <a:pt x="498" y="153"/>
                  <a:pt x="498" y="153"/>
                </a:cubicBezTo>
                <a:cubicBezTo>
                  <a:pt x="446" y="205"/>
                  <a:pt x="446" y="205"/>
                  <a:pt x="446" y="205"/>
                </a:cubicBezTo>
                <a:cubicBezTo>
                  <a:pt x="445" y="205"/>
                  <a:pt x="445" y="205"/>
                  <a:pt x="445" y="205"/>
                </a:cubicBezTo>
                <a:moveTo>
                  <a:pt x="188" y="205"/>
                </a:moveTo>
                <a:cubicBezTo>
                  <a:pt x="247" y="146"/>
                  <a:pt x="247" y="146"/>
                  <a:pt x="247" y="146"/>
                </a:cubicBezTo>
                <a:cubicBezTo>
                  <a:pt x="247" y="148"/>
                  <a:pt x="247" y="148"/>
                  <a:pt x="247" y="148"/>
                </a:cubicBezTo>
                <a:cubicBezTo>
                  <a:pt x="190" y="205"/>
                  <a:pt x="190" y="205"/>
                  <a:pt x="190" y="205"/>
                </a:cubicBezTo>
                <a:cubicBezTo>
                  <a:pt x="188" y="205"/>
                  <a:pt x="188" y="205"/>
                  <a:pt x="188" y="205"/>
                </a:cubicBezTo>
                <a:moveTo>
                  <a:pt x="165" y="205"/>
                </a:moveTo>
                <a:cubicBezTo>
                  <a:pt x="247" y="123"/>
                  <a:pt x="247" y="123"/>
                  <a:pt x="247" y="123"/>
                </a:cubicBezTo>
                <a:cubicBezTo>
                  <a:pt x="247" y="124"/>
                  <a:pt x="247" y="124"/>
                  <a:pt x="247" y="124"/>
                </a:cubicBezTo>
                <a:cubicBezTo>
                  <a:pt x="167" y="205"/>
                  <a:pt x="167" y="205"/>
                  <a:pt x="167" y="205"/>
                </a:cubicBezTo>
                <a:cubicBezTo>
                  <a:pt x="165" y="205"/>
                  <a:pt x="165" y="205"/>
                  <a:pt x="165" y="205"/>
                </a:cubicBezTo>
                <a:moveTo>
                  <a:pt x="421" y="205"/>
                </a:moveTo>
                <a:cubicBezTo>
                  <a:pt x="505" y="122"/>
                  <a:pt x="505" y="122"/>
                  <a:pt x="505" y="122"/>
                </a:cubicBezTo>
                <a:cubicBezTo>
                  <a:pt x="504" y="122"/>
                  <a:pt x="504" y="123"/>
                  <a:pt x="504" y="124"/>
                </a:cubicBezTo>
                <a:cubicBezTo>
                  <a:pt x="423" y="205"/>
                  <a:pt x="423" y="205"/>
                  <a:pt x="423" y="205"/>
                </a:cubicBezTo>
                <a:cubicBezTo>
                  <a:pt x="421" y="205"/>
                  <a:pt x="421" y="205"/>
                  <a:pt x="421" y="205"/>
                </a:cubicBezTo>
                <a:moveTo>
                  <a:pt x="151" y="102"/>
                </a:moveTo>
                <a:cubicBezTo>
                  <a:pt x="154" y="101"/>
                  <a:pt x="156" y="99"/>
                  <a:pt x="158" y="97"/>
                </a:cubicBezTo>
                <a:cubicBezTo>
                  <a:pt x="63" y="193"/>
                  <a:pt x="63" y="193"/>
                  <a:pt x="63" y="193"/>
                </a:cubicBezTo>
                <a:cubicBezTo>
                  <a:pt x="64" y="190"/>
                  <a:pt x="66" y="188"/>
                  <a:pt x="68" y="186"/>
                </a:cubicBezTo>
                <a:cubicBezTo>
                  <a:pt x="151" y="102"/>
                  <a:pt x="151" y="102"/>
                  <a:pt x="151" y="102"/>
                </a:cubicBezTo>
                <a:moveTo>
                  <a:pt x="398" y="205"/>
                </a:moveTo>
                <a:cubicBezTo>
                  <a:pt x="508" y="95"/>
                  <a:pt x="508" y="95"/>
                  <a:pt x="508" y="95"/>
                </a:cubicBezTo>
                <a:cubicBezTo>
                  <a:pt x="508" y="95"/>
                  <a:pt x="508" y="96"/>
                  <a:pt x="508" y="96"/>
                </a:cubicBezTo>
                <a:cubicBezTo>
                  <a:pt x="400" y="205"/>
                  <a:pt x="400" y="205"/>
                  <a:pt x="400" y="205"/>
                </a:cubicBezTo>
                <a:cubicBezTo>
                  <a:pt x="398" y="205"/>
                  <a:pt x="398" y="205"/>
                  <a:pt x="398" y="205"/>
                </a:cubicBezTo>
                <a:moveTo>
                  <a:pt x="375" y="205"/>
                </a:moveTo>
                <a:cubicBezTo>
                  <a:pt x="510" y="69"/>
                  <a:pt x="510" y="69"/>
                  <a:pt x="510" y="69"/>
                </a:cubicBezTo>
                <a:cubicBezTo>
                  <a:pt x="510" y="70"/>
                  <a:pt x="510" y="70"/>
                  <a:pt x="510" y="71"/>
                </a:cubicBezTo>
                <a:cubicBezTo>
                  <a:pt x="376" y="205"/>
                  <a:pt x="376" y="205"/>
                  <a:pt x="376" y="205"/>
                </a:cubicBezTo>
                <a:cubicBezTo>
                  <a:pt x="375" y="205"/>
                  <a:pt x="375" y="205"/>
                  <a:pt x="375" y="205"/>
                </a:cubicBezTo>
                <a:moveTo>
                  <a:pt x="217" y="60"/>
                </a:moveTo>
                <a:cubicBezTo>
                  <a:pt x="218" y="60"/>
                  <a:pt x="219" y="59"/>
                  <a:pt x="220" y="58"/>
                </a:cubicBezTo>
                <a:cubicBezTo>
                  <a:pt x="74" y="205"/>
                  <a:pt x="74" y="205"/>
                  <a:pt x="74" y="205"/>
                </a:cubicBezTo>
                <a:cubicBezTo>
                  <a:pt x="72" y="205"/>
                  <a:pt x="72" y="205"/>
                  <a:pt x="72" y="205"/>
                </a:cubicBezTo>
                <a:cubicBezTo>
                  <a:pt x="217" y="60"/>
                  <a:pt x="217" y="60"/>
                  <a:pt x="217" y="60"/>
                </a:cubicBezTo>
                <a:moveTo>
                  <a:pt x="95" y="205"/>
                </a:moveTo>
                <a:cubicBezTo>
                  <a:pt x="247" y="53"/>
                  <a:pt x="247" y="53"/>
                  <a:pt x="247" y="53"/>
                </a:cubicBezTo>
                <a:cubicBezTo>
                  <a:pt x="247" y="55"/>
                  <a:pt x="247" y="55"/>
                  <a:pt x="247" y="55"/>
                </a:cubicBezTo>
                <a:cubicBezTo>
                  <a:pt x="97" y="205"/>
                  <a:pt x="97" y="205"/>
                  <a:pt x="97" y="205"/>
                </a:cubicBezTo>
                <a:cubicBezTo>
                  <a:pt x="95" y="205"/>
                  <a:pt x="95" y="205"/>
                  <a:pt x="95" y="205"/>
                </a:cubicBezTo>
                <a:moveTo>
                  <a:pt x="351" y="205"/>
                </a:moveTo>
                <a:cubicBezTo>
                  <a:pt x="511" y="46"/>
                  <a:pt x="511" y="46"/>
                  <a:pt x="511" y="46"/>
                </a:cubicBezTo>
                <a:cubicBezTo>
                  <a:pt x="511" y="46"/>
                  <a:pt x="511" y="47"/>
                  <a:pt x="511" y="47"/>
                </a:cubicBezTo>
                <a:cubicBezTo>
                  <a:pt x="353" y="205"/>
                  <a:pt x="353" y="205"/>
                  <a:pt x="353" y="205"/>
                </a:cubicBezTo>
                <a:cubicBezTo>
                  <a:pt x="351" y="205"/>
                  <a:pt x="351" y="205"/>
                  <a:pt x="351" y="205"/>
                </a:cubicBezTo>
                <a:moveTo>
                  <a:pt x="260" y="40"/>
                </a:moveTo>
                <a:cubicBezTo>
                  <a:pt x="261" y="40"/>
                  <a:pt x="262" y="39"/>
                  <a:pt x="263" y="39"/>
                </a:cubicBezTo>
                <a:cubicBezTo>
                  <a:pt x="247" y="55"/>
                  <a:pt x="247" y="55"/>
                  <a:pt x="247" y="55"/>
                </a:cubicBezTo>
                <a:cubicBezTo>
                  <a:pt x="247" y="53"/>
                  <a:pt x="247" y="53"/>
                  <a:pt x="247" y="53"/>
                </a:cubicBezTo>
                <a:cubicBezTo>
                  <a:pt x="260" y="40"/>
                  <a:pt x="260" y="40"/>
                  <a:pt x="260" y="40"/>
                </a:cubicBezTo>
                <a:moveTo>
                  <a:pt x="296" y="27"/>
                </a:moveTo>
                <a:cubicBezTo>
                  <a:pt x="297" y="27"/>
                  <a:pt x="298" y="27"/>
                  <a:pt x="298" y="27"/>
                </a:cubicBezTo>
                <a:cubicBezTo>
                  <a:pt x="247" y="78"/>
                  <a:pt x="247" y="78"/>
                  <a:pt x="247" y="78"/>
                </a:cubicBezTo>
                <a:cubicBezTo>
                  <a:pt x="247" y="76"/>
                  <a:pt x="247" y="76"/>
                  <a:pt x="247" y="76"/>
                </a:cubicBezTo>
                <a:cubicBezTo>
                  <a:pt x="296" y="27"/>
                  <a:pt x="296" y="27"/>
                  <a:pt x="296" y="27"/>
                </a:cubicBezTo>
                <a:moveTo>
                  <a:pt x="328" y="205"/>
                </a:moveTo>
                <a:cubicBezTo>
                  <a:pt x="510" y="23"/>
                  <a:pt x="510" y="23"/>
                  <a:pt x="510" y="23"/>
                </a:cubicBezTo>
                <a:cubicBezTo>
                  <a:pt x="510" y="24"/>
                  <a:pt x="510" y="24"/>
                  <a:pt x="510" y="25"/>
                </a:cubicBezTo>
                <a:cubicBezTo>
                  <a:pt x="330" y="205"/>
                  <a:pt x="330" y="205"/>
                  <a:pt x="330" y="205"/>
                </a:cubicBezTo>
                <a:cubicBezTo>
                  <a:pt x="328" y="205"/>
                  <a:pt x="328" y="205"/>
                  <a:pt x="328" y="205"/>
                </a:cubicBezTo>
                <a:moveTo>
                  <a:pt x="328" y="19"/>
                </a:moveTo>
                <a:cubicBezTo>
                  <a:pt x="329" y="19"/>
                  <a:pt x="329" y="19"/>
                  <a:pt x="330" y="18"/>
                </a:cubicBezTo>
                <a:cubicBezTo>
                  <a:pt x="247" y="101"/>
                  <a:pt x="247" y="101"/>
                  <a:pt x="247" y="101"/>
                </a:cubicBezTo>
                <a:cubicBezTo>
                  <a:pt x="247" y="99"/>
                  <a:pt x="247" y="99"/>
                  <a:pt x="247" y="99"/>
                </a:cubicBezTo>
                <a:cubicBezTo>
                  <a:pt x="328" y="19"/>
                  <a:pt x="328" y="19"/>
                  <a:pt x="328" y="19"/>
                </a:cubicBezTo>
                <a:moveTo>
                  <a:pt x="357" y="13"/>
                </a:moveTo>
                <a:cubicBezTo>
                  <a:pt x="357" y="13"/>
                  <a:pt x="358" y="13"/>
                  <a:pt x="359" y="13"/>
                </a:cubicBezTo>
                <a:cubicBezTo>
                  <a:pt x="247" y="124"/>
                  <a:pt x="247" y="124"/>
                  <a:pt x="247" y="124"/>
                </a:cubicBezTo>
                <a:cubicBezTo>
                  <a:pt x="247" y="123"/>
                  <a:pt x="247" y="123"/>
                  <a:pt x="247" y="123"/>
                </a:cubicBezTo>
                <a:cubicBezTo>
                  <a:pt x="357" y="13"/>
                  <a:pt x="357" y="13"/>
                  <a:pt x="357" y="13"/>
                </a:cubicBezTo>
                <a:moveTo>
                  <a:pt x="305" y="205"/>
                </a:moveTo>
                <a:cubicBezTo>
                  <a:pt x="497" y="12"/>
                  <a:pt x="497" y="12"/>
                  <a:pt x="497" y="12"/>
                </a:cubicBezTo>
                <a:cubicBezTo>
                  <a:pt x="498" y="12"/>
                  <a:pt x="498" y="12"/>
                  <a:pt x="499" y="13"/>
                </a:cubicBezTo>
                <a:cubicBezTo>
                  <a:pt x="306" y="205"/>
                  <a:pt x="306" y="205"/>
                  <a:pt x="306" y="205"/>
                </a:cubicBezTo>
                <a:cubicBezTo>
                  <a:pt x="305" y="205"/>
                  <a:pt x="305" y="205"/>
                  <a:pt x="305" y="205"/>
                </a:cubicBezTo>
                <a:moveTo>
                  <a:pt x="282" y="205"/>
                </a:moveTo>
                <a:cubicBezTo>
                  <a:pt x="477" y="10"/>
                  <a:pt x="477" y="10"/>
                  <a:pt x="477" y="10"/>
                </a:cubicBezTo>
                <a:cubicBezTo>
                  <a:pt x="477" y="10"/>
                  <a:pt x="478" y="10"/>
                  <a:pt x="478" y="10"/>
                </a:cubicBezTo>
                <a:cubicBezTo>
                  <a:pt x="283" y="205"/>
                  <a:pt x="283" y="205"/>
                  <a:pt x="283" y="205"/>
                </a:cubicBezTo>
                <a:cubicBezTo>
                  <a:pt x="282" y="205"/>
                  <a:pt x="282" y="205"/>
                  <a:pt x="282" y="205"/>
                </a:cubicBezTo>
                <a:moveTo>
                  <a:pt x="384" y="10"/>
                </a:moveTo>
                <a:cubicBezTo>
                  <a:pt x="384" y="10"/>
                  <a:pt x="385" y="10"/>
                  <a:pt x="385" y="10"/>
                </a:cubicBezTo>
                <a:cubicBezTo>
                  <a:pt x="247" y="148"/>
                  <a:pt x="247" y="148"/>
                  <a:pt x="247" y="148"/>
                </a:cubicBezTo>
                <a:cubicBezTo>
                  <a:pt x="247" y="146"/>
                  <a:pt x="247" y="146"/>
                  <a:pt x="247" y="146"/>
                </a:cubicBezTo>
                <a:cubicBezTo>
                  <a:pt x="384" y="10"/>
                  <a:pt x="384" y="10"/>
                  <a:pt x="384" y="10"/>
                </a:cubicBezTo>
                <a:moveTo>
                  <a:pt x="258" y="205"/>
                </a:moveTo>
                <a:cubicBezTo>
                  <a:pt x="455" y="8"/>
                  <a:pt x="455" y="8"/>
                  <a:pt x="455" y="8"/>
                </a:cubicBezTo>
                <a:cubicBezTo>
                  <a:pt x="456" y="8"/>
                  <a:pt x="456" y="8"/>
                  <a:pt x="457" y="8"/>
                </a:cubicBezTo>
                <a:cubicBezTo>
                  <a:pt x="260" y="205"/>
                  <a:pt x="260" y="205"/>
                  <a:pt x="260" y="205"/>
                </a:cubicBezTo>
                <a:cubicBezTo>
                  <a:pt x="258" y="205"/>
                  <a:pt x="258" y="205"/>
                  <a:pt x="258" y="205"/>
                </a:cubicBezTo>
                <a:moveTo>
                  <a:pt x="409" y="8"/>
                </a:moveTo>
                <a:cubicBezTo>
                  <a:pt x="409" y="8"/>
                  <a:pt x="410" y="8"/>
                  <a:pt x="410" y="8"/>
                </a:cubicBezTo>
                <a:cubicBezTo>
                  <a:pt x="247" y="171"/>
                  <a:pt x="247" y="171"/>
                  <a:pt x="247" y="171"/>
                </a:cubicBezTo>
                <a:cubicBezTo>
                  <a:pt x="247" y="169"/>
                  <a:pt x="247" y="169"/>
                  <a:pt x="247" y="169"/>
                </a:cubicBezTo>
                <a:cubicBezTo>
                  <a:pt x="409" y="8"/>
                  <a:pt x="409" y="8"/>
                  <a:pt x="409" y="8"/>
                </a:cubicBezTo>
                <a:moveTo>
                  <a:pt x="247" y="193"/>
                </a:moveTo>
                <a:cubicBezTo>
                  <a:pt x="433" y="7"/>
                  <a:pt x="433" y="7"/>
                  <a:pt x="433" y="7"/>
                </a:cubicBezTo>
                <a:cubicBezTo>
                  <a:pt x="433" y="7"/>
                  <a:pt x="434" y="7"/>
                  <a:pt x="434" y="7"/>
                </a:cubicBezTo>
                <a:cubicBezTo>
                  <a:pt x="247" y="194"/>
                  <a:pt x="247" y="194"/>
                  <a:pt x="247" y="194"/>
                </a:cubicBezTo>
                <a:cubicBezTo>
                  <a:pt x="247" y="193"/>
                  <a:pt x="247" y="193"/>
                  <a:pt x="247" y="193"/>
                </a:cubicBezTo>
                <a:moveTo>
                  <a:pt x="436" y="0"/>
                </a:moveTo>
                <a:cubicBezTo>
                  <a:pt x="436" y="0"/>
                  <a:pt x="436" y="0"/>
                  <a:pt x="436" y="0"/>
                </a:cubicBezTo>
                <a:cubicBezTo>
                  <a:pt x="435" y="0"/>
                  <a:pt x="435" y="0"/>
                  <a:pt x="435" y="0"/>
                </a:cubicBezTo>
                <a:cubicBezTo>
                  <a:pt x="435" y="0"/>
                  <a:pt x="435" y="0"/>
                  <a:pt x="435" y="0"/>
                </a:cubicBezTo>
                <a:cubicBezTo>
                  <a:pt x="435" y="0"/>
                  <a:pt x="434" y="0"/>
                  <a:pt x="434" y="0"/>
                </a:cubicBezTo>
                <a:cubicBezTo>
                  <a:pt x="434" y="0"/>
                  <a:pt x="434" y="0"/>
                  <a:pt x="434" y="0"/>
                </a:cubicBezTo>
                <a:cubicBezTo>
                  <a:pt x="434" y="0"/>
                  <a:pt x="433" y="0"/>
                  <a:pt x="433" y="0"/>
                </a:cubicBezTo>
                <a:cubicBezTo>
                  <a:pt x="433" y="0"/>
                  <a:pt x="433" y="0"/>
                  <a:pt x="433" y="0"/>
                </a:cubicBezTo>
                <a:cubicBezTo>
                  <a:pt x="433" y="0"/>
                  <a:pt x="433" y="0"/>
                  <a:pt x="433" y="0"/>
                </a:cubicBezTo>
                <a:cubicBezTo>
                  <a:pt x="433" y="0"/>
                  <a:pt x="433" y="0"/>
                  <a:pt x="433" y="0"/>
                </a:cubicBezTo>
                <a:cubicBezTo>
                  <a:pt x="432" y="0"/>
                  <a:pt x="432" y="0"/>
                  <a:pt x="432" y="0"/>
                </a:cubicBezTo>
                <a:cubicBezTo>
                  <a:pt x="432" y="0"/>
                  <a:pt x="432" y="0"/>
                  <a:pt x="432" y="0"/>
                </a:cubicBezTo>
                <a:cubicBezTo>
                  <a:pt x="431" y="0"/>
                  <a:pt x="431" y="0"/>
                  <a:pt x="431" y="0"/>
                </a:cubicBezTo>
                <a:cubicBezTo>
                  <a:pt x="431" y="0"/>
                  <a:pt x="431" y="0"/>
                  <a:pt x="431" y="0"/>
                </a:cubicBezTo>
                <a:cubicBezTo>
                  <a:pt x="431" y="0"/>
                  <a:pt x="431" y="0"/>
                  <a:pt x="430" y="0"/>
                </a:cubicBezTo>
                <a:cubicBezTo>
                  <a:pt x="430" y="0"/>
                  <a:pt x="430" y="0"/>
                  <a:pt x="430" y="0"/>
                </a:cubicBezTo>
                <a:cubicBezTo>
                  <a:pt x="430" y="0"/>
                  <a:pt x="430" y="0"/>
                  <a:pt x="430" y="0"/>
                </a:cubicBezTo>
                <a:cubicBezTo>
                  <a:pt x="430" y="0"/>
                  <a:pt x="430" y="0"/>
                  <a:pt x="430" y="0"/>
                </a:cubicBezTo>
                <a:cubicBezTo>
                  <a:pt x="430" y="0"/>
                  <a:pt x="429" y="0"/>
                  <a:pt x="429" y="0"/>
                </a:cubicBezTo>
                <a:cubicBezTo>
                  <a:pt x="429" y="0"/>
                  <a:pt x="429" y="0"/>
                  <a:pt x="429" y="0"/>
                </a:cubicBezTo>
                <a:cubicBezTo>
                  <a:pt x="429" y="0"/>
                  <a:pt x="429" y="0"/>
                  <a:pt x="429" y="0"/>
                </a:cubicBezTo>
                <a:cubicBezTo>
                  <a:pt x="429" y="0"/>
                  <a:pt x="429" y="0"/>
                  <a:pt x="429" y="0"/>
                </a:cubicBezTo>
                <a:cubicBezTo>
                  <a:pt x="429" y="0"/>
                  <a:pt x="428" y="0"/>
                  <a:pt x="428" y="0"/>
                </a:cubicBezTo>
                <a:cubicBezTo>
                  <a:pt x="428" y="0"/>
                  <a:pt x="428" y="0"/>
                  <a:pt x="428" y="0"/>
                </a:cubicBezTo>
                <a:cubicBezTo>
                  <a:pt x="428" y="0"/>
                  <a:pt x="428" y="0"/>
                  <a:pt x="428" y="0"/>
                </a:cubicBezTo>
                <a:cubicBezTo>
                  <a:pt x="428" y="0"/>
                  <a:pt x="428" y="0"/>
                  <a:pt x="428" y="0"/>
                </a:cubicBezTo>
                <a:cubicBezTo>
                  <a:pt x="427" y="0"/>
                  <a:pt x="427" y="0"/>
                  <a:pt x="427" y="0"/>
                </a:cubicBezTo>
                <a:cubicBezTo>
                  <a:pt x="427" y="0"/>
                  <a:pt x="427" y="0"/>
                  <a:pt x="427" y="0"/>
                </a:cubicBezTo>
                <a:cubicBezTo>
                  <a:pt x="427" y="0"/>
                  <a:pt x="427" y="0"/>
                  <a:pt x="426" y="0"/>
                </a:cubicBezTo>
                <a:cubicBezTo>
                  <a:pt x="426" y="0"/>
                  <a:pt x="426" y="0"/>
                  <a:pt x="426" y="0"/>
                </a:cubicBezTo>
                <a:cubicBezTo>
                  <a:pt x="426" y="1"/>
                  <a:pt x="426" y="1"/>
                  <a:pt x="426" y="1"/>
                </a:cubicBezTo>
                <a:cubicBezTo>
                  <a:pt x="426" y="1"/>
                  <a:pt x="426" y="1"/>
                  <a:pt x="426" y="1"/>
                </a:cubicBezTo>
                <a:cubicBezTo>
                  <a:pt x="426" y="1"/>
                  <a:pt x="425" y="1"/>
                  <a:pt x="425" y="1"/>
                </a:cubicBezTo>
                <a:cubicBezTo>
                  <a:pt x="425" y="1"/>
                  <a:pt x="425" y="1"/>
                  <a:pt x="425" y="1"/>
                </a:cubicBezTo>
                <a:cubicBezTo>
                  <a:pt x="425" y="1"/>
                  <a:pt x="425" y="1"/>
                  <a:pt x="425" y="1"/>
                </a:cubicBezTo>
                <a:cubicBezTo>
                  <a:pt x="425" y="1"/>
                  <a:pt x="425" y="1"/>
                  <a:pt x="425" y="1"/>
                </a:cubicBezTo>
                <a:cubicBezTo>
                  <a:pt x="424" y="1"/>
                  <a:pt x="424" y="1"/>
                  <a:pt x="424" y="1"/>
                </a:cubicBezTo>
                <a:cubicBezTo>
                  <a:pt x="424" y="1"/>
                  <a:pt x="424" y="1"/>
                  <a:pt x="424" y="1"/>
                </a:cubicBezTo>
                <a:cubicBezTo>
                  <a:pt x="424" y="1"/>
                  <a:pt x="424" y="1"/>
                  <a:pt x="424" y="1"/>
                </a:cubicBezTo>
                <a:cubicBezTo>
                  <a:pt x="424" y="1"/>
                  <a:pt x="424" y="1"/>
                  <a:pt x="424" y="1"/>
                </a:cubicBezTo>
                <a:cubicBezTo>
                  <a:pt x="423" y="1"/>
                  <a:pt x="423" y="1"/>
                  <a:pt x="423" y="1"/>
                </a:cubicBezTo>
                <a:cubicBezTo>
                  <a:pt x="423" y="1"/>
                  <a:pt x="423" y="1"/>
                  <a:pt x="423" y="1"/>
                </a:cubicBezTo>
                <a:cubicBezTo>
                  <a:pt x="423" y="1"/>
                  <a:pt x="423" y="1"/>
                  <a:pt x="422" y="1"/>
                </a:cubicBezTo>
                <a:cubicBezTo>
                  <a:pt x="422" y="1"/>
                  <a:pt x="422" y="1"/>
                  <a:pt x="422" y="1"/>
                </a:cubicBezTo>
                <a:cubicBezTo>
                  <a:pt x="422" y="1"/>
                  <a:pt x="422" y="1"/>
                  <a:pt x="422" y="1"/>
                </a:cubicBezTo>
                <a:cubicBezTo>
                  <a:pt x="422" y="1"/>
                  <a:pt x="422" y="1"/>
                  <a:pt x="422" y="1"/>
                </a:cubicBezTo>
                <a:cubicBezTo>
                  <a:pt x="422" y="1"/>
                  <a:pt x="421" y="1"/>
                  <a:pt x="421" y="1"/>
                </a:cubicBezTo>
                <a:cubicBezTo>
                  <a:pt x="421" y="1"/>
                  <a:pt x="421" y="1"/>
                  <a:pt x="421" y="1"/>
                </a:cubicBezTo>
                <a:cubicBezTo>
                  <a:pt x="421" y="1"/>
                  <a:pt x="421" y="1"/>
                  <a:pt x="421" y="1"/>
                </a:cubicBezTo>
                <a:cubicBezTo>
                  <a:pt x="421" y="1"/>
                  <a:pt x="421" y="1"/>
                  <a:pt x="421" y="1"/>
                </a:cubicBezTo>
                <a:cubicBezTo>
                  <a:pt x="421" y="1"/>
                  <a:pt x="420" y="1"/>
                  <a:pt x="420" y="1"/>
                </a:cubicBezTo>
                <a:cubicBezTo>
                  <a:pt x="420" y="1"/>
                  <a:pt x="420" y="1"/>
                  <a:pt x="420" y="1"/>
                </a:cubicBezTo>
                <a:cubicBezTo>
                  <a:pt x="420" y="1"/>
                  <a:pt x="419" y="1"/>
                  <a:pt x="419" y="1"/>
                </a:cubicBezTo>
                <a:cubicBezTo>
                  <a:pt x="419" y="1"/>
                  <a:pt x="419" y="1"/>
                  <a:pt x="419" y="1"/>
                </a:cubicBezTo>
                <a:cubicBezTo>
                  <a:pt x="254" y="6"/>
                  <a:pt x="110" y="97"/>
                  <a:pt x="31" y="230"/>
                </a:cubicBezTo>
                <a:cubicBezTo>
                  <a:pt x="33" y="233"/>
                  <a:pt x="35" y="237"/>
                  <a:pt x="37" y="240"/>
                </a:cubicBezTo>
                <a:cubicBezTo>
                  <a:pt x="72" y="205"/>
                  <a:pt x="72" y="205"/>
                  <a:pt x="72" y="205"/>
                </a:cubicBezTo>
                <a:cubicBezTo>
                  <a:pt x="74" y="205"/>
                  <a:pt x="74" y="205"/>
                  <a:pt x="74" y="205"/>
                </a:cubicBezTo>
                <a:cubicBezTo>
                  <a:pt x="38" y="240"/>
                  <a:pt x="38" y="240"/>
                  <a:pt x="38" y="240"/>
                </a:cubicBezTo>
                <a:cubicBezTo>
                  <a:pt x="41" y="245"/>
                  <a:pt x="44" y="249"/>
                  <a:pt x="48" y="253"/>
                </a:cubicBezTo>
                <a:cubicBezTo>
                  <a:pt x="95" y="205"/>
                  <a:pt x="95" y="205"/>
                  <a:pt x="95" y="205"/>
                </a:cubicBezTo>
                <a:cubicBezTo>
                  <a:pt x="97" y="205"/>
                  <a:pt x="97" y="205"/>
                  <a:pt x="97" y="205"/>
                </a:cubicBezTo>
                <a:cubicBezTo>
                  <a:pt x="48" y="254"/>
                  <a:pt x="48" y="254"/>
                  <a:pt x="48" y="254"/>
                </a:cubicBezTo>
                <a:cubicBezTo>
                  <a:pt x="52" y="257"/>
                  <a:pt x="55" y="261"/>
                  <a:pt x="58" y="265"/>
                </a:cubicBezTo>
                <a:cubicBezTo>
                  <a:pt x="119" y="205"/>
                  <a:pt x="119" y="205"/>
                  <a:pt x="119" y="205"/>
                </a:cubicBezTo>
                <a:cubicBezTo>
                  <a:pt x="120" y="205"/>
                  <a:pt x="120" y="205"/>
                  <a:pt x="120" y="205"/>
                </a:cubicBezTo>
                <a:cubicBezTo>
                  <a:pt x="59" y="266"/>
                  <a:pt x="59" y="266"/>
                  <a:pt x="59" y="266"/>
                </a:cubicBezTo>
                <a:cubicBezTo>
                  <a:pt x="62" y="270"/>
                  <a:pt x="66" y="274"/>
                  <a:pt x="69" y="278"/>
                </a:cubicBezTo>
                <a:cubicBezTo>
                  <a:pt x="142" y="205"/>
                  <a:pt x="142" y="205"/>
                  <a:pt x="142" y="205"/>
                </a:cubicBezTo>
                <a:cubicBezTo>
                  <a:pt x="143" y="205"/>
                  <a:pt x="143" y="205"/>
                  <a:pt x="143" y="205"/>
                </a:cubicBezTo>
                <a:cubicBezTo>
                  <a:pt x="70" y="278"/>
                  <a:pt x="70" y="278"/>
                  <a:pt x="70" y="278"/>
                </a:cubicBezTo>
                <a:cubicBezTo>
                  <a:pt x="74" y="282"/>
                  <a:pt x="77" y="286"/>
                  <a:pt x="81" y="289"/>
                </a:cubicBezTo>
                <a:cubicBezTo>
                  <a:pt x="155" y="216"/>
                  <a:pt x="155" y="216"/>
                  <a:pt x="155" y="216"/>
                </a:cubicBezTo>
                <a:cubicBezTo>
                  <a:pt x="154" y="209"/>
                  <a:pt x="154" y="202"/>
                  <a:pt x="153" y="195"/>
                </a:cubicBezTo>
                <a:cubicBezTo>
                  <a:pt x="143" y="205"/>
                  <a:pt x="143" y="205"/>
                  <a:pt x="143" y="205"/>
                </a:cubicBezTo>
                <a:cubicBezTo>
                  <a:pt x="142" y="205"/>
                  <a:pt x="142" y="205"/>
                  <a:pt x="142" y="205"/>
                </a:cubicBezTo>
                <a:cubicBezTo>
                  <a:pt x="153" y="194"/>
                  <a:pt x="153" y="194"/>
                  <a:pt x="153" y="194"/>
                </a:cubicBezTo>
                <a:cubicBezTo>
                  <a:pt x="152" y="187"/>
                  <a:pt x="152" y="181"/>
                  <a:pt x="151" y="174"/>
                </a:cubicBezTo>
                <a:cubicBezTo>
                  <a:pt x="120" y="205"/>
                  <a:pt x="120" y="205"/>
                  <a:pt x="120" y="205"/>
                </a:cubicBezTo>
                <a:cubicBezTo>
                  <a:pt x="119" y="205"/>
                  <a:pt x="119" y="205"/>
                  <a:pt x="119" y="205"/>
                </a:cubicBezTo>
                <a:cubicBezTo>
                  <a:pt x="151" y="173"/>
                  <a:pt x="151" y="173"/>
                  <a:pt x="151" y="173"/>
                </a:cubicBezTo>
                <a:cubicBezTo>
                  <a:pt x="151" y="171"/>
                  <a:pt x="151" y="169"/>
                  <a:pt x="150" y="168"/>
                </a:cubicBezTo>
                <a:cubicBezTo>
                  <a:pt x="150" y="168"/>
                  <a:pt x="151" y="169"/>
                  <a:pt x="152" y="172"/>
                </a:cubicBezTo>
                <a:cubicBezTo>
                  <a:pt x="247" y="76"/>
                  <a:pt x="247" y="76"/>
                  <a:pt x="247" y="76"/>
                </a:cubicBezTo>
                <a:cubicBezTo>
                  <a:pt x="247" y="78"/>
                  <a:pt x="247" y="78"/>
                  <a:pt x="247" y="78"/>
                </a:cubicBezTo>
                <a:cubicBezTo>
                  <a:pt x="152" y="173"/>
                  <a:pt x="152" y="173"/>
                  <a:pt x="152" y="173"/>
                </a:cubicBezTo>
                <a:cubicBezTo>
                  <a:pt x="154" y="176"/>
                  <a:pt x="156" y="182"/>
                  <a:pt x="158" y="189"/>
                </a:cubicBezTo>
                <a:cubicBezTo>
                  <a:pt x="247" y="99"/>
                  <a:pt x="247" y="99"/>
                  <a:pt x="247" y="99"/>
                </a:cubicBezTo>
                <a:cubicBezTo>
                  <a:pt x="247" y="101"/>
                  <a:pt x="247" y="101"/>
                  <a:pt x="247" y="101"/>
                </a:cubicBezTo>
                <a:cubicBezTo>
                  <a:pt x="158" y="190"/>
                  <a:pt x="158" y="190"/>
                  <a:pt x="158" y="190"/>
                </a:cubicBezTo>
                <a:cubicBezTo>
                  <a:pt x="160" y="195"/>
                  <a:pt x="161" y="201"/>
                  <a:pt x="163" y="207"/>
                </a:cubicBezTo>
                <a:cubicBezTo>
                  <a:pt x="165" y="205"/>
                  <a:pt x="165" y="205"/>
                  <a:pt x="165" y="205"/>
                </a:cubicBezTo>
                <a:cubicBezTo>
                  <a:pt x="167" y="205"/>
                  <a:pt x="167" y="205"/>
                  <a:pt x="167" y="205"/>
                </a:cubicBezTo>
                <a:cubicBezTo>
                  <a:pt x="163" y="209"/>
                  <a:pt x="163" y="209"/>
                  <a:pt x="163" y="209"/>
                </a:cubicBezTo>
                <a:cubicBezTo>
                  <a:pt x="164" y="214"/>
                  <a:pt x="166" y="220"/>
                  <a:pt x="167" y="226"/>
                </a:cubicBezTo>
                <a:cubicBezTo>
                  <a:pt x="188" y="205"/>
                  <a:pt x="188" y="205"/>
                  <a:pt x="188" y="205"/>
                </a:cubicBezTo>
                <a:cubicBezTo>
                  <a:pt x="190" y="205"/>
                  <a:pt x="190" y="205"/>
                  <a:pt x="190" y="205"/>
                </a:cubicBezTo>
                <a:cubicBezTo>
                  <a:pt x="167" y="228"/>
                  <a:pt x="167" y="228"/>
                  <a:pt x="167" y="228"/>
                </a:cubicBezTo>
                <a:cubicBezTo>
                  <a:pt x="168" y="233"/>
                  <a:pt x="170" y="239"/>
                  <a:pt x="171" y="246"/>
                </a:cubicBezTo>
                <a:cubicBezTo>
                  <a:pt x="212" y="205"/>
                  <a:pt x="212" y="205"/>
                  <a:pt x="212" y="205"/>
                </a:cubicBezTo>
                <a:cubicBezTo>
                  <a:pt x="213" y="205"/>
                  <a:pt x="213" y="205"/>
                  <a:pt x="213" y="205"/>
                </a:cubicBezTo>
                <a:cubicBezTo>
                  <a:pt x="171" y="247"/>
                  <a:pt x="171" y="247"/>
                  <a:pt x="171" y="247"/>
                </a:cubicBezTo>
                <a:cubicBezTo>
                  <a:pt x="172" y="253"/>
                  <a:pt x="173" y="259"/>
                  <a:pt x="174" y="266"/>
                </a:cubicBezTo>
                <a:cubicBezTo>
                  <a:pt x="235" y="205"/>
                  <a:pt x="235" y="205"/>
                  <a:pt x="235" y="205"/>
                </a:cubicBezTo>
                <a:cubicBezTo>
                  <a:pt x="237" y="205"/>
                  <a:pt x="237" y="205"/>
                  <a:pt x="237" y="205"/>
                </a:cubicBezTo>
                <a:cubicBezTo>
                  <a:pt x="174" y="267"/>
                  <a:pt x="174" y="267"/>
                  <a:pt x="174" y="267"/>
                </a:cubicBezTo>
                <a:cubicBezTo>
                  <a:pt x="175" y="274"/>
                  <a:pt x="176" y="280"/>
                  <a:pt x="177" y="287"/>
                </a:cubicBezTo>
                <a:cubicBezTo>
                  <a:pt x="247" y="216"/>
                  <a:pt x="247" y="216"/>
                  <a:pt x="247" y="216"/>
                </a:cubicBezTo>
                <a:cubicBezTo>
                  <a:pt x="247" y="218"/>
                  <a:pt x="247" y="218"/>
                  <a:pt x="247" y="218"/>
                </a:cubicBezTo>
                <a:cubicBezTo>
                  <a:pt x="177" y="288"/>
                  <a:pt x="177" y="288"/>
                  <a:pt x="177" y="288"/>
                </a:cubicBezTo>
                <a:cubicBezTo>
                  <a:pt x="178" y="294"/>
                  <a:pt x="178" y="301"/>
                  <a:pt x="179" y="308"/>
                </a:cubicBezTo>
                <a:cubicBezTo>
                  <a:pt x="247" y="239"/>
                  <a:pt x="247" y="239"/>
                  <a:pt x="247" y="239"/>
                </a:cubicBezTo>
                <a:cubicBezTo>
                  <a:pt x="247" y="241"/>
                  <a:pt x="247" y="241"/>
                  <a:pt x="247" y="241"/>
                </a:cubicBezTo>
                <a:cubicBezTo>
                  <a:pt x="179" y="309"/>
                  <a:pt x="179" y="309"/>
                  <a:pt x="179" y="309"/>
                </a:cubicBezTo>
                <a:cubicBezTo>
                  <a:pt x="180" y="316"/>
                  <a:pt x="180" y="322"/>
                  <a:pt x="180" y="329"/>
                </a:cubicBezTo>
                <a:cubicBezTo>
                  <a:pt x="247" y="262"/>
                  <a:pt x="247" y="262"/>
                  <a:pt x="247" y="262"/>
                </a:cubicBezTo>
                <a:cubicBezTo>
                  <a:pt x="247" y="264"/>
                  <a:pt x="247" y="264"/>
                  <a:pt x="247" y="264"/>
                </a:cubicBezTo>
                <a:cubicBezTo>
                  <a:pt x="181" y="331"/>
                  <a:pt x="181" y="331"/>
                  <a:pt x="181" y="331"/>
                </a:cubicBezTo>
                <a:cubicBezTo>
                  <a:pt x="181" y="338"/>
                  <a:pt x="181" y="344"/>
                  <a:pt x="182" y="352"/>
                </a:cubicBezTo>
                <a:cubicBezTo>
                  <a:pt x="247" y="286"/>
                  <a:pt x="247" y="286"/>
                  <a:pt x="247" y="286"/>
                </a:cubicBezTo>
                <a:cubicBezTo>
                  <a:pt x="247" y="287"/>
                  <a:pt x="247" y="287"/>
                  <a:pt x="247" y="287"/>
                </a:cubicBezTo>
                <a:cubicBezTo>
                  <a:pt x="182" y="353"/>
                  <a:pt x="182" y="353"/>
                  <a:pt x="182" y="353"/>
                </a:cubicBezTo>
                <a:cubicBezTo>
                  <a:pt x="182" y="360"/>
                  <a:pt x="182" y="367"/>
                  <a:pt x="182" y="374"/>
                </a:cubicBezTo>
                <a:cubicBezTo>
                  <a:pt x="247" y="309"/>
                  <a:pt x="247" y="309"/>
                  <a:pt x="247" y="309"/>
                </a:cubicBezTo>
                <a:cubicBezTo>
                  <a:pt x="247" y="311"/>
                  <a:pt x="247" y="311"/>
                  <a:pt x="247" y="311"/>
                </a:cubicBezTo>
                <a:cubicBezTo>
                  <a:pt x="182" y="376"/>
                  <a:pt x="182" y="376"/>
                  <a:pt x="182" y="376"/>
                </a:cubicBezTo>
                <a:cubicBezTo>
                  <a:pt x="182" y="383"/>
                  <a:pt x="182" y="390"/>
                  <a:pt x="182" y="397"/>
                </a:cubicBezTo>
                <a:cubicBezTo>
                  <a:pt x="247" y="332"/>
                  <a:pt x="247" y="332"/>
                  <a:pt x="247" y="332"/>
                </a:cubicBezTo>
                <a:cubicBezTo>
                  <a:pt x="247" y="334"/>
                  <a:pt x="247" y="334"/>
                  <a:pt x="247" y="334"/>
                </a:cubicBezTo>
                <a:cubicBezTo>
                  <a:pt x="182" y="399"/>
                  <a:pt x="182" y="399"/>
                  <a:pt x="182" y="399"/>
                </a:cubicBezTo>
                <a:cubicBezTo>
                  <a:pt x="182" y="406"/>
                  <a:pt x="182" y="414"/>
                  <a:pt x="182" y="421"/>
                </a:cubicBezTo>
                <a:cubicBezTo>
                  <a:pt x="247" y="356"/>
                  <a:pt x="247" y="356"/>
                  <a:pt x="247" y="356"/>
                </a:cubicBezTo>
                <a:cubicBezTo>
                  <a:pt x="247" y="357"/>
                  <a:pt x="247" y="357"/>
                  <a:pt x="247" y="357"/>
                </a:cubicBezTo>
                <a:cubicBezTo>
                  <a:pt x="182" y="423"/>
                  <a:pt x="182" y="423"/>
                  <a:pt x="182" y="423"/>
                </a:cubicBezTo>
                <a:cubicBezTo>
                  <a:pt x="181" y="430"/>
                  <a:pt x="181" y="438"/>
                  <a:pt x="181" y="446"/>
                </a:cubicBezTo>
                <a:cubicBezTo>
                  <a:pt x="247" y="379"/>
                  <a:pt x="247" y="379"/>
                  <a:pt x="247" y="379"/>
                </a:cubicBezTo>
                <a:cubicBezTo>
                  <a:pt x="247" y="381"/>
                  <a:pt x="247" y="381"/>
                  <a:pt x="247" y="381"/>
                </a:cubicBezTo>
                <a:cubicBezTo>
                  <a:pt x="180" y="447"/>
                  <a:pt x="180" y="447"/>
                  <a:pt x="180" y="447"/>
                </a:cubicBezTo>
                <a:cubicBezTo>
                  <a:pt x="180" y="452"/>
                  <a:pt x="180" y="458"/>
                  <a:pt x="179" y="463"/>
                </a:cubicBezTo>
                <a:cubicBezTo>
                  <a:pt x="373" y="422"/>
                  <a:pt x="518" y="250"/>
                  <a:pt x="518" y="44"/>
                </a:cubicBezTo>
                <a:cubicBezTo>
                  <a:pt x="518" y="44"/>
                  <a:pt x="518" y="44"/>
                  <a:pt x="518" y="44"/>
                </a:cubicBezTo>
                <a:cubicBezTo>
                  <a:pt x="518" y="44"/>
                  <a:pt x="518" y="44"/>
                  <a:pt x="518" y="43"/>
                </a:cubicBezTo>
                <a:cubicBezTo>
                  <a:pt x="518" y="43"/>
                  <a:pt x="518" y="43"/>
                  <a:pt x="518" y="43"/>
                </a:cubicBezTo>
                <a:cubicBezTo>
                  <a:pt x="518" y="31"/>
                  <a:pt x="518" y="19"/>
                  <a:pt x="517" y="7"/>
                </a:cubicBezTo>
                <a:cubicBezTo>
                  <a:pt x="491" y="3"/>
                  <a:pt x="464" y="1"/>
                  <a:pt x="437" y="0"/>
                </a:cubicBezTo>
                <a:cubicBezTo>
                  <a:pt x="437" y="0"/>
                  <a:pt x="437" y="0"/>
                  <a:pt x="437" y="0"/>
                </a:cubicBezTo>
                <a:cubicBezTo>
                  <a:pt x="437" y="0"/>
                  <a:pt x="437" y="0"/>
                  <a:pt x="437" y="0"/>
                </a:cubicBezTo>
                <a:cubicBezTo>
                  <a:pt x="437" y="0"/>
                  <a:pt x="437" y="0"/>
                  <a:pt x="437" y="0"/>
                </a:cubicBezTo>
                <a:cubicBezTo>
                  <a:pt x="437" y="0"/>
                  <a:pt x="437" y="0"/>
                  <a:pt x="437" y="0"/>
                </a:cubicBezTo>
                <a:cubicBezTo>
                  <a:pt x="437" y="0"/>
                  <a:pt x="437" y="0"/>
                  <a:pt x="436" y="0"/>
                </a:cubicBezTo>
                <a:cubicBezTo>
                  <a:pt x="436" y="0"/>
                  <a:pt x="436" y="0"/>
                  <a:pt x="436" y="0"/>
                </a:cubicBezTo>
                <a:cubicBezTo>
                  <a:pt x="436" y="0"/>
                  <a:pt x="436" y="0"/>
                  <a:pt x="436" y="0"/>
                </a:cubicBezTo>
                <a:cubicBezTo>
                  <a:pt x="436" y="0"/>
                  <a:pt x="436" y="0"/>
                  <a:pt x="436" y="0"/>
                </a:cubicBezTo>
                <a:cubicBezTo>
                  <a:pt x="436" y="0"/>
                  <a:pt x="436" y="0"/>
                  <a:pt x="436" y="0"/>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37" name="Freeform 82">
            <a:extLst>
              <a:ext uri="{FF2B5EF4-FFF2-40B4-BE49-F238E27FC236}">
                <a16:creationId xmlns:a16="http://schemas.microsoft.com/office/drawing/2014/main" id="{40EEC4B4-ED3B-4735-84B6-EA49A3C5AC47}"/>
              </a:ext>
            </a:extLst>
          </p:cNvPr>
          <p:cNvSpPr>
            <a:spLocks/>
          </p:cNvSpPr>
          <p:nvPr/>
        </p:nvSpPr>
        <p:spPr bwMode="auto">
          <a:xfrm>
            <a:off x="5762607" y="3749213"/>
            <a:ext cx="300318" cy="631226"/>
          </a:xfrm>
          <a:custGeom>
            <a:avLst/>
            <a:gdLst>
              <a:gd name="T0" fmla="*/ 0 w 86"/>
              <a:gd name="T1" fmla="*/ 0 h 181"/>
              <a:gd name="T2" fmla="*/ 0 w 86"/>
              <a:gd name="T3" fmla="*/ 0 h 181"/>
              <a:gd name="T4" fmla="*/ 86 w 86"/>
              <a:gd name="T5" fmla="*/ 181 h 181"/>
              <a:gd name="T6" fmla="*/ 86 w 86"/>
              <a:gd name="T7" fmla="*/ 181 h 181"/>
              <a:gd name="T8" fmla="*/ 86 w 86"/>
              <a:gd name="T9" fmla="*/ 181 h 181"/>
              <a:gd name="T10" fmla="*/ 86 w 86"/>
              <a:gd name="T11" fmla="*/ 181 h 181"/>
              <a:gd name="T12" fmla="*/ 86 w 86"/>
              <a:gd name="T13" fmla="*/ 181 h 181"/>
              <a:gd name="T14" fmla="*/ 86 w 86"/>
              <a:gd name="T15" fmla="*/ 181 h 181"/>
              <a:gd name="T16" fmla="*/ 0 w 86"/>
              <a:gd name="T17"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6" h="181">
                <a:moveTo>
                  <a:pt x="0" y="0"/>
                </a:moveTo>
                <a:cubicBezTo>
                  <a:pt x="0" y="0"/>
                  <a:pt x="0" y="0"/>
                  <a:pt x="0" y="0"/>
                </a:cubicBezTo>
                <a:cubicBezTo>
                  <a:pt x="44" y="50"/>
                  <a:pt x="75" y="112"/>
                  <a:pt x="86" y="181"/>
                </a:cubicBezTo>
                <a:cubicBezTo>
                  <a:pt x="86" y="181"/>
                  <a:pt x="86" y="181"/>
                  <a:pt x="86" y="181"/>
                </a:cubicBezTo>
                <a:cubicBezTo>
                  <a:pt x="86" y="181"/>
                  <a:pt x="86" y="181"/>
                  <a:pt x="86" y="181"/>
                </a:cubicBezTo>
                <a:cubicBezTo>
                  <a:pt x="86" y="181"/>
                  <a:pt x="86" y="181"/>
                  <a:pt x="86" y="181"/>
                </a:cubicBezTo>
                <a:cubicBezTo>
                  <a:pt x="86" y="181"/>
                  <a:pt x="86" y="181"/>
                  <a:pt x="86" y="181"/>
                </a:cubicBezTo>
                <a:cubicBezTo>
                  <a:pt x="86" y="181"/>
                  <a:pt x="86" y="181"/>
                  <a:pt x="86" y="181"/>
                </a:cubicBezTo>
                <a:cubicBezTo>
                  <a:pt x="75" y="112"/>
                  <a:pt x="44" y="50"/>
                  <a:pt x="0" y="0"/>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38" name="Freeform 83">
            <a:extLst>
              <a:ext uri="{FF2B5EF4-FFF2-40B4-BE49-F238E27FC236}">
                <a16:creationId xmlns:a16="http://schemas.microsoft.com/office/drawing/2014/main" id="{4F35380C-B243-4061-89A6-1E1749FA39E7}"/>
              </a:ext>
            </a:extLst>
          </p:cNvPr>
          <p:cNvSpPr>
            <a:spLocks noEditPoints="1"/>
          </p:cNvSpPr>
          <p:nvPr/>
        </p:nvSpPr>
        <p:spPr bwMode="auto">
          <a:xfrm>
            <a:off x="5834906" y="3318199"/>
            <a:ext cx="564488" cy="1048336"/>
          </a:xfrm>
          <a:custGeom>
            <a:avLst/>
            <a:gdLst>
              <a:gd name="T0" fmla="*/ 129 w 161"/>
              <a:gd name="T1" fmla="*/ 300 h 300"/>
              <a:gd name="T2" fmla="*/ 148 w 161"/>
              <a:gd name="T3" fmla="*/ 290 h 300"/>
              <a:gd name="T4" fmla="*/ 161 w 161"/>
              <a:gd name="T5" fmla="*/ 255 h 300"/>
              <a:gd name="T6" fmla="*/ 130 w 161"/>
              <a:gd name="T7" fmla="*/ 284 h 300"/>
              <a:gd name="T8" fmla="*/ 161 w 161"/>
              <a:gd name="T9" fmla="*/ 208 h 300"/>
              <a:gd name="T10" fmla="*/ 133 w 161"/>
              <a:gd name="T11" fmla="*/ 258 h 300"/>
              <a:gd name="T12" fmla="*/ 135 w 161"/>
              <a:gd name="T13" fmla="*/ 187 h 300"/>
              <a:gd name="T14" fmla="*/ 135 w 161"/>
              <a:gd name="T15" fmla="*/ 209 h 300"/>
              <a:gd name="T16" fmla="*/ 135 w 161"/>
              <a:gd name="T17" fmla="*/ 210 h 300"/>
              <a:gd name="T18" fmla="*/ 122 w 161"/>
              <a:gd name="T19" fmla="*/ 224 h 300"/>
              <a:gd name="T20" fmla="*/ 161 w 161"/>
              <a:gd name="T21" fmla="*/ 185 h 300"/>
              <a:gd name="T22" fmla="*/ 109 w 161"/>
              <a:gd name="T23" fmla="*/ 212 h 300"/>
              <a:gd name="T24" fmla="*/ 126 w 161"/>
              <a:gd name="T25" fmla="*/ 173 h 300"/>
              <a:gd name="T26" fmla="*/ 97 w 161"/>
              <a:gd name="T27" fmla="*/ 201 h 300"/>
              <a:gd name="T28" fmla="*/ 160 w 161"/>
              <a:gd name="T29" fmla="*/ 163 h 300"/>
              <a:gd name="T30" fmla="*/ 161 w 161"/>
              <a:gd name="T31" fmla="*/ 184 h 300"/>
              <a:gd name="T32" fmla="*/ 75 w 161"/>
              <a:gd name="T33" fmla="*/ 178 h 300"/>
              <a:gd name="T34" fmla="*/ 98 w 161"/>
              <a:gd name="T35" fmla="*/ 155 h 300"/>
              <a:gd name="T36" fmla="*/ 74 w 161"/>
              <a:gd name="T37" fmla="*/ 177 h 300"/>
              <a:gd name="T38" fmla="*/ 158 w 161"/>
              <a:gd name="T39" fmla="*/ 141 h 300"/>
              <a:gd name="T40" fmla="*/ 159 w 161"/>
              <a:gd name="T41" fmla="*/ 161 h 300"/>
              <a:gd name="T42" fmla="*/ 53 w 161"/>
              <a:gd name="T43" fmla="*/ 153 h 300"/>
              <a:gd name="T44" fmla="*/ 72 w 161"/>
              <a:gd name="T45" fmla="*/ 134 h 300"/>
              <a:gd name="T46" fmla="*/ 52 w 161"/>
              <a:gd name="T47" fmla="*/ 152 h 300"/>
              <a:gd name="T48" fmla="*/ 156 w 161"/>
              <a:gd name="T49" fmla="*/ 120 h 300"/>
              <a:gd name="T50" fmla="*/ 158 w 161"/>
              <a:gd name="T51" fmla="*/ 140 h 300"/>
              <a:gd name="T52" fmla="*/ 32 w 161"/>
              <a:gd name="T53" fmla="*/ 127 h 300"/>
              <a:gd name="T54" fmla="*/ 49 w 161"/>
              <a:gd name="T55" fmla="*/ 110 h 300"/>
              <a:gd name="T56" fmla="*/ 137 w 161"/>
              <a:gd name="T57" fmla="*/ 137 h 300"/>
              <a:gd name="T58" fmla="*/ 38 w 161"/>
              <a:gd name="T59" fmla="*/ 98 h 300"/>
              <a:gd name="T60" fmla="*/ 48 w 161"/>
              <a:gd name="T61" fmla="*/ 110 h 300"/>
              <a:gd name="T62" fmla="*/ 13 w 161"/>
              <a:gd name="T63" fmla="*/ 100 h 300"/>
              <a:gd name="T64" fmla="*/ 27 w 161"/>
              <a:gd name="T65" fmla="*/ 86 h 300"/>
              <a:gd name="T66" fmla="*/ 137 w 161"/>
              <a:gd name="T67" fmla="*/ 114 h 300"/>
              <a:gd name="T68" fmla="*/ 17 w 161"/>
              <a:gd name="T69" fmla="*/ 72 h 300"/>
              <a:gd name="T70" fmla="*/ 27 w 161"/>
              <a:gd name="T71" fmla="*/ 85 h 300"/>
              <a:gd name="T72" fmla="*/ 0 w 161"/>
              <a:gd name="T73" fmla="*/ 80 h 300"/>
              <a:gd name="T74" fmla="*/ 16 w 161"/>
              <a:gd name="T75" fmla="*/ 72 h 300"/>
              <a:gd name="T76" fmla="*/ 135 w 161"/>
              <a:gd name="T77" fmla="*/ 71 h 300"/>
              <a:gd name="T78" fmla="*/ 146 w 161"/>
              <a:gd name="T79" fmla="*/ 60 h 300"/>
              <a:gd name="T80" fmla="*/ 135 w 161"/>
              <a:gd name="T81" fmla="*/ 70 h 300"/>
              <a:gd name="T82" fmla="*/ 137 w 161"/>
              <a:gd name="T83" fmla="*/ 22 h 300"/>
              <a:gd name="T84" fmla="*/ 142 w 161"/>
              <a:gd name="T85" fmla="*/ 39 h 300"/>
              <a:gd name="T86" fmla="*/ 130 w 161"/>
              <a:gd name="T87" fmla="*/ 6 h 300"/>
              <a:gd name="T88" fmla="*/ 131 w 161"/>
              <a:gd name="T89" fmla="*/ 5 h 300"/>
              <a:gd name="T90" fmla="*/ 131 w 161"/>
              <a:gd name="T91" fmla="*/ 4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61" h="300">
                <a:moveTo>
                  <a:pt x="161" y="255"/>
                </a:moveTo>
                <a:cubicBezTo>
                  <a:pt x="130" y="285"/>
                  <a:pt x="130" y="285"/>
                  <a:pt x="130" y="285"/>
                </a:cubicBezTo>
                <a:cubicBezTo>
                  <a:pt x="130" y="290"/>
                  <a:pt x="129" y="295"/>
                  <a:pt x="129" y="300"/>
                </a:cubicBezTo>
                <a:cubicBezTo>
                  <a:pt x="139" y="299"/>
                  <a:pt x="149" y="297"/>
                  <a:pt x="158" y="295"/>
                </a:cubicBezTo>
                <a:cubicBezTo>
                  <a:pt x="159" y="290"/>
                  <a:pt x="159" y="284"/>
                  <a:pt x="159" y="279"/>
                </a:cubicBezTo>
                <a:cubicBezTo>
                  <a:pt x="148" y="290"/>
                  <a:pt x="148" y="290"/>
                  <a:pt x="148" y="290"/>
                </a:cubicBezTo>
                <a:cubicBezTo>
                  <a:pt x="148" y="291"/>
                  <a:pt x="147" y="291"/>
                  <a:pt x="146" y="291"/>
                </a:cubicBezTo>
                <a:cubicBezTo>
                  <a:pt x="160" y="278"/>
                  <a:pt x="160" y="278"/>
                  <a:pt x="160" y="278"/>
                </a:cubicBezTo>
                <a:cubicBezTo>
                  <a:pt x="160" y="270"/>
                  <a:pt x="160" y="262"/>
                  <a:pt x="161" y="255"/>
                </a:cubicBezTo>
                <a:moveTo>
                  <a:pt x="161" y="231"/>
                </a:moveTo>
                <a:cubicBezTo>
                  <a:pt x="132" y="260"/>
                  <a:pt x="132" y="260"/>
                  <a:pt x="132" y="260"/>
                </a:cubicBezTo>
                <a:cubicBezTo>
                  <a:pt x="132" y="268"/>
                  <a:pt x="131" y="276"/>
                  <a:pt x="130" y="284"/>
                </a:cubicBezTo>
                <a:cubicBezTo>
                  <a:pt x="161" y="253"/>
                  <a:pt x="161" y="253"/>
                  <a:pt x="161" y="253"/>
                </a:cubicBezTo>
                <a:cubicBezTo>
                  <a:pt x="161" y="246"/>
                  <a:pt x="161" y="238"/>
                  <a:pt x="161" y="231"/>
                </a:cubicBezTo>
                <a:moveTo>
                  <a:pt x="161" y="208"/>
                </a:moveTo>
                <a:cubicBezTo>
                  <a:pt x="134" y="235"/>
                  <a:pt x="134" y="235"/>
                  <a:pt x="134" y="235"/>
                </a:cubicBezTo>
                <a:cubicBezTo>
                  <a:pt x="134" y="235"/>
                  <a:pt x="134" y="235"/>
                  <a:pt x="134" y="235"/>
                </a:cubicBezTo>
                <a:cubicBezTo>
                  <a:pt x="134" y="243"/>
                  <a:pt x="133" y="250"/>
                  <a:pt x="133" y="258"/>
                </a:cubicBezTo>
                <a:cubicBezTo>
                  <a:pt x="161" y="229"/>
                  <a:pt x="161" y="229"/>
                  <a:pt x="161" y="229"/>
                </a:cubicBezTo>
                <a:cubicBezTo>
                  <a:pt x="161" y="222"/>
                  <a:pt x="161" y="215"/>
                  <a:pt x="161" y="208"/>
                </a:cubicBezTo>
                <a:moveTo>
                  <a:pt x="135" y="187"/>
                </a:moveTo>
                <a:cubicBezTo>
                  <a:pt x="109" y="213"/>
                  <a:pt x="109" y="213"/>
                  <a:pt x="109" y="213"/>
                </a:cubicBezTo>
                <a:cubicBezTo>
                  <a:pt x="114" y="217"/>
                  <a:pt x="117" y="221"/>
                  <a:pt x="121" y="223"/>
                </a:cubicBezTo>
                <a:cubicBezTo>
                  <a:pt x="135" y="209"/>
                  <a:pt x="135" y="209"/>
                  <a:pt x="135" y="209"/>
                </a:cubicBezTo>
                <a:cubicBezTo>
                  <a:pt x="135" y="187"/>
                  <a:pt x="135" y="187"/>
                  <a:pt x="135" y="187"/>
                </a:cubicBezTo>
                <a:moveTo>
                  <a:pt x="161" y="185"/>
                </a:moveTo>
                <a:cubicBezTo>
                  <a:pt x="135" y="210"/>
                  <a:pt x="135" y="210"/>
                  <a:pt x="135" y="210"/>
                </a:cubicBezTo>
                <a:cubicBezTo>
                  <a:pt x="135" y="212"/>
                  <a:pt x="135" y="213"/>
                  <a:pt x="135" y="214"/>
                </a:cubicBezTo>
                <a:cubicBezTo>
                  <a:pt x="135" y="210"/>
                  <a:pt x="135" y="210"/>
                  <a:pt x="135" y="210"/>
                </a:cubicBezTo>
                <a:cubicBezTo>
                  <a:pt x="122" y="224"/>
                  <a:pt x="122" y="224"/>
                  <a:pt x="122" y="224"/>
                </a:cubicBezTo>
                <a:cubicBezTo>
                  <a:pt x="127" y="229"/>
                  <a:pt x="131" y="232"/>
                  <a:pt x="133" y="234"/>
                </a:cubicBezTo>
                <a:cubicBezTo>
                  <a:pt x="161" y="206"/>
                  <a:pt x="161" y="206"/>
                  <a:pt x="161" y="206"/>
                </a:cubicBezTo>
                <a:cubicBezTo>
                  <a:pt x="161" y="199"/>
                  <a:pt x="161" y="192"/>
                  <a:pt x="161" y="185"/>
                </a:cubicBezTo>
                <a:moveTo>
                  <a:pt x="126" y="173"/>
                </a:moveTo>
                <a:cubicBezTo>
                  <a:pt x="98" y="202"/>
                  <a:pt x="98" y="202"/>
                  <a:pt x="98" y="202"/>
                </a:cubicBezTo>
                <a:cubicBezTo>
                  <a:pt x="101" y="206"/>
                  <a:pt x="105" y="209"/>
                  <a:pt x="109" y="212"/>
                </a:cubicBezTo>
                <a:cubicBezTo>
                  <a:pt x="135" y="185"/>
                  <a:pt x="135" y="185"/>
                  <a:pt x="135" y="185"/>
                </a:cubicBezTo>
                <a:cubicBezTo>
                  <a:pt x="135" y="177"/>
                  <a:pt x="135" y="177"/>
                  <a:pt x="135" y="177"/>
                </a:cubicBezTo>
                <a:cubicBezTo>
                  <a:pt x="132" y="176"/>
                  <a:pt x="129" y="174"/>
                  <a:pt x="126" y="173"/>
                </a:cubicBezTo>
                <a:moveTo>
                  <a:pt x="112" y="164"/>
                </a:moveTo>
                <a:cubicBezTo>
                  <a:pt x="86" y="190"/>
                  <a:pt x="86" y="190"/>
                  <a:pt x="86" y="190"/>
                </a:cubicBezTo>
                <a:cubicBezTo>
                  <a:pt x="90" y="194"/>
                  <a:pt x="93" y="197"/>
                  <a:pt x="97" y="201"/>
                </a:cubicBezTo>
                <a:cubicBezTo>
                  <a:pt x="125" y="172"/>
                  <a:pt x="125" y="172"/>
                  <a:pt x="125" y="172"/>
                </a:cubicBezTo>
                <a:cubicBezTo>
                  <a:pt x="121" y="170"/>
                  <a:pt x="116" y="167"/>
                  <a:pt x="112" y="164"/>
                </a:cubicBezTo>
                <a:moveTo>
                  <a:pt x="160" y="163"/>
                </a:moveTo>
                <a:cubicBezTo>
                  <a:pt x="136" y="186"/>
                  <a:pt x="136" y="186"/>
                  <a:pt x="136" y="186"/>
                </a:cubicBezTo>
                <a:cubicBezTo>
                  <a:pt x="136" y="194"/>
                  <a:pt x="136" y="201"/>
                  <a:pt x="136" y="209"/>
                </a:cubicBezTo>
                <a:cubicBezTo>
                  <a:pt x="161" y="184"/>
                  <a:pt x="161" y="184"/>
                  <a:pt x="161" y="184"/>
                </a:cubicBezTo>
                <a:cubicBezTo>
                  <a:pt x="160" y="176"/>
                  <a:pt x="160" y="170"/>
                  <a:pt x="160" y="163"/>
                </a:cubicBezTo>
                <a:moveTo>
                  <a:pt x="98" y="155"/>
                </a:moveTo>
                <a:cubicBezTo>
                  <a:pt x="75" y="178"/>
                  <a:pt x="75" y="178"/>
                  <a:pt x="75" y="178"/>
                </a:cubicBezTo>
                <a:cubicBezTo>
                  <a:pt x="78" y="182"/>
                  <a:pt x="82" y="186"/>
                  <a:pt x="85" y="189"/>
                </a:cubicBezTo>
                <a:cubicBezTo>
                  <a:pt x="111" y="163"/>
                  <a:pt x="111" y="163"/>
                  <a:pt x="111" y="163"/>
                </a:cubicBezTo>
                <a:cubicBezTo>
                  <a:pt x="106" y="161"/>
                  <a:pt x="102" y="158"/>
                  <a:pt x="98" y="155"/>
                </a:cubicBezTo>
                <a:moveTo>
                  <a:pt x="85" y="144"/>
                </a:moveTo>
                <a:cubicBezTo>
                  <a:pt x="64" y="166"/>
                  <a:pt x="64" y="166"/>
                  <a:pt x="64" y="166"/>
                </a:cubicBezTo>
                <a:cubicBezTo>
                  <a:pt x="67" y="170"/>
                  <a:pt x="71" y="173"/>
                  <a:pt x="74" y="177"/>
                </a:cubicBezTo>
                <a:cubicBezTo>
                  <a:pt x="97" y="154"/>
                  <a:pt x="97" y="154"/>
                  <a:pt x="97" y="154"/>
                </a:cubicBezTo>
                <a:cubicBezTo>
                  <a:pt x="93" y="151"/>
                  <a:pt x="89" y="148"/>
                  <a:pt x="85" y="144"/>
                </a:cubicBezTo>
                <a:moveTo>
                  <a:pt x="158" y="141"/>
                </a:moveTo>
                <a:cubicBezTo>
                  <a:pt x="137" y="162"/>
                  <a:pt x="137" y="162"/>
                  <a:pt x="137" y="162"/>
                </a:cubicBezTo>
                <a:cubicBezTo>
                  <a:pt x="137" y="170"/>
                  <a:pt x="137" y="177"/>
                  <a:pt x="136" y="184"/>
                </a:cubicBezTo>
                <a:cubicBezTo>
                  <a:pt x="159" y="161"/>
                  <a:pt x="159" y="161"/>
                  <a:pt x="159" y="161"/>
                </a:cubicBezTo>
                <a:cubicBezTo>
                  <a:pt x="159" y="154"/>
                  <a:pt x="159" y="148"/>
                  <a:pt x="158" y="141"/>
                </a:cubicBezTo>
                <a:moveTo>
                  <a:pt x="72" y="134"/>
                </a:moveTo>
                <a:cubicBezTo>
                  <a:pt x="53" y="153"/>
                  <a:pt x="53" y="153"/>
                  <a:pt x="53" y="153"/>
                </a:cubicBezTo>
                <a:cubicBezTo>
                  <a:pt x="56" y="157"/>
                  <a:pt x="60" y="161"/>
                  <a:pt x="63" y="165"/>
                </a:cubicBezTo>
                <a:cubicBezTo>
                  <a:pt x="84" y="144"/>
                  <a:pt x="84" y="144"/>
                  <a:pt x="84" y="144"/>
                </a:cubicBezTo>
                <a:cubicBezTo>
                  <a:pt x="80" y="140"/>
                  <a:pt x="76" y="137"/>
                  <a:pt x="72" y="134"/>
                </a:cubicBezTo>
                <a:moveTo>
                  <a:pt x="60" y="122"/>
                </a:moveTo>
                <a:cubicBezTo>
                  <a:pt x="42" y="140"/>
                  <a:pt x="42" y="140"/>
                  <a:pt x="42" y="140"/>
                </a:cubicBezTo>
                <a:cubicBezTo>
                  <a:pt x="46" y="144"/>
                  <a:pt x="49" y="148"/>
                  <a:pt x="52" y="152"/>
                </a:cubicBezTo>
                <a:cubicBezTo>
                  <a:pt x="72" y="133"/>
                  <a:pt x="72" y="133"/>
                  <a:pt x="72" y="133"/>
                </a:cubicBezTo>
                <a:cubicBezTo>
                  <a:pt x="68" y="129"/>
                  <a:pt x="64" y="126"/>
                  <a:pt x="60" y="122"/>
                </a:cubicBezTo>
                <a:moveTo>
                  <a:pt x="156" y="120"/>
                </a:moveTo>
                <a:cubicBezTo>
                  <a:pt x="137" y="139"/>
                  <a:pt x="137" y="139"/>
                  <a:pt x="137" y="139"/>
                </a:cubicBezTo>
                <a:cubicBezTo>
                  <a:pt x="137" y="146"/>
                  <a:pt x="137" y="154"/>
                  <a:pt x="137" y="161"/>
                </a:cubicBezTo>
                <a:cubicBezTo>
                  <a:pt x="158" y="140"/>
                  <a:pt x="158" y="140"/>
                  <a:pt x="158" y="140"/>
                </a:cubicBezTo>
                <a:cubicBezTo>
                  <a:pt x="157" y="133"/>
                  <a:pt x="157" y="126"/>
                  <a:pt x="156" y="120"/>
                </a:cubicBezTo>
                <a:moveTo>
                  <a:pt x="49" y="110"/>
                </a:moveTo>
                <a:cubicBezTo>
                  <a:pt x="32" y="127"/>
                  <a:pt x="32" y="127"/>
                  <a:pt x="32" y="127"/>
                </a:cubicBezTo>
                <a:cubicBezTo>
                  <a:pt x="35" y="131"/>
                  <a:pt x="39" y="135"/>
                  <a:pt x="42" y="139"/>
                </a:cubicBezTo>
                <a:cubicBezTo>
                  <a:pt x="60" y="121"/>
                  <a:pt x="60" y="121"/>
                  <a:pt x="60" y="121"/>
                </a:cubicBezTo>
                <a:cubicBezTo>
                  <a:pt x="56" y="118"/>
                  <a:pt x="53" y="114"/>
                  <a:pt x="49" y="110"/>
                </a:cubicBezTo>
                <a:moveTo>
                  <a:pt x="153" y="99"/>
                </a:moveTo>
                <a:cubicBezTo>
                  <a:pt x="137" y="116"/>
                  <a:pt x="137" y="116"/>
                  <a:pt x="137" y="116"/>
                </a:cubicBezTo>
                <a:cubicBezTo>
                  <a:pt x="137" y="123"/>
                  <a:pt x="137" y="130"/>
                  <a:pt x="137" y="137"/>
                </a:cubicBezTo>
                <a:cubicBezTo>
                  <a:pt x="156" y="119"/>
                  <a:pt x="156" y="119"/>
                  <a:pt x="156" y="119"/>
                </a:cubicBezTo>
                <a:cubicBezTo>
                  <a:pt x="155" y="112"/>
                  <a:pt x="154" y="106"/>
                  <a:pt x="153" y="99"/>
                </a:cubicBezTo>
                <a:moveTo>
                  <a:pt x="38" y="98"/>
                </a:moveTo>
                <a:cubicBezTo>
                  <a:pt x="22" y="114"/>
                  <a:pt x="22" y="114"/>
                  <a:pt x="22" y="114"/>
                </a:cubicBezTo>
                <a:cubicBezTo>
                  <a:pt x="25" y="118"/>
                  <a:pt x="29" y="122"/>
                  <a:pt x="32" y="126"/>
                </a:cubicBezTo>
                <a:cubicBezTo>
                  <a:pt x="48" y="110"/>
                  <a:pt x="48" y="110"/>
                  <a:pt x="48" y="110"/>
                </a:cubicBezTo>
                <a:cubicBezTo>
                  <a:pt x="45" y="106"/>
                  <a:pt x="41" y="102"/>
                  <a:pt x="38" y="98"/>
                </a:cubicBezTo>
                <a:moveTo>
                  <a:pt x="27" y="86"/>
                </a:moveTo>
                <a:cubicBezTo>
                  <a:pt x="13" y="100"/>
                  <a:pt x="13" y="100"/>
                  <a:pt x="13" y="100"/>
                </a:cubicBezTo>
                <a:cubicBezTo>
                  <a:pt x="16" y="104"/>
                  <a:pt x="19" y="109"/>
                  <a:pt x="22" y="113"/>
                </a:cubicBezTo>
                <a:cubicBezTo>
                  <a:pt x="37" y="97"/>
                  <a:pt x="37" y="97"/>
                  <a:pt x="37" y="97"/>
                </a:cubicBezTo>
                <a:cubicBezTo>
                  <a:pt x="34" y="93"/>
                  <a:pt x="31" y="89"/>
                  <a:pt x="27" y="86"/>
                </a:cubicBezTo>
                <a:moveTo>
                  <a:pt x="150" y="79"/>
                </a:moveTo>
                <a:cubicBezTo>
                  <a:pt x="136" y="93"/>
                  <a:pt x="136" y="93"/>
                  <a:pt x="136" y="93"/>
                </a:cubicBezTo>
                <a:cubicBezTo>
                  <a:pt x="136" y="100"/>
                  <a:pt x="136" y="107"/>
                  <a:pt x="137" y="114"/>
                </a:cubicBezTo>
                <a:cubicBezTo>
                  <a:pt x="153" y="98"/>
                  <a:pt x="153" y="98"/>
                  <a:pt x="153" y="98"/>
                </a:cubicBezTo>
                <a:cubicBezTo>
                  <a:pt x="152" y="91"/>
                  <a:pt x="151" y="85"/>
                  <a:pt x="150" y="79"/>
                </a:cubicBezTo>
                <a:moveTo>
                  <a:pt x="17" y="72"/>
                </a:moveTo>
                <a:cubicBezTo>
                  <a:pt x="4" y="86"/>
                  <a:pt x="4" y="86"/>
                  <a:pt x="4" y="86"/>
                </a:cubicBezTo>
                <a:cubicBezTo>
                  <a:pt x="6" y="90"/>
                  <a:pt x="9" y="95"/>
                  <a:pt x="12" y="99"/>
                </a:cubicBezTo>
                <a:cubicBezTo>
                  <a:pt x="27" y="85"/>
                  <a:pt x="27" y="85"/>
                  <a:pt x="27" y="85"/>
                </a:cubicBezTo>
                <a:cubicBezTo>
                  <a:pt x="23" y="81"/>
                  <a:pt x="20" y="77"/>
                  <a:pt x="17" y="72"/>
                </a:cubicBezTo>
                <a:moveTo>
                  <a:pt x="10" y="62"/>
                </a:moveTo>
                <a:cubicBezTo>
                  <a:pt x="6" y="68"/>
                  <a:pt x="3" y="74"/>
                  <a:pt x="0" y="80"/>
                </a:cubicBezTo>
                <a:cubicBezTo>
                  <a:pt x="1" y="82"/>
                  <a:pt x="2" y="84"/>
                  <a:pt x="3" y="86"/>
                </a:cubicBezTo>
                <a:cubicBezTo>
                  <a:pt x="4" y="85"/>
                  <a:pt x="4" y="84"/>
                  <a:pt x="5" y="83"/>
                </a:cubicBezTo>
                <a:cubicBezTo>
                  <a:pt x="16" y="72"/>
                  <a:pt x="16" y="72"/>
                  <a:pt x="16" y="72"/>
                </a:cubicBezTo>
                <a:cubicBezTo>
                  <a:pt x="14" y="69"/>
                  <a:pt x="12" y="65"/>
                  <a:pt x="10" y="62"/>
                </a:cubicBezTo>
                <a:moveTo>
                  <a:pt x="146" y="60"/>
                </a:moveTo>
                <a:cubicBezTo>
                  <a:pt x="135" y="71"/>
                  <a:pt x="135" y="71"/>
                  <a:pt x="135" y="71"/>
                </a:cubicBezTo>
                <a:cubicBezTo>
                  <a:pt x="135" y="78"/>
                  <a:pt x="136" y="85"/>
                  <a:pt x="136" y="92"/>
                </a:cubicBezTo>
                <a:cubicBezTo>
                  <a:pt x="150" y="78"/>
                  <a:pt x="150" y="78"/>
                  <a:pt x="150" y="78"/>
                </a:cubicBezTo>
                <a:cubicBezTo>
                  <a:pt x="149" y="71"/>
                  <a:pt x="147" y="65"/>
                  <a:pt x="146" y="60"/>
                </a:cubicBezTo>
                <a:moveTo>
                  <a:pt x="142" y="41"/>
                </a:moveTo>
                <a:cubicBezTo>
                  <a:pt x="134" y="49"/>
                  <a:pt x="134" y="49"/>
                  <a:pt x="134" y="49"/>
                </a:cubicBezTo>
                <a:cubicBezTo>
                  <a:pt x="134" y="56"/>
                  <a:pt x="134" y="63"/>
                  <a:pt x="135" y="70"/>
                </a:cubicBezTo>
                <a:cubicBezTo>
                  <a:pt x="146" y="58"/>
                  <a:pt x="146" y="58"/>
                  <a:pt x="146" y="58"/>
                </a:cubicBezTo>
                <a:cubicBezTo>
                  <a:pt x="145" y="52"/>
                  <a:pt x="143" y="46"/>
                  <a:pt x="142" y="41"/>
                </a:cubicBezTo>
                <a:moveTo>
                  <a:pt x="137" y="22"/>
                </a:moveTo>
                <a:cubicBezTo>
                  <a:pt x="132" y="27"/>
                  <a:pt x="132" y="27"/>
                  <a:pt x="132" y="27"/>
                </a:cubicBezTo>
                <a:cubicBezTo>
                  <a:pt x="133" y="34"/>
                  <a:pt x="133" y="41"/>
                  <a:pt x="134" y="48"/>
                </a:cubicBezTo>
                <a:cubicBezTo>
                  <a:pt x="142" y="39"/>
                  <a:pt x="142" y="39"/>
                  <a:pt x="142" y="39"/>
                </a:cubicBezTo>
                <a:cubicBezTo>
                  <a:pt x="140" y="33"/>
                  <a:pt x="139" y="27"/>
                  <a:pt x="137" y="22"/>
                </a:cubicBezTo>
                <a:moveTo>
                  <a:pt x="131" y="5"/>
                </a:moveTo>
                <a:cubicBezTo>
                  <a:pt x="130" y="6"/>
                  <a:pt x="130" y="6"/>
                  <a:pt x="130" y="6"/>
                </a:cubicBezTo>
                <a:cubicBezTo>
                  <a:pt x="131" y="13"/>
                  <a:pt x="131" y="19"/>
                  <a:pt x="132" y="26"/>
                </a:cubicBezTo>
                <a:cubicBezTo>
                  <a:pt x="137" y="21"/>
                  <a:pt x="137" y="21"/>
                  <a:pt x="137" y="21"/>
                </a:cubicBezTo>
                <a:cubicBezTo>
                  <a:pt x="135" y="14"/>
                  <a:pt x="133" y="8"/>
                  <a:pt x="131" y="5"/>
                </a:cubicBezTo>
                <a:moveTo>
                  <a:pt x="129" y="0"/>
                </a:moveTo>
                <a:cubicBezTo>
                  <a:pt x="130" y="1"/>
                  <a:pt x="130" y="3"/>
                  <a:pt x="130" y="5"/>
                </a:cubicBezTo>
                <a:cubicBezTo>
                  <a:pt x="131" y="4"/>
                  <a:pt x="131" y="4"/>
                  <a:pt x="131" y="4"/>
                </a:cubicBezTo>
                <a:cubicBezTo>
                  <a:pt x="130" y="1"/>
                  <a:pt x="129" y="0"/>
                  <a:pt x="129" y="0"/>
                </a:cubicBezTo>
              </a:path>
            </a:pathLst>
          </a:custGeom>
          <a:solidFill>
            <a:srgbClr val="786D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39" name="Freeform 84">
            <a:extLst>
              <a:ext uri="{FF2B5EF4-FFF2-40B4-BE49-F238E27FC236}">
                <a16:creationId xmlns:a16="http://schemas.microsoft.com/office/drawing/2014/main" id="{0FEADEAC-E1C9-4566-B104-83A3DBCE2E5F}"/>
              </a:ext>
            </a:extLst>
          </p:cNvPr>
          <p:cNvSpPr>
            <a:spLocks noEditPoints="1"/>
          </p:cNvSpPr>
          <p:nvPr/>
        </p:nvSpPr>
        <p:spPr bwMode="auto">
          <a:xfrm>
            <a:off x="5846029" y="3448893"/>
            <a:ext cx="175186" cy="175186"/>
          </a:xfrm>
          <a:custGeom>
            <a:avLst/>
            <a:gdLst>
              <a:gd name="T0" fmla="*/ 0 w 50"/>
              <a:gd name="T1" fmla="*/ 49 h 50"/>
              <a:gd name="T2" fmla="*/ 0 w 50"/>
              <a:gd name="T3" fmla="*/ 50 h 50"/>
              <a:gd name="T4" fmla="*/ 1 w 50"/>
              <a:gd name="T5" fmla="*/ 49 h 50"/>
              <a:gd name="T6" fmla="*/ 0 w 50"/>
              <a:gd name="T7" fmla="*/ 49 h 50"/>
              <a:gd name="T8" fmla="*/ 50 w 50"/>
              <a:gd name="T9" fmla="*/ 0 h 50"/>
              <a:gd name="T10" fmla="*/ 48 w 50"/>
              <a:gd name="T11" fmla="*/ 0 h 50"/>
              <a:gd name="T12" fmla="*/ 13 w 50"/>
              <a:gd name="T13" fmla="*/ 35 h 50"/>
              <a:gd name="T14" fmla="*/ 14 w 50"/>
              <a:gd name="T15" fmla="*/ 35 h 50"/>
              <a:gd name="T16" fmla="*/ 50 w 50"/>
              <a:gd name="T17"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50">
                <a:moveTo>
                  <a:pt x="0" y="49"/>
                </a:moveTo>
                <a:cubicBezTo>
                  <a:pt x="0" y="49"/>
                  <a:pt x="0" y="49"/>
                  <a:pt x="0" y="50"/>
                </a:cubicBezTo>
                <a:cubicBezTo>
                  <a:pt x="1" y="49"/>
                  <a:pt x="1" y="49"/>
                  <a:pt x="1" y="49"/>
                </a:cubicBezTo>
                <a:cubicBezTo>
                  <a:pt x="1" y="49"/>
                  <a:pt x="1" y="49"/>
                  <a:pt x="0" y="49"/>
                </a:cubicBezTo>
                <a:moveTo>
                  <a:pt x="50" y="0"/>
                </a:moveTo>
                <a:cubicBezTo>
                  <a:pt x="48" y="0"/>
                  <a:pt x="48" y="0"/>
                  <a:pt x="48" y="0"/>
                </a:cubicBezTo>
                <a:cubicBezTo>
                  <a:pt x="13" y="35"/>
                  <a:pt x="13" y="35"/>
                  <a:pt x="13" y="35"/>
                </a:cubicBezTo>
                <a:cubicBezTo>
                  <a:pt x="14" y="35"/>
                  <a:pt x="14" y="35"/>
                  <a:pt x="14" y="35"/>
                </a:cubicBezTo>
                <a:cubicBezTo>
                  <a:pt x="50" y="0"/>
                  <a:pt x="50" y="0"/>
                  <a:pt x="50" y="0"/>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40" name="Freeform 85">
            <a:extLst>
              <a:ext uri="{FF2B5EF4-FFF2-40B4-BE49-F238E27FC236}">
                <a16:creationId xmlns:a16="http://schemas.microsoft.com/office/drawing/2014/main" id="{83406303-26F3-4ADD-A174-6248D3E73893}"/>
              </a:ext>
            </a:extLst>
          </p:cNvPr>
          <p:cNvSpPr>
            <a:spLocks/>
          </p:cNvSpPr>
          <p:nvPr/>
        </p:nvSpPr>
        <p:spPr bwMode="auto">
          <a:xfrm>
            <a:off x="5846029" y="3571245"/>
            <a:ext cx="50053" cy="47273"/>
          </a:xfrm>
          <a:custGeom>
            <a:avLst/>
            <a:gdLst>
              <a:gd name="T0" fmla="*/ 13 w 14"/>
              <a:gd name="T1" fmla="*/ 0 h 14"/>
              <a:gd name="T2" fmla="*/ 2 w 14"/>
              <a:gd name="T3" fmla="*/ 11 h 14"/>
              <a:gd name="T4" fmla="*/ 0 w 14"/>
              <a:gd name="T5" fmla="*/ 14 h 14"/>
              <a:gd name="T6" fmla="*/ 1 w 14"/>
              <a:gd name="T7" fmla="*/ 14 h 14"/>
              <a:gd name="T8" fmla="*/ 14 w 14"/>
              <a:gd name="T9" fmla="*/ 0 h 14"/>
              <a:gd name="T10" fmla="*/ 13 w 14"/>
              <a:gd name="T11" fmla="*/ 0 h 14"/>
            </a:gdLst>
            <a:ahLst/>
            <a:cxnLst>
              <a:cxn ang="0">
                <a:pos x="T0" y="T1"/>
              </a:cxn>
              <a:cxn ang="0">
                <a:pos x="T2" y="T3"/>
              </a:cxn>
              <a:cxn ang="0">
                <a:pos x="T4" y="T5"/>
              </a:cxn>
              <a:cxn ang="0">
                <a:pos x="T6" y="T7"/>
              </a:cxn>
              <a:cxn ang="0">
                <a:pos x="T8" y="T9"/>
              </a:cxn>
              <a:cxn ang="0">
                <a:pos x="T10" y="T11"/>
              </a:cxn>
            </a:cxnLst>
            <a:rect l="0" t="0" r="r" b="b"/>
            <a:pathLst>
              <a:path w="14" h="14">
                <a:moveTo>
                  <a:pt x="13" y="0"/>
                </a:moveTo>
                <a:cubicBezTo>
                  <a:pt x="2" y="11"/>
                  <a:pt x="2" y="11"/>
                  <a:pt x="2" y="11"/>
                </a:cubicBezTo>
                <a:cubicBezTo>
                  <a:pt x="1" y="12"/>
                  <a:pt x="1" y="13"/>
                  <a:pt x="0" y="14"/>
                </a:cubicBezTo>
                <a:cubicBezTo>
                  <a:pt x="1" y="14"/>
                  <a:pt x="1" y="14"/>
                  <a:pt x="1" y="14"/>
                </a:cubicBezTo>
                <a:cubicBezTo>
                  <a:pt x="14" y="0"/>
                  <a:pt x="14" y="0"/>
                  <a:pt x="14" y="0"/>
                </a:cubicBezTo>
                <a:cubicBezTo>
                  <a:pt x="14" y="0"/>
                  <a:pt x="14" y="0"/>
                  <a:pt x="13" y="0"/>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41" name="Freeform 86">
            <a:extLst>
              <a:ext uri="{FF2B5EF4-FFF2-40B4-BE49-F238E27FC236}">
                <a16:creationId xmlns:a16="http://schemas.microsoft.com/office/drawing/2014/main" id="{51E6C5B5-A12E-4C61-974E-E2EE0956F349}"/>
              </a:ext>
            </a:extLst>
          </p:cNvPr>
          <p:cNvSpPr>
            <a:spLocks noEditPoints="1"/>
          </p:cNvSpPr>
          <p:nvPr/>
        </p:nvSpPr>
        <p:spPr bwMode="auto">
          <a:xfrm>
            <a:off x="5793196" y="3448893"/>
            <a:ext cx="308661" cy="303100"/>
          </a:xfrm>
          <a:custGeom>
            <a:avLst/>
            <a:gdLst>
              <a:gd name="T0" fmla="*/ 24 w 88"/>
              <a:gd name="T1" fmla="*/ 62 h 87"/>
              <a:gd name="T2" fmla="*/ 0 w 88"/>
              <a:gd name="T3" fmla="*/ 86 h 87"/>
              <a:gd name="T4" fmla="*/ 1 w 88"/>
              <a:gd name="T5" fmla="*/ 87 h 87"/>
              <a:gd name="T6" fmla="*/ 25 w 88"/>
              <a:gd name="T7" fmla="*/ 63 h 87"/>
              <a:gd name="T8" fmla="*/ 24 w 88"/>
              <a:gd name="T9" fmla="*/ 62 h 87"/>
              <a:gd name="T10" fmla="*/ 88 w 88"/>
              <a:gd name="T11" fmla="*/ 0 h 87"/>
              <a:gd name="T12" fmla="*/ 86 w 88"/>
              <a:gd name="T13" fmla="*/ 0 h 87"/>
              <a:gd name="T14" fmla="*/ 39 w 88"/>
              <a:gd name="T15" fmla="*/ 48 h 87"/>
              <a:gd name="T16" fmla="*/ 39 w 88"/>
              <a:gd name="T17" fmla="*/ 49 h 87"/>
              <a:gd name="T18" fmla="*/ 88 w 88"/>
              <a:gd name="T19" fmla="*/ 0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87">
                <a:moveTo>
                  <a:pt x="24" y="62"/>
                </a:moveTo>
                <a:cubicBezTo>
                  <a:pt x="0" y="86"/>
                  <a:pt x="0" y="86"/>
                  <a:pt x="0" y="86"/>
                </a:cubicBezTo>
                <a:cubicBezTo>
                  <a:pt x="1" y="86"/>
                  <a:pt x="1" y="87"/>
                  <a:pt x="1" y="87"/>
                </a:cubicBezTo>
                <a:cubicBezTo>
                  <a:pt x="25" y="63"/>
                  <a:pt x="25" y="63"/>
                  <a:pt x="25" y="63"/>
                </a:cubicBezTo>
                <a:cubicBezTo>
                  <a:pt x="25" y="63"/>
                  <a:pt x="24" y="62"/>
                  <a:pt x="24" y="62"/>
                </a:cubicBezTo>
                <a:moveTo>
                  <a:pt x="88" y="0"/>
                </a:moveTo>
                <a:cubicBezTo>
                  <a:pt x="86" y="0"/>
                  <a:pt x="86" y="0"/>
                  <a:pt x="86" y="0"/>
                </a:cubicBezTo>
                <a:cubicBezTo>
                  <a:pt x="39" y="48"/>
                  <a:pt x="39" y="48"/>
                  <a:pt x="39" y="48"/>
                </a:cubicBezTo>
                <a:cubicBezTo>
                  <a:pt x="39" y="48"/>
                  <a:pt x="39" y="48"/>
                  <a:pt x="39" y="49"/>
                </a:cubicBezTo>
                <a:cubicBezTo>
                  <a:pt x="88" y="0"/>
                  <a:pt x="88" y="0"/>
                  <a:pt x="88" y="0"/>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42" name="Freeform 87">
            <a:extLst>
              <a:ext uri="{FF2B5EF4-FFF2-40B4-BE49-F238E27FC236}">
                <a16:creationId xmlns:a16="http://schemas.microsoft.com/office/drawing/2014/main" id="{ACC1F5E9-F26D-4541-B0E3-67FDB171ECD9}"/>
              </a:ext>
            </a:extLst>
          </p:cNvPr>
          <p:cNvSpPr>
            <a:spLocks/>
          </p:cNvSpPr>
          <p:nvPr/>
        </p:nvSpPr>
        <p:spPr bwMode="auto">
          <a:xfrm>
            <a:off x="5879398" y="3615738"/>
            <a:ext cx="50053" cy="52834"/>
          </a:xfrm>
          <a:custGeom>
            <a:avLst/>
            <a:gdLst>
              <a:gd name="T0" fmla="*/ 15 w 15"/>
              <a:gd name="T1" fmla="*/ 0 h 15"/>
              <a:gd name="T2" fmla="*/ 0 w 15"/>
              <a:gd name="T3" fmla="*/ 14 h 15"/>
              <a:gd name="T4" fmla="*/ 1 w 15"/>
              <a:gd name="T5" fmla="*/ 15 h 15"/>
              <a:gd name="T6" fmla="*/ 15 w 15"/>
              <a:gd name="T7" fmla="*/ 1 h 15"/>
              <a:gd name="T8" fmla="*/ 15 w 15"/>
              <a:gd name="T9" fmla="*/ 0 h 15"/>
            </a:gdLst>
            <a:ahLst/>
            <a:cxnLst>
              <a:cxn ang="0">
                <a:pos x="T0" y="T1"/>
              </a:cxn>
              <a:cxn ang="0">
                <a:pos x="T2" y="T3"/>
              </a:cxn>
              <a:cxn ang="0">
                <a:pos x="T4" y="T5"/>
              </a:cxn>
              <a:cxn ang="0">
                <a:pos x="T6" y="T7"/>
              </a:cxn>
              <a:cxn ang="0">
                <a:pos x="T8" y="T9"/>
              </a:cxn>
            </a:cxnLst>
            <a:rect l="0" t="0" r="r" b="b"/>
            <a:pathLst>
              <a:path w="15" h="15">
                <a:moveTo>
                  <a:pt x="15" y="0"/>
                </a:moveTo>
                <a:cubicBezTo>
                  <a:pt x="0" y="14"/>
                  <a:pt x="0" y="14"/>
                  <a:pt x="0" y="14"/>
                </a:cubicBezTo>
                <a:cubicBezTo>
                  <a:pt x="0" y="14"/>
                  <a:pt x="1" y="15"/>
                  <a:pt x="1" y="15"/>
                </a:cubicBezTo>
                <a:cubicBezTo>
                  <a:pt x="15" y="1"/>
                  <a:pt x="15" y="1"/>
                  <a:pt x="15" y="1"/>
                </a:cubicBezTo>
                <a:cubicBezTo>
                  <a:pt x="15" y="0"/>
                  <a:pt x="15" y="0"/>
                  <a:pt x="15" y="0"/>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43" name="Freeform 88">
            <a:extLst>
              <a:ext uri="{FF2B5EF4-FFF2-40B4-BE49-F238E27FC236}">
                <a16:creationId xmlns:a16="http://schemas.microsoft.com/office/drawing/2014/main" id="{3B9008E0-99DC-4097-A3DB-9EF2DA7FA1B6}"/>
              </a:ext>
            </a:extLst>
          </p:cNvPr>
          <p:cNvSpPr>
            <a:spLocks noEditPoints="1"/>
          </p:cNvSpPr>
          <p:nvPr/>
        </p:nvSpPr>
        <p:spPr bwMode="auto">
          <a:xfrm>
            <a:off x="5832126" y="3448893"/>
            <a:ext cx="350372" cy="347591"/>
          </a:xfrm>
          <a:custGeom>
            <a:avLst/>
            <a:gdLst>
              <a:gd name="T0" fmla="*/ 23 w 100"/>
              <a:gd name="T1" fmla="*/ 76 h 100"/>
              <a:gd name="T2" fmla="*/ 0 w 100"/>
              <a:gd name="T3" fmla="*/ 99 h 100"/>
              <a:gd name="T4" fmla="*/ 1 w 100"/>
              <a:gd name="T5" fmla="*/ 100 h 100"/>
              <a:gd name="T6" fmla="*/ 23 w 100"/>
              <a:gd name="T7" fmla="*/ 77 h 100"/>
              <a:gd name="T8" fmla="*/ 23 w 100"/>
              <a:gd name="T9" fmla="*/ 76 h 100"/>
              <a:gd name="T10" fmla="*/ 100 w 100"/>
              <a:gd name="T11" fmla="*/ 0 h 100"/>
              <a:gd name="T12" fmla="*/ 99 w 100"/>
              <a:gd name="T13" fmla="*/ 0 h 100"/>
              <a:gd name="T14" fmla="*/ 38 w 100"/>
              <a:gd name="T15" fmla="*/ 60 h 100"/>
              <a:gd name="T16" fmla="*/ 39 w 100"/>
              <a:gd name="T17" fmla="*/ 61 h 100"/>
              <a:gd name="T18" fmla="*/ 100 w 100"/>
              <a:gd name="T19" fmla="*/ 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0" h="100">
                <a:moveTo>
                  <a:pt x="23" y="76"/>
                </a:moveTo>
                <a:cubicBezTo>
                  <a:pt x="0" y="99"/>
                  <a:pt x="0" y="99"/>
                  <a:pt x="0" y="99"/>
                </a:cubicBezTo>
                <a:cubicBezTo>
                  <a:pt x="0" y="99"/>
                  <a:pt x="0" y="99"/>
                  <a:pt x="1" y="100"/>
                </a:cubicBezTo>
                <a:cubicBezTo>
                  <a:pt x="23" y="77"/>
                  <a:pt x="23" y="77"/>
                  <a:pt x="23" y="77"/>
                </a:cubicBezTo>
                <a:cubicBezTo>
                  <a:pt x="23" y="76"/>
                  <a:pt x="23" y="76"/>
                  <a:pt x="23" y="76"/>
                </a:cubicBezTo>
                <a:moveTo>
                  <a:pt x="100" y="0"/>
                </a:moveTo>
                <a:cubicBezTo>
                  <a:pt x="99" y="0"/>
                  <a:pt x="99" y="0"/>
                  <a:pt x="99" y="0"/>
                </a:cubicBezTo>
                <a:cubicBezTo>
                  <a:pt x="38" y="60"/>
                  <a:pt x="38" y="60"/>
                  <a:pt x="38" y="60"/>
                </a:cubicBezTo>
                <a:cubicBezTo>
                  <a:pt x="38" y="61"/>
                  <a:pt x="39" y="61"/>
                  <a:pt x="39" y="61"/>
                </a:cubicBezTo>
                <a:cubicBezTo>
                  <a:pt x="100" y="0"/>
                  <a:pt x="100" y="0"/>
                  <a:pt x="100" y="0"/>
                </a:cubicBezTo>
              </a:path>
            </a:pathLst>
          </a:custGeom>
          <a:solidFill>
            <a:srgbClr val="6582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44" name="Freeform 89">
            <a:extLst>
              <a:ext uri="{FF2B5EF4-FFF2-40B4-BE49-F238E27FC236}">
                <a16:creationId xmlns:a16="http://schemas.microsoft.com/office/drawing/2014/main" id="{77CF0072-F87E-4BD9-90FD-6C87FF8E46C9}"/>
              </a:ext>
            </a:extLst>
          </p:cNvPr>
          <p:cNvSpPr>
            <a:spLocks/>
          </p:cNvSpPr>
          <p:nvPr/>
        </p:nvSpPr>
        <p:spPr bwMode="auto">
          <a:xfrm>
            <a:off x="5912767" y="3657448"/>
            <a:ext cx="55615" cy="61176"/>
          </a:xfrm>
          <a:custGeom>
            <a:avLst/>
            <a:gdLst>
              <a:gd name="T0" fmla="*/ 15 w 16"/>
              <a:gd name="T1" fmla="*/ 0 h 17"/>
              <a:gd name="T2" fmla="*/ 0 w 16"/>
              <a:gd name="T3" fmla="*/ 16 h 17"/>
              <a:gd name="T4" fmla="*/ 0 w 16"/>
              <a:gd name="T5" fmla="*/ 17 h 17"/>
              <a:gd name="T6" fmla="*/ 16 w 16"/>
              <a:gd name="T7" fmla="*/ 1 h 17"/>
              <a:gd name="T8" fmla="*/ 15 w 16"/>
              <a:gd name="T9" fmla="*/ 0 h 17"/>
            </a:gdLst>
            <a:ahLst/>
            <a:cxnLst>
              <a:cxn ang="0">
                <a:pos x="T0" y="T1"/>
              </a:cxn>
              <a:cxn ang="0">
                <a:pos x="T2" y="T3"/>
              </a:cxn>
              <a:cxn ang="0">
                <a:pos x="T4" y="T5"/>
              </a:cxn>
              <a:cxn ang="0">
                <a:pos x="T6" y="T7"/>
              </a:cxn>
              <a:cxn ang="0">
                <a:pos x="T8" y="T9"/>
              </a:cxn>
            </a:cxnLst>
            <a:rect l="0" t="0" r="r" b="b"/>
            <a:pathLst>
              <a:path w="16" h="17">
                <a:moveTo>
                  <a:pt x="15" y="0"/>
                </a:moveTo>
                <a:cubicBezTo>
                  <a:pt x="0" y="16"/>
                  <a:pt x="0" y="16"/>
                  <a:pt x="0" y="16"/>
                </a:cubicBezTo>
                <a:cubicBezTo>
                  <a:pt x="0" y="16"/>
                  <a:pt x="0" y="16"/>
                  <a:pt x="0" y="17"/>
                </a:cubicBezTo>
                <a:cubicBezTo>
                  <a:pt x="16" y="1"/>
                  <a:pt x="16" y="1"/>
                  <a:pt x="16" y="1"/>
                </a:cubicBezTo>
                <a:cubicBezTo>
                  <a:pt x="16" y="1"/>
                  <a:pt x="15" y="1"/>
                  <a:pt x="15" y="0"/>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45" name="Freeform 90">
            <a:extLst>
              <a:ext uri="{FF2B5EF4-FFF2-40B4-BE49-F238E27FC236}">
                <a16:creationId xmlns:a16="http://schemas.microsoft.com/office/drawing/2014/main" id="{3BE10A6F-D91C-4877-9C31-99C5DA4665B0}"/>
              </a:ext>
            </a:extLst>
          </p:cNvPr>
          <p:cNvSpPr>
            <a:spLocks noEditPoints="1"/>
          </p:cNvSpPr>
          <p:nvPr/>
        </p:nvSpPr>
        <p:spPr bwMode="auto">
          <a:xfrm>
            <a:off x="5868275" y="3448893"/>
            <a:ext cx="394863" cy="394863"/>
          </a:xfrm>
          <a:custGeom>
            <a:avLst/>
            <a:gdLst>
              <a:gd name="T0" fmla="*/ 23 w 113"/>
              <a:gd name="T1" fmla="*/ 89 h 113"/>
              <a:gd name="T2" fmla="*/ 0 w 113"/>
              <a:gd name="T3" fmla="*/ 112 h 113"/>
              <a:gd name="T4" fmla="*/ 1 w 113"/>
              <a:gd name="T5" fmla="*/ 113 h 113"/>
              <a:gd name="T6" fmla="*/ 23 w 113"/>
              <a:gd name="T7" fmla="*/ 90 h 113"/>
              <a:gd name="T8" fmla="*/ 23 w 113"/>
              <a:gd name="T9" fmla="*/ 89 h 113"/>
              <a:gd name="T10" fmla="*/ 113 w 113"/>
              <a:gd name="T11" fmla="*/ 0 h 113"/>
              <a:gd name="T12" fmla="*/ 112 w 113"/>
              <a:gd name="T13" fmla="*/ 0 h 113"/>
              <a:gd name="T14" fmla="*/ 39 w 113"/>
              <a:gd name="T15" fmla="*/ 73 h 113"/>
              <a:gd name="T16" fmla="*/ 40 w 113"/>
              <a:gd name="T17" fmla="*/ 73 h 113"/>
              <a:gd name="T18" fmla="*/ 113 w 113"/>
              <a:gd name="T19"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3" h="113">
                <a:moveTo>
                  <a:pt x="23" y="89"/>
                </a:moveTo>
                <a:cubicBezTo>
                  <a:pt x="0" y="112"/>
                  <a:pt x="0" y="112"/>
                  <a:pt x="0" y="112"/>
                </a:cubicBezTo>
                <a:cubicBezTo>
                  <a:pt x="0" y="112"/>
                  <a:pt x="0" y="113"/>
                  <a:pt x="1" y="113"/>
                </a:cubicBezTo>
                <a:cubicBezTo>
                  <a:pt x="23" y="90"/>
                  <a:pt x="23" y="90"/>
                  <a:pt x="23" y="90"/>
                </a:cubicBezTo>
                <a:cubicBezTo>
                  <a:pt x="23" y="90"/>
                  <a:pt x="23" y="90"/>
                  <a:pt x="23" y="89"/>
                </a:cubicBezTo>
                <a:moveTo>
                  <a:pt x="113" y="0"/>
                </a:moveTo>
                <a:cubicBezTo>
                  <a:pt x="112" y="0"/>
                  <a:pt x="112" y="0"/>
                  <a:pt x="112" y="0"/>
                </a:cubicBezTo>
                <a:cubicBezTo>
                  <a:pt x="39" y="73"/>
                  <a:pt x="39" y="73"/>
                  <a:pt x="39" y="73"/>
                </a:cubicBezTo>
                <a:cubicBezTo>
                  <a:pt x="40" y="73"/>
                  <a:pt x="40" y="73"/>
                  <a:pt x="40" y="73"/>
                </a:cubicBezTo>
                <a:cubicBezTo>
                  <a:pt x="113" y="0"/>
                  <a:pt x="113" y="0"/>
                  <a:pt x="113" y="0"/>
                </a:cubicBezTo>
              </a:path>
            </a:pathLst>
          </a:custGeom>
          <a:solidFill>
            <a:srgbClr val="6582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46" name="Freeform 91">
            <a:extLst>
              <a:ext uri="{FF2B5EF4-FFF2-40B4-BE49-F238E27FC236}">
                <a16:creationId xmlns:a16="http://schemas.microsoft.com/office/drawing/2014/main" id="{454222E8-C5DD-45CB-A15F-9B0F6CD0024A}"/>
              </a:ext>
            </a:extLst>
          </p:cNvPr>
          <p:cNvSpPr>
            <a:spLocks/>
          </p:cNvSpPr>
          <p:nvPr/>
        </p:nvSpPr>
        <p:spPr bwMode="auto">
          <a:xfrm>
            <a:off x="5948917" y="3704721"/>
            <a:ext cx="58396" cy="58396"/>
          </a:xfrm>
          <a:custGeom>
            <a:avLst/>
            <a:gdLst>
              <a:gd name="T0" fmla="*/ 16 w 17"/>
              <a:gd name="T1" fmla="*/ 0 h 17"/>
              <a:gd name="T2" fmla="*/ 0 w 17"/>
              <a:gd name="T3" fmla="*/ 16 h 17"/>
              <a:gd name="T4" fmla="*/ 0 w 17"/>
              <a:gd name="T5" fmla="*/ 17 h 17"/>
              <a:gd name="T6" fmla="*/ 17 w 17"/>
              <a:gd name="T7" fmla="*/ 0 h 17"/>
              <a:gd name="T8" fmla="*/ 16 w 17"/>
              <a:gd name="T9" fmla="*/ 0 h 17"/>
            </a:gdLst>
            <a:ahLst/>
            <a:cxnLst>
              <a:cxn ang="0">
                <a:pos x="T0" y="T1"/>
              </a:cxn>
              <a:cxn ang="0">
                <a:pos x="T2" y="T3"/>
              </a:cxn>
              <a:cxn ang="0">
                <a:pos x="T4" y="T5"/>
              </a:cxn>
              <a:cxn ang="0">
                <a:pos x="T6" y="T7"/>
              </a:cxn>
              <a:cxn ang="0">
                <a:pos x="T8" y="T9"/>
              </a:cxn>
            </a:cxnLst>
            <a:rect l="0" t="0" r="r" b="b"/>
            <a:pathLst>
              <a:path w="17" h="17">
                <a:moveTo>
                  <a:pt x="16" y="0"/>
                </a:moveTo>
                <a:cubicBezTo>
                  <a:pt x="0" y="16"/>
                  <a:pt x="0" y="16"/>
                  <a:pt x="0" y="16"/>
                </a:cubicBezTo>
                <a:cubicBezTo>
                  <a:pt x="0" y="17"/>
                  <a:pt x="0" y="17"/>
                  <a:pt x="0" y="17"/>
                </a:cubicBezTo>
                <a:cubicBezTo>
                  <a:pt x="17" y="0"/>
                  <a:pt x="17" y="0"/>
                  <a:pt x="17" y="0"/>
                </a:cubicBezTo>
                <a:cubicBezTo>
                  <a:pt x="17" y="0"/>
                  <a:pt x="17" y="0"/>
                  <a:pt x="16" y="0"/>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47" name="Freeform 92">
            <a:extLst>
              <a:ext uri="{FF2B5EF4-FFF2-40B4-BE49-F238E27FC236}">
                <a16:creationId xmlns:a16="http://schemas.microsoft.com/office/drawing/2014/main" id="{A571BBE1-B4A9-4141-AA40-3B95D6F83E8C}"/>
              </a:ext>
            </a:extLst>
          </p:cNvPr>
          <p:cNvSpPr>
            <a:spLocks noEditPoints="1"/>
          </p:cNvSpPr>
          <p:nvPr/>
        </p:nvSpPr>
        <p:spPr bwMode="auto">
          <a:xfrm>
            <a:off x="5898864" y="3448893"/>
            <a:ext cx="447698" cy="442136"/>
          </a:xfrm>
          <a:custGeom>
            <a:avLst/>
            <a:gdLst>
              <a:gd name="T0" fmla="*/ 24 w 128"/>
              <a:gd name="T1" fmla="*/ 102 h 127"/>
              <a:gd name="T2" fmla="*/ 0 w 128"/>
              <a:gd name="T3" fmla="*/ 126 h 127"/>
              <a:gd name="T4" fmla="*/ 1 w 128"/>
              <a:gd name="T5" fmla="*/ 127 h 127"/>
              <a:gd name="T6" fmla="*/ 24 w 128"/>
              <a:gd name="T7" fmla="*/ 103 h 127"/>
              <a:gd name="T8" fmla="*/ 24 w 128"/>
              <a:gd name="T9" fmla="*/ 102 h 127"/>
              <a:gd name="T10" fmla="*/ 116 w 128"/>
              <a:gd name="T11" fmla="*/ 11 h 127"/>
              <a:gd name="T12" fmla="*/ 42 w 128"/>
              <a:gd name="T13" fmla="*/ 84 h 127"/>
              <a:gd name="T14" fmla="*/ 42 w 128"/>
              <a:gd name="T15" fmla="*/ 85 h 127"/>
              <a:gd name="T16" fmla="*/ 116 w 128"/>
              <a:gd name="T17" fmla="*/ 12 h 127"/>
              <a:gd name="T18" fmla="*/ 116 w 128"/>
              <a:gd name="T19" fmla="*/ 11 h 127"/>
              <a:gd name="T20" fmla="*/ 128 w 128"/>
              <a:gd name="T21" fmla="*/ 0 h 127"/>
              <a:gd name="T22" fmla="*/ 126 w 128"/>
              <a:gd name="T23" fmla="*/ 0 h 127"/>
              <a:gd name="T24" fmla="*/ 124 w 128"/>
              <a:gd name="T25" fmla="*/ 2 h 127"/>
              <a:gd name="T26" fmla="*/ 124 w 128"/>
              <a:gd name="T27" fmla="*/ 4 h 127"/>
              <a:gd name="T28" fmla="*/ 128 w 128"/>
              <a:gd name="T29" fmla="*/ 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8" h="127">
                <a:moveTo>
                  <a:pt x="24" y="102"/>
                </a:moveTo>
                <a:cubicBezTo>
                  <a:pt x="0" y="126"/>
                  <a:pt x="0" y="126"/>
                  <a:pt x="0" y="126"/>
                </a:cubicBezTo>
                <a:cubicBezTo>
                  <a:pt x="1" y="126"/>
                  <a:pt x="1" y="126"/>
                  <a:pt x="1" y="127"/>
                </a:cubicBezTo>
                <a:cubicBezTo>
                  <a:pt x="24" y="103"/>
                  <a:pt x="24" y="103"/>
                  <a:pt x="24" y="103"/>
                </a:cubicBezTo>
                <a:cubicBezTo>
                  <a:pt x="24" y="103"/>
                  <a:pt x="24" y="103"/>
                  <a:pt x="24" y="102"/>
                </a:cubicBezTo>
                <a:moveTo>
                  <a:pt x="116" y="11"/>
                </a:moveTo>
                <a:cubicBezTo>
                  <a:pt x="42" y="84"/>
                  <a:pt x="42" y="84"/>
                  <a:pt x="42" y="84"/>
                </a:cubicBezTo>
                <a:cubicBezTo>
                  <a:pt x="42" y="85"/>
                  <a:pt x="42" y="85"/>
                  <a:pt x="42" y="85"/>
                </a:cubicBezTo>
                <a:cubicBezTo>
                  <a:pt x="116" y="12"/>
                  <a:pt x="116" y="12"/>
                  <a:pt x="116" y="12"/>
                </a:cubicBezTo>
                <a:cubicBezTo>
                  <a:pt x="116" y="12"/>
                  <a:pt x="116" y="11"/>
                  <a:pt x="116" y="11"/>
                </a:cubicBezTo>
                <a:moveTo>
                  <a:pt x="128" y="0"/>
                </a:moveTo>
                <a:cubicBezTo>
                  <a:pt x="126" y="0"/>
                  <a:pt x="126" y="0"/>
                  <a:pt x="126" y="0"/>
                </a:cubicBezTo>
                <a:cubicBezTo>
                  <a:pt x="124" y="2"/>
                  <a:pt x="124" y="2"/>
                  <a:pt x="124" y="2"/>
                </a:cubicBezTo>
                <a:cubicBezTo>
                  <a:pt x="124" y="3"/>
                  <a:pt x="124" y="3"/>
                  <a:pt x="124" y="4"/>
                </a:cubicBezTo>
                <a:cubicBezTo>
                  <a:pt x="128" y="0"/>
                  <a:pt x="128" y="0"/>
                  <a:pt x="128" y="0"/>
                </a:cubicBezTo>
              </a:path>
            </a:pathLst>
          </a:custGeom>
          <a:solidFill>
            <a:srgbClr val="6582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48" name="Freeform 93">
            <a:extLst>
              <a:ext uri="{FF2B5EF4-FFF2-40B4-BE49-F238E27FC236}">
                <a16:creationId xmlns:a16="http://schemas.microsoft.com/office/drawing/2014/main" id="{65AE81DF-258B-4579-AE06-0096D3DA77B4}"/>
              </a:ext>
            </a:extLst>
          </p:cNvPr>
          <p:cNvSpPr>
            <a:spLocks noEditPoints="1"/>
          </p:cNvSpPr>
          <p:nvPr/>
        </p:nvSpPr>
        <p:spPr bwMode="auto">
          <a:xfrm>
            <a:off x="5982285" y="3454454"/>
            <a:ext cx="350372" cy="353153"/>
          </a:xfrm>
          <a:custGeom>
            <a:avLst/>
            <a:gdLst>
              <a:gd name="T0" fmla="*/ 18 w 100"/>
              <a:gd name="T1" fmla="*/ 82 h 101"/>
              <a:gd name="T2" fmla="*/ 0 w 100"/>
              <a:gd name="T3" fmla="*/ 100 h 101"/>
              <a:gd name="T4" fmla="*/ 0 w 100"/>
              <a:gd name="T5" fmla="*/ 101 h 101"/>
              <a:gd name="T6" fmla="*/ 18 w 100"/>
              <a:gd name="T7" fmla="*/ 83 h 101"/>
              <a:gd name="T8" fmla="*/ 18 w 100"/>
              <a:gd name="T9" fmla="*/ 82 h 101"/>
              <a:gd name="T10" fmla="*/ 100 w 100"/>
              <a:gd name="T11" fmla="*/ 0 h 101"/>
              <a:gd name="T12" fmla="*/ 92 w 100"/>
              <a:gd name="T13" fmla="*/ 9 h 101"/>
              <a:gd name="T14" fmla="*/ 92 w 100"/>
              <a:gd name="T15" fmla="*/ 10 h 101"/>
              <a:gd name="T16" fmla="*/ 100 w 100"/>
              <a:gd name="T17" fmla="*/ 2 h 101"/>
              <a:gd name="T18" fmla="*/ 100 w 100"/>
              <a:gd name="T19"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0" h="101">
                <a:moveTo>
                  <a:pt x="18" y="82"/>
                </a:moveTo>
                <a:cubicBezTo>
                  <a:pt x="0" y="100"/>
                  <a:pt x="0" y="100"/>
                  <a:pt x="0" y="100"/>
                </a:cubicBezTo>
                <a:cubicBezTo>
                  <a:pt x="0" y="101"/>
                  <a:pt x="0" y="101"/>
                  <a:pt x="0" y="101"/>
                </a:cubicBezTo>
                <a:cubicBezTo>
                  <a:pt x="18" y="83"/>
                  <a:pt x="18" y="83"/>
                  <a:pt x="18" y="83"/>
                </a:cubicBezTo>
                <a:cubicBezTo>
                  <a:pt x="18" y="83"/>
                  <a:pt x="18" y="83"/>
                  <a:pt x="18" y="82"/>
                </a:cubicBezTo>
                <a:moveTo>
                  <a:pt x="100" y="0"/>
                </a:moveTo>
                <a:cubicBezTo>
                  <a:pt x="92" y="9"/>
                  <a:pt x="92" y="9"/>
                  <a:pt x="92" y="9"/>
                </a:cubicBezTo>
                <a:cubicBezTo>
                  <a:pt x="92" y="9"/>
                  <a:pt x="92" y="10"/>
                  <a:pt x="92" y="10"/>
                </a:cubicBezTo>
                <a:cubicBezTo>
                  <a:pt x="100" y="2"/>
                  <a:pt x="100" y="2"/>
                  <a:pt x="100" y="2"/>
                </a:cubicBezTo>
                <a:cubicBezTo>
                  <a:pt x="100" y="1"/>
                  <a:pt x="100" y="1"/>
                  <a:pt x="100" y="0"/>
                </a:cubicBezTo>
              </a:path>
            </a:pathLst>
          </a:custGeom>
          <a:solidFill>
            <a:srgbClr val="6357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49" name="Freeform 94">
            <a:extLst>
              <a:ext uri="{FF2B5EF4-FFF2-40B4-BE49-F238E27FC236}">
                <a16:creationId xmlns:a16="http://schemas.microsoft.com/office/drawing/2014/main" id="{B3FB8F34-64D9-458B-801C-787D153102AF}"/>
              </a:ext>
            </a:extLst>
          </p:cNvPr>
          <p:cNvSpPr>
            <a:spLocks noEditPoints="1"/>
          </p:cNvSpPr>
          <p:nvPr/>
        </p:nvSpPr>
        <p:spPr bwMode="auto">
          <a:xfrm>
            <a:off x="5929451" y="3448893"/>
            <a:ext cx="497751" cy="492189"/>
          </a:xfrm>
          <a:custGeom>
            <a:avLst/>
            <a:gdLst>
              <a:gd name="T0" fmla="*/ 25 w 142"/>
              <a:gd name="T1" fmla="*/ 115 h 141"/>
              <a:gd name="T2" fmla="*/ 0 w 142"/>
              <a:gd name="T3" fmla="*/ 140 h 141"/>
              <a:gd name="T4" fmla="*/ 1 w 142"/>
              <a:gd name="T5" fmla="*/ 141 h 141"/>
              <a:gd name="T6" fmla="*/ 26 w 142"/>
              <a:gd name="T7" fmla="*/ 116 h 141"/>
              <a:gd name="T8" fmla="*/ 25 w 142"/>
              <a:gd name="T9" fmla="*/ 115 h 141"/>
              <a:gd name="T10" fmla="*/ 108 w 142"/>
              <a:gd name="T11" fmla="*/ 33 h 141"/>
              <a:gd name="T12" fmla="*/ 45 w 142"/>
              <a:gd name="T13" fmla="*/ 96 h 141"/>
              <a:gd name="T14" fmla="*/ 45 w 142"/>
              <a:gd name="T15" fmla="*/ 97 h 141"/>
              <a:gd name="T16" fmla="*/ 108 w 142"/>
              <a:gd name="T17" fmla="*/ 34 h 141"/>
              <a:gd name="T18" fmla="*/ 108 w 142"/>
              <a:gd name="T19" fmla="*/ 33 h 141"/>
              <a:gd name="T20" fmla="*/ 142 w 142"/>
              <a:gd name="T21" fmla="*/ 0 h 141"/>
              <a:gd name="T22" fmla="*/ 140 w 142"/>
              <a:gd name="T23" fmla="*/ 0 h 141"/>
              <a:gd name="T24" fmla="*/ 119 w 142"/>
              <a:gd name="T25" fmla="*/ 21 h 141"/>
              <a:gd name="T26" fmla="*/ 119 w 142"/>
              <a:gd name="T27" fmla="*/ 23 h 141"/>
              <a:gd name="T28" fmla="*/ 142 w 142"/>
              <a:gd name="T29" fmla="*/ 0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2" h="141">
                <a:moveTo>
                  <a:pt x="25" y="115"/>
                </a:moveTo>
                <a:cubicBezTo>
                  <a:pt x="0" y="140"/>
                  <a:pt x="0" y="140"/>
                  <a:pt x="0" y="140"/>
                </a:cubicBezTo>
                <a:cubicBezTo>
                  <a:pt x="0" y="141"/>
                  <a:pt x="1" y="141"/>
                  <a:pt x="1" y="141"/>
                </a:cubicBezTo>
                <a:cubicBezTo>
                  <a:pt x="26" y="116"/>
                  <a:pt x="26" y="116"/>
                  <a:pt x="26" y="116"/>
                </a:cubicBezTo>
                <a:cubicBezTo>
                  <a:pt x="26" y="116"/>
                  <a:pt x="25" y="115"/>
                  <a:pt x="25" y="115"/>
                </a:cubicBezTo>
                <a:moveTo>
                  <a:pt x="108" y="33"/>
                </a:moveTo>
                <a:cubicBezTo>
                  <a:pt x="45" y="96"/>
                  <a:pt x="45" y="96"/>
                  <a:pt x="45" y="96"/>
                </a:cubicBezTo>
                <a:cubicBezTo>
                  <a:pt x="45" y="96"/>
                  <a:pt x="45" y="96"/>
                  <a:pt x="45" y="97"/>
                </a:cubicBezTo>
                <a:cubicBezTo>
                  <a:pt x="108" y="34"/>
                  <a:pt x="108" y="34"/>
                  <a:pt x="108" y="34"/>
                </a:cubicBezTo>
                <a:cubicBezTo>
                  <a:pt x="108" y="34"/>
                  <a:pt x="108" y="33"/>
                  <a:pt x="108" y="33"/>
                </a:cubicBezTo>
                <a:moveTo>
                  <a:pt x="142" y="0"/>
                </a:moveTo>
                <a:cubicBezTo>
                  <a:pt x="140" y="0"/>
                  <a:pt x="140" y="0"/>
                  <a:pt x="140" y="0"/>
                </a:cubicBezTo>
                <a:cubicBezTo>
                  <a:pt x="119" y="21"/>
                  <a:pt x="119" y="21"/>
                  <a:pt x="119" y="21"/>
                </a:cubicBezTo>
                <a:cubicBezTo>
                  <a:pt x="119" y="22"/>
                  <a:pt x="119" y="22"/>
                  <a:pt x="119" y="23"/>
                </a:cubicBezTo>
                <a:cubicBezTo>
                  <a:pt x="142" y="0"/>
                  <a:pt x="142" y="0"/>
                  <a:pt x="142" y="0"/>
                </a:cubicBezTo>
              </a:path>
            </a:pathLst>
          </a:custGeom>
          <a:solidFill>
            <a:srgbClr val="6582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50" name="Freeform 95">
            <a:extLst>
              <a:ext uri="{FF2B5EF4-FFF2-40B4-BE49-F238E27FC236}">
                <a16:creationId xmlns:a16="http://schemas.microsoft.com/office/drawing/2014/main" id="{D72AF439-023C-4FF2-A82E-5F3969DCAAB4}"/>
              </a:ext>
            </a:extLst>
          </p:cNvPr>
          <p:cNvSpPr>
            <a:spLocks noEditPoints="1"/>
          </p:cNvSpPr>
          <p:nvPr/>
        </p:nvSpPr>
        <p:spPr bwMode="auto">
          <a:xfrm>
            <a:off x="6018434" y="3521192"/>
            <a:ext cx="328126" cy="333687"/>
          </a:xfrm>
          <a:custGeom>
            <a:avLst/>
            <a:gdLst>
              <a:gd name="T0" fmla="*/ 20 w 94"/>
              <a:gd name="T1" fmla="*/ 75 h 95"/>
              <a:gd name="T2" fmla="*/ 0 w 94"/>
              <a:gd name="T3" fmla="*/ 94 h 95"/>
              <a:gd name="T4" fmla="*/ 1 w 94"/>
              <a:gd name="T5" fmla="*/ 95 h 95"/>
              <a:gd name="T6" fmla="*/ 20 w 94"/>
              <a:gd name="T7" fmla="*/ 76 h 95"/>
              <a:gd name="T8" fmla="*/ 20 w 94"/>
              <a:gd name="T9" fmla="*/ 75 h 95"/>
              <a:gd name="T10" fmla="*/ 94 w 94"/>
              <a:gd name="T11" fmla="*/ 0 h 95"/>
              <a:gd name="T12" fmla="*/ 83 w 94"/>
              <a:gd name="T13" fmla="*/ 12 h 95"/>
              <a:gd name="T14" fmla="*/ 83 w 94"/>
              <a:gd name="T15" fmla="*/ 13 h 95"/>
              <a:gd name="T16" fmla="*/ 94 w 94"/>
              <a:gd name="T17" fmla="*/ 2 h 95"/>
              <a:gd name="T18" fmla="*/ 94 w 94"/>
              <a:gd name="T19"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4" h="95">
                <a:moveTo>
                  <a:pt x="20" y="75"/>
                </a:moveTo>
                <a:cubicBezTo>
                  <a:pt x="0" y="94"/>
                  <a:pt x="0" y="94"/>
                  <a:pt x="0" y="94"/>
                </a:cubicBezTo>
                <a:cubicBezTo>
                  <a:pt x="0" y="94"/>
                  <a:pt x="1" y="95"/>
                  <a:pt x="1" y="95"/>
                </a:cubicBezTo>
                <a:cubicBezTo>
                  <a:pt x="20" y="76"/>
                  <a:pt x="20" y="76"/>
                  <a:pt x="20" y="76"/>
                </a:cubicBezTo>
                <a:cubicBezTo>
                  <a:pt x="20" y="75"/>
                  <a:pt x="20" y="75"/>
                  <a:pt x="20" y="75"/>
                </a:cubicBezTo>
                <a:moveTo>
                  <a:pt x="94" y="0"/>
                </a:moveTo>
                <a:cubicBezTo>
                  <a:pt x="83" y="12"/>
                  <a:pt x="83" y="12"/>
                  <a:pt x="83" y="12"/>
                </a:cubicBezTo>
                <a:cubicBezTo>
                  <a:pt x="83" y="12"/>
                  <a:pt x="83" y="13"/>
                  <a:pt x="83" y="13"/>
                </a:cubicBezTo>
                <a:cubicBezTo>
                  <a:pt x="94" y="2"/>
                  <a:pt x="94" y="2"/>
                  <a:pt x="94" y="2"/>
                </a:cubicBezTo>
                <a:cubicBezTo>
                  <a:pt x="94" y="1"/>
                  <a:pt x="94" y="1"/>
                  <a:pt x="94" y="0"/>
                </a:cubicBezTo>
              </a:path>
            </a:pathLst>
          </a:custGeom>
          <a:solidFill>
            <a:srgbClr val="6357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51" name="Freeform 96">
            <a:extLst>
              <a:ext uri="{FF2B5EF4-FFF2-40B4-BE49-F238E27FC236}">
                <a16:creationId xmlns:a16="http://schemas.microsoft.com/office/drawing/2014/main" id="{0A1E3DFD-FE17-4B9E-9EA4-D716F86525FE}"/>
              </a:ext>
            </a:extLst>
          </p:cNvPr>
          <p:cNvSpPr>
            <a:spLocks noEditPoints="1"/>
          </p:cNvSpPr>
          <p:nvPr/>
        </p:nvSpPr>
        <p:spPr bwMode="auto">
          <a:xfrm>
            <a:off x="5957258" y="3448893"/>
            <a:ext cx="547804" cy="545024"/>
          </a:xfrm>
          <a:custGeom>
            <a:avLst/>
            <a:gdLst>
              <a:gd name="T0" fmla="*/ 28 w 157"/>
              <a:gd name="T1" fmla="*/ 128 h 156"/>
              <a:gd name="T2" fmla="*/ 0 w 157"/>
              <a:gd name="T3" fmla="*/ 155 h 156"/>
              <a:gd name="T4" fmla="*/ 1 w 157"/>
              <a:gd name="T5" fmla="*/ 156 h 156"/>
              <a:gd name="T6" fmla="*/ 29 w 157"/>
              <a:gd name="T7" fmla="*/ 129 h 156"/>
              <a:gd name="T8" fmla="*/ 28 w 157"/>
              <a:gd name="T9" fmla="*/ 128 h 156"/>
              <a:gd name="T10" fmla="*/ 101 w 157"/>
              <a:gd name="T11" fmla="*/ 55 h 156"/>
              <a:gd name="T12" fmla="*/ 49 w 157"/>
              <a:gd name="T13" fmla="*/ 107 h 156"/>
              <a:gd name="T14" fmla="*/ 50 w 157"/>
              <a:gd name="T15" fmla="*/ 107 h 156"/>
              <a:gd name="T16" fmla="*/ 101 w 157"/>
              <a:gd name="T17" fmla="*/ 56 h 156"/>
              <a:gd name="T18" fmla="*/ 101 w 157"/>
              <a:gd name="T19" fmla="*/ 55 h 156"/>
              <a:gd name="T20" fmla="*/ 157 w 157"/>
              <a:gd name="T21" fmla="*/ 0 h 156"/>
              <a:gd name="T22" fmla="*/ 156 w 157"/>
              <a:gd name="T23" fmla="*/ 0 h 156"/>
              <a:gd name="T24" fmla="*/ 115 w 157"/>
              <a:gd name="T25" fmla="*/ 41 h 156"/>
              <a:gd name="T26" fmla="*/ 115 w 157"/>
              <a:gd name="T27" fmla="*/ 42 h 156"/>
              <a:gd name="T28" fmla="*/ 157 w 157"/>
              <a:gd name="T29" fmla="*/ 0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7" h="156">
                <a:moveTo>
                  <a:pt x="28" y="128"/>
                </a:moveTo>
                <a:cubicBezTo>
                  <a:pt x="0" y="155"/>
                  <a:pt x="0" y="155"/>
                  <a:pt x="0" y="155"/>
                </a:cubicBezTo>
                <a:cubicBezTo>
                  <a:pt x="1" y="156"/>
                  <a:pt x="1" y="156"/>
                  <a:pt x="1" y="156"/>
                </a:cubicBezTo>
                <a:cubicBezTo>
                  <a:pt x="29" y="129"/>
                  <a:pt x="29" y="129"/>
                  <a:pt x="29" y="129"/>
                </a:cubicBezTo>
                <a:cubicBezTo>
                  <a:pt x="28" y="128"/>
                  <a:pt x="28" y="128"/>
                  <a:pt x="28" y="128"/>
                </a:cubicBezTo>
                <a:moveTo>
                  <a:pt x="101" y="55"/>
                </a:moveTo>
                <a:cubicBezTo>
                  <a:pt x="49" y="107"/>
                  <a:pt x="49" y="107"/>
                  <a:pt x="49" y="107"/>
                </a:cubicBezTo>
                <a:cubicBezTo>
                  <a:pt x="49" y="107"/>
                  <a:pt x="50" y="107"/>
                  <a:pt x="50" y="107"/>
                </a:cubicBezTo>
                <a:cubicBezTo>
                  <a:pt x="101" y="56"/>
                  <a:pt x="101" y="56"/>
                  <a:pt x="101" y="56"/>
                </a:cubicBezTo>
                <a:cubicBezTo>
                  <a:pt x="101" y="56"/>
                  <a:pt x="101" y="55"/>
                  <a:pt x="101" y="55"/>
                </a:cubicBezTo>
                <a:moveTo>
                  <a:pt x="157" y="0"/>
                </a:moveTo>
                <a:cubicBezTo>
                  <a:pt x="156" y="0"/>
                  <a:pt x="156" y="0"/>
                  <a:pt x="156" y="0"/>
                </a:cubicBezTo>
                <a:cubicBezTo>
                  <a:pt x="115" y="41"/>
                  <a:pt x="115" y="41"/>
                  <a:pt x="115" y="41"/>
                </a:cubicBezTo>
                <a:cubicBezTo>
                  <a:pt x="115" y="41"/>
                  <a:pt x="115" y="42"/>
                  <a:pt x="115" y="42"/>
                </a:cubicBezTo>
                <a:cubicBezTo>
                  <a:pt x="157" y="0"/>
                  <a:pt x="157" y="0"/>
                  <a:pt x="157" y="0"/>
                </a:cubicBezTo>
              </a:path>
            </a:pathLst>
          </a:custGeom>
          <a:solidFill>
            <a:srgbClr val="6582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52" name="Freeform 97">
            <a:extLst>
              <a:ext uri="{FF2B5EF4-FFF2-40B4-BE49-F238E27FC236}">
                <a16:creationId xmlns:a16="http://schemas.microsoft.com/office/drawing/2014/main" id="{E439E75D-6E1F-400A-97D2-0E4DA1E4E082}"/>
              </a:ext>
            </a:extLst>
          </p:cNvPr>
          <p:cNvSpPr>
            <a:spLocks noEditPoints="1"/>
          </p:cNvSpPr>
          <p:nvPr/>
        </p:nvSpPr>
        <p:spPr bwMode="auto">
          <a:xfrm>
            <a:off x="6057366" y="3590711"/>
            <a:ext cx="303100" cy="308661"/>
          </a:xfrm>
          <a:custGeom>
            <a:avLst/>
            <a:gdLst>
              <a:gd name="T0" fmla="*/ 21 w 87"/>
              <a:gd name="T1" fmla="*/ 66 h 88"/>
              <a:gd name="T2" fmla="*/ 0 w 87"/>
              <a:gd name="T3" fmla="*/ 87 h 88"/>
              <a:gd name="T4" fmla="*/ 1 w 87"/>
              <a:gd name="T5" fmla="*/ 88 h 88"/>
              <a:gd name="T6" fmla="*/ 22 w 87"/>
              <a:gd name="T7" fmla="*/ 66 h 88"/>
              <a:gd name="T8" fmla="*/ 21 w 87"/>
              <a:gd name="T9" fmla="*/ 66 h 88"/>
              <a:gd name="T10" fmla="*/ 87 w 87"/>
              <a:gd name="T11" fmla="*/ 0 h 88"/>
              <a:gd name="T12" fmla="*/ 73 w 87"/>
              <a:gd name="T13" fmla="*/ 14 h 88"/>
              <a:gd name="T14" fmla="*/ 73 w 87"/>
              <a:gd name="T15" fmla="*/ 15 h 88"/>
              <a:gd name="T16" fmla="*/ 87 w 87"/>
              <a:gd name="T17" fmla="*/ 1 h 88"/>
              <a:gd name="T18" fmla="*/ 87 w 87"/>
              <a:gd name="T19" fmla="*/ 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7" h="88">
                <a:moveTo>
                  <a:pt x="21" y="66"/>
                </a:moveTo>
                <a:cubicBezTo>
                  <a:pt x="0" y="87"/>
                  <a:pt x="0" y="87"/>
                  <a:pt x="0" y="87"/>
                </a:cubicBezTo>
                <a:cubicBezTo>
                  <a:pt x="0" y="87"/>
                  <a:pt x="0" y="87"/>
                  <a:pt x="1" y="88"/>
                </a:cubicBezTo>
                <a:cubicBezTo>
                  <a:pt x="22" y="66"/>
                  <a:pt x="22" y="66"/>
                  <a:pt x="22" y="66"/>
                </a:cubicBezTo>
                <a:cubicBezTo>
                  <a:pt x="22" y="66"/>
                  <a:pt x="21" y="66"/>
                  <a:pt x="21" y="66"/>
                </a:cubicBezTo>
                <a:moveTo>
                  <a:pt x="87" y="0"/>
                </a:moveTo>
                <a:cubicBezTo>
                  <a:pt x="73" y="14"/>
                  <a:pt x="73" y="14"/>
                  <a:pt x="73" y="14"/>
                </a:cubicBezTo>
                <a:cubicBezTo>
                  <a:pt x="73" y="14"/>
                  <a:pt x="73" y="15"/>
                  <a:pt x="73" y="15"/>
                </a:cubicBezTo>
                <a:cubicBezTo>
                  <a:pt x="87" y="1"/>
                  <a:pt x="87" y="1"/>
                  <a:pt x="87" y="1"/>
                </a:cubicBezTo>
                <a:cubicBezTo>
                  <a:pt x="87" y="1"/>
                  <a:pt x="87" y="0"/>
                  <a:pt x="87" y="0"/>
                </a:cubicBezTo>
              </a:path>
            </a:pathLst>
          </a:custGeom>
          <a:solidFill>
            <a:srgbClr val="6357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53" name="Freeform 98">
            <a:extLst>
              <a:ext uri="{FF2B5EF4-FFF2-40B4-BE49-F238E27FC236}">
                <a16:creationId xmlns:a16="http://schemas.microsoft.com/office/drawing/2014/main" id="{5161902B-4E48-4A86-B518-156B116F6659}"/>
              </a:ext>
            </a:extLst>
          </p:cNvPr>
          <p:cNvSpPr>
            <a:spLocks noEditPoints="1"/>
          </p:cNvSpPr>
          <p:nvPr/>
        </p:nvSpPr>
        <p:spPr bwMode="auto">
          <a:xfrm>
            <a:off x="5985066" y="3448893"/>
            <a:ext cx="606200" cy="600638"/>
          </a:xfrm>
          <a:custGeom>
            <a:avLst/>
            <a:gdLst>
              <a:gd name="T0" fmla="*/ 31 w 173"/>
              <a:gd name="T1" fmla="*/ 140 h 172"/>
              <a:gd name="T2" fmla="*/ 0 w 173"/>
              <a:gd name="T3" fmla="*/ 171 h 172"/>
              <a:gd name="T4" fmla="*/ 1 w 173"/>
              <a:gd name="T5" fmla="*/ 172 h 172"/>
              <a:gd name="T6" fmla="*/ 32 w 173"/>
              <a:gd name="T7" fmla="*/ 141 h 172"/>
              <a:gd name="T8" fmla="*/ 31 w 173"/>
              <a:gd name="T9" fmla="*/ 140 h 172"/>
              <a:gd name="T10" fmla="*/ 94 w 173"/>
              <a:gd name="T11" fmla="*/ 77 h 172"/>
              <a:gd name="T12" fmla="*/ 54 w 173"/>
              <a:gd name="T13" fmla="*/ 117 h 172"/>
              <a:gd name="T14" fmla="*/ 55 w 173"/>
              <a:gd name="T15" fmla="*/ 118 h 172"/>
              <a:gd name="T16" fmla="*/ 94 w 173"/>
              <a:gd name="T17" fmla="*/ 79 h 172"/>
              <a:gd name="T18" fmla="*/ 94 w 173"/>
              <a:gd name="T19" fmla="*/ 77 h 172"/>
              <a:gd name="T20" fmla="*/ 173 w 173"/>
              <a:gd name="T21" fmla="*/ 0 h 172"/>
              <a:gd name="T22" fmla="*/ 171 w 173"/>
              <a:gd name="T23" fmla="*/ 0 h 172"/>
              <a:gd name="T24" fmla="*/ 110 w 173"/>
              <a:gd name="T25" fmla="*/ 61 h 172"/>
              <a:gd name="T26" fmla="*/ 110 w 173"/>
              <a:gd name="T27" fmla="*/ 62 h 172"/>
              <a:gd name="T28" fmla="*/ 173 w 173"/>
              <a:gd name="T29"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3" h="172">
                <a:moveTo>
                  <a:pt x="31" y="140"/>
                </a:moveTo>
                <a:cubicBezTo>
                  <a:pt x="0" y="171"/>
                  <a:pt x="0" y="171"/>
                  <a:pt x="0" y="171"/>
                </a:cubicBezTo>
                <a:cubicBezTo>
                  <a:pt x="0" y="171"/>
                  <a:pt x="0" y="172"/>
                  <a:pt x="1" y="172"/>
                </a:cubicBezTo>
                <a:cubicBezTo>
                  <a:pt x="32" y="141"/>
                  <a:pt x="32" y="141"/>
                  <a:pt x="32" y="141"/>
                </a:cubicBezTo>
                <a:cubicBezTo>
                  <a:pt x="31" y="141"/>
                  <a:pt x="31" y="140"/>
                  <a:pt x="31" y="140"/>
                </a:cubicBezTo>
                <a:moveTo>
                  <a:pt x="94" y="77"/>
                </a:moveTo>
                <a:cubicBezTo>
                  <a:pt x="54" y="117"/>
                  <a:pt x="54" y="117"/>
                  <a:pt x="54" y="117"/>
                </a:cubicBezTo>
                <a:cubicBezTo>
                  <a:pt x="54" y="117"/>
                  <a:pt x="55" y="117"/>
                  <a:pt x="55" y="118"/>
                </a:cubicBezTo>
                <a:cubicBezTo>
                  <a:pt x="94" y="79"/>
                  <a:pt x="94" y="79"/>
                  <a:pt x="94" y="79"/>
                </a:cubicBezTo>
                <a:cubicBezTo>
                  <a:pt x="94" y="78"/>
                  <a:pt x="94" y="78"/>
                  <a:pt x="94" y="77"/>
                </a:cubicBezTo>
                <a:moveTo>
                  <a:pt x="173" y="0"/>
                </a:moveTo>
                <a:cubicBezTo>
                  <a:pt x="171" y="0"/>
                  <a:pt x="171" y="0"/>
                  <a:pt x="171" y="0"/>
                </a:cubicBezTo>
                <a:cubicBezTo>
                  <a:pt x="110" y="61"/>
                  <a:pt x="110" y="61"/>
                  <a:pt x="110" y="61"/>
                </a:cubicBezTo>
                <a:cubicBezTo>
                  <a:pt x="110" y="61"/>
                  <a:pt x="110" y="62"/>
                  <a:pt x="110" y="62"/>
                </a:cubicBezTo>
                <a:cubicBezTo>
                  <a:pt x="173" y="0"/>
                  <a:pt x="173" y="0"/>
                  <a:pt x="173" y="0"/>
                </a:cubicBezTo>
              </a:path>
            </a:pathLst>
          </a:custGeom>
          <a:solidFill>
            <a:srgbClr val="6582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54" name="Freeform 99">
            <a:extLst>
              <a:ext uri="{FF2B5EF4-FFF2-40B4-BE49-F238E27FC236}">
                <a16:creationId xmlns:a16="http://schemas.microsoft.com/office/drawing/2014/main" id="{9D3053DF-56C2-4EB3-926A-E4A40732C1C8}"/>
              </a:ext>
            </a:extLst>
          </p:cNvPr>
          <p:cNvSpPr>
            <a:spLocks noEditPoints="1"/>
          </p:cNvSpPr>
          <p:nvPr/>
        </p:nvSpPr>
        <p:spPr bwMode="auto">
          <a:xfrm>
            <a:off x="6093515" y="3660229"/>
            <a:ext cx="275293" cy="280854"/>
          </a:xfrm>
          <a:custGeom>
            <a:avLst/>
            <a:gdLst>
              <a:gd name="T0" fmla="*/ 23 w 79"/>
              <a:gd name="T1" fmla="*/ 56 h 80"/>
              <a:gd name="T2" fmla="*/ 0 w 79"/>
              <a:gd name="T3" fmla="*/ 79 h 80"/>
              <a:gd name="T4" fmla="*/ 1 w 79"/>
              <a:gd name="T5" fmla="*/ 80 h 80"/>
              <a:gd name="T6" fmla="*/ 24 w 79"/>
              <a:gd name="T7" fmla="*/ 57 h 80"/>
              <a:gd name="T8" fmla="*/ 23 w 79"/>
              <a:gd name="T9" fmla="*/ 56 h 80"/>
              <a:gd name="T10" fmla="*/ 79 w 79"/>
              <a:gd name="T11" fmla="*/ 0 h 80"/>
              <a:gd name="T12" fmla="*/ 63 w 79"/>
              <a:gd name="T13" fmla="*/ 16 h 80"/>
              <a:gd name="T14" fmla="*/ 63 w 79"/>
              <a:gd name="T15" fmla="*/ 18 h 80"/>
              <a:gd name="T16" fmla="*/ 79 w 79"/>
              <a:gd name="T17" fmla="*/ 1 h 80"/>
              <a:gd name="T18" fmla="*/ 79 w 79"/>
              <a:gd name="T19"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9" h="80">
                <a:moveTo>
                  <a:pt x="23" y="56"/>
                </a:moveTo>
                <a:cubicBezTo>
                  <a:pt x="0" y="79"/>
                  <a:pt x="0" y="79"/>
                  <a:pt x="0" y="79"/>
                </a:cubicBezTo>
                <a:cubicBezTo>
                  <a:pt x="0" y="79"/>
                  <a:pt x="0" y="80"/>
                  <a:pt x="1" y="80"/>
                </a:cubicBezTo>
                <a:cubicBezTo>
                  <a:pt x="24" y="57"/>
                  <a:pt x="24" y="57"/>
                  <a:pt x="24" y="57"/>
                </a:cubicBezTo>
                <a:cubicBezTo>
                  <a:pt x="24" y="56"/>
                  <a:pt x="23" y="56"/>
                  <a:pt x="23" y="56"/>
                </a:cubicBezTo>
                <a:moveTo>
                  <a:pt x="79" y="0"/>
                </a:moveTo>
                <a:cubicBezTo>
                  <a:pt x="63" y="16"/>
                  <a:pt x="63" y="16"/>
                  <a:pt x="63" y="16"/>
                </a:cubicBezTo>
                <a:cubicBezTo>
                  <a:pt x="63" y="17"/>
                  <a:pt x="63" y="17"/>
                  <a:pt x="63" y="18"/>
                </a:cubicBezTo>
                <a:cubicBezTo>
                  <a:pt x="79" y="1"/>
                  <a:pt x="79" y="1"/>
                  <a:pt x="79" y="1"/>
                </a:cubicBezTo>
                <a:cubicBezTo>
                  <a:pt x="79" y="1"/>
                  <a:pt x="79" y="0"/>
                  <a:pt x="79" y="0"/>
                </a:cubicBezTo>
              </a:path>
            </a:pathLst>
          </a:custGeom>
          <a:solidFill>
            <a:srgbClr val="6357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55" name="Freeform 100">
            <a:extLst>
              <a:ext uri="{FF2B5EF4-FFF2-40B4-BE49-F238E27FC236}">
                <a16:creationId xmlns:a16="http://schemas.microsoft.com/office/drawing/2014/main" id="{90F3975B-503D-4E94-9DC7-25A29DD29E3F}"/>
              </a:ext>
            </a:extLst>
          </p:cNvPr>
          <p:cNvSpPr>
            <a:spLocks noEditPoints="1"/>
          </p:cNvSpPr>
          <p:nvPr/>
        </p:nvSpPr>
        <p:spPr bwMode="auto">
          <a:xfrm>
            <a:off x="6010093" y="3487823"/>
            <a:ext cx="614541" cy="617322"/>
          </a:xfrm>
          <a:custGeom>
            <a:avLst/>
            <a:gdLst>
              <a:gd name="T0" fmla="*/ 35 w 176"/>
              <a:gd name="T1" fmla="*/ 141 h 177"/>
              <a:gd name="T2" fmla="*/ 0 w 176"/>
              <a:gd name="T3" fmla="*/ 176 h 177"/>
              <a:gd name="T4" fmla="*/ 1 w 176"/>
              <a:gd name="T5" fmla="*/ 177 h 177"/>
              <a:gd name="T6" fmla="*/ 36 w 176"/>
              <a:gd name="T7" fmla="*/ 142 h 177"/>
              <a:gd name="T8" fmla="*/ 35 w 176"/>
              <a:gd name="T9" fmla="*/ 141 h 177"/>
              <a:gd name="T10" fmla="*/ 87 w 176"/>
              <a:gd name="T11" fmla="*/ 89 h 177"/>
              <a:gd name="T12" fmla="*/ 61 w 176"/>
              <a:gd name="T13" fmla="*/ 115 h 177"/>
              <a:gd name="T14" fmla="*/ 62 w 176"/>
              <a:gd name="T15" fmla="*/ 116 h 177"/>
              <a:gd name="T16" fmla="*/ 87 w 176"/>
              <a:gd name="T17" fmla="*/ 91 h 177"/>
              <a:gd name="T18" fmla="*/ 87 w 176"/>
              <a:gd name="T19" fmla="*/ 89 h 177"/>
              <a:gd name="T20" fmla="*/ 176 w 176"/>
              <a:gd name="T21" fmla="*/ 0 h 177"/>
              <a:gd name="T22" fmla="*/ 106 w 176"/>
              <a:gd name="T23" fmla="*/ 71 h 177"/>
              <a:gd name="T24" fmla="*/ 106 w 176"/>
              <a:gd name="T25" fmla="*/ 72 h 177"/>
              <a:gd name="T26" fmla="*/ 176 w 176"/>
              <a:gd name="T27" fmla="*/ 2 h 177"/>
              <a:gd name="T28" fmla="*/ 176 w 176"/>
              <a:gd name="T29" fmla="*/ 0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6" h="177">
                <a:moveTo>
                  <a:pt x="35" y="141"/>
                </a:moveTo>
                <a:cubicBezTo>
                  <a:pt x="0" y="176"/>
                  <a:pt x="0" y="176"/>
                  <a:pt x="0" y="176"/>
                </a:cubicBezTo>
                <a:cubicBezTo>
                  <a:pt x="0" y="177"/>
                  <a:pt x="0" y="177"/>
                  <a:pt x="1" y="177"/>
                </a:cubicBezTo>
                <a:cubicBezTo>
                  <a:pt x="36" y="142"/>
                  <a:pt x="36" y="142"/>
                  <a:pt x="36" y="142"/>
                </a:cubicBezTo>
                <a:cubicBezTo>
                  <a:pt x="36" y="142"/>
                  <a:pt x="35" y="141"/>
                  <a:pt x="35" y="141"/>
                </a:cubicBezTo>
                <a:moveTo>
                  <a:pt x="87" y="89"/>
                </a:moveTo>
                <a:cubicBezTo>
                  <a:pt x="61" y="115"/>
                  <a:pt x="61" y="115"/>
                  <a:pt x="61" y="115"/>
                </a:cubicBezTo>
                <a:cubicBezTo>
                  <a:pt x="61" y="116"/>
                  <a:pt x="61" y="116"/>
                  <a:pt x="62" y="116"/>
                </a:cubicBezTo>
                <a:cubicBezTo>
                  <a:pt x="87" y="91"/>
                  <a:pt x="87" y="91"/>
                  <a:pt x="87" y="91"/>
                </a:cubicBezTo>
                <a:cubicBezTo>
                  <a:pt x="87" y="90"/>
                  <a:pt x="87" y="90"/>
                  <a:pt x="87" y="89"/>
                </a:cubicBezTo>
                <a:moveTo>
                  <a:pt x="176" y="0"/>
                </a:moveTo>
                <a:cubicBezTo>
                  <a:pt x="106" y="71"/>
                  <a:pt x="106" y="71"/>
                  <a:pt x="106" y="71"/>
                </a:cubicBezTo>
                <a:cubicBezTo>
                  <a:pt x="106" y="71"/>
                  <a:pt x="106" y="72"/>
                  <a:pt x="106" y="72"/>
                </a:cubicBezTo>
                <a:cubicBezTo>
                  <a:pt x="176" y="2"/>
                  <a:pt x="176" y="2"/>
                  <a:pt x="176" y="2"/>
                </a:cubicBezTo>
                <a:cubicBezTo>
                  <a:pt x="176" y="0"/>
                  <a:pt x="176" y="0"/>
                  <a:pt x="176" y="0"/>
                </a:cubicBezTo>
              </a:path>
            </a:pathLst>
          </a:custGeom>
          <a:solidFill>
            <a:srgbClr val="6582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56" name="Freeform 101">
            <a:extLst>
              <a:ext uri="{FF2B5EF4-FFF2-40B4-BE49-F238E27FC236}">
                <a16:creationId xmlns:a16="http://schemas.microsoft.com/office/drawing/2014/main" id="{ED1EFF86-D1EB-4268-A9BF-4FA4A0BD6386}"/>
              </a:ext>
            </a:extLst>
          </p:cNvPr>
          <p:cNvSpPr>
            <a:spLocks noEditPoints="1"/>
          </p:cNvSpPr>
          <p:nvPr/>
        </p:nvSpPr>
        <p:spPr bwMode="auto">
          <a:xfrm>
            <a:off x="6132445" y="3735308"/>
            <a:ext cx="247485" cy="247485"/>
          </a:xfrm>
          <a:custGeom>
            <a:avLst/>
            <a:gdLst>
              <a:gd name="T0" fmla="*/ 26 w 71"/>
              <a:gd name="T1" fmla="*/ 44 h 71"/>
              <a:gd name="T2" fmla="*/ 0 w 71"/>
              <a:gd name="T3" fmla="*/ 70 h 71"/>
              <a:gd name="T4" fmla="*/ 1 w 71"/>
              <a:gd name="T5" fmla="*/ 71 h 71"/>
              <a:gd name="T6" fmla="*/ 27 w 71"/>
              <a:gd name="T7" fmla="*/ 45 h 71"/>
              <a:gd name="T8" fmla="*/ 26 w 71"/>
              <a:gd name="T9" fmla="*/ 44 h 71"/>
              <a:gd name="T10" fmla="*/ 71 w 71"/>
              <a:gd name="T11" fmla="*/ 0 h 71"/>
              <a:gd name="T12" fmla="*/ 52 w 71"/>
              <a:gd name="T13" fmla="*/ 18 h 71"/>
              <a:gd name="T14" fmla="*/ 52 w 71"/>
              <a:gd name="T15" fmla="*/ 20 h 71"/>
              <a:gd name="T16" fmla="*/ 71 w 71"/>
              <a:gd name="T17" fmla="*/ 1 h 71"/>
              <a:gd name="T18" fmla="*/ 71 w 71"/>
              <a:gd name="T19"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 h="71">
                <a:moveTo>
                  <a:pt x="26" y="44"/>
                </a:moveTo>
                <a:cubicBezTo>
                  <a:pt x="0" y="70"/>
                  <a:pt x="0" y="70"/>
                  <a:pt x="0" y="70"/>
                </a:cubicBezTo>
                <a:cubicBezTo>
                  <a:pt x="0" y="70"/>
                  <a:pt x="1" y="71"/>
                  <a:pt x="1" y="71"/>
                </a:cubicBezTo>
                <a:cubicBezTo>
                  <a:pt x="27" y="45"/>
                  <a:pt x="27" y="45"/>
                  <a:pt x="27" y="45"/>
                </a:cubicBezTo>
                <a:cubicBezTo>
                  <a:pt x="26" y="45"/>
                  <a:pt x="26" y="45"/>
                  <a:pt x="26" y="44"/>
                </a:cubicBezTo>
                <a:moveTo>
                  <a:pt x="71" y="0"/>
                </a:moveTo>
                <a:cubicBezTo>
                  <a:pt x="52" y="18"/>
                  <a:pt x="52" y="18"/>
                  <a:pt x="52" y="18"/>
                </a:cubicBezTo>
                <a:cubicBezTo>
                  <a:pt x="52" y="19"/>
                  <a:pt x="52" y="19"/>
                  <a:pt x="52" y="20"/>
                </a:cubicBezTo>
                <a:cubicBezTo>
                  <a:pt x="71" y="1"/>
                  <a:pt x="71" y="1"/>
                  <a:pt x="71" y="1"/>
                </a:cubicBezTo>
                <a:cubicBezTo>
                  <a:pt x="71" y="1"/>
                  <a:pt x="71" y="0"/>
                  <a:pt x="71" y="0"/>
                </a:cubicBezTo>
              </a:path>
            </a:pathLst>
          </a:custGeom>
          <a:solidFill>
            <a:srgbClr val="6357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57" name="Freeform 102">
            <a:extLst>
              <a:ext uri="{FF2B5EF4-FFF2-40B4-BE49-F238E27FC236}">
                <a16:creationId xmlns:a16="http://schemas.microsoft.com/office/drawing/2014/main" id="{414756EB-B7A7-4F23-A1BB-EE63A3CFB441}"/>
              </a:ext>
            </a:extLst>
          </p:cNvPr>
          <p:cNvSpPr>
            <a:spLocks noEditPoints="1"/>
          </p:cNvSpPr>
          <p:nvPr/>
        </p:nvSpPr>
        <p:spPr bwMode="auto">
          <a:xfrm>
            <a:off x="6032339" y="3568465"/>
            <a:ext cx="592295" cy="595077"/>
          </a:xfrm>
          <a:custGeom>
            <a:avLst/>
            <a:gdLst>
              <a:gd name="T0" fmla="*/ 41 w 170"/>
              <a:gd name="T1" fmla="*/ 130 h 171"/>
              <a:gd name="T2" fmla="*/ 0 w 170"/>
              <a:gd name="T3" fmla="*/ 170 h 171"/>
              <a:gd name="T4" fmla="*/ 1 w 170"/>
              <a:gd name="T5" fmla="*/ 171 h 171"/>
              <a:gd name="T6" fmla="*/ 42 w 170"/>
              <a:gd name="T7" fmla="*/ 131 h 171"/>
              <a:gd name="T8" fmla="*/ 41 w 170"/>
              <a:gd name="T9" fmla="*/ 130 h 171"/>
              <a:gd name="T10" fmla="*/ 81 w 170"/>
              <a:gd name="T11" fmla="*/ 90 h 171"/>
              <a:gd name="T12" fmla="*/ 69 w 170"/>
              <a:gd name="T13" fmla="*/ 101 h 171"/>
              <a:gd name="T14" fmla="*/ 70 w 170"/>
              <a:gd name="T15" fmla="*/ 102 h 171"/>
              <a:gd name="T16" fmla="*/ 81 w 170"/>
              <a:gd name="T17" fmla="*/ 91 h 171"/>
              <a:gd name="T18" fmla="*/ 81 w 170"/>
              <a:gd name="T19" fmla="*/ 90 h 171"/>
              <a:gd name="T20" fmla="*/ 170 w 170"/>
              <a:gd name="T21" fmla="*/ 0 h 171"/>
              <a:gd name="T22" fmla="*/ 102 w 170"/>
              <a:gd name="T23" fmla="*/ 69 h 171"/>
              <a:gd name="T24" fmla="*/ 102 w 170"/>
              <a:gd name="T25" fmla="*/ 70 h 171"/>
              <a:gd name="T26" fmla="*/ 170 w 170"/>
              <a:gd name="T27" fmla="*/ 2 h 171"/>
              <a:gd name="T28" fmla="*/ 170 w 170"/>
              <a:gd name="T29" fmla="*/ 0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0" h="171">
                <a:moveTo>
                  <a:pt x="41" y="130"/>
                </a:moveTo>
                <a:cubicBezTo>
                  <a:pt x="0" y="170"/>
                  <a:pt x="0" y="170"/>
                  <a:pt x="0" y="170"/>
                </a:cubicBezTo>
                <a:cubicBezTo>
                  <a:pt x="1" y="171"/>
                  <a:pt x="1" y="171"/>
                  <a:pt x="1" y="171"/>
                </a:cubicBezTo>
                <a:cubicBezTo>
                  <a:pt x="42" y="131"/>
                  <a:pt x="42" y="131"/>
                  <a:pt x="42" y="131"/>
                </a:cubicBezTo>
                <a:cubicBezTo>
                  <a:pt x="41" y="130"/>
                  <a:pt x="41" y="130"/>
                  <a:pt x="41" y="130"/>
                </a:cubicBezTo>
                <a:moveTo>
                  <a:pt x="81" y="90"/>
                </a:moveTo>
                <a:cubicBezTo>
                  <a:pt x="69" y="101"/>
                  <a:pt x="69" y="101"/>
                  <a:pt x="69" y="101"/>
                </a:cubicBezTo>
                <a:cubicBezTo>
                  <a:pt x="70" y="101"/>
                  <a:pt x="70" y="102"/>
                  <a:pt x="70" y="102"/>
                </a:cubicBezTo>
                <a:cubicBezTo>
                  <a:pt x="81" y="91"/>
                  <a:pt x="81" y="91"/>
                  <a:pt x="81" y="91"/>
                </a:cubicBezTo>
                <a:cubicBezTo>
                  <a:pt x="81" y="91"/>
                  <a:pt x="81" y="90"/>
                  <a:pt x="81" y="90"/>
                </a:cubicBezTo>
                <a:moveTo>
                  <a:pt x="170" y="0"/>
                </a:moveTo>
                <a:cubicBezTo>
                  <a:pt x="102" y="69"/>
                  <a:pt x="102" y="69"/>
                  <a:pt x="102" y="69"/>
                </a:cubicBezTo>
                <a:cubicBezTo>
                  <a:pt x="102" y="69"/>
                  <a:pt x="102" y="70"/>
                  <a:pt x="102" y="70"/>
                </a:cubicBezTo>
                <a:cubicBezTo>
                  <a:pt x="170" y="2"/>
                  <a:pt x="170" y="2"/>
                  <a:pt x="170" y="2"/>
                </a:cubicBezTo>
                <a:cubicBezTo>
                  <a:pt x="170" y="0"/>
                  <a:pt x="170" y="0"/>
                  <a:pt x="170" y="0"/>
                </a:cubicBezTo>
              </a:path>
            </a:pathLst>
          </a:custGeom>
          <a:solidFill>
            <a:srgbClr val="6582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58" name="Freeform 103">
            <a:extLst>
              <a:ext uri="{FF2B5EF4-FFF2-40B4-BE49-F238E27FC236}">
                <a16:creationId xmlns:a16="http://schemas.microsoft.com/office/drawing/2014/main" id="{ABF5D236-FAD0-4A06-9440-A21B06601286}"/>
              </a:ext>
            </a:extLst>
          </p:cNvPr>
          <p:cNvSpPr>
            <a:spLocks noEditPoints="1"/>
          </p:cNvSpPr>
          <p:nvPr/>
        </p:nvSpPr>
        <p:spPr bwMode="auto">
          <a:xfrm>
            <a:off x="6174156" y="3807607"/>
            <a:ext cx="214117" cy="216897"/>
          </a:xfrm>
          <a:custGeom>
            <a:avLst/>
            <a:gdLst>
              <a:gd name="T0" fmla="*/ 28 w 61"/>
              <a:gd name="T1" fmla="*/ 32 h 62"/>
              <a:gd name="T2" fmla="*/ 0 w 61"/>
              <a:gd name="T3" fmla="*/ 61 h 62"/>
              <a:gd name="T4" fmla="*/ 1 w 61"/>
              <a:gd name="T5" fmla="*/ 62 h 62"/>
              <a:gd name="T6" fmla="*/ 29 w 61"/>
              <a:gd name="T7" fmla="*/ 33 h 62"/>
              <a:gd name="T8" fmla="*/ 28 w 61"/>
              <a:gd name="T9" fmla="*/ 32 h 62"/>
              <a:gd name="T10" fmla="*/ 61 w 61"/>
              <a:gd name="T11" fmla="*/ 0 h 62"/>
              <a:gd name="T12" fmla="*/ 40 w 61"/>
              <a:gd name="T13" fmla="*/ 21 h 62"/>
              <a:gd name="T14" fmla="*/ 40 w 61"/>
              <a:gd name="T15" fmla="*/ 22 h 62"/>
              <a:gd name="T16" fmla="*/ 61 w 61"/>
              <a:gd name="T17" fmla="*/ 1 h 62"/>
              <a:gd name="T18" fmla="*/ 61 w 61"/>
              <a:gd name="T19"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62">
                <a:moveTo>
                  <a:pt x="28" y="32"/>
                </a:moveTo>
                <a:cubicBezTo>
                  <a:pt x="0" y="61"/>
                  <a:pt x="0" y="61"/>
                  <a:pt x="0" y="61"/>
                </a:cubicBezTo>
                <a:cubicBezTo>
                  <a:pt x="0" y="61"/>
                  <a:pt x="0" y="61"/>
                  <a:pt x="1" y="62"/>
                </a:cubicBezTo>
                <a:cubicBezTo>
                  <a:pt x="29" y="33"/>
                  <a:pt x="29" y="33"/>
                  <a:pt x="29" y="33"/>
                </a:cubicBezTo>
                <a:cubicBezTo>
                  <a:pt x="29" y="33"/>
                  <a:pt x="29" y="32"/>
                  <a:pt x="28" y="32"/>
                </a:cubicBezTo>
                <a:moveTo>
                  <a:pt x="61" y="0"/>
                </a:moveTo>
                <a:cubicBezTo>
                  <a:pt x="40" y="21"/>
                  <a:pt x="40" y="21"/>
                  <a:pt x="40" y="21"/>
                </a:cubicBezTo>
                <a:cubicBezTo>
                  <a:pt x="40" y="21"/>
                  <a:pt x="40" y="22"/>
                  <a:pt x="40" y="22"/>
                </a:cubicBezTo>
                <a:cubicBezTo>
                  <a:pt x="61" y="1"/>
                  <a:pt x="61" y="1"/>
                  <a:pt x="61" y="1"/>
                </a:cubicBezTo>
                <a:cubicBezTo>
                  <a:pt x="61" y="1"/>
                  <a:pt x="61" y="0"/>
                  <a:pt x="61" y="0"/>
                </a:cubicBezTo>
              </a:path>
            </a:pathLst>
          </a:custGeom>
          <a:solidFill>
            <a:srgbClr val="6357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59" name="Freeform 104">
            <a:extLst>
              <a:ext uri="{FF2B5EF4-FFF2-40B4-BE49-F238E27FC236}">
                <a16:creationId xmlns:a16="http://schemas.microsoft.com/office/drawing/2014/main" id="{B5D2C75B-E928-47CC-BBC5-09419D7C16C2}"/>
              </a:ext>
            </a:extLst>
          </p:cNvPr>
          <p:cNvSpPr>
            <a:spLocks noEditPoints="1"/>
          </p:cNvSpPr>
          <p:nvPr/>
        </p:nvSpPr>
        <p:spPr bwMode="auto">
          <a:xfrm>
            <a:off x="6051804" y="3646325"/>
            <a:ext cx="572831" cy="581172"/>
          </a:xfrm>
          <a:custGeom>
            <a:avLst/>
            <a:gdLst>
              <a:gd name="T0" fmla="*/ 47 w 164"/>
              <a:gd name="T1" fmla="*/ 118 h 166"/>
              <a:gd name="T2" fmla="*/ 0 w 164"/>
              <a:gd name="T3" fmla="*/ 165 h 166"/>
              <a:gd name="T4" fmla="*/ 0 w 164"/>
              <a:gd name="T5" fmla="*/ 166 h 166"/>
              <a:gd name="T6" fmla="*/ 47 w 164"/>
              <a:gd name="T7" fmla="*/ 119 h 166"/>
              <a:gd name="T8" fmla="*/ 47 w 164"/>
              <a:gd name="T9" fmla="*/ 118 h 166"/>
              <a:gd name="T10" fmla="*/ 74 w 164"/>
              <a:gd name="T11" fmla="*/ 90 h 166"/>
              <a:gd name="T12" fmla="*/ 73 w 164"/>
              <a:gd name="T13" fmla="*/ 91 h 166"/>
              <a:gd name="T14" fmla="*/ 73 w 164"/>
              <a:gd name="T15" fmla="*/ 93 h 166"/>
              <a:gd name="T16" fmla="*/ 74 w 164"/>
              <a:gd name="T17" fmla="*/ 92 h 166"/>
              <a:gd name="T18" fmla="*/ 74 w 164"/>
              <a:gd name="T19" fmla="*/ 90 h 166"/>
              <a:gd name="T20" fmla="*/ 164 w 164"/>
              <a:gd name="T21" fmla="*/ 0 h 166"/>
              <a:gd name="T22" fmla="*/ 97 w 164"/>
              <a:gd name="T23" fmla="*/ 67 h 166"/>
              <a:gd name="T24" fmla="*/ 98 w 164"/>
              <a:gd name="T25" fmla="*/ 69 h 166"/>
              <a:gd name="T26" fmla="*/ 164 w 164"/>
              <a:gd name="T27" fmla="*/ 2 h 166"/>
              <a:gd name="T28" fmla="*/ 164 w 164"/>
              <a:gd name="T29" fmla="*/ 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4" h="166">
                <a:moveTo>
                  <a:pt x="47" y="118"/>
                </a:moveTo>
                <a:cubicBezTo>
                  <a:pt x="0" y="165"/>
                  <a:pt x="0" y="165"/>
                  <a:pt x="0" y="165"/>
                </a:cubicBezTo>
                <a:cubicBezTo>
                  <a:pt x="0" y="165"/>
                  <a:pt x="0" y="166"/>
                  <a:pt x="0" y="166"/>
                </a:cubicBezTo>
                <a:cubicBezTo>
                  <a:pt x="47" y="119"/>
                  <a:pt x="47" y="119"/>
                  <a:pt x="47" y="119"/>
                </a:cubicBezTo>
                <a:cubicBezTo>
                  <a:pt x="47" y="119"/>
                  <a:pt x="47" y="119"/>
                  <a:pt x="47" y="118"/>
                </a:cubicBezTo>
                <a:moveTo>
                  <a:pt x="74" y="90"/>
                </a:moveTo>
                <a:cubicBezTo>
                  <a:pt x="73" y="91"/>
                  <a:pt x="73" y="91"/>
                  <a:pt x="73" y="91"/>
                </a:cubicBezTo>
                <a:cubicBezTo>
                  <a:pt x="73" y="93"/>
                  <a:pt x="73" y="93"/>
                  <a:pt x="73" y="93"/>
                </a:cubicBezTo>
                <a:cubicBezTo>
                  <a:pt x="74" y="92"/>
                  <a:pt x="74" y="92"/>
                  <a:pt x="74" y="92"/>
                </a:cubicBezTo>
                <a:cubicBezTo>
                  <a:pt x="74" y="92"/>
                  <a:pt x="74" y="91"/>
                  <a:pt x="74" y="90"/>
                </a:cubicBezTo>
                <a:moveTo>
                  <a:pt x="164" y="0"/>
                </a:moveTo>
                <a:cubicBezTo>
                  <a:pt x="97" y="67"/>
                  <a:pt x="97" y="67"/>
                  <a:pt x="97" y="67"/>
                </a:cubicBezTo>
                <a:cubicBezTo>
                  <a:pt x="98" y="68"/>
                  <a:pt x="98" y="68"/>
                  <a:pt x="98" y="69"/>
                </a:cubicBezTo>
                <a:cubicBezTo>
                  <a:pt x="164" y="2"/>
                  <a:pt x="164" y="2"/>
                  <a:pt x="164" y="2"/>
                </a:cubicBezTo>
                <a:cubicBezTo>
                  <a:pt x="164" y="0"/>
                  <a:pt x="164" y="0"/>
                  <a:pt x="164" y="0"/>
                </a:cubicBezTo>
              </a:path>
            </a:pathLst>
          </a:custGeom>
          <a:solidFill>
            <a:srgbClr val="6582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60" name="Freeform 105">
            <a:extLst>
              <a:ext uri="{FF2B5EF4-FFF2-40B4-BE49-F238E27FC236}">
                <a16:creationId xmlns:a16="http://schemas.microsoft.com/office/drawing/2014/main" id="{73213D44-1CC0-43DE-8202-AFFAB2C78D9F}"/>
              </a:ext>
            </a:extLst>
          </p:cNvPr>
          <p:cNvSpPr>
            <a:spLocks noEditPoints="1"/>
          </p:cNvSpPr>
          <p:nvPr/>
        </p:nvSpPr>
        <p:spPr bwMode="auto">
          <a:xfrm>
            <a:off x="6215866" y="3882688"/>
            <a:ext cx="177966" cy="180748"/>
          </a:xfrm>
          <a:custGeom>
            <a:avLst/>
            <a:gdLst>
              <a:gd name="T0" fmla="*/ 26 w 51"/>
              <a:gd name="T1" fmla="*/ 24 h 52"/>
              <a:gd name="T2" fmla="*/ 0 w 51"/>
              <a:gd name="T3" fmla="*/ 51 h 52"/>
              <a:gd name="T4" fmla="*/ 0 w 51"/>
              <a:gd name="T5" fmla="*/ 52 h 52"/>
              <a:gd name="T6" fmla="*/ 26 w 51"/>
              <a:gd name="T7" fmla="*/ 26 h 52"/>
              <a:gd name="T8" fmla="*/ 26 w 51"/>
              <a:gd name="T9" fmla="*/ 24 h 52"/>
              <a:gd name="T10" fmla="*/ 50 w 51"/>
              <a:gd name="T11" fmla="*/ 0 h 52"/>
              <a:gd name="T12" fmla="*/ 27 w 51"/>
              <a:gd name="T13" fmla="*/ 23 h 52"/>
              <a:gd name="T14" fmla="*/ 27 w 51"/>
              <a:gd name="T15" fmla="*/ 25 h 52"/>
              <a:gd name="T16" fmla="*/ 51 w 51"/>
              <a:gd name="T17" fmla="*/ 2 h 52"/>
              <a:gd name="T18" fmla="*/ 50 w 51"/>
              <a:gd name="T19"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 h="52">
                <a:moveTo>
                  <a:pt x="26" y="24"/>
                </a:moveTo>
                <a:cubicBezTo>
                  <a:pt x="0" y="51"/>
                  <a:pt x="0" y="51"/>
                  <a:pt x="0" y="51"/>
                </a:cubicBezTo>
                <a:cubicBezTo>
                  <a:pt x="0" y="52"/>
                  <a:pt x="0" y="52"/>
                  <a:pt x="0" y="52"/>
                </a:cubicBezTo>
                <a:cubicBezTo>
                  <a:pt x="26" y="26"/>
                  <a:pt x="26" y="26"/>
                  <a:pt x="26" y="26"/>
                </a:cubicBezTo>
                <a:cubicBezTo>
                  <a:pt x="26" y="24"/>
                  <a:pt x="26" y="24"/>
                  <a:pt x="26" y="24"/>
                </a:cubicBezTo>
                <a:moveTo>
                  <a:pt x="50" y="0"/>
                </a:moveTo>
                <a:cubicBezTo>
                  <a:pt x="27" y="23"/>
                  <a:pt x="27" y="23"/>
                  <a:pt x="27" y="23"/>
                </a:cubicBezTo>
                <a:cubicBezTo>
                  <a:pt x="27" y="24"/>
                  <a:pt x="27" y="25"/>
                  <a:pt x="27" y="25"/>
                </a:cubicBezTo>
                <a:cubicBezTo>
                  <a:pt x="51" y="2"/>
                  <a:pt x="51" y="2"/>
                  <a:pt x="51" y="2"/>
                </a:cubicBezTo>
                <a:cubicBezTo>
                  <a:pt x="51" y="1"/>
                  <a:pt x="51" y="1"/>
                  <a:pt x="50" y="0"/>
                </a:cubicBezTo>
              </a:path>
            </a:pathLst>
          </a:custGeom>
          <a:solidFill>
            <a:srgbClr val="6357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61" name="Freeform 106">
            <a:extLst>
              <a:ext uri="{FF2B5EF4-FFF2-40B4-BE49-F238E27FC236}">
                <a16:creationId xmlns:a16="http://schemas.microsoft.com/office/drawing/2014/main" id="{2340504C-BE5F-4F70-883A-537101FD171C}"/>
              </a:ext>
            </a:extLst>
          </p:cNvPr>
          <p:cNvSpPr>
            <a:spLocks noEditPoints="1"/>
          </p:cNvSpPr>
          <p:nvPr/>
        </p:nvSpPr>
        <p:spPr bwMode="auto">
          <a:xfrm>
            <a:off x="6071269" y="3732528"/>
            <a:ext cx="553365" cy="561708"/>
          </a:xfrm>
          <a:custGeom>
            <a:avLst/>
            <a:gdLst>
              <a:gd name="T0" fmla="*/ 54 w 159"/>
              <a:gd name="T1" fmla="*/ 105 h 161"/>
              <a:gd name="T2" fmla="*/ 0 w 159"/>
              <a:gd name="T3" fmla="*/ 160 h 161"/>
              <a:gd name="T4" fmla="*/ 0 w 159"/>
              <a:gd name="T5" fmla="*/ 161 h 161"/>
              <a:gd name="T6" fmla="*/ 55 w 159"/>
              <a:gd name="T7" fmla="*/ 106 h 161"/>
              <a:gd name="T8" fmla="*/ 54 w 159"/>
              <a:gd name="T9" fmla="*/ 105 h 161"/>
              <a:gd name="T10" fmla="*/ 69 w 159"/>
              <a:gd name="T11" fmla="*/ 91 h 161"/>
              <a:gd name="T12" fmla="*/ 68 w 159"/>
              <a:gd name="T13" fmla="*/ 91 h 161"/>
              <a:gd name="T14" fmla="*/ 68 w 159"/>
              <a:gd name="T15" fmla="*/ 92 h 161"/>
              <a:gd name="T16" fmla="*/ 68 w 159"/>
              <a:gd name="T17" fmla="*/ 92 h 161"/>
              <a:gd name="T18" fmla="*/ 69 w 159"/>
              <a:gd name="T19" fmla="*/ 91 h 161"/>
              <a:gd name="T20" fmla="*/ 159 w 159"/>
              <a:gd name="T21" fmla="*/ 0 h 161"/>
              <a:gd name="T22" fmla="*/ 94 w 159"/>
              <a:gd name="T23" fmla="*/ 66 h 161"/>
              <a:gd name="T24" fmla="*/ 94 w 159"/>
              <a:gd name="T25" fmla="*/ 67 h 161"/>
              <a:gd name="T26" fmla="*/ 159 w 159"/>
              <a:gd name="T27" fmla="*/ 1 h 161"/>
              <a:gd name="T28" fmla="*/ 159 w 159"/>
              <a:gd name="T29"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9" h="161">
                <a:moveTo>
                  <a:pt x="54" y="105"/>
                </a:moveTo>
                <a:cubicBezTo>
                  <a:pt x="0" y="160"/>
                  <a:pt x="0" y="160"/>
                  <a:pt x="0" y="160"/>
                </a:cubicBezTo>
                <a:cubicBezTo>
                  <a:pt x="0" y="160"/>
                  <a:pt x="0" y="160"/>
                  <a:pt x="0" y="161"/>
                </a:cubicBezTo>
                <a:cubicBezTo>
                  <a:pt x="55" y="106"/>
                  <a:pt x="55" y="106"/>
                  <a:pt x="55" y="106"/>
                </a:cubicBezTo>
                <a:cubicBezTo>
                  <a:pt x="54" y="106"/>
                  <a:pt x="54" y="106"/>
                  <a:pt x="54" y="105"/>
                </a:cubicBezTo>
                <a:moveTo>
                  <a:pt x="69" y="91"/>
                </a:moveTo>
                <a:cubicBezTo>
                  <a:pt x="68" y="91"/>
                  <a:pt x="68" y="91"/>
                  <a:pt x="68" y="91"/>
                </a:cubicBezTo>
                <a:cubicBezTo>
                  <a:pt x="68" y="92"/>
                  <a:pt x="68" y="92"/>
                  <a:pt x="68" y="92"/>
                </a:cubicBezTo>
                <a:cubicBezTo>
                  <a:pt x="68" y="92"/>
                  <a:pt x="68" y="92"/>
                  <a:pt x="68" y="92"/>
                </a:cubicBezTo>
                <a:cubicBezTo>
                  <a:pt x="69" y="92"/>
                  <a:pt x="69" y="91"/>
                  <a:pt x="69" y="91"/>
                </a:cubicBezTo>
                <a:moveTo>
                  <a:pt x="159" y="0"/>
                </a:moveTo>
                <a:cubicBezTo>
                  <a:pt x="94" y="66"/>
                  <a:pt x="94" y="66"/>
                  <a:pt x="94" y="66"/>
                </a:cubicBezTo>
                <a:cubicBezTo>
                  <a:pt x="94" y="66"/>
                  <a:pt x="94" y="67"/>
                  <a:pt x="94" y="67"/>
                </a:cubicBezTo>
                <a:cubicBezTo>
                  <a:pt x="159" y="1"/>
                  <a:pt x="159" y="1"/>
                  <a:pt x="159" y="1"/>
                </a:cubicBezTo>
                <a:cubicBezTo>
                  <a:pt x="159" y="0"/>
                  <a:pt x="159" y="0"/>
                  <a:pt x="159" y="0"/>
                </a:cubicBezTo>
              </a:path>
            </a:pathLst>
          </a:custGeom>
          <a:solidFill>
            <a:srgbClr val="6582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62" name="Freeform 107">
            <a:extLst>
              <a:ext uri="{FF2B5EF4-FFF2-40B4-BE49-F238E27FC236}">
                <a16:creationId xmlns:a16="http://schemas.microsoft.com/office/drawing/2014/main" id="{9BE603C0-C99E-403A-B9F6-14473F840A53}"/>
              </a:ext>
            </a:extLst>
          </p:cNvPr>
          <p:cNvSpPr>
            <a:spLocks noEditPoints="1"/>
          </p:cNvSpPr>
          <p:nvPr/>
        </p:nvSpPr>
        <p:spPr bwMode="auto">
          <a:xfrm>
            <a:off x="6257578" y="3960548"/>
            <a:ext cx="141818" cy="141818"/>
          </a:xfrm>
          <a:custGeom>
            <a:avLst/>
            <a:gdLst>
              <a:gd name="T0" fmla="*/ 14 w 40"/>
              <a:gd name="T1" fmla="*/ 25 h 40"/>
              <a:gd name="T2" fmla="*/ 0 w 40"/>
              <a:gd name="T3" fmla="*/ 39 h 40"/>
              <a:gd name="T4" fmla="*/ 1 w 40"/>
              <a:gd name="T5" fmla="*/ 40 h 40"/>
              <a:gd name="T6" fmla="*/ 14 w 40"/>
              <a:gd name="T7" fmla="*/ 26 h 40"/>
              <a:gd name="T8" fmla="*/ 14 w 40"/>
              <a:gd name="T9" fmla="*/ 25 h 40"/>
              <a:gd name="T10" fmla="*/ 40 w 40"/>
              <a:gd name="T11" fmla="*/ 0 h 40"/>
              <a:gd name="T12" fmla="*/ 15 w 40"/>
              <a:gd name="T13" fmla="*/ 25 h 40"/>
              <a:gd name="T14" fmla="*/ 14 w 40"/>
              <a:gd name="T15" fmla="*/ 26 h 40"/>
              <a:gd name="T16" fmla="*/ 40 w 40"/>
              <a:gd name="T17" fmla="*/ 1 h 40"/>
              <a:gd name="T18" fmla="*/ 40 w 40"/>
              <a:gd name="T19"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40">
                <a:moveTo>
                  <a:pt x="14" y="25"/>
                </a:moveTo>
                <a:cubicBezTo>
                  <a:pt x="0" y="39"/>
                  <a:pt x="0" y="39"/>
                  <a:pt x="0" y="39"/>
                </a:cubicBezTo>
                <a:cubicBezTo>
                  <a:pt x="0" y="40"/>
                  <a:pt x="0" y="40"/>
                  <a:pt x="1" y="40"/>
                </a:cubicBezTo>
                <a:cubicBezTo>
                  <a:pt x="14" y="26"/>
                  <a:pt x="14" y="26"/>
                  <a:pt x="14" y="26"/>
                </a:cubicBezTo>
                <a:cubicBezTo>
                  <a:pt x="14" y="25"/>
                  <a:pt x="14" y="25"/>
                  <a:pt x="14" y="25"/>
                </a:cubicBezTo>
                <a:moveTo>
                  <a:pt x="40" y="0"/>
                </a:moveTo>
                <a:cubicBezTo>
                  <a:pt x="15" y="25"/>
                  <a:pt x="15" y="25"/>
                  <a:pt x="15" y="25"/>
                </a:cubicBezTo>
                <a:cubicBezTo>
                  <a:pt x="15" y="25"/>
                  <a:pt x="15" y="26"/>
                  <a:pt x="14" y="26"/>
                </a:cubicBezTo>
                <a:cubicBezTo>
                  <a:pt x="40" y="1"/>
                  <a:pt x="40" y="1"/>
                  <a:pt x="40" y="1"/>
                </a:cubicBezTo>
                <a:cubicBezTo>
                  <a:pt x="40" y="1"/>
                  <a:pt x="40" y="0"/>
                  <a:pt x="40" y="0"/>
                </a:cubicBezTo>
              </a:path>
            </a:pathLst>
          </a:custGeom>
          <a:solidFill>
            <a:srgbClr val="6357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63" name="Freeform 108">
            <a:extLst>
              <a:ext uri="{FF2B5EF4-FFF2-40B4-BE49-F238E27FC236}">
                <a16:creationId xmlns:a16="http://schemas.microsoft.com/office/drawing/2014/main" id="{847EF01A-DEC6-4BC8-9FDC-972F956C2CA8}"/>
              </a:ext>
            </a:extLst>
          </p:cNvPr>
          <p:cNvSpPr>
            <a:spLocks noEditPoints="1"/>
          </p:cNvSpPr>
          <p:nvPr/>
        </p:nvSpPr>
        <p:spPr bwMode="auto">
          <a:xfrm>
            <a:off x="6079612" y="3810389"/>
            <a:ext cx="545024" cy="545024"/>
          </a:xfrm>
          <a:custGeom>
            <a:avLst/>
            <a:gdLst>
              <a:gd name="T0" fmla="*/ 63 w 156"/>
              <a:gd name="T1" fmla="*/ 93 h 156"/>
              <a:gd name="T2" fmla="*/ 0 w 156"/>
              <a:gd name="T3" fmla="*/ 156 h 156"/>
              <a:gd name="T4" fmla="*/ 2 w 156"/>
              <a:gd name="T5" fmla="*/ 156 h 156"/>
              <a:gd name="T6" fmla="*/ 64 w 156"/>
              <a:gd name="T7" fmla="*/ 94 h 156"/>
              <a:gd name="T8" fmla="*/ 63 w 156"/>
              <a:gd name="T9" fmla="*/ 93 h 156"/>
              <a:gd name="T10" fmla="*/ 156 w 156"/>
              <a:gd name="T11" fmla="*/ 0 h 156"/>
              <a:gd name="T12" fmla="*/ 91 w 156"/>
              <a:gd name="T13" fmla="*/ 65 h 156"/>
              <a:gd name="T14" fmla="*/ 91 w 156"/>
              <a:gd name="T15" fmla="*/ 67 h 156"/>
              <a:gd name="T16" fmla="*/ 156 w 156"/>
              <a:gd name="T17" fmla="*/ 2 h 156"/>
              <a:gd name="T18" fmla="*/ 156 w 156"/>
              <a:gd name="T19" fmla="*/ 0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156">
                <a:moveTo>
                  <a:pt x="63" y="93"/>
                </a:moveTo>
                <a:cubicBezTo>
                  <a:pt x="0" y="156"/>
                  <a:pt x="0" y="156"/>
                  <a:pt x="0" y="156"/>
                </a:cubicBezTo>
                <a:cubicBezTo>
                  <a:pt x="1" y="156"/>
                  <a:pt x="2" y="156"/>
                  <a:pt x="2" y="156"/>
                </a:cubicBezTo>
                <a:cubicBezTo>
                  <a:pt x="64" y="94"/>
                  <a:pt x="64" y="94"/>
                  <a:pt x="64" y="94"/>
                </a:cubicBezTo>
                <a:cubicBezTo>
                  <a:pt x="64" y="94"/>
                  <a:pt x="63" y="94"/>
                  <a:pt x="63" y="93"/>
                </a:cubicBezTo>
                <a:moveTo>
                  <a:pt x="156" y="0"/>
                </a:moveTo>
                <a:cubicBezTo>
                  <a:pt x="91" y="65"/>
                  <a:pt x="91" y="65"/>
                  <a:pt x="91" y="65"/>
                </a:cubicBezTo>
                <a:cubicBezTo>
                  <a:pt x="91" y="66"/>
                  <a:pt x="91" y="66"/>
                  <a:pt x="91" y="67"/>
                </a:cubicBezTo>
                <a:cubicBezTo>
                  <a:pt x="156" y="2"/>
                  <a:pt x="156" y="2"/>
                  <a:pt x="156" y="2"/>
                </a:cubicBezTo>
                <a:cubicBezTo>
                  <a:pt x="156" y="0"/>
                  <a:pt x="156" y="0"/>
                  <a:pt x="156" y="0"/>
                </a:cubicBezTo>
              </a:path>
            </a:pathLst>
          </a:custGeom>
          <a:solidFill>
            <a:srgbClr val="6582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64" name="Freeform 109">
            <a:extLst>
              <a:ext uri="{FF2B5EF4-FFF2-40B4-BE49-F238E27FC236}">
                <a16:creationId xmlns:a16="http://schemas.microsoft.com/office/drawing/2014/main" id="{933366EF-68DE-48E9-AA02-9F7065752EB8}"/>
              </a:ext>
            </a:extLst>
          </p:cNvPr>
          <p:cNvSpPr>
            <a:spLocks/>
          </p:cNvSpPr>
          <p:nvPr/>
        </p:nvSpPr>
        <p:spPr bwMode="auto">
          <a:xfrm>
            <a:off x="6299288" y="4038408"/>
            <a:ext cx="100106" cy="100106"/>
          </a:xfrm>
          <a:custGeom>
            <a:avLst/>
            <a:gdLst>
              <a:gd name="T0" fmla="*/ 28 w 28"/>
              <a:gd name="T1" fmla="*/ 0 h 29"/>
              <a:gd name="T2" fmla="*/ 0 w 28"/>
              <a:gd name="T3" fmla="*/ 28 h 29"/>
              <a:gd name="T4" fmla="*/ 1 w 28"/>
              <a:gd name="T5" fmla="*/ 29 h 29"/>
              <a:gd name="T6" fmla="*/ 28 w 28"/>
              <a:gd name="T7" fmla="*/ 2 h 29"/>
              <a:gd name="T8" fmla="*/ 28 w 28"/>
              <a:gd name="T9" fmla="*/ 0 h 29"/>
            </a:gdLst>
            <a:ahLst/>
            <a:cxnLst>
              <a:cxn ang="0">
                <a:pos x="T0" y="T1"/>
              </a:cxn>
              <a:cxn ang="0">
                <a:pos x="T2" y="T3"/>
              </a:cxn>
              <a:cxn ang="0">
                <a:pos x="T4" y="T5"/>
              </a:cxn>
              <a:cxn ang="0">
                <a:pos x="T6" y="T7"/>
              </a:cxn>
              <a:cxn ang="0">
                <a:pos x="T8" y="T9"/>
              </a:cxn>
            </a:cxnLst>
            <a:rect l="0" t="0" r="r" b="b"/>
            <a:pathLst>
              <a:path w="28" h="29">
                <a:moveTo>
                  <a:pt x="28" y="0"/>
                </a:moveTo>
                <a:cubicBezTo>
                  <a:pt x="0" y="28"/>
                  <a:pt x="0" y="28"/>
                  <a:pt x="0" y="28"/>
                </a:cubicBezTo>
                <a:cubicBezTo>
                  <a:pt x="0" y="29"/>
                  <a:pt x="1" y="29"/>
                  <a:pt x="1" y="29"/>
                </a:cubicBezTo>
                <a:cubicBezTo>
                  <a:pt x="28" y="2"/>
                  <a:pt x="28" y="2"/>
                  <a:pt x="28" y="2"/>
                </a:cubicBezTo>
                <a:cubicBezTo>
                  <a:pt x="28" y="1"/>
                  <a:pt x="28" y="1"/>
                  <a:pt x="28" y="0"/>
                </a:cubicBezTo>
              </a:path>
            </a:pathLst>
          </a:custGeom>
          <a:solidFill>
            <a:srgbClr val="6357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65" name="Freeform 110">
            <a:extLst>
              <a:ext uri="{FF2B5EF4-FFF2-40B4-BE49-F238E27FC236}">
                <a16:creationId xmlns:a16="http://schemas.microsoft.com/office/drawing/2014/main" id="{956D9ECD-838B-419A-B1D4-0A57D22651D5}"/>
              </a:ext>
            </a:extLst>
          </p:cNvPr>
          <p:cNvSpPr>
            <a:spLocks noEditPoints="1"/>
          </p:cNvSpPr>
          <p:nvPr/>
        </p:nvSpPr>
        <p:spPr bwMode="auto">
          <a:xfrm>
            <a:off x="6163033" y="3891029"/>
            <a:ext cx="461602" cy="464382"/>
          </a:xfrm>
          <a:custGeom>
            <a:avLst/>
            <a:gdLst>
              <a:gd name="T0" fmla="*/ 39 w 132"/>
              <a:gd name="T1" fmla="*/ 94 h 133"/>
              <a:gd name="T2" fmla="*/ 0 w 132"/>
              <a:gd name="T3" fmla="*/ 133 h 133"/>
              <a:gd name="T4" fmla="*/ 2 w 132"/>
              <a:gd name="T5" fmla="*/ 132 h 133"/>
              <a:gd name="T6" fmla="*/ 38 w 132"/>
              <a:gd name="T7" fmla="*/ 96 h 133"/>
              <a:gd name="T8" fmla="*/ 39 w 132"/>
              <a:gd name="T9" fmla="*/ 94 h 133"/>
              <a:gd name="T10" fmla="*/ 132 w 132"/>
              <a:gd name="T11" fmla="*/ 0 h 133"/>
              <a:gd name="T12" fmla="*/ 67 w 132"/>
              <a:gd name="T13" fmla="*/ 65 h 133"/>
              <a:gd name="T14" fmla="*/ 67 w 132"/>
              <a:gd name="T15" fmla="*/ 67 h 133"/>
              <a:gd name="T16" fmla="*/ 132 w 132"/>
              <a:gd name="T17" fmla="*/ 2 h 133"/>
              <a:gd name="T18" fmla="*/ 132 w 132"/>
              <a:gd name="T19" fmla="*/ 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2" h="133">
                <a:moveTo>
                  <a:pt x="39" y="94"/>
                </a:moveTo>
                <a:cubicBezTo>
                  <a:pt x="0" y="133"/>
                  <a:pt x="0" y="133"/>
                  <a:pt x="0" y="133"/>
                </a:cubicBezTo>
                <a:cubicBezTo>
                  <a:pt x="1" y="133"/>
                  <a:pt x="1" y="132"/>
                  <a:pt x="2" y="132"/>
                </a:cubicBezTo>
                <a:cubicBezTo>
                  <a:pt x="38" y="96"/>
                  <a:pt x="38" y="96"/>
                  <a:pt x="38" y="96"/>
                </a:cubicBezTo>
                <a:cubicBezTo>
                  <a:pt x="39" y="95"/>
                  <a:pt x="39" y="95"/>
                  <a:pt x="39" y="94"/>
                </a:cubicBezTo>
                <a:moveTo>
                  <a:pt x="132" y="0"/>
                </a:moveTo>
                <a:cubicBezTo>
                  <a:pt x="67" y="65"/>
                  <a:pt x="67" y="65"/>
                  <a:pt x="67" y="65"/>
                </a:cubicBezTo>
                <a:cubicBezTo>
                  <a:pt x="67" y="66"/>
                  <a:pt x="67" y="67"/>
                  <a:pt x="67" y="67"/>
                </a:cubicBezTo>
                <a:cubicBezTo>
                  <a:pt x="132" y="2"/>
                  <a:pt x="132" y="2"/>
                  <a:pt x="132" y="2"/>
                </a:cubicBezTo>
                <a:cubicBezTo>
                  <a:pt x="132" y="0"/>
                  <a:pt x="132" y="0"/>
                  <a:pt x="132" y="0"/>
                </a:cubicBezTo>
              </a:path>
            </a:pathLst>
          </a:custGeom>
          <a:solidFill>
            <a:srgbClr val="6582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66" name="Freeform 111">
            <a:extLst>
              <a:ext uri="{FF2B5EF4-FFF2-40B4-BE49-F238E27FC236}">
                <a16:creationId xmlns:a16="http://schemas.microsoft.com/office/drawing/2014/main" id="{ED546698-AB6D-45E8-B237-0DF46FC2915A}"/>
              </a:ext>
            </a:extLst>
          </p:cNvPr>
          <p:cNvSpPr>
            <a:spLocks/>
          </p:cNvSpPr>
          <p:nvPr/>
        </p:nvSpPr>
        <p:spPr bwMode="auto">
          <a:xfrm>
            <a:off x="6296508" y="4119050"/>
            <a:ext cx="102887" cy="108449"/>
          </a:xfrm>
          <a:custGeom>
            <a:avLst/>
            <a:gdLst>
              <a:gd name="T0" fmla="*/ 29 w 29"/>
              <a:gd name="T1" fmla="*/ 0 h 31"/>
              <a:gd name="T2" fmla="*/ 1 w 29"/>
              <a:gd name="T3" fmla="*/ 29 h 31"/>
              <a:gd name="T4" fmla="*/ 0 w 29"/>
              <a:gd name="T5" fmla="*/ 31 h 31"/>
              <a:gd name="T6" fmla="*/ 29 w 29"/>
              <a:gd name="T7" fmla="*/ 2 h 31"/>
              <a:gd name="T8" fmla="*/ 29 w 29"/>
              <a:gd name="T9" fmla="*/ 0 h 31"/>
            </a:gdLst>
            <a:ahLst/>
            <a:cxnLst>
              <a:cxn ang="0">
                <a:pos x="T0" y="T1"/>
              </a:cxn>
              <a:cxn ang="0">
                <a:pos x="T2" y="T3"/>
              </a:cxn>
              <a:cxn ang="0">
                <a:pos x="T4" y="T5"/>
              </a:cxn>
              <a:cxn ang="0">
                <a:pos x="T6" y="T7"/>
              </a:cxn>
              <a:cxn ang="0">
                <a:pos x="T8" y="T9"/>
              </a:cxn>
            </a:cxnLst>
            <a:rect l="0" t="0" r="r" b="b"/>
            <a:pathLst>
              <a:path w="29" h="31">
                <a:moveTo>
                  <a:pt x="29" y="0"/>
                </a:moveTo>
                <a:cubicBezTo>
                  <a:pt x="1" y="29"/>
                  <a:pt x="1" y="29"/>
                  <a:pt x="1" y="29"/>
                </a:cubicBezTo>
                <a:cubicBezTo>
                  <a:pt x="1" y="30"/>
                  <a:pt x="1" y="30"/>
                  <a:pt x="0" y="31"/>
                </a:cubicBezTo>
                <a:cubicBezTo>
                  <a:pt x="29" y="2"/>
                  <a:pt x="29" y="2"/>
                  <a:pt x="29" y="2"/>
                </a:cubicBezTo>
                <a:cubicBezTo>
                  <a:pt x="29" y="2"/>
                  <a:pt x="29" y="1"/>
                  <a:pt x="29" y="0"/>
                </a:cubicBezTo>
              </a:path>
            </a:pathLst>
          </a:custGeom>
          <a:solidFill>
            <a:srgbClr val="6357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67" name="Freeform 112">
            <a:extLst>
              <a:ext uri="{FF2B5EF4-FFF2-40B4-BE49-F238E27FC236}">
                <a16:creationId xmlns:a16="http://schemas.microsoft.com/office/drawing/2014/main" id="{B7E9DA86-23D0-4022-A5EA-CED40013B6B3}"/>
              </a:ext>
            </a:extLst>
          </p:cNvPr>
          <p:cNvSpPr>
            <a:spLocks noEditPoints="1"/>
          </p:cNvSpPr>
          <p:nvPr/>
        </p:nvSpPr>
        <p:spPr bwMode="auto">
          <a:xfrm>
            <a:off x="6252017" y="3974451"/>
            <a:ext cx="372617" cy="375399"/>
          </a:xfrm>
          <a:custGeom>
            <a:avLst/>
            <a:gdLst>
              <a:gd name="T0" fmla="*/ 11 w 107"/>
              <a:gd name="T1" fmla="*/ 96 h 107"/>
              <a:gd name="T2" fmla="*/ 0 w 107"/>
              <a:gd name="T3" fmla="*/ 107 h 107"/>
              <a:gd name="T4" fmla="*/ 2 w 107"/>
              <a:gd name="T5" fmla="*/ 106 h 107"/>
              <a:gd name="T6" fmla="*/ 11 w 107"/>
              <a:gd name="T7" fmla="*/ 97 h 107"/>
              <a:gd name="T8" fmla="*/ 11 w 107"/>
              <a:gd name="T9" fmla="*/ 96 h 107"/>
              <a:gd name="T10" fmla="*/ 107 w 107"/>
              <a:gd name="T11" fmla="*/ 0 h 107"/>
              <a:gd name="T12" fmla="*/ 42 w 107"/>
              <a:gd name="T13" fmla="*/ 65 h 107"/>
              <a:gd name="T14" fmla="*/ 42 w 107"/>
              <a:gd name="T15" fmla="*/ 67 h 107"/>
              <a:gd name="T16" fmla="*/ 107 w 107"/>
              <a:gd name="T17" fmla="*/ 1 h 107"/>
              <a:gd name="T18" fmla="*/ 107 w 107"/>
              <a:gd name="T19"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7" h="107">
                <a:moveTo>
                  <a:pt x="11" y="96"/>
                </a:moveTo>
                <a:cubicBezTo>
                  <a:pt x="0" y="107"/>
                  <a:pt x="0" y="107"/>
                  <a:pt x="0" y="107"/>
                </a:cubicBezTo>
                <a:cubicBezTo>
                  <a:pt x="1" y="107"/>
                  <a:pt x="2" y="106"/>
                  <a:pt x="2" y="106"/>
                </a:cubicBezTo>
                <a:cubicBezTo>
                  <a:pt x="11" y="97"/>
                  <a:pt x="11" y="97"/>
                  <a:pt x="11" y="97"/>
                </a:cubicBezTo>
                <a:cubicBezTo>
                  <a:pt x="11" y="97"/>
                  <a:pt x="11" y="96"/>
                  <a:pt x="11" y="96"/>
                </a:cubicBezTo>
                <a:moveTo>
                  <a:pt x="107" y="0"/>
                </a:moveTo>
                <a:cubicBezTo>
                  <a:pt x="42" y="65"/>
                  <a:pt x="42" y="65"/>
                  <a:pt x="42" y="65"/>
                </a:cubicBezTo>
                <a:cubicBezTo>
                  <a:pt x="42" y="66"/>
                  <a:pt x="42" y="66"/>
                  <a:pt x="42" y="67"/>
                </a:cubicBezTo>
                <a:cubicBezTo>
                  <a:pt x="107" y="1"/>
                  <a:pt x="107" y="1"/>
                  <a:pt x="107" y="1"/>
                </a:cubicBezTo>
                <a:cubicBezTo>
                  <a:pt x="107" y="0"/>
                  <a:pt x="107" y="0"/>
                  <a:pt x="107" y="0"/>
                </a:cubicBezTo>
              </a:path>
            </a:pathLst>
          </a:custGeom>
          <a:solidFill>
            <a:srgbClr val="6582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68" name="Freeform 113">
            <a:extLst>
              <a:ext uri="{FF2B5EF4-FFF2-40B4-BE49-F238E27FC236}">
                <a16:creationId xmlns:a16="http://schemas.microsoft.com/office/drawing/2014/main" id="{C9C28023-8278-40C1-907B-803811FC9941}"/>
              </a:ext>
            </a:extLst>
          </p:cNvPr>
          <p:cNvSpPr>
            <a:spLocks/>
          </p:cNvSpPr>
          <p:nvPr/>
        </p:nvSpPr>
        <p:spPr bwMode="auto">
          <a:xfrm>
            <a:off x="6290947" y="4202472"/>
            <a:ext cx="108449" cy="111229"/>
          </a:xfrm>
          <a:custGeom>
            <a:avLst/>
            <a:gdLst>
              <a:gd name="T0" fmla="*/ 31 w 31"/>
              <a:gd name="T1" fmla="*/ 0 h 32"/>
              <a:gd name="T2" fmla="*/ 0 w 31"/>
              <a:gd name="T3" fmla="*/ 31 h 32"/>
              <a:gd name="T4" fmla="*/ 0 w 31"/>
              <a:gd name="T5" fmla="*/ 32 h 32"/>
              <a:gd name="T6" fmla="*/ 31 w 31"/>
              <a:gd name="T7" fmla="*/ 2 h 32"/>
              <a:gd name="T8" fmla="*/ 31 w 31"/>
              <a:gd name="T9" fmla="*/ 0 h 32"/>
            </a:gdLst>
            <a:ahLst/>
            <a:cxnLst>
              <a:cxn ang="0">
                <a:pos x="T0" y="T1"/>
              </a:cxn>
              <a:cxn ang="0">
                <a:pos x="T2" y="T3"/>
              </a:cxn>
              <a:cxn ang="0">
                <a:pos x="T4" y="T5"/>
              </a:cxn>
              <a:cxn ang="0">
                <a:pos x="T6" y="T7"/>
              </a:cxn>
              <a:cxn ang="0">
                <a:pos x="T8" y="T9"/>
              </a:cxn>
            </a:cxnLst>
            <a:rect l="0" t="0" r="r" b="b"/>
            <a:pathLst>
              <a:path w="31" h="32">
                <a:moveTo>
                  <a:pt x="31" y="0"/>
                </a:moveTo>
                <a:cubicBezTo>
                  <a:pt x="0" y="31"/>
                  <a:pt x="0" y="31"/>
                  <a:pt x="0" y="31"/>
                </a:cubicBezTo>
                <a:cubicBezTo>
                  <a:pt x="0" y="31"/>
                  <a:pt x="0" y="32"/>
                  <a:pt x="0" y="32"/>
                </a:cubicBezTo>
                <a:cubicBezTo>
                  <a:pt x="31" y="2"/>
                  <a:pt x="31" y="2"/>
                  <a:pt x="31" y="2"/>
                </a:cubicBezTo>
                <a:cubicBezTo>
                  <a:pt x="31" y="1"/>
                  <a:pt x="31" y="1"/>
                  <a:pt x="31" y="0"/>
                </a:cubicBezTo>
              </a:path>
            </a:pathLst>
          </a:custGeom>
          <a:solidFill>
            <a:srgbClr val="6357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69" name="Freeform 114">
            <a:extLst>
              <a:ext uri="{FF2B5EF4-FFF2-40B4-BE49-F238E27FC236}">
                <a16:creationId xmlns:a16="http://schemas.microsoft.com/office/drawing/2014/main" id="{9402DEF9-90AC-4385-8E7C-6D0359BEE26C}"/>
              </a:ext>
            </a:extLst>
          </p:cNvPr>
          <p:cNvSpPr>
            <a:spLocks/>
          </p:cNvSpPr>
          <p:nvPr/>
        </p:nvSpPr>
        <p:spPr bwMode="auto">
          <a:xfrm>
            <a:off x="6391053" y="4055093"/>
            <a:ext cx="233581" cy="239142"/>
          </a:xfrm>
          <a:custGeom>
            <a:avLst/>
            <a:gdLst>
              <a:gd name="T0" fmla="*/ 67 w 67"/>
              <a:gd name="T1" fmla="*/ 0 h 68"/>
              <a:gd name="T2" fmla="*/ 1 w 67"/>
              <a:gd name="T3" fmla="*/ 67 h 68"/>
              <a:gd name="T4" fmla="*/ 0 w 67"/>
              <a:gd name="T5" fmla="*/ 68 h 68"/>
              <a:gd name="T6" fmla="*/ 67 w 67"/>
              <a:gd name="T7" fmla="*/ 2 h 68"/>
              <a:gd name="T8" fmla="*/ 67 w 67"/>
              <a:gd name="T9" fmla="*/ 0 h 68"/>
            </a:gdLst>
            <a:ahLst/>
            <a:cxnLst>
              <a:cxn ang="0">
                <a:pos x="T0" y="T1"/>
              </a:cxn>
              <a:cxn ang="0">
                <a:pos x="T2" y="T3"/>
              </a:cxn>
              <a:cxn ang="0">
                <a:pos x="T4" y="T5"/>
              </a:cxn>
              <a:cxn ang="0">
                <a:pos x="T6" y="T7"/>
              </a:cxn>
              <a:cxn ang="0">
                <a:pos x="T8" y="T9"/>
              </a:cxn>
            </a:cxnLst>
            <a:rect l="0" t="0" r="r" b="b"/>
            <a:pathLst>
              <a:path w="67" h="68">
                <a:moveTo>
                  <a:pt x="67" y="0"/>
                </a:moveTo>
                <a:cubicBezTo>
                  <a:pt x="1" y="67"/>
                  <a:pt x="1" y="67"/>
                  <a:pt x="1" y="67"/>
                </a:cubicBezTo>
                <a:cubicBezTo>
                  <a:pt x="1" y="67"/>
                  <a:pt x="1" y="68"/>
                  <a:pt x="0" y="68"/>
                </a:cubicBezTo>
                <a:cubicBezTo>
                  <a:pt x="67" y="2"/>
                  <a:pt x="67" y="2"/>
                  <a:pt x="67" y="2"/>
                </a:cubicBezTo>
                <a:cubicBezTo>
                  <a:pt x="67" y="0"/>
                  <a:pt x="67" y="0"/>
                  <a:pt x="67" y="0"/>
                </a:cubicBezTo>
              </a:path>
            </a:pathLst>
          </a:custGeom>
          <a:solidFill>
            <a:srgbClr val="6582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70" name="Freeform 115">
            <a:extLst>
              <a:ext uri="{FF2B5EF4-FFF2-40B4-BE49-F238E27FC236}">
                <a16:creationId xmlns:a16="http://schemas.microsoft.com/office/drawing/2014/main" id="{5948B657-7E4A-4339-BF51-80A2BFD051D2}"/>
              </a:ext>
            </a:extLst>
          </p:cNvPr>
          <p:cNvSpPr>
            <a:spLocks/>
          </p:cNvSpPr>
          <p:nvPr/>
        </p:nvSpPr>
        <p:spPr bwMode="auto">
          <a:xfrm>
            <a:off x="6346561" y="4288674"/>
            <a:ext cx="47273" cy="47273"/>
          </a:xfrm>
          <a:custGeom>
            <a:avLst/>
            <a:gdLst>
              <a:gd name="T0" fmla="*/ 14 w 14"/>
              <a:gd name="T1" fmla="*/ 0 h 13"/>
              <a:gd name="T2" fmla="*/ 0 w 14"/>
              <a:gd name="T3" fmla="*/ 13 h 13"/>
              <a:gd name="T4" fmla="*/ 2 w 14"/>
              <a:gd name="T5" fmla="*/ 12 h 13"/>
              <a:gd name="T6" fmla="*/ 13 w 14"/>
              <a:gd name="T7" fmla="*/ 1 h 13"/>
              <a:gd name="T8" fmla="*/ 14 w 14"/>
              <a:gd name="T9" fmla="*/ 0 h 13"/>
            </a:gdLst>
            <a:ahLst/>
            <a:cxnLst>
              <a:cxn ang="0">
                <a:pos x="T0" y="T1"/>
              </a:cxn>
              <a:cxn ang="0">
                <a:pos x="T2" y="T3"/>
              </a:cxn>
              <a:cxn ang="0">
                <a:pos x="T4" y="T5"/>
              </a:cxn>
              <a:cxn ang="0">
                <a:pos x="T6" y="T7"/>
              </a:cxn>
              <a:cxn ang="0">
                <a:pos x="T8" y="T9"/>
              </a:cxn>
            </a:cxnLst>
            <a:rect l="0" t="0" r="r" b="b"/>
            <a:pathLst>
              <a:path w="14" h="13">
                <a:moveTo>
                  <a:pt x="14" y="0"/>
                </a:moveTo>
                <a:cubicBezTo>
                  <a:pt x="0" y="13"/>
                  <a:pt x="0" y="13"/>
                  <a:pt x="0" y="13"/>
                </a:cubicBezTo>
                <a:cubicBezTo>
                  <a:pt x="1" y="13"/>
                  <a:pt x="2" y="13"/>
                  <a:pt x="2" y="12"/>
                </a:cubicBezTo>
                <a:cubicBezTo>
                  <a:pt x="13" y="1"/>
                  <a:pt x="13" y="1"/>
                  <a:pt x="13" y="1"/>
                </a:cubicBezTo>
                <a:cubicBezTo>
                  <a:pt x="14" y="1"/>
                  <a:pt x="14" y="0"/>
                  <a:pt x="14" y="0"/>
                </a:cubicBezTo>
              </a:path>
            </a:pathLst>
          </a:custGeom>
          <a:solidFill>
            <a:srgbClr val="6357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71" name="Freeform 116">
            <a:extLst>
              <a:ext uri="{FF2B5EF4-FFF2-40B4-BE49-F238E27FC236}">
                <a16:creationId xmlns:a16="http://schemas.microsoft.com/office/drawing/2014/main" id="{C0428DC8-FE4A-4FCD-83B1-A090C04D70C1}"/>
              </a:ext>
            </a:extLst>
          </p:cNvPr>
          <p:cNvSpPr>
            <a:spLocks/>
          </p:cNvSpPr>
          <p:nvPr/>
        </p:nvSpPr>
        <p:spPr bwMode="auto">
          <a:xfrm>
            <a:off x="6449449" y="4135734"/>
            <a:ext cx="175186" cy="175186"/>
          </a:xfrm>
          <a:custGeom>
            <a:avLst/>
            <a:gdLst>
              <a:gd name="T0" fmla="*/ 50 w 50"/>
              <a:gd name="T1" fmla="*/ 0 h 50"/>
              <a:gd name="T2" fmla="*/ 0 w 50"/>
              <a:gd name="T3" fmla="*/ 50 h 50"/>
              <a:gd name="T4" fmla="*/ 2 w 50"/>
              <a:gd name="T5" fmla="*/ 50 h 50"/>
              <a:gd name="T6" fmla="*/ 50 w 50"/>
              <a:gd name="T7" fmla="*/ 2 h 50"/>
              <a:gd name="T8" fmla="*/ 50 w 50"/>
              <a:gd name="T9" fmla="*/ 0 h 50"/>
            </a:gdLst>
            <a:ahLst/>
            <a:cxnLst>
              <a:cxn ang="0">
                <a:pos x="T0" y="T1"/>
              </a:cxn>
              <a:cxn ang="0">
                <a:pos x="T2" y="T3"/>
              </a:cxn>
              <a:cxn ang="0">
                <a:pos x="T4" y="T5"/>
              </a:cxn>
              <a:cxn ang="0">
                <a:pos x="T6" y="T7"/>
              </a:cxn>
              <a:cxn ang="0">
                <a:pos x="T8" y="T9"/>
              </a:cxn>
            </a:cxnLst>
            <a:rect l="0" t="0" r="r" b="b"/>
            <a:pathLst>
              <a:path w="50" h="50">
                <a:moveTo>
                  <a:pt x="50" y="0"/>
                </a:moveTo>
                <a:cubicBezTo>
                  <a:pt x="0" y="50"/>
                  <a:pt x="0" y="50"/>
                  <a:pt x="0" y="50"/>
                </a:cubicBezTo>
                <a:cubicBezTo>
                  <a:pt x="1" y="50"/>
                  <a:pt x="2" y="50"/>
                  <a:pt x="2" y="50"/>
                </a:cubicBezTo>
                <a:cubicBezTo>
                  <a:pt x="50" y="2"/>
                  <a:pt x="50" y="2"/>
                  <a:pt x="50" y="2"/>
                </a:cubicBezTo>
                <a:cubicBezTo>
                  <a:pt x="50" y="0"/>
                  <a:pt x="50" y="0"/>
                  <a:pt x="50" y="0"/>
                </a:cubicBezTo>
              </a:path>
            </a:pathLst>
          </a:custGeom>
          <a:solidFill>
            <a:srgbClr val="6582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72" name="Freeform 117">
            <a:extLst>
              <a:ext uri="{FF2B5EF4-FFF2-40B4-BE49-F238E27FC236}">
                <a16:creationId xmlns:a16="http://schemas.microsoft.com/office/drawing/2014/main" id="{B2A2B90F-C836-4BB8-B240-6DEBEA46E954}"/>
              </a:ext>
            </a:extLst>
          </p:cNvPr>
          <p:cNvSpPr>
            <a:spLocks/>
          </p:cNvSpPr>
          <p:nvPr/>
        </p:nvSpPr>
        <p:spPr bwMode="auto">
          <a:xfrm>
            <a:off x="6566239" y="4216375"/>
            <a:ext cx="58396" cy="63957"/>
          </a:xfrm>
          <a:custGeom>
            <a:avLst/>
            <a:gdLst>
              <a:gd name="T0" fmla="*/ 17 w 17"/>
              <a:gd name="T1" fmla="*/ 0 h 18"/>
              <a:gd name="T2" fmla="*/ 0 w 17"/>
              <a:gd name="T3" fmla="*/ 18 h 18"/>
              <a:gd name="T4" fmla="*/ 3 w 17"/>
              <a:gd name="T5" fmla="*/ 17 h 18"/>
              <a:gd name="T6" fmla="*/ 17 w 17"/>
              <a:gd name="T7" fmla="*/ 2 h 18"/>
              <a:gd name="T8" fmla="*/ 17 w 17"/>
              <a:gd name="T9" fmla="*/ 0 h 18"/>
            </a:gdLst>
            <a:ahLst/>
            <a:cxnLst>
              <a:cxn ang="0">
                <a:pos x="T0" y="T1"/>
              </a:cxn>
              <a:cxn ang="0">
                <a:pos x="T2" y="T3"/>
              </a:cxn>
              <a:cxn ang="0">
                <a:pos x="T4" y="T5"/>
              </a:cxn>
              <a:cxn ang="0">
                <a:pos x="T6" y="T7"/>
              </a:cxn>
              <a:cxn ang="0">
                <a:pos x="T8" y="T9"/>
              </a:cxn>
            </a:cxnLst>
            <a:rect l="0" t="0" r="r" b="b"/>
            <a:pathLst>
              <a:path w="17" h="18">
                <a:moveTo>
                  <a:pt x="17" y="0"/>
                </a:moveTo>
                <a:cubicBezTo>
                  <a:pt x="0" y="18"/>
                  <a:pt x="0" y="18"/>
                  <a:pt x="0" y="18"/>
                </a:cubicBezTo>
                <a:cubicBezTo>
                  <a:pt x="1" y="17"/>
                  <a:pt x="2" y="17"/>
                  <a:pt x="3" y="17"/>
                </a:cubicBezTo>
                <a:cubicBezTo>
                  <a:pt x="17" y="2"/>
                  <a:pt x="17" y="2"/>
                  <a:pt x="17" y="2"/>
                </a:cubicBezTo>
                <a:cubicBezTo>
                  <a:pt x="17" y="0"/>
                  <a:pt x="17" y="0"/>
                  <a:pt x="17" y="0"/>
                </a:cubicBezTo>
              </a:path>
            </a:pathLst>
          </a:custGeom>
          <a:solidFill>
            <a:srgbClr val="6582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73" name="Freeform 118">
            <a:extLst>
              <a:ext uri="{FF2B5EF4-FFF2-40B4-BE49-F238E27FC236}">
                <a16:creationId xmlns:a16="http://schemas.microsoft.com/office/drawing/2014/main" id="{455F46FF-DF90-47AD-B00F-BE0D80930882}"/>
              </a:ext>
            </a:extLst>
          </p:cNvPr>
          <p:cNvSpPr>
            <a:spLocks/>
          </p:cNvSpPr>
          <p:nvPr/>
        </p:nvSpPr>
        <p:spPr bwMode="auto">
          <a:xfrm>
            <a:off x="6624634" y="3448893"/>
            <a:ext cx="44492" cy="44492"/>
          </a:xfrm>
          <a:custGeom>
            <a:avLst/>
            <a:gdLst>
              <a:gd name="T0" fmla="*/ 16 w 16"/>
              <a:gd name="T1" fmla="*/ 0 h 16"/>
              <a:gd name="T2" fmla="*/ 14 w 16"/>
              <a:gd name="T3" fmla="*/ 0 h 16"/>
              <a:gd name="T4" fmla="*/ 0 w 16"/>
              <a:gd name="T5" fmla="*/ 14 h 16"/>
              <a:gd name="T6" fmla="*/ 0 w 16"/>
              <a:gd name="T7" fmla="*/ 16 h 16"/>
              <a:gd name="T8" fmla="*/ 16 w 16"/>
              <a:gd name="T9" fmla="*/ 0 h 16"/>
            </a:gdLst>
            <a:ahLst/>
            <a:cxnLst>
              <a:cxn ang="0">
                <a:pos x="T0" y="T1"/>
              </a:cxn>
              <a:cxn ang="0">
                <a:pos x="T2" y="T3"/>
              </a:cxn>
              <a:cxn ang="0">
                <a:pos x="T4" y="T5"/>
              </a:cxn>
              <a:cxn ang="0">
                <a:pos x="T6" y="T7"/>
              </a:cxn>
              <a:cxn ang="0">
                <a:pos x="T8" y="T9"/>
              </a:cxn>
            </a:cxnLst>
            <a:rect l="0" t="0" r="r" b="b"/>
            <a:pathLst>
              <a:path w="16" h="16">
                <a:moveTo>
                  <a:pt x="16" y="0"/>
                </a:moveTo>
                <a:lnTo>
                  <a:pt x="14" y="0"/>
                </a:lnTo>
                <a:lnTo>
                  <a:pt x="0" y="14"/>
                </a:lnTo>
                <a:lnTo>
                  <a:pt x="0" y="16"/>
                </a:lnTo>
                <a:lnTo>
                  <a:pt x="16" y="0"/>
                </a:lnTo>
                <a:close/>
              </a:path>
            </a:pathLst>
          </a:custGeom>
          <a:solidFill>
            <a:srgbClr val="6582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74" name="Freeform 119">
            <a:extLst>
              <a:ext uri="{FF2B5EF4-FFF2-40B4-BE49-F238E27FC236}">
                <a16:creationId xmlns:a16="http://schemas.microsoft.com/office/drawing/2014/main" id="{96AC6C84-DB30-43A1-A78E-F5857C43E9C5}"/>
              </a:ext>
            </a:extLst>
          </p:cNvPr>
          <p:cNvSpPr>
            <a:spLocks/>
          </p:cNvSpPr>
          <p:nvPr/>
        </p:nvSpPr>
        <p:spPr bwMode="auto">
          <a:xfrm>
            <a:off x="6624634" y="3448893"/>
            <a:ext cx="44492" cy="44492"/>
          </a:xfrm>
          <a:custGeom>
            <a:avLst/>
            <a:gdLst>
              <a:gd name="T0" fmla="*/ 16 w 16"/>
              <a:gd name="T1" fmla="*/ 0 h 16"/>
              <a:gd name="T2" fmla="*/ 14 w 16"/>
              <a:gd name="T3" fmla="*/ 0 h 16"/>
              <a:gd name="T4" fmla="*/ 0 w 16"/>
              <a:gd name="T5" fmla="*/ 14 h 16"/>
              <a:gd name="T6" fmla="*/ 0 w 16"/>
              <a:gd name="T7" fmla="*/ 16 h 16"/>
              <a:gd name="T8" fmla="*/ 16 w 16"/>
              <a:gd name="T9" fmla="*/ 0 h 16"/>
            </a:gdLst>
            <a:ahLst/>
            <a:cxnLst>
              <a:cxn ang="0">
                <a:pos x="T0" y="T1"/>
              </a:cxn>
              <a:cxn ang="0">
                <a:pos x="T2" y="T3"/>
              </a:cxn>
              <a:cxn ang="0">
                <a:pos x="T4" y="T5"/>
              </a:cxn>
              <a:cxn ang="0">
                <a:pos x="T6" y="T7"/>
              </a:cxn>
              <a:cxn ang="0">
                <a:pos x="T8" y="T9"/>
              </a:cxn>
            </a:cxnLst>
            <a:rect l="0" t="0" r="r" b="b"/>
            <a:pathLst>
              <a:path w="16" h="16">
                <a:moveTo>
                  <a:pt x="16" y="0"/>
                </a:moveTo>
                <a:lnTo>
                  <a:pt x="14" y="0"/>
                </a:lnTo>
                <a:lnTo>
                  <a:pt x="0" y="14"/>
                </a:lnTo>
                <a:lnTo>
                  <a:pt x="0" y="16"/>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75" name="Freeform 120">
            <a:extLst>
              <a:ext uri="{FF2B5EF4-FFF2-40B4-BE49-F238E27FC236}">
                <a16:creationId xmlns:a16="http://schemas.microsoft.com/office/drawing/2014/main" id="{816F90F4-4112-44A5-AA93-41D7125AD468}"/>
              </a:ext>
            </a:extLst>
          </p:cNvPr>
          <p:cNvSpPr>
            <a:spLocks/>
          </p:cNvSpPr>
          <p:nvPr/>
        </p:nvSpPr>
        <p:spPr bwMode="auto">
          <a:xfrm>
            <a:off x="6624634" y="3448893"/>
            <a:ext cx="125133" cy="125133"/>
          </a:xfrm>
          <a:custGeom>
            <a:avLst/>
            <a:gdLst>
              <a:gd name="T0" fmla="*/ 45 w 45"/>
              <a:gd name="T1" fmla="*/ 0 h 45"/>
              <a:gd name="T2" fmla="*/ 44 w 45"/>
              <a:gd name="T3" fmla="*/ 0 h 45"/>
              <a:gd name="T4" fmla="*/ 0 w 45"/>
              <a:gd name="T5" fmla="*/ 43 h 45"/>
              <a:gd name="T6" fmla="*/ 0 w 45"/>
              <a:gd name="T7" fmla="*/ 45 h 45"/>
              <a:gd name="T8" fmla="*/ 45 w 45"/>
              <a:gd name="T9" fmla="*/ 0 h 45"/>
            </a:gdLst>
            <a:ahLst/>
            <a:cxnLst>
              <a:cxn ang="0">
                <a:pos x="T0" y="T1"/>
              </a:cxn>
              <a:cxn ang="0">
                <a:pos x="T2" y="T3"/>
              </a:cxn>
              <a:cxn ang="0">
                <a:pos x="T4" y="T5"/>
              </a:cxn>
              <a:cxn ang="0">
                <a:pos x="T6" y="T7"/>
              </a:cxn>
              <a:cxn ang="0">
                <a:pos x="T8" y="T9"/>
              </a:cxn>
            </a:cxnLst>
            <a:rect l="0" t="0" r="r" b="b"/>
            <a:pathLst>
              <a:path w="45" h="45">
                <a:moveTo>
                  <a:pt x="45" y="0"/>
                </a:moveTo>
                <a:lnTo>
                  <a:pt x="44" y="0"/>
                </a:lnTo>
                <a:lnTo>
                  <a:pt x="0" y="43"/>
                </a:lnTo>
                <a:lnTo>
                  <a:pt x="0" y="45"/>
                </a:lnTo>
                <a:lnTo>
                  <a:pt x="45" y="0"/>
                </a:lnTo>
                <a:close/>
              </a:path>
            </a:pathLst>
          </a:custGeom>
          <a:solidFill>
            <a:srgbClr val="6582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76" name="Freeform 121">
            <a:extLst>
              <a:ext uri="{FF2B5EF4-FFF2-40B4-BE49-F238E27FC236}">
                <a16:creationId xmlns:a16="http://schemas.microsoft.com/office/drawing/2014/main" id="{BE9E309F-70C9-41C9-8B9E-ADA7D6C696AA}"/>
              </a:ext>
            </a:extLst>
          </p:cNvPr>
          <p:cNvSpPr>
            <a:spLocks/>
          </p:cNvSpPr>
          <p:nvPr/>
        </p:nvSpPr>
        <p:spPr bwMode="auto">
          <a:xfrm>
            <a:off x="6624634" y="3448893"/>
            <a:ext cx="125133" cy="125133"/>
          </a:xfrm>
          <a:custGeom>
            <a:avLst/>
            <a:gdLst>
              <a:gd name="T0" fmla="*/ 45 w 45"/>
              <a:gd name="T1" fmla="*/ 0 h 45"/>
              <a:gd name="T2" fmla="*/ 44 w 45"/>
              <a:gd name="T3" fmla="*/ 0 h 45"/>
              <a:gd name="T4" fmla="*/ 0 w 45"/>
              <a:gd name="T5" fmla="*/ 43 h 45"/>
              <a:gd name="T6" fmla="*/ 0 w 45"/>
              <a:gd name="T7" fmla="*/ 45 h 45"/>
              <a:gd name="T8" fmla="*/ 45 w 45"/>
              <a:gd name="T9" fmla="*/ 0 h 45"/>
            </a:gdLst>
            <a:ahLst/>
            <a:cxnLst>
              <a:cxn ang="0">
                <a:pos x="T0" y="T1"/>
              </a:cxn>
              <a:cxn ang="0">
                <a:pos x="T2" y="T3"/>
              </a:cxn>
              <a:cxn ang="0">
                <a:pos x="T4" y="T5"/>
              </a:cxn>
              <a:cxn ang="0">
                <a:pos x="T6" y="T7"/>
              </a:cxn>
              <a:cxn ang="0">
                <a:pos x="T8" y="T9"/>
              </a:cxn>
            </a:cxnLst>
            <a:rect l="0" t="0" r="r" b="b"/>
            <a:pathLst>
              <a:path w="45" h="45">
                <a:moveTo>
                  <a:pt x="45" y="0"/>
                </a:moveTo>
                <a:lnTo>
                  <a:pt x="44" y="0"/>
                </a:lnTo>
                <a:lnTo>
                  <a:pt x="0" y="43"/>
                </a:lnTo>
                <a:lnTo>
                  <a:pt x="0" y="45"/>
                </a:lnTo>
                <a:lnTo>
                  <a:pt x="4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77" name="Freeform 122">
            <a:extLst>
              <a:ext uri="{FF2B5EF4-FFF2-40B4-BE49-F238E27FC236}">
                <a16:creationId xmlns:a16="http://schemas.microsoft.com/office/drawing/2014/main" id="{EB3D4679-552F-4E07-BA32-DA9EA1B22965}"/>
              </a:ext>
            </a:extLst>
          </p:cNvPr>
          <p:cNvSpPr>
            <a:spLocks/>
          </p:cNvSpPr>
          <p:nvPr/>
        </p:nvSpPr>
        <p:spPr bwMode="auto">
          <a:xfrm>
            <a:off x="6624634" y="3448893"/>
            <a:ext cx="208555" cy="205774"/>
          </a:xfrm>
          <a:custGeom>
            <a:avLst/>
            <a:gdLst>
              <a:gd name="T0" fmla="*/ 75 w 75"/>
              <a:gd name="T1" fmla="*/ 0 h 74"/>
              <a:gd name="T2" fmla="*/ 73 w 75"/>
              <a:gd name="T3" fmla="*/ 0 h 74"/>
              <a:gd name="T4" fmla="*/ 0 w 75"/>
              <a:gd name="T5" fmla="*/ 71 h 74"/>
              <a:gd name="T6" fmla="*/ 0 w 75"/>
              <a:gd name="T7" fmla="*/ 74 h 74"/>
              <a:gd name="T8" fmla="*/ 75 w 75"/>
              <a:gd name="T9" fmla="*/ 0 h 74"/>
            </a:gdLst>
            <a:ahLst/>
            <a:cxnLst>
              <a:cxn ang="0">
                <a:pos x="T0" y="T1"/>
              </a:cxn>
              <a:cxn ang="0">
                <a:pos x="T2" y="T3"/>
              </a:cxn>
              <a:cxn ang="0">
                <a:pos x="T4" y="T5"/>
              </a:cxn>
              <a:cxn ang="0">
                <a:pos x="T6" y="T7"/>
              </a:cxn>
              <a:cxn ang="0">
                <a:pos x="T8" y="T9"/>
              </a:cxn>
            </a:cxnLst>
            <a:rect l="0" t="0" r="r" b="b"/>
            <a:pathLst>
              <a:path w="75" h="74">
                <a:moveTo>
                  <a:pt x="75" y="0"/>
                </a:moveTo>
                <a:lnTo>
                  <a:pt x="73" y="0"/>
                </a:lnTo>
                <a:lnTo>
                  <a:pt x="0" y="71"/>
                </a:lnTo>
                <a:lnTo>
                  <a:pt x="0" y="74"/>
                </a:lnTo>
                <a:lnTo>
                  <a:pt x="75" y="0"/>
                </a:lnTo>
                <a:close/>
              </a:path>
            </a:pathLst>
          </a:custGeom>
          <a:solidFill>
            <a:srgbClr val="6582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78" name="Freeform 123">
            <a:extLst>
              <a:ext uri="{FF2B5EF4-FFF2-40B4-BE49-F238E27FC236}">
                <a16:creationId xmlns:a16="http://schemas.microsoft.com/office/drawing/2014/main" id="{074510D7-C623-4594-A523-A3B04EDB460D}"/>
              </a:ext>
            </a:extLst>
          </p:cNvPr>
          <p:cNvSpPr>
            <a:spLocks/>
          </p:cNvSpPr>
          <p:nvPr/>
        </p:nvSpPr>
        <p:spPr bwMode="auto">
          <a:xfrm>
            <a:off x="6624634" y="3448893"/>
            <a:ext cx="208555" cy="205774"/>
          </a:xfrm>
          <a:custGeom>
            <a:avLst/>
            <a:gdLst>
              <a:gd name="T0" fmla="*/ 75 w 75"/>
              <a:gd name="T1" fmla="*/ 0 h 74"/>
              <a:gd name="T2" fmla="*/ 73 w 75"/>
              <a:gd name="T3" fmla="*/ 0 h 74"/>
              <a:gd name="T4" fmla="*/ 0 w 75"/>
              <a:gd name="T5" fmla="*/ 71 h 74"/>
              <a:gd name="T6" fmla="*/ 0 w 75"/>
              <a:gd name="T7" fmla="*/ 74 h 74"/>
              <a:gd name="T8" fmla="*/ 75 w 75"/>
              <a:gd name="T9" fmla="*/ 0 h 74"/>
            </a:gdLst>
            <a:ahLst/>
            <a:cxnLst>
              <a:cxn ang="0">
                <a:pos x="T0" y="T1"/>
              </a:cxn>
              <a:cxn ang="0">
                <a:pos x="T2" y="T3"/>
              </a:cxn>
              <a:cxn ang="0">
                <a:pos x="T4" y="T5"/>
              </a:cxn>
              <a:cxn ang="0">
                <a:pos x="T6" y="T7"/>
              </a:cxn>
              <a:cxn ang="0">
                <a:pos x="T8" y="T9"/>
              </a:cxn>
            </a:cxnLst>
            <a:rect l="0" t="0" r="r" b="b"/>
            <a:pathLst>
              <a:path w="75" h="74">
                <a:moveTo>
                  <a:pt x="75" y="0"/>
                </a:moveTo>
                <a:lnTo>
                  <a:pt x="73" y="0"/>
                </a:lnTo>
                <a:lnTo>
                  <a:pt x="0" y="71"/>
                </a:lnTo>
                <a:lnTo>
                  <a:pt x="0" y="74"/>
                </a:lnTo>
                <a:lnTo>
                  <a:pt x="7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79" name="Freeform 124">
            <a:extLst>
              <a:ext uri="{FF2B5EF4-FFF2-40B4-BE49-F238E27FC236}">
                <a16:creationId xmlns:a16="http://schemas.microsoft.com/office/drawing/2014/main" id="{579B0C71-5832-43E8-8D33-64AA9A3F7F34}"/>
              </a:ext>
            </a:extLst>
          </p:cNvPr>
          <p:cNvSpPr>
            <a:spLocks/>
          </p:cNvSpPr>
          <p:nvPr/>
        </p:nvSpPr>
        <p:spPr bwMode="auto">
          <a:xfrm>
            <a:off x="6624634" y="3448893"/>
            <a:ext cx="289196" cy="286415"/>
          </a:xfrm>
          <a:custGeom>
            <a:avLst/>
            <a:gdLst>
              <a:gd name="T0" fmla="*/ 104 w 104"/>
              <a:gd name="T1" fmla="*/ 0 h 103"/>
              <a:gd name="T2" fmla="*/ 102 w 104"/>
              <a:gd name="T3" fmla="*/ 0 h 103"/>
              <a:gd name="T4" fmla="*/ 0 w 104"/>
              <a:gd name="T5" fmla="*/ 102 h 103"/>
              <a:gd name="T6" fmla="*/ 0 w 104"/>
              <a:gd name="T7" fmla="*/ 103 h 103"/>
              <a:gd name="T8" fmla="*/ 104 w 104"/>
              <a:gd name="T9" fmla="*/ 0 h 103"/>
            </a:gdLst>
            <a:ahLst/>
            <a:cxnLst>
              <a:cxn ang="0">
                <a:pos x="T0" y="T1"/>
              </a:cxn>
              <a:cxn ang="0">
                <a:pos x="T2" y="T3"/>
              </a:cxn>
              <a:cxn ang="0">
                <a:pos x="T4" y="T5"/>
              </a:cxn>
              <a:cxn ang="0">
                <a:pos x="T6" y="T7"/>
              </a:cxn>
              <a:cxn ang="0">
                <a:pos x="T8" y="T9"/>
              </a:cxn>
            </a:cxnLst>
            <a:rect l="0" t="0" r="r" b="b"/>
            <a:pathLst>
              <a:path w="104" h="103">
                <a:moveTo>
                  <a:pt x="104" y="0"/>
                </a:moveTo>
                <a:lnTo>
                  <a:pt x="102" y="0"/>
                </a:lnTo>
                <a:lnTo>
                  <a:pt x="0" y="102"/>
                </a:lnTo>
                <a:lnTo>
                  <a:pt x="0" y="103"/>
                </a:lnTo>
                <a:lnTo>
                  <a:pt x="104" y="0"/>
                </a:lnTo>
                <a:close/>
              </a:path>
            </a:pathLst>
          </a:custGeom>
          <a:solidFill>
            <a:srgbClr val="6582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80" name="Freeform 125">
            <a:extLst>
              <a:ext uri="{FF2B5EF4-FFF2-40B4-BE49-F238E27FC236}">
                <a16:creationId xmlns:a16="http://schemas.microsoft.com/office/drawing/2014/main" id="{2896598C-B406-4AB4-A726-6680BE13DBC3}"/>
              </a:ext>
            </a:extLst>
          </p:cNvPr>
          <p:cNvSpPr>
            <a:spLocks/>
          </p:cNvSpPr>
          <p:nvPr/>
        </p:nvSpPr>
        <p:spPr bwMode="auto">
          <a:xfrm>
            <a:off x="6624634" y="3448893"/>
            <a:ext cx="289196" cy="286415"/>
          </a:xfrm>
          <a:custGeom>
            <a:avLst/>
            <a:gdLst>
              <a:gd name="T0" fmla="*/ 104 w 104"/>
              <a:gd name="T1" fmla="*/ 0 h 103"/>
              <a:gd name="T2" fmla="*/ 102 w 104"/>
              <a:gd name="T3" fmla="*/ 0 h 103"/>
              <a:gd name="T4" fmla="*/ 0 w 104"/>
              <a:gd name="T5" fmla="*/ 102 h 103"/>
              <a:gd name="T6" fmla="*/ 0 w 104"/>
              <a:gd name="T7" fmla="*/ 103 h 103"/>
              <a:gd name="T8" fmla="*/ 104 w 104"/>
              <a:gd name="T9" fmla="*/ 0 h 103"/>
            </a:gdLst>
            <a:ahLst/>
            <a:cxnLst>
              <a:cxn ang="0">
                <a:pos x="T0" y="T1"/>
              </a:cxn>
              <a:cxn ang="0">
                <a:pos x="T2" y="T3"/>
              </a:cxn>
              <a:cxn ang="0">
                <a:pos x="T4" y="T5"/>
              </a:cxn>
              <a:cxn ang="0">
                <a:pos x="T6" y="T7"/>
              </a:cxn>
              <a:cxn ang="0">
                <a:pos x="T8" y="T9"/>
              </a:cxn>
            </a:cxnLst>
            <a:rect l="0" t="0" r="r" b="b"/>
            <a:pathLst>
              <a:path w="104" h="103">
                <a:moveTo>
                  <a:pt x="104" y="0"/>
                </a:moveTo>
                <a:lnTo>
                  <a:pt x="102" y="0"/>
                </a:lnTo>
                <a:lnTo>
                  <a:pt x="0" y="102"/>
                </a:lnTo>
                <a:lnTo>
                  <a:pt x="0" y="103"/>
                </a:lnTo>
                <a:lnTo>
                  <a:pt x="10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81" name="Freeform 126">
            <a:extLst>
              <a:ext uri="{FF2B5EF4-FFF2-40B4-BE49-F238E27FC236}">
                <a16:creationId xmlns:a16="http://schemas.microsoft.com/office/drawing/2014/main" id="{730858D9-2F51-4355-A482-AFD5B219D37B}"/>
              </a:ext>
            </a:extLst>
          </p:cNvPr>
          <p:cNvSpPr>
            <a:spLocks/>
          </p:cNvSpPr>
          <p:nvPr/>
        </p:nvSpPr>
        <p:spPr bwMode="auto">
          <a:xfrm>
            <a:off x="6624634" y="3448893"/>
            <a:ext cx="369837" cy="369837"/>
          </a:xfrm>
          <a:custGeom>
            <a:avLst/>
            <a:gdLst>
              <a:gd name="T0" fmla="*/ 133 w 133"/>
              <a:gd name="T1" fmla="*/ 0 h 133"/>
              <a:gd name="T2" fmla="*/ 131 w 133"/>
              <a:gd name="T3" fmla="*/ 0 h 133"/>
              <a:gd name="T4" fmla="*/ 0 w 133"/>
              <a:gd name="T5" fmla="*/ 130 h 133"/>
              <a:gd name="T6" fmla="*/ 0 w 133"/>
              <a:gd name="T7" fmla="*/ 133 h 133"/>
              <a:gd name="T8" fmla="*/ 133 w 133"/>
              <a:gd name="T9" fmla="*/ 0 h 133"/>
            </a:gdLst>
            <a:ahLst/>
            <a:cxnLst>
              <a:cxn ang="0">
                <a:pos x="T0" y="T1"/>
              </a:cxn>
              <a:cxn ang="0">
                <a:pos x="T2" y="T3"/>
              </a:cxn>
              <a:cxn ang="0">
                <a:pos x="T4" y="T5"/>
              </a:cxn>
              <a:cxn ang="0">
                <a:pos x="T6" y="T7"/>
              </a:cxn>
              <a:cxn ang="0">
                <a:pos x="T8" y="T9"/>
              </a:cxn>
            </a:cxnLst>
            <a:rect l="0" t="0" r="r" b="b"/>
            <a:pathLst>
              <a:path w="133" h="133">
                <a:moveTo>
                  <a:pt x="133" y="0"/>
                </a:moveTo>
                <a:lnTo>
                  <a:pt x="131" y="0"/>
                </a:lnTo>
                <a:lnTo>
                  <a:pt x="0" y="130"/>
                </a:lnTo>
                <a:lnTo>
                  <a:pt x="0" y="133"/>
                </a:lnTo>
                <a:lnTo>
                  <a:pt x="133" y="0"/>
                </a:lnTo>
                <a:close/>
              </a:path>
            </a:pathLst>
          </a:custGeom>
          <a:solidFill>
            <a:srgbClr val="6582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82" name="Freeform 127">
            <a:extLst>
              <a:ext uri="{FF2B5EF4-FFF2-40B4-BE49-F238E27FC236}">
                <a16:creationId xmlns:a16="http://schemas.microsoft.com/office/drawing/2014/main" id="{32860F52-C28E-49DB-804E-3486B48FF723}"/>
              </a:ext>
            </a:extLst>
          </p:cNvPr>
          <p:cNvSpPr>
            <a:spLocks/>
          </p:cNvSpPr>
          <p:nvPr/>
        </p:nvSpPr>
        <p:spPr bwMode="auto">
          <a:xfrm>
            <a:off x="6624634" y="3448893"/>
            <a:ext cx="369837" cy="369837"/>
          </a:xfrm>
          <a:custGeom>
            <a:avLst/>
            <a:gdLst>
              <a:gd name="T0" fmla="*/ 133 w 133"/>
              <a:gd name="T1" fmla="*/ 0 h 133"/>
              <a:gd name="T2" fmla="*/ 131 w 133"/>
              <a:gd name="T3" fmla="*/ 0 h 133"/>
              <a:gd name="T4" fmla="*/ 0 w 133"/>
              <a:gd name="T5" fmla="*/ 130 h 133"/>
              <a:gd name="T6" fmla="*/ 0 w 133"/>
              <a:gd name="T7" fmla="*/ 133 h 133"/>
              <a:gd name="T8" fmla="*/ 133 w 133"/>
              <a:gd name="T9" fmla="*/ 0 h 133"/>
            </a:gdLst>
            <a:ahLst/>
            <a:cxnLst>
              <a:cxn ang="0">
                <a:pos x="T0" y="T1"/>
              </a:cxn>
              <a:cxn ang="0">
                <a:pos x="T2" y="T3"/>
              </a:cxn>
              <a:cxn ang="0">
                <a:pos x="T4" y="T5"/>
              </a:cxn>
              <a:cxn ang="0">
                <a:pos x="T6" y="T7"/>
              </a:cxn>
              <a:cxn ang="0">
                <a:pos x="T8" y="T9"/>
              </a:cxn>
            </a:cxnLst>
            <a:rect l="0" t="0" r="r" b="b"/>
            <a:pathLst>
              <a:path w="133" h="133">
                <a:moveTo>
                  <a:pt x="133" y="0"/>
                </a:moveTo>
                <a:lnTo>
                  <a:pt x="131" y="0"/>
                </a:lnTo>
                <a:lnTo>
                  <a:pt x="0" y="130"/>
                </a:lnTo>
                <a:lnTo>
                  <a:pt x="0" y="133"/>
                </a:lnTo>
                <a:lnTo>
                  <a:pt x="13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83" name="Freeform 128">
            <a:extLst>
              <a:ext uri="{FF2B5EF4-FFF2-40B4-BE49-F238E27FC236}">
                <a16:creationId xmlns:a16="http://schemas.microsoft.com/office/drawing/2014/main" id="{462352CD-91A2-40C3-8CEA-D923D975C8A7}"/>
              </a:ext>
            </a:extLst>
          </p:cNvPr>
          <p:cNvSpPr>
            <a:spLocks/>
          </p:cNvSpPr>
          <p:nvPr/>
        </p:nvSpPr>
        <p:spPr bwMode="auto">
          <a:xfrm>
            <a:off x="6624634" y="3448893"/>
            <a:ext cx="450479" cy="450479"/>
          </a:xfrm>
          <a:custGeom>
            <a:avLst/>
            <a:gdLst>
              <a:gd name="T0" fmla="*/ 162 w 162"/>
              <a:gd name="T1" fmla="*/ 0 h 162"/>
              <a:gd name="T2" fmla="*/ 161 w 162"/>
              <a:gd name="T3" fmla="*/ 0 h 162"/>
              <a:gd name="T4" fmla="*/ 0 w 162"/>
              <a:gd name="T5" fmla="*/ 159 h 162"/>
              <a:gd name="T6" fmla="*/ 0 w 162"/>
              <a:gd name="T7" fmla="*/ 162 h 162"/>
              <a:gd name="T8" fmla="*/ 162 w 162"/>
              <a:gd name="T9" fmla="*/ 0 h 162"/>
            </a:gdLst>
            <a:ahLst/>
            <a:cxnLst>
              <a:cxn ang="0">
                <a:pos x="T0" y="T1"/>
              </a:cxn>
              <a:cxn ang="0">
                <a:pos x="T2" y="T3"/>
              </a:cxn>
              <a:cxn ang="0">
                <a:pos x="T4" y="T5"/>
              </a:cxn>
              <a:cxn ang="0">
                <a:pos x="T6" y="T7"/>
              </a:cxn>
              <a:cxn ang="0">
                <a:pos x="T8" y="T9"/>
              </a:cxn>
            </a:cxnLst>
            <a:rect l="0" t="0" r="r" b="b"/>
            <a:pathLst>
              <a:path w="162" h="162">
                <a:moveTo>
                  <a:pt x="162" y="0"/>
                </a:moveTo>
                <a:lnTo>
                  <a:pt x="161" y="0"/>
                </a:lnTo>
                <a:lnTo>
                  <a:pt x="0" y="159"/>
                </a:lnTo>
                <a:lnTo>
                  <a:pt x="0" y="162"/>
                </a:lnTo>
                <a:lnTo>
                  <a:pt x="162" y="0"/>
                </a:lnTo>
                <a:close/>
              </a:path>
            </a:pathLst>
          </a:custGeom>
          <a:solidFill>
            <a:srgbClr val="6582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84" name="Freeform 129">
            <a:extLst>
              <a:ext uri="{FF2B5EF4-FFF2-40B4-BE49-F238E27FC236}">
                <a16:creationId xmlns:a16="http://schemas.microsoft.com/office/drawing/2014/main" id="{EE4FCA5F-7E02-4BD7-86FF-319C76961A25}"/>
              </a:ext>
            </a:extLst>
          </p:cNvPr>
          <p:cNvSpPr>
            <a:spLocks/>
          </p:cNvSpPr>
          <p:nvPr/>
        </p:nvSpPr>
        <p:spPr bwMode="auto">
          <a:xfrm>
            <a:off x="6624634" y="3448893"/>
            <a:ext cx="450479" cy="450479"/>
          </a:xfrm>
          <a:custGeom>
            <a:avLst/>
            <a:gdLst>
              <a:gd name="T0" fmla="*/ 162 w 162"/>
              <a:gd name="T1" fmla="*/ 0 h 162"/>
              <a:gd name="T2" fmla="*/ 161 w 162"/>
              <a:gd name="T3" fmla="*/ 0 h 162"/>
              <a:gd name="T4" fmla="*/ 0 w 162"/>
              <a:gd name="T5" fmla="*/ 159 h 162"/>
              <a:gd name="T6" fmla="*/ 0 w 162"/>
              <a:gd name="T7" fmla="*/ 162 h 162"/>
              <a:gd name="T8" fmla="*/ 162 w 162"/>
              <a:gd name="T9" fmla="*/ 0 h 162"/>
            </a:gdLst>
            <a:ahLst/>
            <a:cxnLst>
              <a:cxn ang="0">
                <a:pos x="T0" y="T1"/>
              </a:cxn>
              <a:cxn ang="0">
                <a:pos x="T2" y="T3"/>
              </a:cxn>
              <a:cxn ang="0">
                <a:pos x="T4" y="T5"/>
              </a:cxn>
              <a:cxn ang="0">
                <a:pos x="T6" y="T7"/>
              </a:cxn>
              <a:cxn ang="0">
                <a:pos x="T8" y="T9"/>
              </a:cxn>
            </a:cxnLst>
            <a:rect l="0" t="0" r="r" b="b"/>
            <a:pathLst>
              <a:path w="162" h="162">
                <a:moveTo>
                  <a:pt x="162" y="0"/>
                </a:moveTo>
                <a:lnTo>
                  <a:pt x="161" y="0"/>
                </a:lnTo>
                <a:lnTo>
                  <a:pt x="0" y="159"/>
                </a:lnTo>
                <a:lnTo>
                  <a:pt x="0" y="162"/>
                </a:lnTo>
                <a:lnTo>
                  <a:pt x="16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85" name="Freeform 130">
            <a:extLst>
              <a:ext uri="{FF2B5EF4-FFF2-40B4-BE49-F238E27FC236}">
                <a16:creationId xmlns:a16="http://schemas.microsoft.com/office/drawing/2014/main" id="{0A6B5CD3-A935-42E6-8159-E57312E43798}"/>
              </a:ext>
            </a:extLst>
          </p:cNvPr>
          <p:cNvSpPr>
            <a:spLocks/>
          </p:cNvSpPr>
          <p:nvPr/>
        </p:nvSpPr>
        <p:spPr bwMode="auto">
          <a:xfrm>
            <a:off x="6624634" y="3448893"/>
            <a:ext cx="533901" cy="531119"/>
          </a:xfrm>
          <a:custGeom>
            <a:avLst/>
            <a:gdLst>
              <a:gd name="T0" fmla="*/ 192 w 192"/>
              <a:gd name="T1" fmla="*/ 0 h 191"/>
              <a:gd name="T2" fmla="*/ 190 w 192"/>
              <a:gd name="T3" fmla="*/ 0 h 191"/>
              <a:gd name="T4" fmla="*/ 0 w 192"/>
              <a:gd name="T5" fmla="*/ 189 h 191"/>
              <a:gd name="T6" fmla="*/ 0 w 192"/>
              <a:gd name="T7" fmla="*/ 191 h 191"/>
              <a:gd name="T8" fmla="*/ 192 w 192"/>
              <a:gd name="T9" fmla="*/ 0 h 191"/>
            </a:gdLst>
            <a:ahLst/>
            <a:cxnLst>
              <a:cxn ang="0">
                <a:pos x="T0" y="T1"/>
              </a:cxn>
              <a:cxn ang="0">
                <a:pos x="T2" y="T3"/>
              </a:cxn>
              <a:cxn ang="0">
                <a:pos x="T4" y="T5"/>
              </a:cxn>
              <a:cxn ang="0">
                <a:pos x="T6" y="T7"/>
              </a:cxn>
              <a:cxn ang="0">
                <a:pos x="T8" y="T9"/>
              </a:cxn>
            </a:cxnLst>
            <a:rect l="0" t="0" r="r" b="b"/>
            <a:pathLst>
              <a:path w="192" h="191">
                <a:moveTo>
                  <a:pt x="192" y="0"/>
                </a:moveTo>
                <a:lnTo>
                  <a:pt x="190" y="0"/>
                </a:lnTo>
                <a:lnTo>
                  <a:pt x="0" y="189"/>
                </a:lnTo>
                <a:lnTo>
                  <a:pt x="0" y="191"/>
                </a:lnTo>
                <a:lnTo>
                  <a:pt x="192" y="0"/>
                </a:lnTo>
                <a:close/>
              </a:path>
            </a:pathLst>
          </a:custGeom>
          <a:solidFill>
            <a:srgbClr val="6582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86" name="Freeform 131">
            <a:extLst>
              <a:ext uri="{FF2B5EF4-FFF2-40B4-BE49-F238E27FC236}">
                <a16:creationId xmlns:a16="http://schemas.microsoft.com/office/drawing/2014/main" id="{E00491D0-8109-4958-B240-7E16A2A939CB}"/>
              </a:ext>
            </a:extLst>
          </p:cNvPr>
          <p:cNvSpPr>
            <a:spLocks/>
          </p:cNvSpPr>
          <p:nvPr/>
        </p:nvSpPr>
        <p:spPr bwMode="auto">
          <a:xfrm>
            <a:off x="6624634" y="3448893"/>
            <a:ext cx="533901" cy="531119"/>
          </a:xfrm>
          <a:custGeom>
            <a:avLst/>
            <a:gdLst>
              <a:gd name="T0" fmla="*/ 192 w 192"/>
              <a:gd name="T1" fmla="*/ 0 h 191"/>
              <a:gd name="T2" fmla="*/ 190 w 192"/>
              <a:gd name="T3" fmla="*/ 0 h 191"/>
              <a:gd name="T4" fmla="*/ 0 w 192"/>
              <a:gd name="T5" fmla="*/ 189 h 191"/>
              <a:gd name="T6" fmla="*/ 0 w 192"/>
              <a:gd name="T7" fmla="*/ 191 h 191"/>
              <a:gd name="T8" fmla="*/ 192 w 192"/>
              <a:gd name="T9" fmla="*/ 0 h 191"/>
            </a:gdLst>
            <a:ahLst/>
            <a:cxnLst>
              <a:cxn ang="0">
                <a:pos x="T0" y="T1"/>
              </a:cxn>
              <a:cxn ang="0">
                <a:pos x="T2" y="T3"/>
              </a:cxn>
              <a:cxn ang="0">
                <a:pos x="T4" y="T5"/>
              </a:cxn>
              <a:cxn ang="0">
                <a:pos x="T6" y="T7"/>
              </a:cxn>
              <a:cxn ang="0">
                <a:pos x="T8" y="T9"/>
              </a:cxn>
            </a:cxnLst>
            <a:rect l="0" t="0" r="r" b="b"/>
            <a:pathLst>
              <a:path w="192" h="191">
                <a:moveTo>
                  <a:pt x="192" y="0"/>
                </a:moveTo>
                <a:lnTo>
                  <a:pt x="190" y="0"/>
                </a:lnTo>
                <a:lnTo>
                  <a:pt x="0" y="189"/>
                </a:lnTo>
                <a:lnTo>
                  <a:pt x="0" y="191"/>
                </a:lnTo>
                <a:lnTo>
                  <a:pt x="19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87" name="Freeform 132">
            <a:extLst>
              <a:ext uri="{FF2B5EF4-FFF2-40B4-BE49-F238E27FC236}">
                <a16:creationId xmlns:a16="http://schemas.microsoft.com/office/drawing/2014/main" id="{99409F51-A392-40DF-B6C7-FD8463802A30}"/>
              </a:ext>
            </a:extLst>
          </p:cNvPr>
          <p:cNvSpPr>
            <a:spLocks/>
          </p:cNvSpPr>
          <p:nvPr/>
        </p:nvSpPr>
        <p:spPr bwMode="auto">
          <a:xfrm>
            <a:off x="6624634" y="3448893"/>
            <a:ext cx="614541" cy="614541"/>
          </a:xfrm>
          <a:custGeom>
            <a:avLst/>
            <a:gdLst>
              <a:gd name="T0" fmla="*/ 221 w 221"/>
              <a:gd name="T1" fmla="*/ 0 h 221"/>
              <a:gd name="T2" fmla="*/ 218 w 221"/>
              <a:gd name="T3" fmla="*/ 0 h 221"/>
              <a:gd name="T4" fmla="*/ 0 w 221"/>
              <a:gd name="T5" fmla="*/ 218 h 221"/>
              <a:gd name="T6" fmla="*/ 0 w 221"/>
              <a:gd name="T7" fmla="*/ 221 h 221"/>
              <a:gd name="T8" fmla="*/ 221 w 221"/>
              <a:gd name="T9" fmla="*/ 0 h 221"/>
            </a:gdLst>
            <a:ahLst/>
            <a:cxnLst>
              <a:cxn ang="0">
                <a:pos x="T0" y="T1"/>
              </a:cxn>
              <a:cxn ang="0">
                <a:pos x="T2" y="T3"/>
              </a:cxn>
              <a:cxn ang="0">
                <a:pos x="T4" y="T5"/>
              </a:cxn>
              <a:cxn ang="0">
                <a:pos x="T6" y="T7"/>
              </a:cxn>
              <a:cxn ang="0">
                <a:pos x="T8" y="T9"/>
              </a:cxn>
            </a:cxnLst>
            <a:rect l="0" t="0" r="r" b="b"/>
            <a:pathLst>
              <a:path w="221" h="221">
                <a:moveTo>
                  <a:pt x="221" y="0"/>
                </a:moveTo>
                <a:lnTo>
                  <a:pt x="218" y="0"/>
                </a:lnTo>
                <a:lnTo>
                  <a:pt x="0" y="218"/>
                </a:lnTo>
                <a:lnTo>
                  <a:pt x="0" y="221"/>
                </a:lnTo>
                <a:lnTo>
                  <a:pt x="221" y="0"/>
                </a:lnTo>
                <a:close/>
              </a:path>
            </a:pathLst>
          </a:custGeom>
          <a:solidFill>
            <a:srgbClr val="6582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88" name="Freeform 133">
            <a:extLst>
              <a:ext uri="{FF2B5EF4-FFF2-40B4-BE49-F238E27FC236}">
                <a16:creationId xmlns:a16="http://schemas.microsoft.com/office/drawing/2014/main" id="{5D19E13D-6CF0-4D21-A9D3-0FF84E23DD65}"/>
              </a:ext>
            </a:extLst>
          </p:cNvPr>
          <p:cNvSpPr>
            <a:spLocks/>
          </p:cNvSpPr>
          <p:nvPr/>
        </p:nvSpPr>
        <p:spPr bwMode="auto">
          <a:xfrm>
            <a:off x="6624634" y="3448893"/>
            <a:ext cx="614541" cy="614541"/>
          </a:xfrm>
          <a:custGeom>
            <a:avLst/>
            <a:gdLst>
              <a:gd name="T0" fmla="*/ 221 w 221"/>
              <a:gd name="T1" fmla="*/ 0 h 221"/>
              <a:gd name="T2" fmla="*/ 218 w 221"/>
              <a:gd name="T3" fmla="*/ 0 h 221"/>
              <a:gd name="T4" fmla="*/ 0 w 221"/>
              <a:gd name="T5" fmla="*/ 218 h 221"/>
              <a:gd name="T6" fmla="*/ 0 w 221"/>
              <a:gd name="T7" fmla="*/ 221 h 221"/>
              <a:gd name="T8" fmla="*/ 221 w 221"/>
              <a:gd name="T9" fmla="*/ 0 h 221"/>
            </a:gdLst>
            <a:ahLst/>
            <a:cxnLst>
              <a:cxn ang="0">
                <a:pos x="T0" y="T1"/>
              </a:cxn>
              <a:cxn ang="0">
                <a:pos x="T2" y="T3"/>
              </a:cxn>
              <a:cxn ang="0">
                <a:pos x="T4" y="T5"/>
              </a:cxn>
              <a:cxn ang="0">
                <a:pos x="T6" y="T7"/>
              </a:cxn>
              <a:cxn ang="0">
                <a:pos x="T8" y="T9"/>
              </a:cxn>
            </a:cxnLst>
            <a:rect l="0" t="0" r="r" b="b"/>
            <a:pathLst>
              <a:path w="221" h="221">
                <a:moveTo>
                  <a:pt x="221" y="0"/>
                </a:moveTo>
                <a:lnTo>
                  <a:pt x="218" y="0"/>
                </a:lnTo>
                <a:lnTo>
                  <a:pt x="0" y="218"/>
                </a:lnTo>
                <a:lnTo>
                  <a:pt x="0" y="221"/>
                </a:lnTo>
                <a:lnTo>
                  <a:pt x="22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89" name="Freeform 134">
            <a:extLst>
              <a:ext uri="{FF2B5EF4-FFF2-40B4-BE49-F238E27FC236}">
                <a16:creationId xmlns:a16="http://schemas.microsoft.com/office/drawing/2014/main" id="{3AEF043B-E815-4943-87FD-14F16D4D3E0F}"/>
              </a:ext>
            </a:extLst>
          </p:cNvPr>
          <p:cNvSpPr>
            <a:spLocks/>
          </p:cNvSpPr>
          <p:nvPr/>
        </p:nvSpPr>
        <p:spPr bwMode="auto">
          <a:xfrm>
            <a:off x="6624634" y="3448893"/>
            <a:ext cx="695183" cy="695183"/>
          </a:xfrm>
          <a:custGeom>
            <a:avLst/>
            <a:gdLst>
              <a:gd name="T0" fmla="*/ 250 w 250"/>
              <a:gd name="T1" fmla="*/ 0 h 250"/>
              <a:gd name="T2" fmla="*/ 249 w 250"/>
              <a:gd name="T3" fmla="*/ 0 h 250"/>
              <a:gd name="T4" fmla="*/ 0 w 250"/>
              <a:gd name="T5" fmla="*/ 247 h 250"/>
              <a:gd name="T6" fmla="*/ 0 w 250"/>
              <a:gd name="T7" fmla="*/ 250 h 250"/>
              <a:gd name="T8" fmla="*/ 250 w 250"/>
              <a:gd name="T9" fmla="*/ 0 h 250"/>
            </a:gdLst>
            <a:ahLst/>
            <a:cxnLst>
              <a:cxn ang="0">
                <a:pos x="T0" y="T1"/>
              </a:cxn>
              <a:cxn ang="0">
                <a:pos x="T2" y="T3"/>
              </a:cxn>
              <a:cxn ang="0">
                <a:pos x="T4" y="T5"/>
              </a:cxn>
              <a:cxn ang="0">
                <a:pos x="T6" y="T7"/>
              </a:cxn>
              <a:cxn ang="0">
                <a:pos x="T8" y="T9"/>
              </a:cxn>
            </a:cxnLst>
            <a:rect l="0" t="0" r="r" b="b"/>
            <a:pathLst>
              <a:path w="250" h="250">
                <a:moveTo>
                  <a:pt x="250" y="0"/>
                </a:moveTo>
                <a:lnTo>
                  <a:pt x="249" y="0"/>
                </a:lnTo>
                <a:lnTo>
                  <a:pt x="0" y="247"/>
                </a:lnTo>
                <a:lnTo>
                  <a:pt x="0" y="250"/>
                </a:lnTo>
                <a:lnTo>
                  <a:pt x="250" y="0"/>
                </a:lnTo>
                <a:close/>
              </a:path>
            </a:pathLst>
          </a:custGeom>
          <a:solidFill>
            <a:srgbClr val="6582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90" name="Freeform 135">
            <a:extLst>
              <a:ext uri="{FF2B5EF4-FFF2-40B4-BE49-F238E27FC236}">
                <a16:creationId xmlns:a16="http://schemas.microsoft.com/office/drawing/2014/main" id="{F0FE9B3D-772F-4463-A0B6-93FDFF9C20C1}"/>
              </a:ext>
            </a:extLst>
          </p:cNvPr>
          <p:cNvSpPr>
            <a:spLocks/>
          </p:cNvSpPr>
          <p:nvPr/>
        </p:nvSpPr>
        <p:spPr bwMode="auto">
          <a:xfrm>
            <a:off x="6624634" y="3448893"/>
            <a:ext cx="695183" cy="695183"/>
          </a:xfrm>
          <a:custGeom>
            <a:avLst/>
            <a:gdLst>
              <a:gd name="T0" fmla="*/ 250 w 250"/>
              <a:gd name="T1" fmla="*/ 0 h 250"/>
              <a:gd name="T2" fmla="*/ 249 w 250"/>
              <a:gd name="T3" fmla="*/ 0 h 250"/>
              <a:gd name="T4" fmla="*/ 0 w 250"/>
              <a:gd name="T5" fmla="*/ 247 h 250"/>
              <a:gd name="T6" fmla="*/ 0 w 250"/>
              <a:gd name="T7" fmla="*/ 250 h 250"/>
              <a:gd name="T8" fmla="*/ 250 w 250"/>
              <a:gd name="T9" fmla="*/ 0 h 250"/>
            </a:gdLst>
            <a:ahLst/>
            <a:cxnLst>
              <a:cxn ang="0">
                <a:pos x="T0" y="T1"/>
              </a:cxn>
              <a:cxn ang="0">
                <a:pos x="T2" y="T3"/>
              </a:cxn>
              <a:cxn ang="0">
                <a:pos x="T4" y="T5"/>
              </a:cxn>
              <a:cxn ang="0">
                <a:pos x="T6" y="T7"/>
              </a:cxn>
              <a:cxn ang="0">
                <a:pos x="T8" y="T9"/>
              </a:cxn>
            </a:cxnLst>
            <a:rect l="0" t="0" r="r" b="b"/>
            <a:pathLst>
              <a:path w="250" h="250">
                <a:moveTo>
                  <a:pt x="250" y="0"/>
                </a:moveTo>
                <a:lnTo>
                  <a:pt x="249" y="0"/>
                </a:lnTo>
                <a:lnTo>
                  <a:pt x="0" y="247"/>
                </a:lnTo>
                <a:lnTo>
                  <a:pt x="0" y="250"/>
                </a:lnTo>
                <a:lnTo>
                  <a:pt x="25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91" name="Freeform 136">
            <a:extLst>
              <a:ext uri="{FF2B5EF4-FFF2-40B4-BE49-F238E27FC236}">
                <a16:creationId xmlns:a16="http://schemas.microsoft.com/office/drawing/2014/main" id="{A94AC351-3448-4F29-B7C9-2E1C675E1D02}"/>
              </a:ext>
            </a:extLst>
          </p:cNvPr>
          <p:cNvSpPr>
            <a:spLocks/>
          </p:cNvSpPr>
          <p:nvPr/>
        </p:nvSpPr>
        <p:spPr bwMode="auto">
          <a:xfrm>
            <a:off x="6624634" y="3448893"/>
            <a:ext cx="778605" cy="775823"/>
          </a:xfrm>
          <a:custGeom>
            <a:avLst/>
            <a:gdLst>
              <a:gd name="T0" fmla="*/ 280 w 280"/>
              <a:gd name="T1" fmla="*/ 0 h 279"/>
              <a:gd name="T2" fmla="*/ 277 w 280"/>
              <a:gd name="T3" fmla="*/ 0 h 279"/>
              <a:gd name="T4" fmla="*/ 0 w 280"/>
              <a:gd name="T5" fmla="*/ 276 h 279"/>
              <a:gd name="T6" fmla="*/ 0 w 280"/>
              <a:gd name="T7" fmla="*/ 279 h 279"/>
              <a:gd name="T8" fmla="*/ 280 w 280"/>
              <a:gd name="T9" fmla="*/ 0 h 279"/>
            </a:gdLst>
            <a:ahLst/>
            <a:cxnLst>
              <a:cxn ang="0">
                <a:pos x="T0" y="T1"/>
              </a:cxn>
              <a:cxn ang="0">
                <a:pos x="T2" y="T3"/>
              </a:cxn>
              <a:cxn ang="0">
                <a:pos x="T4" y="T5"/>
              </a:cxn>
              <a:cxn ang="0">
                <a:pos x="T6" y="T7"/>
              </a:cxn>
              <a:cxn ang="0">
                <a:pos x="T8" y="T9"/>
              </a:cxn>
            </a:cxnLst>
            <a:rect l="0" t="0" r="r" b="b"/>
            <a:pathLst>
              <a:path w="280" h="279">
                <a:moveTo>
                  <a:pt x="280" y="0"/>
                </a:moveTo>
                <a:lnTo>
                  <a:pt x="277" y="0"/>
                </a:lnTo>
                <a:lnTo>
                  <a:pt x="0" y="276"/>
                </a:lnTo>
                <a:lnTo>
                  <a:pt x="0" y="279"/>
                </a:lnTo>
                <a:lnTo>
                  <a:pt x="280" y="0"/>
                </a:lnTo>
                <a:close/>
              </a:path>
            </a:pathLst>
          </a:custGeom>
          <a:solidFill>
            <a:srgbClr val="6582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92" name="Freeform 137">
            <a:extLst>
              <a:ext uri="{FF2B5EF4-FFF2-40B4-BE49-F238E27FC236}">
                <a16:creationId xmlns:a16="http://schemas.microsoft.com/office/drawing/2014/main" id="{A5ED4715-A367-445D-B9C6-366DEA1F2681}"/>
              </a:ext>
            </a:extLst>
          </p:cNvPr>
          <p:cNvSpPr>
            <a:spLocks/>
          </p:cNvSpPr>
          <p:nvPr/>
        </p:nvSpPr>
        <p:spPr bwMode="auto">
          <a:xfrm>
            <a:off x="6624634" y="3448893"/>
            <a:ext cx="778605" cy="775823"/>
          </a:xfrm>
          <a:custGeom>
            <a:avLst/>
            <a:gdLst>
              <a:gd name="T0" fmla="*/ 280 w 280"/>
              <a:gd name="T1" fmla="*/ 0 h 279"/>
              <a:gd name="T2" fmla="*/ 277 w 280"/>
              <a:gd name="T3" fmla="*/ 0 h 279"/>
              <a:gd name="T4" fmla="*/ 0 w 280"/>
              <a:gd name="T5" fmla="*/ 276 h 279"/>
              <a:gd name="T6" fmla="*/ 0 w 280"/>
              <a:gd name="T7" fmla="*/ 279 h 279"/>
              <a:gd name="T8" fmla="*/ 280 w 280"/>
              <a:gd name="T9" fmla="*/ 0 h 279"/>
            </a:gdLst>
            <a:ahLst/>
            <a:cxnLst>
              <a:cxn ang="0">
                <a:pos x="T0" y="T1"/>
              </a:cxn>
              <a:cxn ang="0">
                <a:pos x="T2" y="T3"/>
              </a:cxn>
              <a:cxn ang="0">
                <a:pos x="T4" y="T5"/>
              </a:cxn>
              <a:cxn ang="0">
                <a:pos x="T6" y="T7"/>
              </a:cxn>
              <a:cxn ang="0">
                <a:pos x="T8" y="T9"/>
              </a:cxn>
            </a:cxnLst>
            <a:rect l="0" t="0" r="r" b="b"/>
            <a:pathLst>
              <a:path w="280" h="279">
                <a:moveTo>
                  <a:pt x="280" y="0"/>
                </a:moveTo>
                <a:lnTo>
                  <a:pt x="277" y="0"/>
                </a:lnTo>
                <a:lnTo>
                  <a:pt x="0" y="276"/>
                </a:lnTo>
                <a:lnTo>
                  <a:pt x="0" y="279"/>
                </a:lnTo>
                <a:lnTo>
                  <a:pt x="28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93" name="Freeform 138">
            <a:extLst>
              <a:ext uri="{FF2B5EF4-FFF2-40B4-BE49-F238E27FC236}">
                <a16:creationId xmlns:a16="http://schemas.microsoft.com/office/drawing/2014/main" id="{F97EFF1C-E710-45C7-AC72-9056895F0CA0}"/>
              </a:ext>
            </a:extLst>
          </p:cNvPr>
          <p:cNvSpPr>
            <a:spLocks/>
          </p:cNvSpPr>
          <p:nvPr/>
        </p:nvSpPr>
        <p:spPr bwMode="auto">
          <a:xfrm>
            <a:off x="6702494" y="3510069"/>
            <a:ext cx="711867" cy="714647"/>
          </a:xfrm>
          <a:custGeom>
            <a:avLst/>
            <a:gdLst>
              <a:gd name="T0" fmla="*/ 204 w 204"/>
              <a:gd name="T1" fmla="*/ 0 h 204"/>
              <a:gd name="T2" fmla="*/ 0 w 204"/>
              <a:gd name="T3" fmla="*/ 204 h 204"/>
              <a:gd name="T4" fmla="*/ 3 w 204"/>
              <a:gd name="T5" fmla="*/ 203 h 204"/>
              <a:gd name="T6" fmla="*/ 202 w 204"/>
              <a:gd name="T7" fmla="*/ 3 h 204"/>
              <a:gd name="T8" fmla="*/ 204 w 204"/>
              <a:gd name="T9" fmla="*/ 0 h 204"/>
            </a:gdLst>
            <a:ahLst/>
            <a:cxnLst>
              <a:cxn ang="0">
                <a:pos x="T0" y="T1"/>
              </a:cxn>
              <a:cxn ang="0">
                <a:pos x="T2" y="T3"/>
              </a:cxn>
              <a:cxn ang="0">
                <a:pos x="T4" y="T5"/>
              </a:cxn>
              <a:cxn ang="0">
                <a:pos x="T6" y="T7"/>
              </a:cxn>
              <a:cxn ang="0">
                <a:pos x="T8" y="T9"/>
              </a:cxn>
            </a:cxnLst>
            <a:rect l="0" t="0" r="r" b="b"/>
            <a:pathLst>
              <a:path w="204" h="204">
                <a:moveTo>
                  <a:pt x="204" y="0"/>
                </a:moveTo>
                <a:cubicBezTo>
                  <a:pt x="0" y="204"/>
                  <a:pt x="0" y="204"/>
                  <a:pt x="0" y="204"/>
                </a:cubicBezTo>
                <a:cubicBezTo>
                  <a:pt x="1" y="204"/>
                  <a:pt x="2" y="203"/>
                  <a:pt x="3" y="203"/>
                </a:cubicBezTo>
                <a:cubicBezTo>
                  <a:pt x="202" y="3"/>
                  <a:pt x="202" y="3"/>
                  <a:pt x="202" y="3"/>
                </a:cubicBezTo>
                <a:cubicBezTo>
                  <a:pt x="203" y="2"/>
                  <a:pt x="203" y="1"/>
                  <a:pt x="204" y="0"/>
                </a:cubicBezTo>
              </a:path>
            </a:pathLst>
          </a:custGeom>
          <a:solidFill>
            <a:srgbClr val="6582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94" name="Freeform 139">
            <a:extLst>
              <a:ext uri="{FF2B5EF4-FFF2-40B4-BE49-F238E27FC236}">
                <a16:creationId xmlns:a16="http://schemas.microsoft.com/office/drawing/2014/main" id="{E78D078F-7B32-418E-973F-6A0D41EE013F}"/>
              </a:ext>
            </a:extLst>
          </p:cNvPr>
          <p:cNvSpPr>
            <a:spLocks/>
          </p:cNvSpPr>
          <p:nvPr/>
        </p:nvSpPr>
        <p:spPr bwMode="auto">
          <a:xfrm>
            <a:off x="6883242" y="3693598"/>
            <a:ext cx="428233" cy="431013"/>
          </a:xfrm>
          <a:custGeom>
            <a:avLst/>
            <a:gdLst>
              <a:gd name="T0" fmla="*/ 123 w 123"/>
              <a:gd name="T1" fmla="*/ 0 h 124"/>
              <a:gd name="T2" fmla="*/ 0 w 123"/>
              <a:gd name="T3" fmla="*/ 124 h 124"/>
              <a:gd name="T4" fmla="*/ 5 w 123"/>
              <a:gd name="T5" fmla="*/ 121 h 124"/>
              <a:gd name="T6" fmla="*/ 120 w 123"/>
              <a:gd name="T7" fmla="*/ 5 h 124"/>
              <a:gd name="T8" fmla="*/ 123 w 123"/>
              <a:gd name="T9" fmla="*/ 0 h 124"/>
            </a:gdLst>
            <a:ahLst/>
            <a:cxnLst>
              <a:cxn ang="0">
                <a:pos x="T0" y="T1"/>
              </a:cxn>
              <a:cxn ang="0">
                <a:pos x="T2" y="T3"/>
              </a:cxn>
              <a:cxn ang="0">
                <a:pos x="T4" y="T5"/>
              </a:cxn>
              <a:cxn ang="0">
                <a:pos x="T6" y="T7"/>
              </a:cxn>
              <a:cxn ang="0">
                <a:pos x="T8" y="T9"/>
              </a:cxn>
            </a:cxnLst>
            <a:rect l="0" t="0" r="r" b="b"/>
            <a:pathLst>
              <a:path w="123" h="124">
                <a:moveTo>
                  <a:pt x="123" y="0"/>
                </a:moveTo>
                <a:cubicBezTo>
                  <a:pt x="0" y="124"/>
                  <a:pt x="0" y="124"/>
                  <a:pt x="0" y="124"/>
                </a:cubicBezTo>
                <a:cubicBezTo>
                  <a:pt x="1" y="123"/>
                  <a:pt x="3" y="122"/>
                  <a:pt x="5" y="121"/>
                </a:cubicBezTo>
                <a:cubicBezTo>
                  <a:pt x="120" y="5"/>
                  <a:pt x="120" y="5"/>
                  <a:pt x="120" y="5"/>
                </a:cubicBezTo>
                <a:cubicBezTo>
                  <a:pt x="121" y="3"/>
                  <a:pt x="122" y="2"/>
                  <a:pt x="123" y="0"/>
                </a:cubicBezTo>
              </a:path>
            </a:pathLst>
          </a:custGeom>
          <a:solidFill>
            <a:srgbClr val="6582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95" name="Freeform 140">
            <a:extLst>
              <a:ext uri="{FF2B5EF4-FFF2-40B4-BE49-F238E27FC236}">
                <a16:creationId xmlns:a16="http://schemas.microsoft.com/office/drawing/2014/main" id="{E1912EA6-D85D-4BFA-BE38-31351EBF2987}"/>
              </a:ext>
            </a:extLst>
          </p:cNvPr>
          <p:cNvSpPr>
            <a:spLocks/>
          </p:cNvSpPr>
          <p:nvPr/>
        </p:nvSpPr>
        <p:spPr bwMode="auto">
          <a:xfrm>
            <a:off x="5982285" y="3070714"/>
            <a:ext cx="330907" cy="336469"/>
          </a:xfrm>
          <a:custGeom>
            <a:avLst/>
            <a:gdLst>
              <a:gd name="T0" fmla="*/ 95 w 95"/>
              <a:gd name="T1" fmla="*/ 0 h 96"/>
              <a:gd name="T2" fmla="*/ 88 w 95"/>
              <a:gd name="T3" fmla="*/ 5 h 96"/>
              <a:gd name="T4" fmla="*/ 5 w 95"/>
              <a:gd name="T5" fmla="*/ 89 h 96"/>
              <a:gd name="T6" fmla="*/ 0 w 95"/>
              <a:gd name="T7" fmla="*/ 96 h 96"/>
              <a:gd name="T8" fmla="*/ 95 w 95"/>
              <a:gd name="T9" fmla="*/ 0 h 96"/>
            </a:gdLst>
            <a:ahLst/>
            <a:cxnLst>
              <a:cxn ang="0">
                <a:pos x="T0" y="T1"/>
              </a:cxn>
              <a:cxn ang="0">
                <a:pos x="T2" y="T3"/>
              </a:cxn>
              <a:cxn ang="0">
                <a:pos x="T4" y="T5"/>
              </a:cxn>
              <a:cxn ang="0">
                <a:pos x="T6" y="T7"/>
              </a:cxn>
              <a:cxn ang="0">
                <a:pos x="T8" y="T9"/>
              </a:cxn>
            </a:cxnLst>
            <a:rect l="0" t="0" r="r" b="b"/>
            <a:pathLst>
              <a:path w="95" h="96">
                <a:moveTo>
                  <a:pt x="95" y="0"/>
                </a:moveTo>
                <a:cubicBezTo>
                  <a:pt x="93" y="2"/>
                  <a:pt x="91" y="4"/>
                  <a:pt x="88" y="5"/>
                </a:cubicBezTo>
                <a:cubicBezTo>
                  <a:pt x="5" y="89"/>
                  <a:pt x="5" y="89"/>
                  <a:pt x="5" y="89"/>
                </a:cubicBezTo>
                <a:cubicBezTo>
                  <a:pt x="3" y="91"/>
                  <a:pt x="1" y="93"/>
                  <a:pt x="0" y="96"/>
                </a:cubicBezTo>
                <a:cubicBezTo>
                  <a:pt x="95" y="0"/>
                  <a:pt x="95" y="0"/>
                  <a:pt x="95" y="0"/>
                </a:cubicBezTo>
              </a:path>
            </a:pathLst>
          </a:custGeom>
          <a:solidFill>
            <a:srgbClr val="6582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96" name="Freeform 141">
            <a:extLst>
              <a:ext uri="{FF2B5EF4-FFF2-40B4-BE49-F238E27FC236}">
                <a16:creationId xmlns:a16="http://schemas.microsoft.com/office/drawing/2014/main" id="{123FD579-C102-4B38-9573-37F99E2CD2DD}"/>
              </a:ext>
            </a:extLst>
          </p:cNvPr>
          <p:cNvSpPr>
            <a:spLocks/>
          </p:cNvSpPr>
          <p:nvPr/>
        </p:nvSpPr>
        <p:spPr bwMode="auto">
          <a:xfrm>
            <a:off x="6012873" y="2934458"/>
            <a:ext cx="517216" cy="514435"/>
          </a:xfrm>
          <a:custGeom>
            <a:avLst/>
            <a:gdLst>
              <a:gd name="T0" fmla="*/ 148 w 148"/>
              <a:gd name="T1" fmla="*/ 0 h 147"/>
              <a:gd name="T2" fmla="*/ 145 w 148"/>
              <a:gd name="T3" fmla="*/ 2 h 147"/>
              <a:gd name="T4" fmla="*/ 0 w 148"/>
              <a:gd name="T5" fmla="*/ 147 h 147"/>
              <a:gd name="T6" fmla="*/ 2 w 148"/>
              <a:gd name="T7" fmla="*/ 147 h 147"/>
              <a:gd name="T8" fmla="*/ 148 w 148"/>
              <a:gd name="T9" fmla="*/ 0 h 147"/>
            </a:gdLst>
            <a:ahLst/>
            <a:cxnLst>
              <a:cxn ang="0">
                <a:pos x="T0" y="T1"/>
              </a:cxn>
              <a:cxn ang="0">
                <a:pos x="T2" y="T3"/>
              </a:cxn>
              <a:cxn ang="0">
                <a:pos x="T4" y="T5"/>
              </a:cxn>
              <a:cxn ang="0">
                <a:pos x="T6" y="T7"/>
              </a:cxn>
              <a:cxn ang="0">
                <a:pos x="T8" y="T9"/>
              </a:cxn>
            </a:cxnLst>
            <a:rect l="0" t="0" r="r" b="b"/>
            <a:pathLst>
              <a:path w="148" h="147">
                <a:moveTo>
                  <a:pt x="148" y="0"/>
                </a:moveTo>
                <a:cubicBezTo>
                  <a:pt x="147" y="1"/>
                  <a:pt x="146" y="2"/>
                  <a:pt x="145" y="2"/>
                </a:cubicBezTo>
                <a:cubicBezTo>
                  <a:pt x="0" y="147"/>
                  <a:pt x="0" y="147"/>
                  <a:pt x="0" y="147"/>
                </a:cubicBezTo>
                <a:cubicBezTo>
                  <a:pt x="2" y="147"/>
                  <a:pt x="2" y="147"/>
                  <a:pt x="2" y="147"/>
                </a:cubicBezTo>
                <a:cubicBezTo>
                  <a:pt x="148" y="0"/>
                  <a:pt x="148" y="0"/>
                  <a:pt x="148" y="0"/>
                </a:cubicBezTo>
              </a:path>
            </a:pathLst>
          </a:custGeom>
          <a:solidFill>
            <a:srgbClr val="6582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97" name="Freeform 142">
            <a:extLst>
              <a:ext uri="{FF2B5EF4-FFF2-40B4-BE49-F238E27FC236}">
                <a16:creationId xmlns:a16="http://schemas.microsoft.com/office/drawing/2014/main" id="{9F68370B-6B50-4F44-9358-D7B90B4D9E64}"/>
              </a:ext>
            </a:extLst>
          </p:cNvPr>
          <p:cNvSpPr>
            <a:spLocks/>
          </p:cNvSpPr>
          <p:nvPr/>
        </p:nvSpPr>
        <p:spPr bwMode="auto">
          <a:xfrm>
            <a:off x="6093515" y="2917774"/>
            <a:ext cx="531119" cy="531119"/>
          </a:xfrm>
          <a:custGeom>
            <a:avLst/>
            <a:gdLst>
              <a:gd name="T0" fmla="*/ 191 w 191"/>
              <a:gd name="T1" fmla="*/ 0 h 191"/>
              <a:gd name="T2" fmla="*/ 0 w 191"/>
              <a:gd name="T3" fmla="*/ 191 h 191"/>
              <a:gd name="T4" fmla="*/ 3 w 191"/>
              <a:gd name="T5" fmla="*/ 191 h 191"/>
              <a:gd name="T6" fmla="*/ 191 w 191"/>
              <a:gd name="T7" fmla="*/ 3 h 191"/>
              <a:gd name="T8" fmla="*/ 191 w 191"/>
              <a:gd name="T9" fmla="*/ 0 h 191"/>
            </a:gdLst>
            <a:ahLst/>
            <a:cxnLst>
              <a:cxn ang="0">
                <a:pos x="T0" y="T1"/>
              </a:cxn>
              <a:cxn ang="0">
                <a:pos x="T2" y="T3"/>
              </a:cxn>
              <a:cxn ang="0">
                <a:pos x="T4" y="T5"/>
              </a:cxn>
              <a:cxn ang="0">
                <a:pos x="T6" y="T7"/>
              </a:cxn>
              <a:cxn ang="0">
                <a:pos x="T8" y="T9"/>
              </a:cxn>
            </a:cxnLst>
            <a:rect l="0" t="0" r="r" b="b"/>
            <a:pathLst>
              <a:path w="191" h="191">
                <a:moveTo>
                  <a:pt x="191" y="0"/>
                </a:moveTo>
                <a:lnTo>
                  <a:pt x="0" y="191"/>
                </a:lnTo>
                <a:lnTo>
                  <a:pt x="3" y="191"/>
                </a:lnTo>
                <a:lnTo>
                  <a:pt x="191" y="3"/>
                </a:lnTo>
                <a:lnTo>
                  <a:pt x="191" y="0"/>
                </a:lnTo>
                <a:close/>
              </a:path>
            </a:pathLst>
          </a:custGeom>
          <a:solidFill>
            <a:srgbClr val="6582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98" name="Freeform 143">
            <a:extLst>
              <a:ext uri="{FF2B5EF4-FFF2-40B4-BE49-F238E27FC236}">
                <a16:creationId xmlns:a16="http://schemas.microsoft.com/office/drawing/2014/main" id="{5336B927-6236-4BBD-8694-BA5BA3EEF8C9}"/>
              </a:ext>
            </a:extLst>
          </p:cNvPr>
          <p:cNvSpPr>
            <a:spLocks/>
          </p:cNvSpPr>
          <p:nvPr/>
        </p:nvSpPr>
        <p:spPr bwMode="auto">
          <a:xfrm>
            <a:off x="6093515" y="2917774"/>
            <a:ext cx="531119" cy="531119"/>
          </a:xfrm>
          <a:custGeom>
            <a:avLst/>
            <a:gdLst>
              <a:gd name="T0" fmla="*/ 191 w 191"/>
              <a:gd name="T1" fmla="*/ 0 h 191"/>
              <a:gd name="T2" fmla="*/ 0 w 191"/>
              <a:gd name="T3" fmla="*/ 191 h 191"/>
              <a:gd name="T4" fmla="*/ 3 w 191"/>
              <a:gd name="T5" fmla="*/ 191 h 191"/>
              <a:gd name="T6" fmla="*/ 191 w 191"/>
              <a:gd name="T7" fmla="*/ 3 h 191"/>
              <a:gd name="T8" fmla="*/ 191 w 191"/>
              <a:gd name="T9" fmla="*/ 0 h 191"/>
            </a:gdLst>
            <a:ahLst/>
            <a:cxnLst>
              <a:cxn ang="0">
                <a:pos x="T0" y="T1"/>
              </a:cxn>
              <a:cxn ang="0">
                <a:pos x="T2" y="T3"/>
              </a:cxn>
              <a:cxn ang="0">
                <a:pos x="T4" y="T5"/>
              </a:cxn>
              <a:cxn ang="0">
                <a:pos x="T6" y="T7"/>
              </a:cxn>
              <a:cxn ang="0">
                <a:pos x="T8" y="T9"/>
              </a:cxn>
            </a:cxnLst>
            <a:rect l="0" t="0" r="r" b="b"/>
            <a:pathLst>
              <a:path w="191" h="191">
                <a:moveTo>
                  <a:pt x="191" y="0"/>
                </a:moveTo>
                <a:lnTo>
                  <a:pt x="0" y="191"/>
                </a:lnTo>
                <a:lnTo>
                  <a:pt x="3" y="191"/>
                </a:lnTo>
                <a:lnTo>
                  <a:pt x="191" y="3"/>
                </a:lnTo>
                <a:lnTo>
                  <a:pt x="19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99" name="Freeform 144">
            <a:extLst>
              <a:ext uri="{FF2B5EF4-FFF2-40B4-BE49-F238E27FC236}">
                <a16:creationId xmlns:a16="http://schemas.microsoft.com/office/drawing/2014/main" id="{07A6804D-731E-435C-AABE-4FEF15137A9E}"/>
              </a:ext>
            </a:extLst>
          </p:cNvPr>
          <p:cNvSpPr>
            <a:spLocks noEditPoints="1"/>
          </p:cNvSpPr>
          <p:nvPr/>
        </p:nvSpPr>
        <p:spPr bwMode="auto">
          <a:xfrm>
            <a:off x="6176936" y="2998415"/>
            <a:ext cx="447698" cy="450479"/>
          </a:xfrm>
          <a:custGeom>
            <a:avLst/>
            <a:gdLst>
              <a:gd name="T0" fmla="*/ 32 w 128"/>
              <a:gd name="T1" fmla="*/ 97 h 129"/>
              <a:gd name="T2" fmla="*/ 0 w 128"/>
              <a:gd name="T3" fmla="*/ 129 h 129"/>
              <a:gd name="T4" fmla="*/ 1 w 128"/>
              <a:gd name="T5" fmla="*/ 129 h 129"/>
              <a:gd name="T6" fmla="*/ 32 w 128"/>
              <a:gd name="T7" fmla="*/ 98 h 129"/>
              <a:gd name="T8" fmla="*/ 32 w 128"/>
              <a:gd name="T9" fmla="*/ 97 h 129"/>
              <a:gd name="T10" fmla="*/ 128 w 128"/>
              <a:gd name="T11" fmla="*/ 0 h 129"/>
              <a:gd name="T12" fmla="*/ 33 w 128"/>
              <a:gd name="T13" fmla="*/ 96 h 129"/>
              <a:gd name="T14" fmla="*/ 33 w 128"/>
              <a:gd name="T15" fmla="*/ 97 h 129"/>
              <a:gd name="T16" fmla="*/ 128 w 128"/>
              <a:gd name="T17" fmla="*/ 2 h 129"/>
              <a:gd name="T18" fmla="*/ 128 w 128"/>
              <a:gd name="T19" fmla="*/ 0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8" h="129">
                <a:moveTo>
                  <a:pt x="32" y="97"/>
                </a:moveTo>
                <a:cubicBezTo>
                  <a:pt x="0" y="129"/>
                  <a:pt x="0" y="129"/>
                  <a:pt x="0" y="129"/>
                </a:cubicBezTo>
                <a:cubicBezTo>
                  <a:pt x="1" y="129"/>
                  <a:pt x="1" y="129"/>
                  <a:pt x="1" y="129"/>
                </a:cubicBezTo>
                <a:cubicBezTo>
                  <a:pt x="32" y="98"/>
                  <a:pt x="32" y="98"/>
                  <a:pt x="32" y="98"/>
                </a:cubicBezTo>
                <a:cubicBezTo>
                  <a:pt x="32" y="98"/>
                  <a:pt x="32" y="97"/>
                  <a:pt x="32" y="97"/>
                </a:cubicBezTo>
                <a:moveTo>
                  <a:pt x="128" y="0"/>
                </a:moveTo>
                <a:cubicBezTo>
                  <a:pt x="33" y="96"/>
                  <a:pt x="33" y="96"/>
                  <a:pt x="33" y="96"/>
                </a:cubicBezTo>
                <a:cubicBezTo>
                  <a:pt x="33" y="96"/>
                  <a:pt x="33" y="96"/>
                  <a:pt x="33" y="97"/>
                </a:cubicBezTo>
                <a:cubicBezTo>
                  <a:pt x="128" y="2"/>
                  <a:pt x="128" y="2"/>
                  <a:pt x="128" y="2"/>
                </a:cubicBezTo>
                <a:cubicBezTo>
                  <a:pt x="128" y="0"/>
                  <a:pt x="128" y="0"/>
                  <a:pt x="128" y="0"/>
                </a:cubicBezTo>
              </a:path>
            </a:pathLst>
          </a:custGeom>
          <a:solidFill>
            <a:srgbClr val="6582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00" name="Freeform 145">
            <a:extLst>
              <a:ext uri="{FF2B5EF4-FFF2-40B4-BE49-F238E27FC236}">
                <a16:creationId xmlns:a16="http://schemas.microsoft.com/office/drawing/2014/main" id="{274D23E3-43EE-4149-9964-588E56631B75}"/>
              </a:ext>
            </a:extLst>
          </p:cNvPr>
          <p:cNvSpPr>
            <a:spLocks/>
          </p:cNvSpPr>
          <p:nvPr/>
        </p:nvSpPr>
        <p:spPr bwMode="auto">
          <a:xfrm>
            <a:off x="6290947" y="3332102"/>
            <a:ext cx="2781" cy="8343"/>
          </a:xfrm>
          <a:custGeom>
            <a:avLst/>
            <a:gdLst>
              <a:gd name="T0" fmla="*/ 1 w 1"/>
              <a:gd name="T1" fmla="*/ 0 h 2"/>
              <a:gd name="T2" fmla="*/ 0 w 1"/>
              <a:gd name="T3" fmla="*/ 1 h 2"/>
              <a:gd name="T4" fmla="*/ 0 w 1"/>
              <a:gd name="T5" fmla="*/ 2 h 2"/>
              <a:gd name="T6" fmla="*/ 1 w 1"/>
              <a:gd name="T7" fmla="*/ 1 h 2"/>
              <a:gd name="T8" fmla="*/ 1 w 1"/>
              <a:gd name="T9" fmla="*/ 0 h 2"/>
            </a:gdLst>
            <a:ahLst/>
            <a:cxnLst>
              <a:cxn ang="0">
                <a:pos x="T0" y="T1"/>
              </a:cxn>
              <a:cxn ang="0">
                <a:pos x="T2" y="T3"/>
              </a:cxn>
              <a:cxn ang="0">
                <a:pos x="T4" y="T5"/>
              </a:cxn>
              <a:cxn ang="0">
                <a:pos x="T6" y="T7"/>
              </a:cxn>
              <a:cxn ang="0">
                <a:pos x="T8" y="T9"/>
              </a:cxn>
            </a:cxnLst>
            <a:rect l="0" t="0" r="r" b="b"/>
            <a:pathLst>
              <a:path w="1" h="2">
                <a:moveTo>
                  <a:pt x="1" y="0"/>
                </a:moveTo>
                <a:cubicBezTo>
                  <a:pt x="0" y="1"/>
                  <a:pt x="0" y="1"/>
                  <a:pt x="0" y="1"/>
                </a:cubicBezTo>
                <a:cubicBezTo>
                  <a:pt x="0" y="1"/>
                  <a:pt x="0" y="2"/>
                  <a:pt x="0" y="2"/>
                </a:cubicBezTo>
                <a:cubicBezTo>
                  <a:pt x="1" y="1"/>
                  <a:pt x="1" y="1"/>
                  <a:pt x="1" y="1"/>
                </a:cubicBezTo>
                <a:cubicBezTo>
                  <a:pt x="1" y="0"/>
                  <a:pt x="1" y="0"/>
                  <a:pt x="1" y="0"/>
                </a:cubicBezTo>
              </a:path>
            </a:pathLst>
          </a:custGeom>
          <a:solidFill>
            <a:srgbClr val="6357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01" name="Freeform 146">
            <a:extLst>
              <a:ext uri="{FF2B5EF4-FFF2-40B4-BE49-F238E27FC236}">
                <a16:creationId xmlns:a16="http://schemas.microsoft.com/office/drawing/2014/main" id="{88C06FBE-20B8-4084-B5EA-DD74354ECCE8}"/>
              </a:ext>
            </a:extLst>
          </p:cNvPr>
          <p:cNvSpPr>
            <a:spLocks noEditPoints="1"/>
          </p:cNvSpPr>
          <p:nvPr/>
        </p:nvSpPr>
        <p:spPr bwMode="auto">
          <a:xfrm>
            <a:off x="6257578" y="3079056"/>
            <a:ext cx="367056" cy="369837"/>
          </a:xfrm>
          <a:custGeom>
            <a:avLst/>
            <a:gdLst>
              <a:gd name="T0" fmla="*/ 11 w 105"/>
              <a:gd name="T1" fmla="*/ 95 h 106"/>
              <a:gd name="T2" fmla="*/ 0 w 105"/>
              <a:gd name="T3" fmla="*/ 106 h 106"/>
              <a:gd name="T4" fmla="*/ 1 w 105"/>
              <a:gd name="T5" fmla="*/ 106 h 106"/>
              <a:gd name="T6" fmla="*/ 11 w 105"/>
              <a:gd name="T7" fmla="*/ 96 h 106"/>
              <a:gd name="T8" fmla="*/ 11 w 105"/>
              <a:gd name="T9" fmla="*/ 95 h 106"/>
              <a:gd name="T10" fmla="*/ 105 w 105"/>
              <a:gd name="T11" fmla="*/ 0 h 106"/>
              <a:gd name="T12" fmla="*/ 16 w 105"/>
              <a:gd name="T13" fmla="*/ 90 h 106"/>
              <a:gd name="T14" fmla="*/ 16 w 105"/>
              <a:gd name="T15" fmla="*/ 91 h 106"/>
              <a:gd name="T16" fmla="*/ 105 w 105"/>
              <a:gd name="T17" fmla="*/ 2 h 106"/>
              <a:gd name="T18" fmla="*/ 105 w 105"/>
              <a:gd name="T19"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 h="106">
                <a:moveTo>
                  <a:pt x="11" y="95"/>
                </a:moveTo>
                <a:cubicBezTo>
                  <a:pt x="0" y="106"/>
                  <a:pt x="0" y="106"/>
                  <a:pt x="0" y="106"/>
                </a:cubicBezTo>
                <a:cubicBezTo>
                  <a:pt x="1" y="106"/>
                  <a:pt x="1" y="106"/>
                  <a:pt x="1" y="106"/>
                </a:cubicBezTo>
                <a:cubicBezTo>
                  <a:pt x="11" y="96"/>
                  <a:pt x="11" y="96"/>
                  <a:pt x="11" y="96"/>
                </a:cubicBezTo>
                <a:cubicBezTo>
                  <a:pt x="11" y="96"/>
                  <a:pt x="11" y="95"/>
                  <a:pt x="11" y="95"/>
                </a:cubicBezTo>
                <a:moveTo>
                  <a:pt x="105" y="0"/>
                </a:moveTo>
                <a:cubicBezTo>
                  <a:pt x="16" y="90"/>
                  <a:pt x="16" y="90"/>
                  <a:pt x="16" y="90"/>
                </a:cubicBezTo>
                <a:cubicBezTo>
                  <a:pt x="16" y="91"/>
                  <a:pt x="16" y="91"/>
                  <a:pt x="16" y="91"/>
                </a:cubicBezTo>
                <a:cubicBezTo>
                  <a:pt x="105" y="2"/>
                  <a:pt x="105" y="2"/>
                  <a:pt x="105" y="2"/>
                </a:cubicBezTo>
                <a:cubicBezTo>
                  <a:pt x="105" y="0"/>
                  <a:pt x="105" y="0"/>
                  <a:pt x="105" y="0"/>
                </a:cubicBezTo>
              </a:path>
            </a:pathLst>
          </a:custGeom>
          <a:solidFill>
            <a:srgbClr val="6582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02" name="Freeform 147">
            <a:extLst>
              <a:ext uri="{FF2B5EF4-FFF2-40B4-BE49-F238E27FC236}">
                <a16:creationId xmlns:a16="http://schemas.microsoft.com/office/drawing/2014/main" id="{8E42BA02-CDF7-480C-A932-1E77CCF28D57}"/>
              </a:ext>
            </a:extLst>
          </p:cNvPr>
          <p:cNvSpPr>
            <a:spLocks/>
          </p:cNvSpPr>
          <p:nvPr/>
        </p:nvSpPr>
        <p:spPr bwMode="auto">
          <a:xfrm>
            <a:off x="6296508" y="3393278"/>
            <a:ext cx="16684" cy="19466"/>
          </a:xfrm>
          <a:custGeom>
            <a:avLst/>
            <a:gdLst>
              <a:gd name="T0" fmla="*/ 5 w 5"/>
              <a:gd name="T1" fmla="*/ 0 h 6"/>
              <a:gd name="T2" fmla="*/ 0 w 5"/>
              <a:gd name="T3" fmla="*/ 5 h 6"/>
              <a:gd name="T4" fmla="*/ 0 w 5"/>
              <a:gd name="T5" fmla="*/ 6 h 6"/>
              <a:gd name="T6" fmla="*/ 5 w 5"/>
              <a:gd name="T7" fmla="*/ 1 h 6"/>
              <a:gd name="T8" fmla="*/ 5 w 5"/>
              <a:gd name="T9" fmla="*/ 0 h 6"/>
            </a:gdLst>
            <a:ahLst/>
            <a:cxnLst>
              <a:cxn ang="0">
                <a:pos x="T0" y="T1"/>
              </a:cxn>
              <a:cxn ang="0">
                <a:pos x="T2" y="T3"/>
              </a:cxn>
              <a:cxn ang="0">
                <a:pos x="T4" y="T5"/>
              </a:cxn>
              <a:cxn ang="0">
                <a:pos x="T6" y="T7"/>
              </a:cxn>
              <a:cxn ang="0">
                <a:pos x="T8" y="T9"/>
              </a:cxn>
            </a:cxnLst>
            <a:rect l="0" t="0" r="r" b="b"/>
            <a:pathLst>
              <a:path w="5" h="6">
                <a:moveTo>
                  <a:pt x="5" y="0"/>
                </a:moveTo>
                <a:cubicBezTo>
                  <a:pt x="0" y="5"/>
                  <a:pt x="0" y="5"/>
                  <a:pt x="0" y="5"/>
                </a:cubicBezTo>
                <a:cubicBezTo>
                  <a:pt x="0" y="5"/>
                  <a:pt x="0" y="6"/>
                  <a:pt x="0" y="6"/>
                </a:cubicBezTo>
                <a:cubicBezTo>
                  <a:pt x="5" y="1"/>
                  <a:pt x="5" y="1"/>
                  <a:pt x="5" y="1"/>
                </a:cubicBezTo>
                <a:cubicBezTo>
                  <a:pt x="5" y="1"/>
                  <a:pt x="5" y="1"/>
                  <a:pt x="5" y="0"/>
                </a:cubicBezTo>
              </a:path>
            </a:pathLst>
          </a:custGeom>
          <a:solidFill>
            <a:srgbClr val="6357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03" name="Freeform 148">
            <a:extLst>
              <a:ext uri="{FF2B5EF4-FFF2-40B4-BE49-F238E27FC236}">
                <a16:creationId xmlns:a16="http://schemas.microsoft.com/office/drawing/2014/main" id="{C3EE049C-FC6D-4C5D-8238-428D7CF60684}"/>
              </a:ext>
            </a:extLst>
          </p:cNvPr>
          <p:cNvSpPr>
            <a:spLocks/>
          </p:cNvSpPr>
          <p:nvPr/>
        </p:nvSpPr>
        <p:spPr bwMode="auto">
          <a:xfrm>
            <a:off x="6338218" y="3162479"/>
            <a:ext cx="286415" cy="286415"/>
          </a:xfrm>
          <a:custGeom>
            <a:avLst/>
            <a:gdLst>
              <a:gd name="T0" fmla="*/ 103 w 103"/>
              <a:gd name="T1" fmla="*/ 0 h 103"/>
              <a:gd name="T2" fmla="*/ 0 w 103"/>
              <a:gd name="T3" fmla="*/ 103 h 103"/>
              <a:gd name="T4" fmla="*/ 3 w 103"/>
              <a:gd name="T5" fmla="*/ 103 h 103"/>
              <a:gd name="T6" fmla="*/ 103 w 103"/>
              <a:gd name="T7" fmla="*/ 1 h 103"/>
              <a:gd name="T8" fmla="*/ 103 w 103"/>
              <a:gd name="T9" fmla="*/ 0 h 103"/>
            </a:gdLst>
            <a:ahLst/>
            <a:cxnLst>
              <a:cxn ang="0">
                <a:pos x="T0" y="T1"/>
              </a:cxn>
              <a:cxn ang="0">
                <a:pos x="T2" y="T3"/>
              </a:cxn>
              <a:cxn ang="0">
                <a:pos x="T4" y="T5"/>
              </a:cxn>
              <a:cxn ang="0">
                <a:pos x="T6" y="T7"/>
              </a:cxn>
              <a:cxn ang="0">
                <a:pos x="T8" y="T9"/>
              </a:cxn>
            </a:cxnLst>
            <a:rect l="0" t="0" r="r" b="b"/>
            <a:pathLst>
              <a:path w="103" h="103">
                <a:moveTo>
                  <a:pt x="103" y="0"/>
                </a:moveTo>
                <a:lnTo>
                  <a:pt x="0" y="103"/>
                </a:lnTo>
                <a:lnTo>
                  <a:pt x="3" y="103"/>
                </a:lnTo>
                <a:lnTo>
                  <a:pt x="103" y="1"/>
                </a:lnTo>
                <a:lnTo>
                  <a:pt x="103" y="0"/>
                </a:lnTo>
                <a:close/>
              </a:path>
            </a:pathLst>
          </a:custGeom>
          <a:solidFill>
            <a:srgbClr val="6582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04" name="Freeform 149">
            <a:extLst>
              <a:ext uri="{FF2B5EF4-FFF2-40B4-BE49-F238E27FC236}">
                <a16:creationId xmlns:a16="http://schemas.microsoft.com/office/drawing/2014/main" id="{DD9BBB9F-4D54-4134-A1BE-8DE2283489D7}"/>
              </a:ext>
            </a:extLst>
          </p:cNvPr>
          <p:cNvSpPr>
            <a:spLocks/>
          </p:cNvSpPr>
          <p:nvPr/>
        </p:nvSpPr>
        <p:spPr bwMode="auto">
          <a:xfrm>
            <a:off x="6338218" y="3162479"/>
            <a:ext cx="286415" cy="286415"/>
          </a:xfrm>
          <a:custGeom>
            <a:avLst/>
            <a:gdLst>
              <a:gd name="T0" fmla="*/ 103 w 103"/>
              <a:gd name="T1" fmla="*/ 0 h 103"/>
              <a:gd name="T2" fmla="*/ 0 w 103"/>
              <a:gd name="T3" fmla="*/ 103 h 103"/>
              <a:gd name="T4" fmla="*/ 3 w 103"/>
              <a:gd name="T5" fmla="*/ 103 h 103"/>
              <a:gd name="T6" fmla="*/ 103 w 103"/>
              <a:gd name="T7" fmla="*/ 1 h 103"/>
              <a:gd name="T8" fmla="*/ 103 w 103"/>
              <a:gd name="T9" fmla="*/ 0 h 103"/>
            </a:gdLst>
            <a:ahLst/>
            <a:cxnLst>
              <a:cxn ang="0">
                <a:pos x="T0" y="T1"/>
              </a:cxn>
              <a:cxn ang="0">
                <a:pos x="T2" y="T3"/>
              </a:cxn>
              <a:cxn ang="0">
                <a:pos x="T4" y="T5"/>
              </a:cxn>
              <a:cxn ang="0">
                <a:pos x="T6" y="T7"/>
              </a:cxn>
              <a:cxn ang="0">
                <a:pos x="T8" y="T9"/>
              </a:cxn>
            </a:cxnLst>
            <a:rect l="0" t="0" r="r" b="b"/>
            <a:pathLst>
              <a:path w="103" h="103">
                <a:moveTo>
                  <a:pt x="103" y="0"/>
                </a:moveTo>
                <a:lnTo>
                  <a:pt x="0" y="103"/>
                </a:lnTo>
                <a:lnTo>
                  <a:pt x="3" y="103"/>
                </a:lnTo>
                <a:lnTo>
                  <a:pt x="103" y="1"/>
                </a:lnTo>
                <a:lnTo>
                  <a:pt x="10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05" name="Freeform 150">
            <a:extLst>
              <a:ext uri="{FF2B5EF4-FFF2-40B4-BE49-F238E27FC236}">
                <a16:creationId xmlns:a16="http://schemas.microsoft.com/office/drawing/2014/main" id="{B41BC308-60DB-4010-B0AA-85203C226D43}"/>
              </a:ext>
            </a:extLst>
          </p:cNvPr>
          <p:cNvSpPr>
            <a:spLocks/>
          </p:cNvSpPr>
          <p:nvPr/>
        </p:nvSpPr>
        <p:spPr bwMode="auto">
          <a:xfrm>
            <a:off x="6418860" y="3243119"/>
            <a:ext cx="205774" cy="205774"/>
          </a:xfrm>
          <a:custGeom>
            <a:avLst/>
            <a:gdLst>
              <a:gd name="T0" fmla="*/ 74 w 74"/>
              <a:gd name="T1" fmla="*/ 0 h 74"/>
              <a:gd name="T2" fmla="*/ 0 w 74"/>
              <a:gd name="T3" fmla="*/ 74 h 74"/>
              <a:gd name="T4" fmla="*/ 3 w 74"/>
              <a:gd name="T5" fmla="*/ 74 h 74"/>
              <a:gd name="T6" fmla="*/ 74 w 74"/>
              <a:gd name="T7" fmla="*/ 2 h 74"/>
              <a:gd name="T8" fmla="*/ 74 w 74"/>
              <a:gd name="T9" fmla="*/ 0 h 74"/>
            </a:gdLst>
            <a:ahLst/>
            <a:cxnLst>
              <a:cxn ang="0">
                <a:pos x="T0" y="T1"/>
              </a:cxn>
              <a:cxn ang="0">
                <a:pos x="T2" y="T3"/>
              </a:cxn>
              <a:cxn ang="0">
                <a:pos x="T4" y="T5"/>
              </a:cxn>
              <a:cxn ang="0">
                <a:pos x="T6" y="T7"/>
              </a:cxn>
              <a:cxn ang="0">
                <a:pos x="T8" y="T9"/>
              </a:cxn>
            </a:cxnLst>
            <a:rect l="0" t="0" r="r" b="b"/>
            <a:pathLst>
              <a:path w="74" h="74">
                <a:moveTo>
                  <a:pt x="74" y="0"/>
                </a:moveTo>
                <a:lnTo>
                  <a:pt x="0" y="74"/>
                </a:lnTo>
                <a:lnTo>
                  <a:pt x="3" y="74"/>
                </a:lnTo>
                <a:lnTo>
                  <a:pt x="74" y="2"/>
                </a:lnTo>
                <a:lnTo>
                  <a:pt x="74" y="0"/>
                </a:lnTo>
                <a:close/>
              </a:path>
            </a:pathLst>
          </a:custGeom>
          <a:solidFill>
            <a:srgbClr val="6582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06" name="Freeform 151">
            <a:extLst>
              <a:ext uri="{FF2B5EF4-FFF2-40B4-BE49-F238E27FC236}">
                <a16:creationId xmlns:a16="http://schemas.microsoft.com/office/drawing/2014/main" id="{2983E3B1-E262-4461-8E08-D7FFD5E74AE0}"/>
              </a:ext>
            </a:extLst>
          </p:cNvPr>
          <p:cNvSpPr>
            <a:spLocks/>
          </p:cNvSpPr>
          <p:nvPr/>
        </p:nvSpPr>
        <p:spPr bwMode="auto">
          <a:xfrm>
            <a:off x="6418860" y="3243119"/>
            <a:ext cx="205774" cy="205774"/>
          </a:xfrm>
          <a:custGeom>
            <a:avLst/>
            <a:gdLst>
              <a:gd name="T0" fmla="*/ 74 w 74"/>
              <a:gd name="T1" fmla="*/ 0 h 74"/>
              <a:gd name="T2" fmla="*/ 0 w 74"/>
              <a:gd name="T3" fmla="*/ 74 h 74"/>
              <a:gd name="T4" fmla="*/ 3 w 74"/>
              <a:gd name="T5" fmla="*/ 74 h 74"/>
              <a:gd name="T6" fmla="*/ 74 w 74"/>
              <a:gd name="T7" fmla="*/ 2 h 74"/>
              <a:gd name="T8" fmla="*/ 74 w 74"/>
              <a:gd name="T9" fmla="*/ 0 h 74"/>
            </a:gdLst>
            <a:ahLst/>
            <a:cxnLst>
              <a:cxn ang="0">
                <a:pos x="T0" y="T1"/>
              </a:cxn>
              <a:cxn ang="0">
                <a:pos x="T2" y="T3"/>
              </a:cxn>
              <a:cxn ang="0">
                <a:pos x="T4" y="T5"/>
              </a:cxn>
              <a:cxn ang="0">
                <a:pos x="T6" y="T7"/>
              </a:cxn>
              <a:cxn ang="0">
                <a:pos x="T8" y="T9"/>
              </a:cxn>
            </a:cxnLst>
            <a:rect l="0" t="0" r="r" b="b"/>
            <a:pathLst>
              <a:path w="74" h="74">
                <a:moveTo>
                  <a:pt x="74" y="0"/>
                </a:moveTo>
                <a:lnTo>
                  <a:pt x="0" y="74"/>
                </a:lnTo>
                <a:lnTo>
                  <a:pt x="3" y="74"/>
                </a:lnTo>
                <a:lnTo>
                  <a:pt x="74" y="2"/>
                </a:lnTo>
                <a:lnTo>
                  <a:pt x="7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07" name="Freeform 152">
            <a:extLst>
              <a:ext uri="{FF2B5EF4-FFF2-40B4-BE49-F238E27FC236}">
                <a16:creationId xmlns:a16="http://schemas.microsoft.com/office/drawing/2014/main" id="{BD32551C-E0EF-414F-8197-18F07B1C3B01}"/>
              </a:ext>
            </a:extLst>
          </p:cNvPr>
          <p:cNvSpPr>
            <a:spLocks/>
          </p:cNvSpPr>
          <p:nvPr/>
        </p:nvSpPr>
        <p:spPr bwMode="auto">
          <a:xfrm>
            <a:off x="6502282" y="3323761"/>
            <a:ext cx="122352" cy="125133"/>
          </a:xfrm>
          <a:custGeom>
            <a:avLst/>
            <a:gdLst>
              <a:gd name="T0" fmla="*/ 44 w 44"/>
              <a:gd name="T1" fmla="*/ 0 h 45"/>
              <a:gd name="T2" fmla="*/ 0 w 44"/>
              <a:gd name="T3" fmla="*/ 45 h 45"/>
              <a:gd name="T4" fmla="*/ 1 w 44"/>
              <a:gd name="T5" fmla="*/ 45 h 45"/>
              <a:gd name="T6" fmla="*/ 44 w 44"/>
              <a:gd name="T7" fmla="*/ 2 h 45"/>
              <a:gd name="T8" fmla="*/ 44 w 44"/>
              <a:gd name="T9" fmla="*/ 0 h 45"/>
            </a:gdLst>
            <a:ahLst/>
            <a:cxnLst>
              <a:cxn ang="0">
                <a:pos x="T0" y="T1"/>
              </a:cxn>
              <a:cxn ang="0">
                <a:pos x="T2" y="T3"/>
              </a:cxn>
              <a:cxn ang="0">
                <a:pos x="T4" y="T5"/>
              </a:cxn>
              <a:cxn ang="0">
                <a:pos x="T6" y="T7"/>
              </a:cxn>
              <a:cxn ang="0">
                <a:pos x="T8" y="T9"/>
              </a:cxn>
            </a:cxnLst>
            <a:rect l="0" t="0" r="r" b="b"/>
            <a:pathLst>
              <a:path w="44" h="45">
                <a:moveTo>
                  <a:pt x="44" y="0"/>
                </a:moveTo>
                <a:lnTo>
                  <a:pt x="0" y="45"/>
                </a:lnTo>
                <a:lnTo>
                  <a:pt x="1" y="45"/>
                </a:lnTo>
                <a:lnTo>
                  <a:pt x="44" y="2"/>
                </a:lnTo>
                <a:lnTo>
                  <a:pt x="44" y="0"/>
                </a:lnTo>
                <a:close/>
              </a:path>
            </a:pathLst>
          </a:custGeom>
          <a:solidFill>
            <a:srgbClr val="6582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08" name="Freeform 153">
            <a:extLst>
              <a:ext uri="{FF2B5EF4-FFF2-40B4-BE49-F238E27FC236}">
                <a16:creationId xmlns:a16="http://schemas.microsoft.com/office/drawing/2014/main" id="{104024D4-1983-43C8-B545-A3D2C3E4B8CC}"/>
              </a:ext>
            </a:extLst>
          </p:cNvPr>
          <p:cNvSpPr>
            <a:spLocks/>
          </p:cNvSpPr>
          <p:nvPr/>
        </p:nvSpPr>
        <p:spPr bwMode="auto">
          <a:xfrm>
            <a:off x="6502282" y="3323761"/>
            <a:ext cx="122352" cy="125133"/>
          </a:xfrm>
          <a:custGeom>
            <a:avLst/>
            <a:gdLst>
              <a:gd name="T0" fmla="*/ 44 w 44"/>
              <a:gd name="T1" fmla="*/ 0 h 45"/>
              <a:gd name="T2" fmla="*/ 0 w 44"/>
              <a:gd name="T3" fmla="*/ 45 h 45"/>
              <a:gd name="T4" fmla="*/ 1 w 44"/>
              <a:gd name="T5" fmla="*/ 45 h 45"/>
              <a:gd name="T6" fmla="*/ 44 w 44"/>
              <a:gd name="T7" fmla="*/ 2 h 45"/>
              <a:gd name="T8" fmla="*/ 44 w 44"/>
              <a:gd name="T9" fmla="*/ 0 h 45"/>
            </a:gdLst>
            <a:ahLst/>
            <a:cxnLst>
              <a:cxn ang="0">
                <a:pos x="T0" y="T1"/>
              </a:cxn>
              <a:cxn ang="0">
                <a:pos x="T2" y="T3"/>
              </a:cxn>
              <a:cxn ang="0">
                <a:pos x="T4" y="T5"/>
              </a:cxn>
              <a:cxn ang="0">
                <a:pos x="T6" y="T7"/>
              </a:cxn>
              <a:cxn ang="0">
                <a:pos x="T8" y="T9"/>
              </a:cxn>
            </a:cxnLst>
            <a:rect l="0" t="0" r="r" b="b"/>
            <a:pathLst>
              <a:path w="44" h="45">
                <a:moveTo>
                  <a:pt x="44" y="0"/>
                </a:moveTo>
                <a:lnTo>
                  <a:pt x="0" y="45"/>
                </a:lnTo>
                <a:lnTo>
                  <a:pt x="1" y="45"/>
                </a:lnTo>
                <a:lnTo>
                  <a:pt x="44" y="2"/>
                </a:lnTo>
                <a:lnTo>
                  <a:pt x="4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09" name="Freeform 154">
            <a:extLst>
              <a:ext uri="{FF2B5EF4-FFF2-40B4-BE49-F238E27FC236}">
                <a16:creationId xmlns:a16="http://schemas.microsoft.com/office/drawing/2014/main" id="{CDEC0079-0F68-47DD-A115-2795BD134F2B}"/>
              </a:ext>
            </a:extLst>
          </p:cNvPr>
          <p:cNvSpPr>
            <a:spLocks/>
          </p:cNvSpPr>
          <p:nvPr/>
        </p:nvSpPr>
        <p:spPr bwMode="auto">
          <a:xfrm>
            <a:off x="6582924" y="3407183"/>
            <a:ext cx="41712" cy="41712"/>
          </a:xfrm>
          <a:custGeom>
            <a:avLst/>
            <a:gdLst>
              <a:gd name="T0" fmla="*/ 15 w 15"/>
              <a:gd name="T1" fmla="*/ 0 h 15"/>
              <a:gd name="T2" fmla="*/ 0 w 15"/>
              <a:gd name="T3" fmla="*/ 15 h 15"/>
              <a:gd name="T4" fmla="*/ 3 w 15"/>
              <a:gd name="T5" fmla="*/ 15 h 15"/>
              <a:gd name="T6" fmla="*/ 15 w 15"/>
              <a:gd name="T7" fmla="*/ 1 h 15"/>
              <a:gd name="T8" fmla="*/ 15 w 15"/>
              <a:gd name="T9" fmla="*/ 0 h 15"/>
            </a:gdLst>
            <a:ahLst/>
            <a:cxnLst>
              <a:cxn ang="0">
                <a:pos x="T0" y="T1"/>
              </a:cxn>
              <a:cxn ang="0">
                <a:pos x="T2" y="T3"/>
              </a:cxn>
              <a:cxn ang="0">
                <a:pos x="T4" y="T5"/>
              </a:cxn>
              <a:cxn ang="0">
                <a:pos x="T6" y="T7"/>
              </a:cxn>
              <a:cxn ang="0">
                <a:pos x="T8" y="T9"/>
              </a:cxn>
            </a:cxnLst>
            <a:rect l="0" t="0" r="r" b="b"/>
            <a:pathLst>
              <a:path w="15" h="15">
                <a:moveTo>
                  <a:pt x="15" y="0"/>
                </a:moveTo>
                <a:lnTo>
                  <a:pt x="0" y="15"/>
                </a:lnTo>
                <a:lnTo>
                  <a:pt x="3" y="15"/>
                </a:lnTo>
                <a:lnTo>
                  <a:pt x="15" y="1"/>
                </a:lnTo>
                <a:lnTo>
                  <a:pt x="15" y="0"/>
                </a:lnTo>
                <a:close/>
              </a:path>
            </a:pathLst>
          </a:custGeom>
          <a:solidFill>
            <a:srgbClr val="6582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10" name="Freeform 155">
            <a:extLst>
              <a:ext uri="{FF2B5EF4-FFF2-40B4-BE49-F238E27FC236}">
                <a16:creationId xmlns:a16="http://schemas.microsoft.com/office/drawing/2014/main" id="{A2FA2228-3CFE-4983-9FA3-1A4B47290DFA}"/>
              </a:ext>
            </a:extLst>
          </p:cNvPr>
          <p:cNvSpPr>
            <a:spLocks/>
          </p:cNvSpPr>
          <p:nvPr/>
        </p:nvSpPr>
        <p:spPr bwMode="auto">
          <a:xfrm>
            <a:off x="6582924" y="3407183"/>
            <a:ext cx="41712" cy="41712"/>
          </a:xfrm>
          <a:custGeom>
            <a:avLst/>
            <a:gdLst>
              <a:gd name="T0" fmla="*/ 15 w 15"/>
              <a:gd name="T1" fmla="*/ 0 h 15"/>
              <a:gd name="T2" fmla="*/ 0 w 15"/>
              <a:gd name="T3" fmla="*/ 15 h 15"/>
              <a:gd name="T4" fmla="*/ 3 w 15"/>
              <a:gd name="T5" fmla="*/ 15 h 15"/>
              <a:gd name="T6" fmla="*/ 15 w 15"/>
              <a:gd name="T7" fmla="*/ 1 h 15"/>
              <a:gd name="T8" fmla="*/ 15 w 15"/>
              <a:gd name="T9" fmla="*/ 0 h 15"/>
            </a:gdLst>
            <a:ahLst/>
            <a:cxnLst>
              <a:cxn ang="0">
                <a:pos x="T0" y="T1"/>
              </a:cxn>
              <a:cxn ang="0">
                <a:pos x="T2" y="T3"/>
              </a:cxn>
              <a:cxn ang="0">
                <a:pos x="T4" y="T5"/>
              </a:cxn>
              <a:cxn ang="0">
                <a:pos x="T6" y="T7"/>
              </a:cxn>
              <a:cxn ang="0">
                <a:pos x="T8" y="T9"/>
              </a:cxn>
            </a:cxnLst>
            <a:rect l="0" t="0" r="r" b="b"/>
            <a:pathLst>
              <a:path w="15" h="15">
                <a:moveTo>
                  <a:pt x="15" y="0"/>
                </a:moveTo>
                <a:lnTo>
                  <a:pt x="0" y="15"/>
                </a:lnTo>
                <a:lnTo>
                  <a:pt x="3" y="15"/>
                </a:lnTo>
                <a:lnTo>
                  <a:pt x="15" y="1"/>
                </a:lnTo>
                <a:lnTo>
                  <a:pt x="1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11" name="Freeform 156">
            <a:extLst>
              <a:ext uri="{FF2B5EF4-FFF2-40B4-BE49-F238E27FC236}">
                <a16:creationId xmlns:a16="http://schemas.microsoft.com/office/drawing/2014/main" id="{C0770626-5744-45B3-86ED-955AF87E2BC0}"/>
              </a:ext>
            </a:extLst>
          </p:cNvPr>
          <p:cNvSpPr>
            <a:spLocks/>
          </p:cNvSpPr>
          <p:nvPr/>
        </p:nvSpPr>
        <p:spPr bwMode="auto">
          <a:xfrm>
            <a:off x="6624634" y="2867721"/>
            <a:ext cx="55615" cy="58396"/>
          </a:xfrm>
          <a:custGeom>
            <a:avLst/>
            <a:gdLst>
              <a:gd name="T0" fmla="*/ 16 w 16"/>
              <a:gd name="T1" fmla="*/ 0 h 16"/>
              <a:gd name="T2" fmla="*/ 13 w 16"/>
              <a:gd name="T3" fmla="*/ 1 h 16"/>
              <a:gd name="T4" fmla="*/ 0 w 16"/>
              <a:gd name="T5" fmla="*/ 14 h 16"/>
              <a:gd name="T6" fmla="*/ 0 w 16"/>
              <a:gd name="T7" fmla="*/ 16 h 16"/>
              <a:gd name="T8" fmla="*/ 16 w 16"/>
              <a:gd name="T9" fmla="*/ 0 h 16"/>
            </a:gdLst>
            <a:ahLst/>
            <a:cxnLst>
              <a:cxn ang="0">
                <a:pos x="T0" y="T1"/>
              </a:cxn>
              <a:cxn ang="0">
                <a:pos x="T2" y="T3"/>
              </a:cxn>
              <a:cxn ang="0">
                <a:pos x="T4" y="T5"/>
              </a:cxn>
              <a:cxn ang="0">
                <a:pos x="T6" y="T7"/>
              </a:cxn>
              <a:cxn ang="0">
                <a:pos x="T8" y="T9"/>
              </a:cxn>
            </a:cxnLst>
            <a:rect l="0" t="0" r="r" b="b"/>
            <a:pathLst>
              <a:path w="16" h="16">
                <a:moveTo>
                  <a:pt x="16" y="0"/>
                </a:moveTo>
                <a:cubicBezTo>
                  <a:pt x="15" y="0"/>
                  <a:pt x="14" y="1"/>
                  <a:pt x="13" y="1"/>
                </a:cubicBezTo>
                <a:cubicBezTo>
                  <a:pt x="0" y="14"/>
                  <a:pt x="0" y="14"/>
                  <a:pt x="0" y="14"/>
                </a:cubicBezTo>
                <a:cubicBezTo>
                  <a:pt x="0" y="16"/>
                  <a:pt x="0" y="16"/>
                  <a:pt x="0" y="16"/>
                </a:cubicBezTo>
                <a:cubicBezTo>
                  <a:pt x="16" y="0"/>
                  <a:pt x="16" y="0"/>
                  <a:pt x="16" y="0"/>
                </a:cubicBezTo>
              </a:path>
            </a:pathLst>
          </a:custGeom>
          <a:solidFill>
            <a:srgbClr val="6582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12" name="Freeform 157">
            <a:extLst>
              <a:ext uri="{FF2B5EF4-FFF2-40B4-BE49-F238E27FC236}">
                <a16:creationId xmlns:a16="http://schemas.microsoft.com/office/drawing/2014/main" id="{8E4C1B88-2B39-4491-B0DA-14A55A466EB9}"/>
              </a:ext>
            </a:extLst>
          </p:cNvPr>
          <p:cNvSpPr>
            <a:spLocks/>
          </p:cNvSpPr>
          <p:nvPr/>
        </p:nvSpPr>
        <p:spPr bwMode="auto">
          <a:xfrm>
            <a:off x="6624634" y="2826010"/>
            <a:ext cx="177966" cy="177966"/>
          </a:xfrm>
          <a:custGeom>
            <a:avLst/>
            <a:gdLst>
              <a:gd name="T0" fmla="*/ 51 w 51"/>
              <a:gd name="T1" fmla="*/ 0 h 51"/>
              <a:gd name="T2" fmla="*/ 49 w 51"/>
              <a:gd name="T3" fmla="*/ 0 h 51"/>
              <a:gd name="T4" fmla="*/ 0 w 51"/>
              <a:gd name="T5" fmla="*/ 49 h 51"/>
              <a:gd name="T6" fmla="*/ 0 w 51"/>
              <a:gd name="T7" fmla="*/ 51 h 51"/>
              <a:gd name="T8" fmla="*/ 51 w 51"/>
              <a:gd name="T9" fmla="*/ 0 h 51"/>
            </a:gdLst>
            <a:ahLst/>
            <a:cxnLst>
              <a:cxn ang="0">
                <a:pos x="T0" y="T1"/>
              </a:cxn>
              <a:cxn ang="0">
                <a:pos x="T2" y="T3"/>
              </a:cxn>
              <a:cxn ang="0">
                <a:pos x="T4" y="T5"/>
              </a:cxn>
              <a:cxn ang="0">
                <a:pos x="T6" y="T7"/>
              </a:cxn>
              <a:cxn ang="0">
                <a:pos x="T8" y="T9"/>
              </a:cxn>
            </a:cxnLst>
            <a:rect l="0" t="0" r="r" b="b"/>
            <a:pathLst>
              <a:path w="51" h="51">
                <a:moveTo>
                  <a:pt x="51" y="0"/>
                </a:moveTo>
                <a:cubicBezTo>
                  <a:pt x="51" y="0"/>
                  <a:pt x="50" y="0"/>
                  <a:pt x="49" y="0"/>
                </a:cubicBezTo>
                <a:cubicBezTo>
                  <a:pt x="0" y="49"/>
                  <a:pt x="0" y="49"/>
                  <a:pt x="0" y="49"/>
                </a:cubicBezTo>
                <a:cubicBezTo>
                  <a:pt x="0" y="51"/>
                  <a:pt x="0" y="51"/>
                  <a:pt x="0" y="51"/>
                </a:cubicBezTo>
                <a:cubicBezTo>
                  <a:pt x="51" y="0"/>
                  <a:pt x="51" y="0"/>
                  <a:pt x="51" y="0"/>
                </a:cubicBezTo>
              </a:path>
            </a:pathLst>
          </a:custGeom>
          <a:solidFill>
            <a:srgbClr val="6582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13" name="Freeform 158">
            <a:extLst>
              <a:ext uri="{FF2B5EF4-FFF2-40B4-BE49-F238E27FC236}">
                <a16:creationId xmlns:a16="http://schemas.microsoft.com/office/drawing/2014/main" id="{EC5A7320-10FB-48F1-9AF3-5207AF4F48CD}"/>
              </a:ext>
            </a:extLst>
          </p:cNvPr>
          <p:cNvSpPr>
            <a:spLocks/>
          </p:cNvSpPr>
          <p:nvPr/>
        </p:nvSpPr>
        <p:spPr bwMode="auto">
          <a:xfrm>
            <a:off x="6624634" y="2795422"/>
            <a:ext cx="289196" cy="289196"/>
          </a:xfrm>
          <a:custGeom>
            <a:avLst/>
            <a:gdLst>
              <a:gd name="T0" fmla="*/ 83 w 83"/>
              <a:gd name="T1" fmla="*/ 0 h 83"/>
              <a:gd name="T2" fmla="*/ 81 w 83"/>
              <a:gd name="T3" fmla="*/ 1 h 83"/>
              <a:gd name="T4" fmla="*/ 0 w 83"/>
              <a:gd name="T5" fmla="*/ 81 h 83"/>
              <a:gd name="T6" fmla="*/ 0 w 83"/>
              <a:gd name="T7" fmla="*/ 83 h 83"/>
              <a:gd name="T8" fmla="*/ 83 w 83"/>
              <a:gd name="T9" fmla="*/ 0 h 83"/>
            </a:gdLst>
            <a:ahLst/>
            <a:cxnLst>
              <a:cxn ang="0">
                <a:pos x="T0" y="T1"/>
              </a:cxn>
              <a:cxn ang="0">
                <a:pos x="T2" y="T3"/>
              </a:cxn>
              <a:cxn ang="0">
                <a:pos x="T4" y="T5"/>
              </a:cxn>
              <a:cxn ang="0">
                <a:pos x="T6" y="T7"/>
              </a:cxn>
              <a:cxn ang="0">
                <a:pos x="T8" y="T9"/>
              </a:cxn>
            </a:cxnLst>
            <a:rect l="0" t="0" r="r" b="b"/>
            <a:pathLst>
              <a:path w="83" h="83">
                <a:moveTo>
                  <a:pt x="83" y="0"/>
                </a:moveTo>
                <a:cubicBezTo>
                  <a:pt x="82" y="1"/>
                  <a:pt x="82" y="1"/>
                  <a:pt x="81" y="1"/>
                </a:cubicBezTo>
                <a:cubicBezTo>
                  <a:pt x="0" y="81"/>
                  <a:pt x="0" y="81"/>
                  <a:pt x="0" y="81"/>
                </a:cubicBezTo>
                <a:cubicBezTo>
                  <a:pt x="0" y="83"/>
                  <a:pt x="0" y="83"/>
                  <a:pt x="0" y="83"/>
                </a:cubicBezTo>
                <a:cubicBezTo>
                  <a:pt x="83" y="0"/>
                  <a:pt x="83" y="0"/>
                  <a:pt x="83" y="0"/>
                </a:cubicBezTo>
              </a:path>
            </a:pathLst>
          </a:custGeom>
          <a:solidFill>
            <a:srgbClr val="6582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14" name="Freeform 159">
            <a:extLst>
              <a:ext uri="{FF2B5EF4-FFF2-40B4-BE49-F238E27FC236}">
                <a16:creationId xmlns:a16="http://schemas.microsoft.com/office/drawing/2014/main" id="{553C9AE1-2D70-405C-9239-F6B7366110F1}"/>
              </a:ext>
            </a:extLst>
          </p:cNvPr>
          <p:cNvSpPr>
            <a:spLocks/>
          </p:cNvSpPr>
          <p:nvPr/>
        </p:nvSpPr>
        <p:spPr bwMode="auto">
          <a:xfrm>
            <a:off x="6624634" y="2778737"/>
            <a:ext cx="392083" cy="386522"/>
          </a:xfrm>
          <a:custGeom>
            <a:avLst/>
            <a:gdLst>
              <a:gd name="T0" fmla="*/ 112 w 112"/>
              <a:gd name="T1" fmla="*/ 0 h 111"/>
              <a:gd name="T2" fmla="*/ 110 w 112"/>
              <a:gd name="T3" fmla="*/ 0 h 111"/>
              <a:gd name="T4" fmla="*/ 0 w 112"/>
              <a:gd name="T5" fmla="*/ 110 h 111"/>
              <a:gd name="T6" fmla="*/ 0 w 112"/>
              <a:gd name="T7" fmla="*/ 111 h 111"/>
              <a:gd name="T8" fmla="*/ 112 w 112"/>
              <a:gd name="T9" fmla="*/ 0 h 111"/>
            </a:gdLst>
            <a:ahLst/>
            <a:cxnLst>
              <a:cxn ang="0">
                <a:pos x="T0" y="T1"/>
              </a:cxn>
              <a:cxn ang="0">
                <a:pos x="T2" y="T3"/>
              </a:cxn>
              <a:cxn ang="0">
                <a:pos x="T4" y="T5"/>
              </a:cxn>
              <a:cxn ang="0">
                <a:pos x="T6" y="T7"/>
              </a:cxn>
              <a:cxn ang="0">
                <a:pos x="T8" y="T9"/>
              </a:cxn>
            </a:cxnLst>
            <a:rect l="0" t="0" r="r" b="b"/>
            <a:pathLst>
              <a:path w="112" h="111">
                <a:moveTo>
                  <a:pt x="112" y="0"/>
                </a:moveTo>
                <a:cubicBezTo>
                  <a:pt x="111" y="0"/>
                  <a:pt x="110" y="0"/>
                  <a:pt x="110" y="0"/>
                </a:cubicBezTo>
                <a:cubicBezTo>
                  <a:pt x="0" y="110"/>
                  <a:pt x="0" y="110"/>
                  <a:pt x="0" y="110"/>
                </a:cubicBezTo>
                <a:cubicBezTo>
                  <a:pt x="0" y="111"/>
                  <a:pt x="0" y="111"/>
                  <a:pt x="0" y="111"/>
                </a:cubicBezTo>
                <a:cubicBezTo>
                  <a:pt x="112" y="0"/>
                  <a:pt x="112" y="0"/>
                  <a:pt x="112" y="0"/>
                </a:cubicBezTo>
              </a:path>
            </a:pathLst>
          </a:custGeom>
          <a:solidFill>
            <a:srgbClr val="6582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15" name="Freeform 160">
            <a:extLst>
              <a:ext uri="{FF2B5EF4-FFF2-40B4-BE49-F238E27FC236}">
                <a16:creationId xmlns:a16="http://schemas.microsoft.com/office/drawing/2014/main" id="{5EC682C9-A64B-4C8B-A02E-7EE4AB745AA4}"/>
              </a:ext>
            </a:extLst>
          </p:cNvPr>
          <p:cNvSpPr>
            <a:spLocks/>
          </p:cNvSpPr>
          <p:nvPr/>
        </p:nvSpPr>
        <p:spPr bwMode="auto">
          <a:xfrm>
            <a:off x="6624634" y="2767614"/>
            <a:ext cx="481066" cy="481066"/>
          </a:xfrm>
          <a:custGeom>
            <a:avLst/>
            <a:gdLst>
              <a:gd name="T0" fmla="*/ 138 w 138"/>
              <a:gd name="T1" fmla="*/ 0 h 138"/>
              <a:gd name="T2" fmla="*/ 137 w 138"/>
              <a:gd name="T3" fmla="*/ 0 h 138"/>
              <a:gd name="T4" fmla="*/ 0 w 138"/>
              <a:gd name="T5" fmla="*/ 136 h 138"/>
              <a:gd name="T6" fmla="*/ 0 w 138"/>
              <a:gd name="T7" fmla="*/ 138 h 138"/>
              <a:gd name="T8" fmla="*/ 138 w 138"/>
              <a:gd name="T9" fmla="*/ 0 h 138"/>
            </a:gdLst>
            <a:ahLst/>
            <a:cxnLst>
              <a:cxn ang="0">
                <a:pos x="T0" y="T1"/>
              </a:cxn>
              <a:cxn ang="0">
                <a:pos x="T2" y="T3"/>
              </a:cxn>
              <a:cxn ang="0">
                <a:pos x="T4" y="T5"/>
              </a:cxn>
              <a:cxn ang="0">
                <a:pos x="T6" y="T7"/>
              </a:cxn>
              <a:cxn ang="0">
                <a:pos x="T8" y="T9"/>
              </a:cxn>
            </a:cxnLst>
            <a:rect l="0" t="0" r="r" b="b"/>
            <a:pathLst>
              <a:path w="138" h="138">
                <a:moveTo>
                  <a:pt x="138" y="0"/>
                </a:moveTo>
                <a:cubicBezTo>
                  <a:pt x="138" y="0"/>
                  <a:pt x="137" y="0"/>
                  <a:pt x="137" y="0"/>
                </a:cubicBezTo>
                <a:cubicBezTo>
                  <a:pt x="0" y="136"/>
                  <a:pt x="0" y="136"/>
                  <a:pt x="0" y="136"/>
                </a:cubicBezTo>
                <a:cubicBezTo>
                  <a:pt x="0" y="138"/>
                  <a:pt x="0" y="138"/>
                  <a:pt x="0" y="138"/>
                </a:cubicBezTo>
                <a:cubicBezTo>
                  <a:pt x="138" y="0"/>
                  <a:pt x="138" y="0"/>
                  <a:pt x="138" y="0"/>
                </a:cubicBezTo>
              </a:path>
            </a:pathLst>
          </a:custGeom>
          <a:solidFill>
            <a:srgbClr val="6582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16" name="Freeform 161">
            <a:extLst>
              <a:ext uri="{FF2B5EF4-FFF2-40B4-BE49-F238E27FC236}">
                <a16:creationId xmlns:a16="http://schemas.microsoft.com/office/drawing/2014/main" id="{9722D49F-4C6D-4A84-9D10-F94DD1404660}"/>
              </a:ext>
            </a:extLst>
          </p:cNvPr>
          <p:cNvSpPr>
            <a:spLocks/>
          </p:cNvSpPr>
          <p:nvPr/>
        </p:nvSpPr>
        <p:spPr bwMode="auto">
          <a:xfrm>
            <a:off x="6624634" y="2762053"/>
            <a:ext cx="570050" cy="567269"/>
          </a:xfrm>
          <a:custGeom>
            <a:avLst/>
            <a:gdLst>
              <a:gd name="T0" fmla="*/ 163 w 163"/>
              <a:gd name="T1" fmla="*/ 0 h 163"/>
              <a:gd name="T2" fmla="*/ 162 w 163"/>
              <a:gd name="T3" fmla="*/ 0 h 163"/>
              <a:gd name="T4" fmla="*/ 0 w 163"/>
              <a:gd name="T5" fmla="*/ 161 h 163"/>
              <a:gd name="T6" fmla="*/ 0 w 163"/>
              <a:gd name="T7" fmla="*/ 163 h 163"/>
              <a:gd name="T8" fmla="*/ 163 w 163"/>
              <a:gd name="T9" fmla="*/ 0 h 163"/>
            </a:gdLst>
            <a:ahLst/>
            <a:cxnLst>
              <a:cxn ang="0">
                <a:pos x="T0" y="T1"/>
              </a:cxn>
              <a:cxn ang="0">
                <a:pos x="T2" y="T3"/>
              </a:cxn>
              <a:cxn ang="0">
                <a:pos x="T4" y="T5"/>
              </a:cxn>
              <a:cxn ang="0">
                <a:pos x="T6" y="T7"/>
              </a:cxn>
              <a:cxn ang="0">
                <a:pos x="T8" y="T9"/>
              </a:cxn>
            </a:cxnLst>
            <a:rect l="0" t="0" r="r" b="b"/>
            <a:pathLst>
              <a:path w="163" h="163">
                <a:moveTo>
                  <a:pt x="163" y="0"/>
                </a:moveTo>
                <a:cubicBezTo>
                  <a:pt x="163" y="0"/>
                  <a:pt x="162" y="0"/>
                  <a:pt x="162" y="0"/>
                </a:cubicBezTo>
                <a:cubicBezTo>
                  <a:pt x="0" y="161"/>
                  <a:pt x="0" y="161"/>
                  <a:pt x="0" y="161"/>
                </a:cubicBezTo>
                <a:cubicBezTo>
                  <a:pt x="0" y="163"/>
                  <a:pt x="0" y="163"/>
                  <a:pt x="0" y="163"/>
                </a:cubicBezTo>
                <a:cubicBezTo>
                  <a:pt x="163" y="0"/>
                  <a:pt x="163" y="0"/>
                  <a:pt x="163" y="0"/>
                </a:cubicBezTo>
              </a:path>
            </a:pathLst>
          </a:custGeom>
          <a:solidFill>
            <a:srgbClr val="6582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17" name="Freeform 162">
            <a:extLst>
              <a:ext uri="{FF2B5EF4-FFF2-40B4-BE49-F238E27FC236}">
                <a16:creationId xmlns:a16="http://schemas.microsoft.com/office/drawing/2014/main" id="{5A03F58E-15AC-4755-A0EB-FCCF21B1E87D}"/>
              </a:ext>
            </a:extLst>
          </p:cNvPr>
          <p:cNvSpPr>
            <a:spLocks/>
          </p:cNvSpPr>
          <p:nvPr/>
        </p:nvSpPr>
        <p:spPr bwMode="auto">
          <a:xfrm>
            <a:off x="6624634" y="2756492"/>
            <a:ext cx="653471" cy="653471"/>
          </a:xfrm>
          <a:custGeom>
            <a:avLst/>
            <a:gdLst>
              <a:gd name="T0" fmla="*/ 186 w 187"/>
              <a:gd name="T1" fmla="*/ 0 h 187"/>
              <a:gd name="T2" fmla="*/ 0 w 187"/>
              <a:gd name="T3" fmla="*/ 186 h 187"/>
              <a:gd name="T4" fmla="*/ 0 w 187"/>
              <a:gd name="T5" fmla="*/ 187 h 187"/>
              <a:gd name="T6" fmla="*/ 187 w 187"/>
              <a:gd name="T7" fmla="*/ 0 h 187"/>
              <a:gd name="T8" fmla="*/ 186 w 187"/>
              <a:gd name="T9" fmla="*/ 0 h 187"/>
            </a:gdLst>
            <a:ahLst/>
            <a:cxnLst>
              <a:cxn ang="0">
                <a:pos x="T0" y="T1"/>
              </a:cxn>
              <a:cxn ang="0">
                <a:pos x="T2" y="T3"/>
              </a:cxn>
              <a:cxn ang="0">
                <a:pos x="T4" y="T5"/>
              </a:cxn>
              <a:cxn ang="0">
                <a:pos x="T6" y="T7"/>
              </a:cxn>
              <a:cxn ang="0">
                <a:pos x="T8" y="T9"/>
              </a:cxn>
            </a:cxnLst>
            <a:rect l="0" t="0" r="r" b="b"/>
            <a:pathLst>
              <a:path w="187" h="187">
                <a:moveTo>
                  <a:pt x="186" y="0"/>
                </a:moveTo>
                <a:cubicBezTo>
                  <a:pt x="0" y="186"/>
                  <a:pt x="0" y="186"/>
                  <a:pt x="0" y="186"/>
                </a:cubicBezTo>
                <a:cubicBezTo>
                  <a:pt x="0" y="187"/>
                  <a:pt x="0" y="187"/>
                  <a:pt x="0" y="187"/>
                </a:cubicBezTo>
                <a:cubicBezTo>
                  <a:pt x="187" y="0"/>
                  <a:pt x="187" y="0"/>
                  <a:pt x="187" y="0"/>
                </a:cubicBezTo>
                <a:cubicBezTo>
                  <a:pt x="187" y="0"/>
                  <a:pt x="186" y="0"/>
                  <a:pt x="186" y="0"/>
                </a:cubicBezTo>
              </a:path>
            </a:pathLst>
          </a:custGeom>
          <a:solidFill>
            <a:srgbClr val="6582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18" name="Freeform 163">
            <a:extLst>
              <a:ext uri="{FF2B5EF4-FFF2-40B4-BE49-F238E27FC236}">
                <a16:creationId xmlns:a16="http://schemas.microsoft.com/office/drawing/2014/main" id="{5902C8BF-0DF2-467B-B0A9-B7AAC24A53FE}"/>
              </a:ext>
            </a:extLst>
          </p:cNvPr>
          <p:cNvSpPr>
            <a:spLocks/>
          </p:cNvSpPr>
          <p:nvPr/>
        </p:nvSpPr>
        <p:spPr bwMode="auto">
          <a:xfrm>
            <a:off x="6663564" y="2762053"/>
            <a:ext cx="695183" cy="686840"/>
          </a:xfrm>
          <a:custGeom>
            <a:avLst/>
            <a:gdLst>
              <a:gd name="T0" fmla="*/ 197 w 199"/>
              <a:gd name="T1" fmla="*/ 0 h 197"/>
              <a:gd name="T2" fmla="*/ 0 w 199"/>
              <a:gd name="T3" fmla="*/ 197 h 197"/>
              <a:gd name="T4" fmla="*/ 2 w 199"/>
              <a:gd name="T5" fmla="*/ 197 h 197"/>
              <a:gd name="T6" fmla="*/ 199 w 199"/>
              <a:gd name="T7" fmla="*/ 0 h 197"/>
              <a:gd name="T8" fmla="*/ 197 w 199"/>
              <a:gd name="T9" fmla="*/ 0 h 197"/>
            </a:gdLst>
            <a:ahLst/>
            <a:cxnLst>
              <a:cxn ang="0">
                <a:pos x="T0" y="T1"/>
              </a:cxn>
              <a:cxn ang="0">
                <a:pos x="T2" y="T3"/>
              </a:cxn>
              <a:cxn ang="0">
                <a:pos x="T4" y="T5"/>
              </a:cxn>
              <a:cxn ang="0">
                <a:pos x="T6" y="T7"/>
              </a:cxn>
              <a:cxn ang="0">
                <a:pos x="T8" y="T9"/>
              </a:cxn>
            </a:cxnLst>
            <a:rect l="0" t="0" r="r" b="b"/>
            <a:pathLst>
              <a:path w="199" h="197">
                <a:moveTo>
                  <a:pt x="197" y="0"/>
                </a:moveTo>
                <a:cubicBezTo>
                  <a:pt x="0" y="197"/>
                  <a:pt x="0" y="197"/>
                  <a:pt x="0" y="197"/>
                </a:cubicBezTo>
                <a:cubicBezTo>
                  <a:pt x="2" y="197"/>
                  <a:pt x="2" y="197"/>
                  <a:pt x="2" y="197"/>
                </a:cubicBezTo>
                <a:cubicBezTo>
                  <a:pt x="199" y="0"/>
                  <a:pt x="199" y="0"/>
                  <a:pt x="199" y="0"/>
                </a:cubicBezTo>
                <a:cubicBezTo>
                  <a:pt x="198" y="0"/>
                  <a:pt x="198" y="0"/>
                  <a:pt x="197" y="0"/>
                </a:cubicBezTo>
              </a:path>
            </a:pathLst>
          </a:custGeom>
          <a:solidFill>
            <a:srgbClr val="6582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19" name="Freeform 164">
            <a:extLst>
              <a:ext uri="{FF2B5EF4-FFF2-40B4-BE49-F238E27FC236}">
                <a16:creationId xmlns:a16="http://schemas.microsoft.com/office/drawing/2014/main" id="{ECE9A710-6881-4DED-8567-E5CA3DC58F8B}"/>
              </a:ext>
            </a:extLst>
          </p:cNvPr>
          <p:cNvSpPr>
            <a:spLocks/>
          </p:cNvSpPr>
          <p:nvPr/>
        </p:nvSpPr>
        <p:spPr bwMode="auto">
          <a:xfrm>
            <a:off x="6746986" y="2767614"/>
            <a:ext cx="684060" cy="681279"/>
          </a:xfrm>
          <a:custGeom>
            <a:avLst/>
            <a:gdLst>
              <a:gd name="T0" fmla="*/ 195 w 196"/>
              <a:gd name="T1" fmla="*/ 0 h 195"/>
              <a:gd name="T2" fmla="*/ 0 w 196"/>
              <a:gd name="T3" fmla="*/ 195 h 195"/>
              <a:gd name="T4" fmla="*/ 1 w 196"/>
              <a:gd name="T5" fmla="*/ 195 h 195"/>
              <a:gd name="T6" fmla="*/ 196 w 196"/>
              <a:gd name="T7" fmla="*/ 0 h 195"/>
              <a:gd name="T8" fmla="*/ 195 w 196"/>
              <a:gd name="T9" fmla="*/ 0 h 195"/>
            </a:gdLst>
            <a:ahLst/>
            <a:cxnLst>
              <a:cxn ang="0">
                <a:pos x="T0" y="T1"/>
              </a:cxn>
              <a:cxn ang="0">
                <a:pos x="T2" y="T3"/>
              </a:cxn>
              <a:cxn ang="0">
                <a:pos x="T4" y="T5"/>
              </a:cxn>
              <a:cxn ang="0">
                <a:pos x="T6" y="T7"/>
              </a:cxn>
              <a:cxn ang="0">
                <a:pos x="T8" y="T9"/>
              </a:cxn>
            </a:cxnLst>
            <a:rect l="0" t="0" r="r" b="b"/>
            <a:pathLst>
              <a:path w="196" h="195">
                <a:moveTo>
                  <a:pt x="195" y="0"/>
                </a:moveTo>
                <a:cubicBezTo>
                  <a:pt x="0" y="195"/>
                  <a:pt x="0" y="195"/>
                  <a:pt x="0" y="195"/>
                </a:cubicBezTo>
                <a:cubicBezTo>
                  <a:pt x="1" y="195"/>
                  <a:pt x="1" y="195"/>
                  <a:pt x="1" y="195"/>
                </a:cubicBezTo>
                <a:cubicBezTo>
                  <a:pt x="196" y="0"/>
                  <a:pt x="196" y="0"/>
                  <a:pt x="196" y="0"/>
                </a:cubicBezTo>
                <a:cubicBezTo>
                  <a:pt x="196" y="0"/>
                  <a:pt x="195" y="0"/>
                  <a:pt x="195" y="0"/>
                </a:cubicBezTo>
              </a:path>
            </a:pathLst>
          </a:custGeom>
          <a:solidFill>
            <a:srgbClr val="6582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20" name="Freeform 165">
            <a:extLst>
              <a:ext uri="{FF2B5EF4-FFF2-40B4-BE49-F238E27FC236}">
                <a16:creationId xmlns:a16="http://schemas.microsoft.com/office/drawing/2014/main" id="{734E65EC-CCAD-4DEC-80BF-2B7B5D6B4A27}"/>
              </a:ext>
            </a:extLst>
          </p:cNvPr>
          <p:cNvSpPr>
            <a:spLocks/>
          </p:cNvSpPr>
          <p:nvPr/>
        </p:nvSpPr>
        <p:spPr bwMode="auto">
          <a:xfrm>
            <a:off x="6827628" y="2775957"/>
            <a:ext cx="675717" cy="672937"/>
          </a:xfrm>
          <a:custGeom>
            <a:avLst/>
            <a:gdLst>
              <a:gd name="T0" fmla="*/ 192 w 194"/>
              <a:gd name="T1" fmla="*/ 0 h 193"/>
              <a:gd name="T2" fmla="*/ 0 w 194"/>
              <a:gd name="T3" fmla="*/ 193 h 193"/>
              <a:gd name="T4" fmla="*/ 1 w 194"/>
              <a:gd name="T5" fmla="*/ 193 h 193"/>
              <a:gd name="T6" fmla="*/ 194 w 194"/>
              <a:gd name="T7" fmla="*/ 1 h 193"/>
              <a:gd name="T8" fmla="*/ 192 w 194"/>
              <a:gd name="T9" fmla="*/ 0 h 193"/>
            </a:gdLst>
            <a:ahLst/>
            <a:cxnLst>
              <a:cxn ang="0">
                <a:pos x="T0" y="T1"/>
              </a:cxn>
              <a:cxn ang="0">
                <a:pos x="T2" y="T3"/>
              </a:cxn>
              <a:cxn ang="0">
                <a:pos x="T4" y="T5"/>
              </a:cxn>
              <a:cxn ang="0">
                <a:pos x="T6" y="T7"/>
              </a:cxn>
              <a:cxn ang="0">
                <a:pos x="T8" y="T9"/>
              </a:cxn>
            </a:cxnLst>
            <a:rect l="0" t="0" r="r" b="b"/>
            <a:pathLst>
              <a:path w="194" h="193">
                <a:moveTo>
                  <a:pt x="192" y="0"/>
                </a:moveTo>
                <a:cubicBezTo>
                  <a:pt x="0" y="193"/>
                  <a:pt x="0" y="193"/>
                  <a:pt x="0" y="193"/>
                </a:cubicBezTo>
                <a:cubicBezTo>
                  <a:pt x="1" y="193"/>
                  <a:pt x="1" y="193"/>
                  <a:pt x="1" y="193"/>
                </a:cubicBezTo>
                <a:cubicBezTo>
                  <a:pt x="194" y="1"/>
                  <a:pt x="194" y="1"/>
                  <a:pt x="194" y="1"/>
                </a:cubicBezTo>
                <a:cubicBezTo>
                  <a:pt x="193" y="0"/>
                  <a:pt x="193" y="0"/>
                  <a:pt x="192" y="0"/>
                </a:cubicBezTo>
              </a:path>
            </a:pathLst>
          </a:custGeom>
          <a:solidFill>
            <a:srgbClr val="6582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21" name="Freeform 166">
            <a:extLst>
              <a:ext uri="{FF2B5EF4-FFF2-40B4-BE49-F238E27FC236}">
                <a16:creationId xmlns:a16="http://schemas.microsoft.com/office/drawing/2014/main" id="{5BB8614B-E820-40D8-96D0-B9CE7D03C334}"/>
              </a:ext>
            </a:extLst>
          </p:cNvPr>
          <p:cNvSpPr>
            <a:spLocks/>
          </p:cNvSpPr>
          <p:nvPr/>
        </p:nvSpPr>
        <p:spPr bwMode="auto">
          <a:xfrm>
            <a:off x="6908269" y="2812106"/>
            <a:ext cx="634007" cy="636787"/>
          </a:xfrm>
          <a:custGeom>
            <a:avLst/>
            <a:gdLst>
              <a:gd name="T0" fmla="*/ 182 w 182"/>
              <a:gd name="T1" fmla="*/ 0 h 182"/>
              <a:gd name="T2" fmla="*/ 0 w 182"/>
              <a:gd name="T3" fmla="*/ 182 h 182"/>
              <a:gd name="T4" fmla="*/ 2 w 182"/>
              <a:gd name="T5" fmla="*/ 182 h 182"/>
              <a:gd name="T6" fmla="*/ 182 w 182"/>
              <a:gd name="T7" fmla="*/ 2 h 182"/>
              <a:gd name="T8" fmla="*/ 182 w 182"/>
              <a:gd name="T9" fmla="*/ 0 h 182"/>
            </a:gdLst>
            <a:ahLst/>
            <a:cxnLst>
              <a:cxn ang="0">
                <a:pos x="T0" y="T1"/>
              </a:cxn>
              <a:cxn ang="0">
                <a:pos x="T2" y="T3"/>
              </a:cxn>
              <a:cxn ang="0">
                <a:pos x="T4" y="T5"/>
              </a:cxn>
              <a:cxn ang="0">
                <a:pos x="T6" y="T7"/>
              </a:cxn>
              <a:cxn ang="0">
                <a:pos x="T8" y="T9"/>
              </a:cxn>
            </a:cxnLst>
            <a:rect l="0" t="0" r="r" b="b"/>
            <a:pathLst>
              <a:path w="182" h="182">
                <a:moveTo>
                  <a:pt x="182" y="0"/>
                </a:moveTo>
                <a:cubicBezTo>
                  <a:pt x="0" y="182"/>
                  <a:pt x="0" y="182"/>
                  <a:pt x="0" y="182"/>
                </a:cubicBezTo>
                <a:cubicBezTo>
                  <a:pt x="2" y="182"/>
                  <a:pt x="2" y="182"/>
                  <a:pt x="2" y="182"/>
                </a:cubicBezTo>
                <a:cubicBezTo>
                  <a:pt x="182" y="2"/>
                  <a:pt x="182" y="2"/>
                  <a:pt x="182" y="2"/>
                </a:cubicBezTo>
                <a:cubicBezTo>
                  <a:pt x="182" y="1"/>
                  <a:pt x="182" y="1"/>
                  <a:pt x="182" y="0"/>
                </a:cubicBezTo>
              </a:path>
            </a:pathLst>
          </a:custGeom>
          <a:solidFill>
            <a:srgbClr val="6582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22" name="Freeform 167">
            <a:extLst>
              <a:ext uri="{FF2B5EF4-FFF2-40B4-BE49-F238E27FC236}">
                <a16:creationId xmlns:a16="http://schemas.microsoft.com/office/drawing/2014/main" id="{A3980451-8D04-468F-9C8A-A845AA5777C1}"/>
              </a:ext>
            </a:extLst>
          </p:cNvPr>
          <p:cNvSpPr>
            <a:spLocks/>
          </p:cNvSpPr>
          <p:nvPr/>
        </p:nvSpPr>
        <p:spPr bwMode="auto">
          <a:xfrm>
            <a:off x="6988910" y="2892748"/>
            <a:ext cx="556147" cy="556147"/>
          </a:xfrm>
          <a:custGeom>
            <a:avLst/>
            <a:gdLst>
              <a:gd name="T0" fmla="*/ 160 w 160"/>
              <a:gd name="T1" fmla="*/ 0 h 159"/>
              <a:gd name="T2" fmla="*/ 0 w 160"/>
              <a:gd name="T3" fmla="*/ 159 h 159"/>
              <a:gd name="T4" fmla="*/ 2 w 160"/>
              <a:gd name="T5" fmla="*/ 159 h 159"/>
              <a:gd name="T6" fmla="*/ 160 w 160"/>
              <a:gd name="T7" fmla="*/ 1 h 159"/>
              <a:gd name="T8" fmla="*/ 160 w 160"/>
              <a:gd name="T9" fmla="*/ 0 h 159"/>
            </a:gdLst>
            <a:ahLst/>
            <a:cxnLst>
              <a:cxn ang="0">
                <a:pos x="T0" y="T1"/>
              </a:cxn>
              <a:cxn ang="0">
                <a:pos x="T2" y="T3"/>
              </a:cxn>
              <a:cxn ang="0">
                <a:pos x="T4" y="T5"/>
              </a:cxn>
              <a:cxn ang="0">
                <a:pos x="T6" y="T7"/>
              </a:cxn>
              <a:cxn ang="0">
                <a:pos x="T8" y="T9"/>
              </a:cxn>
            </a:cxnLst>
            <a:rect l="0" t="0" r="r" b="b"/>
            <a:pathLst>
              <a:path w="160" h="159">
                <a:moveTo>
                  <a:pt x="160" y="0"/>
                </a:moveTo>
                <a:cubicBezTo>
                  <a:pt x="0" y="159"/>
                  <a:pt x="0" y="159"/>
                  <a:pt x="0" y="159"/>
                </a:cubicBezTo>
                <a:cubicBezTo>
                  <a:pt x="2" y="159"/>
                  <a:pt x="2" y="159"/>
                  <a:pt x="2" y="159"/>
                </a:cubicBezTo>
                <a:cubicBezTo>
                  <a:pt x="160" y="1"/>
                  <a:pt x="160" y="1"/>
                  <a:pt x="160" y="1"/>
                </a:cubicBezTo>
                <a:cubicBezTo>
                  <a:pt x="160" y="1"/>
                  <a:pt x="160" y="0"/>
                  <a:pt x="160" y="0"/>
                </a:cubicBezTo>
              </a:path>
            </a:pathLst>
          </a:custGeom>
          <a:solidFill>
            <a:srgbClr val="6582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23" name="Freeform 168">
            <a:extLst>
              <a:ext uri="{FF2B5EF4-FFF2-40B4-BE49-F238E27FC236}">
                <a16:creationId xmlns:a16="http://schemas.microsoft.com/office/drawing/2014/main" id="{11CD78A2-FB94-4131-8045-F4962D58A2E6}"/>
              </a:ext>
            </a:extLst>
          </p:cNvPr>
          <p:cNvSpPr>
            <a:spLocks/>
          </p:cNvSpPr>
          <p:nvPr/>
        </p:nvSpPr>
        <p:spPr bwMode="auto">
          <a:xfrm>
            <a:off x="7072331" y="2973388"/>
            <a:ext cx="469943" cy="475505"/>
          </a:xfrm>
          <a:custGeom>
            <a:avLst/>
            <a:gdLst>
              <a:gd name="T0" fmla="*/ 135 w 135"/>
              <a:gd name="T1" fmla="*/ 0 h 136"/>
              <a:gd name="T2" fmla="*/ 0 w 135"/>
              <a:gd name="T3" fmla="*/ 136 h 136"/>
              <a:gd name="T4" fmla="*/ 1 w 135"/>
              <a:gd name="T5" fmla="*/ 136 h 136"/>
              <a:gd name="T6" fmla="*/ 135 w 135"/>
              <a:gd name="T7" fmla="*/ 2 h 136"/>
              <a:gd name="T8" fmla="*/ 135 w 135"/>
              <a:gd name="T9" fmla="*/ 0 h 136"/>
            </a:gdLst>
            <a:ahLst/>
            <a:cxnLst>
              <a:cxn ang="0">
                <a:pos x="T0" y="T1"/>
              </a:cxn>
              <a:cxn ang="0">
                <a:pos x="T2" y="T3"/>
              </a:cxn>
              <a:cxn ang="0">
                <a:pos x="T4" y="T5"/>
              </a:cxn>
              <a:cxn ang="0">
                <a:pos x="T6" y="T7"/>
              </a:cxn>
              <a:cxn ang="0">
                <a:pos x="T8" y="T9"/>
              </a:cxn>
            </a:cxnLst>
            <a:rect l="0" t="0" r="r" b="b"/>
            <a:pathLst>
              <a:path w="135" h="136">
                <a:moveTo>
                  <a:pt x="135" y="0"/>
                </a:moveTo>
                <a:cubicBezTo>
                  <a:pt x="0" y="136"/>
                  <a:pt x="0" y="136"/>
                  <a:pt x="0" y="136"/>
                </a:cubicBezTo>
                <a:cubicBezTo>
                  <a:pt x="1" y="136"/>
                  <a:pt x="1" y="136"/>
                  <a:pt x="1" y="136"/>
                </a:cubicBezTo>
                <a:cubicBezTo>
                  <a:pt x="135" y="2"/>
                  <a:pt x="135" y="2"/>
                  <a:pt x="135" y="2"/>
                </a:cubicBezTo>
                <a:cubicBezTo>
                  <a:pt x="135" y="1"/>
                  <a:pt x="135" y="1"/>
                  <a:pt x="135" y="0"/>
                </a:cubicBezTo>
              </a:path>
            </a:pathLst>
          </a:custGeom>
          <a:solidFill>
            <a:srgbClr val="6582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24" name="Freeform 169">
            <a:extLst>
              <a:ext uri="{FF2B5EF4-FFF2-40B4-BE49-F238E27FC236}">
                <a16:creationId xmlns:a16="http://schemas.microsoft.com/office/drawing/2014/main" id="{DA5944DB-0C39-4654-8922-102087E73966}"/>
              </a:ext>
            </a:extLst>
          </p:cNvPr>
          <p:cNvSpPr>
            <a:spLocks/>
          </p:cNvSpPr>
          <p:nvPr/>
        </p:nvSpPr>
        <p:spPr bwMode="auto">
          <a:xfrm>
            <a:off x="7152973" y="3065153"/>
            <a:ext cx="383740" cy="383740"/>
          </a:xfrm>
          <a:custGeom>
            <a:avLst/>
            <a:gdLst>
              <a:gd name="T0" fmla="*/ 110 w 110"/>
              <a:gd name="T1" fmla="*/ 0 h 110"/>
              <a:gd name="T2" fmla="*/ 0 w 110"/>
              <a:gd name="T3" fmla="*/ 110 h 110"/>
              <a:gd name="T4" fmla="*/ 2 w 110"/>
              <a:gd name="T5" fmla="*/ 110 h 110"/>
              <a:gd name="T6" fmla="*/ 110 w 110"/>
              <a:gd name="T7" fmla="*/ 1 h 110"/>
              <a:gd name="T8" fmla="*/ 110 w 110"/>
              <a:gd name="T9" fmla="*/ 0 h 110"/>
            </a:gdLst>
            <a:ahLst/>
            <a:cxnLst>
              <a:cxn ang="0">
                <a:pos x="T0" y="T1"/>
              </a:cxn>
              <a:cxn ang="0">
                <a:pos x="T2" y="T3"/>
              </a:cxn>
              <a:cxn ang="0">
                <a:pos x="T4" y="T5"/>
              </a:cxn>
              <a:cxn ang="0">
                <a:pos x="T6" y="T7"/>
              </a:cxn>
              <a:cxn ang="0">
                <a:pos x="T8" y="T9"/>
              </a:cxn>
            </a:cxnLst>
            <a:rect l="0" t="0" r="r" b="b"/>
            <a:pathLst>
              <a:path w="110" h="110">
                <a:moveTo>
                  <a:pt x="110" y="0"/>
                </a:moveTo>
                <a:cubicBezTo>
                  <a:pt x="0" y="110"/>
                  <a:pt x="0" y="110"/>
                  <a:pt x="0" y="110"/>
                </a:cubicBezTo>
                <a:cubicBezTo>
                  <a:pt x="2" y="110"/>
                  <a:pt x="2" y="110"/>
                  <a:pt x="2" y="110"/>
                </a:cubicBezTo>
                <a:cubicBezTo>
                  <a:pt x="110" y="1"/>
                  <a:pt x="110" y="1"/>
                  <a:pt x="110" y="1"/>
                </a:cubicBezTo>
                <a:cubicBezTo>
                  <a:pt x="110" y="1"/>
                  <a:pt x="110" y="0"/>
                  <a:pt x="110" y="0"/>
                </a:cubicBezTo>
              </a:path>
            </a:pathLst>
          </a:custGeom>
          <a:solidFill>
            <a:srgbClr val="6582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25" name="Freeform 170">
            <a:extLst>
              <a:ext uri="{FF2B5EF4-FFF2-40B4-BE49-F238E27FC236}">
                <a16:creationId xmlns:a16="http://schemas.microsoft.com/office/drawing/2014/main" id="{72CECC68-1424-4D73-9B0B-88C1D2559594}"/>
              </a:ext>
            </a:extLst>
          </p:cNvPr>
          <p:cNvSpPr>
            <a:spLocks/>
          </p:cNvSpPr>
          <p:nvPr/>
        </p:nvSpPr>
        <p:spPr bwMode="auto">
          <a:xfrm>
            <a:off x="7230833" y="3159697"/>
            <a:ext cx="294757" cy="289196"/>
          </a:xfrm>
          <a:custGeom>
            <a:avLst/>
            <a:gdLst>
              <a:gd name="T0" fmla="*/ 84 w 84"/>
              <a:gd name="T1" fmla="*/ 0 h 83"/>
              <a:gd name="T2" fmla="*/ 0 w 84"/>
              <a:gd name="T3" fmla="*/ 83 h 83"/>
              <a:gd name="T4" fmla="*/ 2 w 84"/>
              <a:gd name="T5" fmla="*/ 83 h 83"/>
              <a:gd name="T6" fmla="*/ 83 w 84"/>
              <a:gd name="T7" fmla="*/ 2 h 83"/>
              <a:gd name="T8" fmla="*/ 84 w 84"/>
              <a:gd name="T9" fmla="*/ 0 h 83"/>
            </a:gdLst>
            <a:ahLst/>
            <a:cxnLst>
              <a:cxn ang="0">
                <a:pos x="T0" y="T1"/>
              </a:cxn>
              <a:cxn ang="0">
                <a:pos x="T2" y="T3"/>
              </a:cxn>
              <a:cxn ang="0">
                <a:pos x="T4" y="T5"/>
              </a:cxn>
              <a:cxn ang="0">
                <a:pos x="T6" y="T7"/>
              </a:cxn>
              <a:cxn ang="0">
                <a:pos x="T8" y="T9"/>
              </a:cxn>
            </a:cxnLst>
            <a:rect l="0" t="0" r="r" b="b"/>
            <a:pathLst>
              <a:path w="84" h="83">
                <a:moveTo>
                  <a:pt x="84" y="0"/>
                </a:moveTo>
                <a:cubicBezTo>
                  <a:pt x="0" y="83"/>
                  <a:pt x="0" y="83"/>
                  <a:pt x="0" y="83"/>
                </a:cubicBezTo>
                <a:cubicBezTo>
                  <a:pt x="2" y="83"/>
                  <a:pt x="2" y="83"/>
                  <a:pt x="2" y="83"/>
                </a:cubicBezTo>
                <a:cubicBezTo>
                  <a:pt x="83" y="2"/>
                  <a:pt x="83" y="2"/>
                  <a:pt x="83" y="2"/>
                </a:cubicBezTo>
                <a:cubicBezTo>
                  <a:pt x="83" y="1"/>
                  <a:pt x="83" y="0"/>
                  <a:pt x="84" y="0"/>
                </a:cubicBezTo>
              </a:path>
            </a:pathLst>
          </a:custGeom>
          <a:solidFill>
            <a:srgbClr val="6582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26" name="Freeform 171">
            <a:extLst>
              <a:ext uri="{FF2B5EF4-FFF2-40B4-BE49-F238E27FC236}">
                <a16:creationId xmlns:a16="http://schemas.microsoft.com/office/drawing/2014/main" id="{A431E07F-B941-4CE4-AC07-11B90CD71B93}"/>
              </a:ext>
            </a:extLst>
          </p:cNvPr>
          <p:cNvSpPr>
            <a:spLocks/>
          </p:cNvSpPr>
          <p:nvPr/>
        </p:nvSpPr>
        <p:spPr bwMode="auto">
          <a:xfrm>
            <a:off x="7317037" y="3259804"/>
            <a:ext cx="183528" cy="189089"/>
          </a:xfrm>
          <a:custGeom>
            <a:avLst/>
            <a:gdLst>
              <a:gd name="T0" fmla="*/ 53 w 53"/>
              <a:gd name="T1" fmla="*/ 0 h 54"/>
              <a:gd name="T2" fmla="*/ 0 w 53"/>
              <a:gd name="T3" fmla="*/ 54 h 54"/>
              <a:gd name="T4" fmla="*/ 1 w 53"/>
              <a:gd name="T5" fmla="*/ 54 h 54"/>
              <a:gd name="T6" fmla="*/ 53 w 53"/>
              <a:gd name="T7" fmla="*/ 2 h 54"/>
              <a:gd name="T8" fmla="*/ 53 w 53"/>
              <a:gd name="T9" fmla="*/ 0 h 54"/>
            </a:gdLst>
            <a:ahLst/>
            <a:cxnLst>
              <a:cxn ang="0">
                <a:pos x="T0" y="T1"/>
              </a:cxn>
              <a:cxn ang="0">
                <a:pos x="T2" y="T3"/>
              </a:cxn>
              <a:cxn ang="0">
                <a:pos x="T4" y="T5"/>
              </a:cxn>
              <a:cxn ang="0">
                <a:pos x="T6" y="T7"/>
              </a:cxn>
              <a:cxn ang="0">
                <a:pos x="T8" y="T9"/>
              </a:cxn>
            </a:cxnLst>
            <a:rect l="0" t="0" r="r" b="b"/>
            <a:pathLst>
              <a:path w="53" h="54">
                <a:moveTo>
                  <a:pt x="53" y="0"/>
                </a:moveTo>
                <a:cubicBezTo>
                  <a:pt x="0" y="54"/>
                  <a:pt x="0" y="54"/>
                  <a:pt x="0" y="54"/>
                </a:cubicBezTo>
                <a:cubicBezTo>
                  <a:pt x="1" y="54"/>
                  <a:pt x="1" y="54"/>
                  <a:pt x="1" y="54"/>
                </a:cubicBezTo>
                <a:cubicBezTo>
                  <a:pt x="53" y="2"/>
                  <a:pt x="53" y="2"/>
                  <a:pt x="53" y="2"/>
                </a:cubicBezTo>
                <a:cubicBezTo>
                  <a:pt x="53" y="2"/>
                  <a:pt x="53" y="1"/>
                  <a:pt x="53" y="0"/>
                </a:cubicBezTo>
              </a:path>
            </a:pathLst>
          </a:custGeom>
          <a:solidFill>
            <a:srgbClr val="6582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27" name="Freeform 172">
            <a:extLst>
              <a:ext uri="{FF2B5EF4-FFF2-40B4-BE49-F238E27FC236}">
                <a16:creationId xmlns:a16="http://schemas.microsoft.com/office/drawing/2014/main" id="{26FF18E2-7B02-4719-9809-96577AAA6150}"/>
              </a:ext>
            </a:extLst>
          </p:cNvPr>
          <p:cNvSpPr>
            <a:spLocks/>
          </p:cNvSpPr>
          <p:nvPr/>
        </p:nvSpPr>
        <p:spPr bwMode="auto">
          <a:xfrm>
            <a:off x="7394897" y="3376594"/>
            <a:ext cx="72299" cy="72299"/>
          </a:xfrm>
          <a:custGeom>
            <a:avLst/>
            <a:gdLst>
              <a:gd name="T0" fmla="*/ 20 w 20"/>
              <a:gd name="T1" fmla="*/ 0 h 21"/>
              <a:gd name="T2" fmla="*/ 0 w 20"/>
              <a:gd name="T3" fmla="*/ 21 h 21"/>
              <a:gd name="T4" fmla="*/ 2 w 20"/>
              <a:gd name="T5" fmla="*/ 21 h 21"/>
              <a:gd name="T6" fmla="*/ 20 w 20"/>
              <a:gd name="T7" fmla="*/ 3 h 21"/>
              <a:gd name="T8" fmla="*/ 20 w 20"/>
              <a:gd name="T9" fmla="*/ 0 h 21"/>
            </a:gdLst>
            <a:ahLst/>
            <a:cxnLst>
              <a:cxn ang="0">
                <a:pos x="T0" y="T1"/>
              </a:cxn>
              <a:cxn ang="0">
                <a:pos x="T2" y="T3"/>
              </a:cxn>
              <a:cxn ang="0">
                <a:pos x="T4" y="T5"/>
              </a:cxn>
              <a:cxn ang="0">
                <a:pos x="T6" y="T7"/>
              </a:cxn>
              <a:cxn ang="0">
                <a:pos x="T8" y="T9"/>
              </a:cxn>
            </a:cxnLst>
            <a:rect l="0" t="0" r="r" b="b"/>
            <a:pathLst>
              <a:path w="20" h="21">
                <a:moveTo>
                  <a:pt x="20" y="0"/>
                </a:moveTo>
                <a:cubicBezTo>
                  <a:pt x="0" y="21"/>
                  <a:pt x="0" y="21"/>
                  <a:pt x="0" y="21"/>
                </a:cubicBezTo>
                <a:cubicBezTo>
                  <a:pt x="2" y="21"/>
                  <a:pt x="2" y="21"/>
                  <a:pt x="2" y="21"/>
                </a:cubicBezTo>
                <a:cubicBezTo>
                  <a:pt x="20" y="3"/>
                  <a:pt x="20" y="3"/>
                  <a:pt x="20" y="3"/>
                </a:cubicBezTo>
                <a:cubicBezTo>
                  <a:pt x="20" y="2"/>
                  <a:pt x="20" y="1"/>
                  <a:pt x="20" y="0"/>
                </a:cubicBezTo>
              </a:path>
            </a:pathLst>
          </a:custGeom>
          <a:solidFill>
            <a:srgbClr val="6582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28" name="Freeform 173">
            <a:extLst>
              <a:ext uri="{FF2B5EF4-FFF2-40B4-BE49-F238E27FC236}">
                <a16:creationId xmlns:a16="http://schemas.microsoft.com/office/drawing/2014/main" id="{03B84F26-0660-4C51-972F-97C20C0F5F1B}"/>
              </a:ext>
            </a:extLst>
          </p:cNvPr>
          <p:cNvSpPr>
            <a:spLocks noEditPoints="1"/>
          </p:cNvSpPr>
          <p:nvPr/>
        </p:nvSpPr>
        <p:spPr bwMode="auto">
          <a:xfrm>
            <a:off x="5637475" y="3749213"/>
            <a:ext cx="425452" cy="631226"/>
          </a:xfrm>
          <a:custGeom>
            <a:avLst/>
            <a:gdLst>
              <a:gd name="T0" fmla="*/ 114 w 122"/>
              <a:gd name="T1" fmla="*/ 171 h 181"/>
              <a:gd name="T2" fmla="*/ 112 w 122"/>
              <a:gd name="T3" fmla="*/ 163 h 181"/>
              <a:gd name="T4" fmla="*/ 97 w 122"/>
              <a:gd name="T5" fmla="*/ 171 h 181"/>
              <a:gd name="T6" fmla="*/ 96 w 122"/>
              <a:gd name="T7" fmla="*/ 163 h 181"/>
              <a:gd name="T8" fmla="*/ 96 w 122"/>
              <a:gd name="T9" fmla="*/ 164 h 181"/>
              <a:gd name="T10" fmla="*/ 96 w 122"/>
              <a:gd name="T11" fmla="*/ 163 h 181"/>
              <a:gd name="T12" fmla="*/ 108 w 122"/>
              <a:gd name="T13" fmla="*/ 145 h 181"/>
              <a:gd name="T14" fmla="*/ 96 w 122"/>
              <a:gd name="T15" fmla="*/ 155 h 181"/>
              <a:gd name="T16" fmla="*/ 96 w 122"/>
              <a:gd name="T17" fmla="*/ 148 h 181"/>
              <a:gd name="T18" fmla="*/ 96 w 122"/>
              <a:gd name="T19" fmla="*/ 139 h 181"/>
              <a:gd name="T20" fmla="*/ 96 w 122"/>
              <a:gd name="T21" fmla="*/ 141 h 181"/>
              <a:gd name="T22" fmla="*/ 100 w 122"/>
              <a:gd name="T23" fmla="*/ 128 h 181"/>
              <a:gd name="T24" fmla="*/ 101 w 122"/>
              <a:gd name="T25" fmla="*/ 128 h 181"/>
              <a:gd name="T26" fmla="*/ 61 w 122"/>
              <a:gd name="T27" fmla="*/ 167 h 181"/>
              <a:gd name="T28" fmla="*/ 100 w 122"/>
              <a:gd name="T29" fmla="*/ 128 h 181"/>
              <a:gd name="T30" fmla="*/ 96 w 122"/>
              <a:gd name="T31" fmla="*/ 125 h 181"/>
              <a:gd name="T32" fmla="*/ 54 w 122"/>
              <a:gd name="T33" fmla="*/ 166 h 181"/>
              <a:gd name="T34" fmla="*/ 96 w 122"/>
              <a:gd name="T35" fmla="*/ 115 h 181"/>
              <a:gd name="T36" fmla="*/ 85 w 122"/>
              <a:gd name="T37" fmla="*/ 128 h 181"/>
              <a:gd name="T38" fmla="*/ 84 w 122"/>
              <a:gd name="T39" fmla="*/ 128 h 181"/>
              <a:gd name="T40" fmla="*/ 96 w 122"/>
              <a:gd name="T41" fmla="*/ 108 h 181"/>
              <a:gd name="T42" fmla="*/ 77 w 122"/>
              <a:gd name="T43" fmla="*/ 128 h 181"/>
              <a:gd name="T44" fmla="*/ 76 w 122"/>
              <a:gd name="T45" fmla="*/ 128 h 181"/>
              <a:gd name="T46" fmla="*/ 69 w 122"/>
              <a:gd name="T47" fmla="*/ 128 h 181"/>
              <a:gd name="T48" fmla="*/ 68 w 122"/>
              <a:gd name="T49" fmla="*/ 128 h 181"/>
              <a:gd name="T50" fmla="*/ 61 w 122"/>
              <a:gd name="T51" fmla="*/ 128 h 181"/>
              <a:gd name="T52" fmla="*/ 60 w 122"/>
              <a:gd name="T53" fmla="*/ 128 h 181"/>
              <a:gd name="T54" fmla="*/ 90 w 122"/>
              <a:gd name="T55" fmla="*/ 92 h 181"/>
              <a:gd name="T56" fmla="*/ 21 w 122"/>
              <a:gd name="T57" fmla="*/ 159 h 181"/>
              <a:gd name="T58" fmla="*/ 87 w 122"/>
              <a:gd name="T59" fmla="*/ 86 h 181"/>
              <a:gd name="T60" fmla="*/ 15 w 122"/>
              <a:gd name="T61" fmla="*/ 157 h 181"/>
              <a:gd name="T62" fmla="*/ 84 w 122"/>
              <a:gd name="T63" fmla="*/ 81 h 181"/>
              <a:gd name="T64" fmla="*/ 9 w 122"/>
              <a:gd name="T65" fmla="*/ 155 h 181"/>
              <a:gd name="T66" fmla="*/ 81 w 122"/>
              <a:gd name="T67" fmla="*/ 75 h 181"/>
              <a:gd name="T68" fmla="*/ 9 w 122"/>
              <a:gd name="T69" fmla="*/ 148 h 181"/>
              <a:gd name="T70" fmla="*/ 20 w 122"/>
              <a:gd name="T71" fmla="*/ 128 h 181"/>
              <a:gd name="T72" fmla="*/ 10 w 122"/>
              <a:gd name="T73" fmla="*/ 140 h 181"/>
              <a:gd name="T74" fmla="*/ 75 w 122"/>
              <a:gd name="T75" fmla="*/ 65 h 181"/>
              <a:gd name="T76" fmla="*/ 10 w 122"/>
              <a:gd name="T77" fmla="*/ 131 h 181"/>
              <a:gd name="T78" fmla="*/ 12 w 122"/>
              <a:gd name="T79" fmla="*/ 121 h 181"/>
              <a:gd name="T80" fmla="*/ 13 w 122"/>
              <a:gd name="T81" fmla="*/ 113 h 181"/>
              <a:gd name="T82" fmla="*/ 13 w 122"/>
              <a:gd name="T83" fmla="*/ 113 h 181"/>
              <a:gd name="T84" fmla="*/ 67 w 122"/>
              <a:gd name="T85" fmla="*/ 51 h 181"/>
              <a:gd name="T86" fmla="*/ 63 w 122"/>
              <a:gd name="T87" fmla="*/ 45 h 181"/>
              <a:gd name="T88" fmla="*/ 18 w 122"/>
              <a:gd name="T89" fmla="*/ 82 h 181"/>
              <a:gd name="T90" fmla="*/ 20 w 122"/>
              <a:gd name="T91" fmla="*/ 74 h 181"/>
              <a:gd name="T92" fmla="*/ 20 w 122"/>
              <a:gd name="T93" fmla="*/ 74 h 181"/>
              <a:gd name="T94" fmla="*/ 53 w 122"/>
              <a:gd name="T95" fmla="*/ 32 h 181"/>
              <a:gd name="T96" fmla="*/ 52 w 122"/>
              <a:gd name="T97" fmla="*/ 32 h 181"/>
              <a:gd name="T98" fmla="*/ 50 w 122"/>
              <a:gd name="T99" fmla="*/ 28 h 181"/>
              <a:gd name="T100" fmla="*/ 44 w 122"/>
              <a:gd name="T101" fmla="*/ 32 h 181"/>
              <a:gd name="T102" fmla="*/ 47 w 122"/>
              <a:gd name="T103" fmla="*/ 23 h 181"/>
              <a:gd name="T104" fmla="*/ 31 w 122"/>
              <a:gd name="T105" fmla="*/ 37 h 181"/>
              <a:gd name="T106" fmla="*/ 42 w 122"/>
              <a:gd name="T107" fmla="*/ 18 h 181"/>
              <a:gd name="T108" fmla="*/ 36 w 122"/>
              <a:gd name="T109" fmla="*/ 0 h 181"/>
              <a:gd name="T110" fmla="*/ 36 w 122"/>
              <a:gd name="T111"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22" h="181">
                <a:moveTo>
                  <a:pt x="113" y="171"/>
                </a:moveTo>
                <a:cubicBezTo>
                  <a:pt x="113" y="171"/>
                  <a:pt x="112" y="171"/>
                  <a:pt x="112" y="171"/>
                </a:cubicBezTo>
                <a:cubicBezTo>
                  <a:pt x="114" y="170"/>
                  <a:pt x="114" y="170"/>
                  <a:pt x="114" y="170"/>
                </a:cubicBezTo>
                <a:cubicBezTo>
                  <a:pt x="114" y="170"/>
                  <a:pt x="114" y="170"/>
                  <a:pt x="114" y="171"/>
                </a:cubicBezTo>
                <a:cubicBezTo>
                  <a:pt x="113" y="171"/>
                  <a:pt x="113" y="171"/>
                  <a:pt x="113" y="171"/>
                </a:cubicBezTo>
                <a:moveTo>
                  <a:pt x="106" y="171"/>
                </a:moveTo>
                <a:cubicBezTo>
                  <a:pt x="105" y="171"/>
                  <a:pt x="105" y="171"/>
                  <a:pt x="104" y="171"/>
                </a:cubicBezTo>
                <a:cubicBezTo>
                  <a:pt x="112" y="163"/>
                  <a:pt x="112" y="163"/>
                  <a:pt x="112" y="163"/>
                </a:cubicBezTo>
                <a:cubicBezTo>
                  <a:pt x="112" y="163"/>
                  <a:pt x="113" y="164"/>
                  <a:pt x="113" y="164"/>
                </a:cubicBezTo>
                <a:cubicBezTo>
                  <a:pt x="106" y="171"/>
                  <a:pt x="106" y="171"/>
                  <a:pt x="106" y="171"/>
                </a:cubicBezTo>
                <a:moveTo>
                  <a:pt x="98" y="171"/>
                </a:moveTo>
                <a:cubicBezTo>
                  <a:pt x="97" y="171"/>
                  <a:pt x="97" y="171"/>
                  <a:pt x="97" y="171"/>
                </a:cubicBezTo>
                <a:cubicBezTo>
                  <a:pt x="111" y="156"/>
                  <a:pt x="111" y="156"/>
                  <a:pt x="111" y="156"/>
                </a:cubicBezTo>
                <a:cubicBezTo>
                  <a:pt x="111" y="157"/>
                  <a:pt x="111" y="157"/>
                  <a:pt x="111" y="157"/>
                </a:cubicBezTo>
                <a:cubicBezTo>
                  <a:pt x="98" y="171"/>
                  <a:pt x="98" y="171"/>
                  <a:pt x="98" y="171"/>
                </a:cubicBezTo>
                <a:moveTo>
                  <a:pt x="96" y="163"/>
                </a:moveTo>
                <a:cubicBezTo>
                  <a:pt x="96" y="163"/>
                  <a:pt x="96" y="163"/>
                  <a:pt x="96" y="163"/>
                </a:cubicBezTo>
                <a:cubicBezTo>
                  <a:pt x="110" y="150"/>
                  <a:pt x="110" y="150"/>
                  <a:pt x="110" y="150"/>
                </a:cubicBezTo>
                <a:cubicBezTo>
                  <a:pt x="110" y="150"/>
                  <a:pt x="110" y="151"/>
                  <a:pt x="110" y="151"/>
                </a:cubicBezTo>
                <a:cubicBezTo>
                  <a:pt x="96" y="164"/>
                  <a:pt x="96" y="164"/>
                  <a:pt x="96" y="164"/>
                </a:cubicBezTo>
                <a:cubicBezTo>
                  <a:pt x="96" y="164"/>
                  <a:pt x="96" y="164"/>
                  <a:pt x="96" y="164"/>
                </a:cubicBezTo>
                <a:cubicBezTo>
                  <a:pt x="90" y="170"/>
                  <a:pt x="90" y="170"/>
                  <a:pt x="90" y="170"/>
                </a:cubicBezTo>
                <a:cubicBezTo>
                  <a:pt x="90" y="170"/>
                  <a:pt x="90" y="170"/>
                  <a:pt x="89" y="170"/>
                </a:cubicBezTo>
                <a:cubicBezTo>
                  <a:pt x="96" y="163"/>
                  <a:pt x="96" y="163"/>
                  <a:pt x="96" y="163"/>
                </a:cubicBezTo>
                <a:moveTo>
                  <a:pt x="96" y="155"/>
                </a:moveTo>
                <a:cubicBezTo>
                  <a:pt x="96" y="155"/>
                  <a:pt x="96" y="155"/>
                  <a:pt x="96" y="155"/>
                </a:cubicBezTo>
                <a:cubicBezTo>
                  <a:pt x="108" y="143"/>
                  <a:pt x="108" y="143"/>
                  <a:pt x="108" y="143"/>
                </a:cubicBezTo>
                <a:cubicBezTo>
                  <a:pt x="108" y="144"/>
                  <a:pt x="108" y="144"/>
                  <a:pt x="108" y="145"/>
                </a:cubicBezTo>
                <a:cubicBezTo>
                  <a:pt x="96" y="156"/>
                  <a:pt x="96" y="156"/>
                  <a:pt x="96" y="156"/>
                </a:cubicBezTo>
                <a:cubicBezTo>
                  <a:pt x="83" y="170"/>
                  <a:pt x="83" y="170"/>
                  <a:pt x="83" y="170"/>
                </a:cubicBezTo>
                <a:cubicBezTo>
                  <a:pt x="83" y="170"/>
                  <a:pt x="82" y="170"/>
                  <a:pt x="82" y="170"/>
                </a:cubicBezTo>
                <a:cubicBezTo>
                  <a:pt x="96" y="155"/>
                  <a:pt x="96" y="155"/>
                  <a:pt x="96" y="155"/>
                </a:cubicBezTo>
                <a:moveTo>
                  <a:pt x="96" y="147"/>
                </a:moveTo>
                <a:cubicBezTo>
                  <a:pt x="106" y="137"/>
                  <a:pt x="106" y="137"/>
                  <a:pt x="106" y="137"/>
                </a:cubicBezTo>
                <a:cubicBezTo>
                  <a:pt x="106" y="138"/>
                  <a:pt x="107" y="138"/>
                  <a:pt x="107" y="138"/>
                </a:cubicBezTo>
                <a:cubicBezTo>
                  <a:pt x="96" y="148"/>
                  <a:pt x="96" y="148"/>
                  <a:pt x="96" y="148"/>
                </a:cubicBezTo>
                <a:cubicBezTo>
                  <a:pt x="76" y="169"/>
                  <a:pt x="76" y="169"/>
                  <a:pt x="76" y="169"/>
                </a:cubicBezTo>
                <a:cubicBezTo>
                  <a:pt x="75" y="169"/>
                  <a:pt x="75" y="169"/>
                  <a:pt x="75" y="169"/>
                </a:cubicBezTo>
                <a:cubicBezTo>
                  <a:pt x="96" y="147"/>
                  <a:pt x="96" y="147"/>
                  <a:pt x="96" y="147"/>
                </a:cubicBezTo>
                <a:moveTo>
                  <a:pt x="96" y="139"/>
                </a:moveTo>
                <a:cubicBezTo>
                  <a:pt x="96" y="139"/>
                  <a:pt x="96" y="139"/>
                  <a:pt x="96" y="139"/>
                </a:cubicBezTo>
                <a:cubicBezTo>
                  <a:pt x="104" y="131"/>
                  <a:pt x="104" y="131"/>
                  <a:pt x="104" y="131"/>
                </a:cubicBezTo>
                <a:cubicBezTo>
                  <a:pt x="105" y="131"/>
                  <a:pt x="105" y="132"/>
                  <a:pt x="105" y="132"/>
                </a:cubicBezTo>
                <a:cubicBezTo>
                  <a:pt x="96" y="141"/>
                  <a:pt x="96" y="141"/>
                  <a:pt x="96" y="141"/>
                </a:cubicBezTo>
                <a:cubicBezTo>
                  <a:pt x="69" y="168"/>
                  <a:pt x="69" y="168"/>
                  <a:pt x="69" y="168"/>
                </a:cubicBezTo>
                <a:cubicBezTo>
                  <a:pt x="68" y="168"/>
                  <a:pt x="68" y="168"/>
                  <a:pt x="68" y="168"/>
                </a:cubicBezTo>
                <a:cubicBezTo>
                  <a:pt x="96" y="139"/>
                  <a:pt x="96" y="139"/>
                  <a:pt x="96" y="139"/>
                </a:cubicBezTo>
                <a:moveTo>
                  <a:pt x="100" y="128"/>
                </a:moveTo>
                <a:cubicBezTo>
                  <a:pt x="103" y="125"/>
                  <a:pt x="103" y="125"/>
                  <a:pt x="103" y="125"/>
                </a:cubicBezTo>
                <a:cubicBezTo>
                  <a:pt x="103" y="125"/>
                  <a:pt x="103" y="126"/>
                  <a:pt x="103" y="126"/>
                </a:cubicBezTo>
                <a:cubicBezTo>
                  <a:pt x="101" y="128"/>
                  <a:pt x="101" y="128"/>
                  <a:pt x="101" y="128"/>
                </a:cubicBezTo>
                <a:cubicBezTo>
                  <a:pt x="101" y="128"/>
                  <a:pt x="101" y="128"/>
                  <a:pt x="101" y="128"/>
                </a:cubicBezTo>
                <a:cubicBezTo>
                  <a:pt x="96" y="133"/>
                  <a:pt x="96" y="133"/>
                  <a:pt x="96" y="133"/>
                </a:cubicBezTo>
                <a:cubicBezTo>
                  <a:pt x="96" y="133"/>
                  <a:pt x="96" y="133"/>
                  <a:pt x="96" y="133"/>
                </a:cubicBezTo>
                <a:cubicBezTo>
                  <a:pt x="62" y="167"/>
                  <a:pt x="62" y="167"/>
                  <a:pt x="62" y="167"/>
                </a:cubicBezTo>
                <a:cubicBezTo>
                  <a:pt x="61" y="167"/>
                  <a:pt x="61" y="167"/>
                  <a:pt x="61" y="167"/>
                </a:cubicBezTo>
                <a:cubicBezTo>
                  <a:pt x="96" y="131"/>
                  <a:pt x="96" y="131"/>
                  <a:pt x="96" y="131"/>
                </a:cubicBezTo>
                <a:cubicBezTo>
                  <a:pt x="96" y="131"/>
                  <a:pt x="96" y="131"/>
                  <a:pt x="96" y="131"/>
                </a:cubicBezTo>
                <a:cubicBezTo>
                  <a:pt x="100" y="128"/>
                  <a:pt x="100" y="128"/>
                  <a:pt x="100" y="128"/>
                </a:cubicBezTo>
                <a:cubicBezTo>
                  <a:pt x="100" y="128"/>
                  <a:pt x="100" y="128"/>
                  <a:pt x="100" y="128"/>
                </a:cubicBezTo>
                <a:moveTo>
                  <a:pt x="96" y="123"/>
                </a:moveTo>
                <a:cubicBezTo>
                  <a:pt x="101" y="119"/>
                  <a:pt x="101" y="119"/>
                  <a:pt x="101" y="119"/>
                </a:cubicBezTo>
                <a:cubicBezTo>
                  <a:pt x="101" y="119"/>
                  <a:pt x="101" y="120"/>
                  <a:pt x="101" y="120"/>
                </a:cubicBezTo>
                <a:cubicBezTo>
                  <a:pt x="96" y="125"/>
                  <a:pt x="96" y="125"/>
                  <a:pt x="96" y="125"/>
                </a:cubicBezTo>
                <a:cubicBezTo>
                  <a:pt x="93" y="128"/>
                  <a:pt x="93" y="128"/>
                  <a:pt x="93" y="128"/>
                </a:cubicBezTo>
                <a:cubicBezTo>
                  <a:pt x="87" y="134"/>
                  <a:pt x="87" y="134"/>
                  <a:pt x="87" y="134"/>
                </a:cubicBezTo>
                <a:cubicBezTo>
                  <a:pt x="55" y="166"/>
                  <a:pt x="55" y="166"/>
                  <a:pt x="55" y="166"/>
                </a:cubicBezTo>
                <a:cubicBezTo>
                  <a:pt x="55" y="166"/>
                  <a:pt x="54" y="166"/>
                  <a:pt x="54" y="166"/>
                </a:cubicBezTo>
                <a:cubicBezTo>
                  <a:pt x="86" y="133"/>
                  <a:pt x="86" y="133"/>
                  <a:pt x="86" y="133"/>
                </a:cubicBezTo>
                <a:cubicBezTo>
                  <a:pt x="92" y="128"/>
                  <a:pt x="92" y="128"/>
                  <a:pt x="92" y="128"/>
                </a:cubicBezTo>
                <a:cubicBezTo>
                  <a:pt x="96" y="123"/>
                  <a:pt x="96" y="123"/>
                  <a:pt x="96" y="123"/>
                </a:cubicBezTo>
                <a:moveTo>
                  <a:pt x="96" y="115"/>
                </a:moveTo>
                <a:cubicBezTo>
                  <a:pt x="98" y="113"/>
                  <a:pt x="98" y="113"/>
                  <a:pt x="98" y="113"/>
                </a:cubicBezTo>
                <a:cubicBezTo>
                  <a:pt x="99" y="114"/>
                  <a:pt x="99" y="114"/>
                  <a:pt x="99" y="114"/>
                </a:cubicBezTo>
                <a:cubicBezTo>
                  <a:pt x="96" y="117"/>
                  <a:pt x="96" y="117"/>
                  <a:pt x="96" y="117"/>
                </a:cubicBezTo>
                <a:cubicBezTo>
                  <a:pt x="85" y="128"/>
                  <a:pt x="85" y="128"/>
                  <a:pt x="85" y="128"/>
                </a:cubicBezTo>
                <a:cubicBezTo>
                  <a:pt x="48" y="165"/>
                  <a:pt x="48" y="165"/>
                  <a:pt x="48" y="165"/>
                </a:cubicBezTo>
                <a:cubicBezTo>
                  <a:pt x="48" y="165"/>
                  <a:pt x="47" y="165"/>
                  <a:pt x="47" y="165"/>
                </a:cubicBezTo>
                <a:cubicBezTo>
                  <a:pt x="84" y="128"/>
                  <a:pt x="84" y="128"/>
                  <a:pt x="84" y="128"/>
                </a:cubicBezTo>
                <a:cubicBezTo>
                  <a:pt x="84" y="128"/>
                  <a:pt x="84" y="128"/>
                  <a:pt x="84" y="128"/>
                </a:cubicBezTo>
                <a:cubicBezTo>
                  <a:pt x="96" y="115"/>
                  <a:pt x="96" y="115"/>
                  <a:pt x="96" y="115"/>
                </a:cubicBezTo>
                <a:moveTo>
                  <a:pt x="76" y="128"/>
                </a:moveTo>
                <a:cubicBezTo>
                  <a:pt x="96" y="107"/>
                  <a:pt x="96" y="107"/>
                  <a:pt x="96" y="107"/>
                </a:cubicBezTo>
                <a:cubicBezTo>
                  <a:pt x="96" y="108"/>
                  <a:pt x="96" y="108"/>
                  <a:pt x="96" y="108"/>
                </a:cubicBezTo>
                <a:cubicBezTo>
                  <a:pt x="97" y="108"/>
                  <a:pt x="97" y="108"/>
                  <a:pt x="97" y="108"/>
                </a:cubicBezTo>
                <a:cubicBezTo>
                  <a:pt x="96" y="109"/>
                  <a:pt x="96" y="109"/>
                  <a:pt x="96" y="109"/>
                </a:cubicBezTo>
                <a:cubicBezTo>
                  <a:pt x="96" y="109"/>
                  <a:pt x="96" y="109"/>
                  <a:pt x="96" y="109"/>
                </a:cubicBezTo>
                <a:cubicBezTo>
                  <a:pt x="77" y="128"/>
                  <a:pt x="77" y="128"/>
                  <a:pt x="77" y="128"/>
                </a:cubicBezTo>
                <a:cubicBezTo>
                  <a:pt x="77" y="128"/>
                  <a:pt x="77" y="128"/>
                  <a:pt x="77" y="128"/>
                </a:cubicBezTo>
                <a:cubicBezTo>
                  <a:pt x="42" y="164"/>
                  <a:pt x="42" y="164"/>
                  <a:pt x="42" y="164"/>
                </a:cubicBezTo>
                <a:cubicBezTo>
                  <a:pt x="41" y="163"/>
                  <a:pt x="41" y="163"/>
                  <a:pt x="40" y="163"/>
                </a:cubicBezTo>
                <a:cubicBezTo>
                  <a:pt x="76" y="128"/>
                  <a:pt x="76" y="128"/>
                  <a:pt x="76" y="128"/>
                </a:cubicBezTo>
                <a:moveTo>
                  <a:pt x="68" y="128"/>
                </a:moveTo>
                <a:cubicBezTo>
                  <a:pt x="94" y="102"/>
                  <a:pt x="94" y="102"/>
                  <a:pt x="94" y="102"/>
                </a:cubicBezTo>
                <a:cubicBezTo>
                  <a:pt x="94" y="103"/>
                  <a:pt x="94" y="103"/>
                  <a:pt x="94" y="103"/>
                </a:cubicBezTo>
                <a:cubicBezTo>
                  <a:pt x="69" y="128"/>
                  <a:pt x="69" y="128"/>
                  <a:pt x="69" y="128"/>
                </a:cubicBezTo>
                <a:cubicBezTo>
                  <a:pt x="69" y="128"/>
                  <a:pt x="69" y="128"/>
                  <a:pt x="69" y="128"/>
                </a:cubicBezTo>
                <a:cubicBezTo>
                  <a:pt x="35" y="162"/>
                  <a:pt x="35" y="162"/>
                  <a:pt x="35" y="162"/>
                </a:cubicBezTo>
                <a:cubicBezTo>
                  <a:pt x="35" y="162"/>
                  <a:pt x="34" y="162"/>
                  <a:pt x="34" y="162"/>
                </a:cubicBezTo>
                <a:cubicBezTo>
                  <a:pt x="68" y="128"/>
                  <a:pt x="68" y="128"/>
                  <a:pt x="68" y="128"/>
                </a:cubicBezTo>
                <a:moveTo>
                  <a:pt x="60" y="128"/>
                </a:moveTo>
                <a:cubicBezTo>
                  <a:pt x="92" y="96"/>
                  <a:pt x="92" y="96"/>
                  <a:pt x="92" y="96"/>
                </a:cubicBezTo>
                <a:cubicBezTo>
                  <a:pt x="92" y="97"/>
                  <a:pt x="92" y="97"/>
                  <a:pt x="92" y="97"/>
                </a:cubicBezTo>
                <a:cubicBezTo>
                  <a:pt x="61" y="128"/>
                  <a:pt x="61" y="128"/>
                  <a:pt x="61" y="128"/>
                </a:cubicBezTo>
                <a:cubicBezTo>
                  <a:pt x="61" y="128"/>
                  <a:pt x="61" y="128"/>
                  <a:pt x="61" y="128"/>
                </a:cubicBezTo>
                <a:cubicBezTo>
                  <a:pt x="29" y="161"/>
                  <a:pt x="29" y="161"/>
                  <a:pt x="29" y="161"/>
                </a:cubicBezTo>
                <a:cubicBezTo>
                  <a:pt x="28" y="160"/>
                  <a:pt x="28" y="160"/>
                  <a:pt x="27" y="160"/>
                </a:cubicBezTo>
                <a:cubicBezTo>
                  <a:pt x="60" y="128"/>
                  <a:pt x="60" y="128"/>
                  <a:pt x="60" y="128"/>
                </a:cubicBezTo>
                <a:cubicBezTo>
                  <a:pt x="60" y="128"/>
                  <a:pt x="60" y="128"/>
                  <a:pt x="60" y="128"/>
                </a:cubicBezTo>
                <a:moveTo>
                  <a:pt x="52" y="128"/>
                </a:moveTo>
                <a:cubicBezTo>
                  <a:pt x="89" y="91"/>
                  <a:pt x="89" y="91"/>
                  <a:pt x="89" y="91"/>
                </a:cubicBezTo>
                <a:cubicBezTo>
                  <a:pt x="90" y="92"/>
                  <a:pt x="90" y="92"/>
                  <a:pt x="90" y="92"/>
                </a:cubicBezTo>
                <a:cubicBezTo>
                  <a:pt x="53" y="128"/>
                  <a:pt x="53" y="128"/>
                  <a:pt x="53" y="128"/>
                </a:cubicBezTo>
                <a:cubicBezTo>
                  <a:pt x="53" y="128"/>
                  <a:pt x="53" y="128"/>
                  <a:pt x="53" y="128"/>
                </a:cubicBezTo>
                <a:cubicBezTo>
                  <a:pt x="22" y="159"/>
                  <a:pt x="22" y="159"/>
                  <a:pt x="22" y="159"/>
                </a:cubicBezTo>
                <a:cubicBezTo>
                  <a:pt x="22" y="159"/>
                  <a:pt x="22" y="159"/>
                  <a:pt x="21" y="159"/>
                </a:cubicBezTo>
                <a:cubicBezTo>
                  <a:pt x="52" y="128"/>
                  <a:pt x="52" y="128"/>
                  <a:pt x="52" y="128"/>
                </a:cubicBezTo>
                <a:moveTo>
                  <a:pt x="44" y="128"/>
                </a:moveTo>
                <a:cubicBezTo>
                  <a:pt x="87" y="85"/>
                  <a:pt x="87" y="85"/>
                  <a:pt x="87" y="85"/>
                </a:cubicBezTo>
                <a:cubicBezTo>
                  <a:pt x="87" y="86"/>
                  <a:pt x="87" y="86"/>
                  <a:pt x="87" y="86"/>
                </a:cubicBezTo>
                <a:cubicBezTo>
                  <a:pt x="46" y="128"/>
                  <a:pt x="46" y="128"/>
                  <a:pt x="46" y="128"/>
                </a:cubicBezTo>
                <a:cubicBezTo>
                  <a:pt x="46" y="128"/>
                  <a:pt x="46" y="128"/>
                  <a:pt x="46" y="128"/>
                </a:cubicBezTo>
                <a:cubicBezTo>
                  <a:pt x="16" y="157"/>
                  <a:pt x="16" y="157"/>
                  <a:pt x="16" y="157"/>
                </a:cubicBezTo>
                <a:cubicBezTo>
                  <a:pt x="16" y="157"/>
                  <a:pt x="15" y="157"/>
                  <a:pt x="15" y="157"/>
                </a:cubicBezTo>
                <a:cubicBezTo>
                  <a:pt x="44" y="128"/>
                  <a:pt x="44" y="128"/>
                  <a:pt x="44" y="128"/>
                </a:cubicBezTo>
                <a:moveTo>
                  <a:pt x="36" y="128"/>
                </a:moveTo>
                <a:cubicBezTo>
                  <a:pt x="84" y="80"/>
                  <a:pt x="84" y="80"/>
                  <a:pt x="84" y="80"/>
                </a:cubicBezTo>
                <a:cubicBezTo>
                  <a:pt x="84" y="81"/>
                  <a:pt x="84" y="81"/>
                  <a:pt x="84" y="81"/>
                </a:cubicBezTo>
                <a:cubicBezTo>
                  <a:pt x="38" y="128"/>
                  <a:pt x="38" y="128"/>
                  <a:pt x="38" y="128"/>
                </a:cubicBezTo>
                <a:cubicBezTo>
                  <a:pt x="38" y="128"/>
                  <a:pt x="38" y="128"/>
                  <a:pt x="38" y="128"/>
                </a:cubicBezTo>
                <a:cubicBezTo>
                  <a:pt x="10" y="155"/>
                  <a:pt x="10" y="155"/>
                  <a:pt x="10" y="155"/>
                </a:cubicBezTo>
                <a:cubicBezTo>
                  <a:pt x="10" y="155"/>
                  <a:pt x="9" y="155"/>
                  <a:pt x="9" y="155"/>
                </a:cubicBezTo>
                <a:cubicBezTo>
                  <a:pt x="36" y="128"/>
                  <a:pt x="36" y="128"/>
                  <a:pt x="36" y="128"/>
                </a:cubicBezTo>
                <a:cubicBezTo>
                  <a:pt x="36" y="128"/>
                  <a:pt x="36" y="128"/>
                  <a:pt x="36" y="128"/>
                </a:cubicBezTo>
                <a:moveTo>
                  <a:pt x="28" y="128"/>
                </a:moveTo>
                <a:cubicBezTo>
                  <a:pt x="81" y="75"/>
                  <a:pt x="81" y="75"/>
                  <a:pt x="81" y="75"/>
                </a:cubicBezTo>
                <a:cubicBezTo>
                  <a:pt x="82" y="76"/>
                  <a:pt x="82" y="76"/>
                  <a:pt x="82" y="76"/>
                </a:cubicBezTo>
                <a:cubicBezTo>
                  <a:pt x="30" y="128"/>
                  <a:pt x="30" y="128"/>
                  <a:pt x="30" y="128"/>
                </a:cubicBezTo>
                <a:cubicBezTo>
                  <a:pt x="30" y="128"/>
                  <a:pt x="30" y="128"/>
                  <a:pt x="30" y="128"/>
                </a:cubicBezTo>
                <a:cubicBezTo>
                  <a:pt x="9" y="148"/>
                  <a:pt x="9" y="148"/>
                  <a:pt x="9" y="148"/>
                </a:cubicBezTo>
                <a:cubicBezTo>
                  <a:pt x="9" y="148"/>
                  <a:pt x="9" y="147"/>
                  <a:pt x="9" y="147"/>
                </a:cubicBezTo>
                <a:cubicBezTo>
                  <a:pt x="28" y="128"/>
                  <a:pt x="28" y="128"/>
                  <a:pt x="28" y="128"/>
                </a:cubicBezTo>
                <a:cubicBezTo>
                  <a:pt x="28" y="128"/>
                  <a:pt x="28" y="128"/>
                  <a:pt x="28" y="128"/>
                </a:cubicBezTo>
                <a:moveTo>
                  <a:pt x="20" y="128"/>
                </a:moveTo>
                <a:cubicBezTo>
                  <a:pt x="78" y="70"/>
                  <a:pt x="78" y="70"/>
                  <a:pt x="78" y="70"/>
                </a:cubicBezTo>
                <a:cubicBezTo>
                  <a:pt x="79" y="71"/>
                  <a:pt x="79" y="71"/>
                  <a:pt x="79" y="71"/>
                </a:cubicBezTo>
                <a:cubicBezTo>
                  <a:pt x="22" y="128"/>
                  <a:pt x="22" y="128"/>
                  <a:pt x="22" y="128"/>
                </a:cubicBezTo>
                <a:cubicBezTo>
                  <a:pt x="10" y="140"/>
                  <a:pt x="10" y="140"/>
                  <a:pt x="10" y="140"/>
                </a:cubicBezTo>
                <a:cubicBezTo>
                  <a:pt x="10" y="139"/>
                  <a:pt x="10" y="139"/>
                  <a:pt x="10" y="138"/>
                </a:cubicBezTo>
                <a:cubicBezTo>
                  <a:pt x="20" y="128"/>
                  <a:pt x="20" y="128"/>
                  <a:pt x="20" y="128"/>
                </a:cubicBezTo>
                <a:moveTo>
                  <a:pt x="12" y="128"/>
                </a:moveTo>
                <a:cubicBezTo>
                  <a:pt x="75" y="65"/>
                  <a:pt x="75" y="65"/>
                  <a:pt x="75" y="65"/>
                </a:cubicBezTo>
                <a:cubicBezTo>
                  <a:pt x="76" y="66"/>
                  <a:pt x="76" y="66"/>
                  <a:pt x="76" y="66"/>
                </a:cubicBezTo>
                <a:cubicBezTo>
                  <a:pt x="23" y="118"/>
                  <a:pt x="23" y="118"/>
                  <a:pt x="23" y="118"/>
                </a:cubicBezTo>
                <a:cubicBezTo>
                  <a:pt x="14" y="128"/>
                  <a:pt x="14" y="128"/>
                  <a:pt x="14" y="128"/>
                </a:cubicBezTo>
                <a:cubicBezTo>
                  <a:pt x="10" y="131"/>
                  <a:pt x="10" y="131"/>
                  <a:pt x="10" y="131"/>
                </a:cubicBezTo>
                <a:cubicBezTo>
                  <a:pt x="10" y="131"/>
                  <a:pt x="11" y="130"/>
                  <a:pt x="11" y="129"/>
                </a:cubicBezTo>
                <a:cubicBezTo>
                  <a:pt x="12" y="128"/>
                  <a:pt x="12" y="128"/>
                  <a:pt x="12" y="128"/>
                </a:cubicBezTo>
                <a:moveTo>
                  <a:pt x="11" y="122"/>
                </a:moveTo>
                <a:cubicBezTo>
                  <a:pt x="11" y="122"/>
                  <a:pt x="12" y="121"/>
                  <a:pt x="12" y="121"/>
                </a:cubicBezTo>
                <a:cubicBezTo>
                  <a:pt x="72" y="60"/>
                  <a:pt x="72" y="60"/>
                  <a:pt x="72" y="60"/>
                </a:cubicBezTo>
                <a:cubicBezTo>
                  <a:pt x="73" y="61"/>
                  <a:pt x="73" y="61"/>
                  <a:pt x="73" y="61"/>
                </a:cubicBezTo>
                <a:cubicBezTo>
                  <a:pt x="11" y="122"/>
                  <a:pt x="11" y="122"/>
                  <a:pt x="11" y="122"/>
                </a:cubicBezTo>
                <a:moveTo>
                  <a:pt x="13" y="113"/>
                </a:moveTo>
                <a:cubicBezTo>
                  <a:pt x="13" y="112"/>
                  <a:pt x="13" y="112"/>
                  <a:pt x="13" y="111"/>
                </a:cubicBezTo>
                <a:cubicBezTo>
                  <a:pt x="69" y="55"/>
                  <a:pt x="69" y="55"/>
                  <a:pt x="69" y="55"/>
                </a:cubicBezTo>
                <a:cubicBezTo>
                  <a:pt x="70" y="56"/>
                  <a:pt x="70" y="56"/>
                  <a:pt x="70" y="56"/>
                </a:cubicBezTo>
                <a:cubicBezTo>
                  <a:pt x="13" y="113"/>
                  <a:pt x="13" y="113"/>
                  <a:pt x="13" y="113"/>
                </a:cubicBezTo>
                <a:moveTo>
                  <a:pt x="14" y="104"/>
                </a:moveTo>
                <a:cubicBezTo>
                  <a:pt x="14" y="103"/>
                  <a:pt x="14" y="102"/>
                  <a:pt x="14" y="102"/>
                </a:cubicBezTo>
                <a:cubicBezTo>
                  <a:pt x="66" y="50"/>
                  <a:pt x="66" y="50"/>
                  <a:pt x="66" y="50"/>
                </a:cubicBezTo>
                <a:cubicBezTo>
                  <a:pt x="67" y="51"/>
                  <a:pt x="67" y="51"/>
                  <a:pt x="67" y="51"/>
                </a:cubicBezTo>
                <a:cubicBezTo>
                  <a:pt x="14" y="104"/>
                  <a:pt x="14" y="104"/>
                  <a:pt x="14" y="104"/>
                </a:cubicBezTo>
                <a:moveTo>
                  <a:pt x="16" y="94"/>
                </a:moveTo>
                <a:cubicBezTo>
                  <a:pt x="16" y="93"/>
                  <a:pt x="16" y="93"/>
                  <a:pt x="16" y="92"/>
                </a:cubicBezTo>
                <a:cubicBezTo>
                  <a:pt x="63" y="45"/>
                  <a:pt x="63" y="45"/>
                  <a:pt x="63" y="45"/>
                </a:cubicBezTo>
                <a:cubicBezTo>
                  <a:pt x="64" y="46"/>
                  <a:pt x="64" y="46"/>
                  <a:pt x="64" y="46"/>
                </a:cubicBezTo>
                <a:cubicBezTo>
                  <a:pt x="16" y="94"/>
                  <a:pt x="16" y="94"/>
                  <a:pt x="16" y="94"/>
                </a:cubicBezTo>
                <a:moveTo>
                  <a:pt x="18" y="84"/>
                </a:moveTo>
                <a:cubicBezTo>
                  <a:pt x="18" y="83"/>
                  <a:pt x="18" y="83"/>
                  <a:pt x="18" y="82"/>
                </a:cubicBezTo>
                <a:cubicBezTo>
                  <a:pt x="60" y="40"/>
                  <a:pt x="60" y="40"/>
                  <a:pt x="60" y="40"/>
                </a:cubicBezTo>
                <a:cubicBezTo>
                  <a:pt x="60" y="41"/>
                  <a:pt x="60" y="41"/>
                  <a:pt x="60" y="41"/>
                </a:cubicBezTo>
                <a:cubicBezTo>
                  <a:pt x="18" y="84"/>
                  <a:pt x="18" y="84"/>
                  <a:pt x="18" y="84"/>
                </a:cubicBezTo>
                <a:moveTo>
                  <a:pt x="20" y="74"/>
                </a:moveTo>
                <a:cubicBezTo>
                  <a:pt x="20" y="73"/>
                  <a:pt x="21" y="72"/>
                  <a:pt x="21" y="72"/>
                </a:cubicBezTo>
                <a:cubicBezTo>
                  <a:pt x="56" y="36"/>
                  <a:pt x="56" y="36"/>
                  <a:pt x="56" y="36"/>
                </a:cubicBezTo>
                <a:cubicBezTo>
                  <a:pt x="57" y="37"/>
                  <a:pt x="57" y="37"/>
                  <a:pt x="57" y="37"/>
                </a:cubicBezTo>
                <a:cubicBezTo>
                  <a:pt x="20" y="74"/>
                  <a:pt x="20" y="74"/>
                  <a:pt x="20" y="74"/>
                </a:cubicBezTo>
                <a:moveTo>
                  <a:pt x="52" y="32"/>
                </a:moveTo>
                <a:cubicBezTo>
                  <a:pt x="53" y="31"/>
                  <a:pt x="53" y="31"/>
                  <a:pt x="53" y="31"/>
                </a:cubicBezTo>
                <a:cubicBezTo>
                  <a:pt x="54" y="32"/>
                  <a:pt x="54" y="32"/>
                  <a:pt x="54" y="32"/>
                </a:cubicBezTo>
                <a:cubicBezTo>
                  <a:pt x="53" y="32"/>
                  <a:pt x="53" y="32"/>
                  <a:pt x="53" y="32"/>
                </a:cubicBezTo>
                <a:cubicBezTo>
                  <a:pt x="53" y="32"/>
                  <a:pt x="53" y="32"/>
                  <a:pt x="53" y="32"/>
                </a:cubicBezTo>
                <a:cubicBezTo>
                  <a:pt x="23" y="63"/>
                  <a:pt x="23" y="63"/>
                  <a:pt x="23" y="63"/>
                </a:cubicBezTo>
                <a:cubicBezTo>
                  <a:pt x="23" y="62"/>
                  <a:pt x="23" y="61"/>
                  <a:pt x="24" y="61"/>
                </a:cubicBezTo>
                <a:cubicBezTo>
                  <a:pt x="52" y="32"/>
                  <a:pt x="52" y="32"/>
                  <a:pt x="52" y="32"/>
                </a:cubicBezTo>
                <a:cubicBezTo>
                  <a:pt x="52" y="32"/>
                  <a:pt x="52" y="32"/>
                  <a:pt x="52" y="32"/>
                </a:cubicBezTo>
                <a:moveTo>
                  <a:pt x="44" y="32"/>
                </a:moveTo>
                <a:cubicBezTo>
                  <a:pt x="50" y="27"/>
                  <a:pt x="50" y="27"/>
                  <a:pt x="50" y="27"/>
                </a:cubicBezTo>
                <a:cubicBezTo>
                  <a:pt x="50" y="28"/>
                  <a:pt x="50" y="28"/>
                  <a:pt x="50" y="28"/>
                </a:cubicBezTo>
                <a:cubicBezTo>
                  <a:pt x="46" y="32"/>
                  <a:pt x="46" y="32"/>
                  <a:pt x="46" y="32"/>
                </a:cubicBezTo>
                <a:cubicBezTo>
                  <a:pt x="26" y="52"/>
                  <a:pt x="26" y="52"/>
                  <a:pt x="26" y="52"/>
                </a:cubicBezTo>
                <a:cubicBezTo>
                  <a:pt x="27" y="51"/>
                  <a:pt x="27" y="50"/>
                  <a:pt x="27" y="49"/>
                </a:cubicBezTo>
                <a:cubicBezTo>
                  <a:pt x="44" y="32"/>
                  <a:pt x="44" y="32"/>
                  <a:pt x="44" y="32"/>
                </a:cubicBezTo>
                <a:cubicBezTo>
                  <a:pt x="44" y="32"/>
                  <a:pt x="44" y="32"/>
                  <a:pt x="44" y="32"/>
                </a:cubicBezTo>
                <a:moveTo>
                  <a:pt x="36" y="32"/>
                </a:moveTo>
                <a:cubicBezTo>
                  <a:pt x="46" y="22"/>
                  <a:pt x="46" y="22"/>
                  <a:pt x="46" y="22"/>
                </a:cubicBezTo>
                <a:cubicBezTo>
                  <a:pt x="47" y="23"/>
                  <a:pt x="47" y="23"/>
                  <a:pt x="47" y="23"/>
                </a:cubicBezTo>
                <a:cubicBezTo>
                  <a:pt x="38" y="32"/>
                  <a:pt x="38" y="32"/>
                  <a:pt x="38" y="32"/>
                </a:cubicBezTo>
                <a:cubicBezTo>
                  <a:pt x="38" y="32"/>
                  <a:pt x="38" y="32"/>
                  <a:pt x="38" y="32"/>
                </a:cubicBezTo>
                <a:cubicBezTo>
                  <a:pt x="30" y="40"/>
                  <a:pt x="30" y="40"/>
                  <a:pt x="30" y="40"/>
                </a:cubicBezTo>
                <a:cubicBezTo>
                  <a:pt x="30" y="39"/>
                  <a:pt x="31" y="38"/>
                  <a:pt x="31" y="37"/>
                </a:cubicBezTo>
                <a:cubicBezTo>
                  <a:pt x="36" y="32"/>
                  <a:pt x="36" y="32"/>
                  <a:pt x="36" y="32"/>
                </a:cubicBezTo>
                <a:moveTo>
                  <a:pt x="35" y="27"/>
                </a:moveTo>
                <a:cubicBezTo>
                  <a:pt x="35" y="27"/>
                  <a:pt x="35" y="26"/>
                  <a:pt x="36" y="25"/>
                </a:cubicBezTo>
                <a:cubicBezTo>
                  <a:pt x="42" y="18"/>
                  <a:pt x="42" y="18"/>
                  <a:pt x="42" y="18"/>
                </a:cubicBezTo>
                <a:cubicBezTo>
                  <a:pt x="43" y="19"/>
                  <a:pt x="43" y="19"/>
                  <a:pt x="43" y="19"/>
                </a:cubicBezTo>
                <a:cubicBezTo>
                  <a:pt x="35" y="27"/>
                  <a:pt x="35" y="27"/>
                  <a:pt x="35" y="27"/>
                </a:cubicBezTo>
                <a:moveTo>
                  <a:pt x="36" y="0"/>
                </a:moveTo>
                <a:cubicBezTo>
                  <a:pt x="36" y="0"/>
                  <a:pt x="36" y="0"/>
                  <a:pt x="36" y="0"/>
                </a:cubicBezTo>
                <a:cubicBezTo>
                  <a:pt x="15" y="50"/>
                  <a:pt x="3" y="105"/>
                  <a:pt x="0" y="162"/>
                </a:cubicBezTo>
                <a:cubicBezTo>
                  <a:pt x="39" y="174"/>
                  <a:pt x="80" y="181"/>
                  <a:pt x="122" y="181"/>
                </a:cubicBezTo>
                <a:cubicBezTo>
                  <a:pt x="111" y="112"/>
                  <a:pt x="80" y="50"/>
                  <a:pt x="36" y="0"/>
                </a:cubicBezTo>
                <a:cubicBezTo>
                  <a:pt x="36" y="0"/>
                  <a:pt x="36" y="0"/>
                  <a:pt x="36" y="0"/>
                </a:cubicBezTo>
              </a:path>
            </a:pathLst>
          </a:custGeom>
          <a:ln/>
        </p:spPr>
        <p:style>
          <a:lnRef idx="1">
            <a:schemeClr val="accent1"/>
          </a:lnRef>
          <a:fillRef idx="0">
            <a:schemeClr val="accent1"/>
          </a:fillRef>
          <a:effectRef idx="0">
            <a:schemeClr val="accent1"/>
          </a:effectRef>
          <a:fontRef idx="minor">
            <a:schemeClr val="tx1"/>
          </a:fontRef>
        </p:style>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29" name="Freeform 174">
            <a:extLst>
              <a:ext uri="{FF2B5EF4-FFF2-40B4-BE49-F238E27FC236}">
                <a16:creationId xmlns:a16="http://schemas.microsoft.com/office/drawing/2014/main" id="{31266D8A-0E36-4CB8-B411-76A971FDE6EE}"/>
              </a:ext>
            </a:extLst>
          </p:cNvPr>
          <p:cNvSpPr>
            <a:spLocks/>
          </p:cNvSpPr>
          <p:nvPr/>
        </p:nvSpPr>
        <p:spPr bwMode="auto">
          <a:xfrm>
            <a:off x="5971163" y="4124611"/>
            <a:ext cx="5561" cy="5561"/>
          </a:xfrm>
          <a:custGeom>
            <a:avLst/>
            <a:gdLst>
              <a:gd name="T0" fmla="*/ 0 w 2"/>
              <a:gd name="T1" fmla="*/ 0 h 2"/>
              <a:gd name="T2" fmla="*/ 0 w 2"/>
              <a:gd name="T3" fmla="*/ 2 h 2"/>
              <a:gd name="T4" fmla="*/ 2 w 2"/>
              <a:gd name="T5" fmla="*/ 0 h 2"/>
              <a:gd name="T6" fmla="*/ 0 w 2"/>
              <a:gd name="T7" fmla="*/ 0 h 2"/>
            </a:gdLst>
            <a:ahLst/>
            <a:cxnLst>
              <a:cxn ang="0">
                <a:pos x="T0" y="T1"/>
              </a:cxn>
              <a:cxn ang="0">
                <a:pos x="T2" y="T3"/>
              </a:cxn>
              <a:cxn ang="0">
                <a:pos x="T4" y="T5"/>
              </a:cxn>
              <a:cxn ang="0">
                <a:pos x="T6" y="T7"/>
              </a:cxn>
            </a:cxnLst>
            <a:rect l="0" t="0" r="r" b="b"/>
            <a:pathLst>
              <a:path w="2" h="2">
                <a:moveTo>
                  <a:pt x="0" y="0"/>
                </a:moveTo>
                <a:lnTo>
                  <a:pt x="0" y="2"/>
                </a:lnTo>
                <a:lnTo>
                  <a:pt x="2" y="0"/>
                </a:lnTo>
                <a:lnTo>
                  <a:pt x="0" y="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30" name="Freeform 175">
            <a:extLst>
              <a:ext uri="{FF2B5EF4-FFF2-40B4-BE49-F238E27FC236}">
                <a16:creationId xmlns:a16="http://schemas.microsoft.com/office/drawing/2014/main" id="{BE1633EC-17D4-4230-A018-539C0DD586B7}"/>
              </a:ext>
            </a:extLst>
          </p:cNvPr>
          <p:cNvSpPr>
            <a:spLocks/>
          </p:cNvSpPr>
          <p:nvPr/>
        </p:nvSpPr>
        <p:spPr bwMode="auto">
          <a:xfrm>
            <a:off x="5971163" y="4124611"/>
            <a:ext cx="5561" cy="5561"/>
          </a:xfrm>
          <a:custGeom>
            <a:avLst/>
            <a:gdLst>
              <a:gd name="T0" fmla="*/ 0 w 2"/>
              <a:gd name="T1" fmla="*/ 0 h 2"/>
              <a:gd name="T2" fmla="*/ 0 w 2"/>
              <a:gd name="T3" fmla="*/ 2 h 2"/>
              <a:gd name="T4" fmla="*/ 2 w 2"/>
              <a:gd name="T5" fmla="*/ 0 h 2"/>
              <a:gd name="T6" fmla="*/ 0 w 2"/>
              <a:gd name="T7" fmla="*/ 0 h 2"/>
            </a:gdLst>
            <a:ahLst/>
            <a:cxnLst>
              <a:cxn ang="0">
                <a:pos x="T0" y="T1"/>
              </a:cxn>
              <a:cxn ang="0">
                <a:pos x="T2" y="T3"/>
              </a:cxn>
              <a:cxn ang="0">
                <a:pos x="T4" y="T5"/>
              </a:cxn>
              <a:cxn ang="0">
                <a:pos x="T6" y="T7"/>
              </a:cxn>
            </a:cxnLst>
            <a:rect l="0" t="0" r="r" b="b"/>
            <a:pathLst>
              <a:path w="2" h="2">
                <a:moveTo>
                  <a:pt x="0" y="0"/>
                </a:moveTo>
                <a:lnTo>
                  <a:pt x="0" y="2"/>
                </a:lnTo>
                <a:lnTo>
                  <a:pt x="2" y="0"/>
                </a:lnTo>
                <a:lnTo>
                  <a:pt x="0" y="0"/>
                </a:ln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31" name="Freeform 176">
            <a:extLst>
              <a:ext uri="{FF2B5EF4-FFF2-40B4-BE49-F238E27FC236}">
                <a16:creationId xmlns:a16="http://schemas.microsoft.com/office/drawing/2014/main" id="{E633D946-2C17-46AC-8913-6B8A1CAC1D59}"/>
              </a:ext>
            </a:extLst>
          </p:cNvPr>
          <p:cNvSpPr>
            <a:spLocks/>
          </p:cNvSpPr>
          <p:nvPr/>
        </p:nvSpPr>
        <p:spPr bwMode="auto">
          <a:xfrm>
            <a:off x="5971163" y="4144076"/>
            <a:ext cx="11123" cy="13904"/>
          </a:xfrm>
          <a:custGeom>
            <a:avLst/>
            <a:gdLst>
              <a:gd name="T0" fmla="*/ 3 w 4"/>
              <a:gd name="T1" fmla="*/ 0 h 5"/>
              <a:gd name="T2" fmla="*/ 0 w 4"/>
              <a:gd name="T3" fmla="*/ 2 h 5"/>
              <a:gd name="T4" fmla="*/ 0 w 4"/>
              <a:gd name="T5" fmla="*/ 5 h 5"/>
              <a:gd name="T6" fmla="*/ 4 w 4"/>
              <a:gd name="T7" fmla="*/ 1 h 5"/>
              <a:gd name="T8" fmla="*/ 3 w 4"/>
              <a:gd name="T9" fmla="*/ 0 h 5"/>
            </a:gdLst>
            <a:ahLst/>
            <a:cxnLst>
              <a:cxn ang="0">
                <a:pos x="T0" y="T1"/>
              </a:cxn>
              <a:cxn ang="0">
                <a:pos x="T2" y="T3"/>
              </a:cxn>
              <a:cxn ang="0">
                <a:pos x="T4" y="T5"/>
              </a:cxn>
              <a:cxn ang="0">
                <a:pos x="T6" y="T7"/>
              </a:cxn>
              <a:cxn ang="0">
                <a:pos x="T8" y="T9"/>
              </a:cxn>
            </a:cxnLst>
            <a:rect l="0" t="0" r="r" b="b"/>
            <a:pathLst>
              <a:path w="4" h="5">
                <a:moveTo>
                  <a:pt x="3" y="0"/>
                </a:moveTo>
                <a:lnTo>
                  <a:pt x="0" y="2"/>
                </a:lnTo>
                <a:lnTo>
                  <a:pt x="0" y="5"/>
                </a:lnTo>
                <a:lnTo>
                  <a:pt x="4" y="1"/>
                </a:lnTo>
                <a:lnTo>
                  <a:pt x="3" y="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32" name="Freeform 177">
            <a:extLst>
              <a:ext uri="{FF2B5EF4-FFF2-40B4-BE49-F238E27FC236}">
                <a16:creationId xmlns:a16="http://schemas.microsoft.com/office/drawing/2014/main" id="{B0645A91-5BC3-4735-9CC7-26CC3049FCBC}"/>
              </a:ext>
            </a:extLst>
          </p:cNvPr>
          <p:cNvSpPr>
            <a:spLocks/>
          </p:cNvSpPr>
          <p:nvPr/>
        </p:nvSpPr>
        <p:spPr bwMode="auto">
          <a:xfrm>
            <a:off x="5971163" y="4144076"/>
            <a:ext cx="11123" cy="13904"/>
          </a:xfrm>
          <a:custGeom>
            <a:avLst/>
            <a:gdLst>
              <a:gd name="T0" fmla="*/ 3 w 4"/>
              <a:gd name="T1" fmla="*/ 0 h 5"/>
              <a:gd name="T2" fmla="*/ 0 w 4"/>
              <a:gd name="T3" fmla="*/ 2 h 5"/>
              <a:gd name="T4" fmla="*/ 0 w 4"/>
              <a:gd name="T5" fmla="*/ 5 h 5"/>
              <a:gd name="T6" fmla="*/ 4 w 4"/>
              <a:gd name="T7" fmla="*/ 1 h 5"/>
              <a:gd name="T8" fmla="*/ 3 w 4"/>
              <a:gd name="T9" fmla="*/ 0 h 5"/>
            </a:gdLst>
            <a:ahLst/>
            <a:cxnLst>
              <a:cxn ang="0">
                <a:pos x="T0" y="T1"/>
              </a:cxn>
              <a:cxn ang="0">
                <a:pos x="T2" y="T3"/>
              </a:cxn>
              <a:cxn ang="0">
                <a:pos x="T4" y="T5"/>
              </a:cxn>
              <a:cxn ang="0">
                <a:pos x="T6" y="T7"/>
              </a:cxn>
              <a:cxn ang="0">
                <a:pos x="T8" y="T9"/>
              </a:cxn>
            </a:cxnLst>
            <a:rect l="0" t="0" r="r" b="b"/>
            <a:pathLst>
              <a:path w="4" h="5">
                <a:moveTo>
                  <a:pt x="3" y="0"/>
                </a:moveTo>
                <a:lnTo>
                  <a:pt x="0" y="2"/>
                </a:lnTo>
                <a:lnTo>
                  <a:pt x="0" y="5"/>
                </a:lnTo>
                <a:lnTo>
                  <a:pt x="4" y="1"/>
                </a:lnTo>
                <a:lnTo>
                  <a:pt x="3" y="0"/>
                </a:ln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33" name="Freeform 178">
            <a:extLst>
              <a:ext uri="{FF2B5EF4-FFF2-40B4-BE49-F238E27FC236}">
                <a16:creationId xmlns:a16="http://schemas.microsoft.com/office/drawing/2014/main" id="{DF00FF8F-5F72-495B-86F0-8874422F6D6F}"/>
              </a:ext>
            </a:extLst>
          </p:cNvPr>
          <p:cNvSpPr>
            <a:spLocks/>
          </p:cNvSpPr>
          <p:nvPr/>
        </p:nvSpPr>
        <p:spPr bwMode="auto">
          <a:xfrm>
            <a:off x="5971163" y="4163542"/>
            <a:ext cx="19466" cy="22246"/>
          </a:xfrm>
          <a:custGeom>
            <a:avLst/>
            <a:gdLst>
              <a:gd name="T0" fmla="*/ 5 w 5"/>
              <a:gd name="T1" fmla="*/ 0 h 6"/>
              <a:gd name="T2" fmla="*/ 0 w 5"/>
              <a:gd name="T3" fmla="*/ 4 h 6"/>
              <a:gd name="T4" fmla="*/ 0 w 5"/>
              <a:gd name="T5" fmla="*/ 6 h 6"/>
              <a:gd name="T6" fmla="*/ 5 w 5"/>
              <a:gd name="T7" fmla="*/ 1 h 6"/>
              <a:gd name="T8" fmla="*/ 5 w 5"/>
              <a:gd name="T9" fmla="*/ 0 h 6"/>
            </a:gdLst>
            <a:ahLst/>
            <a:cxnLst>
              <a:cxn ang="0">
                <a:pos x="T0" y="T1"/>
              </a:cxn>
              <a:cxn ang="0">
                <a:pos x="T2" y="T3"/>
              </a:cxn>
              <a:cxn ang="0">
                <a:pos x="T4" y="T5"/>
              </a:cxn>
              <a:cxn ang="0">
                <a:pos x="T6" y="T7"/>
              </a:cxn>
              <a:cxn ang="0">
                <a:pos x="T8" y="T9"/>
              </a:cxn>
            </a:cxnLst>
            <a:rect l="0" t="0" r="r" b="b"/>
            <a:pathLst>
              <a:path w="5" h="6">
                <a:moveTo>
                  <a:pt x="5" y="0"/>
                </a:moveTo>
                <a:cubicBezTo>
                  <a:pt x="0" y="4"/>
                  <a:pt x="0" y="4"/>
                  <a:pt x="0" y="4"/>
                </a:cubicBezTo>
                <a:cubicBezTo>
                  <a:pt x="0" y="6"/>
                  <a:pt x="0" y="6"/>
                  <a:pt x="0" y="6"/>
                </a:cubicBezTo>
                <a:cubicBezTo>
                  <a:pt x="5" y="1"/>
                  <a:pt x="5" y="1"/>
                  <a:pt x="5" y="1"/>
                </a:cubicBezTo>
                <a:cubicBezTo>
                  <a:pt x="5" y="1"/>
                  <a:pt x="5" y="0"/>
                  <a:pt x="5" y="0"/>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34" name="Freeform 179">
            <a:extLst>
              <a:ext uri="{FF2B5EF4-FFF2-40B4-BE49-F238E27FC236}">
                <a16:creationId xmlns:a16="http://schemas.microsoft.com/office/drawing/2014/main" id="{846BB4F7-E720-4549-B42D-F6C4E927A921}"/>
              </a:ext>
            </a:extLst>
          </p:cNvPr>
          <p:cNvSpPr>
            <a:spLocks/>
          </p:cNvSpPr>
          <p:nvPr/>
        </p:nvSpPr>
        <p:spPr bwMode="auto">
          <a:xfrm>
            <a:off x="5985066" y="4185787"/>
            <a:ext cx="11123" cy="11123"/>
          </a:xfrm>
          <a:custGeom>
            <a:avLst/>
            <a:gdLst>
              <a:gd name="T0" fmla="*/ 3 w 3"/>
              <a:gd name="T1" fmla="*/ 0 h 3"/>
              <a:gd name="T2" fmla="*/ 0 w 3"/>
              <a:gd name="T3" fmla="*/ 3 h 3"/>
              <a:gd name="T4" fmla="*/ 1 w 3"/>
              <a:gd name="T5" fmla="*/ 3 h 3"/>
              <a:gd name="T6" fmla="*/ 1 w 3"/>
              <a:gd name="T7" fmla="*/ 3 h 3"/>
              <a:gd name="T8" fmla="*/ 3 w 3"/>
              <a:gd name="T9" fmla="*/ 1 h 3"/>
              <a:gd name="T10" fmla="*/ 3 w 3"/>
              <a:gd name="T11" fmla="*/ 0 h 3"/>
            </a:gdLst>
            <a:ahLst/>
            <a:cxnLst>
              <a:cxn ang="0">
                <a:pos x="T0" y="T1"/>
              </a:cxn>
              <a:cxn ang="0">
                <a:pos x="T2" y="T3"/>
              </a:cxn>
              <a:cxn ang="0">
                <a:pos x="T4" y="T5"/>
              </a:cxn>
              <a:cxn ang="0">
                <a:pos x="T6" y="T7"/>
              </a:cxn>
              <a:cxn ang="0">
                <a:pos x="T8" y="T9"/>
              </a:cxn>
              <a:cxn ang="0">
                <a:pos x="T10" y="T11"/>
              </a:cxn>
            </a:cxnLst>
            <a:rect l="0" t="0" r="r" b="b"/>
            <a:pathLst>
              <a:path w="3" h="3">
                <a:moveTo>
                  <a:pt x="3" y="0"/>
                </a:moveTo>
                <a:cubicBezTo>
                  <a:pt x="0" y="3"/>
                  <a:pt x="0" y="3"/>
                  <a:pt x="0" y="3"/>
                </a:cubicBezTo>
                <a:cubicBezTo>
                  <a:pt x="1" y="3"/>
                  <a:pt x="1" y="3"/>
                  <a:pt x="1" y="3"/>
                </a:cubicBezTo>
                <a:cubicBezTo>
                  <a:pt x="1" y="3"/>
                  <a:pt x="1" y="3"/>
                  <a:pt x="1" y="3"/>
                </a:cubicBezTo>
                <a:cubicBezTo>
                  <a:pt x="3" y="1"/>
                  <a:pt x="3" y="1"/>
                  <a:pt x="3" y="1"/>
                </a:cubicBezTo>
                <a:cubicBezTo>
                  <a:pt x="3" y="1"/>
                  <a:pt x="3" y="0"/>
                  <a:pt x="3" y="0"/>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35" name="Freeform 180">
            <a:extLst>
              <a:ext uri="{FF2B5EF4-FFF2-40B4-BE49-F238E27FC236}">
                <a16:creationId xmlns:a16="http://schemas.microsoft.com/office/drawing/2014/main" id="{20DB7729-4ADB-4790-987B-08367A8A5FCD}"/>
              </a:ext>
            </a:extLst>
          </p:cNvPr>
          <p:cNvSpPr>
            <a:spLocks/>
          </p:cNvSpPr>
          <p:nvPr/>
        </p:nvSpPr>
        <p:spPr bwMode="auto">
          <a:xfrm>
            <a:off x="5971163" y="4196910"/>
            <a:ext cx="19466" cy="16684"/>
          </a:xfrm>
          <a:custGeom>
            <a:avLst/>
            <a:gdLst>
              <a:gd name="T0" fmla="*/ 7 w 7"/>
              <a:gd name="T1" fmla="*/ 0 h 6"/>
              <a:gd name="T2" fmla="*/ 5 w 7"/>
              <a:gd name="T3" fmla="*/ 0 h 6"/>
              <a:gd name="T4" fmla="*/ 5 w 7"/>
              <a:gd name="T5" fmla="*/ 0 h 6"/>
              <a:gd name="T6" fmla="*/ 0 w 7"/>
              <a:gd name="T7" fmla="*/ 3 h 6"/>
              <a:gd name="T8" fmla="*/ 0 w 7"/>
              <a:gd name="T9" fmla="*/ 3 h 6"/>
              <a:gd name="T10" fmla="*/ 0 w 7"/>
              <a:gd name="T11" fmla="*/ 6 h 6"/>
              <a:gd name="T12" fmla="*/ 7 w 7"/>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7" h="6">
                <a:moveTo>
                  <a:pt x="7" y="0"/>
                </a:moveTo>
                <a:lnTo>
                  <a:pt x="5" y="0"/>
                </a:lnTo>
                <a:lnTo>
                  <a:pt x="5" y="0"/>
                </a:lnTo>
                <a:lnTo>
                  <a:pt x="0" y="3"/>
                </a:lnTo>
                <a:lnTo>
                  <a:pt x="0" y="3"/>
                </a:lnTo>
                <a:lnTo>
                  <a:pt x="0" y="6"/>
                </a:lnTo>
                <a:lnTo>
                  <a:pt x="7" y="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36" name="Freeform 181">
            <a:extLst>
              <a:ext uri="{FF2B5EF4-FFF2-40B4-BE49-F238E27FC236}">
                <a16:creationId xmlns:a16="http://schemas.microsoft.com/office/drawing/2014/main" id="{3BFA137C-BAFC-4751-95B9-DAD543ACB283}"/>
              </a:ext>
            </a:extLst>
          </p:cNvPr>
          <p:cNvSpPr>
            <a:spLocks/>
          </p:cNvSpPr>
          <p:nvPr/>
        </p:nvSpPr>
        <p:spPr bwMode="auto">
          <a:xfrm>
            <a:off x="5971163" y="4196910"/>
            <a:ext cx="19466" cy="16684"/>
          </a:xfrm>
          <a:custGeom>
            <a:avLst/>
            <a:gdLst>
              <a:gd name="T0" fmla="*/ 7 w 7"/>
              <a:gd name="T1" fmla="*/ 0 h 6"/>
              <a:gd name="T2" fmla="*/ 5 w 7"/>
              <a:gd name="T3" fmla="*/ 0 h 6"/>
              <a:gd name="T4" fmla="*/ 5 w 7"/>
              <a:gd name="T5" fmla="*/ 0 h 6"/>
              <a:gd name="T6" fmla="*/ 0 w 7"/>
              <a:gd name="T7" fmla="*/ 3 h 6"/>
              <a:gd name="T8" fmla="*/ 0 w 7"/>
              <a:gd name="T9" fmla="*/ 3 h 6"/>
              <a:gd name="T10" fmla="*/ 0 w 7"/>
              <a:gd name="T11" fmla="*/ 6 h 6"/>
              <a:gd name="T12" fmla="*/ 7 w 7"/>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7" h="6">
                <a:moveTo>
                  <a:pt x="7" y="0"/>
                </a:moveTo>
                <a:lnTo>
                  <a:pt x="5" y="0"/>
                </a:lnTo>
                <a:lnTo>
                  <a:pt x="5" y="0"/>
                </a:lnTo>
                <a:lnTo>
                  <a:pt x="0" y="3"/>
                </a:lnTo>
                <a:lnTo>
                  <a:pt x="0" y="3"/>
                </a:lnTo>
                <a:lnTo>
                  <a:pt x="0" y="6"/>
                </a:lnTo>
                <a:lnTo>
                  <a:pt x="7" y="0"/>
                </a:ln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37" name="Freeform 182">
            <a:extLst>
              <a:ext uri="{FF2B5EF4-FFF2-40B4-BE49-F238E27FC236}">
                <a16:creationId xmlns:a16="http://schemas.microsoft.com/office/drawing/2014/main" id="{4D2B3A28-D668-4A5A-8217-248F36AB8308}"/>
              </a:ext>
            </a:extLst>
          </p:cNvPr>
          <p:cNvSpPr>
            <a:spLocks/>
          </p:cNvSpPr>
          <p:nvPr/>
        </p:nvSpPr>
        <p:spPr bwMode="auto">
          <a:xfrm>
            <a:off x="5971163" y="4205252"/>
            <a:ext cx="33369" cy="36150"/>
          </a:xfrm>
          <a:custGeom>
            <a:avLst/>
            <a:gdLst>
              <a:gd name="T0" fmla="*/ 8 w 9"/>
              <a:gd name="T1" fmla="*/ 0 h 10"/>
              <a:gd name="T2" fmla="*/ 0 w 9"/>
              <a:gd name="T3" fmla="*/ 8 h 10"/>
              <a:gd name="T4" fmla="*/ 0 w 9"/>
              <a:gd name="T5" fmla="*/ 8 h 10"/>
              <a:gd name="T6" fmla="*/ 0 w 9"/>
              <a:gd name="T7" fmla="*/ 10 h 10"/>
              <a:gd name="T8" fmla="*/ 9 w 9"/>
              <a:gd name="T9" fmla="*/ 1 h 10"/>
              <a:gd name="T10" fmla="*/ 8 w 9"/>
              <a:gd name="T11" fmla="*/ 0 h 10"/>
            </a:gdLst>
            <a:ahLst/>
            <a:cxnLst>
              <a:cxn ang="0">
                <a:pos x="T0" y="T1"/>
              </a:cxn>
              <a:cxn ang="0">
                <a:pos x="T2" y="T3"/>
              </a:cxn>
              <a:cxn ang="0">
                <a:pos x="T4" y="T5"/>
              </a:cxn>
              <a:cxn ang="0">
                <a:pos x="T6" y="T7"/>
              </a:cxn>
              <a:cxn ang="0">
                <a:pos x="T8" y="T9"/>
              </a:cxn>
              <a:cxn ang="0">
                <a:pos x="T10" y="T11"/>
              </a:cxn>
            </a:cxnLst>
            <a:rect l="0" t="0" r="r" b="b"/>
            <a:pathLst>
              <a:path w="9" h="10">
                <a:moveTo>
                  <a:pt x="8" y="0"/>
                </a:moveTo>
                <a:cubicBezTo>
                  <a:pt x="0" y="8"/>
                  <a:pt x="0" y="8"/>
                  <a:pt x="0" y="8"/>
                </a:cubicBezTo>
                <a:cubicBezTo>
                  <a:pt x="0" y="8"/>
                  <a:pt x="0" y="8"/>
                  <a:pt x="0" y="8"/>
                </a:cubicBezTo>
                <a:cubicBezTo>
                  <a:pt x="0" y="10"/>
                  <a:pt x="0" y="10"/>
                  <a:pt x="0" y="10"/>
                </a:cubicBezTo>
                <a:cubicBezTo>
                  <a:pt x="9" y="1"/>
                  <a:pt x="9" y="1"/>
                  <a:pt x="9" y="1"/>
                </a:cubicBezTo>
                <a:cubicBezTo>
                  <a:pt x="9" y="1"/>
                  <a:pt x="9" y="0"/>
                  <a:pt x="8" y="0"/>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38" name="Freeform 183">
            <a:extLst>
              <a:ext uri="{FF2B5EF4-FFF2-40B4-BE49-F238E27FC236}">
                <a16:creationId xmlns:a16="http://schemas.microsoft.com/office/drawing/2014/main" id="{27F06AF3-BC10-4D07-AE5E-8EBF097AE8C9}"/>
              </a:ext>
            </a:extLst>
          </p:cNvPr>
          <p:cNvSpPr>
            <a:spLocks/>
          </p:cNvSpPr>
          <p:nvPr/>
        </p:nvSpPr>
        <p:spPr bwMode="auto">
          <a:xfrm>
            <a:off x="5971163" y="4227498"/>
            <a:ext cx="38930" cy="38930"/>
          </a:xfrm>
          <a:custGeom>
            <a:avLst/>
            <a:gdLst>
              <a:gd name="T0" fmla="*/ 10 w 11"/>
              <a:gd name="T1" fmla="*/ 0 h 11"/>
              <a:gd name="T2" fmla="*/ 0 w 11"/>
              <a:gd name="T3" fmla="*/ 10 h 11"/>
              <a:gd name="T4" fmla="*/ 0 w 11"/>
              <a:gd name="T5" fmla="*/ 11 h 11"/>
              <a:gd name="T6" fmla="*/ 11 w 11"/>
              <a:gd name="T7" fmla="*/ 1 h 11"/>
              <a:gd name="T8" fmla="*/ 10 w 11"/>
              <a:gd name="T9" fmla="*/ 0 h 11"/>
            </a:gdLst>
            <a:ahLst/>
            <a:cxnLst>
              <a:cxn ang="0">
                <a:pos x="T0" y="T1"/>
              </a:cxn>
              <a:cxn ang="0">
                <a:pos x="T2" y="T3"/>
              </a:cxn>
              <a:cxn ang="0">
                <a:pos x="T4" y="T5"/>
              </a:cxn>
              <a:cxn ang="0">
                <a:pos x="T6" y="T7"/>
              </a:cxn>
              <a:cxn ang="0">
                <a:pos x="T8" y="T9"/>
              </a:cxn>
            </a:cxnLst>
            <a:rect l="0" t="0" r="r" b="b"/>
            <a:pathLst>
              <a:path w="11" h="11">
                <a:moveTo>
                  <a:pt x="10" y="0"/>
                </a:moveTo>
                <a:cubicBezTo>
                  <a:pt x="0" y="10"/>
                  <a:pt x="0" y="10"/>
                  <a:pt x="0" y="10"/>
                </a:cubicBezTo>
                <a:cubicBezTo>
                  <a:pt x="0" y="11"/>
                  <a:pt x="0" y="11"/>
                  <a:pt x="0" y="11"/>
                </a:cubicBezTo>
                <a:cubicBezTo>
                  <a:pt x="11" y="1"/>
                  <a:pt x="11" y="1"/>
                  <a:pt x="11" y="1"/>
                </a:cubicBezTo>
                <a:cubicBezTo>
                  <a:pt x="11" y="1"/>
                  <a:pt x="10" y="1"/>
                  <a:pt x="10" y="0"/>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39" name="Freeform 184">
            <a:extLst>
              <a:ext uri="{FF2B5EF4-FFF2-40B4-BE49-F238E27FC236}">
                <a16:creationId xmlns:a16="http://schemas.microsoft.com/office/drawing/2014/main" id="{A6157378-ADD5-4B30-8AA5-F2464F26AFDE}"/>
              </a:ext>
            </a:extLst>
          </p:cNvPr>
          <p:cNvSpPr>
            <a:spLocks/>
          </p:cNvSpPr>
          <p:nvPr/>
        </p:nvSpPr>
        <p:spPr bwMode="auto">
          <a:xfrm>
            <a:off x="5971163" y="4246963"/>
            <a:ext cx="41712" cy="47273"/>
          </a:xfrm>
          <a:custGeom>
            <a:avLst/>
            <a:gdLst>
              <a:gd name="T0" fmla="*/ 12 w 12"/>
              <a:gd name="T1" fmla="*/ 0 h 13"/>
              <a:gd name="T2" fmla="*/ 0 w 12"/>
              <a:gd name="T3" fmla="*/ 12 h 13"/>
              <a:gd name="T4" fmla="*/ 0 w 12"/>
              <a:gd name="T5" fmla="*/ 12 h 13"/>
              <a:gd name="T6" fmla="*/ 0 w 12"/>
              <a:gd name="T7" fmla="*/ 13 h 13"/>
              <a:gd name="T8" fmla="*/ 12 w 12"/>
              <a:gd name="T9" fmla="*/ 2 h 13"/>
              <a:gd name="T10" fmla="*/ 12 w 12"/>
              <a:gd name="T11" fmla="*/ 0 h 13"/>
            </a:gdLst>
            <a:ahLst/>
            <a:cxnLst>
              <a:cxn ang="0">
                <a:pos x="T0" y="T1"/>
              </a:cxn>
              <a:cxn ang="0">
                <a:pos x="T2" y="T3"/>
              </a:cxn>
              <a:cxn ang="0">
                <a:pos x="T4" y="T5"/>
              </a:cxn>
              <a:cxn ang="0">
                <a:pos x="T6" y="T7"/>
              </a:cxn>
              <a:cxn ang="0">
                <a:pos x="T8" y="T9"/>
              </a:cxn>
              <a:cxn ang="0">
                <a:pos x="T10" y="T11"/>
              </a:cxn>
            </a:cxnLst>
            <a:rect l="0" t="0" r="r" b="b"/>
            <a:pathLst>
              <a:path w="12" h="13">
                <a:moveTo>
                  <a:pt x="12" y="0"/>
                </a:moveTo>
                <a:cubicBezTo>
                  <a:pt x="0" y="12"/>
                  <a:pt x="0" y="12"/>
                  <a:pt x="0" y="12"/>
                </a:cubicBezTo>
                <a:cubicBezTo>
                  <a:pt x="0" y="12"/>
                  <a:pt x="0" y="12"/>
                  <a:pt x="0" y="12"/>
                </a:cubicBezTo>
                <a:cubicBezTo>
                  <a:pt x="0" y="13"/>
                  <a:pt x="0" y="13"/>
                  <a:pt x="0" y="13"/>
                </a:cubicBezTo>
                <a:cubicBezTo>
                  <a:pt x="12" y="2"/>
                  <a:pt x="12" y="2"/>
                  <a:pt x="12" y="2"/>
                </a:cubicBezTo>
                <a:cubicBezTo>
                  <a:pt x="12" y="1"/>
                  <a:pt x="12" y="1"/>
                  <a:pt x="12" y="0"/>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40" name="Freeform 185">
            <a:extLst>
              <a:ext uri="{FF2B5EF4-FFF2-40B4-BE49-F238E27FC236}">
                <a16:creationId xmlns:a16="http://schemas.microsoft.com/office/drawing/2014/main" id="{B87C9E28-26B3-4AE1-9080-725843F0D919}"/>
              </a:ext>
            </a:extLst>
          </p:cNvPr>
          <p:cNvSpPr>
            <a:spLocks/>
          </p:cNvSpPr>
          <p:nvPr/>
        </p:nvSpPr>
        <p:spPr bwMode="auto">
          <a:xfrm>
            <a:off x="5971163" y="4271989"/>
            <a:ext cx="50053" cy="50053"/>
          </a:xfrm>
          <a:custGeom>
            <a:avLst/>
            <a:gdLst>
              <a:gd name="T0" fmla="*/ 14 w 14"/>
              <a:gd name="T1" fmla="*/ 0 h 14"/>
              <a:gd name="T2" fmla="*/ 0 w 14"/>
              <a:gd name="T3" fmla="*/ 13 h 14"/>
              <a:gd name="T4" fmla="*/ 0 w 14"/>
              <a:gd name="T5" fmla="*/ 13 h 14"/>
              <a:gd name="T6" fmla="*/ 0 w 14"/>
              <a:gd name="T7" fmla="*/ 14 h 14"/>
              <a:gd name="T8" fmla="*/ 14 w 14"/>
              <a:gd name="T9" fmla="*/ 1 h 14"/>
              <a:gd name="T10" fmla="*/ 14 w 14"/>
              <a:gd name="T11" fmla="*/ 0 h 14"/>
            </a:gdLst>
            <a:ahLst/>
            <a:cxnLst>
              <a:cxn ang="0">
                <a:pos x="T0" y="T1"/>
              </a:cxn>
              <a:cxn ang="0">
                <a:pos x="T2" y="T3"/>
              </a:cxn>
              <a:cxn ang="0">
                <a:pos x="T4" y="T5"/>
              </a:cxn>
              <a:cxn ang="0">
                <a:pos x="T6" y="T7"/>
              </a:cxn>
              <a:cxn ang="0">
                <a:pos x="T8" y="T9"/>
              </a:cxn>
              <a:cxn ang="0">
                <a:pos x="T10" y="T11"/>
              </a:cxn>
            </a:cxnLst>
            <a:rect l="0" t="0" r="r" b="b"/>
            <a:pathLst>
              <a:path w="14" h="14">
                <a:moveTo>
                  <a:pt x="14" y="0"/>
                </a:moveTo>
                <a:cubicBezTo>
                  <a:pt x="0" y="13"/>
                  <a:pt x="0" y="13"/>
                  <a:pt x="0" y="13"/>
                </a:cubicBezTo>
                <a:cubicBezTo>
                  <a:pt x="0" y="13"/>
                  <a:pt x="0" y="13"/>
                  <a:pt x="0" y="13"/>
                </a:cubicBezTo>
                <a:cubicBezTo>
                  <a:pt x="0" y="14"/>
                  <a:pt x="0" y="14"/>
                  <a:pt x="0" y="14"/>
                </a:cubicBezTo>
                <a:cubicBezTo>
                  <a:pt x="14" y="1"/>
                  <a:pt x="14" y="1"/>
                  <a:pt x="14" y="1"/>
                </a:cubicBezTo>
                <a:cubicBezTo>
                  <a:pt x="14" y="1"/>
                  <a:pt x="14" y="0"/>
                  <a:pt x="14" y="0"/>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41" name="Freeform 186">
            <a:extLst>
              <a:ext uri="{FF2B5EF4-FFF2-40B4-BE49-F238E27FC236}">
                <a16:creationId xmlns:a16="http://schemas.microsoft.com/office/drawing/2014/main" id="{CECF84F7-5442-42F2-9073-AB15D6FF4A0E}"/>
              </a:ext>
            </a:extLst>
          </p:cNvPr>
          <p:cNvSpPr>
            <a:spLocks/>
          </p:cNvSpPr>
          <p:nvPr/>
        </p:nvSpPr>
        <p:spPr bwMode="auto">
          <a:xfrm>
            <a:off x="5976724" y="4294235"/>
            <a:ext cx="47273" cy="52834"/>
          </a:xfrm>
          <a:custGeom>
            <a:avLst/>
            <a:gdLst>
              <a:gd name="T0" fmla="*/ 14 w 14"/>
              <a:gd name="T1" fmla="*/ 0 h 15"/>
              <a:gd name="T2" fmla="*/ 0 w 14"/>
              <a:gd name="T3" fmla="*/ 15 h 15"/>
              <a:gd name="T4" fmla="*/ 1 w 14"/>
              <a:gd name="T5" fmla="*/ 15 h 15"/>
              <a:gd name="T6" fmla="*/ 14 w 14"/>
              <a:gd name="T7" fmla="*/ 1 h 15"/>
              <a:gd name="T8" fmla="*/ 14 w 14"/>
              <a:gd name="T9" fmla="*/ 0 h 15"/>
            </a:gdLst>
            <a:ahLst/>
            <a:cxnLst>
              <a:cxn ang="0">
                <a:pos x="T0" y="T1"/>
              </a:cxn>
              <a:cxn ang="0">
                <a:pos x="T2" y="T3"/>
              </a:cxn>
              <a:cxn ang="0">
                <a:pos x="T4" y="T5"/>
              </a:cxn>
              <a:cxn ang="0">
                <a:pos x="T6" y="T7"/>
              </a:cxn>
              <a:cxn ang="0">
                <a:pos x="T8" y="T9"/>
              </a:cxn>
            </a:cxnLst>
            <a:rect l="0" t="0" r="r" b="b"/>
            <a:pathLst>
              <a:path w="14" h="15">
                <a:moveTo>
                  <a:pt x="14" y="0"/>
                </a:moveTo>
                <a:cubicBezTo>
                  <a:pt x="0" y="15"/>
                  <a:pt x="0" y="15"/>
                  <a:pt x="0" y="15"/>
                </a:cubicBezTo>
                <a:cubicBezTo>
                  <a:pt x="0" y="15"/>
                  <a:pt x="0" y="15"/>
                  <a:pt x="1" y="15"/>
                </a:cubicBezTo>
                <a:cubicBezTo>
                  <a:pt x="14" y="1"/>
                  <a:pt x="14" y="1"/>
                  <a:pt x="14" y="1"/>
                </a:cubicBezTo>
                <a:cubicBezTo>
                  <a:pt x="14" y="1"/>
                  <a:pt x="14" y="1"/>
                  <a:pt x="14" y="0"/>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42" name="Freeform 187">
            <a:extLst>
              <a:ext uri="{FF2B5EF4-FFF2-40B4-BE49-F238E27FC236}">
                <a16:creationId xmlns:a16="http://schemas.microsoft.com/office/drawing/2014/main" id="{B3F3214F-FE56-47D7-A38F-06675F9C1E8A}"/>
              </a:ext>
            </a:extLst>
          </p:cNvPr>
          <p:cNvSpPr>
            <a:spLocks/>
          </p:cNvSpPr>
          <p:nvPr/>
        </p:nvSpPr>
        <p:spPr bwMode="auto">
          <a:xfrm>
            <a:off x="5998970" y="4316481"/>
            <a:ext cx="33369" cy="30589"/>
          </a:xfrm>
          <a:custGeom>
            <a:avLst/>
            <a:gdLst>
              <a:gd name="T0" fmla="*/ 8 w 9"/>
              <a:gd name="T1" fmla="*/ 0 h 8"/>
              <a:gd name="T2" fmla="*/ 0 w 9"/>
              <a:gd name="T3" fmla="*/ 8 h 8"/>
              <a:gd name="T4" fmla="*/ 2 w 9"/>
              <a:gd name="T5" fmla="*/ 8 h 8"/>
              <a:gd name="T6" fmla="*/ 9 w 9"/>
              <a:gd name="T7" fmla="*/ 1 h 8"/>
              <a:gd name="T8" fmla="*/ 8 w 9"/>
              <a:gd name="T9" fmla="*/ 0 h 8"/>
            </a:gdLst>
            <a:ahLst/>
            <a:cxnLst>
              <a:cxn ang="0">
                <a:pos x="T0" y="T1"/>
              </a:cxn>
              <a:cxn ang="0">
                <a:pos x="T2" y="T3"/>
              </a:cxn>
              <a:cxn ang="0">
                <a:pos x="T4" y="T5"/>
              </a:cxn>
              <a:cxn ang="0">
                <a:pos x="T6" y="T7"/>
              </a:cxn>
              <a:cxn ang="0">
                <a:pos x="T8" y="T9"/>
              </a:cxn>
            </a:cxnLst>
            <a:rect l="0" t="0" r="r" b="b"/>
            <a:pathLst>
              <a:path w="9" h="8">
                <a:moveTo>
                  <a:pt x="8" y="0"/>
                </a:moveTo>
                <a:cubicBezTo>
                  <a:pt x="0" y="8"/>
                  <a:pt x="0" y="8"/>
                  <a:pt x="0" y="8"/>
                </a:cubicBezTo>
                <a:cubicBezTo>
                  <a:pt x="1" y="8"/>
                  <a:pt x="1" y="8"/>
                  <a:pt x="2" y="8"/>
                </a:cubicBezTo>
                <a:cubicBezTo>
                  <a:pt x="9" y="1"/>
                  <a:pt x="9" y="1"/>
                  <a:pt x="9" y="1"/>
                </a:cubicBezTo>
                <a:cubicBezTo>
                  <a:pt x="9" y="1"/>
                  <a:pt x="8" y="0"/>
                  <a:pt x="8" y="0"/>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43" name="Freeform 188">
            <a:extLst>
              <a:ext uri="{FF2B5EF4-FFF2-40B4-BE49-F238E27FC236}">
                <a16:creationId xmlns:a16="http://schemas.microsoft.com/office/drawing/2014/main" id="{CA9164B5-84CE-48A4-BD85-3F657C0AA3F1}"/>
              </a:ext>
            </a:extLst>
          </p:cNvPr>
          <p:cNvSpPr>
            <a:spLocks/>
          </p:cNvSpPr>
          <p:nvPr/>
        </p:nvSpPr>
        <p:spPr bwMode="auto">
          <a:xfrm>
            <a:off x="6026777" y="4341508"/>
            <a:ext cx="8343" cy="5561"/>
          </a:xfrm>
          <a:custGeom>
            <a:avLst/>
            <a:gdLst>
              <a:gd name="T0" fmla="*/ 2 w 2"/>
              <a:gd name="T1" fmla="*/ 0 h 1"/>
              <a:gd name="T2" fmla="*/ 0 w 2"/>
              <a:gd name="T3" fmla="*/ 1 h 1"/>
              <a:gd name="T4" fmla="*/ 1 w 2"/>
              <a:gd name="T5" fmla="*/ 1 h 1"/>
              <a:gd name="T6" fmla="*/ 2 w 2"/>
              <a:gd name="T7" fmla="*/ 1 h 1"/>
              <a:gd name="T8" fmla="*/ 2 w 2"/>
              <a:gd name="T9" fmla="*/ 0 h 1"/>
            </a:gdLst>
            <a:ahLst/>
            <a:cxnLst>
              <a:cxn ang="0">
                <a:pos x="T0" y="T1"/>
              </a:cxn>
              <a:cxn ang="0">
                <a:pos x="T2" y="T3"/>
              </a:cxn>
              <a:cxn ang="0">
                <a:pos x="T4" y="T5"/>
              </a:cxn>
              <a:cxn ang="0">
                <a:pos x="T6" y="T7"/>
              </a:cxn>
              <a:cxn ang="0">
                <a:pos x="T8" y="T9"/>
              </a:cxn>
            </a:cxnLst>
            <a:rect l="0" t="0" r="r" b="b"/>
            <a:pathLst>
              <a:path w="2" h="1">
                <a:moveTo>
                  <a:pt x="2" y="0"/>
                </a:moveTo>
                <a:cubicBezTo>
                  <a:pt x="0" y="1"/>
                  <a:pt x="0" y="1"/>
                  <a:pt x="0" y="1"/>
                </a:cubicBezTo>
                <a:cubicBezTo>
                  <a:pt x="0" y="1"/>
                  <a:pt x="1" y="1"/>
                  <a:pt x="1" y="1"/>
                </a:cubicBezTo>
                <a:cubicBezTo>
                  <a:pt x="2" y="1"/>
                  <a:pt x="2" y="1"/>
                  <a:pt x="2" y="1"/>
                </a:cubicBezTo>
                <a:cubicBezTo>
                  <a:pt x="2" y="0"/>
                  <a:pt x="2" y="0"/>
                  <a:pt x="2" y="0"/>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44" name="Freeform 189">
            <a:extLst>
              <a:ext uri="{FF2B5EF4-FFF2-40B4-BE49-F238E27FC236}">
                <a16:creationId xmlns:a16="http://schemas.microsoft.com/office/drawing/2014/main" id="{2863D44A-39DC-4C9E-BFA4-8C953D883CD8}"/>
              </a:ext>
            </a:extLst>
          </p:cNvPr>
          <p:cNvSpPr>
            <a:spLocks/>
          </p:cNvSpPr>
          <p:nvPr/>
        </p:nvSpPr>
        <p:spPr bwMode="auto">
          <a:xfrm>
            <a:off x="5759827" y="3810389"/>
            <a:ext cx="27807" cy="33369"/>
          </a:xfrm>
          <a:custGeom>
            <a:avLst/>
            <a:gdLst>
              <a:gd name="T0" fmla="*/ 7 w 8"/>
              <a:gd name="T1" fmla="*/ 0 h 9"/>
              <a:gd name="T2" fmla="*/ 1 w 8"/>
              <a:gd name="T3" fmla="*/ 7 h 9"/>
              <a:gd name="T4" fmla="*/ 0 w 8"/>
              <a:gd name="T5" fmla="*/ 9 h 9"/>
              <a:gd name="T6" fmla="*/ 8 w 8"/>
              <a:gd name="T7" fmla="*/ 1 h 9"/>
              <a:gd name="T8" fmla="*/ 7 w 8"/>
              <a:gd name="T9" fmla="*/ 0 h 9"/>
            </a:gdLst>
            <a:ahLst/>
            <a:cxnLst>
              <a:cxn ang="0">
                <a:pos x="T0" y="T1"/>
              </a:cxn>
              <a:cxn ang="0">
                <a:pos x="T2" y="T3"/>
              </a:cxn>
              <a:cxn ang="0">
                <a:pos x="T4" y="T5"/>
              </a:cxn>
              <a:cxn ang="0">
                <a:pos x="T6" y="T7"/>
              </a:cxn>
              <a:cxn ang="0">
                <a:pos x="T8" y="T9"/>
              </a:cxn>
            </a:cxnLst>
            <a:rect l="0" t="0" r="r" b="b"/>
            <a:pathLst>
              <a:path w="8" h="9">
                <a:moveTo>
                  <a:pt x="7" y="0"/>
                </a:moveTo>
                <a:cubicBezTo>
                  <a:pt x="1" y="7"/>
                  <a:pt x="1" y="7"/>
                  <a:pt x="1" y="7"/>
                </a:cubicBezTo>
                <a:cubicBezTo>
                  <a:pt x="0" y="8"/>
                  <a:pt x="0" y="9"/>
                  <a:pt x="0" y="9"/>
                </a:cubicBezTo>
                <a:cubicBezTo>
                  <a:pt x="8" y="1"/>
                  <a:pt x="8" y="1"/>
                  <a:pt x="8" y="1"/>
                </a:cubicBezTo>
                <a:cubicBezTo>
                  <a:pt x="7" y="0"/>
                  <a:pt x="7" y="0"/>
                  <a:pt x="7" y="0"/>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45" name="Freeform 190">
            <a:extLst>
              <a:ext uri="{FF2B5EF4-FFF2-40B4-BE49-F238E27FC236}">
                <a16:creationId xmlns:a16="http://schemas.microsoft.com/office/drawing/2014/main" id="{97FE46E4-6A98-4724-A8C5-2D922DB9D1E2}"/>
              </a:ext>
            </a:extLst>
          </p:cNvPr>
          <p:cNvSpPr>
            <a:spLocks/>
          </p:cNvSpPr>
          <p:nvPr/>
        </p:nvSpPr>
        <p:spPr bwMode="auto">
          <a:xfrm>
            <a:off x="5762607" y="3824292"/>
            <a:ext cx="38930" cy="36150"/>
          </a:xfrm>
          <a:custGeom>
            <a:avLst/>
            <a:gdLst>
              <a:gd name="T0" fmla="*/ 13 w 14"/>
              <a:gd name="T1" fmla="*/ 0 h 13"/>
              <a:gd name="T2" fmla="*/ 0 w 14"/>
              <a:gd name="T3" fmla="*/ 13 h 13"/>
              <a:gd name="T4" fmla="*/ 3 w 14"/>
              <a:gd name="T5" fmla="*/ 13 h 13"/>
              <a:gd name="T6" fmla="*/ 14 w 14"/>
              <a:gd name="T7" fmla="*/ 2 h 13"/>
              <a:gd name="T8" fmla="*/ 13 w 14"/>
              <a:gd name="T9" fmla="*/ 0 h 13"/>
            </a:gdLst>
            <a:ahLst/>
            <a:cxnLst>
              <a:cxn ang="0">
                <a:pos x="T0" y="T1"/>
              </a:cxn>
              <a:cxn ang="0">
                <a:pos x="T2" y="T3"/>
              </a:cxn>
              <a:cxn ang="0">
                <a:pos x="T4" y="T5"/>
              </a:cxn>
              <a:cxn ang="0">
                <a:pos x="T6" y="T7"/>
              </a:cxn>
              <a:cxn ang="0">
                <a:pos x="T8" y="T9"/>
              </a:cxn>
            </a:cxnLst>
            <a:rect l="0" t="0" r="r" b="b"/>
            <a:pathLst>
              <a:path w="14" h="13">
                <a:moveTo>
                  <a:pt x="13" y="0"/>
                </a:moveTo>
                <a:lnTo>
                  <a:pt x="0" y="13"/>
                </a:lnTo>
                <a:lnTo>
                  <a:pt x="3" y="13"/>
                </a:lnTo>
                <a:lnTo>
                  <a:pt x="14" y="2"/>
                </a:lnTo>
                <a:lnTo>
                  <a:pt x="13" y="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46" name="Freeform 191">
            <a:extLst>
              <a:ext uri="{FF2B5EF4-FFF2-40B4-BE49-F238E27FC236}">
                <a16:creationId xmlns:a16="http://schemas.microsoft.com/office/drawing/2014/main" id="{1D7EA3B6-D1C4-4AA4-8001-2D65F9D6F991}"/>
              </a:ext>
            </a:extLst>
          </p:cNvPr>
          <p:cNvSpPr>
            <a:spLocks/>
          </p:cNvSpPr>
          <p:nvPr/>
        </p:nvSpPr>
        <p:spPr bwMode="auto">
          <a:xfrm>
            <a:off x="5762607" y="3824292"/>
            <a:ext cx="38930" cy="36150"/>
          </a:xfrm>
          <a:custGeom>
            <a:avLst/>
            <a:gdLst>
              <a:gd name="T0" fmla="*/ 13 w 14"/>
              <a:gd name="T1" fmla="*/ 0 h 13"/>
              <a:gd name="T2" fmla="*/ 0 w 14"/>
              <a:gd name="T3" fmla="*/ 13 h 13"/>
              <a:gd name="T4" fmla="*/ 3 w 14"/>
              <a:gd name="T5" fmla="*/ 13 h 13"/>
              <a:gd name="T6" fmla="*/ 14 w 14"/>
              <a:gd name="T7" fmla="*/ 2 h 13"/>
              <a:gd name="T8" fmla="*/ 13 w 14"/>
              <a:gd name="T9" fmla="*/ 0 h 13"/>
            </a:gdLst>
            <a:ahLst/>
            <a:cxnLst>
              <a:cxn ang="0">
                <a:pos x="T0" y="T1"/>
              </a:cxn>
              <a:cxn ang="0">
                <a:pos x="T2" y="T3"/>
              </a:cxn>
              <a:cxn ang="0">
                <a:pos x="T4" y="T5"/>
              </a:cxn>
              <a:cxn ang="0">
                <a:pos x="T6" y="T7"/>
              </a:cxn>
              <a:cxn ang="0">
                <a:pos x="T8" y="T9"/>
              </a:cxn>
            </a:cxnLst>
            <a:rect l="0" t="0" r="r" b="b"/>
            <a:pathLst>
              <a:path w="14" h="13">
                <a:moveTo>
                  <a:pt x="13" y="0"/>
                </a:moveTo>
                <a:lnTo>
                  <a:pt x="0" y="13"/>
                </a:lnTo>
                <a:lnTo>
                  <a:pt x="3" y="13"/>
                </a:lnTo>
                <a:lnTo>
                  <a:pt x="14" y="2"/>
                </a:lnTo>
                <a:lnTo>
                  <a:pt x="13" y="0"/>
                </a:ln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47" name="Freeform 192">
            <a:extLst>
              <a:ext uri="{FF2B5EF4-FFF2-40B4-BE49-F238E27FC236}">
                <a16:creationId xmlns:a16="http://schemas.microsoft.com/office/drawing/2014/main" id="{6FBD8156-7C56-47C8-8D7D-3F727E330FB0}"/>
              </a:ext>
            </a:extLst>
          </p:cNvPr>
          <p:cNvSpPr>
            <a:spLocks/>
          </p:cNvSpPr>
          <p:nvPr/>
        </p:nvSpPr>
        <p:spPr bwMode="auto">
          <a:xfrm>
            <a:off x="5790415" y="3843757"/>
            <a:ext cx="22246" cy="16684"/>
          </a:xfrm>
          <a:custGeom>
            <a:avLst/>
            <a:gdLst>
              <a:gd name="T0" fmla="*/ 8 w 8"/>
              <a:gd name="T1" fmla="*/ 0 h 6"/>
              <a:gd name="T2" fmla="*/ 0 w 8"/>
              <a:gd name="T3" fmla="*/ 6 h 6"/>
              <a:gd name="T4" fmla="*/ 3 w 8"/>
              <a:gd name="T5" fmla="*/ 6 h 6"/>
              <a:gd name="T6" fmla="*/ 8 w 8"/>
              <a:gd name="T7" fmla="*/ 1 h 6"/>
              <a:gd name="T8" fmla="*/ 8 w 8"/>
              <a:gd name="T9" fmla="*/ 0 h 6"/>
            </a:gdLst>
            <a:ahLst/>
            <a:cxnLst>
              <a:cxn ang="0">
                <a:pos x="T0" y="T1"/>
              </a:cxn>
              <a:cxn ang="0">
                <a:pos x="T2" y="T3"/>
              </a:cxn>
              <a:cxn ang="0">
                <a:pos x="T4" y="T5"/>
              </a:cxn>
              <a:cxn ang="0">
                <a:pos x="T6" y="T7"/>
              </a:cxn>
              <a:cxn ang="0">
                <a:pos x="T8" y="T9"/>
              </a:cxn>
            </a:cxnLst>
            <a:rect l="0" t="0" r="r" b="b"/>
            <a:pathLst>
              <a:path w="8" h="6">
                <a:moveTo>
                  <a:pt x="8" y="0"/>
                </a:moveTo>
                <a:lnTo>
                  <a:pt x="0" y="6"/>
                </a:lnTo>
                <a:lnTo>
                  <a:pt x="3" y="6"/>
                </a:lnTo>
                <a:lnTo>
                  <a:pt x="8" y="1"/>
                </a:lnTo>
                <a:lnTo>
                  <a:pt x="8" y="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48" name="Freeform 193">
            <a:extLst>
              <a:ext uri="{FF2B5EF4-FFF2-40B4-BE49-F238E27FC236}">
                <a16:creationId xmlns:a16="http://schemas.microsoft.com/office/drawing/2014/main" id="{918428AA-9503-4B60-8C71-43C5CBF559D8}"/>
              </a:ext>
            </a:extLst>
          </p:cNvPr>
          <p:cNvSpPr>
            <a:spLocks/>
          </p:cNvSpPr>
          <p:nvPr/>
        </p:nvSpPr>
        <p:spPr bwMode="auto">
          <a:xfrm>
            <a:off x="5790415" y="3843757"/>
            <a:ext cx="22246" cy="16684"/>
          </a:xfrm>
          <a:custGeom>
            <a:avLst/>
            <a:gdLst>
              <a:gd name="T0" fmla="*/ 8 w 8"/>
              <a:gd name="T1" fmla="*/ 0 h 6"/>
              <a:gd name="T2" fmla="*/ 0 w 8"/>
              <a:gd name="T3" fmla="*/ 6 h 6"/>
              <a:gd name="T4" fmla="*/ 3 w 8"/>
              <a:gd name="T5" fmla="*/ 6 h 6"/>
              <a:gd name="T6" fmla="*/ 8 w 8"/>
              <a:gd name="T7" fmla="*/ 1 h 6"/>
              <a:gd name="T8" fmla="*/ 8 w 8"/>
              <a:gd name="T9" fmla="*/ 0 h 6"/>
            </a:gdLst>
            <a:ahLst/>
            <a:cxnLst>
              <a:cxn ang="0">
                <a:pos x="T0" y="T1"/>
              </a:cxn>
              <a:cxn ang="0">
                <a:pos x="T2" y="T3"/>
              </a:cxn>
              <a:cxn ang="0">
                <a:pos x="T4" y="T5"/>
              </a:cxn>
              <a:cxn ang="0">
                <a:pos x="T6" y="T7"/>
              </a:cxn>
              <a:cxn ang="0">
                <a:pos x="T8" y="T9"/>
              </a:cxn>
            </a:cxnLst>
            <a:rect l="0" t="0" r="r" b="b"/>
            <a:pathLst>
              <a:path w="8" h="6">
                <a:moveTo>
                  <a:pt x="8" y="0"/>
                </a:moveTo>
                <a:lnTo>
                  <a:pt x="0" y="6"/>
                </a:lnTo>
                <a:lnTo>
                  <a:pt x="3" y="6"/>
                </a:lnTo>
                <a:lnTo>
                  <a:pt x="8" y="1"/>
                </a:lnTo>
                <a:lnTo>
                  <a:pt x="8" y="0"/>
                </a:ln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49" name="Freeform 194">
            <a:extLst>
              <a:ext uri="{FF2B5EF4-FFF2-40B4-BE49-F238E27FC236}">
                <a16:creationId xmlns:a16="http://schemas.microsoft.com/office/drawing/2014/main" id="{95561611-8E6B-4B7E-8AE9-8D3F63BAA068}"/>
              </a:ext>
            </a:extLst>
          </p:cNvPr>
          <p:cNvSpPr>
            <a:spLocks/>
          </p:cNvSpPr>
          <p:nvPr/>
        </p:nvSpPr>
        <p:spPr bwMode="auto">
          <a:xfrm>
            <a:off x="5818222" y="3857660"/>
            <a:ext cx="8343" cy="2781"/>
          </a:xfrm>
          <a:custGeom>
            <a:avLst/>
            <a:gdLst>
              <a:gd name="T0" fmla="*/ 1 w 3"/>
              <a:gd name="T1" fmla="*/ 0 h 1"/>
              <a:gd name="T2" fmla="*/ 0 w 3"/>
              <a:gd name="T3" fmla="*/ 1 h 1"/>
              <a:gd name="T4" fmla="*/ 0 w 3"/>
              <a:gd name="T5" fmla="*/ 1 h 1"/>
              <a:gd name="T6" fmla="*/ 1 w 3"/>
              <a:gd name="T7" fmla="*/ 1 h 1"/>
              <a:gd name="T8" fmla="*/ 3 w 3"/>
              <a:gd name="T9" fmla="*/ 1 h 1"/>
              <a:gd name="T10" fmla="*/ 1 w 3"/>
              <a:gd name="T11" fmla="*/ 0 h 1"/>
            </a:gdLst>
            <a:ahLst/>
            <a:cxnLst>
              <a:cxn ang="0">
                <a:pos x="T0" y="T1"/>
              </a:cxn>
              <a:cxn ang="0">
                <a:pos x="T2" y="T3"/>
              </a:cxn>
              <a:cxn ang="0">
                <a:pos x="T4" y="T5"/>
              </a:cxn>
              <a:cxn ang="0">
                <a:pos x="T6" y="T7"/>
              </a:cxn>
              <a:cxn ang="0">
                <a:pos x="T8" y="T9"/>
              </a:cxn>
              <a:cxn ang="0">
                <a:pos x="T10" y="T11"/>
              </a:cxn>
            </a:cxnLst>
            <a:rect l="0" t="0" r="r" b="b"/>
            <a:pathLst>
              <a:path w="3" h="1">
                <a:moveTo>
                  <a:pt x="1" y="0"/>
                </a:moveTo>
                <a:lnTo>
                  <a:pt x="0" y="1"/>
                </a:lnTo>
                <a:lnTo>
                  <a:pt x="0" y="1"/>
                </a:lnTo>
                <a:lnTo>
                  <a:pt x="1" y="1"/>
                </a:lnTo>
                <a:lnTo>
                  <a:pt x="3" y="1"/>
                </a:lnTo>
                <a:lnTo>
                  <a:pt x="1" y="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50" name="Freeform 195">
            <a:extLst>
              <a:ext uri="{FF2B5EF4-FFF2-40B4-BE49-F238E27FC236}">
                <a16:creationId xmlns:a16="http://schemas.microsoft.com/office/drawing/2014/main" id="{DCC89D13-6F36-4CB2-A2D6-555F132E39D9}"/>
              </a:ext>
            </a:extLst>
          </p:cNvPr>
          <p:cNvSpPr>
            <a:spLocks/>
          </p:cNvSpPr>
          <p:nvPr/>
        </p:nvSpPr>
        <p:spPr bwMode="auto">
          <a:xfrm>
            <a:off x="5818222" y="3857660"/>
            <a:ext cx="8343" cy="2781"/>
          </a:xfrm>
          <a:custGeom>
            <a:avLst/>
            <a:gdLst>
              <a:gd name="T0" fmla="*/ 1 w 3"/>
              <a:gd name="T1" fmla="*/ 0 h 1"/>
              <a:gd name="T2" fmla="*/ 0 w 3"/>
              <a:gd name="T3" fmla="*/ 1 h 1"/>
              <a:gd name="T4" fmla="*/ 0 w 3"/>
              <a:gd name="T5" fmla="*/ 1 h 1"/>
              <a:gd name="T6" fmla="*/ 1 w 3"/>
              <a:gd name="T7" fmla="*/ 1 h 1"/>
              <a:gd name="T8" fmla="*/ 3 w 3"/>
              <a:gd name="T9" fmla="*/ 1 h 1"/>
              <a:gd name="T10" fmla="*/ 1 w 3"/>
              <a:gd name="T11" fmla="*/ 0 h 1"/>
            </a:gdLst>
            <a:ahLst/>
            <a:cxnLst>
              <a:cxn ang="0">
                <a:pos x="T0" y="T1"/>
              </a:cxn>
              <a:cxn ang="0">
                <a:pos x="T2" y="T3"/>
              </a:cxn>
              <a:cxn ang="0">
                <a:pos x="T4" y="T5"/>
              </a:cxn>
              <a:cxn ang="0">
                <a:pos x="T6" y="T7"/>
              </a:cxn>
              <a:cxn ang="0">
                <a:pos x="T8" y="T9"/>
              </a:cxn>
              <a:cxn ang="0">
                <a:pos x="T10" y="T11"/>
              </a:cxn>
            </a:cxnLst>
            <a:rect l="0" t="0" r="r" b="b"/>
            <a:pathLst>
              <a:path w="3" h="1">
                <a:moveTo>
                  <a:pt x="1" y="0"/>
                </a:moveTo>
                <a:lnTo>
                  <a:pt x="0" y="1"/>
                </a:lnTo>
                <a:lnTo>
                  <a:pt x="0" y="1"/>
                </a:lnTo>
                <a:lnTo>
                  <a:pt x="1" y="1"/>
                </a:lnTo>
                <a:lnTo>
                  <a:pt x="3" y="1"/>
                </a:lnTo>
                <a:lnTo>
                  <a:pt x="1" y="0"/>
                </a:ln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51" name="Freeform 196">
            <a:extLst>
              <a:ext uri="{FF2B5EF4-FFF2-40B4-BE49-F238E27FC236}">
                <a16:creationId xmlns:a16="http://schemas.microsoft.com/office/drawing/2014/main" id="{0E29276A-5306-4DB2-A8E3-DFAA66806CB2}"/>
              </a:ext>
            </a:extLst>
          </p:cNvPr>
          <p:cNvSpPr>
            <a:spLocks/>
          </p:cNvSpPr>
          <p:nvPr/>
        </p:nvSpPr>
        <p:spPr bwMode="auto">
          <a:xfrm>
            <a:off x="5743143" y="3860442"/>
            <a:ext cx="27807" cy="27807"/>
          </a:xfrm>
          <a:custGeom>
            <a:avLst/>
            <a:gdLst>
              <a:gd name="T0" fmla="*/ 8 w 8"/>
              <a:gd name="T1" fmla="*/ 0 h 8"/>
              <a:gd name="T2" fmla="*/ 8 w 8"/>
              <a:gd name="T3" fmla="*/ 0 h 8"/>
              <a:gd name="T4" fmla="*/ 6 w 8"/>
              <a:gd name="T5" fmla="*/ 0 h 8"/>
              <a:gd name="T6" fmla="*/ 1 w 8"/>
              <a:gd name="T7" fmla="*/ 5 h 8"/>
              <a:gd name="T8" fmla="*/ 0 w 8"/>
              <a:gd name="T9" fmla="*/ 8 h 8"/>
              <a:gd name="T10" fmla="*/ 8 w 8"/>
              <a:gd name="T11" fmla="*/ 0 h 8"/>
            </a:gdLst>
            <a:ahLst/>
            <a:cxnLst>
              <a:cxn ang="0">
                <a:pos x="T0" y="T1"/>
              </a:cxn>
              <a:cxn ang="0">
                <a:pos x="T2" y="T3"/>
              </a:cxn>
              <a:cxn ang="0">
                <a:pos x="T4" y="T5"/>
              </a:cxn>
              <a:cxn ang="0">
                <a:pos x="T6" y="T7"/>
              </a:cxn>
              <a:cxn ang="0">
                <a:pos x="T8" y="T9"/>
              </a:cxn>
              <a:cxn ang="0">
                <a:pos x="T10" y="T11"/>
              </a:cxn>
            </a:cxnLst>
            <a:rect l="0" t="0" r="r" b="b"/>
            <a:pathLst>
              <a:path w="8" h="8">
                <a:moveTo>
                  <a:pt x="8" y="0"/>
                </a:moveTo>
                <a:cubicBezTo>
                  <a:pt x="8" y="0"/>
                  <a:pt x="8" y="0"/>
                  <a:pt x="8" y="0"/>
                </a:cubicBezTo>
                <a:cubicBezTo>
                  <a:pt x="6" y="0"/>
                  <a:pt x="6" y="0"/>
                  <a:pt x="6" y="0"/>
                </a:cubicBezTo>
                <a:cubicBezTo>
                  <a:pt x="1" y="5"/>
                  <a:pt x="1" y="5"/>
                  <a:pt x="1" y="5"/>
                </a:cubicBezTo>
                <a:cubicBezTo>
                  <a:pt x="1" y="6"/>
                  <a:pt x="0" y="7"/>
                  <a:pt x="0" y="8"/>
                </a:cubicBezTo>
                <a:cubicBezTo>
                  <a:pt x="8" y="0"/>
                  <a:pt x="8" y="0"/>
                  <a:pt x="8" y="0"/>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52" name="Freeform 197">
            <a:extLst>
              <a:ext uri="{FF2B5EF4-FFF2-40B4-BE49-F238E27FC236}">
                <a16:creationId xmlns:a16="http://schemas.microsoft.com/office/drawing/2014/main" id="{FFB2996C-43FC-4048-8A6A-3A8E525EEF31}"/>
              </a:ext>
            </a:extLst>
          </p:cNvPr>
          <p:cNvSpPr>
            <a:spLocks/>
          </p:cNvSpPr>
          <p:nvPr/>
        </p:nvSpPr>
        <p:spPr bwMode="auto">
          <a:xfrm>
            <a:off x="5729239" y="3860442"/>
            <a:ext cx="69519" cy="69519"/>
          </a:xfrm>
          <a:custGeom>
            <a:avLst/>
            <a:gdLst>
              <a:gd name="T0" fmla="*/ 20 w 20"/>
              <a:gd name="T1" fmla="*/ 0 h 20"/>
              <a:gd name="T2" fmla="*/ 18 w 20"/>
              <a:gd name="T3" fmla="*/ 0 h 20"/>
              <a:gd name="T4" fmla="*/ 18 w 20"/>
              <a:gd name="T5" fmla="*/ 0 h 20"/>
              <a:gd name="T6" fmla="*/ 1 w 20"/>
              <a:gd name="T7" fmla="*/ 17 h 20"/>
              <a:gd name="T8" fmla="*/ 0 w 20"/>
              <a:gd name="T9" fmla="*/ 20 h 20"/>
              <a:gd name="T10" fmla="*/ 20 w 20"/>
              <a:gd name="T11" fmla="*/ 0 h 20"/>
            </a:gdLst>
            <a:ahLst/>
            <a:cxnLst>
              <a:cxn ang="0">
                <a:pos x="T0" y="T1"/>
              </a:cxn>
              <a:cxn ang="0">
                <a:pos x="T2" y="T3"/>
              </a:cxn>
              <a:cxn ang="0">
                <a:pos x="T4" y="T5"/>
              </a:cxn>
              <a:cxn ang="0">
                <a:pos x="T6" y="T7"/>
              </a:cxn>
              <a:cxn ang="0">
                <a:pos x="T8" y="T9"/>
              </a:cxn>
              <a:cxn ang="0">
                <a:pos x="T10" y="T11"/>
              </a:cxn>
            </a:cxnLst>
            <a:rect l="0" t="0" r="r" b="b"/>
            <a:pathLst>
              <a:path w="20" h="20">
                <a:moveTo>
                  <a:pt x="20" y="0"/>
                </a:moveTo>
                <a:cubicBezTo>
                  <a:pt x="18" y="0"/>
                  <a:pt x="18" y="0"/>
                  <a:pt x="18" y="0"/>
                </a:cubicBezTo>
                <a:cubicBezTo>
                  <a:pt x="18" y="0"/>
                  <a:pt x="18" y="0"/>
                  <a:pt x="18" y="0"/>
                </a:cubicBezTo>
                <a:cubicBezTo>
                  <a:pt x="1" y="17"/>
                  <a:pt x="1" y="17"/>
                  <a:pt x="1" y="17"/>
                </a:cubicBezTo>
                <a:cubicBezTo>
                  <a:pt x="1" y="18"/>
                  <a:pt x="1" y="19"/>
                  <a:pt x="0" y="20"/>
                </a:cubicBezTo>
                <a:cubicBezTo>
                  <a:pt x="20" y="0"/>
                  <a:pt x="20" y="0"/>
                  <a:pt x="20" y="0"/>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53" name="Freeform 198">
            <a:extLst>
              <a:ext uri="{FF2B5EF4-FFF2-40B4-BE49-F238E27FC236}">
                <a16:creationId xmlns:a16="http://schemas.microsoft.com/office/drawing/2014/main" id="{C7ACA3E5-4658-451F-A2F1-1FCDAD912056}"/>
              </a:ext>
            </a:extLst>
          </p:cNvPr>
          <p:cNvSpPr>
            <a:spLocks/>
          </p:cNvSpPr>
          <p:nvPr/>
        </p:nvSpPr>
        <p:spPr bwMode="auto">
          <a:xfrm>
            <a:off x="5718116" y="3860442"/>
            <a:ext cx="102887" cy="108449"/>
          </a:xfrm>
          <a:custGeom>
            <a:avLst/>
            <a:gdLst>
              <a:gd name="T0" fmla="*/ 30 w 30"/>
              <a:gd name="T1" fmla="*/ 0 h 31"/>
              <a:gd name="T2" fmla="*/ 30 w 30"/>
              <a:gd name="T3" fmla="*/ 0 h 31"/>
              <a:gd name="T4" fmla="*/ 29 w 30"/>
              <a:gd name="T5" fmla="*/ 0 h 31"/>
              <a:gd name="T6" fmla="*/ 1 w 30"/>
              <a:gd name="T7" fmla="*/ 29 h 31"/>
              <a:gd name="T8" fmla="*/ 0 w 30"/>
              <a:gd name="T9" fmla="*/ 31 h 31"/>
              <a:gd name="T10" fmla="*/ 30 w 30"/>
              <a:gd name="T11" fmla="*/ 0 h 31"/>
            </a:gdLst>
            <a:ahLst/>
            <a:cxnLst>
              <a:cxn ang="0">
                <a:pos x="T0" y="T1"/>
              </a:cxn>
              <a:cxn ang="0">
                <a:pos x="T2" y="T3"/>
              </a:cxn>
              <a:cxn ang="0">
                <a:pos x="T4" y="T5"/>
              </a:cxn>
              <a:cxn ang="0">
                <a:pos x="T6" y="T7"/>
              </a:cxn>
              <a:cxn ang="0">
                <a:pos x="T8" y="T9"/>
              </a:cxn>
              <a:cxn ang="0">
                <a:pos x="T10" y="T11"/>
              </a:cxn>
            </a:cxnLst>
            <a:rect l="0" t="0" r="r" b="b"/>
            <a:pathLst>
              <a:path w="30" h="31">
                <a:moveTo>
                  <a:pt x="30" y="0"/>
                </a:moveTo>
                <a:cubicBezTo>
                  <a:pt x="30" y="0"/>
                  <a:pt x="30" y="0"/>
                  <a:pt x="30" y="0"/>
                </a:cubicBezTo>
                <a:cubicBezTo>
                  <a:pt x="29" y="0"/>
                  <a:pt x="29" y="0"/>
                  <a:pt x="29" y="0"/>
                </a:cubicBezTo>
                <a:cubicBezTo>
                  <a:pt x="1" y="29"/>
                  <a:pt x="1" y="29"/>
                  <a:pt x="1" y="29"/>
                </a:cubicBezTo>
                <a:cubicBezTo>
                  <a:pt x="0" y="29"/>
                  <a:pt x="0" y="30"/>
                  <a:pt x="0" y="31"/>
                </a:cubicBezTo>
                <a:cubicBezTo>
                  <a:pt x="30" y="0"/>
                  <a:pt x="30" y="0"/>
                  <a:pt x="30" y="0"/>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54" name="Freeform 199">
            <a:extLst>
              <a:ext uri="{FF2B5EF4-FFF2-40B4-BE49-F238E27FC236}">
                <a16:creationId xmlns:a16="http://schemas.microsoft.com/office/drawing/2014/main" id="{51945399-11DA-4AFF-90FD-7A0CC7587402}"/>
              </a:ext>
            </a:extLst>
          </p:cNvPr>
          <p:cNvSpPr>
            <a:spLocks/>
          </p:cNvSpPr>
          <p:nvPr/>
        </p:nvSpPr>
        <p:spPr bwMode="auto">
          <a:xfrm>
            <a:off x="5706993" y="3874345"/>
            <a:ext cx="127913" cy="133475"/>
          </a:xfrm>
          <a:custGeom>
            <a:avLst/>
            <a:gdLst>
              <a:gd name="T0" fmla="*/ 36 w 37"/>
              <a:gd name="T1" fmla="*/ 0 h 38"/>
              <a:gd name="T2" fmla="*/ 1 w 37"/>
              <a:gd name="T3" fmla="*/ 36 h 38"/>
              <a:gd name="T4" fmla="*/ 0 w 37"/>
              <a:gd name="T5" fmla="*/ 38 h 38"/>
              <a:gd name="T6" fmla="*/ 37 w 37"/>
              <a:gd name="T7" fmla="*/ 1 h 38"/>
              <a:gd name="T8" fmla="*/ 36 w 37"/>
              <a:gd name="T9" fmla="*/ 0 h 38"/>
            </a:gdLst>
            <a:ahLst/>
            <a:cxnLst>
              <a:cxn ang="0">
                <a:pos x="T0" y="T1"/>
              </a:cxn>
              <a:cxn ang="0">
                <a:pos x="T2" y="T3"/>
              </a:cxn>
              <a:cxn ang="0">
                <a:pos x="T4" y="T5"/>
              </a:cxn>
              <a:cxn ang="0">
                <a:pos x="T6" y="T7"/>
              </a:cxn>
              <a:cxn ang="0">
                <a:pos x="T8" y="T9"/>
              </a:cxn>
            </a:cxnLst>
            <a:rect l="0" t="0" r="r" b="b"/>
            <a:pathLst>
              <a:path w="37" h="38">
                <a:moveTo>
                  <a:pt x="36" y="0"/>
                </a:moveTo>
                <a:cubicBezTo>
                  <a:pt x="1" y="36"/>
                  <a:pt x="1" y="36"/>
                  <a:pt x="1" y="36"/>
                </a:cubicBezTo>
                <a:cubicBezTo>
                  <a:pt x="1" y="36"/>
                  <a:pt x="0" y="37"/>
                  <a:pt x="0" y="38"/>
                </a:cubicBezTo>
                <a:cubicBezTo>
                  <a:pt x="37" y="1"/>
                  <a:pt x="37" y="1"/>
                  <a:pt x="37" y="1"/>
                </a:cubicBezTo>
                <a:cubicBezTo>
                  <a:pt x="36" y="0"/>
                  <a:pt x="36" y="0"/>
                  <a:pt x="36" y="0"/>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55" name="Freeform 200">
            <a:extLst>
              <a:ext uri="{FF2B5EF4-FFF2-40B4-BE49-F238E27FC236}">
                <a16:creationId xmlns:a16="http://schemas.microsoft.com/office/drawing/2014/main" id="{936E69C0-37FA-49B0-94FF-8C248E043524}"/>
              </a:ext>
            </a:extLst>
          </p:cNvPr>
          <p:cNvSpPr>
            <a:spLocks/>
          </p:cNvSpPr>
          <p:nvPr/>
        </p:nvSpPr>
        <p:spPr bwMode="auto">
          <a:xfrm>
            <a:off x="5701431" y="3888249"/>
            <a:ext cx="144598" cy="152941"/>
          </a:xfrm>
          <a:custGeom>
            <a:avLst/>
            <a:gdLst>
              <a:gd name="T0" fmla="*/ 42 w 42"/>
              <a:gd name="T1" fmla="*/ 0 h 44"/>
              <a:gd name="T2" fmla="*/ 0 w 42"/>
              <a:gd name="T3" fmla="*/ 42 h 44"/>
              <a:gd name="T4" fmla="*/ 0 w 42"/>
              <a:gd name="T5" fmla="*/ 44 h 44"/>
              <a:gd name="T6" fmla="*/ 42 w 42"/>
              <a:gd name="T7" fmla="*/ 1 h 44"/>
              <a:gd name="T8" fmla="*/ 42 w 42"/>
              <a:gd name="T9" fmla="*/ 0 h 44"/>
            </a:gdLst>
            <a:ahLst/>
            <a:cxnLst>
              <a:cxn ang="0">
                <a:pos x="T0" y="T1"/>
              </a:cxn>
              <a:cxn ang="0">
                <a:pos x="T2" y="T3"/>
              </a:cxn>
              <a:cxn ang="0">
                <a:pos x="T4" y="T5"/>
              </a:cxn>
              <a:cxn ang="0">
                <a:pos x="T6" y="T7"/>
              </a:cxn>
              <a:cxn ang="0">
                <a:pos x="T8" y="T9"/>
              </a:cxn>
            </a:cxnLst>
            <a:rect l="0" t="0" r="r" b="b"/>
            <a:pathLst>
              <a:path w="42" h="44">
                <a:moveTo>
                  <a:pt x="42" y="0"/>
                </a:moveTo>
                <a:cubicBezTo>
                  <a:pt x="0" y="42"/>
                  <a:pt x="0" y="42"/>
                  <a:pt x="0" y="42"/>
                </a:cubicBezTo>
                <a:cubicBezTo>
                  <a:pt x="0" y="43"/>
                  <a:pt x="0" y="43"/>
                  <a:pt x="0" y="44"/>
                </a:cubicBezTo>
                <a:cubicBezTo>
                  <a:pt x="42" y="1"/>
                  <a:pt x="42" y="1"/>
                  <a:pt x="42" y="1"/>
                </a:cubicBezTo>
                <a:cubicBezTo>
                  <a:pt x="42" y="0"/>
                  <a:pt x="42" y="0"/>
                  <a:pt x="42" y="0"/>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56" name="Freeform 201">
            <a:extLst>
              <a:ext uri="{FF2B5EF4-FFF2-40B4-BE49-F238E27FC236}">
                <a16:creationId xmlns:a16="http://schemas.microsoft.com/office/drawing/2014/main" id="{A73E7AB5-2398-491D-87C3-281822A5157C}"/>
              </a:ext>
            </a:extLst>
          </p:cNvPr>
          <p:cNvSpPr>
            <a:spLocks/>
          </p:cNvSpPr>
          <p:nvPr/>
        </p:nvSpPr>
        <p:spPr bwMode="auto">
          <a:xfrm>
            <a:off x="5693090" y="3904933"/>
            <a:ext cx="166844" cy="172405"/>
          </a:xfrm>
          <a:custGeom>
            <a:avLst/>
            <a:gdLst>
              <a:gd name="T0" fmla="*/ 47 w 48"/>
              <a:gd name="T1" fmla="*/ 0 h 49"/>
              <a:gd name="T2" fmla="*/ 0 w 48"/>
              <a:gd name="T3" fmla="*/ 47 h 49"/>
              <a:gd name="T4" fmla="*/ 0 w 48"/>
              <a:gd name="T5" fmla="*/ 49 h 49"/>
              <a:gd name="T6" fmla="*/ 48 w 48"/>
              <a:gd name="T7" fmla="*/ 1 h 49"/>
              <a:gd name="T8" fmla="*/ 47 w 48"/>
              <a:gd name="T9" fmla="*/ 0 h 49"/>
            </a:gdLst>
            <a:ahLst/>
            <a:cxnLst>
              <a:cxn ang="0">
                <a:pos x="T0" y="T1"/>
              </a:cxn>
              <a:cxn ang="0">
                <a:pos x="T2" y="T3"/>
              </a:cxn>
              <a:cxn ang="0">
                <a:pos x="T4" y="T5"/>
              </a:cxn>
              <a:cxn ang="0">
                <a:pos x="T6" y="T7"/>
              </a:cxn>
              <a:cxn ang="0">
                <a:pos x="T8" y="T9"/>
              </a:cxn>
            </a:cxnLst>
            <a:rect l="0" t="0" r="r" b="b"/>
            <a:pathLst>
              <a:path w="48" h="49">
                <a:moveTo>
                  <a:pt x="47" y="0"/>
                </a:moveTo>
                <a:cubicBezTo>
                  <a:pt x="0" y="47"/>
                  <a:pt x="0" y="47"/>
                  <a:pt x="0" y="47"/>
                </a:cubicBezTo>
                <a:cubicBezTo>
                  <a:pt x="0" y="48"/>
                  <a:pt x="0" y="48"/>
                  <a:pt x="0" y="49"/>
                </a:cubicBezTo>
                <a:cubicBezTo>
                  <a:pt x="48" y="1"/>
                  <a:pt x="48" y="1"/>
                  <a:pt x="48" y="1"/>
                </a:cubicBezTo>
                <a:cubicBezTo>
                  <a:pt x="47" y="0"/>
                  <a:pt x="47" y="0"/>
                  <a:pt x="47" y="0"/>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57" name="Freeform 202">
            <a:extLst>
              <a:ext uri="{FF2B5EF4-FFF2-40B4-BE49-F238E27FC236}">
                <a16:creationId xmlns:a16="http://schemas.microsoft.com/office/drawing/2014/main" id="{A8D861A8-39C1-44EA-BE38-FBBE44B1DCE2}"/>
              </a:ext>
            </a:extLst>
          </p:cNvPr>
          <p:cNvSpPr>
            <a:spLocks/>
          </p:cNvSpPr>
          <p:nvPr/>
        </p:nvSpPr>
        <p:spPr bwMode="auto">
          <a:xfrm>
            <a:off x="5684747" y="3924398"/>
            <a:ext cx="186309" cy="186309"/>
          </a:xfrm>
          <a:custGeom>
            <a:avLst/>
            <a:gdLst>
              <a:gd name="T0" fmla="*/ 52 w 53"/>
              <a:gd name="T1" fmla="*/ 0 h 54"/>
              <a:gd name="T2" fmla="*/ 0 w 53"/>
              <a:gd name="T3" fmla="*/ 52 h 54"/>
              <a:gd name="T4" fmla="*/ 0 w 53"/>
              <a:gd name="T5" fmla="*/ 54 h 54"/>
              <a:gd name="T6" fmla="*/ 53 w 53"/>
              <a:gd name="T7" fmla="*/ 1 h 54"/>
              <a:gd name="T8" fmla="*/ 52 w 53"/>
              <a:gd name="T9" fmla="*/ 0 h 54"/>
            </a:gdLst>
            <a:ahLst/>
            <a:cxnLst>
              <a:cxn ang="0">
                <a:pos x="T0" y="T1"/>
              </a:cxn>
              <a:cxn ang="0">
                <a:pos x="T2" y="T3"/>
              </a:cxn>
              <a:cxn ang="0">
                <a:pos x="T4" y="T5"/>
              </a:cxn>
              <a:cxn ang="0">
                <a:pos x="T6" y="T7"/>
              </a:cxn>
              <a:cxn ang="0">
                <a:pos x="T8" y="T9"/>
              </a:cxn>
            </a:cxnLst>
            <a:rect l="0" t="0" r="r" b="b"/>
            <a:pathLst>
              <a:path w="53" h="54">
                <a:moveTo>
                  <a:pt x="52" y="0"/>
                </a:moveTo>
                <a:cubicBezTo>
                  <a:pt x="0" y="52"/>
                  <a:pt x="0" y="52"/>
                  <a:pt x="0" y="52"/>
                </a:cubicBezTo>
                <a:cubicBezTo>
                  <a:pt x="0" y="52"/>
                  <a:pt x="0" y="53"/>
                  <a:pt x="0" y="54"/>
                </a:cubicBezTo>
                <a:cubicBezTo>
                  <a:pt x="53" y="1"/>
                  <a:pt x="53" y="1"/>
                  <a:pt x="53" y="1"/>
                </a:cubicBezTo>
                <a:cubicBezTo>
                  <a:pt x="52" y="0"/>
                  <a:pt x="52" y="0"/>
                  <a:pt x="52" y="0"/>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58" name="Freeform 203">
            <a:extLst>
              <a:ext uri="{FF2B5EF4-FFF2-40B4-BE49-F238E27FC236}">
                <a16:creationId xmlns:a16="http://schemas.microsoft.com/office/drawing/2014/main" id="{4256673B-8D40-4385-90C8-8448AC832FD4}"/>
              </a:ext>
            </a:extLst>
          </p:cNvPr>
          <p:cNvSpPr>
            <a:spLocks/>
          </p:cNvSpPr>
          <p:nvPr/>
        </p:nvSpPr>
        <p:spPr bwMode="auto">
          <a:xfrm>
            <a:off x="5681967" y="3941082"/>
            <a:ext cx="200212" cy="202994"/>
          </a:xfrm>
          <a:custGeom>
            <a:avLst/>
            <a:gdLst>
              <a:gd name="T0" fmla="*/ 56 w 57"/>
              <a:gd name="T1" fmla="*/ 0 h 58"/>
              <a:gd name="T2" fmla="*/ 0 w 57"/>
              <a:gd name="T3" fmla="*/ 56 h 58"/>
              <a:gd name="T4" fmla="*/ 0 w 57"/>
              <a:gd name="T5" fmla="*/ 58 h 58"/>
              <a:gd name="T6" fmla="*/ 57 w 57"/>
              <a:gd name="T7" fmla="*/ 1 h 58"/>
              <a:gd name="T8" fmla="*/ 56 w 57"/>
              <a:gd name="T9" fmla="*/ 0 h 58"/>
            </a:gdLst>
            <a:ahLst/>
            <a:cxnLst>
              <a:cxn ang="0">
                <a:pos x="T0" y="T1"/>
              </a:cxn>
              <a:cxn ang="0">
                <a:pos x="T2" y="T3"/>
              </a:cxn>
              <a:cxn ang="0">
                <a:pos x="T4" y="T5"/>
              </a:cxn>
              <a:cxn ang="0">
                <a:pos x="T6" y="T7"/>
              </a:cxn>
              <a:cxn ang="0">
                <a:pos x="T8" y="T9"/>
              </a:cxn>
            </a:cxnLst>
            <a:rect l="0" t="0" r="r" b="b"/>
            <a:pathLst>
              <a:path w="57" h="58">
                <a:moveTo>
                  <a:pt x="56" y="0"/>
                </a:moveTo>
                <a:cubicBezTo>
                  <a:pt x="0" y="56"/>
                  <a:pt x="0" y="56"/>
                  <a:pt x="0" y="56"/>
                </a:cubicBezTo>
                <a:cubicBezTo>
                  <a:pt x="0" y="57"/>
                  <a:pt x="0" y="57"/>
                  <a:pt x="0" y="58"/>
                </a:cubicBezTo>
                <a:cubicBezTo>
                  <a:pt x="57" y="1"/>
                  <a:pt x="57" y="1"/>
                  <a:pt x="57" y="1"/>
                </a:cubicBezTo>
                <a:cubicBezTo>
                  <a:pt x="56" y="0"/>
                  <a:pt x="56" y="0"/>
                  <a:pt x="56" y="0"/>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59" name="Freeform 204">
            <a:extLst>
              <a:ext uri="{FF2B5EF4-FFF2-40B4-BE49-F238E27FC236}">
                <a16:creationId xmlns:a16="http://schemas.microsoft.com/office/drawing/2014/main" id="{E9DA0C99-0C91-424A-817A-7DED962C49D7}"/>
              </a:ext>
            </a:extLst>
          </p:cNvPr>
          <p:cNvSpPr>
            <a:spLocks/>
          </p:cNvSpPr>
          <p:nvPr/>
        </p:nvSpPr>
        <p:spPr bwMode="auto">
          <a:xfrm>
            <a:off x="5676406" y="3957767"/>
            <a:ext cx="216897" cy="216897"/>
          </a:xfrm>
          <a:custGeom>
            <a:avLst/>
            <a:gdLst>
              <a:gd name="T0" fmla="*/ 61 w 62"/>
              <a:gd name="T1" fmla="*/ 0 h 62"/>
              <a:gd name="T2" fmla="*/ 1 w 62"/>
              <a:gd name="T3" fmla="*/ 61 h 62"/>
              <a:gd name="T4" fmla="*/ 0 w 62"/>
              <a:gd name="T5" fmla="*/ 62 h 62"/>
              <a:gd name="T6" fmla="*/ 62 w 62"/>
              <a:gd name="T7" fmla="*/ 1 h 62"/>
              <a:gd name="T8" fmla="*/ 61 w 62"/>
              <a:gd name="T9" fmla="*/ 0 h 62"/>
            </a:gdLst>
            <a:ahLst/>
            <a:cxnLst>
              <a:cxn ang="0">
                <a:pos x="T0" y="T1"/>
              </a:cxn>
              <a:cxn ang="0">
                <a:pos x="T2" y="T3"/>
              </a:cxn>
              <a:cxn ang="0">
                <a:pos x="T4" y="T5"/>
              </a:cxn>
              <a:cxn ang="0">
                <a:pos x="T6" y="T7"/>
              </a:cxn>
              <a:cxn ang="0">
                <a:pos x="T8" y="T9"/>
              </a:cxn>
            </a:cxnLst>
            <a:rect l="0" t="0" r="r" b="b"/>
            <a:pathLst>
              <a:path w="62" h="62">
                <a:moveTo>
                  <a:pt x="61" y="0"/>
                </a:moveTo>
                <a:cubicBezTo>
                  <a:pt x="1" y="61"/>
                  <a:pt x="1" y="61"/>
                  <a:pt x="1" y="61"/>
                </a:cubicBezTo>
                <a:cubicBezTo>
                  <a:pt x="1" y="61"/>
                  <a:pt x="0" y="62"/>
                  <a:pt x="0" y="62"/>
                </a:cubicBezTo>
                <a:cubicBezTo>
                  <a:pt x="62" y="1"/>
                  <a:pt x="62" y="1"/>
                  <a:pt x="62" y="1"/>
                </a:cubicBezTo>
                <a:cubicBezTo>
                  <a:pt x="61" y="0"/>
                  <a:pt x="61" y="0"/>
                  <a:pt x="61" y="0"/>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60" name="TextBox 261">
            <a:extLst>
              <a:ext uri="{FF2B5EF4-FFF2-40B4-BE49-F238E27FC236}">
                <a16:creationId xmlns:a16="http://schemas.microsoft.com/office/drawing/2014/main" id="{4225F2D7-1725-40CE-937E-CF3A700C66E2}"/>
              </a:ext>
            </a:extLst>
          </p:cNvPr>
          <p:cNvSpPr txBox="1"/>
          <p:nvPr/>
        </p:nvSpPr>
        <p:spPr>
          <a:xfrm>
            <a:off x="5428085" y="2537543"/>
            <a:ext cx="304892" cy="64633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srgbClr val="FFFFFF"/>
                </a:solidFill>
                <a:effectLst/>
                <a:uLnTx/>
                <a:uFillTx/>
                <a:latin typeface="等线 Light" panose="020F0302020204030204"/>
                <a:ea typeface="+mn-ea"/>
                <a:cs typeface="+mn-cs"/>
              </a:rPr>
              <a:t>1</a:t>
            </a:r>
          </a:p>
        </p:txBody>
      </p:sp>
      <p:sp>
        <p:nvSpPr>
          <p:cNvPr id="261" name="TextBox 262">
            <a:extLst>
              <a:ext uri="{FF2B5EF4-FFF2-40B4-BE49-F238E27FC236}">
                <a16:creationId xmlns:a16="http://schemas.microsoft.com/office/drawing/2014/main" id="{267ABA46-7F98-4A98-B895-AAA838F8CED0}"/>
              </a:ext>
            </a:extLst>
          </p:cNvPr>
          <p:cNvSpPr txBox="1"/>
          <p:nvPr/>
        </p:nvSpPr>
        <p:spPr>
          <a:xfrm>
            <a:off x="4074705" y="4320652"/>
            <a:ext cx="369012" cy="64633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srgbClr val="FFFFFF"/>
                </a:solidFill>
                <a:effectLst/>
                <a:uLnTx/>
                <a:uFillTx/>
                <a:latin typeface="等线 Light" panose="020F0302020204030204"/>
                <a:ea typeface="+mn-ea"/>
                <a:cs typeface="+mn-cs"/>
              </a:rPr>
              <a:t>2</a:t>
            </a:r>
          </a:p>
        </p:txBody>
      </p:sp>
      <p:sp>
        <p:nvSpPr>
          <p:cNvPr id="262" name="TextBox 263">
            <a:extLst>
              <a:ext uri="{FF2B5EF4-FFF2-40B4-BE49-F238E27FC236}">
                <a16:creationId xmlns:a16="http://schemas.microsoft.com/office/drawing/2014/main" id="{5914315C-7C65-4928-93AB-ABB62B520DCA}"/>
              </a:ext>
            </a:extLst>
          </p:cNvPr>
          <p:cNvSpPr txBox="1"/>
          <p:nvPr/>
        </p:nvSpPr>
        <p:spPr>
          <a:xfrm>
            <a:off x="7519464" y="3957767"/>
            <a:ext cx="362600" cy="64633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srgbClr val="FFFFFF"/>
                </a:solidFill>
                <a:effectLst/>
                <a:uLnTx/>
                <a:uFillTx/>
                <a:latin typeface="等线 Light" panose="020F0302020204030204"/>
                <a:ea typeface="+mn-ea"/>
                <a:cs typeface="+mn-cs"/>
              </a:rPr>
              <a:t>3</a:t>
            </a:r>
          </a:p>
        </p:txBody>
      </p:sp>
      <p:sp>
        <p:nvSpPr>
          <p:cNvPr id="263" name="Freeform 40">
            <a:extLst>
              <a:ext uri="{FF2B5EF4-FFF2-40B4-BE49-F238E27FC236}">
                <a16:creationId xmlns:a16="http://schemas.microsoft.com/office/drawing/2014/main" id="{7EDD0B76-5783-47B8-A4ED-C639E9815240}"/>
              </a:ext>
            </a:extLst>
          </p:cNvPr>
          <p:cNvSpPr>
            <a:spLocks/>
          </p:cNvSpPr>
          <p:nvPr/>
        </p:nvSpPr>
        <p:spPr bwMode="auto">
          <a:xfrm>
            <a:off x="1874829" y="2256076"/>
            <a:ext cx="352425" cy="222250"/>
          </a:xfrm>
          <a:custGeom>
            <a:avLst/>
            <a:gdLst>
              <a:gd name="T0" fmla="*/ 34 w 137"/>
              <a:gd name="T1" fmla="*/ 57 h 86"/>
              <a:gd name="T2" fmla="*/ 81 w 137"/>
              <a:gd name="T3" fmla="*/ 3 h 86"/>
              <a:gd name="T4" fmla="*/ 99 w 137"/>
              <a:gd name="T5" fmla="*/ 49 h 86"/>
              <a:gd name="T6" fmla="*/ 122 w 137"/>
              <a:gd name="T7" fmla="*/ 43 h 86"/>
              <a:gd name="T8" fmla="*/ 117 w 137"/>
              <a:gd name="T9" fmla="*/ 76 h 86"/>
              <a:gd name="T10" fmla="*/ 15 w 137"/>
              <a:gd name="T11" fmla="*/ 76 h 86"/>
              <a:gd name="T12" fmla="*/ 5 w 137"/>
              <a:gd name="T13" fmla="*/ 48 h 86"/>
              <a:gd name="T14" fmla="*/ 30 w 137"/>
              <a:gd name="T15" fmla="*/ 39 h 86"/>
              <a:gd name="T16" fmla="*/ 34 w 137"/>
              <a:gd name="T17" fmla="*/ 57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7" h="86">
                <a:moveTo>
                  <a:pt x="34" y="57"/>
                </a:moveTo>
                <a:cubicBezTo>
                  <a:pt x="34" y="57"/>
                  <a:pt x="42" y="0"/>
                  <a:pt x="81" y="3"/>
                </a:cubicBezTo>
                <a:cubicBezTo>
                  <a:pt x="121" y="6"/>
                  <a:pt x="99" y="49"/>
                  <a:pt x="99" y="49"/>
                </a:cubicBezTo>
                <a:cubicBezTo>
                  <a:pt x="99" y="49"/>
                  <a:pt x="104" y="38"/>
                  <a:pt x="122" y="43"/>
                </a:cubicBezTo>
                <a:cubicBezTo>
                  <a:pt x="131" y="46"/>
                  <a:pt x="137" y="66"/>
                  <a:pt x="117" y="76"/>
                </a:cubicBezTo>
                <a:cubicBezTo>
                  <a:pt x="98" y="86"/>
                  <a:pt x="30" y="84"/>
                  <a:pt x="15" y="76"/>
                </a:cubicBezTo>
                <a:cubicBezTo>
                  <a:pt x="3" y="69"/>
                  <a:pt x="0" y="55"/>
                  <a:pt x="5" y="48"/>
                </a:cubicBezTo>
                <a:cubicBezTo>
                  <a:pt x="10" y="41"/>
                  <a:pt x="18" y="36"/>
                  <a:pt x="30" y="39"/>
                </a:cubicBezTo>
                <a:cubicBezTo>
                  <a:pt x="34" y="41"/>
                  <a:pt x="34" y="57"/>
                  <a:pt x="34" y="5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64" name="Freeform 164">
            <a:extLst>
              <a:ext uri="{FF2B5EF4-FFF2-40B4-BE49-F238E27FC236}">
                <a16:creationId xmlns:a16="http://schemas.microsoft.com/office/drawing/2014/main" id="{52BF98ED-BDC0-4EBF-B6D3-B679CE9F1790}"/>
              </a:ext>
            </a:extLst>
          </p:cNvPr>
          <p:cNvSpPr>
            <a:spLocks/>
          </p:cNvSpPr>
          <p:nvPr/>
        </p:nvSpPr>
        <p:spPr bwMode="auto">
          <a:xfrm>
            <a:off x="935115" y="4372813"/>
            <a:ext cx="231775" cy="333375"/>
          </a:xfrm>
          <a:custGeom>
            <a:avLst/>
            <a:gdLst>
              <a:gd name="T0" fmla="*/ 75 w 90"/>
              <a:gd name="T1" fmla="*/ 44 h 129"/>
              <a:gd name="T2" fmla="*/ 48 w 90"/>
              <a:gd name="T3" fmla="*/ 0 h 129"/>
              <a:gd name="T4" fmla="*/ 19 w 90"/>
              <a:gd name="T5" fmla="*/ 55 h 129"/>
              <a:gd name="T6" fmla="*/ 17 w 90"/>
              <a:gd name="T7" fmla="*/ 56 h 129"/>
              <a:gd name="T8" fmla="*/ 17 w 90"/>
              <a:gd name="T9" fmla="*/ 56 h 129"/>
              <a:gd name="T10" fmla="*/ 2 w 90"/>
              <a:gd name="T11" fmla="*/ 85 h 129"/>
              <a:gd name="T12" fmla="*/ 26 w 90"/>
              <a:gd name="T13" fmla="*/ 124 h 129"/>
              <a:gd name="T14" fmla="*/ 40 w 90"/>
              <a:gd name="T15" fmla="*/ 89 h 129"/>
              <a:gd name="T16" fmla="*/ 53 w 90"/>
              <a:gd name="T17" fmla="*/ 35 h 129"/>
              <a:gd name="T18" fmla="*/ 56 w 90"/>
              <a:gd name="T19" fmla="*/ 87 h 129"/>
              <a:gd name="T20" fmla="*/ 47 w 90"/>
              <a:gd name="T21" fmla="*/ 128 h 129"/>
              <a:gd name="T22" fmla="*/ 80 w 90"/>
              <a:gd name="T23" fmla="*/ 102 h 129"/>
              <a:gd name="T24" fmla="*/ 80 w 90"/>
              <a:gd name="T25" fmla="*/ 102 h 129"/>
              <a:gd name="T26" fmla="*/ 75 w 90"/>
              <a:gd name="T27" fmla="*/ 44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129">
                <a:moveTo>
                  <a:pt x="75" y="44"/>
                </a:moveTo>
                <a:cubicBezTo>
                  <a:pt x="67" y="24"/>
                  <a:pt x="50" y="0"/>
                  <a:pt x="48" y="0"/>
                </a:cubicBezTo>
                <a:cubicBezTo>
                  <a:pt x="45" y="0"/>
                  <a:pt x="42" y="37"/>
                  <a:pt x="19" y="55"/>
                </a:cubicBezTo>
                <a:cubicBezTo>
                  <a:pt x="18" y="55"/>
                  <a:pt x="18" y="55"/>
                  <a:pt x="17" y="56"/>
                </a:cubicBezTo>
                <a:cubicBezTo>
                  <a:pt x="17" y="56"/>
                  <a:pt x="17" y="56"/>
                  <a:pt x="17" y="56"/>
                </a:cubicBezTo>
                <a:cubicBezTo>
                  <a:pt x="8" y="63"/>
                  <a:pt x="2" y="73"/>
                  <a:pt x="2" y="85"/>
                </a:cubicBezTo>
                <a:cubicBezTo>
                  <a:pt x="0" y="115"/>
                  <a:pt x="22" y="126"/>
                  <a:pt x="26" y="124"/>
                </a:cubicBezTo>
                <a:cubicBezTo>
                  <a:pt x="30" y="123"/>
                  <a:pt x="37" y="102"/>
                  <a:pt x="40" y="89"/>
                </a:cubicBezTo>
                <a:cubicBezTo>
                  <a:pt x="47" y="63"/>
                  <a:pt x="51" y="35"/>
                  <a:pt x="53" y="35"/>
                </a:cubicBezTo>
                <a:cubicBezTo>
                  <a:pt x="54" y="35"/>
                  <a:pt x="57" y="63"/>
                  <a:pt x="56" y="87"/>
                </a:cubicBezTo>
                <a:cubicBezTo>
                  <a:pt x="55" y="109"/>
                  <a:pt x="46" y="127"/>
                  <a:pt x="47" y="128"/>
                </a:cubicBezTo>
                <a:cubicBezTo>
                  <a:pt x="49" y="129"/>
                  <a:pt x="74" y="120"/>
                  <a:pt x="80" y="102"/>
                </a:cubicBezTo>
                <a:cubicBezTo>
                  <a:pt x="80" y="102"/>
                  <a:pt x="80" y="102"/>
                  <a:pt x="80" y="102"/>
                </a:cubicBezTo>
                <a:cubicBezTo>
                  <a:pt x="80" y="102"/>
                  <a:pt x="90" y="81"/>
                  <a:pt x="75" y="4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65" name="Freeform: Shape 267">
            <a:extLst>
              <a:ext uri="{FF2B5EF4-FFF2-40B4-BE49-F238E27FC236}">
                <a16:creationId xmlns:a16="http://schemas.microsoft.com/office/drawing/2014/main" id="{E50E5CB4-E990-4778-91A1-AE7025BE229D}"/>
              </a:ext>
            </a:extLst>
          </p:cNvPr>
          <p:cNvSpPr>
            <a:spLocks/>
          </p:cNvSpPr>
          <p:nvPr/>
        </p:nvSpPr>
        <p:spPr bwMode="auto">
          <a:xfrm>
            <a:off x="10978849" y="4514225"/>
            <a:ext cx="327474" cy="325992"/>
          </a:xfrm>
          <a:custGeom>
            <a:avLst/>
            <a:gdLst>
              <a:gd name="connsiteX0" fmla="*/ 171278 w 327474"/>
              <a:gd name="connsiteY0" fmla="*/ 261828 h 325992"/>
              <a:gd name="connsiteX1" fmla="*/ 178025 w 327474"/>
              <a:gd name="connsiteY1" fmla="*/ 262475 h 325992"/>
              <a:gd name="connsiteX2" fmla="*/ 188820 w 327474"/>
              <a:gd name="connsiteY2" fmla="*/ 316803 h 325992"/>
              <a:gd name="connsiteX3" fmla="*/ 167230 w 327474"/>
              <a:gd name="connsiteY3" fmla="*/ 324564 h 325992"/>
              <a:gd name="connsiteX4" fmla="*/ 164531 w 327474"/>
              <a:gd name="connsiteY4" fmla="*/ 265062 h 325992"/>
              <a:gd name="connsiteX5" fmla="*/ 171278 w 327474"/>
              <a:gd name="connsiteY5" fmla="*/ 261828 h 325992"/>
              <a:gd name="connsiteX6" fmla="*/ 92337 w 327474"/>
              <a:gd name="connsiteY6" fmla="*/ 254549 h 325992"/>
              <a:gd name="connsiteX7" fmla="*/ 102618 w 327474"/>
              <a:gd name="connsiteY7" fmla="*/ 259744 h 325992"/>
              <a:gd name="connsiteX8" fmla="*/ 71775 w 327474"/>
              <a:gd name="connsiteY8" fmla="*/ 309101 h 325992"/>
              <a:gd name="connsiteX9" fmla="*/ 48643 w 327474"/>
              <a:gd name="connsiteY9" fmla="*/ 298710 h 325992"/>
              <a:gd name="connsiteX10" fmla="*/ 92337 w 327474"/>
              <a:gd name="connsiteY10" fmla="*/ 254549 h 325992"/>
              <a:gd name="connsiteX11" fmla="*/ 242092 w 327474"/>
              <a:gd name="connsiteY11" fmla="*/ 217026 h 325992"/>
              <a:gd name="connsiteX12" fmla="*/ 288356 w 327474"/>
              <a:gd name="connsiteY12" fmla="*/ 247869 h 325992"/>
              <a:gd name="connsiteX13" fmla="*/ 278075 w 327474"/>
              <a:gd name="connsiteY13" fmla="*/ 271001 h 325992"/>
              <a:gd name="connsiteX14" fmla="*/ 234381 w 327474"/>
              <a:gd name="connsiteY14" fmla="*/ 229877 h 325992"/>
              <a:gd name="connsiteX15" fmla="*/ 242092 w 327474"/>
              <a:gd name="connsiteY15" fmla="*/ 217026 h 325992"/>
              <a:gd name="connsiteX16" fmla="*/ 59389 w 327474"/>
              <a:gd name="connsiteY16" fmla="*/ 180513 h 325992"/>
              <a:gd name="connsiteX17" fmla="*/ 64518 w 327474"/>
              <a:gd name="connsiteY17" fmla="*/ 190567 h 325992"/>
              <a:gd name="connsiteX18" fmla="*/ 10665 w 327474"/>
              <a:gd name="connsiteY18" fmla="*/ 208163 h 325992"/>
              <a:gd name="connsiteX19" fmla="*/ 407 w 327474"/>
              <a:gd name="connsiteY19" fmla="*/ 188054 h 325992"/>
              <a:gd name="connsiteX20" fmla="*/ 59389 w 327474"/>
              <a:gd name="connsiteY20" fmla="*/ 180513 h 325992"/>
              <a:gd name="connsiteX21" fmla="*/ 316809 w 327474"/>
              <a:gd name="connsiteY21" fmla="*/ 123363 h 325992"/>
              <a:gd name="connsiteX22" fmla="*/ 327067 w 327474"/>
              <a:gd name="connsiteY22" fmla="*/ 147176 h 325992"/>
              <a:gd name="connsiteX23" fmla="*/ 268085 w 327474"/>
              <a:gd name="connsiteY23" fmla="*/ 155113 h 325992"/>
              <a:gd name="connsiteX24" fmla="*/ 265520 w 327474"/>
              <a:gd name="connsiteY24" fmla="*/ 141884 h 325992"/>
              <a:gd name="connsiteX25" fmla="*/ 316809 w 327474"/>
              <a:gd name="connsiteY25" fmla="*/ 123363 h 325992"/>
              <a:gd name="connsiteX26" fmla="*/ 157916 w 327474"/>
              <a:gd name="connsiteY26" fmla="*/ 103691 h 325992"/>
              <a:gd name="connsiteX27" fmla="*/ 113836 w 327474"/>
              <a:gd name="connsiteY27" fmla="*/ 129215 h 325992"/>
              <a:gd name="connsiteX28" fmla="*/ 119022 w 327474"/>
              <a:gd name="connsiteY28" fmla="*/ 218551 h 325992"/>
              <a:gd name="connsiteX29" fmla="*/ 165695 w 327474"/>
              <a:gd name="connsiteY29" fmla="*/ 228761 h 325992"/>
              <a:gd name="connsiteX30" fmla="*/ 157916 w 327474"/>
              <a:gd name="connsiteY30" fmla="*/ 103691 h 325992"/>
              <a:gd name="connsiteX31" fmla="*/ 186107 w 327474"/>
              <a:gd name="connsiteY31" fmla="*/ 79395 h 325992"/>
              <a:gd name="connsiteX32" fmla="*/ 214061 w 327474"/>
              <a:gd name="connsiteY32" fmla="*/ 92171 h 325992"/>
              <a:gd name="connsiteX33" fmla="*/ 219232 w 327474"/>
              <a:gd name="connsiteY33" fmla="*/ 211577 h 325992"/>
              <a:gd name="connsiteX34" fmla="*/ 105476 w 327474"/>
              <a:gd name="connsiteY34" fmla="*/ 232343 h 325992"/>
              <a:gd name="connsiteX35" fmla="*/ 100305 w 327474"/>
              <a:gd name="connsiteY35" fmla="*/ 115533 h 325992"/>
              <a:gd name="connsiteX36" fmla="*/ 186107 w 327474"/>
              <a:gd name="connsiteY36" fmla="*/ 79395 h 325992"/>
              <a:gd name="connsiteX37" fmla="*/ 41103 w 327474"/>
              <a:gd name="connsiteY37" fmla="*/ 45576 h 325992"/>
              <a:gd name="connsiteX38" fmla="*/ 80394 w 327474"/>
              <a:gd name="connsiteY38" fmla="*/ 92335 h 325992"/>
              <a:gd name="connsiteX39" fmla="*/ 72536 w 327474"/>
              <a:gd name="connsiteY39" fmla="*/ 102726 h 325992"/>
              <a:gd name="connsiteX40" fmla="*/ 30625 w 327474"/>
              <a:gd name="connsiteY40" fmla="*/ 66358 h 325992"/>
              <a:gd name="connsiteX41" fmla="*/ 41103 w 327474"/>
              <a:gd name="connsiteY41" fmla="*/ 45576 h 325992"/>
              <a:gd name="connsiteX42" fmla="*/ 259988 w 327474"/>
              <a:gd name="connsiteY42" fmla="*/ 31288 h 325992"/>
              <a:gd name="connsiteX43" fmla="*/ 280419 w 327474"/>
              <a:gd name="connsiteY43" fmla="*/ 43988 h 325992"/>
              <a:gd name="connsiteX44" fmla="*/ 234450 w 327474"/>
              <a:gd name="connsiteY44" fmla="*/ 79548 h 325992"/>
              <a:gd name="connsiteX45" fmla="*/ 224235 w 327474"/>
              <a:gd name="connsiteY45" fmla="*/ 74468 h 325992"/>
              <a:gd name="connsiteX46" fmla="*/ 259988 w 327474"/>
              <a:gd name="connsiteY46" fmla="*/ 31288 h 325992"/>
              <a:gd name="connsiteX47" fmla="*/ 160345 w 327474"/>
              <a:gd name="connsiteY47" fmla="*/ 515 h 325992"/>
              <a:gd name="connsiteX48" fmla="*/ 160345 w 327474"/>
              <a:gd name="connsiteY48" fmla="*/ 59497 h 325992"/>
              <a:gd name="connsiteX49" fmla="*/ 149954 w 327474"/>
              <a:gd name="connsiteY49" fmla="*/ 62062 h 325992"/>
              <a:gd name="connsiteX50" fmla="*/ 136966 w 327474"/>
              <a:gd name="connsiteY50" fmla="*/ 8209 h 325992"/>
              <a:gd name="connsiteX51" fmla="*/ 160345 w 327474"/>
              <a:gd name="connsiteY51" fmla="*/ 515 h 3259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327474" h="325992">
                <a:moveTo>
                  <a:pt x="171278" y="261828"/>
                </a:moveTo>
                <a:cubicBezTo>
                  <a:pt x="173977" y="261182"/>
                  <a:pt x="176676" y="261182"/>
                  <a:pt x="178025" y="262475"/>
                </a:cubicBezTo>
                <a:cubicBezTo>
                  <a:pt x="180724" y="265062"/>
                  <a:pt x="191519" y="314216"/>
                  <a:pt x="188820" y="316803"/>
                </a:cubicBezTo>
                <a:cubicBezTo>
                  <a:pt x="188820" y="319390"/>
                  <a:pt x="169929" y="329738"/>
                  <a:pt x="167230" y="324564"/>
                </a:cubicBezTo>
                <a:cubicBezTo>
                  <a:pt x="164531" y="321977"/>
                  <a:pt x="164531" y="267649"/>
                  <a:pt x="164531" y="265062"/>
                </a:cubicBezTo>
                <a:cubicBezTo>
                  <a:pt x="165881" y="263769"/>
                  <a:pt x="168579" y="262475"/>
                  <a:pt x="171278" y="261828"/>
                </a:cubicBezTo>
                <a:close/>
                <a:moveTo>
                  <a:pt x="92337" y="254549"/>
                </a:moveTo>
                <a:cubicBezTo>
                  <a:pt x="92337" y="251951"/>
                  <a:pt x="102618" y="257147"/>
                  <a:pt x="102618" y="259744"/>
                </a:cubicBezTo>
                <a:cubicBezTo>
                  <a:pt x="100048" y="262342"/>
                  <a:pt x="76916" y="306503"/>
                  <a:pt x="71775" y="309101"/>
                </a:cubicBezTo>
                <a:cubicBezTo>
                  <a:pt x="69205" y="309101"/>
                  <a:pt x="48643" y="301308"/>
                  <a:pt x="48643" y="298710"/>
                </a:cubicBezTo>
                <a:cubicBezTo>
                  <a:pt x="48643" y="293515"/>
                  <a:pt x="89767" y="257147"/>
                  <a:pt x="92337" y="254549"/>
                </a:cubicBezTo>
                <a:close/>
                <a:moveTo>
                  <a:pt x="242092" y="217026"/>
                </a:moveTo>
                <a:cubicBezTo>
                  <a:pt x="244662" y="219596"/>
                  <a:pt x="285786" y="245299"/>
                  <a:pt x="288356" y="247869"/>
                </a:cubicBezTo>
                <a:cubicBezTo>
                  <a:pt x="288356" y="253009"/>
                  <a:pt x="283216" y="271001"/>
                  <a:pt x="278075" y="271001"/>
                </a:cubicBezTo>
                <a:cubicBezTo>
                  <a:pt x="272935" y="271001"/>
                  <a:pt x="236951" y="229877"/>
                  <a:pt x="234381" y="229877"/>
                </a:cubicBezTo>
                <a:cubicBezTo>
                  <a:pt x="234381" y="227307"/>
                  <a:pt x="239521" y="217026"/>
                  <a:pt x="242092" y="217026"/>
                </a:cubicBezTo>
                <a:close/>
                <a:moveTo>
                  <a:pt x="59389" y="180513"/>
                </a:moveTo>
                <a:cubicBezTo>
                  <a:pt x="61954" y="180513"/>
                  <a:pt x="64518" y="190567"/>
                  <a:pt x="64518" y="190567"/>
                </a:cubicBezTo>
                <a:cubicBezTo>
                  <a:pt x="61954" y="193081"/>
                  <a:pt x="15794" y="210676"/>
                  <a:pt x="10665" y="208163"/>
                </a:cubicBezTo>
                <a:cubicBezTo>
                  <a:pt x="8101" y="208163"/>
                  <a:pt x="-2157" y="190567"/>
                  <a:pt x="407" y="188054"/>
                </a:cubicBezTo>
                <a:cubicBezTo>
                  <a:pt x="2972" y="185540"/>
                  <a:pt x="56825" y="180513"/>
                  <a:pt x="59389" y="180513"/>
                </a:cubicBezTo>
                <a:close/>
                <a:moveTo>
                  <a:pt x="316809" y="123363"/>
                </a:moveTo>
                <a:cubicBezTo>
                  <a:pt x="319373" y="126009"/>
                  <a:pt x="329631" y="144530"/>
                  <a:pt x="327067" y="147176"/>
                </a:cubicBezTo>
                <a:cubicBezTo>
                  <a:pt x="327067" y="149821"/>
                  <a:pt x="273214" y="155113"/>
                  <a:pt x="268085" y="155113"/>
                </a:cubicBezTo>
                <a:cubicBezTo>
                  <a:pt x="265520" y="155113"/>
                  <a:pt x="262956" y="144530"/>
                  <a:pt x="265520" y="141884"/>
                </a:cubicBezTo>
                <a:cubicBezTo>
                  <a:pt x="265520" y="141884"/>
                  <a:pt x="311680" y="123363"/>
                  <a:pt x="316809" y="123363"/>
                </a:cubicBezTo>
                <a:close/>
                <a:moveTo>
                  <a:pt x="157916" y="103691"/>
                </a:moveTo>
                <a:cubicBezTo>
                  <a:pt x="152730" y="101138"/>
                  <a:pt x="126801" y="116453"/>
                  <a:pt x="113836" y="129215"/>
                </a:cubicBezTo>
                <a:cubicBezTo>
                  <a:pt x="93093" y="159844"/>
                  <a:pt x="93093" y="198131"/>
                  <a:pt x="119022" y="218551"/>
                </a:cubicBezTo>
                <a:cubicBezTo>
                  <a:pt x="131987" y="228761"/>
                  <a:pt x="160509" y="231313"/>
                  <a:pt x="165695" y="228761"/>
                </a:cubicBezTo>
                <a:cubicBezTo>
                  <a:pt x="170881" y="223656"/>
                  <a:pt x="163102" y="106243"/>
                  <a:pt x="157916" y="103691"/>
                </a:cubicBezTo>
                <a:close/>
                <a:moveTo>
                  <a:pt x="186107" y="79395"/>
                </a:moveTo>
                <a:cubicBezTo>
                  <a:pt x="196125" y="81463"/>
                  <a:pt x="205658" y="85681"/>
                  <a:pt x="214061" y="92171"/>
                </a:cubicBezTo>
                <a:cubicBezTo>
                  <a:pt x="247671" y="118129"/>
                  <a:pt x="250256" y="172640"/>
                  <a:pt x="219232" y="211577"/>
                </a:cubicBezTo>
                <a:cubicBezTo>
                  <a:pt x="188207" y="247918"/>
                  <a:pt x="136500" y="258301"/>
                  <a:pt x="105476" y="232343"/>
                </a:cubicBezTo>
                <a:cubicBezTo>
                  <a:pt x="71866" y="206385"/>
                  <a:pt x="69281" y="154470"/>
                  <a:pt x="100305" y="115533"/>
                </a:cubicBezTo>
                <a:cubicBezTo>
                  <a:pt x="121634" y="86331"/>
                  <a:pt x="156052" y="73189"/>
                  <a:pt x="186107" y="79395"/>
                </a:cubicBezTo>
                <a:close/>
                <a:moveTo>
                  <a:pt x="41103" y="45576"/>
                </a:moveTo>
                <a:cubicBezTo>
                  <a:pt x="46342" y="45576"/>
                  <a:pt x="77775" y="89737"/>
                  <a:pt x="80394" y="92335"/>
                </a:cubicBezTo>
                <a:cubicBezTo>
                  <a:pt x="80394" y="94933"/>
                  <a:pt x="75155" y="102726"/>
                  <a:pt x="72536" y="102726"/>
                </a:cubicBezTo>
                <a:cubicBezTo>
                  <a:pt x="69916" y="100128"/>
                  <a:pt x="30625" y="68956"/>
                  <a:pt x="30625" y="66358"/>
                </a:cubicBezTo>
                <a:cubicBezTo>
                  <a:pt x="28006" y="61162"/>
                  <a:pt x="38484" y="45576"/>
                  <a:pt x="41103" y="45576"/>
                </a:cubicBezTo>
                <a:close/>
                <a:moveTo>
                  <a:pt x="259988" y="31288"/>
                </a:moveTo>
                <a:cubicBezTo>
                  <a:pt x="265096" y="31288"/>
                  <a:pt x="280419" y="41448"/>
                  <a:pt x="280419" y="43988"/>
                </a:cubicBezTo>
                <a:cubicBezTo>
                  <a:pt x="280419" y="49068"/>
                  <a:pt x="237004" y="79548"/>
                  <a:pt x="234450" y="79548"/>
                </a:cubicBezTo>
                <a:cubicBezTo>
                  <a:pt x="231896" y="82088"/>
                  <a:pt x="221681" y="77008"/>
                  <a:pt x="224235" y="74468"/>
                </a:cubicBezTo>
                <a:cubicBezTo>
                  <a:pt x="224235" y="71928"/>
                  <a:pt x="254881" y="33828"/>
                  <a:pt x="259988" y="31288"/>
                </a:cubicBezTo>
                <a:close/>
                <a:moveTo>
                  <a:pt x="160345" y="515"/>
                </a:moveTo>
                <a:cubicBezTo>
                  <a:pt x="162943" y="3080"/>
                  <a:pt x="160345" y="56933"/>
                  <a:pt x="160345" y="59497"/>
                </a:cubicBezTo>
                <a:cubicBezTo>
                  <a:pt x="160345" y="62062"/>
                  <a:pt x="149954" y="64626"/>
                  <a:pt x="149954" y="62062"/>
                </a:cubicBezTo>
                <a:cubicBezTo>
                  <a:pt x="147357" y="59497"/>
                  <a:pt x="134368" y="13337"/>
                  <a:pt x="136966" y="8209"/>
                </a:cubicBezTo>
                <a:cubicBezTo>
                  <a:pt x="139563" y="5644"/>
                  <a:pt x="157748" y="-2049"/>
                  <a:pt x="160345" y="515"/>
                </a:cubicBezTo>
                <a:close/>
              </a:path>
            </a:pathLst>
          </a:custGeom>
          <a:solidFill>
            <a:schemeClr val="bg1"/>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Tree>
    <p:extLst>
      <p:ext uri="{BB962C8B-B14F-4D97-AF65-F5344CB8AC3E}">
        <p14:creationId xmlns:p14="http://schemas.microsoft.com/office/powerpoint/2010/main" val="4117555439"/>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6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405">
            <a:extLst>
              <a:ext uri="{FF2B5EF4-FFF2-40B4-BE49-F238E27FC236}">
                <a16:creationId xmlns:a16="http://schemas.microsoft.com/office/drawing/2014/main" id="{6E00DADE-2691-4E6F-A7FB-253102D57B9B}"/>
              </a:ext>
            </a:extLst>
          </p:cNvPr>
          <p:cNvGrpSpPr/>
          <p:nvPr/>
        </p:nvGrpSpPr>
        <p:grpSpPr>
          <a:xfrm>
            <a:off x="4912440" y="1967107"/>
            <a:ext cx="3916439" cy="5162256"/>
            <a:chOff x="3595866" y="1214203"/>
            <a:chExt cx="4385070" cy="5779958"/>
          </a:xfrm>
        </p:grpSpPr>
        <p:sp>
          <p:nvSpPr>
            <p:cNvPr id="3" name="Freeform 5">
              <a:extLst>
                <a:ext uri="{FF2B5EF4-FFF2-40B4-BE49-F238E27FC236}">
                  <a16:creationId xmlns:a16="http://schemas.microsoft.com/office/drawing/2014/main" id="{651077DE-D464-4401-8C28-478C34216D14}"/>
                </a:ext>
              </a:extLst>
            </p:cNvPr>
            <p:cNvSpPr>
              <a:spLocks/>
            </p:cNvSpPr>
            <p:nvPr/>
          </p:nvSpPr>
          <p:spPr bwMode="auto">
            <a:xfrm>
              <a:off x="6477892" y="2170107"/>
              <a:ext cx="563045" cy="438984"/>
            </a:xfrm>
            <a:custGeom>
              <a:avLst/>
              <a:gdLst>
                <a:gd name="T0" fmla="*/ 241 w 289"/>
                <a:gd name="T1" fmla="*/ 225 h 225"/>
                <a:gd name="T2" fmla="*/ 289 w 289"/>
                <a:gd name="T3" fmla="*/ 170 h 225"/>
                <a:gd name="T4" fmla="*/ 289 w 289"/>
                <a:gd name="T5" fmla="*/ 0 h 225"/>
                <a:gd name="T6" fmla="*/ 257 w 289"/>
                <a:gd name="T7" fmla="*/ 0 h 225"/>
                <a:gd name="T8" fmla="*/ 257 w 289"/>
                <a:gd name="T9" fmla="*/ 170 h 225"/>
                <a:gd name="T10" fmla="*/ 241 w 289"/>
                <a:gd name="T11" fmla="*/ 189 h 225"/>
                <a:gd name="T12" fmla="*/ 0 w 289"/>
                <a:gd name="T13" fmla="*/ 189 h 225"/>
                <a:gd name="T14" fmla="*/ 3 w 289"/>
                <a:gd name="T15" fmla="*/ 225 h 225"/>
                <a:gd name="T16" fmla="*/ 241 w 289"/>
                <a:gd name="T17" fmla="*/ 225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9" h="225">
                  <a:moveTo>
                    <a:pt x="241" y="225"/>
                  </a:moveTo>
                  <a:cubicBezTo>
                    <a:pt x="268" y="225"/>
                    <a:pt x="289" y="201"/>
                    <a:pt x="289" y="170"/>
                  </a:cubicBezTo>
                  <a:cubicBezTo>
                    <a:pt x="289" y="0"/>
                    <a:pt x="289" y="0"/>
                    <a:pt x="289" y="0"/>
                  </a:cubicBezTo>
                  <a:cubicBezTo>
                    <a:pt x="257" y="0"/>
                    <a:pt x="257" y="0"/>
                    <a:pt x="257" y="0"/>
                  </a:cubicBezTo>
                  <a:cubicBezTo>
                    <a:pt x="257" y="170"/>
                    <a:pt x="257" y="170"/>
                    <a:pt x="257" y="170"/>
                  </a:cubicBezTo>
                  <a:cubicBezTo>
                    <a:pt x="257" y="181"/>
                    <a:pt x="250" y="189"/>
                    <a:pt x="241" y="189"/>
                  </a:cubicBezTo>
                  <a:cubicBezTo>
                    <a:pt x="0" y="189"/>
                    <a:pt x="0" y="189"/>
                    <a:pt x="0" y="189"/>
                  </a:cubicBezTo>
                  <a:cubicBezTo>
                    <a:pt x="3" y="225"/>
                    <a:pt x="3" y="225"/>
                    <a:pt x="3" y="225"/>
                  </a:cubicBezTo>
                  <a:lnTo>
                    <a:pt x="241" y="225"/>
                  </a:lnTo>
                  <a:close/>
                </a:path>
              </a:pathLst>
            </a:custGeom>
            <a:solidFill>
              <a:schemeClr val="accent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4" name="Freeform 6">
              <a:extLst>
                <a:ext uri="{FF2B5EF4-FFF2-40B4-BE49-F238E27FC236}">
                  <a16:creationId xmlns:a16="http://schemas.microsoft.com/office/drawing/2014/main" id="{3429120F-1F92-4DDF-99BD-58160E9A5B45}"/>
                </a:ext>
              </a:extLst>
            </p:cNvPr>
            <p:cNvSpPr>
              <a:spLocks/>
            </p:cNvSpPr>
            <p:nvPr/>
          </p:nvSpPr>
          <p:spPr bwMode="auto">
            <a:xfrm>
              <a:off x="6489026" y="4780154"/>
              <a:ext cx="561455" cy="437393"/>
            </a:xfrm>
            <a:custGeom>
              <a:avLst/>
              <a:gdLst>
                <a:gd name="T0" fmla="*/ 47 w 288"/>
                <a:gd name="T1" fmla="*/ 0 h 225"/>
                <a:gd name="T2" fmla="*/ 0 w 288"/>
                <a:gd name="T3" fmla="*/ 55 h 225"/>
                <a:gd name="T4" fmla="*/ 0 w 288"/>
                <a:gd name="T5" fmla="*/ 225 h 225"/>
                <a:gd name="T6" fmla="*/ 31 w 288"/>
                <a:gd name="T7" fmla="*/ 225 h 225"/>
                <a:gd name="T8" fmla="*/ 31 w 288"/>
                <a:gd name="T9" fmla="*/ 55 h 225"/>
                <a:gd name="T10" fmla="*/ 47 w 288"/>
                <a:gd name="T11" fmla="*/ 36 h 225"/>
                <a:gd name="T12" fmla="*/ 288 w 288"/>
                <a:gd name="T13" fmla="*/ 36 h 225"/>
                <a:gd name="T14" fmla="*/ 286 w 288"/>
                <a:gd name="T15" fmla="*/ 0 h 225"/>
                <a:gd name="T16" fmla="*/ 47 w 288"/>
                <a:gd name="T17" fmla="*/ 0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8" h="225">
                  <a:moveTo>
                    <a:pt x="47" y="0"/>
                  </a:moveTo>
                  <a:cubicBezTo>
                    <a:pt x="21" y="0"/>
                    <a:pt x="0" y="24"/>
                    <a:pt x="0" y="55"/>
                  </a:cubicBezTo>
                  <a:cubicBezTo>
                    <a:pt x="0" y="225"/>
                    <a:pt x="0" y="225"/>
                    <a:pt x="0" y="225"/>
                  </a:cubicBezTo>
                  <a:cubicBezTo>
                    <a:pt x="31" y="225"/>
                    <a:pt x="31" y="225"/>
                    <a:pt x="31" y="225"/>
                  </a:cubicBezTo>
                  <a:cubicBezTo>
                    <a:pt x="31" y="55"/>
                    <a:pt x="31" y="55"/>
                    <a:pt x="31" y="55"/>
                  </a:cubicBezTo>
                  <a:cubicBezTo>
                    <a:pt x="31" y="45"/>
                    <a:pt x="39" y="36"/>
                    <a:pt x="47" y="36"/>
                  </a:cubicBezTo>
                  <a:cubicBezTo>
                    <a:pt x="288" y="36"/>
                    <a:pt x="288" y="36"/>
                    <a:pt x="288" y="36"/>
                  </a:cubicBezTo>
                  <a:cubicBezTo>
                    <a:pt x="286" y="0"/>
                    <a:pt x="286" y="0"/>
                    <a:pt x="286" y="0"/>
                  </a:cubicBezTo>
                  <a:lnTo>
                    <a:pt x="47" y="0"/>
                  </a:lnTo>
                  <a:close/>
                </a:path>
              </a:pathLst>
            </a:custGeom>
            <a:solidFill>
              <a:schemeClr val="accent5"/>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5" name="Freeform: Shape 5">
              <a:extLst>
                <a:ext uri="{FF2B5EF4-FFF2-40B4-BE49-F238E27FC236}">
                  <a16:creationId xmlns:a16="http://schemas.microsoft.com/office/drawing/2014/main" id="{60808F71-CAC4-4CC3-A51B-DEB2020003A7}"/>
                </a:ext>
              </a:extLst>
            </p:cNvPr>
            <p:cNvSpPr>
              <a:spLocks/>
            </p:cNvSpPr>
            <p:nvPr/>
          </p:nvSpPr>
          <p:spPr bwMode="auto">
            <a:xfrm>
              <a:off x="5988012" y="3043304"/>
              <a:ext cx="69983" cy="3916297"/>
            </a:xfrm>
            <a:custGeom>
              <a:avLst/>
              <a:gdLst>
                <a:gd name="connsiteX0" fmla="*/ 101528 w 101528"/>
                <a:gd name="connsiteY0" fmla="*/ 0 h 5681564"/>
                <a:gd name="connsiteX1" fmla="*/ 101528 w 101528"/>
                <a:gd name="connsiteY1" fmla="*/ 5681564 h 5681564"/>
                <a:gd name="connsiteX2" fmla="*/ 0 w 101528"/>
                <a:gd name="connsiteY2" fmla="*/ 5681564 h 5681564"/>
                <a:gd name="connsiteX3" fmla="*/ 0 w 101528"/>
                <a:gd name="connsiteY3" fmla="*/ 20767 h 5681564"/>
              </a:gdLst>
              <a:ahLst/>
              <a:cxnLst>
                <a:cxn ang="0">
                  <a:pos x="connsiteX0" y="connsiteY0"/>
                </a:cxn>
                <a:cxn ang="0">
                  <a:pos x="connsiteX1" y="connsiteY1"/>
                </a:cxn>
                <a:cxn ang="0">
                  <a:pos x="connsiteX2" y="connsiteY2"/>
                </a:cxn>
                <a:cxn ang="0">
                  <a:pos x="connsiteX3" y="connsiteY3"/>
                </a:cxn>
              </a:cxnLst>
              <a:rect l="l" t="t" r="r" b="b"/>
              <a:pathLst>
                <a:path w="101528" h="5681564">
                  <a:moveTo>
                    <a:pt x="101528" y="0"/>
                  </a:moveTo>
                  <a:lnTo>
                    <a:pt x="101528" y="5681564"/>
                  </a:lnTo>
                  <a:lnTo>
                    <a:pt x="0" y="5681564"/>
                  </a:lnTo>
                  <a:lnTo>
                    <a:pt x="0" y="20767"/>
                  </a:lnTo>
                  <a:close/>
                </a:path>
              </a:pathLst>
            </a:custGeom>
            <a:solidFill>
              <a:schemeClr val="accent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6" name="Freeform 11">
              <a:extLst>
                <a:ext uri="{FF2B5EF4-FFF2-40B4-BE49-F238E27FC236}">
                  <a16:creationId xmlns:a16="http://schemas.microsoft.com/office/drawing/2014/main" id="{9C294F81-F017-48B6-9FCC-CD6D4632DD11}"/>
                </a:ext>
              </a:extLst>
            </p:cNvPr>
            <p:cNvSpPr>
              <a:spLocks/>
            </p:cNvSpPr>
            <p:nvPr/>
          </p:nvSpPr>
          <p:spPr bwMode="auto">
            <a:xfrm>
              <a:off x="5876675" y="3019446"/>
              <a:ext cx="1122909" cy="419898"/>
            </a:xfrm>
            <a:custGeom>
              <a:avLst/>
              <a:gdLst>
                <a:gd name="T0" fmla="*/ 576 w 576"/>
                <a:gd name="T1" fmla="*/ 48 h 215"/>
                <a:gd name="T2" fmla="*/ 521 w 576"/>
                <a:gd name="T3" fmla="*/ 0 h 215"/>
                <a:gd name="T4" fmla="*/ 13 w 576"/>
                <a:gd name="T5" fmla="*/ 0 h 215"/>
                <a:gd name="T6" fmla="*/ 0 w 576"/>
                <a:gd name="T7" fmla="*/ 32 h 215"/>
                <a:gd name="T8" fmla="*/ 521 w 576"/>
                <a:gd name="T9" fmla="*/ 32 h 215"/>
                <a:gd name="T10" fmla="*/ 539 w 576"/>
                <a:gd name="T11" fmla="*/ 48 h 215"/>
                <a:gd name="T12" fmla="*/ 539 w 576"/>
                <a:gd name="T13" fmla="*/ 215 h 215"/>
                <a:gd name="T14" fmla="*/ 576 w 576"/>
                <a:gd name="T15" fmla="*/ 215 h 215"/>
                <a:gd name="T16" fmla="*/ 576 w 576"/>
                <a:gd name="T17" fmla="*/ 48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76" h="215">
                  <a:moveTo>
                    <a:pt x="576" y="48"/>
                  </a:moveTo>
                  <a:cubicBezTo>
                    <a:pt x="576" y="21"/>
                    <a:pt x="551" y="0"/>
                    <a:pt x="521" y="0"/>
                  </a:cubicBezTo>
                  <a:cubicBezTo>
                    <a:pt x="13" y="0"/>
                    <a:pt x="13" y="0"/>
                    <a:pt x="13" y="0"/>
                  </a:cubicBezTo>
                  <a:cubicBezTo>
                    <a:pt x="0" y="32"/>
                    <a:pt x="0" y="32"/>
                    <a:pt x="0" y="32"/>
                  </a:cubicBezTo>
                  <a:cubicBezTo>
                    <a:pt x="521" y="32"/>
                    <a:pt x="521" y="32"/>
                    <a:pt x="521" y="32"/>
                  </a:cubicBezTo>
                  <a:cubicBezTo>
                    <a:pt x="531" y="32"/>
                    <a:pt x="539" y="39"/>
                    <a:pt x="539" y="48"/>
                  </a:cubicBezTo>
                  <a:cubicBezTo>
                    <a:pt x="539" y="215"/>
                    <a:pt x="539" y="215"/>
                    <a:pt x="539" y="215"/>
                  </a:cubicBezTo>
                  <a:cubicBezTo>
                    <a:pt x="576" y="215"/>
                    <a:pt x="576" y="215"/>
                    <a:pt x="576" y="215"/>
                  </a:cubicBezTo>
                  <a:lnTo>
                    <a:pt x="576" y="48"/>
                  </a:lnTo>
                  <a:close/>
                </a:path>
              </a:pathLst>
            </a:custGeom>
            <a:solidFill>
              <a:schemeClr val="accent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7" name="Freeform 12">
              <a:extLst>
                <a:ext uri="{FF2B5EF4-FFF2-40B4-BE49-F238E27FC236}">
                  <a16:creationId xmlns:a16="http://schemas.microsoft.com/office/drawing/2014/main" id="{CAA09B0C-E4FC-4BEF-AD3A-4335247D6905}"/>
                </a:ext>
              </a:extLst>
            </p:cNvPr>
            <p:cNvSpPr>
              <a:spLocks/>
            </p:cNvSpPr>
            <p:nvPr/>
          </p:nvSpPr>
          <p:spPr bwMode="auto">
            <a:xfrm>
              <a:off x="6928010" y="3326417"/>
              <a:ext cx="485109" cy="418307"/>
            </a:xfrm>
            <a:custGeom>
              <a:avLst/>
              <a:gdLst>
                <a:gd name="T0" fmla="*/ 0 w 249"/>
                <a:gd name="T1" fmla="*/ 168 h 215"/>
                <a:gd name="T2" fmla="*/ 55 w 249"/>
                <a:gd name="T3" fmla="*/ 215 h 215"/>
                <a:gd name="T4" fmla="*/ 249 w 249"/>
                <a:gd name="T5" fmla="*/ 214 h 215"/>
                <a:gd name="T6" fmla="*/ 249 w 249"/>
                <a:gd name="T7" fmla="*/ 182 h 215"/>
                <a:gd name="T8" fmla="*/ 55 w 249"/>
                <a:gd name="T9" fmla="*/ 183 h 215"/>
                <a:gd name="T10" fmla="*/ 37 w 249"/>
                <a:gd name="T11" fmla="*/ 168 h 215"/>
                <a:gd name="T12" fmla="*/ 37 w 249"/>
                <a:gd name="T13" fmla="*/ 0 h 215"/>
                <a:gd name="T14" fmla="*/ 0 w 249"/>
                <a:gd name="T15" fmla="*/ 0 h 215"/>
                <a:gd name="T16" fmla="*/ 0 w 249"/>
                <a:gd name="T17" fmla="*/ 168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9" h="215">
                  <a:moveTo>
                    <a:pt x="0" y="168"/>
                  </a:moveTo>
                  <a:cubicBezTo>
                    <a:pt x="0" y="194"/>
                    <a:pt x="25" y="215"/>
                    <a:pt x="55" y="215"/>
                  </a:cubicBezTo>
                  <a:cubicBezTo>
                    <a:pt x="249" y="214"/>
                    <a:pt x="249" y="214"/>
                    <a:pt x="249" y="214"/>
                  </a:cubicBezTo>
                  <a:cubicBezTo>
                    <a:pt x="249" y="182"/>
                    <a:pt x="249" y="182"/>
                    <a:pt x="249" y="182"/>
                  </a:cubicBezTo>
                  <a:cubicBezTo>
                    <a:pt x="55" y="183"/>
                    <a:pt x="55" y="183"/>
                    <a:pt x="55" y="183"/>
                  </a:cubicBezTo>
                  <a:cubicBezTo>
                    <a:pt x="45" y="183"/>
                    <a:pt x="37" y="176"/>
                    <a:pt x="37" y="168"/>
                  </a:cubicBezTo>
                  <a:cubicBezTo>
                    <a:pt x="37" y="0"/>
                    <a:pt x="37" y="0"/>
                    <a:pt x="37" y="0"/>
                  </a:cubicBezTo>
                  <a:cubicBezTo>
                    <a:pt x="0" y="0"/>
                    <a:pt x="0" y="0"/>
                    <a:pt x="0" y="0"/>
                  </a:cubicBezTo>
                  <a:lnTo>
                    <a:pt x="0" y="168"/>
                  </a:lnTo>
                  <a:close/>
                </a:path>
              </a:pathLst>
            </a:custGeom>
            <a:solidFill>
              <a:schemeClr val="accent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nvGrpSpPr>
            <p:cNvPr id="8" name="Group 404">
              <a:extLst>
                <a:ext uri="{FF2B5EF4-FFF2-40B4-BE49-F238E27FC236}">
                  <a16:creationId xmlns:a16="http://schemas.microsoft.com/office/drawing/2014/main" id="{05E3F225-9489-4FF3-A218-D08A8EF94747}"/>
                </a:ext>
              </a:extLst>
            </p:cNvPr>
            <p:cNvGrpSpPr/>
            <p:nvPr/>
          </p:nvGrpSpPr>
          <p:grpSpPr>
            <a:xfrm>
              <a:off x="5208656" y="1953796"/>
              <a:ext cx="978171" cy="5040365"/>
              <a:chOff x="5208656" y="1953796"/>
              <a:chExt cx="978171" cy="5040365"/>
            </a:xfrm>
          </p:grpSpPr>
          <p:sp>
            <p:nvSpPr>
              <p:cNvPr id="359" name="Rectangle 7">
                <a:extLst>
                  <a:ext uri="{FF2B5EF4-FFF2-40B4-BE49-F238E27FC236}">
                    <a16:creationId xmlns:a16="http://schemas.microsoft.com/office/drawing/2014/main" id="{A591385B-8A85-46DF-BF97-BD265EB854DF}"/>
                  </a:ext>
                </a:extLst>
              </p:cNvPr>
              <p:cNvSpPr>
                <a:spLocks noChangeArrowheads="1"/>
              </p:cNvSpPr>
              <p:nvPr/>
            </p:nvSpPr>
            <p:spPr bwMode="auto">
              <a:xfrm>
                <a:off x="5841684" y="1953796"/>
                <a:ext cx="69983" cy="5040365"/>
              </a:xfrm>
              <a:prstGeom prst="rect">
                <a:avLst/>
              </a:prstGeom>
              <a:solidFill>
                <a:schemeClr val="accent4"/>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60" name="Freeform: Shape 6">
                <a:extLst>
                  <a:ext uri="{FF2B5EF4-FFF2-40B4-BE49-F238E27FC236}">
                    <a16:creationId xmlns:a16="http://schemas.microsoft.com/office/drawing/2014/main" id="{32C50AE5-4B01-4AD7-BAE0-E0D530B29008}"/>
                  </a:ext>
                </a:extLst>
              </p:cNvPr>
              <p:cNvSpPr>
                <a:spLocks/>
              </p:cNvSpPr>
              <p:nvPr/>
            </p:nvSpPr>
            <p:spPr bwMode="auto">
              <a:xfrm>
                <a:off x="6116844" y="4950340"/>
                <a:ext cx="69983" cy="2009261"/>
              </a:xfrm>
              <a:custGeom>
                <a:avLst/>
                <a:gdLst>
                  <a:gd name="connsiteX0" fmla="*/ 101528 w 101528"/>
                  <a:gd name="connsiteY0" fmla="*/ 0 h 2914933"/>
                  <a:gd name="connsiteX1" fmla="*/ 101528 w 101528"/>
                  <a:gd name="connsiteY1" fmla="*/ 2914933 h 2914933"/>
                  <a:gd name="connsiteX2" fmla="*/ 0 w 101528"/>
                  <a:gd name="connsiteY2" fmla="*/ 2914933 h 2914933"/>
                  <a:gd name="connsiteX3" fmla="*/ 0 w 101528"/>
                  <a:gd name="connsiteY3" fmla="*/ 20767 h 2914933"/>
                </a:gdLst>
                <a:ahLst/>
                <a:cxnLst>
                  <a:cxn ang="0">
                    <a:pos x="connsiteX0" y="connsiteY0"/>
                  </a:cxn>
                  <a:cxn ang="0">
                    <a:pos x="connsiteX1" y="connsiteY1"/>
                  </a:cxn>
                  <a:cxn ang="0">
                    <a:pos x="connsiteX2" y="connsiteY2"/>
                  </a:cxn>
                  <a:cxn ang="0">
                    <a:pos x="connsiteX3" y="connsiteY3"/>
                  </a:cxn>
                </a:cxnLst>
                <a:rect l="l" t="t" r="r" b="b"/>
                <a:pathLst>
                  <a:path w="101528" h="2914933">
                    <a:moveTo>
                      <a:pt x="101528" y="0"/>
                    </a:moveTo>
                    <a:lnTo>
                      <a:pt x="101528" y="2914933"/>
                    </a:lnTo>
                    <a:lnTo>
                      <a:pt x="0" y="2914933"/>
                    </a:lnTo>
                    <a:lnTo>
                      <a:pt x="0" y="20767"/>
                    </a:lnTo>
                    <a:close/>
                  </a:path>
                </a:pathLst>
              </a:custGeom>
              <a:solidFill>
                <a:schemeClr val="accent5"/>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61" name="Freeform: Shape 7">
                <a:extLst>
                  <a:ext uri="{FF2B5EF4-FFF2-40B4-BE49-F238E27FC236}">
                    <a16:creationId xmlns:a16="http://schemas.microsoft.com/office/drawing/2014/main" id="{166CB89E-F955-4C4B-B1EC-A76F829FC2F9}"/>
                  </a:ext>
                </a:extLst>
              </p:cNvPr>
              <p:cNvSpPr>
                <a:spLocks/>
              </p:cNvSpPr>
              <p:nvPr/>
            </p:nvSpPr>
            <p:spPr bwMode="auto">
              <a:xfrm>
                <a:off x="5708080" y="3844927"/>
                <a:ext cx="69983" cy="3114674"/>
              </a:xfrm>
              <a:custGeom>
                <a:avLst/>
                <a:gdLst>
                  <a:gd name="connsiteX0" fmla="*/ 101528 w 101528"/>
                  <a:gd name="connsiteY0" fmla="*/ 0 h 4518610"/>
                  <a:gd name="connsiteX1" fmla="*/ 101528 w 101528"/>
                  <a:gd name="connsiteY1" fmla="*/ 4518610 h 4518610"/>
                  <a:gd name="connsiteX2" fmla="*/ 0 w 101528"/>
                  <a:gd name="connsiteY2" fmla="*/ 4518610 h 4518610"/>
                  <a:gd name="connsiteX3" fmla="*/ 0 w 101528"/>
                  <a:gd name="connsiteY3" fmla="*/ 18460 h 4518610"/>
                </a:gdLst>
                <a:ahLst/>
                <a:cxnLst>
                  <a:cxn ang="0">
                    <a:pos x="connsiteX0" y="connsiteY0"/>
                  </a:cxn>
                  <a:cxn ang="0">
                    <a:pos x="connsiteX1" y="connsiteY1"/>
                  </a:cxn>
                  <a:cxn ang="0">
                    <a:pos x="connsiteX2" y="connsiteY2"/>
                  </a:cxn>
                  <a:cxn ang="0">
                    <a:pos x="connsiteX3" y="connsiteY3"/>
                  </a:cxn>
                </a:cxnLst>
                <a:rect l="l" t="t" r="r" b="b"/>
                <a:pathLst>
                  <a:path w="101528" h="4518610">
                    <a:moveTo>
                      <a:pt x="101528" y="0"/>
                    </a:moveTo>
                    <a:lnTo>
                      <a:pt x="101528" y="4518610"/>
                    </a:lnTo>
                    <a:lnTo>
                      <a:pt x="0" y="4518610"/>
                    </a:lnTo>
                    <a:lnTo>
                      <a:pt x="0" y="18460"/>
                    </a:lnTo>
                    <a:close/>
                  </a:path>
                </a:pathLst>
              </a:custGeom>
              <a:solidFill>
                <a:schemeClr val="accent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62" name="Freeform: Shape 10">
                <a:extLst>
                  <a:ext uri="{FF2B5EF4-FFF2-40B4-BE49-F238E27FC236}">
                    <a16:creationId xmlns:a16="http://schemas.microsoft.com/office/drawing/2014/main" id="{07621E6C-F2A2-49A2-AC48-B745F231E3E1}"/>
                  </a:ext>
                </a:extLst>
              </p:cNvPr>
              <p:cNvSpPr>
                <a:spLocks/>
              </p:cNvSpPr>
              <p:nvPr/>
            </p:nvSpPr>
            <p:spPr bwMode="auto">
              <a:xfrm>
                <a:off x="5208656" y="5114163"/>
                <a:ext cx="438984" cy="1845437"/>
              </a:xfrm>
              <a:custGeom>
                <a:avLst/>
                <a:gdLst>
                  <a:gd name="connsiteX0" fmla="*/ 0 w 636856"/>
                  <a:gd name="connsiteY0" fmla="*/ 0 h 2677266"/>
                  <a:gd name="connsiteX1" fmla="*/ 484011 w 636856"/>
                  <a:gd name="connsiteY1" fmla="*/ 0 h 2677266"/>
                  <a:gd name="connsiteX2" fmla="*/ 636856 w 636856"/>
                  <a:gd name="connsiteY2" fmla="*/ 132890 h 2677266"/>
                  <a:gd name="connsiteX3" fmla="*/ 636856 w 636856"/>
                  <a:gd name="connsiteY3" fmla="*/ 2677266 h 2677266"/>
                  <a:gd name="connsiteX4" fmla="*/ 534959 w 636856"/>
                  <a:gd name="connsiteY4" fmla="*/ 2677266 h 2677266"/>
                  <a:gd name="connsiteX5" fmla="*/ 534959 w 636856"/>
                  <a:gd name="connsiteY5" fmla="*/ 2583941 h 2677266"/>
                  <a:gd name="connsiteX6" fmla="*/ 534959 w 636856"/>
                  <a:gd name="connsiteY6" fmla="*/ 132890 h 2677266"/>
                  <a:gd name="connsiteX7" fmla="*/ 484011 w 636856"/>
                  <a:gd name="connsiteY7" fmla="*/ 87651 h 2677266"/>
                  <a:gd name="connsiteX8" fmla="*/ 0 w 636856"/>
                  <a:gd name="connsiteY8" fmla="*/ 87651 h 2677266"/>
                  <a:gd name="connsiteX9" fmla="*/ 0 w 636856"/>
                  <a:gd name="connsiteY9" fmla="*/ 0 h 26772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36856" h="2677266">
                    <a:moveTo>
                      <a:pt x="0" y="0"/>
                    </a:moveTo>
                    <a:cubicBezTo>
                      <a:pt x="0" y="0"/>
                      <a:pt x="0" y="0"/>
                      <a:pt x="484011" y="0"/>
                    </a:cubicBezTo>
                    <a:cubicBezTo>
                      <a:pt x="568925" y="0"/>
                      <a:pt x="636856" y="59376"/>
                      <a:pt x="636856" y="132890"/>
                    </a:cubicBezTo>
                    <a:lnTo>
                      <a:pt x="636856" y="2677266"/>
                    </a:lnTo>
                    <a:lnTo>
                      <a:pt x="534959" y="2677266"/>
                    </a:lnTo>
                    <a:lnTo>
                      <a:pt x="534959" y="2583941"/>
                    </a:lnTo>
                    <a:cubicBezTo>
                      <a:pt x="534959" y="1958418"/>
                      <a:pt x="534959" y="1157748"/>
                      <a:pt x="534959" y="132890"/>
                    </a:cubicBezTo>
                    <a:cubicBezTo>
                      <a:pt x="534959" y="107443"/>
                      <a:pt x="512315" y="87651"/>
                      <a:pt x="484011" y="87651"/>
                    </a:cubicBezTo>
                    <a:cubicBezTo>
                      <a:pt x="484011" y="87651"/>
                      <a:pt x="484011" y="87651"/>
                      <a:pt x="0" y="87651"/>
                    </a:cubicBezTo>
                    <a:cubicBezTo>
                      <a:pt x="0" y="87651"/>
                      <a:pt x="0" y="87651"/>
                      <a:pt x="0" y="0"/>
                    </a:cubicBezTo>
                    <a:close/>
                  </a:path>
                </a:pathLst>
              </a:cu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sp>
          <p:nvSpPr>
            <p:cNvPr id="9" name="Freeform 14">
              <a:extLst>
                <a:ext uri="{FF2B5EF4-FFF2-40B4-BE49-F238E27FC236}">
                  <a16:creationId xmlns:a16="http://schemas.microsoft.com/office/drawing/2014/main" id="{25595D1D-D7C6-4CB0-B573-D1C30BF0A8E8}"/>
                </a:ext>
              </a:extLst>
            </p:cNvPr>
            <p:cNvSpPr>
              <a:spLocks/>
            </p:cNvSpPr>
            <p:nvPr/>
          </p:nvSpPr>
          <p:spPr bwMode="auto">
            <a:xfrm>
              <a:off x="5005069" y="1705675"/>
              <a:ext cx="438984" cy="418307"/>
            </a:xfrm>
            <a:custGeom>
              <a:avLst/>
              <a:gdLst>
                <a:gd name="T0" fmla="*/ 225 w 225"/>
                <a:gd name="T1" fmla="*/ 48 h 215"/>
                <a:gd name="T2" fmla="*/ 171 w 225"/>
                <a:gd name="T3" fmla="*/ 0 h 215"/>
                <a:gd name="T4" fmla="*/ 0 w 225"/>
                <a:gd name="T5" fmla="*/ 0 h 215"/>
                <a:gd name="T6" fmla="*/ 0 w 225"/>
                <a:gd name="T7" fmla="*/ 32 h 215"/>
                <a:gd name="T8" fmla="*/ 171 w 225"/>
                <a:gd name="T9" fmla="*/ 32 h 215"/>
                <a:gd name="T10" fmla="*/ 189 w 225"/>
                <a:gd name="T11" fmla="*/ 48 h 215"/>
                <a:gd name="T12" fmla="*/ 189 w 225"/>
                <a:gd name="T13" fmla="*/ 215 h 215"/>
                <a:gd name="T14" fmla="*/ 225 w 225"/>
                <a:gd name="T15" fmla="*/ 215 h 215"/>
                <a:gd name="T16" fmla="*/ 225 w 225"/>
                <a:gd name="T17" fmla="*/ 48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5" h="215">
                  <a:moveTo>
                    <a:pt x="225" y="48"/>
                  </a:moveTo>
                  <a:cubicBezTo>
                    <a:pt x="225" y="22"/>
                    <a:pt x="201" y="0"/>
                    <a:pt x="171" y="0"/>
                  </a:cubicBezTo>
                  <a:cubicBezTo>
                    <a:pt x="0" y="0"/>
                    <a:pt x="0" y="0"/>
                    <a:pt x="0" y="0"/>
                  </a:cubicBezTo>
                  <a:cubicBezTo>
                    <a:pt x="0" y="32"/>
                    <a:pt x="0" y="32"/>
                    <a:pt x="0" y="32"/>
                  </a:cubicBezTo>
                  <a:cubicBezTo>
                    <a:pt x="171" y="32"/>
                    <a:pt x="171" y="32"/>
                    <a:pt x="171" y="32"/>
                  </a:cubicBezTo>
                  <a:cubicBezTo>
                    <a:pt x="181" y="32"/>
                    <a:pt x="189" y="39"/>
                    <a:pt x="189" y="48"/>
                  </a:cubicBezTo>
                  <a:cubicBezTo>
                    <a:pt x="189" y="215"/>
                    <a:pt x="189" y="215"/>
                    <a:pt x="189" y="215"/>
                  </a:cubicBezTo>
                  <a:cubicBezTo>
                    <a:pt x="225" y="215"/>
                    <a:pt x="225" y="215"/>
                    <a:pt x="225" y="215"/>
                  </a:cubicBezTo>
                  <a:lnTo>
                    <a:pt x="225" y="48"/>
                  </a:lnTo>
                  <a:close/>
                </a:path>
              </a:pathLst>
            </a:custGeom>
            <a:solidFill>
              <a:schemeClr val="accent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0" name="Freeform 15">
              <a:extLst>
                <a:ext uri="{FF2B5EF4-FFF2-40B4-BE49-F238E27FC236}">
                  <a16:creationId xmlns:a16="http://schemas.microsoft.com/office/drawing/2014/main" id="{1B5763B3-B026-487C-AF67-E3D8ABFCCE7B}"/>
                </a:ext>
              </a:extLst>
            </p:cNvPr>
            <p:cNvSpPr>
              <a:spLocks/>
            </p:cNvSpPr>
            <p:nvPr/>
          </p:nvSpPr>
          <p:spPr bwMode="auto">
            <a:xfrm>
              <a:off x="4100061" y="3138735"/>
              <a:ext cx="438984" cy="419898"/>
            </a:xfrm>
            <a:custGeom>
              <a:avLst/>
              <a:gdLst>
                <a:gd name="T0" fmla="*/ 225 w 225"/>
                <a:gd name="T1" fmla="*/ 48 h 215"/>
                <a:gd name="T2" fmla="*/ 171 w 225"/>
                <a:gd name="T3" fmla="*/ 0 h 215"/>
                <a:gd name="T4" fmla="*/ 0 w 225"/>
                <a:gd name="T5" fmla="*/ 0 h 215"/>
                <a:gd name="T6" fmla="*/ 0 w 225"/>
                <a:gd name="T7" fmla="*/ 32 h 215"/>
                <a:gd name="T8" fmla="*/ 171 w 225"/>
                <a:gd name="T9" fmla="*/ 32 h 215"/>
                <a:gd name="T10" fmla="*/ 189 w 225"/>
                <a:gd name="T11" fmla="*/ 48 h 215"/>
                <a:gd name="T12" fmla="*/ 189 w 225"/>
                <a:gd name="T13" fmla="*/ 215 h 215"/>
                <a:gd name="T14" fmla="*/ 225 w 225"/>
                <a:gd name="T15" fmla="*/ 215 h 215"/>
                <a:gd name="T16" fmla="*/ 225 w 225"/>
                <a:gd name="T17" fmla="*/ 48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5" h="215">
                  <a:moveTo>
                    <a:pt x="225" y="48"/>
                  </a:moveTo>
                  <a:cubicBezTo>
                    <a:pt x="225" y="22"/>
                    <a:pt x="201" y="0"/>
                    <a:pt x="171" y="0"/>
                  </a:cubicBezTo>
                  <a:cubicBezTo>
                    <a:pt x="0" y="0"/>
                    <a:pt x="0" y="0"/>
                    <a:pt x="0" y="0"/>
                  </a:cubicBezTo>
                  <a:cubicBezTo>
                    <a:pt x="0" y="32"/>
                    <a:pt x="0" y="32"/>
                    <a:pt x="0" y="32"/>
                  </a:cubicBezTo>
                  <a:cubicBezTo>
                    <a:pt x="171" y="32"/>
                    <a:pt x="171" y="32"/>
                    <a:pt x="171" y="32"/>
                  </a:cubicBezTo>
                  <a:cubicBezTo>
                    <a:pt x="181" y="32"/>
                    <a:pt x="189" y="39"/>
                    <a:pt x="189" y="48"/>
                  </a:cubicBezTo>
                  <a:cubicBezTo>
                    <a:pt x="189" y="215"/>
                    <a:pt x="189" y="215"/>
                    <a:pt x="189" y="215"/>
                  </a:cubicBezTo>
                  <a:cubicBezTo>
                    <a:pt x="225" y="215"/>
                    <a:pt x="225" y="215"/>
                    <a:pt x="225" y="215"/>
                  </a:cubicBezTo>
                  <a:lnTo>
                    <a:pt x="225" y="48"/>
                  </a:lnTo>
                  <a:close/>
                </a:path>
              </a:pathLst>
            </a:custGeom>
            <a:solidFill>
              <a:schemeClr val="accent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1" name="Freeform 16">
              <a:extLst>
                <a:ext uri="{FF2B5EF4-FFF2-40B4-BE49-F238E27FC236}">
                  <a16:creationId xmlns:a16="http://schemas.microsoft.com/office/drawing/2014/main" id="{4E55A0A8-A947-47BD-9DFC-A9578D9CDD1F}"/>
                </a:ext>
              </a:extLst>
            </p:cNvPr>
            <p:cNvSpPr>
              <a:spLocks/>
            </p:cNvSpPr>
            <p:nvPr/>
          </p:nvSpPr>
          <p:spPr bwMode="auto">
            <a:xfrm>
              <a:off x="5374070" y="2012645"/>
              <a:ext cx="485109" cy="419898"/>
            </a:xfrm>
            <a:custGeom>
              <a:avLst/>
              <a:gdLst>
                <a:gd name="T0" fmla="*/ 0 w 249"/>
                <a:gd name="T1" fmla="*/ 167 h 215"/>
                <a:gd name="T2" fmla="*/ 55 w 249"/>
                <a:gd name="T3" fmla="*/ 215 h 215"/>
                <a:gd name="T4" fmla="*/ 249 w 249"/>
                <a:gd name="T5" fmla="*/ 213 h 215"/>
                <a:gd name="T6" fmla="*/ 249 w 249"/>
                <a:gd name="T7" fmla="*/ 181 h 215"/>
                <a:gd name="T8" fmla="*/ 55 w 249"/>
                <a:gd name="T9" fmla="*/ 183 h 215"/>
                <a:gd name="T10" fmla="*/ 36 w 249"/>
                <a:gd name="T11" fmla="*/ 167 h 215"/>
                <a:gd name="T12" fmla="*/ 36 w 249"/>
                <a:gd name="T13" fmla="*/ 0 h 215"/>
                <a:gd name="T14" fmla="*/ 0 w 249"/>
                <a:gd name="T15" fmla="*/ 0 h 215"/>
                <a:gd name="T16" fmla="*/ 0 w 249"/>
                <a:gd name="T17" fmla="*/ 167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9" h="215">
                  <a:moveTo>
                    <a:pt x="0" y="167"/>
                  </a:moveTo>
                  <a:cubicBezTo>
                    <a:pt x="0" y="193"/>
                    <a:pt x="24" y="215"/>
                    <a:pt x="55" y="215"/>
                  </a:cubicBezTo>
                  <a:cubicBezTo>
                    <a:pt x="249" y="213"/>
                    <a:pt x="249" y="213"/>
                    <a:pt x="249" y="213"/>
                  </a:cubicBezTo>
                  <a:cubicBezTo>
                    <a:pt x="249" y="181"/>
                    <a:pt x="249" y="181"/>
                    <a:pt x="249" y="181"/>
                  </a:cubicBezTo>
                  <a:cubicBezTo>
                    <a:pt x="55" y="183"/>
                    <a:pt x="55" y="183"/>
                    <a:pt x="55" y="183"/>
                  </a:cubicBezTo>
                  <a:cubicBezTo>
                    <a:pt x="45" y="183"/>
                    <a:pt x="36" y="176"/>
                    <a:pt x="36" y="167"/>
                  </a:cubicBezTo>
                  <a:cubicBezTo>
                    <a:pt x="36" y="0"/>
                    <a:pt x="36" y="0"/>
                    <a:pt x="36" y="0"/>
                  </a:cubicBezTo>
                  <a:cubicBezTo>
                    <a:pt x="0" y="0"/>
                    <a:pt x="0" y="0"/>
                    <a:pt x="0" y="0"/>
                  </a:cubicBezTo>
                  <a:lnTo>
                    <a:pt x="0" y="167"/>
                  </a:lnTo>
                  <a:close/>
                </a:path>
              </a:pathLst>
            </a:custGeom>
            <a:solidFill>
              <a:schemeClr val="accent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2" name="Freeform 17">
              <a:extLst>
                <a:ext uri="{FF2B5EF4-FFF2-40B4-BE49-F238E27FC236}">
                  <a16:creationId xmlns:a16="http://schemas.microsoft.com/office/drawing/2014/main" id="{E7463A5D-E876-4191-BB08-18647A997E24}"/>
                </a:ext>
              </a:extLst>
            </p:cNvPr>
            <p:cNvSpPr>
              <a:spLocks/>
            </p:cNvSpPr>
            <p:nvPr/>
          </p:nvSpPr>
          <p:spPr bwMode="auto">
            <a:xfrm>
              <a:off x="4467472" y="3261205"/>
              <a:ext cx="976581" cy="419898"/>
            </a:xfrm>
            <a:custGeom>
              <a:avLst/>
              <a:gdLst>
                <a:gd name="T0" fmla="*/ 0 w 501"/>
                <a:gd name="T1" fmla="*/ 168 h 215"/>
                <a:gd name="T2" fmla="*/ 56 w 501"/>
                <a:gd name="T3" fmla="*/ 215 h 215"/>
                <a:gd name="T4" fmla="*/ 501 w 501"/>
                <a:gd name="T5" fmla="*/ 214 h 215"/>
                <a:gd name="T6" fmla="*/ 493 w 501"/>
                <a:gd name="T7" fmla="*/ 182 h 215"/>
                <a:gd name="T8" fmla="*/ 56 w 501"/>
                <a:gd name="T9" fmla="*/ 183 h 215"/>
                <a:gd name="T10" fmla="*/ 38 w 501"/>
                <a:gd name="T11" fmla="*/ 167 h 215"/>
                <a:gd name="T12" fmla="*/ 38 w 501"/>
                <a:gd name="T13" fmla="*/ 0 h 215"/>
                <a:gd name="T14" fmla="*/ 1 w 501"/>
                <a:gd name="T15" fmla="*/ 0 h 215"/>
                <a:gd name="T16" fmla="*/ 0 w 501"/>
                <a:gd name="T17" fmla="*/ 168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1" h="215">
                  <a:moveTo>
                    <a:pt x="0" y="168"/>
                  </a:moveTo>
                  <a:cubicBezTo>
                    <a:pt x="0" y="194"/>
                    <a:pt x="26" y="215"/>
                    <a:pt x="56" y="215"/>
                  </a:cubicBezTo>
                  <a:cubicBezTo>
                    <a:pt x="501" y="214"/>
                    <a:pt x="501" y="214"/>
                    <a:pt x="501" y="214"/>
                  </a:cubicBezTo>
                  <a:cubicBezTo>
                    <a:pt x="493" y="182"/>
                    <a:pt x="493" y="182"/>
                    <a:pt x="493" y="182"/>
                  </a:cubicBezTo>
                  <a:cubicBezTo>
                    <a:pt x="56" y="183"/>
                    <a:pt x="56" y="183"/>
                    <a:pt x="56" y="183"/>
                  </a:cubicBezTo>
                  <a:cubicBezTo>
                    <a:pt x="46" y="183"/>
                    <a:pt x="38" y="176"/>
                    <a:pt x="38" y="167"/>
                  </a:cubicBezTo>
                  <a:cubicBezTo>
                    <a:pt x="38" y="0"/>
                    <a:pt x="38" y="0"/>
                    <a:pt x="38" y="0"/>
                  </a:cubicBezTo>
                  <a:cubicBezTo>
                    <a:pt x="1" y="0"/>
                    <a:pt x="1" y="0"/>
                    <a:pt x="1" y="0"/>
                  </a:cubicBezTo>
                  <a:lnTo>
                    <a:pt x="0" y="168"/>
                  </a:lnTo>
                  <a:close/>
                </a:path>
              </a:pathLst>
            </a:custGeom>
            <a:solidFill>
              <a:schemeClr val="accent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3" name="Freeform 18">
              <a:extLst>
                <a:ext uri="{FF2B5EF4-FFF2-40B4-BE49-F238E27FC236}">
                  <a16:creationId xmlns:a16="http://schemas.microsoft.com/office/drawing/2014/main" id="{6549EC7A-5D0D-40A6-A6B4-3B57692C0ECB}"/>
                </a:ext>
              </a:extLst>
            </p:cNvPr>
            <p:cNvSpPr>
              <a:spLocks/>
            </p:cNvSpPr>
            <p:nvPr/>
          </p:nvSpPr>
          <p:spPr bwMode="auto">
            <a:xfrm>
              <a:off x="4220942" y="3926043"/>
              <a:ext cx="438984" cy="418307"/>
            </a:xfrm>
            <a:custGeom>
              <a:avLst/>
              <a:gdLst>
                <a:gd name="T0" fmla="*/ 225 w 225"/>
                <a:gd name="T1" fmla="*/ 48 h 215"/>
                <a:gd name="T2" fmla="*/ 170 w 225"/>
                <a:gd name="T3" fmla="*/ 0 h 215"/>
                <a:gd name="T4" fmla="*/ 0 w 225"/>
                <a:gd name="T5" fmla="*/ 0 h 215"/>
                <a:gd name="T6" fmla="*/ 0 w 225"/>
                <a:gd name="T7" fmla="*/ 32 h 215"/>
                <a:gd name="T8" fmla="*/ 170 w 225"/>
                <a:gd name="T9" fmla="*/ 32 h 215"/>
                <a:gd name="T10" fmla="*/ 188 w 225"/>
                <a:gd name="T11" fmla="*/ 48 h 215"/>
                <a:gd name="T12" fmla="*/ 188 w 225"/>
                <a:gd name="T13" fmla="*/ 215 h 215"/>
                <a:gd name="T14" fmla="*/ 225 w 225"/>
                <a:gd name="T15" fmla="*/ 215 h 215"/>
                <a:gd name="T16" fmla="*/ 225 w 225"/>
                <a:gd name="T17" fmla="*/ 48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5" h="215">
                  <a:moveTo>
                    <a:pt x="225" y="48"/>
                  </a:moveTo>
                  <a:cubicBezTo>
                    <a:pt x="225" y="22"/>
                    <a:pt x="200" y="0"/>
                    <a:pt x="170" y="0"/>
                  </a:cubicBezTo>
                  <a:cubicBezTo>
                    <a:pt x="0" y="0"/>
                    <a:pt x="0" y="0"/>
                    <a:pt x="0" y="0"/>
                  </a:cubicBezTo>
                  <a:cubicBezTo>
                    <a:pt x="0" y="32"/>
                    <a:pt x="0" y="32"/>
                    <a:pt x="0" y="32"/>
                  </a:cubicBezTo>
                  <a:cubicBezTo>
                    <a:pt x="170" y="32"/>
                    <a:pt x="170" y="32"/>
                    <a:pt x="170" y="32"/>
                  </a:cubicBezTo>
                  <a:cubicBezTo>
                    <a:pt x="180" y="32"/>
                    <a:pt x="188" y="39"/>
                    <a:pt x="188" y="48"/>
                  </a:cubicBezTo>
                  <a:cubicBezTo>
                    <a:pt x="188" y="215"/>
                    <a:pt x="188" y="215"/>
                    <a:pt x="188" y="215"/>
                  </a:cubicBezTo>
                  <a:cubicBezTo>
                    <a:pt x="225" y="215"/>
                    <a:pt x="225" y="215"/>
                    <a:pt x="225" y="215"/>
                  </a:cubicBezTo>
                  <a:lnTo>
                    <a:pt x="225" y="48"/>
                  </a:lnTo>
                  <a:close/>
                </a:path>
              </a:pathLst>
            </a:custGeom>
            <a:solidFill>
              <a:schemeClr val="accent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4" name="Freeform 19">
              <a:extLst>
                <a:ext uri="{FF2B5EF4-FFF2-40B4-BE49-F238E27FC236}">
                  <a16:creationId xmlns:a16="http://schemas.microsoft.com/office/drawing/2014/main" id="{4CAC6A94-D90C-4674-A4EA-582A10C706CD}"/>
                </a:ext>
              </a:extLst>
            </p:cNvPr>
            <p:cNvSpPr>
              <a:spLocks/>
            </p:cNvSpPr>
            <p:nvPr/>
          </p:nvSpPr>
          <p:spPr bwMode="auto">
            <a:xfrm>
              <a:off x="4586761" y="4166212"/>
              <a:ext cx="1134042" cy="418307"/>
            </a:xfrm>
            <a:custGeom>
              <a:avLst/>
              <a:gdLst>
                <a:gd name="T0" fmla="*/ 0 w 582"/>
                <a:gd name="T1" fmla="*/ 168 h 215"/>
                <a:gd name="T2" fmla="*/ 56 w 582"/>
                <a:gd name="T3" fmla="*/ 215 h 215"/>
                <a:gd name="T4" fmla="*/ 578 w 582"/>
                <a:gd name="T5" fmla="*/ 214 h 215"/>
                <a:gd name="T6" fmla="*/ 582 w 582"/>
                <a:gd name="T7" fmla="*/ 182 h 215"/>
                <a:gd name="T8" fmla="*/ 56 w 582"/>
                <a:gd name="T9" fmla="*/ 183 h 215"/>
                <a:gd name="T10" fmla="*/ 38 w 582"/>
                <a:gd name="T11" fmla="*/ 167 h 215"/>
                <a:gd name="T12" fmla="*/ 38 w 582"/>
                <a:gd name="T13" fmla="*/ 0 h 215"/>
                <a:gd name="T14" fmla="*/ 1 w 582"/>
                <a:gd name="T15" fmla="*/ 0 h 215"/>
                <a:gd name="T16" fmla="*/ 0 w 582"/>
                <a:gd name="T17" fmla="*/ 168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82" h="215">
                  <a:moveTo>
                    <a:pt x="0" y="168"/>
                  </a:moveTo>
                  <a:cubicBezTo>
                    <a:pt x="0" y="194"/>
                    <a:pt x="26" y="215"/>
                    <a:pt x="56" y="215"/>
                  </a:cubicBezTo>
                  <a:cubicBezTo>
                    <a:pt x="578" y="214"/>
                    <a:pt x="578" y="214"/>
                    <a:pt x="578" y="214"/>
                  </a:cubicBezTo>
                  <a:cubicBezTo>
                    <a:pt x="582" y="182"/>
                    <a:pt x="582" y="182"/>
                    <a:pt x="582" y="182"/>
                  </a:cubicBezTo>
                  <a:cubicBezTo>
                    <a:pt x="56" y="183"/>
                    <a:pt x="56" y="183"/>
                    <a:pt x="56" y="183"/>
                  </a:cubicBezTo>
                  <a:cubicBezTo>
                    <a:pt x="46" y="183"/>
                    <a:pt x="38" y="176"/>
                    <a:pt x="38" y="167"/>
                  </a:cubicBezTo>
                  <a:cubicBezTo>
                    <a:pt x="38" y="0"/>
                    <a:pt x="38" y="0"/>
                    <a:pt x="38" y="0"/>
                  </a:cubicBezTo>
                  <a:cubicBezTo>
                    <a:pt x="1" y="0"/>
                    <a:pt x="1" y="0"/>
                    <a:pt x="1" y="0"/>
                  </a:cubicBezTo>
                  <a:lnTo>
                    <a:pt x="0" y="168"/>
                  </a:lnTo>
                  <a:close/>
                </a:path>
              </a:pathLst>
            </a:custGeom>
            <a:solidFill>
              <a:schemeClr val="accent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5" name="Freeform 20">
              <a:extLst>
                <a:ext uri="{FF2B5EF4-FFF2-40B4-BE49-F238E27FC236}">
                  <a16:creationId xmlns:a16="http://schemas.microsoft.com/office/drawing/2014/main" id="{AF0A2BD2-A535-418F-A358-9C160E495320}"/>
                </a:ext>
              </a:extLst>
            </p:cNvPr>
            <p:cNvSpPr>
              <a:spLocks/>
            </p:cNvSpPr>
            <p:nvPr/>
          </p:nvSpPr>
          <p:spPr bwMode="auto">
            <a:xfrm>
              <a:off x="4206627" y="2618634"/>
              <a:ext cx="551911" cy="403993"/>
            </a:xfrm>
            <a:custGeom>
              <a:avLst/>
              <a:gdLst>
                <a:gd name="T0" fmla="*/ 48 w 283"/>
                <a:gd name="T1" fmla="*/ 207 h 207"/>
                <a:gd name="T2" fmla="*/ 0 w 283"/>
                <a:gd name="T3" fmla="*/ 157 h 207"/>
                <a:gd name="T4" fmla="*/ 0 w 283"/>
                <a:gd name="T5" fmla="*/ 0 h 207"/>
                <a:gd name="T6" fmla="*/ 32 w 283"/>
                <a:gd name="T7" fmla="*/ 0 h 207"/>
                <a:gd name="T8" fmla="*/ 32 w 283"/>
                <a:gd name="T9" fmla="*/ 157 h 207"/>
                <a:gd name="T10" fmla="*/ 48 w 283"/>
                <a:gd name="T11" fmla="*/ 174 h 207"/>
                <a:gd name="T12" fmla="*/ 283 w 283"/>
                <a:gd name="T13" fmla="*/ 174 h 207"/>
                <a:gd name="T14" fmla="*/ 275 w 283"/>
                <a:gd name="T15" fmla="*/ 207 h 207"/>
                <a:gd name="T16" fmla="*/ 48 w 283"/>
                <a:gd name="T17" fmla="*/ 207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3" h="207">
                  <a:moveTo>
                    <a:pt x="48" y="207"/>
                  </a:moveTo>
                  <a:cubicBezTo>
                    <a:pt x="22" y="207"/>
                    <a:pt x="0" y="185"/>
                    <a:pt x="0" y="157"/>
                  </a:cubicBezTo>
                  <a:cubicBezTo>
                    <a:pt x="0" y="0"/>
                    <a:pt x="0" y="0"/>
                    <a:pt x="0" y="0"/>
                  </a:cubicBezTo>
                  <a:cubicBezTo>
                    <a:pt x="32" y="0"/>
                    <a:pt x="32" y="0"/>
                    <a:pt x="32" y="0"/>
                  </a:cubicBezTo>
                  <a:cubicBezTo>
                    <a:pt x="32" y="157"/>
                    <a:pt x="32" y="157"/>
                    <a:pt x="32" y="157"/>
                  </a:cubicBezTo>
                  <a:cubicBezTo>
                    <a:pt x="32" y="166"/>
                    <a:pt x="39" y="174"/>
                    <a:pt x="48" y="174"/>
                  </a:cubicBezTo>
                  <a:cubicBezTo>
                    <a:pt x="283" y="174"/>
                    <a:pt x="283" y="174"/>
                    <a:pt x="283" y="174"/>
                  </a:cubicBezTo>
                  <a:cubicBezTo>
                    <a:pt x="275" y="207"/>
                    <a:pt x="275" y="207"/>
                    <a:pt x="275" y="207"/>
                  </a:cubicBezTo>
                  <a:lnTo>
                    <a:pt x="48" y="207"/>
                  </a:lnTo>
                  <a:close/>
                </a:path>
              </a:pathLst>
            </a:custGeom>
            <a:solidFill>
              <a:schemeClr val="accent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6" name="Freeform 21">
              <a:extLst>
                <a:ext uri="{FF2B5EF4-FFF2-40B4-BE49-F238E27FC236}">
                  <a16:creationId xmlns:a16="http://schemas.microsoft.com/office/drawing/2014/main" id="{72540704-D9E6-46E6-BD14-8F5A200D986E}"/>
                </a:ext>
              </a:extLst>
            </p:cNvPr>
            <p:cNvSpPr>
              <a:spLocks/>
            </p:cNvSpPr>
            <p:nvPr/>
          </p:nvSpPr>
          <p:spPr bwMode="auto">
            <a:xfrm>
              <a:off x="5472682" y="4066010"/>
              <a:ext cx="438984" cy="419898"/>
            </a:xfrm>
            <a:custGeom>
              <a:avLst/>
              <a:gdLst>
                <a:gd name="T0" fmla="*/ 225 w 225"/>
                <a:gd name="T1" fmla="*/ 48 h 215"/>
                <a:gd name="T2" fmla="*/ 171 w 225"/>
                <a:gd name="T3" fmla="*/ 0 h 215"/>
                <a:gd name="T4" fmla="*/ 0 w 225"/>
                <a:gd name="T5" fmla="*/ 0 h 215"/>
                <a:gd name="T6" fmla="*/ 0 w 225"/>
                <a:gd name="T7" fmla="*/ 32 h 215"/>
                <a:gd name="T8" fmla="*/ 171 w 225"/>
                <a:gd name="T9" fmla="*/ 32 h 215"/>
                <a:gd name="T10" fmla="*/ 189 w 225"/>
                <a:gd name="T11" fmla="*/ 48 h 215"/>
                <a:gd name="T12" fmla="*/ 189 w 225"/>
                <a:gd name="T13" fmla="*/ 215 h 215"/>
                <a:gd name="T14" fmla="*/ 225 w 225"/>
                <a:gd name="T15" fmla="*/ 215 h 215"/>
                <a:gd name="T16" fmla="*/ 225 w 225"/>
                <a:gd name="T17" fmla="*/ 48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5" h="215">
                  <a:moveTo>
                    <a:pt x="225" y="48"/>
                  </a:moveTo>
                  <a:cubicBezTo>
                    <a:pt x="225" y="22"/>
                    <a:pt x="201" y="0"/>
                    <a:pt x="171" y="0"/>
                  </a:cubicBezTo>
                  <a:cubicBezTo>
                    <a:pt x="0" y="0"/>
                    <a:pt x="0" y="0"/>
                    <a:pt x="0" y="0"/>
                  </a:cubicBezTo>
                  <a:cubicBezTo>
                    <a:pt x="0" y="32"/>
                    <a:pt x="0" y="32"/>
                    <a:pt x="0" y="32"/>
                  </a:cubicBezTo>
                  <a:cubicBezTo>
                    <a:pt x="171" y="32"/>
                    <a:pt x="171" y="32"/>
                    <a:pt x="171" y="32"/>
                  </a:cubicBezTo>
                  <a:cubicBezTo>
                    <a:pt x="181" y="32"/>
                    <a:pt x="189" y="39"/>
                    <a:pt x="189" y="48"/>
                  </a:cubicBezTo>
                  <a:cubicBezTo>
                    <a:pt x="189" y="215"/>
                    <a:pt x="189" y="215"/>
                    <a:pt x="189" y="215"/>
                  </a:cubicBezTo>
                  <a:cubicBezTo>
                    <a:pt x="225" y="215"/>
                    <a:pt x="225" y="215"/>
                    <a:pt x="225" y="215"/>
                  </a:cubicBezTo>
                  <a:lnTo>
                    <a:pt x="225" y="48"/>
                  </a:lnTo>
                  <a:close/>
                </a:path>
              </a:pathLst>
            </a:custGeom>
            <a:solidFill>
              <a:schemeClr val="accent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7" name="Freeform 22">
              <a:extLst>
                <a:ext uri="{FF2B5EF4-FFF2-40B4-BE49-F238E27FC236}">
                  <a16:creationId xmlns:a16="http://schemas.microsoft.com/office/drawing/2014/main" id="{3C929AEA-5FB5-4C21-81F2-36D9EFD5B5DE}"/>
                </a:ext>
              </a:extLst>
            </p:cNvPr>
            <p:cNvSpPr>
              <a:spLocks/>
            </p:cNvSpPr>
            <p:nvPr/>
          </p:nvSpPr>
          <p:spPr bwMode="auto">
            <a:xfrm>
              <a:off x="5337488" y="3615892"/>
              <a:ext cx="437394" cy="421488"/>
            </a:xfrm>
            <a:custGeom>
              <a:avLst/>
              <a:gdLst>
                <a:gd name="T0" fmla="*/ 225 w 225"/>
                <a:gd name="T1" fmla="*/ 47 h 216"/>
                <a:gd name="T2" fmla="*/ 171 w 225"/>
                <a:gd name="T3" fmla="*/ 0 h 216"/>
                <a:gd name="T4" fmla="*/ 0 w 225"/>
                <a:gd name="T5" fmla="*/ 0 h 216"/>
                <a:gd name="T6" fmla="*/ 0 w 225"/>
                <a:gd name="T7" fmla="*/ 32 h 216"/>
                <a:gd name="T8" fmla="*/ 171 w 225"/>
                <a:gd name="T9" fmla="*/ 32 h 216"/>
                <a:gd name="T10" fmla="*/ 189 w 225"/>
                <a:gd name="T11" fmla="*/ 47 h 216"/>
                <a:gd name="T12" fmla="*/ 190 w 225"/>
                <a:gd name="T13" fmla="*/ 216 h 216"/>
                <a:gd name="T14" fmla="*/ 225 w 225"/>
                <a:gd name="T15" fmla="*/ 215 h 216"/>
                <a:gd name="T16" fmla="*/ 225 w 225"/>
                <a:gd name="T17" fmla="*/ 47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5" h="216">
                  <a:moveTo>
                    <a:pt x="225" y="47"/>
                  </a:moveTo>
                  <a:cubicBezTo>
                    <a:pt x="225" y="21"/>
                    <a:pt x="201" y="0"/>
                    <a:pt x="171" y="0"/>
                  </a:cubicBezTo>
                  <a:cubicBezTo>
                    <a:pt x="0" y="0"/>
                    <a:pt x="0" y="0"/>
                    <a:pt x="0" y="0"/>
                  </a:cubicBezTo>
                  <a:cubicBezTo>
                    <a:pt x="0" y="32"/>
                    <a:pt x="0" y="32"/>
                    <a:pt x="0" y="32"/>
                  </a:cubicBezTo>
                  <a:cubicBezTo>
                    <a:pt x="171" y="32"/>
                    <a:pt x="171" y="32"/>
                    <a:pt x="171" y="32"/>
                  </a:cubicBezTo>
                  <a:cubicBezTo>
                    <a:pt x="181" y="32"/>
                    <a:pt x="189" y="39"/>
                    <a:pt x="189" y="47"/>
                  </a:cubicBezTo>
                  <a:cubicBezTo>
                    <a:pt x="190" y="216"/>
                    <a:pt x="190" y="216"/>
                    <a:pt x="190" y="216"/>
                  </a:cubicBezTo>
                  <a:cubicBezTo>
                    <a:pt x="225" y="215"/>
                    <a:pt x="225" y="215"/>
                    <a:pt x="225" y="215"/>
                  </a:cubicBezTo>
                  <a:lnTo>
                    <a:pt x="225" y="47"/>
                  </a:lnTo>
                  <a:close/>
                </a:path>
              </a:pathLst>
            </a:custGeom>
            <a:solidFill>
              <a:schemeClr val="accent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8" name="Freeform 23">
              <a:extLst>
                <a:ext uri="{FF2B5EF4-FFF2-40B4-BE49-F238E27FC236}">
                  <a16:creationId xmlns:a16="http://schemas.microsoft.com/office/drawing/2014/main" id="{FD865AAB-E99C-4120-8694-025A219C9343}"/>
                </a:ext>
              </a:extLst>
            </p:cNvPr>
            <p:cNvSpPr>
              <a:spLocks/>
            </p:cNvSpPr>
            <p:nvPr/>
          </p:nvSpPr>
          <p:spPr bwMode="auto">
            <a:xfrm>
              <a:off x="5472682" y="2989226"/>
              <a:ext cx="438984" cy="418307"/>
            </a:xfrm>
            <a:custGeom>
              <a:avLst/>
              <a:gdLst>
                <a:gd name="T0" fmla="*/ 225 w 225"/>
                <a:gd name="T1" fmla="*/ 47 h 215"/>
                <a:gd name="T2" fmla="*/ 171 w 225"/>
                <a:gd name="T3" fmla="*/ 0 h 215"/>
                <a:gd name="T4" fmla="*/ 0 w 225"/>
                <a:gd name="T5" fmla="*/ 0 h 215"/>
                <a:gd name="T6" fmla="*/ 0 w 225"/>
                <a:gd name="T7" fmla="*/ 31 h 215"/>
                <a:gd name="T8" fmla="*/ 171 w 225"/>
                <a:gd name="T9" fmla="*/ 31 h 215"/>
                <a:gd name="T10" fmla="*/ 189 w 225"/>
                <a:gd name="T11" fmla="*/ 47 h 215"/>
                <a:gd name="T12" fmla="*/ 189 w 225"/>
                <a:gd name="T13" fmla="*/ 215 h 215"/>
                <a:gd name="T14" fmla="*/ 225 w 225"/>
                <a:gd name="T15" fmla="*/ 215 h 215"/>
                <a:gd name="T16" fmla="*/ 225 w 225"/>
                <a:gd name="T17" fmla="*/ 47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5" h="215">
                  <a:moveTo>
                    <a:pt x="225" y="47"/>
                  </a:moveTo>
                  <a:cubicBezTo>
                    <a:pt x="225" y="21"/>
                    <a:pt x="201" y="0"/>
                    <a:pt x="171" y="0"/>
                  </a:cubicBezTo>
                  <a:cubicBezTo>
                    <a:pt x="0" y="0"/>
                    <a:pt x="0" y="0"/>
                    <a:pt x="0" y="0"/>
                  </a:cubicBezTo>
                  <a:cubicBezTo>
                    <a:pt x="0" y="31"/>
                    <a:pt x="0" y="31"/>
                    <a:pt x="0" y="31"/>
                  </a:cubicBezTo>
                  <a:cubicBezTo>
                    <a:pt x="171" y="31"/>
                    <a:pt x="171" y="31"/>
                    <a:pt x="171" y="31"/>
                  </a:cubicBezTo>
                  <a:cubicBezTo>
                    <a:pt x="181" y="31"/>
                    <a:pt x="189" y="39"/>
                    <a:pt x="189" y="47"/>
                  </a:cubicBezTo>
                  <a:cubicBezTo>
                    <a:pt x="189" y="215"/>
                    <a:pt x="189" y="215"/>
                    <a:pt x="189" y="215"/>
                  </a:cubicBezTo>
                  <a:cubicBezTo>
                    <a:pt x="225" y="215"/>
                    <a:pt x="225" y="215"/>
                    <a:pt x="225" y="215"/>
                  </a:cubicBezTo>
                  <a:lnTo>
                    <a:pt x="225" y="47"/>
                  </a:lnTo>
                  <a:close/>
                </a:path>
              </a:pathLst>
            </a:custGeom>
            <a:solidFill>
              <a:schemeClr val="accent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9" name="Oval 24">
              <a:extLst>
                <a:ext uri="{FF2B5EF4-FFF2-40B4-BE49-F238E27FC236}">
                  <a16:creationId xmlns:a16="http://schemas.microsoft.com/office/drawing/2014/main" id="{A61F9A67-B052-4BD1-9CC0-4B1681173A39}"/>
                </a:ext>
              </a:extLst>
            </p:cNvPr>
            <p:cNvSpPr>
              <a:spLocks noChangeArrowheads="1"/>
            </p:cNvSpPr>
            <p:nvPr/>
          </p:nvSpPr>
          <p:spPr bwMode="auto">
            <a:xfrm>
              <a:off x="6574914" y="4056466"/>
              <a:ext cx="998848" cy="998848"/>
            </a:xfrm>
            <a:prstGeom prst="ellipse">
              <a:avLst/>
            </a:prstGeom>
            <a:solidFill>
              <a:schemeClr val="accent5"/>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0" name="Oval 25">
              <a:extLst>
                <a:ext uri="{FF2B5EF4-FFF2-40B4-BE49-F238E27FC236}">
                  <a16:creationId xmlns:a16="http://schemas.microsoft.com/office/drawing/2014/main" id="{6DBB0DF0-53E1-4737-9B97-0B8207888FD7}"/>
                </a:ext>
              </a:extLst>
            </p:cNvPr>
            <p:cNvSpPr>
              <a:spLocks noChangeArrowheads="1"/>
            </p:cNvSpPr>
            <p:nvPr/>
          </p:nvSpPr>
          <p:spPr bwMode="auto">
            <a:xfrm>
              <a:off x="4737861" y="3754267"/>
              <a:ext cx="741183" cy="741183"/>
            </a:xfrm>
            <a:prstGeom prst="ellipse">
              <a:avLst/>
            </a:prstGeom>
            <a:solidFill>
              <a:schemeClr val="accent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1" name="Oval 26">
              <a:extLst>
                <a:ext uri="{FF2B5EF4-FFF2-40B4-BE49-F238E27FC236}">
                  <a16:creationId xmlns:a16="http://schemas.microsoft.com/office/drawing/2014/main" id="{D6CF9D5A-6B3F-412B-BDA4-55E51DA97BDF}"/>
                </a:ext>
              </a:extLst>
            </p:cNvPr>
            <p:cNvSpPr>
              <a:spLocks noChangeArrowheads="1"/>
            </p:cNvSpPr>
            <p:nvPr/>
          </p:nvSpPr>
          <p:spPr bwMode="auto">
            <a:xfrm>
              <a:off x="4707641" y="2451629"/>
              <a:ext cx="1019525" cy="1017934"/>
            </a:xfrm>
            <a:prstGeom prst="ellipse">
              <a:avLst/>
            </a:prstGeom>
            <a:solidFill>
              <a:schemeClr val="accent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2" name="Oval 27">
              <a:extLst>
                <a:ext uri="{FF2B5EF4-FFF2-40B4-BE49-F238E27FC236}">
                  <a16:creationId xmlns:a16="http://schemas.microsoft.com/office/drawing/2014/main" id="{AB53AECA-16BB-43C9-8BC0-330204B425FE}"/>
                </a:ext>
              </a:extLst>
            </p:cNvPr>
            <p:cNvSpPr>
              <a:spLocks noChangeArrowheads="1"/>
            </p:cNvSpPr>
            <p:nvPr/>
          </p:nvSpPr>
          <p:spPr bwMode="auto">
            <a:xfrm>
              <a:off x="3888522" y="2079447"/>
              <a:ext cx="712554" cy="712554"/>
            </a:xfrm>
            <a:prstGeom prst="ellipse">
              <a:avLst/>
            </a:prstGeom>
            <a:solidFill>
              <a:schemeClr val="accent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3" name="Oval 28">
              <a:extLst>
                <a:ext uri="{FF2B5EF4-FFF2-40B4-BE49-F238E27FC236}">
                  <a16:creationId xmlns:a16="http://schemas.microsoft.com/office/drawing/2014/main" id="{F4169C97-2177-4BB8-8C6E-5108458C8DD4}"/>
                </a:ext>
              </a:extLst>
            </p:cNvPr>
            <p:cNvSpPr>
              <a:spLocks noChangeArrowheads="1"/>
            </p:cNvSpPr>
            <p:nvPr/>
          </p:nvSpPr>
          <p:spPr bwMode="auto">
            <a:xfrm>
              <a:off x="4691736" y="4827870"/>
              <a:ext cx="586903" cy="586903"/>
            </a:xfrm>
            <a:prstGeom prst="ellipse">
              <a:avLst/>
            </a:pr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4" name="Oval 29">
              <a:extLst>
                <a:ext uri="{FF2B5EF4-FFF2-40B4-BE49-F238E27FC236}">
                  <a16:creationId xmlns:a16="http://schemas.microsoft.com/office/drawing/2014/main" id="{66DBACEC-C5FC-4365-A7DB-E8C091AC91DA}"/>
                </a:ext>
              </a:extLst>
            </p:cNvPr>
            <p:cNvSpPr>
              <a:spLocks noChangeArrowheads="1"/>
            </p:cNvSpPr>
            <p:nvPr/>
          </p:nvSpPr>
          <p:spPr bwMode="auto">
            <a:xfrm>
              <a:off x="7150683" y="2469125"/>
              <a:ext cx="726868" cy="723687"/>
            </a:xfrm>
            <a:prstGeom prst="ellipse">
              <a:avLst/>
            </a:prstGeom>
            <a:solidFill>
              <a:schemeClr val="accent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5" name="Oval 30">
              <a:extLst>
                <a:ext uri="{FF2B5EF4-FFF2-40B4-BE49-F238E27FC236}">
                  <a16:creationId xmlns:a16="http://schemas.microsoft.com/office/drawing/2014/main" id="{583FCD8F-4A41-454A-A31C-9C9964616205}"/>
                </a:ext>
              </a:extLst>
            </p:cNvPr>
            <p:cNvSpPr>
              <a:spLocks noChangeArrowheads="1"/>
            </p:cNvSpPr>
            <p:nvPr/>
          </p:nvSpPr>
          <p:spPr bwMode="auto">
            <a:xfrm>
              <a:off x="7231800" y="3286654"/>
              <a:ext cx="726868" cy="725278"/>
            </a:xfrm>
            <a:prstGeom prst="ellipse">
              <a:avLst/>
            </a:prstGeom>
            <a:solidFill>
              <a:schemeClr val="accent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6" name="Oval 31">
              <a:extLst>
                <a:ext uri="{FF2B5EF4-FFF2-40B4-BE49-F238E27FC236}">
                  <a16:creationId xmlns:a16="http://schemas.microsoft.com/office/drawing/2014/main" id="{C39EE16F-3AE9-4379-8908-CA73195F652D}"/>
                </a:ext>
              </a:extLst>
            </p:cNvPr>
            <p:cNvSpPr>
              <a:spLocks noChangeArrowheads="1"/>
            </p:cNvSpPr>
            <p:nvPr/>
          </p:nvSpPr>
          <p:spPr bwMode="auto">
            <a:xfrm>
              <a:off x="5486997" y="1214203"/>
              <a:ext cx="769813" cy="769813"/>
            </a:xfrm>
            <a:prstGeom prst="ellipse">
              <a:avLst/>
            </a:prstGeom>
            <a:solidFill>
              <a:schemeClr val="accent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7" name="Oval 32">
              <a:extLst>
                <a:ext uri="{FF2B5EF4-FFF2-40B4-BE49-F238E27FC236}">
                  <a16:creationId xmlns:a16="http://schemas.microsoft.com/office/drawing/2014/main" id="{221C7746-EC95-4CA9-A85D-36A74CC16A80}"/>
                </a:ext>
              </a:extLst>
            </p:cNvPr>
            <p:cNvSpPr>
              <a:spLocks noChangeArrowheads="1"/>
            </p:cNvSpPr>
            <p:nvPr/>
          </p:nvSpPr>
          <p:spPr bwMode="auto">
            <a:xfrm>
              <a:off x="3611771" y="2912881"/>
              <a:ext cx="493062" cy="491472"/>
            </a:xfrm>
            <a:prstGeom prst="ellipse">
              <a:avLst/>
            </a:prstGeom>
            <a:solidFill>
              <a:schemeClr val="accent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8" name="Oval 33">
              <a:extLst>
                <a:ext uri="{FF2B5EF4-FFF2-40B4-BE49-F238E27FC236}">
                  <a16:creationId xmlns:a16="http://schemas.microsoft.com/office/drawing/2014/main" id="{751B9F51-F66B-4367-936B-35B4E69A6543}"/>
                </a:ext>
              </a:extLst>
            </p:cNvPr>
            <p:cNvSpPr>
              <a:spLocks noChangeArrowheads="1"/>
            </p:cNvSpPr>
            <p:nvPr/>
          </p:nvSpPr>
          <p:spPr bwMode="auto">
            <a:xfrm>
              <a:off x="4106423" y="4465230"/>
              <a:ext cx="491471" cy="493062"/>
            </a:xfrm>
            <a:prstGeom prst="ellipse">
              <a:avLst/>
            </a:prstGeom>
            <a:solidFill>
              <a:schemeClr val="accent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9" name="Oval 34">
              <a:extLst>
                <a:ext uri="{FF2B5EF4-FFF2-40B4-BE49-F238E27FC236}">
                  <a16:creationId xmlns:a16="http://schemas.microsoft.com/office/drawing/2014/main" id="{6AEC7859-BB0F-49FB-9610-0E9A9C97E1AD}"/>
                </a:ext>
              </a:extLst>
            </p:cNvPr>
            <p:cNvSpPr>
              <a:spLocks noChangeArrowheads="1"/>
            </p:cNvSpPr>
            <p:nvPr/>
          </p:nvSpPr>
          <p:spPr bwMode="auto">
            <a:xfrm>
              <a:off x="4448386" y="1494135"/>
              <a:ext cx="685515" cy="683925"/>
            </a:xfrm>
            <a:prstGeom prst="ellipse">
              <a:avLst/>
            </a:prstGeom>
            <a:solidFill>
              <a:schemeClr val="accent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0" name="Oval 35">
              <a:extLst>
                <a:ext uri="{FF2B5EF4-FFF2-40B4-BE49-F238E27FC236}">
                  <a16:creationId xmlns:a16="http://schemas.microsoft.com/office/drawing/2014/main" id="{8AE2B7D2-1CB2-421B-A58F-8CE7FC0AFB8B}"/>
                </a:ext>
              </a:extLst>
            </p:cNvPr>
            <p:cNvSpPr>
              <a:spLocks noChangeArrowheads="1"/>
            </p:cNvSpPr>
            <p:nvPr/>
          </p:nvSpPr>
          <p:spPr bwMode="auto">
            <a:xfrm>
              <a:off x="6127977" y="3119649"/>
              <a:ext cx="679153" cy="677562"/>
            </a:xfrm>
            <a:prstGeom prst="ellipse">
              <a:avLst/>
            </a:prstGeom>
            <a:solidFill>
              <a:schemeClr val="accent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1" name="Oval 36">
              <a:extLst>
                <a:ext uri="{FF2B5EF4-FFF2-40B4-BE49-F238E27FC236}">
                  <a16:creationId xmlns:a16="http://schemas.microsoft.com/office/drawing/2014/main" id="{4D149F06-7D5D-4888-8FD4-3220367E310D}"/>
                </a:ext>
              </a:extLst>
            </p:cNvPr>
            <p:cNvSpPr>
              <a:spLocks noChangeArrowheads="1"/>
            </p:cNvSpPr>
            <p:nvPr/>
          </p:nvSpPr>
          <p:spPr bwMode="auto">
            <a:xfrm>
              <a:off x="3659487" y="3507736"/>
              <a:ext cx="807985" cy="807985"/>
            </a:xfrm>
            <a:prstGeom prst="ellipse">
              <a:avLst/>
            </a:prstGeom>
            <a:solidFill>
              <a:schemeClr val="accent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2" name="Oval 37">
              <a:extLst>
                <a:ext uri="{FF2B5EF4-FFF2-40B4-BE49-F238E27FC236}">
                  <a16:creationId xmlns:a16="http://schemas.microsoft.com/office/drawing/2014/main" id="{8FF3D93A-F1D8-493E-AAFB-8FCC5C490BAF}"/>
                </a:ext>
              </a:extLst>
            </p:cNvPr>
            <p:cNvSpPr>
              <a:spLocks noChangeArrowheads="1"/>
            </p:cNvSpPr>
            <p:nvPr/>
          </p:nvSpPr>
          <p:spPr bwMode="auto">
            <a:xfrm>
              <a:off x="6600363" y="1681817"/>
              <a:ext cx="753908" cy="755498"/>
            </a:xfrm>
            <a:prstGeom prst="ellipse">
              <a:avLst/>
            </a:prstGeom>
            <a:solidFill>
              <a:schemeClr val="accent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3" name="Freeform 38">
              <a:extLst>
                <a:ext uri="{FF2B5EF4-FFF2-40B4-BE49-F238E27FC236}">
                  <a16:creationId xmlns:a16="http://schemas.microsoft.com/office/drawing/2014/main" id="{D6731203-592C-43AD-AD3C-EB0C2B9E6475}"/>
                </a:ext>
              </a:extLst>
            </p:cNvPr>
            <p:cNvSpPr>
              <a:spLocks/>
            </p:cNvSpPr>
            <p:nvPr/>
          </p:nvSpPr>
          <p:spPr bwMode="auto">
            <a:xfrm>
              <a:off x="4949400" y="3996026"/>
              <a:ext cx="388088" cy="311742"/>
            </a:xfrm>
            <a:custGeom>
              <a:avLst/>
              <a:gdLst>
                <a:gd name="T0" fmla="*/ 194 w 199"/>
                <a:gd name="T1" fmla="*/ 3 h 160"/>
                <a:gd name="T2" fmla="*/ 168 w 199"/>
                <a:gd name="T3" fmla="*/ 13 h 160"/>
                <a:gd name="T4" fmla="*/ 138 w 199"/>
                <a:gd name="T5" fmla="*/ 0 h 160"/>
                <a:gd name="T6" fmla="*/ 97 w 199"/>
                <a:gd name="T7" fmla="*/ 40 h 160"/>
                <a:gd name="T8" fmla="*/ 98 w 199"/>
                <a:gd name="T9" fmla="*/ 50 h 160"/>
                <a:gd name="T10" fmla="*/ 13 w 199"/>
                <a:gd name="T11" fmla="*/ 7 h 160"/>
                <a:gd name="T12" fmla="*/ 8 w 199"/>
                <a:gd name="T13" fmla="*/ 28 h 160"/>
                <a:gd name="T14" fmla="*/ 26 w 199"/>
                <a:gd name="T15" fmla="*/ 61 h 160"/>
                <a:gd name="T16" fmla="*/ 8 w 199"/>
                <a:gd name="T17" fmla="*/ 56 h 160"/>
                <a:gd name="T18" fmla="*/ 8 w 199"/>
                <a:gd name="T19" fmla="*/ 57 h 160"/>
                <a:gd name="T20" fmla="*/ 40 w 199"/>
                <a:gd name="T21" fmla="*/ 96 h 160"/>
                <a:gd name="T22" fmla="*/ 30 w 199"/>
                <a:gd name="T23" fmla="*/ 98 h 160"/>
                <a:gd name="T24" fmla="*/ 22 w 199"/>
                <a:gd name="T25" fmla="*/ 97 h 160"/>
                <a:gd name="T26" fmla="*/ 60 w 199"/>
                <a:gd name="T27" fmla="*/ 125 h 160"/>
                <a:gd name="T28" fmla="*/ 9 w 199"/>
                <a:gd name="T29" fmla="*/ 142 h 160"/>
                <a:gd name="T30" fmla="*/ 0 w 199"/>
                <a:gd name="T31" fmla="*/ 142 h 160"/>
                <a:gd name="T32" fmla="*/ 62 w 199"/>
                <a:gd name="T33" fmla="*/ 160 h 160"/>
                <a:gd name="T34" fmla="*/ 179 w 199"/>
                <a:gd name="T35" fmla="*/ 45 h 160"/>
                <a:gd name="T36" fmla="*/ 179 w 199"/>
                <a:gd name="T37" fmla="*/ 40 h 160"/>
                <a:gd name="T38" fmla="*/ 199 w 199"/>
                <a:gd name="T39" fmla="*/ 19 h 160"/>
                <a:gd name="T40" fmla="*/ 176 w 199"/>
                <a:gd name="T41" fmla="*/ 25 h 160"/>
                <a:gd name="T42" fmla="*/ 194 w 199"/>
                <a:gd name="T43" fmla="*/ 3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99" h="160">
                  <a:moveTo>
                    <a:pt x="194" y="3"/>
                  </a:moveTo>
                  <a:cubicBezTo>
                    <a:pt x="186" y="8"/>
                    <a:pt x="177" y="11"/>
                    <a:pt x="168" y="13"/>
                  </a:cubicBezTo>
                  <a:cubicBezTo>
                    <a:pt x="160" y="5"/>
                    <a:pt x="150" y="0"/>
                    <a:pt x="138" y="0"/>
                  </a:cubicBezTo>
                  <a:cubicBezTo>
                    <a:pt x="115" y="0"/>
                    <a:pt x="97" y="18"/>
                    <a:pt x="97" y="40"/>
                  </a:cubicBezTo>
                  <a:cubicBezTo>
                    <a:pt x="97" y="43"/>
                    <a:pt x="97" y="47"/>
                    <a:pt x="98" y="50"/>
                  </a:cubicBezTo>
                  <a:cubicBezTo>
                    <a:pt x="64" y="48"/>
                    <a:pt x="34" y="32"/>
                    <a:pt x="13" y="7"/>
                  </a:cubicBezTo>
                  <a:cubicBezTo>
                    <a:pt x="10" y="13"/>
                    <a:pt x="8" y="20"/>
                    <a:pt x="8" y="28"/>
                  </a:cubicBezTo>
                  <a:cubicBezTo>
                    <a:pt x="8" y="42"/>
                    <a:pt x="15" y="54"/>
                    <a:pt x="26" y="61"/>
                  </a:cubicBezTo>
                  <a:cubicBezTo>
                    <a:pt x="19" y="61"/>
                    <a:pt x="13" y="59"/>
                    <a:pt x="8" y="56"/>
                  </a:cubicBezTo>
                  <a:cubicBezTo>
                    <a:pt x="8" y="57"/>
                    <a:pt x="8" y="57"/>
                    <a:pt x="8" y="57"/>
                  </a:cubicBezTo>
                  <a:cubicBezTo>
                    <a:pt x="8" y="76"/>
                    <a:pt x="22" y="93"/>
                    <a:pt x="40" y="96"/>
                  </a:cubicBezTo>
                  <a:cubicBezTo>
                    <a:pt x="37" y="97"/>
                    <a:pt x="33" y="98"/>
                    <a:pt x="30" y="98"/>
                  </a:cubicBezTo>
                  <a:cubicBezTo>
                    <a:pt x="27" y="98"/>
                    <a:pt x="24" y="97"/>
                    <a:pt x="22" y="97"/>
                  </a:cubicBezTo>
                  <a:cubicBezTo>
                    <a:pt x="27" y="113"/>
                    <a:pt x="42" y="125"/>
                    <a:pt x="60" y="125"/>
                  </a:cubicBezTo>
                  <a:cubicBezTo>
                    <a:pt x="46" y="136"/>
                    <a:pt x="28" y="142"/>
                    <a:pt x="9" y="142"/>
                  </a:cubicBezTo>
                  <a:cubicBezTo>
                    <a:pt x="6" y="142"/>
                    <a:pt x="3" y="142"/>
                    <a:pt x="0" y="142"/>
                  </a:cubicBezTo>
                  <a:cubicBezTo>
                    <a:pt x="18" y="153"/>
                    <a:pt x="39" y="160"/>
                    <a:pt x="62" y="160"/>
                  </a:cubicBezTo>
                  <a:cubicBezTo>
                    <a:pt x="138" y="160"/>
                    <a:pt x="179" y="98"/>
                    <a:pt x="179" y="45"/>
                  </a:cubicBezTo>
                  <a:cubicBezTo>
                    <a:pt x="179" y="43"/>
                    <a:pt x="179" y="42"/>
                    <a:pt x="179" y="40"/>
                  </a:cubicBezTo>
                  <a:cubicBezTo>
                    <a:pt x="187" y="34"/>
                    <a:pt x="194" y="27"/>
                    <a:pt x="199" y="19"/>
                  </a:cubicBezTo>
                  <a:cubicBezTo>
                    <a:pt x="192" y="22"/>
                    <a:pt x="184" y="24"/>
                    <a:pt x="176" y="25"/>
                  </a:cubicBezTo>
                  <a:cubicBezTo>
                    <a:pt x="184" y="20"/>
                    <a:pt x="191" y="12"/>
                    <a:pt x="194" y="3"/>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4" name="Freeform 39">
              <a:extLst>
                <a:ext uri="{FF2B5EF4-FFF2-40B4-BE49-F238E27FC236}">
                  <a16:creationId xmlns:a16="http://schemas.microsoft.com/office/drawing/2014/main" id="{5484793F-35C7-48DC-AC0F-EDCF4FD6904D}"/>
                </a:ext>
              </a:extLst>
            </p:cNvPr>
            <p:cNvSpPr>
              <a:spLocks/>
            </p:cNvSpPr>
            <p:nvPr/>
          </p:nvSpPr>
          <p:spPr bwMode="auto">
            <a:xfrm>
              <a:off x="6900971" y="1855184"/>
              <a:ext cx="194044" cy="418307"/>
            </a:xfrm>
            <a:custGeom>
              <a:avLst/>
              <a:gdLst>
                <a:gd name="T0" fmla="*/ 21 w 100"/>
                <a:gd name="T1" fmla="*/ 215 h 215"/>
                <a:gd name="T2" fmla="*/ 64 w 100"/>
                <a:gd name="T3" fmla="*/ 215 h 215"/>
                <a:gd name="T4" fmla="*/ 64 w 100"/>
                <a:gd name="T5" fmla="*/ 107 h 215"/>
                <a:gd name="T6" fmla="*/ 96 w 100"/>
                <a:gd name="T7" fmla="*/ 107 h 215"/>
                <a:gd name="T8" fmla="*/ 100 w 100"/>
                <a:gd name="T9" fmla="*/ 64 h 215"/>
                <a:gd name="T10" fmla="*/ 66 w 100"/>
                <a:gd name="T11" fmla="*/ 64 h 215"/>
                <a:gd name="T12" fmla="*/ 66 w 100"/>
                <a:gd name="T13" fmla="*/ 47 h 215"/>
                <a:gd name="T14" fmla="*/ 76 w 100"/>
                <a:gd name="T15" fmla="*/ 37 h 215"/>
                <a:gd name="T16" fmla="*/ 100 w 100"/>
                <a:gd name="T17" fmla="*/ 37 h 215"/>
                <a:gd name="T18" fmla="*/ 100 w 100"/>
                <a:gd name="T19" fmla="*/ 0 h 215"/>
                <a:gd name="T20" fmla="*/ 67 w 100"/>
                <a:gd name="T21" fmla="*/ 0 h 215"/>
                <a:gd name="T22" fmla="*/ 21 w 100"/>
                <a:gd name="T23" fmla="*/ 45 h 215"/>
                <a:gd name="T24" fmla="*/ 21 w 100"/>
                <a:gd name="T25" fmla="*/ 64 h 215"/>
                <a:gd name="T26" fmla="*/ 0 w 100"/>
                <a:gd name="T27" fmla="*/ 64 h 215"/>
                <a:gd name="T28" fmla="*/ 0 w 100"/>
                <a:gd name="T29" fmla="*/ 107 h 215"/>
                <a:gd name="T30" fmla="*/ 21 w 100"/>
                <a:gd name="T31" fmla="*/ 107 h 215"/>
                <a:gd name="T32" fmla="*/ 21 w 100"/>
                <a:gd name="T33" fmla="*/ 215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0" h="215">
                  <a:moveTo>
                    <a:pt x="21" y="215"/>
                  </a:moveTo>
                  <a:cubicBezTo>
                    <a:pt x="64" y="215"/>
                    <a:pt x="64" y="215"/>
                    <a:pt x="64" y="215"/>
                  </a:cubicBezTo>
                  <a:cubicBezTo>
                    <a:pt x="64" y="107"/>
                    <a:pt x="64" y="107"/>
                    <a:pt x="64" y="107"/>
                  </a:cubicBezTo>
                  <a:cubicBezTo>
                    <a:pt x="96" y="107"/>
                    <a:pt x="96" y="107"/>
                    <a:pt x="96" y="107"/>
                  </a:cubicBezTo>
                  <a:cubicBezTo>
                    <a:pt x="100" y="64"/>
                    <a:pt x="100" y="64"/>
                    <a:pt x="100" y="64"/>
                  </a:cubicBezTo>
                  <a:cubicBezTo>
                    <a:pt x="66" y="64"/>
                    <a:pt x="66" y="64"/>
                    <a:pt x="66" y="64"/>
                  </a:cubicBezTo>
                  <a:cubicBezTo>
                    <a:pt x="66" y="47"/>
                    <a:pt x="66" y="47"/>
                    <a:pt x="66" y="47"/>
                  </a:cubicBezTo>
                  <a:cubicBezTo>
                    <a:pt x="66" y="39"/>
                    <a:pt x="72" y="37"/>
                    <a:pt x="76" y="37"/>
                  </a:cubicBezTo>
                  <a:cubicBezTo>
                    <a:pt x="100" y="37"/>
                    <a:pt x="100" y="37"/>
                    <a:pt x="100" y="37"/>
                  </a:cubicBezTo>
                  <a:cubicBezTo>
                    <a:pt x="100" y="0"/>
                    <a:pt x="100" y="0"/>
                    <a:pt x="100" y="0"/>
                  </a:cubicBezTo>
                  <a:cubicBezTo>
                    <a:pt x="67" y="0"/>
                    <a:pt x="67" y="0"/>
                    <a:pt x="67" y="0"/>
                  </a:cubicBezTo>
                  <a:cubicBezTo>
                    <a:pt x="30" y="0"/>
                    <a:pt x="21" y="27"/>
                    <a:pt x="21" y="45"/>
                  </a:cubicBezTo>
                  <a:cubicBezTo>
                    <a:pt x="21" y="64"/>
                    <a:pt x="21" y="64"/>
                    <a:pt x="21" y="64"/>
                  </a:cubicBezTo>
                  <a:cubicBezTo>
                    <a:pt x="0" y="64"/>
                    <a:pt x="0" y="64"/>
                    <a:pt x="0" y="64"/>
                  </a:cubicBezTo>
                  <a:cubicBezTo>
                    <a:pt x="0" y="107"/>
                    <a:pt x="0" y="107"/>
                    <a:pt x="0" y="107"/>
                  </a:cubicBezTo>
                  <a:cubicBezTo>
                    <a:pt x="21" y="107"/>
                    <a:pt x="21" y="107"/>
                    <a:pt x="21" y="107"/>
                  </a:cubicBezTo>
                  <a:lnTo>
                    <a:pt x="21" y="215"/>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5" name="Freeform 40">
              <a:extLst>
                <a:ext uri="{FF2B5EF4-FFF2-40B4-BE49-F238E27FC236}">
                  <a16:creationId xmlns:a16="http://schemas.microsoft.com/office/drawing/2014/main" id="{F7620CAA-C1BA-42CF-8E1C-DF575E19B942}"/>
                </a:ext>
              </a:extLst>
            </p:cNvPr>
            <p:cNvSpPr>
              <a:spLocks noEditPoints="1"/>
            </p:cNvSpPr>
            <p:nvPr/>
          </p:nvSpPr>
          <p:spPr bwMode="auto">
            <a:xfrm>
              <a:off x="4233665" y="4598834"/>
              <a:ext cx="243350" cy="244940"/>
            </a:xfrm>
            <a:custGeom>
              <a:avLst/>
              <a:gdLst>
                <a:gd name="T0" fmla="*/ 123 w 125"/>
                <a:gd name="T1" fmla="*/ 64 h 126"/>
                <a:gd name="T2" fmla="*/ 63 w 125"/>
                <a:gd name="T3" fmla="*/ 5 h 126"/>
                <a:gd name="T4" fmla="*/ 53 w 125"/>
                <a:gd name="T5" fmla="*/ 6 h 126"/>
                <a:gd name="T6" fmla="*/ 34 w 125"/>
                <a:gd name="T7" fmla="*/ 0 h 126"/>
                <a:gd name="T8" fmla="*/ 0 w 125"/>
                <a:gd name="T9" fmla="*/ 35 h 126"/>
                <a:gd name="T10" fmla="*/ 4 w 125"/>
                <a:gd name="T11" fmla="*/ 52 h 126"/>
                <a:gd name="T12" fmla="*/ 3 w 125"/>
                <a:gd name="T13" fmla="*/ 64 h 126"/>
                <a:gd name="T14" fmla="*/ 63 w 125"/>
                <a:gd name="T15" fmla="*/ 123 h 126"/>
                <a:gd name="T16" fmla="*/ 74 w 125"/>
                <a:gd name="T17" fmla="*/ 122 h 126"/>
                <a:gd name="T18" fmla="*/ 90 w 125"/>
                <a:gd name="T19" fmla="*/ 126 h 126"/>
                <a:gd name="T20" fmla="*/ 125 w 125"/>
                <a:gd name="T21" fmla="*/ 92 h 126"/>
                <a:gd name="T22" fmla="*/ 122 w 125"/>
                <a:gd name="T23" fmla="*/ 76 h 126"/>
                <a:gd name="T24" fmla="*/ 123 w 125"/>
                <a:gd name="T25" fmla="*/ 64 h 126"/>
                <a:gd name="T26" fmla="*/ 94 w 125"/>
                <a:gd name="T27" fmla="*/ 92 h 126"/>
                <a:gd name="T28" fmla="*/ 82 w 125"/>
                <a:gd name="T29" fmla="*/ 101 h 126"/>
                <a:gd name="T30" fmla="*/ 63 w 125"/>
                <a:gd name="T31" fmla="*/ 104 h 126"/>
                <a:gd name="T32" fmla="*/ 41 w 125"/>
                <a:gd name="T33" fmla="*/ 100 h 126"/>
                <a:gd name="T34" fmla="*/ 32 w 125"/>
                <a:gd name="T35" fmla="*/ 91 h 126"/>
                <a:gd name="T36" fmla="*/ 28 w 125"/>
                <a:gd name="T37" fmla="*/ 81 h 126"/>
                <a:gd name="T38" fmla="*/ 30 w 125"/>
                <a:gd name="T39" fmla="*/ 75 h 126"/>
                <a:gd name="T40" fmla="*/ 36 w 125"/>
                <a:gd name="T41" fmla="*/ 73 h 126"/>
                <a:gd name="T42" fmla="*/ 42 w 125"/>
                <a:gd name="T43" fmla="*/ 75 h 126"/>
                <a:gd name="T44" fmla="*/ 45 w 125"/>
                <a:gd name="T45" fmla="*/ 80 h 126"/>
                <a:gd name="T46" fmla="*/ 49 w 125"/>
                <a:gd name="T47" fmla="*/ 86 h 126"/>
                <a:gd name="T48" fmla="*/ 54 w 125"/>
                <a:gd name="T49" fmla="*/ 89 h 126"/>
                <a:gd name="T50" fmla="*/ 62 w 125"/>
                <a:gd name="T51" fmla="*/ 91 h 126"/>
                <a:gd name="T52" fmla="*/ 74 w 125"/>
                <a:gd name="T53" fmla="*/ 88 h 126"/>
                <a:gd name="T54" fmla="*/ 79 w 125"/>
                <a:gd name="T55" fmla="*/ 81 h 126"/>
                <a:gd name="T56" fmla="*/ 77 w 125"/>
                <a:gd name="T57" fmla="*/ 75 h 126"/>
                <a:gd name="T58" fmla="*/ 70 w 125"/>
                <a:gd name="T59" fmla="*/ 71 h 126"/>
                <a:gd name="T60" fmla="*/ 59 w 125"/>
                <a:gd name="T61" fmla="*/ 69 h 126"/>
                <a:gd name="T62" fmla="*/ 44 w 125"/>
                <a:gd name="T63" fmla="*/ 64 h 126"/>
                <a:gd name="T64" fmla="*/ 33 w 125"/>
                <a:gd name="T65" fmla="*/ 57 h 126"/>
                <a:gd name="T66" fmla="*/ 29 w 125"/>
                <a:gd name="T67" fmla="*/ 45 h 126"/>
                <a:gd name="T68" fmla="*/ 33 w 125"/>
                <a:gd name="T69" fmla="*/ 33 h 126"/>
                <a:gd name="T70" fmla="*/ 45 w 125"/>
                <a:gd name="T71" fmla="*/ 25 h 126"/>
                <a:gd name="T72" fmla="*/ 63 w 125"/>
                <a:gd name="T73" fmla="*/ 22 h 126"/>
                <a:gd name="T74" fmla="*/ 77 w 125"/>
                <a:gd name="T75" fmla="*/ 24 h 126"/>
                <a:gd name="T76" fmla="*/ 86 w 125"/>
                <a:gd name="T77" fmla="*/ 29 h 126"/>
                <a:gd name="T78" fmla="*/ 92 w 125"/>
                <a:gd name="T79" fmla="*/ 35 h 126"/>
                <a:gd name="T80" fmla="*/ 94 w 125"/>
                <a:gd name="T81" fmla="*/ 42 h 126"/>
                <a:gd name="T82" fmla="*/ 92 w 125"/>
                <a:gd name="T83" fmla="*/ 48 h 126"/>
                <a:gd name="T84" fmla="*/ 86 w 125"/>
                <a:gd name="T85" fmla="*/ 50 h 126"/>
                <a:gd name="T86" fmla="*/ 80 w 125"/>
                <a:gd name="T87" fmla="*/ 49 h 126"/>
                <a:gd name="T88" fmla="*/ 77 w 125"/>
                <a:gd name="T89" fmla="*/ 44 h 126"/>
                <a:gd name="T90" fmla="*/ 71 w 125"/>
                <a:gd name="T91" fmla="*/ 38 h 126"/>
                <a:gd name="T92" fmla="*/ 61 w 125"/>
                <a:gd name="T93" fmla="*/ 35 h 126"/>
                <a:gd name="T94" fmla="*/ 51 w 125"/>
                <a:gd name="T95" fmla="*/ 38 h 126"/>
                <a:gd name="T96" fmla="*/ 47 w 125"/>
                <a:gd name="T97" fmla="*/ 43 h 126"/>
                <a:gd name="T98" fmla="*/ 49 w 125"/>
                <a:gd name="T99" fmla="*/ 47 h 126"/>
                <a:gd name="T100" fmla="*/ 52 w 125"/>
                <a:gd name="T101" fmla="*/ 50 h 126"/>
                <a:gd name="T102" fmla="*/ 57 w 125"/>
                <a:gd name="T103" fmla="*/ 51 h 126"/>
                <a:gd name="T104" fmla="*/ 65 w 125"/>
                <a:gd name="T105" fmla="*/ 53 h 126"/>
                <a:gd name="T106" fmla="*/ 78 w 125"/>
                <a:gd name="T107" fmla="*/ 57 h 126"/>
                <a:gd name="T108" fmla="*/ 89 w 125"/>
                <a:gd name="T109" fmla="*/ 61 h 126"/>
                <a:gd name="T110" fmla="*/ 95 w 125"/>
                <a:gd name="T111" fmla="*/ 68 h 126"/>
                <a:gd name="T112" fmla="*/ 98 w 125"/>
                <a:gd name="T113" fmla="*/ 79 h 126"/>
                <a:gd name="T114" fmla="*/ 94 w 125"/>
                <a:gd name="T115" fmla="*/ 92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25" h="126">
                  <a:moveTo>
                    <a:pt x="123" y="64"/>
                  </a:moveTo>
                  <a:cubicBezTo>
                    <a:pt x="123" y="31"/>
                    <a:pt x="96" y="5"/>
                    <a:pt x="63" y="5"/>
                  </a:cubicBezTo>
                  <a:cubicBezTo>
                    <a:pt x="60" y="5"/>
                    <a:pt x="56" y="5"/>
                    <a:pt x="53" y="6"/>
                  </a:cubicBezTo>
                  <a:cubicBezTo>
                    <a:pt x="47" y="2"/>
                    <a:pt x="41" y="0"/>
                    <a:pt x="34" y="0"/>
                  </a:cubicBezTo>
                  <a:cubicBezTo>
                    <a:pt x="15" y="0"/>
                    <a:pt x="0" y="16"/>
                    <a:pt x="0" y="35"/>
                  </a:cubicBezTo>
                  <a:cubicBezTo>
                    <a:pt x="0" y="41"/>
                    <a:pt x="1" y="47"/>
                    <a:pt x="4" y="52"/>
                  </a:cubicBezTo>
                  <a:cubicBezTo>
                    <a:pt x="4" y="56"/>
                    <a:pt x="3" y="60"/>
                    <a:pt x="3" y="64"/>
                  </a:cubicBezTo>
                  <a:cubicBezTo>
                    <a:pt x="3" y="96"/>
                    <a:pt x="30" y="123"/>
                    <a:pt x="63" y="123"/>
                  </a:cubicBezTo>
                  <a:cubicBezTo>
                    <a:pt x="67" y="123"/>
                    <a:pt x="70" y="123"/>
                    <a:pt x="74" y="122"/>
                  </a:cubicBezTo>
                  <a:cubicBezTo>
                    <a:pt x="79" y="124"/>
                    <a:pt x="84" y="126"/>
                    <a:pt x="90" y="126"/>
                  </a:cubicBezTo>
                  <a:cubicBezTo>
                    <a:pt x="110" y="126"/>
                    <a:pt x="125" y="111"/>
                    <a:pt x="125" y="92"/>
                  </a:cubicBezTo>
                  <a:cubicBezTo>
                    <a:pt x="125" y="86"/>
                    <a:pt x="124" y="81"/>
                    <a:pt x="122" y="76"/>
                  </a:cubicBezTo>
                  <a:cubicBezTo>
                    <a:pt x="122" y="72"/>
                    <a:pt x="123" y="68"/>
                    <a:pt x="123" y="64"/>
                  </a:cubicBezTo>
                  <a:moveTo>
                    <a:pt x="94" y="92"/>
                  </a:moveTo>
                  <a:cubicBezTo>
                    <a:pt x="91" y="96"/>
                    <a:pt x="87" y="99"/>
                    <a:pt x="82" y="101"/>
                  </a:cubicBezTo>
                  <a:cubicBezTo>
                    <a:pt x="76" y="103"/>
                    <a:pt x="70" y="104"/>
                    <a:pt x="63" y="104"/>
                  </a:cubicBezTo>
                  <a:cubicBezTo>
                    <a:pt x="54" y="104"/>
                    <a:pt x="47" y="103"/>
                    <a:pt x="41" y="100"/>
                  </a:cubicBezTo>
                  <a:cubicBezTo>
                    <a:pt x="37" y="98"/>
                    <a:pt x="34" y="95"/>
                    <a:pt x="32" y="91"/>
                  </a:cubicBezTo>
                  <a:cubicBezTo>
                    <a:pt x="29" y="88"/>
                    <a:pt x="28" y="84"/>
                    <a:pt x="28" y="81"/>
                  </a:cubicBezTo>
                  <a:cubicBezTo>
                    <a:pt x="28" y="78"/>
                    <a:pt x="29" y="77"/>
                    <a:pt x="30" y="75"/>
                  </a:cubicBezTo>
                  <a:cubicBezTo>
                    <a:pt x="32" y="74"/>
                    <a:pt x="34" y="73"/>
                    <a:pt x="36" y="73"/>
                  </a:cubicBezTo>
                  <a:cubicBezTo>
                    <a:pt x="39" y="73"/>
                    <a:pt x="40" y="73"/>
                    <a:pt x="42" y="75"/>
                  </a:cubicBezTo>
                  <a:cubicBezTo>
                    <a:pt x="43" y="76"/>
                    <a:pt x="44" y="77"/>
                    <a:pt x="45" y="80"/>
                  </a:cubicBezTo>
                  <a:cubicBezTo>
                    <a:pt x="46" y="82"/>
                    <a:pt x="47" y="84"/>
                    <a:pt x="49" y="86"/>
                  </a:cubicBezTo>
                  <a:cubicBezTo>
                    <a:pt x="50" y="87"/>
                    <a:pt x="52" y="88"/>
                    <a:pt x="54" y="89"/>
                  </a:cubicBezTo>
                  <a:cubicBezTo>
                    <a:pt x="56" y="90"/>
                    <a:pt x="59" y="91"/>
                    <a:pt x="62" y="91"/>
                  </a:cubicBezTo>
                  <a:cubicBezTo>
                    <a:pt x="67" y="91"/>
                    <a:pt x="71" y="90"/>
                    <a:pt x="74" y="88"/>
                  </a:cubicBezTo>
                  <a:cubicBezTo>
                    <a:pt x="77" y="86"/>
                    <a:pt x="79" y="83"/>
                    <a:pt x="79" y="81"/>
                  </a:cubicBezTo>
                  <a:cubicBezTo>
                    <a:pt x="79" y="78"/>
                    <a:pt x="78" y="76"/>
                    <a:pt x="77" y="75"/>
                  </a:cubicBezTo>
                  <a:cubicBezTo>
                    <a:pt x="75" y="73"/>
                    <a:pt x="73" y="72"/>
                    <a:pt x="70" y="71"/>
                  </a:cubicBezTo>
                  <a:cubicBezTo>
                    <a:pt x="67" y="71"/>
                    <a:pt x="64" y="70"/>
                    <a:pt x="59" y="69"/>
                  </a:cubicBezTo>
                  <a:cubicBezTo>
                    <a:pt x="53" y="67"/>
                    <a:pt x="48" y="66"/>
                    <a:pt x="44" y="64"/>
                  </a:cubicBezTo>
                  <a:cubicBezTo>
                    <a:pt x="39" y="62"/>
                    <a:pt x="36" y="60"/>
                    <a:pt x="33" y="57"/>
                  </a:cubicBezTo>
                  <a:cubicBezTo>
                    <a:pt x="31" y="54"/>
                    <a:pt x="29" y="50"/>
                    <a:pt x="29" y="45"/>
                  </a:cubicBezTo>
                  <a:cubicBezTo>
                    <a:pt x="29" y="40"/>
                    <a:pt x="31" y="36"/>
                    <a:pt x="33" y="33"/>
                  </a:cubicBezTo>
                  <a:cubicBezTo>
                    <a:pt x="36" y="29"/>
                    <a:pt x="40" y="27"/>
                    <a:pt x="45" y="25"/>
                  </a:cubicBezTo>
                  <a:cubicBezTo>
                    <a:pt x="50" y="23"/>
                    <a:pt x="56" y="22"/>
                    <a:pt x="63" y="22"/>
                  </a:cubicBezTo>
                  <a:cubicBezTo>
                    <a:pt x="68" y="22"/>
                    <a:pt x="73" y="23"/>
                    <a:pt x="77" y="24"/>
                  </a:cubicBezTo>
                  <a:cubicBezTo>
                    <a:pt x="81" y="25"/>
                    <a:pt x="84" y="27"/>
                    <a:pt x="86" y="29"/>
                  </a:cubicBezTo>
                  <a:cubicBezTo>
                    <a:pt x="89" y="31"/>
                    <a:pt x="91" y="33"/>
                    <a:pt x="92" y="35"/>
                  </a:cubicBezTo>
                  <a:cubicBezTo>
                    <a:pt x="94" y="38"/>
                    <a:pt x="94" y="40"/>
                    <a:pt x="94" y="42"/>
                  </a:cubicBezTo>
                  <a:cubicBezTo>
                    <a:pt x="94" y="44"/>
                    <a:pt x="93" y="46"/>
                    <a:pt x="92" y="48"/>
                  </a:cubicBezTo>
                  <a:cubicBezTo>
                    <a:pt x="90" y="49"/>
                    <a:pt x="88" y="50"/>
                    <a:pt x="86" y="50"/>
                  </a:cubicBezTo>
                  <a:cubicBezTo>
                    <a:pt x="83" y="50"/>
                    <a:pt x="82" y="50"/>
                    <a:pt x="80" y="49"/>
                  </a:cubicBezTo>
                  <a:cubicBezTo>
                    <a:pt x="79" y="48"/>
                    <a:pt x="78" y="46"/>
                    <a:pt x="77" y="44"/>
                  </a:cubicBezTo>
                  <a:cubicBezTo>
                    <a:pt x="75" y="41"/>
                    <a:pt x="74" y="39"/>
                    <a:pt x="71" y="38"/>
                  </a:cubicBezTo>
                  <a:cubicBezTo>
                    <a:pt x="69" y="36"/>
                    <a:pt x="66" y="35"/>
                    <a:pt x="61" y="35"/>
                  </a:cubicBezTo>
                  <a:cubicBezTo>
                    <a:pt x="57" y="35"/>
                    <a:pt x="54" y="36"/>
                    <a:pt x="51" y="38"/>
                  </a:cubicBezTo>
                  <a:cubicBezTo>
                    <a:pt x="49" y="39"/>
                    <a:pt x="47" y="41"/>
                    <a:pt x="47" y="43"/>
                  </a:cubicBezTo>
                  <a:cubicBezTo>
                    <a:pt x="47" y="45"/>
                    <a:pt x="48" y="46"/>
                    <a:pt x="49" y="47"/>
                  </a:cubicBezTo>
                  <a:cubicBezTo>
                    <a:pt x="49" y="48"/>
                    <a:pt x="51" y="49"/>
                    <a:pt x="52" y="50"/>
                  </a:cubicBezTo>
                  <a:cubicBezTo>
                    <a:pt x="54" y="50"/>
                    <a:pt x="55" y="51"/>
                    <a:pt x="57" y="51"/>
                  </a:cubicBezTo>
                  <a:cubicBezTo>
                    <a:pt x="59" y="52"/>
                    <a:pt x="61" y="53"/>
                    <a:pt x="65" y="53"/>
                  </a:cubicBezTo>
                  <a:cubicBezTo>
                    <a:pt x="70" y="54"/>
                    <a:pt x="75" y="56"/>
                    <a:pt x="78" y="57"/>
                  </a:cubicBezTo>
                  <a:cubicBezTo>
                    <a:pt x="82" y="58"/>
                    <a:pt x="86" y="60"/>
                    <a:pt x="89" y="61"/>
                  </a:cubicBezTo>
                  <a:cubicBezTo>
                    <a:pt x="92" y="63"/>
                    <a:pt x="94" y="66"/>
                    <a:pt x="95" y="68"/>
                  </a:cubicBezTo>
                  <a:cubicBezTo>
                    <a:pt x="97" y="71"/>
                    <a:pt x="98" y="75"/>
                    <a:pt x="98" y="79"/>
                  </a:cubicBezTo>
                  <a:cubicBezTo>
                    <a:pt x="98" y="84"/>
                    <a:pt x="97" y="88"/>
                    <a:pt x="94" y="92"/>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6" name="Oval 41">
              <a:extLst>
                <a:ext uri="{FF2B5EF4-FFF2-40B4-BE49-F238E27FC236}">
                  <a16:creationId xmlns:a16="http://schemas.microsoft.com/office/drawing/2014/main" id="{6721BE0E-9D61-4604-A1AA-3CE1E4C3BD8D}"/>
                </a:ext>
              </a:extLst>
            </p:cNvPr>
            <p:cNvSpPr>
              <a:spLocks noChangeArrowheads="1"/>
            </p:cNvSpPr>
            <p:nvPr/>
          </p:nvSpPr>
          <p:spPr bwMode="auto">
            <a:xfrm>
              <a:off x="6341108" y="5037819"/>
              <a:ext cx="403993" cy="403993"/>
            </a:xfrm>
            <a:prstGeom prst="ellipse">
              <a:avLst/>
            </a:prstGeom>
            <a:solidFill>
              <a:schemeClr val="accent5"/>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7" name="Freeform 42">
              <a:extLst>
                <a:ext uri="{FF2B5EF4-FFF2-40B4-BE49-F238E27FC236}">
                  <a16:creationId xmlns:a16="http://schemas.microsoft.com/office/drawing/2014/main" id="{F60AEEA3-FD1F-4F35-822A-6296C2A7BBDE}"/>
                </a:ext>
              </a:extLst>
            </p:cNvPr>
            <p:cNvSpPr>
              <a:spLocks/>
            </p:cNvSpPr>
            <p:nvPr/>
          </p:nvSpPr>
          <p:spPr bwMode="auto">
            <a:xfrm>
              <a:off x="5011431" y="2157383"/>
              <a:ext cx="287884" cy="276751"/>
            </a:xfrm>
            <a:custGeom>
              <a:avLst/>
              <a:gdLst>
                <a:gd name="T0" fmla="*/ 78 w 148"/>
                <a:gd name="T1" fmla="*/ 92 h 142"/>
                <a:gd name="T2" fmla="*/ 66 w 148"/>
                <a:gd name="T3" fmla="*/ 64 h 142"/>
                <a:gd name="T4" fmla="*/ 42 w 148"/>
                <a:gd name="T5" fmla="*/ 16 h 142"/>
                <a:gd name="T6" fmla="*/ 0 w 148"/>
                <a:gd name="T7" fmla="*/ 48 h 142"/>
                <a:gd name="T8" fmla="*/ 6 w 148"/>
                <a:gd name="T9" fmla="*/ 55 h 142"/>
                <a:gd name="T10" fmla="*/ 21 w 148"/>
                <a:gd name="T11" fmla="*/ 50 h 142"/>
                <a:gd name="T12" fmla="*/ 45 w 148"/>
                <a:gd name="T13" fmla="*/ 121 h 142"/>
                <a:gd name="T14" fmla="*/ 75 w 148"/>
                <a:gd name="T15" fmla="*/ 134 h 142"/>
                <a:gd name="T16" fmla="*/ 140 w 148"/>
                <a:gd name="T17" fmla="*/ 44 h 142"/>
                <a:gd name="T18" fmla="*/ 81 w 148"/>
                <a:gd name="T19" fmla="*/ 47 h 142"/>
                <a:gd name="T20" fmla="*/ 97 w 148"/>
                <a:gd name="T21" fmla="*/ 66 h 142"/>
                <a:gd name="T22" fmla="*/ 78 w 148"/>
                <a:gd name="T23" fmla="*/ 9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8" h="142">
                  <a:moveTo>
                    <a:pt x="78" y="92"/>
                  </a:moveTo>
                  <a:cubicBezTo>
                    <a:pt x="74" y="92"/>
                    <a:pt x="71" y="81"/>
                    <a:pt x="66" y="64"/>
                  </a:cubicBezTo>
                  <a:cubicBezTo>
                    <a:pt x="62" y="45"/>
                    <a:pt x="62" y="12"/>
                    <a:pt x="42" y="16"/>
                  </a:cubicBezTo>
                  <a:cubicBezTo>
                    <a:pt x="24" y="19"/>
                    <a:pt x="0" y="48"/>
                    <a:pt x="0" y="48"/>
                  </a:cubicBezTo>
                  <a:cubicBezTo>
                    <a:pt x="6" y="55"/>
                    <a:pt x="6" y="55"/>
                    <a:pt x="6" y="55"/>
                  </a:cubicBezTo>
                  <a:cubicBezTo>
                    <a:pt x="6" y="55"/>
                    <a:pt x="17" y="46"/>
                    <a:pt x="21" y="50"/>
                  </a:cubicBezTo>
                  <a:cubicBezTo>
                    <a:pt x="25" y="55"/>
                    <a:pt x="40" y="111"/>
                    <a:pt x="45" y="121"/>
                  </a:cubicBezTo>
                  <a:cubicBezTo>
                    <a:pt x="50" y="130"/>
                    <a:pt x="62" y="142"/>
                    <a:pt x="75" y="134"/>
                  </a:cubicBezTo>
                  <a:cubicBezTo>
                    <a:pt x="88" y="125"/>
                    <a:pt x="132" y="88"/>
                    <a:pt x="140" y="44"/>
                  </a:cubicBezTo>
                  <a:cubicBezTo>
                    <a:pt x="148" y="0"/>
                    <a:pt x="87" y="9"/>
                    <a:pt x="81" y="47"/>
                  </a:cubicBezTo>
                  <a:cubicBezTo>
                    <a:pt x="97" y="38"/>
                    <a:pt x="106" y="51"/>
                    <a:pt x="97" y="66"/>
                  </a:cubicBezTo>
                  <a:cubicBezTo>
                    <a:pt x="89" y="82"/>
                    <a:pt x="82" y="92"/>
                    <a:pt x="78" y="92"/>
                  </a:cubicBezTo>
                </a:path>
              </a:pathLst>
            </a:custGeom>
            <a:solidFill>
              <a:srgbClr val="CCCCC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8" name="Freeform 43">
              <a:extLst>
                <a:ext uri="{FF2B5EF4-FFF2-40B4-BE49-F238E27FC236}">
                  <a16:creationId xmlns:a16="http://schemas.microsoft.com/office/drawing/2014/main" id="{C1B2FCCD-4908-4DBE-B479-DA87F47D2158}"/>
                </a:ext>
              </a:extLst>
            </p:cNvPr>
            <p:cNvSpPr>
              <a:spLocks/>
            </p:cNvSpPr>
            <p:nvPr/>
          </p:nvSpPr>
          <p:spPr bwMode="auto">
            <a:xfrm>
              <a:off x="4012583" y="2796773"/>
              <a:ext cx="173367" cy="167005"/>
            </a:xfrm>
            <a:custGeom>
              <a:avLst/>
              <a:gdLst>
                <a:gd name="T0" fmla="*/ 47 w 89"/>
                <a:gd name="T1" fmla="*/ 56 h 86"/>
                <a:gd name="T2" fmla="*/ 40 w 89"/>
                <a:gd name="T3" fmla="*/ 39 h 86"/>
                <a:gd name="T4" fmla="*/ 25 w 89"/>
                <a:gd name="T5" fmla="*/ 10 h 86"/>
                <a:gd name="T6" fmla="*/ 0 w 89"/>
                <a:gd name="T7" fmla="*/ 29 h 86"/>
                <a:gd name="T8" fmla="*/ 3 w 89"/>
                <a:gd name="T9" fmla="*/ 34 h 86"/>
                <a:gd name="T10" fmla="*/ 13 w 89"/>
                <a:gd name="T11" fmla="*/ 31 h 86"/>
                <a:gd name="T12" fmla="*/ 27 w 89"/>
                <a:gd name="T13" fmla="*/ 73 h 86"/>
                <a:gd name="T14" fmla="*/ 45 w 89"/>
                <a:gd name="T15" fmla="*/ 81 h 86"/>
                <a:gd name="T16" fmla="*/ 85 w 89"/>
                <a:gd name="T17" fmla="*/ 27 h 86"/>
                <a:gd name="T18" fmla="*/ 49 w 89"/>
                <a:gd name="T19" fmla="*/ 29 h 86"/>
                <a:gd name="T20" fmla="*/ 59 w 89"/>
                <a:gd name="T21" fmla="*/ 40 h 86"/>
                <a:gd name="T22" fmla="*/ 47 w 89"/>
                <a:gd name="T23" fmla="*/ 56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9" h="86">
                  <a:moveTo>
                    <a:pt x="47" y="56"/>
                  </a:moveTo>
                  <a:cubicBezTo>
                    <a:pt x="44" y="56"/>
                    <a:pt x="43" y="49"/>
                    <a:pt x="40" y="39"/>
                  </a:cubicBezTo>
                  <a:cubicBezTo>
                    <a:pt x="37" y="28"/>
                    <a:pt x="37" y="7"/>
                    <a:pt x="25" y="10"/>
                  </a:cubicBezTo>
                  <a:cubicBezTo>
                    <a:pt x="14" y="12"/>
                    <a:pt x="0" y="29"/>
                    <a:pt x="0" y="29"/>
                  </a:cubicBezTo>
                  <a:cubicBezTo>
                    <a:pt x="3" y="34"/>
                    <a:pt x="3" y="34"/>
                    <a:pt x="3" y="34"/>
                  </a:cubicBezTo>
                  <a:cubicBezTo>
                    <a:pt x="3" y="34"/>
                    <a:pt x="11" y="28"/>
                    <a:pt x="13" y="31"/>
                  </a:cubicBezTo>
                  <a:cubicBezTo>
                    <a:pt x="15" y="34"/>
                    <a:pt x="24" y="67"/>
                    <a:pt x="27" y="73"/>
                  </a:cubicBezTo>
                  <a:cubicBezTo>
                    <a:pt x="30" y="79"/>
                    <a:pt x="37" y="86"/>
                    <a:pt x="45" y="81"/>
                  </a:cubicBezTo>
                  <a:cubicBezTo>
                    <a:pt x="53" y="76"/>
                    <a:pt x="80" y="53"/>
                    <a:pt x="85" y="27"/>
                  </a:cubicBezTo>
                  <a:cubicBezTo>
                    <a:pt x="89" y="0"/>
                    <a:pt x="53" y="6"/>
                    <a:pt x="49" y="29"/>
                  </a:cubicBezTo>
                  <a:cubicBezTo>
                    <a:pt x="59" y="23"/>
                    <a:pt x="64" y="31"/>
                    <a:pt x="59" y="40"/>
                  </a:cubicBezTo>
                  <a:cubicBezTo>
                    <a:pt x="54" y="50"/>
                    <a:pt x="49" y="56"/>
                    <a:pt x="47" y="56"/>
                  </a:cubicBezTo>
                </a:path>
              </a:pathLst>
            </a:custGeom>
            <a:solidFill>
              <a:srgbClr val="CCCCC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9" name="Freeform 44">
              <a:extLst>
                <a:ext uri="{FF2B5EF4-FFF2-40B4-BE49-F238E27FC236}">
                  <a16:creationId xmlns:a16="http://schemas.microsoft.com/office/drawing/2014/main" id="{7B9C5561-F9C1-4F88-BD77-E20548C3233F}"/>
                </a:ext>
              </a:extLst>
            </p:cNvPr>
            <p:cNvSpPr>
              <a:spLocks/>
            </p:cNvSpPr>
            <p:nvPr/>
          </p:nvSpPr>
          <p:spPr bwMode="auto">
            <a:xfrm>
              <a:off x="4569266" y="3736771"/>
              <a:ext cx="174957" cy="168596"/>
            </a:xfrm>
            <a:custGeom>
              <a:avLst/>
              <a:gdLst>
                <a:gd name="T0" fmla="*/ 47 w 90"/>
                <a:gd name="T1" fmla="*/ 55 h 86"/>
                <a:gd name="T2" fmla="*/ 40 w 90"/>
                <a:gd name="T3" fmla="*/ 38 h 86"/>
                <a:gd name="T4" fmla="*/ 26 w 90"/>
                <a:gd name="T5" fmla="*/ 9 h 86"/>
                <a:gd name="T6" fmla="*/ 0 w 90"/>
                <a:gd name="T7" fmla="*/ 29 h 86"/>
                <a:gd name="T8" fmla="*/ 4 w 90"/>
                <a:gd name="T9" fmla="*/ 33 h 86"/>
                <a:gd name="T10" fmla="*/ 13 w 90"/>
                <a:gd name="T11" fmla="*/ 30 h 86"/>
                <a:gd name="T12" fmla="*/ 28 w 90"/>
                <a:gd name="T13" fmla="*/ 73 h 86"/>
                <a:gd name="T14" fmla="*/ 46 w 90"/>
                <a:gd name="T15" fmla="*/ 81 h 86"/>
                <a:gd name="T16" fmla="*/ 85 w 90"/>
                <a:gd name="T17" fmla="*/ 26 h 86"/>
                <a:gd name="T18" fmla="*/ 49 w 90"/>
                <a:gd name="T19" fmla="*/ 28 h 86"/>
                <a:gd name="T20" fmla="*/ 59 w 90"/>
                <a:gd name="T21" fmla="*/ 40 h 86"/>
                <a:gd name="T22" fmla="*/ 47 w 90"/>
                <a:gd name="T23" fmla="*/ 55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0" h="86">
                  <a:moveTo>
                    <a:pt x="47" y="55"/>
                  </a:moveTo>
                  <a:cubicBezTo>
                    <a:pt x="45" y="55"/>
                    <a:pt x="43" y="49"/>
                    <a:pt x="40" y="38"/>
                  </a:cubicBezTo>
                  <a:cubicBezTo>
                    <a:pt x="37" y="27"/>
                    <a:pt x="37" y="7"/>
                    <a:pt x="26" y="9"/>
                  </a:cubicBezTo>
                  <a:cubicBezTo>
                    <a:pt x="15" y="11"/>
                    <a:pt x="0" y="29"/>
                    <a:pt x="0" y="29"/>
                  </a:cubicBezTo>
                  <a:cubicBezTo>
                    <a:pt x="4" y="33"/>
                    <a:pt x="4" y="33"/>
                    <a:pt x="4" y="33"/>
                  </a:cubicBezTo>
                  <a:cubicBezTo>
                    <a:pt x="4" y="33"/>
                    <a:pt x="11" y="28"/>
                    <a:pt x="13" y="30"/>
                  </a:cubicBezTo>
                  <a:cubicBezTo>
                    <a:pt x="16" y="33"/>
                    <a:pt x="25" y="67"/>
                    <a:pt x="28" y="73"/>
                  </a:cubicBezTo>
                  <a:cubicBezTo>
                    <a:pt x="30" y="79"/>
                    <a:pt x="38" y="86"/>
                    <a:pt x="46" y="81"/>
                  </a:cubicBezTo>
                  <a:cubicBezTo>
                    <a:pt x="54" y="75"/>
                    <a:pt x="80" y="53"/>
                    <a:pt x="85" y="26"/>
                  </a:cubicBezTo>
                  <a:cubicBezTo>
                    <a:pt x="90" y="0"/>
                    <a:pt x="53" y="5"/>
                    <a:pt x="49" y="28"/>
                  </a:cubicBezTo>
                  <a:cubicBezTo>
                    <a:pt x="59" y="23"/>
                    <a:pt x="64" y="31"/>
                    <a:pt x="59" y="40"/>
                  </a:cubicBezTo>
                  <a:cubicBezTo>
                    <a:pt x="54" y="49"/>
                    <a:pt x="50" y="55"/>
                    <a:pt x="47" y="55"/>
                  </a:cubicBezTo>
                </a:path>
              </a:pathLst>
            </a:custGeom>
            <a:solidFill>
              <a:srgbClr val="CCCCC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40" name="Freeform 45">
              <a:extLst>
                <a:ext uri="{FF2B5EF4-FFF2-40B4-BE49-F238E27FC236}">
                  <a16:creationId xmlns:a16="http://schemas.microsoft.com/office/drawing/2014/main" id="{314C1D9B-7C8C-48CA-BB02-092FCB4AB426}"/>
                </a:ext>
              </a:extLst>
            </p:cNvPr>
            <p:cNvSpPr>
              <a:spLocks/>
            </p:cNvSpPr>
            <p:nvPr/>
          </p:nvSpPr>
          <p:spPr bwMode="auto">
            <a:xfrm>
              <a:off x="6244085" y="4824689"/>
              <a:ext cx="233807" cy="225854"/>
            </a:xfrm>
            <a:custGeom>
              <a:avLst/>
              <a:gdLst>
                <a:gd name="T0" fmla="*/ 63 w 120"/>
                <a:gd name="T1" fmla="*/ 75 h 116"/>
                <a:gd name="T2" fmla="*/ 54 w 120"/>
                <a:gd name="T3" fmla="*/ 52 h 116"/>
                <a:gd name="T4" fmla="*/ 34 w 120"/>
                <a:gd name="T5" fmla="*/ 13 h 116"/>
                <a:gd name="T6" fmla="*/ 0 w 120"/>
                <a:gd name="T7" fmla="*/ 39 h 116"/>
                <a:gd name="T8" fmla="*/ 5 w 120"/>
                <a:gd name="T9" fmla="*/ 45 h 116"/>
                <a:gd name="T10" fmla="*/ 17 w 120"/>
                <a:gd name="T11" fmla="*/ 41 h 116"/>
                <a:gd name="T12" fmla="*/ 37 w 120"/>
                <a:gd name="T13" fmla="*/ 99 h 116"/>
                <a:gd name="T14" fmla="*/ 61 w 120"/>
                <a:gd name="T15" fmla="*/ 109 h 116"/>
                <a:gd name="T16" fmla="*/ 114 w 120"/>
                <a:gd name="T17" fmla="*/ 36 h 116"/>
                <a:gd name="T18" fmla="*/ 66 w 120"/>
                <a:gd name="T19" fmla="*/ 39 h 116"/>
                <a:gd name="T20" fmla="*/ 79 w 120"/>
                <a:gd name="T21" fmla="*/ 54 h 116"/>
                <a:gd name="T22" fmla="*/ 63 w 120"/>
                <a:gd name="T23" fmla="*/ 75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0" h="116">
                  <a:moveTo>
                    <a:pt x="63" y="75"/>
                  </a:moveTo>
                  <a:cubicBezTo>
                    <a:pt x="60" y="75"/>
                    <a:pt x="57" y="66"/>
                    <a:pt x="54" y="52"/>
                  </a:cubicBezTo>
                  <a:cubicBezTo>
                    <a:pt x="50" y="37"/>
                    <a:pt x="50" y="10"/>
                    <a:pt x="34" y="13"/>
                  </a:cubicBezTo>
                  <a:cubicBezTo>
                    <a:pt x="19" y="16"/>
                    <a:pt x="0" y="39"/>
                    <a:pt x="0" y="39"/>
                  </a:cubicBezTo>
                  <a:cubicBezTo>
                    <a:pt x="5" y="45"/>
                    <a:pt x="5" y="45"/>
                    <a:pt x="5" y="45"/>
                  </a:cubicBezTo>
                  <a:cubicBezTo>
                    <a:pt x="5" y="45"/>
                    <a:pt x="14" y="37"/>
                    <a:pt x="17" y="41"/>
                  </a:cubicBezTo>
                  <a:cubicBezTo>
                    <a:pt x="21" y="45"/>
                    <a:pt x="33" y="90"/>
                    <a:pt x="37" y="99"/>
                  </a:cubicBezTo>
                  <a:cubicBezTo>
                    <a:pt x="40" y="106"/>
                    <a:pt x="50" y="116"/>
                    <a:pt x="61" y="109"/>
                  </a:cubicBezTo>
                  <a:cubicBezTo>
                    <a:pt x="72" y="102"/>
                    <a:pt x="107" y="71"/>
                    <a:pt x="114" y="36"/>
                  </a:cubicBezTo>
                  <a:cubicBezTo>
                    <a:pt x="120" y="0"/>
                    <a:pt x="71" y="7"/>
                    <a:pt x="66" y="39"/>
                  </a:cubicBezTo>
                  <a:cubicBezTo>
                    <a:pt x="79" y="31"/>
                    <a:pt x="86" y="42"/>
                    <a:pt x="79" y="54"/>
                  </a:cubicBezTo>
                  <a:cubicBezTo>
                    <a:pt x="72" y="67"/>
                    <a:pt x="66" y="75"/>
                    <a:pt x="63" y="75"/>
                  </a:cubicBezTo>
                </a:path>
              </a:pathLst>
            </a:custGeom>
            <a:solidFill>
              <a:srgbClr val="CCCCC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41" name="Freeform 46">
              <a:extLst>
                <a:ext uri="{FF2B5EF4-FFF2-40B4-BE49-F238E27FC236}">
                  <a16:creationId xmlns:a16="http://schemas.microsoft.com/office/drawing/2014/main" id="{0AA1D3F8-7277-4474-834E-B344F9563178}"/>
                </a:ext>
              </a:extLst>
            </p:cNvPr>
            <p:cNvSpPr>
              <a:spLocks/>
            </p:cNvSpPr>
            <p:nvPr/>
          </p:nvSpPr>
          <p:spPr bwMode="auto">
            <a:xfrm>
              <a:off x="4795120" y="5036228"/>
              <a:ext cx="356277" cy="229035"/>
            </a:xfrm>
            <a:custGeom>
              <a:avLst/>
              <a:gdLst>
                <a:gd name="T0" fmla="*/ 75 w 183"/>
                <a:gd name="T1" fmla="*/ 73 h 117"/>
                <a:gd name="T2" fmla="*/ 74 w 183"/>
                <a:gd name="T3" fmla="*/ 106 h 117"/>
                <a:gd name="T4" fmla="*/ 49 w 183"/>
                <a:gd name="T5" fmla="*/ 109 h 117"/>
                <a:gd name="T6" fmla="*/ 48 w 183"/>
                <a:gd name="T7" fmla="*/ 117 h 117"/>
                <a:gd name="T8" fmla="*/ 88 w 183"/>
                <a:gd name="T9" fmla="*/ 116 h 117"/>
                <a:gd name="T10" fmla="*/ 133 w 183"/>
                <a:gd name="T11" fmla="*/ 116 h 117"/>
                <a:gd name="T12" fmla="*/ 133 w 183"/>
                <a:gd name="T13" fmla="*/ 108 h 117"/>
                <a:gd name="T14" fmla="*/ 106 w 183"/>
                <a:gd name="T15" fmla="*/ 107 h 117"/>
                <a:gd name="T16" fmla="*/ 105 w 183"/>
                <a:gd name="T17" fmla="*/ 72 h 117"/>
                <a:gd name="T18" fmla="*/ 156 w 183"/>
                <a:gd name="T19" fmla="*/ 29 h 117"/>
                <a:gd name="T20" fmla="*/ 161 w 183"/>
                <a:gd name="T21" fmla="*/ 28 h 117"/>
                <a:gd name="T22" fmla="*/ 175 w 183"/>
                <a:gd name="T23" fmla="*/ 28 h 117"/>
                <a:gd name="T24" fmla="*/ 177 w 183"/>
                <a:gd name="T25" fmla="*/ 25 h 117"/>
                <a:gd name="T26" fmla="*/ 177 w 183"/>
                <a:gd name="T27" fmla="*/ 25 h 117"/>
                <a:gd name="T28" fmla="*/ 182 w 183"/>
                <a:gd name="T29" fmla="*/ 17 h 117"/>
                <a:gd name="T30" fmla="*/ 182 w 183"/>
                <a:gd name="T31" fmla="*/ 17 h 117"/>
                <a:gd name="T32" fmla="*/ 183 w 183"/>
                <a:gd name="T33" fmla="*/ 16 h 117"/>
                <a:gd name="T34" fmla="*/ 107 w 183"/>
                <a:gd name="T35" fmla="*/ 16 h 117"/>
                <a:gd name="T36" fmla="*/ 110 w 183"/>
                <a:gd name="T37" fmla="*/ 28 h 117"/>
                <a:gd name="T38" fmla="*/ 130 w 183"/>
                <a:gd name="T39" fmla="*/ 28 h 117"/>
                <a:gd name="T40" fmla="*/ 96 w 183"/>
                <a:gd name="T41" fmla="*/ 60 h 117"/>
                <a:gd name="T42" fmla="*/ 60 w 183"/>
                <a:gd name="T43" fmla="*/ 12 h 117"/>
                <a:gd name="T44" fmla="*/ 86 w 183"/>
                <a:gd name="T45" fmla="*/ 12 h 117"/>
                <a:gd name="T46" fmla="*/ 86 w 183"/>
                <a:gd name="T47" fmla="*/ 3 h 117"/>
                <a:gd name="T48" fmla="*/ 87 w 183"/>
                <a:gd name="T49" fmla="*/ 1 h 117"/>
                <a:gd name="T50" fmla="*/ 86 w 183"/>
                <a:gd name="T51" fmla="*/ 1 h 117"/>
                <a:gd name="T52" fmla="*/ 86 w 183"/>
                <a:gd name="T53" fmla="*/ 0 h 117"/>
                <a:gd name="T54" fmla="*/ 0 w 183"/>
                <a:gd name="T55" fmla="*/ 0 h 117"/>
                <a:gd name="T56" fmla="*/ 0 w 183"/>
                <a:gd name="T57" fmla="*/ 12 h 117"/>
                <a:gd name="T58" fmla="*/ 25 w 183"/>
                <a:gd name="T59" fmla="*/ 12 h 117"/>
                <a:gd name="T60" fmla="*/ 75 w 183"/>
                <a:gd name="T61" fmla="*/ 73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83" h="117">
                  <a:moveTo>
                    <a:pt x="75" y="73"/>
                  </a:moveTo>
                  <a:cubicBezTo>
                    <a:pt x="76" y="77"/>
                    <a:pt x="76" y="103"/>
                    <a:pt x="74" y="106"/>
                  </a:cubicBezTo>
                  <a:cubicBezTo>
                    <a:pt x="71" y="109"/>
                    <a:pt x="54" y="108"/>
                    <a:pt x="49" y="109"/>
                  </a:cubicBezTo>
                  <a:cubicBezTo>
                    <a:pt x="48" y="117"/>
                    <a:pt x="48" y="117"/>
                    <a:pt x="48" y="117"/>
                  </a:cubicBezTo>
                  <a:cubicBezTo>
                    <a:pt x="56" y="117"/>
                    <a:pt x="80" y="116"/>
                    <a:pt x="88" y="116"/>
                  </a:cubicBezTo>
                  <a:cubicBezTo>
                    <a:pt x="103" y="116"/>
                    <a:pt x="129" y="116"/>
                    <a:pt x="133" y="116"/>
                  </a:cubicBezTo>
                  <a:cubicBezTo>
                    <a:pt x="133" y="108"/>
                    <a:pt x="133" y="108"/>
                    <a:pt x="133" y="108"/>
                  </a:cubicBezTo>
                  <a:cubicBezTo>
                    <a:pt x="129" y="107"/>
                    <a:pt x="109" y="108"/>
                    <a:pt x="106" y="107"/>
                  </a:cubicBezTo>
                  <a:cubicBezTo>
                    <a:pt x="105" y="103"/>
                    <a:pt x="104" y="75"/>
                    <a:pt x="105" y="72"/>
                  </a:cubicBezTo>
                  <a:cubicBezTo>
                    <a:pt x="108" y="64"/>
                    <a:pt x="151" y="31"/>
                    <a:pt x="156" y="29"/>
                  </a:cubicBezTo>
                  <a:cubicBezTo>
                    <a:pt x="157" y="29"/>
                    <a:pt x="159" y="29"/>
                    <a:pt x="161" y="28"/>
                  </a:cubicBezTo>
                  <a:cubicBezTo>
                    <a:pt x="175" y="28"/>
                    <a:pt x="175" y="28"/>
                    <a:pt x="175" y="28"/>
                  </a:cubicBezTo>
                  <a:cubicBezTo>
                    <a:pt x="177" y="25"/>
                    <a:pt x="177" y="25"/>
                    <a:pt x="177" y="25"/>
                  </a:cubicBezTo>
                  <a:cubicBezTo>
                    <a:pt x="177" y="25"/>
                    <a:pt x="177" y="25"/>
                    <a:pt x="177" y="25"/>
                  </a:cubicBezTo>
                  <a:cubicBezTo>
                    <a:pt x="182" y="17"/>
                    <a:pt x="182" y="17"/>
                    <a:pt x="182" y="17"/>
                  </a:cubicBezTo>
                  <a:cubicBezTo>
                    <a:pt x="182" y="17"/>
                    <a:pt x="182" y="17"/>
                    <a:pt x="182" y="17"/>
                  </a:cubicBezTo>
                  <a:cubicBezTo>
                    <a:pt x="183" y="16"/>
                    <a:pt x="183" y="16"/>
                    <a:pt x="183" y="16"/>
                  </a:cubicBezTo>
                  <a:cubicBezTo>
                    <a:pt x="107" y="16"/>
                    <a:pt x="107" y="16"/>
                    <a:pt x="107" y="16"/>
                  </a:cubicBezTo>
                  <a:cubicBezTo>
                    <a:pt x="110" y="28"/>
                    <a:pt x="110" y="28"/>
                    <a:pt x="110" y="28"/>
                  </a:cubicBezTo>
                  <a:cubicBezTo>
                    <a:pt x="130" y="28"/>
                    <a:pt x="130" y="28"/>
                    <a:pt x="130" y="28"/>
                  </a:cubicBezTo>
                  <a:cubicBezTo>
                    <a:pt x="96" y="60"/>
                    <a:pt x="96" y="60"/>
                    <a:pt x="96" y="60"/>
                  </a:cubicBezTo>
                  <a:cubicBezTo>
                    <a:pt x="88" y="50"/>
                    <a:pt x="72" y="29"/>
                    <a:pt x="60" y="12"/>
                  </a:cubicBezTo>
                  <a:cubicBezTo>
                    <a:pt x="86" y="12"/>
                    <a:pt x="86" y="12"/>
                    <a:pt x="86" y="12"/>
                  </a:cubicBezTo>
                  <a:cubicBezTo>
                    <a:pt x="86" y="3"/>
                    <a:pt x="86" y="3"/>
                    <a:pt x="86" y="3"/>
                  </a:cubicBezTo>
                  <a:cubicBezTo>
                    <a:pt x="87" y="1"/>
                    <a:pt x="87" y="1"/>
                    <a:pt x="87" y="1"/>
                  </a:cubicBezTo>
                  <a:cubicBezTo>
                    <a:pt x="87" y="1"/>
                    <a:pt x="86" y="1"/>
                    <a:pt x="86" y="1"/>
                  </a:cubicBezTo>
                  <a:cubicBezTo>
                    <a:pt x="86" y="0"/>
                    <a:pt x="86" y="0"/>
                    <a:pt x="86" y="0"/>
                  </a:cubicBezTo>
                  <a:cubicBezTo>
                    <a:pt x="0" y="0"/>
                    <a:pt x="0" y="0"/>
                    <a:pt x="0" y="0"/>
                  </a:cubicBezTo>
                  <a:cubicBezTo>
                    <a:pt x="0" y="12"/>
                    <a:pt x="0" y="12"/>
                    <a:pt x="0" y="12"/>
                  </a:cubicBezTo>
                  <a:cubicBezTo>
                    <a:pt x="25" y="12"/>
                    <a:pt x="25" y="12"/>
                    <a:pt x="25" y="12"/>
                  </a:cubicBezTo>
                  <a:cubicBezTo>
                    <a:pt x="35" y="20"/>
                    <a:pt x="73" y="68"/>
                    <a:pt x="75" y="73"/>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42" name="Freeform 47">
              <a:extLst>
                <a:ext uri="{FF2B5EF4-FFF2-40B4-BE49-F238E27FC236}">
                  <a16:creationId xmlns:a16="http://schemas.microsoft.com/office/drawing/2014/main" id="{DECFE342-02D4-4562-9DFC-301BC32C5BE6}"/>
                </a:ext>
              </a:extLst>
            </p:cNvPr>
            <p:cNvSpPr>
              <a:spLocks/>
            </p:cNvSpPr>
            <p:nvPr/>
          </p:nvSpPr>
          <p:spPr bwMode="auto">
            <a:xfrm>
              <a:off x="5122767" y="5115754"/>
              <a:ext cx="50896" cy="108156"/>
            </a:xfrm>
            <a:custGeom>
              <a:avLst/>
              <a:gdLst>
                <a:gd name="T0" fmla="*/ 0 w 26"/>
                <a:gd name="T1" fmla="*/ 0 h 55"/>
                <a:gd name="T2" fmla="*/ 1 w 26"/>
                <a:gd name="T3" fmla="*/ 54 h 55"/>
                <a:gd name="T4" fmla="*/ 12 w 26"/>
                <a:gd name="T5" fmla="*/ 55 h 55"/>
                <a:gd name="T6" fmla="*/ 26 w 26"/>
                <a:gd name="T7" fmla="*/ 2 h 55"/>
                <a:gd name="T8" fmla="*/ 0 w 26"/>
                <a:gd name="T9" fmla="*/ 0 h 55"/>
              </a:gdLst>
              <a:ahLst/>
              <a:cxnLst>
                <a:cxn ang="0">
                  <a:pos x="T0" y="T1"/>
                </a:cxn>
                <a:cxn ang="0">
                  <a:pos x="T2" y="T3"/>
                </a:cxn>
                <a:cxn ang="0">
                  <a:pos x="T4" y="T5"/>
                </a:cxn>
                <a:cxn ang="0">
                  <a:pos x="T6" y="T7"/>
                </a:cxn>
                <a:cxn ang="0">
                  <a:pos x="T8" y="T9"/>
                </a:cxn>
              </a:cxnLst>
              <a:rect l="0" t="0" r="r" b="b"/>
              <a:pathLst>
                <a:path w="26" h="55">
                  <a:moveTo>
                    <a:pt x="0" y="0"/>
                  </a:moveTo>
                  <a:cubicBezTo>
                    <a:pt x="1" y="54"/>
                    <a:pt x="1" y="54"/>
                    <a:pt x="1" y="54"/>
                  </a:cubicBezTo>
                  <a:cubicBezTo>
                    <a:pt x="12" y="55"/>
                    <a:pt x="12" y="55"/>
                    <a:pt x="12" y="55"/>
                  </a:cubicBezTo>
                  <a:cubicBezTo>
                    <a:pt x="26" y="2"/>
                    <a:pt x="26" y="2"/>
                    <a:pt x="26" y="2"/>
                  </a:cubicBezTo>
                  <a:cubicBezTo>
                    <a:pt x="24" y="2"/>
                    <a:pt x="3" y="0"/>
                    <a:pt x="0" y="0"/>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43" name="Freeform 48">
              <a:extLst>
                <a:ext uri="{FF2B5EF4-FFF2-40B4-BE49-F238E27FC236}">
                  <a16:creationId xmlns:a16="http://schemas.microsoft.com/office/drawing/2014/main" id="{840805A2-F752-45FD-8BEF-D799B8B8E122}"/>
                </a:ext>
              </a:extLst>
            </p:cNvPr>
            <p:cNvSpPr>
              <a:spLocks/>
            </p:cNvSpPr>
            <p:nvPr/>
          </p:nvSpPr>
          <p:spPr bwMode="auto">
            <a:xfrm>
              <a:off x="5121177" y="5236634"/>
              <a:ext cx="27039" cy="28629"/>
            </a:xfrm>
            <a:custGeom>
              <a:avLst/>
              <a:gdLst>
                <a:gd name="T0" fmla="*/ 14 w 17"/>
                <a:gd name="T1" fmla="*/ 18 h 18"/>
                <a:gd name="T2" fmla="*/ 17 w 17"/>
                <a:gd name="T3" fmla="*/ 2 h 18"/>
                <a:gd name="T4" fmla="*/ 8 w 17"/>
                <a:gd name="T5" fmla="*/ 2 h 18"/>
                <a:gd name="T6" fmla="*/ 0 w 17"/>
                <a:gd name="T7" fmla="*/ 0 h 18"/>
                <a:gd name="T8" fmla="*/ 0 w 17"/>
                <a:gd name="T9" fmla="*/ 16 h 18"/>
                <a:gd name="T10" fmla="*/ 7 w 17"/>
                <a:gd name="T11" fmla="*/ 16 h 18"/>
                <a:gd name="T12" fmla="*/ 14 w 17"/>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17" h="18">
                  <a:moveTo>
                    <a:pt x="14" y="18"/>
                  </a:moveTo>
                  <a:lnTo>
                    <a:pt x="17" y="2"/>
                  </a:lnTo>
                  <a:lnTo>
                    <a:pt x="8" y="2"/>
                  </a:lnTo>
                  <a:lnTo>
                    <a:pt x="0" y="0"/>
                  </a:lnTo>
                  <a:lnTo>
                    <a:pt x="0" y="16"/>
                  </a:lnTo>
                  <a:lnTo>
                    <a:pt x="7" y="16"/>
                  </a:lnTo>
                  <a:lnTo>
                    <a:pt x="14" y="18"/>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44" name="Rectangle 49">
              <a:extLst>
                <a:ext uri="{FF2B5EF4-FFF2-40B4-BE49-F238E27FC236}">
                  <a16:creationId xmlns:a16="http://schemas.microsoft.com/office/drawing/2014/main" id="{644FF65C-FFEF-4531-B5EA-5EC14C3EBF68}"/>
                </a:ext>
              </a:extLst>
            </p:cNvPr>
            <p:cNvSpPr>
              <a:spLocks noChangeArrowheads="1"/>
            </p:cNvSpPr>
            <p:nvPr/>
          </p:nvSpPr>
          <p:spPr bwMode="auto">
            <a:xfrm>
              <a:off x="3753327" y="3103743"/>
              <a:ext cx="55668" cy="152690"/>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45" name="Oval 50">
              <a:extLst>
                <a:ext uri="{FF2B5EF4-FFF2-40B4-BE49-F238E27FC236}">
                  <a16:creationId xmlns:a16="http://schemas.microsoft.com/office/drawing/2014/main" id="{2B3A24DD-D319-48AD-94C0-6A169AF2FEDF}"/>
                </a:ext>
              </a:extLst>
            </p:cNvPr>
            <p:cNvSpPr>
              <a:spLocks noChangeArrowheads="1"/>
            </p:cNvSpPr>
            <p:nvPr/>
          </p:nvSpPr>
          <p:spPr bwMode="auto">
            <a:xfrm>
              <a:off x="3753327" y="3025808"/>
              <a:ext cx="55668" cy="54078"/>
            </a:xfrm>
            <a:prstGeom prst="ellipse">
              <a:avLst/>
            </a:pr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46" name="Freeform 51">
              <a:extLst>
                <a:ext uri="{FF2B5EF4-FFF2-40B4-BE49-F238E27FC236}">
                  <a16:creationId xmlns:a16="http://schemas.microsoft.com/office/drawing/2014/main" id="{C9C38067-84D2-4309-BA2E-C1E9CFDCECD4}"/>
                </a:ext>
              </a:extLst>
            </p:cNvPr>
            <p:cNvSpPr>
              <a:spLocks/>
            </p:cNvSpPr>
            <p:nvPr/>
          </p:nvSpPr>
          <p:spPr bwMode="auto">
            <a:xfrm>
              <a:off x="3837625" y="3103743"/>
              <a:ext cx="146328" cy="152690"/>
            </a:xfrm>
            <a:custGeom>
              <a:avLst/>
              <a:gdLst>
                <a:gd name="T0" fmla="*/ 75 w 75"/>
                <a:gd name="T1" fmla="*/ 35 h 78"/>
                <a:gd name="T2" fmla="*/ 46 w 75"/>
                <a:gd name="T3" fmla="*/ 0 h 78"/>
                <a:gd name="T4" fmla="*/ 23 w 75"/>
                <a:gd name="T5" fmla="*/ 10 h 78"/>
                <a:gd name="T6" fmla="*/ 22 w 75"/>
                <a:gd name="T7" fmla="*/ 10 h 78"/>
                <a:gd name="T8" fmla="*/ 22 w 75"/>
                <a:gd name="T9" fmla="*/ 0 h 78"/>
                <a:gd name="T10" fmla="*/ 0 w 75"/>
                <a:gd name="T11" fmla="*/ 0 h 78"/>
                <a:gd name="T12" fmla="*/ 0 w 75"/>
                <a:gd name="T13" fmla="*/ 78 h 78"/>
                <a:gd name="T14" fmla="*/ 23 w 75"/>
                <a:gd name="T15" fmla="*/ 78 h 78"/>
                <a:gd name="T16" fmla="*/ 23 w 75"/>
                <a:gd name="T17" fmla="*/ 39 h 78"/>
                <a:gd name="T18" fmla="*/ 38 w 75"/>
                <a:gd name="T19" fmla="*/ 19 h 78"/>
                <a:gd name="T20" fmla="*/ 52 w 75"/>
                <a:gd name="T21" fmla="*/ 40 h 78"/>
                <a:gd name="T22" fmla="*/ 52 w 75"/>
                <a:gd name="T23" fmla="*/ 78 h 78"/>
                <a:gd name="T24" fmla="*/ 75 w 75"/>
                <a:gd name="T25" fmla="*/ 78 h 78"/>
                <a:gd name="T26" fmla="*/ 75 w 75"/>
                <a:gd name="T27" fmla="*/ 35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5" h="78">
                  <a:moveTo>
                    <a:pt x="75" y="35"/>
                  </a:moveTo>
                  <a:cubicBezTo>
                    <a:pt x="75" y="14"/>
                    <a:pt x="71" y="0"/>
                    <a:pt x="46" y="0"/>
                  </a:cubicBezTo>
                  <a:cubicBezTo>
                    <a:pt x="34" y="0"/>
                    <a:pt x="26" y="4"/>
                    <a:pt x="23" y="10"/>
                  </a:cubicBezTo>
                  <a:cubicBezTo>
                    <a:pt x="22" y="10"/>
                    <a:pt x="22" y="10"/>
                    <a:pt x="22" y="10"/>
                  </a:cubicBezTo>
                  <a:cubicBezTo>
                    <a:pt x="22" y="0"/>
                    <a:pt x="22" y="0"/>
                    <a:pt x="22" y="0"/>
                  </a:cubicBezTo>
                  <a:cubicBezTo>
                    <a:pt x="0" y="0"/>
                    <a:pt x="0" y="0"/>
                    <a:pt x="0" y="0"/>
                  </a:cubicBezTo>
                  <a:cubicBezTo>
                    <a:pt x="0" y="78"/>
                    <a:pt x="0" y="78"/>
                    <a:pt x="0" y="78"/>
                  </a:cubicBezTo>
                  <a:cubicBezTo>
                    <a:pt x="23" y="78"/>
                    <a:pt x="23" y="78"/>
                    <a:pt x="23" y="78"/>
                  </a:cubicBezTo>
                  <a:cubicBezTo>
                    <a:pt x="23" y="39"/>
                    <a:pt x="23" y="39"/>
                    <a:pt x="23" y="39"/>
                  </a:cubicBezTo>
                  <a:cubicBezTo>
                    <a:pt x="23" y="29"/>
                    <a:pt x="25" y="19"/>
                    <a:pt x="38" y="19"/>
                  </a:cubicBezTo>
                  <a:cubicBezTo>
                    <a:pt x="51" y="19"/>
                    <a:pt x="52" y="31"/>
                    <a:pt x="52" y="40"/>
                  </a:cubicBezTo>
                  <a:cubicBezTo>
                    <a:pt x="52" y="78"/>
                    <a:pt x="52" y="78"/>
                    <a:pt x="52" y="78"/>
                  </a:cubicBezTo>
                  <a:cubicBezTo>
                    <a:pt x="75" y="78"/>
                    <a:pt x="75" y="78"/>
                    <a:pt x="75" y="78"/>
                  </a:cubicBezTo>
                  <a:lnTo>
                    <a:pt x="75" y="35"/>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47" name="Freeform 52">
              <a:extLst>
                <a:ext uri="{FF2B5EF4-FFF2-40B4-BE49-F238E27FC236}">
                  <a16:creationId xmlns:a16="http://schemas.microsoft.com/office/drawing/2014/main" id="{13D9C28B-FB48-4BDF-A968-0F4638BECCD5}"/>
                </a:ext>
              </a:extLst>
            </p:cNvPr>
            <p:cNvSpPr>
              <a:spLocks noEditPoints="1"/>
            </p:cNvSpPr>
            <p:nvPr/>
          </p:nvSpPr>
          <p:spPr bwMode="auto">
            <a:xfrm>
              <a:off x="4605847" y="3342321"/>
              <a:ext cx="209949" cy="208359"/>
            </a:xfrm>
            <a:custGeom>
              <a:avLst/>
              <a:gdLst>
                <a:gd name="T0" fmla="*/ 34 w 108"/>
                <a:gd name="T1" fmla="*/ 107 h 107"/>
                <a:gd name="T2" fmla="*/ 73 w 108"/>
                <a:gd name="T3" fmla="*/ 107 h 107"/>
                <a:gd name="T4" fmla="*/ 107 w 108"/>
                <a:gd name="T5" fmla="*/ 73 h 107"/>
                <a:gd name="T6" fmla="*/ 108 w 108"/>
                <a:gd name="T7" fmla="*/ 46 h 107"/>
                <a:gd name="T8" fmla="*/ 107 w 108"/>
                <a:gd name="T9" fmla="*/ 44 h 107"/>
                <a:gd name="T10" fmla="*/ 106 w 108"/>
                <a:gd name="T11" fmla="*/ 42 h 107"/>
                <a:gd name="T12" fmla="*/ 105 w 108"/>
                <a:gd name="T13" fmla="*/ 41 h 107"/>
                <a:gd name="T14" fmla="*/ 90 w 108"/>
                <a:gd name="T15" fmla="*/ 39 h 107"/>
                <a:gd name="T16" fmla="*/ 87 w 108"/>
                <a:gd name="T17" fmla="*/ 30 h 107"/>
                <a:gd name="T18" fmla="*/ 84 w 108"/>
                <a:gd name="T19" fmla="*/ 18 h 107"/>
                <a:gd name="T20" fmla="*/ 58 w 108"/>
                <a:gd name="T21" fmla="*/ 0 h 107"/>
                <a:gd name="T22" fmla="*/ 34 w 108"/>
                <a:gd name="T23" fmla="*/ 0 h 107"/>
                <a:gd name="T24" fmla="*/ 0 w 108"/>
                <a:gd name="T25" fmla="*/ 34 h 107"/>
                <a:gd name="T26" fmla="*/ 0 w 108"/>
                <a:gd name="T27" fmla="*/ 73 h 107"/>
                <a:gd name="T28" fmla="*/ 34 w 108"/>
                <a:gd name="T29" fmla="*/ 107 h 107"/>
                <a:gd name="T30" fmla="*/ 34 w 108"/>
                <a:gd name="T31" fmla="*/ 27 h 107"/>
                <a:gd name="T32" fmla="*/ 53 w 108"/>
                <a:gd name="T33" fmla="*/ 27 h 107"/>
                <a:gd name="T34" fmla="*/ 60 w 108"/>
                <a:gd name="T35" fmla="*/ 34 h 107"/>
                <a:gd name="T36" fmla="*/ 53 w 108"/>
                <a:gd name="T37" fmla="*/ 40 h 107"/>
                <a:gd name="T38" fmla="*/ 34 w 108"/>
                <a:gd name="T39" fmla="*/ 40 h 107"/>
                <a:gd name="T40" fmla="*/ 28 w 108"/>
                <a:gd name="T41" fmla="*/ 34 h 107"/>
                <a:gd name="T42" fmla="*/ 34 w 108"/>
                <a:gd name="T43" fmla="*/ 27 h 107"/>
                <a:gd name="T44" fmla="*/ 34 w 108"/>
                <a:gd name="T45" fmla="*/ 66 h 107"/>
                <a:gd name="T46" fmla="*/ 73 w 108"/>
                <a:gd name="T47" fmla="*/ 66 h 107"/>
                <a:gd name="T48" fmla="*/ 79 w 108"/>
                <a:gd name="T49" fmla="*/ 73 h 107"/>
                <a:gd name="T50" fmla="*/ 73 w 108"/>
                <a:gd name="T51" fmla="*/ 79 h 107"/>
                <a:gd name="T52" fmla="*/ 34 w 108"/>
                <a:gd name="T53" fmla="*/ 79 h 107"/>
                <a:gd name="T54" fmla="*/ 28 w 108"/>
                <a:gd name="T55" fmla="*/ 73 h 107"/>
                <a:gd name="T56" fmla="*/ 34 w 108"/>
                <a:gd name="T57" fmla="*/ 66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07">
                  <a:moveTo>
                    <a:pt x="34" y="107"/>
                  </a:moveTo>
                  <a:cubicBezTo>
                    <a:pt x="73" y="107"/>
                    <a:pt x="73" y="107"/>
                    <a:pt x="73" y="107"/>
                  </a:cubicBezTo>
                  <a:cubicBezTo>
                    <a:pt x="92" y="107"/>
                    <a:pt x="107" y="92"/>
                    <a:pt x="107" y="73"/>
                  </a:cubicBezTo>
                  <a:cubicBezTo>
                    <a:pt x="108" y="46"/>
                    <a:pt x="108" y="46"/>
                    <a:pt x="108" y="46"/>
                  </a:cubicBezTo>
                  <a:cubicBezTo>
                    <a:pt x="107" y="44"/>
                    <a:pt x="107" y="44"/>
                    <a:pt x="107" y="44"/>
                  </a:cubicBezTo>
                  <a:cubicBezTo>
                    <a:pt x="106" y="42"/>
                    <a:pt x="106" y="42"/>
                    <a:pt x="106" y="42"/>
                  </a:cubicBezTo>
                  <a:cubicBezTo>
                    <a:pt x="105" y="41"/>
                    <a:pt x="105" y="41"/>
                    <a:pt x="105" y="41"/>
                  </a:cubicBezTo>
                  <a:cubicBezTo>
                    <a:pt x="103" y="40"/>
                    <a:pt x="93" y="41"/>
                    <a:pt x="90" y="39"/>
                  </a:cubicBezTo>
                  <a:cubicBezTo>
                    <a:pt x="88" y="37"/>
                    <a:pt x="88" y="34"/>
                    <a:pt x="87" y="30"/>
                  </a:cubicBezTo>
                  <a:cubicBezTo>
                    <a:pt x="86" y="21"/>
                    <a:pt x="86" y="21"/>
                    <a:pt x="84" y="18"/>
                  </a:cubicBezTo>
                  <a:cubicBezTo>
                    <a:pt x="80" y="8"/>
                    <a:pt x="67" y="1"/>
                    <a:pt x="58" y="0"/>
                  </a:cubicBezTo>
                  <a:cubicBezTo>
                    <a:pt x="34" y="0"/>
                    <a:pt x="34" y="0"/>
                    <a:pt x="34" y="0"/>
                  </a:cubicBezTo>
                  <a:cubicBezTo>
                    <a:pt x="15" y="0"/>
                    <a:pt x="0" y="15"/>
                    <a:pt x="0" y="34"/>
                  </a:cubicBezTo>
                  <a:cubicBezTo>
                    <a:pt x="0" y="73"/>
                    <a:pt x="0" y="73"/>
                    <a:pt x="0" y="73"/>
                  </a:cubicBezTo>
                  <a:cubicBezTo>
                    <a:pt x="0" y="92"/>
                    <a:pt x="15" y="107"/>
                    <a:pt x="34" y="107"/>
                  </a:cubicBezTo>
                  <a:moveTo>
                    <a:pt x="34" y="27"/>
                  </a:moveTo>
                  <a:cubicBezTo>
                    <a:pt x="53" y="27"/>
                    <a:pt x="53" y="27"/>
                    <a:pt x="53" y="27"/>
                  </a:cubicBezTo>
                  <a:cubicBezTo>
                    <a:pt x="57" y="27"/>
                    <a:pt x="60" y="30"/>
                    <a:pt x="60" y="34"/>
                  </a:cubicBezTo>
                  <a:cubicBezTo>
                    <a:pt x="60" y="37"/>
                    <a:pt x="57" y="40"/>
                    <a:pt x="53" y="40"/>
                  </a:cubicBezTo>
                  <a:cubicBezTo>
                    <a:pt x="34" y="40"/>
                    <a:pt x="34" y="40"/>
                    <a:pt x="34" y="40"/>
                  </a:cubicBezTo>
                  <a:cubicBezTo>
                    <a:pt x="31" y="40"/>
                    <a:pt x="28" y="37"/>
                    <a:pt x="28" y="34"/>
                  </a:cubicBezTo>
                  <a:cubicBezTo>
                    <a:pt x="28" y="30"/>
                    <a:pt x="31" y="27"/>
                    <a:pt x="34" y="27"/>
                  </a:cubicBezTo>
                  <a:moveTo>
                    <a:pt x="34" y="66"/>
                  </a:moveTo>
                  <a:cubicBezTo>
                    <a:pt x="73" y="66"/>
                    <a:pt x="73" y="66"/>
                    <a:pt x="73" y="66"/>
                  </a:cubicBezTo>
                  <a:cubicBezTo>
                    <a:pt x="76" y="66"/>
                    <a:pt x="79" y="69"/>
                    <a:pt x="79" y="73"/>
                  </a:cubicBezTo>
                  <a:cubicBezTo>
                    <a:pt x="79" y="76"/>
                    <a:pt x="76" y="79"/>
                    <a:pt x="73" y="79"/>
                  </a:cubicBezTo>
                  <a:cubicBezTo>
                    <a:pt x="34" y="79"/>
                    <a:pt x="34" y="79"/>
                    <a:pt x="34" y="79"/>
                  </a:cubicBezTo>
                  <a:cubicBezTo>
                    <a:pt x="31" y="79"/>
                    <a:pt x="28" y="76"/>
                    <a:pt x="28" y="73"/>
                  </a:cubicBezTo>
                  <a:cubicBezTo>
                    <a:pt x="28" y="69"/>
                    <a:pt x="31" y="66"/>
                    <a:pt x="34" y="66"/>
                  </a:cubicBezTo>
                </a:path>
              </a:pathLst>
            </a:custGeom>
            <a:solidFill>
              <a:srgbClr val="CCCCC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48" name="Freeform 53">
              <a:extLst>
                <a:ext uri="{FF2B5EF4-FFF2-40B4-BE49-F238E27FC236}">
                  <a16:creationId xmlns:a16="http://schemas.microsoft.com/office/drawing/2014/main" id="{C8106172-F46C-4145-A675-ED7D6DD17306}"/>
                </a:ext>
              </a:extLst>
            </p:cNvPr>
            <p:cNvSpPr>
              <a:spLocks noEditPoints="1"/>
            </p:cNvSpPr>
            <p:nvPr/>
          </p:nvSpPr>
          <p:spPr bwMode="auto">
            <a:xfrm>
              <a:off x="7366995" y="3458430"/>
              <a:ext cx="493062" cy="361049"/>
            </a:xfrm>
            <a:custGeom>
              <a:avLst/>
              <a:gdLst>
                <a:gd name="T0" fmla="*/ 250 w 253"/>
                <a:gd name="T1" fmla="*/ 40 h 185"/>
                <a:gd name="T2" fmla="*/ 240 w 253"/>
                <a:gd name="T3" fmla="*/ 13 h 185"/>
                <a:gd name="T4" fmla="*/ 215 w 253"/>
                <a:gd name="T5" fmla="*/ 2 h 185"/>
                <a:gd name="T6" fmla="*/ 127 w 253"/>
                <a:gd name="T7" fmla="*/ 0 h 185"/>
                <a:gd name="T8" fmla="*/ 126 w 253"/>
                <a:gd name="T9" fmla="*/ 0 h 185"/>
                <a:gd name="T10" fmla="*/ 38 w 253"/>
                <a:gd name="T11" fmla="*/ 2 h 185"/>
                <a:gd name="T12" fmla="*/ 13 w 253"/>
                <a:gd name="T13" fmla="*/ 13 h 185"/>
                <a:gd name="T14" fmla="*/ 3 w 253"/>
                <a:gd name="T15" fmla="*/ 40 h 185"/>
                <a:gd name="T16" fmla="*/ 0 w 253"/>
                <a:gd name="T17" fmla="*/ 82 h 185"/>
                <a:gd name="T18" fmla="*/ 0 w 253"/>
                <a:gd name="T19" fmla="*/ 102 h 185"/>
                <a:gd name="T20" fmla="*/ 3 w 253"/>
                <a:gd name="T21" fmla="*/ 145 h 185"/>
                <a:gd name="T22" fmla="*/ 13 w 253"/>
                <a:gd name="T23" fmla="*/ 171 h 185"/>
                <a:gd name="T24" fmla="*/ 41 w 253"/>
                <a:gd name="T25" fmla="*/ 182 h 185"/>
                <a:gd name="T26" fmla="*/ 127 w 253"/>
                <a:gd name="T27" fmla="*/ 185 h 185"/>
                <a:gd name="T28" fmla="*/ 215 w 253"/>
                <a:gd name="T29" fmla="*/ 182 h 185"/>
                <a:gd name="T30" fmla="*/ 240 w 253"/>
                <a:gd name="T31" fmla="*/ 171 h 185"/>
                <a:gd name="T32" fmla="*/ 250 w 253"/>
                <a:gd name="T33" fmla="*/ 145 h 185"/>
                <a:gd name="T34" fmla="*/ 253 w 253"/>
                <a:gd name="T35" fmla="*/ 102 h 185"/>
                <a:gd name="T36" fmla="*/ 253 w 253"/>
                <a:gd name="T37" fmla="*/ 82 h 185"/>
                <a:gd name="T38" fmla="*/ 250 w 253"/>
                <a:gd name="T39" fmla="*/ 40 h 185"/>
                <a:gd name="T40" fmla="*/ 100 w 253"/>
                <a:gd name="T41" fmla="*/ 127 h 185"/>
                <a:gd name="T42" fmla="*/ 100 w 253"/>
                <a:gd name="T43" fmla="*/ 52 h 185"/>
                <a:gd name="T44" fmla="*/ 169 w 253"/>
                <a:gd name="T45" fmla="*/ 90 h 185"/>
                <a:gd name="T46" fmla="*/ 100 w 253"/>
                <a:gd name="T47" fmla="*/ 127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53" h="185">
                  <a:moveTo>
                    <a:pt x="250" y="40"/>
                  </a:moveTo>
                  <a:cubicBezTo>
                    <a:pt x="250" y="40"/>
                    <a:pt x="248" y="21"/>
                    <a:pt x="240" y="13"/>
                  </a:cubicBezTo>
                  <a:cubicBezTo>
                    <a:pt x="231" y="3"/>
                    <a:pt x="220" y="3"/>
                    <a:pt x="215" y="2"/>
                  </a:cubicBezTo>
                  <a:cubicBezTo>
                    <a:pt x="180" y="0"/>
                    <a:pt x="127" y="0"/>
                    <a:pt x="127" y="0"/>
                  </a:cubicBezTo>
                  <a:cubicBezTo>
                    <a:pt x="126" y="0"/>
                    <a:pt x="126" y="0"/>
                    <a:pt x="126" y="0"/>
                  </a:cubicBezTo>
                  <a:cubicBezTo>
                    <a:pt x="126" y="0"/>
                    <a:pt x="73" y="0"/>
                    <a:pt x="38" y="2"/>
                  </a:cubicBezTo>
                  <a:cubicBezTo>
                    <a:pt x="33" y="3"/>
                    <a:pt x="22" y="3"/>
                    <a:pt x="13" y="13"/>
                  </a:cubicBezTo>
                  <a:cubicBezTo>
                    <a:pt x="5" y="21"/>
                    <a:pt x="3" y="40"/>
                    <a:pt x="3" y="40"/>
                  </a:cubicBezTo>
                  <a:cubicBezTo>
                    <a:pt x="3" y="40"/>
                    <a:pt x="0" y="61"/>
                    <a:pt x="0" y="82"/>
                  </a:cubicBezTo>
                  <a:cubicBezTo>
                    <a:pt x="0" y="102"/>
                    <a:pt x="0" y="102"/>
                    <a:pt x="0" y="102"/>
                  </a:cubicBezTo>
                  <a:cubicBezTo>
                    <a:pt x="0" y="124"/>
                    <a:pt x="3" y="145"/>
                    <a:pt x="3" y="145"/>
                  </a:cubicBezTo>
                  <a:cubicBezTo>
                    <a:pt x="3" y="145"/>
                    <a:pt x="5" y="163"/>
                    <a:pt x="13" y="171"/>
                  </a:cubicBezTo>
                  <a:cubicBezTo>
                    <a:pt x="22" y="182"/>
                    <a:pt x="35" y="181"/>
                    <a:pt x="41" y="182"/>
                  </a:cubicBezTo>
                  <a:cubicBezTo>
                    <a:pt x="61" y="185"/>
                    <a:pt x="127" y="185"/>
                    <a:pt x="127" y="185"/>
                  </a:cubicBezTo>
                  <a:cubicBezTo>
                    <a:pt x="127" y="185"/>
                    <a:pt x="180" y="185"/>
                    <a:pt x="215" y="182"/>
                  </a:cubicBezTo>
                  <a:cubicBezTo>
                    <a:pt x="220" y="182"/>
                    <a:pt x="231" y="182"/>
                    <a:pt x="240" y="171"/>
                  </a:cubicBezTo>
                  <a:cubicBezTo>
                    <a:pt x="248" y="163"/>
                    <a:pt x="250" y="145"/>
                    <a:pt x="250" y="145"/>
                  </a:cubicBezTo>
                  <a:cubicBezTo>
                    <a:pt x="250" y="145"/>
                    <a:pt x="253" y="124"/>
                    <a:pt x="253" y="102"/>
                  </a:cubicBezTo>
                  <a:cubicBezTo>
                    <a:pt x="253" y="82"/>
                    <a:pt x="253" y="82"/>
                    <a:pt x="253" y="82"/>
                  </a:cubicBezTo>
                  <a:cubicBezTo>
                    <a:pt x="253" y="61"/>
                    <a:pt x="250" y="40"/>
                    <a:pt x="250" y="40"/>
                  </a:cubicBezTo>
                  <a:moveTo>
                    <a:pt x="100" y="127"/>
                  </a:moveTo>
                  <a:cubicBezTo>
                    <a:pt x="100" y="52"/>
                    <a:pt x="100" y="52"/>
                    <a:pt x="100" y="52"/>
                  </a:cubicBezTo>
                  <a:cubicBezTo>
                    <a:pt x="169" y="90"/>
                    <a:pt x="169" y="90"/>
                    <a:pt x="169" y="90"/>
                  </a:cubicBezTo>
                  <a:lnTo>
                    <a:pt x="100" y="127"/>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49" name="Freeform 54">
              <a:extLst>
                <a:ext uri="{FF2B5EF4-FFF2-40B4-BE49-F238E27FC236}">
                  <a16:creationId xmlns:a16="http://schemas.microsoft.com/office/drawing/2014/main" id="{C497F7C4-52CC-4ED6-A1C1-CE19470BF2BA}"/>
                </a:ext>
              </a:extLst>
            </p:cNvPr>
            <p:cNvSpPr>
              <a:spLocks noEditPoints="1"/>
            </p:cNvSpPr>
            <p:nvPr/>
          </p:nvSpPr>
          <p:spPr bwMode="auto">
            <a:xfrm>
              <a:off x="5510855" y="3899005"/>
              <a:ext cx="151100" cy="112927"/>
            </a:xfrm>
            <a:custGeom>
              <a:avLst/>
              <a:gdLst>
                <a:gd name="T0" fmla="*/ 78 w 78"/>
                <a:gd name="T1" fmla="*/ 13 h 58"/>
                <a:gd name="T2" fmla="*/ 75 w 78"/>
                <a:gd name="T3" fmla="*/ 5 h 58"/>
                <a:gd name="T4" fmla="*/ 67 w 78"/>
                <a:gd name="T5" fmla="*/ 1 h 58"/>
                <a:gd name="T6" fmla="*/ 39 w 78"/>
                <a:gd name="T7" fmla="*/ 0 h 58"/>
                <a:gd name="T8" fmla="*/ 39 w 78"/>
                <a:gd name="T9" fmla="*/ 0 h 58"/>
                <a:gd name="T10" fmla="*/ 12 w 78"/>
                <a:gd name="T11" fmla="*/ 1 h 58"/>
                <a:gd name="T12" fmla="*/ 4 w 78"/>
                <a:gd name="T13" fmla="*/ 5 h 58"/>
                <a:gd name="T14" fmla="*/ 1 w 78"/>
                <a:gd name="T15" fmla="*/ 13 h 58"/>
                <a:gd name="T16" fmla="*/ 0 w 78"/>
                <a:gd name="T17" fmla="*/ 26 h 58"/>
                <a:gd name="T18" fmla="*/ 0 w 78"/>
                <a:gd name="T19" fmla="*/ 32 h 58"/>
                <a:gd name="T20" fmla="*/ 1 w 78"/>
                <a:gd name="T21" fmla="*/ 45 h 58"/>
                <a:gd name="T22" fmla="*/ 4 w 78"/>
                <a:gd name="T23" fmla="*/ 53 h 58"/>
                <a:gd name="T24" fmla="*/ 13 w 78"/>
                <a:gd name="T25" fmla="*/ 57 h 58"/>
                <a:gd name="T26" fmla="*/ 39 w 78"/>
                <a:gd name="T27" fmla="*/ 58 h 58"/>
                <a:gd name="T28" fmla="*/ 67 w 78"/>
                <a:gd name="T29" fmla="*/ 57 h 58"/>
                <a:gd name="T30" fmla="*/ 75 w 78"/>
                <a:gd name="T31" fmla="*/ 53 h 58"/>
                <a:gd name="T32" fmla="*/ 78 w 78"/>
                <a:gd name="T33" fmla="*/ 45 h 58"/>
                <a:gd name="T34" fmla="*/ 78 w 78"/>
                <a:gd name="T35" fmla="*/ 32 h 58"/>
                <a:gd name="T36" fmla="*/ 78 w 78"/>
                <a:gd name="T37" fmla="*/ 26 h 58"/>
                <a:gd name="T38" fmla="*/ 78 w 78"/>
                <a:gd name="T39" fmla="*/ 13 h 58"/>
                <a:gd name="T40" fmla="*/ 31 w 78"/>
                <a:gd name="T41" fmla="*/ 40 h 58"/>
                <a:gd name="T42" fmla="*/ 31 w 78"/>
                <a:gd name="T43" fmla="*/ 17 h 58"/>
                <a:gd name="T44" fmla="*/ 52 w 78"/>
                <a:gd name="T45" fmla="*/ 28 h 58"/>
                <a:gd name="T46" fmla="*/ 31 w 78"/>
                <a:gd name="T47" fmla="*/ 4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8" h="58">
                  <a:moveTo>
                    <a:pt x="78" y="13"/>
                  </a:moveTo>
                  <a:cubicBezTo>
                    <a:pt x="78" y="13"/>
                    <a:pt x="77" y="7"/>
                    <a:pt x="75" y="5"/>
                  </a:cubicBezTo>
                  <a:cubicBezTo>
                    <a:pt x="72" y="1"/>
                    <a:pt x="68" y="1"/>
                    <a:pt x="67" y="1"/>
                  </a:cubicBezTo>
                  <a:cubicBezTo>
                    <a:pt x="56" y="0"/>
                    <a:pt x="39" y="0"/>
                    <a:pt x="39" y="0"/>
                  </a:cubicBezTo>
                  <a:cubicBezTo>
                    <a:pt x="39" y="0"/>
                    <a:pt x="39" y="0"/>
                    <a:pt x="39" y="0"/>
                  </a:cubicBezTo>
                  <a:cubicBezTo>
                    <a:pt x="39" y="0"/>
                    <a:pt x="23" y="0"/>
                    <a:pt x="12" y="1"/>
                  </a:cubicBezTo>
                  <a:cubicBezTo>
                    <a:pt x="10" y="1"/>
                    <a:pt x="7" y="1"/>
                    <a:pt x="4" y="5"/>
                  </a:cubicBezTo>
                  <a:cubicBezTo>
                    <a:pt x="2" y="7"/>
                    <a:pt x="1" y="13"/>
                    <a:pt x="1" y="13"/>
                  </a:cubicBezTo>
                  <a:cubicBezTo>
                    <a:pt x="1" y="13"/>
                    <a:pt x="0" y="19"/>
                    <a:pt x="0" y="26"/>
                  </a:cubicBezTo>
                  <a:cubicBezTo>
                    <a:pt x="0" y="32"/>
                    <a:pt x="0" y="32"/>
                    <a:pt x="0" y="32"/>
                  </a:cubicBezTo>
                  <a:cubicBezTo>
                    <a:pt x="0" y="39"/>
                    <a:pt x="1" y="45"/>
                    <a:pt x="1" y="45"/>
                  </a:cubicBezTo>
                  <a:cubicBezTo>
                    <a:pt x="1" y="45"/>
                    <a:pt x="2" y="51"/>
                    <a:pt x="4" y="53"/>
                  </a:cubicBezTo>
                  <a:cubicBezTo>
                    <a:pt x="7" y="57"/>
                    <a:pt x="11" y="57"/>
                    <a:pt x="13" y="57"/>
                  </a:cubicBezTo>
                  <a:cubicBezTo>
                    <a:pt x="19" y="58"/>
                    <a:pt x="39" y="58"/>
                    <a:pt x="39" y="58"/>
                  </a:cubicBezTo>
                  <a:cubicBezTo>
                    <a:pt x="39" y="58"/>
                    <a:pt x="56" y="58"/>
                    <a:pt x="67" y="57"/>
                  </a:cubicBezTo>
                  <a:cubicBezTo>
                    <a:pt x="68" y="57"/>
                    <a:pt x="72" y="57"/>
                    <a:pt x="75" y="53"/>
                  </a:cubicBezTo>
                  <a:cubicBezTo>
                    <a:pt x="77" y="51"/>
                    <a:pt x="78" y="45"/>
                    <a:pt x="78" y="45"/>
                  </a:cubicBezTo>
                  <a:cubicBezTo>
                    <a:pt x="78" y="45"/>
                    <a:pt x="78" y="39"/>
                    <a:pt x="78" y="32"/>
                  </a:cubicBezTo>
                  <a:cubicBezTo>
                    <a:pt x="78" y="26"/>
                    <a:pt x="78" y="26"/>
                    <a:pt x="78" y="26"/>
                  </a:cubicBezTo>
                  <a:cubicBezTo>
                    <a:pt x="78" y="19"/>
                    <a:pt x="78" y="13"/>
                    <a:pt x="78" y="13"/>
                  </a:cubicBezTo>
                  <a:moveTo>
                    <a:pt x="31" y="40"/>
                  </a:moveTo>
                  <a:cubicBezTo>
                    <a:pt x="31" y="17"/>
                    <a:pt x="31" y="17"/>
                    <a:pt x="31" y="17"/>
                  </a:cubicBezTo>
                  <a:cubicBezTo>
                    <a:pt x="52" y="28"/>
                    <a:pt x="52" y="28"/>
                    <a:pt x="52" y="28"/>
                  </a:cubicBezTo>
                  <a:lnTo>
                    <a:pt x="31" y="40"/>
                  </a:lnTo>
                  <a:close/>
                </a:path>
              </a:pathLst>
            </a:custGeom>
            <a:solidFill>
              <a:srgbClr val="CCCCC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50" name="Freeform 55">
              <a:extLst>
                <a:ext uri="{FF2B5EF4-FFF2-40B4-BE49-F238E27FC236}">
                  <a16:creationId xmlns:a16="http://schemas.microsoft.com/office/drawing/2014/main" id="{47AAE288-DB56-4DDB-A08A-96EA23CC0BE0}"/>
                </a:ext>
              </a:extLst>
            </p:cNvPr>
            <p:cNvSpPr>
              <a:spLocks noEditPoints="1"/>
            </p:cNvSpPr>
            <p:nvPr/>
          </p:nvSpPr>
          <p:spPr bwMode="auto">
            <a:xfrm>
              <a:off x="5641278" y="2496164"/>
              <a:ext cx="151100" cy="112927"/>
            </a:xfrm>
            <a:custGeom>
              <a:avLst/>
              <a:gdLst>
                <a:gd name="T0" fmla="*/ 77 w 78"/>
                <a:gd name="T1" fmla="*/ 13 h 58"/>
                <a:gd name="T2" fmla="*/ 74 w 78"/>
                <a:gd name="T3" fmla="*/ 5 h 58"/>
                <a:gd name="T4" fmla="*/ 66 w 78"/>
                <a:gd name="T5" fmla="*/ 1 h 58"/>
                <a:gd name="T6" fmla="*/ 39 w 78"/>
                <a:gd name="T7" fmla="*/ 0 h 58"/>
                <a:gd name="T8" fmla="*/ 39 w 78"/>
                <a:gd name="T9" fmla="*/ 0 h 58"/>
                <a:gd name="T10" fmla="*/ 11 w 78"/>
                <a:gd name="T11" fmla="*/ 1 h 58"/>
                <a:gd name="T12" fmla="*/ 4 w 78"/>
                <a:gd name="T13" fmla="*/ 5 h 58"/>
                <a:gd name="T14" fmla="*/ 0 w 78"/>
                <a:gd name="T15" fmla="*/ 13 h 58"/>
                <a:gd name="T16" fmla="*/ 0 w 78"/>
                <a:gd name="T17" fmla="*/ 26 h 58"/>
                <a:gd name="T18" fmla="*/ 0 w 78"/>
                <a:gd name="T19" fmla="*/ 32 h 58"/>
                <a:gd name="T20" fmla="*/ 0 w 78"/>
                <a:gd name="T21" fmla="*/ 45 h 58"/>
                <a:gd name="T22" fmla="*/ 4 w 78"/>
                <a:gd name="T23" fmla="*/ 53 h 58"/>
                <a:gd name="T24" fmla="*/ 12 w 78"/>
                <a:gd name="T25" fmla="*/ 57 h 58"/>
                <a:gd name="T26" fmla="*/ 39 w 78"/>
                <a:gd name="T27" fmla="*/ 58 h 58"/>
                <a:gd name="T28" fmla="*/ 66 w 78"/>
                <a:gd name="T29" fmla="*/ 57 h 58"/>
                <a:gd name="T30" fmla="*/ 74 w 78"/>
                <a:gd name="T31" fmla="*/ 53 h 58"/>
                <a:gd name="T32" fmla="*/ 77 w 78"/>
                <a:gd name="T33" fmla="*/ 45 h 58"/>
                <a:gd name="T34" fmla="*/ 78 w 78"/>
                <a:gd name="T35" fmla="*/ 32 h 58"/>
                <a:gd name="T36" fmla="*/ 78 w 78"/>
                <a:gd name="T37" fmla="*/ 26 h 58"/>
                <a:gd name="T38" fmla="*/ 77 w 78"/>
                <a:gd name="T39" fmla="*/ 13 h 58"/>
                <a:gd name="T40" fmla="*/ 31 w 78"/>
                <a:gd name="T41" fmla="*/ 40 h 58"/>
                <a:gd name="T42" fmla="*/ 31 w 78"/>
                <a:gd name="T43" fmla="*/ 17 h 58"/>
                <a:gd name="T44" fmla="*/ 52 w 78"/>
                <a:gd name="T45" fmla="*/ 28 h 58"/>
                <a:gd name="T46" fmla="*/ 31 w 78"/>
                <a:gd name="T47" fmla="*/ 4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8" h="58">
                  <a:moveTo>
                    <a:pt x="77" y="13"/>
                  </a:moveTo>
                  <a:cubicBezTo>
                    <a:pt x="77" y="13"/>
                    <a:pt x="77" y="7"/>
                    <a:pt x="74" y="5"/>
                  </a:cubicBezTo>
                  <a:cubicBezTo>
                    <a:pt x="71" y="1"/>
                    <a:pt x="68" y="1"/>
                    <a:pt x="66" y="1"/>
                  </a:cubicBezTo>
                  <a:cubicBezTo>
                    <a:pt x="55" y="0"/>
                    <a:pt x="39" y="0"/>
                    <a:pt x="39" y="0"/>
                  </a:cubicBezTo>
                  <a:cubicBezTo>
                    <a:pt x="39" y="0"/>
                    <a:pt x="39" y="0"/>
                    <a:pt x="39" y="0"/>
                  </a:cubicBezTo>
                  <a:cubicBezTo>
                    <a:pt x="39" y="0"/>
                    <a:pt x="22" y="0"/>
                    <a:pt x="11" y="1"/>
                  </a:cubicBezTo>
                  <a:cubicBezTo>
                    <a:pt x="10" y="1"/>
                    <a:pt x="7" y="1"/>
                    <a:pt x="4" y="5"/>
                  </a:cubicBezTo>
                  <a:cubicBezTo>
                    <a:pt x="1" y="7"/>
                    <a:pt x="0" y="13"/>
                    <a:pt x="0" y="13"/>
                  </a:cubicBezTo>
                  <a:cubicBezTo>
                    <a:pt x="0" y="13"/>
                    <a:pt x="0" y="19"/>
                    <a:pt x="0" y="26"/>
                  </a:cubicBezTo>
                  <a:cubicBezTo>
                    <a:pt x="0" y="32"/>
                    <a:pt x="0" y="32"/>
                    <a:pt x="0" y="32"/>
                  </a:cubicBezTo>
                  <a:cubicBezTo>
                    <a:pt x="0" y="39"/>
                    <a:pt x="0" y="45"/>
                    <a:pt x="0" y="45"/>
                  </a:cubicBezTo>
                  <a:cubicBezTo>
                    <a:pt x="0" y="45"/>
                    <a:pt x="1" y="51"/>
                    <a:pt x="4" y="53"/>
                  </a:cubicBezTo>
                  <a:cubicBezTo>
                    <a:pt x="7" y="57"/>
                    <a:pt x="10" y="57"/>
                    <a:pt x="12" y="57"/>
                  </a:cubicBezTo>
                  <a:cubicBezTo>
                    <a:pt x="19" y="58"/>
                    <a:pt x="39" y="58"/>
                    <a:pt x="39" y="58"/>
                  </a:cubicBezTo>
                  <a:cubicBezTo>
                    <a:pt x="39" y="58"/>
                    <a:pt x="55" y="58"/>
                    <a:pt x="66" y="57"/>
                  </a:cubicBezTo>
                  <a:cubicBezTo>
                    <a:pt x="68" y="57"/>
                    <a:pt x="71" y="57"/>
                    <a:pt x="74" y="53"/>
                  </a:cubicBezTo>
                  <a:cubicBezTo>
                    <a:pt x="77" y="51"/>
                    <a:pt x="77" y="45"/>
                    <a:pt x="77" y="45"/>
                  </a:cubicBezTo>
                  <a:cubicBezTo>
                    <a:pt x="77" y="45"/>
                    <a:pt x="78" y="39"/>
                    <a:pt x="78" y="32"/>
                  </a:cubicBezTo>
                  <a:cubicBezTo>
                    <a:pt x="78" y="26"/>
                    <a:pt x="78" y="26"/>
                    <a:pt x="78" y="26"/>
                  </a:cubicBezTo>
                  <a:cubicBezTo>
                    <a:pt x="78" y="19"/>
                    <a:pt x="77" y="13"/>
                    <a:pt x="77" y="13"/>
                  </a:cubicBezTo>
                  <a:moveTo>
                    <a:pt x="31" y="40"/>
                  </a:moveTo>
                  <a:cubicBezTo>
                    <a:pt x="31" y="17"/>
                    <a:pt x="31" y="17"/>
                    <a:pt x="31" y="17"/>
                  </a:cubicBezTo>
                  <a:cubicBezTo>
                    <a:pt x="52" y="28"/>
                    <a:pt x="52" y="28"/>
                    <a:pt x="52" y="28"/>
                  </a:cubicBezTo>
                  <a:lnTo>
                    <a:pt x="31" y="40"/>
                  </a:lnTo>
                  <a:close/>
                </a:path>
              </a:pathLst>
            </a:custGeom>
            <a:solidFill>
              <a:srgbClr val="CCCCC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51" name="Freeform 56">
              <a:extLst>
                <a:ext uri="{FF2B5EF4-FFF2-40B4-BE49-F238E27FC236}">
                  <a16:creationId xmlns:a16="http://schemas.microsoft.com/office/drawing/2014/main" id="{56DBCF72-6F3D-493A-85E8-EB5915B78498}"/>
                </a:ext>
              </a:extLst>
            </p:cNvPr>
            <p:cNvSpPr>
              <a:spLocks noEditPoints="1"/>
            </p:cNvSpPr>
            <p:nvPr/>
          </p:nvSpPr>
          <p:spPr bwMode="auto">
            <a:xfrm>
              <a:off x="4284562" y="3243710"/>
              <a:ext cx="151100" cy="112927"/>
            </a:xfrm>
            <a:custGeom>
              <a:avLst/>
              <a:gdLst>
                <a:gd name="T0" fmla="*/ 77 w 78"/>
                <a:gd name="T1" fmla="*/ 13 h 58"/>
                <a:gd name="T2" fmla="*/ 74 w 78"/>
                <a:gd name="T3" fmla="*/ 5 h 58"/>
                <a:gd name="T4" fmla="*/ 66 w 78"/>
                <a:gd name="T5" fmla="*/ 1 h 58"/>
                <a:gd name="T6" fmla="*/ 39 w 78"/>
                <a:gd name="T7" fmla="*/ 0 h 58"/>
                <a:gd name="T8" fmla="*/ 39 w 78"/>
                <a:gd name="T9" fmla="*/ 0 h 58"/>
                <a:gd name="T10" fmla="*/ 11 w 78"/>
                <a:gd name="T11" fmla="*/ 1 h 58"/>
                <a:gd name="T12" fmla="*/ 4 w 78"/>
                <a:gd name="T13" fmla="*/ 5 h 58"/>
                <a:gd name="T14" fmla="*/ 0 w 78"/>
                <a:gd name="T15" fmla="*/ 13 h 58"/>
                <a:gd name="T16" fmla="*/ 0 w 78"/>
                <a:gd name="T17" fmla="*/ 26 h 58"/>
                <a:gd name="T18" fmla="*/ 0 w 78"/>
                <a:gd name="T19" fmla="*/ 32 h 58"/>
                <a:gd name="T20" fmla="*/ 0 w 78"/>
                <a:gd name="T21" fmla="*/ 45 h 58"/>
                <a:gd name="T22" fmla="*/ 4 w 78"/>
                <a:gd name="T23" fmla="*/ 53 h 58"/>
                <a:gd name="T24" fmla="*/ 12 w 78"/>
                <a:gd name="T25" fmla="*/ 57 h 58"/>
                <a:gd name="T26" fmla="*/ 39 w 78"/>
                <a:gd name="T27" fmla="*/ 58 h 58"/>
                <a:gd name="T28" fmla="*/ 66 w 78"/>
                <a:gd name="T29" fmla="*/ 57 h 58"/>
                <a:gd name="T30" fmla="*/ 74 w 78"/>
                <a:gd name="T31" fmla="*/ 53 h 58"/>
                <a:gd name="T32" fmla="*/ 77 w 78"/>
                <a:gd name="T33" fmla="*/ 45 h 58"/>
                <a:gd name="T34" fmla="*/ 78 w 78"/>
                <a:gd name="T35" fmla="*/ 32 h 58"/>
                <a:gd name="T36" fmla="*/ 78 w 78"/>
                <a:gd name="T37" fmla="*/ 26 h 58"/>
                <a:gd name="T38" fmla="*/ 77 w 78"/>
                <a:gd name="T39" fmla="*/ 13 h 58"/>
                <a:gd name="T40" fmla="*/ 31 w 78"/>
                <a:gd name="T41" fmla="*/ 40 h 58"/>
                <a:gd name="T42" fmla="*/ 31 w 78"/>
                <a:gd name="T43" fmla="*/ 17 h 58"/>
                <a:gd name="T44" fmla="*/ 52 w 78"/>
                <a:gd name="T45" fmla="*/ 28 h 58"/>
                <a:gd name="T46" fmla="*/ 31 w 78"/>
                <a:gd name="T47" fmla="*/ 4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8" h="58">
                  <a:moveTo>
                    <a:pt x="77" y="13"/>
                  </a:moveTo>
                  <a:cubicBezTo>
                    <a:pt x="77" y="13"/>
                    <a:pt x="77" y="7"/>
                    <a:pt x="74" y="5"/>
                  </a:cubicBezTo>
                  <a:cubicBezTo>
                    <a:pt x="71" y="1"/>
                    <a:pt x="68" y="1"/>
                    <a:pt x="66" y="1"/>
                  </a:cubicBezTo>
                  <a:cubicBezTo>
                    <a:pt x="55" y="0"/>
                    <a:pt x="39" y="0"/>
                    <a:pt x="39" y="0"/>
                  </a:cubicBezTo>
                  <a:cubicBezTo>
                    <a:pt x="39" y="0"/>
                    <a:pt x="39" y="0"/>
                    <a:pt x="39" y="0"/>
                  </a:cubicBezTo>
                  <a:cubicBezTo>
                    <a:pt x="39" y="0"/>
                    <a:pt x="22" y="0"/>
                    <a:pt x="11" y="1"/>
                  </a:cubicBezTo>
                  <a:cubicBezTo>
                    <a:pt x="10" y="1"/>
                    <a:pt x="7" y="1"/>
                    <a:pt x="4" y="5"/>
                  </a:cubicBezTo>
                  <a:cubicBezTo>
                    <a:pt x="1" y="7"/>
                    <a:pt x="0" y="13"/>
                    <a:pt x="0" y="13"/>
                  </a:cubicBezTo>
                  <a:cubicBezTo>
                    <a:pt x="0" y="13"/>
                    <a:pt x="0" y="19"/>
                    <a:pt x="0" y="26"/>
                  </a:cubicBezTo>
                  <a:cubicBezTo>
                    <a:pt x="0" y="32"/>
                    <a:pt x="0" y="32"/>
                    <a:pt x="0" y="32"/>
                  </a:cubicBezTo>
                  <a:cubicBezTo>
                    <a:pt x="0" y="39"/>
                    <a:pt x="0" y="45"/>
                    <a:pt x="0" y="45"/>
                  </a:cubicBezTo>
                  <a:cubicBezTo>
                    <a:pt x="0" y="45"/>
                    <a:pt x="1" y="51"/>
                    <a:pt x="4" y="53"/>
                  </a:cubicBezTo>
                  <a:cubicBezTo>
                    <a:pt x="7" y="57"/>
                    <a:pt x="10" y="57"/>
                    <a:pt x="12" y="57"/>
                  </a:cubicBezTo>
                  <a:cubicBezTo>
                    <a:pt x="19" y="58"/>
                    <a:pt x="39" y="58"/>
                    <a:pt x="39" y="58"/>
                  </a:cubicBezTo>
                  <a:cubicBezTo>
                    <a:pt x="39" y="58"/>
                    <a:pt x="55" y="58"/>
                    <a:pt x="66" y="57"/>
                  </a:cubicBezTo>
                  <a:cubicBezTo>
                    <a:pt x="68" y="57"/>
                    <a:pt x="71" y="57"/>
                    <a:pt x="74" y="53"/>
                  </a:cubicBezTo>
                  <a:cubicBezTo>
                    <a:pt x="77" y="51"/>
                    <a:pt x="77" y="45"/>
                    <a:pt x="77" y="45"/>
                  </a:cubicBezTo>
                  <a:cubicBezTo>
                    <a:pt x="77" y="45"/>
                    <a:pt x="78" y="39"/>
                    <a:pt x="78" y="32"/>
                  </a:cubicBezTo>
                  <a:cubicBezTo>
                    <a:pt x="78" y="26"/>
                    <a:pt x="78" y="26"/>
                    <a:pt x="78" y="26"/>
                  </a:cubicBezTo>
                  <a:cubicBezTo>
                    <a:pt x="78" y="19"/>
                    <a:pt x="77" y="13"/>
                    <a:pt x="77" y="13"/>
                  </a:cubicBezTo>
                  <a:moveTo>
                    <a:pt x="31" y="40"/>
                  </a:moveTo>
                  <a:cubicBezTo>
                    <a:pt x="31" y="17"/>
                    <a:pt x="31" y="17"/>
                    <a:pt x="31" y="17"/>
                  </a:cubicBezTo>
                  <a:cubicBezTo>
                    <a:pt x="52" y="28"/>
                    <a:pt x="52" y="28"/>
                    <a:pt x="52" y="28"/>
                  </a:cubicBezTo>
                  <a:lnTo>
                    <a:pt x="31" y="40"/>
                  </a:lnTo>
                  <a:close/>
                </a:path>
              </a:pathLst>
            </a:custGeom>
            <a:solidFill>
              <a:srgbClr val="CCCCC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52" name="Freeform 57">
              <a:extLst>
                <a:ext uri="{FF2B5EF4-FFF2-40B4-BE49-F238E27FC236}">
                  <a16:creationId xmlns:a16="http://schemas.microsoft.com/office/drawing/2014/main" id="{5131E1BC-0C6A-4A3D-ADE3-A9A2DF6547A9}"/>
                </a:ext>
              </a:extLst>
            </p:cNvPr>
            <p:cNvSpPr>
              <a:spLocks/>
            </p:cNvSpPr>
            <p:nvPr/>
          </p:nvSpPr>
          <p:spPr bwMode="auto">
            <a:xfrm>
              <a:off x="4028488" y="2402323"/>
              <a:ext cx="206768" cy="147919"/>
            </a:xfrm>
            <a:custGeom>
              <a:avLst/>
              <a:gdLst>
                <a:gd name="T0" fmla="*/ 0 w 130"/>
                <a:gd name="T1" fmla="*/ 43 h 93"/>
                <a:gd name="T2" fmla="*/ 76 w 130"/>
                <a:gd name="T3" fmla="*/ 93 h 93"/>
                <a:gd name="T4" fmla="*/ 130 w 130"/>
                <a:gd name="T5" fmla="*/ 48 h 93"/>
                <a:gd name="T6" fmla="*/ 53 w 130"/>
                <a:gd name="T7" fmla="*/ 0 h 93"/>
                <a:gd name="T8" fmla="*/ 0 w 130"/>
                <a:gd name="T9" fmla="*/ 43 h 93"/>
              </a:gdLst>
              <a:ahLst/>
              <a:cxnLst>
                <a:cxn ang="0">
                  <a:pos x="T0" y="T1"/>
                </a:cxn>
                <a:cxn ang="0">
                  <a:pos x="T2" y="T3"/>
                </a:cxn>
                <a:cxn ang="0">
                  <a:pos x="T4" y="T5"/>
                </a:cxn>
                <a:cxn ang="0">
                  <a:pos x="T6" y="T7"/>
                </a:cxn>
                <a:cxn ang="0">
                  <a:pos x="T8" y="T9"/>
                </a:cxn>
              </a:cxnLst>
              <a:rect l="0" t="0" r="r" b="b"/>
              <a:pathLst>
                <a:path w="130" h="93">
                  <a:moveTo>
                    <a:pt x="0" y="43"/>
                  </a:moveTo>
                  <a:lnTo>
                    <a:pt x="76" y="93"/>
                  </a:lnTo>
                  <a:lnTo>
                    <a:pt x="130" y="48"/>
                  </a:lnTo>
                  <a:lnTo>
                    <a:pt x="53" y="0"/>
                  </a:lnTo>
                  <a:lnTo>
                    <a:pt x="0" y="43"/>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53" name="Freeform 58">
              <a:extLst>
                <a:ext uri="{FF2B5EF4-FFF2-40B4-BE49-F238E27FC236}">
                  <a16:creationId xmlns:a16="http://schemas.microsoft.com/office/drawing/2014/main" id="{65269A12-E42D-499B-8696-956DE33F3E3F}"/>
                </a:ext>
              </a:extLst>
            </p:cNvPr>
            <p:cNvSpPr>
              <a:spLocks/>
            </p:cNvSpPr>
            <p:nvPr/>
          </p:nvSpPr>
          <p:spPr bwMode="auto">
            <a:xfrm>
              <a:off x="4028488" y="2254405"/>
              <a:ext cx="206768" cy="147919"/>
            </a:xfrm>
            <a:custGeom>
              <a:avLst/>
              <a:gdLst>
                <a:gd name="T0" fmla="*/ 76 w 130"/>
                <a:gd name="T1" fmla="*/ 0 h 93"/>
                <a:gd name="T2" fmla="*/ 0 w 130"/>
                <a:gd name="T3" fmla="*/ 50 h 93"/>
                <a:gd name="T4" fmla="*/ 53 w 130"/>
                <a:gd name="T5" fmla="*/ 93 h 93"/>
                <a:gd name="T6" fmla="*/ 130 w 130"/>
                <a:gd name="T7" fmla="*/ 45 h 93"/>
                <a:gd name="T8" fmla="*/ 76 w 130"/>
                <a:gd name="T9" fmla="*/ 0 h 93"/>
              </a:gdLst>
              <a:ahLst/>
              <a:cxnLst>
                <a:cxn ang="0">
                  <a:pos x="T0" y="T1"/>
                </a:cxn>
                <a:cxn ang="0">
                  <a:pos x="T2" y="T3"/>
                </a:cxn>
                <a:cxn ang="0">
                  <a:pos x="T4" y="T5"/>
                </a:cxn>
                <a:cxn ang="0">
                  <a:pos x="T6" y="T7"/>
                </a:cxn>
                <a:cxn ang="0">
                  <a:pos x="T8" y="T9"/>
                </a:cxn>
              </a:cxnLst>
              <a:rect l="0" t="0" r="r" b="b"/>
              <a:pathLst>
                <a:path w="130" h="93">
                  <a:moveTo>
                    <a:pt x="76" y="0"/>
                  </a:moveTo>
                  <a:lnTo>
                    <a:pt x="0" y="50"/>
                  </a:lnTo>
                  <a:lnTo>
                    <a:pt x="53" y="93"/>
                  </a:lnTo>
                  <a:lnTo>
                    <a:pt x="130" y="45"/>
                  </a:lnTo>
                  <a:lnTo>
                    <a:pt x="76" y="0"/>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54" name="Freeform 59">
              <a:extLst>
                <a:ext uri="{FF2B5EF4-FFF2-40B4-BE49-F238E27FC236}">
                  <a16:creationId xmlns:a16="http://schemas.microsoft.com/office/drawing/2014/main" id="{B74E4122-614F-4784-AF0C-CF5654DA59E8}"/>
                </a:ext>
              </a:extLst>
            </p:cNvPr>
            <p:cNvSpPr>
              <a:spLocks/>
            </p:cNvSpPr>
            <p:nvPr/>
          </p:nvSpPr>
          <p:spPr bwMode="auto">
            <a:xfrm>
              <a:off x="4235256" y="2254405"/>
              <a:ext cx="208359" cy="147919"/>
            </a:xfrm>
            <a:custGeom>
              <a:avLst/>
              <a:gdLst>
                <a:gd name="T0" fmla="*/ 54 w 131"/>
                <a:gd name="T1" fmla="*/ 0 h 93"/>
                <a:gd name="T2" fmla="*/ 0 w 131"/>
                <a:gd name="T3" fmla="*/ 45 h 93"/>
                <a:gd name="T4" fmla="*/ 77 w 131"/>
                <a:gd name="T5" fmla="*/ 93 h 93"/>
                <a:gd name="T6" fmla="*/ 131 w 131"/>
                <a:gd name="T7" fmla="*/ 50 h 93"/>
                <a:gd name="T8" fmla="*/ 54 w 131"/>
                <a:gd name="T9" fmla="*/ 0 h 93"/>
              </a:gdLst>
              <a:ahLst/>
              <a:cxnLst>
                <a:cxn ang="0">
                  <a:pos x="T0" y="T1"/>
                </a:cxn>
                <a:cxn ang="0">
                  <a:pos x="T2" y="T3"/>
                </a:cxn>
                <a:cxn ang="0">
                  <a:pos x="T4" y="T5"/>
                </a:cxn>
                <a:cxn ang="0">
                  <a:pos x="T6" y="T7"/>
                </a:cxn>
                <a:cxn ang="0">
                  <a:pos x="T8" y="T9"/>
                </a:cxn>
              </a:cxnLst>
              <a:rect l="0" t="0" r="r" b="b"/>
              <a:pathLst>
                <a:path w="131" h="93">
                  <a:moveTo>
                    <a:pt x="54" y="0"/>
                  </a:moveTo>
                  <a:lnTo>
                    <a:pt x="0" y="45"/>
                  </a:lnTo>
                  <a:lnTo>
                    <a:pt x="77" y="93"/>
                  </a:lnTo>
                  <a:lnTo>
                    <a:pt x="131" y="50"/>
                  </a:lnTo>
                  <a:lnTo>
                    <a:pt x="54" y="0"/>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55" name="Freeform 60">
              <a:extLst>
                <a:ext uri="{FF2B5EF4-FFF2-40B4-BE49-F238E27FC236}">
                  <a16:creationId xmlns:a16="http://schemas.microsoft.com/office/drawing/2014/main" id="{C6909015-6F66-44DF-A59D-E2C9614036C8}"/>
                </a:ext>
              </a:extLst>
            </p:cNvPr>
            <p:cNvSpPr>
              <a:spLocks/>
            </p:cNvSpPr>
            <p:nvPr/>
          </p:nvSpPr>
          <p:spPr bwMode="auto">
            <a:xfrm>
              <a:off x="4235256" y="2402323"/>
              <a:ext cx="208359" cy="147919"/>
            </a:xfrm>
            <a:custGeom>
              <a:avLst/>
              <a:gdLst>
                <a:gd name="T0" fmla="*/ 54 w 131"/>
                <a:gd name="T1" fmla="*/ 93 h 93"/>
                <a:gd name="T2" fmla="*/ 131 w 131"/>
                <a:gd name="T3" fmla="*/ 43 h 93"/>
                <a:gd name="T4" fmla="*/ 77 w 131"/>
                <a:gd name="T5" fmla="*/ 0 h 93"/>
                <a:gd name="T6" fmla="*/ 0 w 131"/>
                <a:gd name="T7" fmla="*/ 48 h 93"/>
                <a:gd name="T8" fmla="*/ 54 w 131"/>
                <a:gd name="T9" fmla="*/ 93 h 93"/>
              </a:gdLst>
              <a:ahLst/>
              <a:cxnLst>
                <a:cxn ang="0">
                  <a:pos x="T0" y="T1"/>
                </a:cxn>
                <a:cxn ang="0">
                  <a:pos x="T2" y="T3"/>
                </a:cxn>
                <a:cxn ang="0">
                  <a:pos x="T4" y="T5"/>
                </a:cxn>
                <a:cxn ang="0">
                  <a:pos x="T6" y="T7"/>
                </a:cxn>
                <a:cxn ang="0">
                  <a:pos x="T8" y="T9"/>
                </a:cxn>
              </a:cxnLst>
              <a:rect l="0" t="0" r="r" b="b"/>
              <a:pathLst>
                <a:path w="131" h="93">
                  <a:moveTo>
                    <a:pt x="54" y="93"/>
                  </a:moveTo>
                  <a:lnTo>
                    <a:pt x="131" y="43"/>
                  </a:lnTo>
                  <a:lnTo>
                    <a:pt x="77" y="0"/>
                  </a:lnTo>
                  <a:lnTo>
                    <a:pt x="0" y="48"/>
                  </a:lnTo>
                  <a:lnTo>
                    <a:pt x="54" y="93"/>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56" name="Freeform 61">
              <a:extLst>
                <a:ext uri="{FF2B5EF4-FFF2-40B4-BE49-F238E27FC236}">
                  <a16:creationId xmlns:a16="http://schemas.microsoft.com/office/drawing/2014/main" id="{704B8DC9-B4DA-43AD-9BE3-12BDC6518D01}"/>
                </a:ext>
              </a:extLst>
            </p:cNvPr>
            <p:cNvSpPr>
              <a:spLocks/>
            </p:cNvSpPr>
            <p:nvPr/>
          </p:nvSpPr>
          <p:spPr bwMode="auto">
            <a:xfrm>
              <a:off x="4112786" y="2494573"/>
              <a:ext cx="244940" cy="147919"/>
            </a:xfrm>
            <a:custGeom>
              <a:avLst/>
              <a:gdLst>
                <a:gd name="T0" fmla="*/ 154 w 154"/>
                <a:gd name="T1" fmla="*/ 41 h 93"/>
                <a:gd name="T2" fmla="*/ 153 w 154"/>
                <a:gd name="T3" fmla="*/ 24 h 93"/>
                <a:gd name="T4" fmla="*/ 131 w 154"/>
                <a:gd name="T5" fmla="*/ 41 h 93"/>
                <a:gd name="T6" fmla="*/ 75 w 154"/>
                <a:gd name="T7" fmla="*/ 0 h 93"/>
                <a:gd name="T8" fmla="*/ 23 w 154"/>
                <a:gd name="T9" fmla="*/ 47 h 93"/>
                <a:gd name="T10" fmla="*/ 0 w 154"/>
                <a:gd name="T11" fmla="*/ 34 h 93"/>
                <a:gd name="T12" fmla="*/ 1 w 154"/>
                <a:gd name="T13" fmla="*/ 51 h 93"/>
                <a:gd name="T14" fmla="*/ 81 w 154"/>
                <a:gd name="T15" fmla="*/ 93 h 93"/>
                <a:gd name="T16" fmla="*/ 154 w 154"/>
                <a:gd name="T17" fmla="*/ 41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4" h="93">
                  <a:moveTo>
                    <a:pt x="154" y="41"/>
                  </a:moveTo>
                  <a:lnTo>
                    <a:pt x="153" y="24"/>
                  </a:lnTo>
                  <a:lnTo>
                    <a:pt x="131" y="41"/>
                  </a:lnTo>
                  <a:lnTo>
                    <a:pt x="75" y="0"/>
                  </a:lnTo>
                  <a:lnTo>
                    <a:pt x="23" y="47"/>
                  </a:lnTo>
                  <a:lnTo>
                    <a:pt x="0" y="34"/>
                  </a:lnTo>
                  <a:lnTo>
                    <a:pt x="1" y="51"/>
                  </a:lnTo>
                  <a:lnTo>
                    <a:pt x="81" y="93"/>
                  </a:lnTo>
                  <a:lnTo>
                    <a:pt x="154" y="41"/>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57" name="Freeform 62">
              <a:extLst>
                <a:ext uri="{FF2B5EF4-FFF2-40B4-BE49-F238E27FC236}">
                  <a16:creationId xmlns:a16="http://schemas.microsoft.com/office/drawing/2014/main" id="{5E228EB5-B536-4F2B-8349-67D043C4798D}"/>
                </a:ext>
              </a:extLst>
            </p:cNvPr>
            <p:cNvSpPr>
              <a:spLocks/>
            </p:cNvSpPr>
            <p:nvPr/>
          </p:nvSpPr>
          <p:spPr bwMode="auto">
            <a:xfrm>
              <a:off x="6516065" y="4175756"/>
              <a:ext cx="66802" cy="46125"/>
            </a:xfrm>
            <a:custGeom>
              <a:avLst/>
              <a:gdLst>
                <a:gd name="T0" fmla="*/ 0 w 42"/>
                <a:gd name="T1" fmla="*/ 13 h 29"/>
                <a:gd name="T2" fmla="*/ 25 w 42"/>
                <a:gd name="T3" fmla="*/ 29 h 29"/>
                <a:gd name="T4" fmla="*/ 42 w 42"/>
                <a:gd name="T5" fmla="*/ 16 h 29"/>
                <a:gd name="T6" fmla="*/ 17 w 42"/>
                <a:gd name="T7" fmla="*/ 0 h 29"/>
                <a:gd name="T8" fmla="*/ 0 w 42"/>
                <a:gd name="T9" fmla="*/ 13 h 29"/>
              </a:gdLst>
              <a:ahLst/>
              <a:cxnLst>
                <a:cxn ang="0">
                  <a:pos x="T0" y="T1"/>
                </a:cxn>
                <a:cxn ang="0">
                  <a:pos x="T2" y="T3"/>
                </a:cxn>
                <a:cxn ang="0">
                  <a:pos x="T4" y="T5"/>
                </a:cxn>
                <a:cxn ang="0">
                  <a:pos x="T6" y="T7"/>
                </a:cxn>
                <a:cxn ang="0">
                  <a:pos x="T8" y="T9"/>
                </a:cxn>
              </a:cxnLst>
              <a:rect l="0" t="0" r="r" b="b"/>
              <a:pathLst>
                <a:path w="42" h="29">
                  <a:moveTo>
                    <a:pt x="0" y="13"/>
                  </a:moveTo>
                  <a:lnTo>
                    <a:pt x="25" y="29"/>
                  </a:lnTo>
                  <a:lnTo>
                    <a:pt x="42" y="16"/>
                  </a:lnTo>
                  <a:lnTo>
                    <a:pt x="17" y="0"/>
                  </a:lnTo>
                  <a:lnTo>
                    <a:pt x="0" y="13"/>
                  </a:lnTo>
                  <a:close/>
                </a:path>
              </a:pathLst>
            </a:custGeom>
            <a:solidFill>
              <a:srgbClr val="CCCCC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58" name="Freeform 63">
              <a:extLst>
                <a:ext uri="{FF2B5EF4-FFF2-40B4-BE49-F238E27FC236}">
                  <a16:creationId xmlns:a16="http://schemas.microsoft.com/office/drawing/2014/main" id="{F3513663-C010-4DA3-B58F-D91A4B2757C4}"/>
                </a:ext>
              </a:extLst>
            </p:cNvPr>
            <p:cNvSpPr>
              <a:spLocks/>
            </p:cNvSpPr>
            <p:nvPr/>
          </p:nvSpPr>
          <p:spPr bwMode="auto">
            <a:xfrm>
              <a:off x="6516065" y="4128040"/>
              <a:ext cx="66802" cy="47715"/>
            </a:xfrm>
            <a:custGeom>
              <a:avLst/>
              <a:gdLst>
                <a:gd name="T0" fmla="*/ 25 w 42"/>
                <a:gd name="T1" fmla="*/ 0 h 30"/>
                <a:gd name="T2" fmla="*/ 0 w 42"/>
                <a:gd name="T3" fmla="*/ 16 h 30"/>
                <a:gd name="T4" fmla="*/ 17 w 42"/>
                <a:gd name="T5" fmla="*/ 30 h 30"/>
                <a:gd name="T6" fmla="*/ 42 w 42"/>
                <a:gd name="T7" fmla="*/ 15 h 30"/>
                <a:gd name="T8" fmla="*/ 25 w 42"/>
                <a:gd name="T9" fmla="*/ 0 h 30"/>
              </a:gdLst>
              <a:ahLst/>
              <a:cxnLst>
                <a:cxn ang="0">
                  <a:pos x="T0" y="T1"/>
                </a:cxn>
                <a:cxn ang="0">
                  <a:pos x="T2" y="T3"/>
                </a:cxn>
                <a:cxn ang="0">
                  <a:pos x="T4" y="T5"/>
                </a:cxn>
                <a:cxn ang="0">
                  <a:pos x="T6" y="T7"/>
                </a:cxn>
                <a:cxn ang="0">
                  <a:pos x="T8" y="T9"/>
                </a:cxn>
              </a:cxnLst>
              <a:rect l="0" t="0" r="r" b="b"/>
              <a:pathLst>
                <a:path w="42" h="30">
                  <a:moveTo>
                    <a:pt x="25" y="0"/>
                  </a:moveTo>
                  <a:lnTo>
                    <a:pt x="0" y="16"/>
                  </a:lnTo>
                  <a:lnTo>
                    <a:pt x="17" y="30"/>
                  </a:lnTo>
                  <a:lnTo>
                    <a:pt x="42" y="15"/>
                  </a:lnTo>
                  <a:lnTo>
                    <a:pt x="25" y="0"/>
                  </a:lnTo>
                  <a:close/>
                </a:path>
              </a:pathLst>
            </a:custGeom>
            <a:solidFill>
              <a:srgbClr val="CCCCC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59" name="Freeform 64">
              <a:extLst>
                <a:ext uri="{FF2B5EF4-FFF2-40B4-BE49-F238E27FC236}">
                  <a16:creationId xmlns:a16="http://schemas.microsoft.com/office/drawing/2014/main" id="{8627BF25-1AF3-4996-9B21-A292ED8580E9}"/>
                </a:ext>
              </a:extLst>
            </p:cNvPr>
            <p:cNvSpPr>
              <a:spLocks/>
            </p:cNvSpPr>
            <p:nvPr/>
          </p:nvSpPr>
          <p:spPr bwMode="auto">
            <a:xfrm>
              <a:off x="6582867" y="4128040"/>
              <a:ext cx="63621" cy="47715"/>
            </a:xfrm>
            <a:custGeom>
              <a:avLst/>
              <a:gdLst>
                <a:gd name="T0" fmla="*/ 17 w 40"/>
                <a:gd name="T1" fmla="*/ 0 h 30"/>
                <a:gd name="T2" fmla="*/ 0 w 40"/>
                <a:gd name="T3" fmla="*/ 15 h 30"/>
                <a:gd name="T4" fmla="*/ 24 w 40"/>
                <a:gd name="T5" fmla="*/ 30 h 30"/>
                <a:gd name="T6" fmla="*/ 40 w 40"/>
                <a:gd name="T7" fmla="*/ 16 h 30"/>
                <a:gd name="T8" fmla="*/ 17 w 40"/>
                <a:gd name="T9" fmla="*/ 0 h 30"/>
              </a:gdLst>
              <a:ahLst/>
              <a:cxnLst>
                <a:cxn ang="0">
                  <a:pos x="T0" y="T1"/>
                </a:cxn>
                <a:cxn ang="0">
                  <a:pos x="T2" y="T3"/>
                </a:cxn>
                <a:cxn ang="0">
                  <a:pos x="T4" y="T5"/>
                </a:cxn>
                <a:cxn ang="0">
                  <a:pos x="T6" y="T7"/>
                </a:cxn>
                <a:cxn ang="0">
                  <a:pos x="T8" y="T9"/>
                </a:cxn>
              </a:cxnLst>
              <a:rect l="0" t="0" r="r" b="b"/>
              <a:pathLst>
                <a:path w="40" h="30">
                  <a:moveTo>
                    <a:pt x="17" y="0"/>
                  </a:moveTo>
                  <a:lnTo>
                    <a:pt x="0" y="15"/>
                  </a:lnTo>
                  <a:lnTo>
                    <a:pt x="24" y="30"/>
                  </a:lnTo>
                  <a:lnTo>
                    <a:pt x="40" y="16"/>
                  </a:lnTo>
                  <a:lnTo>
                    <a:pt x="17" y="0"/>
                  </a:lnTo>
                  <a:close/>
                </a:path>
              </a:pathLst>
            </a:custGeom>
            <a:solidFill>
              <a:srgbClr val="CCCCC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60" name="Freeform 65">
              <a:extLst>
                <a:ext uri="{FF2B5EF4-FFF2-40B4-BE49-F238E27FC236}">
                  <a16:creationId xmlns:a16="http://schemas.microsoft.com/office/drawing/2014/main" id="{C332B167-CC35-4158-BE15-E040FFAA15C1}"/>
                </a:ext>
              </a:extLst>
            </p:cNvPr>
            <p:cNvSpPr>
              <a:spLocks/>
            </p:cNvSpPr>
            <p:nvPr/>
          </p:nvSpPr>
          <p:spPr bwMode="auto">
            <a:xfrm>
              <a:off x="6582867" y="4175756"/>
              <a:ext cx="63621" cy="46125"/>
            </a:xfrm>
            <a:custGeom>
              <a:avLst/>
              <a:gdLst>
                <a:gd name="T0" fmla="*/ 17 w 40"/>
                <a:gd name="T1" fmla="*/ 29 h 29"/>
                <a:gd name="T2" fmla="*/ 40 w 40"/>
                <a:gd name="T3" fmla="*/ 13 h 29"/>
                <a:gd name="T4" fmla="*/ 24 w 40"/>
                <a:gd name="T5" fmla="*/ 0 h 29"/>
                <a:gd name="T6" fmla="*/ 0 w 40"/>
                <a:gd name="T7" fmla="*/ 16 h 29"/>
                <a:gd name="T8" fmla="*/ 17 w 40"/>
                <a:gd name="T9" fmla="*/ 29 h 29"/>
              </a:gdLst>
              <a:ahLst/>
              <a:cxnLst>
                <a:cxn ang="0">
                  <a:pos x="T0" y="T1"/>
                </a:cxn>
                <a:cxn ang="0">
                  <a:pos x="T2" y="T3"/>
                </a:cxn>
                <a:cxn ang="0">
                  <a:pos x="T4" y="T5"/>
                </a:cxn>
                <a:cxn ang="0">
                  <a:pos x="T6" y="T7"/>
                </a:cxn>
                <a:cxn ang="0">
                  <a:pos x="T8" y="T9"/>
                </a:cxn>
              </a:cxnLst>
              <a:rect l="0" t="0" r="r" b="b"/>
              <a:pathLst>
                <a:path w="40" h="29">
                  <a:moveTo>
                    <a:pt x="17" y="29"/>
                  </a:moveTo>
                  <a:lnTo>
                    <a:pt x="40" y="13"/>
                  </a:lnTo>
                  <a:lnTo>
                    <a:pt x="24" y="0"/>
                  </a:lnTo>
                  <a:lnTo>
                    <a:pt x="0" y="16"/>
                  </a:lnTo>
                  <a:lnTo>
                    <a:pt x="17" y="29"/>
                  </a:lnTo>
                  <a:close/>
                </a:path>
              </a:pathLst>
            </a:custGeom>
            <a:solidFill>
              <a:srgbClr val="CCCCC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61" name="Freeform 66">
              <a:extLst>
                <a:ext uri="{FF2B5EF4-FFF2-40B4-BE49-F238E27FC236}">
                  <a16:creationId xmlns:a16="http://schemas.microsoft.com/office/drawing/2014/main" id="{0B5DD416-F269-4B6B-B2CC-668570FD4B48}"/>
                </a:ext>
              </a:extLst>
            </p:cNvPr>
            <p:cNvSpPr>
              <a:spLocks/>
            </p:cNvSpPr>
            <p:nvPr/>
          </p:nvSpPr>
          <p:spPr bwMode="auto">
            <a:xfrm>
              <a:off x="6543104" y="4204385"/>
              <a:ext cx="77936" cy="47715"/>
            </a:xfrm>
            <a:custGeom>
              <a:avLst/>
              <a:gdLst>
                <a:gd name="T0" fmla="*/ 49 w 49"/>
                <a:gd name="T1" fmla="*/ 14 h 30"/>
                <a:gd name="T2" fmla="*/ 48 w 49"/>
                <a:gd name="T3" fmla="*/ 9 h 30"/>
                <a:gd name="T4" fmla="*/ 42 w 49"/>
                <a:gd name="T5" fmla="*/ 14 h 30"/>
                <a:gd name="T6" fmla="*/ 24 w 49"/>
                <a:gd name="T7" fmla="*/ 0 h 30"/>
                <a:gd name="T8" fmla="*/ 8 w 49"/>
                <a:gd name="T9" fmla="*/ 16 h 30"/>
                <a:gd name="T10" fmla="*/ 0 w 49"/>
                <a:gd name="T11" fmla="*/ 11 h 30"/>
                <a:gd name="T12" fmla="*/ 0 w 49"/>
                <a:gd name="T13" fmla="*/ 16 h 30"/>
                <a:gd name="T14" fmla="*/ 26 w 49"/>
                <a:gd name="T15" fmla="*/ 30 h 30"/>
                <a:gd name="T16" fmla="*/ 49 w 49"/>
                <a:gd name="T17" fmla="*/ 14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30">
                  <a:moveTo>
                    <a:pt x="49" y="14"/>
                  </a:moveTo>
                  <a:lnTo>
                    <a:pt x="48" y="9"/>
                  </a:lnTo>
                  <a:lnTo>
                    <a:pt x="42" y="14"/>
                  </a:lnTo>
                  <a:lnTo>
                    <a:pt x="24" y="0"/>
                  </a:lnTo>
                  <a:lnTo>
                    <a:pt x="8" y="16"/>
                  </a:lnTo>
                  <a:lnTo>
                    <a:pt x="0" y="11"/>
                  </a:lnTo>
                  <a:lnTo>
                    <a:pt x="0" y="16"/>
                  </a:lnTo>
                  <a:lnTo>
                    <a:pt x="26" y="30"/>
                  </a:lnTo>
                  <a:lnTo>
                    <a:pt x="49" y="14"/>
                  </a:lnTo>
                  <a:close/>
                </a:path>
              </a:pathLst>
            </a:custGeom>
            <a:solidFill>
              <a:srgbClr val="CCCCC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62" name="Freeform 67">
              <a:extLst>
                <a:ext uri="{FF2B5EF4-FFF2-40B4-BE49-F238E27FC236}">
                  <a16:creationId xmlns:a16="http://schemas.microsoft.com/office/drawing/2014/main" id="{43AA0DFC-19F7-4D8F-A338-F93B6C0729F1}"/>
                </a:ext>
              </a:extLst>
            </p:cNvPr>
            <p:cNvSpPr>
              <a:spLocks/>
            </p:cNvSpPr>
            <p:nvPr/>
          </p:nvSpPr>
          <p:spPr bwMode="auto">
            <a:xfrm>
              <a:off x="4858741" y="3485469"/>
              <a:ext cx="65211" cy="47715"/>
            </a:xfrm>
            <a:custGeom>
              <a:avLst/>
              <a:gdLst>
                <a:gd name="T0" fmla="*/ 0 w 41"/>
                <a:gd name="T1" fmla="*/ 14 h 30"/>
                <a:gd name="T2" fmla="*/ 24 w 41"/>
                <a:gd name="T3" fmla="*/ 30 h 30"/>
                <a:gd name="T4" fmla="*/ 41 w 41"/>
                <a:gd name="T5" fmla="*/ 15 h 30"/>
                <a:gd name="T6" fmla="*/ 16 w 41"/>
                <a:gd name="T7" fmla="*/ 0 h 30"/>
                <a:gd name="T8" fmla="*/ 0 w 41"/>
                <a:gd name="T9" fmla="*/ 14 h 30"/>
              </a:gdLst>
              <a:ahLst/>
              <a:cxnLst>
                <a:cxn ang="0">
                  <a:pos x="T0" y="T1"/>
                </a:cxn>
                <a:cxn ang="0">
                  <a:pos x="T2" y="T3"/>
                </a:cxn>
                <a:cxn ang="0">
                  <a:pos x="T4" y="T5"/>
                </a:cxn>
                <a:cxn ang="0">
                  <a:pos x="T6" y="T7"/>
                </a:cxn>
                <a:cxn ang="0">
                  <a:pos x="T8" y="T9"/>
                </a:cxn>
              </a:cxnLst>
              <a:rect l="0" t="0" r="r" b="b"/>
              <a:pathLst>
                <a:path w="41" h="30">
                  <a:moveTo>
                    <a:pt x="0" y="14"/>
                  </a:moveTo>
                  <a:lnTo>
                    <a:pt x="24" y="30"/>
                  </a:lnTo>
                  <a:lnTo>
                    <a:pt x="41" y="15"/>
                  </a:lnTo>
                  <a:lnTo>
                    <a:pt x="16" y="0"/>
                  </a:lnTo>
                  <a:lnTo>
                    <a:pt x="0" y="14"/>
                  </a:lnTo>
                  <a:close/>
                </a:path>
              </a:pathLst>
            </a:custGeom>
            <a:solidFill>
              <a:srgbClr val="CCCCC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63" name="Freeform 68">
              <a:extLst>
                <a:ext uri="{FF2B5EF4-FFF2-40B4-BE49-F238E27FC236}">
                  <a16:creationId xmlns:a16="http://schemas.microsoft.com/office/drawing/2014/main" id="{D44615CB-325D-449C-BA23-73E886733B37}"/>
                </a:ext>
              </a:extLst>
            </p:cNvPr>
            <p:cNvSpPr>
              <a:spLocks/>
            </p:cNvSpPr>
            <p:nvPr/>
          </p:nvSpPr>
          <p:spPr bwMode="auto">
            <a:xfrm>
              <a:off x="4858741" y="3439344"/>
              <a:ext cx="65211" cy="46125"/>
            </a:xfrm>
            <a:custGeom>
              <a:avLst/>
              <a:gdLst>
                <a:gd name="T0" fmla="*/ 24 w 41"/>
                <a:gd name="T1" fmla="*/ 0 h 29"/>
                <a:gd name="T2" fmla="*/ 0 w 41"/>
                <a:gd name="T3" fmla="*/ 16 h 29"/>
                <a:gd name="T4" fmla="*/ 16 w 41"/>
                <a:gd name="T5" fmla="*/ 29 h 29"/>
                <a:gd name="T6" fmla="*/ 41 w 41"/>
                <a:gd name="T7" fmla="*/ 13 h 29"/>
                <a:gd name="T8" fmla="*/ 24 w 41"/>
                <a:gd name="T9" fmla="*/ 0 h 29"/>
              </a:gdLst>
              <a:ahLst/>
              <a:cxnLst>
                <a:cxn ang="0">
                  <a:pos x="T0" y="T1"/>
                </a:cxn>
                <a:cxn ang="0">
                  <a:pos x="T2" y="T3"/>
                </a:cxn>
                <a:cxn ang="0">
                  <a:pos x="T4" y="T5"/>
                </a:cxn>
                <a:cxn ang="0">
                  <a:pos x="T6" y="T7"/>
                </a:cxn>
                <a:cxn ang="0">
                  <a:pos x="T8" y="T9"/>
                </a:cxn>
              </a:cxnLst>
              <a:rect l="0" t="0" r="r" b="b"/>
              <a:pathLst>
                <a:path w="41" h="29">
                  <a:moveTo>
                    <a:pt x="24" y="0"/>
                  </a:moveTo>
                  <a:lnTo>
                    <a:pt x="0" y="16"/>
                  </a:lnTo>
                  <a:lnTo>
                    <a:pt x="16" y="29"/>
                  </a:lnTo>
                  <a:lnTo>
                    <a:pt x="41" y="13"/>
                  </a:lnTo>
                  <a:lnTo>
                    <a:pt x="24" y="0"/>
                  </a:lnTo>
                  <a:close/>
                </a:path>
              </a:pathLst>
            </a:custGeom>
            <a:solidFill>
              <a:srgbClr val="CCCCC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64" name="Freeform 69">
              <a:extLst>
                <a:ext uri="{FF2B5EF4-FFF2-40B4-BE49-F238E27FC236}">
                  <a16:creationId xmlns:a16="http://schemas.microsoft.com/office/drawing/2014/main" id="{26842A57-1889-493F-B6C8-6897099A79C7}"/>
                </a:ext>
              </a:extLst>
            </p:cNvPr>
            <p:cNvSpPr>
              <a:spLocks/>
            </p:cNvSpPr>
            <p:nvPr/>
          </p:nvSpPr>
          <p:spPr bwMode="auto">
            <a:xfrm>
              <a:off x="4923952" y="3439344"/>
              <a:ext cx="65211" cy="46125"/>
            </a:xfrm>
            <a:custGeom>
              <a:avLst/>
              <a:gdLst>
                <a:gd name="T0" fmla="*/ 17 w 41"/>
                <a:gd name="T1" fmla="*/ 0 h 29"/>
                <a:gd name="T2" fmla="*/ 0 w 41"/>
                <a:gd name="T3" fmla="*/ 13 h 29"/>
                <a:gd name="T4" fmla="*/ 24 w 41"/>
                <a:gd name="T5" fmla="*/ 29 h 29"/>
                <a:gd name="T6" fmla="*/ 41 w 41"/>
                <a:gd name="T7" fmla="*/ 16 h 29"/>
                <a:gd name="T8" fmla="*/ 17 w 41"/>
                <a:gd name="T9" fmla="*/ 0 h 29"/>
              </a:gdLst>
              <a:ahLst/>
              <a:cxnLst>
                <a:cxn ang="0">
                  <a:pos x="T0" y="T1"/>
                </a:cxn>
                <a:cxn ang="0">
                  <a:pos x="T2" y="T3"/>
                </a:cxn>
                <a:cxn ang="0">
                  <a:pos x="T4" y="T5"/>
                </a:cxn>
                <a:cxn ang="0">
                  <a:pos x="T6" y="T7"/>
                </a:cxn>
                <a:cxn ang="0">
                  <a:pos x="T8" y="T9"/>
                </a:cxn>
              </a:cxnLst>
              <a:rect l="0" t="0" r="r" b="b"/>
              <a:pathLst>
                <a:path w="41" h="29">
                  <a:moveTo>
                    <a:pt x="17" y="0"/>
                  </a:moveTo>
                  <a:lnTo>
                    <a:pt x="0" y="13"/>
                  </a:lnTo>
                  <a:lnTo>
                    <a:pt x="24" y="29"/>
                  </a:lnTo>
                  <a:lnTo>
                    <a:pt x="41" y="16"/>
                  </a:lnTo>
                  <a:lnTo>
                    <a:pt x="17" y="0"/>
                  </a:lnTo>
                  <a:close/>
                </a:path>
              </a:pathLst>
            </a:custGeom>
            <a:solidFill>
              <a:srgbClr val="CCCCC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65" name="Freeform 70">
              <a:extLst>
                <a:ext uri="{FF2B5EF4-FFF2-40B4-BE49-F238E27FC236}">
                  <a16:creationId xmlns:a16="http://schemas.microsoft.com/office/drawing/2014/main" id="{9A37109A-34CD-4D78-84B4-FB1BE69C77AA}"/>
                </a:ext>
              </a:extLst>
            </p:cNvPr>
            <p:cNvSpPr>
              <a:spLocks/>
            </p:cNvSpPr>
            <p:nvPr/>
          </p:nvSpPr>
          <p:spPr bwMode="auto">
            <a:xfrm>
              <a:off x="4923952" y="3485469"/>
              <a:ext cx="65211" cy="47715"/>
            </a:xfrm>
            <a:custGeom>
              <a:avLst/>
              <a:gdLst>
                <a:gd name="T0" fmla="*/ 17 w 41"/>
                <a:gd name="T1" fmla="*/ 30 h 30"/>
                <a:gd name="T2" fmla="*/ 41 w 41"/>
                <a:gd name="T3" fmla="*/ 14 h 30"/>
                <a:gd name="T4" fmla="*/ 24 w 41"/>
                <a:gd name="T5" fmla="*/ 0 h 30"/>
                <a:gd name="T6" fmla="*/ 0 w 41"/>
                <a:gd name="T7" fmla="*/ 15 h 30"/>
                <a:gd name="T8" fmla="*/ 17 w 41"/>
                <a:gd name="T9" fmla="*/ 30 h 30"/>
              </a:gdLst>
              <a:ahLst/>
              <a:cxnLst>
                <a:cxn ang="0">
                  <a:pos x="T0" y="T1"/>
                </a:cxn>
                <a:cxn ang="0">
                  <a:pos x="T2" y="T3"/>
                </a:cxn>
                <a:cxn ang="0">
                  <a:pos x="T4" y="T5"/>
                </a:cxn>
                <a:cxn ang="0">
                  <a:pos x="T6" y="T7"/>
                </a:cxn>
                <a:cxn ang="0">
                  <a:pos x="T8" y="T9"/>
                </a:cxn>
              </a:cxnLst>
              <a:rect l="0" t="0" r="r" b="b"/>
              <a:pathLst>
                <a:path w="41" h="30">
                  <a:moveTo>
                    <a:pt x="17" y="30"/>
                  </a:moveTo>
                  <a:lnTo>
                    <a:pt x="41" y="14"/>
                  </a:lnTo>
                  <a:lnTo>
                    <a:pt x="24" y="0"/>
                  </a:lnTo>
                  <a:lnTo>
                    <a:pt x="0" y="15"/>
                  </a:lnTo>
                  <a:lnTo>
                    <a:pt x="17" y="30"/>
                  </a:lnTo>
                  <a:close/>
                </a:path>
              </a:pathLst>
            </a:custGeom>
            <a:solidFill>
              <a:srgbClr val="CCCCC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66" name="Freeform 71">
              <a:extLst>
                <a:ext uri="{FF2B5EF4-FFF2-40B4-BE49-F238E27FC236}">
                  <a16:creationId xmlns:a16="http://schemas.microsoft.com/office/drawing/2014/main" id="{60F69127-97A7-4558-876C-1A19BAFA2065}"/>
                </a:ext>
              </a:extLst>
            </p:cNvPr>
            <p:cNvSpPr>
              <a:spLocks/>
            </p:cNvSpPr>
            <p:nvPr/>
          </p:nvSpPr>
          <p:spPr bwMode="auto">
            <a:xfrm>
              <a:off x="4884189" y="3515688"/>
              <a:ext cx="77936" cy="46125"/>
            </a:xfrm>
            <a:custGeom>
              <a:avLst/>
              <a:gdLst>
                <a:gd name="T0" fmla="*/ 49 w 49"/>
                <a:gd name="T1" fmla="*/ 12 h 29"/>
                <a:gd name="T2" fmla="*/ 49 w 49"/>
                <a:gd name="T3" fmla="*/ 7 h 29"/>
                <a:gd name="T4" fmla="*/ 42 w 49"/>
                <a:gd name="T5" fmla="*/ 12 h 29"/>
                <a:gd name="T6" fmla="*/ 24 w 49"/>
                <a:gd name="T7" fmla="*/ 0 h 29"/>
                <a:gd name="T8" fmla="*/ 8 w 49"/>
                <a:gd name="T9" fmla="*/ 14 h 29"/>
                <a:gd name="T10" fmla="*/ 0 w 49"/>
                <a:gd name="T11" fmla="*/ 9 h 29"/>
                <a:gd name="T12" fmla="*/ 0 w 49"/>
                <a:gd name="T13" fmla="*/ 16 h 29"/>
                <a:gd name="T14" fmla="*/ 26 w 49"/>
                <a:gd name="T15" fmla="*/ 29 h 29"/>
                <a:gd name="T16" fmla="*/ 49 w 49"/>
                <a:gd name="T17" fmla="*/ 12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29">
                  <a:moveTo>
                    <a:pt x="49" y="12"/>
                  </a:moveTo>
                  <a:lnTo>
                    <a:pt x="49" y="7"/>
                  </a:lnTo>
                  <a:lnTo>
                    <a:pt x="42" y="12"/>
                  </a:lnTo>
                  <a:lnTo>
                    <a:pt x="24" y="0"/>
                  </a:lnTo>
                  <a:lnTo>
                    <a:pt x="8" y="14"/>
                  </a:lnTo>
                  <a:lnTo>
                    <a:pt x="0" y="9"/>
                  </a:lnTo>
                  <a:lnTo>
                    <a:pt x="0" y="16"/>
                  </a:lnTo>
                  <a:lnTo>
                    <a:pt x="26" y="29"/>
                  </a:lnTo>
                  <a:lnTo>
                    <a:pt x="49" y="12"/>
                  </a:lnTo>
                  <a:close/>
                </a:path>
              </a:pathLst>
            </a:custGeom>
            <a:solidFill>
              <a:srgbClr val="CCCCC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67" name="Freeform 72">
              <a:extLst>
                <a:ext uri="{FF2B5EF4-FFF2-40B4-BE49-F238E27FC236}">
                  <a16:creationId xmlns:a16="http://schemas.microsoft.com/office/drawing/2014/main" id="{FA3BD45B-F15C-4B01-BDF8-134C6DE90DF2}"/>
                </a:ext>
              </a:extLst>
            </p:cNvPr>
            <p:cNvSpPr>
              <a:spLocks/>
            </p:cNvSpPr>
            <p:nvPr/>
          </p:nvSpPr>
          <p:spPr bwMode="auto">
            <a:xfrm>
              <a:off x="4154140" y="1984016"/>
              <a:ext cx="65211" cy="46125"/>
            </a:xfrm>
            <a:custGeom>
              <a:avLst/>
              <a:gdLst>
                <a:gd name="T0" fmla="*/ 0 w 41"/>
                <a:gd name="T1" fmla="*/ 13 h 29"/>
                <a:gd name="T2" fmla="*/ 24 w 41"/>
                <a:gd name="T3" fmla="*/ 29 h 29"/>
                <a:gd name="T4" fmla="*/ 41 w 41"/>
                <a:gd name="T5" fmla="*/ 14 h 29"/>
                <a:gd name="T6" fmla="*/ 17 w 41"/>
                <a:gd name="T7" fmla="*/ 0 h 29"/>
                <a:gd name="T8" fmla="*/ 0 w 41"/>
                <a:gd name="T9" fmla="*/ 13 h 29"/>
              </a:gdLst>
              <a:ahLst/>
              <a:cxnLst>
                <a:cxn ang="0">
                  <a:pos x="T0" y="T1"/>
                </a:cxn>
                <a:cxn ang="0">
                  <a:pos x="T2" y="T3"/>
                </a:cxn>
                <a:cxn ang="0">
                  <a:pos x="T4" y="T5"/>
                </a:cxn>
                <a:cxn ang="0">
                  <a:pos x="T6" y="T7"/>
                </a:cxn>
                <a:cxn ang="0">
                  <a:pos x="T8" y="T9"/>
                </a:cxn>
              </a:cxnLst>
              <a:rect l="0" t="0" r="r" b="b"/>
              <a:pathLst>
                <a:path w="41" h="29">
                  <a:moveTo>
                    <a:pt x="0" y="13"/>
                  </a:moveTo>
                  <a:lnTo>
                    <a:pt x="24" y="29"/>
                  </a:lnTo>
                  <a:lnTo>
                    <a:pt x="41" y="14"/>
                  </a:lnTo>
                  <a:lnTo>
                    <a:pt x="17" y="0"/>
                  </a:lnTo>
                  <a:lnTo>
                    <a:pt x="0" y="13"/>
                  </a:lnTo>
                  <a:close/>
                </a:path>
              </a:pathLst>
            </a:custGeom>
            <a:solidFill>
              <a:srgbClr val="CCCCC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68" name="Freeform 73">
              <a:extLst>
                <a:ext uri="{FF2B5EF4-FFF2-40B4-BE49-F238E27FC236}">
                  <a16:creationId xmlns:a16="http://schemas.microsoft.com/office/drawing/2014/main" id="{85893A19-342A-4077-814A-8391C908DF3B}"/>
                </a:ext>
              </a:extLst>
            </p:cNvPr>
            <p:cNvSpPr>
              <a:spLocks/>
            </p:cNvSpPr>
            <p:nvPr/>
          </p:nvSpPr>
          <p:spPr bwMode="auto">
            <a:xfrm>
              <a:off x="4154140" y="1936300"/>
              <a:ext cx="65211" cy="47715"/>
            </a:xfrm>
            <a:custGeom>
              <a:avLst/>
              <a:gdLst>
                <a:gd name="T0" fmla="*/ 24 w 41"/>
                <a:gd name="T1" fmla="*/ 0 h 30"/>
                <a:gd name="T2" fmla="*/ 0 w 41"/>
                <a:gd name="T3" fmla="*/ 16 h 30"/>
                <a:gd name="T4" fmla="*/ 17 w 41"/>
                <a:gd name="T5" fmla="*/ 30 h 30"/>
                <a:gd name="T6" fmla="*/ 41 w 41"/>
                <a:gd name="T7" fmla="*/ 15 h 30"/>
                <a:gd name="T8" fmla="*/ 24 w 41"/>
                <a:gd name="T9" fmla="*/ 0 h 30"/>
              </a:gdLst>
              <a:ahLst/>
              <a:cxnLst>
                <a:cxn ang="0">
                  <a:pos x="T0" y="T1"/>
                </a:cxn>
                <a:cxn ang="0">
                  <a:pos x="T2" y="T3"/>
                </a:cxn>
                <a:cxn ang="0">
                  <a:pos x="T4" y="T5"/>
                </a:cxn>
                <a:cxn ang="0">
                  <a:pos x="T6" y="T7"/>
                </a:cxn>
                <a:cxn ang="0">
                  <a:pos x="T8" y="T9"/>
                </a:cxn>
              </a:cxnLst>
              <a:rect l="0" t="0" r="r" b="b"/>
              <a:pathLst>
                <a:path w="41" h="30">
                  <a:moveTo>
                    <a:pt x="24" y="0"/>
                  </a:moveTo>
                  <a:lnTo>
                    <a:pt x="0" y="16"/>
                  </a:lnTo>
                  <a:lnTo>
                    <a:pt x="17" y="30"/>
                  </a:lnTo>
                  <a:lnTo>
                    <a:pt x="41" y="15"/>
                  </a:lnTo>
                  <a:lnTo>
                    <a:pt x="24" y="0"/>
                  </a:lnTo>
                  <a:close/>
                </a:path>
              </a:pathLst>
            </a:custGeom>
            <a:solidFill>
              <a:srgbClr val="CCCCC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69" name="Freeform 74">
              <a:extLst>
                <a:ext uri="{FF2B5EF4-FFF2-40B4-BE49-F238E27FC236}">
                  <a16:creationId xmlns:a16="http://schemas.microsoft.com/office/drawing/2014/main" id="{5051B5C2-6F3C-4499-860B-7780E2E2ED50}"/>
                </a:ext>
              </a:extLst>
            </p:cNvPr>
            <p:cNvSpPr>
              <a:spLocks/>
            </p:cNvSpPr>
            <p:nvPr/>
          </p:nvSpPr>
          <p:spPr bwMode="auto">
            <a:xfrm>
              <a:off x="4219351" y="1936300"/>
              <a:ext cx="65211" cy="47715"/>
            </a:xfrm>
            <a:custGeom>
              <a:avLst/>
              <a:gdLst>
                <a:gd name="T0" fmla="*/ 16 w 41"/>
                <a:gd name="T1" fmla="*/ 0 h 30"/>
                <a:gd name="T2" fmla="*/ 0 w 41"/>
                <a:gd name="T3" fmla="*/ 15 h 30"/>
                <a:gd name="T4" fmla="*/ 25 w 41"/>
                <a:gd name="T5" fmla="*/ 30 h 30"/>
                <a:gd name="T6" fmla="*/ 41 w 41"/>
                <a:gd name="T7" fmla="*/ 16 h 30"/>
                <a:gd name="T8" fmla="*/ 16 w 41"/>
                <a:gd name="T9" fmla="*/ 0 h 30"/>
              </a:gdLst>
              <a:ahLst/>
              <a:cxnLst>
                <a:cxn ang="0">
                  <a:pos x="T0" y="T1"/>
                </a:cxn>
                <a:cxn ang="0">
                  <a:pos x="T2" y="T3"/>
                </a:cxn>
                <a:cxn ang="0">
                  <a:pos x="T4" y="T5"/>
                </a:cxn>
                <a:cxn ang="0">
                  <a:pos x="T6" y="T7"/>
                </a:cxn>
                <a:cxn ang="0">
                  <a:pos x="T8" y="T9"/>
                </a:cxn>
              </a:cxnLst>
              <a:rect l="0" t="0" r="r" b="b"/>
              <a:pathLst>
                <a:path w="41" h="30">
                  <a:moveTo>
                    <a:pt x="16" y="0"/>
                  </a:moveTo>
                  <a:lnTo>
                    <a:pt x="0" y="15"/>
                  </a:lnTo>
                  <a:lnTo>
                    <a:pt x="25" y="30"/>
                  </a:lnTo>
                  <a:lnTo>
                    <a:pt x="41" y="16"/>
                  </a:lnTo>
                  <a:lnTo>
                    <a:pt x="16" y="0"/>
                  </a:lnTo>
                  <a:close/>
                </a:path>
              </a:pathLst>
            </a:custGeom>
            <a:solidFill>
              <a:srgbClr val="CCCCC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70" name="Freeform 75">
              <a:extLst>
                <a:ext uri="{FF2B5EF4-FFF2-40B4-BE49-F238E27FC236}">
                  <a16:creationId xmlns:a16="http://schemas.microsoft.com/office/drawing/2014/main" id="{5247D4CA-B0AE-4B9C-8A94-55E687748F5F}"/>
                </a:ext>
              </a:extLst>
            </p:cNvPr>
            <p:cNvSpPr>
              <a:spLocks/>
            </p:cNvSpPr>
            <p:nvPr/>
          </p:nvSpPr>
          <p:spPr bwMode="auto">
            <a:xfrm>
              <a:off x="4219351" y="1984016"/>
              <a:ext cx="65211" cy="46125"/>
            </a:xfrm>
            <a:custGeom>
              <a:avLst/>
              <a:gdLst>
                <a:gd name="T0" fmla="*/ 16 w 41"/>
                <a:gd name="T1" fmla="*/ 29 h 29"/>
                <a:gd name="T2" fmla="*/ 41 w 41"/>
                <a:gd name="T3" fmla="*/ 13 h 29"/>
                <a:gd name="T4" fmla="*/ 25 w 41"/>
                <a:gd name="T5" fmla="*/ 0 h 29"/>
                <a:gd name="T6" fmla="*/ 0 w 41"/>
                <a:gd name="T7" fmla="*/ 14 h 29"/>
                <a:gd name="T8" fmla="*/ 16 w 41"/>
                <a:gd name="T9" fmla="*/ 29 h 29"/>
              </a:gdLst>
              <a:ahLst/>
              <a:cxnLst>
                <a:cxn ang="0">
                  <a:pos x="T0" y="T1"/>
                </a:cxn>
                <a:cxn ang="0">
                  <a:pos x="T2" y="T3"/>
                </a:cxn>
                <a:cxn ang="0">
                  <a:pos x="T4" y="T5"/>
                </a:cxn>
                <a:cxn ang="0">
                  <a:pos x="T6" y="T7"/>
                </a:cxn>
                <a:cxn ang="0">
                  <a:pos x="T8" y="T9"/>
                </a:cxn>
              </a:cxnLst>
              <a:rect l="0" t="0" r="r" b="b"/>
              <a:pathLst>
                <a:path w="41" h="29">
                  <a:moveTo>
                    <a:pt x="16" y="29"/>
                  </a:moveTo>
                  <a:lnTo>
                    <a:pt x="41" y="13"/>
                  </a:lnTo>
                  <a:lnTo>
                    <a:pt x="25" y="0"/>
                  </a:lnTo>
                  <a:lnTo>
                    <a:pt x="0" y="14"/>
                  </a:lnTo>
                  <a:lnTo>
                    <a:pt x="16" y="29"/>
                  </a:lnTo>
                  <a:close/>
                </a:path>
              </a:pathLst>
            </a:custGeom>
            <a:solidFill>
              <a:srgbClr val="CCCCC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71" name="Freeform 76">
              <a:extLst>
                <a:ext uri="{FF2B5EF4-FFF2-40B4-BE49-F238E27FC236}">
                  <a16:creationId xmlns:a16="http://schemas.microsoft.com/office/drawing/2014/main" id="{6C822A4B-C859-4DA6-BE85-62D09F030CE4}"/>
                </a:ext>
              </a:extLst>
            </p:cNvPr>
            <p:cNvSpPr>
              <a:spLocks/>
            </p:cNvSpPr>
            <p:nvPr/>
          </p:nvSpPr>
          <p:spPr bwMode="auto">
            <a:xfrm>
              <a:off x="4181178" y="2012645"/>
              <a:ext cx="76345" cy="47715"/>
            </a:xfrm>
            <a:custGeom>
              <a:avLst/>
              <a:gdLst>
                <a:gd name="T0" fmla="*/ 48 w 48"/>
                <a:gd name="T1" fmla="*/ 14 h 30"/>
                <a:gd name="T2" fmla="*/ 48 w 48"/>
                <a:gd name="T3" fmla="*/ 8 h 30"/>
                <a:gd name="T4" fmla="*/ 41 w 48"/>
                <a:gd name="T5" fmla="*/ 14 h 30"/>
                <a:gd name="T6" fmla="*/ 23 w 48"/>
                <a:gd name="T7" fmla="*/ 0 h 30"/>
                <a:gd name="T8" fmla="*/ 7 w 48"/>
                <a:gd name="T9" fmla="*/ 15 h 30"/>
                <a:gd name="T10" fmla="*/ 0 w 48"/>
                <a:gd name="T11" fmla="*/ 11 h 30"/>
                <a:gd name="T12" fmla="*/ 0 w 48"/>
                <a:gd name="T13" fmla="*/ 16 h 30"/>
                <a:gd name="T14" fmla="*/ 24 w 48"/>
                <a:gd name="T15" fmla="*/ 30 h 30"/>
                <a:gd name="T16" fmla="*/ 48 w 48"/>
                <a:gd name="T17" fmla="*/ 14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 h="30">
                  <a:moveTo>
                    <a:pt x="48" y="14"/>
                  </a:moveTo>
                  <a:lnTo>
                    <a:pt x="48" y="8"/>
                  </a:lnTo>
                  <a:lnTo>
                    <a:pt x="41" y="14"/>
                  </a:lnTo>
                  <a:lnTo>
                    <a:pt x="23" y="0"/>
                  </a:lnTo>
                  <a:lnTo>
                    <a:pt x="7" y="15"/>
                  </a:lnTo>
                  <a:lnTo>
                    <a:pt x="0" y="11"/>
                  </a:lnTo>
                  <a:lnTo>
                    <a:pt x="0" y="16"/>
                  </a:lnTo>
                  <a:lnTo>
                    <a:pt x="24" y="30"/>
                  </a:lnTo>
                  <a:lnTo>
                    <a:pt x="48" y="14"/>
                  </a:lnTo>
                  <a:close/>
                </a:path>
              </a:pathLst>
            </a:custGeom>
            <a:solidFill>
              <a:srgbClr val="CCCCC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72" name="Freeform 77">
              <a:extLst>
                <a:ext uri="{FF2B5EF4-FFF2-40B4-BE49-F238E27FC236}">
                  <a16:creationId xmlns:a16="http://schemas.microsoft.com/office/drawing/2014/main" id="{1FD0F797-91F2-400F-A3A5-3EBB1E5804D5}"/>
                </a:ext>
              </a:extLst>
            </p:cNvPr>
            <p:cNvSpPr>
              <a:spLocks/>
            </p:cNvSpPr>
            <p:nvPr/>
          </p:nvSpPr>
          <p:spPr bwMode="auto">
            <a:xfrm>
              <a:off x="6654440" y="2438905"/>
              <a:ext cx="66802" cy="47715"/>
            </a:xfrm>
            <a:custGeom>
              <a:avLst/>
              <a:gdLst>
                <a:gd name="T0" fmla="*/ 0 w 42"/>
                <a:gd name="T1" fmla="*/ 14 h 30"/>
                <a:gd name="T2" fmla="*/ 25 w 42"/>
                <a:gd name="T3" fmla="*/ 30 h 30"/>
                <a:gd name="T4" fmla="*/ 42 w 42"/>
                <a:gd name="T5" fmla="*/ 15 h 30"/>
                <a:gd name="T6" fmla="*/ 17 w 42"/>
                <a:gd name="T7" fmla="*/ 0 h 30"/>
                <a:gd name="T8" fmla="*/ 0 w 42"/>
                <a:gd name="T9" fmla="*/ 14 h 30"/>
              </a:gdLst>
              <a:ahLst/>
              <a:cxnLst>
                <a:cxn ang="0">
                  <a:pos x="T0" y="T1"/>
                </a:cxn>
                <a:cxn ang="0">
                  <a:pos x="T2" y="T3"/>
                </a:cxn>
                <a:cxn ang="0">
                  <a:pos x="T4" y="T5"/>
                </a:cxn>
                <a:cxn ang="0">
                  <a:pos x="T6" y="T7"/>
                </a:cxn>
                <a:cxn ang="0">
                  <a:pos x="T8" y="T9"/>
                </a:cxn>
              </a:cxnLst>
              <a:rect l="0" t="0" r="r" b="b"/>
              <a:pathLst>
                <a:path w="42" h="30">
                  <a:moveTo>
                    <a:pt x="0" y="14"/>
                  </a:moveTo>
                  <a:lnTo>
                    <a:pt x="25" y="30"/>
                  </a:lnTo>
                  <a:lnTo>
                    <a:pt x="42" y="15"/>
                  </a:lnTo>
                  <a:lnTo>
                    <a:pt x="17" y="0"/>
                  </a:lnTo>
                  <a:lnTo>
                    <a:pt x="0" y="14"/>
                  </a:lnTo>
                  <a:close/>
                </a:path>
              </a:pathLst>
            </a:custGeom>
            <a:solidFill>
              <a:srgbClr val="CCCCC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73" name="Freeform 78">
              <a:extLst>
                <a:ext uri="{FF2B5EF4-FFF2-40B4-BE49-F238E27FC236}">
                  <a16:creationId xmlns:a16="http://schemas.microsoft.com/office/drawing/2014/main" id="{C5235F13-30D4-4D2E-A01C-4F2809BC6EDF}"/>
                </a:ext>
              </a:extLst>
            </p:cNvPr>
            <p:cNvSpPr>
              <a:spLocks/>
            </p:cNvSpPr>
            <p:nvPr/>
          </p:nvSpPr>
          <p:spPr bwMode="auto">
            <a:xfrm>
              <a:off x="6654440" y="2392780"/>
              <a:ext cx="66802" cy="46125"/>
            </a:xfrm>
            <a:custGeom>
              <a:avLst/>
              <a:gdLst>
                <a:gd name="T0" fmla="*/ 25 w 42"/>
                <a:gd name="T1" fmla="*/ 0 h 29"/>
                <a:gd name="T2" fmla="*/ 0 w 42"/>
                <a:gd name="T3" fmla="*/ 16 h 29"/>
                <a:gd name="T4" fmla="*/ 17 w 42"/>
                <a:gd name="T5" fmla="*/ 29 h 29"/>
                <a:gd name="T6" fmla="*/ 42 w 42"/>
                <a:gd name="T7" fmla="*/ 13 h 29"/>
                <a:gd name="T8" fmla="*/ 25 w 42"/>
                <a:gd name="T9" fmla="*/ 0 h 29"/>
              </a:gdLst>
              <a:ahLst/>
              <a:cxnLst>
                <a:cxn ang="0">
                  <a:pos x="T0" y="T1"/>
                </a:cxn>
                <a:cxn ang="0">
                  <a:pos x="T2" y="T3"/>
                </a:cxn>
                <a:cxn ang="0">
                  <a:pos x="T4" y="T5"/>
                </a:cxn>
                <a:cxn ang="0">
                  <a:pos x="T6" y="T7"/>
                </a:cxn>
                <a:cxn ang="0">
                  <a:pos x="T8" y="T9"/>
                </a:cxn>
              </a:cxnLst>
              <a:rect l="0" t="0" r="r" b="b"/>
              <a:pathLst>
                <a:path w="42" h="29">
                  <a:moveTo>
                    <a:pt x="25" y="0"/>
                  </a:moveTo>
                  <a:lnTo>
                    <a:pt x="0" y="16"/>
                  </a:lnTo>
                  <a:lnTo>
                    <a:pt x="17" y="29"/>
                  </a:lnTo>
                  <a:lnTo>
                    <a:pt x="42" y="13"/>
                  </a:lnTo>
                  <a:lnTo>
                    <a:pt x="25" y="0"/>
                  </a:lnTo>
                  <a:close/>
                </a:path>
              </a:pathLst>
            </a:custGeom>
            <a:solidFill>
              <a:srgbClr val="CCCCC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74" name="Freeform 79">
              <a:extLst>
                <a:ext uri="{FF2B5EF4-FFF2-40B4-BE49-F238E27FC236}">
                  <a16:creationId xmlns:a16="http://schemas.microsoft.com/office/drawing/2014/main" id="{181892AB-4942-45D3-B55B-375BDB2174F0}"/>
                </a:ext>
              </a:extLst>
            </p:cNvPr>
            <p:cNvSpPr>
              <a:spLocks/>
            </p:cNvSpPr>
            <p:nvPr/>
          </p:nvSpPr>
          <p:spPr bwMode="auto">
            <a:xfrm>
              <a:off x="6721242" y="2392780"/>
              <a:ext cx="66802" cy="46125"/>
            </a:xfrm>
            <a:custGeom>
              <a:avLst/>
              <a:gdLst>
                <a:gd name="T0" fmla="*/ 17 w 42"/>
                <a:gd name="T1" fmla="*/ 0 h 29"/>
                <a:gd name="T2" fmla="*/ 0 w 42"/>
                <a:gd name="T3" fmla="*/ 13 h 29"/>
                <a:gd name="T4" fmla="*/ 24 w 42"/>
                <a:gd name="T5" fmla="*/ 29 h 29"/>
                <a:gd name="T6" fmla="*/ 42 w 42"/>
                <a:gd name="T7" fmla="*/ 16 h 29"/>
                <a:gd name="T8" fmla="*/ 17 w 42"/>
                <a:gd name="T9" fmla="*/ 0 h 29"/>
              </a:gdLst>
              <a:ahLst/>
              <a:cxnLst>
                <a:cxn ang="0">
                  <a:pos x="T0" y="T1"/>
                </a:cxn>
                <a:cxn ang="0">
                  <a:pos x="T2" y="T3"/>
                </a:cxn>
                <a:cxn ang="0">
                  <a:pos x="T4" y="T5"/>
                </a:cxn>
                <a:cxn ang="0">
                  <a:pos x="T6" y="T7"/>
                </a:cxn>
                <a:cxn ang="0">
                  <a:pos x="T8" y="T9"/>
                </a:cxn>
              </a:cxnLst>
              <a:rect l="0" t="0" r="r" b="b"/>
              <a:pathLst>
                <a:path w="42" h="29">
                  <a:moveTo>
                    <a:pt x="17" y="0"/>
                  </a:moveTo>
                  <a:lnTo>
                    <a:pt x="0" y="13"/>
                  </a:lnTo>
                  <a:lnTo>
                    <a:pt x="24" y="29"/>
                  </a:lnTo>
                  <a:lnTo>
                    <a:pt x="42" y="16"/>
                  </a:lnTo>
                  <a:lnTo>
                    <a:pt x="17" y="0"/>
                  </a:lnTo>
                  <a:close/>
                </a:path>
              </a:pathLst>
            </a:custGeom>
            <a:solidFill>
              <a:srgbClr val="CCCCC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75" name="Freeform 80">
              <a:extLst>
                <a:ext uri="{FF2B5EF4-FFF2-40B4-BE49-F238E27FC236}">
                  <a16:creationId xmlns:a16="http://schemas.microsoft.com/office/drawing/2014/main" id="{06D78820-EAA2-4D5C-9D5E-0581CFF5E075}"/>
                </a:ext>
              </a:extLst>
            </p:cNvPr>
            <p:cNvSpPr>
              <a:spLocks/>
            </p:cNvSpPr>
            <p:nvPr/>
          </p:nvSpPr>
          <p:spPr bwMode="auto">
            <a:xfrm>
              <a:off x="6721242" y="2438905"/>
              <a:ext cx="66802" cy="47715"/>
            </a:xfrm>
            <a:custGeom>
              <a:avLst/>
              <a:gdLst>
                <a:gd name="T0" fmla="*/ 17 w 42"/>
                <a:gd name="T1" fmla="*/ 30 h 30"/>
                <a:gd name="T2" fmla="*/ 42 w 42"/>
                <a:gd name="T3" fmla="*/ 14 h 30"/>
                <a:gd name="T4" fmla="*/ 24 w 42"/>
                <a:gd name="T5" fmla="*/ 0 h 30"/>
                <a:gd name="T6" fmla="*/ 0 w 42"/>
                <a:gd name="T7" fmla="*/ 15 h 30"/>
                <a:gd name="T8" fmla="*/ 17 w 42"/>
                <a:gd name="T9" fmla="*/ 30 h 30"/>
              </a:gdLst>
              <a:ahLst/>
              <a:cxnLst>
                <a:cxn ang="0">
                  <a:pos x="T0" y="T1"/>
                </a:cxn>
                <a:cxn ang="0">
                  <a:pos x="T2" y="T3"/>
                </a:cxn>
                <a:cxn ang="0">
                  <a:pos x="T4" y="T5"/>
                </a:cxn>
                <a:cxn ang="0">
                  <a:pos x="T6" y="T7"/>
                </a:cxn>
                <a:cxn ang="0">
                  <a:pos x="T8" y="T9"/>
                </a:cxn>
              </a:cxnLst>
              <a:rect l="0" t="0" r="r" b="b"/>
              <a:pathLst>
                <a:path w="42" h="30">
                  <a:moveTo>
                    <a:pt x="17" y="30"/>
                  </a:moveTo>
                  <a:lnTo>
                    <a:pt x="42" y="14"/>
                  </a:lnTo>
                  <a:lnTo>
                    <a:pt x="24" y="0"/>
                  </a:lnTo>
                  <a:lnTo>
                    <a:pt x="0" y="15"/>
                  </a:lnTo>
                  <a:lnTo>
                    <a:pt x="17" y="30"/>
                  </a:lnTo>
                  <a:close/>
                </a:path>
              </a:pathLst>
            </a:custGeom>
            <a:solidFill>
              <a:srgbClr val="CCCCC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76" name="Freeform 81">
              <a:extLst>
                <a:ext uri="{FF2B5EF4-FFF2-40B4-BE49-F238E27FC236}">
                  <a16:creationId xmlns:a16="http://schemas.microsoft.com/office/drawing/2014/main" id="{6C950020-FB14-4DB4-A458-2BBE7DAD0AB9}"/>
                </a:ext>
              </a:extLst>
            </p:cNvPr>
            <p:cNvSpPr>
              <a:spLocks/>
            </p:cNvSpPr>
            <p:nvPr/>
          </p:nvSpPr>
          <p:spPr bwMode="auto">
            <a:xfrm>
              <a:off x="6681479" y="2469125"/>
              <a:ext cx="77936" cy="44535"/>
            </a:xfrm>
            <a:custGeom>
              <a:avLst/>
              <a:gdLst>
                <a:gd name="T0" fmla="*/ 49 w 49"/>
                <a:gd name="T1" fmla="*/ 12 h 28"/>
                <a:gd name="T2" fmla="*/ 49 w 49"/>
                <a:gd name="T3" fmla="*/ 7 h 28"/>
                <a:gd name="T4" fmla="*/ 42 w 49"/>
                <a:gd name="T5" fmla="*/ 12 h 28"/>
                <a:gd name="T6" fmla="*/ 24 w 49"/>
                <a:gd name="T7" fmla="*/ 0 h 28"/>
                <a:gd name="T8" fmla="*/ 8 w 49"/>
                <a:gd name="T9" fmla="*/ 14 h 28"/>
                <a:gd name="T10" fmla="*/ 0 w 49"/>
                <a:gd name="T11" fmla="*/ 10 h 28"/>
                <a:gd name="T12" fmla="*/ 0 w 49"/>
                <a:gd name="T13" fmla="*/ 16 h 28"/>
                <a:gd name="T14" fmla="*/ 26 w 49"/>
                <a:gd name="T15" fmla="*/ 28 h 28"/>
                <a:gd name="T16" fmla="*/ 49 w 49"/>
                <a:gd name="T17" fmla="*/ 1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28">
                  <a:moveTo>
                    <a:pt x="49" y="12"/>
                  </a:moveTo>
                  <a:lnTo>
                    <a:pt x="49" y="7"/>
                  </a:lnTo>
                  <a:lnTo>
                    <a:pt x="42" y="12"/>
                  </a:lnTo>
                  <a:lnTo>
                    <a:pt x="24" y="0"/>
                  </a:lnTo>
                  <a:lnTo>
                    <a:pt x="8" y="14"/>
                  </a:lnTo>
                  <a:lnTo>
                    <a:pt x="0" y="10"/>
                  </a:lnTo>
                  <a:lnTo>
                    <a:pt x="0" y="16"/>
                  </a:lnTo>
                  <a:lnTo>
                    <a:pt x="26" y="28"/>
                  </a:lnTo>
                  <a:lnTo>
                    <a:pt x="49" y="12"/>
                  </a:lnTo>
                  <a:close/>
                </a:path>
              </a:pathLst>
            </a:custGeom>
            <a:solidFill>
              <a:srgbClr val="CCCCC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77" name="Freeform 83">
              <a:extLst>
                <a:ext uri="{FF2B5EF4-FFF2-40B4-BE49-F238E27FC236}">
                  <a16:creationId xmlns:a16="http://schemas.microsoft.com/office/drawing/2014/main" id="{D20DA646-0DAE-46AE-854A-28AA725EB966}"/>
                </a:ext>
              </a:extLst>
            </p:cNvPr>
            <p:cNvSpPr>
              <a:spLocks noEditPoints="1"/>
            </p:cNvSpPr>
            <p:nvPr/>
          </p:nvSpPr>
          <p:spPr bwMode="auto">
            <a:xfrm>
              <a:off x="4954172" y="2693388"/>
              <a:ext cx="539187" cy="537597"/>
            </a:xfrm>
            <a:custGeom>
              <a:avLst/>
              <a:gdLst>
                <a:gd name="T0" fmla="*/ 223 w 276"/>
                <a:gd name="T1" fmla="*/ 0 h 276"/>
                <a:gd name="T2" fmla="*/ 54 w 276"/>
                <a:gd name="T3" fmla="*/ 0 h 276"/>
                <a:gd name="T4" fmla="*/ 0 w 276"/>
                <a:gd name="T5" fmla="*/ 53 h 276"/>
                <a:gd name="T6" fmla="*/ 0 w 276"/>
                <a:gd name="T7" fmla="*/ 109 h 276"/>
                <a:gd name="T8" fmla="*/ 0 w 276"/>
                <a:gd name="T9" fmla="*/ 222 h 276"/>
                <a:gd name="T10" fmla="*/ 54 w 276"/>
                <a:gd name="T11" fmla="*/ 276 h 276"/>
                <a:gd name="T12" fmla="*/ 223 w 276"/>
                <a:gd name="T13" fmla="*/ 276 h 276"/>
                <a:gd name="T14" fmla="*/ 276 w 276"/>
                <a:gd name="T15" fmla="*/ 222 h 276"/>
                <a:gd name="T16" fmla="*/ 276 w 276"/>
                <a:gd name="T17" fmla="*/ 109 h 276"/>
                <a:gd name="T18" fmla="*/ 276 w 276"/>
                <a:gd name="T19" fmla="*/ 53 h 276"/>
                <a:gd name="T20" fmla="*/ 223 w 276"/>
                <a:gd name="T21" fmla="*/ 0 h 276"/>
                <a:gd name="T22" fmla="*/ 238 w 276"/>
                <a:gd name="T23" fmla="*/ 32 h 276"/>
                <a:gd name="T24" fmla="*/ 244 w 276"/>
                <a:gd name="T25" fmla="*/ 31 h 276"/>
                <a:gd name="T26" fmla="*/ 244 w 276"/>
                <a:gd name="T27" fmla="*/ 38 h 276"/>
                <a:gd name="T28" fmla="*/ 244 w 276"/>
                <a:gd name="T29" fmla="*/ 78 h 276"/>
                <a:gd name="T30" fmla="*/ 198 w 276"/>
                <a:gd name="T31" fmla="*/ 78 h 276"/>
                <a:gd name="T32" fmla="*/ 198 w 276"/>
                <a:gd name="T33" fmla="*/ 32 h 276"/>
                <a:gd name="T34" fmla="*/ 238 w 276"/>
                <a:gd name="T35" fmla="*/ 32 h 276"/>
                <a:gd name="T36" fmla="*/ 99 w 276"/>
                <a:gd name="T37" fmla="*/ 109 h 276"/>
                <a:gd name="T38" fmla="*/ 138 w 276"/>
                <a:gd name="T39" fmla="*/ 89 h 276"/>
                <a:gd name="T40" fmla="*/ 178 w 276"/>
                <a:gd name="T41" fmla="*/ 109 h 276"/>
                <a:gd name="T42" fmla="*/ 187 w 276"/>
                <a:gd name="T43" fmla="*/ 138 h 276"/>
                <a:gd name="T44" fmla="*/ 138 w 276"/>
                <a:gd name="T45" fmla="*/ 186 h 276"/>
                <a:gd name="T46" fmla="*/ 90 w 276"/>
                <a:gd name="T47" fmla="*/ 138 h 276"/>
                <a:gd name="T48" fmla="*/ 99 w 276"/>
                <a:gd name="T49" fmla="*/ 109 h 276"/>
                <a:gd name="T50" fmla="*/ 249 w 276"/>
                <a:gd name="T51" fmla="*/ 222 h 276"/>
                <a:gd name="T52" fmla="*/ 223 w 276"/>
                <a:gd name="T53" fmla="*/ 249 h 276"/>
                <a:gd name="T54" fmla="*/ 54 w 276"/>
                <a:gd name="T55" fmla="*/ 249 h 276"/>
                <a:gd name="T56" fmla="*/ 27 w 276"/>
                <a:gd name="T57" fmla="*/ 222 h 276"/>
                <a:gd name="T58" fmla="*/ 27 w 276"/>
                <a:gd name="T59" fmla="*/ 109 h 276"/>
                <a:gd name="T60" fmla="*/ 68 w 276"/>
                <a:gd name="T61" fmla="*/ 109 h 276"/>
                <a:gd name="T62" fmla="*/ 63 w 276"/>
                <a:gd name="T63" fmla="*/ 138 h 276"/>
                <a:gd name="T64" fmla="*/ 138 w 276"/>
                <a:gd name="T65" fmla="*/ 213 h 276"/>
                <a:gd name="T66" fmla="*/ 214 w 276"/>
                <a:gd name="T67" fmla="*/ 138 h 276"/>
                <a:gd name="T68" fmla="*/ 208 w 276"/>
                <a:gd name="T69" fmla="*/ 109 h 276"/>
                <a:gd name="T70" fmla="*/ 249 w 276"/>
                <a:gd name="T71" fmla="*/ 109 h 276"/>
                <a:gd name="T72" fmla="*/ 249 w 276"/>
                <a:gd name="T73" fmla="*/ 222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76" h="276">
                  <a:moveTo>
                    <a:pt x="223" y="0"/>
                  </a:moveTo>
                  <a:cubicBezTo>
                    <a:pt x="54" y="0"/>
                    <a:pt x="54" y="0"/>
                    <a:pt x="54" y="0"/>
                  </a:cubicBezTo>
                  <a:cubicBezTo>
                    <a:pt x="24" y="0"/>
                    <a:pt x="0" y="24"/>
                    <a:pt x="0" y="53"/>
                  </a:cubicBezTo>
                  <a:cubicBezTo>
                    <a:pt x="0" y="109"/>
                    <a:pt x="0" y="109"/>
                    <a:pt x="0" y="109"/>
                  </a:cubicBezTo>
                  <a:cubicBezTo>
                    <a:pt x="0" y="222"/>
                    <a:pt x="0" y="222"/>
                    <a:pt x="0" y="222"/>
                  </a:cubicBezTo>
                  <a:cubicBezTo>
                    <a:pt x="0" y="252"/>
                    <a:pt x="24" y="276"/>
                    <a:pt x="54" y="276"/>
                  </a:cubicBezTo>
                  <a:cubicBezTo>
                    <a:pt x="223" y="276"/>
                    <a:pt x="223" y="276"/>
                    <a:pt x="223" y="276"/>
                  </a:cubicBezTo>
                  <a:cubicBezTo>
                    <a:pt x="252" y="276"/>
                    <a:pt x="276" y="252"/>
                    <a:pt x="276" y="222"/>
                  </a:cubicBezTo>
                  <a:cubicBezTo>
                    <a:pt x="276" y="109"/>
                    <a:pt x="276" y="109"/>
                    <a:pt x="276" y="109"/>
                  </a:cubicBezTo>
                  <a:cubicBezTo>
                    <a:pt x="276" y="53"/>
                    <a:pt x="276" y="53"/>
                    <a:pt x="276" y="53"/>
                  </a:cubicBezTo>
                  <a:cubicBezTo>
                    <a:pt x="276" y="24"/>
                    <a:pt x="252" y="0"/>
                    <a:pt x="223" y="0"/>
                  </a:cubicBezTo>
                  <a:moveTo>
                    <a:pt x="238" y="32"/>
                  </a:moveTo>
                  <a:cubicBezTo>
                    <a:pt x="244" y="31"/>
                    <a:pt x="244" y="31"/>
                    <a:pt x="244" y="31"/>
                  </a:cubicBezTo>
                  <a:cubicBezTo>
                    <a:pt x="244" y="38"/>
                    <a:pt x="244" y="38"/>
                    <a:pt x="244" y="38"/>
                  </a:cubicBezTo>
                  <a:cubicBezTo>
                    <a:pt x="244" y="78"/>
                    <a:pt x="244" y="78"/>
                    <a:pt x="244" y="78"/>
                  </a:cubicBezTo>
                  <a:cubicBezTo>
                    <a:pt x="198" y="78"/>
                    <a:pt x="198" y="78"/>
                    <a:pt x="198" y="78"/>
                  </a:cubicBezTo>
                  <a:cubicBezTo>
                    <a:pt x="198" y="32"/>
                    <a:pt x="198" y="32"/>
                    <a:pt x="198" y="32"/>
                  </a:cubicBezTo>
                  <a:lnTo>
                    <a:pt x="238" y="32"/>
                  </a:lnTo>
                  <a:close/>
                  <a:moveTo>
                    <a:pt x="99" y="109"/>
                  </a:moveTo>
                  <a:cubicBezTo>
                    <a:pt x="108" y="97"/>
                    <a:pt x="122" y="89"/>
                    <a:pt x="138" y="89"/>
                  </a:cubicBezTo>
                  <a:cubicBezTo>
                    <a:pt x="155" y="89"/>
                    <a:pt x="169" y="97"/>
                    <a:pt x="178" y="109"/>
                  </a:cubicBezTo>
                  <a:cubicBezTo>
                    <a:pt x="184" y="117"/>
                    <a:pt x="187" y="127"/>
                    <a:pt x="187" y="138"/>
                  </a:cubicBezTo>
                  <a:cubicBezTo>
                    <a:pt x="187" y="164"/>
                    <a:pt x="165" y="186"/>
                    <a:pt x="138" y="186"/>
                  </a:cubicBezTo>
                  <a:cubicBezTo>
                    <a:pt x="112" y="186"/>
                    <a:pt x="90" y="164"/>
                    <a:pt x="90" y="138"/>
                  </a:cubicBezTo>
                  <a:cubicBezTo>
                    <a:pt x="90" y="127"/>
                    <a:pt x="93" y="117"/>
                    <a:pt x="99" y="109"/>
                  </a:cubicBezTo>
                  <a:moveTo>
                    <a:pt x="249" y="222"/>
                  </a:moveTo>
                  <a:cubicBezTo>
                    <a:pt x="249" y="237"/>
                    <a:pt x="238" y="249"/>
                    <a:pt x="223" y="249"/>
                  </a:cubicBezTo>
                  <a:cubicBezTo>
                    <a:pt x="54" y="249"/>
                    <a:pt x="54" y="249"/>
                    <a:pt x="54" y="249"/>
                  </a:cubicBezTo>
                  <a:cubicBezTo>
                    <a:pt x="39" y="249"/>
                    <a:pt x="27" y="237"/>
                    <a:pt x="27" y="222"/>
                  </a:cubicBezTo>
                  <a:cubicBezTo>
                    <a:pt x="27" y="109"/>
                    <a:pt x="27" y="109"/>
                    <a:pt x="27" y="109"/>
                  </a:cubicBezTo>
                  <a:cubicBezTo>
                    <a:pt x="68" y="109"/>
                    <a:pt x="68" y="109"/>
                    <a:pt x="68" y="109"/>
                  </a:cubicBezTo>
                  <a:cubicBezTo>
                    <a:pt x="65" y="118"/>
                    <a:pt x="63" y="128"/>
                    <a:pt x="63" y="138"/>
                  </a:cubicBezTo>
                  <a:cubicBezTo>
                    <a:pt x="63" y="179"/>
                    <a:pt x="97" y="213"/>
                    <a:pt x="138" y="213"/>
                  </a:cubicBezTo>
                  <a:cubicBezTo>
                    <a:pt x="180" y="213"/>
                    <a:pt x="214" y="179"/>
                    <a:pt x="214" y="138"/>
                  </a:cubicBezTo>
                  <a:cubicBezTo>
                    <a:pt x="214" y="128"/>
                    <a:pt x="212" y="118"/>
                    <a:pt x="208" y="109"/>
                  </a:cubicBezTo>
                  <a:cubicBezTo>
                    <a:pt x="249" y="109"/>
                    <a:pt x="249" y="109"/>
                    <a:pt x="249" y="109"/>
                  </a:cubicBezTo>
                  <a:lnTo>
                    <a:pt x="249" y="222"/>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78" name="Freeform 84">
              <a:extLst>
                <a:ext uri="{FF2B5EF4-FFF2-40B4-BE49-F238E27FC236}">
                  <a16:creationId xmlns:a16="http://schemas.microsoft.com/office/drawing/2014/main" id="{13F25DCE-38E2-43DA-AC49-F0D591C1A433}"/>
                </a:ext>
              </a:extLst>
            </p:cNvPr>
            <p:cNvSpPr>
              <a:spLocks noEditPoints="1"/>
            </p:cNvSpPr>
            <p:nvPr/>
          </p:nvSpPr>
          <p:spPr bwMode="auto">
            <a:xfrm>
              <a:off x="5389975" y="3474335"/>
              <a:ext cx="106565" cy="104975"/>
            </a:xfrm>
            <a:custGeom>
              <a:avLst/>
              <a:gdLst>
                <a:gd name="T0" fmla="*/ 44 w 55"/>
                <a:gd name="T1" fmla="*/ 0 h 54"/>
                <a:gd name="T2" fmla="*/ 10 w 55"/>
                <a:gd name="T3" fmla="*/ 0 h 54"/>
                <a:gd name="T4" fmla="*/ 0 w 55"/>
                <a:gd name="T5" fmla="*/ 10 h 54"/>
                <a:gd name="T6" fmla="*/ 0 w 55"/>
                <a:gd name="T7" fmla="*/ 21 h 54"/>
                <a:gd name="T8" fmla="*/ 0 w 55"/>
                <a:gd name="T9" fmla="*/ 44 h 54"/>
                <a:gd name="T10" fmla="*/ 10 w 55"/>
                <a:gd name="T11" fmla="*/ 54 h 54"/>
                <a:gd name="T12" fmla="*/ 44 w 55"/>
                <a:gd name="T13" fmla="*/ 54 h 54"/>
                <a:gd name="T14" fmla="*/ 55 w 55"/>
                <a:gd name="T15" fmla="*/ 44 h 54"/>
                <a:gd name="T16" fmla="*/ 55 w 55"/>
                <a:gd name="T17" fmla="*/ 21 h 54"/>
                <a:gd name="T18" fmla="*/ 55 w 55"/>
                <a:gd name="T19" fmla="*/ 10 h 54"/>
                <a:gd name="T20" fmla="*/ 44 w 55"/>
                <a:gd name="T21" fmla="*/ 0 h 54"/>
                <a:gd name="T22" fmla="*/ 47 w 55"/>
                <a:gd name="T23" fmla="*/ 6 h 54"/>
                <a:gd name="T24" fmla="*/ 48 w 55"/>
                <a:gd name="T25" fmla="*/ 6 h 54"/>
                <a:gd name="T26" fmla="*/ 48 w 55"/>
                <a:gd name="T27" fmla="*/ 7 h 54"/>
                <a:gd name="T28" fmla="*/ 48 w 55"/>
                <a:gd name="T29" fmla="*/ 15 h 54"/>
                <a:gd name="T30" fmla="*/ 39 w 55"/>
                <a:gd name="T31" fmla="*/ 15 h 54"/>
                <a:gd name="T32" fmla="*/ 39 w 55"/>
                <a:gd name="T33" fmla="*/ 6 h 54"/>
                <a:gd name="T34" fmla="*/ 47 w 55"/>
                <a:gd name="T35" fmla="*/ 6 h 54"/>
                <a:gd name="T36" fmla="*/ 19 w 55"/>
                <a:gd name="T37" fmla="*/ 21 h 54"/>
                <a:gd name="T38" fmla="*/ 27 w 55"/>
                <a:gd name="T39" fmla="*/ 17 h 54"/>
                <a:gd name="T40" fmla="*/ 35 w 55"/>
                <a:gd name="T41" fmla="*/ 21 h 54"/>
                <a:gd name="T42" fmla="*/ 37 w 55"/>
                <a:gd name="T43" fmla="*/ 27 h 54"/>
                <a:gd name="T44" fmla="*/ 27 w 55"/>
                <a:gd name="T45" fmla="*/ 37 h 54"/>
                <a:gd name="T46" fmla="*/ 18 w 55"/>
                <a:gd name="T47" fmla="*/ 27 h 54"/>
                <a:gd name="T48" fmla="*/ 19 w 55"/>
                <a:gd name="T49" fmla="*/ 21 h 54"/>
                <a:gd name="T50" fmla="*/ 49 w 55"/>
                <a:gd name="T51" fmla="*/ 44 h 54"/>
                <a:gd name="T52" fmla="*/ 44 w 55"/>
                <a:gd name="T53" fmla="*/ 49 h 54"/>
                <a:gd name="T54" fmla="*/ 10 w 55"/>
                <a:gd name="T55" fmla="*/ 49 h 54"/>
                <a:gd name="T56" fmla="*/ 5 w 55"/>
                <a:gd name="T57" fmla="*/ 44 h 54"/>
                <a:gd name="T58" fmla="*/ 5 w 55"/>
                <a:gd name="T59" fmla="*/ 21 h 54"/>
                <a:gd name="T60" fmla="*/ 13 w 55"/>
                <a:gd name="T61" fmla="*/ 21 h 54"/>
                <a:gd name="T62" fmla="*/ 12 w 55"/>
                <a:gd name="T63" fmla="*/ 27 h 54"/>
                <a:gd name="T64" fmla="*/ 27 w 55"/>
                <a:gd name="T65" fmla="*/ 42 h 54"/>
                <a:gd name="T66" fmla="*/ 42 w 55"/>
                <a:gd name="T67" fmla="*/ 27 h 54"/>
                <a:gd name="T68" fmla="*/ 41 w 55"/>
                <a:gd name="T69" fmla="*/ 21 h 54"/>
                <a:gd name="T70" fmla="*/ 49 w 55"/>
                <a:gd name="T71" fmla="*/ 21 h 54"/>
                <a:gd name="T72" fmla="*/ 49 w 55"/>
                <a:gd name="T73" fmla="*/ 4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5" h="54">
                  <a:moveTo>
                    <a:pt x="44" y="0"/>
                  </a:moveTo>
                  <a:cubicBezTo>
                    <a:pt x="10" y="0"/>
                    <a:pt x="10" y="0"/>
                    <a:pt x="10" y="0"/>
                  </a:cubicBezTo>
                  <a:cubicBezTo>
                    <a:pt x="5" y="0"/>
                    <a:pt x="0" y="4"/>
                    <a:pt x="0" y="10"/>
                  </a:cubicBezTo>
                  <a:cubicBezTo>
                    <a:pt x="0" y="21"/>
                    <a:pt x="0" y="21"/>
                    <a:pt x="0" y="21"/>
                  </a:cubicBezTo>
                  <a:cubicBezTo>
                    <a:pt x="0" y="44"/>
                    <a:pt x="0" y="44"/>
                    <a:pt x="0" y="44"/>
                  </a:cubicBezTo>
                  <a:cubicBezTo>
                    <a:pt x="0" y="50"/>
                    <a:pt x="5" y="54"/>
                    <a:pt x="10" y="54"/>
                  </a:cubicBezTo>
                  <a:cubicBezTo>
                    <a:pt x="44" y="54"/>
                    <a:pt x="44" y="54"/>
                    <a:pt x="44" y="54"/>
                  </a:cubicBezTo>
                  <a:cubicBezTo>
                    <a:pt x="50" y="54"/>
                    <a:pt x="55" y="50"/>
                    <a:pt x="55" y="44"/>
                  </a:cubicBezTo>
                  <a:cubicBezTo>
                    <a:pt x="55" y="21"/>
                    <a:pt x="55" y="21"/>
                    <a:pt x="55" y="21"/>
                  </a:cubicBezTo>
                  <a:cubicBezTo>
                    <a:pt x="55" y="10"/>
                    <a:pt x="55" y="10"/>
                    <a:pt x="55" y="10"/>
                  </a:cubicBezTo>
                  <a:cubicBezTo>
                    <a:pt x="55" y="4"/>
                    <a:pt x="50" y="0"/>
                    <a:pt x="44" y="0"/>
                  </a:cubicBezTo>
                  <a:moveTo>
                    <a:pt x="47" y="6"/>
                  </a:moveTo>
                  <a:cubicBezTo>
                    <a:pt x="48" y="6"/>
                    <a:pt x="48" y="6"/>
                    <a:pt x="48" y="6"/>
                  </a:cubicBezTo>
                  <a:cubicBezTo>
                    <a:pt x="48" y="7"/>
                    <a:pt x="48" y="7"/>
                    <a:pt x="48" y="7"/>
                  </a:cubicBezTo>
                  <a:cubicBezTo>
                    <a:pt x="48" y="15"/>
                    <a:pt x="48" y="15"/>
                    <a:pt x="48" y="15"/>
                  </a:cubicBezTo>
                  <a:cubicBezTo>
                    <a:pt x="39" y="15"/>
                    <a:pt x="39" y="15"/>
                    <a:pt x="39" y="15"/>
                  </a:cubicBezTo>
                  <a:cubicBezTo>
                    <a:pt x="39" y="6"/>
                    <a:pt x="39" y="6"/>
                    <a:pt x="39" y="6"/>
                  </a:cubicBezTo>
                  <a:lnTo>
                    <a:pt x="47" y="6"/>
                  </a:lnTo>
                  <a:close/>
                  <a:moveTo>
                    <a:pt x="19" y="21"/>
                  </a:moveTo>
                  <a:cubicBezTo>
                    <a:pt x="21" y="19"/>
                    <a:pt x="24" y="17"/>
                    <a:pt x="27" y="17"/>
                  </a:cubicBezTo>
                  <a:cubicBezTo>
                    <a:pt x="30" y="17"/>
                    <a:pt x="33" y="19"/>
                    <a:pt x="35" y="21"/>
                  </a:cubicBezTo>
                  <a:cubicBezTo>
                    <a:pt x="36" y="23"/>
                    <a:pt x="37" y="25"/>
                    <a:pt x="37" y="27"/>
                  </a:cubicBezTo>
                  <a:cubicBezTo>
                    <a:pt x="37" y="32"/>
                    <a:pt x="33" y="37"/>
                    <a:pt x="27" y="37"/>
                  </a:cubicBezTo>
                  <a:cubicBezTo>
                    <a:pt x="22" y="37"/>
                    <a:pt x="18" y="32"/>
                    <a:pt x="18" y="27"/>
                  </a:cubicBezTo>
                  <a:cubicBezTo>
                    <a:pt x="18" y="25"/>
                    <a:pt x="18" y="23"/>
                    <a:pt x="19" y="21"/>
                  </a:cubicBezTo>
                  <a:moveTo>
                    <a:pt x="49" y="44"/>
                  </a:moveTo>
                  <a:cubicBezTo>
                    <a:pt x="49" y="47"/>
                    <a:pt x="47" y="49"/>
                    <a:pt x="44" y="49"/>
                  </a:cubicBezTo>
                  <a:cubicBezTo>
                    <a:pt x="10" y="49"/>
                    <a:pt x="10" y="49"/>
                    <a:pt x="10" y="49"/>
                  </a:cubicBezTo>
                  <a:cubicBezTo>
                    <a:pt x="8" y="49"/>
                    <a:pt x="5" y="47"/>
                    <a:pt x="5" y="44"/>
                  </a:cubicBezTo>
                  <a:cubicBezTo>
                    <a:pt x="5" y="21"/>
                    <a:pt x="5" y="21"/>
                    <a:pt x="5" y="21"/>
                  </a:cubicBezTo>
                  <a:cubicBezTo>
                    <a:pt x="13" y="21"/>
                    <a:pt x="13" y="21"/>
                    <a:pt x="13" y="21"/>
                  </a:cubicBezTo>
                  <a:cubicBezTo>
                    <a:pt x="13" y="23"/>
                    <a:pt x="12" y="25"/>
                    <a:pt x="12" y="27"/>
                  </a:cubicBezTo>
                  <a:cubicBezTo>
                    <a:pt x="12" y="35"/>
                    <a:pt x="19" y="42"/>
                    <a:pt x="27" y="42"/>
                  </a:cubicBezTo>
                  <a:cubicBezTo>
                    <a:pt x="35" y="42"/>
                    <a:pt x="42" y="35"/>
                    <a:pt x="42" y="27"/>
                  </a:cubicBezTo>
                  <a:cubicBezTo>
                    <a:pt x="42" y="25"/>
                    <a:pt x="42" y="23"/>
                    <a:pt x="41" y="21"/>
                  </a:cubicBezTo>
                  <a:cubicBezTo>
                    <a:pt x="49" y="21"/>
                    <a:pt x="49" y="21"/>
                    <a:pt x="49" y="21"/>
                  </a:cubicBezTo>
                  <a:lnTo>
                    <a:pt x="49" y="44"/>
                  </a:lnTo>
                  <a:close/>
                </a:path>
              </a:pathLst>
            </a:custGeom>
            <a:solidFill>
              <a:srgbClr val="CCCCC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79" name="Freeform 85">
              <a:extLst>
                <a:ext uri="{FF2B5EF4-FFF2-40B4-BE49-F238E27FC236}">
                  <a16:creationId xmlns:a16="http://schemas.microsoft.com/office/drawing/2014/main" id="{8707E368-A66F-42B8-A08A-D9704F02574C}"/>
                </a:ext>
              </a:extLst>
            </p:cNvPr>
            <p:cNvSpPr>
              <a:spLocks noEditPoints="1"/>
            </p:cNvSpPr>
            <p:nvPr/>
          </p:nvSpPr>
          <p:spPr bwMode="auto">
            <a:xfrm>
              <a:off x="6741919" y="3108515"/>
              <a:ext cx="149509" cy="147919"/>
            </a:xfrm>
            <a:custGeom>
              <a:avLst/>
              <a:gdLst>
                <a:gd name="T0" fmla="*/ 62 w 76"/>
                <a:gd name="T1" fmla="*/ 0 h 76"/>
                <a:gd name="T2" fmla="*/ 15 w 76"/>
                <a:gd name="T3" fmla="*/ 0 h 76"/>
                <a:gd name="T4" fmla="*/ 0 w 76"/>
                <a:gd name="T5" fmla="*/ 15 h 76"/>
                <a:gd name="T6" fmla="*/ 0 w 76"/>
                <a:gd name="T7" fmla="*/ 30 h 76"/>
                <a:gd name="T8" fmla="*/ 0 w 76"/>
                <a:gd name="T9" fmla="*/ 61 h 76"/>
                <a:gd name="T10" fmla="*/ 15 w 76"/>
                <a:gd name="T11" fmla="*/ 76 h 76"/>
                <a:gd name="T12" fmla="*/ 62 w 76"/>
                <a:gd name="T13" fmla="*/ 76 h 76"/>
                <a:gd name="T14" fmla="*/ 76 w 76"/>
                <a:gd name="T15" fmla="*/ 61 h 76"/>
                <a:gd name="T16" fmla="*/ 76 w 76"/>
                <a:gd name="T17" fmla="*/ 30 h 76"/>
                <a:gd name="T18" fmla="*/ 76 w 76"/>
                <a:gd name="T19" fmla="*/ 15 h 76"/>
                <a:gd name="T20" fmla="*/ 62 w 76"/>
                <a:gd name="T21" fmla="*/ 0 h 76"/>
                <a:gd name="T22" fmla="*/ 66 w 76"/>
                <a:gd name="T23" fmla="*/ 9 h 76"/>
                <a:gd name="T24" fmla="*/ 68 w 76"/>
                <a:gd name="T25" fmla="*/ 9 h 76"/>
                <a:gd name="T26" fmla="*/ 68 w 76"/>
                <a:gd name="T27" fmla="*/ 10 h 76"/>
                <a:gd name="T28" fmla="*/ 68 w 76"/>
                <a:gd name="T29" fmla="*/ 22 h 76"/>
                <a:gd name="T30" fmla="*/ 55 w 76"/>
                <a:gd name="T31" fmla="*/ 22 h 76"/>
                <a:gd name="T32" fmla="*/ 55 w 76"/>
                <a:gd name="T33" fmla="*/ 9 h 76"/>
                <a:gd name="T34" fmla="*/ 66 w 76"/>
                <a:gd name="T35" fmla="*/ 9 h 76"/>
                <a:gd name="T36" fmla="*/ 27 w 76"/>
                <a:gd name="T37" fmla="*/ 30 h 76"/>
                <a:gd name="T38" fmla="*/ 38 w 76"/>
                <a:gd name="T39" fmla="*/ 25 h 76"/>
                <a:gd name="T40" fmla="*/ 49 w 76"/>
                <a:gd name="T41" fmla="*/ 30 h 76"/>
                <a:gd name="T42" fmla="*/ 52 w 76"/>
                <a:gd name="T43" fmla="*/ 38 h 76"/>
                <a:gd name="T44" fmla="*/ 38 w 76"/>
                <a:gd name="T45" fmla="*/ 51 h 76"/>
                <a:gd name="T46" fmla="*/ 25 w 76"/>
                <a:gd name="T47" fmla="*/ 38 h 76"/>
                <a:gd name="T48" fmla="*/ 27 w 76"/>
                <a:gd name="T49" fmla="*/ 30 h 76"/>
                <a:gd name="T50" fmla="*/ 69 w 76"/>
                <a:gd name="T51" fmla="*/ 61 h 76"/>
                <a:gd name="T52" fmla="*/ 62 w 76"/>
                <a:gd name="T53" fmla="*/ 69 h 76"/>
                <a:gd name="T54" fmla="*/ 15 w 76"/>
                <a:gd name="T55" fmla="*/ 69 h 76"/>
                <a:gd name="T56" fmla="*/ 8 w 76"/>
                <a:gd name="T57" fmla="*/ 61 h 76"/>
                <a:gd name="T58" fmla="*/ 8 w 76"/>
                <a:gd name="T59" fmla="*/ 30 h 76"/>
                <a:gd name="T60" fmla="*/ 19 w 76"/>
                <a:gd name="T61" fmla="*/ 30 h 76"/>
                <a:gd name="T62" fmla="*/ 18 w 76"/>
                <a:gd name="T63" fmla="*/ 38 h 76"/>
                <a:gd name="T64" fmla="*/ 38 w 76"/>
                <a:gd name="T65" fmla="*/ 59 h 76"/>
                <a:gd name="T66" fmla="*/ 59 w 76"/>
                <a:gd name="T67" fmla="*/ 38 h 76"/>
                <a:gd name="T68" fmla="*/ 58 w 76"/>
                <a:gd name="T69" fmla="*/ 30 h 76"/>
                <a:gd name="T70" fmla="*/ 69 w 76"/>
                <a:gd name="T71" fmla="*/ 30 h 76"/>
                <a:gd name="T72" fmla="*/ 69 w 76"/>
                <a:gd name="T73" fmla="*/ 6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6" h="76">
                  <a:moveTo>
                    <a:pt x="62" y="0"/>
                  </a:moveTo>
                  <a:cubicBezTo>
                    <a:pt x="15" y="0"/>
                    <a:pt x="15" y="0"/>
                    <a:pt x="15" y="0"/>
                  </a:cubicBezTo>
                  <a:cubicBezTo>
                    <a:pt x="7" y="0"/>
                    <a:pt x="0" y="7"/>
                    <a:pt x="0" y="15"/>
                  </a:cubicBezTo>
                  <a:cubicBezTo>
                    <a:pt x="0" y="30"/>
                    <a:pt x="0" y="30"/>
                    <a:pt x="0" y="30"/>
                  </a:cubicBezTo>
                  <a:cubicBezTo>
                    <a:pt x="0" y="61"/>
                    <a:pt x="0" y="61"/>
                    <a:pt x="0" y="61"/>
                  </a:cubicBezTo>
                  <a:cubicBezTo>
                    <a:pt x="0" y="69"/>
                    <a:pt x="7" y="76"/>
                    <a:pt x="15" y="76"/>
                  </a:cubicBezTo>
                  <a:cubicBezTo>
                    <a:pt x="62" y="76"/>
                    <a:pt x="62" y="76"/>
                    <a:pt x="62" y="76"/>
                  </a:cubicBezTo>
                  <a:cubicBezTo>
                    <a:pt x="70" y="76"/>
                    <a:pt x="76" y="69"/>
                    <a:pt x="76" y="61"/>
                  </a:cubicBezTo>
                  <a:cubicBezTo>
                    <a:pt x="76" y="30"/>
                    <a:pt x="76" y="30"/>
                    <a:pt x="76" y="30"/>
                  </a:cubicBezTo>
                  <a:cubicBezTo>
                    <a:pt x="76" y="15"/>
                    <a:pt x="76" y="15"/>
                    <a:pt x="76" y="15"/>
                  </a:cubicBezTo>
                  <a:cubicBezTo>
                    <a:pt x="76" y="7"/>
                    <a:pt x="70" y="0"/>
                    <a:pt x="62" y="0"/>
                  </a:cubicBezTo>
                  <a:moveTo>
                    <a:pt x="66" y="9"/>
                  </a:moveTo>
                  <a:cubicBezTo>
                    <a:pt x="68" y="9"/>
                    <a:pt x="68" y="9"/>
                    <a:pt x="68" y="9"/>
                  </a:cubicBezTo>
                  <a:cubicBezTo>
                    <a:pt x="68" y="10"/>
                    <a:pt x="68" y="10"/>
                    <a:pt x="68" y="10"/>
                  </a:cubicBezTo>
                  <a:cubicBezTo>
                    <a:pt x="68" y="22"/>
                    <a:pt x="68" y="22"/>
                    <a:pt x="68" y="22"/>
                  </a:cubicBezTo>
                  <a:cubicBezTo>
                    <a:pt x="55" y="22"/>
                    <a:pt x="55" y="22"/>
                    <a:pt x="55" y="22"/>
                  </a:cubicBezTo>
                  <a:cubicBezTo>
                    <a:pt x="55" y="9"/>
                    <a:pt x="55" y="9"/>
                    <a:pt x="55" y="9"/>
                  </a:cubicBezTo>
                  <a:lnTo>
                    <a:pt x="66" y="9"/>
                  </a:lnTo>
                  <a:close/>
                  <a:moveTo>
                    <a:pt x="27" y="30"/>
                  </a:moveTo>
                  <a:cubicBezTo>
                    <a:pt x="30" y="27"/>
                    <a:pt x="34" y="25"/>
                    <a:pt x="38" y="25"/>
                  </a:cubicBezTo>
                  <a:cubicBezTo>
                    <a:pt x="43" y="25"/>
                    <a:pt x="47" y="27"/>
                    <a:pt x="49" y="30"/>
                  </a:cubicBezTo>
                  <a:cubicBezTo>
                    <a:pt x="51" y="32"/>
                    <a:pt x="52" y="35"/>
                    <a:pt x="52" y="38"/>
                  </a:cubicBezTo>
                  <a:cubicBezTo>
                    <a:pt x="52" y="45"/>
                    <a:pt x="46" y="51"/>
                    <a:pt x="38" y="51"/>
                  </a:cubicBezTo>
                  <a:cubicBezTo>
                    <a:pt x="31" y="51"/>
                    <a:pt x="25" y="45"/>
                    <a:pt x="25" y="38"/>
                  </a:cubicBezTo>
                  <a:cubicBezTo>
                    <a:pt x="25" y="35"/>
                    <a:pt x="26" y="32"/>
                    <a:pt x="27" y="30"/>
                  </a:cubicBezTo>
                  <a:moveTo>
                    <a:pt x="69" y="61"/>
                  </a:moveTo>
                  <a:cubicBezTo>
                    <a:pt x="69" y="65"/>
                    <a:pt x="66" y="69"/>
                    <a:pt x="62" y="69"/>
                  </a:cubicBezTo>
                  <a:cubicBezTo>
                    <a:pt x="15" y="69"/>
                    <a:pt x="15" y="69"/>
                    <a:pt x="15" y="69"/>
                  </a:cubicBezTo>
                  <a:cubicBezTo>
                    <a:pt x="11" y="69"/>
                    <a:pt x="8" y="65"/>
                    <a:pt x="8" y="61"/>
                  </a:cubicBezTo>
                  <a:cubicBezTo>
                    <a:pt x="8" y="30"/>
                    <a:pt x="8" y="30"/>
                    <a:pt x="8" y="30"/>
                  </a:cubicBezTo>
                  <a:cubicBezTo>
                    <a:pt x="19" y="30"/>
                    <a:pt x="19" y="30"/>
                    <a:pt x="19" y="30"/>
                  </a:cubicBezTo>
                  <a:cubicBezTo>
                    <a:pt x="18" y="33"/>
                    <a:pt x="18" y="35"/>
                    <a:pt x="18" y="38"/>
                  </a:cubicBezTo>
                  <a:cubicBezTo>
                    <a:pt x="18" y="49"/>
                    <a:pt x="27" y="59"/>
                    <a:pt x="38" y="59"/>
                  </a:cubicBezTo>
                  <a:cubicBezTo>
                    <a:pt x="50" y="59"/>
                    <a:pt x="59" y="49"/>
                    <a:pt x="59" y="38"/>
                  </a:cubicBezTo>
                  <a:cubicBezTo>
                    <a:pt x="59" y="35"/>
                    <a:pt x="59" y="33"/>
                    <a:pt x="58" y="30"/>
                  </a:cubicBezTo>
                  <a:cubicBezTo>
                    <a:pt x="69" y="30"/>
                    <a:pt x="69" y="30"/>
                    <a:pt x="69" y="30"/>
                  </a:cubicBezTo>
                  <a:lnTo>
                    <a:pt x="69" y="61"/>
                  </a:lnTo>
                  <a:close/>
                </a:path>
              </a:pathLst>
            </a:custGeom>
            <a:solidFill>
              <a:srgbClr val="CCCCC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80" name="Freeform 86">
              <a:extLst>
                <a:ext uri="{FF2B5EF4-FFF2-40B4-BE49-F238E27FC236}">
                  <a16:creationId xmlns:a16="http://schemas.microsoft.com/office/drawing/2014/main" id="{69F9210D-BB9E-4EB8-8621-2BE3ACB385BB}"/>
                </a:ext>
              </a:extLst>
            </p:cNvPr>
            <p:cNvSpPr>
              <a:spLocks noEditPoints="1"/>
            </p:cNvSpPr>
            <p:nvPr/>
          </p:nvSpPr>
          <p:spPr bwMode="auto">
            <a:xfrm>
              <a:off x="5469501" y="1923576"/>
              <a:ext cx="147919" cy="147919"/>
            </a:xfrm>
            <a:custGeom>
              <a:avLst/>
              <a:gdLst>
                <a:gd name="T0" fmla="*/ 61 w 76"/>
                <a:gd name="T1" fmla="*/ 0 h 76"/>
                <a:gd name="T2" fmla="*/ 15 w 76"/>
                <a:gd name="T3" fmla="*/ 0 h 76"/>
                <a:gd name="T4" fmla="*/ 0 w 76"/>
                <a:gd name="T5" fmla="*/ 14 h 76"/>
                <a:gd name="T6" fmla="*/ 0 w 76"/>
                <a:gd name="T7" fmla="*/ 30 h 76"/>
                <a:gd name="T8" fmla="*/ 0 w 76"/>
                <a:gd name="T9" fmla="*/ 61 h 76"/>
                <a:gd name="T10" fmla="*/ 15 w 76"/>
                <a:gd name="T11" fmla="*/ 76 h 76"/>
                <a:gd name="T12" fmla="*/ 61 w 76"/>
                <a:gd name="T13" fmla="*/ 76 h 76"/>
                <a:gd name="T14" fmla="*/ 76 w 76"/>
                <a:gd name="T15" fmla="*/ 61 h 76"/>
                <a:gd name="T16" fmla="*/ 76 w 76"/>
                <a:gd name="T17" fmla="*/ 30 h 76"/>
                <a:gd name="T18" fmla="*/ 76 w 76"/>
                <a:gd name="T19" fmla="*/ 14 h 76"/>
                <a:gd name="T20" fmla="*/ 61 w 76"/>
                <a:gd name="T21" fmla="*/ 0 h 76"/>
                <a:gd name="T22" fmla="*/ 65 w 76"/>
                <a:gd name="T23" fmla="*/ 9 h 76"/>
                <a:gd name="T24" fmla="*/ 67 w 76"/>
                <a:gd name="T25" fmla="*/ 9 h 76"/>
                <a:gd name="T26" fmla="*/ 67 w 76"/>
                <a:gd name="T27" fmla="*/ 10 h 76"/>
                <a:gd name="T28" fmla="*/ 67 w 76"/>
                <a:gd name="T29" fmla="*/ 21 h 76"/>
                <a:gd name="T30" fmla="*/ 54 w 76"/>
                <a:gd name="T31" fmla="*/ 21 h 76"/>
                <a:gd name="T32" fmla="*/ 54 w 76"/>
                <a:gd name="T33" fmla="*/ 9 h 76"/>
                <a:gd name="T34" fmla="*/ 65 w 76"/>
                <a:gd name="T35" fmla="*/ 9 h 76"/>
                <a:gd name="T36" fmla="*/ 27 w 76"/>
                <a:gd name="T37" fmla="*/ 30 h 76"/>
                <a:gd name="T38" fmla="*/ 38 w 76"/>
                <a:gd name="T39" fmla="*/ 24 h 76"/>
                <a:gd name="T40" fmla="*/ 49 w 76"/>
                <a:gd name="T41" fmla="*/ 30 h 76"/>
                <a:gd name="T42" fmla="*/ 51 w 76"/>
                <a:gd name="T43" fmla="*/ 38 h 76"/>
                <a:gd name="T44" fmla="*/ 38 w 76"/>
                <a:gd name="T45" fmla="*/ 51 h 76"/>
                <a:gd name="T46" fmla="*/ 24 w 76"/>
                <a:gd name="T47" fmla="*/ 38 h 76"/>
                <a:gd name="T48" fmla="*/ 27 w 76"/>
                <a:gd name="T49" fmla="*/ 30 h 76"/>
                <a:gd name="T50" fmla="*/ 68 w 76"/>
                <a:gd name="T51" fmla="*/ 61 h 76"/>
                <a:gd name="T52" fmla="*/ 61 w 76"/>
                <a:gd name="T53" fmla="*/ 68 h 76"/>
                <a:gd name="T54" fmla="*/ 15 w 76"/>
                <a:gd name="T55" fmla="*/ 68 h 76"/>
                <a:gd name="T56" fmla="*/ 7 w 76"/>
                <a:gd name="T57" fmla="*/ 61 h 76"/>
                <a:gd name="T58" fmla="*/ 7 w 76"/>
                <a:gd name="T59" fmla="*/ 30 h 76"/>
                <a:gd name="T60" fmla="*/ 19 w 76"/>
                <a:gd name="T61" fmla="*/ 30 h 76"/>
                <a:gd name="T62" fmla="*/ 17 w 76"/>
                <a:gd name="T63" fmla="*/ 38 h 76"/>
                <a:gd name="T64" fmla="*/ 38 w 76"/>
                <a:gd name="T65" fmla="*/ 59 h 76"/>
                <a:gd name="T66" fmla="*/ 59 w 76"/>
                <a:gd name="T67" fmla="*/ 38 h 76"/>
                <a:gd name="T68" fmla="*/ 57 w 76"/>
                <a:gd name="T69" fmla="*/ 30 h 76"/>
                <a:gd name="T70" fmla="*/ 68 w 76"/>
                <a:gd name="T71" fmla="*/ 30 h 76"/>
                <a:gd name="T72" fmla="*/ 68 w 76"/>
                <a:gd name="T73" fmla="*/ 6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6" h="76">
                  <a:moveTo>
                    <a:pt x="61" y="0"/>
                  </a:moveTo>
                  <a:cubicBezTo>
                    <a:pt x="15" y="0"/>
                    <a:pt x="15" y="0"/>
                    <a:pt x="15" y="0"/>
                  </a:cubicBezTo>
                  <a:cubicBezTo>
                    <a:pt x="6" y="0"/>
                    <a:pt x="0" y="6"/>
                    <a:pt x="0" y="14"/>
                  </a:cubicBezTo>
                  <a:cubicBezTo>
                    <a:pt x="0" y="30"/>
                    <a:pt x="0" y="30"/>
                    <a:pt x="0" y="30"/>
                  </a:cubicBezTo>
                  <a:cubicBezTo>
                    <a:pt x="0" y="61"/>
                    <a:pt x="0" y="61"/>
                    <a:pt x="0" y="61"/>
                  </a:cubicBezTo>
                  <a:cubicBezTo>
                    <a:pt x="0" y="69"/>
                    <a:pt x="6" y="76"/>
                    <a:pt x="15" y="76"/>
                  </a:cubicBezTo>
                  <a:cubicBezTo>
                    <a:pt x="61" y="76"/>
                    <a:pt x="61" y="76"/>
                    <a:pt x="61" y="76"/>
                  </a:cubicBezTo>
                  <a:cubicBezTo>
                    <a:pt x="69" y="76"/>
                    <a:pt x="76" y="69"/>
                    <a:pt x="76" y="61"/>
                  </a:cubicBezTo>
                  <a:cubicBezTo>
                    <a:pt x="76" y="30"/>
                    <a:pt x="76" y="30"/>
                    <a:pt x="76" y="30"/>
                  </a:cubicBezTo>
                  <a:cubicBezTo>
                    <a:pt x="76" y="14"/>
                    <a:pt x="76" y="14"/>
                    <a:pt x="76" y="14"/>
                  </a:cubicBezTo>
                  <a:cubicBezTo>
                    <a:pt x="76" y="6"/>
                    <a:pt x="69" y="0"/>
                    <a:pt x="61" y="0"/>
                  </a:cubicBezTo>
                  <a:moveTo>
                    <a:pt x="65" y="9"/>
                  </a:moveTo>
                  <a:cubicBezTo>
                    <a:pt x="67" y="9"/>
                    <a:pt x="67" y="9"/>
                    <a:pt x="67" y="9"/>
                  </a:cubicBezTo>
                  <a:cubicBezTo>
                    <a:pt x="67" y="10"/>
                    <a:pt x="67" y="10"/>
                    <a:pt x="67" y="10"/>
                  </a:cubicBezTo>
                  <a:cubicBezTo>
                    <a:pt x="67" y="21"/>
                    <a:pt x="67" y="21"/>
                    <a:pt x="67" y="21"/>
                  </a:cubicBezTo>
                  <a:cubicBezTo>
                    <a:pt x="54" y="21"/>
                    <a:pt x="54" y="21"/>
                    <a:pt x="54" y="21"/>
                  </a:cubicBezTo>
                  <a:cubicBezTo>
                    <a:pt x="54" y="9"/>
                    <a:pt x="54" y="9"/>
                    <a:pt x="54" y="9"/>
                  </a:cubicBezTo>
                  <a:lnTo>
                    <a:pt x="65" y="9"/>
                  </a:lnTo>
                  <a:close/>
                  <a:moveTo>
                    <a:pt x="27" y="30"/>
                  </a:moveTo>
                  <a:cubicBezTo>
                    <a:pt x="29" y="27"/>
                    <a:pt x="33" y="24"/>
                    <a:pt x="38" y="24"/>
                  </a:cubicBezTo>
                  <a:cubicBezTo>
                    <a:pt x="42" y="24"/>
                    <a:pt x="46" y="27"/>
                    <a:pt x="49" y="30"/>
                  </a:cubicBezTo>
                  <a:cubicBezTo>
                    <a:pt x="50" y="32"/>
                    <a:pt x="51" y="35"/>
                    <a:pt x="51" y="38"/>
                  </a:cubicBezTo>
                  <a:cubicBezTo>
                    <a:pt x="51" y="45"/>
                    <a:pt x="45" y="51"/>
                    <a:pt x="38" y="51"/>
                  </a:cubicBezTo>
                  <a:cubicBezTo>
                    <a:pt x="30" y="51"/>
                    <a:pt x="24" y="45"/>
                    <a:pt x="24" y="38"/>
                  </a:cubicBezTo>
                  <a:cubicBezTo>
                    <a:pt x="24" y="35"/>
                    <a:pt x="25" y="32"/>
                    <a:pt x="27" y="30"/>
                  </a:cubicBezTo>
                  <a:moveTo>
                    <a:pt x="68" y="61"/>
                  </a:moveTo>
                  <a:cubicBezTo>
                    <a:pt x="68" y="65"/>
                    <a:pt x="65" y="68"/>
                    <a:pt x="61" y="68"/>
                  </a:cubicBezTo>
                  <a:cubicBezTo>
                    <a:pt x="15" y="68"/>
                    <a:pt x="15" y="68"/>
                    <a:pt x="15" y="68"/>
                  </a:cubicBezTo>
                  <a:cubicBezTo>
                    <a:pt x="10" y="68"/>
                    <a:pt x="7" y="65"/>
                    <a:pt x="7" y="61"/>
                  </a:cubicBezTo>
                  <a:cubicBezTo>
                    <a:pt x="7" y="30"/>
                    <a:pt x="7" y="30"/>
                    <a:pt x="7" y="30"/>
                  </a:cubicBezTo>
                  <a:cubicBezTo>
                    <a:pt x="19" y="30"/>
                    <a:pt x="19" y="30"/>
                    <a:pt x="19" y="30"/>
                  </a:cubicBezTo>
                  <a:cubicBezTo>
                    <a:pt x="18" y="32"/>
                    <a:pt x="17" y="35"/>
                    <a:pt x="17" y="38"/>
                  </a:cubicBezTo>
                  <a:cubicBezTo>
                    <a:pt x="17" y="49"/>
                    <a:pt x="26" y="59"/>
                    <a:pt x="38" y="59"/>
                  </a:cubicBezTo>
                  <a:cubicBezTo>
                    <a:pt x="49" y="59"/>
                    <a:pt x="59" y="49"/>
                    <a:pt x="59" y="38"/>
                  </a:cubicBezTo>
                  <a:cubicBezTo>
                    <a:pt x="59" y="35"/>
                    <a:pt x="58" y="32"/>
                    <a:pt x="57" y="30"/>
                  </a:cubicBezTo>
                  <a:cubicBezTo>
                    <a:pt x="68" y="30"/>
                    <a:pt x="68" y="30"/>
                    <a:pt x="68" y="30"/>
                  </a:cubicBezTo>
                  <a:lnTo>
                    <a:pt x="68" y="61"/>
                  </a:lnTo>
                  <a:close/>
                </a:path>
              </a:pathLst>
            </a:custGeom>
            <a:solidFill>
              <a:srgbClr val="CCCCC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81" name="Freeform 87">
              <a:extLst>
                <a:ext uri="{FF2B5EF4-FFF2-40B4-BE49-F238E27FC236}">
                  <a16:creationId xmlns:a16="http://schemas.microsoft.com/office/drawing/2014/main" id="{FFFB89EC-C0EE-4209-9211-95AFA3D8E97A}"/>
                </a:ext>
              </a:extLst>
            </p:cNvPr>
            <p:cNvSpPr>
              <a:spLocks noEditPoints="1"/>
            </p:cNvSpPr>
            <p:nvPr/>
          </p:nvSpPr>
          <p:spPr bwMode="auto">
            <a:xfrm>
              <a:off x="7341546" y="2667940"/>
              <a:ext cx="303790" cy="349915"/>
            </a:xfrm>
            <a:custGeom>
              <a:avLst/>
              <a:gdLst>
                <a:gd name="T0" fmla="*/ 95 w 156"/>
                <a:gd name="T1" fmla="*/ 144 h 180"/>
                <a:gd name="T2" fmla="*/ 102 w 156"/>
                <a:gd name="T3" fmla="*/ 145 h 180"/>
                <a:gd name="T4" fmla="*/ 102 w 156"/>
                <a:gd name="T5" fmla="*/ 130 h 180"/>
                <a:gd name="T6" fmla="*/ 73 w 156"/>
                <a:gd name="T7" fmla="*/ 152 h 180"/>
                <a:gd name="T8" fmla="*/ 100 w 156"/>
                <a:gd name="T9" fmla="*/ 180 h 180"/>
                <a:gd name="T10" fmla="*/ 120 w 156"/>
                <a:gd name="T11" fmla="*/ 180 h 180"/>
                <a:gd name="T12" fmla="*/ 156 w 156"/>
                <a:gd name="T13" fmla="*/ 105 h 180"/>
                <a:gd name="T14" fmla="*/ 142 w 156"/>
                <a:gd name="T15" fmla="*/ 24 h 180"/>
                <a:gd name="T16" fmla="*/ 113 w 156"/>
                <a:gd name="T17" fmla="*/ 12 h 180"/>
                <a:gd name="T18" fmla="*/ 91 w 156"/>
                <a:gd name="T19" fmla="*/ 12 h 180"/>
                <a:gd name="T20" fmla="*/ 68 w 156"/>
                <a:gd name="T21" fmla="*/ 0 h 180"/>
                <a:gd name="T22" fmla="*/ 52 w 156"/>
                <a:gd name="T23" fmla="*/ 13 h 180"/>
                <a:gd name="T24" fmla="*/ 52 w 156"/>
                <a:gd name="T25" fmla="*/ 38 h 180"/>
                <a:gd name="T26" fmla="*/ 44 w 156"/>
                <a:gd name="T27" fmla="*/ 46 h 180"/>
                <a:gd name="T28" fmla="*/ 10 w 156"/>
                <a:gd name="T29" fmla="*/ 46 h 180"/>
                <a:gd name="T30" fmla="*/ 0 w 156"/>
                <a:gd name="T31" fmla="*/ 67 h 180"/>
                <a:gd name="T32" fmla="*/ 33 w 156"/>
                <a:gd name="T33" fmla="*/ 133 h 180"/>
                <a:gd name="T34" fmla="*/ 74 w 156"/>
                <a:gd name="T35" fmla="*/ 121 h 180"/>
                <a:gd name="T36" fmla="*/ 74 w 156"/>
                <a:gd name="T37" fmla="*/ 101 h 180"/>
                <a:gd name="T38" fmla="*/ 100 w 156"/>
                <a:gd name="T39" fmla="*/ 120 h 180"/>
                <a:gd name="T40" fmla="*/ 124 w 156"/>
                <a:gd name="T41" fmla="*/ 137 h 180"/>
                <a:gd name="T42" fmla="*/ 124 w 156"/>
                <a:gd name="T43" fmla="*/ 154 h 180"/>
                <a:gd name="T44" fmla="*/ 114 w 156"/>
                <a:gd name="T45" fmla="*/ 164 h 180"/>
                <a:gd name="T46" fmla="*/ 95 w 156"/>
                <a:gd name="T47" fmla="*/ 164 h 180"/>
                <a:gd name="T48" fmla="*/ 89 w 156"/>
                <a:gd name="T49" fmla="*/ 153 h 180"/>
                <a:gd name="T50" fmla="*/ 95 w 156"/>
                <a:gd name="T51" fmla="*/ 144 h 180"/>
                <a:gd name="T52" fmla="*/ 106 w 156"/>
                <a:gd name="T53" fmla="*/ 86 h 180"/>
                <a:gd name="T54" fmla="*/ 114 w 156"/>
                <a:gd name="T55" fmla="*/ 75 h 180"/>
                <a:gd name="T56" fmla="*/ 130 w 156"/>
                <a:gd name="T57" fmla="*/ 90 h 180"/>
                <a:gd name="T58" fmla="*/ 106 w 156"/>
                <a:gd name="T59" fmla="*/ 86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56" h="180">
                  <a:moveTo>
                    <a:pt x="95" y="144"/>
                  </a:moveTo>
                  <a:cubicBezTo>
                    <a:pt x="99" y="144"/>
                    <a:pt x="102" y="145"/>
                    <a:pt x="102" y="145"/>
                  </a:cubicBezTo>
                  <a:cubicBezTo>
                    <a:pt x="102" y="130"/>
                    <a:pt x="102" y="130"/>
                    <a:pt x="102" y="130"/>
                  </a:cubicBezTo>
                  <a:cubicBezTo>
                    <a:pt x="102" y="130"/>
                    <a:pt x="73" y="130"/>
                    <a:pt x="73" y="152"/>
                  </a:cubicBezTo>
                  <a:cubicBezTo>
                    <a:pt x="73" y="174"/>
                    <a:pt x="88" y="180"/>
                    <a:pt x="100" y="180"/>
                  </a:cubicBezTo>
                  <a:cubicBezTo>
                    <a:pt x="120" y="180"/>
                    <a:pt x="120" y="180"/>
                    <a:pt x="120" y="180"/>
                  </a:cubicBezTo>
                  <a:cubicBezTo>
                    <a:pt x="120" y="180"/>
                    <a:pt x="156" y="175"/>
                    <a:pt x="156" y="105"/>
                  </a:cubicBezTo>
                  <a:cubicBezTo>
                    <a:pt x="156" y="36"/>
                    <a:pt x="145" y="29"/>
                    <a:pt x="142" y="24"/>
                  </a:cubicBezTo>
                  <a:cubicBezTo>
                    <a:pt x="138" y="18"/>
                    <a:pt x="122" y="12"/>
                    <a:pt x="113" y="12"/>
                  </a:cubicBezTo>
                  <a:cubicBezTo>
                    <a:pt x="91" y="12"/>
                    <a:pt x="91" y="12"/>
                    <a:pt x="91" y="12"/>
                  </a:cubicBezTo>
                  <a:cubicBezTo>
                    <a:pt x="91" y="12"/>
                    <a:pt x="84" y="0"/>
                    <a:pt x="68" y="0"/>
                  </a:cubicBezTo>
                  <a:cubicBezTo>
                    <a:pt x="51" y="0"/>
                    <a:pt x="52" y="7"/>
                    <a:pt x="52" y="13"/>
                  </a:cubicBezTo>
                  <a:cubicBezTo>
                    <a:pt x="52" y="38"/>
                    <a:pt x="52" y="38"/>
                    <a:pt x="52" y="38"/>
                  </a:cubicBezTo>
                  <a:cubicBezTo>
                    <a:pt x="44" y="46"/>
                    <a:pt x="44" y="46"/>
                    <a:pt x="44" y="46"/>
                  </a:cubicBezTo>
                  <a:cubicBezTo>
                    <a:pt x="10" y="46"/>
                    <a:pt x="10" y="46"/>
                    <a:pt x="10" y="46"/>
                  </a:cubicBezTo>
                  <a:cubicBezTo>
                    <a:pt x="10" y="46"/>
                    <a:pt x="0" y="53"/>
                    <a:pt x="0" y="67"/>
                  </a:cubicBezTo>
                  <a:cubicBezTo>
                    <a:pt x="0" y="80"/>
                    <a:pt x="4" y="129"/>
                    <a:pt x="33" y="133"/>
                  </a:cubicBezTo>
                  <a:cubicBezTo>
                    <a:pt x="68" y="139"/>
                    <a:pt x="74" y="123"/>
                    <a:pt x="74" y="121"/>
                  </a:cubicBezTo>
                  <a:cubicBezTo>
                    <a:pt x="74" y="113"/>
                    <a:pt x="74" y="101"/>
                    <a:pt x="74" y="101"/>
                  </a:cubicBezTo>
                  <a:cubicBezTo>
                    <a:pt x="74" y="101"/>
                    <a:pt x="84" y="120"/>
                    <a:pt x="100" y="120"/>
                  </a:cubicBezTo>
                  <a:cubicBezTo>
                    <a:pt x="115" y="120"/>
                    <a:pt x="124" y="128"/>
                    <a:pt x="124" y="137"/>
                  </a:cubicBezTo>
                  <a:cubicBezTo>
                    <a:pt x="124" y="154"/>
                    <a:pt x="124" y="154"/>
                    <a:pt x="124" y="154"/>
                  </a:cubicBezTo>
                  <a:cubicBezTo>
                    <a:pt x="124" y="154"/>
                    <a:pt x="123" y="164"/>
                    <a:pt x="114" y="164"/>
                  </a:cubicBezTo>
                  <a:cubicBezTo>
                    <a:pt x="95" y="164"/>
                    <a:pt x="95" y="164"/>
                    <a:pt x="95" y="164"/>
                  </a:cubicBezTo>
                  <a:cubicBezTo>
                    <a:pt x="95" y="164"/>
                    <a:pt x="89" y="159"/>
                    <a:pt x="89" y="153"/>
                  </a:cubicBezTo>
                  <a:cubicBezTo>
                    <a:pt x="89" y="146"/>
                    <a:pt x="92" y="144"/>
                    <a:pt x="95" y="144"/>
                  </a:cubicBezTo>
                  <a:moveTo>
                    <a:pt x="106" y="86"/>
                  </a:moveTo>
                  <a:cubicBezTo>
                    <a:pt x="106" y="86"/>
                    <a:pt x="108" y="75"/>
                    <a:pt x="114" y="75"/>
                  </a:cubicBezTo>
                  <a:cubicBezTo>
                    <a:pt x="121" y="75"/>
                    <a:pt x="130" y="90"/>
                    <a:pt x="130" y="90"/>
                  </a:cubicBezTo>
                  <a:cubicBezTo>
                    <a:pt x="130" y="90"/>
                    <a:pt x="109" y="86"/>
                    <a:pt x="106" y="86"/>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82" name="Freeform 88">
              <a:extLst>
                <a:ext uri="{FF2B5EF4-FFF2-40B4-BE49-F238E27FC236}">
                  <a16:creationId xmlns:a16="http://schemas.microsoft.com/office/drawing/2014/main" id="{4444EF14-1BA3-41A4-BD20-A6CD46A2DD8F}"/>
                </a:ext>
              </a:extLst>
            </p:cNvPr>
            <p:cNvSpPr>
              <a:spLocks/>
            </p:cNvSpPr>
            <p:nvPr/>
          </p:nvSpPr>
          <p:spPr bwMode="auto">
            <a:xfrm>
              <a:off x="7354270" y="2671121"/>
              <a:ext cx="73164" cy="69983"/>
            </a:xfrm>
            <a:custGeom>
              <a:avLst/>
              <a:gdLst>
                <a:gd name="T0" fmla="*/ 37 w 46"/>
                <a:gd name="T1" fmla="*/ 44 h 44"/>
                <a:gd name="T2" fmla="*/ 46 w 46"/>
                <a:gd name="T3" fmla="*/ 36 h 44"/>
                <a:gd name="T4" fmla="*/ 46 w 46"/>
                <a:gd name="T5" fmla="*/ 0 h 44"/>
                <a:gd name="T6" fmla="*/ 0 w 46"/>
                <a:gd name="T7" fmla="*/ 44 h 44"/>
                <a:gd name="T8" fmla="*/ 37 w 46"/>
                <a:gd name="T9" fmla="*/ 44 h 44"/>
              </a:gdLst>
              <a:ahLst/>
              <a:cxnLst>
                <a:cxn ang="0">
                  <a:pos x="T0" y="T1"/>
                </a:cxn>
                <a:cxn ang="0">
                  <a:pos x="T2" y="T3"/>
                </a:cxn>
                <a:cxn ang="0">
                  <a:pos x="T4" y="T5"/>
                </a:cxn>
                <a:cxn ang="0">
                  <a:pos x="T6" y="T7"/>
                </a:cxn>
                <a:cxn ang="0">
                  <a:pos x="T8" y="T9"/>
                </a:cxn>
              </a:cxnLst>
              <a:rect l="0" t="0" r="r" b="b"/>
              <a:pathLst>
                <a:path w="46" h="44">
                  <a:moveTo>
                    <a:pt x="37" y="44"/>
                  </a:moveTo>
                  <a:lnTo>
                    <a:pt x="46" y="36"/>
                  </a:lnTo>
                  <a:lnTo>
                    <a:pt x="46" y="0"/>
                  </a:lnTo>
                  <a:lnTo>
                    <a:pt x="0" y="44"/>
                  </a:lnTo>
                  <a:lnTo>
                    <a:pt x="37" y="44"/>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83" name="Freeform 89">
              <a:extLst>
                <a:ext uri="{FF2B5EF4-FFF2-40B4-BE49-F238E27FC236}">
                  <a16:creationId xmlns:a16="http://schemas.microsoft.com/office/drawing/2014/main" id="{1614D8A9-95FB-4A46-AF1D-69CEFB4DEC86}"/>
                </a:ext>
              </a:extLst>
            </p:cNvPr>
            <p:cNvSpPr>
              <a:spLocks noEditPoints="1"/>
            </p:cNvSpPr>
            <p:nvPr/>
          </p:nvSpPr>
          <p:spPr bwMode="auto">
            <a:xfrm>
              <a:off x="4908047" y="2311664"/>
              <a:ext cx="122470" cy="139966"/>
            </a:xfrm>
            <a:custGeom>
              <a:avLst/>
              <a:gdLst>
                <a:gd name="T0" fmla="*/ 38 w 63"/>
                <a:gd name="T1" fmla="*/ 58 h 72"/>
                <a:gd name="T2" fmla="*/ 41 w 63"/>
                <a:gd name="T3" fmla="*/ 58 h 72"/>
                <a:gd name="T4" fmla="*/ 41 w 63"/>
                <a:gd name="T5" fmla="*/ 52 h 72"/>
                <a:gd name="T6" fmla="*/ 29 w 63"/>
                <a:gd name="T7" fmla="*/ 61 h 72"/>
                <a:gd name="T8" fmla="*/ 40 w 63"/>
                <a:gd name="T9" fmla="*/ 72 h 72"/>
                <a:gd name="T10" fmla="*/ 48 w 63"/>
                <a:gd name="T11" fmla="*/ 72 h 72"/>
                <a:gd name="T12" fmla="*/ 63 w 63"/>
                <a:gd name="T13" fmla="*/ 42 h 72"/>
                <a:gd name="T14" fmla="*/ 57 w 63"/>
                <a:gd name="T15" fmla="*/ 9 h 72"/>
                <a:gd name="T16" fmla="*/ 45 w 63"/>
                <a:gd name="T17" fmla="*/ 5 h 72"/>
                <a:gd name="T18" fmla="*/ 37 w 63"/>
                <a:gd name="T19" fmla="*/ 5 h 72"/>
                <a:gd name="T20" fmla="*/ 27 w 63"/>
                <a:gd name="T21" fmla="*/ 0 h 72"/>
                <a:gd name="T22" fmla="*/ 21 w 63"/>
                <a:gd name="T23" fmla="*/ 5 h 72"/>
                <a:gd name="T24" fmla="*/ 21 w 63"/>
                <a:gd name="T25" fmla="*/ 15 h 72"/>
                <a:gd name="T26" fmla="*/ 18 w 63"/>
                <a:gd name="T27" fmla="*/ 18 h 72"/>
                <a:gd name="T28" fmla="*/ 4 w 63"/>
                <a:gd name="T29" fmla="*/ 18 h 72"/>
                <a:gd name="T30" fmla="*/ 0 w 63"/>
                <a:gd name="T31" fmla="*/ 27 h 72"/>
                <a:gd name="T32" fmla="*/ 13 w 63"/>
                <a:gd name="T33" fmla="*/ 53 h 72"/>
                <a:gd name="T34" fmla="*/ 30 w 63"/>
                <a:gd name="T35" fmla="*/ 48 h 72"/>
                <a:gd name="T36" fmla="*/ 30 w 63"/>
                <a:gd name="T37" fmla="*/ 40 h 72"/>
                <a:gd name="T38" fmla="*/ 40 w 63"/>
                <a:gd name="T39" fmla="*/ 48 h 72"/>
                <a:gd name="T40" fmla="*/ 50 w 63"/>
                <a:gd name="T41" fmla="*/ 55 h 72"/>
                <a:gd name="T42" fmla="*/ 50 w 63"/>
                <a:gd name="T43" fmla="*/ 62 h 72"/>
                <a:gd name="T44" fmla="*/ 46 w 63"/>
                <a:gd name="T45" fmla="*/ 66 h 72"/>
                <a:gd name="T46" fmla="*/ 38 w 63"/>
                <a:gd name="T47" fmla="*/ 66 h 72"/>
                <a:gd name="T48" fmla="*/ 36 w 63"/>
                <a:gd name="T49" fmla="*/ 61 h 72"/>
                <a:gd name="T50" fmla="*/ 38 w 63"/>
                <a:gd name="T51" fmla="*/ 58 h 72"/>
                <a:gd name="T52" fmla="*/ 42 w 63"/>
                <a:gd name="T53" fmla="*/ 34 h 72"/>
                <a:gd name="T54" fmla="*/ 46 w 63"/>
                <a:gd name="T55" fmla="*/ 30 h 72"/>
                <a:gd name="T56" fmla="*/ 52 w 63"/>
                <a:gd name="T57" fmla="*/ 36 h 72"/>
                <a:gd name="T58" fmla="*/ 42 w 63"/>
                <a:gd name="T59" fmla="*/ 3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63" h="72">
                  <a:moveTo>
                    <a:pt x="38" y="58"/>
                  </a:moveTo>
                  <a:cubicBezTo>
                    <a:pt x="40" y="58"/>
                    <a:pt x="41" y="58"/>
                    <a:pt x="41" y="58"/>
                  </a:cubicBezTo>
                  <a:cubicBezTo>
                    <a:pt x="41" y="52"/>
                    <a:pt x="41" y="52"/>
                    <a:pt x="41" y="52"/>
                  </a:cubicBezTo>
                  <a:cubicBezTo>
                    <a:pt x="41" y="52"/>
                    <a:pt x="29" y="52"/>
                    <a:pt x="29" y="61"/>
                  </a:cubicBezTo>
                  <a:cubicBezTo>
                    <a:pt x="29" y="70"/>
                    <a:pt x="35" y="72"/>
                    <a:pt x="40" y="72"/>
                  </a:cubicBezTo>
                  <a:cubicBezTo>
                    <a:pt x="48" y="72"/>
                    <a:pt x="48" y="72"/>
                    <a:pt x="48" y="72"/>
                  </a:cubicBezTo>
                  <a:cubicBezTo>
                    <a:pt x="48" y="72"/>
                    <a:pt x="63" y="70"/>
                    <a:pt x="63" y="42"/>
                  </a:cubicBezTo>
                  <a:cubicBezTo>
                    <a:pt x="63" y="14"/>
                    <a:pt x="58" y="11"/>
                    <a:pt x="57" y="9"/>
                  </a:cubicBezTo>
                  <a:cubicBezTo>
                    <a:pt x="55" y="7"/>
                    <a:pt x="49" y="5"/>
                    <a:pt x="45" y="5"/>
                  </a:cubicBezTo>
                  <a:cubicBezTo>
                    <a:pt x="37" y="5"/>
                    <a:pt x="37" y="5"/>
                    <a:pt x="37" y="5"/>
                  </a:cubicBezTo>
                  <a:cubicBezTo>
                    <a:pt x="37" y="5"/>
                    <a:pt x="34" y="0"/>
                    <a:pt x="27" y="0"/>
                  </a:cubicBezTo>
                  <a:cubicBezTo>
                    <a:pt x="20" y="0"/>
                    <a:pt x="21" y="3"/>
                    <a:pt x="21" y="5"/>
                  </a:cubicBezTo>
                  <a:cubicBezTo>
                    <a:pt x="21" y="15"/>
                    <a:pt x="21" y="15"/>
                    <a:pt x="21" y="15"/>
                  </a:cubicBezTo>
                  <a:cubicBezTo>
                    <a:pt x="18" y="18"/>
                    <a:pt x="18" y="18"/>
                    <a:pt x="18" y="18"/>
                  </a:cubicBezTo>
                  <a:cubicBezTo>
                    <a:pt x="4" y="18"/>
                    <a:pt x="4" y="18"/>
                    <a:pt x="4" y="18"/>
                  </a:cubicBezTo>
                  <a:cubicBezTo>
                    <a:pt x="4" y="18"/>
                    <a:pt x="0" y="21"/>
                    <a:pt x="0" y="27"/>
                  </a:cubicBezTo>
                  <a:cubicBezTo>
                    <a:pt x="0" y="32"/>
                    <a:pt x="1" y="52"/>
                    <a:pt x="13" y="53"/>
                  </a:cubicBezTo>
                  <a:cubicBezTo>
                    <a:pt x="27" y="55"/>
                    <a:pt x="30" y="49"/>
                    <a:pt x="30" y="48"/>
                  </a:cubicBezTo>
                  <a:cubicBezTo>
                    <a:pt x="30" y="45"/>
                    <a:pt x="30" y="40"/>
                    <a:pt x="30" y="40"/>
                  </a:cubicBezTo>
                  <a:cubicBezTo>
                    <a:pt x="30" y="40"/>
                    <a:pt x="34" y="48"/>
                    <a:pt x="40" y="48"/>
                  </a:cubicBezTo>
                  <a:cubicBezTo>
                    <a:pt x="46" y="48"/>
                    <a:pt x="50" y="51"/>
                    <a:pt x="50" y="55"/>
                  </a:cubicBezTo>
                  <a:cubicBezTo>
                    <a:pt x="50" y="62"/>
                    <a:pt x="50" y="62"/>
                    <a:pt x="50" y="62"/>
                  </a:cubicBezTo>
                  <a:cubicBezTo>
                    <a:pt x="50" y="62"/>
                    <a:pt x="49" y="66"/>
                    <a:pt x="46" y="66"/>
                  </a:cubicBezTo>
                  <a:cubicBezTo>
                    <a:pt x="38" y="66"/>
                    <a:pt x="38" y="66"/>
                    <a:pt x="38" y="66"/>
                  </a:cubicBezTo>
                  <a:cubicBezTo>
                    <a:pt x="38" y="66"/>
                    <a:pt x="36" y="64"/>
                    <a:pt x="36" y="61"/>
                  </a:cubicBezTo>
                  <a:cubicBezTo>
                    <a:pt x="36" y="58"/>
                    <a:pt x="37" y="58"/>
                    <a:pt x="38" y="58"/>
                  </a:cubicBezTo>
                  <a:moveTo>
                    <a:pt x="42" y="34"/>
                  </a:moveTo>
                  <a:cubicBezTo>
                    <a:pt x="42" y="34"/>
                    <a:pt x="43" y="30"/>
                    <a:pt x="46" y="30"/>
                  </a:cubicBezTo>
                  <a:cubicBezTo>
                    <a:pt x="49" y="30"/>
                    <a:pt x="52" y="36"/>
                    <a:pt x="52" y="36"/>
                  </a:cubicBezTo>
                  <a:cubicBezTo>
                    <a:pt x="52" y="36"/>
                    <a:pt x="44" y="34"/>
                    <a:pt x="42" y="34"/>
                  </a:cubicBezTo>
                </a:path>
              </a:pathLst>
            </a:custGeom>
            <a:solidFill>
              <a:srgbClr val="CCCCC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84" name="Freeform 90">
              <a:extLst>
                <a:ext uri="{FF2B5EF4-FFF2-40B4-BE49-F238E27FC236}">
                  <a16:creationId xmlns:a16="http://schemas.microsoft.com/office/drawing/2014/main" id="{26BE6352-5A42-44F2-9323-81FC2C1E40D8}"/>
                </a:ext>
              </a:extLst>
            </p:cNvPr>
            <p:cNvSpPr>
              <a:spLocks/>
            </p:cNvSpPr>
            <p:nvPr/>
          </p:nvSpPr>
          <p:spPr bwMode="auto">
            <a:xfrm>
              <a:off x="4914409" y="2311664"/>
              <a:ext cx="28629" cy="28629"/>
            </a:xfrm>
            <a:custGeom>
              <a:avLst/>
              <a:gdLst>
                <a:gd name="T0" fmla="*/ 14 w 18"/>
                <a:gd name="T1" fmla="*/ 18 h 18"/>
                <a:gd name="T2" fmla="*/ 18 w 18"/>
                <a:gd name="T3" fmla="*/ 14 h 18"/>
                <a:gd name="T4" fmla="*/ 18 w 18"/>
                <a:gd name="T5" fmla="*/ 0 h 18"/>
                <a:gd name="T6" fmla="*/ 0 w 18"/>
                <a:gd name="T7" fmla="*/ 18 h 18"/>
                <a:gd name="T8" fmla="*/ 14 w 18"/>
                <a:gd name="T9" fmla="*/ 18 h 18"/>
              </a:gdLst>
              <a:ahLst/>
              <a:cxnLst>
                <a:cxn ang="0">
                  <a:pos x="T0" y="T1"/>
                </a:cxn>
                <a:cxn ang="0">
                  <a:pos x="T2" y="T3"/>
                </a:cxn>
                <a:cxn ang="0">
                  <a:pos x="T4" y="T5"/>
                </a:cxn>
                <a:cxn ang="0">
                  <a:pos x="T6" y="T7"/>
                </a:cxn>
                <a:cxn ang="0">
                  <a:pos x="T8" y="T9"/>
                </a:cxn>
              </a:cxnLst>
              <a:rect l="0" t="0" r="r" b="b"/>
              <a:pathLst>
                <a:path w="18" h="18">
                  <a:moveTo>
                    <a:pt x="14" y="18"/>
                  </a:moveTo>
                  <a:lnTo>
                    <a:pt x="18" y="14"/>
                  </a:lnTo>
                  <a:lnTo>
                    <a:pt x="18" y="0"/>
                  </a:lnTo>
                  <a:lnTo>
                    <a:pt x="0" y="18"/>
                  </a:lnTo>
                  <a:lnTo>
                    <a:pt x="14" y="18"/>
                  </a:lnTo>
                  <a:close/>
                </a:path>
              </a:pathLst>
            </a:custGeom>
            <a:solidFill>
              <a:srgbClr val="CCCCC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85" name="Freeform 91">
              <a:extLst>
                <a:ext uri="{FF2B5EF4-FFF2-40B4-BE49-F238E27FC236}">
                  <a16:creationId xmlns:a16="http://schemas.microsoft.com/office/drawing/2014/main" id="{DEA75A62-D287-4E28-9F85-C2517ACB99D9}"/>
                </a:ext>
              </a:extLst>
            </p:cNvPr>
            <p:cNvSpPr>
              <a:spLocks/>
            </p:cNvSpPr>
            <p:nvPr/>
          </p:nvSpPr>
          <p:spPr bwMode="auto">
            <a:xfrm>
              <a:off x="3875798" y="3666788"/>
              <a:ext cx="435803" cy="466023"/>
            </a:xfrm>
            <a:custGeom>
              <a:avLst/>
              <a:gdLst>
                <a:gd name="T0" fmla="*/ 25 w 223"/>
                <a:gd name="T1" fmla="*/ 0 h 239"/>
                <a:gd name="T2" fmla="*/ 0 w 223"/>
                <a:gd name="T3" fmla="*/ 24 h 239"/>
                <a:gd name="T4" fmla="*/ 0 w 223"/>
                <a:gd name="T5" fmla="*/ 143 h 239"/>
                <a:gd name="T6" fmla="*/ 99 w 223"/>
                <a:gd name="T7" fmla="*/ 239 h 239"/>
                <a:gd name="T8" fmla="*/ 124 w 223"/>
                <a:gd name="T9" fmla="*/ 239 h 239"/>
                <a:gd name="T10" fmla="*/ 223 w 223"/>
                <a:gd name="T11" fmla="*/ 149 h 239"/>
                <a:gd name="T12" fmla="*/ 149 w 223"/>
                <a:gd name="T13" fmla="*/ 60 h 239"/>
                <a:gd name="T14" fmla="*/ 99 w 223"/>
                <a:gd name="T15" fmla="*/ 60 h 239"/>
                <a:gd name="T16" fmla="*/ 75 w 223"/>
                <a:gd name="T17" fmla="*/ 84 h 239"/>
                <a:gd name="T18" fmla="*/ 99 w 223"/>
                <a:gd name="T19" fmla="*/ 108 h 239"/>
                <a:gd name="T20" fmla="*/ 149 w 223"/>
                <a:gd name="T21" fmla="*/ 108 h 239"/>
                <a:gd name="T22" fmla="*/ 174 w 223"/>
                <a:gd name="T23" fmla="*/ 149 h 239"/>
                <a:gd name="T24" fmla="*/ 124 w 223"/>
                <a:gd name="T25" fmla="*/ 191 h 239"/>
                <a:gd name="T26" fmla="*/ 99 w 223"/>
                <a:gd name="T27" fmla="*/ 191 h 239"/>
                <a:gd name="T28" fmla="*/ 50 w 223"/>
                <a:gd name="T29" fmla="*/ 143 h 239"/>
                <a:gd name="T30" fmla="*/ 50 w 223"/>
                <a:gd name="T31" fmla="*/ 24 h 239"/>
                <a:gd name="T32" fmla="*/ 25 w 223"/>
                <a:gd name="T33" fmla="*/ 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3" h="239">
                  <a:moveTo>
                    <a:pt x="25" y="0"/>
                  </a:moveTo>
                  <a:cubicBezTo>
                    <a:pt x="11" y="0"/>
                    <a:pt x="0" y="11"/>
                    <a:pt x="0" y="24"/>
                  </a:cubicBezTo>
                  <a:cubicBezTo>
                    <a:pt x="0" y="143"/>
                    <a:pt x="0" y="143"/>
                    <a:pt x="0" y="143"/>
                  </a:cubicBezTo>
                  <a:cubicBezTo>
                    <a:pt x="0" y="196"/>
                    <a:pt x="45" y="239"/>
                    <a:pt x="99" y="239"/>
                  </a:cubicBezTo>
                  <a:cubicBezTo>
                    <a:pt x="124" y="239"/>
                    <a:pt x="124" y="239"/>
                    <a:pt x="124" y="239"/>
                  </a:cubicBezTo>
                  <a:cubicBezTo>
                    <a:pt x="179" y="239"/>
                    <a:pt x="223" y="199"/>
                    <a:pt x="223" y="149"/>
                  </a:cubicBezTo>
                  <a:cubicBezTo>
                    <a:pt x="223" y="100"/>
                    <a:pt x="190" y="60"/>
                    <a:pt x="149" y="60"/>
                  </a:cubicBezTo>
                  <a:cubicBezTo>
                    <a:pt x="99" y="60"/>
                    <a:pt x="99" y="60"/>
                    <a:pt x="99" y="60"/>
                  </a:cubicBezTo>
                  <a:cubicBezTo>
                    <a:pt x="86" y="60"/>
                    <a:pt x="75" y="70"/>
                    <a:pt x="75" y="84"/>
                  </a:cubicBezTo>
                  <a:cubicBezTo>
                    <a:pt x="75" y="97"/>
                    <a:pt x="86" y="108"/>
                    <a:pt x="99" y="108"/>
                  </a:cubicBezTo>
                  <a:cubicBezTo>
                    <a:pt x="149" y="108"/>
                    <a:pt x="149" y="108"/>
                    <a:pt x="149" y="108"/>
                  </a:cubicBezTo>
                  <a:cubicBezTo>
                    <a:pt x="160" y="108"/>
                    <a:pt x="174" y="126"/>
                    <a:pt x="174" y="149"/>
                  </a:cubicBezTo>
                  <a:cubicBezTo>
                    <a:pt x="174" y="172"/>
                    <a:pt x="152" y="191"/>
                    <a:pt x="124" y="191"/>
                  </a:cubicBezTo>
                  <a:cubicBezTo>
                    <a:pt x="99" y="191"/>
                    <a:pt x="99" y="191"/>
                    <a:pt x="99" y="191"/>
                  </a:cubicBezTo>
                  <a:cubicBezTo>
                    <a:pt x="72" y="191"/>
                    <a:pt x="50" y="170"/>
                    <a:pt x="50" y="143"/>
                  </a:cubicBezTo>
                  <a:cubicBezTo>
                    <a:pt x="50" y="24"/>
                    <a:pt x="50" y="24"/>
                    <a:pt x="50" y="24"/>
                  </a:cubicBezTo>
                  <a:cubicBezTo>
                    <a:pt x="50" y="11"/>
                    <a:pt x="39" y="0"/>
                    <a:pt x="25" y="0"/>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86" name="Freeform 92">
              <a:extLst>
                <a:ext uri="{FF2B5EF4-FFF2-40B4-BE49-F238E27FC236}">
                  <a16:creationId xmlns:a16="http://schemas.microsoft.com/office/drawing/2014/main" id="{34E6CBC0-47C5-4DFE-9F28-73EC18238616}"/>
                </a:ext>
              </a:extLst>
            </p:cNvPr>
            <p:cNvSpPr>
              <a:spLocks/>
            </p:cNvSpPr>
            <p:nvPr/>
          </p:nvSpPr>
          <p:spPr bwMode="auto">
            <a:xfrm>
              <a:off x="7048890" y="5083944"/>
              <a:ext cx="69983" cy="74754"/>
            </a:xfrm>
            <a:custGeom>
              <a:avLst/>
              <a:gdLst>
                <a:gd name="T0" fmla="*/ 4 w 36"/>
                <a:gd name="T1" fmla="*/ 0 h 39"/>
                <a:gd name="T2" fmla="*/ 0 w 36"/>
                <a:gd name="T3" fmla="*/ 3 h 39"/>
                <a:gd name="T4" fmla="*/ 0 w 36"/>
                <a:gd name="T5" fmla="*/ 23 h 39"/>
                <a:gd name="T6" fmla="*/ 16 w 36"/>
                <a:gd name="T7" fmla="*/ 39 h 39"/>
                <a:gd name="T8" fmla="*/ 20 w 36"/>
                <a:gd name="T9" fmla="*/ 39 h 39"/>
                <a:gd name="T10" fmla="*/ 36 w 36"/>
                <a:gd name="T11" fmla="*/ 24 h 39"/>
                <a:gd name="T12" fmla="*/ 24 w 36"/>
                <a:gd name="T13" fmla="*/ 9 h 39"/>
                <a:gd name="T14" fmla="*/ 16 w 36"/>
                <a:gd name="T15" fmla="*/ 9 h 39"/>
                <a:gd name="T16" fmla="*/ 12 w 36"/>
                <a:gd name="T17" fmla="*/ 13 h 39"/>
                <a:gd name="T18" fmla="*/ 16 w 36"/>
                <a:gd name="T19" fmla="*/ 17 h 39"/>
                <a:gd name="T20" fmla="*/ 24 w 36"/>
                <a:gd name="T21" fmla="*/ 17 h 39"/>
                <a:gd name="T22" fmla="*/ 28 w 36"/>
                <a:gd name="T23" fmla="*/ 24 h 39"/>
                <a:gd name="T24" fmla="*/ 20 w 36"/>
                <a:gd name="T25" fmla="*/ 31 h 39"/>
                <a:gd name="T26" fmla="*/ 16 w 36"/>
                <a:gd name="T27" fmla="*/ 31 h 39"/>
                <a:gd name="T28" fmla="*/ 8 w 36"/>
                <a:gd name="T29" fmla="*/ 23 h 39"/>
                <a:gd name="T30" fmla="*/ 8 w 36"/>
                <a:gd name="T31" fmla="*/ 3 h 39"/>
                <a:gd name="T32" fmla="*/ 4 w 36"/>
                <a:gd name="T33"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6" h="39">
                  <a:moveTo>
                    <a:pt x="4" y="0"/>
                  </a:moveTo>
                  <a:cubicBezTo>
                    <a:pt x="1" y="0"/>
                    <a:pt x="0" y="1"/>
                    <a:pt x="0" y="3"/>
                  </a:cubicBezTo>
                  <a:cubicBezTo>
                    <a:pt x="0" y="23"/>
                    <a:pt x="0" y="23"/>
                    <a:pt x="0" y="23"/>
                  </a:cubicBezTo>
                  <a:cubicBezTo>
                    <a:pt x="0" y="32"/>
                    <a:pt x="7" y="39"/>
                    <a:pt x="16" y="39"/>
                  </a:cubicBezTo>
                  <a:cubicBezTo>
                    <a:pt x="20" y="39"/>
                    <a:pt x="20" y="39"/>
                    <a:pt x="20" y="39"/>
                  </a:cubicBezTo>
                  <a:cubicBezTo>
                    <a:pt x="29" y="39"/>
                    <a:pt x="36" y="32"/>
                    <a:pt x="36" y="24"/>
                  </a:cubicBezTo>
                  <a:cubicBezTo>
                    <a:pt x="36" y="16"/>
                    <a:pt x="31" y="9"/>
                    <a:pt x="24" y="9"/>
                  </a:cubicBezTo>
                  <a:cubicBezTo>
                    <a:pt x="16" y="9"/>
                    <a:pt x="16" y="9"/>
                    <a:pt x="16" y="9"/>
                  </a:cubicBezTo>
                  <a:cubicBezTo>
                    <a:pt x="14" y="9"/>
                    <a:pt x="12" y="11"/>
                    <a:pt x="12" y="13"/>
                  </a:cubicBezTo>
                  <a:cubicBezTo>
                    <a:pt x="12" y="15"/>
                    <a:pt x="14" y="17"/>
                    <a:pt x="16" y="17"/>
                  </a:cubicBezTo>
                  <a:cubicBezTo>
                    <a:pt x="24" y="17"/>
                    <a:pt x="24" y="17"/>
                    <a:pt x="24" y="17"/>
                  </a:cubicBezTo>
                  <a:cubicBezTo>
                    <a:pt x="26" y="17"/>
                    <a:pt x="28" y="20"/>
                    <a:pt x="28" y="24"/>
                  </a:cubicBezTo>
                  <a:cubicBezTo>
                    <a:pt x="28" y="28"/>
                    <a:pt x="24" y="31"/>
                    <a:pt x="20" y="31"/>
                  </a:cubicBezTo>
                  <a:cubicBezTo>
                    <a:pt x="16" y="31"/>
                    <a:pt x="16" y="31"/>
                    <a:pt x="16" y="31"/>
                  </a:cubicBezTo>
                  <a:cubicBezTo>
                    <a:pt x="11" y="31"/>
                    <a:pt x="8" y="27"/>
                    <a:pt x="8" y="23"/>
                  </a:cubicBezTo>
                  <a:cubicBezTo>
                    <a:pt x="8" y="3"/>
                    <a:pt x="8" y="3"/>
                    <a:pt x="8" y="3"/>
                  </a:cubicBezTo>
                  <a:cubicBezTo>
                    <a:pt x="8" y="1"/>
                    <a:pt x="6" y="0"/>
                    <a:pt x="4" y="0"/>
                  </a:cubicBezTo>
                </a:path>
              </a:pathLst>
            </a:custGeom>
            <a:solidFill>
              <a:srgbClr val="CCCCC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87" name="Freeform 93">
              <a:extLst>
                <a:ext uri="{FF2B5EF4-FFF2-40B4-BE49-F238E27FC236}">
                  <a16:creationId xmlns:a16="http://schemas.microsoft.com/office/drawing/2014/main" id="{19E12AB7-E228-474F-9947-5642B674EAAE}"/>
                </a:ext>
              </a:extLst>
            </p:cNvPr>
            <p:cNvSpPr>
              <a:spLocks/>
            </p:cNvSpPr>
            <p:nvPr/>
          </p:nvSpPr>
          <p:spPr bwMode="auto">
            <a:xfrm>
              <a:off x="6100939" y="3674741"/>
              <a:ext cx="71573" cy="76345"/>
            </a:xfrm>
            <a:custGeom>
              <a:avLst/>
              <a:gdLst>
                <a:gd name="T0" fmla="*/ 4 w 37"/>
                <a:gd name="T1" fmla="*/ 0 h 39"/>
                <a:gd name="T2" fmla="*/ 0 w 37"/>
                <a:gd name="T3" fmla="*/ 4 h 39"/>
                <a:gd name="T4" fmla="*/ 0 w 37"/>
                <a:gd name="T5" fmla="*/ 23 h 39"/>
                <a:gd name="T6" fmla="*/ 17 w 37"/>
                <a:gd name="T7" fmla="*/ 39 h 39"/>
                <a:gd name="T8" fmla="*/ 21 w 37"/>
                <a:gd name="T9" fmla="*/ 39 h 39"/>
                <a:gd name="T10" fmla="*/ 37 w 37"/>
                <a:gd name="T11" fmla="*/ 24 h 39"/>
                <a:gd name="T12" fmla="*/ 25 w 37"/>
                <a:gd name="T13" fmla="*/ 10 h 39"/>
                <a:gd name="T14" fmla="*/ 17 w 37"/>
                <a:gd name="T15" fmla="*/ 10 h 39"/>
                <a:gd name="T16" fmla="*/ 12 w 37"/>
                <a:gd name="T17" fmla="*/ 14 h 39"/>
                <a:gd name="T18" fmla="*/ 17 w 37"/>
                <a:gd name="T19" fmla="*/ 17 h 39"/>
                <a:gd name="T20" fmla="*/ 25 w 37"/>
                <a:gd name="T21" fmla="*/ 17 h 39"/>
                <a:gd name="T22" fmla="*/ 29 w 37"/>
                <a:gd name="T23" fmla="*/ 24 h 39"/>
                <a:gd name="T24" fmla="*/ 21 w 37"/>
                <a:gd name="T25" fmla="*/ 31 h 39"/>
                <a:gd name="T26" fmla="*/ 17 w 37"/>
                <a:gd name="T27" fmla="*/ 31 h 39"/>
                <a:gd name="T28" fmla="*/ 8 w 37"/>
                <a:gd name="T29" fmla="*/ 23 h 39"/>
                <a:gd name="T30" fmla="*/ 8 w 37"/>
                <a:gd name="T31" fmla="*/ 4 h 39"/>
                <a:gd name="T32" fmla="*/ 4 w 37"/>
                <a:gd name="T33"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7" h="39">
                  <a:moveTo>
                    <a:pt x="4" y="0"/>
                  </a:moveTo>
                  <a:cubicBezTo>
                    <a:pt x="2" y="0"/>
                    <a:pt x="0" y="2"/>
                    <a:pt x="0" y="4"/>
                  </a:cubicBezTo>
                  <a:cubicBezTo>
                    <a:pt x="0" y="23"/>
                    <a:pt x="0" y="23"/>
                    <a:pt x="0" y="23"/>
                  </a:cubicBezTo>
                  <a:cubicBezTo>
                    <a:pt x="0" y="32"/>
                    <a:pt x="8" y="39"/>
                    <a:pt x="17" y="39"/>
                  </a:cubicBezTo>
                  <a:cubicBezTo>
                    <a:pt x="21" y="39"/>
                    <a:pt x="21" y="39"/>
                    <a:pt x="21" y="39"/>
                  </a:cubicBezTo>
                  <a:cubicBezTo>
                    <a:pt x="30" y="39"/>
                    <a:pt x="37" y="32"/>
                    <a:pt x="37" y="24"/>
                  </a:cubicBezTo>
                  <a:cubicBezTo>
                    <a:pt x="37" y="16"/>
                    <a:pt x="31" y="10"/>
                    <a:pt x="25" y="10"/>
                  </a:cubicBezTo>
                  <a:cubicBezTo>
                    <a:pt x="17" y="10"/>
                    <a:pt x="17" y="10"/>
                    <a:pt x="17" y="10"/>
                  </a:cubicBezTo>
                  <a:cubicBezTo>
                    <a:pt x="14" y="10"/>
                    <a:pt x="12" y="11"/>
                    <a:pt x="12" y="14"/>
                  </a:cubicBezTo>
                  <a:cubicBezTo>
                    <a:pt x="12" y="16"/>
                    <a:pt x="14" y="17"/>
                    <a:pt x="17" y="17"/>
                  </a:cubicBezTo>
                  <a:cubicBezTo>
                    <a:pt x="25" y="17"/>
                    <a:pt x="25" y="17"/>
                    <a:pt x="25" y="17"/>
                  </a:cubicBezTo>
                  <a:cubicBezTo>
                    <a:pt x="26" y="17"/>
                    <a:pt x="29" y="20"/>
                    <a:pt x="29" y="24"/>
                  </a:cubicBezTo>
                  <a:cubicBezTo>
                    <a:pt x="29" y="28"/>
                    <a:pt x="25" y="31"/>
                    <a:pt x="21" y="31"/>
                  </a:cubicBezTo>
                  <a:cubicBezTo>
                    <a:pt x="17" y="31"/>
                    <a:pt x="17" y="31"/>
                    <a:pt x="17" y="31"/>
                  </a:cubicBezTo>
                  <a:cubicBezTo>
                    <a:pt x="12" y="31"/>
                    <a:pt x="8" y="28"/>
                    <a:pt x="8" y="23"/>
                  </a:cubicBezTo>
                  <a:cubicBezTo>
                    <a:pt x="8" y="4"/>
                    <a:pt x="8" y="4"/>
                    <a:pt x="8" y="4"/>
                  </a:cubicBezTo>
                  <a:cubicBezTo>
                    <a:pt x="8" y="2"/>
                    <a:pt x="7" y="0"/>
                    <a:pt x="4" y="0"/>
                  </a:cubicBezTo>
                </a:path>
              </a:pathLst>
            </a:custGeom>
            <a:solidFill>
              <a:srgbClr val="CCCCC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88" name="Freeform 94">
              <a:extLst>
                <a:ext uri="{FF2B5EF4-FFF2-40B4-BE49-F238E27FC236}">
                  <a16:creationId xmlns:a16="http://schemas.microsoft.com/office/drawing/2014/main" id="{EBBB4146-E758-43C8-8080-ED2A995E6FC7}"/>
                </a:ext>
              </a:extLst>
            </p:cNvPr>
            <p:cNvSpPr>
              <a:spLocks/>
            </p:cNvSpPr>
            <p:nvPr/>
          </p:nvSpPr>
          <p:spPr bwMode="auto">
            <a:xfrm>
              <a:off x="6309297" y="1618196"/>
              <a:ext cx="69983" cy="74754"/>
            </a:xfrm>
            <a:custGeom>
              <a:avLst/>
              <a:gdLst>
                <a:gd name="T0" fmla="*/ 4 w 36"/>
                <a:gd name="T1" fmla="*/ 0 h 39"/>
                <a:gd name="T2" fmla="*/ 0 w 36"/>
                <a:gd name="T3" fmla="*/ 4 h 39"/>
                <a:gd name="T4" fmla="*/ 0 w 36"/>
                <a:gd name="T5" fmla="*/ 23 h 39"/>
                <a:gd name="T6" fmla="*/ 16 w 36"/>
                <a:gd name="T7" fmla="*/ 39 h 39"/>
                <a:gd name="T8" fmla="*/ 20 w 36"/>
                <a:gd name="T9" fmla="*/ 39 h 39"/>
                <a:gd name="T10" fmla="*/ 36 w 36"/>
                <a:gd name="T11" fmla="*/ 24 h 39"/>
                <a:gd name="T12" fmla="*/ 24 w 36"/>
                <a:gd name="T13" fmla="*/ 10 h 39"/>
                <a:gd name="T14" fmla="*/ 16 w 36"/>
                <a:gd name="T15" fmla="*/ 10 h 39"/>
                <a:gd name="T16" fmla="*/ 12 w 36"/>
                <a:gd name="T17" fmla="*/ 14 h 39"/>
                <a:gd name="T18" fmla="*/ 16 w 36"/>
                <a:gd name="T19" fmla="*/ 17 h 39"/>
                <a:gd name="T20" fmla="*/ 24 w 36"/>
                <a:gd name="T21" fmla="*/ 17 h 39"/>
                <a:gd name="T22" fmla="*/ 28 w 36"/>
                <a:gd name="T23" fmla="*/ 24 h 39"/>
                <a:gd name="T24" fmla="*/ 20 w 36"/>
                <a:gd name="T25" fmla="*/ 31 h 39"/>
                <a:gd name="T26" fmla="*/ 16 w 36"/>
                <a:gd name="T27" fmla="*/ 31 h 39"/>
                <a:gd name="T28" fmla="*/ 8 w 36"/>
                <a:gd name="T29" fmla="*/ 23 h 39"/>
                <a:gd name="T30" fmla="*/ 8 w 36"/>
                <a:gd name="T31" fmla="*/ 4 h 39"/>
                <a:gd name="T32" fmla="*/ 4 w 36"/>
                <a:gd name="T33"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6" h="39">
                  <a:moveTo>
                    <a:pt x="4" y="0"/>
                  </a:moveTo>
                  <a:cubicBezTo>
                    <a:pt x="2" y="0"/>
                    <a:pt x="0" y="2"/>
                    <a:pt x="0" y="4"/>
                  </a:cubicBezTo>
                  <a:cubicBezTo>
                    <a:pt x="0" y="23"/>
                    <a:pt x="0" y="23"/>
                    <a:pt x="0" y="23"/>
                  </a:cubicBezTo>
                  <a:cubicBezTo>
                    <a:pt x="0" y="32"/>
                    <a:pt x="7" y="39"/>
                    <a:pt x="16" y="39"/>
                  </a:cubicBezTo>
                  <a:cubicBezTo>
                    <a:pt x="20" y="39"/>
                    <a:pt x="20" y="39"/>
                    <a:pt x="20" y="39"/>
                  </a:cubicBezTo>
                  <a:cubicBezTo>
                    <a:pt x="29" y="39"/>
                    <a:pt x="36" y="32"/>
                    <a:pt x="36" y="24"/>
                  </a:cubicBezTo>
                  <a:cubicBezTo>
                    <a:pt x="36" y="16"/>
                    <a:pt x="31" y="10"/>
                    <a:pt x="24" y="10"/>
                  </a:cubicBezTo>
                  <a:cubicBezTo>
                    <a:pt x="16" y="10"/>
                    <a:pt x="16" y="10"/>
                    <a:pt x="16" y="10"/>
                  </a:cubicBezTo>
                  <a:cubicBezTo>
                    <a:pt x="14" y="10"/>
                    <a:pt x="12" y="11"/>
                    <a:pt x="12" y="14"/>
                  </a:cubicBezTo>
                  <a:cubicBezTo>
                    <a:pt x="12" y="16"/>
                    <a:pt x="14" y="17"/>
                    <a:pt x="16" y="17"/>
                  </a:cubicBezTo>
                  <a:cubicBezTo>
                    <a:pt x="24" y="17"/>
                    <a:pt x="24" y="17"/>
                    <a:pt x="24" y="17"/>
                  </a:cubicBezTo>
                  <a:cubicBezTo>
                    <a:pt x="26" y="17"/>
                    <a:pt x="28" y="20"/>
                    <a:pt x="28" y="24"/>
                  </a:cubicBezTo>
                  <a:cubicBezTo>
                    <a:pt x="28" y="28"/>
                    <a:pt x="25" y="31"/>
                    <a:pt x="20" y="31"/>
                  </a:cubicBezTo>
                  <a:cubicBezTo>
                    <a:pt x="16" y="31"/>
                    <a:pt x="16" y="31"/>
                    <a:pt x="16" y="31"/>
                  </a:cubicBezTo>
                  <a:cubicBezTo>
                    <a:pt x="12" y="31"/>
                    <a:pt x="8" y="28"/>
                    <a:pt x="8" y="23"/>
                  </a:cubicBezTo>
                  <a:cubicBezTo>
                    <a:pt x="8" y="4"/>
                    <a:pt x="8" y="4"/>
                    <a:pt x="8" y="4"/>
                  </a:cubicBezTo>
                  <a:cubicBezTo>
                    <a:pt x="8" y="2"/>
                    <a:pt x="6" y="0"/>
                    <a:pt x="4" y="0"/>
                  </a:cubicBezTo>
                </a:path>
              </a:pathLst>
            </a:custGeom>
            <a:solidFill>
              <a:srgbClr val="CCCCC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89" name="Freeform 95">
              <a:extLst>
                <a:ext uri="{FF2B5EF4-FFF2-40B4-BE49-F238E27FC236}">
                  <a16:creationId xmlns:a16="http://schemas.microsoft.com/office/drawing/2014/main" id="{89A68E1C-3F21-4DC5-B4D7-523FDC8ED8C5}"/>
                </a:ext>
              </a:extLst>
            </p:cNvPr>
            <p:cNvSpPr>
              <a:spLocks noEditPoints="1"/>
            </p:cNvSpPr>
            <p:nvPr/>
          </p:nvSpPr>
          <p:spPr bwMode="auto">
            <a:xfrm>
              <a:off x="7522866" y="4050104"/>
              <a:ext cx="251303" cy="268798"/>
            </a:xfrm>
            <a:custGeom>
              <a:avLst/>
              <a:gdLst>
                <a:gd name="T0" fmla="*/ 0 w 129"/>
                <a:gd name="T1" fmla="*/ 110 h 138"/>
                <a:gd name="T2" fmla="*/ 64 w 129"/>
                <a:gd name="T3" fmla="*/ 138 h 138"/>
                <a:gd name="T4" fmla="*/ 129 w 129"/>
                <a:gd name="T5" fmla="*/ 110 h 138"/>
                <a:gd name="T6" fmla="*/ 109 w 129"/>
                <a:gd name="T7" fmla="*/ 90 h 138"/>
                <a:gd name="T8" fmla="*/ 109 w 129"/>
                <a:gd name="T9" fmla="*/ 84 h 138"/>
                <a:gd name="T10" fmla="*/ 80 w 129"/>
                <a:gd name="T11" fmla="*/ 39 h 138"/>
                <a:gd name="T12" fmla="*/ 53 w 129"/>
                <a:gd name="T13" fmla="*/ 71 h 138"/>
                <a:gd name="T14" fmla="*/ 53 w 129"/>
                <a:gd name="T15" fmla="*/ 0 h 138"/>
                <a:gd name="T16" fmla="*/ 18 w 129"/>
                <a:gd name="T17" fmla="*/ 72 h 138"/>
                <a:gd name="T18" fmla="*/ 20 w 129"/>
                <a:gd name="T19" fmla="*/ 90 h 138"/>
                <a:gd name="T20" fmla="*/ 0 w 129"/>
                <a:gd name="T21" fmla="*/ 110 h 138"/>
                <a:gd name="T22" fmla="*/ 40 w 129"/>
                <a:gd name="T23" fmla="*/ 57 h 138"/>
                <a:gd name="T24" fmla="*/ 60 w 129"/>
                <a:gd name="T25" fmla="*/ 95 h 138"/>
                <a:gd name="T26" fmla="*/ 86 w 129"/>
                <a:gd name="T27" fmla="*/ 65 h 138"/>
                <a:gd name="T28" fmla="*/ 98 w 129"/>
                <a:gd name="T29" fmla="*/ 87 h 138"/>
                <a:gd name="T30" fmla="*/ 98 w 129"/>
                <a:gd name="T31" fmla="*/ 87 h 138"/>
                <a:gd name="T32" fmla="*/ 87 w 129"/>
                <a:gd name="T33" fmla="*/ 112 h 138"/>
                <a:gd name="T34" fmla="*/ 87 w 129"/>
                <a:gd name="T35" fmla="*/ 112 h 138"/>
                <a:gd name="T36" fmla="*/ 81 w 129"/>
                <a:gd name="T37" fmla="*/ 116 h 138"/>
                <a:gd name="T38" fmla="*/ 81 w 129"/>
                <a:gd name="T39" fmla="*/ 116 h 138"/>
                <a:gd name="T40" fmla="*/ 78 w 129"/>
                <a:gd name="T41" fmla="*/ 117 h 138"/>
                <a:gd name="T42" fmla="*/ 78 w 129"/>
                <a:gd name="T43" fmla="*/ 118 h 138"/>
                <a:gd name="T44" fmla="*/ 71 w 129"/>
                <a:gd name="T45" fmla="*/ 120 h 138"/>
                <a:gd name="T46" fmla="*/ 70 w 129"/>
                <a:gd name="T47" fmla="*/ 120 h 138"/>
                <a:gd name="T48" fmla="*/ 67 w 129"/>
                <a:gd name="T49" fmla="*/ 120 h 138"/>
                <a:gd name="T50" fmla="*/ 66 w 129"/>
                <a:gd name="T51" fmla="*/ 120 h 138"/>
                <a:gd name="T52" fmla="*/ 62 w 129"/>
                <a:gd name="T53" fmla="*/ 121 h 138"/>
                <a:gd name="T54" fmla="*/ 59 w 129"/>
                <a:gd name="T55" fmla="*/ 121 h 138"/>
                <a:gd name="T56" fmla="*/ 58 w 129"/>
                <a:gd name="T57" fmla="*/ 121 h 138"/>
                <a:gd name="T58" fmla="*/ 56 w 129"/>
                <a:gd name="T59" fmla="*/ 120 h 138"/>
                <a:gd name="T60" fmla="*/ 55 w 129"/>
                <a:gd name="T61" fmla="*/ 120 h 138"/>
                <a:gd name="T62" fmla="*/ 52 w 129"/>
                <a:gd name="T63" fmla="*/ 120 h 138"/>
                <a:gd name="T64" fmla="*/ 52 w 129"/>
                <a:gd name="T65" fmla="*/ 119 h 138"/>
                <a:gd name="T66" fmla="*/ 49 w 129"/>
                <a:gd name="T67" fmla="*/ 119 h 138"/>
                <a:gd name="T68" fmla="*/ 49 w 129"/>
                <a:gd name="T69" fmla="*/ 118 h 138"/>
                <a:gd name="T70" fmla="*/ 30 w 129"/>
                <a:gd name="T71" fmla="*/ 87 h 138"/>
                <a:gd name="T72" fmla="*/ 30 w 129"/>
                <a:gd name="T73" fmla="*/ 87 h 138"/>
                <a:gd name="T74" fmla="*/ 40 w 129"/>
                <a:gd name="T75" fmla="*/ 57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9" h="138">
                  <a:moveTo>
                    <a:pt x="0" y="110"/>
                  </a:moveTo>
                  <a:cubicBezTo>
                    <a:pt x="0" y="125"/>
                    <a:pt x="29" y="138"/>
                    <a:pt x="64" y="138"/>
                  </a:cubicBezTo>
                  <a:cubicBezTo>
                    <a:pt x="100" y="138"/>
                    <a:pt x="129" y="125"/>
                    <a:pt x="129" y="110"/>
                  </a:cubicBezTo>
                  <a:cubicBezTo>
                    <a:pt x="129" y="102"/>
                    <a:pt x="121" y="95"/>
                    <a:pt x="109" y="90"/>
                  </a:cubicBezTo>
                  <a:cubicBezTo>
                    <a:pt x="109" y="88"/>
                    <a:pt x="109" y="86"/>
                    <a:pt x="109" y="84"/>
                  </a:cubicBezTo>
                  <a:cubicBezTo>
                    <a:pt x="109" y="58"/>
                    <a:pt x="95" y="48"/>
                    <a:pt x="80" y="39"/>
                  </a:cubicBezTo>
                  <a:cubicBezTo>
                    <a:pt x="85" y="62"/>
                    <a:pt x="71" y="76"/>
                    <a:pt x="53" y="71"/>
                  </a:cubicBezTo>
                  <a:cubicBezTo>
                    <a:pt x="79" y="30"/>
                    <a:pt x="42" y="30"/>
                    <a:pt x="53" y="0"/>
                  </a:cubicBezTo>
                  <a:cubicBezTo>
                    <a:pt x="36" y="12"/>
                    <a:pt x="18" y="47"/>
                    <a:pt x="18" y="72"/>
                  </a:cubicBezTo>
                  <a:cubicBezTo>
                    <a:pt x="18" y="78"/>
                    <a:pt x="19" y="85"/>
                    <a:pt x="20" y="90"/>
                  </a:cubicBezTo>
                  <a:cubicBezTo>
                    <a:pt x="8" y="95"/>
                    <a:pt x="0" y="102"/>
                    <a:pt x="0" y="110"/>
                  </a:cubicBezTo>
                  <a:moveTo>
                    <a:pt x="40" y="57"/>
                  </a:moveTo>
                  <a:cubicBezTo>
                    <a:pt x="35" y="79"/>
                    <a:pt x="48" y="95"/>
                    <a:pt x="60" y="95"/>
                  </a:cubicBezTo>
                  <a:cubicBezTo>
                    <a:pt x="74" y="96"/>
                    <a:pt x="82" y="82"/>
                    <a:pt x="86" y="65"/>
                  </a:cubicBezTo>
                  <a:cubicBezTo>
                    <a:pt x="94" y="71"/>
                    <a:pt x="98" y="79"/>
                    <a:pt x="98" y="87"/>
                  </a:cubicBezTo>
                  <a:cubicBezTo>
                    <a:pt x="98" y="87"/>
                    <a:pt x="98" y="87"/>
                    <a:pt x="98" y="87"/>
                  </a:cubicBezTo>
                  <a:cubicBezTo>
                    <a:pt x="99" y="96"/>
                    <a:pt x="95" y="105"/>
                    <a:pt x="87" y="112"/>
                  </a:cubicBezTo>
                  <a:cubicBezTo>
                    <a:pt x="87" y="112"/>
                    <a:pt x="87" y="112"/>
                    <a:pt x="87" y="112"/>
                  </a:cubicBezTo>
                  <a:cubicBezTo>
                    <a:pt x="85" y="113"/>
                    <a:pt x="83" y="115"/>
                    <a:pt x="81" y="116"/>
                  </a:cubicBezTo>
                  <a:cubicBezTo>
                    <a:pt x="81" y="116"/>
                    <a:pt x="81" y="116"/>
                    <a:pt x="81" y="116"/>
                  </a:cubicBezTo>
                  <a:cubicBezTo>
                    <a:pt x="80" y="117"/>
                    <a:pt x="79" y="117"/>
                    <a:pt x="78" y="117"/>
                  </a:cubicBezTo>
                  <a:cubicBezTo>
                    <a:pt x="78" y="117"/>
                    <a:pt x="78" y="118"/>
                    <a:pt x="78" y="118"/>
                  </a:cubicBezTo>
                  <a:cubicBezTo>
                    <a:pt x="75" y="118"/>
                    <a:pt x="73" y="119"/>
                    <a:pt x="71" y="120"/>
                  </a:cubicBezTo>
                  <a:cubicBezTo>
                    <a:pt x="70" y="120"/>
                    <a:pt x="70" y="120"/>
                    <a:pt x="70" y="120"/>
                  </a:cubicBezTo>
                  <a:cubicBezTo>
                    <a:pt x="69" y="120"/>
                    <a:pt x="68" y="120"/>
                    <a:pt x="67" y="120"/>
                  </a:cubicBezTo>
                  <a:cubicBezTo>
                    <a:pt x="66" y="120"/>
                    <a:pt x="66" y="120"/>
                    <a:pt x="66" y="120"/>
                  </a:cubicBezTo>
                  <a:cubicBezTo>
                    <a:pt x="64" y="121"/>
                    <a:pt x="63" y="121"/>
                    <a:pt x="62" y="121"/>
                  </a:cubicBezTo>
                  <a:cubicBezTo>
                    <a:pt x="61" y="121"/>
                    <a:pt x="60" y="121"/>
                    <a:pt x="59" y="121"/>
                  </a:cubicBezTo>
                  <a:cubicBezTo>
                    <a:pt x="58" y="121"/>
                    <a:pt x="58" y="121"/>
                    <a:pt x="58" y="121"/>
                  </a:cubicBezTo>
                  <a:cubicBezTo>
                    <a:pt x="57" y="120"/>
                    <a:pt x="56" y="120"/>
                    <a:pt x="56" y="120"/>
                  </a:cubicBezTo>
                  <a:cubicBezTo>
                    <a:pt x="55" y="120"/>
                    <a:pt x="55" y="120"/>
                    <a:pt x="55" y="120"/>
                  </a:cubicBezTo>
                  <a:cubicBezTo>
                    <a:pt x="54" y="120"/>
                    <a:pt x="53" y="120"/>
                    <a:pt x="52" y="120"/>
                  </a:cubicBezTo>
                  <a:cubicBezTo>
                    <a:pt x="52" y="120"/>
                    <a:pt x="52" y="119"/>
                    <a:pt x="52" y="119"/>
                  </a:cubicBezTo>
                  <a:cubicBezTo>
                    <a:pt x="51" y="119"/>
                    <a:pt x="50" y="119"/>
                    <a:pt x="49" y="119"/>
                  </a:cubicBezTo>
                  <a:cubicBezTo>
                    <a:pt x="49" y="119"/>
                    <a:pt x="49" y="119"/>
                    <a:pt x="49" y="118"/>
                  </a:cubicBezTo>
                  <a:cubicBezTo>
                    <a:pt x="38" y="114"/>
                    <a:pt x="29" y="103"/>
                    <a:pt x="30" y="87"/>
                  </a:cubicBezTo>
                  <a:cubicBezTo>
                    <a:pt x="30" y="87"/>
                    <a:pt x="30" y="87"/>
                    <a:pt x="30" y="87"/>
                  </a:cubicBezTo>
                  <a:cubicBezTo>
                    <a:pt x="30" y="78"/>
                    <a:pt x="33" y="68"/>
                    <a:pt x="40" y="57"/>
                  </a:cubicBezTo>
                </a:path>
              </a:pathLst>
            </a:custGeom>
            <a:solidFill>
              <a:srgbClr val="CCCCC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90" name="Freeform 96">
              <a:extLst>
                <a:ext uri="{FF2B5EF4-FFF2-40B4-BE49-F238E27FC236}">
                  <a16:creationId xmlns:a16="http://schemas.microsoft.com/office/drawing/2014/main" id="{D4B92923-548E-4E01-871D-B4BC8BAD1C1E}"/>
                </a:ext>
              </a:extLst>
            </p:cNvPr>
            <p:cNvSpPr>
              <a:spLocks/>
            </p:cNvSpPr>
            <p:nvPr/>
          </p:nvSpPr>
          <p:spPr bwMode="auto">
            <a:xfrm>
              <a:off x="4597895" y="1667502"/>
              <a:ext cx="338781" cy="341962"/>
            </a:xfrm>
            <a:custGeom>
              <a:avLst/>
              <a:gdLst>
                <a:gd name="T0" fmla="*/ 31 w 174"/>
                <a:gd name="T1" fmla="*/ 118 h 175"/>
                <a:gd name="T2" fmla="*/ 51 w 174"/>
                <a:gd name="T3" fmla="*/ 111 h 175"/>
                <a:gd name="T4" fmla="*/ 113 w 174"/>
                <a:gd name="T5" fmla="*/ 142 h 175"/>
                <a:gd name="T6" fmla="*/ 113 w 174"/>
                <a:gd name="T7" fmla="*/ 144 h 175"/>
                <a:gd name="T8" fmla="*/ 144 w 174"/>
                <a:gd name="T9" fmla="*/ 175 h 175"/>
                <a:gd name="T10" fmla="*/ 174 w 174"/>
                <a:gd name="T11" fmla="*/ 144 h 175"/>
                <a:gd name="T12" fmla="*/ 144 w 174"/>
                <a:gd name="T13" fmla="*/ 113 h 175"/>
                <a:gd name="T14" fmla="*/ 124 w 174"/>
                <a:gd name="T15" fmla="*/ 120 h 175"/>
                <a:gd name="T16" fmla="*/ 61 w 174"/>
                <a:gd name="T17" fmla="*/ 89 h 175"/>
                <a:gd name="T18" fmla="*/ 62 w 174"/>
                <a:gd name="T19" fmla="*/ 87 h 175"/>
                <a:gd name="T20" fmla="*/ 61 w 174"/>
                <a:gd name="T21" fmla="*/ 86 h 175"/>
                <a:gd name="T22" fmla="*/ 124 w 174"/>
                <a:gd name="T23" fmla="*/ 54 h 175"/>
                <a:gd name="T24" fmla="*/ 144 w 174"/>
                <a:gd name="T25" fmla="*/ 62 h 175"/>
                <a:gd name="T26" fmla="*/ 174 w 174"/>
                <a:gd name="T27" fmla="*/ 31 h 175"/>
                <a:gd name="T28" fmla="*/ 144 w 174"/>
                <a:gd name="T29" fmla="*/ 0 h 175"/>
                <a:gd name="T30" fmla="*/ 113 w 174"/>
                <a:gd name="T31" fmla="*/ 31 h 175"/>
                <a:gd name="T32" fmla="*/ 113 w 174"/>
                <a:gd name="T33" fmla="*/ 33 h 175"/>
                <a:gd name="T34" fmla="*/ 51 w 174"/>
                <a:gd name="T35" fmla="*/ 64 h 175"/>
                <a:gd name="T36" fmla="*/ 31 w 174"/>
                <a:gd name="T37" fmla="*/ 57 h 175"/>
                <a:gd name="T38" fmla="*/ 0 w 174"/>
                <a:gd name="T39" fmla="*/ 87 h 175"/>
                <a:gd name="T40" fmla="*/ 31 w 174"/>
                <a:gd name="T41" fmla="*/ 118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4" h="175">
                  <a:moveTo>
                    <a:pt x="31" y="118"/>
                  </a:moveTo>
                  <a:cubicBezTo>
                    <a:pt x="38" y="118"/>
                    <a:pt x="45" y="115"/>
                    <a:pt x="51" y="111"/>
                  </a:cubicBezTo>
                  <a:cubicBezTo>
                    <a:pt x="113" y="142"/>
                    <a:pt x="113" y="142"/>
                    <a:pt x="113" y="142"/>
                  </a:cubicBezTo>
                  <a:cubicBezTo>
                    <a:pt x="113" y="143"/>
                    <a:pt x="113" y="143"/>
                    <a:pt x="113" y="144"/>
                  </a:cubicBezTo>
                  <a:cubicBezTo>
                    <a:pt x="113" y="161"/>
                    <a:pt x="127" y="175"/>
                    <a:pt x="144" y="175"/>
                  </a:cubicBezTo>
                  <a:cubicBezTo>
                    <a:pt x="161" y="175"/>
                    <a:pt x="174" y="161"/>
                    <a:pt x="174" y="144"/>
                  </a:cubicBezTo>
                  <a:cubicBezTo>
                    <a:pt x="174" y="127"/>
                    <a:pt x="161" y="113"/>
                    <a:pt x="144" y="113"/>
                  </a:cubicBezTo>
                  <a:cubicBezTo>
                    <a:pt x="136" y="113"/>
                    <a:pt x="129" y="116"/>
                    <a:pt x="124" y="120"/>
                  </a:cubicBezTo>
                  <a:cubicBezTo>
                    <a:pt x="61" y="89"/>
                    <a:pt x="61" y="89"/>
                    <a:pt x="61" y="89"/>
                  </a:cubicBezTo>
                  <a:cubicBezTo>
                    <a:pt x="61" y="89"/>
                    <a:pt x="62" y="88"/>
                    <a:pt x="62" y="87"/>
                  </a:cubicBezTo>
                  <a:cubicBezTo>
                    <a:pt x="62" y="87"/>
                    <a:pt x="61" y="86"/>
                    <a:pt x="61" y="86"/>
                  </a:cubicBezTo>
                  <a:cubicBezTo>
                    <a:pt x="124" y="54"/>
                    <a:pt x="124" y="54"/>
                    <a:pt x="124" y="54"/>
                  </a:cubicBezTo>
                  <a:cubicBezTo>
                    <a:pt x="129" y="59"/>
                    <a:pt x="136" y="62"/>
                    <a:pt x="144" y="62"/>
                  </a:cubicBezTo>
                  <a:cubicBezTo>
                    <a:pt x="161" y="62"/>
                    <a:pt x="174" y="48"/>
                    <a:pt x="174" y="31"/>
                  </a:cubicBezTo>
                  <a:cubicBezTo>
                    <a:pt x="174" y="14"/>
                    <a:pt x="161" y="0"/>
                    <a:pt x="144" y="0"/>
                  </a:cubicBezTo>
                  <a:cubicBezTo>
                    <a:pt x="127" y="0"/>
                    <a:pt x="113" y="14"/>
                    <a:pt x="113" y="31"/>
                  </a:cubicBezTo>
                  <a:cubicBezTo>
                    <a:pt x="113" y="32"/>
                    <a:pt x="113" y="32"/>
                    <a:pt x="113" y="33"/>
                  </a:cubicBezTo>
                  <a:cubicBezTo>
                    <a:pt x="51" y="64"/>
                    <a:pt x="51" y="64"/>
                    <a:pt x="51" y="64"/>
                  </a:cubicBezTo>
                  <a:cubicBezTo>
                    <a:pt x="45" y="60"/>
                    <a:pt x="38" y="57"/>
                    <a:pt x="31" y="57"/>
                  </a:cubicBezTo>
                  <a:cubicBezTo>
                    <a:pt x="14" y="57"/>
                    <a:pt x="0" y="70"/>
                    <a:pt x="0" y="87"/>
                  </a:cubicBezTo>
                  <a:cubicBezTo>
                    <a:pt x="0" y="104"/>
                    <a:pt x="14" y="118"/>
                    <a:pt x="31" y="118"/>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91" name="Freeform 97">
              <a:extLst>
                <a:ext uri="{FF2B5EF4-FFF2-40B4-BE49-F238E27FC236}">
                  <a16:creationId xmlns:a16="http://schemas.microsoft.com/office/drawing/2014/main" id="{F177F258-D19B-4FB6-ADBF-20A98A97680D}"/>
                </a:ext>
              </a:extLst>
            </p:cNvPr>
            <p:cNvSpPr>
              <a:spLocks/>
            </p:cNvSpPr>
            <p:nvPr/>
          </p:nvSpPr>
          <p:spPr bwMode="auto">
            <a:xfrm>
              <a:off x="5471092" y="1242832"/>
              <a:ext cx="108156" cy="104975"/>
            </a:xfrm>
            <a:custGeom>
              <a:avLst/>
              <a:gdLst>
                <a:gd name="T0" fmla="*/ 10 w 55"/>
                <a:gd name="T1" fmla="*/ 37 h 54"/>
                <a:gd name="T2" fmla="*/ 16 w 55"/>
                <a:gd name="T3" fmla="*/ 34 h 54"/>
                <a:gd name="T4" fmla="*/ 35 w 55"/>
                <a:gd name="T5" fmla="*/ 44 h 54"/>
                <a:gd name="T6" fmla="*/ 35 w 55"/>
                <a:gd name="T7" fmla="*/ 45 h 54"/>
                <a:gd name="T8" fmla="*/ 45 w 55"/>
                <a:gd name="T9" fmla="*/ 54 h 54"/>
                <a:gd name="T10" fmla="*/ 55 w 55"/>
                <a:gd name="T11" fmla="*/ 45 h 54"/>
                <a:gd name="T12" fmla="*/ 45 w 55"/>
                <a:gd name="T13" fmla="*/ 35 h 54"/>
                <a:gd name="T14" fmla="*/ 39 w 55"/>
                <a:gd name="T15" fmla="*/ 37 h 54"/>
                <a:gd name="T16" fmla="*/ 19 w 55"/>
                <a:gd name="T17" fmla="*/ 28 h 54"/>
                <a:gd name="T18" fmla="*/ 19 w 55"/>
                <a:gd name="T19" fmla="*/ 27 h 54"/>
                <a:gd name="T20" fmla="*/ 19 w 55"/>
                <a:gd name="T21" fmla="*/ 26 h 54"/>
                <a:gd name="T22" fmla="*/ 39 w 55"/>
                <a:gd name="T23" fmla="*/ 17 h 54"/>
                <a:gd name="T24" fmla="*/ 45 w 55"/>
                <a:gd name="T25" fmla="*/ 19 h 54"/>
                <a:gd name="T26" fmla="*/ 55 w 55"/>
                <a:gd name="T27" fmla="*/ 9 h 54"/>
                <a:gd name="T28" fmla="*/ 45 w 55"/>
                <a:gd name="T29" fmla="*/ 0 h 54"/>
                <a:gd name="T30" fmla="*/ 35 w 55"/>
                <a:gd name="T31" fmla="*/ 9 h 54"/>
                <a:gd name="T32" fmla="*/ 35 w 55"/>
                <a:gd name="T33" fmla="*/ 10 h 54"/>
                <a:gd name="T34" fmla="*/ 16 w 55"/>
                <a:gd name="T35" fmla="*/ 20 h 54"/>
                <a:gd name="T36" fmla="*/ 10 w 55"/>
                <a:gd name="T37" fmla="*/ 17 h 54"/>
                <a:gd name="T38" fmla="*/ 0 w 55"/>
                <a:gd name="T39" fmla="*/ 27 h 54"/>
                <a:gd name="T40" fmla="*/ 10 w 55"/>
                <a:gd name="T41" fmla="*/ 3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5" h="54">
                  <a:moveTo>
                    <a:pt x="10" y="37"/>
                  </a:moveTo>
                  <a:cubicBezTo>
                    <a:pt x="12" y="37"/>
                    <a:pt x="14" y="36"/>
                    <a:pt x="16" y="34"/>
                  </a:cubicBezTo>
                  <a:cubicBezTo>
                    <a:pt x="35" y="44"/>
                    <a:pt x="35" y="44"/>
                    <a:pt x="35" y="44"/>
                  </a:cubicBezTo>
                  <a:cubicBezTo>
                    <a:pt x="35" y="44"/>
                    <a:pt x="35" y="44"/>
                    <a:pt x="35" y="45"/>
                  </a:cubicBezTo>
                  <a:cubicBezTo>
                    <a:pt x="35" y="50"/>
                    <a:pt x="40" y="54"/>
                    <a:pt x="45" y="54"/>
                  </a:cubicBezTo>
                  <a:cubicBezTo>
                    <a:pt x="50" y="54"/>
                    <a:pt x="55" y="50"/>
                    <a:pt x="55" y="45"/>
                  </a:cubicBezTo>
                  <a:cubicBezTo>
                    <a:pt x="55" y="39"/>
                    <a:pt x="50" y="35"/>
                    <a:pt x="45" y="35"/>
                  </a:cubicBezTo>
                  <a:cubicBezTo>
                    <a:pt x="43" y="35"/>
                    <a:pt x="41" y="36"/>
                    <a:pt x="39" y="37"/>
                  </a:cubicBezTo>
                  <a:cubicBezTo>
                    <a:pt x="19" y="28"/>
                    <a:pt x="19" y="28"/>
                    <a:pt x="19" y="28"/>
                  </a:cubicBezTo>
                  <a:cubicBezTo>
                    <a:pt x="19" y="27"/>
                    <a:pt x="19" y="27"/>
                    <a:pt x="19" y="27"/>
                  </a:cubicBezTo>
                  <a:cubicBezTo>
                    <a:pt x="19" y="27"/>
                    <a:pt x="19" y="27"/>
                    <a:pt x="19" y="26"/>
                  </a:cubicBezTo>
                  <a:cubicBezTo>
                    <a:pt x="39" y="17"/>
                    <a:pt x="39" y="17"/>
                    <a:pt x="39" y="17"/>
                  </a:cubicBezTo>
                  <a:cubicBezTo>
                    <a:pt x="41" y="18"/>
                    <a:pt x="43" y="19"/>
                    <a:pt x="45" y="19"/>
                  </a:cubicBezTo>
                  <a:cubicBezTo>
                    <a:pt x="50" y="19"/>
                    <a:pt x="55" y="15"/>
                    <a:pt x="55" y="9"/>
                  </a:cubicBezTo>
                  <a:cubicBezTo>
                    <a:pt x="55" y="4"/>
                    <a:pt x="50" y="0"/>
                    <a:pt x="45" y="0"/>
                  </a:cubicBezTo>
                  <a:cubicBezTo>
                    <a:pt x="40" y="0"/>
                    <a:pt x="35" y="4"/>
                    <a:pt x="35" y="9"/>
                  </a:cubicBezTo>
                  <a:cubicBezTo>
                    <a:pt x="35" y="10"/>
                    <a:pt x="35" y="10"/>
                    <a:pt x="35" y="10"/>
                  </a:cubicBezTo>
                  <a:cubicBezTo>
                    <a:pt x="16" y="20"/>
                    <a:pt x="16" y="20"/>
                    <a:pt x="16" y="20"/>
                  </a:cubicBezTo>
                  <a:cubicBezTo>
                    <a:pt x="14" y="18"/>
                    <a:pt x="12" y="17"/>
                    <a:pt x="10" y="17"/>
                  </a:cubicBezTo>
                  <a:cubicBezTo>
                    <a:pt x="5" y="17"/>
                    <a:pt x="0" y="22"/>
                    <a:pt x="0" y="27"/>
                  </a:cubicBezTo>
                  <a:cubicBezTo>
                    <a:pt x="0" y="32"/>
                    <a:pt x="5" y="37"/>
                    <a:pt x="10" y="37"/>
                  </a:cubicBezTo>
                </a:path>
              </a:pathLst>
            </a:custGeom>
            <a:solidFill>
              <a:srgbClr val="CCCCC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92" name="Freeform 98">
              <a:extLst>
                <a:ext uri="{FF2B5EF4-FFF2-40B4-BE49-F238E27FC236}">
                  <a16:creationId xmlns:a16="http://schemas.microsoft.com/office/drawing/2014/main" id="{B6E540F6-5401-4AA8-AF09-33E385625D87}"/>
                </a:ext>
              </a:extLst>
            </p:cNvPr>
            <p:cNvSpPr>
              <a:spLocks/>
            </p:cNvSpPr>
            <p:nvPr/>
          </p:nvSpPr>
          <p:spPr bwMode="auto">
            <a:xfrm>
              <a:off x="5429738" y="3717685"/>
              <a:ext cx="127242" cy="127242"/>
            </a:xfrm>
            <a:custGeom>
              <a:avLst/>
              <a:gdLst>
                <a:gd name="T0" fmla="*/ 11 w 65"/>
                <a:gd name="T1" fmla="*/ 44 h 65"/>
                <a:gd name="T2" fmla="*/ 19 w 65"/>
                <a:gd name="T3" fmla="*/ 41 h 65"/>
                <a:gd name="T4" fmla="*/ 42 w 65"/>
                <a:gd name="T5" fmla="*/ 53 h 65"/>
                <a:gd name="T6" fmla="*/ 42 w 65"/>
                <a:gd name="T7" fmla="*/ 53 h 65"/>
                <a:gd name="T8" fmla="*/ 53 w 65"/>
                <a:gd name="T9" fmla="*/ 65 h 65"/>
                <a:gd name="T10" fmla="*/ 65 w 65"/>
                <a:gd name="T11" fmla="*/ 53 h 65"/>
                <a:gd name="T12" fmla="*/ 53 w 65"/>
                <a:gd name="T13" fmla="*/ 42 h 65"/>
                <a:gd name="T14" fmla="*/ 46 w 65"/>
                <a:gd name="T15" fmla="*/ 45 h 65"/>
                <a:gd name="T16" fmla="*/ 23 w 65"/>
                <a:gd name="T17" fmla="*/ 33 h 65"/>
                <a:gd name="T18" fmla="*/ 23 w 65"/>
                <a:gd name="T19" fmla="*/ 32 h 65"/>
                <a:gd name="T20" fmla="*/ 23 w 65"/>
                <a:gd name="T21" fmla="*/ 32 h 65"/>
                <a:gd name="T22" fmla="*/ 46 w 65"/>
                <a:gd name="T23" fmla="*/ 20 h 65"/>
                <a:gd name="T24" fmla="*/ 53 w 65"/>
                <a:gd name="T25" fmla="*/ 23 h 65"/>
                <a:gd name="T26" fmla="*/ 65 w 65"/>
                <a:gd name="T27" fmla="*/ 11 h 65"/>
                <a:gd name="T28" fmla="*/ 53 w 65"/>
                <a:gd name="T29" fmla="*/ 0 h 65"/>
                <a:gd name="T30" fmla="*/ 42 w 65"/>
                <a:gd name="T31" fmla="*/ 11 h 65"/>
                <a:gd name="T32" fmla="*/ 42 w 65"/>
                <a:gd name="T33" fmla="*/ 12 h 65"/>
                <a:gd name="T34" fmla="*/ 19 w 65"/>
                <a:gd name="T35" fmla="*/ 23 h 65"/>
                <a:gd name="T36" fmla="*/ 11 w 65"/>
                <a:gd name="T37" fmla="*/ 21 h 65"/>
                <a:gd name="T38" fmla="*/ 0 w 65"/>
                <a:gd name="T39" fmla="*/ 32 h 65"/>
                <a:gd name="T40" fmla="*/ 11 w 65"/>
                <a:gd name="T41" fmla="*/ 4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 h="65">
                  <a:moveTo>
                    <a:pt x="11" y="44"/>
                  </a:moveTo>
                  <a:cubicBezTo>
                    <a:pt x="14" y="44"/>
                    <a:pt x="17" y="43"/>
                    <a:pt x="19" y="41"/>
                  </a:cubicBezTo>
                  <a:cubicBezTo>
                    <a:pt x="42" y="53"/>
                    <a:pt x="42" y="53"/>
                    <a:pt x="42" y="53"/>
                  </a:cubicBezTo>
                  <a:cubicBezTo>
                    <a:pt x="42" y="53"/>
                    <a:pt x="42" y="53"/>
                    <a:pt x="42" y="53"/>
                  </a:cubicBezTo>
                  <a:cubicBezTo>
                    <a:pt x="42" y="60"/>
                    <a:pt x="47" y="65"/>
                    <a:pt x="53" y="65"/>
                  </a:cubicBezTo>
                  <a:cubicBezTo>
                    <a:pt x="60" y="65"/>
                    <a:pt x="65" y="60"/>
                    <a:pt x="65" y="53"/>
                  </a:cubicBezTo>
                  <a:cubicBezTo>
                    <a:pt x="65" y="47"/>
                    <a:pt x="60" y="42"/>
                    <a:pt x="53" y="42"/>
                  </a:cubicBezTo>
                  <a:cubicBezTo>
                    <a:pt x="51" y="42"/>
                    <a:pt x="48" y="43"/>
                    <a:pt x="46" y="45"/>
                  </a:cubicBezTo>
                  <a:cubicBezTo>
                    <a:pt x="23" y="33"/>
                    <a:pt x="23" y="33"/>
                    <a:pt x="23" y="33"/>
                  </a:cubicBezTo>
                  <a:cubicBezTo>
                    <a:pt x="23" y="33"/>
                    <a:pt x="23" y="32"/>
                    <a:pt x="23" y="32"/>
                  </a:cubicBezTo>
                  <a:cubicBezTo>
                    <a:pt x="23" y="32"/>
                    <a:pt x="23" y="32"/>
                    <a:pt x="23" y="32"/>
                  </a:cubicBezTo>
                  <a:cubicBezTo>
                    <a:pt x="46" y="20"/>
                    <a:pt x="46" y="20"/>
                    <a:pt x="46" y="20"/>
                  </a:cubicBezTo>
                  <a:cubicBezTo>
                    <a:pt x="48" y="22"/>
                    <a:pt x="51" y="23"/>
                    <a:pt x="53" y="23"/>
                  </a:cubicBezTo>
                  <a:cubicBezTo>
                    <a:pt x="60" y="23"/>
                    <a:pt x="65" y="17"/>
                    <a:pt x="65" y="11"/>
                  </a:cubicBezTo>
                  <a:cubicBezTo>
                    <a:pt x="65" y="5"/>
                    <a:pt x="60" y="0"/>
                    <a:pt x="53" y="0"/>
                  </a:cubicBezTo>
                  <a:cubicBezTo>
                    <a:pt x="47" y="0"/>
                    <a:pt x="42" y="5"/>
                    <a:pt x="42" y="11"/>
                  </a:cubicBezTo>
                  <a:cubicBezTo>
                    <a:pt x="42" y="11"/>
                    <a:pt x="42" y="12"/>
                    <a:pt x="42" y="12"/>
                  </a:cubicBezTo>
                  <a:cubicBezTo>
                    <a:pt x="19" y="23"/>
                    <a:pt x="19" y="23"/>
                    <a:pt x="19" y="23"/>
                  </a:cubicBezTo>
                  <a:cubicBezTo>
                    <a:pt x="17" y="22"/>
                    <a:pt x="14" y="21"/>
                    <a:pt x="11" y="21"/>
                  </a:cubicBezTo>
                  <a:cubicBezTo>
                    <a:pt x="5" y="21"/>
                    <a:pt x="0" y="26"/>
                    <a:pt x="0" y="32"/>
                  </a:cubicBezTo>
                  <a:cubicBezTo>
                    <a:pt x="0" y="39"/>
                    <a:pt x="5" y="44"/>
                    <a:pt x="11" y="44"/>
                  </a:cubicBezTo>
                </a:path>
              </a:pathLst>
            </a:custGeom>
            <a:solidFill>
              <a:srgbClr val="CCCCC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93" name="Freeform 99">
              <a:extLst>
                <a:ext uri="{FF2B5EF4-FFF2-40B4-BE49-F238E27FC236}">
                  <a16:creationId xmlns:a16="http://schemas.microsoft.com/office/drawing/2014/main" id="{2406042D-B3C2-44B5-997F-7E2EF2316CC6}"/>
                </a:ext>
              </a:extLst>
            </p:cNvPr>
            <p:cNvSpPr>
              <a:spLocks/>
            </p:cNvSpPr>
            <p:nvPr/>
          </p:nvSpPr>
          <p:spPr bwMode="auto">
            <a:xfrm>
              <a:off x="5518807" y="4767430"/>
              <a:ext cx="97022" cy="95431"/>
            </a:xfrm>
            <a:custGeom>
              <a:avLst/>
              <a:gdLst>
                <a:gd name="T0" fmla="*/ 9 w 50"/>
                <a:gd name="T1" fmla="*/ 32 h 49"/>
                <a:gd name="T2" fmla="*/ 14 w 50"/>
                <a:gd name="T3" fmla="*/ 30 h 49"/>
                <a:gd name="T4" fmla="*/ 32 w 50"/>
                <a:gd name="T5" fmla="*/ 39 h 49"/>
                <a:gd name="T6" fmla="*/ 32 w 50"/>
                <a:gd name="T7" fmla="*/ 40 h 49"/>
                <a:gd name="T8" fmla="*/ 40 w 50"/>
                <a:gd name="T9" fmla="*/ 49 h 49"/>
                <a:gd name="T10" fmla="*/ 49 w 50"/>
                <a:gd name="T11" fmla="*/ 40 h 49"/>
                <a:gd name="T12" fmla="*/ 40 w 50"/>
                <a:gd name="T13" fmla="*/ 31 h 49"/>
                <a:gd name="T14" fmla="*/ 35 w 50"/>
                <a:gd name="T15" fmla="*/ 33 h 49"/>
                <a:gd name="T16" fmla="*/ 17 w 50"/>
                <a:gd name="T17" fmla="*/ 24 h 49"/>
                <a:gd name="T18" fmla="*/ 18 w 50"/>
                <a:gd name="T19" fmla="*/ 24 h 49"/>
                <a:gd name="T20" fmla="*/ 17 w 50"/>
                <a:gd name="T21" fmla="*/ 23 h 49"/>
                <a:gd name="T22" fmla="*/ 35 w 50"/>
                <a:gd name="T23" fmla="*/ 15 h 49"/>
                <a:gd name="T24" fmla="*/ 41 w 50"/>
                <a:gd name="T25" fmla="*/ 17 h 49"/>
                <a:gd name="T26" fmla="*/ 50 w 50"/>
                <a:gd name="T27" fmla="*/ 9 h 49"/>
                <a:gd name="T28" fmla="*/ 41 w 50"/>
                <a:gd name="T29" fmla="*/ 0 h 49"/>
                <a:gd name="T30" fmla="*/ 32 w 50"/>
                <a:gd name="T31" fmla="*/ 8 h 49"/>
                <a:gd name="T32" fmla="*/ 32 w 50"/>
                <a:gd name="T33" fmla="*/ 9 h 49"/>
                <a:gd name="T34" fmla="*/ 15 w 50"/>
                <a:gd name="T35" fmla="*/ 17 h 49"/>
                <a:gd name="T36" fmla="*/ 9 w 50"/>
                <a:gd name="T37" fmla="*/ 15 h 49"/>
                <a:gd name="T38" fmla="*/ 0 w 50"/>
                <a:gd name="T39" fmla="*/ 23 h 49"/>
                <a:gd name="T40" fmla="*/ 9 w 50"/>
                <a:gd name="T41" fmla="*/ 3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0" h="49">
                  <a:moveTo>
                    <a:pt x="9" y="32"/>
                  </a:moveTo>
                  <a:cubicBezTo>
                    <a:pt x="11" y="32"/>
                    <a:pt x="13" y="31"/>
                    <a:pt x="14" y="30"/>
                  </a:cubicBezTo>
                  <a:cubicBezTo>
                    <a:pt x="32" y="39"/>
                    <a:pt x="32" y="39"/>
                    <a:pt x="32" y="39"/>
                  </a:cubicBezTo>
                  <a:cubicBezTo>
                    <a:pt x="32" y="40"/>
                    <a:pt x="32" y="40"/>
                    <a:pt x="32" y="40"/>
                  </a:cubicBezTo>
                  <a:cubicBezTo>
                    <a:pt x="31" y="45"/>
                    <a:pt x="35" y="49"/>
                    <a:pt x="40" y="49"/>
                  </a:cubicBezTo>
                  <a:cubicBezTo>
                    <a:pt x="45" y="49"/>
                    <a:pt x="49" y="45"/>
                    <a:pt x="49" y="40"/>
                  </a:cubicBezTo>
                  <a:cubicBezTo>
                    <a:pt x="49" y="36"/>
                    <a:pt x="45" y="32"/>
                    <a:pt x="40" y="31"/>
                  </a:cubicBezTo>
                  <a:cubicBezTo>
                    <a:pt x="38" y="31"/>
                    <a:pt x="36" y="32"/>
                    <a:pt x="35" y="33"/>
                  </a:cubicBezTo>
                  <a:cubicBezTo>
                    <a:pt x="17" y="24"/>
                    <a:pt x="17" y="24"/>
                    <a:pt x="17" y="24"/>
                  </a:cubicBezTo>
                  <a:cubicBezTo>
                    <a:pt x="17" y="24"/>
                    <a:pt x="18" y="24"/>
                    <a:pt x="18" y="24"/>
                  </a:cubicBezTo>
                  <a:cubicBezTo>
                    <a:pt x="18" y="24"/>
                    <a:pt x="17" y="23"/>
                    <a:pt x="17" y="23"/>
                  </a:cubicBezTo>
                  <a:cubicBezTo>
                    <a:pt x="35" y="15"/>
                    <a:pt x="35" y="15"/>
                    <a:pt x="35" y="15"/>
                  </a:cubicBezTo>
                  <a:cubicBezTo>
                    <a:pt x="37" y="16"/>
                    <a:pt x="39" y="17"/>
                    <a:pt x="41" y="17"/>
                  </a:cubicBezTo>
                  <a:cubicBezTo>
                    <a:pt x="46" y="17"/>
                    <a:pt x="50" y="13"/>
                    <a:pt x="50" y="9"/>
                  </a:cubicBezTo>
                  <a:cubicBezTo>
                    <a:pt x="50" y="4"/>
                    <a:pt x="46" y="0"/>
                    <a:pt x="41" y="0"/>
                  </a:cubicBezTo>
                  <a:cubicBezTo>
                    <a:pt x="36" y="0"/>
                    <a:pt x="32" y="3"/>
                    <a:pt x="32" y="8"/>
                  </a:cubicBezTo>
                  <a:cubicBezTo>
                    <a:pt x="32" y="8"/>
                    <a:pt x="32" y="9"/>
                    <a:pt x="32" y="9"/>
                  </a:cubicBezTo>
                  <a:cubicBezTo>
                    <a:pt x="15" y="17"/>
                    <a:pt x="15" y="17"/>
                    <a:pt x="15" y="17"/>
                  </a:cubicBezTo>
                  <a:cubicBezTo>
                    <a:pt x="13" y="16"/>
                    <a:pt x="11" y="15"/>
                    <a:pt x="9" y="15"/>
                  </a:cubicBezTo>
                  <a:cubicBezTo>
                    <a:pt x="4" y="15"/>
                    <a:pt x="0" y="19"/>
                    <a:pt x="0" y="23"/>
                  </a:cubicBezTo>
                  <a:cubicBezTo>
                    <a:pt x="0" y="28"/>
                    <a:pt x="4" y="32"/>
                    <a:pt x="9" y="32"/>
                  </a:cubicBezTo>
                </a:path>
              </a:pathLst>
            </a:custGeom>
            <a:solidFill>
              <a:srgbClr val="CCCCC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94" name="Freeform 100">
              <a:extLst>
                <a:ext uri="{FF2B5EF4-FFF2-40B4-BE49-F238E27FC236}">
                  <a16:creationId xmlns:a16="http://schemas.microsoft.com/office/drawing/2014/main" id="{52D03F3F-0226-4E14-8D9D-289A17177B40}"/>
                </a:ext>
              </a:extLst>
            </p:cNvPr>
            <p:cNvSpPr>
              <a:spLocks/>
            </p:cNvSpPr>
            <p:nvPr/>
          </p:nvSpPr>
          <p:spPr bwMode="auto">
            <a:xfrm>
              <a:off x="7591258" y="4396838"/>
              <a:ext cx="95431" cy="95431"/>
            </a:xfrm>
            <a:custGeom>
              <a:avLst/>
              <a:gdLst>
                <a:gd name="T0" fmla="*/ 8 w 49"/>
                <a:gd name="T1" fmla="*/ 32 h 49"/>
                <a:gd name="T2" fmla="*/ 14 w 49"/>
                <a:gd name="T3" fmla="*/ 30 h 49"/>
                <a:gd name="T4" fmla="*/ 31 w 49"/>
                <a:gd name="T5" fmla="*/ 40 h 49"/>
                <a:gd name="T6" fmla="*/ 31 w 49"/>
                <a:gd name="T7" fmla="*/ 40 h 49"/>
                <a:gd name="T8" fmla="*/ 39 w 49"/>
                <a:gd name="T9" fmla="*/ 49 h 49"/>
                <a:gd name="T10" fmla="*/ 48 w 49"/>
                <a:gd name="T11" fmla="*/ 41 h 49"/>
                <a:gd name="T12" fmla="*/ 40 w 49"/>
                <a:gd name="T13" fmla="*/ 32 h 49"/>
                <a:gd name="T14" fmla="*/ 34 w 49"/>
                <a:gd name="T15" fmla="*/ 34 h 49"/>
                <a:gd name="T16" fmla="*/ 17 w 49"/>
                <a:gd name="T17" fmla="*/ 24 h 49"/>
                <a:gd name="T18" fmla="*/ 17 w 49"/>
                <a:gd name="T19" fmla="*/ 24 h 49"/>
                <a:gd name="T20" fmla="*/ 17 w 49"/>
                <a:gd name="T21" fmla="*/ 23 h 49"/>
                <a:gd name="T22" fmla="*/ 35 w 49"/>
                <a:gd name="T23" fmla="*/ 15 h 49"/>
                <a:gd name="T24" fmla="*/ 40 w 49"/>
                <a:gd name="T25" fmla="*/ 17 h 49"/>
                <a:gd name="T26" fmla="*/ 49 w 49"/>
                <a:gd name="T27" fmla="*/ 9 h 49"/>
                <a:gd name="T28" fmla="*/ 41 w 49"/>
                <a:gd name="T29" fmla="*/ 0 h 49"/>
                <a:gd name="T30" fmla="*/ 32 w 49"/>
                <a:gd name="T31" fmla="*/ 8 h 49"/>
                <a:gd name="T32" fmla="*/ 32 w 49"/>
                <a:gd name="T33" fmla="*/ 9 h 49"/>
                <a:gd name="T34" fmla="*/ 14 w 49"/>
                <a:gd name="T35" fmla="*/ 17 h 49"/>
                <a:gd name="T36" fmla="*/ 9 w 49"/>
                <a:gd name="T37" fmla="*/ 15 h 49"/>
                <a:gd name="T38" fmla="*/ 0 w 49"/>
                <a:gd name="T39" fmla="*/ 24 h 49"/>
                <a:gd name="T40" fmla="*/ 8 w 49"/>
                <a:gd name="T41" fmla="*/ 3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9" h="49">
                  <a:moveTo>
                    <a:pt x="8" y="32"/>
                  </a:moveTo>
                  <a:cubicBezTo>
                    <a:pt x="10" y="32"/>
                    <a:pt x="12" y="32"/>
                    <a:pt x="14" y="30"/>
                  </a:cubicBezTo>
                  <a:cubicBezTo>
                    <a:pt x="31" y="40"/>
                    <a:pt x="31" y="40"/>
                    <a:pt x="31" y="40"/>
                  </a:cubicBezTo>
                  <a:cubicBezTo>
                    <a:pt x="31" y="40"/>
                    <a:pt x="31" y="40"/>
                    <a:pt x="31" y="40"/>
                  </a:cubicBezTo>
                  <a:cubicBezTo>
                    <a:pt x="31" y="45"/>
                    <a:pt x="35" y="49"/>
                    <a:pt x="39" y="49"/>
                  </a:cubicBezTo>
                  <a:cubicBezTo>
                    <a:pt x="44" y="49"/>
                    <a:pt x="48" y="45"/>
                    <a:pt x="48" y="41"/>
                  </a:cubicBezTo>
                  <a:cubicBezTo>
                    <a:pt x="48" y="36"/>
                    <a:pt x="45" y="32"/>
                    <a:pt x="40" y="32"/>
                  </a:cubicBezTo>
                  <a:cubicBezTo>
                    <a:pt x="38" y="32"/>
                    <a:pt x="36" y="32"/>
                    <a:pt x="34" y="34"/>
                  </a:cubicBezTo>
                  <a:cubicBezTo>
                    <a:pt x="17" y="24"/>
                    <a:pt x="17" y="24"/>
                    <a:pt x="17" y="24"/>
                  </a:cubicBezTo>
                  <a:cubicBezTo>
                    <a:pt x="17" y="24"/>
                    <a:pt x="17" y="24"/>
                    <a:pt x="17" y="24"/>
                  </a:cubicBezTo>
                  <a:cubicBezTo>
                    <a:pt x="17" y="24"/>
                    <a:pt x="17" y="24"/>
                    <a:pt x="17" y="23"/>
                  </a:cubicBezTo>
                  <a:cubicBezTo>
                    <a:pt x="35" y="15"/>
                    <a:pt x="35" y="15"/>
                    <a:pt x="35" y="15"/>
                  </a:cubicBezTo>
                  <a:cubicBezTo>
                    <a:pt x="36" y="16"/>
                    <a:pt x="38" y="17"/>
                    <a:pt x="40" y="17"/>
                  </a:cubicBezTo>
                  <a:cubicBezTo>
                    <a:pt x="45" y="17"/>
                    <a:pt x="49" y="14"/>
                    <a:pt x="49" y="9"/>
                  </a:cubicBezTo>
                  <a:cubicBezTo>
                    <a:pt x="49" y="4"/>
                    <a:pt x="45" y="0"/>
                    <a:pt x="41" y="0"/>
                  </a:cubicBezTo>
                  <a:cubicBezTo>
                    <a:pt x="36" y="0"/>
                    <a:pt x="32" y="4"/>
                    <a:pt x="32" y="8"/>
                  </a:cubicBezTo>
                  <a:cubicBezTo>
                    <a:pt x="32" y="9"/>
                    <a:pt x="32" y="9"/>
                    <a:pt x="32" y="9"/>
                  </a:cubicBezTo>
                  <a:cubicBezTo>
                    <a:pt x="14" y="17"/>
                    <a:pt x="14" y="17"/>
                    <a:pt x="14" y="17"/>
                  </a:cubicBezTo>
                  <a:cubicBezTo>
                    <a:pt x="13" y="16"/>
                    <a:pt x="11" y="15"/>
                    <a:pt x="9" y="15"/>
                  </a:cubicBezTo>
                  <a:cubicBezTo>
                    <a:pt x="4" y="15"/>
                    <a:pt x="0" y="19"/>
                    <a:pt x="0" y="24"/>
                  </a:cubicBezTo>
                  <a:cubicBezTo>
                    <a:pt x="0" y="28"/>
                    <a:pt x="3" y="32"/>
                    <a:pt x="8" y="32"/>
                  </a:cubicBezTo>
                </a:path>
              </a:pathLst>
            </a:custGeom>
            <a:solidFill>
              <a:srgbClr val="CCCCC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95" name="Oval 101">
              <a:extLst>
                <a:ext uri="{FF2B5EF4-FFF2-40B4-BE49-F238E27FC236}">
                  <a16:creationId xmlns:a16="http://schemas.microsoft.com/office/drawing/2014/main" id="{F7A2DB81-9C40-4C36-A50A-496F2DC52761}"/>
                </a:ext>
              </a:extLst>
            </p:cNvPr>
            <p:cNvSpPr>
              <a:spLocks noChangeArrowheads="1"/>
            </p:cNvSpPr>
            <p:nvPr/>
          </p:nvSpPr>
          <p:spPr bwMode="auto">
            <a:xfrm>
              <a:off x="5994374" y="2208279"/>
              <a:ext cx="629847" cy="626666"/>
            </a:xfrm>
            <a:prstGeom prst="ellipse">
              <a:avLst/>
            </a:prstGeom>
            <a:solidFill>
              <a:schemeClr val="accent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96" name="Oval 102">
              <a:extLst>
                <a:ext uri="{FF2B5EF4-FFF2-40B4-BE49-F238E27FC236}">
                  <a16:creationId xmlns:a16="http://schemas.microsoft.com/office/drawing/2014/main" id="{A3F4CAC3-56D2-4323-8A41-F0E801A73554}"/>
                </a:ext>
              </a:extLst>
            </p:cNvPr>
            <p:cNvSpPr>
              <a:spLocks noChangeArrowheads="1"/>
            </p:cNvSpPr>
            <p:nvPr/>
          </p:nvSpPr>
          <p:spPr bwMode="auto">
            <a:xfrm>
              <a:off x="6535151" y="3355046"/>
              <a:ext cx="103384" cy="101794"/>
            </a:xfrm>
            <a:prstGeom prst="ellipse">
              <a:avLst/>
            </a:pr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97" name="Oval 103">
              <a:extLst>
                <a:ext uri="{FF2B5EF4-FFF2-40B4-BE49-F238E27FC236}">
                  <a16:creationId xmlns:a16="http://schemas.microsoft.com/office/drawing/2014/main" id="{915CCF8C-0DC0-4575-B09C-5E9422509966}"/>
                </a:ext>
              </a:extLst>
            </p:cNvPr>
            <p:cNvSpPr>
              <a:spLocks noChangeArrowheads="1"/>
            </p:cNvSpPr>
            <p:nvPr/>
          </p:nvSpPr>
          <p:spPr bwMode="auto">
            <a:xfrm>
              <a:off x="6422224" y="3374132"/>
              <a:ext cx="93841" cy="92250"/>
            </a:xfrm>
            <a:prstGeom prst="ellipse">
              <a:avLst/>
            </a:pr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98" name="Oval 104">
              <a:extLst>
                <a:ext uri="{FF2B5EF4-FFF2-40B4-BE49-F238E27FC236}">
                  <a16:creationId xmlns:a16="http://schemas.microsoft.com/office/drawing/2014/main" id="{BD69D844-4EB6-4150-9E7D-B7068A96687E}"/>
                </a:ext>
              </a:extLst>
            </p:cNvPr>
            <p:cNvSpPr>
              <a:spLocks noChangeArrowheads="1"/>
            </p:cNvSpPr>
            <p:nvPr/>
          </p:nvSpPr>
          <p:spPr bwMode="auto">
            <a:xfrm>
              <a:off x="6322021" y="3391628"/>
              <a:ext cx="82707" cy="84298"/>
            </a:xfrm>
            <a:prstGeom prst="ellipse">
              <a:avLst/>
            </a:pr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99" name="Freeform 105">
              <a:extLst>
                <a:ext uri="{FF2B5EF4-FFF2-40B4-BE49-F238E27FC236}">
                  <a16:creationId xmlns:a16="http://schemas.microsoft.com/office/drawing/2014/main" id="{F420761B-9C51-4B2D-96C4-88A3F7A9F9A3}"/>
                </a:ext>
              </a:extLst>
            </p:cNvPr>
            <p:cNvSpPr>
              <a:spLocks/>
            </p:cNvSpPr>
            <p:nvPr/>
          </p:nvSpPr>
          <p:spPr bwMode="auto">
            <a:xfrm>
              <a:off x="6315659" y="3485469"/>
              <a:ext cx="93841" cy="66802"/>
            </a:xfrm>
            <a:custGeom>
              <a:avLst/>
              <a:gdLst>
                <a:gd name="T0" fmla="*/ 46 w 48"/>
                <a:gd name="T1" fmla="*/ 34 h 34"/>
                <a:gd name="T2" fmla="*/ 48 w 48"/>
                <a:gd name="T3" fmla="*/ 32 h 34"/>
                <a:gd name="T4" fmla="*/ 48 w 48"/>
                <a:gd name="T5" fmla="*/ 24 h 34"/>
                <a:gd name="T6" fmla="*/ 24 w 48"/>
                <a:gd name="T7" fmla="*/ 0 h 34"/>
                <a:gd name="T8" fmla="*/ 0 w 48"/>
                <a:gd name="T9" fmla="*/ 24 h 34"/>
                <a:gd name="T10" fmla="*/ 0 w 48"/>
                <a:gd name="T11" fmla="*/ 32 h 34"/>
                <a:gd name="T12" fmla="*/ 3 w 48"/>
                <a:gd name="T13" fmla="*/ 34 h 34"/>
                <a:gd name="T14" fmla="*/ 3 w 48"/>
                <a:gd name="T15" fmla="*/ 34 h 34"/>
                <a:gd name="T16" fmla="*/ 45 w 48"/>
                <a:gd name="T17" fmla="*/ 34 h 34"/>
                <a:gd name="T18" fmla="*/ 46 w 48"/>
                <a:gd name="T19"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34">
                  <a:moveTo>
                    <a:pt x="46" y="34"/>
                  </a:moveTo>
                  <a:cubicBezTo>
                    <a:pt x="47" y="34"/>
                    <a:pt x="48" y="33"/>
                    <a:pt x="48" y="32"/>
                  </a:cubicBezTo>
                  <a:cubicBezTo>
                    <a:pt x="48" y="24"/>
                    <a:pt x="48" y="24"/>
                    <a:pt x="48" y="24"/>
                  </a:cubicBezTo>
                  <a:cubicBezTo>
                    <a:pt x="48" y="11"/>
                    <a:pt x="38" y="0"/>
                    <a:pt x="24" y="0"/>
                  </a:cubicBezTo>
                  <a:cubicBezTo>
                    <a:pt x="10" y="0"/>
                    <a:pt x="0" y="11"/>
                    <a:pt x="0" y="24"/>
                  </a:cubicBezTo>
                  <a:cubicBezTo>
                    <a:pt x="0" y="32"/>
                    <a:pt x="0" y="32"/>
                    <a:pt x="0" y="32"/>
                  </a:cubicBezTo>
                  <a:cubicBezTo>
                    <a:pt x="0" y="33"/>
                    <a:pt x="1" y="34"/>
                    <a:pt x="3" y="34"/>
                  </a:cubicBezTo>
                  <a:cubicBezTo>
                    <a:pt x="3" y="34"/>
                    <a:pt x="3" y="34"/>
                    <a:pt x="3" y="34"/>
                  </a:cubicBezTo>
                  <a:cubicBezTo>
                    <a:pt x="45" y="34"/>
                    <a:pt x="45" y="34"/>
                    <a:pt x="45" y="34"/>
                  </a:cubicBezTo>
                  <a:lnTo>
                    <a:pt x="46" y="34"/>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00" name="Freeform 106">
              <a:extLst>
                <a:ext uri="{FF2B5EF4-FFF2-40B4-BE49-F238E27FC236}">
                  <a16:creationId xmlns:a16="http://schemas.microsoft.com/office/drawing/2014/main" id="{803F29CE-DD2C-46C5-B702-862083CFD575}"/>
                </a:ext>
              </a:extLst>
            </p:cNvPr>
            <p:cNvSpPr>
              <a:spLocks/>
            </p:cNvSpPr>
            <p:nvPr/>
          </p:nvSpPr>
          <p:spPr bwMode="auto">
            <a:xfrm>
              <a:off x="6419043" y="3477516"/>
              <a:ext cx="103384" cy="74754"/>
            </a:xfrm>
            <a:custGeom>
              <a:avLst/>
              <a:gdLst>
                <a:gd name="T0" fmla="*/ 50 w 53"/>
                <a:gd name="T1" fmla="*/ 38 h 38"/>
                <a:gd name="T2" fmla="*/ 53 w 53"/>
                <a:gd name="T3" fmla="*/ 36 h 38"/>
                <a:gd name="T4" fmla="*/ 53 w 53"/>
                <a:gd name="T5" fmla="*/ 27 h 38"/>
                <a:gd name="T6" fmla="*/ 26 w 53"/>
                <a:gd name="T7" fmla="*/ 0 h 38"/>
                <a:gd name="T8" fmla="*/ 0 w 53"/>
                <a:gd name="T9" fmla="*/ 27 h 38"/>
                <a:gd name="T10" fmla="*/ 0 w 53"/>
                <a:gd name="T11" fmla="*/ 36 h 38"/>
                <a:gd name="T12" fmla="*/ 2 w 53"/>
                <a:gd name="T13" fmla="*/ 38 h 38"/>
                <a:gd name="T14" fmla="*/ 3 w 53"/>
                <a:gd name="T15" fmla="*/ 38 h 38"/>
                <a:gd name="T16" fmla="*/ 49 w 53"/>
                <a:gd name="T17" fmla="*/ 38 h 38"/>
                <a:gd name="T18" fmla="*/ 50 w 53"/>
                <a:gd name="T19" fmla="*/ 3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3" h="38">
                  <a:moveTo>
                    <a:pt x="50" y="38"/>
                  </a:moveTo>
                  <a:cubicBezTo>
                    <a:pt x="51" y="38"/>
                    <a:pt x="53" y="37"/>
                    <a:pt x="53" y="36"/>
                  </a:cubicBezTo>
                  <a:cubicBezTo>
                    <a:pt x="53" y="27"/>
                    <a:pt x="53" y="27"/>
                    <a:pt x="53" y="27"/>
                  </a:cubicBezTo>
                  <a:cubicBezTo>
                    <a:pt x="53" y="13"/>
                    <a:pt x="41" y="0"/>
                    <a:pt x="26" y="0"/>
                  </a:cubicBezTo>
                  <a:cubicBezTo>
                    <a:pt x="11" y="0"/>
                    <a:pt x="0" y="13"/>
                    <a:pt x="0" y="27"/>
                  </a:cubicBezTo>
                  <a:cubicBezTo>
                    <a:pt x="0" y="36"/>
                    <a:pt x="0" y="36"/>
                    <a:pt x="0" y="36"/>
                  </a:cubicBezTo>
                  <a:cubicBezTo>
                    <a:pt x="0" y="37"/>
                    <a:pt x="1" y="38"/>
                    <a:pt x="2" y="38"/>
                  </a:cubicBezTo>
                  <a:cubicBezTo>
                    <a:pt x="3" y="38"/>
                    <a:pt x="3" y="38"/>
                    <a:pt x="3" y="38"/>
                  </a:cubicBezTo>
                  <a:cubicBezTo>
                    <a:pt x="49" y="38"/>
                    <a:pt x="49" y="38"/>
                    <a:pt x="49" y="38"/>
                  </a:cubicBezTo>
                  <a:lnTo>
                    <a:pt x="50" y="38"/>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01" name="Freeform 107">
              <a:extLst>
                <a:ext uri="{FF2B5EF4-FFF2-40B4-BE49-F238E27FC236}">
                  <a16:creationId xmlns:a16="http://schemas.microsoft.com/office/drawing/2014/main" id="{9C019047-CB28-47D6-8D20-DE1E4F4D8AD5}"/>
                </a:ext>
              </a:extLst>
            </p:cNvPr>
            <p:cNvSpPr>
              <a:spLocks/>
            </p:cNvSpPr>
            <p:nvPr/>
          </p:nvSpPr>
          <p:spPr bwMode="auto">
            <a:xfrm>
              <a:off x="6530380" y="3467973"/>
              <a:ext cx="114517" cy="84298"/>
            </a:xfrm>
            <a:custGeom>
              <a:avLst/>
              <a:gdLst>
                <a:gd name="T0" fmla="*/ 29 w 59"/>
                <a:gd name="T1" fmla="*/ 0 h 43"/>
                <a:gd name="T2" fmla="*/ 0 w 59"/>
                <a:gd name="T3" fmla="*/ 30 h 43"/>
                <a:gd name="T4" fmla="*/ 0 w 59"/>
                <a:gd name="T5" fmla="*/ 40 h 43"/>
                <a:gd name="T6" fmla="*/ 3 w 59"/>
                <a:gd name="T7" fmla="*/ 43 h 43"/>
                <a:gd name="T8" fmla="*/ 4 w 59"/>
                <a:gd name="T9" fmla="*/ 43 h 43"/>
                <a:gd name="T10" fmla="*/ 55 w 59"/>
                <a:gd name="T11" fmla="*/ 43 h 43"/>
                <a:gd name="T12" fmla="*/ 56 w 59"/>
                <a:gd name="T13" fmla="*/ 43 h 43"/>
                <a:gd name="T14" fmla="*/ 59 w 59"/>
                <a:gd name="T15" fmla="*/ 40 h 43"/>
                <a:gd name="T16" fmla="*/ 59 w 59"/>
                <a:gd name="T17" fmla="*/ 30 h 43"/>
                <a:gd name="T18" fmla="*/ 29 w 59"/>
                <a:gd name="T19"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9" h="43">
                  <a:moveTo>
                    <a:pt x="29" y="0"/>
                  </a:moveTo>
                  <a:cubicBezTo>
                    <a:pt x="12" y="0"/>
                    <a:pt x="0" y="15"/>
                    <a:pt x="0" y="30"/>
                  </a:cubicBezTo>
                  <a:cubicBezTo>
                    <a:pt x="0" y="40"/>
                    <a:pt x="0" y="40"/>
                    <a:pt x="0" y="40"/>
                  </a:cubicBezTo>
                  <a:cubicBezTo>
                    <a:pt x="0" y="42"/>
                    <a:pt x="1" y="43"/>
                    <a:pt x="3" y="43"/>
                  </a:cubicBezTo>
                  <a:cubicBezTo>
                    <a:pt x="4" y="43"/>
                    <a:pt x="4" y="43"/>
                    <a:pt x="4" y="43"/>
                  </a:cubicBezTo>
                  <a:cubicBezTo>
                    <a:pt x="55" y="43"/>
                    <a:pt x="55" y="43"/>
                    <a:pt x="55" y="43"/>
                  </a:cubicBezTo>
                  <a:cubicBezTo>
                    <a:pt x="56" y="43"/>
                    <a:pt x="56" y="43"/>
                    <a:pt x="56" y="43"/>
                  </a:cubicBezTo>
                  <a:cubicBezTo>
                    <a:pt x="58" y="43"/>
                    <a:pt x="59" y="42"/>
                    <a:pt x="59" y="40"/>
                  </a:cubicBezTo>
                  <a:cubicBezTo>
                    <a:pt x="59" y="30"/>
                    <a:pt x="59" y="30"/>
                    <a:pt x="59" y="30"/>
                  </a:cubicBezTo>
                  <a:cubicBezTo>
                    <a:pt x="59" y="15"/>
                    <a:pt x="46" y="0"/>
                    <a:pt x="29" y="0"/>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02" name="Freeform 108">
              <a:extLst>
                <a:ext uri="{FF2B5EF4-FFF2-40B4-BE49-F238E27FC236}">
                  <a16:creationId xmlns:a16="http://schemas.microsoft.com/office/drawing/2014/main" id="{7B8DEA6E-AF0F-49BF-A249-1E689D9645A7}"/>
                </a:ext>
              </a:extLst>
            </p:cNvPr>
            <p:cNvSpPr>
              <a:spLocks/>
            </p:cNvSpPr>
            <p:nvPr/>
          </p:nvSpPr>
          <p:spPr bwMode="auto">
            <a:xfrm>
              <a:off x="5636506" y="1393932"/>
              <a:ext cx="443755" cy="410355"/>
            </a:xfrm>
            <a:custGeom>
              <a:avLst/>
              <a:gdLst>
                <a:gd name="T0" fmla="*/ 74 w 227"/>
                <a:gd name="T1" fmla="*/ 12 h 211"/>
                <a:gd name="T2" fmla="*/ 55 w 227"/>
                <a:gd name="T3" fmla="*/ 37 h 211"/>
                <a:gd name="T4" fmla="*/ 52 w 227"/>
                <a:gd name="T5" fmla="*/ 67 h 211"/>
                <a:gd name="T6" fmla="*/ 52 w 227"/>
                <a:gd name="T7" fmla="*/ 87 h 211"/>
                <a:gd name="T8" fmla="*/ 42 w 227"/>
                <a:gd name="T9" fmla="*/ 87 h 211"/>
                <a:gd name="T10" fmla="*/ 35 w 227"/>
                <a:gd name="T11" fmla="*/ 85 h 211"/>
                <a:gd name="T12" fmla="*/ 27 w 227"/>
                <a:gd name="T13" fmla="*/ 87 h 211"/>
                <a:gd name="T14" fmla="*/ 23 w 227"/>
                <a:gd name="T15" fmla="*/ 93 h 211"/>
                <a:gd name="T16" fmla="*/ 26 w 227"/>
                <a:gd name="T17" fmla="*/ 97 h 211"/>
                <a:gd name="T18" fmla="*/ 28 w 227"/>
                <a:gd name="T19" fmla="*/ 99 h 211"/>
                <a:gd name="T20" fmla="*/ 44 w 227"/>
                <a:gd name="T21" fmla="*/ 106 h 211"/>
                <a:gd name="T22" fmla="*/ 48 w 227"/>
                <a:gd name="T23" fmla="*/ 124 h 211"/>
                <a:gd name="T24" fmla="*/ 25 w 227"/>
                <a:gd name="T25" fmla="*/ 151 h 211"/>
                <a:gd name="T26" fmla="*/ 7 w 227"/>
                <a:gd name="T27" fmla="*/ 159 h 211"/>
                <a:gd name="T28" fmla="*/ 1 w 227"/>
                <a:gd name="T29" fmla="*/ 163 h 211"/>
                <a:gd name="T30" fmla="*/ 5 w 227"/>
                <a:gd name="T31" fmla="*/ 170 h 211"/>
                <a:gd name="T32" fmla="*/ 20 w 227"/>
                <a:gd name="T33" fmla="*/ 175 h 211"/>
                <a:gd name="T34" fmla="*/ 30 w 227"/>
                <a:gd name="T35" fmla="*/ 178 h 211"/>
                <a:gd name="T36" fmla="*/ 34 w 227"/>
                <a:gd name="T37" fmla="*/ 190 h 211"/>
                <a:gd name="T38" fmla="*/ 40 w 227"/>
                <a:gd name="T39" fmla="*/ 192 h 211"/>
                <a:gd name="T40" fmla="*/ 65 w 227"/>
                <a:gd name="T41" fmla="*/ 191 h 211"/>
                <a:gd name="T42" fmla="*/ 88 w 227"/>
                <a:gd name="T43" fmla="*/ 203 h 211"/>
                <a:gd name="T44" fmla="*/ 88 w 227"/>
                <a:gd name="T45" fmla="*/ 203 h 211"/>
                <a:gd name="T46" fmla="*/ 107 w 227"/>
                <a:gd name="T47" fmla="*/ 210 h 211"/>
                <a:gd name="T48" fmla="*/ 123 w 227"/>
                <a:gd name="T49" fmla="*/ 210 h 211"/>
                <a:gd name="T50" fmla="*/ 135 w 227"/>
                <a:gd name="T51" fmla="*/ 206 h 211"/>
                <a:gd name="T52" fmla="*/ 159 w 227"/>
                <a:gd name="T53" fmla="*/ 191 h 211"/>
                <a:gd name="T54" fmla="*/ 169 w 227"/>
                <a:gd name="T55" fmla="*/ 190 h 211"/>
                <a:gd name="T56" fmla="*/ 190 w 227"/>
                <a:gd name="T57" fmla="*/ 191 h 211"/>
                <a:gd name="T58" fmla="*/ 193 w 227"/>
                <a:gd name="T59" fmla="*/ 190 h 211"/>
                <a:gd name="T60" fmla="*/ 193 w 227"/>
                <a:gd name="T61" fmla="*/ 188 h 211"/>
                <a:gd name="T62" fmla="*/ 198 w 227"/>
                <a:gd name="T63" fmla="*/ 177 h 211"/>
                <a:gd name="T64" fmla="*/ 202 w 227"/>
                <a:gd name="T65" fmla="*/ 176 h 211"/>
                <a:gd name="T66" fmla="*/ 219 w 227"/>
                <a:gd name="T67" fmla="*/ 172 h 211"/>
                <a:gd name="T68" fmla="*/ 225 w 227"/>
                <a:gd name="T69" fmla="*/ 167 h 211"/>
                <a:gd name="T70" fmla="*/ 224 w 227"/>
                <a:gd name="T71" fmla="*/ 160 h 211"/>
                <a:gd name="T72" fmla="*/ 224 w 227"/>
                <a:gd name="T73" fmla="*/ 160 h 211"/>
                <a:gd name="T74" fmla="*/ 223 w 227"/>
                <a:gd name="T75" fmla="*/ 160 h 211"/>
                <a:gd name="T76" fmla="*/ 216 w 227"/>
                <a:gd name="T77" fmla="*/ 158 h 211"/>
                <a:gd name="T78" fmla="*/ 177 w 227"/>
                <a:gd name="T79" fmla="*/ 119 h 211"/>
                <a:gd name="T80" fmla="*/ 177 w 227"/>
                <a:gd name="T81" fmla="*/ 111 h 211"/>
                <a:gd name="T82" fmla="*/ 187 w 227"/>
                <a:gd name="T83" fmla="*/ 105 h 211"/>
                <a:gd name="T84" fmla="*/ 201 w 227"/>
                <a:gd name="T85" fmla="*/ 98 h 211"/>
                <a:gd name="T86" fmla="*/ 203 w 227"/>
                <a:gd name="T87" fmla="*/ 95 h 211"/>
                <a:gd name="T88" fmla="*/ 203 w 227"/>
                <a:gd name="T89" fmla="*/ 90 h 211"/>
                <a:gd name="T90" fmla="*/ 198 w 227"/>
                <a:gd name="T91" fmla="*/ 86 h 211"/>
                <a:gd name="T92" fmla="*/ 190 w 227"/>
                <a:gd name="T93" fmla="*/ 85 h 211"/>
                <a:gd name="T94" fmla="*/ 183 w 227"/>
                <a:gd name="T95" fmla="*/ 87 h 211"/>
                <a:gd name="T96" fmla="*/ 174 w 227"/>
                <a:gd name="T97" fmla="*/ 87 h 211"/>
                <a:gd name="T98" fmla="*/ 174 w 227"/>
                <a:gd name="T99" fmla="*/ 85 h 211"/>
                <a:gd name="T100" fmla="*/ 175 w 227"/>
                <a:gd name="T101" fmla="*/ 70 h 211"/>
                <a:gd name="T102" fmla="*/ 174 w 227"/>
                <a:gd name="T103" fmla="*/ 45 h 211"/>
                <a:gd name="T104" fmla="*/ 122 w 227"/>
                <a:gd name="T105" fmla="*/ 1 h 211"/>
                <a:gd name="T106" fmla="*/ 112 w 227"/>
                <a:gd name="T107" fmla="*/ 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27" h="211">
                  <a:moveTo>
                    <a:pt x="112" y="0"/>
                  </a:moveTo>
                  <a:cubicBezTo>
                    <a:pt x="99" y="0"/>
                    <a:pt x="85" y="4"/>
                    <a:pt x="74" y="12"/>
                  </a:cubicBezTo>
                  <a:cubicBezTo>
                    <a:pt x="65" y="19"/>
                    <a:pt x="59" y="28"/>
                    <a:pt x="55" y="37"/>
                  </a:cubicBezTo>
                  <a:cubicBezTo>
                    <a:pt x="55" y="37"/>
                    <a:pt x="55" y="37"/>
                    <a:pt x="55" y="37"/>
                  </a:cubicBezTo>
                  <a:cubicBezTo>
                    <a:pt x="51" y="47"/>
                    <a:pt x="51" y="58"/>
                    <a:pt x="52" y="67"/>
                  </a:cubicBezTo>
                  <a:cubicBezTo>
                    <a:pt x="52" y="67"/>
                    <a:pt x="52" y="67"/>
                    <a:pt x="52" y="67"/>
                  </a:cubicBezTo>
                  <a:cubicBezTo>
                    <a:pt x="52" y="74"/>
                    <a:pt x="53" y="81"/>
                    <a:pt x="52" y="87"/>
                  </a:cubicBezTo>
                  <a:cubicBezTo>
                    <a:pt x="52" y="87"/>
                    <a:pt x="52" y="87"/>
                    <a:pt x="52" y="87"/>
                  </a:cubicBezTo>
                  <a:cubicBezTo>
                    <a:pt x="49" y="88"/>
                    <a:pt x="46" y="88"/>
                    <a:pt x="42" y="87"/>
                  </a:cubicBezTo>
                  <a:cubicBezTo>
                    <a:pt x="42" y="87"/>
                    <a:pt x="42" y="87"/>
                    <a:pt x="42" y="87"/>
                  </a:cubicBezTo>
                  <a:cubicBezTo>
                    <a:pt x="40" y="87"/>
                    <a:pt x="37" y="86"/>
                    <a:pt x="35" y="85"/>
                  </a:cubicBezTo>
                  <a:cubicBezTo>
                    <a:pt x="35" y="85"/>
                    <a:pt x="35" y="85"/>
                    <a:pt x="35" y="85"/>
                  </a:cubicBezTo>
                  <a:cubicBezTo>
                    <a:pt x="32" y="84"/>
                    <a:pt x="29" y="85"/>
                    <a:pt x="27" y="87"/>
                  </a:cubicBezTo>
                  <a:cubicBezTo>
                    <a:pt x="27" y="87"/>
                    <a:pt x="27" y="87"/>
                    <a:pt x="27" y="87"/>
                  </a:cubicBezTo>
                  <a:cubicBezTo>
                    <a:pt x="27" y="87"/>
                    <a:pt x="27" y="87"/>
                    <a:pt x="27" y="87"/>
                  </a:cubicBezTo>
                  <a:cubicBezTo>
                    <a:pt x="25" y="88"/>
                    <a:pt x="23" y="90"/>
                    <a:pt x="23" y="93"/>
                  </a:cubicBezTo>
                  <a:cubicBezTo>
                    <a:pt x="23" y="93"/>
                    <a:pt x="23" y="93"/>
                    <a:pt x="23" y="93"/>
                  </a:cubicBezTo>
                  <a:cubicBezTo>
                    <a:pt x="24" y="95"/>
                    <a:pt x="25" y="97"/>
                    <a:pt x="26" y="97"/>
                  </a:cubicBezTo>
                  <a:cubicBezTo>
                    <a:pt x="27" y="98"/>
                    <a:pt x="28" y="99"/>
                    <a:pt x="28" y="99"/>
                  </a:cubicBezTo>
                  <a:cubicBezTo>
                    <a:pt x="28" y="99"/>
                    <a:pt x="28" y="99"/>
                    <a:pt x="28" y="99"/>
                  </a:cubicBezTo>
                  <a:cubicBezTo>
                    <a:pt x="33" y="103"/>
                    <a:pt x="39" y="104"/>
                    <a:pt x="44" y="106"/>
                  </a:cubicBezTo>
                  <a:cubicBezTo>
                    <a:pt x="44" y="106"/>
                    <a:pt x="44" y="106"/>
                    <a:pt x="44" y="106"/>
                  </a:cubicBezTo>
                  <a:cubicBezTo>
                    <a:pt x="47" y="108"/>
                    <a:pt x="50" y="110"/>
                    <a:pt x="50" y="113"/>
                  </a:cubicBezTo>
                  <a:cubicBezTo>
                    <a:pt x="51" y="116"/>
                    <a:pt x="50" y="120"/>
                    <a:pt x="48" y="124"/>
                  </a:cubicBezTo>
                  <a:cubicBezTo>
                    <a:pt x="48" y="124"/>
                    <a:pt x="48" y="124"/>
                    <a:pt x="48" y="124"/>
                  </a:cubicBezTo>
                  <a:cubicBezTo>
                    <a:pt x="42" y="135"/>
                    <a:pt x="34" y="144"/>
                    <a:pt x="25" y="151"/>
                  </a:cubicBezTo>
                  <a:cubicBezTo>
                    <a:pt x="19" y="154"/>
                    <a:pt x="14" y="157"/>
                    <a:pt x="8" y="159"/>
                  </a:cubicBezTo>
                  <a:cubicBezTo>
                    <a:pt x="7" y="159"/>
                    <a:pt x="7" y="159"/>
                    <a:pt x="7" y="159"/>
                  </a:cubicBezTo>
                  <a:cubicBezTo>
                    <a:pt x="6" y="159"/>
                    <a:pt x="3" y="160"/>
                    <a:pt x="1" y="162"/>
                  </a:cubicBezTo>
                  <a:cubicBezTo>
                    <a:pt x="1" y="163"/>
                    <a:pt x="1" y="163"/>
                    <a:pt x="1" y="163"/>
                  </a:cubicBezTo>
                  <a:cubicBezTo>
                    <a:pt x="0" y="165"/>
                    <a:pt x="1" y="167"/>
                    <a:pt x="2" y="168"/>
                  </a:cubicBezTo>
                  <a:cubicBezTo>
                    <a:pt x="3" y="169"/>
                    <a:pt x="4" y="169"/>
                    <a:pt x="5" y="170"/>
                  </a:cubicBezTo>
                  <a:cubicBezTo>
                    <a:pt x="5" y="170"/>
                    <a:pt x="5" y="170"/>
                    <a:pt x="5" y="170"/>
                  </a:cubicBezTo>
                  <a:cubicBezTo>
                    <a:pt x="10" y="173"/>
                    <a:pt x="15" y="174"/>
                    <a:pt x="20" y="175"/>
                  </a:cubicBezTo>
                  <a:cubicBezTo>
                    <a:pt x="20" y="175"/>
                    <a:pt x="20" y="175"/>
                    <a:pt x="20" y="175"/>
                  </a:cubicBezTo>
                  <a:cubicBezTo>
                    <a:pt x="24" y="176"/>
                    <a:pt x="28" y="177"/>
                    <a:pt x="30" y="178"/>
                  </a:cubicBezTo>
                  <a:cubicBezTo>
                    <a:pt x="30" y="178"/>
                    <a:pt x="31" y="179"/>
                    <a:pt x="31" y="180"/>
                  </a:cubicBezTo>
                  <a:cubicBezTo>
                    <a:pt x="32" y="183"/>
                    <a:pt x="33" y="187"/>
                    <a:pt x="34" y="190"/>
                  </a:cubicBezTo>
                  <a:cubicBezTo>
                    <a:pt x="34" y="191"/>
                    <a:pt x="35" y="192"/>
                    <a:pt x="36" y="192"/>
                  </a:cubicBezTo>
                  <a:cubicBezTo>
                    <a:pt x="38" y="192"/>
                    <a:pt x="39" y="192"/>
                    <a:pt x="40" y="192"/>
                  </a:cubicBezTo>
                  <a:cubicBezTo>
                    <a:pt x="40" y="192"/>
                    <a:pt x="40" y="192"/>
                    <a:pt x="40" y="192"/>
                  </a:cubicBezTo>
                  <a:cubicBezTo>
                    <a:pt x="48" y="190"/>
                    <a:pt x="57" y="189"/>
                    <a:pt x="65" y="191"/>
                  </a:cubicBezTo>
                  <a:cubicBezTo>
                    <a:pt x="65" y="191"/>
                    <a:pt x="65" y="191"/>
                    <a:pt x="65" y="191"/>
                  </a:cubicBezTo>
                  <a:cubicBezTo>
                    <a:pt x="73" y="193"/>
                    <a:pt x="80" y="199"/>
                    <a:pt x="88" y="203"/>
                  </a:cubicBezTo>
                  <a:cubicBezTo>
                    <a:pt x="88" y="203"/>
                    <a:pt x="88" y="203"/>
                    <a:pt x="88" y="203"/>
                  </a:cubicBezTo>
                  <a:cubicBezTo>
                    <a:pt x="88" y="203"/>
                    <a:pt x="88" y="203"/>
                    <a:pt x="88" y="203"/>
                  </a:cubicBezTo>
                  <a:cubicBezTo>
                    <a:pt x="93" y="207"/>
                    <a:pt x="100" y="210"/>
                    <a:pt x="107" y="210"/>
                  </a:cubicBezTo>
                  <a:cubicBezTo>
                    <a:pt x="107" y="210"/>
                    <a:pt x="107" y="210"/>
                    <a:pt x="107" y="210"/>
                  </a:cubicBezTo>
                  <a:cubicBezTo>
                    <a:pt x="107" y="210"/>
                    <a:pt x="107" y="210"/>
                    <a:pt x="107" y="210"/>
                  </a:cubicBezTo>
                  <a:cubicBezTo>
                    <a:pt x="112" y="211"/>
                    <a:pt x="117" y="210"/>
                    <a:pt x="123" y="210"/>
                  </a:cubicBezTo>
                  <a:cubicBezTo>
                    <a:pt x="123" y="210"/>
                    <a:pt x="123" y="210"/>
                    <a:pt x="123" y="210"/>
                  </a:cubicBezTo>
                  <a:cubicBezTo>
                    <a:pt x="127" y="209"/>
                    <a:pt x="131" y="208"/>
                    <a:pt x="135" y="206"/>
                  </a:cubicBezTo>
                  <a:cubicBezTo>
                    <a:pt x="135" y="206"/>
                    <a:pt x="135" y="206"/>
                    <a:pt x="135" y="206"/>
                  </a:cubicBezTo>
                  <a:cubicBezTo>
                    <a:pt x="144" y="201"/>
                    <a:pt x="151" y="195"/>
                    <a:pt x="159" y="191"/>
                  </a:cubicBezTo>
                  <a:cubicBezTo>
                    <a:pt x="159" y="191"/>
                    <a:pt x="159" y="191"/>
                    <a:pt x="159" y="191"/>
                  </a:cubicBezTo>
                  <a:cubicBezTo>
                    <a:pt x="162" y="190"/>
                    <a:pt x="165" y="190"/>
                    <a:pt x="169" y="190"/>
                  </a:cubicBezTo>
                  <a:cubicBezTo>
                    <a:pt x="169" y="190"/>
                    <a:pt x="169" y="190"/>
                    <a:pt x="169" y="190"/>
                  </a:cubicBezTo>
                  <a:cubicBezTo>
                    <a:pt x="176" y="190"/>
                    <a:pt x="183" y="190"/>
                    <a:pt x="190" y="191"/>
                  </a:cubicBezTo>
                  <a:cubicBezTo>
                    <a:pt x="190" y="191"/>
                    <a:pt x="190" y="191"/>
                    <a:pt x="190" y="191"/>
                  </a:cubicBezTo>
                  <a:cubicBezTo>
                    <a:pt x="191" y="191"/>
                    <a:pt x="192" y="191"/>
                    <a:pt x="193" y="190"/>
                  </a:cubicBezTo>
                  <a:cubicBezTo>
                    <a:pt x="193" y="189"/>
                    <a:pt x="193" y="189"/>
                    <a:pt x="193" y="189"/>
                  </a:cubicBezTo>
                  <a:cubicBezTo>
                    <a:pt x="194" y="188"/>
                    <a:pt x="194" y="188"/>
                    <a:pt x="193" y="188"/>
                  </a:cubicBezTo>
                  <a:cubicBezTo>
                    <a:pt x="194" y="188"/>
                    <a:pt x="194" y="188"/>
                    <a:pt x="194" y="188"/>
                  </a:cubicBezTo>
                  <a:cubicBezTo>
                    <a:pt x="195" y="183"/>
                    <a:pt x="196" y="180"/>
                    <a:pt x="198" y="177"/>
                  </a:cubicBezTo>
                  <a:cubicBezTo>
                    <a:pt x="198" y="177"/>
                    <a:pt x="200" y="176"/>
                    <a:pt x="202" y="176"/>
                  </a:cubicBezTo>
                  <a:cubicBezTo>
                    <a:pt x="202" y="176"/>
                    <a:pt x="202" y="176"/>
                    <a:pt x="202" y="176"/>
                  </a:cubicBezTo>
                  <a:cubicBezTo>
                    <a:pt x="208" y="176"/>
                    <a:pt x="213" y="173"/>
                    <a:pt x="218" y="172"/>
                  </a:cubicBezTo>
                  <a:cubicBezTo>
                    <a:pt x="218" y="172"/>
                    <a:pt x="218" y="172"/>
                    <a:pt x="219" y="172"/>
                  </a:cubicBezTo>
                  <a:cubicBezTo>
                    <a:pt x="220" y="171"/>
                    <a:pt x="223" y="170"/>
                    <a:pt x="225" y="167"/>
                  </a:cubicBezTo>
                  <a:cubicBezTo>
                    <a:pt x="225" y="167"/>
                    <a:pt x="225" y="167"/>
                    <a:pt x="225" y="167"/>
                  </a:cubicBezTo>
                  <a:cubicBezTo>
                    <a:pt x="225" y="167"/>
                    <a:pt x="225" y="167"/>
                    <a:pt x="225" y="167"/>
                  </a:cubicBezTo>
                  <a:cubicBezTo>
                    <a:pt x="227" y="165"/>
                    <a:pt x="226" y="162"/>
                    <a:pt x="224" y="160"/>
                  </a:cubicBezTo>
                  <a:cubicBezTo>
                    <a:pt x="224" y="160"/>
                    <a:pt x="224" y="160"/>
                    <a:pt x="224" y="160"/>
                  </a:cubicBezTo>
                  <a:cubicBezTo>
                    <a:pt x="224" y="160"/>
                    <a:pt x="224" y="160"/>
                    <a:pt x="224" y="160"/>
                  </a:cubicBezTo>
                  <a:cubicBezTo>
                    <a:pt x="224" y="160"/>
                    <a:pt x="223" y="160"/>
                    <a:pt x="223" y="160"/>
                  </a:cubicBezTo>
                  <a:cubicBezTo>
                    <a:pt x="223" y="160"/>
                    <a:pt x="223" y="160"/>
                    <a:pt x="223" y="160"/>
                  </a:cubicBezTo>
                  <a:cubicBezTo>
                    <a:pt x="221" y="159"/>
                    <a:pt x="218" y="158"/>
                    <a:pt x="216" y="158"/>
                  </a:cubicBezTo>
                  <a:cubicBezTo>
                    <a:pt x="216" y="158"/>
                    <a:pt x="216" y="158"/>
                    <a:pt x="216" y="158"/>
                  </a:cubicBezTo>
                  <a:cubicBezTo>
                    <a:pt x="205" y="154"/>
                    <a:pt x="194" y="146"/>
                    <a:pt x="187" y="136"/>
                  </a:cubicBezTo>
                  <a:cubicBezTo>
                    <a:pt x="183" y="131"/>
                    <a:pt x="179" y="125"/>
                    <a:pt x="177" y="119"/>
                  </a:cubicBezTo>
                  <a:cubicBezTo>
                    <a:pt x="177" y="119"/>
                    <a:pt x="177" y="119"/>
                    <a:pt x="177" y="119"/>
                  </a:cubicBezTo>
                  <a:cubicBezTo>
                    <a:pt x="176" y="116"/>
                    <a:pt x="176" y="113"/>
                    <a:pt x="177" y="111"/>
                  </a:cubicBezTo>
                  <a:cubicBezTo>
                    <a:pt x="177" y="111"/>
                    <a:pt x="177" y="111"/>
                    <a:pt x="177" y="111"/>
                  </a:cubicBezTo>
                  <a:cubicBezTo>
                    <a:pt x="179" y="108"/>
                    <a:pt x="183" y="106"/>
                    <a:pt x="187" y="105"/>
                  </a:cubicBezTo>
                  <a:cubicBezTo>
                    <a:pt x="187" y="105"/>
                    <a:pt x="187" y="105"/>
                    <a:pt x="187" y="105"/>
                  </a:cubicBezTo>
                  <a:cubicBezTo>
                    <a:pt x="192" y="103"/>
                    <a:pt x="197" y="101"/>
                    <a:pt x="201" y="98"/>
                  </a:cubicBezTo>
                  <a:cubicBezTo>
                    <a:pt x="201" y="98"/>
                    <a:pt x="201" y="98"/>
                    <a:pt x="201" y="98"/>
                  </a:cubicBezTo>
                  <a:cubicBezTo>
                    <a:pt x="202" y="97"/>
                    <a:pt x="203" y="96"/>
                    <a:pt x="203" y="95"/>
                  </a:cubicBezTo>
                  <a:cubicBezTo>
                    <a:pt x="204" y="94"/>
                    <a:pt x="204" y="92"/>
                    <a:pt x="203" y="91"/>
                  </a:cubicBezTo>
                  <a:cubicBezTo>
                    <a:pt x="203" y="90"/>
                    <a:pt x="203" y="90"/>
                    <a:pt x="203" y="90"/>
                  </a:cubicBezTo>
                  <a:cubicBezTo>
                    <a:pt x="202" y="88"/>
                    <a:pt x="200" y="87"/>
                    <a:pt x="198" y="86"/>
                  </a:cubicBezTo>
                  <a:cubicBezTo>
                    <a:pt x="198" y="86"/>
                    <a:pt x="198" y="86"/>
                    <a:pt x="198" y="86"/>
                  </a:cubicBezTo>
                  <a:cubicBezTo>
                    <a:pt x="196" y="84"/>
                    <a:pt x="193" y="84"/>
                    <a:pt x="190" y="85"/>
                  </a:cubicBezTo>
                  <a:cubicBezTo>
                    <a:pt x="190" y="85"/>
                    <a:pt x="190" y="85"/>
                    <a:pt x="190" y="85"/>
                  </a:cubicBezTo>
                  <a:cubicBezTo>
                    <a:pt x="190" y="85"/>
                    <a:pt x="190" y="85"/>
                    <a:pt x="190" y="85"/>
                  </a:cubicBezTo>
                  <a:cubicBezTo>
                    <a:pt x="187" y="86"/>
                    <a:pt x="185" y="87"/>
                    <a:pt x="183" y="87"/>
                  </a:cubicBezTo>
                  <a:cubicBezTo>
                    <a:pt x="183" y="87"/>
                    <a:pt x="183" y="87"/>
                    <a:pt x="183" y="87"/>
                  </a:cubicBezTo>
                  <a:cubicBezTo>
                    <a:pt x="180" y="88"/>
                    <a:pt x="177" y="88"/>
                    <a:pt x="174" y="87"/>
                  </a:cubicBezTo>
                  <a:cubicBezTo>
                    <a:pt x="174" y="87"/>
                    <a:pt x="174" y="86"/>
                    <a:pt x="174" y="85"/>
                  </a:cubicBezTo>
                  <a:cubicBezTo>
                    <a:pt x="174" y="85"/>
                    <a:pt x="174" y="85"/>
                    <a:pt x="174" y="85"/>
                  </a:cubicBezTo>
                  <a:cubicBezTo>
                    <a:pt x="174" y="80"/>
                    <a:pt x="175" y="75"/>
                    <a:pt x="175" y="70"/>
                  </a:cubicBezTo>
                  <a:cubicBezTo>
                    <a:pt x="175" y="70"/>
                    <a:pt x="175" y="70"/>
                    <a:pt x="175" y="70"/>
                  </a:cubicBezTo>
                  <a:cubicBezTo>
                    <a:pt x="175" y="62"/>
                    <a:pt x="175" y="54"/>
                    <a:pt x="174" y="45"/>
                  </a:cubicBezTo>
                  <a:cubicBezTo>
                    <a:pt x="174" y="45"/>
                    <a:pt x="174" y="45"/>
                    <a:pt x="174" y="45"/>
                  </a:cubicBezTo>
                  <a:cubicBezTo>
                    <a:pt x="171" y="31"/>
                    <a:pt x="162" y="19"/>
                    <a:pt x="151" y="11"/>
                  </a:cubicBezTo>
                  <a:cubicBezTo>
                    <a:pt x="142" y="5"/>
                    <a:pt x="133" y="1"/>
                    <a:pt x="122" y="1"/>
                  </a:cubicBezTo>
                  <a:cubicBezTo>
                    <a:pt x="122" y="1"/>
                    <a:pt x="122" y="1"/>
                    <a:pt x="122" y="1"/>
                  </a:cubicBezTo>
                  <a:cubicBezTo>
                    <a:pt x="119" y="0"/>
                    <a:pt x="116" y="0"/>
                    <a:pt x="112" y="0"/>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03" name="Freeform 109">
              <a:extLst>
                <a:ext uri="{FF2B5EF4-FFF2-40B4-BE49-F238E27FC236}">
                  <a16:creationId xmlns:a16="http://schemas.microsoft.com/office/drawing/2014/main" id="{ED0F902F-67F1-480D-B04E-1B38141DD86C}"/>
                </a:ext>
              </a:extLst>
            </p:cNvPr>
            <p:cNvSpPr>
              <a:spLocks/>
            </p:cNvSpPr>
            <p:nvPr/>
          </p:nvSpPr>
          <p:spPr bwMode="auto">
            <a:xfrm>
              <a:off x="6210685" y="1277824"/>
              <a:ext cx="106565" cy="100203"/>
            </a:xfrm>
            <a:custGeom>
              <a:avLst/>
              <a:gdLst>
                <a:gd name="T0" fmla="*/ 18 w 55"/>
                <a:gd name="T1" fmla="*/ 3 h 51"/>
                <a:gd name="T2" fmla="*/ 13 w 55"/>
                <a:gd name="T3" fmla="*/ 9 h 51"/>
                <a:gd name="T4" fmla="*/ 12 w 55"/>
                <a:gd name="T5" fmla="*/ 16 h 51"/>
                <a:gd name="T6" fmla="*/ 12 w 55"/>
                <a:gd name="T7" fmla="*/ 21 h 51"/>
                <a:gd name="T8" fmla="*/ 10 w 55"/>
                <a:gd name="T9" fmla="*/ 21 h 51"/>
                <a:gd name="T10" fmla="*/ 8 w 55"/>
                <a:gd name="T11" fmla="*/ 20 h 51"/>
                <a:gd name="T12" fmla="*/ 6 w 55"/>
                <a:gd name="T13" fmla="*/ 21 h 51"/>
                <a:gd name="T14" fmla="*/ 5 w 55"/>
                <a:gd name="T15" fmla="*/ 22 h 51"/>
                <a:gd name="T16" fmla="*/ 6 w 55"/>
                <a:gd name="T17" fmla="*/ 23 h 51"/>
                <a:gd name="T18" fmla="*/ 7 w 55"/>
                <a:gd name="T19" fmla="*/ 24 h 51"/>
                <a:gd name="T20" fmla="*/ 10 w 55"/>
                <a:gd name="T21" fmla="*/ 25 h 51"/>
                <a:gd name="T22" fmla="*/ 11 w 55"/>
                <a:gd name="T23" fmla="*/ 30 h 51"/>
                <a:gd name="T24" fmla="*/ 6 w 55"/>
                <a:gd name="T25" fmla="*/ 36 h 51"/>
                <a:gd name="T26" fmla="*/ 2 w 55"/>
                <a:gd name="T27" fmla="*/ 38 h 51"/>
                <a:gd name="T28" fmla="*/ 0 w 55"/>
                <a:gd name="T29" fmla="*/ 39 h 51"/>
                <a:gd name="T30" fmla="*/ 1 w 55"/>
                <a:gd name="T31" fmla="*/ 41 h 51"/>
                <a:gd name="T32" fmla="*/ 5 w 55"/>
                <a:gd name="T33" fmla="*/ 42 h 51"/>
                <a:gd name="T34" fmla="*/ 7 w 55"/>
                <a:gd name="T35" fmla="*/ 43 h 51"/>
                <a:gd name="T36" fmla="*/ 8 w 55"/>
                <a:gd name="T37" fmla="*/ 46 h 51"/>
                <a:gd name="T38" fmla="*/ 9 w 55"/>
                <a:gd name="T39" fmla="*/ 46 h 51"/>
                <a:gd name="T40" fmla="*/ 16 w 55"/>
                <a:gd name="T41" fmla="*/ 46 h 51"/>
                <a:gd name="T42" fmla="*/ 21 w 55"/>
                <a:gd name="T43" fmla="*/ 49 h 51"/>
                <a:gd name="T44" fmla="*/ 21 w 55"/>
                <a:gd name="T45" fmla="*/ 49 h 51"/>
                <a:gd name="T46" fmla="*/ 26 w 55"/>
                <a:gd name="T47" fmla="*/ 51 h 51"/>
                <a:gd name="T48" fmla="*/ 30 w 55"/>
                <a:gd name="T49" fmla="*/ 51 h 51"/>
                <a:gd name="T50" fmla="*/ 33 w 55"/>
                <a:gd name="T51" fmla="*/ 50 h 51"/>
                <a:gd name="T52" fmla="*/ 39 w 55"/>
                <a:gd name="T53" fmla="*/ 46 h 51"/>
                <a:gd name="T54" fmla="*/ 41 w 55"/>
                <a:gd name="T55" fmla="*/ 46 h 51"/>
                <a:gd name="T56" fmla="*/ 46 w 55"/>
                <a:gd name="T57" fmla="*/ 46 h 51"/>
                <a:gd name="T58" fmla="*/ 47 w 55"/>
                <a:gd name="T59" fmla="*/ 46 h 51"/>
                <a:gd name="T60" fmla="*/ 47 w 55"/>
                <a:gd name="T61" fmla="*/ 45 h 51"/>
                <a:gd name="T62" fmla="*/ 48 w 55"/>
                <a:gd name="T63" fmla="*/ 43 h 51"/>
                <a:gd name="T64" fmla="*/ 49 w 55"/>
                <a:gd name="T65" fmla="*/ 42 h 51"/>
                <a:gd name="T66" fmla="*/ 53 w 55"/>
                <a:gd name="T67" fmla="*/ 41 h 51"/>
                <a:gd name="T68" fmla="*/ 54 w 55"/>
                <a:gd name="T69" fmla="*/ 40 h 51"/>
                <a:gd name="T70" fmla="*/ 54 w 55"/>
                <a:gd name="T71" fmla="*/ 39 h 51"/>
                <a:gd name="T72" fmla="*/ 54 w 55"/>
                <a:gd name="T73" fmla="*/ 39 h 51"/>
                <a:gd name="T74" fmla="*/ 54 w 55"/>
                <a:gd name="T75" fmla="*/ 39 h 51"/>
                <a:gd name="T76" fmla="*/ 52 w 55"/>
                <a:gd name="T77" fmla="*/ 38 h 51"/>
                <a:gd name="T78" fmla="*/ 43 w 55"/>
                <a:gd name="T79" fmla="*/ 29 h 51"/>
                <a:gd name="T80" fmla="*/ 43 w 55"/>
                <a:gd name="T81" fmla="*/ 27 h 51"/>
                <a:gd name="T82" fmla="*/ 45 w 55"/>
                <a:gd name="T83" fmla="*/ 25 h 51"/>
                <a:gd name="T84" fmla="*/ 49 w 55"/>
                <a:gd name="T85" fmla="*/ 23 h 51"/>
                <a:gd name="T86" fmla="*/ 49 w 55"/>
                <a:gd name="T87" fmla="*/ 23 h 51"/>
                <a:gd name="T88" fmla="*/ 49 w 55"/>
                <a:gd name="T89" fmla="*/ 22 h 51"/>
                <a:gd name="T90" fmla="*/ 48 w 55"/>
                <a:gd name="T91" fmla="*/ 21 h 51"/>
                <a:gd name="T92" fmla="*/ 46 w 55"/>
                <a:gd name="T93" fmla="*/ 20 h 51"/>
                <a:gd name="T94" fmla="*/ 44 w 55"/>
                <a:gd name="T95" fmla="*/ 21 h 51"/>
                <a:gd name="T96" fmla="*/ 42 w 55"/>
                <a:gd name="T97" fmla="*/ 21 h 51"/>
                <a:gd name="T98" fmla="*/ 42 w 55"/>
                <a:gd name="T99" fmla="*/ 20 h 51"/>
                <a:gd name="T100" fmla="*/ 42 w 55"/>
                <a:gd name="T101" fmla="*/ 17 h 51"/>
                <a:gd name="T102" fmla="*/ 42 w 55"/>
                <a:gd name="T103" fmla="*/ 11 h 51"/>
                <a:gd name="T104" fmla="*/ 30 w 55"/>
                <a:gd name="T105" fmla="*/ 0 h 51"/>
                <a:gd name="T106" fmla="*/ 27 w 55"/>
                <a:gd name="T107"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5" h="51">
                  <a:moveTo>
                    <a:pt x="27" y="0"/>
                  </a:moveTo>
                  <a:cubicBezTo>
                    <a:pt x="24" y="0"/>
                    <a:pt x="20" y="1"/>
                    <a:pt x="18" y="3"/>
                  </a:cubicBezTo>
                  <a:cubicBezTo>
                    <a:pt x="16" y="4"/>
                    <a:pt x="14" y="6"/>
                    <a:pt x="13" y="9"/>
                  </a:cubicBezTo>
                  <a:cubicBezTo>
                    <a:pt x="13" y="9"/>
                    <a:pt x="13" y="9"/>
                    <a:pt x="13" y="9"/>
                  </a:cubicBezTo>
                  <a:cubicBezTo>
                    <a:pt x="12" y="11"/>
                    <a:pt x="12" y="14"/>
                    <a:pt x="12" y="16"/>
                  </a:cubicBezTo>
                  <a:cubicBezTo>
                    <a:pt x="12" y="16"/>
                    <a:pt x="12" y="16"/>
                    <a:pt x="12" y="16"/>
                  </a:cubicBezTo>
                  <a:cubicBezTo>
                    <a:pt x="12" y="18"/>
                    <a:pt x="13" y="19"/>
                    <a:pt x="13" y="21"/>
                  </a:cubicBezTo>
                  <a:cubicBezTo>
                    <a:pt x="12" y="21"/>
                    <a:pt x="12" y="21"/>
                    <a:pt x="12" y="21"/>
                  </a:cubicBezTo>
                  <a:cubicBezTo>
                    <a:pt x="12" y="21"/>
                    <a:pt x="11" y="21"/>
                    <a:pt x="10" y="21"/>
                  </a:cubicBezTo>
                  <a:cubicBezTo>
                    <a:pt x="10" y="21"/>
                    <a:pt x="10" y="21"/>
                    <a:pt x="10" y="21"/>
                  </a:cubicBezTo>
                  <a:cubicBezTo>
                    <a:pt x="10" y="21"/>
                    <a:pt x="9" y="21"/>
                    <a:pt x="8" y="20"/>
                  </a:cubicBezTo>
                  <a:cubicBezTo>
                    <a:pt x="8" y="20"/>
                    <a:pt x="8" y="20"/>
                    <a:pt x="8" y="20"/>
                  </a:cubicBezTo>
                  <a:cubicBezTo>
                    <a:pt x="8" y="20"/>
                    <a:pt x="7" y="20"/>
                    <a:pt x="7" y="21"/>
                  </a:cubicBezTo>
                  <a:cubicBezTo>
                    <a:pt x="7" y="21"/>
                    <a:pt x="6" y="21"/>
                    <a:pt x="6" y="21"/>
                  </a:cubicBezTo>
                  <a:cubicBezTo>
                    <a:pt x="6" y="21"/>
                    <a:pt x="6" y="21"/>
                    <a:pt x="6" y="21"/>
                  </a:cubicBezTo>
                  <a:cubicBezTo>
                    <a:pt x="6" y="21"/>
                    <a:pt x="6" y="21"/>
                    <a:pt x="5" y="22"/>
                  </a:cubicBezTo>
                  <a:cubicBezTo>
                    <a:pt x="5" y="22"/>
                    <a:pt x="5" y="22"/>
                    <a:pt x="6" y="22"/>
                  </a:cubicBezTo>
                  <a:cubicBezTo>
                    <a:pt x="6" y="23"/>
                    <a:pt x="6" y="23"/>
                    <a:pt x="6" y="23"/>
                  </a:cubicBezTo>
                  <a:cubicBezTo>
                    <a:pt x="6" y="24"/>
                    <a:pt x="7" y="24"/>
                    <a:pt x="7" y="24"/>
                  </a:cubicBezTo>
                  <a:cubicBezTo>
                    <a:pt x="7" y="24"/>
                    <a:pt x="7" y="24"/>
                    <a:pt x="7" y="24"/>
                  </a:cubicBezTo>
                  <a:cubicBezTo>
                    <a:pt x="8" y="25"/>
                    <a:pt x="9" y="25"/>
                    <a:pt x="10" y="25"/>
                  </a:cubicBezTo>
                  <a:cubicBezTo>
                    <a:pt x="10" y="25"/>
                    <a:pt x="10" y="25"/>
                    <a:pt x="10" y="25"/>
                  </a:cubicBezTo>
                  <a:cubicBezTo>
                    <a:pt x="11" y="26"/>
                    <a:pt x="12" y="26"/>
                    <a:pt x="12" y="27"/>
                  </a:cubicBezTo>
                  <a:cubicBezTo>
                    <a:pt x="12" y="28"/>
                    <a:pt x="12" y="29"/>
                    <a:pt x="11" y="30"/>
                  </a:cubicBezTo>
                  <a:cubicBezTo>
                    <a:pt x="11" y="30"/>
                    <a:pt x="11" y="30"/>
                    <a:pt x="11" y="30"/>
                  </a:cubicBezTo>
                  <a:cubicBezTo>
                    <a:pt x="10" y="32"/>
                    <a:pt x="8" y="35"/>
                    <a:pt x="6" y="36"/>
                  </a:cubicBezTo>
                  <a:cubicBezTo>
                    <a:pt x="5" y="37"/>
                    <a:pt x="3" y="38"/>
                    <a:pt x="2" y="38"/>
                  </a:cubicBezTo>
                  <a:cubicBezTo>
                    <a:pt x="2" y="38"/>
                    <a:pt x="2" y="38"/>
                    <a:pt x="2" y="38"/>
                  </a:cubicBezTo>
                  <a:cubicBezTo>
                    <a:pt x="1" y="38"/>
                    <a:pt x="1" y="38"/>
                    <a:pt x="0" y="39"/>
                  </a:cubicBezTo>
                  <a:cubicBezTo>
                    <a:pt x="0" y="39"/>
                    <a:pt x="0" y="39"/>
                    <a:pt x="0" y="39"/>
                  </a:cubicBezTo>
                  <a:cubicBezTo>
                    <a:pt x="0" y="40"/>
                    <a:pt x="0" y="40"/>
                    <a:pt x="0" y="40"/>
                  </a:cubicBezTo>
                  <a:cubicBezTo>
                    <a:pt x="1" y="41"/>
                    <a:pt x="1" y="41"/>
                    <a:pt x="1" y="41"/>
                  </a:cubicBezTo>
                  <a:cubicBezTo>
                    <a:pt x="1" y="41"/>
                    <a:pt x="1" y="41"/>
                    <a:pt x="1" y="41"/>
                  </a:cubicBezTo>
                  <a:cubicBezTo>
                    <a:pt x="2" y="42"/>
                    <a:pt x="4" y="42"/>
                    <a:pt x="5" y="42"/>
                  </a:cubicBezTo>
                  <a:cubicBezTo>
                    <a:pt x="5" y="42"/>
                    <a:pt x="5" y="42"/>
                    <a:pt x="5" y="42"/>
                  </a:cubicBezTo>
                  <a:cubicBezTo>
                    <a:pt x="6" y="42"/>
                    <a:pt x="7" y="43"/>
                    <a:pt x="7" y="43"/>
                  </a:cubicBezTo>
                  <a:cubicBezTo>
                    <a:pt x="7" y="43"/>
                    <a:pt x="7" y="43"/>
                    <a:pt x="7" y="43"/>
                  </a:cubicBezTo>
                  <a:cubicBezTo>
                    <a:pt x="8" y="44"/>
                    <a:pt x="8" y="45"/>
                    <a:pt x="8" y="46"/>
                  </a:cubicBezTo>
                  <a:cubicBezTo>
                    <a:pt x="8" y="46"/>
                    <a:pt x="8" y="46"/>
                    <a:pt x="9" y="46"/>
                  </a:cubicBezTo>
                  <a:cubicBezTo>
                    <a:pt x="9" y="46"/>
                    <a:pt x="9" y="46"/>
                    <a:pt x="9" y="46"/>
                  </a:cubicBezTo>
                  <a:cubicBezTo>
                    <a:pt x="10" y="46"/>
                    <a:pt x="10" y="46"/>
                    <a:pt x="10" y="46"/>
                  </a:cubicBezTo>
                  <a:cubicBezTo>
                    <a:pt x="12" y="46"/>
                    <a:pt x="14" y="45"/>
                    <a:pt x="16" y="46"/>
                  </a:cubicBezTo>
                  <a:cubicBezTo>
                    <a:pt x="16" y="46"/>
                    <a:pt x="16" y="46"/>
                    <a:pt x="16" y="46"/>
                  </a:cubicBezTo>
                  <a:cubicBezTo>
                    <a:pt x="18" y="46"/>
                    <a:pt x="19" y="48"/>
                    <a:pt x="21" y="49"/>
                  </a:cubicBezTo>
                  <a:cubicBezTo>
                    <a:pt x="21" y="49"/>
                    <a:pt x="21" y="49"/>
                    <a:pt x="21" y="49"/>
                  </a:cubicBezTo>
                  <a:cubicBezTo>
                    <a:pt x="21" y="49"/>
                    <a:pt x="21" y="49"/>
                    <a:pt x="21" y="49"/>
                  </a:cubicBezTo>
                  <a:cubicBezTo>
                    <a:pt x="23" y="50"/>
                    <a:pt x="24" y="51"/>
                    <a:pt x="26" y="51"/>
                  </a:cubicBezTo>
                  <a:cubicBezTo>
                    <a:pt x="26" y="51"/>
                    <a:pt x="26" y="51"/>
                    <a:pt x="26" y="51"/>
                  </a:cubicBezTo>
                  <a:cubicBezTo>
                    <a:pt x="26" y="51"/>
                    <a:pt x="26" y="51"/>
                    <a:pt x="26" y="51"/>
                  </a:cubicBezTo>
                  <a:cubicBezTo>
                    <a:pt x="27" y="51"/>
                    <a:pt x="28" y="51"/>
                    <a:pt x="30" y="51"/>
                  </a:cubicBezTo>
                  <a:cubicBezTo>
                    <a:pt x="30" y="51"/>
                    <a:pt x="30" y="51"/>
                    <a:pt x="30" y="51"/>
                  </a:cubicBezTo>
                  <a:cubicBezTo>
                    <a:pt x="31" y="50"/>
                    <a:pt x="32" y="50"/>
                    <a:pt x="33" y="50"/>
                  </a:cubicBezTo>
                  <a:cubicBezTo>
                    <a:pt x="33" y="50"/>
                    <a:pt x="33" y="50"/>
                    <a:pt x="33" y="50"/>
                  </a:cubicBezTo>
                  <a:cubicBezTo>
                    <a:pt x="35" y="48"/>
                    <a:pt x="37" y="47"/>
                    <a:pt x="39" y="46"/>
                  </a:cubicBezTo>
                  <a:cubicBezTo>
                    <a:pt x="39" y="46"/>
                    <a:pt x="39" y="46"/>
                    <a:pt x="39" y="46"/>
                  </a:cubicBezTo>
                  <a:cubicBezTo>
                    <a:pt x="39" y="46"/>
                    <a:pt x="40" y="46"/>
                    <a:pt x="41" y="46"/>
                  </a:cubicBezTo>
                  <a:cubicBezTo>
                    <a:pt x="41" y="46"/>
                    <a:pt x="41" y="46"/>
                    <a:pt x="41" y="46"/>
                  </a:cubicBezTo>
                  <a:cubicBezTo>
                    <a:pt x="43" y="46"/>
                    <a:pt x="44" y="46"/>
                    <a:pt x="46" y="46"/>
                  </a:cubicBezTo>
                  <a:cubicBezTo>
                    <a:pt x="46" y="46"/>
                    <a:pt x="46" y="46"/>
                    <a:pt x="46" y="46"/>
                  </a:cubicBezTo>
                  <a:cubicBezTo>
                    <a:pt x="46" y="46"/>
                    <a:pt x="46" y="46"/>
                    <a:pt x="47" y="46"/>
                  </a:cubicBezTo>
                  <a:cubicBezTo>
                    <a:pt x="47" y="46"/>
                    <a:pt x="47" y="46"/>
                    <a:pt x="47" y="45"/>
                  </a:cubicBezTo>
                  <a:cubicBezTo>
                    <a:pt x="47" y="45"/>
                    <a:pt x="47" y="45"/>
                    <a:pt x="47" y="45"/>
                  </a:cubicBezTo>
                  <a:cubicBezTo>
                    <a:pt x="47" y="45"/>
                    <a:pt x="47" y="45"/>
                    <a:pt x="47" y="45"/>
                  </a:cubicBezTo>
                  <a:cubicBezTo>
                    <a:pt x="47" y="44"/>
                    <a:pt x="47" y="43"/>
                    <a:pt x="48" y="43"/>
                  </a:cubicBezTo>
                  <a:cubicBezTo>
                    <a:pt x="48" y="43"/>
                    <a:pt x="48" y="42"/>
                    <a:pt x="49" y="42"/>
                  </a:cubicBezTo>
                  <a:cubicBezTo>
                    <a:pt x="49" y="42"/>
                    <a:pt x="49" y="42"/>
                    <a:pt x="49" y="42"/>
                  </a:cubicBezTo>
                  <a:cubicBezTo>
                    <a:pt x="50" y="42"/>
                    <a:pt x="52" y="42"/>
                    <a:pt x="53" y="41"/>
                  </a:cubicBezTo>
                  <a:cubicBezTo>
                    <a:pt x="53" y="41"/>
                    <a:pt x="53" y="41"/>
                    <a:pt x="53" y="41"/>
                  </a:cubicBezTo>
                  <a:cubicBezTo>
                    <a:pt x="53" y="41"/>
                    <a:pt x="54" y="41"/>
                    <a:pt x="54" y="40"/>
                  </a:cubicBezTo>
                  <a:cubicBezTo>
                    <a:pt x="54" y="40"/>
                    <a:pt x="54" y="40"/>
                    <a:pt x="54" y="40"/>
                  </a:cubicBezTo>
                  <a:cubicBezTo>
                    <a:pt x="54" y="40"/>
                    <a:pt x="54" y="40"/>
                    <a:pt x="54" y="40"/>
                  </a:cubicBezTo>
                  <a:cubicBezTo>
                    <a:pt x="55" y="40"/>
                    <a:pt x="55" y="39"/>
                    <a:pt x="54" y="39"/>
                  </a:cubicBezTo>
                  <a:cubicBezTo>
                    <a:pt x="54" y="39"/>
                    <a:pt x="54" y="39"/>
                    <a:pt x="54" y="39"/>
                  </a:cubicBezTo>
                  <a:cubicBezTo>
                    <a:pt x="54" y="39"/>
                    <a:pt x="54" y="39"/>
                    <a:pt x="54" y="39"/>
                  </a:cubicBezTo>
                  <a:cubicBezTo>
                    <a:pt x="54" y="39"/>
                    <a:pt x="54" y="39"/>
                    <a:pt x="54" y="39"/>
                  </a:cubicBezTo>
                  <a:cubicBezTo>
                    <a:pt x="54" y="39"/>
                    <a:pt x="54" y="39"/>
                    <a:pt x="54" y="39"/>
                  </a:cubicBezTo>
                  <a:cubicBezTo>
                    <a:pt x="53" y="38"/>
                    <a:pt x="53" y="38"/>
                    <a:pt x="52" y="38"/>
                  </a:cubicBezTo>
                  <a:cubicBezTo>
                    <a:pt x="52" y="38"/>
                    <a:pt x="52" y="38"/>
                    <a:pt x="52" y="38"/>
                  </a:cubicBezTo>
                  <a:cubicBezTo>
                    <a:pt x="49" y="37"/>
                    <a:pt x="47" y="35"/>
                    <a:pt x="45" y="33"/>
                  </a:cubicBezTo>
                  <a:cubicBezTo>
                    <a:pt x="44" y="31"/>
                    <a:pt x="43" y="30"/>
                    <a:pt x="43" y="29"/>
                  </a:cubicBezTo>
                  <a:cubicBezTo>
                    <a:pt x="43" y="29"/>
                    <a:pt x="43" y="28"/>
                    <a:pt x="43" y="28"/>
                  </a:cubicBezTo>
                  <a:cubicBezTo>
                    <a:pt x="43" y="28"/>
                    <a:pt x="42" y="27"/>
                    <a:pt x="43" y="27"/>
                  </a:cubicBezTo>
                  <a:cubicBezTo>
                    <a:pt x="43" y="27"/>
                    <a:pt x="43" y="27"/>
                    <a:pt x="43" y="27"/>
                  </a:cubicBezTo>
                  <a:cubicBezTo>
                    <a:pt x="43" y="26"/>
                    <a:pt x="44" y="25"/>
                    <a:pt x="45" y="25"/>
                  </a:cubicBezTo>
                  <a:cubicBezTo>
                    <a:pt x="45" y="25"/>
                    <a:pt x="45" y="25"/>
                    <a:pt x="45" y="25"/>
                  </a:cubicBezTo>
                  <a:cubicBezTo>
                    <a:pt x="46" y="25"/>
                    <a:pt x="48" y="24"/>
                    <a:pt x="49" y="23"/>
                  </a:cubicBezTo>
                  <a:cubicBezTo>
                    <a:pt x="49" y="23"/>
                    <a:pt x="49" y="23"/>
                    <a:pt x="49" y="23"/>
                  </a:cubicBezTo>
                  <a:cubicBezTo>
                    <a:pt x="49" y="23"/>
                    <a:pt x="49" y="23"/>
                    <a:pt x="49" y="23"/>
                  </a:cubicBezTo>
                  <a:cubicBezTo>
                    <a:pt x="49" y="22"/>
                    <a:pt x="49" y="22"/>
                    <a:pt x="49" y="22"/>
                  </a:cubicBezTo>
                  <a:cubicBezTo>
                    <a:pt x="49" y="22"/>
                    <a:pt x="49" y="22"/>
                    <a:pt x="49" y="22"/>
                  </a:cubicBezTo>
                  <a:cubicBezTo>
                    <a:pt x="49" y="21"/>
                    <a:pt x="48" y="21"/>
                    <a:pt x="48" y="21"/>
                  </a:cubicBezTo>
                  <a:cubicBezTo>
                    <a:pt x="48" y="21"/>
                    <a:pt x="48" y="21"/>
                    <a:pt x="48" y="21"/>
                  </a:cubicBezTo>
                  <a:cubicBezTo>
                    <a:pt x="47" y="20"/>
                    <a:pt x="47" y="20"/>
                    <a:pt x="46" y="20"/>
                  </a:cubicBezTo>
                  <a:cubicBezTo>
                    <a:pt x="46" y="20"/>
                    <a:pt x="46" y="20"/>
                    <a:pt x="46" y="20"/>
                  </a:cubicBezTo>
                  <a:cubicBezTo>
                    <a:pt x="46" y="20"/>
                    <a:pt x="46" y="20"/>
                    <a:pt x="46" y="20"/>
                  </a:cubicBezTo>
                  <a:cubicBezTo>
                    <a:pt x="45" y="21"/>
                    <a:pt x="45" y="21"/>
                    <a:pt x="44" y="21"/>
                  </a:cubicBezTo>
                  <a:cubicBezTo>
                    <a:pt x="44" y="21"/>
                    <a:pt x="44" y="21"/>
                    <a:pt x="44" y="21"/>
                  </a:cubicBezTo>
                  <a:cubicBezTo>
                    <a:pt x="43" y="21"/>
                    <a:pt x="43" y="21"/>
                    <a:pt x="42" y="21"/>
                  </a:cubicBezTo>
                  <a:cubicBezTo>
                    <a:pt x="42" y="21"/>
                    <a:pt x="42" y="21"/>
                    <a:pt x="42" y="20"/>
                  </a:cubicBezTo>
                  <a:cubicBezTo>
                    <a:pt x="42" y="20"/>
                    <a:pt x="42" y="20"/>
                    <a:pt x="42" y="20"/>
                  </a:cubicBezTo>
                  <a:cubicBezTo>
                    <a:pt x="42" y="19"/>
                    <a:pt x="42" y="18"/>
                    <a:pt x="42" y="17"/>
                  </a:cubicBezTo>
                  <a:cubicBezTo>
                    <a:pt x="42" y="17"/>
                    <a:pt x="42" y="17"/>
                    <a:pt x="42" y="17"/>
                  </a:cubicBezTo>
                  <a:cubicBezTo>
                    <a:pt x="42" y="15"/>
                    <a:pt x="42" y="13"/>
                    <a:pt x="42" y="11"/>
                  </a:cubicBezTo>
                  <a:cubicBezTo>
                    <a:pt x="42" y="11"/>
                    <a:pt x="42" y="11"/>
                    <a:pt x="42" y="11"/>
                  </a:cubicBezTo>
                  <a:cubicBezTo>
                    <a:pt x="41" y="7"/>
                    <a:pt x="39" y="4"/>
                    <a:pt x="36" y="2"/>
                  </a:cubicBezTo>
                  <a:cubicBezTo>
                    <a:pt x="34" y="1"/>
                    <a:pt x="32" y="0"/>
                    <a:pt x="30" y="0"/>
                  </a:cubicBezTo>
                  <a:cubicBezTo>
                    <a:pt x="30" y="0"/>
                    <a:pt x="30" y="0"/>
                    <a:pt x="30" y="0"/>
                  </a:cubicBezTo>
                  <a:cubicBezTo>
                    <a:pt x="29" y="0"/>
                    <a:pt x="28" y="0"/>
                    <a:pt x="27" y="0"/>
                  </a:cubicBezTo>
                </a:path>
              </a:pathLst>
            </a:custGeom>
            <a:solidFill>
              <a:srgbClr val="CCCCC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04" name="Freeform 110">
              <a:extLst>
                <a:ext uri="{FF2B5EF4-FFF2-40B4-BE49-F238E27FC236}">
                  <a16:creationId xmlns:a16="http://schemas.microsoft.com/office/drawing/2014/main" id="{81C1605A-1A13-4AE0-8166-5D2E6C1D5C2A}"/>
                </a:ext>
              </a:extLst>
            </p:cNvPr>
            <p:cNvSpPr>
              <a:spLocks/>
            </p:cNvSpPr>
            <p:nvPr/>
          </p:nvSpPr>
          <p:spPr bwMode="auto">
            <a:xfrm>
              <a:off x="6075491" y="3127601"/>
              <a:ext cx="104975" cy="98613"/>
            </a:xfrm>
            <a:custGeom>
              <a:avLst/>
              <a:gdLst>
                <a:gd name="T0" fmla="*/ 17 w 54"/>
                <a:gd name="T1" fmla="*/ 3 h 51"/>
                <a:gd name="T2" fmla="*/ 13 w 54"/>
                <a:gd name="T3" fmla="*/ 9 h 51"/>
                <a:gd name="T4" fmla="*/ 12 w 54"/>
                <a:gd name="T5" fmla="*/ 16 h 51"/>
                <a:gd name="T6" fmla="*/ 12 w 54"/>
                <a:gd name="T7" fmla="*/ 21 h 51"/>
                <a:gd name="T8" fmla="*/ 10 w 54"/>
                <a:gd name="T9" fmla="*/ 21 h 51"/>
                <a:gd name="T10" fmla="*/ 8 w 54"/>
                <a:gd name="T11" fmla="*/ 21 h 51"/>
                <a:gd name="T12" fmla="*/ 6 w 54"/>
                <a:gd name="T13" fmla="*/ 21 h 51"/>
                <a:gd name="T14" fmla="*/ 5 w 54"/>
                <a:gd name="T15" fmla="*/ 23 h 51"/>
                <a:gd name="T16" fmla="*/ 6 w 54"/>
                <a:gd name="T17" fmla="*/ 24 h 51"/>
                <a:gd name="T18" fmla="*/ 6 w 54"/>
                <a:gd name="T19" fmla="*/ 24 h 51"/>
                <a:gd name="T20" fmla="*/ 10 w 54"/>
                <a:gd name="T21" fmla="*/ 26 h 51"/>
                <a:gd name="T22" fmla="*/ 11 w 54"/>
                <a:gd name="T23" fmla="*/ 30 h 51"/>
                <a:gd name="T24" fmla="*/ 6 w 54"/>
                <a:gd name="T25" fmla="*/ 37 h 51"/>
                <a:gd name="T26" fmla="*/ 1 w 54"/>
                <a:gd name="T27" fmla="*/ 39 h 51"/>
                <a:gd name="T28" fmla="*/ 0 w 54"/>
                <a:gd name="T29" fmla="*/ 40 h 51"/>
                <a:gd name="T30" fmla="*/ 1 w 54"/>
                <a:gd name="T31" fmla="*/ 41 h 51"/>
                <a:gd name="T32" fmla="*/ 4 w 54"/>
                <a:gd name="T33" fmla="*/ 43 h 51"/>
                <a:gd name="T34" fmla="*/ 7 w 54"/>
                <a:gd name="T35" fmla="*/ 43 h 51"/>
                <a:gd name="T36" fmla="*/ 8 w 54"/>
                <a:gd name="T37" fmla="*/ 46 h 51"/>
                <a:gd name="T38" fmla="*/ 9 w 54"/>
                <a:gd name="T39" fmla="*/ 47 h 51"/>
                <a:gd name="T40" fmla="*/ 15 w 54"/>
                <a:gd name="T41" fmla="*/ 46 h 51"/>
                <a:gd name="T42" fmla="*/ 21 w 54"/>
                <a:gd name="T43" fmla="*/ 49 h 51"/>
                <a:gd name="T44" fmla="*/ 21 w 54"/>
                <a:gd name="T45" fmla="*/ 49 h 51"/>
                <a:gd name="T46" fmla="*/ 25 w 54"/>
                <a:gd name="T47" fmla="*/ 51 h 51"/>
                <a:gd name="T48" fmla="*/ 29 w 54"/>
                <a:gd name="T49" fmla="*/ 51 h 51"/>
                <a:gd name="T50" fmla="*/ 32 w 54"/>
                <a:gd name="T51" fmla="*/ 50 h 51"/>
                <a:gd name="T52" fmla="*/ 38 w 54"/>
                <a:gd name="T53" fmla="*/ 46 h 51"/>
                <a:gd name="T54" fmla="*/ 41 w 54"/>
                <a:gd name="T55" fmla="*/ 46 h 51"/>
                <a:gd name="T56" fmla="*/ 45 w 54"/>
                <a:gd name="T57" fmla="*/ 46 h 51"/>
                <a:gd name="T58" fmla="*/ 46 w 54"/>
                <a:gd name="T59" fmla="*/ 46 h 51"/>
                <a:gd name="T60" fmla="*/ 46 w 54"/>
                <a:gd name="T61" fmla="*/ 46 h 51"/>
                <a:gd name="T62" fmla="*/ 47 w 54"/>
                <a:gd name="T63" fmla="*/ 43 h 51"/>
                <a:gd name="T64" fmla="*/ 49 w 54"/>
                <a:gd name="T65" fmla="*/ 43 h 51"/>
                <a:gd name="T66" fmla="*/ 53 w 54"/>
                <a:gd name="T67" fmla="*/ 42 h 51"/>
                <a:gd name="T68" fmla="*/ 54 w 54"/>
                <a:gd name="T69" fmla="*/ 41 h 51"/>
                <a:gd name="T70" fmla="*/ 54 w 54"/>
                <a:gd name="T71" fmla="*/ 39 h 51"/>
                <a:gd name="T72" fmla="*/ 54 w 54"/>
                <a:gd name="T73" fmla="*/ 39 h 51"/>
                <a:gd name="T74" fmla="*/ 54 w 54"/>
                <a:gd name="T75" fmla="*/ 39 h 51"/>
                <a:gd name="T76" fmla="*/ 52 w 54"/>
                <a:gd name="T77" fmla="*/ 38 h 51"/>
                <a:gd name="T78" fmla="*/ 42 w 54"/>
                <a:gd name="T79" fmla="*/ 29 h 51"/>
                <a:gd name="T80" fmla="*/ 42 w 54"/>
                <a:gd name="T81" fmla="*/ 27 h 51"/>
                <a:gd name="T82" fmla="*/ 45 w 54"/>
                <a:gd name="T83" fmla="*/ 25 h 51"/>
                <a:gd name="T84" fmla="*/ 48 w 54"/>
                <a:gd name="T85" fmla="*/ 24 h 51"/>
                <a:gd name="T86" fmla="*/ 49 w 54"/>
                <a:gd name="T87" fmla="*/ 23 h 51"/>
                <a:gd name="T88" fmla="*/ 49 w 54"/>
                <a:gd name="T89" fmla="*/ 22 h 51"/>
                <a:gd name="T90" fmla="*/ 48 w 54"/>
                <a:gd name="T91" fmla="*/ 21 h 51"/>
                <a:gd name="T92" fmla="*/ 46 w 54"/>
                <a:gd name="T93" fmla="*/ 21 h 51"/>
                <a:gd name="T94" fmla="*/ 44 w 54"/>
                <a:gd name="T95" fmla="*/ 21 h 51"/>
                <a:gd name="T96" fmla="*/ 42 w 54"/>
                <a:gd name="T97" fmla="*/ 21 h 51"/>
                <a:gd name="T98" fmla="*/ 42 w 54"/>
                <a:gd name="T99" fmla="*/ 21 h 51"/>
                <a:gd name="T100" fmla="*/ 42 w 54"/>
                <a:gd name="T101" fmla="*/ 17 h 51"/>
                <a:gd name="T102" fmla="*/ 42 w 54"/>
                <a:gd name="T103" fmla="*/ 11 h 51"/>
                <a:gd name="T104" fmla="*/ 29 w 54"/>
                <a:gd name="T105" fmla="*/ 0 h 51"/>
                <a:gd name="T106" fmla="*/ 27 w 54"/>
                <a:gd name="T107"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4" h="51">
                  <a:moveTo>
                    <a:pt x="27" y="0"/>
                  </a:moveTo>
                  <a:cubicBezTo>
                    <a:pt x="23" y="0"/>
                    <a:pt x="20" y="1"/>
                    <a:pt x="17" y="3"/>
                  </a:cubicBezTo>
                  <a:cubicBezTo>
                    <a:pt x="15" y="5"/>
                    <a:pt x="14" y="7"/>
                    <a:pt x="13" y="9"/>
                  </a:cubicBezTo>
                  <a:cubicBezTo>
                    <a:pt x="13" y="9"/>
                    <a:pt x="13" y="9"/>
                    <a:pt x="13" y="9"/>
                  </a:cubicBezTo>
                  <a:cubicBezTo>
                    <a:pt x="12" y="11"/>
                    <a:pt x="12" y="14"/>
                    <a:pt x="12" y="16"/>
                  </a:cubicBezTo>
                  <a:cubicBezTo>
                    <a:pt x="12" y="16"/>
                    <a:pt x="12" y="16"/>
                    <a:pt x="12" y="16"/>
                  </a:cubicBezTo>
                  <a:cubicBezTo>
                    <a:pt x="12" y="18"/>
                    <a:pt x="12" y="20"/>
                    <a:pt x="12" y="21"/>
                  </a:cubicBezTo>
                  <a:cubicBezTo>
                    <a:pt x="12" y="21"/>
                    <a:pt x="12" y="21"/>
                    <a:pt x="12" y="21"/>
                  </a:cubicBezTo>
                  <a:cubicBezTo>
                    <a:pt x="11" y="21"/>
                    <a:pt x="11" y="21"/>
                    <a:pt x="10" y="21"/>
                  </a:cubicBezTo>
                  <a:cubicBezTo>
                    <a:pt x="10" y="21"/>
                    <a:pt x="10" y="21"/>
                    <a:pt x="10" y="21"/>
                  </a:cubicBezTo>
                  <a:cubicBezTo>
                    <a:pt x="9" y="21"/>
                    <a:pt x="9" y="21"/>
                    <a:pt x="8" y="21"/>
                  </a:cubicBezTo>
                  <a:cubicBezTo>
                    <a:pt x="8" y="21"/>
                    <a:pt x="8" y="21"/>
                    <a:pt x="8" y="21"/>
                  </a:cubicBezTo>
                  <a:cubicBezTo>
                    <a:pt x="7" y="21"/>
                    <a:pt x="7" y="21"/>
                    <a:pt x="6" y="21"/>
                  </a:cubicBezTo>
                  <a:cubicBezTo>
                    <a:pt x="6" y="21"/>
                    <a:pt x="6" y="21"/>
                    <a:pt x="6" y="21"/>
                  </a:cubicBezTo>
                  <a:cubicBezTo>
                    <a:pt x="6" y="21"/>
                    <a:pt x="6" y="21"/>
                    <a:pt x="6" y="21"/>
                  </a:cubicBezTo>
                  <a:cubicBezTo>
                    <a:pt x="6" y="21"/>
                    <a:pt x="5" y="22"/>
                    <a:pt x="5" y="23"/>
                  </a:cubicBezTo>
                  <a:cubicBezTo>
                    <a:pt x="5" y="23"/>
                    <a:pt x="5" y="23"/>
                    <a:pt x="5" y="23"/>
                  </a:cubicBezTo>
                  <a:cubicBezTo>
                    <a:pt x="5" y="23"/>
                    <a:pt x="6" y="23"/>
                    <a:pt x="6" y="24"/>
                  </a:cubicBezTo>
                  <a:cubicBezTo>
                    <a:pt x="6" y="24"/>
                    <a:pt x="6" y="24"/>
                    <a:pt x="6" y="24"/>
                  </a:cubicBezTo>
                  <a:cubicBezTo>
                    <a:pt x="6" y="24"/>
                    <a:pt x="6" y="24"/>
                    <a:pt x="6" y="24"/>
                  </a:cubicBezTo>
                  <a:cubicBezTo>
                    <a:pt x="8" y="25"/>
                    <a:pt x="9" y="25"/>
                    <a:pt x="10" y="26"/>
                  </a:cubicBezTo>
                  <a:cubicBezTo>
                    <a:pt x="10" y="26"/>
                    <a:pt x="10" y="26"/>
                    <a:pt x="10" y="26"/>
                  </a:cubicBezTo>
                  <a:cubicBezTo>
                    <a:pt x="11" y="26"/>
                    <a:pt x="12" y="27"/>
                    <a:pt x="12" y="27"/>
                  </a:cubicBezTo>
                  <a:cubicBezTo>
                    <a:pt x="12" y="28"/>
                    <a:pt x="12" y="29"/>
                    <a:pt x="11" y="30"/>
                  </a:cubicBezTo>
                  <a:cubicBezTo>
                    <a:pt x="11" y="30"/>
                    <a:pt x="11" y="30"/>
                    <a:pt x="11" y="30"/>
                  </a:cubicBezTo>
                  <a:cubicBezTo>
                    <a:pt x="10" y="33"/>
                    <a:pt x="8" y="35"/>
                    <a:pt x="6" y="37"/>
                  </a:cubicBezTo>
                  <a:cubicBezTo>
                    <a:pt x="4" y="37"/>
                    <a:pt x="3" y="38"/>
                    <a:pt x="1" y="39"/>
                  </a:cubicBezTo>
                  <a:cubicBezTo>
                    <a:pt x="1" y="39"/>
                    <a:pt x="1" y="39"/>
                    <a:pt x="1" y="39"/>
                  </a:cubicBezTo>
                  <a:cubicBezTo>
                    <a:pt x="1" y="39"/>
                    <a:pt x="0" y="39"/>
                    <a:pt x="0" y="39"/>
                  </a:cubicBezTo>
                  <a:cubicBezTo>
                    <a:pt x="0" y="39"/>
                    <a:pt x="0" y="40"/>
                    <a:pt x="0" y="40"/>
                  </a:cubicBezTo>
                  <a:cubicBezTo>
                    <a:pt x="0" y="40"/>
                    <a:pt x="0" y="40"/>
                    <a:pt x="0" y="41"/>
                  </a:cubicBezTo>
                  <a:cubicBezTo>
                    <a:pt x="0" y="41"/>
                    <a:pt x="0" y="41"/>
                    <a:pt x="1" y="41"/>
                  </a:cubicBezTo>
                  <a:cubicBezTo>
                    <a:pt x="1" y="41"/>
                    <a:pt x="1" y="41"/>
                    <a:pt x="1" y="41"/>
                  </a:cubicBezTo>
                  <a:cubicBezTo>
                    <a:pt x="2" y="42"/>
                    <a:pt x="3" y="42"/>
                    <a:pt x="4" y="43"/>
                  </a:cubicBezTo>
                  <a:cubicBezTo>
                    <a:pt x="5" y="43"/>
                    <a:pt x="5" y="43"/>
                    <a:pt x="5" y="43"/>
                  </a:cubicBezTo>
                  <a:cubicBezTo>
                    <a:pt x="5" y="43"/>
                    <a:pt x="6" y="43"/>
                    <a:pt x="7" y="43"/>
                  </a:cubicBezTo>
                  <a:cubicBezTo>
                    <a:pt x="7" y="43"/>
                    <a:pt x="7" y="43"/>
                    <a:pt x="7" y="44"/>
                  </a:cubicBezTo>
                  <a:cubicBezTo>
                    <a:pt x="7" y="44"/>
                    <a:pt x="7" y="45"/>
                    <a:pt x="8" y="46"/>
                  </a:cubicBezTo>
                  <a:cubicBezTo>
                    <a:pt x="8" y="46"/>
                    <a:pt x="8" y="47"/>
                    <a:pt x="8" y="47"/>
                  </a:cubicBezTo>
                  <a:cubicBezTo>
                    <a:pt x="9" y="47"/>
                    <a:pt x="9" y="47"/>
                    <a:pt x="9" y="47"/>
                  </a:cubicBezTo>
                  <a:cubicBezTo>
                    <a:pt x="9" y="47"/>
                    <a:pt x="9" y="47"/>
                    <a:pt x="9" y="47"/>
                  </a:cubicBezTo>
                  <a:cubicBezTo>
                    <a:pt x="11" y="46"/>
                    <a:pt x="13" y="46"/>
                    <a:pt x="15" y="46"/>
                  </a:cubicBezTo>
                  <a:cubicBezTo>
                    <a:pt x="15" y="46"/>
                    <a:pt x="15" y="46"/>
                    <a:pt x="15" y="46"/>
                  </a:cubicBezTo>
                  <a:cubicBezTo>
                    <a:pt x="17" y="47"/>
                    <a:pt x="19" y="48"/>
                    <a:pt x="21" y="49"/>
                  </a:cubicBezTo>
                  <a:cubicBezTo>
                    <a:pt x="21" y="49"/>
                    <a:pt x="21" y="49"/>
                    <a:pt x="21" y="49"/>
                  </a:cubicBezTo>
                  <a:cubicBezTo>
                    <a:pt x="21" y="49"/>
                    <a:pt x="21" y="49"/>
                    <a:pt x="21" y="49"/>
                  </a:cubicBezTo>
                  <a:cubicBezTo>
                    <a:pt x="22" y="50"/>
                    <a:pt x="24" y="51"/>
                    <a:pt x="25" y="51"/>
                  </a:cubicBezTo>
                  <a:cubicBezTo>
                    <a:pt x="25" y="51"/>
                    <a:pt x="25" y="51"/>
                    <a:pt x="25" y="51"/>
                  </a:cubicBezTo>
                  <a:cubicBezTo>
                    <a:pt x="25" y="51"/>
                    <a:pt x="25" y="51"/>
                    <a:pt x="25" y="51"/>
                  </a:cubicBezTo>
                  <a:cubicBezTo>
                    <a:pt x="27" y="51"/>
                    <a:pt x="28" y="51"/>
                    <a:pt x="29" y="51"/>
                  </a:cubicBezTo>
                  <a:cubicBezTo>
                    <a:pt x="29" y="51"/>
                    <a:pt x="29" y="51"/>
                    <a:pt x="29" y="51"/>
                  </a:cubicBezTo>
                  <a:cubicBezTo>
                    <a:pt x="30" y="51"/>
                    <a:pt x="31" y="50"/>
                    <a:pt x="32" y="50"/>
                  </a:cubicBezTo>
                  <a:cubicBezTo>
                    <a:pt x="32" y="50"/>
                    <a:pt x="32" y="50"/>
                    <a:pt x="32" y="50"/>
                  </a:cubicBezTo>
                  <a:cubicBezTo>
                    <a:pt x="34" y="49"/>
                    <a:pt x="36" y="47"/>
                    <a:pt x="38" y="46"/>
                  </a:cubicBezTo>
                  <a:cubicBezTo>
                    <a:pt x="38" y="46"/>
                    <a:pt x="38" y="46"/>
                    <a:pt x="38" y="46"/>
                  </a:cubicBezTo>
                  <a:cubicBezTo>
                    <a:pt x="39" y="46"/>
                    <a:pt x="40" y="46"/>
                    <a:pt x="41" y="46"/>
                  </a:cubicBezTo>
                  <a:cubicBezTo>
                    <a:pt x="41" y="46"/>
                    <a:pt x="41" y="46"/>
                    <a:pt x="41" y="46"/>
                  </a:cubicBezTo>
                  <a:cubicBezTo>
                    <a:pt x="42" y="46"/>
                    <a:pt x="44" y="46"/>
                    <a:pt x="45" y="46"/>
                  </a:cubicBezTo>
                  <a:cubicBezTo>
                    <a:pt x="46" y="46"/>
                    <a:pt x="46" y="46"/>
                    <a:pt x="46" y="46"/>
                  </a:cubicBezTo>
                  <a:cubicBezTo>
                    <a:pt x="46" y="46"/>
                    <a:pt x="46" y="46"/>
                    <a:pt x="46" y="46"/>
                  </a:cubicBezTo>
                  <a:cubicBezTo>
                    <a:pt x="46" y="46"/>
                    <a:pt x="46" y="46"/>
                    <a:pt x="46" y="46"/>
                  </a:cubicBezTo>
                  <a:cubicBezTo>
                    <a:pt x="46" y="46"/>
                    <a:pt x="46" y="46"/>
                    <a:pt x="46" y="46"/>
                  </a:cubicBezTo>
                  <a:cubicBezTo>
                    <a:pt x="46" y="46"/>
                    <a:pt x="46" y="46"/>
                    <a:pt x="46" y="46"/>
                  </a:cubicBezTo>
                  <a:cubicBezTo>
                    <a:pt x="47" y="45"/>
                    <a:pt x="47" y="44"/>
                    <a:pt x="47" y="43"/>
                  </a:cubicBezTo>
                  <a:cubicBezTo>
                    <a:pt x="48" y="43"/>
                    <a:pt x="48" y="43"/>
                    <a:pt x="48" y="43"/>
                  </a:cubicBezTo>
                  <a:cubicBezTo>
                    <a:pt x="48" y="43"/>
                    <a:pt x="49" y="43"/>
                    <a:pt x="49" y="43"/>
                  </a:cubicBezTo>
                  <a:cubicBezTo>
                    <a:pt x="50" y="43"/>
                    <a:pt x="51" y="42"/>
                    <a:pt x="52" y="42"/>
                  </a:cubicBezTo>
                  <a:cubicBezTo>
                    <a:pt x="52" y="42"/>
                    <a:pt x="52" y="42"/>
                    <a:pt x="53" y="42"/>
                  </a:cubicBezTo>
                  <a:cubicBezTo>
                    <a:pt x="53" y="41"/>
                    <a:pt x="54" y="41"/>
                    <a:pt x="54" y="41"/>
                  </a:cubicBezTo>
                  <a:cubicBezTo>
                    <a:pt x="54" y="41"/>
                    <a:pt x="54" y="41"/>
                    <a:pt x="54" y="41"/>
                  </a:cubicBezTo>
                  <a:cubicBezTo>
                    <a:pt x="54" y="41"/>
                    <a:pt x="54" y="41"/>
                    <a:pt x="54" y="41"/>
                  </a:cubicBezTo>
                  <a:cubicBezTo>
                    <a:pt x="54" y="40"/>
                    <a:pt x="54" y="39"/>
                    <a:pt x="54" y="39"/>
                  </a:cubicBezTo>
                  <a:cubicBezTo>
                    <a:pt x="54" y="39"/>
                    <a:pt x="54" y="39"/>
                    <a:pt x="54" y="39"/>
                  </a:cubicBezTo>
                  <a:cubicBezTo>
                    <a:pt x="54" y="39"/>
                    <a:pt x="54" y="39"/>
                    <a:pt x="54" y="39"/>
                  </a:cubicBezTo>
                  <a:cubicBezTo>
                    <a:pt x="54" y="39"/>
                    <a:pt x="54" y="39"/>
                    <a:pt x="54" y="39"/>
                  </a:cubicBezTo>
                  <a:cubicBezTo>
                    <a:pt x="54" y="39"/>
                    <a:pt x="54" y="39"/>
                    <a:pt x="54" y="39"/>
                  </a:cubicBezTo>
                  <a:cubicBezTo>
                    <a:pt x="53" y="39"/>
                    <a:pt x="52" y="38"/>
                    <a:pt x="52" y="38"/>
                  </a:cubicBezTo>
                  <a:cubicBezTo>
                    <a:pt x="52" y="38"/>
                    <a:pt x="52" y="38"/>
                    <a:pt x="52" y="38"/>
                  </a:cubicBezTo>
                  <a:cubicBezTo>
                    <a:pt x="49" y="37"/>
                    <a:pt x="47" y="35"/>
                    <a:pt x="45" y="33"/>
                  </a:cubicBezTo>
                  <a:cubicBezTo>
                    <a:pt x="44" y="32"/>
                    <a:pt x="43" y="30"/>
                    <a:pt x="42" y="29"/>
                  </a:cubicBezTo>
                  <a:cubicBezTo>
                    <a:pt x="42" y="29"/>
                    <a:pt x="42" y="29"/>
                    <a:pt x="42" y="29"/>
                  </a:cubicBezTo>
                  <a:cubicBezTo>
                    <a:pt x="42" y="28"/>
                    <a:pt x="42" y="27"/>
                    <a:pt x="42" y="27"/>
                  </a:cubicBezTo>
                  <a:cubicBezTo>
                    <a:pt x="42" y="27"/>
                    <a:pt x="42" y="27"/>
                    <a:pt x="42" y="27"/>
                  </a:cubicBezTo>
                  <a:cubicBezTo>
                    <a:pt x="43" y="26"/>
                    <a:pt x="44" y="26"/>
                    <a:pt x="45" y="25"/>
                  </a:cubicBezTo>
                  <a:cubicBezTo>
                    <a:pt x="45" y="25"/>
                    <a:pt x="45" y="25"/>
                    <a:pt x="45" y="25"/>
                  </a:cubicBezTo>
                  <a:cubicBezTo>
                    <a:pt x="46" y="25"/>
                    <a:pt x="47" y="25"/>
                    <a:pt x="48" y="24"/>
                  </a:cubicBezTo>
                  <a:cubicBezTo>
                    <a:pt x="48" y="24"/>
                    <a:pt x="48" y="24"/>
                    <a:pt x="48" y="24"/>
                  </a:cubicBezTo>
                  <a:cubicBezTo>
                    <a:pt x="48" y="24"/>
                    <a:pt x="49" y="23"/>
                    <a:pt x="49" y="23"/>
                  </a:cubicBezTo>
                  <a:cubicBezTo>
                    <a:pt x="49" y="23"/>
                    <a:pt x="49" y="22"/>
                    <a:pt x="49" y="22"/>
                  </a:cubicBezTo>
                  <a:cubicBezTo>
                    <a:pt x="49" y="22"/>
                    <a:pt x="49" y="22"/>
                    <a:pt x="49" y="22"/>
                  </a:cubicBezTo>
                  <a:cubicBezTo>
                    <a:pt x="48" y="21"/>
                    <a:pt x="48" y="21"/>
                    <a:pt x="48" y="21"/>
                  </a:cubicBezTo>
                  <a:cubicBezTo>
                    <a:pt x="48" y="21"/>
                    <a:pt x="48" y="21"/>
                    <a:pt x="48" y="21"/>
                  </a:cubicBezTo>
                  <a:cubicBezTo>
                    <a:pt x="47" y="21"/>
                    <a:pt x="46" y="21"/>
                    <a:pt x="46" y="21"/>
                  </a:cubicBezTo>
                  <a:cubicBezTo>
                    <a:pt x="46" y="21"/>
                    <a:pt x="46" y="21"/>
                    <a:pt x="46" y="21"/>
                  </a:cubicBezTo>
                  <a:cubicBezTo>
                    <a:pt x="46" y="21"/>
                    <a:pt x="46" y="21"/>
                    <a:pt x="46" y="21"/>
                  </a:cubicBezTo>
                  <a:cubicBezTo>
                    <a:pt x="45" y="21"/>
                    <a:pt x="44" y="21"/>
                    <a:pt x="44" y="21"/>
                  </a:cubicBezTo>
                  <a:cubicBezTo>
                    <a:pt x="44" y="21"/>
                    <a:pt x="44" y="21"/>
                    <a:pt x="44" y="21"/>
                  </a:cubicBezTo>
                  <a:cubicBezTo>
                    <a:pt x="43" y="21"/>
                    <a:pt x="42" y="21"/>
                    <a:pt x="42" y="21"/>
                  </a:cubicBezTo>
                  <a:cubicBezTo>
                    <a:pt x="42" y="21"/>
                    <a:pt x="42" y="21"/>
                    <a:pt x="42" y="21"/>
                  </a:cubicBezTo>
                  <a:cubicBezTo>
                    <a:pt x="42" y="21"/>
                    <a:pt x="42" y="21"/>
                    <a:pt x="42" y="21"/>
                  </a:cubicBezTo>
                  <a:cubicBezTo>
                    <a:pt x="42" y="20"/>
                    <a:pt x="42" y="18"/>
                    <a:pt x="42" y="17"/>
                  </a:cubicBezTo>
                  <a:cubicBezTo>
                    <a:pt x="42" y="17"/>
                    <a:pt x="42" y="17"/>
                    <a:pt x="42" y="17"/>
                  </a:cubicBezTo>
                  <a:cubicBezTo>
                    <a:pt x="42" y="15"/>
                    <a:pt x="42" y="13"/>
                    <a:pt x="42" y="11"/>
                  </a:cubicBezTo>
                  <a:cubicBezTo>
                    <a:pt x="42" y="11"/>
                    <a:pt x="42" y="11"/>
                    <a:pt x="42" y="11"/>
                  </a:cubicBezTo>
                  <a:cubicBezTo>
                    <a:pt x="41" y="8"/>
                    <a:pt x="39" y="5"/>
                    <a:pt x="36" y="3"/>
                  </a:cubicBezTo>
                  <a:cubicBezTo>
                    <a:pt x="34" y="1"/>
                    <a:pt x="32" y="0"/>
                    <a:pt x="29" y="0"/>
                  </a:cubicBezTo>
                  <a:cubicBezTo>
                    <a:pt x="29" y="0"/>
                    <a:pt x="29" y="0"/>
                    <a:pt x="29" y="0"/>
                  </a:cubicBezTo>
                  <a:cubicBezTo>
                    <a:pt x="28" y="0"/>
                    <a:pt x="28" y="0"/>
                    <a:pt x="27" y="0"/>
                  </a:cubicBezTo>
                </a:path>
              </a:pathLst>
            </a:custGeom>
            <a:solidFill>
              <a:srgbClr val="CCCCC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05" name="Freeform 111">
              <a:extLst>
                <a:ext uri="{FF2B5EF4-FFF2-40B4-BE49-F238E27FC236}">
                  <a16:creationId xmlns:a16="http://schemas.microsoft.com/office/drawing/2014/main" id="{C65D4ACF-E5FC-4610-89EF-FB05A8816BF7}"/>
                </a:ext>
              </a:extLst>
            </p:cNvPr>
            <p:cNvSpPr>
              <a:spLocks/>
            </p:cNvSpPr>
            <p:nvPr/>
          </p:nvSpPr>
          <p:spPr bwMode="auto">
            <a:xfrm>
              <a:off x="5237285" y="2030141"/>
              <a:ext cx="108156" cy="100203"/>
            </a:xfrm>
            <a:custGeom>
              <a:avLst/>
              <a:gdLst>
                <a:gd name="T0" fmla="*/ 18 w 55"/>
                <a:gd name="T1" fmla="*/ 3 h 51"/>
                <a:gd name="T2" fmla="*/ 13 w 55"/>
                <a:gd name="T3" fmla="*/ 9 h 51"/>
                <a:gd name="T4" fmla="*/ 13 w 55"/>
                <a:gd name="T5" fmla="*/ 17 h 51"/>
                <a:gd name="T6" fmla="*/ 13 w 55"/>
                <a:gd name="T7" fmla="*/ 22 h 51"/>
                <a:gd name="T8" fmla="*/ 10 w 55"/>
                <a:gd name="T9" fmla="*/ 22 h 51"/>
                <a:gd name="T10" fmla="*/ 9 w 55"/>
                <a:gd name="T11" fmla="*/ 21 h 51"/>
                <a:gd name="T12" fmla="*/ 7 w 55"/>
                <a:gd name="T13" fmla="*/ 21 h 51"/>
                <a:gd name="T14" fmla="*/ 6 w 55"/>
                <a:gd name="T15" fmla="*/ 23 h 51"/>
                <a:gd name="T16" fmla="*/ 6 w 55"/>
                <a:gd name="T17" fmla="*/ 24 h 51"/>
                <a:gd name="T18" fmla="*/ 7 w 55"/>
                <a:gd name="T19" fmla="*/ 25 h 51"/>
                <a:gd name="T20" fmla="*/ 11 w 55"/>
                <a:gd name="T21" fmla="*/ 26 h 51"/>
                <a:gd name="T22" fmla="*/ 12 w 55"/>
                <a:gd name="T23" fmla="*/ 31 h 51"/>
                <a:gd name="T24" fmla="*/ 6 w 55"/>
                <a:gd name="T25" fmla="*/ 37 h 51"/>
                <a:gd name="T26" fmla="*/ 2 w 55"/>
                <a:gd name="T27" fmla="*/ 39 h 51"/>
                <a:gd name="T28" fmla="*/ 0 w 55"/>
                <a:gd name="T29" fmla="*/ 40 h 51"/>
                <a:gd name="T30" fmla="*/ 1 w 55"/>
                <a:gd name="T31" fmla="*/ 42 h 51"/>
                <a:gd name="T32" fmla="*/ 5 w 55"/>
                <a:gd name="T33" fmla="*/ 43 h 51"/>
                <a:gd name="T34" fmla="*/ 8 w 55"/>
                <a:gd name="T35" fmla="*/ 43 h 51"/>
                <a:gd name="T36" fmla="*/ 8 w 55"/>
                <a:gd name="T37" fmla="*/ 46 h 51"/>
                <a:gd name="T38" fmla="*/ 10 w 55"/>
                <a:gd name="T39" fmla="*/ 47 h 51"/>
                <a:gd name="T40" fmla="*/ 16 w 55"/>
                <a:gd name="T41" fmla="*/ 47 h 51"/>
                <a:gd name="T42" fmla="*/ 22 w 55"/>
                <a:gd name="T43" fmla="*/ 50 h 51"/>
                <a:gd name="T44" fmla="*/ 22 w 55"/>
                <a:gd name="T45" fmla="*/ 50 h 51"/>
                <a:gd name="T46" fmla="*/ 26 w 55"/>
                <a:gd name="T47" fmla="*/ 51 h 51"/>
                <a:gd name="T48" fmla="*/ 30 w 55"/>
                <a:gd name="T49" fmla="*/ 51 h 51"/>
                <a:gd name="T50" fmla="*/ 33 w 55"/>
                <a:gd name="T51" fmla="*/ 50 h 51"/>
                <a:gd name="T52" fmla="*/ 39 w 55"/>
                <a:gd name="T53" fmla="*/ 47 h 51"/>
                <a:gd name="T54" fmla="*/ 41 w 55"/>
                <a:gd name="T55" fmla="*/ 47 h 51"/>
                <a:gd name="T56" fmla="*/ 46 w 55"/>
                <a:gd name="T57" fmla="*/ 47 h 51"/>
                <a:gd name="T58" fmla="*/ 47 w 55"/>
                <a:gd name="T59" fmla="*/ 46 h 51"/>
                <a:gd name="T60" fmla="*/ 47 w 55"/>
                <a:gd name="T61" fmla="*/ 46 h 51"/>
                <a:gd name="T62" fmla="*/ 48 w 55"/>
                <a:gd name="T63" fmla="*/ 43 h 51"/>
                <a:gd name="T64" fmla="*/ 49 w 55"/>
                <a:gd name="T65" fmla="*/ 43 h 51"/>
                <a:gd name="T66" fmla="*/ 53 w 55"/>
                <a:gd name="T67" fmla="*/ 42 h 51"/>
                <a:gd name="T68" fmla="*/ 55 w 55"/>
                <a:gd name="T69" fmla="*/ 41 h 51"/>
                <a:gd name="T70" fmla="*/ 54 w 55"/>
                <a:gd name="T71" fmla="*/ 39 h 51"/>
                <a:gd name="T72" fmla="*/ 54 w 55"/>
                <a:gd name="T73" fmla="*/ 39 h 51"/>
                <a:gd name="T74" fmla="*/ 54 w 55"/>
                <a:gd name="T75" fmla="*/ 39 h 51"/>
                <a:gd name="T76" fmla="*/ 53 w 55"/>
                <a:gd name="T77" fmla="*/ 39 h 51"/>
                <a:gd name="T78" fmla="*/ 43 w 55"/>
                <a:gd name="T79" fmla="*/ 29 h 51"/>
                <a:gd name="T80" fmla="*/ 43 w 55"/>
                <a:gd name="T81" fmla="*/ 27 h 51"/>
                <a:gd name="T82" fmla="*/ 46 w 55"/>
                <a:gd name="T83" fmla="*/ 26 h 51"/>
                <a:gd name="T84" fmla="*/ 49 w 55"/>
                <a:gd name="T85" fmla="*/ 24 h 51"/>
                <a:gd name="T86" fmla="*/ 49 w 55"/>
                <a:gd name="T87" fmla="*/ 23 h 51"/>
                <a:gd name="T88" fmla="*/ 49 w 55"/>
                <a:gd name="T89" fmla="*/ 22 h 51"/>
                <a:gd name="T90" fmla="*/ 48 w 55"/>
                <a:gd name="T91" fmla="*/ 21 h 51"/>
                <a:gd name="T92" fmla="*/ 46 w 55"/>
                <a:gd name="T93" fmla="*/ 21 h 51"/>
                <a:gd name="T94" fmla="*/ 45 w 55"/>
                <a:gd name="T95" fmla="*/ 22 h 51"/>
                <a:gd name="T96" fmla="*/ 42 w 55"/>
                <a:gd name="T97" fmla="*/ 22 h 51"/>
                <a:gd name="T98" fmla="*/ 42 w 55"/>
                <a:gd name="T99" fmla="*/ 21 h 51"/>
                <a:gd name="T100" fmla="*/ 43 w 55"/>
                <a:gd name="T101" fmla="*/ 17 h 51"/>
                <a:gd name="T102" fmla="*/ 42 w 55"/>
                <a:gd name="T103" fmla="*/ 11 h 51"/>
                <a:gd name="T104" fmla="*/ 30 w 55"/>
                <a:gd name="T105" fmla="*/ 1 h 51"/>
                <a:gd name="T106" fmla="*/ 27 w 55"/>
                <a:gd name="T107"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5" h="51">
                  <a:moveTo>
                    <a:pt x="27" y="0"/>
                  </a:moveTo>
                  <a:cubicBezTo>
                    <a:pt x="24" y="0"/>
                    <a:pt x="21" y="1"/>
                    <a:pt x="18" y="3"/>
                  </a:cubicBezTo>
                  <a:cubicBezTo>
                    <a:pt x="16" y="5"/>
                    <a:pt x="14" y="7"/>
                    <a:pt x="13" y="9"/>
                  </a:cubicBezTo>
                  <a:cubicBezTo>
                    <a:pt x="13" y="9"/>
                    <a:pt x="13" y="9"/>
                    <a:pt x="13" y="9"/>
                  </a:cubicBezTo>
                  <a:cubicBezTo>
                    <a:pt x="13" y="12"/>
                    <a:pt x="13" y="14"/>
                    <a:pt x="13" y="17"/>
                  </a:cubicBezTo>
                  <a:cubicBezTo>
                    <a:pt x="13" y="17"/>
                    <a:pt x="13" y="17"/>
                    <a:pt x="13" y="17"/>
                  </a:cubicBezTo>
                  <a:cubicBezTo>
                    <a:pt x="13" y="18"/>
                    <a:pt x="13" y="20"/>
                    <a:pt x="13" y="21"/>
                  </a:cubicBezTo>
                  <a:cubicBezTo>
                    <a:pt x="13" y="22"/>
                    <a:pt x="13" y="22"/>
                    <a:pt x="13" y="22"/>
                  </a:cubicBezTo>
                  <a:cubicBezTo>
                    <a:pt x="12" y="22"/>
                    <a:pt x="11" y="22"/>
                    <a:pt x="10" y="22"/>
                  </a:cubicBezTo>
                  <a:cubicBezTo>
                    <a:pt x="10" y="22"/>
                    <a:pt x="10" y="22"/>
                    <a:pt x="10" y="22"/>
                  </a:cubicBezTo>
                  <a:cubicBezTo>
                    <a:pt x="10" y="21"/>
                    <a:pt x="9" y="21"/>
                    <a:pt x="9" y="21"/>
                  </a:cubicBezTo>
                  <a:cubicBezTo>
                    <a:pt x="9" y="21"/>
                    <a:pt x="9" y="21"/>
                    <a:pt x="9" y="21"/>
                  </a:cubicBezTo>
                  <a:cubicBezTo>
                    <a:pt x="8" y="21"/>
                    <a:pt x="7" y="21"/>
                    <a:pt x="7" y="21"/>
                  </a:cubicBezTo>
                  <a:cubicBezTo>
                    <a:pt x="7" y="21"/>
                    <a:pt x="7" y="21"/>
                    <a:pt x="7" y="21"/>
                  </a:cubicBezTo>
                  <a:cubicBezTo>
                    <a:pt x="7" y="21"/>
                    <a:pt x="7" y="21"/>
                    <a:pt x="7" y="21"/>
                  </a:cubicBezTo>
                  <a:cubicBezTo>
                    <a:pt x="6" y="22"/>
                    <a:pt x="6" y="22"/>
                    <a:pt x="6" y="23"/>
                  </a:cubicBezTo>
                  <a:cubicBezTo>
                    <a:pt x="6" y="23"/>
                    <a:pt x="6" y="23"/>
                    <a:pt x="6" y="23"/>
                  </a:cubicBezTo>
                  <a:cubicBezTo>
                    <a:pt x="6" y="23"/>
                    <a:pt x="6" y="24"/>
                    <a:pt x="6" y="24"/>
                  </a:cubicBezTo>
                  <a:cubicBezTo>
                    <a:pt x="7" y="24"/>
                    <a:pt x="7" y="24"/>
                    <a:pt x="7" y="24"/>
                  </a:cubicBezTo>
                  <a:cubicBezTo>
                    <a:pt x="7" y="24"/>
                    <a:pt x="7" y="25"/>
                    <a:pt x="7" y="25"/>
                  </a:cubicBezTo>
                  <a:cubicBezTo>
                    <a:pt x="8" y="25"/>
                    <a:pt x="10" y="26"/>
                    <a:pt x="11" y="26"/>
                  </a:cubicBezTo>
                  <a:cubicBezTo>
                    <a:pt x="11" y="26"/>
                    <a:pt x="11" y="26"/>
                    <a:pt x="11" y="26"/>
                  </a:cubicBezTo>
                  <a:cubicBezTo>
                    <a:pt x="12" y="26"/>
                    <a:pt x="12" y="27"/>
                    <a:pt x="12" y="28"/>
                  </a:cubicBezTo>
                  <a:cubicBezTo>
                    <a:pt x="13" y="29"/>
                    <a:pt x="12" y="30"/>
                    <a:pt x="12" y="31"/>
                  </a:cubicBezTo>
                  <a:cubicBezTo>
                    <a:pt x="12" y="31"/>
                    <a:pt x="12" y="31"/>
                    <a:pt x="12" y="31"/>
                  </a:cubicBezTo>
                  <a:cubicBezTo>
                    <a:pt x="10" y="33"/>
                    <a:pt x="9" y="35"/>
                    <a:pt x="6" y="37"/>
                  </a:cubicBezTo>
                  <a:cubicBezTo>
                    <a:pt x="5" y="38"/>
                    <a:pt x="4" y="38"/>
                    <a:pt x="2" y="39"/>
                  </a:cubicBezTo>
                  <a:cubicBezTo>
                    <a:pt x="2" y="39"/>
                    <a:pt x="2" y="39"/>
                    <a:pt x="2" y="39"/>
                  </a:cubicBezTo>
                  <a:cubicBezTo>
                    <a:pt x="2" y="39"/>
                    <a:pt x="1" y="39"/>
                    <a:pt x="1" y="40"/>
                  </a:cubicBezTo>
                  <a:cubicBezTo>
                    <a:pt x="0" y="40"/>
                    <a:pt x="0" y="40"/>
                    <a:pt x="0" y="40"/>
                  </a:cubicBezTo>
                  <a:cubicBezTo>
                    <a:pt x="0" y="40"/>
                    <a:pt x="0" y="41"/>
                    <a:pt x="1" y="41"/>
                  </a:cubicBezTo>
                  <a:cubicBezTo>
                    <a:pt x="1" y="41"/>
                    <a:pt x="1" y="41"/>
                    <a:pt x="1" y="42"/>
                  </a:cubicBezTo>
                  <a:cubicBezTo>
                    <a:pt x="1" y="42"/>
                    <a:pt x="1" y="42"/>
                    <a:pt x="1" y="42"/>
                  </a:cubicBezTo>
                  <a:cubicBezTo>
                    <a:pt x="3" y="42"/>
                    <a:pt x="4" y="43"/>
                    <a:pt x="5" y="43"/>
                  </a:cubicBezTo>
                  <a:cubicBezTo>
                    <a:pt x="5" y="43"/>
                    <a:pt x="5" y="43"/>
                    <a:pt x="5" y="43"/>
                  </a:cubicBezTo>
                  <a:cubicBezTo>
                    <a:pt x="6" y="43"/>
                    <a:pt x="7" y="43"/>
                    <a:pt x="8" y="43"/>
                  </a:cubicBezTo>
                  <a:cubicBezTo>
                    <a:pt x="8" y="44"/>
                    <a:pt x="8" y="44"/>
                    <a:pt x="8" y="44"/>
                  </a:cubicBezTo>
                  <a:cubicBezTo>
                    <a:pt x="8" y="45"/>
                    <a:pt x="8" y="46"/>
                    <a:pt x="8" y="46"/>
                  </a:cubicBezTo>
                  <a:cubicBezTo>
                    <a:pt x="8" y="47"/>
                    <a:pt x="9" y="47"/>
                    <a:pt x="9" y="47"/>
                  </a:cubicBezTo>
                  <a:cubicBezTo>
                    <a:pt x="9" y="47"/>
                    <a:pt x="10" y="47"/>
                    <a:pt x="10" y="47"/>
                  </a:cubicBezTo>
                  <a:cubicBezTo>
                    <a:pt x="10" y="47"/>
                    <a:pt x="10" y="47"/>
                    <a:pt x="10" y="47"/>
                  </a:cubicBezTo>
                  <a:cubicBezTo>
                    <a:pt x="12" y="46"/>
                    <a:pt x="14" y="46"/>
                    <a:pt x="16" y="47"/>
                  </a:cubicBezTo>
                  <a:cubicBezTo>
                    <a:pt x="16" y="47"/>
                    <a:pt x="16" y="47"/>
                    <a:pt x="16" y="47"/>
                  </a:cubicBezTo>
                  <a:cubicBezTo>
                    <a:pt x="18" y="47"/>
                    <a:pt x="20" y="49"/>
                    <a:pt x="22" y="50"/>
                  </a:cubicBezTo>
                  <a:cubicBezTo>
                    <a:pt x="22" y="50"/>
                    <a:pt x="22" y="50"/>
                    <a:pt x="22" y="50"/>
                  </a:cubicBezTo>
                  <a:cubicBezTo>
                    <a:pt x="22" y="50"/>
                    <a:pt x="22" y="50"/>
                    <a:pt x="22" y="50"/>
                  </a:cubicBezTo>
                  <a:cubicBezTo>
                    <a:pt x="23" y="51"/>
                    <a:pt x="24" y="51"/>
                    <a:pt x="26" y="51"/>
                  </a:cubicBezTo>
                  <a:cubicBezTo>
                    <a:pt x="26" y="51"/>
                    <a:pt x="26" y="51"/>
                    <a:pt x="26" y="51"/>
                  </a:cubicBezTo>
                  <a:cubicBezTo>
                    <a:pt x="26" y="51"/>
                    <a:pt x="26" y="51"/>
                    <a:pt x="26" y="51"/>
                  </a:cubicBezTo>
                  <a:cubicBezTo>
                    <a:pt x="27" y="51"/>
                    <a:pt x="29" y="51"/>
                    <a:pt x="30" y="51"/>
                  </a:cubicBezTo>
                  <a:cubicBezTo>
                    <a:pt x="30" y="51"/>
                    <a:pt x="30" y="51"/>
                    <a:pt x="30" y="51"/>
                  </a:cubicBezTo>
                  <a:cubicBezTo>
                    <a:pt x="31" y="51"/>
                    <a:pt x="32" y="51"/>
                    <a:pt x="33" y="50"/>
                  </a:cubicBezTo>
                  <a:cubicBezTo>
                    <a:pt x="33" y="50"/>
                    <a:pt x="33" y="50"/>
                    <a:pt x="33" y="50"/>
                  </a:cubicBezTo>
                  <a:cubicBezTo>
                    <a:pt x="35" y="49"/>
                    <a:pt x="37" y="48"/>
                    <a:pt x="39" y="47"/>
                  </a:cubicBezTo>
                  <a:cubicBezTo>
                    <a:pt x="39" y="47"/>
                    <a:pt x="39" y="47"/>
                    <a:pt x="39" y="47"/>
                  </a:cubicBezTo>
                  <a:cubicBezTo>
                    <a:pt x="39" y="47"/>
                    <a:pt x="40" y="47"/>
                    <a:pt x="41" y="47"/>
                  </a:cubicBezTo>
                  <a:cubicBezTo>
                    <a:pt x="41" y="47"/>
                    <a:pt x="41" y="47"/>
                    <a:pt x="41" y="47"/>
                  </a:cubicBezTo>
                  <a:cubicBezTo>
                    <a:pt x="43" y="46"/>
                    <a:pt x="45" y="47"/>
                    <a:pt x="46" y="47"/>
                  </a:cubicBezTo>
                  <a:cubicBezTo>
                    <a:pt x="46" y="47"/>
                    <a:pt x="46" y="47"/>
                    <a:pt x="46" y="47"/>
                  </a:cubicBezTo>
                  <a:cubicBezTo>
                    <a:pt x="47" y="47"/>
                    <a:pt x="47" y="47"/>
                    <a:pt x="47" y="46"/>
                  </a:cubicBezTo>
                  <a:cubicBezTo>
                    <a:pt x="47" y="46"/>
                    <a:pt x="47" y="46"/>
                    <a:pt x="47" y="46"/>
                  </a:cubicBezTo>
                  <a:cubicBezTo>
                    <a:pt x="47" y="46"/>
                    <a:pt x="47" y="46"/>
                    <a:pt x="47" y="46"/>
                  </a:cubicBezTo>
                  <a:cubicBezTo>
                    <a:pt x="47" y="46"/>
                    <a:pt x="47" y="46"/>
                    <a:pt x="47" y="46"/>
                  </a:cubicBezTo>
                  <a:cubicBezTo>
                    <a:pt x="47" y="45"/>
                    <a:pt x="48" y="44"/>
                    <a:pt x="48" y="43"/>
                  </a:cubicBezTo>
                  <a:cubicBezTo>
                    <a:pt x="48" y="43"/>
                    <a:pt x="49" y="43"/>
                    <a:pt x="49" y="43"/>
                  </a:cubicBezTo>
                  <a:cubicBezTo>
                    <a:pt x="49" y="43"/>
                    <a:pt x="49" y="43"/>
                    <a:pt x="49" y="43"/>
                  </a:cubicBezTo>
                  <a:cubicBezTo>
                    <a:pt x="51" y="43"/>
                    <a:pt x="52" y="42"/>
                    <a:pt x="53" y="42"/>
                  </a:cubicBezTo>
                  <a:cubicBezTo>
                    <a:pt x="53" y="42"/>
                    <a:pt x="53" y="42"/>
                    <a:pt x="53" y="42"/>
                  </a:cubicBezTo>
                  <a:cubicBezTo>
                    <a:pt x="54" y="42"/>
                    <a:pt x="54" y="42"/>
                    <a:pt x="55" y="41"/>
                  </a:cubicBezTo>
                  <a:cubicBezTo>
                    <a:pt x="55" y="41"/>
                    <a:pt x="55" y="41"/>
                    <a:pt x="55" y="41"/>
                  </a:cubicBezTo>
                  <a:cubicBezTo>
                    <a:pt x="55" y="41"/>
                    <a:pt x="55" y="41"/>
                    <a:pt x="55" y="41"/>
                  </a:cubicBezTo>
                  <a:cubicBezTo>
                    <a:pt x="55" y="40"/>
                    <a:pt x="55" y="40"/>
                    <a:pt x="54" y="39"/>
                  </a:cubicBezTo>
                  <a:cubicBezTo>
                    <a:pt x="54" y="39"/>
                    <a:pt x="54" y="39"/>
                    <a:pt x="54" y="39"/>
                  </a:cubicBezTo>
                  <a:cubicBezTo>
                    <a:pt x="54" y="39"/>
                    <a:pt x="54" y="39"/>
                    <a:pt x="54" y="39"/>
                  </a:cubicBezTo>
                  <a:cubicBezTo>
                    <a:pt x="54" y="39"/>
                    <a:pt x="54" y="39"/>
                    <a:pt x="54" y="39"/>
                  </a:cubicBezTo>
                  <a:cubicBezTo>
                    <a:pt x="54" y="39"/>
                    <a:pt x="54" y="39"/>
                    <a:pt x="54" y="39"/>
                  </a:cubicBezTo>
                  <a:cubicBezTo>
                    <a:pt x="54" y="39"/>
                    <a:pt x="53" y="39"/>
                    <a:pt x="53" y="39"/>
                  </a:cubicBezTo>
                  <a:cubicBezTo>
                    <a:pt x="53" y="39"/>
                    <a:pt x="53" y="39"/>
                    <a:pt x="53" y="39"/>
                  </a:cubicBezTo>
                  <a:cubicBezTo>
                    <a:pt x="50" y="38"/>
                    <a:pt x="47" y="36"/>
                    <a:pt x="46" y="33"/>
                  </a:cubicBezTo>
                  <a:cubicBezTo>
                    <a:pt x="44" y="32"/>
                    <a:pt x="44" y="31"/>
                    <a:pt x="43" y="29"/>
                  </a:cubicBezTo>
                  <a:cubicBezTo>
                    <a:pt x="43" y="29"/>
                    <a:pt x="43" y="29"/>
                    <a:pt x="43" y="29"/>
                  </a:cubicBezTo>
                  <a:cubicBezTo>
                    <a:pt x="43" y="29"/>
                    <a:pt x="43" y="28"/>
                    <a:pt x="43" y="27"/>
                  </a:cubicBezTo>
                  <a:cubicBezTo>
                    <a:pt x="43" y="27"/>
                    <a:pt x="43" y="27"/>
                    <a:pt x="43" y="27"/>
                  </a:cubicBezTo>
                  <a:cubicBezTo>
                    <a:pt x="44" y="27"/>
                    <a:pt x="45" y="26"/>
                    <a:pt x="46" y="26"/>
                  </a:cubicBezTo>
                  <a:cubicBezTo>
                    <a:pt x="46" y="26"/>
                    <a:pt x="46" y="26"/>
                    <a:pt x="46" y="26"/>
                  </a:cubicBezTo>
                  <a:cubicBezTo>
                    <a:pt x="47" y="25"/>
                    <a:pt x="48" y="25"/>
                    <a:pt x="49" y="24"/>
                  </a:cubicBezTo>
                  <a:cubicBezTo>
                    <a:pt x="49" y="24"/>
                    <a:pt x="49" y="24"/>
                    <a:pt x="49" y="24"/>
                  </a:cubicBezTo>
                  <a:cubicBezTo>
                    <a:pt x="49" y="24"/>
                    <a:pt x="49" y="24"/>
                    <a:pt x="49" y="23"/>
                  </a:cubicBezTo>
                  <a:cubicBezTo>
                    <a:pt x="50" y="23"/>
                    <a:pt x="50" y="23"/>
                    <a:pt x="49" y="22"/>
                  </a:cubicBezTo>
                  <a:cubicBezTo>
                    <a:pt x="49" y="22"/>
                    <a:pt x="49" y="22"/>
                    <a:pt x="49" y="22"/>
                  </a:cubicBezTo>
                  <a:cubicBezTo>
                    <a:pt x="49" y="22"/>
                    <a:pt x="49" y="21"/>
                    <a:pt x="48" y="21"/>
                  </a:cubicBezTo>
                  <a:cubicBezTo>
                    <a:pt x="48" y="21"/>
                    <a:pt x="48" y="21"/>
                    <a:pt x="48" y="21"/>
                  </a:cubicBezTo>
                  <a:cubicBezTo>
                    <a:pt x="48" y="21"/>
                    <a:pt x="47" y="21"/>
                    <a:pt x="46" y="21"/>
                  </a:cubicBezTo>
                  <a:cubicBezTo>
                    <a:pt x="46" y="21"/>
                    <a:pt x="46" y="21"/>
                    <a:pt x="46" y="21"/>
                  </a:cubicBezTo>
                  <a:cubicBezTo>
                    <a:pt x="46" y="21"/>
                    <a:pt x="46" y="21"/>
                    <a:pt x="46" y="21"/>
                  </a:cubicBezTo>
                  <a:cubicBezTo>
                    <a:pt x="46" y="21"/>
                    <a:pt x="45" y="22"/>
                    <a:pt x="45" y="22"/>
                  </a:cubicBezTo>
                  <a:cubicBezTo>
                    <a:pt x="45" y="22"/>
                    <a:pt x="45" y="22"/>
                    <a:pt x="44" y="22"/>
                  </a:cubicBezTo>
                  <a:cubicBezTo>
                    <a:pt x="44" y="22"/>
                    <a:pt x="43" y="22"/>
                    <a:pt x="42" y="22"/>
                  </a:cubicBezTo>
                  <a:cubicBezTo>
                    <a:pt x="42" y="21"/>
                    <a:pt x="42" y="21"/>
                    <a:pt x="42" y="21"/>
                  </a:cubicBezTo>
                  <a:cubicBezTo>
                    <a:pt x="42" y="21"/>
                    <a:pt x="42" y="21"/>
                    <a:pt x="42" y="21"/>
                  </a:cubicBezTo>
                  <a:cubicBezTo>
                    <a:pt x="42" y="20"/>
                    <a:pt x="43" y="19"/>
                    <a:pt x="43" y="17"/>
                  </a:cubicBezTo>
                  <a:cubicBezTo>
                    <a:pt x="43" y="17"/>
                    <a:pt x="43" y="17"/>
                    <a:pt x="43" y="17"/>
                  </a:cubicBezTo>
                  <a:cubicBezTo>
                    <a:pt x="43" y="15"/>
                    <a:pt x="43" y="13"/>
                    <a:pt x="42" y="11"/>
                  </a:cubicBezTo>
                  <a:cubicBezTo>
                    <a:pt x="42" y="11"/>
                    <a:pt x="42" y="11"/>
                    <a:pt x="42" y="11"/>
                  </a:cubicBezTo>
                  <a:cubicBezTo>
                    <a:pt x="42" y="8"/>
                    <a:pt x="40" y="5"/>
                    <a:pt x="37" y="3"/>
                  </a:cubicBezTo>
                  <a:cubicBezTo>
                    <a:pt x="35" y="2"/>
                    <a:pt x="32" y="1"/>
                    <a:pt x="30" y="1"/>
                  </a:cubicBezTo>
                  <a:cubicBezTo>
                    <a:pt x="30" y="1"/>
                    <a:pt x="30" y="1"/>
                    <a:pt x="30" y="1"/>
                  </a:cubicBezTo>
                  <a:cubicBezTo>
                    <a:pt x="29" y="0"/>
                    <a:pt x="28" y="0"/>
                    <a:pt x="27" y="0"/>
                  </a:cubicBezTo>
                </a:path>
              </a:pathLst>
            </a:custGeom>
            <a:solidFill>
              <a:srgbClr val="CCCCC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06" name="Freeform 112">
              <a:extLst>
                <a:ext uri="{FF2B5EF4-FFF2-40B4-BE49-F238E27FC236}">
                  <a16:creationId xmlns:a16="http://schemas.microsoft.com/office/drawing/2014/main" id="{54BD6F76-C682-42DC-A4AF-F5B025CB2320}"/>
                </a:ext>
              </a:extLst>
            </p:cNvPr>
            <p:cNvSpPr>
              <a:spLocks/>
            </p:cNvSpPr>
            <p:nvPr/>
          </p:nvSpPr>
          <p:spPr bwMode="auto">
            <a:xfrm>
              <a:off x="7374947" y="1988788"/>
              <a:ext cx="106565" cy="100203"/>
            </a:xfrm>
            <a:custGeom>
              <a:avLst/>
              <a:gdLst>
                <a:gd name="T0" fmla="*/ 18 w 55"/>
                <a:gd name="T1" fmla="*/ 3 h 51"/>
                <a:gd name="T2" fmla="*/ 13 w 55"/>
                <a:gd name="T3" fmla="*/ 9 h 51"/>
                <a:gd name="T4" fmla="*/ 13 w 55"/>
                <a:gd name="T5" fmla="*/ 16 h 51"/>
                <a:gd name="T6" fmla="*/ 13 w 55"/>
                <a:gd name="T7" fmla="*/ 21 h 51"/>
                <a:gd name="T8" fmla="*/ 10 w 55"/>
                <a:gd name="T9" fmla="*/ 21 h 51"/>
                <a:gd name="T10" fmla="*/ 9 w 55"/>
                <a:gd name="T11" fmla="*/ 21 h 51"/>
                <a:gd name="T12" fmla="*/ 7 w 55"/>
                <a:gd name="T13" fmla="*/ 21 h 51"/>
                <a:gd name="T14" fmla="*/ 6 w 55"/>
                <a:gd name="T15" fmla="*/ 23 h 51"/>
                <a:gd name="T16" fmla="*/ 6 w 55"/>
                <a:gd name="T17" fmla="*/ 24 h 51"/>
                <a:gd name="T18" fmla="*/ 7 w 55"/>
                <a:gd name="T19" fmla="*/ 24 h 51"/>
                <a:gd name="T20" fmla="*/ 11 w 55"/>
                <a:gd name="T21" fmla="*/ 26 h 51"/>
                <a:gd name="T22" fmla="*/ 12 w 55"/>
                <a:gd name="T23" fmla="*/ 30 h 51"/>
                <a:gd name="T24" fmla="*/ 6 w 55"/>
                <a:gd name="T25" fmla="*/ 37 h 51"/>
                <a:gd name="T26" fmla="*/ 2 w 55"/>
                <a:gd name="T27" fmla="*/ 39 h 51"/>
                <a:gd name="T28" fmla="*/ 0 w 55"/>
                <a:gd name="T29" fmla="*/ 40 h 51"/>
                <a:gd name="T30" fmla="*/ 1 w 55"/>
                <a:gd name="T31" fmla="*/ 41 h 51"/>
                <a:gd name="T32" fmla="*/ 5 w 55"/>
                <a:gd name="T33" fmla="*/ 43 h 51"/>
                <a:gd name="T34" fmla="*/ 8 w 55"/>
                <a:gd name="T35" fmla="*/ 43 h 51"/>
                <a:gd name="T36" fmla="*/ 8 w 55"/>
                <a:gd name="T37" fmla="*/ 46 h 51"/>
                <a:gd name="T38" fmla="*/ 10 w 55"/>
                <a:gd name="T39" fmla="*/ 47 h 51"/>
                <a:gd name="T40" fmla="*/ 16 w 55"/>
                <a:gd name="T41" fmla="*/ 46 h 51"/>
                <a:gd name="T42" fmla="*/ 22 w 55"/>
                <a:gd name="T43" fmla="*/ 49 h 51"/>
                <a:gd name="T44" fmla="*/ 22 w 55"/>
                <a:gd name="T45" fmla="*/ 49 h 51"/>
                <a:gd name="T46" fmla="*/ 26 w 55"/>
                <a:gd name="T47" fmla="*/ 51 h 51"/>
                <a:gd name="T48" fmla="*/ 30 w 55"/>
                <a:gd name="T49" fmla="*/ 51 h 51"/>
                <a:gd name="T50" fmla="*/ 33 w 55"/>
                <a:gd name="T51" fmla="*/ 50 h 51"/>
                <a:gd name="T52" fmla="*/ 39 w 55"/>
                <a:gd name="T53" fmla="*/ 46 h 51"/>
                <a:gd name="T54" fmla="*/ 41 w 55"/>
                <a:gd name="T55" fmla="*/ 46 h 51"/>
                <a:gd name="T56" fmla="*/ 46 w 55"/>
                <a:gd name="T57" fmla="*/ 46 h 51"/>
                <a:gd name="T58" fmla="*/ 47 w 55"/>
                <a:gd name="T59" fmla="*/ 46 h 51"/>
                <a:gd name="T60" fmla="*/ 47 w 55"/>
                <a:gd name="T61" fmla="*/ 46 h 51"/>
                <a:gd name="T62" fmla="*/ 48 w 55"/>
                <a:gd name="T63" fmla="*/ 43 h 51"/>
                <a:gd name="T64" fmla="*/ 49 w 55"/>
                <a:gd name="T65" fmla="*/ 43 h 51"/>
                <a:gd name="T66" fmla="*/ 53 w 55"/>
                <a:gd name="T67" fmla="*/ 42 h 51"/>
                <a:gd name="T68" fmla="*/ 55 w 55"/>
                <a:gd name="T69" fmla="*/ 41 h 51"/>
                <a:gd name="T70" fmla="*/ 54 w 55"/>
                <a:gd name="T71" fmla="*/ 39 h 51"/>
                <a:gd name="T72" fmla="*/ 54 w 55"/>
                <a:gd name="T73" fmla="*/ 39 h 51"/>
                <a:gd name="T74" fmla="*/ 54 w 55"/>
                <a:gd name="T75" fmla="*/ 39 h 51"/>
                <a:gd name="T76" fmla="*/ 53 w 55"/>
                <a:gd name="T77" fmla="*/ 38 h 51"/>
                <a:gd name="T78" fmla="*/ 43 w 55"/>
                <a:gd name="T79" fmla="*/ 29 h 51"/>
                <a:gd name="T80" fmla="*/ 43 w 55"/>
                <a:gd name="T81" fmla="*/ 27 h 51"/>
                <a:gd name="T82" fmla="*/ 46 w 55"/>
                <a:gd name="T83" fmla="*/ 25 h 51"/>
                <a:gd name="T84" fmla="*/ 49 w 55"/>
                <a:gd name="T85" fmla="*/ 24 h 51"/>
                <a:gd name="T86" fmla="*/ 49 w 55"/>
                <a:gd name="T87" fmla="*/ 23 h 51"/>
                <a:gd name="T88" fmla="*/ 49 w 55"/>
                <a:gd name="T89" fmla="*/ 22 h 51"/>
                <a:gd name="T90" fmla="*/ 48 w 55"/>
                <a:gd name="T91" fmla="*/ 21 h 51"/>
                <a:gd name="T92" fmla="*/ 46 w 55"/>
                <a:gd name="T93" fmla="*/ 21 h 51"/>
                <a:gd name="T94" fmla="*/ 45 w 55"/>
                <a:gd name="T95" fmla="*/ 21 h 51"/>
                <a:gd name="T96" fmla="*/ 42 w 55"/>
                <a:gd name="T97" fmla="*/ 21 h 51"/>
                <a:gd name="T98" fmla="*/ 42 w 55"/>
                <a:gd name="T99" fmla="*/ 21 h 51"/>
                <a:gd name="T100" fmla="*/ 43 w 55"/>
                <a:gd name="T101" fmla="*/ 17 h 51"/>
                <a:gd name="T102" fmla="*/ 42 w 55"/>
                <a:gd name="T103" fmla="*/ 11 h 51"/>
                <a:gd name="T104" fmla="*/ 30 w 55"/>
                <a:gd name="T105" fmla="*/ 0 h 51"/>
                <a:gd name="T106" fmla="*/ 27 w 55"/>
                <a:gd name="T107"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5" h="51">
                  <a:moveTo>
                    <a:pt x="27" y="0"/>
                  </a:moveTo>
                  <a:cubicBezTo>
                    <a:pt x="24" y="0"/>
                    <a:pt x="21" y="1"/>
                    <a:pt x="18" y="3"/>
                  </a:cubicBezTo>
                  <a:cubicBezTo>
                    <a:pt x="16" y="5"/>
                    <a:pt x="14" y="7"/>
                    <a:pt x="13" y="9"/>
                  </a:cubicBezTo>
                  <a:cubicBezTo>
                    <a:pt x="13" y="9"/>
                    <a:pt x="13" y="9"/>
                    <a:pt x="13" y="9"/>
                  </a:cubicBezTo>
                  <a:cubicBezTo>
                    <a:pt x="13" y="11"/>
                    <a:pt x="13" y="14"/>
                    <a:pt x="13" y="16"/>
                  </a:cubicBezTo>
                  <a:cubicBezTo>
                    <a:pt x="13" y="16"/>
                    <a:pt x="13" y="16"/>
                    <a:pt x="13" y="16"/>
                  </a:cubicBezTo>
                  <a:cubicBezTo>
                    <a:pt x="13" y="18"/>
                    <a:pt x="13" y="20"/>
                    <a:pt x="13" y="21"/>
                  </a:cubicBezTo>
                  <a:cubicBezTo>
                    <a:pt x="13" y="21"/>
                    <a:pt x="13" y="21"/>
                    <a:pt x="13" y="21"/>
                  </a:cubicBezTo>
                  <a:cubicBezTo>
                    <a:pt x="12" y="21"/>
                    <a:pt x="11" y="21"/>
                    <a:pt x="10" y="21"/>
                  </a:cubicBezTo>
                  <a:cubicBezTo>
                    <a:pt x="10" y="21"/>
                    <a:pt x="10" y="21"/>
                    <a:pt x="10" y="21"/>
                  </a:cubicBezTo>
                  <a:cubicBezTo>
                    <a:pt x="10" y="21"/>
                    <a:pt x="9" y="21"/>
                    <a:pt x="9" y="21"/>
                  </a:cubicBezTo>
                  <a:cubicBezTo>
                    <a:pt x="9" y="21"/>
                    <a:pt x="9" y="21"/>
                    <a:pt x="9" y="21"/>
                  </a:cubicBezTo>
                  <a:cubicBezTo>
                    <a:pt x="8" y="21"/>
                    <a:pt x="7" y="21"/>
                    <a:pt x="7" y="21"/>
                  </a:cubicBezTo>
                  <a:cubicBezTo>
                    <a:pt x="7" y="21"/>
                    <a:pt x="7" y="21"/>
                    <a:pt x="7" y="21"/>
                  </a:cubicBezTo>
                  <a:cubicBezTo>
                    <a:pt x="7" y="21"/>
                    <a:pt x="7" y="21"/>
                    <a:pt x="7" y="21"/>
                  </a:cubicBezTo>
                  <a:cubicBezTo>
                    <a:pt x="6" y="21"/>
                    <a:pt x="6" y="22"/>
                    <a:pt x="6" y="23"/>
                  </a:cubicBezTo>
                  <a:cubicBezTo>
                    <a:pt x="6" y="23"/>
                    <a:pt x="6" y="23"/>
                    <a:pt x="6" y="23"/>
                  </a:cubicBezTo>
                  <a:cubicBezTo>
                    <a:pt x="6" y="23"/>
                    <a:pt x="6" y="23"/>
                    <a:pt x="6" y="24"/>
                  </a:cubicBezTo>
                  <a:cubicBezTo>
                    <a:pt x="7" y="24"/>
                    <a:pt x="7" y="24"/>
                    <a:pt x="7" y="24"/>
                  </a:cubicBezTo>
                  <a:cubicBezTo>
                    <a:pt x="7" y="24"/>
                    <a:pt x="7" y="24"/>
                    <a:pt x="7" y="24"/>
                  </a:cubicBezTo>
                  <a:cubicBezTo>
                    <a:pt x="8" y="25"/>
                    <a:pt x="10" y="25"/>
                    <a:pt x="11" y="26"/>
                  </a:cubicBezTo>
                  <a:cubicBezTo>
                    <a:pt x="11" y="26"/>
                    <a:pt x="11" y="26"/>
                    <a:pt x="11" y="26"/>
                  </a:cubicBezTo>
                  <a:cubicBezTo>
                    <a:pt x="12" y="26"/>
                    <a:pt x="12" y="27"/>
                    <a:pt x="12" y="27"/>
                  </a:cubicBezTo>
                  <a:cubicBezTo>
                    <a:pt x="13" y="28"/>
                    <a:pt x="12" y="29"/>
                    <a:pt x="12" y="30"/>
                  </a:cubicBezTo>
                  <a:cubicBezTo>
                    <a:pt x="12" y="30"/>
                    <a:pt x="12" y="30"/>
                    <a:pt x="12" y="30"/>
                  </a:cubicBezTo>
                  <a:cubicBezTo>
                    <a:pt x="10" y="33"/>
                    <a:pt x="9" y="35"/>
                    <a:pt x="6" y="37"/>
                  </a:cubicBezTo>
                  <a:cubicBezTo>
                    <a:pt x="5" y="37"/>
                    <a:pt x="4" y="38"/>
                    <a:pt x="2" y="39"/>
                  </a:cubicBezTo>
                  <a:cubicBezTo>
                    <a:pt x="2" y="39"/>
                    <a:pt x="2" y="39"/>
                    <a:pt x="2" y="39"/>
                  </a:cubicBezTo>
                  <a:cubicBezTo>
                    <a:pt x="2" y="39"/>
                    <a:pt x="1" y="39"/>
                    <a:pt x="1" y="39"/>
                  </a:cubicBezTo>
                  <a:cubicBezTo>
                    <a:pt x="0" y="39"/>
                    <a:pt x="0" y="40"/>
                    <a:pt x="0" y="40"/>
                  </a:cubicBezTo>
                  <a:cubicBezTo>
                    <a:pt x="0" y="40"/>
                    <a:pt x="0" y="40"/>
                    <a:pt x="1" y="41"/>
                  </a:cubicBezTo>
                  <a:cubicBezTo>
                    <a:pt x="1" y="41"/>
                    <a:pt x="1" y="41"/>
                    <a:pt x="1" y="41"/>
                  </a:cubicBezTo>
                  <a:cubicBezTo>
                    <a:pt x="1" y="41"/>
                    <a:pt x="1" y="41"/>
                    <a:pt x="1" y="41"/>
                  </a:cubicBezTo>
                  <a:cubicBezTo>
                    <a:pt x="3" y="42"/>
                    <a:pt x="4" y="42"/>
                    <a:pt x="5" y="43"/>
                  </a:cubicBezTo>
                  <a:cubicBezTo>
                    <a:pt x="5" y="43"/>
                    <a:pt x="5" y="43"/>
                    <a:pt x="5" y="43"/>
                  </a:cubicBezTo>
                  <a:cubicBezTo>
                    <a:pt x="6" y="43"/>
                    <a:pt x="7" y="43"/>
                    <a:pt x="8" y="43"/>
                  </a:cubicBezTo>
                  <a:cubicBezTo>
                    <a:pt x="8" y="43"/>
                    <a:pt x="8" y="43"/>
                    <a:pt x="8" y="44"/>
                  </a:cubicBezTo>
                  <a:cubicBezTo>
                    <a:pt x="8" y="44"/>
                    <a:pt x="8" y="45"/>
                    <a:pt x="8" y="46"/>
                  </a:cubicBezTo>
                  <a:cubicBezTo>
                    <a:pt x="8" y="46"/>
                    <a:pt x="9" y="47"/>
                    <a:pt x="9" y="47"/>
                  </a:cubicBezTo>
                  <a:cubicBezTo>
                    <a:pt x="9" y="47"/>
                    <a:pt x="10" y="47"/>
                    <a:pt x="10" y="47"/>
                  </a:cubicBezTo>
                  <a:cubicBezTo>
                    <a:pt x="10" y="47"/>
                    <a:pt x="10" y="47"/>
                    <a:pt x="10" y="47"/>
                  </a:cubicBezTo>
                  <a:cubicBezTo>
                    <a:pt x="12" y="46"/>
                    <a:pt x="14" y="46"/>
                    <a:pt x="16" y="46"/>
                  </a:cubicBezTo>
                  <a:cubicBezTo>
                    <a:pt x="16" y="46"/>
                    <a:pt x="16" y="46"/>
                    <a:pt x="16" y="46"/>
                  </a:cubicBezTo>
                  <a:cubicBezTo>
                    <a:pt x="18" y="47"/>
                    <a:pt x="20" y="48"/>
                    <a:pt x="22" y="49"/>
                  </a:cubicBezTo>
                  <a:cubicBezTo>
                    <a:pt x="22" y="49"/>
                    <a:pt x="22" y="49"/>
                    <a:pt x="22" y="49"/>
                  </a:cubicBezTo>
                  <a:cubicBezTo>
                    <a:pt x="22" y="49"/>
                    <a:pt x="22" y="49"/>
                    <a:pt x="22" y="49"/>
                  </a:cubicBezTo>
                  <a:cubicBezTo>
                    <a:pt x="23" y="50"/>
                    <a:pt x="24" y="51"/>
                    <a:pt x="26" y="51"/>
                  </a:cubicBezTo>
                  <a:cubicBezTo>
                    <a:pt x="26" y="51"/>
                    <a:pt x="26" y="51"/>
                    <a:pt x="26" y="51"/>
                  </a:cubicBezTo>
                  <a:cubicBezTo>
                    <a:pt x="26" y="51"/>
                    <a:pt x="26" y="51"/>
                    <a:pt x="26" y="51"/>
                  </a:cubicBezTo>
                  <a:cubicBezTo>
                    <a:pt x="27" y="51"/>
                    <a:pt x="29" y="51"/>
                    <a:pt x="30" y="51"/>
                  </a:cubicBezTo>
                  <a:cubicBezTo>
                    <a:pt x="30" y="51"/>
                    <a:pt x="30" y="51"/>
                    <a:pt x="30" y="51"/>
                  </a:cubicBezTo>
                  <a:cubicBezTo>
                    <a:pt x="31" y="51"/>
                    <a:pt x="32" y="50"/>
                    <a:pt x="33" y="50"/>
                  </a:cubicBezTo>
                  <a:cubicBezTo>
                    <a:pt x="33" y="50"/>
                    <a:pt x="33" y="50"/>
                    <a:pt x="33" y="50"/>
                  </a:cubicBezTo>
                  <a:cubicBezTo>
                    <a:pt x="35" y="49"/>
                    <a:pt x="37" y="47"/>
                    <a:pt x="39" y="46"/>
                  </a:cubicBezTo>
                  <a:cubicBezTo>
                    <a:pt x="39" y="46"/>
                    <a:pt x="39" y="46"/>
                    <a:pt x="39" y="46"/>
                  </a:cubicBezTo>
                  <a:cubicBezTo>
                    <a:pt x="39" y="46"/>
                    <a:pt x="40" y="46"/>
                    <a:pt x="41" y="46"/>
                  </a:cubicBezTo>
                  <a:cubicBezTo>
                    <a:pt x="41" y="46"/>
                    <a:pt x="41" y="46"/>
                    <a:pt x="41" y="46"/>
                  </a:cubicBezTo>
                  <a:cubicBezTo>
                    <a:pt x="43" y="46"/>
                    <a:pt x="45" y="46"/>
                    <a:pt x="46" y="46"/>
                  </a:cubicBezTo>
                  <a:cubicBezTo>
                    <a:pt x="46" y="46"/>
                    <a:pt x="46" y="46"/>
                    <a:pt x="46" y="46"/>
                  </a:cubicBezTo>
                  <a:cubicBezTo>
                    <a:pt x="47" y="46"/>
                    <a:pt x="47" y="46"/>
                    <a:pt x="47" y="46"/>
                  </a:cubicBezTo>
                  <a:cubicBezTo>
                    <a:pt x="47" y="46"/>
                    <a:pt x="47" y="46"/>
                    <a:pt x="47" y="46"/>
                  </a:cubicBezTo>
                  <a:cubicBezTo>
                    <a:pt x="47" y="46"/>
                    <a:pt x="47" y="46"/>
                    <a:pt x="47" y="46"/>
                  </a:cubicBezTo>
                  <a:cubicBezTo>
                    <a:pt x="47" y="46"/>
                    <a:pt x="47" y="46"/>
                    <a:pt x="47" y="46"/>
                  </a:cubicBezTo>
                  <a:cubicBezTo>
                    <a:pt x="47" y="45"/>
                    <a:pt x="48" y="44"/>
                    <a:pt x="48" y="43"/>
                  </a:cubicBezTo>
                  <a:cubicBezTo>
                    <a:pt x="48" y="43"/>
                    <a:pt x="49" y="43"/>
                    <a:pt x="49" y="43"/>
                  </a:cubicBezTo>
                  <a:cubicBezTo>
                    <a:pt x="49" y="43"/>
                    <a:pt x="49" y="43"/>
                    <a:pt x="49" y="43"/>
                  </a:cubicBezTo>
                  <a:cubicBezTo>
                    <a:pt x="51" y="43"/>
                    <a:pt x="52" y="42"/>
                    <a:pt x="53" y="42"/>
                  </a:cubicBezTo>
                  <a:cubicBezTo>
                    <a:pt x="53" y="42"/>
                    <a:pt x="53" y="42"/>
                    <a:pt x="53" y="42"/>
                  </a:cubicBezTo>
                  <a:cubicBezTo>
                    <a:pt x="54" y="41"/>
                    <a:pt x="54" y="41"/>
                    <a:pt x="55" y="41"/>
                  </a:cubicBezTo>
                  <a:cubicBezTo>
                    <a:pt x="55" y="41"/>
                    <a:pt x="55" y="41"/>
                    <a:pt x="55" y="41"/>
                  </a:cubicBezTo>
                  <a:cubicBezTo>
                    <a:pt x="55" y="41"/>
                    <a:pt x="55" y="41"/>
                    <a:pt x="55" y="41"/>
                  </a:cubicBezTo>
                  <a:cubicBezTo>
                    <a:pt x="55" y="40"/>
                    <a:pt x="55" y="39"/>
                    <a:pt x="54" y="39"/>
                  </a:cubicBezTo>
                  <a:cubicBezTo>
                    <a:pt x="54" y="39"/>
                    <a:pt x="54" y="39"/>
                    <a:pt x="54" y="39"/>
                  </a:cubicBezTo>
                  <a:cubicBezTo>
                    <a:pt x="54" y="39"/>
                    <a:pt x="54" y="39"/>
                    <a:pt x="54" y="39"/>
                  </a:cubicBezTo>
                  <a:cubicBezTo>
                    <a:pt x="54" y="39"/>
                    <a:pt x="54" y="39"/>
                    <a:pt x="54" y="39"/>
                  </a:cubicBezTo>
                  <a:cubicBezTo>
                    <a:pt x="54" y="39"/>
                    <a:pt x="54" y="39"/>
                    <a:pt x="54" y="39"/>
                  </a:cubicBezTo>
                  <a:cubicBezTo>
                    <a:pt x="54" y="39"/>
                    <a:pt x="53" y="38"/>
                    <a:pt x="53" y="38"/>
                  </a:cubicBezTo>
                  <a:cubicBezTo>
                    <a:pt x="53" y="38"/>
                    <a:pt x="53" y="38"/>
                    <a:pt x="53" y="38"/>
                  </a:cubicBezTo>
                  <a:cubicBezTo>
                    <a:pt x="50" y="37"/>
                    <a:pt x="47" y="35"/>
                    <a:pt x="46" y="33"/>
                  </a:cubicBezTo>
                  <a:cubicBezTo>
                    <a:pt x="44" y="32"/>
                    <a:pt x="44" y="30"/>
                    <a:pt x="43" y="29"/>
                  </a:cubicBezTo>
                  <a:cubicBezTo>
                    <a:pt x="43" y="29"/>
                    <a:pt x="43" y="29"/>
                    <a:pt x="43" y="29"/>
                  </a:cubicBezTo>
                  <a:cubicBezTo>
                    <a:pt x="43" y="28"/>
                    <a:pt x="43" y="27"/>
                    <a:pt x="43" y="27"/>
                  </a:cubicBezTo>
                  <a:cubicBezTo>
                    <a:pt x="43" y="27"/>
                    <a:pt x="43" y="27"/>
                    <a:pt x="43" y="27"/>
                  </a:cubicBezTo>
                  <a:cubicBezTo>
                    <a:pt x="44" y="26"/>
                    <a:pt x="45" y="26"/>
                    <a:pt x="46" y="25"/>
                  </a:cubicBezTo>
                  <a:cubicBezTo>
                    <a:pt x="46" y="25"/>
                    <a:pt x="46" y="25"/>
                    <a:pt x="46" y="25"/>
                  </a:cubicBezTo>
                  <a:cubicBezTo>
                    <a:pt x="47" y="25"/>
                    <a:pt x="48" y="25"/>
                    <a:pt x="49" y="24"/>
                  </a:cubicBezTo>
                  <a:cubicBezTo>
                    <a:pt x="49" y="24"/>
                    <a:pt x="49" y="24"/>
                    <a:pt x="49" y="24"/>
                  </a:cubicBezTo>
                  <a:cubicBezTo>
                    <a:pt x="49" y="24"/>
                    <a:pt x="49" y="23"/>
                    <a:pt x="49" y="23"/>
                  </a:cubicBezTo>
                  <a:cubicBezTo>
                    <a:pt x="50" y="23"/>
                    <a:pt x="50" y="22"/>
                    <a:pt x="49" y="22"/>
                  </a:cubicBezTo>
                  <a:cubicBezTo>
                    <a:pt x="49" y="22"/>
                    <a:pt x="49" y="22"/>
                    <a:pt x="49" y="22"/>
                  </a:cubicBezTo>
                  <a:cubicBezTo>
                    <a:pt x="49" y="21"/>
                    <a:pt x="49" y="21"/>
                    <a:pt x="48" y="21"/>
                  </a:cubicBezTo>
                  <a:cubicBezTo>
                    <a:pt x="48" y="21"/>
                    <a:pt x="48" y="21"/>
                    <a:pt x="48" y="21"/>
                  </a:cubicBezTo>
                  <a:cubicBezTo>
                    <a:pt x="48" y="21"/>
                    <a:pt x="47" y="21"/>
                    <a:pt x="46" y="21"/>
                  </a:cubicBezTo>
                  <a:cubicBezTo>
                    <a:pt x="46" y="21"/>
                    <a:pt x="46" y="21"/>
                    <a:pt x="46" y="21"/>
                  </a:cubicBezTo>
                  <a:cubicBezTo>
                    <a:pt x="46" y="21"/>
                    <a:pt x="46" y="21"/>
                    <a:pt x="46" y="21"/>
                  </a:cubicBezTo>
                  <a:cubicBezTo>
                    <a:pt x="46" y="21"/>
                    <a:pt x="45" y="21"/>
                    <a:pt x="45" y="21"/>
                  </a:cubicBezTo>
                  <a:cubicBezTo>
                    <a:pt x="45" y="21"/>
                    <a:pt x="45" y="21"/>
                    <a:pt x="44" y="21"/>
                  </a:cubicBezTo>
                  <a:cubicBezTo>
                    <a:pt x="44" y="21"/>
                    <a:pt x="43" y="21"/>
                    <a:pt x="42" y="21"/>
                  </a:cubicBezTo>
                  <a:cubicBezTo>
                    <a:pt x="42" y="21"/>
                    <a:pt x="42" y="21"/>
                    <a:pt x="42" y="21"/>
                  </a:cubicBezTo>
                  <a:cubicBezTo>
                    <a:pt x="42" y="21"/>
                    <a:pt x="42" y="21"/>
                    <a:pt x="42" y="21"/>
                  </a:cubicBezTo>
                  <a:cubicBezTo>
                    <a:pt x="42" y="20"/>
                    <a:pt x="43" y="18"/>
                    <a:pt x="43" y="17"/>
                  </a:cubicBezTo>
                  <a:cubicBezTo>
                    <a:pt x="43" y="17"/>
                    <a:pt x="43" y="17"/>
                    <a:pt x="43" y="17"/>
                  </a:cubicBezTo>
                  <a:cubicBezTo>
                    <a:pt x="43" y="15"/>
                    <a:pt x="43" y="13"/>
                    <a:pt x="42" y="11"/>
                  </a:cubicBezTo>
                  <a:cubicBezTo>
                    <a:pt x="42" y="11"/>
                    <a:pt x="42" y="11"/>
                    <a:pt x="42" y="11"/>
                  </a:cubicBezTo>
                  <a:cubicBezTo>
                    <a:pt x="42" y="8"/>
                    <a:pt x="40" y="5"/>
                    <a:pt x="37" y="3"/>
                  </a:cubicBezTo>
                  <a:cubicBezTo>
                    <a:pt x="35" y="1"/>
                    <a:pt x="32" y="0"/>
                    <a:pt x="30" y="0"/>
                  </a:cubicBezTo>
                  <a:cubicBezTo>
                    <a:pt x="30" y="0"/>
                    <a:pt x="30" y="0"/>
                    <a:pt x="30" y="0"/>
                  </a:cubicBezTo>
                  <a:cubicBezTo>
                    <a:pt x="29" y="0"/>
                    <a:pt x="28" y="0"/>
                    <a:pt x="27" y="0"/>
                  </a:cubicBezTo>
                </a:path>
              </a:pathLst>
            </a:custGeom>
            <a:solidFill>
              <a:srgbClr val="CCCCC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07" name="Freeform 113">
              <a:extLst>
                <a:ext uri="{FF2B5EF4-FFF2-40B4-BE49-F238E27FC236}">
                  <a16:creationId xmlns:a16="http://schemas.microsoft.com/office/drawing/2014/main" id="{1AA35377-3DDA-4CF2-9DC1-548CBBB22B21}"/>
                </a:ext>
              </a:extLst>
            </p:cNvPr>
            <p:cNvSpPr>
              <a:spLocks/>
            </p:cNvSpPr>
            <p:nvPr/>
          </p:nvSpPr>
          <p:spPr bwMode="auto">
            <a:xfrm>
              <a:off x="6450854" y="4365028"/>
              <a:ext cx="104975" cy="98613"/>
            </a:xfrm>
            <a:custGeom>
              <a:avLst/>
              <a:gdLst>
                <a:gd name="T0" fmla="*/ 17 w 54"/>
                <a:gd name="T1" fmla="*/ 3 h 51"/>
                <a:gd name="T2" fmla="*/ 13 w 54"/>
                <a:gd name="T3" fmla="*/ 9 h 51"/>
                <a:gd name="T4" fmla="*/ 12 w 54"/>
                <a:gd name="T5" fmla="*/ 16 h 51"/>
                <a:gd name="T6" fmla="*/ 12 w 54"/>
                <a:gd name="T7" fmla="*/ 21 h 51"/>
                <a:gd name="T8" fmla="*/ 10 w 54"/>
                <a:gd name="T9" fmla="*/ 21 h 51"/>
                <a:gd name="T10" fmla="*/ 8 w 54"/>
                <a:gd name="T11" fmla="*/ 20 h 51"/>
                <a:gd name="T12" fmla="*/ 6 w 54"/>
                <a:gd name="T13" fmla="*/ 21 h 51"/>
                <a:gd name="T14" fmla="*/ 5 w 54"/>
                <a:gd name="T15" fmla="*/ 22 h 51"/>
                <a:gd name="T16" fmla="*/ 6 w 54"/>
                <a:gd name="T17" fmla="*/ 23 h 51"/>
                <a:gd name="T18" fmla="*/ 6 w 54"/>
                <a:gd name="T19" fmla="*/ 24 h 51"/>
                <a:gd name="T20" fmla="*/ 10 w 54"/>
                <a:gd name="T21" fmla="*/ 25 h 51"/>
                <a:gd name="T22" fmla="*/ 11 w 54"/>
                <a:gd name="T23" fmla="*/ 30 h 51"/>
                <a:gd name="T24" fmla="*/ 6 w 54"/>
                <a:gd name="T25" fmla="*/ 36 h 51"/>
                <a:gd name="T26" fmla="*/ 1 w 54"/>
                <a:gd name="T27" fmla="*/ 38 h 51"/>
                <a:gd name="T28" fmla="*/ 0 w 54"/>
                <a:gd name="T29" fmla="*/ 39 h 51"/>
                <a:gd name="T30" fmla="*/ 1 w 54"/>
                <a:gd name="T31" fmla="*/ 41 h 51"/>
                <a:gd name="T32" fmla="*/ 4 w 54"/>
                <a:gd name="T33" fmla="*/ 42 h 51"/>
                <a:gd name="T34" fmla="*/ 7 w 54"/>
                <a:gd name="T35" fmla="*/ 43 h 51"/>
                <a:gd name="T36" fmla="*/ 8 w 54"/>
                <a:gd name="T37" fmla="*/ 46 h 51"/>
                <a:gd name="T38" fmla="*/ 9 w 54"/>
                <a:gd name="T39" fmla="*/ 46 h 51"/>
                <a:gd name="T40" fmla="*/ 15 w 54"/>
                <a:gd name="T41" fmla="*/ 46 h 51"/>
                <a:gd name="T42" fmla="*/ 21 w 54"/>
                <a:gd name="T43" fmla="*/ 49 h 51"/>
                <a:gd name="T44" fmla="*/ 21 w 54"/>
                <a:gd name="T45" fmla="*/ 49 h 51"/>
                <a:gd name="T46" fmla="*/ 25 w 54"/>
                <a:gd name="T47" fmla="*/ 51 h 51"/>
                <a:gd name="T48" fmla="*/ 29 w 54"/>
                <a:gd name="T49" fmla="*/ 51 h 51"/>
                <a:gd name="T50" fmla="*/ 32 w 54"/>
                <a:gd name="T51" fmla="*/ 50 h 51"/>
                <a:gd name="T52" fmla="*/ 38 w 54"/>
                <a:gd name="T53" fmla="*/ 46 h 51"/>
                <a:gd name="T54" fmla="*/ 41 w 54"/>
                <a:gd name="T55" fmla="*/ 46 h 51"/>
                <a:gd name="T56" fmla="*/ 45 w 54"/>
                <a:gd name="T57" fmla="*/ 46 h 51"/>
                <a:gd name="T58" fmla="*/ 46 w 54"/>
                <a:gd name="T59" fmla="*/ 46 h 51"/>
                <a:gd name="T60" fmla="*/ 46 w 54"/>
                <a:gd name="T61" fmla="*/ 45 h 51"/>
                <a:gd name="T62" fmla="*/ 47 w 54"/>
                <a:gd name="T63" fmla="*/ 43 h 51"/>
                <a:gd name="T64" fmla="*/ 49 w 54"/>
                <a:gd name="T65" fmla="*/ 42 h 51"/>
                <a:gd name="T66" fmla="*/ 53 w 54"/>
                <a:gd name="T67" fmla="*/ 41 h 51"/>
                <a:gd name="T68" fmla="*/ 54 w 54"/>
                <a:gd name="T69" fmla="*/ 40 h 51"/>
                <a:gd name="T70" fmla="*/ 54 w 54"/>
                <a:gd name="T71" fmla="*/ 39 h 51"/>
                <a:gd name="T72" fmla="*/ 54 w 54"/>
                <a:gd name="T73" fmla="*/ 39 h 51"/>
                <a:gd name="T74" fmla="*/ 54 w 54"/>
                <a:gd name="T75" fmla="*/ 39 h 51"/>
                <a:gd name="T76" fmla="*/ 52 w 54"/>
                <a:gd name="T77" fmla="*/ 38 h 51"/>
                <a:gd name="T78" fmla="*/ 42 w 54"/>
                <a:gd name="T79" fmla="*/ 29 h 51"/>
                <a:gd name="T80" fmla="*/ 42 w 54"/>
                <a:gd name="T81" fmla="*/ 27 h 51"/>
                <a:gd name="T82" fmla="*/ 45 w 54"/>
                <a:gd name="T83" fmla="*/ 25 h 51"/>
                <a:gd name="T84" fmla="*/ 48 w 54"/>
                <a:gd name="T85" fmla="*/ 23 h 51"/>
                <a:gd name="T86" fmla="*/ 49 w 54"/>
                <a:gd name="T87" fmla="*/ 23 h 51"/>
                <a:gd name="T88" fmla="*/ 49 w 54"/>
                <a:gd name="T89" fmla="*/ 22 h 51"/>
                <a:gd name="T90" fmla="*/ 48 w 54"/>
                <a:gd name="T91" fmla="*/ 21 h 51"/>
                <a:gd name="T92" fmla="*/ 46 w 54"/>
                <a:gd name="T93" fmla="*/ 20 h 51"/>
                <a:gd name="T94" fmla="*/ 44 w 54"/>
                <a:gd name="T95" fmla="*/ 21 h 51"/>
                <a:gd name="T96" fmla="*/ 42 w 54"/>
                <a:gd name="T97" fmla="*/ 21 h 51"/>
                <a:gd name="T98" fmla="*/ 42 w 54"/>
                <a:gd name="T99" fmla="*/ 20 h 51"/>
                <a:gd name="T100" fmla="*/ 42 w 54"/>
                <a:gd name="T101" fmla="*/ 17 h 51"/>
                <a:gd name="T102" fmla="*/ 42 w 54"/>
                <a:gd name="T103" fmla="*/ 11 h 51"/>
                <a:gd name="T104" fmla="*/ 29 w 54"/>
                <a:gd name="T105" fmla="*/ 0 h 51"/>
                <a:gd name="T106" fmla="*/ 27 w 54"/>
                <a:gd name="T107"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4" h="51">
                  <a:moveTo>
                    <a:pt x="27" y="0"/>
                  </a:moveTo>
                  <a:cubicBezTo>
                    <a:pt x="23" y="0"/>
                    <a:pt x="20" y="1"/>
                    <a:pt x="17" y="3"/>
                  </a:cubicBezTo>
                  <a:cubicBezTo>
                    <a:pt x="15" y="4"/>
                    <a:pt x="14" y="6"/>
                    <a:pt x="13" y="9"/>
                  </a:cubicBezTo>
                  <a:cubicBezTo>
                    <a:pt x="13" y="9"/>
                    <a:pt x="13" y="9"/>
                    <a:pt x="13" y="9"/>
                  </a:cubicBezTo>
                  <a:cubicBezTo>
                    <a:pt x="12" y="11"/>
                    <a:pt x="12" y="14"/>
                    <a:pt x="12" y="16"/>
                  </a:cubicBezTo>
                  <a:cubicBezTo>
                    <a:pt x="12" y="16"/>
                    <a:pt x="12" y="16"/>
                    <a:pt x="12" y="16"/>
                  </a:cubicBezTo>
                  <a:cubicBezTo>
                    <a:pt x="12" y="18"/>
                    <a:pt x="12" y="19"/>
                    <a:pt x="12" y="21"/>
                  </a:cubicBezTo>
                  <a:cubicBezTo>
                    <a:pt x="12" y="21"/>
                    <a:pt x="12" y="21"/>
                    <a:pt x="12" y="21"/>
                  </a:cubicBezTo>
                  <a:cubicBezTo>
                    <a:pt x="11" y="21"/>
                    <a:pt x="11" y="21"/>
                    <a:pt x="10" y="21"/>
                  </a:cubicBezTo>
                  <a:cubicBezTo>
                    <a:pt x="10" y="21"/>
                    <a:pt x="10" y="21"/>
                    <a:pt x="10" y="21"/>
                  </a:cubicBezTo>
                  <a:cubicBezTo>
                    <a:pt x="9" y="21"/>
                    <a:pt x="9" y="21"/>
                    <a:pt x="8" y="20"/>
                  </a:cubicBezTo>
                  <a:cubicBezTo>
                    <a:pt x="8" y="20"/>
                    <a:pt x="8" y="20"/>
                    <a:pt x="8" y="20"/>
                  </a:cubicBezTo>
                  <a:cubicBezTo>
                    <a:pt x="7" y="20"/>
                    <a:pt x="7" y="20"/>
                    <a:pt x="6" y="21"/>
                  </a:cubicBezTo>
                  <a:cubicBezTo>
                    <a:pt x="6" y="21"/>
                    <a:pt x="6" y="21"/>
                    <a:pt x="6" y="21"/>
                  </a:cubicBezTo>
                  <a:cubicBezTo>
                    <a:pt x="6" y="21"/>
                    <a:pt x="6" y="21"/>
                    <a:pt x="6" y="21"/>
                  </a:cubicBezTo>
                  <a:cubicBezTo>
                    <a:pt x="6" y="21"/>
                    <a:pt x="5" y="21"/>
                    <a:pt x="5" y="22"/>
                  </a:cubicBezTo>
                  <a:cubicBezTo>
                    <a:pt x="5" y="22"/>
                    <a:pt x="5" y="22"/>
                    <a:pt x="5" y="22"/>
                  </a:cubicBezTo>
                  <a:cubicBezTo>
                    <a:pt x="5" y="23"/>
                    <a:pt x="6" y="23"/>
                    <a:pt x="6" y="23"/>
                  </a:cubicBezTo>
                  <a:cubicBezTo>
                    <a:pt x="6" y="24"/>
                    <a:pt x="6" y="24"/>
                    <a:pt x="6" y="24"/>
                  </a:cubicBezTo>
                  <a:cubicBezTo>
                    <a:pt x="6" y="24"/>
                    <a:pt x="6" y="24"/>
                    <a:pt x="6" y="24"/>
                  </a:cubicBezTo>
                  <a:cubicBezTo>
                    <a:pt x="8" y="25"/>
                    <a:pt x="9" y="25"/>
                    <a:pt x="10" y="25"/>
                  </a:cubicBezTo>
                  <a:cubicBezTo>
                    <a:pt x="10" y="25"/>
                    <a:pt x="10" y="25"/>
                    <a:pt x="10" y="25"/>
                  </a:cubicBezTo>
                  <a:cubicBezTo>
                    <a:pt x="11" y="26"/>
                    <a:pt x="12" y="26"/>
                    <a:pt x="12" y="27"/>
                  </a:cubicBezTo>
                  <a:cubicBezTo>
                    <a:pt x="12" y="28"/>
                    <a:pt x="12" y="29"/>
                    <a:pt x="11" y="30"/>
                  </a:cubicBezTo>
                  <a:cubicBezTo>
                    <a:pt x="11" y="30"/>
                    <a:pt x="11" y="30"/>
                    <a:pt x="11" y="30"/>
                  </a:cubicBezTo>
                  <a:cubicBezTo>
                    <a:pt x="10" y="32"/>
                    <a:pt x="8" y="35"/>
                    <a:pt x="6" y="36"/>
                  </a:cubicBezTo>
                  <a:cubicBezTo>
                    <a:pt x="4" y="37"/>
                    <a:pt x="3" y="38"/>
                    <a:pt x="1" y="38"/>
                  </a:cubicBezTo>
                  <a:cubicBezTo>
                    <a:pt x="1" y="38"/>
                    <a:pt x="1" y="38"/>
                    <a:pt x="1" y="38"/>
                  </a:cubicBezTo>
                  <a:cubicBezTo>
                    <a:pt x="1" y="38"/>
                    <a:pt x="0" y="38"/>
                    <a:pt x="0" y="39"/>
                  </a:cubicBezTo>
                  <a:cubicBezTo>
                    <a:pt x="0" y="39"/>
                    <a:pt x="0" y="39"/>
                    <a:pt x="0" y="39"/>
                  </a:cubicBezTo>
                  <a:cubicBezTo>
                    <a:pt x="0" y="40"/>
                    <a:pt x="0" y="40"/>
                    <a:pt x="0" y="40"/>
                  </a:cubicBezTo>
                  <a:cubicBezTo>
                    <a:pt x="0" y="41"/>
                    <a:pt x="0" y="41"/>
                    <a:pt x="1" y="41"/>
                  </a:cubicBezTo>
                  <a:cubicBezTo>
                    <a:pt x="1" y="41"/>
                    <a:pt x="1" y="41"/>
                    <a:pt x="1" y="41"/>
                  </a:cubicBezTo>
                  <a:cubicBezTo>
                    <a:pt x="2" y="42"/>
                    <a:pt x="3" y="42"/>
                    <a:pt x="4" y="42"/>
                  </a:cubicBezTo>
                  <a:cubicBezTo>
                    <a:pt x="5" y="42"/>
                    <a:pt x="5" y="42"/>
                    <a:pt x="5" y="42"/>
                  </a:cubicBezTo>
                  <a:cubicBezTo>
                    <a:pt x="5" y="42"/>
                    <a:pt x="6" y="43"/>
                    <a:pt x="7" y="43"/>
                  </a:cubicBezTo>
                  <a:cubicBezTo>
                    <a:pt x="7" y="43"/>
                    <a:pt x="7" y="43"/>
                    <a:pt x="7" y="43"/>
                  </a:cubicBezTo>
                  <a:cubicBezTo>
                    <a:pt x="7" y="44"/>
                    <a:pt x="7" y="45"/>
                    <a:pt x="8" y="46"/>
                  </a:cubicBezTo>
                  <a:cubicBezTo>
                    <a:pt x="8" y="46"/>
                    <a:pt x="8" y="46"/>
                    <a:pt x="8" y="46"/>
                  </a:cubicBezTo>
                  <a:cubicBezTo>
                    <a:pt x="9" y="46"/>
                    <a:pt x="9" y="46"/>
                    <a:pt x="9" y="46"/>
                  </a:cubicBezTo>
                  <a:cubicBezTo>
                    <a:pt x="9" y="46"/>
                    <a:pt x="9" y="46"/>
                    <a:pt x="9" y="46"/>
                  </a:cubicBezTo>
                  <a:cubicBezTo>
                    <a:pt x="11" y="46"/>
                    <a:pt x="13" y="45"/>
                    <a:pt x="15" y="46"/>
                  </a:cubicBezTo>
                  <a:cubicBezTo>
                    <a:pt x="15" y="46"/>
                    <a:pt x="15" y="46"/>
                    <a:pt x="15" y="46"/>
                  </a:cubicBezTo>
                  <a:cubicBezTo>
                    <a:pt x="17" y="46"/>
                    <a:pt x="19" y="48"/>
                    <a:pt x="21" y="49"/>
                  </a:cubicBezTo>
                  <a:cubicBezTo>
                    <a:pt x="21" y="49"/>
                    <a:pt x="21" y="49"/>
                    <a:pt x="21" y="49"/>
                  </a:cubicBezTo>
                  <a:cubicBezTo>
                    <a:pt x="21" y="49"/>
                    <a:pt x="21" y="49"/>
                    <a:pt x="21" y="49"/>
                  </a:cubicBezTo>
                  <a:cubicBezTo>
                    <a:pt x="22" y="50"/>
                    <a:pt x="24" y="51"/>
                    <a:pt x="25" y="51"/>
                  </a:cubicBezTo>
                  <a:cubicBezTo>
                    <a:pt x="25" y="51"/>
                    <a:pt x="25" y="51"/>
                    <a:pt x="25" y="51"/>
                  </a:cubicBezTo>
                  <a:cubicBezTo>
                    <a:pt x="25" y="51"/>
                    <a:pt x="25" y="51"/>
                    <a:pt x="25" y="51"/>
                  </a:cubicBezTo>
                  <a:cubicBezTo>
                    <a:pt x="27" y="51"/>
                    <a:pt x="28" y="51"/>
                    <a:pt x="29" y="51"/>
                  </a:cubicBezTo>
                  <a:cubicBezTo>
                    <a:pt x="29" y="51"/>
                    <a:pt x="29" y="51"/>
                    <a:pt x="29" y="51"/>
                  </a:cubicBezTo>
                  <a:cubicBezTo>
                    <a:pt x="30" y="50"/>
                    <a:pt x="31" y="50"/>
                    <a:pt x="32" y="50"/>
                  </a:cubicBezTo>
                  <a:cubicBezTo>
                    <a:pt x="32" y="50"/>
                    <a:pt x="32" y="50"/>
                    <a:pt x="32" y="50"/>
                  </a:cubicBezTo>
                  <a:cubicBezTo>
                    <a:pt x="34" y="48"/>
                    <a:pt x="36" y="47"/>
                    <a:pt x="38" y="46"/>
                  </a:cubicBezTo>
                  <a:cubicBezTo>
                    <a:pt x="38" y="46"/>
                    <a:pt x="38" y="46"/>
                    <a:pt x="38" y="46"/>
                  </a:cubicBezTo>
                  <a:cubicBezTo>
                    <a:pt x="39" y="46"/>
                    <a:pt x="40" y="46"/>
                    <a:pt x="41" y="46"/>
                  </a:cubicBezTo>
                  <a:cubicBezTo>
                    <a:pt x="41" y="46"/>
                    <a:pt x="41" y="46"/>
                    <a:pt x="41" y="46"/>
                  </a:cubicBezTo>
                  <a:cubicBezTo>
                    <a:pt x="42" y="46"/>
                    <a:pt x="44" y="46"/>
                    <a:pt x="45" y="46"/>
                  </a:cubicBezTo>
                  <a:cubicBezTo>
                    <a:pt x="46" y="46"/>
                    <a:pt x="46" y="46"/>
                    <a:pt x="46" y="46"/>
                  </a:cubicBezTo>
                  <a:cubicBezTo>
                    <a:pt x="46" y="46"/>
                    <a:pt x="46" y="46"/>
                    <a:pt x="46" y="46"/>
                  </a:cubicBezTo>
                  <a:cubicBezTo>
                    <a:pt x="46" y="46"/>
                    <a:pt x="46" y="46"/>
                    <a:pt x="46" y="45"/>
                  </a:cubicBezTo>
                  <a:cubicBezTo>
                    <a:pt x="46" y="45"/>
                    <a:pt x="46" y="45"/>
                    <a:pt x="46" y="45"/>
                  </a:cubicBezTo>
                  <a:cubicBezTo>
                    <a:pt x="46" y="45"/>
                    <a:pt x="46" y="45"/>
                    <a:pt x="46" y="45"/>
                  </a:cubicBezTo>
                  <a:cubicBezTo>
                    <a:pt x="47" y="44"/>
                    <a:pt x="47" y="43"/>
                    <a:pt x="47" y="43"/>
                  </a:cubicBezTo>
                  <a:cubicBezTo>
                    <a:pt x="48" y="43"/>
                    <a:pt x="48" y="42"/>
                    <a:pt x="48" y="42"/>
                  </a:cubicBezTo>
                  <a:cubicBezTo>
                    <a:pt x="48" y="42"/>
                    <a:pt x="49" y="42"/>
                    <a:pt x="49" y="42"/>
                  </a:cubicBezTo>
                  <a:cubicBezTo>
                    <a:pt x="50" y="42"/>
                    <a:pt x="51" y="42"/>
                    <a:pt x="52" y="41"/>
                  </a:cubicBezTo>
                  <a:cubicBezTo>
                    <a:pt x="52" y="41"/>
                    <a:pt x="52" y="41"/>
                    <a:pt x="53" y="41"/>
                  </a:cubicBezTo>
                  <a:cubicBezTo>
                    <a:pt x="53" y="41"/>
                    <a:pt x="54" y="41"/>
                    <a:pt x="54" y="40"/>
                  </a:cubicBezTo>
                  <a:cubicBezTo>
                    <a:pt x="54" y="40"/>
                    <a:pt x="54" y="40"/>
                    <a:pt x="54" y="40"/>
                  </a:cubicBezTo>
                  <a:cubicBezTo>
                    <a:pt x="54" y="40"/>
                    <a:pt x="54" y="40"/>
                    <a:pt x="54" y="40"/>
                  </a:cubicBezTo>
                  <a:cubicBezTo>
                    <a:pt x="54" y="40"/>
                    <a:pt x="54" y="39"/>
                    <a:pt x="54" y="39"/>
                  </a:cubicBezTo>
                  <a:cubicBezTo>
                    <a:pt x="54" y="39"/>
                    <a:pt x="54" y="39"/>
                    <a:pt x="54" y="39"/>
                  </a:cubicBezTo>
                  <a:cubicBezTo>
                    <a:pt x="54" y="39"/>
                    <a:pt x="54" y="39"/>
                    <a:pt x="54" y="39"/>
                  </a:cubicBezTo>
                  <a:cubicBezTo>
                    <a:pt x="54" y="39"/>
                    <a:pt x="54" y="39"/>
                    <a:pt x="54" y="39"/>
                  </a:cubicBezTo>
                  <a:cubicBezTo>
                    <a:pt x="54" y="39"/>
                    <a:pt x="54" y="39"/>
                    <a:pt x="54" y="39"/>
                  </a:cubicBezTo>
                  <a:cubicBezTo>
                    <a:pt x="53" y="38"/>
                    <a:pt x="52" y="38"/>
                    <a:pt x="52" y="38"/>
                  </a:cubicBezTo>
                  <a:cubicBezTo>
                    <a:pt x="52" y="38"/>
                    <a:pt x="52" y="38"/>
                    <a:pt x="52" y="38"/>
                  </a:cubicBezTo>
                  <a:cubicBezTo>
                    <a:pt x="49" y="37"/>
                    <a:pt x="47" y="35"/>
                    <a:pt x="45" y="33"/>
                  </a:cubicBezTo>
                  <a:cubicBezTo>
                    <a:pt x="44" y="31"/>
                    <a:pt x="43" y="30"/>
                    <a:pt x="42" y="29"/>
                  </a:cubicBezTo>
                  <a:cubicBezTo>
                    <a:pt x="42" y="29"/>
                    <a:pt x="42" y="29"/>
                    <a:pt x="42" y="28"/>
                  </a:cubicBezTo>
                  <a:cubicBezTo>
                    <a:pt x="42" y="28"/>
                    <a:pt x="42" y="27"/>
                    <a:pt x="42" y="27"/>
                  </a:cubicBezTo>
                  <a:cubicBezTo>
                    <a:pt x="42" y="27"/>
                    <a:pt x="42" y="27"/>
                    <a:pt x="42" y="27"/>
                  </a:cubicBezTo>
                  <a:cubicBezTo>
                    <a:pt x="43" y="26"/>
                    <a:pt x="44" y="25"/>
                    <a:pt x="45" y="25"/>
                  </a:cubicBezTo>
                  <a:cubicBezTo>
                    <a:pt x="45" y="25"/>
                    <a:pt x="45" y="25"/>
                    <a:pt x="45" y="25"/>
                  </a:cubicBezTo>
                  <a:cubicBezTo>
                    <a:pt x="46" y="25"/>
                    <a:pt x="47" y="24"/>
                    <a:pt x="48" y="23"/>
                  </a:cubicBezTo>
                  <a:cubicBezTo>
                    <a:pt x="48" y="23"/>
                    <a:pt x="48" y="23"/>
                    <a:pt x="48" y="23"/>
                  </a:cubicBezTo>
                  <a:cubicBezTo>
                    <a:pt x="48" y="23"/>
                    <a:pt x="49" y="23"/>
                    <a:pt x="49" y="23"/>
                  </a:cubicBezTo>
                  <a:cubicBezTo>
                    <a:pt x="49" y="22"/>
                    <a:pt x="49" y="22"/>
                    <a:pt x="49" y="22"/>
                  </a:cubicBezTo>
                  <a:cubicBezTo>
                    <a:pt x="49" y="22"/>
                    <a:pt x="49" y="22"/>
                    <a:pt x="49" y="22"/>
                  </a:cubicBezTo>
                  <a:cubicBezTo>
                    <a:pt x="48" y="21"/>
                    <a:pt x="48" y="21"/>
                    <a:pt x="48" y="21"/>
                  </a:cubicBezTo>
                  <a:cubicBezTo>
                    <a:pt x="48" y="21"/>
                    <a:pt x="48" y="21"/>
                    <a:pt x="48" y="21"/>
                  </a:cubicBezTo>
                  <a:cubicBezTo>
                    <a:pt x="47" y="20"/>
                    <a:pt x="46" y="20"/>
                    <a:pt x="46" y="20"/>
                  </a:cubicBezTo>
                  <a:cubicBezTo>
                    <a:pt x="46" y="20"/>
                    <a:pt x="46" y="20"/>
                    <a:pt x="46" y="20"/>
                  </a:cubicBezTo>
                  <a:cubicBezTo>
                    <a:pt x="46" y="20"/>
                    <a:pt x="46" y="20"/>
                    <a:pt x="46" y="20"/>
                  </a:cubicBezTo>
                  <a:cubicBezTo>
                    <a:pt x="45" y="21"/>
                    <a:pt x="44" y="21"/>
                    <a:pt x="44" y="21"/>
                  </a:cubicBezTo>
                  <a:cubicBezTo>
                    <a:pt x="44" y="21"/>
                    <a:pt x="44" y="21"/>
                    <a:pt x="44" y="21"/>
                  </a:cubicBezTo>
                  <a:cubicBezTo>
                    <a:pt x="43" y="21"/>
                    <a:pt x="42" y="21"/>
                    <a:pt x="42" y="21"/>
                  </a:cubicBezTo>
                  <a:cubicBezTo>
                    <a:pt x="42" y="21"/>
                    <a:pt x="42" y="21"/>
                    <a:pt x="42" y="20"/>
                  </a:cubicBezTo>
                  <a:cubicBezTo>
                    <a:pt x="42" y="20"/>
                    <a:pt x="42" y="20"/>
                    <a:pt x="42" y="20"/>
                  </a:cubicBezTo>
                  <a:cubicBezTo>
                    <a:pt x="42" y="19"/>
                    <a:pt x="42" y="18"/>
                    <a:pt x="42" y="17"/>
                  </a:cubicBezTo>
                  <a:cubicBezTo>
                    <a:pt x="42" y="17"/>
                    <a:pt x="42" y="17"/>
                    <a:pt x="42" y="17"/>
                  </a:cubicBezTo>
                  <a:cubicBezTo>
                    <a:pt x="42" y="15"/>
                    <a:pt x="42" y="13"/>
                    <a:pt x="42" y="11"/>
                  </a:cubicBezTo>
                  <a:cubicBezTo>
                    <a:pt x="42" y="11"/>
                    <a:pt x="42" y="11"/>
                    <a:pt x="42" y="11"/>
                  </a:cubicBezTo>
                  <a:cubicBezTo>
                    <a:pt x="41" y="7"/>
                    <a:pt x="39" y="4"/>
                    <a:pt x="36" y="2"/>
                  </a:cubicBezTo>
                  <a:cubicBezTo>
                    <a:pt x="34" y="1"/>
                    <a:pt x="32" y="0"/>
                    <a:pt x="29" y="0"/>
                  </a:cubicBezTo>
                  <a:cubicBezTo>
                    <a:pt x="29" y="0"/>
                    <a:pt x="29" y="0"/>
                    <a:pt x="29" y="0"/>
                  </a:cubicBezTo>
                  <a:cubicBezTo>
                    <a:pt x="28" y="0"/>
                    <a:pt x="28" y="0"/>
                    <a:pt x="27" y="0"/>
                  </a:cubicBezTo>
                </a:path>
              </a:pathLst>
            </a:custGeom>
            <a:solidFill>
              <a:srgbClr val="CCCCC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08" name="Freeform 114">
              <a:extLst>
                <a:ext uri="{FF2B5EF4-FFF2-40B4-BE49-F238E27FC236}">
                  <a16:creationId xmlns:a16="http://schemas.microsoft.com/office/drawing/2014/main" id="{B19B7A42-D113-48F5-83AA-A070F14012D9}"/>
                </a:ext>
              </a:extLst>
            </p:cNvPr>
            <p:cNvSpPr>
              <a:spLocks/>
            </p:cNvSpPr>
            <p:nvPr/>
          </p:nvSpPr>
          <p:spPr bwMode="auto">
            <a:xfrm>
              <a:off x="4666287" y="4784926"/>
              <a:ext cx="106565" cy="100203"/>
            </a:xfrm>
            <a:custGeom>
              <a:avLst/>
              <a:gdLst>
                <a:gd name="T0" fmla="*/ 18 w 55"/>
                <a:gd name="T1" fmla="*/ 3 h 51"/>
                <a:gd name="T2" fmla="*/ 13 w 55"/>
                <a:gd name="T3" fmla="*/ 9 h 51"/>
                <a:gd name="T4" fmla="*/ 12 w 55"/>
                <a:gd name="T5" fmla="*/ 16 h 51"/>
                <a:gd name="T6" fmla="*/ 12 w 55"/>
                <a:gd name="T7" fmla="*/ 21 h 51"/>
                <a:gd name="T8" fmla="*/ 10 w 55"/>
                <a:gd name="T9" fmla="*/ 21 h 51"/>
                <a:gd name="T10" fmla="*/ 8 w 55"/>
                <a:gd name="T11" fmla="*/ 20 h 51"/>
                <a:gd name="T12" fmla="*/ 6 w 55"/>
                <a:gd name="T13" fmla="*/ 21 h 51"/>
                <a:gd name="T14" fmla="*/ 5 w 55"/>
                <a:gd name="T15" fmla="*/ 22 h 51"/>
                <a:gd name="T16" fmla="*/ 6 w 55"/>
                <a:gd name="T17" fmla="*/ 23 h 51"/>
                <a:gd name="T18" fmla="*/ 7 w 55"/>
                <a:gd name="T19" fmla="*/ 24 h 51"/>
                <a:gd name="T20" fmla="*/ 10 w 55"/>
                <a:gd name="T21" fmla="*/ 25 h 51"/>
                <a:gd name="T22" fmla="*/ 11 w 55"/>
                <a:gd name="T23" fmla="*/ 30 h 51"/>
                <a:gd name="T24" fmla="*/ 6 w 55"/>
                <a:gd name="T25" fmla="*/ 36 h 51"/>
                <a:gd name="T26" fmla="*/ 2 w 55"/>
                <a:gd name="T27" fmla="*/ 38 h 51"/>
                <a:gd name="T28" fmla="*/ 0 w 55"/>
                <a:gd name="T29" fmla="*/ 39 h 51"/>
                <a:gd name="T30" fmla="*/ 1 w 55"/>
                <a:gd name="T31" fmla="*/ 41 h 51"/>
                <a:gd name="T32" fmla="*/ 5 w 55"/>
                <a:gd name="T33" fmla="*/ 42 h 51"/>
                <a:gd name="T34" fmla="*/ 7 w 55"/>
                <a:gd name="T35" fmla="*/ 43 h 51"/>
                <a:gd name="T36" fmla="*/ 8 w 55"/>
                <a:gd name="T37" fmla="*/ 46 h 51"/>
                <a:gd name="T38" fmla="*/ 9 w 55"/>
                <a:gd name="T39" fmla="*/ 46 h 51"/>
                <a:gd name="T40" fmla="*/ 16 w 55"/>
                <a:gd name="T41" fmla="*/ 46 h 51"/>
                <a:gd name="T42" fmla="*/ 21 w 55"/>
                <a:gd name="T43" fmla="*/ 49 h 51"/>
                <a:gd name="T44" fmla="*/ 21 w 55"/>
                <a:gd name="T45" fmla="*/ 49 h 51"/>
                <a:gd name="T46" fmla="*/ 26 w 55"/>
                <a:gd name="T47" fmla="*/ 51 h 51"/>
                <a:gd name="T48" fmla="*/ 30 w 55"/>
                <a:gd name="T49" fmla="*/ 51 h 51"/>
                <a:gd name="T50" fmla="*/ 33 w 55"/>
                <a:gd name="T51" fmla="*/ 50 h 51"/>
                <a:gd name="T52" fmla="*/ 39 w 55"/>
                <a:gd name="T53" fmla="*/ 46 h 51"/>
                <a:gd name="T54" fmla="*/ 41 w 55"/>
                <a:gd name="T55" fmla="*/ 46 h 51"/>
                <a:gd name="T56" fmla="*/ 46 w 55"/>
                <a:gd name="T57" fmla="*/ 46 h 51"/>
                <a:gd name="T58" fmla="*/ 47 w 55"/>
                <a:gd name="T59" fmla="*/ 46 h 51"/>
                <a:gd name="T60" fmla="*/ 47 w 55"/>
                <a:gd name="T61" fmla="*/ 45 h 51"/>
                <a:gd name="T62" fmla="*/ 48 w 55"/>
                <a:gd name="T63" fmla="*/ 43 h 51"/>
                <a:gd name="T64" fmla="*/ 49 w 55"/>
                <a:gd name="T65" fmla="*/ 42 h 51"/>
                <a:gd name="T66" fmla="*/ 53 w 55"/>
                <a:gd name="T67" fmla="*/ 41 h 51"/>
                <a:gd name="T68" fmla="*/ 54 w 55"/>
                <a:gd name="T69" fmla="*/ 40 h 51"/>
                <a:gd name="T70" fmla="*/ 54 w 55"/>
                <a:gd name="T71" fmla="*/ 39 h 51"/>
                <a:gd name="T72" fmla="*/ 54 w 55"/>
                <a:gd name="T73" fmla="*/ 39 h 51"/>
                <a:gd name="T74" fmla="*/ 54 w 55"/>
                <a:gd name="T75" fmla="*/ 39 h 51"/>
                <a:gd name="T76" fmla="*/ 52 w 55"/>
                <a:gd name="T77" fmla="*/ 38 h 51"/>
                <a:gd name="T78" fmla="*/ 43 w 55"/>
                <a:gd name="T79" fmla="*/ 29 h 51"/>
                <a:gd name="T80" fmla="*/ 43 w 55"/>
                <a:gd name="T81" fmla="*/ 27 h 51"/>
                <a:gd name="T82" fmla="*/ 45 w 55"/>
                <a:gd name="T83" fmla="*/ 25 h 51"/>
                <a:gd name="T84" fmla="*/ 49 w 55"/>
                <a:gd name="T85" fmla="*/ 23 h 51"/>
                <a:gd name="T86" fmla="*/ 49 w 55"/>
                <a:gd name="T87" fmla="*/ 23 h 51"/>
                <a:gd name="T88" fmla="*/ 49 w 55"/>
                <a:gd name="T89" fmla="*/ 22 h 51"/>
                <a:gd name="T90" fmla="*/ 48 w 55"/>
                <a:gd name="T91" fmla="*/ 21 h 51"/>
                <a:gd name="T92" fmla="*/ 46 w 55"/>
                <a:gd name="T93" fmla="*/ 20 h 51"/>
                <a:gd name="T94" fmla="*/ 44 w 55"/>
                <a:gd name="T95" fmla="*/ 21 h 51"/>
                <a:gd name="T96" fmla="*/ 42 w 55"/>
                <a:gd name="T97" fmla="*/ 21 h 51"/>
                <a:gd name="T98" fmla="*/ 42 w 55"/>
                <a:gd name="T99" fmla="*/ 20 h 51"/>
                <a:gd name="T100" fmla="*/ 42 w 55"/>
                <a:gd name="T101" fmla="*/ 17 h 51"/>
                <a:gd name="T102" fmla="*/ 42 w 55"/>
                <a:gd name="T103" fmla="*/ 11 h 51"/>
                <a:gd name="T104" fmla="*/ 30 w 55"/>
                <a:gd name="T105" fmla="*/ 0 h 51"/>
                <a:gd name="T106" fmla="*/ 27 w 55"/>
                <a:gd name="T107"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5" h="51">
                  <a:moveTo>
                    <a:pt x="27" y="0"/>
                  </a:moveTo>
                  <a:cubicBezTo>
                    <a:pt x="24" y="0"/>
                    <a:pt x="20" y="1"/>
                    <a:pt x="18" y="3"/>
                  </a:cubicBezTo>
                  <a:cubicBezTo>
                    <a:pt x="16" y="4"/>
                    <a:pt x="14" y="6"/>
                    <a:pt x="13" y="9"/>
                  </a:cubicBezTo>
                  <a:cubicBezTo>
                    <a:pt x="13" y="9"/>
                    <a:pt x="13" y="9"/>
                    <a:pt x="13" y="9"/>
                  </a:cubicBezTo>
                  <a:cubicBezTo>
                    <a:pt x="12" y="11"/>
                    <a:pt x="12" y="14"/>
                    <a:pt x="12" y="16"/>
                  </a:cubicBezTo>
                  <a:cubicBezTo>
                    <a:pt x="12" y="16"/>
                    <a:pt x="12" y="16"/>
                    <a:pt x="12" y="16"/>
                  </a:cubicBezTo>
                  <a:cubicBezTo>
                    <a:pt x="12" y="18"/>
                    <a:pt x="13" y="19"/>
                    <a:pt x="13" y="21"/>
                  </a:cubicBezTo>
                  <a:cubicBezTo>
                    <a:pt x="12" y="21"/>
                    <a:pt x="12" y="21"/>
                    <a:pt x="12" y="21"/>
                  </a:cubicBezTo>
                  <a:cubicBezTo>
                    <a:pt x="12" y="21"/>
                    <a:pt x="11" y="21"/>
                    <a:pt x="10" y="21"/>
                  </a:cubicBezTo>
                  <a:cubicBezTo>
                    <a:pt x="10" y="21"/>
                    <a:pt x="10" y="21"/>
                    <a:pt x="10" y="21"/>
                  </a:cubicBezTo>
                  <a:cubicBezTo>
                    <a:pt x="10" y="21"/>
                    <a:pt x="9" y="21"/>
                    <a:pt x="8" y="20"/>
                  </a:cubicBezTo>
                  <a:cubicBezTo>
                    <a:pt x="8" y="20"/>
                    <a:pt x="8" y="20"/>
                    <a:pt x="8" y="20"/>
                  </a:cubicBezTo>
                  <a:cubicBezTo>
                    <a:pt x="8" y="20"/>
                    <a:pt x="7" y="20"/>
                    <a:pt x="7" y="21"/>
                  </a:cubicBezTo>
                  <a:cubicBezTo>
                    <a:pt x="6" y="21"/>
                    <a:pt x="6" y="21"/>
                    <a:pt x="6" y="21"/>
                  </a:cubicBezTo>
                  <a:cubicBezTo>
                    <a:pt x="6" y="21"/>
                    <a:pt x="6" y="21"/>
                    <a:pt x="6" y="21"/>
                  </a:cubicBezTo>
                  <a:cubicBezTo>
                    <a:pt x="6" y="21"/>
                    <a:pt x="6" y="21"/>
                    <a:pt x="5" y="22"/>
                  </a:cubicBezTo>
                  <a:cubicBezTo>
                    <a:pt x="5" y="22"/>
                    <a:pt x="5" y="22"/>
                    <a:pt x="6" y="22"/>
                  </a:cubicBezTo>
                  <a:cubicBezTo>
                    <a:pt x="6" y="23"/>
                    <a:pt x="6" y="23"/>
                    <a:pt x="6" y="23"/>
                  </a:cubicBezTo>
                  <a:cubicBezTo>
                    <a:pt x="6" y="24"/>
                    <a:pt x="7" y="24"/>
                    <a:pt x="7" y="24"/>
                  </a:cubicBezTo>
                  <a:cubicBezTo>
                    <a:pt x="7" y="24"/>
                    <a:pt x="7" y="24"/>
                    <a:pt x="7" y="24"/>
                  </a:cubicBezTo>
                  <a:cubicBezTo>
                    <a:pt x="8" y="25"/>
                    <a:pt x="9" y="25"/>
                    <a:pt x="10" y="25"/>
                  </a:cubicBezTo>
                  <a:cubicBezTo>
                    <a:pt x="10" y="25"/>
                    <a:pt x="10" y="25"/>
                    <a:pt x="10" y="25"/>
                  </a:cubicBezTo>
                  <a:cubicBezTo>
                    <a:pt x="11" y="26"/>
                    <a:pt x="12" y="26"/>
                    <a:pt x="12" y="27"/>
                  </a:cubicBezTo>
                  <a:cubicBezTo>
                    <a:pt x="12" y="28"/>
                    <a:pt x="12" y="29"/>
                    <a:pt x="11" y="30"/>
                  </a:cubicBezTo>
                  <a:cubicBezTo>
                    <a:pt x="11" y="30"/>
                    <a:pt x="11" y="30"/>
                    <a:pt x="11" y="30"/>
                  </a:cubicBezTo>
                  <a:cubicBezTo>
                    <a:pt x="10" y="32"/>
                    <a:pt x="8" y="35"/>
                    <a:pt x="6" y="36"/>
                  </a:cubicBezTo>
                  <a:cubicBezTo>
                    <a:pt x="5" y="37"/>
                    <a:pt x="3" y="38"/>
                    <a:pt x="2" y="38"/>
                  </a:cubicBezTo>
                  <a:cubicBezTo>
                    <a:pt x="2" y="38"/>
                    <a:pt x="2" y="38"/>
                    <a:pt x="2" y="38"/>
                  </a:cubicBezTo>
                  <a:cubicBezTo>
                    <a:pt x="1" y="38"/>
                    <a:pt x="1" y="38"/>
                    <a:pt x="0" y="39"/>
                  </a:cubicBezTo>
                  <a:cubicBezTo>
                    <a:pt x="0" y="39"/>
                    <a:pt x="0" y="39"/>
                    <a:pt x="0" y="39"/>
                  </a:cubicBezTo>
                  <a:cubicBezTo>
                    <a:pt x="0" y="40"/>
                    <a:pt x="0" y="40"/>
                    <a:pt x="0" y="40"/>
                  </a:cubicBezTo>
                  <a:cubicBezTo>
                    <a:pt x="1" y="41"/>
                    <a:pt x="1" y="41"/>
                    <a:pt x="1" y="41"/>
                  </a:cubicBezTo>
                  <a:cubicBezTo>
                    <a:pt x="1" y="41"/>
                    <a:pt x="1" y="41"/>
                    <a:pt x="1" y="41"/>
                  </a:cubicBezTo>
                  <a:cubicBezTo>
                    <a:pt x="2" y="42"/>
                    <a:pt x="4" y="42"/>
                    <a:pt x="5" y="42"/>
                  </a:cubicBezTo>
                  <a:cubicBezTo>
                    <a:pt x="5" y="42"/>
                    <a:pt x="5" y="42"/>
                    <a:pt x="5" y="42"/>
                  </a:cubicBezTo>
                  <a:cubicBezTo>
                    <a:pt x="6" y="42"/>
                    <a:pt x="7" y="43"/>
                    <a:pt x="7" y="43"/>
                  </a:cubicBezTo>
                  <a:cubicBezTo>
                    <a:pt x="7" y="43"/>
                    <a:pt x="7" y="43"/>
                    <a:pt x="7" y="43"/>
                  </a:cubicBezTo>
                  <a:cubicBezTo>
                    <a:pt x="8" y="44"/>
                    <a:pt x="8" y="45"/>
                    <a:pt x="8" y="46"/>
                  </a:cubicBezTo>
                  <a:cubicBezTo>
                    <a:pt x="8" y="46"/>
                    <a:pt x="8" y="46"/>
                    <a:pt x="9" y="46"/>
                  </a:cubicBezTo>
                  <a:cubicBezTo>
                    <a:pt x="9" y="46"/>
                    <a:pt x="9" y="46"/>
                    <a:pt x="9" y="46"/>
                  </a:cubicBezTo>
                  <a:cubicBezTo>
                    <a:pt x="10" y="46"/>
                    <a:pt x="10" y="46"/>
                    <a:pt x="10" y="46"/>
                  </a:cubicBezTo>
                  <a:cubicBezTo>
                    <a:pt x="12" y="46"/>
                    <a:pt x="14" y="45"/>
                    <a:pt x="16" y="46"/>
                  </a:cubicBezTo>
                  <a:cubicBezTo>
                    <a:pt x="16" y="46"/>
                    <a:pt x="16" y="46"/>
                    <a:pt x="16" y="46"/>
                  </a:cubicBezTo>
                  <a:cubicBezTo>
                    <a:pt x="18" y="46"/>
                    <a:pt x="19" y="48"/>
                    <a:pt x="21" y="49"/>
                  </a:cubicBezTo>
                  <a:cubicBezTo>
                    <a:pt x="21" y="49"/>
                    <a:pt x="21" y="49"/>
                    <a:pt x="21" y="49"/>
                  </a:cubicBezTo>
                  <a:cubicBezTo>
                    <a:pt x="21" y="49"/>
                    <a:pt x="21" y="49"/>
                    <a:pt x="21" y="49"/>
                  </a:cubicBezTo>
                  <a:cubicBezTo>
                    <a:pt x="23" y="50"/>
                    <a:pt x="24" y="51"/>
                    <a:pt x="26" y="51"/>
                  </a:cubicBezTo>
                  <a:cubicBezTo>
                    <a:pt x="26" y="51"/>
                    <a:pt x="26" y="51"/>
                    <a:pt x="26" y="51"/>
                  </a:cubicBezTo>
                  <a:cubicBezTo>
                    <a:pt x="26" y="51"/>
                    <a:pt x="26" y="51"/>
                    <a:pt x="26" y="51"/>
                  </a:cubicBezTo>
                  <a:cubicBezTo>
                    <a:pt x="27" y="51"/>
                    <a:pt x="28" y="51"/>
                    <a:pt x="30" y="51"/>
                  </a:cubicBezTo>
                  <a:cubicBezTo>
                    <a:pt x="30" y="51"/>
                    <a:pt x="30" y="51"/>
                    <a:pt x="30" y="51"/>
                  </a:cubicBezTo>
                  <a:cubicBezTo>
                    <a:pt x="31" y="50"/>
                    <a:pt x="32" y="50"/>
                    <a:pt x="33" y="50"/>
                  </a:cubicBezTo>
                  <a:cubicBezTo>
                    <a:pt x="33" y="50"/>
                    <a:pt x="33" y="50"/>
                    <a:pt x="33" y="50"/>
                  </a:cubicBezTo>
                  <a:cubicBezTo>
                    <a:pt x="35" y="48"/>
                    <a:pt x="37" y="47"/>
                    <a:pt x="39" y="46"/>
                  </a:cubicBezTo>
                  <a:cubicBezTo>
                    <a:pt x="39" y="46"/>
                    <a:pt x="39" y="46"/>
                    <a:pt x="39" y="46"/>
                  </a:cubicBezTo>
                  <a:cubicBezTo>
                    <a:pt x="39" y="46"/>
                    <a:pt x="40" y="46"/>
                    <a:pt x="41" y="46"/>
                  </a:cubicBezTo>
                  <a:cubicBezTo>
                    <a:pt x="41" y="46"/>
                    <a:pt x="41" y="46"/>
                    <a:pt x="41" y="46"/>
                  </a:cubicBezTo>
                  <a:cubicBezTo>
                    <a:pt x="43" y="46"/>
                    <a:pt x="44" y="46"/>
                    <a:pt x="46" y="46"/>
                  </a:cubicBezTo>
                  <a:cubicBezTo>
                    <a:pt x="46" y="46"/>
                    <a:pt x="46" y="46"/>
                    <a:pt x="46" y="46"/>
                  </a:cubicBezTo>
                  <a:cubicBezTo>
                    <a:pt x="46" y="46"/>
                    <a:pt x="46" y="46"/>
                    <a:pt x="47" y="46"/>
                  </a:cubicBezTo>
                  <a:cubicBezTo>
                    <a:pt x="47" y="46"/>
                    <a:pt x="47" y="46"/>
                    <a:pt x="47" y="45"/>
                  </a:cubicBezTo>
                  <a:cubicBezTo>
                    <a:pt x="47" y="45"/>
                    <a:pt x="47" y="45"/>
                    <a:pt x="47" y="45"/>
                  </a:cubicBezTo>
                  <a:cubicBezTo>
                    <a:pt x="47" y="45"/>
                    <a:pt x="47" y="45"/>
                    <a:pt x="47" y="45"/>
                  </a:cubicBezTo>
                  <a:cubicBezTo>
                    <a:pt x="47" y="44"/>
                    <a:pt x="47" y="43"/>
                    <a:pt x="48" y="43"/>
                  </a:cubicBezTo>
                  <a:cubicBezTo>
                    <a:pt x="48" y="43"/>
                    <a:pt x="48" y="42"/>
                    <a:pt x="49" y="42"/>
                  </a:cubicBezTo>
                  <a:cubicBezTo>
                    <a:pt x="49" y="42"/>
                    <a:pt x="49" y="42"/>
                    <a:pt x="49" y="42"/>
                  </a:cubicBezTo>
                  <a:cubicBezTo>
                    <a:pt x="50" y="42"/>
                    <a:pt x="52" y="42"/>
                    <a:pt x="53" y="41"/>
                  </a:cubicBezTo>
                  <a:cubicBezTo>
                    <a:pt x="53" y="41"/>
                    <a:pt x="53" y="41"/>
                    <a:pt x="53" y="41"/>
                  </a:cubicBezTo>
                  <a:cubicBezTo>
                    <a:pt x="53" y="41"/>
                    <a:pt x="54" y="41"/>
                    <a:pt x="54" y="40"/>
                  </a:cubicBezTo>
                  <a:cubicBezTo>
                    <a:pt x="54" y="40"/>
                    <a:pt x="54" y="40"/>
                    <a:pt x="54" y="40"/>
                  </a:cubicBezTo>
                  <a:cubicBezTo>
                    <a:pt x="54" y="40"/>
                    <a:pt x="54" y="40"/>
                    <a:pt x="54" y="40"/>
                  </a:cubicBezTo>
                  <a:cubicBezTo>
                    <a:pt x="55" y="40"/>
                    <a:pt x="55" y="39"/>
                    <a:pt x="54" y="39"/>
                  </a:cubicBezTo>
                  <a:cubicBezTo>
                    <a:pt x="54" y="39"/>
                    <a:pt x="54" y="39"/>
                    <a:pt x="54" y="39"/>
                  </a:cubicBezTo>
                  <a:cubicBezTo>
                    <a:pt x="54" y="39"/>
                    <a:pt x="54" y="39"/>
                    <a:pt x="54" y="39"/>
                  </a:cubicBezTo>
                  <a:cubicBezTo>
                    <a:pt x="54" y="39"/>
                    <a:pt x="54" y="39"/>
                    <a:pt x="54" y="39"/>
                  </a:cubicBezTo>
                  <a:cubicBezTo>
                    <a:pt x="54" y="39"/>
                    <a:pt x="54" y="39"/>
                    <a:pt x="54" y="39"/>
                  </a:cubicBezTo>
                  <a:cubicBezTo>
                    <a:pt x="53" y="38"/>
                    <a:pt x="53" y="38"/>
                    <a:pt x="52" y="38"/>
                  </a:cubicBezTo>
                  <a:cubicBezTo>
                    <a:pt x="52" y="38"/>
                    <a:pt x="52" y="38"/>
                    <a:pt x="52" y="38"/>
                  </a:cubicBezTo>
                  <a:cubicBezTo>
                    <a:pt x="49" y="37"/>
                    <a:pt x="47" y="35"/>
                    <a:pt x="45" y="33"/>
                  </a:cubicBezTo>
                  <a:cubicBezTo>
                    <a:pt x="44" y="31"/>
                    <a:pt x="43" y="30"/>
                    <a:pt x="43" y="29"/>
                  </a:cubicBezTo>
                  <a:cubicBezTo>
                    <a:pt x="43" y="29"/>
                    <a:pt x="43" y="29"/>
                    <a:pt x="43" y="28"/>
                  </a:cubicBezTo>
                  <a:cubicBezTo>
                    <a:pt x="42" y="28"/>
                    <a:pt x="42" y="27"/>
                    <a:pt x="43" y="27"/>
                  </a:cubicBezTo>
                  <a:cubicBezTo>
                    <a:pt x="43" y="27"/>
                    <a:pt x="43" y="27"/>
                    <a:pt x="43" y="27"/>
                  </a:cubicBezTo>
                  <a:cubicBezTo>
                    <a:pt x="43" y="26"/>
                    <a:pt x="44" y="25"/>
                    <a:pt x="45" y="25"/>
                  </a:cubicBezTo>
                  <a:cubicBezTo>
                    <a:pt x="45" y="25"/>
                    <a:pt x="45" y="25"/>
                    <a:pt x="45" y="25"/>
                  </a:cubicBezTo>
                  <a:cubicBezTo>
                    <a:pt x="46" y="25"/>
                    <a:pt x="48" y="24"/>
                    <a:pt x="49" y="23"/>
                  </a:cubicBezTo>
                  <a:cubicBezTo>
                    <a:pt x="49" y="23"/>
                    <a:pt x="49" y="23"/>
                    <a:pt x="49" y="23"/>
                  </a:cubicBezTo>
                  <a:cubicBezTo>
                    <a:pt x="49" y="23"/>
                    <a:pt x="49" y="23"/>
                    <a:pt x="49" y="23"/>
                  </a:cubicBezTo>
                  <a:cubicBezTo>
                    <a:pt x="49" y="22"/>
                    <a:pt x="49" y="22"/>
                    <a:pt x="49" y="22"/>
                  </a:cubicBezTo>
                  <a:cubicBezTo>
                    <a:pt x="49" y="22"/>
                    <a:pt x="49" y="22"/>
                    <a:pt x="49" y="22"/>
                  </a:cubicBezTo>
                  <a:cubicBezTo>
                    <a:pt x="49" y="21"/>
                    <a:pt x="48" y="21"/>
                    <a:pt x="48" y="21"/>
                  </a:cubicBezTo>
                  <a:cubicBezTo>
                    <a:pt x="48" y="21"/>
                    <a:pt x="48" y="21"/>
                    <a:pt x="48" y="21"/>
                  </a:cubicBezTo>
                  <a:cubicBezTo>
                    <a:pt x="47" y="20"/>
                    <a:pt x="47" y="20"/>
                    <a:pt x="46" y="20"/>
                  </a:cubicBezTo>
                  <a:cubicBezTo>
                    <a:pt x="46" y="20"/>
                    <a:pt x="46" y="20"/>
                    <a:pt x="46" y="20"/>
                  </a:cubicBezTo>
                  <a:cubicBezTo>
                    <a:pt x="46" y="20"/>
                    <a:pt x="46" y="20"/>
                    <a:pt x="46" y="20"/>
                  </a:cubicBezTo>
                  <a:cubicBezTo>
                    <a:pt x="45" y="21"/>
                    <a:pt x="45" y="21"/>
                    <a:pt x="44" y="21"/>
                  </a:cubicBezTo>
                  <a:cubicBezTo>
                    <a:pt x="44" y="21"/>
                    <a:pt x="44" y="21"/>
                    <a:pt x="44" y="21"/>
                  </a:cubicBezTo>
                  <a:cubicBezTo>
                    <a:pt x="43" y="21"/>
                    <a:pt x="43" y="21"/>
                    <a:pt x="42" y="21"/>
                  </a:cubicBezTo>
                  <a:cubicBezTo>
                    <a:pt x="42" y="21"/>
                    <a:pt x="42" y="21"/>
                    <a:pt x="42" y="20"/>
                  </a:cubicBezTo>
                  <a:cubicBezTo>
                    <a:pt x="42" y="20"/>
                    <a:pt x="42" y="20"/>
                    <a:pt x="42" y="20"/>
                  </a:cubicBezTo>
                  <a:cubicBezTo>
                    <a:pt x="42" y="19"/>
                    <a:pt x="42" y="18"/>
                    <a:pt x="42" y="17"/>
                  </a:cubicBezTo>
                  <a:cubicBezTo>
                    <a:pt x="42" y="17"/>
                    <a:pt x="42" y="17"/>
                    <a:pt x="42" y="17"/>
                  </a:cubicBezTo>
                  <a:cubicBezTo>
                    <a:pt x="42" y="15"/>
                    <a:pt x="42" y="13"/>
                    <a:pt x="42" y="11"/>
                  </a:cubicBezTo>
                  <a:cubicBezTo>
                    <a:pt x="42" y="11"/>
                    <a:pt x="42" y="11"/>
                    <a:pt x="42" y="11"/>
                  </a:cubicBezTo>
                  <a:cubicBezTo>
                    <a:pt x="41" y="7"/>
                    <a:pt x="39" y="4"/>
                    <a:pt x="36" y="2"/>
                  </a:cubicBezTo>
                  <a:cubicBezTo>
                    <a:pt x="34" y="1"/>
                    <a:pt x="32" y="0"/>
                    <a:pt x="30" y="0"/>
                  </a:cubicBezTo>
                  <a:cubicBezTo>
                    <a:pt x="30" y="0"/>
                    <a:pt x="30" y="0"/>
                    <a:pt x="30" y="0"/>
                  </a:cubicBezTo>
                  <a:cubicBezTo>
                    <a:pt x="29" y="0"/>
                    <a:pt x="28" y="0"/>
                    <a:pt x="27" y="0"/>
                  </a:cubicBezTo>
                </a:path>
              </a:pathLst>
            </a:custGeom>
            <a:solidFill>
              <a:srgbClr val="CCCCC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09" name="Freeform 115">
              <a:extLst>
                <a:ext uri="{FF2B5EF4-FFF2-40B4-BE49-F238E27FC236}">
                  <a16:creationId xmlns:a16="http://schemas.microsoft.com/office/drawing/2014/main" id="{D4573391-DCD3-4F33-BE79-AA1180DF9030}"/>
                </a:ext>
              </a:extLst>
            </p:cNvPr>
            <p:cNvSpPr>
              <a:spLocks noEditPoints="1"/>
            </p:cNvSpPr>
            <p:nvPr/>
          </p:nvSpPr>
          <p:spPr bwMode="auto">
            <a:xfrm>
              <a:off x="6807130" y="4261644"/>
              <a:ext cx="556683" cy="556683"/>
            </a:xfrm>
            <a:custGeom>
              <a:avLst/>
              <a:gdLst>
                <a:gd name="T0" fmla="*/ 286 w 286"/>
                <a:gd name="T1" fmla="*/ 139 h 286"/>
                <a:gd name="T2" fmla="*/ 146 w 286"/>
                <a:gd name="T3" fmla="*/ 278 h 286"/>
                <a:gd name="T4" fmla="*/ 78 w 286"/>
                <a:gd name="T5" fmla="*/ 261 h 286"/>
                <a:gd name="T6" fmla="*/ 0 w 286"/>
                <a:gd name="T7" fmla="*/ 286 h 286"/>
                <a:gd name="T8" fmla="*/ 26 w 286"/>
                <a:gd name="T9" fmla="*/ 211 h 286"/>
                <a:gd name="T10" fmla="*/ 5 w 286"/>
                <a:gd name="T11" fmla="*/ 139 h 286"/>
                <a:gd name="T12" fmla="*/ 146 w 286"/>
                <a:gd name="T13" fmla="*/ 0 h 286"/>
                <a:gd name="T14" fmla="*/ 286 w 286"/>
                <a:gd name="T15" fmla="*/ 139 h 286"/>
                <a:gd name="T16" fmla="*/ 146 w 286"/>
                <a:gd name="T17" fmla="*/ 22 h 286"/>
                <a:gd name="T18" fmla="*/ 28 w 286"/>
                <a:gd name="T19" fmla="*/ 139 h 286"/>
                <a:gd name="T20" fmla="*/ 50 w 286"/>
                <a:gd name="T21" fmla="*/ 208 h 286"/>
                <a:gd name="T22" fmla="*/ 36 w 286"/>
                <a:gd name="T23" fmla="*/ 251 h 286"/>
                <a:gd name="T24" fmla="*/ 81 w 286"/>
                <a:gd name="T25" fmla="*/ 237 h 286"/>
                <a:gd name="T26" fmla="*/ 146 w 286"/>
                <a:gd name="T27" fmla="*/ 256 h 286"/>
                <a:gd name="T28" fmla="*/ 264 w 286"/>
                <a:gd name="T29" fmla="*/ 139 h 286"/>
                <a:gd name="T30" fmla="*/ 146 w 286"/>
                <a:gd name="T31" fmla="*/ 22 h 286"/>
                <a:gd name="T32" fmla="*/ 217 w 286"/>
                <a:gd name="T33" fmla="*/ 171 h 286"/>
                <a:gd name="T34" fmla="*/ 210 w 286"/>
                <a:gd name="T35" fmla="*/ 167 h 286"/>
                <a:gd name="T36" fmla="*/ 187 w 286"/>
                <a:gd name="T37" fmla="*/ 156 h 286"/>
                <a:gd name="T38" fmla="*/ 179 w 286"/>
                <a:gd name="T39" fmla="*/ 158 h 286"/>
                <a:gd name="T40" fmla="*/ 168 w 286"/>
                <a:gd name="T41" fmla="*/ 171 h 286"/>
                <a:gd name="T42" fmla="*/ 160 w 286"/>
                <a:gd name="T43" fmla="*/ 172 h 286"/>
                <a:gd name="T44" fmla="*/ 133 w 286"/>
                <a:gd name="T45" fmla="*/ 155 h 286"/>
                <a:gd name="T46" fmla="*/ 114 w 286"/>
                <a:gd name="T47" fmla="*/ 132 h 286"/>
                <a:gd name="T48" fmla="*/ 115 w 286"/>
                <a:gd name="T49" fmla="*/ 125 h 286"/>
                <a:gd name="T50" fmla="*/ 120 w 286"/>
                <a:gd name="T51" fmla="*/ 119 h 286"/>
                <a:gd name="T52" fmla="*/ 124 w 286"/>
                <a:gd name="T53" fmla="*/ 113 h 286"/>
                <a:gd name="T54" fmla="*/ 123 w 286"/>
                <a:gd name="T55" fmla="*/ 107 h 286"/>
                <a:gd name="T56" fmla="*/ 113 w 286"/>
                <a:gd name="T57" fmla="*/ 82 h 286"/>
                <a:gd name="T58" fmla="*/ 105 w 286"/>
                <a:gd name="T59" fmla="*/ 76 h 286"/>
                <a:gd name="T60" fmla="*/ 99 w 286"/>
                <a:gd name="T61" fmla="*/ 76 h 286"/>
                <a:gd name="T62" fmla="*/ 89 w 286"/>
                <a:gd name="T63" fmla="*/ 80 h 286"/>
                <a:gd name="T64" fmla="*/ 77 w 286"/>
                <a:gd name="T65" fmla="*/ 108 h 286"/>
                <a:gd name="T66" fmla="*/ 91 w 286"/>
                <a:gd name="T67" fmla="*/ 144 h 286"/>
                <a:gd name="T68" fmla="*/ 150 w 286"/>
                <a:gd name="T69" fmla="*/ 195 h 286"/>
                <a:gd name="T70" fmla="*/ 191 w 286"/>
                <a:gd name="T71" fmla="*/ 204 h 286"/>
                <a:gd name="T72" fmla="*/ 215 w 286"/>
                <a:gd name="T73" fmla="*/ 187 h 286"/>
                <a:gd name="T74" fmla="*/ 217 w 286"/>
                <a:gd name="T75" fmla="*/ 171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6" h="286">
                  <a:moveTo>
                    <a:pt x="286" y="139"/>
                  </a:moveTo>
                  <a:cubicBezTo>
                    <a:pt x="286" y="216"/>
                    <a:pt x="223" y="278"/>
                    <a:pt x="146" y="278"/>
                  </a:cubicBezTo>
                  <a:cubicBezTo>
                    <a:pt x="121" y="278"/>
                    <a:pt x="98" y="272"/>
                    <a:pt x="78" y="261"/>
                  </a:cubicBezTo>
                  <a:cubicBezTo>
                    <a:pt x="0" y="286"/>
                    <a:pt x="0" y="286"/>
                    <a:pt x="0" y="286"/>
                  </a:cubicBezTo>
                  <a:cubicBezTo>
                    <a:pt x="26" y="211"/>
                    <a:pt x="26" y="211"/>
                    <a:pt x="26" y="211"/>
                  </a:cubicBezTo>
                  <a:cubicBezTo>
                    <a:pt x="13" y="190"/>
                    <a:pt x="5" y="165"/>
                    <a:pt x="5" y="139"/>
                  </a:cubicBezTo>
                  <a:cubicBezTo>
                    <a:pt x="5" y="62"/>
                    <a:pt x="68" y="0"/>
                    <a:pt x="146" y="0"/>
                  </a:cubicBezTo>
                  <a:cubicBezTo>
                    <a:pt x="223" y="0"/>
                    <a:pt x="286" y="62"/>
                    <a:pt x="286" y="139"/>
                  </a:cubicBezTo>
                  <a:moveTo>
                    <a:pt x="146" y="22"/>
                  </a:moveTo>
                  <a:cubicBezTo>
                    <a:pt x="81" y="22"/>
                    <a:pt x="28" y="75"/>
                    <a:pt x="28" y="139"/>
                  </a:cubicBezTo>
                  <a:cubicBezTo>
                    <a:pt x="28" y="165"/>
                    <a:pt x="36" y="189"/>
                    <a:pt x="50" y="208"/>
                  </a:cubicBezTo>
                  <a:cubicBezTo>
                    <a:pt x="36" y="251"/>
                    <a:pt x="36" y="251"/>
                    <a:pt x="36" y="251"/>
                  </a:cubicBezTo>
                  <a:cubicBezTo>
                    <a:pt x="81" y="237"/>
                    <a:pt x="81" y="237"/>
                    <a:pt x="81" y="237"/>
                  </a:cubicBezTo>
                  <a:cubicBezTo>
                    <a:pt x="100" y="249"/>
                    <a:pt x="122" y="256"/>
                    <a:pt x="146" y="256"/>
                  </a:cubicBezTo>
                  <a:cubicBezTo>
                    <a:pt x="211" y="256"/>
                    <a:pt x="264" y="204"/>
                    <a:pt x="264" y="139"/>
                  </a:cubicBezTo>
                  <a:cubicBezTo>
                    <a:pt x="264" y="75"/>
                    <a:pt x="211" y="22"/>
                    <a:pt x="146" y="22"/>
                  </a:cubicBezTo>
                  <a:moveTo>
                    <a:pt x="217" y="171"/>
                  </a:moveTo>
                  <a:cubicBezTo>
                    <a:pt x="216" y="170"/>
                    <a:pt x="213" y="169"/>
                    <a:pt x="210" y="167"/>
                  </a:cubicBezTo>
                  <a:cubicBezTo>
                    <a:pt x="207" y="166"/>
                    <a:pt x="190" y="157"/>
                    <a:pt x="187" y="156"/>
                  </a:cubicBezTo>
                  <a:cubicBezTo>
                    <a:pt x="183" y="155"/>
                    <a:pt x="181" y="154"/>
                    <a:pt x="179" y="158"/>
                  </a:cubicBezTo>
                  <a:cubicBezTo>
                    <a:pt x="177" y="161"/>
                    <a:pt x="170" y="169"/>
                    <a:pt x="168" y="171"/>
                  </a:cubicBezTo>
                  <a:cubicBezTo>
                    <a:pt x="166" y="174"/>
                    <a:pt x="164" y="174"/>
                    <a:pt x="160" y="172"/>
                  </a:cubicBezTo>
                  <a:cubicBezTo>
                    <a:pt x="157" y="170"/>
                    <a:pt x="146" y="167"/>
                    <a:pt x="133" y="155"/>
                  </a:cubicBezTo>
                  <a:cubicBezTo>
                    <a:pt x="123" y="146"/>
                    <a:pt x="116" y="135"/>
                    <a:pt x="114" y="132"/>
                  </a:cubicBezTo>
                  <a:cubicBezTo>
                    <a:pt x="112" y="128"/>
                    <a:pt x="113" y="126"/>
                    <a:pt x="115" y="125"/>
                  </a:cubicBezTo>
                  <a:cubicBezTo>
                    <a:pt x="117" y="123"/>
                    <a:pt x="119" y="121"/>
                    <a:pt x="120" y="119"/>
                  </a:cubicBezTo>
                  <a:cubicBezTo>
                    <a:pt x="122" y="117"/>
                    <a:pt x="123" y="115"/>
                    <a:pt x="124" y="113"/>
                  </a:cubicBezTo>
                  <a:cubicBezTo>
                    <a:pt x="125" y="111"/>
                    <a:pt x="124" y="109"/>
                    <a:pt x="123" y="107"/>
                  </a:cubicBezTo>
                  <a:cubicBezTo>
                    <a:pt x="123" y="105"/>
                    <a:pt x="116" y="88"/>
                    <a:pt x="113" y="82"/>
                  </a:cubicBezTo>
                  <a:cubicBezTo>
                    <a:pt x="110" y="75"/>
                    <a:pt x="107" y="76"/>
                    <a:pt x="105" y="76"/>
                  </a:cubicBezTo>
                  <a:cubicBezTo>
                    <a:pt x="103" y="76"/>
                    <a:pt x="101" y="76"/>
                    <a:pt x="99" y="76"/>
                  </a:cubicBezTo>
                  <a:cubicBezTo>
                    <a:pt x="96" y="76"/>
                    <a:pt x="93" y="76"/>
                    <a:pt x="89" y="80"/>
                  </a:cubicBezTo>
                  <a:cubicBezTo>
                    <a:pt x="86" y="83"/>
                    <a:pt x="77" y="92"/>
                    <a:pt x="77" y="108"/>
                  </a:cubicBezTo>
                  <a:cubicBezTo>
                    <a:pt x="77" y="125"/>
                    <a:pt x="90" y="141"/>
                    <a:pt x="91" y="144"/>
                  </a:cubicBezTo>
                  <a:cubicBezTo>
                    <a:pt x="93" y="146"/>
                    <a:pt x="115" y="182"/>
                    <a:pt x="150" y="195"/>
                  </a:cubicBezTo>
                  <a:cubicBezTo>
                    <a:pt x="185" y="209"/>
                    <a:pt x="185" y="204"/>
                    <a:pt x="191" y="204"/>
                  </a:cubicBezTo>
                  <a:cubicBezTo>
                    <a:pt x="198" y="203"/>
                    <a:pt x="212" y="195"/>
                    <a:pt x="215" y="187"/>
                  </a:cubicBezTo>
                  <a:cubicBezTo>
                    <a:pt x="218" y="180"/>
                    <a:pt x="218" y="173"/>
                    <a:pt x="217" y="171"/>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10" name="Freeform 116">
              <a:extLst>
                <a:ext uri="{FF2B5EF4-FFF2-40B4-BE49-F238E27FC236}">
                  <a16:creationId xmlns:a16="http://schemas.microsoft.com/office/drawing/2014/main" id="{462F39DF-303E-406F-83EB-3A2F67C3C8E1}"/>
                </a:ext>
              </a:extLst>
            </p:cNvPr>
            <p:cNvSpPr>
              <a:spLocks noEditPoints="1"/>
            </p:cNvSpPr>
            <p:nvPr/>
          </p:nvSpPr>
          <p:spPr bwMode="auto">
            <a:xfrm>
              <a:off x="7756673" y="3997617"/>
              <a:ext cx="122470" cy="124061"/>
            </a:xfrm>
            <a:custGeom>
              <a:avLst/>
              <a:gdLst>
                <a:gd name="T0" fmla="*/ 63 w 63"/>
                <a:gd name="T1" fmla="*/ 31 h 63"/>
                <a:gd name="T2" fmla="*/ 32 w 63"/>
                <a:gd name="T3" fmla="*/ 61 h 63"/>
                <a:gd name="T4" fmla="*/ 17 w 63"/>
                <a:gd name="T5" fmla="*/ 58 h 63"/>
                <a:gd name="T6" fmla="*/ 0 w 63"/>
                <a:gd name="T7" fmla="*/ 63 h 63"/>
                <a:gd name="T8" fmla="*/ 5 w 63"/>
                <a:gd name="T9" fmla="*/ 46 h 63"/>
                <a:gd name="T10" fmla="*/ 1 w 63"/>
                <a:gd name="T11" fmla="*/ 31 h 63"/>
                <a:gd name="T12" fmla="*/ 32 w 63"/>
                <a:gd name="T13" fmla="*/ 0 h 63"/>
                <a:gd name="T14" fmla="*/ 63 w 63"/>
                <a:gd name="T15" fmla="*/ 31 h 63"/>
                <a:gd name="T16" fmla="*/ 32 w 63"/>
                <a:gd name="T17" fmla="*/ 5 h 63"/>
                <a:gd name="T18" fmla="*/ 6 w 63"/>
                <a:gd name="T19" fmla="*/ 31 h 63"/>
                <a:gd name="T20" fmla="*/ 11 w 63"/>
                <a:gd name="T21" fmla="*/ 46 h 63"/>
                <a:gd name="T22" fmla="*/ 8 w 63"/>
                <a:gd name="T23" fmla="*/ 55 h 63"/>
                <a:gd name="T24" fmla="*/ 18 w 63"/>
                <a:gd name="T25" fmla="*/ 52 h 63"/>
                <a:gd name="T26" fmla="*/ 32 w 63"/>
                <a:gd name="T27" fmla="*/ 56 h 63"/>
                <a:gd name="T28" fmla="*/ 58 w 63"/>
                <a:gd name="T29" fmla="*/ 31 h 63"/>
                <a:gd name="T30" fmla="*/ 32 w 63"/>
                <a:gd name="T31" fmla="*/ 5 h 63"/>
                <a:gd name="T32" fmla="*/ 48 w 63"/>
                <a:gd name="T33" fmla="*/ 38 h 63"/>
                <a:gd name="T34" fmla="*/ 46 w 63"/>
                <a:gd name="T35" fmla="*/ 37 h 63"/>
                <a:gd name="T36" fmla="*/ 41 w 63"/>
                <a:gd name="T37" fmla="*/ 34 h 63"/>
                <a:gd name="T38" fmla="*/ 39 w 63"/>
                <a:gd name="T39" fmla="*/ 35 h 63"/>
                <a:gd name="T40" fmla="*/ 37 w 63"/>
                <a:gd name="T41" fmla="*/ 38 h 63"/>
                <a:gd name="T42" fmla="*/ 35 w 63"/>
                <a:gd name="T43" fmla="*/ 38 h 63"/>
                <a:gd name="T44" fmla="*/ 29 w 63"/>
                <a:gd name="T45" fmla="*/ 34 h 63"/>
                <a:gd name="T46" fmla="*/ 25 w 63"/>
                <a:gd name="T47" fmla="*/ 29 h 63"/>
                <a:gd name="T48" fmla="*/ 25 w 63"/>
                <a:gd name="T49" fmla="*/ 27 h 63"/>
                <a:gd name="T50" fmla="*/ 26 w 63"/>
                <a:gd name="T51" fmla="*/ 26 h 63"/>
                <a:gd name="T52" fmla="*/ 27 w 63"/>
                <a:gd name="T53" fmla="*/ 25 h 63"/>
                <a:gd name="T54" fmla="*/ 27 w 63"/>
                <a:gd name="T55" fmla="*/ 23 h 63"/>
                <a:gd name="T56" fmla="*/ 25 w 63"/>
                <a:gd name="T57" fmla="*/ 18 h 63"/>
                <a:gd name="T58" fmla="*/ 23 w 63"/>
                <a:gd name="T59" fmla="*/ 17 h 63"/>
                <a:gd name="T60" fmla="*/ 22 w 63"/>
                <a:gd name="T61" fmla="*/ 17 h 63"/>
                <a:gd name="T62" fmla="*/ 20 w 63"/>
                <a:gd name="T63" fmla="*/ 17 h 63"/>
                <a:gd name="T64" fmla="*/ 17 w 63"/>
                <a:gd name="T65" fmla="*/ 24 h 63"/>
                <a:gd name="T66" fmla="*/ 20 w 63"/>
                <a:gd name="T67" fmla="*/ 32 h 63"/>
                <a:gd name="T68" fmla="*/ 33 w 63"/>
                <a:gd name="T69" fmla="*/ 43 h 63"/>
                <a:gd name="T70" fmla="*/ 42 w 63"/>
                <a:gd name="T71" fmla="*/ 45 h 63"/>
                <a:gd name="T72" fmla="*/ 47 w 63"/>
                <a:gd name="T73" fmla="*/ 41 h 63"/>
                <a:gd name="T74" fmla="*/ 48 w 63"/>
                <a:gd name="T75" fmla="*/ 38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3" h="63">
                  <a:moveTo>
                    <a:pt x="63" y="31"/>
                  </a:moveTo>
                  <a:cubicBezTo>
                    <a:pt x="63" y="48"/>
                    <a:pt x="49" y="61"/>
                    <a:pt x="32" y="61"/>
                  </a:cubicBezTo>
                  <a:cubicBezTo>
                    <a:pt x="27" y="61"/>
                    <a:pt x="21" y="60"/>
                    <a:pt x="17" y="58"/>
                  </a:cubicBezTo>
                  <a:cubicBezTo>
                    <a:pt x="0" y="63"/>
                    <a:pt x="0" y="63"/>
                    <a:pt x="0" y="63"/>
                  </a:cubicBezTo>
                  <a:cubicBezTo>
                    <a:pt x="5" y="46"/>
                    <a:pt x="5" y="46"/>
                    <a:pt x="5" y="46"/>
                  </a:cubicBezTo>
                  <a:cubicBezTo>
                    <a:pt x="3" y="42"/>
                    <a:pt x="1" y="36"/>
                    <a:pt x="1" y="31"/>
                  </a:cubicBezTo>
                  <a:cubicBezTo>
                    <a:pt x="1" y="14"/>
                    <a:pt x="15" y="0"/>
                    <a:pt x="32" y="0"/>
                  </a:cubicBezTo>
                  <a:cubicBezTo>
                    <a:pt x="49" y="0"/>
                    <a:pt x="63" y="14"/>
                    <a:pt x="63" y="31"/>
                  </a:cubicBezTo>
                  <a:moveTo>
                    <a:pt x="32" y="5"/>
                  </a:moveTo>
                  <a:cubicBezTo>
                    <a:pt x="18" y="5"/>
                    <a:pt x="6" y="16"/>
                    <a:pt x="6" y="31"/>
                  </a:cubicBezTo>
                  <a:cubicBezTo>
                    <a:pt x="6" y="36"/>
                    <a:pt x="8" y="41"/>
                    <a:pt x="11" y="46"/>
                  </a:cubicBezTo>
                  <a:cubicBezTo>
                    <a:pt x="8" y="55"/>
                    <a:pt x="8" y="55"/>
                    <a:pt x="8" y="55"/>
                  </a:cubicBezTo>
                  <a:cubicBezTo>
                    <a:pt x="18" y="52"/>
                    <a:pt x="18" y="52"/>
                    <a:pt x="18" y="52"/>
                  </a:cubicBezTo>
                  <a:cubicBezTo>
                    <a:pt x="22" y="55"/>
                    <a:pt x="27" y="56"/>
                    <a:pt x="32" y="56"/>
                  </a:cubicBezTo>
                  <a:cubicBezTo>
                    <a:pt x="46" y="56"/>
                    <a:pt x="58" y="45"/>
                    <a:pt x="58" y="31"/>
                  </a:cubicBezTo>
                  <a:cubicBezTo>
                    <a:pt x="58" y="16"/>
                    <a:pt x="46" y="5"/>
                    <a:pt x="32" y="5"/>
                  </a:cubicBezTo>
                  <a:moveTo>
                    <a:pt x="48" y="38"/>
                  </a:moveTo>
                  <a:cubicBezTo>
                    <a:pt x="47" y="37"/>
                    <a:pt x="47" y="37"/>
                    <a:pt x="46" y="37"/>
                  </a:cubicBezTo>
                  <a:cubicBezTo>
                    <a:pt x="45" y="36"/>
                    <a:pt x="42" y="35"/>
                    <a:pt x="41" y="34"/>
                  </a:cubicBezTo>
                  <a:cubicBezTo>
                    <a:pt x="40" y="34"/>
                    <a:pt x="40" y="34"/>
                    <a:pt x="39" y="35"/>
                  </a:cubicBezTo>
                  <a:cubicBezTo>
                    <a:pt x="39" y="35"/>
                    <a:pt x="37" y="37"/>
                    <a:pt x="37" y="38"/>
                  </a:cubicBezTo>
                  <a:cubicBezTo>
                    <a:pt x="36" y="38"/>
                    <a:pt x="36" y="38"/>
                    <a:pt x="35" y="38"/>
                  </a:cubicBezTo>
                  <a:cubicBezTo>
                    <a:pt x="34" y="37"/>
                    <a:pt x="32" y="37"/>
                    <a:pt x="29" y="34"/>
                  </a:cubicBezTo>
                  <a:cubicBezTo>
                    <a:pt x="27" y="32"/>
                    <a:pt x="25" y="30"/>
                    <a:pt x="25" y="29"/>
                  </a:cubicBezTo>
                  <a:cubicBezTo>
                    <a:pt x="24" y="28"/>
                    <a:pt x="25" y="28"/>
                    <a:pt x="25" y="27"/>
                  </a:cubicBezTo>
                  <a:cubicBezTo>
                    <a:pt x="26" y="27"/>
                    <a:pt x="26" y="26"/>
                    <a:pt x="26" y="26"/>
                  </a:cubicBezTo>
                  <a:cubicBezTo>
                    <a:pt x="27" y="26"/>
                    <a:pt x="27" y="25"/>
                    <a:pt x="27" y="25"/>
                  </a:cubicBezTo>
                  <a:cubicBezTo>
                    <a:pt x="27" y="24"/>
                    <a:pt x="27" y="24"/>
                    <a:pt x="27" y="23"/>
                  </a:cubicBezTo>
                  <a:cubicBezTo>
                    <a:pt x="27" y="23"/>
                    <a:pt x="25" y="19"/>
                    <a:pt x="25" y="18"/>
                  </a:cubicBezTo>
                  <a:cubicBezTo>
                    <a:pt x="24" y="16"/>
                    <a:pt x="23" y="17"/>
                    <a:pt x="23" y="17"/>
                  </a:cubicBezTo>
                  <a:cubicBezTo>
                    <a:pt x="23" y="17"/>
                    <a:pt x="22" y="17"/>
                    <a:pt x="22" y="17"/>
                  </a:cubicBezTo>
                  <a:cubicBezTo>
                    <a:pt x="21" y="17"/>
                    <a:pt x="20" y="17"/>
                    <a:pt x="20" y="17"/>
                  </a:cubicBezTo>
                  <a:cubicBezTo>
                    <a:pt x="19" y="18"/>
                    <a:pt x="17" y="20"/>
                    <a:pt x="17" y="24"/>
                  </a:cubicBezTo>
                  <a:cubicBezTo>
                    <a:pt x="17" y="27"/>
                    <a:pt x="20" y="31"/>
                    <a:pt x="20" y="32"/>
                  </a:cubicBezTo>
                  <a:cubicBezTo>
                    <a:pt x="20" y="32"/>
                    <a:pt x="25" y="40"/>
                    <a:pt x="33" y="43"/>
                  </a:cubicBezTo>
                  <a:cubicBezTo>
                    <a:pt x="41" y="46"/>
                    <a:pt x="41" y="45"/>
                    <a:pt x="42" y="45"/>
                  </a:cubicBezTo>
                  <a:cubicBezTo>
                    <a:pt x="43" y="45"/>
                    <a:pt x="47" y="43"/>
                    <a:pt x="47" y="41"/>
                  </a:cubicBezTo>
                  <a:cubicBezTo>
                    <a:pt x="48" y="39"/>
                    <a:pt x="48" y="38"/>
                    <a:pt x="48" y="38"/>
                  </a:cubicBezTo>
                </a:path>
              </a:pathLst>
            </a:custGeom>
            <a:solidFill>
              <a:srgbClr val="CCCCC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11" name="Freeform 117">
              <a:extLst>
                <a:ext uri="{FF2B5EF4-FFF2-40B4-BE49-F238E27FC236}">
                  <a16:creationId xmlns:a16="http://schemas.microsoft.com/office/drawing/2014/main" id="{FF84741E-CC2A-4B5E-AF5B-384EDED83F3B}"/>
                </a:ext>
              </a:extLst>
            </p:cNvPr>
            <p:cNvSpPr>
              <a:spLocks noEditPoints="1"/>
            </p:cNvSpPr>
            <p:nvPr/>
          </p:nvSpPr>
          <p:spPr bwMode="auto">
            <a:xfrm>
              <a:off x="4130281" y="4344351"/>
              <a:ext cx="122470" cy="124061"/>
            </a:xfrm>
            <a:custGeom>
              <a:avLst/>
              <a:gdLst>
                <a:gd name="T0" fmla="*/ 63 w 63"/>
                <a:gd name="T1" fmla="*/ 31 h 63"/>
                <a:gd name="T2" fmla="*/ 32 w 63"/>
                <a:gd name="T3" fmla="*/ 62 h 63"/>
                <a:gd name="T4" fmla="*/ 17 w 63"/>
                <a:gd name="T5" fmla="*/ 58 h 63"/>
                <a:gd name="T6" fmla="*/ 0 w 63"/>
                <a:gd name="T7" fmla="*/ 63 h 63"/>
                <a:gd name="T8" fmla="*/ 5 w 63"/>
                <a:gd name="T9" fmla="*/ 47 h 63"/>
                <a:gd name="T10" fmla="*/ 1 w 63"/>
                <a:gd name="T11" fmla="*/ 31 h 63"/>
                <a:gd name="T12" fmla="*/ 32 w 63"/>
                <a:gd name="T13" fmla="*/ 0 h 63"/>
                <a:gd name="T14" fmla="*/ 63 w 63"/>
                <a:gd name="T15" fmla="*/ 31 h 63"/>
                <a:gd name="T16" fmla="*/ 32 w 63"/>
                <a:gd name="T17" fmla="*/ 5 h 63"/>
                <a:gd name="T18" fmla="*/ 6 w 63"/>
                <a:gd name="T19" fmla="*/ 31 h 63"/>
                <a:gd name="T20" fmla="*/ 11 w 63"/>
                <a:gd name="T21" fmla="*/ 46 h 63"/>
                <a:gd name="T22" fmla="*/ 7 w 63"/>
                <a:gd name="T23" fmla="*/ 56 h 63"/>
                <a:gd name="T24" fmla="*/ 17 w 63"/>
                <a:gd name="T25" fmla="*/ 52 h 63"/>
                <a:gd name="T26" fmla="*/ 32 w 63"/>
                <a:gd name="T27" fmla="*/ 57 h 63"/>
                <a:gd name="T28" fmla="*/ 58 w 63"/>
                <a:gd name="T29" fmla="*/ 31 h 63"/>
                <a:gd name="T30" fmla="*/ 32 w 63"/>
                <a:gd name="T31" fmla="*/ 5 h 63"/>
                <a:gd name="T32" fmla="*/ 47 w 63"/>
                <a:gd name="T33" fmla="*/ 38 h 63"/>
                <a:gd name="T34" fmla="*/ 46 w 63"/>
                <a:gd name="T35" fmla="*/ 37 h 63"/>
                <a:gd name="T36" fmla="*/ 41 w 63"/>
                <a:gd name="T37" fmla="*/ 35 h 63"/>
                <a:gd name="T38" fmla="*/ 39 w 63"/>
                <a:gd name="T39" fmla="*/ 35 h 63"/>
                <a:gd name="T40" fmla="*/ 37 w 63"/>
                <a:gd name="T41" fmla="*/ 38 h 63"/>
                <a:gd name="T42" fmla="*/ 35 w 63"/>
                <a:gd name="T43" fmla="*/ 38 h 63"/>
                <a:gd name="T44" fmla="*/ 29 w 63"/>
                <a:gd name="T45" fmla="*/ 34 h 63"/>
                <a:gd name="T46" fmla="*/ 25 w 63"/>
                <a:gd name="T47" fmla="*/ 29 h 63"/>
                <a:gd name="T48" fmla="*/ 25 w 63"/>
                <a:gd name="T49" fmla="*/ 28 h 63"/>
                <a:gd name="T50" fmla="*/ 26 w 63"/>
                <a:gd name="T51" fmla="*/ 26 h 63"/>
                <a:gd name="T52" fmla="*/ 27 w 63"/>
                <a:gd name="T53" fmla="*/ 25 h 63"/>
                <a:gd name="T54" fmla="*/ 27 w 63"/>
                <a:gd name="T55" fmla="*/ 24 h 63"/>
                <a:gd name="T56" fmla="*/ 24 w 63"/>
                <a:gd name="T57" fmla="*/ 18 h 63"/>
                <a:gd name="T58" fmla="*/ 23 w 63"/>
                <a:gd name="T59" fmla="*/ 17 h 63"/>
                <a:gd name="T60" fmla="*/ 21 w 63"/>
                <a:gd name="T61" fmla="*/ 17 h 63"/>
                <a:gd name="T62" fmla="*/ 19 w 63"/>
                <a:gd name="T63" fmla="*/ 18 h 63"/>
                <a:gd name="T64" fmla="*/ 17 w 63"/>
                <a:gd name="T65" fmla="*/ 24 h 63"/>
                <a:gd name="T66" fmla="*/ 20 w 63"/>
                <a:gd name="T67" fmla="*/ 32 h 63"/>
                <a:gd name="T68" fmla="*/ 33 w 63"/>
                <a:gd name="T69" fmla="*/ 43 h 63"/>
                <a:gd name="T70" fmla="*/ 42 w 63"/>
                <a:gd name="T71" fmla="*/ 45 h 63"/>
                <a:gd name="T72" fmla="*/ 47 w 63"/>
                <a:gd name="T73" fmla="*/ 42 h 63"/>
                <a:gd name="T74" fmla="*/ 47 w 63"/>
                <a:gd name="T75" fmla="*/ 38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3" h="63">
                  <a:moveTo>
                    <a:pt x="63" y="31"/>
                  </a:moveTo>
                  <a:cubicBezTo>
                    <a:pt x="63" y="48"/>
                    <a:pt x="49" y="62"/>
                    <a:pt x="32" y="62"/>
                  </a:cubicBezTo>
                  <a:cubicBezTo>
                    <a:pt x="26" y="62"/>
                    <a:pt x="21" y="60"/>
                    <a:pt x="17" y="58"/>
                  </a:cubicBezTo>
                  <a:cubicBezTo>
                    <a:pt x="0" y="63"/>
                    <a:pt x="0" y="63"/>
                    <a:pt x="0" y="63"/>
                  </a:cubicBezTo>
                  <a:cubicBezTo>
                    <a:pt x="5" y="47"/>
                    <a:pt x="5" y="47"/>
                    <a:pt x="5" y="47"/>
                  </a:cubicBezTo>
                  <a:cubicBezTo>
                    <a:pt x="2" y="42"/>
                    <a:pt x="1" y="37"/>
                    <a:pt x="1" y="31"/>
                  </a:cubicBezTo>
                  <a:cubicBezTo>
                    <a:pt x="1" y="14"/>
                    <a:pt x="15" y="0"/>
                    <a:pt x="32" y="0"/>
                  </a:cubicBezTo>
                  <a:cubicBezTo>
                    <a:pt x="49" y="0"/>
                    <a:pt x="63" y="14"/>
                    <a:pt x="63" y="31"/>
                  </a:cubicBezTo>
                  <a:moveTo>
                    <a:pt x="32" y="5"/>
                  </a:moveTo>
                  <a:cubicBezTo>
                    <a:pt x="17" y="5"/>
                    <a:pt x="6" y="17"/>
                    <a:pt x="6" y="31"/>
                  </a:cubicBezTo>
                  <a:cubicBezTo>
                    <a:pt x="6" y="37"/>
                    <a:pt x="7" y="42"/>
                    <a:pt x="11" y="46"/>
                  </a:cubicBezTo>
                  <a:cubicBezTo>
                    <a:pt x="7" y="56"/>
                    <a:pt x="7" y="56"/>
                    <a:pt x="7" y="56"/>
                  </a:cubicBezTo>
                  <a:cubicBezTo>
                    <a:pt x="17" y="52"/>
                    <a:pt x="17" y="52"/>
                    <a:pt x="17" y="52"/>
                  </a:cubicBezTo>
                  <a:cubicBezTo>
                    <a:pt x="21" y="55"/>
                    <a:pt x="26" y="57"/>
                    <a:pt x="32" y="57"/>
                  </a:cubicBezTo>
                  <a:cubicBezTo>
                    <a:pt x="46" y="57"/>
                    <a:pt x="58" y="45"/>
                    <a:pt x="58" y="31"/>
                  </a:cubicBezTo>
                  <a:cubicBezTo>
                    <a:pt x="58" y="17"/>
                    <a:pt x="46" y="5"/>
                    <a:pt x="32" y="5"/>
                  </a:cubicBezTo>
                  <a:moveTo>
                    <a:pt x="47" y="38"/>
                  </a:moveTo>
                  <a:cubicBezTo>
                    <a:pt x="47" y="38"/>
                    <a:pt x="47" y="37"/>
                    <a:pt x="46" y="37"/>
                  </a:cubicBezTo>
                  <a:cubicBezTo>
                    <a:pt x="45" y="37"/>
                    <a:pt x="41" y="35"/>
                    <a:pt x="41" y="35"/>
                  </a:cubicBezTo>
                  <a:cubicBezTo>
                    <a:pt x="40" y="34"/>
                    <a:pt x="40" y="34"/>
                    <a:pt x="39" y="35"/>
                  </a:cubicBezTo>
                  <a:cubicBezTo>
                    <a:pt x="38" y="36"/>
                    <a:pt x="37" y="37"/>
                    <a:pt x="37" y="38"/>
                  </a:cubicBezTo>
                  <a:cubicBezTo>
                    <a:pt x="36" y="38"/>
                    <a:pt x="36" y="39"/>
                    <a:pt x="35" y="38"/>
                  </a:cubicBezTo>
                  <a:cubicBezTo>
                    <a:pt x="34" y="38"/>
                    <a:pt x="32" y="37"/>
                    <a:pt x="29" y="34"/>
                  </a:cubicBezTo>
                  <a:cubicBezTo>
                    <a:pt x="27" y="32"/>
                    <a:pt x="25" y="30"/>
                    <a:pt x="25" y="29"/>
                  </a:cubicBezTo>
                  <a:cubicBezTo>
                    <a:pt x="24" y="28"/>
                    <a:pt x="25" y="28"/>
                    <a:pt x="25" y="28"/>
                  </a:cubicBezTo>
                  <a:cubicBezTo>
                    <a:pt x="25" y="27"/>
                    <a:pt x="26" y="27"/>
                    <a:pt x="26" y="26"/>
                  </a:cubicBezTo>
                  <a:cubicBezTo>
                    <a:pt x="26" y="26"/>
                    <a:pt x="27" y="26"/>
                    <a:pt x="27" y="25"/>
                  </a:cubicBezTo>
                  <a:cubicBezTo>
                    <a:pt x="27" y="25"/>
                    <a:pt x="27" y="24"/>
                    <a:pt x="27" y="24"/>
                  </a:cubicBezTo>
                  <a:cubicBezTo>
                    <a:pt x="27" y="23"/>
                    <a:pt x="25" y="20"/>
                    <a:pt x="24" y="18"/>
                  </a:cubicBezTo>
                  <a:cubicBezTo>
                    <a:pt x="24" y="17"/>
                    <a:pt x="23" y="17"/>
                    <a:pt x="23" y="17"/>
                  </a:cubicBezTo>
                  <a:cubicBezTo>
                    <a:pt x="22" y="17"/>
                    <a:pt x="22" y="17"/>
                    <a:pt x="21" y="17"/>
                  </a:cubicBezTo>
                  <a:cubicBezTo>
                    <a:pt x="21" y="17"/>
                    <a:pt x="20" y="17"/>
                    <a:pt x="19" y="18"/>
                  </a:cubicBezTo>
                  <a:cubicBezTo>
                    <a:pt x="19" y="19"/>
                    <a:pt x="17" y="20"/>
                    <a:pt x="17" y="24"/>
                  </a:cubicBezTo>
                  <a:cubicBezTo>
                    <a:pt x="17" y="28"/>
                    <a:pt x="19" y="31"/>
                    <a:pt x="20" y="32"/>
                  </a:cubicBezTo>
                  <a:cubicBezTo>
                    <a:pt x="20" y="32"/>
                    <a:pt x="25" y="40"/>
                    <a:pt x="33" y="43"/>
                  </a:cubicBezTo>
                  <a:cubicBezTo>
                    <a:pt x="40" y="46"/>
                    <a:pt x="40" y="45"/>
                    <a:pt x="42" y="45"/>
                  </a:cubicBezTo>
                  <a:cubicBezTo>
                    <a:pt x="43" y="45"/>
                    <a:pt x="46" y="43"/>
                    <a:pt x="47" y="42"/>
                  </a:cubicBezTo>
                  <a:cubicBezTo>
                    <a:pt x="48" y="40"/>
                    <a:pt x="48" y="38"/>
                    <a:pt x="47" y="38"/>
                  </a:cubicBezTo>
                </a:path>
              </a:pathLst>
            </a:custGeom>
            <a:solidFill>
              <a:srgbClr val="CCCCC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12" name="Freeform 118">
              <a:extLst>
                <a:ext uri="{FF2B5EF4-FFF2-40B4-BE49-F238E27FC236}">
                  <a16:creationId xmlns:a16="http://schemas.microsoft.com/office/drawing/2014/main" id="{F7BDBCA4-A8F2-4BC8-96E6-B51B2494842E}"/>
                </a:ext>
              </a:extLst>
            </p:cNvPr>
            <p:cNvSpPr>
              <a:spLocks noEditPoints="1"/>
            </p:cNvSpPr>
            <p:nvPr/>
          </p:nvSpPr>
          <p:spPr bwMode="auto">
            <a:xfrm>
              <a:off x="5280229" y="1281005"/>
              <a:ext cx="125652" cy="122471"/>
            </a:xfrm>
            <a:custGeom>
              <a:avLst/>
              <a:gdLst>
                <a:gd name="T0" fmla="*/ 64 w 64"/>
                <a:gd name="T1" fmla="*/ 31 h 63"/>
                <a:gd name="T2" fmla="*/ 33 w 64"/>
                <a:gd name="T3" fmla="*/ 62 h 63"/>
                <a:gd name="T4" fmla="*/ 18 w 64"/>
                <a:gd name="T5" fmla="*/ 58 h 63"/>
                <a:gd name="T6" fmla="*/ 0 w 64"/>
                <a:gd name="T7" fmla="*/ 63 h 63"/>
                <a:gd name="T8" fmla="*/ 6 w 64"/>
                <a:gd name="T9" fmla="*/ 47 h 63"/>
                <a:gd name="T10" fmla="*/ 2 w 64"/>
                <a:gd name="T11" fmla="*/ 31 h 63"/>
                <a:gd name="T12" fmla="*/ 33 w 64"/>
                <a:gd name="T13" fmla="*/ 0 h 63"/>
                <a:gd name="T14" fmla="*/ 64 w 64"/>
                <a:gd name="T15" fmla="*/ 31 h 63"/>
                <a:gd name="T16" fmla="*/ 33 w 64"/>
                <a:gd name="T17" fmla="*/ 5 h 63"/>
                <a:gd name="T18" fmla="*/ 7 w 64"/>
                <a:gd name="T19" fmla="*/ 31 h 63"/>
                <a:gd name="T20" fmla="*/ 12 w 64"/>
                <a:gd name="T21" fmla="*/ 46 h 63"/>
                <a:gd name="T22" fmla="*/ 8 w 64"/>
                <a:gd name="T23" fmla="*/ 56 h 63"/>
                <a:gd name="T24" fmla="*/ 18 w 64"/>
                <a:gd name="T25" fmla="*/ 53 h 63"/>
                <a:gd name="T26" fmla="*/ 33 w 64"/>
                <a:gd name="T27" fmla="*/ 57 h 63"/>
                <a:gd name="T28" fmla="*/ 59 w 64"/>
                <a:gd name="T29" fmla="*/ 31 h 63"/>
                <a:gd name="T30" fmla="*/ 33 w 64"/>
                <a:gd name="T31" fmla="*/ 5 h 63"/>
                <a:gd name="T32" fmla="*/ 48 w 64"/>
                <a:gd name="T33" fmla="*/ 38 h 63"/>
                <a:gd name="T34" fmla="*/ 47 w 64"/>
                <a:gd name="T35" fmla="*/ 37 h 63"/>
                <a:gd name="T36" fmla="*/ 42 w 64"/>
                <a:gd name="T37" fmla="*/ 35 h 63"/>
                <a:gd name="T38" fmla="*/ 40 w 64"/>
                <a:gd name="T39" fmla="*/ 35 h 63"/>
                <a:gd name="T40" fmla="*/ 38 w 64"/>
                <a:gd name="T41" fmla="*/ 38 h 63"/>
                <a:gd name="T42" fmla="*/ 36 w 64"/>
                <a:gd name="T43" fmla="*/ 38 h 63"/>
                <a:gd name="T44" fmla="*/ 30 w 64"/>
                <a:gd name="T45" fmla="*/ 34 h 63"/>
                <a:gd name="T46" fmla="*/ 26 w 64"/>
                <a:gd name="T47" fmla="*/ 29 h 63"/>
                <a:gd name="T48" fmla="*/ 26 w 64"/>
                <a:gd name="T49" fmla="*/ 28 h 63"/>
                <a:gd name="T50" fmla="*/ 27 w 64"/>
                <a:gd name="T51" fmla="*/ 26 h 63"/>
                <a:gd name="T52" fmla="*/ 28 w 64"/>
                <a:gd name="T53" fmla="*/ 25 h 63"/>
                <a:gd name="T54" fmla="*/ 28 w 64"/>
                <a:gd name="T55" fmla="*/ 24 h 63"/>
                <a:gd name="T56" fmla="*/ 25 w 64"/>
                <a:gd name="T57" fmla="*/ 18 h 63"/>
                <a:gd name="T58" fmla="*/ 24 w 64"/>
                <a:gd name="T59" fmla="*/ 17 h 63"/>
                <a:gd name="T60" fmla="*/ 22 w 64"/>
                <a:gd name="T61" fmla="*/ 17 h 63"/>
                <a:gd name="T62" fmla="*/ 20 w 64"/>
                <a:gd name="T63" fmla="*/ 18 h 63"/>
                <a:gd name="T64" fmla="*/ 18 w 64"/>
                <a:gd name="T65" fmla="*/ 24 h 63"/>
                <a:gd name="T66" fmla="*/ 21 w 64"/>
                <a:gd name="T67" fmla="*/ 32 h 63"/>
                <a:gd name="T68" fmla="*/ 34 w 64"/>
                <a:gd name="T69" fmla="*/ 43 h 63"/>
                <a:gd name="T70" fmla="*/ 43 w 64"/>
                <a:gd name="T71" fmla="*/ 45 h 63"/>
                <a:gd name="T72" fmla="*/ 48 w 64"/>
                <a:gd name="T73" fmla="*/ 42 h 63"/>
                <a:gd name="T74" fmla="*/ 48 w 64"/>
                <a:gd name="T75" fmla="*/ 38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4" h="63">
                  <a:moveTo>
                    <a:pt x="64" y="31"/>
                  </a:moveTo>
                  <a:cubicBezTo>
                    <a:pt x="64" y="48"/>
                    <a:pt x="50" y="62"/>
                    <a:pt x="33" y="62"/>
                  </a:cubicBezTo>
                  <a:cubicBezTo>
                    <a:pt x="27" y="62"/>
                    <a:pt x="22" y="60"/>
                    <a:pt x="18" y="58"/>
                  </a:cubicBezTo>
                  <a:cubicBezTo>
                    <a:pt x="0" y="63"/>
                    <a:pt x="0" y="63"/>
                    <a:pt x="0" y="63"/>
                  </a:cubicBezTo>
                  <a:cubicBezTo>
                    <a:pt x="6" y="47"/>
                    <a:pt x="6" y="47"/>
                    <a:pt x="6" y="47"/>
                  </a:cubicBezTo>
                  <a:cubicBezTo>
                    <a:pt x="3" y="42"/>
                    <a:pt x="2" y="37"/>
                    <a:pt x="2" y="31"/>
                  </a:cubicBezTo>
                  <a:cubicBezTo>
                    <a:pt x="2" y="14"/>
                    <a:pt x="16" y="0"/>
                    <a:pt x="33" y="0"/>
                  </a:cubicBezTo>
                  <a:cubicBezTo>
                    <a:pt x="50" y="0"/>
                    <a:pt x="64" y="14"/>
                    <a:pt x="64" y="31"/>
                  </a:cubicBezTo>
                  <a:moveTo>
                    <a:pt x="33" y="5"/>
                  </a:moveTo>
                  <a:cubicBezTo>
                    <a:pt x="18" y="5"/>
                    <a:pt x="7" y="17"/>
                    <a:pt x="7" y="31"/>
                  </a:cubicBezTo>
                  <a:cubicBezTo>
                    <a:pt x="7" y="37"/>
                    <a:pt x="8" y="42"/>
                    <a:pt x="12" y="46"/>
                  </a:cubicBezTo>
                  <a:cubicBezTo>
                    <a:pt x="8" y="56"/>
                    <a:pt x="8" y="56"/>
                    <a:pt x="8" y="56"/>
                  </a:cubicBezTo>
                  <a:cubicBezTo>
                    <a:pt x="18" y="53"/>
                    <a:pt x="18" y="53"/>
                    <a:pt x="18" y="53"/>
                  </a:cubicBezTo>
                  <a:cubicBezTo>
                    <a:pt x="22" y="55"/>
                    <a:pt x="27" y="57"/>
                    <a:pt x="33" y="57"/>
                  </a:cubicBezTo>
                  <a:cubicBezTo>
                    <a:pt x="47" y="57"/>
                    <a:pt x="59" y="45"/>
                    <a:pt x="59" y="31"/>
                  </a:cubicBezTo>
                  <a:cubicBezTo>
                    <a:pt x="59" y="17"/>
                    <a:pt x="47" y="5"/>
                    <a:pt x="33" y="5"/>
                  </a:cubicBezTo>
                  <a:moveTo>
                    <a:pt x="48" y="38"/>
                  </a:moveTo>
                  <a:cubicBezTo>
                    <a:pt x="48" y="38"/>
                    <a:pt x="48" y="38"/>
                    <a:pt x="47" y="37"/>
                  </a:cubicBezTo>
                  <a:cubicBezTo>
                    <a:pt x="46" y="37"/>
                    <a:pt x="42" y="35"/>
                    <a:pt x="42" y="35"/>
                  </a:cubicBezTo>
                  <a:cubicBezTo>
                    <a:pt x="41" y="34"/>
                    <a:pt x="40" y="34"/>
                    <a:pt x="40" y="35"/>
                  </a:cubicBezTo>
                  <a:cubicBezTo>
                    <a:pt x="39" y="36"/>
                    <a:pt x="38" y="38"/>
                    <a:pt x="38" y="38"/>
                  </a:cubicBezTo>
                  <a:cubicBezTo>
                    <a:pt x="37" y="39"/>
                    <a:pt x="37" y="39"/>
                    <a:pt x="36" y="38"/>
                  </a:cubicBezTo>
                  <a:cubicBezTo>
                    <a:pt x="35" y="38"/>
                    <a:pt x="33" y="37"/>
                    <a:pt x="30" y="34"/>
                  </a:cubicBezTo>
                  <a:cubicBezTo>
                    <a:pt x="28" y="32"/>
                    <a:pt x="26" y="30"/>
                    <a:pt x="26" y="29"/>
                  </a:cubicBezTo>
                  <a:cubicBezTo>
                    <a:pt x="25" y="28"/>
                    <a:pt x="26" y="28"/>
                    <a:pt x="26" y="28"/>
                  </a:cubicBezTo>
                  <a:cubicBezTo>
                    <a:pt x="26" y="27"/>
                    <a:pt x="27" y="27"/>
                    <a:pt x="27" y="26"/>
                  </a:cubicBezTo>
                  <a:cubicBezTo>
                    <a:pt x="27" y="26"/>
                    <a:pt x="28" y="26"/>
                    <a:pt x="28" y="25"/>
                  </a:cubicBezTo>
                  <a:cubicBezTo>
                    <a:pt x="28" y="25"/>
                    <a:pt x="28" y="24"/>
                    <a:pt x="28" y="24"/>
                  </a:cubicBezTo>
                  <a:cubicBezTo>
                    <a:pt x="28" y="23"/>
                    <a:pt x="26" y="20"/>
                    <a:pt x="25" y="18"/>
                  </a:cubicBezTo>
                  <a:cubicBezTo>
                    <a:pt x="25" y="17"/>
                    <a:pt x="24" y="17"/>
                    <a:pt x="24" y="17"/>
                  </a:cubicBezTo>
                  <a:cubicBezTo>
                    <a:pt x="23" y="17"/>
                    <a:pt x="23" y="17"/>
                    <a:pt x="22" y="17"/>
                  </a:cubicBezTo>
                  <a:cubicBezTo>
                    <a:pt x="22" y="17"/>
                    <a:pt x="21" y="17"/>
                    <a:pt x="20" y="18"/>
                  </a:cubicBezTo>
                  <a:cubicBezTo>
                    <a:pt x="19" y="19"/>
                    <a:pt x="18" y="20"/>
                    <a:pt x="18" y="24"/>
                  </a:cubicBezTo>
                  <a:cubicBezTo>
                    <a:pt x="18" y="28"/>
                    <a:pt x="20" y="31"/>
                    <a:pt x="21" y="32"/>
                  </a:cubicBezTo>
                  <a:cubicBezTo>
                    <a:pt x="21" y="32"/>
                    <a:pt x="26" y="40"/>
                    <a:pt x="34" y="43"/>
                  </a:cubicBezTo>
                  <a:cubicBezTo>
                    <a:pt x="41" y="46"/>
                    <a:pt x="41" y="45"/>
                    <a:pt x="43" y="45"/>
                  </a:cubicBezTo>
                  <a:cubicBezTo>
                    <a:pt x="44" y="45"/>
                    <a:pt x="47" y="43"/>
                    <a:pt x="48" y="42"/>
                  </a:cubicBezTo>
                  <a:cubicBezTo>
                    <a:pt x="49" y="40"/>
                    <a:pt x="49" y="38"/>
                    <a:pt x="48" y="38"/>
                  </a:cubicBezTo>
                </a:path>
              </a:pathLst>
            </a:custGeom>
            <a:solidFill>
              <a:srgbClr val="CCCCC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13" name="Freeform 119">
              <a:extLst>
                <a:ext uri="{FF2B5EF4-FFF2-40B4-BE49-F238E27FC236}">
                  <a16:creationId xmlns:a16="http://schemas.microsoft.com/office/drawing/2014/main" id="{53B1DC9E-BA28-4D04-8163-03A10F157E62}"/>
                </a:ext>
              </a:extLst>
            </p:cNvPr>
            <p:cNvSpPr>
              <a:spLocks noEditPoints="1"/>
            </p:cNvSpPr>
            <p:nvPr/>
          </p:nvSpPr>
          <p:spPr bwMode="auto">
            <a:xfrm>
              <a:off x="5170483" y="1826554"/>
              <a:ext cx="125652" cy="122471"/>
            </a:xfrm>
            <a:custGeom>
              <a:avLst/>
              <a:gdLst>
                <a:gd name="T0" fmla="*/ 64 w 64"/>
                <a:gd name="T1" fmla="*/ 31 h 63"/>
                <a:gd name="T2" fmla="*/ 33 w 64"/>
                <a:gd name="T3" fmla="*/ 62 h 63"/>
                <a:gd name="T4" fmla="*/ 18 w 64"/>
                <a:gd name="T5" fmla="*/ 58 h 63"/>
                <a:gd name="T6" fmla="*/ 0 w 64"/>
                <a:gd name="T7" fmla="*/ 63 h 63"/>
                <a:gd name="T8" fmla="*/ 6 w 64"/>
                <a:gd name="T9" fmla="*/ 47 h 63"/>
                <a:gd name="T10" fmla="*/ 2 w 64"/>
                <a:gd name="T11" fmla="*/ 31 h 63"/>
                <a:gd name="T12" fmla="*/ 33 w 64"/>
                <a:gd name="T13" fmla="*/ 0 h 63"/>
                <a:gd name="T14" fmla="*/ 64 w 64"/>
                <a:gd name="T15" fmla="*/ 31 h 63"/>
                <a:gd name="T16" fmla="*/ 33 w 64"/>
                <a:gd name="T17" fmla="*/ 5 h 63"/>
                <a:gd name="T18" fmla="*/ 7 w 64"/>
                <a:gd name="T19" fmla="*/ 31 h 63"/>
                <a:gd name="T20" fmla="*/ 12 w 64"/>
                <a:gd name="T21" fmla="*/ 46 h 63"/>
                <a:gd name="T22" fmla="*/ 8 w 64"/>
                <a:gd name="T23" fmla="*/ 56 h 63"/>
                <a:gd name="T24" fmla="*/ 18 w 64"/>
                <a:gd name="T25" fmla="*/ 53 h 63"/>
                <a:gd name="T26" fmla="*/ 33 w 64"/>
                <a:gd name="T27" fmla="*/ 57 h 63"/>
                <a:gd name="T28" fmla="*/ 59 w 64"/>
                <a:gd name="T29" fmla="*/ 31 h 63"/>
                <a:gd name="T30" fmla="*/ 33 w 64"/>
                <a:gd name="T31" fmla="*/ 5 h 63"/>
                <a:gd name="T32" fmla="*/ 48 w 64"/>
                <a:gd name="T33" fmla="*/ 38 h 63"/>
                <a:gd name="T34" fmla="*/ 47 w 64"/>
                <a:gd name="T35" fmla="*/ 37 h 63"/>
                <a:gd name="T36" fmla="*/ 42 w 64"/>
                <a:gd name="T37" fmla="*/ 35 h 63"/>
                <a:gd name="T38" fmla="*/ 40 w 64"/>
                <a:gd name="T39" fmla="*/ 35 h 63"/>
                <a:gd name="T40" fmla="*/ 38 w 64"/>
                <a:gd name="T41" fmla="*/ 38 h 63"/>
                <a:gd name="T42" fmla="*/ 36 w 64"/>
                <a:gd name="T43" fmla="*/ 38 h 63"/>
                <a:gd name="T44" fmla="*/ 30 w 64"/>
                <a:gd name="T45" fmla="*/ 34 h 63"/>
                <a:gd name="T46" fmla="*/ 26 w 64"/>
                <a:gd name="T47" fmla="*/ 29 h 63"/>
                <a:gd name="T48" fmla="*/ 26 w 64"/>
                <a:gd name="T49" fmla="*/ 28 h 63"/>
                <a:gd name="T50" fmla="*/ 27 w 64"/>
                <a:gd name="T51" fmla="*/ 26 h 63"/>
                <a:gd name="T52" fmla="*/ 28 w 64"/>
                <a:gd name="T53" fmla="*/ 25 h 63"/>
                <a:gd name="T54" fmla="*/ 28 w 64"/>
                <a:gd name="T55" fmla="*/ 24 h 63"/>
                <a:gd name="T56" fmla="*/ 25 w 64"/>
                <a:gd name="T57" fmla="*/ 18 h 63"/>
                <a:gd name="T58" fmla="*/ 24 w 64"/>
                <a:gd name="T59" fmla="*/ 17 h 63"/>
                <a:gd name="T60" fmla="*/ 22 w 64"/>
                <a:gd name="T61" fmla="*/ 17 h 63"/>
                <a:gd name="T62" fmla="*/ 20 w 64"/>
                <a:gd name="T63" fmla="*/ 18 h 63"/>
                <a:gd name="T64" fmla="*/ 18 w 64"/>
                <a:gd name="T65" fmla="*/ 24 h 63"/>
                <a:gd name="T66" fmla="*/ 21 w 64"/>
                <a:gd name="T67" fmla="*/ 32 h 63"/>
                <a:gd name="T68" fmla="*/ 34 w 64"/>
                <a:gd name="T69" fmla="*/ 43 h 63"/>
                <a:gd name="T70" fmla="*/ 43 w 64"/>
                <a:gd name="T71" fmla="*/ 45 h 63"/>
                <a:gd name="T72" fmla="*/ 48 w 64"/>
                <a:gd name="T73" fmla="*/ 42 h 63"/>
                <a:gd name="T74" fmla="*/ 48 w 64"/>
                <a:gd name="T75" fmla="*/ 38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4" h="63">
                  <a:moveTo>
                    <a:pt x="64" y="31"/>
                  </a:moveTo>
                  <a:cubicBezTo>
                    <a:pt x="64" y="48"/>
                    <a:pt x="50" y="62"/>
                    <a:pt x="33" y="62"/>
                  </a:cubicBezTo>
                  <a:cubicBezTo>
                    <a:pt x="27" y="62"/>
                    <a:pt x="22" y="60"/>
                    <a:pt x="18" y="58"/>
                  </a:cubicBezTo>
                  <a:cubicBezTo>
                    <a:pt x="0" y="63"/>
                    <a:pt x="0" y="63"/>
                    <a:pt x="0" y="63"/>
                  </a:cubicBezTo>
                  <a:cubicBezTo>
                    <a:pt x="6" y="47"/>
                    <a:pt x="6" y="47"/>
                    <a:pt x="6" y="47"/>
                  </a:cubicBezTo>
                  <a:cubicBezTo>
                    <a:pt x="3" y="42"/>
                    <a:pt x="2" y="37"/>
                    <a:pt x="2" y="31"/>
                  </a:cubicBezTo>
                  <a:cubicBezTo>
                    <a:pt x="2" y="14"/>
                    <a:pt x="16" y="0"/>
                    <a:pt x="33" y="0"/>
                  </a:cubicBezTo>
                  <a:cubicBezTo>
                    <a:pt x="50" y="0"/>
                    <a:pt x="64" y="14"/>
                    <a:pt x="64" y="31"/>
                  </a:cubicBezTo>
                  <a:moveTo>
                    <a:pt x="33" y="5"/>
                  </a:moveTo>
                  <a:cubicBezTo>
                    <a:pt x="18" y="5"/>
                    <a:pt x="7" y="17"/>
                    <a:pt x="7" y="31"/>
                  </a:cubicBezTo>
                  <a:cubicBezTo>
                    <a:pt x="7" y="37"/>
                    <a:pt x="8" y="42"/>
                    <a:pt x="12" y="46"/>
                  </a:cubicBezTo>
                  <a:cubicBezTo>
                    <a:pt x="8" y="56"/>
                    <a:pt x="8" y="56"/>
                    <a:pt x="8" y="56"/>
                  </a:cubicBezTo>
                  <a:cubicBezTo>
                    <a:pt x="18" y="53"/>
                    <a:pt x="18" y="53"/>
                    <a:pt x="18" y="53"/>
                  </a:cubicBezTo>
                  <a:cubicBezTo>
                    <a:pt x="22" y="55"/>
                    <a:pt x="27" y="57"/>
                    <a:pt x="33" y="57"/>
                  </a:cubicBezTo>
                  <a:cubicBezTo>
                    <a:pt x="47" y="57"/>
                    <a:pt x="59" y="45"/>
                    <a:pt x="59" y="31"/>
                  </a:cubicBezTo>
                  <a:cubicBezTo>
                    <a:pt x="59" y="17"/>
                    <a:pt x="47" y="5"/>
                    <a:pt x="33" y="5"/>
                  </a:cubicBezTo>
                  <a:moveTo>
                    <a:pt x="48" y="38"/>
                  </a:moveTo>
                  <a:cubicBezTo>
                    <a:pt x="48" y="38"/>
                    <a:pt x="48" y="38"/>
                    <a:pt x="47" y="37"/>
                  </a:cubicBezTo>
                  <a:cubicBezTo>
                    <a:pt x="46" y="37"/>
                    <a:pt x="42" y="35"/>
                    <a:pt x="42" y="35"/>
                  </a:cubicBezTo>
                  <a:cubicBezTo>
                    <a:pt x="41" y="34"/>
                    <a:pt x="40" y="34"/>
                    <a:pt x="40" y="35"/>
                  </a:cubicBezTo>
                  <a:cubicBezTo>
                    <a:pt x="39" y="36"/>
                    <a:pt x="38" y="38"/>
                    <a:pt x="38" y="38"/>
                  </a:cubicBezTo>
                  <a:cubicBezTo>
                    <a:pt x="37" y="39"/>
                    <a:pt x="37" y="39"/>
                    <a:pt x="36" y="38"/>
                  </a:cubicBezTo>
                  <a:cubicBezTo>
                    <a:pt x="35" y="38"/>
                    <a:pt x="33" y="37"/>
                    <a:pt x="30" y="34"/>
                  </a:cubicBezTo>
                  <a:cubicBezTo>
                    <a:pt x="28" y="32"/>
                    <a:pt x="26" y="30"/>
                    <a:pt x="26" y="29"/>
                  </a:cubicBezTo>
                  <a:cubicBezTo>
                    <a:pt x="25" y="28"/>
                    <a:pt x="26" y="28"/>
                    <a:pt x="26" y="28"/>
                  </a:cubicBezTo>
                  <a:cubicBezTo>
                    <a:pt x="26" y="27"/>
                    <a:pt x="27" y="27"/>
                    <a:pt x="27" y="26"/>
                  </a:cubicBezTo>
                  <a:cubicBezTo>
                    <a:pt x="27" y="26"/>
                    <a:pt x="28" y="26"/>
                    <a:pt x="28" y="25"/>
                  </a:cubicBezTo>
                  <a:cubicBezTo>
                    <a:pt x="28" y="25"/>
                    <a:pt x="28" y="24"/>
                    <a:pt x="28" y="24"/>
                  </a:cubicBezTo>
                  <a:cubicBezTo>
                    <a:pt x="28" y="23"/>
                    <a:pt x="26" y="20"/>
                    <a:pt x="25" y="18"/>
                  </a:cubicBezTo>
                  <a:cubicBezTo>
                    <a:pt x="25" y="17"/>
                    <a:pt x="24" y="17"/>
                    <a:pt x="24" y="17"/>
                  </a:cubicBezTo>
                  <a:cubicBezTo>
                    <a:pt x="23" y="17"/>
                    <a:pt x="23" y="17"/>
                    <a:pt x="22" y="17"/>
                  </a:cubicBezTo>
                  <a:cubicBezTo>
                    <a:pt x="22" y="17"/>
                    <a:pt x="21" y="17"/>
                    <a:pt x="20" y="18"/>
                  </a:cubicBezTo>
                  <a:cubicBezTo>
                    <a:pt x="19" y="19"/>
                    <a:pt x="18" y="20"/>
                    <a:pt x="18" y="24"/>
                  </a:cubicBezTo>
                  <a:cubicBezTo>
                    <a:pt x="18" y="28"/>
                    <a:pt x="20" y="31"/>
                    <a:pt x="21" y="32"/>
                  </a:cubicBezTo>
                  <a:cubicBezTo>
                    <a:pt x="21" y="32"/>
                    <a:pt x="26" y="40"/>
                    <a:pt x="34" y="43"/>
                  </a:cubicBezTo>
                  <a:cubicBezTo>
                    <a:pt x="41" y="46"/>
                    <a:pt x="41" y="45"/>
                    <a:pt x="43" y="45"/>
                  </a:cubicBezTo>
                  <a:cubicBezTo>
                    <a:pt x="44" y="45"/>
                    <a:pt x="47" y="43"/>
                    <a:pt x="48" y="42"/>
                  </a:cubicBezTo>
                  <a:cubicBezTo>
                    <a:pt x="49" y="40"/>
                    <a:pt x="49" y="38"/>
                    <a:pt x="48" y="38"/>
                  </a:cubicBezTo>
                </a:path>
              </a:pathLst>
            </a:custGeom>
            <a:solidFill>
              <a:srgbClr val="CCCCC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14" name="Freeform 120">
              <a:extLst>
                <a:ext uri="{FF2B5EF4-FFF2-40B4-BE49-F238E27FC236}">
                  <a16:creationId xmlns:a16="http://schemas.microsoft.com/office/drawing/2014/main" id="{5A4935D8-6044-4C36-AEA2-325F8064C1FF}"/>
                </a:ext>
              </a:extLst>
            </p:cNvPr>
            <p:cNvSpPr>
              <a:spLocks noEditPoints="1"/>
            </p:cNvSpPr>
            <p:nvPr/>
          </p:nvSpPr>
          <p:spPr bwMode="auto">
            <a:xfrm>
              <a:off x="4589943" y="3135554"/>
              <a:ext cx="122470" cy="122471"/>
            </a:xfrm>
            <a:custGeom>
              <a:avLst/>
              <a:gdLst>
                <a:gd name="T0" fmla="*/ 63 w 63"/>
                <a:gd name="T1" fmla="*/ 31 h 63"/>
                <a:gd name="T2" fmla="*/ 32 w 63"/>
                <a:gd name="T3" fmla="*/ 62 h 63"/>
                <a:gd name="T4" fmla="*/ 17 w 63"/>
                <a:gd name="T5" fmla="*/ 58 h 63"/>
                <a:gd name="T6" fmla="*/ 0 w 63"/>
                <a:gd name="T7" fmla="*/ 63 h 63"/>
                <a:gd name="T8" fmla="*/ 5 w 63"/>
                <a:gd name="T9" fmla="*/ 47 h 63"/>
                <a:gd name="T10" fmla="*/ 1 w 63"/>
                <a:gd name="T11" fmla="*/ 31 h 63"/>
                <a:gd name="T12" fmla="*/ 32 w 63"/>
                <a:gd name="T13" fmla="*/ 0 h 63"/>
                <a:gd name="T14" fmla="*/ 63 w 63"/>
                <a:gd name="T15" fmla="*/ 31 h 63"/>
                <a:gd name="T16" fmla="*/ 32 w 63"/>
                <a:gd name="T17" fmla="*/ 5 h 63"/>
                <a:gd name="T18" fmla="*/ 6 w 63"/>
                <a:gd name="T19" fmla="*/ 31 h 63"/>
                <a:gd name="T20" fmla="*/ 11 w 63"/>
                <a:gd name="T21" fmla="*/ 46 h 63"/>
                <a:gd name="T22" fmla="*/ 8 w 63"/>
                <a:gd name="T23" fmla="*/ 56 h 63"/>
                <a:gd name="T24" fmla="*/ 18 w 63"/>
                <a:gd name="T25" fmla="*/ 53 h 63"/>
                <a:gd name="T26" fmla="*/ 32 w 63"/>
                <a:gd name="T27" fmla="*/ 57 h 63"/>
                <a:gd name="T28" fmla="*/ 58 w 63"/>
                <a:gd name="T29" fmla="*/ 31 h 63"/>
                <a:gd name="T30" fmla="*/ 32 w 63"/>
                <a:gd name="T31" fmla="*/ 5 h 63"/>
                <a:gd name="T32" fmla="*/ 48 w 63"/>
                <a:gd name="T33" fmla="*/ 38 h 63"/>
                <a:gd name="T34" fmla="*/ 46 w 63"/>
                <a:gd name="T35" fmla="*/ 37 h 63"/>
                <a:gd name="T36" fmla="*/ 41 w 63"/>
                <a:gd name="T37" fmla="*/ 35 h 63"/>
                <a:gd name="T38" fmla="*/ 39 w 63"/>
                <a:gd name="T39" fmla="*/ 35 h 63"/>
                <a:gd name="T40" fmla="*/ 37 w 63"/>
                <a:gd name="T41" fmla="*/ 38 h 63"/>
                <a:gd name="T42" fmla="*/ 35 w 63"/>
                <a:gd name="T43" fmla="*/ 38 h 63"/>
                <a:gd name="T44" fmla="*/ 29 w 63"/>
                <a:gd name="T45" fmla="*/ 34 h 63"/>
                <a:gd name="T46" fmla="*/ 25 w 63"/>
                <a:gd name="T47" fmla="*/ 29 h 63"/>
                <a:gd name="T48" fmla="*/ 25 w 63"/>
                <a:gd name="T49" fmla="*/ 28 h 63"/>
                <a:gd name="T50" fmla="*/ 26 w 63"/>
                <a:gd name="T51" fmla="*/ 26 h 63"/>
                <a:gd name="T52" fmla="*/ 27 w 63"/>
                <a:gd name="T53" fmla="*/ 25 h 63"/>
                <a:gd name="T54" fmla="*/ 27 w 63"/>
                <a:gd name="T55" fmla="*/ 24 h 63"/>
                <a:gd name="T56" fmla="*/ 25 w 63"/>
                <a:gd name="T57" fmla="*/ 18 h 63"/>
                <a:gd name="T58" fmla="*/ 23 w 63"/>
                <a:gd name="T59" fmla="*/ 17 h 63"/>
                <a:gd name="T60" fmla="*/ 22 w 63"/>
                <a:gd name="T61" fmla="*/ 17 h 63"/>
                <a:gd name="T62" fmla="*/ 20 w 63"/>
                <a:gd name="T63" fmla="*/ 18 h 63"/>
                <a:gd name="T64" fmla="*/ 17 w 63"/>
                <a:gd name="T65" fmla="*/ 24 h 63"/>
                <a:gd name="T66" fmla="*/ 20 w 63"/>
                <a:gd name="T67" fmla="*/ 32 h 63"/>
                <a:gd name="T68" fmla="*/ 33 w 63"/>
                <a:gd name="T69" fmla="*/ 43 h 63"/>
                <a:gd name="T70" fmla="*/ 42 w 63"/>
                <a:gd name="T71" fmla="*/ 45 h 63"/>
                <a:gd name="T72" fmla="*/ 47 w 63"/>
                <a:gd name="T73" fmla="*/ 42 h 63"/>
                <a:gd name="T74" fmla="*/ 48 w 63"/>
                <a:gd name="T75" fmla="*/ 38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3" h="63">
                  <a:moveTo>
                    <a:pt x="63" y="31"/>
                  </a:moveTo>
                  <a:cubicBezTo>
                    <a:pt x="63" y="48"/>
                    <a:pt x="49" y="62"/>
                    <a:pt x="32" y="62"/>
                  </a:cubicBezTo>
                  <a:cubicBezTo>
                    <a:pt x="27" y="62"/>
                    <a:pt x="21" y="60"/>
                    <a:pt x="17" y="58"/>
                  </a:cubicBezTo>
                  <a:cubicBezTo>
                    <a:pt x="0" y="63"/>
                    <a:pt x="0" y="63"/>
                    <a:pt x="0" y="63"/>
                  </a:cubicBezTo>
                  <a:cubicBezTo>
                    <a:pt x="5" y="47"/>
                    <a:pt x="5" y="47"/>
                    <a:pt x="5" y="47"/>
                  </a:cubicBezTo>
                  <a:cubicBezTo>
                    <a:pt x="3" y="42"/>
                    <a:pt x="1" y="37"/>
                    <a:pt x="1" y="31"/>
                  </a:cubicBezTo>
                  <a:cubicBezTo>
                    <a:pt x="1" y="14"/>
                    <a:pt x="15" y="0"/>
                    <a:pt x="32" y="0"/>
                  </a:cubicBezTo>
                  <a:cubicBezTo>
                    <a:pt x="49" y="0"/>
                    <a:pt x="63" y="14"/>
                    <a:pt x="63" y="31"/>
                  </a:cubicBezTo>
                  <a:moveTo>
                    <a:pt x="32" y="5"/>
                  </a:moveTo>
                  <a:cubicBezTo>
                    <a:pt x="18" y="5"/>
                    <a:pt x="6" y="17"/>
                    <a:pt x="6" y="31"/>
                  </a:cubicBezTo>
                  <a:cubicBezTo>
                    <a:pt x="6" y="37"/>
                    <a:pt x="8" y="42"/>
                    <a:pt x="11" y="46"/>
                  </a:cubicBezTo>
                  <a:cubicBezTo>
                    <a:pt x="8" y="56"/>
                    <a:pt x="8" y="56"/>
                    <a:pt x="8" y="56"/>
                  </a:cubicBezTo>
                  <a:cubicBezTo>
                    <a:pt x="18" y="53"/>
                    <a:pt x="18" y="53"/>
                    <a:pt x="18" y="53"/>
                  </a:cubicBezTo>
                  <a:cubicBezTo>
                    <a:pt x="22" y="55"/>
                    <a:pt x="27" y="57"/>
                    <a:pt x="32" y="57"/>
                  </a:cubicBezTo>
                  <a:cubicBezTo>
                    <a:pt x="46" y="57"/>
                    <a:pt x="58" y="45"/>
                    <a:pt x="58" y="31"/>
                  </a:cubicBezTo>
                  <a:cubicBezTo>
                    <a:pt x="58" y="17"/>
                    <a:pt x="46" y="5"/>
                    <a:pt x="32" y="5"/>
                  </a:cubicBezTo>
                  <a:moveTo>
                    <a:pt x="48" y="38"/>
                  </a:moveTo>
                  <a:cubicBezTo>
                    <a:pt x="47" y="38"/>
                    <a:pt x="47" y="38"/>
                    <a:pt x="46" y="37"/>
                  </a:cubicBezTo>
                  <a:cubicBezTo>
                    <a:pt x="45" y="37"/>
                    <a:pt x="42" y="35"/>
                    <a:pt x="41" y="35"/>
                  </a:cubicBezTo>
                  <a:cubicBezTo>
                    <a:pt x="40" y="34"/>
                    <a:pt x="40" y="34"/>
                    <a:pt x="39" y="35"/>
                  </a:cubicBezTo>
                  <a:cubicBezTo>
                    <a:pt x="39" y="36"/>
                    <a:pt x="37" y="38"/>
                    <a:pt x="37" y="38"/>
                  </a:cubicBezTo>
                  <a:cubicBezTo>
                    <a:pt x="36" y="39"/>
                    <a:pt x="36" y="39"/>
                    <a:pt x="35" y="38"/>
                  </a:cubicBezTo>
                  <a:cubicBezTo>
                    <a:pt x="34" y="38"/>
                    <a:pt x="32" y="37"/>
                    <a:pt x="29" y="34"/>
                  </a:cubicBezTo>
                  <a:cubicBezTo>
                    <a:pt x="27" y="32"/>
                    <a:pt x="25" y="30"/>
                    <a:pt x="25" y="29"/>
                  </a:cubicBezTo>
                  <a:cubicBezTo>
                    <a:pt x="24" y="28"/>
                    <a:pt x="25" y="28"/>
                    <a:pt x="25" y="28"/>
                  </a:cubicBezTo>
                  <a:cubicBezTo>
                    <a:pt x="26" y="27"/>
                    <a:pt x="26" y="27"/>
                    <a:pt x="26" y="26"/>
                  </a:cubicBezTo>
                  <a:cubicBezTo>
                    <a:pt x="27" y="26"/>
                    <a:pt x="27" y="26"/>
                    <a:pt x="27" y="25"/>
                  </a:cubicBezTo>
                  <a:cubicBezTo>
                    <a:pt x="27" y="25"/>
                    <a:pt x="27" y="24"/>
                    <a:pt x="27" y="24"/>
                  </a:cubicBezTo>
                  <a:cubicBezTo>
                    <a:pt x="27" y="23"/>
                    <a:pt x="25" y="20"/>
                    <a:pt x="25" y="18"/>
                  </a:cubicBezTo>
                  <a:cubicBezTo>
                    <a:pt x="24" y="17"/>
                    <a:pt x="23" y="17"/>
                    <a:pt x="23" y="17"/>
                  </a:cubicBezTo>
                  <a:cubicBezTo>
                    <a:pt x="23" y="17"/>
                    <a:pt x="22" y="17"/>
                    <a:pt x="22" y="17"/>
                  </a:cubicBezTo>
                  <a:cubicBezTo>
                    <a:pt x="21" y="17"/>
                    <a:pt x="20" y="17"/>
                    <a:pt x="20" y="18"/>
                  </a:cubicBezTo>
                  <a:cubicBezTo>
                    <a:pt x="19" y="19"/>
                    <a:pt x="17" y="20"/>
                    <a:pt x="17" y="24"/>
                  </a:cubicBezTo>
                  <a:cubicBezTo>
                    <a:pt x="17" y="28"/>
                    <a:pt x="20" y="31"/>
                    <a:pt x="20" y="32"/>
                  </a:cubicBezTo>
                  <a:cubicBezTo>
                    <a:pt x="20" y="32"/>
                    <a:pt x="25" y="40"/>
                    <a:pt x="33" y="43"/>
                  </a:cubicBezTo>
                  <a:cubicBezTo>
                    <a:pt x="41" y="46"/>
                    <a:pt x="41" y="45"/>
                    <a:pt x="42" y="45"/>
                  </a:cubicBezTo>
                  <a:cubicBezTo>
                    <a:pt x="43" y="45"/>
                    <a:pt x="47" y="43"/>
                    <a:pt x="47" y="42"/>
                  </a:cubicBezTo>
                  <a:cubicBezTo>
                    <a:pt x="48" y="40"/>
                    <a:pt x="48" y="38"/>
                    <a:pt x="48" y="38"/>
                  </a:cubicBezTo>
                </a:path>
              </a:pathLst>
            </a:custGeom>
            <a:solidFill>
              <a:srgbClr val="CCCCC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15" name="Freeform 121">
              <a:extLst>
                <a:ext uri="{FF2B5EF4-FFF2-40B4-BE49-F238E27FC236}">
                  <a16:creationId xmlns:a16="http://schemas.microsoft.com/office/drawing/2014/main" id="{E6360133-0013-4B9F-843E-7CEAA96B1012}"/>
                </a:ext>
              </a:extLst>
            </p:cNvPr>
            <p:cNvSpPr>
              <a:spLocks noEditPoints="1"/>
            </p:cNvSpPr>
            <p:nvPr/>
          </p:nvSpPr>
          <p:spPr bwMode="auto">
            <a:xfrm>
              <a:off x="3616543" y="3550680"/>
              <a:ext cx="124061" cy="124061"/>
            </a:xfrm>
            <a:custGeom>
              <a:avLst/>
              <a:gdLst>
                <a:gd name="T0" fmla="*/ 63 w 63"/>
                <a:gd name="T1" fmla="*/ 31 h 64"/>
                <a:gd name="T2" fmla="*/ 32 w 63"/>
                <a:gd name="T3" fmla="*/ 62 h 64"/>
                <a:gd name="T4" fmla="*/ 17 w 63"/>
                <a:gd name="T5" fmla="*/ 58 h 64"/>
                <a:gd name="T6" fmla="*/ 0 w 63"/>
                <a:gd name="T7" fmla="*/ 64 h 64"/>
                <a:gd name="T8" fmla="*/ 6 w 63"/>
                <a:gd name="T9" fmla="*/ 47 h 64"/>
                <a:gd name="T10" fmla="*/ 1 w 63"/>
                <a:gd name="T11" fmla="*/ 31 h 64"/>
                <a:gd name="T12" fmla="*/ 32 w 63"/>
                <a:gd name="T13" fmla="*/ 0 h 64"/>
                <a:gd name="T14" fmla="*/ 63 w 63"/>
                <a:gd name="T15" fmla="*/ 31 h 64"/>
                <a:gd name="T16" fmla="*/ 32 w 63"/>
                <a:gd name="T17" fmla="*/ 5 h 64"/>
                <a:gd name="T18" fmla="*/ 6 w 63"/>
                <a:gd name="T19" fmla="*/ 31 h 64"/>
                <a:gd name="T20" fmla="*/ 11 w 63"/>
                <a:gd name="T21" fmla="*/ 46 h 64"/>
                <a:gd name="T22" fmla="*/ 8 w 63"/>
                <a:gd name="T23" fmla="*/ 56 h 64"/>
                <a:gd name="T24" fmla="*/ 18 w 63"/>
                <a:gd name="T25" fmla="*/ 53 h 64"/>
                <a:gd name="T26" fmla="*/ 32 w 63"/>
                <a:gd name="T27" fmla="*/ 57 h 64"/>
                <a:gd name="T28" fmla="*/ 58 w 63"/>
                <a:gd name="T29" fmla="*/ 31 h 64"/>
                <a:gd name="T30" fmla="*/ 32 w 63"/>
                <a:gd name="T31" fmla="*/ 5 h 64"/>
                <a:gd name="T32" fmla="*/ 48 w 63"/>
                <a:gd name="T33" fmla="*/ 38 h 64"/>
                <a:gd name="T34" fmla="*/ 47 w 63"/>
                <a:gd name="T35" fmla="*/ 37 h 64"/>
                <a:gd name="T36" fmla="*/ 41 w 63"/>
                <a:gd name="T37" fmla="*/ 35 h 64"/>
                <a:gd name="T38" fmla="*/ 40 w 63"/>
                <a:gd name="T39" fmla="*/ 35 h 64"/>
                <a:gd name="T40" fmla="*/ 37 w 63"/>
                <a:gd name="T41" fmla="*/ 38 h 64"/>
                <a:gd name="T42" fmla="*/ 36 w 63"/>
                <a:gd name="T43" fmla="*/ 39 h 64"/>
                <a:gd name="T44" fmla="*/ 29 w 63"/>
                <a:gd name="T45" fmla="*/ 35 h 64"/>
                <a:gd name="T46" fmla="*/ 25 w 63"/>
                <a:gd name="T47" fmla="*/ 30 h 64"/>
                <a:gd name="T48" fmla="*/ 26 w 63"/>
                <a:gd name="T49" fmla="*/ 28 h 64"/>
                <a:gd name="T50" fmla="*/ 27 w 63"/>
                <a:gd name="T51" fmla="*/ 27 h 64"/>
                <a:gd name="T52" fmla="*/ 27 w 63"/>
                <a:gd name="T53" fmla="*/ 25 h 64"/>
                <a:gd name="T54" fmla="*/ 27 w 63"/>
                <a:gd name="T55" fmla="*/ 24 h 64"/>
                <a:gd name="T56" fmla="*/ 25 w 63"/>
                <a:gd name="T57" fmla="*/ 19 h 64"/>
                <a:gd name="T58" fmla="*/ 23 w 63"/>
                <a:gd name="T59" fmla="*/ 17 h 64"/>
                <a:gd name="T60" fmla="*/ 22 w 63"/>
                <a:gd name="T61" fmla="*/ 17 h 64"/>
                <a:gd name="T62" fmla="*/ 20 w 63"/>
                <a:gd name="T63" fmla="*/ 18 h 64"/>
                <a:gd name="T64" fmla="*/ 17 w 63"/>
                <a:gd name="T65" fmla="*/ 24 h 64"/>
                <a:gd name="T66" fmla="*/ 20 w 63"/>
                <a:gd name="T67" fmla="*/ 32 h 64"/>
                <a:gd name="T68" fmla="*/ 33 w 63"/>
                <a:gd name="T69" fmla="*/ 44 h 64"/>
                <a:gd name="T70" fmla="*/ 42 w 63"/>
                <a:gd name="T71" fmla="*/ 46 h 64"/>
                <a:gd name="T72" fmla="*/ 48 w 63"/>
                <a:gd name="T73" fmla="*/ 42 h 64"/>
                <a:gd name="T74" fmla="*/ 48 w 63"/>
                <a:gd name="T75" fmla="*/ 38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3" h="64">
                  <a:moveTo>
                    <a:pt x="63" y="31"/>
                  </a:moveTo>
                  <a:cubicBezTo>
                    <a:pt x="63" y="48"/>
                    <a:pt x="49" y="62"/>
                    <a:pt x="32" y="62"/>
                  </a:cubicBezTo>
                  <a:cubicBezTo>
                    <a:pt x="27" y="62"/>
                    <a:pt x="22" y="61"/>
                    <a:pt x="17" y="58"/>
                  </a:cubicBezTo>
                  <a:cubicBezTo>
                    <a:pt x="0" y="64"/>
                    <a:pt x="0" y="64"/>
                    <a:pt x="0" y="64"/>
                  </a:cubicBezTo>
                  <a:cubicBezTo>
                    <a:pt x="6" y="47"/>
                    <a:pt x="6" y="47"/>
                    <a:pt x="6" y="47"/>
                  </a:cubicBezTo>
                  <a:cubicBezTo>
                    <a:pt x="3" y="43"/>
                    <a:pt x="1" y="37"/>
                    <a:pt x="1" y="31"/>
                  </a:cubicBezTo>
                  <a:cubicBezTo>
                    <a:pt x="1" y="14"/>
                    <a:pt x="15" y="0"/>
                    <a:pt x="32" y="0"/>
                  </a:cubicBezTo>
                  <a:cubicBezTo>
                    <a:pt x="49" y="0"/>
                    <a:pt x="63" y="14"/>
                    <a:pt x="63" y="31"/>
                  </a:cubicBezTo>
                  <a:moveTo>
                    <a:pt x="32" y="5"/>
                  </a:moveTo>
                  <a:cubicBezTo>
                    <a:pt x="18" y="5"/>
                    <a:pt x="6" y="17"/>
                    <a:pt x="6" y="31"/>
                  </a:cubicBezTo>
                  <a:cubicBezTo>
                    <a:pt x="6" y="37"/>
                    <a:pt x="8" y="42"/>
                    <a:pt x="11" y="46"/>
                  </a:cubicBezTo>
                  <a:cubicBezTo>
                    <a:pt x="8" y="56"/>
                    <a:pt x="8" y="56"/>
                    <a:pt x="8" y="56"/>
                  </a:cubicBezTo>
                  <a:cubicBezTo>
                    <a:pt x="18" y="53"/>
                    <a:pt x="18" y="53"/>
                    <a:pt x="18" y="53"/>
                  </a:cubicBezTo>
                  <a:cubicBezTo>
                    <a:pt x="22" y="56"/>
                    <a:pt x="27" y="57"/>
                    <a:pt x="32" y="57"/>
                  </a:cubicBezTo>
                  <a:cubicBezTo>
                    <a:pt x="47" y="57"/>
                    <a:pt x="58" y="46"/>
                    <a:pt x="58" y="31"/>
                  </a:cubicBezTo>
                  <a:cubicBezTo>
                    <a:pt x="58" y="17"/>
                    <a:pt x="47" y="5"/>
                    <a:pt x="32" y="5"/>
                  </a:cubicBezTo>
                  <a:moveTo>
                    <a:pt x="48" y="38"/>
                  </a:moveTo>
                  <a:cubicBezTo>
                    <a:pt x="48" y="38"/>
                    <a:pt x="47" y="38"/>
                    <a:pt x="47" y="37"/>
                  </a:cubicBezTo>
                  <a:cubicBezTo>
                    <a:pt x="46" y="37"/>
                    <a:pt x="42" y="35"/>
                    <a:pt x="41" y="35"/>
                  </a:cubicBezTo>
                  <a:cubicBezTo>
                    <a:pt x="41" y="35"/>
                    <a:pt x="40" y="35"/>
                    <a:pt x="40" y="35"/>
                  </a:cubicBezTo>
                  <a:cubicBezTo>
                    <a:pt x="39" y="36"/>
                    <a:pt x="38" y="38"/>
                    <a:pt x="37" y="38"/>
                  </a:cubicBezTo>
                  <a:cubicBezTo>
                    <a:pt x="37" y="39"/>
                    <a:pt x="36" y="39"/>
                    <a:pt x="36" y="39"/>
                  </a:cubicBezTo>
                  <a:cubicBezTo>
                    <a:pt x="35" y="38"/>
                    <a:pt x="32" y="37"/>
                    <a:pt x="29" y="35"/>
                  </a:cubicBezTo>
                  <a:cubicBezTo>
                    <a:pt x="27" y="33"/>
                    <a:pt x="26" y="30"/>
                    <a:pt x="25" y="30"/>
                  </a:cubicBezTo>
                  <a:cubicBezTo>
                    <a:pt x="25" y="29"/>
                    <a:pt x="25" y="28"/>
                    <a:pt x="26" y="28"/>
                  </a:cubicBezTo>
                  <a:cubicBezTo>
                    <a:pt x="26" y="28"/>
                    <a:pt x="26" y="27"/>
                    <a:pt x="27" y="27"/>
                  </a:cubicBezTo>
                  <a:cubicBezTo>
                    <a:pt x="27" y="26"/>
                    <a:pt x="27" y="26"/>
                    <a:pt x="27" y="25"/>
                  </a:cubicBezTo>
                  <a:cubicBezTo>
                    <a:pt x="28" y="25"/>
                    <a:pt x="28" y="24"/>
                    <a:pt x="27" y="24"/>
                  </a:cubicBezTo>
                  <a:cubicBezTo>
                    <a:pt x="27" y="24"/>
                    <a:pt x="26" y="20"/>
                    <a:pt x="25" y="19"/>
                  </a:cubicBezTo>
                  <a:cubicBezTo>
                    <a:pt x="24" y="17"/>
                    <a:pt x="24" y="17"/>
                    <a:pt x="23" y="17"/>
                  </a:cubicBezTo>
                  <a:cubicBezTo>
                    <a:pt x="23" y="17"/>
                    <a:pt x="22" y="17"/>
                    <a:pt x="22" y="17"/>
                  </a:cubicBezTo>
                  <a:cubicBezTo>
                    <a:pt x="21" y="17"/>
                    <a:pt x="21" y="17"/>
                    <a:pt x="20" y="18"/>
                  </a:cubicBezTo>
                  <a:cubicBezTo>
                    <a:pt x="19" y="19"/>
                    <a:pt x="17" y="21"/>
                    <a:pt x="17" y="24"/>
                  </a:cubicBezTo>
                  <a:cubicBezTo>
                    <a:pt x="17" y="28"/>
                    <a:pt x="20" y="32"/>
                    <a:pt x="20" y="32"/>
                  </a:cubicBezTo>
                  <a:cubicBezTo>
                    <a:pt x="21" y="33"/>
                    <a:pt x="26" y="41"/>
                    <a:pt x="33" y="44"/>
                  </a:cubicBezTo>
                  <a:cubicBezTo>
                    <a:pt x="41" y="47"/>
                    <a:pt x="41" y="46"/>
                    <a:pt x="42" y="46"/>
                  </a:cubicBezTo>
                  <a:cubicBezTo>
                    <a:pt x="44" y="45"/>
                    <a:pt x="47" y="44"/>
                    <a:pt x="48" y="42"/>
                  </a:cubicBezTo>
                  <a:cubicBezTo>
                    <a:pt x="48" y="40"/>
                    <a:pt x="48" y="39"/>
                    <a:pt x="48" y="38"/>
                  </a:cubicBezTo>
                </a:path>
              </a:pathLst>
            </a:custGeom>
            <a:solidFill>
              <a:srgbClr val="CCCCC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16" name="Freeform 122">
              <a:extLst>
                <a:ext uri="{FF2B5EF4-FFF2-40B4-BE49-F238E27FC236}">
                  <a16:creationId xmlns:a16="http://schemas.microsoft.com/office/drawing/2014/main" id="{5EC5D6F9-3215-46ED-A7BA-8B3F91E18959}"/>
                </a:ext>
              </a:extLst>
            </p:cNvPr>
            <p:cNvSpPr>
              <a:spLocks noEditPoints="1"/>
            </p:cNvSpPr>
            <p:nvPr/>
          </p:nvSpPr>
          <p:spPr bwMode="auto">
            <a:xfrm>
              <a:off x="5545846" y="4350713"/>
              <a:ext cx="124061" cy="122471"/>
            </a:xfrm>
            <a:custGeom>
              <a:avLst/>
              <a:gdLst>
                <a:gd name="T0" fmla="*/ 64 w 64"/>
                <a:gd name="T1" fmla="*/ 31 h 63"/>
                <a:gd name="T2" fmla="*/ 33 w 64"/>
                <a:gd name="T3" fmla="*/ 62 h 63"/>
                <a:gd name="T4" fmla="*/ 18 w 64"/>
                <a:gd name="T5" fmla="*/ 58 h 63"/>
                <a:gd name="T6" fmla="*/ 0 w 64"/>
                <a:gd name="T7" fmla="*/ 63 h 63"/>
                <a:gd name="T8" fmla="*/ 6 w 64"/>
                <a:gd name="T9" fmla="*/ 47 h 63"/>
                <a:gd name="T10" fmla="*/ 2 w 64"/>
                <a:gd name="T11" fmla="*/ 31 h 63"/>
                <a:gd name="T12" fmla="*/ 33 w 64"/>
                <a:gd name="T13" fmla="*/ 0 h 63"/>
                <a:gd name="T14" fmla="*/ 64 w 64"/>
                <a:gd name="T15" fmla="*/ 31 h 63"/>
                <a:gd name="T16" fmla="*/ 33 w 64"/>
                <a:gd name="T17" fmla="*/ 5 h 63"/>
                <a:gd name="T18" fmla="*/ 7 w 64"/>
                <a:gd name="T19" fmla="*/ 31 h 63"/>
                <a:gd name="T20" fmla="*/ 12 w 64"/>
                <a:gd name="T21" fmla="*/ 46 h 63"/>
                <a:gd name="T22" fmla="*/ 8 w 64"/>
                <a:gd name="T23" fmla="*/ 56 h 63"/>
                <a:gd name="T24" fmla="*/ 18 w 64"/>
                <a:gd name="T25" fmla="*/ 53 h 63"/>
                <a:gd name="T26" fmla="*/ 33 w 64"/>
                <a:gd name="T27" fmla="*/ 57 h 63"/>
                <a:gd name="T28" fmla="*/ 59 w 64"/>
                <a:gd name="T29" fmla="*/ 31 h 63"/>
                <a:gd name="T30" fmla="*/ 33 w 64"/>
                <a:gd name="T31" fmla="*/ 5 h 63"/>
                <a:gd name="T32" fmla="*/ 48 w 64"/>
                <a:gd name="T33" fmla="*/ 38 h 63"/>
                <a:gd name="T34" fmla="*/ 47 w 64"/>
                <a:gd name="T35" fmla="*/ 37 h 63"/>
                <a:gd name="T36" fmla="*/ 42 w 64"/>
                <a:gd name="T37" fmla="*/ 35 h 63"/>
                <a:gd name="T38" fmla="*/ 40 w 64"/>
                <a:gd name="T39" fmla="*/ 35 h 63"/>
                <a:gd name="T40" fmla="*/ 38 w 64"/>
                <a:gd name="T41" fmla="*/ 38 h 63"/>
                <a:gd name="T42" fmla="*/ 36 w 64"/>
                <a:gd name="T43" fmla="*/ 38 h 63"/>
                <a:gd name="T44" fmla="*/ 30 w 64"/>
                <a:gd name="T45" fmla="*/ 34 h 63"/>
                <a:gd name="T46" fmla="*/ 26 w 64"/>
                <a:gd name="T47" fmla="*/ 29 h 63"/>
                <a:gd name="T48" fmla="*/ 26 w 64"/>
                <a:gd name="T49" fmla="*/ 28 h 63"/>
                <a:gd name="T50" fmla="*/ 27 w 64"/>
                <a:gd name="T51" fmla="*/ 26 h 63"/>
                <a:gd name="T52" fmla="*/ 28 w 64"/>
                <a:gd name="T53" fmla="*/ 25 h 63"/>
                <a:gd name="T54" fmla="*/ 28 w 64"/>
                <a:gd name="T55" fmla="*/ 24 h 63"/>
                <a:gd name="T56" fmla="*/ 25 w 64"/>
                <a:gd name="T57" fmla="*/ 18 h 63"/>
                <a:gd name="T58" fmla="*/ 24 w 64"/>
                <a:gd name="T59" fmla="*/ 17 h 63"/>
                <a:gd name="T60" fmla="*/ 22 w 64"/>
                <a:gd name="T61" fmla="*/ 17 h 63"/>
                <a:gd name="T62" fmla="*/ 20 w 64"/>
                <a:gd name="T63" fmla="*/ 18 h 63"/>
                <a:gd name="T64" fmla="*/ 18 w 64"/>
                <a:gd name="T65" fmla="*/ 24 h 63"/>
                <a:gd name="T66" fmla="*/ 21 w 64"/>
                <a:gd name="T67" fmla="*/ 32 h 63"/>
                <a:gd name="T68" fmla="*/ 34 w 64"/>
                <a:gd name="T69" fmla="*/ 43 h 63"/>
                <a:gd name="T70" fmla="*/ 43 w 64"/>
                <a:gd name="T71" fmla="*/ 45 h 63"/>
                <a:gd name="T72" fmla="*/ 48 w 64"/>
                <a:gd name="T73" fmla="*/ 42 h 63"/>
                <a:gd name="T74" fmla="*/ 48 w 64"/>
                <a:gd name="T75" fmla="*/ 38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4" h="63">
                  <a:moveTo>
                    <a:pt x="64" y="31"/>
                  </a:moveTo>
                  <a:cubicBezTo>
                    <a:pt x="64" y="48"/>
                    <a:pt x="50" y="62"/>
                    <a:pt x="33" y="62"/>
                  </a:cubicBezTo>
                  <a:cubicBezTo>
                    <a:pt x="27" y="62"/>
                    <a:pt x="22" y="60"/>
                    <a:pt x="18" y="58"/>
                  </a:cubicBezTo>
                  <a:cubicBezTo>
                    <a:pt x="0" y="63"/>
                    <a:pt x="0" y="63"/>
                    <a:pt x="0" y="63"/>
                  </a:cubicBezTo>
                  <a:cubicBezTo>
                    <a:pt x="6" y="47"/>
                    <a:pt x="6" y="47"/>
                    <a:pt x="6" y="47"/>
                  </a:cubicBezTo>
                  <a:cubicBezTo>
                    <a:pt x="3" y="42"/>
                    <a:pt x="2" y="37"/>
                    <a:pt x="2" y="31"/>
                  </a:cubicBezTo>
                  <a:cubicBezTo>
                    <a:pt x="2" y="14"/>
                    <a:pt x="16" y="0"/>
                    <a:pt x="33" y="0"/>
                  </a:cubicBezTo>
                  <a:cubicBezTo>
                    <a:pt x="50" y="0"/>
                    <a:pt x="64" y="14"/>
                    <a:pt x="64" y="31"/>
                  </a:cubicBezTo>
                  <a:moveTo>
                    <a:pt x="33" y="5"/>
                  </a:moveTo>
                  <a:cubicBezTo>
                    <a:pt x="18" y="5"/>
                    <a:pt x="7" y="17"/>
                    <a:pt x="7" y="31"/>
                  </a:cubicBezTo>
                  <a:cubicBezTo>
                    <a:pt x="7" y="37"/>
                    <a:pt x="8" y="42"/>
                    <a:pt x="12" y="46"/>
                  </a:cubicBezTo>
                  <a:cubicBezTo>
                    <a:pt x="8" y="56"/>
                    <a:pt x="8" y="56"/>
                    <a:pt x="8" y="56"/>
                  </a:cubicBezTo>
                  <a:cubicBezTo>
                    <a:pt x="18" y="53"/>
                    <a:pt x="18" y="53"/>
                    <a:pt x="18" y="53"/>
                  </a:cubicBezTo>
                  <a:cubicBezTo>
                    <a:pt x="22" y="55"/>
                    <a:pt x="27" y="57"/>
                    <a:pt x="33" y="57"/>
                  </a:cubicBezTo>
                  <a:cubicBezTo>
                    <a:pt x="47" y="57"/>
                    <a:pt x="59" y="45"/>
                    <a:pt x="59" y="31"/>
                  </a:cubicBezTo>
                  <a:cubicBezTo>
                    <a:pt x="59" y="17"/>
                    <a:pt x="47" y="5"/>
                    <a:pt x="33" y="5"/>
                  </a:cubicBezTo>
                  <a:moveTo>
                    <a:pt x="48" y="38"/>
                  </a:moveTo>
                  <a:cubicBezTo>
                    <a:pt x="48" y="38"/>
                    <a:pt x="48" y="38"/>
                    <a:pt x="47" y="37"/>
                  </a:cubicBezTo>
                  <a:cubicBezTo>
                    <a:pt x="46" y="37"/>
                    <a:pt x="42" y="35"/>
                    <a:pt x="42" y="35"/>
                  </a:cubicBezTo>
                  <a:cubicBezTo>
                    <a:pt x="41" y="34"/>
                    <a:pt x="40" y="34"/>
                    <a:pt x="40" y="35"/>
                  </a:cubicBezTo>
                  <a:cubicBezTo>
                    <a:pt x="39" y="36"/>
                    <a:pt x="38" y="38"/>
                    <a:pt x="38" y="38"/>
                  </a:cubicBezTo>
                  <a:cubicBezTo>
                    <a:pt x="37" y="39"/>
                    <a:pt x="37" y="39"/>
                    <a:pt x="36" y="38"/>
                  </a:cubicBezTo>
                  <a:cubicBezTo>
                    <a:pt x="35" y="38"/>
                    <a:pt x="33" y="37"/>
                    <a:pt x="30" y="34"/>
                  </a:cubicBezTo>
                  <a:cubicBezTo>
                    <a:pt x="28" y="32"/>
                    <a:pt x="26" y="30"/>
                    <a:pt x="26" y="29"/>
                  </a:cubicBezTo>
                  <a:cubicBezTo>
                    <a:pt x="25" y="28"/>
                    <a:pt x="26" y="28"/>
                    <a:pt x="26" y="28"/>
                  </a:cubicBezTo>
                  <a:cubicBezTo>
                    <a:pt x="26" y="27"/>
                    <a:pt x="27" y="27"/>
                    <a:pt x="27" y="26"/>
                  </a:cubicBezTo>
                  <a:cubicBezTo>
                    <a:pt x="27" y="26"/>
                    <a:pt x="28" y="26"/>
                    <a:pt x="28" y="25"/>
                  </a:cubicBezTo>
                  <a:cubicBezTo>
                    <a:pt x="28" y="25"/>
                    <a:pt x="28" y="24"/>
                    <a:pt x="28" y="24"/>
                  </a:cubicBezTo>
                  <a:cubicBezTo>
                    <a:pt x="28" y="23"/>
                    <a:pt x="26" y="20"/>
                    <a:pt x="25" y="18"/>
                  </a:cubicBezTo>
                  <a:cubicBezTo>
                    <a:pt x="25" y="17"/>
                    <a:pt x="24" y="17"/>
                    <a:pt x="24" y="17"/>
                  </a:cubicBezTo>
                  <a:cubicBezTo>
                    <a:pt x="23" y="17"/>
                    <a:pt x="23" y="17"/>
                    <a:pt x="22" y="17"/>
                  </a:cubicBezTo>
                  <a:cubicBezTo>
                    <a:pt x="22" y="17"/>
                    <a:pt x="21" y="17"/>
                    <a:pt x="20" y="18"/>
                  </a:cubicBezTo>
                  <a:cubicBezTo>
                    <a:pt x="19" y="19"/>
                    <a:pt x="18" y="20"/>
                    <a:pt x="18" y="24"/>
                  </a:cubicBezTo>
                  <a:cubicBezTo>
                    <a:pt x="18" y="28"/>
                    <a:pt x="20" y="31"/>
                    <a:pt x="21" y="32"/>
                  </a:cubicBezTo>
                  <a:cubicBezTo>
                    <a:pt x="21" y="32"/>
                    <a:pt x="26" y="40"/>
                    <a:pt x="34" y="43"/>
                  </a:cubicBezTo>
                  <a:cubicBezTo>
                    <a:pt x="41" y="46"/>
                    <a:pt x="41" y="45"/>
                    <a:pt x="43" y="45"/>
                  </a:cubicBezTo>
                  <a:cubicBezTo>
                    <a:pt x="44" y="45"/>
                    <a:pt x="47" y="43"/>
                    <a:pt x="48" y="42"/>
                  </a:cubicBezTo>
                  <a:cubicBezTo>
                    <a:pt x="49" y="40"/>
                    <a:pt x="49" y="38"/>
                    <a:pt x="48" y="38"/>
                  </a:cubicBezTo>
                </a:path>
              </a:pathLst>
            </a:custGeom>
            <a:solidFill>
              <a:srgbClr val="CCCCC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17" name="Freeform 123">
              <a:extLst>
                <a:ext uri="{FF2B5EF4-FFF2-40B4-BE49-F238E27FC236}">
                  <a16:creationId xmlns:a16="http://schemas.microsoft.com/office/drawing/2014/main" id="{4F591EA6-B8FD-4DCE-A981-5B47B3EBC836}"/>
                </a:ext>
              </a:extLst>
            </p:cNvPr>
            <p:cNvSpPr>
              <a:spLocks noEditPoints="1"/>
            </p:cNvSpPr>
            <p:nvPr/>
          </p:nvSpPr>
          <p:spPr bwMode="auto">
            <a:xfrm>
              <a:off x="6625811" y="3795620"/>
              <a:ext cx="241759" cy="278342"/>
            </a:xfrm>
            <a:custGeom>
              <a:avLst/>
              <a:gdLst>
                <a:gd name="T0" fmla="*/ 92 w 124"/>
                <a:gd name="T1" fmla="*/ 26 h 143"/>
                <a:gd name="T2" fmla="*/ 71 w 124"/>
                <a:gd name="T3" fmla="*/ 16 h 143"/>
                <a:gd name="T4" fmla="*/ 56 w 124"/>
                <a:gd name="T5" fmla="*/ 0 h 143"/>
                <a:gd name="T6" fmla="*/ 49 w 124"/>
                <a:gd name="T7" fmla="*/ 16 h 143"/>
                <a:gd name="T8" fmla="*/ 32 w 124"/>
                <a:gd name="T9" fmla="*/ 27 h 143"/>
                <a:gd name="T10" fmla="*/ 0 w 124"/>
                <a:gd name="T11" fmla="*/ 81 h 143"/>
                <a:gd name="T12" fmla="*/ 62 w 124"/>
                <a:gd name="T13" fmla="*/ 143 h 143"/>
                <a:gd name="T14" fmla="*/ 123 w 124"/>
                <a:gd name="T15" fmla="*/ 82 h 143"/>
                <a:gd name="T16" fmla="*/ 92 w 124"/>
                <a:gd name="T17" fmla="*/ 26 h 143"/>
                <a:gd name="T18" fmla="*/ 93 w 124"/>
                <a:gd name="T19" fmla="*/ 129 h 143"/>
                <a:gd name="T20" fmla="*/ 79 w 124"/>
                <a:gd name="T21" fmla="*/ 134 h 143"/>
                <a:gd name="T22" fmla="*/ 56 w 124"/>
                <a:gd name="T23" fmla="*/ 130 h 143"/>
                <a:gd name="T24" fmla="*/ 56 w 124"/>
                <a:gd name="T25" fmla="*/ 127 h 143"/>
                <a:gd name="T26" fmla="*/ 58 w 124"/>
                <a:gd name="T27" fmla="*/ 126 h 143"/>
                <a:gd name="T28" fmla="*/ 59 w 124"/>
                <a:gd name="T29" fmla="*/ 127 h 143"/>
                <a:gd name="T30" fmla="*/ 74 w 124"/>
                <a:gd name="T31" fmla="*/ 130 h 143"/>
                <a:gd name="T32" fmla="*/ 92 w 124"/>
                <a:gd name="T33" fmla="*/ 126 h 143"/>
                <a:gd name="T34" fmla="*/ 94 w 124"/>
                <a:gd name="T35" fmla="*/ 126 h 143"/>
                <a:gd name="T36" fmla="*/ 93 w 124"/>
                <a:gd name="T37" fmla="*/ 129 h 143"/>
                <a:gd name="T38" fmla="*/ 69 w 124"/>
                <a:gd name="T39" fmla="*/ 117 h 143"/>
                <a:gd name="T40" fmla="*/ 76 w 124"/>
                <a:gd name="T41" fmla="*/ 113 h 143"/>
                <a:gd name="T42" fmla="*/ 81 w 124"/>
                <a:gd name="T43" fmla="*/ 112 h 143"/>
                <a:gd name="T44" fmla="*/ 88 w 124"/>
                <a:gd name="T45" fmla="*/ 113 h 143"/>
                <a:gd name="T46" fmla="*/ 91 w 124"/>
                <a:gd name="T47" fmla="*/ 118 h 143"/>
                <a:gd name="T48" fmla="*/ 90 w 124"/>
                <a:gd name="T49" fmla="*/ 121 h 143"/>
                <a:gd name="T50" fmla="*/ 88 w 124"/>
                <a:gd name="T51" fmla="*/ 119 h 143"/>
                <a:gd name="T52" fmla="*/ 81 w 124"/>
                <a:gd name="T53" fmla="*/ 116 h 143"/>
                <a:gd name="T54" fmla="*/ 72 w 124"/>
                <a:gd name="T55" fmla="*/ 119 h 143"/>
                <a:gd name="T56" fmla="*/ 69 w 124"/>
                <a:gd name="T57" fmla="*/ 121 h 143"/>
                <a:gd name="T58" fmla="*/ 69 w 124"/>
                <a:gd name="T59" fmla="*/ 117 h 143"/>
                <a:gd name="T60" fmla="*/ 119 w 124"/>
                <a:gd name="T61" fmla="*/ 91 h 143"/>
                <a:gd name="T62" fmla="*/ 114 w 124"/>
                <a:gd name="T63" fmla="*/ 108 h 143"/>
                <a:gd name="T64" fmla="*/ 105 w 124"/>
                <a:gd name="T65" fmla="*/ 114 h 143"/>
                <a:gd name="T66" fmla="*/ 84 w 124"/>
                <a:gd name="T67" fmla="*/ 98 h 143"/>
                <a:gd name="T68" fmla="*/ 45 w 124"/>
                <a:gd name="T69" fmla="*/ 115 h 143"/>
                <a:gd name="T70" fmla="*/ 32 w 124"/>
                <a:gd name="T71" fmla="*/ 112 h 143"/>
                <a:gd name="T72" fmla="*/ 26 w 124"/>
                <a:gd name="T73" fmla="*/ 98 h 143"/>
                <a:gd name="T74" fmla="*/ 48 w 124"/>
                <a:gd name="T75" fmla="*/ 77 h 143"/>
                <a:gd name="T76" fmla="*/ 84 w 124"/>
                <a:gd name="T77" fmla="*/ 93 h 143"/>
                <a:gd name="T78" fmla="*/ 110 w 124"/>
                <a:gd name="T79" fmla="*/ 79 h 143"/>
                <a:gd name="T80" fmla="*/ 119 w 124"/>
                <a:gd name="T81" fmla="*/ 91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24" h="143">
                  <a:moveTo>
                    <a:pt x="92" y="26"/>
                  </a:moveTo>
                  <a:cubicBezTo>
                    <a:pt x="85" y="22"/>
                    <a:pt x="78" y="20"/>
                    <a:pt x="71" y="16"/>
                  </a:cubicBezTo>
                  <a:cubicBezTo>
                    <a:pt x="67" y="13"/>
                    <a:pt x="61" y="6"/>
                    <a:pt x="56" y="0"/>
                  </a:cubicBezTo>
                  <a:cubicBezTo>
                    <a:pt x="55" y="9"/>
                    <a:pt x="52" y="13"/>
                    <a:pt x="49" y="16"/>
                  </a:cubicBezTo>
                  <a:cubicBezTo>
                    <a:pt x="42" y="22"/>
                    <a:pt x="38" y="23"/>
                    <a:pt x="32" y="27"/>
                  </a:cubicBezTo>
                  <a:cubicBezTo>
                    <a:pt x="27" y="29"/>
                    <a:pt x="0" y="46"/>
                    <a:pt x="0" y="81"/>
                  </a:cubicBezTo>
                  <a:cubicBezTo>
                    <a:pt x="0" y="117"/>
                    <a:pt x="30" y="143"/>
                    <a:pt x="62" y="143"/>
                  </a:cubicBezTo>
                  <a:cubicBezTo>
                    <a:pt x="95" y="142"/>
                    <a:pt x="124" y="118"/>
                    <a:pt x="123" y="82"/>
                  </a:cubicBezTo>
                  <a:cubicBezTo>
                    <a:pt x="123" y="45"/>
                    <a:pt x="97" y="29"/>
                    <a:pt x="92" y="26"/>
                  </a:cubicBezTo>
                  <a:moveTo>
                    <a:pt x="93" y="129"/>
                  </a:moveTo>
                  <a:cubicBezTo>
                    <a:pt x="92" y="129"/>
                    <a:pt x="86" y="134"/>
                    <a:pt x="79" y="134"/>
                  </a:cubicBezTo>
                  <a:cubicBezTo>
                    <a:pt x="71" y="135"/>
                    <a:pt x="62" y="136"/>
                    <a:pt x="56" y="130"/>
                  </a:cubicBezTo>
                  <a:cubicBezTo>
                    <a:pt x="55" y="129"/>
                    <a:pt x="55" y="128"/>
                    <a:pt x="56" y="127"/>
                  </a:cubicBezTo>
                  <a:cubicBezTo>
                    <a:pt x="56" y="127"/>
                    <a:pt x="57" y="126"/>
                    <a:pt x="58" y="126"/>
                  </a:cubicBezTo>
                  <a:cubicBezTo>
                    <a:pt x="58" y="126"/>
                    <a:pt x="58" y="126"/>
                    <a:pt x="59" y="127"/>
                  </a:cubicBezTo>
                  <a:cubicBezTo>
                    <a:pt x="61" y="129"/>
                    <a:pt x="65" y="131"/>
                    <a:pt x="74" y="130"/>
                  </a:cubicBezTo>
                  <a:cubicBezTo>
                    <a:pt x="83" y="130"/>
                    <a:pt x="89" y="128"/>
                    <a:pt x="92" y="126"/>
                  </a:cubicBezTo>
                  <a:cubicBezTo>
                    <a:pt x="93" y="125"/>
                    <a:pt x="93" y="126"/>
                    <a:pt x="94" y="126"/>
                  </a:cubicBezTo>
                  <a:cubicBezTo>
                    <a:pt x="94" y="127"/>
                    <a:pt x="94" y="128"/>
                    <a:pt x="93" y="129"/>
                  </a:cubicBezTo>
                  <a:moveTo>
                    <a:pt x="69" y="117"/>
                  </a:moveTo>
                  <a:cubicBezTo>
                    <a:pt x="71" y="116"/>
                    <a:pt x="73" y="114"/>
                    <a:pt x="76" y="113"/>
                  </a:cubicBezTo>
                  <a:cubicBezTo>
                    <a:pt x="78" y="112"/>
                    <a:pt x="79" y="112"/>
                    <a:pt x="81" y="112"/>
                  </a:cubicBezTo>
                  <a:cubicBezTo>
                    <a:pt x="84" y="112"/>
                    <a:pt x="86" y="112"/>
                    <a:pt x="88" y="113"/>
                  </a:cubicBezTo>
                  <a:cubicBezTo>
                    <a:pt x="89" y="114"/>
                    <a:pt x="90" y="117"/>
                    <a:pt x="91" y="118"/>
                  </a:cubicBezTo>
                  <a:cubicBezTo>
                    <a:pt x="91" y="119"/>
                    <a:pt x="91" y="120"/>
                    <a:pt x="90" y="121"/>
                  </a:cubicBezTo>
                  <a:cubicBezTo>
                    <a:pt x="89" y="121"/>
                    <a:pt x="89" y="121"/>
                    <a:pt x="88" y="119"/>
                  </a:cubicBezTo>
                  <a:cubicBezTo>
                    <a:pt x="87" y="117"/>
                    <a:pt x="86" y="116"/>
                    <a:pt x="81" y="116"/>
                  </a:cubicBezTo>
                  <a:cubicBezTo>
                    <a:pt x="76" y="116"/>
                    <a:pt x="75" y="117"/>
                    <a:pt x="72" y="119"/>
                  </a:cubicBezTo>
                  <a:cubicBezTo>
                    <a:pt x="70" y="121"/>
                    <a:pt x="69" y="122"/>
                    <a:pt x="69" y="121"/>
                  </a:cubicBezTo>
                  <a:cubicBezTo>
                    <a:pt x="68" y="120"/>
                    <a:pt x="68" y="119"/>
                    <a:pt x="69" y="117"/>
                  </a:cubicBezTo>
                  <a:close/>
                  <a:moveTo>
                    <a:pt x="119" y="91"/>
                  </a:moveTo>
                  <a:cubicBezTo>
                    <a:pt x="119" y="95"/>
                    <a:pt x="117" y="103"/>
                    <a:pt x="114" y="108"/>
                  </a:cubicBezTo>
                  <a:cubicBezTo>
                    <a:pt x="111" y="112"/>
                    <a:pt x="109" y="114"/>
                    <a:pt x="105" y="114"/>
                  </a:cubicBezTo>
                  <a:cubicBezTo>
                    <a:pt x="100" y="113"/>
                    <a:pt x="90" y="98"/>
                    <a:pt x="84" y="98"/>
                  </a:cubicBezTo>
                  <a:cubicBezTo>
                    <a:pt x="76" y="98"/>
                    <a:pt x="59" y="115"/>
                    <a:pt x="45" y="115"/>
                  </a:cubicBezTo>
                  <a:cubicBezTo>
                    <a:pt x="37" y="115"/>
                    <a:pt x="35" y="113"/>
                    <a:pt x="32" y="112"/>
                  </a:cubicBezTo>
                  <a:cubicBezTo>
                    <a:pt x="28" y="109"/>
                    <a:pt x="26" y="104"/>
                    <a:pt x="26" y="98"/>
                  </a:cubicBezTo>
                  <a:cubicBezTo>
                    <a:pt x="26" y="88"/>
                    <a:pt x="36" y="78"/>
                    <a:pt x="48" y="77"/>
                  </a:cubicBezTo>
                  <a:cubicBezTo>
                    <a:pt x="64" y="77"/>
                    <a:pt x="75" y="93"/>
                    <a:pt x="84" y="93"/>
                  </a:cubicBezTo>
                  <a:cubicBezTo>
                    <a:pt x="90" y="93"/>
                    <a:pt x="103" y="79"/>
                    <a:pt x="110" y="79"/>
                  </a:cubicBezTo>
                  <a:cubicBezTo>
                    <a:pt x="117" y="79"/>
                    <a:pt x="118" y="86"/>
                    <a:pt x="119" y="91"/>
                  </a:cubicBezTo>
                </a:path>
              </a:pathLst>
            </a:custGeom>
            <a:solidFill>
              <a:srgbClr val="CCCCC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18" name="Freeform 124">
              <a:extLst>
                <a:ext uri="{FF2B5EF4-FFF2-40B4-BE49-F238E27FC236}">
                  <a16:creationId xmlns:a16="http://schemas.microsoft.com/office/drawing/2014/main" id="{094B5547-69D4-4E00-B240-49BADCA07BF8}"/>
                </a:ext>
              </a:extLst>
            </p:cNvPr>
            <p:cNvSpPr>
              <a:spLocks noEditPoints="1"/>
            </p:cNvSpPr>
            <p:nvPr/>
          </p:nvSpPr>
          <p:spPr bwMode="auto">
            <a:xfrm>
              <a:off x="4289334" y="1778838"/>
              <a:ext cx="111336" cy="128832"/>
            </a:xfrm>
            <a:custGeom>
              <a:avLst/>
              <a:gdLst>
                <a:gd name="T0" fmla="*/ 43 w 57"/>
                <a:gd name="T1" fmla="*/ 12 h 66"/>
                <a:gd name="T2" fmla="*/ 33 w 57"/>
                <a:gd name="T3" fmla="*/ 7 h 66"/>
                <a:gd name="T4" fmla="*/ 26 w 57"/>
                <a:gd name="T5" fmla="*/ 0 h 66"/>
                <a:gd name="T6" fmla="*/ 23 w 57"/>
                <a:gd name="T7" fmla="*/ 8 h 66"/>
                <a:gd name="T8" fmla="*/ 15 w 57"/>
                <a:gd name="T9" fmla="*/ 13 h 66"/>
                <a:gd name="T10" fmla="*/ 0 w 57"/>
                <a:gd name="T11" fmla="*/ 38 h 66"/>
                <a:gd name="T12" fmla="*/ 29 w 57"/>
                <a:gd name="T13" fmla="*/ 66 h 66"/>
                <a:gd name="T14" fmla="*/ 57 w 57"/>
                <a:gd name="T15" fmla="*/ 38 h 66"/>
                <a:gd name="T16" fmla="*/ 43 w 57"/>
                <a:gd name="T17" fmla="*/ 12 h 66"/>
                <a:gd name="T18" fmla="*/ 43 w 57"/>
                <a:gd name="T19" fmla="*/ 60 h 66"/>
                <a:gd name="T20" fmla="*/ 37 w 57"/>
                <a:gd name="T21" fmla="*/ 62 h 66"/>
                <a:gd name="T22" fmla="*/ 26 w 57"/>
                <a:gd name="T23" fmla="*/ 60 h 66"/>
                <a:gd name="T24" fmla="*/ 26 w 57"/>
                <a:gd name="T25" fmla="*/ 59 h 66"/>
                <a:gd name="T26" fmla="*/ 27 w 57"/>
                <a:gd name="T27" fmla="*/ 58 h 66"/>
                <a:gd name="T28" fmla="*/ 28 w 57"/>
                <a:gd name="T29" fmla="*/ 59 h 66"/>
                <a:gd name="T30" fmla="*/ 35 w 57"/>
                <a:gd name="T31" fmla="*/ 60 h 66"/>
                <a:gd name="T32" fmla="*/ 43 w 57"/>
                <a:gd name="T33" fmla="*/ 58 h 66"/>
                <a:gd name="T34" fmla="*/ 44 w 57"/>
                <a:gd name="T35" fmla="*/ 58 h 66"/>
                <a:gd name="T36" fmla="*/ 43 w 57"/>
                <a:gd name="T37" fmla="*/ 60 h 66"/>
                <a:gd name="T38" fmla="*/ 33 w 57"/>
                <a:gd name="T39" fmla="*/ 54 h 66"/>
                <a:gd name="T40" fmla="*/ 35 w 57"/>
                <a:gd name="T41" fmla="*/ 52 h 66"/>
                <a:gd name="T42" fmla="*/ 38 w 57"/>
                <a:gd name="T43" fmla="*/ 52 h 66"/>
                <a:gd name="T44" fmla="*/ 41 w 57"/>
                <a:gd name="T45" fmla="*/ 52 h 66"/>
                <a:gd name="T46" fmla="*/ 42 w 57"/>
                <a:gd name="T47" fmla="*/ 55 h 66"/>
                <a:gd name="T48" fmla="*/ 42 w 57"/>
                <a:gd name="T49" fmla="*/ 56 h 66"/>
                <a:gd name="T50" fmla="*/ 41 w 57"/>
                <a:gd name="T51" fmla="*/ 55 h 66"/>
                <a:gd name="T52" fmla="*/ 38 w 57"/>
                <a:gd name="T53" fmla="*/ 54 h 66"/>
                <a:gd name="T54" fmla="*/ 34 w 57"/>
                <a:gd name="T55" fmla="*/ 55 h 66"/>
                <a:gd name="T56" fmla="*/ 32 w 57"/>
                <a:gd name="T57" fmla="*/ 56 h 66"/>
                <a:gd name="T58" fmla="*/ 33 w 57"/>
                <a:gd name="T59" fmla="*/ 54 h 66"/>
                <a:gd name="T60" fmla="*/ 55 w 57"/>
                <a:gd name="T61" fmla="*/ 42 h 66"/>
                <a:gd name="T62" fmla="*/ 53 w 57"/>
                <a:gd name="T63" fmla="*/ 50 h 66"/>
                <a:gd name="T64" fmla="*/ 49 w 57"/>
                <a:gd name="T65" fmla="*/ 53 h 66"/>
                <a:gd name="T66" fmla="*/ 39 w 57"/>
                <a:gd name="T67" fmla="*/ 45 h 66"/>
                <a:gd name="T68" fmla="*/ 21 w 57"/>
                <a:gd name="T69" fmla="*/ 53 h 66"/>
                <a:gd name="T70" fmla="*/ 15 w 57"/>
                <a:gd name="T71" fmla="*/ 52 h 66"/>
                <a:gd name="T72" fmla="*/ 12 w 57"/>
                <a:gd name="T73" fmla="*/ 46 h 66"/>
                <a:gd name="T74" fmla="*/ 23 w 57"/>
                <a:gd name="T75" fmla="*/ 36 h 66"/>
                <a:gd name="T76" fmla="*/ 39 w 57"/>
                <a:gd name="T77" fmla="*/ 43 h 66"/>
                <a:gd name="T78" fmla="*/ 51 w 57"/>
                <a:gd name="T79" fmla="*/ 37 h 66"/>
                <a:gd name="T80" fmla="*/ 55 w 57"/>
                <a:gd name="T81" fmla="*/ 4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7" h="66">
                  <a:moveTo>
                    <a:pt x="43" y="12"/>
                  </a:moveTo>
                  <a:cubicBezTo>
                    <a:pt x="40" y="10"/>
                    <a:pt x="37" y="10"/>
                    <a:pt x="33" y="7"/>
                  </a:cubicBezTo>
                  <a:cubicBezTo>
                    <a:pt x="31" y="6"/>
                    <a:pt x="29" y="3"/>
                    <a:pt x="26" y="0"/>
                  </a:cubicBezTo>
                  <a:cubicBezTo>
                    <a:pt x="26" y="5"/>
                    <a:pt x="25" y="6"/>
                    <a:pt x="23" y="8"/>
                  </a:cubicBezTo>
                  <a:cubicBezTo>
                    <a:pt x="20" y="10"/>
                    <a:pt x="18" y="11"/>
                    <a:pt x="15" y="13"/>
                  </a:cubicBezTo>
                  <a:cubicBezTo>
                    <a:pt x="13" y="14"/>
                    <a:pt x="0" y="21"/>
                    <a:pt x="0" y="38"/>
                  </a:cubicBezTo>
                  <a:cubicBezTo>
                    <a:pt x="0" y="54"/>
                    <a:pt x="14" y="66"/>
                    <a:pt x="29" y="66"/>
                  </a:cubicBezTo>
                  <a:cubicBezTo>
                    <a:pt x="44" y="66"/>
                    <a:pt x="57" y="55"/>
                    <a:pt x="57" y="38"/>
                  </a:cubicBezTo>
                  <a:cubicBezTo>
                    <a:pt x="57" y="21"/>
                    <a:pt x="45" y="14"/>
                    <a:pt x="43" y="12"/>
                  </a:cubicBezTo>
                  <a:moveTo>
                    <a:pt x="43" y="60"/>
                  </a:moveTo>
                  <a:cubicBezTo>
                    <a:pt x="43" y="60"/>
                    <a:pt x="40" y="62"/>
                    <a:pt x="37" y="62"/>
                  </a:cubicBezTo>
                  <a:cubicBezTo>
                    <a:pt x="33" y="63"/>
                    <a:pt x="29" y="63"/>
                    <a:pt x="26" y="60"/>
                  </a:cubicBezTo>
                  <a:cubicBezTo>
                    <a:pt x="26" y="60"/>
                    <a:pt x="26" y="59"/>
                    <a:pt x="26" y="59"/>
                  </a:cubicBezTo>
                  <a:cubicBezTo>
                    <a:pt x="26" y="59"/>
                    <a:pt x="27" y="58"/>
                    <a:pt x="27" y="58"/>
                  </a:cubicBezTo>
                  <a:cubicBezTo>
                    <a:pt x="27" y="58"/>
                    <a:pt x="27" y="58"/>
                    <a:pt x="28" y="59"/>
                  </a:cubicBezTo>
                  <a:cubicBezTo>
                    <a:pt x="29" y="60"/>
                    <a:pt x="31" y="60"/>
                    <a:pt x="35" y="60"/>
                  </a:cubicBezTo>
                  <a:cubicBezTo>
                    <a:pt x="39" y="60"/>
                    <a:pt x="42" y="59"/>
                    <a:pt x="43" y="58"/>
                  </a:cubicBezTo>
                  <a:cubicBezTo>
                    <a:pt x="43" y="58"/>
                    <a:pt x="44" y="58"/>
                    <a:pt x="44" y="58"/>
                  </a:cubicBezTo>
                  <a:cubicBezTo>
                    <a:pt x="44" y="59"/>
                    <a:pt x="44" y="59"/>
                    <a:pt x="43" y="60"/>
                  </a:cubicBezTo>
                  <a:moveTo>
                    <a:pt x="33" y="54"/>
                  </a:moveTo>
                  <a:cubicBezTo>
                    <a:pt x="33" y="54"/>
                    <a:pt x="34" y="53"/>
                    <a:pt x="35" y="52"/>
                  </a:cubicBezTo>
                  <a:cubicBezTo>
                    <a:pt x="36" y="52"/>
                    <a:pt x="37" y="52"/>
                    <a:pt x="38" y="52"/>
                  </a:cubicBezTo>
                  <a:cubicBezTo>
                    <a:pt x="39" y="52"/>
                    <a:pt x="40" y="52"/>
                    <a:pt x="41" y="52"/>
                  </a:cubicBezTo>
                  <a:cubicBezTo>
                    <a:pt x="42" y="53"/>
                    <a:pt x="42" y="54"/>
                    <a:pt x="42" y="55"/>
                  </a:cubicBezTo>
                  <a:cubicBezTo>
                    <a:pt x="43" y="55"/>
                    <a:pt x="42" y="56"/>
                    <a:pt x="42" y="56"/>
                  </a:cubicBezTo>
                  <a:cubicBezTo>
                    <a:pt x="41" y="56"/>
                    <a:pt x="41" y="56"/>
                    <a:pt x="41" y="55"/>
                  </a:cubicBezTo>
                  <a:cubicBezTo>
                    <a:pt x="40" y="54"/>
                    <a:pt x="40" y="54"/>
                    <a:pt x="38" y="54"/>
                  </a:cubicBezTo>
                  <a:cubicBezTo>
                    <a:pt x="36" y="54"/>
                    <a:pt x="35" y="54"/>
                    <a:pt x="34" y="55"/>
                  </a:cubicBezTo>
                  <a:cubicBezTo>
                    <a:pt x="33" y="56"/>
                    <a:pt x="32" y="56"/>
                    <a:pt x="32" y="56"/>
                  </a:cubicBezTo>
                  <a:cubicBezTo>
                    <a:pt x="32" y="55"/>
                    <a:pt x="32" y="55"/>
                    <a:pt x="33" y="54"/>
                  </a:cubicBezTo>
                  <a:close/>
                  <a:moveTo>
                    <a:pt x="55" y="42"/>
                  </a:moveTo>
                  <a:cubicBezTo>
                    <a:pt x="55" y="44"/>
                    <a:pt x="55" y="48"/>
                    <a:pt x="53" y="50"/>
                  </a:cubicBezTo>
                  <a:cubicBezTo>
                    <a:pt x="52" y="52"/>
                    <a:pt x="51" y="53"/>
                    <a:pt x="49" y="53"/>
                  </a:cubicBezTo>
                  <a:cubicBezTo>
                    <a:pt x="47" y="53"/>
                    <a:pt x="42" y="46"/>
                    <a:pt x="39" y="45"/>
                  </a:cubicBezTo>
                  <a:cubicBezTo>
                    <a:pt x="36" y="45"/>
                    <a:pt x="28" y="53"/>
                    <a:pt x="21" y="53"/>
                  </a:cubicBezTo>
                  <a:cubicBezTo>
                    <a:pt x="18" y="53"/>
                    <a:pt x="17" y="53"/>
                    <a:pt x="15" y="52"/>
                  </a:cubicBezTo>
                  <a:cubicBezTo>
                    <a:pt x="13" y="50"/>
                    <a:pt x="12" y="48"/>
                    <a:pt x="12" y="46"/>
                  </a:cubicBezTo>
                  <a:cubicBezTo>
                    <a:pt x="13" y="41"/>
                    <a:pt x="17" y="36"/>
                    <a:pt x="23" y="36"/>
                  </a:cubicBezTo>
                  <a:cubicBezTo>
                    <a:pt x="30" y="36"/>
                    <a:pt x="35" y="43"/>
                    <a:pt x="39" y="43"/>
                  </a:cubicBezTo>
                  <a:cubicBezTo>
                    <a:pt x="42" y="43"/>
                    <a:pt x="48" y="37"/>
                    <a:pt x="51" y="37"/>
                  </a:cubicBezTo>
                  <a:cubicBezTo>
                    <a:pt x="54" y="37"/>
                    <a:pt x="55" y="40"/>
                    <a:pt x="55" y="42"/>
                  </a:cubicBezTo>
                </a:path>
              </a:pathLst>
            </a:custGeom>
            <a:solidFill>
              <a:srgbClr val="CCCCC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19" name="Freeform 125">
              <a:extLst>
                <a:ext uri="{FF2B5EF4-FFF2-40B4-BE49-F238E27FC236}">
                  <a16:creationId xmlns:a16="http://schemas.microsoft.com/office/drawing/2014/main" id="{5A13346F-CD21-4281-AB5F-C158408C434E}"/>
                </a:ext>
              </a:extLst>
            </p:cNvPr>
            <p:cNvSpPr>
              <a:spLocks noEditPoints="1"/>
            </p:cNvSpPr>
            <p:nvPr/>
          </p:nvSpPr>
          <p:spPr bwMode="auto">
            <a:xfrm>
              <a:off x="5704899" y="2658397"/>
              <a:ext cx="111336" cy="127242"/>
            </a:xfrm>
            <a:custGeom>
              <a:avLst/>
              <a:gdLst>
                <a:gd name="T0" fmla="*/ 42 w 57"/>
                <a:gd name="T1" fmla="*/ 12 h 66"/>
                <a:gd name="T2" fmla="*/ 33 w 57"/>
                <a:gd name="T3" fmla="*/ 7 h 66"/>
                <a:gd name="T4" fmla="*/ 26 w 57"/>
                <a:gd name="T5" fmla="*/ 0 h 66"/>
                <a:gd name="T6" fmla="*/ 23 w 57"/>
                <a:gd name="T7" fmla="*/ 7 h 66"/>
                <a:gd name="T8" fmla="*/ 15 w 57"/>
                <a:gd name="T9" fmla="*/ 12 h 66"/>
                <a:gd name="T10" fmla="*/ 0 w 57"/>
                <a:gd name="T11" fmla="*/ 37 h 66"/>
                <a:gd name="T12" fmla="*/ 29 w 57"/>
                <a:gd name="T13" fmla="*/ 66 h 66"/>
                <a:gd name="T14" fmla="*/ 57 w 57"/>
                <a:gd name="T15" fmla="*/ 38 h 66"/>
                <a:gd name="T16" fmla="*/ 42 w 57"/>
                <a:gd name="T17" fmla="*/ 12 h 66"/>
                <a:gd name="T18" fmla="*/ 43 w 57"/>
                <a:gd name="T19" fmla="*/ 59 h 66"/>
                <a:gd name="T20" fmla="*/ 36 w 57"/>
                <a:gd name="T21" fmla="*/ 62 h 66"/>
                <a:gd name="T22" fmla="*/ 25 w 57"/>
                <a:gd name="T23" fmla="*/ 60 h 66"/>
                <a:gd name="T24" fmla="*/ 25 w 57"/>
                <a:gd name="T25" fmla="*/ 59 h 66"/>
                <a:gd name="T26" fmla="*/ 26 w 57"/>
                <a:gd name="T27" fmla="*/ 58 h 66"/>
                <a:gd name="T28" fmla="*/ 27 w 57"/>
                <a:gd name="T29" fmla="*/ 58 h 66"/>
                <a:gd name="T30" fmla="*/ 34 w 57"/>
                <a:gd name="T31" fmla="*/ 60 h 66"/>
                <a:gd name="T32" fmla="*/ 42 w 57"/>
                <a:gd name="T33" fmla="*/ 58 h 66"/>
                <a:gd name="T34" fmla="*/ 43 w 57"/>
                <a:gd name="T35" fmla="*/ 58 h 66"/>
                <a:gd name="T36" fmla="*/ 43 w 57"/>
                <a:gd name="T37" fmla="*/ 59 h 66"/>
                <a:gd name="T38" fmla="*/ 32 w 57"/>
                <a:gd name="T39" fmla="*/ 54 h 66"/>
                <a:gd name="T40" fmla="*/ 35 w 57"/>
                <a:gd name="T41" fmla="*/ 52 h 66"/>
                <a:gd name="T42" fmla="*/ 37 w 57"/>
                <a:gd name="T43" fmla="*/ 51 h 66"/>
                <a:gd name="T44" fmla="*/ 40 w 57"/>
                <a:gd name="T45" fmla="*/ 52 h 66"/>
                <a:gd name="T46" fmla="*/ 42 w 57"/>
                <a:gd name="T47" fmla="*/ 54 h 66"/>
                <a:gd name="T48" fmla="*/ 41 w 57"/>
                <a:gd name="T49" fmla="*/ 56 h 66"/>
                <a:gd name="T50" fmla="*/ 40 w 57"/>
                <a:gd name="T51" fmla="*/ 55 h 66"/>
                <a:gd name="T52" fmla="*/ 37 w 57"/>
                <a:gd name="T53" fmla="*/ 53 h 66"/>
                <a:gd name="T54" fmla="*/ 33 w 57"/>
                <a:gd name="T55" fmla="*/ 55 h 66"/>
                <a:gd name="T56" fmla="*/ 31 w 57"/>
                <a:gd name="T57" fmla="*/ 56 h 66"/>
                <a:gd name="T58" fmla="*/ 32 w 57"/>
                <a:gd name="T59" fmla="*/ 54 h 66"/>
                <a:gd name="T60" fmla="*/ 54 w 57"/>
                <a:gd name="T61" fmla="*/ 42 h 66"/>
                <a:gd name="T62" fmla="*/ 52 w 57"/>
                <a:gd name="T63" fmla="*/ 50 h 66"/>
                <a:gd name="T64" fmla="*/ 48 w 57"/>
                <a:gd name="T65" fmla="*/ 52 h 66"/>
                <a:gd name="T66" fmla="*/ 38 w 57"/>
                <a:gd name="T67" fmla="*/ 45 h 66"/>
                <a:gd name="T68" fmla="*/ 21 w 57"/>
                <a:gd name="T69" fmla="*/ 53 h 66"/>
                <a:gd name="T70" fmla="*/ 15 w 57"/>
                <a:gd name="T71" fmla="*/ 51 h 66"/>
                <a:gd name="T72" fmla="*/ 12 w 57"/>
                <a:gd name="T73" fmla="*/ 45 h 66"/>
                <a:gd name="T74" fmla="*/ 22 w 57"/>
                <a:gd name="T75" fmla="*/ 36 h 66"/>
                <a:gd name="T76" fmla="*/ 38 w 57"/>
                <a:gd name="T77" fmla="*/ 43 h 66"/>
                <a:gd name="T78" fmla="*/ 50 w 57"/>
                <a:gd name="T79" fmla="*/ 37 h 66"/>
                <a:gd name="T80" fmla="*/ 54 w 57"/>
                <a:gd name="T81" fmla="*/ 4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7" h="66">
                  <a:moveTo>
                    <a:pt x="42" y="12"/>
                  </a:moveTo>
                  <a:cubicBezTo>
                    <a:pt x="39" y="10"/>
                    <a:pt x="36" y="9"/>
                    <a:pt x="33" y="7"/>
                  </a:cubicBezTo>
                  <a:cubicBezTo>
                    <a:pt x="31" y="6"/>
                    <a:pt x="28" y="3"/>
                    <a:pt x="26" y="0"/>
                  </a:cubicBezTo>
                  <a:cubicBezTo>
                    <a:pt x="25" y="4"/>
                    <a:pt x="24" y="6"/>
                    <a:pt x="23" y="7"/>
                  </a:cubicBezTo>
                  <a:cubicBezTo>
                    <a:pt x="19" y="10"/>
                    <a:pt x="17" y="11"/>
                    <a:pt x="15" y="12"/>
                  </a:cubicBezTo>
                  <a:cubicBezTo>
                    <a:pt x="12" y="13"/>
                    <a:pt x="0" y="21"/>
                    <a:pt x="0" y="37"/>
                  </a:cubicBezTo>
                  <a:cubicBezTo>
                    <a:pt x="0" y="54"/>
                    <a:pt x="13" y="66"/>
                    <a:pt x="29" y="66"/>
                  </a:cubicBezTo>
                  <a:cubicBezTo>
                    <a:pt x="44" y="66"/>
                    <a:pt x="57" y="54"/>
                    <a:pt x="57" y="38"/>
                  </a:cubicBezTo>
                  <a:cubicBezTo>
                    <a:pt x="57" y="21"/>
                    <a:pt x="44" y="13"/>
                    <a:pt x="42" y="12"/>
                  </a:cubicBezTo>
                  <a:moveTo>
                    <a:pt x="43" y="59"/>
                  </a:moveTo>
                  <a:cubicBezTo>
                    <a:pt x="42" y="60"/>
                    <a:pt x="40" y="62"/>
                    <a:pt x="36" y="62"/>
                  </a:cubicBezTo>
                  <a:cubicBezTo>
                    <a:pt x="33" y="62"/>
                    <a:pt x="28" y="62"/>
                    <a:pt x="25" y="60"/>
                  </a:cubicBezTo>
                  <a:cubicBezTo>
                    <a:pt x="25" y="59"/>
                    <a:pt x="25" y="59"/>
                    <a:pt x="25" y="59"/>
                  </a:cubicBezTo>
                  <a:cubicBezTo>
                    <a:pt x="26" y="58"/>
                    <a:pt x="26" y="58"/>
                    <a:pt x="26" y="58"/>
                  </a:cubicBezTo>
                  <a:cubicBezTo>
                    <a:pt x="27" y="58"/>
                    <a:pt x="27" y="58"/>
                    <a:pt x="27" y="58"/>
                  </a:cubicBezTo>
                  <a:cubicBezTo>
                    <a:pt x="28" y="59"/>
                    <a:pt x="30" y="60"/>
                    <a:pt x="34" y="60"/>
                  </a:cubicBezTo>
                  <a:cubicBezTo>
                    <a:pt x="38" y="60"/>
                    <a:pt x="41" y="59"/>
                    <a:pt x="42" y="58"/>
                  </a:cubicBezTo>
                  <a:cubicBezTo>
                    <a:pt x="43" y="58"/>
                    <a:pt x="43" y="58"/>
                    <a:pt x="43" y="58"/>
                  </a:cubicBezTo>
                  <a:cubicBezTo>
                    <a:pt x="43" y="58"/>
                    <a:pt x="43" y="59"/>
                    <a:pt x="43" y="59"/>
                  </a:cubicBezTo>
                  <a:moveTo>
                    <a:pt x="32" y="54"/>
                  </a:moveTo>
                  <a:cubicBezTo>
                    <a:pt x="33" y="53"/>
                    <a:pt x="34" y="52"/>
                    <a:pt x="35" y="52"/>
                  </a:cubicBezTo>
                  <a:cubicBezTo>
                    <a:pt x="36" y="51"/>
                    <a:pt x="36" y="51"/>
                    <a:pt x="37" y="51"/>
                  </a:cubicBezTo>
                  <a:cubicBezTo>
                    <a:pt x="38" y="51"/>
                    <a:pt x="39" y="52"/>
                    <a:pt x="40" y="52"/>
                  </a:cubicBezTo>
                  <a:cubicBezTo>
                    <a:pt x="41" y="53"/>
                    <a:pt x="41" y="54"/>
                    <a:pt x="42" y="54"/>
                  </a:cubicBezTo>
                  <a:cubicBezTo>
                    <a:pt x="42" y="55"/>
                    <a:pt x="42" y="55"/>
                    <a:pt x="41" y="56"/>
                  </a:cubicBezTo>
                  <a:cubicBezTo>
                    <a:pt x="41" y="56"/>
                    <a:pt x="41" y="56"/>
                    <a:pt x="40" y="55"/>
                  </a:cubicBezTo>
                  <a:cubicBezTo>
                    <a:pt x="40" y="54"/>
                    <a:pt x="39" y="53"/>
                    <a:pt x="37" y="53"/>
                  </a:cubicBezTo>
                  <a:cubicBezTo>
                    <a:pt x="35" y="53"/>
                    <a:pt x="34" y="54"/>
                    <a:pt x="33" y="55"/>
                  </a:cubicBezTo>
                  <a:cubicBezTo>
                    <a:pt x="32" y="56"/>
                    <a:pt x="32" y="56"/>
                    <a:pt x="31" y="56"/>
                  </a:cubicBezTo>
                  <a:cubicBezTo>
                    <a:pt x="31" y="55"/>
                    <a:pt x="31" y="55"/>
                    <a:pt x="32" y="54"/>
                  </a:cubicBezTo>
                  <a:close/>
                  <a:moveTo>
                    <a:pt x="54" y="42"/>
                  </a:moveTo>
                  <a:cubicBezTo>
                    <a:pt x="54" y="44"/>
                    <a:pt x="54" y="47"/>
                    <a:pt x="52" y="50"/>
                  </a:cubicBezTo>
                  <a:cubicBezTo>
                    <a:pt x="51" y="52"/>
                    <a:pt x="50" y="53"/>
                    <a:pt x="48" y="52"/>
                  </a:cubicBezTo>
                  <a:cubicBezTo>
                    <a:pt x="46" y="52"/>
                    <a:pt x="41" y="45"/>
                    <a:pt x="38" y="45"/>
                  </a:cubicBezTo>
                  <a:cubicBezTo>
                    <a:pt x="35" y="45"/>
                    <a:pt x="27" y="53"/>
                    <a:pt x="21" y="53"/>
                  </a:cubicBezTo>
                  <a:cubicBezTo>
                    <a:pt x="17" y="53"/>
                    <a:pt x="16" y="52"/>
                    <a:pt x="15" y="51"/>
                  </a:cubicBezTo>
                  <a:cubicBezTo>
                    <a:pt x="13" y="50"/>
                    <a:pt x="12" y="48"/>
                    <a:pt x="12" y="45"/>
                  </a:cubicBezTo>
                  <a:cubicBezTo>
                    <a:pt x="12" y="40"/>
                    <a:pt x="16" y="36"/>
                    <a:pt x="22" y="36"/>
                  </a:cubicBezTo>
                  <a:cubicBezTo>
                    <a:pt x="30" y="36"/>
                    <a:pt x="35" y="43"/>
                    <a:pt x="38" y="43"/>
                  </a:cubicBezTo>
                  <a:cubicBezTo>
                    <a:pt x="41" y="43"/>
                    <a:pt x="48" y="37"/>
                    <a:pt x="50" y="37"/>
                  </a:cubicBezTo>
                  <a:cubicBezTo>
                    <a:pt x="54" y="37"/>
                    <a:pt x="54" y="40"/>
                    <a:pt x="54" y="42"/>
                  </a:cubicBezTo>
                </a:path>
              </a:pathLst>
            </a:custGeom>
            <a:solidFill>
              <a:srgbClr val="CCCCC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20" name="Freeform 129">
              <a:extLst>
                <a:ext uri="{FF2B5EF4-FFF2-40B4-BE49-F238E27FC236}">
                  <a16:creationId xmlns:a16="http://schemas.microsoft.com/office/drawing/2014/main" id="{CF9188F4-146E-47CA-8AD8-5B58F5A443F5}"/>
                </a:ext>
              </a:extLst>
            </p:cNvPr>
            <p:cNvSpPr>
              <a:spLocks/>
            </p:cNvSpPr>
            <p:nvPr/>
          </p:nvSpPr>
          <p:spPr bwMode="auto">
            <a:xfrm>
              <a:off x="7888686" y="3364589"/>
              <a:ext cx="92250" cy="25448"/>
            </a:xfrm>
            <a:custGeom>
              <a:avLst/>
              <a:gdLst>
                <a:gd name="T0" fmla="*/ 10 w 58"/>
                <a:gd name="T1" fmla="*/ 0 h 16"/>
                <a:gd name="T2" fmla="*/ 0 w 58"/>
                <a:gd name="T3" fmla="*/ 16 h 16"/>
                <a:gd name="T4" fmla="*/ 0 w 58"/>
                <a:gd name="T5" fmla="*/ 16 h 16"/>
                <a:gd name="T6" fmla="*/ 1 w 58"/>
                <a:gd name="T7" fmla="*/ 16 h 16"/>
                <a:gd name="T8" fmla="*/ 47 w 58"/>
                <a:gd name="T9" fmla="*/ 16 h 16"/>
                <a:gd name="T10" fmla="*/ 47 w 58"/>
                <a:gd name="T11" fmla="*/ 16 h 16"/>
                <a:gd name="T12" fmla="*/ 47 w 58"/>
                <a:gd name="T13" fmla="*/ 16 h 16"/>
                <a:gd name="T14" fmla="*/ 58 w 58"/>
                <a:gd name="T15" fmla="*/ 0 h 16"/>
                <a:gd name="T16" fmla="*/ 10 w 58"/>
                <a:gd name="T17"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8" h="16">
                  <a:moveTo>
                    <a:pt x="10" y="0"/>
                  </a:moveTo>
                  <a:lnTo>
                    <a:pt x="0" y="16"/>
                  </a:lnTo>
                  <a:lnTo>
                    <a:pt x="0" y="16"/>
                  </a:lnTo>
                  <a:lnTo>
                    <a:pt x="1" y="16"/>
                  </a:lnTo>
                  <a:lnTo>
                    <a:pt x="47" y="16"/>
                  </a:lnTo>
                  <a:lnTo>
                    <a:pt x="47" y="16"/>
                  </a:lnTo>
                  <a:lnTo>
                    <a:pt x="47" y="16"/>
                  </a:lnTo>
                  <a:lnTo>
                    <a:pt x="58" y="0"/>
                  </a:lnTo>
                  <a:lnTo>
                    <a:pt x="10" y="0"/>
                  </a:lnTo>
                  <a:close/>
                </a:path>
              </a:pathLst>
            </a:custGeom>
            <a:solidFill>
              <a:srgbClr val="CCCCC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21" name="Freeform 130">
              <a:extLst>
                <a:ext uri="{FF2B5EF4-FFF2-40B4-BE49-F238E27FC236}">
                  <a16:creationId xmlns:a16="http://schemas.microsoft.com/office/drawing/2014/main" id="{967C024C-134C-4500-9C46-357B34570013}"/>
                </a:ext>
              </a:extLst>
            </p:cNvPr>
            <p:cNvSpPr>
              <a:spLocks/>
            </p:cNvSpPr>
            <p:nvPr/>
          </p:nvSpPr>
          <p:spPr bwMode="auto">
            <a:xfrm>
              <a:off x="7907772" y="3291425"/>
              <a:ext cx="73164" cy="63621"/>
            </a:xfrm>
            <a:custGeom>
              <a:avLst/>
              <a:gdLst>
                <a:gd name="T0" fmla="*/ 23 w 46"/>
                <a:gd name="T1" fmla="*/ 1 h 40"/>
                <a:gd name="T2" fmla="*/ 21 w 46"/>
                <a:gd name="T3" fmla="*/ 0 h 40"/>
                <a:gd name="T4" fmla="*/ 21 w 46"/>
                <a:gd name="T5" fmla="*/ 0 h 40"/>
                <a:gd name="T6" fmla="*/ 2 w 46"/>
                <a:gd name="T7" fmla="*/ 0 h 40"/>
                <a:gd name="T8" fmla="*/ 0 w 46"/>
                <a:gd name="T9" fmla="*/ 0 h 40"/>
                <a:gd name="T10" fmla="*/ 2 w 46"/>
                <a:gd name="T11" fmla="*/ 1 h 40"/>
                <a:gd name="T12" fmla="*/ 24 w 46"/>
                <a:gd name="T13" fmla="*/ 40 h 40"/>
                <a:gd name="T14" fmla="*/ 24 w 46"/>
                <a:gd name="T15" fmla="*/ 40 h 40"/>
                <a:gd name="T16" fmla="*/ 25 w 46"/>
                <a:gd name="T17" fmla="*/ 40 h 40"/>
                <a:gd name="T18" fmla="*/ 45 w 46"/>
                <a:gd name="T19" fmla="*/ 40 h 40"/>
                <a:gd name="T20" fmla="*/ 46 w 46"/>
                <a:gd name="T21" fmla="*/ 40 h 40"/>
                <a:gd name="T22" fmla="*/ 45 w 46"/>
                <a:gd name="T23" fmla="*/ 39 h 40"/>
                <a:gd name="T24" fmla="*/ 23 w 46"/>
                <a:gd name="T25" fmla="*/ 1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40">
                  <a:moveTo>
                    <a:pt x="23" y="1"/>
                  </a:moveTo>
                  <a:lnTo>
                    <a:pt x="21" y="0"/>
                  </a:lnTo>
                  <a:lnTo>
                    <a:pt x="21" y="0"/>
                  </a:lnTo>
                  <a:lnTo>
                    <a:pt x="2" y="0"/>
                  </a:lnTo>
                  <a:lnTo>
                    <a:pt x="0" y="0"/>
                  </a:lnTo>
                  <a:lnTo>
                    <a:pt x="2" y="1"/>
                  </a:lnTo>
                  <a:lnTo>
                    <a:pt x="24" y="40"/>
                  </a:lnTo>
                  <a:lnTo>
                    <a:pt x="24" y="40"/>
                  </a:lnTo>
                  <a:lnTo>
                    <a:pt x="25" y="40"/>
                  </a:lnTo>
                  <a:lnTo>
                    <a:pt x="45" y="40"/>
                  </a:lnTo>
                  <a:lnTo>
                    <a:pt x="46" y="40"/>
                  </a:lnTo>
                  <a:lnTo>
                    <a:pt x="45" y="39"/>
                  </a:lnTo>
                  <a:lnTo>
                    <a:pt x="23" y="1"/>
                  </a:lnTo>
                  <a:close/>
                </a:path>
              </a:pathLst>
            </a:custGeom>
            <a:solidFill>
              <a:srgbClr val="CCCCC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22" name="Freeform 131">
              <a:extLst>
                <a:ext uri="{FF2B5EF4-FFF2-40B4-BE49-F238E27FC236}">
                  <a16:creationId xmlns:a16="http://schemas.microsoft.com/office/drawing/2014/main" id="{27839281-F6B4-4F7C-9E92-6AD8495D36DA}"/>
                </a:ext>
              </a:extLst>
            </p:cNvPr>
            <p:cNvSpPr>
              <a:spLocks/>
            </p:cNvSpPr>
            <p:nvPr/>
          </p:nvSpPr>
          <p:spPr bwMode="auto">
            <a:xfrm>
              <a:off x="7864828" y="3294606"/>
              <a:ext cx="55668" cy="93840"/>
            </a:xfrm>
            <a:custGeom>
              <a:avLst/>
              <a:gdLst>
                <a:gd name="T0" fmla="*/ 35 w 35"/>
                <a:gd name="T1" fmla="*/ 19 h 59"/>
                <a:gd name="T2" fmla="*/ 35 w 35"/>
                <a:gd name="T3" fmla="*/ 19 h 59"/>
                <a:gd name="T4" fmla="*/ 25 w 35"/>
                <a:gd name="T5" fmla="*/ 1 h 59"/>
                <a:gd name="T6" fmla="*/ 24 w 35"/>
                <a:gd name="T7" fmla="*/ 0 h 59"/>
                <a:gd name="T8" fmla="*/ 24 w 35"/>
                <a:gd name="T9" fmla="*/ 1 h 59"/>
                <a:gd name="T10" fmla="*/ 0 w 35"/>
                <a:gd name="T11" fmla="*/ 41 h 59"/>
                <a:gd name="T12" fmla="*/ 0 w 35"/>
                <a:gd name="T13" fmla="*/ 41 h 59"/>
                <a:gd name="T14" fmla="*/ 0 w 35"/>
                <a:gd name="T15" fmla="*/ 41 h 59"/>
                <a:gd name="T16" fmla="*/ 10 w 35"/>
                <a:gd name="T17" fmla="*/ 58 h 59"/>
                <a:gd name="T18" fmla="*/ 12 w 35"/>
                <a:gd name="T19" fmla="*/ 59 h 59"/>
                <a:gd name="T20" fmla="*/ 12 w 35"/>
                <a:gd name="T21" fmla="*/ 58 h 59"/>
                <a:gd name="T22" fmla="*/ 35 w 35"/>
                <a:gd name="T23" fmla="*/ 19 h 59"/>
                <a:gd name="T24" fmla="*/ 35 w 35"/>
                <a:gd name="T25" fmla="*/ 1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 h="59">
                  <a:moveTo>
                    <a:pt x="35" y="19"/>
                  </a:moveTo>
                  <a:lnTo>
                    <a:pt x="35" y="19"/>
                  </a:lnTo>
                  <a:lnTo>
                    <a:pt x="25" y="1"/>
                  </a:lnTo>
                  <a:lnTo>
                    <a:pt x="24" y="0"/>
                  </a:lnTo>
                  <a:lnTo>
                    <a:pt x="24" y="1"/>
                  </a:lnTo>
                  <a:lnTo>
                    <a:pt x="0" y="41"/>
                  </a:lnTo>
                  <a:lnTo>
                    <a:pt x="0" y="41"/>
                  </a:lnTo>
                  <a:lnTo>
                    <a:pt x="0" y="41"/>
                  </a:lnTo>
                  <a:lnTo>
                    <a:pt x="10" y="58"/>
                  </a:lnTo>
                  <a:lnTo>
                    <a:pt x="12" y="59"/>
                  </a:lnTo>
                  <a:lnTo>
                    <a:pt x="12" y="58"/>
                  </a:lnTo>
                  <a:lnTo>
                    <a:pt x="35" y="19"/>
                  </a:lnTo>
                  <a:lnTo>
                    <a:pt x="35" y="19"/>
                  </a:lnTo>
                  <a:close/>
                </a:path>
              </a:pathLst>
            </a:custGeom>
            <a:solidFill>
              <a:srgbClr val="CCCCC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23" name="Freeform 132">
              <a:extLst>
                <a:ext uri="{FF2B5EF4-FFF2-40B4-BE49-F238E27FC236}">
                  <a16:creationId xmlns:a16="http://schemas.microsoft.com/office/drawing/2014/main" id="{CAC2DB5D-E1AF-4D79-A437-CEC277B8D4D8}"/>
                </a:ext>
              </a:extLst>
            </p:cNvPr>
            <p:cNvSpPr>
              <a:spLocks/>
            </p:cNvSpPr>
            <p:nvPr/>
          </p:nvSpPr>
          <p:spPr bwMode="auto">
            <a:xfrm>
              <a:off x="5571295" y="4248919"/>
              <a:ext cx="90660" cy="28629"/>
            </a:xfrm>
            <a:custGeom>
              <a:avLst/>
              <a:gdLst>
                <a:gd name="T0" fmla="*/ 11 w 57"/>
                <a:gd name="T1" fmla="*/ 0 h 18"/>
                <a:gd name="T2" fmla="*/ 1 w 57"/>
                <a:gd name="T3" fmla="*/ 16 h 18"/>
                <a:gd name="T4" fmla="*/ 0 w 57"/>
                <a:gd name="T5" fmla="*/ 18 h 18"/>
                <a:gd name="T6" fmla="*/ 1 w 57"/>
                <a:gd name="T7" fmla="*/ 18 h 18"/>
                <a:gd name="T8" fmla="*/ 46 w 57"/>
                <a:gd name="T9" fmla="*/ 18 h 18"/>
                <a:gd name="T10" fmla="*/ 48 w 57"/>
                <a:gd name="T11" fmla="*/ 18 h 18"/>
                <a:gd name="T12" fmla="*/ 48 w 57"/>
                <a:gd name="T13" fmla="*/ 18 h 18"/>
                <a:gd name="T14" fmla="*/ 57 w 57"/>
                <a:gd name="T15" fmla="*/ 0 h 18"/>
                <a:gd name="T16" fmla="*/ 11 w 57"/>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7" h="18">
                  <a:moveTo>
                    <a:pt x="11" y="0"/>
                  </a:moveTo>
                  <a:lnTo>
                    <a:pt x="1" y="16"/>
                  </a:lnTo>
                  <a:lnTo>
                    <a:pt x="0" y="18"/>
                  </a:lnTo>
                  <a:lnTo>
                    <a:pt x="1" y="18"/>
                  </a:lnTo>
                  <a:lnTo>
                    <a:pt x="46" y="18"/>
                  </a:lnTo>
                  <a:lnTo>
                    <a:pt x="48" y="18"/>
                  </a:lnTo>
                  <a:lnTo>
                    <a:pt x="48" y="18"/>
                  </a:lnTo>
                  <a:lnTo>
                    <a:pt x="57" y="0"/>
                  </a:lnTo>
                  <a:lnTo>
                    <a:pt x="11" y="0"/>
                  </a:lnTo>
                  <a:close/>
                </a:path>
              </a:pathLst>
            </a:custGeom>
            <a:solidFill>
              <a:srgbClr val="CCCCC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24" name="Freeform 133">
              <a:extLst>
                <a:ext uri="{FF2B5EF4-FFF2-40B4-BE49-F238E27FC236}">
                  <a16:creationId xmlns:a16="http://schemas.microsoft.com/office/drawing/2014/main" id="{4162F110-9C7A-45DC-8653-D3515A561E00}"/>
                </a:ext>
              </a:extLst>
            </p:cNvPr>
            <p:cNvSpPr>
              <a:spLocks/>
            </p:cNvSpPr>
            <p:nvPr/>
          </p:nvSpPr>
          <p:spPr bwMode="auto">
            <a:xfrm>
              <a:off x="5591971" y="4177346"/>
              <a:ext cx="69983" cy="63621"/>
            </a:xfrm>
            <a:custGeom>
              <a:avLst/>
              <a:gdLst>
                <a:gd name="T0" fmla="*/ 21 w 44"/>
                <a:gd name="T1" fmla="*/ 0 h 40"/>
                <a:gd name="T2" fmla="*/ 21 w 44"/>
                <a:gd name="T3" fmla="*/ 0 h 40"/>
                <a:gd name="T4" fmla="*/ 21 w 44"/>
                <a:gd name="T5" fmla="*/ 0 h 40"/>
                <a:gd name="T6" fmla="*/ 1 w 44"/>
                <a:gd name="T7" fmla="*/ 0 h 40"/>
                <a:gd name="T8" fmla="*/ 0 w 44"/>
                <a:gd name="T9" fmla="*/ 0 h 40"/>
                <a:gd name="T10" fmla="*/ 0 w 44"/>
                <a:gd name="T11" fmla="*/ 1 h 40"/>
                <a:gd name="T12" fmla="*/ 23 w 44"/>
                <a:gd name="T13" fmla="*/ 40 h 40"/>
                <a:gd name="T14" fmla="*/ 23 w 44"/>
                <a:gd name="T15" fmla="*/ 40 h 40"/>
                <a:gd name="T16" fmla="*/ 23 w 44"/>
                <a:gd name="T17" fmla="*/ 40 h 40"/>
                <a:gd name="T18" fmla="*/ 43 w 44"/>
                <a:gd name="T19" fmla="*/ 40 h 40"/>
                <a:gd name="T20" fmla="*/ 44 w 44"/>
                <a:gd name="T21" fmla="*/ 40 h 40"/>
                <a:gd name="T22" fmla="*/ 44 w 44"/>
                <a:gd name="T23" fmla="*/ 39 h 40"/>
                <a:gd name="T24" fmla="*/ 21 w 44"/>
                <a:gd name="T25"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40">
                  <a:moveTo>
                    <a:pt x="21" y="0"/>
                  </a:moveTo>
                  <a:lnTo>
                    <a:pt x="21" y="0"/>
                  </a:lnTo>
                  <a:lnTo>
                    <a:pt x="21" y="0"/>
                  </a:lnTo>
                  <a:lnTo>
                    <a:pt x="1" y="0"/>
                  </a:lnTo>
                  <a:lnTo>
                    <a:pt x="0" y="0"/>
                  </a:lnTo>
                  <a:lnTo>
                    <a:pt x="0" y="1"/>
                  </a:lnTo>
                  <a:lnTo>
                    <a:pt x="23" y="40"/>
                  </a:lnTo>
                  <a:lnTo>
                    <a:pt x="23" y="40"/>
                  </a:lnTo>
                  <a:lnTo>
                    <a:pt x="23" y="40"/>
                  </a:lnTo>
                  <a:lnTo>
                    <a:pt x="43" y="40"/>
                  </a:lnTo>
                  <a:lnTo>
                    <a:pt x="44" y="40"/>
                  </a:lnTo>
                  <a:lnTo>
                    <a:pt x="44" y="39"/>
                  </a:lnTo>
                  <a:lnTo>
                    <a:pt x="21" y="0"/>
                  </a:lnTo>
                  <a:close/>
                </a:path>
              </a:pathLst>
            </a:custGeom>
            <a:solidFill>
              <a:srgbClr val="CCCCC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25" name="Freeform 134">
              <a:extLst>
                <a:ext uri="{FF2B5EF4-FFF2-40B4-BE49-F238E27FC236}">
                  <a16:creationId xmlns:a16="http://schemas.microsoft.com/office/drawing/2014/main" id="{C2827A00-E7F5-4EC5-B0C8-B9347E129183}"/>
                </a:ext>
              </a:extLst>
            </p:cNvPr>
            <p:cNvSpPr>
              <a:spLocks/>
            </p:cNvSpPr>
            <p:nvPr/>
          </p:nvSpPr>
          <p:spPr bwMode="auto">
            <a:xfrm>
              <a:off x="5549027" y="4182117"/>
              <a:ext cx="55668" cy="90660"/>
            </a:xfrm>
            <a:custGeom>
              <a:avLst/>
              <a:gdLst>
                <a:gd name="T0" fmla="*/ 35 w 35"/>
                <a:gd name="T1" fmla="*/ 18 h 57"/>
                <a:gd name="T2" fmla="*/ 33 w 35"/>
                <a:gd name="T3" fmla="*/ 17 h 57"/>
                <a:gd name="T4" fmla="*/ 24 w 35"/>
                <a:gd name="T5" fmla="*/ 1 h 57"/>
                <a:gd name="T6" fmla="*/ 24 w 35"/>
                <a:gd name="T7" fmla="*/ 0 h 57"/>
                <a:gd name="T8" fmla="*/ 22 w 35"/>
                <a:gd name="T9" fmla="*/ 1 h 57"/>
                <a:gd name="T10" fmla="*/ 0 w 35"/>
                <a:gd name="T11" fmla="*/ 39 h 57"/>
                <a:gd name="T12" fmla="*/ 0 w 35"/>
                <a:gd name="T13" fmla="*/ 40 h 57"/>
                <a:gd name="T14" fmla="*/ 0 w 35"/>
                <a:gd name="T15" fmla="*/ 40 h 57"/>
                <a:gd name="T16" fmla="*/ 10 w 35"/>
                <a:gd name="T17" fmla="*/ 57 h 57"/>
                <a:gd name="T18" fmla="*/ 10 w 35"/>
                <a:gd name="T19" fmla="*/ 57 h 57"/>
                <a:gd name="T20" fmla="*/ 11 w 35"/>
                <a:gd name="T21" fmla="*/ 57 h 57"/>
                <a:gd name="T22" fmla="*/ 33 w 35"/>
                <a:gd name="T23" fmla="*/ 18 h 57"/>
                <a:gd name="T24" fmla="*/ 35 w 35"/>
                <a:gd name="T25" fmla="*/ 18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 h="57">
                  <a:moveTo>
                    <a:pt x="35" y="18"/>
                  </a:moveTo>
                  <a:lnTo>
                    <a:pt x="33" y="17"/>
                  </a:lnTo>
                  <a:lnTo>
                    <a:pt x="24" y="1"/>
                  </a:lnTo>
                  <a:lnTo>
                    <a:pt x="24" y="0"/>
                  </a:lnTo>
                  <a:lnTo>
                    <a:pt x="22" y="1"/>
                  </a:lnTo>
                  <a:lnTo>
                    <a:pt x="0" y="39"/>
                  </a:lnTo>
                  <a:lnTo>
                    <a:pt x="0" y="40"/>
                  </a:lnTo>
                  <a:lnTo>
                    <a:pt x="0" y="40"/>
                  </a:lnTo>
                  <a:lnTo>
                    <a:pt x="10" y="57"/>
                  </a:lnTo>
                  <a:lnTo>
                    <a:pt x="10" y="57"/>
                  </a:lnTo>
                  <a:lnTo>
                    <a:pt x="11" y="57"/>
                  </a:lnTo>
                  <a:lnTo>
                    <a:pt x="33" y="18"/>
                  </a:lnTo>
                  <a:lnTo>
                    <a:pt x="35" y="18"/>
                  </a:lnTo>
                  <a:close/>
                </a:path>
              </a:pathLst>
            </a:custGeom>
            <a:solidFill>
              <a:srgbClr val="CCCCC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26" name="Freeform 135">
              <a:extLst>
                <a:ext uri="{FF2B5EF4-FFF2-40B4-BE49-F238E27FC236}">
                  <a16:creationId xmlns:a16="http://schemas.microsoft.com/office/drawing/2014/main" id="{BEFA06C2-8C15-4A4C-A820-85FEADB4DAC7}"/>
                </a:ext>
              </a:extLst>
            </p:cNvPr>
            <p:cNvSpPr>
              <a:spLocks/>
            </p:cNvSpPr>
            <p:nvPr/>
          </p:nvSpPr>
          <p:spPr bwMode="auto">
            <a:xfrm>
              <a:off x="5719213" y="3258024"/>
              <a:ext cx="90660" cy="27039"/>
            </a:xfrm>
            <a:custGeom>
              <a:avLst/>
              <a:gdLst>
                <a:gd name="T0" fmla="*/ 11 w 57"/>
                <a:gd name="T1" fmla="*/ 0 h 17"/>
                <a:gd name="T2" fmla="*/ 1 w 57"/>
                <a:gd name="T3" fmla="*/ 16 h 17"/>
                <a:gd name="T4" fmla="*/ 0 w 57"/>
                <a:gd name="T5" fmla="*/ 17 h 17"/>
                <a:gd name="T6" fmla="*/ 1 w 57"/>
                <a:gd name="T7" fmla="*/ 17 h 17"/>
                <a:gd name="T8" fmla="*/ 48 w 57"/>
                <a:gd name="T9" fmla="*/ 17 h 17"/>
                <a:gd name="T10" fmla="*/ 48 w 57"/>
                <a:gd name="T11" fmla="*/ 17 h 17"/>
                <a:gd name="T12" fmla="*/ 48 w 57"/>
                <a:gd name="T13" fmla="*/ 17 h 17"/>
                <a:gd name="T14" fmla="*/ 57 w 57"/>
                <a:gd name="T15" fmla="*/ 0 h 17"/>
                <a:gd name="T16" fmla="*/ 11 w 57"/>
                <a:gd name="T1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7" h="17">
                  <a:moveTo>
                    <a:pt x="11" y="0"/>
                  </a:moveTo>
                  <a:lnTo>
                    <a:pt x="1" y="16"/>
                  </a:lnTo>
                  <a:lnTo>
                    <a:pt x="0" y="17"/>
                  </a:lnTo>
                  <a:lnTo>
                    <a:pt x="1" y="17"/>
                  </a:lnTo>
                  <a:lnTo>
                    <a:pt x="48" y="17"/>
                  </a:lnTo>
                  <a:lnTo>
                    <a:pt x="48" y="17"/>
                  </a:lnTo>
                  <a:lnTo>
                    <a:pt x="48" y="17"/>
                  </a:lnTo>
                  <a:lnTo>
                    <a:pt x="57" y="0"/>
                  </a:lnTo>
                  <a:lnTo>
                    <a:pt x="11" y="0"/>
                  </a:lnTo>
                  <a:close/>
                </a:path>
              </a:pathLst>
            </a:custGeom>
            <a:solidFill>
              <a:srgbClr val="CCCCC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27" name="Freeform 136">
              <a:extLst>
                <a:ext uri="{FF2B5EF4-FFF2-40B4-BE49-F238E27FC236}">
                  <a16:creationId xmlns:a16="http://schemas.microsoft.com/office/drawing/2014/main" id="{4C3BC03B-F3BD-43A0-89B7-EBCCDD473857}"/>
                </a:ext>
              </a:extLst>
            </p:cNvPr>
            <p:cNvSpPr>
              <a:spLocks/>
            </p:cNvSpPr>
            <p:nvPr/>
          </p:nvSpPr>
          <p:spPr bwMode="auto">
            <a:xfrm>
              <a:off x="5739890" y="3186450"/>
              <a:ext cx="69983" cy="63621"/>
            </a:xfrm>
            <a:custGeom>
              <a:avLst/>
              <a:gdLst>
                <a:gd name="T0" fmla="*/ 21 w 44"/>
                <a:gd name="T1" fmla="*/ 0 h 40"/>
                <a:gd name="T2" fmla="*/ 21 w 44"/>
                <a:gd name="T3" fmla="*/ 0 h 40"/>
                <a:gd name="T4" fmla="*/ 21 w 44"/>
                <a:gd name="T5" fmla="*/ 0 h 40"/>
                <a:gd name="T6" fmla="*/ 2 w 44"/>
                <a:gd name="T7" fmla="*/ 0 h 40"/>
                <a:gd name="T8" fmla="*/ 0 w 44"/>
                <a:gd name="T9" fmla="*/ 0 h 40"/>
                <a:gd name="T10" fmla="*/ 0 w 44"/>
                <a:gd name="T11" fmla="*/ 1 h 40"/>
                <a:gd name="T12" fmla="*/ 24 w 44"/>
                <a:gd name="T13" fmla="*/ 40 h 40"/>
                <a:gd name="T14" fmla="*/ 24 w 44"/>
                <a:gd name="T15" fmla="*/ 40 h 40"/>
                <a:gd name="T16" fmla="*/ 24 w 44"/>
                <a:gd name="T17" fmla="*/ 40 h 40"/>
                <a:gd name="T18" fmla="*/ 43 w 44"/>
                <a:gd name="T19" fmla="*/ 40 h 40"/>
                <a:gd name="T20" fmla="*/ 44 w 44"/>
                <a:gd name="T21" fmla="*/ 40 h 40"/>
                <a:gd name="T22" fmla="*/ 44 w 44"/>
                <a:gd name="T23" fmla="*/ 39 h 40"/>
                <a:gd name="T24" fmla="*/ 21 w 44"/>
                <a:gd name="T25"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40">
                  <a:moveTo>
                    <a:pt x="21" y="0"/>
                  </a:moveTo>
                  <a:lnTo>
                    <a:pt x="21" y="0"/>
                  </a:lnTo>
                  <a:lnTo>
                    <a:pt x="21" y="0"/>
                  </a:lnTo>
                  <a:lnTo>
                    <a:pt x="2" y="0"/>
                  </a:lnTo>
                  <a:lnTo>
                    <a:pt x="0" y="0"/>
                  </a:lnTo>
                  <a:lnTo>
                    <a:pt x="0" y="1"/>
                  </a:lnTo>
                  <a:lnTo>
                    <a:pt x="24" y="40"/>
                  </a:lnTo>
                  <a:lnTo>
                    <a:pt x="24" y="40"/>
                  </a:lnTo>
                  <a:lnTo>
                    <a:pt x="24" y="40"/>
                  </a:lnTo>
                  <a:lnTo>
                    <a:pt x="43" y="40"/>
                  </a:lnTo>
                  <a:lnTo>
                    <a:pt x="44" y="40"/>
                  </a:lnTo>
                  <a:lnTo>
                    <a:pt x="44" y="39"/>
                  </a:lnTo>
                  <a:lnTo>
                    <a:pt x="21" y="0"/>
                  </a:lnTo>
                  <a:close/>
                </a:path>
              </a:pathLst>
            </a:custGeom>
            <a:solidFill>
              <a:srgbClr val="CCCCC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28" name="Freeform 137">
              <a:extLst>
                <a:ext uri="{FF2B5EF4-FFF2-40B4-BE49-F238E27FC236}">
                  <a16:creationId xmlns:a16="http://schemas.microsoft.com/office/drawing/2014/main" id="{742CAC54-D8F5-4447-8911-A2384C3257A4}"/>
                </a:ext>
              </a:extLst>
            </p:cNvPr>
            <p:cNvSpPr>
              <a:spLocks/>
            </p:cNvSpPr>
            <p:nvPr/>
          </p:nvSpPr>
          <p:spPr bwMode="auto">
            <a:xfrm>
              <a:off x="5696946" y="3189631"/>
              <a:ext cx="55668" cy="92250"/>
            </a:xfrm>
            <a:custGeom>
              <a:avLst/>
              <a:gdLst>
                <a:gd name="T0" fmla="*/ 35 w 35"/>
                <a:gd name="T1" fmla="*/ 18 h 58"/>
                <a:gd name="T2" fmla="*/ 33 w 35"/>
                <a:gd name="T3" fmla="*/ 17 h 58"/>
                <a:gd name="T4" fmla="*/ 24 w 35"/>
                <a:gd name="T5" fmla="*/ 1 h 58"/>
                <a:gd name="T6" fmla="*/ 24 w 35"/>
                <a:gd name="T7" fmla="*/ 0 h 58"/>
                <a:gd name="T8" fmla="*/ 22 w 35"/>
                <a:gd name="T9" fmla="*/ 1 h 58"/>
                <a:gd name="T10" fmla="*/ 0 w 35"/>
                <a:gd name="T11" fmla="*/ 39 h 58"/>
                <a:gd name="T12" fmla="*/ 0 w 35"/>
                <a:gd name="T13" fmla="*/ 40 h 58"/>
                <a:gd name="T14" fmla="*/ 0 w 35"/>
                <a:gd name="T15" fmla="*/ 40 h 58"/>
                <a:gd name="T16" fmla="*/ 10 w 35"/>
                <a:gd name="T17" fmla="*/ 58 h 58"/>
                <a:gd name="T18" fmla="*/ 10 w 35"/>
                <a:gd name="T19" fmla="*/ 58 h 58"/>
                <a:gd name="T20" fmla="*/ 11 w 35"/>
                <a:gd name="T21" fmla="*/ 58 h 58"/>
                <a:gd name="T22" fmla="*/ 35 w 35"/>
                <a:gd name="T23" fmla="*/ 18 h 58"/>
                <a:gd name="T24" fmla="*/ 35 w 35"/>
                <a:gd name="T25" fmla="*/ 18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 h="58">
                  <a:moveTo>
                    <a:pt x="35" y="18"/>
                  </a:moveTo>
                  <a:lnTo>
                    <a:pt x="33" y="17"/>
                  </a:lnTo>
                  <a:lnTo>
                    <a:pt x="24" y="1"/>
                  </a:lnTo>
                  <a:lnTo>
                    <a:pt x="24" y="0"/>
                  </a:lnTo>
                  <a:lnTo>
                    <a:pt x="22" y="1"/>
                  </a:lnTo>
                  <a:lnTo>
                    <a:pt x="0" y="39"/>
                  </a:lnTo>
                  <a:lnTo>
                    <a:pt x="0" y="40"/>
                  </a:lnTo>
                  <a:lnTo>
                    <a:pt x="0" y="40"/>
                  </a:lnTo>
                  <a:lnTo>
                    <a:pt x="10" y="58"/>
                  </a:lnTo>
                  <a:lnTo>
                    <a:pt x="10" y="58"/>
                  </a:lnTo>
                  <a:lnTo>
                    <a:pt x="11" y="58"/>
                  </a:lnTo>
                  <a:lnTo>
                    <a:pt x="35" y="18"/>
                  </a:lnTo>
                  <a:lnTo>
                    <a:pt x="35" y="18"/>
                  </a:lnTo>
                  <a:close/>
                </a:path>
              </a:pathLst>
            </a:custGeom>
            <a:solidFill>
              <a:srgbClr val="CCCCC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29" name="Freeform 138">
              <a:extLst>
                <a:ext uri="{FF2B5EF4-FFF2-40B4-BE49-F238E27FC236}">
                  <a16:creationId xmlns:a16="http://schemas.microsoft.com/office/drawing/2014/main" id="{3A8834AE-6E05-47C0-9A3C-768F11E7D614}"/>
                </a:ext>
              </a:extLst>
            </p:cNvPr>
            <p:cNvSpPr>
              <a:spLocks/>
            </p:cNvSpPr>
            <p:nvPr/>
          </p:nvSpPr>
          <p:spPr bwMode="auto">
            <a:xfrm>
              <a:off x="4669468" y="2287806"/>
              <a:ext cx="92250" cy="25448"/>
            </a:xfrm>
            <a:custGeom>
              <a:avLst/>
              <a:gdLst>
                <a:gd name="T0" fmla="*/ 10 w 58"/>
                <a:gd name="T1" fmla="*/ 0 h 16"/>
                <a:gd name="T2" fmla="*/ 0 w 58"/>
                <a:gd name="T3" fmla="*/ 16 h 16"/>
                <a:gd name="T4" fmla="*/ 0 w 58"/>
                <a:gd name="T5" fmla="*/ 16 h 16"/>
                <a:gd name="T6" fmla="*/ 2 w 58"/>
                <a:gd name="T7" fmla="*/ 16 h 16"/>
                <a:gd name="T8" fmla="*/ 47 w 58"/>
                <a:gd name="T9" fmla="*/ 16 h 16"/>
                <a:gd name="T10" fmla="*/ 47 w 58"/>
                <a:gd name="T11" fmla="*/ 16 h 16"/>
                <a:gd name="T12" fmla="*/ 47 w 58"/>
                <a:gd name="T13" fmla="*/ 16 h 16"/>
                <a:gd name="T14" fmla="*/ 58 w 58"/>
                <a:gd name="T15" fmla="*/ 0 h 16"/>
                <a:gd name="T16" fmla="*/ 10 w 58"/>
                <a:gd name="T17"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8" h="16">
                  <a:moveTo>
                    <a:pt x="10" y="0"/>
                  </a:moveTo>
                  <a:lnTo>
                    <a:pt x="0" y="16"/>
                  </a:lnTo>
                  <a:lnTo>
                    <a:pt x="0" y="16"/>
                  </a:lnTo>
                  <a:lnTo>
                    <a:pt x="2" y="16"/>
                  </a:lnTo>
                  <a:lnTo>
                    <a:pt x="47" y="16"/>
                  </a:lnTo>
                  <a:lnTo>
                    <a:pt x="47" y="16"/>
                  </a:lnTo>
                  <a:lnTo>
                    <a:pt x="47" y="16"/>
                  </a:lnTo>
                  <a:lnTo>
                    <a:pt x="58" y="0"/>
                  </a:lnTo>
                  <a:lnTo>
                    <a:pt x="10" y="0"/>
                  </a:lnTo>
                  <a:close/>
                </a:path>
              </a:pathLst>
            </a:custGeom>
            <a:solidFill>
              <a:srgbClr val="CCCCC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30" name="Freeform 139">
              <a:extLst>
                <a:ext uri="{FF2B5EF4-FFF2-40B4-BE49-F238E27FC236}">
                  <a16:creationId xmlns:a16="http://schemas.microsoft.com/office/drawing/2014/main" id="{462595CF-1E5E-401C-81B4-2894F9F2888C}"/>
                </a:ext>
              </a:extLst>
            </p:cNvPr>
            <p:cNvSpPr>
              <a:spLocks/>
            </p:cNvSpPr>
            <p:nvPr/>
          </p:nvSpPr>
          <p:spPr bwMode="auto">
            <a:xfrm>
              <a:off x="4690145" y="2216232"/>
              <a:ext cx="71573" cy="62031"/>
            </a:xfrm>
            <a:custGeom>
              <a:avLst/>
              <a:gdLst>
                <a:gd name="T0" fmla="*/ 22 w 45"/>
                <a:gd name="T1" fmla="*/ 0 h 39"/>
                <a:gd name="T2" fmla="*/ 22 w 45"/>
                <a:gd name="T3" fmla="*/ 0 h 39"/>
                <a:gd name="T4" fmla="*/ 20 w 45"/>
                <a:gd name="T5" fmla="*/ 0 h 39"/>
                <a:gd name="T6" fmla="*/ 1 w 45"/>
                <a:gd name="T7" fmla="*/ 0 h 39"/>
                <a:gd name="T8" fmla="*/ 0 w 45"/>
                <a:gd name="T9" fmla="*/ 0 h 39"/>
                <a:gd name="T10" fmla="*/ 1 w 45"/>
                <a:gd name="T11" fmla="*/ 0 h 39"/>
                <a:gd name="T12" fmla="*/ 23 w 45"/>
                <a:gd name="T13" fmla="*/ 39 h 39"/>
                <a:gd name="T14" fmla="*/ 23 w 45"/>
                <a:gd name="T15" fmla="*/ 39 h 39"/>
                <a:gd name="T16" fmla="*/ 24 w 45"/>
                <a:gd name="T17" fmla="*/ 39 h 39"/>
                <a:gd name="T18" fmla="*/ 44 w 45"/>
                <a:gd name="T19" fmla="*/ 39 h 39"/>
                <a:gd name="T20" fmla="*/ 45 w 45"/>
                <a:gd name="T21" fmla="*/ 39 h 39"/>
                <a:gd name="T22" fmla="*/ 44 w 45"/>
                <a:gd name="T23" fmla="*/ 39 h 39"/>
                <a:gd name="T24" fmla="*/ 22 w 45"/>
                <a:gd name="T25"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5" h="39">
                  <a:moveTo>
                    <a:pt x="22" y="0"/>
                  </a:moveTo>
                  <a:lnTo>
                    <a:pt x="22" y="0"/>
                  </a:lnTo>
                  <a:lnTo>
                    <a:pt x="20" y="0"/>
                  </a:lnTo>
                  <a:lnTo>
                    <a:pt x="1" y="0"/>
                  </a:lnTo>
                  <a:lnTo>
                    <a:pt x="0" y="0"/>
                  </a:lnTo>
                  <a:lnTo>
                    <a:pt x="1" y="0"/>
                  </a:lnTo>
                  <a:lnTo>
                    <a:pt x="23" y="39"/>
                  </a:lnTo>
                  <a:lnTo>
                    <a:pt x="23" y="39"/>
                  </a:lnTo>
                  <a:lnTo>
                    <a:pt x="24" y="39"/>
                  </a:lnTo>
                  <a:lnTo>
                    <a:pt x="44" y="39"/>
                  </a:lnTo>
                  <a:lnTo>
                    <a:pt x="45" y="39"/>
                  </a:lnTo>
                  <a:lnTo>
                    <a:pt x="44" y="39"/>
                  </a:lnTo>
                  <a:lnTo>
                    <a:pt x="22" y="0"/>
                  </a:lnTo>
                  <a:close/>
                </a:path>
              </a:pathLst>
            </a:custGeom>
            <a:solidFill>
              <a:srgbClr val="CCCCC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31" name="Freeform 140">
              <a:extLst>
                <a:ext uri="{FF2B5EF4-FFF2-40B4-BE49-F238E27FC236}">
                  <a16:creationId xmlns:a16="http://schemas.microsoft.com/office/drawing/2014/main" id="{BD2A9A7F-EFF4-4C39-B44A-6949A45169CC}"/>
                </a:ext>
              </a:extLst>
            </p:cNvPr>
            <p:cNvSpPr>
              <a:spLocks/>
            </p:cNvSpPr>
            <p:nvPr/>
          </p:nvSpPr>
          <p:spPr bwMode="auto">
            <a:xfrm>
              <a:off x="4647201" y="2217822"/>
              <a:ext cx="54078" cy="93840"/>
            </a:xfrm>
            <a:custGeom>
              <a:avLst/>
              <a:gdLst>
                <a:gd name="T0" fmla="*/ 34 w 34"/>
                <a:gd name="T1" fmla="*/ 18 h 59"/>
                <a:gd name="T2" fmla="*/ 34 w 34"/>
                <a:gd name="T3" fmla="*/ 18 h 59"/>
                <a:gd name="T4" fmla="*/ 24 w 34"/>
                <a:gd name="T5" fmla="*/ 1 h 59"/>
                <a:gd name="T6" fmla="*/ 23 w 34"/>
                <a:gd name="T7" fmla="*/ 0 h 59"/>
                <a:gd name="T8" fmla="*/ 23 w 34"/>
                <a:gd name="T9" fmla="*/ 1 h 59"/>
                <a:gd name="T10" fmla="*/ 0 w 34"/>
                <a:gd name="T11" fmla="*/ 40 h 59"/>
                <a:gd name="T12" fmla="*/ 0 w 34"/>
                <a:gd name="T13" fmla="*/ 40 h 59"/>
                <a:gd name="T14" fmla="*/ 0 w 34"/>
                <a:gd name="T15" fmla="*/ 40 h 59"/>
                <a:gd name="T16" fmla="*/ 9 w 34"/>
                <a:gd name="T17" fmla="*/ 57 h 59"/>
                <a:gd name="T18" fmla="*/ 11 w 34"/>
                <a:gd name="T19" fmla="*/ 59 h 59"/>
                <a:gd name="T20" fmla="*/ 11 w 34"/>
                <a:gd name="T21" fmla="*/ 57 h 59"/>
                <a:gd name="T22" fmla="*/ 34 w 34"/>
                <a:gd name="T23" fmla="*/ 18 h 59"/>
                <a:gd name="T24" fmla="*/ 34 w 34"/>
                <a:gd name="T25" fmla="*/ 18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 h="59">
                  <a:moveTo>
                    <a:pt x="34" y="18"/>
                  </a:moveTo>
                  <a:lnTo>
                    <a:pt x="34" y="18"/>
                  </a:lnTo>
                  <a:lnTo>
                    <a:pt x="24" y="1"/>
                  </a:lnTo>
                  <a:lnTo>
                    <a:pt x="23" y="0"/>
                  </a:lnTo>
                  <a:lnTo>
                    <a:pt x="23" y="1"/>
                  </a:lnTo>
                  <a:lnTo>
                    <a:pt x="0" y="40"/>
                  </a:lnTo>
                  <a:lnTo>
                    <a:pt x="0" y="40"/>
                  </a:lnTo>
                  <a:lnTo>
                    <a:pt x="0" y="40"/>
                  </a:lnTo>
                  <a:lnTo>
                    <a:pt x="9" y="57"/>
                  </a:lnTo>
                  <a:lnTo>
                    <a:pt x="11" y="59"/>
                  </a:lnTo>
                  <a:lnTo>
                    <a:pt x="11" y="57"/>
                  </a:lnTo>
                  <a:lnTo>
                    <a:pt x="34" y="18"/>
                  </a:lnTo>
                  <a:lnTo>
                    <a:pt x="34" y="18"/>
                  </a:lnTo>
                  <a:close/>
                </a:path>
              </a:pathLst>
            </a:custGeom>
            <a:solidFill>
              <a:srgbClr val="CCCCC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32" name="Freeform 141">
              <a:extLst>
                <a:ext uri="{FF2B5EF4-FFF2-40B4-BE49-F238E27FC236}">
                  <a16:creationId xmlns:a16="http://schemas.microsoft.com/office/drawing/2014/main" id="{2F1F9609-E382-4A7E-9280-1E60FC2E98E5}"/>
                </a:ext>
              </a:extLst>
            </p:cNvPr>
            <p:cNvSpPr>
              <a:spLocks/>
            </p:cNvSpPr>
            <p:nvPr/>
          </p:nvSpPr>
          <p:spPr bwMode="auto">
            <a:xfrm>
              <a:off x="5323173" y="1630920"/>
              <a:ext cx="128832" cy="39763"/>
            </a:xfrm>
            <a:custGeom>
              <a:avLst/>
              <a:gdLst>
                <a:gd name="T0" fmla="*/ 15 w 81"/>
                <a:gd name="T1" fmla="*/ 0 h 25"/>
                <a:gd name="T2" fmla="*/ 1 w 81"/>
                <a:gd name="T3" fmla="*/ 23 h 25"/>
                <a:gd name="T4" fmla="*/ 0 w 81"/>
                <a:gd name="T5" fmla="*/ 25 h 25"/>
                <a:gd name="T6" fmla="*/ 2 w 81"/>
                <a:gd name="T7" fmla="*/ 25 h 25"/>
                <a:gd name="T8" fmla="*/ 66 w 81"/>
                <a:gd name="T9" fmla="*/ 25 h 25"/>
                <a:gd name="T10" fmla="*/ 66 w 81"/>
                <a:gd name="T11" fmla="*/ 25 h 25"/>
                <a:gd name="T12" fmla="*/ 67 w 81"/>
                <a:gd name="T13" fmla="*/ 23 h 25"/>
                <a:gd name="T14" fmla="*/ 81 w 81"/>
                <a:gd name="T15" fmla="*/ 0 h 25"/>
                <a:gd name="T16" fmla="*/ 15 w 81"/>
                <a:gd name="T17"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 h="25">
                  <a:moveTo>
                    <a:pt x="15" y="0"/>
                  </a:moveTo>
                  <a:lnTo>
                    <a:pt x="1" y="23"/>
                  </a:lnTo>
                  <a:lnTo>
                    <a:pt x="0" y="25"/>
                  </a:lnTo>
                  <a:lnTo>
                    <a:pt x="2" y="25"/>
                  </a:lnTo>
                  <a:lnTo>
                    <a:pt x="66" y="25"/>
                  </a:lnTo>
                  <a:lnTo>
                    <a:pt x="66" y="25"/>
                  </a:lnTo>
                  <a:lnTo>
                    <a:pt x="67" y="23"/>
                  </a:lnTo>
                  <a:lnTo>
                    <a:pt x="81" y="0"/>
                  </a:lnTo>
                  <a:lnTo>
                    <a:pt x="15" y="0"/>
                  </a:lnTo>
                  <a:close/>
                </a:path>
              </a:pathLst>
            </a:custGeom>
            <a:solidFill>
              <a:srgbClr val="CCCCC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33" name="Freeform 142">
              <a:extLst>
                <a:ext uri="{FF2B5EF4-FFF2-40B4-BE49-F238E27FC236}">
                  <a16:creationId xmlns:a16="http://schemas.microsoft.com/office/drawing/2014/main" id="{2DD80046-98E1-4B0E-957F-93FA687B3007}"/>
                </a:ext>
              </a:extLst>
            </p:cNvPr>
            <p:cNvSpPr>
              <a:spLocks/>
            </p:cNvSpPr>
            <p:nvPr/>
          </p:nvSpPr>
          <p:spPr bwMode="auto">
            <a:xfrm>
              <a:off x="5351803" y="1529127"/>
              <a:ext cx="100203" cy="90660"/>
            </a:xfrm>
            <a:custGeom>
              <a:avLst/>
              <a:gdLst>
                <a:gd name="T0" fmla="*/ 31 w 63"/>
                <a:gd name="T1" fmla="*/ 0 h 57"/>
                <a:gd name="T2" fmla="*/ 30 w 63"/>
                <a:gd name="T3" fmla="*/ 0 h 57"/>
                <a:gd name="T4" fmla="*/ 30 w 63"/>
                <a:gd name="T5" fmla="*/ 0 h 57"/>
                <a:gd name="T6" fmla="*/ 2 w 63"/>
                <a:gd name="T7" fmla="*/ 0 h 57"/>
                <a:gd name="T8" fmla="*/ 0 w 63"/>
                <a:gd name="T9" fmla="*/ 0 h 57"/>
                <a:gd name="T10" fmla="*/ 2 w 63"/>
                <a:gd name="T11" fmla="*/ 2 h 57"/>
                <a:gd name="T12" fmla="*/ 34 w 63"/>
                <a:gd name="T13" fmla="*/ 57 h 57"/>
                <a:gd name="T14" fmla="*/ 34 w 63"/>
                <a:gd name="T15" fmla="*/ 57 h 57"/>
                <a:gd name="T16" fmla="*/ 35 w 63"/>
                <a:gd name="T17" fmla="*/ 57 h 57"/>
                <a:gd name="T18" fmla="*/ 62 w 63"/>
                <a:gd name="T19" fmla="*/ 57 h 57"/>
                <a:gd name="T20" fmla="*/ 63 w 63"/>
                <a:gd name="T21" fmla="*/ 57 h 57"/>
                <a:gd name="T22" fmla="*/ 63 w 63"/>
                <a:gd name="T23" fmla="*/ 56 h 57"/>
                <a:gd name="T24" fmla="*/ 31 w 63"/>
                <a:gd name="T25"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3" h="57">
                  <a:moveTo>
                    <a:pt x="31" y="0"/>
                  </a:moveTo>
                  <a:lnTo>
                    <a:pt x="30" y="0"/>
                  </a:lnTo>
                  <a:lnTo>
                    <a:pt x="30" y="0"/>
                  </a:lnTo>
                  <a:lnTo>
                    <a:pt x="2" y="0"/>
                  </a:lnTo>
                  <a:lnTo>
                    <a:pt x="0" y="0"/>
                  </a:lnTo>
                  <a:lnTo>
                    <a:pt x="2" y="2"/>
                  </a:lnTo>
                  <a:lnTo>
                    <a:pt x="34" y="57"/>
                  </a:lnTo>
                  <a:lnTo>
                    <a:pt x="34" y="57"/>
                  </a:lnTo>
                  <a:lnTo>
                    <a:pt x="35" y="57"/>
                  </a:lnTo>
                  <a:lnTo>
                    <a:pt x="62" y="57"/>
                  </a:lnTo>
                  <a:lnTo>
                    <a:pt x="63" y="57"/>
                  </a:lnTo>
                  <a:lnTo>
                    <a:pt x="63" y="56"/>
                  </a:lnTo>
                  <a:lnTo>
                    <a:pt x="31" y="0"/>
                  </a:lnTo>
                  <a:close/>
                </a:path>
              </a:pathLst>
            </a:custGeom>
            <a:solidFill>
              <a:srgbClr val="CCCCC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34" name="Freeform 143">
              <a:extLst>
                <a:ext uri="{FF2B5EF4-FFF2-40B4-BE49-F238E27FC236}">
                  <a16:creationId xmlns:a16="http://schemas.microsoft.com/office/drawing/2014/main" id="{AD128BA7-30E9-414C-871C-2B86E2649856}"/>
                </a:ext>
              </a:extLst>
            </p:cNvPr>
            <p:cNvSpPr>
              <a:spLocks/>
            </p:cNvSpPr>
            <p:nvPr/>
          </p:nvSpPr>
          <p:spPr bwMode="auto">
            <a:xfrm>
              <a:off x="5291363" y="1533898"/>
              <a:ext cx="76345" cy="130423"/>
            </a:xfrm>
            <a:custGeom>
              <a:avLst/>
              <a:gdLst>
                <a:gd name="T0" fmla="*/ 48 w 48"/>
                <a:gd name="T1" fmla="*/ 26 h 82"/>
                <a:gd name="T2" fmla="*/ 48 w 48"/>
                <a:gd name="T3" fmla="*/ 26 h 82"/>
                <a:gd name="T4" fmla="*/ 34 w 48"/>
                <a:gd name="T5" fmla="*/ 2 h 82"/>
                <a:gd name="T6" fmla="*/ 34 w 48"/>
                <a:gd name="T7" fmla="*/ 0 h 82"/>
                <a:gd name="T8" fmla="*/ 32 w 48"/>
                <a:gd name="T9" fmla="*/ 2 h 82"/>
                <a:gd name="T10" fmla="*/ 0 w 48"/>
                <a:gd name="T11" fmla="*/ 56 h 82"/>
                <a:gd name="T12" fmla="*/ 0 w 48"/>
                <a:gd name="T13" fmla="*/ 57 h 82"/>
                <a:gd name="T14" fmla="*/ 0 w 48"/>
                <a:gd name="T15" fmla="*/ 57 h 82"/>
                <a:gd name="T16" fmla="*/ 14 w 48"/>
                <a:gd name="T17" fmla="*/ 81 h 82"/>
                <a:gd name="T18" fmla="*/ 15 w 48"/>
                <a:gd name="T19" fmla="*/ 82 h 82"/>
                <a:gd name="T20" fmla="*/ 16 w 48"/>
                <a:gd name="T21" fmla="*/ 81 h 82"/>
                <a:gd name="T22" fmla="*/ 48 w 48"/>
                <a:gd name="T23" fmla="*/ 27 h 82"/>
                <a:gd name="T24" fmla="*/ 48 w 48"/>
                <a:gd name="T25" fmla="*/ 2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8" h="82">
                  <a:moveTo>
                    <a:pt x="48" y="26"/>
                  </a:moveTo>
                  <a:lnTo>
                    <a:pt x="48" y="26"/>
                  </a:lnTo>
                  <a:lnTo>
                    <a:pt x="34" y="2"/>
                  </a:lnTo>
                  <a:lnTo>
                    <a:pt x="34" y="0"/>
                  </a:lnTo>
                  <a:lnTo>
                    <a:pt x="32" y="2"/>
                  </a:lnTo>
                  <a:lnTo>
                    <a:pt x="0" y="56"/>
                  </a:lnTo>
                  <a:lnTo>
                    <a:pt x="0" y="57"/>
                  </a:lnTo>
                  <a:lnTo>
                    <a:pt x="0" y="57"/>
                  </a:lnTo>
                  <a:lnTo>
                    <a:pt x="14" y="81"/>
                  </a:lnTo>
                  <a:lnTo>
                    <a:pt x="15" y="82"/>
                  </a:lnTo>
                  <a:lnTo>
                    <a:pt x="16" y="81"/>
                  </a:lnTo>
                  <a:lnTo>
                    <a:pt x="48" y="27"/>
                  </a:lnTo>
                  <a:lnTo>
                    <a:pt x="48" y="26"/>
                  </a:lnTo>
                  <a:close/>
                </a:path>
              </a:pathLst>
            </a:custGeom>
            <a:solidFill>
              <a:srgbClr val="CCCCC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35" name="Freeform 144">
              <a:extLst>
                <a:ext uri="{FF2B5EF4-FFF2-40B4-BE49-F238E27FC236}">
                  <a16:creationId xmlns:a16="http://schemas.microsoft.com/office/drawing/2014/main" id="{5A7CE520-C60C-4A12-8143-F18A7D9E43E8}"/>
                </a:ext>
              </a:extLst>
            </p:cNvPr>
            <p:cNvSpPr>
              <a:spLocks/>
            </p:cNvSpPr>
            <p:nvPr/>
          </p:nvSpPr>
          <p:spPr bwMode="auto">
            <a:xfrm>
              <a:off x="7085472" y="2562966"/>
              <a:ext cx="128832" cy="36582"/>
            </a:xfrm>
            <a:custGeom>
              <a:avLst/>
              <a:gdLst>
                <a:gd name="T0" fmla="*/ 15 w 81"/>
                <a:gd name="T1" fmla="*/ 0 h 23"/>
                <a:gd name="T2" fmla="*/ 1 w 81"/>
                <a:gd name="T3" fmla="*/ 22 h 23"/>
                <a:gd name="T4" fmla="*/ 0 w 81"/>
                <a:gd name="T5" fmla="*/ 23 h 23"/>
                <a:gd name="T6" fmla="*/ 3 w 81"/>
                <a:gd name="T7" fmla="*/ 23 h 23"/>
                <a:gd name="T8" fmla="*/ 66 w 81"/>
                <a:gd name="T9" fmla="*/ 23 h 23"/>
                <a:gd name="T10" fmla="*/ 66 w 81"/>
                <a:gd name="T11" fmla="*/ 23 h 23"/>
                <a:gd name="T12" fmla="*/ 68 w 81"/>
                <a:gd name="T13" fmla="*/ 23 h 23"/>
                <a:gd name="T14" fmla="*/ 81 w 81"/>
                <a:gd name="T15" fmla="*/ 0 h 23"/>
                <a:gd name="T16" fmla="*/ 15 w 81"/>
                <a:gd name="T17"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 h="23">
                  <a:moveTo>
                    <a:pt x="15" y="0"/>
                  </a:moveTo>
                  <a:lnTo>
                    <a:pt x="1" y="22"/>
                  </a:lnTo>
                  <a:lnTo>
                    <a:pt x="0" y="23"/>
                  </a:lnTo>
                  <a:lnTo>
                    <a:pt x="3" y="23"/>
                  </a:lnTo>
                  <a:lnTo>
                    <a:pt x="66" y="23"/>
                  </a:lnTo>
                  <a:lnTo>
                    <a:pt x="66" y="23"/>
                  </a:lnTo>
                  <a:lnTo>
                    <a:pt x="68" y="23"/>
                  </a:lnTo>
                  <a:lnTo>
                    <a:pt x="81" y="0"/>
                  </a:lnTo>
                  <a:lnTo>
                    <a:pt x="15" y="0"/>
                  </a:lnTo>
                  <a:close/>
                </a:path>
              </a:pathLst>
            </a:custGeom>
            <a:solidFill>
              <a:srgbClr val="CCCCC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36" name="Freeform 145">
              <a:extLst>
                <a:ext uri="{FF2B5EF4-FFF2-40B4-BE49-F238E27FC236}">
                  <a16:creationId xmlns:a16="http://schemas.microsoft.com/office/drawing/2014/main" id="{221E339B-EB27-4B8C-B547-0B6F85048F09}"/>
                </a:ext>
              </a:extLst>
            </p:cNvPr>
            <p:cNvSpPr>
              <a:spLocks/>
            </p:cNvSpPr>
            <p:nvPr/>
          </p:nvSpPr>
          <p:spPr bwMode="auto">
            <a:xfrm>
              <a:off x="7115692" y="2459582"/>
              <a:ext cx="98612" cy="90660"/>
            </a:xfrm>
            <a:custGeom>
              <a:avLst/>
              <a:gdLst>
                <a:gd name="T0" fmla="*/ 30 w 62"/>
                <a:gd name="T1" fmla="*/ 1 h 57"/>
                <a:gd name="T2" fmla="*/ 29 w 62"/>
                <a:gd name="T3" fmla="*/ 0 h 57"/>
                <a:gd name="T4" fmla="*/ 29 w 62"/>
                <a:gd name="T5" fmla="*/ 0 h 57"/>
                <a:gd name="T6" fmla="*/ 1 w 62"/>
                <a:gd name="T7" fmla="*/ 0 h 57"/>
                <a:gd name="T8" fmla="*/ 0 w 62"/>
                <a:gd name="T9" fmla="*/ 0 h 57"/>
                <a:gd name="T10" fmla="*/ 1 w 62"/>
                <a:gd name="T11" fmla="*/ 2 h 57"/>
                <a:gd name="T12" fmla="*/ 33 w 62"/>
                <a:gd name="T13" fmla="*/ 56 h 57"/>
                <a:gd name="T14" fmla="*/ 33 w 62"/>
                <a:gd name="T15" fmla="*/ 57 h 57"/>
                <a:gd name="T16" fmla="*/ 34 w 62"/>
                <a:gd name="T17" fmla="*/ 57 h 57"/>
                <a:gd name="T18" fmla="*/ 61 w 62"/>
                <a:gd name="T19" fmla="*/ 57 h 57"/>
                <a:gd name="T20" fmla="*/ 62 w 62"/>
                <a:gd name="T21" fmla="*/ 57 h 57"/>
                <a:gd name="T22" fmla="*/ 62 w 62"/>
                <a:gd name="T23" fmla="*/ 55 h 57"/>
                <a:gd name="T24" fmla="*/ 30 w 62"/>
                <a:gd name="T25" fmla="*/ 1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57">
                  <a:moveTo>
                    <a:pt x="30" y="1"/>
                  </a:moveTo>
                  <a:lnTo>
                    <a:pt x="29" y="0"/>
                  </a:lnTo>
                  <a:lnTo>
                    <a:pt x="29" y="0"/>
                  </a:lnTo>
                  <a:lnTo>
                    <a:pt x="1" y="0"/>
                  </a:lnTo>
                  <a:lnTo>
                    <a:pt x="0" y="0"/>
                  </a:lnTo>
                  <a:lnTo>
                    <a:pt x="1" y="2"/>
                  </a:lnTo>
                  <a:lnTo>
                    <a:pt x="33" y="56"/>
                  </a:lnTo>
                  <a:lnTo>
                    <a:pt x="33" y="57"/>
                  </a:lnTo>
                  <a:lnTo>
                    <a:pt x="34" y="57"/>
                  </a:lnTo>
                  <a:lnTo>
                    <a:pt x="61" y="57"/>
                  </a:lnTo>
                  <a:lnTo>
                    <a:pt x="62" y="57"/>
                  </a:lnTo>
                  <a:lnTo>
                    <a:pt x="62" y="55"/>
                  </a:lnTo>
                  <a:lnTo>
                    <a:pt x="30" y="1"/>
                  </a:lnTo>
                  <a:close/>
                </a:path>
              </a:pathLst>
            </a:custGeom>
            <a:solidFill>
              <a:srgbClr val="CCCCC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37" name="Freeform 146">
              <a:extLst>
                <a:ext uri="{FF2B5EF4-FFF2-40B4-BE49-F238E27FC236}">
                  <a16:creationId xmlns:a16="http://schemas.microsoft.com/office/drawing/2014/main" id="{CF022F25-4DA3-4187-AC9C-50BE74BC4477}"/>
                </a:ext>
              </a:extLst>
            </p:cNvPr>
            <p:cNvSpPr>
              <a:spLocks/>
            </p:cNvSpPr>
            <p:nvPr/>
          </p:nvSpPr>
          <p:spPr bwMode="auto">
            <a:xfrm>
              <a:off x="7055252" y="2464354"/>
              <a:ext cx="74754" cy="130423"/>
            </a:xfrm>
            <a:custGeom>
              <a:avLst/>
              <a:gdLst>
                <a:gd name="T0" fmla="*/ 47 w 47"/>
                <a:gd name="T1" fmla="*/ 26 h 82"/>
                <a:gd name="T2" fmla="*/ 47 w 47"/>
                <a:gd name="T3" fmla="*/ 25 h 82"/>
                <a:gd name="T4" fmla="*/ 33 w 47"/>
                <a:gd name="T5" fmla="*/ 2 h 82"/>
                <a:gd name="T6" fmla="*/ 33 w 47"/>
                <a:gd name="T7" fmla="*/ 0 h 82"/>
                <a:gd name="T8" fmla="*/ 31 w 47"/>
                <a:gd name="T9" fmla="*/ 2 h 82"/>
                <a:gd name="T10" fmla="*/ 0 w 47"/>
                <a:gd name="T11" fmla="*/ 57 h 82"/>
                <a:gd name="T12" fmla="*/ 0 w 47"/>
                <a:gd name="T13" fmla="*/ 57 h 82"/>
                <a:gd name="T14" fmla="*/ 0 w 47"/>
                <a:gd name="T15" fmla="*/ 57 h 82"/>
                <a:gd name="T16" fmla="*/ 13 w 47"/>
                <a:gd name="T17" fmla="*/ 81 h 82"/>
                <a:gd name="T18" fmla="*/ 14 w 47"/>
                <a:gd name="T19" fmla="*/ 82 h 82"/>
                <a:gd name="T20" fmla="*/ 15 w 47"/>
                <a:gd name="T21" fmla="*/ 81 h 82"/>
                <a:gd name="T22" fmla="*/ 47 w 47"/>
                <a:gd name="T23" fmla="*/ 26 h 82"/>
                <a:gd name="T24" fmla="*/ 47 w 47"/>
                <a:gd name="T25" fmla="*/ 2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7" h="82">
                  <a:moveTo>
                    <a:pt x="47" y="26"/>
                  </a:moveTo>
                  <a:lnTo>
                    <a:pt x="47" y="25"/>
                  </a:lnTo>
                  <a:lnTo>
                    <a:pt x="33" y="2"/>
                  </a:lnTo>
                  <a:lnTo>
                    <a:pt x="33" y="0"/>
                  </a:lnTo>
                  <a:lnTo>
                    <a:pt x="31" y="2"/>
                  </a:lnTo>
                  <a:lnTo>
                    <a:pt x="0" y="57"/>
                  </a:lnTo>
                  <a:lnTo>
                    <a:pt x="0" y="57"/>
                  </a:lnTo>
                  <a:lnTo>
                    <a:pt x="0" y="57"/>
                  </a:lnTo>
                  <a:lnTo>
                    <a:pt x="13" y="81"/>
                  </a:lnTo>
                  <a:lnTo>
                    <a:pt x="14" y="82"/>
                  </a:lnTo>
                  <a:lnTo>
                    <a:pt x="15" y="81"/>
                  </a:lnTo>
                  <a:lnTo>
                    <a:pt x="47" y="26"/>
                  </a:lnTo>
                  <a:lnTo>
                    <a:pt x="47" y="26"/>
                  </a:lnTo>
                  <a:close/>
                </a:path>
              </a:pathLst>
            </a:custGeom>
            <a:solidFill>
              <a:srgbClr val="CCCCC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38" name="Oval 147">
              <a:extLst>
                <a:ext uri="{FF2B5EF4-FFF2-40B4-BE49-F238E27FC236}">
                  <a16:creationId xmlns:a16="http://schemas.microsoft.com/office/drawing/2014/main" id="{1913B22A-D5B1-4D6C-AEFD-54E8D9E28B33}"/>
                </a:ext>
              </a:extLst>
            </p:cNvPr>
            <p:cNvSpPr>
              <a:spLocks noChangeArrowheads="1"/>
            </p:cNvSpPr>
            <p:nvPr/>
          </p:nvSpPr>
          <p:spPr bwMode="auto">
            <a:xfrm>
              <a:off x="6258400" y="2435724"/>
              <a:ext cx="39763" cy="38173"/>
            </a:xfrm>
            <a:prstGeom prst="ellipse">
              <a:avLst/>
            </a:pr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39" name="Oval 148">
              <a:extLst>
                <a:ext uri="{FF2B5EF4-FFF2-40B4-BE49-F238E27FC236}">
                  <a16:creationId xmlns:a16="http://schemas.microsoft.com/office/drawing/2014/main" id="{8F825CCB-356E-4EDF-92E3-F39137E0B8C9}"/>
                </a:ext>
              </a:extLst>
            </p:cNvPr>
            <p:cNvSpPr>
              <a:spLocks noChangeArrowheads="1"/>
            </p:cNvSpPr>
            <p:nvPr/>
          </p:nvSpPr>
          <p:spPr bwMode="auto">
            <a:xfrm>
              <a:off x="6341108" y="2435724"/>
              <a:ext cx="38173" cy="38173"/>
            </a:xfrm>
            <a:prstGeom prst="ellipse">
              <a:avLst/>
            </a:pr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40" name="Freeform 149">
              <a:extLst>
                <a:ext uri="{FF2B5EF4-FFF2-40B4-BE49-F238E27FC236}">
                  <a16:creationId xmlns:a16="http://schemas.microsoft.com/office/drawing/2014/main" id="{492AACCE-5791-4FBC-8BAC-915BC14BB5AF}"/>
                </a:ext>
              </a:extLst>
            </p:cNvPr>
            <p:cNvSpPr>
              <a:spLocks noEditPoints="1"/>
            </p:cNvSpPr>
            <p:nvPr/>
          </p:nvSpPr>
          <p:spPr bwMode="auto">
            <a:xfrm>
              <a:off x="6178874" y="2322797"/>
              <a:ext cx="278342" cy="380135"/>
            </a:xfrm>
            <a:custGeom>
              <a:avLst/>
              <a:gdLst>
                <a:gd name="T0" fmla="*/ 121 w 143"/>
                <a:gd name="T1" fmla="*/ 26 h 195"/>
                <a:gd name="T2" fmla="*/ 121 w 143"/>
                <a:gd name="T3" fmla="*/ 0 h 195"/>
                <a:gd name="T4" fmla="*/ 81 w 143"/>
                <a:gd name="T5" fmla="*/ 2 h 195"/>
                <a:gd name="T6" fmla="*/ 27 w 143"/>
                <a:gd name="T7" fmla="*/ 45 h 195"/>
                <a:gd name="T8" fmla="*/ 0 w 143"/>
                <a:gd name="T9" fmla="*/ 57 h 195"/>
                <a:gd name="T10" fmla="*/ 7 w 143"/>
                <a:gd name="T11" fmla="*/ 75 h 195"/>
                <a:gd name="T12" fmla="*/ 23 w 143"/>
                <a:gd name="T13" fmla="*/ 139 h 195"/>
                <a:gd name="T14" fmla="*/ 45 w 143"/>
                <a:gd name="T15" fmla="*/ 167 h 195"/>
                <a:gd name="T16" fmla="*/ 41 w 143"/>
                <a:gd name="T17" fmla="*/ 174 h 195"/>
                <a:gd name="T18" fmla="*/ 25 w 143"/>
                <a:gd name="T19" fmla="*/ 193 h 195"/>
                <a:gd name="T20" fmla="*/ 117 w 143"/>
                <a:gd name="T21" fmla="*/ 195 h 195"/>
                <a:gd name="T22" fmla="*/ 112 w 143"/>
                <a:gd name="T23" fmla="*/ 179 h 195"/>
                <a:gd name="T24" fmla="*/ 96 w 143"/>
                <a:gd name="T25" fmla="*/ 174 h 195"/>
                <a:gd name="T26" fmla="*/ 99 w 143"/>
                <a:gd name="T27" fmla="*/ 167 h 195"/>
                <a:gd name="T28" fmla="*/ 103 w 143"/>
                <a:gd name="T29" fmla="*/ 112 h 195"/>
                <a:gd name="T30" fmla="*/ 136 w 143"/>
                <a:gd name="T31" fmla="*/ 75 h 195"/>
                <a:gd name="T32" fmla="*/ 143 w 143"/>
                <a:gd name="T33" fmla="*/ 57 h 195"/>
                <a:gd name="T34" fmla="*/ 116 w 143"/>
                <a:gd name="T35" fmla="*/ 45 h 195"/>
                <a:gd name="T36" fmla="*/ 84 w 143"/>
                <a:gd name="T37" fmla="*/ 8 h 195"/>
                <a:gd name="T38" fmla="*/ 121 w 143"/>
                <a:gd name="T39" fmla="*/ 5 h 195"/>
                <a:gd name="T40" fmla="*/ 121 w 143"/>
                <a:gd name="T41" fmla="*/ 21 h 195"/>
                <a:gd name="T42" fmla="*/ 121 w 143"/>
                <a:gd name="T43" fmla="*/ 5 h 195"/>
                <a:gd name="T44" fmla="*/ 16 w 143"/>
                <a:gd name="T45" fmla="*/ 46 h 195"/>
                <a:gd name="T46" fmla="*/ 9 w 143"/>
                <a:gd name="T47" fmla="*/ 65 h 195"/>
                <a:gd name="T48" fmla="*/ 95 w 143"/>
                <a:gd name="T49" fmla="*/ 114 h 195"/>
                <a:gd name="T50" fmla="*/ 72 w 143"/>
                <a:gd name="T51" fmla="*/ 190 h 195"/>
                <a:gd name="T52" fmla="*/ 47 w 143"/>
                <a:gd name="T53" fmla="*/ 114 h 195"/>
                <a:gd name="T54" fmla="*/ 95 w 143"/>
                <a:gd name="T55" fmla="*/ 114 h 195"/>
                <a:gd name="T56" fmla="*/ 41 w 143"/>
                <a:gd name="T57" fmla="*/ 118 h 195"/>
                <a:gd name="T58" fmla="*/ 28 w 143"/>
                <a:gd name="T59" fmla="*/ 139 h 195"/>
                <a:gd name="T60" fmla="*/ 41 w 143"/>
                <a:gd name="T61" fmla="*/ 179 h 195"/>
                <a:gd name="T62" fmla="*/ 57 w 143"/>
                <a:gd name="T63" fmla="*/ 190 h 195"/>
                <a:gd name="T64" fmla="*/ 34 w 143"/>
                <a:gd name="T65" fmla="*/ 182 h 195"/>
                <a:gd name="T66" fmla="*/ 108 w 143"/>
                <a:gd name="T67" fmla="*/ 182 h 195"/>
                <a:gd name="T68" fmla="*/ 86 w 143"/>
                <a:gd name="T69" fmla="*/ 190 h 195"/>
                <a:gd name="T70" fmla="*/ 101 w 143"/>
                <a:gd name="T71" fmla="*/ 179 h 195"/>
                <a:gd name="T72" fmla="*/ 99 w 143"/>
                <a:gd name="T73" fmla="*/ 161 h 195"/>
                <a:gd name="T74" fmla="*/ 114 w 143"/>
                <a:gd name="T75" fmla="*/ 139 h 195"/>
                <a:gd name="T76" fmla="*/ 12 w 143"/>
                <a:gd name="T77" fmla="*/ 75 h 195"/>
                <a:gd name="T78" fmla="*/ 130 w 143"/>
                <a:gd name="T79" fmla="*/ 75 h 195"/>
                <a:gd name="T80" fmla="*/ 127 w 143"/>
                <a:gd name="T81" fmla="*/ 46 h 195"/>
                <a:gd name="T82" fmla="*/ 134 w 143"/>
                <a:gd name="T83" fmla="*/ 66 h 195"/>
                <a:gd name="T84" fmla="*/ 127 w 143"/>
                <a:gd name="T85" fmla="*/ 46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3" h="195">
                  <a:moveTo>
                    <a:pt x="108" y="13"/>
                  </a:moveTo>
                  <a:cubicBezTo>
                    <a:pt x="108" y="20"/>
                    <a:pt x="114" y="26"/>
                    <a:pt x="121" y="26"/>
                  </a:cubicBezTo>
                  <a:cubicBezTo>
                    <a:pt x="129" y="26"/>
                    <a:pt x="135" y="20"/>
                    <a:pt x="135" y="13"/>
                  </a:cubicBezTo>
                  <a:cubicBezTo>
                    <a:pt x="135" y="6"/>
                    <a:pt x="129" y="0"/>
                    <a:pt x="121" y="0"/>
                  </a:cubicBezTo>
                  <a:cubicBezTo>
                    <a:pt x="116" y="0"/>
                    <a:pt x="111" y="4"/>
                    <a:pt x="109" y="8"/>
                  </a:cubicBezTo>
                  <a:cubicBezTo>
                    <a:pt x="81" y="2"/>
                    <a:pt x="81" y="2"/>
                    <a:pt x="81" y="2"/>
                  </a:cubicBezTo>
                  <a:cubicBezTo>
                    <a:pt x="70" y="34"/>
                    <a:pt x="70" y="34"/>
                    <a:pt x="70" y="34"/>
                  </a:cubicBezTo>
                  <a:cubicBezTo>
                    <a:pt x="53" y="34"/>
                    <a:pt x="38" y="38"/>
                    <a:pt x="27" y="45"/>
                  </a:cubicBezTo>
                  <a:cubicBezTo>
                    <a:pt x="24" y="43"/>
                    <a:pt x="20" y="41"/>
                    <a:pt x="16" y="41"/>
                  </a:cubicBezTo>
                  <a:cubicBezTo>
                    <a:pt x="7" y="41"/>
                    <a:pt x="0" y="48"/>
                    <a:pt x="0" y="57"/>
                  </a:cubicBezTo>
                  <a:cubicBezTo>
                    <a:pt x="0" y="63"/>
                    <a:pt x="3" y="68"/>
                    <a:pt x="8" y="71"/>
                  </a:cubicBezTo>
                  <a:cubicBezTo>
                    <a:pt x="7" y="72"/>
                    <a:pt x="7" y="74"/>
                    <a:pt x="7" y="75"/>
                  </a:cubicBezTo>
                  <a:cubicBezTo>
                    <a:pt x="7" y="91"/>
                    <a:pt x="20" y="105"/>
                    <a:pt x="40" y="112"/>
                  </a:cubicBezTo>
                  <a:cubicBezTo>
                    <a:pt x="30" y="118"/>
                    <a:pt x="23" y="128"/>
                    <a:pt x="23" y="139"/>
                  </a:cubicBezTo>
                  <a:cubicBezTo>
                    <a:pt x="23" y="150"/>
                    <a:pt x="31" y="161"/>
                    <a:pt x="44" y="168"/>
                  </a:cubicBezTo>
                  <a:cubicBezTo>
                    <a:pt x="45" y="167"/>
                    <a:pt x="45" y="167"/>
                    <a:pt x="45" y="167"/>
                  </a:cubicBezTo>
                  <a:cubicBezTo>
                    <a:pt x="45" y="170"/>
                    <a:pt x="46" y="172"/>
                    <a:pt x="47" y="174"/>
                  </a:cubicBezTo>
                  <a:cubicBezTo>
                    <a:pt x="41" y="174"/>
                    <a:pt x="41" y="174"/>
                    <a:pt x="41" y="174"/>
                  </a:cubicBezTo>
                  <a:cubicBezTo>
                    <a:pt x="36" y="174"/>
                    <a:pt x="33" y="176"/>
                    <a:pt x="30" y="179"/>
                  </a:cubicBezTo>
                  <a:cubicBezTo>
                    <a:pt x="25" y="184"/>
                    <a:pt x="25" y="192"/>
                    <a:pt x="25" y="193"/>
                  </a:cubicBezTo>
                  <a:cubicBezTo>
                    <a:pt x="25" y="195"/>
                    <a:pt x="25" y="195"/>
                    <a:pt x="25" y="195"/>
                  </a:cubicBezTo>
                  <a:cubicBezTo>
                    <a:pt x="117" y="195"/>
                    <a:pt x="117" y="195"/>
                    <a:pt x="117" y="195"/>
                  </a:cubicBezTo>
                  <a:cubicBezTo>
                    <a:pt x="117" y="193"/>
                    <a:pt x="117" y="193"/>
                    <a:pt x="117" y="193"/>
                  </a:cubicBezTo>
                  <a:cubicBezTo>
                    <a:pt x="117" y="192"/>
                    <a:pt x="117" y="184"/>
                    <a:pt x="112" y="179"/>
                  </a:cubicBezTo>
                  <a:cubicBezTo>
                    <a:pt x="109" y="176"/>
                    <a:pt x="106" y="174"/>
                    <a:pt x="101" y="174"/>
                  </a:cubicBezTo>
                  <a:cubicBezTo>
                    <a:pt x="96" y="174"/>
                    <a:pt x="96" y="174"/>
                    <a:pt x="96" y="174"/>
                  </a:cubicBezTo>
                  <a:cubicBezTo>
                    <a:pt x="97" y="172"/>
                    <a:pt x="98" y="169"/>
                    <a:pt x="98" y="166"/>
                  </a:cubicBezTo>
                  <a:cubicBezTo>
                    <a:pt x="99" y="167"/>
                    <a:pt x="99" y="167"/>
                    <a:pt x="99" y="167"/>
                  </a:cubicBezTo>
                  <a:cubicBezTo>
                    <a:pt x="112" y="161"/>
                    <a:pt x="119" y="150"/>
                    <a:pt x="119" y="139"/>
                  </a:cubicBezTo>
                  <a:cubicBezTo>
                    <a:pt x="119" y="128"/>
                    <a:pt x="113" y="119"/>
                    <a:pt x="103" y="112"/>
                  </a:cubicBezTo>
                  <a:cubicBezTo>
                    <a:pt x="103" y="112"/>
                    <a:pt x="103" y="112"/>
                    <a:pt x="103" y="112"/>
                  </a:cubicBezTo>
                  <a:cubicBezTo>
                    <a:pt x="122" y="105"/>
                    <a:pt x="136" y="91"/>
                    <a:pt x="136" y="75"/>
                  </a:cubicBezTo>
                  <a:cubicBezTo>
                    <a:pt x="136" y="74"/>
                    <a:pt x="135" y="72"/>
                    <a:pt x="135" y="71"/>
                  </a:cubicBezTo>
                  <a:cubicBezTo>
                    <a:pt x="140" y="68"/>
                    <a:pt x="143" y="63"/>
                    <a:pt x="143" y="57"/>
                  </a:cubicBezTo>
                  <a:cubicBezTo>
                    <a:pt x="143" y="48"/>
                    <a:pt x="136" y="41"/>
                    <a:pt x="127" y="41"/>
                  </a:cubicBezTo>
                  <a:cubicBezTo>
                    <a:pt x="122" y="41"/>
                    <a:pt x="119" y="43"/>
                    <a:pt x="116" y="45"/>
                  </a:cubicBezTo>
                  <a:cubicBezTo>
                    <a:pt x="105" y="39"/>
                    <a:pt x="91" y="34"/>
                    <a:pt x="75" y="34"/>
                  </a:cubicBezTo>
                  <a:cubicBezTo>
                    <a:pt x="84" y="8"/>
                    <a:pt x="84" y="8"/>
                    <a:pt x="84" y="8"/>
                  </a:cubicBezTo>
                  <a:lnTo>
                    <a:pt x="108" y="13"/>
                  </a:lnTo>
                  <a:close/>
                  <a:moveTo>
                    <a:pt x="121" y="5"/>
                  </a:moveTo>
                  <a:cubicBezTo>
                    <a:pt x="126" y="5"/>
                    <a:pt x="130" y="9"/>
                    <a:pt x="130" y="13"/>
                  </a:cubicBezTo>
                  <a:cubicBezTo>
                    <a:pt x="130" y="18"/>
                    <a:pt x="126" y="21"/>
                    <a:pt x="121" y="21"/>
                  </a:cubicBezTo>
                  <a:cubicBezTo>
                    <a:pt x="117" y="21"/>
                    <a:pt x="113" y="18"/>
                    <a:pt x="113" y="13"/>
                  </a:cubicBezTo>
                  <a:cubicBezTo>
                    <a:pt x="113" y="9"/>
                    <a:pt x="117" y="5"/>
                    <a:pt x="121" y="5"/>
                  </a:cubicBezTo>
                  <a:moveTo>
                    <a:pt x="5" y="57"/>
                  </a:moveTo>
                  <a:cubicBezTo>
                    <a:pt x="5" y="51"/>
                    <a:pt x="10" y="46"/>
                    <a:pt x="16" y="46"/>
                  </a:cubicBezTo>
                  <a:cubicBezTo>
                    <a:pt x="19" y="46"/>
                    <a:pt x="21" y="47"/>
                    <a:pt x="23" y="48"/>
                  </a:cubicBezTo>
                  <a:cubicBezTo>
                    <a:pt x="16" y="53"/>
                    <a:pt x="12" y="59"/>
                    <a:pt x="9" y="65"/>
                  </a:cubicBezTo>
                  <a:cubicBezTo>
                    <a:pt x="7" y="63"/>
                    <a:pt x="5" y="60"/>
                    <a:pt x="5" y="57"/>
                  </a:cubicBezTo>
                  <a:moveTo>
                    <a:pt x="95" y="114"/>
                  </a:moveTo>
                  <a:cubicBezTo>
                    <a:pt x="96" y="115"/>
                    <a:pt x="97" y="115"/>
                    <a:pt x="97" y="115"/>
                  </a:cubicBezTo>
                  <a:cubicBezTo>
                    <a:pt x="97" y="161"/>
                    <a:pt x="92" y="190"/>
                    <a:pt x="72" y="190"/>
                  </a:cubicBezTo>
                  <a:cubicBezTo>
                    <a:pt x="48" y="190"/>
                    <a:pt x="46" y="155"/>
                    <a:pt x="46" y="115"/>
                  </a:cubicBezTo>
                  <a:cubicBezTo>
                    <a:pt x="46" y="114"/>
                    <a:pt x="46" y="114"/>
                    <a:pt x="47" y="114"/>
                  </a:cubicBezTo>
                  <a:cubicBezTo>
                    <a:pt x="54" y="116"/>
                    <a:pt x="63" y="117"/>
                    <a:pt x="71" y="117"/>
                  </a:cubicBezTo>
                  <a:cubicBezTo>
                    <a:pt x="80" y="117"/>
                    <a:pt x="88" y="116"/>
                    <a:pt x="95" y="114"/>
                  </a:cubicBezTo>
                  <a:moveTo>
                    <a:pt x="28" y="139"/>
                  </a:moveTo>
                  <a:cubicBezTo>
                    <a:pt x="28" y="130"/>
                    <a:pt x="33" y="123"/>
                    <a:pt x="41" y="118"/>
                  </a:cubicBezTo>
                  <a:cubicBezTo>
                    <a:pt x="41" y="134"/>
                    <a:pt x="41" y="149"/>
                    <a:pt x="43" y="161"/>
                  </a:cubicBezTo>
                  <a:cubicBezTo>
                    <a:pt x="34" y="156"/>
                    <a:pt x="28" y="147"/>
                    <a:pt x="28" y="139"/>
                  </a:cubicBezTo>
                  <a:moveTo>
                    <a:pt x="34" y="182"/>
                  </a:moveTo>
                  <a:cubicBezTo>
                    <a:pt x="35" y="180"/>
                    <a:pt x="38" y="179"/>
                    <a:pt x="41" y="179"/>
                  </a:cubicBezTo>
                  <a:cubicBezTo>
                    <a:pt x="49" y="179"/>
                    <a:pt x="49" y="179"/>
                    <a:pt x="49" y="179"/>
                  </a:cubicBezTo>
                  <a:cubicBezTo>
                    <a:pt x="51" y="184"/>
                    <a:pt x="54" y="187"/>
                    <a:pt x="57" y="190"/>
                  </a:cubicBezTo>
                  <a:cubicBezTo>
                    <a:pt x="30" y="190"/>
                    <a:pt x="30" y="190"/>
                    <a:pt x="30" y="190"/>
                  </a:cubicBezTo>
                  <a:cubicBezTo>
                    <a:pt x="31" y="188"/>
                    <a:pt x="31" y="185"/>
                    <a:pt x="34" y="182"/>
                  </a:cubicBezTo>
                  <a:moveTo>
                    <a:pt x="101" y="179"/>
                  </a:moveTo>
                  <a:cubicBezTo>
                    <a:pt x="104" y="179"/>
                    <a:pt x="107" y="180"/>
                    <a:pt x="108" y="182"/>
                  </a:cubicBezTo>
                  <a:cubicBezTo>
                    <a:pt x="111" y="184"/>
                    <a:pt x="112" y="188"/>
                    <a:pt x="112" y="190"/>
                  </a:cubicBezTo>
                  <a:cubicBezTo>
                    <a:pt x="86" y="190"/>
                    <a:pt x="86" y="190"/>
                    <a:pt x="86" y="190"/>
                  </a:cubicBezTo>
                  <a:cubicBezTo>
                    <a:pt x="89" y="187"/>
                    <a:pt x="92" y="184"/>
                    <a:pt x="94" y="179"/>
                  </a:cubicBezTo>
                  <a:lnTo>
                    <a:pt x="101" y="179"/>
                  </a:lnTo>
                  <a:close/>
                  <a:moveTo>
                    <a:pt x="114" y="139"/>
                  </a:moveTo>
                  <a:cubicBezTo>
                    <a:pt x="114" y="147"/>
                    <a:pt x="109" y="155"/>
                    <a:pt x="99" y="161"/>
                  </a:cubicBezTo>
                  <a:cubicBezTo>
                    <a:pt x="102" y="148"/>
                    <a:pt x="102" y="134"/>
                    <a:pt x="103" y="119"/>
                  </a:cubicBezTo>
                  <a:cubicBezTo>
                    <a:pt x="110" y="124"/>
                    <a:pt x="114" y="131"/>
                    <a:pt x="114" y="139"/>
                  </a:cubicBezTo>
                  <a:moveTo>
                    <a:pt x="71" y="112"/>
                  </a:moveTo>
                  <a:cubicBezTo>
                    <a:pt x="39" y="112"/>
                    <a:pt x="12" y="96"/>
                    <a:pt x="12" y="75"/>
                  </a:cubicBezTo>
                  <a:cubicBezTo>
                    <a:pt x="12" y="55"/>
                    <a:pt x="39" y="39"/>
                    <a:pt x="71" y="39"/>
                  </a:cubicBezTo>
                  <a:cubicBezTo>
                    <a:pt x="104" y="39"/>
                    <a:pt x="130" y="55"/>
                    <a:pt x="130" y="75"/>
                  </a:cubicBezTo>
                  <a:cubicBezTo>
                    <a:pt x="130" y="96"/>
                    <a:pt x="104" y="112"/>
                    <a:pt x="71" y="112"/>
                  </a:cubicBezTo>
                  <a:moveTo>
                    <a:pt x="127" y="46"/>
                  </a:moveTo>
                  <a:cubicBezTo>
                    <a:pt x="133" y="46"/>
                    <a:pt x="138" y="51"/>
                    <a:pt x="138" y="57"/>
                  </a:cubicBezTo>
                  <a:cubicBezTo>
                    <a:pt x="138" y="60"/>
                    <a:pt x="136" y="63"/>
                    <a:pt x="134" y="66"/>
                  </a:cubicBezTo>
                  <a:cubicBezTo>
                    <a:pt x="131" y="59"/>
                    <a:pt x="127" y="53"/>
                    <a:pt x="120" y="48"/>
                  </a:cubicBezTo>
                  <a:cubicBezTo>
                    <a:pt x="122" y="47"/>
                    <a:pt x="124" y="46"/>
                    <a:pt x="127" y="46"/>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41" name="Freeform 150">
              <a:extLst>
                <a:ext uri="{FF2B5EF4-FFF2-40B4-BE49-F238E27FC236}">
                  <a16:creationId xmlns:a16="http://schemas.microsoft.com/office/drawing/2014/main" id="{00D40973-7340-419E-8373-B3E7A263DD6E}"/>
                </a:ext>
              </a:extLst>
            </p:cNvPr>
            <p:cNvSpPr>
              <a:spLocks/>
            </p:cNvSpPr>
            <p:nvPr/>
          </p:nvSpPr>
          <p:spPr bwMode="auto">
            <a:xfrm>
              <a:off x="6271125" y="2497754"/>
              <a:ext cx="95431" cy="23858"/>
            </a:xfrm>
            <a:custGeom>
              <a:avLst/>
              <a:gdLst>
                <a:gd name="T0" fmla="*/ 45 w 49"/>
                <a:gd name="T1" fmla="*/ 1 h 12"/>
                <a:gd name="T2" fmla="*/ 24 w 49"/>
                <a:gd name="T3" fmla="*/ 7 h 12"/>
                <a:gd name="T4" fmla="*/ 5 w 49"/>
                <a:gd name="T5" fmla="*/ 1 h 12"/>
                <a:gd name="T6" fmla="*/ 1 w 49"/>
                <a:gd name="T7" fmla="*/ 1 h 12"/>
                <a:gd name="T8" fmla="*/ 1 w 49"/>
                <a:gd name="T9" fmla="*/ 5 h 12"/>
                <a:gd name="T10" fmla="*/ 24 w 49"/>
                <a:gd name="T11" fmla="*/ 12 h 12"/>
                <a:gd name="T12" fmla="*/ 48 w 49"/>
                <a:gd name="T13" fmla="*/ 5 h 12"/>
                <a:gd name="T14" fmla="*/ 48 w 49"/>
                <a:gd name="T15" fmla="*/ 1 h 12"/>
                <a:gd name="T16" fmla="*/ 45 w 49"/>
                <a:gd name="T17" fmla="*/ 1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12">
                  <a:moveTo>
                    <a:pt x="45" y="1"/>
                  </a:moveTo>
                  <a:cubicBezTo>
                    <a:pt x="44" y="1"/>
                    <a:pt x="38" y="7"/>
                    <a:pt x="24" y="7"/>
                  </a:cubicBezTo>
                  <a:cubicBezTo>
                    <a:pt x="10" y="7"/>
                    <a:pt x="5" y="1"/>
                    <a:pt x="5" y="1"/>
                  </a:cubicBezTo>
                  <a:cubicBezTo>
                    <a:pt x="4" y="0"/>
                    <a:pt x="2" y="0"/>
                    <a:pt x="1" y="1"/>
                  </a:cubicBezTo>
                  <a:cubicBezTo>
                    <a:pt x="0" y="2"/>
                    <a:pt x="0" y="3"/>
                    <a:pt x="1" y="5"/>
                  </a:cubicBezTo>
                  <a:cubicBezTo>
                    <a:pt x="1" y="5"/>
                    <a:pt x="8" y="12"/>
                    <a:pt x="24" y="12"/>
                  </a:cubicBezTo>
                  <a:cubicBezTo>
                    <a:pt x="41" y="12"/>
                    <a:pt x="48" y="5"/>
                    <a:pt x="48" y="5"/>
                  </a:cubicBezTo>
                  <a:cubicBezTo>
                    <a:pt x="49" y="4"/>
                    <a:pt x="49" y="2"/>
                    <a:pt x="48" y="1"/>
                  </a:cubicBezTo>
                  <a:cubicBezTo>
                    <a:pt x="47" y="0"/>
                    <a:pt x="45" y="0"/>
                    <a:pt x="45" y="1"/>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42" name="Oval 151">
              <a:extLst>
                <a:ext uri="{FF2B5EF4-FFF2-40B4-BE49-F238E27FC236}">
                  <a16:creationId xmlns:a16="http://schemas.microsoft.com/office/drawing/2014/main" id="{C3C0A0E6-C693-4E96-B5C6-C0F2C1E72C82}"/>
                </a:ext>
              </a:extLst>
            </p:cNvPr>
            <p:cNvSpPr>
              <a:spLocks noChangeArrowheads="1"/>
            </p:cNvSpPr>
            <p:nvPr/>
          </p:nvSpPr>
          <p:spPr bwMode="auto">
            <a:xfrm>
              <a:off x="7852104" y="3118058"/>
              <a:ext cx="20677" cy="19086"/>
            </a:xfrm>
            <a:prstGeom prst="ellipse">
              <a:avLst/>
            </a:prstGeom>
            <a:solidFill>
              <a:srgbClr val="CCCCC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43" name="Oval 152">
              <a:extLst>
                <a:ext uri="{FF2B5EF4-FFF2-40B4-BE49-F238E27FC236}">
                  <a16:creationId xmlns:a16="http://schemas.microsoft.com/office/drawing/2014/main" id="{83DFE911-82FC-43AE-9837-C769DC3B0625}"/>
                </a:ext>
              </a:extLst>
            </p:cNvPr>
            <p:cNvSpPr>
              <a:spLocks noChangeArrowheads="1"/>
            </p:cNvSpPr>
            <p:nvPr/>
          </p:nvSpPr>
          <p:spPr bwMode="auto">
            <a:xfrm>
              <a:off x="7895048" y="3118058"/>
              <a:ext cx="19086" cy="19086"/>
            </a:xfrm>
            <a:prstGeom prst="ellipse">
              <a:avLst/>
            </a:prstGeom>
            <a:solidFill>
              <a:srgbClr val="CCCCC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44" name="Freeform 153">
              <a:extLst>
                <a:ext uri="{FF2B5EF4-FFF2-40B4-BE49-F238E27FC236}">
                  <a16:creationId xmlns:a16="http://schemas.microsoft.com/office/drawing/2014/main" id="{E186E4DA-F89C-4956-B94F-F6DBFE2D2BCA}"/>
                </a:ext>
              </a:extLst>
            </p:cNvPr>
            <p:cNvSpPr>
              <a:spLocks noEditPoints="1"/>
            </p:cNvSpPr>
            <p:nvPr/>
          </p:nvSpPr>
          <p:spPr bwMode="auto">
            <a:xfrm>
              <a:off x="7810750" y="3059209"/>
              <a:ext cx="144738" cy="194044"/>
            </a:xfrm>
            <a:custGeom>
              <a:avLst/>
              <a:gdLst>
                <a:gd name="T0" fmla="*/ 63 w 74"/>
                <a:gd name="T1" fmla="*/ 13 h 100"/>
                <a:gd name="T2" fmla="*/ 63 w 74"/>
                <a:gd name="T3" fmla="*/ 0 h 100"/>
                <a:gd name="T4" fmla="*/ 42 w 74"/>
                <a:gd name="T5" fmla="*/ 1 h 100"/>
                <a:gd name="T6" fmla="*/ 14 w 74"/>
                <a:gd name="T7" fmla="*/ 23 h 100"/>
                <a:gd name="T8" fmla="*/ 0 w 74"/>
                <a:gd name="T9" fmla="*/ 29 h 100"/>
                <a:gd name="T10" fmla="*/ 4 w 74"/>
                <a:gd name="T11" fmla="*/ 39 h 100"/>
                <a:gd name="T12" fmla="*/ 12 w 74"/>
                <a:gd name="T13" fmla="*/ 71 h 100"/>
                <a:gd name="T14" fmla="*/ 23 w 74"/>
                <a:gd name="T15" fmla="*/ 86 h 100"/>
                <a:gd name="T16" fmla="*/ 21 w 74"/>
                <a:gd name="T17" fmla="*/ 90 h 100"/>
                <a:gd name="T18" fmla="*/ 13 w 74"/>
                <a:gd name="T19" fmla="*/ 99 h 100"/>
                <a:gd name="T20" fmla="*/ 60 w 74"/>
                <a:gd name="T21" fmla="*/ 100 h 100"/>
                <a:gd name="T22" fmla="*/ 58 w 74"/>
                <a:gd name="T23" fmla="*/ 92 h 100"/>
                <a:gd name="T24" fmla="*/ 50 w 74"/>
                <a:gd name="T25" fmla="*/ 90 h 100"/>
                <a:gd name="T26" fmla="*/ 51 w 74"/>
                <a:gd name="T27" fmla="*/ 86 h 100"/>
                <a:gd name="T28" fmla="*/ 53 w 74"/>
                <a:gd name="T29" fmla="*/ 58 h 100"/>
                <a:gd name="T30" fmla="*/ 70 w 74"/>
                <a:gd name="T31" fmla="*/ 39 h 100"/>
                <a:gd name="T32" fmla="*/ 74 w 74"/>
                <a:gd name="T33" fmla="*/ 29 h 100"/>
                <a:gd name="T34" fmla="*/ 60 w 74"/>
                <a:gd name="T35" fmla="*/ 23 h 100"/>
                <a:gd name="T36" fmla="*/ 44 w 74"/>
                <a:gd name="T37" fmla="*/ 4 h 100"/>
                <a:gd name="T38" fmla="*/ 63 w 74"/>
                <a:gd name="T39" fmla="*/ 3 h 100"/>
                <a:gd name="T40" fmla="*/ 63 w 74"/>
                <a:gd name="T41" fmla="*/ 11 h 100"/>
                <a:gd name="T42" fmla="*/ 63 w 74"/>
                <a:gd name="T43" fmla="*/ 3 h 100"/>
                <a:gd name="T44" fmla="*/ 9 w 74"/>
                <a:gd name="T45" fmla="*/ 24 h 100"/>
                <a:gd name="T46" fmla="*/ 5 w 74"/>
                <a:gd name="T47" fmla="*/ 34 h 100"/>
                <a:gd name="T48" fmla="*/ 49 w 74"/>
                <a:gd name="T49" fmla="*/ 59 h 100"/>
                <a:gd name="T50" fmla="*/ 37 w 74"/>
                <a:gd name="T51" fmla="*/ 98 h 100"/>
                <a:gd name="T52" fmla="*/ 24 w 74"/>
                <a:gd name="T53" fmla="*/ 59 h 100"/>
                <a:gd name="T54" fmla="*/ 49 w 74"/>
                <a:gd name="T55" fmla="*/ 59 h 100"/>
                <a:gd name="T56" fmla="*/ 21 w 74"/>
                <a:gd name="T57" fmla="*/ 60 h 100"/>
                <a:gd name="T58" fmla="*/ 15 w 74"/>
                <a:gd name="T59" fmla="*/ 71 h 100"/>
                <a:gd name="T60" fmla="*/ 21 w 74"/>
                <a:gd name="T61" fmla="*/ 92 h 100"/>
                <a:gd name="T62" fmla="*/ 30 w 74"/>
                <a:gd name="T63" fmla="*/ 98 h 100"/>
                <a:gd name="T64" fmla="*/ 17 w 74"/>
                <a:gd name="T65" fmla="*/ 94 h 100"/>
                <a:gd name="T66" fmla="*/ 56 w 74"/>
                <a:gd name="T67" fmla="*/ 94 h 100"/>
                <a:gd name="T68" fmla="*/ 44 w 74"/>
                <a:gd name="T69" fmla="*/ 98 h 100"/>
                <a:gd name="T70" fmla="*/ 52 w 74"/>
                <a:gd name="T71" fmla="*/ 92 h 100"/>
                <a:gd name="T72" fmla="*/ 51 w 74"/>
                <a:gd name="T73" fmla="*/ 83 h 100"/>
                <a:gd name="T74" fmla="*/ 59 w 74"/>
                <a:gd name="T75" fmla="*/ 71 h 100"/>
                <a:gd name="T76" fmla="*/ 7 w 74"/>
                <a:gd name="T77" fmla="*/ 39 h 100"/>
                <a:gd name="T78" fmla="*/ 67 w 74"/>
                <a:gd name="T79" fmla="*/ 39 h 100"/>
                <a:gd name="T80" fmla="*/ 65 w 74"/>
                <a:gd name="T81" fmla="*/ 24 h 100"/>
                <a:gd name="T82" fmla="*/ 69 w 74"/>
                <a:gd name="T83" fmla="*/ 34 h 100"/>
                <a:gd name="T84" fmla="*/ 65 w 74"/>
                <a:gd name="T85" fmla="*/ 24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74" h="100">
                  <a:moveTo>
                    <a:pt x="56" y="7"/>
                  </a:moveTo>
                  <a:cubicBezTo>
                    <a:pt x="56" y="10"/>
                    <a:pt x="59" y="13"/>
                    <a:pt x="63" y="13"/>
                  </a:cubicBezTo>
                  <a:cubicBezTo>
                    <a:pt x="66" y="13"/>
                    <a:pt x="70" y="10"/>
                    <a:pt x="70" y="7"/>
                  </a:cubicBezTo>
                  <a:cubicBezTo>
                    <a:pt x="70" y="3"/>
                    <a:pt x="66" y="0"/>
                    <a:pt x="63" y="0"/>
                  </a:cubicBezTo>
                  <a:cubicBezTo>
                    <a:pt x="60" y="0"/>
                    <a:pt x="57" y="2"/>
                    <a:pt x="56" y="4"/>
                  </a:cubicBezTo>
                  <a:cubicBezTo>
                    <a:pt x="42" y="1"/>
                    <a:pt x="42" y="1"/>
                    <a:pt x="42" y="1"/>
                  </a:cubicBezTo>
                  <a:cubicBezTo>
                    <a:pt x="36" y="17"/>
                    <a:pt x="36" y="17"/>
                    <a:pt x="36" y="17"/>
                  </a:cubicBezTo>
                  <a:cubicBezTo>
                    <a:pt x="28" y="17"/>
                    <a:pt x="20" y="20"/>
                    <a:pt x="14" y="23"/>
                  </a:cubicBezTo>
                  <a:cubicBezTo>
                    <a:pt x="13" y="22"/>
                    <a:pt x="11" y="21"/>
                    <a:pt x="9" y="21"/>
                  </a:cubicBezTo>
                  <a:cubicBezTo>
                    <a:pt x="4" y="21"/>
                    <a:pt x="0" y="25"/>
                    <a:pt x="0" y="29"/>
                  </a:cubicBezTo>
                  <a:cubicBezTo>
                    <a:pt x="0" y="32"/>
                    <a:pt x="2" y="35"/>
                    <a:pt x="4" y="36"/>
                  </a:cubicBezTo>
                  <a:cubicBezTo>
                    <a:pt x="4" y="37"/>
                    <a:pt x="4" y="38"/>
                    <a:pt x="4" y="39"/>
                  </a:cubicBezTo>
                  <a:cubicBezTo>
                    <a:pt x="4" y="47"/>
                    <a:pt x="11" y="54"/>
                    <a:pt x="21" y="58"/>
                  </a:cubicBezTo>
                  <a:cubicBezTo>
                    <a:pt x="15" y="61"/>
                    <a:pt x="12" y="66"/>
                    <a:pt x="12" y="71"/>
                  </a:cubicBezTo>
                  <a:cubicBezTo>
                    <a:pt x="12" y="77"/>
                    <a:pt x="16" y="83"/>
                    <a:pt x="23" y="86"/>
                  </a:cubicBezTo>
                  <a:cubicBezTo>
                    <a:pt x="23" y="86"/>
                    <a:pt x="23" y="86"/>
                    <a:pt x="23" y="86"/>
                  </a:cubicBezTo>
                  <a:cubicBezTo>
                    <a:pt x="24" y="87"/>
                    <a:pt x="24" y="89"/>
                    <a:pt x="24" y="90"/>
                  </a:cubicBezTo>
                  <a:cubicBezTo>
                    <a:pt x="21" y="90"/>
                    <a:pt x="21" y="90"/>
                    <a:pt x="21" y="90"/>
                  </a:cubicBezTo>
                  <a:cubicBezTo>
                    <a:pt x="19" y="90"/>
                    <a:pt x="17" y="90"/>
                    <a:pt x="16" y="92"/>
                  </a:cubicBezTo>
                  <a:cubicBezTo>
                    <a:pt x="13" y="95"/>
                    <a:pt x="13" y="99"/>
                    <a:pt x="13" y="99"/>
                  </a:cubicBezTo>
                  <a:cubicBezTo>
                    <a:pt x="13" y="100"/>
                    <a:pt x="13" y="100"/>
                    <a:pt x="13" y="100"/>
                  </a:cubicBezTo>
                  <a:cubicBezTo>
                    <a:pt x="60" y="100"/>
                    <a:pt x="60" y="100"/>
                    <a:pt x="60" y="100"/>
                  </a:cubicBezTo>
                  <a:cubicBezTo>
                    <a:pt x="61" y="99"/>
                    <a:pt x="61" y="99"/>
                    <a:pt x="61" y="99"/>
                  </a:cubicBezTo>
                  <a:cubicBezTo>
                    <a:pt x="61" y="99"/>
                    <a:pt x="61" y="95"/>
                    <a:pt x="58" y="92"/>
                  </a:cubicBezTo>
                  <a:cubicBezTo>
                    <a:pt x="57" y="90"/>
                    <a:pt x="55" y="90"/>
                    <a:pt x="52" y="90"/>
                  </a:cubicBezTo>
                  <a:cubicBezTo>
                    <a:pt x="50" y="90"/>
                    <a:pt x="50" y="90"/>
                    <a:pt x="50" y="90"/>
                  </a:cubicBezTo>
                  <a:cubicBezTo>
                    <a:pt x="50" y="88"/>
                    <a:pt x="50" y="87"/>
                    <a:pt x="51" y="86"/>
                  </a:cubicBezTo>
                  <a:cubicBezTo>
                    <a:pt x="51" y="86"/>
                    <a:pt x="51" y="86"/>
                    <a:pt x="51" y="86"/>
                  </a:cubicBezTo>
                  <a:cubicBezTo>
                    <a:pt x="58" y="83"/>
                    <a:pt x="62" y="77"/>
                    <a:pt x="62" y="71"/>
                  </a:cubicBezTo>
                  <a:cubicBezTo>
                    <a:pt x="62" y="66"/>
                    <a:pt x="58" y="61"/>
                    <a:pt x="53" y="58"/>
                  </a:cubicBezTo>
                  <a:cubicBezTo>
                    <a:pt x="53" y="58"/>
                    <a:pt x="53" y="58"/>
                    <a:pt x="53" y="58"/>
                  </a:cubicBezTo>
                  <a:cubicBezTo>
                    <a:pt x="63" y="54"/>
                    <a:pt x="70" y="47"/>
                    <a:pt x="70" y="39"/>
                  </a:cubicBezTo>
                  <a:cubicBezTo>
                    <a:pt x="70" y="38"/>
                    <a:pt x="70" y="37"/>
                    <a:pt x="70" y="36"/>
                  </a:cubicBezTo>
                  <a:cubicBezTo>
                    <a:pt x="72" y="35"/>
                    <a:pt x="74" y="32"/>
                    <a:pt x="74" y="29"/>
                  </a:cubicBezTo>
                  <a:cubicBezTo>
                    <a:pt x="74" y="25"/>
                    <a:pt x="70" y="21"/>
                    <a:pt x="65" y="21"/>
                  </a:cubicBezTo>
                  <a:cubicBezTo>
                    <a:pt x="63" y="21"/>
                    <a:pt x="61" y="22"/>
                    <a:pt x="60" y="23"/>
                  </a:cubicBezTo>
                  <a:cubicBezTo>
                    <a:pt x="54" y="20"/>
                    <a:pt x="47" y="18"/>
                    <a:pt x="39" y="17"/>
                  </a:cubicBezTo>
                  <a:cubicBezTo>
                    <a:pt x="44" y="4"/>
                    <a:pt x="44" y="4"/>
                    <a:pt x="44" y="4"/>
                  </a:cubicBezTo>
                  <a:lnTo>
                    <a:pt x="56" y="7"/>
                  </a:lnTo>
                  <a:close/>
                  <a:moveTo>
                    <a:pt x="63" y="3"/>
                  </a:moveTo>
                  <a:cubicBezTo>
                    <a:pt x="65" y="3"/>
                    <a:pt x="67" y="5"/>
                    <a:pt x="67" y="7"/>
                  </a:cubicBezTo>
                  <a:cubicBezTo>
                    <a:pt x="67" y="9"/>
                    <a:pt x="65" y="11"/>
                    <a:pt x="63" y="11"/>
                  </a:cubicBezTo>
                  <a:cubicBezTo>
                    <a:pt x="60" y="11"/>
                    <a:pt x="58" y="9"/>
                    <a:pt x="58" y="7"/>
                  </a:cubicBezTo>
                  <a:cubicBezTo>
                    <a:pt x="58" y="5"/>
                    <a:pt x="60" y="3"/>
                    <a:pt x="63" y="3"/>
                  </a:cubicBezTo>
                  <a:moveTo>
                    <a:pt x="3" y="29"/>
                  </a:moveTo>
                  <a:cubicBezTo>
                    <a:pt x="3" y="26"/>
                    <a:pt x="6" y="24"/>
                    <a:pt x="9" y="24"/>
                  </a:cubicBezTo>
                  <a:cubicBezTo>
                    <a:pt x="10" y="24"/>
                    <a:pt x="11" y="24"/>
                    <a:pt x="12" y="25"/>
                  </a:cubicBezTo>
                  <a:cubicBezTo>
                    <a:pt x="9" y="27"/>
                    <a:pt x="6" y="30"/>
                    <a:pt x="5" y="34"/>
                  </a:cubicBezTo>
                  <a:cubicBezTo>
                    <a:pt x="4" y="33"/>
                    <a:pt x="3" y="31"/>
                    <a:pt x="3" y="29"/>
                  </a:cubicBezTo>
                  <a:moveTo>
                    <a:pt x="49" y="59"/>
                  </a:moveTo>
                  <a:cubicBezTo>
                    <a:pt x="50" y="59"/>
                    <a:pt x="50" y="59"/>
                    <a:pt x="50" y="59"/>
                  </a:cubicBezTo>
                  <a:cubicBezTo>
                    <a:pt x="50" y="83"/>
                    <a:pt x="48" y="98"/>
                    <a:pt x="37" y="98"/>
                  </a:cubicBezTo>
                  <a:cubicBezTo>
                    <a:pt x="25" y="98"/>
                    <a:pt x="24" y="80"/>
                    <a:pt x="24" y="59"/>
                  </a:cubicBezTo>
                  <a:cubicBezTo>
                    <a:pt x="24" y="59"/>
                    <a:pt x="24" y="59"/>
                    <a:pt x="24" y="59"/>
                  </a:cubicBezTo>
                  <a:cubicBezTo>
                    <a:pt x="28" y="60"/>
                    <a:pt x="32" y="60"/>
                    <a:pt x="37" y="60"/>
                  </a:cubicBezTo>
                  <a:cubicBezTo>
                    <a:pt x="41" y="60"/>
                    <a:pt x="45" y="60"/>
                    <a:pt x="49" y="59"/>
                  </a:cubicBezTo>
                  <a:moveTo>
                    <a:pt x="15" y="71"/>
                  </a:moveTo>
                  <a:cubicBezTo>
                    <a:pt x="15" y="67"/>
                    <a:pt x="17" y="63"/>
                    <a:pt x="21" y="60"/>
                  </a:cubicBezTo>
                  <a:cubicBezTo>
                    <a:pt x="21" y="69"/>
                    <a:pt x="21" y="77"/>
                    <a:pt x="23" y="83"/>
                  </a:cubicBezTo>
                  <a:cubicBezTo>
                    <a:pt x="18" y="80"/>
                    <a:pt x="15" y="76"/>
                    <a:pt x="15" y="71"/>
                  </a:cubicBezTo>
                  <a:moveTo>
                    <a:pt x="17" y="94"/>
                  </a:moveTo>
                  <a:cubicBezTo>
                    <a:pt x="18" y="93"/>
                    <a:pt x="20" y="92"/>
                    <a:pt x="21" y="92"/>
                  </a:cubicBezTo>
                  <a:cubicBezTo>
                    <a:pt x="25" y="92"/>
                    <a:pt x="25" y="92"/>
                    <a:pt x="25" y="92"/>
                  </a:cubicBezTo>
                  <a:cubicBezTo>
                    <a:pt x="26" y="95"/>
                    <a:pt x="28" y="96"/>
                    <a:pt x="30" y="98"/>
                  </a:cubicBezTo>
                  <a:cubicBezTo>
                    <a:pt x="16" y="98"/>
                    <a:pt x="16" y="98"/>
                    <a:pt x="16" y="98"/>
                  </a:cubicBezTo>
                  <a:cubicBezTo>
                    <a:pt x="16" y="97"/>
                    <a:pt x="16" y="95"/>
                    <a:pt x="17" y="94"/>
                  </a:cubicBezTo>
                  <a:moveTo>
                    <a:pt x="52" y="92"/>
                  </a:moveTo>
                  <a:cubicBezTo>
                    <a:pt x="54" y="92"/>
                    <a:pt x="55" y="93"/>
                    <a:pt x="56" y="94"/>
                  </a:cubicBezTo>
                  <a:cubicBezTo>
                    <a:pt x="57" y="95"/>
                    <a:pt x="58" y="97"/>
                    <a:pt x="58" y="98"/>
                  </a:cubicBezTo>
                  <a:cubicBezTo>
                    <a:pt x="44" y="98"/>
                    <a:pt x="44" y="98"/>
                    <a:pt x="44" y="98"/>
                  </a:cubicBezTo>
                  <a:cubicBezTo>
                    <a:pt x="46" y="96"/>
                    <a:pt x="47" y="95"/>
                    <a:pt x="49" y="92"/>
                  </a:cubicBezTo>
                  <a:lnTo>
                    <a:pt x="52" y="92"/>
                  </a:lnTo>
                  <a:close/>
                  <a:moveTo>
                    <a:pt x="59" y="71"/>
                  </a:moveTo>
                  <a:cubicBezTo>
                    <a:pt x="59" y="76"/>
                    <a:pt x="56" y="80"/>
                    <a:pt x="51" y="83"/>
                  </a:cubicBezTo>
                  <a:cubicBezTo>
                    <a:pt x="53" y="76"/>
                    <a:pt x="53" y="69"/>
                    <a:pt x="53" y="61"/>
                  </a:cubicBezTo>
                  <a:cubicBezTo>
                    <a:pt x="57" y="64"/>
                    <a:pt x="59" y="67"/>
                    <a:pt x="59" y="71"/>
                  </a:cubicBezTo>
                  <a:moveTo>
                    <a:pt x="37" y="58"/>
                  </a:moveTo>
                  <a:cubicBezTo>
                    <a:pt x="20" y="58"/>
                    <a:pt x="7" y="49"/>
                    <a:pt x="7" y="39"/>
                  </a:cubicBezTo>
                  <a:cubicBezTo>
                    <a:pt x="7" y="28"/>
                    <a:pt x="20" y="20"/>
                    <a:pt x="37" y="20"/>
                  </a:cubicBezTo>
                  <a:cubicBezTo>
                    <a:pt x="54" y="20"/>
                    <a:pt x="67" y="28"/>
                    <a:pt x="67" y="39"/>
                  </a:cubicBezTo>
                  <a:cubicBezTo>
                    <a:pt x="67" y="49"/>
                    <a:pt x="54" y="58"/>
                    <a:pt x="37" y="58"/>
                  </a:cubicBezTo>
                  <a:moveTo>
                    <a:pt x="65" y="24"/>
                  </a:moveTo>
                  <a:cubicBezTo>
                    <a:pt x="69" y="24"/>
                    <a:pt x="71" y="26"/>
                    <a:pt x="71" y="29"/>
                  </a:cubicBezTo>
                  <a:cubicBezTo>
                    <a:pt x="71" y="31"/>
                    <a:pt x="70" y="33"/>
                    <a:pt x="69" y="34"/>
                  </a:cubicBezTo>
                  <a:cubicBezTo>
                    <a:pt x="68" y="30"/>
                    <a:pt x="65" y="27"/>
                    <a:pt x="62" y="25"/>
                  </a:cubicBezTo>
                  <a:cubicBezTo>
                    <a:pt x="63" y="24"/>
                    <a:pt x="64" y="24"/>
                    <a:pt x="65" y="24"/>
                  </a:cubicBezTo>
                </a:path>
              </a:pathLst>
            </a:custGeom>
            <a:solidFill>
              <a:srgbClr val="CCCCC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45" name="Freeform 154">
              <a:extLst>
                <a:ext uri="{FF2B5EF4-FFF2-40B4-BE49-F238E27FC236}">
                  <a16:creationId xmlns:a16="http://schemas.microsoft.com/office/drawing/2014/main" id="{DE9B3947-7733-4B4A-8531-25B07D660D82}"/>
                </a:ext>
              </a:extLst>
            </p:cNvPr>
            <p:cNvSpPr>
              <a:spLocks/>
            </p:cNvSpPr>
            <p:nvPr/>
          </p:nvSpPr>
          <p:spPr bwMode="auto">
            <a:xfrm>
              <a:off x="7858466" y="3148278"/>
              <a:ext cx="49306" cy="12724"/>
            </a:xfrm>
            <a:custGeom>
              <a:avLst/>
              <a:gdLst>
                <a:gd name="T0" fmla="*/ 23 w 26"/>
                <a:gd name="T1" fmla="*/ 1 h 6"/>
                <a:gd name="T2" fmla="*/ 13 w 26"/>
                <a:gd name="T3" fmla="*/ 4 h 6"/>
                <a:gd name="T4" fmla="*/ 3 w 26"/>
                <a:gd name="T5" fmla="*/ 1 h 6"/>
                <a:gd name="T6" fmla="*/ 1 w 26"/>
                <a:gd name="T7" fmla="*/ 1 h 6"/>
                <a:gd name="T8" fmla="*/ 1 w 26"/>
                <a:gd name="T9" fmla="*/ 3 h 6"/>
                <a:gd name="T10" fmla="*/ 13 w 26"/>
                <a:gd name="T11" fmla="*/ 6 h 6"/>
                <a:gd name="T12" fmla="*/ 25 w 26"/>
                <a:gd name="T13" fmla="*/ 3 h 6"/>
                <a:gd name="T14" fmla="*/ 25 w 26"/>
                <a:gd name="T15" fmla="*/ 1 h 6"/>
                <a:gd name="T16" fmla="*/ 23 w 26"/>
                <a:gd name="T17"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 h="6">
                  <a:moveTo>
                    <a:pt x="23" y="1"/>
                  </a:moveTo>
                  <a:cubicBezTo>
                    <a:pt x="23" y="1"/>
                    <a:pt x="20" y="4"/>
                    <a:pt x="13" y="4"/>
                  </a:cubicBezTo>
                  <a:cubicBezTo>
                    <a:pt x="6" y="4"/>
                    <a:pt x="3" y="1"/>
                    <a:pt x="3" y="1"/>
                  </a:cubicBezTo>
                  <a:cubicBezTo>
                    <a:pt x="2" y="0"/>
                    <a:pt x="2" y="0"/>
                    <a:pt x="1" y="1"/>
                  </a:cubicBezTo>
                  <a:cubicBezTo>
                    <a:pt x="0" y="1"/>
                    <a:pt x="0" y="2"/>
                    <a:pt x="1" y="3"/>
                  </a:cubicBezTo>
                  <a:cubicBezTo>
                    <a:pt x="1" y="3"/>
                    <a:pt x="4" y="6"/>
                    <a:pt x="13" y="6"/>
                  </a:cubicBezTo>
                  <a:cubicBezTo>
                    <a:pt x="21" y="6"/>
                    <a:pt x="25" y="3"/>
                    <a:pt x="25" y="3"/>
                  </a:cubicBezTo>
                  <a:cubicBezTo>
                    <a:pt x="26" y="2"/>
                    <a:pt x="26" y="1"/>
                    <a:pt x="25" y="1"/>
                  </a:cubicBezTo>
                  <a:cubicBezTo>
                    <a:pt x="25" y="0"/>
                    <a:pt x="24" y="0"/>
                    <a:pt x="23" y="1"/>
                  </a:cubicBezTo>
                </a:path>
              </a:pathLst>
            </a:custGeom>
            <a:solidFill>
              <a:srgbClr val="CCCCC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46" name="Oval 155">
              <a:extLst>
                <a:ext uri="{FF2B5EF4-FFF2-40B4-BE49-F238E27FC236}">
                  <a16:creationId xmlns:a16="http://schemas.microsoft.com/office/drawing/2014/main" id="{E1277860-67AA-405C-BA13-24D88F31A482}"/>
                </a:ext>
              </a:extLst>
            </p:cNvPr>
            <p:cNvSpPr>
              <a:spLocks noChangeArrowheads="1"/>
            </p:cNvSpPr>
            <p:nvPr/>
          </p:nvSpPr>
          <p:spPr bwMode="auto">
            <a:xfrm>
              <a:off x="6105710" y="3891052"/>
              <a:ext cx="20677" cy="19086"/>
            </a:xfrm>
            <a:prstGeom prst="ellipse">
              <a:avLst/>
            </a:prstGeom>
            <a:solidFill>
              <a:srgbClr val="CCCCC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47" name="Oval 156">
              <a:extLst>
                <a:ext uri="{FF2B5EF4-FFF2-40B4-BE49-F238E27FC236}">
                  <a16:creationId xmlns:a16="http://schemas.microsoft.com/office/drawing/2014/main" id="{EF0BFCDD-9E8A-464C-BA48-B5E0698D7434}"/>
                </a:ext>
              </a:extLst>
            </p:cNvPr>
            <p:cNvSpPr>
              <a:spLocks noChangeArrowheads="1"/>
            </p:cNvSpPr>
            <p:nvPr/>
          </p:nvSpPr>
          <p:spPr bwMode="auto">
            <a:xfrm>
              <a:off x="6148654" y="3891052"/>
              <a:ext cx="19086" cy="19086"/>
            </a:xfrm>
            <a:prstGeom prst="ellipse">
              <a:avLst/>
            </a:prstGeom>
            <a:solidFill>
              <a:srgbClr val="CCCCC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48" name="Freeform 157">
              <a:extLst>
                <a:ext uri="{FF2B5EF4-FFF2-40B4-BE49-F238E27FC236}">
                  <a16:creationId xmlns:a16="http://schemas.microsoft.com/office/drawing/2014/main" id="{0C09916F-61A0-4F1B-86E6-167BFA87AC7F}"/>
                </a:ext>
              </a:extLst>
            </p:cNvPr>
            <p:cNvSpPr>
              <a:spLocks noEditPoints="1"/>
            </p:cNvSpPr>
            <p:nvPr/>
          </p:nvSpPr>
          <p:spPr bwMode="auto">
            <a:xfrm>
              <a:off x="6064356" y="3832203"/>
              <a:ext cx="144738" cy="197225"/>
            </a:xfrm>
            <a:custGeom>
              <a:avLst/>
              <a:gdLst>
                <a:gd name="T0" fmla="*/ 63 w 74"/>
                <a:gd name="T1" fmla="*/ 14 h 101"/>
                <a:gd name="T2" fmla="*/ 63 w 74"/>
                <a:gd name="T3" fmla="*/ 0 h 101"/>
                <a:gd name="T4" fmla="*/ 42 w 74"/>
                <a:gd name="T5" fmla="*/ 1 h 101"/>
                <a:gd name="T6" fmla="*/ 14 w 74"/>
                <a:gd name="T7" fmla="*/ 24 h 101"/>
                <a:gd name="T8" fmla="*/ 0 w 74"/>
                <a:gd name="T9" fmla="*/ 30 h 101"/>
                <a:gd name="T10" fmla="*/ 4 w 74"/>
                <a:gd name="T11" fmla="*/ 39 h 101"/>
                <a:gd name="T12" fmla="*/ 12 w 74"/>
                <a:gd name="T13" fmla="*/ 72 h 101"/>
                <a:gd name="T14" fmla="*/ 23 w 74"/>
                <a:gd name="T15" fmla="*/ 86 h 101"/>
                <a:gd name="T16" fmla="*/ 21 w 74"/>
                <a:gd name="T17" fmla="*/ 90 h 101"/>
                <a:gd name="T18" fmla="*/ 13 w 74"/>
                <a:gd name="T19" fmla="*/ 99 h 101"/>
                <a:gd name="T20" fmla="*/ 60 w 74"/>
                <a:gd name="T21" fmla="*/ 101 h 101"/>
                <a:gd name="T22" fmla="*/ 58 w 74"/>
                <a:gd name="T23" fmla="*/ 92 h 101"/>
                <a:gd name="T24" fmla="*/ 50 w 74"/>
                <a:gd name="T25" fmla="*/ 90 h 101"/>
                <a:gd name="T26" fmla="*/ 51 w 74"/>
                <a:gd name="T27" fmla="*/ 86 h 101"/>
                <a:gd name="T28" fmla="*/ 53 w 74"/>
                <a:gd name="T29" fmla="*/ 58 h 101"/>
                <a:gd name="T30" fmla="*/ 70 w 74"/>
                <a:gd name="T31" fmla="*/ 39 h 101"/>
                <a:gd name="T32" fmla="*/ 74 w 74"/>
                <a:gd name="T33" fmla="*/ 30 h 101"/>
                <a:gd name="T34" fmla="*/ 60 w 74"/>
                <a:gd name="T35" fmla="*/ 24 h 101"/>
                <a:gd name="T36" fmla="*/ 44 w 74"/>
                <a:gd name="T37" fmla="*/ 4 h 101"/>
                <a:gd name="T38" fmla="*/ 63 w 74"/>
                <a:gd name="T39" fmla="*/ 3 h 101"/>
                <a:gd name="T40" fmla="*/ 63 w 74"/>
                <a:gd name="T41" fmla="*/ 11 h 101"/>
                <a:gd name="T42" fmla="*/ 63 w 74"/>
                <a:gd name="T43" fmla="*/ 3 h 101"/>
                <a:gd name="T44" fmla="*/ 9 w 74"/>
                <a:gd name="T45" fmla="*/ 24 h 101"/>
                <a:gd name="T46" fmla="*/ 5 w 74"/>
                <a:gd name="T47" fmla="*/ 34 h 101"/>
                <a:gd name="T48" fmla="*/ 49 w 74"/>
                <a:gd name="T49" fmla="*/ 59 h 101"/>
                <a:gd name="T50" fmla="*/ 37 w 74"/>
                <a:gd name="T51" fmla="*/ 98 h 101"/>
                <a:gd name="T52" fmla="*/ 24 w 74"/>
                <a:gd name="T53" fmla="*/ 59 h 101"/>
                <a:gd name="T54" fmla="*/ 49 w 74"/>
                <a:gd name="T55" fmla="*/ 59 h 101"/>
                <a:gd name="T56" fmla="*/ 21 w 74"/>
                <a:gd name="T57" fmla="*/ 61 h 101"/>
                <a:gd name="T58" fmla="*/ 15 w 74"/>
                <a:gd name="T59" fmla="*/ 72 h 101"/>
                <a:gd name="T60" fmla="*/ 21 w 74"/>
                <a:gd name="T61" fmla="*/ 93 h 101"/>
                <a:gd name="T62" fmla="*/ 30 w 74"/>
                <a:gd name="T63" fmla="*/ 98 h 101"/>
                <a:gd name="T64" fmla="*/ 17 w 74"/>
                <a:gd name="T65" fmla="*/ 94 h 101"/>
                <a:gd name="T66" fmla="*/ 56 w 74"/>
                <a:gd name="T67" fmla="*/ 94 h 101"/>
                <a:gd name="T68" fmla="*/ 44 w 74"/>
                <a:gd name="T69" fmla="*/ 98 h 101"/>
                <a:gd name="T70" fmla="*/ 52 w 74"/>
                <a:gd name="T71" fmla="*/ 93 h 101"/>
                <a:gd name="T72" fmla="*/ 51 w 74"/>
                <a:gd name="T73" fmla="*/ 83 h 101"/>
                <a:gd name="T74" fmla="*/ 59 w 74"/>
                <a:gd name="T75" fmla="*/ 72 h 101"/>
                <a:gd name="T76" fmla="*/ 7 w 74"/>
                <a:gd name="T77" fmla="*/ 39 h 101"/>
                <a:gd name="T78" fmla="*/ 67 w 74"/>
                <a:gd name="T79" fmla="*/ 39 h 101"/>
                <a:gd name="T80" fmla="*/ 65 w 74"/>
                <a:gd name="T81" fmla="*/ 24 h 101"/>
                <a:gd name="T82" fmla="*/ 69 w 74"/>
                <a:gd name="T83" fmla="*/ 34 h 101"/>
                <a:gd name="T84" fmla="*/ 65 w 74"/>
                <a:gd name="T85" fmla="*/ 24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74" h="101">
                  <a:moveTo>
                    <a:pt x="56" y="7"/>
                  </a:moveTo>
                  <a:cubicBezTo>
                    <a:pt x="56" y="11"/>
                    <a:pt x="59" y="14"/>
                    <a:pt x="63" y="14"/>
                  </a:cubicBezTo>
                  <a:cubicBezTo>
                    <a:pt x="66" y="14"/>
                    <a:pt x="70" y="11"/>
                    <a:pt x="70" y="7"/>
                  </a:cubicBezTo>
                  <a:cubicBezTo>
                    <a:pt x="70" y="3"/>
                    <a:pt x="66" y="0"/>
                    <a:pt x="63" y="0"/>
                  </a:cubicBezTo>
                  <a:cubicBezTo>
                    <a:pt x="60" y="0"/>
                    <a:pt x="57" y="2"/>
                    <a:pt x="56" y="5"/>
                  </a:cubicBezTo>
                  <a:cubicBezTo>
                    <a:pt x="42" y="1"/>
                    <a:pt x="42" y="1"/>
                    <a:pt x="42" y="1"/>
                  </a:cubicBezTo>
                  <a:cubicBezTo>
                    <a:pt x="36" y="18"/>
                    <a:pt x="36" y="18"/>
                    <a:pt x="36" y="18"/>
                  </a:cubicBezTo>
                  <a:cubicBezTo>
                    <a:pt x="28" y="18"/>
                    <a:pt x="20" y="20"/>
                    <a:pt x="14" y="24"/>
                  </a:cubicBezTo>
                  <a:cubicBezTo>
                    <a:pt x="13" y="22"/>
                    <a:pt x="11" y="21"/>
                    <a:pt x="9" y="21"/>
                  </a:cubicBezTo>
                  <a:cubicBezTo>
                    <a:pt x="4" y="21"/>
                    <a:pt x="0" y="25"/>
                    <a:pt x="0" y="30"/>
                  </a:cubicBezTo>
                  <a:cubicBezTo>
                    <a:pt x="0" y="33"/>
                    <a:pt x="2" y="35"/>
                    <a:pt x="4" y="37"/>
                  </a:cubicBezTo>
                  <a:cubicBezTo>
                    <a:pt x="4" y="37"/>
                    <a:pt x="4" y="38"/>
                    <a:pt x="4" y="39"/>
                  </a:cubicBezTo>
                  <a:cubicBezTo>
                    <a:pt x="4" y="47"/>
                    <a:pt x="11" y="54"/>
                    <a:pt x="21" y="58"/>
                  </a:cubicBezTo>
                  <a:cubicBezTo>
                    <a:pt x="15" y="61"/>
                    <a:pt x="12" y="66"/>
                    <a:pt x="12" y="72"/>
                  </a:cubicBezTo>
                  <a:cubicBezTo>
                    <a:pt x="12" y="78"/>
                    <a:pt x="16" y="83"/>
                    <a:pt x="23" y="87"/>
                  </a:cubicBezTo>
                  <a:cubicBezTo>
                    <a:pt x="23" y="86"/>
                    <a:pt x="23" y="86"/>
                    <a:pt x="23" y="86"/>
                  </a:cubicBezTo>
                  <a:cubicBezTo>
                    <a:pt x="24" y="88"/>
                    <a:pt x="24" y="89"/>
                    <a:pt x="24" y="90"/>
                  </a:cubicBezTo>
                  <a:cubicBezTo>
                    <a:pt x="21" y="90"/>
                    <a:pt x="21" y="90"/>
                    <a:pt x="21" y="90"/>
                  </a:cubicBezTo>
                  <a:cubicBezTo>
                    <a:pt x="19" y="90"/>
                    <a:pt x="17" y="91"/>
                    <a:pt x="16" y="92"/>
                  </a:cubicBezTo>
                  <a:cubicBezTo>
                    <a:pt x="13" y="95"/>
                    <a:pt x="13" y="99"/>
                    <a:pt x="13" y="99"/>
                  </a:cubicBezTo>
                  <a:cubicBezTo>
                    <a:pt x="13" y="101"/>
                    <a:pt x="13" y="101"/>
                    <a:pt x="13" y="101"/>
                  </a:cubicBezTo>
                  <a:cubicBezTo>
                    <a:pt x="60" y="101"/>
                    <a:pt x="60" y="101"/>
                    <a:pt x="60" y="101"/>
                  </a:cubicBezTo>
                  <a:cubicBezTo>
                    <a:pt x="61" y="99"/>
                    <a:pt x="61" y="99"/>
                    <a:pt x="61" y="99"/>
                  </a:cubicBezTo>
                  <a:cubicBezTo>
                    <a:pt x="61" y="99"/>
                    <a:pt x="61" y="95"/>
                    <a:pt x="58" y="92"/>
                  </a:cubicBezTo>
                  <a:cubicBezTo>
                    <a:pt x="57" y="91"/>
                    <a:pt x="55" y="90"/>
                    <a:pt x="52" y="90"/>
                  </a:cubicBezTo>
                  <a:cubicBezTo>
                    <a:pt x="50" y="90"/>
                    <a:pt x="50" y="90"/>
                    <a:pt x="50" y="90"/>
                  </a:cubicBezTo>
                  <a:cubicBezTo>
                    <a:pt x="50" y="89"/>
                    <a:pt x="50" y="87"/>
                    <a:pt x="51" y="86"/>
                  </a:cubicBezTo>
                  <a:cubicBezTo>
                    <a:pt x="51" y="86"/>
                    <a:pt x="51" y="86"/>
                    <a:pt x="51" y="86"/>
                  </a:cubicBezTo>
                  <a:cubicBezTo>
                    <a:pt x="58" y="83"/>
                    <a:pt x="62" y="77"/>
                    <a:pt x="62" y="72"/>
                  </a:cubicBezTo>
                  <a:cubicBezTo>
                    <a:pt x="62" y="66"/>
                    <a:pt x="58" y="61"/>
                    <a:pt x="53" y="58"/>
                  </a:cubicBezTo>
                  <a:cubicBezTo>
                    <a:pt x="53" y="58"/>
                    <a:pt x="53" y="58"/>
                    <a:pt x="53" y="58"/>
                  </a:cubicBezTo>
                  <a:cubicBezTo>
                    <a:pt x="63" y="54"/>
                    <a:pt x="70" y="47"/>
                    <a:pt x="70" y="39"/>
                  </a:cubicBezTo>
                  <a:cubicBezTo>
                    <a:pt x="70" y="38"/>
                    <a:pt x="70" y="37"/>
                    <a:pt x="70" y="37"/>
                  </a:cubicBezTo>
                  <a:cubicBezTo>
                    <a:pt x="72" y="35"/>
                    <a:pt x="74" y="33"/>
                    <a:pt x="74" y="30"/>
                  </a:cubicBezTo>
                  <a:cubicBezTo>
                    <a:pt x="74" y="25"/>
                    <a:pt x="70" y="21"/>
                    <a:pt x="65" y="21"/>
                  </a:cubicBezTo>
                  <a:cubicBezTo>
                    <a:pt x="63" y="21"/>
                    <a:pt x="61" y="22"/>
                    <a:pt x="60" y="24"/>
                  </a:cubicBezTo>
                  <a:cubicBezTo>
                    <a:pt x="54" y="20"/>
                    <a:pt x="47" y="18"/>
                    <a:pt x="39" y="18"/>
                  </a:cubicBezTo>
                  <a:cubicBezTo>
                    <a:pt x="44" y="4"/>
                    <a:pt x="44" y="4"/>
                    <a:pt x="44" y="4"/>
                  </a:cubicBezTo>
                  <a:lnTo>
                    <a:pt x="56" y="7"/>
                  </a:lnTo>
                  <a:close/>
                  <a:moveTo>
                    <a:pt x="63" y="3"/>
                  </a:moveTo>
                  <a:cubicBezTo>
                    <a:pt x="65" y="3"/>
                    <a:pt x="67" y="5"/>
                    <a:pt x="67" y="7"/>
                  </a:cubicBezTo>
                  <a:cubicBezTo>
                    <a:pt x="67" y="9"/>
                    <a:pt x="65" y="11"/>
                    <a:pt x="63" y="11"/>
                  </a:cubicBezTo>
                  <a:cubicBezTo>
                    <a:pt x="60" y="11"/>
                    <a:pt x="58" y="9"/>
                    <a:pt x="58" y="7"/>
                  </a:cubicBezTo>
                  <a:cubicBezTo>
                    <a:pt x="58" y="5"/>
                    <a:pt x="60" y="3"/>
                    <a:pt x="63" y="3"/>
                  </a:cubicBezTo>
                  <a:moveTo>
                    <a:pt x="3" y="30"/>
                  </a:moveTo>
                  <a:cubicBezTo>
                    <a:pt x="3" y="27"/>
                    <a:pt x="6" y="24"/>
                    <a:pt x="9" y="24"/>
                  </a:cubicBezTo>
                  <a:cubicBezTo>
                    <a:pt x="10" y="24"/>
                    <a:pt x="11" y="24"/>
                    <a:pt x="12" y="25"/>
                  </a:cubicBezTo>
                  <a:cubicBezTo>
                    <a:pt x="9" y="28"/>
                    <a:pt x="6" y="31"/>
                    <a:pt x="5" y="34"/>
                  </a:cubicBezTo>
                  <a:cubicBezTo>
                    <a:pt x="4" y="33"/>
                    <a:pt x="3" y="31"/>
                    <a:pt x="3" y="30"/>
                  </a:cubicBezTo>
                  <a:moveTo>
                    <a:pt x="49" y="59"/>
                  </a:moveTo>
                  <a:cubicBezTo>
                    <a:pt x="50" y="59"/>
                    <a:pt x="50" y="59"/>
                    <a:pt x="50" y="60"/>
                  </a:cubicBezTo>
                  <a:cubicBezTo>
                    <a:pt x="50" y="83"/>
                    <a:pt x="48" y="98"/>
                    <a:pt x="37" y="98"/>
                  </a:cubicBezTo>
                  <a:cubicBezTo>
                    <a:pt x="25" y="98"/>
                    <a:pt x="24" y="80"/>
                    <a:pt x="24" y="59"/>
                  </a:cubicBezTo>
                  <a:cubicBezTo>
                    <a:pt x="24" y="59"/>
                    <a:pt x="24" y="59"/>
                    <a:pt x="24" y="59"/>
                  </a:cubicBezTo>
                  <a:cubicBezTo>
                    <a:pt x="28" y="60"/>
                    <a:pt x="32" y="61"/>
                    <a:pt x="37" y="61"/>
                  </a:cubicBezTo>
                  <a:cubicBezTo>
                    <a:pt x="41" y="61"/>
                    <a:pt x="45" y="60"/>
                    <a:pt x="49" y="59"/>
                  </a:cubicBezTo>
                  <a:moveTo>
                    <a:pt x="15" y="72"/>
                  </a:moveTo>
                  <a:cubicBezTo>
                    <a:pt x="15" y="67"/>
                    <a:pt x="17" y="64"/>
                    <a:pt x="21" y="61"/>
                  </a:cubicBezTo>
                  <a:cubicBezTo>
                    <a:pt x="21" y="69"/>
                    <a:pt x="21" y="77"/>
                    <a:pt x="23" y="83"/>
                  </a:cubicBezTo>
                  <a:cubicBezTo>
                    <a:pt x="18" y="80"/>
                    <a:pt x="15" y="76"/>
                    <a:pt x="15" y="72"/>
                  </a:cubicBezTo>
                  <a:moveTo>
                    <a:pt x="17" y="94"/>
                  </a:moveTo>
                  <a:cubicBezTo>
                    <a:pt x="18" y="93"/>
                    <a:pt x="20" y="93"/>
                    <a:pt x="21" y="93"/>
                  </a:cubicBezTo>
                  <a:cubicBezTo>
                    <a:pt x="25" y="93"/>
                    <a:pt x="25" y="93"/>
                    <a:pt x="25" y="93"/>
                  </a:cubicBezTo>
                  <a:cubicBezTo>
                    <a:pt x="26" y="95"/>
                    <a:pt x="28" y="97"/>
                    <a:pt x="30" y="98"/>
                  </a:cubicBezTo>
                  <a:cubicBezTo>
                    <a:pt x="16" y="98"/>
                    <a:pt x="16" y="98"/>
                    <a:pt x="16" y="98"/>
                  </a:cubicBezTo>
                  <a:cubicBezTo>
                    <a:pt x="16" y="97"/>
                    <a:pt x="16" y="95"/>
                    <a:pt x="17" y="94"/>
                  </a:cubicBezTo>
                  <a:moveTo>
                    <a:pt x="52" y="93"/>
                  </a:moveTo>
                  <a:cubicBezTo>
                    <a:pt x="54" y="93"/>
                    <a:pt x="55" y="93"/>
                    <a:pt x="56" y="94"/>
                  </a:cubicBezTo>
                  <a:cubicBezTo>
                    <a:pt x="57" y="95"/>
                    <a:pt x="58" y="97"/>
                    <a:pt x="58" y="98"/>
                  </a:cubicBezTo>
                  <a:cubicBezTo>
                    <a:pt x="44" y="98"/>
                    <a:pt x="44" y="98"/>
                    <a:pt x="44" y="98"/>
                  </a:cubicBezTo>
                  <a:cubicBezTo>
                    <a:pt x="46" y="97"/>
                    <a:pt x="47" y="95"/>
                    <a:pt x="49" y="93"/>
                  </a:cubicBezTo>
                  <a:lnTo>
                    <a:pt x="52" y="93"/>
                  </a:lnTo>
                  <a:close/>
                  <a:moveTo>
                    <a:pt x="59" y="72"/>
                  </a:moveTo>
                  <a:cubicBezTo>
                    <a:pt x="59" y="76"/>
                    <a:pt x="56" y="80"/>
                    <a:pt x="51" y="83"/>
                  </a:cubicBezTo>
                  <a:cubicBezTo>
                    <a:pt x="53" y="77"/>
                    <a:pt x="53" y="69"/>
                    <a:pt x="53" y="61"/>
                  </a:cubicBezTo>
                  <a:cubicBezTo>
                    <a:pt x="57" y="64"/>
                    <a:pt x="59" y="68"/>
                    <a:pt x="59" y="72"/>
                  </a:cubicBezTo>
                  <a:moveTo>
                    <a:pt x="37" y="58"/>
                  </a:moveTo>
                  <a:cubicBezTo>
                    <a:pt x="20" y="58"/>
                    <a:pt x="7" y="50"/>
                    <a:pt x="7" y="39"/>
                  </a:cubicBezTo>
                  <a:cubicBezTo>
                    <a:pt x="7" y="29"/>
                    <a:pt x="20" y="20"/>
                    <a:pt x="37" y="20"/>
                  </a:cubicBezTo>
                  <a:cubicBezTo>
                    <a:pt x="54" y="20"/>
                    <a:pt x="67" y="29"/>
                    <a:pt x="67" y="39"/>
                  </a:cubicBezTo>
                  <a:cubicBezTo>
                    <a:pt x="67" y="50"/>
                    <a:pt x="54" y="58"/>
                    <a:pt x="37" y="58"/>
                  </a:cubicBezTo>
                  <a:moveTo>
                    <a:pt x="65" y="24"/>
                  </a:moveTo>
                  <a:cubicBezTo>
                    <a:pt x="69" y="24"/>
                    <a:pt x="71" y="27"/>
                    <a:pt x="71" y="30"/>
                  </a:cubicBezTo>
                  <a:cubicBezTo>
                    <a:pt x="71" y="31"/>
                    <a:pt x="70" y="33"/>
                    <a:pt x="69" y="34"/>
                  </a:cubicBezTo>
                  <a:cubicBezTo>
                    <a:pt x="68" y="31"/>
                    <a:pt x="65" y="28"/>
                    <a:pt x="62" y="25"/>
                  </a:cubicBezTo>
                  <a:cubicBezTo>
                    <a:pt x="63" y="24"/>
                    <a:pt x="64" y="24"/>
                    <a:pt x="65" y="24"/>
                  </a:cubicBezTo>
                </a:path>
              </a:pathLst>
            </a:custGeom>
            <a:solidFill>
              <a:srgbClr val="CCCCC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49" name="Freeform 158">
              <a:extLst>
                <a:ext uri="{FF2B5EF4-FFF2-40B4-BE49-F238E27FC236}">
                  <a16:creationId xmlns:a16="http://schemas.microsoft.com/office/drawing/2014/main" id="{B984A2D9-B2BC-4058-AA2C-1D1046E4B371}"/>
                </a:ext>
              </a:extLst>
            </p:cNvPr>
            <p:cNvSpPr>
              <a:spLocks/>
            </p:cNvSpPr>
            <p:nvPr/>
          </p:nvSpPr>
          <p:spPr bwMode="auto">
            <a:xfrm>
              <a:off x="6110482" y="3924453"/>
              <a:ext cx="50896" cy="11134"/>
            </a:xfrm>
            <a:custGeom>
              <a:avLst/>
              <a:gdLst>
                <a:gd name="T0" fmla="*/ 23 w 26"/>
                <a:gd name="T1" fmla="*/ 0 h 6"/>
                <a:gd name="T2" fmla="*/ 13 w 26"/>
                <a:gd name="T3" fmla="*/ 3 h 6"/>
                <a:gd name="T4" fmla="*/ 3 w 26"/>
                <a:gd name="T5" fmla="*/ 0 h 6"/>
                <a:gd name="T6" fmla="*/ 1 w 26"/>
                <a:gd name="T7" fmla="*/ 0 h 6"/>
                <a:gd name="T8" fmla="*/ 1 w 26"/>
                <a:gd name="T9" fmla="*/ 2 h 6"/>
                <a:gd name="T10" fmla="*/ 13 w 26"/>
                <a:gd name="T11" fmla="*/ 6 h 6"/>
                <a:gd name="T12" fmla="*/ 25 w 26"/>
                <a:gd name="T13" fmla="*/ 2 h 6"/>
                <a:gd name="T14" fmla="*/ 25 w 26"/>
                <a:gd name="T15" fmla="*/ 0 h 6"/>
                <a:gd name="T16" fmla="*/ 23 w 26"/>
                <a:gd name="T17"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 h="6">
                  <a:moveTo>
                    <a:pt x="23" y="0"/>
                  </a:moveTo>
                  <a:cubicBezTo>
                    <a:pt x="23" y="0"/>
                    <a:pt x="20" y="3"/>
                    <a:pt x="13" y="3"/>
                  </a:cubicBezTo>
                  <a:cubicBezTo>
                    <a:pt x="6" y="3"/>
                    <a:pt x="3" y="0"/>
                    <a:pt x="3" y="0"/>
                  </a:cubicBezTo>
                  <a:cubicBezTo>
                    <a:pt x="2" y="0"/>
                    <a:pt x="2" y="0"/>
                    <a:pt x="1" y="0"/>
                  </a:cubicBezTo>
                  <a:cubicBezTo>
                    <a:pt x="0" y="1"/>
                    <a:pt x="0" y="1"/>
                    <a:pt x="1" y="2"/>
                  </a:cubicBezTo>
                  <a:cubicBezTo>
                    <a:pt x="1" y="2"/>
                    <a:pt x="4" y="6"/>
                    <a:pt x="13" y="6"/>
                  </a:cubicBezTo>
                  <a:cubicBezTo>
                    <a:pt x="21" y="6"/>
                    <a:pt x="25" y="2"/>
                    <a:pt x="25" y="2"/>
                  </a:cubicBezTo>
                  <a:cubicBezTo>
                    <a:pt x="26" y="1"/>
                    <a:pt x="26" y="1"/>
                    <a:pt x="25" y="0"/>
                  </a:cubicBezTo>
                  <a:cubicBezTo>
                    <a:pt x="25" y="0"/>
                    <a:pt x="24" y="0"/>
                    <a:pt x="23" y="0"/>
                  </a:cubicBezTo>
                </a:path>
              </a:pathLst>
            </a:custGeom>
            <a:solidFill>
              <a:srgbClr val="CCCCC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50" name="Oval 159">
              <a:extLst>
                <a:ext uri="{FF2B5EF4-FFF2-40B4-BE49-F238E27FC236}">
                  <a16:creationId xmlns:a16="http://schemas.microsoft.com/office/drawing/2014/main" id="{6180CF98-CCEA-4565-981F-488C75083F32}"/>
                </a:ext>
              </a:extLst>
            </p:cNvPr>
            <p:cNvSpPr>
              <a:spLocks noChangeArrowheads="1"/>
            </p:cNvSpPr>
            <p:nvPr/>
          </p:nvSpPr>
          <p:spPr bwMode="auto">
            <a:xfrm>
              <a:off x="6274306" y="5406820"/>
              <a:ext cx="19086" cy="19086"/>
            </a:xfrm>
            <a:prstGeom prst="ellipse">
              <a:avLst/>
            </a:prstGeom>
            <a:solidFill>
              <a:srgbClr val="CCCCC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51" name="Oval 160">
              <a:extLst>
                <a:ext uri="{FF2B5EF4-FFF2-40B4-BE49-F238E27FC236}">
                  <a16:creationId xmlns:a16="http://schemas.microsoft.com/office/drawing/2014/main" id="{76CEBE2D-FD71-49EC-A4B7-C7B1E914AD28}"/>
                </a:ext>
              </a:extLst>
            </p:cNvPr>
            <p:cNvSpPr>
              <a:spLocks noChangeArrowheads="1"/>
            </p:cNvSpPr>
            <p:nvPr/>
          </p:nvSpPr>
          <p:spPr bwMode="auto">
            <a:xfrm>
              <a:off x="6314069" y="5406820"/>
              <a:ext cx="19086" cy="19086"/>
            </a:xfrm>
            <a:prstGeom prst="ellipse">
              <a:avLst/>
            </a:prstGeom>
            <a:solidFill>
              <a:srgbClr val="CCCCC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52" name="Freeform 161">
              <a:extLst>
                <a:ext uri="{FF2B5EF4-FFF2-40B4-BE49-F238E27FC236}">
                  <a16:creationId xmlns:a16="http://schemas.microsoft.com/office/drawing/2014/main" id="{3ABB995D-030E-4735-A048-627C18AC5183}"/>
                </a:ext>
              </a:extLst>
            </p:cNvPr>
            <p:cNvSpPr>
              <a:spLocks noEditPoints="1"/>
            </p:cNvSpPr>
            <p:nvPr/>
          </p:nvSpPr>
          <p:spPr bwMode="auto">
            <a:xfrm>
              <a:off x="6236133" y="5352742"/>
              <a:ext cx="133604" cy="182910"/>
            </a:xfrm>
            <a:custGeom>
              <a:avLst/>
              <a:gdLst>
                <a:gd name="T0" fmla="*/ 58 w 69"/>
                <a:gd name="T1" fmla="*/ 13 h 94"/>
                <a:gd name="T2" fmla="*/ 58 w 69"/>
                <a:gd name="T3" fmla="*/ 0 h 94"/>
                <a:gd name="T4" fmla="*/ 39 w 69"/>
                <a:gd name="T5" fmla="*/ 1 h 94"/>
                <a:gd name="T6" fmla="*/ 13 w 69"/>
                <a:gd name="T7" fmla="*/ 22 h 94"/>
                <a:gd name="T8" fmla="*/ 0 w 69"/>
                <a:gd name="T9" fmla="*/ 28 h 94"/>
                <a:gd name="T10" fmla="*/ 4 w 69"/>
                <a:gd name="T11" fmla="*/ 37 h 94"/>
                <a:gd name="T12" fmla="*/ 11 w 69"/>
                <a:gd name="T13" fmla="*/ 67 h 94"/>
                <a:gd name="T14" fmla="*/ 22 w 69"/>
                <a:gd name="T15" fmla="*/ 81 h 94"/>
                <a:gd name="T16" fmla="*/ 20 w 69"/>
                <a:gd name="T17" fmla="*/ 84 h 94"/>
                <a:gd name="T18" fmla="*/ 12 w 69"/>
                <a:gd name="T19" fmla="*/ 93 h 94"/>
                <a:gd name="T20" fmla="*/ 56 w 69"/>
                <a:gd name="T21" fmla="*/ 94 h 94"/>
                <a:gd name="T22" fmla="*/ 54 w 69"/>
                <a:gd name="T23" fmla="*/ 86 h 94"/>
                <a:gd name="T24" fmla="*/ 46 w 69"/>
                <a:gd name="T25" fmla="*/ 84 h 94"/>
                <a:gd name="T26" fmla="*/ 48 w 69"/>
                <a:gd name="T27" fmla="*/ 81 h 94"/>
                <a:gd name="T28" fmla="*/ 49 w 69"/>
                <a:gd name="T29" fmla="*/ 54 h 94"/>
                <a:gd name="T30" fmla="*/ 65 w 69"/>
                <a:gd name="T31" fmla="*/ 37 h 94"/>
                <a:gd name="T32" fmla="*/ 69 w 69"/>
                <a:gd name="T33" fmla="*/ 28 h 94"/>
                <a:gd name="T34" fmla="*/ 56 w 69"/>
                <a:gd name="T35" fmla="*/ 22 h 94"/>
                <a:gd name="T36" fmla="*/ 41 w 69"/>
                <a:gd name="T37" fmla="*/ 4 h 94"/>
                <a:gd name="T38" fmla="*/ 58 w 69"/>
                <a:gd name="T39" fmla="*/ 3 h 94"/>
                <a:gd name="T40" fmla="*/ 58 w 69"/>
                <a:gd name="T41" fmla="*/ 11 h 94"/>
                <a:gd name="T42" fmla="*/ 58 w 69"/>
                <a:gd name="T43" fmla="*/ 3 h 94"/>
                <a:gd name="T44" fmla="*/ 8 w 69"/>
                <a:gd name="T45" fmla="*/ 23 h 94"/>
                <a:gd name="T46" fmla="*/ 5 w 69"/>
                <a:gd name="T47" fmla="*/ 32 h 94"/>
                <a:gd name="T48" fmla="*/ 46 w 69"/>
                <a:gd name="T49" fmla="*/ 55 h 94"/>
                <a:gd name="T50" fmla="*/ 35 w 69"/>
                <a:gd name="T51" fmla="*/ 91 h 94"/>
                <a:gd name="T52" fmla="*/ 23 w 69"/>
                <a:gd name="T53" fmla="*/ 55 h 94"/>
                <a:gd name="T54" fmla="*/ 46 w 69"/>
                <a:gd name="T55" fmla="*/ 55 h 94"/>
                <a:gd name="T56" fmla="*/ 20 w 69"/>
                <a:gd name="T57" fmla="*/ 57 h 94"/>
                <a:gd name="T58" fmla="*/ 14 w 69"/>
                <a:gd name="T59" fmla="*/ 67 h 94"/>
                <a:gd name="T60" fmla="*/ 20 w 69"/>
                <a:gd name="T61" fmla="*/ 86 h 94"/>
                <a:gd name="T62" fmla="*/ 28 w 69"/>
                <a:gd name="T63" fmla="*/ 92 h 94"/>
                <a:gd name="T64" fmla="*/ 16 w 69"/>
                <a:gd name="T65" fmla="*/ 88 h 94"/>
                <a:gd name="T66" fmla="*/ 52 w 69"/>
                <a:gd name="T67" fmla="*/ 88 h 94"/>
                <a:gd name="T68" fmla="*/ 41 w 69"/>
                <a:gd name="T69" fmla="*/ 92 h 94"/>
                <a:gd name="T70" fmla="*/ 49 w 69"/>
                <a:gd name="T71" fmla="*/ 86 h 94"/>
                <a:gd name="T72" fmla="*/ 48 w 69"/>
                <a:gd name="T73" fmla="*/ 78 h 94"/>
                <a:gd name="T74" fmla="*/ 55 w 69"/>
                <a:gd name="T75" fmla="*/ 67 h 94"/>
                <a:gd name="T76" fmla="*/ 6 w 69"/>
                <a:gd name="T77" fmla="*/ 37 h 94"/>
                <a:gd name="T78" fmla="*/ 63 w 69"/>
                <a:gd name="T79" fmla="*/ 37 h 94"/>
                <a:gd name="T80" fmla="*/ 61 w 69"/>
                <a:gd name="T81" fmla="*/ 23 h 94"/>
                <a:gd name="T82" fmla="*/ 64 w 69"/>
                <a:gd name="T83" fmla="*/ 32 h 94"/>
                <a:gd name="T84" fmla="*/ 61 w 69"/>
                <a:gd name="T85" fmla="*/ 2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9" h="94">
                  <a:moveTo>
                    <a:pt x="52" y="7"/>
                  </a:moveTo>
                  <a:cubicBezTo>
                    <a:pt x="52" y="10"/>
                    <a:pt x="55" y="13"/>
                    <a:pt x="58" y="13"/>
                  </a:cubicBezTo>
                  <a:cubicBezTo>
                    <a:pt x="62" y="13"/>
                    <a:pt x="65" y="10"/>
                    <a:pt x="65" y="7"/>
                  </a:cubicBezTo>
                  <a:cubicBezTo>
                    <a:pt x="65" y="3"/>
                    <a:pt x="62" y="0"/>
                    <a:pt x="58" y="0"/>
                  </a:cubicBezTo>
                  <a:cubicBezTo>
                    <a:pt x="56" y="0"/>
                    <a:pt x="53" y="2"/>
                    <a:pt x="52" y="4"/>
                  </a:cubicBezTo>
                  <a:cubicBezTo>
                    <a:pt x="39" y="1"/>
                    <a:pt x="39" y="1"/>
                    <a:pt x="39" y="1"/>
                  </a:cubicBezTo>
                  <a:cubicBezTo>
                    <a:pt x="34" y="17"/>
                    <a:pt x="34" y="17"/>
                    <a:pt x="34" y="17"/>
                  </a:cubicBezTo>
                  <a:cubicBezTo>
                    <a:pt x="26" y="17"/>
                    <a:pt x="19" y="19"/>
                    <a:pt x="13" y="22"/>
                  </a:cubicBezTo>
                  <a:cubicBezTo>
                    <a:pt x="12" y="21"/>
                    <a:pt x="10" y="20"/>
                    <a:pt x="8" y="20"/>
                  </a:cubicBezTo>
                  <a:cubicBezTo>
                    <a:pt x="4" y="20"/>
                    <a:pt x="0" y="24"/>
                    <a:pt x="0" y="28"/>
                  </a:cubicBezTo>
                  <a:cubicBezTo>
                    <a:pt x="0" y="30"/>
                    <a:pt x="2" y="33"/>
                    <a:pt x="4" y="34"/>
                  </a:cubicBezTo>
                  <a:cubicBezTo>
                    <a:pt x="4" y="35"/>
                    <a:pt x="4" y="36"/>
                    <a:pt x="4" y="37"/>
                  </a:cubicBezTo>
                  <a:cubicBezTo>
                    <a:pt x="4" y="44"/>
                    <a:pt x="10" y="51"/>
                    <a:pt x="20" y="54"/>
                  </a:cubicBezTo>
                  <a:cubicBezTo>
                    <a:pt x="14" y="57"/>
                    <a:pt x="11" y="62"/>
                    <a:pt x="11" y="67"/>
                  </a:cubicBezTo>
                  <a:cubicBezTo>
                    <a:pt x="11" y="73"/>
                    <a:pt x="15" y="78"/>
                    <a:pt x="22" y="81"/>
                  </a:cubicBezTo>
                  <a:cubicBezTo>
                    <a:pt x="22" y="81"/>
                    <a:pt x="22" y="81"/>
                    <a:pt x="22" y="81"/>
                  </a:cubicBezTo>
                  <a:cubicBezTo>
                    <a:pt x="22" y="82"/>
                    <a:pt x="22" y="83"/>
                    <a:pt x="23" y="84"/>
                  </a:cubicBezTo>
                  <a:cubicBezTo>
                    <a:pt x="20" y="84"/>
                    <a:pt x="20" y="84"/>
                    <a:pt x="20" y="84"/>
                  </a:cubicBezTo>
                  <a:cubicBezTo>
                    <a:pt x="18" y="84"/>
                    <a:pt x="16" y="85"/>
                    <a:pt x="15" y="86"/>
                  </a:cubicBezTo>
                  <a:cubicBezTo>
                    <a:pt x="12" y="89"/>
                    <a:pt x="12" y="93"/>
                    <a:pt x="12" y="93"/>
                  </a:cubicBezTo>
                  <a:cubicBezTo>
                    <a:pt x="12" y="94"/>
                    <a:pt x="12" y="94"/>
                    <a:pt x="12" y="94"/>
                  </a:cubicBezTo>
                  <a:cubicBezTo>
                    <a:pt x="56" y="94"/>
                    <a:pt x="56" y="94"/>
                    <a:pt x="56" y="94"/>
                  </a:cubicBezTo>
                  <a:cubicBezTo>
                    <a:pt x="56" y="93"/>
                    <a:pt x="56" y="93"/>
                    <a:pt x="56" y="93"/>
                  </a:cubicBezTo>
                  <a:cubicBezTo>
                    <a:pt x="56" y="93"/>
                    <a:pt x="57" y="89"/>
                    <a:pt x="54" y="86"/>
                  </a:cubicBezTo>
                  <a:cubicBezTo>
                    <a:pt x="53" y="85"/>
                    <a:pt x="51" y="84"/>
                    <a:pt x="49" y="84"/>
                  </a:cubicBezTo>
                  <a:cubicBezTo>
                    <a:pt x="46" y="84"/>
                    <a:pt x="46" y="84"/>
                    <a:pt x="46" y="84"/>
                  </a:cubicBezTo>
                  <a:cubicBezTo>
                    <a:pt x="47" y="83"/>
                    <a:pt x="47" y="82"/>
                    <a:pt x="47" y="80"/>
                  </a:cubicBezTo>
                  <a:cubicBezTo>
                    <a:pt x="48" y="81"/>
                    <a:pt x="48" y="81"/>
                    <a:pt x="48" y="81"/>
                  </a:cubicBezTo>
                  <a:cubicBezTo>
                    <a:pt x="54" y="77"/>
                    <a:pt x="57" y="72"/>
                    <a:pt x="57" y="67"/>
                  </a:cubicBezTo>
                  <a:cubicBezTo>
                    <a:pt x="57" y="62"/>
                    <a:pt x="54" y="57"/>
                    <a:pt x="49" y="54"/>
                  </a:cubicBezTo>
                  <a:cubicBezTo>
                    <a:pt x="49" y="54"/>
                    <a:pt x="49" y="54"/>
                    <a:pt x="49" y="54"/>
                  </a:cubicBezTo>
                  <a:cubicBezTo>
                    <a:pt x="59" y="51"/>
                    <a:pt x="65" y="44"/>
                    <a:pt x="65" y="37"/>
                  </a:cubicBezTo>
                  <a:cubicBezTo>
                    <a:pt x="65" y="36"/>
                    <a:pt x="65" y="35"/>
                    <a:pt x="65" y="34"/>
                  </a:cubicBezTo>
                  <a:cubicBezTo>
                    <a:pt x="67" y="33"/>
                    <a:pt x="69" y="30"/>
                    <a:pt x="69" y="28"/>
                  </a:cubicBezTo>
                  <a:cubicBezTo>
                    <a:pt x="69" y="24"/>
                    <a:pt x="65" y="20"/>
                    <a:pt x="61" y="20"/>
                  </a:cubicBezTo>
                  <a:cubicBezTo>
                    <a:pt x="59" y="20"/>
                    <a:pt x="57" y="21"/>
                    <a:pt x="56" y="22"/>
                  </a:cubicBezTo>
                  <a:cubicBezTo>
                    <a:pt x="51" y="19"/>
                    <a:pt x="44" y="17"/>
                    <a:pt x="36" y="17"/>
                  </a:cubicBezTo>
                  <a:cubicBezTo>
                    <a:pt x="41" y="4"/>
                    <a:pt x="41" y="4"/>
                    <a:pt x="41" y="4"/>
                  </a:cubicBezTo>
                  <a:lnTo>
                    <a:pt x="52" y="7"/>
                  </a:lnTo>
                  <a:close/>
                  <a:moveTo>
                    <a:pt x="58" y="3"/>
                  </a:moveTo>
                  <a:cubicBezTo>
                    <a:pt x="61" y="3"/>
                    <a:pt x="62" y="5"/>
                    <a:pt x="62" y="7"/>
                  </a:cubicBezTo>
                  <a:cubicBezTo>
                    <a:pt x="62" y="9"/>
                    <a:pt x="61" y="11"/>
                    <a:pt x="58" y="11"/>
                  </a:cubicBezTo>
                  <a:cubicBezTo>
                    <a:pt x="56" y="11"/>
                    <a:pt x="54" y="9"/>
                    <a:pt x="54" y="7"/>
                  </a:cubicBezTo>
                  <a:cubicBezTo>
                    <a:pt x="54" y="5"/>
                    <a:pt x="56" y="3"/>
                    <a:pt x="58" y="3"/>
                  </a:cubicBezTo>
                  <a:moveTo>
                    <a:pt x="3" y="28"/>
                  </a:moveTo>
                  <a:cubicBezTo>
                    <a:pt x="3" y="25"/>
                    <a:pt x="5" y="23"/>
                    <a:pt x="8" y="23"/>
                  </a:cubicBezTo>
                  <a:cubicBezTo>
                    <a:pt x="9" y="23"/>
                    <a:pt x="10" y="23"/>
                    <a:pt x="11" y="23"/>
                  </a:cubicBezTo>
                  <a:cubicBezTo>
                    <a:pt x="8" y="26"/>
                    <a:pt x="6" y="29"/>
                    <a:pt x="5" y="32"/>
                  </a:cubicBezTo>
                  <a:cubicBezTo>
                    <a:pt x="3" y="31"/>
                    <a:pt x="3" y="29"/>
                    <a:pt x="3" y="28"/>
                  </a:cubicBezTo>
                  <a:moveTo>
                    <a:pt x="46" y="55"/>
                  </a:moveTo>
                  <a:cubicBezTo>
                    <a:pt x="46" y="55"/>
                    <a:pt x="47" y="55"/>
                    <a:pt x="47" y="56"/>
                  </a:cubicBezTo>
                  <a:cubicBezTo>
                    <a:pt x="47" y="78"/>
                    <a:pt x="45" y="91"/>
                    <a:pt x="35" y="91"/>
                  </a:cubicBezTo>
                  <a:cubicBezTo>
                    <a:pt x="23" y="91"/>
                    <a:pt x="22" y="75"/>
                    <a:pt x="22" y="55"/>
                  </a:cubicBezTo>
                  <a:cubicBezTo>
                    <a:pt x="22" y="55"/>
                    <a:pt x="23" y="55"/>
                    <a:pt x="23" y="55"/>
                  </a:cubicBezTo>
                  <a:cubicBezTo>
                    <a:pt x="26" y="56"/>
                    <a:pt x="30" y="57"/>
                    <a:pt x="34" y="57"/>
                  </a:cubicBezTo>
                  <a:cubicBezTo>
                    <a:pt x="39" y="57"/>
                    <a:pt x="42" y="56"/>
                    <a:pt x="46" y="55"/>
                  </a:cubicBezTo>
                  <a:moveTo>
                    <a:pt x="14" y="67"/>
                  </a:moveTo>
                  <a:cubicBezTo>
                    <a:pt x="14" y="63"/>
                    <a:pt x="16" y="59"/>
                    <a:pt x="20" y="57"/>
                  </a:cubicBezTo>
                  <a:cubicBezTo>
                    <a:pt x="20" y="65"/>
                    <a:pt x="20" y="72"/>
                    <a:pt x="21" y="78"/>
                  </a:cubicBezTo>
                  <a:cubicBezTo>
                    <a:pt x="16" y="75"/>
                    <a:pt x="14" y="71"/>
                    <a:pt x="14" y="67"/>
                  </a:cubicBezTo>
                  <a:moveTo>
                    <a:pt x="16" y="88"/>
                  </a:moveTo>
                  <a:cubicBezTo>
                    <a:pt x="17" y="87"/>
                    <a:pt x="18" y="86"/>
                    <a:pt x="20" y="86"/>
                  </a:cubicBezTo>
                  <a:cubicBezTo>
                    <a:pt x="24" y="86"/>
                    <a:pt x="24" y="86"/>
                    <a:pt x="24" y="86"/>
                  </a:cubicBezTo>
                  <a:cubicBezTo>
                    <a:pt x="25" y="89"/>
                    <a:pt x="26" y="90"/>
                    <a:pt x="28" y="92"/>
                  </a:cubicBezTo>
                  <a:cubicBezTo>
                    <a:pt x="15" y="92"/>
                    <a:pt x="15" y="92"/>
                    <a:pt x="15" y="92"/>
                  </a:cubicBezTo>
                  <a:cubicBezTo>
                    <a:pt x="15" y="91"/>
                    <a:pt x="15" y="89"/>
                    <a:pt x="16" y="88"/>
                  </a:cubicBezTo>
                  <a:moveTo>
                    <a:pt x="49" y="86"/>
                  </a:moveTo>
                  <a:cubicBezTo>
                    <a:pt x="50" y="86"/>
                    <a:pt x="51" y="87"/>
                    <a:pt x="52" y="88"/>
                  </a:cubicBezTo>
                  <a:cubicBezTo>
                    <a:pt x="53" y="89"/>
                    <a:pt x="54" y="90"/>
                    <a:pt x="54" y="92"/>
                  </a:cubicBezTo>
                  <a:cubicBezTo>
                    <a:pt x="41" y="92"/>
                    <a:pt x="41" y="92"/>
                    <a:pt x="41" y="92"/>
                  </a:cubicBezTo>
                  <a:cubicBezTo>
                    <a:pt x="43" y="90"/>
                    <a:pt x="44" y="89"/>
                    <a:pt x="45" y="86"/>
                  </a:cubicBezTo>
                  <a:lnTo>
                    <a:pt x="49" y="86"/>
                  </a:lnTo>
                  <a:close/>
                  <a:moveTo>
                    <a:pt x="55" y="67"/>
                  </a:moveTo>
                  <a:cubicBezTo>
                    <a:pt x="55" y="71"/>
                    <a:pt x="52" y="75"/>
                    <a:pt x="48" y="78"/>
                  </a:cubicBezTo>
                  <a:cubicBezTo>
                    <a:pt x="49" y="72"/>
                    <a:pt x="49" y="65"/>
                    <a:pt x="49" y="57"/>
                  </a:cubicBezTo>
                  <a:cubicBezTo>
                    <a:pt x="53" y="60"/>
                    <a:pt x="55" y="63"/>
                    <a:pt x="55" y="67"/>
                  </a:cubicBezTo>
                  <a:moveTo>
                    <a:pt x="34" y="54"/>
                  </a:moveTo>
                  <a:cubicBezTo>
                    <a:pt x="19" y="54"/>
                    <a:pt x="6" y="46"/>
                    <a:pt x="6" y="37"/>
                  </a:cubicBezTo>
                  <a:cubicBezTo>
                    <a:pt x="6" y="27"/>
                    <a:pt x="19" y="19"/>
                    <a:pt x="34" y="19"/>
                  </a:cubicBezTo>
                  <a:cubicBezTo>
                    <a:pt x="50" y="19"/>
                    <a:pt x="63" y="27"/>
                    <a:pt x="63" y="37"/>
                  </a:cubicBezTo>
                  <a:cubicBezTo>
                    <a:pt x="63" y="46"/>
                    <a:pt x="50" y="54"/>
                    <a:pt x="34" y="54"/>
                  </a:cubicBezTo>
                  <a:moveTo>
                    <a:pt x="61" y="23"/>
                  </a:moveTo>
                  <a:cubicBezTo>
                    <a:pt x="64" y="23"/>
                    <a:pt x="66" y="25"/>
                    <a:pt x="66" y="28"/>
                  </a:cubicBezTo>
                  <a:cubicBezTo>
                    <a:pt x="66" y="29"/>
                    <a:pt x="66" y="31"/>
                    <a:pt x="64" y="32"/>
                  </a:cubicBezTo>
                  <a:cubicBezTo>
                    <a:pt x="63" y="29"/>
                    <a:pt x="61" y="26"/>
                    <a:pt x="58" y="24"/>
                  </a:cubicBezTo>
                  <a:cubicBezTo>
                    <a:pt x="59" y="23"/>
                    <a:pt x="60" y="23"/>
                    <a:pt x="61" y="23"/>
                  </a:cubicBezTo>
                </a:path>
              </a:pathLst>
            </a:custGeom>
            <a:solidFill>
              <a:srgbClr val="CCCCC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53" name="Freeform 162">
              <a:extLst>
                <a:ext uri="{FF2B5EF4-FFF2-40B4-BE49-F238E27FC236}">
                  <a16:creationId xmlns:a16="http://schemas.microsoft.com/office/drawing/2014/main" id="{5B4A153D-2C0B-4F14-99E5-23D6FD3DDEA7}"/>
                </a:ext>
              </a:extLst>
            </p:cNvPr>
            <p:cNvSpPr>
              <a:spLocks/>
            </p:cNvSpPr>
            <p:nvPr/>
          </p:nvSpPr>
          <p:spPr bwMode="auto">
            <a:xfrm>
              <a:off x="6280668" y="5438630"/>
              <a:ext cx="44535" cy="9543"/>
            </a:xfrm>
            <a:custGeom>
              <a:avLst/>
              <a:gdLst>
                <a:gd name="T0" fmla="*/ 21 w 23"/>
                <a:gd name="T1" fmla="*/ 0 h 5"/>
                <a:gd name="T2" fmla="*/ 11 w 23"/>
                <a:gd name="T3" fmla="*/ 3 h 5"/>
                <a:gd name="T4" fmla="*/ 2 w 23"/>
                <a:gd name="T5" fmla="*/ 0 h 5"/>
                <a:gd name="T6" fmla="*/ 0 w 23"/>
                <a:gd name="T7" fmla="*/ 0 h 5"/>
                <a:gd name="T8" fmla="*/ 0 w 23"/>
                <a:gd name="T9" fmla="*/ 2 h 5"/>
                <a:gd name="T10" fmla="*/ 11 w 23"/>
                <a:gd name="T11" fmla="*/ 5 h 5"/>
                <a:gd name="T12" fmla="*/ 23 w 23"/>
                <a:gd name="T13" fmla="*/ 2 h 5"/>
                <a:gd name="T14" fmla="*/ 23 w 23"/>
                <a:gd name="T15" fmla="*/ 0 h 5"/>
                <a:gd name="T16" fmla="*/ 21 w 23"/>
                <a:gd name="T17"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 h="5">
                  <a:moveTo>
                    <a:pt x="21" y="0"/>
                  </a:moveTo>
                  <a:cubicBezTo>
                    <a:pt x="21" y="0"/>
                    <a:pt x="18" y="3"/>
                    <a:pt x="11" y="3"/>
                  </a:cubicBezTo>
                  <a:cubicBezTo>
                    <a:pt x="5" y="3"/>
                    <a:pt x="2" y="0"/>
                    <a:pt x="2" y="0"/>
                  </a:cubicBezTo>
                  <a:cubicBezTo>
                    <a:pt x="2" y="0"/>
                    <a:pt x="1" y="0"/>
                    <a:pt x="0" y="0"/>
                  </a:cubicBezTo>
                  <a:cubicBezTo>
                    <a:pt x="0" y="0"/>
                    <a:pt x="0" y="1"/>
                    <a:pt x="0" y="2"/>
                  </a:cubicBezTo>
                  <a:cubicBezTo>
                    <a:pt x="0" y="2"/>
                    <a:pt x="4" y="5"/>
                    <a:pt x="11" y="5"/>
                  </a:cubicBezTo>
                  <a:cubicBezTo>
                    <a:pt x="19" y="5"/>
                    <a:pt x="23" y="2"/>
                    <a:pt x="23" y="2"/>
                  </a:cubicBezTo>
                  <a:cubicBezTo>
                    <a:pt x="23" y="1"/>
                    <a:pt x="23" y="1"/>
                    <a:pt x="23" y="0"/>
                  </a:cubicBezTo>
                  <a:cubicBezTo>
                    <a:pt x="22" y="0"/>
                    <a:pt x="22" y="0"/>
                    <a:pt x="21" y="0"/>
                  </a:cubicBezTo>
                </a:path>
              </a:pathLst>
            </a:custGeom>
            <a:solidFill>
              <a:srgbClr val="CCCCC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54" name="Oval 163">
              <a:extLst>
                <a:ext uri="{FF2B5EF4-FFF2-40B4-BE49-F238E27FC236}">
                  <a16:creationId xmlns:a16="http://schemas.microsoft.com/office/drawing/2014/main" id="{82C175E3-362B-43C9-B2FC-0854F61650FE}"/>
                </a:ext>
              </a:extLst>
            </p:cNvPr>
            <p:cNvSpPr>
              <a:spLocks noChangeArrowheads="1"/>
            </p:cNvSpPr>
            <p:nvPr/>
          </p:nvSpPr>
          <p:spPr bwMode="auto">
            <a:xfrm>
              <a:off x="4591533" y="2790411"/>
              <a:ext cx="23858" cy="20677"/>
            </a:xfrm>
            <a:prstGeom prst="ellipse">
              <a:avLst/>
            </a:prstGeom>
            <a:solidFill>
              <a:srgbClr val="CCCCC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55" name="Oval 164">
              <a:extLst>
                <a:ext uri="{FF2B5EF4-FFF2-40B4-BE49-F238E27FC236}">
                  <a16:creationId xmlns:a16="http://schemas.microsoft.com/office/drawing/2014/main" id="{D225C6ED-3F19-498D-B427-3F4B7297C03C}"/>
                </a:ext>
              </a:extLst>
            </p:cNvPr>
            <p:cNvSpPr>
              <a:spLocks noChangeArrowheads="1"/>
            </p:cNvSpPr>
            <p:nvPr/>
          </p:nvSpPr>
          <p:spPr bwMode="auto">
            <a:xfrm>
              <a:off x="4639249" y="2790411"/>
              <a:ext cx="22267" cy="20677"/>
            </a:xfrm>
            <a:prstGeom prst="ellipse">
              <a:avLst/>
            </a:prstGeom>
            <a:solidFill>
              <a:srgbClr val="CCCCC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56" name="Freeform 165">
              <a:extLst>
                <a:ext uri="{FF2B5EF4-FFF2-40B4-BE49-F238E27FC236}">
                  <a16:creationId xmlns:a16="http://schemas.microsoft.com/office/drawing/2014/main" id="{4BBDABD3-3E8D-4B53-AD40-2334C19DC125}"/>
                </a:ext>
              </a:extLst>
            </p:cNvPr>
            <p:cNvSpPr>
              <a:spLocks noEditPoints="1"/>
            </p:cNvSpPr>
            <p:nvPr/>
          </p:nvSpPr>
          <p:spPr bwMode="auto">
            <a:xfrm>
              <a:off x="4546999" y="2725199"/>
              <a:ext cx="157461" cy="216311"/>
            </a:xfrm>
            <a:custGeom>
              <a:avLst/>
              <a:gdLst>
                <a:gd name="T0" fmla="*/ 69 w 81"/>
                <a:gd name="T1" fmla="*/ 15 h 111"/>
                <a:gd name="T2" fmla="*/ 69 w 81"/>
                <a:gd name="T3" fmla="*/ 0 h 111"/>
                <a:gd name="T4" fmla="*/ 46 w 81"/>
                <a:gd name="T5" fmla="*/ 1 h 111"/>
                <a:gd name="T6" fmla="*/ 16 w 81"/>
                <a:gd name="T7" fmla="*/ 26 h 111"/>
                <a:gd name="T8" fmla="*/ 0 w 81"/>
                <a:gd name="T9" fmla="*/ 32 h 111"/>
                <a:gd name="T10" fmla="*/ 4 w 81"/>
                <a:gd name="T11" fmla="*/ 43 h 111"/>
                <a:gd name="T12" fmla="*/ 13 w 81"/>
                <a:gd name="T13" fmla="*/ 79 h 111"/>
                <a:gd name="T14" fmla="*/ 25 w 81"/>
                <a:gd name="T15" fmla="*/ 95 h 111"/>
                <a:gd name="T16" fmla="*/ 24 w 81"/>
                <a:gd name="T17" fmla="*/ 99 h 111"/>
                <a:gd name="T18" fmla="*/ 14 w 81"/>
                <a:gd name="T19" fmla="*/ 110 h 111"/>
                <a:gd name="T20" fmla="*/ 67 w 81"/>
                <a:gd name="T21" fmla="*/ 111 h 111"/>
                <a:gd name="T22" fmla="*/ 64 w 81"/>
                <a:gd name="T23" fmla="*/ 102 h 111"/>
                <a:gd name="T24" fmla="*/ 55 w 81"/>
                <a:gd name="T25" fmla="*/ 99 h 111"/>
                <a:gd name="T26" fmla="*/ 56 w 81"/>
                <a:gd name="T27" fmla="*/ 95 h 111"/>
                <a:gd name="T28" fmla="*/ 58 w 81"/>
                <a:gd name="T29" fmla="*/ 64 h 111"/>
                <a:gd name="T30" fmla="*/ 77 w 81"/>
                <a:gd name="T31" fmla="*/ 43 h 111"/>
                <a:gd name="T32" fmla="*/ 81 w 81"/>
                <a:gd name="T33" fmla="*/ 32 h 111"/>
                <a:gd name="T34" fmla="*/ 66 w 81"/>
                <a:gd name="T35" fmla="*/ 26 h 111"/>
                <a:gd name="T36" fmla="*/ 48 w 81"/>
                <a:gd name="T37" fmla="*/ 4 h 111"/>
                <a:gd name="T38" fmla="*/ 69 w 81"/>
                <a:gd name="T39" fmla="*/ 3 h 111"/>
                <a:gd name="T40" fmla="*/ 69 w 81"/>
                <a:gd name="T41" fmla="*/ 12 h 111"/>
                <a:gd name="T42" fmla="*/ 69 w 81"/>
                <a:gd name="T43" fmla="*/ 3 h 111"/>
                <a:gd name="T44" fmla="*/ 9 w 81"/>
                <a:gd name="T45" fmla="*/ 26 h 111"/>
                <a:gd name="T46" fmla="*/ 5 w 81"/>
                <a:gd name="T47" fmla="*/ 37 h 111"/>
                <a:gd name="T48" fmla="*/ 54 w 81"/>
                <a:gd name="T49" fmla="*/ 65 h 111"/>
                <a:gd name="T50" fmla="*/ 41 w 81"/>
                <a:gd name="T51" fmla="*/ 108 h 111"/>
                <a:gd name="T52" fmla="*/ 27 w 81"/>
                <a:gd name="T53" fmla="*/ 65 h 111"/>
                <a:gd name="T54" fmla="*/ 54 w 81"/>
                <a:gd name="T55" fmla="*/ 65 h 111"/>
                <a:gd name="T56" fmla="*/ 23 w 81"/>
                <a:gd name="T57" fmla="*/ 67 h 111"/>
                <a:gd name="T58" fmla="*/ 16 w 81"/>
                <a:gd name="T59" fmla="*/ 79 h 111"/>
                <a:gd name="T60" fmla="*/ 24 w 81"/>
                <a:gd name="T61" fmla="*/ 102 h 111"/>
                <a:gd name="T62" fmla="*/ 32 w 81"/>
                <a:gd name="T63" fmla="*/ 108 h 111"/>
                <a:gd name="T64" fmla="*/ 19 w 81"/>
                <a:gd name="T65" fmla="*/ 104 h 111"/>
                <a:gd name="T66" fmla="*/ 62 w 81"/>
                <a:gd name="T67" fmla="*/ 104 h 111"/>
                <a:gd name="T68" fmla="*/ 49 w 81"/>
                <a:gd name="T69" fmla="*/ 108 h 111"/>
                <a:gd name="T70" fmla="*/ 58 w 81"/>
                <a:gd name="T71" fmla="*/ 102 h 111"/>
                <a:gd name="T72" fmla="*/ 57 w 81"/>
                <a:gd name="T73" fmla="*/ 91 h 111"/>
                <a:gd name="T74" fmla="*/ 65 w 81"/>
                <a:gd name="T75" fmla="*/ 79 h 111"/>
                <a:gd name="T76" fmla="*/ 7 w 81"/>
                <a:gd name="T77" fmla="*/ 43 h 111"/>
                <a:gd name="T78" fmla="*/ 74 w 81"/>
                <a:gd name="T79" fmla="*/ 43 h 111"/>
                <a:gd name="T80" fmla="*/ 72 w 81"/>
                <a:gd name="T81" fmla="*/ 26 h 111"/>
                <a:gd name="T82" fmla="*/ 76 w 81"/>
                <a:gd name="T83" fmla="*/ 37 h 111"/>
                <a:gd name="T84" fmla="*/ 72 w 81"/>
                <a:gd name="T85" fmla="*/ 26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1" h="111">
                  <a:moveTo>
                    <a:pt x="61" y="8"/>
                  </a:moveTo>
                  <a:cubicBezTo>
                    <a:pt x="61" y="12"/>
                    <a:pt x="65" y="15"/>
                    <a:pt x="69" y="15"/>
                  </a:cubicBezTo>
                  <a:cubicBezTo>
                    <a:pt x="73" y="15"/>
                    <a:pt x="77" y="12"/>
                    <a:pt x="77" y="7"/>
                  </a:cubicBezTo>
                  <a:cubicBezTo>
                    <a:pt x="77" y="3"/>
                    <a:pt x="73" y="0"/>
                    <a:pt x="69" y="0"/>
                  </a:cubicBezTo>
                  <a:cubicBezTo>
                    <a:pt x="66" y="0"/>
                    <a:pt x="63" y="2"/>
                    <a:pt x="62" y="5"/>
                  </a:cubicBezTo>
                  <a:cubicBezTo>
                    <a:pt x="46" y="1"/>
                    <a:pt x="46" y="1"/>
                    <a:pt x="46" y="1"/>
                  </a:cubicBezTo>
                  <a:cubicBezTo>
                    <a:pt x="40" y="19"/>
                    <a:pt x="40" y="19"/>
                    <a:pt x="40" y="19"/>
                  </a:cubicBezTo>
                  <a:cubicBezTo>
                    <a:pt x="30" y="19"/>
                    <a:pt x="22" y="22"/>
                    <a:pt x="16" y="26"/>
                  </a:cubicBezTo>
                  <a:cubicBezTo>
                    <a:pt x="14" y="24"/>
                    <a:pt x="12" y="23"/>
                    <a:pt x="9" y="23"/>
                  </a:cubicBezTo>
                  <a:cubicBezTo>
                    <a:pt x="4" y="23"/>
                    <a:pt x="0" y="27"/>
                    <a:pt x="0" y="32"/>
                  </a:cubicBezTo>
                  <a:cubicBezTo>
                    <a:pt x="0" y="36"/>
                    <a:pt x="2" y="38"/>
                    <a:pt x="4" y="40"/>
                  </a:cubicBezTo>
                  <a:cubicBezTo>
                    <a:pt x="4" y="41"/>
                    <a:pt x="4" y="42"/>
                    <a:pt x="4" y="43"/>
                  </a:cubicBezTo>
                  <a:cubicBezTo>
                    <a:pt x="4" y="52"/>
                    <a:pt x="12" y="60"/>
                    <a:pt x="23" y="64"/>
                  </a:cubicBezTo>
                  <a:cubicBezTo>
                    <a:pt x="17" y="67"/>
                    <a:pt x="13" y="73"/>
                    <a:pt x="13" y="79"/>
                  </a:cubicBezTo>
                  <a:cubicBezTo>
                    <a:pt x="13" y="86"/>
                    <a:pt x="18" y="92"/>
                    <a:pt x="25" y="95"/>
                  </a:cubicBezTo>
                  <a:cubicBezTo>
                    <a:pt x="25" y="95"/>
                    <a:pt x="25" y="95"/>
                    <a:pt x="25" y="95"/>
                  </a:cubicBezTo>
                  <a:cubicBezTo>
                    <a:pt x="26" y="97"/>
                    <a:pt x="26" y="98"/>
                    <a:pt x="27" y="99"/>
                  </a:cubicBezTo>
                  <a:cubicBezTo>
                    <a:pt x="24" y="99"/>
                    <a:pt x="24" y="99"/>
                    <a:pt x="24" y="99"/>
                  </a:cubicBezTo>
                  <a:cubicBezTo>
                    <a:pt x="21" y="99"/>
                    <a:pt x="19" y="100"/>
                    <a:pt x="17" y="102"/>
                  </a:cubicBezTo>
                  <a:cubicBezTo>
                    <a:pt x="14" y="105"/>
                    <a:pt x="14" y="109"/>
                    <a:pt x="14" y="110"/>
                  </a:cubicBezTo>
                  <a:cubicBezTo>
                    <a:pt x="14" y="111"/>
                    <a:pt x="14" y="111"/>
                    <a:pt x="14" y="111"/>
                  </a:cubicBezTo>
                  <a:cubicBezTo>
                    <a:pt x="67" y="111"/>
                    <a:pt x="67" y="111"/>
                    <a:pt x="67" y="111"/>
                  </a:cubicBezTo>
                  <a:cubicBezTo>
                    <a:pt x="67" y="110"/>
                    <a:pt x="67" y="110"/>
                    <a:pt x="67" y="110"/>
                  </a:cubicBezTo>
                  <a:cubicBezTo>
                    <a:pt x="67" y="109"/>
                    <a:pt x="67" y="105"/>
                    <a:pt x="64" y="102"/>
                  </a:cubicBezTo>
                  <a:cubicBezTo>
                    <a:pt x="62" y="100"/>
                    <a:pt x="60" y="99"/>
                    <a:pt x="58" y="99"/>
                  </a:cubicBezTo>
                  <a:cubicBezTo>
                    <a:pt x="55" y="99"/>
                    <a:pt x="55" y="99"/>
                    <a:pt x="55" y="99"/>
                  </a:cubicBezTo>
                  <a:cubicBezTo>
                    <a:pt x="55" y="98"/>
                    <a:pt x="56" y="96"/>
                    <a:pt x="56" y="95"/>
                  </a:cubicBezTo>
                  <a:cubicBezTo>
                    <a:pt x="56" y="95"/>
                    <a:pt x="56" y="95"/>
                    <a:pt x="56" y="95"/>
                  </a:cubicBezTo>
                  <a:cubicBezTo>
                    <a:pt x="64" y="91"/>
                    <a:pt x="68" y="85"/>
                    <a:pt x="68" y="79"/>
                  </a:cubicBezTo>
                  <a:cubicBezTo>
                    <a:pt x="68" y="73"/>
                    <a:pt x="64" y="68"/>
                    <a:pt x="58" y="64"/>
                  </a:cubicBezTo>
                  <a:cubicBezTo>
                    <a:pt x="58" y="64"/>
                    <a:pt x="58" y="64"/>
                    <a:pt x="58" y="64"/>
                  </a:cubicBezTo>
                  <a:cubicBezTo>
                    <a:pt x="70" y="60"/>
                    <a:pt x="77" y="52"/>
                    <a:pt x="77" y="43"/>
                  </a:cubicBezTo>
                  <a:cubicBezTo>
                    <a:pt x="77" y="42"/>
                    <a:pt x="77" y="41"/>
                    <a:pt x="77" y="40"/>
                  </a:cubicBezTo>
                  <a:cubicBezTo>
                    <a:pt x="80" y="39"/>
                    <a:pt x="81" y="36"/>
                    <a:pt x="81" y="32"/>
                  </a:cubicBezTo>
                  <a:cubicBezTo>
                    <a:pt x="81" y="27"/>
                    <a:pt x="77" y="23"/>
                    <a:pt x="72" y="23"/>
                  </a:cubicBezTo>
                  <a:cubicBezTo>
                    <a:pt x="70" y="23"/>
                    <a:pt x="68" y="24"/>
                    <a:pt x="66" y="26"/>
                  </a:cubicBezTo>
                  <a:cubicBezTo>
                    <a:pt x="60" y="22"/>
                    <a:pt x="52" y="19"/>
                    <a:pt x="43" y="19"/>
                  </a:cubicBezTo>
                  <a:cubicBezTo>
                    <a:pt x="48" y="4"/>
                    <a:pt x="48" y="4"/>
                    <a:pt x="48" y="4"/>
                  </a:cubicBezTo>
                  <a:lnTo>
                    <a:pt x="61" y="8"/>
                  </a:lnTo>
                  <a:close/>
                  <a:moveTo>
                    <a:pt x="69" y="3"/>
                  </a:moveTo>
                  <a:cubicBezTo>
                    <a:pt x="72" y="3"/>
                    <a:pt x="74" y="5"/>
                    <a:pt x="74" y="7"/>
                  </a:cubicBezTo>
                  <a:cubicBezTo>
                    <a:pt x="74" y="10"/>
                    <a:pt x="72" y="12"/>
                    <a:pt x="69" y="12"/>
                  </a:cubicBezTo>
                  <a:cubicBezTo>
                    <a:pt x="66" y="12"/>
                    <a:pt x="64" y="10"/>
                    <a:pt x="64" y="7"/>
                  </a:cubicBezTo>
                  <a:cubicBezTo>
                    <a:pt x="64" y="5"/>
                    <a:pt x="66" y="3"/>
                    <a:pt x="69" y="3"/>
                  </a:cubicBezTo>
                  <a:moveTo>
                    <a:pt x="3" y="32"/>
                  </a:moveTo>
                  <a:cubicBezTo>
                    <a:pt x="3" y="29"/>
                    <a:pt x="6" y="26"/>
                    <a:pt x="9" y="26"/>
                  </a:cubicBezTo>
                  <a:cubicBezTo>
                    <a:pt x="11" y="26"/>
                    <a:pt x="12" y="27"/>
                    <a:pt x="13" y="27"/>
                  </a:cubicBezTo>
                  <a:cubicBezTo>
                    <a:pt x="9" y="30"/>
                    <a:pt x="7" y="33"/>
                    <a:pt x="5" y="37"/>
                  </a:cubicBezTo>
                  <a:cubicBezTo>
                    <a:pt x="4" y="36"/>
                    <a:pt x="3" y="34"/>
                    <a:pt x="3" y="32"/>
                  </a:cubicBezTo>
                  <a:moveTo>
                    <a:pt x="54" y="65"/>
                  </a:moveTo>
                  <a:cubicBezTo>
                    <a:pt x="55" y="65"/>
                    <a:pt x="55" y="65"/>
                    <a:pt x="55" y="65"/>
                  </a:cubicBezTo>
                  <a:cubicBezTo>
                    <a:pt x="55" y="92"/>
                    <a:pt x="53" y="108"/>
                    <a:pt x="41" y="108"/>
                  </a:cubicBezTo>
                  <a:cubicBezTo>
                    <a:pt x="28" y="108"/>
                    <a:pt x="26" y="88"/>
                    <a:pt x="26" y="65"/>
                  </a:cubicBezTo>
                  <a:cubicBezTo>
                    <a:pt x="26" y="65"/>
                    <a:pt x="27" y="65"/>
                    <a:pt x="27" y="65"/>
                  </a:cubicBezTo>
                  <a:cubicBezTo>
                    <a:pt x="31" y="66"/>
                    <a:pt x="36" y="67"/>
                    <a:pt x="41" y="67"/>
                  </a:cubicBezTo>
                  <a:cubicBezTo>
                    <a:pt x="46" y="67"/>
                    <a:pt x="50" y="66"/>
                    <a:pt x="54" y="65"/>
                  </a:cubicBezTo>
                  <a:moveTo>
                    <a:pt x="16" y="79"/>
                  </a:moveTo>
                  <a:cubicBezTo>
                    <a:pt x="16" y="74"/>
                    <a:pt x="19" y="70"/>
                    <a:pt x="23" y="67"/>
                  </a:cubicBezTo>
                  <a:cubicBezTo>
                    <a:pt x="23" y="76"/>
                    <a:pt x="24" y="85"/>
                    <a:pt x="25" y="92"/>
                  </a:cubicBezTo>
                  <a:cubicBezTo>
                    <a:pt x="19" y="89"/>
                    <a:pt x="16" y="84"/>
                    <a:pt x="16" y="79"/>
                  </a:cubicBezTo>
                  <a:moveTo>
                    <a:pt x="19" y="104"/>
                  </a:moveTo>
                  <a:cubicBezTo>
                    <a:pt x="20" y="103"/>
                    <a:pt x="22" y="102"/>
                    <a:pt x="24" y="102"/>
                  </a:cubicBezTo>
                  <a:cubicBezTo>
                    <a:pt x="28" y="102"/>
                    <a:pt x="28" y="102"/>
                    <a:pt x="28" y="102"/>
                  </a:cubicBezTo>
                  <a:cubicBezTo>
                    <a:pt x="29" y="105"/>
                    <a:pt x="31" y="107"/>
                    <a:pt x="32" y="108"/>
                  </a:cubicBezTo>
                  <a:cubicBezTo>
                    <a:pt x="17" y="108"/>
                    <a:pt x="17" y="108"/>
                    <a:pt x="17" y="108"/>
                  </a:cubicBezTo>
                  <a:cubicBezTo>
                    <a:pt x="17" y="107"/>
                    <a:pt x="18" y="105"/>
                    <a:pt x="19" y="104"/>
                  </a:cubicBezTo>
                  <a:moveTo>
                    <a:pt x="58" y="102"/>
                  </a:moveTo>
                  <a:cubicBezTo>
                    <a:pt x="60" y="102"/>
                    <a:pt x="61" y="103"/>
                    <a:pt x="62" y="104"/>
                  </a:cubicBezTo>
                  <a:cubicBezTo>
                    <a:pt x="63" y="105"/>
                    <a:pt x="64" y="107"/>
                    <a:pt x="64" y="108"/>
                  </a:cubicBezTo>
                  <a:cubicBezTo>
                    <a:pt x="49" y="108"/>
                    <a:pt x="49" y="108"/>
                    <a:pt x="49" y="108"/>
                  </a:cubicBezTo>
                  <a:cubicBezTo>
                    <a:pt x="51" y="107"/>
                    <a:pt x="52" y="105"/>
                    <a:pt x="53" y="102"/>
                  </a:cubicBezTo>
                  <a:lnTo>
                    <a:pt x="58" y="102"/>
                  </a:lnTo>
                  <a:close/>
                  <a:moveTo>
                    <a:pt x="65" y="79"/>
                  </a:moveTo>
                  <a:cubicBezTo>
                    <a:pt x="65" y="84"/>
                    <a:pt x="62" y="88"/>
                    <a:pt x="57" y="91"/>
                  </a:cubicBezTo>
                  <a:cubicBezTo>
                    <a:pt x="58" y="84"/>
                    <a:pt x="58" y="76"/>
                    <a:pt x="58" y="67"/>
                  </a:cubicBezTo>
                  <a:cubicBezTo>
                    <a:pt x="62" y="70"/>
                    <a:pt x="65" y="74"/>
                    <a:pt x="65" y="79"/>
                  </a:cubicBezTo>
                  <a:moveTo>
                    <a:pt x="41" y="64"/>
                  </a:moveTo>
                  <a:cubicBezTo>
                    <a:pt x="22" y="64"/>
                    <a:pt x="7" y="54"/>
                    <a:pt x="7" y="43"/>
                  </a:cubicBezTo>
                  <a:cubicBezTo>
                    <a:pt x="7" y="31"/>
                    <a:pt x="22" y="22"/>
                    <a:pt x="41" y="22"/>
                  </a:cubicBezTo>
                  <a:cubicBezTo>
                    <a:pt x="59" y="22"/>
                    <a:pt x="74" y="31"/>
                    <a:pt x="74" y="43"/>
                  </a:cubicBezTo>
                  <a:cubicBezTo>
                    <a:pt x="74" y="54"/>
                    <a:pt x="59" y="64"/>
                    <a:pt x="41" y="64"/>
                  </a:cubicBezTo>
                  <a:moveTo>
                    <a:pt x="72" y="26"/>
                  </a:moveTo>
                  <a:cubicBezTo>
                    <a:pt x="76" y="26"/>
                    <a:pt x="78" y="29"/>
                    <a:pt x="78" y="32"/>
                  </a:cubicBezTo>
                  <a:cubicBezTo>
                    <a:pt x="78" y="34"/>
                    <a:pt x="78" y="36"/>
                    <a:pt x="76" y="37"/>
                  </a:cubicBezTo>
                  <a:cubicBezTo>
                    <a:pt x="75" y="34"/>
                    <a:pt x="72" y="30"/>
                    <a:pt x="68" y="27"/>
                  </a:cubicBezTo>
                  <a:cubicBezTo>
                    <a:pt x="69" y="27"/>
                    <a:pt x="71" y="26"/>
                    <a:pt x="72" y="26"/>
                  </a:cubicBezTo>
                </a:path>
              </a:pathLst>
            </a:custGeom>
            <a:solidFill>
              <a:srgbClr val="CCCCC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57" name="Freeform 166">
              <a:extLst>
                <a:ext uri="{FF2B5EF4-FFF2-40B4-BE49-F238E27FC236}">
                  <a16:creationId xmlns:a16="http://schemas.microsoft.com/office/drawing/2014/main" id="{FD9A218D-646F-45E9-B7AD-06BBB400722A}"/>
                </a:ext>
              </a:extLst>
            </p:cNvPr>
            <p:cNvSpPr>
              <a:spLocks/>
            </p:cNvSpPr>
            <p:nvPr/>
          </p:nvSpPr>
          <p:spPr bwMode="auto">
            <a:xfrm>
              <a:off x="4599486" y="2825402"/>
              <a:ext cx="55668" cy="14315"/>
            </a:xfrm>
            <a:custGeom>
              <a:avLst/>
              <a:gdLst>
                <a:gd name="T0" fmla="*/ 25 w 28"/>
                <a:gd name="T1" fmla="*/ 1 h 7"/>
                <a:gd name="T2" fmla="*/ 14 w 28"/>
                <a:gd name="T3" fmla="*/ 4 h 7"/>
                <a:gd name="T4" fmla="*/ 3 w 28"/>
                <a:gd name="T5" fmla="*/ 1 h 7"/>
                <a:gd name="T6" fmla="*/ 0 w 28"/>
                <a:gd name="T7" fmla="*/ 1 h 7"/>
                <a:gd name="T8" fmla="*/ 0 w 28"/>
                <a:gd name="T9" fmla="*/ 3 h 7"/>
                <a:gd name="T10" fmla="*/ 14 w 28"/>
                <a:gd name="T11" fmla="*/ 7 h 7"/>
                <a:gd name="T12" fmla="*/ 27 w 28"/>
                <a:gd name="T13" fmla="*/ 3 h 7"/>
                <a:gd name="T14" fmla="*/ 27 w 28"/>
                <a:gd name="T15" fmla="*/ 1 h 7"/>
                <a:gd name="T16" fmla="*/ 25 w 28"/>
                <a:gd name="T17" fmla="*/ 1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 h="7">
                  <a:moveTo>
                    <a:pt x="25" y="1"/>
                  </a:moveTo>
                  <a:cubicBezTo>
                    <a:pt x="25" y="1"/>
                    <a:pt x="22" y="4"/>
                    <a:pt x="14" y="4"/>
                  </a:cubicBezTo>
                  <a:cubicBezTo>
                    <a:pt x="6" y="4"/>
                    <a:pt x="3" y="1"/>
                    <a:pt x="3" y="1"/>
                  </a:cubicBezTo>
                  <a:cubicBezTo>
                    <a:pt x="2" y="0"/>
                    <a:pt x="1" y="0"/>
                    <a:pt x="0" y="1"/>
                  </a:cubicBezTo>
                  <a:cubicBezTo>
                    <a:pt x="0" y="1"/>
                    <a:pt x="0" y="2"/>
                    <a:pt x="0" y="3"/>
                  </a:cubicBezTo>
                  <a:cubicBezTo>
                    <a:pt x="0" y="3"/>
                    <a:pt x="4" y="7"/>
                    <a:pt x="14" y="7"/>
                  </a:cubicBezTo>
                  <a:cubicBezTo>
                    <a:pt x="23" y="7"/>
                    <a:pt x="27" y="3"/>
                    <a:pt x="27" y="3"/>
                  </a:cubicBezTo>
                  <a:cubicBezTo>
                    <a:pt x="28" y="2"/>
                    <a:pt x="28" y="1"/>
                    <a:pt x="27" y="1"/>
                  </a:cubicBezTo>
                  <a:cubicBezTo>
                    <a:pt x="27" y="0"/>
                    <a:pt x="26" y="0"/>
                    <a:pt x="25" y="1"/>
                  </a:cubicBezTo>
                </a:path>
              </a:pathLst>
            </a:custGeom>
            <a:solidFill>
              <a:srgbClr val="CCCCC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58" name="Freeform 167">
              <a:extLst>
                <a:ext uri="{FF2B5EF4-FFF2-40B4-BE49-F238E27FC236}">
                  <a16:creationId xmlns:a16="http://schemas.microsoft.com/office/drawing/2014/main" id="{09E9CA48-A9AF-4BA2-85AC-4846C1105E80}"/>
                </a:ext>
              </a:extLst>
            </p:cNvPr>
            <p:cNvSpPr>
              <a:spLocks/>
            </p:cNvSpPr>
            <p:nvPr/>
          </p:nvSpPr>
          <p:spPr bwMode="auto">
            <a:xfrm>
              <a:off x="6050042" y="3677922"/>
              <a:ext cx="464432" cy="438984"/>
            </a:xfrm>
            <a:custGeom>
              <a:avLst/>
              <a:gdLst>
                <a:gd name="T0" fmla="*/ 191 w 238"/>
                <a:gd name="T1" fmla="*/ 225 h 225"/>
                <a:gd name="T2" fmla="*/ 238 w 238"/>
                <a:gd name="T3" fmla="*/ 171 h 225"/>
                <a:gd name="T4" fmla="*/ 238 w 238"/>
                <a:gd name="T5" fmla="*/ 0 h 225"/>
                <a:gd name="T6" fmla="*/ 207 w 238"/>
                <a:gd name="T7" fmla="*/ 0 h 225"/>
                <a:gd name="T8" fmla="*/ 207 w 238"/>
                <a:gd name="T9" fmla="*/ 171 h 225"/>
                <a:gd name="T10" fmla="*/ 191 w 238"/>
                <a:gd name="T11" fmla="*/ 189 h 225"/>
                <a:gd name="T12" fmla="*/ 0 w 238"/>
                <a:gd name="T13" fmla="*/ 191 h 225"/>
                <a:gd name="T14" fmla="*/ 4 w 238"/>
                <a:gd name="T15" fmla="*/ 225 h 225"/>
                <a:gd name="T16" fmla="*/ 191 w 238"/>
                <a:gd name="T17" fmla="*/ 225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8" h="225">
                  <a:moveTo>
                    <a:pt x="191" y="225"/>
                  </a:moveTo>
                  <a:cubicBezTo>
                    <a:pt x="217" y="225"/>
                    <a:pt x="238" y="201"/>
                    <a:pt x="238" y="171"/>
                  </a:cubicBezTo>
                  <a:cubicBezTo>
                    <a:pt x="238" y="0"/>
                    <a:pt x="238" y="0"/>
                    <a:pt x="238" y="0"/>
                  </a:cubicBezTo>
                  <a:cubicBezTo>
                    <a:pt x="207" y="0"/>
                    <a:pt x="207" y="0"/>
                    <a:pt x="207" y="0"/>
                  </a:cubicBezTo>
                  <a:cubicBezTo>
                    <a:pt x="207" y="171"/>
                    <a:pt x="207" y="171"/>
                    <a:pt x="207" y="171"/>
                  </a:cubicBezTo>
                  <a:cubicBezTo>
                    <a:pt x="207" y="181"/>
                    <a:pt x="199" y="189"/>
                    <a:pt x="191" y="189"/>
                  </a:cubicBezTo>
                  <a:cubicBezTo>
                    <a:pt x="0" y="191"/>
                    <a:pt x="0" y="191"/>
                    <a:pt x="0" y="191"/>
                  </a:cubicBezTo>
                  <a:cubicBezTo>
                    <a:pt x="4" y="225"/>
                    <a:pt x="4" y="225"/>
                    <a:pt x="4" y="225"/>
                  </a:cubicBezTo>
                  <a:lnTo>
                    <a:pt x="191" y="225"/>
                  </a:lnTo>
                  <a:close/>
                </a:path>
              </a:pathLst>
            </a:custGeom>
            <a:solidFill>
              <a:schemeClr val="accent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59" name="Freeform 168">
              <a:extLst>
                <a:ext uri="{FF2B5EF4-FFF2-40B4-BE49-F238E27FC236}">
                  <a16:creationId xmlns:a16="http://schemas.microsoft.com/office/drawing/2014/main" id="{B783C1FB-54B3-4A45-842D-2E9EF5EF92BA}"/>
                </a:ext>
              </a:extLst>
            </p:cNvPr>
            <p:cNvSpPr>
              <a:spLocks/>
            </p:cNvSpPr>
            <p:nvPr/>
          </p:nvSpPr>
          <p:spPr bwMode="auto">
            <a:xfrm>
              <a:off x="6131158" y="4503403"/>
              <a:ext cx="561455" cy="438984"/>
            </a:xfrm>
            <a:custGeom>
              <a:avLst/>
              <a:gdLst>
                <a:gd name="T0" fmla="*/ 47 w 288"/>
                <a:gd name="T1" fmla="*/ 0 h 226"/>
                <a:gd name="T2" fmla="*/ 0 w 288"/>
                <a:gd name="T3" fmla="*/ 55 h 226"/>
                <a:gd name="T4" fmla="*/ 0 w 288"/>
                <a:gd name="T5" fmla="*/ 226 h 226"/>
                <a:gd name="T6" fmla="*/ 31 w 288"/>
                <a:gd name="T7" fmla="*/ 226 h 226"/>
                <a:gd name="T8" fmla="*/ 31 w 288"/>
                <a:gd name="T9" fmla="*/ 55 h 226"/>
                <a:gd name="T10" fmla="*/ 47 w 288"/>
                <a:gd name="T11" fmla="*/ 37 h 226"/>
                <a:gd name="T12" fmla="*/ 288 w 288"/>
                <a:gd name="T13" fmla="*/ 37 h 226"/>
                <a:gd name="T14" fmla="*/ 286 w 288"/>
                <a:gd name="T15" fmla="*/ 0 h 226"/>
                <a:gd name="T16" fmla="*/ 47 w 288"/>
                <a:gd name="T17"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8" h="226">
                  <a:moveTo>
                    <a:pt x="47" y="0"/>
                  </a:moveTo>
                  <a:cubicBezTo>
                    <a:pt x="21" y="0"/>
                    <a:pt x="0" y="25"/>
                    <a:pt x="0" y="55"/>
                  </a:cubicBezTo>
                  <a:cubicBezTo>
                    <a:pt x="0" y="226"/>
                    <a:pt x="0" y="226"/>
                    <a:pt x="0" y="226"/>
                  </a:cubicBezTo>
                  <a:cubicBezTo>
                    <a:pt x="31" y="226"/>
                    <a:pt x="31" y="226"/>
                    <a:pt x="31" y="226"/>
                  </a:cubicBezTo>
                  <a:cubicBezTo>
                    <a:pt x="31" y="55"/>
                    <a:pt x="31" y="55"/>
                    <a:pt x="31" y="55"/>
                  </a:cubicBezTo>
                  <a:cubicBezTo>
                    <a:pt x="31" y="45"/>
                    <a:pt x="39" y="37"/>
                    <a:pt x="47" y="37"/>
                  </a:cubicBezTo>
                  <a:cubicBezTo>
                    <a:pt x="288" y="37"/>
                    <a:pt x="288" y="37"/>
                    <a:pt x="288" y="37"/>
                  </a:cubicBezTo>
                  <a:cubicBezTo>
                    <a:pt x="286" y="0"/>
                    <a:pt x="286" y="0"/>
                    <a:pt x="286" y="0"/>
                  </a:cubicBezTo>
                  <a:lnTo>
                    <a:pt x="47" y="0"/>
                  </a:lnTo>
                  <a:close/>
                </a:path>
              </a:pathLst>
            </a:custGeom>
            <a:solidFill>
              <a:schemeClr val="accent5"/>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60" name="Freeform 169">
              <a:extLst>
                <a:ext uri="{FF2B5EF4-FFF2-40B4-BE49-F238E27FC236}">
                  <a16:creationId xmlns:a16="http://schemas.microsoft.com/office/drawing/2014/main" id="{24F0F6A1-C4BF-4E71-9237-48AB3C733C3F}"/>
                </a:ext>
              </a:extLst>
            </p:cNvPr>
            <p:cNvSpPr>
              <a:spLocks/>
            </p:cNvSpPr>
            <p:nvPr/>
          </p:nvSpPr>
          <p:spPr bwMode="auto">
            <a:xfrm>
              <a:off x="5994374" y="2893795"/>
              <a:ext cx="1224702" cy="437393"/>
            </a:xfrm>
            <a:custGeom>
              <a:avLst/>
              <a:gdLst>
                <a:gd name="T0" fmla="*/ 48 w 628"/>
                <a:gd name="T1" fmla="*/ 0 h 225"/>
                <a:gd name="T2" fmla="*/ 0 w 628"/>
                <a:gd name="T3" fmla="*/ 55 h 225"/>
                <a:gd name="T4" fmla="*/ 0 w 628"/>
                <a:gd name="T5" fmla="*/ 225 h 225"/>
                <a:gd name="T6" fmla="*/ 32 w 628"/>
                <a:gd name="T7" fmla="*/ 225 h 225"/>
                <a:gd name="T8" fmla="*/ 32 w 628"/>
                <a:gd name="T9" fmla="*/ 55 h 225"/>
                <a:gd name="T10" fmla="*/ 48 w 628"/>
                <a:gd name="T11" fmla="*/ 36 h 225"/>
                <a:gd name="T12" fmla="*/ 628 w 628"/>
                <a:gd name="T13" fmla="*/ 36 h 225"/>
                <a:gd name="T14" fmla="*/ 618 w 628"/>
                <a:gd name="T15" fmla="*/ 0 h 225"/>
                <a:gd name="T16" fmla="*/ 48 w 628"/>
                <a:gd name="T17" fmla="*/ 0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8" h="225">
                  <a:moveTo>
                    <a:pt x="48" y="0"/>
                  </a:moveTo>
                  <a:cubicBezTo>
                    <a:pt x="22" y="0"/>
                    <a:pt x="0" y="24"/>
                    <a:pt x="0" y="55"/>
                  </a:cubicBezTo>
                  <a:cubicBezTo>
                    <a:pt x="0" y="225"/>
                    <a:pt x="0" y="225"/>
                    <a:pt x="0" y="225"/>
                  </a:cubicBezTo>
                  <a:cubicBezTo>
                    <a:pt x="32" y="225"/>
                    <a:pt x="32" y="225"/>
                    <a:pt x="32" y="225"/>
                  </a:cubicBezTo>
                  <a:cubicBezTo>
                    <a:pt x="32" y="55"/>
                    <a:pt x="32" y="55"/>
                    <a:pt x="32" y="55"/>
                  </a:cubicBezTo>
                  <a:cubicBezTo>
                    <a:pt x="32" y="45"/>
                    <a:pt x="39" y="36"/>
                    <a:pt x="48" y="36"/>
                  </a:cubicBezTo>
                  <a:cubicBezTo>
                    <a:pt x="628" y="36"/>
                    <a:pt x="628" y="36"/>
                    <a:pt x="628" y="36"/>
                  </a:cubicBezTo>
                  <a:cubicBezTo>
                    <a:pt x="618" y="0"/>
                    <a:pt x="618" y="0"/>
                    <a:pt x="618" y="0"/>
                  </a:cubicBezTo>
                  <a:lnTo>
                    <a:pt x="48" y="0"/>
                  </a:lnTo>
                  <a:close/>
                </a:path>
              </a:pathLst>
            </a:custGeom>
            <a:solidFill>
              <a:schemeClr val="accent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61" name="Rectangle 170">
              <a:extLst>
                <a:ext uri="{FF2B5EF4-FFF2-40B4-BE49-F238E27FC236}">
                  <a16:creationId xmlns:a16="http://schemas.microsoft.com/office/drawing/2014/main" id="{2F46C972-888E-4C0C-A3B8-686F44501E54}"/>
                </a:ext>
              </a:extLst>
            </p:cNvPr>
            <p:cNvSpPr>
              <a:spLocks noChangeArrowheads="1"/>
            </p:cNvSpPr>
            <p:nvPr/>
          </p:nvSpPr>
          <p:spPr bwMode="auto">
            <a:xfrm>
              <a:off x="4570856" y="4678360"/>
              <a:ext cx="1159491" cy="55668"/>
            </a:xfrm>
            <a:prstGeom prst="rect">
              <a:avLst/>
            </a:prstGeom>
            <a:solidFill>
              <a:schemeClr val="accent2"/>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62" name="Rectangle 171">
              <a:extLst>
                <a:ext uri="{FF2B5EF4-FFF2-40B4-BE49-F238E27FC236}">
                  <a16:creationId xmlns:a16="http://schemas.microsoft.com/office/drawing/2014/main" id="{E05F2124-05E5-4F2A-9479-567784BF98D4}"/>
                </a:ext>
              </a:extLst>
            </p:cNvPr>
            <p:cNvSpPr>
              <a:spLocks noChangeArrowheads="1"/>
            </p:cNvSpPr>
            <p:nvPr/>
          </p:nvSpPr>
          <p:spPr bwMode="auto">
            <a:xfrm>
              <a:off x="5870313" y="2521612"/>
              <a:ext cx="275161" cy="58850"/>
            </a:xfrm>
            <a:prstGeom prst="rect">
              <a:avLst/>
            </a:prstGeom>
            <a:solidFill>
              <a:schemeClr val="accent4"/>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63" name="Rectangle 172">
              <a:extLst>
                <a:ext uri="{FF2B5EF4-FFF2-40B4-BE49-F238E27FC236}">
                  <a16:creationId xmlns:a16="http://schemas.microsoft.com/office/drawing/2014/main" id="{14C13472-8F31-451A-A75E-F6955F63319B}"/>
                </a:ext>
              </a:extLst>
            </p:cNvPr>
            <p:cNvSpPr>
              <a:spLocks noChangeArrowheads="1"/>
            </p:cNvSpPr>
            <p:nvPr/>
          </p:nvSpPr>
          <p:spPr bwMode="auto">
            <a:xfrm>
              <a:off x="5876675" y="2022188"/>
              <a:ext cx="815938" cy="58850"/>
            </a:xfrm>
            <a:prstGeom prst="rect">
              <a:avLst/>
            </a:prstGeom>
            <a:solidFill>
              <a:schemeClr val="accent4"/>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64" name="Freeform 173">
              <a:extLst>
                <a:ext uri="{FF2B5EF4-FFF2-40B4-BE49-F238E27FC236}">
                  <a16:creationId xmlns:a16="http://schemas.microsoft.com/office/drawing/2014/main" id="{E53BB85D-EA56-45DD-A1FA-6CDA0B0C885C}"/>
                </a:ext>
              </a:extLst>
            </p:cNvPr>
            <p:cNvSpPr>
              <a:spLocks noEditPoints="1"/>
            </p:cNvSpPr>
            <p:nvPr/>
          </p:nvSpPr>
          <p:spPr bwMode="auto">
            <a:xfrm>
              <a:off x="6465168" y="5136431"/>
              <a:ext cx="170186" cy="190863"/>
            </a:xfrm>
            <a:custGeom>
              <a:avLst/>
              <a:gdLst>
                <a:gd name="T0" fmla="*/ 20 w 87"/>
                <a:gd name="T1" fmla="*/ 0 h 98"/>
                <a:gd name="T2" fmla="*/ 15 w 87"/>
                <a:gd name="T3" fmla="*/ 4 h 98"/>
                <a:gd name="T4" fmla="*/ 0 w 87"/>
                <a:gd name="T5" fmla="*/ 95 h 98"/>
                <a:gd name="T6" fmla="*/ 3 w 87"/>
                <a:gd name="T7" fmla="*/ 98 h 98"/>
                <a:gd name="T8" fmla="*/ 20 w 87"/>
                <a:gd name="T9" fmla="*/ 98 h 98"/>
                <a:gd name="T10" fmla="*/ 25 w 87"/>
                <a:gd name="T11" fmla="*/ 94 h 98"/>
                <a:gd name="T12" fmla="*/ 29 w 87"/>
                <a:gd name="T13" fmla="*/ 70 h 98"/>
                <a:gd name="T14" fmla="*/ 34 w 87"/>
                <a:gd name="T15" fmla="*/ 65 h 98"/>
                <a:gd name="T16" fmla="*/ 45 w 87"/>
                <a:gd name="T17" fmla="*/ 65 h 98"/>
                <a:gd name="T18" fmla="*/ 85 w 87"/>
                <a:gd name="T19" fmla="*/ 32 h 98"/>
                <a:gd name="T20" fmla="*/ 81 w 87"/>
                <a:gd name="T21" fmla="*/ 9 h 98"/>
                <a:gd name="T22" fmla="*/ 55 w 87"/>
                <a:gd name="T23" fmla="*/ 0 h 98"/>
                <a:gd name="T24" fmla="*/ 20 w 87"/>
                <a:gd name="T25" fmla="*/ 0 h 98"/>
                <a:gd name="T26" fmla="*/ 59 w 87"/>
                <a:gd name="T27" fmla="*/ 33 h 98"/>
                <a:gd name="T28" fmla="*/ 38 w 87"/>
                <a:gd name="T29" fmla="*/ 46 h 98"/>
                <a:gd name="T30" fmla="*/ 33 w 87"/>
                <a:gd name="T31" fmla="*/ 46 h 98"/>
                <a:gd name="T32" fmla="*/ 36 w 87"/>
                <a:gd name="T33" fmla="*/ 22 h 98"/>
                <a:gd name="T34" fmla="*/ 39 w 87"/>
                <a:gd name="T35" fmla="*/ 20 h 98"/>
                <a:gd name="T36" fmla="*/ 42 w 87"/>
                <a:gd name="T37" fmla="*/ 20 h 98"/>
                <a:gd name="T38" fmla="*/ 57 w 87"/>
                <a:gd name="T39" fmla="*/ 23 h 98"/>
                <a:gd name="T40" fmla="*/ 59 w 87"/>
                <a:gd name="T41" fmla="*/ 33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7" h="98">
                  <a:moveTo>
                    <a:pt x="20" y="0"/>
                  </a:moveTo>
                  <a:cubicBezTo>
                    <a:pt x="17" y="0"/>
                    <a:pt x="15" y="2"/>
                    <a:pt x="15" y="4"/>
                  </a:cubicBezTo>
                  <a:cubicBezTo>
                    <a:pt x="0" y="95"/>
                    <a:pt x="0" y="95"/>
                    <a:pt x="0" y="95"/>
                  </a:cubicBezTo>
                  <a:cubicBezTo>
                    <a:pt x="0" y="97"/>
                    <a:pt x="2" y="98"/>
                    <a:pt x="3" y="98"/>
                  </a:cubicBezTo>
                  <a:cubicBezTo>
                    <a:pt x="20" y="98"/>
                    <a:pt x="20" y="98"/>
                    <a:pt x="20" y="98"/>
                  </a:cubicBezTo>
                  <a:cubicBezTo>
                    <a:pt x="23" y="98"/>
                    <a:pt x="25" y="97"/>
                    <a:pt x="25" y="94"/>
                  </a:cubicBezTo>
                  <a:cubicBezTo>
                    <a:pt x="29" y="70"/>
                    <a:pt x="29" y="70"/>
                    <a:pt x="29" y="70"/>
                  </a:cubicBezTo>
                  <a:cubicBezTo>
                    <a:pt x="29" y="67"/>
                    <a:pt x="31" y="65"/>
                    <a:pt x="34" y="65"/>
                  </a:cubicBezTo>
                  <a:cubicBezTo>
                    <a:pt x="45" y="65"/>
                    <a:pt x="45" y="65"/>
                    <a:pt x="45" y="65"/>
                  </a:cubicBezTo>
                  <a:cubicBezTo>
                    <a:pt x="68" y="65"/>
                    <a:pt x="82" y="54"/>
                    <a:pt x="85" y="32"/>
                  </a:cubicBezTo>
                  <a:cubicBezTo>
                    <a:pt x="87" y="22"/>
                    <a:pt x="85" y="14"/>
                    <a:pt x="81" y="9"/>
                  </a:cubicBezTo>
                  <a:cubicBezTo>
                    <a:pt x="76" y="3"/>
                    <a:pt x="67" y="0"/>
                    <a:pt x="55" y="0"/>
                  </a:cubicBezTo>
                  <a:lnTo>
                    <a:pt x="20" y="0"/>
                  </a:lnTo>
                  <a:close/>
                  <a:moveTo>
                    <a:pt x="59" y="33"/>
                  </a:moveTo>
                  <a:cubicBezTo>
                    <a:pt x="57" y="46"/>
                    <a:pt x="47" y="46"/>
                    <a:pt x="38" y="46"/>
                  </a:cubicBezTo>
                  <a:cubicBezTo>
                    <a:pt x="33" y="46"/>
                    <a:pt x="33" y="46"/>
                    <a:pt x="33" y="46"/>
                  </a:cubicBezTo>
                  <a:cubicBezTo>
                    <a:pt x="36" y="22"/>
                    <a:pt x="36" y="22"/>
                    <a:pt x="36" y="22"/>
                  </a:cubicBezTo>
                  <a:cubicBezTo>
                    <a:pt x="37" y="21"/>
                    <a:pt x="38" y="20"/>
                    <a:pt x="39" y="20"/>
                  </a:cubicBezTo>
                  <a:cubicBezTo>
                    <a:pt x="42" y="20"/>
                    <a:pt x="42" y="20"/>
                    <a:pt x="42" y="20"/>
                  </a:cubicBezTo>
                  <a:cubicBezTo>
                    <a:pt x="48" y="20"/>
                    <a:pt x="54" y="20"/>
                    <a:pt x="57" y="23"/>
                  </a:cubicBezTo>
                  <a:cubicBezTo>
                    <a:pt x="59" y="25"/>
                    <a:pt x="60" y="29"/>
                    <a:pt x="59" y="33"/>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65" name="Freeform 174">
              <a:extLst>
                <a:ext uri="{FF2B5EF4-FFF2-40B4-BE49-F238E27FC236}">
                  <a16:creationId xmlns:a16="http://schemas.microsoft.com/office/drawing/2014/main" id="{7685F4B9-4AC1-433D-8D7D-28396D1DC2F8}"/>
                </a:ext>
              </a:extLst>
            </p:cNvPr>
            <p:cNvSpPr>
              <a:spLocks/>
            </p:cNvSpPr>
            <p:nvPr/>
          </p:nvSpPr>
          <p:spPr bwMode="auto">
            <a:xfrm>
              <a:off x="3595866" y="3382085"/>
              <a:ext cx="109746" cy="117699"/>
            </a:xfrm>
            <a:custGeom>
              <a:avLst/>
              <a:gdLst>
                <a:gd name="T0" fmla="*/ 34 w 56"/>
                <a:gd name="T1" fmla="*/ 41 h 60"/>
                <a:gd name="T2" fmla="*/ 45 w 56"/>
                <a:gd name="T3" fmla="*/ 41 h 60"/>
                <a:gd name="T4" fmla="*/ 45 w 56"/>
                <a:gd name="T5" fmla="*/ 51 h 60"/>
                <a:gd name="T6" fmla="*/ 43 w 56"/>
                <a:gd name="T7" fmla="*/ 53 h 60"/>
                <a:gd name="T8" fmla="*/ 32 w 56"/>
                <a:gd name="T9" fmla="*/ 54 h 60"/>
                <a:gd name="T10" fmla="*/ 10 w 56"/>
                <a:gd name="T11" fmla="*/ 32 h 60"/>
                <a:gd name="T12" fmla="*/ 22 w 56"/>
                <a:gd name="T13" fmla="*/ 7 h 60"/>
                <a:gd name="T14" fmla="*/ 37 w 56"/>
                <a:gd name="T15" fmla="*/ 6 h 60"/>
                <a:gd name="T16" fmla="*/ 46 w 56"/>
                <a:gd name="T17" fmla="*/ 12 h 60"/>
                <a:gd name="T18" fmla="*/ 44 w 56"/>
                <a:gd name="T19" fmla="*/ 15 h 60"/>
                <a:gd name="T20" fmla="*/ 48 w 56"/>
                <a:gd name="T21" fmla="*/ 14 h 60"/>
                <a:gd name="T22" fmla="*/ 53 w 56"/>
                <a:gd name="T23" fmla="*/ 9 h 60"/>
                <a:gd name="T24" fmla="*/ 17 w 56"/>
                <a:gd name="T25" fmla="*/ 5 h 60"/>
                <a:gd name="T26" fmla="*/ 0 w 56"/>
                <a:gd name="T27" fmla="*/ 29 h 60"/>
                <a:gd name="T28" fmla="*/ 13 w 56"/>
                <a:gd name="T29" fmla="*/ 53 h 60"/>
                <a:gd name="T30" fmla="*/ 54 w 56"/>
                <a:gd name="T31" fmla="*/ 53 h 60"/>
                <a:gd name="T32" fmla="*/ 54 w 56"/>
                <a:gd name="T33" fmla="*/ 52 h 60"/>
                <a:gd name="T34" fmla="*/ 54 w 56"/>
                <a:gd name="T35" fmla="*/ 52 h 60"/>
                <a:gd name="T36" fmla="*/ 54 w 56"/>
                <a:gd name="T37" fmla="*/ 41 h 60"/>
                <a:gd name="T38" fmla="*/ 56 w 56"/>
                <a:gd name="T39" fmla="*/ 38 h 60"/>
                <a:gd name="T40" fmla="*/ 40 w 56"/>
                <a:gd name="T41" fmla="*/ 38 h 60"/>
                <a:gd name="T42" fmla="*/ 34 w 56"/>
                <a:gd name="T43" fmla="*/ 41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6" h="60">
                  <a:moveTo>
                    <a:pt x="34" y="41"/>
                  </a:moveTo>
                  <a:cubicBezTo>
                    <a:pt x="45" y="41"/>
                    <a:pt x="45" y="41"/>
                    <a:pt x="45" y="41"/>
                  </a:cubicBezTo>
                  <a:cubicBezTo>
                    <a:pt x="45" y="51"/>
                    <a:pt x="45" y="51"/>
                    <a:pt x="45" y="51"/>
                  </a:cubicBezTo>
                  <a:cubicBezTo>
                    <a:pt x="45" y="52"/>
                    <a:pt x="45" y="52"/>
                    <a:pt x="43" y="53"/>
                  </a:cubicBezTo>
                  <a:cubicBezTo>
                    <a:pt x="40" y="54"/>
                    <a:pt x="36" y="54"/>
                    <a:pt x="32" y="54"/>
                  </a:cubicBezTo>
                  <a:cubicBezTo>
                    <a:pt x="21" y="53"/>
                    <a:pt x="12" y="44"/>
                    <a:pt x="10" y="32"/>
                  </a:cubicBezTo>
                  <a:cubicBezTo>
                    <a:pt x="8" y="22"/>
                    <a:pt x="13" y="11"/>
                    <a:pt x="22" y="7"/>
                  </a:cubicBezTo>
                  <a:cubicBezTo>
                    <a:pt x="26" y="5"/>
                    <a:pt x="31" y="4"/>
                    <a:pt x="37" y="6"/>
                  </a:cubicBezTo>
                  <a:cubicBezTo>
                    <a:pt x="40" y="7"/>
                    <a:pt x="43" y="9"/>
                    <a:pt x="46" y="12"/>
                  </a:cubicBezTo>
                  <a:cubicBezTo>
                    <a:pt x="44" y="15"/>
                    <a:pt x="44" y="15"/>
                    <a:pt x="44" y="15"/>
                  </a:cubicBezTo>
                  <a:cubicBezTo>
                    <a:pt x="48" y="14"/>
                    <a:pt x="48" y="14"/>
                    <a:pt x="48" y="14"/>
                  </a:cubicBezTo>
                  <a:cubicBezTo>
                    <a:pt x="53" y="9"/>
                    <a:pt x="53" y="9"/>
                    <a:pt x="53" y="9"/>
                  </a:cubicBezTo>
                  <a:cubicBezTo>
                    <a:pt x="44" y="1"/>
                    <a:pt x="27" y="0"/>
                    <a:pt x="17" y="5"/>
                  </a:cubicBezTo>
                  <a:cubicBezTo>
                    <a:pt x="7" y="10"/>
                    <a:pt x="0" y="19"/>
                    <a:pt x="0" y="29"/>
                  </a:cubicBezTo>
                  <a:cubicBezTo>
                    <a:pt x="0" y="40"/>
                    <a:pt x="6" y="49"/>
                    <a:pt x="13" y="53"/>
                  </a:cubicBezTo>
                  <a:cubicBezTo>
                    <a:pt x="24" y="60"/>
                    <a:pt x="42" y="59"/>
                    <a:pt x="54" y="53"/>
                  </a:cubicBezTo>
                  <a:cubicBezTo>
                    <a:pt x="54" y="52"/>
                    <a:pt x="54" y="52"/>
                    <a:pt x="54" y="52"/>
                  </a:cubicBezTo>
                  <a:cubicBezTo>
                    <a:pt x="54" y="52"/>
                    <a:pt x="54" y="52"/>
                    <a:pt x="54" y="52"/>
                  </a:cubicBezTo>
                  <a:cubicBezTo>
                    <a:pt x="54" y="41"/>
                    <a:pt x="54" y="41"/>
                    <a:pt x="54" y="41"/>
                  </a:cubicBezTo>
                  <a:cubicBezTo>
                    <a:pt x="56" y="38"/>
                    <a:pt x="56" y="38"/>
                    <a:pt x="56" y="38"/>
                  </a:cubicBezTo>
                  <a:cubicBezTo>
                    <a:pt x="40" y="38"/>
                    <a:pt x="40" y="38"/>
                    <a:pt x="40" y="38"/>
                  </a:cubicBezTo>
                  <a:lnTo>
                    <a:pt x="34" y="41"/>
                  </a:lnTo>
                  <a:close/>
                </a:path>
              </a:pathLst>
            </a:custGeom>
            <a:solidFill>
              <a:srgbClr val="CCCCC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66" name="Freeform 175">
              <a:extLst>
                <a:ext uri="{FF2B5EF4-FFF2-40B4-BE49-F238E27FC236}">
                  <a16:creationId xmlns:a16="http://schemas.microsoft.com/office/drawing/2014/main" id="{05AE1BA5-96E5-4C6B-A989-E7788CBDF9E9}"/>
                </a:ext>
              </a:extLst>
            </p:cNvPr>
            <p:cNvSpPr>
              <a:spLocks/>
            </p:cNvSpPr>
            <p:nvPr/>
          </p:nvSpPr>
          <p:spPr bwMode="auto">
            <a:xfrm>
              <a:off x="7618297" y="2375285"/>
              <a:ext cx="108156" cy="116108"/>
            </a:xfrm>
            <a:custGeom>
              <a:avLst/>
              <a:gdLst>
                <a:gd name="T0" fmla="*/ 34 w 56"/>
                <a:gd name="T1" fmla="*/ 41 h 60"/>
                <a:gd name="T2" fmla="*/ 45 w 56"/>
                <a:gd name="T3" fmla="*/ 41 h 60"/>
                <a:gd name="T4" fmla="*/ 45 w 56"/>
                <a:gd name="T5" fmla="*/ 51 h 60"/>
                <a:gd name="T6" fmla="*/ 43 w 56"/>
                <a:gd name="T7" fmla="*/ 53 h 60"/>
                <a:gd name="T8" fmla="*/ 32 w 56"/>
                <a:gd name="T9" fmla="*/ 54 h 60"/>
                <a:gd name="T10" fmla="*/ 9 w 56"/>
                <a:gd name="T11" fmla="*/ 32 h 60"/>
                <a:gd name="T12" fmla="*/ 21 w 56"/>
                <a:gd name="T13" fmla="*/ 7 h 60"/>
                <a:gd name="T14" fmla="*/ 36 w 56"/>
                <a:gd name="T15" fmla="*/ 6 h 60"/>
                <a:gd name="T16" fmla="*/ 46 w 56"/>
                <a:gd name="T17" fmla="*/ 12 h 60"/>
                <a:gd name="T18" fmla="*/ 44 w 56"/>
                <a:gd name="T19" fmla="*/ 15 h 60"/>
                <a:gd name="T20" fmla="*/ 48 w 56"/>
                <a:gd name="T21" fmla="*/ 14 h 60"/>
                <a:gd name="T22" fmla="*/ 53 w 56"/>
                <a:gd name="T23" fmla="*/ 9 h 60"/>
                <a:gd name="T24" fmla="*/ 17 w 56"/>
                <a:gd name="T25" fmla="*/ 5 h 60"/>
                <a:gd name="T26" fmla="*/ 0 w 56"/>
                <a:gd name="T27" fmla="*/ 29 h 60"/>
                <a:gd name="T28" fmla="*/ 13 w 56"/>
                <a:gd name="T29" fmla="*/ 53 h 60"/>
                <a:gd name="T30" fmla="*/ 53 w 56"/>
                <a:gd name="T31" fmla="*/ 53 h 60"/>
                <a:gd name="T32" fmla="*/ 53 w 56"/>
                <a:gd name="T33" fmla="*/ 52 h 60"/>
                <a:gd name="T34" fmla="*/ 53 w 56"/>
                <a:gd name="T35" fmla="*/ 52 h 60"/>
                <a:gd name="T36" fmla="*/ 53 w 56"/>
                <a:gd name="T37" fmla="*/ 41 h 60"/>
                <a:gd name="T38" fmla="*/ 56 w 56"/>
                <a:gd name="T39" fmla="*/ 38 h 60"/>
                <a:gd name="T40" fmla="*/ 40 w 56"/>
                <a:gd name="T41" fmla="*/ 38 h 60"/>
                <a:gd name="T42" fmla="*/ 34 w 56"/>
                <a:gd name="T43" fmla="*/ 41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6" h="60">
                  <a:moveTo>
                    <a:pt x="34" y="41"/>
                  </a:moveTo>
                  <a:cubicBezTo>
                    <a:pt x="45" y="41"/>
                    <a:pt x="45" y="41"/>
                    <a:pt x="45" y="41"/>
                  </a:cubicBezTo>
                  <a:cubicBezTo>
                    <a:pt x="45" y="51"/>
                    <a:pt x="45" y="51"/>
                    <a:pt x="45" y="51"/>
                  </a:cubicBezTo>
                  <a:cubicBezTo>
                    <a:pt x="45" y="52"/>
                    <a:pt x="45" y="52"/>
                    <a:pt x="43" y="53"/>
                  </a:cubicBezTo>
                  <a:cubicBezTo>
                    <a:pt x="40" y="54"/>
                    <a:pt x="36" y="54"/>
                    <a:pt x="32" y="54"/>
                  </a:cubicBezTo>
                  <a:cubicBezTo>
                    <a:pt x="21" y="53"/>
                    <a:pt x="12" y="44"/>
                    <a:pt x="9" y="32"/>
                  </a:cubicBezTo>
                  <a:cubicBezTo>
                    <a:pt x="7" y="22"/>
                    <a:pt x="13" y="11"/>
                    <a:pt x="21" y="7"/>
                  </a:cubicBezTo>
                  <a:cubicBezTo>
                    <a:pt x="26" y="5"/>
                    <a:pt x="31" y="4"/>
                    <a:pt x="36" y="6"/>
                  </a:cubicBezTo>
                  <a:cubicBezTo>
                    <a:pt x="40" y="7"/>
                    <a:pt x="43" y="9"/>
                    <a:pt x="46" y="12"/>
                  </a:cubicBezTo>
                  <a:cubicBezTo>
                    <a:pt x="44" y="15"/>
                    <a:pt x="44" y="15"/>
                    <a:pt x="44" y="15"/>
                  </a:cubicBezTo>
                  <a:cubicBezTo>
                    <a:pt x="48" y="14"/>
                    <a:pt x="48" y="14"/>
                    <a:pt x="48" y="14"/>
                  </a:cubicBezTo>
                  <a:cubicBezTo>
                    <a:pt x="53" y="9"/>
                    <a:pt x="53" y="9"/>
                    <a:pt x="53" y="9"/>
                  </a:cubicBezTo>
                  <a:cubicBezTo>
                    <a:pt x="44" y="1"/>
                    <a:pt x="27" y="0"/>
                    <a:pt x="17" y="5"/>
                  </a:cubicBezTo>
                  <a:cubicBezTo>
                    <a:pt x="7" y="10"/>
                    <a:pt x="0" y="19"/>
                    <a:pt x="0" y="29"/>
                  </a:cubicBezTo>
                  <a:cubicBezTo>
                    <a:pt x="0" y="40"/>
                    <a:pt x="6" y="49"/>
                    <a:pt x="13" y="53"/>
                  </a:cubicBezTo>
                  <a:cubicBezTo>
                    <a:pt x="23" y="60"/>
                    <a:pt x="42" y="59"/>
                    <a:pt x="53" y="53"/>
                  </a:cubicBezTo>
                  <a:cubicBezTo>
                    <a:pt x="53" y="52"/>
                    <a:pt x="53" y="52"/>
                    <a:pt x="53" y="52"/>
                  </a:cubicBezTo>
                  <a:cubicBezTo>
                    <a:pt x="53" y="52"/>
                    <a:pt x="53" y="52"/>
                    <a:pt x="53" y="52"/>
                  </a:cubicBezTo>
                  <a:cubicBezTo>
                    <a:pt x="53" y="41"/>
                    <a:pt x="53" y="41"/>
                    <a:pt x="53" y="41"/>
                  </a:cubicBezTo>
                  <a:cubicBezTo>
                    <a:pt x="56" y="38"/>
                    <a:pt x="56" y="38"/>
                    <a:pt x="56" y="38"/>
                  </a:cubicBezTo>
                  <a:cubicBezTo>
                    <a:pt x="40" y="38"/>
                    <a:pt x="40" y="38"/>
                    <a:pt x="40" y="38"/>
                  </a:cubicBezTo>
                  <a:lnTo>
                    <a:pt x="34" y="41"/>
                  </a:lnTo>
                  <a:close/>
                </a:path>
              </a:pathLst>
            </a:custGeom>
            <a:solidFill>
              <a:srgbClr val="CCCCC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67" name="Freeform 176">
              <a:extLst>
                <a:ext uri="{FF2B5EF4-FFF2-40B4-BE49-F238E27FC236}">
                  <a16:creationId xmlns:a16="http://schemas.microsoft.com/office/drawing/2014/main" id="{1D338940-910F-4216-9173-607D8AD8CD58}"/>
                </a:ext>
              </a:extLst>
            </p:cNvPr>
            <p:cNvSpPr>
              <a:spLocks/>
            </p:cNvSpPr>
            <p:nvPr/>
          </p:nvSpPr>
          <p:spPr bwMode="auto">
            <a:xfrm>
              <a:off x="6772139" y="3641340"/>
              <a:ext cx="108156" cy="119289"/>
            </a:xfrm>
            <a:custGeom>
              <a:avLst/>
              <a:gdLst>
                <a:gd name="T0" fmla="*/ 34 w 56"/>
                <a:gd name="T1" fmla="*/ 41 h 61"/>
                <a:gd name="T2" fmla="*/ 46 w 56"/>
                <a:gd name="T3" fmla="*/ 41 h 61"/>
                <a:gd name="T4" fmla="*/ 46 w 56"/>
                <a:gd name="T5" fmla="*/ 51 h 61"/>
                <a:gd name="T6" fmla="*/ 43 w 56"/>
                <a:gd name="T7" fmla="*/ 53 h 61"/>
                <a:gd name="T8" fmla="*/ 33 w 56"/>
                <a:gd name="T9" fmla="*/ 54 h 61"/>
                <a:gd name="T10" fmla="*/ 10 w 56"/>
                <a:gd name="T11" fmla="*/ 33 h 61"/>
                <a:gd name="T12" fmla="*/ 22 w 56"/>
                <a:gd name="T13" fmla="*/ 8 h 61"/>
                <a:gd name="T14" fmla="*/ 37 w 56"/>
                <a:gd name="T15" fmla="*/ 6 h 61"/>
                <a:gd name="T16" fmla="*/ 46 w 56"/>
                <a:gd name="T17" fmla="*/ 12 h 61"/>
                <a:gd name="T18" fmla="*/ 44 w 56"/>
                <a:gd name="T19" fmla="*/ 15 h 61"/>
                <a:gd name="T20" fmla="*/ 48 w 56"/>
                <a:gd name="T21" fmla="*/ 14 h 61"/>
                <a:gd name="T22" fmla="*/ 54 w 56"/>
                <a:gd name="T23" fmla="*/ 9 h 61"/>
                <a:gd name="T24" fmla="*/ 17 w 56"/>
                <a:gd name="T25" fmla="*/ 6 h 61"/>
                <a:gd name="T26" fmla="*/ 0 w 56"/>
                <a:gd name="T27" fmla="*/ 30 h 61"/>
                <a:gd name="T28" fmla="*/ 13 w 56"/>
                <a:gd name="T29" fmla="*/ 53 h 61"/>
                <a:gd name="T30" fmla="*/ 54 w 56"/>
                <a:gd name="T31" fmla="*/ 53 h 61"/>
                <a:gd name="T32" fmla="*/ 54 w 56"/>
                <a:gd name="T33" fmla="*/ 52 h 61"/>
                <a:gd name="T34" fmla="*/ 54 w 56"/>
                <a:gd name="T35" fmla="*/ 52 h 61"/>
                <a:gd name="T36" fmla="*/ 54 w 56"/>
                <a:gd name="T37" fmla="*/ 41 h 61"/>
                <a:gd name="T38" fmla="*/ 56 w 56"/>
                <a:gd name="T39" fmla="*/ 38 h 61"/>
                <a:gd name="T40" fmla="*/ 40 w 56"/>
                <a:gd name="T41" fmla="*/ 38 h 61"/>
                <a:gd name="T42" fmla="*/ 34 w 56"/>
                <a:gd name="T43" fmla="*/ 4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6" h="61">
                  <a:moveTo>
                    <a:pt x="34" y="41"/>
                  </a:moveTo>
                  <a:cubicBezTo>
                    <a:pt x="46" y="41"/>
                    <a:pt x="46" y="41"/>
                    <a:pt x="46" y="41"/>
                  </a:cubicBezTo>
                  <a:cubicBezTo>
                    <a:pt x="46" y="51"/>
                    <a:pt x="46" y="51"/>
                    <a:pt x="46" y="51"/>
                  </a:cubicBezTo>
                  <a:cubicBezTo>
                    <a:pt x="46" y="52"/>
                    <a:pt x="46" y="53"/>
                    <a:pt x="43" y="53"/>
                  </a:cubicBezTo>
                  <a:cubicBezTo>
                    <a:pt x="40" y="54"/>
                    <a:pt x="36" y="54"/>
                    <a:pt x="33" y="54"/>
                  </a:cubicBezTo>
                  <a:cubicBezTo>
                    <a:pt x="21" y="53"/>
                    <a:pt x="12" y="44"/>
                    <a:pt x="10" y="33"/>
                  </a:cubicBezTo>
                  <a:cubicBezTo>
                    <a:pt x="8" y="22"/>
                    <a:pt x="13" y="12"/>
                    <a:pt x="22" y="8"/>
                  </a:cubicBezTo>
                  <a:cubicBezTo>
                    <a:pt x="26" y="5"/>
                    <a:pt x="31" y="5"/>
                    <a:pt x="37" y="6"/>
                  </a:cubicBezTo>
                  <a:cubicBezTo>
                    <a:pt x="40" y="7"/>
                    <a:pt x="44" y="9"/>
                    <a:pt x="46" y="12"/>
                  </a:cubicBezTo>
                  <a:cubicBezTo>
                    <a:pt x="44" y="15"/>
                    <a:pt x="44" y="15"/>
                    <a:pt x="44" y="15"/>
                  </a:cubicBezTo>
                  <a:cubicBezTo>
                    <a:pt x="48" y="14"/>
                    <a:pt x="48" y="14"/>
                    <a:pt x="48" y="14"/>
                  </a:cubicBezTo>
                  <a:cubicBezTo>
                    <a:pt x="54" y="9"/>
                    <a:pt x="54" y="9"/>
                    <a:pt x="54" y="9"/>
                  </a:cubicBezTo>
                  <a:cubicBezTo>
                    <a:pt x="44" y="1"/>
                    <a:pt x="28" y="0"/>
                    <a:pt x="17" y="6"/>
                  </a:cubicBezTo>
                  <a:cubicBezTo>
                    <a:pt x="8" y="10"/>
                    <a:pt x="1" y="19"/>
                    <a:pt x="0" y="30"/>
                  </a:cubicBezTo>
                  <a:cubicBezTo>
                    <a:pt x="0" y="41"/>
                    <a:pt x="7" y="49"/>
                    <a:pt x="13" y="53"/>
                  </a:cubicBezTo>
                  <a:cubicBezTo>
                    <a:pt x="24" y="61"/>
                    <a:pt x="43" y="59"/>
                    <a:pt x="54" y="53"/>
                  </a:cubicBezTo>
                  <a:cubicBezTo>
                    <a:pt x="54" y="52"/>
                    <a:pt x="54" y="52"/>
                    <a:pt x="54" y="52"/>
                  </a:cubicBezTo>
                  <a:cubicBezTo>
                    <a:pt x="54" y="52"/>
                    <a:pt x="54" y="52"/>
                    <a:pt x="54" y="52"/>
                  </a:cubicBezTo>
                  <a:cubicBezTo>
                    <a:pt x="54" y="41"/>
                    <a:pt x="54" y="41"/>
                    <a:pt x="54" y="41"/>
                  </a:cubicBezTo>
                  <a:cubicBezTo>
                    <a:pt x="56" y="38"/>
                    <a:pt x="56" y="38"/>
                    <a:pt x="56" y="38"/>
                  </a:cubicBezTo>
                  <a:cubicBezTo>
                    <a:pt x="40" y="38"/>
                    <a:pt x="40" y="38"/>
                    <a:pt x="40" y="38"/>
                  </a:cubicBezTo>
                  <a:lnTo>
                    <a:pt x="34" y="41"/>
                  </a:lnTo>
                  <a:close/>
                </a:path>
              </a:pathLst>
            </a:custGeom>
            <a:solidFill>
              <a:srgbClr val="CCCCC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68" name="Freeform 177">
              <a:extLst>
                <a:ext uri="{FF2B5EF4-FFF2-40B4-BE49-F238E27FC236}">
                  <a16:creationId xmlns:a16="http://schemas.microsoft.com/office/drawing/2014/main" id="{C63F5F0F-BF49-46A5-8E33-1F7D441477B0}"/>
                </a:ext>
              </a:extLst>
            </p:cNvPr>
            <p:cNvSpPr>
              <a:spLocks/>
            </p:cNvSpPr>
            <p:nvPr/>
          </p:nvSpPr>
          <p:spPr bwMode="auto">
            <a:xfrm>
              <a:off x="7281106" y="3205537"/>
              <a:ext cx="111336" cy="119289"/>
            </a:xfrm>
            <a:custGeom>
              <a:avLst/>
              <a:gdLst>
                <a:gd name="T0" fmla="*/ 34 w 57"/>
                <a:gd name="T1" fmla="*/ 41 h 61"/>
                <a:gd name="T2" fmla="*/ 46 w 57"/>
                <a:gd name="T3" fmla="*/ 41 h 61"/>
                <a:gd name="T4" fmla="*/ 46 w 57"/>
                <a:gd name="T5" fmla="*/ 51 h 61"/>
                <a:gd name="T6" fmla="*/ 44 w 57"/>
                <a:gd name="T7" fmla="*/ 53 h 61"/>
                <a:gd name="T8" fmla="*/ 33 w 57"/>
                <a:gd name="T9" fmla="*/ 54 h 61"/>
                <a:gd name="T10" fmla="*/ 10 w 57"/>
                <a:gd name="T11" fmla="*/ 33 h 61"/>
                <a:gd name="T12" fmla="*/ 22 w 57"/>
                <a:gd name="T13" fmla="*/ 8 h 61"/>
                <a:gd name="T14" fmla="*/ 37 w 57"/>
                <a:gd name="T15" fmla="*/ 6 h 61"/>
                <a:gd name="T16" fmla="*/ 47 w 57"/>
                <a:gd name="T17" fmla="*/ 12 h 61"/>
                <a:gd name="T18" fmla="*/ 45 w 57"/>
                <a:gd name="T19" fmla="*/ 15 h 61"/>
                <a:gd name="T20" fmla="*/ 48 w 57"/>
                <a:gd name="T21" fmla="*/ 14 h 61"/>
                <a:gd name="T22" fmla="*/ 54 w 57"/>
                <a:gd name="T23" fmla="*/ 9 h 61"/>
                <a:gd name="T24" fmla="*/ 17 w 57"/>
                <a:gd name="T25" fmla="*/ 6 h 61"/>
                <a:gd name="T26" fmla="*/ 1 w 57"/>
                <a:gd name="T27" fmla="*/ 30 h 61"/>
                <a:gd name="T28" fmla="*/ 13 w 57"/>
                <a:gd name="T29" fmla="*/ 53 h 61"/>
                <a:gd name="T30" fmla="*/ 54 w 57"/>
                <a:gd name="T31" fmla="*/ 53 h 61"/>
                <a:gd name="T32" fmla="*/ 54 w 57"/>
                <a:gd name="T33" fmla="*/ 52 h 61"/>
                <a:gd name="T34" fmla="*/ 54 w 57"/>
                <a:gd name="T35" fmla="*/ 52 h 61"/>
                <a:gd name="T36" fmla="*/ 54 w 57"/>
                <a:gd name="T37" fmla="*/ 41 h 61"/>
                <a:gd name="T38" fmla="*/ 57 w 57"/>
                <a:gd name="T39" fmla="*/ 38 h 61"/>
                <a:gd name="T40" fmla="*/ 40 w 57"/>
                <a:gd name="T41" fmla="*/ 38 h 61"/>
                <a:gd name="T42" fmla="*/ 34 w 57"/>
                <a:gd name="T43" fmla="*/ 4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7" h="61">
                  <a:moveTo>
                    <a:pt x="34" y="41"/>
                  </a:moveTo>
                  <a:cubicBezTo>
                    <a:pt x="46" y="41"/>
                    <a:pt x="46" y="41"/>
                    <a:pt x="46" y="41"/>
                  </a:cubicBezTo>
                  <a:cubicBezTo>
                    <a:pt x="46" y="51"/>
                    <a:pt x="46" y="51"/>
                    <a:pt x="46" y="51"/>
                  </a:cubicBezTo>
                  <a:cubicBezTo>
                    <a:pt x="46" y="52"/>
                    <a:pt x="46" y="53"/>
                    <a:pt x="44" y="53"/>
                  </a:cubicBezTo>
                  <a:cubicBezTo>
                    <a:pt x="40" y="54"/>
                    <a:pt x="37" y="54"/>
                    <a:pt x="33" y="54"/>
                  </a:cubicBezTo>
                  <a:cubicBezTo>
                    <a:pt x="21" y="53"/>
                    <a:pt x="12" y="44"/>
                    <a:pt x="10" y="33"/>
                  </a:cubicBezTo>
                  <a:cubicBezTo>
                    <a:pt x="8" y="22"/>
                    <a:pt x="13" y="12"/>
                    <a:pt x="22" y="8"/>
                  </a:cubicBezTo>
                  <a:cubicBezTo>
                    <a:pt x="26" y="5"/>
                    <a:pt x="32" y="5"/>
                    <a:pt x="37" y="6"/>
                  </a:cubicBezTo>
                  <a:cubicBezTo>
                    <a:pt x="41" y="7"/>
                    <a:pt x="44" y="9"/>
                    <a:pt x="47" y="12"/>
                  </a:cubicBezTo>
                  <a:cubicBezTo>
                    <a:pt x="45" y="15"/>
                    <a:pt x="45" y="15"/>
                    <a:pt x="45" y="15"/>
                  </a:cubicBezTo>
                  <a:cubicBezTo>
                    <a:pt x="48" y="14"/>
                    <a:pt x="48" y="14"/>
                    <a:pt x="48" y="14"/>
                  </a:cubicBezTo>
                  <a:cubicBezTo>
                    <a:pt x="54" y="9"/>
                    <a:pt x="54" y="9"/>
                    <a:pt x="54" y="9"/>
                  </a:cubicBezTo>
                  <a:cubicBezTo>
                    <a:pt x="44" y="1"/>
                    <a:pt x="28" y="0"/>
                    <a:pt x="17" y="6"/>
                  </a:cubicBezTo>
                  <a:cubicBezTo>
                    <a:pt x="8" y="10"/>
                    <a:pt x="1" y="19"/>
                    <a:pt x="1" y="30"/>
                  </a:cubicBezTo>
                  <a:cubicBezTo>
                    <a:pt x="0" y="41"/>
                    <a:pt x="7" y="49"/>
                    <a:pt x="13" y="53"/>
                  </a:cubicBezTo>
                  <a:cubicBezTo>
                    <a:pt x="24" y="61"/>
                    <a:pt x="43" y="59"/>
                    <a:pt x="54" y="53"/>
                  </a:cubicBezTo>
                  <a:cubicBezTo>
                    <a:pt x="54" y="52"/>
                    <a:pt x="54" y="52"/>
                    <a:pt x="54" y="52"/>
                  </a:cubicBezTo>
                  <a:cubicBezTo>
                    <a:pt x="54" y="52"/>
                    <a:pt x="54" y="52"/>
                    <a:pt x="54" y="52"/>
                  </a:cubicBezTo>
                  <a:cubicBezTo>
                    <a:pt x="54" y="41"/>
                    <a:pt x="54" y="41"/>
                    <a:pt x="54" y="41"/>
                  </a:cubicBezTo>
                  <a:cubicBezTo>
                    <a:pt x="57" y="38"/>
                    <a:pt x="57" y="38"/>
                    <a:pt x="57" y="38"/>
                  </a:cubicBezTo>
                  <a:cubicBezTo>
                    <a:pt x="40" y="38"/>
                    <a:pt x="40" y="38"/>
                    <a:pt x="40" y="38"/>
                  </a:cubicBezTo>
                  <a:lnTo>
                    <a:pt x="34" y="41"/>
                  </a:lnTo>
                  <a:close/>
                </a:path>
              </a:pathLst>
            </a:custGeom>
            <a:solidFill>
              <a:srgbClr val="CCCCC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69" name="Freeform 178">
              <a:extLst>
                <a:ext uri="{FF2B5EF4-FFF2-40B4-BE49-F238E27FC236}">
                  <a16:creationId xmlns:a16="http://schemas.microsoft.com/office/drawing/2014/main" id="{B649842D-1349-433B-ACB8-790DF4B8C3A7}"/>
                </a:ext>
              </a:extLst>
            </p:cNvPr>
            <p:cNvSpPr>
              <a:spLocks/>
            </p:cNvSpPr>
            <p:nvPr/>
          </p:nvSpPr>
          <p:spPr bwMode="auto">
            <a:xfrm>
              <a:off x="6465168" y="2114439"/>
              <a:ext cx="109746" cy="119289"/>
            </a:xfrm>
            <a:custGeom>
              <a:avLst/>
              <a:gdLst>
                <a:gd name="T0" fmla="*/ 34 w 56"/>
                <a:gd name="T1" fmla="*/ 41 h 61"/>
                <a:gd name="T2" fmla="*/ 45 w 56"/>
                <a:gd name="T3" fmla="*/ 41 h 61"/>
                <a:gd name="T4" fmla="*/ 45 w 56"/>
                <a:gd name="T5" fmla="*/ 51 h 61"/>
                <a:gd name="T6" fmla="*/ 43 w 56"/>
                <a:gd name="T7" fmla="*/ 53 h 61"/>
                <a:gd name="T8" fmla="*/ 32 w 56"/>
                <a:gd name="T9" fmla="*/ 54 h 61"/>
                <a:gd name="T10" fmla="*/ 10 w 56"/>
                <a:gd name="T11" fmla="*/ 33 h 61"/>
                <a:gd name="T12" fmla="*/ 22 w 56"/>
                <a:gd name="T13" fmla="*/ 8 h 61"/>
                <a:gd name="T14" fmla="*/ 37 w 56"/>
                <a:gd name="T15" fmla="*/ 6 h 61"/>
                <a:gd name="T16" fmla="*/ 46 w 56"/>
                <a:gd name="T17" fmla="*/ 12 h 61"/>
                <a:gd name="T18" fmla="*/ 44 w 56"/>
                <a:gd name="T19" fmla="*/ 15 h 61"/>
                <a:gd name="T20" fmla="*/ 48 w 56"/>
                <a:gd name="T21" fmla="*/ 14 h 61"/>
                <a:gd name="T22" fmla="*/ 53 w 56"/>
                <a:gd name="T23" fmla="*/ 9 h 61"/>
                <a:gd name="T24" fmla="*/ 17 w 56"/>
                <a:gd name="T25" fmla="*/ 6 h 61"/>
                <a:gd name="T26" fmla="*/ 0 w 56"/>
                <a:gd name="T27" fmla="*/ 30 h 61"/>
                <a:gd name="T28" fmla="*/ 13 w 56"/>
                <a:gd name="T29" fmla="*/ 53 h 61"/>
                <a:gd name="T30" fmla="*/ 54 w 56"/>
                <a:gd name="T31" fmla="*/ 53 h 61"/>
                <a:gd name="T32" fmla="*/ 54 w 56"/>
                <a:gd name="T33" fmla="*/ 52 h 61"/>
                <a:gd name="T34" fmla="*/ 54 w 56"/>
                <a:gd name="T35" fmla="*/ 52 h 61"/>
                <a:gd name="T36" fmla="*/ 54 w 56"/>
                <a:gd name="T37" fmla="*/ 41 h 61"/>
                <a:gd name="T38" fmla="*/ 56 w 56"/>
                <a:gd name="T39" fmla="*/ 38 h 61"/>
                <a:gd name="T40" fmla="*/ 40 w 56"/>
                <a:gd name="T41" fmla="*/ 38 h 61"/>
                <a:gd name="T42" fmla="*/ 34 w 56"/>
                <a:gd name="T43" fmla="*/ 4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6" h="61">
                  <a:moveTo>
                    <a:pt x="34" y="41"/>
                  </a:moveTo>
                  <a:cubicBezTo>
                    <a:pt x="45" y="41"/>
                    <a:pt x="45" y="41"/>
                    <a:pt x="45" y="41"/>
                  </a:cubicBezTo>
                  <a:cubicBezTo>
                    <a:pt x="45" y="51"/>
                    <a:pt x="45" y="51"/>
                    <a:pt x="45" y="51"/>
                  </a:cubicBezTo>
                  <a:cubicBezTo>
                    <a:pt x="45" y="52"/>
                    <a:pt x="45" y="53"/>
                    <a:pt x="43" y="53"/>
                  </a:cubicBezTo>
                  <a:cubicBezTo>
                    <a:pt x="40" y="54"/>
                    <a:pt x="36" y="54"/>
                    <a:pt x="32" y="54"/>
                  </a:cubicBezTo>
                  <a:cubicBezTo>
                    <a:pt x="21" y="53"/>
                    <a:pt x="12" y="44"/>
                    <a:pt x="10" y="33"/>
                  </a:cubicBezTo>
                  <a:cubicBezTo>
                    <a:pt x="8" y="22"/>
                    <a:pt x="13" y="12"/>
                    <a:pt x="22" y="8"/>
                  </a:cubicBezTo>
                  <a:cubicBezTo>
                    <a:pt x="26" y="5"/>
                    <a:pt x="31" y="5"/>
                    <a:pt x="37" y="6"/>
                  </a:cubicBezTo>
                  <a:cubicBezTo>
                    <a:pt x="40" y="7"/>
                    <a:pt x="43" y="9"/>
                    <a:pt x="46" y="12"/>
                  </a:cubicBezTo>
                  <a:cubicBezTo>
                    <a:pt x="44" y="15"/>
                    <a:pt x="44" y="15"/>
                    <a:pt x="44" y="15"/>
                  </a:cubicBezTo>
                  <a:cubicBezTo>
                    <a:pt x="48" y="14"/>
                    <a:pt x="48" y="14"/>
                    <a:pt x="48" y="14"/>
                  </a:cubicBezTo>
                  <a:cubicBezTo>
                    <a:pt x="53" y="9"/>
                    <a:pt x="53" y="9"/>
                    <a:pt x="53" y="9"/>
                  </a:cubicBezTo>
                  <a:cubicBezTo>
                    <a:pt x="44" y="1"/>
                    <a:pt x="27" y="0"/>
                    <a:pt x="17" y="6"/>
                  </a:cubicBezTo>
                  <a:cubicBezTo>
                    <a:pt x="7" y="10"/>
                    <a:pt x="1" y="19"/>
                    <a:pt x="0" y="30"/>
                  </a:cubicBezTo>
                  <a:cubicBezTo>
                    <a:pt x="0" y="41"/>
                    <a:pt x="6" y="49"/>
                    <a:pt x="13" y="53"/>
                  </a:cubicBezTo>
                  <a:cubicBezTo>
                    <a:pt x="24" y="61"/>
                    <a:pt x="42" y="59"/>
                    <a:pt x="54" y="53"/>
                  </a:cubicBezTo>
                  <a:cubicBezTo>
                    <a:pt x="54" y="52"/>
                    <a:pt x="54" y="52"/>
                    <a:pt x="54" y="52"/>
                  </a:cubicBezTo>
                  <a:cubicBezTo>
                    <a:pt x="54" y="52"/>
                    <a:pt x="54" y="52"/>
                    <a:pt x="54" y="52"/>
                  </a:cubicBezTo>
                  <a:cubicBezTo>
                    <a:pt x="54" y="41"/>
                    <a:pt x="54" y="41"/>
                    <a:pt x="54" y="41"/>
                  </a:cubicBezTo>
                  <a:cubicBezTo>
                    <a:pt x="56" y="38"/>
                    <a:pt x="56" y="38"/>
                    <a:pt x="56" y="38"/>
                  </a:cubicBezTo>
                  <a:cubicBezTo>
                    <a:pt x="40" y="38"/>
                    <a:pt x="40" y="38"/>
                    <a:pt x="40" y="38"/>
                  </a:cubicBezTo>
                  <a:lnTo>
                    <a:pt x="34" y="41"/>
                  </a:lnTo>
                  <a:close/>
                </a:path>
              </a:pathLst>
            </a:custGeom>
            <a:solidFill>
              <a:srgbClr val="CCCCC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70" name="Freeform 179">
              <a:extLst>
                <a:ext uri="{FF2B5EF4-FFF2-40B4-BE49-F238E27FC236}">
                  <a16:creationId xmlns:a16="http://schemas.microsoft.com/office/drawing/2014/main" id="{ED8AFA0A-667D-458C-A3B1-C0CDFBA5B841}"/>
                </a:ext>
              </a:extLst>
            </p:cNvPr>
            <p:cNvSpPr>
              <a:spLocks/>
            </p:cNvSpPr>
            <p:nvPr/>
          </p:nvSpPr>
          <p:spPr bwMode="auto">
            <a:xfrm>
              <a:off x="6185237" y="1864727"/>
              <a:ext cx="108156" cy="119289"/>
            </a:xfrm>
            <a:custGeom>
              <a:avLst/>
              <a:gdLst>
                <a:gd name="T0" fmla="*/ 34 w 56"/>
                <a:gd name="T1" fmla="*/ 41 h 61"/>
                <a:gd name="T2" fmla="*/ 45 w 56"/>
                <a:gd name="T3" fmla="*/ 41 h 61"/>
                <a:gd name="T4" fmla="*/ 45 w 56"/>
                <a:gd name="T5" fmla="*/ 51 h 61"/>
                <a:gd name="T6" fmla="*/ 43 w 56"/>
                <a:gd name="T7" fmla="*/ 53 h 61"/>
                <a:gd name="T8" fmla="*/ 32 w 56"/>
                <a:gd name="T9" fmla="*/ 54 h 61"/>
                <a:gd name="T10" fmla="*/ 10 w 56"/>
                <a:gd name="T11" fmla="*/ 33 h 61"/>
                <a:gd name="T12" fmla="*/ 22 w 56"/>
                <a:gd name="T13" fmla="*/ 8 h 61"/>
                <a:gd name="T14" fmla="*/ 37 w 56"/>
                <a:gd name="T15" fmla="*/ 6 h 61"/>
                <a:gd name="T16" fmla="*/ 46 w 56"/>
                <a:gd name="T17" fmla="*/ 12 h 61"/>
                <a:gd name="T18" fmla="*/ 44 w 56"/>
                <a:gd name="T19" fmla="*/ 15 h 61"/>
                <a:gd name="T20" fmla="*/ 48 w 56"/>
                <a:gd name="T21" fmla="*/ 14 h 61"/>
                <a:gd name="T22" fmla="*/ 53 w 56"/>
                <a:gd name="T23" fmla="*/ 9 h 61"/>
                <a:gd name="T24" fmla="*/ 17 w 56"/>
                <a:gd name="T25" fmla="*/ 6 h 61"/>
                <a:gd name="T26" fmla="*/ 0 w 56"/>
                <a:gd name="T27" fmla="*/ 30 h 61"/>
                <a:gd name="T28" fmla="*/ 13 w 56"/>
                <a:gd name="T29" fmla="*/ 53 h 61"/>
                <a:gd name="T30" fmla="*/ 54 w 56"/>
                <a:gd name="T31" fmla="*/ 53 h 61"/>
                <a:gd name="T32" fmla="*/ 54 w 56"/>
                <a:gd name="T33" fmla="*/ 52 h 61"/>
                <a:gd name="T34" fmla="*/ 54 w 56"/>
                <a:gd name="T35" fmla="*/ 52 h 61"/>
                <a:gd name="T36" fmla="*/ 54 w 56"/>
                <a:gd name="T37" fmla="*/ 41 h 61"/>
                <a:gd name="T38" fmla="*/ 56 w 56"/>
                <a:gd name="T39" fmla="*/ 38 h 61"/>
                <a:gd name="T40" fmla="*/ 40 w 56"/>
                <a:gd name="T41" fmla="*/ 38 h 61"/>
                <a:gd name="T42" fmla="*/ 34 w 56"/>
                <a:gd name="T43" fmla="*/ 4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6" h="61">
                  <a:moveTo>
                    <a:pt x="34" y="41"/>
                  </a:moveTo>
                  <a:cubicBezTo>
                    <a:pt x="45" y="41"/>
                    <a:pt x="45" y="41"/>
                    <a:pt x="45" y="41"/>
                  </a:cubicBezTo>
                  <a:cubicBezTo>
                    <a:pt x="45" y="51"/>
                    <a:pt x="45" y="51"/>
                    <a:pt x="45" y="51"/>
                  </a:cubicBezTo>
                  <a:cubicBezTo>
                    <a:pt x="45" y="52"/>
                    <a:pt x="45" y="53"/>
                    <a:pt x="43" y="53"/>
                  </a:cubicBezTo>
                  <a:cubicBezTo>
                    <a:pt x="40" y="54"/>
                    <a:pt x="36" y="54"/>
                    <a:pt x="32" y="54"/>
                  </a:cubicBezTo>
                  <a:cubicBezTo>
                    <a:pt x="21" y="53"/>
                    <a:pt x="12" y="44"/>
                    <a:pt x="10" y="33"/>
                  </a:cubicBezTo>
                  <a:cubicBezTo>
                    <a:pt x="8" y="22"/>
                    <a:pt x="13" y="12"/>
                    <a:pt x="22" y="8"/>
                  </a:cubicBezTo>
                  <a:cubicBezTo>
                    <a:pt x="26" y="5"/>
                    <a:pt x="31" y="5"/>
                    <a:pt x="37" y="6"/>
                  </a:cubicBezTo>
                  <a:cubicBezTo>
                    <a:pt x="40" y="7"/>
                    <a:pt x="43" y="9"/>
                    <a:pt x="46" y="12"/>
                  </a:cubicBezTo>
                  <a:cubicBezTo>
                    <a:pt x="44" y="15"/>
                    <a:pt x="44" y="15"/>
                    <a:pt x="44" y="15"/>
                  </a:cubicBezTo>
                  <a:cubicBezTo>
                    <a:pt x="48" y="14"/>
                    <a:pt x="48" y="14"/>
                    <a:pt x="48" y="14"/>
                  </a:cubicBezTo>
                  <a:cubicBezTo>
                    <a:pt x="53" y="9"/>
                    <a:pt x="53" y="9"/>
                    <a:pt x="53" y="9"/>
                  </a:cubicBezTo>
                  <a:cubicBezTo>
                    <a:pt x="44" y="1"/>
                    <a:pt x="27" y="0"/>
                    <a:pt x="17" y="6"/>
                  </a:cubicBezTo>
                  <a:cubicBezTo>
                    <a:pt x="7" y="10"/>
                    <a:pt x="1" y="19"/>
                    <a:pt x="0" y="30"/>
                  </a:cubicBezTo>
                  <a:cubicBezTo>
                    <a:pt x="0" y="41"/>
                    <a:pt x="6" y="49"/>
                    <a:pt x="13" y="53"/>
                  </a:cubicBezTo>
                  <a:cubicBezTo>
                    <a:pt x="24" y="61"/>
                    <a:pt x="42" y="59"/>
                    <a:pt x="54" y="53"/>
                  </a:cubicBezTo>
                  <a:cubicBezTo>
                    <a:pt x="54" y="52"/>
                    <a:pt x="54" y="52"/>
                    <a:pt x="54" y="52"/>
                  </a:cubicBezTo>
                  <a:cubicBezTo>
                    <a:pt x="54" y="52"/>
                    <a:pt x="54" y="52"/>
                    <a:pt x="54" y="52"/>
                  </a:cubicBezTo>
                  <a:cubicBezTo>
                    <a:pt x="54" y="41"/>
                    <a:pt x="54" y="41"/>
                    <a:pt x="54" y="41"/>
                  </a:cubicBezTo>
                  <a:cubicBezTo>
                    <a:pt x="56" y="38"/>
                    <a:pt x="56" y="38"/>
                    <a:pt x="56" y="38"/>
                  </a:cubicBezTo>
                  <a:cubicBezTo>
                    <a:pt x="40" y="38"/>
                    <a:pt x="40" y="38"/>
                    <a:pt x="40" y="38"/>
                  </a:cubicBezTo>
                  <a:lnTo>
                    <a:pt x="34" y="41"/>
                  </a:lnTo>
                  <a:close/>
                </a:path>
              </a:pathLst>
            </a:custGeom>
            <a:solidFill>
              <a:srgbClr val="CCCCC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71" name="Freeform 180">
              <a:extLst>
                <a:ext uri="{FF2B5EF4-FFF2-40B4-BE49-F238E27FC236}">
                  <a16:creationId xmlns:a16="http://schemas.microsoft.com/office/drawing/2014/main" id="{7106217E-6E5A-4F19-99A3-8695CA68C8AB}"/>
                </a:ext>
              </a:extLst>
            </p:cNvPr>
            <p:cNvSpPr>
              <a:spLocks/>
            </p:cNvSpPr>
            <p:nvPr/>
          </p:nvSpPr>
          <p:spPr bwMode="auto">
            <a:xfrm>
              <a:off x="6644898" y="1537079"/>
              <a:ext cx="233807" cy="139966"/>
            </a:xfrm>
            <a:custGeom>
              <a:avLst/>
              <a:gdLst>
                <a:gd name="T0" fmla="*/ 95 w 120"/>
                <a:gd name="T1" fmla="*/ 60 h 72"/>
                <a:gd name="T2" fmla="*/ 81 w 120"/>
                <a:gd name="T3" fmla="*/ 48 h 72"/>
                <a:gd name="T4" fmla="*/ 70 w 120"/>
                <a:gd name="T5" fmla="*/ 22 h 72"/>
                <a:gd name="T6" fmla="*/ 36 w 120"/>
                <a:gd name="T7" fmla="*/ 0 h 72"/>
                <a:gd name="T8" fmla="*/ 0 w 120"/>
                <a:gd name="T9" fmla="*/ 36 h 72"/>
                <a:gd name="T10" fmla="*/ 36 w 120"/>
                <a:gd name="T11" fmla="*/ 72 h 72"/>
                <a:gd name="T12" fmla="*/ 64 w 120"/>
                <a:gd name="T13" fmla="*/ 58 h 72"/>
                <a:gd name="T14" fmla="*/ 64 w 120"/>
                <a:gd name="T15" fmla="*/ 58 h 72"/>
                <a:gd name="T16" fmla="*/ 60 w 120"/>
                <a:gd name="T17" fmla="*/ 47 h 72"/>
                <a:gd name="T18" fmla="*/ 59 w 120"/>
                <a:gd name="T19" fmla="*/ 47 h 72"/>
                <a:gd name="T20" fmla="*/ 58 w 120"/>
                <a:gd name="T21" fmla="*/ 47 h 72"/>
                <a:gd name="T22" fmla="*/ 36 w 120"/>
                <a:gd name="T23" fmla="*/ 60 h 72"/>
                <a:gd name="T24" fmla="*/ 12 w 120"/>
                <a:gd name="T25" fmla="*/ 36 h 72"/>
                <a:gd name="T26" fmla="*/ 36 w 120"/>
                <a:gd name="T27" fmla="*/ 11 h 72"/>
                <a:gd name="T28" fmla="*/ 59 w 120"/>
                <a:gd name="T29" fmla="*/ 26 h 72"/>
                <a:gd name="T30" fmla="*/ 70 w 120"/>
                <a:gd name="T31" fmla="*/ 51 h 72"/>
                <a:gd name="T32" fmla="*/ 72 w 120"/>
                <a:gd name="T33" fmla="*/ 54 h 72"/>
                <a:gd name="T34" fmla="*/ 96 w 120"/>
                <a:gd name="T35" fmla="*/ 71 h 72"/>
                <a:gd name="T36" fmla="*/ 120 w 120"/>
                <a:gd name="T37" fmla="*/ 50 h 72"/>
                <a:gd name="T38" fmla="*/ 102 w 120"/>
                <a:gd name="T39" fmla="*/ 29 h 72"/>
                <a:gd name="T40" fmla="*/ 99 w 120"/>
                <a:gd name="T41" fmla="*/ 28 h 72"/>
                <a:gd name="T42" fmla="*/ 87 w 120"/>
                <a:gd name="T43" fmla="*/ 19 h 72"/>
                <a:gd name="T44" fmla="*/ 95 w 120"/>
                <a:gd name="T45" fmla="*/ 11 h 72"/>
                <a:gd name="T46" fmla="*/ 105 w 120"/>
                <a:gd name="T47" fmla="*/ 16 h 72"/>
                <a:gd name="T48" fmla="*/ 106 w 120"/>
                <a:gd name="T49" fmla="*/ 16 h 72"/>
                <a:gd name="T50" fmla="*/ 113 w 120"/>
                <a:gd name="T51" fmla="*/ 12 h 72"/>
                <a:gd name="T52" fmla="*/ 114 w 120"/>
                <a:gd name="T53" fmla="*/ 12 h 72"/>
                <a:gd name="T54" fmla="*/ 114 w 120"/>
                <a:gd name="T55" fmla="*/ 11 h 72"/>
                <a:gd name="T56" fmla="*/ 96 w 120"/>
                <a:gd name="T57" fmla="*/ 0 h 72"/>
                <a:gd name="T58" fmla="*/ 76 w 120"/>
                <a:gd name="T59" fmla="*/ 19 h 72"/>
                <a:gd name="T60" fmla="*/ 97 w 120"/>
                <a:gd name="T61" fmla="*/ 40 h 72"/>
                <a:gd name="T62" fmla="*/ 109 w 120"/>
                <a:gd name="T63" fmla="*/ 50 h 72"/>
                <a:gd name="T64" fmla="*/ 95 w 120"/>
                <a:gd name="T65" fmla="*/ 6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0" h="72">
                  <a:moveTo>
                    <a:pt x="95" y="60"/>
                  </a:moveTo>
                  <a:cubicBezTo>
                    <a:pt x="87" y="60"/>
                    <a:pt x="85" y="56"/>
                    <a:pt x="81" y="48"/>
                  </a:cubicBezTo>
                  <a:cubicBezTo>
                    <a:pt x="76" y="36"/>
                    <a:pt x="70" y="22"/>
                    <a:pt x="70" y="22"/>
                  </a:cubicBezTo>
                  <a:cubicBezTo>
                    <a:pt x="64" y="8"/>
                    <a:pt x="52" y="0"/>
                    <a:pt x="36" y="0"/>
                  </a:cubicBezTo>
                  <a:cubicBezTo>
                    <a:pt x="17" y="0"/>
                    <a:pt x="0" y="16"/>
                    <a:pt x="0" y="36"/>
                  </a:cubicBezTo>
                  <a:cubicBezTo>
                    <a:pt x="0" y="55"/>
                    <a:pt x="17" y="72"/>
                    <a:pt x="36" y="72"/>
                  </a:cubicBezTo>
                  <a:cubicBezTo>
                    <a:pt x="47" y="72"/>
                    <a:pt x="57" y="67"/>
                    <a:pt x="64" y="58"/>
                  </a:cubicBezTo>
                  <a:cubicBezTo>
                    <a:pt x="65" y="58"/>
                    <a:pt x="65" y="58"/>
                    <a:pt x="64" y="58"/>
                  </a:cubicBezTo>
                  <a:cubicBezTo>
                    <a:pt x="60" y="47"/>
                    <a:pt x="60" y="47"/>
                    <a:pt x="60" y="47"/>
                  </a:cubicBezTo>
                  <a:cubicBezTo>
                    <a:pt x="60" y="47"/>
                    <a:pt x="60" y="47"/>
                    <a:pt x="59" y="47"/>
                  </a:cubicBezTo>
                  <a:cubicBezTo>
                    <a:pt x="59" y="47"/>
                    <a:pt x="59" y="47"/>
                    <a:pt x="58" y="47"/>
                  </a:cubicBezTo>
                  <a:cubicBezTo>
                    <a:pt x="54" y="55"/>
                    <a:pt x="46" y="60"/>
                    <a:pt x="36" y="60"/>
                  </a:cubicBezTo>
                  <a:cubicBezTo>
                    <a:pt x="23" y="60"/>
                    <a:pt x="12" y="49"/>
                    <a:pt x="12" y="36"/>
                  </a:cubicBezTo>
                  <a:cubicBezTo>
                    <a:pt x="12" y="22"/>
                    <a:pt x="23" y="11"/>
                    <a:pt x="36" y="11"/>
                  </a:cubicBezTo>
                  <a:cubicBezTo>
                    <a:pt x="46" y="11"/>
                    <a:pt x="56" y="17"/>
                    <a:pt x="59" y="26"/>
                  </a:cubicBezTo>
                  <a:cubicBezTo>
                    <a:pt x="70" y="51"/>
                    <a:pt x="70" y="51"/>
                    <a:pt x="70" y="51"/>
                  </a:cubicBezTo>
                  <a:cubicBezTo>
                    <a:pt x="72" y="54"/>
                    <a:pt x="72" y="54"/>
                    <a:pt x="72" y="54"/>
                  </a:cubicBezTo>
                  <a:cubicBezTo>
                    <a:pt x="77" y="66"/>
                    <a:pt x="84" y="71"/>
                    <a:pt x="96" y="71"/>
                  </a:cubicBezTo>
                  <a:cubicBezTo>
                    <a:pt x="110" y="71"/>
                    <a:pt x="120" y="62"/>
                    <a:pt x="120" y="50"/>
                  </a:cubicBezTo>
                  <a:cubicBezTo>
                    <a:pt x="120" y="38"/>
                    <a:pt x="114" y="33"/>
                    <a:pt x="102" y="29"/>
                  </a:cubicBezTo>
                  <a:cubicBezTo>
                    <a:pt x="101" y="29"/>
                    <a:pt x="100" y="28"/>
                    <a:pt x="99" y="28"/>
                  </a:cubicBezTo>
                  <a:cubicBezTo>
                    <a:pt x="91" y="26"/>
                    <a:pt x="87" y="24"/>
                    <a:pt x="87" y="19"/>
                  </a:cubicBezTo>
                  <a:cubicBezTo>
                    <a:pt x="87" y="14"/>
                    <a:pt x="90" y="11"/>
                    <a:pt x="95" y="11"/>
                  </a:cubicBezTo>
                  <a:cubicBezTo>
                    <a:pt x="99" y="11"/>
                    <a:pt x="102" y="12"/>
                    <a:pt x="105" y="16"/>
                  </a:cubicBezTo>
                  <a:cubicBezTo>
                    <a:pt x="105" y="16"/>
                    <a:pt x="105" y="16"/>
                    <a:pt x="106" y="16"/>
                  </a:cubicBezTo>
                  <a:cubicBezTo>
                    <a:pt x="113" y="12"/>
                    <a:pt x="113" y="12"/>
                    <a:pt x="113" y="12"/>
                  </a:cubicBezTo>
                  <a:cubicBezTo>
                    <a:pt x="114" y="12"/>
                    <a:pt x="114" y="12"/>
                    <a:pt x="114" y="12"/>
                  </a:cubicBezTo>
                  <a:cubicBezTo>
                    <a:pt x="114" y="11"/>
                    <a:pt x="114" y="11"/>
                    <a:pt x="114" y="11"/>
                  </a:cubicBezTo>
                  <a:cubicBezTo>
                    <a:pt x="110" y="4"/>
                    <a:pt x="104" y="0"/>
                    <a:pt x="96" y="0"/>
                  </a:cubicBezTo>
                  <a:cubicBezTo>
                    <a:pt x="84" y="0"/>
                    <a:pt x="76" y="8"/>
                    <a:pt x="76" y="19"/>
                  </a:cubicBezTo>
                  <a:cubicBezTo>
                    <a:pt x="76" y="30"/>
                    <a:pt x="84" y="35"/>
                    <a:pt x="97" y="40"/>
                  </a:cubicBezTo>
                  <a:cubicBezTo>
                    <a:pt x="106" y="42"/>
                    <a:pt x="109" y="44"/>
                    <a:pt x="109" y="50"/>
                  </a:cubicBezTo>
                  <a:cubicBezTo>
                    <a:pt x="109" y="56"/>
                    <a:pt x="103" y="61"/>
                    <a:pt x="95" y="60"/>
                  </a:cubicBezTo>
                </a:path>
              </a:pathLst>
            </a:custGeom>
            <a:solidFill>
              <a:srgbClr val="CCCCC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72" name="Freeform 181">
              <a:extLst>
                <a:ext uri="{FF2B5EF4-FFF2-40B4-BE49-F238E27FC236}">
                  <a16:creationId xmlns:a16="http://schemas.microsoft.com/office/drawing/2014/main" id="{1AD7F1BB-34C8-44A5-9134-9920975908DF}"/>
                </a:ext>
              </a:extLst>
            </p:cNvPr>
            <p:cNvSpPr>
              <a:spLocks/>
            </p:cNvSpPr>
            <p:nvPr/>
          </p:nvSpPr>
          <p:spPr bwMode="auto">
            <a:xfrm>
              <a:off x="6563781" y="2725199"/>
              <a:ext cx="233807" cy="141557"/>
            </a:xfrm>
            <a:custGeom>
              <a:avLst/>
              <a:gdLst>
                <a:gd name="T0" fmla="*/ 95 w 120"/>
                <a:gd name="T1" fmla="*/ 61 h 72"/>
                <a:gd name="T2" fmla="*/ 81 w 120"/>
                <a:gd name="T3" fmla="*/ 49 h 72"/>
                <a:gd name="T4" fmla="*/ 69 w 120"/>
                <a:gd name="T5" fmla="*/ 22 h 72"/>
                <a:gd name="T6" fmla="*/ 36 w 120"/>
                <a:gd name="T7" fmla="*/ 0 h 72"/>
                <a:gd name="T8" fmla="*/ 0 w 120"/>
                <a:gd name="T9" fmla="*/ 36 h 72"/>
                <a:gd name="T10" fmla="*/ 36 w 120"/>
                <a:gd name="T11" fmla="*/ 72 h 72"/>
                <a:gd name="T12" fmla="*/ 64 w 120"/>
                <a:gd name="T13" fmla="*/ 59 h 72"/>
                <a:gd name="T14" fmla="*/ 64 w 120"/>
                <a:gd name="T15" fmla="*/ 58 h 72"/>
                <a:gd name="T16" fmla="*/ 59 w 120"/>
                <a:gd name="T17" fmla="*/ 48 h 72"/>
                <a:gd name="T18" fmla="*/ 59 w 120"/>
                <a:gd name="T19" fmla="*/ 47 h 72"/>
                <a:gd name="T20" fmla="*/ 58 w 120"/>
                <a:gd name="T21" fmla="*/ 48 h 72"/>
                <a:gd name="T22" fmla="*/ 36 w 120"/>
                <a:gd name="T23" fmla="*/ 61 h 72"/>
                <a:gd name="T24" fmla="*/ 11 w 120"/>
                <a:gd name="T25" fmla="*/ 36 h 72"/>
                <a:gd name="T26" fmla="*/ 36 w 120"/>
                <a:gd name="T27" fmla="*/ 12 h 72"/>
                <a:gd name="T28" fmla="*/ 58 w 120"/>
                <a:gd name="T29" fmla="*/ 26 h 72"/>
                <a:gd name="T30" fmla="*/ 70 w 120"/>
                <a:gd name="T31" fmla="*/ 52 h 72"/>
                <a:gd name="T32" fmla="*/ 71 w 120"/>
                <a:gd name="T33" fmla="*/ 55 h 72"/>
                <a:gd name="T34" fmla="*/ 95 w 120"/>
                <a:gd name="T35" fmla="*/ 72 h 72"/>
                <a:gd name="T36" fmla="*/ 120 w 120"/>
                <a:gd name="T37" fmla="*/ 50 h 72"/>
                <a:gd name="T38" fmla="*/ 101 w 120"/>
                <a:gd name="T39" fmla="*/ 30 h 72"/>
                <a:gd name="T40" fmla="*/ 98 w 120"/>
                <a:gd name="T41" fmla="*/ 29 h 72"/>
                <a:gd name="T42" fmla="*/ 86 w 120"/>
                <a:gd name="T43" fmla="*/ 19 h 72"/>
                <a:gd name="T44" fmla="*/ 95 w 120"/>
                <a:gd name="T45" fmla="*/ 11 h 72"/>
                <a:gd name="T46" fmla="*/ 104 w 120"/>
                <a:gd name="T47" fmla="*/ 16 h 72"/>
                <a:gd name="T48" fmla="*/ 105 w 120"/>
                <a:gd name="T49" fmla="*/ 17 h 72"/>
                <a:gd name="T50" fmla="*/ 113 w 120"/>
                <a:gd name="T51" fmla="*/ 13 h 72"/>
                <a:gd name="T52" fmla="*/ 113 w 120"/>
                <a:gd name="T53" fmla="*/ 12 h 72"/>
                <a:gd name="T54" fmla="*/ 113 w 120"/>
                <a:gd name="T55" fmla="*/ 12 h 72"/>
                <a:gd name="T56" fmla="*/ 95 w 120"/>
                <a:gd name="T57" fmla="*/ 1 h 72"/>
                <a:gd name="T58" fmla="*/ 75 w 120"/>
                <a:gd name="T59" fmla="*/ 20 h 72"/>
                <a:gd name="T60" fmla="*/ 97 w 120"/>
                <a:gd name="T61" fmla="*/ 40 h 72"/>
                <a:gd name="T62" fmla="*/ 108 w 120"/>
                <a:gd name="T63" fmla="*/ 50 h 72"/>
                <a:gd name="T64" fmla="*/ 95 w 120"/>
                <a:gd name="T65" fmla="*/ 61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0" h="72">
                  <a:moveTo>
                    <a:pt x="95" y="61"/>
                  </a:moveTo>
                  <a:cubicBezTo>
                    <a:pt x="86" y="61"/>
                    <a:pt x="84" y="56"/>
                    <a:pt x="81" y="49"/>
                  </a:cubicBezTo>
                  <a:cubicBezTo>
                    <a:pt x="75" y="37"/>
                    <a:pt x="69" y="23"/>
                    <a:pt x="69" y="22"/>
                  </a:cubicBezTo>
                  <a:cubicBezTo>
                    <a:pt x="63" y="8"/>
                    <a:pt x="51" y="0"/>
                    <a:pt x="36" y="0"/>
                  </a:cubicBezTo>
                  <a:cubicBezTo>
                    <a:pt x="16" y="0"/>
                    <a:pt x="0" y="16"/>
                    <a:pt x="0" y="36"/>
                  </a:cubicBezTo>
                  <a:cubicBezTo>
                    <a:pt x="0" y="56"/>
                    <a:pt x="16" y="72"/>
                    <a:pt x="36" y="72"/>
                  </a:cubicBezTo>
                  <a:cubicBezTo>
                    <a:pt x="47" y="72"/>
                    <a:pt x="57" y="67"/>
                    <a:pt x="64" y="59"/>
                  </a:cubicBezTo>
                  <a:cubicBezTo>
                    <a:pt x="64" y="59"/>
                    <a:pt x="64" y="59"/>
                    <a:pt x="64" y="58"/>
                  </a:cubicBezTo>
                  <a:cubicBezTo>
                    <a:pt x="59" y="48"/>
                    <a:pt x="59" y="48"/>
                    <a:pt x="59" y="48"/>
                  </a:cubicBezTo>
                  <a:cubicBezTo>
                    <a:pt x="59" y="47"/>
                    <a:pt x="59" y="47"/>
                    <a:pt x="59" y="47"/>
                  </a:cubicBezTo>
                  <a:cubicBezTo>
                    <a:pt x="58" y="47"/>
                    <a:pt x="58" y="47"/>
                    <a:pt x="58" y="48"/>
                  </a:cubicBezTo>
                  <a:cubicBezTo>
                    <a:pt x="53" y="56"/>
                    <a:pt x="45" y="61"/>
                    <a:pt x="36" y="61"/>
                  </a:cubicBezTo>
                  <a:cubicBezTo>
                    <a:pt x="22" y="61"/>
                    <a:pt x="11" y="50"/>
                    <a:pt x="11" y="36"/>
                  </a:cubicBezTo>
                  <a:cubicBezTo>
                    <a:pt x="11" y="23"/>
                    <a:pt x="22" y="12"/>
                    <a:pt x="36" y="12"/>
                  </a:cubicBezTo>
                  <a:cubicBezTo>
                    <a:pt x="46" y="12"/>
                    <a:pt x="55" y="17"/>
                    <a:pt x="58" y="26"/>
                  </a:cubicBezTo>
                  <a:cubicBezTo>
                    <a:pt x="70" y="52"/>
                    <a:pt x="70" y="52"/>
                    <a:pt x="70" y="52"/>
                  </a:cubicBezTo>
                  <a:cubicBezTo>
                    <a:pt x="71" y="55"/>
                    <a:pt x="71" y="55"/>
                    <a:pt x="71" y="55"/>
                  </a:cubicBezTo>
                  <a:cubicBezTo>
                    <a:pt x="76" y="67"/>
                    <a:pt x="84" y="72"/>
                    <a:pt x="95" y="72"/>
                  </a:cubicBezTo>
                  <a:cubicBezTo>
                    <a:pt x="109" y="72"/>
                    <a:pt x="120" y="63"/>
                    <a:pt x="120" y="50"/>
                  </a:cubicBezTo>
                  <a:cubicBezTo>
                    <a:pt x="120" y="38"/>
                    <a:pt x="113" y="34"/>
                    <a:pt x="101" y="30"/>
                  </a:cubicBezTo>
                  <a:cubicBezTo>
                    <a:pt x="100" y="29"/>
                    <a:pt x="99" y="29"/>
                    <a:pt x="98" y="29"/>
                  </a:cubicBezTo>
                  <a:cubicBezTo>
                    <a:pt x="91" y="27"/>
                    <a:pt x="86" y="25"/>
                    <a:pt x="86" y="19"/>
                  </a:cubicBezTo>
                  <a:cubicBezTo>
                    <a:pt x="86" y="15"/>
                    <a:pt x="90" y="11"/>
                    <a:pt x="95" y="11"/>
                  </a:cubicBezTo>
                  <a:cubicBezTo>
                    <a:pt x="99" y="11"/>
                    <a:pt x="102" y="13"/>
                    <a:pt x="104" y="16"/>
                  </a:cubicBezTo>
                  <a:cubicBezTo>
                    <a:pt x="104" y="17"/>
                    <a:pt x="105" y="17"/>
                    <a:pt x="105" y="17"/>
                  </a:cubicBezTo>
                  <a:cubicBezTo>
                    <a:pt x="113" y="13"/>
                    <a:pt x="113" y="13"/>
                    <a:pt x="113" y="13"/>
                  </a:cubicBezTo>
                  <a:cubicBezTo>
                    <a:pt x="113" y="13"/>
                    <a:pt x="113" y="12"/>
                    <a:pt x="113" y="12"/>
                  </a:cubicBezTo>
                  <a:cubicBezTo>
                    <a:pt x="113" y="12"/>
                    <a:pt x="113" y="12"/>
                    <a:pt x="113" y="12"/>
                  </a:cubicBezTo>
                  <a:cubicBezTo>
                    <a:pt x="109" y="4"/>
                    <a:pt x="103" y="1"/>
                    <a:pt x="95" y="1"/>
                  </a:cubicBezTo>
                  <a:cubicBezTo>
                    <a:pt x="83" y="1"/>
                    <a:pt x="75" y="8"/>
                    <a:pt x="75" y="20"/>
                  </a:cubicBezTo>
                  <a:cubicBezTo>
                    <a:pt x="75" y="31"/>
                    <a:pt x="83" y="36"/>
                    <a:pt x="97" y="40"/>
                  </a:cubicBezTo>
                  <a:cubicBezTo>
                    <a:pt x="105" y="43"/>
                    <a:pt x="108" y="44"/>
                    <a:pt x="108" y="50"/>
                  </a:cubicBezTo>
                  <a:cubicBezTo>
                    <a:pt x="108" y="57"/>
                    <a:pt x="103" y="61"/>
                    <a:pt x="95" y="61"/>
                  </a:cubicBezTo>
                </a:path>
              </a:pathLst>
            </a:custGeom>
            <a:solidFill>
              <a:srgbClr val="CCCCC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73" name="Freeform 182">
              <a:extLst>
                <a:ext uri="{FF2B5EF4-FFF2-40B4-BE49-F238E27FC236}">
                  <a16:creationId xmlns:a16="http://schemas.microsoft.com/office/drawing/2014/main" id="{CE312A86-C2B9-4F9E-BAD1-6D34E9F11F00}"/>
                </a:ext>
              </a:extLst>
            </p:cNvPr>
            <p:cNvSpPr>
              <a:spLocks/>
            </p:cNvSpPr>
            <p:nvPr/>
          </p:nvSpPr>
          <p:spPr bwMode="auto">
            <a:xfrm>
              <a:off x="6333155" y="1767705"/>
              <a:ext cx="197225" cy="179729"/>
            </a:xfrm>
            <a:custGeom>
              <a:avLst/>
              <a:gdLst>
                <a:gd name="T0" fmla="*/ 36 w 101"/>
                <a:gd name="T1" fmla="*/ 92 h 92"/>
                <a:gd name="T2" fmla="*/ 56 w 101"/>
                <a:gd name="T3" fmla="*/ 87 h 92"/>
                <a:gd name="T4" fmla="*/ 75 w 101"/>
                <a:gd name="T5" fmla="*/ 91 h 92"/>
                <a:gd name="T6" fmla="*/ 93 w 101"/>
                <a:gd name="T7" fmla="*/ 77 h 92"/>
                <a:gd name="T8" fmla="*/ 101 w 101"/>
                <a:gd name="T9" fmla="*/ 60 h 92"/>
                <a:gd name="T10" fmla="*/ 85 w 101"/>
                <a:gd name="T11" fmla="*/ 35 h 92"/>
                <a:gd name="T12" fmla="*/ 98 w 101"/>
                <a:gd name="T13" fmla="*/ 13 h 92"/>
                <a:gd name="T14" fmla="*/ 77 w 101"/>
                <a:gd name="T15" fmla="*/ 1 h 92"/>
                <a:gd name="T16" fmla="*/ 54 w 101"/>
                <a:gd name="T17" fmla="*/ 6 h 92"/>
                <a:gd name="T18" fmla="*/ 35 w 101"/>
                <a:gd name="T19" fmla="*/ 1 h 92"/>
                <a:gd name="T20" fmla="*/ 10 w 101"/>
                <a:gd name="T21" fmla="*/ 16 h 92"/>
                <a:gd name="T22" fmla="*/ 18 w 101"/>
                <a:gd name="T23" fmla="*/ 76 h 92"/>
                <a:gd name="T24" fmla="*/ 36 w 101"/>
                <a:gd name="T25" fmla="*/ 9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1" h="92">
                  <a:moveTo>
                    <a:pt x="36" y="92"/>
                  </a:moveTo>
                  <a:cubicBezTo>
                    <a:pt x="44" y="91"/>
                    <a:pt x="47" y="87"/>
                    <a:pt x="56" y="87"/>
                  </a:cubicBezTo>
                  <a:cubicBezTo>
                    <a:pt x="65" y="87"/>
                    <a:pt x="67" y="92"/>
                    <a:pt x="75" y="91"/>
                  </a:cubicBezTo>
                  <a:cubicBezTo>
                    <a:pt x="83" y="91"/>
                    <a:pt x="88" y="84"/>
                    <a:pt x="93" y="77"/>
                  </a:cubicBezTo>
                  <a:cubicBezTo>
                    <a:pt x="99" y="68"/>
                    <a:pt x="101" y="60"/>
                    <a:pt x="101" y="60"/>
                  </a:cubicBezTo>
                  <a:cubicBezTo>
                    <a:pt x="101" y="60"/>
                    <a:pt x="86" y="54"/>
                    <a:pt x="85" y="35"/>
                  </a:cubicBezTo>
                  <a:cubicBezTo>
                    <a:pt x="85" y="20"/>
                    <a:pt x="98" y="13"/>
                    <a:pt x="98" y="13"/>
                  </a:cubicBezTo>
                  <a:cubicBezTo>
                    <a:pt x="91" y="2"/>
                    <a:pt x="80" y="1"/>
                    <a:pt x="77" y="1"/>
                  </a:cubicBezTo>
                  <a:cubicBezTo>
                    <a:pt x="67" y="0"/>
                    <a:pt x="59" y="6"/>
                    <a:pt x="54" y="6"/>
                  </a:cubicBezTo>
                  <a:cubicBezTo>
                    <a:pt x="49" y="6"/>
                    <a:pt x="42" y="1"/>
                    <a:pt x="35" y="1"/>
                  </a:cubicBezTo>
                  <a:cubicBezTo>
                    <a:pt x="25" y="1"/>
                    <a:pt x="15" y="7"/>
                    <a:pt x="10" y="16"/>
                  </a:cubicBezTo>
                  <a:cubicBezTo>
                    <a:pt x="0" y="34"/>
                    <a:pt x="7" y="62"/>
                    <a:pt x="18" y="76"/>
                  </a:cubicBezTo>
                  <a:cubicBezTo>
                    <a:pt x="23" y="84"/>
                    <a:pt x="28" y="92"/>
                    <a:pt x="36" y="92"/>
                  </a:cubicBezTo>
                </a:path>
              </a:pathLst>
            </a:custGeom>
            <a:solidFill>
              <a:srgbClr val="CCCCC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74" name="Freeform 183">
              <a:extLst>
                <a:ext uri="{FF2B5EF4-FFF2-40B4-BE49-F238E27FC236}">
                  <a16:creationId xmlns:a16="http://schemas.microsoft.com/office/drawing/2014/main" id="{1DEBF3DD-1C2A-4189-8B1E-69951C047A20}"/>
                </a:ext>
              </a:extLst>
            </p:cNvPr>
            <p:cNvSpPr>
              <a:spLocks/>
            </p:cNvSpPr>
            <p:nvPr/>
          </p:nvSpPr>
          <p:spPr bwMode="auto">
            <a:xfrm>
              <a:off x="6434948" y="1713627"/>
              <a:ext cx="47715" cy="54078"/>
            </a:xfrm>
            <a:custGeom>
              <a:avLst/>
              <a:gdLst>
                <a:gd name="T0" fmla="*/ 7 w 25"/>
                <a:gd name="T1" fmla="*/ 9 h 28"/>
                <a:gd name="T2" fmla="*/ 1 w 25"/>
                <a:gd name="T3" fmla="*/ 27 h 28"/>
                <a:gd name="T4" fmla="*/ 19 w 25"/>
                <a:gd name="T5" fmla="*/ 19 h 28"/>
                <a:gd name="T6" fmla="*/ 25 w 25"/>
                <a:gd name="T7" fmla="*/ 0 h 28"/>
                <a:gd name="T8" fmla="*/ 7 w 25"/>
                <a:gd name="T9" fmla="*/ 9 h 28"/>
              </a:gdLst>
              <a:ahLst/>
              <a:cxnLst>
                <a:cxn ang="0">
                  <a:pos x="T0" y="T1"/>
                </a:cxn>
                <a:cxn ang="0">
                  <a:pos x="T2" y="T3"/>
                </a:cxn>
                <a:cxn ang="0">
                  <a:pos x="T4" y="T5"/>
                </a:cxn>
                <a:cxn ang="0">
                  <a:pos x="T6" y="T7"/>
                </a:cxn>
                <a:cxn ang="0">
                  <a:pos x="T8" y="T9"/>
                </a:cxn>
              </a:cxnLst>
              <a:rect l="0" t="0" r="r" b="b"/>
              <a:pathLst>
                <a:path w="25" h="28">
                  <a:moveTo>
                    <a:pt x="7" y="9"/>
                  </a:moveTo>
                  <a:cubicBezTo>
                    <a:pt x="3" y="13"/>
                    <a:pt x="0" y="20"/>
                    <a:pt x="1" y="27"/>
                  </a:cubicBezTo>
                  <a:cubicBezTo>
                    <a:pt x="8" y="28"/>
                    <a:pt x="14" y="24"/>
                    <a:pt x="19" y="19"/>
                  </a:cubicBezTo>
                  <a:cubicBezTo>
                    <a:pt x="23" y="14"/>
                    <a:pt x="25" y="7"/>
                    <a:pt x="25" y="0"/>
                  </a:cubicBezTo>
                  <a:cubicBezTo>
                    <a:pt x="19" y="0"/>
                    <a:pt x="12" y="4"/>
                    <a:pt x="7" y="9"/>
                  </a:cubicBezTo>
                </a:path>
              </a:pathLst>
            </a:custGeom>
            <a:solidFill>
              <a:srgbClr val="CCCCC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75" name="Freeform 184">
              <a:extLst>
                <a:ext uri="{FF2B5EF4-FFF2-40B4-BE49-F238E27FC236}">
                  <a16:creationId xmlns:a16="http://schemas.microsoft.com/office/drawing/2014/main" id="{B4B479C9-F16C-4D9E-B610-379ADF00D325}"/>
                </a:ext>
              </a:extLst>
            </p:cNvPr>
            <p:cNvSpPr>
              <a:spLocks/>
            </p:cNvSpPr>
            <p:nvPr/>
          </p:nvSpPr>
          <p:spPr bwMode="auto">
            <a:xfrm>
              <a:off x="5572886" y="2144659"/>
              <a:ext cx="92250" cy="135195"/>
            </a:xfrm>
            <a:custGeom>
              <a:avLst/>
              <a:gdLst>
                <a:gd name="T0" fmla="*/ 35 w 47"/>
                <a:gd name="T1" fmla="*/ 2 h 69"/>
                <a:gd name="T2" fmla="*/ 24 w 47"/>
                <a:gd name="T3" fmla="*/ 21 h 69"/>
                <a:gd name="T4" fmla="*/ 11 w 47"/>
                <a:gd name="T5" fmla="*/ 43 h 69"/>
                <a:gd name="T6" fmla="*/ 1 w 47"/>
                <a:gd name="T7" fmla="*/ 60 h 69"/>
                <a:gd name="T8" fmla="*/ 2 w 47"/>
                <a:gd name="T9" fmla="*/ 64 h 69"/>
                <a:gd name="T10" fmla="*/ 9 w 47"/>
                <a:gd name="T11" fmla="*/ 68 h 69"/>
                <a:gd name="T12" fmla="*/ 13 w 47"/>
                <a:gd name="T13" fmla="*/ 67 h 69"/>
                <a:gd name="T14" fmla="*/ 27 w 47"/>
                <a:gd name="T15" fmla="*/ 43 h 69"/>
                <a:gd name="T16" fmla="*/ 36 w 47"/>
                <a:gd name="T17" fmla="*/ 27 h 69"/>
                <a:gd name="T18" fmla="*/ 47 w 47"/>
                <a:gd name="T19" fmla="*/ 9 h 69"/>
                <a:gd name="T20" fmla="*/ 46 w 47"/>
                <a:gd name="T21" fmla="*/ 5 h 69"/>
                <a:gd name="T22" fmla="*/ 38 w 47"/>
                <a:gd name="T23" fmla="*/ 1 h 69"/>
                <a:gd name="T24" fmla="*/ 35 w 47"/>
                <a:gd name="T25" fmla="*/ 2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7" h="69">
                  <a:moveTo>
                    <a:pt x="35" y="2"/>
                  </a:moveTo>
                  <a:cubicBezTo>
                    <a:pt x="24" y="21"/>
                    <a:pt x="24" y="21"/>
                    <a:pt x="24" y="21"/>
                  </a:cubicBezTo>
                  <a:cubicBezTo>
                    <a:pt x="11" y="43"/>
                    <a:pt x="11" y="43"/>
                    <a:pt x="11" y="43"/>
                  </a:cubicBezTo>
                  <a:cubicBezTo>
                    <a:pt x="1" y="60"/>
                    <a:pt x="1" y="60"/>
                    <a:pt x="1" y="60"/>
                  </a:cubicBezTo>
                  <a:cubicBezTo>
                    <a:pt x="0" y="62"/>
                    <a:pt x="1" y="63"/>
                    <a:pt x="2" y="64"/>
                  </a:cubicBezTo>
                  <a:cubicBezTo>
                    <a:pt x="9" y="68"/>
                    <a:pt x="9" y="68"/>
                    <a:pt x="9" y="68"/>
                  </a:cubicBezTo>
                  <a:cubicBezTo>
                    <a:pt x="11" y="69"/>
                    <a:pt x="12" y="69"/>
                    <a:pt x="13" y="67"/>
                  </a:cubicBezTo>
                  <a:cubicBezTo>
                    <a:pt x="27" y="43"/>
                    <a:pt x="27" y="43"/>
                    <a:pt x="27" y="43"/>
                  </a:cubicBezTo>
                  <a:cubicBezTo>
                    <a:pt x="36" y="27"/>
                    <a:pt x="36" y="27"/>
                    <a:pt x="36" y="27"/>
                  </a:cubicBezTo>
                  <a:cubicBezTo>
                    <a:pt x="47" y="9"/>
                    <a:pt x="47" y="9"/>
                    <a:pt x="47" y="9"/>
                  </a:cubicBezTo>
                  <a:cubicBezTo>
                    <a:pt x="47" y="8"/>
                    <a:pt x="47" y="6"/>
                    <a:pt x="46" y="5"/>
                  </a:cubicBezTo>
                  <a:cubicBezTo>
                    <a:pt x="38" y="1"/>
                    <a:pt x="38" y="1"/>
                    <a:pt x="38" y="1"/>
                  </a:cubicBezTo>
                  <a:cubicBezTo>
                    <a:pt x="37" y="0"/>
                    <a:pt x="35" y="1"/>
                    <a:pt x="35" y="2"/>
                  </a:cubicBezTo>
                </a:path>
              </a:pathLst>
            </a:custGeom>
            <a:solidFill>
              <a:srgbClr val="CCCCC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76" name="Freeform 185">
              <a:extLst>
                <a:ext uri="{FF2B5EF4-FFF2-40B4-BE49-F238E27FC236}">
                  <a16:creationId xmlns:a16="http://schemas.microsoft.com/office/drawing/2014/main" id="{4E8F6334-E9EE-4428-8CC6-AD80BB7C79F7}"/>
                </a:ext>
              </a:extLst>
            </p:cNvPr>
            <p:cNvSpPr>
              <a:spLocks/>
            </p:cNvSpPr>
            <p:nvPr/>
          </p:nvSpPr>
          <p:spPr bwMode="auto">
            <a:xfrm>
              <a:off x="5728757" y="2186012"/>
              <a:ext cx="52487" cy="39763"/>
            </a:xfrm>
            <a:custGeom>
              <a:avLst/>
              <a:gdLst>
                <a:gd name="T0" fmla="*/ 25 w 27"/>
                <a:gd name="T1" fmla="*/ 0 h 20"/>
                <a:gd name="T2" fmla="*/ 0 w 27"/>
                <a:gd name="T3" fmla="*/ 0 h 20"/>
                <a:gd name="T4" fmla="*/ 11 w 27"/>
                <a:gd name="T5" fmla="*/ 20 h 20"/>
                <a:gd name="T6" fmla="*/ 25 w 27"/>
                <a:gd name="T7" fmla="*/ 20 h 20"/>
                <a:gd name="T8" fmla="*/ 27 w 27"/>
                <a:gd name="T9" fmla="*/ 16 h 20"/>
                <a:gd name="T10" fmla="*/ 27 w 27"/>
                <a:gd name="T11" fmla="*/ 3 h 20"/>
                <a:gd name="T12" fmla="*/ 25 w 27"/>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27" h="20">
                  <a:moveTo>
                    <a:pt x="25" y="0"/>
                  </a:moveTo>
                  <a:cubicBezTo>
                    <a:pt x="0" y="0"/>
                    <a:pt x="0" y="0"/>
                    <a:pt x="0" y="0"/>
                  </a:cubicBezTo>
                  <a:cubicBezTo>
                    <a:pt x="3" y="6"/>
                    <a:pt x="11" y="19"/>
                    <a:pt x="11" y="20"/>
                  </a:cubicBezTo>
                  <a:cubicBezTo>
                    <a:pt x="25" y="20"/>
                    <a:pt x="25" y="20"/>
                    <a:pt x="25" y="20"/>
                  </a:cubicBezTo>
                  <a:cubicBezTo>
                    <a:pt x="26" y="20"/>
                    <a:pt x="27" y="17"/>
                    <a:pt x="27" y="16"/>
                  </a:cubicBezTo>
                  <a:cubicBezTo>
                    <a:pt x="27" y="3"/>
                    <a:pt x="27" y="3"/>
                    <a:pt x="27" y="3"/>
                  </a:cubicBezTo>
                  <a:cubicBezTo>
                    <a:pt x="27" y="2"/>
                    <a:pt x="26" y="0"/>
                    <a:pt x="25" y="0"/>
                  </a:cubicBezTo>
                </a:path>
              </a:pathLst>
            </a:custGeom>
            <a:solidFill>
              <a:srgbClr val="CCCCC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77" name="Freeform 186">
              <a:extLst>
                <a:ext uri="{FF2B5EF4-FFF2-40B4-BE49-F238E27FC236}">
                  <a16:creationId xmlns:a16="http://schemas.microsoft.com/office/drawing/2014/main" id="{893CA9C9-3E83-416F-8770-8BD5B8EC7A8D}"/>
                </a:ext>
              </a:extLst>
            </p:cNvPr>
            <p:cNvSpPr>
              <a:spLocks/>
            </p:cNvSpPr>
            <p:nvPr/>
          </p:nvSpPr>
          <p:spPr bwMode="auto">
            <a:xfrm>
              <a:off x="5636506" y="2186012"/>
              <a:ext cx="65211" cy="39763"/>
            </a:xfrm>
            <a:custGeom>
              <a:avLst/>
              <a:gdLst>
                <a:gd name="T0" fmla="*/ 12 w 33"/>
                <a:gd name="T1" fmla="*/ 0 h 20"/>
                <a:gd name="T2" fmla="*/ 0 w 33"/>
                <a:gd name="T3" fmla="*/ 20 h 20"/>
                <a:gd name="T4" fmla="*/ 33 w 33"/>
                <a:gd name="T5" fmla="*/ 20 h 20"/>
                <a:gd name="T6" fmla="*/ 23 w 33"/>
                <a:gd name="T7" fmla="*/ 0 h 20"/>
                <a:gd name="T8" fmla="*/ 12 w 33"/>
                <a:gd name="T9" fmla="*/ 0 h 20"/>
              </a:gdLst>
              <a:ahLst/>
              <a:cxnLst>
                <a:cxn ang="0">
                  <a:pos x="T0" y="T1"/>
                </a:cxn>
                <a:cxn ang="0">
                  <a:pos x="T2" y="T3"/>
                </a:cxn>
                <a:cxn ang="0">
                  <a:pos x="T4" y="T5"/>
                </a:cxn>
                <a:cxn ang="0">
                  <a:pos x="T6" y="T7"/>
                </a:cxn>
                <a:cxn ang="0">
                  <a:pos x="T8" y="T9"/>
                </a:cxn>
              </a:cxnLst>
              <a:rect l="0" t="0" r="r" b="b"/>
              <a:pathLst>
                <a:path w="33" h="20">
                  <a:moveTo>
                    <a:pt x="12" y="0"/>
                  </a:moveTo>
                  <a:cubicBezTo>
                    <a:pt x="0" y="20"/>
                    <a:pt x="0" y="20"/>
                    <a:pt x="0" y="20"/>
                  </a:cubicBezTo>
                  <a:cubicBezTo>
                    <a:pt x="33" y="20"/>
                    <a:pt x="33" y="20"/>
                    <a:pt x="33" y="20"/>
                  </a:cubicBezTo>
                  <a:cubicBezTo>
                    <a:pt x="31" y="15"/>
                    <a:pt x="28" y="10"/>
                    <a:pt x="23" y="0"/>
                  </a:cubicBezTo>
                  <a:lnTo>
                    <a:pt x="12" y="0"/>
                  </a:lnTo>
                  <a:close/>
                </a:path>
              </a:pathLst>
            </a:custGeom>
            <a:solidFill>
              <a:srgbClr val="CCCCC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78" name="Freeform 187">
              <a:extLst>
                <a:ext uri="{FF2B5EF4-FFF2-40B4-BE49-F238E27FC236}">
                  <a16:creationId xmlns:a16="http://schemas.microsoft.com/office/drawing/2014/main" id="{EDC46497-D1A1-4B10-BCBB-9930FC64BF99}"/>
                </a:ext>
              </a:extLst>
            </p:cNvPr>
            <p:cNvSpPr>
              <a:spLocks/>
            </p:cNvSpPr>
            <p:nvPr/>
          </p:nvSpPr>
          <p:spPr bwMode="auto">
            <a:xfrm>
              <a:off x="5547437" y="2186012"/>
              <a:ext cx="60440" cy="39763"/>
            </a:xfrm>
            <a:custGeom>
              <a:avLst/>
              <a:gdLst>
                <a:gd name="T0" fmla="*/ 3 w 31"/>
                <a:gd name="T1" fmla="*/ 20 h 20"/>
                <a:gd name="T2" fmla="*/ 19 w 31"/>
                <a:gd name="T3" fmla="*/ 20 h 20"/>
                <a:gd name="T4" fmla="*/ 31 w 31"/>
                <a:gd name="T5" fmla="*/ 0 h 20"/>
                <a:gd name="T6" fmla="*/ 3 w 31"/>
                <a:gd name="T7" fmla="*/ 0 h 20"/>
                <a:gd name="T8" fmla="*/ 0 w 31"/>
                <a:gd name="T9" fmla="*/ 3 h 20"/>
                <a:gd name="T10" fmla="*/ 0 w 31"/>
                <a:gd name="T11" fmla="*/ 16 h 20"/>
                <a:gd name="T12" fmla="*/ 3 w 31"/>
                <a:gd name="T13" fmla="*/ 20 h 20"/>
              </a:gdLst>
              <a:ahLst/>
              <a:cxnLst>
                <a:cxn ang="0">
                  <a:pos x="T0" y="T1"/>
                </a:cxn>
                <a:cxn ang="0">
                  <a:pos x="T2" y="T3"/>
                </a:cxn>
                <a:cxn ang="0">
                  <a:pos x="T4" y="T5"/>
                </a:cxn>
                <a:cxn ang="0">
                  <a:pos x="T6" y="T7"/>
                </a:cxn>
                <a:cxn ang="0">
                  <a:pos x="T8" y="T9"/>
                </a:cxn>
                <a:cxn ang="0">
                  <a:pos x="T10" y="T11"/>
                </a:cxn>
                <a:cxn ang="0">
                  <a:pos x="T12" y="T13"/>
                </a:cxn>
              </a:cxnLst>
              <a:rect l="0" t="0" r="r" b="b"/>
              <a:pathLst>
                <a:path w="31" h="20">
                  <a:moveTo>
                    <a:pt x="3" y="20"/>
                  </a:moveTo>
                  <a:cubicBezTo>
                    <a:pt x="19" y="20"/>
                    <a:pt x="19" y="20"/>
                    <a:pt x="19" y="20"/>
                  </a:cubicBezTo>
                  <a:cubicBezTo>
                    <a:pt x="31" y="0"/>
                    <a:pt x="31" y="0"/>
                    <a:pt x="31" y="0"/>
                  </a:cubicBezTo>
                  <a:cubicBezTo>
                    <a:pt x="3" y="0"/>
                    <a:pt x="3" y="0"/>
                    <a:pt x="3" y="0"/>
                  </a:cubicBezTo>
                  <a:cubicBezTo>
                    <a:pt x="1" y="0"/>
                    <a:pt x="0" y="2"/>
                    <a:pt x="0" y="3"/>
                  </a:cubicBezTo>
                  <a:cubicBezTo>
                    <a:pt x="0" y="16"/>
                    <a:pt x="0" y="16"/>
                    <a:pt x="0" y="16"/>
                  </a:cubicBezTo>
                  <a:cubicBezTo>
                    <a:pt x="0" y="17"/>
                    <a:pt x="1" y="20"/>
                    <a:pt x="3" y="20"/>
                  </a:cubicBezTo>
                </a:path>
              </a:pathLst>
            </a:custGeom>
            <a:solidFill>
              <a:srgbClr val="CCCCC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79" name="Freeform 188">
              <a:extLst>
                <a:ext uri="{FF2B5EF4-FFF2-40B4-BE49-F238E27FC236}">
                  <a16:creationId xmlns:a16="http://schemas.microsoft.com/office/drawing/2014/main" id="{802434AA-FAD9-463E-B609-59876E4C39C2}"/>
                </a:ext>
              </a:extLst>
            </p:cNvPr>
            <p:cNvSpPr>
              <a:spLocks/>
            </p:cNvSpPr>
            <p:nvPr/>
          </p:nvSpPr>
          <p:spPr bwMode="auto">
            <a:xfrm>
              <a:off x="5564932" y="2276672"/>
              <a:ext cx="23858" cy="28629"/>
            </a:xfrm>
            <a:custGeom>
              <a:avLst/>
              <a:gdLst>
                <a:gd name="T0" fmla="*/ 2 w 12"/>
                <a:gd name="T1" fmla="*/ 14 h 15"/>
                <a:gd name="T2" fmla="*/ 11 w 12"/>
                <a:gd name="T3" fmla="*/ 7 h 15"/>
                <a:gd name="T4" fmla="*/ 11 w 12"/>
                <a:gd name="T5" fmla="*/ 5 h 15"/>
                <a:gd name="T6" fmla="*/ 4 w 12"/>
                <a:gd name="T7" fmla="*/ 0 h 15"/>
                <a:gd name="T8" fmla="*/ 1 w 12"/>
                <a:gd name="T9" fmla="*/ 2 h 15"/>
                <a:gd name="T10" fmla="*/ 0 w 12"/>
                <a:gd name="T11" fmla="*/ 13 h 15"/>
                <a:gd name="T12" fmla="*/ 2 w 12"/>
                <a:gd name="T13" fmla="*/ 14 h 15"/>
              </a:gdLst>
              <a:ahLst/>
              <a:cxnLst>
                <a:cxn ang="0">
                  <a:pos x="T0" y="T1"/>
                </a:cxn>
                <a:cxn ang="0">
                  <a:pos x="T2" y="T3"/>
                </a:cxn>
                <a:cxn ang="0">
                  <a:pos x="T4" y="T5"/>
                </a:cxn>
                <a:cxn ang="0">
                  <a:pos x="T6" y="T7"/>
                </a:cxn>
                <a:cxn ang="0">
                  <a:pos x="T8" y="T9"/>
                </a:cxn>
                <a:cxn ang="0">
                  <a:pos x="T10" y="T11"/>
                </a:cxn>
                <a:cxn ang="0">
                  <a:pos x="T12" y="T13"/>
                </a:cxn>
              </a:cxnLst>
              <a:rect l="0" t="0" r="r" b="b"/>
              <a:pathLst>
                <a:path w="12" h="15">
                  <a:moveTo>
                    <a:pt x="2" y="14"/>
                  </a:moveTo>
                  <a:cubicBezTo>
                    <a:pt x="11" y="7"/>
                    <a:pt x="11" y="7"/>
                    <a:pt x="11" y="7"/>
                  </a:cubicBezTo>
                  <a:cubicBezTo>
                    <a:pt x="12" y="7"/>
                    <a:pt x="12" y="5"/>
                    <a:pt x="11" y="5"/>
                  </a:cubicBezTo>
                  <a:cubicBezTo>
                    <a:pt x="4" y="0"/>
                    <a:pt x="4" y="0"/>
                    <a:pt x="4" y="0"/>
                  </a:cubicBezTo>
                  <a:cubicBezTo>
                    <a:pt x="2" y="0"/>
                    <a:pt x="1" y="0"/>
                    <a:pt x="1" y="2"/>
                  </a:cubicBezTo>
                  <a:cubicBezTo>
                    <a:pt x="0" y="13"/>
                    <a:pt x="0" y="13"/>
                    <a:pt x="0" y="13"/>
                  </a:cubicBezTo>
                  <a:cubicBezTo>
                    <a:pt x="0" y="14"/>
                    <a:pt x="1" y="15"/>
                    <a:pt x="2" y="14"/>
                  </a:cubicBezTo>
                </a:path>
              </a:pathLst>
            </a:custGeom>
            <a:solidFill>
              <a:srgbClr val="CCCCC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80" name="Freeform 189">
              <a:extLst>
                <a:ext uri="{FF2B5EF4-FFF2-40B4-BE49-F238E27FC236}">
                  <a16:creationId xmlns:a16="http://schemas.microsoft.com/office/drawing/2014/main" id="{430614A7-8384-4492-98F4-5FD567570E95}"/>
                </a:ext>
              </a:extLst>
            </p:cNvPr>
            <p:cNvSpPr>
              <a:spLocks/>
            </p:cNvSpPr>
            <p:nvPr/>
          </p:nvSpPr>
          <p:spPr bwMode="auto">
            <a:xfrm>
              <a:off x="5652411" y="2090581"/>
              <a:ext cx="92250" cy="154281"/>
            </a:xfrm>
            <a:custGeom>
              <a:avLst/>
              <a:gdLst>
                <a:gd name="T0" fmla="*/ 45 w 47"/>
                <a:gd name="T1" fmla="*/ 71 h 79"/>
                <a:gd name="T2" fmla="*/ 40 w 47"/>
                <a:gd name="T3" fmla="*/ 62 h 79"/>
                <a:gd name="T4" fmla="*/ 40 w 47"/>
                <a:gd name="T5" fmla="*/ 62 h 79"/>
                <a:gd name="T6" fmla="*/ 40 w 47"/>
                <a:gd name="T7" fmla="*/ 61 h 79"/>
                <a:gd name="T8" fmla="*/ 39 w 47"/>
                <a:gd name="T9" fmla="*/ 60 h 79"/>
                <a:gd name="T10" fmla="*/ 39 w 47"/>
                <a:gd name="T11" fmla="*/ 59 h 79"/>
                <a:gd name="T12" fmla="*/ 38 w 47"/>
                <a:gd name="T13" fmla="*/ 58 h 79"/>
                <a:gd name="T14" fmla="*/ 38 w 47"/>
                <a:gd name="T15" fmla="*/ 58 h 79"/>
                <a:gd name="T16" fmla="*/ 37 w 47"/>
                <a:gd name="T17" fmla="*/ 57 h 79"/>
                <a:gd name="T18" fmla="*/ 37 w 47"/>
                <a:gd name="T19" fmla="*/ 56 h 79"/>
                <a:gd name="T20" fmla="*/ 22 w 47"/>
                <a:gd name="T21" fmla="*/ 29 h 79"/>
                <a:gd name="T22" fmla="*/ 3 w 47"/>
                <a:gd name="T23" fmla="*/ 1 h 79"/>
                <a:gd name="T24" fmla="*/ 14 w 47"/>
                <a:gd name="T25" fmla="*/ 34 h 79"/>
                <a:gd name="T26" fmla="*/ 35 w 47"/>
                <a:gd name="T27" fmla="*/ 78 h 79"/>
                <a:gd name="T28" fmla="*/ 41 w 47"/>
                <a:gd name="T29" fmla="*/ 78 h 79"/>
                <a:gd name="T30" fmla="*/ 45 w 47"/>
                <a:gd name="T31" fmla="*/ 71 h 79"/>
                <a:gd name="T32" fmla="*/ 45 w 47"/>
                <a:gd name="T33" fmla="*/ 71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7" h="79">
                  <a:moveTo>
                    <a:pt x="45" y="71"/>
                  </a:moveTo>
                  <a:cubicBezTo>
                    <a:pt x="44" y="69"/>
                    <a:pt x="42" y="66"/>
                    <a:pt x="40" y="62"/>
                  </a:cubicBezTo>
                  <a:cubicBezTo>
                    <a:pt x="40" y="62"/>
                    <a:pt x="40" y="62"/>
                    <a:pt x="40" y="62"/>
                  </a:cubicBezTo>
                  <a:cubicBezTo>
                    <a:pt x="40" y="62"/>
                    <a:pt x="40" y="61"/>
                    <a:pt x="40" y="61"/>
                  </a:cubicBezTo>
                  <a:cubicBezTo>
                    <a:pt x="40" y="61"/>
                    <a:pt x="39" y="60"/>
                    <a:pt x="39" y="60"/>
                  </a:cubicBezTo>
                  <a:cubicBezTo>
                    <a:pt x="39" y="60"/>
                    <a:pt x="39" y="60"/>
                    <a:pt x="39" y="59"/>
                  </a:cubicBezTo>
                  <a:cubicBezTo>
                    <a:pt x="39" y="59"/>
                    <a:pt x="39" y="59"/>
                    <a:pt x="38" y="58"/>
                  </a:cubicBezTo>
                  <a:cubicBezTo>
                    <a:pt x="38" y="58"/>
                    <a:pt x="38" y="58"/>
                    <a:pt x="38" y="58"/>
                  </a:cubicBezTo>
                  <a:cubicBezTo>
                    <a:pt x="38" y="58"/>
                    <a:pt x="38" y="57"/>
                    <a:pt x="37" y="57"/>
                  </a:cubicBezTo>
                  <a:cubicBezTo>
                    <a:pt x="37" y="57"/>
                    <a:pt x="37" y="56"/>
                    <a:pt x="37" y="56"/>
                  </a:cubicBezTo>
                  <a:cubicBezTo>
                    <a:pt x="32" y="47"/>
                    <a:pt x="26" y="35"/>
                    <a:pt x="22" y="29"/>
                  </a:cubicBezTo>
                  <a:cubicBezTo>
                    <a:pt x="15" y="18"/>
                    <a:pt x="6" y="0"/>
                    <a:pt x="3" y="1"/>
                  </a:cubicBezTo>
                  <a:cubicBezTo>
                    <a:pt x="0" y="3"/>
                    <a:pt x="11" y="26"/>
                    <a:pt x="14" y="34"/>
                  </a:cubicBezTo>
                  <a:cubicBezTo>
                    <a:pt x="18" y="43"/>
                    <a:pt x="32" y="76"/>
                    <a:pt x="35" y="78"/>
                  </a:cubicBezTo>
                  <a:cubicBezTo>
                    <a:pt x="38" y="79"/>
                    <a:pt x="39" y="78"/>
                    <a:pt x="41" y="78"/>
                  </a:cubicBezTo>
                  <a:cubicBezTo>
                    <a:pt x="43" y="77"/>
                    <a:pt x="47" y="74"/>
                    <a:pt x="45" y="71"/>
                  </a:cubicBezTo>
                  <a:cubicBezTo>
                    <a:pt x="45" y="71"/>
                    <a:pt x="45" y="71"/>
                    <a:pt x="45" y="71"/>
                  </a:cubicBezTo>
                </a:path>
              </a:pathLst>
            </a:custGeom>
            <a:solidFill>
              <a:srgbClr val="CCCCC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81" name="Freeform 190">
              <a:extLst>
                <a:ext uri="{FF2B5EF4-FFF2-40B4-BE49-F238E27FC236}">
                  <a16:creationId xmlns:a16="http://schemas.microsoft.com/office/drawing/2014/main" id="{E172D7E7-1F7B-4A32-B917-261BA339943E}"/>
                </a:ext>
              </a:extLst>
            </p:cNvPr>
            <p:cNvSpPr>
              <a:spLocks/>
            </p:cNvSpPr>
            <p:nvPr/>
          </p:nvSpPr>
          <p:spPr bwMode="auto">
            <a:xfrm>
              <a:off x="5730347" y="2244862"/>
              <a:ext cx="27039" cy="31810"/>
            </a:xfrm>
            <a:custGeom>
              <a:avLst/>
              <a:gdLst>
                <a:gd name="T0" fmla="*/ 13 w 14"/>
                <a:gd name="T1" fmla="*/ 9 h 16"/>
                <a:gd name="T2" fmla="*/ 10 w 14"/>
                <a:gd name="T3" fmla="*/ 2 h 16"/>
                <a:gd name="T4" fmla="*/ 6 w 14"/>
                <a:gd name="T5" fmla="*/ 1 h 16"/>
                <a:gd name="T6" fmla="*/ 2 w 14"/>
                <a:gd name="T7" fmla="*/ 3 h 16"/>
                <a:gd name="T8" fmla="*/ 0 w 14"/>
                <a:gd name="T9" fmla="*/ 7 h 16"/>
                <a:gd name="T10" fmla="*/ 5 w 14"/>
                <a:gd name="T11" fmla="*/ 14 h 16"/>
                <a:gd name="T12" fmla="*/ 9 w 14"/>
                <a:gd name="T13" fmla="*/ 15 h 16"/>
                <a:gd name="T14" fmla="*/ 12 w 14"/>
                <a:gd name="T15" fmla="*/ 13 h 16"/>
                <a:gd name="T16" fmla="*/ 13 w 14"/>
                <a:gd name="T17" fmla="*/ 9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 h="16">
                  <a:moveTo>
                    <a:pt x="13" y="9"/>
                  </a:moveTo>
                  <a:cubicBezTo>
                    <a:pt x="10" y="2"/>
                    <a:pt x="10" y="2"/>
                    <a:pt x="10" y="2"/>
                  </a:cubicBezTo>
                  <a:cubicBezTo>
                    <a:pt x="9" y="1"/>
                    <a:pt x="7" y="0"/>
                    <a:pt x="6" y="1"/>
                  </a:cubicBezTo>
                  <a:cubicBezTo>
                    <a:pt x="2" y="3"/>
                    <a:pt x="2" y="3"/>
                    <a:pt x="2" y="3"/>
                  </a:cubicBezTo>
                  <a:cubicBezTo>
                    <a:pt x="0" y="4"/>
                    <a:pt x="0" y="6"/>
                    <a:pt x="0" y="7"/>
                  </a:cubicBezTo>
                  <a:cubicBezTo>
                    <a:pt x="5" y="14"/>
                    <a:pt x="5" y="14"/>
                    <a:pt x="5" y="14"/>
                  </a:cubicBezTo>
                  <a:cubicBezTo>
                    <a:pt x="6" y="15"/>
                    <a:pt x="8" y="16"/>
                    <a:pt x="9" y="15"/>
                  </a:cubicBezTo>
                  <a:cubicBezTo>
                    <a:pt x="12" y="13"/>
                    <a:pt x="12" y="13"/>
                    <a:pt x="12" y="13"/>
                  </a:cubicBezTo>
                  <a:cubicBezTo>
                    <a:pt x="13" y="12"/>
                    <a:pt x="14" y="11"/>
                    <a:pt x="13" y="9"/>
                  </a:cubicBezTo>
                </a:path>
              </a:pathLst>
            </a:custGeom>
            <a:solidFill>
              <a:srgbClr val="CCCCC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82" name="Freeform 191">
              <a:extLst>
                <a:ext uri="{FF2B5EF4-FFF2-40B4-BE49-F238E27FC236}">
                  <a16:creationId xmlns:a16="http://schemas.microsoft.com/office/drawing/2014/main" id="{91587674-B758-4E35-8CA6-70ABC174C0CF}"/>
                </a:ext>
              </a:extLst>
            </p:cNvPr>
            <p:cNvSpPr>
              <a:spLocks/>
            </p:cNvSpPr>
            <p:nvPr/>
          </p:nvSpPr>
          <p:spPr bwMode="auto">
            <a:xfrm>
              <a:off x="5746252" y="2268720"/>
              <a:ext cx="33401" cy="42944"/>
            </a:xfrm>
            <a:custGeom>
              <a:avLst/>
              <a:gdLst>
                <a:gd name="T0" fmla="*/ 4 w 17"/>
                <a:gd name="T1" fmla="*/ 7 h 22"/>
                <a:gd name="T2" fmla="*/ 4 w 17"/>
                <a:gd name="T3" fmla="*/ 14 h 22"/>
                <a:gd name="T4" fmla="*/ 15 w 17"/>
                <a:gd name="T5" fmla="*/ 22 h 22"/>
                <a:gd name="T6" fmla="*/ 4 w 17"/>
                <a:gd name="T7" fmla="*/ 7 h 22"/>
              </a:gdLst>
              <a:ahLst/>
              <a:cxnLst>
                <a:cxn ang="0">
                  <a:pos x="T0" y="T1"/>
                </a:cxn>
                <a:cxn ang="0">
                  <a:pos x="T2" y="T3"/>
                </a:cxn>
                <a:cxn ang="0">
                  <a:pos x="T4" y="T5"/>
                </a:cxn>
                <a:cxn ang="0">
                  <a:pos x="T6" y="T7"/>
                </a:cxn>
              </a:cxnLst>
              <a:rect l="0" t="0" r="r" b="b"/>
              <a:pathLst>
                <a:path w="17" h="22">
                  <a:moveTo>
                    <a:pt x="4" y="7"/>
                  </a:moveTo>
                  <a:cubicBezTo>
                    <a:pt x="3" y="8"/>
                    <a:pt x="0" y="10"/>
                    <a:pt x="4" y="14"/>
                  </a:cubicBezTo>
                  <a:cubicBezTo>
                    <a:pt x="7" y="19"/>
                    <a:pt x="14" y="19"/>
                    <a:pt x="15" y="22"/>
                  </a:cubicBezTo>
                  <a:cubicBezTo>
                    <a:pt x="15" y="22"/>
                    <a:pt x="17" y="0"/>
                    <a:pt x="4" y="7"/>
                  </a:cubicBezTo>
                </a:path>
              </a:pathLst>
            </a:custGeom>
            <a:solidFill>
              <a:srgbClr val="CCCCC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83" name="Freeform 192">
              <a:extLst>
                <a:ext uri="{FF2B5EF4-FFF2-40B4-BE49-F238E27FC236}">
                  <a16:creationId xmlns:a16="http://schemas.microsoft.com/office/drawing/2014/main" id="{2AB3A13F-4063-41DD-8A80-119AC4C72DCC}"/>
                </a:ext>
              </a:extLst>
            </p:cNvPr>
            <p:cNvSpPr>
              <a:spLocks/>
            </p:cNvSpPr>
            <p:nvPr/>
          </p:nvSpPr>
          <p:spPr bwMode="auto">
            <a:xfrm>
              <a:off x="4639249" y="2462763"/>
              <a:ext cx="93841" cy="89069"/>
            </a:xfrm>
            <a:custGeom>
              <a:avLst/>
              <a:gdLst>
                <a:gd name="T0" fmla="*/ 0 w 59"/>
                <a:gd name="T1" fmla="*/ 48 h 56"/>
                <a:gd name="T2" fmla="*/ 59 w 59"/>
                <a:gd name="T3" fmla="*/ 56 h 56"/>
                <a:gd name="T4" fmla="*/ 59 w 59"/>
                <a:gd name="T5" fmla="*/ 0 h 56"/>
                <a:gd name="T6" fmla="*/ 0 w 59"/>
                <a:gd name="T7" fmla="*/ 0 h 56"/>
                <a:gd name="T8" fmla="*/ 0 w 59"/>
                <a:gd name="T9" fmla="*/ 48 h 56"/>
              </a:gdLst>
              <a:ahLst/>
              <a:cxnLst>
                <a:cxn ang="0">
                  <a:pos x="T0" y="T1"/>
                </a:cxn>
                <a:cxn ang="0">
                  <a:pos x="T2" y="T3"/>
                </a:cxn>
                <a:cxn ang="0">
                  <a:pos x="T4" y="T5"/>
                </a:cxn>
                <a:cxn ang="0">
                  <a:pos x="T6" y="T7"/>
                </a:cxn>
                <a:cxn ang="0">
                  <a:pos x="T8" y="T9"/>
                </a:cxn>
              </a:cxnLst>
              <a:rect l="0" t="0" r="r" b="b"/>
              <a:pathLst>
                <a:path w="59" h="56">
                  <a:moveTo>
                    <a:pt x="0" y="48"/>
                  </a:moveTo>
                  <a:lnTo>
                    <a:pt x="59" y="56"/>
                  </a:lnTo>
                  <a:lnTo>
                    <a:pt x="59" y="0"/>
                  </a:lnTo>
                  <a:lnTo>
                    <a:pt x="0" y="0"/>
                  </a:lnTo>
                  <a:lnTo>
                    <a:pt x="0" y="48"/>
                  </a:lnTo>
                  <a:close/>
                </a:path>
              </a:pathLst>
            </a:custGeom>
            <a:solidFill>
              <a:srgbClr val="CCCCC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84" name="Freeform 193">
              <a:extLst>
                <a:ext uri="{FF2B5EF4-FFF2-40B4-BE49-F238E27FC236}">
                  <a16:creationId xmlns:a16="http://schemas.microsoft.com/office/drawing/2014/main" id="{476027EE-0EC3-4E96-814F-1EEEAEC42134}"/>
                </a:ext>
              </a:extLst>
            </p:cNvPr>
            <p:cNvSpPr>
              <a:spLocks/>
            </p:cNvSpPr>
            <p:nvPr/>
          </p:nvSpPr>
          <p:spPr bwMode="auto">
            <a:xfrm>
              <a:off x="4745814" y="2462763"/>
              <a:ext cx="127242" cy="111336"/>
            </a:xfrm>
            <a:custGeom>
              <a:avLst/>
              <a:gdLst>
                <a:gd name="T0" fmla="*/ 0 w 80"/>
                <a:gd name="T1" fmla="*/ 58 h 70"/>
                <a:gd name="T2" fmla="*/ 80 w 80"/>
                <a:gd name="T3" fmla="*/ 70 h 70"/>
                <a:gd name="T4" fmla="*/ 80 w 80"/>
                <a:gd name="T5" fmla="*/ 0 h 70"/>
                <a:gd name="T6" fmla="*/ 0 w 80"/>
                <a:gd name="T7" fmla="*/ 0 h 70"/>
                <a:gd name="T8" fmla="*/ 0 w 80"/>
                <a:gd name="T9" fmla="*/ 58 h 70"/>
              </a:gdLst>
              <a:ahLst/>
              <a:cxnLst>
                <a:cxn ang="0">
                  <a:pos x="T0" y="T1"/>
                </a:cxn>
                <a:cxn ang="0">
                  <a:pos x="T2" y="T3"/>
                </a:cxn>
                <a:cxn ang="0">
                  <a:pos x="T4" y="T5"/>
                </a:cxn>
                <a:cxn ang="0">
                  <a:pos x="T6" y="T7"/>
                </a:cxn>
                <a:cxn ang="0">
                  <a:pos x="T8" y="T9"/>
                </a:cxn>
              </a:cxnLst>
              <a:rect l="0" t="0" r="r" b="b"/>
              <a:pathLst>
                <a:path w="80" h="70">
                  <a:moveTo>
                    <a:pt x="0" y="58"/>
                  </a:moveTo>
                  <a:lnTo>
                    <a:pt x="80" y="70"/>
                  </a:lnTo>
                  <a:lnTo>
                    <a:pt x="80" y="0"/>
                  </a:lnTo>
                  <a:lnTo>
                    <a:pt x="0" y="0"/>
                  </a:lnTo>
                  <a:lnTo>
                    <a:pt x="0" y="58"/>
                  </a:lnTo>
                  <a:close/>
                </a:path>
              </a:pathLst>
            </a:custGeom>
            <a:solidFill>
              <a:srgbClr val="CCCCC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85" name="Freeform 194">
              <a:extLst>
                <a:ext uri="{FF2B5EF4-FFF2-40B4-BE49-F238E27FC236}">
                  <a16:creationId xmlns:a16="http://schemas.microsoft.com/office/drawing/2014/main" id="{43DA2F64-B59B-4EC6-B559-2ECC0D57BD6C}"/>
                </a:ext>
              </a:extLst>
            </p:cNvPr>
            <p:cNvSpPr>
              <a:spLocks/>
            </p:cNvSpPr>
            <p:nvPr/>
          </p:nvSpPr>
          <p:spPr bwMode="auto">
            <a:xfrm>
              <a:off x="4745814" y="2340293"/>
              <a:ext cx="127242" cy="109746"/>
            </a:xfrm>
            <a:custGeom>
              <a:avLst/>
              <a:gdLst>
                <a:gd name="T0" fmla="*/ 0 w 80"/>
                <a:gd name="T1" fmla="*/ 69 h 69"/>
                <a:gd name="T2" fmla="*/ 80 w 80"/>
                <a:gd name="T3" fmla="*/ 69 h 69"/>
                <a:gd name="T4" fmla="*/ 80 w 80"/>
                <a:gd name="T5" fmla="*/ 0 h 69"/>
                <a:gd name="T6" fmla="*/ 0 w 80"/>
                <a:gd name="T7" fmla="*/ 11 h 69"/>
                <a:gd name="T8" fmla="*/ 0 w 80"/>
                <a:gd name="T9" fmla="*/ 69 h 69"/>
              </a:gdLst>
              <a:ahLst/>
              <a:cxnLst>
                <a:cxn ang="0">
                  <a:pos x="T0" y="T1"/>
                </a:cxn>
                <a:cxn ang="0">
                  <a:pos x="T2" y="T3"/>
                </a:cxn>
                <a:cxn ang="0">
                  <a:pos x="T4" y="T5"/>
                </a:cxn>
                <a:cxn ang="0">
                  <a:pos x="T6" y="T7"/>
                </a:cxn>
                <a:cxn ang="0">
                  <a:pos x="T8" y="T9"/>
                </a:cxn>
              </a:cxnLst>
              <a:rect l="0" t="0" r="r" b="b"/>
              <a:pathLst>
                <a:path w="80" h="69">
                  <a:moveTo>
                    <a:pt x="0" y="69"/>
                  </a:moveTo>
                  <a:lnTo>
                    <a:pt x="80" y="69"/>
                  </a:lnTo>
                  <a:lnTo>
                    <a:pt x="80" y="0"/>
                  </a:lnTo>
                  <a:lnTo>
                    <a:pt x="0" y="11"/>
                  </a:lnTo>
                  <a:lnTo>
                    <a:pt x="0" y="69"/>
                  </a:lnTo>
                  <a:close/>
                </a:path>
              </a:pathLst>
            </a:custGeom>
            <a:solidFill>
              <a:srgbClr val="CCCCC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86" name="Freeform 195">
              <a:extLst>
                <a:ext uri="{FF2B5EF4-FFF2-40B4-BE49-F238E27FC236}">
                  <a16:creationId xmlns:a16="http://schemas.microsoft.com/office/drawing/2014/main" id="{47FB8203-257A-4AF4-B515-D4D8C4CF0330}"/>
                </a:ext>
              </a:extLst>
            </p:cNvPr>
            <p:cNvSpPr>
              <a:spLocks/>
            </p:cNvSpPr>
            <p:nvPr/>
          </p:nvSpPr>
          <p:spPr bwMode="auto">
            <a:xfrm>
              <a:off x="4639249" y="2359379"/>
              <a:ext cx="93841" cy="90660"/>
            </a:xfrm>
            <a:custGeom>
              <a:avLst/>
              <a:gdLst>
                <a:gd name="T0" fmla="*/ 59 w 59"/>
                <a:gd name="T1" fmla="*/ 0 h 57"/>
                <a:gd name="T2" fmla="*/ 0 w 59"/>
                <a:gd name="T3" fmla="*/ 9 h 57"/>
                <a:gd name="T4" fmla="*/ 0 w 59"/>
                <a:gd name="T5" fmla="*/ 57 h 57"/>
                <a:gd name="T6" fmla="*/ 59 w 59"/>
                <a:gd name="T7" fmla="*/ 57 h 57"/>
                <a:gd name="T8" fmla="*/ 59 w 59"/>
                <a:gd name="T9" fmla="*/ 0 h 57"/>
              </a:gdLst>
              <a:ahLst/>
              <a:cxnLst>
                <a:cxn ang="0">
                  <a:pos x="T0" y="T1"/>
                </a:cxn>
                <a:cxn ang="0">
                  <a:pos x="T2" y="T3"/>
                </a:cxn>
                <a:cxn ang="0">
                  <a:pos x="T4" y="T5"/>
                </a:cxn>
                <a:cxn ang="0">
                  <a:pos x="T6" y="T7"/>
                </a:cxn>
                <a:cxn ang="0">
                  <a:pos x="T8" y="T9"/>
                </a:cxn>
              </a:cxnLst>
              <a:rect l="0" t="0" r="r" b="b"/>
              <a:pathLst>
                <a:path w="59" h="57">
                  <a:moveTo>
                    <a:pt x="59" y="0"/>
                  </a:moveTo>
                  <a:lnTo>
                    <a:pt x="0" y="9"/>
                  </a:lnTo>
                  <a:lnTo>
                    <a:pt x="0" y="57"/>
                  </a:lnTo>
                  <a:lnTo>
                    <a:pt x="59" y="57"/>
                  </a:lnTo>
                  <a:lnTo>
                    <a:pt x="59" y="0"/>
                  </a:lnTo>
                  <a:close/>
                </a:path>
              </a:pathLst>
            </a:custGeom>
            <a:solidFill>
              <a:srgbClr val="CCCCC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87" name="Freeform 196">
              <a:extLst>
                <a:ext uri="{FF2B5EF4-FFF2-40B4-BE49-F238E27FC236}">
                  <a16:creationId xmlns:a16="http://schemas.microsoft.com/office/drawing/2014/main" id="{5ECE4D2B-EAEC-4CB5-8AA3-6E31BD4D3607}"/>
                </a:ext>
              </a:extLst>
            </p:cNvPr>
            <p:cNvSpPr>
              <a:spLocks/>
            </p:cNvSpPr>
            <p:nvPr/>
          </p:nvSpPr>
          <p:spPr bwMode="auto">
            <a:xfrm>
              <a:off x="3894884" y="2750648"/>
              <a:ext cx="36582" cy="41354"/>
            </a:xfrm>
            <a:custGeom>
              <a:avLst/>
              <a:gdLst>
                <a:gd name="T0" fmla="*/ 12 w 19"/>
                <a:gd name="T1" fmla="*/ 1 h 21"/>
                <a:gd name="T2" fmla="*/ 1 w 19"/>
                <a:gd name="T3" fmla="*/ 8 h 21"/>
                <a:gd name="T4" fmla="*/ 7 w 19"/>
                <a:gd name="T5" fmla="*/ 20 h 21"/>
                <a:gd name="T6" fmla="*/ 17 w 19"/>
                <a:gd name="T7" fmla="*/ 13 h 21"/>
                <a:gd name="T8" fmla="*/ 12 w 19"/>
                <a:gd name="T9" fmla="*/ 1 h 21"/>
              </a:gdLst>
              <a:ahLst/>
              <a:cxnLst>
                <a:cxn ang="0">
                  <a:pos x="T0" y="T1"/>
                </a:cxn>
                <a:cxn ang="0">
                  <a:pos x="T2" y="T3"/>
                </a:cxn>
                <a:cxn ang="0">
                  <a:pos x="T4" y="T5"/>
                </a:cxn>
                <a:cxn ang="0">
                  <a:pos x="T6" y="T7"/>
                </a:cxn>
                <a:cxn ang="0">
                  <a:pos x="T8" y="T9"/>
                </a:cxn>
              </a:cxnLst>
              <a:rect l="0" t="0" r="r" b="b"/>
              <a:pathLst>
                <a:path w="19" h="21">
                  <a:moveTo>
                    <a:pt x="12" y="1"/>
                  </a:moveTo>
                  <a:cubicBezTo>
                    <a:pt x="8" y="0"/>
                    <a:pt x="3" y="3"/>
                    <a:pt x="1" y="8"/>
                  </a:cubicBezTo>
                  <a:cubicBezTo>
                    <a:pt x="0" y="13"/>
                    <a:pt x="2" y="18"/>
                    <a:pt x="7" y="20"/>
                  </a:cubicBezTo>
                  <a:cubicBezTo>
                    <a:pt x="11" y="21"/>
                    <a:pt x="16" y="18"/>
                    <a:pt x="17" y="13"/>
                  </a:cubicBezTo>
                  <a:cubicBezTo>
                    <a:pt x="19" y="8"/>
                    <a:pt x="17" y="2"/>
                    <a:pt x="12" y="1"/>
                  </a:cubicBezTo>
                </a:path>
              </a:pathLst>
            </a:custGeom>
            <a:solidFill>
              <a:srgbClr val="CCCCC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88" name="Freeform 197">
              <a:extLst>
                <a:ext uri="{FF2B5EF4-FFF2-40B4-BE49-F238E27FC236}">
                  <a16:creationId xmlns:a16="http://schemas.microsoft.com/office/drawing/2014/main" id="{F01F0D0A-82C1-42BC-9E1F-4B18E04E4514}"/>
                </a:ext>
              </a:extLst>
            </p:cNvPr>
            <p:cNvSpPr>
              <a:spLocks noEditPoints="1"/>
            </p:cNvSpPr>
            <p:nvPr/>
          </p:nvSpPr>
          <p:spPr bwMode="auto">
            <a:xfrm>
              <a:off x="3734241" y="2590005"/>
              <a:ext cx="238578" cy="238578"/>
            </a:xfrm>
            <a:custGeom>
              <a:avLst/>
              <a:gdLst>
                <a:gd name="T0" fmla="*/ 103 w 122"/>
                <a:gd name="T1" fmla="*/ 70 h 123"/>
                <a:gd name="T2" fmla="*/ 85 w 122"/>
                <a:gd name="T3" fmla="*/ 63 h 123"/>
                <a:gd name="T4" fmla="*/ 90 w 122"/>
                <a:gd name="T5" fmla="*/ 39 h 123"/>
                <a:gd name="T6" fmla="*/ 78 w 122"/>
                <a:gd name="T7" fmla="*/ 22 h 123"/>
                <a:gd name="T8" fmla="*/ 61 w 122"/>
                <a:gd name="T9" fmla="*/ 15 h 123"/>
                <a:gd name="T10" fmla="*/ 57 w 122"/>
                <a:gd name="T11" fmla="*/ 5 h 123"/>
                <a:gd name="T12" fmla="*/ 75 w 122"/>
                <a:gd name="T13" fmla="*/ 25 h 123"/>
                <a:gd name="T14" fmla="*/ 81 w 122"/>
                <a:gd name="T15" fmla="*/ 36 h 123"/>
                <a:gd name="T16" fmla="*/ 77 w 122"/>
                <a:gd name="T17" fmla="*/ 44 h 123"/>
                <a:gd name="T18" fmla="*/ 72 w 122"/>
                <a:gd name="T19" fmla="*/ 51 h 123"/>
                <a:gd name="T20" fmla="*/ 51 w 122"/>
                <a:gd name="T21" fmla="*/ 24 h 123"/>
                <a:gd name="T22" fmla="*/ 39 w 122"/>
                <a:gd name="T23" fmla="*/ 18 h 123"/>
                <a:gd name="T24" fmla="*/ 31 w 122"/>
                <a:gd name="T25" fmla="*/ 0 h 123"/>
                <a:gd name="T26" fmla="*/ 41 w 122"/>
                <a:gd name="T27" fmla="*/ 27 h 123"/>
                <a:gd name="T28" fmla="*/ 59 w 122"/>
                <a:gd name="T29" fmla="*/ 55 h 123"/>
                <a:gd name="T30" fmla="*/ 46 w 122"/>
                <a:gd name="T31" fmla="*/ 52 h 123"/>
                <a:gd name="T32" fmla="*/ 36 w 122"/>
                <a:gd name="T33" fmla="*/ 46 h 123"/>
                <a:gd name="T34" fmla="*/ 24 w 122"/>
                <a:gd name="T35" fmla="*/ 19 h 123"/>
                <a:gd name="T36" fmla="*/ 0 w 122"/>
                <a:gd name="T37" fmla="*/ 21 h 123"/>
                <a:gd name="T38" fmla="*/ 20 w 122"/>
                <a:gd name="T39" fmla="*/ 23 h 123"/>
                <a:gd name="T40" fmla="*/ 30 w 122"/>
                <a:gd name="T41" fmla="*/ 52 h 123"/>
                <a:gd name="T42" fmla="*/ 41 w 122"/>
                <a:gd name="T43" fmla="*/ 64 h 123"/>
                <a:gd name="T44" fmla="*/ 51 w 122"/>
                <a:gd name="T45" fmla="*/ 71 h 123"/>
                <a:gd name="T46" fmla="*/ 38 w 122"/>
                <a:gd name="T47" fmla="*/ 73 h 123"/>
                <a:gd name="T48" fmla="*/ 23 w 122"/>
                <a:gd name="T49" fmla="*/ 73 h 123"/>
                <a:gd name="T50" fmla="*/ 19 w 122"/>
                <a:gd name="T51" fmla="*/ 43 h 123"/>
                <a:gd name="T52" fmla="*/ 8 w 122"/>
                <a:gd name="T53" fmla="*/ 37 h 123"/>
                <a:gd name="T54" fmla="*/ 12 w 122"/>
                <a:gd name="T55" fmla="*/ 67 h 123"/>
                <a:gd name="T56" fmla="*/ 28 w 122"/>
                <a:gd name="T57" fmla="*/ 86 h 123"/>
                <a:gd name="T58" fmla="*/ 55 w 122"/>
                <a:gd name="T59" fmla="*/ 85 h 123"/>
                <a:gd name="T60" fmla="*/ 59 w 122"/>
                <a:gd name="T61" fmla="*/ 99 h 123"/>
                <a:gd name="T62" fmla="*/ 81 w 122"/>
                <a:gd name="T63" fmla="*/ 120 h 123"/>
                <a:gd name="T64" fmla="*/ 103 w 122"/>
                <a:gd name="T65" fmla="*/ 70 h 123"/>
                <a:gd name="T66" fmla="*/ 106 w 122"/>
                <a:gd name="T67" fmla="*/ 98 h 123"/>
                <a:gd name="T68" fmla="*/ 80 w 122"/>
                <a:gd name="T69" fmla="*/ 114 h 123"/>
                <a:gd name="T70" fmla="*/ 68 w 122"/>
                <a:gd name="T71" fmla="*/ 86 h 123"/>
                <a:gd name="T72" fmla="*/ 93 w 122"/>
                <a:gd name="T73" fmla="*/ 70 h 123"/>
                <a:gd name="T74" fmla="*/ 106 w 122"/>
                <a:gd name="T75" fmla="*/ 98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2" h="123">
                  <a:moveTo>
                    <a:pt x="103" y="70"/>
                  </a:moveTo>
                  <a:cubicBezTo>
                    <a:pt x="99" y="65"/>
                    <a:pt x="94" y="65"/>
                    <a:pt x="85" y="63"/>
                  </a:cubicBezTo>
                  <a:cubicBezTo>
                    <a:pt x="81" y="52"/>
                    <a:pt x="90" y="48"/>
                    <a:pt x="90" y="39"/>
                  </a:cubicBezTo>
                  <a:cubicBezTo>
                    <a:pt x="90" y="31"/>
                    <a:pt x="83" y="25"/>
                    <a:pt x="78" y="22"/>
                  </a:cubicBezTo>
                  <a:cubicBezTo>
                    <a:pt x="73" y="19"/>
                    <a:pt x="66" y="19"/>
                    <a:pt x="61" y="15"/>
                  </a:cubicBezTo>
                  <a:cubicBezTo>
                    <a:pt x="58" y="13"/>
                    <a:pt x="58" y="9"/>
                    <a:pt x="57" y="5"/>
                  </a:cubicBezTo>
                  <a:cubicBezTo>
                    <a:pt x="54" y="21"/>
                    <a:pt x="67" y="19"/>
                    <a:pt x="75" y="25"/>
                  </a:cubicBezTo>
                  <a:cubicBezTo>
                    <a:pt x="78" y="28"/>
                    <a:pt x="81" y="31"/>
                    <a:pt x="81" y="36"/>
                  </a:cubicBezTo>
                  <a:cubicBezTo>
                    <a:pt x="81" y="40"/>
                    <a:pt x="79" y="42"/>
                    <a:pt x="77" y="44"/>
                  </a:cubicBezTo>
                  <a:cubicBezTo>
                    <a:pt x="75" y="47"/>
                    <a:pt x="74" y="50"/>
                    <a:pt x="72" y="51"/>
                  </a:cubicBezTo>
                  <a:cubicBezTo>
                    <a:pt x="69" y="38"/>
                    <a:pt x="61" y="29"/>
                    <a:pt x="51" y="24"/>
                  </a:cubicBezTo>
                  <a:cubicBezTo>
                    <a:pt x="48" y="22"/>
                    <a:pt x="43" y="21"/>
                    <a:pt x="39" y="18"/>
                  </a:cubicBezTo>
                  <a:cubicBezTo>
                    <a:pt x="34" y="14"/>
                    <a:pt x="33" y="8"/>
                    <a:pt x="31" y="0"/>
                  </a:cubicBezTo>
                  <a:cubicBezTo>
                    <a:pt x="30" y="15"/>
                    <a:pt x="35" y="21"/>
                    <a:pt x="41" y="27"/>
                  </a:cubicBezTo>
                  <a:cubicBezTo>
                    <a:pt x="49" y="35"/>
                    <a:pt x="63" y="37"/>
                    <a:pt x="59" y="55"/>
                  </a:cubicBezTo>
                  <a:cubicBezTo>
                    <a:pt x="53" y="55"/>
                    <a:pt x="50" y="53"/>
                    <a:pt x="46" y="52"/>
                  </a:cubicBezTo>
                  <a:cubicBezTo>
                    <a:pt x="43" y="51"/>
                    <a:pt x="39" y="49"/>
                    <a:pt x="36" y="46"/>
                  </a:cubicBezTo>
                  <a:cubicBezTo>
                    <a:pt x="30" y="39"/>
                    <a:pt x="31" y="24"/>
                    <a:pt x="24" y="19"/>
                  </a:cubicBezTo>
                  <a:cubicBezTo>
                    <a:pt x="19" y="15"/>
                    <a:pt x="5" y="16"/>
                    <a:pt x="0" y="21"/>
                  </a:cubicBezTo>
                  <a:cubicBezTo>
                    <a:pt x="8" y="19"/>
                    <a:pt x="16" y="19"/>
                    <a:pt x="20" y="23"/>
                  </a:cubicBezTo>
                  <a:cubicBezTo>
                    <a:pt x="26" y="29"/>
                    <a:pt x="26" y="44"/>
                    <a:pt x="30" y="52"/>
                  </a:cubicBezTo>
                  <a:cubicBezTo>
                    <a:pt x="32" y="57"/>
                    <a:pt x="37" y="62"/>
                    <a:pt x="41" y="64"/>
                  </a:cubicBezTo>
                  <a:cubicBezTo>
                    <a:pt x="44" y="67"/>
                    <a:pt x="48" y="67"/>
                    <a:pt x="51" y="71"/>
                  </a:cubicBezTo>
                  <a:cubicBezTo>
                    <a:pt x="46" y="71"/>
                    <a:pt x="43" y="73"/>
                    <a:pt x="38" y="73"/>
                  </a:cubicBezTo>
                  <a:cubicBezTo>
                    <a:pt x="33" y="74"/>
                    <a:pt x="27" y="75"/>
                    <a:pt x="23" y="73"/>
                  </a:cubicBezTo>
                  <a:cubicBezTo>
                    <a:pt x="16" y="68"/>
                    <a:pt x="23" y="52"/>
                    <a:pt x="19" y="43"/>
                  </a:cubicBezTo>
                  <a:cubicBezTo>
                    <a:pt x="17" y="39"/>
                    <a:pt x="13" y="38"/>
                    <a:pt x="8" y="37"/>
                  </a:cubicBezTo>
                  <a:cubicBezTo>
                    <a:pt x="19" y="42"/>
                    <a:pt x="11" y="57"/>
                    <a:pt x="12" y="67"/>
                  </a:cubicBezTo>
                  <a:cubicBezTo>
                    <a:pt x="12" y="78"/>
                    <a:pt x="19" y="85"/>
                    <a:pt x="28" y="86"/>
                  </a:cubicBezTo>
                  <a:cubicBezTo>
                    <a:pt x="37" y="88"/>
                    <a:pt x="47" y="82"/>
                    <a:pt x="55" y="85"/>
                  </a:cubicBezTo>
                  <a:cubicBezTo>
                    <a:pt x="60" y="87"/>
                    <a:pt x="58" y="92"/>
                    <a:pt x="59" y="99"/>
                  </a:cubicBezTo>
                  <a:cubicBezTo>
                    <a:pt x="61" y="110"/>
                    <a:pt x="69" y="119"/>
                    <a:pt x="81" y="120"/>
                  </a:cubicBezTo>
                  <a:cubicBezTo>
                    <a:pt x="108" y="123"/>
                    <a:pt x="122" y="86"/>
                    <a:pt x="103" y="70"/>
                  </a:cubicBezTo>
                  <a:moveTo>
                    <a:pt x="106" y="98"/>
                  </a:moveTo>
                  <a:cubicBezTo>
                    <a:pt x="102" y="110"/>
                    <a:pt x="91" y="118"/>
                    <a:pt x="80" y="114"/>
                  </a:cubicBezTo>
                  <a:cubicBezTo>
                    <a:pt x="70" y="111"/>
                    <a:pt x="64" y="99"/>
                    <a:pt x="68" y="86"/>
                  </a:cubicBezTo>
                  <a:cubicBezTo>
                    <a:pt x="72" y="74"/>
                    <a:pt x="83" y="67"/>
                    <a:pt x="93" y="70"/>
                  </a:cubicBezTo>
                  <a:cubicBezTo>
                    <a:pt x="104" y="73"/>
                    <a:pt x="110" y="86"/>
                    <a:pt x="106" y="98"/>
                  </a:cubicBezTo>
                </a:path>
              </a:pathLst>
            </a:custGeom>
            <a:solidFill>
              <a:srgbClr val="CCCCC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89" name="Freeform 198">
              <a:extLst>
                <a:ext uri="{FF2B5EF4-FFF2-40B4-BE49-F238E27FC236}">
                  <a16:creationId xmlns:a16="http://schemas.microsoft.com/office/drawing/2014/main" id="{DC060DD6-2933-48CB-8F80-1F745C24BA8D}"/>
                </a:ext>
              </a:extLst>
            </p:cNvPr>
            <p:cNvSpPr>
              <a:spLocks noEditPoints="1"/>
            </p:cNvSpPr>
            <p:nvPr/>
          </p:nvSpPr>
          <p:spPr bwMode="auto">
            <a:xfrm>
              <a:off x="5555390" y="3342321"/>
              <a:ext cx="233807" cy="233807"/>
            </a:xfrm>
            <a:custGeom>
              <a:avLst/>
              <a:gdLst>
                <a:gd name="T0" fmla="*/ 64 w 120"/>
                <a:gd name="T1" fmla="*/ 0 h 120"/>
                <a:gd name="T2" fmla="*/ 57 w 120"/>
                <a:gd name="T3" fmla="*/ 0 h 120"/>
                <a:gd name="T4" fmla="*/ 7 w 120"/>
                <a:gd name="T5" fmla="*/ 33 h 120"/>
                <a:gd name="T6" fmla="*/ 0 w 120"/>
                <a:gd name="T7" fmla="*/ 57 h 120"/>
                <a:gd name="T8" fmla="*/ 1 w 120"/>
                <a:gd name="T9" fmla="*/ 69 h 120"/>
                <a:gd name="T10" fmla="*/ 56 w 120"/>
                <a:gd name="T11" fmla="*/ 120 h 120"/>
                <a:gd name="T12" fmla="*/ 63 w 120"/>
                <a:gd name="T13" fmla="*/ 120 h 120"/>
                <a:gd name="T14" fmla="*/ 114 w 120"/>
                <a:gd name="T15" fmla="*/ 87 h 120"/>
                <a:gd name="T16" fmla="*/ 120 w 120"/>
                <a:gd name="T17" fmla="*/ 63 h 120"/>
                <a:gd name="T18" fmla="*/ 119 w 120"/>
                <a:gd name="T19" fmla="*/ 51 h 120"/>
                <a:gd name="T20" fmla="*/ 36 w 120"/>
                <a:gd name="T21" fmla="*/ 108 h 120"/>
                <a:gd name="T22" fmla="*/ 11 w 120"/>
                <a:gd name="T23" fmla="*/ 38 h 120"/>
                <a:gd name="T24" fmla="*/ 37 w 120"/>
                <a:gd name="T25" fmla="*/ 108 h 120"/>
                <a:gd name="T26" fmla="*/ 45 w 120"/>
                <a:gd name="T27" fmla="*/ 112 h 120"/>
                <a:gd name="T28" fmla="*/ 61 w 120"/>
                <a:gd name="T29" fmla="*/ 65 h 120"/>
                <a:gd name="T30" fmla="*/ 45 w 120"/>
                <a:gd name="T31" fmla="*/ 112 h 120"/>
                <a:gd name="T32" fmla="*/ 68 w 120"/>
                <a:gd name="T33" fmla="*/ 35 h 120"/>
                <a:gd name="T34" fmla="*/ 74 w 120"/>
                <a:gd name="T35" fmla="*/ 34 h 120"/>
                <a:gd name="T36" fmla="*/ 73 w 120"/>
                <a:gd name="T37" fmla="*/ 30 h 120"/>
                <a:gd name="T38" fmla="*/ 46 w 120"/>
                <a:gd name="T39" fmla="*/ 30 h 120"/>
                <a:gd name="T40" fmla="*/ 43 w 120"/>
                <a:gd name="T41" fmla="*/ 32 h 120"/>
                <a:gd name="T42" fmla="*/ 49 w 120"/>
                <a:gd name="T43" fmla="*/ 35 h 120"/>
                <a:gd name="T44" fmla="*/ 58 w 120"/>
                <a:gd name="T45" fmla="*/ 57 h 120"/>
                <a:gd name="T46" fmla="*/ 47 w 120"/>
                <a:gd name="T47" fmla="*/ 92 h 120"/>
                <a:gd name="T48" fmla="*/ 27 w 120"/>
                <a:gd name="T49" fmla="*/ 35 h 120"/>
                <a:gd name="T50" fmla="*/ 33 w 120"/>
                <a:gd name="T51" fmla="*/ 34 h 120"/>
                <a:gd name="T52" fmla="*/ 33 w 120"/>
                <a:gd name="T53" fmla="*/ 30 h 120"/>
                <a:gd name="T54" fmla="*/ 15 w 120"/>
                <a:gd name="T55" fmla="*/ 30 h 120"/>
                <a:gd name="T56" fmla="*/ 97 w 120"/>
                <a:gd name="T57" fmla="*/ 20 h 120"/>
                <a:gd name="T58" fmla="*/ 87 w 120"/>
                <a:gd name="T59" fmla="*/ 31 h 120"/>
                <a:gd name="T60" fmla="*/ 93 w 120"/>
                <a:gd name="T61" fmla="*/ 45 h 120"/>
                <a:gd name="T62" fmla="*/ 87 w 120"/>
                <a:gd name="T63" fmla="*/ 92 h 120"/>
                <a:gd name="T64" fmla="*/ 114 w 120"/>
                <a:gd name="T65" fmla="*/ 68 h 120"/>
                <a:gd name="T66" fmla="*/ 87 w 120"/>
                <a:gd name="T67" fmla="*/ 106 h 120"/>
                <a:gd name="T68" fmla="*/ 104 w 120"/>
                <a:gd name="T69" fmla="*/ 59 h 120"/>
                <a:gd name="T70" fmla="*/ 108 w 120"/>
                <a:gd name="T71" fmla="*/ 35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0" h="120">
                  <a:moveTo>
                    <a:pt x="87" y="6"/>
                  </a:moveTo>
                  <a:cubicBezTo>
                    <a:pt x="80" y="3"/>
                    <a:pt x="72" y="1"/>
                    <a:pt x="64" y="0"/>
                  </a:cubicBezTo>
                  <a:cubicBezTo>
                    <a:pt x="64" y="0"/>
                    <a:pt x="64" y="0"/>
                    <a:pt x="63" y="0"/>
                  </a:cubicBezTo>
                  <a:cubicBezTo>
                    <a:pt x="57" y="0"/>
                    <a:pt x="57" y="0"/>
                    <a:pt x="57" y="0"/>
                  </a:cubicBezTo>
                  <a:cubicBezTo>
                    <a:pt x="55" y="0"/>
                    <a:pt x="53" y="0"/>
                    <a:pt x="51" y="1"/>
                  </a:cubicBezTo>
                  <a:cubicBezTo>
                    <a:pt x="31" y="4"/>
                    <a:pt x="16" y="15"/>
                    <a:pt x="7" y="33"/>
                  </a:cubicBezTo>
                  <a:cubicBezTo>
                    <a:pt x="3" y="40"/>
                    <a:pt x="1" y="48"/>
                    <a:pt x="0" y="56"/>
                  </a:cubicBezTo>
                  <a:cubicBezTo>
                    <a:pt x="0" y="56"/>
                    <a:pt x="0" y="56"/>
                    <a:pt x="0" y="57"/>
                  </a:cubicBezTo>
                  <a:cubicBezTo>
                    <a:pt x="0" y="63"/>
                    <a:pt x="0" y="63"/>
                    <a:pt x="0" y="63"/>
                  </a:cubicBezTo>
                  <a:cubicBezTo>
                    <a:pt x="0" y="65"/>
                    <a:pt x="1" y="67"/>
                    <a:pt x="1" y="69"/>
                  </a:cubicBezTo>
                  <a:cubicBezTo>
                    <a:pt x="4" y="89"/>
                    <a:pt x="15" y="104"/>
                    <a:pt x="34" y="114"/>
                  </a:cubicBezTo>
                  <a:cubicBezTo>
                    <a:pt x="41" y="117"/>
                    <a:pt x="48" y="119"/>
                    <a:pt x="56" y="120"/>
                  </a:cubicBezTo>
                  <a:cubicBezTo>
                    <a:pt x="56" y="120"/>
                    <a:pt x="57" y="120"/>
                    <a:pt x="57" y="120"/>
                  </a:cubicBezTo>
                  <a:cubicBezTo>
                    <a:pt x="63" y="120"/>
                    <a:pt x="63" y="120"/>
                    <a:pt x="63" y="120"/>
                  </a:cubicBezTo>
                  <a:cubicBezTo>
                    <a:pt x="65" y="120"/>
                    <a:pt x="67" y="120"/>
                    <a:pt x="69" y="119"/>
                  </a:cubicBezTo>
                  <a:cubicBezTo>
                    <a:pt x="89" y="116"/>
                    <a:pt x="104" y="105"/>
                    <a:pt x="114" y="87"/>
                  </a:cubicBezTo>
                  <a:cubicBezTo>
                    <a:pt x="117" y="80"/>
                    <a:pt x="119" y="72"/>
                    <a:pt x="120" y="64"/>
                  </a:cubicBezTo>
                  <a:cubicBezTo>
                    <a:pt x="120" y="64"/>
                    <a:pt x="120" y="63"/>
                    <a:pt x="120" y="63"/>
                  </a:cubicBezTo>
                  <a:cubicBezTo>
                    <a:pt x="120" y="57"/>
                    <a:pt x="120" y="57"/>
                    <a:pt x="120" y="57"/>
                  </a:cubicBezTo>
                  <a:cubicBezTo>
                    <a:pt x="120" y="55"/>
                    <a:pt x="120" y="53"/>
                    <a:pt x="119" y="51"/>
                  </a:cubicBezTo>
                  <a:cubicBezTo>
                    <a:pt x="116" y="31"/>
                    <a:pt x="105" y="16"/>
                    <a:pt x="87" y="6"/>
                  </a:cubicBezTo>
                  <a:moveTo>
                    <a:pt x="36" y="108"/>
                  </a:moveTo>
                  <a:cubicBezTo>
                    <a:pt x="24" y="102"/>
                    <a:pt x="16" y="93"/>
                    <a:pt x="11" y="81"/>
                  </a:cubicBezTo>
                  <a:cubicBezTo>
                    <a:pt x="4" y="67"/>
                    <a:pt x="5" y="53"/>
                    <a:pt x="11" y="38"/>
                  </a:cubicBezTo>
                  <a:cubicBezTo>
                    <a:pt x="11" y="38"/>
                    <a:pt x="11" y="38"/>
                    <a:pt x="11" y="38"/>
                  </a:cubicBezTo>
                  <a:cubicBezTo>
                    <a:pt x="20" y="62"/>
                    <a:pt x="28" y="85"/>
                    <a:pt x="37" y="108"/>
                  </a:cubicBezTo>
                  <a:cubicBezTo>
                    <a:pt x="36" y="108"/>
                    <a:pt x="36" y="108"/>
                    <a:pt x="36" y="108"/>
                  </a:cubicBezTo>
                  <a:moveTo>
                    <a:pt x="45" y="112"/>
                  </a:moveTo>
                  <a:cubicBezTo>
                    <a:pt x="50" y="96"/>
                    <a:pt x="56" y="81"/>
                    <a:pt x="61" y="65"/>
                  </a:cubicBezTo>
                  <a:cubicBezTo>
                    <a:pt x="61" y="65"/>
                    <a:pt x="61" y="65"/>
                    <a:pt x="61" y="65"/>
                  </a:cubicBezTo>
                  <a:cubicBezTo>
                    <a:pt x="67" y="80"/>
                    <a:pt x="72" y="95"/>
                    <a:pt x="78" y="111"/>
                  </a:cubicBezTo>
                  <a:cubicBezTo>
                    <a:pt x="67" y="115"/>
                    <a:pt x="56" y="115"/>
                    <a:pt x="45" y="112"/>
                  </a:cubicBezTo>
                  <a:moveTo>
                    <a:pt x="87" y="93"/>
                  </a:moveTo>
                  <a:cubicBezTo>
                    <a:pt x="81" y="73"/>
                    <a:pt x="74" y="54"/>
                    <a:pt x="68" y="35"/>
                  </a:cubicBezTo>
                  <a:cubicBezTo>
                    <a:pt x="69" y="35"/>
                    <a:pt x="71" y="34"/>
                    <a:pt x="72" y="34"/>
                  </a:cubicBezTo>
                  <a:cubicBezTo>
                    <a:pt x="73" y="34"/>
                    <a:pt x="73" y="34"/>
                    <a:pt x="74" y="34"/>
                  </a:cubicBezTo>
                  <a:cubicBezTo>
                    <a:pt x="75" y="34"/>
                    <a:pt x="76" y="33"/>
                    <a:pt x="76" y="32"/>
                  </a:cubicBezTo>
                  <a:cubicBezTo>
                    <a:pt x="76" y="31"/>
                    <a:pt x="75" y="30"/>
                    <a:pt x="73" y="30"/>
                  </a:cubicBezTo>
                  <a:cubicBezTo>
                    <a:pt x="70" y="30"/>
                    <a:pt x="67" y="30"/>
                    <a:pt x="64" y="30"/>
                  </a:cubicBezTo>
                  <a:cubicBezTo>
                    <a:pt x="58" y="30"/>
                    <a:pt x="52" y="30"/>
                    <a:pt x="46" y="30"/>
                  </a:cubicBezTo>
                  <a:cubicBezTo>
                    <a:pt x="46" y="30"/>
                    <a:pt x="45" y="30"/>
                    <a:pt x="45" y="30"/>
                  </a:cubicBezTo>
                  <a:cubicBezTo>
                    <a:pt x="43" y="30"/>
                    <a:pt x="43" y="31"/>
                    <a:pt x="43" y="32"/>
                  </a:cubicBezTo>
                  <a:cubicBezTo>
                    <a:pt x="42" y="33"/>
                    <a:pt x="43" y="34"/>
                    <a:pt x="44" y="34"/>
                  </a:cubicBezTo>
                  <a:cubicBezTo>
                    <a:pt x="46" y="34"/>
                    <a:pt x="47" y="34"/>
                    <a:pt x="49" y="35"/>
                  </a:cubicBezTo>
                  <a:cubicBezTo>
                    <a:pt x="50" y="35"/>
                    <a:pt x="50" y="35"/>
                    <a:pt x="51" y="36"/>
                  </a:cubicBezTo>
                  <a:cubicBezTo>
                    <a:pt x="53" y="43"/>
                    <a:pt x="56" y="50"/>
                    <a:pt x="58" y="57"/>
                  </a:cubicBezTo>
                  <a:cubicBezTo>
                    <a:pt x="58" y="57"/>
                    <a:pt x="59" y="58"/>
                    <a:pt x="58" y="58"/>
                  </a:cubicBezTo>
                  <a:cubicBezTo>
                    <a:pt x="55" y="70"/>
                    <a:pt x="51" y="81"/>
                    <a:pt x="47" y="92"/>
                  </a:cubicBezTo>
                  <a:cubicBezTo>
                    <a:pt x="47" y="92"/>
                    <a:pt x="47" y="93"/>
                    <a:pt x="47" y="93"/>
                  </a:cubicBezTo>
                  <a:cubicBezTo>
                    <a:pt x="40" y="74"/>
                    <a:pt x="34" y="54"/>
                    <a:pt x="27" y="35"/>
                  </a:cubicBezTo>
                  <a:cubicBezTo>
                    <a:pt x="29" y="35"/>
                    <a:pt x="30" y="34"/>
                    <a:pt x="32" y="34"/>
                  </a:cubicBezTo>
                  <a:cubicBezTo>
                    <a:pt x="32" y="34"/>
                    <a:pt x="33" y="34"/>
                    <a:pt x="33" y="34"/>
                  </a:cubicBezTo>
                  <a:cubicBezTo>
                    <a:pt x="35" y="34"/>
                    <a:pt x="35" y="33"/>
                    <a:pt x="35" y="32"/>
                  </a:cubicBezTo>
                  <a:cubicBezTo>
                    <a:pt x="35" y="30"/>
                    <a:pt x="34" y="30"/>
                    <a:pt x="33" y="30"/>
                  </a:cubicBezTo>
                  <a:cubicBezTo>
                    <a:pt x="29" y="30"/>
                    <a:pt x="26" y="30"/>
                    <a:pt x="23" y="30"/>
                  </a:cubicBezTo>
                  <a:cubicBezTo>
                    <a:pt x="20" y="30"/>
                    <a:pt x="18" y="30"/>
                    <a:pt x="15" y="30"/>
                  </a:cubicBezTo>
                  <a:cubicBezTo>
                    <a:pt x="23" y="19"/>
                    <a:pt x="33" y="11"/>
                    <a:pt x="46" y="8"/>
                  </a:cubicBezTo>
                  <a:cubicBezTo>
                    <a:pt x="65" y="3"/>
                    <a:pt x="82" y="7"/>
                    <a:pt x="97" y="20"/>
                  </a:cubicBezTo>
                  <a:cubicBezTo>
                    <a:pt x="96" y="20"/>
                    <a:pt x="95" y="20"/>
                    <a:pt x="95" y="20"/>
                  </a:cubicBezTo>
                  <a:cubicBezTo>
                    <a:pt x="90" y="21"/>
                    <a:pt x="86" y="26"/>
                    <a:pt x="87" y="31"/>
                  </a:cubicBezTo>
                  <a:cubicBezTo>
                    <a:pt x="87" y="33"/>
                    <a:pt x="88" y="36"/>
                    <a:pt x="89" y="38"/>
                  </a:cubicBezTo>
                  <a:cubicBezTo>
                    <a:pt x="91" y="40"/>
                    <a:pt x="92" y="42"/>
                    <a:pt x="93" y="45"/>
                  </a:cubicBezTo>
                  <a:cubicBezTo>
                    <a:pt x="97" y="51"/>
                    <a:pt x="98" y="58"/>
                    <a:pt x="95" y="65"/>
                  </a:cubicBezTo>
                  <a:cubicBezTo>
                    <a:pt x="93" y="74"/>
                    <a:pt x="90" y="83"/>
                    <a:pt x="87" y="92"/>
                  </a:cubicBezTo>
                  <a:cubicBezTo>
                    <a:pt x="87" y="92"/>
                    <a:pt x="87" y="92"/>
                    <a:pt x="87" y="93"/>
                  </a:cubicBezTo>
                  <a:moveTo>
                    <a:pt x="114" y="68"/>
                  </a:moveTo>
                  <a:cubicBezTo>
                    <a:pt x="111" y="85"/>
                    <a:pt x="102" y="97"/>
                    <a:pt x="88" y="107"/>
                  </a:cubicBezTo>
                  <a:cubicBezTo>
                    <a:pt x="88" y="106"/>
                    <a:pt x="87" y="106"/>
                    <a:pt x="87" y="106"/>
                  </a:cubicBezTo>
                  <a:cubicBezTo>
                    <a:pt x="88" y="106"/>
                    <a:pt x="88" y="105"/>
                    <a:pt x="88" y="104"/>
                  </a:cubicBezTo>
                  <a:cubicBezTo>
                    <a:pt x="93" y="89"/>
                    <a:pt x="98" y="74"/>
                    <a:pt x="104" y="59"/>
                  </a:cubicBezTo>
                  <a:cubicBezTo>
                    <a:pt x="105" y="55"/>
                    <a:pt x="107" y="51"/>
                    <a:pt x="107" y="46"/>
                  </a:cubicBezTo>
                  <a:cubicBezTo>
                    <a:pt x="108" y="43"/>
                    <a:pt x="108" y="39"/>
                    <a:pt x="108" y="35"/>
                  </a:cubicBezTo>
                  <a:cubicBezTo>
                    <a:pt x="113" y="45"/>
                    <a:pt x="115" y="56"/>
                    <a:pt x="114" y="68"/>
                  </a:cubicBezTo>
                </a:path>
              </a:pathLst>
            </a:custGeom>
            <a:solidFill>
              <a:srgbClr val="CCCCC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90" name="Freeform 199">
              <a:extLst>
                <a:ext uri="{FF2B5EF4-FFF2-40B4-BE49-F238E27FC236}">
                  <a16:creationId xmlns:a16="http://schemas.microsoft.com/office/drawing/2014/main" id="{C354DE6C-641F-474B-A3DD-826FE5BA45AA}"/>
                </a:ext>
              </a:extLst>
            </p:cNvPr>
            <p:cNvSpPr>
              <a:spLocks/>
            </p:cNvSpPr>
            <p:nvPr/>
          </p:nvSpPr>
          <p:spPr bwMode="auto">
            <a:xfrm>
              <a:off x="7055252" y="3151459"/>
              <a:ext cx="124061" cy="233807"/>
            </a:xfrm>
            <a:custGeom>
              <a:avLst/>
              <a:gdLst>
                <a:gd name="T0" fmla="*/ 51 w 64"/>
                <a:gd name="T1" fmla="*/ 34 h 120"/>
                <a:gd name="T2" fmla="*/ 55 w 64"/>
                <a:gd name="T3" fmla="*/ 35 h 120"/>
                <a:gd name="T4" fmla="*/ 64 w 64"/>
                <a:gd name="T5" fmla="*/ 27 h 120"/>
                <a:gd name="T6" fmla="*/ 55 w 64"/>
                <a:gd name="T7" fmla="*/ 18 h 120"/>
                <a:gd name="T8" fmla="*/ 46 w 64"/>
                <a:gd name="T9" fmla="*/ 27 h 120"/>
                <a:gd name="T10" fmla="*/ 47 w 64"/>
                <a:gd name="T11" fmla="*/ 28 h 120"/>
                <a:gd name="T12" fmla="*/ 36 w 64"/>
                <a:gd name="T13" fmla="*/ 36 h 120"/>
                <a:gd name="T14" fmla="*/ 36 w 64"/>
                <a:gd name="T15" fmla="*/ 0 h 120"/>
                <a:gd name="T16" fmla="*/ 27 w 64"/>
                <a:gd name="T17" fmla="*/ 0 h 120"/>
                <a:gd name="T18" fmla="*/ 27 w 64"/>
                <a:gd name="T19" fmla="*/ 19 h 120"/>
                <a:gd name="T20" fmla="*/ 17 w 64"/>
                <a:gd name="T21" fmla="*/ 11 h 120"/>
                <a:gd name="T22" fmla="*/ 17 w 64"/>
                <a:gd name="T23" fmla="*/ 9 h 120"/>
                <a:gd name="T24" fmla="*/ 8 w 64"/>
                <a:gd name="T25" fmla="*/ 1 h 120"/>
                <a:gd name="T26" fmla="*/ 0 w 64"/>
                <a:gd name="T27" fmla="*/ 9 h 120"/>
                <a:gd name="T28" fmla="*/ 8 w 64"/>
                <a:gd name="T29" fmla="*/ 18 h 120"/>
                <a:gd name="T30" fmla="*/ 12 w 64"/>
                <a:gd name="T31" fmla="*/ 17 h 120"/>
                <a:gd name="T32" fmla="*/ 27 w 64"/>
                <a:gd name="T33" fmla="*/ 28 h 120"/>
                <a:gd name="T34" fmla="*/ 27 w 64"/>
                <a:gd name="T35" fmla="*/ 51 h 120"/>
                <a:gd name="T36" fmla="*/ 17 w 64"/>
                <a:gd name="T37" fmla="*/ 44 h 120"/>
                <a:gd name="T38" fmla="*/ 17 w 64"/>
                <a:gd name="T39" fmla="*/ 42 h 120"/>
                <a:gd name="T40" fmla="*/ 8 w 64"/>
                <a:gd name="T41" fmla="*/ 34 h 120"/>
                <a:gd name="T42" fmla="*/ 0 w 64"/>
                <a:gd name="T43" fmla="*/ 42 h 120"/>
                <a:gd name="T44" fmla="*/ 8 w 64"/>
                <a:gd name="T45" fmla="*/ 51 h 120"/>
                <a:gd name="T46" fmla="*/ 13 w 64"/>
                <a:gd name="T47" fmla="*/ 50 h 120"/>
                <a:gd name="T48" fmla="*/ 27 w 64"/>
                <a:gd name="T49" fmla="*/ 60 h 120"/>
                <a:gd name="T50" fmla="*/ 27 w 64"/>
                <a:gd name="T51" fmla="*/ 85 h 120"/>
                <a:gd name="T52" fmla="*/ 17 w 64"/>
                <a:gd name="T53" fmla="*/ 78 h 120"/>
                <a:gd name="T54" fmla="*/ 17 w 64"/>
                <a:gd name="T55" fmla="*/ 76 h 120"/>
                <a:gd name="T56" fmla="*/ 8 w 64"/>
                <a:gd name="T57" fmla="*/ 68 h 120"/>
                <a:gd name="T58" fmla="*/ 0 w 64"/>
                <a:gd name="T59" fmla="*/ 76 h 120"/>
                <a:gd name="T60" fmla="*/ 8 w 64"/>
                <a:gd name="T61" fmla="*/ 85 h 120"/>
                <a:gd name="T62" fmla="*/ 13 w 64"/>
                <a:gd name="T63" fmla="*/ 84 h 120"/>
                <a:gd name="T64" fmla="*/ 27 w 64"/>
                <a:gd name="T65" fmla="*/ 94 h 120"/>
                <a:gd name="T66" fmla="*/ 27 w 64"/>
                <a:gd name="T67" fmla="*/ 120 h 120"/>
                <a:gd name="T68" fmla="*/ 28 w 64"/>
                <a:gd name="T69" fmla="*/ 120 h 120"/>
                <a:gd name="T70" fmla="*/ 36 w 64"/>
                <a:gd name="T71" fmla="*/ 120 h 120"/>
                <a:gd name="T72" fmla="*/ 36 w 64"/>
                <a:gd name="T73" fmla="*/ 120 h 120"/>
                <a:gd name="T74" fmla="*/ 36 w 64"/>
                <a:gd name="T75" fmla="*/ 111 h 120"/>
                <a:gd name="T76" fmla="*/ 50 w 64"/>
                <a:gd name="T77" fmla="*/ 101 h 120"/>
                <a:gd name="T78" fmla="*/ 55 w 64"/>
                <a:gd name="T79" fmla="*/ 102 h 120"/>
                <a:gd name="T80" fmla="*/ 64 w 64"/>
                <a:gd name="T81" fmla="*/ 94 h 120"/>
                <a:gd name="T82" fmla="*/ 55 w 64"/>
                <a:gd name="T83" fmla="*/ 85 h 120"/>
                <a:gd name="T84" fmla="*/ 46 w 64"/>
                <a:gd name="T85" fmla="*/ 94 h 120"/>
                <a:gd name="T86" fmla="*/ 46 w 64"/>
                <a:gd name="T87" fmla="*/ 95 h 120"/>
                <a:gd name="T88" fmla="*/ 36 w 64"/>
                <a:gd name="T89" fmla="*/ 102 h 120"/>
                <a:gd name="T90" fmla="*/ 36 w 64"/>
                <a:gd name="T91" fmla="*/ 77 h 120"/>
                <a:gd name="T92" fmla="*/ 50 w 64"/>
                <a:gd name="T93" fmla="*/ 67 h 120"/>
                <a:gd name="T94" fmla="*/ 55 w 64"/>
                <a:gd name="T95" fmla="*/ 68 h 120"/>
                <a:gd name="T96" fmla="*/ 64 w 64"/>
                <a:gd name="T97" fmla="*/ 60 h 120"/>
                <a:gd name="T98" fmla="*/ 55 w 64"/>
                <a:gd name="T99" fmla="*/ 51 h 120"/>
                <a:gd name="T100" fmla="*/ 46 w 64"/>
                <a:gd name="T101" fmla="*/ 60 h 120"/>
                <a:gd name="T102" fmla="*/ 46 w 64"/>
                <a:gd name="T103" fmla="*/ 61 h 120"/>
                <a:gd name="T104" fmla="*/ 36 w 64"/>
                <a:gd name="T105" fmla="*/ 68 h 120"/>
                <a:gd name="T106" fmla="*/ 36 w 64"/>
                <a:gd name="T107" fmla="*/ 44 h 120"/>
                <a:gd name="T108" fmla="*/ 51 w 64"/>
                <a:gd name="T109" fmla="*/ 34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64" h="120">
                  <a:moveTo>
                    <a:pt x="51" y="34"/>
                  </a:moveTo>
                  <a:cubicBezTo>
                    <a:pt x="52" y="35"/>
                    <a:pt x="53" y="35"/>
                    <a:pt x="55" y="35"/>
                  </a:cubicBezTo>
                  <a:cubicBezTo>
                    <a:pt x="60" y="35"/>
                    <a:pt x="64" y="31"/>
                    <a:pt x="64" y="27"/>
                  </a:cubicBezTo>
                  <a:cubicBezTo>
                    <a:pt x="64" y="22"/>
                    <a:pt x="60" y="18"/>
                    <a:pt x="55" y="18"/>
                  </a:cubicBezTo>
                  <a:cubicBezTo>
                    <a:pt x="50" y="18"/>
                    <a:pt x="46" y="22"/>
                    <a:pt x="46" y="27"/>
                  </a:cubicBezTo>
                  <a:cubicBezTo>
                    <a:pt x="46" y="27"/>
                    <a:pt x="46" y="28"/>
                    <a:pt x="47" y="28"/>
                  </a:cubicBezTo>
                  <a:cubicBezTo>
                    <a:pt x="36" y="36"/>
                    <a:pt x="36" y="36"/>
                    <a:pt x="36" y="36"/>
                  </a:cubicBezTo>
                  <a:cubicBezTo>
                    <a:pt x="36" y="0"/>
                    <a:pt x="36" y="0"/>
                    <a:pt x="36" y="0"/>
                  </a:cubicBezTo>
                  <a:cubicBezTo>
                    <a:pt x="27" y="0"/>
                    <a:pt x="27" y="0"/>
                    <a:pt x="27" y="0"/>
                  </a:cubicBezTo>
                  <a:cubicBezTo>
                    <a:pt x="27" y="19"/>
                    <a:pt x="27" y="19"/>
                    <a:pt x="27" y="19"/>
                  </a:cubicBezTo>
                  <a:cubicBezTo>
                    <a:pt x="17" y="11"/>
                    <a:pt x="17" y="11"/>
                    <a:pt x="17" y="11"/>
                  </a:cubicBezTo>
                  <a:cubicBezTo>
                    <a:pt x="17" y="10"/>
                    <a:pt x="17" y="10"/>
                    <a:pt x="17" y="9"/>
                  </a:cubicBezTo>
                  <a:cubicBezTo>
                    <a:pt x="17" y="5"/>
                    <a:pt x="13" y="1"/>
                    <a:pt x="8" y="1"/>
                  </a:cubicBezTo>
                  <a:cubicBezTo>
                    <a:pt x="4" y="1"/>
                    <a:pt x="0" y="5"/>
                    <a:pt x="0" y="9"/>
                  </a:cubicBezTo>
                  <a:cubicBezTo>
                    <a:pt x="0" y="14"/>
                    <a:pt x="4" y="18"/>
                    <a:pt x="8" y="18"/>
                  </a:cubicBezTo>
                  <a:cubicBezTo>
                    <a:pt x="10" y="18"/>
                    <a:pt x="11" y="17"/>
                    <a:pt x="12" y="17"/>
                  </a:cubicBezTo>
                  <a:cubicBezTo>
                    <a:pt x="27" y="28"/>
                    <a:pt x="27" y="28"/>
                    <a:pt x="27" y="28"/>
                  </a:cubicBezTo>
                  <a:cubicBezTo>
                    <a:pt x="27" y="51"/>
                    <a:pt x="27" y="51"/>
                    <a:pt x="27" y="51"/>
                  </a:cubicBezTo>
                  <a:cubicBezTo>
                    <a:pt x="17" y="44"/>
                    <a:pt x="17" y="44"/>
                    <a:pt x="17" y="44"/>
                  </a:cubicBezTo>
                  <a:cubicBezTo>
                    <a:pt x="17" y="43"/>
                    <a:pt x="17" y="43"/>
                    <a:pt x="17" y="42"/>
                  </a:cubicBezTo>
                  <a:cubicBezTo>
                    <a:pt x="17" y="37"/>
                    <a:pt x="13" y="34"/>
                    <a:pt x="8" y="34"/>
                  </a:cubicBezTo>
                  <a:cubicBezTo>
                    <a:pt x="4" y="34"/>
                    <a:pt x="0" y="37"/>
                    <a:pt x="0" y="42"/>
                  </a:cubicBezTo>
                  <a:cubicBezTo>
                    <a:pt x="0" y="47"/>
                    <a:pt x="4" y="51"/>
                    <a:pt x="8" y="51"/>
                  </a:cubicBezTo>
                  <a:cubicBezTo>
                    <a:pt x="10" y="51"/>
                    <a:pt x="11" y="50"/>
                    <a:pt x="13" y="50"/>
                  </a:cubicBezTo>
                  <a:cubicBezTo>
                    <a:pt x="27" y="60"/>
                    <a:pt x="27" y="60"/>
                    <a:pt x="27" y="60"/>
                  </a:cubicBezTo>
                  <a:cubicBezTo>
                    <a:pt x="27" y="85"/>
                    <a:pt x="27" y="85"/>
                    <a:pt x="27" y="85"/>
                  </a:cubicBezTo>
                  <a:cubicBezTo>
                    <a:pt x="17" y="78"/>
                    <a:pt x="17" y="78"/>
                    <a:pt x="17" y="78"/>
                  </a:cubicBezTo>
                  <a:cubicBezTo>
                    <a:pt x="17" y="77"/>
                    <a:pt x="17" y="77"/>
                    <a:pt x="17" y="76"/>
                  </a:cubicBezTo>
                  <a:cubicBezTo>
                    <a:pt x="17" y="72"/>
                    <a:pt x="13" y="68"/>
                    <a:pt x="8" y="68"/>
                  </a:cubicBezTo>
                  <a:cubicBezTo>
                    <a:pt x="4" y="68"/>
                    <a:pt x="0" y="72"/>
                    <a:pt x="0" y="76"/>
                  </a:cubicBezTo>
                  <a:cubicBezTo>
                    <a:pt x="0" y="81"/>
                    <a:pt x="4" y="85"/>
                    <a:pt x="8" y="85"/>
                  </a:cubicBezTo>
                  <a:cubicBezTo>
                    <a:pt x="10" y="85"/>
                    <a:pt x="11" y="84"/>
                    <a:pt x="13" y="84"/>
                  </a:cubicBezTo>
                  <a:cubicBezTo>
                    <a:pt x="27" y="94"/>
                    <a:pt x="27" y="94"/>
                    <a:pt x="27" y="94"/>
                  </a:cubicBezTo>
                  <a:cubicBezTo>
                    <a:pt x="27" y="120"/>
                    <a:pt x="27" y="120"/>
                    <a:pt x="27" y="120"/>
                  </a:cubicBezTo>
                  <a:cubicBezTo>
                    <a:pt x="28" y="120"/>
                    <a:pt x="28" y="120"/>
                    <a:pt x="28" y="120"/>
                  </a:cubicBezTo>
                  <a:cubicBezTo>
                    <a:pt x="36" y="120"/>
                    <a:pt x="36" y="120"/>
                    <a:pt x="36" y="120"/>
                  </a:cubicBezTo>
                  <a:cubicBezTo>
                    <a:pt x="36" y="120"/>
                    <a:pt x="36" y="120"/>
                    <a:pt x="36" y="120"/>
                  </a:cubicBezTo>
                  <a:cubicBezTo>
                    <a:pt x="36" y="111"/>
                    <a:pt x="36" y="111"/>
                    <a:pt x="36" y="111"/>
                  </a:cubicBezTo>
                  <a:cubicBezTo>
                    <a:pt x="50" y="101"/>
                    <a:pt x="50" y="101"/>
                    <a:pt x="50" y="101"/>
                  </a:cubicBezTo>
                  <a:cubicBezTo>
                    <a:pt x="52" y="102"/>
                    <a:pt x="53" y="102"/>
                    <a:pt x="55" y="102"/>
                  </a:cubicBezTo>
                  <a:cubicBezTo>
                    <a:pt x="60" y="102"/>
                    <a:pt x="64" y="98"/>
                    <a:pt x="64" y="94"/>
                  </a:cubicBezTo>
                  <a:cubicBezTo>
                    <a:pt x="64" y="89"/>
                    <a:pt x="60" y="85"/>
                    <a:pt x="55" y="85"/>
                  </a:cubicBezTo>
                  <a:cubicBezTo>
                    <a:pt x="50" y="85"/>
                    <a:pt x="46" y="89"/>
                    <a:pt x="46" y="94"/>
                  </a:cubicBezTo>
                  <a:cubicBezTo>
                    <a:pt x="46" y="94"/>
                    <a:pt x="46" y="94"/>
                    <a:pt x="46" y="95"/>
                  </a:cubicBezTo>
                  <a:cubicBezTo>
                    <a:pt x="36" y="102"/>
                    <a:pt x="36" y="102"/>
                    <a:pt x="36" y="102"/>
                  </a:cubicBezTo>
                  <a:cubicBezTo>
                    <a:pt x="36" y="77"/>
                    <a:pt x="36" y="77"/>
                    <a:pt x="36" y="77"/>
                  </a:cubicBezTo>
                  <a:cubicBezTo>
                    <a:pt x="50" y="67"/>
                    <a:pt x="50" y="67"/>
                    <a:pt x="50" y="67"/>
                  </a:cubicBezTo>
                  <a:cubicBezTo>
                    <a:pt x="52" y="68"/>
                    <a:pt x="53" y="68"/>
                    <a:pt x="55" y="68"/>
                  </a:cubicBezTo>
                  <a:cubicBezTo>
                    <a:pt x="60" y="68"/>
                    <a:pt x="64" y="64"/>
                    <a:pt x="64" y="60"/>
                  </a:cubicBezTo>
                  <a:cubicBezTo>
                    <a:pt x="64" y="55"/>
                    <a:pt x="60" y="51"/>
                    <a:pt x="55" y="51"/>
                  </a:cubicBezTo>
                  <a:cubicBezTo>
                    <a:pt x="50" y="51"/>
                    <a:pt x="46" y="55"/>
                    <a:pt x="46" y="60"/>
                  </a:cubicBezTo>
                  <a:cubicBezTo>
                    <a:pt x="46" y="60"/>
                    <a:pt x="46" y="60"/>
                    <a:pt x="46" y="61"/>
                  </a:cubicBezTo>
                  <a:cubicBezTo>
                    <a:pt x="36" y="68"/>
                    <a:pt x="36" y="68"/>
                    <a:pt x="36" y="68"/>
                  </a:cubicBezTo>
                  <a:cubicBezTo>
                    <a:pt x="36" y="44"/>
                    <a:pt x="36" y="44"/>
                    <a:pt x="36" y="44"/>
                  </a:cubicBezTo>
                  <a:lnTo>
                    <a:pt x="51" y="34"/>
                  </a:lnTo>
                  <a:close/>
                </a:path>
              </a:pathLst>
            </a:custGeom>
            <a:solidFill>
              <a:srgbClr val="CCCCC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91" name="Freeform 200">
              <a:extLst>
                <a:ext uri="{FF2B5EF4-FFF2-40B4-BE49-F238E27FC236}">
                  <a16:creationId xmlns:a16="http://schemas.microsoft.com/office/drawing/2014/main" id="{16D9D83B-3AA0-4E2F-88DB-430E4560FCE9}"/>
                </a:ext>
              </a:extLst>
            </p:cNvPr>
            <p:cNvSpPr>
              <a:spLocks/>
            </p:cNvSpPr>
            <p:nvPr/>
          </p:nvSpPr>
          <p:spPr bwMode="auto">
            <a:xfrm>
              <a:off x="4465882" y="4993284"/>
              <a:ext cx="186091" cy="162233"/>
            </a:xfrm>
            <a:custGeom>
              <a:avLst/>
              <a:gdLst>
                <a:gd name="T0" fmla="*/ 96 w 96"/>
                <a:gd name="T1" fmla="*/ 23 h 83"/>
                <a:gd name="T2" fmla="*/ 87 w 96"/>
                <a:gd name="T3" fmla="*/ 8 h 83"/>
                <a:gd name="T4" fmla="*/ 67 w 96"/>
                <a:gd name="T5" fmla="*/ 13 h 83"/>
                <a:gd name="T6" fmla="*/ 62 w 96"/>
                <a:gd name="T7" fmla="*/ 9 h 83"/>
                <a:gd name="T8" fmla="*/ 44 w 96"/>
                <a:gd name="T9" fmla="*/ 0 h 83"/>
                <a:gd name="T10" fmla="*/ 29 w 96"/>
                <a:gd name="T11" fmla="*/ 41 h 83"/>
                <a:gd name="T12" fmla="*/ 0 w 96"/>
                <a:gd name="T13" fmla="*/ 64 h 83"/>
                <a:gd name="T14" fmla="*/ 9 w 96"/>
                <a:gd name="T15" fmla="*/ 83 h 83"/>
                <a:gd name="T16" fmla="*/ 47 w 96"/>
                <a:gd name="T17" fmla="*/ 56 h 83"/>
                <a:gd name="T18" fmla="*/ 77 w 96"/>
                <a:gd name="T19" fmla="*/ 83 h 83"/>
                <a:gd name="T20" fmla="*/ 93 w 96"/>
                <a:gd name="T21" fmla="*/ 70 h 83"/>
                <a:gd name="T22" fmla="*/ 62 w 96"/>
                <a:gd name="T23" fmla="*/ 40 h 83"/>
                <a:gd name="T24" fmla="*/ 63 w 96"/>
                <a:gd name="T25" fmla="*/ 34 h 83"/>
                <a:gd name="T26" fmla="*/ 96 w 96"/>
                <a:gd name="T27" fmla="*/ 2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6" h="83">
                  <a:moveTo>
                    <a:pt x="96" y="23"/>
                  </a:moveTo>
                  <a:cubicBezTo>
                    <a:pt x="96" y="23"/>
                    <a:pt x="92" y="16"/>
                    <a:pt x="87" y="8"/>
                  </a:cubicBezTo>
                  <a:cubicBezTo>
                    <a:pt x="79" y="15"/>
                    <a:pt x="71" y="14"/>
                    <a:pt x="67" y="13"/>
                  </a:cubicBezTo>
                  <a:cubicBezTo>
                    <a:pt x="63" y="12"/>
                    <a:pt x="61" y="10"/>
                    <a:pt x="62" y="9"/>
                  </a:cubicBezTo>
                  <a:cubicBezTo>
                    <a:pt x="59" y="8"/>
                    <a:pt x="49" y="2"/>
                    <a:pt x="44" y="0"/>
                  </a:cubicBezTo>
                  <a:cubicBezTo>
                    <a:pt x="33" y="7"/>
                    <a:pt x="28" y="24"/>
                    <a:pt x="29" y="41"/>
                  </a:cubicBezTo>
                  <a:cubicBezTo>
                    <a:pt x="21" y="56"/>
                    <a:pt x="16" y="61"/>
                    <a:pt x="0" y="64"/>
                  </a:cubicBezTo>
                  <a:cubicBezTo>
                    <a:pt x="3" y="71"/>
                    <a:pt x="4" y="74"/>
                    <a:pt x="9" y="83"/>
                  </a:cubicBezTo>
                  <a:cubicBezTo>
                    <a:pt x="28" y="77"/>
                    <a:pt x="40" y="66"/>
                    <a:pt x="47" y="56"/>
                  </a:cubicBezTo>
                  <a:cubicBezTo>
                    <a:pt x="60" y="60"/>
                    <a:pt x="70" y="68"/>
                    <a:pt x="77" y="83"/>
                  </a:cubicBezTo>
                  <a:cubicBezTo>
                    <a:pt x="85" y="76"/>
                    <a:pt x="86" y="75"/>
                    <a:pt x="93" y="70"/>
                  </a:cubicBezTo>
                  <a:cubicBezTo>
                    <a:pt x="88" y="57"/>
                    <a:pt x="75" y="46"/>
                    <a:pt x="62" y="40"/>
                  </a:cubicBezTo>
                  <a:cubicBezTo>
                    <a:pt x="62" y="37"/>
                    <a:pt x="62" y="36"/>
                    <a:pt x="63" y="34"/>
                  </a:cubicBezTo>
                  <a:cubicBezTo>
                    <a:pt x="81" y="38"/>
                    <a:pt x="96" y="23"/>
                    <a:pt x="96" y="23"/>
                  </a:cubicBezTo>
                </a:path>
              </a:pathLst>
            </a:custGeom>
            <a:solidFill>
              <a:srgbClr val="CCCCC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92" name="Oval 201">
              <a:extLst>
                <a:ext uri="{FF2B5EF4-FFF2-40B4-BE49-F238E27FC236}">
                  <a16:creationId xmlns:a16="http://schemas.microsoft.com/office/drawing/2014/main" id="{A84C882B-7F80-4E89-9AF5-DF80F1B12583}"/>
                </a:ext>
              </a:extLst>
            </p:cNvPr>
            <p:cNvSpPr>
              <a:spLocks noChangeArrowheads="1"/>
            </p:cNvSpPr>
            <p:nvPr/>
          </p:nvSpPr>
          <p:spPr bwMode="auto">
            <a:xfrm>
              <a:off x="4556541" y="4921710"/>
              <a:ext cx="68392" cy="66802"/>
            </a:xfrm>
            <a:prstGeom prst="ellipse">
              <a:avLst/>
            </a:prstGeom>
            <a:solidFill>
              <a:srgbClr val="CCCCC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93" name="Freeform 202">
              <a:extLst>
                <a:ext uri="{FF2B5EF4-FFF2-40B4-BE49-F238E27FC236}">
                  <a16:creationId xmlns:a16="http://schemas.microsoft.com/office/drawing/2014/main" id="{8905A83C-AAA8-441A-B91C-6D06895B1ADF}"/>
                </a:ext>
              </a:extLst>
            </p:cNvPr>
            <p:cNvSpPr>
              <a:spLocks/>
            </p:cNvSpPr>
            <p:nvPr/>
          </p:nvSpPr>
          <p:spPr bwMode="auto">
            <a:xfrm>
              <a:off x="5943477" y="2166926"/>
              <a:ext cx="114517" cy="98613"/>
            </a:xfrm>
            <a:custGeom>
              <a:avLst/>
              <a:gdLst>
                <a:gd name="T0" fmla="*/ 59 w 59"/>
                <a:gd name="T1" fmla="*/ 14 h 51"/>
                <a:gd name="T2" fmla="*/ 54 w 59"/>
                <a:gd name="T3" fmla="*/ 5 h 51"/>
                <a:gd name="T4" fmla="*/ 41 w 59"/>
                <a:gd name="T5" fmla="*/ 8 h 51"/>
                <a:gd name="T6" fmla="*/ 38 w 59"/>
                <a:gd name="T7" fmla="*/ 5 h 51"/>
                <a:gd name="T8" fmla="*/ 27 w 59"/>
                <a:gd name="T9" fmla="*/ 0 h 51"/>
                <a:gd name="T10" fmla="*/ 17 w 59"/>
                <a:gd name="T11" fmla="*/ 25 h 51"/>
                <a:gd name="T12" fmla="*/ 0 w 59"/>
                <a:gd name="T13" fmla="*/ 40 h 51"/>
                <a:gd name="T14" fmla="*/ 5 w 59"/>
                <a:gd name="T15" fmla="*/ 51 h 51"/>
                <a:gd name="T16" fmla="*/ 29 w 59"/>
                <a:gd name="T17" fmla="*/ 35 h 51"/>
                <a:gd name="T18" fmla="*/ 48 w 59"/>
                <a:gd name="T19" fmla="*/ 51 h 51"/>
                <a:gd name="T20" fmla="*/ 57 w 59"/>
                <a:gd name="T21" fmla="*/ 43 h 51"/>
                <a:gd name="T22" fmla="*/ 38 w 59"/>
                <a:gd name="T23" fmla="*/ 24 h 51"/>
                <a:gd name="T24" fmla="*/ 38 w 59"/>
                <a:gd name="T25" fmla="*/ 20 h 51"/>
                <a:gd name="T26" fmla="*/ 59 w 59"/>
                <a:gd name="T27" fmla="*/ 14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 h="51">
                  <a:moveTo>
                    <a:pt x="59" y="14"/>
                  </a:moveTo>
                  <a:cubicBezTo>
                    <a:pt x="59" y="14"/>
                    <a:pt x="57" y="9"/>
                    <a:pt x="54" y="5"/>
                  </a:cubicBezTo>
                  <a:cubicBezTo>
                    <a:pt x="49" y="9"/>
                    <a:pt x="44" y="8"/>
                    <a:pt x="41" y="8"/>
                  </a:cubicBezTo>
                  <a:cubicBezTo>
                    <a:pt x="38" y="7"/>
                    <a:pt x="38" y="6"/>
                    <a:pt x="38" y="5"/>
                  </a:cubicBezTo>
                  <a:cubicBezTo>
                    <a:pt x="36" y="4"/>
                    <a:pt x="30" y="1"/>
                    <a:pt x="27" y="0"/>
                  </a:cubicBezTo>
                  <a:cubicBezTo>
                    <a:pt x="20" y="4"/>
                    <a:pt x="17" y="15"/>
                    <a:pt x="17" y="25"/>
                  </a:cubicBezTo>
                  <a:cubicBezTo>
                    <a:pt x="13" y="34"/>
                    <a:pt x="9" y="37"/>
                    <a:pt x="0" y="40"/>
                  </a:cubicBezTo>
                  <a:cubicBezTo>
                    <a:pt x="1" y="44"/>
                    <a:pt x="2" y="45"/>
                    <a:pt x="5" y="51"/>
                  </a:cubicBezTo>
                  <a:cubicBezTo>
                    <a:pt x="17" y="48"/>
                    <a:pt x="24" y="41"/>
                    <a:pt x="29" y="35"/>
                  </a:cubicBezTo>
                  <a:cubicBezTo>
                    <a:pt x="37" y="37"/>
                    <a:pt x="43" y="42"/>
                    <a:pt x="48" y="51"/>
                  </a:cubicBezTo>
                  <a:cubicBezTo>
                    <a:pt x="52" y="47"/>
                    <a:pt x="53" y="46"/>
                    <a:pt x="57" y="43"/>
                  </a:cubicBezTo>
                  <a:cubicBezTo>
                    <a:pt x="54" y="35"/>
                    <a:pt x="46" y="28"/>
                    <a:pt x="38" y="24"/>
                  </a:cubicBezTo>
                  <a:cubicBezTo>
                    <a:pt x="38" y="22"/>
                    <a:pt x="38" y="22"/>
                    <a:pt x="38" y="20"/>
                  </a:cubicBezTo>
                  <a:cubicBezTo>
                    <a:pt x="50" y="23"/>
                    <a:pt x="59" y="14"/>
                    <a:pt x="59" y="14"/>
                  </a:cubicBezTo>
                </a:path>
              </a:pathLst>
            </a:custGeom>
            <a:solidFill>
              <a:srgbClr val="CCCCC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94" name="Oval 203">
              <a:extLst>
                <a:ext uri="{FF2B5EF4-FFF2-40B4-BE49-F238E27FC236}">
                  <a16:creationId xmlns:a16="http://schemas.microsoft.com/office/drawing/2014/main" id="{469B02A4-2951-4D59-8909-58F3B2195C69}"/>
                </a:ext>
              </a:extLst>
            </p:cNvPr>
            <p:cNvSpPr>
              <a:spLocks noChangeArrowheads="1"/>
            </p:cNvSpPr>
            <p:nvPr/>
          </p:nvSpPr>
          <p:spPr bwMode="auto">
            <a:xfrm>
              <a:off x="5999145" y="2120801"/>
              <a:ext cx="41354" cy="41354"/>
            </a:xfrm>
            <a:prstGeom prst="ellipse">
              <a:avLst/>
            </a:prstGeom>
            <a:solidFill>
              <a:srgbClr val="CCCCC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95" name="Freeform 204">
              <a:extLst>
                <a:ext uri="{FF2B5EF4-FFF2-40B4-BE49-F238E27FC236}">
                  <a16:creationId xmlns:a16="http://schemas.microsoft.com/office/drawing/2014/main" id="{DEC08A04-18EE-48A2-8731-950FA9EAE532}"/>
                </a:ext>
              </a:extLst>
            </p:cNvPr>
            <p:cNvSpPr>
              <a:spLocks/>
            </p:cNvSpPr>
            <p:nvPr/>
          </p:nvSpPr>
          <p:spPr bwMode="auto">
            <a:xfrm>
              <a:off x="7376537" y="2187603"/>
              <a:ext cx="233807" cy="233807"/>
            </a:xfrm>
            <a:custGeom>
              <a:avLst/>
              <a:gdLst>
                <a:gd name="T0" fmla="*/ 21 w 120"/>
                <a:gd name="T1" fmla="*/ 120 h 120"/>
                <a:gd name="T2" fmla="*/ 42 w 120"/>
                <a:gd name="T3" fmla="*/ 120 h 120"/>
                <a:gd name="T4" fmla="*/ 42 w 120"/>
                <a:gd name="T5" fmla="*/ 65 h 120"/>
                <a:gd name="T6" fmla="*/ 53 w 120"/>
                <a:gd name="T7" fmla="*/ 65 h 120"/>
                <a:gd name="T8" fmla="*/ 63 w 120"/>
                <a:gd name="T9" fmla="*/ 65 h 120"/>
                <a:gd name="T10" fmla="*/ 74 w 120"/>
                <a:gd name="T11" fmla="*/ 65 h 120"/>
                <a:gd name="T12" fmla="*/ 74 w 120"/>
                <a:gd name="T13" fmla="*/ 120 h 120"/>
                <a:gd name="T14" fmla="*/ 95 w 120"/>
                <a:gd name="T15" fmla="*/ 120 h 120"/>
                <a:gd name="T16" fmla="*/ 95 w 120"/>
                <a:gd name="T17" fmla="*/ 65 h 120"/>
                <a:gd name="T18" fmla="*/ 116 w 120"/>
                <a:gd name="T19" fmla="*/ 65 h 120"/>
                <a:gd name="T20" fmla="*/ 116 w 120"/>
                <a:gd name="T21" fmla="*/ 43 h 120"/>
                <a:gd name="T22" fmla="*/ 95 w 120"/>
                <a:gd name="T23" fmla="*/ 43 h 120"/>
                <a:gd name="T24" fmla="*/ 95 w 120"/>
                <a:gd name="T25" fmla="*/ 32 h 120"/>
                <a:gd name="T26" fmla="*/ 102 w 120"/>
                <a:gd name="T27" fmla="*/ 21 h 120"/>
                <a:gd name="T28" fmla="*/ 120 w 120"/>
                <a:gd name="T29" fmla="*/ 21 h 120"/>
                <a:gd name="T30" fmla="*/ 120 w 120"/>
                <a:gd name="T31" fmla="*/ 0 h 120"/>
                <a:gd name="T32" fmla="*/ 102 w 120"/>
                <a:gd name="T33" fmla="*/ 0 h 120"/>
                <a:gd name="T34" fmla="*/ 74 w 120"/>
                <a:gd name="T35" fmla="*/ 32 h 120"/>
                <a:gd name="T36" fmla="*/ 74 w 120"/>
                <a:gd name="T37" fmla="*/ 43 h 120"/>
                <a:gd name="T38" fmla="*/ 63 w 120"/>
                <a:gd name="T39" fmla="*/ 43 h 120"/>
                <a:gd name="T40" fmla="*/ 53 w 120"/>
                <a:gd name="T41" fmla="*/ 43 h 120"/>
                <a:gd name="T42" fmla="*/ 42 w 120"/>
                <a:gd name="T43" fmla="*/ 43 h 120"/>
                <a:gd name="T44" fmla="*/ 42 w 120"/>
                <a:gd name="T45" fmla="*/ 32 h 120"/>
                <a:gd name="T46" fmla="*/ 50 w 120"/>
                <a:gd name="T47" fmla="*/ 21 h 120"/>
                <a:gd name="T48" fmla="*/ 67 w 120"/>
                <a:gd name="T49" fmla="*/ 21 h 120"/>
                <a:gd name="T50" fmla="*/ 67 w 120"/>
                <a:gd name="T51" fmla="*/ 0 h 120"/>
                <a:gd name="T52" fmla="*/ 50 w 120"/>
                <a:gd name="T53" fmla="*/ 0 h 120"/>
                <a:gd name="T54" fmla="*/ 21 w 120"/>
                <a:gd name="T55" fmla="*/ 32 h 120"/>
                <a:gd name="T56" fmla="*/ 21 w 120"/>
                <a:gd name="T57" fmla="*/ 43 h 120"/>
                <a:gd name="T58" fmla="*/ 0 w 120"/>
                <a:gd name="T59" fmla="*/ 43 h 120"/>
                <a:gd name="T60" fmla="*/ 0 w 120"/>
                <a:gd name="T61" fmla="*/ 65 h 120"/>
                <a:gd name="T62" fmla="*/ 21 w 120"/>
                <a:gd name="T63" fmla="*/ 65 h 120"/>
                <a:gd name="T64" fmla="*/ 21 w 120"/>
                <a:gd name="T65"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0" h="120">
                  <a:moveTo>
                    <a:pt x="21" y="120"/>
                  </a:moveTo>
                  <a:cubicBezTo>
                    <a:pt x="42" y="120"/>
                    <a:pt x="42" y="120"/>
                    <a:pt x="42" y="120"/>
                  </a:cubicBezTo>
                  <a:cubicBezTo>
                    <a:pt x="42" y="65"/>
                    <a:pt x="42" y="65"/>
                    <a:pt x="42" y="65"/>
                  </a:cubicBezTo>
                  <a:cubicBezTo>
                    <a:pt x="53" y="65"/>
                    <a:pt x="53" y="65"/>
                    <a:pt x="53" y="65"/>
                  </a:cubicBezTo>
                  <a:cubicBezTo>
                    <a:pt x="63" y="65"/>
                    <a:pt x="63" y="65"/>
                    <a:pt x="63" y="65"/>
                  </a:cubicBezTo>
                  <a:cubicBezTo>
                    <a:pt x="74" y="65"/>
                    <a:pt x="74" y="65"/>
                    <a:pt x="74" y="65"/>
                  </a:cubicBezTo>
                  <a:cubicBezTo>
                    <a:pt x="74" y="120"/>
                    <a:pt x="74" y="120"/>
                    <a:pt x="74" y="120"/>
                  </a:cubicBezTo>
                  <a:cubicBezTo>
                    <a:pt x="95" y="120"/>
                    <a:pt x="95" y="120"/>
                    <a:pt x="95" y="120"/>
                  </a:cubicBezTo>
                  <a:cubicBezTo>
                    <a:pt x="95" y="65"/>
                    <a:pt x="95" y="65"/>
                    <a:pt x="95" y="65"/>
                  </a:cubicBezTo>
                  <a:cubicBezTo>
                    <a:pt x="116" y="65"/>
                    <a:pt x="116" y="65"/>
                    <a:pt x="116" y="65"/>
                  </a:cubicBezTo>
                  <a:cubicBezTo>
                    <a:pt x="116" y="43"/>
                    <a:pt x="116" y="43"/>
                    <a:pt x="116" y="43"/>
                  </a:cubicBezTo>
                  <a:cubicBezTo>
                    <a:pt x="95" y="43"/>
                    <a:pt x="95" y="43"/>
                    <a:pt x="95" y="43"/>
                  </a:cubicBezTo>
                  <a:cubicBezTo>
                    <a:pt x="95" y="32"/>
                    <a:pt x="95" y="32"/>
                    <a:pt x="95" y="32"/>
                  </a:cubicBezTo>
                  <a:cubicBezTo>
                    <a:pt x="95" y="26"/>
                    <a:pt x="99" y="21"/>
                    <a:pt x="102" y="21"/>
                  </a:cubicBezTo>
                  <a:cubicBezTo>
                    <a:pt x="120" y="21"/>
                    <a:pt x="120" y="21"/>
                    <a:pt x="120" y="21"/>
                  </a:cubicBezTo>
                  <a:cubicBezTo>
                    <a:pt x="120" y="0"/>
                    <a:pt x="120" y="0"/>
                    <a:pt x="120" y="0"/>
                  </a:cubicBezTo>
                  <a:cubicBezTo>
                    <a:pt x="102" y="0"/>
                    <a:pt x="102" y="0"/>
                    <a:pt x="102" y="0"/>
                  </a:cubicBezTo>
                  <a:cubicBezTo>
                    <a:pt x="87" y="0"/>
                    <a:pt x="74" y="14"/>
                    <a:pt x="74" y="32"/>
                  </a:cubicBezTo>
                  <a:cubicBezTo>
                    <a:pt x="74" y="43"/>
                    <a:pt x="74" y="43"/>
                    <a:pt x="74" y="43"/>
                  </a:cubicBezTo>
                  <a:cubicBezTo>
                    <a:pt x="63" y="43"/>
                    <a:pt x="63" y="43"/>
                    <a:pt x="63" y="43"/>
                  </a:cubicBezTo>
                  <a:cubicBezTo>
                    <a:pt x="53" y="43"/>
                    <a:pt x="53" y="43"/>
                    <a:pt x="53" y="43"/>
                  </a:cubicBezTo>
                  <a:cubicBezTo>
                    <a:pt x="42" y="43"/>
                    <a:pt x="42" y="43"/>
                    <a:pt x="42" y="43"/>
                  </a:cubicBezTo>
                  <a:cubicBezTo>
                    <a:pt x="42" y="32"/>
                    <a:pt x="42" y="32"/>
                    <a:pt x="42" y="32"/>
                  </a:cubicBezTo>
                  <a:cubicBezTo>
                    <a:pt x="42" y="26"/>
                    <a:pt x="46" y="21"/>
                    <a:pt x="50" y="21"/>
                  </a:cubicBezTo>
                  <a:cubicBezTo>
                    <a:pt x="67" y="21"/>
                    <a:pt x="67" y="21"/>
                    <a:pt x="67" y="21"/>
                  </a:cubicBezTo>
                  <a:cubicBezTo>
                    <a:pt x="67" y="0"/>
                    <a:pt x="67" y="0"/>
                    <a:pt x="67" y="0"/>
                  </a:cubicBezTo>
                  <a:cubicBezTo>
                    <a:pt x="50" y="0"/>
                    <a:pt x="50" y="0"/>
                    <a:pt x="50" y="0"/>
                  </a:cubicBezTo>
                  <a:cubicBezTo>
                    <a:pt x="34" y="0"/>
                    <a:pt x="21" y="14"/>
                    <a:pt x="21" y="32"/>
                  </a:cubicBezTo>
                  <a:cubicBezTo>
                    <a:pt x="21" y="43"/>
                    <a:pt x="21" y="43"/>
                    <a:pt x="21" y="43"/>
                  </a:cubicBezTo>
                  <a:cubicBezTo>
                    <a:pt x="0" y="43"/>
                    <a:pt x="0" y="43"/>
                    <a:pt x="0" y="43"/>
                  </a:cubicBezTo>
                  <a:cubicBezTo>
                    <a:pt x="0" y="65"/>
                    <a:pt x="0" y="65"/>
                    <a:pt x="0" y="65"/>
                  </a:cubicBezTo>
                  <a:cubicBezTo>
                    <a:pt x="21" y="65"/>
                    <a:pt x="21" y="65"/>
                    <a:pt x="21" y="65"/>
                  </a:cubicBezTo>
                  <a:lnTo>
                    <a:pt x="21" y="120"/>
                  </a:lnTo>
                  <a:close/>
                </a:path>
              </a:pathLst>
            </a:custGeom>
            <a:solidFill>
              <a:srgbClr val="CCCCC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96" name="Oval 82">
              <a:extLst>
                <a:ext uri="{FF2B5EF4-FFF2-40B4-BE49-F238E27FC236}">
                  <a16:creationId xmlns:a16="http://schemas.microsoft.com/office/drawing/2014/main" id="{CE430338-DBD7-4131-A333-4981BF7E8584}"/>
                </a:ext>
              </a:extLst>
            </p:cNvPr>
            <p:cNvSpPr>
              <a:spLocks noChangeArrowheads="1"/>
            </p:cNvSpPr>
            <p:nvPr/>
          </p:nvSpPr>
          <p:spPr bwMode="auto">
            <a:xfrm>
              <a:off x="5477454" y="4784926"/>
              <a:ext cx="804804" cy="806395"/>
            </a:xfrm>
            <a:prstGeom prst="ellipse">
              <a:avLst/>
            </a:pr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97" name="Freeform 126">
              <a:extLst>
                <a:ext uri="{FF2B5EF4-FFF2-40B4-BE49-F238E27FC236}">
                  <a16:creationId xmlns:a16="http://schemas.microsoft.com/office/drawing/2014/main" id="{E7122255-CFAA-4CEF-B255-17A6D24DDF16}"/>
                </a:ext>
              </a:extLst>
            </p:cNvPr>
            <p:cNvSpPr>
              <a:spLocks/>
            </p:cNvSpPr>
            <p:nvPr/>
          </p:nvSpPr>
          <p:spPr bwMode="auto">
            <a:xfrm>
              <a:off x="5735118" y="5274807"/>
              <a:ext cx="380135" cy="111336"/>
            </a:xfrm>
            <a:custGeom>
              <a:avLst/>
              <a:gdLst>
                <a:gd name="T0" fmla="*/ 44 w 239"/>
                <a:gd name="T1" fmla="*/ 0 h 70"/>
                <a:gd name="T2" fmla="*/ 2 w 239"/>
                <a:gd name="T3" fmla="*/ 66 h 70"/>
                <a:gd name="T4" fmla="*/ 0 w 239"/>
                <a:gd name="T5" fmla="*/ 70 h 70"/>
                <a:gd name="T6" fmla="*/ 5 w 239"/>
                <a:gd name="T7" fmla="*/ 70 h 70"/>
                <a:gd name="T8" fmla="*/ 193 w 239"/>
                <a:gd name="T9" fmla="*/ 70 h 70"/>
                <a:gd name="T10" fmla="*/ 195 w 239"/>
                <a:gd name="T11" fmla="*/ 70 h 70"/>
                <a:gd name="T12" fmla="*/ 196 w 239"/>
                <a:gd name="T13" fmla="*/ 68 h 70"/>
                <a:gd name="T14" fmla="*/ 239 w 239"/>
                <a:gd name="T15" fmla="*/ 0 h 70"/>
                <a:gd name="T16" fmla="*/ 44 w 239"/>
                <a:gd name="T1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9" h="70">
                  <a:moveTo>
                    <a:pt x="44" y="0"/>
                  </a:moveTo>
                  <a:lnTo>
                    <a:pt x="2" y="66"/>
                  </a:lnTo>
                  <a:lnTo>
                    <a:pt x="0" y="70"/>
                  </a:lnTo>
                  <a:lnTo>
                    <a:pt x="5" y="70"/>
                  </a:lnTo>
                  <a:lnTo>
                    <a:pt x="193" y="70"/>
                  </a:lnTo>
                  <a:lnTo>
                    <a:pt x="195" y="70"/>
                  </a:lnTo>
                  <a:lnTo>
                    <a:pt x="196" y="68"/>
                  </a:lnTo>
                  <a:lnTo>
                    <a:pt x="239" y="0"/>
                  </a:lnTo>
                  <a:lnTo>
                    <a:pt x="44" y="0"/>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98" name="Freeform 127">
              <a:extLst>
                <a:ext uri="{FF2B5EF4-FFF2-40B4-BE49-F238E27FC236}">
                  <a16:creationId xmlns:a16="http://schemas.microsoft.com/office/drawing/2014/main" id="{6831E332-5164-40D0-9442-7E1F1FACA443}"/>
                </a:ext>
              </a:extLst>
            </p:cNvPr>
            <p:cNvSpPr>
              <a:spLocks/>
            </p:cNvSpPr>
            <p:nvPr/>
          </p:nvSpPr>
          <p:spPr bwMode="auto">
            <a:xfrm>
              <a:off x="5821007" y="4974198"/>
              <a:ext cx="294247" cy="267207"/>
            </a:xfrm>
            <a:custGeom>
              <a:avLst/>
              <a:gdLst>
                <a:gd name="T0" fmla="*/ 88 w 185"/>
                <a:gd name="T1" fmla="*/ 1 h 168"/>
                <a:gd name="T2" fmla="*/ 87 w 185"/>
                <a:gd name="T3" fmla="*/ 0 h 168"/>
                <a:gd name="T4" fmla="*/ 85 w 185"/>
                <a:gd name="T5" fmla="*/ 0 h 168"/>
                <a:gd name="T6" fmla="*/ 5 w 185"/>
                <a:gd name="T7" fmla="*/ 1 h 168"/>
                <a:gd name="T8" fmla="*/ 0 w 185"/>
                <a:gd name="T9" fmla="*/ 1 h 168"/>
                <a:gd name="T10" fmla="*/ 2 w 185"/>
                <a:gd name="T11" fmla="*/ 5 h 168"/>
                <a:gd name="T12" fmla="*/ 96 w 185"/>
                <a:gd name="T13" fmla="*/ 165 h 168"/>
                <a:gd name="T14" fmla="*/ 96 w 185"/>
                <a:gd name="T15" fmla="*/ 168 h 168"/>
                <a:gd name="T16" fmla="*/ 99 w 185"/>
                <a:gd name="T17" fmla="*/ 168 h 168"/>
                <a:gd name="T18" fmla="*/ 180 w 185"/>
                <a:gd name="T19" fmla="*/ 167 h 168"/>
                <a:gd name="T20" fmla="*/ 185 w 185"/>
                <a:gd name="T21" fmla="*/ 167 h 168"/>
                <a:gd name="T22" fmla="*/ 182 w 185"/>
                <a:gd name="T23" fmla="*/ 163 h 168"/>
                <a:gd name="T24" fmla="*/ 88 w 185"/>
                <a:gd name="T25" fmla="*/ 1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5" h="168">
                  <a:moveTo>
                    <a:pt x="88" y="1"/>
                  </a:moveTo>
                  <a:lnTo>
                    <a:pt x="87" y="0"/>
                  </a:lnTo>
                  <a:lnTo>
                    <a:pt x="85" y="0"/>
                  </a:lnTo>
                  <a:lnTo>
                    <a:pt x="5" y="1"/>
                  </a:lnTo>
                  <a:lnTo>
                    <a:pt x="0" y="1"/>
                  </a:lnTo>
                  <a:lnTo>
                    <a:pt x="2" y="5"/>
                  </a:lnTo>
                  <a:lnTo>
                    <a:pt x="96" y="165"/>
                  </a:lnTo>
                  <a:lnTo>
                    <a:pt x="96" y="168"/>
                  </a:lnTo>
                  <a:lnTo>
                    <a:pt x="99" y="168"/>
                  </a:lnTo>
                  <a:lnTo>
                    <a:pt x="180" y="167"/>
                  </a:lnTo>
                  <a:lnTo>
                    <a:pt x="185" y="167"/>
                  </a:lnTo>
                  <a:lnTo>
                    <a:pt x="182" y="163"/>
                  </a:lnTo>
                  <a:lnTo>
                    <a:pt x="88" y="1"/>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99" name="Freeform 128">
              <a:extLst>
                <a:ext uri="{FF2B5EF4-FFF2-40B4-BE49-F238E27FC236}">
                  <a16:creationId xmlns:a16="http://schemas.microsoft.com/office/drawing/2014/main" id="{58A96251-0408-4045-945C-F6A7AFB8A5E8}"/>
                </a:ext>
              </a:extLst>
            </p:cNvPr>
            <p:cNvSpPr>
              <a:spLocks/>
            </p:cNvSpPr>
            <p:nvPr/>
          </p:nvSpPr>
          <p:spPr bwMode="auto">
            <a:xfrm>
              <a:off x="5641278" y="4988512"/>
              <a:ext cx="224263" cy="384907"/>
            </a:xfrm>
            <a:custGeom>
              <a:avLst/>
              <a:gdLst>
                <a:gd name="T0" fmla="*/ 141 w 141"/>
                <a:gd name="T1" fmla="*/ 76 h 242"/>
                <a:gd name="T2" fmla="*/ 141 w 141"/>
                <a:gd name="T3" fmla="*/ 73 h 242"/>
                <a:gd name="T4" fmla="*/ 99 w 141"/>
                <a:gd name="T5" fmla="*/ 5 h 242"/>
                <a:gd name="T6" fmla="*/ 97 w 141"/>
                <a:gd name="T7" fmla="*/ 0 h 242"/>
                <a:gd name="T8" fmla="*/ 94 w 141"/>
                <a:gd name="T9" fmla="*/ 5 h 242"/>
                <a:gd name="T10" fmla="*/ 0 w 141"/>
                <a:gd name="T11" fmla="*/ 165 h 242"/>
                <a:gd name="T12" fmla="*/ 0 w 141"/>
                <a:gd name="T13" fmla="*/ 166 h 242"/>
                <a:gd name="T14" fmla="*/ 0 w 141"/>
                <a:gd name="T15" fmla="*/ 169 h 242"/>
                <a:gd name="T16" fmla="*/ 42 w 141"/>
                <a:gd name="T17" fmla="*/ 237 h 242"/>
                <a:gd name="T18" fmla="*/ 44 w 141"/>
                <a:gd name="T19" fmla="*/ 242 h 242"/>
                <a:gd name="T20" fmla="*/ 46 w 141"/>
                <a:gd name="T21" fmla="*/ 237 h 242"/>
                <a:gd name="T22" fmla="*/ 141 w 141"/>
                <a:gd name="T23" fmla="*/ 77 h 242"/>
                <a:gd name="T24" fmla="*/ 141 w 141"/>
                <a:gd name="T25" fmla="*/ 76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1" h="242">
                  <a:moveTo>
                    <a:pt x="141" y="76"/>
                  </a:moveTo>
                  <a:lnTo>
                    <a:pt x="141" y="73"/>
                  </a:lnTo>
                  <a:lnTo>
                    <a:pt x="99" y="5"/>
                  </a:lnTo>
                  <a:lnTo>
                    <a:pt x="97" y="0"/>
                  </a:lnTo>
                  <a:lnTo>
                    <a:pt x="94" y="5"/>
                  </a:lnTo>
                  <a:lnTo>
                    <a:pt x="0" y="165"/>
                  </a:lnTo>
                  <a:lnTo>
                    <a:pt x="0" y="166"/>
                  </a:lnTo>
                  <a:lnTo>
                    <a:pt x="0" y="169"/>
                  </a:lnTo>
                  <a:lnTo>
                    <a:pt x="42" y="237"/>
                  </a:lnTo>
                  <a:lnTo>
                    <a:pt x="44" y="242"/>
                  </a:lnTo>
                  <a:lnTo>
                    <a:pt x="46" y="237"/>
                  </a:lnTo>
                  <a:lnTo>
                    <a:pt x="141" y="77"/>
                  </a:lnTo>
                  <a:lnTo>
                    <a:pt x="141" y="76"/>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00" name="Freeform 206">
              <a:extLst>
                <a:ext uri="{FF2B5EF4-FFF2-40B4-BE49-F238E27FC236}">
                  <a16:creationId xmlns:a16="http://schemas.microsoft.com/office/drawing/2014/main" id="{61CC9559-A438-48B7-AE7E-1664733E4905}"/>
                </a:ext>
              </a:extLst>
            </p:cNvPr>
            <p:cNvSpPr>
              <a:spLocks/>
            </p:cNvSpPr>
            <p:nvPr/>
          </p:nvSpPr>
          <p:spPr bwMode="auto">
            <a:xfrm>
              <a:off x="4693326" y="4385704"/>
              <a:ext cx="103384" cy="103385"/>
            </a:xfrm>
            <a:custGeom>
              <a:avLst/>
              <a:gdLst>
                <a:gd name="T0" fmla="*/ 9 w 53"/>
                <a:gd name="T1" fmla="*/ 53 h 53"/>
                <a:gd name="T2" fmla="*/ 19 w 53"/>
                <a:gd name="T3" fmla="*/ 53 h 53"/>
                <a:gd name="T4" fmla="*/ 19 w 53"/>
                <a:gd name="T5" fmla="*/ 29 h 53"/>
                <a:gd name="T6" fmla="*/ 23 w 53"/>
                <a:gd name="T7" fmla="*/ 29 h 53"/>
                <a:gd name="T8" fmla="*/ 28 w 53"/>
                <a:gd name="T9" fmla="*/ 29 h 53"/>
                <a:gd name="T10" fmla="*/ 33 w 53"/>
                <a:gd name="T11" fmla="*/ 29 h 53"/>
                <a:gd name="T12" fmla="*/ 33 w 53"/>
                <a:gd name="T13" fmla="*/ 53 h 53"/>
                <a:gd name="T14" fmla="*/ 42 w 53"/>
                <a:gd name="T15" fmla="*/ 53 h 53"/>
                <a:gd name="T16" fmla="*/ 42 w 53"/>
                <a:gd name="T17" fmla="*/ 29 h 53"/>
                <a:gd name="T18" fmla="*/ 51 w 53"/>
                <a:gd name="T19" fmla="*/ 29 h 53"/>
                <a:gd name="T20" fmla="*/ 51 w 53"/>
                <a:gd name="T21" fmla="*/ 19 h 53"/>
                <a:gd name="T22" fmla="*/ 42 w 53"/>
                <a:gd name="T23" fmla="*/ 19 h 53"/>
                <a:gd name="T24" fmla="*/ 42 w 53"/>
                <a:gd name="T25" fmla="*/ 15 h 53"/>
                <a:gd name="T26" fmla="*/ 45 w 53"/>
                <a:gd name="T27" fmla="*/ 10 h 53"/>
                <a:gd name="T28" fmla="*/ 53 w 53"/>
                <a:gd name="T29" fmla="*/ 10 h 53"/>
                <a:gd name="T30" fmla="*/ 53 w 53"/>
                <a:gd name="T31" fmla="*/ 0 h 53"/>
                <a:gd name="T32" fmla="*/ 45 w 53"/>
                <a:gd name="T33" fmla="*/ 0 h 53"/>
                <a:gd name="T34" fmla="*/ 33 w 53"/>
                <a:gd name="T35" fmla="*/ 15 h 53"/>
                <a:gd name="T36" fmla="*/ 33 w 53"/>
                <a:gd name="T37" fmla="*/ 19 h 53"/>
                <a:gd name="T38" fmla="*/ 28 w 53"/>
                <a:gd name="T39" fmla="*/ 19 h 53"/>
                <a:gd name="T40" fmla="*/ 23 w 53"/>
                <a:gd name="T41" fmla="*/ 19 h 53"/>
                <a:gd name="T42" fmla="*/ 19 w 53"/>
                <a:gd name="T43" fmla="*/ 19 h 53"/>
                <a:gd name="T44" fmla="*/ 19 w 53"/>
                <a:gd name="T45" fmla="*/ 15 h 53"/>
                <a:gd name="T46" fmla="*/ 22 w 53"/>
                <a:gd name="T47" fmla="*/ 10 h 53"/>
                <a:gd name="T48" fmla="*/ 30 w 53"/>
                <a:gd name="T49" fmla="*/ 10 h 53"/>
                <a:gd name="T50" fmla="*/ 30 w 53"/>
                <a:gd name="T51" fmla="*/ 0 h 53"/>
                <a:gd name="T52" fmla="*/ 22 w 53"/>
                <a:gd name="T53" fmla="*/ 0 h 53"/>
                <a:gd name="T54" fmla="*/ 9 w 53"/>
                <a:gd name="T55" fmla="*/ 15 h 53"/>
                <a:gd name="T56" fmla="*/ 9 w 53"/>
                <a:gd name="T57" fmla="*/ 19 h 53"/>
                <a:gd name="T58" fmla="*/ 0 w 53"/>
                <a:gd name="T59" fmla="*/ 19 h 53"/>
                <a:gd name="T60" fmla="*/ 0 w 53"/>
                <a:gd name="T61" fmla="*/ 29 h 53"/>
                <a:gd name="T62" fmla="*/ 9 w 53"/>
                <a:gd name="T63" fmla="*/ 29 h 53"/>
                <a:gd name="T64" fmla="*/ 9 w 53"/>
                <a:gd name="T6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3" h="53">
                  <a:moveTo>
                    <a:pt x="9" y="53"/>
                  </a:moveTo>
                  <a:cubicBezTo>
                    <a:pt x="19" y="53"/>
                    <a:pt x="19" y="53"/>
                    <a:pt x="19" y="53"/>
                  </a:cubicBezTo>
                  <a:cubicBezTo>
                    <a:pt x="19" y="29"/>
                    <a:pt x="19" y="29"/>
                    <a:pt x="19" y="29"/>
                  </a:cubicBezTo>
                  <a:cubicBezTo>
                    <a:pt x="23" y="29"/>
                    <a:pt x="23" y="29"/>
                    <a:pt x="23" y="29"/>
                  </a:cubicBezTo>
                  <a:cubicBezTo>
                    <a:pt x="28" y="29"/>
                    <a:pt x="28" y="29"/>
                    <a:pt x="28" y="29"/>
                  </a:cubicBezTo>
                  <a:cubicBezTo>
                    <a:pt x="33" y="29"/>
                    <a:pt x="33" y="29"/>
                    <a:pt x="33" y="29"/>
                  </a:cubicBezTo>
                  <a:cubicBezTo>
                    <a:pt x="33" y="53"/>
                    <a:pt x="33" y="53"/>
                    <a:pt x="33" y="53"/>
                  </a:cubicBezTo>
                  <a:cubicBezTo>
                    <a:pt x="42" y="53"/>
                    <a:pt x="42" y="53"/>
                    <a:pt x="42" y="53"/>
                  </a:cubicBezTo>
                  <a:cubicBezTo>
                    <a:pt x="42" y="29"/>
                    <a:pt x="42" y="29"/>
                    <a:pt x="42" y="29"/>
                  </a:cubicBezTo>
                  <a:cubicBezTo>
                    <a:pt x="51" y="29"/>
                    <a:pt x="51" y="29"/>
                    <a:pt x="51" y="29"/>
                  </a:cubicBezTo>
                  <a:cubicBezTo>
                    <a:pt x="51" y="19"/>
                    <a:pt x="51" y="19"/>
                    <a:pt x="51" y="19"/>
                  </a:cubicBezTo>
                  <a:cubicBezTo>
                    <a:pt x="42" y="19"/>
                    <a:pt x="42" y="19"/>
                    <a:pt x="42" y="19"/>
                  </a:cubicBezTo>
                  <a:cubicBezTo>
                    <a:pt x="42" y="15"/>
                    <a:pt x="42" y="15"/>
                    <a:pt x="42" y="15"/>
                  </a:cubicBezTo>
                  <a:cubicBezTo>
                    <a:pt x="42" y="12"/>
                    <a:pt x="44" y="10"/>
                    <a:pt x="45" y="10"/>
                  </a:cubicBezTo>
                  <a:cubicBezTo>
                    <a:pt x="53" y="10"/>
                    <a:pt x="53" y="10"/>
                    <a:pt x="53" y="10"/>
                  </a:cubicBezTo>
                  <a:cubicBezTo>
                    <a:pt x="53" y="0"/>
                    <a:pt x="53" y="0"/>
                    <a:pt x="53" y="0"/>
                  </a:cubicBezTo>
                  <a:cubicBezTo>
                    <a:pt x="45" y="0"/>
                    <a:pt x="45" y="0"/>
                    <a:pt x="45" y="0"/>
                  </a:cubicBezTo>
                  <a:cubicBezTo>
                    <a:pt x="38" y="0"/>
                    <a:pt x="33" y="7"/>
                    <a:pt x="33" y="15"/>
                  </a:cubicBezTo>
                  <a:cubicBezTo>
                    <a:pt x="33" y="19"/>
                    <a:pt x="33" y="19"/>
                    <a:pt x="33" y="19"/>
                  </a:cubicBezTo>
                  <a:cubicBezTo>
                    <a:pt x="28" y="19"/>
                    <a:pt x="28" y="19"/>
                    <a:pt x="28" y="19"/>
                  </a:cubicBezTo>
                  <a:cubicBezTo>
                    <a:pt x="23" y="19"/>
                    <a:pt x="23" y="19"/>
                    <a:pt x="23" y="19"/>
                  </a:cubicBezTo>
                  <a:cubicBezTo>
                    <a:pt x="19" y="19"/>
                    <a:pt x="19" y="19"/>
                    <a:pt x="19" y="19"/>
                  </a:cubicBezTo>
                  <a:cubicBezTo>
                    <a:pt x="19" y="15"/>
                    <a:pt x="19" y="15"/>
                    <a:pt x="19" y="15"/>
                  </a:cubicBezTo>
                  <a:cubicBezTo>
                    <a:pt x="19" y="12"/>
                    <a:pt x="20" y="10"/>
                    <a:pt x="22" y="10"/>
                  </a:cubicBezTo>
                  <a:cubicBezTo>
                    <a:pt x="30" y="10"/>
                    <a:pt x="30" y="10"/>
                    <a:pt x="30" y="10"/>
                  </a:cubicBezTo>
                  <a:cubicBezTo>
                    <a:pt x="30" y="0"/>
                    <a:pt x="30" y="0"/>
                    <a:pt x="30" y="0"/>
                  </a:cubicBezTo>
                  <a:cubicBezTo>
                    <a:pt x="22" y="0"/>
                    <a:pt x="22" y="0"/>
                    <a:pt x="22" y="0"/>
                  </a:cubicBezTo>
                  <a:cubicBezTo>
                    <a:pt x="15" y="0"/>
                    <a:pt x="9" y="7"/>
                    <a:pt x="9" y="15"/>
                  </a:cubicBezTo>
                  <a:cubicBezTo>
                    <a:pt x="9" y="19"/>
                    <a:pt x="9" y="19"/>
                    <a:pt x="9" y="19"/>
                  </a:cubicBezTo>
                  <a:cubicBezTo>
                    <a:pt x="0" y="19"/>
                    <a:pt x="0" y="19"/>
                    <a:pt x="0" y="19"/>
                  </a:cubicBezTo>
                  <a:cubicBezTo>
                    <a:pt x="0" y="29"/>
                    <a:pt x="0" y="29"/>
                    <a:pt x="0" y="29"/>
                  </a:cubicBezTo>
                  <a:cubicBezTo>
                    <a:pt x="9" y="29"/>
                    <a:pt x="9" y="29"/>
                    <a:pt x="9" y="29"/>
                  </a:cubicBezTo>
                  <a:lnTo>
                    <a:pt x="9" y="53"/>
                  </a:lnTo>
                  <a:close/>
                </a:path>
              </a:pathLst>
            </a:custGeom>
            <a:solidFill>
              <a:srgbClr val="CCCCC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01" name="Freeform 207">
              <a:extLst>
                <a:ext uri="{FF2B5EF4-FFF2-40B4-BE49-F238E27FC236}">
                  <a16:creationId xmlns:a16="http://schemas.microsoft.com/office/drawing/2014/main" id="{F777DC82-F0BA-47D2-B7D9-124DF4E7A96A}"/>
                </a:ext>
              </a:extLst>
            </p:cNvPr>
            <p:cNvSpPr>
              <a:spLocks/>
            </p:cNvSpPr>
            <p:nvPr/>
          </p:nvSpPr>
          <p:spPr bwMode="auto">
            <a:xfrm>
              <a:off x="4370450" y="2819040"/>
              <a:ext cx="103384" cy="103385"/>
            </a:xfrm>
            <a:custGeom>
              <a:avLst/>
              <a:gdLst>
                <a:gd name="T0" fmla="*/ 10 w 53"/>
                <a:gd name="T1" fmla="*/ 53 h 53"/>
                <a:gd name="T2" fmla="*/ 19 w 53"/>
                <a:gd name="T3" fmla="*/ 53 h 53"/>
                <a:gd name="T4" fmla="*/ 19 w 53"/>
                <a:gd name="T5" fmla="*/ 29 h 53"/>
                <a:gd name="T6" fmla="*/ 23 w 53"/>
                <a:gd name="T7" fmla="*/ 29 h 53"/>
                <a:gd name="T8" fmla="*/ 28 w 53"/>
                <a:gd name="T9" fmla="*/ 29 h 53"/>
                <a:gd name="T10" fmla="*/ 33 w 53"/>
                <a:gd name="T11" fmla="*/ 29 h 53"/>
                <a:gd name="T12" fmla="*/ 33 w 53"/>
                <a:gd name="T13" fmla="*/ 53 h 53"/>
                <a:gd name="T14" fmla="*/ 42 w 53"/>
                <a:gd name="T15" fmla="*/ 53 h 53"/>
                <a:gd name="T16" fmla="*/ 42 w 53"/>
                <a:gd name="T17" fmla="*/ 29 h 53"/>
                <a:gd name="T18" fmla="*/ 51 w 53"/>
                <a:gd name="T19" fmla="*/ 29 h 53"/>
                <a:gd name="T20" fmla="*/ 51 w 53"/>
                <a:gd name="T21" fmla="*/ 19 h 53"/>
                <a:gd name="T22" fmla="*/ 42 w 53"/>
                <a:gd name="T23" fmla="*/ 19 h 53"/>
                <a:gd name="T24" fmla="*/ 42 w 53"/>
                <a:gd name="T25" fmla="*/ 14 h 53"/>
                <a:gd name="T26" fmla="*/ 45 w 53"/>
                <a:gd name="T27" fmla="*/ 9 h 53"/>
                <a:gd name="T28" fmla="*/ 53 w 53"/>
                <a:gd name="T29" fmla="*/ 9 h 53"/>
                <a:gd name="T30" fmla="*/ 53 w 53"/>
                <a:gd name="T31" fmla="*/ 0 h 53"/>
                <a:gd name="T32" fmla="*/ 45 w 53"/>
                <a:gd name="T33" fmla="*/ 0 h 53"/>
                <a:gd name="T34" fmla="*/ 33 w 53"/>
                <a:gd name="T35" fmla="*/ 14 h 53"/>
                <a:gd name="T36" fmla="*/ 33 w 53"/>
                <a:gd name="T37" fmla="*/ 19 h 53"/>
                <a:gd name="T38" fmla="*/ 28 w 53"/>
                <a:gd name="T39" fmla="*/ 19 h 53"/>
                <a:gd name="T40" fmla="*/ 23 w 53"/>
                <a:gd name="T41" fmla="*/ 19 h 53"/>
                <a:gd name="T42" fmla="*/ 19 w 53"/>
                <a:gd name="T43" fmla="*/ 19 h 53"/>
                <a:gd name="T44" fmla="*/ 19 w 53"/>
                <a:gd name="T45" fmla="*/ 14 h 53"/>
                <a:gd name="T46" fmla="*/ 22 w 53"/>
                <a:gd name="T47" fmla="*/ 9 h 53"/>
                <a:gd name="T48" fmla="*/ 30 w 53"/>
                <a:gd name="T49" fmla="*/ 9 h 53"/>
                <a:gd name="T50" fmla="*/ 30 w 53"/>
                <a:gd name="T51" fmla="*/ 0 h 53"/>
                <a:gd name="T52" fmla="*/ 22 w 53"/>
                <a:gd name="T53" fmla="*/ 0 h 53"/>
                <a:gd name="T54" fmla="*/ 10 w 53"/>
                <a:gd name="T55" fmla="*/ 14 h 53"/>
                <a:gd name="T56" fmla="*/ 10 w 53"/>
                <a:gd name="T57" fmla="*/ 19 h 53"/>
                <a:gd name="T58" fmla="*/ 0 w 53"/>
                <a:gd name="T59" fmla="*/ 19 h 53"/>
                <a:gd name="T60" fmla="*/ 0 w 53"/>
                <a:gd name="T61" fmla="*/ 29 h 53"/>
                <a:gd name="T62" fmla="*/ 10 w 53"/>
                <a:gd name="T63" fmla="*/ 29 h 53"/>
                <a:gd name="T64" fmla="*/ 10 w 53"/>
                <a:gd name="T6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3" h="53">
                  <a:moveTo>
                    <a:pt x="10" y="53"/>
                  </a:moveTo>
                  <a:cubicBezTo>
                    <a:pt x="19" y="53"/>
                    <a:pt x="19" y="53"/>
                    <a:pt x="19" y="53"/>
                  </a:cubicBezTo>
                  <a:cubicBezTo>
                    <a:pt x="19" y="29"/>
                    <a:pt x="19" y="29"/>
                    <a:pt x="19" y="29"/>
                  </a:cubicBezTo>
                  <a:cubicBezTo>
                    <a:pt x="23" y="29"/>
                    <a:pt x="23" y="29"/>
                    <a:pt x="23" y="29"/>
                  </a:cubicBezTo>
                  <a:cubicBezTo>
                    <a:pt x="28" y="29"/>
                    <a:pt x="28" y="29"/>
                    <a:pt x="28" y="29"/>
                  </a:cubicBezTo>
                  <a:cubicBezTo>
                    <a:pt x="33" y="29"/>
                    <a:pt x="33" y="29"/>
                    <a:pt x="33" y="29"/>
                  </a:cubicBezTo>
                  <a:cubicBezTo>
                    <a:pt x="33" y="53"/>
                    <a:pt x="33" y="53"/>
                    <a:pt x="33" y="53"/>
                  </a:cubicBezTo>
                  <a:cubicBezTo>
                    <a:pt x="42" y="53"/>
                    <a:pt x="42" y="53"/>
                    <a:pt x="42" y="53"/>
                  </a:cubicBezTo>
                  <a:cubicBezTo>
                    <a:pt x="42" y="29"/>
                    <a:pt x="42" y="29"/>
                    <a:pt x="42" y="29"/>
                  </a:cubicBezTo>
                  <a:cubicBezTo>
                    <a:pt x="51" y="29"/>
                    <a:pt x="51" y="29"/>
                    <a:pt x="51" y="29"/>
                  </a:cubicBezTo>
                  <a:cubicBezTo>
                    <a:pt x="51" y="19"/>
                    <a:pt x="51" y="19"/>
                    <a:pt x="51" y="19"/>
                  </a:cubicBezTo>
                  <a:cubicBezTo>
                    <a:pt x="42" y="19"/>
                    <a:pt x="42" y="19"/>
                    <a:pt x="42" y="19"/>
                  </a:cubicBezTo>
                  <a:cubicBezTo>
                    <a:pt x="42" y="14"/>
                    <a:pt x="42" y="14"/>
                    <a:pt x="42" y="14"/>
                  </a:cubicBezTo>
                  <a:cubicBezTo>
                    <a:pt x="42" y="11"/>
                    <a:pt x="44" y="9"/>
                    <a:pt x="45" y="9"/>
                  </a:cubicBezTo>
                  <a:cubicBezTo>
                    <a:pt x="53" y="9"/>
                    <a:pt x="53" y="9"/>
                    <a:pt x="53" y="9"/>
                  </a:cubicBezTo>
                  <a:cubicBezTo>
                    <a:pt x="53" y="0"/>
                    <a:pt x="53" y="0"/>
                    <a:pt x="53" y="0"/>
                  </a:cubicBezTo>
                  <a:cubicBezTo>
                    <a:pt x="45" y="0"/>
                    <a:pt x="45" y="0"/>
                    <a:pt x="45" y="0"/>
                  </a:cubicBezTo>
                  <a:cubicBezTo>
                    <a:pt x="38" y="0"/>
                    <a:pt x="33" y="6"/>
                    <a:pt x="33" y="14"/>
                  </a:cubicBezTo>
                  <a:cubicBezTo>
                    <a:pt x="33" y="19"/>
                    <a:pt x="33" y="19"/>
                    <a:pt x="33" y="19"/>
                  </a:cubicBezTo>
                  <a:cubicBezTo>
                    <a:pt x="28" y="19"/>
                    <a:pt x="28" y="19"/>
                    <a:pt x="28" y="19"/>
                  </a:cubicBezTo>
                  <a:cubicBezTo>
                    <a:pt x="23" y="19"/>
                    <a:pt x="23" y="19"/>
                    <a:pt x="23" y="19"/>
                  </a:cubicBezTo>
                  <a:cubicBezTo>
                    <a:pt x="19" y="19"/>
                    <a:pt x="19" y="19"/>
                    <a:pt x="19" y="19"/>
                  </a:cubicBezTo>
                  <a:cubicBezTo>
                    <a:pt x="19" y="14"/>
                    <a:pt x="19" y="14"/>
                    <a:pt x="19" y="14"/>
                  </a:cubicBezTo>
                  <a:cubicBezTo>
                    <a:pt x="19" y="11"/>
                    <a:pt x="21" y="9"/>
                    <a:pt x="22" y="9"/>
                  </a:cubicBezTo>
                  <a:cubicBezTo>
                    <a:pt x="30" y="9"/>
                    <a:pt x="30" y="9"/>
                    <a:pt x="30" y="9"/>
                  </a:cubicBezTo>
                  <a:cubicBezTo>
                    <a:pt x="30" y="0"/>
                    <a:pt x="30" y="0"/>
                    <a:pt x="30" y="0"/>
                  </a:cubicBezTo>
                  <a:cubicBezTo>
                    <a:pt x="22" y="0"/>
                    <a:pt x="22" y="0"/>
                    <a:pt x="22" y="0"/>
                  </a:cubicBezTo>
                  <a:cubicBezTo>
                    <a:pt x="15" y="0"/>
                    <a:pt x="10" y="6"/>
                    <a:pt x="10" y="14"/>
                  </a:cubicBezTo>
                  <a:cubicBezTo>
                    <a:pt x="10" y="19"/>
                    <a:pt x="10" y="19"/>
                    <a:pt x="10" y="19"/>
                  </a:cubicBezTo>
                  <a:cubicBezTo>
                    <a:pt x="0" y="19"/>
                    <a:pt x="0" y="19"/>
                    <a:pt x="0" y="19"/>
                  </a:cubicBezTo>
                  <a:cubicBezTo>
                    <a:pt x="0" y="29"/>
                    <a:pt x="0" y="29"/>
                    <a:pt x="0" y="29"/>
                  </a:cubicBezTo>
                  <a:cubicBezTo>
                    <a:pt x="10" y="29"/>
                    <a:pt x="10" y="29"/>
                    <a:pt x="10" y="29"/>
                  </a:cubicBezTo>
                  <a:lnTo>
                    <a:pt x="10" y="53"/>
                  </a:lnTo>
                  <a:close/>
                </a:path>
              </a:pathLst>
            </a:custGeom>
            <a:solidFill>
              <a:srgbClr val="CCCCC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02" name="Freeform 208">
              <a:extLst>
                <a:ext uri="{FF2B5EF4-FFF2-40B4-BE49-F238E27FC236}">
                  <a16:creationId xmlns:a16="http://schemas.microsoft.com/office/drawing/2014/main" id="{8F461853-6786-4238-BEAC-DD470A1240C7}"/>
                </a:ext>
              </a:extLst>
            </p:cNvPr>
            <p:cNvSpPr>
              <a:spLocks/>
            </p:cNvSpPr>
            <p:nvPr/>
          </p:nvSpPr>
          <p:spPr bwMode="auto">
            <a:xfrm>
              <a:off x="5941886" y="2757009"/>
              <a:ext cx="100203" cy="103385"/>
            </a:xfrm>
            <a:custGeom>
              <a:avLst/>
              <a:gdLst>
                <a:gd name="T0" fmla="*/ 9 w 52"/>
                <a:gd name="T1" fmla="*/ 53 h 53"/>
                <a:gd name="T2" fmla="*/ 18 w 52"/>
                <a:gd name="T3" fmla="*/ 53 h 53"/>
                <a:gd name="T4" fmla="*/ 18 w 52"/>
                <a:gd name="T5" fmla="*/ 29 h 53"/>
                <a:gd name="T6" fmla="*/ 23 w 52"/>
                <a:gd name="T7" fmla="*/ 29 h 53"/>
                <a:gd name="T8" fmla="*/ 27 w 52"/>
                <a:gd name="T9" fmla="*/ 29 h 53"/>
                <a:gd name="T10" fmla="*/ 32 w 52"/>
                <a:gd name="T11" fmla="*/ 29 h 53"/>
                <a:gd name="T12" fmla="*/ 32 w 52"/>
                <a:gd name="T13" fmla="*/ 53 h 53"/>
                <a:gd name="T14" fmla="*/ 41 w 52"/>
                <a:gd name="T15" fmla="*/ 53 h 53"/>
                <a:gd name="T16" fmla="*/ 41 w 52"/>
                <a:gd name="T17" fmla="*/ 29 h 53"/>
                <a:gd name="T18" fmla="*/ 51 w 52"/>
                <a:gd name="T19" fmla="*/ 29 h 53"/>
                <a:gd name="T20" fmla="*/ 51 w 52"/>
                <a:gd name="T21" fmla="*/ 19 h 53"/>
                <a:gd name="T22" fmla="*/ 41 w 52"/>
                <a:gd name="T23" fmla="*/ 19 h 53"/>
                <a:gd name="T24" fmla="*/ 41 w 52"/>
                <a:gd name="T25" fmla="*/ 14 h 53"/>
                <a:gd name="T26" fmla="*/ 45 w 52"/>
                <a:gd name="T27" fmla="*/ 9 h 53"/>
                <a:gd name="T28" fmla="*/ 52 w 52"/>
                <a:gd name="T29" fmla="*/ 9 h 53"/>
                <a:gd name="T30" fmla="*/ 52 w 52"/>
                <a:gd name="T31" fmla="*/ 0 h 53"/>
                <a:gd name="T32" fmla="*/ 45 w 52"/>
                <a:gd name="T33" fmla="*/ 0 h 53"/>
                <a:gd name="T34" fmla="*/ 32 w 52"/>
                <a:gd name="T35" fmla="*/ 14 h 53"/>
                <a:gd name="T36" fmla="*/ 32 w 52"/>
                <a:gd name="T37" fmla="*/ 19 h 53"/>
                <a:gd name="T38" fmla="*/ 27 w 52"/>
                <a:gd name="T39" fmla="*/ 19 h 53"/>
                <a:gd name="T40" fmla="*/ 23 w 52"/>
                <a:gd name="T41" fmla="*/ 19 h 53"/>
                <a:gd name="T42" fmla="*/ 18 w 52"/>
                <a:gd name="T43" fmla="*/ 19 h 53"/>
                <a:gd name="T44" fmla="*/ 18 w 52"/>
                <a:gd name="T45" fmla="*/ 14 h 53"/>
                <a:gd name="T46" fmla="*/ 21 w 52"/>
                <a:gd name="T47" fmla="*/ 9 h 53"/>
                <a:gd name="T48" fmla="*/ 29 w 52"/>
                <a:gd name="T49" fmla="*/ 9 h 53"/>
                <a:gd name="T50" fmla="*/ 29 w 52"/>
                <a:gd name="T51" fmla="*/ 0 h 53"/>
                <a:gd name="T52" fmla="*/ 21 w 52"/>
                <a:gd name="T53" fmla="*/ 0 h 53"/>
                <a:gd name="T54" fmla="*/ 9 w 52"/>
                <a:gd name="T55" fmla="*/ 14 h 53"/>
                <a:gd name="T56" fmla="*/ 9 w 52"/>
                <a:gd name="T57" fmla="*/ 19 h 53"/>
                <a:gd name="T58" fmla="*/ 0 w 52"/>
                <a:gd name="T59" fmla="*/ 19 h 53"/>
                <a:gd name="T60" fmla="*/ 0 w 52"/>
                <a:gd name="T61" fmla="*/ 29 h 53"/>
                <a:gd name="T62" fmla="*/ 9 w 52"/>
                <a:gd name="T63" fmla="*/ 29 h 53"/>
                <a:gd name="T64" fmla="*/ 9 w 52"/>
                <a:gd name="T6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2" h="53">
                  <a:moveTo>
                    <a:pt x="9" y="53"/>
                  </a:moveTo>
                  <a:cubicBezTo>
                    <a:pt x="18" y="53"/>
                    <a:pt x="18" y="53"/>
                    <a:pt x="18" y="53"/>
                  </a:cubicBezTo>
                  <a:cubicBezTo>
                    <a:pt x="18" y="29"/>
                    <a:pt x="18" y="29"/>
                    <a:pt x="18" y="29"/>
                  </a:cubicBezTo>
                  <a:cubicBezTo>
                    <a:pt x="23" y="29"/>
                    <a:pt x="23" y="29"/>
                    <a:pt x="23" y="29"/>
                  </a:cubicBezTo>
                  <a:cubicBezTo>
                    <a:pt x="27" y="29"/>
                    <a:pt x="27" y="29"/>
                    <a:pt x="27" y="29"/>
                  </a:cubicBezTo>
                  <a:cubicBezTo>
                    <a:pt x="32" y="29"/>
                    <a:pt x="32" y="29"/>
                    <a:pt x="32" y="29"/>
                  </a:cubicBezTo>
                  <a:cubicBezTo>
                    <a:pt x="32" y="53"/>
                    <a:pt x="32" y="53"/>
                    <a:pt x="32" y="53"/>
                  </a:cubicBezTo>
                  <a:cubicBezTo>
                    <a:pt x="41" y="53"/>
                    <a:pt x="41" y="53"/>
                    <a:pt x="41" y="53"/>
                  </a:cubicBezTo>
                  <a:cubicBezTo>
                    <a:pt x="41" y="29"/>
                    <a:pt x="41" y="29"/>
                    <a:pt x="41" y="29"/>
                  </a:cubicBezTo>
                  <a:cubicBezTo>
                    <a:pt x="51" y="29"/>
                    <a:pt x="51" y="29"/>
                    <a:pt x="51" y="29"/>
                  </a:cubicBezTo>
                  <a:cubicBezTo>
                    <a:pt x="51" y="19"/>
                    <a:pt x="51" y="19"/>
                    <a:pt x="51" y="19"/>
                  </a:cubicBezTo>
                  <a:cubicBezTo>
                    <a:pt x="41" y="19"/>
                    <a:pt x="41" y="19"/>
                    <a:pt x="41" y="19"/>
                  </a:cubicBezTo>
                  <a:cubicBezTo>
                    <a:pt x="41" y="14"/>
                    <a:pt x="41" y="14"/>
                    <a:pt x="41" y="14"/>
                  </a:cubicBezTo>
                  <a:cubicBezTo>
                    <a:pt x="41" y="11"/>
                    <a:pt x="43" y="9"/>
                    <a:pt x="45" y="9"/>
                  </a:cubicBezTo>
                  <a:cubicBezTo>
                    <a:pt x="52" y="9"/>
                    <a:pt x="52" y="9"/>
                    <a:pt x="52" y="9"/>
                  </a:cubicBezTo>
                  <a:cubicBezTo>
                    <a:pt x="52" y="0"/>
                    <a:pt x="52" y="0"/>
                    <a:pt x="52" y="0"/>
                  </a:cubicBezTo>
                  <a:cubicBezTo>
                    <a:pt x="45" y="0"/>
                    <a:pt x="45" y="0"/>
                    <a:pt x="45" y="0"/>
                  </a:cubicBezTo>
                  <a:cubicBezTo>
                    <a:pt x="38" y="0"/>
                    <a:pt x="32" y="6"/>
                    <a:pt x="32" y="14"/>
                  </a:cubicBezTo>
                  <a:cubicBezTo>
                    <a:pt x="32" y="19"/>
                    <a:pt x="32" y="19"/>
                    <a:pt x="32" y="19"/>
                  </a:cubicBezTo>
                  <a:cubicBezTo>
                    <a:pt x="27" y="19"/>
                    <a:pt x="27" y="19"/>
                    <a:pt x="27" y="19"/>
                  </a:cubicBezTo>
                  <a:cubicBezTo>
                    <a:pt x="23" y="19"/>
                    <a:pt x="23" y="19"/>
                    <a:pt x="23" y="19"/>
                  </a:cubicBezTo>
                  <a:cubicBezTo>
                    <a:pt x="18" y="19"/>
                    <a:pt x="18" y="19"/>
                    <a:pt x="18" y="19"/>
                  </a:cubicBezTo>
                  <a:cubicBezTo>
                    <a:pt x="18" y="14"/>
                    <a:pt x="18" y="14"/>
                    <a:pt x="18" y="14"/>
                  </a:cubicBezTo>
                  <a:cubicBezTo>
                    <a:pt x="18" y="11"/>
                    <a:pt x="20" y="9"/>
                    <a:pt x="21" y="9"/>
                  </a:cubicBezTo>
                  <a:cubicBezTo>
                    <a:pt x="29" y="9"/>
                    <a:pt x="29" y="9"/>
                    <a:pt x="29" y="9"/>
                  </a:cubicBezTo>
                  <a:cubicBezTo>
                    <a:pt x="29" y="0"/>
                    <a:pt x="29" y="0"/>
                    <a:pt x="29" y="0"/>
                  </a:cubicBezTo>
                  <a:cubicBezTo>
                    <a:pt x="21" y="0"/>
                    <a:pt x="21" y="0"/>
                    <a:pt x="21" y="0"/>
                  </a:cubicBezTo>
                  <a:cubicBezTo>
                    <a:pt x="15" y="0"/>
                    <a:pt x="9" y="6"/>
                    <a:pt x="9" y="14"/>
                  </a:cubicBezTo>
                  <a:cubicBezTo>
                    <a:pt x="9" y="19"/>
                    <a:pt x="9" y="19"/>
                    <a:pt x="9" y="19"/>
                  </a:cubicBezTo>
                  <a:cubicBezTo>
                    <a:pt x="0" y="19"/>
                    <a:pt x="0" y="19"/>
                    <a:pt x="0" y="19"/>
                  </a:cubicBezTo>
                  <a:cubicBezTo>
                    <a:pt x="0" y="29"/>
                    <a:pt x="0" y="29"/>
                    <a:pt x="0" y="29"/>
                  </a:cubicBezTo>
                  <a:cubicBezTo>
                    <a:pt x="9" y="29"/>
                    <a:pt x="9" y="29"/>
                    <a:pt x="9" y="29"/>
                  </a:cubicBezTo>
                  <a:lnTo>
                    <a:pt x="9" y="53"/>
                  </a:lnTo>
                  <a:close/>
                </a:path>
              </a:pathLst>
            </a:custGeom>
            <a:solidFill>
              <a:srgbClr val="CCCCC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03" name="Freeform 209">
              <a:extLst>
                <a:ext uri="{FF2B5EF4-FFF2-40B4-BE49-F238E27FC236}">
                  <a16:creationId xmlns:a16="http://schemas.microsoft.com/office/drawing/2014/main" id="{8EF83424-5A72-4BF6-B41D-DAD0999EA712}"/>
                </a:ext>
              </a:extLst>
            </p:cNvPr>
            <p:cNvSpPr>
              <a:spLocks/>
            </p:cNvSpPr>
            <p:nvPr/>
          </p:nvSpPr>
          <p:spPr bwMode="auto">
            <a:xfrm>
              <a:off x="6073900" y="4158260"/>
              <a:ext cx="103384" cy="103385"/>
            </a:xfrm>
            <a:custGeom>
              <a:avLst/>
              <a:gdLst>
                <a:gd name="T0" fmla="*/ 10 w 53"/>
                <a:gd name="T1" fmla="*/ 53 h 53"/>
                <a:gd name="T2" fmla="*/ 19 w 53"/>
                <a:gd name="T3" fmla="*/ 53 h 53"/>
                <a:gd name="T4" fmla="*/ 19 w 53"/>
                <a:gd name="T5" fmla="*/ 29 h 53"/>
                <a:gd name="T6" fmla="*/ 23 w 53"/>
                <a:gd name="T7" fmla="*/ 29 h 53"/>
                <a:gd name="T8" fmla="*/ 28 w 53"/>
                <a:gd name="T9" fmla="*/ 29 h 53"/>
                <a:gd name="T10" fmla="*/ 33 w 53"/>
                <a:gd name="T11" fmla="*/ 29 h 53"/>
                <a:gd name="T12" fmla="*/ 33 w 53"/>
                <a:gd name="T13" fmla="*/ 53 h 53"/>
                <a:gd name="T14" fmla="*/ 42 w 53"/>
                <a:gd name="T15" fmla="*/ 53 h 53"/>
                <a:gd name="T16" fmla="*/ 42 w 53"/>
                <a:gd name="T17" fmla="*/ 29 h 53"/>
                <a:gd name="T18" fmla="*/ 51 w 53"/>
                <a:gd name="T19" fmla="*/ 29 h 53"/>
                <a:gd name="T20" fmla="*/ 51 w 53"/>
                <a:gd name="T21" fmla="*/ 19 h 53"/>
                <a:gd name="T22" fmla="*/ 42 w 53"/>
                <a:gd name="T23" fmla="*/ 19 h 53"/>
                <a:gd name="T24" fmla="*/ 42 w 53"/>
                <a:gd name="T25" fmla="*/ 15 h 53"/>
                <a:gd name="T26" fmla="*/ 45 w 53"/>
                <a:gd name="T27" fmla="*/ 10 h 53"/>
                <a:gd name="T28" fmla="*/ 53 w 53"/>
                <a:gd name="T29" fmla="*/ 10 h 53"/>
                <a:gd name="T30" fmla="*/ 53 w 53"/>
                <a:gd name="T31" fmla="*/ 0 h 53"/>
                <a:gd name="T32" fmla="*/ 45 w 53"/>
                <a:gd name="T33" fmla="*/ 0 h 53"/>
                <a:gd name="T34" fmla="*/ 33 w 53"/>
                <a:gd name="T35" fmla="*/ 15 h 53"/>
                <a:gd name="T36" fmla="*/ 33 w 53"/>
                <a:gd name="T37" fmla="*/ 19 h 53"/>
                <a:gd name="T38" fmla="*/ 28 w 53"/>
                <a:gd name="T39" fmla="*/ 19 h 53"/>
                <a:gd name="T40" fmla="*/ 23 w 53"/>
                <a:gd name="T41" fmla="*/ 19 h 53"/>
                <a:gd name="T42" fmla="*/ 19 w 53"/>
                <a:gd name="T43" fmla="*/ 19 h 53"/>
                <a:gd name="T44" fmla="*/ 19 w 53"/>
                <a:gd name="T45" fmla="*/ 15 h 53"/>
                <a:gd name="T46" fmla="*/ 22 w 53"/>
                <a:gd name="T47" fmla="*/ 10 h 53"/>
                <a:gd name="T48" fmla="*/ 30 w 53"/>
                <a:gd name="T49" fmla="*/ 10 h 53"/>
                <a:gd name="T50" fmla="*/ 30 w 53"/>
                <a:gd name="T51" fmla="*/ 0 h 53"/>
                <a:gd name="T52" fmla="*/ 22 w 53"/>
                <a:gd name="T53" fmla="*/ 0 h 53"/>
                <a:gd name="T54" fmla="*/ 10 w 53"/>
                <a:gd name="T55" fmla="*/ 15 h 53"/>
                <a:gd name="T56" fmla="*/ 10 w 53"/>
                <a:gd name="T57" fmla="*/ 19 h 53"/>
                <a:gd name="T58" fmla="*/ 0 w 53"/>
                <a:gd name="T59" fmla="*/ 19 h 53"/>
                <a:gd name="T60" fmla="*/ 0 w 53"/>
                <a:gd name="T61" fmla="*/ 29 h 53"/>
                <a:gd name="T62" fmla="*/ 10 w 53"/>
                <a:gd name="T63" fmla="*/ 29 h 53"/>
                <a:gd name="T64" fmla="*/ 10 w 53"/>
                <a:gd name="T6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3" h="53">
                  <a:moveTo>
                    <a:pt x="10" y="53"/>
                  </a:moveTo>
                  <a:cubicBezTo>
                    <a:pt x="19" y="53"/>
                    <a:pt x="19" y="53"/>
                    <a:pt x="19" y="53"/>
                  </a:cubicBezTo>
                  <a:cubicBezTo>
                    <a:pt x="19" y="29"/>
                    <a:pt x="19" y="29"/>
                    <a:pt x="19" y="29"/>
                  </a:cubicBezTo>
                  <a:cubicBezTo>
                    <a:pt x="23" y="29"/>
                    <a:pt x="23" y="29"/>
                    <a:pt x="23" y="29"/>
                  </a:cubicBezTo>
                  <a:cubicBezTo>
                    <a:pt x="28" y="29"/>
                    <a:pt x="28" y="29"/>
                    <a:pt x="28" y="29"/>
                  </a:cubicBezTo>
                  <a:cubicBezTo>
                    <a:pt x="33" y="29"/>
                    <a:pt x="33" y="29"/>
                    <a:pt x="33" y="29"/>
                  </a:cubicBezTo>
                  <a:cubicBezTo>
                    <a:pt x="33" y="53"/>
                    <a:pt x="33" y="53"/>
                    <a:pt x="33" y="53"/>
                  </a:cubicBezTo>
                  <a:cubicBezTo>
                    <a:pt x="42" y="53"/>
                    <a:pt x="42" y="53"/>
                    <a:pt x="42" y="53"/>
                  </a:cubicBezTo>
                  <a:cubicBezTo>
                    <a:pt x="42" y="29"/>
                    <a:pt x="42" y="29"/>
                    <a:pt x="42" y="29"/>
                  </a:cubicBezTo>
                  <a:cubicBezTo>
                    <a:pt x="51" y="29"/>
                    <a:pt x="51" y="29"/>
                    <a:pt x="51" y="29"/>
                  </a:cubicBezTo>
                  <a:cubicBezTo>
                    <a:pt x="51" y="19"/>
                    <a:pt x="51" y="19"/>
                    <a:pt x="51" y="19"/>
                  </a:cubicBezTo>
                  <a:cubicBezTo>
                    <a:pt x="42" y="19"/>
                    <a:pt x="42" y="19"/>
                    <a:pt x="42" y="19"/>
                  </a:cubicBezTo>
                  <a:cubicBezTo>
                    <a:pt x="42" y="15"/>
                    <a:pt x="42" y="15"/>
                    <a:pt x="42" y="15"/>
                  </a:cubicBezTo>
                  <a:cubicBezTo>
                    <a:pt x="42" y="12"/>
                    <a:pt x="44" y="10"/>
                    <a:pt x="45" y="10"/>
                  </a:cubicBezTo>
                  <a:cubicBezTo>
                    <a:pt x="53" y="10"/>
                    <a:pt x="53" y="10"/>
                    <a:pt x="53" y="10"/>
                  </a:cubicBezTo>
                  <a:cubicBezTo>
                    <a:pt x="53" y="0"/>
                    <a:pt x="53" y="0"/>
                    <a:pt x="53" y="0"/>
                  </a:cubicBezTo>
                  <a:cubicBezTo>
                    <a:pt x="45" y="0"/>
                    <a:pt x="45" y="0"/>
                    <a:pt x="45" y="0"/>
                  </a:cubicBezTo>
                  <a:cubicBezTo>
                    <a:pt x="38" y="0"/>
                    <a:pt x="33" y="7"/>
                    <a:pt x="33" y="15"/>
                  </a:cubicBezTo>
                  <a:cubicBezTo>
                    <a:pt x="33" y="19"/>
                    <a:pt x="33" y="19"/>
                    <a:pt x="33" y="19"/>
                  </a:cubicBezTo>
                  <a:cubicBezTo>
                    <a:pt x="28" y="19"/>
                    <a:pt x="28" y="19"/>
                    <a:pt x="28" y="19"/>
                  </a:cubicBezTo>
                  <a:cubicBezTo>
                    <a:pt x="23" y="19"/>
                    <a:pt x="23" y="19"/>
                    <a:pt x="23" y="19"/>
                  </a:cubicBezTo>
                  <a:cubicBezTo>
                    <a:pt x="19" y="19"/>
                    <a:pt x="19" y="19"/>
                    <a:pt x="19" y="19"/>
                  </a:cubicBezTo>
                  <a:cubicBezTo>
                    <a:pt x="19" y="15"/>
                    <a:pt x="19" y="15"/>
                    <a:pt x="19" y="15"/>
                  </a:cubicBezTo>
                  <a:cubicBezTo>
                    <a:pt x="19" y="12"/>
                    <a:pt x="21" y="10"/>
                    <a:pt x="22" y="10"/>
                  </a:cubicBezTo>
                  <a:cubicBezTo>
                    <a:pt x="30" y="10"/>
                    <a:pt x="30" y="10"/>
                    <a:pt x="30" y="10"/>
                  </a:cubicBezTo>
                  <a:cubicBezTo>
                    <a:pt x="30" y="0"/>
                    <a:pt x="30" y="0"/>
                    <a:pt x="30" y="0"/>
                  </a:cubicBezTo>
                  <a:cubicBezTo>
                    <a:pt x="22" y="0"/>
                    <a:pt x="22" y="0"/>
                    <a:pt x="22" y="0"/>
                  </a:cubicBezTo>
                  <a:cubicBezTo>
                    <a:pt x="15" y="0"/>
                    <a:pt x="10" y="7"/>
                    <a:pt x="10" y="15"/>
                  </a:cubicBezTo>
                  <a:cubicBezTo>
                    <a:pt x="10" y="19"/>
                    <a:pt x="10" y="19"/>
                    <a:pt x="10" y="19"/>
                  </a:cubicBezTo>
                  <a:cubicBezTo>
                    <a:pt x="0" y="19"/>
                    <a:pt x="0" y="19"/>
                    <a:pt x="0" y="19"/>
                  </a:cubicBezTo>
                  <a:cubicBezTo>
                    <a:pt x="0" y="29"/>
                    <a:pt x="0" y="29"/>
                    <a:pt x="0" y="29"/>
                  </a:cubicBezTo>
                  <a:cubicBezTo>
                    <a:pt x="10" y="29"/>
                    <a:pt x="10" y="29"/>
                    <a:pt x="10" y="29"/>
                  </a:cubicBezTo>
                  <a:lnTo>
                    <a:pt x="10" y="53"/>
                  </a:lnTo>
                  <a:close/>
                </a:path>
              </a:pathLst>
            </a:custGeom>
            <a:solidFill>
              <a:srgbClr val="CCCCC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04" name="Freeform 210">
              <a:extLst>
                <a:ext uri="{FF2B5EF4-FFF2-40B4-BE49-F238E27FC236}">
                  <a16:creationId xmlns:a16="http://schemas.microsoft.com/office/drawing/2014/main" id="{CA82DDDA-F47E-4C6D-9C9B-900724D9EC3B}"/>
                </a:ext>
              </a:extLst>
            </p:cNvPr>
            <p:cNvSpPr>
              <a:spLocks noEditPoints="1"/>
            </p:cNvSpPr>
            <p:nvPr/>
          </p:nvSpPr>
          <p:spPr bwMode="auto">
            <a:xfrm>
              <a:off x="5030517" y="1405066"/>
              <a:ext cx="233807" cy="187682"/>
            </a:xfrm>
            <a:custGeom>
              <a:avLst/>
              <a:gdLst>
                <a:gd name="T0" fmla="*/ 60 w 120"/>
                <a:gd name="T1" fmla="*/ 96 h 96"/>
                <a:gd name="T2" fmla="*/ 120 w 120"/>
                <a:gd name="T3" fmla="*/ 57 h 96"/>
                <a:gd name="T4" fmla="*/ 60 w 120"/>
                <a:gd name="T5" fmla="*/ 18 h 96"/>
                <a:gd name="T6" fmla="*/ 17 w 120"/>
                <a:gd name="T7" fmla="*/ 29 h 96"/>
                <a:gd name="T8" fmla="*/ 17 w 120"/>
                <a:gd name="T9" fmla="*/ 0 h 96"/>
                <a:gd name="T10" fmla="*/ 0 w 120"/>
                <a:gd name="T11" fmla="*/ 0 h 96"/>
                <a:gd name="T12" fmla="*/ 0 w 120"/>
                <a:gd name="T13" fmla="*/ 57 h 96"/>
                <a:gd name="T14" fmla="*/ 0 w 120"/>
                <a:gd name="T15" fmla="*/ 57 h 96"/>
                <a:gd name="T16" fmla="*/ 0 w 120"/>
                <a:gd name="T17" fmla="*/ 57 h 96"/>
                <a:gd name="T18" fmla="*/ 0 w 120"/>
                <a:gd name="T19" fmla="*/ 57 h 96"/>
                <a:gd name="T20" fmla="*/ 0 w 120"/>
                <a:gd name="T21" fmla="*/ 57 h 96"/>
                <a:gd name="T22" fmla="*/ 60 w 120"/>
                <a:gd name="T23" fmla="*/ 96 h 96"/>
                <a:gd name="T24" fmla="*/ 60 w 120"/>
                <a:gd name="T25" fmla="*/ 27 h 96"/>
                <a:gd name="T26" fmla="*/ 102 w 120"/>
                <a:gd name="T27" fmla="*/ 57 h 96"/>
                <a:gd name="T28" fmla="*/ 60 w 120"/>
                <a:gd name="T29" fmla="*/ 86 h 96"/>
                <a:gd name="T30" fmla="*/ 18 w 120"/>
                <a:gd name="T31" fmla="*/ 57 h 96"/>
                <a:gd name="T32" fmla="*/ 60 w 120"/>
                <a:gd name="T33" fmla="*/ 27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0" h="96">
                  <a:moveTo>
                    <a:pt x="60" y="96"/>
                  </a:moveTo>
                  <a:cubicBezTo>
                    <a:pt x="93" y="96"/>
                    <a:pt x="120" y="78"/>
                    <a:pt x="120" y="57"/>
                  </a:cubicBezTo>
                  <a:cubicBezTo>
                    <a:pt x="120" y="35"/>
                    <a:pt x="93" y="18"/>
                    <a:pt x="60" y="18"/>
                  </a:cubicBezTo>
                  <a:cubicBezTo>
                    <a:pt x="43" y="18"/>
                    <a:pt x="28" y="22"/>
                    <a:pt x="17" y="29"/>
                  </a:cubicBezTo>
                  <a:cubicBezTo>
                    <a:pt x="17" y="0"/>
                    <a:pt x="17" y="0"/>
                    <a:pt x="17" y="0"/>
                  </a:cubicBezTo>
                  <a:cubicBezTo>
                    <a:pt x="0" y="0"/>
                    <a:pt x="0" y="0"/>
                    <a:pt x="0" y="0"/>
                  </a:cubicBezTo>
                  <a:cubicBezTo>
                    <a:pt x="0" y="57"/>
                    <a:pt x="0" y="57"/>
                    <a:pt x="0" y="57"/>
                  </a:cubicBezTo>
                  <a:cubicBezTo>
                    <a:pt x="0" y="57"/>
                    <a:pt x="0" y="57"/>
                    <a:pt x="0" y="57"/>
                  </a:cubicBezTo>
                  <a:cubicBezTo>
                    <a:pt x="0" y="57"/>
                    <a:pt x="0" y="57"/>
                    <a:pt x="0" y="57"/>
                  </a:cubicBezTo>
                  <a:cubicBezTo>
                    <a:pt x="0" y="57"/>
                    <a:pt x="0" y="57"/>
                    <a:pt x="0" y="57"/>
                  </a:cubicBezTo>
                  <a:cubicBezTo>
                    <a:pt x="0" y="57"/>
                    <a:pt x="0" y="57"/>
                    <a:pt x="0" y="57"/>
                  </a:cubicBezTo>
                  <a:cubicBezTo>
                    <a:pt x="0" y="78"/>
                    <a:pt x="27" y="96"/>
                    <a:pt x="60" y="96"/>
                  </a:cubicBezTo>
                  <a:moveTo>
                    <a:pt x="60" y="27"/>
                  </a:moveTo>
                  <a:cubicBezTo>
                    <a:pt x="83" y="27"/>
                    <a:pt x="102" y="40"/>
                    <a:pt x="102" y="57"/>
                  </a:cubicBezTo>
                  <a:cubicBezTo>
                    <a:pt x="102" y="73"/>
                    <a:pt x="83" y="86"/>
                    <a:pt x="60" y="86"/>
                  </a:cubicBezTo>
                  <a:cubicBezTo>
                    <a:pt x="37" y="86"/>
                    <a:pt x="18" y="73"/>
                    <a:pt x="18" y="57"/>
                  </a:cubicBezTo>
                  <a:cubicBezTo>
                    <a:pt x="18" y="40"/>
                    <a:pt x="37" y="27"/>
                    <a:pt x="60" y="27"/>
                  </a:cubicBezTo>
                </a:path>
              </a:pathLst>
            </a:custGeom>
            <a:solidFill>
              <a:srgbClr val="CCCCC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05" name="Freeform 211">
              <a:extLst>
                <a:ext uri="{FF2B5EF4-FFF2-40B4-BE49-F238E27FC236}">
                  <a16:creationId xmlns:a16="http://schemas.microsoft.com/office/drawing/2014/main" id="{C3750CDA-79E9-41DE-9392-291A067AD672}"/>
                </a:ext>
              </a:extLst>
            </p:cNvPr>
            <p:cNvSpPr>
              <a:spLocks noEditPoints="1"/>
            </p:cNvSpPr>
            <p:nvPr/>
          </p:nvSpPr>
          <p:spPr bwMode="auto">
            <a:xfrm>
              <a:off x="6939143" y="3836975"/>
              <a:ext cx="233807" cy="186091"/>
            </a:xfrm>
            <a:custGeom>
              <a:avLst/>
              <a:gdLst>
                <a:gd name="T0" fmla="*/ 60 w 120"/>
                <a:gd name="T1" fmla="*/ 96 h 96"/>
                <a:gd name="T2" fmla="*/ 120 w 120"/>
                <a:gd name="T3" fmla="*/ 57 h 96"/>
                <a:gd name="T4" fmla="*/ 60 w 120"/>
                <a:gd name="T5" fmla="*/ 18 h 96"/>
                <a:gd name="T6" fmla="*/ 17 w 120"/>
                <a:gd name="T7" fmla="*/ 29 h 96"/>
                <a:gd name="T8" fmla="*/ 17 w 120"/>
                <a:gd name="T9" fmla="*/ 0 h 96"/>
                <a:gd name="T10" fmla="*/ 0 w 120"/>
                <a:gd name="T11" fmla="*/ 0 h 96"/>
                <a:gd name="T12" fmla="*/ 0 w 120"/>
                <a:gd name="T13" fmla="*/ 57 h 96"/>
                <a:gd name="T14" fmla="*/ 0 w 120"/>
                <a:gd name="T15" fmla="*/ 57 h 96"/>
                <a:gd name="T16" fmla="*/ 0 w 120"/>
                <a:gd name="T17" fmla="*/ 57 h 96"/>
                <a:gd name="T18" fmla="*/ 0 w 120"/>
                <a:gd name="T19" fmla="*/ 57 h 96"/>
                <a:gd name="T20" fmla="*/ 0 w 120"/>
                <a:gd name="T21" fmla="*/ 57 h 96"/>
                <a:gd name="T22" fmla="*/ 60 w 120"/>
                <a:gd name="T23" fmla="*/ 96 h 96"/>
                <a:gd name="T24" fmla="*/ 60 w 120"/>
                <a:gd name="T25" fmla="*/ 27 h 96"/>
                <a:gd name="T26" fmla="*/ 101 w 120"/>
                <a:gd name="T27" fmla="*/ 57 h 96"/>
                <a:gd name="T28" fmla="*/ 60 w 120"/>
                <a:gd name="T29" fmla="*/ 86 h 96"/>
                <a:gd name="T30" fmla="*/ 18 w 120"/>
                <a:gd name="T31" fmla="*/ 57 h 96"/>
                <a:gd name="T32" fmla="*/ 60 w 120"/>
                <a:gd name="T33" fmla="*/ 27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0" h="96">
                  <a:moveTo>
                    <a:pt x="60" y="96"/>
                  </a:moveTo>
                  <a:cubicBezTo>
                    <a:pt x="93" y="96"/>
                    <a:pt x="120" y="78"/>
                    <a:pt x="120" y="57"/>
                  </a:cubicBezTo>
                  <a:cubicBezTo>
                    <a:pt x="120" y="35"/>
                    <a:pt x="93" y="18"/>
                    <a:pt x="60" y="18"/>
                  </a:cubicBezTo>
                  <a:cubicBezTo>
                    <a:pt x="43" y="18"/>
                    <a:pt x="28" y="22"/>
                    <a:pt x="17" y="29"/>
                  </a:cubicBezTo>
                  <a:cubicBezTo>
                    <a:pt x="17" y="0"/>
                    <a:pt x="17" y="0"/>
                    <a:pt x="17" y="0"/>
                  </a:cubicBezTo>
                  <a:cubicBezTo>
                    <a:pt x="0" y="0"/>
                    <a:pt x="0" y="0"/>
                    <a:pt x="0" y="0"/>
                  </a:cubicBezTo>
                  <a:cubicBezTo>
                    <a:pt x="0" y="57"/>
                    <a:pt x="0" y="57"/>
                    <a:pt x="0" y="57"/>
                  </a:cubicBezTo>
                  <a:cubicBezTo>
                    <a:pt x="0" y="57"/>
                    <a:pt x="0" y="57"/>
                    <a:pt x="0" y="57"/>
                  </a:cubicBezTo>
                  <a:cubicBezTo>
                    <a:pt x="0" y="57"/>
                    <a:pt x="0" y="57"/>
                    <a:pt x="0" y="57"/>
                  </a:cubicBezTo>
                  <a:cubicBezTo>
                    <a:pt x="0" y="57"/>
                    <a:pt x="0" y="57"/>
                    <a:pt x="0" y="57"/>
                  </a:cubicBezTo>
                  <a:cubicBezTo>
                    <a:pt x="0" y="57"/>
                    <a:pt x="0" y="57"/>
                    <a:pt x="0" y="57"/>
                  </a:cubicBezTo>
                  <a:cubicBezTo>
                    <a:pt x="0" y="78"/>
                    <a:pt x="27" y="96"/>
                    <a:pt x="60" y="96"/>
                  </a:cubicBezTo>
                  <a:moveTo>
                    <a:pt x="60" y="27"/>
                  </a:moveTo>
                  <a:cubicBezTo>
                    <a:pt x="83" y="27"/>
                    <a:pt x="101" y="40"/>
                    <a:pt x="101" y="57"/>
                  </a:cubicBezTo>
                  <a:cubicBezTo>
                    <a:pt x="101" y="73"/>
                    <a:pt x="83" y="86"/>
                    <a:pt x="60" y="86"/>
                  </a:cubicBezTo>
                  <a:cubicBezTo>
                    <a:pt x="36" y="86"/>
                    <a:pt x="18" y="73"/>
                    <a:pt x="18" y="57"/>
                  </a:cubicBezTo>
                  <a:cubicBezTo>
                    <a:pt x="18" y="40"/>
                    <a:pt x="36" y="27"/>
                    <a:pt x="60" y="27"/>
                  </a:cubicBezTo>
                </a:path>
              </a:pathLst>
            </a:custGeom>
            <a:solidFill>
              <a:srgbClr val="CCCCC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06" name="Freeform 212">
              <a:extLst>
                <a:ext uri="{FF2B5EF4-FFF2-40B4-BE49-F238E27FC236}">
                  <a16:creationId xmlns:a16="http://schemas.microsoft.com/office/drawing/2014/main" id="{3C486049-678D-46EF-8D01-E772AE2CA3EC}"/>
                </a:ext>
              </a:extLst>
            </p:cNvPr>
            <p:cNvSpPr>
              <a:spLocks/>
            </p:cNvSpPr>
            <p:nvPr/>
          </p:nvSpPr>
          <p:spPr bwMode="auto">
            <a:xfrm>
              <a:off x="6894609" y="5208004"/>
              <a:ext cx="82707" cy="69983"/>
            </a:xfrm>
            <a:custGeom>
              <a:avLst/>
              <a:gdLst>
                <a:gd name="T0" fmla="*/ 24 w 42"/>
                <a:gd name="T1" fmla="*/ 36 h 36"/>
                <a:gd name="T2" fmla="*/ 28 w 42"/>
                <a:gd name="T3" fmla="*/ 35 h 36"/>
                <a:gd name="T4" fmla="*/ 41 w 42"/>
                <a:gd name="T5" fmla="*/ 17 h 36"/>
                <a:gd name="T6" fmla="*/ 42 w 42"/>
                <a:gd name="T7" fmla="*/ 13 h 36"/>
                <a:gd name="T8" fmla="*/ 38 w 42"/>
                <a:gd name="T9" fmla="*/ 10 h 36"/>
                <a:gd name="T10" fmla="*/ 8 w 42"/>
                <a:gd name="T11" fmla="*/ 1 h 36"/>
                <a:gd name="T12" fmla="*/ 3 w 42"/>
                <a:gd name="T13" fmla="*/ 2 h 36"/>
                <a:gd name="T14" fmla="*/ 2 w 42"/>
                <a:gd name="T15" fmla="*/ 7 h 36"/>
                <a:gd name="T16" fmla="*/ 19 w 42"/>
                <a:gd name="T17" fmla="*/ 33 h 36"/>
                <a:gd name="T18" fmla="*/ 24 w 42"/>
                <a:gd name="T19"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 h="36">
                  <a:moveTo>
                    <a:pt x="24" y="36"/>
                  </a:moveTo>
                  <a:cubicBezTo>
                    <a:pt x="26" y="36"/>
                    <a:pt x="28" y="35"/>
                    <a:pt x="28" y="35"/>
                  </a:cubicBezTo>
                  <a:cubicBezTo>
                    <a:pt x="41" y="17"/>
                    <a:pt x="41" y="17"/>
                    <a:pt x="41" y="17"/>
                  </a:cubicBezTo>
                  <a:cubicBezTo>
                    <a:pt x="41" y="17"/>
                    <a:pt x="42" y="15"/>
                    <a:pt x="42" y="13"/>
                  </a:cubicBezTo>
                  <a:cubicBezTo>
                    <a:pt x="42" y="11"/>
                    <a:pt x="38" y="10"/>
                    <a:pt x="38" y="10"/>
                  </a:cubicBezTo>
                  <a:cubicBezTo>
                    <a:pt x="8" y="1"/>
                    <a:pt x="8" y="1"/>
                    <a:pt x="8" y="1"/>
                  </a:cubicBezTo>
                  <a:cubicBezTo>
                    <a:pt x="8" y="1"/>
                    <a:pt x="5" y="0"/>
                    <a:pt x="3" y="2"/>
                  </a:cubicBezTo>
                  <a:cubicBezTo>
                    <a:pt x="0" y="4"/>
                    <a:pt x="2" y="7"/>
                    <a:pt x="2" y="7"/>
                  </a:cubicBezTo>
                  <a:cubicBezTo>
                    <a:pt x="19" y="33"/>
                    <a:pt x="19" y="33"/>
                    <a:pt x="19" y="33"/>
                  </a:cubicBezTo>
                  <a:cubicBezTo>
                    <a:pt x="19" y="33"/>
                    <a:pt x="21" y="36"/>
                    <a:pt x="24" y="36"/>
                  </a:cubicBezTo>
                </a:path>
              </a:pathLst>
            </a:custGeom>
            <a:solidFill>
              <a:srgbClr val="CCCCC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07" name="Freeform 213">
              <a:extLst>
                <a:ext uri="{FF2B5EF4-FFF2-40B4-BE49-F238E27FC236}">
                  <a16:creationId xmlns:a16="http://schemas.microsoft.com/office/drawing/2014/main" id="{57C368B3-48AD-485A-B33A-4EDB8D9A9BB3}"/>
                </a:ext>
              </a:extLst>
            </p:cNvPr>
            <p:cNvSpPr>
              <a:spLocks/>
            </p:cNvSpPr>
            <p:nvPr/>
          </p:nvSpPr>
          <p:spPr bwMode="auto">
            <a:xfrm>
              <a:off x="6894609" y="5122116"/>
              <a:ext cx="84298" cy="68393"/>
            </a:xfrm>
            <a:custGeom>
              <a:avLst/>
              <a:gdLst>
                <a:gd name="T0" fmla="*/ 7 w 43"/>
                <a:gd name="T1" fmla="*/ 35 h 35"/>
                <a:gd name="T2" fmla="*/ 37 w 43"/>
                <a:gd name="T3" fmla="*/ 26 h 35"/>
                <a:gd name="T4" fmla="*/ 42 w 43"/>
                <a:gd name="T5" fmla="*/ 23 h 35"/>
                <a:gd name="T6" fmla="*/ 41 w 43"/>
                <a:gd name="T7" fmla="*/ 18 h 35"/>
                <a:gd name="T8" fmla="*/ 27 w 43"/>
                <a:gd name="T9" fmla="*/ 2 h 35"/>
                <a:gd name="T10" fmla="*/ 23 w 43"/>
                <a:gd name="T11" fmla="*/ 0 h 35"/>
                <a:gd name="T12" fmla="*/ 18 w 43"/>
                <a:gd name="T13" fmla="*/ 3 h 35"/>
                <a:gd name="T14" fmla="*/ 1 w 43"/>
                <a:gd name="T15" fmla="*/ 28 h 35"/>
                <a:gd name="T16" fmla="*/ 1 w 43"/>
                <a:gd name="T17" fmla="*/ 33 h 35"/>
                <a:gd name="T18" fmla="*/ 7 w 43"/>
                <a:gd name="T19"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3" h="35">
                  <a:moveTo>
                    <a:pt x="7" y="35"/>
                  </a:moveTo>
                  <a:cubicBezTo>
                    <a:pt x="37" y="26"/>
                    <a:pt x="37" y="26"/>
                    <a:pt x="37" y="26"/>
                  </a:cubicBezTo>
                  <a:cubicBezTo>
                    <a:pt x="37" y="26"/>
                    <a:pt x="41" y="25"/>
                    <a:pt x="42" y="23"/>
                  </a:cubicBezTo>
                  <a:cubicBezTo>
                    <a:pt x="43" y="21"/>
                    <a:pt x="41" y="18"/>
                    <a:pt x="41" y="18"/>
                  </a:cubicBezTo>
                  <a:cubicBezTo>
                    <a:pt x="27" y="2"/>
                    <a:pt x="27" y="2"/>
                    <a:pt x="27" y="2"/>
                  </a:cubicBezTo>
                  <a:cubicBezTo>
                    <a:pt x="27" y="2"/>
                    <a:pt x="26" y="0"/>
                    <a:pt x="23" y="0"/>
                  </a:cubicBezTo>
                  <a:cubicBezTo>
                    <a:pt x="20" y="0"/>
                    <a:pt x="18" y="3"/>
                    <a:pt x="18" y="3"/>
                  </a:cubicBezTo>
                  <a:cubicBezTo>
                    <a:pt x="1" y="28"/>
                    <a:pt x="1" y="28"/>
                    <a:pt x="1" y="28"/>
                  </a:cubicBezTo>
                  <a:cubicBezTo>
                    <a:pt x="1" y="28"/>
                    <a:pt x="0" y="31"/>
                    <a:pt x="1" y="33"/>
                  </a:cubicBezTo>
                  <a:cubicBezTo>
                    <a:pt x="3" y="35"/>
                    <a:pt x="7" y="35"/>
                    <a:pt x="7" y="35"/>
                  </a:cubicBezTo>
                </a:path>
              </a:pathLst>
            </a:custGeom>
            <a:solidFill>
              <a:srgbClr val="CCCCC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08" name="Freeform 214">
              <a:extLst>
                <a:ext uri="{FF2B5EF4-FFF2-40B4-BE49-F238E27FC236}">
                  <a16:creationId xmlns:a16="http://schemas.microsoft.com/office/drawing/2014/main" id="{C94EC102-B3FE-458E-8178-BDC6BB42C4DF}"/>
                </a:ext>
              </a:extLst>
            </p:cNvPr>
            <p:cNvSpPr>
              <a:spLocks/>
            </p:cNvSpPr>
            <p:nvPr/>
          </p:nvSpPr>
          <p:spPr bwMode="auto">
            <a:xfrm>
              <a:off x="6799178" y="5060086"/>
              <a:ext cx="77936" cy="109747"/>
            </a:xfrm>
            <a:custGeom>
              <a:avLst/>
              <a:gdLst>
                <a:gd name="T0" fmla="*/ 36 w 40"/>
                <a:gd name="T1" fmla="*/ 55 h 56"/>
                <a:gd name="T2" fmla="*/ 40 w 40"/>
                <a:gd name="T3" fmla="*/ 49 h 56"/>
                <a:gd name="T4" fmla="*/ 39 w 40"/>
                <a:gd name="T5" fmla="*/ 9 h 56"/>
                <a:gd name="T6" fmla="*/ 37 w 40"/>
                <a:gd name="T7" fmla="*/ 2 h 56"/>
                <a:gd name="T8" fmla="*/ 31 w 40"/>
                <a:gd name="T9" fmla="*/ 2 h 56"/>
                <a:gd name="T10" fmla="*/ 5 w 40"/>
                <a:gd name="T11" fmla="*/ 10 h 56"/>
                <a:gd name="T12" fmla="*/ 2 w 40"/>
                <a:gd name="T13" fmla="*/ 13 h 56"/>
                <a:gd name="T14" fmla="*/ 3 w 40"/>
                <a:gd name="T15" fmla="*/ 20 h 56"/>
                <a:gd name="T16" fmla="*/ 30 w 40"/>
                <a:gd name="T17" fmla="*/ 53 h 56"/>
                <a:gd name="T18" fmla="*/ 36 w 40"/>
                <a:gd name="T19" fmla="*/ 55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56">
                  <a:moveTo>
                    <a:pt x="36" y="55"/>
                  </a:moveTo>
                  <a:cubicBezTo>
                    <a:pt x="39" y="54"/>
                    <a:pt x="40" y="49"/>
                    <a:pt x="40" y="49"/>
                  </a:cubicBezTo>
                  <a:cubicBezTo>
                    <a:pt x="39" y="9"/>
                    <a:pt x="39" y="9"/>
                    <a:pt x="39" y="9"/>
                  </a:cubicBezTo>
                  <a:cubicBezTo>
                    <a:pt x="39" y="9"/>
                    <a:pt x="39" y="4"/>
                    <a:pt x="37" y="2"/>
                  </a:cubicBezTo>
                  <a:cubicBezTo>
                    <a:pt x="33" y="0"/>
                    <a:pt x="32" y="1"/>
                    <a:pt x="31" y="2"/>
                  </a:cubicBezTo>
                  <a:cubicBezTo>
                    <a:pt x="5" y="10"/>
                    <a:pt x="5" y="10"/>
                    <a:pt x="5" y="10"/>
                  </a:cubicBezTo>
                  <a:cubicBezTo>
                    <a:pt x="5" y="10"/>
                    <a:pt x="3" y="11"/>
                    <a:pt x="2" y="13"/>
                  </a:cubicBezTo>
                  <a:cubicBezTo>
                    <a:pt x="0" y="16"/>
                    <a:pt x="3" y="20"/>
                    <a:pt x="3" y="20"/>
                  </a:cubicBezTo>
                  <a:cubicBezTo>
                    <a:pt x="30" y="53"/>
                    <a:pt x="30" y="53"/>
                    <a:pt x="30" y="53"/>
                  </a:cubicBezTo>
                  <a:cubicBezTo>
                    <a:pt x="30" y="53"/>
                    <a:pt x="32" y="56"/>
                    <a:pt x="36" y="55"/>
                  </a:cubicBezTo>
                </a:path>
              </a:pathLst>
            </a:custGeom>
            <a:solidFill>
              <a:srgbClr val="CCCCC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09" name="Freeform 215">
              <a:extLst>
                <a:ext uri="{FF2B5EF4-FFF2-40B4-BE49-F238E27FC236}">
                  <a16:creationId xmlns:a16="http://schemas.microsoft.com/office/drawing/2014/main" id="{78A69B3D-D474-4F9D-A4B8-76D67FBAFAED}"/>
                </a:ext>
              </a:extLst>
            </p:cNvPr>
            <p:cNvSpPr>
              <a:spLocks/>
            </p:cNvSpPr>
            <p:nvPr/>
          </p:nvSpPr>
          <p:spPr bwMode="auto">
            <a:xfrm>
              <a:off x="6773729" y="5161879"/>
              <a:ext cx="82707" cy="63621"/>
            </a:xfrm>
            <a:custGeom>
              <a:avLst/>
              <a:gdLst>
                <a:gd name="T0" fmla="*/ 5 w 42"/>
                <a:gd name="T1" fmla="*/ 1 h 33"/>
                <a:gd name="T2" fmla="*/ 2 w 42"/>
                <a:gd name="T3" fmla="*/ 5 h 33"/>
                <a:gd name="T4" fmla="*/ 0 w 42"/>
                <a:gd name="T5" fmla="*/ 25 h 33"/>
                <a:gd name="T6" fmla="*/ 1 w 42"/>
                <a:gd name="T7" fmla="*/ 30 h 33"/>
                <a:gd name="T8" fmla="*/ 7 w 42"/>
                <a:gd name="T9" fmla="*/ 31 h 33"/>
                <a:gd name="T10" fmla="*/ 39 w 42"/>
                <a:gd name="T11" fmla="*/ 24 h 33"/>
                <a:gd name="T12" fmla="*/ 42 w 42"/>
                <a:gd name="T13" fmla="*/ 19 h 33"/>
                <a:gd name="T14" fmla="*/ 38 w 42"/>
                <a:gd name="T15" fmla="*/ 14 h 33"/>
                <a:gd name="T16" fmla="*/ 11 w 42"/>
                <a:gd name="T17" fmla="*/ 2 h 33"/>
                <a:gd name="T18" fmla="*/ 5 w 42"/>
                <a:gd name="T19" fmla="*/ 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 h="33">
                  <a:moveTo>
                    <a:pt x="5" y="1"/>
                  </a:moveTo>
                  <a:cubicBezTo>
                    <a:pt x="4" y="2"/>
                    <a:pt x="2" y="3"/>
                    <a:pt x="2" y="5"/>
                  </a:cubicBezTo>
                  <a:cubicBezTo>
                    <a:pt x="0" y="25"/>
                    <a:pt x="0" y="25"/>
                    <a:pt x="0" y="25"/>
                  </a:cubicBezTo>
                  <a:cubicBezTo>
                    <a:pt x="0" y="25"/>
                    <a:pt x="0" y="29"/>
                    <a:pt x="1" y="30"/>
                  </a:cubicBezTo>
                  <a:cubicBezTo>
                    <a:pt x="3" y="33"/>
                    <a:pt x="7" y="31"/>
                    <a:pt x="7" y="31"/>
                  </a:cubicBezTo>
                  <a:cubicBezTo>
                    <a:pt x="39" y="24"/>
                    <a:pt x="39" y="24"/>
                    <a:pt x="39" y="24"/>
                  </a:cubicBezTo>
                  <a:cubicBezTo>
                    <a:pt x="40" y="24"/>
                    <a:pt x="42" y="24"/>
                    <a:pt x="42" y="19"/>
                  </a:cubicBezTo>
                  <a:cubicBezTo>
                    <a:pt x="42" y="16"/>
                    <a:pt x="38" y="14"/>
                    <a:pt x="38" y="14"/>
                  </a:cubicBezTo>
                  <a:cubicBezTo>
                    <a:pt x="11" y="2"/>
                    <a:pt x="11" y="2"/>
                    <a:pt x="11" y="2"/>
                  </a:cubicBezTo>
                  <a:cubicBezTo>
                    <a:pt x="11" y="2"/>
                    <a:pt x="7" y="0"/>
                    <a:pt x="5" y="1"/>
                  </a:cubicBezTo>
                </a:path>
              </a:pathLst>
            </a:custGeom>
            <a:solidFill>
              <a:srgbClr val="CCCCC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10" name="Freeform 216">
              <a:extLst>
                <a:ext uri="{FF2B5EF4-FFF2-40B4-BE49-F238E27FC236}">
                  <a16:creationId xmlns:a16="http://schemas.microsoft.com/office/drawing/2014/main" id="{BF29C43F-6C6F-4FDB-8803-4A86BD101E0F}"/>
                </a:ext>
              </a:extLst>
            </p:cNvPr>
            <p:cNvSpPr>
              <a:spLocks/>
            </p:cNvSpPr>
            <p:nvPr/>
          </p:nvSpPr>
          <p:spPr bwMode="auto">
            <a:xfrm>
              <a:off x="6813493" y="5217548"/>
              <a:ext cx="63621" cy="77936"/>
            </a:xfrm>
            <a:custGeom>
              <a:avLst/>
              <a:gdLst>
                <a:gd name="T0" fmla="*/ 4 w 33"/>
                <a:gd name="T1" fmla="*/ 34 h 40"/>
                <a:gd name="T2" fmla="*/ 26 w 33"/>
                <a:gd name="T3" fmla="*/ 40 h 40"/>
                <a:gd name="T4" fmla="*/ 30 w 33"/>
                <a:gd name="T5" fmla="*/ 40 h 40"/>
                <a:gd name="T6" fmla="*/ 32 w 33"/>
                <a:gd name="T7" fmla="*/ 35 h 40"/>
                <a:gd name="T8" fmla="*/ 33 w 33"/>
                <a:gd name="T9" fmla="*/ 5 h 40"/>
                <a:gd name="T10" fmla="*/ 30 w 33"/>
                <a:gd name="T11" fmla="*/ 1 h 40"/>
                <a:gd name="T12" fmla="*/ 24 w 33"/>
                <a:gd name="T13" fmla="*/ 3 h 40"/>
                <a:gd name="T14" fmla="*/ 3 w 33"/>
                <a:gd name="T15" fmla="*/ 25 h 40"/>
                <a:gd name="T16" fmla="*/ 1 w 33"/>
                <a:gd name="T17" fmla="*/ 30 h 40"/>
                <a:gd name="T18" fmla="*/ 4 w 33"/>
                <a:gd name="T19" fmla="*/ 3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40">
                  <a:moveTo>
                    <a:pt x="4" y="34"/>
                  </a:moveTo>
                  <a:cubicBezTo>
                    <a:pt x="26" y="40"/>
                    <a:pt x="26" y="40"/>
                    <a:pt x="26" y="40"/>
                  </a:cubicBezTo>
                  <a:cubicBezTo>
                    <a:pt x="26" y="40"/>
                    <a:pt x="28" y="40"/>
                    <a:pt x="30" y="40"/>
                  </a:cubicBezTo>
                  <a:cubicBezTo>
                    <a:pt x="33" y="39"/>
                    <a:pt x="32" y="35"/>
                    <a:pt x="32" y="35"/>
                  </a:cubicBezTo>
                  <a:cubicBezTo>
                    <a:pt x="33" y="5"/>
                    <a:pt x="33" y="5"/>
                    <a:pt x="33" y="5"/>
                  </a:cubicBezTo>
                  <a:cubicBezTo>
                    <a:pt x="33" y="5"/>
                    <a:pt x="33" y="3"/>
                    <a:pt x="30" y="1"/>
                  </a:cubicBezTo>
                  <a:cubicBezTo>
                    <a:pt x="28" y="0"/>
                    <a:pt x="24" y="3"/>
                    <a:pt x="24" y="3"/>
                  </a:cubicBezTo>
                  <a:cubicBezTo>
                    <a:pt x="3" y="25"/>
                    <a:pt x="3" y="25"/>
                    <a:pt x="3" y="25"/>
                  </a:cubicBezTo>
                  <a:cubicBezTo>
                    <a:pt x="3" y="25"/>
                    <a:pt x="0" y="28"/>
                    <a:pt x="1" y="30"/>
                  </a:cubicBezTo>
                  <a:cubicBezTo>
                    <a:pt x="2" y="32"/>
                    <a:pt x="3" y="33"/>
                    <a:pt x="4" y="34"/>
                  </a:cubicBezTo>
                </a:path>
              </a:pathLst>
            </a:custGeom>
            <a:solidFill>
              <a:srgbClr val="CCCCC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11" name="Freeform 217">
              <a:extLst>
                <a:ext uri="{FF2B5EF4-FFF2-40B4-BE49-F238E27FC236}">
                  <a16:creationId xmlns:a16="http://schemas.microsoft.com/office/drawing/2014/main" id="{611734E3-712E-40C0-9CDC-65543EBF89B6}"/>
                </a:ext>
              </a:extLst>
            </p:cNvPr>
            <p:cNvSpPr>
              <a:spLocks noEditPoints="1"/>
            </p:cNvSpPr>
            <p:nvPr/>
          </p:nvSpPr>
          <p:spPr bwMode="auto">
            <a:xfrm>
              <a:off x="7263610" y="3961036"/>
              <a:ext cx="116109" cy="117699"/>
            </a:xfrm>
            <a:custGeom>
              <a:avLst/>
              <a:gdLst>
                <a:gd name="T0" fmla="*/ 56 w 60"/>
                <a:gd name="T1" fmla="*/ 20 h 60"/>
                <a:gd name="T2" fmla="*/ 56 w 60"/>
                <a:gd name="T3" fmla="*/ 20 h 60"/>
                <a:gd name="T4" fmla="*/ 56 w 60"/>
                <a:gd name="T5" fmla="*/ 5 h 60"/>
                <a:gd name="T6" fmla="*/ 55 w 60"/>
                <a:gd name="T7" fmla="*/ 4 h 60"/>
                <a:gd name="T8" fmla="*/ 36 w 60"/>
                <a:gd name="T9" fmla="*/ 4 h 60"/>
                <a:gd name="T10" fmla="*/ 36 w 60"/>
                <a:gd name="T11" fmla="*/ 4 h 60"/>
                <a:gd name="T12" fmla="*/ 31 w 60"/>
                <a:gd name="T13" fmla="*/ 0 h 60"/>
                <a:gd name="T14" fmla="*/ 29 w 60"/>
                <a:gd name="T15" fmla="*/ 0 h 60"/>
                <a:gd name="T16" fmla="*/ 24 w 60"/>
                <a:gd name="T17" fmla="*/ 4 h 60"/>
                <a:gd name="T18" fmla="*/ 24 w 60"/>
                <a:gd name="T19" fmla="*/ 4 h 60"/>
                <a:gd name="T20" fmla="*/ 5 w 60"/>
                <a:gd name="T21" fmla="*/ 4 h 60"/>
                <a:gd name="T22" fmla="*/ 4 w 60"/>
                <a:gd name="T23" fmla="*/ 5 h 60"/>
                <a:gd name="T24" fmla="*/ 4 w 60"/>
                <a:gd name="T25" fmla="*/ 20 h 60"/>
                <a:gd name="T26" fmla="*/ 4 w 60"/>
                <a:gd name="T27" fmla="*/ 20 h 60"/>
                <a:gd name="T28" fmla="*/ 1 w 60"/>
                <a:gd name="T29" fmla="*/ 22 h 60"/>
                <a:gd name="T30" fmla="*/ 0 w 60"/>
                <a:gd name="T31" fmla="*/ 24 h 60"/>
                <a:gd name="T32" fmla="*/ 0 w 60"/>
                <a:gd name="T33" fmla="*/ 58 h 60"/>
                <a:gd name="T34" fmla="*/ 1 w 60"/>
                <a:gd name="T35" fmla="*/ 60 h 60"/>
                <a:gd name="T36" fmla="*/ 59 w 60"/>
                <a:gd name="T37" fmla="*/ 60 h 60"/>
                <a:gd name="T38" fmla="*/ 60 w 60"/>
                <a:gd name="T39" fmla="*/ 58 h 60"/>
                <a:gd name="T40" fmla="*/ 60 w 60"/>
                <a:gd name="T41" fmla="*/ 24 h 60"/>
                <a:gd name="T42" fmla="*/ 59 w 60"/>
                <a:gd name="T43" fmla="*/ 22 h 60"/>
                <a:gd name="T44" fmla="*/ 56 w 60"/>
                <a:gd name="T45" fmla="*/ 20 h 60"/>
                <a:gd name="T46" fmla="*/ 52 w 60"/>
                <a:gd name="T47" fmla="*/ 29 h 60"/>
                <a:gd name="T48" fmla="*/ 51 w 60"/>
                <a:gd name="T49" fmla="*/ 31 h 60"/>
                <a:gd name="T50" fmla="*/ 31 w 60"/>
                <a:gd name="T51" fmla="*/ 42 h 60"/>
                <a:gd name="T52" fmla="*/ 29 w 60"/>
                <a:gd name="T53" fmla="*/ 42 h 60"/>
                <a:gd name="T54" fmla="*/ 9 w 60"/>
                <a:gd name="T55" fmla="*/ 31 h 60"/>
                <a:gd name="T56" fmla="*/ 8 w 60"/>
                <a:gd name="T57" fmla="*/ 29 h 60"/>
                <a:gd name="T58" fmla="*/ 8 w 60"/>
                <a:gd name="T59" fmla="*/ 8 h 60"/>
                <a:gd name="T60" fmla="*/ 9 w 60"/>
                <a:gd name="T61" fmla="*/ 7 h 60"/>
                <a:gd name="T62" fmla="*/ 51 w 60"/>
                <a:gd name="T63" fmla="*/ 7 h 60"/>
                <a:gd name="T64" fmla="*/ 52 w 60"/>
                <a:gd name="T65" fmla="*/ 8 h 60"/>
                <a:gd name="T66" fmla="*/ 52 w 60"/>
                <a:gd name="T67" fmla="*/ 29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0" h="60">
                  <a:moveTo>
                    <a:pt x="56" y="20"/>
                  </a:moveTo>
                  <a:cubicBezTo>
                    <a:pt x="56" y="20"/>
                    <a:pt x="56" y="20"/>
                    <a:pt x="56" y="20"/>
                  </a:cubicBezTo>
                  <a:cubicBezTo>
                    <a:pt x="56" y="5"/>
                    <a:pt x="56" y="5"/>
                    <a:pt x="56" y="5"/>
                  </a:cubicBezTo>
                  <a:cubicBezTo>
                    <a:pt x="56" y="4"/>
                    <a:pt x="55" y="4"/>
                    <a:pt x="55" y="4"/>
                  </a:cubicBezTo>
                  <a:cubicBezTo>
                    <a:pt x="36" y="4"/>
                    <a:pt x="36" y="4"/>
                    <a:pt x="36" y="4"/>
                  </a:cubicBezTo>
                  <a:cubicBezTo>
                    <a:pt x="36" y="4"/>
                    <a:pt x="36" y="4"/>
                    <a:pt x="36" y="4"/>
                  </a:cubicBezTo>
                  <a:cubicBezTo>
                    <a:pt x="31" y="0"/>
                    <a:pt x="31" y="0"/>
                    <a:pt x="31" y="0"/>
                  </a:cubicBezTo>
                  <a:cubicBezTo>
                    <a:pt x="31" y="0"/>
                    <a:pt x="30" y="0"/>
                    <a:pt x="29" y="0"/>
                  </a:cubicBezTo>
                  <a:cubicBezTo>
                    <a:pt x="24" y="4"/>
                    <a:pt x="24" y="4"/>
                    <a:pt x="24" y="4"/>
                  </a:cubicBezTo>
                  <a:cubicBezTo>
                    <a:pt x="24" y="4"/>
                    <a:pt x="24" y="4"/>
                    <a:pt x="24" y="4"/>
                  </a:cubicBezTo>
                  <a:cubicBezTo>
                    <a:pt x="5" y="4"/>
                    <a:pt x="5" y="4"/>
                    <a:pt x="5" y="4"/>
                  </a:cubicBezTo>
                  <a:cubicBezTo>
                    <a:pt x="5" y="4"/>
                    <a:pt x="4" y="4"/>
                    <a:pt x="4" y="5"/>
                  </a:cubicBezTo>
                  <a:cubicBezTo>
                    <a:pt x="4" y="20"/>
                    <a:pt x="4" y="20"/>
                    <a:pt x="4" y="20"/>
                  </a:cubicBezTo>
                  <a:cubicBezTo>
                    <a:pt x="4" y="20"/>
                    <a:pt x="4" y="20"/>
                    <a:pt x="4" y="20"/>
                  </a:cubicBezTo>
                  <a:cubicBezTo>
                    <a:pt x="1" y="22"/>
                    <a:pt x="1" y="22"/>
                    <a:pt x="1" y="22"/>
                  </a:cubicBezTo>
                  <a:cubicBezTo>
                    <a:pt x="1" y="23"/>
                    <a:pt x="0" y="24"/>
                    <a:pt x="0" y="24"/>
                  </a:cubicBezTo>
                  <a:cubicBezTo>
                    <a:pt x="0" y="58"/>
                    <a:pt x="0" y="58"/>
                    <a:pt x="0" y="58"/>
                  </a:cubicBezTo>
                  <a:cubicBezTo>
                    <a:pt x="0" y="59"/>
                    <a:pt x="1" y="60"/>
                    <a:pt x="1" y="60"/>
                  </a:cubicBezTo>
                  <a:cubicBezTo>
                    <a:pt x="59" y="60"/>
                    <a:pt x="59" y="60"/>
                    <a:pt x="59" y="60"/>
                  </a:cubicBezTo>
                  <a:cubicBezTo>
                    <a:pt x="59" y="60"/>
                    <a:pt x="60" y="59"/>
                    <a:pt x="60" y="58"/>
                  </a:cubicBezTo>
                  <a:cubicBezTo>
                    <a:pt x="60" y="24"/>
                    <a:pt x="60" y="24"/>
                    <a:pt x="60" y="24"/>
                  </a:cubicBezTo>
                  <a:cubicBezTo>
                    <a:pt x="60" y="24"/>
                    <a:pt x="60" y="23"/>
                    <a:pt x="59" y="22"/>
                  </a:cubicBezTo>
                  <a:lnTo>
                    <a:pt x="56" y="20"/>
                  </a:lnTo>
                  <a:close/>
                  <a:moveTo>
                    <a:pt x="52" y="29"/>
                  </a:moveTo>
                  <a:cubicBezTo>
                    <a:pt x="52" y="30"/>
                    <a:pt x="51" y="30"/>
                    <a:pt x="51" y="31"/>
                  </a:cubicBezTo>
                  <a:cubicBezTo>
                    <a:pt x="31" y="42"/>
                    <a:pt x="31" y="42"/>
                    <a:pt x="31" y="42"/>
                  </a:cubicBezTo>
                  <a:cubicBezTo>
                    <a:pt x="30" y="42"/>
                    <a:pt x="30" y="42"/>
                    <a:pt x="29" y="42"/>
                  </a:cubicBezTo>
                  <a:cubicBezTo>
                    <a:pt x="9" y="31"/>
                    <a:pt x="9" y="31"/>
                    <a:pt x="9" y="31"/>
                  </a:cubicBezTo>
                  <a:cubicBezTo>
                    <a:pt x="9" y="30"/>
                    <a:pt x="8" y="30"/>
                    <a:pt x="8" y="29"/>
                  </a:cubicBezTo>
                  <a:cubicBezTo>
                    <a:pt x="8" y="8"/>
                    <a:pt x="8" y="8"/>
                    <a:pt x="8" y="8"/>
                  </a:cubicBezTo>
                  <a:cubicBezTo>
                    <a:pt x="8" y="8"/>
                    <a:pt x="9" y="7"/>
                    <a:pt x="9" y="7"/>
                  </a:cubicBezTo>
                  <a:cubicBezTo>
                    <a:pt x="51" y="7"/>
                    <a:pt x="51" y="7"/>
                    <a:pt x="51" y="7"/>
                  </a:cubicBezTo>
                  <a:cubicBezTo>
                    <a:pt x="51" y="7"/>
                    <a:pt x="52" y="8"/>
                    <a:pt x="52" y="8"/>
                  </a:cubicBezTo>
                  <a:lnTo>
                    <a:pt x="52" y="29"/>
                  </a:lnTo>
                  <a:close/>
                </a:path>
              </a:pathLst>
            </a:custGeom>
            <a:solidFill>
              <a:srgbClr val="CCCCC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12" name="Rectangle 218">
              <a:extLst>
                <a:ext uri="{FF2B5EF4-FFF2-40B4-BE49-F238E27FC236}">
                  <a16:creationId xmlns:a16="http://schemas.microsoft.com/office/drawing/2014/main" id="{D1C43760-0F5F-43BE-8991-98B96405FC54}"/>
                </a:ext>
              </a:extLst>
            </p:cNvPr>
            <p:cNvSpPr>
              <a:spLocks noChangeArrowheads="1"/>
            </p:cNvSpPr>
            <p:nvPr/>
          </p:nvSpPr>
          <p:spPr bwMode="auto">
            <a:xfrm>
              <a:off x="7289058" y="3988073"/>
              <a:ext cx="22267" cy="23858"/>
            </a:xfrm>
            <a:prstGeom prst="rect">
              <a:avLst/>
            </a:prstGeom>
            <a:solidFill>
              <a:srgbClr val="CCCCCC"/>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13" name="Rectangle 219">
              <a:extLst>
                <a:ext uri="{FF2B5EF4-FFF2-40B4-BE49-F238E27FC236}">
                  <a16:creationId xmlns:a16="http://schemas.microsoft.com/office/drawing/2014/main" id="{1C4FE555-55A3-450B-B44B-390737EA5F92}"/>
                </a:ext>
              </a:extLst>
            </p:cNvPr>
            <p:cNvSpPr>
              <a:spLocks noChangeArrowheads="1"/>
            </p:cNvSpPr>
            <p:nvPr/>
          </p:nvSpPr>
          <p:spPr bwMode="auto">
            <a:xfrm>
              <a:off x="7317688" y="3988073"/>
              <a:ext cx="41354" cy="4772"/>
            </a:xfrm>
            <a:prstGeom prst="rect">
              <a:avLst/>
            </a:prstGeom>
            <a:solidFill>
              <a:srgbClr val="CCCCCC"/>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14" name="Rectangle 220">
              <a:extLst>
                <a:ext uri="{FF2B5EF4-FFF2-40B4-BE49-F238E27FC236}">
                  <a16:creationId xmlns:a16="http://schemas.microsoft.com/office/drawing/2014/main" id="{EEF7BDB2-CCF6-44DA-A7DC-71C6734B5EFA}"/>
                </a:ext>
              </a:extLst>
            </p:cNvPr>
            <p:cNvSpPr>
              <a:spLocks noChangeArrowheads="1"/>
            </p:cNvSpPr>
            <p:nvPr/>
          </p:nvSpPr>
          <p:spPr bwMode="auto">
            <a:xfrm>
              <a:off x="7317688" y="4005570"/>
              <a:ext cx="17496" cy="6362"/>
            </a:xfrm>
            <a:prstGeom prst="rect">
              <a:avLst/>
            </a:prstGeom>
            <a:solidFill>
              <a:srgbClr val="CCCCCC"/>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15" name="Freeform 221">
              <a:extLst>
                <a:ext uri="{FF2B5EF4-FFF2-40B4-BE49-F238E27FC236}">
                  <a16:creationId xmlns:a16="http://schemas.microsoft.com/office/drawing/2014/main" id="{971F6AE2-F6D9-4AA6-A874-9760B8690D84}"/>
                </a:ext>
              </a:extLst>
            </p:cNvPr>
            <p:cNvSpPr>
              <a:spLocks noEditPoints="1"/>
            </p:cNvSpPr>
            <p:nvPr/>
          </p:nvSpPr>
          <p:spPr bwMode="auto">
            <a:xfrm>
              <a:off x="6928011" y="2696570"/>
              <a:ext cx="165415" cy="165415"/>
            </a:xfrm>
            <a:custGeom>
              <a:avLst/>
              <a:gdLst>
                <a:gd name="T0" fmla="*/ 79 w 85"/>
                <a:gd name="T1" fmla="*/ 29 h 85"/>
                <a:gd name="T2" fmla="*/ 79 w 85"/>
                <a:gd name="T3" fmla="*/ 29 h 85"/>
                <a:gd name="T4" fmla="*/ 79 w 85"/>
                <a:gd name="T5" fmla="*/ 8 h 85"/>
                <a:gd name="T6" fmla="*/ 78 w 85"/>
                <a:gd name="T7" fmla="*/ 6 h 85"/>
                <a:gd name="T8" fmla="*/ 51 w 85"/>
                <a:gd name="T9" fmla="*/ 6 h 85"/>
                <a:gd name="T10" fmla="*/ 51 w 85"/>
                <a:gd name="T11" fmla="*/ 6 h 85"/>
                <a:gd name="T12" fmla="*/ 44 w 85"/>
                <a:gd name="T13" fmla="*/ 1 h 85"/>
                <a:gd name="T14" fmla="*/ 41 w 85"/>
                <a:gd name="T15" fmla="*/ 1 h 85"/>
                <a:gd name="T16" fmla="*/ 34 w 85"/>
                <a:gd name="T17" fmla="*/ 6 h 85"/>
                <a:gd name="T18" fmla="*/ 34 w 85"/>
                <a:gd name="T19" fmla="*/ 6 h 85"/>
                <a:gd name="T20" fmla="*/ 7 w 85"/>
                <a:gd name="T21" fmla="*/ 6 h 85"/>
                <a:gd name="T22" fmla="*/ 6 w 85"/>
                <a:gd name="T23" fmla="*/ 8 h 85"/>
                <a:gd name="T24" fmla="*/ 6 w 85"/>
                <a:gd name="T25" fmla="*/ 29 h 85"/>
                <a:gd name="T26" fmla="*/ 5 w 85"/>
                <a:gd name="T27" fmla="*/ 29 h 85"/>
                <a:gd name="T28" fmla="*/ 1 w 85"/>
                <a:gd name="T29" fmla="*/ 32 h 85"/>
                <a:gd name="T30" fmla="*/ 0 w 85"/>
                <a:gd name="T31" fmla="*/ 35 h 85"/>
                <a:gd name="T32" fmla="*/ 0 w 85"/>
                <a:gd name="T33" fmla="*/ 84 h 85"/>
                <a:gd name="T34" fmla="*/ 2 w 85"/>
                <a:gd name="T35" fmla="*/ 85 h 85"/>
                <a:gd name="T36" fmla="*/ 83 w 85"/>
                <a:gd name="T37" fmla="*/ 85 h 85"/>
                <a:gd name="T38" fmla="*/ 85 w 85"/>
                <a:gd name="T39" fmla="*/ 84 h 85"/>
                <a:gd name="T40" fmla="*/ 85 w 85"/>
                <a:gd name="T41" fmla="*/ 35 h 85"/>
                <a:gd name="T42" fmla="*/ 84 w 85"/>
                <a:gd name="T43" fmla="*/ 32 h 85"/>
                <a:gd name="T44" fmla="*/ 79 w 85"/>
                <a:gd name="T45" fmla="*/ 29 h 85"/>
                <a:gd name="T46" fmla="*/ 73 w 85"/>
                <a:gd name="T47" fmla="*/ 42 h 85"/>
                <a:gd name="T48" fmla="*/ 72 w 85"/>
                <a:gd name="T49" fmla="*/ 44 h 85"/>
                <a:gd name="T50" fmla="*/ 43 w 85"/>
                <a:gd name="T51" fmla="*/ 60 h 85"/>
                <a:gd name="T52" fmla="*/ 41 w 85"/>
                <a:gd name="T53" fmla="*/ 60 h 85"/>
                <a:gd name="T54" fmla="*/ 13 w 85"/>
                <a:gd name="T55" fmla="*/ 44 h 85"/>
                <a:gd name="T56" fmla="*/ 12 w 85"/>
                <a:gd name="T57" fmla="*/ 42 h 85"/>
                <a:gd name="T58" fmla="*/ 12 w 85"/>
                <a:gd name="T59" fmla="*/ 12 h 85"/>
                <a:gd name="T60" fmla="*/ 13 w 85"/>
                <a:gd name="T61" fmla="*/ 11 h 85"/>
                <a:gd name="T62" fmla="*/ 72 w 85"/>
                <a:gd name="T63" fmla="*/ 11 h 85"/>
                <a:gd name="T64" fmla="*/ 73 w 85"/>
                <a:gd name="T65" fmla="*/ 12 h 85"/>
                <a:gd name="T66" fmla="*/ 73 w 85"/>
                <a:gd name="T67" fmla="*/ 42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5" h="85">
                  <a:moveTo>
                    <a:pt x="79" y="29"/>
                  </a:moveTo>
                  <a:cubicBezTo>
                    <a:pt x="79" y="29"/>
                    <a:pt x="79" y="29"/>
                    <a:pt x="79" y="29"/>
                  </a:cubicBezTo>
                  <a:cubicBezTo>
                    <a:pt x="79" y="8"/>
                    <a:pt x="79" y="8"/>
                    <a:pt x="79" y="8"/>
                  </a:cubicBezTo>
                  <a:cubicBezTo>
                    <a:pt x="79" y="7"/>
                    <a:pt x="79" y="6"/>
                    <a:pt x="78" y="6"/>
                  </a:cubicBezTo>
                  <a:cubicBezTo>
                    <a:pt x="51" y="6"/>
                    <a:pt x="51" y="6"/>
                    <a:pt x="51" y="6"/>
                  </a:cubicBezTo>
                  <a:cubicBezTo>
                    <a:pt x="51" y="6"/>
                    <a:pt x="51" y="6"/>
                    <a:pt x="51" y="6"/>
                  </a:cubicBezTo>
                  <a:cubicBezTo>
                    <a:pt x="44" y="1"/>
                    <a:pt x="44" y="1"/>
                    <a:pt x="44" y="1"/>
                  </a:cubicBezTo>
                  <a:cubicBezTo>
                    <a:pt x="43" y="0"/>
                    <a:pt x="42" y="0"/>
                    <a:pt x="41" y="1"/>
                  </a:cubicBezTo>
                  <a:cubicBezTo>
                    <a:pt x="34" y="6"/>
                    <a:pt x="34" y="6"/>
                    <a:pt x="34" y="6"/>
                  </a:cubicBezTo>
                  <a:cubicBezTo>
                    <a:pt x="34" y="6"/>
                    <a:pt x="34" y="6"/>
                    <a:pt x="34" y="6"/>
                  </a:cubicBezTo>
                  <a:cubicBezTo>
                    <a:pt x="7" y="6"/>
                    <a:pt x="7" y="6"/>
                    <a:pt x="7" y="6"/>
                  </a:cubicBezTo>
                  <a:cubicBezTo>
                    <a:pt x="6" y="6"/>
                    <a:pt x="6" y="7"/>
                    <a:pt x="6" y="8"/>
                  </a:cubicBezTo>
                  <a:cubicBezTo>
                    <a:pt x="6" y="29"/>
                    <a:pt x="6" y="29"/>
                    <a:pt x="6" y="29"/>
                  </a:cubicBezTo>
                  <a:cubicBezTo>
                    <a:pt x="6" y="29"/>
                    <a:pt x="6" y="29"/>
                    <a:pt x="5" y="29"/>
                  </a:cubicBezTo>
                  <a:cubicBezTo>
                    <a:pt x="1" y="32"/>
                    <a:pt x="1" y="32"/>
                    <a:pt x="1" y="32"/>
                  </a:cubicBezTo>
                  <a:cubicBezTo>
                    <a:pt x="1" y="33"/>
                    <a:pt x="0" y="34"/>
                    <a:pt x="0" y="35"/>
                  </a:cubicBezTo>
                  <a:cubicBezTo>
                    <a:pt x="0" y="84"/>
                    <a:pt x="0" y="84"/>
                    <a:pt x="0" y="84"/>
                  </a:cubicBezTo>
                  <a:cubicBezTo>
                    <a:pt x="0" y="85"/>
                    <a:pt x="1" y="85"/>
                    <a:pt x="2" y="85"/>
                  </a:cubicBezTo>
                  <a:cubicBezTo>
                    <a:pt x="83" y="85"/>
                    <a:pt x="83" y="85"/>
                    <a:pt x="83" y="85"/>
                  </a:cubicBezTo>
                  <a:cubicBezTo>
                    <a:pt x="84" y="85"/>
                    <a:pt x="85" y="85"/>
                    <a:pt x="85" y="84"/>
                  </a:cubicBezTo>
                  <a:cubicBezTo>
                    <a:pt x="85" y="35"/>
                    <a:pt x="85" y="35"/>
                    <a:pt x="85" y="35"/>
                  </a:cubicBezTo>
                  <a:cubicBezTo>
                    <a:pt x="85" y="34"/>
                    <a:pt x="84" y="33"/>
                    <a:pt x="84" y="32"/>
                  </a:cubicBezTo>
                  <a:lnTo>
                    <a:pt x="79" y="29"/>
                  </a:lnTo>
                  <a:close/>
                  <a:moveTo>
                    <a:pt x="73" y="42"/>
                  </a:moveTo>
                  <a:cubicBezTo>
                    <a:pt x="73" y="43"/>
                    <a:pt x="73" y="44"/>
                    <a:pt x="72" y="44"/>
                  </a:cubicBezTo>
                  <a:cubicBezTo>
                    <a:pt x="43" y="60"/>
                    <a:pt x="43" y="60"/>
                    <a:pt x="43" y="60"/>
                  </a:cubicBezTo>
                  <a:cubicBezTo>
                    <a:pt x="43" y="60"/>
                    <a:pt x="42" y="60"/>
                    <a:pt x="41" y="60"/>
                  </a:cubicBezTo>
                  <a:cubicBezTo>
                    <a:pt x="13" y="44"/>
                    <a:pt x="13" y="44"/>
                    <a:pt x="13" y="44"/>
                  </a:cubicBezTo>
                  <a:cubicBezTo>
                    <a:pt x="12" y="44"/>
                    <a:pt x="12" y="43"/>
                    <a:pt x="12" y="42"/>
                  </a:cubicBezTo>
                  <a:cubicBezTo>
                    <a:pt x="12" y="12"/>
                    <a:pt x="12" y="12"/>
                    <a:pt x="12" y="12"/>
                  </a:cubicBezTo>
                  <a:cubicBezTo>
                    <a:pt x="12" y="12"/>
                    <a:pt x="12" y="11"/>
                    <a:pt x="13" y="11"/>
                  </a:cubicBezTo>
                  <a:cubicBezTo>
                    <a:pt x="72" y="11"/>
                    <a:pt x="72" y="11"/>
                    <a:pt x="72" y="11"/>
                  </a:cubicBezTo>
                  <a:cubicBezTo>
                    <a:pt x="73" y="11"/>
                    <a:pt x="73" y="12"/>
                    <a:pt x="73" y="12"/>
                  </a:cubicBezTo>
                  <a:lnTo>
                    <a:pt x="73" y="42"/>
                  </a:lnTo>
                  <a:close/>
                </a:path>
              </a:pathLst>
            </a:custGeom>
            <a:solidFill>
              <a:srgbClr val="CCCCC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16" name="Rectangle 222">
              <a:extLst>
                <a:ext uri="{FF2B5EF4-FFF2-40B4-BE49-F238E27FC236}">
                  <a16:creationId xmlns:a16="http://schemas.microsoft.com/office/drawing/2014/main" id="{9C152648-413C-4C73-8AF0-1C1880376A79}"/>
                </a:ext>
              </a:extLst>
            </p:cNvPr>
            <p:cNvSpPr>
              <a:spLocks noChangeArrowheads="1"/>
            </p:cNvSpPr>
            <p:nvPr/>
          </p:nvSpPr>
          <p:spPr bwMode="auto">
            <a:xfrm>
              <a:off x="6963002" y="2737923"/>
              <a:ext cx="33401" cy="33401"/>
            </a:xfrm>
            <a:prstGeom prst="rect">
              <a:avLst/>
            </a:prstGeom>
            <a:solidFill>
              <a:srgbClr val="CCCCCC"/>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17" name="Rectangle 223">
              <a:extLst>
                <a:ext uri="{FF2B5EF4-FFF2-40B4-BE49-F238E27FC236}">
                  <a16:creationId xmlns:a16="http://schemas.microsoft.com/office/drawing/2014/main" id="{0937E7B7-82B7-40C6-8FD7-CFB6E288C58D}"/>
                </a:ext>
              </a:extLst>
            </p:cNvPr>
            <p:cNvSpPr>
              <a:spLocks noChangeArrowheads="1"/>
            </p:cNvSpPr>
            <p:nvPr/>
          </p:nvSpPr>
          <p:spPr bwMode="auto">
            <a:xfrm>
              <a:off x="7005945" y="2737923"/>
              <a:ext cx="55668" cy="6362"/>
            </a:xfrm>
            <a:prstGeom prst="rect">
              <a:avLst/>
            </a:prstGeom>
            <a:solidFill>
              <a:srgbClr val="CCCCCC"/>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18" name="Rectangle 224">
              <a:extLst>
                <a:ext uri="{FF2B5EF4-FFF2-40B4-BE49-F238E27FC236}">
                  <a16:creationId xmlns:a16="http://schemas.microsoft.com/office/drawing/2014/main" id="{A2BD3FEB-1EA1-4151-B3FB-7DA14F7BEE74}"/>
                </a:ext>
              </a:extLst>
            </p:cNvPr>
            <p:cNvSpPr>
              <a:spLocks noChangeArrowheads="1"/>
            </p:cNvSpPr>
            <p:nvPr/>
          </p:nvSpPr>
          <p:spPr bwMode="auto">
            <a:xfrm>
              <a:off x="7005945" y="2763372"/>
              <a:ext cx="23858" cy="4772"/>
            </a:xfrm>
            <a:prstGeom prst="rect">
              <a:avLst/>
            </a:prstGeom>
            <a:solidFill>
              <a:srgbClr val="CCCCCC"/>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19" name="Freeform 225">
              <a:extLst>
                <a:ext uri="{FF2B5EF4-FFF2-40B4-BE49-F238E27FC236}">
                  <a16:creationId xmlns:a16="http://schemas.microsoft.com/office/drawing/2014/main" id="{3D9F2485-FBE4-462D-B29D-300EB035FA63}"/>
                </a:ext>
              </a:extLst>
            </p:cNvPr>
            <p:cNvSpPr>
              <a:spLocks noEditPoints="1"/>
            </p:cNvSpPr>
            <p:nvPr/>
          </p:nvSpPr>
          <p:spPr bwMode="auto">
            <a:xfrm>
              <a:off x="5235695" y="5311388"/>
              <a:ext cx="233807" cy="233807"/>
            </a:xfrm>
            <a:custGeom>
              <a:avLst/>
              <a:gdLst>
                <a:gd name="T0" fmla="*/ 60 w 120"/>
                <a:gd name="T1" fmla="*/ 120 h 120"/>
                <a:gd name="T2" fmla="*/ 56 w 120"/>
                <a:gd name="T3" fmla="*/ 120 h 120"/>
                <a:gd name="T4" fmla="*/ 81 w 120"/>
                <a:gd name="T5" fmla="*/ 76 h 120"/>
                <a:gd name="T6" fmla="*/ 87 w 120"/>
                <a:gd name="T7" fmla="*/ 60 h 120"/>
                <a:gd name="T8" fmla="*/ 73 w 120"/>
                <a:gd name="T9" fmla="*/ 36 h 120"/>
                <a:gd name="T10" fmla="*/ 116 w 120"/>
                <a:gd name="T11" fmla="*/ 36 h 120"/>
                <a:gd name="T12" fmla="*/ 120 w 120"/>
                <a:gd name="T13" fmla="*/ 60 h 120"/>
                <a:gd name="T14" fmla="*/ 60 w 120"/>
                <a:gd name="T15" fmla="*/ 120 h 120"/>
                <a:gd name="T16" fmla="*/ 60 w 120"/>
                <a:gd name="T17" fmla="*/ 33 h 120"/>
                <a:gd name="T18" fmla="*/ 33 w 120"/>
                <a:gd name="T19" fmla="*/ 59 h 120"/>
                <a:gd name="T20" fmla="*/ 13 w 120"/>
                <a:gd name="T21" fmla="*/ 23 h 120"/>
                <a:gd name="T22" fmla="*/ 60 w 120"/>
                <a:gd name="T23" fmla="*/ 0 h 120"/>
                <a:gd name="T24" fmla="*/ 114 w 120"/>
                <a:gd name="T25" fmla="*/ 33 h 120"/>
                <a:gd name="T26" fmla="*/ 60 w 120"/>
                <a:gd name="T27" fmla="*/ 33 h 120"/>
                <a:gd name="T28" fmla="*/ 60 w 120"/>
                <a:gd name="T29" fmla="*/ 82 h 120"/>
                <a:gd name="T30" fmla="*/ 38 w 120"/>
                <a:gd name="T31" fmla="*/ 60 h 120"/>
                <a:gd name="T32" fmla="*/ 60 w 120"/>
                <a:gd name="T33" fmla="*/ 37 h 120"/>
                <a:gd name="T34" fmla="*/ 83 w 120"/>
                <a:gd name="T35" fmla="*/ 60 h 120"/>
                <a:gd name="T36" fmla="*/ 60 w 120"/>
                <a:gd name="T37" fmla="*/ 82 h 120"/>
                <a:gd name="T38" fmla="*/ 60 w 120"/>
                <a:gd name="T39" fmla="*/ 86 h 120"/>
                <a:gd name="T40" fmla="*/ 73 w 120"/>
                <a:gd name="T41" fmla="*/ 83 h 120"/>
                <a:gd name="T42" fmla="*/ 52 w 120"/>
                <a:gd name="T43" fmla="*/ 119 h 120"/>
                <a:gd name="T44" fmla="*/ 0 w 120"/>
                <a:gd name="T45" fmla="*/ 60 h 120"/>
                <a:gd name="T46" fmla="*/ 10 w 120"/>
                <a:gd name="T47" fmla="*/ 27 h 120"/>
                <a:gd name="T48" fmla="*/ 35 w 120"/>
                <a:gd name="T49" fmla="*/ 70 h 120"/>
                <a:gd name="T50" fmla="*/ 60 w 120"/>
                <a:gd name="T51" fmla="*/ 86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0" h="120">
                  <a:moveTo>
                    <a:pt x="60" y="120"/>
                  </a:moveTo>
                  <a:cubicBezTo>
                    <a:pt x="59" y="120"/>
                    <a:pt x="58" y="120"/>
                    <a:pt x="56" y="120"/>
                  </a:cubicBezTo>
                  <a:cubicBezTo>
                    <a:pt x="81" y="76"/>
                    <a:pt x="81" y="76"/>
                    <a:pt x="81" y="76"/>
                  </a:cubicBezTo>
                  <a:cubicBezTo>
                    <a:pt x="85" y="72"/>
                    <a:pt x="87" y="66"/>
                    <a:pt x="87" y="60"/>
                  </a:cubicBezTo>
                  <a:cubicBezTo>
                    <a:pt x="87" y="50"/>
                    <a:pt x="81" y="41"/>
                    <a:pt x="73" y="36"/>
                  </a:cubicBezTo>
                  <a:cubicBezTo>
                    <a:pt x="116" y="36"/>
                    <a:pt x="116" y="36"/>
                    <a:pt x="116" y="36"/>
                  </a:cubicBezTo>
                  <a:cubicBezTo>
                    <a:pt x="119" y="44"/>
                    <a:pt x="120" y="51"/>
                    <a:pt x="120" y="60"/>
                  </a:cubicBezTo>
                  <a:cubicBezTo>
                    <a:pt x="120" y="93"/>
                    <a:pt x="93" y="120"/>
                    <a:pt x="60" y="120"/>
                  </a:cubicBezTo>
                  <a:moveTo>
                    <a:pt x="60" y="33"/>
                  </a:moveTo>
                  <a:cubicBezTo>
                    <a:pt x="45" y="33"/>
                    <a:pt x="33" y="45"/>
                    <a:pt x="33" y="59"/>
                  </a:cubicBezTo>
                  <a:cubicBezTo>
                    <a:pt x="13" y="23"/>
                    <a:pt x="13" y="23"/>
                    <a:pt x="13" y="23"/>
                  </a:cubicBezTo>
                  <a:cubicBezTo>
                    <a:pt x="23" y="9"/>
                    <a:pt x="41" y="0"/>
                    <a:pt x="60" y="0"/>
                  </a:cubicBezTo>
                  <a:cubicBezTo>
                    <a:pt x="84" y="0"/>
                    <a:pt x="104" y="13"/>
                    <a:pt x="114" y="33"/>
                  </a:cubicBezTo>
                  <a:cubicBezTo>
                    <a:pt x="60" y="33"/>
                    <a:pt x="60" y="33"/>
                    <a:pt x="60" y="33"/>
                  </a:cubicBezTo>
                  <a:close/>
                  <a:moveTo>
                    <a:pt x="60" y="82"/>
                  </a:moveTo>
                  <a:cubicBezTo>
                    <a:pt x="48" y="82"/>
                    <a:pt x="38" y="72"/>
                    <a:pt x="38" y="60"/>
                  </a:cubicBezTo>
                  <a:cubicBezTo>
                    <a:pt x="38" y="47"/>
                    <a:pt x="48" y="37"/>
                    <a:pt x="60" y="37"/>
                  </a:cubicBezTo>
                  <a:cubicBezTo>
                    <a:pt x="73" y="37"/>
                    <a:pt x="83" y="47"/>
                    <a:pt x="83" y="60"/>
                  </a:cubicBezTo>
                  <a:cubicBezTo>
                    <a:pt x="83" y="72"/>
                    <a:pt x="73" y="82"/>
                    <a:pt x="60" y="82"/>
                  </a:cubicBezTo>
                  <a:moveTo>
                    <a:pt x="60" y="86"/>
                  </a:moveTo>
                  <a:cubicBezTo>
                    <a:pt x="65" y="86"/>
                    <a:pt x="69" y="85"/>
                    <a:pt x="73" y="83"/>
                  </a:cubicBezTo>
                  <a:cubicBezTo>
                    <a:pt x="52" y="119"/>
                    <a:pt x="52" y="119"/>
                    <a:pt x="52" y="119"/>
                  </a:cubicBezTo>
                  <a:cubicBezTo>
                    <a:pt x="23" y="115"/>
                    <a:pt x="0" y="90"/>
                    <a:pt x="0" y="60"/>
                  </a:cubicBezTo>
                  <a:cubicBezTo>
                    <a:pt x="0" y="47"/>
                    <a:pt x="4" y="36"/>
                    <a:pt x="10" y="27"/>
                  </a:cubicBezTo>
                  <a:cubicBezTo>
                    <a:pt x="35" y="70"/>
                    <a:pt x="35" y="70"/>
                    <a:pt x="35" y="70"/>
                  </a:cubicBezTo>
                  <a:cubicBezTo>
                    <a:pt x="39" y="80"/>
                    <a:pt x="49" y="86"/>
                    <a:pt x="60" y="86"/>
                  </a:cubicBezTo>
                </a:path>
              </a:pathLst>
            </a:custGeom>
            <a:solidFill>
              <a:srgbClr val="CCCCC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20" name="Rectangle 226">
              <a:extLst>
                <a:ext uri="{FF2B5EF4-FFF2-40B4-BE49-F238E27FC236}">
                  <a16:creationId xmlns:a16="http://schemas.microsoft.com/office/drawing/2014/main" id="{E7185996-2B46-4E95-A59F-2C7AF7E6ED5A}"/>
                </a:ext>
              </a:extLst>
            </p:cNvPr>
            <p:cNvSpPr>
              <a:spLocks noChangeArrowheads="1"/>
            </p:cNvSpPr>
            <p:nvPr/>
          </p:nvSpPr>
          <p:spPr bwMode="auto">
            <a:xfrm>
              <a:off x="5294544" y="4775382"/>
              <a:ext cx="31810" cy="31810"/>
            </a:xfrm>
            <a:prstGeom prst="rect">
              <a:avLst/>
            </a:prstGeom>
            <a:solidFill>
              <a:srgbClr val="CCCCCC"/>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21" name="Freeform 227">
              <a:extLst>
                <a:ext uri="{FF2B5EF4-FFF2-40B4-BE49-F238E27FC236}">
                  <a16:creationId xmlns:a16="http://schemas.microsoft.com/office/drawing/2014/main" id="{23506061-3100-429E-BAE9-DF4E42AF60DB}"/>
                </a:ext>
              </a:extLst>
            </p:cNvPr>
            <p:cNvSpPr>
              <a:spLocks/>
            </p:cNvSpPr>
            <p:nvPr/>
          </p:nvSpPr>
          <p:spPr bwMode="auto">
            <a:xfrm>
              <a:off x="5294544" y="4775382"/>
              <a:ext cx="31810" cy="31810"/>
            </a:xfrm>
            <a:custGeom>
              <a:avLst/>
              <a:gdLst>
                <a:gd name="T0" fmla="*/ 7 w 20"/>
                <a:gd name="T1" fmla="*/ 12 h 20"/>
                <a:gd name="T2" fmla="*/ 13 w 20"/>
                <a:gd name="T3" fmla="*/ 12 h 20"/>
                <a:gd name="T4" fmla="*/ 13 w 20"/>
                <a:gd name="T5" fmla="*/ 20 h 20"/>
                <a:gd name="T6" fmla="*/ 20 w 20"/>
                <a:gd name="T7" fmla="*/ 20 h 20"/>
                <a:gd name="T8" fmla="*/ 20 w 20"/>
                <a:gd name="T9" fmla="*/ 0 h 20"/>
                <a:gd name="T10" fmla="*/ 13 w 20"/>
                <a:gd name="T11" fmla="*/ 0 h 20"/>
                <a:gd name="T12" fmla="*/ 13 w 20"/>
                <a:gd name="T13" fmla="*/ 6 h 20"/>
                <a:gd name="T14" fmla="*/ 7 w 20"/>
                <a:gd name="T15" fmla="*/ 6 h 20"/>
                <a:gd name="T16" fmla="*/ 7 w 20"/>
                <a:gd name="T17" fmla="*/ 0 h 20"/>
                <a:gd name="T18" fmla="*/ 0 w 20"/>
                <a:gd name="T19" fmla="*/ 0 h 20"/>
                <a:gd name="T20" fmla="*/ 0 w 20"/>
                <a:gd name="T21" fmla="*/ 20 h 20"/>
                <a:gd name="T22" fmla="*/ 7 w 20"/>
                <a:gd name="T23" fmla="*/ 20 h 20"/>
                <a:gd name="T24" fmla="*/ 7 w 20"/>
                <a:gd name="T25" fmla="*/ 1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20">
                  <a:moveTo>
                    <a:pt x="7" y="12"/>
                  </a:moveTo>
                  <a:lnTo>
                    <a:pt x="13" y="12"/>
                  </a:lnTo>
                  <a:lnTo>
                    <a:pt x="13" y="20"/>
                  </a:lnTo>
                  <a:lnTo>
                    <a:pt x="20" y="20"/>
                  </a:lnTo>
                  <a:lnTo>
                    <a:pt x="20" y="0"/>
                  </a:lnTo>
                  <a:lnTo>
                    <a:pt x="13" y="0"/>
                  </a:lnTo>
                  <a:lnTo>
                    <a:pt x="13" y="6"/>
                  </a:lnTo>
                  <a:lnTo>
                    <a:pt x="7" y="6"/>
                  </a:lnTo>
                  <a:lnTo>
                    <a:pt x="7" y="0"/>
                  </a:lnTo>
                  <a:lnTo>
                    <a:pt x="0" y="0"/>
                  </a:lnTo>
                  <a:lnTo>
                    <a:pt x="0" y="20"/>
                  </a:lnTo>
                  <a:lnTo>
                    <a:pt x="7" y="20"/>
                  </a:lnTo>
                  <a:lnTo>
                    <a:pt x="7" y="12"/>
                  </a:lnTo>
                  <a:close/>
                </a:path>
              </a:pathLst>
            </a:custGeom>
            <a:solidFill>
              <a:srgbClr val="CCCCC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22" name="Rectangle 228">
              <a:extLst>
                <a:ext uri="{FF2B5EF4-FFF2-40B4-BE49-F238E27FC236}">
                  <a16:creationId xmlns:a16="http://schemas.microsoft.com/office/drawing/2014/main" id="{6CFE0B1B-D34E-4B85-A305-CFB4F929BA57}"/>
                </a:ext>
              </a:extLst>
            </p:cNvPr>
            <p:cNvSpPr>
              <a:spLocks noChangeArrowheads="1"/>
            </p:cNvSpPr>
            <p:nvPr/>
          </p:nvSpPr>
          <p:spPr bwMode="auto">
            <a:xfrm>
              <a:off x="5331126" y="4775382"/>
              <a:ext cx="31810" cy="31810"/>
            </a:xfrm>
            <a:prstGeom prst="rect">
              <a:avLst/>
            </a:prstGeom>
            <a:solidFill>
              <a:srgbClr val="CCCCCC"/>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23" name="Freeform 229">
              <a:extLst>
                <a:ext uri="{FF2B5EF4-FFF2-40B4-BE49-F238E27FC236}">
                  <a16:creationId xmlns:a16="http://schemas.microsoft.com/office/drawing/2014/main" id="{3370D209-A85D-4581-A56D-D507D9A917A3}"/>
                </a:ext>
              </a:extLst>
            </p:cNvPr>
            <p:cNvSpPr>
              <a:spLocks/>
            </p:cNvSpPr>
            <p:nvPr/>
          </p:nvSpPr>
          <p:spPr bwMode="auto">
            <a:xfrm>
              <a:off x="5331126" y="4775382"/>
              <a:ext cx="31810" cy="31810"/>
            </a:xfrm>
            <a:custGeom>
              <a:avLst/>
              <a:gdLst>
                <a:gd name="T0" fmla="*/ 6 w 20"/>
                <a:gd name="T1" fmla="*/ 20 h 20"/>
                <a:gd name="T2" fmla="*/ 13 w 20"/>
                <a:gd name="T3" fmla="*/ 20 h 20"/>
                <a:gd name="T4" fmla="*/ 13 w 20"/>
                <a:gd name="T5" fmla="*/ 6 h 20"/>
                <a:gd name="T6" fmla="*/ 20 w 20"/>
                <a:gd name="T7" fmla="*/ 6 h 20"/>
                <a:gd name="T8" fmla="*/ 20 w 20"/>
                <a:gd name="T9" fmla="*/ 0 h 20"/>
                <a:gd name="T10" fmla="*/ 0 w 20"/>
                <a:gd name="T11" fmla="*/ 0 h 20"/>
                <a:gd name="T12" fmla="*/ 0 w 20"/>
                <a:gd name="T13" fmla="*/ 6 h 20"/>
                <a:gd name="T14" fmla="*/ 6 w 20"/>
                <a:gd name="T15" fmla="*/ 6 h 20"/>
                <a:gd name="T16" fmla="*/ 6 w 20"/>
                <a:gd name="T17"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20">
                  <a:moveTo>
                    <a:pt x="6" y="20"/>
                  </a:moveTo>
                  <a:lnTo>
                    <a:pt x="13" y="20"/>
                  </a:lnTo>
                  <a:lnTo>
                    <a:pt x="13" y="6"/>
                  </a:lnTo>
                  <a:lnTo>
                    <a:pt x="20" y="6"/>
                  </a:lnTo>
                  <a:lnTo>
                    <a:pt x="20" y="0"/>
                  </a:lnTo>
                  <a:lnTo>
                    <a:pt x="0" y="0"/>
                  </a:lnTo>
                  <a:lnTo>
                    <a:pt x="0" y="6"/>
                  </a:lnTo>
                  <a:lnTo>
                    <a:pt x="6" y="6"/>
                  </a:lnTo>
                  <a:lnTo>
                    <a:pt x="6" y="20"/>
                  </a:lnTo>
                  <a:close/>
                </a:path>
              </a:pathLst>
            </a:custGeom>
            <a:solidFill>
              <a:srgbClr val="CCCCC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24" name="Rectangle 230">
              <a:extLst>
                <a:ext uri="{FF2B5EF4-FFF2-40B4-BE49-F238E27FC236}">
                  <a16:creationId xmlns:a16="http://schemas.microsoft.com/office/drawing/2014/main" id="{A36CAE6C-2BF5-40BA-A7A2-01318A56B05F}"/>
                </a:ext>
              </a:extLst>
            </p:cNvPr>
            <p:cNvSpPr>
              <a:spLocks noChangeArrowheads="1"/>
            </p:cNvSpPr>
            <p:nvPr/>
          </p:nvSpPr>
          <p:spPr bwMode="auto">
            <a:xfrm>
              <a:off x="5366118" y="4775382"/>
              <a:ext cx="36582" cy="31810"/>
            </a:xfrm>
            <a:prstGeom prst="rect">
              <a:avLst/>
            </a:prstGeom>
            <a:solidFill>
              <a:srgbClr val="CCCCCC"/>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25" name="Freeform 231">
              <a:extLst>
                <a:ext uri="{FF2B5EF4-FFF2-40B4-BE49-F238E27FC236}">
                  <a16:creationId xmlns:a16="http://schemas.microsoft.com/office/drawing/2014/main" id="{4BDD3AB6-FCDB-402A-9A61-D53F21F12A61}"/>
                </a:ext>
              </a:extLst>
            </p:cNvPr>
            <p:cNvSpPr>
              <a:spLocks/>
            </p:cNvSpPr>
            <p:nvPr/>
          </p:nvSpPr>
          <p:spPr bwMode="auto">
            <a:xfrm>
              <a:off x="5366118" y="4775382"/>
              <a:ext cx="36582" cy="31810"/>
            </a:xfrm>
            <a:custGeom>
              <a:avLst/>
              <a:gdLst>
                <a:gd name="T0" fmla="*/ 7 w 23"/>
                <a:gd name="T1" fmla="*/ 10 h 20"/>
                <a:gd name="T2" fmla="*/ 11 w 23"/>
                <a:gd name="T3" fmla="*/ 16 h 20"/>
                <a:gd name="T4" fmla="*/ 12 w 23"/>
                <a:gd name="T5" fmla="*/ 16 h 20"/>
                <a:gd name="T6" fmla="*/ 16 w 23"/>
                <a:gd name="T7" fmla="*/ 10 h 20"/>
                <a:gd name="T8" fmla="*/ 16 w 23"/>
                <a:gd name="T9" fmla="*/ 20 h 20"/>
                <a:gd name="T10" fmla="*/ 23 w 23"/>
                <a:gd name="T11" fmla="*/ 20 h 20"/>
                <a:gd name="T12" fmla="*/ 23 w 23"/>
                <a:gd name="T13" fmla="*/ 0 h 20"/>
                <a:gd name="T14" fmla="*/ 16 w 23"/>
                <a:gd name="T15" fmla="*/ 0 h 20"/>
                <a:gd name="T16" fmla="*/ 12 w 23"/>
                <a:gd name="T17" fmla="*/ 6 h 20"/>
                <a:gd name="T18" fmla="*/ 7 w 23"/>
                <a:gd name="T19" fmla="*/ 0 h 20"/>
                <a:gd name="T20" fmla="*/ 0 w 23"/>
                <a:gd name="T21" fmla="*/ 0 h 20"/>
                <a:gd name="T22" fmla="*/ 0 w 23"/>
                <a:gd name="T23" fmla="*/ 20 h 20"/>
                <a:gd name="T24" fmla="*/ 7 w 23"/>
                <a:gd name="T25" fmla="*/ 20 h 20"/>
                <a:gd name="T26" fmla="*/ 7 w 23"/>
                <a:gd name="T27" fmla="*/ 1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 h="20">
                  <a:moveTo>
                    <a:pt x="7" y="10"/>
                  </a:moveTo>
                  <a:lnTo>
                    <a:pt x="11" y="16"/>
                  </a:lnTo>
                  <a:lnTo>
                    <a:pt x="12" y="16"/>
                  </a:lnTo>
                  <a:lnTo>
                    <a:pt x="16" y="10"/>
                  </a:lnTo>
                  <a:lnTo>
                    <a:pt x="16" y="20"/>
                  </a:lnTo>
                  <a:lnTo>
                    <a:pt x="23" y="20"/>
                  </a:lnTo>
                  <a:lnTo>
                    <a:pt x="23" y="0"/>
                  </a:lnTo>
                  <a:lnTo>
                    <a:pt x="16" y="0"/>
                  </a:lnTo>
                  <a:lnTo>
                    <a:pt x="12" y="6"/>
                  </a:lnTo>
                  <a:lnTo>
                    <a:pt x="7" y="0"/>
                  </a:lnTo>
                  <a:lnTo>
                    <a:pt x="0" y="0"/>
                  </a:lnTo>
                  <a:lnTo>
                    <a:pt x="0" y="20"/>
                  </a:lnTo>
                  <a:lnTo>
                    <a:pt x="7" y="20"/>
                  </a:lnTo>
                  <a:lnTo>
                    <a:pt x="7" y="10"/>
                  </a:lnTo>
                  <a:close/>
                </a:path>
              </a:pathLst>
            </a:custGeom>
            <a:solidFill>
              <a:srgbClr val="CCCCC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26" name="Rectangle 232">
              <a:extLst>
                <a:ext uri="{FF2B5EF4-FFF2-40B4-BE49-F238E27FC236}">
                  <a16:creationId xmlns:a16="http://schemas.microsoft.com/office/drawing/2014/main" id="{E3A8828A-257E-4FFA-BDCE-07A3028365BB}"/>
                </a:ext>
              </a:extLst>
            </p:cNvPr>
            <p:cNvSpPr>
              <a:spLocks noChangeArrowheads="1"/>
            </p:cNvSpPr>
            <p:nvPr/>
          </p:nvSpPr>
          <p:spPr bwMode="auto">
            <a:xfrm>
              <a:off x="5409061" y="4775382"/>
              <a:ext cx="25448" cy="31810"/>
            </a:xfrm>
            <a:prstGeom prst="rect">
              <a:avLst/>
            </a:prstGeom>
            <a:solidFill>
              <a:srgbClr val="CCCCCC"/>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27" name="Freeform 233">
              <a:extLst>
                <a:ext uri="{FF2B5EF4-FFF2-40B4-BE49-F238E27FC236}">
                  <a16:creationId xmlns:a16="http://schemas.microsoft.com/office/drawing/2014/main" id="{C74F18BD-B781-4999-A57D-30E9B13FB33E}"/>
                </a:ext>
              </a:extLst>
            </p:cNvPr>
            <p:cNvSpPr>
              <a:spLocks/>
            </p:cNvSpPr>
            <p:nvPr/>
          </p:nvSpPr>
          <p:spPr bwMode="auto">
            <a:xfrm>
              <a:off x="5409061" y="4775382"/>
              <a:ext cx="25448" cy="31810"/>
            </a:xfrm>
            <a:custGeom>
              <a:avLst/>
              <a:gdLst>
                <a:gd name="T0" fmla="*/ 16 w 16"/>
                <a:gd name="T1" fmla="*/ 12 h 20"/>
                <a:gd name="T2" fmla="*/ 6 w 16"/>
                <a:gd name="T3" fmla="*/ 12 h 20"/>
                <a:gd name="T4" fmla="*/ 6 w 16"/>
                <a:gd name="T5" fmla="*/ 0 h 20"/>
                <a:gd name="T6" fmla="*/ 0 w 16"/>
                <a:gd name="T7" fmla="*/ 0 h 20"/>
                <a:gd name="T8" fmla="*/ 0 w 16"/>
                <a:gd name="T9" fmla="*/ 20 h 20"/>
                <a:gd name="T10" fmla="*/ 16 w 16"/>
                <a:gd name="T11" fmla="*/ 20 h 20"/>
                <a:gd name="T12" fmla="*/ 16 w 16"/>
                <a:gd name="T13" fmla="*/ 12 h 20"/>
              </a:gdLst>
              <a:ahLst/>
              <a:cxnLst>
                <a:cxn ang="0">
                  <a:pos x="T0" y="T1"/>
                </a:cxn>
                <a:cxn ang="0">
                  <a:pos x="T2" y="T3"/>
                </a:cxn>
                <a:cxn ang="0">
                  <a:pos x="T4" y="T5"/>
                </a:cxn>
                <a:cxn ang="0">
                  <a:pos x="T6" y="T7"/>
                </a:cxn>
                <a:cxn ang="0">
                  <a:pos x="T8" y="T9"/>
                </a:cxn>
                <a:cxn ang="0">
                  <a:pos x="T10" y="T11"/>
                </a:cxn>
                <a:cxn ang="0">
                  <a:pos x="T12" y="T13"/>
                </a:cxn>
              </a:cxnLst>
              <a:rect l="0" t="0" r="r" b="b"/>
              <a:pathLst>
                <a:path w="16" h="20">
                  <a:moveTo>
                    <a:pt x="16" y="12"/>
                  </a:moveTo>
                  <a:lnTo>
                    <a:pt x="6" y="12"/>
                  </a:lnTo>
                  <a:lnTo>
                    <a:pt x="6" y="0"/>
                  </a:lnTo>
                  <a:lnTo>
                    <a:pt x="0" y="0"/>
                  </a:lnTo>
                  <a:lnTo>
                    <a:pt x="0" y="20"/>
                  </a:lnTo>
                  <a:lnTo>
                    <a:pt x="16" y="20"/>
                  </a:lnTo>
                  <a:lnTo>
                    <a:pt x="16" y="12"/>
                  </a:lnTo>
                  <a:close/>
                </a:path>
              </a:pathLst>
            </a:custGeom>
            <a:solidFill>
              <a:srgbClr val="CCCCC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28" name="Freeform 234">
              <a:extLst>
                <a:ext uri="{FF2B5EF4-FFF2-40B4-BE49-F238E27FC236}">
                  <a16:creationId xmlns:a16="http://schemas.microsoft.com/office/drawing/2014/main" id="{2D42E166-45C6-4CC0-B4C2-354501244C28}"/>
                </a:ext>
              </a:extLst>
            </p:cNvPr>
            <p:cNvSpPr>
              <a:spLocks noEditPoints="1"/>
            </p:cNvSpPr>
            <p:nvPr/>
          </p:nvSpPr>
          <p:spPr bwMode="auto">
            <a:xfrm>
              <a:off x="5278638" y="4819917"/>
              <a:ext cx="171777" cy="189273"/>
            </a:xfrm>
            <a:custGeom>
              <a:avLst/>
              <a:gdLst>
                <a:gd name="T0" fmla="*/ 0 w 108"/>
                <a:gd name="T1" fmla="*/ 0 h 119"/>
                <a:gd name="T2" fmla="*/ 10 w 108"/>
                <a:gd name="T3" fmla="*/ 107 h 119"/>
                <a:gd name="T4" fmla="*/ 54 w 108"/>
                <a:gd name="T5" fmla="*/ 119 h 119"/>
                <a:gd name="T6" fmla="*/ 98 w 108"/>
                <a:gd name="T7" fmla="*/ 107 h 119"/>
                <a:gd name="T8" fmla="*/ 108 w 108"/>
                <a:gd name="T9" fmla="*/ 0 h 119"/>
                <a:gd name="T10" fmla="*/ 0 w 108"/>
                <a:gd name="T11" fmla="*/ 0 h 119"/>
                <a:gd name="T12" fmla="*/ 87 w 108"/>
                <a:gd name="T13" fmla="*/ 35 h 119"/>
                <a:gd name="T14" fmla="*/ 54 w 108"/>
                <a:gd name="T15" fmla="*/ 35 h 119"/>
                <a:gd name="T16" fmla="*/ 35 w 108"/>
                <a:gd name="T17" fmla="*/ 35 h 119"/>
                <a:gd name="T18" fmla="*/ 37 w 108"/>
                <a:gd name="T19" fmla="*/ 48 h 119"/>
                <a:gd name="T20" fmla="*/ 54 w 108"/>
                <a:gd name="T21" fmla="*/ 48 h 119"/>
                <a:gd name="T22" fmla="*/ 86 w 108"/>
                <a:gd name="T23" fmla="*/ 48 h 119"/>
                <a:gd name="T24" fmla="*/ 82 w 108"/>
                <a:gd name="T25" fmla="*/ 88 h 119"/>
                <a:gd name="T26" fmla="*/ 54 w 108"/>
                <a:gd name="T27" fmla="*/ 96 h 119"/>
                <a:gd name="T28" fmla="*/ 54 w 108"/>
                <a:gd name="T29" fmla="*/ 96 h 119"/>
                <a:gd name="T30" fmla="*/ 27 w 108"/>
                <a:gd name="T31" fmla="*/ 88 h 119"/>
                <a:gd name="T32" fmla="*/ 24 w 108"/>
                <a:gd name="T33" fmla="*/ 68 h 119"/>
                <a:gd name="T34" fmla="*/ 38 w 108"/>
                <a:gd name="T35" fmla="*/ 68 h 119"/>
                <a:gd name="T36" fmla="*/ 39 w 108"/>
                <a:gd name="T37" fmla="*/ 79 h 119"/>
                <a:gd name="T38" fmla="*/ 54 w 108"/>
                <a:gd name="T39" fmla="*/ 82 h 119"/>
                <a:gd name="T40" fmla="*/ 54 w 108"/>
                <a:gd name="T41" fmla="*/ 82 h 119"/>
                <a:gd name="T42" fmla="*/ 70 w 108"/>
                <a:gd name="T43" fmla="*/ 79 h 119"/>
                <a:gd name="T44" fmla="*/ 71 w 108"/>
                <a:gd name="T45" fmla="*/ 62 h 119"/>
                <a:gd name="T46" fmla="*/ 54 w 108"/>
                <a:gd name="T47" fmla="*/ 62 h 119"/>
                <a:gd name="T48" fmla="*/ 24 w 108"/>
                <a:gd name="T49" fmla="*/ 62 h 119"/>
                <a:gd name="T50" fmla="*/ 21 w 108"/>
                <a:gd name="T51" fmla="*/ 22 h 119"/>
                <a:gd name="T52" fmla="*/ 54 w 108"/>
                <a:gd name="T53" fmla="*/ 22 h 119"/>
                <a:gd name="T54" fmla="*/ 88 w 108"/>
                <a:gd name="T55" fmla="*/ 22 h 119"/>
                <a:gd name="T56" fmla="*/ 87 w 108"/>
                <a:gd name="T57" fmla="*/ 35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19">
                  <a:moveTo>
                    <a:pt x="0" y="0"/>
                  </a:moveTo>
                  <a:lnTo>
                    <a:pt x="10" y="107"/>
                  </a:lnTo>
                  <a:lnTo>
                    <a:pt x="54" y="119"/>
                  </a:lnTo>
                  <a:lnTo>
                    <a:pt x="98" y="107"/>
                  </a:lnTo>
                  <a:lnTo>
                    <a:pt x="108" y="0"/>
                  </a:lnTo>
                  <a:lnTo>
                    <a:pt x="0" y="0"/>
                  </a:lnTo>
                  <a:close/>
                  <a:moveTo>
                    <a:pt x="87" y="35"/>
                  </a:moveTo>
                  <a:lnTo>
                    <a:pt x="54" y="35"/>
                  </a:lnTo>
                  <a:lnTo>
                    <a:pt x="35" y="35"/>
                  </a:lnTo>
                  <a:lnTo>
                    <a:pt x="37" y="48"/>
                  </a:lnTo>
                  <a:lnTo>
                    <a:pt x="54" y="48"/>
                  </a:lnTo>
                  <a:lnTo>
                    <a:pt x="86" y="48"/>
                  </a:lnTo>
                  <a:lnTo>
                    <a:pt x="82" y="88"/>
                  </a:lnTo>
                  <a:lnTo>
                    <a:pt x="54" y="96"/>
                  </a:lnTo>
                  <a:lnTo>
                    <a:pt x="54" y="96"/>
                  </a:lnTo>
                  <a:lnTo>
                    <a:pt x="27" y="88"/>
                  </a:lnTo>
                  <a:lnTo>
                    <a:pt x="24" y="68"/>
                  </a:lnTo>
                  <a:lnTo>
                    <a:pt x="38" y="68"/>
                  </a:lnTo>
                  <a:lnTo>
                    <a:pt x="39" y="79"/>
                  </a:lnTo>
                  <a:lnTo>
                    <a:pt x="54" y="82"/>
                  </a:lnTo>
                  <a:lnTo>
                    <a:pt x="54" y="82"/>
                  </a:lnTo>
                  <a:lnTo>
                    <a:pt x="70" y="79"/>
                  </a:lnTo>
                  <a:lnTo>
                    <a:pt x="71" y="62"/>
                  </a:lnTo>
                  <a:lnTo>
                    <a:pt x="54" y="62"/>
                  </a:lnTo>
                  <a:lnTo>
                    <a:pt x="24" y="62"/>
                  </a:lnTo>
                  <a:lnTo>
                    <a:pt x="21" y="22"/>
                  </a:lnTo>
                  <a:lnTo>
                    <a:pt x="54" y="22"/>
                  </a:lnTo>
                  <a:lnTo>
                    <a:pt x="88" y="22"/>
                  </a:lnTo>
                  <a:lnTo>
                    <a:pt x="87" y="35"/>
                  </a:lnTo>
                  <a:close/>
                </a:path>
              </a:pathLst>
            </a:custGeom>
            <a:solidFill>
              <a:srgbClr val="CCCCC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29" name="Rectangle 235">
              <a:extLst>
                <a:ext uri="{FF2B5EF4-FFF2-40B4-BE49-F238E27FC236}">
                  <a16:creationId xmlns:a16="http://schemas.microsoft.com/office/drawing/2014/main" id="{CFEE71B8-289A-4DDA-9E2B-4C973D92D982}"/>
                </a:ext>
              </a:extLst>
            </p:cNvPr>
            <p:cNvSpPr>
              <a:spLocks noChangeArrowheads="1"/>
            </p:cNvSpPr>
            <p:nvPr/>
          </p:nvSpPr>
          <p:spPr bwMode="auto">
            <a:xfrm>
              <a:off x="6291801" y="3840155"/>
              <a:ext cx="22267" cy="22267"/>
            </a:xfrm>
            <a:prstGeom prst="rect">
              <a:avLst/>
            </a:prstGeom>
            <a:solidFill>
              <a:srgbClr val="CCCCCC"/>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30" name="Freeform 236">
              <a:extLst>
                <a:ext uri="{FF2B5EF4-FFF2-40B4-BE49-F238E27FC236}">
                  <a16:creationId xmlns:a16="http://schemas.microsoft.com/office/drawing/2014/main" id="{734D3676-103F-4DF4-8341-D30EA57856EE}"/>
                </a:ext>
              </a:extLst>
            </p:cNvPr>
            <p:cNvSpPr>
              <a:spLocks/>
            </p:cNvSpPr>
            <p:nvPr/>
          </p:nvSpPr>
          <p:spPr bwMode="auto">
            <a:xfrm>
              <a:off x="6291801" y="3840155"/>
              <a:ext cx="22267" cy="22267"/>
            </a:xfrm>
            <a:custGeom>
              <a:avLst/>
              <a:gdLst>
                <a:gd name="T0" fmla="*/ 5 w 14"/>
                <a:gd name="T1" fmla="*/ 9 h 14"/>
                <a:gd name="T2" fmla="*/ 9 w 14"/>
                <a:gd name="T3" fmla="*/ 9 h 14"/>
                <a:gd name="T4" fmla="*/ 9 w 14"/>
                <a:gd name="T5" fmla="*/ 14 h 14"/>
                <a:gd name="T6" fmla="*/ 14 w 14"/>
                <a:gd name="T7" fmla="*/ 14 h 14"/>
                <a:gd name="T8" fmla="*/ 14 w 14"/>
                <a:gd name="T9" fmla="*/ 0 h 14"/>
                <a:gd name="T10" fmla="*/ 9 w 14"/>
                <a:gd name="T11" fmla="*/ 0 h 14"/>
                <a:gd name="T12" fmla="*/ 9 w 14"/>
                <a:gd name="T13" fmla="*/ 5 h 14"/>
                <a:gd name="T14" fmla="*/ 5 w 14"/>
                <a:gd name="T15" fmla="*/ 5 h 14"/>
                <a:gd name="T16" fmla="*/ 5 w 14"/>
                <a:gd name="T17" fmla="*/ 0 h 14"/>
                <a:gd name="T18" fmla="*/ 0 w 14"/>
                <a:gd name="T19" fmla="*/ 0 h 14"/>
                <a:gd name="T20" fmla="*/ 0 w 14"/>
                <a:gd name="T21" fmla="*/ 14 h 14"/>
                <a:gd name="T22" fmla="*/ 5 w 14"/>
                <a:gd name="T23" fmla="*/ 14 h 14"/>
                <a:gd name="T24" fmla="*/ 5 w 14"/>
                <a:gd name="T25" fmla="*/ 9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 h="14">
                  <a:moveTo>
                    <a:pt x="5" y="9"/>
                  </a:moveTo>
                  <a:lnTo>
                    <a:pt x="9" y="9"/>
                  </a:lnTo>
                  <a:lnTo>
                    <a:pt x="9" y="14"/>
                  </a:lnTo>
                  <a:lnTo>
                    <a:pt x="14" y="14"/>
                  </a:lnTo>
                  <a:lnTo>
                    <a:pt x="14" y="0"/>
                  </a:lnTo>
                  <a:lnTo>
                    <a:pt x="9" y="0"/>
                  </a:lnTo>
                  <a:lnTo>
                    <a:pt x="9" y="5"/>
                  </a:lnTo>
                  <a:lnTo>
                    <a:pt x="5" y="5"/>
                  </a:lnTo>
                  <a:lnTo>
                    <a:pt x="5" y="0"/>
                  </a:lnTo>
                  <a:lnTo>
                    <a:pt x="0" y="0"/>
                  </a:lnTo>
                  <a:lnTo>
                    <a:pt x="0" y="14"/>
                  </a:lnTo>
                  <a:lnTo>
                    <a:pt x="5" y="14"/>
                  </a:lnTo>
                  <a:lnTo>
                    <a:pt x="5" y="9"/>
                  </a:lnTo>
                  <a:close/>
                </a:path>
              </a:pathLst>
            </a:custGeom>
            <a:solidFill>
              <a:srgbClr val="CCCCC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31" name="Rectangle 237">
              <a:extLst>
                <a:ext uri="{FF2B5EF4-FFF2-40B4-BE49-F238E27FC236}">
                  <a16:creationId xmlns:a16="http://schemas.microsoft.com/office/drawing/2014/main" id="{20EACB02-63B3-4E36-BC8F-2EE5AACF11BE}"/>
                </a:ext>
              </a:extLst>
            </p:cNvPr>
            <p:cNvSpPr>
              <a:spLocks noChangeArrowheads="1"/>
            </p:cNvSpPr>
            <p:nvPr/>
          </p:nvSpPr>
          <p:spPr bwMode="auto">
            <a:xfrm>
              <a:off x="6317250" y="3840155"/>
              <a:ext cx="19086" cy="22267"/>
            </a:xfrm>
            <a:prstGeom prst="rect">
              <a:avLst/>
            </a:prstGeom>
            <a:solidFill>
              <a:srgbClr val="CCCCCC"/>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32" name="Freeform 238">
              <a:extLst>
                <a:ext uri="{FF2B5EF4-FFF2-40B4-BE49-F238E27FC236}">
                  <a16:creationId xmlns:a16="http://schemas.microsoft.com/office/drawing/2014/main" id="{BFFE9030-8F5F-4B59-8DB9-7EACA10747CD}"/>
                </a:ext>
              </a:extLst>
            </p:cNvPr>
            <p:cNvSpPr>
              <a:spLocks/>
            </p:cNvSpPr>
            <p:nvPr/>
          </p:nvSpPr>
          <p:spPr bwMode="auto">
            <a:xfrm>
              <a:off x="6317250" y="3840155"/>
              <a:ext cx="19086" cy="22267"/>
            </a:xfrm>
            <a:custGeom>
              <a:avLst/>
              <a:gdLst>
                <a:gd name="T0" fmla="*/ 4 w 12"/>
                <a:gd name="T1" fmla="*/ 14 h 14"/>
                <a:gd name="T2" fmla="*/ 9 w 12"/>
                <a:gd name="T3" fmla="*/ 14 h 14"/>
                <a:gd name="T4" fmla="*/ 9 w 12"/>
                <a:gd name="T5" fmla="*/ 5 h 14"/>
                <a:gd name="T6" fmla="*/ 12 w 12"/>
                <a:gd name="T7" fmla="*/ 5 h 14"/>
                <a:gd name="T8" fmla="*/ 12 w 12"/>
                <a:gd name="T9" fmla="*/ 0 h 14"/>
                <a:gd name="T10" fmla="*/ 0 w 12"/>
                <a:gd name="T11" fmla="*/ 0 h 14"/>
                <a:gd name="T12" fmla="*/ 0 w 12"/>
                <a:gd name="T13" fmla="*/ 5 h 14"/>
                <a:gd name="T14" fmla="*/ 4 w 12"/>
                <a:gd name="T15" fmla="*/ 5 h 14"/>
                <a:gd name="T16" fmla="*/ 4 w 12"/>
                <a:gd name="T17"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14">
                  <a:moveTo>
                    <a:pt x="4" y="14"/>
                  </a:moveTo>
                  <a:lnTo>
                    <a:pt x="9" y="14"/>
                  </a:lnTo>
                  <a:lnTo>
                    <a:pt x="9" y="5"/>
                  </a:lnTo>
                  <a:lnTo>
                    <a:pt x="12" y="5"/>
                  </a:lnTo>
                  <a:lnTo>
                    <a:pt x="12" y="0"/>
                  </a:lnTo>
                  <a:lnTo>
                    <a:pt x="0" y="0"/>
                  </a:lnTo>
                  <a:lnTo>
                    <a:pt x="0" y="5"/>
                  </a:lnTo>
                  <a:lnTo>
                    <a:pt x="4" y="5"/>
                  </a:lnTo>
                  <a:lnTo>
                    <a:pt x="4" y="14"/>
                  </a:lnTo>
                  <a:close/>
                </a:path>
              </a:pathLst>
            </a:custGeom>
            <a:solidFill>
              <a:srgbClr val="CCCCC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33" name="Rectangle 239">
              <a:extLst>
                <a:ext uri="{FF2B5EF4-FFF2-40B4-BE49-F238E27FC236}">
                  <a16:creationId xmlns:a16="http://schemas.microsoft.com/office/drawing/2014/main" id="{76C8B1BD-2B2D-44D2-9E35-F7DA3282D044}"/>
                </a:ext>
              </a:extLst>
            </p:cNvPr>
            <p:cNvSpPr>
              <a:spLocks noChangeArrowheads="1"/>
            </p:cNvSpPr>
            <p:nvPr/>
          </p:nvSpPr>
          <p:spPr bwMode="auto">
            <a:xfrm>
              <a:off x="6341107" y="3840155"/>
              <a:ext cx="25448" cy="22267"/>
            </a:xfrm>
            <a:prstGeom prst="rect">
              <a:avLst/>
            </a:prstGeom>
            <a:solidFill>
              <a:srgbClr val="CCCCCC"/>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34" name="Freeform 240">
              <a:extLst>
                <a:ext uri="{FF2B5EF4-FFF2-40B4-BE49-F238E27FC236}">
                  <a16:creationId xmlns:a16="http://schemas.microsoft.com/office/drawing/2014/main" id="{7EAE8D4E-9B62-4FB1-B113-209246B0B49B}"/>
                </a:ext>
              </a:extLst>
            </p:cNvPr>
            <p:cNvSpPr>
              <a:spLocks/>
            </p:cNvSpPr>
            <p:nvPr/>
          </p:nvSpPr>
          <p:spPr bwMode="auto">
            <a:xfrm>
              <a:off x="6341107" y="3840155"/>
              <a:ext cx="25448" cy="22267"/>
            </a:xfrm>
            <a:custGeom>
              <a:avLst/>
              <a:gdLst>
                <a:gd name="T0" fmla="*/ 5 w 16"/>
                <a:gd name="T1" fmla="*/ 7 h 14"/>
                <a:gd name="T2" fmla="*/ 7 w 16"/>
                <a:gd name="T3" fmla="*/ 12 h 14"/>
                <a:gd name="T4" fmla="*/ 7 w 16"/>
                <a:gd name="T5" fmla="*/ 12 h 14"/>
                <a:gd name="T6" fmla="*/ 11 w 16"/>
                <a:gd name="T7" fmla="*/ 7 h 14"/>
                <a:gd name="T8" fmla="*/ 11 w 16"/>
                <a:gd name="T9" fmla="*/ 14 h 14"/>
                <a:gd name="T10" fmla="*/ 16 w 16"/>
                <a:gd name="T11" fmla="*/ 14 h 14"/>
                <a:gd name="T12" fmla="*/ 16 w 16"/>
                <a:gd name="T13" fmla="*/ 0 h 14"/>
                <a:gd name="T14" fmla="*/ 11 w 16"/>
                <a:gd name="T15" fmla="*/ 0 h 14"/>
                <a:gd name="T16" fmla="*/ 7 w 16"/>
                <a:gd name="T17" fmla="*/ 5 h 14"/>
                <a:gd name="T18" fmla="*/ 5 w 16"/>
                <a:gd name="T19" fmla="*/ 0 h 14"/>
                <a:gd name="T20" fmla="*/ 0 w 16"/>
                <a:gd name="T21" fmla="*/ 0 h 14"/>
                <a:gd name="T22" fmla="*/ 0 w 16"/>
                <a:gd name="T23" fmla="*/ 14 h 14"/>
                <a:gd name="T24" fmla="*/ 5 w 16"/>
                <a:gd name="T25" fmla="*/ 14 h 14"/>
                <a:gd name="T26" fmla="*/ 5 w 16"/>
                <a:gd name="T27" fmla="*/ 7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14">
                  <a:moveTo>
                    <a:pt x="5" y="7"/>
                  </a:moveTo>
                  <a:lnTo>
                    <a:pt x="7" y="12"/>
                  </a:lnTo>
                  <a:lnTo>
                    <a:pt x="7" y="12"/>
                  </a:lnTo>
                  <a:lnTo>
                    <a:pt x="11" y="7"/>
                  </a:lnTo>
                  <a:lnTo>
                    <a:pt x="11" y="14"/>
                  </a:lnTo>
                  <a:lnTo>
                    <a:pt x="16" y="14"/>
                  </a:lnTo>
                  <a:lnTo>
                    <a:pt x="16" y="0"/>
                  </a:lnTo>
                  <a:lnTo>
                    <a:pt x="11" y="0"/>
                  </a:lnTo>
                  <a:lnTo>
                    <a:pt x="7" y="5"/>
                  </a:lnTo>
                  <a:lnTo>
                    <a:pt x="5" y="0"/>
                  </a:lnTo>
                  <a:lnTo>
                    <a:pt x="0" y="0"/>
                  </a:lnTo>
                  <a:lnTo>
                    <a:pt x="0" y="14"/>
                  </a:lnTo>
                  <a:lnTo>
                    <a:pt x="5" y="14"/>
                  </a:lnTo>
                  <a:lnTo>
                    <a:pt x="5" y="7"/>
                  </a:lnTo>
                  <a:close/>
                </a:path>
              </a:pathLst>
            </a:custGeom>
            <a:solidFill>
              <a:srgbClr val="CCCCC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35" name="Rectangle 241">
              <a:extLst>
                <a:ext uri="{FF2B5EF4-FFF2-40B4-BE49-F238E27FC236}">
                  <a16:creationId xmlns:a16="http://schemas.microsoft.com/office/drawing/2014/main" id="{06E7879A-8645-4E02-A24B-F78A10248859}"/>
                </a:ext>
              </a:extLst>
            </p:cNvPr>
            <p:cNvSpPr>
              <a:spLocks noChangeArrowheads="1"/>
            </p:cNvSpPr>
            <p:nvPr/>
          </p:nvSpPr>
          <p:spPr bwMode="auto">
            <a:xfrm>
              <a:off x="6369736" y="3840155"/>
              <a:ext cx="17496" cy="22267"/>
            </a:xfrm>
            <a:prstGeom prst="rect">
              <a:avLst/>
            </a:prstGeom>
            <a:solidFill>
              <a:srgbClr val="CCCCCC"/>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36" name="Freeform 242">
              <a:extLst>
                <a:ext uri="{FF2B5EF4-FFF2-40B4-BE49-F238E27FC236}">
                  <a16:creationId xmlns:a16="http://schemas.microsoft.com/office/drawing/2014/main" id="{D094BC5D-4C41-425D-B87E-9439961E64AD}"/>
                </a:ext>
              </a:extLst>
            </p:cNvPr>
            <p:cNvSpPr>
              <a:spLocks/>
            </p:cNvSpPr>
            <p:nvPr/>
          </p:nvSpPr>
          <p:spPr bwMode="auto">
            <a:xfrm>
              <a:off x="6369736" y="3840155"/>
              <a:ext cx="17496" cy="22267"/>
            </a:xfrm>
            <a:custGeom>
              <a:avLst/>
              <a:gdLst>
                <a:gd name="T0" fmla="*/ 11 w 11"/>
                <a:gd name="T1" fmla="*/ 9 h 14"/>
                <a:gd name="T2" fmla="*/ 5 w 11"/>
                <a:gd name="T3" fmla="*/ 9 h 14"/>
                <a:gd name="T4" fmla="*/ 5 w 11"/>
                <a:gd name="T5" fmla="*/ 0 h 14"/>
                <a:gd name="T6" fmla="*/ 0 w 11"/>
                <a:gd name="T7" fmla="*/ 0 h 14"/>
                <a:gd name="T8" fmla="*/ 0 w 11"/>
                <a:gd name="T9" fmla="*/ 14 h 14"/>
                <a:gd name="T10" fmla="*/ 11 w 11"/>
                <a:gd name="T11" fmla="*/ 14 h 14"/>
                <a:gd name="T12" fmla="*/ 11 w 11"/>
                <a:gd name="T13" fmla="*/ 9 h 14"/>
              </a:gdLst>
              <a:ahLst/>
              <a:cxnLst>
                <a:cxn ang="0">
                  <a:pos x="T0" y="T1"/>
                </a:cxn>
                <a:cxn ang="0">
                  <a:pos x="T2" y="T3"/>
                </a:cxn>
                <a:cxn ang="0">
                  <a:pos x="T4" y="T5"/>
                </a:cxn>
                <a:cxn ang="0">
                  <a:pos x="T6" y="T7"/>
                </a:cxn>
                <a:cxn ang="0">
                  <a:pos x="T8" y="T9"/>
                </a:cxn>
                <a:cxn ang="0">
                  <a:pos x="T10" y="T11"/>
                </a:cxn>
                <a:cxn ang="0">
                  <a:pos x="T12" y="T13"/>
                </a:cxn>
              </a:cxnLst>
              <a:rect l="0" t="0" r="r" b="b"/>
              <a:pathLst>
                <a:path w="11" h="14">
                  <a:moveTo>
                    <a:pt x="11" y="9"/>
                  </a:moveTo>
                  <a:lnTo>
                    <a:pt x="5" y="9"/>
                  </a:lnTo>
                  <a:lnTo>
                    <a:pt x="5" y="0"/>
                  </a:lnTo>
                  <a:lnTo>
                    <a:pt x="0" y="0"/>
                  </a:lnTo>
                  <a:lnTo>
                    <a:pt x="0" y="14"/>
                  </a:lnTo>
                  <a:lnTo>
                    <a:pt x="11" y="14"/>
                  </a:lnTo>
                  <a:lnTo>
                    <a:pt x="11" y="9"/>
                  </a:lnTo>
                  <a:close/>
                </a:path>
              </a:pathLst>
            </a:custGeom>
            <a:solidFill>
              <a:srgbClr val="CCCCC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37" name="Freeform 243">
              <a:extLst>
                <a:ext uri="{FF2B5EF4-FFF2-40B4-BE49-F238E27FC236}">
                  <a16:creationId xmlns:a16="http://schemas.microsoft.com/office/drawing/2014/main" id="{56247C16-A7B6-4261-9F8A-4FF078A31D11}"/>
                </a:ext>
              </a:extLst>
            </p:cNvPr>
            <p:cNvSpPr>
              <a:spLocks noEditPoints="1"/>
            </p:cNvSpPr>
            <p:nvPr/>
          </p:nvSpPr>
          <p:spPr bwMode="auto">
            <a:xfrm>
              <a:off x="6282258" y="3871966"/>
              <a:ext cx="117698" cy="128833"/>
            </a:xfrm>
            <a:custGeom>
              <a:avLst/>
              <a:gdLst>
                <a:gd name="T0" fmla="*/ 0 w 74"/>
                <a:gd name="T1" fmla="*/ 0 h 81"/>
                <a:gd name="T2" fmla="*/ 6 w 74"/>
                <a:gd name="T3" fmla="*/ 72 h 81"/>
                <a:gd name="T4" fmla="*/ 37 w 74"/>
                <a:gd name="T5" fmla="*/ 81 h 81"/>
                <a:gd name="T6" fmla="*/ 66 w 74"/>
                <a:gd name="T7" fmla="*/ 72 h 81"/>
                <a:gd name="T8" fmla="*/ 74 w 74"/>
                <a:gd name="T9" fmla="*/ 0 h 81"/>
                <a:gd name="T10" fmla="*/ 0 w 74"/>
                <a:gd name="T11" fmla="*/ 0 h 81"/>
                <a:gd name="T12" fmla="*/ 59 w 74"/>
                <a:gd name="T13" fmla="*/ 23 h 81"/>
                <a:gd name="T14" fmla="*/ 37 w 74"/>
                <a:gd name="T15" fmla="*/ 23 h 81"/>
                <a:gd name="T16" fmla="*/ 23 w 74"/>
                <a:gd name="T17" fmla="*/ 23 h 81"/>
                <a:gd name="T18" fmla="*/ 25 w 74"/>
                <a:gd name="T19" fmla="*/ 33 h 81"/>
                <a:gd name="T20" fmla="*/ 37 w 74"/>
                <a:gd name="T21" fmla="*/ 33 h 81"/>
                <a:gd name="T22" fmla="*/ 58 w 74"/>
                <a:gd name="T23" fmla="*/ 33 h 81"/>
                <a:gd name="T24" fmla="*/ 55 w 74"/>
                <a:gd name="T25" fmla="*/ 60 h 81"/>
                <a:gd name="T26" fmla="*/ 37 w 74"/>
                <a:gd name="T27" fmla="*/ 65 h 81"/>
                <a:gd name="T28" fmla="*/ 37 w 74"/>
                <a:gd name="T29" fmla="*/ 65 h 81"/>
                <a:gd name="T30" fmla="*/ 17 w 74"/>
                <a:gd name="T31" fmla="*/ 60 h 81"/>
                <a:gd name="T32" fmla="*/ 16 w 74"/>
                <a:gd name="T33" fmla="*/ 45 h 81"/>
                <a:gd name="T34" fmla="*/ 26 w 74"/>
                <a:gd name="T35" fmla="*/ 45 h 81"/>
                <a:gd name="T36" fmla="*/ 26 w 74"/>
                <a:gd name="T37" fmla="*/ 52 h 81"/>
                <a:gd name="T38" fmla="*/ 37 w 74"/>
                <a:gd name="T39" fmla="*/ 56 h 81"/>
                <a:gd name="T40" fmla="*/ 37 w 74"/>
                <a:gd name="T41" fmla="*/ 56 h 81"/>
                <a:gd name="T42" fmla="*/ 47 w 74"/>
                <a:gd name="T43" fmla="*/ 52 h 81"/>
                <a:gd name="T44" fmla="*/ 48 w 74"/>
                <a:gd name="T45" fmla="*/ 41 h 81"/>
                <a:gd name="T46" fmla="*/ 37 w 74"/>
                <a:gd name="T47" fmla="*/ 41 h 81"/>
                <a:gd name="T48" fmla="*/ 16 w 74"/>
                <a:gd name="T49" fmla="*/ 41 h 81"/>
                <a:gd name="T50" fmla="*/ 14 w 74"/>
                <a:gd name="T51" fmla="*/ 14 h 81"/>
                <a:gd name="T52" fmla="*/ 37 w 74"/>
                <a:gd name="T53" fmla="*/ 14 h 81"/>
                <a:gd name="T54" fmla="*/ 59 w 74"/>
                <a:gd name="T55" fmla="*/ 14 h 81"/>
                <a:gd name="T56" fmla="*/ 59 w 74"/>
                <a:gd name="T57" fmla="*/ 23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4" h="81">
                  <a:moveTo>
                    <a:pt x="0" y="0"/>
                  </a:moveTo>
                  <a:lnTo>
                    <a:pt x="6" y="72"/>
                  </a:lnTo>
                  <a:lnTo>
                    <a:pt x="37" y="81"/>
                  </a:lnTo>
                  <a:lnTo>
                    <a:pt x="66" y="72"/>
                  </a:lnTo>
                  <a:lnTo>
                    <a:pt x="74" y="0"/>
                  </a:lnTo>
                  <a:lnTo>
                    <a:pt x="0" y="0"/>
                  </a:lnTo>
                  <a:close/>
                  <a:moveTo>
                    <a:pt x="59" y="23"/>
                  </a:moveTo>
                  <a:lnTo>
                    <a:pt x="37" y="23"/>
                  </a:lnTo>
                  <a:lnTo>
                    <a:pt x="23" y="23"/>
                  </a:lnTo>
                  <a:lnTo>
                    <a:pt x="25" y="33"/>
                  </a:lnTo>
                  <a:lnTo>
                    <a:pt x="37" y="33"/>
                  </a:lnTo>
                  <a:lnTo>
                    <a:pt x="58" y="33"/>
                  </a:lnTo>
                  <a:lnTo>
                    <a:pt x="55" y="60"/>
                  </a:lnTo>
                  <a:lnTo>
                    <a:pt x="37" y="65"/>
                  </a:lnTo>
                  <a:lnTo>
                    <a:pt x="37" y="65"/>
                  </a:lnTo>
                  <a:lnTo>
                    <a:pt x="17" y="60"/>
                  </a:lnTo>
                  <a:lnTo>
                    <a:pt x="16" y="45"/>
                  </a:lnTo>
                  <a:lnTo>
                    <a:pt x="26" y="45"/>
                  </a:lnTo>
                  <a:lnTo>
                    <a:pt x="26" y="52"/>
                  </a:lnTo>
                  <a:lnTo>
                    <a:pt x="37" y="56"/>
                  </a:lnTo>
                  <a:lnTo>
                    <a:pt x="37" y="56"/>
                  </a:lnTo>
                  <a:lnTo>
                    <a:pt x="47" y="52"/>
                  </a:lnTo>
                  <a:lnTo>
                    <a:pt x="48" y="41"/>
                  </a:lnTo>
                  <a:lnTo>
                    <a:pt x="37" y="41"/>
                  </a:lnTo>
                  <a:lnTo>
                    <a:pt x="16" y="41"/>
                  </a:lnTo>
                  <a:lnTo>
                    <a:pt x="14" y="14"/>
                  </a:lnTo>
                  <a:lnTo>
                    <a:pt x="37" y="14"/>
                  </a:lnTo>
                  <a:lnTo>
                    <a:pt x="59" y="14"/>
                  </a:lnTo>
                  <a:lnTo>
                    <a:pt x="59" y="23"/>
                  </a:lnTo>
                  <a:close/>
                </a:path>
              </a:pathLst>
            </a:custGeom>
            <a:solidFill>
              <a:srgbClr val="CCCCC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38" name="Freeform 244">
              <a:extLst>
                <a:ext uri="{FF2B5EF4-FFF2-40B4-BE49-F238E27FC236}">
                  <a16:creationId xmlns:a16="http://schemas.microsoft.com/office/drawing/2014/main" id="{D50BBB58-EF5A-4AB0-91F0-70AFA99333D2}"/>
                </a:ext>
              </a:extLst>
            </p:cNvPr>
            <p:cNvSpPr>
              <a:spLocks/>
            </p:cNvSpPr>
            <p:nvPr/>
          </p:nvSpPr>
          <p:spPr bwMode="auto">
            <a:xfrm>
              <a:off x="3915561" y="4385704"/>
              <a:ext cx="139966" cy="233807"/>
            </a:xfrm>
            <a:custGeom>
              <a:avLst/>
              <a:gdLst>
                <a:gd name="T0" fmla="*/ 18 w 72"/>
                <a:gd name="T1" fmla="*/ 104 h 120"/>
                <a:gd name="T2" fmla="*/ 24 w 72"/>
                <a:gd name="T3" fmla="*/ 112 h 120"/>
                <a:gd name="T4" fmla="*/ 34 w 72"/>
                <a:gd name="T5" fmla="*/ 118 h 120"/>
                <a:gd name="T6" fmla="*/ 46 w 72"/>
                <a:gd name="T7" fmla="*/ 120 h 120"/>
                <a:gd name="T8" fmla="*/ 59 w 72"/>
                <a:gd name="T9" fmla="*/ 119 h 120"/>
                <a:gd name="T10" fmla="*/ 72 w 72"/>
                <a:gd name="T11" fmla="*/ 114 h 120"/>
                <a:gd name="T12" fmla="*/ 72 w 72"/>
                <a:gd name="T13" fmla="*/ 95 h 120"/>
                <a:gd name="T14" fmla="*/ 55 w 72"/>
                <a:gd name="T15" fmla="*/ 101 h 120"/>
                <a:gd name="T16" fmla="*/ 46 w 72"/>
                <a:gd name="T17" fmla="*/ 98 h 120"/>
                <a:gd name="T18" fmla="*/ 42 w 72"/>
                <a:gd name="T19" fmla="*/ 93 h 120"/>
                <a:gd name="T20" fmla="*/ 41 w 72"/>
                <a:gd name="T21" fmla="*/ 80 h 120"/>
                <a:gd name="T22" fmla="*/ 41 w 72"/>
                <a:gd name="T23" fmla="*/ 50 h 120"/>
                <a:gd name="T24" fmla="*/ 68 w 72"/>
                <a:gd name="T25" fmla="*/ 50 h 120"/>
                <a:gd name="T26" fmla="*/ 68 w 72"/>
                <a:gd name="T27" fmla="*/ 28 h 120"/>
                <a:gd name="T28" fmla="*/ 41 w 72"/>
                <a:gd name="T29" fmla="*/ 28 h 120"/>
                <a:gd name="T30" fmla="*/ 41 w 72"/>
                <a:gd name="T31" fmla="*/ 0 h 120"/>
                <a:gd name="T32" fmla="*/ 25 w 72"/>
                <a:gd name="T33" fmla="*/ 0 h 120"/>
                <a:gd name="T34" fmla="*/ 21 w 72"/>
                <a:gd name="T35" fmla="*/ 16 h 120"/>
                <a:gd name="T36" fmla="*/ 13 w 72"/>
                <a:gd name="T37" fmla="*/ 26 h 120"/>
                <a:gd name="T38" fmla="*/ 0 w 72"/>
                <a:gd name="T39" fmla="*/ 33 h 120"/>
                <a:gd name="T40" fmla="*/ 0 w 72"/>
                <a:gd name="T41" fmla="*/ 50 h 120"/>
                <a:gd name="T42" fmla="*/ 16 w 72"/>
                <a:gd name="T43" fmla="*/ 50 h 120"/>
                <a:gd name="T44" fmla="*/ 16 w 72"/>
                <a:gd name="T45" fmla="*/ 92 h 120"/>
                <a:gd name="T46" fmla="*/ 18 w 72"/>
                <a:gd name="T47" fmla="*/ 104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2" h="120">
                  <a:moveTo>
                    <a:pt x="18" y="104"/>
                  </a:moveTo>
                  <a:cubicBezTo>
                    <a:pt x="19" y="107"/>
                    <a:pt x="21" y="110"/>
                    <a:pt x="24" y="112"/>
                  </a:cubicBezTo>
                  <a:cubicBezTo>
                    <a:pt x="26" y="115"/>
                    <a:pt x="30" y="117"/>
                    <a:pt x="34" y="118"/>
                  </a:cubicBezTo>
                  <a:cubicBezTo>
                    <a:pt x="38" y="120"/>
                    <a:pt x="41" y="120"/>
                    <a:pt x="46" y="120"/>
                  </a:cubicBezTo>
                  <a:cubicBezTo>
                    <a:pt x="51" y="120"/>
                    <a:pt x="55" y="120"/>
                    <a:pt x="59" y="119"/>
                  </a:cubicBezTo>
                  <a:cubicBezTo>
                    <a:pt x="63" y="118"/>
                    <a:pt x="68" y="116"/>
                    <a:pt x="72" y="114"/>
                  </a:cubicBezTo>
                  <a:cubicBezTo>
                    <a:pt x="72" y="95"/>
                    <a:pt x="72" y="95"/>
                    <a:pt x="72" y="95"/>
                  </a:cubicBezTo>
                  <a:cubicBezTo>
                    <a:pt x="67" y="99"/>
                    <a:pt x="61" y="101"/>
                    <a:pt x="55" y="101"/>
                  </a:cubicBezTo>
                  <a:cubicBezTo>
                    <a:pt x="52" y="101"/>
                    <a:pt x="49" y="100"/>
                    <a:pt x="46" y="98"/>
                  </a:cubicBezTo>
                  <a:cubicBezTo>
                    <a:pt x="44" y="97"/>
                    <a:pt x="43" y="95"/>
                    <a:pt x="42" y="93"/>
                  </a:cubicBezTo>
                  <a:cubicBezTo>
                    <a:pt x="41" y="91"/>
                    <a:pt x="41" y="87"/>
                    <a:pt x="41" y="80"/>
                  </a:cubicBezTo>
                  <a:cubicBezTo>
                    <a:pt x="41" y="50"/>
                    <a:pt x="41" y="50"/>
                    <a:pt x="41" y="50"/>
                  </a:cubicBezTo>
                  <a:cubicBezTo>
                    <a:pt x="68" y="50"/>
                    <a:pt x="68" y="50"/>
                    <a:pt x="68" y="50"/>
                  </a:cubicBezTo>
                  <a:cubicBezTo>
                    <a:pt x="68" y="28"/>
                    <a:pt x="68" y="28"/>
                    <a:pt x="68" y="28"/>
                  </a:cubicBezTo>
                  <a:cubicBezTo>
                    <a:pt x="41" y="28"/>
                    <a:pt x="41" y="28"/>
                    <a:pt x="41" y="28"/>
                  </a:cubicBezTo>
                  <a:cubicBezTo>
                    <a:pt x="41" y="0"/>
                    <a:pt x="41" y="0"/>
                    <a:pt x="41" y="0"/>
                  </a:cubicBezTo>
                  <a:cubicBezTo>
                    <a:pt x="25" y="0"/>
                    <a:pt x="25" y="0"/>
                    <a:pt x="25" y="0"/>
                  </a:cubicBezTo>
                  <a:cubicBezTo>
                    <a:pt x="24" y="7"/>
                    <a:pt x="23" y="12"/>
                    <a:pt x="21" y="16"/>
                  </a:cubicBezTo>
                  <a:cubicBezTo>
                    <a:pt x="19" y="20"/>
                    <a:pt x="17" y="23"/>
                    <a:pt x="13" y="26"/>
                  </a:cubicBezTo>
                  <a:cubicBezTo>
                    <a:pt x="10" y="29"/>
                    <a:pt x="5" y="31"/>
                    <a:pt x="0" y="33"/>
                  </a:cubicBezTo>
                  <a:cubicBezTo>
                    <a:pt x="0" y="50"/>
                    <a:pt x="0" y="50"/>
                    <a:pt x="0" y="50"/>
                  </a:cubicBezTo>
                  <a:cubicBezTo>
                    <a:pt x="16" y="50"/>
                    <a:pt x="16" y="50"/>
                    <a:pt x="16" y="50"/>
                  </a:cubicBezTo>
                  <a:cubicBezTo>
                    <a:pt x="16" y="92"/>
                    <a:pt x="16" y="92"/>
                    <a:pt x="16" y="92"/>
                  </a:cubicBezTo>
                  <a:cubicBezTo>
                    <a:pt x="16" y="97"/>
                    <a:pt x="17" y="101"/>
                    <a:pt x="18" y="104"/>
                  </a:cubicBezTo>
                </a:path>
              </a:pathLst>
            </a:custGeom>
            <a:solidFill>
              <a:srgbClr val="CCCCC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39" name="Freeform 245">
              <a:extLst>
                <a:ext uri="{FF2B5EF4-FFF2-40B4-BE49-F238E27FC236}">
                  <a16:creationId xmlns:a16="http://schemas.microsoft.com/office/drawing/2014/main" id="{F338FD70-7D44-4EA3-88B4-F6A1C93579BE}"/>
                </a:ext>
              </a:extLst>
            </p:cNvPr>
            <p:cNvSpPr>
              <a:spLocks/>
            </p:cNvSpPr>
            <p:nvPr/>
          </p:nvSpPr>
          <p:spPr bwMode="auto">
            <a:xfrm>
              <a:off x="6155016" y="4295045"/>
              <a:ext cx="136785" cy="112928"/>
            </a:xfrm>
            <a:custGeom>
              <a:avLst/>
              <a:gdLst>
                <a:gd name="T0" fmla="*/ 0 w 70"/>
                <a:gd name="T1" fmla="*/ 55 h 58"/>
                <a:gd name="T2" fmla="*/ 27 w 70"/>
                <a:gd name="T3" fmla="*/ 49 h 58"/>
                <a:gd name="T4" fmla="*/ 55 w 70"/>
                <a:gd name="T5" fmla="*/ 58 h 58"/>
                <a:gd name="T6" fmla="*/ 70 w 70"/>
                <a:gd name="T7" fmla="*/ 9 h 58"/>
                <a:gd name="T8" fmla="*/ 63 w 70"/>
                <a:gd name="T9" fmla="*/ 5 h 58"/>
                <a:gd name="T10" fmla="*/ 42 w 70"/>
                <a:gd name="T11" fmla="*/ 0 h 58"/>
                <a:gd name="T12" fmla="*/ 40 w 70"/>
                <a:gd name="T13" fmla="*/ 0 h 58"/>
                <a:gd name="T14" fmla="*/ 19 w 70"/>
                <a:gd name="T15" fmla="*/ 4 h 58"/>
                <a:gd name="T16" fmla="*/ 14 w 70"/>
                <a:gd name="T17" fmla="*/ 6 h 58"/>
                <a:gd name="T18" fmla="*/ 0 w 70"/>
                <a:gd name="T19" fmla="*/ 55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0" h="58">
                  <a:moveTo>
                    <a:pt x="0" y="55"/>
                  </a:moveTo>
                  <a:cubicBezTo>
                    <a:pt x="11" y="50"/>
                    <a:pt x="19" y="49"/>
                    <a:pt x="27" y="49"/>
                  </a:cubicBezTo>
                  <a:cubicBezTo>
                    <a:pt x="39" y="49"/>
                    <a:pt x="47" y="53"/>
                    <a:pt x="55" y="58"/>
                  </a:cubicBezTo>
                  <a:cubicBezTo>
                    <a:pt x="58" y="49"/>
                    <a:pt x="68" y="15"/>
                    <a:pt x="70" y="9"/>
                  </a:cubicBezTo>
                  <a:cubicBezTo>
                    <a:pt x="68" y="8"/>
                    <a:pt x="66" y="6"/>
                    <a:pt x="63" y="5"/>
                  </a:cubicBezTo>
                  <a:cubicBezTo>
                    <a:pt x="58" y="2"/>
                    <a:pt x="51" y="0"/>
                    <a:pt x="42" y="0"/>
                  </a:cubicBezTo>
                  <a:cubicBezTo>
                    <a:pt x="42" y="0"/>
                    <a:pt x="41" y="0"/>
                    <a:pt x="40" y="0"/>
                  </a:cubicBezTo>
                  <a:cubicBezTo>
                    <a:pt x="32" y="0"/>
                    <a:pt x="24" y="2"/>
                    <a:pt x="19" y="4"/>
                  </a:cubicBezTo>
                  <a:cubicBezTo>
                    <a:pt x="17" y="5"/>
                    <a:pt x="16" y="5"/>
                    <a:pt x="14" y="6"/>
                  </a:cubicBezTo>
                  <a:lnTo>
                    <a:pt x="0" y="55"/>
                  </a:lnTo>
                  <a:close/>
                </a:path>
              </a:pathLst>
            </a:custGeom>
            <a:solidFill>
              <a:srgbClr val="CCCCC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40" name="Freeform 246">
              <a:extLst>
                <a:ext uri="{FF2B5EF4-FFF2-40B4-BE49-F238E27FC236}">
                  <a16:creationId xmlns:a16="http://schemas.microsoft.com/office/drawing/2014/main" id="{B45FF082-D269-46F7-AF6C-A1389E3110BA}"/>
                </a:ext>
              </a:extLst>
            </p:cNvPr>
            <p:cNvSpPr>
              <a:spLocks/>
            </p:cNvSpPr>
            <p:nvPr/>
          </p:nvSpPr>
          <p:spPr bwMode="auto">
            <a:xfrm>
              <a:off x="6280667" y="4323674"/>
              <a:ext cx="139966" cy="114517"/>
            </a:xfrm>
            <a:custGeom>
              <a:avLst/>
              <a:gdLst>
                <a:gd name="T0" fmla="*/ 72 w 72"/>
                <a:gd name="T1" fmla="*/ 5 h 59"/>
                <a:gd name="T2" fmla="*/ 45 w 72"/>
                <a:gd name="T3" fmla="*/ 10 h 59"/>
                <a:gd name="T4" fmla="*/ 14 w 72"/>
                <a:gd name="T5" fmla="*/ 0 h 59"/>
                <a:gd name="T6" fmla="*/ 0 w 72"/>
                <a:gd name="T7" fmla="*/ 49 h 59"/>
                <a:gd name="T8" fmla="*/ 29 w 72"/>
                <a:gd name="T9" fmla="*/ 59 h 59"/>
                <a:gd name="T10" fmla="*/ 59 w 72"/>
                <a:gd name="T11" fmla="*/ 52 h 59"/>
                <a:gd name="T12" fmla="*/ 72 w 72"/>
                <a:gd name="T13" fmla="*/ 5 h 59"/>
              </a:gdLst>
              <a:ahLst/>
              <a:cxnLst>
                <a:cxn ang="0">
                  <a:pos x="T0" y="T1"/>
                </a:cxn>
                <a:cxn ang="0">
                  <a:pos x="T2" y="T3"/>
                </a:cxn>
                <a:cxn ang="0">
                  <a:pos x="T4" y="T5"/>
                </a:cxn>
                <a:cxn ang="0">
                  <a:pos x="T6" y="T7"/>
                </a:cxn>
                <a:cxn ang="0">
                  <a:pos x="T8" y="T9"/>
                </a:cxn>
                <a:cxn ang="0">
                  <a:pos x="T10" y="T11"/>
                </a:cxn>
                <a:cxn ang="0">
                  <a:pos x="T12" y="T13"/>
                </a:cxn>
              </a:cxnLst>
              <a:rect l="0" t="0" r="r" b="b"/>
              <a:pathLst>
                <a:path w="72" h="59">
                  <a:moveTo>
                    <a:pt x="72" y="5"/>
                  </a:moveTo>
                  <a:cubicBezTo>
                    <a:pt x="62" y="9"/>
                    <a:pt x="53" y="10"/>
                    <a:pt x="45" y="10"/>
                  </a:cubicBezTo>
                  <a:cubicBezTo>
                    <a:pt x="29" y="10"/>
                    <a:pt x="19" y="3"/>
                    <a:pt x="14" y="0"/>
                  </a:cubicBezTo>
                  <a:cubicBezTo>
                    <a:pt x="0" y="49"/>
                    <a:pt x="0" y="49"/>
                    <a:pt x="0" y="49"/>
                  </a:cubicBezTo>
                  <a:cubicBezTo>
                    <a:pt x="0" y="49"/>
                    <a:pt x="17" y="59"/>
                    <a:pt x="29" y="59"/>
                  </a:cubicBezTo>
                  <a:cubicBezTo>
                    <a:pt x="37" y="59"/>
                    <a:pt x="47" y="57"/>
                    <a:pt x="59" y="52"/>
                  </a:cubicBezTo>
                  <a:lnTo>
                    <a:pt x="72" y="5"/>
                  </a:lnTo>
                  <a:close/>
                </a:path>
              </a:pathLst>
            </a:custGeom>
            <a:solidFill>
              <a:srgbClr val="CCCCC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41" name="Freeform 247">
              <a:extLst>
                <a:ext uri="{FF2B5EF4-FFF2-40B4-BE49-F238E27FC236}">
                  <a16:creationId xmlns:a16="http://schemas.microsoft.com/office/drawing/2014/main" id="{89B78604-A27E-4E29-960F-0B7F959226E8}"/>
                </a:ext>
              </a:extLst>
            </p:cNvPr>
            <p:cNvSpPr>
              <a:spLocks/>
            </p:cNvSpPr>
            <p:nvPr/>
          </p:nvSpPr>
          <p:spPr bwMode="auto">
            <a:xfrm>
              <a:off x="6188417" y="4177347"/>
              <a:ext cx="136785" cy="112928"/>
            </a:xfrm>
            <a:custGeom>
              <a:avLst/>
              <a:gdLst>
                <a:gd name="T0" fmla="*/ 70 w 70"/>
                <a:gd name="T1" fmla="*/ 9 h 58"/>
                <a:gd name="T2" fmla="*/ 53 w 70"/>
                <a:gd name="T3" fmla="*/ 1 h 58"/>
                <a:gd name="T4" fmla="*/ 41 w 70"/>
                <a:gd name="T5" fmla="*/ 0 h 58"/>
                <a:gd name="T6" fmla="*/ 41 w 70"/>
                <a:gd name="T7" fmla="*/ 0 h 58"/>
                <a:gd name="T8" fmla="*/ 14 w 70"/>
                <a:gd name="T9" fmla="*/ 6 h 58"/>
                <a:gd name="T10" fmla="*/ 0 w 70"/>
                <a:gd name="T11" fmla="*/ 54 h 58"/>
                <a:gd name="T12" fmla="*/ 28 w 70"/>
                <a:gd name="T13" fmla="*/ 48 h 58"/>
                <a:gd name="T14" fmla="*/ 28 w 70"/>
                <a:gd name="T15" fmla="*/ 48 h 58"/>
                <a:gd name="T16" fmla="*/ 56 w 70"/>
                <a:gd name="T17" fmla="*/ 58 h 58"/>
                <a:gd name="T18" fmla="*/ 70 w 70"/>
                <a:gd name="T19" fmla="*/ 9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0" h="58">
                  <a:moveTo>
                    <a:pt x="70" y="9"/>
                  </a:moveTo>
                  <a:cubicBezTo>
                    <a:pt x="70" y="9"/>
                    <a:pt x="60" y="3"/>
                    <a:pt x="53" y="1"/>
                  </a:cubicBezTo>
                  <a:cubicBezTo>
                    <a:pt x="49" y="0"/>
                    <a:pt x="46" y="0"/>
                    <a:pt x="41" y="0"/>
                  </a:cubicBezTo>
                  <a:cubicBezTo>
                    <a:pt x="41" y="0"/>
                    <a:pt x="41" y="0"/>
                    <a:pt x="41" y="0"/>
                  </a:cubicBezTo>
                  <a:cubicBezTo>
                    <a:pt x="34" y="0"/>
                    <a:pt x="25" y="2"/>
                    <a:pt x="14" y="6"/>
                  </a:cubicBezTo>
                  <a:cubicBezTo>
                    <a:pt x="0" y="54"/>
                    <a:pt x="0" y="54"/>
                    <a:pt x="0" y="54"/>
                  </a:cubicBezTo>
                  <a:cubicBezTo>
                    <a:pt x="11" y="50"/>
                    <a:pt x="20" y="48"/>
                    <a:pt x="28" y="48"/>
                  </a:cubicBezTo>
                  <a:cubicBezTo>
                    <a:pt x="28" y="48"/>
                    <a:pt x="28" y="48"/>
                    <a:pt x="28" y="48"/>
                  </a:cubicBezTo>
                  <a:cubicBezTo>
                    <a:pt x="40" y="48"/>
                    <a:pt x="48" y="53"/>
                    <a:pt x="56" y="58"/>
                  </a:cubicBezTo>
                  <a:cubicBezTo>
                    <a:pt x="59" y="48"/>
                    <a:pt x="67" y="19"/>
                    <a:pt x="70" y="9"/>
                  </a:cubicBezTo>
                  <a:close/>
                </a:path>
              </a:pathLst>
            </a:custGeom>
            <a:solidFill>
              <a:srgbClr val="CCCCC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42" name="Freeform 248">
              <a:extLst>
                <a:ext uri="{FF2B5EF4-FFF2-40B4-BE49-F238E27FC236}">
                  <a16:creationId xmlns:a16="http://schemas.microsoft.com/office/drawing/2014/main" id="{B1D44755-F7CC-4004-94D4-80DFA277E05A}"/>
                </a:ext>
              </a:extLst>
            </p:cNvPr>
            <p:cNvSpPr>
              <a:spLocks/>
            </p:cNvSpPr>
            <p:nvPr/>
          </p:nvSpPr>
          <p:spPr bwMode="auto">
            <a:xfrm>
              <a:off x="6315659" y="4205976"/>
              <a:ext cx="139966" cy="116108"/>
            </a:xfrm>
            <a:custGeom>
              <a:avLst/>
              <a:gdLst>
                <a:gd name="T0" fmla="*/ 14 w 72"/>
                <a:gd name="T1" fmla="*/ 0 h 59"/>
                <a:gd name="T2" fmla="*/ 0 w 72"/>
                <a:gd name="T3" fmla="*/ 49 h 59"/>
                <a:gd name="T4" fmla="*/ 0 w 72"/>
                <a:gd name="T5" fmla="*/ 49 h 59"/>
                <a:gd name="T6" fmla="*/ 31 w 72"/>
                <a:gd name="T7" fmla="*/ 59 h 59"/>
                <a:gd name="T8" fmla="*/ 58 w 72"/>
                <a:gd name="T9" fmla="*/ 52 h 59"/>
                <a:gd name="T10" fmla="*/ 58 w 72"/>
                <a:gd name="T11" fmla="*/ 52 h 59"/>
                <a:gd name="T12" fmla="*/ 58 w 72"/>
                <a:gd name="T13" fmla="*/ 52 h 59"/>
                <a:gd name="T14" fmla="*/ 72 w 72"/>
                <a:gd name="T15" fmla="*/ 4 h 59"/>
                <a:gd name="T16" fmla="*/ 45 w 72"/>
                <a:gd name="T17" fmla="*/ 10 h 59"/>
                <a:gd name="T18" fmla="*/ 14 w 72"/>
                <a:gd name="T19" fmla="*/ 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59">
                  <a:moveTo>
                    <a:pt x="14" y="0"/>
                  </a:moveTo>
                  <a:cubicBezTo>
                    <a:pt x="0" y="49"/>
                    <a:pt x="0" y="49"/>
                    <a:pt x="0" y="49"/>
                  </a:cubicBezTo>
                  <a:cubicBezTo>
                    <a:pt x="0" y="49"/>
                    <a:pt x="0" y="49"/>
                    <a:pt x="0" y="49"/>
                  </a:cubicBezTo>
                  <a:cubicBezTo>
                    <a:pt x="8" y="54"/>
                    <a:pt x="18" y="59"/>
                    <a:pt x="31" y="59"/>
                  </a:cubicBezTo>
                  <a:cubicBezTo>
                    <a:pt x="39" y="59"/>
                    <a:pt x="48" y="57"/>
                    <a:pt x="58" y="52"/>
                  </a:cubicBezTo>
                  <a:cubicBezTo>
                    <a:pt x="58" y="52"/>
                    <a:pt x="58" y="52"/>
                    <a:pt x="58" y="52"/>
                  </a:cubicBezTo>
                  <a:cubicBezTo>
                    <a:pt x="58" y="52"/>
                    <a:pt x="58" y="52"/>
                    <a:pt x="58" y="52"/>
                  </a:cubicBezTo>
                  <a:cubicBezTo>
                    <a:pt x="72" y="4"/>
                    <a:pt x="72" y="4"/>
                    <a:pt x="72" y="4"/>
                  </a:cubicBezTo>
                  <a:cubicBezTo>
                    <a:pt x="62" y="8"/>
                    <a:pt x="53" y="10"/>
                    <a:pt x="45" y="10"/>
                  </a:cubicBezTo>
                  <a:cubicBezTo>
                    <a:pt x="29" y="10"/>
                    <a:pt x="19" y="4"/>
                    <a:pt x="14" y="0"/>
                  </a:cubicBezTo>
                </a:path>
              </a:pathLst>
            </a:custGeom>
            <a:solidFill>
              <a:srgbClr val="CCCCC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43" name="Freeform 249">
              <a:extLst>
                <a:ext uri="{FF2B5EF4-FFF2-40B4-BE49-F238E27FC236}">
                  <a16:creationId xmlns:a16="http://schemas.microsoft.com/office/drawing/2014/main" id="{BEDE7F24-BD0D-4FB7-8623-4A3AB69729C3}"/>
                </a:ext>
              </a:extLst>
            </p:cNvPr>
            <p:cNvSpPr>
              <a:spLocks noEditPoints="1"/>
            </p:cNvSpPr>
            <p:nvPr/>
          </p:nvSpPr>
          <p:spPr bwMode="auto">
            <a:xfrm>
              <a:off x="4306830" y="4271186"/>
              <a:ext cx="120880" cy="155871"/>
            </a:xfrm>
            <a:custGeom>
              <a:avLst/>
              <a:gdLst>
                <a:gd name="T0" fmla="*/ 16 w 62"/>
                <a:gd name="T1" fmla="*/ 80 h 80"/>
                <a:gd name="T2" fmla="*/ 38 w 62"/>
                <a:gd name="T3" fmla="*/ 80 h 80"/>
                <a:gd name="T4" fmla="*/ 61 w 62"/>
                <a:gd name="T5" fmla="*/ 55 h 80"/>
                <a:gd name="T6" fmla="*/ 47 w 62"/>
                <a:gd name="T7" fmla="*/ 36 h 80"/>
                <a:gd name="T8" fmla="*/ 59 w 62"/>
                <a:gd name="T9" fmla="*/ 21 h 80"/>
                <a:gd name="T10" fmla="*/ 38 w 62"/>
                <a:gd name="T11" fmla="*/ 0 h 80"/>
                <a:gd name="T12" fmla="*/ 16 w 62"/>
                <a:gd name="T13" fmla="*/ 0 h 80"/>
                <a:gd name="T14" fmla="*/ 15 w 62"/>
                <a:gd name="T15" fmla="*/ 0 h 80"/>
                <a:gd name="T16" fmla="*/ 0 w 62"/>
                <a:gd name="T17" fmla="*/ 0 h 80"/>
                <a:gd name="T18" fmla="*/ 0 w 62"/>
                <a:gd name="T19" fmla="*/ 80 h 80"/>
                <a:gd name="T20" fmla="*/ 15 w 62"/>
                <a:gd name="T21" fmla="*/ 80 h 80"/>
                <a:gd name="T22" fmla="*/ 16 w 62"/>
                <a:gd name="T23" fmla="*/ 80 h 80"/>
                <a:gd name="T24" fmla="*/ 16 w 62"/>
                <a:gd name="T25" fmla="*/ 14 h 80"/>
                <a:gd name="T26" fmla="*/ 35 w 62"/>
                <a:gd name="T27" fmla="*/ 14 h 80"/>
                <a:gd name="T28" fmla="*/ 38 w 62"/>
                <a:gd name="T29" fmla="*/ 14 h 80"/>
                <a:gd name="T30" fmla="*/ 43 w 62"/>
                <a:gd name="T31" fmla="*/ 22 h 80"/>
                <a:gd name="T32" fmla="*/ 36 w 62"/>
                <a:gd name="T33" fmla="*/ 31 h 80"/>
                <a:gd name="T34" fmla="*/ 16 w 62"/>
                <a:gd name="T35" fmla="*/ 31 h 80"/>
                <a:gd name="T36" fmla="*/ 16 w 62"/>
                <a:gd name="T37" fmla="*/ 14 h 80"/>
                <a:gd name="T38" fmla="*/ 16 w 62"/>
                <a:gd name="T39" fmla="*/ 43 h 80"/>
                <a:gd name="T40" fmla="*/ 38 w 62"/>
                <a:gd name="T41" fmla="*/ 43 h 80"/>
                <a:gd name="T42" fmla="*/ 45 w 62"/>
                <a:gd name="T43" fmla="*/ 54 h 80"/>
                <a:gd name="T44" fmla="*/ 37 w 62"/>
                <a:gd name="T45" fmla="*/ 64 h 80"/>
                <a:gd name="T46" fmla="*/ 35 w 62"/>
                <a:gd name="T47" fmla="*/ 64 h 80"/>
                <a:gd name="T48" fmla="*/ 16 w 62"/>
                <a:gd name="T49" fmla="*/ 64 h 80"/>
                <a:gd name="T50" fmla="*/ 16 w 62"/>
                <a:gd name="T51" fmla="*/ 43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2" h="80">
                  <a:moveTo>
                    <a:pt x="16" y="80"/>
                  </a:moveTo>
                  <a:cubicBezTo>
                    <a:pt x="38" y="80"/>
                    <a:pt x="38" y="80"/>
                    <a:pt x="38" y="80"/>
                  </a:cubicBezTo>
                  <a:cubicBezTo>
                    <a:pt x="38" y="80"/>
                    <a:pt x="61" y="79"/>
                    <a:pt x="61" y="55"/>
                  </a:cubicBezTo>
                  <a:cubicBezTo>
                    <a:pt x="61" y="55"/>
                    <a:pt x="62" y="36"/>
                    <a:pt x="47" y="36"/>
                  </a:cubicBezTo>
                  <a:cubicBezTo>
                    <a:pt x="47" y="36"/>
                    <a:pt x="59" y="35"/>
                    <a:pt x="59" y="21"/>
                  </a:cubicBezTo>
                  <a:cubicBezTo>
                    <a:pt x="59" y="7"/>
                    <a:pt x="49" y="0"/>
                    <a:pt x="38" y="0"/>
                  </a:cubicBezTo>
                  <a:cubicBezTo>
                    <a:pt x="16" y="0"/>
                    <a:pt x="16" y="0"/>
                    <a:pt x="16" y="0"/>
                  </a:cubicBezTo>
                  <a:cubicBezTo>
                    <a:pt x="15" y="0"/>
                    <a:pt x="15" y="0"/>
                    <a:pt x="15" y="0"/>
                  </a:cubicBezTo>
                  <a:cubicBezTo>
                    <a:pt x="0" y="0"/>
                    <a:pt x="0" y="0"/>
                    <a:pt x="0" y="0"/>
                  </a:cubicBezTo>
                  <a:cubicBezTo>
                    <a:pt x="0" y="80"/>
                    <a:pt x="0" y="80"/>
                    <a:pt x="0" y="80"/>
                  </a:cubicBezTo>
                  <a:cubicBezTo>
                    <a:pt x="15" y="80"/>
                    <a:pt x="15" y="80"/>
                    <a:pt x="15" y="80"/>
                  </a:cubicBezTo>
                  <a:lnTo>
                    <a:pt x="16" y="80"/>
                  </a:lnTo>
                  <a:close/>
                  <a:moveTo>
                    <a:pt x="16" y="14"/>
                  </a:moveTo>
                  <a:cubicBezTo>
                    <a:pt x="35" y="14"/>
                    <a:pt x="35" y="14"/>
                    <a:pt x="35" y="14"/>
                  </a:cubicBezTo>
                  <a:cubicBezTo>
                    <a:pt x="38" y="14"/>
                    <a:pt x="38" y="14"/>
                    <a:pt x="38" y="14"/>
                  </a:cubicBezTo>
                  <a:cubicBezTo>
                    <a:pt x="38" y="14"/>
                    <a:pt x="43" y="14"/>
                    <a:pt x="43" y="22"/>
                  </a:cubicBezTo>
                  <a:cubicBezTo>
                    <a:pt x="43" y="30"/>
                    <a:pt x="40" y="31"/>
                    <a:pt x="36" y="31"/>
                  </a:cubicBezTo>
                  <a:cubicBezTo>
                    <a:pt x="16" y="31"/>
                    <a:pt x="16" y="31"/>
                    <a:pt x="16" y="31"/>
                  </a:cubicBezTo>
                  <a:lnTo>
                    <a:pt x="16" y="14"/>
                  </a:lnTo>
                  <a:close/>
                  <a:moveTo>
                    <a:pt x="16" y="43"/>
                  </a:moveTo>
                  <a:cubicBezTo>
                    <a:pt x="38" y="43"/>
                    <a:pt x="38" y="43"/>
                    <a:pt x="38" y="43"/>
                  </a:cubicBezTo>
                  <a:cubicBezTo>
                    <a:pt x="38" y="43"/>
                    <a:pt x="45" y="43"/>
                    <a:pt x="45" y="54"/>
                  </a:cubicBezTo>
                  <a:cubicBezTo>
                    <a:pt x="45" y="63"/>
                    <a:pt x="40" y="64"/>
                    <a:pt x="37" y="64"/>
                  </a:cubicBezTo>
                  <a:cubicBezTo>
                    <a:pt x="36" y="64"/>
                    <a:pt x="35" y="64"/>
                    <a:pt x="35" y="64"/>
                  </a:cubicBezTo>
                  <a:cubicBezTo>
                    <a:pt x="16" y="64"/>
                    <a:pt x="16" y="64"/>
                    <a:pt x="16" y="64"/>
                  </a:cubicBezTo>
                  <a:lnTo>
                    <a:pt x="16" y="43"/>
                  </a:lnTo>
                  <a:close/>
                </a:path>
              </a:pathLst>
            </a:custGeom>
            <a:solidFill>
              <a:srgbClr val="CCCCC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44" name="Freeform 250">
              <a:extLst>
                <a:ext uri="{FF2B5EF4-FFF2-40B4-BE49-F238E27FC236}">
                  <a16:creationId xmlns:a16="http://schemas.microsoft.com/office/drawing/2014/main" id="{5EA71B48-F410-42D7-8A8E-9DA79A99AF7A}"/>
                </a:ext>
              </a:extLst>
            </p:cNvPr>
            <p:cNvSpPr>
              <a:spLocks noEditPoints="1"/>
            </p:cNvSpPr>
            <p:nvPr/>
          </p:nvSpPr>
          <p:spPr bwMode="auto">
            <a:xfrm>
              <a:off x="4427710" y="4309359"/>
              <a:ext cx="119289" cy="119289"/>
            </a:xfrm>
            <a:custGeom>
              <a:avLst/>
              <a:gdLst>
                <a:gd name="T0" fmla="*/ 31 w 61"/>
                <a:gd name="T1" fmla="*/ 0 h 61"/>
                <a:gd name="T2" fmla="*/ 2 w 61"/>
                <a:gd name="T3" fmla="*/ 30 h 61"/>
                <a:gd name="T4" fmla="*/ 31 w 61"/>
                <a:gd name="T5" fmla="*/ 60 h 61"/>
                <a:gd name="T6" fmla="*/ 56 w 61"/>
                <a:gd name="T7" fmla="*/ 39 h 61"/>
                <a:gd name="T8" fmla="*/ 43 w 61"/>
                <a:gd name="T9" fmla="*/ 39 h 61"/>
                <a:gd name="T10" fmla="*/ 31 w 61"/>
                <a:gd name="T11" fmla="*/ 47 h 61"/>
                <a:gd name="T12" fmla="*/ 18 w 61"/>
                <a:gd name="T13" fmla="*/ 34 h 61"/>
                <a:gd name="T14" fmla="*/ 57 w 61"/>
                <a:gd name="T15" fmla="*/ 34 h 61"/>
                <a:gd name="T16" fmla="*/ 31 w 61"/>
                <a:gd name="T17" fmla="*/ 0 h 61"/>
                <a:gd name="T18" fmla="*/ 18 w 61"/>
                <a:gd name="T19" fmla="*/ 23 h 61"/>
                <a:gd name="T20" fmla="*/ 31 w 61"/>
                <a:gd name="T21" fmla="*/ 11 h 61"/>
                <a:gd name="T22" fmla="*/ 42 w 61"/>
                <a:gd name="T23" fmla="*/ 23 h 61"/>
                <a:gd name="T24" fmla="*/ 18 w 61"/>
                <a:gd name="T25" fmla="*/ 23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1" h="61">
                  <a:moveTo>
                    <a:pt x="31" y="0"/>
                  </a:moveTo>
                  <a:cubicBezTo>
                    <a:pt x="2" y="0"/>
                    <a:pt x="2" y="30"/>
                    <a:pt x="2" y="30"/>
                  </a:cubicBezTo>
                  <a:cubicBezTo>
                    <a:pt x="2" y="30"/>
                    <a:pt x="0" y="60"/>
                    <a:pt x="31" y="60"/>
                  </a:cubicBezTo>
                  <a:cubicBezTo>
                    <a:pt x="31" y="60"/>
                    <a:pt x="56" y="61"/>
                    <a:pt x="56" y="39"/>
                  </a:cubicBezTo>
                  <a:cubicBezTo>
                    <a:pt x="43" y="39"/>
                    <a:pt x="43" y="39"/>
                    <a:pt x="43" y="39"/>
                  </a:cubicBezTo>
                  <a:cubicBezTo>
                    <a:pt x="43" y="39"/>
                    <a:pt x="44" y="47"/>
                    <a:pt x="31" y="47"/>
                  </a:cubicBezTo>
                  <a:cubicBezTo>
                    <a:pt x="31" y="47"/>
                    <a:pt x="18" y="48"/>
                    <a:pt x="18" y="34"/>
                  </a:cubicBezTo>
                  <a:cubicBezTo>
                    <a:pt x="57" y="34"/>
                    <a:pt x="57" y="34"/>
                    <a:pt x="57" y="34"/>
                  </a:cubicBezTo>
                  <a:cubicBezTo>
                    <a:pt x="57" y="34"/>
                    <a:pt x="61" y="0"/>
                    <a:pt x="31" y="0"/>
                  </a:cubicBezTo>
                  <a:moveTo>
                    <a:pt x="18" y="23"/>
                  </a:moveTo>
                  <a:cubicBezTo>
                    <a:pt x="18" y="23"/>
                    <a:pt x="20" y="11"/>
                    <a:pt x="31" y="11"/>
                  </a:cubicBezTo>
                  <a:cubicBezTo>
                    <a:pt x="43" y="11"/>
                    <a:pt x="42" y="23"/>
                    <a:pt x="42" y="23"/>
                  </a:cubicBezTo>
                  <a:lnTo>
                    <a:pt x="18" y="23"/>
                  </a:lnTo>
                  <a:close/>
                </a:path>
              </a:pathLst>
            </a:custGeom>
            <a:solidFill>
              <a:srgbClr val="CCCCC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45" name="Rectangle 251">
              <a:extLst>
                <a:ext uri="{FF2B5EF4-FFF2-40B4-BE49-F238E27FC236}">
                  <a16:creationId xmlns:a16="http://schemas.microsoft.com/office/drawing/2014/main" id="{7573A252-B8C0-408D-B67C-099C86A02F2F}"/>
                </a:ext>
              </a:extLst>
            </p:cNvPr>
            <p:cNvSpPr>
              <a:spLocks noChangeArrowheads="1"/>
            </p:cNvSpPr>
            <p:nvPr/>
          </p:nvSpPr>
          <p:spPr bwMode="auto">
            <a:xfrm>
              <a:off x="4457929" y="4279140"/>
              <a:ext cx="58850" cy="15905"/>
            </a:xfrm>
            <a:prstGeom prst="rect">
              <a:avLst/>
            </a:prstGeom>
            <a:solidFill>
              <a:srgbClr val="CCCCCC"/>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46" name="Freeform 252">
              <a:extLst>
                <a:ext uri="{FF2B5EF4-FFF2-40B4-BE49-F238E27FC236}">
                  <a16:creationId xmlns:a16="http://schemas.microsoft.com/office/drawing/2014/main" id="{2756E9AF-9F46-4E30-9B1D-2CB5A5B9C89A}"/>
                </a:ext>
              </a:extLst>
            </p:cNvPr>
            <p:cNvSpPr>
              <a:spLocks noEditPoints="1"/>
            </p:cNvSpPr>
            <p:nvPr/>
          </p:nvSpPr>
          <p:spPr bwMode="auto">
            <a:xfrm>
              <a:off x="7061614" y="3420258"/>
              <a:ext cx="128833" cy="65212"/>
            </a:xfrm>
            <a:custGeom>
              <a:avLst/>
              <a:gdLst>
                <a:gd name="T0" fmla="*/ 49 w 66"/>
                <a:gd name="T1" fmla="*/ 10 h 34"/>
                <a:gd name="T2" fmla="*/ 51 w 66"/>
                <a:gd name="T3" fmla="*/ 8 h 34"/>
                <a:gd name="T4" fmla="*/ 52 w 66"/>
                <a:gd name="T5" fmla="*/ 7 h 34"/>
                <a:gd name="T6" fmla="*/ 55 w 66"/>
                <a:gd name="T7" fmla="*/ 2 h 34"/>
                <a:gd name="T8" fmla="*/ 55 w 66"/>
                <a:gd name="T9" fmla="*/ 1 h 34"/>
                <a:gd name="T10" fmla="*/ 53 w 66"/>
                <a:gd name="T11" fmla="*/ 1 h 34"/>
                <a:gd name="T12" fmla="*/ 50 w 66"/>
                <a:gd name="T13" fmla="*/ 6 h 34"/>
                <a:gd name="T14" fmla="*/ 49 w 66"/>
                <a:gd name="T15" fmla="*/ 8 h 34"/>
                <a:gd name="T16" fmla="*/ 47 w 66"/>
                <a:gd name="T17" fmla="*/ 9 h 34"/>
                <a:gd name="T18" fmla="*/ 33 w 66"/>
                <a:gd name="T19" fmla="*/ 7 h 34"/>
                <a:gd name="T20" fmla="*/ 19 w 66"/>
                <a:gd name="T21" fmla="*/ 9 h 34"/>
                <a:gd name="T22" fmla="*/ 18 w 66"/>
                <a:gd name="T23" fmla="*/ 8 h 34"/>
                <a:gd name="T24" fmla="*/ 16 w 66"/>
                <a:gd name="T25" fmla="*/ 6 h 34"/>
                <a:gd name="T26" fmla="*/ 13 w 66"/>
                <a:gd name="T27" fmla="*/ 1 h 34"/>
                <a:gd name="T28" fmla="*/ 12 w 66"/>
                <a:gd name="T29" fmla="*/ 1 h 34"/>
                <a:gd name="T30" fmla="*/ 11 w 66"/>
                <a:gd name="T31" fmla="*/ 2 h 34"/>
                <a:gd name="T32" fmla="*/ 14 w 66"/>
                <a:gd name="T33" fmla="*/ 7 h 34"/>
                <a:gd name="T34" fmla="*/ 16 w 66"/>
                <a:gd name="T35" fmla="*/ 8 h 34"/>
                <a:gd name="T36" fmla="*/ 17 w 66"/>
                <a:gd name="T37" fmla="*/ 10 h 34"/>
                <a:gd name="T38" fmla="*/ 0 w 66"/>
                <a:gd name="T39" fmla="*/ 34 h 34"/>
                <a:gd name="T40" fmla="*/ 66 w 66"/>
                <a:gd name="T41" fmla="*/ 34 h 34"/>
                <a:gd name="T42" fmla="*/ 49 w 66"/>
                <a:gd name="T43" fmla="*/ 10 h 34"/>
                <a:gd name="T44" fmla="*/ 19 w 66"/>
                <a:gd name="T45" fmla="*/ 24 h 34"/>
                <a:gd name="T46" fmla="*/ 15 w 66"/>
                <a:gd name="T47" fmla="*/ 21 h 34"/>
                <a:gd name="T48" fmla="*/ 19 w 66"/>
                <a:gd name="T49" fmla="*/ 17 h 34"/>
                <a:gd name="T50" fmla="*/ 23 w 66"/>
                <a:gd name="T51" fmla="*/ 21 h 34"/>
                <a:gd name="T52" fmla="*/ 19 w 66"/>
                <a:gd name="T53" fmla="*/ 24 h 34"/>
                <a:gd name="T54" fmla="*/ 47 w 66"/>
                <a:gd name="T55" fmla="*/ 24 h 34"/>
                <a:gd name="T56" fmla="*/ 44 w 66"/>
                <a:gd name="T57" fmla="*/ 21 h 34"/>
                <a:gd name="T58" fmla="*/ 47 w 66"/>
                <a:gd name="T59" fmla="*/ 17 h 34"/>
                <a:gd name="T60" fmla="*/ 51 w 66"/>
                <a:gd name="T61" fmla="*/ 21 h 34"/>
                <a:gd name="T62" fmla="*/ 47 w 66"/>
                <a:gd name="T63" fmla="*/ 2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6" h="34">
                  <a:moveTo>
                    <a:pt x="49" y="10"/>
                  </a:moveTo>
                  <a:cubicBezTo>
                    <a:pt x="51" y="8"/>
                    <a:pt x="51" y="8"/>
                    <a:pt x="51" y="8"/>
                  </a:cubicBezTo>
                  <a:cubicBezTo>
                    <a:pt x="52" y="7"/>
                    <a:pt x="52" y="7"/>
                    <a:pt x="52" y="7"/>
                  </a:cubicBezTo>
                  <a:cubicBezTo>
                    <a:pt x="55" y="2"/>
                    <a:pt x="55" y="2"/>
                    <a:pt x="55" y="2"/>
                  </a:cubicBezTo>
                  <a:cubicBezTo>
                    <a:pt x="55" y="2"/>
                    <a:pt x="55" y="1"/>
                    <a:pt x="55" y="1"/>
                  </a:cubicBezTo>
                  <a:cubicBezTo>
                    <a:pt x="54" y="0"/>
                    <a:pt x="53" y="0"/>
                    <a:pt x="53" y="1"/>
                  </a:cubicBezTo>
                  <a:cubicBezTo>
                    <a:pt x="50" y="6"/>
                    <a:pt x="50" y="6"/>
                    <a:pt x="50" y="6"/>
                  </a:cubicBezTo>
                  <a:cubicBezTo>
                    <a:pt x="49" y="8"/>
                    <a:pt x="49" y="8"/>
                    <a:pt x="49" y="8"/>
                  </a:cubicBezTo>
                  <a:cubicBezTo>
                    <a:pt x="47" y="9"/>
                    <a:pt x="47" y="9"/>
                    <a:pt x="47" y="9"/>
                  </a:cubicBezTo>
                  <a:cubicBezTo>
                    <a:pt x="43" y="8"/>
                    <a:pt x="38" y="7"/>
                    <a:pt x="33" y="7"/>
                  </a:cubicBezTo>
                  <a:cubicBezTo>
                    <a:pt x="28" y="7"/>
                    <a:pt x="23" y="8"/>
                    <a:pt x="19" y="9"/>
                  </a:cubicBezTo>
                  <a:cubicBezTo>
                    <a:pt x="18" y="8"/>
                    <a:pt x="18" y="8"/>
                    <a:pt x="18" y="8"/>
                  </a:cubicBezTo>
                  <a:cubicBezTo>
                    <a:pt x="16" y="6"/>
                    <a:pt x="16" y="6"/>
                    <a:pt x="16" y="6"/>
                  </a:cubicBezTo>
                  <a:cubicBezTo>
                    <a:pt x="13" y="1"/>
                    <a:pt x="13" y="1"/>
                    <a:pt x="13" y="1"/>
                  </a:cubicBezTo>
                  <a:cubicBezTo>
                    <a:pt x="13" y="0"/>
                    <a:pt x="12" y="0"/>
                    <a:pt x="12" y="1"/>
                  </a:cubicBezTo>
                  <a:cubicBezTo>
                    <a:pt x="11" y="1"/>
                    <a:pt x="11" y="2"/>
                    <a:pt x="11" y="2"/>
                  </a:cubicBezTo>
                  <a:cubicBezTo>
                    <a:pt x="14" y="7"/>
                    <a:pt x="14" y="7"/>
                    <a:pt x="14" y="7"/>
                  </a:cubicBezTo>
                  <a:cubicBezTo>
                    <a:pt x="16" y="8"/>
                    <a:pt x="16" y="8"/>
                    <a:pt x="16" y="8"/>
                  </a:cubicBezTo>
                  <a:cubicBezTo>
                    <a:pt x="17" y="10"/>
                    <a:pt x="17" y="10"/>
                    <a:pt x="17" y="10"/>
                  </a:cubicBezTo>
                  <a:cubicBezTo>
                    <a:pt x="7" y="15"/>
                    <a:pt x="0" y="24"/>
                    <a:pt x="0" y="34"/>
                  </a:cubicBezTo>
                  <a:cubicBezTo>
                    <a:pt x="66" y="34"/>
                    <a:pt x="66" y="34"/>
                    <a:pt x="66" y="34"/>
                  </a:cubicBezTo>
                  <a:cubicBezTo>
                    <a:pt x="66" y="24"/>
                    <a:pt x="59" y="15"/>
                    <a:pt x="49" y="10"/>
                  </a:cubicBezTo>
                  <a:moveTo>
                    <a:pt x="19" y="24"/>
                  </a:moveTo>
                  <a:cubicBezTo>
                    <a:pt x="17" y="24"/>
                    <a:pt x="15" y="23"/>
                    <a:pt x="15" y="21"/>
                  </a:cubicBezTo>
                  <a:cubicBezTo>
                    <a:pt x="15" y="19"/>
                    <a:pt x="17" y="17"/>
                    <a:pt x="19" y="17"/>
                  </a:cubicBezTo>
                  <a:cubicBezTo>
                    <a:pt x="21" y="17"/>
                    <a:pt x="23" y="19"/>
                    <a:pt x="23" y="21"/>
                  </a:cubicBezTo>
                  <a:cubicBezTo>
                    <a:pt x="23" y="23"/>
                    <a:pt x="21" y="24"/>
                    <a:pt x="19" y="24"/>
                  </a:cubicBezTo>
                  <a:moveTo>
                    <a:pt x="47" y="24"/>
                  </a:moveTo>
                  <a:cubicBezTo>
                    <a:pt x="45" y="24"/>
                    <a:pt x="44" y="23"/>
                    <a:pt x="44" y="21"/>
                  </a:cubicBezTo>
                  <a:cubicBezTo>
                    <a:pt x="44" y="19"/>
                    <a:pt x="45" y="17"/>
                    <a:pt x="47" y="17"/>
                  </a:cubicBezTo>
                  <a:cubicBezTo>
                    <a:pt x="49" y="17"/>
                    <a:pt x="51" y="19"/>
                    <a:pt x="51" y="21"/>
                  </a:cubicBezTo>
                  <a:cubicBezTo>
                    <a:pt x="51" y="23"/>
                    <a:pt x="49" y="24"/>
                    <a:pt x="47" y="24"/>
                  </a:cubicBezTo>
                </a:path>
              </a:pathLst>
            </a:custGeom>
            <a:solidFill>
              <a:srgbClr val="CCCCC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47" name="Freeform 253">
              <a:extLst>
                <a:ext uri="{FF2B5EF4-FFF2-40B4-BE49-F238E27FC236}">
                  <a16:creationId xmlns:a16="http://schemas.microsoft.com/office/drawing/2014/main" id="{50A3D0AA-608A-4FA3-807D-E12EE16F4831}"/>
                </a:ext>
              </a:extLst>
            </p:cNvPr>
            <p:cNvSpPr>
              <a:spLocks/>
            </p:cNvSpPr>
            <p:nvPr/>
          </p:nvSpPr>
          <p:spPr bwMode="auto">
            <a:xfrm>
              <a:off x="7061614" y="3493422"/>
              <a:ext cx="128833" cy="160643"/>
            </a:xfrm>
            <a:custGeom>
              <a:avLst/>
              <a:gdLst>
                <a:gd name="T0" fmla="*/ 66 w 66"/>
                <a:gd name="T1" fmla="*/ 51 h 82"/>
                <a:gd name="T2" fmla="*/ 66 w 66"/>
                <a:gd name="T3" fmla="*/ 11 h 82"/>
                <a:gd name="T4" fmla="*/ 66 w 66"/>
                <a:gd name="T5" fmla="*/ 6 h 82"/>
                <a:gd name="T6" fmla="*/ 66 w 66"/>
                <a:gd name="T7" fmla="*/ 0 h 82"/>
                <a:gd name="T8" fmla="*/ 66 w 66"/>
                <a:gd name="T9" fmla="*/ 0 h 82"/>
                <a:gd name="T10" fmla="*/ 1 w 66"/>
                <a:gd name="T11" fmla="*/ 0 h 82"/>
                <a:gd name="T12" fmla="*/ 0 w 66"/>
                <a:gd name="T13" fmla="*/ 0 h 82"/>
                <a:gd name="T14" fmla="*/ 0 w 66"/>
                <a:gd name="T15" fmla="*/ 6 h 82"/>
                <a:gd name="T16" fmla="*/ 0 w 66"/>
                <a:gd name="T17" fmla="*/ 11 h 82"/>
                <a:gd name="T18" fmla="*/ 0 w 66"/>
                <a:gd name="T19" fmla="*/ 51 h 82"/>
                <a:gd name="T20" fmla="*/ 8 w 66"/>
                <a:gd name="T21" fmla="*/ 59 h 82"/>
                <a:gd name="T22" fmla="*/ 13 w 66"/>
                <a:gd name="T23" fmla="*/ 59 h 82"/>
                <a:gd name="T24" fmla="*/ 13 w 66"/>
                <a:gd name="T25" fmla="*/ 61 h 82"/>
                <a:gd name="T26" fmla="*/ 13 w 66"/>
                <a:gd name="T27" fmla="*/ 61 h 82"/>
                <a:gd name="T28" fmla="*/ 13 w 66"/>
                <a:gd name="T29" fmla="*/ 63 h 82"/>
                <a:gd name="T30" fmla="*/ 13 w 66"/>
                <a:gd name="T31" fmla="*/ 75 h 82"/>
                <a:gd name="T32" fmla="*/ 20 w 66"/>
                <a:gd name="T33" fmla="*/ 82 h 82"/>
                <a:gd name="T34" fmla="*/ 27 w 66"/>
                <a:gd name="T35" fmla="*/ 75 h 82"/>
                <a:gd name="T36" fmla="*/ 27 w 66"/>
                <a:gd name="T37" fmla="*/ 63 h 82"/>
                <a:gd name="T38" fmla="*/ 27 w 66"/>
                <a:gd name="T39" fmla="*/ 61 h 82"/>
                <a:gd name="T40" fmla="*/ 27 w 66"/>
                <a:gd name="T41" fmla="*/ 61 h 82"/>
                <a:gd name="T42" fmla="*/ 27 w 66"/>
                <a:gd name="T43" fmla="*/ 59 h 82"/>
                <a:gd name="T44" fmla="*/ 40 w 66"/>
                <a:gd name="T45" fmla="*/ 59 h 82"/>
                <a:gd name="T46" fmla="*/ 39 w 66"/>
                <a:gd name="T47" fmla="*/ 61 h 82"/>
                <a:gd name="T48" fmla="*/ 39 w 66"/>
                <a:gd name="T49" fmla="*/ 61 h 82"/>
                <a:gd name="T50" fmla="*/ 39 w 66"/>
                <a:gd name="T51" fmla="*/ 63 h 82"/>
                <a:gd name="T52" fmla="*/ 39 w 66"/>
                <a:gd name="T53" fmla="*/ 75 h 82"/>
                <a:gd name="T54" fmla="*/ 47 w 66"/>
                <a:gd name="T55" fmla="*/ 82 h 82"/>
                <a:gd name="T56" fmla="*/ 54 w 66"/>
                <a:gd name="T57" fmla="*/ 75 h 82"/>
                <a:gd name="T58" fmla="*/ 54 w 66"/>
                <a:gd name="T59" fmla="*/ 63 h 82"/>
                <a:gd name="T60" fmla="*/ 54 w 66"/>
                <a:gd name="T61" fmla="*/ 61 h 82"/>
                <a:gd name="T62" fmla="*/ 54 w 66"/>
                <a:gd name="T63" fmla="*/ 61 h 82"/>
                <a:gd name="T64" fmla="*/ 53 w 66"/>
                <a:gd name="T65" fmla="*/ 59 h 82"/>
                <a:gd name="T66" fmla="*/ 59 w 66"/>
                <a:gd name="T67" fmla="*/ 59 h 82"/>
                <a:gd name="T68" fmla="*/ 66 w 66"/>
                <a:gd name="T69" fmla="*/ 51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6" h="82">
                  <a:moveTo>
                    <a:pt x="66" y="51"/>
                  </a:moveTo>
                  <a:cubicBezTo>
                    <a:pt x="66" y="11"/>
                    <a:pt x="66" y="11"/>
                    <a:pt x="66" y="11"/>
                  </a:cubicBezTo>
                  <a:cubicBezTo>
                    <a:pt x="66" y="6"/>
                    <a:pt x="66" y="6"/>
                    <a:pt x="66" y="6"/>
                  </a:cubicBezTo>
                  <a:cubicBezTo>
                    <a:pt x="66" y="0"/>
                    <a:pt x="66" y="0"/>
                    <a:pt x="66" y="0"/>
                  </a:cubicBezTo>
                  <a:cubicBezTo>
                    <a:pt x="66" y="0"/>
                    <a:pt x="66" y="0"/>
                    <a:pt x="66" y="0"/>
                  </a:cubicBezTo>
                  <a:cubicBezTo>
                    <a:pt x="1" y="0"/>
                    <a:pt x="1" y="0"/>
                    <a:pt x="1" y="0"/>
                  </a:cubicBezTo>
                  <a:cubicBezTo>
                    <a:pt x="0" y="0"/>
                    <a:pt x="0" y="0"/>
                    <a:pt x="0" y="0"/>
                  </a:cubicBezTo>
                  <a:cubicBezTo>
                    <a:pt x="0" y="6"/>
                    <a:pt x="0" y="6"/>
                    <a:pt x="0" y="6"/>
                  </a:cubicBezTo>
                  <a:cubicBezTo>
                    <a:pt x="0" y="11"/>
                    <a:pt x="0" y="11"/>
                    <a:pt x="0" y="11"/>
                  </a:cubicBezTo>
                  <a:cubicBezTo>
                    <a:pt x="0" y="51"/>
                    <a:pt x="0" y="51"/>
                    <a:pt x="0" y="51"/>
                  </a:cubicBezTo>
                  <a:cubicBezTo>
                    <a:pt x="0" y="55"/>
                    <a:pt x="3" y="59"/>
                    <a:pt x="8" y="59"/>
                  </a:cubicBezTo>
                  <a:cubicBezTo>
                    <a:pt x="13" y="59"/>
                    <a:pt x="13" y="59"/>
                    <a:pt x="13" y="59"/>
                  </a:cubicBezTo>
                  <a:cubicBezTo>
                    <a:pt x="13" y="59"/>
                    <a:pt x="13" y="60"/>
                    <a:pt x="13" y="61"/>
                  </a:cubicBezTo>
                  <a:cubicBezTo>
                    <a:pt x="13" y="61"/>
                    <a:pt x="13" y="61"/>
                    <a:pt x="13" y="61"/>
                  </a:cubicBezTo>
                  <a:cubicBezTo>
                    <a:pt x="13" y="63"/>
                    <a:pt x="13" y="63"/>
                    <a:pt x="13" y="63"/>
                  </a:cubicBezTo>
                  <a:cubicBezTo>
                    <a:pt x="13" y="75"/>
                    <a:pt x="13" y="75"/>
                    <a:pt x="13" y="75"/>
                  </a:cubicBezTo>
                  <a:cubicBezTo>
                    <a:pt x="13" y="79"/>
                    <a:pt x="16" y="82"/>
                    <a:pt x="20" y="82"/>
                  </a:cubicBezTo>
                  <a:cubicBezTo>
                    <a:pt x="24" y="82"/>
                    <a:pt x="27" y="79"/>
                    <a:pt x="27" y="75"/>
                  </a:cubicBezTo>
                  <a:cubicBezTo>
                    <a:pt x="27" y="63"/>
                    <a:pt x="27" y="63"/>
                    <a:pt x="27" y="63"/>
                  </a:cubicBezTo>
                  <a:cubicBezTo>
                    <a:pt x="27" y="61"/>
                    <a:pt x="27" y="61"/>
                    <a:pt x="27" y="61"/>
                  </a:cubicBezTo>
                  <a:cubicBezTo>
                    <a:pt x="27" y="61"/>
                    <a:pt x="27" y="61"/>
                    <a:pt x="27" y="61"/>
                  </a:cubicBezTo>
                  <a:cubicBezTo>
                    <a:pt x="27" y="60"/>
                    <a:pt x="27" y="59"/>
                    <a:pt x="27" y="59"/>
                  </a:cubicBezTo>
                  <a:cubicBezTo>
                    <a:pt x="40" y="59"/>
                    <a:pt x="40" y="59"/>
                    <a:pt x="40" y="59"/>
                  </a:cubicBezTo>
                  <a:cubicBezTo>
                    <a:pt x="40" y="59"/>
                    <a:pt x="39" y="60"/>
                    <a:pt x="39" y="61"/>
                  </a:cubicBezTo>
                  <a:cubicBezTo>
                    <a:pt x="39" y="61"/>
                    <a:pt x="39" y="61"/>
                    <a:pt x="39" y="61"/>
                  </a:cubicBezTo>
                  <a:cubicBezTo>
                    <a:pt x="39" y="63"/>
                    <a:pt x="39" y="63"/>
                    <a:pt x="39" y="63"/>
                  </a:cubicBezTo>
                  <a:cubicBezTo>
                    <a:pt x="39" y="75"/>
                    <a:pt x="39" y="75"/>
                    <a:pt x="39" y="75"/>
                  </a:cubicBezTo>
                  <a:cubicBezTo>
                    <a:pt x="39" y="79"/>
                    <a:pt x="43" y="82"/>
                    <a:pt x="47" y="82"/>
                  </a:cubicBezTo>
                  <a:cubicBezTo>
                    <a:pt x="50" y="82"/>
                    <a:pt x="54" y="79"/>
                    <a:pt x="54" y="75"/>
                  </a:cubicBezTo>
                  <a:cubicBezTo>
                    <a:pt x="54" y="63"/>
                    <a:pt x="54" y="63"/>
                    <a:pt x="54" y="63"/>
                  </a:cubicBezTo>
                  <a:cubicBezTo>
                    <a:pt x="54" y="61"/>
                    <a:pt x="54" y="61"/>
                    <a:pt x="54" y="61"/>
                  </a:cubicBezTo>
                  <a:cubicBezTo>
                    <a:pt x="54" y="61"/>
                    <a:pt x="54" y="61"/>
                    <a:pt x="54" y="61"/>
                  </a:cubicBezTo>
                  <a:cubicBezTo>
                    <a:pt x="54" y="60"/>
                    <a:pt x="54" y="59"/>
                    <a:pt x="53" y="59"/>
                  </a:cubicBezTo>
                  <a:cubicBezTo>
                    <a:pt x="59" y="59"/>
                    <a:pt x="59" y="59"/>
                    <a:pt x="59" y="59"/>
                  </a:cubicBezTo>
                  <a:cubicBezTo>
                    <a:pt x="63" y="59"/>
                    <a:pt x="66" y="55"/>
                    <a:pt x="66" y="51"/>
                  </a:cubicBezTo>
                </a:path>
              </a:pathLst>
            </a:custGeom>
            <a:solidFill>
              <a:srgbClr val="CCCCC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48" name="Freeform 254">
              <a:extLst>
                <a:ext uri="{FF2B5EF4-FFF2-40B4-BE49-F238E27FC236}">
                  <a16:creationId xmlns:a16="http://schemas.microsoft.com/office/drawing/2014/main" id="{7AF4136E-7D33-48DC-9105-644C246F35AA}"/>
                </a:ext>
              </a:extLst>
            </p:cNvPr>
            <p:cNvSpPr>
              <a:spLocks/>
            </p:cNvSpPr>
            <p:nvPr/>
          </p:nvSpPr>
          <p:spPr bwMode="auto">
            <a:xfrm>
              <a:off x="7025031" y="3493422"/>
              <a:ext cx="27039" cy="85888"/>
            </a:xfrm>
            <a:custGeom>
              <a:avLst/>
              <a:gdLst>
                <a:gd name="T0" fmla="*/ 0 w 14"/>
                <a:gd name="T1" fmla="*/ 7 h 44"/>
                <a:gd name="T2" fmla="*/ 0 w 14"/>
                <a:gd name="T3" fmla="*/ 37 h 44"/>
                <a:gd name="T4" fmla="*/ 7 w 14"/>
                <a:gd name="T5" fmla="*/ 44 h 44"/>
                <a:gd name="T6" fmla="*/ 14 w 14"/>
                <a:gd name="T7" fmla="*/ 37 h 44"/>
                <a:gd name="T8" fmla="*/ 14 w 14"/>
                <a:gd name="T9" fmla="*/ 7 h 44"/>
                <a:gd name="T10" fmla="*/ 7 w 14"/>
                <a:gd name="T11" fmla="*/ 0 h 44"/>
                <a:gd name="T12" fmla="*/ 0 w 14"/>
                <a:gd name="T13" fmla="*/ 7 h 44"/>
              </a:gdLst>
              <a:ahLst/>
              <a:cxnLst>
                <a:cxn ang="0">
                  <a:pos x="T0" y="T1"/>
                </a:cxn>
                <a:cxn ang="0">
                  <a:pos x="T2" y="T3"/>
                </a:cxn>
                <a:cxn ang="0">
                  <a:pos x="T4" y="T5"/>
                </a:cxn>
                <a:cxn ang="0">
                  <a:pos x="T6" y="T7"/>
                </a:cxn>
                <a:cxn ang="0">
                  <a:pos x="T8" y="T9"/>
                </a:cxn>
                <a:cxn ang="0">
                  <a:pos x="T10" y="T11"/>
                </a:cxn>
                <a:cxn ang="0">
                  <a:pos x="T12" y="T13"/>
                </a:cxn>
              </a:cxnLst>
              <a:rect l="0" t="0" r="r" b="b"/>
              <a:pathLst>
                <a:path w="14" h="44">
                  <a:moveTo>
                    <a:pt x="0" y="7"/>
                  </a:moveTo>
                  <a:cubicBezTo>
                    <a:pt x="0" y="37"/>
                    <a:pt x="0" y="37"/>
                    <a:pt x="0" y="37"/>
                  </a:cubicBezTo>
                  <a:cubicBezTo>
                    <a:pt x="0" y="41"/>
                    <a:pt x="3" y="44"/>
                    <a:pt x="7" y="44"/>
                  </a:cubicBezTo>
                  <a:cubicBezTo>
                    <a:pt x="11" y="44"/>
                    <a:pt x="14" y="41"/>
                    <a:pt x="14" y="37"/>
                  </a:cubicBezTo>
                  <a:cubicBezTo>
                    <a:pt x="14" y="7"/>
                    <a:pt x="14" y="7"/>
                    <a:pt x="14" y="7"/>
                  </a:cubicBezTo>
                  <a:cubicBezTo>
                    <a:pt x="14" y="3"/>
                    <a:pt x="11" y="0"/>
                    <a:pt x="7" y="0"/>
                  </a:cubicBezTo>
                  <a:cubicBezTo>
                    <a:pt x="3" y="0"/>
                    <a:pt x="0" y="3"/>
                    <a:pt x="0" y="7"/>
                  </a:cubicBezTo>
                </a:path>
              </a:pathLst>
            </a:custGeom>
            <a:solidFill>
              <a:srgbClr val="CCCCC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49" name="Freeform 255">
              <a:extLst>
                <a:ext uri="{FF2B5EF4-FFF2-40B4-BE49-F238E27FC236}">
                  <a16:creationId xmlns:a16="http://schemas.microsoft.com/office/drawing/2014/main" id="{FF281D4D-5036-4C38-B4C0-81BCD03B3BF9}"/>
                </a:ext>
              </a:extLst>
            </p:cNvPr>
            <p:cNvSpPr>
              <a:spLocks/>
            </p:cNvSpPr>
            <p:nvPr/>
          </p:nvSpPr>
          <p:spPr bwMode="auto">
            <a:xfrm>
              <a:off x="7199989" y="3493422"/>
              <a:ext cx="28629" cy="85888"/>
            </a:xfrm>
            <a:custGeom>
              <a:avLst/>
              <a:gdLst>
                <a:gd name="T0" fmla="*/ 0 w 14"/>
                <a:gd name="T1" fmla="*/ 7 h 44"/>
                <a:gd name="T2" fmla="*/ 0 w 14"/>
                <a:gd name="T3" fmla="*/ 37 h 44"/>
                <a:gd name="T4" fmla="*/ 7 w 14"/>
                <a:gd name="T5" fmla="*/ 44 h 44"/>
                <a:gd name="T6" fmla="*/ 14 w 14"/>
                <a:gd name="T7" fmla="*/ 37 h 44"/>
                <a:gd name="T8" fmla="*/ 14 w 14"/>
                <a:gd name="T9" fmla="*/ 7 h 44"/>
                <a:gd name="T10" fmla="*/ 7 w 14"/>
                <a:gd name="T11" fmla="*/ 0 h 44"/>
                <a:gd name="T12" fmla="*/ 0 w 14"/>
                <a:gd name="T13" fmla="*/ 7 h 44"/>
              </a:gdLst>
              <a:ahLst/>
              <a:cxnLst>
                <a:cxn ang="0">
                  <a:pos x="T0" y="T1"/>
                </a:cxn>
                <a:cxn ang="0">
                  <a:pos x="T2" y="T3"/>
                </a:cxn>
                <a:cxn ang="0">
                  <a:pos x="T4" y="T5"/>
                </a:cxn>
                <a:cxn ang="0">
                  <a:pos x="T6" y="T7"/>
                </a:cxn>
                <a:cxn ang="0">
                  <a:pos x="T8" y="T9"/>
                </a:cxn>
                <a:cxn ang="0">
                  <a:pos x="T10" y="T11"/>
                </a:cxn>
                <a:cxn ang="0">
                  <a:pos x="T12" y="T13"/>
                </a:cxn>
              </a:cxnLst>
              <a:rect l="0" t="0" r="r" b="b"/>
              <a:pathLst>
                <a:path w="14" h="44">
                  <a:moveTo>
                    <a:pt x="0" y="7"/>
                  </a:moveTo>
                  <a:cubicBezTo>
                    <a:pt x="0" y="37"/>
                    <a:pt x="0" y="37"/>
                    <a:pt x="0" y="37"/>
                  </a:cubicBezTo>
                  <a:cubicBezTo>
                    <a:pt x="0" y="41"/>
                    <a:pt x="3" y="44"/>
                    <a:pt x="7" y="44"/>
                  </a:cubicBezTo>
                  <a:cubicBezTo>
                    <a:pt x="11" y="44"/>
                    <a:pt x="14" y="41"/>
                    <a:pt x="14" y="37"/>
                  </a:cubicBezTo>
                  <a:cubicBezTo>
                    <a:pt x="14" y="7"/>
                    <a:pt x="14" y="7"/>
                    <a:pt x="14" y="7"/>
                  </a:cubicBezTo>
                  <a:cubicBezTo>
                    <a:pt x="14" y="3"/>
                    <a:pt x="11" y="0"/>
                    <a:pt x="7" y="0"/>
                  </a:cubicBezTo>
                  <a:cubicBezTo>
                    <a:pt x="3" y="0"/>
                    <a:pt x="0" y="3"/>
                    <a:pt x="0" y="7"/>
                  </a:cubicBezTo>
                </a:path>
              </a:pathLst>
            </a:custGeom>
            <a:solidFill>
              <a:srgbClr val="CCCCC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50" name="Freeform 256">
              <a:extLst>
                <a:ext uri="{FF2B5EF4-FFF2-40B4-BE49-F238E27FC236}">
                  <a16:creationId xmlns:a16="http://schemas.microsoft.com/office/drawing/2014/main" id="{CA440DA4-19DF-4277-867A-3287FC14621B}"/>
                </a:ext>
              </a:extLst>
            </p:cNvPr>
            <p:cNvSpPr>
              <a:spLocks noEditPoints="1"/>
            </p:cNvSpPr>
            <p:nvPr/>
          </p:nvSpPr>
          <p:spPr bwMode="auto">
            <a:xfrm>
              <a:off x="6331564" y="1362122"/>
              <a:ext cx="240170" cy="236989"/>
            </a:xfrm>
            <a:custGeom>
              <a:avLst/>
              <a:gdLst>
                <a:gd name="T0" fmla="*/ 64 w 123"/>
                <a:gd name="T1" fmla="*/ 0 h 122"/>
                <a:gd name="T2" fmla="*/ 44 w 123"/>
                <a:gd name="T3" fmla="*/ 3 h 122"/>
                <a:gd name="T4" fmla="*/ 34 w 123"/>
                <a:gd name="T5" fmla="*/ 7 h 122"/>
                <a:gd name="T6" fmla="*/ 42 w 123"/>
                <a:gd name="T7" fmla="*/ 10 h 122"/>
                <a:gd name="T8" fmla="*/ 56 w 123"/>
                <a:gd name="T9" fmla="*/ 16 h 122"/>
                <a:gd name="T10" fmla="*/ 68 w 123"/>
                <a:gd name="T11" fmla="*/ 17 h 122"/>
                <a:gd name="T12" fmla="*/ 94 w 123"/>
                <a:gd name="T13" fmla="*/ 9 h 122"/>
                <a:gd name="T14" fmla="*/ 88 w 123"/>
                <a:gd name="T15" fmla="*/ 5 h 122"/>
                <a:gd name="T16" fmla="*/ 64 w 123"/>
                <a:gd name="T17" fmla="*/ 0 h 122"/>
                <a:gd name="T18" fmla="*/ 102 w 123"/>
                <a:gd name="T19" fmla="*/ 14 h 122"/>
                <a:gd name="T20" fmla="*/ 96 w 123"/>
                <a:gd name="T21" fmla="*/ 16 h 122"/>
                <a:gd name="T22" fmla="*/ 84 w 123"/>
                <a:gd name="T23" fmla="*/ 26 h 122"/>
                <a:gd name="T24" fmla="*/ 77 w 123"/>
                <a:gd name="T25" fmla="*/ 32 h 122"/>
                <a:gd name="T26" fmla="*/ 85 w 123"/>
                <a:gd name="T27" fmla="*/ 42 h 122"/>
                <a:gd name="T28" fmla="*/ 110 w 123"/>
                <a:gd name="T29" fmla="*/ 92 h 122"/>
                <a:gd name="T30" fmla="*/ 110 w 123"/>
                <a:gd name="T31" fmla="*/ 98 h 122"/>
                <a:gd name="T32" fmla="*/ 114 w 123"/>
                <a:gd name="T33" fmla="*/ 91 h 122"/>
                <a:gd name="T34" fmla="*/ 122 w 123"/>
                <a:gd name="T35" fmla="*/ 57 h 122"/>
                <a:gd name="T36" fmla="*/ 117 w 123"/>
                <a:gd name="T37" fmla="*/ 34 h 122"/>
                <a:gd name="T38" fmla="*/ 107 w 123"/>
                <a:gd name="T39" fmla="*/ 19 h 122"/>
                <a:gd name="T40" fmla="*/ 102 w 123"/>
                <a:gd name="T41" fmla="*/ 14 h 122"/>
                <a:gd name="T42" fmla="*/ 25 w 123"/>
                <a:gd name="T43" fmla="*/ 14 h 122"/>
                <a:gd name="T44" fmla="*/ 21 w 123"/>
                <a:gd name="T45" fmla="*/ 16 h 122"/>
                <a:gd name="T46" fmla="*/ 5 w 123"/>
                <a:gd name="T47" fmla="*/ 41 h 122"/>
                <a:gd name="T48" fmla="*/ 12 w 123"/>
                <a:gd name="T49" fmla="*/ 92 h 122"/>
                <a:gd name="T50" fmla="*/ 15 w 123"/>
                <a:gd name="T51" fmla="*/ 95 h 122"/>
                <a:gd name="T52" fmla="*/ 41 w 123"/>
                <a:gd name="T53" fmla="*/ 42 h 122"/>
                <a:gd name="T54" fmla="*/ 49 w 123"/>
                <a:gd name="T55" fmla="*/ 32 h 122"/>
                <a:gd name="T56" fmla="*/ 41 w 123"/>
                <a:gd name="T57" fmla="*/ 26 h 122"/>
                <a:gd name="T58" fmla="*/ 29 w 123"/>
                <a:gd name="T59" fmla="*/ 16 h 122"/>
                <a:gd name="T60" fmla="*/ 25 w 123"/>
                <a:gd name="T61" fmla="*/ 14 h 122"/>
                <a:gd name="T62" fmla="*/ 62 w 123"/>
                <a:gd name="T63" fmla="*/ 46 h 122"/>
                <a:gd name="T64" fmla="*/ 53 w 123"/>
                <a:gd name="T65" fmla="*/ 54 h 122"/>
                <a:gd name="T66" fmla="*/ 19 w 123"/>
                <a:gd name="T67" fmla="*/ 99 h 122"/>
                <a:gd name="T68" fmla="*/ 49 w 123"/>
                <a:gd name="T69" fmla="*/ 118 h 122"/>
                <a:gd name="T70" fmla="*/ 98 w 123"/>
                <a:gd name="T71" fmla="*/ 108 h 122"/>
                <a:gd name="T72" fmla="*/ 101 w 123"/>
                <a:gd name="T73" fmla="*/ 85 h 122"/>
                <a:gd name="T74" fmla="*/ 67 w 123"/>
                <a:gd name="T75" fmla="*/ 49 h 122"/>
                <a:gd name="T76" fmla="*/ 62 w 123"/>
                <a:gd name="T77" fmla="*/ 46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3" h="122">
                  <a:moveTo>
                    <a:pt x="64" y="0"/>
                  </a:moveTo>
                  <a:cubicBezTo>
                    <a:pt x="57" y="0"/>
                    <a:pt x="50" y="1"/>
                    <a:pt x="44" y="3"/>
                  </a:cubicBezTo>
                  <a:cubicBezTo>
                    <a:pt x="39" y="4"/>
                    <a:pt x="34" y="6"/>
                    <a:pt x="34" y="7"/>
                  </a:cubicBezTo>
                  <a:cubicBezTo>
                    <a:pt x="33" y="8"/>
                    <a:pt x="37" y="9"/>
                    <a:pt x="42" y="10"/>
                  </a:cubicBezTo>
                  <a:cubicBezTo>
                    <a:pt x="46" y="12"/>
                    <a:pt x="53" y="14"/>
                    <a:pt x="56" y="16"/>
                  </a:cubicBezTo>
                  <a:cubicBezTo>
                    <a:pt x="63" y="20"/>
                    <a:pt x="63" y="20"/>
                    <a:pt x="68" y="17"/>
                  </a:cubicBezTo>
                  <a:cubicBezTo>
                    <a:pt x="74" y="13"/>
                    <a:pt x="90" y="8"/>
                    <a:pt x="94" y="9"/>
                  </a:cubicBezTo>
                  <a:cubicBezTo>
                    <a:pt x="95" y="9"/>
                    <a:pt x="93" y="8"/>
                    <a:pt x="88" y="5"/>
                  </a:cubicBezTo>
                  <a:cubicBezTo>
                    <a:pt x="81" y="2"/>
                    <a:pt x="72" y="0"/>
                    <a:pt x="64" y="0"/>
                  </a:cubicBezTo>
                  <a:moveTo>
                    <a:pt x="102" y="14"/>
                  </a:moveTo>
                  <a:cubicBezTo>
                    <a:pt x="96" y="16"/>
                    <a:pt x="96" y="16"/>
                    <a:pt x="96" y="16"/>
                  </a:cubicBezTo>
                  <a:cubicBezTo>
                    <a:pt x="94" y="18"/>
                    <a:pt x="88" y="22"/>
                    <a:pt x="84" y="26"/>
                  </a:cubicBezTo>
                  <a:cubicBezTo>
                    <a:pt x="77" y="32"/>
                    <a:pt x="77" y="32"/>
                    <a:pt x="77" y="32"/>
                  </a:cubicBezTo>
                  <a:cubicBezTo>
                    <a:pt x="85" y="42"/>
                    <a:pt x="85" y="42"/>
                    <a:pt x="85" y="42"/>
                  </a:cubicBezTo>
                  <a:cubicBezTo>
                    <a:pt x="101" y="63"/>
                    <a:pt x="110" y="80"/>
                    <a:pt x="110" y="92"/>
                  </a:cubicBezTo>
                  <a:cubicBezTo>
                    <a:pt x="110" y="98"/>
                    <a:pt x="110" y="98"/>
                    <a:pt x="110" y="98"/>
                  </a:cubicBezTo>
                  <a:cubicBezTo>
                    <a:pt x="114" y="91"/>
                    <a:pt x="114" y="91"/>
                    <a:pt x="114" y="91"/>
                  </a:cubicBezTo>
                  <a:cubicBezTo>
                    <a:pt x="121" y="82"/>
                    <a:pt x="123" y="72"/>
                    <a:pt x="122" y="57"/>
                  </a:cubicBezTo>
                  <a:cubicBezTo>
                    <a:pt x="122" y="45"/>
                    <a:pt x="121" y="42"/>
                    <a:pt x="117" y="34"/>
                  </a:cubicBezTo>
                  <a:cubicBezTo>
                    <a:pt x="115" y="29"/>
                    <a:pt x="110" y="22"/>
                    <a:pt x="107" y="19"/>
                  </a:cubicBezTo>
                  <a:lnTo>
                    <a:pt x="102" y="14"/>
                  </a:lnTo>
                  <a:close/>
                  <a:moveTo>
                    <a:pt x="25" y="14"/>
                  </a:moveTo>
                  <a:cubicBezTo>
                    <a:pt x="24" y="14"/>
                    <a:pt x="23" y="15"/>
                    <a:pt x="21" y="16"/>
                  </a:cubicBezTo>
                  <a:cubicBezTo>
                    <a:pt x="17" y="19"/>
                    <a:pt x="9" y="31"/>
                    <a:pt x="5" y="41"/>
                  </a:cubicBezTo>
                  <a:cubicBezTo>
                    <a:pt x="0" y="56"/>
                    <a:pt x="3" y="78"/>
                    <a:pt x="12" y="92"/>
                  </a:cubicBezTo>
                  <a:cubicBezTo>
                    <a:pt x="16" y="98"/>
                    <a:pt x="16" y="98"/>
                    <a:pt x="15" y="95"/>
                  </a:cubicBezTo>
                  <a:cubicBezTo>
                    <a:pt x="13" y="87"/>
                    <a:pt x="25" y="62"/>
                    <a:pt x="41" y="42"/>
                  </a:cubicBezTo>
                  <a:cubicBezTo>
                    <a:pt x="49" y="32"/>
                    <a:pt x="49" y="32"/>
                    <a:pt x="49" y="32"/>
                  </a:cubicBezTo>
                  <a:cubicBezTo>
                    <a:pt x="41" y="26"/>
                    <a:pt x="41" y="26"/>
                    <a:pt x="41" y="26"/>
                  </a:cubicBezTo>
                  <a:cubicBezTo>
                    <a:pt x="37" y="22"/>
                    <a:pt x="32" y="18"/>
                    <a:pt x="29" y="16"/>
                  </a:cubicBezTo>
                  <a:cubicBezTo>
                    <a:pt x="27" y="15"/>
                    <a:pt x="26" y="14"/>
                    <a:pt x="25" y="14"/>
                  </a:cubicBezTo>
                  <a:moveTo>
                    <a:pt x="62" y="46"/>
                  </a:moveTo>
                  <a:cubicBezTo>
                    <a:pt x="53" y="54"/>
                    <a:pt x="53" y="54"/>
                    <a:pt x="53" y="54"/>
                  </a:cubicBezTo>
                  <a:cubicBezTo>
                    <a:pt x="35" y="70"/>
                    <a:pt x="19" y="91"/>
                    <a:pt x="19" y="99"/>
                  </a:cubicBezTo>
                  <a:cubicBezTo>
                    <a:pt x="19" y="104"/>
                    <a:pt x="35" y="115"/>
                    <a:pt x="49" y="118"/>
                  </a:cubicBezTo>
                  <a:cubicBezTo>
                    <a:pt x="64" y="122"/>
                    <a:pt x="85" y="118"/>
                    <a:pt x="98" y="108"/>
                  </a:cubicBezTo>
                  <a:cubicBezTo>
                    <a:pt x="109" y="101"/>
                    <a:pt x="109" y="98"/>
                    <a:pt x="101" y="85"/>
                  </a:cubicBezTo>
                  <a:cubicBezTo>
                    <a:pt x="96" y="77"/>
                    <a:pt x="74" y="54"/>
                    <a:pt x="67" y="49"/>
                  </a:cubicBezTo>
                  <a:lnTo>
                    <a:pt x="62" y="46"/>
                  </a:lnTo>
                  <a:close/>
                </a:path>
              </a:pathLst>
            </a:custGeom>
            <a:solidFill>
              <a:srgbClr val="CCCCC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51" name="Freeform 257">
              <a:extLst>
                <a:ext uri="{FF2B5EF4-FFF2-40B4-BE49-F238E27FC236}">
                  <a16:creationId xmlns:a16="http://schemas.microsoft.com/office/drawing/2014/main" id="{1FD06D50-2913-4FCB-A60A-825E73C5F817}"/>
                </a:ext>
              </a:extLst>
            </p:cNvPr>
            <p:cNvSpPr>
              <a:spLocks/>
            </p:cNvSpPr>
            <p:nvPr/>
          </p:nvSpPr>
          <p:spPr bwMode="auto">
            <a:xfrm>
              <a:off x="4177997" y="3347093"/>
              <a:ext cx="111336" cy="109747"/>
            </a:xfrm>
            <a:custGeom>
              <a:avLst/>
              <a:gdLst>
                <a:gd name="T0" fmla="*/ 43 w 57"/>
                <a:gd name="T1" fmla="*/ 25 h 56"/>
                <a:gd name="T2" fmla="*/ 37 w 57"/>
                <a:gd name="T3" fmla="*/ 26 h 56"/>
                <a:gd name="T4" fmla="*/ 11 w 57"/>
                <a:gd name="T5" fmla="*/ 0 h 56"/>
                <a:gd name="T6" fmla="*/ 2 w 57"/>
                <a:gd name="T7" fmla="*/ 2 h 56"/>
                <a:gd name="T8" fmla="*/ 0 w 57"/>
                <a:gd name="T9" fmla="*/ 4 h 56"/>
                <a:gd name="T10" fmla="*/ 0 w 57"/>
                <a:gd name="T11" fmla="*/ 54 h 56"/>
                <a:gd name="T12" fmla="*/ 2 w 57"/>
                <a:gd name="T13" fmla="*/ 56 h 56"/>
                <a:gd name="T14" fmla="*/ 43 w 57"/>
                <a:gd name="T15" fmla="*/ 56 h 56"/>
                <a:gd name="T16" fmla="*/ 57 w 57"/>
                <a:gd name="T17" fmla="*/ 40 h 56"/>
                <a:gd name="T18" fmla="*/ 43 w 57"/>
                <a:gd name="T19" fmla="*/ 25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56">
                  <a:moveTo>
                    <a:pt x="43" y="25"/>
                  </a:moveTo>
                  <a:cubicBezTo>
                    <a:pt x="41" y="25"/>
                    <a:pt x="39" y="25"/>
                    <a:pt x="37" y="26"/>
                  </a:cubicBezTo>
                  <a:cubicBezTo>
                    <a:pt x="36" y="12"/>
                    <a:pt x="25" y="0"/>
                    <a:pt x="11" y="0"/>
                  </a:cubicBezTo>
                  <a:cubicBezTo>
                    <a:pt x="8" y="0"/>
                    <a:pt x="4" y="1"/>
                    <a:pt x="2" y="2"/>
                  </a:cubicBezTo>
                  <a:cubicBezTo>
                    <a:pt x="0" y="3"/>
                    <a:pt x="0" y="3"/>
                    <a:pt x="0" y="4"/>
                  </a:cubicBezTo>
                  <a:cubicBezTo>
                    <a:pt x="0" y="54"/>
                    <a:pt x="0" y="54"/>
                    <a:pt x="0" y="54"/>
                  </a:cubicBezTo>
                  <a:cubicBezTo>
                    <a:pt x="0" y="55"/>
                    <a:pt x="1" y="56"/>
                    <a:pt x="2" y="56"/>
                  </a:cubicBezTo>
                  <a:cubicBezTo>
                    <a:pt x="2" y="56"/>
                    <a:pt x="42" y="56"/>
                    <a:pt x="43" y="56"/>
                  </a:cubicBezTo>
                  <a:cubicBezTo>
                    <a:pt x="51" y="56"/>
                    <a:pt x="57" y="49"/>
                    <a:pt x="57" y="40"/>
                  </a:cubicBezTo>
                  <a:cubicBezTo>
                    <a:pt x="57" y="32"/>
                    <a:pt x="51" y="25"/>
                    <a:pt x="43" y="25"/>
                  </a:cubicBezTo>
                </a:path>
              </a:pathLst>
            </a:custGeom>
            <a:solidFill>
              <a:srgbClr val="CCCCC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52" name="Freeform 258">
              <a:extLst>
                <a:ext uri="{FF2B5EF4-FFF2-40B4-BE49-F238E27FC236}">
                  <a16:creationId xmlns:a16="http://schemas.microsoft.com/office/drawing/2014/main" id="{6270B943-DF04-4A1D-8E99-4380A7EE0095}"/>
                </a:ext>
              </a:extLst>
            </p:cNvPr>
            <p:cNvSpPr>
              <a:spLocks/>
            </p:cNvSpPr>
            <p:nvPr/>
          </p:nvSpPr>
          <p:spPr bwMode="auto">
            <a:xfrm>
              <a:off x="4100062" y="3385266"/>
              <a:ext cx="7953" cy="71574"/>
            </a:xfrm>
            <a:custGeom>
              <a:avLst/>
              <a:gdLst>
                <a:gd name="T0" fmla="*/ 4 w 4"/>
                <a:gd name="T1" fmla="*/ 23 h 37"/>
                <a:gd name="T2" fmla="*/ 3 w 4"/>
                <a:gd name="T3" fmla="*/ 1 h 37"/>
                <a:gd name="T4" fmla="*/ 2 w 4"/>
                <a:gd name="T5" fmla="*/ 0 h 37"/>
                <a:gd name="T6" fmla="*/ 1 w 4"/>
                <a:gd name="T7" fmla="*/ 1 h 37"/>
                <a:gd name="T8" fmla="*/ 0 w 4"/>
                <a:gd name="T9" fmla="*/ 23 h 37"/>
                <a:gd name="T10" fmla="*/ 1 w 4"/>
                <a:gd name="T11" fmla="*/ 36 h 37"/>
                <a:gd name="T12" fmla="*/ 2 w 4"/>
                <a:gd name="T13" fmla="*/ 37 h 37"/>
                <a:gd name="T14" fmla="*/ 3 w 4"/>
                <a:gd name="T15" fmla="*/ 36 h 37"/>
                <a:gd name="T16" fmla="*/ 3 w 4"/>
                <a:gd name="T17" fmla="*/ 36 h 37"/>
                <a:gd name="T18" fmla="*/ 4 w 4"/>
                <a:gd name="T19" fmla="*/ 23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37">
                  <a:moveTo>
                    <a:pt x="4" y="23"/>
                  </a:moveTo>
                  <a:cubicBezTo>
                    <a:pt x="3" y="1"/>
                    <a:pt x="3" y="1"/>
                    <a:pt x="3" y="1"/>
                  </a:cubicBezTo>
                  <a:cubicBezTo>
                    <a:pt x="3" y="1"/>
                    <a:pt x="3" y="0"/>
                    <a:pt x="2" y="0"/>
                  </a:cubicBezTo>
                  <a:cubicBezTo>
                    <a:pt x="2" y="0"/>
                    <a:pt x="1" y="1"/>
                    <a:pt x="1" y="1"/>
                  </a:cubicBezTo>
                  <a:cubicBezTo>
                    <a:pt x="0" y="23"/>
                    <a:pt x="0" y="23"/>
                    <a:pt x="0" y="23"/>
                  </a:cubicBezTo>
                  <a:cubicBezTo>
                    <a:pt x="1" y="36"/>
                    <a:pt x="1" y="36"/>
                    <a:pt x="1" y="36"/>
                  </a:cubicBezTo>
                  <a:cubicBezTo>
                    <a:pt x="1" y="37"/>
                    <a:pt x="2" y="37"/>
                    <a:pt x="2" y="37"/>
                  </a:cubicBezTo>
                  <a:cubicBezTo>
                    <a:pt x="3" y="37"/>
                    <a:pt x="3" y="37"/>
                    <a:pt x="3" y="36"/>
                  </a:cubicBezTo>
                  <a:cubicBezTo>
                    <a:pt x="3" y="36"/>
                    <a:pt x="3" y="36"/>
                    <a:pt x="3" y="36"/>
                  </a:cubicBezTo>
                  <a:lnTo>
                    <a:pt x="4" y="23"/>
                  </a:lnTo>
                  <a:close/>
                </a:path>
              </a:pathLst>
            </a:custGeom>
            <a:solidFill>
              <a:srgbClr val="CCCCC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53" name="Freeform 259">
              <a:extLst>
                <a:ext uri="{FF2B5EF4-FFF2-40B4-BE49-F238E27FC236}">
                  <a16:creationId xmlns:a16="http://schemas.microsoft.com/office/drawing/2014/main" id="{CD12B5B4-4B65-400F-A8EC-A28F0AE5497A}"/>
                </a:ext>
              </a:extLst>
            </p:cNvPr>
            <p:cNvSpPr>
              <a:spLocks/>
            </p:cNvSpPr>
            <p:nvPr/>
          </p:nvSpPr>
          <p:spPr bwMode="auto">
            <a:xfrm>
              <a:off x="4093700" y="3402761"/>
              <a:ext cx="4772" cy="54078"/>
            </a:xfrm>
            <a:custGeom>
              <a:avLst/>
              <a:gdLst>
                <a:gd name="T0" fmla="*/ 3 w 3"/>
                <a:gd name="T1" fmla="*/ 14 h 28"/>
                <a:gd name="T2" fmla="*/ 2 w 3"/>
                <a:gd name="T3" fmla="*/ 0 h 28"/>
                <a:gd name="T4" fmla="*/ 1 w 3"/>
                <a:gd name="T5" fmla="*/ 0 h 28"/>
                <a:gd name="T6" fmla="*/ 1 w 3"/>
                <a:gd name="T7" fmla="*/ 0 h 28"/>
                <a:gd name="T8" fmla="*/ 0 w 3"/>
                <a:gd name="T9" fmla="*/ 14 h 28"/>
                <a:gd name="T10" fmla="*/ 1 w 3"/>
                <a:gd name="T11" fmla="*/ 27 h 28"/>
                <a:gd name="T12" fmla="*/ 1 w 3"/>
                <a:gd name="T13" fmla="*/ 28 h 28"/>
                <a:gd name="T14" fmla="*/ 2 w 3"/>
                <a:gd name="T15" fmla="*/ 27 h 28"/>
                <a:gd name="T16" fmla="*/ 3 w 3"/>
                <a:gd name="T17" fmla="*/ 14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28">
                  <a:moveTo>
                    <a:pt x="3" y="14"/>
                  </a:moveTo>
                  <a:cubicBezTo>
                    <a:pt x="2" y="0"/>
                    <a:pt x="2" y="0"/>
                    <a:pt x="2" y="0"/>
                  </a:cubicBezTo>
                  <a:cubicBezTo>
                    <a:pt x="2" y="0"/>
                    <a:pt x="2" y="0"/>
                    <a:pt x="1" y="0"/>
                  </a:cubicBezTo>
                  <a:cubicBezTo>
                    <a:pt x="1" y="0"/>
                    <a:pt x="1" y="0"/>
                    <a:pt x="1" y="0"/>
                  </a:cubicBezTo>
                  <a:cubicBezTo>
                    <a:pt x="0" y="14"/>
                    <a:pt x="0" y="14"/>
                    <a:pt x="0" y="14"/>
                  </a:cubicBezTo>
                  <a:cubicBezTo>
                    <a:pt x="1" y="27"/>
                    <a:pt x="1" y="27"/>
                    <a:pt x="1" y="27"/>
                  </a:cubicBezTo>
                  <a:cubicBezTo>
                    <a:pt x="1" y="28"/>
                    <a:pt x="1" y="28"/>
                    <a:pt x="1" y="28"/>
                  </a:cubicBezTo>
                  <a:cubicBezTo>
                    <a:pt x="2" y="28"/>
                    <a:pt x="2" y="28"/>
                    <a:pt x="2" y="27"/>
                  </a:cubicBezTo>
                  <a:lnTo>
                    <a:pt x="3" y="14"/>
                  </a:lnTo>
                  <a:close/>
                </a:path>
              </a:pathLst>
            </a:custGeom>
            <a:solidFill>
              <a:srgbClr val="CCCCC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54" name="Freeform 260">
              <a:extLst>
                <a:ext uri="{FF2B5EF4-FFF2-40B4-BE49-F238E27FC236}">
                  <a16:creationId xmlns:a16="http://schemas.microsoft.com/office/drawing/2014/main" id="{922D9D9D-75F0-49F2-BE6E-118CFB9351F0}"/>
                </a:ext>
              </a:extLst>
            </p:cNvPr>
            <p:cNvSpPr>
              <a:spLocks/>
            </p:cNvSpPr>
            <p:nvPr/>
          </p:nvSpPr>
          <p:spPr bwMode="auto">
            <a:xfrm>
              <a:off x="4111195" y="3374132"/>
              <a:ext cx="6362" cy="82707"/>
            </a:xfrm>
            <a:custGeom>
              <a:avLst/>
              <a:gdLst>
                <a:gd name="T0" fmla="*/ 4 w 4"/>
                <a:gd name="T1" fmla="*/ 28 h 42"/>
                <a:gd name="T2" fmla="*/ 3 w 4"/>
                <a:gd name="T3" fmla="*/ 1 h 42"/>
                <a:gd name="T4" fmla="*/ 2 w 4"/>
                <a:gd name="T5" fmla="*/ 0 h 42"/>
                <a:gd name="T6" fmla="*/ 1 w 4"/>
                <a:gd name="T7" fmla="*/ 1 h 42"/>
                <a:gd name="T8" fmla="*/ 0 w 4"/>
                <a:gd name="T9" fmla="*/ 28 h 42"/>
                <a:gd name="T10" fmla="*/ 1 w 4"/>
                <a:gd name="T11" fmla="*/ 41 h 42"/>
                <a:gd name="T12" fmla="*/ 2 w 4"/>
                <a:gd name="T13" fmla="*/ 42 h 42"/>
                <a:gd name="T14" fmla="*/ 3 w 4"/>
                <a:gd name="T15" fmla="*/ 41 h 42"/>
                <a:gd name="T16" fmla="*/ 3 w 4"/>
                <a:gd name="T17" fmla="*/ 41 h 42"/>
                <a:gd name="T18" fmla="*/ 4 w 4"/>
                <a:gd name="T19" fmla="*/ 28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42">
                  <a:moveTo>
                    <a:pt x="4" y="28"/>
                  </a:moveTo>
                  <a:cubicBezTo>
                    <a:pt x="3" y="1"/>
                    <a:pt x="3" y="1"/>
                    <a:pt x="3" y="1"/>
                  </a:cubicBezTo>
                  <a:cubicBezTo>
                    <a:pt x="3" y="1"/>
                    <a:pt x="3" y="0"/>
                    <a:pt x="2" y="0"/>
                  </a:cubicBezTo>
                  <a:cubicBezTo>
                    <a:pt x="2" y="0"/>
                    <a:pt x="1" y="1"/>
                    <a:pt x="1" y="1"/>
                  </a:cubicBezTo>
                  <a:cubicBezTo>
                    <a:pt x="0" y="28"/>
                    <a:pt x="0" y="28"/>
                    <a:pt x="0" y="28"/>
                  </a:cubicBezTo>
                  <a:cubicBezTo>
                    <a:pt x="1" y="41"/>
                    <a:pt x="1" y="41"/>
                    <a:pt x="1" y="41"/>
                  </a:cubicBezTo>
                  <a:cubicBezTo>
                    <a:pt x="1" y="42"/>
                    <a:pt x="2" y="42"/>
                    <a:pt x="2" y="42"/>
                  </a:cubicBezTo>
                  <a:cubicBezTo>
                    <a:pt x="3" y="42"/>
                    <a:pt x="3" y="42"/>
                    <a:pt x="3" y="41"/>
                  </a:cubicBezTo>
                  <a:cubicBezTo>
                    <a:pt x="3" y="41"/>
                    <a:pt x="3" y="41"/>
                    <a:pt x="3" y="41"/>
                  </a:cubicBezTo>
                  <a:lnTo>
                    <a:pt x="4" y="28"/>
                  </a:lnTo>
                  <a:close/>
                </a:path>
              </a:pathLst>
            </a:custGeom>
            <a:solidFill>
              <a:srgbClr val="CCCCC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55" name="Freeform 261">
              <a:extLst>
                <a:ext uri="{FF2B5EF4-FFF2-40B4-BE49-F238E27FC236}">
                  <a16:creationId xmlns:a16="http://schemas.microsoft.com/office/drawing/2014/main" id="{BB4019D4-6068-45B1-B529-EBF0B8BF99C8}"/>
                </a:ext>
              </a:extLst>
            </p:cNvPr>
            <p:cNvSpPr>
              <a:spLocks/>
            </p:cNvSpPr>
            <p:nvPr/>
          </p:nvSpPr>
          <p:spPr bwMode="auto">
            <a:xfrm>
              <a:off x="4065070" y="3404353"/>
              <a:ext cx="6362" cy="46126"/>
            </a:xfrm>
            <a:custGeom>
              <a:avLst/>
              <a:gdLst>
                <a:gd name="T0" fmla="*/ 1 w 3"/>
                <a:gd name="T1" fmla="*/ 24 h 24"/>
                <a:gd name="T2" fmla="*/ 2 w 3"/>
                <a:gd name="T3" fmla="*/ 24 h 24"/>
                <a:gd name="T4" fmla="*/ 3 w 3"/>
                <a:gd name="T5" fmla="*/ 12 h 24"/>
                <a:gd name="T6" fmla="*/ 2 w 3"/>
                <a:gd name="T7" fmla="*/ 1 h 24"/>
                <a:gd name="T8" fmla="*/ 1 w 3"/>
                <a:gd name="T9" fmla="*/ 0 h 24"/>
                <a:gd name="T10" fmla="*/ 1 w 3"/>
                <a:gd name="T11" fmla="*/ 1 h 24"/>
                <a:gd name="T12" fmla="*/ 0 w 3"/>
                <a:gd name="T13" fmla="*/ 12 h 24"/>
                <a:gd name="T14" fmla="*/ 1 w 3"/>
                <a:gd name="T15" fmla="*/ 24 h 24"/>
                <a:gd name="T16" fmla="*/ 1 w 3"/>
                <a:gd name="T17"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24">
                  <a:moveTo>
                    <a:pt x="1" y="24"/>
                  </a:moveTo>
                  <a:cubicBezTo>
                    <a:pt x="1" y="24"/>
                    <a:pt x="2" y="24"/>
                    <a:pt x="2" y="24"/>
                  </a:cubicBezTo>
                  <a:cubicBezTo>
                    <a:pt x="3" y="12"/>
                    <a:pt x="3" y="12"/>
                    <a:pt x="3" y="12"/>
                  </a:cubicBezTo>
                  <a:cubicBezTo>
                    <a:pt x="2" y="1"/>
                    <a:pt x="2" y="1"/>
                    <a:pt x="2" y="1"/>
                  </a:cubicBezTo>
                  <a:cubicBezTo>
                    <a:pt x="2" y="1"/>
                    <a:pt x="1" y="0"/>
                    <a:pt x="1" y="0"/>
                  </a:cubicBezTo>
                  <a:cubicBezTo>
                    <a:pt x="1" y="0"/>
                    <a:pt x="1" y="1"/>
                    <a:pt x="1" y="1"/>
                  </a:cubicBezTo>
                  <a:cubicBezTo>
                    <a:pt x="0" y="12"/>
                    <a:pt x="0" y="12"/>
                    <a:pt x="0" y="12"/>
                  </a:cubicBezTo>
                  <a:cubicBezTo>
                    <a:pt x="1" y="24"/>
                    <a:pt x="1" y="24"/>
                    <a:pt x="1" y="24"/>
                  </a:cubicBezTo>
                  <a:cubicBezTo>
                    <a:pt x="1" y="24"/>
                    <a:pt x="1" y="24"/>
                    <a:pt x="1" y="24"/>
                  </a:cubicBezTo>
                </a:path>
              </a:pathLst>
            </a:custGeom>
            <a:solidFill>
              <a:srgbClr val="CCCCC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56" name="Freeform 262">
              <a:extLst>
                <a:ext uri="{FF2B5EF4-FFF2-40B4-BE49-F238E27FC236}">
                  <a16:creationId xmlns:a16="http://schemas.microsoft.com/office/drawing/2014/main" id="{CC025CC6-A3A9-404A-9FB3-1CD6C56BA7F7}"/>
                </a:ext>
              </a:extLst>
            </p:cNvPr>
            <p:cNvSpPr>
              <a:spLocks/>
            </p:cNvSpPr>
            <p:nvPr/>
          </p:nvSpPr>
          <p:spPr bwMode="auto">
            <a:xfrm>
              <a:off x="4073023" y="3399580"/>
              <a:ext cx="7953" cy="55668"/>
            </a:xfrm>
            <a:custGeom>
              <a:avLst/>
              <a:gdLst>
                <a:gd name="T0" fmla="*/ 2 w 4"/>
                <a:gd name="T1" fmla="*/ 28 h 28"/>
                <a:gd name="T2" fmla="*/ 3 w 4"/>
                <a:gd name="T3" fmla="*/ 28 h 28"/>
                <a:gd name="T4" fmla="*/ 4 w 4"/>
                <a:gd name="T5" fmla="*/ 14 h 28"/>
                <a:gd name="T6" fmla="*/ 3 w 4"/>
                <a:gd name="T7" fmla="*/ 1 h 28"/>
                <a:gd name="T8" fmla="*/ 2 w 4"/>
                <a:gd name="T9" fmla="*/ 0 h 28"/>
                <a:gd name="T10" fmla="*/ 1 w 4"/>
                <a:gd name="T11" fmla="*/ 1 h 28"/>
                <a:gd name="T12" fmla="*/ 0 w 4"/>
                <a:gd name="T13" fmla="*/ 14 h 28"/>
                <a:gd name="T14" fmla="*/ 1 w 4"/>
                <a:gd name="T15" fmla="*/ 28 h 28"/>
                <a:gd name="T16" fmla="*/ 2 w 4"/>
                <a:gd name="T17"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28">
                  <a:moveTo>
                    <a:pt x="2" y="28"/>
                  </a:moveTo>
                  <a:cubicBezTo>
                    <a:pt x="2" y="28"/>
                    <a:pt x="2" y="28"/>
                    <a:pt x="3" y="28"/>
                  </a:cubicBezTo>
                  <a:cubicBezTo>
                    <a:pt x="4" y="14"/>
                    <a:pt x="4" y="14"/>
                    <a:pt x="4" y="14"/>
                  </a:cubicBezTo>
                  <a:cubicBezTo>
                    <a:pt x="3" y="1"/>
                    <a:pt x="3" y="1"/>
                    <a:pt x="3" y="1"/>
                  </a:cubicBezTo>
                  <a:cubicBezTo>
                    <a:pt x="2" y="0"/>
                    <a:pt x="2" y="0"/>
                    <a:pt x="2" y="0"/>
                  </a:cubicBezTo>
                  <a:cubicBezTo>
                    <a:pt x="2" y="0"/>
                    <a:pt x="1" y="0"/>
                    <a:pt x="1" y="1"/>
                  </a:cubicBezTo>
                  <a:cubicBezTo>
                    <a:pt x="1" y="1"/>
                    <a:pt x="0" y="14"/>
                    <a:pt x="0" y="14"/>
                  </a:cubicBezTo>
                  <a:cubicBezTo>
                    <a:pt x="1" y="28"/>
                    <a:pt x="1" y="28"/>
                    <a:pt x="1" y="28"/>
                  </a:cubicBezTo>
                  <a:cubicBezTo>
                    <a:pt x="1" y="28"/>
                    <a:pt x="2" y="28"/>
                    <a:pt x="2" y="28"/>
                  </a:cubicBezTo>
                </a:path>
              </a:pathLst>
            </a:custGeom>
            <a:solidFill>
              <a:srgbClr val="CCCCC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57" name="Freeform 263">
              <a:extLst>
                <a:ext uri="{FF2B5EF4-FFF2-40B4-BE49-F238E27FC236}">
                  <a16:creationId xmlns:a16="http://schemas.microsoft.com/office/drawing/2014/main" id="{5F4006EA-766E-4CE3-B4F9-19AA1C45B928}"/>
                </a:ext>
              </a:extLst>
            </p:cNvPr>
            <p:cNvSpPr>
              <a:spLocks/>
            </p:cNvSpPr>
            <p:nvPr/>
          </p:nvSpPr>
          <p:spPr bwMode="auto">
            <a:xfrm>
              <a:off x="4130281" y="3369361"/>
              <a:ext cx="7953" cy="87479"/>
            </a:xfrm>
            <a:custGeom>
              <a:avLst/>
              <a:gdLst>
                <a:gd name="T0" fmla="*/ 3 w 4"/>
                <a:gd name="T1" fmla="*/ 1 h 45"/>
                <a:gd name="T2" fmla="*/ 2 w 4"/>
                <a:gd name="T3" fmla="*/ 0 h 45"/>
                <a:gd name="T4" fmla="*/ 1 w 4"/>
                <a:gd name="T5" fmla="*/ 1 h 45"/>
                <a:gd name="T6" fmla="*/ 0 w 4"/>
                <a:gd name="T7" fmla="*/ 31 h 45"/>
                <a:gd name="T8" fmla="*/ 1 w 4"/>
                <a:gd name="T9" fmla="*/ 44 h 45"/>
                <a:gd name="T10" fmla="*/ 2 w 4"/>
                <a:gd name="T11" fmla="*/ 45 h 45"/>
                <a:gd name="T12" fmla="*/ 3 w 4"/>
                <a:gd name="T13" fmla="*/ 44 h 45"/>
                <a:gd name="T14" fmla="*/ 4 w 4"/>
                <a:gd name="T15" fmla="*/ 31 h 45"/>
                <a:gd name="T16" fmla="*/ 3 w 4"/>
                <a:gd name="T17"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45">
                  <a:moveTo>
                    <a:pt x="3" y="1"/>
                  </a:moveTo>
                  <a:cubicBezTo>
                    <a:pt x="3" y="0"/>
                    <a:pt x="3" y="0"/>
                    <a:pt x="2" y="0"/>
                  </a:cubicBezTo>
                  <a:cubicBezTo>
                    <a:pt x="1" y="0"/>
                    <a:pt x="1" y="0"/>
                    <a:pt x="1" y="1"/>
                  </a:cubicBezTo>
                  <a:cubicBezTo>
                    <a:pt x="0" y="31"/>
                    <a:pt x="0" y="31"/>
                    <a:pt x="0" y="31"/>
                  </a:cubicBezTo>
                  <a:cubicBezTo>
                    <a:pt x="1" y="44"/>
                    <a:pt x="1" y="44"/>
                    <a:pt x="1" y="44"/>
                  </a:cubicBezTo>
                  <a:cubicBezTo>
                    <a:pt x="1" y="45"/>
                    <a:pt x="1" y="45"/>
                    <a:pt x="2" y="45"/>
                  </a:cubicBezTo>
                  <a:cubicBezTo>
                    <a:pt x="3" y="45"/>
                    <a:pt x="3" y="45"/>
                    <a:pt x="3" y="44"/>
                  </a:cubicBezTo>
                  <a:cubicBezTo>
                    <a:pt x="4" y="31"/>
                    <a:pt x="4" y="31"/>
                    <a:pt x="4" y="31"/>
                  </a:cubicBezTo>
                  <a:lnTo>
                    <a:pt x="3" y="1"/>
                  </a:lnTo>
                  <a:close/>
                </a:path>
              </a:pathLst>
            </a:custGeom>
            <a:solidFill>
              <a:srgbClr val="CCCCC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58" name="Freeform 264">
              <a:extLst>
                <a:ext uri="{FF2B5EF4-FFF2-40B4-BE49-F238E27FC236}">
                  <a16:creationId xmlns:a16="http://schemas.microsoft.com/office/drawing/2014/main" id="{BAE04A12-B547-435B-ACE6-4792E0911B23}"/>
                </a:ext>
              </a:extLst>
            </p:cNvPr>
            <p:cNvSpPr>
              <a:spLocks/>
            </p:cNvSpPr>
            <p:nvPr/>
          </p:nvSpPr>
          <p:spPr bwMode="auto">
            <a:xfrm>
              <a:off x="4082565" y="3399580"/>
              <a:ext cx="7953" cy="57259"/>
            </a:xfrm>
            <a:custGeom>
              <a:avLst/>
              <a:gdLst>
                <a:gd name="T0" fmla="*/ 2 w 4"/>
                <a:gd name="T1" fmla="*/ 29 h 29"/>
                <a:gd name="T2" fmla="*/ 2 w 4"/>
                <a:gd name="T3" fmla="*/ 28 h 29"/>
                <a:gd name="T4" fmla="*/ 4 w 4"/>
                <a:gd name="T5" fmla="*/ 15 h 29"/>
                <a:gd name="T6" fmla="*/ 2 w 4"/>
                <a:gd name="T7" fmla="*/ 0 h 29"/>
                <a:gd name="T8" fmla="*/ 2 w 4"/>
                <a:gd name="T9" fmla="*/ 0 h 29"/>
                <a:gd name="T10" fmla="*/ 1 w 4"/>
                <a:gd name="T11" fmla="*/ 0 h 29"/>
                <a:gd name="T12" fmla="*/ 0 w 4"/>
                <a:gd name="T13" fmla="*/ 15 h 29"/>
                <a:gd name="T14" fmla="*/ 1 w 4"/>
                <a:gd name="T15" fmla="*/ 28 h 29"/>
                <a:gd name="T16" fmla="*/ 2 w 4"/>
                <a:gd name="T17"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29">
                  <a:moveTo>
                    <a:pt x="2" y="29"/>
                  </a:moveTo>
                  <a:cubicBezTo>
                    <a:pt x="2" y="29"/>
                    <a:pt x="2" y="29"/>
                    <a:pt x="2" y="28"/>
                  </a:cubicBezTo>
                  <a:cubicBezTo>
                    <a:pt x="4" y="15"/>
                    <a:pt x="4" y="15"/>
                    <a:pt x="4" y="15"/>
                  </a:cubicBezTo>
                  <a:cubicBezTo>
                    <a:pt x="2" y="0"/>
                    <a:pt x="2" y="0"/>
                    <a:pt x="2" y="0"/>
                  </a:cubicBezTo>
                  <a:cubicBezTo>
                    <a:pt x="2" y="0"/>
                    <a:pt x="2" y="0"/>
                    <a:pt x="2" y="0"/>
                  </a:cubicBezTo>
                  <a:cubicBezTo>
                    <a:pt x="1" y="0"/>
                    <a:pt x="1" y="0"/>
                    <a:pt x="1" y="0"/>
                  </a:cubicBezTo>
                  <a:cubicBezTo>
                    <a:pt x="0" y="15"/>
                    <a:pt x="0" y="15"/>
                    <a:pt x="0" y="15"/>
                  </a:cubicBezTo>
                  <a:cubicBezTo>
                    <a:pt x="1" y="28"/>
                    <a:pt x="1" y="28"/>
                    <a:pt x="1" y="28"/>
                  </a:cubicBezTo>
                  <a:cubicBezTo>
                    <a:pt x="1" y="29"/>
                    <a:pt x="1" y="29"/>
                    <a:pt x="2" y="29"/>
                  </a:cubicBezTo>
                </a:path>
              </a:pathLst>
            </a:custGeom>
            <a:solidFill>
              <a:srgbClr val="CCCCC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59" name="Freeform 265">
              <a:extLst>
                <a:ext uri="{FF2B5EF4-FFF2-40B4-BE49-F238E27FC236}">
                  <a16:creationId xmlns:a16="http://schemas.microsoft.com/office/drawing/2014/main" id="{F2BB3F56-F967-46A8-B866-AF5B74040CE8}"/>
                </a:ext>
              </a:extLst>
            </p:cNvPr>
            <p:cNvSpPr>
              <a:spLocks/>
            </p:cNvSpPr>
            <p:nvPr/>
          </p:nvSpPr>
          <p:spPr bwMode="auto">
            <a:xfrm>
              <a:off x="4120738" y="3370951"/>
              <a:ext cx="7953" cy="85888"/>
            </a:xfrm>
            <a:custGeom>
              <a:avLst/>
              <a:gdLst>
                <a:gd name="T0" fmla="*/ 4 w 4"/>
                <a:gd name="T1" fmla="*/ 30 h 44"/>
                <a:gd name="T2" fmla="*/ 3 w 4"/>
                <a:gd name="T3" fmla="*/ 1 h 44"/>
                <a:gd name="T4" fmla="*/ 2 w 4"/>
                <a:gd name="T5" fmla="*/ 0 h 44"/>
                <a:gd name="T6" fmla="*/ 1 w 4"/>
                <a:gd name="T7" fmla="*/ 1 h 44"/>
                <a:gd name="T8" fmla="*/ 0 w 4"/>
                <a:gd name="T9" fmla="*/ 30 h 44"/>
                <a:gd name="T10" fmla="*/ 1 w 4"/>
                <a:gd name="T11" fmla="*/ 43 h 44"/>
                <a:gd name="T12" fmla="*/ 2 w 4"/>
                <a:gd name="T13" fmla="*/ 44 h 44"/>
                <a:gd name="T14" fmla="*/ 3 w 4"/>
                <a:gd name="T15" fmla="*/ 43 h 44"/>
                <a:gd name="T16" fmla="*/ 3 w 4"/>
                <a:gd name="T17" fmla="*/ 43 h 44"/>
                <a:gd name="T18" fmla="*/ 4 w 4"/>
                <a:gd name="T19" fmla="*/ 3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44">
                  <a:moveTo>
                    <a:pt x="4" y="30"/>
                  </a:moveTo>
                  <a:cubicBezTo>
                    <a:pt x="3" y="1"/>
                    <a:pt x="3" y="1"/>
                    <a:pt x="3" y="1"/>
                  </a:cubicBezTo>
                  <a:cubicBezTo>
                    <a:pt x="3" y="0"/>
                    <a:pt x="3" y="0"/>
                    <a:pt x="2" y="0"/>
                  </a:cubicBezTo>
                  <a:cubicBezTo>
                    <a:pt x="1" y="0"/>
                    <a:pt x="1" y="0"/>
                    <a:pt x="1" y="1"/>
                  </a:cubicBezTo>
                  <a:cubicBezTo>
                    <a:pt x="1" y="1"/>
                    <a:pt x="0" y="30"/>
                    <a:pt x="0" y="30"/>
                  </a:cubicBezTo>
                  <a:cubicBezTo>
                    <a:pt x="1" y="43"/>
                    <a:pt x="1" y="43"/>
                    <a:pt x="1" y="43"/>
                  </a:cubicBezTo>
                  <a:cubicBezTo>
                    <a:pt x="1" y="44"/>
                    <a:pt x="1" y="44"/>
                    <a:pt x="2" y="44"/>
                  </a:cubicBezTo>
                  <a:cubicBezTo>
                    <a:pt x="3" y="44"/>
                    <a:pt x="3" y="44"/>
                    <a:pt x="3" y="43"/>
                  </a:cubicBezTo>
                  <a:cubicBezTo>
                    <a:pt x="3" y="43"/>
                    <a:pt x="3" y="43"/>
                    <a:pt x="3" y="43"/>
                  </a:cubicBezTo>
                  <a:lnTo>
                    <a:pt x="4" y="30"/>
                  </a:lnTo>
                  <a:close/>
                </a:path>
              </a:pathLst>
            </a:custGeom>
            <a:solidFill>
              <a:srgbClr val="CCCCC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60" name="Freeform 266">
              <a:extLst>
                <a:ext uri="{FF2B5EF4-FFF2-40B4-BE49-F238E27FC236}">
                  <a16:creationId xmlns:a16="http://schemas.microsoft.com/office/drawing/2014/main" id="{DAC77AD6-F76E-4D84-A818-9C9AA5A348FD}"/>
                </a:ext>
              </a:extLst>
            </p:cNvPr>
            <p:cNvSpPr>
              <a:spLocks/>
            </p:cNvSpPr>
            <p:nvPr/>
          </p:nvSpPr>
          <p:spPr bwMode="auto">
            <a:xfrm>
              <a:off x="4139825" y="3370951"/>
              <a:ext cx="7953" cy="85888"/>
            </a:xfrm>
            <a:custGeom>
              <a:avLst/>
              <a:gdLst>
                <a:gd name="T0" fmla="*/ 4 w 4"/>
                <a:gd name="T1" fmla="*/ 30 h 44"/>
                <a:gd name="T2" fmla="*/ 3 w 4"/>
                <a:gd name="T3" fmla="*/ 1 h 44"/>
                <a:gd name="T4" fmla="*/ 2 w 4"/>
                <a:gd name="T5" fmla="*/ 0 h 44"/>
                <a:gd name="T6" fmla="*/ 1 w 4"/>
                <a:gd name="T7" fmla="*/ 1 h 44"/>
                <a:gd name="T8" fmla="*/ 0 w 4"/>
                <a:gd name="T9" fmla="*/ 30 h 44"/>
                <a:gd name="T10" fmla="*/ 1 w 4"/>
                <a:gd name="T11" fmla="*/ 43 h 44"/>
                <a:gd name="T12" fmla="*/ 2 w 4"/>
                <a:gd name="T13" fmla="*/ 44 h 44"/>
                <a:gd name="T14" fmla="*/ 3 w 4"/>
                <a:gd name="T15" fmla="*/ 43 h 44"/>
                <a:gd name="T16" fmla="*/ 4 w 4"/>
                <a:gd name="T17" fmla="*/ 3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44">
                  <a:moveTo>
                    <a:pt x="4" y="30"/>
                  </a:moveTo>
                  <a:cubicBezTo>
                    <a:pt x="3" y="1"/>
                    <a:pt x="3" y="1"/>
                    <a:pt x="3" y="1"/>
                  </a:cubicBezTo>
                  <a:cubicBezTo>
                    <a:pt x="3" y="0"/>
                    <a:pt x="3" y="0"/>
                    <a:pt x="2" y="0"/>
                  </a:cubicBezTo>
                  <a:cubicBezTo>
                    <a:pt x="1" y="0"/>
                    <a:pt x="1" y="0"/>
                    <a:pt x="1" y="1"/>
                  </a:cubicBezTo>
                  <a:cubicBezTo>
                    <a:pt x="0" y="30"/>
                    <a:pt x="0" y="30"/>
                    <a:pt x="0" y="30"/>
                  </a:cubicBezTo>
                  <a:cubicBezTo>
                    <a:pt x="1" y="43"/>
                    <a:pt x="1" y="43"/>
                    <a:pt x="1" y="43"/>
                  </a:cubicBezTo>
                  <a:cubicBezTo>
                    <a:pt x="1" y="44"/>
                    <a:pt x="1" y="44"/>
                    <a:pt x="2" y="44"/>
                  </a:cubicBezTo>
                  <a:cubicBezTo>
                    <a:pt x="3" y="44"/>
                    <a:pt x="3" y="44"/>
                    <a:pt x="3" y="43"/>
                  </a:cubicBezTo>
                  <a:lnTo>
                    <a:pt x="4" y="30"/>
                  </a:lnTo>
                  <a:close/>
                </a:path>
              </a:pathLst>
            </a:custGeom>
            <a:solidFill>
              <a:srgbClr val="CCCCC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61" name="Freeform 267">
              <a:extLst>
                <a:ext uri="{FF2B5EF4-FFF2-40B4-BE49-F238E27FC236}">
                  <a16:creationId xmlns:a16="http://schemas.microsoft.com/office/drawing/2014/main" id="{D7804166-72FA-419A-862B-3E08566E62F8}"/>
                </a:ext>
              </a:extLst>
            </p:cNvPr>
            <p:cNvSpPr>
              <a:spLocks/>
            </p:cNvSpPr>
            <p:nvPr/>
          </p:nvSpPr>
          <p:spPr bwMode="auto">
            <a:xfrm>
              <a:off x="4055528" y="3413896"/>
              <a:ext cx="6362" cy="28629"/>
            </a:xfrm>
            <a:custGeom>
              <a:avLst/>
              <a:gdLst>
                <a:gd name="T0" fmla="*/ 2 w 3"/>
                <a:gd name="T1" fmla="*/ 0 h 15"/>
                <a:gd name="T2" fmla="*/ 1 w 3"/>
                <a:gd name="T3" fmla="*/ 0 h 15"/>
                <a:gd name="T4" fmla="*/ 0 w 3"/>
                <a:gd name="T5" fmla="*/ 7 h 15"/>
                <a:gd name="T6" fmla="*/ 1 w 3"/>
                <a:gd name="T7" fmla="*/ 15 h 15"/>
                <a:gd name="T8" fmla="*/ 2 w 3"/>
                <a:gd name="T9" fmla="*/ 15 h 15"/>
                <a:gd name="T10" fmla="*/ 2 w 3"/>
                <a:gd name="T11" fmla="*/ 15 h 15"/>
                <a:gd name="T12" fmla="*/ 3 w 3"/>
                <a:gd name="T13" fmla="*/ 7 h 15"/>
                <a:gd name="T14" fmla="*/ 2 w 3"/>
                <a:gd name="T15" fmla="*/ 0 h 15"/>
                <a:gd name="T16" fmla="*/ 2 w 3"/>
                <a:gd name="T17"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15">
                  <a:moveTo>
                    <a:pt x="2" y="0"/>
                  </a:moveTo>
                  <a:cubicBezTo>
                    <a:pt x="2" y="0"/>
                    <a:pt x="1" y="0"/>
                    <a:pt x="1" y="0"/>
                  </a:cubicBezTo>
                  <a:cubicBezTo>
                    <a:pt x="0" y="7"/>
                    <a:pt x="0" y="7"/>
                    <a:pt x="0" y="7"/>
                  </a:cubicBezTo>
                  <a:cubicBezTo>
                    <a:pt x="1" y="15"/>
                    <a:pt x="1" y="15"/>
                    <a:pt x="1" y="15"/>
                  </a:cubicBezTo>
                  <a:cubicBezTo>
                    <a:pt x="1" y="15"/>
                    <a:pt x="2" y="15"/>
                    <a:pt x="2" y="15"/>
                  </a:cubicBezTo>
                  <a:cubicBezTo>
                    <a:pt x="2" y="15"/>
                    <a:pt x="2" y="15"/>
                    <a:pt x="2" y="15"/>
                  </a:cubicBezTo>
                  <a:cubicBezTo>
                    <a:pt x="3" y="7"/>
                    <a:pt x="3" y="7"/>
                    <a:pt x="3" y="7"/>
                  </a:cubicBezTo>
                  <a:cubicBezTo>
                    <a:pt x="2" y="0"/>
                    <a:pt x="2" y="0"/>
                    <a:pt x="2" y="0"/>
                  </a:cubicBezTo>
                  <a:cubicBezTo>
                    <a:pt x="2" y="0"/>
                    <a:pt x="2" y="0"/>
                    <a:pt x="2" y="0"/>
                  </a:cubicBezTo>
                </a:path>
              </a:pathLst>
            </a:custGeom>
            <a:solidFill>
              <a:srgbClr val="CCCCC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62" name="Freeform 268">
              <a:extLst>
                <a:ext uri="{FF2B5EF4-FFF2-40B4-BE49-F238E27FC236}">
                  <a16:creationId xmlns:a16="http://schemas.microsoft.com/office/drawing/2014/main" id="{2BABD037-9ECF-4250-96D5-16049B078382}"/>
                </a:ext>
              </a:extLst>
            </p:cNvPr>
            <p:cNvSpPr>
              <a:spLocks/>
            </p:cNvSpPr>
            <p:nvPr/>
          </p:nvSpPr>
          <p:spPr bwMode="auto">
            <a:xfrm>
              <a:off x="4158911" y="3361408"/>
              <a:ext cx="7953" cy="95431"/>
            </a:xfrm>
            <a:custGeom>
              <a:avLst/>
              <a:gdLst>
                <a:gd name="T0" fmla="*/ 4 w 4"/>
                <a:gd name="T1" fmla="*/ 35 h 49"/>
                <a:gd name="T2" fmla="*/ 4 w 4"/>
                <a:gd name="T3" fmla="*/ 2 h 49"/>
                <a:gd name="T4" fmla="*/ 2 w 4"/>
                <a:gd name="T5" fmla="*/ 0 h 49"/>
                <a:gd name="T6" fmla="*/ 1 w 4"/>
                <a:gd name="T7" fmla="*/ 2 h 49"/>
                <a:gd name="T8" fmla="*/ 0 w 4"/>
                <a:gd name="T9" fmla="*/ 35 h 49"/>
                <a:gd name="T10" fmla="*/ 1 w 4"/>
                <a:gd name="T11" fmla="*/ 48 h 49"/>
                <a:gd name="T12" fmla="*/ 2 w 4"/>
                <a:gd name="T13" fmla="*/ 49 h 49"/>
                <a:gd name="T14" fmla="*/ 4 w 4"/>
                <a:gd name="T15" fmla="*/ 48 h 49"/>
                <a:gd name="T16" fmla="*/ 4 w 4"/>
                <a:gd name="T17" fmla="*/ 48 h 49"/>
                <a:gd name="T18" fmla="*/ 4 w 4"/>
                <a:gd name="T19" fmla="*/ 35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49">
                  <a:moveTo>
                    <a:pt x="4" y="35"/>
                  </a:moveTo>
                  <a:cubicBezTo>
                    <a:pt x="4" y="2"/>
                    <a:pt x="4" y="2"/>
                    <a:pt x="4" y="2"/>
                  </a:cubicBezTo>
                  <a:cubicBezTo>
                    <a:pt x="4" y="1"/>
                    <a:pt x="3" y="0"/>
                    <a:pt x="2" y="0"/>
                  </a:cubicBezTo>
                  <a:cubicBezTo>
                    <a:pt x="1" y="0"/>
                    <a:pt x="1" y="1"/>
                    <a:pt x="1" y="2"/>
                  </a:cubicBezTo>
                  <a:cubicBezTo>
                    <a:pt x="0" y="35"/>
                    <a:pt x="0" y="35"/>
                    <a:pt x="0" y="35"/>
                  </a:cubicBezTo>
                  <a:cubicBezTo>
                    <a:pt x="0" y="35"/>
                    <a:pt x="1" y="48"/>
                    <a:pt x="1" y="48"/>
                  </a:cubicBezTo>
                  <a:cubicBezTo>
                    <a:pt x="1" y="49"/>
                    <a:pt x="1" y="49"/>
                    <a:pt x="2" y="49"/>
                  </a:cubicBezTo>
                  <a:cubicBezTo>
                    <a:pt x="3" y="49"/>
                    <a:pt x="4" y="49"/>
                    <a:pt x="4" y="48"/>
                  </a:cubicBezTo>
                  <a:cubicBezTo>
                    <a:pt x="4" y="48"/>
                    <a:pt x="4" y="48"/>
                    <a:pt x="4" y="48"/>
                  </a:cubicBezTo>
                  <a:lnTo>
                    <a:pt x="4" y="35"/>
                  </a:lnTo>
                  <a:close/>
                </a:path>
              </a:pathLst>
            </a:custGeom>
            <a:solidFill>
              <a:srgbClr val="CCCCC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63" name="Freeform 269">
              <a:extLst>
                <a:ext uri="{FF2B5EF4-FFF2-40B4-BE49-F238E27FC236}">
                  <a16:creationId xmlns:a16="http://schemas.microsoft.com/office/drawing/2014/main" id="{5A6BD1E8-EFAB-42B0-A78B-D7F7FAEA92EA}"/>
                </a:ext>
              </a:extLst>
            </p:cNvPr>
            <p:cNvSpPr>
              <a:spLocks/>
            </p:cNvSpPr>
            <p:nvPr/>
          </p:nvSpPr>
          <p:spPr bwMode="auto">
            <a:xfrm>
              <a:off x="4168454" y="3355046"/>
              <a:ext cx="7953" cy="101794"/>
            </a:xfrm>
            <a:custGeom>
              <a:avLst/>
              <a:gdLst>
                <a:gd name="T0" fmla="*/ 2 w 4"/>
                <a:gd name="T1" fmla="*/ 0 h 52"/>
                <a:gd name="T2" fmla="*/ 1 w 4"/>
                <a:gd name="T3" fmla="*/ 2 h 52"/>
                <a:gd name="T4" fmla="*/ 0 w 4"/>
                <a:gd name="T5" fmla="*/ 38 h 52"/>
                <a:gd name="T6" fmla="*/ 1 w 4"/>
                <a:gd name="T7" fmla="*/ 50 h 52"/>
                <a:gd name="T8" fmla="*/ 2 w 4"/>
                <a:gd name="T9" fmla="*/ 52 h 52"/>
                <a:gd name="T10" fmla="*/ 4 w 4"/>
                <a:gd name="T11" fmla="*/ 50 h 52"/>
                <a:gd name="T12" fmla="*/ 4 w 4"/>
                <a:gd name="T13" fmla="*/ 50 h 52"/>
                <a:gd name="T14" fmla="*/ 4 w 4"/>
                <a:gd name="T15" fmla="*/ 38 h 52"/>
                <a:gd name="T16" fmla="*/ 4 w 4"/>
                <a:gd name="T17" fmla="*/ 2 h 52"/>
                <a:gd name="T18" fmla="*/ 2 w 4"/>
                <a:gd name="T19"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52">
                  <a:moveTo>
                    <a:pt x="2" y="0"/>
                  </a:moveTo>
                  <a:cubicBezTo>
                    <a:pt x="1" y="0"/>
                    <a:pt x="1" y="1"/>
                    <a:pt x="1" y="2"/>
                  </a:cubicBezTo>
                  <a:cubicBezTo>
                    <a:pt x="0" y="38"/>
                    <a:pt x="0" y="38"/>
                    <a:pt x="0" y="38"/>
                  </a:cubicBezTo>
                  <a:cubicBezTo>
                    <a:pt x="1" y="50"/>
                    <a:pt x="1" y="50"/>
                    <a:pt x="1" y="50"/>
                  </a:cubicBezTo>
                  <a:cubicBezTo>
                    <a:pt x="1" y="51"/>
                    <a:pt x="1" y="52"/>
                    <a:pt x="2" y="52"/>
                  </a:cubicBezTo>
                  <a:cubicBezTo>
                    <a:pt x="3" y="52"/>
                    <a:pt x="4" y="51"/>
                    <a:pt x="4" y="50"/>
                  </a:cubicBezTo>
                  <a:cubicBezTo>
                    <a:pt x="4" y="50"/>
                    <a:pt x="4" y="50"/>
                    <a:pt x="4" y="50"/>
                  </a:cubicBezTo>
                  <a:cubicBezTo>
                    <a:pt x="4" y="38"/>
                    <a:pt x="4" y="38"/>
                    <a:pt x="4" y="38"/>
                  </a:cubicBezTo>
                  <a:cubicBezTo>
                    <a:pt x="4" y="2"/>
                    <a:pt x="4" y="2"/>
                    <a:pt x="4" y="2"/>
                  </a:cubicBezTo>
                  <a:cubicBezTo>
                    <a:pt x="4" y="1"/>
                    <a:pt x="3" y="0"/>
                    <a:pt x="2" y="0"/>
                  </a:cubicBezTo>
                </a:path>
              </a:pathLst>
            </a:custGeom>
            <a:solidFill>
              <a:srgbClr val="CCCCC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64" name="Freeform 270">
              <a:extLst>
                <a:ext uri="{FF2B5EF4-FFF2-40B4-BE49-F238E27FC236}">
                  <a16:creationId xmlns:a16="http://schemas.microsoft.com/office/drawing/2014/main" id="{9642B49C-D25D-48F8-A746-774E61517DFE}"/>
                </a:ext>
              </a:extLst>
            </p:cNvPr>
            <p:cNvSpPr>
              <a:spLocks/>
            </p:cNvSpPr>
            <p:nvPr/>
          </p:nvSpPr>
          <p:spPr bwMode="auto">
            <a:xfrm>
              <a:off x="4149367" y="3370951"/>
              <a:ext cx="7953" cy="85888"/>
            </a:xfrm>
            <a:custGeom>
              <a:avLst/>
              <a:gdLst>
                <a:gd name="T0" fmla="*/ 4 w 4"/>
                <a:gd name="T1" fmla="*/ 30 h 44"/>
                <a:gd name="T2" fmla="*/ 3 w 4"/>
                <a:gd name="T3" fmla="*/ 2 h 44"/>
                <a:gd name="T4" fmla="*/ 2 w 4"/>
                <a:gd name="T5" fmla="*/ 0 h 44"/>
                <a:gd name="T6" fmla="*/ 1 w 4"/>
                <a:gd name="T7" fmla="*/ 2 h 44"/>
                <a:gd name="T8" fmla="*/ 0 w 4"/>
                <a:gd name="T9" fmla="*/ 30 h 44"/>
                <a:gd name="T10" fmla="*/ 1 w 4"/>
                <a:gd name="T11" fmla="*/ 43 h 44"/>
                <a:gd name="T12" fmla="*/ 2 w 4"/>
                <a:gd name="T13" fmla="*/ 44 h 44"/>
                <a:gd name="T14" fmla="*/ 3 w 4"/>
                <a:gd name="T15" fmla="*/ 43 h 44"/>
                <a:gd name="T16" fmla="*/ 3 w 4"/>
                <a:gd name="T17" fmla="*/ 43 h 44"/>
                <a:gd name="T18" fmla="*/ 4 w 4"/>
                <a:gd name="T19" fmla="*/ 3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44">
                  <a:moveTo>
                    <a:pt x="4" y="30"/>
                  </a:moveTo>
                  <a:cubicBezTo>
                    <a:pt x="3" y="2"/>
                    <a:pt x="3" y="2"/>
                    <a:pt x="3" y="2"/>
                  </a:cubicBezTo>
                  <a:cubicBezTo>
                    <a:pt x="3" y="1"/>
                    <a:pt x="3" y="0"/>
                    <a:pt x="2" y="0"/>
                  </a:cubicBezTo>
                  <a:cubicBezTo>
                    <a:pt x="1" y="0"/>
                    <a:pt x="1" y="1"/>
                    <a:pt x="1" y="2"/>
                  </a:cubicBezTo>
                  <a:cubicBezTo>
                    <a:pt x="0" y="30"/>
                    <a:pt x="0" y="30"/>
                    <a:pt x="0" y="30"/>
                  </a:cubicBezTo>
                  <a:cubicBezTo>
                    <a:pt x="1" y="43"/>
                    <a:pt x="1" y="43"/>
                    <a:pt x="1" y="43"/>
                  </a:cubicBezTo>
                  <a:cubicBezTo>
                    <a:pt x="1" y="44"/>
                    <a:pt x="1" y="44"/>
                    <a:pt x="2" y="44"/>
                  </a:cubicBezTo>
                  <a:cubicBezTo>
                    <a:pt x="3" y="44"/>
                    <a:pt x="3" y="44"/>
                    <a:pt x="3" y="43"/>
                  </a:cubicBezTo>
                  <a:cubicBezTo>
                    <a:pt x="3" y="43"/>
                    <a:pt x="3" y="43"/>
                    <a:pt x="3" y="43"/>
                  </a:cubicBezTo>
                  <a:lnTo>
                    <a:pt x="4" y="30"/>
                  </a:lnTo>
                  <a:close/>
                </a:path>
              </a:pathLst>
            </a:custGeom>
            <a:solidFill>
              <a:srgbClr val="CCCCC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65" name="Freeform 271">
              <a:extLst>
                <a:ext uri="{FF2B5EF4-FFF2-40B4-BE49-F238E27FC236}">
                  <a16:creationId xmlns:a16="http://schemas.microsoft.com/office/drawing/2014/main" id="{EE85BE83-CDDA-4F3C-AC0C-A31DC40127E6}"/>
                </a:ext>
              </a:extLst>
            </p:cNvPr>
            <p:cNvSpPr>
              <a:spLocks/>
            </p:cNvSpPr>
            <p:nvPr/>
          </p:nvSpPr>
          <p:spPr bwMode="auto">
            <a:xfrm>
              <a:off x="6412681" y="4609969"/>
              <a:ext cx="144738" cy="139966"/>
            </a:xfrm>
            <a:custGeom>
              <a:avLst/>
              <a:gdLst>
                <a:gd name="T0" fmla="*/ 55 w 74"/>
                <a:gd name="T1" fmla="*/ 32 h 72"/>
                <a:gd name="T2" fmla="*/ 48 w 74"/>
                <a:gd name="T3" fmla="*/ 33 h 72"/>
                <a:gd name="T4" fmla="*/ 14 w 74"/>
                <a:gd name="T5" fmla="*/ 0 h 72"/>
                <a:gd name="T6" fmla="*/ 2 w 74"/>
                <a:gd name="T7" fmla="*/ 3 h 72"/>
                <a:gd name="T8" fmla="*/ 0 w 74"/>
                <a:gd name="T9" fmla="*/ 5 h 72"/>
                <a:gd name="T10" fmla="*/ 0 w 74"/>
                <a:gd name="T11" fmla="*/ 70 h 72"/>
                <a:gd name="T12" fmla="*/ 3 w 74"/>
                <a:gd name="T13" fmla="*/ 72 h 72"/>
                <a:gd name="T14" fmla="*/ 55 w 74"/>
                <a:gd name="T15" fmla="*/ 72 h 72"/>
                <a:gd name="T16" fmla="*/ 74 w 74"/>
                <a:gd name="T17" fmla="*/ 52 h 72"/>
                <a:gd name="T18" fmla="*/ 55 w 74"/>
                <a:gd name="T19" fmla="*/ 3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4" h="72">
                  <a:moveTo>
                    <a:pt x="55" y="32"/>
                  </a:moveTo>
                  <a:cubicBezTo>
                    <a:pt x="53" y="32"/>
                    <a:pt x="50" y="32"/>
                    <a:pt x="48" y="33"/>
                  </a:cubicBezTo>
                  <a:cubicBezTo>
                    <a:pt x="46" y="15"/>
                    <a:pt x="32" y="0"/>
                    <a:pt x="14" y="0"/>
                  </a:cubicBezTo>
                  <a:cubicBezTo>
                    <a:pt x="10" y="0"/>
                    <a:pt x="6" y="1"/>
                    <a:pt x="2" y="3"/>
                  </a:cubicBezTo>
                  <a:cubicBezTo>
                    <a:pt x="1" y="3"/>
                    <a:pt x="0" y="4"/>
                    <a:pt x="0" y="5"/>
                  </a:cubicBezTo>
                  <a:cubicBezTo>
                    <a:pt x="0" y="70"/>
                    <a:pt x="0" y="70"/>
                    <a:pt x="0" y="70"/>
                  </a:cubicBezTo>
                  <a:cubicBezTo>
                    <a:pt x="0" y="71"/>
                    <a:pt x="1" y="72"/>
                    <a:pt x="3" y="72"/>
                  </a:cubicBezTo>
                  <a:cubicBezTo>
                    <a:pt x="3" y="72"/>
                    <a:pt x="55" y="72"/>
                    <a:pt x="55" y="72"/>
                  </a:cubicBezTo>
                  <a:cubicBezTo>
                    <a:pt x="66" y="72"/>
                    <a:pt x="74" y="63"/>
                    <a:pt x="74" y="52"/>
                  </a:cubicBezTo>
                  <a:cubicBezTo>
                    <a:pt x="74" y="41"/>
                    <a:pt x="66" y="32"/>
                    <a:pt x="55" y="32"/>
                  </a:cubicBezTo>
                </a:path>
              </a:pathLst>
            </a:custGeom>
            <a:solidFill>
              <a:srgbClr val="CCCCC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66" name="Freeform 272">
              <a:extLst>
                <a:ext uri="{FF2B5EF4-FFF2-40B4-BE49-F238E27FC236}">
                  <a16:creationId xmlns:a16="http://schemas.microsoft.com/office/drawing/2014/main" id="{60B6092A-1E90-41E1-A4A6-69560826AFAF}"/>
                </a:ext>
              </a:extLst>
            </p:cNvPr>
            <p:cNvSpPr>
              <a:spLocks/>
            </p:cNvSpPr>
            <p:nvPr/>
          </p:nvSpPr>
          <p:spPr bwMode="auto">
            <a:xfrm>
              <a:off x="6314069" y="4659274"/>
              <a:ext cx="9543" cy="90660"/>
            </a:xfrm>
            <a:custGeom>
              <a:avLst/>
              <a:gdLst>
                <a:gd name="T0" fmla="*/ 5 w 5"/>
                <a:gd name="T1" fmla="*/ 28 h 47"/>
                <a:gd name="T2" fmla="*/ 4 w 5"/>
                <a:gd name="T3" fmla="*/ 1 h 47"/>
                <a:gd name="T4" fmla="*/ 3 w 5"/>
                <a:gd name="T5" fmla="*/ 0 h 47"/>
                <a:gd name="T6" fmla="*/ 2 w 5"/>
                <a:gd name="T7" fmla="*/ 1 h 47"/>
                <a:gd name="T8" fmla="*/ 0 w 5"/>
                <a:gd name="T9" fmla="*/ 28 h 47"/>
                <a:gd name="T10" fmla="*/ 2 w 5"/>
                <a:gd name="T11" fmla="*/ 46 h 47"/>
                <a:gd name="T12" fmla="*/ 3 w 5"/>
                <a:gd name="T13" fmla="*/ 47 h 47"/>
                <a:gd name="T14" fmla="*/ 4 w 5"/>
                <a:gd name="T15" fmla="*/ 46 h 47"/>
                <a:gd name="T16" fmla="*/ 4 w 5"/>
                <a:gd name="T17" fmla="*/ 46 h 47"/>
                <a:gd name="T18" fmla="*/ 5 w 5"/>
                <a:gd name="T19" fmla="*/ 28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47">
                  <a:moveTo>
                    <a:pt x="5" y="28"/>
                  </a:moveTo>
                  <a:cubicBezTo>
                    <a:pt x="4" y="1"/>
                    <a:pt x="4" y="1"/>
                    <a:pt x="4" y="1"/>
                  </a:cubicBezTo>
                  <a:cubicBezTo>
                    <a:pt x="4" y="0"/>
                    <a:pt x="3" y="0"/>
                    <a:pt x="3" y="0"/>
                  </a:cubicBezTo>
                  <a:cubicBezTo>
                    <a:pt x="2" y="0"/>
                    <a:pt x="2" y="0"/>
                    <a:pt x="2" y="1"/>
                  </a:cubicBezTo>
                  <a:cubicBezTo>
                    <a:pt x="0" y="28"/>
                    <a:pt x="0" y="28"/>
                    <a:pt x="0" y="28"/>
                  </a:cubicBezTo>
                  <a:cubicBezTo>
                    <a:pt x="2" y="46"/>
                    <a:pt x="2" y="46"/>
                    <a:pt x="2" y="46"/>
                  </a:cubicBezTo>
                  <a:cubicBezTo>
                    <a:pt x="2" y="47"/>
                    <a:pt x="2" y="47"/>
                    <a:pt x="3" y="47"/>
                  </a:cubicBezTo>
                  <a:cubicBezTo>
                    <a:pt x="3" y="47"/>
                    <a:pt x="4" y="47"/>
                    <a:pt x="4" y="46"/>
                  </a:cubicBezTo>
                  <a:cubicBezTo>
                    <a:pt x="4" y="46"/>
                    <a:pt x="4" y="46"/>
                    <a:pt x="4" y="46"/>
                  </a:cubicBezTo>
                  <a:lnTo>
                    <a:pt x="5" y="28"/>
                  </a:lnTo>
                  <a:close/>
                </a:path>
              </a:pathLst>
            </a:custGeom>
            <a:solidFill>
              <a:srgbClr val="CCCCC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67" name="Freeform 273">
              <a:extLst>
                <a:ext uri="{FF2B5EF4-FFF2-40B4-BE49-F238E27FC236}">
                  <a16:creationId xmlns:a16="http://schemas.microsoft.com/office/drawing/2014/main" id="{528B73FC-B25B-4573-B58A-4494D77D3981}"/>
                </a:ext>
              </a:extLst>
            </p:cNvPr>
            <p:cNvSpPr>
              <a:spLocks/>
            </p:cNvSpPr>
            <p:nvPr/>
          </p:nvSpPr>
          <p:spPr bwMode="auto">
            <a:xfrm>
              <a:off x="6301345" y="4678360"/>
              <a:ext cx="11134" cy="71574"/>
            </a:xfrm>
            <a:custGeom>
              <a:avLst/>
              <a:gdLst>
                <a:gd name="T0" fmla="*/ 5 w 5"/>
                <a:gd name="T1" fmla="*/ 18 h 37"/>
                <a:gd name="T2" fmla="*/ 4 w 5"/>
                <a:gd name="T3" fmla="*/ 1 h 37"/>
                <a:gd name="T4" fmla="*/ 3 w 5"/>
                <a:gd name="T5" fmla="*/ 0 h 37"/>
                <a:gd name="T6" fmla="*/ 2 w 5"/>
                <a:gd name="T7" fmla="*/ 1 h 37"/>
                <a:gd name="T8" fmla="*/ 0 w 5"/>
                <a:gd name="T9" fmla="*/ 18 h 37"/>
                <a:gd name="T10" fmla="*/ 2 w 5"/>
                <a:gd name="T11" fmla="*/ 36 h 37"/>
                <a:gd name="T12" fmla="*/ 3 w 5"/>
                <a:gd name="T13" fmla="*/ 37 h 37"/>
                <a:gd name="T14" fmla="*/ 4 w 5"/>
                <a:gd name="T15" fmla="*/ 36 h 37"/>
                <a:gd name="T16" fmla="*/ 5 w 5"/>
                <a:gd name="T17" fmla="*/ 18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 h="37">
                  <a:moveTo>
                    <a:pt x="5" y="18"/>
                  </a:moveTo>
                  <a:cubicBezTo>
                    <a:pt x="4" y="1"/>
                    <a:pt x="4" y="1"/>
                    <a:pt x="4" y="1"/>
                  </a:cubicBezTo>
                  <a:cubicBezTo>
                    <a:pt x="4" y="1"/>
                    <a:pt x="3" y="0"/>
                    <a:pt x="3" y="0"/>
                  </a:cubicBezTo>
                  <a:cubicBezTo>
                    <a:pt x="2" y="0"/>
                    <a:pt x="2" y="1"/>
                    <a:pt x="2" y="1"/>
                  </a:cubicBezTo>
                  <a:cubicBezTo>
                    <a:pt x="0" y="18"/>
                    <a:pt x="0" y="18"/>
                    <a:pt x="0" y="18"/>
                  </a:cubicBezTo>
                  <a:cubicBezTo>
                    <a:pt x="2" y="36"/>
                    <a:pt x="2" y="36"/>
                    <a:pt x="2" y="36"/>
                  </a:cubicBezTo>
                  <a:cubicBezTo>
                    <a:pt x="2" y="37"/>
                    <a:pt x="2" y="37"/>
                    <a:pt x="3" y="37"/>
                  </a:cubicBezTo>
                  <a:cubicBezTo>
                    <a:pt x="3" y="37"/>
                    <a:pt x="4" y="37"/>
                    <a:pt x="4" y="36"/>
                  </a:cubicBezTo>
                  <a:lnTo>
                    <a:pt x="5" y="18"/>
                  </a:lnTo>
                  <a:close/>
                </a:path>
              </a:pathLst>
            </a:custGeom>
            <a:solidFill>
              <a:srgbClr val="CCCCC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68" name="Freeform 274">
              <a:extLst>
                <a:ext uri="{FF2B5EF4-FFF2-40B4-BE49-F238E27FC236}">
                  <a16:creationId xmlns:a16="http://schemas.microsoft.com/office/drawing/2014/main" id="{E9C6561D-9F51-4628-9FC3-FAA256FA29C6}"/>
                </a:ext>
              </a:extLst>
            </p:cNvPr>
            <p:cNvSpPr>
              <a:spLocks/>
            </p:cNvSpPr>
            <p:nvPr/>
          </p:nvSpPr>
          <p:spPr bwMode="auto">
            <a:xfrm>
              <a:off x="6326793" y="4644960"/>
              <a:ext cx="9543" cy="104975"/>
            </a:xfrm>
            <a:custGeom>
              <a:avLst/>
              <a:gdLst>
                <a:gd name="T0" fmla="*/ 5 w 5"/>
                <a:gd name="T1" fmla="*/ 35 h 54"/>
                <a:gd name="T2" fmla="*/ 3 w 5"/>
                <a:gd name="T3" fmla="*/ 2 h 54"/>
                <a:gd name="T4" fmla="*/ 2 w 5"/>
                <a:gd name="T5" fmla="*/ 0 h 54"/>
                <a:gd name="T6" fmla="*/ 1 w 5"/>
                <a:gd name="T7" fmla="*/ 2 h 54"/>
                <a:gd name="T8" fmla="*/ 0 w 5"/>
                <a:gd name="T9" fmla="*/ 35 h 54"/>
                <a:gd name="T10" fmla="*/ 1 w 5"/>
                <a:gd name="T11" fmla="*/ 53 h 54"/>
                <a:gd name="T12" fmla="*/ 2 w 5"/>
                <a:gd name="T13" fmla="*/ 54 h 54"/>
                <a:gd name="T14" fmla="*/ 3 w 5"/>
                <a:gd name="T15" fmla="*/ 53 h 54"/>
                <a:gd name="T16" fmla="*/ 3 w 5"/>
                <a:gd name="T17" fmla="*/ 53 h 54"/>
                <a:gd name="T18" fmla="*/ 5 w 5"/>
                <a:gd name="T19"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54">
                  <a:moveTo>
                    <a:pt x="5" y="35"/>
                  </a:moveTo>
                  <a:cubicBezTo>
                    <a:pt x="3" y="2"/>
                    <a:pt x="3" y="2"/>
                    <a:pt x="3" y="2"/>
                  </a:cubicBezTo>
                  <a:cubicBezTo>
                    <a:pt x="3" y="1"/>
                    <a:pt x="3" y="0"/>
                    <a:pt x="2" y="0"/>
                  </a:cubicBezTo>
                  <a:cubicBezTo>
                    <a:pt x="1" y="0"/>
                    <a:pt x="1" y="1"/>
                    <a:pt x="1" y="2"/>
                  </a:cubicBezTo>
                  <a:cubicBezTo>
                    <a:pt x="0" y="35"/>
                    <a:pt x="0" y="35"/>
                    <a:pt x="0" y="35"/>
                  </a:cubicBezTo>
                  <a:cubicBezTo>
                    <a:pt x="1" y="53"/>
                    <a:pt x="1" y="53"/>
                    <a:pt x="1" y="53"/>
                  </a:cubicBezTo>
                  <a:cubicBezTo>
                    <a:pt x="1" y="54"/>
                    <a:pt x="1" y="54"/>
                    <a:pt x="2" y="54"/>
                  </a:cubicBezTo>
                  <a:cubicBezTo>
                    <a:pt x="3" y="54"/>
                    <a:pt x="3" y="54"/>
                    <a:pt x="3" y="53"/>
                  </a:cubicBezTo>
                  <a:cubicBezTo>
                    <a:pt x="3" y="53"/>
                    <a:pt x="3" y="53"/>
                    <a:pt x="3" y="53"/>
                  </a:cubicBezTo>
                  <a:lnTo>
                    <a:pt x="5" y="35"/>
                  </a:lnTo>
                  <a:close/>
                </a:path>
              </a:pathLst>
            </a:custGeom>
            <a:solidFill>
              <a:srgbClr val="CCCCC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69" name="Freeform 275">
              <a:extLst>
                <a:ext uri="{FF2B5EF4-FFF2-40B4-BE49-F238E27FC236}">
                  <a16:creationId xmlns:a16="http://schemas.microsoft.com/office/drawing/2014/main" id="{A3BC793D-E051-49CF-BB08-FE8C7706068F}"/>
                </a:ext>
              </a:extLst>
            </p:cNvPr>
            <p:cNvSpPr>
              <a:spLocks/>
            </p:cNvSpPr>
            <p:nvPr/>
          </p:nvSpPr>
          <p:spPr bwMode="auto">
            <a:xfrm>
              <a:off x="6266353" y="4684722"/>
              <a:ext cx="9543" cy="57259"/>
            </a:xfrm>
            <a:custGeom>
              <a:avLst/>
              <a:gdLst>
                <a:gd name="T0" fmla="*/ 2 w 5"/>
                <a:gd name="T1" fmla="*/ 30 h 30"/>
                <a:gd name="T2" fmla="*/ 3 w 5"/>
                <a:gd name="T3" fmla="*/ 30 h 30"/>
                <a:gd name="T4" fmla="*/ 5 w 5"/>
                <a:gd name="T5" fmla="*/ 15 h 30"/>
                <a:gd name="T6" fmla="*/ 3 w 5"/>
                <a:gd name="T7" fmla="*/ 0 h 30"/>
                <a:gd name="T8" fmla="*/ 2 w 5"/>
                <a:gd name="T9" fmla="*/ 0 h 30"/>
                <a:gd name="T10" fmla="*/ 2 w 5"/>
                <a:gd name="T11" fmla="*/ 0 h 30"/>
                <a:gd name="T12" fmla="*/ 0 w 5"/>
                <a:gd name="T13" fmla="*/ 15 h 30"/>
                <a:gd name="T14" fmla="*/ 2 w 5"/>
                <a:gd name="T15" fmla="*/ 30 h 30"/>
                <a:gd name="T16" fmla="*/ 2 w 5"/>
                <a:gd name="T17"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 h="30">
                  <a:moveTo>
                    <a:pt x="2" y="30"/>
                  </a:moveTo>
                  <a:cubicBezTo>
                    <a:pt x="3" y="30"/>
                    <a:pt x="3" y="30"/>
                    <a:pt x="3" y="30"/>
                  </a:cubicBezTo>
                  <a:cubicBezTo>
                    <a:pt x="5" y="15"/>
                    <a:pt x="5" y="15"/>
                    <a:pt x="5" y="15"/>
                  </a:cubicBezTo>
                  <a:cubicBezTo>
                    <a:pt x="3" y="0"/>
                    <a:pt x="3" y="0"/>
                    <a:pt x="3" y="0"/>
                  </a:cubicBezTo>
                  <a:cubicBezTo>
                    <a:pt x="3" y="0"/>
                    <a:pt x="3" y="0"/>
                    <a:pt x="2" y="0"/>
                  </a:cubicBezTo>
                  <a:cubicBezTo>
                    <a:pt x="2" y="0"/>
                    <a:pt x="2" y="0"/>
                    <a:pt x="2" y="0"/>
                  </a:cubicBezTo>
                  <a:cubicBezTo>
                    <a:pt x="0" y="15"/>
                    <a:pt x="0" y="15"/>
                    <a:pt x="0" y="15"/>
                  </a:cubicBezTo>
                  <a:cubicBezTo>
                    <a:pt x="2" y="30"/>
                    <a:pt x="2" y="30"/>
                    <a:pt x="2" y="30"/>
                  </a:cubicBezTo>
                  <a:cubicBezTo>
                    <a:pt x="2" y="30"/>
                    <a:pt x="2" y="30"/>
                    <a:pt x="2" y="30"/>
                  </a:cubicBezTo>
                </a:path>
              </a:pathLst>
            </a:custGeom>
            <a:solidFill>
              <a:srgbClr val="CCCCC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70" name="Freeform 276">
              <a:extLst>
                <a:ext uri="{FF2B5EF4-FFF2-40B4-BE49-F238E27FC236}">
                  <a16:creationId xmlns:a16="http://schemas.microsoft.com/office/drawing/2014/main" id="{A97FD481-781B-4677-AF2D-9E5E32EBBE30}"/>
                </a:ext>
              </a:extLst>
            </p:cNvPr>
            <p:cNvSpPr>
              <a:spLocks/>
            </p:cNvSpPr>
            <p:nvPr/>
          </p:nvSpPr>
          <p:spPr bwMode="auto">
            <a:xfrm>
              <a:off x="6279077" y="4678360"/>
              <a:ext cx="9543" cy="69983"/>
            </a:xfrm>
            <a:custGeom>
              <a:avLst/>
              <a:gdLst>
                <a:gd name="T0" fmla="*/ 2 w 5"/>
                <a:gd name="T1" fmla="*/ 36 h 36"/>
                <a:gd name="T2" fmla="*/ 3 w 5"/>
                <a:gd name="T3" fmla="*/ 35 h 36"/>
                <a:gd name="T4" fmla="*/ 5 w 5"/>
                <a:gd name="T5" fmla="*/ 18 h 36"/>
                <a:gd name="T6" fmla="*/ 3 w 5"/>
                <a:gd name="T7" fmla="*/ 1 h 36"/>
                <a:gd name="T8" fmla="*/ 2 w 5"/>
                <a:gd name="T9" fmla="*/ 0 h 36"/>
                <a:gd name="T10" fmla="*/ 2 w 5"/>
                <a:gd name="T11" fmla="*/ 1 h 36"/>
                <a:gd name="T12" fmla="*/ 0 w 5"/>
                <a:gd name="T13" fmla="*/ 18 h 36"/>
                <a:gd name="T14" fmla="*/ 2 w 5"/>
                <a:gd name="T15" fmla="*/ 35 h 36"/>
                <a:gd name="T16" fmla="*/ 2 w 5"/>
                <a:gd name="T17"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 h="36">
                  <a:moveTo>
                    <a:pt x="2" y="36"/>
                  </a:moveTo>
                  <a:cubicBezTo>
                    <a:pt x="3" y="36"/>
                    <a:pt x="3" y="36"/>
                    <a:pt x="3" y="35"/>
                  </a:cubicBezTo>
                  <a:cubicBezTo>
                    <a:pt x="5" y="18"/>
                    <a:pt x="5" y="18"/>
                    <a:pt x="5" y="18"/>
                  </a:cubicBezTo>
                  <a:cubicBezTo>
                    <a:pt x="3" y="1"/>
                    <a:pt x="3" y="1"/>
                    <a:pt x="3" y="1"/>
                  </a:cubicBezTo>
                  <a:cubicBezTo>
                    <a:pt x="3" y="0"/>
                    <a:pt x="3" y="0"/>
                    <a:pt x="2" y="0"/>
                  </a:cubicBezTo>
                  <a:cubicBezTo>
                    <a:pt x="2" y="0"/>
                    <a:pt x="2" y="0"/>
                    <a:pt x="2" y="1"/>
                  </a:cubicBezTo>
                  <a:cubicBezTo>
                    <a:pt x="2" y="1"/>
                    <a:pt x="0" y="18"/>
                    <a:pt x="0" y="18"/>
                  </a:cubicBezTo>
                  <a:cubicBezTo>
                    <a:pt x="2" y="35"/>
                    <a:pt x="2" y="35"/>
                    <a:pt x="2" y="35"/>
                  </a:cubicBezTo>
                  <a:cubicBezTo>
                    <a:pt x="2" y="36"/>
                    <a:pt x="2" y="36"/>
                    <a:pt x="2" y="36"/>
                  </a:cubicBezTo>
                </a:path>
              </a:pathLst>
            </a:custGeom>
            <a:solidFill>
              <a:srgbClr val="CCCCC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71" name="Freeform 277">
              <a:extLst>
                <a:ext uri="{FF2B5EF4-FFF2-40B4-BE49-F238E27FC236}">
                  <a16:creationId xmlns:a16="http://schemas.microsoft.com/office/drawing/2014/main" id="{201C409D-EFA2-4724-AF0D-F33ADF25094A}"/>
                </a:ext>
              </a:extLst>
            </p:cNvPr>
            <p:cNvSpPr>
              <a:spLocks/>
            </p:cNvSpPr>
            <p:nvPr/>
          </p:nvSpPr>
          <p:spPr bwMode="auto">
            <a:xfrm>
              <a:off x="6350650" y="4637006"/>
              <a:ext cx="9543" cy="112928"/>
            </a:xfrm>
            <a:custGeom>
              <a:avLst/>
              <a:gdLst>
                <a:gd name="T0" fmla="*/ 4 w 5"/>
                <a:gd name="T1" fmla="*/ 2 h 58"/>
                <a:gd name="T2" fmla="*/ 3 w 5"/>
                <a:gd name="T3" fmla="*/ 0 h 58"/>
                <a:gd name="T4" fmla="*/ 1 w 5"/>
                <a:gd name="T5" fmla="*/ 2 h 58"/>
                <a:gd name="T6" fmla="*/ 0 w 5"/>
                <a:gd name="T7" fmla="*/ 39 h 58"/>
                <a:gd name="T8" fmla="*/ 1 w 5"/>
                <a:gd name="T9" fmla="*/ 57 h 58"/>
                <a:gd name="T10" fmla="*/ 3 w 5"/>
                <a:gd name="T11" fmla="*/ 58 h 58"/>
                <a:gd name="T12" fmla="*/ 4 w 5"/>
                <a:gd name="T13" fmla="*/ 57 h 58"/>
                <a:gd name="T14" fmla="*/ 5 w 5"/>
                <a:gd name="T15" fmla="*/ 39 h 58"/>
                <a:gd name="T16" fmla="*/ 4 w 5"/>
                <a:gd name="T17" fmla="*/ 2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 h="58">
                  <a:moveTo>
                    <a:pt x="4" y="2"/>
                  </a:moveTo>
                  <a:cubicBezTo>
                    <a:pt x="4" y="1"/>
                    <a:pt x="4" y="0"/>
                    <a:pt x="3" y="0"/>
                  </a:cubicBezTo>
                  <a:cubicBezTo>
                    <a:pt x="2" y="0"/>
                    <a:pt x="1" y="1"/>
                    <a:pt x="1" y="2"/>
                  </a:cubicBezTo>
                  <a:cubicBezTo>
                    <a:pt x="0" y="39"/>
                    <a:pt x="0" y="39"/>
                    <a:pt x="0" y="39"/>
                  </a:cubicBezTo>
                  <a:cubicBezTo>
                    <a:pt x="1" y="57"/>
                    <a:pt x="1" y="57"/>
                    <a:pt x="1" y="57"/>
                  </a:cubicBezTo>
                  <a:cubicBezTo>
                    <a:pt x="1" y="58"/>
                    <a:pt x="2" y="58"/>
                    <a:pt x="3" y="58"/>
                  </a:cubicBezTo>
                  <a:cubicBezTo>
                    <a:pt x="4" y="58"/>
                    <a:pt x="4" y="58"/>
                    <a:pt x="4" y="57"/>
                  </a:cubicBezTo>
                  <a:cubicBezTo>
                    <a:pt x="5" y="39"/>
                    <a:pt x="5" y="39"/>
                    <a:pt x="5" y="39"/>
                  </a:cubicBezTo>
                  <a:lnTo>
                    <a:pt x="4" y="2"/>
                  </a:lnTo>
                  <a:close/>
                </a:path>
              </a:pathLst>
            </a:custGeom>
            <a:solidFill>
              <a:srgbClr val="CCCCC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72" name="Freeform 278">
              <a:extLst>
                <a:ext uri="{FF2B5EF4-FFF2-40B4-BE49-F238E27FC236}">
                  <a16:creationId xmlns:a16="http://schemas.microsoft.com/office/drawing/2014/main" id="{72FFC85D-E2DA-4236-8133-EB27DF6A19B9}"/>
                </a:ext>
              </a:extLst>
            </p:cNvPr>
            <p:cNvSpPr>
              <a:spLocks/>
            </p:cNvSpPr>
            <p:nvPr/>
          </p:nvSpPr>
          <p:spPr bwMode="auto">
            <a:xfrm>
              <a:off x="6290211" y="4676770"/>
              <a:ext cx="9543" cy="73164"/>
            </a:xfrm>
            <a:custGeom>
              <a:avLst/>
              <a:gdLst>
                <a:gd name="T0" fmla="*/ 2 w 5"/>
                <a:gd name="T1" fmla="*/ 38 h 38"/>
                <a:gd name="T2" fmla="*/ 3 w 5"/>
                <a:gd name="T3" fmla="*/ 37 h 38"/>
                <a:gd name="T4" fmla="*/ 5 w 5"/>
                <a:gd name="T5" fmla="*/ 19 h 38"/>
                <a:gd name="T6" fmla="*/ 3 w 5"/>
                <a:gd name="T7" fmla="*/ 1 h 38"/>
                <a:gd name="T8" fmla="*/ 2 w 5"/>
                <a:gd name="T9" fmla="*/ 0 h 38"/>
                <a:gd name="T10" fmla="*/ 2 w 5"/>
                <a:gd name="T11" fmla="*/ 1 h 38"/>
                <a:gd name="T12" fmla="*/ 0 w 5"/>
                <a:gd name="T13" fmla="*/ 19 h 38"/>
                <a:gd name="T14" fmla="*/ 2 w 5"/>
                <a:gd name="T15" fmla="*/ 37 h 38"/>
                <a:gd name="T16" fmla="*/ 2 w 5"/>
                <a:gd name="T17" fmla="*/ 3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 h="38">
                  <a:moveTo>
                    <a:pt x="2" y="38"/>
                  </a:moveTo>
                  <a:cubicBezTo>
                    <a:pt x="3" y="38"/>
                    <a:pt x="3" y="37"/>
                    <a:pt x="3" y="37"/>
                  </a:cubicBezTo>
                  <a:cubicBezTo>
                    <a:pt x="5" y="19"/>
                    <a:pt x="5" y="19"/>
                    <a:pt x="5" y="19"/>
                  </a:cubicBezTo>
                  <a:cubicBezTo>
                    <a:pt x="3" y="1"/>
                    <a:pt x="3" y="1"/>
                    <a:pt x="3" y="1"/>
                  </a:cubicBezTo>
                  <a:cubicBezTo>
                    <a:pt x="3" y="1"/>
                    <a:pt x="3" y="0"/>
                    <a:pt x="2" y="0"/>
                  </a:cubicBezTo>
                  <a:cubicBezTo>
                    <a:pt x="2" y="0"/>
                    <a:pt x="2" y="1"/>
                    <a:pt x="2" y="1"/>
                  </a:cubicBezTo>
                  <a:cubicBezTo>
                    <a:pt x="0" y="19"/>
                    <a:pt x="0" y="19"/>
                    <a:pt x="0" y="19"/>
                  </a:cubicBezTo>
                  <a:cubicBezTo>
                    <a:pt x="2" y="37"/>
                    <a:pt x="2" y="37"/>
                    <a:pt x="2" y="37"/>
                  </a:cubicBezTo>
                  <a:cubicBezTo>
                    <a:pt x="2" y="37"/>
                    <a:pt x="2" y="38"/>
                    <a:pt x="2" y="38"/>
                  </a:cubicBezTo>
                </a:path>
              </a:pathLst>
            </a:custGeom>
            <a:solidFill>
              <a:srgbClr val="CCCCC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73" name="Freeform 279">
              <a:extLst>
                <a:ext uri="{FF2B5EF4-FFF2-40B4-BE49-F238E27FC236}">
                  <a16:creationId xmlns:a16="http://schemas.microsoft.com/office/drawing/2014/main" id="{25993458-D908-4F94-92CD-B50EB6F86989}"/>
                </a:ext>
              </a:extLst>
            </p:cNvPr>
            <p:cNvSpPr>
              <a:spLocks/>
            </p:cNvSpPr>
            <p:nvPr/>
          </p:nvSpPr>
          <p:spPr bwMode="auto">
            <a:xfrm>
              <a:off x="6339517" y="4638598"/>
              <a:ext cx="9543" cy="111336"/>
            </a:xfrm>
            <a:custGeom>
              <a:avLst/>
              <a:gdLst>
                <a:gd name="T0" fmla="*/ 5 w 5"/>
                <a:gd name="T1" fmla="*/ 38 h 57"/>
                <a:gd name="T2" fmla="*/ 4 w 5"/>
                <a:gd name="T3" fmla="*/ 2 h 57"/>
                <a:gd name="T4" fmla="*/ 2 w 5"/>
                <a:gd name="T5" fmla="*/ 0 h 57"/>
                <a:gd name="T6" fmla="*/ 1 w 5"/>
                <a:gd name="T7" fmla="*/ 2 h 57"/>
                <a:gd name="T8" fmla="*/ 0 w 5"/>
                <a:gd name="T9" fmla="*/ 38 h 57"/>
                <a:gd name="T10" fmla="*/ 1 w 5"/>
                <a:gd name="T11" fmla="*/ 56 h 57"/>
                <a:gd name="T12" fmla="*/ 2 w 5"/>
                <a:gd name="T13" fmla="*/ 57 h 57"/>
                <a:gd name="T14" fmla="*/ 4 w 5"/>
                <a:gd name="T15" fmla="*/ 56 h 57"/>
                <a:gd name="T16" fmla="*/ 4 w 5"/>
                <a:gd name="T17" fmla="*/ 56 h 57"/>
                <a:gd name="T18" fmla="*/ 5 w 5"/>
                <a:gd name="T19" fmla="*/ 38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57">
                  <a:moveTo>
                    <a:pt x="5" y="38"/>
                  </a:moveTo>
                  <a:cubicBezTo>
                    <a:pt x="4" y="2"/>
                    <a:pt x="4" y="2"/>
                    <a:pt x="4" y="2"/>
                  </a:cubicBezTo>
                  <a:cubicBezTo>
                    <a:pt x="4" y="1"/>
                    <a:pt x="3" y="0"/>
                    <a:pt x="2" y="0"/>
                  </a:cubicBezTo>
                  <a:cubicBezTo>
                    <a:pt x="2" y="0"/>
                    <a:pt x="1" y="1"/>
                    <a:pt x="1" y="2"/>
                  </a:cubicBezTo>
                  <a:cubicBezTo>
                    <a:pt x="1" y="2"/>
                    <a:pt x="0" y="38"/>
                    <a:pt x="0" y="38"/>
                  </a:cubicBezTo>
                  <a:cubicBezTo>
                    <a:pt x="1" y="56"/>
                    <a:pt x="1" y="56"/>
                    <a:pt x="1" y="56"/>
                  </a:cubicBezTo>
                  <a:cubicBezTo>
                    <a:pt x="1" y="57"/>
                    <a:pt x="2" y="57"/>
                    <a:pt x="2" y="57"/>
                  </a:cubicBezTo>
                  <a:cubicBezTo>
                    <a:pt x="3" y="57"/>
                    <a:pt x="4" y="57"/>
                    <a:pt x="4" y="56"/>
                  </a:cubicBezTo>
                  <a:cubicBezTo>
                    <a:pt x="4" y="56"/>
                    <a:pt x="4" y="56"/>
                    <a:pt x="4" y="56"/>
                  </a:cubicBezTo>
                  <a:lnTo>
                    <a:pt x="5" y="38"/>
                  </a:lnTo>
                  <a:close/>
                </a:path>
              </a:pathLst>
            </a:custGeom>
            <a:solidFill>
              <a:srgbClr val="CCCCC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74" name="Freeform 280">
              <a:extLst>
                <a:ext uri="{FF2B5EF4-FFF2-40B4-BE49-F238E27FC236}">
                  <a16:creationId xmlns:a16="http://schemas.microsoft.com/office/drawing/2014/main" id="{D5502A95-3F79-4629-A9EC-BDD425F524D3}"/>
                </a:ext>
              </a:extLst>
            </p:cNvPr>
            <p:cNvSpPr>
              <a:spLocks/>
            </p:cNvSpPr>
            <p:nvPr/>
          </p:nvSpPr>
          <p:spPr bwMode="auto">
            <a:xfrm>
              <a:off x="6364966" y="4638598"/>
              <a:ext cx="9543" cy="111336"/>
            </a:xfrm>
            <a:custGeom>
              <a:avLst/>
              <a:gdLst>
                <a:gd name="T0" fmla="*/ 5 w 5"/>
                <a:gd name="T1" fmla="*/ 38 h 57"/>
                <a:gd name="T2" fmla="*/ 4 w 5"/>
                <a:gd name="T3" fmla="*/ 2 h 57"/>
                <a:gd name="T4" fmla="*/ 2 w 5"/>
                <a:gd name="T5" fmla="*/ 0 h 57"/>
                <a:gd name="T6" fmla="*/ 0 w 5"/>
                <a:gd name="T7" fmla="*/ 2 h 57"/>
                <a:gd name="T8" fmla="*/ 0 w 5"/>
                <a:gd name="T9" fmla="*/ 38 h 57"/>
                <a:gd name="T10" fmla="*/ 0 w 5"/>
                <a:gd name="T11" fmla="*/ 55 h 57"/>
                <a:gd name="T12" fmla="*/ 2 w 5"/>
                <a:gd name="T13" fmla="*/ 57 h 57"/>
                <a:gd name="T14" fmla="*/ 4 w 5"/>
                <a:gd name="T15" fmla="*/ 55 h 57"/>
                <a:gd name="T16" fmla="*/ 5 w 5"/>
                <a:gd name="T17" fmla="*/ 38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 h="57">
                  <a:moveTo>
                    <a:pt x="5" y="38"/>
                  </a:moveTo>
                  <a:cubicBezTo>
                    <a:pt x="4" y="2"/>
                    <a:pt x="4" y="2"/>
                    <a:pt x="4" y="2"/>
                  </a:cubicBezTo>
                  <a:cubicBezTo>
                    <a:pt x="4" y="1"/>
                    <a:pt x="3" y="0"/>
                    <a:pt x="2" y="0"/>
                  </a:cubicBezTo>
                  <a:cubicBezTo>
                    <a:pt x="1" y="0"/>
                    <a:pt x="0" y="1"/>
                    <a:pt x="0" y="2"/>
                  </a:cubicBezTo>
                  <a:cubicBezTo>
                    <a:pt x="0" y="38"/>
                    <a:pt x="0" y="38"/>
                    <a:pt x="0" y="38"/>
                  </a:cubicBezTo>
                  <a:cubicBezTo>
                    <a:pt x="0" y="55"/>
                    <a:pt x="0" y="55"/>
                    <a:pt x="0" y="55"/>
                  </a:cubicBezTo>
                  <a:cubicBezTo>
                    <a:pt x="0" y="56"/>
                    <a:pt x="1" y="57"/>
                    <a:pt x="2" y="57"/>
                  </a:cubicBezTo>
                  <a:cubicBezTo>
                    <a:pt x="3" y="57"/>
                    <a:pt x="4" y="56"/>
                    <a:pt x="4" y="55"/>
                  </a:cubicBezTo>
                  <a:lnTo>
                    <a:pt x="5" y="38"/>
                  </a:lnTo>
                  <a:close/>
                </a:path>
              </a:pathLst>
            </a:custGeom>
            <a:solidFill>
              <a:srgbClr val="CCCCC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75" name="Freeform 281">
              <a:extLst>
                <a:ext uri="{FF2B5EF4-FFF2-40B4-BE49-F238E27FC236}">
                  <a16:creationId xmlns:a16="http://schemas.microsoft.com/office/drawing/2014/main" id="{406AF3F3-7AB5-4ADD-90D9-DDAC7AF8905E}"/>
                </a:ext>
              </a:extLst>
            </p:cNvPr>
            <p:cNvSpPr>
              <a:spLocks/>
            </p:cNvSpPr>
            <p:nvPr/>
          </p:nvSpPr>
          <p:spPr bwMode="auto">
            <a:xfrm>
              <a:off x="6256810" y="4694266"/>
              <a:ext cx="7953" cy="38173"/>
            </a:xfrm>
            <a:custGeom>
              <a:avLst/>
              <a:gdLst>
                <a:gd name="T0" fmla="*/ 2 w 4"/>
                <a:gd name="T1" fmla="*/ 0 h 20"/>
                <a:gd name="T2" fmla="*/ 1 w 4"/>
                <a:gd name="T3" fmla="*/ 1 h 20"/>
                <a:gd name="T4" fmla="*/ 0 w 4"/>
                <a:gd name="T5" fmla="*/ 10 h 20"/>
                <a:gd name="T6" fmla="*/ 1 w 4"/>
                <a:gd name="T7" fmla="*/ 19 h 20"/>
                <a:gd name="T8" fmla="*/ 2 w 4"/>
                <a:gd name="T9" fmla="*/ 20 h 20"/>
                <a:gd name="T10" fmla="*/ 2 w 4"/>
                <a:gd name="T11" fmla="*/ 19 h 20"/>
                <a:gd name="T12" fmla="*/ 4 w 4"/>
                <a:gd name="T13" fmla="*/ 10 h 20"/>
                <a:gd name="T14" fmla="*/ 2 w 4"/>
                <a:gd name="T15" fmla="*/ 1 h 20"/>
                <a:gd name="T16" fmla="*/ 2 w 4"/>
                <a:gd name="T1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20">
                  <a:moveTo>
                    <a:pt x="2" y="0"/>
                  </a:moveTo>
                  <a:cubicBezTo>
                    <a:pt x="1" y="0"/>
                    <a:pt x="1" y="1"/>
                    <a:pt x="1" y="1"/>
                  </a:cubicBezTo>
                  <a:cubicBezTo>
                    <a:pt x="0" y="10"/>
                    <a:pt x="0" y="10"/>
                    <a:pt x="0" y="10"/>
                  </a:cubicBezTo>
                  <a:cubicBezTo>
                    <a:pt x="1" y="19"/>
                    <a:pt x="1" y="19"/>
                    <a:pt x="1" y="19"/>
                  </a:cubicBezTo>
                  <a:cubicBezTo>
                    <a:pt x="1" y="20"/>
                    <a:pt x="1" y="20"/>
                    <a:pt x="2" y="20"/>
                  </a:cubicBezTo>
                  <a:cubicBezTo>
                    <a:pt x="2" y="20"/>
                    <a:pt x="2" y="20"/>
                    <a:pt x="2" y="19"/>
                  </a:cubicBezTo>
                  <a:cubicBezTo>
                    <a:pt x="4" y="10"/>
                    <a:pt x="4" y="10"/>
                    <a:pt x="4" y="10"/>
                  </a:cubicBezTo>
                  <a:cubicBezTo>
                    <a:pt x="2" y="1"/>
                    <a:pt x="2" y="1"/>
                    <a:pt x="2" y="1"/>
                  </a:cubicBezTo>
                  <a:cubicBezTo>
                    <a:pt x="2" y="1"/>
                    <a:pt x="2" y="0"/>
                    <a:pt x="2" y="0"/>
                  </a:cubicBezTo>
                </a:path>
              </a:pathLst>
            </a:custGeom>
            <a:solidFill>
              <a:srgbClr val="CCCCC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76" name="Freeform 282">
              <a:extLst>
                <a:ext uri="{FF2B5EF4-FFF2-40B4-BE49-F238E27FC236}">
                  <a16:creationId xmlns:a16="http://schemas.microsoft.com/office/drawing/2014/main" id="{67DD905C-CE3A-45C1-8BC6-F68736520A33}"/>
                </a:ext>
              </a:extLst>
            </p:cNvPr>
            <p:cNvSpPr>
              <a:spLocks/>
            </p:cNvSpPr>
            <p:nvPr/>
          </p:nvSpPr>
          <p:spPr bwMode="auto">
            <a:xfrm>
              <a:off x="6387233" y="4627464"/>
              <a:ext cx="12724" cy="122471"/>
            </a:xfrm>
            <a:custGeom>
              <a:avLst/>
              <a:gdLst>
                <a:gd name="T0" fmla="*/ 6 w 6"/>
                <a:gd name="T1" fmla="*/ 44 h 63"/>
                <a:gd name="T2" fmla="*/ 5 w 6"/>
                <a:gd name="T3" fmla="*/ 2 h 63"/>
                <a:gd name="T4" fmla="*/ 3 w 6"/>
                <a:gd name="T5" fmla="*/ 0 h 63"/>
                <a:gd name="T6" fmla="*/ 1 w 6"/>
                <a:gd name="T7" fmla="*/ 2 h 63"/>
                <a:gd name="T8" fmla="*/ 0 w 6"/>
                <a:gd name="T9" fmla="*/ 44 h 63"/>
                <a:gd name="T10" fmla="*/ 1 w 6"/>
                <a:gd name="T11" fmla="*/ 61 h 63"/>
                <a:gd name="T12" fmla="*/ 3 w 6"/>
                <a:gd name="T13" fmla="*/ 63 h 63"/>
                <a:gd name="T14" fmla="*/ 5 w 6"/>
                <a:gd name="T15" fmla="*/ 61 h 63"/>
                <a:gd name="T16" fmla="*/ 5 w 6"/>
                <a:gd name="T17" fmla="*/ 61 h 63"/>
                <a:gd name="T18" fmla="*/ 6 w 6"/>
                <a:gd name="T19" fmla="*/ 44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63">
                  <a:moveTo>
                    <a:pt x="6" y="44"/>
                  </a:moveTo>
                  <a:cubicBezTo>
                    <a:pt x="5" y="2"/>
                    <a:pt x="5" y="2"/>
                    <a:pt x="5" y="2"/>
                  </a:cubicBezTo>
                  <a:cubicBezTo>
                    <a:pt x="5" y="1"/>
                    <a:pt x="4" y="0"/>
                    <a:pt x="3" y="0"/>
                  </a:cubicBezTo>
                  <a:cubicBezTo>
                    <a:pt x="2" y="0"/>
                    <a:pt x="1" y="1"/>
                    <a:pt x="1" y="2"/>
                  </a:cubicBezTo>
                  <a:cubicBezTo>
                    <a:pt x="0" y="44"/>
                    <a:pt x="0" y="44"/>
                    <a:pt x="0" y="44"/>
                  </a:cubicBezTo>
                  <a:cubicBezTo>
                    <a:pt x="0" y="44"/>
                    <a:pt x="1" y="61"/>
                    <a:pt x="1" y="61"/>
                  </a:cubicBezTo>
                  <a:cubicBezTo>
                    <a:pt x="1" y="62"/>
                    <a:pt x="2" y="63"/>
                    <a:pt x="3" y="63"/>
                  </a:cubicBezTo>
                  <a:cubicBezTo>
                    <a:pt x="4" y="63"/>
                    <a:pt x="5" y="62"/>
                    <a:pt x="5" y="61"/>
                  </a:cubicBezTo>
                  <a:cubicBezTo>
                    <a:pt x="5" y="61"/>
                    <a:pt x="5" y="61"/>
                    <a:pt x="5" y="61"/>
                  </a:cubicBezTo>
                  <a:lnTo>
                    <a:pt x="6" y="44"/>
                  </a:lnTo>
                  <a:close/>
                </a:path>
              </a:pathLst>
            </a:custGeom>
            <a:solidFill>
              <a:srgbClr val="CCCCC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77" name="Freeform 283">
              <a:extLst>
                <a:ext uri="{FF2B5EF4-FFF2-40B4-BE49-F238E27FC236}">
                  <a16:creationId xmlns:a16="http://schemas.microsoft.com/office/drawing/2014/main" id="{AAD0CC85-BF73-4EEA-83B7-24DD4F0CAF53}"/>
                </a:ext>
              </a:extLst>
            </p:cNvPr>
            <p:cNvSpPr>
              <a:spLocks/>
            </p:cNvSpPr>
            <p:nvPr/>
          </p:nvSpPr>
          <p:spPr bwMode="auto">
            <a:xfrm>
              <a:off x="6401547" y="4619511"/>
              <a:ext cx="11134" cy="130423"/>
            </a:xfrm>
            <a:custGeom>
              <a:avLst/>
              <a:gdLst>
                <a:gd name="T0" fmla="*/ 3 w 6"/>
                <a:gd name="T1" fmla="*/ 0 h 67"/>
                <a:gd name="T2" fmla="*/ 0 w 6"/>
                <a:gd name="T3" fmla="*/ 2 h 67"/>
                <a:gd name="T4" fmla="*/ 0 w 6"/>
                <a:gd name="T5" fmla="*/ 48 h 67"/>
                <a:gd name="T6" fmla="*/ 0 w 6"/>
                <a:gd name="T7" fmla="*/ 65 h 67"/>
                <a:gd name="T8" fmla="*/ 3 w 6"/>
                <a:gd name="T9" fmla="*/ 67 h 67"/>
                <a:gd name="T10" fmla="*/ 5 w 6"/>
                <a:gd name="T11" fmla="*/ 65 h 67"/>
                <a:gd name="T12" fmla="*/ 5 w 6"/>
                <a:gd name="T13" fmla="*/ 65 h 67"/>
                <a:gd name="T14" fmla="*/ 6 w 6"/>
                <a:gd name="T15" fmla="*/ 48 h 67"/>
                <a:gd name="T16" fmla="*/ 5 w 6"/>
                <a:gd name="T17" fmla="*/ 2 h 67"/>
                <a:gd name="T18" fmla="*/ 3 w 6"/>
                <a:gd name="T19" fmla="*/ 0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67">
                  <a:moveTo>
                    <a:pt x="3" y="0"/>
                  </a:moveTo>
                  <a:cubicBezTo>
                    <a:pt x="1" y="0"/>
                    <a:pt x="1" y="1"/>
                    <a:pt x="0" y="2"/>
                  </a:cubicBezTo>
                  <a:cubicBezTo>
                    <a:pt x="0" y="48"/>
                    <a:pt x="0" y="48"/>
                    <a:pt x="0" y="48"/>
                  </a:cubicBezTo>
                  <a:cubicBezTo>
                    <a:pt x="0" y="65"/>
                    <a:pt x="0" y="65"/>
                    <a:pt x="0" y="65"/>
                  </a:cubicBezTo>
                  <a:cubicBezTo>
                    <a:pt x="1" y="66"/>
                    <a:pt x="1" y="67"/>
                    <a:pt x="3" y="67"/>
                  </a:cubicBezTo>
                  <a:cubicBezTo>
                    <a:pt x="4" y="67"/>
                    <a:pt x="5" y="66"/>
                    <a:pt x="5" y="65"/>
                  </a:cubicBezTo>
                  <a:cubicBezTo>
                    <a:pt x="5" y="65"/>
                    <a:pt x="5" y="65"/>
                    <a:pt x="5" y="65"/>
                  </a:cubicBezTo>
                  <a:cubicBezTo>
                    <a:pt x="6" y="48"/>
                    <a:pt x="6" y="48"/>
                    <a:pt x="6" y="48"/>
                  </a:cubicBezTo>
                  <a:cubicBezTo>
                    <a:pt x="5" y="2"/>
                    <a:pt x="5" y="2"/>
                    <a:pt x="5" y="2"/>
                  </a:cubicBezTo>
                  <a:cubicBezTo>
                    <a:pt x="5" y="1"/>
                    <a:pt x="4" y="0"/>
                    <a:pt x="3" y="0"/>
                  </a:cubicBezTo>
                </a:path>
              </a:pathLst>
            </a:custGeom>
            <a:solidFill>
              <a:srgbClr val="CCCCC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78" name="Freeform 284">
              <a:extLst>
                <a:ext uri="{FF2B5EF4-FFF2-40B4-BE49-F238E27FC236}">
                  <a16:creationId xmlns:a16="http://schemas.microsoft.com/office/drawing/2014/main" id="{4DE621ED-5FC2-4FDB-84D4-A4DC654F0CD0}"/>
                </a:ext>
              </a:extLst>
            </p:cNvPr>
            <p:cNvSpPr>
              <a:spLocks/>
            </p:cNvSpPr>
            <p:nvPr/>
          </p:nvSpPr>
          <p:spPr bwMode="auto">
            <a:xfrm>
              <a:off x="6376099" y="4641779"/>
              <a:ext cx="9543" cy="108156"/>
            </a:xfrm>
            <a:custGeom>
              <a:avLst/>
              <a:gdLst>
                <a:gd name="T0" fmla="*/ 5 w 5"/>
                <a:gd name="T1" fmla="*/ 37 h 56"/>
                <a:gd name="T2" fmla="*/ 4 w 5"/>
                <a:gd name="T3" fmla="*/ 2 h 56"/>
                <a:gd name="T4" fmla="*/ 3 w 5"/>
                <a:gd name="T5" fmla="*/ 0 h 56"/>
                <a:gd name="T6" fmla="*/ 1 w 5"/>
                <a:gd name="T7" fmla="*/ 2 h 56"/>
                <a:gd name="T8" fmla="*/ 0 w 5"/>
                <a:gd name="T9" fmla="*/ 37 h 56"/>
                <a:gd name="T10" fmla="*/ 1 w 5"/>
                <a:gd name="T11" fmla="*/ 54 h 56"/>
                <a:gd name="T12" fmla="*/ 3 w 5"/>
                <a:gd name="T13" fmla="*/ 56 h 56"/>
                <a:gd name="T14" fmla="*/ 4 w 5"/>
                <a:gd name="T15" fmla="*/ 54 h 56"/>
                <a:gd name="T16" fmla="*/ 4 w 5"/>
                <a:gd name="T17" fmla="*/ 54 h 56"/>
                <a:gd name="T18" fmla="*/ 5 w 5"/>
                <a:gd name="T19" fmla="*/ 37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56">
                  <a:moveTo>
                    <a:pt x="5" y="37"/>
                  </a:moveTo>
                  <a:cubicBezTo>
                    <a:pt x="4" y="2"/>
                    <a:pt x="4" y="2"/>
                    <a:pt x="4" y="2"/>
                  </a:cubicBezTo>
                  <a:cubicBezTo>
                    <a:pt x="4" y="1"/>
                    <a:pt x="4" y="0"/>
                    <a:pt x="3" y="0"/>
                  </a:cubicBezTo>
                  <a:cubicBezTo>
                    <a:pt x="2" y="0"/>
                    <a:pt x="1" y="1"/>
                    <a:pt x="1" y="2"/>
                  </a:cubicBezTo>
                  <a:cubicBezTo>
                    <a:pt x="0" y="37"/>
                    <a:pt x="0" y="37"/>
                    <a:pt x="0" y="37"/>
                  </a:cubicBezTo>
                  <a:cubicBezTo>
                    <a:pt x="1" y="54"/>
                    <a:pt x="1" y="54"/>
                    <a:pt x="1" y="54"/>
                  </a:cubicBezTo>
                  <a:cubicBezTo>
                    <a:pt x="1" y="55"/>
                    <a:pt x="2" y="56"/>
                    <a:pt x="3" y="56"/>
                  </a:cubicBezTo>
                  <a:cubicBezTo>
                    <a:pt x="4" y="56"/>
                    <a:pt x="4" y="55"/>
                    <a:pt x="4" y="54"/>
                  </a:cubicBezTo>
                  <a:cubicBezTo>
                    <a:pt x="4" y="54"/>
                    <a:pt x="4" y="54"/>
                    <a:pt x="4" y="54"/>
                  </a:cubicBezTo>
                  <a:lnTo>
                    <a:pt x="5" y="37"/>
                  </a:lnTo>
                  <a:close/>
                </a:path>
              </a:pathLst>
            </a:custGeom>
            <a:solidFill>
              <a:srgbClr val="CCCCC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79" name="Freeform 285">
              <a:extLst>
                <a:ext uri="{FF2B5EF4-FFF2-40B4-BE49-F238E27FC236}">
                  <a16:creationId xmlns:a16="http://schemas.microsoft.com/office/drawing/2014/main" id="{FBF37090-3DCF-49D8-A292-C805AB92768D}"/>
                </a:ext>
              </a:extLst>
            </p:cNvPr>
            <p:cNvSpPr>
              <a:spLocks/>
            </p:cNvSpPr>
            <p:nvPr/>
          </p:nvSpPr>
          <p:spPr bwMode="auto">
            <a:xfrm>
              <a:off x="4345002" y="3041713"/>
              <a:ext cx="44535" cy="77936"/>
            </a:xfrm>
            <a:custGeom>
              <a:avLst/>
              <a:gdLst>
                <a:gd name="T0" fmla="*/ 17 w 28"/>
                <a:gd name="T1" fmla="*/ 0 h 49"/>
                <a:gd name="T2" fmla="*/ 0 w 28"/>
                <a:gd name="T3" fmla="*/ 29 h 49"/>
                <a:gd name="T4" fmla="*/ 11 w 28"/>
                <a:gd name="T5" fmla="*/ 49 h 49"/>
                <a:gd name="T6" fmla="*/ 23 w 28"/>
                <a:gd name="T7" fmla="*/ 49 h 49"/>
                <a:gd name="T8" fmla="*/ 12 w 28"/>
                <a:gd name="T9" fmla="*/ 29 h 49"/>
                <a:gd name="T10" fmla="*/ 28 w 28"/>
                <a:gd name="T11" fmla="*/ 0 h 49"/>
                <a:gd name="T12" fmla="*/ 17 w 28"/>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8" h="49">
                  <a:moveTo>
                    <a:pt x="17" y="0"/>
                  </a:moveTo>
                  <a:lnTo>
                    <a:pt x="0" y="29"/>
                  </a:lnTo>
                  <a:lnTo>
                    <a:pt x="11" y="49"/>
                  </a:lnTo>
                  <a:lnTo>
                    <a:pt x="23" y="49"/>
                  </a:lnTo>
                  <a:lnTo>
                    <a:pt x="12" y="29"/>
                  </a:lnTo>
                  <a:lnTo>
                    <a:pt x="28" y="0"/>
                  </a:lnTo>
                  <a:lnTo>
                    <a:pt x="17" y="0"/>
                  </a:lnTo>
                  <a:close/>
                </a:path>
              </a:pathLst>
            </a:custGeom>
            <a:solidFill>
              <a:srgbClr val="CCCCC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80" name="Freeform 286">
              <a:extLst>
                <a:ext uri="{FF2B5EF4-FFF2-40B4-BE49-F238E27FC236}">
                  <a16:creationId xmlns:a16="http://schemas.microsoft.com/office/drawing/2014/main" id="{CBA90542-290E-41C8-A642-2ED707D9B3EF}"/>
                </a:ext>
              </a:extLst>
            </p:cNvPr>
            <p:cNvSpPr>
              <a:spLocks/>
            </p:cNvSpPr>
            <p:nvPr/>
          </p:nvSpPr>
          <p:spPr bwMode="auto">
            <a:xfrm>
              <a:off x="4317963" y="3054438"/>
              <a:ext cx="30220" cy="41354"/>
            </a:xfrm>
            <a:custGeom>
              <a:avLst/>
              <a:gdLst>
                <a:gd name="T0" fmla="*/ 11 w 19"/>
                <a:gd name="T1" fmla="*/ 26 h 26"/>
                <a:gd name="T2" fmla="*/ 19 w 19"/>
                <a:gd name="T3" fmla="*/ 12 h 26"/>
                <a:gd name="T4" fmla="*/ 12 w 19"/>
                <a:gd name="T5" fmla="*/ 0 h 26"/>
                <a:gd name="T6" fmla="*/ 2 w 19"/>
                <a:gd name="T7" fmla="*/ 0 h 26"/>
                <a:gd name="T8" fmla="*/ 8 w 19"/>
                <a:gd name="T9" fmla="*/ 12 h 26"/>
                <a:gd name="T10" fmla="*/ 0 w 19"/>
                <a:gd name="T11" fmla="*/ 26 h 26"/>
                <a:gd name="T12" fmla="*/ 11 w 19"/>
                <a:gd name="T13" fmla="*/ 26 h 26"/>
              </a:gdLst>
              <a:ahLst/>
              <a:cxnLst>
                <a:cxn ang="0">
                  <a:pos x="T0" y="T1"/>
                </a:cxn>
                <a:cxn ang="0">
                  <a:pos x="T2" y="T3"/>
                </a:cxn>
                <a:cxn ang="0">
                  <a:pos x="T4" y="T5"/>
                </a:cxn>
                <a:cxn ang="0">
                  <a:pos x="T6" y="T7"/>
                </a:cxn>
                <a:cxn ang="0">
                  <a:pos x="T8" y="T9"/>
                </a:cxn>
                <a:cxn ang="0">
                  <a:pos x="T10" y="T11"/>
                </a:cxn>
                <a:cxn ang="0">
                  <a:pos x="T12" y="T13"/>
                </a:cxn>
              </a:cxnLst>
              <a:rect l="0" t="0" r="r" b="b"/>
              <a:pathLst>
                <a:path w="19" h="26">
                  <a:moveTo>
                    <a:pt x="11" y="26"/>
                  </a:moveTo>
                  <a:lnTo>
                    <a:pt x="19" y="12"/>
                  </a:lnTo>
                  <a:lnTo>
                    <a:pt x="12" y="0"/>
                  </a:lnTo>
                  <a:lnTo>
                    <a:pt x="2" y="0"/>
                  </a:lnTo>
                  <a:lnTo>
                    <a:pt x="8" y="12"/>
                  </a:lnTo>
                  <a:lnTo>
                    <a:pt x="0" y="26"/>
                  </a:lnTo>
                  <a:lnTo>
                    <a:pt x="11" y="26"/>
                  </a:lnTo>
                  <a:close/>
                </a:path>
              </a:pathLst>
            </a:custGeom>
            <a:solidFill>
              <a:srgbClr val="CCCCC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81" name="Freeform 287">
              <a:extLst>
                <a:ext uri="{FF2B5EF4-FFF2-40B4-BE49-F238E27FC236}">
                  <a16:creationId xmlns:a16="http://schemas.microsoft.com/office/drawing/2014/main" id="{25C25E07-88A3-4248-885E-842F42B90F9B}"/>
                </a:ext>
              </a:extLst>
            </p:cNvPr>
            <p:cNvSpPr>
              <a:spLocks/>
            </p:cNvSpPr>
            <p:nvPr/>
          </p:nvSpPr>
          <p:spPr bwMode="auto">
            <a:xfrm>
              <a:off x="4881008" y="2213051"/>
              <a:ext cx="44535" cy="81117"/>
            </a:xfrm>
            <a:custGeom>
              <a:avLst/>
              <a:gdLst>
                <a:gd name="T0" fmla="*/ 17 w 28"/>
                <a:gd name="T1" fmla="*/ 0 h 51"/>
                <a:gd name="T2" fmla="*/ 0 w 28"/>
                <a:gd name="T3" fmla="*/ 31 h 51"/>
                <a:gd name="T4" fmla="*/ 11 w 28"/>
                <a:gd name="T5" fmla="*/ 51 h 51"/>
                <a:gd name="T6" fmla="*/ 22 w 28"/>
                <a:gd name="T7" fmla="*/ 51 h 51"/>
                <a:gd name="T8" fmla="*/ 11 w 28"/>
                <a:gd name="T9" fmla="*/ 31 h 51"/>
                <a:gd name="T10" fmla="*/ 28 w 28"/>
                <a:gd name="T11" fmla="*/ 0 h 51"/>
                <a:gd name="T12" fmla="*/ 17 w 28"/>
                <a:gd name="T13" fmla="*/ 0 h 51"/>
              </a:gdLst>
              <a:ahLst/>
              <a:cxnLst>
                <a:cxn ang="0">
                  <a:pos x="T0" y="T1"/>
                </a:cxn>
                <a:cxn ang="0">
                  <a:pos x="T2" y="T3"/>
                </a:cxn>
                <a:cxn ang="0">
                  <a:pos x="T4" y="T5"/>
                </a:cxn>
                <a:cxn ang="0">
                  <a:pos x="T6" y="T7"/>
                </a:cxn>
                <a:cxn ang="0">
                  <a:pos x="T8" y="T9"/>
                </a:cxn>
                <a:cxn ang="0">
                  <a:pos x="T10" y="T11"/>
                </a:cxn>
                <a:cxn ang="0">
                  <a:pos x="T12" y="T13"/>
                </a:cxn>
              </a:cxnLst>
              <a:rect l="0" t="0" r="r" b="b"/>
              <a:pathLst>
                <a:path w="28" h="51">
                  <a:moveTo>
                    <a:pt x="17" y="0"/>
                  </a:moveTo>
                  <a:lnTo>
                    <a:pt x="0" y="31"/>
                  </a:lnTo>
                  <a:lnTo>
                    <a:pt x="11" y="51"/>
                  </a:lnTo>
                  <a:lnTo>
                    <a:pt x="22" y="51"/>
                  </a:lnTo>
                  <a:lnTo>
                    <a:pt x="11" y="31"/>
                  </a:lnTo>
                  <a:lnTo>
                    <a:pt x="28" y="0"/>
                  </a:lnTo>
                  <a:lnTo>
                    <a:pt x="17" y="0"/>
                  </a:lnTo>
                  <a:close/>
                </a:path>
              </a:pathLst>
            </a:custGeom>
            <a:solidFill>
              <a:srgbClr val="CCCCC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82" name="Freeform 288">
              <a:extLst>
                <a:ext uri="{FF2B5EF4-FFF2-40B4-BE49-F238E27FC236}">
                  <a16:creationId xmlns:a16="http://schemas.microsoft.com/office/drawing/2014/main" id="{7A905573-7B96-47D2-9D87-E4F2E47B357B}"/>
                </a:ext>
              </a:extLst>
            </p:cNvPr>
            <p:cNvSpPr>
              <a:spLocks/>
            </p:cNvSpPr>
            <p:nvPr/>
          </p:nvSpPr>
          <p:spPr bwMode="auto">
            <a:xfrm>
              <a:off x="4853970" y="2228956"/>
              <a:ext cx="28629" cy="39764"/>
            </a:xfrm>
            <a:custGeom>
              <a:avLst/>
              <a:gdLst>
                <a:gd name="T0" fmla="*/ 9 w 18"/>
                <a:gd name="T1" fmla="*/ 25 h 25"/>
                <a:gd name="T2" fmla="*/ 18 w 18"/>
                <a:gd name="T3" fmla="*/ 11 h 25"/>
                <a:gd name="T4" fmla="*/ 12 w 18"/>
                <a:gd name="T5" fmla="*/ 0 h 25"/>
                <a:gd name="T6" fmla="*/ 1 w 18"/>
                <a:gd name="T7" fmla="*/ 0 h 25"/>
                <a:gd name="T8" fmla="*/ 8 w 18"/>
                <a:gd name="T9" fmla="*/ 11 h 25"/>
                <a:gd name="T10" fmla="*/ 0 w 18"/>
                <a:gd name="T11" fmla="*/ 25 h 25"/>
                <a:gd name="T12" fmla="*/ 9 w 18"/>
                <a:gd name="T13" fmla="*/ 25 h 25"/>
              </a:gdLst>
              <a:ahLst/>
              <a:cxnLst>
                <a:cxn ang="0">
                  <a:pos x="T0" y="T1"/>
                </a:cxn>
                <a:cxn ang="0">
                  <a:pos x="T2" y="T3"/>
                </a:cxn>
                <a:cxn ang="0">
                  <a:pos x="T4" y="T5"/>
                </a:cxn>
                <a:cxn ang="0">
                  <a:pos x="T6" y="T7"/>
                </a:cxn>
                <a:cxn ang="0">
                  <a:pos x="T8" y="T9"/>
                </a:cxn>
                <a:cxn ang="0">
                  <a:pos x="T10" y="T11"/>
                </a:cxn>
                <a:cxn ang="0">
                  <a:pos x="T12" y="T13"/>
                </a:cxn>
              </a:cxnLst>
              <a:rect l="0" t="0" r="r" b="b"/>
              <a:pathLst>
                <a:path w="18" h="25">
                  <a:moveTo>
                    <a:pt x="9" y="25"/>
                  </a:moveTo>
                  <a:lnTo>
                    <a:pt x="18" y="11"/>
                  </a:lnTo>
                  <a:lnTo>
                    <a:pt x="12" y="0"/>
                  </a:lnTo>
                  <a:lnTo>
                    <a:pt x="1" y="0"/>
                  </a:lnTo>
                  <a:lnTo>
                    <a:pt x="8" y="11"/>
                  </a:lnTo>
                  <a:lnTo>
                    <a:pt x="0" y="25"/>
                  </a:lnTo>
                  <a:lnTo>
                    <a:pt x="9" y="25"/>
                  </a:lnTo>
                  <a:close/>
                </a:path>
              </a:pathLst>
            </a:custGeom>
            <a:solidFill>
              <a:srgbClr val="CCCCC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83" name="Freeform 289">
              <a:extLst>
                <a:ext uri="{FF2B5EF4-FFF2-40B4-BE49-F238E27FC236}">
                  <a16:creationId xmlns:a16="http://schemas.microsoft.com/office/drawing/2014/main" id="{D5FCBAD9-3D3A-499A-89A8-D65BE93E2F2E}"/>
                </a:ext>
              </a:extLst>
            </p:cNvPr>
            <p:cNvSpPr>
              <a:spLocks/>
            </p:cNvSpPr>
            <p:nvPr/>
          </p:nvSpPr>
          <p:spPr bwMode="auto">
            <a:xfrm>
              <a:off x="3969639" y="3420258"/>
              <a:ext cx="46126" cy="77936"/>
            </a:xfrm>
            <a:custGeom>
              <a:avLst/>
              <a:gdLst>
                <a:gd name="T0" fmla="*/ 17 w 29"/>
                <a:gd name="T1" fmla="*/ 0 h 49"/>
                <a:gd name="T2" fmla="*/ 0 w 29"/>
                <a:gd name="T3" fmla="*/ 30 h 49"/>
                <a:gd name="T4" fmla="*/ 11 w 29"/>
                <a:gd name="T5" fmla="*/ 49 h 49"/>
                <a:gd name="T6" fmla="*/ 24 w 29"/>
                <a:gd name="T7" fmla="*/ 49 h 49"/>
                <a:gd name="T8" fmla="*/ 13 w 29"/>
                <a:gd name="T9" fmla="*/ 30 h 49"/>
                <a:gd name="T10" fmla="*/ 29 w 29"/>
                <a:gd name="T11" fmla="*/ 0 h 49"/>
                <a:gd name="T12" fmla="*/ 17 w 29"/>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9" h="49">
                  <a:moveTo>
                    <a:pt x="17" y="0"/>
                  </a:moveTo>
                  <a:lnTo>
                    <a:pt x="0" y="30"/>
                  </a:lnTo>
                  <a:lnTo>
                    <a:pt x="11" y="49"/>
                  </a:lnTo>
                  <a:lnTo>
                    <a:pt x="24" y="49"/>
                  </a:lnTo>
                  <a:lnTo>
                    <a:pt x="13" y="30"/>
                  </a:lnTo>
                  <a:lnTo>
                    <a:pt x="29" y="0"/>
                  </a:lnTo>
                  <a:lnTo>
                    <a:pt x="17" y="0"/>
                  </a:lnTo>
                  <a:close/>
                </a:path>
              </a:pathLst>
            </a:custGeom>
            <a:solidFill>
              <a:srgbClr val="CCCCC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84" name="Freeform 290">
              <a:extLst>
                <a:ext uri="{FF2B5EF4-FFF2-40B4-BE49-F238E27FC236}">
                  <a16:creationId xmlns:a16="http://schemas.microsoft.com/office/drawing/2014/main" id="{EB08EB85-2E14-4AA7-8F31-A08804D4C61D}"/>
                </a:ext>
              </a:extLst>
            </p:cNvPr>
            <p:cNvSpPr>
              <a:spLocks/>
            </p:cNvSpPr>
            <p:nvPr/>
          </p:nvSpPr>
          <p:spPr bwMode="auto">
            <a:xfrm>
              <a:off x="3942600" y="3432982"/>
              <a:ext cx="31810" cy="41354"/>
            </a:xfrm>
            <a:custGeom>
              <a:avLst/>
              <a:gdLst>
                <a:gd name="T0" fmla="*/ 11 w 20"/>
                <a:gd name="T1" fmla="*/ 26 h 26"/>
                <a:gd name="T2" fmla="*/ 20 w 20"/>
                <a:gd name="T3" fmla="*/ 12 h 26"/>
                <a:gd name="T4" fmla="*/ 14 w 20"/>
                <a:gd name="T5" fmla="*/ 0 h 26"/>
                <a:gd name="T6" fmla="*/ 3 w 20"/>
                <a:gd name="T7" fmla="*/ 0 h 26"/>
                <a:gd name="T8" fmla="*/ 9 w 20"/>
                <a:gd name="T9" fmla="*/ 12 h 26"/>
                <a:gd name="T10" fmla="*/ 0 w 20"/>
                <a:gd name="T11" fmla="*/ 26 h 26"/>
                <a:gd name="T12" fmla="*/ 11 w 20"/>
                <a:gd name="T13" fmla="*/ 26 h 26"/>
              </a:gdLst>
              <a:ahLst/>
              <a:cxnLst>
                <a:cxn ang="0">
                  <a:pos x="T0" y="T1"/>
                </a:cxn>
                <a:cxn ang="0">
                  <a:pos x="T2" y="T3"/>
                </a:cxn>
                <a:cxn ang="0">
                  <a:pos x="T4" y="T5"/>
                </a:cxn>
                <a:cxn ang="0">
                  <a:pos x="T6" y="T7"/>
                </a:cxn>
                <a:cxn ang="0">
                  <a:pos x="T8" y="T9"/>
                </a:cxn>
                <a:cxn ang="0">
                  <a:pos x="T10" y="T11"/>
                </a:cxn>
                <a:cxn ang="0">
                  <a:pos x="T12" y="T13"/>
                </a:cxn>
              </a:cxnLst>
              <a:rect l="0" t="0" r="r" b="b"/>
              <a:pathLst>
                <a:path w="20" h="26">
                  <a:moveTo>
                    <a:pt x="11" y="26"/>
                  </a:moveTo>
                  <a:lnTo>
                    <a:pt x="20" y="12"/>
                  </a:lnTo>
                  <a:lnTo>
                    <a:pt x="14" y="0"/>
                  </a:lnTo>
                  <a:lnTo>
                    <a:pt x="3" y="0"/>
                  </a:lnTo>
                  <a:lnTo>
                    <a:pt x="9" y="12"/>
                  </a:lnTo>
                  <a:lnTo>
                    <a:pt x="0" y="26"/>
                  </a:lnTo>
                  <a:lnTo>
                    <a:pt x="11" y="26"/>
                  </a:lnTo>
                  <a:close/>
                </a:path>
              </a:pathLst>
            </a:custGeom>
            <a:solidFill>
              <a:srgbClr val="CCCCC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85" name="Freeform 291">
              <a:extLst>
                <a:ext uri="{FF2B5EF4-FFF2-40B4-BE49-F238E27FC236}">
                  <a16:creationId xmlns:a16="http://schemas.microsoft.com/office/drawing/2014/main" id="{ABDCD790-A4A1-4CBB-8726-E449A7BFED91}"/>
                </a:ext>
              </a:extLst>
            </p:cNvPr>
            <p:cNvSpPr>
              <a:spLocks/>
            </p:cNvSpPr>
            <p:nvPr/>
          </p:nvSpPr>
          <p:spPr bwMode="auto">
            <a:xfrm>
              <a:off x="7521274" y="3226214"/>
              <a:ext cx="28629" cy="50896"/>
            </a:xfrm>
            <a:custGeom>
              <a:avLst/>
              <a:gdLst>
                <a:gd name="T0" fmla="*/ 11 w 18"/>
                <a:gd name="T1" fmla="*/ 0 h 32"/>
                <a:gd name="T2" fmla="*/ 0 w 18"/>
                <a:gd name="T3" fmla="*/ 20 h 32"/>
                <a:gd name="T4" fmla="*/ 7 w 18"/>
                <a:gd name="T5" fmla="*/ 32 h 32"/>
                <a:gd name="T6" fmla="*/ 14 w 18"/>
                <a:gd name="T7" fmla="*/ 32 h 32"/>
                <a:gd name="T8" fmla="*/ 7 w 18"/>
                <a:gd name="T9" fmla="*/ 20 h 32"/>
                <a:gd name="T10" fmla="*/ 18 w 18"/>
                <a:gd name="T11" fmla="*/ 0 h 32"/>
                <a:gd name="T12" fmla="*/ 11 w 18"/>
                <a:gd name="T13" fmla="*/ 0 h 32"/>
              </a:gdLst>
              <a:ahLst/>
              <a:cxnLst>
                <a:cxn ang="0">
                  <a:pos x="T0" y="T1"/>
                </a:cxn>
                <a:cxn ang="0">
                  <a:pos x="T2" y="T3"/>
                </a:cxn>
                <a:cxn ang="0">
                  <a:pos x="T4" y="T5"/>
                </a:cxn>
                <a:cxn ang="0">
                  <a:pos x="T6" y="T7"/>
                </a:cxn>
                <a:cxn ang="0">
                  <a:pos x="T8" y="T9"/>
                </a:cxn>
                <a:cxn ang="0">
                  <a:pos x="T10" y="T11"/>
                </a:cxn>
                <a:cxn ang="0">
                  <a:pos x="T12" y="T13"/>
                </a:cxn>
              </a:cxnLst>
              <a:rect l="0" t="0" r="r" b="b"/>
              <a:pathLst>
                <a:path w="18" h="32">
                  <a:moveTo>
                    <a:pt x="11" y="0"/>
                  </a:moveTo>
                  <a:lnTo>
                    <a:pt x="0" y="20"/>
                  </a:lnTo>
                  <a:lnTo>
                    <a:pt x="7" y="32"/>
                  </a:lnTo>
                  <a:lnTo>
                    <a:pt x="14" y="32"/>
                  </a:lnTo>
                  <a:lnTo>
                    <a:pt x="7" y="20"/>
                  </a:lnTo>
                  <a:lnTo>
                    <a:pt x="18" y="0"/>
                  </a:lnTo>
                  <a:lnTo>
                    <a:pt x="11" y="0"/>
                  </a:lnTo>
                  <a:close/>
                </a:path>
              </a:pathLst>
            </a:custGeom>
            <a:solidFill>
              <a:srgbClr val="CCCCC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86" name="Freeform 292">
              <a:extLst>
                <a:ext uri="{FF2B5EF4-FFF2-40B4-BE49-F238E27FC236}">
                  <a16:creationId xmlns:a16="http://schemas.microsoft.com/office/drawing/2014/main" id="{5EC6F2E0-9457-4100-93B5-38103B21515A}"/>
                </a:ext>
              </a:extLst>
            </p:cNvPr>
            <p:cNvSpPr>
              <a:spLocks/>
            </p:cNvSpPr>
            <p:nvPr/>
          </p:nvSpPr>
          <p:spPr bwMode="auto">
            <a:xfrm>
              <a:off x="7502188" y="3235757"/>
              <a:ext cx="20678" cy="25448"/>
            </a:xfrm>
            <a:custGeom>
              <a:avLst/>
              <a:gdLst>
                <a:gd name="T0" fmla="*/ 7 w 13"/>
                <a:gd name="T1" fmla="*/ 16 h 16"/>
                <a:gd name="T2" fmla="*/ 13 w 13"/>
                <a:gd name="T3" fmla="*/ 8 h 16"/>
                <a:gd name="T4" fmla="*/ 9 w 13"/>
                <a:gd name="T5" fmla="*/ 0 h 16"/>
                <a:gd name="T6" fmla="*/ 2 w 13"/>
                <a:gd name="T7" fmla="*/ 0 h 16"/>
                <a:gd name="T8" fmla="*/ 5 w 13"/>
                <a:gd name="T9" fmla="*/ 8 h 16"/>
                <a:gd name="T10" fmla="*/ 0 w 13"/>
                <a:gd name="T11" fmla="*/ 16 h 16"/>
                <a:gd name="T12" fmla="*/ 7 w 13"/>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13" h="16">
                  <a:moveTo>
                    <a:pt x="7" y="16"/>
                  </a:moveTo>
                  <a:lnTo>
                    <a:pt x="13" y="8"/>
                  </a:lnTo>
                  <a:lnTo>
                    <a:pt x="9" y="0"/>
                  </a:lnTo>
                  <a:lnTo>
                    <a:pt x="2" y="0"/>
                  </a:lnTo>
                  <a:lnTo>
                    <a:pt x="5" y="8"/>
                  </a:lnTo>
                  <a:lnTo>
                    <a:pt x="0" y="16"/>
                  </a:lnTo>
                  <a:lnTo>
                    <a:pt x="7" y="16"/>
                  </a:lnTo>
                  <a:close/>
                </a:path>
              </a:pathLst>
            </a:custGeom>
            <a:solidFill>
              <a:srgbClr val="CCCCC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87" name="Freeform 293">
              <a:extLst>
                <a:ext uri="{FF2B5EF4-FFF2-40B4-BE49-F238E27FC236}">
                  <a16:creationId xmlns:a16="http://schemas.microsoft.com/office/drawing/2014/main" id="{BF6C8E3A-4E70-48A7-BB81-71F1EFB27F39}"/>
                </a:ext>
              </a:extLst>
            </p:cNvPr>
            <p:cNvSpPr>
              <a:spLocks/>
            </p:cNvSpPr>
            <p:nvPr/>
          </p:nvSpPr>
          <p:spPr bwMode="auto">
            <a:xfrm>
              <a:off x="6560599" y="4266416"/>
              <a:ext cx="30220" cy="50896"/>
            </a:xfrm>
            <a:custGeom>
              <a:avLst/>
              <a:gdLst>
                <a:gd name="T0" fmla="*/ 11 w 19"/>
                <a:gd name="T1" fmla="*/ 0 h 32"/>
                <a:gd name="T2" fmla="*/ 0 w 19"/>
                <a:gd name="T3" fmla="*/ 20 h 32"/>
                <a:gd name="T4" fmla="*/ 8 w 19"/>
                <a:gd name="T5" fmla="*/ 32 h 32"/>
                <a:gd name="T6" fmla="*/ 15 w 19"/>
                <a:gd name="T7" fmla="*/ 32 h 32"/>
                <a:gd name="T8" fmla="*/ 8 w 19"/>
                <a:gd name="T9" fmla="*/ 20 h 32"/>
                <a:gd name="T10" fmla="*/ 19 w 19"/>
                <a:gd name="T11" fmla="*/ 0 h 32"/>
                <a:gd name="T12" fmla="*/ 11 w 19"/>
                <a:gd name="T13" fmla="*/ 0 h 32"/>
              </a:gdLst>
              <a:ahLst/>
              <a:cxnLst>
                <a:cxn ang="0">
                  <a:pos x="T0" y="T1"/>
                </a:cxn>
                <a:cxn ang="0">
                  <a:pos x="T2" y="T3"/>
                </a:cxn>
                <a:cxn ang="0">
                  <a:pos x="T4" y="T5"/>
                </a:cxn>
                <a:cxn ang="0">
                  <a:pos x="T6" y="T7"/>
                </a:cxn>
                <a:cxn ang="0">
                  <a:pos x="T8" y="T9"/>
                </a:cxn>
                <a:cxn ang="0">
                  <a:pos x="T10" y="T11"/>
                </a:cxn>
                <a:cxn ang="0">
                  <a:pos x="T12" y="T13"/>
                </a:cxn>
              </a:cxnLst>
              <a:rect l="0" t="0" r="r" b="b"/>
              <a:pathLst>
                <a:path w="19" h="32">
                  <a:moveTo>
                    <a:pt x="11" y="0"/>
                  </a:moveTo>
                  <a:lnTo>
                    <a:pt x="0" y="20"/>
                  </a:lnTo>
                  <a:lnTo>
                    <a:pt x="8" y="32"/>
                  </a:lnTo>
                  <a:lnTo>
                    <a:pt x="15" y="32"/>
                  </a:lnTo>
                  <a:lnTo>
                    <a:pt x="8" y="20"/>
                  </a:lnTo>
                  <a:lnTo>
                    <a:pt x="19" y="0"/>
                  </a:lnTo>
                  <a:lnTo>
                    <a:pt x="11" y="0"/>
                  </a:lnTo>
                  <a:close/>
                </a:path>
              </a:pathLst>
            </a:custGeom>
            <a:solidFill>
              <a:srgbClr val="CCCCC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88" name="Freeform 294">
              <a:extLst>
                <a:ext uri="{FF2B5EF4-FFF2-40B4-BE49-F238E27FC236}">
                  <a16:creationId xmlns:a16="http://schemas.microsoft.com/office/drawing/2014/main" id="{4E40D623-0444-4BB2-86D6-7822DC697883}"/>
                </a:ext>
              </a:extLst>
            </p:cNvPr>
            <p:cNvSpPr>
              <a:spLocks/>
            </p:cNvSpPr>
            <p:nvPr/>
          </p:nvSpPr>
          <p:spPr bwMode="auto">
            <a:xfrm>
              <a:off x="6543104" y="4277549"/>
              <a:ext cx="20678" cy="23858"/>
            </a:xfrm>
            <a:custGeom>
              <a:avLst/>
              <a:gdLst>
                <a:gd name="T0" fmla="*/ 7 w 13"/>
                <a:gd name="T1" fmla="*/ 15 h 15"/>
                <a:gd name="T2" fmla="*/ 13 w 13"/>
                <a:gd name="T3" fmla="*/ 7 h 15"/>
                <a:gd name="T4" fmla="*/ 8 w 13"/>
                <a:gd name="T5" fmla="*/ 0 h 15"/>
                <a:gd name="T6" fmla="*/ 2 w 13"/>
                <a:gd name="T7" fmla="*/ 0 h 15"/>
                <a:gd name="T8" fmla="*/ 5 w 13"/>
                <a:gd name="T9" fmla="*/ 7 h 15"/>
                <a:gd name="T10" fmla="*/ 0 w 13"/>
                <a:gd name="T11" fmla="*/ 15 h 15"/>
                <a:gd name="T12" fmla="*/ 7 w 13"/>
                <a:gd name="T13" fmla="*/ 15 h 15"/>
              </a:gdLst>
              <a:ahLst/>
              <a:cxnLst>
                <a:cxn ang="0">
                  <a:pos x="T0" y="T1"/>
                </a:cxn>
                <a:cxn ang="0">
                  <a:pos x="T2" y="T3"/>
                </a:cxn>
                <a:cxn ang="0">
                  <a:pos x="T4" y="T5"/>
                </a:cxn>
                <a:cxn ang="0">
                  <a:pos x="T6" y="T7"/>
                </a:cxn>
                <a:cxn ang="0">
                  <a:pos x="T8" y="T9"/>
                </a:cxn>
                <a:cxn ang="0">
                  <a:pos x="T10" y="T11"/>
                </a:cxn>
                <a:cxn ang="0">
                  <a:pos x="T12" y="T13"/>
                </a:cxn>
              </a:cxnLst>
              <a:rect l="0" t="0" r="r" b="b"/>
              <a:pathLst>
                <a:path w="13" h="15">
                  <a:moveTo>
                    <a:pt x="7" y="15"/>
                  </a:moveTo>
                  <a:lnTo>
                    <a:pt x="13" y="7"/>
                  </a:lnTo>
                  <a:lnTo>
                    <a:pt x="8" y="0"/>
                  </a:lnTo>
                  <a:lnTo>
                    <a:pt x="2" y="0"/>
                  </a:lnTo>
                  <a:lnTo>
                    <a:pt x="5" y="7"/>
                  </a:lnTo>
                  <a:lnTo>
                    <a:pt x="0" y="15"/>
                  </a:lnTo>
                  <a:lnTo>
                    <a:pt x="7" y="15"/>
                  </a:lnTo>
                  <a:close/>
                </a:path>
              </a:pathLst>
            </a:custGeom>
            <a:solidFill>
              <a:srgbClr val="CCCCC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89" name="Freeform 295">
              <a:extLst>
                <a:ext uri="{FF2B5EF4-FFF2-40B4-BE49-F238E27FC236}">
                  <a16:creationId xmlns:a16="http://schemas.microsoft.com/office/drawing/2014/main" id="{18FA2AEE-46CE-4532-92A0-C0453918581B}"/>
                </a:ext>
              </a:extLst>
            </p:cNvPr>
            <p:cNvSpPr>
              <a:spLocks/>
            </p:cNvSpPr>
            <p:nvPr/>
          </p:nvSpPr>
          <p:spPr bwMode="auto">
            <a:xfrm>
              <a:off x="6560599" y="3983303"/>
              <a:ext cx="30220" cy="49307"/>
            </a:xfrm>
            <a:custGeom>
              <a:avLst/>
              <a:gdLst>
                <a:gd name="T0" fmla="*/ 11 w 19"/>
                <a:gd name="T1" fmla="*/ 0 h 31"/>
                <a:gd name="T2" fmla="*/ 0 w 19"/>
                <a:gd name="T3" fmla="*/ 18 h 31"/>
                <a:gd name="T4" fmla="*/ 8 w 19"/>
                <a:gd name="T5" fmla="*/ 31 h 31"/>
                <a:gd name="T6" fmla="*/ 15 w 19"/>
                <a:gd name="T7" fmla="*/ 31 h 31"/>
                <a:gd name="T8" fmla="*/ 8 w 19"/>
                <a:gd name="T9" fmla="*/ 18 h 31"/>
                <a:gd name="T10" fmla="*/ 19 w 19"/>
                <a:gd name="T11" fmla="*/ 0 h 31"/>
                <a:gd name="T12" fmla="*/ 11 w 19"/>
                <a:gd name="T13" fmla="*/ 0 h 31"/>
              </a:gdLst>
              <a:ahLst/>
              <a:cxnLst>
                <a:cxn ang="0">
                  <a:pos x="T0" y="T1"/>
                </a:cxn>
                <a:cxn ang="0">
                  <a:pos x="T2" y="T3"/>
                </a:cxn>
                <a:cxn ang="0">
                  <a:pos x="T4" y="T5"/>
                </a:cxn>
                <a:cxn ang="0">
                  <a:pos x="T6" y="T7"/>
                </a:cxn>
                <a:cxn ang="0">
                  <a:pos x="T8" y="T9"/>
                </a:cxn>
                <a:cxn ang="0">
                  <a:pos x="T10" y="T11"/>
                </a:cxn>
                <a:cxn ang="0">
                  <a:pos x="T12" y="T13"/>
                </a:cxn>
              </a:cxnLst>
              <a:rect l="0" t="0" r="r" b="b"/>
              <a:pathLst>
                <a:path w="19" h="31">
                  <a:moveTo>
                    <a:pt x="11" y="0"/>
                  </a:moveTo>
                  <a:lnTo>
                    <a:pt x="0" y="18"/>
                  </a:lnTo>
                  <a:lnTo>
                    <a:pt x="8" y="31"/>
                  </a:lnTo>
                  <a:lnTo>
                    <a:pt x="15" y="31"/>
                  </a:lnTo>
                  <a:lnTo>
                    <a:pt x="8" y="18"/>
                  </a:lnTo>
                  <a:lnTo>
                    <a:pt x="19" y="0"/>
                  </a:lnTo>
                  <a:lnTo>
                    <a:pt x="11" y="0"/>
                  </a:lnTo>
                  <a:close/>
                </a:path>
              </a:pathLst>
            </a:custGeom>
            <a:solidFill>
              <a:srgbClr val="CCCCC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90" name="Freeform 296">
              <a:extLst>
                <a:ext uri="{FF2B5EF4-FFF2-40B4-BE49-F238E27FC236}">
                  <a16:creationId xmlns:a16="http://schemas.microsoft.com/office/drawing/2014/main" id="{3EAABA5F-99FF-47E4-8067-FE8831648E6A}"/>
                </a:ext>
              </a:extLst>
            </p:cNvPr>
            <p:cNvSpPr>
              <a:spLocks/>
            </p:cNvSpPr>
            <p:nvPr/>
          </p:nvSpPr>
          <p:spPr bwMode="auto">
            <a:xfrm>
              <a:off x="6543104" y="3989665"/>
              <a:ext cx="20678" cy="28629"/>
            </a:xfrm>
            <a:custGeom>
              <a:avLst/>
              <a:gdLst>
                <a:gd name="T0" fmla="*/ 7 w 13"/>
                <a:gd name="T1" fmla="*/ 18 h 18"/>
                <a:gd name="T2" fmla="*/ 13 w 13"/>
                <a:gd name="T3" fmla="*/ 8 h 18"/>
                <a:gd name="T4" fmla="*/ 8 w 13"/>
                <a:gd name="T5" fmla="*/ 0 h 18"/>
                <a:gd name="T6" fmla="*/ 2 w 13"/>
                <a:gd name="T7" fmla="*/ 0 h 18"/>
                <a:gd name="T8" fmla="*/ 5 w 13"/>
                <a:gd name="T9" fmla="*/ 8 h 18"/>
                <a:gd name="T10" fmla="*/ 0 w 13"/>
                <a:gd name="T11" fmla="*/ 18 h 18"/>
                <a:gd name="T12" fmla="*/ 7 w 13"/>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13" h="18">
                  <a:moveTo>
                    <a:pt x="7" y="18"/>
                  </a:moveTo>
                  <a:lnTo>
                    <a:pt x="13" y="8"/>
                  </a:lnTo>
                  <a:lnTo>
                    <a:pt x="8" y="0"/>
                  </a:lnTo>
                  <a:lnTo>
                    <a:pt x="2" y="0"/>
                  </a:lnTo>
                  <a:lnTo>
                    <a:pt x="5" y="8"/>
                  </a:lnTo>
                  <a:lnTo>
                    <a:pt x="0" y="18"/>
                  </a:lnTo>
                  <a:lnTo>
                    <a:pt x="7" y="18"/>
                  </a:lnTo>
                  <a:close/>
                </a:path>
              </a:pathLst>
            </a:custGeom>
            <a:solidFill>
              <a:srgbClr val="CCCCC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91" name="Freeform 297">
              <a:extLst>
                <a:ext uri="{FF2B5EF4-FFF2-40B4-BE49-F238E27FC236}">
                  <a16:creationId xmlns:a16="http://schemas.microsoft.com/office/drawing/2014/main" id="{CEE69D9B-7429-45E0-BFAE-B096F0F59FA1}"/>
                </a:ext>
              </a:extLst>
            </p:cNvPr>
            <p:cNvSpPr>
              <a:spLocks/>
            </p:cNvSpPr>
            <p:nvPr/>
          </p:nvSpPr>
          <p:spPr bwMode="auto">
            <a:xfrm>
              <a:off x="5634916" y="3763811"/>
              <a:ext cx="30220" cy="50896"/>
            </a:xfrm>
            <a:custGeom>
              <a:avLst/>
              <a:gdLst>
                <a:gd name="T0" fmla="*/ 11 w 19"/>
                <a:gd name="T1" fmla="*/ 0 h 32"/>
                <a:gd name="T2" fmla="*/ 0 w 19"/>
                <a:gd name="T3" fmla="*/ 19 h 32"/>
                <a:gd name="T4" fmla="*/ 8 w 19"/>
                <a:gd name="T5" fmla="*/ 32 h 32"/>
                <a:gd name="T6" fmla="*/ 15 w 19"/>
                <a:gd name="T7" fmla="*/ 32 h 32"/>
                <a:gd name="T8" fmla="*/ 8 w 19"/>
                <a:gd name="T9" fmla="*/ 19 h 32"/>
                <a:gd name="T10" fmla="*/ 19 w 19"/>
                <a:gd name="T11" fmla="*/ 0 h 32"/>
                <a:gd name="T12" fmla="*/ 11 w 19"/>
                <a:gd name="T13" fmla="*/ 0 h 32"/>
              </a:gdLst>
              <a:ahLst/>
              <a:cxnLst>
                <a:cxn ang="0">
                  <a:pos x="T0" y="T1"/>
                </a:cxn>
                <a:cxn ang="0">
                  <a:pos x="T2" y="T3"/>
                </a:cxn>
                <a:cxn ang="0">
                  <a:pos x="T4" y="T5"/>
                </a:cxn>
                <a:cxn ang="0">
                  <a:pos x="T6" y="T7"/>
                </a:cxn>
                <a:cxn ang="0">
                  <a:pos x="T8" y="T9"/>
                </a:cxn>
                <a:cxn ang="0">
                  <a:pos x="T10" y="T11"/>
                </a:cxn>
                <a:cxn ang="0">
                  <a:pos x="T12" y="T13"/>
                </a:cxn>
              </a:cxnLst>
              <a:rect l="0" t="0" r="r" b="b"/>
              <a:pathLst>
                <a:path w="19" h="32">
                  <a:moveTo>
                    <a:pt x="11" y="0"/>
                  </a:moveTo>
                  <a:lnTo>
                    <a:pt x="0" y="19"/>
                  </a:lnTo>
                  <a:lnTo>
                    <a:pt x="8" y="32"/>
                  </a:lnTo>
                  <a:lnTo>
                    <a:pt x="15" y="32"/>
                  </a:lnTo>
                  <a:lnTo>
                    <a:pt x="8" y="19"/>
                  </a:lnTo>
                  <a:lnTo>
                    <a:pt x="19" y="0"/>
                  </a:lnTo>
                  <a:lnTo>
                    <a:pt x="11" y="0"/>
                  </a:lnTo>
                  <a:close/>
                </a:path>
              </a:pathLst>
            </a:custGeom>
            <a:solidFill>
              <a:srgbClr val="CCCCC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92" name="Freeform 298">
              <a:extLst>
                <a:ext uri="{FF2B5EF4-FFF2-40B4-BE49-F238E27FC236}">
                  <a16:creationId xmlns:a16="http://schemas.microsoft.com/office/drawing/2014/main" id="{3C6CBE2D-C278-4CA6-9BFC-3FCA26C1533A}"/>
                </a:ext>
              </a:extLst>
            </p:cNvPr>
            <p:cNvSpPr>
              <a:spLocks/>
            </p:cNvSpPr>
            <p:nvPr/>
          </p:nvSpPr>
          <p:spPr bwMode="auto">
            <a:xfrm>
              <a:off x="5617420" y="3771762"/>
              <a:ext cx="19086" cy="27039"/>
            </a:xfrm>
            <a:custGeom>
              <a:avLst/>
              <a:gdLst>
                <a:gd name="T0" fmla="*/ 7 w 12"/>
                <a:gd name="T1" fmla="*/ 17 h 17"/>
                <a:gd name="T2" fmla="*/ 12 w 12"/>
                <a:gd name="T3" fmla="*/ 8 h 17"/>
                <a:gd name="T4" fmla="*/ 9 w 12"/>
                <a:gd name="T5" fmla="*/ 0 h 17"/>
                <a:gd name="T6" fmla="*/ 1 w 12"/>
                <a:gd name="T7" fmla="*/ 0 h 17"/>
                <a:gd name="T8" fmla="*/ 5 w 12"/>
                <a:gd name="T9" fmla="*/ 8 h 17"/>
                <a:gd name="T10" fmla="*/ 0 w 12"/>
                <a:gd name="T11" fmla="*/ 17 h 17"/>
                <a:gd name="T12" fmla="*/ 7 w 12"/>
                <a:gd name="T13" fmla="*/ 17 h 17"/>
              </a:gdLst>
              <a:ahLst/>
              <a:cxnLst>
                <a:cxn ang="0">
                  <a:pos x="T0" y="T1"/>
                </a:cxn>
                <a:cxn ang="0">
                  <a:pos x="T2" y="T3"/>
                </a:cxn>
                <a:cxn ang="0">
                  <a:pos x="T4" y="T5"/>
                </a:cxn>
                <a:cxn ang="0">
                  <a:pos x="T6" y="T7"/>
                </a:cxn>
                <a:cxn ang="0">
                  <a:pos x="T8" y="T9"/>
                </a:cxn>
                <a:cxn ang="0">
                  <a:pos x="T10" y="T11"/>
                </a:cxn>
                <a:cxn ang="0">
                  <a:pos x="T12" y="T13"/>
                </a:cxn>
              </a:cxnLst>
              <a:rect l="0" t="0" r="r" b="b"/>
              <a:pathLst>
                <a:path w="12" h="17">
                  <a:moveTo>
                    <a:pt x="7" y="17"/>
                  </a:moveTo>
                  <a:lnTo>
                    <a:pt x="12" y="8"/>
                  </a:lnTo>
                  <a:lnTo>
                    <a:pt x="9" y="0"/>
                  </a:lnTo>
                  <a:lnTo>
                    <a:pt x="1" y="0"/>
                  </a:lnTo>
                  <a:lnTo>
                    <a:pt x="5" y="8"/>
                  </a:lnTo>
                  <a:lnTo>
                    <a:pt x="0" y="17"/>
                  </a:lnTo>
                  <a:lnTo>
                    <a:pt x="7" y="17"/>
                  </a:lnTo>
                  <a:close/>
                </a:path>
              </a:pathLst>
            </a:custGeom>
            <a:solidFill>
              <a:srgbClr val="CCCCC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93" name="Freeform 299">
              <a:extLst>
                <a:ext uri="{FF2B5EF4-FFF2-40B4-BE49-F238E27FC236}">
                  <a16:creationId xmlns:a16="http://schemas.microsoft.com/office/drawing/2014/main" id="{A4A6BE16-1C06-4D0D-9F94-E26BEB9E2351}"/>
                </a:ext>
              </a:extLst>
            </p:cNvPr>
            <p:cNvSpPr>
              <a:spLocks/>
            </p:cNvSpPr>
            <p:nvPr/>
          </p:nvSpPr>
          <p:spPr bwMode="auto">
            <a:xfrm>
              <a:off x="5771700" y="2892204"/>
              <a:ext cx="27039" cy="49307"/>
            </a:xfrm>
            <a:custGeom>
              <a:avLst/>
              <a:gdLst>
                <a:gd name="T0" fmla="*/ 10 w 17"/>
                <a:gd name="T1" fmla="*/ 0 h 31"/>
                <a:gd name="T2" fmla="*/ 0 w 17"/>
                <a:gd name="T3" fmla="*/ 18 h 31"/>
                <a:gd name="T4" fmla="*/ 6 w 17"/>
                <a:gd name="T5" fmla="*/ 31 h 31"/>
                <a:gd name="T6" fmla="*/ 13 w 17"/>
                <a:gd name="T7" fmla="*/ 31 h 31"/>
                <a:gd name="T8" fmla="*/ 7 w 17"/>
                <a:gd name="T9" fmla="*/ 18 h 31"/>
                <a:gd name="T10" fmla="*/ 17 w 17"/>
                <a:gd name="T11" fmla="*/ 0 h 31"/>
                <a:gd name="T12" fmla="*/ 10 w 17"/>
                <a:gd name="T13" fmla="*/ 0 h 31"/>
              </a:gdLst>
              <a:ahLst/>
              <a:cxnLst>
                <a:cxn ang="0">
                  <a:pos x="T0" y="T1"/>
                </a:cxn>
                <a:cxn ang="0">
                  <a:pos x="T2" y="T3"/>
                </a:cxn>
                <a:cxn ang="0">
                  <a:pos x="T4" y="T5"/>
                </a:cxn>
                <a:cxn ang="0">
                  <a:pos x="T6" y="T7"/>
                </a:cxn>
                <a:cxn ang="0">
                  <a:pos x="T8" y="T9"/>
                </a:cxn>
                <a:cxn ang="0">
                  <a:pos x="T10" y="T11"/>
                </a:cxn>
                <a:cxn ang="0">
                  <a:pos x="T12" y="T13"/>
                </a:cxn>
              </a:cxnLst>
              <a:rect l="0" t="0" r="r" b="b"/>
              <a:pathLst>
                <a:path w="17" h="31">
                  <a:moveTo>
                    <a:pt x="10" y="0"/>
                  </a:moveTo>
                  <a:lnTo>
                    <a:pt x="0" y="18"/>
                  </a:lnTo>
                  <a:lnTo>
                    <a:pt x="6" y="31"/>
                  </a:lnTo>
                  <a:lnTo>
                    <a:pt x="13" y="31"/>
                  </a:lnTo>
                  <a:lnTo>
                    <a:pt x="7" y="18"/>
                  </a:lnTo>
                  <a:lnTo>
                    <a:pt x="17" y="0"/>
                  </a:lnTo>
                  <a:lnTo>
                    <a:pt x="10" y="0"/>
                  </a:lnTo>
                  <a:close/>
                </a:path>
              </a:pathLst>
            </a:custGeom>
            <a:solidFill>
              <a:srgbClr val="CCCCC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94" name="Freeform 300">
              <a:extLst>
                <a:ext uri="{FF2B5EF4-FFF2-40B4-BE49-F238E27FC236}">
                  <a16:creationId xmlns:a16="http://schemas.microsoft.com/office/drawing/2014/main" id="{19050CC1-B4F2-49C1-93E7-151AB9C6557E}"/>
                </a:ext>
              </a:extLst>
            </p:cNvPr>
            <p:cNvSpPr>
              <a:spLocks/>
            </p:cNvSpPr>
            <p:nvPr/>
          </p:nvSpPr>
          <p:spPr bwMode="auto">
            <a:xfrm>
              <a:off x="5752614" y="2900157"/>
              <a:ext cx="19086" cy="27039"/>
            </a:xfrm>
            <a:custGeom>
              <a:avLst/>
              <a:gdLst>
                <a:gd name="T0" fmla="*/ 7 w 12"/>
                <a:gd name="T1" fmla="*/ 17 h 17"/>
                <a:gd name="T2" fmla="*/ 12 w 12"/>
                <a:gd name="T3" fmla="*/ 7 h 17"/>
                <a:gd name="T4" fmla="*/ 8 w 12"/>
                <a:gd name="T5" fmla="*/ 0 h 17"/>
                <a:gd name="T6" fmla="*/ 1 w 12"/>
                <a:gd name="T7" fmla="*/ 0 h 17"/>
                <a:gd name="T8" fmla="*/ 6 w 12"/>
                <a:gd name="T9" fmla="*/ 7 h 17"/>
                <a:gd name="T10" fmla="*/ 0 w 12"/>
                <a:gd name="T11" fmla="*/ 17 h 17"/>
                <a:gd name="T12" fmla="*/ 7 w 12"/>
                <a:gd name="T13" fmla="*/ 17 h 17"/>
              </a:gdLst>
              <a:ahLst/>
              <a:cxnLst>
                <a:cxn ang="0">
                  <a:pos x="T0" y="T1"/>
                </a:cxn>
                <a:cxn ang="0">
                  <a:pos x="T2" y="T3"/>
                </a:cxn>
                <a:cxn ang="0">
                  <a:pos x="T4" y="T5"/>
                </a:cxn>
                <a:cxn ang="0">
                  <a:pos x="T6" y="T7"/>
                </a:cxn>
                <a:cxn ang="0">
                  <a:pos x="T8" y="T9"/>
                </a:cxn>
                <a:cxn ang="0">
                  <a:pos x="T10" y="T11"/>
                </a:cxn>
                <a:cxn ang="0">
                  <a:pos x="T12" y="T13"/>
                </a:cxn>
              </a:cxnLst>
              <a:rect l="0" t="0" r="r" b="b"/>
              <a:pathLst>
                <a:path w="12" h="17">
                  <a:moveTo>
                    <a:pt x="7" y="17"/>
                  </a:moveTo>
                  <a:lnTo>
                    <a:pt x="12" y="7"/>
                  </a:lnTo>
                  <a:lnTo>
                    <a:pt x="8" y="0"/>
                  </a:lnTo>
                  <a:lnTo>
                    <a:pt x="1" y="0"/>
                  </a:lnTo>
                  <a:lnTo>
                    <a:pt x="6" y="7"/>
                  </a:lnTo>
                  <a:lnTo>
                    <a:pt x="0" y="17"/>
                  </a:lnTo>
                  <a:lnTo>
                    <a:pt x="7" y="17"/>
                  </a:lnTo>
                  <a:close/>
                </a:path>
              </a:pathLst>
            </a:custGeom>
            <a:solidFill>
              <a:srgbClr val="CCCCC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95" name="Freeform 301">
              <a:extLst>
                <a:ext uri="{FF2B5EF4-FFF2-40B4-BE49-F238E27FC236}">
                  <a16:creationId xmlns:a16="http://schemas.microsoft.com/office/drawing/2014/main" id="{42271E1E-AD20-42CE-BDA8-FFB6B9DE3FFA}"/>
                </a:ext>
              </a:extLst>
            </p:cNvPr>
            <p:cNvSpPr>
              <a:spLocks/>
            </p:cNvSpPr>
            <p:nvPr/>
          </p:nvSpPr>
          <p:spPr bwMode="auto">
            <a:xfrm>
              <a:off x="4523141" y="4013522"/>
              <a:ext cx="28629" cy="50896"/>
            </a:xfrm>
            <a:custGeom>
              <a:avLst/>
              <a:gdLst>
                <a:gd name="T0" fmla="*/ 10 w 18"/>
                <a:gd name="T1" fmla="*/ 0 h 32"/>
                <a:gd name="T2" fmla="*/ 0 w 18"/>
                <a:gd name="T3" fmla="*/ 19 h 32"/>
                <a:gd name="T4" fmla="*/ 7 w 18"/>
                <a:gd name="T5" fmla="*/ 32 h 32"/>
                <a:gd name="T6" fmla="*/ 14 w 18"/>
                <a:gd name="T7" fmla="*/ 32 h 32"/>
                <a:gd name="T8" fmla="*/ 8 w 18"/>
                <a:gd name="T9" fmla="*/ 19 h 32"/>
                <a:gd name="T10" fmla="*/ 18 w 18"/>
                <a:gd name="T11" fmla="*/ 0 h 32"/>
                <a:gd name="T12" fmla="*/ 10 w 18"/>
                <a:gd name="T13" fmla="*/ 0 h 32"/>
              </a:gdLst>
              <a:ahLst/>
              <a:cxnLst>
                <a:cxn ang="0">
                  <a:pos x="T0" y="T1"/>
                </a:cxn>
                <a:cxn ang="0">
                  <a:pos x="T2" y="T3"/>
                </a:cxn>
                <a:cxn ang="0">
                  <a:pos x="T4" y="T5"/>
                </a:cxn>
                <a:cxn ang="0">
                  <a:pos x="T6" y="T7"/>
                </a:cxn>
                <a:cxn ang="0">
                  <a:pos x="T8" y="T9"/>
                </a:cxn>
                <a:cxn ang="0">
                  <a:pos x="T10" y="T11"/>
                </a:cxn>
                <a:cxn ang="0">
                  <a:pos x="T12" y="T13"/>
                </a:cxn>
              </a:cxnLst>
              <a:rect l="0" t="0" r="r" b="b"/>
              <a:pathLst>
                <a:path w="18" h="32">
                  <a:moveTo>
                    <a:pt x="10" y="0"/>
                  </a:moveTo>
                  <a:lnTo>
                    <a:pt x="0" y="19"/>
                  </a:lnTo>
                  <a:lnTo>
                    <a:pt x="7" y="32"/>
                  </a:lnTo>
                  <a:lnTo>
                    <a:pt x="14" y="32"/>
                  </a:lnTo>
                  <a:lnTo>
                    <a:pt x="8" y="19"/>
                  </a:lnTo>
                  <a:lnTo>
                    <a:pt x="18" y="0"/>
                  </a:lnTo>
                  <a:lnTo>
                    <a:pt x="10" y="0"/>
                  </a:lnTo>
                  <a:close/>
                </a:path>
              </a:pathLst>
            </a:custGeom>
            <a:solidFill>
              <a:srgbClr val="CCCCC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96" name="Freeform 302">
              <a:extLst>
                <a:ext uri="{FF2B5EF4-FFF2-40B4-BE49-F238E27FC236}">
                  <a16:creationId xmlns:a16="http://schemas.microsoft.com/office/drawing/2014/main" id="{E0264186-80CF-432C-8FF7-4F912DF1D7A0}"/>
                </a:ext>
              </a:extLst>
            </p:cNvPr>
            <p:cNvSpPr>
              <a:spLocks/>
            </p:cNvSpPr>
            <p:nvPr/>
          </p:nvSpPr>
          <p:spPr bwMode="auto">
            <a:xfrm>
              <a:off x="4504055" y="4021475"/>
              <a:ext cx="19086" cy="27039"/>
            </a:xfrm>
            <a:custGeom>
              <a:avLst/>
              <a:gdLst>
                <a:gd name="T0" fmla="*/ 8 w 12"/>
                <a:gd name="T1" fmla="*/ 17 h 17"/>
                <a:gd name="T2" fmla="*/ 12 w 12"/>
                <a:gd name="T3" fmla="*/ 7 h 17"/>
                <a:gd name="T4" fmla="*/ 9 w 12"/>
                <a:gd name="T5" fmla="*/ 0 h 17"/>
                <a:gd name="T6" fmla="*/ 1 w 12"/>
                <a:gd name="T7" fmla="*/ 0 h 17"/>
                <a:gd name="T8" fmla="*/ 6 w 12"/>
                <a:gd name="T9" fmla="*/ 7 h 17"/>
                <a:gd name="T10" fmla="*/ 0 w 12"/>
                <a:gd name="T11" fmla="*/ 17 h 17"/>
                <a:gd name="T12" fmla="*/ 8 w 12"/>
                <a:gd name="T13" fmla="*/ 17 h 17"/>
              </a:gdLst>
              <a:ahLst/>
              <a:cxnLst>
                <a:cxn ang="0">
                  <a:pos x="T0" y="T1"/>
                </a:cxn>
                <a:cxn ang="0">
                  <a:pos x="T2" y="T3"/>
                </a:cxn>
                <a:cxn ang="0">
                  <a:pos x="T4" y="T5"/>
                </a:cxn>
                <a:cxn ang="0">
                  <a:pos x="T6" y="T7"/>
                </a:cxn>
                <a:cxn ang="0">
                  <a:pos x="T8" y="T9"/>
                </a:cxn>
                <a:cxn ang="0">
                  <a:pos x="T10" y="T11"/>
                </a:cxn>
                <a:cxn ang="0">
                  <a:pos x="T12" y="T13"/>
                </a:cxn>
              </a:cxnLst>
              <a:rect l="0" t="0" r="r" b="b"/>
              <a:pathLst>
                <a:path w="12" h="17">
                  <a:moveTo>
                    <a:pt x="8" y="17"/>
                  </a:moveTo>
                  <a:lnTo>
                    <a:pt x="12" y="7"/>
                  </a:lnTo>
                  <a:lnTo>
                    <a:pt x="9" y="0"/>
                  </a:lnTo>
                  <a:lnTo>
                    <a:pt x="1" y="0"/>
                  </a:lnTo>
                  <a:lnTo>
                    <a:pt x="6" y="7"/>
                  </a:lnTo>
                  <a:lnTo>
                    <a:pt x="0" y="17"/>
                  </a:lnTo>
                  <a:lnTo>
                    <a:pt x="8" y="17"/>
                  </a:lnTo>
                  <a:close/>
                </a:path>
              </a:pathLst>
            </a:custGeom>
            <a:solidFill>
              <a:srgbClr val="CCCCC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97" name="Freeform 303">
              <a:extLst>
                <a:ext uri="{FF2B5EF4-FFF2-40B4-BE49-F238E27FC236}">
                  <a16:creationId xmlns:a16="http://schemas.microsoft.com/office/drawing/2014/main" id="{C7301792-AD0B-4061-B447-3BD371575761}"/>
                </a:ext>
              </a:extLst>
            </p:cNvPr>
            <p:cNvSpPr>
              <a:spLocks/>
            </p:cNvSpPr>
            <p:nvPr/>
          </p:nvSpPr>
          <p:spPr bwMode="auto">
            <a:xfrm>
              <a:off x="3961686" y="2860394"/>
              <a:ext cx="28629" cy="50896"/>
            </a:xfrm>
            <a:custGeom>
              <a:avLst/>
              <a:gdLst>
                <a:gd name="T0" fmla="*/ 10 w 18"/>
                <a:gd name="T1" fmla="*/ 0 h 32"/>
                <a:gd name="T2" fmla="*/ 0 w 18"/>
                <a:gd name="T3" fmla="*/ 18 h 32"/>
                <a:gd name="T4" fmla="*/ 7 w 18"/>
                <a:gd name="T5" fmla="*/ 32 h 32"/>
                <a:gd name="T6" fmla="*/ 14 w 18"/>
                <a:gd name="T7" fmla="*/ 32 h 32"/>
                <a:gd name="T8" fmla="*/ 8 w 18"/>
                <a:gd name="T9" fmla="*/ 18 h 32"/>
                <a:gd name="T10" fmla="*/ 18 w 18"/>
                <a:gd name="T11" fmla="*/ 0 h 32"/>
                <a:gd name="T12" fmla="*/ 10 w 18"/>
                <a:gd name="T13" fmla="*/ 0 h 32"/>
              </a:gdLst>
              <a:ahLst/>
              <a:cxnLst>
                <a:cxn ang="0">
                  <a:pos x="T0" y="T1"/>
                </a:cxn>
                <a:cxn ang="0">
                  <a:pos x="T2" y="T3"/>
                </a:cxn>
                <a:cxn ang="0">
                  <a:pos x="T4" y="T5"/>
                </a:cxn>
                <a:cxn ang="0">
                  <a:pos x="T6" y="T7"/>
                </a:cxn>
                <a:cxn ang="0">
                  <a:pos x="T8" y="T9"/>
                </a:cxn>
                <a:cxn ang="0">
                  <a:pos x="T10" y="T11"/>
                </a:cxn>
                <a:cxn ang="0">
                  <a:pos x="T12" y="T13"/>
                </a:cxn>
              </a:cxnLst>
              <a:rect l="0" t="0" r="r" b="b"/>
              <a:pathLst>
                <a:path w="18" h="32">
                  <a:moveTo>
                    <a:pt x="10" y="0"/>
                  </a:moveTo>
                  <a:lnTo>
                    <a:pt x="0" y="18"/>
                  </a:lnTo>
                  <a:lnTo>
                    <a:pt x="7" y="32"/>
                  </a:lnTo>
                  <a:lnTo>
                    <a:pt x="14" y="32"/>
                  </a:lnTo>
                  <a:lnTo>
                    <a:pt x="8" y="18"/>
                  </a:lnTo>
                  <a:lnTo>
                    <a:pt x="18" y="0"/>
                  </a:lnTo>
                  <a:lnTo>
                    <a:pt x="10" y="0"/>
                  </a:lnTo>
                  <a:close/>
                </a:path>
              </a:pathLst>
            </a:custGeom>
            <a:solidFill>
              <a:srgbClr val="CCCCC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98" name="Freeform 304">
              <a:extLst>
                <a:ext uri="{FF2B5EF4-FFF2-40B4-BE49-F238E27FC236}">
                  <a16:creationId xmlns:a16="http://schemas.microsoft.com/office/drawing/2014/main" id="{9CEAC960-3C48-475F-A71F-9B55AC5BC9CF}"/>
                </a:ext>
              </a:extLst>
            </p:cNvPr>
            <p:cNvSpPr>
              <a:spLocks/>
            </p:cNvSpPr>
            <p:nvPr/>
          </p:nvSpPr>
          <p:spPr bwMode="auto">
            <a:xfrm>
              <a:off x="3942600" y="2868346"/>
              <a:ext cx="19086" cy="27039"/>
            </a:xfrm>
            <a:custGeom>
              <a:avLst/>
              <a:gdLst>
                <a:gd name="T0" fmla="*/ 8 w 12"/>
                <a:gd name="T1" fmla="*/ 17 h 17"/>
                <a:gd name="T2" fmla="*/ 12 w 12"/>
                <a:gd name="T3" fmla="*/ 7 h 17"/>
                <a:gd name="T4" fmla="*/ 9 w 12"/>
                <a:gd name="T5" fmla="*/ 0 h 17"/>
                <a:gd name="T6" fmla="*/ 1 w 12"/>
                <a:gd name="T7" fmla="*/ 0 h 17"/>
                <a:gd name="T8" fmla="*/ 6 w 12"/>
                <a:gd name="T9" fmla="*/ 7 h 17"/>
                <a:gd name="T10" fmla="*/ 0 w 12"/>
                <a:gd name="T11" fmla="*/ 17 h 17"/>
                <a:gd name="T12" fmla="*/ 8 w 12"/>
                <a:gd name="T13" fmla="*/ 17 h 17"/>
              </a:gdLst>
              <a:ahLst/>
              <a:cxnLst>
                <a:cxn ang="0">
                  <a:pos x="T0" y="T1"/>
                </a:cxn>
                <a:cxn ang="0">
                  <a:pos x="T2" y="T3"/>
                </a:cxn>
                <a:cxn ang="0">
                  <a:pos x="T4" y="T5"/>
                </a:cxn>
                <a:cxn ang="0">
                  <a:pos x="T6" y="T7"/>
                </a:cxn>
                <a:cxn ang="0">
                  <a:pos x="T8" y="T9"/>
                </a:cxn>
                <a:cxn ang="0">
                  <a:pos x="T10" y="T11"/>
                </a:cxn>
                <a:cxn ang="0">
                  <a:pos x="T12" y="T13"/>
                </a:cxn>
              </a:cxnLst>
              <a:rect l="0" t="0" r="r" b="b"/>
              <a:pathLst>
                <a:path w="12" h="17">
                  <a:moveTo>
                    <a:pt x="8" y="17"/>
                  </a:moveTo>
                  <a:lnTo>
                    <a:pt x="12" y="7"/>
                  </a:lnTo>
                  <a:lnTo>
                    <a:pt x="9" y="0"/>
                  </a:lnTo>
                  <a:lnTo>
                    <a:pt x="1" y="0"/>
                  </a:lnTo>
                  <a:lnTo>
                    <a:pt x="6" y="7"/>
                  </a:lnTo>
                  <a:lnTo>
                    <a:pt x="0" y="17"/>
                  </a:lnTo>
                  <a:lnTo>
                    <a:pt x="8" y="17"/>
                  </a:lnTo>
                  <a:close/>
                </a:path>
              </a:pathLst>
            </a:custGeom>
            <a:solidFill>
              <a:srgbClr val="CCCCC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99" name="Freeform 305">
              <a:extLst>
                <a:ext uri="{FF2B5EF4-FFF2-40B4-BE49-F238E27FC236}">
                  <a16:creationId xmlns:a16="http://schemas.microsoft.com/office/drawing/2014/main" id="{1C6AD7F0-5E31-41C6-AF35-B3D1D9AAEBD2}"/>
                </a:ext>
              </a:extLst>
            </p:cNvPr>
            <p:cNvSpPr>
              <a:spLocks/>
            </p:cNvSpPr>
            <p:nvPr/>
          </p:nvSpPr>
          <p:spPr bwMode="auto">
            <a:xfrm>
              <a:off x="4480196" y="2069904"/>
              <a:ext cx="30220" cy="50896"/>
            </a:xfrm>
            <a:custGeom>
              <a:avLst/>
              <a:gdLst>
                <a:gd name="T0" fmla="*/ 12 w 19"/>
                <a:gd name="T1" fmla="*/ 0 h 32"/>
                <a:gd name="T2" fmla="*/ 0 w 19"/>
                <a:gd name="T3" fmla="*/ 19 h 32"/>
                <a:gd name="T4" fmla="*/ 8 w 19"/>
                <a:gd name="T5" fmla="*/ 32 h 32"/>
                <a:gd name="T6" fmla="*/ 15 w 19"/>
                <a:gd name="T7" fmla="*/ 32 h 32"/>
                <a:gd name="T8" fmla="*/ 8 w 19"/>
                <a:gd name="T9" fmla="*/ 19 h 32"/>
                <a:gd name="T10" fmla="*/ 19 w 19"/>
                <a:gd name="T11" fmla="*/ 0 h 32"/>
                <a:gd name="T12" fmla="*/ 12 w 19"/>
                <a:gd name="T13" fmla="*/ 0 h 32"/>
              </a:gdLst>
              <a:ahLst/>
              <a:cxnLst>
                <a:cxn ang="0">
                  <a:pos x="T0" y="T1"/>
                </a:cxn>
                <a:cxn ang="0">
                  <a:pos x="T2" y="T3"/>
                </a:cxn>
                <a:cxn ang="0">
                  <a:pos x="T4" y="T5"/>
                </a:cxn>
                <a:cxn ang="0">
                  <a:pos x="T6" y="T7"/>
                </a:cxn>
                <a:cxn ang="0">
                  <a:pos x="T8" y="T9"/>
                </a:cxn>
                <a:cxn ang="0">
                  <a:pos x="T10" y="T11"/>
                </a:cxn>
                <a:cxn ang="0">
                  <a:pos x="T12" y="T13"/>
                </a:cxn>
              </a:cxnLst>
              <a:rect l="0" t="0" r="r" b="b"/>
              <a:pathLst>
                <a:path w="19" h="32">
                  <a:moveTo>
                    <a:pt x="12" y="0"/>
                  </a:moveTo>
                  <a:lnTo>
                    <a:pt x="0" y="19"/>
                  </a:lnTo>
                  <a:lnTo>
                    <a:pt x="8" y="32"/>
                  </a:lnTo>
                  <a:lnTo>
                    <a:pt x="15" y="32"/>
                  </a:lnTo>
                  <a:lnTo>
                    <a:pt x="8" y="19"/>
                  </a:lnTo>
                  <a:lnTo>
                    <a:pt x="19" y="0"/>
                  </a:lnTo>
                  <a:lnTo>
                    <a:pt x="12" y="0"/>
                  </a:lnTo>
                  <a:close/>
                </a:path>
              </a:pathLst>
            </a:custGeom>
            <a:solidFill>
              <a:srgbClr val="CCCCC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00" name="Freeform 306">
              <a:extLst>
                <a:ext uri="{FF2B5EF4-FFF2-40B4-BE49-F238E27FC236}">
                  <a16:creationId xmlns:a16="http://schemas.microsoft.com/office/drawing/2014/main" id="{AA7FF849-5733-4BC8-9406-830979E55E37}"/>
                </a:ext>
              </a:extLst>
            </p:cNvPr>
            <p:cNvSpPr>
              <a:spLocks/>
            </p:cNvSpPr>
            <p:nvPr/>
          </p:nvSpPr>
          <p:spPr bwMode="auto">
            <a:xfrm>
              <a:off x="4462701" y="2079447"/>
              <a:ext cx="20678" cy="25448"/>
            </a:xfrm>
            <a:custGeom>
              <a:avLst/>
              <a:gdLst>
                <a:gd name="T0" fmla="*/ 8 w 13"/>
                <a:gd name="T1" fmla="*/ 16 h 16"/>
                <a:gd name="T2" fmla="*/ 13 w 13"/>
                <a:gd name="T3" fmla="*/ 7 h 16"/>
                <a:gd name="T4" fmla="*/ 9 w 13"/>
                <a:gd name="T5" fmla="*/ 0 h 16"/>
                <a:gd name="T6" fmla="*/ 2 w 13"/>
                <a:gd name="T7" fmla="*/ 0 h 16"/>
                <a:gd name="T8" fmla="*/ 5 w 13"/>
                <a:gd name="T9" fmla="*/ 7 h 16"/>
                <a:gd name="T10" fmla="*/ 0 w 13"/>
                <a:gd name="T11" fmla="*/ 16 h 16"/>
                <a:gd name="T12" fmla="*/ 8 w 13"/>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13" h="16">
                  <a:moveTo>
                    <a:pt x="8" y="16"/>
                  </a:moveTo>
                  <a:lnTo>
                    <a:pt x="13" y="7"/>
                  </a:lnTo>
                  <a:lnTo>
                    <a:pt x="9" y="0"/>
                  </a:lnTo>
                  <a:lnTo>
                    <a:pt x="2" y="0"/>
                  </a:lnTo>
                  <a:lnTo>
                    <a:pt x="5" y="7"/>
                  </a:lnTo>
                  <a:lnTo>
                    <a:pt x="0" y="16"/>
                  </a:lnTo>
                  <a:lnTo>
                    <a:pt x="8" y="16"/>
                  </a:lnTo>
                  <a:close/>
                </a:path>
              </a:pathLst>
            </a:custGeom>
            <a:solidFill>
              <a:srgbClr val="CCCCC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01" name="Freeform 307">
              <a:extLst>
                <a:ext uri="{FF2B5EF4-FFF2-40B4-BE49-F238E27FC236}">
                  <a16:creationId xmlns:a16="http://schemas.microsoft.com/office/drawing/2014/main" id="{C4EC0970-F1D1-4FB7-8375-57771F3A3BB0}"/>
                </a:ext>
              </a:extLst>
            </p:cNvPr>
            <p:cNvSpPr>
              <a:spLocks/>
            </p:cNvSpPr>
            <p:nvPr/>
          </p:nvSpPr>
          <p:spPr bwMode="auto">
            <a:xfrm>
              <a:off x="5183207" y="1629330"/>
              <a:ext cx="28629" cy="50896"/>
            </a:xfrm>
            <a:custGeom>
              <a:avLst/>
              <a:gdLst>
                <a:gd name="T0" fmla="*/ 11 w 18"/>
                <a:gd name="T1" fmla="*/ 0 h 32"/>
                <a:gd name="T2" fmla="*/ 0 w 18"/>
                <a:gd name="T3" fmla="*/ 18 h 32"/>
                <a:gd name="T4" fmla="*/ 7 w 18"/>
                <a:gd name="T5" fmla="*/ 32 h 32"/>
                <a:gd name="T6" fmla="*/ 14 w 18"/>
                <a:gd name="T7" fmla="*/ 32 h 32"/>
                <a:gd name="T8" fmla="*/ 7 w 18"/>
                <a:gd name="T9" fmla="*/ 18 h 32"/>
                <a:gd name="T10" fmla="*/ 18 w 18"/>
                <a:gd name="T11" fmla="*/ 0 h 32"/>
                <a:gd name="T12" fmla="*/ 11 w 18"/>
                <a:gd name="T13" fmla="*/ 0 h 32"/>
              </a:gdLst>
              <a:ahLst/>
              <a:cxnLst>
                <a:cxn ang="0">
                  <a:pos x="T0" y="T1"/>
                </a:cxn>
                <a:cxn ang="0">
                  <a:pos x="T2" y="T3"/>
                </a:cxn>
                <a:cxn ang="0">
                  <a:pos x="T4" y="T5"/>
                </a:cxn>
                <a:cxn ang="0">
                  <a:pos x="T6" y="T7"/>
                </a:cxn>
                <a:cxn ang="0">
                  <a:pos x="T8" y="T9"/>
                </a:cxn>
                <a:cxn ang="0">
                  <a:pos x="T10" y="T11"/>
                </a:cxn>
                <a:cxn ang="0">
                  <a:pos x="T12" y="T13"/>
                </a:cxn>
              </a:cxnLst>
              <a:rect l="0" t="0" r="r" b="b"/>
              <a:pathLst>
                <a:path w="18" h="32">
                  <a:moveTo>
                    <a:pt x="11" y="0"/>
                  </a:moveTo>
                  <a:lnTo>
                    <a:pt x="0" y="18"/>
                  </a:lnTo>
                  <a:lnTo>
                    <a:pt x="7" y="32"/>
                  </a:lnTo>
                  <a:lnTo>
                    <a:pt x="14" y="32"/>
                  </a:lnTo>
                  <a:lnTo>
                    <a:pt x="7" y="18"/>
                  </a:lnTo>
                  <a:lnTo>
                    <a:pt x="18" y="0"/>
                  </a:lnTo>
                  <a:lnTo>
                    <a:pt x="11" y="0"/>
                  </a:lnTo>
                  <a:close/>
                </a:path>
              </a:pathLst>
            </a:custGeom>
            <a:solidFill>
              <a:srgbClr val="CCCCC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02" name="Freeform 308">
              <a:extLst>
                <a:ext uri="{FF2B5EF4-FFF2-40B4-BE49-F238E27FC236}">
                  <a16:creationId xmlns:a16="http://schemas.microsoft.com/office/drawing/2014/main" id="{AC131DE4-2F13-4E56-8572-6DFEC6258E8A}"/>
                </a:ext>
              </a:extLst>
            </p:cNvPr>
            <p:cNvSpPr>
              <a:spLocks/>
            </p:cNvSpPr>
            <p:nvPr/>
          </p:nvSpPr>
          <p:spPr bwMode="auto">
            <a:xfrm>
              <a:off x="5165712" y="1637282"/>
              <a:ext cx="19086" cy="27039"/>
            </a:xfrm>
            <a:custGeom>
              <a:avLst/>
              <a:gdLst>
                <a:gd name="T0" fmla="*/ 7 w 12"/>
                <a:gd name="T1" fmla="*/ 17 h 17"/>
                <a:gd name="T2" fmla="*/ 12 w 12"/>
                <a:gd name="T3" fmla="*/ 7 h 17"/>
                <a:gd name="T4" fmla="*/ 8 w 12"/>
                <a:gd name="T5" fmla="*/ 0 h 17"/>
                <a:gd name="T6" fmla="*/ 1 w 12"/>
                <a:gd name="T7" fmla="*/ 0 h 17"/>
                <a:gd name="T8" fmla="*/ 5 w 12"/>
                <a:gd name="T9" fmla="*/ 7 h 17"/>
                <a:gd name="T10" fmla="*/ 0 w 12"/>
                <a:gd name="T11" fmla="*/ 17 h 17"/>
                <a:gd name="T12" fmla="*/ 7 w 12"/>
                <a:gd name="T13" fmla="*/ 17 h 17"/>
              </a:gdLst>
              <a:ahLst/>
              <a:cxnLst>
                <a:cxn ang="0">
                  <a:pos x="T0" y="T1"/>
                </a:cxn>
                <a:cxn ang="0">
                  <a:pos x="T2" y="T3"/>
                </a:cxn>
                <a:cxn ang="0">
                  <a:pos x="T4" y="T5"/>
                </a:cxn>
                <a:cxn ang="0">
                  <a:pos x="T6" y="T7"/>
                </a:cxn>
                <a:cxn ang="0">
                  <a:pos x="T8" y="T9"/>
                </a:cxn>
                <a:cxn ang="0">
                  <a:pos x="T10" y="T11"/>
                </a:cxn>
                <a:cxn ang="0">
                  <a:pos x="T12" y="T13"/>
                </a:cxn>
              </a:cxnLst>
              <a:rect l="0" t="0" r="r" b="b"/>
              <a:pathLst>
                <a:path w="12" h="17">
                  <a:moveTo>
                    <a:pt x="7" y="17"/>
                  </a:moveTo>
                  <a:lnTo>
                    <a:pt x="12" y="7"/>
                  </a:lnTo>
                  <a:lnTo>
                    <a:pt x="8" y="0"/>
                  </a:lnTo>
                  <a:lnTo>
                    <a:pt x="1" y="0"/>
                  </a:lnTo>
                  <a:lnTo>
                    <a:pt x="5" y="7"/>
                  </a:lnTo>
                  <a:lnTo>
                    <a:pt x="0" y="17"/>
                  </a:lnTo>
                  <a:lnTo>
                    <a:pt x="7" y="17"/>
                  </a:lnTo>
                  <a:close/>
                </a:path>
              </a:pathLst>
            </a:custGeom>
            <a:solidFill>
              <a:srgbClr val="CCCCC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03" name="Freeform 309">
              <a:extLst>
                <a:ext uri="{FF2B5EF4-FFF2-40B4-BE49-F238E27FC236}">
                  <a16:creationId xmlns:a16="http://schemas.microsoft.com/office/drawing/2014/main" id="{3D75A7F7-ABBF-4F50-9920-A23A65741C47}"/>
                </a:ext>
              </a:extLst>
            </p:cNvPr>
            <p:cNvSpPr>
              <a:spLocks/>
            </p:cNvSpPr>
            <p:nvPr/>
          </p:nvSpPr>
          <p:spPr bwMode="auto">
            <a:xfrm>
              <a:off x="7230210" y="3135554"/>
              <a:ext cx="44535" cy="77936"/>
            </a:xfrm>
            <a:custGeom>
              <a:avLst/>
              <a:gdLst>
                <a:gd name="T0" fmla="*/ 17 w 28"/>
                <a:gd name="T1" fmla="*/ 0 h 49"/>
                <a:gd name="T2" fmla="*/ 0 w 28"/>
                <a:gd name="T3" fmla="*/ 29 h 49"/>
                <a:gd name="T4" fmla="*/ 11 w 28"/>
                <a:gd name="T5" fmla="*/ 49 h 49"/>
                <a:gd name="T6" fmla="*/ 23 w 28"/>
                <a:gd name="T7" fmla="*/ 49 h 49"/>
                <a:gd name="T8" fmla="*/ 12 w 28"/>
                <a:gd name="T9" fmla="*/ 29 h 49"/>
                <a:gd name="T10" fmla="*/ 28 w 28"/>
                <a:gd name="T11" fmla="*/ 0 h 49"/>
                <a:gd name="T12" fmla="*/ 17 w 28"/>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8" h="49">
                  <a:moveTo>
                    <a:pt x="17" y="0"/>
                  </a:moveTo>
                  <a:lnTo>
                    <a:pt x="0" y="29"/>
                  </a:lnTo>
                  <a:lnTo>
                    <a:pt x="11" y="49"/>
                  </a:lnTo>
                  <a:lnTo>
                    <a:pt x="23" y="49"/>
                  </a:lnTo>
                  <a:lnTo>
                    <a:pt x="12" y="29"/>
                  </a:lnTo>
                  <a:lnTo>
                    <a:pt x="28" y="0"/>
                  </a:lnTo>
                  <a:lnTo>
                    <a:pt x="17" y="0"/>
                  </a:lnTo>
                  <a:close/>
                </a:path>
              </a:pathLst>
            </a:custGeom>
            <a:solidFill>
              <a:srgbClr val="CCCCC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04" name="Freeform 310">
              <a:extLst>
                <a:ext uri="{FF2B5EF4-FFF2-40B4-BE49-F238E27FC236}">
                  <a16:creationId xmlns:a16="http://schemas.microsoft.com/office/drawing/2014/main" id="{20F486E2-827D-4535-9DF3-211DFA61CEF2}"/>
                </a:ext>
              </a:extLst>
            </p:cNvPr>
            <p:cNvSpPr>
              <a:spLocks/>
            </p:cNvSpPr>
            <p:nvPr/>
          </p:nvSpPr>
          <p:spPr bwMode="auto">
            <a:xfrm>
              <a:off x="7203170" y="3148278"/>
              <a:ext cx="30220" cy="41354"/>
            </a:xfrm>
            <a:custGeom>
              <a:avLst/>
              <a:gdLst>
                <a:gd name="T0" fmla="*/ 11 w 19"/>
                <a:gd name="T1" fmla="*/ 26 h 26"/>
                <a:gd name="T2" fmla="*/ 19 w 19"/>
                <a:gd name="T3" fmla="*/ 11 h 26"/>
                <a:gd name="T4" fmla="*/ 12 w 19"/>
                <a:gd name="T5" fmla="*/ 0 h 26"/>
                <a:gd name="T6" fmla="*/ 2 w 19"/>
                <a:gd name="T7" fmla="*/ 0 h 26"/>
                <a:gd name="T8" fmla="*/ 8 w 19"/>
                <a:gd name="T9" fmla="*/ 11 h 26"/>
                <a:gd name="T10" fmla="*/ 0 w 19"/>
                <a:gd name="T11" fmla="*/ 26 h 26"/>
                <a:gd name="T12" fmla="*/ 11 w 19"/>
                <a:gd name="T13" fmla="*/ 26 h 26"/>
              </a:gdLst>
              <a:ahLst/>
              <a:cxnLst>
                <a:cxn ang="0">
                  <a:pos x="T0" y="T1"/>
                </a:cxn>
                <a:cxn ang="0">
                  <a:pos x="T2" y="T3"/>
                </a:cxn>
                <a:cxn ang="0">
                  <a:pos x="T4" y="T5"/>
                </a:cxn>
                <a:cxn ang="0">
                  <a:pos x="T6" y="T7"/>
                </a:cxn>
                <a:cxn ang="0">
                  <a:pos x="T8" y="T9"/>
                </a:cxn>
                <a:cxn ang="0">
                  <a:pos x="T10" y="T11"/>
                </a:cxn>
                <a:cxn ang="0">
                  <a:pos x="T12" y="T13"/>
                </a:cxn>
              </a:cxnLst>
              <a:rect l="0" t="0" r="r" b="b"/>
              <a:pathLst>
                <a:path w="19" h="26">
                  <a:moveTo>
                    <a:pt x="11" y="26"/>
                  </a:moveTo>
                  <a:lnTo>
                    <a:pt x="19" y="11"/>
                  </a:lnTo>
                  <a:lnTo>
                    <a:pt x="12" y="0"/>
                  </a:lnTo>
                  <a:lnTo>
                    <a:pt x="2" y="0"/>
                  </a:lnTo>
                  <a:lnTo>
                    <a:pt x="8" y="11"/>
                  </a:lnTo>
                  <a:lnTo>
                    <a:pt x="0" y="26"/>
                  </a:lnTo>
                  <a:lnTo>
                    <a:pt x="11" y="26"/>
                  </a:lnTo>
                  <a:close/>
                </a:path>
              </a:pathLst>
            </a:custGeom>
            <a:solidFill>
              <a:srgbClr val="CCCCC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05" name="Oval 311">
              <a:extLst>
                <a:ext uri="{FF2B5EF4-FFF2-40B4-BE49-F238E27FC236}">
                  <a16:creationId xmlns:a16="http://schemas.microsoft.com/office/drawing/2014/main" id="{7D35B03C-9F2F-4A21-89DA-10FACFD0EDB0}"/>
                </a:ext>
              </a:extLst>
            </p:cNvPr>
            <p:cNvSpPr>
              <a:spLocks noChangeArrowheads="1"/>
            </p:cNvSpPr>
            <p:nvPr/>
          </p:nvSpPr>
          <p:spPr bwMode="auto">
            <a:xfrm>
              <a:off x="5235695" y="3555451"/>
              <a:ext cx="17496" cy="20678"/>
            </a:xfrm>
            <a:prstGeom prst="ellipse">
              <a:avLst/>
            </a:prstGeom>
            <a:solidFill>
              <a:srgbClr val="CCCCC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06" name="Freeform 312">
              <a:extLst>
                <a:ext uri="{FF2B5EF4-FFF2-40B4-BE49-F238E27FC236}">
                  <a16:creationId xmlns:a16="http://schemas.microsoft.com/office/drawing/2014/main" id="{B328E1C0-C6FD-4B29-B5B8-51066EC67091}"/>
                </a:ext>
              </a:extLst>
            </p:cNvPr>
            <p:cNvSpPr>
              <a:spLocks/>
            </p:cNvSpPr>
            <p:nvPr/>
          </p:nvSpPr>
          <p:spPr bwMode="auto">
            <a:xfrm>
              <a:off x="5235695" y="3530003"/>
              <a:ext cx="44535" cy="46126"/>
            </a:xfrm>
            <a:custGeom>
              <a:avLst/>
              <a:gdLst>
                <a:gd name="T0" fmla="*/ 16 w 23"/>
                <a:gd name="T1" fmla="*/ 23 h 23"/>
                <a:gd name="T2" fmla="*/ 23 w 23"/>
                <a:gd name="T3" fmla="*/ 23 h 23"/>
                <a:gd name="T4" fmla="*/ 0 w 23"/>
                <a:gd name="T5" fmla="*/ 0 h 23"/>
                <a:gd name="T6" fmla="*/ 0 w 23"/>
                <a:gd name="T7" fmla="*/ 6 h 23"/>
                <a:gd name="T8" fmla="*/ 12 w 23"/>
                <a:gd name="T9" fmla="*/ 11 h 23"/>
                <a:gd name="T10" fmla="*/ 16 w 23"/>
                <a:gd name="T11" fmla="*/ 23 h 23"/>
              </a:gdLst>
              <a:ahLst/>
              <a:cxnLst>
                <a:cxn ang="0">
                  <a:pos x="T0" y="T1"/>
                </a:cxn>
                <a:cxn ang="0">
                  <a:pos x="T2" y="T3"/>
                </a:cxn>
                <a:cxn ang="0">
                  <a:pos x="T4" y="T5"/>
                </a:cxn>
                <a:cxn ang="0">
                  <a:pos x="T6" y="T7"/>
                </a:cxn>
                <a:cxn ang="0">
                  <a:pos x="T8" y="T9"/>
                </a:cxn>
                <a:cxn ang="0">
                  <a:pos x="T10" y="T11"/>
                </a:cxn>
              </a:cxnLst>
              <a:rect l="0" t="0" r="r" b="b"/>
              <a:pathLst>
                <a:path w="23" h="23">
                  <a:moveTo>
                    <a:pt x="16" y="23"/>
                  </a:moveTo>
                  <a:cubicBezTo>
                    <a:pt x="23" y="23"/>
                    <a:pt x="23" y="23"/>
                    <a:pt x="23" y="23"/>
                  </a:cubicBezTo>
                  <a:cubicBezTo>
                    <a:pt x="23" y="10"/>
                    <a:pt x="13" y="0"/>
                    <a:pt x="0" y="0"/>
                  </a:cubicBezTo>
                  <a:cubicBezTo>
                    <a:pt x="0" y="6"/>
                    <a:pt x="0" y="6"/>
                    <a:pt x="0" y="6"/>
                  </a:cubicBezTo>
                  <a:cubicBezTo>
                    <a:pt x="5" y="6"/>
                    <a:pt x="9" y="8"/>
                    <a:pt x="12" y="11"/>
                  </a:cubicBezTo>
                  <a:cubicBezTo>
                    <a:pt x="15" y="14"/>
                    <a:pt x="16" y="18"/>
                    <a:pt x="16" y="23"/>
                  </a:cubicBezTo>
                </a:path>
              </a:pathLst>
            </a:custGeom>
            <a:solidFill>
              <a:srgbClr val="CCCCC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07" name="Freeform 313">
              <a:extLst>
                <a:ext uri="{FF2B5EF4-FFF2-40B4-BE49-F238E27FC236}">
                  <a16:creationId xmlns:a16="http://schemas.microsoft.com/office/drawing/2014/main" id="{970D7EEA-59CB-411D-9965-7BA46A79F688}"/>
                </a:ext>
              </a:extLst>
            </p:cNvPr>
            <p:cNvSpPr>
              <a:spLocks/>
            </p:cNvSpPr>
            <p:nvPr/>
          </p:nvSpPr>
          <p:spPr bwMode="auto">
            <a:xfrm>
              <a:off x="5235695" y="3507736"/>
              <a:ext cx="68393" cy="68393"/>
            </a:xfrm>
            <a:custGeom>
              <a:avLst/>
              <a:gdLst>
                <a:gd name="T0" fmla="*/ 28 w 35"/>
                <a:gd name="T1" fmla="*/ 35 h 35"/>
                <a:gd name="T2" fmla="*/ 35 w 35"/>
                <a:gd name="T3" fmla="*/ 35 h 35"/>
                <a:gd name="T4" fmla="*/ 0 w 35"/>
                <a:gd name="T5" fmla="*/ 0 h 35"/>
                <a:gd name="T6" fmla="*/ 0 w 35"/>
                <a:gd name="T7" fmla="*/ 7 h 35"/>
                <a:gd name="T8" fmla="*/ 28 w 35"/>
                <a:gd name="T9" fmla="*/ 35 h 35"/>
              </a:gdLst>
              <a:ahLst/>
              <a:cxnLst>
                <a:cxn ang="0">
                  <a:pos x="T0" y="T1"/>
                </a:cxn>
                <a:cxn ang="0">
                  <a:pos x="T2" y="T3"/>
                </a:cxn>
                <a:cxn ang="0">
                  <a:pos x="T4" y="T5"/>
                </a:cxn>
                <a:cxn ang="0">
                  <a:pos x="T6" y="T7"/>
                </a:cxn>
                <a:cxn ang="0">
                  <a:pos x="T8" y="T9"/>
                </a:cxn>
              </a:cxnLst>
              <a:rect l="0" t="0" r="r" b="b"/>
              <a:pathLst>
                <a:path w="35" h="35">
                  <a:moveTo>
                    <a:pt x="28" y="35"/>
                  </a:moveTo>
                  <a:cubicBezTo>
                    <a:pt x="35" y="35"/>
                    <a:pt x="35" y="35"/>
                    <a:pt x="35" y="35"/>
                  </a:cubicBezTo>
                  <a:cubicBezTo>
                    <a:pt x="35" y="15"/>
                    <a:pt x="19" y="0"/>
                    <a:pt x="0" y="0"/>
                  </a:cubicBezTo>
                  <a:cubicBezTo>
                    <a:pt x="0" y="7"/>
                    <a:pt x="0" y="7"/>
                    <a:pt x="0" y="7"/>
                  </a:cubicBezTo>
                  <a:cubicBezTo>
                    <a:pt x="16" y="7"/>
                    <a:pt x="28" y="19"/>
                    <a:pt x="28" y="35"/>
                  </a:cubicBezTo>
                </a:path>
              </a:pathLst>
            </a:custGeom>
            <a:solidFill>
              <a:srgbClr val="CCCCC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08" name="Oval 314">
              <a:extLst>
                <a:ext uri="{FF2B5EF4-FFF2-40B4-BE49-F238E27FC236}">
                  <a16:creationId xmlns:a16="http://schemas.microsoft.com/office/drawing/2014/main" id="{C805204C-13CD-45B1-B627-50D64C336F2B}"/>
                </a:ext>
              </a:extLst>
            </p:cNvPr>
            <p:cNvSpPr>
              <a:spLocks noChangeArrowheads="1"/>
            </p:cNvSpPr>
            <p:nvPr/>
          </p:nvSpPr>
          <p:spPr bwMode="auto">
            <a:xfrm>
              <a:off x="4165273" y="3076705"/>
              <a:ext cx="17496" cy="17496"/>
            </a:xfrm>
            <a:prstGeom prst="ellipse">
              <a:avLst/>
            </a:prstGeom>
            <a:solidFill>
              <a:srgbClr val="CCCCC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09" name="Freeform 315">
              <a:extLst>
                <a:ext uri="{FF2B5EF4-FFF2-40B4-BE49-F238E27FC236}">
                  <a16:creationId xmlns:a16="http://schemas.microsoft.com/office/drawing/2014/main" id="{C68EFA91-5BB5-40B9-9304-49CDDDA787BA}"/>
                </a:ext>
              </a:extLst>
            </p:cNvPr>
            <p:cNvSpPr>
              <a:spLocks/>
            </p:cNvSpPr>
            <p:nvPr/>
          </p:nvSpPr>
          <p:spPr bwMode="auto">
            <a:xfrm>
              <a:off x="4165273" y="3051257"/>
              <a:ext cx="42945" cy="42945"/>
            </a:xfrm>
            <a:custGeom>
              <a:avLst/>
              <a:gdLst>
                <a:gd name="T0" fmla="*/ 16 w 22"/>
                <a:gd name="T1" fmla="*/ 22 h 22"/>
                <a:gd name="T2" fmla="*/ 22 w 22"/>
                <a:gd name="T3" fmla="*/ 22 h 22"/>
                <a:gd name="T4" fmla="*/ 0 w 22"/>
                <a:gd name="T5" fmla="*/ 0 h 22"/>
                <a:gd name="T6" fmla="*/ 0 w 22"/>
                <a:gd name="T7" fmla="*/ 6 h 22"/>
                <a:gd name="T8" fmla="*/ 11 w 22"/>
                <a:gd name="T9" fmla="*/ 11 h 22"/>
                <a:gd name="T10" fmla="*/ 16 w 22"/>
                <a:gd name="T11" fmla="*/ 22 h 22"/>
              </a:gdLst>
              <a:ahLst/>
              <a:cxnLst>
                <a:cxn ang="0">
                  <a:pos x="T0" y="T1"/>
                </a:cxn>
                <a:cxn ang="0">
                  <a:pos x="T2" y="T3"/>
                </a:cxn>
                <a:cxn ang="0">
                  <a:pos x="T4" y="T5"/>
                </a:cxn>
                <a:cxn ang="0">
                  <a:pos x="T6" y="T7"/>
                </a:cxn>
                <a:cxn ang="0">
                  <a:pos x="T8" y="T9"/>
                </a:cxn>
                <a:cxn ang="0">
                  <a:pos x="T10" y="T11"/>
                </a:cxn>
              </a:cxnLst>
              <a:rect l="0" t="0" r="r" b="b"/>
              <a:pathLst>
                <a:path w="22" h="22">
                  <a:moveTo>
                    <a:pt x="16" y="22"/>
                  </a:moveTo>
                  <a:cubicBezTo>
                    <a:pt x="22" y="22"/>
                    <a:pt x="22" y="22"/>
                    <a:pt x="22" y="22"/>
                  </a:cubicBezTo>
                  <a:cubicBezTo>
                    <a:pt x="22" y="10"/>
                    <a:pt x="12" y="0"/>
                    <a:pt x="0" y="0"/>
                  </a:cubicBezTo>
                  <a:cubicBezTo>
                    <a:pt x="0" y="6"/>
                    <a:pt x="0" y="6"/>
                    <a:pt x="0" y="6"/>
                  </a:cubicBezTo>
                  <a:cubicBezTo>
                    <a:pt x="4" y="6"/>
                    <a:pt x="8" y="8"/>
                    <a:pt x="11" y="11"/>
                  </a:cubicBezTo>
                  <a:cubicBezTo>
                    <a:pt x="14" y="14"/>
                    <a:pt x="16" y="18"/>
                    <a:pt x="16" y="22"/>
                  </a:cubicBezTo>
                </a:path>
              </a:pathLst>
            </a:custGeom>
            <a:solidFill>
              <a:srgbClr val="CCCCC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10" name="Freeform 316">
              <a:extLst>
                <a:ext uri="{FF2B5EF4-FFF2-40B4-BE49-F238E27FC236}">
                  <a16:creationId xmlns:a16="http://schemas.microsoft.com/office/drawing/2014/main" id="{AF1FA53B-A961-45EF-8955-15AA2C936DC5}"/>
                </a:ext>
              </a:extLst>
            </p:cNvPr>
            <p:cNvSpPr>
              <a:spLocks/>
            </p:cNvSpPr>
            <p:nvPr/>
          </p:nvSpPr>
          <p:spPr bwMode="auto">
            <a:xfrm>
              <a:off x="4165273" y="3027398"/>
              <a:ext cx="66802" cy="68393"/>
            </a:xfrm>
            <a:custGeom>
              <a:avLst/>
              <a:gdLst>
                <a:gd name="T0" fmla="*/ 28 w 34"/>
                <a:gd name="T1" fmla="*/ 35 h 35"/>
                <a:gd name="T2" fmla="*/ 34 w 34"/>
                <a:gd name="T3" fmla="*/ 35 h 35"/>
                <a:gd name="T4" fmla="*/ 0 w 34"/>
                <a:gd name="T5" fmla="*/ 0 h 35"/>
                <a:gd name="T6" fmla="*/ 0 w 34"/>
                <a:gd name="T7" fmla="*/ 6 h 35"/>
                <a:gd name="T8" fmla="*/ 28 w 34"/>
                <a:gd name="T9" fmla="*/ 35 h 35"/>
              </a:gdLst>
              <a:ahLst/>
              <a:cxnLst>
                <a:cxn ang="0">
                  <a:pos x="T0" y="T1"/>
                </a:cxn>
                <a:cxn ang="0">
                  <a:pos x="T2" y="T3"/>
                </a:cxn>
                <a:cxn ang="0">
                  <a:pos x="T4" y="T5"/>
                </a:cxn>
                <a:cxn ang="0">
                  <a:pos x="T6" y="T7"/>
                </a:cxn>
                <a:cxn ang="0">
                  <a:pos x="T8" y="T9"/>
                </a:cxn>
              </a:cxnLst>
              <a:rect l="0" t="0" r="r" b="b"/>
              <a:pathLst>
                <a:path w="34" h="35">
                  <a:moveTo>
                    <a:pt x="28" y="35"/>
                  </a:moveTo>
                  <a:cubicBezTo>
                    <a:pt x="34" y="35"/>
                    <a:pt x="34" y="35"/>
                    <a:pt x="34" y="35"/>
                  </a:cubicBezTo>
                  <a:cubicBezTo>
                    <a:pt x="34" y="15"/>
                    <a:pt x="19" y="0"/>
                    <a:pt x="0" y="0"/>
                  </a:cubicBezTo>
                  <a:cubicBezTo>
                    <a:pt x="0" y="6"/>
                    <a:pt x="0" y="6"/>
                    <a:pt x="0" y="6"/>
                  </a:cubicBezTo>
                  <a:cubicBezTo>
                    <a:pt x="15" y="6"/>
                    <a:pt x="28" y="19"/>
                    <a:pt x="28" y="35"/>
                  </a:cubicBezTo>
                </a:path>
              </a:pathLst>
            </a:custGeom>
            <a:solidFill>
              <a:srgbClr val="CCCCC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11" name="Oval 317">
              <a:extLst>
                <a:ext uri="{FF2B5EF4-FFF2-40B4-BE49-F238E27FC236}">
                  <a16:creationId xmlns:a16="http://schemas.microsoft.com/office/drawing/2014/main" id="{DBB4977E-3336-4A2D-A872-D75D25D36ADC}"/>
                </a:ext>
              </a:extLst>
            </p:cNvPr>
            <p:cNvSpPr>
              <a:spLocks noChangeArrowheads="1"/>
            </p:cNvSpPr>
            <p:nvPr/>
          </p:nvSpPr>
          <p:spPr bwMode="auto">
            <a:xfrm>
              <a:off x="3815358" y="3509327"/>
              <a:ext cx="19086" cy="17496"/>
            </a:xfrm>
            <a:prstGeom prst="ellipse">
              <a:avLst/>
            </a:prstGeom>
            <a:solidFill>
              <a:srgbClr val="CCCCC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12" name="Freeform 318">
              <a:extLst>
                <a:ext uri="{FF2B5EF4-FFF2-40B4-BE49-F238E27FC236}">
                  <a16:creationId xmlns:a16="http://schemas.microsoft.com/office/drawing/2014/main" id="{F09A237D-C30B-4D12-BE63-42109E646329}"/>
                </a:ext>
              </a:extLst>
            </p:cNvPr>
            <p:cNvSpPr>
              <a:spLocks/>
            </p:cNvSpPr>
            <p:nvPr/>
          </p:nvSpPr>
          <p:spPr bwMode="auto">
            <a:xfrm>
              <a:off x="3815358" y="3482288"/>
              <a:ext cx="46126" cy="44535"/>
            </a:xfrm>
            <a:custGeom>
              <a:avLst/>
              <a:gdLst>
                <a:gd name="T0" fmla="*/ 16 w 23"/>
                <a:gd name="T1" fmla="*/ 23 h 23"/>
                <a:gd name="T2" fmla="*/ 23 w 23"/>
                <a:gd name="T3" fmla="*/ 23 h 23"/>
                <a:gd name="T4" fmla="*/ 0 w 23"/>
                <a:gd name="T5" fmla="*/ 0 h 23"/>
                <a:gd name="T6" fmla="*/ 0 w 23"/>
                <a:gd name="T7" fmla="*/ 7 h 23"/>
                <a:gd name="T8" fmla="*/ 11 w 23"/>
                <a:gd name="T9" fmla="*/ 11 h 23"/>
                <a:gd name="T10" fmla="*/ 16 w 23"/>
                <a:gd name="T11" fmla="*/ 23 h 23"/>
              </a:gdLst>
              <a:ahLst/>
              <a:cxnLst>
                <a:cxn ang="0">
                  <a:pos x="T0" y="T1"/>
                </a:cxn>
                <a:cxn ang="0">
                  <a:pos x="T2" y="T3"/>
                </a:cxn>
                <a:cxn ang="0">
                  <a:pos x="T4" y="T5"/>
                </a:cxn>
                <a:cxn ang="0">
                  <a:pos x="T6" y="T7"/>
                </a:cxn>
                <a:cxn ang="0">
                  <a:pos x="T8" y="T9"/>
                </a:cxn>
                <a:cxn ang="0">
                  <a:pos x="T10" y="T11"/>
                </a:cxn>
              </a:cxnLst>
              <a:rect l="0" t="0" r="r" b="b"/>
              <a:pathLst>
                <a:path w="23" h="23">
                  <a:moveTo>
                    <a:pt x="16" y="23"/>
                  </a:moveTo>
                  <a:cubicBezTo>
                    <a:pt x="23" y="23"/>
                    <a:pt x="23" y="23"/>
                    <a:pt x="23" y="23"/>
                  </a:cubicBezTo>
                  <a:cubicBezTo>
                    <a:pt x="23" y="10"/>
                    <a:pt x="12" y="0"/>
                    <a:pt x="0" y="0"/>
                  </a:cubicBezTo>
                  <a:cubicBezTo>
                    <a:pt x="0" y="7"/>
                    <a:pt x="0" y="7"/>
                    <a:pt x="0" y="7"/>
                  </a:cubicBezTo>
                  <a:cubicBezTo>
                    <a:pt x="4" y="7"/>
                    <a:pt x="8" y="8"/>
                    <a:pt x="11" y="11"/>
                  </a:cubicBezTo>
                  <a:cubicBezTo>
                    <a:pt x="14" y="14"/>
                    <a:pt x="16" y="18"/>
                    <a:pt x="16" y="23"/>
                  </a:cubicBezTo>
                </a:path>
              </a:pathLst>
            </a:custGeom>
            <a:solidFill>
              <a:srgbClr val="CCCCC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13" name="Freeform 319">
              <a:extLst>
                <a:ext uri="{FF2B5EF4-FFF2-40B4-BE49-F238E27FC236}">
                  <a16:creationId xmlns:a16="http://schemas.microsoft.com/office/drawing/2014/main" id="{C9FDC3AB-1E27-4279-9350-73CC50B62605}"/>
                </a:ext>
              </a:extLst>
            </p:cNvPr>
            <p:cNvSpPr>
              <a:spLocks/>
            </p:cNvSpPr>
            <p:nvPr/>
          </p:nvSpPr>
          <p:spPr bwMode="auto">
            <a:xfrm>
              <a:off x="3815358" y="3458430"/>
              <a:ext cx="68393" cy="68393"/>
            </a:xfrm>
            <a:custGeom>
              <a:avLst/>
              <a:gdLst>
                <a:gd name="T0" fmla="*/ 28 w 35"/>
                <a:gd name="T1" fmla="*/ 35 h 35"/>
                <a:gd name="T2" fmla="*/ 35 w 35"/>
                <a:gd name="T3" fmla="*/ 35 h 35"/>
                <a:gd name="T4" fmla="*/ 0 w 35"/>
                <a:gd name="T5" fmla="*/ 0 h 35"/>
                <a:gd name="T6" fmla="*/ 0 w 35"/>
                <a:gd name="T7" fmla="*/ 7 h 35"/>
                <a:gd name="T8" fmla="*/ 28 w 35"/>
                <a:gd name="T9" fmla="*/ 35 h 35"/>
              </a:gdLst>
              <a:ahLst/>
              <a:cxnLst>
                <a:cxn ang="0">
                  <a:pos x="T0" y="T1"/>
                </a:cxn>
                <a:cxn ang="0">
                  <a:pos x="T2" y="T3"/>
                </a:cxn>
                <a:cxn ang="0">
                  <a:pos x="T4" y="T5"/>
                </a:cxn>
                <a:cxn ang="0">
                  <a:pos x="T6" y="T7"/>
                </a:cxn>
                <a:cxn ang="0">
                  <a:pos x="T8" y="T9"/>
                </a:cxn>
              </a:cxnLst>
              <a:rect l="0" t="0" r="r" b="b"/>
              <a:pathLst>
                <a:path w="35" h="35">
                  <a:moveTo>
                    <a:pt x="28" y="35"/>
                  </a:moveTo>
                  <a:cubicBezTo>
                    <a:pt x="35" y="35"/>
                    <a:pt x="35" y="35"/>
                    <a:pt x="35" y="35"/>
                  </a:cubicBezTo>
                  <a:cubicBezTo>
                    <a:pt x="35" y="16"/>
                    <a:pt x="19" y="0"/>
                    <a:pt x="0" y="0"/>
                  </a:cubicBezTo>
                  <a:cubicBezTo>
                    <a:pt x="0" y="7"/>
                    <a:pt x="0" y="7"/>
                    <a:pt x="0" y="7"/>
                  </a:cubicBezTo>
                  <a:cubicBezTo>
                    <a:pt x="15" y="7"/>
                    <a:pt x="28" y="19"/>
                    <a:pt x="28" y="35"/>
                  </a:cubicBezTo>
                </a:path>
              </a:pathLst>
            </a:custGeom>
            <a:solidFill>
              <a:srgbClr val="CCCCC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14" name="Oval 320">
              <a:extLst>
                <a:ext uri="{FF2B5EF4-FFF2-40B4-BE49-F238E27FC236}">
                  <a16:creationId xmlns:a16="http://schemas.microsoft.com/office/drawing/2014/main" id="{9177E6D5-2F65-482A-916C-DFE73248CE3C}"/>
                </a:ext>
              </a:extLst>
            </p:cNvPr>
            <p:cNvSpPr>
              <a:spLocks noChangeArrowheads="1"/>
            </p:cNvSpPr>
            <p:nvPr/>
          </p:nvSpPr>
          <p:spPr bwMode="auto">
            <a:xfrm>
              <a:off x="5521989" y="2496164"/>
              <a:ext cx="17496" cy="17496"/>
            </a:xfrm>
            <a:prstGeom prst="ellipse">
              <a:avLst/>
            </a:prstGeom>
            <a:solidFill>
              <a:srgbClr val="CCCCC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15" name="Freeform 321">
              <a:extLst>
                <a:ext uri="{FF2B5EF4-FFF2-40B4-BE49-F238E27FC236}">
                  <a16:creationId xmlns:a16="http://schemas.microsoft.com/office/drawing/2014/main" id="{864ED8B6-91DD-4B26-B300-6860EFCC26C0}"/>
                </a:ext>
              </a:extLst>
            </p:cNvPr>
            <p:cNvSpPr>
              <a:spLocks/>
            </p:cNvSpPr>
            <p:nvPr/>
          </p:nvSpPr>
          <p:spPr bwMode="auto">
            <a:xfrm>
              <a:off x="5521989" y="2469126"/>
              <a:ext cx="42945" cy="44535"/>
            </a:xfrm>
            <a:custGeom>
              <a:avLst/>
              <a:gdLst>
                <a:gd name="T0" fmla="*/ 16 w 22"/>
                <a:gd name="T1" fmla="*/ 23 h 23"/>
                <a:gd name="T2" fmla="*/ 22 w 22"/>
                <a:gd name="T3" fmla="*/ 23 h 23"/>
                <a:gd name="T4" fmla="*/ 0 w 22"/>
                <a:gd name="T5" fmla="*/ 0 h 23"/>
                <a:gd name="T6" fmla="*/ 0 w 22"/>
                <a:gd name="T7" fmla="*/ 7 h 23"/>
                <a:gd name="T8" fmla="*/ 11 w 22"/>
                <a:gd name="T9" fmla="*/ 11 h 23"/>
                <a:gd name="T10" fmla="*/ 16 w 22"/>
                <a:gd name="T11" fmla="*/ 23 h 23"/>
              </a:gdLst>
              <a:ahLst/>
              <a:cxnLst>
                <a:cxn ang="0">
                  <a:pos x="T0" y="T1"/>
                </a:cxn>
                <a:cxn ang="0">
                  <a:pos x="T2" y="T3"/>
                </a:cxn>
                <a:cxn ang="0">
                  <a:pos x="T4" y="T5"/>
                </a:cxn>
                <a:cxn ang="0">
                  <a:pos x="T6" y="T7"/>
                </a:cxn>
                <a:cxn ang="0">
                  <a:pos x="T8" y="T9"/>
                </a:cxn>
                <a:cxn ang="0">
                  <a:pos x="T10" y="T11"/>
                </a:cxn>
              </a:cxnLst>
              <a:rect l="0" t="0" r="r" b="b"/>
              <a:pathLst>
                <a:path w="22" h="23">
                  <a:moveTo>
                    <a:pt x="16" y="23"/>
                  </a:moveTo>
                  <a:cubicBezTo>
                    <a:pt x="22" y="23"/>
                    <a:pt x="22" y="23"/>
                    <a:pt x="22" y="23"/>
                  </a:cubicBezTo>
                  <a:cubicBezTo>
                    <a:pt x="22" y="10"/>
                    <a:pt x="12" y="0"/>
                    <a:pt x="0" y="0"/>
                  </a:cubicBezTo>
                  <a:cubicBezTo>
                    <a:pt x="0" y="7"/>
                    <a:pt x="0" y="7"/>
                    <a:pt x="0" y="7"/>
                  </a:cubicBezTo>
                  <a:cubicBezTo>
                    <a:pt x="4" y="7"/>
                    <a:pt x="8" y="8"/>
                    <a:pt x="11" y="11"/>
                  </a:cubicBezTo>
                  <a:cubicBezTo>
                    <a:pt x="14" y="14"/>
                    <a:pt x="16" y="18"/>
                    <a:pt x="16" y="23"/>
                  </a:cubicBezTo>
                </a:path>
              </a:pathLst>
            </a:custGeom>
            <a:solidFill>
              <a:srgbClr val="CCCCC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16" name="Freeform 322">
              <a:extLst>
                <a:ext uri="{FF2B5EF4-FFF2-40B4-BE49-F238E27FC236}">
                  <a16:creationId xmlns:a16="http://schemas.microsoft.com/office/drawing/2014/main" id="{EA604397-BDF8-439D-A5E0-C5E5620503ED}"/>
                </a:ext>
              </a:extLst>
            </p:cNvPr>
            <p:cNvSpPr>
              <a:spLocks/>
            </p:cNvSpPr>
            <p:nvPr/>
          </p:nvSpPr>
          <p:spPr bwMode="auto">
            <a:xfrm>
              <a:off x="5521989" y="2445267"/>
              <a:ext cx="66802" cy="68393"/>
            </a:xfrm>
            <a:custGeom>
              <a:avLst/>
              <a:gdLst>
                <a:gd name="T0" fmla="*/ 28 w 34"/>
                <a:gd name="T1" fmla="*/ 35 h 35"/>
                <a:gd name="T2" fmla="*/ 34 w 34"/>
                <a:gd name="T3" fmla="*/ 35 h 35"/>
                <a:gd name="T4" fmla="*/ 0 w 34"/>
                <a:gd name="T5" fmla="*/ 0 h 35"/>
                <a:gd name="T6" fmla="*/ 0 w 34"/>
                <a:gd name="T7" fmla="*/ 7 h 35"/>
                <a:gd name="T8" fmla="*/ 28 w 34"/>
                <a:gd name="T9" fmla="*/ 35 h 35"/>
              </a:gdLst>
              <a:ahLst/>
              <a:cxnLst>
                <a:cxn ang="0">
                  <a:pos x="T0" y="T1"/>
                </a:cxn>
                <a:cxn ang="0">
                  <a:pos x="T2" y="T3"/>
                </a:cxn>
                <a:cxn ang="0">
                  <a:pos x="T4" y="T5"/>
                </a:cxn>
                <a:cxn ang="0">
                  <a:pos x="T6" y="T7"/>
                </a:cxn>
                <a:cxn ang="0">
                  <a:pos x="T8" y="T9"/>
                </a:cxn>
              </a:cxnLst>
              <a:rect l="0" t="0" r="r" b="b"/>
              <a:pathLst>
                <a:path w="34" h="35">
                  <a:moveTo>
                    <a:pt x="28" y="35"/>
                  </a:moveTo>
                  <a:cubicBezTo>
                    <a:pt x="34" y="35"/>
                    <a:pt x="34" y="35"/>
                    <a:pt x="34" y="35"/>
                  </a:cubicBezTo>
                  <a:cubicBezTo>
                    <a:pt x="34" y="16"/>
                    <a:pt x="19" y="0"/>
                    <a:pt x="0" y="0"/>
                  </a:cubicBezTo>
                  <a:cubicBezTo>
                    <a:pt x="0" y="7"/>
                    <a:pt x="0" y="7"/>
                    <a:pt x="0" y="7"/>
                  </a:cubicBezTo>
                  <a:cubicBezTo>
                    <a:pt x="15" y="7"/>
                    <a:pt x="28" y="19"/>
                    <a:pt x="28" y="35"/>
                  </a:cubicBezTo>
                </a:path>
              </a:pathLst>
            </a:custGeom>
            <a:solidFill>
              <a:srgbClr val="CCCCC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17" name="Freeform 323">
              <a:extLst>
                <a:ext uri="{FF2B5EF4-FFF2-40B4-BE49-F238E27FC236}">
                  <a16:creationId xmlns:a16="http://schemas.microsoft.com/office/drawing/2014/main" id="{C6D2AEAD-231A-4BE7-BE5B-E189A701CEEF}"/>
                </a:ext>
              </a:extLst>
            </p:cNvPr>
            <p:cNvSpPr>
              <a:spLocks noEditPoints="1"/>
            </p:cNvSpPr>
            <p:nvPr/>
          </p:nvSpPr>
          <p:spPr bwMode="auto">
            <a:xfrm>
              <a:off x="6110482" y="2095353"/>
              <a:ext cx="119289" cy="120880"/>
            </a:xfrm>
            <a:custGeom>
              <a:avLst/>
              <a:gdLst>
                <a:gd name="T0" fmla="*/ 30 w 61"/>
                <a:gd name="T1" fmla="*/ 62 h 62"/>
                <a:gd name="T2" fmla="*/ 61 w 61"/>
                <a:gd name="T3" fmla="*/ 31 h 62"/>
                <a:gd name="T4" fmla="*/ 30 w 61"/>
                <a:gd name="T5" fmla="*/ 0 h 62"/>
                <a:gd name="T6" fmla="*/ 0 w 61"/>
                <a:gd name="T7" fmla="*/ 31 h 62"/>
                <a:gd name="T8" fmla="*/ 30 w 61"/>
                <a:gd name="T9" fmla="*/ 62 h 62"/>
                <a:gd name="T10" fmla="*/ 38 w 61"/>
                <a:gd name="T11" fmla="*/ 14 h 62"/>
                <a:gd name="T12" fmla="*/ 42 w 61"/>
                <a:gd name="T13" fmla="*/ 18 h 62"/>
                <a:gd name="T14" fmla="*/ 38 w 61"/>
                <a:gd name="T15" fmla="*/ 22 h 62"/>
                <a:gd name="T16" fmla="*/ 34 w 61"/>
                <a:gd name="T17" fmla="*/ 18 h 62"/>
                <a:gd name="T18" fmla="*/ 38 w 61"/>
                <a:gd name="T19" fmla="*/ 14 h 62"/>
                <a:gd name="T20" fmla="*/ 23 w 61"/>
                <a:gd name="T21" fmla="*/ 14 h 62"/>
                <a:gd name="T22" fmla="*/ 27 w 61"/>
                <a:gd name="T23" fmla="*/ 18 h 62"/>
                <a:gd name="T24" fmla="*/ 23 w 61"/>
                <a:gd name="T25" fmla="*/ 22 h 62"/>
                <a:gd name="T26" fmla="*/ 19 w 61"/>
                <a:gd name="T27" fmla="*/ 18 h 62"/>
                <a:gd name="T28" fmla="*/ 23 w 61"/>
                <a:gd name="T29" fmla="*/ 14 h 62"/>
                <a:gd name="T30" fmla="*/ 9 w 61"/>
                <a:gd name="T31" fmla="*/ 27 h 62"/>
                <a:gd name="T32" fmla="*/ 52 w 61"/>
                <a:gd name="T33" fmla="*/ 27 h 62"/>
                <a:gd name="T34" fmla="*/ 52 w 61"/>
                <a:gd name="T35" fmla="*/ 35 h 62"/>
                <a:gd name="T36" fmla="*/ 52 w 61"/>
                <a:gd name="T37" fmla="*/ 35 h 62"/>
                <a:gd name="T38" fmla="*/ 30 w 61"/>
                <a:gd name="T39" fmla="*/ 55 h 62"/>
                <a:gd name="T40" fmla="*/ 9 w 61"/>
                <a:gd name="T41" fmla="*/ 35 h 62"/>
                <a:gd name="T42" fmla="*/ 9 w 61"/>
                <a:gd name="T43" fmla="*/ 35 h 62"/>
                <a:gd name="T44" fmla="*/ 9 w 61"/>
                <a:gd name="T45" fmla="*/ 27 h 62"/>
                <a:gd name="T46" fmla="*/ 49 w 61"/>
                <a:gd name="T47" fmla="*/ 34 h 62"/>
                <a:gd name="T48" fmla="*/ 11 w 61"/>
                <a:gd name="T49" fmla="*/ 34 h 62"/>
                <a:gd name="T50" fmla="*/ 11 w 61"/>
                <a:gd name="T51" fmla="*/ 29 h 62"/>
                <a:gd name="T52" fmla="*/ 49 w 61"/>
                <a:gd name="T53" fmla="*/ 29 h 62"/>
                <a:gd name="T54" fmla="*/ 49 w 61"/>
                <a:gd name="T55" fmla="*/ 3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1" h="62">
                  <a:moveTo>
                    <a:pt x="30" y="62"/>
                  </a:moveTo>
                  <a:cubicBezTo>
                    <a:pt x="47" y="62"/>
                    <a:pt x="61" y="48"/>
                    <a:pt x="61" y="31"/>
                  </a:cubicBezTo>
                  <a:cubicBezTo>
                    <a:pt x="61" y="14"/>
                    <a:pt x="47" y="0"/>
                    <a:pt x="30" y="0"/>
                  </a:cubicBezTo>
                  <a:cubicBezTo>
                    <a:pt x="13" y="0"/>
                    <a:pt x="0" y="14"/>
                    <a:pt x="0" y="31"/>
                  </a:cubicBezTo>
                  <a:cubicBezTo>
                    <a:pt x="0" y="48"/>
                    <a:pt x="13" y="62"/>
                    <a:pt x="30" y="62"/>
                  </a:cubicBezTo>
                  <a:moveTo>
                    <a:pt x="38" y="14"/>
                  </a:moveTo>
                  <a:cubicBezTo>
                    <a:pt x="40" y="14"/>
                    <a:pt x="42" y="16"/>
                    <a:pt x="42" y="18"/>
                  </a:cubicBezTo>
                  <a:cubicBezTo>
                    <a:pt x="42" y="20"/>
                    <a:pt x="40" y="22"/>
                    <a:pt x="38" y="22"/>
                  </a:cubicBezTo>
                  <a:cubicBezTo>
                    <a:pt x="36" y="22"/>
                    <a:pt x="34" y="20"/>
                    <a:pt x="34" y="18"/>
                  </a:cubicBezTo>
                  <a:cubicBezTo>
                    <a:pt x="34" y="16"/>
                    <a:pt x="36" y="14"/>
                    <a:pt x="38" y="14"/>
                  </a:cubicBezTo>
                  <a:moveTo>
                    <a:pt x="23" y="14"/>
                  </a:moveTo>
                  <a:cubicBezTo>
                    <a:pt x="25" y="14"/>
                    <a:pt x="27" y="16"/>
                    <a:pt x="27" y="18"/>
                  </a:cubicBezTo>
                  <a:cubicBezTo>
                    <a:pt x="27" y="20"/>
                    <a:pt x="25" y="22"/>
                    <a:pt x="23" y="22"/>
                  </a:cubicBezTo>
                  <a:cubicBezTo>
                    <a:pt x="21" y="22"/>
                    <a:pt x="19" y="20"/>
                    <a:pt x="19" y="18"/>
                  </a:cubicBezTo>
                  <a:cubicBezTo>
                    <a:pt x="19" y="16"/>
                    <a:pt x="21" y="14"/>
                    <a:pt x="23" y="14"/>
                  </a:cubicBezTo>
                  <a:moveTo>
                    <a:pt x="9" y="27"/>
                  </a:moveTo>
                  <a:cubicBezTo>
                    <a:pt x="52" y="27"/>
                    <a:pt x="52" y="27"/>
                    <a:pt x="52" y="27"/>
                  </a:cubicBezTo>
                  <a:cubicBezTo>
                    <a:pt x="52" y="35"/>
                    <a:pt x="52" y="35"/>
                    <a:pt x="52" y="35"/>
                  </a:cubicBezTo>
                  <a:cubicBezTo>
                    <a:pt x="52" y="35"/>
                    <a:pt x="52" y="35"/>
                    <a:pt x="52" y="35"/>
                  </a:cubicBezTo>
                  <a:cubicBezTo>
                    <a:pt x="51" y="46"/>
                    <a:pt x="42" y="55"/>
                    <a:pt x="30" y="55"/>
                  </a:cubicBezTo>
                  <a:cubicBezTo>
                    <a:pt x="19" y="55"/>
                    <a:pt x="10" y="46"/>
                    <a:pt x="9" y="35"/>
                  </a:cubicBezTo>
                  <a:cubicBezTo>
                    <a:pt x="9" y="35"/>
                    <a:pt x="9" y="35"/>
                    <a:pt x="9" y="35"/>
                  </a:cubicBezTo>
                  <a:lnTo>
                    <a:pt x="9" y="27"/>
                  </a:lnTo>
                  <a:close/>
                  <a:moveTo>
                    <a:pt x="49" y="34"/>
                  </a:moveTo>
                  <a:cubicBezTo>
                    <a:pt x="11" y="34"/>
                    <a:pt x="11" y="34"/>
                    <a:pt x="11" y="34"/>
                  </a:cubicBezTo>
                  <a:cubicBezTo>
                    <a:pt x="11" y="29"/>
                    <a:pt x="11" y="29"/>
                    <a:pt x="11" y="29"/>
                  </a:cubicBezTo>
                  <a:cubicBezTo>
                    <a:pt x="49" y="29"/>
                    <a:pt x="49" y="29"/>
                    <a:pt x="49" y="29"/>
                  </a:cubicBezTo>
                  <a:lnTo>
                    <a:pt x="49" y="34"/>
                  </a:lnTo>
                  <a:close/>
                </a:path>
              </a:pathLst>
            </a:custGeom>
            <a:solidFill>
              <a:srgbClr val="CCCCC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18" name="Freeform 324">
              <a:extLst>
                <a:ext uri="{FF2B5EF4-FFF2-40B4-BE49-F238E27FC236}">
                  <a16:creationId xmlns:a16="http://schemas.microsoft.com/office/drawing/2014/main" id="{3F24A1A8-F147-4C39-890C-50B113C2C769}"/>
                </a:ext>
              </a:extLst>
            </p:cNvPr>
            <p:cNvSpPr>
              <a:spLocks noEditPoints="1"/>
            </p:cNvSpPr>
            <p:nvPr/>
          </p:nvSpPr>
          <p:spPr bwMode="auto">
            <a:xfrm>
              <a:off x="5081413" y="2028551"/>
              <a:ext cx="120880" cy="119289"/>
            </a:xfrm>
            <a:custGeom>
              <a:avLst/>
              <a:gdLst>
                <a:gd name="T0" fmla="*/ 31 w 62"/>
                <a:gd name="T1" fmla="*/ 61 h 61"/>
                <a:gd name="T2" fmla="*/ 62 w 62"/>
                <a:gd name="T3" fmla="*/ 31 h 61"/>
                <a:gd name="T4" fmla="*/ 31 w 62"/>
                <a:gd name="T5" fmla="*/ 0 h 61"/>
                <a:gd name="T6" fmla="*/ 0 w 62"/>
                <a:gd name="T7" fmla="*/ 31 h 61"/>
                <a:gd name="T8" fmla="*/ 31 w 62"/>
                <a:gd name="T9" fmla="*/ 61 h 61"/>
                <a:gd name="T10" fmla="*/ 39 w 62"/>
                <a:gd name="T11" fmla="*/ 14 h 61"/>
                <a:gd name="T12" fmla="*/ 43 w 62"/>
                <a:gd name="T13" fmla="*/ 18 h 61"/>
                <a:gd name="T14" fmla="*/ 39 w 62"/>
                <a:gd name="T15" fmla="*/ 22 h 61"/>
                <a:gd name="T16" fmla="*/ 35 w 62"/>
                <a:gd name="T17" fmla="*/ 18 h 61"/>
                <a:gd name="T18" fmla="*/ 39 w 62"/>
                <a:gd name="T19" fmla="*/ 14 h 61"/>
                <a:gd name="T20" fmla="*/ 24 w 62"/>
                <a:gd name="T21" fmla="*/ 14 h 61"/>
                <a:gd name="T22" fmla="*/ 28 w 62"/>
                <a:gd name="T23" fmla="*/ 18 h 61"/>
                <a:gd name="T24" fmla="*/ 24 w 62"/>
                <a:gd name="T25" fmla="*/ 22 h 61"/>
                <a:gd name="T26" fmla="*/ 20 w 62"/>
                <a:gd name="T27" fmla="*/ 18 h 61"/>
                <a:gd name="T28" fmla="*/ 24 w 62"/>
                <a:gd name="T29" fmla="*/ 14 h 61"/>
                <a:gd name="T30" fmla="*/ 10 w 62"/>
                <a:gd name="T31" fmla="*/ 27 h 61"/>
                <a:gd name="T32" fmla="*/ 53 w 62"/>
                <a:gd name="T33" fmla="*/ 27 h 61"/>
                <a:gd name="T34" fmla="*/ 53 w 62"/>
                <a:gd name="T35" fmla="*/ 35 h 61"/>
                <a:gd name="T36" fmla="*/ 53 w 62"/>
                <a:gd name="T37" fmla="*/ 35 h 61"/>
                <a:gd name="T38" fmla="*/ 31 w 62"/>
                <a:gd name="T39" fmla="*/ 55 h 61"/>
                <a:gd name="T40" fmla="*/ 10 w 62"/>
                <a:gd name="T41" fmla="*/ 35 h 61"/>
                <a:gd name="T42" fmla="*/ 10 w 62"/>
                <a:gd name="T43" fmla="*/ 35 h 61"/>
                <a:gd name="T44" fmla="*/ 10 w 62"/>
                <a:gd name="T45" fmla="*/ 27 h 61"/>
                <a:gd name="T46" fmla="*/ 50 w 62"/>
                <a:gd name="T47" fmla="*/ 34 h 61"/>
                <a:gd name="T48" fmla="*/ 12 w 62"/>
                <a:gd name="T49" fmla="*/ 34 h 61"/>
                <a:gd name="T50" fmla="*/ 12 w 62"/>
                <a:gd name="T51" fmla="*/ 29 h 61"/>
                <a:gd name="T52" fmla="*/ 50 w 62"/>
                <a:gd name="T53" fmla="*/ 29 h 61"/>
                <a:gd name="T54" fmla="*/ 50 w 62"/>
                <a:gd name="T55" fmla="*/ 34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2" h="61">
                  <a:moveTo>
                    <a:pt x="31" y="61"/>
                  </a:moveTo>
                  <a:cubicBezTo>
                    <a:pt x="48" y="61"/>
                    <a:pt x="62" y="48"/>
                    <a:pt x="62" y="31"/>
                  </a:cubicBezTo>
                  <a:cubicBezTo>
                    <a:pt x="62" y="14"/>
                    <a:pt x="48" y="0"/>
                    <a:pt x="31" y="0"/>
                  </a:cubicBezTo>
                  <a:cubicBezTo>
                    <a:pt x="14" y="0"/>
                    <a:pt x="0" y="14"/>
                    <a:pt x="0" y="31"/>
                  </a:cubicBezTo>
                  <a:cubicBezTo>
                    <a:pt x="0" y="48"/>
                    <a:pt x="14" y="61"/>
                    <a:pt x="31" y="61"/>
                  </a:cubicBezTo>
                  <a:moveTo>
                    <a:pt x="39" y="14"/>
                  </a:moveTo>
                  <a:cubicBezTo>
                    <a:pt x="41" y="14"/>
                    <a:pt x="43" y="16"/>
                    <a:pt x="43" y="18"/>
                  </a:cubicBezTo>
                  <a:cubicBezTo>
                    <a:pt x="43" y="20"/>
                    <a:pt x="41" y="22"/>
                    <a:pt x="39" y="22"/>
                  </a:cubicBezTo>
                  <a:cubicBezTo>
                    <a:pt x="37" y="22"/>
                    <a:pt x="35" y="20"/>
                    <a:pt x="35" y="18"/>
                  </a:cubicBezTo>
                  <a:cubicBezTo>
                    <a:pt x="35" y="16"/>
                    <a:pt x="37" y="14"/>
                    <a:pt x="39" y="14"/>
                  </a:cubicBezTo>
                  <a:moveTo>
                    <a:pt x="24" y="14"/>
                  </a:moveTo>
                  <a:cubicBezTo>
                    <a:pt x="26" y="14"/>
                    <a:pt x="28" y="16"/>
                    <a:pt x="28" y="18"/>
                  </a:cubicBezTo>
                  <a:cubicBezTo>
                    <a:pt x="28" y="20"/>
                    <a:pt x="26" y="22"/>
                    <a:pt x="24" y="22"/>
                  </a:cubicBezTo>
                  <a:cubicBezTo>
                    <a:pt x="22" y="22"/>
                    <a:pt x="20" y="20"/>
                    <a:pt x="20" y="18"/>
                  </a:cubicBezTo>
                  <a:cubicBezTo>
                    <a:pt x="20" y="16"/>
                    <a:pt x="22" y="14"/>
                    <a:pt x="24" y="14"/>
                  </a:cubicBezTo>
                  <a:moveTo>
                    <a:pt x="10" y="27"/>
                  </a:moveTo>
                  <a:cubicBezTo>
                    <a:pt x="53" y="27"/>
                    <a:pt x="53" y="27"/>
                    <a:pt x="53" y="27"/>
                  </a:cubicBezTo>
                  <a:cubicBezTo>
                    <a:pt x="53" y="35"/>
                    <a:pt x="53" y="35"/>
                    <a:pt x="53" y="35"/>
                  </a:cubicBezTo>
                  <a:cubicBezTo>
                    <a:pt x="53" y="35"/>
                    <a:pt x="53" y="35"/>
                    <a:pt x="53" y="35"/>
                  </a:cubicBezTo>
                  <a:cubicBezTo>
                    <a:pt x="52" y="46"/>
                    <a:pt x="42" y="55"/>
                    <a:pt x="31" y="55"/>
                  </a:cubicBezTo>
                  <a:cubicBezTo>
                    <a:pt x="20" y="55"/>
                    <a:pt x="11" y="46"/>
                    <a:pt x="10" y="35"/>
                  </a:cubicBezTo>
                  <a:cubicBezTo>
                    <a:pt x="10" y="35"/>
                    <a:pt x="10" y="35"/>
                    <a:pt x="10" y="35"/>
                  </a:cubicBezTo>
                  <a:lnTo>
                    <a:pt x="10" y="27"/>
                  </a:lnTo>
                  <a:close/>
                  <a:moveTo>
                    <a:pt x="50" y="34"/>
                  </a:moveTo>
                  <a:cubicBezTo>
                    <a:pt x="12" y="34"/>
                    <a:pt x="12" y="34"/>
                    <a:pt x="12" y="34"/>
                  </a:cubicBezTo>
                  <a:cubicBezTo>
                    <a:pt x="12" y="29"/>
                    <a:pt x="12" y="29"/>
                    <a:pt x="12" y="29"/>
                  </a:cubicBezTo>
                  <a:cubicBezTo>
                    <a:pt x="50" y="29"/>
                    <a:pt x="50" y="29"/>
                    <a:pt x="50" y="29"/>
                  </a:cubicBezTo>
                  <a:lnTo>
                    <a:pt x="50" y="34"/>
                  </a:lnTo>
                  <a:close/>
                </a:path>
              </a:pathLst>
            </a:custGeom>
            <a:solidFill>
              <a:srgbClr val="CCCCC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19" name="Freeform 325">
              <a:extLst>
                <a:ext uri="{FF2B5EF4-FFF2-40B4-BE49-F238E27FC236}">
                  <a16:creationId xmlns:a16="http://schemas.microsoft.com/office/drawing/2014/main" id="{43E90042-0469-4FF5-9830-4A7EBC2D2EF5}"/>
                </a:ext>
              </a:extLst>
            </p:cNvPr>
            <p:cNvSpPr>
              <a:spLocks noEditPoints="1"/>
            </p:cNvSpPr>
            <p:nvPr/>
          </p:nvSpPr>
          <p:spPr bwMode="auto">
            <a:xfrm>
              <a:off x="6088215" y="4414334"/>
              <a:ext cx="77936" cy="76345"/>
            </a:xfrm>
            <a:custGeom>
              <a:avLst/>
              <a:gdLst>
                <a:gd name="T0" fmla="*/ 20 w 40"/>
                <a:gd name="T1" fmla="*/ 39 h 39"/>
                <a:gd name="T2" fmla="*/ 40 w 40"/>
                <a:gd name="T3" fmla="*/ 20 h 39"/>
                <a:gd name="T4" fmla="*/ 20 w 40"/>
                <a:gd name="T5" fmla="*/ 0 h 39"/>
                <a:gd name="T6" fmla="*/ 0 w 40"/>
                <a:gd name="T7" fmla="*/ 20 h 39"/>
                <a:gd name="T8" fmla="*/ 20 w 40"/>
                <a:gd name="T9" fmla="*/ 39 h 39"/>
                <a:gd name="T10" fmla="*/ 25 w 40"/>
                <a:gd name="T11" fmla="*/ 9 h 39"/>
                <a:gd name="T12" fmla="*/ 28 w 40"/>
                <a:gd name="T13" fmla="*/ 12 h 39"/>
                <a:gd name="T14" fmla="*/ 25 w 40"/>
                <a:gd name="T15" fmla="*/ 14 h 39"/>
                <a:gd name="T16" fmla="*/ 22 w 40"/>
                <a:gd name="T17" fmla="*/ 12 h 39"/>
                <a:gd name="T18" fmla="*/ 25 w 40"/>
                <a:gd name="T19" fmla="*/ 9 h 39"/>
                <a:gd name="T20" fmla="*/ 15 w 40"/>
                <a:gd name="T21" fmla="*/ 9 h 39"/>
                <a:gd name="T22" fmla="*/ 18 w 40"/>
                <a:gd name="T23" fmla="*/ 12 h 39"/>
                <a:gd name="T24" fmla="*/ 15 w 40"/>
                <a:gd name="T25" fmla="*/ 14 h 39"/>
                <a:gd name="T26" fmla="*/ 13 w 40"/>
                <a:gd name="T27" fmla="*/ 12 h 39"/>
                <a:gd name="T28" fmla="*/ 15 w 40"/>
                <a:gd name="T29" fmla="*/ 9 h 39"/>
                <a:gd name="T30" fmla="*/ 6 w 40"/>
                <a:gd name="T31" fmla="*/ 17 h 39"/>
                <a:gd name="T32" fmla="*/ 34 w 40"/>
                <a:gd name="T33" fmla="*/ 17 h 39"/>
                <a:gd name="T34" fmla="*/ 34 w 40"/>
                <a:gd name="T35" fmla="*/ 22 h 39"/>
                <a:gd name="T36" fmla="*/ 34 w 40"/>
                <a:gd name="T37" fmla="*/ 22 h 39"/>
                <a:gd name="T38" fmla="*/ 20 w 40"/>
                <a:gd name="T39" fmla="*/ 35 h 39"/>
                <a:gd name="T40" fmla="*/ 6 w 40"/>
                <a:gd name="T41" fmla="*/ 22 h 39"/>
                <a:gd name="T42" fmla="*/ 6 w 40"/>
                <a:gd name="T43" fmla="*/ 22 h 39"/>
                <a:gd name="T44" fmla="*/ 6 w 40"/>
                <a:gd name="T45" fmla="*/ 17 h 39"/>
                <a:gd name="T46" fmla="*/ 32 w 40"/>
                <a:gd name="T47" fmla="*/ 22 h 39"/>
                <a:gd name="T48" fmla="*/ 8 w 40"/>
                <a:gd name="T49" fmla="*/ 22 h 39"/>
                <a:gd name="T50" fmla="*/ 8 w 40"/>
                <a:gd name="T51" fmla="*/ 19 h 39"/>
                <a:gd name="T52" fmla="*/ 32 w 40"/>
                <a:gd name="T53" fmla="*/ 19 h 39"/>
                <a:gd name="T54" fmla="*/ 32 w 40"/>
                <a:gd name="T55" fmla="*/ 22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0" h="39">
                  <a:moveTo>
                    <a:pt x="20" y="39"/>
                  </a:moveTo>
                  <a:cubicBezTo>
                    <a:pt x="31" y="39"/>
                    <a:pt x="40" y="31"/>
                    <a:pt x="40" y="20"/>
                  </a:cubicBezTo>
                  <a:cubicBezTo>
                    <a:pt x="40" y="9"/>
                    <a:pt x="31" y="0"/>
                    <a:pt x="20" y="0"/>
                  </a:cubicBezTo>
                  <a:cubicBezTo>
                    <a:pt x="9" y="0"/>
                    <a:pt x="0" y="9"/>
                    <a:pt x="0" y="20"/>
                  </a:cubicBezTo>
                  <a:cubicBezTo>
                    <a:pt x="0" y="31"/>
                    <a:pt x="9" y="39"/>
                    <a:pt x="20" y="39"/>
                  </a:cubicBezTo>
                  <a:moveTo>
                    <a:pt x="25" y="9"/>
                  </a:moveTo>
                  <a:cubicBezTo>
                    <a:pt x="26" y="9"/>
                    <a:pt x="28" y="10"/>
                    <a:pt x="28" y="12"/>
                  </a:cubicBezTo>
                  <a:cubicBezTo>
                    <a:pt x="28" y="13"/>
                    <a:pt x="26" y="14"/>
                    <a:pt x="25" y="14"/>
                  </a:cubicBezTo>
                  <a:cubicBezTo>
                    <a:pt x="24" y="14"/>
                    <a:pt x="22" y="13"/>
                    <a:pt x="22" y="12"/>
                  </a:cubicBezTo>
                  <a:cubicBezTo>
                    <a:pt x="22" y="10"/>
                    <a:pt x="24" y="9"/>
                    <a:pt x="25" y="9"/>
                  </a:cubicBezTo>
                  <a:moveTo>
                    <a:pt x="15" y="9"/>
                  </a:moveTo>
                  <a:cubicBezTo>
                    <a:pt x="17" y="9"/>
                    <a:pt x="18" y="10"/>
                    <a:pt x="18" y="12"/>
                  </a:cubicBezTo>
                  <a:cubicBezTo>
                    <a:pt x="18" y="13"/>
                    <a:pt x="17" y="14"/>
                    <a:pt x="15" y="14"/>
                  </a:cubicBezTo>
                  <a:cubicBezTo>
                    <a:pt x="14" y="14"/>
                    <a:pt x="13" y="13"/>
                    <a:pt x="13" y="12"/>
                  </a:cubicBezTo>
                  <a:cubicBezTo>
                    <a:pt x="13" y="10"/>
                    <a:pt x="14" y="9"/>
                    <a:pt x="15" y="9"/>
                  </a:cubicBezTo>
                  <a:moveTo>
                    <a:pt x="6" y="17"/>
                  </a:moveTo>
                  <a:cubicBezTo>
                    <a:pt x="34" y="17"/>
                    <a:pt x="34" y="17"/>
                    <a:pt x="34" y="17"/>
                  </a:cubicBezTo>
                  <a:cubicBezTo>
                    <a:pt x="34" y="22"/>
                    <a:pt x="34" y="22"/>
                    <a:pt x="34" y="22"/>
                  </a:cubicBezTo>
                  <a:cubicBezTo>
                    <a:pt x="34" y="22"/>
                    <a:pt x="34" y="22"/>
                    <a:pt x="34" y="22"/>
                  </a:cubicBezTo>
                  <a:cubicBezTo>
                    <a:pt x="33" y="29"/>
                    <a:pt x="27" y="35"/>
                    <a:pt x="20" y="35"/>
                  </a:cubicBezTo>
                  <a:cubicBezTo>
                    <a:pt x="13" y="35"/>
                    <a:pt x="7" y="29"/>
                    <a:pt x="6" y="22"/>
                  </a:cubicBezTo>
                  <a:cubicBezTo>
                    <a:pt x="6" y="22"/>
                    <a:pt x="6" y="22"/>
                    <a:pt x="6" y="22"/>
                  </a:cubicBezTo>
                  <a:lnTo>
                    <a:pt x="6" y="17"/>
                  </a:lnTo>
                  <a:close/>
                  <a:moveTo>
                    <a:pt x="32" y="22"/>
                  </a:moveTo>
                  <a:cubicBezTo>
                    <a:pt x="8" y="22"/>
                    <a:pt x="8" y="22"/>
                    <a:pt x="8" y="22"/>
                  </a:cubicBezTo>
                  <a:cubicBezTo>
                    <a:pt x="8" y="19"/>
                    <a:pt x="8" y="19"/>
                    <a:pt x="8" y="19"/>
                  </a:cubicBezTo>
                  <a:cubicBezTo>
                    <a:pt x="32" y="19"/>
                    <a:pt x="32" y="19"/>
                    <a:pt x="32" y="19"/>
                  </a:cubicBezTo>
                  <a:lnTo>
                    <a:pt x="32" y="22"/>
                  </a:lnTo>
                  <a:close/>
                </a:path>
              </a:pathLst>
            </a:custGeom>
            <a:solidFill>
              <a:srgbClr val="CCCCC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20" name="Freeform 326">
              <a:extLst>
                <a:ext uri="{FF2B5EF4-FFF2-40B4-BE49-F238E27FC236}">
                  <a16:creationId xmlns:a16="http://schemas.microsoft.com/office/drawing/2014/main" id="{0DBB69E6-B4A5-47B2-A2D2-52FF60537DBB}"/>
                </a:ext>
              </a:extLst>
            </p:cNvPr>
            <p:cNvSpPr>
              <a:spLocks noEditPoints="1"/>
            </p:cNvSpPr>
            <p:nvPr/>
          </p:nvSpPr>
          <p:spPr bwMode="auto">
            <a:xfrm>
              <a:off x="4453158" y="4104182"/>
              <a:ext cx="93841" cy="90660"/>
            </a:xfrm>
            <a:custGeom>
              <a:avLst/>
              <a:gdLst>
                <a:gd name="T0" fmla="*/ 24 w 48"/>
                <a:gd name="T1" fmla="*/ 47 h 47"/>
                <a:gd name="T2" fmla="*/ 48 w 48"/>
                <a:gd name="T3" fmla="*/ 24 h 47"/>
                <a:gd name="T4" fmla="*/ 24 w 48"/>
                <a:gd name="T5" fmla="*/ 0 h 47"/>
                <a:gd name="T6" fmla="*/ 0 w 48"/>
                <a:gd name="T7" fmla="*/ 24 h 47"/>
                <a:gd name="T8" fmla="*/ 24 w 48"/>
                <a:gd name="T9" fmla="*/ 47 h 47"/>
                <a:gd name="T10" fmla="*/ 30 w 48"/>
                <a:gd name="T11" fmla="*/ 11 h 47"/>
                <a:gd name="T12" fmla="*/ 33 w 48"/>
                <a:gd name="T13" fmla="*/ 14 h 47"/>
                <a:gd name="T14" fmla="*/ 30 w 48"/>
                <a:gd name="T15" fmla="*/ 17 h 47"/>
                <a:gd name="T16" fmla="*/ 27 w 48"/>
                <a:gd name="T17" fmla="*/ 14 h 47"/>
                <a:gd name="T18" fmla="*/ 30 w 48"/>
                <a:gd name="T19" fmla="*/ 11 h 47"/>
                <a:gd name="T20" fmla="*/ 18 w 48"/>
                <a:gd name="T21" fmla="*/ 11 h 47"/>
                <a:gd name="T22" fmla="*/ 21 w 48"/>
                <a:gd name="T23" fmla="*/ 14 h 47"/>
                <a:gd name="T24" fmla="*/ 18 w 48"/>
                <a:gd name="T25" fmla="*/ 17 h 47"/>
                <a:gd name="T26" fmla="*/ 15 w 48"/>
                <a:gd name="T27" fmla="*/ 14 h 47"/>
                <a:gd name="T28" fmla="*/ 18 w 48"/>
                <a:gd name="T29" fmla="*/ 11 h 47"/>
                <a:gd name="T30" fmla="*/ 7 w 48"/>
                <a:gd name="T31" fmla="*/ 21 h 47"/>
                <a:gd name="T32" fmla="*/ 41 w 48"/>
                <a:gd name="T33" fmla="*/ 21 h 47"/>
                <a:gd name="T34" fmla="*/ 41 w 48"/>
                <a:gd name="T35" fmla="*/ 27 h 47"/>
                <a:gd name="T36" fmla="*/ 41 w 48"/>
                <a:gd name="T37" fmla="*/ 27 h 47"/>
                <a:gd name="T38" fmla="*/ 24 w 48"/>
                <a:gd name="T39" fmla="*/ 42 h 47"/>
                <a:gd name="T40" fmla="*/ 7 w 48"/>
                <a:gd name="T41" fmla="*/ 27 h 47"/>
                <a:gd name="T42" fmla="*/ 7 w 48"/>
                <a:gd name="T43" fmla="*/ 27 h 47"/>
                <a:gd name="T44" fmla="*/ 7 w 48"/>
                <a:gd name="T45" fmla="*/ 21 h 47"/>
                <a:gd name="T46" fmla="*/ 38 w 48"/>
                <a:gd name="T47" fmla="*/ 26 h 47"/>
                <a:gd name="T48" fmla="*/ 9 w 48"/>
                <a:gd name="T49" fmla="*/ 26 h 47"/>
                <a:gd name="T50" fmla="*/ 9 w 48"/>
                <a:gd name="T51" fmla="*/ 22 h 47"/>
                <a:gd name="T52" fmla="*/ 38 w 48"/>
                <a:gd name="T53" fmla="*/ 22 h 47"/>
                <a:gd name="T54" fmla="*/ 38 w 48"/>
                <a:gd name="T55" fmla="*/ 26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8" h="47">
                  <a:moveTo>
                    <a:pt x="24" y="47"/>
                  </a:moveTo>
                  <a:cubicBezTo>
                    <a:pt x="37" y="47"/>
                    <a:pt x="48" y="37"/>
                    <a:pt x="48" y="24"/>
                  </a:cubicBezTo>
                  <a:cubicBezTo>
                    <a:pt x="48" y="11"/>
                    <a:pt x="37" y="0"/>
                    <a:pt x="24" y="0"/>
                  </a:cubicBezTo>
                  <a:cubicBezTo>
                    <a:pt x="11" y="0"/>
                    <a:pt x="0" y="11"/>
                    <a:pt x="0" y="24"/>
                  </a:cubicBezTo>
                  <a:cubicBezTo>
                    <a:pt x="0" y="37"/>
                    <a:pt x="11" y="47"/>
                    <a:pt x="24" y="47"/>
                  </a:cubicBezTo>
                  <a:moveTo>
                    <a:pt x="30" y="11"/>
                  </a:moveTo>
                  <a:cubicBezTo>
                    <a:pt x="32" y="11"/>
                    <a:pt x="33" y="12"/>
                    <a:pt x="33" y="14"/>
                  </a:cubicBezTo>
                  <a:cubicBezTo>
                    <a:pt x="33" y="16"/>
                    <a:pt x="32" y="17"/>
                    <a:pt x="30" y="17"/>
                  </a:cubicBezTo>
                  <a:cubicBezTo>
                    <a:pt x="28" y="17"/>
                    <a:pt x="27" y="16"/>
                    <a:pt x="27" y="14"/>
                  </a:cubicBezTo>
                  <a:cubicBezTo>
                    <a:pt x="27" y="12"/>
                    <a:pt x="28" y="11"/>
                    <a:pt x="30" y="11"/>
                  </a:cubicBezTo>
                  <a:moveTo>
                    <a:pt x="18" y="11"/>
                  </a:moveTo>
                  <a:cubicBezTo>
                    <a:pt x="20" y="11"/>
                    <a:pt x="21" y="12"/>
                    <a:pt x="21" y="14"/>
                  </a:cubicBezTo>
                  <a:cubicBezTo>
                    <a:pt x="21" y="16"/>
                    <a:pt x="20" y="17"/>
                    <a:pt x="18" y="17"/>
                  </a:cubicBezTo>
                  <a:cubicBezTo>
                    <a:pt x="17" y="17"/>
                    <a:pt x="15" y="16"/>
                    <a:pt x="15" y="14"/>
                  </a:cubicBezTo>
                  <a:cubicBezTo>
                    <a:pt x="15" y="12"/>
                    <a:pt x="17" y="11"/>
                    <a:pt x="18" y="11"/>
                  </a:cubicBezTo>
                  <a:moveTo>
                    <a:pt x="7" y="21"/>
                  </a:moveTo>
                  <a:cubicBezTo>
                    <a:pt x="41" y="21"/>
                    <a:pt x="41" y="21"/>
                    <a:pt x="41" y="21"/>
                  </a:cubicBezTo>
                  <a:cubicBezTo>
                    <a:pt x="41" y="27"/>
                    <a:pt x="41" y="27"/>
                    <a:pt x="41" y="27"/>
                  </a:cubicBezTo>
                  <a:cubicBezTo>
                    <a:pt x="41" y="27"/>
                    <a:pt x="41" y="27"/>
                    <a:pt x="41" y="27"/>
                  </a:cubicBezTo>
                  <a:cubicBezTo>
                    <a:pt x="40" y="35"/>
                    <a:pt x="33" y="42"/>
                    <a:pt x="24" y="42"/>
                  </a:cubicBezTo>
                  <a:cubicBezTo>
                    <a:pt x="15" y="42"/>
                    <a:pt x="8" y="35"/>
                    <a:pt x="7" y="27"/>
                  </a:cubicBezTo>
                  <a:cubicBezTo>
                    <a:pt x="7" y="27"/>
                    <a:pt x="7" y="27"/>
                    <a:pt x="7" y="27"/>
                  </a:cubicBezTo>
                  <a:lnTo>
                    <a:pt x="7" y="21"/>
                  </a:lnTo>
                  <a:close/>
                  <a:moveTo>
                    <a:pt x="38" y="26"/>
                  </a:moveTo>
                  <a:cubicBezTo>
                    <a:pt x="9" y="26"/>
                    <a:pt x="9" y="26"/>
                    <a:pt x="9" y="26"/>
                  </a:cubicBezTo>
                  <a:cubicBezTo>
                    <a:pt x="9" y="22"/>
                    <a:pt x="9" y="22"/>
                    <a:pt x="9" y="22"/>
                  </a:cubicBezTo>
                  <a:cubicBezTo>
                    <a:pt x="38" y="22"/>
                    <a:pt x="38" y="22"/>
                    <a:pt x="38" y="22"/>
                  </a:cubicBezTo>
                  <a:lnTo>
                    <a:pt x="38" y="26"/>
                  </a:lnTo>
                  <a:close/>
                </a:path>
              </a:pathLst>
            </a:custGeom>
            <a:solidFill>
              <a:srgbClr val="CCCCC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21" name="Freeform 327">
              <a:extLst>
                <a:ext uri="{FF2B5EF4-FFF2-40B4-BE49-F238E27FC236}">
                  <a16:creationId xmlns:a16="http://schemas.microsoft.com/office/drawing/2014/main" id="{F7BAB04C-B950-4E21-AA7D-529760831A44}"/>
                </a:ext>
              </a:extLst>
            </p:cNvPr>
            <p:cNvSpPr>
              <a:spLocks noEditPoints="1"/>
            </p:cNvSpPr>
            <p:nvPr/>
          </p:nvSpPr>
          <p:spPr bwMode="auto">
            <a:xfrm>
              <a:off x="5288182" y="3695418"/>
              <a:ext cx="93841" cy="93841"/>
            </a:xfrm>
            <a:custGeom>
              <a:avLst/>
              <a:gdLst>
                <a:gd name="T0" fmla="*/ 24 w 48"/>
                <a:gd name="T1" fmla="*/ 48 h 48"/>
                <a:gd name="T2" fmla="*/ 48 w 48"/>
                <a:gd name="T3" fmla="*/ 24 h 48"/>
                <a:gd name="T4" fmla="*/ 24 w 48"/>
                <a:gd name="T5" fmla="*/ 0 h 48"/>
                <a:gd name="T6" fmla="*/ 0 w 48"/>
                <a:gd name="T7" fmla="*/ 24 h 48"/>
                <a:gd name="T8" fmla="*/ 24 w 48"/>
                <a:gd name="T9" fmla="*/ 48 h 48"/>
                <a:gd name="T10" fmla="*/ 30 w 48"/>
                <a:gd name="T11" fmla="*/ 11 h 48"/>
                <a:gd name="T12" fmla="*/ 33 w 48"/>
                <a:gd name="T13" fmla="*/ 14 h 48"/>
                <a:gd name="T14" fmla="*/ 30 w 48"/>
                <a:gd name="T15" fmla="*/ 17 h 48"/>
                <a:gd name="T16" fmla="*/ 27 w 48"/>
                <a:gd name="T17" fmla="*/ 14 h 48"/>
                <a:gd name="T18" fmla="*/ 30 w 48"/>
                <a:gd name="T19" fmla="*/ 11 h 48"/>
                <a:gd name="T20" fmla="*/ 18 w 48"/>
                <a:gd name="T21" fmla="*/ 11 h 48"/>
                <a:gd name="T22" fmla="*/ 21 w 48"/>
                <a:gd name="T23" fmla="*/ 14 h 48"/>
                <a:gd name="T24" fmla="*/ 18 w 48"/>
                <a:gd name="T25" fmla="*/ 17 h 48"/>
                <a:gd name="T26" fmla="*/ 15 w 48"/>
                <a:gd name="T27" fmla="*/ 14 h 48"/>
                <a:gd name="T28" fmla="*/ 18 w 48"/>
                <a:gd name="T29" fmla="*/ 11 h 48"/>
                <a:gd name="T30" fmla="*/ 7 w 48"/>
                <a:gd name="T31" fmla="*/ 21 h 48"/>
                <a:gd name="T32" fmla="*/ 41 w 48"/>
                <a:gd name="T33" fmla="*/ 21 h 48"/>
                <a:gd name="T34" fmla="*/ 41 w 48"/>
                <a:gd name="T35" fmla="*/ 27 h 48"/>
                <a:gd name="T36" fmla="*/ 40 w 48"/>
                <a:gd name="T37" fmla="*/ 27 h 48"/>
                <a:gd name="T38" fmla="*/ 24 w 48"/>
                <a:gd name="T39" fmla="*/ 42 h 48"/>
                <a:gd name="T40" fmla="*/ 7 w 48"/>
                <a:gd name="T41" fmla="*/ 27 h 48"/>
                <a:gd name="T42" fmla="*/ 7 w 48"/>
                <a:gd name="T43" fmla="*/ 27 h 48"/>
                <a:gd name="T44" fmla="*/ 7 w 48"/>
                <a:gd name="T45" fmla="*/ 21 h 48"/>
                <a:gd name="T46" fmla="*/ 38 w 48"/>
                <a:gd name="T47" fmla="*/ 26 h 48"/>
                <a:gd name="T48" fmla="*/ 9 w 48"/>
                <a:gd name="T49" fmla="*/ 26 h 48"/>
                <a:gd name="T50" fmla="*/ 9 w 48"/>
                <a:gd name="T51" fmla="*/ 23 h 48"/>
                <a:gd name="T52" fmla="*/ 38 w 48"/>
                <a:gd name="T53" fmla="*/ 23 h 48"/>
                <a:gd name="T54" fmla="*/ 38 w 48"/>
                <a:gd name="T55" fmla="*/ 2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8" h="48">
                  <a:moveTo>
                    <a:pt x="24" y="48"/>
                  </a:moveTo>
                  <a:cubicBezTo>
                    <a:pt x="37" y="48"/>
                    <a:pt x="48" y="37"/>
                    <a:pt x="48" y="24"/>
                  </a:cubicBezTo>
                  <a:cubicBezTo>
                    <a:pt x="48" y="11"/>
                    <a:pt x="37" y="0"/>
                    <a:pt x="24" y="0"/>
                  </a:cubicBezTo>
                  <a:cubicBezTo>
                    <a:pt x="11" y="0"/>
                    <a:pt x="0" y="11"/>
                    <a:pt x="0" y="24"/>
                  </a:cubicBezTo>
                  <a:cubicBezTo>
                    <a:pt x="0" y="37"/>
                    <a:pt x="11" y="48"/>
                    <a:pt x="24" y="48"/>
                  </a:cubicBezTo>
                  <a:moveTo>
                    <a:pt x="30" y="11"/>
                  </a:moveTo>
                  <a:cubicBezTo>
                    <a:pt x="32" y="11"/>
                    <a:pt x="33" y="12"/>
                    <a:pt x="33" y="14"/>
                  </a:cubicBezTo>
                  <a:cubicBezTo>
                    <a:pt x="33" y="16"/>
                    <a:pt x="32" y="17"/>
                    <a:pt x="30" y="17"/>
                  </a:cubicBezTo>
                  <a:cubicBezTo>
                    <a:pt x="28" y="17"/>
                    <a:pt x="27" y="16"/>
                    <a:pt x="27" y="14"/>
                  </a:cubicBezTo>
                  <a:cubicBezTo>
                    <a:pt x="27" y="12"/>
                    <a:pt x="28" y="11"/>
                    <a:pt x="30" y="11"/>
                  </a:cubicBezTo>
                  <a:moveTo>
                    <a:pt x="18" y="11"/>
                  </a:moveTo>
                  <a:cubicBezTo>
                    <a:pt x="20" y="11"/>
                    <a:pt x="21" y="12"/>
                    <a:pt x="21" y="14"/>
                  </a:cubicBezTo>
                  <a:cubicBezTo>
                    <a:pt x="21" y="16"/>
                    <a:pt x="20" y="17"/>
                    <a:pt x="18" y="17"/>
                  </a:cubicBezTo>
                  <a:cubicBezTo>
                    <a:pt x="16" y="17"/>
                    <a:pt x="15" y="16"/>
                    <a:pt x="15" y="14"/>
                  </a:cubicBezTo>
                  <a:cubicBezTo>
                    <a:pt x="15" y="12"/>
                    <a:pt x="16" y="11"/>
                    <a:pt x="18" y="11"/>
                  </a:cubicBezTo>
                  <a:moveTo>
                    <a:pt x="7" y="21"/>
                  </a:moveTo>
                  <a:cubicBezTo>
                    <a:pt x="41" y="21"/>
                    <a:pt x="41" y="21"/>
                    <a:pt x="41" y="21"/>
                  </a:cubicBezTo>
                  <a:cubicBezTo>
                    <a:pt x="41" y="27"/>
                    <a:pt x="41" y="27"/>
                    <a:pt x="41" y="27"/>
                  </a:cubicBezTo>
                  <a:cubicBezTo>
                    <a:pt x="40" y="27"/>
                    <a:pt x="40" y="27"/>
                    <a:pt x="40" y="27"/>
                  </a:cubicBezTo>
                  <a:cubicBezTo>
                    <a:pt x="40" y="36"/>
                    <a:pt x="33" y="42"/>
                    <a:pt x="24" y="42"/>
                  </a:cubicBezTo>
                  <a:cubicBezTo>
                    <a:pt x="15" y="42"/>
                    <a:pt x="8" y="36"/>
                    <a:pt x="7" y="27"/>
                  </a:cubicBezTo>
                  <a:cubicBezTo>
                    <a:pt x="7" y="27"/>
                    <a:pt x="7" y="27"/>
                    <a:pt x="7" y="27"/>
                  </a:cubicBezTo>
                  <a:lnTo>
                    <a:pt x="7" y="21"/>
                  </a:lnTo>
                  <a:close/>
                  <a:moveTo>
                    <a:pt x="38" y="26"/>
                  </a:moveTo>
                  <a:cubicBezTo>
                    <a:pt x="9" y="26"/>
                    <a:pt x="9" y="26"/>
                    <a:pt x="9" y="26"/>
                  </a:cubicBezTo>
                  <a:cubicBezTo>
                    <a:pt x="9" y="23"/>
                    <a:pt x="9" y="23"/>
                    <a:pt x="9" y="23"/>
                  </a:cubicBezTo>
                  <a:cubicBezTo>
                    <a:pt x="38" y="23"/>
                    <a:pt x="38" y="23"/>
                    <a:pt x="38" y="23"/>
                  </a:cubicBezTo>
                  <a:lnTo>
                    <a:pt x="38" y="26"/>
                  </a:lnTo>
                  <a:close/>
                </a:path>
              </a:pathLst>
            </a:custGeom>
            <a:solidFill>
              <a:srgbClr val="CCCCC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22" name="Freeform 328">
              <a:extLst>
                <a:ext uri="{FF2B5EF4-FFF2-40B4-BE49-F238E27FC236}">
                  <a16:creationId xmlns:a16="http://schemas.microsoft.com/office/drawing/2014/main" id="{75CDDC6A-BBE6-4DC5-ACD1-6CBFB113A1E1}"/>
                </a:ext>
              </a:extLst>
            </p:cNvPr>
            <p:cNvSpPr>
              <a:spLocks noEditPoints="1"/>
            </p:cNvSpPr>
            <p:nvPr/>
          </p:nvSpPr>
          <p:spPr bwMode="auto">
            <a:xfrm>
              <a:off x="5692174" y="1987197"/>
              <a:ext cx="117698" cy="119289"/>
            </a:xfrm>
            <a:custGeom>
              <a:avLst/>
              <a:gdLst>
                <a:gd name="T0" fmla="*/ 31 w 61"/>
                <a:gd name="T1" fmla="*/ 61 h 61"/>
                <a:gd name="T2" fmla="*/ 61 w 61"/>
                <a:gd name="T3" fmla="*/ 31 h 61"/>
                <a:gd name="T4" fmla="*/ 31 w 61"/>
                <a:gd name="T5" fmla="*/ 0 h 61"/>
                <a:gd name="T6" fmla="*/ 0 w 61"/>
                <a:gd name="T7" fmla="*/ 31 h 61"/>
                <a:gd name="T8" fmla="*/ 31 w 61"/>
                <a:gd name="T9" fmla="*/ 61 h 61"/>
                <a:gd name="T10" fmla="*/ 39 w 61"/>
                <a:gd name="T11" fmla="*/ 14 h 61"/>
                <a:gd name="T12" fmla="*/ 43 w 61"/>
                <a:gd name="T13" fmla="*/ 18 h 61"/>
                <a:gd name="T14" fmla="*/ 39 w 61"/>
                <a:gd name="T15" fmla="*/ 22 h 61"/>
                <a:gd name="T16" fmla="*/ 35 w 61"/>
                <a:gd name="T17" fmla="*/ 18 h 61"/>
                <a:gd name="T18" fmla="*/ 39 w 61"/>
                <a:gd name="T19" fmla="*/ 14 h 61"/>
                <a:gd name="T20" fmla="*/ 23 w 61"/>
                <a:gd name="T21" fmla="*/ 14 h 61"/>
                <a:gd name="T22" fmla="*/ 27 w 61"/>
                <a:gd name="T23" fmla="*/ 18 h 61"/>
                <a:gd name="T24" fmla="*/ 23 w 61"/>
                <a:gd name="T25" fmla="*/ 22 h 61"/>
                <a:gd name="T26" fmla="*/ 19 w 61"/>
                <a:gd name="T27" fmla="*/ 18 h 61"/>
                <a:gd name="T28" fmla="*/ 23 w 61"/>
                <a:gd name="T29" fmla="*/ 14 h 61"/>
                <a:gd name="T30" fmla="*/ 9 w 61"/>
                <a:gd name="T31" fmla="*/ 27 h 61"/>
                <a:gd name="T32" fmla="*/ 52 w 61"/>
                <a:gd name="T33" fmla="*/ 27 h 61"/>
                <a:gd name="T34" fmla="*/ 52 w 61"/>
                <a:gd name="T35" fmla="*/ 35 h 61"/>
                <a:gd name="T36" fmla="*/ 52 w 61"/>
                <a:gd name="T37" fmla="*/ 35 h 61"/>
                <a:gd name="T38" fmla="*/ 31 w 61"/>
                <a:gd name="T39" fmla="*/ 55 h 61"/>
                <a:gd name="T40" fmla="*/ 9 w 61"/>
                <a:gd name="T41" fmla="*/ 35 h 61"/>
                <a:gd name="T42" fmla="*/ 9 w 61"/>
                <a:gd name="T43" fmla="*/ 35 h 61"/>
                <a:gd name="T44" fmla="*/ 9 w 61"/>
                <a:gd name="T45" fmla="*/ 27 h 61"/>
                <a:gd name="T46" fmla="*/ 49 w 61"/>
                <a:gd name="T47" fmla="*/ 34 h 61"/>
                <a:gd name="T48" fmla="*/ 12 w 61"/>
                <a:gd name="T49" fmla="*/ 34 h 61"/>
                <a:gd name="T50" fmla="*/ 12 w 61"/>
                <a:gd name="T51" fmla="*/ 29 h 61"/>
                <a:gd name="T52" fmla="*/ 49 w 61"/>
                <a:gd name="T53" fmla="*/ 29 h 61"/>
                <a:gd name="T54" fmla="*/ 49 w 61"/>
                <a:gd name="T55" fmla="*/ 34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1" h="61">
                  <a:moveTo>
                    <a:pt x="31" y="61"/>
                  </a:moveTo>
                  <a:cubicBezTo>
                    <a:pt x="48" y="61"/>
                    <a:pt x="61" y="48"/>
                    <a:pt x="61" y="31"/>
                  </a:cubicBezTo>
                  <a:cubicBezTo>
                    <a:pt x="61" y="14"/>
                    <a:pt x="48" y="0"/>
                    <a:pt x="31" y="0"/>
                  </a:cubicBezTo>
                  <a:cubicBezTo>
                    <a:pt x="14" y="0"/>
                    <a:pt x="0" y="14"/>
                    <a:pt x="0" y="31"/>
                  </a:cubicBezTo>
                  <a:cubicBezTo>
                    <a:pt x="0" y="48"/>
                    <a:pt x="14" y="61"/>
                    <a:pt x="31" y="61"/>
                  </a:cubicBezTo>
                  <a:moveTo>
                    <a:pt x="39" y="14"/>
                  </a:moveTo>
                  <a:cubicBezTo>
                    <a:pt x="41" y="14"/>
                    <a:pt x="43" y="16"/>
                    <a:pt x="43" y="18"/>
                  </a:cubicBezTo>
                  <a:cubicBezTo>
                    <a:pt x="43" y="20"/>
                    <a:pt x="41" y="22"/>
                    <a:pt x="39" y="22"/>
                  </a:cubicBezTo>
                  <a:cubicBezTo>
                    <a:pt x="36" y="22"/>
                    <a:pt x="35" y="20"/>
                    <a:pt x="35" y="18"/>
                  </a:cubicBezTo>
                  <a:cubicBezTo>
                    <a:pt x="35" y="16"/>
                    <a:pt x="36" y="14"/>
                    <a:pt x="39" y="14"/>
                  </a:cubicBezTo>
                  <a:moveTo>
                    <a:pt x="23" y="14"/>
                  </a:moveTo>
                  <a:cubicBezTo>
                    <a:pt x="26" y="14"/>
                    <a:pt x="27" y="16"/>
                    <a:pt x="27" y="18"/>
                  </a:cubicBezTo>
                  <a:cubicBezTo>
                    <a:pt x="27" y="20"/>
                    <a:pt x="26" y="22"/>
                    <a:pt x="23" y="22"/>
                  </a:cubicBezTo>
                  <a:cubicBezTo>
                    <a:pt x="21" y="22"/>
                    <a:pt x="19" y="20"/>
                    <a:pt x="19" y="18"/>
                  </a:cubicBezTo>
                  <a:cubicBezTo>
                    <a:pt x="19" y="16"/>
                    <a:pt x="21" y="14"/>
                    <a:pt x="23" y="14"/>
                  </a:cubicBezTo>
                  <a:moveTo>
                    <a:pt x="9" y="27"/>
                  </a:moveTo>
                  <a:cubicBezTo>
                    <a:pt x="52" y="27"/>
                    <a:pt x="52" y="27"/>
                    <a:pt x="52" y="27"/>
                  </a:cubicBezTo>
                  <a:cubicBezTo>
                    <a:pt x="52" y="35"/>
                    <a:pt x="52" y="35"/>
                    <a:pt x="52" y="35"/>
                  </a:cubicBezTo>
                  <a:cubicBezTo>
                    <a:pt x="52" y="35"/>
                    <a:pt x="52" y="35"/>
                    <a:pt x="52" y="35"/>
                  </a:cubicBezTo>
                  <a:cubicBezTo>
                    <a:pt x="51" y="46"/>
                    <a:pt x="42" y="55"/>
                    <a:pt x="31" y="55"/>
                  </a:cubicBezTo>
                  <a:cubicBezTo>
                    <a:pt x="19" y="55"/>
                    <a:pt x="10" y="46"/>
                    <a:pt x="9" y="35"/>
                  </a:cubicBezTo>
                  <a:cubicBezTo>
                    <a:pt x="9" y="35"/>
                    <a:pt x="9" y="35"/>
                    <a:pt x="9" y="35"/>
                  </a:cubicBezTo>
                  <a:lnTo>
                    <a:pt x="9" y="27"/>
                  </a:lnTo>
                  <a:close/>
                  <a:moveTo>
                    <a:pt x="49" y="34"/>
                  </a:moveTo>
                  <a:cubicBezTo>
                    <a:pt x="12" y="34"/>
                    <a:pt x="12" y="34"/>
                    <a:pt x="12" y="34"/>
                  </a:cubicBezTo>
                  <a:cubicBezTo>
                    <a:pt x="12" y="29"/>
                    <a:pt x="12" y="29"/>
                    <a:pt x="12" y="29"/>
                  </a:cubicBezTo>
                  <a:cubicBezTo>
                    <a:pt x="49" y="29"/>
                    <a:pt x="49" y="29"/>
                    <a:pt x="49" y="29"/>
                  </a:cubicBezTo>
                  <a:lnTo>
                    <a:pt x="49" y="34"/>
                  </a:lnTo>
                  <a:close/>
                </a:path>
              </a:pathLst>
            </a:custGeom>
            <a:solidFill>
              <a:srgbClr val="CCCCC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23" name="Freeform 329">
              <a:extLst>
                <a:ext uri="{FF2B5EF4-FFF2-40B4-BE49-F238E27FC236}">
                  <a16:creationId xmlns:a16="http://schemas.microsoft.com/office/drawing/2014/main" id="{D0441947-A564-4484-A660-82A5C6B2CE5C}"/>
                </a:ext>
              </a:extLst>
            </p:cNvPr>
            <p:cNvSpPr>
              <a:spLocks noEditPoints="1"/>
            </p:cNvSpPr>
            <p:nvPr/>
          </p:nvSpPr>
          <p:spPr bwMode="auto">
            <a:xfrm>
              <a:off x="4317963" y="3464793"/>
              <a:ext cx="117698" cy="117699"/>
            </a:xfrm>
            <a:custGeom>
              <a:avLst/>
              <a:gdLst>
                <a:gd name="T0" fmla="*/ 31 w 61"/>
                <a:gd name="T1" fmla="*/ 61 h 61"/>
                <a:gd name="T2" fmla="*/ 61 w 61"/>
                <a:gd name="T3" fmla="*/ 30 h 61"/>
                <a:gd name="T4" fmla="*/ 31 w 61"/>
                <a:gd name="T5" fmla="*/ 0 h 61"/>
                <a:gd name="T6" fmla="*/ 0 w 61"/>
                <a:gd name="T7" fmla="*/ 30 h 61"/>
                <a:gd name="T8" fmla="*/ 31 w 61"/>
                <a:gd name="T9" fmla="*/ 61 h 61"/>
                <a:gd name="T10" fmla="*/ 38 w 61"/>
                <a:gd name="T11" fmla="*/ 14 h 61"/>
                <a:gd name="T12" fmla="*/ 42 w 61"/>
                <a:gd name="T13" fmla="*/ 18 h 61"/>
                <a:gd name="T14" fmla="*/ 38 w 61"/>
                <a:gd name="T15" fmla="*/ 22 h 61"/>
                <a:gd name="T16" fmla="*/ 34 w 61"/>
                <a:gd name="T17" fmla="*/ 18 h 61"/>
                <a:gd name="T18" fmla="*/ 38 w 61"/>
                <a:gd name="T19" fmla="*/ 14 h 61"/>
                <a:gd name="T20" fmla="*/ 23 w 61"/>
                <a:gd name="T21" fmla="*/ 14 h 61"/>
                <a:gd name="T22" fmla="*/ 27 w 61"/>
                <a:gd name="T23" fmla="*/ 18 h 61"/>
                <a:gd name="T24" fmla="*/ 23 w 61"/>
                <a:gd name="T25" fmla="*/ 22 h 61"/>
                <a:gd name="T26" fmla="*/ 19 w 61"/>
                <a:gd name="T27" fmla="*/ 18 h 61"/>
                <a:gd name="T28" fmla="*/ 23 w 61"/>
                <a:gd name="T29" fmla="*/ 14 h 61"/>
                <a:gd name="T30" fmla="*/ 9 w 61"/>
                <a:gd name="T31" fmla="*/ 26 h 61"/>
                <a:gd name="T32" fmla="*/ 52 w 61"/>
                <a:gd name="T33" fmla="*/ 26 h 61"/>
                <a:gd name="T34" fmla="*/ 52 w 61"/>
                <a:gd name="T35" fmla="*/ 34 h 61"/>
                <a:gd name="T36" fmla="*/ 52 w 61"/>
                <a:gd name="T37" fmla="*/ 34 h 61"/>
                <a:gd name="T38" fmla="*/ 31 w 61"/>
                <a:gd name="T39" fmla="*/ 54 h 61"/>
                <a:gd name="T40" fmla="*/ 9 w 61"/>
                <a:gd name="T41" fmla="*/ 34 h 61"/>
                <a:gd name="T42" fmla="*/ 9 w 61"/>
                <a:gd name="T43" fmla="*/ 34 h 61"/>
                <a:gd name="T44" fmla="*/ 9 w 61"/>
                <a:gd name="T45" fmla="*/ 26 h 61"/>
                <a:gd name="T46" fmla="*/ 49 w 61"/>
                <a:gd name="T47" fmla="*/ 34 h 61"/>
                <a:gd name="T48" fmla="*/ 11 w 61"/>
                <a:gd name="T49" fmla="*/ 34 h 61"/>
                <a:gd name="T50" fmla="*/ 11 w 61"/>
                <a:gd name="T51" fmla="*/ 29 h 61"/>
                <a:gd name="T52" fmla="*/ 49 w 61"/>
                <a:gd name="T53" fmla="*/ 29 h 61"/>
                <a:gd name="T54" fmla="*/ 49 w 61"/>
                <a:gd name="T55" fmla="*/ 34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1" h="61">
                  <a:moveTo>
                    <a:pt x="31" y="61"/>
                  </a:moveTo>
                  <a:cubicBezTo>
                    <a:pt x="47" y="61"/>
                    <a:pt x="61" y="47"/>
                    <a:pt x="61" y="30"/>
                  </a:cubicBezTo>
                  <a:cubicBezTo>
                    <a:pt x="61" y="14"/>
                    <a:pt x="47" y="0"/>
                    <a:pt x="31" y="0"/>
                  </a:cubicBezTo>
                  <a:cubicBezTo>
                    <a:pt x="14" y="0"/>
                    <a:pt x="0" y="14"/>
                    <a:pt x="0" y="30"/>
                  </a:cubicBezTo>
                  <a:cubicBezTo>
                    <a:pt x="0" y="47"/>
                    <a:pt x="14" y="61"/>
                    <a:pt x="31" y="61"/>
                  </a:cubicBezTo>
                  <a:moveTo>
                    <a:pt x="38" y="14"/>
                  </a:moveTo>
                  <a:cubicBezTo>
                    <a:pt x="41" y="14"/>
                    <a:pt x="42" y="15"/>
                    <a:pt x="42" y="18"/>
                  </a:cubicBezTo>
                  <a:cubicBezTo>
                    <a:pt x="42" y="20"/>
                    <a:pt x="41" y="22"/>
                    <a:pt x="38" y="22"/>
                  </a:cubicBezTo>
                  <a:cubicBezTo>
                    <a:pt x="36" y="22"/>
                    <a:pt x="34" y="20"/>
                    <a:pt x="34" y="18"/>
                  </a:cubicBezTo>
                  <a:cubicBezTo>
                    <a:pt x="34" y="15"/>
                    <a:pt x="36" y="14"/>
                    <a:pt x="38" y="14"/>
                  </a:cubicBezTo>
                  <a:moveTo>
                    <a:pt x="23" y="14"/>
                  </a:moveTo>
                  <a:cubicBezTo>
                    <a:pt x="25" y="14"/>
                    <a:pt x="27" y="15"/>
                    <a:pt x="27" y="18"/>
                  </a:cubicBezTo>
                  <a:cubicBezTo>
                    <a:pt x="27" y="20"/>
                    <a:pt x="25" y="22"/>
                    <a:pt x="23" y="22"/>
                  </a:cubicBezTo>
                  <a:cubicBezTo>
                    <a:pt x="21" y="22"/>
                    <a:pt x="19" y="20"/>
                    <a:pt x="19" y="18"/>
                  </a:cubicBezTo>
                  <a:cubicBezTo>
                    <a:pt x="19" y="15"/>
                    <a:pt x="21" y="14"/>
                    <a:pt x="23" y="14"/>
                  </a:cubicBezTo>
                  <a:moveTo>
                    <a:pt x="9" y="26"/>
                  </a:moveTo>
                  <a:cubicBezTo>
                    <a:pt x="52" y="26"/>
                    <a:pt x="52" y="26"/>
                    <a:pt x="52" y="26"/>
                  </a:cubicBezTo>
                  <a:cubicBezTo>
                    <a:pt x="52" y="34"/>
                    <a:pt x="52" y="34"/>
                    <a:pt x="52" y="34"/>
                  </a:cubicBezTo>
                  <a:cubicBezTo>
                    <a:pt x="52" y="34"/>
                    <a:pt x="52" y="34"/>
                    <a:pt x="52" y="34"/>
                  </a:cubicBezTo>
                  <a:cubicBezTo>
                    <a:pt x="51" y="46"/>
                    <a:pt x="42" y="54"/>
                    <a:pt x="31" y="54"/>
                  </a:cubicBezTo>
                  <a:cubicBezTo>
                    <a:pt x="19" y="54"/>
                    <a:pt x="10" y="46"/>
                    <a:pt x="9" y="34"/>
                  </a:cubicBezTo>
                  <a:cubicBezTo>
                    <a:pt x="9" y="34"/>
                    <a:pt x="9" y="34"/>
                    <a:pt x="9" y="34"/>
                  </a:cubicBezTo>
                  <a:lnTo>
                    <a:pt x="9" y="26"/>
                  </a:lnTo>
                  <a:close/>
                  <a:moveTo>
                    <a:pt x="49" y="34"/>
                  </a:moveTo>
                  <a:cubicBezTo>
                    <a:pt x="11" y="34"/>
                    <a:pt x="11" y="34"/>
                    <a:pt x="11" y="34"/>
                  </a:cubicBezTo>
                  <a:cubicBezTo>
                    <a:pt x="11" y="29"/>
                    <a:pt x="11" y="29"/>
                    <a:pt x="11" y="29"/>
                  </a:cubicBezTo>
                  <a:cubicBezTo>
                    <a:pt x="49" y="29"/>
                    <a:pt x="49" y="29"/>
                    <a:pt x="49" y="29"/>
                  </a:cubicBezTo>
                  <a:lnTo>
                    <a:pt x="49" y="34"/>
                  </a:lnTo>
                  <a:close/>
                </a:path>
              </a:pathLst>
            </a:custGeom>
            <a:solidFill>
              <a:srgbClr val="CCCCC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24" name="Freeform 330">
              <a:extLst>
                <a:ext uri="{FF2B5EF4-FFF2-40B4-BE49-F238E27FC236}">
                  <a16:creationId xmlns:a16="http://schemas.microsoft.com/office/drawing/2014/main" id="{D20E17C3-456E-4429-B73A-A841D6C8E505}"/>
                </a:ext>
              </a:extLst>
            </p:cNvPr>
            <p:cNvSpPr>
              <a:spLocks noEditPoints="1"/>
            </p:cNvSpPr>
            <p:nvPr/>
          </p:nvSpPr>
          <p:spPr bwMode="auto">
            <a:xfrm>
              <a:off x="7400395" y="4056466"/>
              <a:ext cx="120880" cy="119289"/>
            </a:xfrm>
            <a:custGeom>
              <a:avLst/>
              <a:gdLst>
                <a:gd name="T0" fmla="*/ 31 w 62"/>
                <a:gd name="T1" fmla="*/ 61 h 61"/>
                <a:gd name="T2" fmla="*/ 62 w 62"/>
                <a:gd name="T3" fmla="*/ 30 h 61"/>
                <a:gd name="T4" fmla="*/ 31 w 62"/>
                <a:gd name="T5" fmla="*/ 0 h 61"/>
                <a:gd name="T6" fmla="*/ 0 w 62"/>
                <a:gd name="T7" fmla="*/ 30 h 61"/>
                <a:gd name="T8" fmla="*/ 31 w 62"/>
                <a:gd name="T9" fmla="*/ 61 h 61"/>
                <a:gd name="T10" fmla="*/ 39 w 62"/>
                <a:gd name="T11" fmla="*/ 14 h 61"/>
                <a:gd name="T12" fmla="*/ 43 w 62"/>
                <a:gd name="T13" fmla="*/ 18 h 61"/>
                <a:gd name="T14" fmla="*/ 39 w 62"/>
                <a:gd name="T15" fmla="*/ 22 h 61"/>
                <a:gd name="T16" fmla="*/ 35 w 62"/>
                <a:gd name="T17" fmla="*/ 18 h 61"/>
                <a:gd name="T18" fmla="*/ 39 w 62"/>
                <a:gd name="T19" fmla="*/ 14 h 61"/>
                <a:gd name="T20" fmla="*/ 23 w 62"/>
                <a:gd name="T21" fmla="*/ 14 h 61"/>
                <a:gd name="T22" fmla="*/ 27 w 62"/>
                <a:gd name="T23" fmla="*/ 18 h 61"/>
                <a:gd name="T24" fmla="*/ 23 w 62"/>
                <a:gd name="T25" fmla="*/ 22 h 61"/>
                <a:gd name="T26" fmla="*/ 19 w 62"/>
                <a:gd name="T27" fmla="*/ 18 h 61"/>
                <a:gd name="T28" fmla="*/ 23 w 62"/>
                <a:gd name="T29" fmla="*/ 14 h 61"/>
                <a:gd name="T30" fmla="*/ 9 w 62"/>
                <a:gd name="T31" fmla="*/ 26 h 61"/>
                <a:gd name="T32" fmla="*/ 52 w 62"/>
                <a:gd name="T33" fmla="*/ 26 h 61"/>
                <a:gd name="T34" fmla="*/ 52 w 62"/>
                <a:gd name="T35" fmla="*/ 34 h 61"/>
                <a:gd name="T36" fmla="*/ 52 w 62"/>
                <a:gd name="T37" fmla="*/ 34 h 61"/>
                <a:gd name="T38" fmla="*/ 31 w 62"/>
                <a:gd name="T39" fmla="*/ 54 h 61"/>
                <a:gd name="T40" fmla="*/ 9 w 62"/>
                <a:gd name="T41" fmla="*/ 34 h 61"/>
                <a:gd name="T42" fmla="*/ 9 w 62"/>
                <a:gd name="T43" fmla="*/ 34 h 61"/>
                <a:gd name="T44" fmla="*/ 9 w 62"/>
                <a:gd name="T45" fmla="*/ 26 h 61"/>
                <a:gd name="T46" fmla="*/ 49 w 62"/>
                <a:gd name="T47" fmla="*/ 34 h 61"/>
                <a:gd name="T48" fmla="*/ 12 w 62"/>
                <a:gd name="T49" fmla="*/ 34 h 61"/>
                <a:gd name="T50" fmla="*/ 12 w 62"/>
                <a:gd name="T51" fmla="*/ 29 h 61"/>
                <a:gd name="T52" fmla="*/ 49 w 62"/>
                <a:gd name="T53" fmla="*/ 29 h 61"/>
                <a:gd name="T54" fmla="*/ 49 w 62"/>
                <a:gd name="T55" fmla="*/ 34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2" h="61">
                  <a:moveTo>
                    <a:pt x="31" y="61"/>
                  </a:moveTo>
                  <a:cubicBezTo>
                    <a:pt x="48" y="61"/>
                    <a:pt x="62" y="47"/>
                    <a:pt x="62" y="30"/>
                  </a:cubicBezTo>
                  <a:cubicBezTo>
                    <a:pt x="62" y="14"/>
                    <a:pt x="48" y="0"/>
                    <a:pt x="31" y="0"/>
                  </a:cubicBezTo>
                  <a:cubicBezTo>
                    <a:pt x="14" y="0"/>
                    <a:pt x="0" y="14"/>
                    <a:pt x="0" y="30"/>
                  </a:cubicBezTo>
                  <a:cubicBezTo>
                    <a:pt x="0" y="47"/>
                    <a:pt x="14" y="61"/>
                    <a:pt x="31" y="61"/>
                  </a:cubicBezTo>
                  <a:moveTo>
                    <a:pt x="39" y="14"/>
                  </a:moveTo>
                  <a:cubicBezTo>
                    <a:pt x="41" y="14"/>
                    <a:pt x="43" y="15"/>
                    <a:pt x="43" y="18"/>
                  </a:cubicBezTo>
                  <a:cubicBezTo>
                    <a:pt x="43" y="20"/>
                    <a:pt x="41" y="22"/>
                    <a:pt x="39" y="22"/>
                  </a:cubicBezTo>
                  <a:cubicBezTo>
                    <a:pt x="36" y="22"/>
                    <a:pt x="35" y="20"/>
                    <a:pt x="35" y="18"/>
                  </a:cubicBezTo>
                  <a:cubicBezTo>
                    <a:pt x="35" y="15"/>
                    <a:pt x="36" y="14"/>
                    <a:pt x="39" y="14"/>
                  </a:cubicBezTo>
                  <a:moveTo>
                    <a:pt x="23" y="14"/>
                  </a:moveTo>
                  <a:cubicBezTo>
                    <a:pt x="26" y="14"/>
                    <a:pt x="27" y="15"/>
                    <a:pt x="27" y="18"/>
                  </a:cubicBezTo>
                  <a:cubicBezTo>
                    <a:pt x="27" y="20"/>
                    <a:pt x="26" y="22"/>
                    <a:pt x="23" y="22"/>
                  </a:cubicBezTo>
                  <a:cubicBezTo>
                    <a:pt x="21" y="22"/>
                    <a:pt x="19" y="20"/>
                    <a:pt x="19" y="18"/>
                  </a:cubicBezTo>
                  <a:cubicBezTo>
                    <a:pt x="19" y="15"/>
                    <a:pt x="21" y="14"/>
                    <a:pt x="23" y="14"/>
                  </a:cubicBezTo>
                  <a:moveTo>
                    <a:pt x="9" y="26"/>
                  </a:moveTo>
                  <a:cubicBezTo>
                    <a:pt x="52" y="26"/>
                    <a:pt x="52" y="26"/>
                    <a:pt x="52" y="26"/>
                  </a:cubicBezTo>
                  <a:cubicBezTo>
                    <a:pt x="52" y="34"/>
                    <a:pt x="52" y="34"/>
                    <a:pt x="52" y="34"/>
                  </a:cubicBezTo>
                  <a:cubicBezTo>
                    <a:pt x="52" y="34"/>
                    <a:pt x="52" y="34"/>
                    <a:pt x="52" y="34"/>
                  </a:cubicBezTo>
                  <a:cubicBezTo>
                    <a:pt x="51" y="46"/>
                    <a:pt x="42" y="54"/>
                    <a:pt x="31" y="54"/>
                  </a:cubicBezTo>
                  <a:cubicBezTo>
                    <a:pt x="20" y="54"/>
                    <a:pt x="10" y="46"/>
                    <a:pt x="9" y="34"/>
                  </a:cubicBezTo>
                  <a:cubicBezTo>
                    <a:pt x="9" y="34"/>
                    <a:pt x="9" y="34"/>
                    <a:pt x="9" y="34"/>
                  </a:cubicBezTo>
                  <a:lnTo>
                    <a:pt x="9" y="26"/>
                  </a:lnTo>
                  <a:close/>
                  <a:moveTo>
                    <a:pt x="49" y="34"/>
                  </a:moveTo>
                  <a:cubicBezTo>
                    <a:pt x="12" y="34"/>
                    <a:pt x="12" y="34"/>
                    <a:pt x="12" y="34"/>
                  </a:cubicBezTo>
                  <a:cubicBezTo>
                    <a:pt x="12" y="29"/>
                    <a:pt x="12" y="29"/>
                    <a:pt x="12" y="29"/>
                  </a:cubicBezTo>
                  <a:cubicBezTo>
                    <a:pt x="49" y="29"/>
                    <a:pt x="49" y="29"/>
                    <a:pt x="49" y="29"/>
                  </a:cubicBezTo>
                  <a:lnTo>
                    <a:pt x="49" y="34"/>
                  </a:lnTo>
                  <a:close/>
                </a:path>
              </a:pathLst>
            </a:custGeom>
            <a:solidFill>
              <a:srgbClr val="CCCCC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25" name="Freeform 331">
              <a:extLst>
                <a:ext uri="{FF2B5EF4-FFF2-40B4-BE49-F238E27FC236}">
                  <a16:creationId xmlns:a16="http://schemas.microsoft.com/office/drawing/2014/main" id="{7EC4198B-786D-4474-99A5-815C46F49E89}"/>
                </a:ext>
              </a:extLst>
            </p:cNvPr>
            <p:cNvSpPr>
              <a:spLocks noEditPoints="1"/>
            </p:cNvSpPr>
            <p:nvPr/>
          </p:nvSpPr>
          <p:spPr bwMode="auto">
            <a:xfrm>
              <a:off x="4346592" y="1984016"/>
              <a:ext cx="87479" cy="81117"/>
            </a:xfrm>
            <a:custGeom>
              <a:avLst/>
              <a:gdLst>
                <a:gd name="T0" fmla="*/ 39 w 45"/>
                <a:gd name="T1" fmla="*/ 0 h 42"/>
                <a:gd name="T2" fmla="*/ 6 w 45"/>
                <a:gd name="T3" fmla="*/ 0 h 42"/>
                <a:gd name="T4" fmla="*/ 0 w 45"/>
                <a:gd name="T5" fmla="*/ 6 h 42"/>
                <a:gd name="T6" fmla="*/ 0 w 45"/>
                <a:gd name="T7" fmla="*/ 22 h 42"/>
                <a:gd name="T8" fmla="*/ 0 w 45"/>
                <a:gd name="T9" fmla="*/ 23 h 42"/>
                <a:gd name="T10" fmla="*/ 0 w 45"/>
                <a:gd name="T11" fmla="*/ 25 h 42"/>
                <a:gd name="T12" fmla="*/ 23 w 45"/>
                <a:gd name="T13" fmla="*/ 42 h 42"/>
                <a:gd name="T14" fmla="*/ 45 w 45"/>
                <a:gd name="T15" fmla="*/ 25 h 42"/>
                <a:gd name="T16" fmla="*/ 45 w 45"/>
                <a:gd name="T17" fmla="*/ 23 h 42"/>
                <a:gd name="T18" fmla="*/ 45 w 45"/>
                <a:gd name="T19" fmla="*/ 22 h 42"/>
                <a:gd name="T20" fmla="*/ 45 w 45"/>
                <a:gd name="T21" fmla="*/ 6 h 42"/>
                <a:gd name="T22" fmla="*/ 39 w 45"/>
                <a:gd name="T23" fmla="*/ 0 h 42"/>
                <a:gd name="T24" fmla="*/ 37 w 45"/>
                <a:gd name="T25" fmla="*/ 16 h 42"/>
                <a:gd name="T26" fmla="*/ 25 w 45"/>
                <a:gd name="T27" fmla="*/ 28 h 42"/>
                <a:gd name="T28" fmla="*/ 23 w 45"/>
                <a:gd name="T29" fmla="*/ 29 h 42"/>
                <a:gd name="T30" fmla="*/ 20 w 45"/>
                <a:gd name="T31" fmla="*/ 28 h 42"/>
                <a:gd name="T32" fmla="*/ 9 w 45"/>
                <a:gd name="T33" fmla="*/ 16 h 42"/>
                <a:gd name="T34" fmla="*/ 9 w 45"/>
                <a:gd name="T35" fmla="*/ 12 h 42"/>
                <a:gd name="T36" fmla="*/ 13 w 45"/>
                <a:gd name="T37" fmla="*/ 12 h 42"/>
                <a:gd name="T38" fmla="*/ 23 w 45"/>
                <a:gd name="T39" fmla="*/ 22 h 42"/>
                <a:gd name="T40" fmla="*/ 32 w 45"/>
                <a:gd name="T41" fmla="*/ 12 h 42"/>
                <a:gd name="T42" fmla="*/ 37 w 45"/>
                <a:gd name="T43" fmla="*/ 12 h 42"/>
                <a:gd name="T44" fmla="*/ 37 w 45"/>
                <a:gd name="T45"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5" h="42">
                  <a:moveTo>
                    <a:pt x="39" y="0"/>
                  </a:moveTo>
                  <a:cubicBezTo>
                    <a:pt x="6" y="0"/>
                    <a:pt x="6" y="0"/>
                    <a:pt x="6" y="0"/>
                  </a:cubicBezTo>
                  <a:cubicBezTo>
                    <a:pt x="3" y="0"/>
                    <a:pt x="0" y="2"/>
                    <a:pt x="0" y="6"/>
                  </a:cubicBezTo>
                  <a:cubicBezTo>
                    <a:pt x="0" y="22"/>
                    <a:pt x="0" y="22"/>
                    <a:pt x="0" y="22"/>
                  </a:cubicBezTo>
                  <a:cubicBezTo>
                    <a:pt x="0" y="23"/>
                    <a:pt x="0" y="23"/>
                    <a:pt x="0" y="23"/>
                  </a:cubicBezTo>
                  <a:cubicBezTo>
                    <a:pt x="0" y="24"/>
                    <a:pt x="0" y="24"/>
                    <a:pt x="0" y="25"/>
                  </a:cubicBezTo>
                  <a:cubicBezTo>
                    <a:pt x="0" y="34"/>
                    <a:pt x="10" y="42"/>
                    <a:pt x="23" y="42"/>
                  </a:cubicBezTo>
                  <a:cubicBezTo>
                    <a:pt x="35" y="42"/>
                    <a:pt x="45" y="34"/>
                    <a:pt x="45" y="25"/>
                  </a:cubicBezTo>
                  <a:cubicBezTo>
                    <a:pt x="45" y="24"/>
                    <a:pt x="45" y="24"/>
                    <a:pt x="45" y="23"/>
                  </a:cubicBezTo>
                  <a:cubicBezTo>
                    <a:pt x="45" y="23"/>
                    <a:pt x="45" y="23"/>
                    <a:pt x="45" y="22"/>
                  </a:cubicBezTo>
                  <a:cubicBezTo>
                    <a:pt x="45" y="6"/>
                    <a:pt x="45" y="6"/>
                    <a:pt x="45" y="6"/>
                  </a:cubicBezTo>
                  <a:cubicBezTo>
                    <a:pt x="45" y="2"/>
                    <a:pt x="43" y="0"/>
                    <a:pt x="39" y="0"/>
                  </a:cubicBezTo>
                  <a:moveTo>
                    <a:pt x="37" y="16"/>
                  </a:moveTo>
                  <a:cubicBezTo>
                    <a:pt x="25" y="28"/>
                    <a:pt x="25" y="28"/>
                    <a:pt x="25" y="28"/>
                  </a:cubicBezTo>
                  <a:cubicBezTo>
                    <a:pt x="24" y="29"/>
                    <a:pt x="23" y="29"/>
                    <a:pt x="23" y="29"/>
                  </a:cubicBezTo>
                  <a:cubicBezTo>
                    <a:pt x="22" y="29"/>
                    <a:pt x="21" y="29"/>
                    <a:pt x="20" y="28"/>
                  </a:cubicBezTo>
                  <a:cubicBezTo>
                    <a:pt x="9" y="16"/>
                    <a:pt x="9" y="16"/>
                    <a:pt x="9" y="16"/>
                  </a:cubicBezTo>
                  <a:cubicBezTo>
                    <a:pt x="8" y="15"/>
                    <a:pt x="8" y="13"/>
                    <a:pt x="9" y="12"/>
                  </a:cubicBezTo>
                  <a:cubicBezTo>
                    <a:pt x="10" y="11"/>
                    <a:pt x="12" y="11"/>
                    <a:pt x="13" y="12"/>
                  </a:cubicBezTo>
                  <a:cubicBezTo>
                    <a:pt x="23" y="22"/>
                    <a:pt x="23" y="22"/>
                    <a:pt x="23" y="22"/>
                  </a:cubicBezTo>
                  <a:cubicBezTo>
                    <a:pt x="32" y="12"/>
                    <a:pt x="32" y="12"/>
                    <a:pt x="32" y="12"/>
                  </a:cubicBezTo>
                  <a:cubicBezTo>
                    <a:pt x="33" y="11"/>
                    <a:pt x="35" y="11"/>
                    <a:pt x="37" y="12"/>
                  </a:cubicBezTo>
                  <a:cubicBezTo>
                    <a:pt x="38" y="13"/>
                    <a:pt x="38" y="15"/>
                    <a:pt x="37" y="16"/>
                  </a:cubicBezTo>
                </a:path>
              </a:pathLst>
            </a:custGeom>
            <a:solidFill>
              <a:srgbClr val="CCCCC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26" name="Freeform 332">
              <a:extLst>
                <a:ext uri="{FF2B5EF4-FFF2-40B4-BE49-F238E27FC236}">
                  <a16:creationId xmlns:a16="http://schemas.microsoft.com/office/drawing/2014/main" id="{02C85A04-8B26-48CB-A0A2-2AFEA3939B6A}"/>
                </a:ext>
              </a:extLst>
            </p:cNvPr>
            <p:cNvSpPr>
              <a:spLocks noEditPoints="1"/>
            </p:cNvSpPr>
            <p:nvPr/>
          </p:nvSpPr>
          <p:spPr bwMode="auto">
            <a:xfrm>
              <a:off x="5415423" y="4392066"/>
              <a:ext cx="87479" cy="81117"/>
            </a:xfrm>
            <a:custGeom>
              <a:avLst/>
              <a:gdLst>
                <a:gd name="T0" fmla="*/ 39 w 45"/>
                <a:gd name="T1" fmla="*/ 0 h 42"/>
                <a:gd name="T2" fmla="*/ 6 w 45"/>
                <a:gd name="T3" fmla="*/ 0 h 42"/>
                <a:gd name="T4" fmla="*/ 0 w 45"/>
                <a:gd name="T5" fmla="*/ 6 h 42"/>
                <a:gd name="T6" fmla="*/ 0 w 45"/>
                <a:gd name="T7" fmla="*/ 22 h 42"/>
                <a:gd name="T8" fmla="*/ 0 w 45"/>
                <a:gd name="T9" fmla="*/ 23 h 42"/>
                <a:gd name="T10" fmla="*/ 0 w 45"/>
                <a:gd name="T11" fmla="*/ 25 h 42"/>
                <a:gd name="T12" fmla="*/ 23 w 45"/>
                <a:gd name="T13" fmla="*/ 42 h 42"/>
                <a:gd name="T14" fmla="*/ 45 w 45"/>
                <a:gd name="T15" fmla="*/ 25 h 42"/>
                <a:gd name="T16" fmla="*/ 45 w 45"/>
                <a:gd name="T17" fmla="*/ 23 h 42"/>
                <a:gd name="T18" fmla="*/ 45 w 45"/>
                <a:gd name="T19" fmla="*/ 22 h 42"/>
                <a:gd name="T20" fmla="*/ 45 w 45"/>
                <a:gd name="T21" fmla="*/ 6 h 42"/>
                <a:gd name="T22" fmla="*/ 39 w 45"/>
                <a:gd name="T23" fmla="*/ 0 h 42"/>
                <a:gd name="T24" fmla="*/ 37 w 45"/>
                <a:gd name="T25" fmla="*/ 16 h 42"/>
                <a:gd name="T26" fmla="*/ 25 w 45"/>
                <a:gd name="T27" fmla="*/ 28 h 42"/>
                <a:gd name="T28" fmla="*/ 23 w 45"/>
                <a:gd name="T29" fmla="*/ 29 h 42"/>
                <a:gd name="T30" fmla="*/ 20 w 45"/>
                <a:gd name="T31" fmla="*/ 28 h 42"/>
                <a:gd name="T32" fmla="*/ 9 w 45"/>
                <a:gd name="T33" fmla="*/ 16 h 42"/>
                <a:gd name="T34" fmla="*/ 9 w 45"/>
                <a:gd name="T35" fmla="*/ 12 h 42"/>
                <a:gd name="T36" fmla="*/ 13 w 45"/>
                <a:gd name="T37" fmla="*/ 12 h 42"/>
                <a:gd name="T38" fmla="*/ 23 w 45"/>
                <a:gd name="T39" fmla="*/ 22 h 42"/>
                <a:gd name="T40" fmla="*/ 32 w 45"/>
                <a:gd name="T41" fmla="*/ 12 h 42"/>
                <a:gd name="T42" fmla="*/ 37 w 45"/>
                <a:gd name="T43" fmla="*/ 12 h 42"/>
                <a:gd name="T44" fmla="*/ 37 w 45"/>
                <a:gd name="T45"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5" h="42">
                  <a:moveTo>
                    <a:pt x="39" y="0"/>
                  </a:moveTo>
                  <a:cubicBezTo>
                    <a:pt x="6" y="0"/>
                    <a:pt x="6" y="0"/>
                    <a:pt x="6" y="0"/>
                  </a:cubicBezTo>
                  <a:cubicBezTo>
                    <a:pt x="3" y="0"/>
                    <a:pt x="0" y="2"/>
                    <a:pt x="0" y="6"/>
                  </a:cubicBezTo>
                  <a:cubicBezTo>
                    <a:pt x="0" y="22"/>
                    <a:pt x="0" y="22"/>
                    <a:pt x="0" y="22"/>
                  </a:cubicBezTo>
                  <a:cubicBezTo>
                    <a:pt x="0" y="23"/>
                    <a:pt x="0" y="23"/>
                    <a:pt x="0" y="23"/>
                  </a:cubicBezTo>
                  <a:cubicBezTo>
                    <a:pt x="0" y="24"/>
                    <a:pt x="0" y="24"/>
                    <a:pt x="0" y="25"/>
                  </a:cubicBezTo>
                  <a:cubicBezTo>
                    <a:pt x="0" y="34"/>
                    <a:pt x="10" y="42"/>
                    <a:pt x="23" y="42"/>
                  </a:cubicBezTo>
                  <a:cubicBezTo>
                    <a:pt x="35" y="42"/>
                    <a:pt x="45" y="34"/>
                    <a:pt x="45" y="25"/>
                  </a:cubicBezTo>
                  <a:cubicBezTo>
                    <a:pt x="45" y="24"/>
                    <a:pt x="45" y="24"/>
                    <a:pt x="45" y="23"/>
                  </a:cubicBezTo>
                  <a:cubicBezTo>
                    <a:pt x="45" y="23"/>
                    <a:pt x="45" y="23"/>
                    <a:pt x="45" y="22"/>
                  </a:cubicBezTo>
                  <a:cubicBezTo>
                    <a:pt x="45" y="6"/>
                    <a:pt x="45" y="6"/>
                    <a:pt x="45" y="6"/>
                  </a:cubicBezTo>
                  <a:cubicBezTo>
                    <a:pt x="45" y="2"/>
                    <a:pt x="43" y="0"/>
                    <a:pt x="39" y="0"/>
                  </a:cubicBezTo>
                  <a:moveTo>
                    <a:pt x="37" y="16"/>
                  </a:moveTo>
                  <a:cubicBezTo>
                    <a:pt x="25" y="28"/>
                    <a:pt x="25" y="28"/>
                    <a:pt x="25" y="28"/>
                  </a:cubicBezTo>
                  <a:cubicBezTo>
                    <a:pt x="24" y="29"/>
                    <a:pt x="23" y="29"/>
                    <a:pt x="23" y="29"/>
                  </a:cubicBezTo>
                  <a:cubicBezTo>
                    <a:pt x="22" y="29"/>
                    <a:pt x="21" y="29"/>
                    <a:pt x="20" y="28"/>
                  </a:cubicBezTo>
                  <a:cubicBezTo>
                    <a:pt x="9" y="16"/>
                    <a:pt x="9" y="16"/>
                    <a:pt x="9" y="16"/>
                  </a:cubicBezTo>
                  <a:cubicBezTo>
                    <a:pt x="8" y="15"/>
                    <a:pt x="8" y="13"/>
                    <a:pt x="9" y="12"/>
                  </a:cubicBezTo>
                  <a:cubicBezTo>
                    <a:pt x="10" y="11"/>
                    <a:pt x="12" y="11"/>
                    <a:pt x="13" y="12"/>
                  </a:cubicBezTo>
                  <a:cubicBezTo>
                    <a:pt x="23" y="22"/>
                    <a:pt x="23" y="22"/>
                    <a:pt x="23" y="22"/>
                  </a:cubicBezTo>
                  <a:cubicBezTo>
                    <a:pt x="32" y="12"/>
                    <a:pt x="32" y="12"/>
                    <a:pt x="32" y="12"/>
                  </a:cubicBezTo>
                  <a:cubicBezTo>
                    <a:pt x="33" y="11"/>
                    <a:pt x="35" y="11"/>
                    <a:pt x="37" y="12"/>
                  </a:cubicBezTo>
                  <a:cubicBezTo>
                    <a:pt x="38" y="13"/>
                    <a:pt x="38" y="15"/>
                    <a:pt x="37" y="16"/>
                  </a:cubicBezTo>
                </a:path>
              </a:pathLst>
            </a:custGeom>
            <a:solidFill>
              <a:srgbClr val="CCCCC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27" name="Freeform 333">
              <a:extLst>
                <a:ext uri="{FF2B5EF4-FFF2-40B4-BE49-F238E27FC236}">
                  <a16:creationId xmlns:a16="http://schemas.microsoft.com/office/drawing/2014/main" id="{A376BCF7-B11B-4223-A7A0-EF0525BEEA28}"/>
                </a:ext>
              </a:extLst>
            </p:cNvPr>
            <p:cNvSpPr>
              <a:spLocks noEditPoints="1"/>
            </p:cNvSpPr>
            <p:nvPr/>
          </p:nvSpPr>
          <p:spPr bwMode="auto">
            <a:xfrm>
              <a:off x="4666288" y="3908548"/>
              <a:ext cx="87479" cy="81117"/>
            </a:xfrm>
            <a:custGeom>
              <a:avLst/>
              <a:gdLst>
                <a:gd name="T0" fmla="*/ 39 w 45"/>
                <a:gd name="T1" fmla="*/ 0 h 42"/>
                <a:gd name="T2" fmla="*/ 6 w 45"/>
                <a:gd name="T3" fmla="*/ 0 h 42"/>
                <a:gd name="T4" fmla="*/ 0 w 45"/>
                <a:gd name="T5" fmla="*/ 6 h 42"/>
                <a:gd name="T6" fmla="*/ 0 w 45"/>
                <a:gd name="T7" fmla="*/ 22 h 42"/>
                <a:gd name="T8" fmla="*/ 0 w 45"/>
                <a:gd name="T9" fmla="*/ 23 h 42"/>
                <a:gd name="T10" fmla="*/ 0 w 45"/>
                <a:gd name="T11" fmla="*/ 25 h 42"/>
                <a:gd name="T12" fmla="*/ 23 w 45"/>
                <a:gd name="T13" fmla="*/ 42 h 42"/>
                <a:gd name="T14" fmla="*/ 45 w 45"/>
                <a:gd name="T15" fmla="*/ 25 h 42"/>
                <a:gd name="T16" fmla="*/ 45 w 45"/>
                <a:gd name="T17" fmla="*/ 23 h 42"/>
                <a:gd name="T18" fmla="*/ 45 w 45"/>
                <a:gd name="T19" fmla="*/ 22 h 42"/>
                <a:gd name="T20" fmla="*/ 45 w 45"/>
                <a:gd name="T21" fmla="*/ 6 h 42"/>
                <a:gd name="T22" fmla="*/ 39 w 45"/>
                <a:gd name="T23" fmla="*/ 0 h 42"/>
                <a:gd name="T24" fmla="*/ 37 w 45"/>
                <a:gd name="T25" fmla="*/ 16 h 42"/>
                <a:gd name="T26" fmla="*/ 25 w 45"/>
                <a:gd name="T27" fmla="*/ 28 h 42"/>
                <a:gd name="T28" fmla="*/ 23 w 45"/>
                <a:gd name="T29" fmla="*/ 29 h 42"/>
                <a:gd name="T30" fmla="*/ 20 w 45"/>
                <a:gd name="T31" fmla="*/ 28 h 42"/>
                <a:gd name="T32" fmla="*/ 9 w 45"/>
                <a:gd name="T33" fmla="*/ 16 h 42"/>
                <a:gd name="T34" fmla="*/ 9 w 45"/>
                <a:gd name="T35" fmla="*/ 12 h 42"/>
                <a:gd name="T36" fmla="*/ 13 w 45"/>
                <a:gd name="T37" fmla="*/ 12 h 42"/>
                <a:gd name="T38" fmla="*/ 23 w 45"/>
                <a:gd name="T39" fmla="*/ 22 h 42"/>
                <a:gd name="T40" fmla="*/ 32 w 45"/>
                <a:gd name="T41" fmla="*/ 12 h 42"/>
                <a:gd name="T42" fmla="*/ 37 w 45"/>
                <a:gd name="T43" fmla="*/ 12 h 42"/>
                <a:gd name="T44" fmla="*/ 37 w 45"/>
                <a:gd name="T45"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5" h="42">
                  <a:moveTo>
                    <a:pt x="39" y="0"/>
                  </a:moveTo>
                  <a:cubicBezTo>
                    <a:pt x="6" y="0"/>
                    <a:pt x="6" y="0"/>
                    <a:pt x="6" y="0"/>
                  </a:cubicBezTo>
                  <a:cubicBezTo>
                    <a:pt x="3" y="0"/>
                    <a:pt x="0" y="2"/>
                    <a:pt x="0" y="6"/>
                  </a:cubicBezTo>
                  <a:cubicBezTo>
                    <a:pt x="0" y="22"/>
                    <a:pt x="0" y="22"/>
                    <a:pt x="0" y="22"/>
                  </a:cubicBezTo>
                  <a:cubicBezTo>
                    <a:pt x="0" y="23"/>
                    <a:pt x="0" y="23"/>
                    <a:pt x="0" y="23"/>
                  </a:cubicBezTo>
                  <a:cubicBezTo>
                    <a:pt x="0" y="24"/>
                    <a:pt x="0" y="24"/>
                    <a:pt x="0" y="25"/>
                  </a:cubicBezTo>
                  <a:cubicBezTo>
                    <a:pt x="0" y="34"/>
                    <a:pt x="10" y="42"/>
                    <a:pt x="23" y="42"/>
                  </a:cubicBezTo>
                  <a:cubicBezTo>
                    <a:pt x="35" y="42"/>
                    <a:pt x="45" y="34"/>
                    <a:pt x="45" y="25"/>
                  </a:cubicBezTo>
                  <a:cubicBezTo>
                    <a:pt x="45" y="24"/>
                    <a:pt x="45" y="24"/>
                    <a:pt x="45" y="23"/>
                  </a:cubicBezTo>
                  <a:cubicBezTo>
                    <a:pt x="45" y="23"/>
                    <a:pt x="45" y="23"/>
                    <a:pt x="45" y="22"/>
                  </a:cubicBezTo>
                  <a:cubicBezTo>
                    <a:pt x="45" y="6"/>
                    <a:pt x="45" y="6"/>
                    <a:pt x="45" y="6"/>
                  </a:cubicBezTo>
                  <a:cubicBezTo>
                    <a:pt x="45" y="2"/>
                    <a:pt x="43" y="0"/>
                    <a:pt x="39" y="0"/>
                  </a:cubicBezTo>
                  <a:moveTo>
                    <a:pt x="37" y="16"/>
                  </a:moveTo>
                  <a:cubicBezTo>
                    <a:pt x="25" y="28"/>
                    <a:pt x="25" y="28"/>
                    <a:pt x="25" y="28"/>
                  </a:cubicBezTo>
                  <a:cubicBezTo>
                    <a:pt x="24" y="29"/>
                    <a:pt x="23" y="29"/>
                    <a:pt x="23" y="29"/>
                  </a:cubicBezTo>
                  <a:cubicBezTo>
                    <a:pt x="22" y="29"/>
                    <a:pt x="21" y="29"/>
                    <a:pt x="20" y="28"/>
                  </a:cubicBezTo>
                  <a:cubicBezTo>
                    <a:pt x="9" y="16"/>
                    <a:pt x="9" y="16"/>
                    <a:pt x="9" y="16"/>
                  </a:cubicBezTo>
                  <a:cubicBezTo>
                    <a:pt x="8" y="15"/>
                    <a:pt x="8" y="13"/>
                    <a:pt x="9" y="12"/>
                  </a:cubicBezTo>
                  <a:cubicBezTo>
                    <a:pt x="10" y="11"/>
                    <a:pt x="12" y="11"/>
                    <a:pt x="13" y="12"/>
                  </a:cubicBezTo>
                  <a:cubicBezTo>
                    <a:pt x="23" y="22"/>
                    <a:pt x="23" y="22"/>
                    <a:pt x="23" y="22"/>
                  </a:cubicBezTo>
                  <a:cubicBezTo>
                    <a:pt x="32" y="12"/>
                    <a:pt x="32" y="12"/>
                    <a:pt x="32" y="12"/>
                  </a:cubicBezTo>
                  <a:cubicBezTo>
                    <a:pt x="33" y="11"/>
                    <a:pt x="35" y="11"/>
                    <a:pt x="37" y="12"/>
                  </a:cubicBezTo>
                  <a:cubicBezTo>
                    <a:pt x="38" y="13"/>
                    <a:pt x="38" y="15"/>
                    <a:pt x="37" y="16"/>
                  </a:cubicBezTo>
                </a:path>
              </a:pathLst>
            </a:custGeom>
            <a:solidFill>
              <a:srgbClr val="CCCCC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28" name="Freeform 334">
              <a:extLst>
                <a:ext uri="{FF2B5EF4-FFF2-40B4-BE49-F238E27FC236}">
                  <a16:creationId xmlns:a16="http://schemas.microsoft.com/office/drawing/2014/main" id="{C94C7482-9617-402E-AB13-98A45A86CFD0}"/>
                </a:ext>
              </a:extLst>
            </p:cNvPr>
            <p:cNvSpPr>
              <a:spLocks noEditPoints="1"/>
            </p:cNvSpPr>
            <p:nvPr/>
          </p:nvSpPr>
          <p:spPr bwMode="auto">
            <a:xfrm>
              <a:off x="7153864" y="3795621"/>
              <a:ext cx="87479" cy="81117"/>
            </a:xfrm>
            <a:custGeom>
              <a:avLst/>
              <a:gdLst>
                <a:gd name="T0" fmla="*/ 39 w 45"/>
                <a:gd name="T1" fmla="*/ 0 h 42"/>
                <a:gd name="T2" fmla="*/ 6 w 45"/>
                <a:gd name="T3" fmla="*/ 0 h 42"/>
                <a:gd name="T4" fmla="*/ 0 w 45"/>
                <a:gd name="T5" fmla="*/ 6 h 42"/>
                <a:gd name="T6" fmla="*/ 0 w 45"/>
                <a:gd name="T7" fmla="*/ 22 h 42"/>
                <a:gd name="T8" fmla="*/ 0 w 45"/>
                <a:gd name="T9" fmla="*/ 23 h 42"/>
                <a:gd name="T10" fmla="*/ 0 w 45"/>
                <a:gd name="T11" fmla="*/ 25 h 42"/>
                <a:gd name="T12" fmla="*/ 23 w 45"/>
                <a:gd name="T13" fmla="*/ 42 h 42"/>
                <a:gd name="T14" fmla="*/ 45 w 45"/>
                <a:gd name="T15" fmla="*/ 25 h 42"/>
                <a:gd name="T16" fmla="*/ 45 w 45"/>
                <a:gd name="T17" fmla="*/ 23 h 42"/>
                <a:gd name="T18" fmla="*/ 45 w 45"/>
                <a:gd name="T19" fmla="*/ 22 h 42"/>
                <a:gd name="T20" fmla="*/ 45 w 45"/>
                <a:gd name="T21" fmla="*/ 6 h 42"/>
                <a:gd name="T22" fmla="*/ 39 w 45"/>
                <a:gd name="T23" fmla="*/ 0 h 42"/>
                <a:gd name="T24" fmla="*/ 37 w 45"/>
                <a:gd name="T25" fmla="*/ 16 h 42"/>
                <a:gd name="T26" fmla="*/ 25 w 45"/>
                <a:gd name="T27" fmla="*/ 28 h 42"/>
                <a:gd name="T28" fmla="*/ 23 w 45"/>
                <a:gd name="T29" fmla="*/ 29 h 42"/>
                <a:gd name="T30" fmla="*/ 20 w 45"/>
                <a:gd name="T31" fmla="*/ 28 h 42"/>
                <a:gd name="T32" fmla="*/ 9 w 45"/>
                <a:gd name="T33" fmla="*/ 16 h 42"/>
                <a:gd name="T34" fmla="*/ 9 w 45"/>
                <a:gd name="T35" fmla="*/ 12 h 42"/>
                <a:gd name="T36" fmla="*/ 13 w 45"/>
                <a:gd name="T37" fmla="*/ 12 h 42"/>
                <a:gd name="T38" fmla="*/ 23 w 45"/>
                <a:gd name="T39" fmla="*/ 22 h 42"/>
                <a:gd name="T40" fmla="*/ 32 w 45"/>
                <a:gd name="T41" fmla="*/ 12 h 42"/>
                <a:gd name="T42" fmla="*/ 37 w 45"/>
                <a:gd name="T43" fmla="*/ 12 h 42"/>
                <a:gd name="T44" fmla="*/ 37 w 45"/>
                <a:gd name="T45"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5" h="42">
                  <a:moveTo>
                    <a:pt x="39" y="0"/>
                  </a:moveTo>
                  <a:cubicBezTo>
                    <a:pt x="6" y="0"/>
                    <a:pt x="6" y="0"/>
                    <a:pt x="6" y="0"/>
                  </a:cubicBezTo>
                  <a:cubicBezTo>
                    <a:pt x="3" y="0"/>
                    <a:pt x="0" y="2"/>
                    <a:pt x="0" y="6"/>
                  </a:cubicBezTo>
                  <a:cubicBezTo>
                    <a:pt x="0" y="22"/>
                    <a:pt x="0" y="22"/>
                    <a:pt x="0" y="22"/>
                  </a:cubicBezTo>
                  <a:cubicBezTo>
                    <a:pt x="0" y="23"/>
                    <a:pt x="0" y="23"/>
                    <a:pt x="0" y="23"/>
                  </a:cubicBezTo>
                  <a:cubicBezTo>
                    <a:pt x="0" y="24"/>
                    <a:pt x="0" y="24"/>
                    <a:pt x="0" y="25"/>
                  </a:cubicBezTo>
                  <a:cubicBezTo>
                    <a:pt x="0" y="34"/>
                    <a:pt x="10" y="42"/>
                    <a:pt x="23" y="42"/>
                  </a:cubicBezTo>
                  <a:cubicBezTo>
                    <a:pt x="35" y="42"/>
                    <a:pt x="45" y="34"/>
                    <a:pt x="45" y="25"/>
                  </a:cubicBezTo>
                  <a:cubicBezTo>
                    <a:pt x="45" y="24"/>
                    <a:pt x="45" y="24"/>
                    <a:pt x="45" y="23"/>
                  </a:cubicBezTo>
                  <a:cubicBezTo>
                    <a:pt x="45" y="23"/>
                    <a:pt x="45" y="23"/>
                    <a:pt x="45" y="22"/>
                  </a:cubicBezTo>
                  <a:cubicBezTo>
                    <a:pt x="45" y="6"/>
                    <a:pt x="45" y="6"/>
                    <a:pt x="45" y="6"/>
                  </a:cubicBezTo>
                  <a:cubicBezTo>
                    <a:pt x="45" y="2"/>
                    <a:pt x="43" y="0"/>
                    <a:pt x="39" y="0"/>
                  </a:cubicBezTo>
                  <a:moveTo>
                    <a:pt x="37" y="16"/>
                  </a:moveTo>
                  <a:cubicBezTo>
                    <a:pt x="25" y="28"/>
                    <a:pt x="25" y="28"/>
                    <a:pt x="25" y="28"/>
                  </a:cubicBezTo>
                  <a:cubicBezTo>
                    <a:pt x="24" y="29"/>
                    <a:pt x="23" y="29"/>
                    <a:pt x="23" y="29"/>
                  </a:cubicBezTo>
                  <a:cubicBezTo>
                    <a:pt x="22" y="29"/>
                    <a:pt x="21" y="29"/>
                    <a:pt x="20" y="28"/>
                  </a:cubicBezTo>
                  <a:cubicBezTo>
                    <a:pt x="9" y="16"/>
                    <a:pt x="9" y="16"/>
                    <a:pt x="9" y="16"/>
                  </a:cubicBezTo>
                  <a:cubicBezTo>
                    <a:pt x="8" y="15"/>
                    <a:pt x="8" y="13"/>
                    <a:pt x="9" y="12"/>
                  </a:cubicBezTo>
                  <a:cubicBezTo>
                    <a:pt x="10" y="11"/>
                    <a:pt x="12" y="11"/>
                    <a:pt x="13" y="12"/>
                  </a:cubicBezTo>
                  <a:cubicBezTo>
                    <a:pt x="23" y="22"/>
                    <a:pt x="23" y="22"/>
                    <a:pt x="23" y="22"/>
                  </a:cubicBezTo>
                  <a:cubicBezTo>
                    <a:pt x="32" y="12"/>
                    <a:pt x="32" y="12"/>
                    <a:pt x="32" y="12"/>
                  </a:cubicBezTo>
                  <a:cubicBezTo>
                    <a:pt x="33" y="11"/>
                    <a:pt x="35" y="11"/>
                    <a:pt x="37" y="12"/>
                  </a:cubicBezTo>
                  <a:cubicBezTo>
                    <a:pt x="38" y="13"/>
                    <a:pt x="38" y="15"/>
                    <a:pt x="37" y="16"/>
                  </a:cubicBezTo>
                </a:path>
              </a:pathLst>
            </a:custGeom>
            <a:solidFill>
              <a:srgbClr val="CCCCC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29" name="Freeform 335">
              <a:extLst>
                <a:ext uri="{FF2B5EF4-FFF2-40B4-BE49-F238E27FC236}">
                  <a16:creationId xmlns:a16="http://schemas.microsoft.com/office/drawing/2014/main" id="{AFB6CB26-1F15-4109-97BF-A2546CB7C8B3}"/>
                </a:ext>
              </a:extLst>
            </p:cNvPr>
            <p:cNvSpPr>
              <a:spLocks noEditPoints="1"/>
            </p:cNvSpPr>
            <p:nvPr/>
          </p:nvSpPr>
          <p:spPr bwMode="auto">
            <a:xfrm>
              <a:off x="6797588" y="2637721"/>
              <a:ext cx="87479" cy="84299"/>
            </a:xfrm>
            <a:custGeom>
              <a:avLst/>
              <a:gdLst>
                <a:gd name="T0" fmla="*/ 40 w 45"/>
                <a:gd name="T1" fmla="*/ 0 h 43"/>
                <a:gd name="T2" fmla="*/ 6 w 45"/>
                <a:gd name="T3" fmla="*/ 0 h 43"/>
                <a:gd name="T4" fmla="*/ 0 w 45"/>
                <a:gd name="T5" fmla="*/ 6 h 43"/>
                <a:gd name="T6" fmla="*/ 0 w 45"/>
                <a:gd name="T7" fmla="*/ 23 h 43"/>
                <a:gd name="T8" fmla="*/ 0 w 45"/>
                <a:gd name="T9" fmla="*/ 24 h 43"/>
                <a:gd name="T10" fmla="*/ 0 w 45"/>
                <a:gd name="T11" fmla="*/ 25 h 43"/>
                <a:gd name="T12" fmla="*/ 23 w 45"/>
                <a:gd name="T13" fmla="*/ 43 h 43"/>
                <a:gd name="T14" fmla="*/ 45 w 45"/>
                <a:gd name="T15" fmla="*/ 25 h 43"/>
                <a:gd name="T16" fmla="*/ 45 w 45"/>
                <a:gd name="T17" fmla="*/ 24 h 43"/>
                <a:gd name="T18" fmla="*/ 45 w 45"/>
                <a:gd name="T19" fmla="*/ 23 h 43"/>
                <a:gd name="T20" fmla="*/ 45 w 45"/>
                <a:gd name="T21" fmla="*/ 6 h 43"/>
                <a:gd name="T22" fmla="*/ 40 w 45"/>
                <a:gd name="T23" fmla="*/ 0 h 43"/>
                <a:gd name="T24" fmla="*/ 37 w 45"/>
                <a:gd name="T25" fmla="*/ 17 h 43"/>
                <a:gd name="T26" fmla="*/ 25 w 45"/>
                <a:gd name="T27" fmla="*/ 29 h 43"/>
                <a:gd name="T28" fmla="*/ 23 w 45"/>
                <a:gd name="T29" fmla="*/ 30 h 43"/>
                <a:gd name="T30" fmla="*/ 21 w 45"/>
                <a:gd name="T31" fmla="*/ 29 h 43"/>
                <a:gd name="T32" fmla="*/ 9 w 45"/>
                <a:gd name="T33" fmla="*/ 17 h 43"/>
                <a:gd name="T34" fmla="*/ 9 w 45"/>
                <a:gd name="T35" fmla="*/ 13 h 43"/>
                <a:gd name="T36" fmla="*/ 13 w 45"/>
                <a:gd name="T37" fmla="*/ 13 h 43"/>
                <a:gd name="T38" fmla="*/ 23 w 45"/>
                <a:gd name="T39" fmla="*/ 23 h 43"/>
                <a:gd name="T40" fmla="*/ 32 w 45"/>
                <a:gd name="T41" fmla="*/ 13 h 43"/>
                <a:gd name="T42" fmla="*/ 37 w 45"/>
                <a:gd name="T43" fmla="*/ 13 h 43"/>
                <a:gd name="T44" fmla="*/ 37 w 45"/>
                <a:gd name="T45" fmla="*/ 17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5" h="43">
                  <a:moveTo>
                    <a:pt x="40" y="0"/>
                  </a:moveTo>
                  <a:cubicBezTo>
                    <a:pt x="6" y="0"/>
                    <a:pt x="6" y="0"/>
                    <a:pt x="6" y="0"/>
                  </a:cubicBezTo>
                  <a:cubicBezTo>
                    <a:pt x="3" y="0"/>
                    <a:pt x="0" y="3"/>
                    <a:pt x="0" y="6"/>
                  </a:cubicBezTo>
                  <a:cubicBezTo>
                    <a:pt x="0" y="23"/>
                    <a:pt x="0" y="23"/>
                    <a:pt x="0" y="23"/>
                  </a:cubicBezTo>
                  <a:cubicBezTo>
                    <a:pt x="0" y="23"/>
                    <a:pt x="0" y="24"/>
                    <a:pt x="0" y="24"/>
                  </a:cubicBezTo>
                  <a:cubicBezTo>
                    <a:pt x="0" y="25"/>
                    <a:pt x="0" y="25"/>
                    <a:pt x="0" y="25"/>
                  </a:cubicBezTo>
                  <a:cubicBezTo>
                    <a:pt x="0" y="35"/>
                    <a:pt x="10" y="43"/>
                    <a:pt x="23" y="43"/>
                  </a:cubicBezTo>
                  <a:cubicBezTo>
                    <a:pt x="35" y="43"/>
                    <a:pt x="45" y="35"/>
                    <a:pt x="45" y="25"/>
                  </a:cubicBezTo>
                  <a:cubicBezTo>
                    <a:pt x="45" y="25"/>
                    <a:pt x="45" y="25"/>
                    <a:pt x="45" y="24"/>
                  </a:cubicBezTo>
                  <a:cubicBezTo>
                    <a:pt x="45" y="24"/>
                    <a:pt x="45" y="23"/>
                    <a:pt x="45" y="23"/>
                  </a:cubicBezTo>
                  <a:cubicBezTo>
                    <a:pt x="45" y="6"/>
                    <a:pt x="45" y="6"/>
                    <a:pt x="45" y="6"/>
                  </a:cubicBezTo>
                  <a:cubicBezTo>
                    <a:pt x="45" y="3"/>
                    <a:pt x="43" y="0"/>
                    <a:pt x="40" y="0"/>
                  </a:cubicBezTo>
                  <a:moveTo>
                    <a:pt x="37" y="17"/>
                  </a:moveTo>
                  <a:cubicBezTo>
                    <a:pt x="25" y="29"/>
                    <a:pt x="25" y="29"/>
                    <a:pt x="25" y="29"/>
                  </a:cubicBezTo>
                  <a:cubicBezTo>
                    <a:pt x="24" y="30"/>
                    <a:pt x="24" y="30"/>
                    <a:pt x="23" y="30"/>
                  </a:cubicBezTo>
                  <a:cubicBezTo>
                    <a:pt x="22" y="30"/>
                    <a:pt x="21" y="30"/>
                    <a:pt x="21" y="29"/>
                  </a:cubicBezTo>
                  <a:cubicBezTo>
                    <a:pt x="9" y="17"/>
                    <a:pt x="9" y="17"/>
                    <a:pt x="9" y="17"/>
                  </a:cubicBezTo>
                  <a:cubicBezTo>
                    <a:pt x="8" y="16"/>
                    <a:pt x="8" y="14"/>
                    <a:pt x="9" y="13"/>
                  </a:cubicBezTo>
                  <a:cubicBezTo>
                    <a:pt x="10" y="12"/>
                    <a:pt x="12" y="12"/>
                    <a:pt x="13" y="13"/>
                  </a:cubicBezTo>
                  <a:cubicBezTo>
                    <a:pt x="23" y="23"/>
                    <a:pt x="23" y="23"/>
                    <a:pt x="23" y="23"/>
                  </a:cubicBezTo>
                  <a:cubicBezTo>
                    <a:pt x="32" y="13"/>
                    <a:pt x="32" y="13"/>
                    <a:pt x="32" y="13"/>
                  </a:cubicBezTo>
                  <a:cubicBezTo>
                    <a:pt x="34" y="12"/>
                    <a:pt x="36" y="12"/>
                    <a:pt x="37" y="13"/>
                  </a:cubicBezTo>
                  <a:cubicBezTo>
                    <a:pt x="38" y="14"/>
                    <a:pt x="38" y="16"/>
                    <a:pt x="37" y="17"/>
                  </a:cubicBezTo>
                </a:path>
              </a:pathLst>
            </a:custGeom>
            <a:solidFill>
              <a:srgbClr val="CCCCC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30" name="Freeform 336">
              <a:extLst>
                <a:ext uri="{FF2B5EF4-FFF2-40B4-BE49-F238E27FC236}">
                  <a16:creationId xmlns:a16="http://schemas.microsoft.com/office/drawing/2014/main" id="{40D78ED2-CC3C-4DAB-A9D5-183F599E9105}"/>
                </a:ext>
              </a:extLst>
            </p:cNvPr>
            <p:cNvSpPr>
              <a:spLocks/>
            </p:cNvSpPr>
            <p:nvPr/>
          </p:nvSpPr>
          <p:spPr bwMode="auto">
            <a:xfrm>
              <a:off x="7255658" y="2346654"/>
              <a:ext cx="112928" cy="143147"/>
            </a:xfrm>
            <a:custGeom>
              <a:avLst/>
              <a:gdLst>
                <a:gd name="T0" fmla="*/ 3 w 58"/>
                <a:gd name="T1" fmla="*/ 34 h 74"/>
                <a:gd name="T2" fmla="*/ 5 w 58"/>
                <a:gd name="T3" fmla="*/ 37 h 74"/>
                <a:gd name="T4" fmla="*/ 23 w 58"/>
                <a:gd name="T5" fmla="*/ 46 h 74"/>
                <a:gd name="T6" fmla="*/ 20 w 58"/>
                <a:gd name="T7" fmla="*/ 51 h 74"/>
                <a:gd name="T8" fmla="*/ 12 w 58"/>
                <a:gd name="T9" fmla="*/ 52 h 74"/>
                <a:gd name="T10" fmla="*/ 1 w 58"/>
                <a:gd name="T11" fmla="*/ 44 h 74"/>
                <a:gd name="T12" fmla="*/ 1 w 58"/>
                <a:gd name="T13" fmla="*/ 46 h 74"/>
                <a:gd name="T14" fmla="*/ 6 w 58"/>
                <a:gd name="T15" fmla="*/ 52 h 74"/>
                <a:gd name="T16" fmla="*/ 15 w 58"/>
                <a:gd name="T17" fmla="*/ 58 h 74"/>
                <a:gd name="T18" fmla="*/ 19 w 58"/>
                <a:gd name="T19" fmla="*/ 58 h 74"/>
                <a:gd name="T20" fmla="*/ 19 w 58"/>
                <a:gd name="T21" fmla="*/ 66 h 74"/>
                <a:gd name="T22" fmla="*/ 16 w 58"/>
                <a:gd name="T23" fmla="*/ 70 h 74"/>
                <a:gd name="T24" fmla="*/ 18 w 58"/>
                <a:gd name="T25" fmla="*/ 71 h 74"/>
                <a:gd name="T26" fmla="*/ 23 w 58"/>
                <a:gd name="T27" fmla="*/ 67 h 74"/>
                <a:gd name="T28" fmla="*/ 24 w 58"/>
                <a:gd name="T29" fmla="*/ 56 h 74"/>
                <a:gd name="T30" fmla="*/ 25 w 58"/>
                <a:gd name="T31" fmla="*/ 52 h 74"/>
                <a:gd name="T32" fmla="*/ 25 w 58"/>
                <a:gd name="T33" fmla="*/ 69 h 74"/>
                <a:gd name="T34" fmla="*/ 23 w 58"/>
                <a:gd name="T35" fmla="*/ 72 h 74"/>
                <a:gd name="T36" fmla="*/ 29 w 58"/>
                <a:gd name="T37" fmla="*/ 69 h 74"/>
                <a:gd name="T38" fmla="*/ 30 w 58"/>
                <a:gd name="T39" fmla="*/ 52 h 74"/>
                <a:gd name="T40" fmla="*/ 31 w 58"/>
                <a:gd name="T41" fmla="*/ 52 h 74"/>
                <a:gd name="T42" fmla="*/ 31 w 58"/>
                <a:gd name="T43" fmla="*/ 62 h 74"/>
                <a:gd name="T44" fmla="*/ 33 w 58"/>
                <a:gd name="T45" fmla="*/ 70 h 74"/>
                <a:gd name="T46" fmla="*/ 38 w 58"/>
                <a:gd name="T47" fmla="*/ 72 h 74"/>
                <a:gd name="T48" fmla="*/ 36 w 58"/>
                <a:gd name="T49" fmla="*/ 67 h 74"/>
                <a:gd name="T50" fmla="*/ 36 w 58"/>
                <a:gd name="T51" fmla="*/ 53 h 74"/>
                <a:gd name="T52" fmla="*/ 37 w 58"/>
                <a:gd name="T53" fmla="*/ 57 h 74"/>
                <a:gd name="T54" fmla="*/ 37 w 58"/>
                <a:gd name="T55" fmla="*/ 66 h 74"/>
                <a:gd name="T56" fmla="*/ 41 w 58"/>
                <a:gd name="T57" fmla="*/ 70 h 74"/>
                <a:gd name="T58" fmla="*/ 45 w 58"/>
                <a:gd name="T59" fmla="*/ 70 h 74"/>
                <a:gd name="T60" fmla="*/ 41 w 58"/>
                <a:gd name="T61" fmla="*/ 66 h 74"/>
                <a:gd name="T62" fmla="*/ 41 w 58"/>
                <a:gd name="T63" fmla="*/ 57 h 74"/>
                <a:gd name="T64" fmla="*/ 38 w 58"/>
                <a:gd name="T65" fmla="*/ 46 h 74"/>
                <a:gd name="T66" fmla="*/ 56 w 58"/>
                <a:gd name="T67" fmla="*/ 37 h 74"/>
                <a:gd name="T68" fmla="*/ 57 w 58"/>
                <a:gd name="T69" fmla="*/ 34 h 74"/>
                <a:gd name="T70" fmla="*/ 58 w 58"/>
                <a:gd name="T71" fmla="*/ 25 h 74"/>
                <a:gd name="T72" fmla="*/ 53 w 58"/>
                <a:gd name="T73" fmla="*/ 12 h 74"/>
                <a:gd name="T74" fmla="*/ 52 w 58"/>
                <a:gd name="T75" fmla="*/ 1 h 74"/>
                <a:gd name="T76" fmla="*/ 40 w 58"/>
                <a:gd name="T77" fmla="*/ 5 h 74"/>
                <a:gd name="T78" fmla="*/ 19 w 58"/>
                <a:gd name="T79" fmla="*/ 6 h 74"/>
                <a:gd name="T80" fmla="*/ 7 w 58"/>
                <a:gd name="T81" fmla="*/ 1 h 74"/>
                <a:gd name="T82" fmla="*/ 7 w 58"/>
                <a:gd name="T83" fmla="*/ 13 h 74"/>
                <a:gd name="T84" fmla="*/ 2 w 58"/>
                <a:gd name="T85" fmla="*/ 24 h 74"/>
                <a:gd name="T86" fmla="*/ 3 w 58"/>
                <a:gd name="T87" fmla="*/ 34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8" h="74">
                  <a:moveTo>
                    <a:pt x="3" y="34"/>
                  </a:moveTo>
                  <a:cubicBezTo>
                    <a:pt x="3" y="34"/>
                    <a:pt x="5" y="37"/>
                    <a:pt x="5" y="37"/>
                  </a:cubicBezTo>
                  <a:cubicBezTo>
                    <a:pt x="8" y="42"/>
                    <a:pt x="13" y="45"/>
                    <a:pt x="23" y="46"/>
                  </a:cubicBezTo>
                  <a:cubicBezTo>
                    <a:pt x="21" y="47"/>
                    <a:pt x="20" y="49"/>
                    <a:pt x="20" y="51"/>
                  </a:cubicBezTo>
                  <a:cubicBezTo>
                    <a:pt x="18" y="52"/>
                    <a:pt x="14" y="53"/>
                    <a:pt x="12" y="52"/>
                  </a:cubicBezTo>
                  <a:cubicBezTo>
                    <a:pt x="8" y="51"/>
                    <a:pt x="7" y="43"/>
                    <a:pt x="1" y="44"/>
                  </a:cubicBezTo>
                  <a:cubicBezTo>
                    <a:pt x="0" y="45"/>
                    <a:pt x="0" y="46"/>
                    <a:pt x="1" y="46"/>
                  </a:cubicBezTo>
                  <a:cubicBezTo>
                    <a:pt x="3" y="47"/>
                    <a:pt x="4" y="49"/>
                    <a:pt x="6" y="52"/>
                  </a:cubicBezTo>
                  <a:cubicBezTo>
                    <a:pt x="7" y="54"/>
                    <a:pt x="9" y="58"/>
                    <a:pt x="15" y="58"/>
                  </a:cubicBezTo>
                  <a:cubicBezTo>
                    <a:pt x="17" y="58"/>
                    <a:pt x="19" y="58"/>
                    <a:pt x="19" y="58"/>
                  </a:cubicBezTo>
                  <a:cubicBezTo>
                    <a:pt x="19" y="58"/>
                    <a:pt x="19" y="63"/>
                    <a:pt x="19" y="66"/>
                  </a:cubicBezTo>
                  <a:cubicBezTo>
                    <a:pt x="19" y="68"/>
                    <a:pt x="16" y="69"/>
                    <a:pt x="16" y="70"/>
                  </a:cubicBezTo>
                  <a:cubicBezTo>
                    <a:pt x="16" y="71"/>
                    <a:pt x="17" y="71"/>
                    <a:pt x="18" y="71"/>
                  </a:cubicBezTo>
                  <a:cubicBezTo>
                    <a:pt x="20" y="71"/>
                    <a:pt x="23" y="69"/>
                    <a:pt x="23" y="67"/>
                  </a:cubicBezTo>
                  <a:cubicBezTo>
                    <a:pt x="23" y="64"/>
                    <a:pt x="24" y="57"/>
                    <a:pt x="24" y="56"/>
                  </a:cubicBezTo>
                  <a:cubicBezTo>
                    <a:pt x="24" y="53"/>
                    <a:pt x="25" y="52"/>
                    <a:pt x="25" y="52"/>
                  </a:cubicBezTo>
                  <a:cubicBezTo>
                    <a:pt x="25" y="52"/>
                    <a:pt x="25" y="67"/>
                    <a:pt x="25" y="69"/>
                  </a:cubicBezTo>
                  <a:cubicBezTo>
                    <a:pt x="24" y="71"/>
                    <a:pt x="23" y="71"/>
                    <a:pt x="23" y="72"/>
                  </a:cubicBezTo>
                  <a:cubicBezTo>
                    <a:pt x="23" y="73"/>
                    <a:pt x="27" y="72"/>
                    <a:pt x="29" y="69"/>
                  </a:cubicBezTo>
                  <a:cubicBezTo>
                    <a:pt x="30" y="66"/>
                    <a:pt x="30" y="52"/>
                    <a:pt x="30" y="52"/>
                  </a:cubicBezTo>
                  <a:cubicBezTo>
                    <a:pt x="31" y="52"/>
                    <a:pt x="31" y="52"/>
                    <a:pt x="31" y="52"/>
                  </a:cubicBezTo>
                  <a:cubicBezTo>
                    <a:pt x="31" y="52"/>
                    <a:pt x="31" y="59"/>
                    <a:pt x="31" y="62"/>
                  </a:cubicBezTo>
                  <a:cubicBezTo>
                    <a:pt x="31" y="65"/>
                    <a:pt x="31" y="69"/>
                    <a:pt x="33" y="70"/>
                  </a:cubicBezTo>
                  <a:cubicBezTo>
                    <a:pt x="34" y="72"/>
                    <a:pt x="38" y="74"/>
                    <a:pt x="38" y="72"/>
                  </a:cubicBezTo>
                  <a:cubicBezTo>
                    <a:pt x="38" y="71"/>
                    <a:pt x="36" y="70"/>
                    <a:pt x="36" y="67"/>
                  </a:cubicBezTo>
                  <a:cubicBezTo>
                    <a:pt x="36" y="53"/>
                    <a:pt x="36" y="53"/>
                    <a:pt x="36" y="53"/>
                  </a:cubicBezTo>
                  <a:cubicBezTo>
                    <a:pt x="37" y="53"/>
                    <a:pt x="37" y="57"/>
                    <a:pt x="37" y="57"/>
                  </a:cubicBezTo>
                  <a:cubicBezTo>
                    <a:pt x="37" y="66"/>
                    <a:pt x="37" y="66"/>
                    <a:pt x="37" y="66"/>
                  </a:cubicBezTo>
                  <a:cubicBezTo>
                    <a:pt x="37" y="66"/>
                    <a:pt x="37" y="69"/>
                    <a:pt x="41" y="70"/>
                  </a:cubicBezTo>
                  <a:cubicBezTo>
                    <a:pt x="42" y="71"/>
                    <a:pt x="45" y="71"/>
                    <a:pt x="45" y="70"/>
                  </a:cubicBezTo>
                  <a:cubicBezTo>
                    <a:pt x="45" y="69"/>
                    <a:pt x="41" y="68"/>
                    <a:pt x="41" y="66"/>
                  </a:cubicBezTo>
                  <a:cubicBezTo>
                    <a:pt x="41" y="64"/>
                    <a:pt x="41" y="63"/>
                    <a:pt x="41" y="57"/>
                  </a:cubicBezTo>
                  <a:cubicBezTo>
                    <a:pt x="41" y="50"/>
                    <a:pt x="41" y="48"/>
                    <a:pt x="38" y="46"/>
                  </a:cubicBezTo>
                  <a:cubicBezTo>
                    <a:pt x="47" y="45"/>
                    <a:pt x="53" y="43"/>
                    <a:pt x="56" y="37"/>
                  </a:cubicBezTo>
                  <a:cubicBezTo>
                    <a:pt x="56" y="37"/>
                    <a:pt x="57" y="34"/>
                    <a:pt x="57" y="34"/>
                  </a:cubicBezTo>
                  <a:cubicBezTo>
                    <a:pt x="57" y="31"/>
                    <a:pt x="58" y="29"/>
                    <a:pt x="58" y="25"/>
                  </a:cubicBezTo>
                  <a:cubicBezTo>
                    <a:pt x="58" y="16"/>
                    <a:pt x="53" y="13"/>
                    <a:pt x="53" y="12"/>
                  </a:cubicBezTo>
                  <a:cubicBezTo>
                    <a:pt x="54" y="5"/>
                    <a:pt x="52" y="2"/>
                    <a:pt x="52" y="1"/>
                  </a:cubicBezTo>
                  <a:cubicBezTo>
                    <a:pt x="49" y="0"/>
                    <a:pt x="43" y="3"/>
                    <a:pt x="40" y="5"/>
                  </a:cubicBezTo>
                  <a:cubicBezTo>
                    <a:pt x="35" y="4"/>
                    <a:pt x="23" y="4"/>
                    <a:pt x="19" y="6"/>
                  </a:cubicBezTo>
                  <a:cubicBezTo>
                    <a:pt x="11" y="0"/>
                    <a:pt x="7" y="1"/>
                    <a:pt x="7" y="1"/>
                  </a:cubicBezTo>
                  <a:cubicBezTo>
                    <a:pt x="7" y="1"/>
                    <a:pt x="5" y="6"/>
                    <a:pt x="7" y="13"/>
                  </a:cubicBezTo>
                  <a:cubicBezTo>
                    <a:pt x="4" y="16"/>
                    <a:pt x="2" y="18"/>
                    <a:pt x="2" y="24"/>
                  </a:cubicBezTo>
                  <a:cubicBezTo>
                    <a:pt x="2" y="28"/>
                    <a:pt x="3" y="31"/>
                    <a:pt x="3" y="34"/>
                  </a:cubicBezTo>
                </a:path>
              </a:pathLst>
            </a:custGeom>
            <a:solidFill>
              <a:srgbClr val="CCCCC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31" name="Freeform 337">
              <a:extLst>
                <a:ext uri="{FF2B5EF4-FFF2-40B4-BE49-F238E27FC236}">
                  <a16:creationId xmlns:a16="http://schemas.microsoft.com/office/drawing/2014/main" id="{6EE90944-64ED-4B08-92E1-F4F2ED3E0F7B}"/>
                </a:ext>
              </a:extLst>
            </p:cNvPr>
            <p:cNvSpPr>
              <a:spLocks/>
            </p:cNvSpPr>
            <p:nvPr/>
          </p:nvSpPr>
          <p:spPr bwMode="auto">
            <a:xfrm>
              <a:off x="5946658" y="2325978"/>
              <a:ext cx="63621" cy="81117"/>
            </a:xfrm>
            <a:custGeom>
              <a:avLst/>
              <a:gdLst>
                <a:gd name="T0" fmla="*/ 2 w 32"/>
                <a:gd name="T1" fmla="*/ 19 h 41"/>
                <a:gd name="T2" fmla="*/ 2 w 32"/>
                <a:gd name="T3" fmla="*/ 21 h 41"/>
                <a:gd name="T4" fmla="*/ 12 w 32"/>
                <a:gd name="T5" fmla="*/ 26 h 41"/>
                <a:gd name="T6" fmla="*/ 11 w 32"/>
                <a:gd name="T7" fmla="*/ 29 h 41"/>
                <a:gd name="T8" fmla="*/ 6 w 32"/>
                <a:gd name="T9" fmla="*/ 29 h 41"/>
                <a:gd name="T10" fmla="*/ 0 w 32"/>
                <a:gd name="T11" fmla="*/ 25 h 41"/>
                <a:gd name="T12" fmla="*/ 0 w 32"/>
                <a:gd name="T13" fmla="*/ 26 h 41"/>
                <a:gd name="T14" fmla="*/ 3 w 32"/>
                <a:gd name="T15" fmla="*/ 29 h 41"/>
                <a:gd name="T16" fmla="*/ 8 w 32"/>
                <a:gd name="T17" fmla="*/ 32 h 41"/>
                <a:gd name="T18" fmla="*/ 10 w 32"/>
                <a:gd name="T19" fmla="*/ 32 h 41"/>
                <a:gd name="T20" fmla="*/ 10 w 32"/>
                <a:gd name="T21" fmla="*/ 37 h 41"/>
                <a:gd name="T22" fmla="*/ 9 w 32"/>
                <a:gd name="T23" fmla="*/ 39 h 41"/>
                <a:gd name="T24" fmla="*/ 10 w 32"/>
                <a:gd name="T25" fmla="*/ 40 h 41"/>
                <a:gd name="T26" fmla="*/ 13 w 32"/>
                <a:gd name="T27" fmla="*/ 37 h 41"/>
                <a:gd name="T28" fmla="*/ 13 w 32"/>
                <a:gd name="T29" fmla="*/ 31 h 41"/>
                <a:gd name="T30" fmla="*/ 14 w 32"/>
                <a:gd name="T31" fmla="*/ 29 h 41"/>
                <a:gd name="T32" fmla="*/ 13 w 32"/>
                <a:gd name="T33" fmla="*/ 39 h 41"/>
                <a:gd name="T34" fmla="*/ 12 w 32"/>
                <a:gd name="T35" fmla="*/ 40 h 41"/>
                <a:gd name="T36" fmla="*/ 16 w 32"/>
                <a:gd name="T37" fmla="*/ 39 h 41"/>
                <a:gd name="T38" fmla="*/ 16 w 32"/>
                <a:gd name="T39" fmla="*/ 29 h 41"/>
                <a:gd name="T40" fmla="*/ 17 w 32"/>
                <a:gd name="T41" fmla="*/ 29 h 41"/>
                <a:gd name="T42" fmla="*/ 17 w 32"/>
                <a:gd name="T43" fmla="*/ 34 h 41"/>
                <a:gd name="T44" fmla="*/ 18 w 32"/>
                <a:gd name="T45" fmla="*/ 39 h 41"/>
                <a:gd name="T46" fmla="*/ 21 w 32"/>
                <a:gd name="T47" fmla="*/ 40 h 41"/>
                <a:gd name="T48" fmla="*/ 20 w 32"/>
                <a:gd name="T49" fmla="*/ 37 h 41"/>
                <a:gd name="T50" fmla="*/ 20 w 32"/>
                <a:gd name="T51" fmla="*/ 29 h 41"/>
                <a:gd name="T52" fmla="*/ 20 w 32"/>
                <a:gd name="T53" fmla="*/ 32 h 41"/>
                <a:gd name="T54" fmla="*/ 20 w 32"/>
                <a:gd name="T55" fmla="*/ 37 h 41"/>
                <a:gd name="T56" fmla="*/ 22 w 32"/>
                <a:gd name="T57" fmla="*/ 39 h 41"/>
                <a:gd name="T58" fmla="*/ 25 w 32"/>
                <a:gd name="T59" fmla="*/ 39 h 41"/>
                <a:gd name="T60" fmla="*/ 23 w 32"/>
                <a:gd name="T61" fmla="*/ 37 h 41"/>
                <a:gd name="T62" fmla="*/ 23 w 32"/>
                <a:gd name="T63" fmla="*/ 32 h 41"/>
                <a:gd name="T64" fmla="*/ 21 w 32"/>
                <a:gd name="T65" fmla="*/ 26 h 41"/>
                <a:gd name="T66" fmla="*/ 31 w 32"/>
                <a:gd name="T67" fmla="*/ 21 h 41"/>
                <a:gd name="T68" fmla="*/ 31 w 32"/>
                <a:gd name="T69" fmla="*/ 19 h 41"/>
                <a:gd name="T70" fmla="*/ 32 w 32"/>
                <a:gd name="T71" fmla="*/ 14 h 41"/>
                <a:gd name="T72" fmla="*/ 29 w 32"/>
                <a:gd name="T73" fmla="*/ 7 h 41"/>
                <a:gd name="T74" fmla="*/ 28 w 32"/>
                <a:gd name="T75" fmla="*/ 1 h 41"/>
                <a:gd name="T76" fmla="*/ 22 w 32"/>
                <a:gd name="T77" fmla="*/ 3 h 41"/>
                <a:gd name="T78" fmla="*/ 10 w 32"/>
                <a:gd name="T79" fmla="*/ 4 h 41"/>
                <a:gd name="T80" fmla="*/ 4 w 32"/>
                <a:gd name="T81" fmla="*/ 1 h 41"/>
                <a:gd name="T82" fmla="*/ 3 w 32"/>
                <a:gd name="T83" fmla="*/ 7 h 41"/>
                <a:gd name="T84" fmla="*/ 1 w 32"/>
                <a:gd name="T85" fmla="*/ 14 h 41"/>
                <a:gd name="T86" fmla="*/ 2 w 32"/>
                <a:gd name="T87" fmla="*/ 19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2" h="41">
                  <a:moveTo>
                    <a:pt x="2" y="19"/>
                  </a:moveTo>
                  <a:cubicBezTo>
                    <a:pt x="2" y="19"/>
                    <a:pt x="2" y="21"/>
                    <a:pt x="2" y="21"/>
                  </a:cubicBezTo>
                  <a:cubicBezTo>
                    <a:pt x="4" y="24"/>
                    <a:pt x="7" y="25"/>
                    <a:pt x="12" y="26"/>
                  </a:cubicBezTo>
                  <a:cubicBezTo>
                    <a:pt x="12" y="26"/>
                    <a:pt x="11" y="28"/>
                    <a:pt x="11" y="29"/>
                  </a:cubicBezTo>
                  <a:cubicBezTo>
                    <a:pt x="10" y="29"/>
                    <a:pt x="8" y="30"/>
                    <a:pt x="6" y="29"/>
                  </a:cubicBezTo>
                  <a:cubicBezTo>
                    <a:pt x="4" y="28"/>
                    <a:pt x="3" y="24"/>
                    <a:pt x="0" y="25"/>
                  </a:cubicBezTo>
                  <a:cubicBezTo>
                    <a:pt x="0" y="25"/>
                    <a:pt x="0" y="26"/>
                    <a:pt x="0" y="26"/>
                  </a:cubicBezTo>
                  <a:cubicBezTo>
                    <a:pt x="1" y="27"/>
                    <a:pt x="2" y="27"/>
                    <a:pt x="3" y="29"/>
                  </a:cubicBezTo>
                  <a:cubicBezTo>
                    <a:pt x="3" y="30"/>
                    <a:pt x="5" y="32"/>
                    <a:pt x="8" y="32"/>
                  </a:cubicBezTo>
                  <a:cubicBezTo>
                    <a:pt x="9" y="32"/>
                    <a:pt x="10" y="32"/>
                    <a:pt x="10" y="32"/>
                  </a:cubicBezTo>
                  <a:cubicBezTo>
                    <a:pt x="10" y="32"/>
                    <a:pt x="10" y="35"/>
                    <a:pt x="10" y="37"/>
                  </a:cubicBezTo>
                  <a:cubicBezTo>
                    <a:pt x="10" y="38"/>
                    <a:pt x="9" y="39"/>
                    <a:pt x="9" y="39"/>
                  </a:cubicBezTo>
                  <a:cubicBezTo>
                    <a:pt x="9" y="39"/>
                    <a:pt x="9" y="40"/>
                    <a:pt x="10" y="40"/>
                  </a:cubicBezTo>
                  <a:cubicBezTo>
                    <a:pt x="11" y="40"/>
                    <a:pt x="13" y="39"/>
                    <a:pt x="13" y="37"/>
                  </a:cubicBezTo>
                  <a:cubicBezTo>
                    <a:pt x="13" y="36"/>
                    <a:pt x="13" y="32"/>
                    <a:pt x="13" y="31"/>
                  </a:cubicBezTo>
                  <a:cubicBezTo>
                    <a:pt x="13" y="30"/>
                    <a:pt x="14" y="29"/>
                    <a:pt x="14" y="29"/>
                  </a:cubicBezTo>
                  <a:cubicBezTo>
                    <a:pt x="14" y="29"/>
                    <a:pt x="14" y="37"/>
                    <a:pt x="13" y="39"/>
                  </a:cubicBezTo>
                  <a:cubicBezTo>
                    <a:pt x="13" y="40"/>
                    <a:pt x="12" y="40"/>
                    <a:pt x="12" y="40"/>
                  </a:cubicBezTo>
                  <a:cubicBezTo>
                    <a:pt x="12" y="41"/>
                    <a:pt x="15" y="40"/>
                    <a:pt x="16" y="39"/>
                  </a:cubicBezTo>
                  <a:cubicBezTo>
                    <a:pt x="17" y="37"/>
                    <a:pt x="16" y="29"/>
                    <a:pt x="16" y="29"/>
                  </a:cubicBezTo>
                  <a:cubicBezTo>
                    <a:pt x="17" y="29"/>
                    <a:pt x="17" y="29"/>
                    <a:pt x="17" y="29"/>
                  </a:cubicBezTo>
                  <a:cubicBezTo>
                    <a:pt x="17" y="29"/>
                    <a:pt x="17" y="33"/>
                    <a:pt x="17" y="34"/>
                  </a:cubicBezTo>
                  <a:cubicBezTo>
                    <a:pt x="17" y="36"/>
                    <a:pt x="17" y="38"/>
                    <a:pt x="18" y="39"/>
                  </a:cubicBezTo>
                  <a:cubicBezTo>
                    <a:pt x="19" y="40"/>
                    <a:pt x="21" y="41"/>
                    <a:pt x="21" y="40"/>
                  </a:cubicBezTo>
                  <a:cubicBezTo>
                    <a:pt x="21" y="40"/>
                    <a:pt x="20" y="39"/>
                    <a:pt x="20" y="37"/>
                  </a:cubicBezTo>
                  <a:cubicBezTo>
                    <a:pt x="20" y="29"/>
                    <a:pt x="20" y="29"/>
                    <a:pt x="20" y="29"/>
                  </a:cubicBezTo>
                  <a:cubicBezTo>
                    <a:pt x="20" y="29"/>
                    <a:pt x="20" y="32"/>
                    <a:pt x="20" y="32"/>
                  </a:cubicBezTo>
                  <a:cubicBezTo>
                    <a:pt x="20" y="37"/>
                    <a:pt x="20" y="37"/>
                    <a:pt x="20" y="37"/>
                  </a:cubicBezTo>
                  <a:cubicBezTo>
                    <a:pt x="20" y="37"/>
                    <a:pt x="20" y="39"/>
                    <a:pt x="22" y="39"/>
                  </a:cubicBezTo>
                  <a:cubicBezTo>
                    <a:pt x="23" y="40"/>
                    <a:pt x="25" y="40"/>
                    <a:pt x="25" y="39"/>
                  </a:cubicBezTo>
                  <a:cubicBezTo>
                    <a:pt x="25" y="39"/>
                    <a:pt x="23" y="38"/>
                    <a:pt x="23" y="37"/>
                  </a:cubicBezTo>
                  <a:cubicBezTo>
                    <a:pt x="23" y="36"/>
                    <a:pt x="23" y="35"/>
                    <a:pt x="23" y="32"/>
                  </a:cubicBezTo>
                  <a:cubicBezTo>
                    <a:pt x="23" y="28"/>
                    <a:pt x="22" y="27"/>
                    <a:pt x="21" y="26"/>
                  </a:cubicBezTo>
                  <a:cubicBezTo>
                    <a:pt x="26" y="25"/>
                    <a:pt x="29" y="24"/>
                    <a:pt x="31" y="21"/>
                  </a:cubicBezTo>
                  <a:cubicBezTo>
                    <a:pt x="31" y="21"/>
                    <a:pt x="31" y="19"/>
                    <a:pt x="31" y="19"/>
                  </a:cubicBezTo>
                  <a:cubicBezTo>
                    <a:pt x="32" y="18"/>
                    <a:pt x="32" y="16"/>
                    <a:pt x="32" y="14"/>
                  </a:cubicBezTo>
                  <a:cubicBezTo>
                    <a:pt x="32" y="9"/>
                    <a:pt x="29" y="8"/>
                    <a:pt x="29" y="7"/>
                  </a:cubicBezTo>
                  <a:cubicBezTo>
                    <a:pt x="30" y="3"/>
                    <a:pt x="29" y="1"/>
                    <a:pt x="28" y="1"/>
                  </a:cubicBezTo>
                  <a:cubicBezTo>
                    <a:pt x="27" y="0"/>
                    <a:pt x="24" y="2"/>
                    <a:pt x="22" y="3"/>
                  </a:cubicBezTo>
                  <a:cubicBezTo>
                    <a:pt x="19" y="2"/>
                    <a:pt x="13" y="3"/>
                    <a:pt x="10" y="4"/>
                  </a:cubicBezTo>
                  <a:cubicBezTo>
                    <a:pt x="6" y="0"/>
                    <a:pt x="4" y="1"/>
                    <a:pt x="4" y="1"/>
                  </a:cubicBezTo>
                  <a:cubicBezTo>
                    <a:pt x="4" y="1"/>
                    <a:pt x="2" y="4"/>
                    <a:pt x="3" y="7"/>
                  </a:cubicBezTo>
                  <a:cubicBezTo>
                    <a:pt x="2" y="9"/>
                    <a:pt x="1" y="10"/>
                    <a:pt x="1" y="14"/>
                  </a:cubicBezTo>
                  <a:cubicBezTo>
                    <a:pt x="1" y="16"/>
                    <a:pt x="1" y="18"/>
                    <a:pt x="2" y="19"/>
                  </a:cubicBezTo>
                </a:path>
              </a:pathLst>
            </a:custGeom>
            <a:solidFill>
              <a:srgbClr val="CCCCC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32" name="Freeform 338">
              <a:extLst>
                <a:ext uri="{FF2B5EF4-FFF2-40B4-BE49-F238E27FC236}">
                  <a16:creationId xmlns:a16="http://schemas.microsoft.com/office/drawing/2014/main" id="{549DC2EB-8C1A-49D8-B2A4-9435D526141B}"/>
                </a:ext>
              </a:extLst>
            </p:cNvPr>
            <p:cNvSpPr>
              <a:spLocks/>
            </p:cNvSpPr>
            <p:nvPr/>
          </p:nvSpPr>
          <p:spPr bwMode="auto">
            <a:xfrm>
              <a:off x="4546999" y="2139887"/>
              <a:ext cx="62031" cy="79526"/>
            </a:xfrm>
            <a:custGeom>
              <a:avLst/>
              <a:gdLst>
                <a:gd name="T0" fmla="*/ 2 w 32"/>
                <a:gd name="T1" fmla="*/ 19 h 41"/>
                <a:gd name="T2" fmla="*/ 2 w 32"/>
                <a:gd name="T3" fmla="*/ 21 h 41"/>
                <a:gd name="T4" fmla="*/ 12 w 32"/>
                <a:gd name="T5" fmla="*/ 26 h 41"/>
                <a:gd name="T6" fmla="*/ 11 w 32"/>
                <a:gd name="T7" fmla="*/ 29 h 41"/>
                <a:gd name="T8" fmla="*/ 6 w 32"/>
                <a:gd name="T9" fmla="*/ 29 h 41"/>
                <a:gd name="T10" fmla="*/ 0 w 32"/>
                <a:gd name="T11" fmla="*/ 25 h 41"/>
                <a:gd name="T12" fmla="*/ 0 w 32"/>
                <a:gd name="T13" fmla="*/ 26 h 41"/>
                <a:gd name="T14" fmla="*/ 3 w 32"/>
                <a:gd name="T15" fmla="*/ 29 h 41"/>
                <a:gd name="T16" fmla="*/ 8 w 32"/>
                <a:gd name="T17" fmla="*/ 32 h 41"/>
                <a:gd name="T18" fmla="*/ 10 w 32"/>
                <a:gd name="T19" fmla="*/ 32 h 41"/>
                <a:gd name="T20" fmla="*/ 10 w 32"/>
                <a:gd name="T21" fmla="*/ 37 h 41"/>
                <a:gd name="T22" fmla="*/ 9 w 32"/>
                <a:gd name="T23" fmla="*/ 39 h 41"/>
                <a:gd name="T24" fmla="*/ 10 w 32"/>
                <a:gd name="T25" fmla="*/ 40 h 41"/>
                <a:gd name="T26" fmla="*/ 13 w 32"/>
                <a:gd name="T27" fmla="*/ 37 h 41"/>
                <a:gd name="T28" fmla="*/ 13 w 32"/>
                <a:gd name="T29" fmla="*/ 31 h 41"/>
                <a:gd name="T30" fmla="*/ 14 w 32"/>
                <a:gd name="T31" fmla="*/ 29 h 41"/>
                <a:gd name="T32" fmla="*/ 13 w 32"/>
                <a:gd name="T33" fmla="*/ 39 h 41"/>
                <a:gd name="T34" fmla="*/ 12 w 32"/>
                <a:gd name="T35" fmla="*/ 40 h 41"/>
                <a:gd name="T36" fmla="*/ 16 w 32"/>
                <a:gd name="T37" fmla="*/ 39 h 41"/>
                <a:gd name="T38" fmla="*/ 16 w 32"/>
                <a:gd name="T39" fmla="*/ 29 h 41"/>
                <a:gd name="T40" fmla="*/ 17 w 32"/>
                <a:gd name="T41" fmla="*/ 29 h 41"/>
                <a:gd name="T42" fmla="*/ 17 w 32"/>
                <a:gd name="T43" fmla="*/ 34 h 41"/>
                <a:gd name="T44" fmla="*/ 18 w 32"/>
                <a:gd name="T45" fmla="*/ 39 h 41"/>
                <a:gd name="T46" fmla="*/ 21 w 32"/>
                <a:gd name="T47" fmla="*/ 40 h 41"/>
                <a:gd name="T48" fmla="*/ 20 w 32"/>
                <a:gd name="T49" fmla="*/ 37 h 41"/>
                <a:gd name="T50" fmla="*/ 20 w 32"/>
                <a:gd name="T51" fmla="*/ 29 h 41"/>
                <a:gd name="T52" fmla="*/ 20 w 32"/>
                <a:gd name="T53" fmla="*/ 32 h 41"/>
                <a:gd name="T54" fmla="*/ 20 w 32"/>
                <a:gd name="T55" fmla="*/ 37 h 41"/>
                <a:gd name="T56" fmla="*/ 22 w 32"/>
                <a:gd name="T57" fmla="*/ 39 h 41"/>
                <a:gd name="T58" fmla="*/ 25 w 32"/>
                <a:gd name="T59" fmla="*/ 39 h 41"/>
                <a:gd name="T60" fmla="*/ 23 w 32"/>
                <a:gd name="T61" fmla="*/ 37 h 41"/>
                <a:gd name="T62" fmla="*/ 23 w 32"/>
                <a:gd name="T63" fmla="*/ 32 h 41"/>
                <a:gd name="T64" fmla="*/ 21 w 32"/>
                <a:gd name="T65" fmla="*/ 26 h 41"/>
                <a:gd name="T66" fmla="*/ 31 w 32"/>
                <a:gd name="T67" fmla="*/ 21 h 41"/>
                <a:gd name="T68" fmla="*/ 31 w 32"/>
                <a:gd name="T69" fmla="*/ 19 h 41"/>
                <a:gd name="T70" fmla="*/ 32 w 32"/>
                <a:gd name="T71" fmla="*/ 14 h 41"/>
                <a:gd name="T72" fmla="*/ 29 w 32"/>
                <a:gd name="T73" fmla="*/ 7 h 41"/>
                <a:gd name="T74" fmla="*/ 28 w 32"/>
                <a:gd name="T75" fmla="*/ 1 h 41"/>
                <a:gd name="T76" fmla="*/ 22 w 32"/>
                <a:gd name="T77" fmla="*/ 3 h 41"/>
                <a:gd name="T78" fmla="*/ 10 w 32"/>
                <a:gd name="T79" fmla="*/ 4 h 41"/>
                <a:gd name="T80" fmla="*/ 4 w 32"/>
                <a:gd name="T81" fmla="*/ 1 h 41"/>
                <a:gd name="T82" fmla="*/ 3 w 32"/>
                <a:gd name="T83" fmla="*/ 7 h 41"/>
                <a:gd name="T84" fmla="*/ 1 w 32"/>
                <a:gd name="T85" fmla="*/ 14 h 41"/>
                <a:gd name="T86" fmla="*/ 2 w 32"/>
                <a:gd name="T87" fmla="*/ 19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2" h="41">
                  <a:moveTo>
                    <a:pt x="2" y="19"/>
                  </a:moveTo>
                  <a:cubicBezTo>
                    <a:pt x="2" y="19"/>
                    <a:pt x="2" y="21"/>
                    <a:pt x="2" y="21"/>
                  </a:cubicBezTo>
                  <a:cubicBezTo>
                    <a:pt x="4" y="24"/>
                    <a:pt x="7" y="25"/>
                    <a:pt x="12" y="26"/>
                  </a:cubicBezTo>
                  <a:cubicBezTo>
                    <a:pt x="12" y="26"/>
                    <a:pt x="11" y="28"/>
                    <a:pt x="11" y="29"/>
                  </a:cubicBezTo>
                  <a:cubicBezTo>
                    <a:pt x="10" y="29"/>
                    <a:pt x="8" y="30"/>
                    <a:pt x="6" y="29"/>
                  </a:cubicBezTo>
                  <a:cubicBezTo>
                    <a:pt x="4" y="28"/>
                    <a:pt x="3" y="24"/>
                    <a:pt x="0" y="25"/>
                  </a:cubicBezTo>
                  <a:cubicBezTo>
                    <a:pt x="0" y="25"/>
                    <a:pt x="0" y="26"/>
                    <a:pt x="0" y="26"/>
                  </a:cubicBezTo>
                  <a:cubicBezTo>
                    <a:pt x="1" y="27"/>
                    <a:pt x="2" y="27"/>
                    <a:pt x="3" y="29"/>
                  </a:cubicBezTo>
                  <a:cubicBezTo>
                    <a:pt x="3" y="30"/>
                    <a:pt x="5" y="32"/>
                    <a:pt x="8" y="32"/>
                  </a:cubicBezTo>
                  <a:cubicBezTo>
                    <a:pt x="9" y="32"/>
                    <a:pt x="10" y="32"/>
                    <a:pt x="10" y="32"/>
                  </a:cubicBezTo>
                  <a:cubicBezTo>
                    <a:pt x="10" y="32"/>
                    <a:pt x="10" y="35"/>
                    <a:pt x="10" y="37"/>
                  </a:cubicBezTo>
                  <a:cubicBezTo>
                    <a:pt x="10" y="38"/>
                    <a:pt x="9" y="39"/>
                    <a:pt x="9" y="39"/>
                  </a:cubicBezTo>
                  <a:cubicBezTo>
                    <a:pt x="9" y="39"/>
                    <a:pt x="9" y="40"/>
                    <a:pt x="10" y="40"/>
                  </a:cubicBezTo>
                  <a:cubicBezTo>
                    <a:pt x="11" y="40"/>
                    <a:pt x="13" y="39"/>
                    <a:pt x="13" y="37"/>
                  </a:cubicBezTo>
                  <a:cubicBezTo>
                    <a:pt x="13" y="36"/>
                    <a:pt x="13" y="32"/>
                    <a:pt x="13" y="31"/>
                  </a:cubicBezTo>
                  <a:cubicBezTo>
                    <a:pt x="13" y="30"/>
                    <a:pt x="14" y="29"/>
                    <a:pt x="14" y="29"/>
                  </a:cubicBezTo>
                  <a:cubicBezTo>
                    <a:pt x="14" y="29"/>
                    <a:pt x="14" y="37"/>
                    <a:pt x="13" y="39"/>
                  </a:cubicBezTo>
                  <a:cubicBezTo>
                    <a:pt x="13" y="40"/>
                    <a:pt x="12" y="40"/>
                    <a:pt x="12" y="40"/>
                  </a:cubicBezTo>
                  <a:cubicBezTo>
                    <a:pt x="12" y="41"/>
                    <a:pt x="15" y="40"/>
                    <a:pt x="16" y="39"/>
                  </a:cubicBezTo>
                  <a:cubicBezTo>
                    <a:pt x="17" y="37"/>
                    <a:pt x="16" y="29"/>
                    <a:pt x="16" y="29"/>
                  </a:cubicBezTo>
                  <a:cubicBezTo>
                    <a:pt x="17" y="29"/>
                    <a:pt x="17" y="29"/>
                    <a:pt x="17" y="29"/>
                  </a:cubicBezTo>
                  <a:cubicBezTo>
                    <a:pt x="17" y="29"/>
                    <a:pt x="17" y="33"/>
                    <a:pt x="17" y="34"/>
                  </a:cubicBezTo>
                  <a:cubicBezTo>
                    <a:pt x="17" y="36"/>
                    <a:pt x="17" y="38"/>
                    <a:pt x="18" y="39"/>
                  </a:cubicBezTo>
                  <a:cubicBezTo>
                    <a:pt x="19" y="40"/>
                    <a:pt x="21" y="41"/>
                    <a:pt x="21" y="40"/>
                  </a:cubicBezTo>
                  <a:cubicBezTo>
                    <a:pt x="21" y="40"/>
                    <a:pt x="20" y="39"/>
                    <a:pt x="20" y="37"/>
                  </a:cubicBezTo>
                  <a:cubicBezTo>
                    <a:pt x="20" y="29"/>
                    <a:pt x="20" y="29"/>
                    <a:pt x="20" y="29"/>
                  </a:cubicBezTo>
                  <a:cubicBezTo>
                    <a:pt x="20" y="29"/>
                    <a:pt x="20" y="32"/>
                    <a:pt x="20" y="32"/>
                  </a:cubicBezTo>
                  <a:cubicBezTo>
                    <a:pt x="20" y="37"/>
                    <a:pt x="20" y="37"/>
                    <a:pt x="20" y="37"/>
                  </a:cubicBezTo>
                  <a:cubicBezTo>
                    <a:pt x="20" y="37"/>
                    <a:pt x="20" y="39"/>
                    <a:pt x="22" y="39"/>
                  </a:cubicBezTo>
                  <a:cubicBezTo>
                    <a:pt x="23" y="40"/>
                    <a:pt x="25" y="40"/>
                    <a:pt x="25" y="39"/>
                  </a:cubicBezTo>
                  <a:cubicBezTo>
                    <a:pt x="25" y="39"/>
                    <a:pt x="23" y="38"/>
                    <a:pt x="23" y="37"/>
                  </a:cubicBezTo>
                  <a:cubicBezTo>
                    <a:pt x="23" y="36"/>
                    <a:pt x="23" y="35"/>
                    <a:pt x="23" y="32"/>
                  </a:cubicBezTo>
                  <a:cubicBezTo>
                    <a:pt x="23" y="28"/>
                    <a:pt x="22" y="27"/>
                    <a:pt x="21" y="26"/>
                  </a:cubicBezTo>
                  <a:cubicBezTo>
                    <a:pt x="26" y="25"/>
                    <a:pt x="29" y="24"/>
                    <a:pt x="31" y="21"/>
                  </a:cubicBezTo>
                  <a:cubicBezTo>
                    <a:pt x="31" y="21"/>
                    <a:pt x="31" y="19"/>
                    <a:pt x="31" y="19"/>
                  </a:cubicBezTo>
                  <a:cubicBezTo>
                    <a:pt x="32" y="18"/>
                    <a:pt x="32" y="16"/>
                    <a:pt x="32" y="14"/>
                  </a:cubicBezTo>
                  <a:cubicBezTo>
                    <a:pt x="32" y="9"/>
                    <a:pt x="29" y="8"/>
                    <a:pt x="29" y="7"/>
                  </a:cubicBezTo>
                  <a:cubicBezTo>
                    <a:pt x="30" y="3"/>
                    <a:pt x="29" y="1"/>
                    <a:pt x="28" y="1"/>
                  </a:cubicBezTo>
                  <a:cubicBezTo>
                    <a:pt x="27" y="0"/>
                    <a:pt x="24" y="2"/>
                    <a:pt x="22" y="3"/>
                  </a:cubicBezTo>
                  <a:cubicBezTo>
                    <a:pt x="19" y="2"/>
                    <a:pt x="13" y="3"/>
                    <a:pt x="10" y="4"/>
                  </a:cubicBezTo>
                  <a:cubicBezTo>
                    <a:pt x="6" y="0"/>
                    <a:pt x="4" y="1"/>
                    <a:pt x="4" y="1"/>
                  </a:cubicBezTo>
                  <a:cubicBezTo>
                    <a:pt x="4" y="1"/>
                    <a:pt x="2" y="4"/>
                    <a:pt x="3" y="7"/>
                  </a:cubicBezTo>
                  <a:cubicBezTo>
                    <a:pt x="2" y="9"/>
                    <a:pt x="1" y="10"/>
                    <a:pt x="1" y="14"/>
                  </a:cubicBezTo>
                  <a:cubicBezTo>
                    <a:pt x="1" y="16"/>
                    <a:pt x="1" y="18"/>
                    <a:pt x="2" y="19"/>
                  </a:cubicBezTo>
                </a:path>
              </a:pathLst>
            </a:custGeom>
            <a:solidFill>
              <a:srgbClr val="CCCCC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33" name="Freeform 339">
              <a:extLst>
                <a:ext uri="{FF2B5EF4-FFF2-40B4-BE49-F238E27FC236}">
                  <a16:creationId xmlns:a16="http://schemas.microsoft.com/office/drawing/2014/main" id="{D3B506DD-72AF-41F6-9B33-91FECC00AA9B}"/>
                </a:ext>
              </a:extLst>
            </p:cNvPr>
            <p:cNvSpPr>
              <a:spLocks/>
            </p:cNvSpPr>
            <p:nvPr/>
          </p:nvSpPr>
          <p:spPr bwMode="auto">
            <a:xfrm>
              <a:off x="4769671" y="3720866"/>
              <a:ext cx="81117" cy="103385"/>
            </a:xfrm>
            <a:custGeom>
              <a:avLst/>
              <a:gdLst>
                <a:gd name="T0" fmla="*/ 3 w 42"/>
                <a:gd name="T1" fmla="*/ 24 h 53"/>
                <a:gd name="T2" fmla="*/ 4 w 42"/>
                <a:gd name="T3" fmla="*/ 27 h 53"/>
                <a:gd name="T4" fmla="*/ 17 w 42"/>
                <a:gd name="T5" fmla="*/ 33 h 53"/>
                <a:gd name="T6" fmla="*/ 14 w 42"/>
                <a:gd name="T7" fmla="*/ 37 h 53"/>
                <a:gd name="T8" fmla="*/ 9 w 42"/>
                <a:gd name="T9" fmla="*/ 38 h 53"/>
                <a:gd name="T10" fmla="*/ 1 w 42"/>
                <a:gd name="T11" fmla="*/ 32 h 53"/>
                <a:gd name="T12" fmla="*/ 1 w 42"/>
                <a:gd name="T13" fmla="*/ 33 h 53"/>
                <a:gd name="T14" fmla="*/ 4 w 42"/>
                <a:gd name="T15" fmla="*/ 37 h 53"/>
                <a:gd name="T16" fmla="*/ 11 w 42"/>
                <a:gd name="T17" fmla="*/ 42 h 53"/>
                <a:gd name="T18" fmla="*/ 14 w 42"/>
                <a:gd name="T19" fmla="*/ 42 h 53"/>
                <a:gd name="T20" fmla="*/ 14 w 42"/>
                <a:gd name="T21" fmla="*/ 47 h 53"/>
                <a:gd name="T22" fmla="*/ 12 w 42"/>
                <a:gd name="T23" fmla="*/ 51 h 53"/>
                <a:gd name="T24" fmla="*/ 13 w 42"/>
                <a:gd name="T25" fmla="*/ 51 h 53"/>
                <a:gd name="T26" fmla="*/ 17 w 42"/>
                <a:gd name="T27" fmla="*/ 48 h 53"/>
                <a:gd name="T28" fmla="*/ 17 w 42"/>
                <a:gd name="T29" fmla="*/ 40 h 53"/>
                <a:gd name="T30" fmla="*/ 18 w 42"/>
                <a:gd name="T31" fmla="*/ 38 h 53"/>
                <a:gd name="T32" fmla="*/ 18 w 42"/>
                <a:gd name="T33" fmla="*/ 50 h 53"/>
                <a:gd name="T34" fmla="*/ 17 w 42"/>
                <a:gd name="T35" fmla="*/ 52 h 53"/>
                <a:gd name="T36" fmla="*/ 21 w 42"/>
                <a:gd name="T37" fmla="*/ 50 h 53"/>
                <a:gd name="T38" fmla="*/ 22 w 42"/>
                <a:gd name="T39" fmla="*/ 38 h 53"/>
                <a:gd name="T40" fmla="*/ 23 w 42"/>
                <a:gd name="T41" fmla="*/ 38 h 53"/>
                <a:gd name="T42" fmla="*/ 23 w 42"/>
                <a:gd name="T43" fmla="*/ 44 h 53"/>
                <a:gd name="T44" fmla="*/ 24 w 42"/>
                <a:gd name="T45" fmla="*/ 51 h 53"/>
                <a:gd name="T46" fmla="*/ 27 w 42"/>
                <a:gd name="T47" fmla="*/ 52 h 53"/>
                <a:gd name="T48" fmla="*/ 26 w 42"/>
                <a:gd name="T49" fmla="*/ 48 h 53"/>
                <a:gd name="T50" fmla="*/ 26 w 42"/>
                <a:gd name="T51" fmla="*/ 38 h 53"/>
                <a:gd name="T52" fmla="*/ 27 w 42"/>
                <a:gd name="T53" fmla="*/ 41 h 53"/>
                <a:gd name="T54" fmla="*/ 27 w 42"/>
                <a:gd name="T55" fmla="*/ 48 h 53"/>
                <a:gd name="T56" fmla="*/ 29 w 42"/>
                <a:gd name="T57" fmla="*/ 51 h 53"/>
                <a:gd name="T58" fmla="*/ 33 w 42"/>
                <a:gd name="T59" fmla="*/ 51 h 53"/>
                <a:gd name="T60" fmla="*/ 30 w 42"/>
                <a:gd name="T61" fmla="*/ 47 h 53"/>
                <a:gd name="T62" fmla="*/ 30 w 42"/>
                <a:gd name="T63" fmla="*/ 41 h 53"/>
                <a:gd name="T64" fmla="*/ 27 w 42"/>
                <a:gd name="T65" fmla="*/ 33 h 53"/>
                <a:gd name="T66" fmla="*/ 40 w 42"/>
                <a:gd name="T67" fmla="*/ 27 h 53"/>
                <a:gd name="T68" fmla="*/ 41 w 42"/>
                <a:gd name="T69" fmla="*/ 24 h 53"/>
                <a:gd name="T70" fmla="*/ 42 w 42"/>
                <a:gd name="T71" fmla="*/ 18 h 53"/>
                <a:gd name="T72" fmla="*/ 38 w 42"/>
                <a:gd name="T73" fmla="*/ 9 h 53"/>
                <a:gd name="T74" fmla="*/ 37 w 42"/>
                <a:gd name="T75" fmla="*/ 1 h 53"/>
                <a:gd name="T76" fmla="*/ 29 w 42"/>
                <a:gd name="T77" fmla="*/ 4 h 53"/>
                <a:gd name="T78" fmla="*/ 14 w 42"/>
                <a:gd name="T79" fmla="*/ 4 h 53"/>
                <a:gd name="T80" fmla="*/ 6 w 42"/>
                <a:gd name="T81" fmla="*/ 1 h 53"/>
                <a:gd name="T82" fmla="*/ 5 w 42"/>
                <a:gd name="T83" fmla="*/ 9 h 53"/>
                <a:gd name="T84" fmla="*/ 2 w 42"/>
                <a:gd name="T85" fmla="*/ 18 h 53"/>
                <a:gd name="T86" fmla="*/ 3 w 42"/>
                <a:gd name="T87" fmla="*/ 2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2" h="53">
                  <a:moveTo>
                    <a:pt x="3" y="24"/>
                  </a:moveTo>
                  <a:cubicBezTo>
                    <a:pt x="3" y="24"/>
                    <a:pt x="4" y="27"/>
                    <a:pt x="4" y="27"/>
                  </a:cubicBezTo>
                  <a:cubicBezTo>
                    <a:pt x="6" y="30"/>
                    <a:pt x="10" y="33"/>
                    <a:pt x="17" y="33"/>
                  </a:cubicBezTo>
                  <a:cubicBezTo>
                    <a:pt x="16" y="34"/>
                    <a:pt x="15" y="36"/>
                    <a:pt x="14" y="37"/>
                  </a:cubicBezTo>
                  <a:cubicBezTo>
                    <a:pt x="13" y="38"/>
                    <a:pt x="11" y="38"/>
                    <a:pt x="9" y="38"/>
                  </a:cubicBezTo>
                  <a:cubicBezTo>
                    <a:pt x="6" y="37"/>
                    <a:pt x="5" y="31"/>
                    <a:pt x="1" y="32"/>
                  </a:cubicBezTo>
                  <a:cubicBezTo>
                    <a:pt x="0" y="32"/>
                    <a:pt x="0" y="33"/>
                    <a:pt x="1" y="33"/>
                  </a:cubicBezTo>
                  <a:cubicBezTo>
                    <a:pt x="2" y="34"/>
                    <a:pt x="3" y="35"/>
                    <a:pt x="4" y="37"/>
                  </a:cubicBezTo>
                  <a:cubicBezTo>
                    <a:pt x="5" y="39"/>
                    <a:pt x="6" y="42"/>
                    <a:pt x="11" y="42"/>
                  </a:cubicBezTo>
                  <a:cubicBezTo>
                    <a:pt x="13" y="42"/>
                    <a:pt x="14" y="42"/>
                    <a:pt x="14" y="42"/>
                  </a:cubicBezTo>
                  <a:cubicBezTo>
                    <a:pt x="14" y="42"/>
                    <a:pt x="14" y="46"/>
                    <a:pt x="14" y="47"/>
                  </a:cubicBezTo>
                  <a:cubicBezTo>
                    <a:pt x="14" y="49"/>
                    <a:pt x="12" y="50"/>
                    <a:pt x="12" y="51"/>
                  </a:cubicBezTo>
                  <a:cubicBezTo>
                    <a:pt x="12" y="51"/>
                    <a:pt x="12" y="51"/>
                    <a:pt x="13" y="51"/>
                  </a:cubicBezTo>
                  <a:cubicBezTo>
                    <a:pt x="14" y="51"/>
                    <a:pt x="17" y="50"/>
                    <a:pt x="17" y="48"/>
                  </a:cubicBezTo>
                  <a:cubicBezTo>
                    <a:pt x="17" y="46"/>
                    <a:pt x="17" y="41"/>
                    <a:pt x="17" y="40"/>
                  </a:cubicBezTo>
                  <a:cubicBezTo>
                    <a:pt x="17" y="38"/>
                    <a:pt x="18" y="38"/>
                    <a:pt x="18" y="38"/>
                  </a:cubicBezTo>
                  <a:cubicBezTo>
                    <a:pt x="18" y="38"/>
                    <a:pt x="18" y="48"/>
                    <a:pt x="18" y="50"/>
                  </a:cubicBezTo>
                  <a:cubicBezTo>
                    <a:pt x="18" y="51"/>
                    <a:pt x="17" y="51"/>
                    <a:pt x="17" y="52"/>
                  </a:cubicBezTo>
                  <a:cubicBezTo>
                    <a:pt x="17" y="53"/>
                    <a:pt x="20" y="52"/>
                    <a:pt x="21" y="50"/>
                  </a:cubicBezTo>
                  <a:cubicBezTo>
                    <a:pt x="22" y="48"/>
                    <a:pt x="22" y="38"/>
                    <a:pt x="22" y="38"/>
                  </a:cubicBezTo>
                  <a:cubicBezTo>
                    <a:pt x="23" y="38"/>
                    <a:pt x="23" y="38"/>
                    <a:pt x="23" y="38"/>
                  </a:cubicBezTo>
                  <a:cubicBezTo>
                    <a:pt x="23" y="38"/>
                    <a:pt x="23" y="42"/>
                    <a:pt x="23" y="44"/>
                  </a:cubicBezTo>
                  <a:cubicBezTo>
                    <a:pt x="22" y="47"/>
                    <a:pt x="22" y="50"/>
                    <a:pt x="24" y="51"/>
                  </a:cubicBezTo>
                  <a:cubicBezTo>
                    <a:pt x="25" y="52"/>
                    <a:pt x="27" y="53"/>
                    <a:pt x="27" y="52"/>
                  </a:cubicBezTo>
                  <a:cubicBezTo>
                    <a:pt x="27" y="51"/>
                    <a:pt x="26" y="50"/>
                    <a:pt x="26" y="48"/>
                  </a:cubicBezTo>
                  <a:cubicBezTo>
                    <a:pt x="26" y="38"/>
                    <a:pt x="26" y="38"/>
                    <a:pt x="26" y="38"/>
                  </a:cubicBezTo>
                  <a:cubicBezTo>
                    <a:pt x="27" y="38"/>
                    <a:pt x="27" y="41"/>
                    <a:pt x="27" y="41"/>
                  </a:cubicBezTo>
                  <a:cubicBezTo>
                    <a:pt x="27" y="48"/>
                    <a:pt x="27" y="48"/>
                    <a:pt x="27" y="48"/>
                  </a:cubicBezTo>
                  <a:cubicBezTo>
                    <a:pt x="27" y="48"/>
                    <a:pt x="27" y="50"/>
                    <a:pt x="29" y="51"/>
                  </a:cubicBezTo>
                  <a:cubicBezTo>
                    <a:pt x="30" y="51"/>
                    <a:pt x="32" y="51"/>
                    <a:pt x="33" y="51"/>
                  </a:cubicBezTo>
                  <a:cubicBezTo>
                    <a:pt x="33" y="50"/>
                    <a:pt x="30" y="49"/>
                    <a:pt x="30" y="47"/>
                  </a:cubicBezTo>
                  <a:cubicBezTo>
                    <a:pt x="30" y="46"/>
                    <a:pt x="30" y="46"/>
                    <a:pt x="30" y="41"/>
                  </a:cubicBezTo>
                  <a:cubicBezTo>
                    <a:pt x="30" y="36"/>
                    <a:pt x="29" y="35"/>
                    <a:pt x="27" y="33"/>
                  </a:cubicBezTo>
                  <a:cubicBezTo>
                    <a:pt x="34" y="33"/>
                    <a:pt x="38" y="31"/>
                    <a:pt x="40" y="27"/>
                  </a:cubicBezTo>
                  <a:cubicBezTo>
                    <a:pt x="40" y="27"/>
                    <a:pt x="41" y="24"/>
                    <a:pt x="41" y="24"/>
                  </a:cubicBezTo>
                  <a:cubicBezTo>
                    <a:pt x="41" y="23"/>
                    <a:pt x="42" y="21"/>
                    <a:pt x="42" y="18"/>
                  </a:cubicBezTo>
                  <a:cubicBezTo>
                    <a:pt x="42" y="12"/>
                    <a:pt x="39" y="10"/>
                    <a:pt x="38" y="9"/>
                  </a:cubicBezTo>
                  <a:cubicBezTo>
                    <a:pt x="39" y="4"/>
                    <a:pt x="38" y="2"/>
                    <a:pt x="37" y="1"/>
                  </a:cubicBezTo>
                  <a:cubicBezTo>
                    <a:pt x="36" y="0"/>
                    <a:pt x="31" y="2"/>
                    <a:pt x="29" y="4"/>
                  </a:cubicBezTo>
                  <a:cubicBezTo>
                    <a:pt x="25" y="3"/>
                    <a:pt x="17" y="3"/>
                    <a:pt x="14" y="4"/>
                  </a:cubicBezTo>
                  <a:cubicBezTo>
                    <a:pt x="8" y="0"/>
                    <a:pt x="6" y="1"/>
                    <a:pt x="6" y="1"/>
                  </a:cubicBezTo>
                  <a:cubicBezTo>
                    <a:pt x="6" y="1"/>
                    <a:pt x="4" y="4"/>
                    <a:pt x="5" y="9"/>
                  </a:cubicBezTo>
                  <a:cubicBezTo>
                    <a:pt x="3" y="12"/>
                    <a:pt x="2" y="13"/>
                    <a:pt x="2" y="18"/>
                  </a:cubicBezTo>
                  <a:cubicBezTo>
                    <a:pt x="2" y="20"/>
                    <a:pt x="2" y="23"/>
                    <a:pt x="3" y="24"/>
                  </a:cubicBezTo>
                </a:path>
              </a:pathLst>
            </a:custGeom>
            <a:solidFill>
              <a:srgbClr val="CCCCC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34" name="Freeform 340">
              <a:extLst>
                <a:ext uri="{FF2B5EF4-FFF2-40B4-BE49-F238E27FC236}">
                  <a16:creationId xmlns:a16="http://schemas.microsoft.com/office/drawing/2014/main" id="{740EBB08-5C5B-4D16-B573-0435222EAEB7}"/>
                </a:ext>
              </a:extLst>
            </p:cNvPr>
            <p:cNvSpPr>
              <a:spLocks/>
            </p:cNvSpPr>
            <p:nvPr/>
          </p:nvSpPr>
          <p:spPr bwMode="auto">
            <a:xfrm>
              <a:off x="6614677" y="4924891"/>
              <a:ext cx="79526" cy="103385"/>
            </a:xfrm>
            <a:custGeom>
              <a:avLst/>
              <a:gdLst>
                <a:gd name="T0" fmla="*/ 2 w 41"/>
                <a:gd name="T1" fmla="*/ 24 h 53"/>
                <a:gd name="T2" fmla="*/ 3 w 41"/>
                <a:gd name="T3" fmla="*/ 26 h 53"/>
                <a:gd name="T4" fmla="*/ 16 w 41"/>
                <a:gd name="T5" fmla="*/ 33 h 53"/>
                <a:gd name="T6" fmla="*/ 14 w 41"/>
                <a:gd name="T7" fmla="*/ 37 h 53"/>
                <a:gd name="T8" fmla="*/ 8 w 41"/>
                <a:gd name="T9" fmla="*/ 37 h 53"/>
                <a:gd name="T10" fmla="*/ 1 w 41"/>
                <a:gd name="T11" fmla="*/ 32 h 53"/>
                <a:gd name="T12" fmla="*/ 1 w 41"/>
                <a:gd name="T13" fmla="*/ 33 h 53"/>
                <a:gd name="T14" fmla="*/ 4 w 41"/>
                <a:gd name="T15" fmla="*/ 37 h 53"/>
                <a:gd name="T16" fmla="*/ 11 w 41"/>
                <a:gd name="T17" fmla="*/ 42 h 53"/>
                <a:gd name="T18" fmla="*/ 14 w 41"/>
                <a:gd name="T19" fmla="*/ 41 h 53"/>
                <a:gd name="T20" fmla="*/ 14 w 41"/>
                <a:gd name="T21" fmla="*/ 47 h 53"/>
                <a:gd name="T22" fmla="*/ 11 w 41"/>
                <a:gd name="T23" fmla="*/ 50 h 53"/>
                <a:gd name="T24" fmla="*/ 13 w 41"/>
                <a:gd name="T25" fmla="*/ 51 h 53"/>
                <a:gd name="T26" fmla="*/ 17 w 41"/>
                <a:gd name="T27" fmla="*/ 48 h 53"/>
                <a:gd name="T28" fmla="*/ 17 w 41"/>
                <a:gd name="T29" fmla="*/ 40 h 53"/>
                <a:gd name="T30" fmla="*/ 18 w 41"/>
                <a:gd name="T31" fmla="*/ 37 h 53"/>
                <a:gd name="T32" fmla="*/ 18 w 41"/>
                <a:gd name="T33" fmla="*/ 49 h 53"/>
                <a:gd name="T34" fmla="*/ 16 w 41"/>
                <a:gd name="T35" fmla="*/ 52 h 53"/>
                <a:gd name="T36" fmla="*/ 21 w 41"/>
                <a:gd name="T37" fmla="*/ 49 h 53"/>
                <a:gd name="T38" fmla="*/ 21 w 41"/>
                <a:gd name="T39" fmla="*/ 37 h 53"/>
                <a:gd name="T40" fmla="*/ 22 w 41"/>
                <a:gd name="T41" fmla="*/ 37 h 53"/>
                <a:gd name="T42" fmla="*/ 22 w 41"/>
                <a:gd name="T43" fmla="*/ 44 h 53"/>
                <a:gd name="T44" fmla="*/ 23 w 41"/>
                <a:gd name="T45" fmla="*/ 51 h 53"/>
                <a:gd name="T46" fmla="*/ 27 w 41"/>
                <a:gd name="T47" fmla="*/ 52 h 53"/>
                <a:gd name="T48" fmla="*/ 26 w 41"/>
                <a:gd name="T49" fmla="*/ 48 h 53"/>
                <a:gd name="T50" fmla="*/ 26 w 41"/>
                <a:gd name="T51" fmla="*/ 38 h 53"/>
                <a:gd name="T52" fmla="*/ 27 w 41"/>
                <a:gd name="T53" fmla="*/ 41 h 53"/>
                <a:gd name="T54" fmla="*/ 27 w 41"/>
                <a:gd name="T55" fmla="*/ 47 h 53"/>
                <a:gd name="T56" fmla="*/ 29 w 41"/>
                <a:gd name="T57" fmla="*/ 50 h 53"/>
                <a:gd name="T58" fmla="*/ 32 w 41"/>
                <a:gd name="T59" fmla="*/ 50 h 53"/>
                <a:gd name="T60" fmla="*/ 30 w 41"/>
                <a:gd name="T61" fmla="*/ 47 h 53"/>
                <a:gd name="T62" fmla="*/ 30 w 41"/>
                <a:gd name="T63" fmla="*/ 41 h 53"/>
                <a:gd name="T64" fmla="*/ 27 w 41"/>
                <a:gd name="T65" fmla="*/ 33 h 53"/>
                <a:gd name="T66" fmla="*/ 40 w 41"/>
                <a:gd name="T67" fmla="*/ 26 h 53"/>
                <a:gd name="T68" fmla="*/ 41 w 41"/>
                <a:gd name="T69" fmla="*/ 24 h 53"/>
                <a:gd name="T70" fmla="*/ 41 w 41"/>
                <a:gd name="T71" fmla="*/ 18 h 53"/>
                <a:gd name="T72" fmla="*/ 38 w 41"/>
                <a:gd name="T73" fmla="*/ 8 h 53"/>
                <a:gd name="T74" fmla="*/ 37 w 41"/>
                <a:gd name="T75" fmla="*/ 1 h 53"/>
                <a:gd name="T76" fmla="*/ 29 w 41"/>
                <a:gd name="T77" fmla="*/ 4 h 53"/>
                <a:gd name="T78" fmla="*/ 14 w 41"/>
                <a:gd name="T79" fmla="*/ 4 h 53"/>
                <a:gd name="T80" fmla="*/ 5 w 41"/>
                <a:gd name="T81" fmla="*/ 1 h 53"/>
                <a:gd name="T82" fmla="*/ 5 w 41"/>
                <a:gd name="T83" fmla="*/ 9 h 53"/>
                <a:gd name="T84" fmla="*/ 2 w 41"/>
                <a:gd name="T85" fmla="*/ 17 h 53"/>
                <a:gd name="T86" fmla="*/ 2 w 41"/>
                <a:gd name="T87" fmla="*/ 2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1" h="53">
                  <a:moveTo>
                    <a:pt x="2" y="24"/>
                  </a:moveTo>
                  <a:cubicBezTo>
                    <a:pt x="2" y="24"/>
                    <a:pt x="3" y="26"/>
                    <a:pt x="3" y="26"/>
                  </a:cubicBezTo>
                  <a:cubicBezTo>
                    <a:pt x="5" y="30"/>
                    <a:pt x="10" y="32"/>
                    <a:pt x="16" y="33"/>
                  </a:cubicBezTo>
                  <a:cubicBezTo>
                    <a:pt x="15" y="34"/>
                    <a:pt x="14" y="35"/>
                    <a:pt x="14" y="37"/>
                  </a:cubicBezTo>
                  <a:cubicBezTo>
                    <a:pt x="13" y="38"/>
                    <a:pt x="10" y="38"/>
                    <a:pt x="8" y="37"/>
                  </a:cubicBezTo>
                  <a:cubicBezTo>
                    <a:pt x="6" y="36"/>
                    <a:pt x="5" y="31"/>
                    <a:pt x="1" y="32"/>
                  </a:cubicBezTo>
                  <a:cubicBezTo>
                    <a:pt x="0" y="32"/>
                    <a:pt x="0" y="33"/>
                    <a:pt x="1" y="33"/>
                  </a:cubicBezTo>
                  <a:cubicBezTo>
                    <a:pt x="2" y="34"/>
                    <a:pt x="3" y="35"/>
                    <a:pt x="4" y="37"/>
                  </a:cubicBezTo>
                  <a:cubicBezTo>
                    <a:pt x="5" y="39"/>
                    <a:pt x="6" y="42"/>
                    <a:pt x="11" y="42"/>
                  </a:cubicBezTo>
                  <a:cubicBezTo>
                    <a:pt x="13" y="42"/>
                    <a:pt x="14" y="41"/>
                    <a:pt x="14" y="41"/>
                  </a:cubicBezTo>
                  <a:cubicBezTo>
                    <a:pt x="14" y="41"/>
                    <a:pt x="14" y="45"/>
                    <a:pt x="14" y="47"/>
                  </a:cubicBezTo>
                  <a:cubicBezTo>
                    <a:pt x="14" y="49"/>
                    <a:pt x="11" y="49"/>
                    <a:pt x="11" y="50"/>
                  </a:cubicBezTo>
                  <a:cubicBezTo>
                    <a:pt x="11" y="51"/>
                    <a:pt x="12" y="51"/>
                    <a:pt x="13" y="51"/>
                  </a:cubicBezTo>
                  <a:cubicBezTo>
                    <a:pt x="14" y="51"/>
                    <a:pt x="17" y="50"/>
                    <a:pt x="17" y="48"/>
                  </a:cubicBezTo>
                  <a:cubicBezTo>
                    <a:pt x="17" y="46"/>
                    <a:pt x="17" y="41"/>
                    <a:pt x="17" y="40"/>
                  </a:cubicBezTo>
                  <a:cubicBezTo>
                    <a:pt x="17" y="38"/>
                    <a:pt x="18" y="37"/>
                    <a:pt x="18" y="37"/>
                  </a:cubicBezTo>
                  <a:cubicBezTo>
                    <a:pt x="18" y="37"/>
                    <a:pt x="18" y="48"/>
                    <a:pt x="18" y="49"/>
                  </a:cubicBezTo>
                  <a:cubicBezTo>
                    <a:pt x="17" y="51"/>
                    <a:pt x="16" y="51"/>
                    <a:pt x="16" y="52"/>
                  </a:cubicBezTo>
                  <a:cubicBezTo>
                    <a:pt x="16" y="53"/>
                    <a:pt x="20" y="52"/>
                    <a:pt x="21" y="49"/>
                  </a:cubicBezTo>
                  <a:cubicBezTo>
                    <a:pt x="22" y="48"/>
                    <a:pt x="21" y="37"/>
                    <a:pt x="21" y="37"/>
                  </a:cubicBezTo>
                  <a:cubicBezTo>
                    <a:pt x="22" y="37"/>
                    <a:pt x="22" y="37"/>
                    <a:pt x="22" y="37"/>
                  </a:cubicBezTo>
                  <a:cubicBezTo>
                    <a:pt x="22" y="37"/>
                    <a:pt x="22" y="42"/>
                    <a:pt x="22" y="44"/>
                  </a:cubicBezTo>
                  <a:cubicBezTo>
                    <a:pt x="22" y="46"/>
                    <a:pt x="22" y="49"/>
                    <a:pt x="23" y="51"/>
                  </a:cubicBezTo>
                  <a:cubicBezTo>
                    <a:pt x="24" y="51"/>
                    <a:pt x="27" y="53"/>
                    <a:pt x="27" y="52"/>
                  </a:cubicBezTo>
                  <a:cubicBezTo>
                    <a:pt x="27" y="51"/>
                    <a:pt x="26" y="50"/>
                    <a:pt x="26" y="48"/>
                  </a:cubicBezTo>
                  <a:cubicBezTo>
                    <a:pt x="26" y="38"/>
                    <a:pt x="26" y="38"/>
                    <a:pt x="26" y="38"/>
                  </a:cubicBezTo>
                  <a:cubicBezTo>
                    <a:pt x="27" y="38"/>
                    <a:pt x="27" y="41"/>
                    <a:pt x="27" y="41"/>
                  </a:cubicBezTo>
                  <a:cubicBezTo>
                    <a:pt x="27" y="47"/>
                    <a:pt x="27" y="47"/>
                    <a:pt x="27" y="47"/>
                  </a:cubicBezTo>
                  <a:cubicBezTo>
                    <a:pt x="27" y="47"/>
                    <a:pt x="26" y="49"/>
                    <a:pt x="29" y="50"/>
                  </a:cubicBezTo>
                  <a:cubicBezTo>
                    <a:pt x="30" y="51"/>
                    <a:pt x="32" y="51"/>
                    <a:pt x="32" y="50"/>
                  </a:cubicBezTo>
                  <a:cubicBezTo>
                    <a:pt x="32" y="50"/>
                    <a:pt x="30" y="49"/>
                    <a:pt x="30" y="47"/>
                  </a:cubicBezTo>
                  <a:cubicBezTo>
                    <a:pt x="30" y="46"/>
                    <a:pt x="30" y="45"/>
                    <a:pt x="30" y="41"/>
                  </a:cubicBezTo>
                  <a:cubicBezTo>
                    <a:pt x="30" y="36"/>
                    <a:pt x="29" y="34"/>
                    <a:pt x="27" y="33"/>
                  </a:cubicBezTo>
                  <a:cubicBezTo>
                    <a:pt x="34" y="32"/>
                    <a:pt x="38" y="31"/>
                    <a:pt x="40" y="26"/>
                  </a:cubicBezTo>
                  <a:cubicBezTo>
                    <a:pt x="40" y="26"/>
                    <a:pt x="41" y="24"/>
                    <a:pt x="41" y="24"/>
                  </a:cubicBezTo>
                  <a:cubicBezTo>
                    <a:pt x="41" y="22"/>
                    <a:pt x="41" y="20"/>
                    <a:pt x="41" y="18"/>
                  </a:cubicBezTo>
                  <a:cubicBezTo>
                    <a:pt x="41" y="12"/>
                    <a:pt x="38" y="9"/>
                    <a:pt x="38" y="8"/>
                  </a:cubicBezTo>
                  <a:cubicBezTo>
                    <a:pt x="39" y="4"/>
                    <a:pt x="38" y="1"/>
                    <a:pt x="37" y="1"/>
                  </a:cubicBezTo>
                  <a:cubicBezTo>
                    <a:pt x="35" y="0"/>
                    <a:pt x="31" y="2"/>
                    <a:pt x="29" y="4"/>
                  </a:cubicBezTo>
                  <a:cubicBezTo>
                    <a:pt x="25" y="3"/>
                    <a:pt x="17" y="3"/>
                    <a:pt x="14" y="4"/>
                  </a:cubicBezTo>
                  <a:cubicBezTo>
                    <a:pt x="8" y="0"/>
                    <a:pt x="5" y="1"/>
                    <a:pt x="5" y="1"/>
                  </a:cubicBezTo>
                  <a:cubicBezTo>
                    <a:pt x="5" y="1"/>
                    <a:pt x="3" y="4"/>
                    <a:pt x="5" y="9"/>
                  </a:cubicBezTo>
                  <a:cubicBezTo>
                    <a:pt x="3" y="11"/>
                    <a:pt x="2" y="13"/>
                    <a:pt x="2" y="17"/>
                  </a:cubicBezTo>
                  <a:cubicBezTo>
                    <a:pt x="2" y="20"/>
                    <a:pt x="2" y="22"/>
                    <a:pt x="2" y="24"/>
                  </a:cubicBezTo>
                </a:path>
              </a:pathLst>
            </a:custGeom>
            <a:solidFill>
              <a:srgbClr val="CCCCC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35" name="Freeform 341">
              <a:extLst>
                <a:ext uri="{FF2B5EF4-FFF2-40B4-BE49-F238E27FC236}">
                  <a16:creationId xmlns:a16="http://schemas.microsoft.com/office/drawing/2014/main" id="{D33F4B66-6E45-448B-A53D-4ABB750B8242}"/>
                </a:ext>
              </a:extLst>
            </p:cNvPr>
            <p:cNvSpPr>
              <a:spLocks/>
            </p:cNvSpPr>
            <p:nvPr/>
          </p:nvSpPr>
          <p:spPr bwMode="auto">
            <a:xfrm>
              <a:off x="6827807" y="3495012"/>
              <a:ext cx="81117" cy="103385"/>
            </a:xfrm>
            <a:custGeom>
              <a:avLst/>
              <a:gdLst>
                <a:gd name="T0" fmla="*/ 2 w 41"/>
                <a:gd name="T1" fmla="*/ 24 h 53"/>
                <a:gd name="T2" fmla="*/ 3 w 41"/>
                <a:gd name="T3" fmla="*/ 26 h 53"/>
                <a:gd name="T4" fmla="*/ 16 w 41"/>
                <a:gd name="T5" fmla="*/ 33 h 53"/>
                <a:gd name="T6" fmla="*/ 14 w 41"/>
                <a:gd name="T7" fmla="*/ 37 h 53"/>
                <a:gd name="T8" fmla="*/ 8 w 41"/>
                <a:gd name="T9" fmla="*/ 37 h 53"/>
                <a:gd name="T10" fmla="*/ 1 w 41"/>
                <a:gd name="T11" fmla="*/ 32 h 53"/>
                <a:gd name="T12" fmla="*/ 1 w 41"/>
                <a:gd name="T13" fmla="*/ 33 h 53"/>
                <a:gd name="T14" fmla="*/ 4 w 41"/>
                <a:gd name="T15" fmla="*/ 37 h 53"/>
                <a:gd name="T16" fmla="*/ 11 w 41"/>
                <a:gd name="T17" fmla="*/ 42 h 53"/>
                <a:gd name="T18" fmla="*/ 14 w 41"/>
                <a:gd name="T19" fmla="*/ 41 h 53"/>
                <a:gd name="T20" fmla="*/ 14 w 41"/>
                <a:gd name="T21" fmla="*/ 47 h 53"/>
                <a:gd name="T22" fmla="*/ 11 w 41"/>
                <a:gd name="T23" fmla="*/ 50 h 53"/>
                <a:gd name="T24" fmla="*/ 13 w 41"/>
                <a:gd name="T25" fmla="*/ 51 h 53"/>
                <a:gd name="T26" fmla="*/ 17 w 41"/>
                <a:gd name="T27" fmla="*/ 48 h 53"/>
                <a:gd name="T28" fmla="*/ 17 w 41"/>
                <a:gd name="T29" fmla="*/ 40 h 53"/>
                <a:gd name="T30" fmla="*/ 18 w 41"/>
                <a:gd name="T31" fmla="*/ 37 h 53"/>
                <a:gd name="T32" fmla="*/ 18 w 41"/>
                <a:gd name="T33" fmla="*/ 49 h 53"/>
                <a:gd name="T34" fmla="*/ 16 w 41"/>
                <a:gd name="T35" fmla="*/ 52 h 53"/>
                <a:gd name="T36" fmla="*/ 21 w 41"/>
                <a:gd name="T37" fmla="*/ 49 h 53"/>
                <a:gd name="T38" fmla="*/ 21 w 41"/>
                <a:gd name="T39" fmla="*/ 37 h 53"/>
                <a:gd name="T40" fmla="*/ 22 w 41"/>
                <a:gd name="T41" fmla="*/ 37 h 53"/>
                <a:gd name="T42" fmla="*/ 22 w 41"/>
                <a:gd name="T43" fmla="*/ 44 h 53"/>
                <a:gd name="T44" fmla="*/ 23 w 41"/>
                <a:gd name="T45" fmla="*/ 51 h 53"/>
                <a:gd name="T46" fmla="*/ 27 w 41"/>
                <a:gd name="T47" fmla="*/ 52 h 53"/>
                <a:gd name="T48" fmla="*/ 26 w 41"/>
                <a:gd name="T49" fmla="*/ 48 h 53"/>
                <a:gd name="T50" fmla="*/ 26 w 41"/>
                <a:gd name="T51" fmla="*/ 38 h 53"/>
                <a:gd name="T52" fmla="*/ 27 w 41"/>
                <a:gd name="T53" fmla="*/ 41 h 53"/>
                <a:gd name="T54" fmla="*/ 27 w 41"/>
                <a:gd name="T55" fmla="*/ 47 h 53"/>
                <a:gd name="T56" fmla="*/ 29 w 41"/>
                <a:gd name="T57" fmla="*/ 50 h 53"/>
                <a:gd name="T58" fmla="*/ 32 w 41"/>
                <a:gd name="T59" fmla="*/ 50 h 53"/>
                <a:gd name="T60" fmla="*/ 30 w 41"/>
                <a:gd name="T61" fmla="*/ 47 h 53"/>
                <a:gd name="T62" fmla="*/ 30 w 41"/>
                <a:gd name="T63" fmla="*/ 41 h 53"/>
                <a:gd name="T64" fmla="*/ 27 w 41"/>
                <a:gd name="T65" fmla="*/ 33 h 53"/>
                <a:gd name="T66" fmla="*/ 40 w 41"/>
                <a:gd name="T67" fmla="*/ 26 h 53"/>
                <a:gd name="T68" fmla="*/ 41 w 41"/>
                <a:gd name="T69" fmla="*/ 24 h 53"/>
                <a:gd name="T70" fmla="*/ 41 w 41"/>
                <a:gd name="T71" fmla="*/ 18 h 53"/>
                <a:gd name="T72" fmla="*/ 38 w 41"/>
                <a:gd name="T73" fmla="*/ 8 h 53"/>
                <a:gd name="T74" fmla="*/ 37 w 41"/>
                <a:gd name="T75" fmla="*/ 1 h 53"/>
                <a:gd name="T76" fmla="*/ 29 w 41"/>
                <a:gd name="T77" fmla="*/ 4 h 53"/>
                <a:gd name="T78" fmla="*/ 14 w 41"/>
                <a:gd name="T79" fmla="*/ 4 h 53"/>
                <a:gd name="T80" fmla="*/ 5 w 41"/>
                <a:gd name="T81" fmla="*/ 1 h 53"/>
                <a:gd name="T82" fmla="*/ 5 w 41"/>
                <a:gd name="T83" fmla="*/ 9 h 53"/>
                <a:gd name="T84" fmla="*/ 2 w 41"/>
                <a:gd name="T85" fmla="*/ 17 h 53"/>
                <a:gd name="T86" fmla="*/ 2 w 41"/>
                <a:gd name="T87" fmla="*/ 2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1" h="53">
                  <a:moveTo>
                    <a:pt x="2" y="24"/>
                  </a:moveTo>
                  <a:cubicBezTo>
                    <a:pt x="2" y="24"/>
                    <a:pt x="3" y="26"/>
                    <a:pt x="3" y="26"/>
                  </a:cubicBezTo>
                  <a:cubicBezTo>
                    <a:pt x="5" y="30"/>
                    <a:pt x="10" y="32"/>
                    <a:pt x="16" y="33"/>
                  </a:cubicBezTo>
                  <a:cubicBezTo>
                    <a:pt x="15" y="34"/>
                    <a:pt x="14" y="35"/>
                    <a:pt x="14" y="37"/>
                  </a:cubicBezTo>
                  <a:cubicBezTo>
                    <a:pt x="13" y="38"/>
                    <a:pt x="10" y="38"/>
                    <a:pt x="8" y="37"/>
                  </a:cubicBezTo>
                  <a:cubicBezTo>
                    <a:pt x="6" y="36"/>
                    <a:pt x="5" y="31"/>
                    <a:pt x="1" y="32"/>
                  </a:cubicBezTo>
                  <a:cubicBezTo>
                    <a:pt x="0" y="32"/>
                    <a:pt x="0" y="33"/>
                    <a:pt x="1" y="33"/>
                  </a:cubicBezTo>
                  <a:cubicBezTo>
                    <a:pt x="2" y="34"/>
                    <a:pt x="3" y="35"/>
                    <a:pt x="4" y="37"/>
                  </a:cubicBezTo>
                  <a:cubicBezTo>
                    <a:pt x="5" y="39"/>
                    <a:pt x="6" y="42"/>
                    <a:pt x="11" y="42"/>
                  </a:cubicBezTo>
                  <a:cubicBezTo>
                    <a:pt x="13" y="42"/>
                    <a:pt x="14" y="41"/>
                    <a:pt x="14" y="41"/>
                  </a:cubicBezTo>
                  <a:cubicBezTo>
                    <a:pt x="14" y="41"/>
                    <a:pt x="14" y="45"/>
                    <a:pt x="14" y="47"/>
                  </a:cubicBezTo>
                  <a:cubicBezTo>
                    <a:pt x="14" y="49"/>
                    <a:pt x="11" y="49"/>
                    <a:pt x="11" y="50"/>
                  </a:cubicBezTo>
                  <a:cubicBezTo>
                    <a:pt x="11" y="51"/>
                    <a:pt x="12" y="51"/>
                    <a:pt x="13" y="51"/>
                  </a:cubicBezTo>
                  <a:cubicBezTo>
                    <a:pt x="14" y="51"/>
                    <a:pt x="17" y="50"/>
                    <a:pt x="17" y="48"/>
                  </a:cubicBezTo>
                  <a:cubicBezTo>
                    <a:pt x="17" y="46"/>
                    <a:pt x="17" y="41"/>
                    <a:pt x="17" y="40"/>
                  </a:cubicBezTo>
                  <a:cubicBezTo>
                    <a:pt x="17" y="38"/>
                    <a:pt x="18" y="37"/>
                    <a:pt x="18" y="37"/>
                  </a:cubicBezTo>
                  <a:cubicBezTo>
                    <a:pt x="18" y="37"/>
                    <a:pt x="18" y="48"/>
                    <a:pt x="18" y="49"/>
                  </a:cubicBezTo>
                  <a:cubicBezTo>
                    <a:pt x="17" y="51"/>
                    <a:pt x="16" y="51"/>
                    <a:pt x="16" y="52"/>
                  </a:cubicBezTo>
                  <a:cubicBezTo>
                    <a:pt x="16" y="53"/>
                    <a:pt x="20" y="52"/>
                    <a:pt x="21" y="49"/>
                  </a:cubicBezTo>
                  <a:cubicBezTo>
                    <a:pt x="22" y="48"/>
                    <a:pt x="21" y="37"/>
                    <a:pt x="21" y="37"/>
                  </a:cubicBezTo>
                  <a:cubicBezTo>
                    <a:pt x="22" y="37"/>
                    <a:pt x="22" y="37"/>
                    <a:pt x="22" y="37"/>
                  </a:cubicBezTo>
                  <a:cubicBezTo>
                    <a:pt x="22" y="37"/>
                    <a:pt x="22" y="42"/>
                    <a:pt x="22" y="44"/>
                  </a:cubicBezTo>
                  <a:cubicBezTo>
                    <a:pt x="22" y="46"/>
                    <a:pt x="22" y="49"/>
                    <a:pt x="23" y="51"/>
                  </a:cubicBezTo>
                  <a:cubicBezTo>
                    <a:pt x="24" y="51"/>
                    <a:pt x="27" y="53"/>
                    <a:pt x="27" y="52"/>
                  </a:cubicBezTo>
                  <a:cubicBezTo>
                    <a:pt x="27" y="51"/>
                    <a:pt x="26" y="50"/>
                    <a:pt x="26" y="48"/>
                  </a:cubicBezTo>
                  <a:cubicBezTo>
                    <a:pt x="26" y="38"/>
                    <a:pt x="26" y="38"/>
                    <a:pt x="26" y="38"/>
                  </a:cubicBezTo>
                  <a:cubicBezTo>
                    <a:pt x="27" y="38"/>
                    <a:pt x="27" y="41"/>
                    <a:pt x="27" y="41"/>
                  </a:cubicBezTo>
                  <a:cubicBezTo>
                    <a:pt x="27" y="47"/>
                    <a:pt x="27" y="47"/>
                    <a:pt x="27" y="47"/>
                  </a:cubicBezTo>
                  <a:cubicBezTo>
                    <a:pt x="27" y="47"/>
                    <a:pt x="26" y="49"/>
                    <a:pt x="29" y="50"/>
                  </a:cubicBezTo>
                  <a:cubicBezTo>
                    <a:pt x="30" y="51"/>
                    <a:pt x="32" y="51"/>
                    <a:pt x="32" y="50"/>
                  </a:cubicBezTo>
                  <a:cubicBezTo>
                    <a:pt x="32" y="50"/>
                    <a:pt x="30" y="49"/>
                    <a:pt x="30" y="47"/>
                  </a:cubicBezTo>
                  <a:cubicBezTo>
                    <a:pt x="30" y="46"/>
                    <a:pt x="30" y="45"/>
                    <a:pt x="30" y="41"/>
                  </a:cubicBezTo>
                  <a:cubicBezTo>
                    <a:pt x="30" y="36"/>
                    <a:pt x="29" y="34"/>
                    <a:pt x="27" y="33"/>
                  </a:cubicBezTo>
                  <a:cubicBezTo>
                    <a:pt x="34" y="32"/>
                    <a:pt x="38" y="31"/>
                    <a:pt x="40" y="26"/>
                  </a:cubicBezTo>
                  <a:cubicBezTo>
                    <a:pt x="40" y="26"/>
                    <a:pt x="41" y="24"/>
                    <a:pt x="41" y="24"/>
                  </a:cubicBezTo>
                  <a:cubicBezTo>
                    <a:pt x="41" y="22"/>
                    <a:pt x="41" y="20"/>
                    <a:pt x="41" y="18"/>
                  </a:cubicBezTo>
                  <a:cubicBezTo>
                    <a:pt x="41" y="12"/>
                    <a:pt x="38" y="9"/>
                    <a:pt x="38" y="8"/>
                  </a:cubicBezTo>
                  <a:cubicBezTo>
                    <a:pt x="39" y="4"/>
                    <a:pt x="38" y="1"/>
                    <a:pt x="37" y="1"/>
                  </a:cubicBezTo>
                  <a:cubicBezTo>
                    <a:pt x="35" y="0"/>
                    <a:pt x="31" y="2"/>
                    <a:pt x="29" y="4"/>
                  </a:cubicBezTo>
                  <a:cubicBezTo>
                    <a:pt x="25" y="3"/>
                    <a:pt x="17" y="3"/>
                    <a:pt x="14" y="4"/>
                  </a:cubicBezTo>
                  <a:cubicBezTo>
                    <a:pt x="8" y="0"/>
                    <a:pt x="5" y="1"/>
                    <a:pt x="5" y="1"/>
                  </a:cubicBezTo>
                  <a:cubicBezTo>
                    <a:pt x="5" y="1"/>
                    <a:pt x="3" y="4"/>
                    <a:pt x="5" y="9"/>
                  </a:cubicBezTo>
                  <a:cubicBezTo>
                    <a:pt x="3" y="11"/>
                    <a:pt x="2" y="13"/>
                    <a:pt x="2" y="17"/>
                  </a:cubicBezTo>
                  <a:cubicBezTo>
                    <a:pt x="2" y="20"/>
                    <a:pt x="2" y="22"/>
                    <a:pt x="2" y="24"/>
                  </a:cubicBezTo>
                </a:path>
              </a:pathLst>
            </a:custGeom>
            <a:solidFill>
              <a:srgbClr val="CCCCC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36" name="Freeform 342">
              <a:extLst>
                <a:ext uri="{FF2B5EF4-FFF2-40B4-BE49-F238E27FC236}">
                  <a16:creationId xmlns:a16="http://schemas.microsoft.com/office/drawing/2014/main" id="{EE2E23FF-8C6F-4D02-883B-985A205DF30A}"/>
                </a:ext>
              </a:extLst>
            </p:cNvPr>
            <p:cNvSpPr>
              <a:spLocks/>
            </p:cNvSpPr>
            <p:nvPr/>
          </p:nvSpPr>
          <p:spPr bwMode="auto">
            <a:xfrm>
              <a:off x="4647202" y="2585233"/>
              <a:ext cx="11134" cy="15905"/>
            </a:xfrm>
            <a:custGeom>
              <a:avLst/>
              <a:gdLst>
                <a:gd name="T0" fmla="*/ 0 w 6"/>
                <a:gd name="T1" fmla="*/ 1 h 8"/>
                <a:gd name="T2" fmla="*/ 1 w 6"/>
                <a:gd name="T3" fmla="*/ 2 h 8"/>
                <a:gd name="T4" fmla="*/ 5 w 6"/>
                <a:gd name="T5" fmla="*/ 7 h 8"/>
                <a:gd name="T6" fmla="*/ 5 w 6"/>
                <a:gd name="T7" fmla="*/ 8 h 8"/>
                <a:gd name="T8" fmla="*/ 6 w 6"/>
                <a:gd name="T9" fmla="*/ 8 h 8"/>
                <a:gd name="T10" fmla="*/ 6 w 6"/>
                <a:gd name="T11" fmla="*/ 7 h 8"/>
                <a:gd name="T12" fmla="*/ 0 w 6"/>
                <a:gd name="T13" fmla="*/ 1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0" y="1"/>
                  </a:moveTo>
                  <a:cubicBezTo>
                    <a:pt x="1" y="1"/>
                    <a:pt x="1" y="2"/>
                    <a:pt x="1" y="2"/>
                  </a:cubicBezTo>
                  <a:cubicBezTo>
                    <a:pt x="5" y="2"/>
                    <a:pt x="5" y="4"/>
                    <a:pt x="5" y="7"/>
                  </a:cubicBezTo>
                  <a:cubicBezTo>
                    <a:pt x="5" y="8"/>
                    <a:pt x="5" y="8"/>
                    <a:pt x="5" y="8"/>
                  </a:cubicBezTo>
                  <a:cubicBezTo>
                    <a:pt x="6" y="8"/>
                    <a:pt x="6" y="8"/>
                    <a:pt x="6" y="8"/>
                  </a:cubicBezTo>
                  <a:cubicBezTo>
                    <a:pt x="6" y="7"/>
                    <a:pt x="6" y="7"/>
                    <a:pt x="6" y="7"/>
                  </a:cubicBezTo>
                  <a:cubicBezTo>
                    <a:pt x="6" y="2"/>
                    <a:pt x="5" y="0"/>
                    <a:pt x="0" y="1"/>
                  </a:cubicBezTo>
                </a:path>
              </a:pathLst>
            </a:custGeom>
            <a:solidFill>
              <a:srgbClr val="CCCCC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37" name="Freeform 343">
              <a:extLst>
                <a:ext uri="{FF2B5EF4-FFF2-40B4-BE49-F238E27FC236}">
                  <a16:creationId xmlns:a16="http://schemas.microsoft.com/office/drawing/2014/main" id="{A25BE0DA-16A5-442F-8203-A85EE3593D40}"/>
                </a:ext>
              </a:extLst>
            </p:cNvPr>
            <p:cNvSpPr>
              <a:spLocks/>
            </p:cNvSpPr>
            <p:nvPr/>
          </p:nvSpPr>
          <p:spPr bwMode="auto">
            <a:xfrm>
              <a:off x="4612210" y="2575690"/>
              <a:ext cx="31810" cy="34992"/>
            </a:xfrm>
            <a:custGeom>
              <a:avLst/>
              <a:gdLst>
                <a:gd name="T0" fmla="*/ 2 w 17"/>
                <a:gd name="T1" fmla="*/ 18 h 18"/>
                <a:gd name="T2" fmla="*/ 2 w 17"/>
                <a:gd name="T3" fmla="*/ 10 h 18"/>
                <a:gd name="T4" fmla="*/ 9 w 17"/>
                <a:gd name="T5" fmla="*/ 3 h 18"/>
                <a:gd name="T6" fmla="*/ 16 w 17"/>
                <a:gd name="T7" fmla="*/ 9 h 18"/>
                <a:gd name="T8" fmla="*/ 16 w 17"/>
                <a:gd name="T9" fmla="*/ 15 h 18"/>
                <a:gd name="T10" fmla="*/ 17 w 17"/>
                <a:gd name="T11" fmla="*/ 15 h 18"/>
                <a:gd name="T12" fmla="*/ 17 w 17"/>
                <a:gd name="T13" fmla="*/ 9 h 18"/>
                <a:gd name="T14" fmla="*/ 8 w 17"/>
                <a:gd name="T15" fmla="*/ 2 h 18"/>
                <a:gd name="T16" fmla="*/ 0 w 17"/>
                <a:gd name="T17" fmla="*/ 10 h 18"/>
                <a:gd name="T18" fmla="*/ 0 w 17"/>
                <a:gd name="T19" fmla="*/ 18 h 18"/>
                <a:gd name="T20" fmla="*/ 2 w 17"/>
                <a:gd name="T21"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 h="18">
                  <a:moveTo>
                    <a:pt x="2" y="18"/>
                  </a:moveTo>
                  <a:cubicBezTo>
                    <a:pt x="2" y="10"/>
                    <a:pt x="2" y="10"/>
                    <a:pt x="2" y="10"/>
                  </a:cubicBezTo>
                  <a:cubicBezTo>
                    <a:pt x="2" y="6"/>
                    <a:pt x="4" y="4"/>
                    <a:pt x="9" y="3"/>
                  </a:cubicBezTo>
                  <a:cubicBezTo>
                    <a:pt x="15" y="2"/>
                    <a:pt x="16" y="6"/>
                    <a:pt x="16" y="9"/>
                  </a:cubicBezTo>
                  <a:cubicBezTo>
                    <a:pt x="16" y="15"/>
                    <a:pt x="16" y="15"/>
                    <a:pt x="16" y="15"/>
                  </a:cubicBezTo>
                  <a:cubicBezTo>
                    <a:pt x="17" y="15"/>
                    <a:pt x="17" y="15"/>
                    <a:pt x="17" y="15"/>
                  </a:cubicBezTo>
                  <a:cubicBezTo>
                    <a:pt x="17" y="9"/>
                    <a:pt x="17" y="9"/>
                    <a:pt x="17" y="9"/>
                  </a:cubicBezTo>
                  <a:cubicBezTo>
                    <a:pt x="17" y="4"/>
                    <a:pt x="16" y="0"/>
                    <a:pt x="8" y="2"/>
                  </a:cubicBezTo>
                  <a:cubicBezTo>
                    <a:pt x="4" y="3"/>
                    <a:pt x="0" y="4"/>
                    <a:pt x="0" y="10"/>
                  </a:cubicBezTo>
                  <a:cubicBezTo>
                    <a:pt x="0" y="18"/>
                    <a:pt x="0" y="18"/>
                    <a:pt x="0" y="18"/>
                  </a:cubicBezTo>
                  <a:lnTo>
                    <a:pt x="2" y="18"/>
                  </a:lnTo>
                  <a:close/>
                </a:path>
              </a:pathLst>
            </a:custGeom>
            <a:solidFill>
              <a:srgbClr val="CCCCC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38" name="Freeform 344">
              <a:extLst>
                <a:ext uri="{FF2B5EF4-FFF2-40B4-BE49-F238E27FC236}">
                  <a16:creationId xmlns:a16="http://schemas.microsoft.com/office/drawing/2014/main" id="{DF85267A-F853-42F6-890F-3F3DAA6AD532}"/>
                </a:ext>
              </a:extLst>
            </p:cNvPr>
            <p:cNvSpPr>
              <a:spLocks noEditPoints="1"/>
            </p:cNvSpPr>
            <p:nvPr/>
          </p:nvSpPr>
          <p:spPr bwMode="auto">
            <a:xfrm>
              <a:off x="4588352" y="2602729"/>
              <a:ext cx="103384" cy="95431"/>
            </a:xfrm>
            <a:custGeom>
              <a:avLst/>
              <a:gdLst>
                <a:gd name="T0" fmla="*/ 54 w 65"/>
                <a:gd name="T1" fmla="*/ 0 h 60"/>
                <a:gd name="T2" fmla="*/ 0 w 65"/>
                <a:gd name="T3" fmla="*/ 10 h 60"/>
                <a:gd name="T4" fmla="*/ 0 w 65"/>
                <a:gd name="T5" fmla="*/ 49 h 60"/>
                <a:gd name="T6" fmla="*/ 54 w 65"/>
                <a:gd name="T7" fmla="*/ 60 h 60"/>
                <a:gd name="T8" fmla="*/ 65 w 65"/>
                <a:gd name="T9" fmla="*/ 57 h 60"/>
                <a:gd name="T10" fmla="*/ 65 w 65"/>
                <a:gd name="T11" fmla="*/ 4 h 60"/>
                <a:gd name="T12" fmla="*/ 54 w 65"/>
                <a:gd name="T13" fmla="*/ 0 h 60"/>
                <a:gd name="T14" fmla="*/ 23 w 65"/>
                <a:gd name="T15" fmla="*/ 41 h 60"/>
                <a:gd name="T16" fmla="*/ 12 w 65"/>
                <a:gd name="T17" fmla="*/ 40 h 60"/>
                <a:gd name="T18" fmla="*/ 12 w 65"/>
                <a:gd name="T19" fmla="*/ 30 h 60"/>
                <a:gd name="T20" fmla="*/ 23 w 65"/>
                <a:gd name="T21" fmla="*/ 30 h 60"/>
                <a:gd name="T22" fmla="*/ 23 w 65"/>
                <a:gd name="T23" fmla="*/ 41 h 60"/>
                <a:gd name="T24" fmla="*/ 23 w 65"/>
                <a:gd name="T25" fmla="*/ 28 h 60"/>
                <a:gd name="T26" fmla="*/ 12 w 65"/>
                <a:gd name="T27" fmla="*/ 28 h 60"/>
                <a:gd name="T28" fmla="*/ 12 w 65"/>
                <a:gd name="T29" fmla="*/ 19 h 60"/>
                <a:gd name="T30" fmla="*/ 23 w 65"/>
                <a:gd name="T31" fmla="*/ 17 h 60"/>
                <a:gd name="T32" fmla="*/ 23 w 65"/>
                <a:gd name="T33" fmla="*/ 28 h 60"/>
                <a:gd name="T34" fmla="*/ 40 w 65"/>
                <a:gd name="T35" fmla="*/ 43 h 60"/>
                <a:gd name="T36" fmla="*/ 26 w 65"/>
                <a:gd name="T37" fmla="*/ 41 h 60"/>
                <a:gd name="T38" fmla="*/ 26 w 65"/>
                <a:gd name="T39" fmla="*/ 30 h 60"/>
                <a:gd name="T40" fmla="*/ 40 w 65"/>
                <a:gd name="T41" fmla="*/ 30 h 60"/>
                <a:gd name="T42" fmla="*/ 40 w 65"/>
                <a:gd name="T43" fmla="*/ 43 h 60"/>
                <a:gd name="T44" fmla="*/ 40 w 65"/>
                <a:gd name="T45" fmla="*/ 28 h 60"/>
                <a:gd name="T46" fmla="*/ 26 w 65"/>
                <a:gd name="T47" fmla="*/ 28 h 60"/>
                <a:gd name="T48" fmla="*/ 26 w 65"/>
                <a:gd name="T49" fmla="*/ 17 h 60"/>
                <a:gd name="T50" fmla="*/ 40 w 65"/>
                <a:gd name="T51" fmla="*/ 15 h 60"/>
                <a:gd name="T52" fmla="*/ 40 w 65"/>
                <a:gd name="T53" fmla="*/ 2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5" h="60">
                  <a:moveTo>
                    <a:pt x="54" y="0"/>
                  </a:moveTo>
                  <a:lnTo>
                    <a:pt x="0" y="10"/>
                  </a:lnTo>
                  <a:lnTo>
                    <a:pt x="0" y="49"/>
                  </a:lnTo>
                  <a:lnTo>
                    <a:pt x="54" y="60"/>
                  </a:lnTo>
                  <a:lnTo>
                    <a:pt x="65" y="57"/>
                  </a:lnTo>
                  <a:lnTo>
                    <a:pt x="65" y="4"/>
                  </a:lnTo>
                  <a:lnTo>
                    <a:pt x="54" y="0"/>
                  </a:lnTo>
                  <a:close/>
                  <a:moveTo>
                    <a:pt x="23" y="41"/>
                  </a:moveTo>
                  <a:lnTo>
                    <a:pt x="12" y="40"/>
                  </a:lnTo>
                  <a:lnTo>
                    <a:pt x="12" y="30"/>
                  </a:lnTo>
                  <a:lnTo>
                    <a:pt x="23" y="30"/>
                  </a:lnTo>
                  <a:lnTo>
                    <a:pt x="23" y="41"/>
                  </a:lnTo>
                  <a:close/>
                  <a:moveTo>
                    <a:pt x="23" y="28"/>
                  </a:moveTo>
                  <a:lnTo>
                    <a:pt x="12" y="28"/>
                  </a:lnTo>
                  <a:lnTo>
                    <a:pt x="12" y="19"/>
                  </a:lnTo>
                  <a:lnTo>
                    <a:pt x="23" y="17"/>
                  </a:lnTo>
                  <a:lnTo>
                    <a:pt x="23" y="28"/>
                  </a:lnTo>
                  <a:close/>
                  <a:moveTo>
                    <a:pt x="40" y="43"/>
                  </a:moveTo>
                  <a:lnTo>
                    <a:pt x="26" y="41"/>
                  </a:lnTo>
                  <a:lnTo>
                    <a:pt x="26" y="30"/>
                  </a:lnTo>
                  <a:lnTo>
                    <a:pt x="40" y="30"/>
                  </a:lnTo>
                  <a:lnTo>
                    <a:pt x="40" y="43"/>
                  </a:lnTo>
                  <a:close/>
                  <a:moveTo>
                    <a:pt x="40" y="28"/>
                  </a:moveTo>
                  <a:lnTo>
                    <a:pt x="26" y="28"/>
                  </a:lnTo>
                  <a:lnTo>
                    <a:pt x="26" y="17"/>
                  </a:lnTo>
                  <a:lnTo>
                    <a:pt x="40" y="15"/>
                  </a:lnTo>
                  <a:lnTo>
                    <a:pt x="40" y="28"/>
                  </a:lnTo>
                  <a:close/>
                </a:path>
              </a:pathLst>
            </a:custGeom>
            <a:solidFill>
              <a:srgbClr val="CCCCC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39" name="Freeform 345">
              <a:extLst>
                <a:ext uri="{FF2B5EF4-FFF2-40B4-BE49-F238E27FC236}">
                  <a16:creationId xmlns:a16="http://schemas.microsoft.com/office/drawing/2014/main" id="{5BE2CF4F-586C-4840-8532-2A80DDBB63F9}"/>
                </a:ext>
              </a:extLst>
            </p:cNvPr>
            <p:cNvSpPr>
              <a:spLocks/>
            </p:cNvSpPr>
            <p:nvPr/>
          </p:nvSpPr>
          <p:spPr bwMode="auto">
            <a:xfrm>
              <a:off x="5178436" y="4776973"/>
              <a:ext cx="7953" cy="12724"/>
            </a:xfrm>
            <a:custGeom>
              <a:avLst/>
              <a:gdLst>
                <a:gd name="T0" fmla="*/ 0 w 4"/>
                <a:gd name="T1" fmla="*/ 1 h 6"/>
                <a:gd name="T2" fmla="*/ 1 w 4"/>
                <a:gd name="T3" fmla="*/ 2 h 6"/>
                <a:gd name="T4" fmla="*/ 3 w 4"/>
                <a:gd name="T5" fmla="*/ 5 h 6"/>
                <a:gd name="T6" fmla="*/ 3 w 4"/>
                <a:gd name="T7" fmla="*/ 6 h 6"/>
                <a:gd name="T8" fmla="*/ 4 w 4"/>
                <a:gd name="T9" fmla="*/ 6 h 6"/>
                <a:gd name="T10" fmla="*/ 4 w 4"/>
                <a:gd name="T11" fmla="*/ 5 h 6"/>
                <a:gd name="T12" fmla="*/ 0 w 4"/>
                <a:gd name="T13" fmla="*/ 1 h 6"/>
              </a:gdLst>
              <a:ahLst/>
              <a:cxnLst>
                <a:cxn ang="0">
                  <a:pos x="T0" y="T1"/>
                </a:cxn>
                <a:cxn ang="0">
                  <a:pos x="T2" y="T3"/>
                </a:cxn>
                <a:cxn ang="0">
                  <a:pos x="T4" y="T5"/>
                </a:cxn>
                <a:cxn ang="0">
                  <a:pos x="T6" y="T7"/>
                </a:cxn>
                <a:cxn ang="0">
                  <a:pos x="T8" y="T9"/>
                </a:cxn>
                <a:cxn ang="0">
                  <a:pos x="T10" y="T11"/>
                </a:cxn>
                <a:cxn ang="0">
                  <a:pos x="T12" y="T13"/>
                </a:cxn>
              </a:cxnLst>
              <a:rect l="0" t="0" r="r" b="b"/>
              <a:pathLst>
                <a:path w="4" h="6">
                  <a:moveTo>
                    <a:pt x="0" y="1"/>
                  </a:moveTo>
                  <a:cubicBezTo>
                    <a:pt x="0" y="1"/>
                    <a:pt x="1" y="2"/>
                    <a:pt x="1" y="2"/>
                  </a:cubicBezTo>
                  <a:cubicBezTo>
                    <a:pt x="3" y="2"/>
                    <a:pt x="3" y="3"/>
                    <a:pt x="3" y="5"/>
                  </a:cubicBezTo>
                  <a:cubicBezTo>
                    <a:pt x="3" y="6"/>
                    <a:pt x="3" y="6"/>
                    <a:pt x="3" y="6"/>
                  </a:cubicBezTo>
                  <a:cubicBezTo>
                    <a:pt x="4" y="6"/>
                    <a:pt x="4" y="6"/>
                    <a:pt x="4" y="6"/>
                  </a:cubicBezTo>
                  <a:cubicBezTo>
                    <a:pt x="4" y="5"/>
                    <a:pt x="4" y="5"/>
                    <a:pt x="4" y="5"/>
                  </a:cubicBezTo>
                  <a:cubicBezTo>
                    <a:pt x="4" y="1"/>
                    <a:pt x="4" y="0"/>
                    <a:pt x="0" y="1"/>
                  </a:cubicBezTo>
                </a:path>
              </a:pathLst>
            </a:custGeom>
            <a:solidFill>
              <a:srgbClr val="CCCCC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40" name="Freeform 346">
              <a:extLst>
                <a:ext uri="{FF2B5EF4-FFF2-40B4-BE49-F238E27FC236}">
                  <a16:creationId xmlns:a16="http://schemas.microsoft.com/office/drawing/2014/main" id="{7527F59F-EF22-4615-9ECF-D88F5BFC56BA}"/>
                </a:ext>
              </a:extLst>
            </p:cNvPr>
            <p:cNvSpPr>
              <a:spLocks/>
            </p:cNvSpPr>
            <p:nvPr/>
          </p:nvSpPr>
          <p:spPr bwMode="auto">
            <a:xfrm>
              <a:off x="5157759" y="4772201"/>
              <a:ext cx="20678" cy="22267"/>
            </a:xfrm>
            <a:custGeom>
              <a:avLst/>
              <a:gdLst>
                <a:gd name="T0" fmla="*/ 1 w 11"/>
                <a:gd name="T1" fmla="*/ 11 h 12"/>
                <a:gd name="T2" fmla="*/ 1 w 11"/>
                <a:gd name="T3" fmla="*/ 7 h 12"/>
                <a:gd name="T4" fmla="*/ 5 w 11"/>
                <a:gd name="T5" fmla="*/ 2 h 12"/>
                <a:gd name="T6" fmla="*/ 10 w 11"/>
                <a:gd name="T7" fmla="*/ 6 h 12"/>
                <a:gd name="T8" fmla="*/ 10 w 11"/>
                <a:gd name="T9" fmla="*/ 10 h 12"/>
                <a:gd name="T10" fmla="*/ 11 w 11"/>
                <a:gd name="T11" fmla="*/ 9 h 12"/>
                <a:gd name="T12" fmla="*/ 11 w 11"/>
                <a:gd name="T13" fmla="*/ 6 h 12"/>
                <a:gd name="T14" fmla="*/ 5 w 11"/>
                <a:gd name="T15" fmla="*/ 1 h 12"/>
                <a:gd name="T16" fmla="*/ 0 w 11"/>
                <a:gd name="T17" fmla="*/ 7 h 12"/>
                <a:gd name="T18" fmla="*/ 0 w 11"/>
                <a:gd name="T19" fmla="*/ 12 h 12"/>
                <a:gd name="T20" fmla="*/ 1 w 11"/>
                <a:gd name="T21" fmla="*/ 11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 h="12">
                  <a:moveTo>
                    <a:pt x="1" y="11"/>
                  </a:moveTo>
                  <a:cubicBezTo>
                    <a:pt x="1" y="7"/>
                    <a:pt x="1" y="7"/>
                    <a:pt x="1" y="7"/>
                  </a:cubicBezTo>
                  <a:cubicBezTo>
                    <a:pt x="1" y="4"/>
                    <a:pt x="2" y="3"/>
                    <a:pt x="5" y="2"/>
                  </a:cubicBezTo>
                  <a:cubicBezTo>
                    <a:pt x="9" y="1"/>
                    <a:pt x="10" y="4"/>
                    <a:pt x="10" y="6"/>
                  </a:cubicBezTo>
                  <a:cubicBezTo>
                    <a:pt x="10" y="10"/>
                    <a:pt x="10" y="10"/>
                    <a:pt x="10" y="10"/>
                  </a:cubicBezTo>
                  <a:cubicBezTo>
                    <a:pt x="11" y="9"/>
                    <a:pt x="11" y="9"/>
                    <a:pt x="11" y="9"/>
                  </a:cubicBezTo>
                  <a:cubicBezTo>
                    <a:pt x="11" y="6"/>
                    <a:pt x="11" y="6"/>
                    <a:pt x="11" y="6"/>
                  </a:cubicBezTo>
                  <a:cubicBezTo>
                    <a:pt x="11" y="3"/>
                    <a:pt x="10" y="0"/>
                    <a:pt x="5" y="1"/>
                  </a:cubicBezTo>
                  <a:cubicBezTo>
                    <a:pt x="2" y="2"/>
                    <a:pt x="0" y="2"/>
                    <a:pt x="0" y="7"/>
                  </a:cubicBezTo>
                  <a:cubicBezTo>
                    <a:pt x="0" y="12"/>
                    <a:pt x="0" y="12"/>
                    <a:pt x="0" y="12"/>
                  </a:cubicBezTo>
                  <a:lnTo>
                    <a:pt x="1" y="11"/>
                  </a:lnTo>
                  <a:close/>
                </a:path>
              </a:pathLst>
            </a:custGeom>
            <a:solidFill>
              <a:srgbClr val="CCCCC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41" name="Freeform 347">
              <a:extLst>
                <a:ext uri="{FF2B5EF4-FFF2-40B4-BE49-F238E27FC236}">
                  <a16:creationId xmlns:a16="http://schemas.microsoft.com/office/drawing/2014/main" id="{F20C38CD-D921-4B21-93BD-EBD63CA9A7A6}"/>
                </a:ext>
              </a:extLst>
            </p:cNvPr>
            <p:cNvSpPr>
              <a:spLocks noEditPoints="1"/>
            </p:cNvSpPr>
            <p:nvPr/>
          </p:nvSpPr>
          <p:spPr bwMode="auto">
            <a:xfrm>
              <a:off x="5141854" y="4789697"/>
              <a:ext cx="66802" cy="60440"/>
            </a:xfrm>
            <a:custGeom>
              <a:avLst/>
              <a:gdLst>
                <a:gd name="T0" fmla="*/ 34 w 42"/>
                <a:gd name="T1" fmla="*/ 0 h 38"/>
                <a:gd name="T2" fmla="*/ 0 w 42"/>
                <a:gd name="T3" fmla="*/ 6 h 38"/>
                <a:gd name="T4" fmla="*/ 0 w 42"/>
                <a:gd name="T5" fmla="*/ 32 h 38"/>
                <a:gd name="T6" fmla="*/ 34 w 42"/>
                <a:gd name="T7" fmla="*/ 38 h 38"/>
                <a:gd name="T8" fmla="*/ 42 w 42"/>
                <a:gd name="T9" fmla="*/ 35 h 38"/>
                <a:gd name="T10" fmla="*/ 42 w 42"/>
                <a:gd name="T11" fmla="*/ 2 h 38"/>
                <a:gd name="T12" fmla="*/ 34 w 42"/>
                <a:gd name="T13" fmla="*/ 0 h 38"/>
                <a:gd name="T14" fmla="*/ 15 w 42"/>
                <a:gd name="T15" fmla="*/ 25 h 38"/>
                <a:gd name="T16" fmla="*/ 7 w 42"/>
                <a:gd name="T17" fmla="*/ 24 h 38"/>
                <a:gd name="T18" fmla="*/ 7 w 42"/>
                <a:gd name="T19" fmla="*/ 18 h 38"/>
                <a:gd name="T20" fmla="*/ 15 w 42"/>
                <a:gd name="T21" fmla="*/ 18 h 38"/>
                <a:gd name="T22" fmla="*/ 15 w 42"/>
                <a:gd name="T23" fmla="*/ 25 h 38"/>
                <a:gd name="T24" fmla="*/ 15 w 42"/>
                <a:gd name="T25" fmla="*/ 18 h 38"/>
                <a:gd name="T26" fmla="*/ 7 w 42"/>
                <a:gd name="T27" fmla="*/ 18 h 38"/>
                <a:gd name="T28" fmla="*/ 7 w 42"/>
                <a:gd name="T29" fmla="*/ 12 h 38"/>
                <a:gd name="T30" fmla="*/ 15 w 42"/>
                <a:gd name="T31" fmla="*/ 11 h 38"/>
                <a:gd name="T32" fmla="*/ 15 w 42"/>
                <a:gd name="T33" fmla="*/ 18 h 38"/>
                <a:gd name="T34" fmla="*/ 26 w 42"/>
                <a:gd name="T35" fmla="*/ 28 h 38"/>
                <a:gd name="T36" fmla="*/ 16 w 42"/>
                <a:gd name="T37" fmla="*/ 25 h 38"/>
                <a:gd name="T38" fmla="*/ 16 w 42"/>
                <a:gd name="T39" fmla="*/ 18 h 38"/>
                <a:gd name="T40" fmla="*/ 26 w 42"/>
                <a:gd name="T41" fmla="*/ 18 h 38"/>
                <a:gd name="T42" fmla="*/ 26 w 42"/>
                <a:gd name="T43" fmla="*/ 28 h 38"/>
                <a:gd name="T44" fmla="*/ 26 w 42"/>
                <a:gd name="T45" fmla="*/ 18 h 38"/>
                <a:gd name="T46" fmla="*/ 16 w 42"/>
                <a:gd name="T47" fmla="*/ 18 h 38"/>
                <a:gd name="T48" fmla="*/ 16 w 42"/>
                <a:gd name="T49" fmla="*/ 11 h 38"/>
                <a:gd name="T50" fmla="*/ 26 w 42"/>
                <a:gd name="T51" fmla="*/ 9 h 38"/>
                <a:gd name="T52" fmla="*/ 26 w 42"/>
                <a:gd name="T53" fmla="*/ 1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2" h="38">
                  <a:moveTo>
                    <a:pt x="34" y="0"/>
                  </a:moveTo>
                  <a:lnTo>
                    <a:pt x="0" y="6"/>
                  </a:lnTo>
                  <a:lnTo>
                    <a:pt x="0" y="32"/>
                  </a:lnTo>
                  <a:lnTo>
                    <a:pt x="34" y="38"/>
                  </a:lnTo>
                  <a:lnTo>
                    <a:pt x="42" y="35"/>
                  </a:lnTo>
                  <a:lnTo>
                    <a:pt x="42" y="2"/>
                  </a:lnTo>
                  <a:lnTo>
                    <a:pt x="34" y="0"/>
                  </a:lnTo>
                  <a:close/>
                  <a:moveTo>
                    <a:pt x="15" y="25"/>
                  </a:moveTo>
                  <a:lnTo>
                    <a:pt x="7" y="24"/>
                  </a:lnTo>
                  <a:lnTo>
                    <a:pt x="7" y="18"/>
                  </a:lnTo>
                  <a:lnTo>
                    <a:pt x="15" y="18"/>
                  </a:lnTo>
                  <a:lnTo>
                    <a:pt x="15" y="25"/>
                  </a:lnTo>
                  <a:close/>
                  <a:moveTo>
                    <a:pt x="15" y="18"/>
                  </a:moveTo>
                  <a:lnTo>
                    <a:pt x="7" y="18"/>
                  </a:lnTo>
                  <a:lnTo>
                    <a:pt x="7" y="12"/>
                  </a:lnTo>
                  <a:lnTo>
                    <a:pt x="15" y="11"/>
                  </a:lnTo>
                  <a:lnTo>
                    <a:pt x="15" y="18"/>
                  </a:lnTo>
                  <a:close/>
                  <a:moveTo>
                    <a:pt x="26" y="28"/>
                  </a:moveTo>
                  <a:lnTo>
                    <a:pt x="16" y="25"/>
                  </a:lnTo>
                  <a:lnTo>
                    <a:pt x="16" y="18"/>
                  </a:lnTo>
                  <a:lnTo>
                    <a:pt x="26" y="18"/>
                  </a:lnTo>
                  <a:lnTo>
                    <a:pt x="26" y="28"/>
                  </a:lnTo>
                  <a:close/>
                  <a:moveTo>
                    <a:pt x="26" y="18"/>
                  </a:moveTo>
                  <a:lnTo>
                    <a:pt x="16" y="18"/>
                  </a:lnTo>
                  <a:lnTo>
                    <a:pt x="16" y="11"/>
                  </a:lnTo>
                  <a:lnTo>
                    <a:pt x="26" y="9"/>
                  </a:lnTo>
                  <a:lnTo>
                    <a:pt x="26" y="18"/>
                  </a:lnTo>
                  <a:close/>
                </a:path>
              </a:pathLst>
            </a:custGeom>
            <a:solidFill>
              <a:srgbClr val="CCCCC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42" name="Freeform 348">
              <a:extLst>
                <a:ext uri="{FF2B5EF4-FFF2-40B4-BE49-F238E27FC236}">
                  <a16:creationId xmlns:a16="http://schemas.microsoft.com/office/drawing/2014/main" id="{E70C85F9-E8F7-4CC6-839D-A7301F9DE222}"/>
                </a:ext>
              </a:extLst>
            </p:cNvPr>
            <p:cNvSpPr>
              <a:spLocks/>
            </p:cNvSpPr>
            <p:nvPr/>
          </p:nvSpPr>
          <p:spPr bwMode="auto">
            <a:xfrm>
              <a:off x="6438129" y="5438630"/>
              <a:ext cx="7953" cy="9543"/>
            </a:xfrm>
            <a:custGeom>
              <a:avLst/>
              <a:gdLst>
                <a:gd name="T0" fmla="*/ 0 w 4"/>
                <a:gd name="T1" fmla="*/ 1 h 5"/>
                <a:gd name="T2" fmla="*/ 0 w 4"/>
                <a:gd name="T3" fmla="*/ 2 h 5"/>
                <a:gd name="T4" fmla="*/ 3 w 4"/>
                <a:gd name="T5" fmla="*/ 5 h 5"/>
                <a:gd name="T6" fmla="*/ 3 w 4"/>
                <a:gd name="T7" fmla="*/ 5 h 5"/>
                <a:gd name="T8" fmla="*/ 4 w 4"/>
                <a:gd name="T9" fmla="*/ 5 h 5"/>
                <a:gd name="T10" fmla="*/ 4 w 4"/>
                <a:gd name="T11" fmla="*/ 5 h 5"/>
                <a:gd name="T12" fmla="*/ 0 w 4"/>
                <a:gd name="T13" fmla="*/ 1 h 5"/>
              </a:gdLst>
              <a:ahLst/>
              <a:cxnLst>
                <a:cxn ang="0">
                  <a:pos x="T0" y="T1"/>
                </a:cxn>
                <a:cxn ang="0">
                  <a:pos x="T2" y="T3"/>
                </a:cxn>
                <a:cxn ang="0">
                  <a:pos x="T4" y="T5"/>
                </a:cxn>
                <a:cxn ang="0">
                  <a:pos x="T6" y="T7"/>
                </a:cxn>
                <a:cxn ang="0">
                  <a:pos x="T8" y="T9"/>
                </a:cxn>
                <a:cxn ang="0">
                  <a:pos x="T10" y="T11"/>
                </a:cxn>
                <a:cxn ang="0">
                  <a:pos x="T12" y="T13"/>
                </a:cxn>
              </a:cxnLst>
              <a:rect l="0" t="0" r="r" b="b"/>
              <a:pathLst>
                <a:path w="4" h="5">
                  <a:moveTo>
                    <a:pt x="0" y="1"/>
                  </a:moveTo>
                  <a:cubicBezTo>
                    <a:pt x="0" y="1"/>
                    <a:pt x="0" y="1"/>
                    <a:pt x="0" y="2"/>
                  </a:cubicBezTo>
                  <a:cubicBezTo>
                    <a:pt x="3" y="1"/>
                    <a:pt x="3" y="2"/>
                    <a:pt x="3" y="5"/>
                  </a:cubicBezTo>
                  <a:cubicBezTo>
                    <a:pt x="3" y="5"/>
                    <a:pt x="3" y="5"/>
                    <a:pt x="3" y="5"/>
                  </a:cubicBezTo>
                  <a:cubicBezTo>
                    <a:pt x="4" y="5"/>
                    <a:pt x="4" y="5"/>
                    <a:pt x="4" y="5"/>
                  </a:cubicBezTo>
                  <a:cubicBezTo>
                    <a:pt x="4" y="5"/>
                    <a:pt x="4" y="5"/>
                    <a:pt x="4" y="5"/>
                  </a:cubicBezTo>
                  <a:cubicBezTo>
                    <a:pt x="4" y="1"/>
                    <a:pt x="3" y="0"/>
                    <a:pt x="0" y="1"/>
                  </a:cubicBezTo>
                </a:path>
              </a:pathLst>
            </a:custGeom>
            <a:solidFill>
              <a:srgbClr val="CCCCC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43" name="Freeform 349">
              <a:extLst>
                <a:ext uri="{FF2B5EF4-FFF2-40B4-BE49-F238E27FC236}">
                  <a16:creationId xmlns:a16="http://schemas.microsoft.com/office/drawing/2014/main" id="{D0F3DE58-21EC-4527-B1BF-64D0D419DC8B}"/>
                </a:ext>
              </a:extLst>
            </p:cNvPr>
            <p:cNvSpPr>
              <a:spLocks/>
            </p:cNvSpPr>
            <p:nvPr/>
          </p:nvSpPr>
          <p:spPr bwMode="auto">
            <a:xfrm>
              <a:off x="6414271" y="5432268"/>
              <a:ext cx="22267" cy="20678"/>
            </a:xfrm>
            <a:custGeom>
              <a:avLst/>
              <a:gdLst>
                <a:gd name="T0" fmla="*/ 1 w 11"/>
                <a:gd name="T1" fmla="*/ 11 h 11"/>
                <a:gd name="T2" fmla="*/ 1 w 11"/>
                <a:gd name="T3" fmla="*/ 6 h 11"/>
                <a:gd name="T4" fmla="*/ 5 w 11"/>
                <a:gd name="T5" fmla="*/ 2 h 11"/>
                <a:gd name="T6" fmla="*/ 10 w 11"/>
                <a:gd name="T7" fmla="*/ 5 h 11"/>
                <a:gd name="T8" fmla="*/ 10 w 11"/>
                <a:gd name="T9" fmla="*/ 9 h 11"/>
                <a:gd name="T10" fmla="*/ 11 w 11"/>
                <a:gd name="T11" fmla="*/ 9 h 11"/>
                <a:gd name="T12" fmla="*/ 11 w 11"/>
                <a:gd name="T13" fmla="*/ 5 h 11"/>
                <a:gd name="T14" fmla="*/ 5 w 11"/>
                <a:gd name="T15" fmla="*/ 1 h 11"/>
                <a:gd name="T16" fmla="*/ 0 w 11"/>
                <a:gd name="T17" fmla="*/ 6 h 11"/>
                <a:gd name="T18" fmla="*/ 0 w 11"/>
                <a:gd name="T19" fmla="*/ 11 h 11"/>
                <a:gd name="T20" fmla="*/ 1 w 11"/>
                <a:gd name="T21"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 h="11">
                  <a:moveTo>
                    <a:pt x="1" y="11"/>
                  </a:moveTo>
                  <a:cubicBezTo>
                    <a:pt x="1" y="6"/>
                    <a:pt x="1" y="6"/>
                    <a:pt x="1" y="6"/>
                  </a:cubicBezTo>
                  <a:cubicBezTo>
                    <a:pt x="1" y="4"/>
                    <a:pt x="3" y="3"/>
                    <a:pt x="5" y="2"/>
                  </a:cubicBezTo>
                  <a:cubicBezTo>
                    <a:pt x="10" y="1"/>
                    <a:pt x="10" y="4"/>
                    <a:pt x="10" y="5"/>
                  </a:cubicBezTo>
                  <a:cubicBezTo>
                    <a:pt x="10" y="9"/>
                    <a:pt x="10" y="9"/>
                    <a:pt x="10" y="9"/>
                  </a:cubicBezTo>
                  <a:cubicBezTo>
                    <a:pt x="11" y="9"/>
                    <a:pt x="11" y="9"/>
                    <a:pt x="11" y="9"/>
                  </a:cubicBezTo>
                  <a:cubicBezTo>
                    <a:pt x="11" y="5"/>
                    <a:pt x="11" y="5"/>
                    <a:pt x="11" y="5"/>
                  </a:cubicBezTo>
                  <a:cubicBezTo>
                    <a:pt x="11" y="2"/>
                    <a:pt x="10" y="0"/>
                    <a:pt x="5" y="1"/>
                  </a:cubicBezTo>
                  <a:cubicBezTo>
                    <a:pt x="3" y="1"/>
                    <a:pt x="0" y="2"/>
                    <a:pt x="0" y="6"/>
                  </a:cubicBezTo>
                  <a:cubicBezTo>
                    <a:pt x="0" y="11"/>
                    <a:pt x="0" y="11"/>
                    <a:pt x="0" y="11"/>
                  </a:cubicBezTo>
                  <a:lnTo>
                    <a:pt x="1" y="11"/>
                  </a:lnTo>
                  <a:close/>
                </a:path>
              </a:pathLst>
            </a:custGeom>
            <a:solidFill>
              <a:srgbClr val="CCCCC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44" name="Freeform 350">
              <a:extLst>
                <a:ext uri="{FF2B5EF4-FFF2-40B4-BE49-F238E27FC236}">
                  <a16:creationId xmlns:a16="http://schemas.microsoft.com/office/drawing/2014/main" id="{6503EB5F-D0AA-4E27-B721-0BBB5FFBAB8A}"/>
                </a:ext>
              </a:extLst>
            </p:cNvPr>
            <p:cNvSpPr>
              <a:spLocks noEditPoints="1"/>
            </p:cNvSpPr>
            <p:nvPr/>
          </p:nvSpPr>
          <p:spPr bwMode="auto">
            <a:xfrm>
              <a:off x="6399957" y="5448173"/>
              <a:ext cx="65212" cy="62031"/>
            </a:xfrm>
            <a:custGeom>
              <a:avLst/>
              <a:gdLst>
                <a:gd name="T0" fmla="*/ 35 w 41"/>
                <a:gd name="T1" fmla="*/ 0 h 39"/>
                <a:gd name="T2" fmla="*/ 0 w 41"/>
                <a:gd name="T3" fmla="*/ 7 h 39"/>
                <a:gd name="T4" fmla="*/ 0 w 41"/>
                <a:gd name="T5" fmla="*/ 32 h 39"/>
                <a:gd name="T6" fmla="*/ 35 w 41"/>
                <a:gd name="T7" fmla="*/ 39 h 39"/>
                <a:gd name="T8" fmla="*/ 41 w 41"/>
                <a:gd name="T9" fmla="*/ 36 h 39"/>
                <a:gd name="T10" fmla="*/ 41 w 41"/>
                <a:gd name="T11" fmla="*/ 2 h 39"/>
                <a:gd name="T12" fmla="*/ 35 w 41"/>
                <a:gd name="T13" fmla="*/ 0 h 39"/>
                <a:gd name="T14" fmla="*/ 16 w 41"/>
                <a:gd name="T15" fmla="*/ 27 h 39"/>
                <a:gd name="T16" fmla="*/ 8 w 41"/>
                <a:gd name="T17" fmla="*/ 25 h 39"/>
                <a:gd name="T18" fmla="*/ 8 w 41"/>
                <a:gd name="T19" fmla="*/ 19 h 39"/>
                <a:gd name="T20" fmla="*/ 16 w 41"/>
                <a:gd name="T21" fmla="*/ 19 h 39"/>
                <a:gd name="T22" fmla="*/ 16 w 41"/>
                <a:gd name="T23" fmla="*/ 27 h 39"/>
                <a:gd name="T24" fmla="*/ 16 w 41"/>
                <a:gd name="T25" fmla="*/ 18 h 39"/>
                <a:gd name="T26" fmla="*/ 8 w 41"/>
                <a:gd name="T27" fmla="*/ 18 h 39"/>
                <a:gd name="T28" fmla="*/ 8 w 41"/>
                <a:gd name="T29" fmla="*/ 13 h 39"/>
                <a:gd name="T30" fmla="*/ 16 w 41"/>
                <a:gd name="T31" fmla="*/ 12 h 39"/>
                <a:gd name="T32" fmla="*/ 16 w 41"/>
                <a:gd name="T33" fmla="*/ 18 h 39"/>
                <a:gd name="T34" fmla="*/ 25 w 41"/>
                <a:gd name="T35" fmla="*/ 28 h 39"/>
                <a:gd name="T36" fmla="*/ 17 w 41"/>
                <a:gd name="T37" fmla="*/ 27 h 39"/>
                <a:gd name="T38" fmla="*/ 17 w 41"/>
                <a:gd name="T39" fmla="*/ 19 h 39"/>
                <a:gd name="T40" fmla="*/ 25 w 41"/>
                <a:gd name="T41" fmla="*/ 19 h 39"/>
                <a:gd name="T42" fmla="*/ 25 w 41"/>
                <a:gd name="T43" fmla="*/ 28 h 39"/>
                <a:gd name="T44" fmla="*/ 25 w 41"/>
                <a:gd name="T45" fmla="*/ 18 h 39"/>
                <a:gd name="T46" fmla="*/ 17 w 41"/>
                <a:gd name="T47" fmla="*/ 18 h 39"/>
                <a:gd name="T48" fmla="*/ 17 w 41"/>
                <a:gd name="T49" fmla="*/ 12 h 39"/>
                <a:gd name="T50" fmla="*/ 25 w 41"/>
                <a:gd name="T51" fmla="*/ 10 h 39"/>
                <a:gd name="T52" fmla="*/ 25 w 41"/>
                <a:gd name="T53" fmla="*/ 1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1" h="39">
                  <a:moveTo>
                    <a:pt x="35" y="0"/>
                  </a:moveTo>
                  <a:lnTo>
                    <a:pt x="0" y="7"/>
                  </a:lnTo>
                  <a:lnTo>
                    <a:pt x="0" y="32"/>
                  </a:lnTo>
                  <a:lnTo>
                    <a:pt x="35" y="39"/>
                  </a:lnTo>
                  <a:lnTo>
                    <a:pt x="41" y="36"/>
                  </a:lnTo>
                  <a:lnTo>
                    <a:pt x="41" y="2"/>
                  </a:lnTo>
                  <a:lnTo>
                    <a:pt x="35" y="0"/>
                  </a:lnTo>
                  <a:close/>
                  <a:moveTo>
                    <a:pt x="16" y="27"/>
                  </a:moveTo>
                  <a:lnTo>
                    <a:pt x="8" y="25"/>
                  </a:lnTo>
                  <a:lnTo>
                    <a:pt x="8" y="19"/>
                  </a:lnTo>
                  <a:lnTo>
                    <a:pt x="16" y="19"/>
                  </a:lnTo>
                  <a:lnTo>
                    <a:pt x="16" y="27"/>
                  </a:lnTo>
                  <a:close/>
                  <a:moveTo>
                    <a:pt x="16" y="18"/>
                  </a:moveTo>
                  <a:lnTo>
                    <a:pt x="8" y="18"/>
                  </a:lnTo>
                  <a:lnTo>
                    <a:pt x="8" y="13"/>
                  </a:lnTo>
                  <a:lnTo>
                    <a:pt x="16" y="12"/>
                  </a:lnTo>
                  <a:lnTo>
                    <a:pt x="16" y="18"/>
                  </a:lnTo>
                  <a:close/>
                  <a:moveTo>
                    <a:pt x="25" y="28"/>
                  </a:moveTo>
                  <a:lnTo>
                    <a:pt x="17" y="27"/>
                  </a:lnTo>
                  <a:lnTo>
                    <a:pt x="17" y="19"/>
                  </a:lnTo>
                  <a:lnTo>
                    <a:pt x="25" y="19"/>
                  </a:lnTo>
                  <a:lnTo>
                    <a:pt x="25" y="28"/>
                  </a:lnTo>
                  <a:close/>
                  <a:moveTo>
                    <a:pt x="25" y="18"/>
                  </a:moveTo>
                  <a:lnTo>
                    <a:pt x="17" y="18"/>
                  </a:lnTo>
                  <a:lnTo>
                    <a:pt x="17" y="12"/>
                  </a:lnTo>
                  <a:lnTo>
                    <a:pt x="25" y="10"/>
                  </a:lnTo>
                  <a:lnTo>
                    <a:pt x="25" y="18"/>
                  </a:lnTo>
                  <a:close/>
                </a:path>
              </a:pathLst>
            </a:custGeom>
            <a:solidFill>
              <a:srgbClr val="CCCCC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45" name="Freeform 351">
              <a:extLst>
                <a:ext uri="{FF2B5EF4-FFF2-40B4-BE49-F238E27FC236}">
                  <a16:creationId xmlns:a16="http://schemas.microsoft.com/office/drawing/2014/main" id="{2B4AF09A-DCF8-4A29-BC80-44E57FC2515B}"/>
                </a:ext>
              </a:extLst>
            </p:cNvPr>
            <p:cNvSpPr>
              <a:spLocks/>
            </p:cNvSpPr>
            <p:nvPr/>
          </p:nvSpPr>
          <p:spPr bwMode="auto">
            <a:xfrm>
              <a:off x="6624220" y="1688179"/>
              <a:ext cx="11134" cy="14315"/>
            </a:xfrm>
            <a:custGeom>
              <a:avLst/>
              <a:gdLst>
                <a:gd name="T0" fmla="*/ 0 w 6"/>
                <a:gd name="T1" fmla="*/ 1 h 8"/>
                <a:gd name="T2" fmla="*/ 0 w 6"/>
                <a:gd name="T3" fmla="*/ 2 h 8"/>
                <a:gd name="T4" fmla="*/ 4 w 6"/>
                <a:gd name="T5" fmla="*/ 7 h 8"/>
                <a:gd name="T6" fmla="*/ 4 w 6"/>
                <a:gd name="T7" fmla="*/ 8 h 8"/>
                <a:gd name="T8" fmla="*/ 6 w 6"/>
                <a:gd name="T9" fmla="*/ 8 h 8"/>
                <a:gd name="T10" fmla="*/ 6 w 6"/>
                <a:gd name="T11" fmla="*/ 7 h 8"/>
                <a:gd name="T12" fmla="*/ 0 w 6"/>
                <a:gd name="T13" fmla="*/ 1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0" y="1"/>
                  </a:moveTo>
                  <a:cubicBezTo>
                    <a:pt x="0" y="1"/>
                    <a:pt x="0" y="2"/>
                    <a:pt x="0" y="2"/>
                  </a:cubicBezTo>
                  <a:cubicBezTo>
                    <a:pt x="4" y="2"/>
                    <a:pt x="4" y="3"/>
                    <a:pt x="4" y="7"/>
                  </a:cubicBezTo>
                  <a:cubicBezTo>
                    <a:pt x="4" y="8"/>
                    <a:pt x="4" y="8"/>
                    <a:pt x="4" y="8"/>
                  </a:cubicBezTo>
                  <a:cubicBezTo>
                    <a:pt x="6" y="8"/>
                    <a:pt x="6" y="8"/>
                    <a:pt x="6" y="8"/>
                  </a:cubicBezTo>
                  <a:cubicBezTo>
                    <a:pt x="6" y="7"/>
                    <a:pt x="6" y="7"/>
                    <a:pt x="6" y="7"/>
                  </a:cubicBezTo>
                  <a:cubicBezTo>
                    <a:pt x="6" y="1"/>
                    <a:pt x="5" y="0"/>
                    <a:pt x="0" y="1"/>
                  </a:cubicBezTo>
                </a:path>
              </a:pathLst>
            </a:custGeom>
            <a:solidFill>
              <a:srgbClr val="CCCCC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46" name="Freeform 352">
              <a:extLst>
                <a:ext uri="{FF2B5EF4-FFF2-40B4-BE49-F238E27FC236}">
                  <a16:creationId xmlns:a16="http://schemas.microsoft.com/office/drawing/2014/main" id="{2ACEBB26-8B88-42BA-A0BD-7301DB915034}"/>
                </a:ext>
              </a:extLst>
            </p:cNvPr>
            <p:cNvSpPr>
              <a:spLocks/>
            </p:cNvSpPr>
            <p:nvPr/>
          </p:nvSpPr>
          <p:spPr bwMode="auto">
            <a:xfrm>
              <a:off x="6589228" y="1677045"/>
              <a:ext cx="30220" cy="36582"/>
            </a:xfrm>
            <a:custGeom>
              <a:avLst/>
              <a:gdLst>
                <a:gd name="T0" fmla="*/ 1 w 16"/>
                <a:gd name="T1" fmla="*/ 17 h 18"/>
                <a:gd name="T2" fmla="*/ 1 w 16"/>
                <a:gd name="T3" fmla="*/ 10 h 18"/>
                <a:gd name="T4" fmla="*/ 8 w 16"/>
                <a:gd name="T5" fmla="*/ 3 h 18"/>
                <a:gd name="T6" fmla="*/ 15 w 16"/>
                <a:gd name="T7" fmla="*/ 8 h 18"/>
                <a:gd name="T8" fmla="*/ 15 w 16"/>
                <a:gd name="T9" fmla="*/ 15 h 18"/>
                <a:gd name="T10" fmla="*/ 16 w 16"/>
                <a:gd name="T11" fmla="*/ 14 h 18"/>
                <a:gd name="T12" fmla="*/ 16 w 16"/>
                <a:gd name="T13" fmla="*/ 9 h 18"/>
                <a:gd name="T14" fmla="*/ 8 w 16"/>
                <a:gd name="T15" fmla="*/ 1 h 18"/>
                <a:gd name="T16" fmla="*/ 0 w 16"/>
                <a:gd name="T17" fmla="*/ 10 h 18"/>
                <a:gd name="T18" fmla="*/ 0 w 16"/>
                <a:gd name="T19" fmla="*/ 18 h 18"/>
                <a:gd name="T20" fmla="*/ 1 w 16"/>
                <a:gd name="T21" fmla="*/ 17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18">
                  <a:moveTo>
                    <a:pt x="1" y="17"/>
                  </a:moveTo>
                  <a:cubicBezTo>
                    <a:pt x="1" y="10"/>
                    <a:pt x="1" y="10"/>
                    <a:pt x="1" y="10"/>
                  </a:cubicBezTo>
                  <a:cubicBezTo>
                    <a:pt x="1" y="5"/>
                    <a:pt x="3" y="4"/>
                    <a:pt x="8" y="3"/>
                  </a:cubicBezTo>
                  <a:cubicBezTo>
                    <a:pt x="14" y="2"/>
                    <a:pt x="15" y="6"/>
                    <a:pt x="15" y="8"/>
                  </a:cubicBezTo>
                  <a:cubicBezTo>
                    <a:pt x="15" y="15"/>
                    <a:pt x="15" y="15"/>
                    <a:pt x="15" y="15"/>
                  </a:cubicBezTo>
                  <a:cubicBezTo>
                    <a:pt x="16" y="14"/>
                    <a:pt x="16" y="14"/>
                    <a:pt x="16" y="14"/>
                  </a:cubicBezTo>
                  <a:cubicBezTo>
                    <a:pt x="16" y="9"/>
                    <a:pt x="16" y="9"/>
                    <a:pt x="16" y="9"/>
                  </a:cubicBezTo>
                  <a:cubicBezTo>
                    <a:pt x="16" y="4"/>
                    <a:pt x="15" y="0"/>
                    <a:pt x="8" y="1"/>
                  </a:cubicBezTo>
                  <a:cubicBezTo>
                    <a:pt x="4" y="2"/>
                    <a:pt x="0" y="3"/>
                    <a:pt x="0" y="10"/>
                  </a:cubicBezTo>
                  <a:cubicBezTo>
                    <a:pt x="0" y="18"/>
                    <a:pt x="0" y="18"/>
                    <a:pt x="0" y="18"/>
                  </a:cubicBezTo>
                  <a:lnTo>
                    <a:pt x="1" y="17"/>
                  </a:lnTo>
                  <a:close/>
                </a:path>
              </a:pathLst>
            </a:custGeom>
            <a:solidFill>
              <a:srgbClr val="CCCCC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47" name="Freeform 353">
              <a:extLst>
                <a:ext uri="{FF2B5EF4-FFF2-40B4-BE49-F238E27FC236}">
                  <a16:creationId xmlns:a16="http://schemas.microsoft.com/office/drawing/2014/main" id="{80C0FBAE-84D0-4303-BD04-C6E511610E6E}"/>
                </a:ext>
              </a:extLst>
            </p:cNvPr>
            <p:cNvSpPr>
              <a:spLocks noEditPoints="1"/>
            </p:cNvSpPr>
            <p:nvPr/>
          </p:nvSpPr>
          <p:spPr bwMode="auto">
            <a:xfrm>
              <a:off x="6563780" y="1702493"/>
              <a:ext cx="104975" cy="95431"/>
            </a:xfrm>
            <a:custGeom>
              <a:avLst/>
              <a:gdLst>
                <a:gd name="T0" fmla="*/ 55 w 66"/>
                <a:gd name="T1" fmla="*/ 0 h 60"/>
                <a:gd name="T2" fmla="*/ 0 w 66"/>
                <a:gd name="T3" fmla="*/ 11 h 60"/>
                <a:gd name="T4" fmla="*/ 0 w 66"/>
                <a:gd name="T5" fmla="*/ 51 h 60"/>
                <a:gd name="T6" fmla="*/ 55 w 66"/>
                <a:gd name="T7" fmla="*/ 60 h 60"/>
                <a:gd name="T8" fmla="*/ 66 w 66"/>
                <a:gd name="T9" fmla="*/ 57 h 60"/>
                <a:gd name="T10" fmla="*/ 66 w 66"/>
                <a:gd name="T11" fmla="*/ 4 h 60"/>
                <a:gd name="T12" fmla="*/ 55 w 66"/>
                <a:gd name="T13" fmla="*/ 0 h 60"/>
                <a:gd name="T14" fmla="*/ 24 w 66"/>
                <a:gd name="T15" fmla="*/ 42 h 60"/>
                <a:gd name="T16" fmla="*/ 12 w 66"/>
                <a:gd name="T17" fmla="*/ 41 h 60"/>
                <a:gd name="T18" fmla="*/ 12 w 66"/>
                <a:gd name="T19" fmla="*/ 31 h 60"/>
                <a:gd name="T20" fmla="*/ 24 w 66"/>
                <a:gd name="T21" fmla="*/ 31 h 60"/>
                <a:gd name="T22" fmla="*/ 24 w 66"/>
                <a:gd name="T23" fmla="*/ 42 h 60"/>
                <a:gd name="T24" fmla="*/ 24 w 66"/>
                <a:gd name="T25" fmla="*/ 29 h 60"/>
                <a:gd name="T26" fmla="*/ 12 w 66"/>
                <a:gd name="T27" fmla="*/ 29 h 60"/>
                <a:gd name="T28" fmla="*/ 12 w 66"/>
                <a:gd name="T29" fmla="*/ 20 h 60"/>
                <a:gd name="T30" fmla="*/ 24 w 66"/>
                <a:gd name="T31" fmla="*/ 19 h 60"/>
                <a:gd name="T32" fmla="*/ 24 w 66"/>
                <a:gd name="T33" fmla="*/ 29 h 60"/>
                <a:gd name="T34" fmla="*/ 40 w 66"/>
                <a:gd name="T35" fmla="*/ 44 h 60"/>
                <a:gd name="T36" fmla="*/ 25 w 66"/>
                <a:gd name="T37" fmla="*/ 42 h 60"/>
                <a:gd name="T38" fmla="*/ 25 w 66"/>
                <a:gd name="T39" fmla="*/ 31 h 60"/>
                <a:gd name="T40" fmla="*/ 40 w 66"/>
                <a:gd name="T41" fmla="*/ 31 h 60"/>
                <a:gd name="T42" fmla="*/ 40 w 66"/>
                <a:gd name="T43" fmla="*/ 44 h 60"/>
                <a:gd name="T44" fmla="*/ 40 w 66"/>
                <a:gd name="T45" fmla="*/ 29 h 60"/>
                <a:gd name="T46" fmla="*/ 25 w 66"/>
                <a:gd name="T47" fmla="*/ 29 h 60"/>
                <a:gd name="T48" fmla="*/ 25 w 66"/>
                <a:gd name="T49" fmla="*/ 19 h 60"/>
                <a:gd name="T50" fmla="*/ 40 w 66"/>
                <a:gd name="T51" fmla="*/ 16 h 60"/>
                <a:gd name="T52" fmla="*/ 40 w 66"/>
                <a:gd name="T53" fmla="*/ 29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6" h="60">
                  <a:moveTo>
                    <a:pt x="55" y="0"/>
                  </a:moveTo>
                  <a:lnTo>
                    <a:pt x="0" y="11"/>
                  </a:lnTo>
                  <a:lnTo>
                    <a:pt x="0" y="51"/>
                  </a:lnTo>
                  <a:lnTo>
                    <a:pt x="55" y="60"/>
                  </a:lnTo>
                  <a:lnTo>
                    <a:pt x="66" y="57"/>
                  </a:lnTo>
                  <a:lnTo>
                    <a:pt x="66" y="4"/>
                  </a:lnTo>
                  <a:lnTo>
                    <a:pt x="55" y="0"/>
                  </a:lnTo>
                  <a:close/>
                  <a:moveTo>
                    <a:pt x="24" y="42"/>
                  </a:moveTo>
                  <a:lnTo>
                    <a:pt x="12" y="41"/>
                  </a:lnTo>
                  <a:lnTo>
                    <a:pt x="12" y="31"/>
                  </a:lnTo>
                  <a:lnTo>
                    <a:pt x="24" y="31"/>
                  </a:lnTo>
                  <a:lnTo>
                    <a:pt x="24" y="42"/>
                  </a:lnTo>
                  <a:close/>
                  <a:moveTo>
                    <a:pt x="24" y="29"/>
                  </a:moveTo>
                  <a:lnTo>
                    <a:pt x="12" y="29"/>
                  </a:lnTo>
                  <a:lnTo>
                    <a:pt x="12" y="20"/>
                  </a:lnTo>
                  <a:lnTo>
                    <a:pt x="24" y="19"/>
                  </a:lnTo>
                  <a:lnTo>
                    <a:pt x="24" y="29"/>
                  </a:lnTo>
                  <a:close/>
                  <a:moveTo>
                    <a:pt x="40" y="44"/>
                  </a:moveTo>
                  <a:lnTo>
                    <a:pt x="25" y="42"/>
                  </a:lnTo>
                  <a:lnTo>
                    <a:pt x="25" y="31"/>
                  </a:lnTo>
                  <a:lnTo>
                    <a:pt x="40" y="31"/>
                  </a:lnTo>
                  <a:lnTo>
                    <a:pt x="40" y="44"/>
                  </a:lnTo>
                  <a:close/>
                  <a:moveTo>
                    <a:pt x="40" y="29"/>
                  </a:moveTo>
                  <a:lnTo>
                    <a:pt x="25" y="29"/>
                  </a:lnTo>
                  <a:lnTo>
                    <a:pt x="25" y="19"/>
                  </a:lnTo>
                  <a:lnTo>
                    <a:pt x="40" y="16"/>
                  </a:lnTo>
                  <a:lnTo>
                    <a:pt x="40" y="29"/>
                  </a:lnTo>
                  <a:close/>
                </a:path>
              </a:pathLst>
            </a:custGeom>
            <a:solidFill>
              <a:srgbClr val="CCCCC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48" name="Freeform 354">
              <a:extLst>
                <a:ext uri="{FF2B5EF4-FFF2-40B4-BE49-F238E27FC236}">
                  <a16:creationId xmlns:a16="http://schemas.microsoft.com/office/drawing/2014/main" id="{0172006C-85EB-4F2F-96A0-B232A16C7443}"/>
                </a:ext>
              </a:extLst>
            </p:cNvPr>
            <p:cNvSpPr>
              <a:spLocks/>
            </p:cNvSpPr>
            <p:nvPr/>
          </p:nvSpPr>
          <p:spPr bwMode="auto">
            <a:xfrm>
              <a:off x="4453158" y="3682693"/>
              <a:ext cx="68393" cy="79526"/>
            </a:xfrm>
            <a:custGeom>
              <a:avLst/>
              <a:gdLst>
                <a:gd name="T0" fmla="*/ 5 w 35"/>
                <a:gd name="T1" fmla="*/ 41 h 41"/>
                <a:gd name="T2" fmla="*/ 16 w 35"/>
                <a:gd name="T3" fmla="*/ 41 h 41"/>
                <a:gd name="T4" fmla="*/ 28 w 35"/>
                <a:gd name="T5" fmla="*/ 41 h 41"/>
                <a:gd name="T6" fmla="*/ 32 w 35"/>
                <a:gd name="T7" fmla="*/ 41 h 41"/>
                <a:gd name="T8" fmla="*/ 32 w 35"/>
                <a:gd name="T9" fmla="*/ 37 h 41"/>
                <a:gd name="T10" fmla="*/ 31 w 35"/>
                <a:gd name="T11" fmla="*/ 30 h 41"/>
                <a:gd name="T12" fmla="*/ 30 w 35"/>
                <a:gd name="T13" fmla="*/ 34 h 41"/>
                <a:gd name="T14" fmla="*/ 21 w 35"/>
                <a:gd name="T15" fmla="*/ 38 h 41"/>
                <a:gd name="T16" fmla="*/ 11 w 35"/>
                <a:gd name="T17" fmla="*/ 36 h 41"/>
                <a:gd name="T18" fmla="*/ 11 w 35"/>
                <a:gd name="T19" fmla="*/ 29 h 41"/>
                <a:gd name="T20" fmla="*/ 11 w 35"/>
                <a:gd name="T21" fmla="*/ 22 h 41"/>
                <a:gd name="T22" fmla="*/ 23 w 35"/>
                <a:gd name="T23" fmla="*/ 22 h 41"/>
                <a:gd name="T24" fmla="*/ 27 w 35"/>
                <a:gd name="T25" fmla="*/ 26 h 41"/>
                <a:gd name="T26" fmla="*/ 27 w 35"/>
                <a:gd name="T27" fmla="*/ 22 h 41"/>
                <a:gd name="T28" fmla="*/ 27 w 35"/>
                <a:gd name="T29" fmla="*/ 18 h 41"/>
                <a:gd name="T30" fmla="*/ 26 w 35"/>
                <a:gd name="T31" fmla="*/ 14 h 41"/>
                <a:gd name="T32" fmla="*/ 24 w 35"/>
                <a:gd name="T33" fmla="*/ 18 h 41"/>
                <a:gd name="T34" fmla="*/ 21 w 35"/>
                <a:gd name="T35" fmla="*/ 19 h 41"/>
                <a:gd name="T36" fmla="*/ 11 w 35"/>
                <a:gd name="T37" fmla="*/ 18 h 41"/>
                <a:gd name="T38" fmla="*/ 11 w 35"/>
                <a:gd name="T39" fmla="*/ 6 h 41"/>
                <a:gd name="T40" fmla="*/ 18 w 35"/>
                <a:gd name="T41" fmla="*/ 4 h 41"/>
                <a:gd name="T42" fmla="*/ 29 w 35"/>
                <a:gd name="T43" fmla="*/ 7 h 41"/>
                <a:gd name="T44" fmla="*/ 30 w 35"/>
                <a:gd name="T45" fmla="*/ 10 h 41"/>
                <a:gd name="T46" fmla="*/ 31 w 35"/>
                <a:gd name="T47" fmla="*/ 5 h 41"/>
                <a:gd name="T48" fmla="*/ 31 w 35"/>
                <a:gd name="T49" fmla="*/ 1 h 41"/>
                <a:gd name="T50" fmla="*/ 29 w 35"/>
                <a:gd name="T51" fmla="*/ 1 h 41"/>
                <a:gd name="T52" fmla="*/ 4 w 35"/>
                <a:gd name="T53" fmla="*/ 1 h 41"/>
                <a:gd name="T54" fmla="*/ 1 w 35"/>
                <a:gd name="T55" fmla="*/ 2 h 41"/>
                <a:gd name="T56" fmla="*/ 5 w 35"/>
                <a:gd name="T57" fmla="*/ 5 h 41"/>
                <a:gd name="T58" fmla="*/ 6 w 35"/>
                <a:gd name="T59" fmla="*/ 8 h 41"/>
                <a:gd name="T60" fmla="*/ 6 w 35"/>
                <a:gd name="T61" fmla="*/ 21 h 41"/>
                <a:gd name="T62" fmla="*/ 6 w 35"/>
                <a:gd name="T63" fmla="*/ 34 h 41"/>
                <a:gd name="T64" fmla="*/ 5 w 35"/>
                <a:gd name="T65" fmla="*/ 38 h 41"/>
                <a:gd name="T66" fmla="*/ 0 w 35"/>
                <a:gd name="T67" fmla="*/ 40 h 41"/>
                <a:gd name="T68" fmla="*/ 5 w 35"/>
                <a:gd name="T69"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5" h="41">
                  <a:moveTo>
                    <a:pt x="5" y="41"/>
                  </a:moveTo>
                  <a:cubicBezTo>
                    <a:pt x="8" y="40"/>
                    <a:pt x="12" y="41"/>
                    <a:pt x="16" y="41"/>
                  </a:cubicBezTo>
                  <a:cubicBezTo>
                    <a:pt x="21" y="41"/>
                    <a:pt x="25" y="40"/>
                    <a:pt x="28" y="41"/>
                  </a:cubicBezTo>
                  <a:cubicBezTo>
                    <a:pt x="29" y="41"/>
                    <a:pt x="31" y="41"/>
                    <a:pt x="32" y="41"/>
                  </a:cubicBezTo>
                  <a:cubicBezTo>
                    <a:pt x="33" y="40"/>
                    <a:pt x="32" y="38"/>
                    <a:pt x="32" y="37"/>
                  </a:cubicBezTo>
                  <a:cubicBezTo>
                    <a:pt x="33" y="34"/>
                    <a:pt x="35" y="31"/>
                    <a:pt x="31" y="30"/>
                  </a:cubicBezTo>
                  <a:cubicBezTo>
                    <a:pt x="30" y="31"/>
                    <a:pt x="31" y="33"/>
                    <a:pt x="30" y="34"/>
                  </a:cubicBezTo>
                  <a:cubicBezTo>
                    <a:pt x="29" y="37"/>
                    <a:pt x="25" y="37"/>
                    <a:pt x="21" y="38"/>
                  </a:cubicBezTo>
                  <a:cubicBezTo>
                    <a:pt x="18" y="38"/>
                    <a:pt x="12" y="38"/>
                    <a:pt x="11" y="36"/>
                  </a:cubicBezTo>
                  <a:cubicBezTo>
                    <a:pt x="10" y="34"/>
                    <a:pt x="11" y="31"/>
                    <a:pt x="11" y="29"/>
                  </a:cubicBezTo>
                  <a:cubicBezTo>
                    <a:pt x="11" y="26"/>
                    <a:pt x="10" y="24"/>
                    <a:pt x="11" y="22"/>
                  </a:cubicBezTo>
                  <a:cubicBezTo>
                    <a:pt x="15" y="22"/>
                    <a:pt x="21" y="20"/>
                    <a:pt x="23" y="22"/>
                  </a:cubicBezTo>
                  <a:cubicBezTo>
                    <a:pt x="25" y="23"/>
                    <a:pt x="24" y="26"/>
                    <a:pt x="27" y="26"/>
                  </a:cubicBezTo>
                  <a:cubicBezTo>
                    <a:pt x="28" y="26"/>
                    <a:pt x="27" y="24"/>
                    <a:pt x="27" y="22"/>
                  </a:cubicBezTo>
                  <a:cubicBezTo>
                    <a:pt x="27" y="21"/>
                    <a:pt x="27" y="19"/>
                    <a:pt x="27" y="18"/>
                  </a:cubicBezTo>
                  <a:cubicBezTo>
                    <a:pt x="27" y="16"/>
                    <a:pt x="28" y="14"/>
                    <a:pt x="26" y="14"/>
                  </a:cubicBezTo>
                  <a:cubicBezTo>
                    <a:pt x="24" y="15"/>
                    <a:pt x="25" y="17"/>
                    <a:pt x="24" y="18"/>
                  </a:cubicBezTo>
                  <a:cubicBezTo>
                    <a:pt x="23" y="19"/>
                    <a:pt x="22" y="19"/>
                    <a:pt x="21" y="19"/>
                  </a:cubicBezTo>
                  <a:cubicBezTo>
                    <a:pt x="18" y="19"/>
                    <a:pt x="13" y="19"/>
                    <a:pt x="11" y="18"/>
                  </a:cubicBezTo>
                  <a:cubicBezTo>
                    <a:pt x="11" y="15"/>
                    <a:pt x="11" y="10"/>
                    <a:pt x="11" y="6"/>
                  </a:cubicBezTo>
                  <a:cubicBezTo>
                    <a:pt x="12" y="4"/>
                    <a:pt x="15" y="4"/>
                    <a:pt x="18" y="4"/>
                  </a:cubicBezTo>
                  <a:cubicBezTo>
                    <a:pt x="21" y="4"/>
                    <a:pt x="27" y="5"/>
                    <a:pt x="29" y="7"/>
                  </a:cubicBezTo>
                  <a:cubicBezTo>
                    <a:pt x="29" y="8"/>
                    <a:pt x="29" y="10"/>
                    <a:pt x="30" y="10"/>
                  </a:cubicBezTo>
                  <a:cubicBezTo>
                    <a:pt x="32" y="11"/>
                    <a:pt x="31" y="7"/>
                    <a:pt x="31" y="5"/>
                  </a:cubicBezTo>
                  <a:cubicBezTo>
                    <a:pt x="31" y="3"/>
                    <a:pt x="32" y="2"/>
                    <a:pt x="31" y="1"/>
                  </a:cubicBezTo>
                  <a:cubicBezTo>
                    <a:pt x="31" y="0"/>
                    <a:pt x="30" y="1"/>
                    <a:pt x="29" y="1"/>
                  </a:cubicBezTo>
                  <a:cubicBezTo>
                    <a:pt x="22" y="2"/>
                    <a:pt x="11" y="1"/>
                    <a:pt x="4" y="1"/>
                  </a:cubicBezTo>
                  <a:cubicBezTo>
                    <a:pt x="3" y="1"/>
                    <a:pt x="1" y="1"/>
                    <a:pt x="1" y="2"/>
                  </a:cubicBezTo>
                  <a:cubicBezTo>
                    <a:pt x="0" y="4"/>
                    <a:pt x="4" y="3"/>
                    <a:pt x="5" y="5"/>
                  </a:cubicBezTo>
                  <a:cubicBezTo>
                    <a:pt x="5" y="5"/>
                    <a:pt x="6" y="7"/>
                    <a:pt x="6" y="8"/>
                  </a:cubicBezTo>
                  <a:cubicBezTo>
                    <a:pt x="6" y="11"/>
                    <a:pt x="6" y="16"/>
                    <a:pt x="6" y="21"/>
                  </a:cubicBezTo>
                  <a:cubicBezTo>
                    <a:pt x="6" y="26"/>
                    <a:pt x="6" y="31"/>
                    <a:pt x="6" y="34"/>
                  </a:cubicBezTo>
                  <a:cubicBezTo>
                    <a:pt x="6" y="36"/>
                    <a:pt x="5" y="37"/>
                    <a:pt x="5" y="38"/>
                  </a:cubicBezTo>
                  <a:cubicBezTo>
                    <a:pt x="3" y="39"/>
                    <a:pt x="0" y="37"/>
                    <a:pt x="0" y="40"/>
                  </a:cubicBezTo>
                  <a:cubicBezTo>
                    <a:pt x="1" y="41"/>
                    <a:pt x="3" y="41"/>
                    <a:pt x="5" y="41"/>
                  </a:cubicBezTo>
                </a:path>
              </a:pathLst>
            </a:custGeom>
            <a:solidFill>
              <a:srgbClr val="CCCCC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49" name="Freeform 355">
              <a:extLst>
                <a:ext uri="{FF2B5EF4-FFF2-40B4-BE49-F238E27FC236}">
                  <a16:creationId xmlns:a16="http://schemas.microsoft.com/office/drawing/2014/main" id="{BA8BD37E-2548-44DE-BF90-ABCB697D95C8}"/>
                </a:ext>
              </a:extLst>
            </p:cNvPr>
            <p:cNvSpPr>
              <a:spLocks/>
            </p:cNvSpPr>
            <p:nvPr/>
          </p:nvSpPr>
          <p:spPr bwMode="auto">
            <a:xfrm>
              <a:off x="3700841" y="2826993"/>
              <a:ext cx="69983" cy="79526"/>
            </a:xfrm>
            <a:custGeom>
              <a:avLst/>
              <a:gdLst>
                <a:gd name="T0" fmla="*/ 5 w 36"/>
                <a:gd name="T1" fmla="*/ 40 h 41"/>
                <a:gd name="T2" fmla="*/ 17 w 36"/>
                <a:gd name="T3" fmla="*/ 40 h 41"/>
                <a:gd name="T4" fmla="*/ 29 w 36"/>
                <a:gd name="T5" fmla="*/ 40 h 41"/>
                <a:gd name="T6" fmla="*/ 32 w 36"/>
                <a:gd name="T7" fmla="*/ 40 h 41"/>
                <a:gd name="T8" fmla="*/ 33 w 36"/>
                <a:gd name="T9" fmla="*/ 36 h 41"/>
                <a:gd name="T10" fmla="*/ 32 w 36"/>
                <a:gd name="T11" fmla="*/ 29 h 41"/>
                <a:gd name="T12" fmla="*/ 30 w 36"/>
                <a:gd name="T13" fmla="*/ 34 h 41"/>
                <a:gd name="T14" fmla="*/ 22 w 36"/>
                <a:gd name="T15" fmla="*/ 37 h 41"/>
                <a:gd name="T16" fmla="*/ 12 w 36"/>
                <a:gd name="T17" fmla="*/ 36 h 41"/>
                <a:gd name="T18" fmla="*/ 11 w 36"/>
                <a:gd name="T19" fmla="*/ 28 h 41"/>
                <a:gd name="T20" fmla="*/ 12 w 36"/>
                <a:gd name="T21" fmla="*/ 21 h 41"/>
                <a:gd name="T22" fmla="*/ 24 w 36"/>
                <a:gd name="T23" fmla="*/ 21 h 41"/>
                <a:gd name="T24" fmla="*/ 27 w 36"/>
                <a:gd name="T25" fmla="*/ 26 h 41"/>
                <a:gd name="T26" fmla="*/ 28 w 36"/>
                <a:gd name="T27" fmla="*/ 21 h 41"/>
                <a:gd name="T28" fmla="*/ 28 w 36"/>
                <a:gd name="T29" fmla="*/ 17 h 41"/>
                <a:gd name="T30" fmla="*/ 26 w 36"/>
                <a:gd name="T31" fmla="*/ 13 h 41"/>
                <a:gd name="T32" fmla="*/ 24 w 36"/>
                <a:gd name="T33" fmla="*/ 18 h 41"/>
                <a:gd name="T34" fmla="*/ 22 w 36"/>
                <a:gd name="T35" fmla="*/ 18 h 41"/>
                <a:gd name="T36" fmla="*/ 11 w 36"/>
                <a:gd name="T37" fmla="*/ 18 h 41"/>
                <a:gd name="T38" fmla="*/ 11 w 36"/>
                <a:gd name="T39" fmla="*/ 5 h 41"/>
                <a:gd name="T40" fmla="*/ 18 w 36"/>
                <a:gd name="T41" fmla="*/ 4 h 41"/>
                <a:gd name="T42" fmla="*/ 29 w 36"/>
                <a:gd name="T43" fmla="*/ 6 h 41"/>
                <a:gd name="T44" fmla="*/ 30 w 36"/>
                <a:gd name="T45" fmla="*/ 9 h 41"/>
                <a:gd name="T46" fmla="*/ 31 w 36"/>
                <a:gd name="T47" fmla="*/ 4 h 41"/>
                <a:gd name="T48" fmla="*/ 32 w 36"/>
                <a:gd name="T49" fmla="*/ 1 h 41"/>
                <a:gd name="T50" fmla="*/ 29 w 36"/>
                <a:gd name="T51" fmla="*/ 1 h 41"/>
                <a:gd name="T52" fmla="*/ 4 w 36"/>
                <a:gd name="T53" fmla="*/ 1 h 41"/>
                <a:gd name="T54" fmla="*/ 1 w 36"/>
                <a:gd name="T55" fmla="*/ 2 h 41"/>
                <a:gd name="T56" fmla="*/ 5 w 36"/>
                <a:gd name="T57" fmla="*/ 4 h 41"/>
                <a:gd name="T58" fmla="*/ 6 w 36"/>
                <a:gd name="T59" fmla="*/ 8 h 41"/>
                <a:gd name="T60" fmla="*/ 6 w 36"/>
                <a:gd name="T61" fmla="*/ 21 h 41"/>
                <a:gd name="T62" fmla="*/ 6 w 36"/>
                <a:gd name="T63" fmla="*/ 34 h 41"/>
                <a:gd name="T64" fmla="*/ 5 w 36"/>
                <a:gd name="T65" fmla="*/ 37 h 41"/>
                <a:gd name="T66" fmla="*/ 0 w 36"/>
                <a:gd name="T67" fmla="*/ 40 h 41"/>
                <a:gd name="T68" fmla="*/ 5 w 36"/>
                <a:gd name="T69" fmla="*/ 4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6" h="41">
                  <a:moveTo>
                    <a:pt x="5" y="40"/>
                  </a:moveTo>
                  <a:cubicBezTo>
                    <a:pt x="9" y="40"/>
                    <a:pt x="13" y="40"/>
                    <a:pt x="17" y="40"/>
                  </a:cubicBezTo>
                  <a:cubicBezTo>
                    <a:pt x="21" y="40"/>
                    <a:pt x="25" y="40"/>
                    <a:pt x="29" y="40"/>
                  </a:cubicBezTo>
                  <a:cubicBezTo>
                    <a:pt x="30" y="40"/>
                    <a:pt x="31" y="41"/>
                    <a:pt x="32" y="40"/>
                  </a:cubicBezTo>
                  <a:cubicBezTo>
                    <a:pt x="33" y="39"/>
                    <a:pt x="33" y="38"/>
                    <a:pt x="33" y="36"/>
                  </a:cubicBezTo>
                  <a:cubicBezTo>
                    <a:pt x="33" y="33"/>
                    <a:pt x="36" y="30"/>
                    <a:pt x="32" y="29"/>
                  </a:cubicBezTo>
                  <a:cubicBezTo>
                    <a:pt x="30" y="31"/>
                    <a:pt x="31" y="32"/>
                    <a:pt x="30" y="34"/>
                  </a:cubicBezTo>
                  <a:cubicBezTo>
                    <a:pt x="29" y="36"/>
                    <a:pt x="25" y="37"/>
                    <a:pt x="22" y="37"/>
                  </a:cubicBezTo>
                  <a:cubicBezTo>
                    <a:pt x="18" y="37"/>
                    <a:pt x="13" y="38"/>
                    <a:pt x="12" y="36"/>
                  </a:cubicBezTo>
                  <a:cubicBezTo>
                    <a:pt x="11" y="34"/>
                    <a:pt x="11" y="31"/>
                    <a:pt x="11" y="28"/>
                  </a:cubicBezTo>
                  <a:cubicBezTo>
                    <a:pt x="11" y="26"/>
                    <a:pt x="11" y="23"/>
                    <a:pt x="12" y="21"/>
                  </a:cubicBezTo>
                  <a:cubicBezTo>
                    <a:pt x="16" y="21"/>
                    <a:pt x="21" y="20"/>
                    <a:pt x="24" y="21"/>
                  </a:cubicBezTo>
                  <a:cubicBezTo>
                    <a:pt x="26" y="23"/>
                    <a:pt x="25" y="25"/>
                    <a:pt x="27" y="26"/>
                  </a:cubicBezTo>
                  <a:cubicBezTo>
                    <a:pt x="28" y="25"/>
                    <a:pt x="28" y="23"/>
                    <a:pt x="28" y="21"/>
                  </a:cubicBezTo>
                  <a:cubicBezTo>
                    <a:pt x="27" y="20"/>
                    <a:pt x="28" y="19"/>
                    <a:pt x="28" y="17"/>
                  </a:cubicBezTo>
                  <a:cubicBezTo>
                    <a:pt x="28" y="15"/>
                    <a:pt x="28" y="13"/>
                    <a:pt x="26" y="13"/>
                  </a:cubicBezTo>
                  <a:cubicBezTo>
                    <a:pt x="25" y="14"/>
                    <a:pt x="26" y="16"/>
                    <a:pt x="24" y="18"/>
                  </a:cubicBezTo>
                  <a:cubicBezTo>
                    <a:pt x="24" y="18"/>
                    <a:pt x="23" y="18"/>
                    <a:pt x="22" y="18"/>
                  </a:cubicBezTo>
                  <a:cubicBezTo>
                    <a:pt x="19" y="19"/>
                    <a:pt x="14" y="18"/>
                    <a:pt x="11" y="18"/>
                  </a:cubicBezTo>
                  <a:cubicBezTo>
                    <a:pt x="11" y="14"/>
                    <a:pt x="11" y="9"/>
                    <a:pt x="11" y="5"/>
                  </a:cubicBezTo>
                  <a:cubicBezTo>
                    <a:pt x="13" y="4"/>
                    <a:pt x="16" y="4"/>
                    <a:pt x="18" y="4"/>
                  </a:cubicBezTo>
                  <a:cubicBezTo>
                    <a:pt x="22" y="4"/>
                    <a:pt x="28" y="4"/>
                    <a:pt x="29" y="6"/>
                  </a:cubicBezTo>
                  <a:cubicBezTo>
                    <a:pt x="30" y="7"/>
                    <a:pt x="29" y="9"/>
                    <a:pt x="30" y="9"/>
                  </a:cubicBezTo>
                  <a:cubicBezTo>
                    <a:pt x="32" y="10"/>
                    <a:pt x="31" y="6"/>
                    <a:pt x="31" y="4"/>
                  </a:cubicBezTo>
                  <a:cubicBezTo>
                    <a:pt x="32" y="3"/>
                    <a:pt x="32" y="2"/>
                    <a:pt x="32" y="1"/>
                  </a:cubicBezTo>
                  <a:cubicBezTo>
                    <a:pt x="31" y="0"/>
                    <a:pt x="30" y="0"/>
                    <a:pt x="29" y="1"/>
                  </a:cubicBezTo>
                  <a:cubicBezTo>
                    <a:pt x="22" y="1"/>
                    <a:pt x="12" y="1"/>
                    <a:pt x="4" y="1"/>
                  </a:cubicBezTo>
                  <a:cubicBezTo>
                    <a:pt x="3" y="1"/>
                    <a:pt x="2" y="0"/>
                    <a:pt x="1" y="2"/>
                  </a:cubicBezTo>
                  <a:cubicBezTo>
                    <a:pt x="1" y="4"/>
                    <a:pt x="4" y="3"/>
                    <a:pt x="5" y="4"/>
                  </a:cubicBezTo>
                  <a:cubicBezTo>
                    <a:pt x="6" y="5"/>
                    <a:pt x="6" y="6"/>
                    <a:pt x="6" y="8"/>
                  </a:cubicBezTo>
                  <a:cubicBezTo>
                    <a:pt x="7" y="11"/>
                    <a:pt x="6" y="16"/>
                    <a:pt x="6" y="21"/>
                  </a:cubicBezTo>
                  <a:cubicBezTo>
                    <a:pt x="6" y="26"/>
                    <a:pt x="7" y="31"/>
                    <a:pt x="6" y="34"/>
                  </a:cubicBezTo>
                  <a:cubicBezTo>
                    <a:pt x="6" y="35"/>
                    <a:pt x="5" y="37"/>
                    <a:pt x="5" y="37"/>
                  </a:cubicBezTo>
                  <a:cubicBezTo>
                    <a:pt x="4" y="38"/>
                    <a:pt x="0" y="37"/>
                    <a:pt x="0" y="40"/>
                  </a:cubicBezTo>
                  <a:cubicBezTo>
                    <a:pt x="2" y="41"/>
                    <a:pt x="4" y="40"/>
                    <a:pt x="5" y="40"/>
                  </a:cubicBezTo>
                </a:path>
              </a:pathLst>
            </a:custGeom>
            <a:solidFill>
              <a:srgbClr val="CCCCC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50" name="Freeform 356">
              <a:extLst>
                <a:ext uri="{FF2B5EF4-FFF2-40B4-BE49-F238E27FC236}">
                  <a16:creationId xmlns:a16="http://schemas.microsoft.com/office/drawing/2014/main" id="{100DAF1D-96C4-4B44-80EC-C0AF55C9E611}"/>
                </a:ext>
              </a:extLst>
            </p:cNvPr>
            <p:cNvSpPr>
              <a:spLocks/>
            </p:cNvSpPr>
            <p:nvPr/>
          </p:nvSpPr>
          <p:spPr bwMode="auto">
            <a:xfrm>
              <a:off x="6541513" y="3830613"/>
              <a:ext cx="69983" cy="79526"/>
            </a:xfrm>
            <a:custGeom>
              <a:avLst/>
              <a:gdLst>
                <a:gd name="T0" fmla="*/ 6 w 36"/>
                <a:gd name="T1" fmla="*/ 40 h 41"/>
                <a:gd name="T2" fmla="*/ 17 w 36"/>
                <a:gd name="T3" fmla="*/ 40 h 41"/>
                <a:gd name="T4" fmla="*/ 29 w 36"/>
                <a:gd name="T5" fmla="*/ 40 h 41"/>
                <a:gd name="T6" fmla="*/ 33 w 36"/>
                <a:gd name="T7" fmla="*/ 40 h 41"/>
                <a:gd name="T8" fmla="*/ 33 w 36"/>
                <a:gd name="T9" fmla="*/ 36 h 41"/>
                <a:gd name="T10" fmla="*/ 32 w 36"/>
                <a:gd name="T11" fmla="*/ 29 h 41"/>
                <a:gd name="T12" fmla="*/ 31 w 36"/>
                <a:gd name="T13" fmla="*/ 34 h 41"/>
                <a:gd name="T14" fmla="*/ 22 w 36"/>
                <a:gd name="T15" fmla="*/ 37 h 41"/>
                <a:gd name="T16" fmla="*/ 12 w 36"/>
                <a:gd name="T17" fmla="*/ 35 h 41"/>
                <a:gd name="T18" fmla="*/ 11 w 36"/>
                <a:gd name="T19" fmla="*/ 28 h 41"/>
                <a:gd name="T20" fmla="*/ 12 w 36"/>
                <a:gd name="T21" fmla="*/ 21 h 41"/>
                <a:gd name="T22" fmla="*/ 24 w 36"/>
                <a:gd name="T23" fmla="*/ 21 h 41"/>
                <a:gd name="T24" fmla="*/ 27 w 36"/>
                <a:gd name="T25" fmla="*/ 25 h 41"/>
                <a:gd name="T26" fmla="*/ 28 w 36"/>
                <a:gd name="T27" fmla="*/ 21 h 41"/>
                <a:gd name="T28" fmla="*/ 28 w 36"/>
                <a:gd name="T29" fmla="*/ 17 h 41"/>
                <a:gd name="T30" fmla="*/ 27 w 36"/>
                <a:gd name="T31" fmla="*/ 13 h 41"/>
                <a:gd name="T32" fmla="*/ 25 w 36"/>
                <a:gd name="T33" fmla="*/ 17 h 41"/>
                <a:gd name="T34" fmla="*/ 22 w 36"/>
                <a:gd name="T35" fmla="*/ 18 h 41"/>
                <a:gd name="T36" fmla="*/ 12 w 36"/>
                <a:gd name="T37" fmla="*/ 17 h 41"/>
                <a:gd name="T38" fmla="*/ 12 w 36"/>
                <a:gd name="T39" fmla="*/ 5 h 41"/>
                <a:gd name="T40" fmla="*/ 18 w 36"/>
                <a:gd name="T41" fmla="*/ 3 h 41"/>
                <a:gd name="T42" fmla="*/ 29 w 36"/>
                <a:gd name="T43" fmla="*/ 6 h 41"/>
                <a:gd name="T44" fmla="*/ 31 w 36"/>
                <a:gd name="T45" fmla="*/ 9 h 41"/>
                <a:gd name="T46" fmla="*/ 32 w 36"/>
                <a:gd name="T47" fmla="*/ 4 h 41"/>
                <a:gd name="T48" fmla="*/ 32 w 36"/>
                <a:gd name="T49" fmla="*/ 1 h 41"/>
                <a:gd name="T50" fmla="*/ 30 w 36"/>
                <a:gd name="T51" fmla="*/ 0 h 41"/>
                <a:gd name="T52" fmla="*/ 5 w 36"/>
                <a:gd name="T53" fmla="*/ 1 h 41"/>
                <a:gd name="T54" fmla="*/ 2 w 36"/>
                <a:gd name="T55" fmla="*/ 1 h 41"/>
                <a:gd name="T56" fmla="*/ 5 w 36"/>
                <a:gd name="T57" fmla="*/ 4 h 41"/>
                <a:gd name="T58" fmla="*/ 7 w 36"/>
                <a:gd name="T59" fmla="*/ 7 h 41"/>
                <a:gd name="T60" fmla="*/ 7 w 36"/>
                <a:gd name="T61" fmla="*/ 20 h 41"/>
                <a:gd name="T62" fmla="*/ 7 w 36"/>
                <a:gd name="T63" fmla="*/ 34 h 41"/>
                <a:gd name="T64" fmla="*/ 5 w 36"/>
                <a:gd name="T65" fmla="*/ 37 h 41"/>
                <a:gd name="T66" fmla="*/ 1 w 36"/>
                <a:gd name="T67" fmla="*/ 39 h 41"/>
                <a:gd name="T68" fmla="*/ 6 w 36"/>
                <a:gd name="T69" fmla="*/ 4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6" h="41">
                  <a:moveTo>
                    <a:pt x="6" y="40"/>
                  </a:moveTo>
                  <a:cubicBezTo>
                    <a:pt x="9" y="40"/>
                    <a:pt x="13" y="40"/>
                    <a:pt x="17" y="40"/>
                  </a:cubicBezTo>
                  <a:cubicBezTo>
                    <a:pt x="21" y="40"/>
                    <a:pt x="26" y="39"/>
                    <a:pt x="29" y="40"/>
                  </a:cubicBezTo>
                  <a:cubicBezTo>
                    <a:pt x="30" y="40"/>
                    <a:pt x="32" y="41"/>
                    <a:pt x="33" y="40"/>
                  </a:cubicBezTo>
                  <a:cubicBezTo>
                    <a:pt x="33" y="39"/>
                    <a:pt x="33" y="37"/>
                    <a:pt x="33" y="36"/>
                  </a:cubicBezTo>
                  <a:cubicBezTo>
                    <a:pt x="33" y="33"/>
                    <a:pt x="36" y="30"/>
                    <a:pt x="32" y="29"/>
                  </a:cubicBezTo>
                  <a:cubicBezTo>
                    <a:pt x="31" y="30"/>
                    <a:pt x="32" y="32"/>
                    <a:pt x="31" y="34"/>
                  </a:cubicBezTo>
                  <a:cubicBezTo>
                    <a:pt x="30" y="36"/>
                    <a:pt x="26" y="37"/>
                    <a:pt x="22" y="37"/>
                  </a:cubicBezTo>
                  <a:cubicBezTo>
                    <a:pt x="19" y="37"/>
                    <a:pt x="13" y="37"/>
                    <a:pt x="12" y="35"/>
                  </a:cubicBezTo>
                  <a:cubicBezTo>
                    <a:pt x="11" y="33"/>
                    <a:pt x="11" y="30"/>
                    <a:pt x="11" y="28"/>
                  </a:cubicBezTo>
                  <a:cubicBezTo>
                    <a:pt x="11" y="25"/>
                    <a:pt x="11" y="23"/>
                    <a:pt x="12" y="21"/>
                  </a:cubicBezTo>
                  <a:cubicBezTo>
                    <a:pt x="16" y="21"/>
                    <a:pt x="21" y="19"/>
                    <a:pt x="24" y="21"/>
                  </a:cubicBezTo>
                  <a:cubicBezTo>
                    <a:pt x="26" y="22"/>
                    <a:pt x="25" y="25"/>
                    <a:pt x="27" y="25"/>
                  </a:cubicBezTo>
                  <a:cubicBezTo>
                    <a:pt x="29" y="25"/>
                    <a:pt x="28" y="23"/>
                    <a:pt x="28" y="21"/>
                  </a:cubicBezTo>
                  <a:cubicBezTo>
                    <a:pt x="28" y="20"/>
                    <a:pt x="28" y="18"/>
                    <a:pt x="28" y="17"/>
                  </a:cubicBezTo>
                  <a:cubicBezTo>
                    <a:pt x="28" y="15"/>
                    <a:pt x="29" y="13"/>
                    <a:pt x="27" y="13"/>
                  </a:cubicBezTo>
                  <a:cubicBezTo>
                    <a:pt x="25" y="14"/>
                    <a:pt x="26" y="16"/>
                    <a:pt x="25" y="17"/>
                  </a:cubicBezTo>
                  <a:cubicBezTo>
                    <a:pt x="24" y="18"/>
                    <a:pt x="23" y="18"/>
                    <a:pt x="22" y="18"/>
                  </a:cubicBezTo>
                  <a:cubicBezTo>
                    <a:pt x="19" y="18"/>
                    <a:pt x="14" y="18"/>
                    <a:pt x="12" y="17"/>
                  </a:cubicBezTo>
                  <a:cubicBezTo>
                    <a:pt x="11" y="14"/>
                    <a:pt x="11" y="9"/>
                    <a:pt x="12" y="5"/>
                  </a:cubicBezTo>
                  <a:cubicBezTo>
                    <a:pt x="13" y="3"/>
                    <a:pt x="16" y="3"/>
                    <a:pt x="18" y="3"/>
                  </a:cubicBezTo>
                  <a:cubicBezTo>
                    <a:pt x="22" y="3"/>
                    <a:pt x="28" y="4"/>
                    <a:pt x="29" y="6"/>
                  </a:cubicBezTo>
                  <a:cubicBezTo>
                    <a:pt x="30" y="7"/>
                    <a:pt x="29" y="9"/>
                    <a:pt x="31" y="9"/>
                  </a:cubicBezTo>
                  <a:cubicBezTo>
                    <a:pt x="33" y="10"/>
                    <a:pt x="32" y="6"/>
                    <a:pt x="32" y="4"/>
                  </a:cubicBezTo>
                  <a:cubicBezTo>
                    <a:pt x="32" y="2"/>
                    <a:pt x="32" y="2"/>
                    <a:pt x="32" y="1"/>
                  </a:cubicBezTo>
                  <a:cubicBezTo>
                    <a:pt x="31" y="0"/>
                    <a:pt x="30" y="0"/>
                    <a:pt x="30" y="0"/>
                  </a:cubicBezTo>
                  <a:cubicBezTo>
                    <a:pt x="23" y="1"/>
                    <a:pt x="12" y="1"/>
                    <a:pt x="5" y="1"/>
                  </a:cubicBezTo>
                  <a:cubicBezTo>
                    <a:pt x="4" y="1"/>
                    <a:pt x="2" y="0"/>
                    <a:pt x="2" y="1"/>
                  </a:cubicBezTo>
                  <a:cubicBezTo>
                    <a:pt x="1" y="4"/>
                    <a:pt x="4" y="3"/>
                    <a:pt x="5" y="4"/>
                  </a:cubicBezTo>
                  <a:cubicBezTo>
                    <a:pt x="6" y="4"/>
                    <a:pt x="6" y="6"/>
                    <a:pt x="7" y="7"/>
                  </a:cubicBezTo>
                  <a:cubicBezTo>
                    <a:pt x="7" y="11"/>
                    <a:pt x="7" y="16"/>
                    <a:pt x="7" y="20"/>
                  </a:cubicBezTo>
                  <a:cubicBezTo>
                    <a:pt x="7" y="25"/>
                    <a:pt x="7" y="30"/>
                    <a:pt x="7" y="34"/>
                  </a:cubicBezTo>
                  <a:cubicBezTo>
                    <a:pt x="6" y="35"/>
                    <a:pt x="6" y="36"/>
                    <a:pt x="5" y="37"/>
                  </a:cubicBezTo>
                  <a:cubicBezTo>
                    <a:pt x="4" y="38"/>
                    <a:pt x="0" y="36"/>
                    <a:pt x="1" y="39"/>
                  </a:cubicBezTo>
                  <a:cubicBezTo>
                    <a:pt x="2" y="40"/>
                    <a:pt x="4" y="40"/>
                    <a:pt x="6" y="40"/>
                  </a:cubicBezTo>
                </a:path>
              </a:pathLst>
            </a:custGeom>
            <a:solidFill>
              <a:srgbClr val="CCCCC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51" name="Freeform 357">
              <a:extLst>
                <a:ext uri="{FF2B5EF4-FFF2-40B4-BE49-F238E27FC236}">
                  <a16:creationId xmlns:a16="http://schemas.microsoft.com/office/drawing/2014/main" id="{6B2A900C-7774-4440-A1F4-A7B3D15E8C8E}"/>
                </a:ext>
              </a:extLst>
            </p:cNvPr>
            <p:cNvSpPr>
              <a:spLocks/>
            </p:cNvSpPr>
            <p:nvPr/>
          </p:nvSpPr>
          <p:spPr bwMode="auto">
            <a:xfrm>
              <a:off x="7720090" y="3195994"/>
              <a:ext cx="69983" cy="79526"/>
            </a:xfrm>
            <a:custGeom>
              <a:avLst/>
              <a:gdLst>
                <a:gd name="T0" fmla="*/ 5 w 36"/>
                <a:gd name="T1" fmla="*/ 41 h 41"/>
                <a:gd name="T2" fmla="*/ 17 w 36"/>
                <a:gd name="T3" fmla="*/ 41 h 41"/>
                <a:gd name="T4" fmla="*/ 29 w 36"/>
                <a:gd name="T5" fmla="*/ 41 h 41"/>
                <a:gd name="T6" fmla="*/ 32 w 36"/>
                <a:gd name="T7" fmla="*/ 41 h 41"/>
                <a:gd name="T8" fmla="*/ 33 w 36"/>
                <a:gd name="T9" fmla="*/ 37 h 41"/>
                <a:gd name="T10" fmla="*/ 32 w 36"/>
                <a:gd name="T11" fmla="*/ 30 h 41"/>
                <a:gd name="T12" fmla="*/ 30 w 36"/>
                <a:gd name="T13" fmla="*/ 34 h 41"/>
                <a:gd name="T14" fmla="*/ 22 w 36"/>
                <a:gd name="T15" fmla="*/ 38 h 41"/>
                <a:gd name="T16" fmla="*/ 11 w 36"/>
                <a:gd name="T17" fmla="*/ 36 h 41"/>
                <a:gd name="T18" fmla="*/ 11 w 36"/>
                <a:gd name="T19" fmla="*/ 29 h 41"/>
                <a:gd name="T20" fmla="*/ 11 w 36"/>
                <a:gd name="T21" fmla="*/ 22 h 41"/>
                <a:gd name="T22" fmla="*/ 24 w 36"/>
                <a:gd name="T23" fmla="*/ 22 h 41"/>
                <a:gd name="T24" fmla="*/ 27 w 36"/>
                <a:gd name="T25" fmla="*/ 26 h 41"/>
                <a:gd name="T26" fmla="*/ 27 w 36"/>
                <a:gd name="T27" fmla="*/ 22 h 41"/>
                <a:gd name="T28" fmla="*/ 27 w 36"/>
                <a:gd name="T29" fmla="*/ 18 h 41"/>
                <a:gd name="T30" fmla="*/ 26 w 36"/>
                <a:gd name="T31" fmla="*/ 14 h 41"/>
                <a:gd name="T32" fmla="*/ 24 w 36"/>
                <a:gd name="T33" fmla="*/ 18 h 41"/>
                <a:gd name="T34" fmla="*/ 22 w 36"/>
                <a:gd name="T35" fmla="*/ 19 h 41"/>
                <a:gd name="T36" fmla="*/ 11 w 36"/>
                <a:gd name="T37" fmla="*/ 18 h 41"/>
                <a:gd name="T38" fmla="*/ 11 w 36"/>
                <a:gd name="T39" fmla="*/ 6 h 41"/>
                <a:gd name="T40" fmla="*/ 18 w 36"/>
                <a:gd name="T41" fmla="*/ 4 h 41"/>
                <a:gd name="T42" fmla="*/ 29 w 36"/>
                <a:gd name="T43" fmla="*/ 7 h 41"/>
                <a:gd name="T44" fmla="*/ 30 w 36"/>
                <a:gd name="T45" fmla="*/ 10 h 41"/>
                <a:gd name="T46" fmla="*/ 31 w 36"/>
                <a:gd name="T47" fmla="*/ 5 h 41"/>
                <a:gd name="T48" fmla="*/ 32 w 36"/>
                <a:gd name="T49" fmla="*/ 1 h 41"/>
                <a:gd name="T50" fmla="*/ 29 w 36"/>
                <a:gd name="T51" fmla="*/ 1 h 41"/>
                <a:gd name="T52" fmla="*/ 4 w 36"/>
                <a:gd name="T53" fmla="*/ 1 h 41"/>
                <a:gd name="T54" fmla="*/ 1 w 36"/>
                <a:gd name="T55" fmla="*/ 2 h 41"/>
                <a:gd name="T56" fmla="*/ 5 w 36"/>
                <a:gd name="T57" fmla="*/ 5 h 41"/>
                <a:gd name="T58" fmla="*/ 6 w 36"/>
                <a:gd name="T59" fmla="*/ 8 h 41"/>
                <a:gd name="T60" fmla="*/ 6 w 36"/>
                <a:gd name="T61" fmla="*/ 21 h 41"/>
                <a:gd name="T62" fmla="*/ 6 w 36"/>
                <a:gd name="T63" fmla="*/ 34 h 41"/>
                <a:gd name="T64" fmla="*/ 5 w 36"/>
                <a:gd name="T65" fmla="*/ 37 h 41"/>
                <a:gd name="T66" fmla="*/ 0 w 36"/>
                <a:gd name="T67" fmla="*/ 40 h 41"/>
                <a:gd name="T68" fmla="*/ 5 w 36"/>
                <a:gd name="T69"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6" h="41">
                  <a:moveTo>
                    <a:pt x="5" y="41"/>
                  </a:moveTo>
                  <a:cubicBezTo>
                    <a:pt x="9" y="40"/>
                    <a:pt x="13" y="41"/>
                    <a:pt x="17" y="41"/>
                  </a:cubicBezTo>
                  <a:cubicBezTo>
                    <a:pt x="21" y="41"/>
                    <a:pt x="25" y="40"/>
                    <a:pt x="29" y="41"/>
                  </a:cubicBezTo>
                  <a:cubicBezTo>
                    <a:pt x="30" y="41"/>
                    <a:pt x="31" y="41"/>
                    <a:pt x="32" y="41"/>
                  </a:cubicBezTo>
                  <a:cubicBezTo>
                    <a:pt x="33" y="40"/>
                    <a:pt x="32" y="38"/>
                    <a:pt x="33" y="37"/>
                  </a:cubicBezTo>
                  <a:cubicBezTo>
                    <a:pt x="33" y="34"/>
                    <a:pt x="36" y="30"/>
                    <a:pt x="32" y="30"/>
                  </a:cubicBezTo>
                  <a:cubicBezTo>
                    <a:pt x="30" y="31"/>
                    <a:pt x="31" y="33"/>
                    <a:pt x="30" y="34"/>
                  </a:cubicBezTo>
                  <a:cubicBezTo>
                    <a:pt x="29" y="37"/>
                    <a:pt x="25" y="37"/>
                    <a:pt x="22" y="38"/>
                  </a:cubicBezTo>
                  <a:cubicBezTo>
                    <a:pt x="18" y="38"/>
                    <a:pt x="13" y="38"/>
                    <a:pt x="11" y="36"/>
                  </a:cubicBezTo>
                  <a:cubicBezTo>
                    <a:pt x="10" y="34"/>
                    <a:pt x="11" y="31"/>
                    <a:pt x="11" y="29"/>
                  </a:cubicBezTo>
                  <a:cubicBezTo>
                    <a:pt x="11" y="26"/>
                    <a:pt x="11" y="24"/>
                    <a:pt x="11" y="22"/>
                  </a:cubicBezTo>
                  <a:cubicBezTo>
                    <a:pt x="16" y="22"/>
                    <a:pt x="21" y="20"/>
                    <a:pt x="24" y="22"/>
                  </a:cubicBezTo>
                  <a:cubicBezTo>
                    <a:pt x="26" y="23"/>
                    <a:pt x="25" y="25"/>
                    <a:pt x="27" y="26"/>
                  </a:cubicBezTo>
                  <a:cubicBezTo>
                    <a:pt x="28" y="26"/>
                    <a:pt x="28" y="24"/>
                    <a:pt x="27" y="22"/>
                  </a:cubicBezTo>
                  <a:cubicBezTo>
                    <a:pt x="27" y="21"/>
                    <a:pt x="27" y="19"/>
                    <a:pt x="27" y="18"/>
                  </a:cubicBezTo>
                  <a:cubicBezTo>
                    <a:pt x="28" y="16"/>
                    <a:pt x="28" y="14"/>
                    <a:pt x="26" y="14"/>
                  </a:cubicBezTo>
                  <a:cubicBezTo>
                    <a:pt x="25" y="15"/>
                    <a:pt x="26" y="17"/>
                    <a:pt x="24" y="18"/>
                  </a:cubicBezTo>
                  <a:cubicBezTo>
                    <a:pt x="24" y="18"/>
                    <a:pt x="23" y="19"/>
                    <a:pt x="22" y="19"/>
                  </a:cubicBezTo>
                  <a:cubicBezTo>
                    <a:pt x="19" y="19"/>
                    <a:pt x="14" y="19"/>
                    <a:pt x="11" y="18"/>
                  </a:cubicBezTo>
                  <a:cubicBezTo>
                    <a:pt x="11" y="15"/>
                    <a:pt x="11" y="9"/>
                    <a:pt x="11" y="6"/>
                  </a:cubicBezTo>
                  <a:cubicBezTo>
                    <a:pt x="13" y="4"/>
                    <a:pt x="16" y="4"/>
                    <a:pt x="18" y="4"/>
                  </a:cubicBezTo>
                  <a:cubicBezTo>
                    <a:pt x="22" y="4"/>
                    <a:pt x="28" y="5"/>
                    <a:pt x="29" y="7"/>
                  </a:cubicBezTo>
                  <a:cubicBezTo>
                    <a:pt x="30" y="8"/>
                    <a:pt x="29" y="10"/>
                    <a:pt x="30" y="10"/>
                  </a:cubicBezTo>
                  <a:cubicBezTo>
                    <a:pt x="32" y="10"/>
                    <a:pt x="31" y="7"/>
                    <a:pt x="31" y="5"/>
                  </a:cubicBezTo>
                  <a:cubicBezTo>
                    <a:pt x="31" y="3"/>
                    <a:pt x="32" y="2"/>
                    <a:pt x="32" y="1"/>
                  </a:cubicBezTo>
                  <a:cubicBezTo>
                    <a:pt x="31" y="0"/>
                    <a:pt x="30" y="1"/>
                    <a:pt x="29" y="1"/>
                  </a:cubicBezTo>
                  <a:cubicBezTo>
                    <a:pt x="22" y="2"/>
                    <a:pt x="12" y="1"/>
                    <a:pt x="4" y="1"/>
                  </a:cubicBezTo>
                  <a:cubicBezTo>
                    <a:pt x="3" y="1"/>
                    <a:pt x="2" y="1"/>
                    <a:pt x="1" y="2"/>
                  </a:cubicBezTo>
                  <a:cubicBezTo>
                    <a:pt x="1" y="4"/>
                    <a:pt x="4" y="3"/>
                    <a:pt x="5" y="5"/>
                  </a:cubicBezTo>
                  <a:cubicBezTo>
                    <a:pt x="5" y="5"/>
                    <a:pt x="6" y="7"/>
                    <a:pt x="6" y="8"/>
                  </a:cubicBezTo>
                  <a:cubicBezTo>
                    <a:pt x="6" y="11"/>
                    <a:pt x="6" y="16"/>
                    <a:pt x="6" y="21"/>
                  </a:cubicBezTo>
                  <a:cubicBezTo>
                    <a:pt x="6" y="26"/>
                    <a:pt x="7" y="31"/>
                    <a:pt x="6" y="34"/>
                  </a:cubicBezTo>
                  <a:cubicBezTo>
                    <a:pt x="6" y="35"/>
                    <a:pt x="5" y="37"/>
                    <a:pt x="5" y="37"/>
                  </a:cubicBezTo>
                  <a:cubicBezTo>
                    <a:pt x="4" y="39"/>
                    <a:pt x="0" y="37"/>
                    <a:pt x="0" y="40"/>
                  </a:cubicBezTo>
                  <a:cubicBezTo>
                    <a:pt x="2" y="41"/>
                    <a:pt x="4" y="41"/>
                    <a:pt x="5" y="41"/>
                  </a:cubicBezTo>
                </a:path>
              </a:pathLst>
            </a:custGeom>
            <a:solidFill>
              <a:srgbClr val="CCCCC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52" name="Freeform 358">
              <a:extLst>
                <a:ext uri="{FF2B5EF4-FFF2-40B4-BE49-F238E27FC236}">
                  <a16:creationId xmlns:a16="http://schemas.microsoft.com/office/drawing/2014/main" id="{B5907AF2-8F1A-4346-8720-2B8DBC69A6EE}"/>
                </a:ext>
              </a:extLst>
            </p:cNvPr>
            <p:cNvSpPr>
              <a:spLocks noEditPoints="1"/>
            </p:cNvSpPr>
            <p:nvPr/>
          </p:nvSpPr>
          <p:spPr bwMode="auto">
            <a:xfrm>
              <a:off x="5060737" y="3493422"/>
              <a:ext cx="82707" cy="84299"/>
            </a:xfrm>
            <a:custGeom>
              <a:avLst/>
              <a:gdLst>
                <a:gd name="T0" fmla="*/ 40 w 43"/>
                <a:gd name="T1" fmla="*/ 21 h 43"/>
                <a:gd name="T2" fmla="*/ 42 w 43"/>
                <a:gd name="T3" fmla="*/ 13 h 43"/>
                <a:gd name="T4" fmla="*/ 35 w 43"/>
                <a:gd name="T5" fmla="*/ 10 h 43"/>
                <a:gd name="T6" fmla="*/ 34 w 43"/>
                <a:gd name="T7" fmla="*/ 3 h 43"/>
                <a:gd name="T8" fmla="*/ 24 w 43"/>
                <a:gd name="T9" fmla="*/ 1 h 43"/>
                <a:gd name="T10" fmla="*/ 20 w 43"/>
                <a:gd name="T11" fmla="*/ 5 h 43"/>
                <a:gd name="T12" fmla="*/ 16 w 43"/>
                <a:gd name="T13" fmla="*/ 1 h 43"/>
                <a:gd name="T14" fmla="*/ 11 w 43"/>
                <a:gd name="T15" fmla="*/ 10 h 43"/>
                <a:gd name="T16" fmla="*/ 4 w 43"/>
                <a:gd name="T17" fmla="*/ 11 h 43"/>
                <a:gd name="T18" fmla="*/ 2 w 43"/>
                <a:gd name="T19" fmla="*/ 21 h 43"/>
                <a:gd name="T20" fmla="*/ 5 w 43"/>
                <a:gd name="T21" fmla="*/ 24 h 43"/>
                <a:gd name="T22" fmla="*/ 4 w 43"/>
                <a:gd name="T23" fmla="*/ 31 h 43"/>
                <a:gd name="T24" fmla="*/ 10 w 43"/>
                <a:gd name="T25" fmla="*/ 33 h 43"/>
                <a:gd name="T26" fmla="*/ 11 w 43"/>
                <a:gd name="T27" fmla="*/ 41 h 43"/>
                <a:gd name="T28" fmla="*/ 23 w 43"/>
                <a:gd name="T29" fmla="*/ 38 h 43"/>
                <a:gd name="T30" fmla="*/ 30 w 43"/>
                <a:gd name="T31" fmla="*/ 39 h 43"/>
                <a:gd name="T32" fmla="*/ 34 w 43"/>
                <a:gd name="T33" fmla="*/ 33 h 43"/>
                <a:gd name="T34" fmla="*/ 42 w 43"/>
                <a:gd name="T35" fmla="*/ 23 h 43"/>
                <a:gd name="T36" fmla="*/ 37 w 43"/>
                <a:gd name="T37" fmla="*/ 12 h 43"/>
                <a:gd name="T38" fmla="*/ 39 w 43"/>
                <a:gd name="T39" fmla="*/ 15 h 43"/>
                <a:gd name="T40" fmla="*/ 27 w 43"/>
                <a:gd name="T41" fmla="*/ 19 h 43"/>
                <a:gd name="T42" fmla="*/ 27 w 43"/>
                <a:gd name="T43" fmla="*/ 18 h 43"/>
                <a:gd name="T44" fmla="*/ 25 w 43"/>
                <a:gd name="T45" fmla="*/ 3 h 43"/>
                <a:gd name="T46" fmla="*/ 32 w 43"/>
                <a:gd name="T47" fmla="*/ 7 h 43"/>
                <a:gd name="T48" fmla="*/ 25 w 43"/>
                <a:gd name="T49" fmla="*/ 17 h 43"/>
                <a:gd name="T50" fmla="*/ 23 w 43"/>
                <a:gd name="T51" fmla="*/ 6 h 43"/>
                <a:gd name="T52" fmla="*/ 15 w 43"/>
                <a:gd name="T53" fmla="*/ 4 h 43"/>
                <a:gd name="T54" fmla="*/ 20 w 43"/>
                <a:gd name="T55" fmla="*/ 15 h 43"/>
                <a:gd name="T56" fmla="*/ 13 w 43"/>
                <a:gd name="T57" fmla="*/ 9 h 43"/>
                <a:gd name="T58" fmla="*/ 3 w 43"/>
                <a:gd name="T59" fmla="*/ 16 h 43"/>
                <a:gd name="T60" fmla="*/ 11 w 43"/>
                <a:gd name="T61" fmla="*/ 14 h 43"/>
                <a:gd name="T62" fmla="*/ 6 w 43"/>
                <a:gd name="T63" fmla="*/ 20 h 43"/>
                <a:gd name="T64" fmla="*/ 20 w 43"/>
                <a:gd name="T65" fmla="*/ 36 h 43"/>
                <a:gd name="T66" fmla="*/ 15 w 43"/>
                <a:gd name="T67" fmla="*/ 40 h 43"/>
                <a:gd name="T68" fmla="*/ 12 w 43"/>
                <a:gd name="T69" fmla="*/ 34 h 43"/>
                <a:gd name="T70" fmla="*/ 20 w 43"/>
                <a:gd name="T71" fmla="*/ 27 h 43"/>
                <a:gd name="T72" fmla="*/ 18 w 43"/>
                <a:gd name="T73" fmla="*/ 24 h 43"/>
                <a:gd name="T74" fmla="*/ 21 w 43"/>
                <a:gd name="T75" fmla="*/ 18 h 43"/>
                <a:gd name="T76" fmla="*/ 24 w 43"/>
                <a:gd name="T77" fmla="*/ 24 h 43"/>
                <a:gd name="T78" fmla="*/ 30 w 43"/>
                <a:gd name="T79" fmla="*/ 35 h 43"/>
                <a:gd name="T80" fmla="*/ 24 w 43"/>
                <a:gd name="T81" fmla="*/ 35 h 43"/>
                <a:gd name="T82" fmla="*/ 24 w 43"/>
                <a:gd name="T83" fmla="*/ 27 h 43"/>
                <a:gd name="T84" fmla="*/ 29 w 43"/>
                <a:gd name="T85" fmla="*/ 31 h 43"/>
                <a:gd name="T86" fmla="*/ 40 w 43"/>
                <a:gd name="T87" fmla="*/ 28 h 43"/>
                <a:gd name="T88" fmla="*/ 33 w 43"/>
                <a:gd name="T89" fmla="*/ 30 h 43"/>
                <a:gd name="T90" fmla="*/ 27 w 43"/>
                <a:gd name="T91" fmla="*/ 23 h 43"/>
                <a:gd name="T92" fmla="*/ 37 w 43"/>
                <a:gd name="T93" fmla="*/ 22 h 43"/>
                <a:gd name="T94" fmla="*/ 40 w 43"/>
                <a:gd name="T95" fmla="*/ 28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3" h="43">
                  <a:moveTo>
                    <a:pt x="42" y="23"/>
                  </a:moveTo>
                  <a:cubicBezTo>
                    <a:pt x="42" y="23"/>
                    <a:pt x="42" y="23"/>
                    <a:pt x="42" y="23"/>
                  </a:cubicBezTo>
                  <a:cubicBezTo>
                    <a:pt x="41" y="22"/>
                    <a:pt x="41" y="21"/>
                    <a:pt x="40" y="21"/>
                  </a:cubicBezTo>
                  <a:cubicBezTo>
                    <a:pt x="39" y="20"/>
                    <a:pt x="39" y="20"/>
                    <a:pt x="38" y="20"/>
                  </a:cubicBezTo>
                  <a:cubicBezTo>
                    <a:pt x="40" y="19"/>
                    <a:pt x="41" y="18"/>
                    <a:pt x="42" y="16"/>
                  </a:cubicBezTo>
                  <a:cubicBezTo>
                    <a:pt x="42" y="15"/>
                    <a:pt x="42" y="14"/>
                    <a:pt x="42" y="13"/>
                  </a:cubicBezTo>
                  <a:cubicBezTo>
                    <a:pt x="42" y="12"/>
                    <a:pt x="42" y="12"/>
                    <a:pt x="42" y="12"/>
                  </a:cubicBezTo>
                  <a:cubicBezTo>
                    <a:pt x="41" y="11"/>
                    <a:pt x="40" y="10"/>
                    <a:pt x="38" y="10"/>
                  </a:cubicBezTo>
                  <a:cubicBezTo>
                    <a:pt x="37" y="10"/>
                    <a:pt x="36" y="10"/>
                    <a:pt x="35" y="10"/>
                  </a:cubicBezTo>
                  <a:cubicBezTo>
                    <a:pt x="33" y="10"/>
                    <a:pt x="33" y="10"/>
                    <a:pt x="33" y="10"/>
                  </a:cubicBezTo>
                  <a:cubicBezTo>
                    <a:pt x="34" y="9"/>
                    <a:pt x="34" y="9"/>
                    <a:pt x="34" y="9"/>
                  </a:cubicBezTo>
                  <a:cubicBezTo>
                    <a:pt x="35" y="7"/>
                    <a:pt x="35" y="5"/>
                    <a:pt x="34" y="3"/>
                  </a:cubicBezTo>
                  <a:cubicBezTo>
                    <a:pt x="33" y="3"/>
                    <a:pt x="33" y="3"/>
                    <a:pt x="33" y="3"/>
                  </a:cubicBezTo>
                  <a:cubicBezTo>
                    <a:pt x="32" y="2"/>
                    <a:pt x="31" y="1"/>
                    <a:pt x="29" y="0"/>
                  </a:cubicBezTo>
                  <a:cubicBezTo>
                    <a:pt x="27" y="0"/>
                    <a:pt x="26" y="0"/>
                    <a:pt x="24" y="1"/>
                  </a:cubicBezTo>
                  <a:cubicBezTo>
                    <a:pt x="22" y="2"/>
                    <a:pt x="21" y="3"/>
                    <a:pt x="20" y="5"/>
                  </a:cubicBezTo>
                  <a:cubicBezTo>
                    <a:pt x="20" y="5"/>
                    <a:pt x="20" y="5"/>
                    <a:pt x="20" y="5"/>
                  </a:cubicBezTo>
                  <a:cubicBezTo>
                    <a:pt x="20" y="5"/>
                    <a:pt x="20" y="5"/>
                    <a:pt x="20" y="5"/>
                  </a:cubicBezTo>
                  <a:cubicBezTo>
                    <a:pt x="20" y="5"/>
                    <a:pt x="20" y="5"/>
                    <a:pt x="20" y="5"/>
                  </a:cubicBezTo>
                  <a:cubicBezTo>
                    <a:pt x="19" y="4"/>
                    <a:pt x="19" y="4"/>
                    <a:pt x="19" y="4"/>
                  </a:cubicBezTo>
                  <a:cubicBezTo>
                    <a:pt x="18" y="2"/>
                    <a:pt x="17" y="1"/>
                    <a:pt x="16" y="1"/>
                  </a:cubicBezTo>
                  <a:cubicBezTo>
                    <a:pt x="14" y="1"/>
                    <a:pt x="13" y="1"/>
                    <a:pt x="12" y="1"/>
                  </a:cubicBezTo>
                  <a:cubicBezTo>
                    <a:pt x="11" y="2"/>
                    <a:pt x="10" y="3"/>
                    <a:pt x="10" y="5"/>
                  </a:cubicBezTo>
                  <a:cubicBezTo>
                    <a:pt x="9" y="7"/>
                    <a:pt x="10" y="9"/>
                    <a:pt x="11" y="10"/>
                  </a:cubicBezTo>
                  <a:cubicBezTo>
                    <a:pt x="11" y="11"/>
                    <a:pt x="11" y="11"/>
                    <a:pt x="11" y="11"/>
                  </a:cubicBezTo>
                  <a:cubicBezTo>
                    <a:pt x="10" y="10"/>
                    <a:pt x="10" y="10"/>
                    <a:pt x="10" y="10"/>
                  </a:cubicBezTo>
                  <a:cubicBezTo>
                    <a:pt x="8" y="10"/>
                    <a:pt x="6" y="10"/>
                    <a:pt x="4" y="11"/>
                  </a:cubicBezTo>
                  <a:cubicBezTo>
                    <a:pt x="3" y="12"/>
                    <a:pt x="1" y="13"/>
                    <a:pt x="1" y="15"/>
                  </a:cubicBezTo>
                  <a:cubicBezTo>
                    <a:pt x="0" y="17"/>
                    <a:pt x="0" y="18"/>
                    <a:pt x="1" y="20"/>
                  </a:cubicBezTo>
                  <a:cubicBezTo>
                    <a:pt x="1" y="20"/>
                    <a:pt x="2" y="21"/>
                    <a:pt x="2" y="21"/>
                  </a:cubicBezTo>
                  <a:cubicBezTo>
                    <a:pt x="3" y="22"/>
                    <a:pt x="4" y="23"/>
                    <a:pt x="5" y="23"/>
                  </a:cubicBezTo>
                  <a:cubicBezTo>
                    <a:pt x="6" y="23"/>
                    <a:pt x="6" y="23"/>
                    <a:pt x="6" y="23"/>
                  </a:cubicBezTo>
                  <a:cubicBezTo>
                    <a:pt x="5" y="24"/>
                    <a:pt x="5" y="24"/>
                    <a:pt x="5" y="24"/>
                  </a:cubicBezTo>
                  <a:cubicBezTo>
                    <a:pt x="4" y="24"/>
                    <a:pt x="3" y="25"/>
                    <a:pt x="3" y="26"/>
                  </a:cubicBezTo>
                  <a:cubicBezTo>
                    <a:pt x="3" y="27"/>
                    <a:pt x="3" y="28"/>
                    <a:pt x="3" y="29"/>
                  </a:cubicBezTo>
                  <a:cubicBezTo>
                    <a:pt x="4" y="30"/>
                    <a:pt x="4" y="30"/>
                    <a:pt x="4" y="31"/>
                  </a:cubicBezTo>
                  <a:cubicBezTo>
                    <a:pt x="5" y="31"/>
                    <a:pt x="6" y="31"/>
                    <a:pt x="6" y="31"/>
                  </a:cubicBezTo>
                  <a:cubicBezTo>
                    <a:pt x="8" y="32"/>
                    <a:pt x="9" y="32"/>
                    <a:pt x="11" y="31"/>
                  </a:cubicBezTo>
                  <a:cubicBezTo>
                    <a:pt x="10" y="33"/>
                    <a:pt x="10" y="33"/>
                    <a:pt x="10" y="33"/>
                  </a:cubicBezTo>
                  <a:cubicBezTo>
                    <a:pt x="9" y="34"/>
                    <a:pt x="9" y="34"/>
                    <a:pt x="9" y="34"/>
                  </a:cubicBezTo>
                  <a:cubicBezTo>
                    <a:pt x="9" y="36"/>
                    <a:pt x="9" y="37"/>
                    <a:pt x="10" y="39"/>
                  </a:cubicBezTo>
                  <a:cubicBezTo>
                    <a:pt x="10" y="40"/>
                    <a:pt x="11" y="40"/>
                    <a:pt x="11" y="41"/>
                  </a:cubicBezTo>
                  <a:cubicBezTo>
                    <a:pt x="12" y="42"/>
                    <a:pt x="13" y="42"/>
                    <a:pt x="14" y="42"/>
                  </a:cubicBezTo>
                  <a:cubicBezTo>
                    <a:pt x="16" y="43"/>
                    <a:pt x="18" y="43"/>
                    <a:pt x="19" y="42"/>
                  </a:cubicBezTo>
                  <a:cubicBezTo>
                    <a:pt x="21" y="41"/>
                    <a:pt x="22" y="39"/>
                    <a:pt x="23" y="38"/>
                  </a:cubicBezTo>
                  <a:cubicBezTo>
                    <a:pt x="23" y="37"/>
                    <a:pt x="23" y="37"/>
                    <a:pt x="23" y="37"/>
                  </a:cubicBezTo>
                  <a:cubicBezTo>
                    <a:pt x="24" y="39"/>
                    <a:pt x="25" y="39"/>
                    <a:pt x="26" y="40"/>
                  </a:cubicBezTo>
                  <a:cubicBezTo>
                    <a:pt x="27" y="40"/>
                    <a:pt x="29" y="40"/>
                    <a:pt x="30" y="39"/>
                  </a:cubicBezTo>
                  <a:cubicBezTo>
                    <a:pt x="31" y="39"/>
                    <a:pt x="32" y="38"/>
                    <a:pt x="32" y="36"/>
                  </a:cubicBezTo>
                  <a:cubicBezTo>
                    <a:pt x="32" y="35"/>
                    <a:pt x="32" y="34"/>
                    <a:pt x="32" y="32"/>
                  </a:cubicBezTo>
                  <a:cubicBezTo>
                    <a:pt x="33" y="33"/>
                    <a:pt x="33" y="33"/>
                    <a:pt x="34" y="33"/>
                  </a:cubicBezTo>
                  <a:cubicBezTo>
                    <a:pt x="36" y="34"/>
                    <a:pt x="38" y="34"/>
                    <a:pt x="39" y="33"/>
                  </a:cubicBezTo>
                  <a:cubicBezTo>
                    <a:pt x="41" y="32"/>
                    <a:pt x="42" y="30"/>
                    <a:pt x="43" y="29"/>
                  </a:cubicBezTo>
                  <a:cubicBezTo>
                    <a:pt x="43" y="27"/>
                    <a:pt x="43" y="25"/>
                    <a:pt x="42" y="23"/>
                  </a:cubicBezTo>
                  <a:moveTo>
                    <a:pt x="33" y="13"/>
                  </a:moveTo>
                  <a:cubicBezTo>
                    <a:pt x="34" y="13"/>
                    <a:pt x="34" y="13"/>
                    <a:pt x="34" y="13"/>
                  </a:cubicBezTo>
                  <a:cubicBezTo>
                    <a:pt x="35" y="12"/>
                    <a:pt x="36" y="12"/>
                    <a:pt x="37" y="12"/>
                  </a:cubicBezTo>
                  <a:cubicBezTo>
                    <a:pt x="38" y="13"/>
                    <a:pt x="39" y="13"/>
                    <a:pt x="39" y="14"/>
                  </a:cubicBezTo>
                  <a:cubicBezTo>
                    <a:pt x="40" y="15"/>
                    <a:pt x="40" y="15"/>
                    <a:pt x="40" y="15"/>
                  </a:cubicBezTo>
                  <a:cubicBezTo>
                    <a:pt x="39" y="15"/>
                    <a:pt x="39" y="15"/>
                    <a:pt x="39" y="15"/>
                  </a:cubicBezTo>
                  <a:cubicBezTo>
                    <a:pt x="39" y="16"/>
                    <a:pt x="38" y="17"/>
                    <a:pt x="37" y="18"/>
                  </a:cubicBezTo>
                  <a:cubicBezTo>
                    <a:pt x="36" y="18"/>
                    <a:pt x="35" y="18"/>
                    <a:pt x="35" y="18"/>
                  </a:cubicBezTo>
                  <a:cubicBezTo>
                    <a:pt x="27" y="19"/>
                    <a:pt x="27" y="19"/>
                    <a:pt x="27" y="19"/>
                  </a:cubicBezTo>
                  <a:cubicBezTo>
                    <a:pt x="27" y="19"/>
                    <a:pt x="27" y="19"/>
                    <a:pt x="27" y="19"/>
                  </a:cubicBezTo>
                  <a:cubicBezTo>
                    <a:pt x="27" y="19"/>
                    <a:pt x="27" y="19"/>
                    <a:pt x="27" y="19"/>
                  </a:cubicBezTo>
                  <a:cubicBezTo>
                    <a:pt x="27" y="18"/>
                    <a:pt x="27" y="18"/>
                    <a:pt x="27" y="18"/>
                  </a:cubicBezTo>
                  <a:lnTo>
                    <a:pt x="33" y="13"/>
                  </a:lnTo>
                  <a:close/>
                  <a:moveTo>
                    <a:pt x="23" y="6"/>
                  </a:moveTo>
                  <a:cubicBezTo>
                    <a:pt x="23" y="4"/>
                    <a:pt x="24" y="4"/>
                    <a:pt x="25" y="3"/>
                  </a:cubicBezTo>
                  <a:cubicBezTo>
                    <a:pt x="26" y="2"/>
                    <a:pt x="27" y="2"/>
                    <a:pt x="29" y="3"/>
                  </a:cubicBezTo>
                  <a:cubicBezTo>
                    <a:pt x="30" y="3"/>
                    <a:pt x="31" y="4"/>
                    <a:pt x="31" y="5"/>
                  </a:cubicBezTo>
                  <a:cubicBezTo>
                    <a:pt x="32" y="5"/>
                    <a:pt x="32" y="6"/>
                    <a:pt x="32" y="7"/>
                  </a:cubicBezTo>
                  <a:cubicBezTo>
                    <a:pt x="32" y="8"/>
                    <a:pt x="32" y="8"/>
                    <a:pt x="32" y="8"/>
                  </a:cubicBezTo>
                  <a:cubicBezTo>
                    <a:pt x="31" y="9"/>
                    <a:pt x="31" y="9"/>
                    <a:pt x="31" y="10"/>
                  </a:cubicBezTo>
                  <a:cubicBezTo>
                    <a:pt x="25" y="17"/>
                    <a:pt x="25" y="17"/>
                    <a:pt x="25" y="17"/>
                  </a:cubicBezTo>
                  <a:cubicBezTo>
                    <a:pt x="25" y="16"/>
                    <a:pt x="24" y="16"/>
                    <a:pt x="23" y="15"/>
                  </a:cubicBezTo>
                  <a:cubicBezTo>
                    <a:pt x="23" y="9"/>
                    <a:pt x="23" y="9"/>
                    <a:pt x="23" y="9"/>
                  </a:cubicBezTo>
                  <a:cubicBezTo>
                    <a:pt x="23" y="6"/>
                    <a:pt x="23" y="6"/>
                    <a:pt x="23" y="6"/>
                  </a:cubicBezTo>
                  <a:close/>
                  <a:moveTo>
                    <a:pt x="12" y="6"/>
                  </a:moveTo>
                  <a:cubicBezTo>
                    <a:pt x="12" y="5"/>
                    <a:pt x="13" y="4"/>
                    <a:pt x="14" y="4"/>
                  </a:cubicBezTo>
                  <a:cubicBezTo>
                    <a:pt x="14" y="3"/>
                    <a:pt x="14" y="3"/>
                    <a:pt x="15" y="4"/>
                  </a:cubicBezTo>
                  <a:cubicBezTo>
                    <a:pt x="16" y="4"/>
                    <a:pt x="17" y="5"/>
                    <a:pt x="18" y="6"/>
                  </a:cubicBezTo>
                  <a:cubicBezTo>
                    <a:pt x="18" y="7"/>
                    <a:pt x="18" y="7"/>
                    <a:pt x="18" y="8"/>
                  </a:cubicBezTo>
                  <a:cubicBezTo>
                    <a:pt x="20" y="15"/>
                    <a:pt x="20" y="15"/>
                    <a:pt x="20" y="15"/>
                  </a:cubicBezTo>
                  <a:cubicBezTo>
                    <a:pt x="19" y="15"/>
                    <a:pt x="19" y="15"/>
                    <a:pt x="19" y="15"/>
                  </a:cubicBezTo>
                  <a:cubicBezTo>
                    <a:pt x="13" y="10"/>
                    <a:pt x="13" y="10"/>
                    <a:pt x="13" y="10"/>
                  </a:cubicBezTo>
                  <a:cubicBezTo>
                    <a:pt x="13" y="9"/>
                    <a:pt x="13" y="9"/>
                    <a:pt x="13" y="9"/>
                  </a:cubicBezTo>
                  <a:cubicBezTo>
                    <a:pt x="12" y="8"/>
                    <a:pt x="12" y="7"/>
                    <a:pt x="12" y="6"/>
                  </a:cubicBezTo>
                  <a:moveTo>
                    <a:pt x="3" y="19"/>
                  </a:moveTo>
                  <a:cubicBezTo>
                    <a:pt x="3" y="18"/>
                    <a:pt x="3" y="17"/>
                    <a:pt x="3" y="16"/>
                  </a:cubicBezTo>
                  <a:cubicBezTo>
                    <a:pt x="4" y="15"/>
                    <a:pt x="4" y="14"/>
                    <a:pt x="6" y="13"/>
                  </a:cubicBezTo>
                  <a:cubicBezTo>
                    <a:pt x="7" y="13"/>
                    <a:pt x="8" y="13"/>
                    <a:pt x="9" y="13"/>
                  </a:cubicBezTo>
                  <a:cubicBezTo>
                    <a:pt x="11" y="14"/>
                    <a:pt x="11" y="14"/>
                    <a:pt x="11" y="14"/>
                  </a:cubicBezTo>
                  <a:cubicBezTo>
                    <a:pt x="16" y="17"/>
                    <a:pt x="16" y="17"/>
                    <a:pt x="16" y="17"/>
                  </a:cubicBezTo>
                  <a:cubicBezTo>
                    <a:pt x="16" y="18"/>
                    <a:pt x="15" y="19"/>
                    <a:pt x="15" y="19"/>
                  </a:cubicBezTo>
                  <a:cubicBezTo>
                    <a:pt x="6" y="20"/>
                    <a:pt x="6" y="20"/>
                    <a:pt x="6" y="20"/>
                  </a:cubicBezTo>
                  <a:cubicBezTo>
                    <a:pt x="6" y="20"/>
                    <a:pt x="6" y="20"/>
                    <a:pt x="6" y="20"/>
                  </a:cubicBezTo>
                  <a:cubicBezTo>
                    <a:pt x="4" y="20"/>
                    <a:pt x="4" y="20"/>
                    <a:pt x="3" y="19"/>
                  </a:cubicBezTo>
                  <a:moveTo>
                    <a:pt x="20" y="36"/>
                  </a:moveTo>
                  <a:cubicBezTo>
                    <a:pt x="20" y="37"/>
                    <a:pt x="20" y="37"/>
                    <a:pt x="20" y="37"/>
                  </a:cubicBezTo>
                  <a:cubicBezTo>
                    <a:pt x="20" y="38"/>
                    <a:pt x="19" y="39"/>
                    <a:pt x="18" y="39"/>
                  </a:cubicBezTo>
                  <a:cubicBezTo>
                    <a:pt x="17" y="40"/>
                    <a:pt x="16" y="40"/>
                    <a:pt x="15" y="40"/>
                  </a:cubicBezTo>
                  <a:cubicBezTo>
                    <a:pt x="13" y="40"/>
                    <a:pt x="12" y="39"/>
                    <a:pt x="12" y="38"/>
                  </a:cubicBezTo>
                  <a:cubicBezTo>
                    <a:pt x="12" y="37"/>
                    <a:pt x="11" y="37"/>
                    <a:pt x="11" y="36"/>
                  </a:cubicBezTo>
                  <a:cubicBezTo>
                    <a:pt x="12" y="34"/>
                    <a:pt x="12" y="34"/>
                    <a:pt x="12" y="34"/>
                  </a:cubicBezTo>
                  <a:cubicBezTo>
                    <a:pt x="12" y="34"/>
                    <a:pt x="12" y="33"/>
                    <a:pt x="13" y="33"/>
                  </a:cubicBezTo>
                  <a:cubicBezTo>
                    <a:pt x="18" y="27"/>
                    <a:pt x="18" y="27"/>
                    <a:pt x="18" y="27"/>
                  </a:cubicBezTo>
                  <a:cubicBezTo>
                    <a:pt x="18" y="27"/>
                    <a:pt x="19" y="27"/>
                    <a:pt x="20" y="27"/>
                  </a:cubicBezTo>
                  <a:cubicBezTo>
                    <a:pt x="20" y="29"/>
                    <a:pt x="20" y="32"/>
                    <a:pt x="20" y="34"/>
                  </a:cubicBezTo>
                  <a:lnTo>
                    <a:pt x="20" y="36"/>
                  </a:lnTo>
                  <a:close/>
                  <a:moveTo>
                    <a:pt x="18" y="24"/>
                  </a:moveTo>
                  <a:cubicBezTo>
                    <a:pt x="18" y="24"/>
                    <a:pt x="17" y="23"/>
                    <a:pt x="17" y="21"/>
                  </a:cubicBezTo>
                  <a:cubicBezTo>
                    <a:pt x="17" y="20"/>
                    <a:pt x="18" y="20"/>
                    <a:pt x="18" y="19"/>
                  </a:cubicBezTo>
                  <a:cubicBezTo>
                    <a:pt x="19" y="18"/>
                    <a:pt x="20" y="18"/>
                    <a:pt x="21" y="18"/>
                  </a:cubicBezTo>
                  <a:cubicBezTo>
                    <a:pt x="22" y="18"/>
                    <a:pt x="23" y="18"/>
                    <a:pt x="24" y="19"/>
                  </a:cubicBezTo>
                  <a:cubicBezTo>
                    <a:pt x="25" y="20"/>
                    <a:pt x="25" y="20"/>
                    <a:pt x="25" y="21"/>
                  </a:cubicBezTo>
                  <a:cubicBezTo>
                    <a:pt x="25" y="23"/>
                    <a:pt x="25" y="24"/>
                    <a:pt x="24" y="24"/>
                  </a:cubicBezTo>
                  <a:cubicBezTo>
                    <a:pt x="23" y="25"/>
                    <a:pt x="22" y="26"/>
                    <a:pt x="21" y="26"/>
                  </a:cubicBezTo>
                  <a:cubicBezTo>
                    <a:pt x="20" y="26"/>
                    <a:pt x="19" y="25"/>
                    <a:pt x="18" y="24"/>
                  </a:cubicBezTo>
                  <a:moveTo>
                    <a:pt x="30" y="35"/>
                  </a:moveTo>
                  <a:cubicBezTo>
                    <a:pt x="30" y="36"/>
                    <a:pt x="29" y="37"/>
                    <a:pt x="28" y="37"/>
                  </a:cubicBezTo>
                  <a:cubicBezTo>
                    <a:pt x="28" y="37"/>
                    <a:pt x="27" y="37"/>
                    <a:pt x="27" y="37"/>
                  </a:cubicBezTo>
                  <a:cubicBezTo>
                    <a:pt x="26" y="37"/>
                    <a:pt x="25" y="36"/>
                    <a:pt x="24" y="35"/>
                  </a:cubicBezTo>
                  <a:cubicBezTo>
                    <a:pt x="24" y="33"/>
                    <a:pt x="24" y="33"/>
                    <a:pt x="24" y="33"/>
                  </a:cubicBezTo>
                  <a:cubicBezTo>
                    <a:pt x="23" y="27"/>
                    <a:pt x="23" y="27"/>
                    <a:pt x="23" y="27"/>
                  </a:cubicBezTo>
                  <a:cubicBezTo>
                    <a:pt x="24" y="27"/>
                    <a:pt x="24" y="27"/>
                    <a:pt x="24" y="27"/>
                  </a:cubicBezTo>
                  <a:cubicBezTo>
                    <a:pt x="24" y="27"/>
                    <a:pt x="24" y="27"/>
                    <a:pt x="24" y="27"/>
                  </a:cubicBezTo>
                  <a:cubicBezTo>
                    <a:pt x="27" y="29"/>
                    <a:pt x="27" y="29"/>
                    <a:pt x="27" y="29"/>
                  </a:cubicBezTo>
                  <a:cubicBezTo>
                    <a:pt x="29" y="31"/>
                    <a:pt x="29" y="31"/>
                    <a:pt x="29" y="31"/>
                  </a:cubicBezTo>
                  <a:cubicBezTo>
                    <a:pt x="29" y="32"/>
                    <a:pt x="29" y="32"/>
                    <a:pt x="29" y="32"/>
                  </a:cubicBezTo>
                  <a:cubicBezTo>
                    <a:pt x="29" y="33"/>
                    <a:pt x="30" y="34"/>
                    <a:pt x="30" y="35"/>
                  </a:cubicBezTo>
                  <a:moveTo>
                    <a:pt x="40" y="28"/>
                  </a:moveTo>
                  <a:cubicBezTo>
                    <a:pt x="40" y="29"/>
                    <a:pt x="39" y="30"/>
                    <a:pt x="38" y="30"/>
                  </a:cubicBezTo>
                  <a:cubicBezTo>
                    <a:pt x="37" y="31"/>
                    <a:pt x="36" y="31"/>
                    <a:pt x="35" y="31"/>
                  </a:cubicBezTo>
                  <a:cubicBezTo>
                    <a:pt x="34" y="31"/>
                    <a:pt x="33" y="30"/>
                    <a:pt x="33" y="30"/>
                  </a:cubicBezTo>
                  <a:cubicBezTo>
                    <a:pt x="27" y="25"/>
                    <a:pt x="27" y="25"/>
                    <a:pt x="27" y="25"/>
                  </a:cubicBezTo>
                  <a:cubicBezTo>
                    <a:pt x="27" y="24"/>
                    <a:pt x="27" y="24"/>
                    <a:pt x="27" y="24"/>
                  </a:cubicBezTo>
                  <a:cubicBezTo>
                    <a:pt x="27" y="23"/>
                    <a:pt x="27" y="23"/>
                    <a:pt x="27" y="23"/>
                  </a:cubicBezTo>
                  <a:cubicBezTo>
                    <a:pt x="34" y="22"/>
                    <a:pt x="34" y="22"/>
                    <a:pt x="34" y="22"/>
                  </a:cubicBezTo>
                  <a:cubicBezTo>
                    <a:pt x="37" y="22"/>
                    <a:pt x="37" y="22"/>
                    <a:pt x="37" y="22"/>
                  </a:cubicBezTo>
                  <a:cubicBezTo>
                    <a:pt x="37" y="22"/>
                    <a:pt x="37" y="22"/>
                    <a:pt x="37" y="22"/>
                  </a:cubicBezTo>
                  <a:cubicBezTo>
                    <a:pt x="38" y="23"/>
                    <a:pt x="39" y="23"/>
                    <a:pt x="39" y="24"/>
                  </a:cubicBezTo>
                  <a:cubicBezTo>
                    <a:pt x="40" y="25"/>
                    <a:pt x="40" y="26"/>
                    <a:pt x="40" y="27"/>
                  </a:cubicBezTo>
                  <a:lnTo>
                    <a:pt x="40" y="28"/>
                  </a:lnTo>
                  <a:close/>
                </a:path>
              </a:pathLst>
            </a:custGeom>
            <a:solidFill>
              <a:srgbClr val="CCCCC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53" name="Freeform 359">
              <a:extLst>
                <a:ext uri="{FF2B5EF4-FFF2-40B4-BE49-F238E27FC236}">
                  <a16:creationId xmlns:a16="http://schemas.microsoft.com/office/drawing/2014/main" id="{1C44C7ED-80CA-4362-B23B-42F34AECC5F1}"/>
                </a:ext>
              </a:extLst>
            </p:cNvPr>
            <p:cNvSpPr>
              <a:spLocks noEditPoints="1"/>
            </p:cNvSpPr>
            <p:nvPr/>
          </p:nvSpPr>
          <p:spPr bwMode="auto">
            <a:xfrm>
              <a:off x="4496101" y="3052847"/>
              <a:ext cx="85888" cy="84299"/>
            </a:xfrm>
            <a:custGeom>
              <a:avLst/>
              <a:gdLst>
                <a:gd name="T0" fmla="*/ 41 w 44"/>
                <a:gd name="T1" fmla="*/ 21 h 43"/>
                <a:gd name="T2" fmla="*/ 42 w 44"/>
                <a:gd name="T3" fmla="*/ 13 h 43"/>
                <a:gd name="T4" fmla="*/ 36 w 44"/>
                <a:gd name="T5" fmla="*/ 10 h 43"/>
                <a:gd name="T6" fmla="*/ 34 w 44"/>
                <a:gd name="T7" fmla="*/ 4 h 43"/>
                <a:gd name="T8" fmla="*/ 24 w 44"/>
                <a:gd name="T9" fmla="*/ 1 h 43"/>
                <a:gd name="T10" fmla="*/ 21 w 44"/>
                <a:gd name="T11" fmla="*/ 6 h 43"/>
                <a:gd name="T12" fmla="*/ 16 w 44"/>
                <a:gd name="T13" fmla="*/ 1 h 43"/>
                <a:gd name="T14" fmla="*/ 11 w 44"/>
                <a:gd name="T15" fmla="*/ 11 h 43"/>
                <a:gd name="T16" fmla="*/ 5 w 44"/>
                <a:gd name="T17" fmla="*/ 12 h 43"/>
                <a:gd name="T18" fmla="*/ 3 w 44"/>
                <a:gd name="T19" fmla="*/ 22 h 43"/>
                <a:gd name="T20" fmla="*/ 5 w 44"/>
                <a:gd name="T21" fmla="*/ 24 h 43"/>
                <a:gd name="T22" fmla="*/ 5 w 44"/>
                <a:gd name="T23" fmla="*/ 31 h 43"/>
                <a:gd name="T24" fmla="*/ 10 w 44"/>
                <a:gd name="T25" fmla="*/ 33 h 43"/>
                <a:gd name="T26" fmla="*/ 12 w 44"/>
                <a:gd name="T27" fmla="*/ 41 h 43"/>
                <a:gd name="T28" fmla="*/ 23 w 44"/>
                <a:gd name="T29" fmla="*/ 38 h 43"/>
                <a:gd name="T30" fmla="*/ 30 w 44"/>
                <a:gd name="T31" fmla="*/ 40 h 43"/>
                <a:gd name="T32" fmla="*/ 34 w 44"/>
                <a:gd name="T33" fmla="*/ 34 h 43"/>
                <a:gd name="T34" fmla="*/ 43 w 44"/>
                <a:gd name="T35" fmla="*/ 24 h 43"/>
                <a:gd name="T36" fmla="*/ 38 w 44"/>
                <a:gd name="T37" fmla="*/ 13 h 43"/>
                <a:gd name="T38" fmla="*/ 40 w 44"/>
                <a:gd name="T39" fmla="*/ 16 h 43"/>
                <a:gd name="T40" fmla="*/ 27 w 44"/>
                <a:gd name="T41" fmla="*/ 20 h 43"/>
                <a:gd name="T42" fmla="*/ 27 w 44"/>
                <a:gd name="T43" fmla="*/ 19 h 43"/>
                <a:gd name="T44" fmla="*/ 26 w 44"/>
                <a:gd name="T45" fmla="*/ 3 h 43"/>
                <a:gd name="T46" fmla="*/ 32 w 44"/>
                <a:gd name="T47" fmla="*/ 7 h 43"/>
                <a:gd name="T48" fmla="*/ 26 w 44"/>
                <a:gd name="T49" fmla="*/ 17 h 43"/>
                <a:gd name="T50" fmla="*/ 23 w 44"/>
                <a:gd name="T51" fmla="*/ 7 h 43"/>
                <a:gd name="T52" fmla="*/ 14 w 44"/>
                <a:gd name="T53" fmla="*/ 4 h 43"/>
                <a:gd name="T54" fmla="*/ 19 w 44"/>
                <a:gd name="T55" fmla="*/ 9 h 43"/>
                <a:gd name="T56" fmla="*/ 14 w 44"/>
                <a:gd name="T57" fmla="*/ 10 h 43"/>
                <a:gd name="T58" fmla="*/ 4 w 44"/>
                <a:gd name="T59" fmla="*/ 19 h 43"/>
                <a:gd name="T60" fmla="*/ 9 w 44"/>
                <a:gd name="T61" fmla="*/ 13 h 43"/>
                <a:gd name="T62" fmla="*/ 16 w 44"/>
                <a:gd name="T63" fmla="*/ 20 h 43"/>
                <a:gd name="T64" fmla="*/ 4 w 44"/>
                <a:gd name="T65" fmla="*/ 19 h 43"/>
                <a:gd name="T66" fmla="*/ 18 w 44"/>
                <a:gd name="T67" fmla="*/ 40 h 43"/>
                <a:gd name="T68" fmla="*/ 12 w 44"/>
                <a:gd name="T69" fmla="*/ 36 h 43"/>
                <a:gd name="T70" fmla="*/ 18 w 44"/>
                <a:gd name="T71" fmla="*/ 27 h 43"/>
                <a:gd name="T72" fmla="*/ 21 w 44"/>
                <a:gd name="T73" fmla="*/ 37 h 43"/>
                <a:gd name="T74" fmla="*/ 19 w 44"/>
                <a:gd name="T75" fmla="*/ 19 h 43"/>
                <a:gd name="T76" fmla="*/ 26 w 44"/>
                <a:gd name="T77" fmla="*/ 22 h 43"/>
                <a:gd name="T78" fmla="*/ 19 w 44"/>
                <a:gd name="T79" fmla="*/ 25 h 43"/>
                <a:gd name="T80" fmla="*/ 27 w 44"/>
                <a:gd name="T81" fmla="*/ 38 h 43"/>
                <a:gd name="T82" fmla="*/ 23 w 44"/>
                <a:gd name="T83" fmla="*/ 28 h 43"/>
                <a:gd name="T84" fmla="*/ 27 w 44"/>
                <a:gd name="T85" fmla="*/ 30 h 43"/>
                <a:gd name="T86" fmla="*/ 30 w 44"/>
                <a:gd name="T87" fmla="*/ 35 h 43"/>
                <a:gd name="T88" fmla="*/ 35 w 44"/>
                <a:gd name="T89" fmla="*/ 31 h 43"/>
                <a:gd name="T90" fmla="*/ 27 w 44"/>
                <a:gd name="T91" fmla="*/ 24 h 43"/>
                <a:gd name="T92" fmla="*/ 37 w 44"/>
                <a:gd name="T93" fmla="*/ 23 h 43"/>
                <a:gd name="T94" fmla="*/ 41 w 44"/>
                <a:gd name="T95" fmla="*/ 27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4" h="43">
                  <a:moveTo>
                    <a:pt x="43" y="24"/>
                  </a:moveTo>
                  <a:cubicBezTo>
                    <a:pt x="42" y="23"/>
                    <a:pt x="42" y="23"/>
                    <a:pt x="42" y="23"/>
                  </a:cubicBezTo>
                  <a:cubicBezTo>
                    <a:pt x="42" y="23"/>
                    <a:pt x="41" y="22"/>
                    <a:pt x="41" y="21"/>
                  </a:cubicBezTo>
                  <a:cubicBezTo>
                    <a:pt x="40" y="21"/>
                    <a:pt x="39" y="21"/>
                    <a:pt x="39" y="20"/>
                  </a:cubicBezTo>
                  <a:cubicBezTo>
                    <a:pt x="40" y="19"/>
                    <a:pt x="42" y="18"/>
                    <a:pt x="42" y="17"/>
                  </a:cubicBezTo>
                  <a:cubicBezTo>
                    <a:pt x="43" y="15"/>
                    <a:pt x="43" y="14"/>
                    <a:pt x="42" y="13"/>
                  </a:cubicBezTo>
                  <a:cubicBezTo>
                    <a:pt x="42" y="13"/>
                    <a:pt x="42" y="13"/>
                    <a:pt x="42" y="13"/>
                  </a:cubicBezTo>
                  <a:cubicBezTo>
                    <a:pt x="41" y="12"/>
                    <a:pt x="40" y="11"/>
                    <a:pt x="39" y="11"/>
                  </a:cubicBezTo>
                  <a:cubicBezTo>
                    <a:pt x="38" y="10"/>
                    <a:pt x="37" y="10"/>
                    <a:pt x="36" y="10"/>
                  </a:cubicBezTo>
                  <a:cubicBezTo>
                    <a:pt x="34" y="11"/>
                    <a:pt x="34" y="11"/>
                    <a:pt x="34" y="11"/>
                  </a:cubicBezTo>
                  <a:cubicBezTo>
                    <a:pt x="35" y="9"/>
                    <a:pt x="35" y="9"/>
                    <a:pt x="35" y="9"/>
                  </a:cubicBezTo>
                  <a:cubicBezTo>
                    <a:pt x="35" y="7"/>
                    <a:pt x="35" y="6"/>
                    <a:pt x="34" y="4"/>
                  </a:cubicBezTo>
                  <a:cubicBezTo>
                    <a:pt x="34" y="3"/>
                    <a:pt x="34" y="3"/>
                    <a:pt x="34" y="3"/>
                  </a:cubicBezTo>
                  <a:cubicBezTo>
                    <a:pt x="33" y="2"/>
                    <a:pt x="32" y="1"/>
                    <a:pt x="30" y="1"/>
                  </a:cubicBezTo>
                  <a:cubicBezTo>
                    <a:pt x="28" y="0"/>
                    <a:pt x="26" y="0"/>
                    <a:pt x="24" y="1"/>
                  </a:cubicBezTo>
                  <a:cubicBezTo>
                    <a:pt x="23" y="2"/>
                    <a:pt x="21" y="3"/>
                    <a:pt x="21" y="5"/>
                  </a:cubicBezTo>
                  <a:cubicBezTo>
                    <a:pt x="21" y="5"/>
                    <a:pt x="21" y="5"/>
                    <a:pt x="21" y="5"/>
                  </a:cubicBezTo>
                  <a:cubicBezTo>
                    <a:pt x="21" y="6"/>
                    <a:pt x="21" y="6"/>
                    <a:pt x="21" y="6"/>
                  </a:cubicBezTo>
                  <a:cubicBezTo>
                    <a:pt x="20" y="5"/>
                    <a:pt x="20" y="5"/>
                    <a:pt x="20" y="5"/>
                  </a:cubicBezTo>
                  <a:cubicBezTo>
                    <a:pt x="20" y="4"/>
                    <a:pt x="20" y="4"/>
                    <a:pt x="20" y="4"/>
                  </a:cubicBezTo>
                  <a:cubicBezTo>
                    <a:pt x="19" y="3"/>
                    <a:pt x="18" y="2"/>
                    <a:pt x="16" y="1"/>
                  </a:cubicBezTo>
                  <a:cubicBezTo>
                    <a:pt x="15" y="1"/>
                    <a:pt x="14" y="1"/>
                    <a:pt x="13" y="2"/>
                  </a:cubicBezTo>
                  <a:cubicBezTo>
                    <a:pt x="11" y="3"/>
                    <a:pt x="10" y="4"/>
                    <a:pt x="10" y="6"/>
                  </a:cubicBezTo>
                  <a:cubicBezTo>
                    <a:pt x="10" y="7"/>
                    <a:pt x="10" y="9"/>
                    <a:pt x="11" y="11"/>
                  </a:cubicBezTo>
                  <a:cubicBezTo>
                    <a:pt x="12" y="11"/>
                    <a:pt x="12" y="11"/>
                    <a:pt x="12" y="11"/>
                  </a:cubicBezTo>
                  <a:cubicBezTo>
                    <a:pt x="10" y="11"/>
                    <a:pt x="10" y="11"/>
                    <a:pt x="10" y="11"/>
                  </a:cubicBezTo>
                  <a:cubicBezTo>
                    <a:pt x="8" y="10"/>
                    <a:pt x="7" y="11"/>
                    <a:pt x="5" y="12"/>
                  </a:cubicBezTo>
                  <a:cubicBezTo>
                    <a:pt x="3" y="12"/>
                    <a:pt x="2" y="14"/>
                    <a:pt x="1" y="15"/>
                  </a:cubicBezTo>
                  <a:cubicBezTo>
                    <a:pt x="0" y="17"/>
                    <a:pt x="1" y="19"/>
                    <a:pt x="1" y="20"/>
                  </a:cubicBezTo>
                  <a:cubicBezTo>
                    <a:pt x="2" y="21"/>
                    <a:pt x="2" y="21"/>
                    <a:pt x="3" y="22"/>
                  </a:cubicBezTo>
                  <a:cubicBezTo>
                    <a:pt x="4" y="23"/>
                    <a:pt x="4" y="23"/>
                    <a:pt x="6" y="23"/>
                  </a:cubicBezTo>
                  <a:cubicBezTo>
                    <a:pt x="6" y="23"/>
                    <a:pt x="6" y="23"/>
                    <a:pt x="6" y="23"/>
                  </a:cubicBezTo>
                  <a:cubicBezTo>
                    <a:pt x="5" y="24"/>
                    <a:pt x="5" y="24"/>
                    <a:pt x="5" y="24"/>
                  </a:cubicBezTo>
                  <a:cubicBezTo>
                    <a:pt x="4" y="25"/>
                    <a:pt x="4" y="26"/>
                    <a:pt x="3" y="27"/>
                  </a:cubicBezTo>
                  <a:cubicBezTo>
                    <a:pt x="3" y="28"/>
                    <a:pt x="3" y="29"/>
                    <a:pt x="4" y="30"/>
                  </a:cubicBezTo>
                  <a:cubicBezTo>
                    <a:pt x="4" y="30"/>
                    <a:pt x="4" y="31"/>
                    <a:pt x="5" y="31"/>
                  </a:cubicBezTo>
                  <a:cubicBezTo>
                    <a:pt x="5" y="31"/>
                    <a:pt x="6" y="32"/>
                    <a:pt x="7" y="32"/>
                  </a:cubicBezTo>
                  <a:cubicBezTo>
                    <a:pt x="8" y="32"/>
                    <a:pt x="10" y="32"/>
                    <a:pt x="11" y="32"/>
                  </a:cubicBezTo>
                  <a:cubicBezTo>
                    <a:pt x="10" y="33"/>
                    <a:pt x="10" y="33"/>
                    <a:pt x="10" y="33"/>
                  </a:cubicBezTo>
                  <a:cubicBezTo>
                    <a:pt x="10" y="34"/>
                    <a:pt x="10" y="34"/>
                    <a:pt x="10" y="34"/>
                  </a:cubicBezTo>
                  <a:cubicBezTo>
                    <a:pt x="9" y="36"/>
                    <a:pt x="9" y="38"/>
                    <a:pt x="10" y="40"/>
                  </a:cubicBezTo>
                  <a:cubicBezTo>
                    <a:pt x="11" y="40"/>
                    <a:pt x="11" y="41"/>
                    <a:pt x="12" y="41"/>
                  </a:cubicBezTo>
                  <a:cubicBezTo>
                    <a:pt x="12" y="42"/>
                    <a:pt x="13" y="42"/>
                    <a:pt x="14" y="43"/>
                  </a:cubicBezTo>
                  <a:cubicBezTo>
                    <a:pt x="16" y="43"/>
                    <a:pt x="18" y="43"/>
                    <a:pt x="20" y="42"/>
                  </a:cubicBezTo>
                  <a:cubicBezTo>
                    <a:pt x="22" y="41"/>
                    <a:pt x="23" y="40"/>
                    <a:pt x="23" y="38"/>
                  </a:cubicBezTo>
                  <a:cubicBezTo>
                    <a:pt x="23" y="38"/>
                    <a:pt x="23" y="38"/>
                    <a:pt x="23" y="38"/>
                  </a:cubicBezTo>
                  <a:cubicBezTo>
                    <a:pt x="24" y="39"/>
                    <a:pt x="26" y="40"/>
                    <a:pt x="27" y="40"/>
                  </a:cubicBezTo>
                  <a:cubicBezTo>
                    <a:pt x="28" y="40"/>
                    <a:pt x="29" y="40"/>
                    <a:pt x="30" y="40"/>
                  </a:cubicBezTo>
                  <a:cubicBezTo>
                    <a:pt x="31" y="39"/>
                    <a:pt x="32" y="38"/>
                    <a:pt x="32" y="37"/>
                  </a:cubicBezTo>
                  <a:cubicBezTo>
                    <a:pt x="33" y="35"/>
                    <a:pt x="33" y="34"/>
                    <a:pt x="32" y="33"/>
                  </a:cubicBezTo>
                  <a:cubicBezTo>
                    <a:pt x="33" y="33"/>
                    <a:pt x="34" y="33"/>
                    <a:pt x="34" y="34"/>
                  </a:cubicBezTo>
                  <a:cubicBezTo>
                    <a:pt x="36" y="34"/>
                    <a:pt x="38" y="34"/>
                    <a:pt x="40" y="33"/>
                  </a:cubicBezTo>
                  <a:cubicBezTo>
                    <a:pt x="41" y="32"/>
                    <a:pt x="43" y="31"/>
                    <a:pt x="43" y="29"/>
                  </a:cubicBezTo>
                  <a:cubicBezTo>
                    <a:pt x="44" y="27"/>
                    <a:pt x="43" y="25"/>
                    <a:pt x="43" y="24"/>
                  </a:cubicBezTo>
                  <a:moveTo>
                    <a:pt x="34" y="14"/>
                  </a:moveTo>
                  <a:cubicBezTo>
                    <a:pt x="34" y="13"/>
                    <a:pt x="34" y="13"/>
                    <a:pt x="34" y="13"/>
                  </a:cubicBezTo>
                  <a:cubicBezTo>
                    <a:pt x="36" y="13"/>
                    <a:pt x="37" y="13"/>
                    <a:pt x="38" y="13"/>
                  </a:cubicBezTo>
                  <a:cubicBezTo>
                    <a:pt x="39" y="13"/>
                    <a:pt x="39" y="14"/>
                    <a:pt x="40" y="14"/>
                  </a:cubicBezTo>
                  <a:cubicBezTo>
                    <a:pt x="40" y="15"/>
                    <a:pt x="40" y="15"/>
                    <a:pt x="40" y="15"/>
                  </a:cubicBezTo>
                  <a:cubicBezTo>
                    <a:pt x="40" y="16"/>
                    <a:pt x="40" y="16"/>
                    <a:pt x="40" y="16"/>
                  </a:cubicBezTo>
                  <a:cubicBezTo>
                    <a:pt x="40" y="17"/>
                    <a:pt x="39" y="18"/>
                    <a:pt x="37" y="18"/>
                  </a:cubicBezTo>
                  <a:cubicBezTo>
                    <a:pt x="36" y="19"/>
                    <a:pt x="36" y="19"/>
                    <a:pt x="35" y="19"/>
                  </a:cubicBezTo>
                  <a:cubicBezTo>
                    <a:pt x="27" y="20"/>
                    <a:pt x="27" y="20"/>
                    <a:pt x="27" y="20"/>
                  </a:cubicBezTo>
                  <a:cubicBezTo>
                    <a:pt x="27" y="19"/>
                    <a:pt x="27" y="19"/>
                    <a:pt x="27" y="19"/>
                  </a:cubicBezTo>
                  <a:cubicBezTo>
                    <a:pt x="27" y="19"/>
                    <a:pt x="27" y="19"/>
                    <a:pt x="27" y="19"/>
                  </a:cubicBezTo>
                  <a:cubicBezTo>
                    <a:pt x="27" y="19"/>
                    <a:pt x="27" y="19"/>
                    <a:pt x="27" y="19"/>
                  </a:cubicBezTo>
                  <a:lnTo>
                    <a:pt x="34" y="14"/>
                  </a:lnTo>
                  <a:close/>
                  <a:moveTo>
                    <a:pt x="23" y="6"/>
                  </a:moveTo>
                  <a:cubicBezTo>
                    <a:pt x="24" y="5"/>
                    <a:pt x="24" y="4"/>
                    <a:pt x="26" y="3"/>
                  </a:cubicBezTo>
                  <a:cubicBezTo>
                    <a:pt x="27" y="3"/>
                    <a:pt x="28" y="3"/>
                    <a:pt x="29" y="3"/>
                  </a:cubicBezTo>
                  <a:cubicBezTo>
                    <a:pt x="30" y="3"/>
                    <a:pt x="31" y="4"/>
                    <a:pt x="32" y="5"/>
                  </a:cubicBezTo>
                  <a:cubicBezTo>
                    <a:pt x="32" y="6"/>
                    <a:pt x="32" y="6"/>
                    <a:pt x="32" y="7"/>
                  </a:cubicBezTo>
                  <a:cubicBezTo>
                    <a:pt x="32" y="9"/>
                    <a:pt x="32" y="9"/>
                    <a:pt x="32" y="9"/>
                  </a:cubicBezTo>
                  <a:cubicBezTo>
                    <a:pt x="32" y="9"/>
                    <a:pt x="32" y="10"/>
                    <a:pt x="31" y="10"/>
                  </a:cubicBezTo>
                  <a:cubicBezTo>
                    <a:pt x="26" y="17"/>
                    <a:pt x="26" y="17"/>
                    <a:pt x="26" y="17"/>
                  </a:cubicBezTo>
                  <a:cubicBezTo>
                    <a:pt x="25" y="17"/>
                    <a:pt x="24" y="16"/>
                    <a:pt x="24" y="16"/>
                  </a:cubicBezTo>
                  <a:cubicBezTo>
                    <a:pt x="23" y="9"/>
                    <a:pt x="23" y="9"/>
                    <a:pt x="23" y="9"/>
                  </a:cubicBezTo>
                  <a:cubicBezTo>
                    <a:pt x="23" y="7"/>
                    <a:pt x="23" y="7"/>
                    <a:pt x="23" y="7"/>
                  </a:cubicBezTo>
                  <a:lnTo>
                    <a:pt x="23" y="6"/>
                  </a:lnTo>
                  <a:close/>
                  <a:moveTo>
                    <a:pt x="13" y="6"/>
                  </a:moveTo>
                  <a:cubicBezTo>
                    <a:pt x="13" y="5"/>
                    <a:pt x="13" y="4"/>
                    <a:pt x="14" y="4"/>
                  </a:cubicBezTo>
                  <a:cubicBezTo>
                    <a:pt x="14" y="4"/>
                    <a:pt x="15" y="4"/>
                    <a:pt x="15" y="4"/>
                  </a:cubicBezTo>
                  <a:cubicBezTo>
                    <a:pt x="17" y="4"/>
                    <a:pt x="17" y="5"/>
                    <a:pt x="18" y="7"/>
                  </a:cubicBezTo>
                  <a:cubicBezTo>
                    <a:pt x="18" y="7"/>
                    <a:pt x="19" y="8"/>
                    <a:pt x="19" y="9"/>
                  </a:cubicBezTo>
                  <a:cubicBezTo>
                    <a:pt x="20" y="16"/>
                    <a:pt x="20" y="16"/>
                    <a:pt x="20" y="16"/>
                  </a:cubicBezTo>
                  <a:cubicBezTo>
                    <a:pt x="19" y="16"/>
                    <a:pt x="19" y="16"/>
                    <a:pt x="19" y="16"/>
                  </a:cubicBezTo>
                  <a:cubicBezTo>
                    <a:pt x="14" y="10"/>
                    <a:pt x="14" y="10"/>
                    <a:pt x="14" y="10"/>
                  </a:cubicBezTo>
                  <a:cubicBezTo>
                    <a:pt x="13" y="9"/>
                    <a:pt x="13" y="9"/>
                    <a:pt x="13" y="9"/>
                  </a:cubicBezTo>
                  <a:cubicBezTo>
                    <a:pt x="13" y="8"/>
                    <a:pt x="13" y="7"/>
                    <a:pt x="13" y="6"/>
                  </a:cubicBezTo>
                  <a:moveTo>
                    <a:pt x="4" y="19"/>
                  </a:moveTo>
                  <a:cubicBezTo>
                    <a:pt x="3" y="18"/>
                    <a:pt x="3" y="17"/>
                    <a:pt x="4" y="16"/>
                  </a:cubicBezTo>
                  <a:cubicBezTo>
                    <a:pt x="4" y="15"/>
                    <a:pt x="5" y="14"/>
                    <a:pt x="6" y="14"/>
                  </a:cubicBezTo>
                  <a:cubicBezTo>
                    <a:pt x="7" y="13"/>
                    <a:pt x="8" y="13"/>
                    <a:pt x="9" y="13"/>
                  </a:cubicBezTo>
                  <a:cubicBezTo>
                    <a:pt x="11" y="14"/>
                    <a:pt x="11" y="14"/>
                    <a:pt x="11" y="14"/>
                  </a:cubicBezTo>
                  <a:cubicBezTo>
                    <a:pt x="17" y="18"/>
                    <a:pt x="17" y="18"/>
                    <a:pt x="17" y="18"/>
                  </a:cubicBezTo>
                  <a:cubicBezTo>
                    <a:pt x="16" y="18"/>
                    <a:pt x="16" y="19"/>
                    <a:pt x="16" y="20"/>
                  </a:cubicBezTo>
                  <a:cubicBezTo>
                    <a:pt x="7" y="21"/>
                    <a:pt x="7" y="21"/>
                    <a:pt x="7" y="21"/>
                  </a:cubicBezTo>
                  <a:cubicBezTo>
                    <a:pt x="6" y="21"/>
                    <a:pt x="6" y="21"/>
                    <a:pt x="6" y="21"/>
                  </a:cubicBezTo>
                  <a:cubicBezTo>
                    <a:pt x="5" y="20"/>
                    <a:pt x="4" y="20"/>
                    <a:pt x="4" y="19"/>
                  </a:cubicBezTo>
                  <a:moveTo>
                    <a:pt x="21" y="37"/>
                  </a:moveTo>
                  <a:cubicBezTo>
                    <a:pt x="21" y="37"/>
                    <a:pt x="21" y="37"/>
                    <a:pt x="21" y="37"/>
                  </a:cubicBezTo>
                  <a:cubicBezTo>
                    <a:pt x="20" y="39"/>
                    <a:pt x="20" y="39"/>
                    <a:pt x="18" y="40"/>
                  </a:cubicBezTo>
                  <a:cubicBezTo>
                    <a:pt x="17" y="40"/>
                    <a:pt x="16" y="41"/>
                    <a:pt x="15" y="40"/>
                  </a:cubicBezTo>
                  <a:cubicBezTo>
                    <a:pt x="14" y="40"/>
                    <a:pt x="13" y="39"/>
                    <a:pt x="12" y="38"/>
                  </a:cubicBezTo>
                  <a:cubicBezTo>
                    <a:pt x="12" y="38"/>
                    <a:pt x="12" y="37"/>
                    <a:pt x="12" y="36"/>
                  </a:cubicBezTo>
                  <a:cubicBezTo>
                    <a:pt x="12" y="35"/>
                    <a:pt x="12" y="35"/>
                    <a:pt x="12" y="35"/>
                  </a:cubicBezTo>
                  <a:cubicBezTo>
                    <a:pt x="12" y="34"/>
                    <a:pt x="13" y="34"/>
                    <a:pt x="13" y="33"/>
                  </a:cubicBezTo>
                  <a:cubicBezTo>
                    <a:pt x="18" y="27"/>
                    <a:pt x="18" y="27"/>
                    <a:pt x="18" y="27"/>
                  </a:cubicBezTo>
                  <a:cubicBezTo>
                    <a:pt x="19" y="27"/>
                    <a:pt x="20" y="28"/>
                    <a:pt x="20" y="28"/>
                  </a:cubicBezTo>
                  <a:cubicBezTo>
                    <a:pt x="20" y="30"/>
                    <a:pt x="20" y="32"/>
                    <a:pt x="21" y="34"/>
                  </a:cubicBezTo>
                  <a:lnTo>
                    <a:pt x="21" y="37"/>
                  </a:lnTo>
                  <a:close/>
                  <a:moveTo>
                    <a:pt x="19" y="25"/>
                  </a:moveTo>
                  <a:cubicBezTo>
                    <a:pt x="18" y="24"/>
                    <a:pt x="18" y="23"/>
                    <a:pt x="18" y="22"/>
                  </a:cubicBezTo>
                  <a:cubicBezTo>
                    <a:pt x="18" y="21"/>
                    <a:pt x="18" y="20"/>
                    <a:pt x="19" y="19"/>
                  </a:cubicBezTo>
                  <a:cubicBezTo>
                    <a:pt x="20" y="18"/>
                    <a:pt x="20" y="18"/>
                    <a:pt x="22" y="18"/>
                  </a:cubicBezTo>
                  <a:cubicBezTo>
                    <a:pt x="23" y="18"/>
                    <a:pt x="24" y="18"/>
                    <a:pt x="24" y="19"/>
                  </a:cubicBezTo>
                  <a:cubicBezTo>
                    <a:pt x="25" y="20"/>
                    <a:pt x="26" y="21"/>
                    <a:pt x="26" y="22"/>
                  </a:cubicBezTo>
                  <a:cubicBezTo>
                    <a:pt x="26" y="23"/>
                    <a:pt x="25" y="24"/>
                    <a:pt x="24" y="25"/>
                  </a:cubicBezTo>
                  <a:cubicBezTo>
                    <a:pt x="24" y="26"/>
                    <a:pt x="23" y="26"/>
                    <a:pt x="22" y="26"/>
                  </a:cubicBezTo>
                  <a:cubicBezTo>
                    <a:pt x="20" y="26"/>
                    <a:pt x="20" y="26"/>
                    <a:pt x="19" y="25"/>
                  </a:cubicBezTo>
                  <a:moveTo>
                    <a:pt x="30" y="35"/>
                  </a:moveTo>
                  <a:cubicBezTo>
                    <a:pt x="30" y="36"/>
                    <a:pt x="30" y="37"/>
                    <a:pt x="29" y="37"/>
                  </a:cubicBezTo>
                  <a:cubicBezTo>
                    <a:pt x="28" y="38"/>
                    <a:pt x="28" y="38"/>
                    <a:pt x="27" y="38"/>
                  </a:cubicBezTo>
                  <a:cubicBezTo>
                    <a:pt x="26" y="37"/>
                    <a:pt x="25" y="37"/>
                    <a:pt x="25" y="35"/>
                  </a:cubicBezTo>
                  <a:cubicBezTo>
                    <a:pt x="24" y="33"/>
                    <a:pt x="24" y="33"/>
                    <a:pt x="24" y="33"/>
                  </a:cubicBezTo>
                  <a:cubicBezTo>
                    <a:pt x="23" y="28"/>
                    <a:pt x="23" y="28"/>
                    <a:pt x="23" y="28"/>
                  </a:cubicBezTo>
                  <a:cubicBezTo>
                    <a:pt x="24" y="27"/>
                    <a:pt x="24" y="27"/>
                    <a:pt x="24" y="27"/>
                  </a:cubicBezTo>
                  <a:cubicBezTo>
                    <a:pt x="25" y="27"/>
                    <a:pt x="25" y="27"/>
                    <a:pt x="25" y="27"/>
                  </a:cubicBezTo>
                  <a:cubicBezTo>
                    <a:pt x="27" y="30"/>
                    <a:pt x="27" y="30"/>
                    <a:pt x="27" y="30"/>
                  </a:cubicBezTo>
                  <a:cubicBezTo>
                    <a:pt x="29" y="32"/>
                    <a:pt x="29" y="32"/>
                    <a:pt x="29" y="32"/>
                  </a:cubicBezTo>
                  <a:cubicBezTo>
                    <a:pt x="29" y="32"/>
                    <a:pt x="29" y="32"/>
                    <a:pt x="29" y="32"/>
                  </a:cubicBezTo>
                  <a:cubicBezTo>
                    <a:pt x="30" y="33"/>
                    <a:pt x="30" y="34"/>
                    <a:pt x="30" y="35"/>
                  </a:cubicBezTo>
                  <a:moveTo>
                    <a:pt x="41" y="28"/>
                  </a:moveTo>
                  <a:cubicBezTo>
                    <a:pt x="40" y="29"/>
                    <a:pt x="40" y="30"/>
                    <a:pt x="39" y="31"/>
                  </a:cubicBezTo>
                  <a:cubicBezTo>
                    <a:pt x="37" y="31"/>
                    <a:pt x="36" y="32"/>
                    <a:pt x="35" y="31"/>
                  </a:cubicBezTo>
                  <a:cubicBezTo>
                    <a:pt x="34" y="31"/>
                    <a:pt x="34" y="31"/>
                    <a:pt x="33" y="30"/>
                  </a:cubicBezTo>
                  <a:cubicBezTo>
                    <a:pt x="27" y="25"/>
                    <a:pt x="27" y="25"/>
                    <a:pt x="27" y="25"/>
                  </a:cubicBezTo>
                  <a:cubicBezTo>
                    <a:pt x="27" y="24"/>
                    <a:pt x="27" y="24"/>
                    <a:pt x="27" y="24"/>
                  </a:cubicBezTo>
                  <a:cubicBezTo>
                    <a:pt x="28" y="23"/>
                    <a:pt x="28" y="23"/>
                    <a:pt x="28" y="23"/>
                  </a:cubicBezTo>
                  <a:cubicBezTo>
                    <a:pt x="35" y="23"/>
                    <a:pt x="35" y="23"/>
                    <a:pt x="35" y="23"/>
                  </a:cubicBezTo>
                  <a:cubicBezTo>
                    <a:pt x="37" y="23"/>
                    <a:pt x="37" y="23"/>
                    <a:pt x="37" y="23"/>
                  </a:cubicBezTo>
                  <a:cubicBezTo>
                    <a:pt x="38" y="23"/>
                    <a:pt x="38" y="23"/>
                    <a:pt x="38" y="23"/>
                  </a:cubicBezTo>
                  <a:cubicBezTo>
                    <a:pt x="39" y="23"/>
                    <a:pt x="39" y="24"/>
                    <a:pt x="40" y="24"/>
                  </a:cubicBezTo>
                  <a:cubicBezTo>
                    <a:pt x="41" y="25"/>
                    <a:pt x="41" y="26"/>
                    <a:pt x="41" y="27"/>
                  </a:cubicBezTo>
                  <a:lnTo>
                    <a:pt x="41" y="28"/>
                  </a:lnTo>
                  <a:close/>
                </a:path>
              </a:pathLst>
            </a:custGeom>
            <a:solidFill>
              <a:srgbClr val="CCCCC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54" name="Freeform 360">
              <a:extLst>
                <a:ext uri="{FF2B5EF4-FFF2-40B4-BE49-F238E27FC236}">
                  <a16:creationId xmlns:a16="http://schemas.microsoft.com/office/drawing/2014/main" id="{BDACB177-629B-4C15-9054-BCB15E227602}"/>
                </a:ext>
              </a:extLst>
            </p:cNvPr>
            <p:cNvSpPr>
              <a:spLocks noEditPoints="1"/>
            </p:cNvSpPr>
            <p:nvPr/>
          </p:nvSpPr>
          <p:spPr bwMode="auto">
            <a:xfrm>
              <a:off x="5261143" y="2351427"/>
              <a:ext cx="85888" cy="84299"/>
            </a:xfrm>
            <a:custGeom>
              <a:avLst/>
              <a:gdLst>
                <a:gd name="T0" fmla="*/ 41 w 44"/>
                <a:gd name="T1" fmla="*/ 21 h 43"/>
                <a:gd name="T2" fmla="*/ 42 w 44"/>
                <a:gd name="T3" fmla="*/ 13 h 43"/>
                <a:gd name="T4" fmla="*/ 36 w 44"/>
                <a:gd name="T5" fmla="*/ 10 h 43"/>
                <a:gd name="T6" fmla="*/ 34 w 44"/>
                <a:gd name="T7" fmla="*/ 4 h 43"/>
                <a:gd name="T8" fmla="*/ 24 w 44"/>
                <a:gd name="T9" fmla="*/ 1 h 43"/>
                <a:gd name="T10" fmla="*/ 21 w 44"/>
                <a:gd name="T11" fmla="*/ 6 h 43"/>
                <a:gd name="T12" fmla="*/ 16 w 44"/>
                <a:gd name="T13" fmla="*/ 1 h 43"/>
                <a:gd name="T14" fmla="*/ 11 w 44"/>
                <a:gd name="T15" fmla="*/ 11 h 43"/>
                <a:gd name="T16" fmla="*/ 5 w 44"/>
                <a:gd name="T17" fmla="*/ 12 h 43"/>
                <a:gd name="T18" fmla="*/ 3 w 44"/>
                <a:gd name="T19" fmla="*/ 22 h 43"/>
                <a:gd name="T20" fmla="*/ 5 w 44"/>
                <a:gd name="T21" fmla="*/ 24 h 43"/>
                <a:gd name="T22" fmla="*/ 5 w 44"/>
                <a:gd name="T23" fmla="*/ 31 h 43"/>
                <a:gd name="T24" fmla="*/ 10 w 44"/>
                <a:gd name="T25" fmla="*/ 33 h 43"/>
                <a:gd name="T26" fmla="*/ 12 w 44"/>
                <a:gd name="T27" fmla="*/ 41 h 43"/>
                <a:gd name="T28" fmla="*/ 23 w 44"/>
                <a:gd name="T29" fmla="*/ 38 h 43"/>
                <a:gd name="T30" fmla="*/ 30 w 44"/>
                <a:gd name="T31" fmla="*/ 40 h 43"/>
                <a:gd name="T32" fmla="*/ 34 w 44"/>
                <a:gd name="T33" fmla="*/ 34 h 43"/>
                <a:gd name="T34" fmla="*/ 43 w 44"/>
                <a:gd name="T35" fmla="*/ 24 h 43"/>
                <a:gd name="T36" fmla="*/ 38 w 44"/>
                <a:gd name="T37" fmla="*/ 13 h 43"/>
                <a:gd name="T38" fmla="*/ 40 w 44"/>
                <a:gd name="T39" fmla="*/ 16 h 43"/>
                <a:gd name="T40" fmla="*/ 27 w 44"/>
                <a:gd name="T41" fmla="*/ 20 h 43"/>
                <a:gd name="T42" fmla="*/ 27 w 44"/>
                <a:gd name="T43" fmla="*/ 19 h 43"/>
                <a:gd name="T44" fmla="*/ 26 w 44"/>
                <a:gd name="T45" fmla="*/ 3 h 43"/>
                <a:gd name="T46" fmla="*/ 32 w 44"/>
                <a:gd name="T47" fmla="*/ 7 h 43"/>
                <a:gd name="T48" fmla="*/ 26 w 44"/>
                <a:gd name="T49" fmla="*/ 17 h 43"/>
                <a:gd name="T50" fmla="*/ 23 w 44"/>
                <a:gd name="T51" fmla="*/ 7 h 43"/>
                <a:gd name="T52" fmla="*/ 14 w 44"/>
                <a:gd name="T53" fmla="*/ 4 h 43"/>
                <a:gd name="T54" fmla="*/ 19 w 44"/>
                <a:gd name="T55" fmla="*/ 9 h 43"/>
                <a:gd name="T56" fmla="*/ 14 w 44"/>
                <a:gd name="T57" fmla="*/ 10 h 43"/>
                <a:gd name="T58" fmla="*/ 4 w 44"/>
                <a:gd name="T59" fmla="*/ 19 h 43"/>
                <a:gd name="T60" fmla="*/ 9 w 44"/>
                <a:gd name="T61" fmla="*/ 13 h 43"/>
                <a:gd name="T62" fmla="*/ 16 w 44"/>
                <a:gd name="T63" fmla="*/ 20 h 43"/>
                <a:gd name="T64" fmla="*/ 4 w 44"/>
                <a:gd name="T65" fmla="*/ 19 h 43"/>
                <a:gd name="T66" fmla="*/ 18 w 44"/>
                <a:gd name="T67" fmla="*/ 40 h 43"/>
                <a:gd name="T68" fmla="*/ 12 w 44"/>
                <a:gd name="T69" fmla="*/ 36 h 43"/>
                <a:gd name="T70" fmla="*/ 18 w 44"/>
                <a:gd name="T71" fmla="*/ 27 h 43"/>
                <a:gd name="T72" fmla="*/ 21 w 44"/>
                <a:gd name="T73" fmla="*/ 37 h 43"/>
                <a:gd name="T74" fmla="*/ 19 w 44"/>
                <a:gd name="T75" fmla="*/ 19 h 43"/>
                <a:gd name="T76" fmla="*/ 26 w 44"/>
                <a:gd name="T77" fmla="*/ 22 h 43"/>
                <a:gd name="T78" fmla="*/ 19 w 44"/>
                <a:gd name="T79" fmla="*/ 25 h 43"/>
                <a:gd name="T80" fmla="*/ 27 w 44"/>
                <a:gd name="T81" fmla="*/ 38 h 43"/>
                <a:gd name="T82" fmla="*/ 23 w 44"/>
                <a:gd name="T83" fmla="*/ 28 h 43"/>
                <a:gd name="T84" fmla="*/ 27 w 44"/>
                <a:gd name="T85" fmla="*/ 30 h 43"/>
                <a:gd name="T86" fmla="*/ 30 w 44"/>
                <a:gd name="T87" fmla="*/ 35 h 43"/>
                <a:gd name="T88" fmla="*/ 35 w 44"/>
                <a:gd name="T89" fmla="*/ 31 h 43"/>
                <a:gd name="T90" fmla="*/ 27 w 44"/>
                <a:gd name="T91" fmla="*/ 24 h 43"/>
                <a:gd name="T92" fmla="*/ 37 w 44"/>
                <a:gd name="T93" fmla="*/ 23 h 43"/>
                <a:gd name="T94" fmla="*/ 41 w 44"/>
                <a:gd name="T95" fmla="*/ 27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4" h="43">
                  <a:moveTo>
                    <a:pt x="43" y="24"/>
                  </a:moveTo>
                  <a:cubicBezTo>
                    <a:pt x="42" y="23"/>
                    <a:pt x="42" y="23"/>
                    <a:pt x="42" y="23"/>
                  </a:cubicBezTo>
                  <a:cubicBezTo>
                    <a:pt x="42" y="23"/>
                    <a:pt x="41" y="22"/>
                    <a:pt x="41" y="21"/>
                  </a:cubicBezTo>
                  <a:cubicBezTo>
                    <a:pt x="40" y="21"/>
                    <a:pt x="39" y="21"/>
                    <a:pt x="39" y="20"/>
                  </a:cubicBezTo>
                  <a:cubicBezTo>
                    <a:pt x="40" y="19"/>
                    <a:pt x="42" y="18"/>
                    <a:pt x="42" y="17"/>
                  </a:cubicBezTo>
                  <a:cubicBezTo>
                    <a:pt x="43" y="15"/>
                    <a:pt x="43" y="14"/>
                    <a:pt x="42" y="13"/>
                  </a:cubicBezTo>
                  <a:cubicBezTo>
                    <a:pt x="42" y="13"/>
                    <a:pt x="42" y="13"/>
                    <a:pt x="42" y="13"/>
                  </a:cubicBezTo>
                  <a:cubicBezTo>
                    <a:pt x="41" y="12"/>
                    <a:pt x="40" y="11"/>
                    <a:pt x="39" y="11"/>
                  </a:cubicBezTo>
                  <a:cubicBezTo>
                    <a:pt x="38" y="10"/>
                    <a:pt x="37" y="10"/>
                    <a:pt x="36" y="10"/>
                  </a:cubicBezTo>
                  <a:cubicBezTo>
                    <a:pt x="34" y="11"/>
                    <a:pt x="34" y="11"/>
                    <a:pt x="34" y="11"/>
                  </a:cubicBezTo>
                  <a:cubicBezTo>
                    <a:pt x="35" y="9"/>
                    <a:pt x="35" y="9"/>
                    <a:pt x="35" y="9"/>
                  </a:cubicBezTo>
                  <a:cubicBezTo>
                    <a:pt x="35" y="7"/>
                    <a:pt x="35" y="6"/>
                    <a:pt x="34" y="4"/>
                  </a:cubicBezTo>
                  <a:cubicBezTo>
                    <a:pt x="34" y="3"/>
                    <a:pt x="34" y="3"/>
                    <a:pt x="34" y="3"/>
                  </a:cubicBezTo>
                  <a:cubicBezTo>
                    <a:pt x="33" y="2"/>
                    <a:pt x="32" y="1"/>
                    <a:pt x="30" y="1"/>
                  </a:cubicBezTo>
                  <a:cubicBezTo>
                    <a:pt x="28" y="0"/>
                    <a:pt x="26" y="0"/>
                    <a:pt x="24" y="1"/>
                  </a:cubicBezTo>
                  <a:cubicBezTo>
                    <a:pt x="23" y="2"/>
                    <a:pt x="21" y="3"/>
                    <a:pt x="21" y="5"/>
                  </a:cubicBezTo>
                  <a:cubicBezTo>
                    <a:pt x="21" y="5"/>
                    <a:pt x="21" y="5"/>
                    <a:pt x="21" y="5"/>
                  </a:cubicBezTo>
                  <a:cubicBezTo>
                    <a:pt x="21" y="6"/>
                    <a:pt x="21" y="6"/>
                    <a:pt x="21" y="6"/>
                  </a:cubicBezTo>
                  <a:cubicBezTo>
                    <a:pt x="20" y="5"/>
                    <a:pt x="20" y="5"/>
                    <a:pt x="20" y="5"/>
                  </a:cubicBezTo>
                  <a:cubicBezTo>
                    <a:pt x="20" y="4"/>
                    <a:pt x="20" y="4"/>
                    <a:pt x="20" y="4"/>
                  </a:cubicBezTo>
                  <a:cubicBezTo>
                    <a:pt x="19" y="3"/>
                    <a:pt x="18" y="2"/>
                    <a:pt x="16" y="1"/>
                  </a:cubicBezTo>
                  <a:cubicBezTo>
                    <a:pt x="15" y="1"/>
                    <a:pt x="14" y="1"/>
                    <a:pt x="13" y="2"/>
                  </a:cubicBezTo>
                  <a:cubicBezTo>
                    <a:pt x="11" y="3"/>
                    <a:pt x="10" y="4"/>
                    <a:pt x="10" y="6"/>
                  </a:cubicBezTo>
                  <a:cubicBezTo>
                    <a:pt x="10" y="7"/>
                    <a:pt x="10" y="9"/>
                    <a:pt x="11" y="11"/>
                  </a:cubicBezTo>
                  <a:cubicBezTo>
                    <a:pt x="12" y="11"/>
                    <a:pt x="12" y="11"/>
                    <a:pt x="12" y="11"/>
                  </a:cubicBezTo>
                  <a:cubicBezTo>
                    <a:pt x="10" y="11"/>
                    <a:pt x="10" y="11"/>
                    <a:pt x="10" y="11"/>
                  </a:cubicBezTo>
                  <a:cubicBezTo>
                    <a:pt x="8" y="10"/>
                    <a:pt x="7" y="11"/>
                    <a:pt x="5" y="12"/>
                  </a:cubicBezTo>
                  <a:cubicBezTo>
                    <a:pt x="3" y="12"/>
                    <a:pt x="2" y="14"/>
                    <a:pt x="1" y="15"/>
                  </a:cubicBezTo>
                  <a:cubicBezTo>
                    <a:pt x="0" y="17"/>
                    <a:pt x="1" y="19"/>
                    <a:pt x="1" y="20"/>
                  </a:cubicBezTo>
                  <a:cubicBezTo>
                    <a:pt x="2" y="21"/>
                    <a:pt x="2" y="21"/>
                    <a:pt x="3" y="22"/>
                  </a:cubicBezTo>
                  <a:cubicBezTo>
                    <a:pt x="4" y="23"/>
                    <a:pt x="4" y="23"/>
                    <a:pt x="6" y="23"/>
                  </a:cubicBezTo>
                  <a:cubicBezTo>
                    <a:pt x="6" y="23"/>
                    <a:pt x="6" y="23"/>
                    <a:pt x="6" y="23"/>
                  </a:cubicBezTo>
                  <a:cubicBezTo>
                    <a:pt x="5" y="24"/>
                    <a:pt x="5" y="24"/>
                    <a:pt x="5" y="24"/>
                  </a:cubicBezTo>
                  <a:cubicBezTo>
                    <a:pt x="4" y="25"/>
                    <a:pt x="4" y="26"/>
                    <a:pt x="3" y="27"/>
                  </a:cubicBezTo>
                  <a:cubicBezTo>
                    <a:pt x="3" y="28"/>
                    <a:pt x="3" y="29"/>
                    <a:pt x="4" y="30"/>
                  </a:cubicBezTo>
                  <a:cubicBezTo>
                    <a:pt x="4" y="30"/>
                    <a:pt x="4" y="31"/>
                    <a:pt x="5" y="31"/>
                  </a:cubicBezTo>
                  <a:cubicBezTo>
                    <a:pt x="5" y="31"/>
                    <a:pt x="6" y="32"/>
                    <a:pt x="7" y="32"/>
                  </a:cubicBezTo>
                  <a:cubicBezTo>
                    <a:pt x="8" y="32"/>
                    <a:pt x="10" y="32"/>
                    <a:pt x="11" y="32"/>
                  </a:cubicBezTo>
                  <a:cubicBezTo>
                    <a:pt x="10" y="33"/>
                    <a:pt x="10" y="33"/>
                    <a:pt x="10" y="33"/>
                  </a:cubicBezTo>
                  <a:cubicBezTo>
                    <a:pt x="10" y="34"/>
                    <a:pt x="10" y="34"/>
                    <a:pt x="10" y="34"/>
                  </a:cubicBezTo>
                  <a:cubicBezTo>
                    <a:pt x="9" y="36"/>
                    <a:pt x="9" y="38"/>
                    <a:pt x="10" y="40"/>
                  </a:cubicBezTo>
                  <a:cubicBezTo>
                    <a:pt x="11" y="40"/>
                    <a:pt x="11" y="41"/>
                    <a:pt x="12" y="41"/>
                  </a:cubicBezTo>
                  <a:cubicBezTo>
                    <a:pt x="12" y="42"/>
                    <a:pt x="13" y="42"/>
                    <a:pt x="14" y="43"/>
                  </a:cubicBezTo>
                  <a:cubicBezTo>
                    <a:pt x="16" y="43"/>
                    <a:pt x="18" y="43"/>
                    <a:pt x="20" y="42"/>
                  </a:cubicBezTo>
                  <a:cubicBezTo>
                    <a:pt x="22" y="41"/>
                    <a:pt x="23" y="40"/>
                    <a:pt x="23" y="38"/>
                  </a:cubicBezTo>
                  <a:cubicBezTo>
                    <a:pt x="23" y="38"/>
                    <a:pt x="23" y="38"/>
                    <a:pt x="23" y="38"/>
                  </a:cubicBezTo>
                  <a:cubicBezTo>
                    <a:pt x="24" y="39"/>
                    <a:pt x="26" y="40"/>
                    <a:pt x="27" y="40"/>
                  </a:cubicBezTo>
                  <a:cubicBezTo>
                    <a:pt x="28" y="40"/>
                    <a:pt x="29" y="40"/>
                    <a:pt x="30" y="40"/>
                  </a:cubicBezTo>
                  <a:cubicBezTo>
                    <a:pt x="31" y="39"/>
                    <a:pt x="32" y="38"/>
                    <a:pt x="32" y="37"/>
                  </a:cubicBezTo>
                  <a:cubicBezTo>
                    <a:pt x="33" y="35"/>
                    <a:pt x="33" y="34"/>
                    <a:pt x="32" y="33"/>
                  </a:cubicBezTo>
                  <a:cubicBezTo>
                    <a:pt x="33" y="33"/>
                    <a:pt x="34" y="33"/>
                    <a:pt x="34" y="34"/>
                  </a:cubicBezTo>
                  <a:cubicBezTo>
                    <a:pt x="36" y="34"/>
                    <a:pt x="38" y="34"/>
                    <a:pt x="40" y="33"/>
                  </a:cubicBezTo>
                  <a:cubicBezTo>
                    <a:pt x="41" y="32"/>
                    <a:pt x="43" y="31"/>
                    <a:pt x="43" y="29"/>
                  </a:cubicBezTo>
                  <a:cubicBezTo>
                    <a:pt x="44" y="27"/>
                    <a:pt x="43" y="25"/>
                    <a:pt x="43" y="24"/>
                  </a:cubicBezTo>
                  <a:moveTo>
                    <a:pt x="34" y="14"/>
                  </a:moveTo>
                  <a:cubicBezTo>
                    <a:pt x="34" y="13"/>
                    <a:pt x="34" y="13"/>
                    <a:pt x="34" y="13"/>
                  </a:cubicBezTo>
                  <a:cubicBezTo>
                    <a:pt x="36" y="13"/>
                    <a:pt x="37" y="13"/>
                    <a:pt x="38" y="13"/>
                  </a:cubicBezTo>
                  <a:cubicBezTo>
                    <a:pt x="39" y="13"/>
                    <a:pt x="39" y="14"/>
                    <a:pt x="40" y="14"/>
                  </a:cubicBezTo>
                  <a:cubicBezTo>
                    <a:pt x="40" y="15"/>
                    <a:pt x="40" y="15"/>
                    <a:pt x="40" y="15"/>
                  </a:cubicBezTo>
                  <a:cubicBezTo>
                    <a:pt x="40" y="16"/>
                    <a:pt x="40" y="16"/>
                    <a:pt x="40" y="16"/>
                  </a:cubicBezTo>
                  <a:cubicBezTo>
                    <a:pt x="40" y="17"/>
                    <a:pt x="39" y="18"/>
                    <a:pt x="37" y="18"/>
                  </a:cubicBezTo>
                  <a:cubicBezTo>
                    <a:pt x="36" y="19"/>
                    <a:pt x="36" y="19"/>
                    <a:pt x="35" y="19"/>
                  </a:cubicBezTo>
                  <a:cubicBezTo>
                    <a:pt x="27" y="20"/>
                    <a:pt x="27" y="20"/>
                    <a:pt x="27" y="20"/>
                  </a:cubicBezTo>
                  <a:cubicBezTo>
                    <a:pt x="27" y="19"/>
                    <a:pt x="27" y="19"/>
                    <a:pt x="27" y="19"/>
                  </a:cubicBezTo>
                  <a:cubicBezTo>
                    <a:pt x="27" y="19"/>
                    <a:pt x="27" y="19"/>
                    <a:pt x="27" y="19"/>
                  </a:cubicBezTo>
                  <a:cubicBezTo>
                    <a:pt x="27" y="19"/>
                    <a:pt x="27" y="19"/>
                    <a:pt x="27" y="19"/>
                  </a:cubicBezTo>
                  <a:lnTo>
                    <a:pt x="34" y="14"/>
                  </a:lnTo>
                  <a:close/>
                  <a:moveTo>
                    <a:pt x="23" y="6"/>
                  </a:moveTo>
                  <a:cubicBezTo>
                    <a:pt x="24" y="5"/>
                    <a:pt x="24" y="4"/>
                    <a:pt x="26" y="3"/>
                  </a:cubicBezTo>
                  <a:cubicBezTo>
                    <a:pt x="27" y="3"/>
                    <a:pt x="28" y="3"/>
                    <a:pt x="29" y="3"/>
                  </a:cubicBezTo>
                  <a:cubicBezTo>
                    <a:pt x="30" y="3"/>
                    <a:pt x="31" y="4"/>
                    <a:pt x="32" y="5"/>
                  </a:cubicBezTo>
                  <a:cubicBezTo>
                    <a:pt x="32" y="6"/>
                    <a:pt x="32" y="6"/>
                    <a:pt x="32" y="7"/>
                  </a:cubicBezTo>
                  <a:cubicBezTo>
                    <a:pt x="32" y="9"/>
                    <a:pt x="32" y="9"/>
                    <a:pt x="32" y="9"/>
                  </a:cubicBezTo>
                  <a:cubicBezTo>
                    <a:pt x="32" y="9"/>
                    <a:pt x="32" y="10"/>
                    <a:pt x="31" y="10"/>
                  </a:cubicBezTo>
                  <a:cubicBezTo>
                    <a:pt x="26" y="17"/>
                    <a:pt x="26" y="17"/>
                    <a:pt x="26" y="17"/>
                  </a:cubicBezTo>
                  <a:cubicBezTo>
                    <a:pt x="25" y="17"/>
                    <a:pt x="24" y="16"/>
                    <a:pt x="24" y="16"/>
                  </a:cubicBezTo>
                  <a:cubicBezTo>
                    <a:pt x="23" y="9"/>
                    <a:pt x="23" y="9"/>
                    <a:pt x="23" y="9"/>
                  </a:cubicBezTo>
                  <a:cubicBezTo>
                    <a:pt x="23" y="7"/>
                    <a:pt x="23" y="7"/>
                    <a:pt x="23" y="7"/>
                  </a:cubicBezTo>
                  <a:lnTo>
                    <a:pt x="23" y="6"/>
                  </a:lnTo>
                  <a:close/>
                  <a:moveTo>
                    <a:pt x="13" y="6"/>
                  </a:moveTo>
                  <a:cubicBezTo>
                    <a:pt x="13" y="5"/>
                    <a:pt x="13" y="4"/>
                    <a:pt x="14" y="4"/>
                  </a:cubicBezTo>
                  <a:cubicBezTo>
                    <a:pt x="14" y="4"/>
                    <a:pt x="15" y="4"/>
                    <a:pt x="15" y="4"/>
                  </a:cubicBezTo>
                  <a:cubicBezTo>
                    <a:pt x="17" y="4"/>
                    <a:pt x="17" y="5"/>
                    <a:pt x="18" y="7"/>
                  </a:cubicBezTo>
                  <a:cubicBezTo>
                    <a:pt x="18" y="7"/>
                    <a:pt x="19" y="8"/>
                    <a:pt x="19" y="9"/>
                  </a:cubicBezTo>
                  <a:cubicBezTo>
                    <a:pt x="20" y="16"/>
                    <a:pt x="20" y="16"/>
                    <a:pt x="20" y="16"/>
                  </a:cubicBezTo>
                  <a:cubicBezTo>
                    <a:pt x="19" y="16"/>
                    <a:pt x="19" y="16"/>
                    <a:pt x="19" y="16"/>
                  </a:cubicBezTo>
                  <a:cubicBezTo>
                    <a:pt x="14" y="10"/>
                    <a:pt x="14" y="10"/>
                    <a:pt x="14" y="10"/>
                  </a:cubicBezTo>
                  <a:cubicBezTo>
                    <a:pt x="13" y="9"/>
                    <a:pt x="13" y="9"/>
                    <a:pt x="13" y="9"/>
                  </a:cubicBezTo>
                  <a:cubicBezTo>
                    <a:pt x="13" y="8"/>
                    <a:pt x="13" y="7"/>
                    <a:pt x="13" y="6"/>
                  </a:cubicBezTo>
                  <a:moveTo>
                    <a:pt x="4" y="19"/>
                  </a:moveTo>
                  <a:cubicBezTo>
                    <a:pt x="3" y="18"/>
                    <a:pt x="3" y="17"/>
                    <a:pt x="4" y="16"/>
                  </a:cubicBezTo>
                  <a:cubicBezTo>
                    <a:pt x="4" y="15"/>
                    <a:pt x="5" y="14"/>
                    <a:pt x="6" y="14"/>
                  </a:cubicBezTo>
                  <a:cubicBezTo>
                    <a:pt x="7" y="13"/>
                    <a:pt x="8" y="13"/>
                    <a:pt x="9" y="13"/>
                  </a:cubicBezTo>
                  <a:cubicBezTo>
                    <a:pt x="11" y="14"/>
                    <a:pt x="11" y="14"/>
                    <a:pt x="11" y="14"/>
                  </a:cubicBezTo>
                  <a:cubicBezTo>
                    <a:pt x="17" y="18"/>
                    <a:pt x="17" y="18"/>
                    <a:pt x="17" y="18"/>
                  </a:cubicBezTo>
                  <a:cubicBezTo>
                    <a:pt x="16" y="18"/>
                    <a:pt x="16" y="19"/>
                    <a:pt x="16" y="20"/>
                  </a:cubicBezTo>
                  <a:cubicBezTo>
                    <a:pt x="7" y="21"/>
                    <a:pt x="7" y="21"/>
                    <a:pt x="7" y="21"/>
                  </a:cubicBezTo>
                  <a:cubicBezTo>
                    <a:pt x="6" y="21"/>
                    <a:pt x="6" y="21"/>
                    <a:pt x="6" y="21"/>
                  </a:cubicBezTo>
                  <a:cubicBezTo>
                    <a:pt x="5" y="20"/>
                    <a:pt x="4" y="20"/>
                    <a:pt x="4" y="19"/>
                  </a:cubicBezTo>
                  <a:moveTo>
                    <a:pt x="21" y="37"/>
                  </a:moveTo>
                  <a:cubicBezTo>
                    <a:pt x="21" y="37"/>
                    <a:pt x="21" y="37"/>
                    <a:pt x="21" y="37"/>
                  </a:cubicBezTo>
                  <a:cubicBezTo>
                    <a:pt x="20" y="39"/>
                    <a:pt x="20" y="39"/>
                    <a:pt x="18" y="40"/>
                  </a:cubicBezTo>
                  <a:cubicBezTo>
                    <a:pt x="17" y="40"/>
                    <a:pt x="16" y="41"/>
                    <a:pt x="15" y="40"/>
                  </a:cubicBezTo>
                  <a:cubicBezTo>
                    <a:pt x="14" y="40"/>
                    <a:pt x="13" y="39"/>
                    <a:pt x="12" y="38"/>
                  </a:cubicBezTo>
                  <a:cubicBezTo>
                    <a:pt x="12" y="38"/>
                    <a:pt x="12" y="37"/>
                    <a:pt x="12" y="36"/>
                  </a:cubicBezTo>
                  <a:cubicBezTo>
                    <a:pt x="12" y="35"/>
                    <a:pt x="12" y="35"/>
                    <a:pt x="12" y="35"/>
                  </a:cubicBezTo>
                  <a:cubicBezTo>
                    <a:pt x="12" y="34"/>
                    <a:pt x="13" y="34"/>
                    <a:pt x="13" y="33"/>
                  </a:cubicBezTo>
                  <a:cubicBezTo>
                    <a:pt x="18" y="27"/>
                    <a:pt x="18" y="27"/>
                    <a:pt x="18" y="27"/>
                  </a:cubicBezTo>
                  <a:cubicBezTo>
                    <a:pt x="19" y="27"/>
                    <a:pt x="20" y="28"/>
                    <a:pt x="20" y="28"/>
                  </a:cubicBezTo>
                  <a:cubicBezTo>
                    <a:pt x="20" y="30"/>
                    <a:pt x="20" y="32"/>
                    <a:pt x="21" y="34"/>
                  </a:cubicBezTo>
                  <a:lnTo>
                    <a:pt x="21" y="37"/>
                  </a:lnTo>
                  <a:close/>
                  <a:moveTo>
                    <a:pt x="19" y="25"/>
                  </a:moveTo>
                  <a:cubicBezTo>
                    <a:pt x="18" y="24"/>
                    <a:pt x="18" y="23"/>
                    <a:pt x="18" y="22"/>
                  </a:cubicBezTo>
                  <a:cubicBezTo>
                    <a:pt x="18" y="21"/>
                    <a:pt x="18" y="20"/>
                    <a:pt x="19" y="19"/>
                  </a:cubicBezTo>
                  <a:cubicBezTo>
                    <a:pt x="20" y="18"/>
                    <a:pt x="20" y="18"/>
                    <a:pt x="22" y="18"/>
                  </a:cubicBezTo>
                  <a:cubicBezTo>
                    <a:pt x="23" y="18"/>
                    <a:pt x="24" y="18"/>
                    <a:pt x="24" y="19"/>
                  </a:cubicBezTo>
                  <a:cubicBezTo>
                    <a:pt x="25" y="20"/>
                    <a:pt x="26" y="21"/>
                    <a:pt x="26" y="22"/>
                  </a:cubicBezTo>
                  <a:cubicBezTo>
                    <a:pt x="26" y="23"/>
                    <a:pt x="25" y="24"/>
                    <a:pt x="24" y="25"/>
                  </a:cubicBezTo>
                  <a:cubicBezTo>
                    <a:pt x="24" y="26"/>
                    <a:pt x="23" y="26"/>
                    <a:pt x="22" y="26"/>
                  </a:cubicBezTo>
                  <a:cubicBezTo>
                    <a:pt x="20" y="26"/>
                    <a:pt x="20" y="26"/>
                    <a:pt x="19" y="25"/>
                  </a:cubicBezTo>
                  <a:moveTo>
                    <a:pt x="30" y="35"/>
                  </a:moveTo>
                  <a:cubicBezTo>
                    <a:pt x="30" y="36"/>
                    <a:pt x="30" y="37"/>
                    <a:pt x="29" y="37"/>
                  </a:cubicBezTo>
                  <a:cubicBezTo>
                    <a:pt x="28" y="38"/>
                    <a:pt x="28" y="38"/>
                    <a:pt x="27" y="38"/>
                  </a:cubicBezTo>
                  <a:cubicBezTo>
                    <a:pt x="26" y="37"/>
                    <a:pt x="25" y="37"/>
                    <a:pt x="25" y="35"/>
                  </a:cubicBezTo>
                  <a:cubicBezTo>
                    <a:pt x="24" y="33"/>
                    <a:pt x="24" y="33"/>
                    <a:pt x="24" y="33"/>
                  </a:cubicBezTo>
                  <a:cubicBezTo>
                    <a:pt x="23" y="28"/>
                    <a:pt x="23" y="28"/>
                    <a:pt x="23" y="28"/>
                  </a:cubicBezTo>
                  <a:cubicBezTo>
                    <a:pt x="24" y="27"/>
                    <a:pt x="24" y="27"/>
                    <a:pt x="24" y="27"/>
                  </a:cubicBezTo>
                  <a:cubicBezTo>
                    <a:pt x="25" y="27"/>
                    <a:pt x="25" y="27"/>
                    <a:pt x="25" y="27"/>
                  </a:cubicBezTo>
                  <a:cubicBezTo>
                    <a:pt x="27" y="30"/>
                    <a:pt x="27" y="30"/>
                    <a:pt x="27" y="30"/>
                  </a:cubicBezTo>
                  <a:cubicBezTo>
                    <a:pt x="29" y="32"/>
                    <a:pt x="29" y="32"/>
                    <a:pt x="29" y="32"/>
                  </a:cubicBezTo>
                  <a:cubicBezTo>
                    <a:pt x="29" y="32"/>
                    <a:pt x="29" y="32"/>
                    <a:pt x="29" y="32"/>
                  </a:cubicBezTo>
                  <a:cubicBezTo>
                    <a:pt x="30" y="33"/>
                    <a:pt x="30" y="34"/>
                    <a:pt x="30" y="35"/>
                  </a:cubicBezTo>
                  <a:moveTo>
                    <a:pt x="41" y="28"/>
                  </a:moveTo>
                  <a:cubicBezTo>
                    <a:pt x="40" y="29"/>
                    <a:pt x="40" y="30"/>
                    <a:pt x="39" y="31"/>
                  </a:cubicBezTo>
                  <a:cubicBezTo>
                    <a:pt x="37" y="31"/>
                    <a:pt x="36" y="32"/>
                    <a:pt x="35" y="31"/>
                  </a:cubicBezTo>
                  <a:cubicBezTo>
                    <a:pt x="34" y="31"/>
                    <a:pt x="34" y="31"/>
                    <a:pt x="33" y="30"/>
                  </a:cubicBezTo>
                  <a:cubicBezTo>
                    <a:pt x="27" y="25"/>
                    <a:pt x="27" y="25"/>
                    <a:pt x="27" y="25"/>
                  </a:cubicBezTo>
                  <a:cubicBezTo>
                    <a:pt x="27" y="24"/>
                    <a:pt x="27" y="24"/>
                    <a:pt x="27" y="24"/>
                  </a:cubicBezTo>
                  <a:cubicBezTo>
                    <a:pt x="28" y="23"/>
                    <a:pt x="28" y="23"/>
                    <a:pt x="28" y="23"/>
                  </a:cubicBezTo>
                  <a:cubicBezTo>
                    <a:pt x="35" y="23"/>
                    <a:pt x="35" y="23"/>
                    <a:pt x="35" y="23"/>
                  </a:cubicBezTo>
                  <a:cubicBezTo>
                    <a:pt x="37" y="23"/>
                    <a:pt x="37" y="23"/>
                    <a:pt x="37" y="23"/>
                  </a:cubicBezTo>
                  <a:cubicBezTo>
                    <a:pt x="38" y="23"/>
                    <a:pt x="38" y="23"/>
                    <a:pt x="38" y="23"/>
                  </a:cubicBezTo>
                  <a:cubicBezTo>
                    <a:pt x="39" y="23"/>
                    <a:pt x="39" y="24"/>
                    <a:pt x="40" y="24"/>
                  </a:cubicBezTo>
                  <a:cubicBezTo>
                    <a:pt x="41" y="25"/>
                    <a:pt x="41" y="26"/>
                    <a:pt x="41" y="27"/>
                  </a:cubicBezTo>
                  <a:lnTo>
                    <a:pt x="41" y="28"/>
                  </a:lnTo>
                  <a:close/>
                </a:path>
              </a:pathLst>
            </a:custGeom>
            <a:solidFill>
              <a:srgbClr val="CCCCC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55" name="Freeform 361">
              <a:extLst>
                <a:ext uri="{FF2B5EF4-FFF2-40B4-BE49-F238E27FC236}">
                  <a16:creationId xmlns:a16="http://schemas.microsoft.com/office/drawing/2014/main" id="{AAC9C32D-57D6-44AA-A1ED-AD13B3B45BDE}"/>
                </a:ext>
              </a:extLst>
            </p:cNvPr>
            <p:cNvSpPr>
              <a:spLocks noEditPoints="1"/>
            </p:cNvSpPr>
            <p:nvPr/>
          </p:nvSpPr>
          <p:spPr bwMode="auto">
            <a:xfrm>
              <a:off x="5397928" y="1422562"/>
              <a:ext cx="82707" cy="84299"/>
            </a:xfrm>
            <a:custGeom>
              <a:avLst/>
              <a:gdLst>
                <a:gd name="T0" fmla="*/ 40 w 43"/>
                <a:gd name="T1" fmla="*/ 21 h 43"/>
                <a:gd name="T2" fmla="*/ 41 w 43"/>
                <a:gd name="T3" fmla="*/ 13 h 43"/>
                <a:gd name="T4" fmla="*/ 35 w 43"/>
                <a:gd name="T5" fmla="*/ 10 h 43"/>
                <a:gd name="T6" fmla="*/ 33 w 43"/>
                <a:gd name="T7" fmla="*/ 3 h 43"/>
                <a:gd name="T8" fmla="*/ 24 w 43"/>
                <a:gd name="T9" fmla="*/ 1 h 43"/>
                <a:gd name="T10" fmla="*/ 20 w 43"/>
                <a:gd name="T11" fmla="*/ 5 h 43"/>
                <a:gd name="T12" fmla="*/ 15 w 43"/>
                <a:gd name="T13" fmla="*/ 1 h 43"/>
                <a:gd name="T14" fmla="*/ 10 w 43"/>
                <a:gd name="T15" fmla="*/ 10 h 43"/>
                <a:gd name="T16" fmla="*/ 4 w 43"/>
                <a:gd name="T17" fmla="*/ 11 h 43"/>
                <a:gd name="T18" fmla="*/ 2 w 43"/>
                <a:gd name="T19" fmla="*/ 21 h 43"/>
                <a:gd name="T20" fmla="*/ 4 w 43"/>
                <a:gd name="T21" fmla="*/ 24 h 43"/>
                <a:gd name="T22" fmla="*/ 4 w 43"/>
                <a:gd name="T23" fmla="*/ 31 h 43"/>
                <a:gd name="T24" fmla="*/ 9 w 43"/>
                <a:gd name="T25" fmla="*/ 33 h 43"/>
                <a:gd name="T26" fmla="*/ 11 w 43"/>
                <a:gd name="T27" fmla="*/ 41 h 43"/>
                <a:gd name="T28" fmla="*/ 23 w 43"/>
                <a:gd name="T29" fmla="*/ 38 h 43"/>
                <a:gd name="T30" fmla="*/ 30 w 43"/>
                <a:gd name="T31" fmla="*/ 39 h 43"/>
                <a:gd name="T32" fmla="*/ 34 w 43"/>
                <a:gd name="T33" fmla="*/ 33 h 43"/>
                <a:gd name="T34" fmla="*/ 42 w 43"/>
                <a:gd name="T35" fmla="*/ 23 h 43"/>
                <a:gd name="T36" fmla="*/ 37 w 43"/>
                <a:gd name="T37" fmla="*/ 13 h 43"/>
                <a:gd name="T38" fmla="*/ 39 w 43"/>
                <a:gd name="T39" fmla="*/ 15 h 43"/>
                <a:gd name="T40" fmla="*/ 27 w 43"/>
                <a:gd name="T41" fmla="*/ 19 h 43"/>
                <a:gd name="T42" fmla="*/ 27 w 43"/>
                <a:gd name="T43" fmla="*/ 18 h 43"/>
                <a:gd name="T44" fmla="*/ 25 w 43"/>
                <a:gd name="T45" fmla="*/ 3 h 43"/>
                <a:gd name="T46" fmla="*/ 32 w 43"/>
                <a:gd name="T47" fmla="*/ 7 h 43"/>
                <a:gd name="T48" fmla="*/ 25 w 43"/>
                <a:gd name="T49" fmla="*/ 17 h 43"/>
                <a:gd name="T50" fmla="*/ 23 w 43"/>
                <a:gd name="T51" fmla="*/ 6 h 43"/>
                <a:gd name="T52" fmla="*/ 15 w 43"/>
                <a:gd name="T53" fmla="*/ 4 h 43"/>
                <a:gd name="T54" fmla="*/ 19 w 43"/>
                <a:gd name="T55" fmla="*/ 15 h 43"/>
                <a:gd name="T56" fmla="*/ 13 w 43"/>
                <a:gd name="T57" fmla="*/ 9 h 43"/>
                <a:gd name="T58" fmla="*/ 3 w 43"/>
                <a:gd name="T59" fmla="*/ 16 h 43"/>
                <a:gd name="T60" fmla="*/ 10 w 43"/>
                <a:gd name="T61" fmla="*/ 14 h 43"/>
                <a:gd name="T62" fmla="*/ 6 w 43"/>
                <a:gd name="T63" fmla="*/ 20 h 43"/>
                <a:gd name="T64" fmla="*/ 20 w 43"/>
                <a:gd name="T65" fmla="*/ 36 h 43"/>
                <a:gd name="T66" fmla="*/ 14 w 43"/>
                <a:gd name="T67" fmla="*/ 40 h 43"/>
                <a:gd name="T68" fmla="*/ 12 w 43"/>
                <a:gd name="T69" fmla="*/ 35 h 43"/>
                <a:gd name="T70" fmla="*/ 20 w 43"/>
                <a:gd name="T71" fmla="*/ 28 h 43"/>
                <a:gd name="T72" fmla="*/ 18 w 43"/>
                <a:gd name="T73" fmla="*/ 24 h 43"/>
                <a:gd name="T74" fmla="*/ 21 w 43"/>
                <a:gd name="T75" fmla="*/ 18 h 43"/>
                <a:gd name="T76" fmla="*/ 24 w 43"/>
                <a:gd name="T77" fmla="*/ 24 h 43"/>
                <a:gd name="T78" fmla="*/ 29 w 43"/>
                <a:gd name="T79" fmla="*/ 35 h 43"/>
                <a:gd name="T80" fmla="*/ 24 w 43"/>
                <a:gd name="T81" fmla="*/ 35 h 43"/>
                <a:gd name="T82" fmla="*/ 23 w 43"/>
                <a:gd name="T83" fmla="*/ 27 h 43"/>
                <a:gd name="T84" fmla="*/ 28 w 43"/>
                <a:gd name="T85" fmla="*/ 31 h 43"/>
                <a:gd name="T86" fmla="*/ 40 w 43"/>
                <a:gd name="T87" fmla="*/ 28 h 43"/>
                <a:gd name="T88" fmla="*/ 33 w 43"/>
                <a:gd name="T89" fmla="*/ 30 h 43"/>
                <a:gd name="T90" fmla="*/ 27 w 43"/>
                <a:gd name="T91" fmla="*/ 23 h 43"/>
                <a:gd name="T92" fmla="*/ 37 w 43"/>
                <a:gd name="T93" fmla="*/ 22 h 43"/>
                <a:gd name="T94" fmla="*/ 40 w 43"/>
                <a:gd name="T95" fmla="*/ 28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3" h="43">
                  <a:moveTo>
                    <a:pt x="42" y="23"/>
                  </a:moveTo>
                  <a:cubicBezTo>
                    <a:pt x="42" y="23"/>
                    <a:pt x="42" y="23"/>
                    <a:pt x="42" y="23"/>
                  </a:cubicBezTo>
                  <a:cubicBezTo>
                    <a:pt x="41" y="22"/>
                    <a:pt x="41" y="21"/>
                    <a:pt x="40" y="21"/>
                  </a:cubicBezTo>
                  <a:cubicBezTo>
                    <a:pt x="39" y="21"/>
                    <a:pt x="39" y="20"/>
                    <a:pt x="38" y="20"/>
                  </a:cubicBezTo>
                  <a:cubicBezTo>
                    <a:pt x="40" y="19"/>
                    <a:pt x="41" y="18"/>
                    <a:pt x="42" y="16"/>
                  </a:cubicBezTo>
                  <a:cubicBezTo>
                    <a:pt x="42" y="15"/>
                    <a:pt x="42" y="14"/>
                    <a:pt x="41" y="13"/>
                  </a:cubicBezTo>
                  <a:cubicBezTo>
                    <a:pt x="41" y="13"/>
                    <a:pt x="41" y="13"/>
                    <a:pt x="41" y="13"/>
                  </a:cubicBezTo>
                  <a:cubicBezTo>
                    <a:pt x="41" y="11"/>
                    <a:pt x="40" y="11"/>
                    <a:pt x="38" y="10"/>
                  </a:cubicBezTo>
                  <a:cubicBezTo>
                    <a:pt x="37" y="10"/>
                    <a:pt x="36" y="10"/>
                    <a:pt x="35" y="10"/>
                  </a:cubicBezTo>
                  <a:cubicBezTo>
                    <a:pt x="33" y="10"/>
                    <a:pt x="33" y="10"/>
                    <a:pt x="33" y="10"/>
                  </a:cubicBezTo>
                  <a:cubicBezTo>
                    <a:pt x="34" y="9"/>
                    <a:pt x="34" y="9"/>
                    <a:pt x="34" y="9"/>
                  </a:cubicBezTo>
                  <a:cubicBezTo>
                    <a:pt x="35" y="7"/>
                    <a:pt x="34" y="5"/>
                    <a:pt x="33" y="3"/>
                  </a:cubicBezTo>
                  <a:cubicBezTo>
                    <a:pt x="33" y="3"/>
                    <a:pt x="33" y="3"/>
                    <a:pt x="33" y="3"/>
                  </a:cubicBezTo>
                  <a:cubicBezTo>
                    <a:pt x="32" y="2"/>
                    <a:pt x="31" y="1"/>
                    <a:pt x="29" y="0"/>
                  </a:cubicBezTo>
                  <a:cubicBezTo>
                    <a:pt x="27" y="0"/>
                    <a:pt x="25" y="0"/>
                    <a:pt x="24" y="1"/>
                  </a:cubicBezTo>
                  <a:cubicBezTo>
                    <a:pt x="22" y="2"/>
                    <a:pt x="21" y="3"/>
                    <a:pt x="20" y="5"/>
                  </a:cubicBezTo>
                  <a:cubicBezTo>
                    <a:pt x="20" y="5"/>
                    <a:pt x="20" y="5"/>
                    <a:pt x="20" y="5"/>
                  </a:cubicBezTo>
                  <a:cubicBezTo>
                    <a:pt x="20" y="5"/>
                    <a:pt x="20" y="5"/>
                    <a:pt x="20" y="5"/>
                  </a:cubicBezTo>
                  <a:cubicBezTo>
                    <a:pt x="20" y="5"/>
                    <a:pt x="20" y="5"/>
                    <a:pt x="20" y="5"/>
                  </a:cubicBezTo>
                  <a:cubicBezTo>
                    <a:pt x="19" y="4"/>
                    <a:pt x="19" y="4"/>
                    <a:pt x="19" y="4"/>
                  </a:cubicBezTo>
                  <a:cubicBezTo>
                    <a:pt x="18" y="2"/>
                    <a:pt x="17" y="2"/>
                    <a:pt x="15" y="1"/>
                  </a:cubicBezTo>
                  <a:cubicBezTo>
                    <a:pt x="14" y="1"/>
                    <a:pt x="13" y="1"/>
                    <a:pt x="12" y="2"/>
                  </a:cubicBezTo>
                  <a:cubicBezTo>
                    <a:pt x="11" y="2"/>
                    <a:pt x="10" y="4"/>
                    <a:pt x="10" y="5"/>
                  </a:cubicBezTo>
                  <a:cubicBezTo>
                    <a:pt x="9" y="7"/>
                    <a:pt x="10" y="9"/>
                    <a:pt x="10" y="10"/>
                  </a:cubicBezTo>
                  <a:cubicBezTo>
                    <a:pt x="11" y="11"/>
                    <a:pt x="11" y="11"/>
                    <a:pt x="11" y="11"/>
                  </a:cubicBezTo>
                  <a:cubicBezTo>
                    <a:pt x="9" y="10"/>
                    <a:pt x="9" y="10"/>
                    <a:pt x="9" y="10"/>
                  </a:cubicBezTo>
                  <a:cubicBezTo>
                    <a:pt x="8" y="10"/>
                    <a:pt x="6" y="10"/>
                    <a:pt x="4" y="11"/>
                  </a:cubicBezTo>
                  <a:cubicBezTo>
                    <a:pt x="2" y="12"/>
                    <a:pt x="1" y="13"/>
                    <a:pt x="1" y="15"/>
                  </a:cubicBezTo>
                  <a:cubicBezTo>
                    <a:pt x="0" y="17"/>
                    <a:pt x="0" y="18"/>
                    <a:pt x="1" y="20"/>
                  </a:cubicBezTo>
                  <a:cubicBezTo>
                    <a:pt x="1" y="21"/>
                    <a:pt x="2" y="21"/>
                    <a:pt x="2" y="21"/>
                  </a:cubicBezTo>
                  <a:cubicBezTo>
                    <a:pt x="3" y="22"/>
                    <a:pt x="4" y="23"/>
                    <a:pt x="5" y="23"/>
                  </a:cubicBezTo>
                  <a:cubicBezTo>
                    <a:pt x="5" y="23"/>
                    <a:pt x="5" y="23"/>
                    <a:pt x="5" y="23"/>
                  </a:cubicBezTo>
                  <a:cubicBezTo>
                    <a:pt x="4" y="24"/>
                    <a:pt x="4" y="24"/>
                    <a:pt x="4" y="24"/>
                  </a:cubicBezTo>
                  <a:cubicBezTo>
                    <a:pt x="4" y="24"/>
                    <a:pt x="3" y="25"/>
                    <a:pt x="3" y="26"/>
                  </a:cubicBezTo>
                  <a:cubicBezTo>
                    <a:pt x="2" y="27"/>
                    <a:pt x="3" y="28"/>
                    <a:pt x="3" y="29"/>
                  </a:cubicBezTo>
                  <a:cubicBezTo>
                    <a:pt x="4" y="30"/>
                    <a:pt x="4" y="30"/>
                    <a:pt x="4" y="31"/>
                  </a:cubicBezTo>
                  <a:cubicBezTo>
                    <a:pt x="5" y="31"/>
                    <a:pt x="5" y="31"/>
                    <a:pt x="6" y="31"/>
                  </a:cubicBezTo>
                  <a:cubicBezTo>
                    <a:pt x="7" y="32"/>
                    <a:pt x="9" y="32"/>
                    <a:pt x="10" y="31"/>
                  </a:cubicBezTo>
                  <a:cubicBezTo>
                    <a:pt x="9" y="33"/>
                    <a:pt x="9" y="33"/>
                    <a:pt x="9" y="33"/>
                  </a:cubicBezTo>
                  <a:cubicBezTo>
                    <a:pt x="9" y="34"/>
                    <a:pt x="9" y="34"/>
                    <a:pt x="9" y="34"/>
                  </a:cubicBezTo>
                  <a:cubicBezTo>
                    <a:pt x="8" y="36"/>
                    <a:pt x="9" y="37"/>
                    <a:pt x="10" y="39"/>
                  </a:cubicBezTo>
                  <a:cubicBezTo>
                    <a:pt x="10" y="40"/>
                    <a:pt x="10" y="40"/>
                    <a:pt x="11" y="41"/>
                  </a:cubicBezTo>
                  <a:cubicBezTo>
                    <a:pt x="12" y="42"/>
                    <a:pt x="13" y="42"/>
                    <a:pt x="14" y="42"/>
                  </a:cubicBezTo>
                  <a:cubicBezTo>
                    <a:pt x="16" y="43"/>
                    <a:pt x="17" y="43"/>
                    <a:pt x="19" y="42"/>
                  </a:cubicBezTo>
                  <a:cubicBezTo>
                    <a:pt x="21" y="41"/>
                    <a:pt x="22" y="40"/>
                    <a:pt x="23" y="38"/>
                  </a:cubicBezTo>
                  <a:cubicBezTo>
                    <a:pt x="23" y="37"/>
                    <a:pt x="23" y="37"/>
                    <a:pt x="23" y="37"/>
                  </a:cubicBezTo>
                  <a:cubicBezTo>
                    <a:pt x="24" y="39"/>
                    <a:pt x="25" y="39"/>
                    <a:pt x="26" y="40"/>
                  </a:cubicBezTo>
                  <a:cubicBezTo>
                    <a:pt x="27" y="40"/>
                    <a:pt x="29" y="40"/>
                    <a:pt x="30" y="39"/>
                  </a:cubicBezTo>
                  <a:cubicBezTo>
                    <a:pt x="31" y="39"/>
                    <a:pt x="31" y="38"/>
                    <a:pt x="32" y="36"/>
                  </a:cubicBezTo>
                  <a:cubicBezTo>
                    <a:pt x="32" y="35"/>
                    <a:pt x="32" y="34"/>
                    <a:pt x="32" y="32"/>
                  </a:cubicBezTo>
                  <a:cubicBezTo>
                    <a:pt x="32" y="33"/>
                    <a:pt x="33" y="33"/>
                    <a:pt x="34" y="33"/>
                  </a:cubicBezTo>
                  <a:cubicBezTo>
                    <a:pt x="36" y="34"/>
                    <a:pt x="37" y="34"/>
                    <a:pt x="39" y="33"/>
                  </a:cubicBezTo>
                  <a:cubicBezTo>
                    <a:pt x="41" y="32"/>
                    <a:pt x="42" y="31"/>
                    <a:pt x="42" y="29"/>
                  </a:cubicBezTo>
                  <a:cubicBezTo>
                    <a:pt x="43" y="27"/>
                    <a:pt x="43" y="25"/>
                    <a:pt x="42" y="23"/>
                  </a:cubicBezTo>
                  <a:moveTo>
                    <a:pt x="33" y="13"/>
                  </a:moveTo>
                  <a:cubicBezTo>
                    <a:pt x="34" y="13"/>
                    <a:pt x="34" y="13"/>
                    <a:pt x="34" y="13"/>
                  </a:cubicBezTo>
                  <a:cubicBezTo>
                    <a:pt x="35" y="13"/>
                    <a:pt x="36" y="12"/>
                    <a:pt x="37" y="13"/>
                  </a:cubicBezTo>
                  <a:cubicBezTo>
                    <a:pt x="38" y="13"/>
                    <a:pt x="39" y="13"/>
                    <a:pt x="39" y="14"/>
                  </a:cubicBezTo>
                  <a:cubicBezTo>
                    <a:pt x="39" y="15"/>
                    <a:pt x="39" y="15"/>
                    <a:pt x="39" y="15"/>
                  </a:cubicBezTo>
                  <a:cubicBezTo>
                    <a:pt x="39" y="15"/>
                    <a:pt x="39" y="15"/>
                    <a:pt x="39" y="15"/>
                  </a:cubicBezTo>
                  <a:cubicBezTo>
                    <a:pt x="39" y="16"/>
                    <a:pt x="38" y="17"/>
                    <a:pt x="36" y="18"/>
                  </a:cubicBezTo>
                  <a:cubicBezTo>
                    <a:pt x="36" y="18"/>
                    <a:pt x="35" y="18"/>
                    <a:pt x="34" y="18"/>
                  </a:cubicBezTo>
                  <a:cubicBezTo>
                    <a:pt x="27" y="19"/>
                    <a:pt x="27" y="19"/>
                    <a:pt x="27" y="19"/>
                  </a:cubicBezTo>
                  <a:cubicBezTo>
                    <a:pt x="27" y="19"/>
                    <a:pt x="27" y="19"/>
                    <a:pt x="27" y="19"/>
                  </a:cubicBezTo>
                  <a:cubicBezTo>
                    <a:pt x="27" y="19"/>
                    <a:pt x="27" y="19"/>
                    <a:pt x="27" y="19"/>
                  </a:cubicBezTo>
                  <a:cubicBezTo>
                    <a:pt x="27" y="18"/>
                    <a:pt x="27" y="18"/>
                    <a:pt x="27" y="18"/>
                  </a:cubicBezTo>
                  <a:lnTo>
                    <a:pt x="33" y="13"/>
                  </a:lnTo>
                  <a:close/>
                  <a:moveTo>
                    <a:pt x="23" y="6"/>
                  </a:moveTo>
                  <a:cubicBezTo>
                    <a:pt x="23" y="5"/>
                    <a:pt x="24" y="4"/>
                    <a:pt x="25" y="3"/>
                  </a:cubicBezTo>
                  <a:cubicBezTo>
                    <a:pt x="26" y="2"/>
                    <a:pt x="27" y="2"/>
                    <a:pt x="28" y="3"/>
                  </a:cubicBezTo>
                  <a:cubicBezTo>
                    <a:pt x="30" y="3"/>
                    <a:pt x="31" y="4"/>
                    <a:pt x="31" y="5"/>
                  </a:cubicBezTo>
                  <a:cubicBezTo>
                    <a:pt x="31" y="5"/>
                    <a:pt x="32" y="6"/>
                    <a:pt x="32" y="7"/>
                  </a:cubicBezTo>
                  <a:cubicBezTo>
                    <a:pt x="31" y="8"/>
                    <a:pt x="31" y="8"/>
                    <a:pt x="31" y="8"/>
                  </a:cubicBezTo>
                  <a:cubicBezTo>
                    <a:pt x="31" y="9"/>
                    <a:pt x="31" y="9"/>
                    <a:pt x="30" y="10"/>
                  </a:cubicBezTo>
                  <a:cubicBezTo>
                    <a:pt x="25" y="17"/>
                    <a:pt x="25" y="17"/>
                    <a:pt x="25" y="17"/>
                  </a:cubicBezTo>
                  <a:cubicBezTo>
                    <a:pt x="24" y="16"/>
                    <a:pt x="24" y="16"/>
                    <a:pt x="23" y="16"/>
                  </a:cubicBezTo>
                  <a:cubicBezTo>
                    <a:pt x="23" y="9"/>
                    <a:pt x="23" y="9"/>
                    <a:pt x="23" y="9"/>
                  </a:cubicBezTo>
                  <a:cubicBezTo>
                    <a:pt x="23" y="6"/>
                    <a:pt x="23" y="6"/>
                    <a:pt x="23" y="6"/>
                  </a:cubicBezTo>
                  <a:close/>
                  <a:moveTo>
                    <a:pt x="12" y="6"/>
                  </a:moveTo>
                  <a:cubicBezTo>
                    <a:pt x="12" y="5"/>
                    <a:pt x="13" y="4"/>
                    <a:pt x="13" y="4"/>
                  </a:cubicBezTo>
                  <a:cubicBezTo>
                    <a:pt x="14" y="3"/>
                    <a:pt x="14" y="3"/>
                    <a:pt x="15" y="4"/>
                  </a:cubicBezTo>
                  <a:cubicBezTo>
                    <a:pt x="16" y="4"/>
                    <a:pt x="17" y="5"/>
                    <a:pt x="17" y="6"/>
                  </a:cubicBezTo>
                  <a:cubicBezTo>
                    <a:pt x="18" y="7"/>
                    <a:pt x="18" y="7"/>
                    <a:pt x="18" y="8"/>
                  </a:cubicBezTo>
                  <a:cubicBezTo>
                    <a:pt x="19" y="15"/>
                    <a:pt x="19" y="15"/>
                    <a:pt x="19" y="15"/>
                  </a:cubicBezTo>
                  <a:cubicBezTo>
                    <a:pt x="19" y="16"/>
                    <a:pt x="19" y="16"/>
                    <a:pt x="19" y="16"/>
                  </a:cubicBezTo>
                  <a:cubicBezTo>
                    <a:pt x="13" y="10"/>
                    <a:pt x="13" y="10"/>
                    <a:pt x="13" y="10"/>
                  </a:cubicBezTo>
                  <a:cubicBezTo>
                    <a:pt x="13" y="9"/>
                    <a:pt x="13" y="9"/>
                    <a:pt x="13" y="9"/>
                  </a:cubicBezTo>
                  <a:cubicBezTo>
                    <a:pt x="12" y="8"/>
                    <a:pt x="12" y="7"/>
                    <a:pt x="12" y="6"/>
                  </a:cubicBezTo>
                  <a:moveTo>
                    <a:pt x="3" y="19"/>
                  </a:moveTo>
                  <a:cubicBezTo>
                    <a:pt x="3" y="18"/>
                    <a:pt x="3" y="17"/>
                    <a:pt x="3" y="16"/>
                  </a:cubicBezTo>
                  <a:cubicBezTo>
                    <a:pt x="3" y="15"/>
                    <a:pt x="4" y="14"/>
                    <a:pt x="5" y="13"/>
                  </a:cubicBezTo>
                  <a:cubicBezTo>
                    <a:pt x="6" y="13"/>
                    <a:pt x="8" y="13"/>
                    <a:pt x="9" y="13"/>
                  </a:cubicBezTo>
                  <a:cubicBezTo>
                    <a:pt x="10" y="14"/>
                    <a:pt x="10" y="14"/>
                    <a:pt x="10" y="14"/>
                  </a:cubicBezTo>
                  <a:cubicBezTo>
                    <a:pt x="16" y="18"/>
                    <a:pt x="16" y="18"/>
                    <a:pt x="16" y="18"/>
                  </a:cubicBezTo>
                  <a:cubicBezTo>
                    <a:pt x="15" y="18"/>
                    <a:pt x="15" y="19"/>
                    <a:pt x="15" y="19"/>
                  </a:cubicBezTo>
                  <a:cubicBezTo>
                    <a:pt x="6" y="20"/>
                    <a:pt x="6" y="20"/>
                    <a:pt x="6" y="20"/>
                  </a:cubicBezTo>
                  <a:cubicBezTo>
                    <a:pt x="5" y="20"/>
                    <a:pt x="5" y="20"/>
                    <a:pt x="5" y="20"/>
                  </a:cubicBezTo>
                  <a:cubicBezTo>
                    <a:pt x="4" y="20"/>
                    <a:pt x="4" y="20"/>
                    <a:pt x="3" y="19"/>
                  </a:cubicBezTo>
                  <a:moveTo>
                    <a:pt x="20" y="36"/>
                  </a:moveTo>
                  <a:cubicBezTo>
                    <a:pt x="20" y="37"/>
                    <a:pt x="20" y="37"/>
                    <a:pt x="20" y="37"/>
                  </a:cubicBezTo>
                  <a:cubicBezTo>
                    <a:pt x="20" y="38"/>
                    <a:pt x="19" y="39"/>
                    <a:pt x="18" y="40"/>
                  </a:cubicBezTo>
                  <a:cubicBezTo>
                    <a:pt x="17" y="40"/>
                    <a:pt x="16" y="40"/>
                    <a:pt x="14" y="40"/>
                  </a:cubicBezTo>
                  <a:cubicBezTo>
                    <a:pt x="13" y="40"/>
                    <a:pt x="12" y="39"/>
                    <a:pt x="12" y="38"/>
                  </a:cubicBezTo>
                  <a:cubicBezTo>
                    <a:pt x="11" y="37"/>
                    <a:pt x="11" y="37"/>
                    <a:pt x="11" y="36"/>
                  </a:cubicBezTo>
                  <a:cubicBezTo>
                    <a:pt x="12" y="35"/>
                    <a:pt x="12" y="35"/>
                    <a:pt x="12" y="35"/>
                  </a:cubicBezTo>
                  <a:cubicBezTo>
                    <a:pt x="12" y="34"/>
                    <a:pt x="12" y="33"/>
                    <a:pt x="12" y="33"/>
                  </a:cubicBezTo>
                  <a:cubicBezTo>
                    <a:pt x="18" y="27"/>
                    <a:pt x="18" y="27"/>
                    <a:pt x="18" y="27"/>
                  </a:cubicBezTo>
                  <a:cubicBezTo>
                    <a:pt x="18" y="27"/>
                    <a:pt x="19" y="27"/>
                    <a:pt x="20" y="28"/>
                  </a:cubicBezTo>
                  <a:cubicBezTo>
                    <a:pt x="20" y="30"/>
                    <a:pt x="20" y="32"/>
                    <a:pt x="20" y="34"/>
                  </a:cubicBezTo>
                  <a:lnTo>
                    <a:pt x="20" y="36"/>
                  </a:lnTo>
                  <a:close/>
                  <a:moveTo>
                    <a:pt x="18" y="24"/>
                  </a:moveTo>
                  <a:cubicBezTo>
                    <a:pt x="17" y="24"/>
                    <a:pt x="17" y="23"/>
                    <a:pt x="17" y="22"/>
                  </a:cubicBezTo>
                  <a:cubicBezTo>
                    <a:pt x="17" y="21"/>
                    <a:pt x="17" y="20"/>
                    <a:pt x="18" y="19"/>
                  </a:cubicBezTo>
                  <a:cubicBezTo>
                    <a:pt x="19" y="18"/>
                    <a:pt x="20" y="18"/>
                    <a:pt x="21" y="18"/>
                  </a:cubicBezTo>
                  <a:cubicBezTo>
                    <a:pt x="22" y="18"/>
                    <a:pt x="23" y="18"/>
                    <a:pt x="24" y="19"/>
                  </a:cubicBezTo>
                  <a:cubicBezTo>
                    <a:pt x="25" y="20"/>
                    <a:pt x="25" y="21"/>
                    <a:pt x="25" y="22"/>
                  </a:cubicBezTo>
                  <a:cubicBezTo>
                    <a:pt x="25" y="23"/>
                    <a:pt x="25" y="24"/>
                    <a:pt x="24" y="24"/>
                  </a:cubicBezTo>
                  <a:cubicBezTo>
                    <a:pt x="23" y="25"/>
                    <a:pt x="22" y="26"/>
                    <a:pt x="21" y="26"/>
                  </a:cubicBezTo>
                  <a:cubicBezTo>
                    <a:pt x="20" y="26"/>
                    <a:pt x="19" y="25"/>
                    <a:pt x="18" y="24"/>
                  </a:cubicBezTo>
                  <a:moveTo>
                    <a:pt x="29" y="35"/>
                  </a:moveTo>
                  <a:cubicBezTo>
                    <a:pt x="29" y="36"/>
                    <a:pt x="29" y="37"/>
                    <a:pt x="28" y="37"/>
                  </a:cubicBezTo>
                  <a:cubicBezTo>
                    <a:pt x="28" y="37"/>
                    <a:pt x="27" y="37"/>
                    <a:pt x="27" y="37"/>
                  </a:cubicBezTo>
                  <a:cubicBezTo>
                    <a:pt x="26" y="37"/>
                    <a:pt x="25" y="36"/>
                    <a:pt x="24" y="35"/>
                  </a:cubicBezTo>
                  <a:cubicBezTo>
                    <a:pt x="23" y="33"/>
                    <a:pt x="23" y="33"/>
                    <a:pt x="23" y="33"/>
                  </a:cubicBezTo>
                  <a:cubicBezTo>
                    <a:pt x="22" y="28"/>
                    <a:pt x="22" y="28"/>
                    <a:pt x="22" y="28"/>
                  </a:cubicBezTo>
                  <a:cubicBezTo>
                    <a:pt x="23" y="27"/>
                    <a:pt x="23" y="27"/>
                    <a:pt x="23" y="27"/>
                  </a:cubicBezTo>
                  <a:cubicBezTo>
                    <a:pt x="24" y="27"/>
                    <a:pt x="24" y="27"/>
                    <a:pt x="24" y="27"/>
                  </a:cubicBezTo>
                  <a:cubicBezTo>
                    <a:pt x="27" y="29"/>
                    <a:pt x="27" y="29"/>
                    <a:pt x="27" y="29"/>
                  </a:cubicBezTo>
                  <a:cubicBezTo>
                    <a:pt x="28" y="31"/>
                    <a:pt x="28" y="31"/>
                    <a:pt x="28" y="31"/>
                  </a:cubicBezTo>
                  <a:cubicBezTo>
                    <a:pt x="29" y="32"/>
                    <a:pt x="29" y="32"/>
                    <a:pt x="29" y="32"/>
                  </a:cubicBezTo>
                  <a:cubicBezTo>
                    <a:pt x="29" y="33"/>
                    <a:pt x="30" y="34"/>
                    <a:pt x="29" y="35"/>
                  </a:cubicBezTo>
                  <a:moveTo>
                    <a:pt x="40" y="28"/>
                  </a:moveTo>
                  <a:cubicBezTo>
                    <a:pt x="40" y="29"/>
                    <a:pt x="39" y="30"/>
                    <a:pt x="38" y="31"/>
                  </a:cubicBezTo>
                  <a:cubicBezTo>
                    <a:pt x="37" y="31"/>
                    <a:pt x="36" y="31"/>
                    <a:pt x="34" y="31"/>
                  </a:cubicBezTo>
                  <a:cubicBezTo>
                    <a:pt x="34" y="31"/>
                    <a:pt x="33" y="30"/>
                    <a:pt x="33" y="30"/>
                  </a:cubicBezTo>
                  <a:cubicBezTo>
                    <a:pt x="26" y="25"/>
                    <a:pt x="26" y="25"/>
                    <a:pt x="26" y="25"/>
                  </a:cubicBezTo>
                  <a:cubicBezTo>
                    <a:pt x="27" y="24"/>
                    <a:pt x="27" y="24"/>
                    <a:pt x="27" y="24"/>
                  </a:cubicBezTo>
                  <a:cubicBezTo>
                    <a:pt x="27" y="23"/>
                    <a:pt x="27" y="23"/>
                    <a:pt x="27" y="23"/>
                  </a:cubicBezTo>
                  <a:cubicBezTo>
                    <a:pt x="34" y="22"/>
                    <a:pt x="34" y="22"/>
                    <a:pt x="34" y="22"/>
                  </a:cubicBezTo>
                  <a:cubicBezTo>
                    <a:pt x="36" y="22"/>
                    <a:pt x="36" y="22"/>
                    <a:pt x="36" y="22"/>
                  </a:cubicBezTo>
                  <a:cubicBezTo>
                    <a:pt x="37" y="22"/>
                    <a:pt x="37" y="22"/>
                    <a:pt x="37" y="22"/>
                  </a:cubicBezTo>
                  <a:cubicBezTo>
                    <a:pt x="38" y="23"/>
                    <a:pt x="39" y="23"/>
                    <a:pt x="39" y="24"/>
                  </a:cubicBezTo>
                  <a:cubicBezTo>
                    <a:pt x="40" y="25"/>
                    <a:pt x="40" y="26"/>
                    <a:pt x="40" y="27"/>
                  </a:cubicBezTo>
                  <a:lnTo>
                    <a:pt x="40" y="28"/>
                  </a:lnTo>
                  <a:close/>
                </a:path>
              </a:pathLst>
            </a:custGeom>
            <a:solidFill>
              <a:srgbClr val="CCCCC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56" name="Freeform 362">
              <a:extLst>
                <a:ext uri="{FF2B5EF4-FFF2-40B4-BE49-F238E27FC236}">
                  <a16:creationId xmlns:a16="http://schemas.microsoft.com/office/drawing/2014/main" id="{179C8E2D-E111-4C63-B3EC-950BD517093D}"/>
                </a:ext>
              </a:extLst>
            </p:cNvPr>
            <p:cNvSpPr>
              <a:spLocks noEditPoints="1"/>
            </p:cNvSpPr>
            <p:nvPr/>
          </p:nvSpPr>
          <p:spPr bwMode="auto">
            <a:xfrm>
              <a:off x="7091833" y="2981274"/>
              <a:ext cx="84298" cy="84299"/>
            </a:xfrm>
            <a:custGeom>
              <a:avLst/>
              <a:gdLst>
                <a:gd name="T0" fmla="*/ 40 w 43"/>
                <a:gd name="T1" fmla="*/ 21 h 43"/>
                <a:gd name="T2" fmla="*/ 42 w 43"/>
                <a:gd name="T3" fmla="*/ 13 h 43"/>
                <a:gd name="T4" fmla="*/ 36 w 43"/>
                <a:gd name="T5" fmla="*/ 10 h 43"/>
                <a:gd name="T6" fmla="*/ 34 w 43"/>
                <a:gd name="T7" fmla="*/ 3 h 43"/>
                <a:gd name="T8" fmla="*/ 24 w 43"/>
                <a:gd name="T9" fmla="*/ 1 h 43"/>
                <a:gd name="T10" fmla="*/ 20 w 43"/>
                <a:gd name="T11" fmla="*/ 5 h 43"/>
                <a:gd name="T12" fmla="*/ 16 w 43"/>
                <a:gd name="T13" fmla="*/ 1 h 43"/>
                <a:gd name="T14" fmla="*/ 11 w 43"/>
                <a:gd name="T15" fmla="*/ 10 h 43"/>
                <a:gd name="T16" fmla="*/ 4 w 43"/>
                <a:gd name="T17" fmla="*/ 11 h 43"/>
                <a:gd name="T18" fmla="*/ 2 w 43"/>
                <a:gd name="T19" fmla="*/ 21 h 43"/>
                <a:gd name="T20" fmla="*/ 5 w 43"/>
                <a:gd name="T21" fmla="*/ 24 h 43"/>
                <a:gd name="T22" fmla="*/ 5 w 43"/>
                <a:gd name="T23" fmla="*/ 31 h 43"/>
                <a:gd name="T24" fmla="*/ 10 w 43"/>
                <a:gd name="T25" fmla="*/ 33 h 43"/>
                <a:gd name="T26" fmla="*/ 11 w 43"/>
                <a:gd name="T27" fmla="*/ 41 h 43"/>
                <a:gd name="T28" fmla="*/ 23 w 43"/>
                <a:gd name="T29" fmla="*/ 38 h 43"/>
                <a:gd name="T30" fmla="*/ 30 w 43"/>
                <a:gd name="T31" fmla="*/ 39 h 43"/>
                <a:gd name="T32" fmla="*/ 34 w 43"/>
                <a:gd name="T33" fmla="*/ 33 h 43"/>
                <a:gd name="T34" fmla="*/ 42 w 43"/>
                <a:gd name="T35" fmla="*/ 23 h 43"/>
                <a:gd name="T36" fmla="*/ 37 w 43"/>
                <a:gd name="T37" fmla="*/ 13 h 43"/>
                <a:gd name="T38" fmla="*/ 40 w 43"/>
                <a:gd name="T39" fmla="*/ 15 h 43"/>
                <a:gd name="T40" fmla="*/ 27 w 43"/>
                <a:gd name="T41" fmla="*/ 19 h 43"/>
                <a:gd name="T42" fmla="*/ 27 w 43"/>
                <a:gd name="T43" fmla="*/ 18 h 43"/>
                <a:gd name="T44" fmla="*/ 25 w 43"/>
                <a:gd name="T45" fmla="*/ 3 h 43"/>
                <a:gd name="T46" fmla="*/ 32 w 43"/>
                <a:gd name="T47" fmla="*/ 7 h 43"/>
                <a:gd name="T48" fmla="*/ 25 w 43"/>
                <a:gd name="T49" fmla="*/ 17 h 43"/>
                <a:gd name="T50" fmla="*/ 23 w 43"/>
                <a:gd name="T51" fmla="*/ 6 h 43"/>
                <a:gd name="T52" fmla="*/ 15 w 43"/>
                <a:gd name="T53" fmla="*/ 4 h 43"/>
                <a:gd name="T54" fmla="*/ 20 w 43"/>
                <a:gd name="T55" fmla="*/ 15 h 43"/>
                <a:gd name="T56" fmla="*/ 13 w 43"/>
                <a:gd name="T57" fmla="*/ 9 h 43"/>
                <a:gd name="T58" fmla="*/ 3 w 43"/>
                <a:gd name="T59" fmla="*/ 16 h 43"/>
                <a:gd name="T60" fmla="*/ 11 w 43"/>
                <a:gd name="T61" fmla="*/ 14 h 43"/>
                <a:gd name="T62" fmla="*/ 6 w 43"/>
                <a:gd name="T63" fmla="*/ 20 h 43"/>
                <a:gd name="T64" fmla="*/ 20 w 43"/>
                <a:gd name="T65" fmla="*/ 36 h 43"/>
                <a:gd name="T66" fmla="*/ 15 w 43"/>
                <a:gd name="T67" fmla="*/ 40 h 43"/>
                <a:gd name="T68" fmla="*/ 12 w 43"/>
                <a:gd name="T69" fmla="*/ 35 h 43"/>
                <a:gd name="T70" fmla="*/ 20 w 43"/>
                <a:gd name="T71" fmla="*/ 28 h 43"/>
                <a:gd name="T72" fmla="*/ 18 w 43"/>
                <a:gd name="T73" fmla="*/ 24 h 43"/>
                <a:gd name="T74" fmla="*/ 21 w 43"/>
                <a:gd name="T75" fmla="*/ 18 h 43"/>
                <a:gd name="T76" fmla="*/ 24 w 43"/>
                <a:gd name="T77" fmla="*/ 24 h 43"/>
                <a:gd name="T78" fmla="*/ 30 w 43"/>
                <a:gd name="T79" fmla="*/ 35 h 43"/>
                <a:gd name="T80" fmla="*/ 24 w 43"/>
                <a:gd name="T81" fmla="*/ 35 h 43"/>
                <a:gd name="T82" fmla="*/ 24 w 43"/>
                <a:gd name="T83" fmla="*/ 27 h 43"/>
                <a:gd name="T84" fmla="*/ 29 w 43"/>
                <a:gd name="T85" fmla="*/ 31 h 43"/>
                <a:gd name="T86" fmla="*/ 40 w 43"/>
                <a:gd name="T87" fmla="*/ 28 h 43"/>
                <a:gd name="T88" fmla="*/ 33 w 43"/>
                <a:gd name="T89" fmla="*/ 30 h 43"/>
                <a:gd name="T90" fmla="*/ 27 w 43"/>
                <a:gd name="T91" fmla="*/ 23 h 43"/>
                <a:gd name="T92" fmla="*/ 37 w 43"/>
                <a:gd name="T93" fmla="*/ 22 h 43"/>
                <a:gd name="T94" fmla="*/ 40 w 43"/>
                <a:gd name="T95" fmla="*/ 28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3" h="43">
                  <a:moveTo>
                    <a:pt x="42" y="23"/>
                  </a:moveTo>
                  <a:cubicBezTo>
                    <a:pt x="42" y="23"/>
                    <a:pt x="42" y="23"/>
                    <a:pt x="42" y="23"/>
                  </a:cubicBezTo>
                  <a:cubicBezTo>
                    <a:pt x="41" y="22"/>
                    <a:pt x="41" y="21"/>
                    <a:pt x="40" y="21"/>
                  </a:cubicBezTo>
                  <a:cubicBezTo>
                    <a:pt x="40" y="21"/>
                    <a:pt x="39" y="20"/>
                    <a:pt x="38" y="20"/>
                  </a:cubicBezTo>
                  <a:cubicBezTo>
                    <a:pt x="40" y="19"/>
                    <a:pt x="41" y="18"/>
                    <a:pt x="42" y="16"/>
                  </a:cubicBezTo>
                  <a:cubicBezTo>
                    <a:pt x="42" y="15"/>
                    <a:pt x="42" y="14"/>
                    <a:pt x="42" y="13"/>
                  </a:cubicBezTo>
                  <a:cubicBezTo>
                    <a:pt x="42" y="13"/>
                    <a:pt x="42" y="13"/>
                    <a:pt x="42" y="13"/>
                  </a:cubicBezTo>
                  <a:cubicBezTo>
                    <a:pt x="41" y="11"/>
                    <a:pt x="40" y="11"/>
                    <a:pt x="39" y="10"/>
                  </a:cubicBezTo>
                  <a:cubicBezTo>
                    <a:pt x="38" y="10"/>
                    <a:pt x="37" y="10"/>
                    <a:pt x="36" y="10"/>
                  </a:cubicBezTo>
                  <a:cubicBezTo>
                    <a:pt x="34" y="10"/>
                    <a:pt x="34" y="10"/>
                    <a:pt x="34" y="10"/>
                  </a:cubicBezTo>
                  <a:cubicBezTo>
                    <a:pt x="34" y="9"/>
                    <a:pt x="34" y="9"/>
                    <a:pt x="34" y="9"/>
                  </a:cubicBezTo>
                  <a:cubicBezTo>
                    <a:pt x="35" y="7"/>
                    <a:pt x="35" y="5"/>
                    <a:pt x="34" y="3"/>
                  </a:cubicBezTo>
                  <a:cubicBezTo>
                    <a:pt x="33" y="3"/>
                    <a:pt x="33" y="3"/>
                    <a:pt x="33" y="3"/>
                  </a:cubicBezTo>
                  <a:cubicBezTo>
                    <a:pt x="33" y="2"/>
                    <a:pt x="31" y="1"/>
                    <a:pt x="29" y="0"/>
                  </a:cubicBezTo>
                  <a:cubicBezTo>
                    <a:pt x="27" y="0"/>
                    <a:pt x="26" y="0"/>
                    <a:pt x="24" y="1"/>
                  </a:cubicBezTo>
                  <a:cubicBezTo>
                    <a:pt x="22" y="2"/>
                    <a:pt x="21" y="3"/>
                    <a:pt x="20" y="5"/>
                  </a:cubicBezTo>
                  <a:cubicBezTo>
                    <a:pt x="20" y="5"/>
                    <a:pt x="20" y="5"/>
                    <a:pt x="20" y="5"/>
                  </a:cubicBezTo>
                  <a:cubicBezTo>
                    <a:pt x="20" y="5"/>
                    <a:pt x="20" y="5"/>
                    <a:pt x="20" y="5"/>
                  </a:cubicBezTo>
                  <a:cubicBezTo>
                    <a:pt x="20" y="5"/>
                    <a:pt x="20" y="5"/>
                    <a:pt x="20" y="5"/>
                  </a:cubicBezTo>
                  <a:cubicBezTo>
                    <a:pt x="20" y="4"/>
                    <a:pt x="20" y="4"/>
                    <a:pt x="20" y="4"/>
                  </a:cubicBezTo>
                  <a:cubicBezTo>
                    <a:pt x="19" y="2"/>
                    <a:pt x="17" y="2"/>
                    <a:pt x="16" y="1"/>
                  </a:cubicBezTo>
                  <a:cubicBezTo>
                    <a:pt x="14" y="1"/>
                    <a:pt x="13" y="1"/>
                    <a:pt x="12" y="2"/>
                  </a:cubicBezTo>
                  <a:cubicBezTo>
                    <a:pt x="11" y="2"/>
                    <a:pt x="10" y="4"/>
                    <a:pt x="10" y="5"/>
                  </a:cubicBezTo>
                  <a:cubicBezTo>
                    <a:pt x="10" y="7"/>
                    <a:pt x="10" y="9"/>
                    <a:pt x="11" y="10"/>
                  </a:cubicBezTo>
                  <a:cubicBezTo>
                    <a:pt x="11" y="11"/>
                    <a:pt x="11" y="11"/>
                    <a:pt x="11" y="11"/>
                  </a:cubicBezTo>
                  <a:cubicBezTo>
                    <a:pt x="10" y="10"/>
                    <a:pt x="10" y="10"/>
                    <a:pt x="10" y="10"/>
                  </a:cubicBezTo>
                  <a:cubicBezTo>
                    <a:pt x="8" y="10"/>
                    <a:pt x="6" y="10"/>
                    <a:pt x="4" y="11"/>
                  </a:cubicBezTo>
                  <a:cubicBezTo>
                    <a:pt x="3" y="12"/>
                    <a:pt x="2" y="13"/>
                    <a:pt x="1" y="15"/>
                  </a:cubicBezTo>
                  <a:cubicBezTo>
                    <a:pt x="0" y="17"/>
                    <a:pt x="0" y="18"/>
                    <a:pt x="1" y="20"/>
                  </a:cubicBezTo>
                  <a:cubicBezTo>
                    <a:pt x="1" y="21"/>
                    <a:pt x="2" y="21"/>
                    <a:pt x="2" y="21"/>
                  </a:cubicBezTo>
                  <a:cubicBezTo>
                    <a:pt x="3" y="22"/>
                    <a:pt x="4" y="23"/>
                    <a:pt x="5" y="23"/>
                  </a:cubicBezTo>
                  <a:cubicBezTo>
                    <a:pt x="6" y="23"/>
                    <a:pt x="6" y="23"/>
                    <a:pt x="6" y="23"/>
                  </a:cubicBezTo>
                  <a:cubicBezTo>
                    <a:pt x="5" y="24"/>
                    <a:pt x="5" y="24"/>
                    <a:pt x="5" y="24"/>
                  </a:cubicBezTo>
                  <a:cubicBezTo>
                    <a:pt x="4" y="24"/>
                    <a:pt x="3" y="25"/>
                    <a:pt x="3" y="26"/>
                  </a:cubicBezTo>
                  <a:cubicBezTo>
                    <a:pt x="3" y="27"/>
                    <a:pt x="3" y="28"/>
                    <a:pt x="4" y="29"/>
                  </a:cubicBezTo>
                  <a:cubicBezTo>
                    <a:pt x="4" y="30"/>
                    <a:pt x="4" y="30"/>
                    <a:pt x="5" y="31"/>
                  </a:cubicBezTo>
                  <a:cubicBezTo>
                    <a:pt x="5" y="31"/>
                    <a:pt x="6" y="31"/>
                    <a:pt x="6" y="31"/>
                  </a:cubicBezTo>
                  <a:cubicBezTo>
                    <a:pt x="8" y="32"/>
                    <a:pt x="9" y="32"/>
                    <a:pt x="11" y="31"/>
                  </a:cubicBezTo>
                  <a:cubicBezTo>
                    <a:pt x="10" y="33"/>
                    <a:pt x="10" y="33"/>
                    <a:pt x="10" y="33"/>
                  </a:cubicBezTo>
                  <a:cubicBezTo>
                    <a:pt x="9" y="34"/>
                    <a:pt x="9" y="34"/>
                    <a:pt x="9" y="34"/>
                  </a:cubicBezTo>
                  <a:cubicBezTo>
                    <a:pt x="9" y="36"/>
                    <a:pt x="9" y="37"/>
                    <a:pt x="10" y="39"/>
                  </a:cubicBezTo>
                  <a:cubicBezTo>
                    <a:pt x="10" y="40"/>
                    <a:pt x="11" y="40"/>
                    <a:pt x="11" y="41"/>
                  </a:cubicBezTo>
                  <a:cubicBezTo>
                    <a:pt x="12" y="42"/>
                    <a:pt x="13" y="42"/>
                    <a:pt x="14" y="42"/>
                  </a:cubicBezTo>
                  <a:cubicBezTo>
                    <a:pt x="16" y="43"/>
                    <a:pt x="18" y="43"/>
                    <a:pt x="19" y="42"/>
                  </a:cubicBezTo>
                  <a:cubicBezTo>
                    <a:pt x="21" y="41"/>
                    <a:pt x="22" y="40"/>
                    <a:pt x="23" y="38"/>
                  </a:cubicBezTo>
                  <a:cubicBezTo>
                    <a:pt x="23" y="37"/>
                    <a:pt x="23" y="37"/>
                    <a:pt x="23" y="37"/>
                  </a:cubicBezTo>
                  <a:cubicBezTo>
                    <a:pt x="24" y="39"/>
                    <a:pt x="25" y="39"/>
                    <a:pt x="26" y="40"/>
                  </a:cubicBezTo>
                  <a:cubicBezTo>
                    <a:pt x="28" y="40"/>
                    <a:pt x="29" y="40"/>
                    <a:pt x="30" y="39"/>
                  </a:cubicBezTo>
                  <a:cubicBezTo>
                    <a:pt x="31" y="39"/>
                    <a:pt x="32" y="38"/>
                    <a:pt x="32" y="36"/>
                  </a:cubicBezTo>
                  <a:cubicBezTo>
                    <a:pt x="32" y="35"/>
                    <a:pt x="32" y="34"/>
                    <a:pt x="32" y="32"/>
                  </a:cubicBezTo>
                  <a:cubicBezTo>
                    <a:pt x="33" y="33"/>
                    <a:pt x="33" y="33"/>
                    <a:pt x="34" y="33"/>
                  </a:cubicBezTo>
                  <a:cubicBezTo>
                    <a:pt x="36" y="34"/>
                    <a:pt x="38" y="34"/>
                    <a:pt x="39" y="33"/>
                  </a:cubicBezTo>
                  <a:cubicBezTo>
                    <a:pt x="41" y="32"/>
                    <a:pt x="42" y="31"/>
                    <a:pt x="43" y="29"/>
                  </a:cubicBezTo>
                  <a:cubicBezTo>
                    <a:pt x="43" y="27"/>
                    <a:pt x="43" y="25"/>
                    <a:pt x="42" y="23"/>
                  </a:cubicBezTo>
                  <a:moveTo>
                    <a:pt x="33" y="13"/>
                  </a:moveTo>
                  <a:cubicBezTo>
                    <a:pt x="34" y="13"/>
                    <a:pt x="34" y="13"/>
                    <a:pt x="34" y="13"/>
                  </a:cubicBezTo>
                  <a:cubicBezTo>
                    <a:pt x="35" y="13"/>
                    <a:pt x="36" y="12"/>
                    <a:pt x="37" y="13"/>
                  </a:cubicBezTo>
                  <a:cubicBezTo>
                    <a:pt x="38" y="13"/>
                    <a:pt x="39" y="13"/>
                    <a:pt x="39" y="14"/>
                  </a:cubicBezTo>
                  <a:cubicBezTo>
                    <a:pt x="40" y="15"/>
                    <a:pt x="40" y="15"/>
                    <a:pt x="40" y="15"/>
                  </a:cubicBezTo>
                  <a:cubicBezTo>
                    <a:pt x="40" y="15"/>
                    <a:pt x="40" y="15"/>
                    <a:pt x="40" y="15"/>
                  </a:cubicBezTo>
                  <a:cubicBezTo>
                    <a:pt x="39" y="16"/>
                    <a:pt x="38" y="17"/>
                    <a:pt x="37" y="18"/>
                  </a:cubicBezTo>
                  <a:cubicBezTo>
                    <a:pt x="36" y="18"/>
                    <a:pt x="35" y="18"/>
                    <a:pt x="35" y="18"/>
                  </a:cubicBezTo>
                  <a:cubicBezTo>
                    <a:pt x="27" y="19"/>
                    <a:pt x="27" y="19"/>
                    <a:pt x="27" y="19"/>
                  </a:cubicBezTo>
                  <a:cubicBezTo>
                    <a:pt x="27" y="19"/>
                    <a:pt x="27" y="19"/>
                    <a:pt x="27" y="19"/>
                  </a:cubicBezTo>
                  <a:cubicBezTo>
                    <a:pt x="27" y="19"/>
                    <a:pt x="27" y="19"/>
                    <a:pt x="27" y="19"/>
                  </a:cubicBezTo>
                  <a:cubicBezTo>
                    <a:pt x="27" y="18"/>
                    <a:pt x="27" y="18"/>
                    <a:pt x="27" y="18"/>
                  </a:cubicBezTo>
                  <a:lnTo>
                    <a:pt x="33" y="13"/>
                  </a:lnTo>
                  <a:close/>
                  <a:moveTo>
                    <a:pt x="23" y="6"/>
                  </a:moveTo>
                  <a:cubicBezTo>
                    <a:pt x="23" y="5"/>
                    <a:pt x="24" y="4"/>
                    <a:pt x="25" y="3"/>
                  </a:cubicBezTo>
                  <a:cubicBezTo>
                    <a:pt x="26" y="2"/>
                    <a:pt x="28" y="2"/>
                    <a:pt x="29" y="3"/>
                  </a:cubicBezTo>
                  <a:cubicBezTo>
                    <a:pt x="30" y="3"/>
                    <a:pt x="31" y="4"/>
                    <a:pt x="31" y="5"/>
                  </a:cubicBezTo>
                  <a:cubicBezTo>
                    <a:pt x="32" y="5"/>
                    <a:pt x="32" y="6"/>
                    <a:pt x="32" y="7"/>
                  </a:cubicBezTo>
                  <a:cubicBezTo>
                    <a:pt x="32" y="8"/>
                    <a:pt x="32" y="8"/>
                    <a:pt x="32" y="8"/>
                  </a:cubicBezTo>
                  <a:cubicBezTo>
                    <a:pt x="32" y="9"/>
                    <a:pt x="31" y="9"/>
                    <a:pt x="31" y="10"/>
                  </a:cubicBezTo>
                  <a:cubicBezTo>
                    <a:pt x="25" y="17"/>
                    <a:pt x="25" y="17"/>
                    <a:pt x="25" y="17"/>
                  </a:cubicBezTo>
                  <a:cubicBezTo>
                    <a:pt x="25" y="16"/>
                    <a:pt x="24" y="16"/>
                    <a:pt x="24" y="16"/>
                  </a:cubicBezTo>
                  <a:cubicBezTo>
                    <a:pt x="23" y="9"/>
                    <a:pt x="23" y="9"/>
                    <a:pt x="23" y="9"/>
                  </a:cubicBezTo>
                  <a:cubicBezTo>
                    <a:pt x="23" y="6"/>
                    <a:pt x="23" y="6"/>
                    <a:pt x="23" y="6"/>
                  </a:cubicBezTo>
                  <a:close/>
                  <a:moveTo>
                    <a:pt x="12" y="6"/>
                  </a:moveTo>
                  <a:cubicBezTo>
                    <a:pt x="12" y="5"/>
                    <a:pt x="13" y="4"/>
                    <a:pt x="14" y="4"/>
                  </a:cubicBezTo>
                  <a:cubicBezTo>
                    <a:pt x="14" y="3"/>
                    <a:pt x="15" y="3"/>
                    <a:pt x="15" y="4"/>
                  </a:cubicBezTo>
                  <a:cubicBezTo>
                    <a:pt x="16" y="4"/>
                    <a:pt x="17" y="5"/>
                    <a:pt x="18" y="6"/>
                  </a:cubicBezTo>
                  <a:cubicBezTo>
                    <a:pt x="18" y="7"/>
                    <a:pt x="18" y="7"/>
                    <a:pt x="19" y="8"/>
                  </a:cubicBezTo>
                  <a:cubicBezTo>
                    <a:pt x="20" y="15"/>
                    <a:pt x="20" y="15"/>
                    <a:pt x="20" y="15"/>
                  </a:cubicBezTo>
                  <a:cubicBezTo>
                    <a:pt x="19" y="16"/>
                    <a:pt x="19" y="16"/>
                    <a:pt x="19" y="16"/>
                  </a:cubicBezTo>
                  <a:cubicBezTo>
                    <a:pt x="13" y="10"/>
                    <a:pt x="13" y="10"/>
                    <a:pt x="13" y="10"/>
                  </a:cubicBezTo>
                  <a:cubicBezTo>
                    <a:pt x="13" y="9"/>
                    <a:pt x="13" y="9"/>
                    <a:pt x="13" y="9"/>
                  </a:cubicBezTo>
                  <a:cubicBezTo>
                    <a:pt x="13" y="8"/>
                    <a:pt x="12" y="7"/>
                    <a:pt x="12" y="6"/>
                  </a:cubicBezTo>
                  <a:moveTo>
                    <a:pt x="3" y="19"/>
                  </a:moveTo>
                  <a:cubicBezTo>
                    <a:pt x="3" y="18"/>
                    <a:pt x="3" y="17"/>
                    <a:pt x="3" y="16"/>
                  </a:cubicBezTo>
                  <a:cubicBezTo>
                    <a:pt x="4" y="15"/>
                    <a:pt x="5" y="14"/>
                    <a:pt x="6" y="13"/>
                  </a:cubicBezTo>
                  <a:cubicBezTo>
                    <a:pt x="7" y="13"/>
                    <a:pt x="8" y="13"/>
                    <a:pt x="9" y="13"/>
                  </a:cubicBezTo>
                  <a:cubicBezTo>
                    <a:pt x="11" y="14"/>
                    <a:pt x="11" y="14"/>
                    <a:pt x="11" y="14"/>
                  </a:cubicBezTo>
                  <a:cubicBezTo>
                    <a:pt x="16" y="18"/>
                    <a:pt x="16" y="18"/>
                    <a:pt x="16" y="18"/>
                  </a:cubicBezTo>
                  <a:cubicBezTo>
                    <a:pt x="16" y="18"/>
                    <a:pt x="15" y="19"/>
                    <a:pt x="15" y="19"/>
                  </a:cubicBezTo>
                  <a:cubicBezTo>
                    <a:pt x="6" y="20"/>
                    <a:pt x="6" y="20"/>
                    <a:pt x="6" y="20"/>
                  </a:cubicBezTo>
                  <a:cubicBezTo>
                    <a:pt x="6" y="20"/>
                    <a:pt x="6" y="20"/>
                    <a:pt x="6" y="20"/>
                  </a:cubicBezTo>
                  <a:cubicBezTo>
                    <a:pt x="5" y="20"/>
                    <a:pt x="4" y="20"/>
                    <a:pt x="3" y="19"/>
                  </a:cubicBezTo>
                  <a:moveTo>
                    <a:pt x="20" y="36"/>
                  </a:moveTo>
                  <a:cubicBezTo>
                    <a:pt x="20" y="37"/>
                    <a:pt x="20" y="37"/>
                    <a:pt x="20" y="37"/>
                  </a:cubicBezTo>
                  <a:cubicBezTo>
                    <a:pt x="20" y="38"/>
                    <a:pt x="19" y="39"/>
                    <a:pt x="18" y="40"/>
                  </a:cubicBezTo>
                  <a:cubicBezTo>
                    <a:pt x="17" y="40"/>
                    <a:pt x="16" y="40"/>
                    <a:pt x="15" y="40"/>
                  </a:cubicBezTo>
                  <a:cubicBezTo>
                    <a:pt x="14" y="40"/>
                    <a:pt x="13" y="39"/>
                    <a:pt x="12" y="38"/>
                  </a:cubicBezTo>
                  <a:cubicBezTo>
                    <a:pt x="12" y="37"/>
                    <a:pt x="12" y="37"/>
                    <a:pt x="12" y="36"/>
                  </a:cubicBezTo>
                  <a:cubicBezTo>
                    <a:pt x="12" y="35"/>
                    <a:pt x="12" y="35"/>
                    <a:pt x="12" y="35"/>
                  </a:cubicBezTo>
                  <a:cubicBezTo>
                    <a:pt x="12" y="34"/>
                    <a:pt x="12" y="33"/>
                    <a:pt x="13" y="33"/>
                  </a:cubicBezTo>
                  <a:cubicBezTo>
                    <a:pt x="18" y="27"/>
                    <a:pt x="18" y="27"/>
                    <a:pt x="18" y="27"/>
                  </a:cubicBezTo>
                  <a:cubicBezTo>
                    <a:pt x="19" y="27"/>
                    <a:pt x="19" y="27"/>
                    <a:pt x="20" y="28"/>
                  </a:cubicBezTo>
                  <a:cubicBezTo>
                    <a:pt x="20" y="30"/>
                    <a:pt x="20" y="32"/>
                    <a:pt x="20" y="34"/>
                  </a:cubicBezTo>
                  <a:lnTo>
                    <a:pt x="20" y="36"/>
                  </a:lnTo>
                  <a:close/>
                  <a:moveTo>
                    <a:pt x="18" y="24"/>
                  </a:moveTo>
                  <a:cubicBezTo>
                    <a:pt x="18" y="24"/>
                    <a:pt x="17" y="23"/>
                    <a:pt x="17" y="22"/>
                  </a:cubicBezTo>
                  <a:cubicBezTo>
                    <a:pt x="17" y="21"/>
                    <a:pt x="18" y="20"/>
                    <a:pt x="18" y="19"/>
                  </a:cubicBezTo>
                  <a:cubicBezTo>
                    <a:pt x="19" y="18"/>
                    <a:pt x="20" y="18"/>
                    <a:pt x="21" y="18"/>
                  </a:cubicBezTo>
                  <a:cubicBezTo>
                    <a:pt x="22" y="18"/>
                    <a:pt x="23" y="18"/>
                    <a:pt x="24" y="19"/>
                  </a:cubicBezTo>
                  <a:cubicBezTo>
                    <a:pt x="25" y="20"/>
                    <a:pt x="25" y="21"/>
                    <a:pt x="25" y="22"/>
                  </a:cubicBezTo>
                  <a:cubicBezTo>
                    <a:pt x="25" y="23"/>
                    <a:pt x="25" y="24"/>
                    <a:pt x="24" y="24"/>
                  </a:cubicBezTo>
                  <a:cubicBezTo>
                    <a:pt x="23" y="25"/>
                    <a:pt x="22" y="26"/>
                    <a:pt x="21" y="26"/>
                  </a:cubicBezTo>
                  <a:cubicBezTo>
                    <a:pt x="20" y="26"/>
                    <a:pt x="19" y="25"/>
                    <a:pt x="18" y="24"/>
                  </a:cubicBezTo>
                  <a:moveTo>
                    <a:pt x="30" y="35"/>
                  </a:moveTo>
                  <a:cubicBezTo>
                    <a:pt x="30" y="36"/>
                    <a:pt x="29" y="37"/>
                    <a:pt x="29" y="37"/>
                  </a:cubicBezTo>
                  <a:cubicBezTo>
                    <a:pt x="28" y="37"/>
                    <a:pt x="28" y="37"/>
                    <a:pt x="27" y="37"/>
                  </a:cubicBezTo>
                  <a:cubicBezTo>
                    <a:pt x="26" y="37"/>
                    <a:pt x="25" y="36"/>
                    <a:pt x="24" y="35"/>
                  </a:cubicBezTo>
                  <a:cubicBezTo>
                    <a:pt x="24" y="33"/>
                    <a:pt x="24" y="33"/>
                    <a:pt x="24" y="33"/>
                  </a:cubicBezTo>
                  <a:cubicBezTo>
                    <a:pt x="23" y="28"/>
                    <a:pt x="23" y="28"/>
                    <a:pt x="23" y="28"/>
                  </a:cubicBezTo>
                  <a:cubicBezTo>
                    <a:pt x="24" y="27"/>
                    <a:pt x="24" y="27"/>
                    <a:pt x="24" y="27"/>
                  </a:cubicBezTo>
                  <a:cubicBezTo>
                    <a:pt x="25" y="27"/>
                    <a:pt x="25" y="27"/>
                    <a:pt x="25" y="27"/>
                  </a:cubicBezTo>
                  <a:cubicBezTo>
                    <a:pt x="27" y="29"/>
                    <a:pt x="27" y="29"/>
                    <a:pt x="27" y="29"/>
                  </a:cubicBezTo>
                  <a:cubicBezTo>
                    <a:pt x="29" y="31"/>
                    <a:pt x="29" y="31"/>
                    <a:pt x="29" y="31"/>
                  </a:cubicBezTo>
                  <a:cubicBezTo>
                    <a:pt x="29" y="32"/>
                    <a:pt x="29" y="32"/>
                    <a:pt x="29" y="32"/>
                  </a:cubicBezTo>
                  <a:cubicBezTo>
                    <a:pt x="30" y="33"/>
                    <a:pt x="30" y="34"/>
                    <a:pt x="30" y="35"/>
                  </a:cubicBezTo>
                  <a:moveTo>
                    <a:pt x="40" y="28"/>
                  </a:moveTo>
                  <a:cubicBezTo>
                    <a:pt x="40" y="29"/>
                    <a:pt x="39" y="30"/>
                    <a:pt x="38" y="31"/>
                  </a:cubicBezTo>
                  <a:cubicBezTo>
                    <a:pt x="37" y="31"/>
                    <a:pt x="36" y="31"/>
                    <a:pt x="35" y="31"/>
                  </a:cubicBezTo>
                  <a:cubicBezTo>
                    <a:pt x="34" y="31"/>
                    <a:pt x="34" y="30"/>
                    <a:pt x="33" y="30"/>
                  </a:cubicBezTo>
                  <a:cubicBezTo>
                    <a:pt x="27" y="25"/>
                    <a:pt x="27" y="25"/>
                    <a:pt x="27" y="25"/>
                  </a:cubicBezTo>
                  <a:cubicBezTo>
                    <a:pt x="27" y="24"/>
                    <a:pt x="27" y="24"/>
                    <a:pt x="27" y="24"/>
                  </a:cubicBezTo>
                  <a:cubicBezTo>
                    <a:pt x="27" y="23"/>
                    <a:pt x="27" y="23"/>
                    <a:pt x="27" y="23"/>
                  </a:cubicBezTo>
                  <a:cubicBezTo>
                    <a:pt x="34" y="22"/>
                    <a:pt x="34" y="22"/>
                    <a:pt x="34" y="22"/>
                  </a:cubicBezTo>
                  <a:cubicBezTo>
                    <a:pt x="37" y="22"/>
                    <a:pt x="37" y="22"/>
                    <a:pt x="37" y="22"/>
                  </a:cubicBezTo>
                  <a:cubicBezTo>
                    <a:pt x="37" y="22"/>
                    <a:pt x="37" y="22"/>
                    <a:pt x="37" y="22"/>
                  </a:cubicBezTo>
                  <a:cubicBezTo>
                    <a:pt x="38" y="23"/>
                    <a:pt x="39" y="23"/>
                    <a:pt x="40" y="24"/>
                  </a:cubicBezTo>
                  <a:cubicBezTo>
                    <a:pt x="40" y="25"/>
                    <a:pt x="41" y="26"/>
                    <a:pt x="41" y="27"/>
                  </a:cubicBezTo>
                  <a:lnTo>
                    <a:pt x="40" y="28"/>
                  </a:lnTo>
                  <a:close/>
                </a:path>
              </a:pathLst>
            </a:custGeom>
            <a:solidFill>
              <a:srgbClr val="CCCCC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57" name="Freeform 363">
              <a:extLst>
                <a:ext uri="{FF2B5EF4-FFF2-40B4-BE49-F238E27FC236}">
                  <a16:creationId xmlns:a16="http://schemas.microsoft.com/office/drawing/2014/main" id="{5DE8BDB1-BDD1-425A-AB8C-48C284A9327A}"/>
                </a:ext>
              </a:extLst>
            </p:cNvPr>
            <p:cNvSpPr>
              <a:spLocks noEditPoints="1"/>
            </p:cNvSpPr>
            <p:nvPr/>
          </p:nvSpPr>
          <p:spPr bwMode="auto">
            <a:xfrm>
              <a:off x="5366118" y="5200051"/>
              <a:ext cx="85888" cy="85888"/>
            </a:xfrm>
            <a:custGeom>
              <a:avLst/>
              <a:gdLst>
                <a:gd name="T0" fmla="*/ 40 w 44"/>
                <a:gd name="T1" fmla="*/ 22 h 44"/>
                <a:gd name="T2" fmla="*/ 42 w 44"/>
                <a:gd name="T3" fmla="*/ 13 h 44"/>
                <a:gd name="T4" fmla="*/ 36 w 44"/>
                <a:gd name="T5" fmla="*/ 11 h 44"/>
                <a:gd name="T6" fmla="*/ 34 w 44"/>
                <a:gd name="T7" fmla="*/ 4 h 44"/>
                <a:gd name="T8" fmla="*/ 24 w 44"/>
                <a:gd name="T9" fmla="*/ 2 h 44"/>
                <a:gd name="T10" fmla="*/ 21 w 44"/>
                <a:gd name="T11" fmla="*/ 6 h 44"/>
                <a:gd name="T12" fmla="*/ 16 w 44"/>
                <a:gd name="T13" fmla="*/ 2 h 44"/>
                <a:gd name="T14" fmla="*/ 11 w 44"/>
                <a:gd name="T15" fmla="*/ 11 h 44"/>
                <a:gd name="T16" fmla="*/ 5 w 44"/>
                <a:gd name="T17" fmla="*/ 12 h 44"/>
                <a:gd name="T18" fmla="*/ 3 w 44"/>
                <a:gd name="T19" fmla="*/ 22 h 44"/>
                <a:gd name="T20" fmla="*/ 5 w 44"/>
                <a:gd name="T21" fmla="*/ 24 h 44"/>
                <a:gd name="T22" fmla="*/ 5 w 44"/>
                <a:gd name="T23" fmla="*/ 31 h 44"/>
                <a:gd name="T24" fmla="*/ 10 w 44"/>
                <a:gd name="T25" fmla="*/ 34 h 44"/>
                <a:gd name="T26" fmla="*/ 12 w 44"/>
                <a:gd name="T27" fmla="*/ 42 h 44"/>
                <a:gd name="T28" fmla="*/ 23 w 44"/>
                <a:gd name="T29" fmla="*/ 38 h 44"/>
                <a:gd name="T30" fmla="*/ 30 w 44"/>
                <a:gd name="T31" fmla="*/ 40 h 44"/>
                <a:gd name="T32" fmla="*/ 34 w 44"/>
                <a:gd name="T33" fmla="*/ 34 h 44"/>
                <a:gd name="T34" fmla="*/ 43 w 44"/>
                <a:gd name="T35" fmla="*/ 24 h 44"/>
                <a:gd name="T36" fmla="*/ 38 w 44"/>
                <a:gd name="T37" fmla="*/ 13 h 44"/>
                <a:gd name="T38" fmla="*/ 40 w 44"/>
                <a:gd name="T39" fmla="*/ 16 h 44"/>
                <a:gd name="T40" fmla="*/ 27 w 44"/>
                <a:gd name="T41" fmla="*/ 20 h 44"/>
                <a:gd name="T42" fmla="*/ 27 w 44"/>
                <a:gd name="T43" fmla="*/ 19 h 44"/>
                <a:gd name="T44" fmla="*/ 25 w 44"/>
                <a:gd name="T45" fmla="*/ 4 h 44"/>
                <a:gd name="T46" fmla="*/ 32 w 44"/>
                <a:gd name="T47" fmla="*/ 8 h 44"/>
                <a:gd name="T48" fmla="*/ 26 w 44"/>
                <a:gd name="T49" fmla="*/ 17 h 44"/>
                <a:gd name="T50" fmla="*/ 23 w 44"/>
                <a:gd name="T51" fmla="*/ 7 h 44"/>
                <a:gd name="T52" fmla="*/ 14 w 44"/>
                <a:gd name="T53" fmla="*/ 4 h 44"/>
                <a:gd name="T54" fmla="*/ 19 w 44"/>
                <a:gd name="T55" fmla="*/ 9 h 44"/>
                <a:gd name="T56" fmla="*/ 14 w 44"/>
                <a:gd name="T57" fmla="*/ 10 h 44"/>
                <a:gd name="T58" fmla="*/ 4 w 44"/>
                <a:gd name="T59" fmla="*/ 19 h 44"/>
                <a:gd name="T60" fmla="*/ 9 w 44"/>
                <a:gd name="T61" fmla="*/ 14 h 44"/>
                <a:gd name="T62" fmla="*/ 15 w 44"/>
                <a:gd name="T63" fmla="*/ 20 h 44"/>
                <a:gd name="T64" fmla="*/ 4 w 44"/>
                <a:gd name="T65" fmla="*/ 19 h 44"/>
                <a:gd name="T66" fmla="*/ 18 w 44"/>
                <a:gd name="T67" fmla="*/ 40 h 44"/>
                <a:gd name="T68" fmla="*/ 12 w 44"/>
                <a:gd name="T69" fmla="*/ 37 h 44"/>
                <a:gd name="T70" fmla="*/ 18 w 44"/>
                <a:gd name="T71" fmla="*/ 28 h 44"/>
                <a:gd name="T72" fmla="*/ 21 w 44"/>
                <a:gd name="T73" fmla="*/ 37 h 44"/>
                <a:gd name="T74" fmla="*/ 19 w 44"/>
                <a:gd name="T75" fmla="*/ 19 h 44"/>
                <a:gd name="T76" fmla="*/ 26 w 44"/>
                <a:gd name="T77" fmla="*/ 22 h 44"/>
                <a:gd name="T78" fmla="*/ 19 w 44"/>
                <a:gd name="T79" fmla="*/ 25 h 44"/>
                <a:gd name="T80" fmla="*/ 27 w 44"/>
                <a:gd name="T81" fmla="*/ 38 h 44"/>
                <a:gd name="T82" fmla="*/ 23 w 44"/>
                <a:gd name="T83" fmla="*/ 28 h 44"/>
                <a:gd name="T84" fmla="*/ 27 w 44"/>
                <a:gd name="T85" fmla="*/ 30 h 44"/>
                <a:gd name="T86" fmla="*/ 30 w 44"/>
                <a:gd name="T87" fmla="*/ 36 h 44"/>
                <a:gd name="T88" fmla="*/ 35 w 44"/>
                <a:gd name="T89" fmla="*/ 32 h 44"/>
                <a:gd name="T90" fmla="*/ 27 w 44"/>
                <a:gd name="T91" fmla="*/ 24 h 44"/>
                <a:gd name="T92" fmla="*/ 37 w 44"/>
                <a:gd name="T93" fmla="*/ 23 h 44"/>
                <a:gd name="T94" fmla="*/ 41 w 44"/>
                <a:gd name="T95" fmla="*/ 27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4" h="44">
                  <a:moveTo>
                    <a:pt x="43" y="24"/>
                  </a:moveTo>
                  <a:cubicBezTo>
                    <a:pt x="42" y="24"/>
                    <a:pt x="42" y="24"/>
                    <a:pt x="42" y="24"/>
                  </a:cubicBezTo>
                  <a:cubicBezTo>
                    <a:pt x="42" y="23"/>
                    <a:pt x="41" y="22"/>
                    <a:pt x="40" y="22"/>
                  </a:cubicBezTo>
                  <a:cubicBezTo>
                    <a:pt x="40" y="21"/>
                    <a:pt x="39" y="21"/>
                    <a:pt x="38" y="21"/>
                  </a:cubicBezTo>
                  <a:cubicBezTo>
                    <a:pt x="40" y="20"/>
                    <a:pt x="42" y="19"/>
                    <a:pt x="42" y="17"/>
                  </a:cubicBezTo>
                  <a:cubicBezTo>
                    <a:pt x="43" y="16"/>
                    <a:pt x="43" y="14"/>
                    <a:pt x="42" y="13"/>
                  </a:cubicBezTo>
                  <a:cubicBezTo>
                    <a:pt x="42" y="13"/>
                    <a:pt x="42" y="13"/>
                    <a:pt x="42" y="13"/>
                  </a:cubicBezTo>
                  <a:cubicBezTo>
                    <a:pt x="41" y="12"/>
                    <a:pt x="40" y="11"/>
                    <a:pt x="39" y="11"/>
                  </a:cubicBezTo>
                  <a:cubicBezTo>
                    <a:pt x="38" y="11"/>
                    <a:pt x="37" y="11"/>
                    <a:pt x="36" y="11"/>
                  </a:cubicBezTo>
                  <a:cubicBezTo>
                    <a:pt x="34" y="11"/>
                    <a:pt x="34" y="11"/>
                    <a:pt x="34" y="11"/>
                  </a:cubicBezTo>
                  <a:cubicBezTo>
                    <a:pt x="35" y="10"/>
                    <a:pt x="35" y="10"/>
                    <a:pt x="35" y="10"/>
                  </a:cubicBezTo>
                  <a:cubicBezTo>
                    <a:pt x="35" y="8"/>
                    <a:pt x="35" y="6"/>
                    <a:pt x="34" y="4"/>
                  </a:cubicBezTo>
                  <a:cubicBezTo>
                    <a:pt x="34" y="4"/>
                    <a:pt x="34" y="4"/>
                    <a:pt x="34" y="4"/>
                  </a:cubicBezTo>
                  <a:cubicBezTo>
                    <a:pt x="33" y="2"/>
                    <a:pt x="31" y="1"/>
                    <a:pt x="30" y="1"/>
                  </a:cubicBezTo>
                  <a:cubicBezTo>
                    <a:pt x="28" y="0"/>
                    <a:pt x="26" y="1"/>
                    <a:pt x="24" y="2"/>
                  </a:cubicBezTo>
                  <a:cubicBezTo>
                    <a:pt x="23" y="2"/>
                    <a:pt x="21" y="4"/>
                    <a:pt x="21" y="6"/>
                  </a:cubicBezTo>
                  <a:cubicBezTo>
                    <a:pt x="21" y="6"/>
                    <a:pt x="21" y="6"/>
                    <a:pt x="21" y="6"/>
                  </a:cubicBezTo>
                  <a:cubicBezTo>
                    <a:pt x="21" y="6"/>
                    <a:pt x="21" y="6"/>
                    <a:pt x="21" y="6"/>
                  </a:cubicBezTo>
                  <a:cubicBezTo>
                    <a:pt x="20" y="6"/>
                    <a:pt x="20" y="6"/>
                    <a:pt x="20" y="6"/>
                  </a:cubicBezTo>
                  <a:cubicBezTo>
                    <a:pt x="20" y="5"/>
                    <a:pt x="20" y="5"/>
                    <a:pt x="20" y="5"/>
                  </a:cubicBezTo>
                  <a:cubicBezTo>
                    <a:pt x="19" y="3"/>
                    <a:pt x="18" y="2"/>
                    <a:pt x="16" y="2"/>
                  </a:cubicBezTo>
                  <a:cubicBezTo>
                    <a:pt x="15" y="2"/>
                    <a:pt x="14" y="2"/>
                    <a:pt x="12" y="2"/>
                  </a:cubicBezTo>
                  <a:cubicBezTo>
                    <a:pt x="11" y="3"/>
                    <a:pt x="10" y="4"/>
                    <a:pt x="10" y="6"/>
                  </a:cubicBezTo>
                  <a:cubicBezTo>
                    <a:pt x="10" y="8"/>
                    <a:pt x="10" y="9"/>
                    <a:pt x="11" y="11"/>
                  </a:cubicBezTo>
                  <a:cubicBezTo>
                    <a:pt x="11" y="12"/>
                    <a:pt x="11" y="12"/>
                    <a:pt x="11" y="12"/>
                  </a:cubicBezTo>
                  <a:cubicBezTo>
                    <a:pt x="10" y="11"/>
                    <a:pt x="10" y="11"/>
                    <a:pt x="10" y="11"/>
                  </a:cubicBezTo>
                  <a:cubicBezTo>
                    <a:pt x="8" y="11"/>
                    <a:pt x="6" y="11"/>
                    <a:pt x="5" y="12"/>
                  </a:cubicBezTo>
                  <a:cubicBezTo>
                    <a:pt x="3" y="13"/>
                    <a:pt x="2" y="14"/>
                    <a:pt x="1" y="16"/>
                  </a:cubicBezTo>
                  <a:cubicBezTo>
                    <a:pt x="0" y="18"/>
                    <a:pt x="1" y="19"/>
                    <a:pt x="1" y="21"/>
                  </a:cubicBezTo>
                  <a:cubicBezTo>
                    <a:pt x="2" y="21"/>
                    <a:pt x="2" y="22"/>
                    <a:pt x="3" y="22"/>
                  </a:cubicBezTo>
                  <a:cubicBezTo>
                    <a:pt x="4" y="23"/>
                    <a:pt x="4" y="23"/>
                    <a:pt x="6" y="24"/>
                  </a:cubicBezTo>
                  <a:cubicBezTo>
                    <a:pt x="6" y="24"/>
                    <a:pt x="6" y="24"/>
                    <a:pt x="6" y="24"/>
                  </a:cubicBezTo>
                  <a:cubicBezTo>
                    <a:pt x="5" y="24"/>
                    <a:pt x="5" y="24"/>
                    <a:pt x="5" y="24"/>
                  </a:cubicBezTo>
                  <a:cubicBezTo>
                    <a:pt x="4" y="25"/>
                    <a:pt x="4" y="26"/>
                    <a:pt x="3" y="27"/>
                  </a:cubicBezTo>
                  <a:cubicBezTo>
                    <a:pt x="3" y="28"/>
                    <a:pt x="3" y="29"/>
                    <a:pt x="4" y="30"/>
                  </a:cubicBezTo>
                  <a:cubicBezTo>
                    <a:pt x="4" y="31"/>
                    <a:pt x="4" y="31"/>
                    <a:pt x="5" y="31"/>
                  </a:cubicBezTo>
                  <a:cubicBezTo>
                    <a:pt x="5" y="32"/>
                    <a:pt x="6" y="32"/>
                    <a:pt x="7" y="32"/>
                  </a:cubicBezTo>
                  <a:cubicBezTo>
                    <a:pt x="8" y="32"/>
                    <a:pt x="10" y="32"/>
                    <a:pt x="11" y="32"/>
                  </a:cubicBezTo>
                  <a:cubicBezTo>
                    <a:pt x="10" y="34"/>
                    <a:pt x="10" y="34"/>
                    <a:pt x="10" y="34"/>
                  </a:cubicBezTo>
                  <a:cubicBezTo>
                    <a:pt x="10" y="35"/>
                    <a:pt x="10" y="35"/>
                    <a:pt x="10" y="35"/>
                  </a:cubicBezTo>
                  <a:cubicBezTo>
                    <a:pt x="9" y="36"/>
                    <a:pt x="9" y="38"/>
                    <a:pt x="10" y="40"/>
                  </a:cubicBezTo>
                  <a:cubicBezTo>
                    <a:pt x="11" y="41"/>
                    <a:pt x="11" y="41"/>
                    <a:pt x="12" y="42"/>
                  </a:cubicBezTo>
                  <a:cubicBezTo>
                    <a:pt x="12" y="42"/>
                    <a:pt x="13" y="43"/>
                    <a:pt x="14" y="43"/>
                  </a:cubicBezTo>
                  <a:cubicBezTo>
                    <a:pt x="16" y="44"/>
                    <a:pt x="18" y="44"/>
                    <a:pt x="20" y="43"/>
                  </a:cubicBezTo>
                  <a:cubicBezTo>
                    <a:pt x="21" y="42"/>
                    <a:pt x="23" y="40"/>
                    <a:pt x="23" y="38"/>
                  </a:cubicBezTo>
                  <a:cubicBezTo>
                    <a:pt x="23" y="38"/>
                    <a:pt x="23" y="38"/>
                    <a:pt x="23" y="38"/>
                  </a:cubicBezTo>
                  <a:cubicBezTo>
                    <a:pt x="24" y="39"/>
                    <a:pt x="25" y="40"/>
                    <a:pt x="27" y="41"/>
                  </a:cubicBezTo>
                  <a:cubicBezTo>
                    <a:pt x="28" y="41"/>
                    <a:pt x="29" y="41"/>
                    <a:pt x="30" y="40"/>
                  </a:cubicBezTo>
                  <a:cubicBezTo>
                    <a:pt x="31" y="39"/>
                    <a:pt x="32" y="38"/>
                    <a:pt x="32" y="37"/>
                  </a:cubicBezTo>
                  <a:cubicBezTo>
                    <a:pt x="33" y="36"/>
                    <a:pt x="33" y="35"/>
                    <a:pt x="32" y="33"/>
                  </a:cubicBezTo>
                  <a:cubicBezTo>
                    <a:pt x="33" y="33"/>
                    <a:pt x="34" y="34"/>
                    <a:pt x="34" y="34"/>
                  </a:cubicBezTo>
                  <a:cubicBezTo>
                    <a:pt x="36" y="35"/>
                    <a:pt x="38" y="34"/>
                    <a:pt x="40" y="34"/>
                  </a:cubicBezTo>
                  <a:cubicBezTo>
                    <a:pt x="41" y="33"/>
                    <a:pt x="43" y="31"/>
                    <a:pt x="43" y="29"/>
                  </a:cubicBezTo>
                  <a:cubicBezTo>
                    <a:pt x="44" y="28"/>
                    <a:pt x="43" y="26"/>
                    <a:pt x="43" y="24"/>
                  </a:cubicBezTo>
                  <a:moveTo>
                    <a:pt x="34" y="14"/>
                  </a:moveTo>
                  <a:cubicBezTo>
                    <a:pt x="34" y="14"/>
                    <a:pt x="34" y="14"/>
                    <a:pt x="34" y="14"/>
                  </a:cubicBezTo>
                  <a:cubicBezTo>
                    <a:pt x="35" y="13"/>
                    <a:pt x="37" y="13"/>
                    <a:pt x="38" y="13"/>
                  </a:cubicBezTo>
                  <a:cubicBezTo>
                    <a:pt x="39" y="13"/>
                    <a:pt x="39" y="14"/>
                    <a:pt x="40" y="15"/>
                  </a:cubicBezTo>
                  <a:cubicBezTo>
                    <a:pt x="40" y="15"/>
                    <a:pt x="40" y="15"/>
                    <a:pt x="40" y="15"/>
                  </a:cubicBezTo>
                  <a:cubicBezTo>
                    <a:pt x="40" y="16"/>
                    <a:pt x="40" y="16"/>
                    <a:pt x="40" y="16"/>
                  </a:cubicBezTo>
                  <a:cubicBezTo>
                    <a:pt x="39" y="17"/>
                    <a:pt x="39" y="18"/>
                    <a:pt x="37" y="19"/>
                  </a:cubicBezTo>
                  <a:cubicBezTo>
                    <a:pt x="36" y="19"/>
                    <a:pt x="36" y="19"/>
                    <a:pt x="35" y="19"/>
                  </a:cubicBezTo>
                  <a:cubicBezTo>
                    <a:pt x="27" y="20"/>
                    <a:pt x="27" y="20"/>
                    <a:pt x="27" y="20"/>
                  </a:cubicBezTo>
                  <a:cubicBezTo>
                    <a:pt x="27" y="20"/>
                    <a:pt x="27" y="20"/>
                    <a:pt x="27" y="20"/>
                  </a:cubicBezTo>
                  <a:cubicBezTo>
                    <a:pt x="27" y="19"/>
                    <a:pt x="27" y="19"/>
                    <a:pt x="27" y="19"/>
                  </a:cubicBezTo>
                  <a:cubicBezTo>
                    <a:pt x="27" y="19"/>
                    <a:pt x="27" y="19"/>
                    <a:pt x="27" y="19"/>
                  </a:cubicBezTo>
                  <a:lnTo>
                    <a:pt x="34" y="14"/>
                  </a:lnTo>
                  <a:close/>
                  <a:moveTo>
                    <a:pt x="23" y="6"/>
                  </a:moveTo>
                  <a:cubicBezTo>
                    <a:pt x="24" y="5"/>
                    <a:pt x="24" y="4"/>
                    <a:pt x="25" y="4"/>
                  </a:cubicBezTo>
                  <a:cubicBezTo>
                    <a:pt x="27" y="3"/>
                    <a:pt x="28" y="3"/>
                    <a:pt x="29" y="3"/>
                  </a:cubicBezTo>
                  <a:cubicBezTo>
                    <a:pt x="30" y="4"/>
                    <a:pt x="31" y="4"/>
                    <a:pt x="32" y="5"/>
                  </a:cubicBezTo>
                  <a:cubicBezTo>
                    <a:pt x="32" y="6"/>
                    <a:pt x="32" y="7"/>
                    <a:pt x="32" y="8"/>
                  </a:cubicBezTo>
                  <a:cubicBezTo>
                    <a:pt x="32" y="9"/>
                    <a:pt x="32" y="9"/>
                    <a:pt x="32" y="9"/>
                  </a:cubicBezTo>
                  <a:cubicBezTo>
                    <a:pt x="32" y="10"/>
                    <a:pt x="31" y="10"/>
                    <a:pt x="31" y="11"/>
                  </a:cubicBezTo>
                  <a:cubicBezTo>
                    <a:pt x="26" y="17"/>
                    <a:pt x="26" y="17"/>
                    <a:pt x="26" y="17"/>
                  </a:cubicBezTo>
                  <a:cubicBezTo>
                    <a:pt x="25" y="17"/>
                    <a:pt x="24" y="17"/>
                    <a:pt x="24" y="16"/>
                  </a:cubicBezTo>
                  <a:cubicBezTo>
                    <a:pt x="23" y="10"/>
                    <a:pt x="23" y="10"/>
                    <a:pt x="23" y="10"/>
                  </a:cubicBezTo>
                  <a:cubicBezTo>
                    <a:pt x="23" y="7"/>
                    <a:pt x="23" y="7"/>
                    <a:pt x="23" y="7"/>
                  </a:cubicBezTo>
                  <a:lnTo>
                    <a:pt x="23" y="6"/>
                  </a:lnTo>
                  <a:close/>
                  <a:moveTo>
                    <a:pt x="13" y="7"/>
                  </a:moveTo>
                  <a:cubicBezTo>
                    <a:pt x="13" y="6"/>
                    <a:pt x="13" y="5"/>
                    <a:pt x="14" y="4"/>
                  </a:cubicBezTo>
                  <a:cubicBezTo>
                    <a:pt x="14" y="4"/>
                    <a:pt x="15" y="4"/>
                    <a:pt x="15" y="4"/>
                  </a:cubicBezTo>
                  <a:cubicBezTo>
                    <a:pt x="16" y="5"/>
                    <a:pt x="17" y="5"/>
                    <a:pt x="18" y="7"/>
                  </a:cubicBezTo>
                  <a:cubicBezTo>
                    <a:pt x="18" y="8"/>
                    <a:pt x="19" y="8"/>
                    <a:pt x="19" y="9"/>
                  </a:cubicBezTo>
                  <a:cubicBezTo>
                    <a:pt x="20" y="16"/>
                    <a:pt x="20" y="16"/>
                    <a:pt x="20" y="16"/>
                  </a:cubicBezTo>
                  <a:cubicBezTo>
                    <a:pt x="19" y="16"/>
                    <a:pt x="19" y="16"/>
                    <a:pt x="19" y="16"/>
                  </a:cubicBezTo>
                  <a:cubicBezTo>
                    <a:pt x="14" y="10"/>
                    <a:pt x="14" y="10"/>
                    <a:pt x="14" y="10"/>
                  </a:cubicBezTo>
                  <a:cubicBezTo>
                    <a:pt x="13" y="10"/>
                    <a:pt x="13" y="10"/>
                    <a:pt x="13" y="10"/>
                  </a:cubicBezTo>
                  <a:cubicBezTo>
                    <a:pt x="13" y="9"/>
                    <a:pt x="13" y="8"/>
                    <a:pt x="13" y="7"/>
                  </a:cubicBezTo>
                  <a:moveTo>
                    <a:pt x="4" y="19"/>
                  </a:moveTo>
                  <a:cubicBezTo>
                    <a:pt x="3" y="19"/>
                    <a:pt x="3" y="18"/>
                    <a:pt x="4" y="17"/>
                  </a:cubicBezTo>
                  <a:cubicBezTo>
                    <a:pt x="4" y="16"/>
                    <a:pt x="5" y="15"/>
                    <a:pt x="6" y="14"/>
                  </a:cubicBezTo>
                  <a:cubicBezTo>
                    <a:pt x="7" y="14"/>
                    <a:pt x="8" y="13"/>
                    <a:pt x="9" y="14"/>
                  </a:cubicBezTo>
                  <a:cubicBezTo>
                    <a:pt x="11" y="14"/>
                    <a:pt x="11" y="14"/>
                    <a:pt x="11" y="14"/>
                  </a:cubicBezTo>
                  <a:cubicBezTo>
                    <a:pt x="16" y="18"/>
                    <a:pt x="16" y="18"/>
                    <a:pt x="16" y="18"/>
                  </a:cubicBezTo>
                  <a:cubicBezTo>
                    <a:pt x="16" y="19"/>
                    <a:pt x="16" y="19"/>
                    <a:pt x="15" y="20"/>
                  </a:cubicBezTo>
                  <a:cubicBezTo>
                    <a:pt x="7" y="21"/>
                    <a:pt x="7" y="21"/>
                    <a:pt x="7" y="21"/>
                  </a:cubicBezTo>
                  <a:cubicBezTo>
                    <a:pt x="6" y="21"/>
                    <a:pt x="6" y="21"/>
                    <a:pt x="6" y="21"/>
                  </a:cubicBezTo>
                  <a:cubicBezTo>
                    <a:pt x="5" y="21"/>
                    <a:pt x="4" y="20"/>
                    <a:pt x="4" y="19"/>
                  </a:cubicBezTo>
                  <a:moveTo>
                    <a:pt x="21" y="37"/>
                  </a:moveTo>
                  <a:cubicBezTo>
                    <a:pt x="21" y="38"/>
                    <a:pt x="21" y="38"/>
                    <a:pt x="21" y="38"/>
                  </a:cubicBezTo>
                  <a:cubicBezTo>
                    <a:pt x="20" y="39"/>
                    <a:pt x="20" y="40"/>
                    <a:pt x="18" y="40"/>
                  </a:cubicBezTo>
                  <a:cubicBezTo>
                    <a:pt x="17" y="41"/>
                    <a:pt x="16" y="41"/>
                    <a:pt x="15" y="41"/>
                  </a:cubicBezTo>
                  <a:cubicBezTo>
                    <a:pt x="14" y="40"/>
                    <a:pt x="13" y="40"/>
                    <a:pt x="12" y="39"/>
                  </a:cubicBezTo>
                  <a:cubicBezTo>
                    <a:pt x="12" y="38"/>
                    <a:pt x="12" y="37"/>
                    <a:pt x="12" y="37"/>
                  </a:cubicBezTo>
                  <a:cubicBezTo>
                    <a:pt x="12" y="35"/>
                    <a:pt x="12" y="35"/>
                    <a:pt x="12" y="35"/>
                  </a:cubicBezTo>
                  <a:cubicBezTo>
                    <a:pt x="12" y="35"/>
                    <a:pt x="13" y="34"/>
                    <a:pt x="13" y="34"/>
                  </a:cubicBezTo>
                  <a:cubicBezTo>
                    <a:pt x="18" y="28"/>
                    <a:pt x="18" y="28"/>
                    <a:pt x="18" y="28"/>
                  </a:cubicBezTo>
                  <a:cubicBezTo>
                    <a:pt x="19" y="28"/>
                    <a:pt x="19" y="28"/>
                    <a:pt x="20" y="28"/>
                  </a:cubicBezTo>
                  <a:cubicBezTo>
                    <a:pt x="20" y="30"/>
                    <a:pt x="20" y="32"/>
                    <a:pt x="21" y="35"/>
                  </a:cubicBezTo>
                  <a:lnTo>
                    <a:pt x="21" y="37"/>
                  </a:lnTo>
                  <a:close/>
                  <a:moveTo>
                    <a:pt x="19" y="25"/>
                  </a:moveTo>
                  <a:cubicBezTo>
                    <a:pt x="18" y="24"/>
                    <a:pt x="17" y="23"/>
                    <a:pt x="17" y="22"/>
                  </a:cubicBezTo>
                  <a:cubicBezTo>
                    <a:pt x="17" y="21"/>
                    <a:pt x="18" y="20"/>
                    <a:pt x="19" y="19"/>
                  </a:cubicBezTo>
                  <a:cubicBezTo>
                    <a:pt x="19" y="19"/>
                    <a:pt x="20" y="18"/>
                    <a:pt x="22" y="18"/>
                  </a:cubicBezTo>
                  <a:cubicBezTo>
                    <a:pt x="23" y="18"/>
                    <a:pt x="24" y="19"/>
                    <a:pt x="24" y="19"/>
                  </a:cubicBezTo>
                  <a:cubicBezTo>
                    <a:pt x="25" y="20"/>
                    <a:pt x="26" y="21"/>
                    <a:pt x="26" y="22"/>
                  </a:cubicBezTo>
                  <a:cubicBezTo>
                    <a:pt x="26" y="23"/>
                    <a:pt x="25" y="24"/>
                    <a:pt x="24" y="25"/>
                  </a:cubicBezTo>
                  <a:cubicBezTo>
                    <a:pt x="24" y="26"/>
                    <a:pt x="23" y="26"/>
                    <a:pt x="22" y="26"/>
                  </a:cubicBezTo>
                  <a:cubicBezTo>
                    <a:pt x="20" y="26"/>
                    <a:pt x="19" y="26"/>
                    <a:pt x="19" y="25"/>
                  </a:cubicBezTo>
                  <a:moveTo>
                    <a:pt x="30" y="36"/>
                  </a:moveTo>
                  <a:cubicBezTo>
                    <a:pt x="30" y="37"/>
                    <a:pt x="30" y="38"/>
                    <a:pt x="29" y="38"/>
                  </a:cubicBezTo>
                  <a:cubicBezTo>
                    <a:pt x="28" y="38"/>
                    <a:pt x="28" y="38"/>
                    <a:pt x="27" y="38"/>
                  </a:cubicBezTo>
                  <a:cubicBezTo>
                    <a:pt x="26" y="38"/>
                    <a:pt x="25" y="37"/>
                    <a:pt x="25" y="35"/>
                  </a:cubicBezTo>
                  <a:cubicBezTo>
                    <a:pt x="24" y="33"/>
                    <a:pt x="24" y="33"/>
                    <a:pt x="24" y="33"/>
                  </a:cubicBezTo>
                  <a:cubicBezTo>
                    <a:pt x="23" y="28"/>
                    <a:pt x="23" y="28"/>
                    <a:pt x="23" y="28"/>
                  </a:cubicBezTo>
                  <a:cubicBezTo>
                    <a:pt x="24" y="28"/>
                    <a:pt x="24" y="28"/>
                    <a:pt x="24" y="28"/>
                  </a:cubicBezTo>
                  <a:cubicBezTo>
                    <a:pt x="25" y="27"/>
                    <a:pt x="25" y="27"/>
                    <a:pt x="25" y="27"/>
                  </a:cubicBezTo>
                  <a:cubicBezTo>
                    <a:pt x="27" y="30"/>
                    <a:pt x="27" y="30"/>
                    <a:pt x="27" y="30"/>
                  </a:cubicBezTo>
                  <a:cubicBezTo>
                    <a:pt x="29" y="32"/>
                    <a:pt x="29" y="32"/>
                    <a:pt x="29" y="32"/>
                  </a:cubicBezTo>
                  <a:cubicBezTo>
                    <a:pt x="29" y="33"/>
                    <a:pt x="29" y="33"/>
                    <a:pt x="29" y="33"/>
                  </a:cubicBezTo>
                  <a:cubicBezTo>
                    <a:pt x="30" y="34"/>
                    <a:pt x="30" y="35"/>
                    <a:pt x="30" y="36"/>
                  </a:cubicBezTo>
                  <a:moveTo>
                    <a:pt x="41" y="29"/>
                  </a:moveTo>
                  <a:cubicBezTo>
                    <a:pt x="40" y="30"/>
                    <a:pt x="40" y="31"/>
                    <a:pt x="39" y="31"/>
                  </a:cubicBezTo>
                  <a:cubicBezTo>
                    <a:pt x="37" y="32"/>
                    <a:pt x="36" y="32"/>
                    <a:pt x="35" y="32"/>
                  </a:cubicBezTo>
                  <a:cubicBezTo>
                    <a:pt x="34" y="31"/>
                    <a:pt x="34" y="31"/>
                    <a:pt x="33" y="31"/>
                  </a:cubicBezTo>
                  <a:cubicBezTo>
                    <a:pt x="27" y="25"/>
                    <a:pt x="27" y="25"/>
                    <a:pt x="27" y="25"/>
                  </a:cubicBezTo>
                  <a:cubicBezTo>
                    <a:pt x="27" y="24"/>
                    <a:pt x="27" y="24"/>
                    <a:pt x="27" y="24"/>
                  </a:cubicBezTo>
                  <a:cubicBezTo>
                    <a:pt x="28" y="24"/>
                    <a:pt x="28" y="24"/>
                    <a:pt x="28" y="24"/>
                  </a:cubicBezTo>
                  <a:cubicBezTo>
                    <a:pt x="35" y="23"/>
                    <a:pt x="35" y="23"/>
                    <a:pt x="35" y="23"/>
                  </a:cubicBezTo>
                  <a:cubicBezTo>
                    <a:pt x="37" y="23"/>
                    <a:pt x="37" y="23"/>
                    <a:pt x="37" y="23"/>
                  </a:cubicBezTo>
                  <a:cubicBezTo>
                    <a:pt x="38" y="23"/>
                    <a:pt x="38" y="23"/>
                    <a:pt x="38" y="23"/>
                  </a:cubicBezTo>
                  <a:cubicBezTo>
                    <a:pt x="39" y="23"/>
                    <a:pt x="39" y="24"/>
                    <a:pt x="40" y="25"/>
                  </a:cubicBezTo>
                  <a:cubicBezTo>
                    <a:pt x="40" y="26"/>
                    <a:pt x="41" y="26"/>
                    <a:pt x="41" y="27"/>
                  </a:cubicBezTo>
                  <a:lnTo>
                    <a:pt x="41" y="29"/>
                  </a:lnTo>
                  <a:close/>
                </a:path>
              </a:pathLst>
            </a:custGeom>
            <a:solidFill>
              <a:srgbClr val="CCCCC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58" name="Freeform 364">
              <a:extLst>
                <a:ext uri="{FF2B5EF4-FFF2-40B4-BE49-F238E27FC236}">
                  <a16:creationId xmlns:a16="http://schemas.microsoft.com/office/drawing/2014/main" id="{83C7FF7C-DB28-48DD-B9A0-D34A13AF3F8A}"/>
                </a:ext>
              </a:extLst>
            </p:cNvPr>
            <p:cNvSpPr>
              <a:spLocks noEditPoints="1"/>
            </p:cNvSpPr>
            <p:nvPr/>
          </p:nvSpPr>
          <p:spPr bwMode="auto">
            <a:xfrm>
              <a:off x="4108014" y="3235757"/>
              <a:ext cx="84298" cy="85888"/>
            </a:xfrm>
            <a:custGeom>
              <a:avLst/>
              <a:gdLst>
                <a:gd name="T0" fmla="*/ 40 w 43"/>
                <a:gd name="T1" fmla="*/ 22 h 44"/>
                <a:gd name="T2" fmla="*/ 42 w 43"/>
                <a:gd name="T3" fmla="*/ 13 h 44"/>
                <a:gd name="T4" fmla="*/ 36 w 43"/>
                <a:gd name="T5" fmla="*/ 11 h 44"/>
                <a:gd name="T6" fmla="*/ 34 w 43"/>
                <a:gd name="T7" fmla="*/ 4 h 44"/>
                <a:gd name="T8" fmla="*/ 24 w 43"/>
                <a:gd name="T9" fmla="*/ 2 h 44"/>
                <a:gd name="T10" fmla="*/ 20 w 43"/>
                <a:gd name="T11" fmla="*/ 6 h 44"/>
                <a:gd name="T12" fmla="*/ 16 w 43"/>
                <a:gd name="T13" fmla="*/ 2 h 44"/>
                <a:gd name="T14" fmla="*/ 11 w 43"/>
                <a:gd name="T15" fmla="*/ 11 h 44"/>
                <a:gd name="T16" fmla="*/ 4 w 43"/>
                <a:gd name="T17" fmla="*/ 12 h 44"/>
                <a:gd name="T18" fmla="*/ 2 w 43"/>
                <a:gd name="T19" fmla="*/ 22 h 44"/>
                <a:gd name="T20" fmla="*/ 5 w 43"/>
                <a:gd name="T21" fmla="*/ 24 h 44"/>
                <a:gd name="T22" fmla="*/ 5 w 43"/>
                <a:gd name="T23" fmla="*/ 31 h 44"/>
                <a:gd name="T24" fmla="*/ 10 w 43"/>
                <a:gd name="T25" fmla="*/ 34 h 44"/>
                <a:gd name="T26" fmla="*/ 11 w 43"/>
                <a:gd name="T27" fmla="*/ 42 h 44"/>
                <a:gd name="T28" fmla="*/ 23 w 43"/>
                <a:gd name="T29" fmla="*/ 38 h 44"/>
                <a:gd name="T30" fmla="*/ 30 w 43"/>
                <a:gd name="T31" fmla="*/ 40 h 44"/>
                <a:gd name="T32" fmla="*/ 34 w 43"/>
                <a:gd name="T33" fmla="*/ 34 h 44"/>
                <a:gd name="T34" fmla="*/ 42 w 43"/>
                <a:gd name="T35" fmla="*/ 24 h 44"/>
                <a:gd name="T36" fmla="*/ 37 w 43"/>
                <a:gd name="T37" fmla="*/ 13 h 44"/>
                <a:gd name="T38" fmla="*/ 40 w 43"/>
                <a:gd name="T39" fmla="*/ 16 h 44"/>
                <a:gd name="T40" fmla="*/ 27 w 43"/>
                <a:gd name="T41" fmla="*/ 20 h 44"/>
                <a:gd name="T42" fmla="*/ 27 w 43"/>
                <a:gd name="T43" fmla="*/ 19 h 44"/>
                <a:gd name="T44" fmla="*/ 25 w 43"/>
                <a:gd name="T45" fmla="*/ 4 h 44"/>
                <a:gd name="T46" fmla="*/ 32 w 43"/>
                <a:gd name="T47" fmla="*/ 8 h 44"/>
                <a:gd name="T48" fmla="*/ 25 w 43"/>
                <a:gd name="T49" fmla="*/ 17 h 44"/>
                <a:gd name="T50" fmla="*/ 23 w 43"/>
                <a:gd name="T51" fmla="*/ 7 h 44"/>
                <a:gd name="T52" fmla="*/ 14 w 43"/>
                <a:gd name="T53" fmla="*/ 4 h 44"/>
                <a:gd name="T54" fmla="*/ 19 w 43"/>
                <a:gd name="T55" fmla="*/ 9 h 44"/>
                <a:gd name="T56" fmla="*/ 13 w 43"/>
                <a:gd name="T57" fmla="*/ 10 h 44"/>
                <a:gd name="T58" fmla="*/ 3 w 43"/>
                <a:gd name="T59" fmla="*/ 19 h 44"/>
                <a:gd name="T60" fmla="*/ 9 w 43"/>
                <a:gd name="T61" fmla="*/ 14 h 44"/>
                <a:gd name="T62" fmla="*/ 15 w 43"/>
                <a:gd name="T63" fmla="*/ 20 h 44"/>
                <a:gd name="T64" fmla="*/ 3 w 43"/>
                <a:gd name="T65" fmla="*/ 19 h 44"/>
                <a:gd name="T66" fmla="*/ 18 w 43"/>
                <a:gd name="T67" fmla="*/ 40 h 44"/>
                <a:gd name="T68" fmla="*/ 12 w 43"/>
                <a:gd name="T69" fmla="*/ 37 h 44"/>
                <a:gd name="T70" fmla="*/ 18 w 43"/>
                <a:gd name="T71" fmla="*/ 28 h 44"/>
                <a:gd name="T72" fmla="*/ 20 w 43"/>
                <a:gd name="T73" fmla="*/ 37 h 44"/>
                <a:gd name="T74" fmla="*/ 18 w 43"/>
                <a:gd name="T75" fmla="*/ 19 h 44"/>
                <a:gd name="T76" fmla="*/ 25 w 43"/>
                <a:gd name="T77" fmla="*/ 22 h 44"/>
                <a:gd name="T78" fmla="*/ 18 w 43"/>
                <a:gd name="T79" fmla="*/ 25 h 44"/>
                <a:gd name="T80" fmla="*/ 27 w 43"/>
                <a:gd name="T81" fmla="*/ 38 h 44"/>
                <a:gd name="T82" fmla="*/ 23 w 43"/>
                <a:gd name="T83" fmla="*/ 28 h 44"/>
                <a:gd name="T84" fmla="*/ 27 w 43"/>
                <a:gd name="T85" fmla="*/ 30 h 44"/>
                <a:gd name="T86" fmla="*/ 30 w 43"/>
                <a:gd name="T87" fmla="*/ 36 h 44"/>
                <a:gd name="T88" fmla="*/ 35 w 43"/>
                <a:gd name="T89" fmla="*/ 32 h 44"/>
                <a:gd name="T90" fmla="*/ 27 w 43"/>
                <a:gd name="T91" fmla="*/ 24 h 44"/>
                <a:gd name="T92" fmla="*/ 37 w 43"/>
                <a:gd name="T93" fmla="*/ 23 h 44"/>
                <a:gd name="T94" fmla="*/ 40 w 43"/>
                <a:gd name="T95" fmla="*/ 27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3" h="44">
                  <a:moveTo>
                    <a:pt x="42" y="24"/>
                  </a:moveTo>
                  <a:cubicBezTo>
                    <a:pt x="42" y="24"/>
                    <a:pt x="42" y="24"/>
                    <a:pt x="42" y="24"/>
                  </a:cubicBezTo>
                  <a:cubicBezTo>
                    <a:pt x="41" y="23"/>
                    <a:pt x="41" y="22"/>
                    <a:pt x="40" y="22"/>
                  </a:cubicBezTo>
                  <a:cubicBezTo>
                    <a:pt x="40" y="21"/>
                    <a:pt x="39" y="21"/>
                    <a:pt x="38" y="21"/>
                  </a:cubicBezTo>
                  <a:cubicBezTo>
                    <a:pt x="40" y="20"/>
                    <a:pt x="41" y="19"/>
                    <a:pt x="42" y="17"/>
                  </a:cubicBezTo>
                  <a:cubicBezTo>
                    <a:pt x="42" y="16"/>
                    <a:pt x="42" y="14"/>
                    <a:pt x="42" y="13"/>
                  </a:cubicBezTo>
                  <a:cubicBezTo>
                    <a:pt x="42" y="13"/>
                    <a:pt x="42" y="13"/>
                    <a:pt x="42" y="13"/>
                  </a:cubicBezTo>
                  <a:cubicBezTo>
                    <a:pt x="41" y="12"/>
                    <a:pt x="40" y="11"/>
                    <a:pt x="38" y="11"/>
                  </a:cubicBezTo>
                  <a:cubicBezTo>
                    <a:pt x="38" y="11"/>
                    <a:pt x="36" y="11"/>
                    <a:pt x="36" y="11"/>
                  </a:cubicBezTo>
                  <a:cubicBezTo>
                    <a:pt x="34" y="11"/>
                    <a:pt x="34" y="11"/>
                    <a:pt x="34" y="11"/>
                  </a:cubicBezTo>
                  <a:cubicBezTo>
                    <a:pt x="34" y="10"/>
                    <a:pt x="34" y="10"/>
                    <a:pt x="34" y="10"/>
                  </a:cubicBezTo>
                  <a:cubicBezTo>
                    <a:pt x="35" y="8"/>
                    <a:pt x="35" y="6"/>
                    <a:pt x="34" y="4"/>
                  </a:cubicBezTo>
                  <a:cubicBezTo>
                    <a:pt x="33" y="4"/>
                    <a:pt x="33" y="4"/>
                    <a:pt x="33" y="4"/>
                  </a:cubicBezTo>
                  <a:cubicBezTo>
                    <a:pt x="32" y="2"/>
                    <a:pt x="31" y="1"/>
                    <a:pt x="29" y="1"/>
                  </a:cubicBezTo>
                  <a:cubicBezTo>
                    <a:pt x="27" y="0"/>
                    <a:pt x="26" y="1"/>
                    <a:pt x="24" y="2"/>
                  </a:cubicBezTo>
                  <a:cubicBezTo>
                    <a:pt x="22" y="2"/>
                    <a:pt x="21" y="4"/>
                    <a:pt x="20" y="6"/>
                  </a:cubicBezTo>
                  <a:cubicBezTo>
                    <a:pt x="20" y="6"/>
                    <a:pt x="20" y="6"/>
                    <a:pt x="20" y="6"/>
                  </a:cubicBezTo>
                  <a:cubicBezTo>
                    <a:pt x="20" y="6"/>
                    <a:pt x="20" y="6"/>
                    <a:pt x="20" y="6"/>
                  </a:cubicBezTo>
                  <a:cubicBezTo>
                    <a:pt x="20" y="6"/>
                    <a:pt x="20" y="6"/>
                    <a:pt x="20" y="6"/>
                  </a:cubicBezTo>
                  <a:cubicBezTo>
                    <a:pt x="19" y="5"/>
                    <a:pt x="19" y="5"/>
                    <a:pt x="19" y="5"/>
                  </a:cubicBezTo>
                  <a:cubicBezTo>
                    <a:pt x="19" y="3"/>
                    <a:pt x="17" y="2"/>
                    <a:pt x="16" y="2"/>
                  </a:cubicBezTo>
                  <a:cubicBezTo>
                    <a:pt x="14" y="2"/>
                    <a:pt x="13" y="2"/>
                    <a:pt x="12" y="2"/>
                  </a:cubicBezTo>
                  <a:cubicBezTo>
                    <a:pt x="11" y="3"/>
                    <a:pt x="10" y="4"/>
                    <a:pt x="10" y="6"/>
                  </a:cubicBezTo>
                  <a:cubicBezTo>
                    <a:pt x="9" y="8"/>
                    <a:pt x="10" y="9"/>
                    <a:pt x="11" y="11"/>
                  </a:cubicBezTo>
                  <a:cubicBezTo>
                    <a:pt x="11" y="12"/>
                    <a:pt x="11" y="12"/>
                    <a:pt x="11" y="12"/>
                  </a:cubicBezTo>
                  <a:cubicBezTo>
                    <a:pt x="10" y="11"/>
                    <a:pt x="10" y="11"/>
                    <a:pt x="10" y="11"/>
                  </a:cubicBezTo>
                  <a:cubicBezTo>
                    <a:pt x="8" y="11"/>
                    <a:pt x="6" y="11"/>
                    <a:pt x="4" y="12"/>
                  </a:cubicBezTo>
                  <a:cubicBezTo>
                    <a:pt x="3" y="13"/>
                    <a:pt x="2" y="14"/>
                    <a:pt x="1" y="16"/>
                  </a:cubicBezTo>
                  <a:cubicBezTo>
                    <a:pt x="0" y="18"/>
                    <a:pt x="0" y="19"/>
                    <a:pt x="1" y="21"/>
                  </a:cubicBezTo>
                  <a:cubicBezTo>
                    <a:pt x="1" y="21"/>
                    <a:pt x="2" y="22"/>
                    <a:pt x="2" y="22"/>
                  </a:cubicBezTo>
                  <a:cubicBezTo>
                    <a:pt x="3" y="23"/>
                    <a:pt x="4" y="23"/>
                    <a:pt x="5" y="24"/>
                  </a:cubicBezTo>
                  <a:cubicBezTo>
                    <a:pt x="6" y="24"/>
                    <a:pt x="6" y="24"/>
                    <a:pt x="6" y="24"/>
                  </a:cubicBezTo>
                  <a:cubicBezTo>
                    <a:pt x="5" y="24"/>
                    <a:pt x="5" y="24"/>
                    <a:pt x="5" y="24"/>
                  </a:cubicBezTo>
                  <a:cubicBezTo>
                    <a:pt x="4" y="25"/>
                    <a:pt x="3" y="26"/>
                    <a:pt x="3" y="27"/>
                  </a:cubicBezTo>
                  <a:cubicBezTo>
                    <a:pt x="3" y="28"/>
                    <a:pt x="3" y="29"/>
                    <a:pt x="3" y="30"/>
                  </a:cubicBezTo>
                  <a:cubicBezTo>
                    <a:pt x="4" y="31"/>
                    <a:pt x="4" y="31"/>
                    <a:pt x="5" y="31"/>
                  </a:cubicBezTo>
                  <a:cubicBezTo>
                    <a:pt x="5" y="32"/>
                    <a:pt x="6" y="32"/>
                    <a:pt x="6" y="32"/>
                  </a:cubicBezTo>
                  <a:cubicBezTo>
                    <a:pt x="8" y="32"/>
                    <a:pt x="9" y="32"/>
                    <a:pt x="11" y="32"/>
                  </a:cubicBezTo>
                  <a:cubicBezTo>
                    <a:pt x="10" y="34"/>
                    <a:pt x="10" y="34"/>
                    <a:pt x="10" y="34"/>
                  </a:cubicBezTo>
                  <a:cubicBezTo>
                    <a:pt x="9" y="35"/>
                    <a:pt x="9" y="35"/>
                    <a:pt x="9" y="35"/>
                  </a:cubicBezTo>
                  <a:cubicBezTo>
                    <a:pt x="9" y="36"/>
                    <a:pt x="9" y="38"/>
                    <a:pt x="10" y="40"/>
                  </a:cubicBezTo>
                  <a:cubicBezTo>
                    <a:pt x="10" y="41"/>
                    <a:pt x="11" y="41"/>
                    <a:pt x="11" y="42"/>
                  </a:cubicBezTo>
                  <a:cubicBezTo>
                    <a:pt x="12" y="42"/>
                    <a:pt x="13" y="43"/>
                    <a:pt x="14" y="43"/>
                  </a:cubicBezTo>
                  <a:cubicBezTo>
                    <a:pt x="16" y="44"/>
                    <a:pt x="18" y="44"/>
                    <a:pt x="19" y="43"/>
                  </a:cubicBezTo>
                  <a:cubicBezTo>
                    <a:pt x="21" y="42"/>
                    <a:pt x="22" y="40"/>
                    <a:pt x="23" y="38"/>
                  </a:cubicBezTo>
                  <a:cubicBezTo>
                    <a:pt x="23" y="38"/>
                    <a:pt x="23" y="38"/>
                    <a:pt x="23" y="38"/>
                  </a:cubicBezTo>
                  <a:cubicBezTo>
                    <a:pt x="24" y="39"/>
                    <a:pt x="25" y="40"/>
                    <a:pt x="26" y="41"/>
                  </a:cubicBezTo>
                  <a:cubicBezTo>
                    <a:pt x="28" y="41"/>
                    <a:pt x="29" y="41"/>
                    <a:pt x="30" y="40"/>
                  </a:cubicBezTo>
                  <a:cubicBezTo>
                    <a:pt x="31" y="39"/>
                    <a:pt x="32" y="38"/>
                    <a:pt x="32" y="37"/>
                  </a:cubicBezTo>
                  <a:cubicBezTo>
                    <a:pt x="32" y="36"/>
                    <a:pt x="32" y="35"/>
                    <a:pt x="32" y="33"/>
                  </a:cubicBezTo>
                  <a:cubicBezTo>
                    <a:pt x="33" y="33"/>
                    <a:pt x="33" y="34"/>
                    <a:pt x="34" y="34"/>
                  </a:cubicBezTo>
                  <a:cubicBezTo>
                    <a:pt x="36" y="35"/>
                    <a:pt x="38" y="34"/>
                    <a:pt x="39" y="34"/>
                  </a:cubicBezTo>
                  <a:cubicBezTo>
                    <a:pt x="41" y="33"/>
                    <a:pt x="42" y="31"/>
                    <a:pt x="43" y="29"/>
                  </a:cubicBezTo>
                  <a:cubicBezTo>
                    <a:pt x="43" y="28"/>
                    <a:pt x="43" y="26"/>
                    <a:pt x="42" y="24"/>
                  </a:cubicBezTo>
                  <a:moveTo>
                    <a:pt x="33" y="14"/>
                  </a:moveTo>
                  <a:cubicBezTo>
                    <a:pt x="34" y="14"/>
                    <a:pt x="34" y="14"/>
                    <a:pt x="34" y="14"/>
                  </a:cubicBezTo>
                  <a:cubicBezTo>
                    <a:pt x="35" y="13"/>
                    <a:pt x="36" y="13"/>
                    <a:pt x="37" y="13"/>
                  </a:cubicBezTo>
                  <a:cubicBezTo>
                    <a:pt x="38" y="13"/>
                    <a:pt x="39" y="14"/>
                    <a:pt x="39" y="15"/>
                  </a:cubicBezTo>
                  <a:cubicBezTo>
                    <a:pt x="40" y="15"/>
                    <a:pt x="40" y="15"/>
                    <a:pt x="40" y="15"/>
                  </a:cubicBezTo>
                  <a:cubicBezTo>
                    <a:pt x="40" y="16"/>
                    <a:pt x="40" y="16"/>
                    <a:pt x="40" y="16"/>
                  </a:cubicBezTo>
                  <a:cubicBezTo>
                    <a:pt x="39" y="17"/>
                    <a:pt x="38" y="18"/>
                    <a:pt x="37" y="19"/>
                  </a:cubicBezTo>
                  <a:cubicBezTo>
                    <a:pt x="36" y="19"/>
                    <a:pt x="35" y="19"/>
                    <a:pt x="35" y="19"/>
                  </a:cubicBezTo>
                  <a:cubicBezTo>
                    <a:pt x="27" y="20"/>
                    <a:pt x="27" y="20"/>
                    <a:pt x="27" y="20"/>
                  </a:cubicBezTo>
                  <a:cubicBezTo>
                    <a:pt x="27" y="20"/>
                    <a:pt x="27" y="20"/>
                    <a:pt x="27" y="20"/>
                  </a:cubicBezTo>
                  <a:cubicBezTo>
                    <a:pt x="27" y="19"/>
                    <a:pt x="27" y="19"/>
                    <a:pt x="27" y="19"/>
                  </a:cubicBezTo>
                  <a:cubicBezTo>
                    <a:pt x="27" y="19"/>
                    <a:pt x="27" y="19"/>
                    <a:pt x="27" y="19"/>
                  </a:cubicBezTo>
                  <a:lnTo>
                    <a:pt x="33" y="14"/>
                  </a:lnTo>
                  <a:close/>
                  <a:moveTo>
                    <a:pt x="23" y="6"/>
                  </a:moveTo>
                  <a:cubicBezTo>
                    <a:pt x="23" y="5"/>
                    <a:pt x="24" y="4"/>
                    <a:pt x="25" y="4"/>
                  </a:cubicBezTo>
                  <a:cubicBezTo>
                    <a:pt x="26" y="3"/>
                    <a:pt x="27" y="3"/>
                    <a:pt x="29" y="3"/>
                  </a:cubicBezTo>
                  <a:cubicBezTo>
                    <a:pt x="30" y="4"/>
                    <a:pt x="31" y="4"/>
                    <a:pt x="31" y="5"/>
                  </a:cubicBezTo>
                  <a:cubicBezTo>
                    <a:pt x="32" y="6"/>
                    <a:pt x="32" y="7"/>
                    <a:pt x="32" y="8"/>
                  </a:cubicBezTo>
                  <a:cubicBezTo>
                    <a:pt x="32" y="9"/>
                    <a:pt x="32" y="9"/>
                    <a:pt x="32" y="9"/>
                  </a:cubicBezTo>
                  <a:cubicBezTo>
                    <a:pt x="31" y="10"/>
                    <a:pt x="31" y="10"/>
                    <a:pt x="31" y="11"/>
                  </a:cubicBezTo>
                  <a:cubicBezTo>
                    <a:pt x="25" y="17"/>
                    <a:pt x="25" y="17"/>
                    <a:pt x="25" y="17"/>
                  </a:cubicBezTo>
                  <a:cubicBezTo>
                    <a:pt x="25" y="17"/>
                    <a:pt x="24" y="17"/>
                    <a:pt x="23" y="16"/>
                  </a:cubicBezTo>
                  <a:cubicBezTo>
                    <a:pt x="23" y="10"/>
                    <a:pt x="23" y="10"/>
                    <a:pt x="23" y="10"/>
                  </a:cubicBezTo>
                  <a:cubicBezTo>
                    <a:pt x="23" y="7"/>
                    <a:pt x="23" y="7"/>
                    <a:pt x="23" y="7"/>
                  </a:cubicBezTo>
                  <a:lnTo>
                    <a:pt x="23" y="6"/>
                  </a:lnTo>
                  <a:close/>
                  <a:moveTo>
                    <a:pt x="12" y="7"/>
                  </a:moveTo>
                  <a:cubicBezTo>
                    <a:pt x="12" y="6"/>
                    <a:pt x="13" y="5"/>
                    <a:pt x="14" y="4"/>
                  </a:cubicBezTo>
                  <a:cubicBezTo>
                    <a:pt x="14" y="4"/>
                    <a:pt x="15" y="4"/>
                    <a:pt x="15" y="4"/>
                  </a:cubicBezTo>
                  <a:cubicBezTo>
                    <a:pt x="16" y="5"/>
                    <a:pt x="17" y="5"/>
                    <a:pt x="18" y="7"/>
                  </a:cubicBezTo>
                  <a:cubicBezTo>
                    <a:pt x="18" y="8"/>
                    <a:pt x="18" y="8"/>
                    <a:pt x="19" y="9"/>
                  </a:cubicBezTo>
                  <a:cubicBezTo>
                    <a:pt x="20" y="16"/>
                    <a:pt x="20" y="16"/>
                    <a:pt x="20" y="16"/>
                  </a:cubicBezTo>
                  <a:cubicBezTo>
                    <a:pt x="19" y="16"/>
                    <a:pt x="19" y="16"/>
                    <a:pt x="19" y="16"/>
                  </a:cubicBezTo>
                  <a:cubicBezTo>
                    <a:pt x="13" y="10"/>
                    <a:pt x="13" y="10"/>
                    <a:pt x="13" y="10"/>
                  </a:cubicBezTo>
                  <a:cubicBezTo>
                    <a:pt x="13" y="10"/>
                    <a:pt x="13" y="10"/>
                    <a:pt x="13" y="10"/>
                  </a:cubicBezTo>
                  <a:cubicBezTo>
                    <a:pt x="13" y="9"/>
                    <a:pt x="12" y="8"/>
                    <a:pt x="12" y="7"/>
                  </a:cubicBezTo>
                  <a:moveTo>
                    <a:pt x="3" y="19"/>
                  </a:moveTo>
                  <a:cubicBezTo>
                    <a:pt x="3" y="19"/>
                    <a:pt x="3" y="18"/>
                    <a:pt x="3" y="17"/>
                  </a:cubicBezTo>
                  <a:cubicBezTo>
                    <a:pt x="4" y="16"/>
                    <a:pt x="4" y="15"/>
                    <a:pt x="6" y="14"/>
                  </a:cubicBezTo>
                  <a:cubicBezTo>
                    <a:pt x="7" y="14"/>
                    <a:pt x="8" y="13"/>
                    <a:pt x="9" y="14"/>
                  </a:cubicBezTo>
                  <a:cubicBezTo>
                    <a:pt x="11" y="14"/>
                    <a:pt x="11" y="14"/>
                    <a:pt x="11" y="14"/>
                  </a:cubicBezTo>
                  <a:cubicBezTo>
                    <a:pt x="16" y="18"/>
                    <a:pt x="16" y="18"/>
                    <a:pt x="16" y="18"/>
                  </a:cubicBezTo>
                  <a:cubicBezTo>
                    <a:pt x="16" y="19"/>
                    <a:pt x="15" y="19"/>
                    <a:pt x="15" y="20"/>
                  </a:cubicBezTo>
                  <a:cubicBezTo>
                    <a:pt x="6" y="21"/>
                    <a:pt x="6" y="21"/>
                    <a:pt x="6" y="21"/>
                  </a:cubicBezTo>
                  <a:cubicBezTo>
                    <a:pt x="6" y="21"/>
                    <a:pt x="6" y="21"/>
                    <a:pt x="6" y="21"/>
                  </a:cubicBezTo>
                  <a:cubicBezTo>
                    <a:pt x="5" y="21"/>
                    <a:pt x="4" y="20"/>
                    <a:pt x="3" y="19"/>
                  </a:cubicBezTo>
                  <a:moveTo>
                    <a:pt x="20" y="37"/>
                  </a:moveTo>
                  <a:cubicBezTo>
                    <a:pt x="20" y="38"/>
                    <a:pt x="20" y="38"/>
                    <a:pt x="20" y="38"/>
                  </a:cubicBezTo>
                  <a:cubicBezTo>
                    <a:pt x="20" y="39"/>
                    <a:pt x="19" y="40"/>
                    <a:pt x="18" y="40"/>
                  </a:cubicBezTo>
                  <a:cubicBezTo>
                    <a:pt x="17" y="41"/>
                    <a:pt x="16" y="41"/>
                    <a:pt x="15" y="41"/>
                  </a:cubicBezTo>
                  <a:cubicBezTo>
                    <a:pt x="13" y="40"/>
                    <a:pt x="13" y="40"/>
                    <a:pt x="12" y="39"/>
                  </a:cubicBezTo>
                  <a:cubicBezTo>
                    <a:pt x="12" y="38"/>
                    <a:pt x="12" y="37"/>
                    <a:pt x="12" y="37"/>
                  </a:cubicBezTo>
                  <a:cubicBezTo>
                    <a:pt x="12" y="35"/>
                    <a:pt x="12" y="35"/>
                    <a:pt x="12" y="35"/>
                  </a:cubicBezTo>
                  <a:cubicBezTo>
                    <a:pt x="12" y="35"/>
                    <a:pt x="12" y="34"/>
                    <a:pt x="13" y="34"/>
                  </a:cubicBezTo>
                  <a:cubicBezTo>
                    <a:pt x="18" y="28"/>
                    <a:pt x="18" y="28"/>
                    <a:pt x="18" y="28"/>
                  </a:cubicBezTo>
                  <a:cubicBezTo>
                    <a:pt x="19" y="28"/>
                    <a:pt x="19" y="28"/>
                    <a:pt x="20" y="28"/>
                  </a:cubicBezTo>
                  <a:cubicBezTo>
                    <a:pt x="20" y="30"/>
                    <a:pt x="20" y="32"/>
                    <a:pt x="20" y="35"/>
                  </a:cubicBezTo>
                  <a:lnTo>
                    <a:pt x="20" y="37"/>
                  </a:lnTo>
                  <a:close/>
                  <a:moveTo>
                    <a:pt x="18" y="25"/>
                  </a:moveTo>
                  <a:cubicBezTo>
                    <a:pt x="18" y="24"/>
                    <a:pt x="17" y="23"/>
                    <a:pt x="17" y="22"/>
                  </a:cubicBezTo>
                  <a:cubicBezTo>
                    <a:pt x="17" y="21"/>
                    <a:pt x="18" y="20"/>
                    <a:pt x="18" y="19"/>
                  </a:cubicBezTo>
                  <a:cubicBezTo>
                    <a:pt x="19" y="19"/>
                    <a:pt x="20" y="18"/>
                    <a:pt x="21" y="18"/>
                  </a:cubicBezTo>
                  <a:cubicBezTo>
                    <a:pt x="22" y="18"/>
                    <a:pt x="23" y="19"/>
                    <a:pt x="24" y="19"/>
                  </a:cubicBezTo>
                  <a:cubicBezTo>
                    <a:pt x="25" y="20"/>
                    <a:pt x="25" y="21"/>
                    <a:pt x="25" y="22"/>
                  </a:cubicBezTo>
                  <a:cubicBezTo>
                    <a:pt x="25" y="23"/>
                    <a:pt x="25" y="24"/>
                    <a:pt x="24" y="25"/>
                  </a:cubicBezTo>
                  <a:cubicBezTo>
                    <a:pt x="23" y="26"/>
                    <a:pt x="22" y="26"/>
                    <a:pt x="21" y="26"/>
                  </a:cubicBezTo>
                  <a:cubicBezTo>
                    <a:pt x="20" y="26"/>
                    <a:pt x="19" y="26"/>
                    <a:pt x="18" y="25"/>
                  </a:cubicBezTo>
                  <a:moveTo>
                    <a:pt x="30" y="36"/>
                  </a:moveTo>
                  <a:cubicBezTo>
                    <a:pt x="30" y="37"/>
                    <a:pt x="29" y="38"/>
                    <a:pt x="29" y="38"/>
                  </a:cubicBezTo>
                  <a:cubicBezTo>
                    <a:pt x="28" y="38"/>
                    <a:pt x="28" y="38"/>
                    <a:pt x="27" y="38"/>
                  </a:cubicBezTo>
                  <a:cubicBezTo>
                    <a:pt x="26" y="38"/>
                    <a:pt x="25" y="37"/>
                    <a:pt x="24" y="35"/>
                  </a:cubicBezTo>
                  <a:cubicBezTo>
                    <a:pt x="24" y="33"/>
                    <a:pt x="24" y="33"/>
                    <a:pt x="24" y="33"/>
                  </a:cubicBezTo>
                  <a:cubicBezTo>
                    <a:pt x="23" y="28"/>
                    <a:pt x="23" y="28"/>
                    <a:pt x="23" y="28"/>
                  </a:cubicBezTo>
                  <a:cubicBezTo>
                    <a:pt x="24" y="28"/>
                    <a:pt x="24" y="28"/>
                    <a:pt x="24" y="28"/>
                  </a:cubicBezTo>
                  <a:cubicBezTo>
                    <a:pt x="25" y="27"/>
                    <a:pt x="25" y="27"/>
                    <a:pt x="25" y="27"/>
                  </a:cubicBezTo>
                  <a:cubicBezTo>
                    <a:pt x="27" y="30"/>
                    <a:pt x="27" y="30"/>
                    <a:pt x="27" y="30"/>
                  </a:cubicBezTo>
                  <a:cubicBezTo>
                    <a:pt x="29" y="32"/>
                    <a:pt x="29" y="32"/>
                    <a:pt x="29" y="32"/>
                  </a:cubicBezTo>
                  <a:cubicBezTo>
                    <a:pt x="29" y="33"/>
                    <a:pt x="29" y="33"/>
                    <a:pt x="29" y="33"/>
                  </a:cubicBezTo>
                  <a:cubicBezTo>
                    <a:pt x="30" y="34"/>
                    <a:pt x="30" y="35"/>
                    <a:pt x="30" y="36"/>
                  </a:cubicBezTo>
                  <a:moveTo>
                    <a:pt x="40" y="29"/>
                  </a:moveTo>
                  <a:cubicBezTo>
                    <a:pt x="40" y="30"/>
                    <a:pt x="39" y="31"/>
                    <a:pt x="38" y="31"/>
                  </a:cubicBezTo>
                  <a:cubicBezTo>
                    <a:pt x="37" y="32"/>
                    <a:pt x="36" y="32"/>
                    <a:pt x="35" y="32"/>
                  </a:cubicBezTo>
                  <a:cubicBezTo>
                    <a:pt x="34" y="31"/>
                    <a:pt x="34" y="31"/>
                    <a:pt x="33" y="31"/>
                  </a:cubicBezTo>
                  <a:cubicBezTo>
                    <a:pt x="27" y="25"/>
                    <a:pt x="27" y="25"/>
                    <a:pt x="27" y="25"/>
                  </a:cubicBezTo>
                  <a:cubicBezTo>
                    <a:pt x="27" y="24"/>
                    <a:pt x="27" y="24"/>
                    <a:pt x="27" y="24"/>
                  </a:cubicBezTo>
                  <a:cubicBezTo>
                    <a:pt x="27" y="24"/>
                    <a:pt x="27" y="24"/>
                    <a:pt x="27" y="24"/>
                  </a:cubicBezTo>
                  <a:cubicBezTo>
                    <a:pt x="34" y="23"/>
                    <a:pt x="34" y="23"/>
                    <a:pt x="34" y="23"/>
                  </a:cubicBezTo>
                  <a:cubicBezTo>
                    <a:pt x="37" y="23"/>
                    <a:pt x="37" y="23"/>
                    <a:pt x="37" y="23"/>
                  </a:cubicBezTo>
                  <a:cubicBezTo>
                    <a:pt x="37" y="23"/>
                    <a:pt x="37" y="23"/>
                    <a:pt x="37" y="23"/>
                  </a:cubicBezTo>
                  <a:cubicBezTo>
                    <a:pt x="38" y="23"/>
                    <a:pt x="39" y="24"/>
                    <a:pt x="40" y="25"/>
                  </a:cubicBezTo>
                  <a:cubicBezTo>
                    <a:pt x="40" y="26"/>
                    <a:pt x="40" y="26"/>
                    <a:pt x="40" y="27"/>
                  </a:cubicBezTo>
                  <a:lnTo>
                    <a:pt x="40" y="29"/>
                  </a:lnTo>
                  <a:close/>
                </a:path>
              </a:pathLst>
            </a:custGeom>
            <a:solidFill>
              <a:srgbClr val="CCCCC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grpSp>
        <p:nvGrpSpPr>
          <p:cNvPr id="363" name="Group 374">
            <a:extLst>
              <a:ext uri="{FF2B5EF4-FFF2-40B4-BE49-F238E27FC236}">
                <a16:creationId xmlns:a16="http://schemas.microsoft.com/office/drawing/2014/main" id="{46E322B9-B8E6-4F5B-B0F8-F0BE78A6C421}"/>
              </a:ext>
            </a:extLst>
          </p:cNvPr>
          <p:cNvGrpSpPr/>
          <p:nvPr/>
        </p:nvGrpSpPr>
        <p:grpSpPr>
          <a:xfrm>
            <a:off x="7585902" y="1276177"/>
            <a:ext cx="3315654" cy="755146"/>
            <a:chOff x="6755375" y="3500465"/>
            <a:chExt cx="3315654" cy="755146"/>
          </a:xfrm>
        </p:grpSpPr>
        <p:sp>
          <p:nvSpPr>
            <p:cNvPr id="364" name="Oval 362">
              <a:extLst>
                <a:ext uri="{FF2B5EF4-FFF2-40B4-BE49-F238E27FC236}">
                  <a16:creationId xmlns:a16="http://schemas.microsoft.com/office/drawing/2014/main" id="{03F8792F-C24F-4663-A82A-25F5CDF0C2C1}"/>
                </a:ext>
              </a:extLst>
            </p:cNvPr>
            <p:cNvSpPr/>
            <p:nvPr/>
          </p:nvSpPr>
          <p:spPr>
            <a:xfrm>
              <a:off x="6755648" y="3500466"/>
              <a:ext cx="755145" cy="755145"/>
            </a:xfrm>
            <a:prstGeom prst="ellipse">
              <a:avLst/>
            </a:prstGeom>
            <a:gradFill flip="none" rotWithShape="1">
              <a:gsLst>
                <a:gs pos="0">
                  <a:schemeClr val="accent1"/>
                </a:gs>
                <a:gs pos="100000">
                  <a:schemeClr val="accent1">
                    <a:lumMod val="7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等线" panose="020F0502020204030204"/>
                <a:ea typeface="+mn-ea"/>
                <a:cs typeface="+mn-cs"/>
              </a:endParaRPr>
            </a:p>
          </p:txBody>
        </p:sp>
        <p:sp>
          <p:nvSpPr>
            <p:cNvPr id="365" name="Rectangle: Rounded Corners 363">
              <a:extLst>
                <a:ext uri="{FF2B5EF4-FFF2-40B4-BE49-F238E27FC236}">
                  <a16:creationId xmlns:a16="http://schemas.microsoft.com/office/drawing/2014/main" id="{4F5A3FF8-1633-44FC-AD05-4E368E31EFE7}"/>
                </a:ext>
              </a:extLst>
            </p:cNvPr>
            <p:cNvSpPr/>
            <p:nvPr/>
          </p:nvSpPr>
          <p:spPr>
            <a:xfrm>
              <a:off x="6755375" y="3500465"/>
              <a:ext cx="3315654" cy="748355"/>
            </a:xfrm>
            <a:prstGeom prst="roundRect">
              <a:avLst>
                <a:gd name="adj" fmla="val 50000"/>
              </a:avLst>
            </a:prstGeom>
            <a:noFill/>
            <a:ln w="0">
              <a:gradFill flip="none" rotWithShape="1">
                <a:gsLst>
                  <a:gs pos="0">
                    <a:schemeClr val="accent1"/>
                  </a:gs>
                  <a:gs pos="100000">
                    <a:schemeClr val="accent1">
                      <a:lumMod val="75000"/>
                    </a:schemeClr>
                  </a:gs>
                </a:gsLst>
                <a:lin ang="54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等线" panose="020F0502020204030204"/>
                <a:ea typeface="+mn-ea"/>
                <a:cs typeface="+mn-cs"/>
              </a:endParaRPr>
            </a:p>
          </p:txBody>
        </p:sp>
        <p:grpSp>
          <p:nvGrpSpPr>
            <p:cNvPr id="366" name="Group 368">
              <a:extLst>
                <a:ext uri="{FF2B5EF4-FFF2-40B4-BE49-F238E27FC236}">
                  <a16:creationId xmlns:a16="http://schemas.microsoft.com/office/drawing/2014/main" id="{7BF7CEB9-F053-4F26-925F-56682491438E}"/>
                </a:ext>
              </a:extLst>
            </p:cNvPr>
            <p:cNvGrpSpPr/>
            <p:nvPr/>
          </p:nvGrpSpPr>
          <p:grpSpPr>
            <a:xfrm>
              <a:off x="7642251" y="3603380"/>
              <a:ext cx="2259423" cy="533991"/>
              <a:chOff x="7377454" y="1848889"/>
              <a:chExt cx="3516776" cy="831152"/>
            </a:xfrm>
          </p:grpSpPr>
          <p:sp>
            <p:nvSpPr>
              <p:cNvPr id="368" name="Rectangle 365">
                <a:extLst>
                  <a:ext uri="{FF2B5EF4-FFF2-40B4-BE49-F238E27FC236}">
                    <a16:creationId xmlns:a16="http://schemas.microsoft.com/office/drawing/2014/main" id="{22826EE8-1CB3-4D99-AB55-1CFDF3DC1AC3}"/>
                  </a:ext>
                </a:extLst>
              </p:cNvPr>
              <p:cNvSpPr/>
              <p:nvPr/>
            </p:nvSpPr>
            <p:spPr>
              <a:xfrm>
                <a:off x="7377454" y="1848889"/>
                <a:ext cx="1619246" cy="293863"/>
              </a:xfrm>
              <a:prstGeom prst="rect">
                <a:avLst/>
              </a:prstGeom>
            </p:spPr>
            <p:txBody>
              <a:bodyPr wrap="square">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D229"/>
                    </a:solidFill>
                    <a:effectLst/>
                    <a:uLnTx/>
                    <a:uFillTx/>
                    <a:latin typeface="Segoe UI" panose="020B0502040204020203" pitchFamily="34" charset="0"/>
                    <a:ea typeface="+mn-ea"/>
                    <a:cs typeface="Segoe UI" panose="020B0502040204020203" pitchFamily="34" charset="0"/>
                  </a:rPr>
                  <a:t>Facebook</a:t>
                </a:r>
              </a:p>
            </p:txBody>
          </p:sp>
          <p:sp>
            <p:nvSpPr>
              <p:cNvPr id="369" name="Rectangle 366">
                <a:extLst>
                  <a:ext uri="{FF2B5EF4-FFF2-40B4-BE49-F238E27FC236}">
                    <a16:creationId xmlns:a16="http://schemas.microsoft.com/office/drawing/2014/main" id="{A0CE9488-3365-48EA-8E54-FDF33CDE0B19}"/>
                  </a:ext>
                </a:extLst>
              </p:cNvPr>
              <p:cNvSpPr/>
              <p:nvPr/>
            </p:nvSpPr>
            <p:spPr>
              <a:xfrm>
                <a:off x="7377454" y="2223443"/>
                <a:ext cx="3516776" cy="456598"/>
              </a:xfrm>
              <a:prstGeom prst="rect">
                <a:avLst/>
              </a:prstGeom>
            </p:spPr>
            <p:txBody>
              <a:bodyPr wrap="square">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lumMod val="85000"/>
                        <a:lumOff val="15000"/>
                      </a:srgbClr>
                    </a:solidFill>
                    <a:effectLst/>
                    <a:uLnTx/>
                    <a:uFillTx/>
                    <a:latin typeface="Segoe UI Light" panose="020B0502040204020203" pitchFamily="34" charset="0"/>
                    <a:ea typeface="+mn-ea"/>
                    <a:cs typeface="Segoe UI Light" panose="020B0502040204020203" pitchFamily="34" charset="0"/>
                  </a:rPr>
                  <a:t>A wonderful serenity has taken</a:t>
                </a:r>
              </a:p>
            </p:txBody>
          </p:sp>
        </p:grpSp>
        <p:sp>
          <p:nvSpPr>
            <p:cNvPr id="367" name="Freeform 39">
              <a:extLst>
                <a:ext uri="{FF2B5EF4-FFF2-40B4-BE49-F238E27FC236}">
                  <a16:creationId xmlns:a16="http://schemas.microsoft.com/office/drawing/2014/main" id="{241CE63E-F354-4684-BD7A-32A8CC8F2B9A}"/>
                </a:ext>
              </a:extLst>
            </p:cNvPr>
            <p:cNvSpPr>
              <a:spLocks/>
            </p:cNvSpPr>
            <p:nvPr/>
          </p:nvSpPr>
          <p:spPr bwMode="auto">
            <a:xfrm>
              <a:off x="7052649" y="3697801"/>
              <a:ext cx="154999" cy="334138"/>
            </a:xfrm>
            <a:custGeom>
              <a:avLst/>
              <a:gdLst>
                <a:gd name="T0" fmla="*/ 21 w 100"/>
                <a:gd name="T1" fmla="*/ 215 h 215"/>
                <a:gd name="T2" fmla="*/ 64 w 100"/>
                <a:gd name="T3" fmla="*/ 215 h 215"/>
                <a:gd name="T4" fmla="*/ 64 w 100"/>
                <a:gd name="T5" fmla="*/ 107 h 215"/>
                <a:gd name="T6" fmla="*/ 96 w 100"/>
                <a:gd name="T7" fmla="*/ 107 h 215"/>
                <a:gd name="T8" fmla="*/ 100 w 100"/>
                <a:gd name="T9" fmla="*/ 64 h 215"/>
                <a:gd name="T10" fmla="*/ 66 w 100"/>
                <a:gd name="T11" fmla="*/ 64 h 215"/>
                <a:gd name="T12" fmla="*/ 66 w 100"/>
                <a:gd name="T13" fmla="*/ 47 h 215"/>
                <a:gd name="T14" fmla="*/ 76 w 100"/>
                <a:gd name="T15" fmla="*/ 37 h 215"/>
                <a:gd name="T16" fmla="*/ 100 w 100"/>
                <a:gd name="T17" fmla="*/ 37 h 215"/>
                <a:gd name="T18" fmla="*/ 100 w 100"/>
                <a:gd name="T19" fmla="*/ 0 h 215"/>
                <a:gd name="T20" fmla="*/ 67 w 100"/>
                <a:gd name="T21" fmla="*/ 0 h 215"/>
                <a:gd name="T22" fmla="*/ 21 w 100"/>
                <a:gd name="T23" fmla="*/ 45 h 215"/>
                <a:gd name="T24" fmla="*/ 21 w 100"/>
                <a:gd name="T25" fmla="*/ 64 h 215"/>
                <a:gd name="T26" fmla="*/ 0 w 100"/>
                <a:gd name="T27" fmla="*/ 64 h 215"/>
                <a:gd name="T28" fmla="*/ 0 w 100"/>
                <a:gd name="T29" fmla="*/ 107 h 215"/>
                <a:gd name="T30" fmla="*/ 21 w 100"/>
                <a:gd name="T31" fmla="*/ 107 h 215"/>
                <a:gd name="T32" fmla="*/ 21 w 100"/>
                <a:gd name="T33" fmla="*/ 215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0" h="215">
                  <a:moveTo>
                    <a:pt x="21" y="215"/>
                  </a:moveTo>
                  <a:cubicBezTo>
                    <a:pt x="64" y="215"/>
                    <a:pt x="64" y="215"/>
                    <a:pt x="64" y="215"/>
                  </a:cubicBezTo>
                  <a:cubicBezTo>
                    <a:pt x="64" y="107"/>
                    <a:pt x="64" y="107"/>
                    <a:pt x="64" y="107"/>
                  </a:cubicBezTo>
                  <a:cubicBezTo>
                    <a:pt x="96" y="107"/>
                    <a:pt x="96" y="107"/>
                    <a:pt x="96" y="107"/>
                  </a:cubicBezTo>
                  <a:cubicBezTo>
                    <a:pt x="100" y="64"/>
                    <a:pt x="100" y="64"/>
                    <a:pt x="100" y="64"/>
                  </a:cubicBezTo>
                  <a:cubicBezTo>
                    <a:pt x="66" y="64"/>
                    <a:pt x="66" y="64"/>
                    <a:pt x="66" y="64"/>
                  </a:cubicBezTo>
                  <a:cubicBezTo>
                    <a:pt x="66" y="47"/>
                    <a:pt x="66" y="47"/>
                    <a:pt x="66" y="47"/>
                  </a:cubicBezTo>
                  <a:cubicBezTo>
                    <a:pt x="66" y="39"/>
                    <a:pt x="72" y="37"/>
                    <a:pt x="76" y="37"/>
                  </a:cubicBezTo>
                  <a:cubicBezTo>
                    <a:pt x="100" y="37"/>
                    <a:pt x="100" y="37"/>
                    <a:pt x="100" y="37"/>
                  </a:cubicBezTo>
                  <a:cubicBezTo>
                    <a:pt x="100" y="0"/>
                    <a:pt x="100" y="0"/>
                    <a:pt x="100" y="0"/>
                  </a:cubicBezTo>
                  <a:cubicBezTo>
                    <a:pt x="67" y="0"/>
                    <a:pt x="67" y="0"/>
                    <a:pt x="67" y="0"/>
                  </a:cubicBezTo>
                  <a:cubicBezTo>
                    <a:pt x="30" y="0"/>
                    <a:pt x="21" y="27"/>
                    <a:pt x="21" y="45"/>
                  </a:cubicBezTo>
                  <a:cubicBezTo>
                    <a:pt x="21" y="64"/>
                    <a:pt x="21" y="64"/>
                    <a:pt x="21" y="64"/>
                  </a:cubicBezTo>
                  <a:cubicBezTo>
                    <a:pt x="0" y="64"/>
                    <a:pt x="0" y="64"/>
                    <a:pt x="0" y="64"/>
                  </a:cubicBezTo>
                  <a:cubicBezTo>
                    <a:pt x="0" y="107"/>
                    <a:pt x="0" y="107"/>
                    <a:pt x="0" y="107"/>
                  </a:cubicBezTo>
                  <a:cubicBezTo>
                    <a:pt x="21" y="107"/>
                    <a:pt x="21" y="107"/>
                    <a:pt x="21" y="107"/>
                  </a:cubicBezTo>
                  <a:lnTo>
                    <a:pt x="21" y="215"/>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grpSp>
        <p:nvGrpSpPr>
          <p:cNvPr id="370" name="Group 364">
            <a:extLst>
              <a:ext uri="{FF2B5EF4-FFF2-40B4-BE49-F238E27FC236}">
                <a16:creationId xmlns:a16="http://schemas.microsoft.com/office/drawing/2014/main" id="{A557F4B7-BB24-4A0A-9765-CA7EA49D0246}"/>
              </a:ext>
            </a:extLst>
          </p:cNvPr>
          <p:cNvGrpSpPr/>
          <p:nvPr/>
        </p:nvGrpSpPr>
        <p:grpSpPr>
          <a:xfrm>
            <a:off x="1714190" y="4709283"/>
            <a:ext cx="3315654" cy="755146"/>
            <a:chOff x="6143011" y="4354865"/>
            <a:chExt cx="3315654" cy="755146"/>
          </a:xfrm>
        </p:grpSpPr>
        <p:sp>
          <p:nvSpPr>
            <p:cNvPr id="371" name="Oval 378">
              <a:extLst>
                <a:ext uri="{FF2B5EF4-FFF2-40B4-BE49-F238E27FC236}">
                  <a16:creationId xmlns:a16="http://schemas.microsoft.com/office/drawing/2014/main" id="{258A050C-7F55-49F6-917B-70428C46AD23}"/>
                </a:ext>
              </a:extLst>
            </p:cNvPr>
            <p:cNvSpPr/>
            <p:nvPr/>
          </p:nvSpPr>
          <p:spPr>
            <a:xfrm>
              <a:off x="6143284" y="4354866"/>
              <a:ext cx="755145" cy="755145"/>
            </a:xfrm>
            <a:prstGeom prst="ellipse">
              <a:avLst/>
            </a:prstGeom>
            <a:gradFill flip="none" rotWithShape="1">
              <a:gsLst>
                <a:gs pos="0">
                  <a:schemeClr val="accent3"/>
                </a:gs>
                <a:gs pos="100000">
                  <a:schemeClr val="accent3">
                    <a:lumMod val="7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等线" panose="020F0502020204030204"/>
                <a:ea typeface="+mn-ea"/>
                <a:cs typeface="+mn-cs"/>
              </a:endParaRPr>
            </a:p>
          </p:txBody>
        </p:sp>
        <p:sp>
          <p:nvSpPr>
            <p:cNvPr id="372" name="Rectangle: Rounded Corners 379">
              <a:extLst>
                <a:ext uri="{FF2B5EF4-FFF2-40B4-BE49-F238E27FC236}">
                  <a16:creationId xmlns:a16="http://schemas.microsoft.com/office/drawing/2014/main" id="{14FBC852-ED0A-4796-BC98-BC32F8C26EE1}"/>
                </a:ext>
              </a:extLst>
            </p:cNvPr>
            <p:cNvSpPr/>
            <p:nvPr/>
          </p:nvSpPr>
          <p:spPr>
            <a:xfrm>
              <a:off x="6143011" y="4354865"/>
              <a:ext cx="3315654" cy="748355"/>
            </a:xfrm>
            <a:prstGeom prst="roundRect">
              <a:avLst>
                <a:gd name="adj" fmla="val 50000"/>
              </a:avLst>
            </a:prstGeom>
            <a:noFill/>
            <a:ln w="0">
              <a:gradFill flip="none" rotWithShape="1">
                <a:gsLst>
                  <a:gs pos="0">
                    <a:schemeClr val="accent3"/>
                  </a:gs>
                  <a:gs pos="100000">
                    <a:schemeClr val="accent3">
                      <a:lumMod val="75000"/>
                    </a:schemeClr>
                  </a:gs>
                </a:gsLst>
                <a:lin ang="54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等线" panose="020F0502020204030204"/>
                <a:ea typeface="+mn-ea"/>
                <a:cs typeface="+mn-cs"/>
              </a:endParaRPr>
            </a:p>
          </p:txBody>
        </p:sp>
        <p:sp>
          <p:nvSpPr>
            <p:cNvPr id="373" name="Freeform 83">
              <a:extLst>
                <a:ext uri="{FF2B5EF4-FFF2-40B4-BE49-F238E27FC236}">
                  <a16:creationId xmlns:a16="http://schemas.microsoft.com/office/drawing/2014/main" id="{40D27259-7DF9-435C-8D51-7B3EE1E3B93E}"/>
                </a:ext>
              </a:extLst>
            </p:cNvPr>
            <p:cNvSpPr>
              <a:spLocks noEditPoints="1"/>
            </p:cNvSpPr>
            <p:nvPr/>
          </p:nvSpPr>
          <p:spPr bwMode="auto">
            <a:xfrm>
              <a:off x="6380077" y="4585133"/>
              <a:ext cx="281557" cy="280727"/>
            </a:xfrm>
            <a:custGeom>
              <a:avLst/>
              <a:gdLst>
                <a:gd name="T0" fmla="*/ 223 w 276"/>
                <a:gd name="T1" fmla="*/ 0 h 276"/>
                <a:gd name="T2" fmla="*/ 54 w 276"/>
                <a:gd name="T3" fmla="*/ 0 h 276"/>
                <a:gd name="T4" fmla="*/ 0 w 276"/>
                <a:gd name="T5" fmla="*/ 53 h 276"/>
                <a:gd name="T6" fmla="*/ 0 w 276"/>
                <a:gd name="T7" fmla="*/ 109 h 276"/>
                <a:gd name="T8" fmla="*/ 0 w 276"/>
                <a:gd name="T9" fmla="*/ 222 h 276"/>
                <a:gd name="T10" fmla="*/ 54 w 276"/>
                <a:gd name="T11" fmla="*/ 276 h 276"/>
                <a:gd name="T12" fmla="*/ 223 w 276"/>
                <a:gd name="T13" fmla="*/ 276 h 276"/>
                <a:gd name="T14" fmla="*/ 276 w 276"/>
                <a:gd name="T15" fmla="*/ 222 h 276"/>
                <a:gd name="T16" fmla="*/ 276 w 276"/>
                <a:gd name="T17" fmla="*/ 109 h 276"/>
                <a:gd name="T18" fmla="*/ 276 w 276"/>
                <a:gd name="T19" fmla="*/ 53 h 276"/>
                <a:gd name="T20" fmla="*/ 223 w 276"/>
                <a:gd name="T21" fmla="*/ 0 h 276"/>
                <a:gd name="T22" fmla="*/ 238 w 276"/>
                <a:gd name="T23" fmla="*/ 32 h 276"/>
                <a:gd name="T24" fmla="*/ 244 w 276"/>
                <a:gd name="T25" fmla="*/ 31 h 276"/>
                <a:gd name="T26" fmla="*/ 244 w 276"/>
                <a:gd name="T27" fmla="*/ 38 h 276"/>
                <a:gd name="T28" fmla="*/ 244 w 276"/>
                <a:gd name="T29" fmla="*/ 78 h 276"/>
                <a:gd name="T30" fmla="*/ 198 w 276"/>
                <a:gd name="T31" fmla="*/ 78 h 276"/>
                <a:gd name="T32" fmla="*/ 198 w 276"/>
                <a:gd name="T33" fmla="*/ 32 h 276"/>
                <a:gd name="T34" fmla="*/ 238 w 276"/>
                <a:gd name="T35" fmla="*/ 32 h 276"/>
                <a:gd name="T36" fmla="*/ 99 w 276"/>
                <a:gd name="T37" fmla="*/ 109 h 276"/>
                <a:gd name="T38" fmla="*/ 138 w 276"/>
                <a:gd name="T39" fmla="*/ 89 h 276"/>
                <a:gd name="T40" fmla="*/ 178 w 276"/>
                <a:gd name="T41" fmla="*/ 109 h 276"/>
                <a:gd name="T42" fmla="*/ 187 w 276"/>
                <a:gd name="T43" fmla="*/ 138 h 276"/>
                <a:gd name="T44" fmla="*/ 138 w 276"/>
                <a:gd name="T45" fmla="*/ 186 h 276"/>
                <a:gd name="T46" fmla="*/ 90 w 276"/>
                <a:gd name="T47" fmla="*/ 138 h 276"/>
                <a:gd name="T48" fmla="*/ 99 w 276"/>
                <a:gd name="T49" fmla="*/ 109 h 276"/>
                <a:gd name="T50" fmla="*/ 249 w 276"/>
                <a:gd name="T51" fmla="*/ 222 h 276"/>
                <a:gd name="T52" fmla="*/ 223 w 276"/>
                <a:gd name="T53" fmla="*/ 249 h 276"/>
                <a:gd name="T54" fmla="*/ 54 w 276"/>
                <a:gd name="T55" fmla="*/ 249 h 276"/>
                <a:gd name="T56" fmla="*/ 27 w 276"/>
                <a:gd name="T57" fmla="*/ 222 h 276"/>
                <a:gd name="T58" fmla="*/ 27 w 276"/>
                <a:gd name="T59" fmla="*/ 109 h 276"/>
                <a:gd name="T60" fmla="*/ 68 w 276"/>
                <a:gd name="T61" fmla="*/ 109 h 276"/>
                <a:gd name="T62" fmla="*/ 63 w 276"/>
                <a:gd name="T63" fmla="*/ 138 h 276"/>
                <a:gd name="T64" fmla="*/ 138 w 276"/>
                <a:gd name="T65" fmla="*/ 213 h 276"/>
                <a:gd name="T66" fmla="*/ 214 w 276"/>
                <a:gd name="T67" fmla="*/ 138 h 276"/>
                <a:gd name="T68" fmla="*/ 208 w 276"/>
                <a:gd name="T69" fmla="*/ 109 h 276"/>
                <a:gd name="T70" fmla="*/ 249 w 276"/>
                <a:gd name="T71" fmla="*/ 109 h 276"/>
                <a:gd name="T72" fmla="*/ 249 w 276"/>
                <a:gd name="T73" fmla="*/ 222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76" h="276">
                  <a:moveTo>
                    <a:pt x="223" y="0"/>
                  </a:moveTo>
                  <a:cubicBezTo>
                    <a:pt x="54" y="0"/>
                    <a:pt x="54" y="0"/>
                    <a:pt x="54" y="0"/>
                  </a:cubicBezTo>
                  <a:cubicBezTo>
                    <a:pt x="24" y="0"/>
                    <a:pt x="0" y="24"/>
                    <a:pt x="0" y="53"/>
                  </a:cubicBezTo>
                  <a:cubicBezTo>
                    <a:pt x="0" y="109"/>
                    <a:pt x="0" y="109"/>
                    <a:pt x="0" y="109"/>
                  </a:cubicBezTo>
                  <a:cubicBezTo>
                    <a:pt x="0" y="222"/>
                    <a:pt x="0" y="222"/>
                    <a:pt x="0" y="222"/>
                  </a:cubicBezTo>
                  <a:cubicBezTo>
                    <a:pt x="0" y="252"/>
                    <a:pt x="24" y="276"/>
                    <a:pt x="54" y="276"/>
                  </a:cubicBezTo>
                  <a:cubicBezTo>
                    <a:pt x="223" y="276"/>
                    <a:pt x="223" y="276"/>
                    <a:pt x="223" y="276"/>
                  </a:cubicBezTo>
                  <a:cubicBezTo>
                    <a:pt x="252" y="276"/>
                    <a:pt x="276" y="252"/>
                    <a:pt x="276" y="222"/>
                  </a:cubicBezTo>
                  <a:cubicBezTo>
                    <a:pt x="276" y="109"/>
                    <a:pt x="276" y="109"/>
                    <a:pt x="276" y="109"/>
                  </a:cubicBezTo>
                  <a:cubicBezTo>
                    <a:pt x="276" y="53"/>
                    <a:pt x="276" y="53"/>
                    <a:pt x="276" y="53"/>
                  </a:cubicBezTo>
                  <a:cubicBezTo>
                    <a:pt x="276" y="24"/>
                    <a:pt x="252" y="0"/>
                    <a:pt x="223" y="0"/>
                  </a:cubicBezTo>
                  <a:moveTo>
                    <a:pt x="238" y="32"/>
                  </a:moveTo>
                  <a:cubicBezTo>
                    <a:pt x="244" y="31"/>
                    <a:pt x="244" y="31"/>
                    <a:pt x="244" y="31"/>
                  </a:cubicBezTo>
                  <a:cubicBezTo>
                    <a:pt x="244" y="38"/>
                    <a:pt x="244" y="38"/>
                    <a:pt x="244" y="38"/>
                  </a:cubicBezTo>
                  <a:cubicBezTo>
                    <a:pt x="244" y="78"/>
                    <a:pt x="244" y="78"/>
                    <a:pt x="244" y="78"/>
                  </a:cubicBezTo>
                  <a:cubicBezTo>
                    <a:pt x="198" y="78"/>
                    <a:pt x="198" y="78"/>
                    <a:pt x="198" y="78"/>
                  </a:cubicBezTo>
                  <a:cubicBezTo>
                    <a:pt x="198" y="32"/>
                    <a:pt x="198" y="32"/>
                    <a:pt x="198" y="32"/>
                  </a:cubicBezTo>
                  <a:lnTo>
                    <a:pt x="238" y="32"/>
                  </a:lnTo>
                  <a:close/>
                  <a:moveTo>
                    <a:pt x="99" y="109"/>
                  </a:moveTo>
                  <a:cubicBezTo>
                    <a:pt x="108" y="97"/>
                    <a:pt x="122" y="89"/>
                    <a:pt x="138" y="89"/>
                  </a:cubicBezTo>
                  <a:cubicBezTo>
                    <a:pt x="155" y="89"/>
                    <a:pt x="169" y="97"/>
                    <a:pt x="178" y="109"/>
                  </a:cubicBezTo>
                  <a:cubicBezTo>
                    <a:pt x="184" y="117"/>
                    <a:pt x="187" y="127"/>
                    <a:pt x="187" y="138"/>
                  </a:cubicBezTo>
                  <a:cubicBezTo>
                    <a:pt x="187" y="164"/>
                    <a:pt x="165" y="186"/>
                    <a:pt x="138" y="186"/>
                  </a:cubicBezTo>
                  <a:cubicBezTo>
                    <a:pt x="112" y="186"/>
                    <a:pt x="90" y="164"/>
                    <a:pt x="90" y="138"/>
                  </a:cubicBezTo>
                  <a:cubicBezTo>
                    <a:pt x="90" y="127"/>
                    <a:pt x="93" y="117"/>
                    <a:pt x="99" y="109"/>
                  </a:cubicBezTo>
                  <a:moveTo>
                    <a:pt x="249" y="222"/>
                  </a:moveTo>
                  <a:cubicBezTo>
                    <a:pt x="249" y="237"/>
                    <a:pt x="238" y="249"/>
                    <a:pt x="223" y="249"/>
                  </a:cubicBezTo>
                  <a:cubicBezTo>
                    <a:pt x="54" y="249"/>
                    <a:pt x="54" y="249"/>
                    <a:pt x="54" y="249"/>
                  </a:cubicBezTo>
                  <a:cubicBezTo>
                    <a:pt x="39" y="249"/>
                    <a:pt x="27" y="237"/>
                    <a:pt x="27" y="222"/>
                  </a:cubicBezTo>
                  <a:cubicBezTo>
                    <a:pt x="27" y="109"/>
                    <a:pt x="27" y="109"/>
                    <a:pt x="27" y="109"/>
                  </a:cubicBezTo>
                  <a:cubicBezTo>
                    <a:pt x="68" y="109"/>
                    <a:pt x="68" y="109"/>
                    <a:pt x="68" y="109"/>
                  </a:cubicBezTo>
                  <a:cubicBezTo>
                    <a:pt x="65" y="118"/>
                    <a:pt x="63" y="128"/>
                    <a:pt x="63" y="138"/>
                  </a:cubicBezTo>
                  <a:cubicBezTo>
                    <a:pt x="63" y="179"/>
                    <a:pt x="97" y="213"/>
                    <a:pt x="138" y="213"/>
                  </a:cubicBezTo>
                  <a:cubicBezTo>
                    <a:pt x="180" y="213"/>
                    <a:pt x="214" y="179"/>
                    <a:pt x="214" y="138"/>
                  </a:cubicBezTo>
                  <a:cubicBezTo>
                    <a:pt x="214" y="128"/>
                    <a:pt x="212" y="118"/>
                    <a:pt x="208" y="109"/>
                  </a:cubicBezTo>
                  <a:cubicBezTo>
                    <a:pt x="249" y="109"/>
                    <a:pt x="249" y="109"/>
                    <a:pt x="249" y="109"/>
                  </a:cubicBezTo>
                  <a:lnTo>
                    <a:pt x="249" y="222"/>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grpSp>
          <p:nvGrpSpPr>
            <p:cNvPr id="374" name="Group 392">
              <a:extLst>
                <a:ext uri="{FF2B5EF4-FFF2-40B4-BE49-F238E27FC236}">
                  <a16:creationId xmlns:a16="http://schemas.microsoft.com/office/drawing/2014/main" id="{C2EA0252-EC2A-4EE7-B08F-6D747DA4009B}"/>
                </a:ext>
              </a:extLst>
            </p:cNvPr>
            <p:cNvGrpSpPr/>
            <p:nvPr/>
          </p:nvGrpSpPr>
          <p:grpSpPr>
            <a:xfrm>
              <a:off x="6984494" y="4465599"/>
              <a:ext cx="2259423" cy="533991"/>
              <a:chOff x="7377454" y="1848889"/>
              <a:chExt cx="3516776" cy="831152"/>
            </a:xfrm>
          </p:grpSpPr>
          <p:sp>
            <p:nvSpPr>
              <p:cNvPr id="375" name="Rectangle 393">
                <a:extLst>
                  <a:ext uri="{FF2B5EF4-FFF2-40B4-BE49-F238E27FC236}">
                    <a16:creationId xmlns:a16="http://schemas.microsoft.com/office/drawing/2014/main" id="{54E98577-FA12-4BDB-BD25-DBD9A1A8E76B}"/>
                  </a:ext>
                </a:extLst>
              </p:cNvPr>
              <p:cNvSpPr/>
              <p:nvPr/>
            </p:nvSpPr>
            <p:spPr>
              <a:xfrm>
                <a:off x="7377454" y="1848889"/>
                <a:ext cx="1619246" cy="456597"/>
              </a:xfrm>
              <a:prstGeom prst="rect">
                <a:avLst/>
              </a:prstGeom>
            </p:spPr>
            <p:txBody>
              <a:bodyPr wrap="square">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388A"/>
                    </a:solidFill>
                    <a:effectLst/>
                    <a:uLnTx/>
                    <a:uFillTx/>
                    <a:latin typeface="Segoe UI" panose="020B0502040204020203" pitchFamily="34" charset="0"/>
                    <a:ea typeface="+mn-ea"/>
                    <a:cs typeface="Segoe UI" panose="020B0502040204020203" pitchFamily="34" charset="0"/>
                  </a:rPr>
                  <a:t>Instagram</a:t>
                </a:r>
              </a:p>
            </p:txBody>
          </p:sp>
          <p:sp>
            <p:nvSpPr>
              <p:cNvPr id="376" name="Rectangle 394">
                <a:extLst>
                  <a:ext uri="{FF2B5EF4-FFF2-40B4-BE49-F238E27FC236}">
                    <a16:creationId xmlns:a16="http://schemas.microsoft.com/office/drawing/2014/main" id="{542B4E5D-8648-456D-9269-EE595ED33B3C}"/>
                  </a:ext>
                </a:extLst>
              </p:cNvPr>
              <p:cNvSpPr/>
              <p:nvPr/>
            </p:nvSpPr>
            <p:spPr>
              <a:xfrm>
                <a:off x="7377454" y="2223443"/>
                <a:ext cx="3516776" cy="456598"/>
              </a:xfrm>
              <a:prstGeom prst="rect">
                <a:avLst/>
              </a:prstGeom>
            </p:spPr>
            <p:txBody>
              <a:bodyPr wrap="square">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lumMod val="85000"/>
                        <a:lumOff val="15000"/>
                      </a:srgbClr>
                    </a:solidFill>
                    <a:effectLst/>
                    <a:uLnTx/>
                    <a:uFillTx/>
                    <a:latin typeface="Segoe UI Light" panose="020B0502040204020203" pitchFamily="34" charset="0"/>
                    <a:ea typeface="+mn-ea"/>
                    <a:cs typeface="Segoe UI Light" panose="020B0502040204020203" pitchFamily="34" charset="0"/>
                  </a:rPr>
                  <a:t>A wonderful serenity has taken</a:t>
                </a:r>
              </a:p>
            </p:txBody>
          </p:sp>
        </p:grpSp>
      </p:grpSp>
      <p:grpSp>
        <p:nvGrpSpPr>
          <p:cNvPr id="377" name="Group 1">
            <a:extLst>
              <a:ext uri="{FF2B5EF4-FFF2-40B4-BE49-F238E27FC236}">
                <a16:creationId xmlns:a16="http://schemas.microsoft.com/office/drawing/2014/main" id="{4C73C8D8-7BD5-40F8-BCF1-BECB4F2A1EDE}"/>
              </a:ext>
            </a:extLst>
          </p:cNvPr>
          <p:cNvGrpSpPr/>
          <p:nvPr/>
        </p:nvGrpSpPr>
        <p:grpSpPr>
          <a:xfrm>
            <a:off x="8388068" y="5216183"/>
            <a:ext cx="3315654" cy="755146"/>
            <a:chOff x="5456309" y="5209266"/>
            <a:chExt cx="3315654" cy="755146"/>
          </a:xfrm>
        </p:grpSpPr>
        <p:sp>
          <p:nvSpPr>
            <p:cNvPr id="378" name="Oval 371">
              <a:extLst>
                <a:ext uri="{FF2B5EF4-FFF2-40B4-BE49-F238E27FC236}">
                  <a16:creationId xmlns:a16="http://schemas.microsoft.com/office/drawing/2014/main" id="{7A84D450-4AE3-4435-83C5-62D75A7C147E}"/>
                </a:ext>
              </a:extLst>
            </p:cNvPr>
            <p:cNvSpPr/>
            <p:nvPr/>
          </p:nvSpPr>
          <p:spPr>
            <a:xfrm>
              <a:off x="5456582" y="5209267"/>
              <a:ext cx="755145" cy="755145"/>
            </a:xfrm>
            <a:prstGeom prst="ellipse">
              <a:avLst/>
            </a:prstGeom>
            <a:gradFill flip="none" rotWithShape="1">
              <a:gsLst>
                <a:gs pos="0">
                  <a:schemeClr val="accent2"/>
                </a:gs>
                <a:gs pos="100000">
                  <a:schemeClr val="accent2">
                    <a:lumMod val="7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等线" panose="020F0502020204030204"/>
                <a:ea typeface="+mn-ea"/>
                <a:cs typeface="+mn-cs"/>
              </a:endParaRPr>
            </a:p>
          </p:txBody>
        </p:sp>
        <p:sp>
          <p:nvSpPr>
            <p:cNvPr id="379" name="Rectangle: Rounded Corners 372">
              <a:extLst>
                <a:ext uri="{FF2B5EF4-FFF2-40B4-BE49-F238E27FC236}">
                  <a16:creationId xmlns:a16="http://schemas.microsoft.com/office/drawing/2014/main" id="{E05F5B56-693C-4F31-95F4-51027445F6A7}"/>
                </a:ext>
              </a:extLst>
            </p:cNvPr>
            <p:cNvSpPr/>
            <p:nvPr/>
          </p:nvSpPr>
          <p:spPr>
            <a:xfrm>
              <a:off x="5456309" y="5209266"/>
              <a:ext cx="3315654" cy="748355"/>
            </a:xfrm>
            <a:prstGeom prst="roundRect">
              <a:avLst>
                <a:gd name="adj" fmla="val 50000"/>
              </a:avLst>
            </a:prstGeom>
            <a:noFill/>
            <a:ln w="0">
              <a:gradFill flip="none" rotWithShape="1">
                <a:gsLst>
                  <a:gs pos="0">
                    <a:schemeClr val="accent2"/>
                  </a:gs>
                  <a:gs pos="100000">
                    <a:schemeClr val="accent2">
                      <a:lumMod val="75000"/>
                    </a:schemeClr>
                  </a:gs>
                </a:gsLst>
                <a:lin ang="54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等线" panose="020F0502020204030204"/>
                <a:ea typeface="+mn-ea"/>
                <a:cs typeface="+mn-cs"/>
              </a:endParaRPr>
            </a:p>
          </p:txBody>
        </p:sp>
        <p:sp>
          <p:nvSpPr>
            <p:cNvPr id="380" name="Freeform 38">
              <a:extLst>
                <a:ext uri="{FF2B5EF4-FFF2-40B4-BE49-F238E27FC236}">
                  <a16:creationId xmlns:a16="http://schemas.microsoft.com/office/drawing/2014/main" id="{AE0B5C79-969C-4856-AAAF-BADBA362EFAE}"/>
                </a:ext>
              </a:extLst>
            </p:cNvPr>
            <p:cNvSpPr>
              <a:spLocks/>
            </p:cNvSpPr>
            <p:nvPr/>
          </p:nvSpPr>
          <p:spPr bwMode="auto">
            <a:xfrm>
              <a:off x="5690748" y="5482989"/>
              <a:ext cx="290014" cy="232962"/>
            </a:xfrm>
            <a:custGeom>
              <a:avLst/>
              <a:gdLst>
                <a:gd name="T0" fmla="*/ 194 w 199"/>
                <a:gd name="T1" fmla="*/ 3 h 160"/>
                <a:gd name="T2" fmla="*/ 168 w 199"/>
                <a:gd name="T3" fmla="*/ 13 h 160"/>
                <a:gd name="T4" fmla="*/ 138 w 199"/>
                <a:gd name="T5" fmla="*/ 0 h 160"/>
                <a:gd name="T6" fmla="*/ 97 w 199"/>
                <a:gd name="T7" fmla="*/ 40 h 160"/>
                <a:gd name="T8" fmla="*/ 98 w 199"/>
                <a:gd name="T9" fmla="*/ 50 h 160"/>
                <a:gd name="T10" fmla="*/ 13 w 199"/>
                <a:gd name="T11" fmla="*/ 7 h 160"/>
                <a:gd name="T12" fmla="*/ 8 w 199"/>
                <a:gd name="T13" fmla="*/ 28 h 160"/>
                <a:gd name="T14" fmla="*/ 26 w 199"/>
                <a:gd name="T15" fmla="*/ 61 h 160"/>
                <a:gd name="T16" fmla="*/ 8 w 199"/>
                <a:gd name="T17" fmla="*/ 56 h 160"/>
                <a:gd name="T18" fmla="*/ 8 w 199"/>
                <a:gd name="T19" fmla="*/ 57 h 160"/>
                <a:gd name="T20" fmla="*/ 40 w 199"/>
                <a:gd name="T21" fmla="*/ 96 h 160"/>
                <a:gd name="T22" fmla="*/ 30 w 199"/>
                <a:gd name="T23" fmla="*/ 98 h 160"/>
                <a:gd name="T24" fmla="*/ 22 w 199"/>
                <a:gd name="T25" fmla="*/ 97 h 160"/>
                <a:gd name="T26" fmla="*/ 60 w 199"/>
                <a:gd name="T27" fmla="*/ 125 h 160"/>
                <a:gd name="T28" fmla="*/ 9 w 199"/>
                <a:gd name="T29" fmla="*/ 142 h 160"/>
                <a:gd name="T30" fmla="*/ 0 w 199"/>
                <a:gd name="T31" fmla="*/ 142 h 160"/>
                <a:gd name="T32" fmla="*/ 62 w 199"/>
                <a:gd name="T33" fmla="*/ 160 h 160"/>
                <a:gd name="T34" fmla="*/ 179 w 199"/>
                <a:gd name="T35" fmla="*/ 45 h 160"/>
                <a:gd name="T36" fmla="*/ 179 w 199"/>
                <a:gd name="T37" fmla="*/ 40 h 160"/>
                <a:gd name="T38" fmla="*/ 199 w 199"/>
                <a:gd name="T39" fmla="*/ 19 h 160"/>
                <a:gd name="T40" fmla="*/ 176 w 199"/>
                <a:gd name="T41" fmla="*/ 25 h 160"/>
                <a:gd name="T42" fmla="*/ 194 w 199"/>
                <a:gd name="T43" fmla="*/ 3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99" h="160">
                  <a:moveTo>
                    <a:pt x="194" y="3"/>
                  </a:moveTo>
                  <a:cubicBezTo>
                    <a:pt x="186" y="8"/>
                    <a:pt x="177" y="11"/>
                    <a:pt x="168" y="13"/>
                  </a:cubicBezTo>
                  <a:cubicBezTo>
                    <a:pt x="160" y="5"/>
                    <a:pt x="150" y="0"/>
                    <a:pt x="138" y="0"/>
                  </a:cubicBezTo>
                  <a:cubicBezTo>
                    <a:pt x="115" y="0"/>
                    <a:pt x="97" y="18"/>
                    <a:pt x="97" y="40"/>
                  </a:cubicBezTo>
                  <a:cubicBezTo>
                    <a:pt x="97" y="43"/>
                    <a:pt x="97" y="47"/>
                    <a:pt x="98" y="50"/>
                  </a:cubicBezTo>
                  <a:cubicBezTo>
                    <a:pt x="64" y="48"/>
                    <a:pt x="34" y="32"/>
                    <a:pt x="13" y="7"/>
                  </a:cubicBezTo>
                  <a:cubicBezTo>
                    <a:pt x="10" y="13"/>
                    <a:pt x="8" y="20"/>
                    <a:pt x="8" y="28"/>
                  </a:cubicBezTo>
                  <a:cubicBezTo>
                    <a:pt x="8" y="42"/>
                    <a:pt x="15" y="54"/>
                    <a:pt x="26" y="61"/>
                  </a:cubicBezTo>
                  <a:cubicBezTo>
                    <a:pt x="19" y="61"/>
                    <a:pt x="13" y="59"/>
                    <a:pt x="8" y="56"/>
                  </a:cubicBezTo>
                  <a:cubicBezTo>
                    <a:pt x="8" y="57"/>
                    <a:pt x="8" y="57"/>
                    <a:pt x="8" y="57"/>
                  </a:cubicBezTo>
                  <a:cubicBezTo>
                    <a:pt x="8" y="76"/>
                    <a:pt x="22" y="93"/>
                    <a:pt x="40" y="96"/>
                  </a:cubicBezTo>
                  <a:cubicBezTo>
                    <a:pt x="37" y="97"/>
                    <a:pt x="33" y="98"/>
                    <a:pt x="30" y="98"/>
                  </a:cubicBezTo>
                  <a:cubicBezTo>
                    <a:pt x="27" y="98"/>
                    <a:pt x="24" y="97"/>
                    <a:pt x="22" y="97"/>
                  </a:cubicBezTo>
                  <a:cubicBezTo>
                    <a:pt x="27" y="113"/>
                    <a:pt x="42" y="125"/>
                    <a:pt x="60" y="125"/>
                  </a:cubicBezTo>
                  <a:cubicBezTo>
                    <a:pt x="46" y="136"/>
                    <a:pt x="28" y="142"/>
                    <a:pt x="9" y="142"/>
                  </a:cubicBezTo>
                  <a:cubicBezTo>
                    <a:pt x="6" y="142"/>
                    <a:pt x="3" y="142"/>
                    <a:pt x="0" y="142"/>
                  </a:cubicBezTo>
                  <a:cubicBezTo>
                    <a:pt x="18" y="153"/>
                    <a:pt x="39" y="160"/>
                    <a:pt x="62" y="160"/>
                  </a:cubicBezTo>
                  <a:cubicBezTo>
                    <a:pt x="138" y="160"/>
                    <a:pt x="179" y="98"/>
                    <a:pt x="179" y="45"/>
                  </a:cubicBezTo>
                  <a:cubicBezTo>
                    <a:pt x="179" y="43"/>
                    <a:pt x="179" y="42"/>
                    <a:pt x="179" y="40"/>
                  </a:cubicBezTo>
                  <a:cubicBezTo>
                    <a:pt x="187" y="34"/>
                    <a:pt x="194" y="27"/>
                    <a:pt x="199" y="19"/>
                  </a:cubicBezTo>
                  <a:cubicBezTo>
                    <a:pt x="192" y="22"/>
                    <a:pt x="184" y="24"/>
                    <a:pt x="176" y="25"/>
                  </a:cubicBezTo>
                  <a:cubicBezTo>
                    <a:pt x="184" y="20"/>
                    <a:pt x="191" y="12"/>
                    <a:pt x="194" y="3"/>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nvGrpSpPr>
            <p:cNvPr id="381" name="Group 398">
              <a:extLst>
                <a:ext uri="{FF2B5EF4-FFF2-40B4-BE49-F238E27FC236}">
                  <a16:creationId xmlns:a16="http://schemas.microsoft.com/office/drawing/2014/main" id="{EB7EF5F6-4F06-40D0-8D39-47DAD9842D82}"/>
                </a:ext>
              </a:extLst>
            </p:cNvPr>
            <p:cNvGrpSpPr/>
            <p:nvPr/>
          </p:nvGrpSpPr>
          <p:grpSpPr>
            <a:xfrm>
              <a:off x="6336382" y="5324325"/>
              <a:ext cx="2259423" cy="533991"/>
              <a:chOff x="7377454" y="1848889"/>
              <a:chExt cx="3516776" cy="831152"/>
            </a:xfrm>
          </p:grpSpPr>
          <p:sp>
            <p:nvSpPr>
              <p:cNvPr id="382" name="Rectangle 399">
                <a:extLst>
                  <a:ext uri="{FF2B5EF4-FFF2-40B4-BE49-F238E27FC236}">
                    <a16:creationId xmlns:a16="http://schemas.microsoft.com/office/drawing/2014/main" id="{DAB28127-0039-47B5-B291-1230414DA918}"/>
                  </a:ext>
                </a:extLst>
              </p:cNvPr>
              <p:cNvSpPr/>
              <p:nvPr/>
            </p:nvSpPr>
            <p:spPr>
              <a:xfrm>
                <a:off x="7377454" y="1848889"/>
                <a:ext cx="1619246" cy="456597"/>
              </a:xfrm>
              <a:prstGeom prst="rect">
                <a:avLst/>
              </a:prstGeom>
            </p:spPr>
            <p:txBody>
              <a:bodyPr wrap="square">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4C38"/>
                    </a:solidFill>
                    <a:effectLst/>
                    <a:uLnTx/>
                    <a:uFillTx/>
                    <a:latin typeface="Segoe UI" panose="020B0502040204020203" pitchFamily="34" charset="0"/>
                    <a:ea typeface="+mn-ea"/>
                    <a:cs typeface="Segoe UI" panose="020B0502040204020203" pitchFamily="34" charset="0"/>
                  </a:rPr>
                  <a:t>Twitter</a:t>
                </a:r>
              </a:p>
            </p:txBody>
          </p:sp>
          <p:sp>
            <p:nvSpPr>
              <p:cNvPr id="383" name="Rectangle 400">
                <a:extLst>
                  <a:ext uri="{FF2B5EF4-FFF2-40B4-BE49-F238E27FC236}">
                    <a16:creationId xmlns:a16="http://schemas.microsoft.com/office/drawing/2014/main" id="{CFB9EFB8-6747-411A-9F3E-7F6A24E40D48}"/>
                  </a:ext>
                </a:extLst>
              </p:cNvPr>
              <p:cNvSpPr/>
              <p:nvPr/>
            </p:nvSpPr>
            <p:spPr>
              <a:xfrm>
                <a:off x="7377454" y="2223443"/>
                <a:ext cx="3516776" cy="456598"/>
              </a:xfrm>
              <a:prstGeom prst="rect">
                <a:avLst/>
              </a:prstGeom>
            </p:spPr>
            <p:txBody>
              <a:bodyPr wrap="square">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lumMod val="85000"/>
                        <a:lumOff val="15000"/>
                      </a:srgbClr>
                    </a:solidFill>
                    <a:effectLst/>
                    <a:uLnTx/>
                    <a:uFillTx/>
                    <a:latin typeface="Segoe UI Light" panose="020B0502040204020203" pitchFamily="34" charset="0"/>
                    <a:ea typeface="+mn-ea"/>
                    <a:cs typeface="Segoe UI Light" panose="020B0502040204020203" pitchFamily="34" charset="0"/>
                  </a:rPr>
                  <a:t>A wonderful serenity has taken</a:t>
                </a:r>
              </a:p>
            </p:txBody>
          </p:sp>
        </p:grpSp>
      </p:grpSp>
      <p:grpSp>
        <p:nvGrpSpPr>
          <p:cNvPr id="384" name="Group 409">
            <a:extLst>
              <a:ext uri="{FF2B5EF4-FFF2-40B4-BE49-F238E27FC236}">
                <a16:creationId xmlns:a16="http://schemas.microsoft.com/office/drawing/2014/main" id="{D8DE37D5-8DE6-488B-ABF3-502BD45185D1}"/>
              </a:ext>
            </a:extLst>
          </p:cNvPr>
          <p:cNvGrpSpPr/>
          <p:nvPr/>
        </p:nvGrpSpPr>
        <p:grpSpPr>
          <a:xfrm>
            <a:off x="803026" y="938194"/>
            <a:ext cx="4388853" cy="2297669"/>
            <a:chOff x="787075" y="953779"/>
            <a:chExt cx="4388853" cy="2297669"/>
          </a:xfrm>
        </p:grpSpPr>
        <p:sp>
          <p:nvSpPr>
            <p:cNvPr id="385" name="Rectangle 395">
              <a:extLst>
                <a:ext uri="{FF2B5EF4-FFF2-40B4-BE49-F238E27FC236}">
                  <a16:creationId xmlns:a16="http://schemas.microsoft.com/office/drawing/2014/main" id="{1F5AFB23-56C5-4D82-8397-EFFE3CB849D9}"/>
                </a:ext>
              </a:extLst>
            </p:cNvPr>
            <p:cNvSpPr/>
            <p:nvPr/>
          </p:nvSpPr>
          <p:spPr>
            <a:xfrm>
              <a:off x="787075" y="953779"/>
              <a:ext cx="4388853" cy="1477328"/>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dirty="0">
                  <a:ln>
                    <a:noFill/>
                  </a:ln>
                  <a:gradFill>
                    <a:gsLst>
                      <a:gs pos="100000">
                        <a:srgbClr val="FFD229"/>
                      </a:gs>
                      <a:gs pos="1000">
                        <a:srgbClr val="FFD229">
                          <a:lumMod val="75000"/>
                        </a:srgbClr>
                      </a:gs>
                    </a:gsLst>
                    <a:lin ang="8400000" scaled="0"/>
                  </a:gradFill>
                  <a:effectLst/>
                  <a:uLnTx/>
                  <a:uFillTx/>
                  <a:latin typeface="News701 BT" panose="02040603040505090204" pitchFamily="18" charset="0"/>
                  <a:ea typeface="+mn-ea"/>
                  <a:cs typeface="Segoe UI" panose="020B0502040204020203" pitchFamily="34" charset="0"/>
                </a:rPr>
                <a:t>Social Media </a:t>
              </a:r>
              <a:r>
                <a:rPr kumimoji="0" lang="en-US" sz="5400" b="1" i="0" u="none" strike="noStrike" kern="1200" cap="none" spc="0" normalizeH="0" baseline="0" noProof="0" dirty="0">
                  <a:ln>
                    <a:noFill/>
                  </a:ln>
                  <a:solidFill>
                    <a:srgbClr val="000000">
                      <a:lumMod val="75000"/>
                      <a:lumOff val="25000"/>
                    </a:srgbClr>
                  </a:solidFill>
                  <a:effectLst/>
                  <a:uLnTx/>
                  <a:uFillTx/>
                  <a:latin typeface="News701 BT" panose="02040603040505090204" pitchFamily="18" charset="0"/>
                  <a:ea typeface="+mn-ea"/>
                  <a:cs typeface="Segoe UI" panose="020B0502040204020203" pitchFamily="34" charset="0"/>
                </a:rPr>
                <a:t>Infographic</a:t>
              </a:r>
              <a:endParaRPr kumimoji="0" lang="en-US" sz="3600" b="1" i="0" u="none" strike="noStrike" kern="1200" cap="none" spc="0" normalizeH="0" baseline="0" noProof="0" dirty="0">
                <a:ln>
                  <a:noFill/>
                </a:ln>
                <a:solidFill>
                  <a:srgbClr val="000000">
                    <a:lumMod val="75000"/>
                    <a:lumOff val="25000"/>
                  </a:srgbClr>
                </a:solidFill>
                <a:effectLst/>
                <a:uLnTx/>
                <a:uFillTx/>
                <a:latin typeface="News701 BT" panose="02040603040505090204" pitchFamily="18" charset="0"/>
                <a:ea typeface="+mn-ea"/>
                <a:cs typeface="Segoe UI" panose="020B0502040204020203" pitchFamily="34" charset="0"/>
              </a:endParaRPr>
            </a:p>
          </p:txBody>
        </p:sp>
        <p:sp>
          <p:nvSpPr>
            <p:cNvPr id="386" name="Rectangle 408">
              <a:extLst>
                <a:ext uri="{FF2B5EF4-FFF2-40B4-BE49-F238E27FC236}">
                  <a16:creationId xmlns:a16="http://schemas.microsoft.com/office/drawing/2014/main" id="{DA1A5DCB-D504-46AB-9E95-AF07DA7CA948}"/>
                </a:ext>
              </a:extLst>
            </p:cNvPr>
            <p:cNvSpPr/>
            <p:nvPr/>
          </p:nvSpPr>
          <p:spPr>
            <a:xfrm>
              <a:off x="875235" y="2514900"/>
              <a:ext cx="3522534" cy="736548"/>
            </a:xfrm>
            <a:prstGeom prst="rect">
              <a:avLst/>
            </a:prstGeom>
          </p:spPr>
          <p:txBody>
            <a:bodyPr wrap="square">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lumMod val="65000"/>
                      <a:lumOff val="35000"/>
                    </a:srgbClr>
                  </a:solidFill>
                  <a:effectLst/>
                  <a:uLnTx/>
                  <a:uFillTx/>
                  <a:latin typeface="Segoe UI Light" panose="020B0502040204020203" pitchFamily="34" charset="0"/>
                  <a:ea typeface="+mn-ea"/>
                  <a:cs typeface="Segoe UI Light" panose="020B0502040204020203" pitchFamily="34" charset="0"/>
                </a:rPr>
                <a:t>A wonderful serenity has taken possession of my entire soul, like these sweet mornings of spring which I enjoy with my whole heart. </a:t>
              </a:r>
            </a:p>
          </p:txBody>
        </p:sp>
      </p:grpSp>
    </p:spTree>
    <p:extLst>
      <p:ext uri="{BB962C8B-B14F-4D97-AF65-F5344CB8AC3E}">
        <p14:creationId xmlns:p14="http://schemas.microsoft.com/office/powerpoint/2010/main" val="4287838697"/>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6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61">
            <a:extLst>
              <a:ext uri="{FF2B5EF4-FFF2-40B4-BE49-F238E27FC236}">
                <a16:creationId xmlns:a16="http://schemas.microsoft.com/office/drawing/2014/main" id="{DB724A8A-EBB6-4BF8-AB0A-2C00B95E9B9F}"/>
              </a:ext>
            </a:extLst>
          </p:cNvPr>
          <p:cNvSpPr txBox="1">
            <a:spLocks/>
          </p:cNvSpPr>
          <p:nvPr/>
        </p:nvSpPr>
        <p:spPr>
          <a:xfrm>
            <a:off x="571500" y="646341"/>
            <a:ext cx="11023600" cy="587375"/>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4400" b="0" i="0" u="none" strike="noStrike" kern="1200" cap="none" spc="0" normalizeH="0" baseline="0" noProof="0">
                <a:ln>
                  <a:noFill/>
                </a:ln>
                <a:solidFill>
                  <a:srgbClr val="000000"/>
                </a:solidFill>
                <a:effectLst/>
                <a:uLnTx/>
                <a:uFillTx/>
                <a:latin typeface="等线 Light" panose="020F0302020204030204"/>
                <a:ea typeface="+mj-ea"/>
                <a:cs typeface="+mj-cs"/>
              </a:rPr>
              <a:t>Special Tree Diagram</a:t>
            </a:r>
            <a:endParaRPr kumimoji="0" lang="en-US" sz="4400" b="0" i="0" u="none" strike="noStrike" kern="1200" cap="none" spc="0" normalizeH="0" baseline="0" noProof="0" dirty="0">
              <a:ln>
                <a:noFill/>
              </a:ln>
              <a:solidFill>
                <a:srgbClr val="000000"/>
              </a:solidFill>
              <a:effectLst/>
              <a:uLnTx/>
              <a:uFillTx/>
              <a:latin typeface="等线 Light" panose="020F0302020204030204"/>
              <a:ea typeface="+mj-ea"/>
              <a:cs typeface="+mj-cs"/>
            </a:endParaRPr>
          </a:p>
        </p:txBody>
      </p:sp>
      <p:grpSp>
        <p:nvGrpSpPr>
          <p:cNvPr id="4" name="Group 70">
            <a:extLst>
              <a:ext uri="{FF2B5EF4-FFF2-40B4-BE49-F238E27FC236}">
                <a16:creationId xmlns:a16="http://schemas.microsoft.com/office/drawing/2014/main" id="{6536FD82-6B0D-4A4A-978D-0074347B80ED}"/>
              </a:ext>
            </a:extLst>
          </p:cNvPr>
          <p:cNvGrpSpPr/>
          <p:nvPr/>
        </p:nvGrpSpPr>
        <p:grpSpPr>
          <a:xfrm>
            <a:off x="3213129" y="1841162"/>
            <a:ext cx="5321270" cy="5016838"/>
            <a:chOff x="3213129" y="1841162"/>
            <a:chExt cx="5321270" cy="5016838"/>
          </a:xfrm>
        </p:grpSpPr>
        <p:sp>
          <p:nvSpPr>
            <p:cNvPr id="5" name="Freeform 56">
              <a:extLst>
                <a:ext uri="{FF2B5EF4-FFF2-40B4-BE49-F238E27FC236}">
                  <a16:creationId xmlns:a16="http://schemas.microsoft.com/office/drawing/2014/main" id="{87AA135F-F017-4B99-A545-4F65801433B0}"/>
                </a:ext>
              </a:extLst>
            </p:cNvPr>
            <p:cNvSpPr>
              <a:spLocks/>
            </p:cNvSpPr>
            <p:nvPr/>
          </p:nvSpPr>
          <p:spPr bwMode="auto">
            <a:xfrm>
              <a:off x="4498285" y="3214595"/>
              <a:ext cx="2908869" cy="3643405"/>
            </a:xfrm>
            <a:custGeom>
              <a:avLst/>
              <a:gdLst>
                <a:gd name="T0" fmla="*/ 197 w 454"/>
                <a:gd name="T1" fmla="*/ 254 h 569"/>
                <a:gd name="T2" fmla="*/ 200 w 454"/>
                <a:gd name="T3" fmla="*/ 449 h 569"/>
                <a:gd name="T4" fmla="*/ 148 w 454"/>
                <a:gd name="T5" fmla="*/ 559 h 569"/>
                <a:gd name="T6" fmla="*/ 122 w 454"/>
                <a:gd name="T7" fmla="*/ 569 h 569"/>
                <a:gd name="T8" fmla="*/ 339 w 454"/>
                <a:gd name="T9" fmla="*/ 569 h 569"/>
                <a:gd name="T10" fmla="*/ 304 w 454"/>
                <a:gd name="T11" fmla="*/ 557 h 569"/>
                <a:gd name="T12" fmla="*/ 277 w 454"/>
                <a:gd name="T13" fmla="*/ 354 h 569"/>
                <a:gd name="T14" fmla="*/ 282 w 454"/>
                <a:gd name="T15" fmla="*/ 261 h 569"/>
                <a:gd name="T16" fmla="*/ 315 w 454"/>
                <a:gd name="T17" fmla="*/ 247 h 569"/>
                <a:gd name="T18" fmla="*/ 454 w 454"/>
                <a:gd name="T19" fmla="*/ 120 h 569"/>
                <a:gd name="T20" fmla="*/ 451 w 454"/>
                <a:gd name="T21" fmla="*/ 117 h 569"/>
                <a:gd name="T22" fmla="*/ 451 w 454"/>
                <a:gd name="T23" fmla="*/ 117 h 569"/>
                <a:gd name="T24" fmla="*/ 389 w 454"/>
                <a:gd name="T25" fmla="*/ 164 h 569"/>
                <a:gd name="T26" fmla="*/ 400 w 454"/>
                <a:gd name="T27" fmla="*/ 82 h 569"/>
                <a:gd name="T28" fmla="*/ 399 w 454"/>
                <a:gd name="T29" fmla="*/ 82 h 569"/>
                <a:gd name="T30" fmla="*/ 398 w 454"/>
                <a:gd name="T31" fmla="*/ 82 h 569"/>
                <a:gd name="T32" fmla="*/ 362 w 454"/>
                <a:gd name="T33" fmla="*/ 182 h 569"/>
                <a:gd name="T34" fmla="*/ 257 w 454"/>
                <a:gd name="T35" fmla="*/ 234 h 569"/>
                <a:gd name="T36" fmla="*/ 241 w 454"/>
                <a:gd name="T37" fmla="*/ 146 h 569"/>
                <a:gd name="T38" fmla="*/ 296 w 454"/>
                <a:gd name="T39" fmla="*/ 54 h 569"/>
                <a:gd name="T40" fmla="*/ 295 w 454"/>
                <a:gd name="T41" fmla="*/ 54 h 569"/>
                <a:gd name="T42" fmla="*/ 294 w 454"/>
                <a:gd name="T43" fmla="*/ 52 h 569"/>
                <a:gd name="T44" fmla="*/ 238 w 454"/>
                <a:gd name="T45" fmla="*/ 113 h 569"/>
                <a:gd name="T46" fmla="*/ 235 w 454"/>
                <a:gd name="T47" fmla="*/ 35 h 569"/>
                <a:gd name="T48" fmla="*/ 235 w 454"/>
                <a:gd name="T49" fmla="*/ 35 h 569"/>
                <a:gd name="T50" fmla="*/ 230 w 454"/>
                <a:gd name="T51" fmla="*/ 35 h 569"/>
                <a:gd name="T52" fmla="*/ 219 w 454"/>
                <a:gd name="T53" fmla="*/ 223 h 569"/>
                <a:gd name="T54" fmla="*/ 122 w 454"/>
                <a:gd name="T55" fmla="*/ 132 h 569"/>
                <a:gd name="T56" fmla="*/ 137 w 454"/>
                <a:gd name="T57" fmla="*/ 64 h 569"/>
                <a:gd name="T58" fmla="*/ 135 w 454"/>
                <a:gd name="T59" fmla="*/ 63 h 569"/>
                <a:gd name="T60" fmla="*/ 135 w 454"/>
                <a:gd name="T61" fmla="*/ 63 h 569"/>
                <a:gd name="T62" fmla="*/ 113 w 454"/>
                <a:gd name="T63" fmla="*/ 118 h 569"/>
                <a:gd name="T64" fmla="*/ 52 w 454"/>
                <a:gd name="T65" fmla="*/ 1 h 569"/>
                <a:gd name="T66" fmla="*/ 50 w 454"/>
                <a:gd name="T67" fmla="*/ 0 h 569"/>
                <a:gd name="T68" fmla="*/ 46 w 454"/>
                <a:gd name="T69" fmla="*/ 1 h 569"/>
                <a:gd name="T70" fmla="*/ 74 w 454"/>
                <a:gd name="T71" fmla="*/ 91 h 569"/>
                <a:gd name="T72" fmla="*/ 74 w 454"/>
                <a:gd name="T73" fmla="*/ 91 h 569"/>
                <a:gd name="T74" fmla="*/ 149 w 454"/>
                <a:gd name="T75" fmla="*/ 208 h 569"/>
                <a:gd name="T76" fmla="*/ 3 w 454"/>
                <a:gd name="T77" fmla="*/ 195 h 569"/>
                <a:gd name="T78" fmla="*/ 3 w 454"/>
                <a:gd name="T79" fmla="*/ 196 h 569"/>
                <a:gd name="T80" fmla="*/ 0 w 454"/>
                <a:gd name="T81" fmla="*/ 201 h 569"/>
                <a:gd name="T82" fmla="*/ 172 w 454"/>
                <a:gd name="T83" fmla="*/ 237 h 569"/>
                <a:gd name="T84" fmla="*/ 197 w 454"/>
                <a:gd name="T85" fmla="*/ 254 h 5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54" h="569">
                  <a:moveTo>
                    <a:pt x="197" y="254"/>
                  </a:moveTo>
                  <a:cubicBezTo>
                    <a:pt x="209" y="304"/>
                    <a:pt x="213" y="368"/>
                    <a:pt x="200" y="449"/>
                  </a:cubicBezTo>
                  <a:cubicBezTo>
                    <a:pt x="191" y="518"/>
                    <a:pt x="199" y="559"/>
                    <a:pt x="148" y="559"/>
                  </a:cubicBezTo>
                  <a:cubicBezTo>
                    <a:pt x="148" y="559"/>
                    <a:pt x="138" y="555"/>
                    <a:pt x="122" y="569"/>
                  </a:cubicBezTo>
                  <a:cubicBezTo>
                    <a:pt x="339" y="569"/>
                    <a:pt x="339" y="569"/>
                    <a:pt x="339" y="569"/>
                  </a:cubicBezTo>
                  <a:cubicBezTo>
                    <a:pt x="328" y="564"/>
                    <a:pt x="315" y="559"/>
                    <a:pt x="304" y="557"/>
                  </a:cubicBezTo>
                  <a:cubicBezTo>
                    <a:pt x="292" y="529"/>
                    <a:pt x="279" y="475"/>
                    <a:pt x="277" y="354"/>
                  </a:cubicBezTo>
                  <a:cubicBezTo>
                    <a:pt x="276" y="318"/>
                    <a:pt x="278" y="287"/>
                    <a:pt x="282" y="261"/>
                  </a:cubicBezTo>
                  <a:cubicBezTo>
                    <a:pt x="315" y="247"/>
                    <a:pt x="315" y="247"/>
                    <a:pt x="315" y="247"/>
                  </a:cubicBezTo>
                  <a:cubicBezTo>
                    <a:pt x="404" y="194"/>
                    <a:pt x="433" y="147"/>
                    <a:pt x="454" y="120"/>
                  </a:cubicBezTo>
                  <a:cubicBezTo>
                    <a:pt x="451" y="117"/>
                    <a:pt x="451" y="117"/>
                    <a:pt x="451" y="117"/>
                  </a:cubicBezTo>
                  <a:cubicBezTo>
                    <a:pt x="451" y="117"/>
                    <a:pt x="451" y="117"/>
                    <a:pt x="451" y="117"/>
                  </a:cubicBezTo>
                  <a:cubicBezTo>
                    <a:pt x="428" y="135"/>
                    <a:pt x="407" y="151"/>
                    <a:pt x="389" y="164"/>
                  </a:cubicBezTo>
                  <a:cubicBezTo>
                    <a:pt x="396" y="133"/>
                    <a:pt x="398" y="121"/>
                    <a:pt x="400" y="82"/>
                  </a:cubicBezTo>
                  <a:cubicBezTo>
                    <a:pt x="399" y="82"/>
                    <a:pt x="399" y="82"/>
                    <a:pt x="399" y="82"/>
                  </a:cubicBezTo>
                  <a:cubicBezTo>
                    <a:pt x="399" y="82"/>
                    <a:pt x="398" y="82"/>
                    <a:pt x="398" y="82"/>
                  </a:cubicBezTo>
                  <a:cubicBezTo>
                    <a:pt x="393" y="101"/>
                    <a:pt x="379" y="147"/>
                    <a:pt x="362" y="182"/>
                  </a:cubicBezTo>
                  <a:cubicBezTo>
                    <a:pt x="312" y="215"/>
                    <a:pt x="278" y="228"/>
                    <a:pt x="257" y="234"/>
                  </a:cubicBezTo>
                  <a:cubicBezTo>
                    <a:pt x="251" y="213"/>
                    <a:pt x="245" y="185"/>
                    <a:pt x="241" y="146"/>
                  </a:cubicBezTo>
                  <a:cubicBezTo>
                    <a:pt x="257" y="110"/>
                    <a:pt x="284" y="70"/>
                    <a:pt x="296" y="54"/>
                  </a:cubicBezTo>
                  <a:cubicBezTo>
                    <a:pt x="295" y="54"/>
                    <a:pt x="295" y="54"/>
                    <a:pt x="295" y="54"/>
                  </a:cubicBezTo>
                  <a:cubicBezTo>
                    <a:pt x="294" y="52"/>
                    <a:pt x="294" y="52"/>
                    <a:pt x="294" y="52"/>
                  </a:cubicBezTo>
                  <a:cubicBezTo>
                    <a:pt x="265" y="79"/>
                    <a:pt x="258" y="88"/>
                    <a:pt x="238" y="113"/>
                  </a:cubicBezTo>
                  <a:cubicBezTo>
                    <a:pt x="236" y="91"/>
                    <a:pt x="235" y="64"/>
                    <a:pt x="235" y="35"/>
                  </a:cubicBezTo>
                  <a:cubicBezTo>
                    <a:pt x="235" y="35"/>
                    <a:pt x="235" y="35"/>
                    <a:pt x="235" y="35"/>
                  </a:cubicBezTo>
                  <a:cubicBezTo>
                    <a:pt x="230" y="35"/>
                    <a:pt x="230" y="35"/>
                    <a:pt x="230" y="35"/>
                  </a:cubicBezTo>
                  <a:cubicBezTo>
                    <a:pt x="223" y="69"/>
                    <a:pt x="210" y="143"/>
                    <a:pt x="219" y="223"/>
                  </a:cubicBezTo>
                  <a:cubicBezTo>
                    <a:pt x="219" y="223"/>
                    <a:pt x="175" y="205"/>
                    <a:pt x="122" y="132"/>
                  </a:cubicBezTo>
                  <a:cubicBezTo>
                    <a:pt x="123" y="120"/>
                    <a:pt x="125" y="90"/>
                    <a:pt x="137" y="64"/>
                  </a:cubicBezTo>
                  <a:cubicBezTo>
                    <a:pt x="135" y="63"/>
                    <a:pt x="135" y="63"/>
                    <a:pt x="135" y="63"/>
                  </a:cubicBezTo>
                  <a:cubicBezTo>
                    <a:pt x="135" y="63"/>
                    <a:pt x="135" y="63"/>
                    <a:pt x="135" y="63"/>
                  </a:cubicBezTo>
                  <a:cubicBezTo>
                    <a:pt x="127" y="75"/>
                    <a:pt x="118" y="94"/>
                    <a:pt x="113" y="118"/>
                  </a:cubicBezTo>
                  <a:cubicBezTo>
                    <a:pt x="93" y="88"/>
                    <a:pt x="72" y="50"/>
                    <a:pt x="52" y="1"/>
                  </a:cubicBezTo>
                  <a:cubicBezTo>
                    <a:pt x="51" y="1"/>
                    <a:pt x="51" y="1"/>
                    <a:pt x="50" y="0"/>
                  </a:cubicBezTo>
                  <a:cubicBezTo>
                    <a:pt x="46" y="1"/>
                    <a:pt x="46" y="1"/>
                    <a:pt x="46" y="1"/>
                  </a:cubicBezTo>
                  <a:cubicBezTo>
                    <a:pt x="49" y="17"/>
                    <a:pt x="74" y="91"/>
                    <a:pt x="74" y="91"/>
                  </a:cubicBezTo>
                  <a:cubicBezTo>
                    <a:pt x="74" y="91"/>
                    <a:pt x="74" y="91"/>
                    <a:pt x="74" y="91"/>
                  </a:cubicBezTo>
                  <a:cubicBezTo>
                    <a:pt x="91" y="132"/>
                    <a:pt x="115" y="175"/>
                    <a:pt x="149" y="208"/>
                  </a:cubicBezTo>
                  <a:cubicBezTo>
                    <a:pt x="149" y="208"/>
                    <a:pt x="89" y="222"/>
                    <a:pt x="3" y="195"/>
                  </a:cubicBezTo>
                  <a:cubicBezTo>
                    <a:pt x="3" y="196"/>
                    <a:pt x="3" y="196"/>
                    <a:pt x="3" y="196"/>
                  </a:cubicBezTo>
                  <a:cubicBezTo>
                    <a:pt x="0" y="201"/>
                    <a:pt x="0" y="201"/>
                    <a:pt x="0" y="201"/>
                  </a:cubicBezTo>
                  <a:cubicBezTo>
                    <a:pt x="37" y="218"/>
                    <a:pt x="97" y="238"/>
                    <a:pt x="172" y="237"/>
                  </a:cubicBezTo>
                  <a:cubicBezTo>
                    <a:pt x="178" y="238"/>
                    <a:pt x="187" y="243"/>
                    <a:pt x="197" y="254"/>
                  </a:cubicBezTo>
                  <a:close/>
                </a:path>
              </a:pathLst>
            </a:custGeom>
            <a:solidFill>
              <a:srgbClr val="424C58"/>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grpSp>
          <p:nvGrpSpPr>
            <p:cNvPr id="6" name="Group 4">
              <a:extLst>
                <a:ext uri="{FF2B5EF4-FFF2-40B4-BE49-F238E27FC236}">
                  <a16:creationId xmlns:a16="http://schemas.microsoft.com/office/drawing/2014/main" id="{4707FCFD-AA0A-42DC-9C29-2E1990DBE904}"/>
                </a:ext>
              </a:extLst>
            </p:cNvPr>
            <p:cNvGrpSpPr/>
            <p:nvPr/>
          </p:nvGrpSpPr>
          <p:grpSpPr>
            <a:xfrm>
              <a:off x="3616728" y="1841162"/>
              <a:ext cx="4595282" cy="3529863"/>
              <a:chOff x="7223605" y="1034167"/>
              <a:chExt cx="4779675" cy="3671505"/>
            </a:xfrm>
            <a:solidFill>
              <a:schemeClr val="accent5">
                <a:alpha val="70000"/>
              </a:schemeClr>
            </a:solidFill>
          </p:grpSpPr>
          <p:sp>
            <p:nvSpPr>
              <p:cNvPr id="43" name="Oval 5">
                <a:extLst>
                  <a:ext uri="{FF2B5EF4-FFF2-40B4-BE49-F238E27FC236}">
                    <a16:creationId xmlns:a16="http://schemas.microsoft.com/office/drawing/2014/main" id="{2CC3AF81-8A1D-4AA9-BD1F-EF46CD34894A}"/>
                  </a:ext>
                </a:extLst>
              </p:cNvPr>
              <p:cNvSpPr/>
              <p:nvPr/>
            </p:nvSpPr>
            <p:spPr>
              <a:xfrm>
                <a:off x="7223605" y="2907942"/>
                <a:ext cx="333375" cy="33337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FFFFFF"/>
                  </a:solidFill>
                  <a:effectLst/>
                  <a:uLnTx/>
                  <a:uFillTx/>
                  <a:latin typeface="等线" panose="020F0502020204030204"/>
                  <a:ea typeface="+mn-ea"/>
                  <a:cs typeface="+mn-cs"/>
                </a:endParaRPr>
              </a:p>
            </p:txBody>
          </p:sp>
          <p:sp>
            <p:nvSpPr>
              <p:cNvPr id="44" name="Oval 6">
                <a:extLst>
                  <a:ext uri="{FF2B5EF4-FFF2-40B4-BE49-F238E27FC236}">
                    <a16:creationId xmlns:a16="http://schemas.microsoft.com/office/drawing/2014/main" id="{747F3F4B-0698-4D09-86E3-BCF7F8E7AE38}"/>
                  </a:ext>
                </a:extLst>
              </p:cNvPr>
              <p:cNvSpPr/>
              <p:nvPr/>
            </p:nvSpPr>
            <p:spPr>
              <a:xfrm>
                <a:off x="8051873" y="4113273"/>
                <a:ext cx="333375" cy="33337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FFFFFF"/>
                  </a:solidFill>
                  <a:effectLst/>
                  <a:uLnTx/>
                  <a:uFillTx/>
                  <a:latin typeface="等线" panose="020F0502020204030204"/>
                  <a:ea typeface="+mn-ea"/>
                  <a:cs typeface="+mn-cs"/>
                </a:endParaRPr>
              </a:p>
            </p:txBody>
          </p:sp>
          <p:sp>
            <p:nvSpPr>
              <p:cNvPr id="45" name="Oval 7">
                <a:extLst>
                  <a:ext uri="{FF2B5EF4-FFF2-40B4-BE49-F238E27FC236}">
                    <a16:creationId xmlns:a16="http://schemas.microsoft.com/office/drawing/2014/main" id="{775A5912-EAB3-4059-98E7-BFEC3E11D539}"/>
                  </a:ext>
                </a:extLst>
              </p:cNvPr>
              <p:cNvSpPr/>
              <p:nvPr/>
            </p:nvSpPr>
            <p:spPr>
              <a:xfrm>
                <a:off x="8576155" y="1922081"/>
                <a:ext cx="424970" cy="42497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FFFFFF"/>
                  </a:solidFill>
                  <a:effectLst/>
                  <a:uLnTx/>
                  <a:uFillTx/>
                  <a:latin typeface="等线" panose="020F0502020204030204"/>
                  <a:ea typeface="+mn-ea"/>
                  <a:cs typeface="+mn-cs"/>
                </a:endParaRPr>
              </a:p>
            </p:txBody>
          </p:sp>
          <p:sp>
            <p:nvSpPr>
              <p:cNvPr id="46" name="Oval 8">
                <a:extLst>
                  <a:ext uri="{FF2B5EF4-FFF2-40B4-BE49-F238E27FC236}">
                    <a16:creationId xmlns:a16="http://schemas.microsoft.com/office/drawing/2014/main" id="{3CDFAF17-B977-453C-ABAC-8D1916E0E601}"/>
                  </a:ext>
                </a:extLst>
              </p:cNvPr>
              <p:cNvSpPr/>
              <p:nvPr/>
            </p:nvSpPr>
            <p:spPr>
              <a:xfrm>
                <a:off x="9722732" y="3212873"/>
                <a:ext cx="424970" cy="42497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FFFFFF"/>
                  </a:solidFill>
                  <a:effectLst/>
                  <a:uLnTx/>
                  <a:uFillTx/>
                  <a:latin typeface="等线" panose="020F0502020204030204"/>
                  <a:ea typeface="+mn-ea"/>
                  <a:cs typeface="+mn-cs"/>
                </a:endParaRPr>
              </a:p>
            </p:txBody>
          </p:sp>
          <p:sp>
            <p:nvSpPr>
              <p:cNvPr id="47" name="Oval 9">
                <a:extLst>
                  <a:ext uri="{FF2B5EF4-FFF2-40B4-BE49-F238E27FC236}">
                    <a16:creationId xmlns:a16="http://schemas.microsoft.com/office/drawing/2014/main" id="{A752EA65-51DC-4DE8-9A6D-1F5F74CF384F}"/>
                  </a:ext>
                </a:extLst>
              </p:cNvPr>
              <p:cNvSpPr/>
              <p:nvPr/>
            </p:nvSpPr>
            <p:spPr>
              <a:xfrm>
                <a:off x="8647793" y="2598759"/>
                <a:ext cx="541253" cy="541253"/>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FFFFFF"/>
                  </a:solidFill>
                  <a:effectLst/>
                  <a:uLnTx/>
                  <a:uFillTx/>
                  <a:latin typeface="等线" panose="020F0502020204030204"/>
                  <a:ea typeface="+mn-ea"/>
                  <a:cs typeface="+mn-cs"/>
                </a:endParaRPr>
              </a:p>
            </p:txBody>
          </p:sp>
          <p:sp>
            <p:nvSpPr>
              <p:cNvPr id="48" name="Oval 10">
                <a:extLst>
                  <a:ext uri="{FF2B5EF4-FFF2-40B4-BE49-F238E27FC236}">
                    <a16:creationId xmlns:a16="http://schemas.microsoft.com/office/drawing/2014/main" id="{00142431-AD26-4D08-A969-8EC6400C6156}"/>
                  </a:ext>
                </a:extLst>
              </p:cNvPr>
              <p:cNvSpPr/>
              <p:nvPr/>
            </p:nvSpPr>
            <p:spPr>
              <a:xfrm>
                <a:off x="10147702" y="4164419"/>
                <a:ext cx="541253" cy="541253"/>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FFFFFF"/>
                  </a:solidFill>
                  <a:effectLst/>
                  <a:uLnTx/>
                  <a:uFillTx/>
                  <a:latin typeface="等线" panose="020F0502020204030204"/>
                  <a:ea typeface="+mn-ea"/>
                  <a:cs typeface="+mn-cs"/>
                </a:endParaRPr>
              </a:p>
            </p:txBody>
          </p:sp>
          <p:sp>
            <p:nvSpPr>
              <p:cNvPr id="49" name="Oval 11">
                <a:extLst>
                  <a:ext uri="{FF2B5EF4-FFF2-40B4-BE49-F238E27FC236}">
                    <a16:creationId xmlns:a16="http://schemas.microsoft.com/office/drawing/2014/main" id="{BDE8129C-C218-4FC6-85FB-5D4029C1A929}"/>
                  </a:ext>
                </a:extLst>
              </p:cNvPr>
              <p:cNvSpPr/>
              <p:nvPr/>
            </p:nvSpPr>
            <p:spPr>
              <a:xfrm>
                <a:off x="11150960" y="2163063"/>
                <a:ext cx="541253" cy="541253"/>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FFFFFF"/>
                  </a:solidFill>
                  <a:effectLst/>
                  <a:uLnTx/>
                  <a:uFillTx/>
                  <a:latin typeface="等线" panose="020F0502020204030204"/>
                  <a:ea typeface="+mn-ea"/>
                  <a:cs typeface="+mn-cs"/>
                </a:endParaRPr>
              </a:p>
            </p:txBody>
          </p:sp>
          <p:sp>
            <p:nvSpPr>
              <p:cNvPr id="50" name="Oval 12">
                <a:extLst>
                  <a:ext uri="{FF2B5EF4-FFF2-40B4-BE49-F238E27FC236}">
                    <a16:creationId xmlns:a16="http://schemas.microsoft.com/office/drawing/2014/main" id="{4E3E1BB6-6751-4357-831B-32E3D6B713D8}"/>
                  </a:ext>
                </a:extLst>
              </p:cNvPr>
              <p:cNvSpPr/>
              <p:nvPr/>
            </p:nvSpPr>
            <p:spPr>
              <a:xfrm>
                <a:off x="11294540" y="3501142"/>
                <a:ext cx="708740" cy="70874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FFFFFF"/>
                  </a:solidFill>
                  <a:effectLst/>
                  <a:uLnTx/>
                  <a:uFillTx/>
                  <a:latin typeface="等线" panose="020F0502020204030204"/>
                  <a:ea typeface="+mn-ea"/>
                  <a:cs typeface="+mn-cs"/>
                </a:endParaRPr>
              </a:p>
            </p:txBody>
          </p:sp>
          <p:sp>
            <p:nvSpPr>
              <p:cNvPr id="51" name="Oval 13">
                <a:extLst>
                  <a:ext uri="{FF2B5EF4-FFF2-40B4-BE49-F238E27FC236}">
                    <a16:creationId xmlns:a16="http://schemas.microsoft.com/office/drawing/2014/main" id="{C52CADE0-19A6-415D-860F-DC98EE52A6FD}"/>
                  </a:ext>
                </a:extLst>
              </p:cNvPr>
              <p:cNvSpPr/>
              <p:nvPr/>
            </p:nvSpPr>
            <p:spPr>
              <a:xfrm>
                <a:off x="9368362" y="1034167"/>
                <a:ext cx="708740" cy="70874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FFFFFF"/>
                  </a:solidFill>
                  <a:effectLst/>
                  <a:uLnTx/>
                  <a:uFillTx/>
                  <a:latin typeface="等线" panose="020F0502020204030204"/>
                  <a:ea typeface="+mn-ea"/>
                  <a:cs typeface="+mn-cs"/>
                </a:endParaRPr>
              </a:p>
            </p:txBody>
          </p:sp>
        </p:grpSp>
        <p:grpSp>
          <p:nvGrpSpPr>
            <p:cNvPr id="7" name="Group 14">
              <a:extLst>
                <a:ext uri="{FF2B5EF4-FFF2-40B4-BE49-F238E27FC236}">
                  <a16:creationId xmlns:a16="http://schemas.microsoft.com/office/drawing/2014/main" id="{546D2BBC-EEF8-4037-A11D-E158369C6F51}"/>
                </a:ext>
              </a:extLst>
            </p:cNvPr>
            <p:cNvGrpSpPr/>
            <p:nvPr/>
          </p:nvGrpSpPr>
          <p:grpSpPr>
            <a:xfrm>
              <a:off x="3509877" y="2135691"/>
              <a:ext cx="4603302" cy="3587260"/>
              <a:chOff x="7071416" y="1121303"/>
              <a:chExt cx="4788017" cy="3731205"/>
            </a:xfrm>
            <a:solidFill>
              <a:schemeClr val="accent2">
                <a:alpha val="40000"/>
              </a:schemeClr>
            </a:solidFill>
          </p:grpSpPr>
          <p:sp>
            <p:nvSpPr>
              <p:cNvPr id="33" name="Oval 15">
                <a:extLst>
                  <a:ext uri="{FF2B5EF4-FFF2-40B4-BE49-F238E27FC236}">
                    <a16:creationId xmlns:a16="http://schemas.microsoft.com/office/drawing/2014/main" id="{38D45C81-ACA0-4CA8-9586-292EED339A78}"/>
                  </a:ext>
                </a:extLst>
              </p:cNvPr>
              <p:cNvSpPr/>
              <p:nvPr/>
            </p:nvSpPr>
            <p:spPr>
              <a:xfrm>
                <a:off x="7071416" y="1970672"/>
                <a:ext cx="604144" cy="60414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FFFFFF"/>
                  </a:solidFill>
                  <a:effectLst/>
                  <a:uLnTx/>
                  <a:uFillTx/>
                  <a:latin typeface="等线" panose="020F0502020204030204"/>
                  <a:ea typeface="+mn-ea"/>
                  <a:cs typeface="+mn-cs"/>
                </a:endParaRPr>
              </a:p>
            </p:txBody>
          </p:sp>
          <p:sp>
            <p:nvSpPr>
              <p:cNvPr id="34" name="Oval 16">
                <a:extLst>
                  <a:ext uri="{FF2B5EF4-FFF2-40B4-BE49-F238E27FC236}">
                    <a16:creationId xmlns:a16="http://schemas.microsoft.com/office/drawing/2014/main" id="{7D14E244-3A72-4C16-93BD-1A9603255838}"/>
                  </a:ext>
                </a:extLst>
              </p:cNvPr>
              <p:cNvSpPr/>
              <p:nvPr/>
            </p:nvSpPr>
            <p:spPr>
              <a:xfrm>
                <a:off x="10028885" y="2266337"/>
                <a:ext cx="778885" cy="77888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FFFFFF"/>
                  </a:solidFill>
                  <a:effectLst/>
                  <a:uLnTx/>
                  <a:uFillTx/>
                  <a:latin typeface="等线" panose="020F0502020204030204"/>
                  <a:ea typeface="+mn-ea"/>
                  <a:cs typeface="+mn-cs"/>
                </a:endParaRPr>
              </a:p>
            </p:txBody>
          </p:sp>
          <p:sp>
            <p:nvSpPr>
              <p:cNvPr id="35" name="Oval 17">
                <a:extLst>
                  <a:ext uri="{FF2B5EF4-FFF2-40B4-BE49-F238E27FC236}">
                    <a16:creationId xmlns:a16="http://schemas.microsoft.com/office/drawing/2014/main" id="{1D74B95C-5F75-467D-9233-F0F582183FB8}"/>
                  </a:ext>
                </a:extLst>
              </p:cNvPr>
              <p:cNvSpPr/>
              <p:nvPr/>
            </p:nvSpPr>
            <p:spPr>
              <a:xfrm>
                <a:off x="8444595" y="4164419"/>
                <a:ext cx="688089" cy="68808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FFFFFF"/>
                  </a:solidFill>
                  <a:effectLst/>
                  <a:uLnTx/>
                  <a:uFillTx/>
                  <a:latin typeface="等线" panose="020F0502020204030204"/>
                  <a:ea typeface="+mn-ea"/>
                  <a:cs typeface="+mn-cs"/>
                </a:endParaRPr>
              </a:p>
            </p:txBody>
          </p:sp>
          <p:sp>
            <p:nvSpPr>
              <p:cNvPr id="36" name="Oval 18">
                <a:extLst>
                  <a:ext uri="{FF2B5EF4-FFF2-40B4-BE49-F238E27FC236}">
                    <a16:creationId xmlns:a16="http://schemas.microsoft.com/office/drawing/2014/main" id="{B1EC4870-D7AF-4656-BEFB-8CFDED67BD08}"/>
                  </a:ext>
                </a:extLst>
              </p:cNvPr>
              <p:cNvSpPr/>
              <p:nvPr/>
            </p:nvSpPr>
            <p:spPr>
              <a:xfrm>
                <a:off x="10677336" y="3875937"/>
                <a:ext cx="260868" cy="26086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FFFFFF"/>
                  </a:solidFill>
                  <a:effectLst/>
                  <a:uLnTx/>
                  <a:uFillTx/>
                  <a:latin typeface="等线" panose="020F0502020204030204"/>
                  <a:ea typeface="+mn-ea"/>
                  <a:cs typeface="+mn-cs"/>
                </a:endParaRPr>
              </a:p>
            </p:txBody>
          </p:sp>
          <p:sp>
            <p:nvSpPr>
              <p:cNvPr id="37" name="Oval 19">
                <a:extLst>
                  <a:ext uri="{FF2B5EF4-FFF2-40B4-BE49-F238E27FC236}">
                    <a16:creationId xmlns:a16="http://schemas.microsoft.com/office/drawing/2014/main" id="{BC10DEA2-8BF8-4063-9E98-7CC78FC1B143}"/>
                  </a:ext>
                </a:extLst>
              </p:cNvPr>
              <p:cNvSpPr/>
              <p:nvPr/>
            </p:nvSpPr>
            <p:spPr>
              <a:xfrm>
                <a:off x="11598565" y="2698248"/>
                <a:ext cx="260868" cy="26086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FFFFFF"/>
                  </a:solidFill>
                  <a:effectLst/>
                  <a:uLnTx/>
                  <a:uFillTx/>
                  <a:latin typeface="等线" panose="020F0502020204030204"/>
                  <a:ea typeface="+mn-ea"/>
                  <a:cs typeface="+mn-cs"/>
                </a:endParaRPr>
              </a:p>
            </p:txBody>
          </p:sp>
          <p:sp>
            <p:nvSpPr>
              <p:cNvPr id="38" name="Oval 20">
                <a:extLst>
                  <a:ext uri="{FF2B5EF4-FFF2-40B4-BE49-F238E27FC236}">
                    <a16:creationId xmlns:a16="http://schemas.microsoft.com/office/drawing/2014/main" id="{ABFA8023-B0FC-4219-97B8-2ABFF0289DFF}"/>
                  </a:ext>
                </a:extLst>
              </p:cNvPr>
              <p:cNvSpPr/>
              <p:nvPr/>
            </p:nvSpPr>
            <p:spPr>
              <a:xfrm>
                <a:off x="7688405" y="2869385"/>
                <a:ext cx="260868" cy="26086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FFFFFF"/>
                  </a:solidFill>
                  <a:effectLst/>
                  <a:uLnTx/>
                  <a:uFillTx/>
                  <a:latin typeface="等线" panose="020F0502020204030204"/>
                  <a:ea typeface="+mn-ea"/>
                  <a:cs typeface="+mn-cs"/>
                </a:endParaRPr>
              </a:p>
            </p:txBody>
          </p:sp>
          <p:sp>
            <p:nvSpPr>
              <p:cNvPr id="39" name="Oval 21">
                <a:extLst>
                  <a:ext uri="{FF2B5EF4-FFF2-40B4-BE49-F238E27FC236}">
                    <a16:creationId xmlns:a16="http://schemas.microsoft.com/office/drawing/2014/main" id="{745F7E2A-308E-4780-AAFE-A26B80A612E3}"/>
                  </a:ext>
                </a:extLst>
              </p:cNvPr>
              <p:cNvSpPr/>
              <p:nvPr/>
            </p:nvSpPr>
            <p:spPr>
              <a:xfrm>
                <a:off x="9592298" y="1865334"/>
                <a:ext cx="260868" cy="26086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FFFFFF"/>
                  </a:solidFill>
                  <a:effectLst/>
                  <a:uLnTx/>
                  <a:uFillTx/>
                  <a:latin typeface="等线" panose="020F0502020204030204"/>
                  <a:ea typeface="+mn-ea"/>
                  <a:cs typeface="+mn-cs"/>
                </a:endParaRPr>
              </a:p>
            </p:txBody>
          </p:sp>
          <p:sp>
            <p:nvSpPr>
              <p:cNvPr id="40" name="Oval 22">
                <a:extLst>
                  <a:ext uri="{FF2B5EF4-FFF2-40B4-BE49-F238E27FC236}">
                    <a16:creationId xmlns:a16="http://schemas.microsoft.com/office/drawing/2014/main" id="{FEF21B75-DAB2-4539-B9C4-3612F2B4D670}"/>
                  </a:ext>
                </a:extLst>
              </p:cNvPr>
              <p:cNvSpPr/>
              <p:nvPr/>
            </p:nvSpPr>
            <p:spPr>
              <a:xfrm>
                <a:off x="7838577" y="1121303"/>
                <a:ext cx="759965" cy="75996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FFFFFF"/>
                  </a:solidFill>
                  <a:effectLst/>
                  <a:uLnTx/>
                  <a:uFillTx/>
                  <a:latin typeface="等线" panose="020F0502020204030204"/>
                  <a:ea typeface="+mn-ea"/>
                  <a:cs typeface="+mn-cs"/>
                </a:endParaRPr>
              </a:p>
            </p:txBody>
          </p:sp>
          <p:sp>
            <p:nvSpPr>
              <p:cNvPr id="41" name="Oval 23">
                <a:extLst>
                  <a:ext uri="{FF2B5EF4-FFF2-40B4-BE49-F238E27FC236}">
                    <a16:creationId xmlns:a16="http://schemas.microsoft.com/office/drawing/2014/main" id="{654DBC8B-5F29-4A79-BA9D-4D05345F1DB5}"/>
                  </a:ext>
                </a:extLst>
              </p:cNvPr>
              <p:cNvSpPr/>
              <p:nvPr/>
            </p:nvSpPr>
            <p:spPr>
              <a:xfrm>
                <a:off x="9111041" y="3345133"/>
                <a:ext cx="156009" cy="15600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FFFFFF"/>
                  </a:solidFill>
                  <a:effectLst/>
                  <a:uLnTx/>
                  <a:uFillTx/>
                  <a:latin typeface="等线" panose="020F0502020204030204"/>
                  <a:ea typeface="+mn-ea"/>
                  <a:cs typeface="+mn-cs"/>
                </a:endParaRPr>
              </a:p>
            </p:txBody>
          </p:sp>
          <p:sp>
            <p:nvSpPr>
              <p:cNvPr id="42" name="Oval 24">
                <a:extLst>
                  <a:ext uri="{FF2B5EF4-FFF2-40B4-BE49-F238E27FC236}">
                    <a16:creationId xmlns:a16="http://schemas.microsoft.com/office/drawing/2014/main" id="{87B1824A-3599-487B-845A-B3A36209AE95}"/>
                  </a:ext>
                </a:extLst>
              </p:cNvPr>
              <p:cNvSpPr/>
              <p:nvPr/>
            </p:nvSpPr>
            <p:spPr>
              <a:xfrm>
                <a:off x="11106733" y="2785942"/>
                <a:ext cx="156009" cy="15600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FFFFFF"/>
                  </a:solidFill>
                  <a:effectLst/>
                  <a:uLnTx/>
                  <a:uFillTx/>
                  <a:latin typeface="等线" panose="020F0502020204030204"/>
                  <a:ea typeface="+mn-ea"/>
                  <a:cs typeface="+mn-cs"/>
                </a:endParaRPr>
              </a:p>
            </p:txBody>
          </p:sp>
        </p:grpSp>
        <p:grpSp>
          <p:nvGrpSpPr>
            <p:cNvPr id="8" name="Group 25">
              <a:extLst>
                <a:ext uri="{FF2B5EF4-FFF2-40B4-BE49-F238E27FC236}">
                  <a16:creationId xmlns:a16="http://schemas.microsoft.com/office/drawing/2014/main" id="{FF886B4E-D257-4FDD-AADF-88C8F9522EB6}"/>
                </a:ext>
              </a:extLst>
            </p:cNvPr>
            <p:cNvGrpSpPr/>
            <p:nvPr/>
          </p:nvGrpSpPr>
          <p:grpSpPr>
            <a:xfrm>
              <a:off x="4122282" y="2455793"/>
              <a:ext cx="3982981" cy="3313485"/>
              <a:chOff x="7242069" y="1000204"/>
              <a:chExt cx="4142805" cy="3446444"/>
            </a:xfrm>
            <a:solidFill>
              <a:schemeClr val="accent1">
                <a:alpha val="20000"/>
              </a:schemeClr>
            </a:solidFill>
          </p:grpSpPr>
          <p:sp>
            <p:nvSpPr>
              <p:cNvPr id="23" name="Oval 26">
                <a:extLst>
                  <a:ext uri="{FF2B5EF4-FFF2-40B4-BE49-F238E27FC236}">
                    <a16:creationId xmlns:a16="http://schemas.microsoft.com/office/drawing/2014/main" id="{010F4133-8F5D-4C7F-84AE-C72257A5451D}"/>
                  </a:ext>
                </a:extLst>
              </p:cNvPr>
              <p:cNvSpPr/>
              <p:nvPr/>
            </p:nvSpPr>
            <p:spPr>
              <a:xfrm>
                <a:off x="8373143" y="1000204"/>
                <a:ext cx="1180478" cy="118047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FFFFFF"/>
                  </a:solidFill>
                  <a:effectLst/>
                  <a:uLnTx/>
                  <a:uFillTx/>
                  <a:latin typeface="等线" panose="020F0502020204030204"/>
                  <a:ea typeface="+mn-ea"/>
                  <a:cs typeface="+mn-cs"/>
                </a:endParaRPr>
              </a:p>
            </p:txBody>
          </p:sp>
          <p:sp>
            <p:nvSpPr>
              <p:cNvPr id="24" name="Oval 27">
                <a:extLst>
                  <a:ext uri="{FF2B5EF4-FFF2-40B4-BE49-F238E27FC236}">
                    <a16:creationId xmlns:a16="http://schemas.microsoft.com/office/drawing/2014/main" id="{D05FB641-C799-40BD-B3E5-B41B216288C9}"/>
                  </a:ext>
                </a:extLst>
              </p:cNvPr>
              <p:cNvSpPr/>
              <p:nvPr/>
            </p:nvSpPr>
            <p:spPr>
              <a:xfrm>
                <a:off x="9793458" y="1543897"/>
                <a:ext cx="673424" cy="67342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FFFFFF"/>
                  </a:solidFill>
                  <a:effectLst/>
                  <a:uLnTx/>
                  <a:uFillTx/>
                  <a:latin typeface="等线" panose="020F0502020204030204"/>
                  <a:ea typeface="+mn-ea"/>
                  <a:cs typeface="+mn-cs"/>
                </a:endParaRPr>
              </a:p>
            </p:txBody>
          </p:sp>
          <p:sp>
            <p:nvSpPr>
              <p:cNvPr id="25" name="Oval 28">
                <a:extLst>
                  <a:ext uri="{FF2B5EF4-FFF2-40B4-BE49-F238E27FC236}">
                    <a16:creationId xmlns:a16="http://schemas.microsoft.com/office/drawing/2014/main" id="{D75F8D9E-72BE-4BF9-931F-8FB006C740DA}"/>
                  </a:ext>
                </a:extLst>
              </p:cNvPr>
              <p:cNvSpPr/>
              <p:nvPr/>
            </p:nvSpPr>
            <p:spPr>
              <a:xfrm>
                <a:off x="7728795" y="3028844"/>
                <a:ext cx="608999" cy="60899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FFFFFF"/>
                  </a:solidFill>
                  <a:effectLst/>
                  <a:uLnTx/>
                  <a:uFillTx/>
                  <a:latin typeface="等线" panose="020F0502020204030204"/>
                  <a:ea typeface="+mn-ea"/>
                  <a:cs typeface="+mn-cs"/>
                </a:endParaRPr>
              </a:p>
            </p:txBody>
          </p:sp>
          <p:sp>
            <p:nvSpPr>
              <p:cNvPr id="26" name="Oval 29">
                <a:extLst>
                  <a:ext uri="{FF2B5EF4-FFF2-40B4-BE49-F238E27FC236}">
                    <a16:creationId xmlns:a16="http://schemas.microsoft.com/office/drawing/2014/main" id="{69F68248-AEAC-4C37-A8A1-C3DF4329CB3D}"/>
                  </a:ext>
                </a:extLst>
              </p:cNvPr>
              <p:cNvSpPr/>
              <p:nvPr/>
            </p:nvSpPr>
            <p:spPr>
              <a:xfrm>
                <a:off x="10055853" y="2924511"/>
                <a:ext cx="608999" cy="60899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FFFFFF"/>
                  </a:solidFill>
                  <a:effectLst/>
                  <a:uLnTx/>
                  <a:uFillTx/>
                  <a:latin typeface="等线" panose="020F0502020204030204"/>
                  <a:ea typeface="+mn-ea"/>
                  <a:cs typeface="+mn-cs"/>
                </a:endParaRPr>
              </a:p>
            </p:txBody>
          </p:sp>
          <p:sp>
            <p:nvSpPr>
              <p:cNvPr id="27" name="Oval 30">
                <a:extLst>
                  <a:ext uri="{FF2B5EF4-FFF2-40B4-BE49-F238E27FC236}">
                    <a16:creationId xmlns:a16="http://schemas.microsoft.com/office/drawing/2014/main" id="{5E907C7D-F178-4F1C-8494-28F1F2D73739}"/>
                  </a:ext>
                </a:extLst>
              </p:cNvPr>
              <p:cNvSpPr/>
              <p:nvPr/>
            </p:nvSpPr>
            <p:spPr>
              <a:xfrm>
                <a:off x="7242069" y="1362158"/>
                <a:ext cx="550776" cy="550776"/>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FFFFFF"/>
                  </a:solidFill>
                  <a:effectLst/>
                  <a:uLnTx/>
                  <a:uFillTx/>
                  <a:latin typeface="等线" panose="020F0502020204030204"/>
                  <a:ea typeface="+mn-ea"/>
                  <a:cs typeface="+mn-cs"/>
                </a:endParaRPr>
              </a:p>
            </p:txBody>
          </p:sp>
          <p:sp>
            <p:nvSpPr>
              <p:cNvPr id="28" name="Oval 31">
                <a:extLst>
                  <a:ext uri="{FF2B5EF4-FFF2-40B4-BE49-F238E27FC236}">
                    <a16:creationId xmlns:a16="http://schemas.microsoft.com/office/drawing/2014/main" id="{C2A06AD1-1469-48F8-B894-1AE705FC6345}"/>
                  </a:ext>
                </a:extLst>
              </p:cNvPr>
              <p:cNvSpPr/>
              <p:nvPr/>
            </p:nvSpPr>
            <p:spPr>
              <a:xfrm>
                <a:off x="7460786" y="2351919"/>
                <a:ext cx="460611" cy="46061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FFFFFF"/>
                  </a:solidFill>
                  <a:effectLst/>
                  <a:uLnTx/>
                  <a:uFillTx/>
                  <a:latin typeface="等线" panose="020F0502020204030204"/>
                  <a:ea typeface="+mn-ea"/>
                  <a:cs typeface="+mn-cs"/>
                </a:endParaRPr>
              </a:p>
            </p:txBody>
          </p:sp>
          <p:sp>
            <p:nvSpPr>
              <p:cNvPr id="29" name="Oval 32">
                <a:extLst>
                  <a:ext uri="{FF2B5EF4-FFF2-40B4-BE49-F238E27FC236}">
                    <a16:creationId xmlns:a16="http://schemas.microsoft.com/office/drawing/2014/main" id="{94B70526-78FD-4D78-9847-4D400E64948C}"/>
                  </a:ext>
                </a:extLst>
              </p:cNvPr>
              <p:cNvSpPr/>
              <p:nvPr/>
            </p:nvSpPr>
            <p:spPr>
              <a:xfrm>
                <a:off x="10593255" y="2042438"/>
                <a:ext cx="460611" cy="46061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FFFFFF"/>
                  </a:solidFill>
                  <a:effectLst/>
                  <a:uLnTx/>
                  <a:uFillTx/>
                  <a:latin typeface="等线" panose="020F0502020204030204"/>
                  <a:ea typeface="+mn-ea"/>
                  <a:cs typeface="+mn-cs"/>
                </a:endParaRPr>
              </a:p>
            </p:txBody>
          </p:sp>
          <p:sp>
            <p:nvSpPr>
              <p:cNvPr id="30" name="Oval 33">
                <a:extLst>
                  <a:ext uri="{FF2B5EF4-FFF2-40B4-BE49-F238E27FC236}">
                    <a16:creationId xmlns:a16="http://schemas.microsoft.com/office/drawing/2014/main" id="{D4351784-8090-47A5-950A-FAAC035B0F0A}"/>
                  </a:ext>
                </a:extLst>
              </p:cNvPr>
              <p:cNvSpPr/>
              <p:nvPr/>
            </p:nvSpPr>
            <p:spPr>
              <a:xfrm>
                <a:off x="11048082" y="1704777"/>
                <a:ext cx="336792" cy="33679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FFFFFF"/>
                  </a:solidFill>
                  <a:effectLst/>
                  <a:uLnTx/>
                  <a:uFillTx/>
                  <a:latin typeface="等线" panose="020F0502020204030204"/>
                  <a:ea typeface="+mn-ea"/>
                  <a:cs typeface="+mn-cs"/>
                </a:endParaRPr>
              </a:p>
            </p:txBody>
          </p:sp>
          <p:sp>
            <p:nvSpPr>
              <p:cNvPr id="31" name="Oval 34">
                <a:extLst>
                  <a:ext uri="{FF2B5EF4-FFF2-40B4-BE49-F238E27FC236}">
                    <a16:creationId xmlns:a16="http://schemas.microsoft.com/office/drawing/2014/main" id="{575B6807-E8D2-44B5-A878-0A2B31C8C7E4}"/>
                  </a:ext>
                </a:extLst>
              </p:cNvPr>
              <p:cNvSpPr/>
              <p:nvPr/>
            </p:nvSpPr>
            <p:spPr>
              <a:xfrm>
                <a:off x="11027370" y="3450791"/>
                <a:ext cx="336792" cy="33679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FFFFFF"/>
                  </a:solidFill>
                  <a:effectLst/>
                  <a:uLnTx/>
                  <a:uFillTx/>
                  <a:latin typeface="等线" panose="020F0502020204030204"/>
                  <a:ea typeface="+mn-ea"/>
                  <a:cs typeface="+mn-cs"/>
                </a:endParaRPr>
              </a:p>
            </p:txBody>
          </p:sp>
          <p:sp>
            <p:nvSpPr>
              <p:cNvPr id="32" name="Oval 35">
                <a:extLst>
                  <a:ext uri="{FF2B5EF4-FFF2-40B4-BE49-F238E27FC236}">
                    <a16:creationId xmlns:a16="http://schemas.microsoft.com/office/drawing/2014/main" id="{E56FE2A0-150D-4752-8321-3B0859AB5D83}"/>
                  </a:ext>
                </a:extLst>
              </p:cNvPr>
              <p:cNvSpPr/>
              <p:nvPr/>
            </p:nvSpPr>
            <p:spPr>
              <a:xfrm>
                <a:off x="8453970" y="3618181"/>
                <a:ext cx="828467" cy="82846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FFFFFF"/>
                  </a:solidFill>
                  <a:effectLst/>
                  <a:uLnTx/>
                  <a:uFillTx/>
                  <a:latin typeface="等线" panose="020F0502020204030204"/>
                  <a:ea typeface="+mn-ea"/>
                  <a:cs typeface="+mn-cs"/>
                </a:endParaRPr>
              </a:p>
            </p:txBody>
          </p:sp>
        </p:grpSp>
        <p:sp>
          <p:nvSpPr>
            <p:cNvPr id="9" name="Oval 38">
              <a:extLst>
                <a:ext uri="{FF2B5EF4-FFF2-40B4-BE49-F238E27FC236}">
                  <a16:creationId xmlns:a16="http://schemas.microsoft.com/office/drawing/2014/main" id="{9625FEB4-7457-4743-82BA-FFE463CFE1B7}"/>
                </a:ext>
              </a:extLst>
            </p:cNvPr>
            <p:cNvSpPr/>
            <p:nvPr/>
          </p:nvSpPr>
          <p:spPr>
            <a:xfrm>
              <a:off x="5387848" y="2944521"/>
              <a:ext cx="1381715" cy="1381715"/>
            </a:xfrm>
            <a:prstGeom prst="ellipse">
              <a:avLst/>
            </a:prstGeom>
            <a:solidFill>
              <a:schemeClr val="accent5">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FFFFFF"/>
                </a:solidFill>
                <a:effectLst/>
                <a:uLnTx/>
                <a:uFillTx/>
                <a:latin typeface="等线" panose="020F0502020204030204"/>
                <a:ea typeface="+mn-ea"/>
                <a:cs typeface="+mn-cs"/>
              </a:endParaRPr>
            </a:p>
          </p:txBody>
        </p:sp>
        <p:sp>
          <p:nvSpPr>
            <p:cNvPr id="10" name="Oval 41">
              <a:extLst>
                <a:ext uri="{FF2B5EF4-FFF2-40B4-BE49-F238E27FC236}">
                  <a16:creationId xmlns:a16="http://schemas.microsoft.com/office/drawing/2014/main" id="{D4D3F1E9-CB87-47B5-97DC-4A813372DDF6}"/>
                </a:ext>
              </a:extLst>
            </p:cNvPr>
            <p:cNvSpPr/>
            <p:nvPr/>
          </p:nvSpPr>
          <p:spPr>
            <a:xfrm>
              <a:off x="6889755" y="3753926"/>
              <a:ext cx="1381715" cy="1381715"/>
            </a:xfrm>
            <a:prstGeom prst="ellipse">
              <a:avLst/>
            </a:prstGeom>
            <a:solidFill>
              <a:schemeClr val="accent5">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FFFFFF"/>
                </a:solidFill>
                <a:effectLst/>
                <a:uLnTx/>
                <a:uFillTx/>
                <a:latin typeface="等线" panose="020F0502020204030204"/>
                <a:ea typeface="+mn-ea"/>
                <a:cs typeface="+mn-cs"/>
              </a:endParaRPr>
            </a:p>
          </p:txBody>
        </p:sp>
        <p:sp>
          <p:nvSpPr>
            <p:cNvPr id="11" name="Oval 44">
              <a:extLst>
                <a:ext uri="{FF2B5EF4-FFF2-40B4-BE49-F238E27FC236}">
                  <a16:creationId xmlns:a16="http://schemas.microsoft.com/office/drawing/2014/main" id="{AE2C404F-842E-4621-8C17-1905CCA0488F}"/>
                </a:ext>
              </a:extLst>
            </p:cNvPr>
            <p:cNvSpPr/>
            <p:nvPr/>
          </p:nvSpPr>
          <p:spPr>
            <a:xfrm>
              <a:off x="3213129" y="2467353"/>
              <a:ext cx="1381715" cy="1381715"/>
            </a:xfrm>
            <a:prstGeom prst="ellipse">
              <a:avLst/>
            </a:prstGeom>
            <a:solidFill>
              <a:schemeClr val="accent3">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FFFFFF"/>
                </a:solidFill>
                <a:effectLst/>
                <a:uLnTx/>
                <a:uFillTx/>
                <a:latin typeface="等线" panose="020F0502020204030204"/>
                <a:ea typeface="+mn-ea"/>
                <a:cs typeface="+mn-cs"/>
              </a:endParaRPr>
            </a:p>
          </p:txBody>
        </p:sp>
        <p:sp>
          <p:nvSpPr>
            <p:cNvPr id="12" name="Oval 47">
              <a:extLst>
                <a:ext uri="{FF2B5EF4-FFF2-40B4-BE49-F238E27FC236}">
                  <a16:creationId xmlns:a16="http://schemas.microsoft.com/office/drawing/2014/main" id="{85598F2C-72C3-4033-BA9B-9CAFA21E061A}"/>
                </a:ext>
              </a:extLst>
            </p:cNvPr>
            <p:cNvSpPr/>
            <p:nvPr/>
          </p:nvSpPr>
          <p:spPr>
            <a:xfrm>
              <a:off x="4398439" y="2073019"/>
              <a:ext cx="1456414" cy="1456414"/>
            </a:xfrm>
            <a:prstGeom prst="ellipse">
              <a:avLst/>
            </a:prstGeom>
            <a:solidFill>
              <a:schemeClr val="accent2">
                <a:alpha val="6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FFFFFF"/>
                </a:solidFill>
                <a:effectLst/>
                <a:uLnTx/>
                <a:uFillTx/>
                <a:latin typeface="等线" panose="020F0502020204030204"/>
                <a:ea typeface="+mn-ea"/>
                <a:cs typeface="+mn-cs"/>
              </a:endParaRPr>
            </a:p>
          </p:txBody>
        </p:sp>
        <p:sp>
          <p:nvSpPr>
            <p:cNvPr id="13" name="Oval 50">
              <a:extLst>
                <a:ext uri="{FF2B5EF4-FFF2-40B4-BE49-F238E27FC236}">
                  <a16:creationId xmlns:a16="http://schemas.microsoft.com/office/drawing/2014/main" id="{B677DB07-4607-46EC-B88B-95682A06A851}"/>
                </a:ext>
              </a:extLst>
            </p:cNvPr>
            <p:cNvSpPr/>
            <p:nvPr/>
          </p:nvSpPr>
          <p:spPr>
            <a:xfrm>
              <a:off x="7152684" y="2705759"/>
              <a:ext cx="1381715" cy="1381715"/>
            </a:xfrm>
            <a:prstGeom prst="ellipse">
              <a:avLst/>
            </a:prstGeom>
            <a:solidFill>
              <a:schemeClr val="accent1">
                <a:alpha val="7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FFFFFF"/>
                </a:solidFill>
                <a:effectLst/>
                <a:uLnTx/>
                <a:uFillTx/>
                <a:latin typeface="等线" panose="020F0502020204030204"/>
                <a:ea typeface="+mn-ea"/>
                <a:cs typeface="+mn-cs"/>
              </a:endParaRPr>
            </a:p>
          </p:txBody>
        </p:sp>
        <p:sp>
          <p:nvSpPr>
            <p:cNvPr id="14" name="Oval 53">
              <a:extLst>
                <a:ext uri="{FF2B5EF4-FFF2-40B4-BE49-F238E27FC236}">
                  <a16:creationId xmlns:a16="http://schemas.microsoft.com/office/drawing/2014/main" id="{C7DB952A-CC9A-45F2-9ED6-8069BCD14299}"/>
                </a:ext>
              </a:extLst>
            </p:cNvPr>
            <p:cNvSpPr/>
            <p:nvPr/>
          </p:nvSpPr>
          <p:spPr>
            <a:xfrm>
              <a:off x="6199697" y="2009951"/>
              <a:ext cx="1381715" cy="1381715"/>
            </a:xfrm>
            <a:prstGeom prst="ellipse">
              <a:avLst/>
            </a:prstGeom>
            <a:solidFill>
              <a:schemeClr val="accent3">
                <a:alpha val="6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FFFFFF"/>
                </a:solidFill>
                <a:effectLst/>
                <a:uLnTx/>
                <a:uFillTx/>
                <a:latin typeface="等线" panose="020F0502020204030204"/>
                <a:ea typeface="+mn-ea"/>
                <a:cs typeface="+mn-cs"/>
              </a:endParaRPr>
            </a:p>
          </p:txBody>
        </p:sp>
        <p:sp>
          <p:nvSpPr>
            <p:cNvPr id="15" name="Oval 56">
              <a:extLst>
                <a:ext uri="{FF2B5EF4-FFF2-40B4-BE49-F238E27FC236}">
                  <a16:creationId xmlns:a16="http://schemas.microsoft.com/office/drawing/2014/main" id="{A300EE5D-D733-4705-A479-20A71783A1CC}"/>
                </a:ext>
              </a:extLst>
            </p:cNvPr>
            <p:cNvSpPr/>
            <p:nvPr/>
          </p:nvSpPr>
          <p:spPr>
            <a:xfrm>
              <a:off x="3744867" y="3657868"/>
              <a:ext cx="1381715" cy="1381715"/>
            </a:xfrm>
            <a:prstGeom prst="ellipse">
              <a:avLst/>
            </a:prstGeom>
            <a:solidFill>
              <a:schemeClr val="accent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dirty="0">
                <a:ln>
                  <a:noFill/>
                </a:ln>
                <a:solidFill>
                  <a:srgbClr val="FFFFFF"/>
                </a:solidFill>
                <a:effectLst/>
                <a:uLnTx/>
                <a:uFillTx/>
                <a:latin typeface="等线" panose="020F0502020204030204"/>
                <a:ea typeface="+mn-ea"/>
                <a:cs typeface="+mn-cs"/>
              </a:endParaRPr>
            </a:p>
          </p:txBody>
        </p:sp>
        <p:sp>
          <p:nvSpPr>
            <p:cNvPr id="16" name="Freeform 28">
              <a:extLst>
                <a:ext uri="{FF2B5EF4-FFF2-40B4-BE49-F238E27FC236}">
                  <a16:creationId xmlns:a16="http://schemas.microsoft.com/office/drawing/2014/main" id="{9D09C4FE-2C9D-461C-A8A7-5247328B565B}"/>
                </a:ext>
              </a:extLst>
            </p:cNvPr>
            <p:cNvSpPr>
              <a:spLocks noChangeArrowheads="1"/>
            </p:cNvSpPr>
            <p:nvPr/>
          </p:nvSpPr>
          <p:spPr bwMode="auto">
            <a:xfrm>
              <a:off x="5854859" y="3419616"/>
              <a:ext cx="501748" cy="419900"/>
            </a:xfrm>
            <a:custGeom>
              <a:avLst/>
              <a:gdLst>
                <a:gd name="T0" fmla="*/ 55735 w 498"/>
                <a:gd name="T1" fmla="*/ 36300 h 418"/>
                <a:gd name="T2" fmla="*/ 55735 w 498"/>
                <a:gd name="T3" fmla="*/ 36300 h 418"/>
                <a:gd name="T4" fmla="*/ 16181 w 498"/>
                <a:gd name="T5" fmla="*/ 115622 h 418"/>
                <a:gd name="T6" fmla="*/ 155518 w 498"/>
                <a:gd name="T7" fmla="*/ 51985 h 418"/>
                <a:gd name="T8" fmla="*/ 4045 w 498"/>
                <a:gd name="T9" fmla="*/ 171192 h 418"/>
                <a:gd name="T10" fmla="*/ 19777 w 498"/>
                <a:gd name="T11" fmla="*/ 179258 h 418"/>
                <a:gd name="T12" fmla="*/ 43599 w 498"/>
                <a:gd name="T13" fmla="*/ 139373 h 418"/>
                <a:gd name="T14" fmla="*/ 131696 w 498"/>
                <a:gd name="T15" fmla="*/ 139373 h 418"/>
                <a:gd name="T16" fmla="*/ 210803 w 498"/>
                <a:gd name="T17" fmla="*/ 32267 h 418"/>
                <a:gd name="T18" fmla="*/ 55735 w 498"/>
                <a:gd name="T19" fmla="*/ 36300 h 41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98" h="418">
                  <a:moveTo>
                    <a:pt x="124" y="81"/>
                  </a:moveTo>
                  <a:lnTo>
                    <a:pt x="124" y="81"/>
                  </a:lnTo>
                  <a:cubicBezTo>
                    <a:pt x="27" y="134"/>
                    <a:pt x="36" y="222"/>
                    <a:pt x="36" y="258"/>
                  </a:cubicBezTo>
                  <a:cubicBezTo>
                    <a:pt x="159" y="107"/>
                    <a:pt x="346" y="116"/>
                    <a:pt x="346" y="116"/>
                  </a:cubicBezTo>
                  <a:cubicBezTo>
                    <a:pt x="346" y="116"/>
                    <a:pt x="80" y="204"/>
                    <a:pt x="9" y="382"/>
                  </a:cubicBezTo>
                  <a:cubicBezTo>
                    <a:pt x="0" y="400"/>
                    <a:pt x="36" y="417"/>
                    <a:pt x="44" y="400"/>
                  </a:cubicBezTo>
                  <a:cubicBezTo>
                    <a:pt x="62" y="355"/>
                    <a:pt x="97" y="311"/>
                    <a:pt x="97" y="311"/>
                  </a:cubicBezTo>
                  <a:cubicBezTo>
                    <a:pt x="151" y="329"/>
                    <a:pt x="230" y="355"/>
                    <a:pt x="293" y="311"/>
                  </a:cubicBezTo>
                  <a:cubicBezTo>
                    <a:pt x="363" y="258"/>
                    <a:pt x="363" y="134"/>
                    <a:pt x="469" y="72"/>
                  </a:cubicBezTo>
                  <a:cubicBezTo>
                    <a:pt x="497" y="63"/>
                    <a:pt x="249" y="0"/>
                    <a:pt x="124" y="81"/>
                  </a:cubicBezTo>
                </a:path>
              </a:pathLst>
            </a:custGeom>
            <a:solidFill>
              <a:schemeClr val="bg1"/>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7"/>
                      </a:srgbClr>
                    </a:outerShdw>
                  </a:effectLst>
                </a14:hiddenEffects>
              </a:ext>
            </a:extLst>
          </p:spPr>
          <p:txBody>
            <a:bodyPr wrap="none" lIns="34290" tIns="17145" rIns="34290" bIns="17145"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17" name="Freeform 29">
              <a:extLst>
                <a:ext uri="{FF2B5EF4-FFF2-40B4-BE49-F238E27FC236}">
                  <a16:creationId xmlns:a16="http://schemas.microsoft.com/office/drawing/2014/main" id="{C3F0E0C2-28EF-49F6-8D72-BED55644CA90}"/>
                </a:ext>
              </a:extLst>
            </p:cNvPr>
            <p:cNvSpPr>
              <a:spLocks noChangeArrowheads="1"/>
            </p:cNvSpPr>
            <p:nvPr/>
          </p:nvSpPr>
          <p:spPr bwMode="auto">
            <a:xfrm>
              <a:off x="4233990" y="4105137"/>
              <a:ext cx="448369" cy="462603"/>
            </a:xfrm>
            <a:custGeom>
              <a:avLst/>
              <a:gdLst>
                <a:gd name="T0" fmla="*/ 111726 w 444"/>
                <a:gd name="T1" fmla="*/ 150538 h 462"/>
                <a:gd name="T2" fmla="*/ 111726 w 444"/>
                <a:gd name="T3" fmla="*/ 150538 h 462"/>
                <a:gd name="T4" fmla="*/ 144162 w 444"/>
                <a:gd name="T5" fmla="*/ 114802 h 462"/>
                <a:gd name="T6" fmla="*/ 199574 w 444"/>
                <a:gd name="T7" fmla="*/ 31716 h 462"/>
                <a:gd name="T8" fmla="*/ 191916 w 444"/>
                <a:gd name="T9" fmla="*/ 23675 h 462"/>
                <a:gd name="T10" fmla="*/ 155875 w 444"/>
                <a:gd name="T11" fmla="*/ 23675 h 462"/>
                <a:gd name="T12" fmla="*/ 100013 w 444"/>
                <a:gd name="T13" fmla="*/ 0 h 462"/>
                <a:gd name="T14" fmla="*/ 44150 w 444"/>
                <a:gd name="T15" fmla="*/ 23675 h 462"/>
                <a:gd name="T16" fmla="*/ 8109 w 444"/>
                <a:gd name="T17" fmla="*/ 23675 h 462"/>
                <a:gd name="T18" fmla="*/ 0 w 444"/>
                <a:gd name="T19" fmla="*/ 31716 h 462"/>
                <a:gd name="T20" fmla="*/ 55863 w 444"/>
                <a:gd name="T21" fmla="*/ 114802 h 462"/>
                <a:gd name="T22" fmla="*/ 87849 w 444"/>
                <a:gd name="T23" fmla="*/ 150538 h 462"/>
                <a:gd name="T24" fmla="*/ 87849 w 444"/>
                <a:gd name="T25" fmla="*/ 166172 h 462"/>
                <a:gd name="T26" fmla="*/ 48204 w 444"/>
                <a:gd name="T27" fmla="*/ 185827 h 462"/>
                <a:gd name="T28" fmla="*/ 100013 w 444"/>
                <a:gd name="T29" fmla="*/ 205928 h 462"/>
                <a:gd name="T30" fmla="*/ 147766 w 444"/>
                <a:gd name="T31" fmla="*/ 185827 h 462"/>
                <a:gd name="T32" fmla="*/ 111726 w 444"/>
                <a:gd name="T33" fmla="*/ 166172 h 462"/>
                <a:gd name="T34" fmla="*/ 111726 w 444"/>
                <a:gd name="T35" fmla="*/ 150538 h 462"/>
                <a:gd name="T36" fmla="*/ 144162 w 444"/>
                <a:gd name="T37" fmla="*/ 94700 h 462"/>
                <a:gd name="T38" fmla="*/ 144162 w 444"/>
                <a:gd name="T39" fmla="*/ 94700 h 462"/>
                <a:gd name="T40" fmla="*/ 155875 w 444"/>
                <a:gd name="T41" fmla="*/ 39756 h 462"/>
                <a:gd name="T42" fmla="*/ 183807 w 444"/>
                <a:gd name="T43" fmla="*/ 39756 h 462"/>
                <a:gd name="T44" fmla="*/ 144162 w 444"/>
                <a:gd name="T45" fmla="*/ 94700 h 462"/>
                <a:gd name="T46" fmla="*/ 100013 w 444"/>
                <a:gd name="T47" fmla="*/ 16081 h 462"/>
                <a:gd name="T48" fmla="*/ 100013 w 444"/>
                <a:gd name="T49" fmla="*/ 16081 h 462"/>
                <a:gd name="T50" fmla="*/ 144162 w 444"/>
                <a:gd name="T51" fmla="*/ 31716 h 462"/>
                <a:gd name="T52" fmla="*/ 100013 w 444"/>
                <a:gd name="T53" fmla="*/ 51370 h 462"/>
                <a:gd name="T54" fmla="*/ 55863 w 444"/>
                <a:gd name="T55" fmla="*/ 31716 h 462"/>
                <a:gd name="T56" fmla="*/ 100013 w 444"/>
                <a:gd name="T57" fmla="*/ 16081 h 462"/>
                <a:gd name="T58" fmla="*/ 16218 w 444"/>
                <a:gd name="T59" fmla="*/ 39756 h 462"/>
                <a:gd name="T60" fmla="*/ 16218 w 444"/>
                <a:gd name="T61" fmla="*/ 39756 h 462"/>
                <a:gd name="T62" fmla="*/ 44150 w 444"/>
                <a:gd name="T63" fmla="*/ 39756 h 462"/>
                <a:gd name="T64" fmla="*/ 55863 w 444"/>
                <a:gd name="T65" fmla="*/ 94700 h 462"/>
                <a:gd name="T66" fmla="*/ 16218 w 444"/>
                <a:gd name="T67" fmla="*/ 39756 h 462"/>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444" h="462">
                  <a:moveTo>
                    <a:pt x="248" y="337"/>
                  </a:moveTo>
                  <a:lnTo>
                    <a:pt x="248" y="337"/>
                  </a:lnTo>
                  <a:cubicBezTo>
                    <a:pt x="248" y="302"/>
                    <a:pt x="275" y="283"/>
                    <a:pt x="320" y="257"/>
                  </a:cubicBezTo>
                  <a:cubicBezTo>
                    <a:pt x="373" y="221"/>
                    <a:pt x="443" y="177"/>
                    <a:pt x="443" y="71"/>
                  </a:cubicBezTo>
                  <a:cubicBezTo>
                    <a:pt x="443" y="62"/>
                    <a:pt x="434" y="53"/>
                    <a:pt x="426" y="53"/>
                  </a:cubicBezTo>
                  <a:cubicBezTo>
                    <a:pt x="346" y="53"/>
                    <a:pt x="346" y="53"/>
                    <a:pt x="346" y="53"/>
                  </a:cubicBezTo>
                  <a:cubicBezTo>
                    <a:pt x="328" y="27"/>
                    <a:pt x="293" y="0"/>
                    <a:pt x="222" y="0"/>
                  </a:cubicBezTo>
                  <a:cubicBezTo>
                    <a:pt x="151" y="0"/>
                    <a:pt x="116" y="27"/>
                    <a:pt x="98" y="53"/>
                  </a:cubicBezTo>
                  <a:cubicBezTo>
                    <a:pt x="18" y="53"/>
                    <a:pt x="18" y="53"/>
                    <a:pt x="18" y="53"/>
                  </a:cubicBezTo>
                  <a:cubicBezTo>
                    <a:pt x="9" y="53"/>
                    <a:pt x="0" y="62"/>
                    <a:pt x="0" y="71"/>
                  </a:cubicBezTo>
                  <a:cubicBezTo>
                    <a:pt x="0" y="177"/>
                    <a:pt x="62" y="221"/>
                    <a:pt x="124" y="257"/>
                  </a:cubicBezTo>
                  <a:cubicBezTo>
                    <a:pt x="169" y="283"/>
                    <a:pt x="195" y="302"/>
                    <a:pt x="195" y="337"/>
                  </a:cubicBezTo>
                  <a:cubicBezTo>
                    <a:pt x="195" y="372"/>
                    <a:pt x="195" y="372"/>
                    <a:pt x="195" y="372"/>
                  </a:cubicBezTo>
                  <a:cubicBezTo>
                    <a:pt x="142" y="381"/>
                    <a:pt x="107" y="399"/>
                    <a:pt x="107" y="416"/>
                  </a:cubicBezTo>
                  <a:cubicBezTo>
                    <a:pt x="107" y="443"/>
                    <a:pt x="160" y="461"/>
                    <a:pt x="222" y="461"/>
                  </a:cubicBezTo>
                  <a:cubicBezTo>
                    <a:pt x="283" y="461"/>
                    <a:pt x="328" y="443"/>
                    <a:pt x="328" y="416"/>
                  </a:cubicBezTo>
                  <a:cubicBezTo>
                    <a:pt x="328" y="399"/>
                    <a:pt x="302" y="381"/>
                    <a:pt x="248" y="372"/>
                  </a:cubicBezTo>
                  <a:lnTo>
                    <a:pt x="248" y="337"/>
                  </a:lnTo>
                  <a:close/>
                  <a:moveTo>
                    <a:pt x="320" y="212"/>
                  </a:moveTo>
                  <a:lnTo>
                    <a:pt x="320" y="212"/>
                  </a:lnTo>
                  <a:cubicBezTo>
                    <a:pt x="337" y="186"/>
                    <a:pt x="346" y="142"/>
                    <a:pt x="346" y="89"/>
                  </a:cubicBezTo>
                  <a:cubicBezTo>
                    <a:pt x="408" y="89"/>
                    <a:pt x="408" y="89"/>
                    <a:pt x="408" y="89"/>
                  </a:cubicBezTo>
                  <a:cubicBezTo>
                    <a:pt x="399" y="151"/>
                    <a:pt x="364" y="186"/>
                    <a:pt x="320" y="212"/>
                  </a:cubicBezTo>
                  <a:close/>
                  <a:moveTo>
                    <a:pt x="222" y="36"/>
                  </a:moveTo>
                  <a:lnTo>
                    <a:pt x="222" y="36"/>
                  </a:lnTo>
                  <a:cubicBezTo>
                    <a:pt x="293" y="36"/>
                    <a:pt x="320" y="62"/>
                    <a:pt x="320" y="71"/>
                  </a:cubicBezTo>
                  <a:cubicBezTo>
                    <a:pt x="320" y="80"/>
                    <a:pt x="293" y="106"/>
                    <a:pt x="222" y="115"/>
                  </a:cubicBezTo>
                  <a:cubicBezTo>
                    <a:pt x="151" y="106"/>
                    <a:pt x="124" y="80"/>
                    <a:pt x="124" y="71"/>
                  </a:cubicBezTo>
                  <a:cubicBezTo>
                    <a:pt x="124" y="62"/>
                    <a:pt x="151" y="36"/>
                    <a:pt x="222" y="36"/>
                  </a:cubicBezTo>
                  <a:close/>
                  <a:moveTo>
                    <a:pt x="36" y="89"/>
                  </a:moveTo>
                  <a:lnTo>
                    <a:pt x="36" y="89"/>
                  </a:lnTo>
                  <a:cubicBezTo>
                    <a:pt x="98" y="89"/>
                    <a:pt x="98" y="89"/>
                    <a:pt x="98" y="89"/>
                  </a:cubicBezTo>
                  <a:cubicBezTo>
                    <a:pt x="98" y="142"/>
                    <a:pt x="107" y="186"/>
                    <a:pt x="124" y="212"/>
                  </a:cubicBezTo>
                  <a:cubicBezTo>
                    <a:pt x="80" y="186"/>
                    <a:pt x="36" y="151"/>
                    <a:pt x="36" y="89"/>
                  </a:cubicBezTo>
                  <a:close/>
                </a:path>
              </a:pathLst>
            </a:custGeom>
            <a:solidFill>
              <a:schemeClr val="bg1"/>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7"/>
                      </a:srgbClr>
                    </a:outerShdw>
                  </a:effectLst>
                </a14:hiddenEffects>
              </a:ext>
            </a:extLst>
          </p:spPr>
          <p:txBody>
            <a:bodyPr wrap="none" lIns="34290" tIns="17145" rIns="34290" bIns="17145"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18" name="Freeform 47">
              <a:extLst>
                <a:ext uri="{FF2B5EF4-FFF2-40B4-BE49-F238E27FC236}">
                  <a16:creationId xmlns:a16="http://schemas.microsoft.com/office/drawing/2014/main" id="{C13F56EE-F936-40CE-9597-D44D9A69E094}"/>
                </a:ext>
              </a:extLst>
            </p:cNvPr>
            <p:cNvSpPr>
              <a:spLocks noChangeArrowheads="1"/>
            </p:cNvSpPr>
            <p:nvPr/>
          </p:nvSpPr>
          <p:spPr bwMode="auto">
            <a:xfrm>
              <a:off x="7632336" y="3161654"/>
              <a:ext cx="480659" cy="422291"/>
            </a:xfrm>
            <a:custGeom>
              <a:avLst/>
              <a:gdLst>
                <a:gd name="T0" fmla="*/ 221804 w 498"/>
                <a:gd name="T1" fmla="*/ 194813 h 435"/>
                <a:gd name="T2" fmla="*/ 221804 w 498"/>
                <a:gd name="T3" fmla="*/ 194813 h 435"/>
                <a:gd name="T4" fmla="*/ 217341 w 498"/>
                <a:gd name="T5" fmla="*/ 147232 h 435"/>
                <a:gd name="T6" fmla="*/ 189671 w 498"/>
                <a:gd name="T7" fmla="*/ 131521 h 435"/>
                <a:gd name="T8" fmla="*/ 166018 w 498"/>
                <a:gd name="T9" fmla="*/ 103691 h 435"/>
                <a:gd name="T10" fmla="*/ 174051 w 498"/>
                <a:gd name="T11" fmla="*/ 87980 h 435"/>
                <a:gd name="T12" fmla="*/ 182084 w 498"/>
                <a:gd name="T13" fmla="*/ 71372 h 435"/>
                <a:gd name="T14" fmla="*/ 178068 w 498"/>
                <a:gd name="T15" fmla="*/ 67781 h 435"/>
                <a:gd name="T16" fmla="*/ 182084 w 498"/>
                <a:gd name="T17" fmla="*/ 51621 h 435"/>
                <a:gd name="T18" fmla="*/ 154415 w 498"/>
                <a:gd name="T19" fmla="*/ 27830 h 435"/>
                <a:gd name="T20" fmla="*/ 126745 w 498"/>
                <a:gd name="T21" fmla="*/ 51621 h 435"/>
                <a:gd name="T22" fmla="*/ 130762 w 498"/>
                <a:gd name="T23" fmla="*/ 67781 h 435"/>
                <a:gd name="T24" fmla="*/ 126745 w 498"/>
                <a:gd name="T25" fmla="*/ 71372 h 435"/>
                <a:gd name="T26" fmla="*/ 134778 w 498"/>
                <a:gd name="T27" fmla="*/ 87980 h 435"/>
                <a:gd name="T28" fmla="*/ 138795 w 498"/>
                <a:gd name="T29" fmla="*/ 103691 h 435"/>
                <a:gd name="T30" fmla="*/ 130762 w 498"/>
                <a:gd name="T31" fmla="*/ 123441 h 435"/>
                <a:gd name="T32" fmla="*/ 170035 w 498"/>
                <a:gd name="T33" fmla="*/ 163392 h 435"/>
                <a:gd name="T34" fmla="*/ 170035 w 498"/>
                <a:gd name="T35" fmla="*/ 194813 h 435"/>
                <a:gd name="T36" fmla="*/ 221804 w 498"/>
                <a:gd name="T37" fmla="*/ 194813 h 435"/>
                <a:gd name="T38" fmla="*/ 115142 w 498"/>
                <a:gd name="T39" fmla="*/ 135561 h 435"/>
                <a:gd name="T40" fmla="*/ 115142 w 498"/>
                <a:gd name="T41" fmla="*/ 135561 h 435"/>
                <a:gd name="T42" fmla="*/ 83455 w 498"/>
                <a:gd name="T43" fmla="*/ 103691 h 435"/>
                <a:gd name="T44" fmla="*/ 95059 w 498"/>
                <a:gd name="T45" fmla="*/ 75412 h 435"/>
                <a:gd name="T46" fmla="*/ 103092 w 498"/>
                <a:gd name="T47" fmla="*/ 59701 h 435"/>
                <a:gd name="T48" fmla="*/ 99075 w 498"/>
                <a:gd name="T49" fmla="*/ 51621 h 435"/>
                <a:gd name="T50" fmla="*/ 103092 w 498"/>
                <a:gd name="T51" fmla="*/ 31870 h 435"/>
                <a:gd name="T52" fmla="*/ 67389 w 498"/>
                <a:gd name="T53" fmla="*/ 0 h 435"/>
                <a:gd name="T54" fmla="*/ 31686 w 498"/>
                <a:gd name="T55" fmla="*/ 31870 h 435"/>
                <a:gd name="T56" fmla="*/ 31686 w 498"/>
                <a:gd name="T57" fmla="*/ 51621 h 435"/>
                <a:gd name="T58" fmla="*/ 31686 w 498"/>
                <a:gd name="T59" fmla="*/ 59701 h 435"/>
                <a:gd name="T60" fmla="*/ 39719 w 498"/>
                <a:gd name="T61" fmla="*/ 75412 h 435"/>
                <a:gd name="T62" fmla="*/ 47753 w 498"/>
                <a:gd name="T63" fmla="*/ 103691 h 435"/>
                <a:gd name="T64" fmla="*/ 20083 w 498"/>
                <a:gd name="T65" fmla="*/ 135561 h 435"/>
                <a:gd name="T66" fmla="*/ 0 w 498"/>
                <a:gd name="T67" fmla="*/ 155312 h 435"/>
                <a:gd name="T68" fmla="*/ 0 w 498"/>
                <a:gd name="T69" fmla="*/ 194813 h 435"/>
                <a:gd name="T70" fmla="*/ 154415 w 498"/>
                <a:gd name="T71" fmla="*/ 194813 h 435"/>
                <a:gd name="T72" fmla="*/ 154415 w 498"/>
                <a:gd name="T73" fmla="*/ 163392 h 435"/>
                <a:gd name="T74" fmla="*/ 115142 w 498"/>
                <a:gd name="T75" fmla="*/ 135561 h 435"/>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498" h="435">
                  <a:moveTo>
                    <a:pt x="497" y="434"/>
                  </a:moveTo>
                  <a:lnTo>
                    <a:pt x="497" y="434"/>
                  </a:lnTo>
                  <a:cubicBezTo>
                    <a:pt x="497" y="434"/>
                    <a:pt x="497" y="337"/>
                    <a:pt x="487" y="328"/>
                  </a:cubicBezTo>
                  <a:cubicBezTo>
                    <a:pt x="479" y="319"/>
                    <a:pt x="462" y="302"/>
                    <a:pt x="425" y="293"/>
                  </a:cubicBezTo>
                  <a:cubicBezTo>
                    <a:pt x="390" y="275"/>
                    <a:pt x="372" y="257"/>
                    <a:pt x="372" y="231"/>
                  </a:cubicBezTo>
                  <a:cubicBezTo>
                    <a:pt x="372" y="213"/>
                    <a:pt x="390" y="222"/>
                    <a:pt x="390" y="196"/>
                  </a:cubicBezTo>
                  <a:cubicBezTo>
                    <a:pt x="390" y="178"/>
                    <a:pt x="408" y="196"/>
                    <a:pt x="408" y="159"/>
                  </a:cubicBezTo>
                  <a:cubicBezTo>
                    <a:pt x="408" y="151"/>
                    <a:pt x="399" y="151"/>
                    <a:pt x="399" y="151"/>
                  </a:cubicBezTo>
                  <a:cubicBezTo>
                    <a:pt x="399" y="151"/>
                    <a:pt x="408" y="133"/>
                    <a:pt x="408" y="115"/>
                  </a:cubicBezTo>
                  <a:cubicBezTo>
                    <a:pt x="408" y="98"/>
                    <a:pt x="399" y="62"/>
                    <a:pt x="346" y="62"/>
                  </a:cubicBezTo>
                  <a:cubicBezTo>
                    <a:pt x="293" y="62"/>
                    <a:pt x="284" y="98"/>
                    <a:pt x="284" y="115"/>
                  </a:cubicBezTo>
                  <a:cubicBezTo>
                    <a:pt x="284" y="133"/>
                    <a:pt x="293" y="151"/>
                    <a:pt x="293" y="151"/>
                  </a:cubicBezTo>
                  <a:cubicBezTo>
                    <a:pt x="293" y="151"/>
                    <a:pt x="284" y="151"/>
                    <a:pt x="284" y="159"/>
                  </a:cubicBezTo>
                  <a:cubicBezTo>
                    <a:pt x="284" y="196"/>
                    <a:pt x="293" y="178"/>
                    <a:pt x="302" y="196"/>
                  </a:cubicBezTo>
                  <a:cubicBezTo>
                    <a:pt x="302" y="222"/>
                    <a:pt x="311" y="213"/>
                    <a:pt x="311" y="231"/>
                  </a:cubicBezTo>
                  <a:cubicBezTo>
                    <a:pt x="311" y="249"/>
                    <a:pt x="311" y="266"/>
                    <a:pt x="293" y="275"/>
                  </a:cubicBezTo>
                  <a:cubicBezTo>
                    <a:pt x="372" y="319"/>
                    <a:pt x="381" y="319"/>
                    <a:pt x="381" y="364"/>
                  </a:cubicBezTo>
                  <a:cubicBezTo>
                    <a:pt x="381" y="434"/>
                    <a:pt x="381" y="434"/>
                    <a:pt x="381" y="434"/>
                  </a:cubicBezTo>
                  <a:lnTo>
                    <a:pt x="497" y="434"/>
                  </a:lnTo>
                  <a:close/>
                  <a:moveTo>
                    <a:pt x="258" y="302"/>
                  </a:moveTo>
                  <a:lnTo>
                    <a:pt x="258" y="302"/>
                  </a:lnTo>
                  <a:cubicBezTo>
                    <a:pt x="204" y="284"/>
                    <a:pt x="187" y="266"/>
                    <a:pt x="187" y="231"/>
                  </a:cubicBezTo>
                  <a:cubicBezTo>
                    <a:pt x="187" y="204"/>
                    <a:pt x="204" y="213"/>
                    <a:pt x="213" y="168"/>
                  </a:cubicBezTo>
                  <a:cubicBezTo>
                    <a:pt x="213" y="159"/>
                    <a:pt x="231" y="168"/>
                    <a:pt x="231" y="133"/>
                  </a:cubicBezTo>
                  <a:cubicBezTo>
                    <a:pt x="231" y="115"/>
                    <a:pt x="222" y="115"/>
                    <a:pt x="222" y="115"/>
                  </a:cubicBezTo>
                  <a:cubicBezTo>
                    <a:pt x="222" y="115"/>
                    <a:pt x="222" y="89"/>
                    <a:pt x="231" y="71"/>
                  </a:cubicBezTo>
                  <a:cubicBezTo>
                    <a:pt x="231" y="53"/>
                    <a:pt x="213" y="0"/>
                    <a:pt x="151" y="0"/>
                  </a:cubicBezTo>
                  <a:cubicBezTo>
                    <a:pt x="80" y="0"/>
                    <a:pt x="71" y="53"/>
                    <a:pt x="71" y="71"/>
                  </a:cubicBezTo>
                  <a:cubicBezTo>
                    <a:pt x="71" y="89"/>
                    <a:pt x="71" y="115"/>
                    <a:pt x="71" y="115"/>
                  </a:cubicBezTo>
                  <a:cubicBezTo>
                    <a:pt x="71" y="115"/>
                    <a:pt x="71" y="115"/>
                    <a:pt x="71" y="133"/>
                  </a:cubicBezTo>
                  <a:cubicBezTo>
                    <a:pt x="71" y="168"/>
                    <a:pt x="80" y="159"/>
                    <a:pt x="89" y="168"/>
                  </a:cubicBezTo>
                  <a:cubicBezTo>
                    <a:pt x="89" y="213"/>
                    <a:pt x="107" y="204"/>
                    <a:pt x="107" y="231"/>
                  </a:cubicBezTo>
                  <a:cubicBezTo>
                    <a:pt x="107" y="266"/>
                    <a:pt x="89" y="284"/>
                    <a:pt x="45" y="302"/>
                  </a:cubicBezTo>
                  <a:cubicBezTo>
                    <a:pt x="27" y="310"/>
                    <a:pt x="0" y="319"/>
                    <a:pt x="0" y="346"/>
                  </a:cubicBezTo>
                  <a:cubicBezTo>
                    <a:pt x="0" y="434"/>
                    <a:pt x="0" y="434"/>
                    <a:pt x="0" y="434"/>
                  </a:cubicBezTo>
                  <a:cubicBezTo>
                    <a:pt x="346" y="434"/>
                    <a:pt x="346" y="434"/>
                    <a:pt x="346" y="434"/>
                  </a:cubicBezTo>
                  <a:cubicBezTo>
                    <a:pt x="346" y="434"/>
                    <a:pt x="346" y="381"/>
                    <a:pt x="346" y="364"/>
                  </a:cubicBezTo>
                  <a:cubicBezTo>
                    <a:pt x="346" y="346"/>
                    <a:pt x="302" y="328"/>
                    <a:pt x="258" y="302"/>
                  </a:cubicBezTo>
                  <a:close/>
                </a:path>
              </a:pathLst>
            </a:custGeom>
            <a:solidFill>
              <a:schemeClr val="bg1"/>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7"/>
                      </a:srgbClr>
                    </a:outerShdw>
                  </a:effectLst>
                </a14:hiddenEffects>
              </a:ext>
            </a:extLst>
          </p:spPr>
          <p:txBody>
            <a:bodyPr wrap="none" lIns="34290" tIns="17145" rIns="34290" bIns="17145"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19" name="Freeform 79">
              <a:extLst>
                <a:ext uri="{FF2B5EF4-FFF2-40B4-BE49-F238E27FC236}">
                  <a16:creationId xmlns:a16="http://schemas.microsoft.com/office/drawing/2014/main" id="{D9A33B0A-A2D2-429A-9462-5C455DD138FB}"/>
                </a:ext>
              </a:extLst>
            </p:cNvPr>
            <p:cNvSpPr>
              <a:spLocks noChangeArrowheads="1"/>
            </p:cNvSpPr>
            <p:nvPr/>
          </p:nvSpPr>
          <p:spPr bwMode="auto">
            <a:xfrm>
              <a:off x="6671664" y="2447602"/>
              <a:ext cx="463493" cy="466924"/>
            </a:xfrm>
            <a:custGeom>
              <a:avLst/>
              <a:gdLst>
                <a:gd name="T0" fmla="*/ 106933 w 479"/>
                <a:gd name="T1" fmla="*/ 0 h 479"/>
                <a:gd name="T2" fmla="*/ 106933 w 479"/>
                <a:gd name="T3" fmla="*/ 0 h 479"/>
                <a:gd name="T4" fmla="*/ 0 w 479"/>
                <a:gd name="T5" fmla="*/ 107725 h 479"/>
                <a:gd name="T6" fmla="*/ 106933 w 479"/>
                <a:gd name="T7" fmla="*/ 215449 h 479"/>
                <a:gd name="T8" fmla="*/ 213866 w 479"/>
                <a:gd name="T9" fmla="*/ 107725 h 479"/>
                <a:gd name="T10" fmla="*/ 106933 w 479"/>
                <a:gd name="T11" fmla="*/ 0 h 479"/>
                <a:gd name="T12" fmla="*/ 198206 w 479"/>
                <a:gd name="T13" fmla="*/ 107725 h 479"/>
                <a:gd name="T14" fmla="*/ 198206 w 479"/>
                <a:gd name="T15" fmla="*/ 107725 h 479"/>
                <a:gd name="T16" fmla="*/ 178520 w 479"/>
                <a:gd name="T17" fmla="*/ 163615 h 479"/>
                <a:gd name="T18" fmla="*/ 174493 w 479"/>
                <a:gd name="T19" fmla="*/ 147840 h 479"/>
                <a:gd name="T20" fmla="*/ 178520 w 479"/>
                <a:gd name="T21" fmla="*/ 115838 h 479"/>
                <a:gd name="T22" fmla="*/ 166439 w 479"/>
                <a:gd name="T23" fmla="*/ 91949 h 479"/>
                <a:gd name="T24" fmla="*/ 142726 w 479"/>
                <a:gd name="T25" fmla="*/ 80230 h 479"/>
                <a:gd name="T26" fmla="*/ 154806 w 479"/>
                <a:gd name="T27" fmla="*/ 39664 h 479"/>
                <a:gd name="T28" fmla="*/ 131093 w 479"/>
                <a:gd name="T29" fmla="*/ 27945 h 479"/>
                <a:gd name="T30" fmla="*/ 134673 w 479"/>
                <a:gd name="T31" fmla="*/ 23889 h 479"/>
                <a:gd name="T32" fmla="*/ 198206 w 479"/>
                <a:gd name="T33" fmla="*/ 107725 h 479"/>
                <a:gd name="T34" fmla="*/ 94853 w 479"/>
                <a:gd name="T35" fmla="*/ 19832 h 479"/>
                <a:gd name="T36" fmla="*/ 94853 w 479"/>
                <a:gd name="T37" fmla="*/ 19832 h 479"/>
                <a:gd name="T38" fmla="*/ 83220 w 479"/>
                <a:gd name="T39" fmla="*/ 27945 h 479"/>
                <a:gd name="T40" fmla="*/ 67113 w 479"/>
                <a:gd name="T41" fmla="*/ 39664 h 479"/>
                <a:gd name="T42" fmla="*/ 51453 w 479"/>
                <a:gd name="T43" fmla="*/ 59947 h 479"/>
                <a:gd name="T44" fmla="*/ 59507 w 479"/>
                <a:gd name="T45" fmla="*/ 71666 h 479"/>
                <a:gd name="T46" fmla="*/ 79193 w 479"/>
                <a:gd name="T47" fmla="*/ 71666 h 479"/>
                <a:gd name="T48" fmla="*/ 110960 w 479"/>
                <a:gd name="T49" fmla="*/ 107725 h 479"/>
                <a:gd name="T50" fmla="*/ 83220 w 479"/>
                <a:gd name="T51" fmla="*/ 131613 h 479"/>
                <a:gd name="T52" fmla="*/ 79193 w 479"/>
                <a:gd name="T53" fmla="*/ 151896 h 479"/>
                <a:gd name="T54" fmla="*/ 79193 w 479"/>
                <a:gd name="T55" fmla="*/ 175785 h 479"/>
                <a:gd name="T56" fmla="*/ 59507 w 479"/>
                <a:gd name="T57" fmla="*/ 155502 h 479"/>
                <a:gd name="T58" fmla="*/ 55480 w 479"/>
                <a:gd name="T59" fmla="*/ 128008 h 479"/>
                <a:gd name="T60" fmla="*/ 39373 w 479"/>
                <a:gd name="T61" fmla="*/ 107725 h 479"/>
                <a:gd name="T62" fmla="*/ 47426 w 479"/>
                <a:gd name="T63" fmla="*/ 83836 h 479"/>
                <a:gd name="T64" fmla="*/ 23713 w 479"/>
                <a:gd name="T65" fmla="*/ 76173 h 479"/>
                <a:gd name="T66" fmla="*/ 94853 w 479"/>
                <a:gd name="T67" fmla="*/ 19832 h 479"/>
                <a:gd name="T68" fmla="*/ 79193 w 479"/>
                <a:gd name="T69" fmla="*/ 195617 h 479"/>
                <a:gd name="T70" fmla="*/ 79193 w 479"/>
                <a:gd name="T71" fmla="*/ 195617 h 479"/>
                <a:gd name="T72" fmla="*/ 91273 w 479"/>
                <a:gd name="T73" fmla="*/ 187504 h 479"/>
                <a:gd name="T74" fmla="*/ 106933 w 479"/>
                <a:gd name="T75" fmla="*/ 183447 h 479"/>
                <a:gd name="T76" fmla="*/ 131093 w 479"/>
                <a:gd name="T77" fmla="*/ 175785 h 479"/>
                <a:gd name="T78" fmla="*/ 158386 w 479"/>
                <a:gd name="T79" fmla="*/ 183447 h 479"/>
                <a:gd name="T80" fmla="*/ 106933 w 479"/>
                <a:gd name="T81" fmla="*/ 199674 h 479"/>
                <a:gd name="T82" fmla="*/ 79193 w 479"/>
                <a:gd name="T83" fmla="*/ 195617 h 479"/>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479" h="479">
                  <a:moveTo>
                    <a:pt x="239" y="0"/>
                  </a:moveTo>
                  <a:lnTo>
                    <a:pt x="239" y="0"/>
                  </a:lnTo>
                  <a:cubicBezTo>
                    <a:pt x="106" y="0"/>
                    <a:pt x="0" y="106"/>
                    <a:pt x="0" y="239"/>
                  </a:cubicBezTo>
                  <a:cubicBezTo>
                    <a:pt x="0" y="372"/>
                    <a:pt x="106" y="478"/>
                    <a:pt x="239" y="478"/>
                  </a:cubicBezTo>
                  <a:cubicBezTo>
                    <a:pt x="372" y="478"/>
                    <a:pt x="478" y="372"/>
                    <a:pt x="478" y="239"/>
                  </a:cubicBezTo>
                  <a:cubicBezTo>
                    <a:pt x="478" y="106"/>
                    <a:pt x="372" y="0"/>
                    <a:pt x="239" y="0"/>
                  </a:cubicBezTo>
                  <a:close/>
                  <a:moveTo>
                    <a:pt x="443" y="239"/>
                  </a:moveTo>
                  <a:lnTo>
                    <a:pt x="443" y="239"/>
                  </a:lnTo>
                  <a:cubicBezTo>
                    <a:pt x="443" y="292"/>
                    <a:pt x="425" y="328"/>
                    <a:pt x="399" y="363"/>
                  </a:cubicBezTo>
                  <a:cubicBezTo>
                    <a:pt x="390" y="363"/>
                    <a:pt x="381" y="345"/>
                    <a:pt x="390" y="328"/>
                  </a:cubicBezTo>
                  <a:cubicBezTo>
                    <a:pt x="399" y="310"/>
                    <a:pt x="399" y="275"/>
                    <a:pt x="399" y="257"/>
                  </a:cubicBezTo>
                  <a:cubicBezTo>
                    <a:pt x="399" y="239"/>
                    <a:pt x="390" y="204"/>
                    <a:pt x="372" y="204"/>
                  </a:cubicBezTo>
                  <a:cubicBezTo>
                    <a:pt x="346" y="204"/>
                    <a:pt x="337" y="204"/>
                    <a:pt x="319" y="178"/>
                  </a:cubicBezTo>
                  <a:cubicBezTo>
                    <a:pt x="301" y="124"/>
                    <a:pt x="372" y="115"/>
                    <a:pt x="346" y="88"/>
                  </a:cubicBezTo>
                  <a:cubicBezTo>
                    <a:pt x="337" y="80"/>
                    <a:pt x="301" y="115"/>
                    <a:pt x="293" y="62"/>
                  </a:cubicBezTo>
                  <a:lnTo>
                    <a:pt x="301" y="53"/>
                  </a:lnTo>
                  <a:cubicBezTo>
                    <a:pt x="381" y="80"/>
                    <a:pt x="443" y="150"/>
                    <a:pt x="443" y="239"/>
                  </a:cubicBezTo>
                  <a:close/>
                  <a:moveTo>
                    <a:pt x="212" y="44"/>
                  </a:moveTo>
                  <a:lnTo>
                    <a:pt x="212" y="44"/>
                  </a:lnTo>
                  <a:cubicBezTo>
                    <a:pt x="204" y="53"/>
                    <a:pt x="194" y="53"/>
                    <a:pt x="186" y="62"/>
                  </a:cubicBezTo>
                  <a:cubicBezTo>
                    <a:pt x="168" y="80"/>
                    <a:pt x="159" y="71"/>
                    <a:pt x="150" y="88"/>
                  </a:cubicBezTo>
                  <a:cubicBezTo>
                    <a:pt x="141" y="106"/>
                    <a:pt x="115" y="124"/>
                    <a:pt x="115" y="133"/>
                  </a:cubicBezTo>
                  <a:cubicBezTo>
                    <a:pt x="115" y="142"/>
                    <a:pt x="133" y="159"/>
                    <a:pt x="133" y="159"/>
                  </a:cubicBezTo>
                  <a:cubicBezTo>
                    <a:pt x="141" y="150"/>
                    <a:pt x="159" y="150"/>
                    <a:pt x="177" y="159"/>
                  </a:cubicBezTo>
                  <a:cubicBezTo>
                    <a:pt x="186" y="159"/>
                    <a:pt x="275" y="169"/>
                    <a:pt x="248" y="239"/>
                  </a:cubicBezTo>
                  <a:cubicBezTo>
                    <a:pt x="239" y="266"/>
                    <a:pt x="194" y="257"/>
                    <a:pt x="186" y="292"/>
                  </a:cubicBezTo>
                  <a:cubicBezTo>
                    <a:pt x="186" y="301"/>
                    <a:pt x="186" y="328"/>
                    <a:pt x="177" y="337"/>
                  </a:cubicBezTo>
                  <a:cubicBezTo>
                    <a:pt x="177" y="345"/>
                    <a:pt x="186" y="390"/>
                    <a:pt x="177" y="390"/>
                  </a:cubicBezTo>
                  <a:cubicBezTo>
                    <a:pt x="168" y="390"/>
                    <a:pt x="133" y="345"/>
                    <a:pt x="133" y="345"/>
                  </a:cubicBezTo>
                  <a:cubicBezTo>
                    <a:pt x="133" y="337"/>
                    <a:pt x="124" y="310"/>
                    <a:pt x="124" y="284"/>
                  </a:cubicBezTo>
                  <a:cubicBezTo>
                    <a:pt x="124" y="266"/>
                    <a:pt x="88" y="266"/>
                    <a:pt x="88" y="239"/>
                  </a:cubicBezTo>
                  <a:cubicBezTo>
                    <a:pt x="88" y="213"/>
                    <a:pt x="106" y="195"/>
                    <a:pt x="106" y="186"/>
                  </a:cubicBezTo>
                  <a:cubicBezTo>
                    <a:pt x="97" y="169"/>
                    <a:pt x="62" y="169"/>
                    <a:pt x="53" y="169"/>
                  </a:cubicBezTo>
                  <a:cubicBezTo>
                    <a:pt x="80" y="97"/>
                    <a:pt x="141" y="53"/>
                    <a:pt x="212" y="44"/>
                  </a:cubicBezTo>
                  <a:close/>
                  <a:moveTo>
                    <a:pt x="177" y="434"/>
                  </a:moveTo>
                  <a:lnTo>
                    <a:pt x="177" y="434"/>
                  </a:lnTo>
                  <a:cubicBezTo>
                    <a:pt x="186" y="425"/>
                    <a:pt x="186" y="416"/>
                    <a:pt x="204" y="416"/>
                  </a:cubicBezTo>
                  <a:cubicBezTo>
                    <a:pt x="212" y="416"/>
                    <a:pt x="221" y="416"/>
                    <a:pt x="239" y="407"/>
                  </a:cubicBezTo>
                  <a:cubicBezTo>
                    <a:pt x="248" y="407"/>
                    <a:pt x="275" y="398"/>
                    <a:pt x="293" y="390"/>
                  </a:cubicBezTo>
                  <a:cubicBezTo>
                    <a:pt x="310" y="390"/>
                    <a:pt x="346" y="398"/>
                    <a:pt x="354" y="407"/>
                  </a:cubicBezTo>
                  <a:cubicBezTo>
                    <a:pt x="319" y="434"/>
                    <a:pt x="284" y="443"/>
                    <a:pt x="239" y="443"/>
                  </a:cubicBezTo>
                  <a:cubicBezTo>
                    <a:pt x="221" y="443"/>
                    <a:pt x="194" y="443"/>
                    <a:pt x="177" y="434"/>
                  </a:cubicBezTo>
                  <a:close/>
                </a:path>
              </a:pathLst>
            </a:custGeom>
            <a:solidFill>
              <a:schemeClr val="bg1"/>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7"/>
                      </a:srgbClr>
                    </a:outerShdw>
                  </a:effectLst>
                </a14:hiddenEffects>
              </a:ext>
            </a:extLst>
          </p:spPr>
          <p:txBody>
            <a:bodyPr wrap="none" lIns="34290" tIns="17145" rIns="34290" bIns="17145"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20" name="Freeform 117">
              <a:extLst>
                <a:ext uri="{FF2B5EF4-FFF2-40B4-BE49-F238E27FC236}">
                  <a16:creationId xmlns:a16="http://schemas.microsoft.com/office/drawing/2014/main" id="{24E335FF-51B8-40FF-9905-0A902BE3E3FF}"/>
                </a:ext>
              </a:extLst>
            </p:cNvPr>
            <p:cNvSpPr>
              <a:spLocks noChangeArrowheads="1"/>
            </p:cNvSpPr>
            <p:nvPr/>
          </p:nvSpPr>
          <p:spPr bwMode="auto">
            <a:xfrm>
              <a:off x="3662959" y="2962688"/>
              <a:ext cx="449757" cy="415427"/>
            </a:xfrm>
            <a:custGeom>
              <a:avLst/>
              <a:gdLst>
                <a:gd name="T0" fmla="*/ 119736 w 462"/>
                <a:gd name="T1" fmla="*/ 0 h 427"/>
                <a:gd name="T2" fmla="*/ 119736 w 462"/>
                <a:gd name="T3" fmla="*/ 0 h 427"/>
                <a:gd name="T4" fmla="*/ 119736 w 462"/>
                <a:gd name="T5" fmla="*/ 0 h 427"/>
                <a:gd name="T6" fmla="*/ 31960 w 462"/>
                <a:gd name="T7" fmla="*/ 35988 h 427"/>
                <a:gd name="T8" fmla="*/ 36011 w 462"/>
                <a:gd name="T9" fmla="*/ 64329 h 427"/>
                <a:gd name="T10" fmla="*/ 0 w 462"/>
                <a:gd name="T11" fmla="*/ 107965 h 427"/>
                <a:gd name="T12" fmla="*/ 51765 w 462"/>
                <a:gd name="T13" fmla="*/ 143504 h 427"/>
                <a:gd name="T14" fmla="*/ 103981 w 462"/>
                <a:gd name="T15" fmla="*/ 119661 h 427"/>
                <a:gd name="T16" fmla="*/ 103981 w 462"/>
                <a:gd name="T17" fmla="*/ 112014 h 427"/>
                <a:gd name="T18" fmla="*/ 119736 w 462"/>
                <a:gd name="T19" fmla="*/ 95819 h 427"/>
                <a:gd name="T20" fmla="*/ 135941 w 462"/>
                <a:gd name="T21" fmla="*/ 112014 h 427"/>
                <a:gd name="T22" fmla="*/ 119736 w 462"/>
                <a:gd name="T23" fmla="*/ 127759 h 427"/>
                <a:gd name="T24" fmla="*/ 51765 w 462"/>
                <a:gd name="T25" fmla="*/ 159698 h 427"/>
                <a:gd name="T26" fmla="*/ 51765 w 462"/>
                <a:gd name="T27" fmla="*/ 167346 h 427"/>
                <a:gd name="T28" fmla="*/ 119736 w 462"/>
                <a:gd name="T29" fmla="*/ 191638 h 427"/>
                <a:gd name="T30" fmla="*/ 119736 w 462"/>
                <a:gd name="T31" fmla="*/ 191638 h 427"/>
                <a:gd name="T32" fmla="*/ 183655 w 462"/>
                <a:gd name="T33" fmla="*/ 167346 h 427"/>
                <a:gd name="T34" fmla="*/ 203911 w 462"/>
                <a:gd name="T35" fmla="*/ 35988 h 427"/>
                <a:gd name="T36" fmla="*/ 119736 w 462"/>
                <a:gd name="T37" fmla="*/ 0 h 427"/>
                <a:gd name="T38" fmla="*/ 16205 w 462"/>
                <a:gd name="T39" fmla="*/ 103916 h 427"/>
                <a:gd name="T40" fmla="*/ 16205 w 462"/>
                <a:gd name="T41" fmla="*/ 103916 h 427"/>
                <a:gd name="T42" fmla="*/ 40062 w 462"/>
                <a:gd name="T43" fmla="*/ 80074 h 427"/>
                <a:gd name="T44" fmla="*/ 47714 w 462"/>
                <a:gd name="T45" fmla="*/ 127759 h 427"/>
                <a:gd name="T46" fmla="*/ 16205 w 462"/>
                <a:gd name="T47" fmla="*/ 103916 h 427"/>
                <a:gd name="T48" fmla="*/ 119736 w 462"/>
                <a:gd name="T49" fmla="*/ 59831 h 427"/>
                <a:gd name="T50" fmla="*/ 119736 w 462"/>
                <a:gd name="T51" fmla="*/ 59831 h 427"/>
                <a:gd name="T52" fmla="*/ 47714 w 462"/>
                <a:gd name="T53" fmla="*/ 35988 h 427"/>
                <a:gd name="T54" fmla="*/ 119736 w 462"/>
                <a:gd name="T55" fmla="*/ 16195 h 427"/>
                <a:gd name="T56" fmla="*/ 187256 w 462"/>
                <a:gd name="T57" fmla="*/ 35988 h 427"/>
                <a:gd name="T58" fmla="*/ 119736 w 462"/>
                <a:gd name="T59" fmla="*/ 59831 h 427"/>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462" h="427">
                  <a:moveTo>
                    <a:pt x="266" y="0"/>
                  </a:moveTo>
                  <a:lnTo>
                    <a:pt x="266" y="0"/>
                  </a:lnTo>
                  <a:cubicBezTo>
                    <a:pt x="142" y="0"/>
                    <a:pt x="62" y="45"/>
                    <a:pt x="71" y="80"/>
                  </a:cubicBezTo>
                  <a:cubicBezTo>
                    <a:pt x="71" y="89"/>
                    <a:pt x="71" y="116"/>
                    <a:pt x="80" y="143"/>
                  </a:cubicBezTo>
                  <a:cubicBezTo>
                    <a:pt x="18" y="169"/>
                    <a:pt x="0" y="205"/>
                    <a:pt x="0" y="240"/>
                  </a:cubicBezTo>
                  <a:cubicBezTo>
                    <a:pt x="9" y="275"/>
                    <a:pt x="36" y="311"/>
                    <a:pt x="115" y="319"/>
                  </a:cubicBezTo>
                  <a:cubicBezTo>
                    <a:pt x="151" y="319"/>
                    <a:pt x="204" y="302"/>
                    <a:pt x="231" y="266"/>
                  </a:cubicBezTo>
                  <a:cubicBezTo>
                    <a:pt x="231" y="258"/>
                    <a:pt x="231" y="249"/>
                    <a:pt x="231" y="249"/>
                  </a:cubicBezTo>
                  <a:cubicBezTo>
                    <a:pt x="231" y="222"/>
                    <a:pt x="249" y="213"/>
                    <a:pt x="266" y="213"/>
                  </a:cubicBezTo>
                  <a:cubicBezTo>
                    <a:pt x="284" y="213"/>
                    <a:pt x="302" y="222"/>
                    <a:pt x="302" y="249"/>
                  </a:cubicBezTo>
                  <a:cubicBezTo>
                    <a:pt x="302" y="266"/>
                    <a:pt x="284" y="284"/>
                    <a:pt x="266" y="284"/>
                  </a:cubicBezTo>
                  <a:cubicBezTo>
                    <a:pt x="222" y="328"/>
                    <a:pt x="169" y="355"/>
                    <a:pt x="115" y="355"/>
                  </a:cubicBezTo>
                  <a:cubicBezTo>
                    <a:pt x="115" y="364"/>
                    <a:pt x="115" y="364"/>
                    <a:pt x="115" y="372"/>
                  </a:cubicBezTo>
                  <a:cubicBezTo>
                    <a:pt x="115" y="381"/>
                    <a:pt x="178" y="426"/>
                    <a:pt x="266" y="426"/>
                  </a:cubicBezTo>
                  <a:cubicBezTo>
                    <a:pt x="355" y="426"/>
                    <a:pt x="408" y="381"/>
                    <a:pt x="408" y="372"/>
                  </a:cubicBezTo>
                  <a:cubicBezTo>
                    <a:pt x="416" y="355"/>
                    <a:pt x="453" y="116"/>
                    <a:pt x="453" y="80"/>
                  </a:cubicBezTo>
                  <a:cubicBezTo>
                    <a:pt x="461" y="45"/>
                    <a:pt x="381" y="0"/>
                    <a:pt x="266" y="0"/>
                  </a:cubicBezTo>
                  <a:close/>
                  <a:moveTo>
                    <a:pt x="36" y="231"/>
                  </a:moveTo>
                  <a:lnTo>
                    <a:pt x="36" y="231"/>
                  </a:lnTo>
                  <a:cubicBezTo>
                    <a:pt x="36" y="222"/>
                    <a:pt x="53" y="196"/>
                    <a:pt x="89" y="178"/>
                  </a:cubicBezTo>
                  <a:cubicBezTo>
                    <a:pt x="89" y="213"/>
                    <a:pt x="98" y="249"/>
                    <a:pt x="106" y="284"/>
                  </a:cubicBezTo>
                  <a:cubicBezTo>
                    <a:pt x="62" y="275"/>
                    <a:pt x="44" y="258"/>
                    <a:pt x="36" y="231"/>
                  </a:cubicBezTo>
                  <a:close/>
                  <a:moveTo>
                    <a:pt x="266" y="133"/>
                  </a:moveTo>
                  <a:lnTo>
                    <a:pt x="266" y="133"/>
                  </a:lnTo>
                  <a:cubicBezTo>
                    <a:pt x="178" y="133"/>
                    <a:pt x="106" y="98"/>
                    <a:pt x="106" y="80"/>
                  </a:cubicBezTo>
                  <a:cubicBezTo>
                    <a:pt x="106" y="71"/>
                    <a:pt x="178" y="36"/>
                    <a:pt x="266" y="36"/>
                  </a:cubicBezTo>
                  <a:cubicBezTo>
                    <a:pt x="355" y="36"/>
                    <a:pt x="416" y="71"/>
                    <a:pt x="416" y="80"/>
                  </a:cubicBezTo>
                  <a:cubicBezTo>
                    <a:pt x="416" y="98"/>
                    <a:pt x="355" y="133"/>
                    <a:pt x="266" y="133"/>
                  </a:cubicBezTo>
                  <a:close/>
                </a:path>
              </a:pathLst>
            </a:custGeom>
            <a:solidFill>
              <a:schemeClr val="bg1"/>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7"/>
                      </a:srgbClr>
                    </a:outerShdw>
                  </a:effectLst>
                </a14:hiddenEffects>
              </a:ext>
            </a:extLst>
          </p:spPr>
          <p:txBody>
            <a:bodyPr wrap="none" lIns="34290" tIns="17145" rIns="34290" bIns="17145"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21" name="Freeform 151">
              <a:extLst>
                <a:ext uri="{FF2B5EF4-FFF2-40B4-BE49-F238E27FC236}">
                  <a16:creationId xmlns:a16="http://schemas.microsoft.com/office/drawing/2014/main" id="{4B3B2BB7-4BEE-4848-8D74-DFDA27B9E9AF}"/>
                </a:ext>
              </a:extLst>
            </p:cNvPr>
            <p:cNvSpPr>
              <a:spLocks noChangeArrowheads="1"/>
            </p:cNvSpPr>
            <p:nvPr/>
          </p:nvSpPr>
          <p:spPr bwMode="auto">
            <a:xfrm>
              <a:off x="7359451" y="4319715"/>
              <a:ext cx="484090" cy="281528"/>
            </a:xfrm>
            <a:custGeom>
              <a:avLst/>
              <a:gdLst>
                <a:gd name="T0" fmla="*/ 55847 w 497"/>
                <a:gd name="T1" fmla="*/ 98187 h 293"/>
                <a:gd name="T2" fmla="*/ 55847 w 497"/>
                <a:gd name="T3" fmla="*/ 98187 h 293"/>
                <a:gd name="T4" fmla="*/ 55847 w 497"/>
                <a:gd name="T5" fmla="*/ 43095 h 293"/>
                <a:gd name="T6" fmla="*/ 79717 w 497"/>
                <a:gd name="T7" fmla="*/ 43095 h 293"/>
                <a:gd name="T8" fmla="*/ 39633 w 497"/>
                <a:gd name="T9" fmla="*/ 0 h 293"/>
                <a:gd name="T10" fmla="*/ 0 w 497"/>
                <a:gd name="T11" fmla="*/ 43095 h 293"/>
                <a:gd name="T12" fmla="*/ 23870 w 497"/>
                <a:gd name="T13" fmla="*/ 43095 h 293"/>
                <a:gd name="T14" fmla="*/ 23870 w 497"/>
                <a:gd name="T15" fmla="*/ 110182 h 293"/>
                <a:gd name="T16" fmla="*/ 43686 w 497"/>
                <a:gd name="T17" fmla="*/ 129731 h 293"/>
                <a:gd name="T18" fmla="*/ 143670 w 497"/>
                <a:gd name="T19" fmla="*/ 129731 h 293"/>
                <a:gd name="T20" fmla="*/ 115296 w 497"/>
                <a:gd name="T21" fmla="*/ 98187 h 293"/>
                <a:gd name="T22" fmla="*/ 55847 w 497"/>
                <a:gd name="T23" fmla="*/ 98187 h 293"/>
                <a:gd name="T24" fmla="*/ 199517 w 497"/>
                <a:gd name="T25" fmla="*/ 86635 h 293"/>
                <a:gd name="T26" fmla="*/ 199517 w 497"/>
                <a:gd name="T27" fmla="*/ 86635 h 293"/>
                <a:gd name="T28" fmla="*/ 199517 w 497"/>
                <a:gd name="T29" fmla="*/ 19548 h 293"/>
                <a:gd name="T30" fmla="*/ 179700 w 497"/>
                <a:gd name="T31" fmla="*/ 0 h 293"/>
                <a:gd name="T32" fmla="*/ 79717 w 497"/>
                <a:gd name="T33" fmla="*/ 0 h 293"/>
                <a:gd name="T34" fmla="*/ 107640 w 497"/>
                <a:gd name="T35" fmla="*/ 27101 h 293"/>
                <a:gd name="T36" fmla="*/ 167540 w 497"/>
                <a:gd name="T37" fmla="*/ 27101 h 293"/>
                <a:gd name="T38" fmla="*/ 167540 w 497"/>
                <a:gd name="T39" fmla="*/ 86635 h 293"/>
                <a:gd name="T40" fmla="*/ 143670 w 497"/>
                <a:gd name="T41" fmla="*/ 86635 h 293"/>
                <a:gd name="T42" fmla="*/ 183303 w 497"/>
                <a:gd name="T43" fmla="*/ 129731 h 293"/>
                <a:gd name="T44" fmla="*/ 223387 w 497"/>
                <a:gd name="T45" fmla="*/ 86635 h 293"/>
                <a:gd name="T46" fmla="*/ 199517 w 497"/>
                <a:gd name="T47" fmla="*/ 86635 h 293"/>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497" h="293">
                  <a:moveTo>
                    <a:pt x="124" y="221"/>
                  </a:moveTo>
                  <a:lnTo>
                    <a:pt x="124" y="221"/>
                  </a:lnTo>
                  <a:cubicBezTo>
                    <a:pt x="124" y="97"/>
                    <a:pt x="124" y="97"/>
                    <a:pt x="124" y="97"/>
                  </a:cubicBezTo>
                  <a:cubicBezTo>
                    <a:pt x="177" y="97"/>
                    <a:pt x="177" y="97"/>
                    <a:pt x="177" y="97"/>
                  </a:cubicBezTo>
                  <a:cubicBezTo>
                    <a:pt x="88" y="0"/>
                    <a:pt x="88" y="0"/>
                    <a:pt x="88" y="0"/>
                  </a:cubicBezTo>
                  <a:cubicBezTo>
                    <a:pt x="0" y="97"/>
                    <a:pt x="0" y="97"/>
                    <a:pt x="0" y="97"/>
                  </a:cubicBezTo>
                  <a:cubicBezTo>
                    <a:pt x="53" y="97"/>
                    <a:pt x="53" y="97"/>
                    <a:pt x="53" y="97"/>
                  </a:cubicBezTo>
                  <a:cubicBezTo>
                    <a:pt x="53" y="248"/>
                    <a:pt x="53" y="248"/>
                    <a:pt x="53" y="248"/>
                  </a:cubicBezTo>
                  <a:cubicBezTo>
                    <a:pt x="53" y="274"/>
                    <a:pt x="71" y="292"/>
                    <a:pt x="97" y="292"/>
                  </a:cubicBezTo>
                  <a:cubicBezTo>
                    <a:pt x="319" y="292"/>
                    <a:pt x="319" y="292"/>
                    <a:pt x="319" y="292"/>
                  </a:cubicBezTo>
                  <a:cubicBezTo>
                    <a:pt x="256" y="221"/>
                    <a:pt x="256" y="221"/>
                    <a:pt x="256" y="221"/>
                  </a:cubicBezTo>
                  <a:lnTo>
                    <a:pt x="124" y="221"/>
                  </a:lnTo>
                  <a:close/>
                  <a:moveTo>
                    <a:pt x="443" y="195"/>
                  </a:moveTo>
                  <a:lnTo>
                    <a:pt x="443" y="195"/>
                  </a:lnTo>
                  <a:cubicBezTo>
                    <a:pt x="443" y="44"/>
                    <a:pt x="443" y="44"/>
                    <a:pt x="443" y="44"/>
                  </a:cubicBezTo>
                  <a:cubicBezTo>
                    <a:pt x="443" y="17"/>
                    <a:pt x="425" y="0"/>
                    <a:pt x="399" y="0"/>
                  </a:cubicBezTo>
                  <a:cubicBezTo>
                    <a:pt x="177" y="0"/>
                    <a:pt x="177" y="0"/>
                    <a:pt x="177" y="0"/>
                  </a:cubicBezTo>
                  <a:cubicBezTo>
                    <a:pt x="239" y="61"/>
                    <a:pt x="239" y="61"/>
                    <a:pt x="239" y="61"/>
                  </a:cubicBezTo>
                  <a:cubicBezTo>
                    <a:pt x="372" y="61"/>
                    <a:pt x="372" y="61"/>
                    <a:pt x="372" y="61"/>
                  </a:cubicBezTo>
                  <a:cubicBezTo>
                    <a:pt x="372" y="195"/>
                    <a:pt x="372" y="195"/>
                    <a:pt x="372" y="195"/>
                  </a:cubicBezTo>
                  <a:cubicBezTo>
                    <a:pt x="319" y="195"/>
                    <a:pt x="319" y="195"/>
                    <a:pt x="319" y="195"/>
                  </a:cubicBezTo>
                  <a:cubicBezTo>
                    <a:pt x="407" y="292"/>
                    <a:pt x="407" y="292"/>
                    <a:pt x="407" y="292"/>
                  </a:cubicBezTo>
                  <a:cubicBezTo>
                    <a:pt x="496" y="195"/>
                    <a:pt x="496" y="195"/>
                    <a:pt x="496" y="195"/>
                  </a:cubicBezTo>
                  <a:lnTo>
                    <a:pt x="443" y="195"/>
                  </a:lnTo>
                  <a:close/>
                </a:path>
              </a:pathLst>
            </a:custGeom>
            <a:solidFill>
              <a:schemeClr val="bg1"/>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7"/>
                      </a:srgbClr>
                    </a:outerShdw>
                  </a:effectLst>
                </a14:hiddenEffects>
              </a:ext>
            </a:extLst>
          </p:spPr>
          <p:txBody>
            <a:bodyPr wrap="none" lIns="34290" tIns="17145" rIns="34290" bIns="17145"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22" name="Freeform 160">
              <a:extLst>
                <a:ext uri="{FF2B5EF4-FFF2-40B4-BE49-F238E27FC236}">
                  <a16:creationId xmlns:a16="http://schemas.microsoft.com/office/drawing/2014/main" id="{22ABECFE-0D75-4663-97E6-B5E559105814}"/>
                </a:ext>
              </a:extLst>
            </p:cNvPr>
            <p:cNvSpPr>
              <a:spLocks noChangeArrowheads="1"/>
            </p:cNvSpPr>
            <p:nvPr/>
          </p:nvSpPr>
          <p:spPr bwMode="auto">
            <a:xfrm>
              <a:off x="4985241" y="2569729"/>
              <a:ext cx="340014" cy="293295"/>
            </a:xfrm>
            <a:custGeom>
              <a:avLst/>
              <a:gdLst>
                <a:gd name="T0" fmla="*/ 19849 w 461"/>
                <a:gd name="T1" fmla="*/ 55610 h 400"/>
                <a:gd name="T2" fmla="*/ 19849 w 461"/>
                <a:gd name="T3" fmla="*/ 55610 h 400"/>
                <a:gd name="T4" fmla="*/ 99696 w 461"/>
                <a:gd name="T5" fmla="*/ 47538 h 400"/>
                <a:gd name="T6" fmla="*/ 147965 w 461"/>
                <a:gd name="T7" fmla="*/ 63683 h 400"/>
                <a:gd name="T8" fmla="*/ 199843 w 461"/>
                <a:gd name="T9" fmla="*/ 39914 h 400"/>
                <a:gd name="T10" fmla="*/ 203452 w 461"/>
                <a:gd name="T11" fmla="*/ 23769 h 400"/>
                <a:gd name="T12" fmla="*/ 187663 w 461"/>
                <a:gd name="T13" fmla="*/ 23769 h 400"/>
                <a:gd name="T14" fmla="*/ 107816 w 461"/>
                <a:gd name="T15" fmla="*/ 27805 h 400"/>
                <a:gd name="T16" fmla="*/ 8120 w 461"/>
                <a:gd name="T17" fmla="*/ 39914 h 400"/>
                <a:gd name="T18" fmla="*/ 4060 w 461"/>
                <a:gd name="T19" fmla="*/ 55610 h 400"/>
                <a:gd name="T20" fmla="*/ 19849 w 461"/>
                <a:gd name="T21" fmla="*/ 55610 h 400"/>
                <a:gd name="T22" fmla="*/ 187663 w 461"/>
                <a:gd name="T23" fmla="*/ 79828 h 400"/>
                <a:gd name="T24" fmla="*/ 187663 w 461"/>
                <a:gd name="T25" fmla="*/ 79828 h 400"/>
                <a:gd name="T26" fmla="*/ 107816 w 461"/>
                <a:gd name="T27" fmla="*/ 87452 h 400"/>
                <a:gd name="T28" fmla="*/ 8120 w 461"/>
                <a:gd name="T29" fmla="*/ 95524 h 400"/>
                <a:gd name="T30" fmla="*/ 4060 w 461"/>
                <a:gd name="T31" fmla="*/ 111221 h 400"/>
                <a:gd name="T32" fmla="*/ 19849 w 461"/>
                <a:gd name="T33" fmla="*/ 111221 h 400"/>
                <a:gd name="T34" fmla="*/ 99696 w 461"/>
                <a:gd name="T35" fmla="*/ 107633 h 400"/>
                <a:gd name="T36" fmla="*/ 147965 w 461"/>
                <a:gd name="T37" fmla="*/ 123329 h 400"/>
                <a:gd name="T38" fmla="*/ 199843 w 461"/>
                <a:gd name="T39" fmla="*/ 99560 h 400"/>
                <a:gd name="T40" fmla="*/ 203452 w 461"/>
                <a:gd name="T41" fmla="*/ 83864 h 400"/>
                <a:gd name="T42" fmla="*/ 187663 w 461"/>
                <a:gd name="T43" fmla="*/ 79828 h 400"/>
                <a:gd name="T44" fmla="*/ 187663 w 461"/>
                <a:gd name="T45" fmla="*/ 135438 h 400"/>
                <a:gd name="T46" fmla="*/ 187663 w 461"/>
                <a:gd name="T47" fmla="*/ 135438 h 400"/>
                <a:gd name="T48" fmla="*/ 107816 w 461"/>
                <a:gd name="T49" fmla="*/ 143062 h 400"/>
                <a:gd name="T50" fmla="*/ 8120 w 461"/>
                <a:gd name="T51" fmla="*/ 151134 h 400"/>
                <a:gd name="T52" fmla="*/ 4060 w 461"/>
                <a:gd name="T53" fmla="*/ 166831 h 400"/>
                <a:gd name="T54" fmla="*/ 19849 w 461"/>
                <a:gd name="T55" fmla="*/ 170867 h 400"/>
                <a:gd name="T56" fmla="*/ 99696 w 461"/>
                <a:gd name="T57" fmla="*/ 162795 h 400"/>
                <a:gd name="T58" fmla="*/ 147965 w 461"/>
                <a:gd name="T59" fmla="*/ 178940 h 400"/>
                <a:gd name="T60" fmla="*/ 199843 w 461"/>
                <a:gd name="T61" fmla="*/ 155171 h 400"/>
                <a:gd name="T62" fmla="*/ 203452 w 461"/>
                <a:gd name="T63" fmla="*/ 139026 h 400"/>
                <a:gd name="T64" fmla="*/ 187663 w 461"/>
                <a:gd name="T65" fmla="*/ 135438 h 40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461" h="400">
                  <a:moveTo>
                    <a:pt x="44" y="124"/>
                  </a:moveTo>
                  <a:lnTo>
                    <a:pt x="44" y="124"/>
                  </a:lnTo>
                  <a:cubicBezTo>
                    <a:pt x="88" y="89"/>
                    <a:pt x="124" y="62"/>
                    <a:pt x="221" y="106"/>
                  </a:cubicBezTo>
                  <a:cubicBezTo>
                    <a:pt x="266" y="133"/>
                    <a:pt x="301" y="142"/>
                    <a:pt x="328" y="142"/>
                  </a:cubicBezTo>
                  <a:cubicBezTo>
                    <a:pt x="381" y="142"/>
                    <a:pt x="416" y="115"/>
                    <a:pt x="443" y="89"/>
                  </a:cubicBezTo>
                  <a:cubicBezTo>
                    <a:pt x="451" y="80"/>
                    <a:pt x="460" y="62"/>
                    <a:pt x="451" y="53"/>
                  </a:cubicBezTo>
                  <a:cubicBezTo>
                    <a:pt x="443" y="44"/>
                    <a:pt x="425" y="44"/>
                    <a:pt x="416" y="53"/>
                  </a:cubicBezTo>
                  <a:cubicBezTo>
                    <a:pt x="372" y="89"/>
                    <a:pt x="337" y="115"/>
                    <a:pt x="239" y="62"/>
                  </a:cubicBezTo>
                  <a:cubicBezTo>
                    <a:pt x="124" y="0"/>
                    <a:pt x="62" y="44"/>
                    <a:pt x="18" y="89"/>
                  </a:cubicBezTo>
                  <a:cubicBezTo>
                    <a:pt x="9" y="97"/>
                    <a:pt x="0" y="115"/>
                    <a:pt x="9" y="124"/>
                  </a:cubicBezTo>
                  <a:cubicBezTo>
                    <a:pt x="18" y="133"/>
                    <a:pt x="35" y="133"/>
                    <a:pt x="44" y="124"/>
                  </a:cubicBezTo>
                  <a:close/>
                  <a:moveTo>
                    <a:pt x="416" y="178"/>
                  </a:moveTo>
                  <a:lnTo>
                    <a:pt x="416" y="178"/>
                  </a:lnTo>
                  <a:cubicBezTo>
                    <a:pt x="372" y="213"/>
                    <a:pt x="337" y="248"/>
                    <a:pt x="239" y="195"/>
                  </a:cubicBezTo>
                  <a:cubicBezTo>
                    <a:pt x="124" y="124"/>
                    <a:pt x="62" y="178"/>
                    <a:pt x="18" y="213"/>
                  </a:cubicBezTo>
                  <a:cubicBezTo>
                    <a:pt x="9" y="222"/>
                    <a:pt x="0" y="240"/>
                    <a:pt x="9" y="248"/>
                  </a:cubicBezTo>
                  <a:cubicBezTo>
                    <a:pt x="18" y="257"/>
                    <a:pt x="35" y="257"/>
                    <a:pt x="44" y="248"/>
                  </a:cubicBezTo>
                  <a:cubicBezTo>
                    <a:pt x="88" y="213"/>
                    <a:pt x="124" y="187"/>
                    <a:pt x="221" y="240"/>
                  </a:cubicBezTo>
                  <a:cubicBezTo>
                    <a:pt x="266" y="266"/>
                    <a:pt x="301" y="275"/>
                    <a:pt x="328" y="275"/>
                  </a:cubicBezTo>
                  <a:cubicBezTo>
                    <a:pt x="381" y="275"/>
                    <a:pt x="416" y="240"/>
                    <a:pt x="443" y="222"/>
                  </a:cubicBezTo>
                  <a:cubicBezTo>
                    <a:pt x="451" y="213"/>
                    <a:pt x="460" y="195"/>
                    <a:pt x="451" y="187"/>
                  </a:cubicBezTo>
                  <a:cubicBezTo>
                    <a:pt x="443" y="168"/>
                    <a:pt x="425" y="168"/>
                    <a:pt x="416" y="178"/>
                  </a:cubicBezTo>
                  <a:close/>
                  <a:moveTo>
                    <a:pt x="416" y="302"/>
                  </a:moveTo>
                  <a:lnTo>
                    <a:pt x="416" y="302"/>
                  </a:lnTo>
                  <a:cubicBezTo>
                    <a:pt x="372" y="346"/>
                    <a:pt x="337" y="372"/>
                    <a:pt x="239" y="319"/>
                  </a:cubicBezTo>
                  <a:cubicBezTo>
                    <a:pt x="124" y="248"/>
                    <a:pt x="62" y="302"/>
                    <a:pt x="18" y="337"/>
                  </a:cubicBezTo>
                  <a:cubicBezTo>
                    <a:pt x="9" y="346"/>
                    <a:pt x="0" y="363"/>
                    <a:pt x="9" y="372"/>
                  </a:cubicBezTo>
                  <a:cubicBezTo>
                    <a:pt x="18" y="390"/>
                    <a:pt x="35" y="390"/>
                    <a:pt x="44" y="381"/>
                  </a:cubicBezTo>
                  <a:cubicBezTo>
                    <a:pt x="88" y="337"/>
                    <a:pt x="124" y="310"/>
                    <a:pt x="221" y="363"/>
                  </a:cubicBezTo>
                  <a:cubicBezTo>
                    <a:pt x="266" y="390"/>
                    <a:pt x="301" y="399"/>
                    <a:pt x="328" y="399"/>
                  </a:cubicBezTo>
                  <a:cubicBezTo>
                    <a:pt x="381" y="399"/>
                    <a:pt x="416" y="372"/>
                    <a:pt x="443" y="346"/>
                  </a:cubicBezTo>
                  <a:cubicBezTo>
                    <a:pt x="451" y="337"/>
                    <a:pt x="460" y="319"/>
                    <a:pt x="451" y="310"/>
                  </a:cubicBezTo>
                  <a:cubicBezTo>
                    <a:pt x="443" y="302"/>
                    <a:pt x="425" y="293"/>
                    <a:pt x="416" y="302"/>
                  </a:cubicBezTo>
                  <a:close/>
                </a:path>
              </a:pathLst>
            </a:custGeom>
            <a:solidFill>
              <a:schemeClr val="bg1"/>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7"/>
                      </a:srgbClr>
                    </a:outerShdw>
                  </a:effectLst>
                </a14:hiddenEffects>
              </a:ext>
            </a:extLst>
          </p:spPr>
          <p:txBody>
            <a:bodyPr wrap="none" lIns="34290" tIns="17145" rIns="34290" bIns="17145"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grpSp>
      <p:grpSp>
        <p:nvGrpSpPr>
          <p:cNvPr id="52" name="Group 113">
            <a:extLst>
              <a:ext uri="{FF2B5EF4-FFF2-40B4-BE49-F238E27FC236}">
                <a16:creationId xmlns:a16="http://schemas.microsoft.com/office/drawing/2014/main" id="{CDAF022F-5CB6-4C34-A698-2CFE9967C4DF}"/>
              </a:ext>
            </a:extLst>
          </p:cNvPr>
          <p:cNvGrpSpPr/>
          <p:nvPr/>
        </p:nvGrpSpPr>
        <p:grpSpPr>
          <a:xfrm>
            <a:off x="521569" y="2172666"/>
            <a:ext cx="2533086" cy="1492387"/>
            <a:chOff x="521569" y="2172666"/>
            <a:chExt cx="2533086" cy="1492387"/>
          </a:xfrm>
        </p:grpSpPr>
        <p:grpSp>
          <p:nvGrpSpPr>
            <p:cNvPr id="53" name="Group 71">
              <a:extLst>
                <a:ext uri="{FF2B5EF4-FFF2-40B4-BE49-F238E27FC236}">
                  <a16:creationId xmlns:a16="http://schemas.microsoft.com/office/drawing/2014/main" id="{234C4FE9-807A-4AEE-A2D3-D38F9027E9C6}"/>
                </a:ext>
              </a:extLst>
            </p:cNvPr>
            <p:cNvGrpSpPr/>
            <p:nvPr/>
          </p:nvGrpSpPr>
          <p:grpSpPr>
            <a:xfrm>
              <a:off x="521569" y="2249549"/>
              <a:ext cx="259660" cy="259660"/>
              <a:chOff x="2288721" y="2772229"/>
              <a:chExt cx="2471965" cy="2471965"/>
            </a:xfrm>
          </p:grpSpPr>
          <p:sp>
            <p:nvSpPr>
              <p:cNvPr id="57" name="Oval 72">
                <a:extLst>
                  <a:ext uri="{FF2B5EF4-FFF2-40B4-BE49-F238E27FC236}">
                    <a16:creationId xmlns:a16="http://schemas.microsoft.com/office/drawing/2014/main" id="{8192E81C-E1CC-4343-8F6A-ADC90307C474}"/>
                  </a:ext>
                </a:extLst>
              </p:cNvPr>
              <p:cNvSpPr/>
              <p:nvPr/>
            </p:nvSpPr>
            <p:spPr>
              <a:xfrm>
                <a:off x="2288721" y="2772229"/>
                <a:ext cx="2471965" cy="2471965"/>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等线" panose="020F0502020204030204"/>
                  <a:ea typeface="+mn-ea"/>
                  <a:cs typeface="+mn-cs"/>
                </a:endParaRPr>
              </a:p>
            </p:txBody>
          </p:sp>
          <p:sp>
            <p:nvSpPr>
              <p:cNvPr id="58" name="Freeform 29">
                <a:extLst>
                  <a:ext uri="{FF2B5EF4-FFF2-40B4-BE49-F238E27FC236}">
                    <a16:creationId xmlns:a16="http://schemas.microsoft.com/office/drawing/2014/main" id="{225753D4-4AC3-4E94-937A-704CAD1EBE35}"/>
                  </a:ext>
                </a:extLst>
              </p:cNvPr>
              <p:cNvSpPr>
                <a:spLocks/>
              </p:cNvSpPr>
              <p:nvPr/>
            </p:nvSpPr>
            <p:spPr bwMode="auto">
              <a:xfrm>
                <a:off x="2804183" y="3513718"/>
                <a:ext cx="1503332" cy="1160049"/>
              </a:xfrm>
              <a:custGeom>
                <a:avLst/>
                <a:gdLst>
                  <a:gd name="T0" fmla="*/ 198196 w 59"/>
                  <a:gd name="T1" fmla="*/ 41487 h 45"/>
                  <a:gd name="T2" fmla="*/ 102515 w 59"/>
                  <a:gd name="T3" fmla="*/ 134832 h 45"/>
                  <a:gd name="T4" fmla="*/ 85429 w 59"/>
                  <a:gd name="T5" fmla="*/ 152118 h 45"/>
                  <a:gd name="T6" fmla="*/ 78595 w 59"/>
                  <a:gd name="T7" fmla="*/ 155575 h 45"/>
                  <a:gd name="T8" fmla="*/ 68343 w 59"/>
                  <a:gd name="T9" fmla="*/ 152118 h 45"/>
                  <a:gd name="T10" fmla="*/ 51258 w 59"/>
                  <a:gd name="T11" fmla="*/ 134832 h 45"/>
                  <a:gd name="T12" fmla="*/ 3417 w 59"/>
                  <a:gd name="T13" fmla="*/ 89888 h 45"/>
                  <a:gd name="T14" fmla="*/ 0 w 59"/>
                  <a:gd name="T15" fmla="*/ 79516 h 45"/>
                  <a:gd name="T16" fmla="*/ 3417 w 59"/>
                  <a:gd name="T17" fmla="*/ 69144 h 45"/>
                  <a:gd name="T18" fmla="*/ 20503 w 59"/>
                  <a:gd name="T19" fmla="*/ 51858 h 45"/>
                  <a:gd name="T20" fmla="*/ 30755 w 59"/>
                  <a:gd name="T21" fmla="*/ 48401 h 45"/>
                  <a:gd name="T22" fmla="*/ 37589 w 59"/>
                  <a:gd name="T23" fmla="*/ 51858 h 45"/>
                  <a:gd name="T24" fmla="*/ 78595 w 59"/>
                  <a:gd name="T25" fmla="*/ 89888 h 45"/>
                  <a:gd name="T26" fmla="*/ 160607 w 59"/>
                  <a:gd name="T27" fmla="*/ 3457 h 45"/>
                  <a:gd name="T28" fmla="*/ 170858 w 59"/>
                  <a:gd name="T29" fmla="*/ 0 h 45"/>
                  <a:gd name="T30" fmla="*/ 181110 w 59"/>
                  <a:gd name="T31" fmla="*/ 3457 h 45"/>
                  <a:gd name="T32" fmla="*/ 198196 w 59"/>
                  <a:gd name="T33" fmla="*/ 24201 h 45"/>
                  <a:gd name="T34" fmla="*/ 201613 w 59"/>
                  <a:gd name="T35" fmla="*/ 31115 h 45"/>
                  <a:gd name="T36" fmla="*/ 198196 w 59"/>
                  <a:gd name="T37" fmla="*/ 41487 h 4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9" h="45">
                    <a:moveTo>
                      <a:pt x="58" y="12"/>
                    </a:moveTo>
                    <a:cubicBezTo>
                      <a:pt x="30" y="39"/>
                      <a:pt x="30" y="39"/>
                      <a:pt x="30" y="39"/>
                    </a:cubicBezTo>
                    <a:cubicBezTo>
                      <a:pt x="25" y="44"/>
                      <a:pt x="25" y="44"/>
                      <a:pt x="25" y="44"/>
                    </a:cubicBezTo>
                    <a:cubicBezTo>
                      <a:pt x="24" y="45"/>
                      <a:pt x="24" y="45"/>
                      <a:pt x="23" y="45"/>
                    </a:cubicBezTo>
                    <a:cubicBezTo>
                      <a:pt x="22" y="45"/>
                      <a:pt x="21" y="45"/>
                      <a:pt x="20" y="44"/>
                    </a:cubicBezTo>
                    <a:cubicBezTo>
                      <a:pt x="15" y="39"/>
                      <a:pt x="15" y="39"/>
                      <a:pt x="15" y="39"/>
                    </a:cubicBezTo>
                    <a:cubicBezTo>
                      <a:pt x="1" y="26"/>
                      <a:pt x="1" y="26"/>
                      <a:pt x="1" y="26"/>
                    </a:cubicBezTo>
                    <a:cubicBezTo>
                      <a:pt x="0" y="25"/>
                      <a:pt x="0" y="24"/>
                      <a:pt x="0" y="23"/>
                    </a:cubicBezTo>
                    <a:cubicBezTo>
                      <a:pt x="0" y="22"/>
                      <a:pt x="0" y="21"/>
                      <a:pt x="1" y="20"/>
                    </a:cubicBezTo>
                    <a:cubicBezTo>
                      <a:pt x="6" y="15"/>
                      <a:pt x="6" y="15"/>
                      <a:pt x="6" y="15"/>
                    </a:cubicBezTo>
                    <a:cubicBezTo>
                      <a:pt x="7" y="14"/>
                      <a:pt x="8" y="14"/>
                      <a:pt x="9" y="14"/>
                    </a:cubicBezTo>
                    <a:cubicBezTo>
                      <a:pt x="10" y="14"/>
                      <a:pt x="11" y="14"/>
                      <a:pt x="11" y="15"/>
                    </a:cubicBezTo>
                    <a:cubicBezTo>
                      <a:pt x="23" y="26"/>
                      <a:pt x="23" y="26"/>
                      <a:pt x="23" y="26"/>
                    </a:cubicBezTo>
                    <a:cubicBezTo>
                      <a:pt x="47" y="1"/>
                      <a:pt x="47" y="1"/>
                      <a:pt x="47" y="1"/>
                    </a:cubicBezTo>
                    <a:cubicBezTo>
                      <a:pt x="48" y="1"/>
                      <a:pt x="49" y="0"/>
                      <a:pt x="50" y="0"/>
                    </a:cubicBezTo>
                    <a:cubicBezTo>
                      <a:pt x="51" y="0"/>
                      <a:pt x="52" y="1"/>
                      <a:pt x="53" y="1"/>
                    </a:cubicBezTo>
                    <a:cubicBezTo>
                      <a:pt x="58" y="7"/>
                      <a:pt x="58" y="7"/>
                      <a:pt x="58" y="7"/>
                    </a:cubicBezTo>
                    <a:cubicBezTo>
                      <a:pt x="58" y="7"/>
                      <a:pt x="59" y="8"/>
                      <a:pt x="59" y="9"/>
                    </a:cubicBezTo>
                    <a:cubicBezTo>
                      <a:pt x="59" y="10"/>
                      <a:pt x="58" y="11"/>
                      <a:pt x="58" y="12"/>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grpSp>
        <p:grpSp>
          <p:nvGrpSpPr>
            <p:cNvPr id="54" name="Group 74">
              <a:extLst>
                <a:ext uri="{FF2B5EF4-FFF2-40B4-BE49-F238E27FC236}">
                  <a16:creationId xmlns:a16="http://schemas.microsoft.com/office/drawing/2014/main" id="{87462630-3169-4DFC-A84E-C9CF03484188}"/>
                </a:ext>
              </a:extLst>
            </p:cNvPr>
            <p:cNvGrpSpPr/>
            <p:nvPr/>
          </p:nvGrpSpPr>
          <p:grpSpPr>
            <a:xfrm>
              <a:off x="835374" y="2172666"/>
              <a:ext cx="2219281" cy="1492387"/>
              <a:chOff x="1090766" y="688621"/>
              <a:chExt cx="2219281" cy="1492387"/>
            </a:xfrm>
          </p:grpSpPr>
          <p:sp>
            <p:nvSpPr>
              <p:cNvPr id="55" name="Rectangle 75">
                <a:extLst>
                  <a:ext uri="{FF2B5EF4-FFF2-40B4-BE49-F238E27FC236}">
                    <a16:creationId xmlns:a16="http://schemas.microsoft.com/office/drawing/2014/main" id="{BA2FE541-D43D-409D-80C8-34EE05989D85}"/>
                  </a:ext>
                </a:extLst>
              </p:cNvPr>
              <p:cNvSpPr/>
              <p:nvPr/>
            </p:nvSpPr>
            <p:spPr>
              <a:xfrm>
                <a:off x="1090766" y="688621"/>
                <a:ext cx="2132703" cy="368114"/>
              </a:xfrm>
              <a:prstGeom prst="rect">
                <a:avLst/>
              </a:prstGeom>
            </p:spPr>
            <p:txBody>
              <a:bodyPr wrap="square">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lumMod val="75000"/>
                        <a:lumOff val="25000"/>
                      </a:srgbClr>
                    </a:solidFill>
                    <a:effectLst/>
                    <a:uLnTx/>
                    <a:uFillTx/>
                    <a:latin typeface="Inter SemiBold" panose="020B0502030000000004" pitchFamily="34" charset="0"/>
                    <a:ea typeface="+mn-ea"/>
                    <a:cs typeface="Open Sans Light" panose="020B0306030504020204" pitchFamily="34" charset="0"/>
                  </a:rPr>
                  <a:t>Your Title Text</a:t>
                </a:r>
              </a:p>
            </p:txBody>
          </p:sp>
          <p:sp>
            <p:nvSpPr>
              <p:cNvPr id="56" name="Rectangle 76">
                <a:extLst>
                  <a:ext uri="{FF2B5EF4-FFF2-40B4-BE49-F238E27FC236}">
                    <a16:creationId xmlns:a16="http://schemas.microsoft.com/office/drawing/2014/main" id="{91B74018-8FF3-48D5-A911-9EB4DA31A99A}"/>
                  </a:ext>
                </a:extLst>
              </p:cNvPr>
              <p:cNvSpPr/>
              <p:nvPr/>
            </p:nvSpPr>
            <p:spPr>
              <a:xfrm>
                <a:off x="1090766" y="1054546"/>
                <a:ext cx="2219281" cy="1126462"/>
              </a:xfrm>
              <a:prstGeom prst="rect">
                <a:avLst/>
              </a:prstGeom>
            </p:spPr>
            <p:txBody>
              <a:bodyPr wrap="square">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id-ID" sz="1400" b="0" i="0" u="none" strike="noStrike" kern="1200" cap="none" spc="0" normalizeH="0" baseline="0" noProof="0" dirty="0">
                    <a:ln>
                      <a:noFill/>
                    </a:ln>
                    <a:solidFill>
                      <a:srgbClr val="FFFFFF">
                        <a:lumMod val="65000"/>
                      </a:srgbClr>
                    </a:solidFill>
                    <a:effectLst/>
                    <a:uLnTx/>
                    <a:uFillTx/>
                    <a:latin typeface="Segoe UI Light" panose="020B0502040204020203" pitchFamily="34" charset="0"/>
                    <a:ea typeface="+mn-ea"/>
                    <a:cs typeface="Segoe UI Light" panose="020B0502040204020203" pitchFamily="34" charset="0"/>
                  </a:rPr>
                  <a:t>The quick, brown fox jumps over a lazy dog. DJs flock by when MTV ax quiz prog. </a:t>
                </a:r>
                <a:endParaRPr kumimoji="0" lang="en-US" sz="1400" b="0" i="0" u="none" strike="noStrike" kern="1200" cap="none" spc="0" normalizeH="0" baseline="0" noProof="0" dirty="0">
                  <a:ln>
                    <a:noFill/>
                  </a:ln>
                  <a:solidFill>
                    <a:srgbClr val="FFFFFF">
                      <a:lumMod val="65000"/>
                    </a:srgbClr>
                  </a:solidFill>
                  <a:effectLst/>
                  <a:uLnTx/>
                  <a:uFillTx/>
                  <a:latin typeface="Segoe UI Light" panose="020B0502040204020203" pitchFamily="34" charset="0"/>
                  <a:ea typeface="+mn-ea"/>
                  <a:cs typeface="Segoe UI Light" panose="020B0502040204020203" pitchFamily="34" charset="0"/>
                </a:endParaRPr>
              </a:p>
            </p:txBody>
          </p:sp>
        </p:grpSp>
      </p:grpSp>
      <p:grpSp>
        <p:nvGrpSpPr>
          <p:cNvPr id="59" name="Group 114">
            <a:extLst>
              <a:ext uri="{FF2B5EF4-FFF2-40B4-BE49-F238E27FC236}">
                <a16:creationId xmlns:a16="http://schemas.microsoft.com/office/drawing/2014/main" id="{22FF8C3B-143A-41E4-A3B5-94F6090700C0}"/>
              </a:ext>
            </a:extLst>
          </p:cNvPr>
          <p:cNvGrpSpPr/>
          <p:nvPr/>
        </p:nvGrpSpPr>
        <p:grpSpPr>
          <a:xfrm>
            <a:off x="523288" y="4099740"/>
            <a:ext cx="2533086" cy="1492387"/>
            <a:chOff x="523288" y="4099740"/>
            <a:chExt cx="2533086" cy="1492387"/>
          </a:xfrm>
        </p:grpSpPr>
        <p:grpSp>
          <p:nvGrpSpPr>
            <p:cNvPr id="60" name="Group 95">
              <a:extLst>
                <a:ext uri="{FF2B5EF4-FFF2-40B4-BE49-F238E27FC236}">
                  <a16:creationId xmlns:a16="http://schemas.microsoft.com/office/drawing/2014/main" id="{74C8256F-1631-47CD-BD90-8A017D3C83A0}"/>
                </a:ext>
              </a:extLst>
            </p:cNvPr>
            <p:cNvGrpSpPr/>
            <p:nvPr/>
          </p:nvGrpSpPr>
          <p:grpSpPr>
            <a:xfrm>
              <a:off x="523288" y="4176623"/>
              <a:ext cx="259660" cy="259660"/>
              <a:chOff x="2288721" y="2772229"/>
              <a:chExt cx="2471965" cy="2471965"/>
            </a:xfrm>
          </p:grpSpPr>
          <p:sp>
            <p:nvSpPr>
              <p:cNvPr id="64" name="Oval 96">
                <a:extLst>
                  <a:ext uri="{FF2B5EF4-FFF2-40B4-BE49-F238E27FC236}">
                    <a16:creationId xmlns:a16="http://schemas.microsoft.com/office/drawing/2014/main" id="{DB1308DD-B717-48B5-AD2D-D74BCF487D30}"/>
                  </a:ext>
                </a:extLst>
              </p:cNvPr>
              <p:cNvSpPr/>
              <p:nvPr/>
            </p:nvSpPr>
            <p:spPr>
              <a:xfrm>
                <a:off x="2288721" y="2772229"/>
                <a:ext cx="2471965" cy="2471965"/>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等线" panose="020F0502020204030204"/>
                  <a:ea typeface="+mn-ea"/>
                  <a:cs typeface="+mn-cs"/>
                </a:endParaRPr>
              </a:p>
            </p:txBody>
          </p:sp>
          <p:sp>
            <p:nvSpPr>
              <p:cNvPr id="65" name="Freeform 29">
                <a:extLst>
                  <a:ext uri="{FF2B5EF4-FFF2-40B4-BE49-F238E27FC236}">
                    <a16:creationId xmlns:a16="http://schemas.microsoft.com/office/drawing/2014/main" id="{B8C5B61F-A5CD-4D09-916E-937003048547}"/>
                  </a:ext>
                </a:extLst>
              </p:cNvPr>
              <p:cNvSpPr>
                <a:spLocks/>
              </p:cNvSpPr>
              <p:nvPr/>
            </p:nvSpPr>
            <p:spPr bwMode="auto">
              <a:xfrm>
                <a:off x="2804183" y="3513718"/>
                <a:ext cx="1503332" cy="1160049"/>
              </a:xfrm>
              <a:custGeom>
                <a:avLst/>
                <a:gdLst>
                  <a:gd name="T0" fmla="*/ 198196 w 59"/>
                  <a:gd name="T1" fmla="*/ 41487 h 45"/>
                  <a:gd name="T2" fmla="*/ 102515 w 59"/>
                  <a:gd name="T3" fmla="*/ 134832 h 45"/>
                  <a:gd name="T4" fmla="*/ 85429 w 59"/>
                  <a:gd name="T5" fmla="*/ 152118 h 45"/>
                  <a:gd name="T6" fmla="*/ 78595 w 59"/>
                  <a:gd name="T7" fmla="*/ 155575 h 45"/>
                  <a:gd name="T8" fmla="*/ 68343 w 59"/>
                  <a:gd name="T9" fmla="*/ 152118 h 45"/>
                  <a:gd name="T10" fmla="*/ 51258 w 59"/>
                  <a:gd name="T11" fmla="*/ 134832 h 45"/>
                  <a:gd name="T12" fmla="*/ 3417 w 59"/>
                  <a:gd name="T13" fmla="*/ 89888 h 45"/>
                  <a:gd name="T14" fmla="*/ 0 w 59"/>
                  <a:gd name="T15" fmla="*/ 79516 h 45"/>
                  <a:gd name="T16" fmla="*/ 3417 w 59"/>
                  <a:gd name="T17" fmla="*/ 69144 h 45"/>
                  <a:gd name="T18" fmla="*/ 20503 w 59"/>
                  <a:gd name="T19" fmla="*/ 51858 h 45"/>
                  <a:gd name="T20" fmla="*/ 30755 w 59"/>
                  <a:gd name="T21" fmla="*/ 48401 h 45"/>
                  <a:gd name="T22" fmla="*/ 37589 w 59"/>
                  <a:gd name="T23" fmla="*/ 51858 h 45"/>
                  <a:gd name="T24" fmla="*/ 78595 w 59"/>
                  <a:gd name="T25" fmla="*/ 89888 h 45"/>
                  <a:gd name="T26" fmla="*/ 160607 w 59"/>
                  <a:gd name="T27" fmla="*/ 3457 h 45"/>
                  <a:gd name="T28" fmla="*/ 170858 w 59"/>
                  <a:gd name="T29" fmla="*/ 0 h 45"/>
                  <a:gd name="T30" fmla="*/ 181110 w 59"/>
                  <a:gd name="T31" fmla="*/ 3457 h 45"/>
                  <a:gd name="T32" fmla="*/ 198196 w 59"/>
                  <a:gd name="T33" fmla="*/ 24201 h 45"/>
                  <a:gd name="T34" fmla="*/ 201613 w 59"/>
                  <a:gd name="T35" fmla="*/ 31115 h 45"/>
                  <a:gd name="T36" fmla="*/ 198196 w 59"/>
                  <a:gd name="T37" fmla="*/ 41487 h 4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9" h="45">
                    <a:moveTo>
                      <a:pt x="58" y="12"/>
                    </a:moveTo>
                    <a:cubicBezTo>
                      <a:pt x="30" y="39"/>
                      <a:pt x="30" y="39"/>
                      <a:pt x="30" y="39"/>
                    </a:cubicBezTo>
                    <a:cubicBezTo>
                      <a:pt x="25" y="44"/>
                      <a:pt x="25" y="44"/>
                      <a:pt x="25" y="44"/>
                    </a:cubicBezTo>
                    <a:cubicBezTo>
                      <a:pt x="24" y="45"/>
                      <a:pt x="24" y="45"/>
                      <a:pt x="23" y="45"/>
                    </a:cubicBezTo>
                    <a:cubicBezTo>
                      <a:pt x="22" y="45"/>
                      <a:pt x="21" y="45"/>
                      <a:pt x="20" y="44"/>
                    </a:cubicBezTo>
                    <a:cubicBezTo>
                      <a:pt x="15" y="39"/>
                      <a:pt x="15" y="39"/>
                      <a:pt x="15" y="39"/>
                    </a:cubicBezTo>
                    <a:cubicBezTo>
                      <a:pt x="1" y="26"/>
                      <a:pt x="1" y="26"/>
                      <a:pt x="1" y="26"/>
                    </a:cubicBezTo>
                    <a:cubicBezTo>
                      <a:pt x="0" y="25"/>
                      <a:pt x="0" y="24"/>
                      <a:pt x="0" y="23"/>
                    </a:cubicBezTo>
                    <a:cubicBezTo>
                      <a:pt x="0" y="22"/>
                      <a:pt x="0" y="21"/>
                      <a:pt x="1" y="20"/>
                    </a:cubicBezTo>
                    <a:cubicBezTo>
                      <a:pt x="6" y="15"/>
                      <a:pt x="6" y="15"/>
                      <a:pt x="6" y="15"/>
                    </a:cubicBezTo>
                    <a:cubicBezTo>
                      <a:pt x="7" y="14"/>
                      <a:pt x="8" y="14"/>
                      <a:pt x="9" y="14"/>
                    </a:cubicBezTo>
                    <a:cubicBezTo>
                      <a:pt x="10" y="14"/>
                      <a:pt x="11" y="14"/>
                      <a:pt x="11" y="15"/>
                    </a:cubicBezTo>
                    <a:cubicBezTo>
                      <a:pt x="23" y="26"/>
                      <a:pt x="23" y="26"/>
                      <a:pt x="23" y="26"/>
                    </a:cubicBezTo>
                    <a:cubicBezTo>
                      <a:pt x="47" y="1"/>
                      <a:pt x="47" y="1"/>
                      <a:pt x="47" y="1"/>
                    </a:cubicBezTo>
                    <a:cubicBezTo>
                      <a:pt x="48" y="1"/>
                      <a:pt x="49" y="0"/>
                      <a:pt x="50" y="0"/>
                    </a:cubicBezTo>
                    <a:cubicBezTo>
                      <a:pt x="51" y="0"/>
                      <a:pt x="52" y="1"/>
                      <a:pt x="53" y="1"/>
                    </a:cubicBezTo>
                    <a:cubicBezTo>
                      <a:pt x="58" y="7"/>
                      <a:pt x="58" y="7"/>
                      <a:pt x="58" y="7"/>
                    </a:cubicBezTo>
                    <a:cubicBezTo>
                      <a:pt x="58" y="7"/>
                      <a:pt x="59" y="8"/>
                      <a:pt x="59" y="9"/>
                    </a:cubicBezTo>
                    <a:cubicBezTo>
                      <a:pt x="59" y="10"/>
                      <a:pt x="58" y="11"/>
                      <a:pt x="58" y="12"/>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grpSp>
        <p:grpSp>
          <p:nvGrpSpPr>
            <p:cNvPr id="61" name="Group 98">
              <a:extLst>
                <a:ext uri="{FF2B5EF4-FFF2-40B4-BE49-F238E27FC236}">
                  <a16:creationId xmlns:a16="http://schemas.microsoft.com/office/drawing/2014/main" id="{C93D3D17-F23C-4502-847B-2853D5715C0D}"/>
                </a:ext>
              </a:extLst>
            </p:cNvPr>
            <p:cNvGrpSpPr/>
            <p:nvPr/>
          </p:nvGrpSpPr>
          <p:grpSpPr>
            <a:xfrm>
              <a:off x="837093" y="4099740"/>
              <a:ext cx="2219281" cy="1492387"/>
              <a:chOff x="1090766" y="688621"/>
              <a:chExt cx="2219281" cy="1492387"/>
            </a:xfrm>
          </p:grpSpPr>
          <p:sp>
            <p:nvSpPr>
              <p:cNvPr id="62" name="Rectangle 99">
                <a:extLst>
                  <a:ext uri="{FF2B5EF4-FFF2-40B4-BE49-F238E27FC236}">
                    <a16:creationId xmlns:a16="http://schemas.microsoft.com/office/drawing/2014/main" id="{15F3F1A0-1CAC-485B-87DD-05C095A82199}"/>
                  </a:ext>
                </a:extLst>
              </p:cNvPr>
              <p:cNvSpPr/>
              <p:nvPr/>
            </p:nvSpPr>
            <p:spPr>
              <a:xfrm>
                <a:off x="1090766" y="688621"/>
                <a:ext cx="2132703" cy="368114"/>
              </a:xfrm>
              <a:prstGeom prst="rect">
                <a:avLst/>
              </a:prstGeom>
            </p:spPr>
            <p:txBody>
              <a:bodyPr wrap="square">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lumMod val="75000"/>
                        <a:lumOff val="25000"/>
                      </a:srgbClr>
                    </a:solidFill>
                    <a:effectLst/>
                    <a:uLnTx/>
                    <a:uFillTx/>
                    <a:latin typeface="Inter SemiBold" panose="020B0502030000000004" pitchFamily="34" charset="0"/>
                    <a:ea typeface="+mn-ea"/>
                    <a:cs typeface="Open Sans Light" panose="020B0306030504020204" pitchFamily="34" charset="0"/>
                  </a:rPr>
                  <a:t>Your Title Text</a:t>
                </a:r>
              </a:p>
            </p:txBody>
          </p:sp>
          <p:sp>
            <p:nvSpPr>
              <p:cNvPr id="63" name="Rectangle 100">
                <a:extLst>
                  <a:ext uri="{FF2B5EF4-FFF2-40B4-BE49-F238E27FC236}">
                    <a16:creationId xmlns:a16="http://schemas.microsoft.com/office/drawing/2014/main" id="{47E8A3F3-28E0-4624-A908-46BC0B1CEEEE}"/>
                  </a:ext>
                </a:extLst>
              </p:cNvPr>
              <p:cNvSpPr/>
              <p:nvPr/>
            </p:nvSpPr>
            <p:spPr>
              <a:xfrm>
                <a:off x="1090766" y="1054546"/>
                <a:ext cx="2219281" cy="1126462"/>
              </a:xfrm>
              <a:prstGeom prst="rect">
                <a:avLst/>
              </a:prstGeom>
            </p:spPr>
            <p:txBody>
              <a:bodyPr wrap="square">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id-ID" sz="1400" b="0" i="0" u="none" strike="noStrike" kern="1200" cap="none" spc="0" normalizeH="0" baseline="0" noProof="0" dirty="0">
                    <a:ln>
                      <a:noFill/>
                    </a:ln>
                    <a:solidFill>
                      <a:srgbClr val="FFFFFF">
                        <a:lumMod val="65000"/>
                      </a:srgbClr>
                    </a:solidFill>
                    <a:effectLst/>
                    <a:uLnTx/>
                    <a:uFillTx/>
                    <a:latin typeface="Segoe UI Light" panose="020B0502040204020203" pitchFamily="34" charset="0"/>
                    <a:ea typeface="+mn-ea"/>
                    <a:cs typeface="Segoe UI Light" panose="020B0502040204020203" pitchFamily="34" charset="0"/>
                  </a:rPr>
                  <a:t>The quick, brown fox jumps over a lazy dog. DJs flock by when MTV ax quiz prog. </a:t>
                </a:r>
                <a:endParaRPr kumimoji="0" lang="en-US" sz="1400" b="0" i="0" u="none" strike="noStrike" kern="1200" cap="none" spc="0" normalizeH="0" baseline="0" noProof="0" dirty="0">
                  <a:ln>
                    <a:noFill/>
                  </a:ln>
                  <a:solidFill>
                    <a:srgbClr val="FFFFFF">
                      <a:lumMod val="65000"/>
                    </a:srgbClr>
                  </a:solidFill>
                  <a:effectLst/>
                  <a:uLnTx/>
                  <a:uFillTx/>
                  <a:latin typeface="Segoe UI Light" panose="020B0502040204020203" pitchFamily="34" charset="0"/>
                  <a:ea typeface="+mn-ea"/>
                  <a:cs typeface="Segoe UI Light" panose="020B0502040204020203" pitchFamily="34" charset="0"/>
                </a:endParaRPr>
              </a:p>
            </p:txBody>
          </p:sp>
        </p:grpSp>
      </p:grpSp>
      <p:grpSp>
        <p:nvGrpSpPr>
          <p:cNvPr id="66" name="Group 115">
            <a:extLst>
              <a:ext uri="{FF2B5EF4-FFF2-40B4-BE49-F238E27FC236}">
                <a16:creationId xmlns:a16="http://schemas.microsoft.com/office/drawing/2014/main" id="{4603CE81-08EC-45FE-B1F6-11098079A835}"/>
              </a:ext>
            </a:extLst>
          </p:cNvPr>
          <p:cNvGrpSpPr/>
          <p:nvPr/>
        </p:nvGrpSpPr>
        <p:grpSpPr>
          <a:xfrm>
            <a:off x="8850133" y="2168332"/>
            <a:ext cx="2533086" cy="1492387"/>
            <a:chOff x="8850133" y="2168332"/>
            <a:chExt cx="2533086" cy="1492387"/>
          </a:xfrm>
        </p:grpSpPr>
        <p:grpSp>
          <p:nvGrpSpPr>
            <p:cNvPr id="67" name="Group 101">
              <a:extLst>
                <a:ext uri="{FF2B5EF4-FFF2-40B4-BE49-F238E27FC236}">
                  <a16:creationId xmlns:a16="http://schemas.microsoft.com/office/drawing/2014/main" id="{F8D16B01-407E-414F-BF95-06579E2A3C06}"/>
                </a:ext>
              </a:extLst>
            </p:cNvPr>
            <p:cNvGrpSpPr/>
            <p:nvPr/>
          </p:nvGrpSpPr>
          <p:grpSpPr>
            <a:xfrm>
              <a:off x="8850133" y="2245215"/>
              <a:ext cx="259660" cy="259660"/>
              <a:chOff x="2288721" y="2772229"/>
              <a:chExt cx="2471965" cy="2471965"/>
            </a:xfrm>
          </p:grpSpPr>
          <p:sp>
            <p:nvSpPr>
              <p:cNvPr id="71" name="Oval 102">
                <a:extLst>
                  <a:ext uri="{FF2B5EF4-FFF2-40B4-BE49-F238E27FC236}">
                    <a16:creationId xmlns:a16="http://schemas.microsoft.com/office/drawing/2014/main" id="{70B75CA5-C489-4867-9063-105890F5532F}"/>
                  </a:ext>
                </a:extLst>
              </p:cNvPr>
              <p:cNvSpPr/>
              <p:nvPr/>
            </p:nvSpPr>
            <p:spPr>
              <a:xfrm>
                <a:off x="2288721" y="2772229"/>
                <a:ext cx="2471965" cy="2471965"/>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等线" panose="020F0502020204030204"/>
                  <a:ea typeface="+mn-ea"/>
                  <a:cs typeface="+mn-cs"/>
                </a:endParaRPr>
              </a:p>
            </p:txBody>
          </p:sp>
          <p:sp>
            <p:nvSpPr>
              <p:cNvPr id="72" name="Freeform 29">
                <a:extLst>
                  <a:ext uri="{FF2B5EF4-FFF2-40B4-BE49-F238E27FC236}">
                    <a16:creationId xmlns:a16="http://schemas.microsoft.com/office/drawing/2014/main" id="{8C0FEFDC-DF83-411B-AEBC-A45E039F2778}"/>
                  </a:ext>
                </a:extLst>
              </p:cNvPr>
              <p:cNvSpPr>
                <a:spLocks/>
              </p:cNvSpPr>
              <p:nvPr/>
            </p:nvSpPr>
            <p:spPr bwMode="auto">
              <a:xfrm>
                <a:off x="2804183" y="3513718"/>
                <a:ext cx="1503332" cy="1160049"/>
              </a:xfrm>
              <a:custGeom>
                <a:avLst/>
                <a:gdLst>
                  <a:gd name="T0" fmla="*/ 198196 w 59"/>
                  <a:gd name="T1" fmla="*/ 41487 h 45"/>
                  <a:gd name="T2" fmla="*/ 102515 w 59"/>
                  <a:gd name="T3" fmla="*/ 134832 h 45"/>
                  <a:gd name="T4" fmla="*/ 85429 w 59"/>
                  <a:gd name="T5" fmla="*/ 152118 h 45"/>
                  <a:gd name="T6" fmla="*/ 78595 w 59"/>
                  <a:gd name="T7" fmla="*/ 155575 h 45"/>
                  <a:gd name="T8" fmla="*/ 68343 w 59"/>
                  <a:gd name="T9" fmla="*/ 152118 h 45"/>
                  <a:gd name="T10" fmla="*/ 51258 w 59"/>
                  <a:gd name="T11" fmla="*/ 134832 h 45"/>
                  <a:gd name="T12" fmla="*/ 3417 w 59"/>
                  <a:gd name="T13" fmla="*/ 89888 h 45"/>
                  <a:gd name="T14" fmla="*/ 0 w 59"/>
                  <a:gd name="T15" fmla="*/ 79516 h 45"/>
                  <a:gd name="T16" fmla="*/ 3417 w 59"/>
                  <a:gd name="T17" fmla="*/ 69144 h 45"/>
                  <a:gd name="T18" fmla="*/ 20503 w 59"/>
                  <a:gd name="T19" fmla="*/ 51858 h 45"/>
                  <a:gd name="T20" fmla="*/ 30755 w 59"/>
                  <a:gd name="T21" fmla="*/ 48401 h 45"/>
                  <a:gd name="T22" fmla="*/ 37589 w 59"/>
                  <a:gd name="T23" fmla="*/ 51858 h 45"/>
                  <a:gd name="T24" fmla="*/ 78595 w 59"/>
                  <a:gd name="T25" fmla="*/ 89888 h 45"/>
                  <a:gd name="T26" fmla="*/ 160607 w 59"/>
                  <a:gd name="T27" fmla="*/ 3457 h 45"/>
                  <a:gd name="T28" fmla="*/ 170858 w 59"/>
                  <a:gd name="T29" fmla="*/ 0 h 45"/>
                  <a:gd name="T30" fmla="*/ 181110 w 59"/>
                  <a:gd name="T31" fmla="*/ 3457 h 45"/>
                  <a:gd name="T32" fmla="*/ 198196 w 59"/>
                  <a:gd name="T33" fmla="*/ 24201 h 45"/>
                  <a:gd name="T34" fmla="*/ 201613 w 59"/>
                  <a:gd name="T35" fmla="*/ 31115 h 45"/>
                  <a:gd name="T36" fmla="*/ 198196 w 59"/>
                  <a:gd name="T37" fmla="*/ 41487 h 4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9" h="45">
                    <a:moveTo>
                      <a:pt x="58" y="12"/>
                    </a:moveTo>
                    <a:cubicBezTo>
                      <a:pt x="30" y="39"/>
                      <a:pt x="30" y="39"/>
                      <a:pt x="30" y="39"/>
                    </a:cubicBezTo>
                    <a:cubicBezTo>
                      <a:pt x="25" y="44"/>
                      <a:pt x="25" y="44"/>
                      <a:pt x="25" y="44"/>
                    </a:cubicBezTo>
                    <a:cubicBezTo>
                      <a:pt x="24" y="45"/>
                      <a:pt x="24" y="45"/>
                      <a:pt x="23" y="45"/>
                    </a:cubicBezTo>
                    <a:cubicBezTo>
                      <a:pt x="22" y="45"/>
                      <a:pt x="21" y="45"/>
                      <a:pt x="20" y="44"/>
                    </a:cubicBezTo>
                    <a:cubicBezTo>
                      <a:pt x="15" y="39"/>
                      <a:pt x="15" y="39"/>
                      <a:pt x="15" y="39"/>
                    </a:cubicBezTo>
                    <a:cubicBezTo>
                      <a:pt x="1" y="26"/>
                      <a:pt x="1" y="26"/>
                      <a:pt x="1" y="26"/>
                    </a:cubicBezTo>
                    <a:cubicBezTo>
                      <a:pt x="0" y="25"/>
                      <a:pt x="0" y="24"/>
                      <a:pt x="0" y="23"/>
                    </a:cubicBezTo>
                    <a:cubicBezTo>
                      <a:pt x="0" y="22"/>
                      <a:pt x="0" y="21"/>
                      <a:pt x="1" y="20"/>
                    </a:cubicBezTo>
                    <a:cubicBezTo>
                      <a:pt x="6" y="15"/>
                      <a:pt x="6" y="15"/>
                      <a:pt x="6" y="15"/>
                    </a:cubicBezTo>
                    <a:cubicBezTo>
                      <a:pt x="7" y="14"/>
                      <a:pt x="8" y="14"/>
                      <a:pt x="9" y="14"/>
                    </a:cubicBezTo>
                    <a:cubicBezTo>
                      <a:pt x="10" y="14"/>
                      <a:pt x="11" y="14"/>
                      <a:pt x="11" y="15"/>
                    </a:cubicBezTo>
                    <a:cubicBezTo>
                      <a:pt x="23" y="26"/>
                      <a:pt x="23" y="26"/>
                      <a:pt x="23" y="26"/>
                    </a:cubicBezTo>
                    <a:cubicBezTo>
                      <a:pt x="47" y="1"/>
                      <a:pt x="47" y="1"/>
                      <a:pt x="47" y="1"/>
                    </a:cubicBezTo>
                    <a:cubicBezTo>
                      <a:pt x="48" y="1"/>
                      <a:pt x="49" y="0"/>
                      <a:pt x="50" y="0"/>
                    </a:cubicBezTo>
                    <a:cubicBezTo>
                      <a:pt x="51" y="0"/>
                      <a:pt x="52" y="1"/>
                      <a:pt x="53" y="1"/>
                    </a:cubicBezTo>
                    <a:cubicBezTo>
                      <a:pt x="58" y="7"/>
                      <a:pt x="58" y="7"/>
                      <a:pt x="58" y="7"/>
                    </a:cubicBezTo>
                    <a:cubicBezTo>
                      <a:pt x="58" y="7"/>
                      <a:pt x="59" y="8"/>
                      <a:pt x="59" y="9"/>
                    </a:cubicBezTo>
                    <a:cubicBezTo>
                      <a:pt x="59" y="10"/>
                      <a:pt x="58" y="11"/>
                      <a:pt x="58" y="12"/>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grpSp>
        <p:grpSp>
          <p:nvGrpSpPr>
            <p:cNvPr id="68" name="Group 104">
              <a:extLst>
                <a:ext uri="{FF2B5EF4-FFF2-40B4-BE49-F238E27FC236}">
                  <a16:creationId xmlns:a16="http://schemas.microsoft.com/office/drawing/2014/main" id="{8693CB51-6760-4AF7-A973-7593042FCB08}"/>
                </a:ext>
              </a:extLst>
            </p:cNvPr>
            <p:cNvGrpSpPr/>
            <p:nvPr/>
          </p:nvGrpSpPr>
          <p:grpSpPr>
            <a:xfrm>
              <a:off x="9163938" y="2168332"/>
              <a:ext cx="2219281" cy="1492387"/>
              <a:chOff x="1090766" y="688621"/>
              <a:chExt cx="2219281" cy="1492387"/>
            </a:xfrm>
          </p:grpSpPr>
          <p:sp>
            <p:nvSpPr>
              <p:cNvPr id="69" name="Rectangle 105">
                <a:extLst>
                  <a:ext uri="{FF2B5EF4-FFF2-40B4-BE49-F238E27FC236}">
                    <a16:creationId xmlns:a16="http://schemas.microsoft.com/office/drawing/2014/main" id="{CF3F5B4F-4ACF-45EB-B10B-E8EECEE1B90C}"/>
                  </a:ext>
                </a:extLst>
              </p:cNvPr>
              <p:cNvSpPr/>
              <p:nvPr/>
            </p:nvSpPr>
            <p:spPr>
              <a:xfrm>
                <a:off x="1090766" y="688621"/>
                <a:ext cx="2132703" cy="368114"/>
              </a:xfrm>
              <a:prstGeom prst="rect">
                <a:avLst/>
              </a:prstGeom>
            </p:spPr>
            <p:txBody>
              <a:bodyPr wrap="square">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lumMod val="75000"/>
                        <a:lumOff val="25000"/>
                      </a:srgbClr>
                    </a:solidFill>
                    <a:effectLst/>
                    <a:uLnTx/>
                    <a:uFillTx/>
                    <a:latin typeface="Inter SemiBold" panose="020B0502030000000004" pitchFamily="34" charset="0"/>
                    <a:ea typeface="+mn-ea"/>
                    <a:cs typeface="Open Sans Light" panose="020B0306030504020204" pitchFamily="34" charset="0"/>
                  </a:rPr>
                  <a:t>Your Title Text</a:t>
                </a:r>
              </a:p>
            </p:txBody>
          </p:sp>
          <p:sp>
            <p:nvSpPr>
              <p:cNvPr id="70" name="Rectangle 106">
                <a:extLst>
                  <a:ext uri="{FF2B5EF4-FFF2-40B4-BE49-F238E27FC236}">
                    <a16:creationId xmlns:a16="http://schemas.microsoft.com/office/drawing/2014/main" id="{89FB625F-C661-4275-9253-9C0CFB2E7FA9}"/>
                  </a:ext>
                </a:extLst>
              </p:cNvPr>
              <p:cNvSpPr/>
              <p:nvPr/>
            </p:nvSpPr>
            <p:spPr>
              <a:xfrm>
                <a:off x="1090766" y="1054546"/>
                <a:ext cx="2219281" cy="1126462"/>
              </a:xfrm>
              <a:prstGeom prst="rect">
                <a:avLst/>
              </a:prstGeom>
            </p:spPr>
            <p:txBody>
              <a:bodyPr wrap="square">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id-ID" sz="1400" b="0" i="0" u="none" strike="noStrike" kern="1200" cap="none" spc="0" normalizeH="0" baseline="0" noProof="0" dirty="0">
                    <a:ln>
                      <a:noFill/>
                    </a:ln>
                    <a:solidFill>
                      <a:srgbClr val="FFFFFF">
                        <a:lumMod val="65000"/>
                      </a:srgbClr>
                    </a:solidFill>
                    <a:effectLst/>
                    <a:uLnTx/>
                    <a:uFillTx/>
                    <a:latin typeface="Segoe UI Light" panose="020B0502040204020203" pitchFamily="34" charset="0"/>
                    <a:ea typeface="+mn-ea"/>
                    <a:cs typeface="Segoe UI Light" panose="020B0502040204020203" pitchFamily="34" charset="0"/>
                  </a:rPr>
                  <a:t>The quick, brown fox jumps over a lazy dog. DJs flock by when MTV ax quiz prog. </a:t>
                </a:r>
                <a:endParaRPr kumimoji="0" lang="en-US" sz="1400" b="0" i="0" u="none" strike="noStrike" kern="1200" cap="none" spc="0" normalizeH="0" baseline="0" noProof="0" dirty="0">
                  <a:ln>
                    <a:noFill/>
                  </a:ln>
                  <a:solidFill>
                    <a:srgbClr val="FFFFFF">
                      <a:lumMod val="65000"/>
                    </a:srgbClr>
                  </a:solidFill>
                  <a:effectLst/>
                  <a:uLnTx/>
                  <a:uFillTx/>
                  <a:latin typeface="Segoe UI Light" panose="020B0502040204020203" pitchFamily="34" charset="0"/>
                  <a:ea typeface="+mn-ea"/>
                  <a:cs typeface="Segoe UI Light" panose="020B0502040204020203" pitchFamily="34" charset="0"/>
                </a:endParaRPr>
              </a:p>
            </p:txBody>
          </p:sp>
        </p:grpSp>
      </p:grpSp>
      <p:grpSp>
        <p:nvGrpSpPr>
          <p:cNvPr id="73" name="Group 116">
            <a:extLst>
              <a:ext uri="{FF2B5EF4-FFF2-40B4-BE49-F238E27FC236}">
                <a16:creationId xmlns:a16="http://schemas.microsoft.com/office/drawing/2014/main" id="{ED83ACC1-60A4-43BA-9AB7-47BAEC0BB077}"/>
              </a:ext>
            </a:extLst>
          </p:cNvPr>
          <p:cNvGrpSpPr/>
          <p:nvPr/>
        </p:nvGrpSpPr>
        <p:grpSpPr>
          <a:xfrm>
            <a:off x="8851852" y="4095406"/>
            <a:ext cx="2533086" cy="1492387"/>
            <a:chOff x="8851852" y="4095406"/>
            <a:chExt cx="2533086" cy="1492387"/>
          </a:xfrm>
        </p:grpSpPr>
        <p:grpSp>
          <p:nvGrpSpPr>
            <p:cNvPr id="74" name="Group 107">
              <a:extLst>
                <a:ext uri="{FF2B5EF4-FFF2-40B4-BE49-F238E27FC236}">
                  <a16:creationId xmlns:a16="http://schemas.microsoft.com/office/drawing/2014/main" id="{672267B1-2DF9-497A-BA60-FE6EEDE37AAB}"/>
                </a:ext>
              </a:extLst>
            </p:cNvPr>
            <p:cNvGrpSpPr/>
            <p:nvPr/>
          </p:nvGrpSpPr>
          <p:grpSpPr>
            <a:xfrm>
              <a:off x="8851852" y="4172289"/>
              <a:ext cx="259660" cy="259660"/>
              <a:chOff x="2288721" y="2772229"/>
              <a:chExt cx="2471965" cy="2471965"/>
            </a:xfrm>
          </p:grpSpPr>
          <p:sp>
            <p:nvSpPr>
              <p:cNvPr id="78" name="Oval 108">
                <a:extLst>
                  <a:ext uri="{FF2B5EF4-FFF2-40B4-BE49-F238E27FC236}">
                    <a16:creationId xmlns:a16="http://schemas.microsoft.com/office/drawing/2014/main" id="{AC03EA30-232E-4150-8BDA-5527B6EA5DE0}"/>
                  </a:ext>
                </a:extLst>
              </p:cNvPr>
              <p:cNvSpPr/>
              <p:nvPr/>
            </p:nvSpPr>
            <p:spPr>
              <a:xfrm>
                <a:off x="2288721" y="2772229"/>
                <a:ext cx="2471965" cy="2471965"/>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等线" panose="020F0502020204030204"/>
                  <a:ea typeface="+mn-ea"/>
                  <a:cs typeface="+mn-cs"/>
                </a:endParaRPr>
              </a:p>
            </p:txBody>
          </p:sp>
          <p:sp>
            <p:nvSpPr>
              <p:cNvPr id="79" name="Freeform 29">
                <a:extLst>
                  <a:ext uri="{FF2B5EF4-FFF2-40B4-BE49-F238E27FC236}">
                    <a16:creationId xmlns:a16="http://schemas.microsoft.com/office/drawing/2014/main" id="{7DFD2024-053D-4F81-8233-AACE1190A745}"/>
                  </a:ext>
                </a:extLst>
              </p:cNvPr>
              <p:cNvSpPr>
                <a:spLocks/>
              </p:cNvSpPr>
              <p:nvPr/>
            </p:nvSpPr>
            <p:spPr bwMode="auto">
              <a:xfrm>
                <a:off x="2804183" y="3513718"/>
                <a:ext cx="1503332" cy="1160049"/>
              </a:xfrm>
              <a:custGeom>
                <a:avLst/>
                <a:gdLst>
                  <a:gd name="T0" fmla="*/ 198196 w 59"/>
                  <a:gd name="T1" fmla="*/ 41487 h 45"/>
                  <a:gd name="T2" fmla="*/ 102515 w 59"/>
                  <a:gd name="T3" fmla="*/ 134832 h 45"/>
                  <a:gd name="T4" fmla="*/ 85429 w 59"/>
                  <a:gd name="T5" fmla="*/ 152118 h 45"/>
                  <a:gd name="T6" fmla="*/ 78595 w 59"/>
                  <a:gd name="T7" fmla="*/ 155575 h 45"/>
                  <a:gd name="T8" fmla="*/ 68343 w 59"/>
                  <a:gd name="T9" fmla="*/ 152118 h 45"/>
                  <a:gd name="T10" fmla="*/ 51258 w 59"/>
                  <a:gd name="T11" fmla="*/ 134832 h 45"/>
                  <a:gd name="T12" fmla="*/ 3417 w 59"/>
                  <a:gd name="T13" fmla="*/ 89888 h 45"/>
                  <a:gd name="T14" fmla="*/ 0 w 59"/>
                  <a:gd name="T15" fmla="*/ 79516 h 45"/>
                  <a:gd name="T16" fmla="*/ 3417 w 59"/>
                  <a:gd name="T17" fmla="*/ 69144 h 45"/>
                  <a:gd name="T18" fmla="*/ 20503 w 59"/>
                  <a:gd name="T19" fmla="*/ 51858 h 45"/>
                  <a:gd name="T20" fmla="*/ 30755 w 59"/>
                  <a:gd name="T21" fmla="*/ 48401 h 45"/>
                  <a:gd name="T22" fmla="*/ 37589 w 59"/>
                  <a:gd name="T23" fmla="*/ 51858 h 45"/>
                  <a:gd name="T24" fmla="*/ 78595 w 59"/>
                  <a:gd name="T25" fmla="*/ 89888 h 45"/>
                  <a:gd name="T26" fmla="*/ 160607 w 59"/>
                  <a:gd name="T27" fmla="*/ 3457 h 45"/>
                  <a:gd name="T28" fmla="*/ 170858 w 59"/>
                  <a:gd name="T29" fmla="*/ 0 h 45"/>
                  <a:gd name="T30" fmla="*/ 181110 w 59"/>
                  <a:gd name="T31" fmla="*/ 3457 h 45"/>
                  <a:gd name="T32" fmla="*/ 198196 w 59"/>
                  <a:gd name="T33" fmla="*/ 24201 h 45"/>
                  <a:gd name="T34" fmla="*/ 201613 w 59"/>
                  <a:gd name="T35" fmla="*/ 31115 h 45"/>
                  <a:gd name="T36" fmla="*/ 198196 w 59"/>
                  <a:gd name="T37" fmla="*/ 41487 h 4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9" h="45">
                    <a:moveTo>
                      <a:pt x="58" y="12"/>
                    </a:moveTo>
                    <a:cubicBezTo>
                      <a:pt x="30" y="39"/>
                      <a:pt x="30" y="39"/>
                      <a:pt x="30" y="39"/>
                    </a:cubicBezTo>
                    <a:cubicBezTo>
                      <a:pt x="25" y="44"/>
                      <a:pt x="25" y="44"/>
                      <a:pt x="25" y="44"/>
                    </a:cubicBezTo>
                    <a:cubicBezTo>
                      <a:pt x="24" y="45"/>
                      <a:pt x="24" y="45"/>
                      <a:pt x="23" y="45"/>
                    </a:cubicBezTo>
                    <a:cubicBezTo>
                      <a:pt x="22" y="45"/>
                      <a:pt x="21" y="45"/>
                      <a:pt x="20" y="44"/>
                    </a:cubicBezTo>
                    <a:cubicBezTo>
                      <a:pt x="15" y="39"/>
                      <a:pt x="15" y="39"/>
                      <a:pt x="15" y="39"/>
                    </a:cubicBezTo>
                    <a:cubicBezTo>
                      <a:pt x="1" y="26"/>
                      <a:pt x="1" y="26"/>
                      <a:pt x="1" y="26"/>
                    </a:cubicBezTo>
                    <a:cubicBezTo>
                      <a:pt x="0" y="25"/>
                      <a:pt x="0" y="24"/>
                      <a:pt x="0" y="23"/>
                    </a:cubicBezTo>
                    <a:cubicBezTo>
                      <a:pt x="0" y="22"/>
                      <a:pt x="0" y="21"/>
                      <a:pt x="1" y="20"/>
                    </a:cubicBezTo>
                    <a:cubicBezTo>
                      <a:pt x="6" y="15"/>
                      <a:pt x="6" y="15"/>
                      <a:pt x="6" y="15"/>
                    </a:cubicBezTo>
                    <a:cubicBezTo>
                      <a:pt x="7" y="14"/>
                      <a:pt x="8" y="14"/>
                      <a:pt x="9" y="14"/>
                    </a:cubicBezTo>
                    <a:cubicBezTo>
                      <a:pt x="10" y="14"/>
                      <a:pt x="11" y="14"/>
                      <a:pt x="11" y="15"/>
                    </a:cubicBezTo>
                    <a:cubicBezTo>
                      <a:pt x="23" y="26"/>
                      <a:pt x="23" y="26"/>
                      <a:pt x="23" y="26"/>
                    </a:cubicBezTo>
                    <a:cubicBezTo>
                      <a:pt x="47" y="1"/>
                      <a:pt x="47" y="1"/>
                      <a:pt x="47" y="1"/>
                    </a:cubicBezTo>
                    <a:cubicBezTo>
                      <a:pt x="48" y="1"/>
                      <a:pt x="49" y="0"/>
                      <a:pt x="50" y="0"/>
                    </a:cubicBezTo>
                    <a:cubicBezTo>
                      <a:pt x="51" y="0"/>
                      <a:pt x="52" y="1"/>
                      <a:pt x="53" y="1"/>
                    </a:cubicBezTo>
                    <a:cubicBezTo>
                      <a:pt x="58" y="7"/>
                      <a:pt x="58" y="7"/>
                      <a:pt x="58" y="7"/>
                    </a:cubicBezTo>
                    <a:cubicBezTo>
                      <a:pt x="58" y="7"/>
                      <a:pt x="59" y="8"/>
                      <a:pt x="59" y="9"/>
                    </a:cubicBezTo>
                    <a:cubicBezTo>
                      <a:pt x="59" y="10"/>
                      <a:pt x="58" y="11"/>
                      <a:pt x="58" y="12"/>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grpSp>
        <p:grpSp>
          <p:nvGrpSpPr>
            <p:cNvPr id="75" name="Group 110">
              <a:extLst>
                <a:ext uri="{FF2B5EF4-FFF2-40B4-BE49-F238E27FC236}">
                  <a16:creationId xmlns:a16="http://schemas.microsoft.com/office/drawing/2014/main" id="{E433F23F-528C-4E1E-B8E1-ECAF2B65FBF3}"/>
                </a:ext>
              </a:extLst>
            </p:cNvPr>
            <p:cNvGrpSpPr/>
            <p:nvPr/>
          </p:nvGrpSpPr>
          <p:grpSpPr>
            <a:xfrm>
              <a:off x="9165657" y="4095406"/>
              <a:ext cx="2219281" cy="1492387"/>
              <a:chOff x="1090766" y="688621"/>
              <a:chExt cx="2219281" cy="1492387"/>
            </a:xfrm>
          </p:grpSpPr>
          <p:sp>
            <p:nvSpPr>
              <p:cNvPr id="76" name="Rectangle 111">
                <a:extLst>
                  <a:ext uri="{FF2B5EF4-FFF2-40B4-BE49-F238E27FC236}">
                    <a16:creationId xmlns:a16="http://schemas.microsoft.com/office/drawing/2014/main" id="{EBC0AF27-8393-42D9-965D-C2488C73A432}"/>
                  </a:ext>
                </a:extLst>
              </p:cNvPr>
              <p:cNvSpPr/>
              <p:nvPr/>
            </p:nvSpPr>
            <p:spPr>
              <a:xfrm>
                <a:off x="1090766" y="688621"/>
                <a:ext cx="2132703" cy="368114"/>
              </a:xfrm>
              <a:prstGeom prst="rect">
                <a:avLst/>
              </a:prstGeom>
            </p:spPr>
            <p:txBody>
              <a:bodyPr wrap="square">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lumMod val="75000"/>
                        <a:lumOff val="25000"/>
                      </a:srgbClr>
                    </a:solidFill>
                    <a:effectLst/>
                    <a:uLnTx/>
                    <a:uFillTx/>
                    <a:latin typeface="Inter SemiBold" panose="020B0502030000000004" pitchFamily="34" charset="0"/>
                    <a:ea typeface="+mn-ea"/>
                    <a:cs typeface="Open Sans Light" panose="020B0306030504020204" pitchFamily="34" charset="0"/>
                  </a:rPr>
                  <a:t>Your Title Text</a:t>
                </a:r>
              </a:p>
            </p:txBody>
          </p:sp>
          <p:sp>
            <p:nvSpPr>
              <p:cNvPr id="77" name="Rectangle 112">
                <a:extLst>
                  <a:ext uri="{FF2B5EF4-FFF2-40B4-BE49-F238E27FC236}">
                    <a16:creationId xmlns:a16="http://schemas.microsoft.com/office/drawing/2014/main" id="{BE29D1F7-53CB-45F3-9009-94680D1E1CE2}"/>
                  </a:ext>
                </a:extLst>
              </p:cNvPr>
              <p:cNvSpPr/>
              <p:nvPr/>
            </p:nvSpPr>
            <p:spPr>
              <a:xfrm>
                <a:off x="1090766" y="1054546"/>
                <a:ext cx="2219281" cy="1126462"/>
              </a:xfrm>
              <a:prstGeom prst="rect">
                <a:avLst/>
              </a:prstGeom>
            </p:spPr>
            <p:txBody>
              <a:bodyPr wrap="square">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id-ID" sz="1400" b="0" i="0" u="none" strike="noStrike" kern="1200" cap="none" spc="0" normalizeH="0" baseline="0" noProof="0" dirty="0">
                    <a:ln>
                      <a:noFill/>
                    </a:ln>
                    <a:solidFill>
                      <a:srgbClr val="FFFFFF">
                        <a:lumMod val="65000"/>
                      </a:srgbClr>
                    </a:solidFill>
                    <a:effectLst/>
                    <a:uLnTx/>
                    <a:uFillTx/>
                    <a:latin typeface="Segoe UI Light" panose="020B0502040204020203" pitchFamily="34" charset="0"/>
                    <a:ea typeface="+mn-ea"/>
                    <a:cs typeface="Segoe UI Light" panose="020B0502040204020203" pitchFamily="34" charset="0"/>
                  </a:rPr>
                  <a:t>The quick, brown fox jumps over a lazy dog. DJs flock by when MTV ax quiz prog. </a:t>
                </a:r>
                <a:endParaRPr kumimoji="0" lang="en-US" sz="1400" b="0" i="0" u="none" strike="noStrike" kern="1200" cap="none" spc="0" normalizeH="0" baseline="0" noProof="0" dirty="0">
                  <a:ln>
                    <a:noFill/>
                  </a:ln>
                  <a:solidFill>
                    <a:srgbClr val="FFFFFF">
                      <a:lumMod val="65000"/>
                    </a:srgbClr>
                  </a:solidFill>
                  <a:effectLst/>
                  <a:uLnTx/>
                  <a:uFillTx/>
                  <a:latin typeface="Segoe UI Light" panose="020B0502040204020203" pitchFamily="34" charset="0"/>
                  <a:ea typeface="+mn-ea"/>
                  <a:cs typeface="Segoe UI Light" panose="020B0502040204020203" pitchFamily="34" charset="0"/>
                </a:endParaRPr>
              </a:p>
            </p:txBody>
          </p:sp>
        </p:grpSp>
      </p:grpSp>
    </p:spTree>
    <p:extLst>
      <p:ext uri="{BB962C8B-B14F-4D97-AF65-F5344CB8AC3E}">
        <p14:creationId xmlns:p14="http://schemas.microsoft.com/office/powerpoint/2010/main" val="980673527"/>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6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189">
            <a:extLst>
              <a:ext uri="{FF2B5EF4-FFF2-40B4-BE49-F238E27FC236}">
                <a16:creationId xmlns:a16="http://schemas.microsoft.com/office/drawing/2014/main" id="{8ED00917-E597-460B-80F5-EDC08DA3867E}"/>
              </a:ext>
            </a:extLst>
          </p:cNvPr>
          <p:cNvGrpSpPr/>
          <p:nvPr/>
        </p:nvGrpSpPr>
        <p:grpSpPr>
          <a:xfrm>
            <a:off x="765759" y="1268361"/>
            <a:ext cx="10660482" cy="5589639"/>
            <a:chOff x="845089" y="1268361"/>
            <a:chExt cx="10660482" cy="5589639"/>
          </a:xfrm>
        </p:grpSpPr>
        <p:grpSp>
          <p:nvGrpSpPr>
            <p:cNvPr id="5" name="Group 187">
              <a:extLst>
                <a:ext uri="{FF2B5EF4-FFF2-40B4-BE49-F238E27FC236}">
                  <a16:creationId xmlns:a16="http://schemas.microsoft.com/office/drawing/2014/main" id="{2BA830B2-4705-45C4-A1F7-EB3C597E7F65}"/>
                </a:ext>
              </a:extLst>
            </p:cNvPr>
            <p:cNvGrpSpPr/>
            <p:nvPr/>
          </p:nvGrpSpPr>
          <p:grpSpPr>
            <a:xfrm>
              <a:off x="3212544" y="1268361"/>
              <a:ext cx="5723889" cy="5589639"/>
              <a:chOff x="3212544" y="1268361"/>
              <a:chExt cx="5723889" cy="5589639"/>
            </a:xfrm>
          </p:grpSpPr>
          <p:grpSp>
            <p:nvGrpSpPr>
              <p:cNvPr id="51" name="Group 145">
                <a:extLst>
                  <a:ext uri="{FF2B5EF4-FFF2-40B4-BE49-F238E27FC236}">
                    <a16:creationId xmlns:a16="http://schemas.microsoft.com/office/drawing/2014/main" id="{03785618-38D0-4ABE-8C14-6E280360B640}"/>
                  </a:ext>
                </a:extLst>
              </p:cNvPr>
              <p:cNvGrpSpPr/>
              <p:nvPr/>
            </p:nvGrpSpPr>
            <p:grpSpPr>
              <a:xfrm>
                <a:off x="7376097" y="2017229"/>
                <a:ext cx="1560336" cy="3443328"/>
                <a:chOff x="6717919" y="2112112"/>
                <a:chExt cx="1445583" cy="3190093"/>
              </a:xfrm>
            </p:grpSpPr>
            <p:grpSp>
              <p:nvGrpSpPr>
                <p:cNvPr id="94" name="Group 166">
                  <a:extLst>
                    <a:ext uri="{FF2B5EF4-FFF2-40B4-BE49-F238E27FC236}">
                      <a16:creationId xmlns:a16="http://schemas.microsoft.com/office/drawing/2014/main" id="{52CB0760-ED9E-4D46-AAF2-E1C21929D5B0}"/>
                    </a:ext>
                  </a:extLst>
                </p:cNvPr>
                <p:cNvGrpSpPr/>
                <p:nvPr/>
              </p:nvGrpSpPr>
              <p:grpSpPr>
                <a:xfrm>
                  <a:off x="6717919" y="2112112"/>
                  <a:ext cx="1445583" cy="1150780"/>
                  <a:chOff x="1334969" y="2953159"/>
                  <a:chExt cx="1445583" cy="1150780"/>
                </a:xfrm>
              </p:grpSpPr>
              <p:grpSp>
                <p:nvGrpSpPr>
                  <p:cNvPr id="103" name="Group 175">
                    <a:extLst>
                      <a:ext uri="{FF2B5EF4-FFF2-40B4-BE49-F238E27FC236}">
                        <a16:creationId xmlns:a16="http://schemas.microsoft.com/office/drawing/2014/main" id="{66BC897C-A7C7-43E4-A4F8-63420E5228FA}"/>
                      </a:ext>
                    </a:extLst>
                  </p:cNvPr>
                  <p:cNvGrpSpPr/>
                  <p:nvPr/>
                </p:nvGrpSpPr>
                <p:grpSpPr>
                  <a:xfrm flipH="1">
                    <a:off x="1334969" y="3023939"/>
                    <a:ext cx="1395527" cy="1080000"/>
                    <a:chOff x="3674841" y="1949417"/>
                    <a:chExt cx="2088000" cy="1080000"/>
                  </a:xfrm>
                </p:grpSpPr>
                <p:cxnSp>
                  <p:nvCxnSpPr>
                    <p:cNvPr id="105" name="Straight Connector 177">
                      <a:extLst>
                        <a:ext uri="{FF2B5EF4-FFF2-40B4-BE49-F238E27FC236}">
                          <a16:creationId xmlns:a16="http://schemas.microsoft.com/office/drawing/2014/main" id="{6F478E10-EE67-43D3-8200-5F6C6740A5E0}"/>
                        </a:ext>
                      </a:extLst>
                    </p:cNvPr>
                    <p:cNvCxnSpPr/>
                    <p:nvPr/>
                  </p:nvCxnSpPr>
                  <p:spPr>
                    <a:xfrm>
                      <a:off x="5762840" y="1949417"/>
                      <a:ext cx="0" cy="108000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6" name="Straight Connector 178">
                      <a:extLst>
                        <a:ext uri="{FF2B5EF4-FFF2-40B4-BE49-F238E27FC236}">
                          <a16:creationId xmlns:a16="http://schemas.microsoft.com/office/drawing/2014/main" id="{F5BE75E9-F6BA-4F2A-A535-F9609663F9D8}"/>
                        </a:ext>
                      </a:extLst>
                    </p:cNvPr>
                    <p:cNvCxnSpPr/>
                    <p:nvPr/>
                  </p:nvCxnSpPr>
                  <p:spPr>
                    <a:xfrm rot="5400000">
                      <a:off x="4718841" y="911906"/>
                      <a:ext cx="0" cy="2088000"/>
                    </a:xfrm>
                    <a:prstGeom prst="line">
                      <a:avLst/>
                    </a:prstGeom>
                    <a:ln>
                      <a:solidFill>
                        <a:schemeClr val="bg1">
                          <a:lumMod val="65000"/>
                        </a:schemeClr>
                      </a:solidFill>
                      <a:prstDash val="dash"/>
                      <a:tailEnd type="none"/>
                    </a:ln>
                  </p:spPr>
                  <p:style>
                    <a:lnRef idx="1">
                      <a:schemeClr val="accent1"/>
                    </a:lnRef>
                    <a:fillRef idx="0">
                      <a:schemeClr val="accent1"/>
                    </a:fillRef>
                    <a:effectRef idx="0">
                      <a:schemeClr val="accent1"/>
                    </a:effectRef>
                    <a:fontRef idx="minor">
                      <a:schemeClr val="tx1"/>
                    </a:fontRef>
                  </p:style>
                </p:cxnSp>
              </p:grpSp>
              <p:sp>
                <p:nvSpPr>
                  <p:cNvPr id="104" name="Oval 176">
                    <a:extLst>
                      <a:ext uri="{FF2B5EF4-FFF2-40B4-BE49-F238E27FC236}">
                        <a16:creationId xmlns:a16="http://schemas.microsoft.com/office/drawing/2014/main" id="{675BAA0A-6ED9-4321-B9A5-BF8234C40541}"/>
                      </a:ext>
                    </a:extLst>
                  </p:cNvPr>
                  <p:cNvSpPr/>
                  <p:nvPr/>
                </p:nvSpPr>
                <p:spPr>
                  <a:xfrm>
                    <a:off x="2628607" y="2953159"/>
                    <a:ext cx="151945" cy="151945"/>
                  </a:xfrm>
                  <a:prstGeom prst="ellipse">
                    <a:avLst/>
                  </a:prstGeom>
                  <a:solidFill>
                    <a:schemeClr val="accent4"/>
                  </a:solidFill>
                  <a:ln>
                    <a:solidFill>
                      <a:schemeClr val="bg1"/>
                    </a:solidFill>
                  </a:ln>
                  <a:effectLst>
                    <a:outerShdw blurRad="203200" dist="76200" dir="10260000" algn="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等线" panose="020F0502020204030204"/>
                      <a:ea typeface="+mn-ea"/>
                      <a:cs typeface="+mn-cs"/>
                    </a:endParaRPr>
                  </a:p>
                </p:txBody>
              </p:sp>
            </p:grpSp>
            <p:grpSp>
              <p:nvGrpSpPr>
                <p:cNvPr id="95" name="Group 167">
                  <a:extLst>
                    <a:ext uri="{FF2B5EF4-FFF2-40B4-BE49-F238E27FC236}">
                      <a16:creationId xmlns:a16="http://schemas.microsoft.com/office/drawing/2014/main" id="{8D1F7B3F-31B6-43AB-961C-08970316E7F0}"/>
                    </a:ext>
                  </a:extLst>
                </p:cNvPr>
                <p:cNvGrpSpPr/>
                <p:nvPr/>
              </p:nvGrpSpPr>
              <p:grpSpPr>
                <a:xfrm>
                  <a:off x="6870088" y="3627191"/>
                  <a:ext cx="1293414" cy="151945"/>
                  <a:chOff x="1487138" y="4468238"/>
                  <a:chExt cx="1293414" cy="151945"/>
                </a:xfrm>
              </p:grpSpPr>
              <p:cxnSp>
                <p:nvCxnSpPr>
                  <p:cNvPr id="101" name="Straight Connector 173">
                    <a:extLst>
                      <a:ext uri="{FF2B5EF4-FFF2-40B4-BE49-F238E27FC236}">
                        <a16:creationId xmlns:a16="http://schemas.microsoft.com/office/drawing/2014/main" id="{BE14B79C-CE61-4CC6-AA61-33D3FDC0F895}"/>
                      </a:ext>
                    </a:extLst>
                  </p:cNvPr>
                  <p:cNvCxnSpPr/>
                  <p:nvPr/>
                </p:nvCxnSpPr>
                <p:spPr>
                  <a:xfrm rot="16200000" flipH="1">
                    <a:off x="2117138" y="3912302"/>
                    <a:ext cx="0" cy="1260000"/>
                  </a:xfrm>
                  <a:prstGeom prst="line">
                    <a:avLst/>
                  </a:prstGeom>
                  <a:ln>
                    <a:solidFill>
                      <a:schemeClr val="bg1">
                        <a:lumMod val="65000"/>
                      </a:schemeClr>
                    </a:solidFill>
                    <a:prstDash val="dash"/>
                    <a:tailEnd type="none"/>
                  </a:ln>
                </p:spPr>
                <p:style>
                  <a:lnRef idx="1">
                    <a:schemeClr val="accent1"/>
                  </a:lnRef>
                  <a:fillRef idx="0">
                    <a:schemeClr val="accent1"/>
                  </a:fillRef>
                  <a:effectRef idx="0">
                    <a:schemeClr val="accent1"/>
                  </a:effectRef>
                  <a:fontRef idx="minor">
                    <a:schemeClr val="tx1"/>
                  </a:fontRef>
                </p:style>
              </p:cxnSp>
              <p:sp>
                <p:nvSpPr>
                  <p:cNvPr id="102" name="Oval 174">
                    <a:extLst>
                      <a:ext uri="{FF2B5EF4-FFF2-40B4-BE49-F238E27FC236}">
                        <a16:creationId xmlns:a16="http://schemas.microsoft.com/office/drawing/2014/main" id="{76985B36-6206-4D78-A4C4-19B59D265983}"/>
                      </a:ext>
                    </a:extLst>
                  </p:cNvPr>
                  <p:cNvSpPr/>
                  <p:nvPr/>
                </p:nvSpPr>
                <p:spPr>
                  <a:xfrm>
                    <a:off x="2628607" y="4468238"/>
                    <a:ext cx="151945" cy="151945"/>
                  </a:xfrm>
                  <a:prstGeom prst="ellipse">
                    <a:avLst/>
                  </a:prstGeom>
                  <a:solidFill>
                    <a:schemeClr val="accent5"/>
                  </a:solidFill>
                  <a:ln>
                    <a:solidFill>
                      <a:schemeClr val="bg1"/>
                    </a:solidFill>
                  </a:ln>
                  <a:effectLst>
                    <a:outerShdw blurRad="203200" dist="76200" dir="10260000" algn="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等线" panose="020F0502020204030204"/>
                      <a:ea typeface="+mn-ea"/>
                      <a:cs typeface="+mn-cs"/>
                    </a:endParaRPr>
                  </a:p>
                </p:txBody>
              </p:sp>
            </p:grpSp>
            <p:grpSp>
              <p:nvGrpSpPr>
                <p:cNvPr id="96" name="Group 168">
                  <a:extLst>
                    <a:ext uri="{FF2B5EF4-FFF2-40B4-BE49-F238E27FC236}">
                      <a16:creationId xmlns:a16="http://schemas.microsoft.com/office/drawing/2014/main" id="{01467FD6-E9D7-4854-B87F-3E2463FBFA47}"/>
                    </a:ext>
                  </a:extLst>
                </p:cNvPr>
                <p:cNvGrpSpPr/>
                <p:nvPr/>
              </p:nvGrpSpPr>
              <p:grpSpPr>
                <a:xfrm>
                  <a:off x="6717919" y="4138613"/>
                  <a:ext cx="1445583" cy="1163592"/>
                  <a:chOff x="1334969" y="4979660"/>
                  <a:chExt cx="1445583" cy="1163592"/>
                </a:xfrm>
              </p:grpSpPr>
              <p:grpSp>
                <p:nvGrpSpPr>
                  <p:cNvPr id="97" name="Group 169">
                    <a:extLst>
                      <a:ext uri="{FF2B5EF4-FFF2-40B4-BE49-F238E27FC236}">
                        <a16:creationId xmlns:a16="http://schemas.microsoft.com/office/drawing/2014/main" id="{30FBA198-AB1A-4324-BA3D-4703109FCD1E}"/>
                      </a:ext>
                    </a:extLst>
                  </p:cNvPr>
                  <p:cNvGrpSpPr/>
                  <p:nvPr/>
                </p:nvGrpSpPr>
                <p:grpSpPr>
                  <a:xfrm flipH="1" flipV="1">
                    <a:off x="1334969" y="4979660"/>
                    <a:ext cx="1395527" cy="1080000"/>
                    <a:chOff x="3674840" y="1949417"/>
                    <a:chExt cx="2088000" cy="1080000"/>
                  </a:xfrm>
                </p:grpSpPr>
                <p:cxnSp>
                  <p:nvCxnSpPr>
                    <p:cNvPr id="99" name="Straight Connector 171">
                      <a:extLst>
                        <a:ext uri="{FF2B5EF4-FFF2-40B4-BE49-F238E27FC236}">
                          <a16:creationId xmlns:a16="http://schemas.microsoft.com/office/drawing/2014/main" id="{126354AC-EAB4-46CE-B5DC-6E6326317740}"/>
                        </a:ext>
                      </a:extLst>
                    </p:cNvPr>
                    <p:cNvCxnSpPr/>
                    <p:nvPr/>
                  </p:nvCxnSpPr>
                  <p:spPr>
                    <a:xfrm>
                      <a:off x="5762840" y="1949417"/>
                      <a:ext cx="0" cy="108000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0" name="Straight Connector 172">
                      <a:extLst>
                        <a:ext uri="{FF2B5EF4-FFF2-40B4-BE49-F238E27FC236}">
                          <a16:creationId xmlns:a16="http://schemas.microsoft.com/office/drawing/2014/main" id="{ED28B681-AD51-4DC8-ACED-CD1B6B32E4D8}"/>
                        </a:ext>
                      </a:extLst>
                    </p:cNvPr>
                    <p:cNvCxnSpPr/>
                    <p:nvPr/>
                  </p:nvCxnSpPr>
                  <p:spPr>
                    <a:xfrm rot="5400000">
                      <a:off x="4718840" y="911905"/>
                      <a:ext cx="0" cy="2088000"/>
                    </a:xfrm>
                    <a:prstGeom prst="line">
                      <a:avLst/>
                    </a:prstGeom>
                    <a:ln>
                      <a:solidFill>
                        <a:schemeClr val="bg1">
                          <a:lumMod val="65000"/>
                        </a:schemeClr>
                      </a:solidFill>
                      <a:prstDash val="dash"/>
                      <a:tailEnd type="none"/>
                    </a:ln>
                  </p:spPr>
                  <p:style>
                    <a:lnRef idx="1">
                      <a:schemeClr val="accent1"/>
                    </a:lnRef>
                    <a:fillRef idx="0">
                      <a:schemeClr val="accent1"/>
                    </a:fillRef>
                    <a:effectRef idx="0">
                      <a:schemeClr val="accent1"/>
                    </a:effectRef>
                    <a:fontRef idx="minor">
                      <a:schemeClr val="tx1"/>
                    </a:fontRef>
                  </p:style>
                </p:cxnSp>
              </p:grpSp>
              <p:sp>
                <p:nvSpPr>
                  <p:cNvPr id="98" name="Oval 170">
                    <a:extLst>
                      <a:ext uri="{FF2B5EF4-FFF2-40B4-BE49-F238E27FC236}">
                        <a16:creationId xmlns:a16="http://schemas.microsoft.com/office/drawing/2014/main" id="{3EAF9B7E-BCF7-498A-A0B3-758B1AE6D4DD}"/>
                      </a:ext>
                    </a:extLst>
                  </p:cNvPr>
                  <p:cNvSpPr/>
                  <p:nvPr/>
                </p:nvSpPr>
                <p:spPr>
                  <a:xfrm>
                    <a:off x="2628607" y="5991307"/>
                    <a:ext cx="151945" cy="151945"/>
                  </a:xfrm>
                  <a:prstGeom prst="ellipse">
                    <a:avLst/>
                  </a:prstGeom>
                  <a:solidFill>
                    <a:schemeClr val="accent6"/>
                  </a:solidFill>
                  <a:ln>
                    <a:solidFill>
                      <a:schemeClr val="bg1"/>
                    </a:solidFill>
                  </a:ln>
                  <a:effectLst>
                    <a:outerShdw blurRad="203200" dist="76200" dir="10260000" algn="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等线" panose="020F0502020204030204"/>
                      <a:ea typeface="+mn-ea"/>
                      <a:cs typeface="+mn-cs"/>
                    </a:endParaRPr>
                  </a:p>
                </p:txBody>
              </p:sp>
            </p:grpSp>
          </p:grpSp>
          <p:grpSp>
            <p:nvGrpSpPr>
              <p:cNvPr id="52" name="Group 146">
                <a:extLst>
                  <a:ext uri="{FF2B5EF4-FFF2-40B4-BE49-F238E27FC236}">
                    <a16:creationId xmlns:a16="http://schemas.microsoft.com/office/drawing/2014/main" id="{3994CE06-9832-4191-90E3-F34793A43F62}"/>
                  </a:ext>
                </a:extLst>
              </p:cNvPr>
              <p:cNvGrpSpPr/>
              <p:nvPr/>
            </p:nvGrpSpPr>
            <p:grpSpPr>
              <a:xfrm>
                <a:off x="3212544" y="2002707"/>
                <a:ext cx="1804566" cy="3498549"/>
                <a:chOff x="-2276445" y="2915055"/>
                <a:chExt cx="1671851" cy="3241253"/>
              </a:xfrm>
            </p:grpSpPr>
            <p:grpSp>
              <p:nvGrpSpPr>
                <p:cNvPr id="81" name="Group 153">
                  <a:extLst>
                    <a:ext uri="{FF2B5EF4-FFF2-40B4-BE49-F238E27FC236}">
                      <a16:creationId xmlns:a16="http://schemas.microsoft.com/office/drawing/2014/main" id="{86FAA15A-7824-4F7F-BA3C-5278AE10F180}"/>
                    </a:ext>
                  </a:extLst>
                </p:cNvPr>
                <p:cNvGrpSpPr/>
                <p:nvPr/>
              </p:nvGrpSpPr>
              <p:grpSpPr>
                <a:xfrm>
                  <a:off x="-2264501" y="2915055"/>
                  <a:ext cx="1659907" cy="1173477"/>
                  <a:chOff x="-2264501" y="2915055"/>
                  <a:chExt cx="1659907" cy="1173477"/>
                </a:xfrm>
              </p:grpSpPr>
              <p:grpSp>
                <p:nvGrpSpPr>
                  <p:cNvPr id="90" name="Group 162">
                    <a:extLst>
                      <a:ext uri="{FF2B5EF4-FFF2-40B4-BE49-F238E27FC236}">
                        <a16:creationId xmlns:a16="http://schemas.microsoft.com/office/drawing/2014/main" id="{376ADF79-19DE-4696-A685-FA31DAAFC650}"/>
                      </a:ext>
                    </a:extLst>
                  </p:cNvPr>
                  <p:cNvGrpSpPr/>
                  <p:nvPr/>
                </p:nvGrpSpPr>
                <p:grpSpPr>
                  <a:xfrm>
                    <a:off x="-2079209" y="3008532"/>
                    <a:ext cx="1474615" cy="1080000"/>
                    <a:chOff x="3674840" y="1949417"/>
                    <a:chExt cx="2088000" cy="1080000"/>
                  </a:xfrm>
                </p:grpSpPr>
                <p:cxnSp>
                  <p:nvCxnSpPr>
                    <p:cNvPr id="92" name="Straight Connector 164">
                      <a:extLst>
                        <a:ext uri="{FF2B5EF4-FFF2-40B4-BE49-F238E27FC236}">
                          <a16:creationId xmlns:a16="http://schemas.microsoft.com/office/drawing/2014/main" id="{64878825-D00A-4F0F-A112-C4B5CC0F2ED2}"/>
                        </a:ext>
                      </a:extLst>
                    </p:cNvPr>
                    <p:cNvCxnSpPr/>
                    <p:nvPr/>
                  </p:nvCxnSpPr>
                  <p:spPr>
                    <a:xfrm>
                      <a:off x="5762840" y="1949417"/>
                      <a:ext cx="0" cy="108000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93" name="Straight Connector 165">
                      <a:extLst>
                        <a:ext uri="{FF2B5EF4-FFF2-40B4-BE49-F238E27FC236}">
                          <a16:creationId xmlns:a16="http://schemas.microsoft.com/office/drawing/2014/main" id="{8F71C45C-FE12-408B-8B3A-EB669B3D3D13}"/>
                        </a:ext>
                      </a:extLst>
                    </p:cNvPr>
                    <p:cNvCxnSpPr/>
                    <p:nvPr/>
                  </p:nvCxnSpPr>
                  <p:spPr>
                    <a:xfrm rot="5400000">
                      <a:off x="4718840" y="911905"/>
                      <a:ext cx="0" cy="2088000"/>
                    </a:xfrm>
                    <a:prstGeom prst="line">
                      <a:avLst/>
                    </a:prstGeom>
                    <a:ln>
                      <a:solidFill>
                        <a:schemeClr val="bg1">
                          <a:lumMod val="65000"/>
                        </a:schemeClr>
                      </a:solidFill>
                      <a:prstDash val="dash"/>
                      <a:tailEnd type="none"/>
                    </a:ln>
                  </p:spPr>
                  <p:style>
                    <a:lnRef idx="1">
                      <a:schemeClr val="accent1"/>
                    </a:lnRef>
                    <a:fillRef idx="0">
                      <a:schemeClr val="accent1"/>
                    </a:fillRef>
                    <a:effectRef idx="0">
                      <a:schemeClr val="accent1"/>
                    </a:effectRef>
                    <a:fontRef idx="minor">
                      <a:schemeClr val="tx1"/>
                    </a:fontRef>
                  </p:style>
                </p:cxnSp>
              </p:grpSp>
              <p:sp>
                <p:nvSpPr>
                  <p:cNvPr id="91" name="Oval 163">
                    <a:extLst>
                      <a:ext uri="{FF2B5EF4-FFF2-40B4-BE49-F238E27FC236}">
                        <a16:creationId xmlns:a16="http://schemas.microsoft.com/office/drawing/2014/main" id="{FCB0A5C8-8BDC-4DF7-8E6F-F4062A0BF7A4}"/>
                      </a:ext>
                    </a:extLst>
                  </p:cNvPr>
                  <p:cNvSpPr/>
                  <p:nvPr/>
                </p:nvSpPr>
                <p:spPr>
                  <a:xfrm>
                    <a:off x="-2264501" y="2915055"/>
                    <a:ext cx="151945" cy="151945"/>
                  </a:xfrm>
                  <a:prstGeom prst="ellipse">
                    <a:avLst/>
                  </a:prstGeom>
                  <a:solidFill>
                    <a:schemeClr val="accent3"/>
                  </a:solidFill>
                  <a:ln>
                    <a:solidFill>
                      <a:schemeClr val="bg1"/>
                    </a:solidFill>
                  </a:ln>
                  <a:effectLst>
                    <a:outerShdw blurRad="203200" dist="76200" dir="10260000" algn="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等线" panose="020F0502020204030204"/>
                      <a:ea typeface="+mn-ea"/>
                      <a:cs typeface="+mn-cs"/>
                    </a:endParaRPr>
                  </a:p>
                </p:txBody>
              </p:sp>
            </p:grpSp>
            <p:grpSp>
              <p:nvGrpSpPr>
                <p:cNvPr id="82" name="Group 154">
                  <a:extLst>
                    <a:ext uri="{FF2B5EF4-FFF2-40B4-BE49-F238E27FC236}">
                      <a16:creationId xmlns:a16="http://schemas.microsoft.com/office/drawing/2014/main" id="{9B9E3898-855A-40BC-9F6C-6211001B5601}"/>
                    </a:ext>
                  </a:extLst>
                </p:cNvPr>
                <p:cNvGrpSpPr/>
                <p:nvPr/>
              </p:nvGrpSpPr>
              <p:grpSpPr>
                <a:xfrm>
                  <a:off x="-2264501" y="4440033"/>
                  <a:ext cx="1448423" cy="151945"/>
                  <a:chOff x="-2264501" y="4440033"/>
                  <a:chExt cx="1448423" cy="151945"/>
                </a:xfrm>
              </p:grpSpPr>
              <p:cxnSp>
                <p:nvCxnSpPr>
                  <p:cNvPr id="88" name="Straight Connector 160">
                    <a:extLst>
                      <a:ext uri="{FF2B5EF4-FFF2-40B4-BE49-F238E27FC236}">
                        <a16:creationId xmlns:a16="http://schemas.microsoft.com/office/drawing/2014/main" id="{EA704883-C82A-41D7-9865-CB9E5BC7A60C}"/>
                      </a:ext>
                    </a:extLst>
                  </p:cNvPr>
                  <p:cNvCxnSpPr/>
                  <p:nvPr/>
                </p:nvCxnSpPr>
                <p:spPr>
                  <a:xfrm rot="5400000">
                    <a:off x="-1446078" y="3912302"/>
                    <a:ext cx="0" cy="1260000"/>
                  </a:xfrm>
                  <a:prstGeom prst="line">
                    <a:avLst/>
                  </a:prstGeom>
                  <a:ln>
                    <a:solidFill>
                      <a:schemeClr val="bg1">
                        <a:lumMod val="65000"/>
                      </a:schemeClr>
                    </a:solidFill>
                    <a:prstDash val="dash"/>
                    <a:tailEnd type="none"/>
                  </a:ln>
                </p:spPr>
                <p:style>
                  <a:lnRef idx="1">
                    <a:schemeClr val="accent1"/>
                  </a:lnRef>
                  <a:fillRef idx="0">
                    <a:schemeClr val="accent1"/>
                  </a:fillRef>
                  <a:effectRef idx="0">
                    <a:schemeClr val="accent1"/>
                  </a:effectRef>
                  <a:fontRef idx="minor">
                    <a:schemeClr val="tx1"/>
                  </a:fontRef>
                </p:style>
              </p:cxnSp>
              <p:sp>
                <p:nvSpPr>
                  <p:cNvPr id="89" name="Oval 161">
                    <a:extLst>
                      <a:ext uri="{FF2B5EF4-FFF2-40B4-BE49-F238E27FC236}">
                        <a16:creationId xmlns:a16="http://schemas.microsoft.com/office/drawing/2014/main" id="{AC18A4BA-2A48-473E-A6A4-8B9C6E76139C}"/>
                      </a:ext>
                    </a:extLst>
                  </p:cNvPr>
                  <p:cNvSpPr/>
                  <p:nvPr/>
                </p:nvSpPr>
                <p:spPr>
                  <a:xfrm>
                    <a:off x="-2264501" y="4440033"/>
                    <a:ext cx="151945" cy="151945"/>
                  </a:xfrm>
                  <a:prstGeom prst="ellipse">
                    <a:avLst/>
                  </a:prstGeom>
                  <a:solidFill>
                    <a:schemeClr val="accent2"/>
                  </a:solidFill>
                  <a:ln>
                    <a:solidFill>
                      <a:schemeClr val="bg1"/>
                    </a:solidFill>
                  </a:ln>
                  <a:effectLst>
                    <a:outerShdw blurRad="203200" dist="76200" dir="10260000" algn="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等线" panose="020F0502020204030204"/>
                      <a:ea typeface="+mn-ea"/>
                      <a:cs typeface="+mn-cs"/>
                    </a:endParaRPr>
                  </a:p>
                </p:txBody>
              </p:sp>
            </p:grpSp>
            <p:grpSp>
              <p:nvGrpSpPr>
                <p:cNvPr id="83" name="Group 155">
                  <a:extLst>
                    <a:ext uri="{FF2B5EF4-FFF2-40B4-BE49-F238E27FC236}">
                      <a16:creationId xmlns:a16="http://schemas.microsoft.com/office/drawing/2014/main" id="{B339B6A2-3412-41EA-95D3-176FEDE1397E}"/>
                    </a:ext>
                  </a:extLst>
                </p:cNvPr>
                <p:cNvGrpSpPr/>
                <p:nvPr/>
              </p:nvGrpSpPr>
              <p:grpSpPr>
                <a:xfrm>
                  <a:off x="-2276445" y="4979660"/>
                  <a:ext cx="1671851" cy="1176648"/>
                  <a:chOff x="-2276445" y="4979660"/>
                  <a:chExt cx="1671851" cy="1176648"/>
                </a:xfrm>
              </p:grpSpPr>
              <p:grpSp>
                <p:nvGrpSpPr>
                  <p:cNvPr id="84" name="Group 156">
                    <a:extLst>
                      <a:ext uri="{FF2B5EF4-FFF2-40B4-BE49-F238E27FC236}">
                        <a16:creationId xmlns:a16="http://schemas.microsoft.com/office/drawing/2014/main" id="{49F34914-DF04-4072-9289-BD7D3B673001}"/>
                      </a:ext>
                    </a:extLst>
                  </p:cNvPr>
                  <p:cNvGrpSpPr/>
                  <p:nvPr/>
                </p:nvGrpSpPr>
                <p:grpSpPr>
                  <a:xfrm flipV="1">
                    <a:off x="-2079209" y="4979660"/>
                    <a:ext cx="1474615" cy="1080000"/>
                    <a:chOff x="3674840" y="1949417"/>
                    <a:chExt cx="2088000" cy="1080000"/>
                  </a:xfrm>
                </p:grpSpPr>
                <p:cxnSp>
                  <p:nvCxnSpPr>
                    <p:cNvPr id="86" name="Straight Connector 158">
                      <a:extLst>
                        <a:ext uri="{FF2B5EF4-FFF2-40B4-BE49-F238E27FC236}">
                          <a16:creationId xmlns:a16="http://schemas.microsoft.com/office/drawing/2014/main" id="{C2A2387C-972E-403F-A154-4F3ACFCE936E}"/>
                        </a:ext>
                      </a:extLst>
                    </p:cNvPr>
                    <p:cNvCxnSpPr/>
                    <p:nvPr/>
                  </p:nvCxnSpPr>
                  <p:spPr>
                    <a:xfrm>
                      <a:off x="5762840" y="1949417"/>
                      <a:ext cx="0" cy="108000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87" name="Straight Connector 159">
                      <a:extLst>
                        <a:ext uri="{FF2B5EF4-FFF2-40B4-BE49-F238E27FC236}">
                          <a16:creationId xmlns:a16="http://schemas.microsoft.com/office/drawing/2014/main" id="{ACD2D777-473E-41CD-B52E-D3670987ABC6}"/>
                        </a:ext>
                      </a:extLst>
                    </p:cNvPr>
                    <p:cNvCxnSpPr/>
                    <p:nvPr/>
                  </p:nvCxnSpPr>
                  <p:spPr>
                    <a:xfrm rot="5400000">
                      <a:off x="4718840" y="911905"/>
                      <a:ext cx="0" cy="2088000"/>
                    </a:xfrm>
                    <a:prstGeom prst="line">
                      <a:avLst/>
                    </a:prstGeom>
                    <a:ln>
                      <a:solidFill>
                        <a:schemeClr val="bg1">
                          <a:lumMod val="65000"/>
                        </a:schemeClr>
                      </a:solidFill>
                      <a:prstDash val="dash"/>
                      <a:tailEnd type="none"/>
                    </a:ln>
                  </p:spPr>
                  <p:style>
                    <a:lnRef idx="1">
                      <a:schemeClr val="accent1"/>
                    </a:lnRef>
                    <a:fillRef idx="0">
                      <a:schemeClr val="accent1"/>
                    </a:fillRef>
                    <a:effectRef idx="0">
                      <a:schemeClr val="accent1"/>
                    </a:effectRef>
                    <a:fontRef idx="minor">
                      <a:schemeClr val="tx1"/>
                    </a:fontRef>
                  </p:style>
                </p:cxnSp>
              </p:grpSp>
              <p:sp>
                <p:nvSpPr>
                  <p:cNvPr id="85" name="Oval 157">
                    <a:extLst>
                      <a:ext uri="{FF2B5EF4-FFF2-40B4-BE49-F238E27FC236}">
                        <a16:creationId xmlns:a16="http://schemas.microsoft.com/office/drawing/2014/main" id="{1F5A9E63-B85E-446E-9033-E273BEAACC80}"/>
                      </a:ext>
                    </a:extLst>
                  </p:cNvPr>
                  <p:cNvSpPr/>
                  <p:nvPr/>
                </p:nvSpPr>
                <p:spPr>
                  <a:xfrm>
                    <a:off x="-2276445" y="6004363"/>
                    <a:ext cx="151945" cy="151945"/>
                  </a:xfrm>
                  <a:prstGeom prst="ellipse">
                    <a:avLst/>
                  </a:prstGeom>
                  <a:solidFill>
                    <a:schemeClr val="accent1"/>
                  </a:solidFill>
                  <a:ln>
                    <a:solidFill>
                      <a:schemeClr val="bg1"/>
                    </a:solidFill>
                  </a:ln>
                  <a:effectLst>
                    <a:outerShdw blurRad="203200" dist="76200" dir="10260000" algn="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等线" panose="020F0502020204030204"/>
                      <a:ea typeface="+mn-ea"/>
                      <a:cs typeface="+mn-cs"/>
                    </a:endParaRPr>
                  </a:p>
                </p:txBody>
              </p:sp>
            </p:grpSp>
          </p:grpSp>
          <p:grpSp>
            <p:nvGrpSpPr>
              <p:cNvPr id="53" name="Group 1">
                <a:extLst>
                  <a:ext uri="{FF2B5EF4-FFF2-40B4-BE49-F238E27FC236}">
                    <a16:creationId xmlns:a16="http://schemas.microsoft.com/office/drawing/2014/main" id="{51A23692-CFB5-479A-A541-712DFAFCE239}"/>
                  </a:ext>
                </a:extLst>
              </p:cNvPr>
              <p:cNvGrpSpPr/>
              <p:nvPr/>
            </p:nvGrpSpPr>
            <p:grpSpPr>
              <a:xfrm>
                <a:off x="3725865" y="1268361"/>
                <a:ext cx="4740271" cy="5589639"/>
                <a:chOff x="3863832" y="1599003"/>
                <a:chExt cx="4459871" cy="5258997"/>
              </a:xfrm>
            </p:grpSpPr>
            <p:sp>
              <p:nvSpPr>
                <p:cNvPr id="54" name="Freeform 4">
                  <a:extLst>
                    <a:ext uri="{FF2B5EF4-FFF2-40B4-BE49-F238E27FC236}">
                      <a16:creationId xmlns:a16="http://schemas.microsoft.com/office/drawing/2014/main" id="{D82F427C-4046-43D9-9BED-FC1DD36B9707}"/>
                    </a:ext>
                  </a:extLst>
                </p:cNvPr>
                <p:cNvSpPr/>
                <p:nvPr/>
              </p:nvSpPr>
              <p:spPr>
                <a:xfrm>
                  <a:off x="5445485" y="3724457"/>
                  <a:ext cx="1500410" cy="3133543"/>
                </a:xfrm>
                <a:custGeom>
                  <a:avLst/>
                  <a:gdLst>
                    <a:gd name="connsiteX0" fmla="*/ 805148 w 1128712"/>
                    <a:gd name="connsiteY0" fmla="*/ 0 h 2023578"/>
                    <a:gd name="connsiteX1" fmla="*/ 564356 w 1128712"/>
                    <a:gd name="connsiteY1" fmla="*/ 789542 h 2023578"/>
                    <a:gd name="connsiteX2" fmla="*/ 1128712 w 1128712"/>
                    <a:gd name="connsiteY2" fmla="*/ 586517 h 2023578"/>
                    <a:gd name="connsiteX3" fmla="*/ 590693 w 1128712"/>
                    <a:gd name="connsiteY3" fmla="*/ 1056482 h 2023578"/>
                    <a:gd name="connsiteX4" fmla="*/ 594455 w 1128712"/>
                    <a:gd name="connsiteY4" fmla="*/ 1124157 h 2023578"/>
                    <a:gd name="connsiteX5" fmla="*/ 671631 w 1128712"/>
                    <a:gd name="connsiteY5" fmla="*/ 1992285 h 2023578"/>
                    <a:gd name="connsiteX6" fmla="*/ 679167 w 1128712"/>
                    <a:gd name="connsiteY6" fmla="*/ 2023578 h 2023578"/>
                    <a:gd name="connsiteX7" fmla="*/ 315501 w 1128712"/>
                    <a:gd name="connsiteY7" fmla="*/ 2023578 h 2023578"/>
                    <a:gd name="connsiteX8" fmla="*/ 320272 w 1128712"/>
                    <a:gd name="connsiteY8" fmla="*/ 1996662 h 2023578"/>
                    <a:gd name="connsiteX9" fmla="*/ 376238 w 1128712"/>
                    <a:gd name="connsiteY9" fmla="*/ 1124157 h 2023578"/>
                    <a:gd name="connsiteX10" fmla="*/ 376238 w 1128712"/>
                    <a:gd name="connsiteY10" fmla="*/ 1022644 h 2023578"/>
                    <a:gd name="connsiteX11" fmla="*/ 0 w 1128712"/>
                    <a:gd name="connsiteY11" fmla="*/ 612835 h 2023578"/>
                    <a:gd name="connsiteX12" fmla="*/ 398812 w 1128712"/>
                    <a:gd name="connsiteY12" fmla="*/ 782022 h 2023578"/>
                    <a:gd name="connsiteX13" fmla="*/ 402574 w 1128712"/>
                    <a:gd name="connsiteY13" fmla="*/ 718107 h 2023578"/>
                    <a:gd name="connsiteX14" fmla="*/ 142970 w 1128712"/>
                    <a:gd name="connsiteY14" fmla="*/ 293258 h 2023578"/>
                    <a:gd name="connsiteX15" fmla="*/ 443960 w 1128712"/>
                    <a:gd name="connsiteY15" fmla="*/ 518842 h 2023578"/>
                    <a:gd name="connsiteX16" fmla="*/ 474059 w 1128712"/>
                    <a:gd name="connsiteY16" fmla="*/ 428608 h 2023578"/>
                    <a:gd name="connsiteX17" fmla="*/ 805148 w 1128712"/>
                    <a:gd name="connsiteY17" fmla="*/ 0 h 20235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128712" h="2023578">
                      <a:moveTo>
                        <a:pt x="805148" y="0"/>
                      </a:moveTo>
                      <a:cubicBezTo>
                        <a:pt x="526732" y="545160"/>
                        <a:pt x="564356" y="789542"/>
                        <a:pt x="564356" y="789542"/>
                      </a:cubicBezTo>
                      <a:cubicBezTo>
                        <a:pt x="741188" y="567718"/>
                        <a:pt x="1128712" y="586517"/>
                        <a:pt x="1128712" y="586517"/>
                      </a:cubicBezTo>
                      <a:cubicBezTo>
                        <a:pt x="1128712" y="586517"/>
                        <a:pt x="680990" y="740665"/>
                        <a:pt x="590693" y="1056482"/>
                      </a:cubicBezTo>
                      <a:cubicBezTo>
                        <a:pt x="590693" y="1056482"/>
                        <a:pt x="594455" y="1082800"/>
                        <a:pt x="594455" y="1124157"/>
                      </a:cubicBezTo>
                      <a:cubicBezTo>
                        <a:pt x="600569" y="1295224"/>
                        <a:pt x="621586" y="1756686"/>
                        <a:pt x="671631" y="1992285"/>
                      </a:cubicBezTo>
                      <a:lnTo>
                        <a:pt x="679167" y="2023578"/>
                      </a:lnTo>
                      <a:lnTo>
                        <a:pt x="315501" y="2023578"/>
                      </a:lnTo>
                      <a:lnTo>
                        <a:pt x="320272" y="1996662"/>
                      </a:lnTo>
                      <a:cubicBezTo>
                        <a:pt x="361012" y="1721658"/>
                        <a:pt x="372946" y="1314962"/>
                        <a:pt x="376238" y="1124157"/>
                      </a:cubicBezTo>
                      <a:cubicBezTo>
                        <a:pt x="376238" y="1060241"/>
                        <a:pt x="376238" y="1022644"/>
                        <a:pt x="376238" y="1022644"/>
                      </a:cubicBezTo>
                      <a:cubicBezTo>
                        <a:pt x="316040" y="804580"/>
                        <a:pt x="0" y="612835"/>
                        <a:pt x="0" y="612835"/>
                      </a:cubicBezTo>
                      <a:cubicBezTo>
                        <a:pt x="338614" y="609075"/>
                        <a:pt x="398812" y="782022"/>
                        <a:pt x="398812" y="782022"/>
                      </a:cubicBezTo>
                      <a:cubicBezTo>
                        <a:pt x="398812" y="759464"/>
                        <a:pt x="402574" y="736905"/>
                        <a:pt x="402574" y="718107"/>
                      </a:cubicBezTo>
                      <a:cubicBezTo>
                        <a:pt x="353663" y="391011"/>
                        <a:pt x="142970" y="293258"/>
                        <a:pt x="142970" y="293258"/>
                      </a:cubicBezTo>
                      <a:cubicBezTo>
                        <a:pt x="342376" y="308297"/>
                        <a:pt x="417624" y="447407"/>
                        <a:pt x="443960" y="518842"/>
                      </a:cubicBezTo>
                      <a:cubicBezTo>
                        <a:pt x="451485" y="488764"/>
                        <a:pt x="462772" y="458686"/>
                        <a:pt x="474059" y="428608"/>
                      </a:cubicBezTo>
                      <a:cubicBezTo>
                        <a:pt x="594455" y="124071"/>
                        <a:pt x="805148" y="0"/>
                        <a:pt x="805148" y="0"/>
                      </a:cubicBezTo>
                      <a:close/>
                    </a:path>
                  </a:pathLst>
                </a:custGeom>
                <a:solidFill>
                  <a:srgbClr val="8054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FFFFFF"/>
                    </a:solidFill>
                    <a:effectLst/>
                    <a:uLnTx/>
                    <a:uFillTx/>
                    <a:latin typeface="等线" panose="020F0502020204030204"/>
                    <a:ea typeface="+mn-ea"/>
                    <a:cs typeface="+mn-cs"/>
                  </a:endParaRPr>
                </a:p>
              </p:txBody>
            </p:sp>
            <p:sp>
              <p:nvSpPr>
                <p:cNvPr id="55" name="Teardrop 3">
                  <a:extLst>
                    <a:ext uri="{FF2B5EF4-FFF2-40B4-BE49-F238E27FC236}">
                      <a16:creationId xmlns:a16="http://schemas.microsoft.com/office/drawing/2014/main" id="{D6DD6198-D519-4F61-874F-7280DAB86387}"/>
                    </a:ext>
                  </a:extLst>
                </p:cNvPr>
                <p:cNvSpPr/>
                <p:nvPr/>
              </p:nvSpPr>
              <p:spPr>
                <a:xfrm rot="20700000" flipH="1">
                  <a:off x="6646954" y="4781462"/>
                  <a:ext cx="1371600" cy="1371600"/>
                </a:xfrm>
                <a:prstGeom prst="teardrop">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等线" panose="020F0502020204030204"/>
                    <a:ea typeface="+mn-ea"/>
                    <a:cs typeface="+mn-cs"/>
                  </a:endParaRPr>
                </a:p>
              </p:txBody>
            </p:sp>
            <p:sp>
              <p:nvSpPr>
                <p:cNvPr id="56" name="Teardrop 4">
                  <a:extLst>
                    <a:ext uri="{FF2B5EF4-FFF2-40B4-BE49-F238E27FC236}">
                      <a16:creationId xmlns:a16="http://schemas.microsoft.com/office/drawing/2014/main" id="{1796702E-57B0-4E9D-8AD7-C1CAAEC1463F}"/>
                    </a:ext>
                  </a:extLst>
                </p:cNvPr>
                <p:cNvSpPr/>
                <p:nvPr/>
              </p:nvSpPr>
              <p:spPr>
                <a:xfrm rot="17100000" flipH="1">
                  <a:off x="6948452" y="3216789"/>
                  <a:ext cx="1371600" cy="1371600"/>
                </a:xfrm>
                <a:prstGeom prst="teardrop">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等线" panose="020F0502020204030204"/>
                    <a:ea typeface="+mn-ea"/>
                    <a:cs typeface="+mn-cs"/>
                  </a:endParaRPr>
                </a:p>
              </p:txBody>
            </p:sp>
            <p:sp>
              <p:nvSpPr>
                <p:cNvPr id="57" name="Teardrop 5">
                  <a:extLst>
                    <a:ext uri="{FF2B5EF4-FFF2-40B4-BE49-F238E27FC236}">
                      <a16:creationId xmlns:a16="http://schemas.microsoft.com/office/drawing/2014/main" id="{45BA2006-B59F-4CC7-BAB4-9BAAA7579103}"/>
                    </a:ext>
                  </a:extLst>
                </p:cNvPr>
                <p:cNvSpPr/>
                <p:nvPr/>
              </p:nvSpPr>
              <p:spPr>
                <a:xfrm rot="14400000" flipH="1">
                  <a:off x="6180098" y="1826243"/>
                  <a:ext cx="1371600" cy="1371600"/>
                </a:xfrm>
                <a:prstGeom prst="teardrop">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等线" panose="020F0502020204030204"/>
                    <a:ea typeface="+mn-ea"/>
                    <a:cs typeface="+mn-cs"/>
                  </a:endParaRPr>
                </a:p>
              </p:txBody>
            </p:sp>
            <p:sp>
              <p:nvSpPr>
                <p:cNvPr id="58" name="Teardrop 6">
                  <a:extLst>
                    <a:ext uri="{FF2B5EF4-FFF2-40B4-BE49-F238E27FC236}">
                      <a16:creationId xmlns:a16="http://schemas.microsoft.com/office/drawing/2014/main" id="{05210B56-4BA7-4432-8D1A-66112B64714E}"/>
                    </a:ext>
                  </a:extLst>
                </p:cNvPr>
                <p:cNvSpPr/>
                <p:nvPr/>
              </p:nvSpPr>
              <p:spPr>
                <a:xfrm rot="900000">
                  <a:off x="4201145" y="4803509"/>
                  <a:ext cx="1371600" cy="1371600"/>
                </a:xfrm>
                <a:prstGeom prst="teardrop">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等线" panose="020F0502020204030204"/>
                    <a:ea typeface="+mn-ea"/>
                    <a:cs typeface="+mn-cs"/>
                  </a:endParaRPr>
                </a:p>
              </p:txBody>
            </p:sp>
            <p:sp>
              <p:nvSpPr>
                <p:cNvPr id="59" name="Teardrop 7">
                  <a:extLst>
                    <a:ext uri="{FF2B5EF4-FFF2-40B4-BE49-F238E27FC236}">
                      <a16:creationId xmlns:a16="http://schemas.microsoft.com/office/drawing/2014/main" id="{B9C9DDCF-C28B-4919-B785-6EDCE85370D2}"/>
                    </a:ext>
                  </a:extLst>
                </p:cNvPr>
                <p:cNvSpPr/>
                <p:nvPr/>
              </p:nvSpPr>
              <p:spPr>
                <a:xfrm rot="4500000">
                  <a:off x="3863832" y="3216788"/>
                  <a:ext cx="1371600" cy="1371600"/>
                </a:xfrm>
                <a:prstGeom prst="teardrop">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等线" panose="020F0502020204030204"/>
                    <a:ea typeface="+mn-ea"/>
                    <a:cs typeface="+mn-cs"/>
                  </a:endParaRPr>
                </a:p>
              </p:txBody>
            </p:sp>
            <p:sp>
              <p:nvSpPr>
                <p:cNvPr id="60" name="Teardrop 8">
                  <a:extLst>
                    <a:ext uri="{FF2B5EF4-FFF2-40B4-BE49-F238E27FC236}">
                      <a16:creationId xmlns:a16="http://schemas.microsoft.com/office/drawing/2014/main" id="{B94987E7-9C70-4C2C-AF78-1276C482BA4B}"/>
                    </a:ext>
                  </a:extLst>
                </p:cNvPr>
                <p:cNvSpPr/>
                <p:nvPr/>
              </p:nvSpPr>
              <p:spPr>
                <a:xfrm rot="7200000">
                  <a:off x="4655755" y="1844328"/>
                  <a:ext cx="1371600" cy="1371600"/>
                </a:xfrm>
                <a:prstGeom prst="teardrop">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等线" panose="020F0502020204030204"/>
                    <a:ea typeface="+mn-ea"/>
                    <a:cs typeface="+mn-cs"/>
                  </a:endParaRPr>
                </a:p>
              </p:txBody>
            </p:sp>
            <p:sp>
              <p:nvSpPr>
                <p:cNvPr id="61" name="Teardrop 9">
                  <a:extLst>
                    <a:ext uri="{FF2B5EF4-FFF2-40B4-BE49-F238E27FC236}">
                      <a16:creationId xmlns:a16="http://schemas.microsoft.com/office/drawing/2014/main" id="{FD013AAE-584D-47CB-AF09-5EB392D40A43}"/>
                    </a:ext>
                  </a:extLst>
                </p:cNvPr>
                <p:cNvSpPr/>
                <p:nvPr/>
              </p:nvSpPr>
              <p:spPr>
                <a:xfrm rot="7120111">
                  <a:off x="5753270" y="3403902"/>
                  <a:ext cx="538104" cy="538104"/>
                </a:xfrm>
                <a:prstGeom prst="teardrop">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等线" panose="020F0502020204030204"/>
                    <a:ea typeface="+mn-ea"/>
                    <a:cs typeface="+mn-cs"/>
                  </a:endParaRPr>
                </a:p>
              </p:txBody>
            </p:sp>
            <p:sp>
              <p:nvSpPr>
                <p:cNvPr id="62" name="Teardrop 10">
                  <a:extLst>
                    <a:ext uri="{FF2B5EF4-FFF2-40B4-BE49-F238E27FC236}">
                      <a16:creationId xmlns:a16="http://schemas.microsoft.com/office/drawing/2014/main" id="{286CF1CB-2AE1-41A2-BB0A-4DFCD9F94168}"/>
                    </a:ext>
                  </a:extLst>
                </p:cNvPr>
                <p:cNvSpPr/>
                <p:nvPr/>
              </p:nvSpPr>
              <p:spPr>
                <a:xfrm rot="10800000">
                  <a:off x="6377522" y="4048198"/>
                  <a:ext cx="313422" cy="313422"/>
                </a:xfrm>
                <a:prstGeom prst="teardrop">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等线" panose="020F0502020204030204"/>
                    <a:ea typeface="+mn-ea"/>
                    <a:cs typeface="+mn-cs"/>
                  </a:endParaRPr>
                </a:p>
              </p:txBody>
            </p:sp>
            <p:sp>
              <p:nvSpPr>
                <p:cNvPr id="63" name="Teardrop 11">
                  <a:extLst>
                    <a:ext uri="{FF2B5EF4-FFF2-40B4-BE49-F238E27FC236}">
                      <a16:creationId xmlns:a16="http://schemas.microsoft.com/office/drawing/2014/main" id="{01950660-FC85-4BE3-BA78-FA360937BA5B}"/>
                    </a:ext>
                  </a:extLst>
                </p:cNvPr>
                <p:cNvSpPr/>
                <p:nvPr/>
              </p:nvSpPr>
              <p:spPr>
                <a:xfrm rot="6441119">
                  <a:off x="5914103" y="3015484"/>
                  <a:ext cx="373666" cy="373666"/>
                </a:xfrm>
                <a:prstGeom prst="teardrop">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等线" panose="020F0502020204030204"/>
                    <a:ea typeface="+mn-ea"/>
                    <a:cs typeface="+mn-cs"/>
                  </a:endParaRPr>
                </a:p>
              </p:txBody>
            </p:sp>
            <p:sp>
              <p:nvSpPr>
                <p:cNvPr id="64" name="Teardrop 12">
                  <a:extLst>
                    <a:ext uri="{FF2B5EF4-FFF2-40B4-BE49-F238E27FC236}">
                      <a16:creationId xmlns:a16="http://schemas.microsoft.com/office/drawing/2014/main" id="{50F37A96-B7A5-4FAB-B8E9-935416A66260}"/>
                    </a:ext>
                  </a:extLst>
                </p:cNvPr>
                <p:cNvSpPr/>
                <p:nvPr/>
              </p:nvSpPr>
              <p:spPr>
                <a:xfrm rot="9000000">
                  <a:off x="6501091" y="3516254"/>
                  <a:ext cx="379706" cy="379706"/>
                </a:xfrm>
                <a:prstGeom prst="teardrop">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等线" panose="020F0502020204030204"/>
                    <a:ea typeface="+mn-ea"/>
                    <a:cs typeface="+mn-cs"/>
                  </a:endParaRPr>
                </a:p>
              </p:txBody>
            </p:sp>
            <p:sp>
              <p:nvSpPr>
                <p:cNvPr id="65" name="Teardrop 13">
                  <a:extLst>
                    <a:ext uri="{FF2B5EF4-FFF2-40B4-BE49-F238E27FC236}">
                      <a16:creationId xmlns:a16="http://schemas.microsoft.com/office/drawing/2014/main" id="{693F6772-A5E6-4D92-ABBA-96181992B500}"/>
                    </a:ext>
                  </a:extLst>
                </p:cNvPr>
                <p:cNvSpPr/>
                <p:nvPr/>
              </p:nvSpPr>
              <p:spPr>
                <a:xfrm rot="6300000">
                  <a:off x="5313818" y="3573479"/>
                  <a:ext cx="413758" cy="413758"/>
                </a:xfrm>
                <a:prstGeom prst="teardrop">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等线" panose="020F0502020204030204"/>
                    <a:ea typeface="+mn-ea"/>
                    <a:cs typeface="+mn-cs"/>
                  </a:endParaRPr>
                </a:p>
              </p:txBody>
            </p:sp>
            <p:sp>
              <p:nvSpPr>
                <p:cNvPr id="66" name="Teardrop 14">
                  <a:extLst>
                    <a:ext uri="{FF2B5EF4-FFF2-40B4-BE49-F238E27FC236}">
                      <a16:creationId xmlns:a16="http://schemas.microsoft.com/office/drawing/2014/main" id="{0B895412-E249-424B-B0AD-F2FDBBD06ACB}"/>
                    </a:ext>
                  </a:extLst>
                </p:cNvPr>
                <p:cNvSpPr/>
                <p:nvPr/>
              </p:nvSpPr>
              <p:spPr>
                <a:xfrm rot="5642749">
                  <a:off x="4357286" y="2674217"/>
                  <a:ext cx="287960" cy="287960"/>
                </a:xfrm>
                <a:prstGeom prst="teardrop">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等线" panose="020F0502020204030204"/>
                    <a:ea typeface="+mn-ea"/>
                    <a:cs typeface="+mn-cs"/>
                  </a:endParaRPr>
                </a:p>
              </p:txBody>
            </p:sp>
            <p:sp>
              <p:nvSpPr>
                <p:cNvPr id="67" name="Teardrop 15">
                  <a:extLst>
                    <a:ext uri="{FF2B5EF4-FFF2-40B4-BE49-F238E27FC236}">
                      <a16:creationId xmlns:a16="http://schemas.microsoft.com/office/drawing/2014/main" id="{62159184-A0BF-4E91-BB6E-071A62EB84E6}"/>
                    </a:ext>
                  </a:extLst>
                </p:cNvPr>
                <p:cNvSpPr/>
                <p:nvPr/>
              </p:nvSpPr>
              <p:spPr>
                <a:xfrm rot="1769098">
                  <a:off x="3965418" y="4679538"/>
                  <a:ext cx="373666" cy="373666"/>
                </a:xfrm>
                <a:prstGeom prst="teardrop">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等线" panose="020F0502020204030204"/>
                    <a:ea typeface="+mn-ea"/>
                    <a:cs typeface="+mn-cs"/>
                  </a:endParaRPr>
                </a:p>
              </p:txBody>
            </p:sp>
            <p:sp>
              <p:nvSpPr>
                <p:cNvPr id="68" name="Teardrop 16">
                  <a:extLst>
                    <a:ext uri="{FF2B5EF4-FFF2-40B4-BE49-F238E27FC236}">
                      <a16:creationId xmlns:a16="http://schemas.microsoft.com/office/drawing/2014/main" id="{4A550FF9-7C7E-4A99-A015-E22F7EA6ED9B}"/>
                    </a:ext>
                  </a:extLst>
                </p:cNvPr>
                <p:cNvSpPr/>
                <p:nvPr/>
              </p:nvSpPr>
              <p:spPr>
                <a:xfrm rot="2974210">
                  <a:off x="3886247" y="2820184"/>
                  <a:ext cx="448950" cy="448950"/>
                </a:xfrm>
                <a:prstGeom prst="teardrop">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等线" panose="020F0502020204030204"/>
                    <a:ea typeface="+mn-ea"/>
                    <a:cs typeface="+mn-cs"/>
                  </a:endParaRPr>
                </a:p>
              </p:txBody>
            </p:sp>
            <p:sp>
              <p:nvSpPr>
                <p:cNvPr id="69" name="Teardrop 17">
                  <a:extLst>
                    <a:ext uri="{FF2B5EF4-FFF2-40B4-BE49-F238E27FC236}">
                      <a16:creationId xmlns:a16="http://schemas.microsoft.com/office/drawing/2014/main" id="{02C17100-4B96-4E7F-89DB-58C99877519B}"/>
                    </a:ext>
                  </a:extLst>
                </p:cNvPr>
                <p:cNvSpPr/>
                <p:nvPr/>
              </p:nvSpPr>
              <p:spPr>
                <a:xfrm rot="9070581">
                  <a:off x="6059857" y="1599003"/>
                  <a:ext cx="373666" cy="373666"/>
                </a:xfrm>
                <a:prstGeom prst="teardrop">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等线" panose="020F0502020204030204"/>
                    <a:ea typeface="+mn-ea"/>
                    <a:cs typeface="+mn-cs"/>
                  </a:endParaRPr>
                </a:p>
              </p:txBody>
            </p:sp>
            <p:sp>
              <p:nvSpPr>
                <p:cNvPr id="70" name="Teardrop 18">
                  <a:extLst>
                    <a:ext uri="{FF2B5EF4-FFF2-40B4-BE49-F238E27FC236}">
                      <a16:creationId xmlns:a16="http://schemas.microsoft.com/office/drawing/2014/main" id="{8E00ADAC-B9E1-45B1-9F99-4A316C5B519B}"/>
                    </a:ext>
                  </a:extLst>
                </p:cNvPr>
                <p:cNvSpPr/>
                <p:nvPr/>
              </p:nvSpPr>
              <p:spPr>
                <a:xfrm rot="4740069">
                  <a:off x="5895447" y="1928657"/>
                  <a:ext cx="209746" cy="209746"/>
                </a:xfrm>
                <a:prstGeom prst="teardrop">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等线" panose="020F0502020204030204"/>
                    <a:ea typeface="+mn-ea"/>
                    <a:cs typeface="+mn-cs"/>
                  </a:endParaRPr>
                </a:p>
              </p:txBody>
            </p:sp>
            <p:sp>
              <p:nvSpPr>
                <p:cNvPr id="71" name="Teardrop 19">
                  <a:extLst>
                    <a:ext uri="{FF2B5EF4-FFF2-40B4-BE49-F238E27FC236}">
                      <a16:creationId xmlns:a16="http://schemas.microsoft.com/office/drawing/2014/main" id="{2A1824B7-A6A9-4833-8EA7-ACB808E9AC97}"/>
                    </a:ext>
                  </a:extLst>
                </p:cNvPr>
                <p:cNvSpPr/>
                <p:nvPr/>
              </p:nvSpPr>
              <p:spPr>
                <a:xfrm rot="12460915">
                  <a:off x="7539988" y="2793623"/>
                  <a:ext cx="373666" cy="373666"/>
                </a:xfrm>
                <a:prstGeom prst="teardrop">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等线" panose="020F0502020204030204"/>
                    <a:ea typeface="+mn-ea"/>
                    <a:cs typeface="+mn-cs"/>
                  </a:endParaRPr>
                </a:p>
              </p:txBody>
            </p:sp>
            <p:sp>
              <p:nvSpPr>
                <p:cNvPr id="72" name="Teardrop 20">
                  <a:extLst>
                    <a:ext uri="{FF2B5EF4-FFF2-40B4-BE49-F238E27FC236}">
                      <a16:creationId xmlns:a16="http://schemas.microsoft.com/office/drawing/2014/main" id="{3B64CD9B-8383-494D-8923-5B5EF366A603}"/>
                    </a:ext>
                  </a:extLst>
                </p:cNvPr>
                <p:cNvSpPr/>
                <p:nvPr/>
              </p:nvSpPr>
              <p:spPr>
                <a:xfrm rot="15370581">
                  <a:off x="7950037" y="4792749"/>
                  <a:ext cx="373666" cy="373666"/>
                </a:xfrm>
                <a:prstGeom prst="teardrop">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等线" panose="020F0502020204030204"/>
                    <a:ea typeface="+mn-ea"/>
                    <a:cs typeface="+mn-cs"/>
                  </a:endParaRPr>
                </a:p>
              </p:txBody>
            </p:sp>
            <p:sp>
              <p:nvSpPr>
                <p:cNvPr id="73" name="Teardrop 21">
                  <a:extLst>
                    <a:ext uri="{FF2B5EF4-FFF2-40B4-BE49-F238E27FC236}">
                      <a16:creationId xmlns:a16="http://schemas.microsoft.com/office/drawing/2014/main" id="{8A276629-AC3C-485A-9AF0-45CA4FFFCF6F}"/>
                    </a:ext>
                  </a:extLst>
                </p:cNvPr>
                <p:cNvSpPr/>
                <p:nvPr/>
              </p:nvSpPr>
              <p:spPr>
                <a:xfrm rot="13367882">
                  <a:off x="7866529" y="4563434"/>
                  <a:ext cx="209746" cy="209746"/>
                </a:xfrm>
                <a:prstGeom prst="teardrop">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等线" panose="020F0502020204030204"/>
                    <a:ea typeface="+mn-ea"/>
                    <a:cs typeface="+mn-cs"/>
                  </a:endParaRPr>
                </a:p>
              </p:txBody>
            </p:sp>
            <p:sp>
              <p:nvSpPr>
                <p:cNvPr id="74" name="TextBox 22">
                  <a:extLst>
                    <a:ext uri="{FF2B5EF4-FFF2-40B4-BE49-F238E27FC236}">
                      <a16:creationId xmlns:a16="http://schemas.microsoft.com/office/drawing/2014/main" id="{69FD17BE-FB4F-486B-85F8-F6DBFBB0062E}"/>
                    </a:ext>
                  </a:extLst>
                </p:cNvPr>
                <p:cNvSpPr txBox="1"/>
                <p:nvPr/>
              </p:nvSpPr>
              <p:spPr>
                <a:xfrm>
                  <a:off x="4615877" y="5027644"/>
                  <a:ext cx="553357" cy="92333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400" b="1" i="0" u="none" strike="noStrike" kern="1200" cap="none" spc="0" normalizeH="0" baseline="0" noProof="0" dirty="0">
                      <a:ln>
                        <a:noFill/>
                      </a:ln>
                      <a:solidFill>
                        <a:srgbClr val="FFFFFF"/>
                      </a:solidFill>
                      <a:effectLst/>
                      <a:uLnTx/>
                      <a:uFillTx/>
                      <a:latin typeface="Calibri" panose="020F0502020204030204" pitchFamily="34" charset="0"/>
                      <a:ea typeface="+mn-ea"/>
                      <a:cs typeface="+mn-cs"/>
                    </a:rPr>
                    <a:t>P</a:t>
                  </a:r>
                </a:p>
              </p:txBody>
            </p:sp>
            <p:sp>
              <p:nvSpPr>
                <p:cNvPr id="75" name="TextBox 23">
                  <a:extLst>
                    <a:ext uri="{FF2B5EF4-FFF2-40B4-BE49-F238E27FC236}">
                      <a16:creationId xmlns:a16="http://schemas.microsoft.com/office/drawing/2014/main" id="{6EC6ABE9-37F7-4598-AD89-F6B73E64E6B6}"/>
                    </a:ext>
                  </a:extLst>
                </p:cNvPr>
                <p:cNvSpPr txBox="1"/>
                <p:nvPr/>
              </p:nvSpPr>
              <p:spPr>
                <a:xfrm>
                  <a:off x="4288183" y="3440923"/>
                  <a:ext cx="522899" cy="92333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400" b="1" i="0" u="none" strike="noStrike" kern="1200" cap="none" spc="0" normalizeH="0" baseline="0" noProof="0" dirty="0">
                      <a:ln>
                        <a:noFill/>
                      </a:ln>
                      <a:solidFill>
                        <a:srgbClr val="FFFFFF"/>
                      </a:solidFill>
                      <a:effectLst/>
                      <a:uLnTx/>
                      <a:uFillTx/>
                      <a:latin typeface="Calibri" panose="020F0502020204030204" pitchFamily="34" charset="0"/>
                      <a:ea typeface="+mn-ea"/>
                      <a:cs typeface="+mn-cs"/>
                    </a:rPr>
                    <a:t>E</a:t>
                  </a:r>
                </a:p>
              </p:txBody>
            </p:sp>
            <p:sp>
              <p:nvSpPr>
                <p:cNvPr id="76" name="TextBox 24">
                  <a:extLst>
                    <a:ext uri="{FF2B5EF4-FFF2-40B4-BE49-F238E27FC236}">
                      <a16:creationId xmlns:a16="http://schemas.microsoft.com/office/drawing/2014/main" id="{26497412-AE86-4D39-82A2-DF12F88E21C8}"/>
                    </a:ext>
                  </a:extLst>
                </p:cNvPr>
                <p:cNvSpPr txBox="1"/>
                <p:nvPr/>
              </p:nvSpPr>
              <p:spPr>
                <a:xfrm>
                  <a:off x="5080106" y="2068463"/>
                  <a:ext cx="522899" cy="92333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400" b="1" i="0" u="none" strike="noStrike" kern="1200" cap="none" spc="0" normalizeH="0" baseline="0" noProof="0" dirty="0">
                      <a:ln>
                        <a:noFill/>
                      </a:ln>
                      <a:solidFill>
                        <a:srgbClr val="FFFFFF"/>
                      </a:solidFill>
                      <a:effectLst/>
                      <a:uLnTx/>
                      <a:uFillTx/>
                      <a:latin typeface="Calibri" panose="020F0502020204030204" pitchFamily="34" charset="0"/>
                      <a:ea typeface="+mn-ea"/>
                      <a:cs typeface="+mn-cs"/>
                    </a:rPr>
                    <a:t>S</a:t>
                  </a:r>
                </a:p>
              </p:txBody>
            </p:sp>
            <p:sp>
              <p:nvSpPr>
                <p:cNvPr id="77" name="TextBox 25">
                  <a:extLst>
                    <a:ext uri="{FF2B5EF4-FFF2-40B4-BE49-F238E27FC236}">
                      <a16:creationId xmlns:a16="http://schemas.microsoft.com/office/drawing/2014/main" id="{93E4F86A-95D3-4A80-9481-93D8178C9400}"/>
                    </a:ext>
                  </a:extLst>
                </p:cNvPr>
                <p:cNvSpPr txBox="1"/>
                <p:nvPr/>
              </p:nvSpPr>
              <p:spPr>
                <a:xfrm>
                  <a:off x="6604449" y="2050378"/>
                  <a:ext cx="522899" cy="92333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400" b="1" i="0" u="none" strike="noStrike" kern="1200" cap="none" spc="0" normalizeH="0" baseline="0" noProof="0" dirty="0">
                      <a:ln>
                        <a:noFill/>
                      </a:ln>
                      <a:solidFill>
                        <a:srgbClr val="FFFFFF"/>
                      </a:solidFill>
                      <a:effectLst/>
                      <a:uLnTx/>
                      <a:uFillTx/>
                      <a:latin typeface="Calibri" panose="020F0502020204030204" pitchFamily="34" charset="0"/>
                      <a:ea typeface="+mn-ea"/>
                      <a:cs typeface="+mn-cs"/>
                    </a:rPr>
                    <a:t>T</a:t>
                  </a:r>
                </a:p>
              </p:txBody>
            </p:sp>
            <p:sp>
              <p:nvSpPr>
                <p:cNvPr id="78" name="TextBox 26">
                  <a:extLst>
                    <a:ext uri="{FF2B5EF4-FFF2-40B4-BE49-F238E27FC236}">
                      <a16:creationId xmlns:a16="http://schemas.microsoft.com/office/drawing/2014/main" id="{6E782750-2795-4007-B031-EF789E847465}"/>
                    </a:ext>
                  </a:extLst>
                </p:cNvPr>
                <p:cNvSpPr txBox="1"/>
                <p:nvPr/>
              </p:nvSpPr>
              <p:spPr>
                <a:xfrm>
                  <a:off x="7372803" y="3440924"/>
                  <a:ext cx="522899" cy="92333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400" b="1" i="0" u="none" strike="noStrike" kern="1200" cap="none" spc="0" normalizeH="0" baseline="0" noProof="0" dirty="0">
                      <a:ln>
                        <a:noFill/>
                      </a:ln>
                      <a:solidFill>
                        <a:srgbClr val="FFFFFF"/>
                      </a:solidFill>
                      <a:effectLst/>
                      <a:uLnTx/>
                      <a:uFillTx/>
                      <a:latin typeface="Calibri" panose="020F0502020204030204" pitchFamily="34" charset="0"/>
                      <a:ea typeface="+mn-ea"/>
                      <a:cs typeface="+mn-cs"/>
                    </a:rPr>
                    <a:t>E</a:t>
                  </a:r>
                </a:p>
              </p:txBody>
            </p:sp>
            <p:sp>
              <p:nvSpPr>
                <p:cNvPr id="79" name="TextBox 27">
                  <a:extLst>
                    <a:ext uri="{FF2B5EF4-FFF2-40B4-BE49-F238E27FC236}">
                      <a16:creationId xmlns:a16="http://schemas.microsoft.com/office/drawing/2014/main" id="{7AA9C881-E101-49EA-B3CE-47DD90B26193}"/>
                    </a:ext>
                  </a:extLst>
                </p:cNvPr>
                <p:cNvSpPr txBox="1"/>
                <p:nvPr/>
              </p:nvSpPr>
              <p:spPr>
                <a:xfrm>
                  <a:off x="7088757" y="5005597"/>
                  <a:ext cx="478015" cy="92333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400" b="1" i="0" u="none" strike="noStrike" kern="1200" cap="none" spc="0" normalizeH="0" baseline="0" noProof="0" dirty="0">
                      <a:ln>
                        <a:noFill/>
                      </a:ln>
                      <a:solidFill>
                        <a:srgbClr val="FFFFFF"/>
                      </a:solidFill>
                      <a:effectLst/>
                      <a:uLnTx/>
                      <a:uFillTx/>
                      <a:latin typeface="Calibri" panose="020F0502020204030204" pitchFamily="34" charset="0"/>
                      <a:ea typeface="+mn-ea"/>
                      <a:cs typeface="+mn-cs"/>
                    </a:rPr>
                    <a:t>L</a:t>
                  </a:r>
                </a:p>
              </p:txBody>
            </p:sp>
            <p:sp>
              <p:nvSpPr>
                <p:cNvPr id="80" name="Teardrop 28">
                  <a:extLst>
                    <a:ext uri="{FF2B5EF4-FFF2-40B4-BE49-F238E27FC236}">
                      <a16:creationId xmlns:a16="http://schemas.microsoft.com/office/drawing/2014/main" id="{66658E72-9F69-403E-A2C2-BE6CD94A8489}"/>
                    </a:ext>
                  </a:extLst>
                </p:cNvPr>
                <p:cNvSpPr/>
                <p:nvPr/>
              </p:nvSpPr>
              <p:spPr>
                <a:xfrm rot="5642749">
                  <a:off x="4357286" y="2674217"/>
                  <a:ext cx="287960" cy="287960"/>
                </a:xfrm>
                <a:prstGeom prst="teardrop">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等线" panose="020F0502020204030204"/>
                    <a:ea typeface="+mn-ea"/>
                    <a:cs typeface="+mn-cs"/>
                  </a:endParaRPr>
                </a:p>
              </p:txBody>
            </p:sp>
          </p:grpSp>
        </p:grpSp>
        <p:grpSp>
          <p:nvGrpSpPr>
            <p:cNvPr id="6" name="Group 93">
              <a:extLst>
                <a:ext uri="{FF2B5EF4-FFF2-40B4-BE49-F238E27FC236}">
                  <a16:creationId xmlns:a16="http://schemas.microsoft.com/office/drawing/2014/main" id="{BD1EABD9-981F-4B1F-AECB-AF9BE773DB91}"/>
                </a:ext>
              </a:extLst>
            </p:cNvPr>
            <p:cNvGrpSpPr/>
            <p:nvPr/>
          </p:nvGrpSpPr>
          <p:grpSpPr>
            <a:xfrm>
              <a:off x="845089" y="4767815"/>
              <a:ext cx="2355342" cy="1302873"/>
              <a:chOff x="9648949" y="1639486"/>
              <a:chExt cx="2355342" cy="1302873"/>
            </a:xfrm>
          </p:grpSpPr>
          <p:sp>
            <p:nvSpPr>
              <p:cNvPr id="44" name="TextBox 137">
                <a:extLst>
                  <a:ext uri="{FF2B5EF4-FFF2-40B4-BE49-F238E27FC236}">
                    <a16:creationId xmlns:a16="http://schemas.microsoft.com/office/drawing/2014/main" id="{53D4018E-0552-4B94-B066-57261117FAD3}"/>
                  </a:ext>
                </a:extLst>
              </p:cNvPr>
              <p:cNvSpPr txBox="1"/>
              <p:nvPr/>
            </p:nvSpPr>
            <p:spPr>
              <a:xfrm>
                <a:off x="9648949" y="2274804"/>
                <a:ext cx="2355342" cy="667555"/>
              </a:xfrm>
              <a:prstGeom prst="rect">
                <a:avLst/>
              </a:prstGeom>
              <a:noFill/>
            </p:spPr>
            <p:txBody>
              <a:bodyPr wrap="square" rtlCol="0">
                <a:spAutoFit/>
              </a:bodyPr>
              <a:lstStyle/>
              <a:p>
                <a:pPr marL="0" marR="0" lvl="0" indent="0" algn="l" defTabSz="914400" rtl="0" eaLnBrk="1" fontAlgn="auto" latinLnBrk="0" hangingPunct="1">
                  <a:lnSpc>
                    <a:spcPct val="14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lumMod val="65000"/>
                        <a:lumOff val="35000"/>
                      </a:srgbClr>
                    </a:solidFill>
                    <a:effectLst/>
                    <a:uLnTx/>
                    <a:uFillTx/>
                    <a:latin typeface="等线 Light" panose="020F0302020204030204"/>
                    <a:ea typeface="+mn-ea"/>
                    <a:cs typeface="+mn-cs"/>
                  </a:rPr>
                  <a:t>Lorem ipsum dolor sit </a:t>
                </a:r>
                <a:r>
                  <a:rPr kumimoji="0" lang="en-US" sz="1400" b="0" i="0" u="none" strike="noStrike" kern="1200" cap="none" spc="0" normalizeH="0" baseline="0" noProof="0" dirty="0" err="1">
                    <a:ln>
                      <a:noFill/>
                    </a:ln>
                    <a:solidFill>
                      <a:srgbClr val="000000">
                        <a:lumMod val="65000"/>
                        <a:lumOff val="35000"/>
                      </a:srgbClr>
                    </a:solidFill>
                    <a:effectLst/>
                    <a:uLnTx/>
                    <a:uFillTx/>
                    <a:latin typeface="等线 Light" panose="020F0302020204030204"/>
                    <a:ea typeface="+mn-ea"/>
                    <a:cs typeface="+mn-cs"/>
                  </a:rPr>
                  <a:t>amet</a:t>
                </a:r>
                <a:r>
                  <a:rPr kumimoji="0" lang="en-US" sz="1400" b="0" i="0" u="none" strike="noStrike" kern="1200" cap="none" spc="0" normalizeH="0" baseline="0" noProof="0" dirty="0">
                    <a:ln>
                      <a:noFill/>
                    </a:ln>
                    <a:solidFill>
                      <a:srgbClr val="000000">
                        <a:lumMod val="65000"/>
                        <a:lumOff val="35000"/>
                      </a:srgbClr>
                    </a:solidFill>
                    <a:effectLst/>
                    <a:uLnTx/>
                    <a:uFillTx/>
                    <a:latin typeface="等线 Light" panose="020F0302020204030204"/>
                    <a:ea typeface="+mn-ea"/>
                    <a:cs typeface="+mn-cs"/>
                  </a:rPr>
                  <a:t>, </a:t>
                </a:r>
                <a:r>
                  <a:rPr kumimoji="0" lang="en-US" sz="1400" b="0" i="0" u="none" strike="noStrike" kern="1200" cap="none" spc="0" normalizeH="0" baseline="0" noProof="0" dirty="0" err="1">
                    <a:ln>
                      <a:noFill/>
                    </a:ln>
                    <a:solidFill>
                      <a:srgbClr val="000000">
                        <a:lumMod val="65000"/>
                        <a:lumOff val="35000"/>
                      </a:srgbClr>
                    </a:solidFill>
                    <a:effectLst/>
                    <a:uLnTx/>
                    <a:uFillTx/>
                    <a:latin typeface="等线 Light" panose="020F0302020204030204"/>
                    <a:ea typeface="+mn-ea"/>
                    <a:cs typeface="+mn-cs"/>
                  </a:rPr>
                  <a:t>consectetur</a:t>
                </a:r>
                <a:r>
                  <a:rPr kumimoji="0" lang="en-US" sz="1400" b="0" i="0" u="none" strike="noStrike" kern="1200" cap="none" spc="0" normalizeH="0" baseline="0" noProof="0" dirty="0">
                    <a:ln>
                      <a:noFill/>
                    </a:ln>
                    <a:solidFill>
                      <a:srgbClr val="000000">
                        <a:lumMod val="65000"/>
                        <a:lumOff val="35000"/>
                      </a:srgbClr>
                    </a:solidFill>
                    <a:effectLst/>
                    <a:uLnTx/>
                    <a:uFillTx/>
                    <a:latin typeface="等线 Light" panose="020F0302020204030204"/>
                    <a:ea typeface="+mn-ea"/>
                    <a:cs typeface="+mn-cs"/>
                  </a:rPr>
                  <a:t> </a:t>
                </a:r>
                <a:r>
                  <a:rPr kumimoji="0" lang="en-US" sz="1400" b="0" i="0" u="none" strike="noStrike" kern="1200" cap="none" spc="0" normalizeH="0" baseline="0" noProof="0" dirty="0" err="1">
                    <a:ln>
                      <a:noFill/>
                    </a:ln>
                    <a:solidFill>
                      <a:srgbClr val="000000">
                        <a:lumMod val="65000"/>
                        <a:lumOff val="35000"/>
                      </a:srgbClr>
                    </a:solidFill>
                    <a:effectLst/>
                    <a:uLnTx/>
                    <a:uFillTx/>
                    <a:latin typeface="等线 Light" panose="020F0302020204030204"/>
                    <a:ea typeface="+mn-ea"/>
                    <a:cs typeface="+mn-cs"/>
                  </a:rPr>
                  <a:t>adipiscing</a:t>
                </a:r>
                <a:r>
                  <a:rPr kumimoji="0" lang="en-US" sz="1400" b="0" i="0" u="none" strike="noStrike" kern="1200" cap="none" spc="0" normalizeH="0" baseline="0" noProof="0" dirty="0">
                    <a:ln>
                      <a:noFill/>
                    </a:ln>
                    <a:solidFill>
                      <a:srgbClr val="000000">
                        <a:lumMod val="65000"/>
                        <a:lumOff val="35000"/>
                      </a:srgbClr>
                    </a:solidFill>
                    <a:effectLst/>
                    <a:uLnTx/>
                    <a:uFillTx/>
                    <a:latin typeface="等线 Light" panose="020F0302020204030204"/>
                    <a:ea typeface="+mn-ea"/>
                    <a:cs typeface="+mn-cs"/>
                  </a:rPr>
                  <a:t> </a:t>
                </a:r>
                <a:r>
                  <a:rPr kumimoji="0" lang="en-US" sz="1400" b="0" i="0" u="none" strike="noStrike" kern="1200" cap="none" spc="0" normalizeH="0" baseline="0" noProof="0" dirty="0" err="1">
                    <a:ln>
                      <a:noFill/>
                    </a:ln>
                    <a:solidFill>
                      <a:srgbClr val="000000">
                        <a:lumMod val="65000"/>
                        <a:lumOff val="35000"/>
                      </a:srgbClr>
                    </a:solidFill>
                    <a:effectLst/>
                    <a:uLnTx/>
                    <a:uFillTx/>
                    <a:latin typeface="等线 Light" panose="020F0302020204030204"/>
                    <a:ea typeface="+mn-ea"/>
                    <a:cs typeface="+mn-cs"/>
                  </a:rPr>
                  <a:t>elit</a:t>
                </a:r>
                <a:r>
                  <a:rPr kumimoji="0" lang="en-US" sz="1400" b="0" i="0" u="none" strike="noStrike" kern="1200" cap="none" spc="0" normalizeH="0" baseline="0" noProof="0" dirty="0">
                    <a:ln>
                      <a:noFill/>
                    </a:ln>
                    <a:solidFill>
                      <a:srgbClr val="000000">
                        <a:lumMod val="65000"/>
                        <a:lumOff val="35000"/>
                      </a:srgbClr>
                    </a:solidFill>
                    <a:effectLst/>
                    <a:uLnTx/>
                    <a:uFillTx/>
                    <a:latin typeface="等线 Light" panose="020F0302020204030204"/>
                    <a:ea typeface="+mn-ea"/>
                    <a:cs typeface="+mn-cs"/>
                  </a:rPr>
                  <a:t>, </a:t>
                </a:r>
              </a:p>
            </p:txBody>
          </p:sp>
          <p:sp>
            <p:nvSpPr>
              <p:cNvPr id="45" name="Rectangle 138">
                <a:extLst>
                  <a:ext uri="{FF2B5EF4-FFF2-40B4-BE49-F238E27FC236}">
                    <a16:creationId xmlns:a16="http://schemas.microsoft.com/office/drawing/2014/main" id="{CB3C837C-AEBB-4CF6-BD39-A8D3B1AF2D5E}"/>
                  </a:ext>
                </a:extLst>
              </p:cNvPr>
              <p:cNvSpPr/>
              <p:nvPr/>
            </p:nvSpPr>
            <p:spPr>
              <a:xfrm>
                <a:off x="9736676" y="1639486"/>
                <a:ext cx="2030867" cy="525468"/>
              </a:xfrm>
              <a:prstGeom prst="rect">
                <a:avLst/>
              </a:prstGeom>
              <a:solidFill>
                <a:schemeClr val="accent1"/>
              </a:solidFill>
              <a:ln>
                <a:noFill/>
              </a:ln>
              <a:effectLst>
                <a:outerShdw blurRad="292100" dist="50800" dir="11160000" algn="ctr" rotWithShape="0">
                  <a:srgbClr val="000000">
                    <a:alpha val="13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等线" panose="020F0502020204030204"/>
                  <a:ea typeface="+mn-ea"/>
                  <a:cs typeface="+mn-cs"/>
                </a:endParaRPr>
              </a:p>
            </p:txBody>
          </p:sp>
          <p:sp>
            <p:nvSpPr>
              <p:cNvPr id="46" name="TextBox 139">
                <a:extLst>
                  <a:ext uri="{FF2B5EF4-FFF2-40B4-BE49-F238E27FC236}">
                    <a16:creationId xmlns:a16="http://schemas.microsoft.com/office/drawing/2014/main" id="{E2271B88-7E0F-4804-B955-0AA46C1C49A0}"/>
                  </a:ext>
                </a:extLst>
              </p:cNvPr>
              <p:cNvSpPr txBox="1"/>
              <p:nvPr/>
            </p:nvSpPr>
            <p:spPr>
              <a:xfrm>
                <a:off x="10217798" y="1677780"/>
                <a:ext cx="1261034" cy="404983"/>
              </a:xfrm>
              <a:prstGeom prst="rect">
                <a:avLst/>
              </a:prstGeom>
              <a:noFill/>
            </p:spPr>
            <p:txBody>
              <a:bodyPr wrap="square" rtlCol="0">
                <a:spAutoFit/>
              </a:bodyPr>
              <a:lstStyle/>
              <a:p>
                <a:pPr marL="0" marR="0" lvl="0" indent="0" algn="l" defTabSz="914400" rtl="0" eaLnBrk="1" fontAlgn="auto" latinLnBrk="0" hangingPunct="1">
                  <a:lnSpc>
                    <a:spcPct val="14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等线" panose="020F0502020204030204"/>
                    <a:ea typeface="+mn-ea"/>
                    <a:cs typeface="+mn-cs"/>
                  </a:rPr>
                  <a:t>Options One</a:t>
                </a:r>
              </a:p>
            </p:txBody>
          </p:sp>
          <p:grpSp>
            <p:nvGrpSpPr>
              <p:cNvPr id="47" name="Graphic 12">
                <a:extLst>
                  <a:ext uri="{FF2B5EF4-FFF2-40B4-BE49-F238E27FC236}">
                    <a16:creationId xmlns:a16="http://schemas.microsoft.com/office/drawing/2014/main" id="{FAB673A8-191F-49C3-9F13-DEF37C49AAAA}"/>
                  </a:ext>
                </a:extLst>
              </p:cNvPr>
              <p:cNvGrpSpPr/>
              <p:nvPr/>
            </p:nvGrpSpPr>
            <p:grpSpPr>
              <a:xfrm>
                <a:off x="9988824" y="1825483"/>
                <a:ext cx="185313" cy="185313"/>
                <a:chOff x="6640645" y="1724489"/>
                <a:chExt cx="418905" cy="418905"/>
              </a:xfrm>
              <a:solidFill>
                <a:schemeClr val="bg1"/>
              </a:solidFill>
            </p:grpSpPr>
            <p:sp>
              <p:nvSpPr>
                <p:cNvPr id="48" name="Freeform: Shape 141">
                  <a:extLst>
                    <a:ext uri="{FF2B5EF4-FFF2-40B4-BE49-F238E27FC236}">
                      <a16:creationId xmlns:a16="http://schemas.microsoft.com/office/drawing/2014/main" id="{151563BB-D1F3-4614-81AB-561C0CCF8461}"/>
                    </a:ext>
                  </a:extLst>
                </p:cNvPr>
                <p:cNvSpPr/>
                <p:nvPr/>
              </p:nvSpPr>
              <p:spPr>
                <a:xfrm>
                  <a:off x="6811107" y="1724489"/>
                  <a:ext cx="249212" cy="249212"/>
                </a:xfrm>
                <a:custGeom>
                  <a:avLst/>
                  <a:gdLst>
                    <a:gd name="connsiteX0" fmla="*/ 245654 w 249211"/>
                    <a:gd name="connsiteY0" fmla="*/ 176761 h 249211"/>
                    <a:gd name="connsiteX1" fmla="*/ 223446 w 249211"/>
                    <a:gd name="connsiteY1" fmla="*/ 198985 h 249211"/>
                    <a:gd name="connsiteX2" fmla="*/ 133779 w 249211"/>
                    <a:gd name="connsiteY2" fmla="*/ 211716 h 249211"/>
                    <a:gd name="connsiteX3" fmla="*/ 96250 w 249211"/>
                    <a:gd name="connsiteY3" fmla="*/ 249246 h 249211"/>
                    <a:gd name="connsiteX4" fmla="*/ 95963 w 249211"/>
                    <a:gd name="connsiteY4" fmla="*/ 248672 h 249211"/>
                    <a:gd name="connsiteX5" fmla="*/ 42358 w 249211"/>
                    <a:gd name="connsiteY5" fmla="*/ 183418 h 249211"/>
                    <a:gd name="connsiteX6" fmla="*/ 0 w 249211"/>
                    <a:gd name="connsiteY6" fmla="*/ 153020 h 249211"/>
                    <a:gd name="connsiteX7" fmla="*/ 37546 w 249211"/>
                    <a:gd name="connsiteY7" fmla="*/ 115475 h 249211"/>
                    <a:gd name="connsiteX8" fmla="*/ 50269 w 249211"/>
                    <a:gd name="connsiteY8" fmla="*/ 25816 h 249211"/>
                    <a:gd name="connsiteX9" fmla="*/ 72493 w 249211"/>
                    <a:gd name="connsiteY9" fmla="*/ 3600 h 249211"/>
                    <a:gd name="connsiteX10" fmla="*/ 89880 w 249211"/>
                    <a:gd name="connsiteY10" fmla="*/ 3600 h 249211"/>
                    <a:gd name="connsiteX11" fmla="*/ 245654 w 249211"/>
                    <a:gd name="connsiteY11" fmla="*/ 159374 h 249211"/>
                    <a:gd name="connsiteX12" fmla="*/ 245654 w 249211"/>
                    <a:gd name="connsiteY12" fmla="*/ 176761 h 249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49211" h="249211">
                      <a:moveTo>
                        <a:pt x="245654" y="176761"/>
                      </a:moveTo>
                      <a:lnTo>
                        <a:pt x="223446" y="198985"/>
                      </a:lnTo>
                      <a:cubicBezTo>
                        <a:pt x="199779" y="222636"/>
                        <a:pt x="162996" y="227833"/>
                        <a:pt x="133779" y="211716"/>
                      </a:cubicBezTo>
                      <a:lnTo>
                        <a:pt x="96250" y="249246"/>
                      </a:lnTo>
                      <a:cubicBezTo>
                        <a:pt x="96151" y="249057"/>
                        <a:pt x="96061" y="248860"/>
                        <a:pt x="95963" y="248672"/>
                      </a:cubicBezTo>
                      <a:cubicBezTo>
                        <a:pt x="82073" y="220862"/>
                        <a:pt x="66849" y="207909"/>
                        <a:pt x="42358" y="183418"/>
                      </a:cubicBezTo>
                      <a:cubicBezTo>
                        <a:pt x="26907" y="167966"/>
                        <a:pt x="7916" y="156317"/>
                        <a:pt x="0" y="153020"/>
                      </a:cubicBezTo>
                      <a:lnTo>
                        <a:pt x="37546" y="115475"/>
                      </a:lnTo>
                      <a:cubicBezTo>
                        <a:pt x="21421" y="86291"/>
                        <a:pt x="26610" y="49483"/>
                        <a:pt x="50269" y="25816"/>
                      </a:cubicBezTo>
                      <a:lnTo>
                        <a:pt x="72493" y="3600"/>
                      </a:lnTo>
                      <a:cubicBezTo>
                        <a:pt x="77297" y="-1204"/>
                        <a:pt x="85084" y="-1196"/>
                        <a:pt x="89880" y="3600"/>
                      </a:cubicBezTo>
                      <a:lnTo>
                        <a:pt x="245654" y="159374"/>
                      </a:lnTo>
                      <a:cubicBezTo>
                        <a:pt x="250458" y="164177"/>
                        <a:pt x="250458" y="171965"/>
                        <a:pt x="245654" y="176761"/>
                      </a:cubicBezTo>
                      <a:close/>
                    </a:path>
                  </a:pathLst>
                </a:custGeom>
                <a:grpFill/>
                <a:ln w="81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等线" panose="020F0502020204030204"/>
                    <a:ea typeface="+mn-ea"/>
                    <a:cs typeface="+mn-cs"/>
                  </a:endParaRPr>
                </a:p>
              </p:txBody>
            </p:sp>
            <p:sp>
              <p:nvSpPr>
                <p:cNvPr id="49" name="Freeform: Shape 142">
                  <a:extLst>
                    <a:ext uri="{FF2B5EF4-FFF2-40B4-BE49-F238E27FC236}">
                      <a16:creationId xmlns:a16="http://schemas.microsoft.com/office/drawing/2014/main" id="{D1B20BCB-3851-46F1-9A44-A0FA5FAC639F}"/>
                    </a:ext>
                  </a:extLst>
                </p:cNvPr>
                <p:cNvSpPr/>
                <p:nvPr/>
              </p:nvSpPr>
              <p:spPr>
                <a:xfrm>
                  <a:off x="6644861" y="2050351"/>
                  <a:ext cx="89356" cy="89356"/>
                </a:xfrm>
                <a:custGeom>
                  <a:avLst/>
                  <a:gdLst>
                    <a:gd name="connsiteX0" fmla="*/ 89647 w 89355"/>
                    <a:gd name="connsiteY0" fmla="*/ 17387 h 89355"/>
                    <a:gd name="connsiteX1" fmla="*/ 20999 w 89355"/>
                    <a:gd name="connsiteY1" fmla="*/ 86035 h 89355"/>
                    <a:gd name="connsiteX2" fmla="*/ 12301 w 89355"/>
                    <a:gd name="connsiteY2" fmla="*/ 89642 h 89355"/>
                    <a:gd name="connsiteX3" fmla="*/ 3603 w 89355"/>
                    <a:gd name="connsiteY3" fmla="*/ 86035 h 89355"/>
                    <a:gd name="connsiteX4" fmla="*/ 3603 w 89355"/>
                    <a:gd name="connsiteY4" fmla="*/ 68648 h 89355"/>
                    <a:gd name="connsiteX5" fmla="*/ 72259 w 89355"/>
                    <a:gd name="connsiteY5" fmla="*/ 0 h 89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9355" h="89355">
                      <a:moveTo>
                        <a:pt x="89647" y="17387"/>
                      </a:moveTo>
                      <a:lnTo>
                        <a:pt x="20999" y="86035"/>
                      </a:lnTo>
                      <a:cubicBezTo>
                        <a:pt x="18597" y="88437"/>
                        <a:pt x="15449" y="89642"/>
                        <a:pt x="12301" y="89642"/>
                      </a:cubicBezTo>
                      <a:cubicBezTo>
                        <a:pt x="9153" y="89642"/>
                        <a:pt x="6005" y="88437"/>
                        <a:pt x="3603" y="86035"/>
                      </a:cubicBezTo>
                      <a:cubicBezTo>
                        <a:pt x="-1201" y="81232"/>
                        <a:pt x="-1201" y="73452"/>
                        <a:pt x="3603" y="68648"/>
                      </a:cubicBezTo>
                      <a:lnTo>
                        <a:pt x="72259" y="0"/>
                      </a:lnTo>
                      <a:close/>
                    </a:path>
                  </a:pathLst>
                </a:custGeom>
                <a:grpFill/>
                <a:ln w="81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等线" panose="020F0502020204030204"/>
                    <a:ea typeface="+mn-ea"/>
                    <a:cs typeface="+mn-cs"/>
                  </a:endParaRPr>
                </a:p>
              </p:txBody>
            </p:sp>
            <p:sp>
              <p:nvSpPr>
                <p:cNvPr id="50" name="Freeform: Shape 143">
                  <a:extLst>
                    <a:ext uri="{FF2B5EF4-FFF2-40B4-BE49-F238E27FC236}">
                      <a16:creationId xmlns:a16="http://schemas.microsoft.com/office/drawing/2014/main" id="{6408ECCD-9C2F-45E7-95D7-FD769BE719A8}"/>
                    </a:ext>
                  </a:extLst>
                </p:cNvPr>
                <p:cNvSpPr/>
                <p:nvPr/>
              </p:nvSpPr>
              <p:spPr>
                <a:xfrm>
                  <a:off x="6640645" y="1885506"/>
                  <a:ext cx="258229" cy="258229"/>
                </a:xfrm>
                <a:custGeom>
                  <a:avLst/>
                  <a:gdLst>
                    <a:gd name="connsiteX0" fmla="*/ 258646 w 258229"/>
                    <a:gd name="connsiteY0" fmla="*/ 159188 h 258229"/>
                    <a:gd name="connsiteX1" fmla="*/ 218911 w 258229"/>
                    <a:gd name="connsiteY1" fmla="*/ 255110 h 258229"/>
                    <a:gd name="connsiteX2" fmla="*/ 201515 w 258229"/>
                    <a:gd name="connsiteY2" fmla="*/ 255110 h 258229"/>
                    <a:gd name="connsiteX3" fmla="*/ 3597 w 258229"/>
                    <a:gd name="connsiteY3" fmla="*/ 57183 h 258229"/>
                    <a:gd name="connsiteX4" fmla="*/ 3597 w 258229"/>
                    <a:gd name="connsiteY4" fmla="*/ 39796 h 258229"/>
                    <a:gd name="connsiteX5" fmla="*/ 160059 w 258229"/>
                    <a:gd name="connsiteY5" fmla="*/ 14284 h 258229"/>
                    <a:gd name="connsiteX6" fmla="*/ 218911 w 258229"/>
                    <a:gd name="connsiteY6" fmla="*/ 63266 h 258229"/>
                    <a:gd name="connsiteX7" fmla="*/ 258646 w 258229"/>
                    <a:gd name="connsiteY7" fmla="*/ 159188 h 258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8229" h="258229">
                      <a:moveTo>
                        <a:pt x="258646" y="159188"/>
                      </a:moveTo>
                      <a:cubicBezTo>
                        <a:pt x="258629" y="194751"/>
                        <a:pt x="245023" y="228980"/>
                        <a:pt x="218911" y="255110"/>
                      </a:cubicBezTo>
                      <a:cubicBezTo>
                        <a:pt x="214137" y="259884"/>
                        <a:pt x="206351" y="259928"/>
                        <a:pt x="201515" y="255110"/>
                      </a:cubicBezTo>
                      <a:lnTo>
                        <a:pt x="3597" y="57183"/>
                      </a:lnTo>
                      <a:cubicBezTo>
                        <a:pt x="-1189" y="52397"/>
                        <a:pt x="-1209" y="44602"/>
                        <a:pt x="3597" y="39796"/>
                      </a:cubicBezTo>
                      <a:cubicBezTo>
                        <a:pt x="44922" y="-1529"/>
                        <a:pt x="107799" y="-11784"/>
                        <a:pt x="160059" y="14284"/>
                      </a:cubicBezTo>
                      <a:cubicBezTo>
                        <a:pt x="183785" y="26133"/>
                        <a:pt x="194326" y="38689"/>
                        <a:pt x="218911" y="63266"/>
                      </a:cubicBezTo>
                      <a:cubicBezTo>
                        <a:pt x="244534" y="88889"/>
                        <a:pt x="258646" y="123226"/>
                        <a:pt x="258646" y="159188"/>
                      </a:cubicBezTo>
                      <a:close/>
                    </a:path>
                  </a:pathLst>
                </a:custGeom>
                <a:grpFill/>
                <a:ln w="81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等线" panose="020F0502020204030204"/>
                    <a:ea typeface="+mn-ea"/>
                    <a:cs typeface="+mn-cs"/>
                  </a:endParaRPr>
                </a:p>
              </p:txBody>
            </p:sp>
          </p:grpSp>
        </p:grpSp>
        <p:grpSp>
          <p:nvGrpSpPr>
            <p:cNvPr id="7" name="Group 94">
              <a:extLst>
                <a:ext uri="{FF2B5EF4-FFF2-40B4-BE49-F238E27FC236}">
                  <a16:creationId xmlns:a16="http://schemas.microsoft.com/office/drawing/2014/main" id="{0B815EAD-B5A3-461A-A323-A51A2ADEAFD7}"/>
                </a:ext>
              </a:extLst>
            </p:cNvPr>
            <p:cNvGrpSpPr/>
            <p:nvPr/>
          </p:nvGrpSpPr>
          <p:grpSpPr>
            <a:xfrm>
              <a:off x="845089" y="3094053"/>
              <a:ext cx="2355342" cy="1302873"/>
              <a:chOff x="9648949" y="3147918"/>
              <a:chExt cx="2355342" cy="1302873"/>
            </a:xfrm>
          </p:grpSpPr>
          <p:sp>
            <p:nvSpPr>
              <p:cNvPr id="38" name="TextBox 131">
                <a:extLst>
                  <a:ext uri="{FF2B5EF4-FFF2-40B4-BE49-F238E27FC236}">
                    <a16:creationId xmlns:a16="http://schemas.microsoft.com/office/drawing/2014/main" id="{C77E04FC-DED1-4572-9A89-1F674B682539}"/>
                  </a:ext>
                </a:extLst>
              </p:cNvPr>
              <p:cNvSpPr txBox="1"/>
              <p:nvPr/>
            </p:nvSpPr>
            <p:spPr>
              <a:xfrm>
                <a:off x="9648949" y="3783236"/>
                <a:ext cx="2355342" cy="667555"/>
              </a:xfrm>
              <a:prstGeom prst="rect">
                <a:avLst/>
              </a:prstGeom>
              <a:noFill/>
            </p:spPr>
            <p:txBody>
              <a:bodyPr wrap="square" rtlCol="0">
                <a:spAutoFit/>
              </a:bodyPr>
              <a:lstStyle/>
              <a:p>
                <a:pPr marL="0" marR="0" lvl="0" indent="0" algn="l" defTabSz="914400" rtl="0" eaLnBrk="1" fontAlgn="auto" latinLnBrk="0" hangingPunct="1">
                  <a:lnSpc>
                    <a:spcPct val="14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lumMod val="65000"/>
                        <a:lumOff val="35000"/>
                      </a:srgbClr>
                    </a:solidFill>
                    <a:effectLst/>
                    <a:uLnTx/>
                    <a:uFillTx/>
                    <a:latin typeface="等线 Light" panose="020F0302020204030204"/>
                    <a:ea typeface="+mn-ea"/>
                    <a:cs typeface="+mn-cs"/>
                  </a:rPr>
                  <a:t>Lorem ipsum dolor sit </a:t>
                </a:r>
                <a:r>
                  <a:rPr kumimoji="0" lang="en-US" sz="1400" b="0" i="0" u="none" strike="noStrike" kern="1200" cap="none" spc="0" normalizeH="0" baseline="0" noProof="0" dirty="0" err="1">
                    <a:ln>
                      <a:noFill/>
                    </a:ln>
                    <a:solidFill>
                      <a:srgbClr val="000000">
                        <a:lumMod val="65000"/>
                        <a:lumOff val="35000"/>
                      </a:srgbClr>
                    </a:solidFill>
                    <a:effectLst/>
                    <a:uLnTx/>
                    <a:uFillTx/>
                    <a:latin typeface="等线 Light" panose="020F0302020204030204"/>
                    <a:ea typeface="+mn-ea"/>
                    <a:cs typeface="+mn-cs"/>
                  </a:rPr>
                  <a:t>amet</a:t>
                </a:r>
                <a:r>
                  <a:rPr kumimoji="0" lang="en-US" sz="1400" b="0" i="0" u="none" strike="noStrike" kern="1200" cap="none" spc="0" normalizeH="0" baseline="0" noProof="0" dirty="0">
                    <a:ln>
                      <a:noFill/>
                    </a:ln>
                    <a:solidFill>
                      <a:srgbClr val="000000">
                        <a:lumMod val="65000"/>
                        <a:lumOff val="35000"/>
                      </a:srgbClr>
                    </a:solidFill>
                    <a:effectLst/>
                    <a:uLnTx/>
                    <a:uFillTx/>
                    <a:latin typeface="等线 Light" panose="020F0302020204030204"/>
                    <a:ea typeface="+mn-ea"/>
                    <a:cs typeface="+mn-cs"/>
                  </a:rPr>
                  <a:t>, </a:t>
                </a:r>
                <a:r>
                  <a:rPr kumimoji="0" lang="en-US" sz="1400" b="0" i="0" u="none" strike="noStrike" kern="1200" cap="none" spc="0" normalizeH="0" baseline="0" noProof="0" dirty="0" err="1">
                    <a:ln>
                      <a:noFill/>
                    </a:ln>
                    <a:solidFill>
                      <a:srgbClr val="000000">
                        <a:lumMod val="65000"/>
                        <a:lumOff val="35000"/>
                      </a:srgbClr>
                    </a:solidFill>
                    <a:effectLst/>
                    <a:uLnTx/>
                    <a:uFillTx/>
                    <a:latin typeface="等线 Light" panose="020F0302020204030204"/>
                    <a:ea typeface="+mn-ea"/>
                    <a:cs typeface="+mn-cs"/>
                  </a:rPr>
                  <a:t>consectetur</a:t>
                </a:r>
                <a:r>
                  <a:rPr kumimoji="0" lang="en-US" sz="1400" b="0" i="0" u="none" strike="noStrike" kern="1200" cap="none" spc="0" normalizeH="0" baseline="0" noProof="0" dirty="0">
                    <a:ln>
                      <a:noFill/>
                    </a:ln>
                    <a:solidFill>
                      <a:srgbClr val="000000">
                        <a:lumMod val="65000"/>
                        <a:lumOff val="35000"/>
                      </a:srgbClr>
                    </a:solidFill>
                    <a:effectLst/>
                    <a:uLnTx/>
                    <a:uFillTx/>
                    <a:latin typeface="等线 Light" panose="020F0302020204030204"/>
                    <a:ea typeface="+mn-ea"/>
                    <a:cs typeface="+mn-cs"/>
                  </a:rPr>
                  <a:t> </a:t>
                </a:r>
                <a:r>
                  <a:rPr kumimoji="0" lang="en-US" sz="1400" b="0" i="0" u="none" strike="noStrike" kern="1200" cap="none" spc="0" normalizeH="0" baseline="0" noProof="0" dirty="0" err="1">
                    <a:ln>
                      <a:noFill/>
                    </a:ln>
                    <a:solidFill>
                      <a:srgbClr val="000000">
                        <a:lumMod val="65000"/>
                        <a:lumOff val="35000"/>
                      </a:srgbClr>
                    </a:solidFill>
                    <a:effectLst/>
                    <a:uLnTx/>
                    <a:uFillTx/>
                    <a:latin typeface="等线 Light" panose="020F0302020204030204"/>
                    <a:ea typeface="+mn-ea"/>
                    <a:cs typeface="+mn-cs"/>
                  </a:rPr>
                  <a:t>adipiscing</a:t>
                </a:r>
                <a:r>
                  <a:rPr kumimoji="0" lang="en-US" sz="1400" b="0" i="0" u="none" strike="noStrike" kern="1200" cap="none" spc="0" normalizeH="0" baseline="0" noProof="0" dirty="0">
                    <a:ln>
                      <a:noFill/>
                    </a:ln>
                    <a:solidFill>
                      <a:srgbClr val="000000">
                        <a:lumMod val="65000"/>
                        <a:lumOff val="35000"/>
                      </a:srgbClr>
                    </a:solidFill>
                    <a:effectLst/>
                    <a:uLnTx/>
                    <a:uFillTx/>
                    <a:latin typeface="等线 Light" panose="020F0302020204030204"/>
                    <a:ea typeface="+mn-ea"/>
                    <a:cs typeface="+mn-cs"/>
                  </a:rPr>
                  <a:t> </a:t>
                </a:r>
                <a:r>
                  <a:rPr kumimoji="0" lang="en-US" sz="1400" b="0" i="0" u="none" strike="noStrike" kern="1200" cap="none" spc="0" normalizeH="0" baseline="0" noProof="0" dirty="0" err="1">
                    <a:ln>
                      <a:noFill/>
                    </a:ln>
                    <a:solidFill>
                      <a:srgbClr val="000000">
                        <a:lumMod val="65000"/>
                        <a:lumOff val="35000"/>
                      </a:srgbClr>
                    </a:solidFill>
                    <a:effectLst/>
                    <a:uLnTx/>
                    <a:uFillTx/>
                    <a:latin typeface="等线 Light" panose="020F0302020204030204"/>
                    <a:ea typeface="+mn-ea"/>
                    <a:cs typeface="+mn-cs"/>
                  </a:rPr>
                  <a:t>elit</a:t>
                </a:r>
                <a:r>
                  <a:rPr kumimoji="0" lang="en-US" sz="1400" b="0" i="0" u="none" strike="noStrike" kern="1200" cap="none" spc="0" normalizeH="0" baseline="0" noProof="0" dirty="0">
                    <a:ln>
                      <a:noFill/>
                    </a:ln>
                    <a:solidFill>
                      <a:srgbClr val="000000">
                        <a:lumMod val="65000"/>
                        <a:lumOff val="35000"/>
                      </a:srgbClr>
                    </a:solidFill>
                    <a:effectLst/>
                    <a:uLnTx/>
                    <a:uFillTx/>
                    <a:latin typeface="等线 Light" panose="020F0302020204030204"/>
                    <a:ea typeface="+mn-ea"/>
                    <a:cs typeface="+mn-cs"/>
                  </a:rPr>
                  <a:t>, </a:t>
                </a:r>
              </a:p>
            </p:txBody>
          </p:sp>
          <p:sp>
            <p:nvSpPr>
              <p:cNvPr id="39" name="Rectangle 132">
                <a:extLst>
                  <a:ext uri="{FF2B5EF4-FFF2-40B4-BE49-F238E27FC236}">
                    <a16:creationId xmlns:a16="http://schemas.microsoft.com/office/drawing/2014/main" id="{241A25B4-3D5F-44A0-BB45-192E63965F14}"/>
                  </a:ext>
                </a:extLst>
              </p:cNvPr>
              <p:cNvSpPr/>
              <p:nvPr/>
            </p:nvSpPr>
            <p:spPr>
              <a:xfrm>
                <a:off x="9736676" y="3147918"/>
                <a:ext cx="2030867" cy="525468"/>
              </a:xfrm>
              <a:prstGeom prst="rect">
                <a:avLst/>
              </a:prstGeom>
              <a:solidFill>
                <a:schemeClr val="accent2"/>
              </a:solidFill>
              <a:ln>
                <a:noFill/>
              </a:ln>
              <a:effectLst>
                <a:outerShdw blurRad="292100" dist="50800" dir="11160000" algn="ctr" rotWithShape="0">
                  <a:srgbClr val="000000">
                    <a:alpha val="13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等线" panose="020F0502020204030204"/>
                  <a:ea typeface="+mn-ea"/>
                  <a:cs typeface="+mn-cs"/>
                </a:endParaRPr>
              </a:p>
            </p:txBody>
          </p:sp>
          <p:sp>
            <p:nvSpPr>
              <p:cNvPr id="40" name="TextBox 133">
                <a:extLst>
                  <a:ext uri="{FF2B5EF4-FFF2-40B4-BE49-F238E27FC236}">
                    <a16:creationId xmlns:a16="http://schemas.microsoft.com/office/drawing/2014/main" id="{993D4A3B-FA22-42F3-A2DD-DCEA6F7E8006}"/>
                  </a:ext>
                </a:extLst>
              </p:cNvPr>
              <p:cNvSpPr txBox="1"/>
              <p:nvPr/>
            </p:nvSpPr>
            <p:spPr>
              <a:xfrm>
                <a:off x="10217798" y="3186212"/>
                <a:ext cx="1261034" cy="404983"/>
              </a:xfrm>
              <a:prstGeom prst="rect">
                <a:avLst/>
              </a:prstGeom>
              <a:noFill/>
            </p:spPr>
            <p:txBody>
              <a:bodyPr wrap="square" rtlCol="0">
                <a:spAutoFit/>
              </a:bodyPr>
              <a:lstStyle/>
              <a:p>
                <a:pPr marL="0" marR="0" lvl="0" indent="0" algn="l" defTabSz="914400" rtl="0" eaLnBrk="1" fontAlgn="auto" latinLnBrk="0" hangingPunct="1">
                  <a:lnSpc>
                    <a:spcPct val="14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等线" panose="020F0502020204030204"/>
                    <a:ea typeface="+mn-ea"/>
                    <a:cs typeface="+mn-cs"/>
                  </a:rPr>
                  <a:t>Options Two</a:t>
                </a:r>
              </a:p>
            </p:txBody>
          </p:sp>
          <p:grpSp>
            <p:nvGrpSpPr>
              <p:cNvPr id="41" name="Graphic 39">
                <a:extLst>
                  <a:ext uri="{FF2B5EF4-FFF2-40B4-BE49-F238E27FC236}">
                    <a16:creationId xmlns:a16="http://schemas.microsoft.com/office/drawing/2014/main" id="{3BA036B4-D2A4-4729-9DEC-BBB2E28FDA61}"/>
                  </a:ext>
                </a:extLst>
              </p:cNvPr>
              <p:cNvGrpSpPr/>
              <p:nvPr/>
            </p:nvGrpSpPr>
            <p:grpSpPr>
              <a:xfrm>
                <a:off x="9968943" y="3338424"/>
                <a:ext cx="205534" cy="205131"/>
                <a:chOff x="5306516" y="1725739"/>
                <a:chExt cx="419725" cy="418905"/>
              </a:xfrm>
              <a:solidFill>
                <a:schemeClr val="bg1"/>
              </a:solidFill>
            </p:grpSpPr>
            <p:sp>
              <p:nvSpPr>
                <p:cNvPr id="42" name="Freeform: Shape 135">
                  <a:extLst>
                    <a:ext uri="{FF2B5EF4-FFF2-40B4-BE49-F238E27FC236}">
                      <a16:creationId xmlns:a16="http://schemas.microsoft.com/office/drawing/2014/main" id="{A4959A3E-6E0B-42E3-95B2-BEC0FE9FEE28}"/>
                    </a:ext>
                  </a:extLst>
                </p:cNvPr>
                <p:cNvSpPr/>
                <p:nvPr/>
              </p:nvSpPr>
              <p:spPr>
                <a:xfrm>
                  <a:off x="5371374" y="1878195"/>
                  <a:ext cx="201665" cy="201665"/>
                </a:xfrm>
                <a:custGeom>
                  <a:avLst/>
                  <a:gdLst>
                    <a:gd name="connsiteX0" fmla="*/ 64620 w 201664"/>
                    <a:gd name="connsiteY0" fmla="*/ 193721 h 201664"/>
                    <a:gd name="connsiteX1" fmla="*/ 12928 w 201664"/>
                    <a:gd name="connsiteY1" fmla="*/ 202259 h 201664"/>
                    <a:gd name="connsiteX2" fmla="*/ 153 w 201664"/>
                    <a:gd name="connsiteY2" fmla="*/ 189484 h 201664"/>
                    <a:gd name="connsiteX3" fmla="*/ 8691 w 201664"/>
                    <a:gd name="connsiteY3" fmla="*/ 137793 h 201664"/>
                    <a:gd name="connsiteX4" fmla="*/ 17778 w 201664"/>
                    <a:gd name="connsiteY4" fmla="*/ 133340 h 201664"/>
                    <a:gd name="connsiteX5" fmla="*/ 28610 w 201664"/>
                    <a:gd name="connsiteY5" fmla="*/ 133738 h 201664"/>
                    <a:gd name="connsiteX6" fmla="*/ 28679 w 201664"/>
                    <a:gd name="connsiteY6" fmla="*/ 133704 h 201664"/>
                    <a:gd name="connsiteX7" fmla="*/ 197428 w 201664"/>
                    <a:gd name="connsiteY7" fmla="*/ 658 h 201664"/>
                    <a:gd name="connsiteX8" fmla="*/ 201753 w 201664"/>
                    <a:gd name="connsiteY8" fmla="*/ 4983 h 201664"/>
                    <a:gd name="connsiteX9" fmla="*/ 68270 w 201664"/>
                    <a:gd name="connsiteY9" fmla="*/ 174944 h 201664"/>
                    <a:gd name="connsiteX10" fmla="*/ 69074 w 201664"/>
                    <a:gd name="connsiteY10" fmla="*/ 184638 h 201664"/>
                    <a:gd name="connsiteX11" fmla="*/ 64620 w 201664"/>
                    <a:gd name="connsiteY11" fmla="*/ 193721 h 2016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1664" h="201664">
                      <a:moveTo>
                        <a:pt x="64620" y="193721"/>
                      </a:moveTo>
                      <a:lnTo>
                        <a:pt x="12928" y="202259"/>
                      </a:lnTo>
                      <a:cubicBezTo>
                        <a:pt x="5418" y="203500"/>
                        <a:pt x="-1088" y="196994"/>
                        <a:pt x="153" y="189484"/>
                      </a:cubicBezTo>
                      <a:lnTo>
                        <a:pt x="8691" y="137793"/>
                      </a:lnTo>
                      <a:cubicBezTo>
                        <a:pt x="9387" y="133581"/>
                        <a:pt x="14071" y="131223"/>
                        <a:pt x="17778" y="133340"/>
                      </a:cubicBezTo>
                      <a:cubicBezTo>
                        <a:pt x="20694" y="135004"/>
                        <a:pt x="24205" y="135677"/>
                        <a:pt x="28610" y="133738"/>
                      </a:cubicBezTo>
                      <a:cubicBezTo>
                        <a:pt x="28636" y="133730"/>
                        <a:pt x="28662" y="133721"/>
                        <a:pt x="28679" y="133704"/>
                      </a:cubicBezTo>
                      <a:cubicBezTo>
                        <a:pt x="30671" y="132878"/>
                        <a:pt x="45184" y="115919"/>
                        <a:pt x="197428" y="658"/>
                      </a:cubicBezTo>
                      <a:cubicBezTo>
                        <a:pt x="200288" y="-1506"/>
                        <a:pt x="203918" y="2124"/>
                        <a:pt x="201753" y="4983"/>
                      </a:cubicBezTo>
                      <a:cubicBezTo>
                        <a:pt x="85709" y="158230"/>
                        <a:pt x="69188" y="171910"/>
                        <a:pt x="68270" y="174944"/>
                      </a:cubicBezTo>
                      <a:cubicBezTo>
                        <a:pt x="67019" y="179006"/>
                        <a:pt x="67593" y="182034"/>
                        <a:pt x="69074" y="184638"/>
                      </a:cubicBezTo>
                      <a:cubicBezTo>
                        <a:pt x="71182" y="188348"/>
                        <a:pt x="68830" y="193026"/>
                        <a:pt x="64620" y="193721"/>
                      </a:cubicBezTo>
                      <a:close/>
                    </a:path>
                  </a:pathLst>
                </a:custGeom>
                <a:grpFill/>
                <a:ln w="81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43" name="Freeform: Shape 136">
                  <a:extLst>
                    <a:ext uri="{FF2B5EF4-FFF2-40B4-BE49-F238E27FC236}">
                      <a16:creationId xmlns:a16="http://schemas.microsoft.com/office/drawing/2014/main" id="{D85376F3-EBC1-4B37-83A4-ACE4BD774AC7}"/>
                    </a:ext>
                  </a:extLst>
                </p:cNvPr>
                <p:cNvSpPr/>
                <p:nvPr/>
              </p:nvSpPr>
              <p:spPr>
                <a:xfrm>
                  <a:off x="5306516" y="1725739"/>
                  <a:ext cx="419725" cy="418905"/>
                </a:xfrm>
                <a:custGeom>
                  <a:avLst/>
                  <a:gdLst>
                    <a:gd name="connsiteX0" fmla="*/ 419194 w 419725"/>
                    <a:gd name="connsiteY0" fmla="*/ 11221 h 418905"/>
                    <a:gd name="connsiteX1" fmla="*/ 272302 w 419725"/>
                    <a:gd name="connsiteY1" fmla="*/ 409937 h 418905"/>
                    <a:gd name="connsiteX2" fmla="*/ 247701 w 419725"/>
                    <a:gd name="connsiteY2" fmla="*/ 415340 h 418905"/>
                    <a:gd name="connsiteX3" fmla="*/ 171795 w 419725"/>
                    <a:gd name="connsiteY3" fmla="*/ 339435 h 418905"/>
                    <a:gd name="connsiteX4" fmla="*/ 170427 w 419725"/>
                    <a:gd name="connsiteY4" fmla="*/ 319548 h 418905"/>
                    <a:gd name="connsiteX5" fmla="*/ 333066 w 419725"/>
                    <a:gd name="connsiteY5" fmla="*/ 104712 h 418905"/>
                    <a:gd name="connsiteX6" fmla="*/ 315014 w 419725"/>
                    <a:gd name="connsiteY6" fmla="*/ 86660 h 418905"/>
                    <a:gd name="connsiteX7" fmla="*/ 100178 w 419725"/>
                    <a:gd name="connsiteY7" fmla="*/ 249300 h 418905"/>
                    <a:gd name="connsiteX8" fmla="*/ 80290 w 419725"/>
                    <a:gd name="connsiteY8" fmla="*/ 247931 h 418905"/>
                    <a:gd name="connsiteX9" fmla="*/ 4385 w 419725"/>
                    <a:gd name="connsiteY9" fmla="*/ 172025 h 418905"/>
                    <a:gd name="connsiteX10" fmla="*/ 9788 w 419725"/>
                    <a:gd name="connsiteY10" fmla="*/ 147424 h 418905"/>
                    <a:gd name="connsiteX11" fmla="*/ 408505 w 419725"/>
                    <a:gd name="connsiteY11" fmla="*/ 531 h 418905"/>
                    <a:gd name="connsiteX12" fmla="*/ 419194 w 419725"/>
                    <a:gd name="connsiteY12" fmla="*/ 11221 h 4189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19725" h="418905">
                      <a:moveTo>
                        <a:pt x="419194" y="11221"/>
                      </a:moveTo>
                      <a:lnTo>
                        <a:pt x="272302" y="409937"/>
                      </a:lnTo>
                      <a:cubicBezTo>
                        <a:pt x="268530" y="420175"/>
                        <a:pt x="255416" y="423056"/>
                        <a:pt x="247701" y="415340"/>
                      </a:cubicBezTo>
                      <a:lnTo>
                        <a:pt x="171795" y="339435"/>
                      </a:lnTo>
                      <a:cubicBezTo>
                        <a:pt x="166438" y="334077"/>
                        <a:pt x="165853" y="325589"/>
                        <a:pt x="170427" y="319548"/>
                      </a:cubicBezTo>
                      <a:lnTo>
                        <a:pt x="333066" y="104712"/>
                      </a:lnTo>
                      <a:cubicBezTo>
                        <a:pt x="342279" y="92379"/>
                        <a:pt x="326544" y="77987"/>
                        <a:pt x="315014" y="86660"/>
                      </a:cubicBezTo>
                      <a:lnTo>
                        <a:pt x="100178" y="249300"/>
                      </a:lnTo>
                      <a:cubicBezTo>
                        <a:pt x="94137" y="253873"/>
                        <a:pt x="85648" y="253289"/>
                        <a:pt x="80290" y="247931"/>
                      </a:cubicBezTo>
                      <a:lnTo>
                        <a:pt x="4385" y="172025"/>
                      </a:lnTo>
                      <a:cubicBezTo>
                        <a:pt x="-3331" y="164309"/>
                        <a:pt x="-450" y="151195"/>
                        <a:pt x="9788" y="147424"/>
                      </a:cubicBezTo>
                      <a:lnTo>
                        <a:pt x="408505" y="531"/>
                      </a:lnTo>
                      <a:cubicBezTo>
                        <a:pt x="415169" y="-1924"/>
                        <a:pt x="421650" y="4556"/>
                        <a:pt x="419194" y="11221"/>
                      </a:cubicBezTo>
                      <a:close/>
                    </a:path>
                  </a:pathLst>
                </a:custGeom>
                <a:grpFill/>
                <a:ln w="81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grpSp>
        <p:grpSp>
          <p:nvGrpSpPr>
            <p:cNvPr id="8" name="Group 95">
              <a:extLst>
                <a:ext uri="{FF2B5EF4-FFF2-40B4-BE49-F238E27FC236}">
                  <a16:creationId xmlns:a16="http://schemas.microsoft.com/office/drawing/2014/main" id="{66193F67-C53B-46AA-97CC-0658806FCB74}"/>
                </a:ext>
              </a:extLst>
            </p:cNvPr>
            <p:cNvGrpSpPr/>
            <p:nvPr/>
          </p:nvGrpSpPr>
          <p:grpSpPr>
            <a:xfrm>
              <a:off x="845089" y="1420292"/>
              <a:ext cx="2355342" cy="1302873"/>
              <a:chOff x="9648949" y="4656350"/>
              <a:chExt cx="2355342" cy="1302873"/>
            </a:xfrm>
          </p:grpSpPr>
          <p:sp>
            <p:nvSpPr>
              <p:cNvPr id="30" name="TextBox 123">
                <a:extLst>
                  <a:ext uri="{FF2B5EF4-FFF2-40B4-BE49-F238E27FC236}">
                    <a16:creationId xmlns:a16="http://schemas.microsoft.com/office/drawing/2014/main" id="{EFE7A090-D4CA-4E5F-89AA-BDFBE939F356}"/>
                  </a:ext>
                </a:extLst>
              </p:cNvPr>
              <p:cNvSpPr txBox="1"/>
              <p:nvPr/>
            </p:nvSpPr>
            <p:spPr>
              <a:xfrm>
                <a:off x="9648949" y="5291668"/>
                <a:ext cx="2355342" cy="667555"/>
              </a:xfrm>
              <a:prstGeom prst="rect">
                <a:avLst/>
              </a:prstGeom>
              <a:noFill/>
            </p:spPr>
            <p:txBody>
              <a:bodyPr wrap="square" rtlCol="0">
                <a:spAutoFit/>
              </a:bodyPr>
              <a:lstStyle/>
              <a:p>
                <a:pPr marL="0" marR="0" lvl="0" indent="0" algn="l" defTabSz="914400" rtl="0" eaLnBrk="1" fontAlgn="auto" latinLnBrk="0" hangingPunct="1">
                  <a:lnSpc>
                    <a:spcPct val="14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lumMod val="65000"/>
                        <a:lumOff val="35000"/>
                      </a:srgbClr>
                    </a:solidFill>
                    <a:effectLst/>
                    <a:uLnTx/>
                    <a:uFillTx/>
                    <a:latin typeface="等线 Light" panose="020F0302020204030204"/>
                    <a:ea typeface="+mn-ea"/>
                    <a:cs typeface="+mn-cs"/>
                  </a:rPr>
                  <a:t>Lorem ipsum dolor sit </a:t>
                </a:r>
                <a:r>
                  <a:rPr kumimoji="0" lang="en-US" sz="1400" b="0" i="0" u="none" strike="noStrike" kern="1200" cap="none" spc="0" normalizeH="0" baseline="0" noProof="0" dirty="0" err="1">
                    <a:ln>
                      <a:noFill/>
                    </a:ln>
                    <a:solidFill>
                      <a:srgbClr val="000000">
                        <a:lumMod val="65000"/>
                        <a:lumOff val="35000"/>
                      </a:srgbClr>
                    </a:solidFill>
                    <a:effectLst/>
                    <a:uLnTx/>
                    <a:uFillTx/>
                    <a:latin typeface="等线 Light" panose="020F0302020204030204"/>
                    <a:ea typeface="+mn-ea"/>
                    <a:cs typeface="+mn-cs"/>
                  </a:rPr>
                  <a:t>amet</a:t>
                </a:r>
                <a:r>
                  <a:rPr kumimoji="0" lang="en-US" sz="1400" b="0" i="0" u="none" strike="noStrike" kern="1200" cap="none" spc="0" normalizeH="0" baseline="0" noProof="0" dirty="0">
                    <a:ln>
                      <a:noFill/>
                    </a:ln>
                    <a:solidFill>
                      <a:srgbClr val="000000">
                        <a:lumMod val="65000"/>
                        <a:lumOff val="35000"/>
                      </a:srgbClr>
                    </a:solidFill>
                    <a:effectLst/>
                    <a:uLnTx/>
                    <a:uFillTx/>
                    <a:latin typeface="等线 Light" panose="020F0302020204030204"/>
                    <a:ea typeface="+mn-ea"/>
                    <a:cs typeface="+mn-cs"/>
                  </a:rPr>
                  <a:t>, </a:t>
                </a:r>
                <a:r>
                  <a:rPr kumimoji="0" lang="en-US" sz="1400" b="0" i="0" u="none" strike="noStrike" kern="1200" cap="none" spc="0" normalizeH="0" baseline="0" noProof="0" dirty="0" err="1">
                    <a:ln>
                      <a:noFill/>
                    </a:ln>
                    <a:solidFill>
                      <a:srgbClr val="000000">
                        <a:lumMod val="65000"/>
                        <a:lumOff val="35000"/>
                      </a:srgbClr>
                    </a:solidFill>
                    <a:effectLst/>
                    <a:uLnTx/>
                    <a:uFillTx/>
                    <a:latin typeface="等线 Light" panose="020F0302020204030204"/>
                    <a:ea typeface="+mn-ea"/>
                    <a:cs typeface="+mn-cs"/>
                  </a:rPr>
                  <a:t>consectetur</a:t>
                </a:r>
                <a:r>
                  <a:rPr kumimoji="0" lang="en-US" sz="1400" b="0" i="0" u="none" strike="noStrike" kern="1200" cap="none" spc="0" normalizeH="0" baseline="0" noProof="0" dirty="0">
                    <a:ln>
                      <a:noFill/>
                    </a:ln>
                    <a:solidFill>
                      <a:srgbClr val="000000">
                        <a:lumMod val="65000"/>
                        <a:lumOff val="35000"/>
                      </a:srgbClr>
                    </a:solidFill>
                    <a:effectLst/>
                    <a:uLnTx/>
                    <a:uFillTx/>
                    <a:latin typeface="等线 Light" panose="020F0302020204030204"/>
                    <a:ea typeface="+mn-ea"/>
                    <a:cs typeface="+mn-cs"/>
                  </a:rPr>
                  <a:t> </a:t>
                </a:r>
                <a:r>
                  <a:rPr kumimoji="0" lang="en-US" sz="1400" b="0" i="0" u="none" strike="noStrike" kern="1200" cap="none" spc="0" normalizeH="0" baseline="0" noProof="0" dirty="0" err="1">
                    <a:ln>
                      <a:noFill/>
                    </a:ln>
                    <a:solidFill>
                      <a:srgbClr val="000000">
                        <a:lumMod val="65000"/>
                        <a:lumOff val="35000"/>
                      </a:srgbClr>
                    </a:solidFill>
                    <a:effectLst/>
                    <a:uLnTx/>
                    <a:uFillTx/>
                    <a:latin typeface="等线 Light" panose="020F0302020204030204"/>
                    <a:ea typeface="+mn-ea"/>
                    <a:cs typeface="+mn-cs"/>
                  </a:rPr>
                  <a:t>adipiscing</a:t>
                </a:r>
                <a:r>
                  <a:rPr kumimoji="0" lang="en-US" sz="1400" b="0" i="0" u="none" strike="noStrike" kern="1200" cap="none" spc="0" normalizeH="0" baseline="0" noProof="0" dirty="0">
                    <a:ln>
                      <a:noFill/>
                    </a:ln>
                    <a:solidFill>
                      <a:srgbClr val="000000">
                        <a:lumMod val="65000"/>
                        <a:lumOff val="35000"/>
                      </a:srgbClr>
                    </a:solidFill>
                    <a:effectLst/>
                    <a:uLnTx/>
                    <a:uFillTx/>
                    <a:latin typeface="等线 Light" panose="020F0302020204030204"/>
                    <a:ea typeface="+mn-ea"/>
                    <a:cs typeface="+mn-cs"/>
                  </a:rPr>
                  <a:t> </a:t>
                </a:r>
                <a:r>
                  <a:rPr kumimoji="0" lang="en-US" sz="1400" b="0" i="0" u="none" strike="noStrike" kern="1200" cap="none" spc="0" normalizeH="0" baseline="0" noProof="0" dirty="0" err="1">
                    <a:ln>
                      <a:noFill/>
                    </a:ln>
                    <a:solidFill>
                      <a:srgbClr val="000000">
                        <a:lumMod val="65000"/>
                        <a:lumOff val="35000"/>
                      </a:srgbClr>
                    </a:solidFill>
                    <a:effectLst/>
                    <a:uLnTx/>
                    <a:uFillTx/>
                    <a:latin typeface="等线 Light" panose="020F0302020204030204"/>
                    <a:ea typeface="+mn-ea"/>
                    <a:cs typeface="+mn-cs"/>
                  </a:rPr>
                  <a:t>elit</a:t>
                </a:r>
                <a:r>
                  <a:rPr kumimoji="0" lang="en-US" sz="1400" b="0" i="0" u="none" strike="noStrike" kern="1200" cap="none" spc="0" normalizeH="0" baseline="0" noProof="0" dirty="0">
                    <a:ln>
                      <a:noFill/>
                    </a:ln>
                    <a:solidFill>
                      <a:srgbClr val="000000">
                        <a:lumMod val="65000"/>
                        <a:lumOff val="35000"/>
                      </a:srgbClr>
                    </a:solidFill>
                    <a:effectLst/>
                    <a:uLnTx/>
                    <a:uFillTx/>
                    <a:latin typeface="等线 Light" panose="020F0302020204030204"/>
                    <a:ea typeface="+mn-ea"/>
                    <a:cs typeface="+mn-cs"/>
                  </a:rPr>
                  <a:t>, </a:t>
                </a:r>
              </a:p>
            </p:txBody>
          </p:sp>
          <p:sp>
            <p:nvSpPr>
              <p:cNvPr id="31" name="Rectangle 124">
                <a:extLst>
                  <a:ext uri="{FF2B5EF4-FFF2-40B4-BE49-F238E27FC236}">
                    <a16:creationId xmlns:a16="http://schemas.microsoft.com/office/drawing/2014/main" id="{1A0360B3-4BC1-48E1-84BB-296886529E29}"/>
                  </a:ext>
                </a:extLst>
              </p:cNvPr>
              <p:cNvSpPr/>
              <p:nvPr/>
            </p:nvSpPr>
            <p:spPr>
              <a:xfrm>
                <a:off x="9736676" y="4656350"/>
                <a:ext cx="2030867" cy="525468"/>
              </a:xfrm>
              <a:prstGeom prst="rect">
                <a:avLst/>
              </a:prstGeom>
              <a:solidFill>
                <a:schemeClr val="accent3"/>
              </a:solidFill>
              <a:ln>
                <a:noFill/>
              </a:ln>
              <a:effectLst>
                <a:outerShdw blurRad="292100" dist="50800" dir="11160000" algn="ctr" rotWithShape="0">
                  <a:srgbClr val="000000">
                    <a:alpha val="13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等线" panose="020F0502020204030204"/>
                  <a:ea typeface="+mn-ea"/>
                  <a:cs typeface="+mn-cs"/>
                </a:endParaRPr>
              </a:p>
            </p:txBody>
          </p:sp>
          <p:sp>
            <p:nvSpPr>
              <p:cNvPr id="32" name="TextBox 125">
                <a:extLst>
                  <a:ext uri="{FF2B5EF4-FFF2-40B4-BE49-F238E27FC236}">
                    <a16:creationId xmlns:a16="http://schemas.microsoft.com/office/drawing/2014/main" id="{38BC73E3-DAD8-4F19-9C88-3B77FD1E24C7}"/>
                  </a:ext>
                </a:extLst>
              </p:cNvPr>
              <p:cNvSpPr txBox="1"/>
              <p:nvPr/>
            </p:nvSpPr>
            <p:spPr>
              <a:xfrm>
                <a:off x="10217798" y="4694644"/>
                <a:ext cx="1500280" cy="404983"/>
              </a:xfrm>
              <a:prstGeom prst="rect">
                <a:avLst/>
              </a:prstGeom>
              <a:noFill/>
            </p:spPr>
            <p:txBody>
              <a:bodyPr wrap="square" rtlCol="0">
                <a:spAutoFit/>
              </a:bodyPr>
              <a:lstStyle/>
              <a:p>
                <a:pPr marL="0" marR="0" lvl="0" indent="0" algn="l" defTabSz="914400" rtl="0" eaLnBrk="1" fontAlgn="auto" latinLnBrk="0" hangingPunct="1">
                  <a:lnSpc>
                    <a:spcPct val="14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等线" panose="020F0502020204030204"/>
                    <a:ea typeface="+mn-ea"/>
                    <a:cs typeface="+mn-cs"/>
                  </a:rPr>
                  <a:t>Options Three</a:t>
                </a:r>
              </a:p>
            </p:txBody>
          </p:sp>
          <p:grpSp>
            <p:nvGrpSpPr>
              <p:cNvPr id="33" name="Graphic 94">
                <a:extLst>
                  <a:ext uri="{FF2B5EF4-FFF2-40B4-BE49-F238E27FC236}">
                    <a16:creationId xmlns:a16="http://schemas.microsoft.com/office/drawing/2014/main" id="{E8F47B5B-F5A9-4AD8-B86F-00709A411980}"/>
                  </a:ext>
                </a:extLst>
              </p:cNvPr>
              <p:cNvGrpSpPr/>
              <p:nvPr/>
            </p:nvGrpSpPr>
            <p:grpSpPr>
              <a:xfrm>
                <a:off x="9971151" y="4801589"/>
                <a:ext cx="247983" cy="247499"/>
                <a:chOff x="2083633" y="256705"/>
                <a:chExt cx="419725" cy="418905"/>
              </a:xfrm>
              <a:solidFill>
                <a:schemeClr val="bg1"/>
              </a:solidFill>
            </p:grpSpPr>
            <p:sp>
              <p:nvSpPr>
                <p:cNvPr id="34" name="Freeform: Shape 127">
                  <a:extLst>
                    <a:ext uri="{FF2B5EF4-FFF2-40B4-BE49-F238E27FC236}">
                      <a16:creationId xmlns:a16="http://schemas.microsoft.com/office/drawing/2014/main" id="{12C9A050-D337-4429-B9C8-81F58A745ACA}"/>
                    </a:ext>
                  </a:extLst>
                </p:cNvPr>
                <p:cNvSpPr/>
                <p:nvPr/>
              </p:nvSpPr>
              <p:spPr>
                <a:xfrm>
                  <a:off x="2083633" y="306563"/>
                  <a:ext cx="196746" cy="306596"/>
                </a:xfrm>
                <a:custGeom>
                  <a:avLst/>
                  <a:gdLst>
                    <a:gd name="connsiteX0" fmla="*/ 184933 w 196746"/>
                    <a:gd name="connsiteY0" fmla="*/ 0 h 306595"/>
                    <a:gd name="connsiteX1" fmla="*/ 0 w 196746"/>
                    <a:gd name="connsiteY1" fmla="*/ 184931 h 306595"/>
                    <a:gd name="connsiteX2" fmla="*/ 45752 w 196746"/>
                    <a:gd name="connsiteY2" fmla="*/ 306723 h 306595"/>
                    <a:gd name="connsiteX3" fmla="*/ 197230 w 196746"/>
                    <a:gd name="connsiteY3" fmla="*/ 155247 h 306595"/>
                    <a:gd name="connsiteX4" fmla="*/ 197230 w 196746"/>
                    <a:gd name="connsiteY4" fmla="*/ 12297 h 306595"/>
                    <a:gd name="connsiteX5" fmla="*/ 184933 w 196746"/>
                    <a:gd name="connsiteY5" fmla="*/ 0 h 306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6746" h="306595">
                      <a:moveTo>
                        <a:pt x="184933" y="0"/>
                      </a:moveTo>
                      <a:cubicBezTo>
                        <a:pt x="82724" y="0"/>
                        <a:pt x="0" y="82706"/>
                        <a:pt x="0" y="184931"/>
                      </a:cubicBezTo>
                      <a:cubicBezTo>
                        <a:pt x="0" y="230214"/>
                        <a:pt x="16158" y="273007"/>
                        <a:pt x="45752" y="306723"/>
                      </a:cubicBezTo>
                      <a:cubicBezTo>
                        <a:pt x="46755" y="305720"/>
                        <a:pt x="195756" y="156721"/>
                        <a:pt x="197230" y="155247"/>
                      </a:cubicBezTo>
                      <a:cubicBezTo>
                        <a:pt x="197230" y="137621"/>
                        <a:pt x="197230" y="30114"/>
                        <a:pt x="197230" y="12297"/>
                      </a:cubicBezTo>
                      <a:cubicBezTo>
                        <a:pt x="197230" y="5509"/>
                        <a:pt x="191721" y="0"/>
                        <a:pt x="184933" y="0"/>
                      </a:cubicBezTo>
                      <a:close/>
                    </a:path>
                  </a:pathLst>
                </a:custGeom>
                <a:grpFill/>
                <a:ln w="81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5" name="Freeform: Shape 128">
                  <a:extLst>
                    <a:ext uri="{FF2B5EF4-FFF2-40B4-BE49-F238E27FC236}">
                      <a16:creationId xmlns:a16="http://schemas.microsoft.com/office/drawing/2014/main" id="{08ABA004-5107-4A72-A98F-76EB049B6B1C}"/>
                    </a:ext>
                  </a:extLst>
                </p:cNvPr>
                <p:cNvSpPr/>
                <p:nvPr/>
              </p:nvSpPr>
              <p:spPr>
                <a:xfrm>
                  <a:off x="2146780" y="503848"/>
                  <a:ext cx="126245" cy="172153"/>
                </a:xfrm>
                <a:custGeom>
                  <a:avLst/>
                  <a:gdLst>
                    <a:gd name="connsiteX0" fmla="*/ 126819 w 126245"/>
                    <a:gd name="connsiteY0" fmla="*/ 172502 h 172152"/>
                    <a:gd name="connsiteX1" fmla="*/ 126819 w 126245"/>
                    <a:gd name="connsiteY1" fmla="*/ 0 h 172152"/>
                    <a:gd name="connsiteX2" fmla="*/ 0 w 126245"/>
                    <a:gd name="connsiteY2" fmla="*/ 126825 h 172152"/>
                    <a:gd name="connsiteX3" fmla="*/ 126819 w 126245"/>
                    <a:gd name="connsiteY3" fmla="*/ 172502 h 172152"/>
                  </a:gdLst>
                  <a:ahLst/>
                  <a:cxnLst>
                    <a:cxn ang="0">
                      <a:pos x="connsiteX0" y="connsiteY0"/>
                    </a:cxn>
                    <a:cxn ang="0">
                      <a:pos x="connsiteX1" y="connsiteY1"/>
                    </a:cxn>
                    <a:cxn ang="0">
                      <a:pos x="connsiteX2" y="connsiteY2"/>
                    </a:cxn>
                    <a:cxn ang="0">
                      <a:pos x="connsiteX3" y="connsiteY3"/>
                    </a:cxn>
                  </a:cxnLst>
                  <a:rect l="l" t="t" r="r" b="b"/>
                  <a:pathLst>
                    <a:path w="126245" h="172152">
                      <a:moveTo>
                        <a:pt x="126819" y="172502"/>
                      </a:moveTo>
                      <a:lnTo>
                        <a:pt x="126819" y="0"/>
                      </a:lnTo>
                      <a:lnTo>
                        <a:pt x="0" y="126825"/>
                      </a:lnTo>
                      <a:cubicBezTo>
                        <a:pt x="35933" y="158363"/>
                        <a:pt x="81336" y="173842"/>
                        <a:pt x="126819" y="172502"/>
                      </a:cubicBezTo>
                      <a:close/>
                    </a:path>
                  </a:pathLst>
                </a:custGeom>
                <a:grpFill/>
                <a:ln w="81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6" name="Freeform: Shape 129">
                  <a:extLst>
                    <a:ext uri="{FF2B5EF4-FFF2-40B4-BE49-F238E27FC236}">
                      <a16:creationId xmlns:a16="http://schemas.microsoft.com/office/drawing/2014/main" id="{D9F5B851-9F2F-486D-A72E-0AFC2069A486}"/>
                    </a:ext>
                  </a:extLst>
                </p:cNvPr>
                <p:cNvSpPr/>
                <p:nvPr/>
              </p:nvSpPr>
              <p:spPr>
                <a:xfrm>
                  <a:off x="2298193" y="479197"/>
                  <a:ext cx="154938" cy="194287"/>
                </a:xfrm>
                <a:custGeom>
                  <a:avLst/>
                  <a:gdLst>
                    <a:gd name="connsiteX0" fmla="*/ 143010 w 154937"/>
                    <a:gd name="connsiteY0" fmla="*/ 0 h 194286"/>
                    <a:gd name="connsiteX1" fmla="*/ 57 w 154937"/>
                    <a:gd name="connsiteY1" fmla="*/ 0 h 194286"/>
                    <a:gd name="connsiteX2" fmla="*/ 0 w 154937"/>
                    <a:gd name="connsiteY2" fmla="*/ 194874 h 194286"/>
                    <a:gd name="connsiteX3" fmla="*/ 101136 w 154937"/>
                    <a:gd name="connsiteY3" fmla="*/ 143065 h 194286"/>
                    <a:gd name="connsiteX4" fmla="*/ 155306 w 154937"/>
                    <a:gd name="connsiteY4" fmla="*/ 12296 h 194286"/>
                    <a:gd name="connsiteX5" fmla="*/ 143010 w 154937"/>
                    <a:gd name="connsiteY5" fmla="*/ 0 h 194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4937" h="194286">
                      <a:moveTo>
                        <a:pt x="143010" y="0"/>
                      </a:moveTo>
                      <a:lnTo>
                        <a:pt x="57" y="0"/>
                      </a:lnTo>
                      <a:lnTo>
                        <a:pt x="0" y="194874"/>
                      </a:lnTo>
                      <a:cubicBezTo>
                        <a:pt x="38000" y="188803"/>
                        <a:pt x="73231" y="170983"/>
                        <a:pt x="101136" y="143065"/>
                      </a:cubicBezTo>
                      <a:cubicBezTo>
                        <a:pt x="136066" y="108135"/>
                        <a:pt x="155306" y="61695"/>
                        <a:pt x="155306" y="12296"/>
                      </a:cubicBezTo>
                      <a:cubicBezTo>
                        <a:pt x="155306" y="5509"/>
                        <a:pt x="149798" y="0"/>
                        <a:pt x="143010" y="0"/>
                      </a:cubicBezTo>
                      <a:close/>
                    </a:path>
                  </a:pathLst>
                </a:custGeom>
                <a:grpFill/>
                <a:ln w="81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7" name="Freeform: Shape 130">
                  <a:extLst>
                    <a:ext uri="{FF2B5EF4-FFF2-40B4-BE49-F238E27FC236}">
                      <a16:creationId xmlns:a16="http://schemas.microsoft.com/office/drawing/2014/main" id="{D7D52ED8-1755-4C7F-AE83-BDA025B79984}"/>
                    </a:ext>
                  </a:extLst>
                </p:cNvPr>
                <p:cNvSpPr/>
                <p:nvPr/>
              </p:nvSpPr>
              <p:spPr>
                <a:xfrm>
                  <a:off x="2306127" y="256705"/>
                  <a:ext cx="196746" cy="196746"/>
                </a:xfrm>
                <a:custGeom>
                  <a:avLst/>
                  <a:gdLst>
                    <a:gd name="connsiteX0" fmla="*/ 143060 w 196746"/>
                    <a:gd name="connsiteY0" fmla="*/ 54170 h 196746"/>
                    <a:gd name="connsiteX1" fmla="*/ 12297 w 196746"/>
                    <a:gd name="connsiteY1" fmla="*/ 0 h 196746"/>
                    <a:gd name="connsiteX2" fmla="*/ 0 w 196746"/>
                    <a:gd name="connsiteY2" fmla="*/ 12297 h 196746"/>
                    <a:gd name="connsiteX3" fmla="*/ 0 w 196746"/>
                    <a:gd name="connsiteY3" fmla="*/ 184931 h 196746"/>
                    <a:gd name="connsiteX4" fmla="*/ 12297 w 196746"/>
                    <a:gd name="connsiteY4" fmla="*/ 197227 h 196746"/>
                    <a:gd name="connsiteX5" fmla="*/ 184935 w 196746"/>
                    <a:gd name="connsiteY5" fmla="*/ 197227 h 196746"/>
                    <a:gd name="connsiteX6" fmla="*/ 197231 w 196746"/>
                    <a:gd name="connsiteY6" fmla="*/ 184931 h 196746"/>
                    <a:gd name="connsiteX7" fmla="*/ 143060 w 196746"/>
                    <a:gd name="connsiteY7" fmla="*/ 54170 h 1967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6746" h="196746">
                      <a:moveTo>
                        <a:pt x="143060" y="54170"/>
                      </a:moveTo>
                      <a:cubicBezTo>
                        <a:pt x="108129" y="19240"/>
                        <a:pt x="61689" y="0"/>
                        <a:pt x="12297" y="0"/>
                      </a:cubicBezTo>
                      <a:cubicBezTo>
                        <a:pt x="5501" y="0"/>
                        <a:pt x="0" y="5509"/>
                        <a:pt x="0" y="12297"/>
                      </a:cubicBezTo>
                      <a:lnTo>
                        <a:pt x="0" y="184931"/>
                      </a:lnTo>
                      <a:cubicBezTo>
                        <a:pt x="0" y="191704"/>
                        <a:pt x="5479" y="197227"/>
                        <a:pt x="12297" y="197227"/>
                      </a:cubicBezTo>
                      <a:lnTo>
                        <a:pt x="184935" y="197227"/>
                      </a:lnTo>
                      <a:cubicBezTo>
                        <a:pt x="191723" y="197227"/>
                        <a:pt x="197231" y="191727"/>
                        <a:pt x="197231" y="184931"/>
                      </a:cubicBezTo>
                      <a:cubicBezTo>
                        <a:pt x="197231" y="135539"/>
                        <a:pt x="177991" y="89100"/>
                        <a:pt x="143060" y="54170"/>
                      </a:cubicBezTo>
                      <a:close/>
                    </a:path>
                  </a:pathLst>
                </a:custGeom>
                <a:grpFill/>
                <a:ln w="81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grpSp>
        <p:grpSp>
          <p:nvGrpSpPr>
            <p:cNvPr id="9" name="Group 96">
              <a:extLst>
                <a:ext uri="{FF2B5EF4-FFF2-40B4-BE49-F238E27FC236}">
                  <a16:creationId xmlns:a16="http://schemas.microsoft.com/office/drawing/2014/main" id="{41BFA13B-EC91-4828-8465-17CD4B15A6B4}"/>
                </a:ext>
              </a:extLst>
            </p:cNvPr>
            <p:cNvGrpSpPr/>
            <p:nvPr/>
          </p:nvGrpSpPr>
          <p:grpSpPr>
            <a:xfrm>
              <a:off x="9150229" y="1418687"/>
              <a:ext cx="2355342" cy="1302873"/>
              <a:chOff x="-10937175" y="4154898"/>
              <a:chExt cx="2355342" cy="1302873"/>
            </a:xfrm>
          </p:grpSpPr>
          <p:sp>
            <p:nvSpPr>
              <p:cNvPr id="24" name="TextBox 117">
                <a:extLst>
                  <a:ext uri="{FF2B5EF4-FFF2-40B4-BE49-F238E27FC236}">
                    <a16:creationId xmlns:a16="http://schemas.microsoft.com/office/drawing/2014/main" id="{79414BF6-E940-439C-ACD1-731270543F0B}"/>
                  </a:ext>
                </a:extLst>
              </p:cNvPr>
              <p:cNvSpPr txBox="1"/>
              <p:nvPr/>
            </p:nvSpPr>
            <p:spPr>
              <a:xfrm>
                <a:off x="-10937175" y="4790216"/>
                <a:ext cx="2355342" cy="667555"/>
              </a:xfrm>
              <a:prstGeom prst="rect">
                <a:avLst/>
              </a:prstGeom>
              <a:noFill/>
            </p:spPr>
            <p:txBody>
              <a:bodyPr wrap="square" rtlCol="0">
                <a:spAutoFit/>
              </a:bodyPr>
              <a:lstStyle/>
              <a:p>
                <a:pPr marL="0" marR="0" lvl="0" indent="0" algn="l" defTabSz="914400" rtl="0" eaLnBrk="1" fontAlgn="auto" latinLnBrk="0" hangingPunct="1">
                  <a:lnSpc>
                    <a:spcPct val="14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lumMod val="65000"/>
                        <a:lumOff val="35000"/>
                      </a:srgbClr>
                    </a:solidFill>
                    <a:effectLst/>
                    <a:uLnTx/>
                    <a:uFillTx/>
                    <a:latin typeface="等线 Light" panose="020F0302020204030204"/>
                    <a:ea typeface="+mn-ea"/>
                    <a:cs typeface="+mn-cs"/>
                  </a:rPr>
                  <a:t>Lorem ipsum dolor sit </a:t>
                </a:r>
                <a:r>
                  <a:rPr kumimoji="0" lang="en-US" sz="1400" b="0" i="0" u="none" strike="noStrike" kern="1200" cap="none" spc="0" normalizeH="0" baseline="0" noProof="0" dirty="0" err="1">
                    <a:ln>
                      <a:noFill/>
                    </a:ln>
                    <a:solidFill>
                      <a:srgbClr val="000000">
                        <a:lumMod val="65000"/>
                        <a:lumOff val="35000"/>
                      </a:srgbClr>
                    </a:solidFill>
                    <a:effectLst/>
                    <a:uLnTx/>
                    <a:uFillTx/>
                    <a:latin typeface="等线 Light" panose="020F0302020204030204"/>
                    <a:ea typeface="+mn-ea"/>
                    <a:cs typeface="+mn-cs"/>
                  </a:rPr>
                  <a:t>amet</a:t>
                </a:r>
                <a:r>
                  <a:rPr kumimoji="0" lang="en-US" sz="1400" b="0" i="0" u="none" strike="noStrike" kern="1200" cap="none" spc="0" normalizeH="0" baseline="0" noProof="0" dirty="0">
                    <a:ln>
                      <a:noFill/>
                    </a:ln>
                    <a:solidFill>
                      <a:srgbClr val="000000">
                        <a:lumMod val="65000"/>
                        <a:lumOff val="35000"/>
                      </a:srgbClr>
                    </a:solidFill>
                    <a:effectLst/>
                    <a:uLnTx/>
                    <a:uFillTx/>
                    <a:latin typeface="等线 Light" panose="020F0302020204030204"/>
                    <a:ea typeface="+mn-ea"/>
                    <a:cs typeface="+mn-cs"/>
                  </a:rPr>
                  <a:t>, </a:t>
                </a:r>
                <a:r>
                  <a:rPr kumimoji="0" lang="en-US" sz="1400" b="0" i="0" u="none" strike="noStrike" kern="1200" cap="none" spc="0" normalizeH="0" baseline="0" noProof="0" dirty="0" err="1">
                    <a:ln>
                      <a:noFill/>
                    </a:ln>
                    <a:solidFill>
                      <a:srgbClr val="000000">
                        <a:lumMod val="65000"/>
                        <a:lumOff val="35000"/>
                      </a:srgbClr>
                    </a:solidFill>
                    <a:effectLst/>
                    <a:uLnTx/>
                    <a:uFillTx/>
                    <a:latin typeface="等线 Light" panose="020F0302020204030204"/>
                    <a:ea typeface="+mn-ea"/>
                    <a:cs typeface="+mn-cs"/>
                  </a:rPr>
                  <a:t>consectetur</a:t>
                </a:r>
                <a:r>
                  <a:rPr kumimoji="0" lang="en-US" sz="1400" b="0" i="0" u="none" strike="noStrike" kern="1200" cap="none" spc="0" normalizeH="0" baseline="0" noProof="0" dirty="0">
                    <a:ln>
                      <a:noFill/>
                    </a:ln>
                    <a:solidFill>
                      <a:srgbClr val="000000">
                        <a:lumMod val="65000"/>
                        <a:lumOff val="35000"/>
                      </a:srgbClr>
                    </a:solidFill>
                    <a:effectLst/>
                    <a:uLnTx/>
                    <a:uFillTx/>
                    <a:latin typeface="等线 Light" panose="020F0302020204030204"/>
                    <a:ea typeface="+mn-ea"/>
                    <a:cs typeface="+mn-cs"/>
                  </a:rPr>
                  <a:t> </a:t>
                </a:r>
                <a:r>
                  <a:rPr kumimoji="0" lang="en-US" sz="1400" b="0" i="0" u="none" strike="noStrike" kern="1200" cap="none" spc="0" normalizeH="0" baseline="0" noProof="0" dirty="0" err="1">
                    <a:ln>
                      <a:noFill/>
                    </a:ln>
                    <a:solidFill>
                      <a:srgbClr val="000000">
                        <a:lumMod val="65000"/>
                        <a:lumOff val="35000"/>
                      </a:srgbClr>
                    </a:solidFill>
                    <a:effectLst/>
                    <a:uLnTx/>
                    <a:uFillTx/>
                    <a:latin typeface="等线 Light" panose="020F0302020204030204"/>
                    <a:ea typeface="+mn-ea"/>
                    <a:cs typeface="+mn-cs"/>
                  </a:rPr>
                  <a:t>adipiscing</a:t>
                </a:r>
                <a:r>
                  <a:rPr kumimoji="0" lang="en-US" sz="1400" b="0" i="0" u="none" strike="noStrike" kern="1200" cap="none" spc="0" normalizeH="0" baseline="0" noProof="0" dirty="0">
                    <a:ln>
                      <a:noFill/>
                    </a:ln>
                    <a:solidFill>
                      <a:srgbClr val="000000">
                        <a:lumMod val="65000"/>
                        <a:lumOff val="35000"/>
                      </a:srgbClr>
                    </a:solidFill>
                    <a:effectLst/>
                    <a:uLnTx/>
                    <a:uFillTx/>
                    <a:latin typeface="等线 Light" panose="020F0302020204030204"/>
                    <a:ea typeface="+mn-ea"/>
                    <a:cs typeface="+mn-cs"/>
                  </a:rPr>
                  <a:t> </a:t>
                </a:r>
                <a:r>
                  <a:rPr kumimoji="0" lang="en-US" sz="1400" b="0" i="0" u="none" strike="noStrike" kern="1200" cap="none" spc="0" normalizeH="0" baseline="0" noProof="0" dirty="0" err="1">
                    <a:ln>
                      <a:noFill/>
                    </a:ln>
                    <a:solidFill>
                      <a:srgbClr val="000000">
                        <a:lumMod val="65000"/>
                        <a:lumOff val="35000"/>
                      </a:srgbClr>
                    </a:solidFill>
                    <a:effectLst/>
                    <a:uLnTx/>
                    <a:uFillTx/>
                    <a:latin typeface="等线 Light" panose="020F0302020204030204"/>
                    <a:ea typeface="+mn-ea"/>
                    <a:cs typeface="+mn-cs"/>
                  </a:rPr>
                  <a:t>elit</a:t>
                </a:r>
                <a:r>
                  <a:rPr kumimoji="0" lang="en-US" sz="1400" b="0" i="0" u="none" strike="noStrike" kern="1200" cap="none" spc="0" normalizeH="0" baseline="0" noProof="0" dirty="0">
                    <a:ln>
                      <a:noFill/>
                    </a:ln>
                    <a:solidFill>
                      <a:srgbClr val="000000">
                        <a:lumMod val="65000"/>
                        <a:lumOff val="35000"/>
                      </a:srgbClr>
                    </a:solidFill>
                    <a:effectLst/>
                    <a:uLnTx/>
                    <a:uFillTx/>
                    <a:latin typeface="等线 Light" panose="020F0302020204030204"/>
                    <a:ea typeface="+mn-ea"/>
                    <a:cs typeface="+mn-cs"/>
                  </a:rPr>
                  <a:t>, </a:t>
                </a:r>
              </a:p>
            </p:txBody>
          </p:sp>
          <p:sp>
            <p:nvSpPr>
              <p:cNvPr id="25" name="Rectangle 118">
                <a:extLst>
                  <a:ext uri="{FF2B5EF4-FFF2-40B4-BE49-F238E27FC236}">
                    <a16:creationId xmlns:a16="http://schemas.microsoft.com/office/drawing/2014/main" id="{CC7355F0-9266-41F4-B915-EA82E433D57D}"/>
                  </a:ext>
                </a:extLst>
              </p:cNvPr>
              <p:cNvSpPr/>
              <p:nvPr/>
            </p:nvSpPr>
            <p:spPr>
              <a:xfrm>
                <a:off x="-10849448" y="4154898"/>
                <a:ext cx="2030867" cy="525468"/>
              </a:xfrm>
              <a:prstGeom prst="rect">
                <a:avLst/>
              </a:prstGeom>
              <a:solidFill>
                <a:schemeClr val="accent4"/>
              </a:solidFill>
              <a:ln>
                <a:noFill/>
              </a:ln>
              <a:effectLst>
                <a:outerShdw blurRad="292100" dist="50800" dir="11160000" algn="ctr" rotWithShape="0">
                  <a:srgbClr val="000000">
                    <a:alpha val="13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等线" panose="020F0502020204030204"/>
                  <a:ea typeface="+mn-ea"/>
                  <a:cs typeface="+mn-cs"/>
                </a:endParaRPr>
              </a:p>
            </p:txBody>
          </p:sp>
          <p:sp>
            <p:nvSpPr>
              <p:cNvPr id="26" name="TextBox 119">
                <a:extLst>
                  <a:ext uri="{FF2B5EF4-FFF2-40B4-BE49-F238E27FC236}">
                    <a16:creationId xmlns:a16="http://schemas.microsoft.com/office/drawing/2014/main" id="{22E2CFA5-57B0-427B-869B-F15FCF53C36C}"/>
                  </a:ext>
                </a:extLst>
              </p:cNvPr>
              <p:cNvSpPr txBox="1"/>
              <p:nvPr/>
            </p:nvSpPr>
            <p:spPr>
              <a:xfrm>
                <a:off x="-10368326" y="4193192"/>
                <a:ext cx="1500280" cy="404983"/>
              </a:xfrm>
              <a:prstGeom prst="rect">
                <a:avLst/>
              </a:prstGeom>
              <a:noFill/>
            </p:spPr>
            <p:txBody>
              <a:bodyPr wrap="square" rtlCol="0">
                <a:spAutoFit/>
              </a:bodyPr>
              <a:lstStyle/>
              <a:p>
                <a:pPr marL="0" marR="0" lvl="0" indent="0" algn="l" defTabSz="914400" rtl="0" eaLnBrk="1" fontAlgn="auto" latinLnBrk="0" hangingPunct="1">
                  <a:lnSpc>
                    <a:spcPct val="14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等线" panose="020F0502020204030204"/>
                    <a:ea typeface="+mn-ea"/>
                    <a:cs typeface="+mn-cs"/>
                  </a:rPr>
                  <a:t>Options Four</a:t>
                </a:r>
              </a:p>
            </p:txBody>
          </p:sp>
          <p:grpSp>
            <p:nvGrpSpPr>
              <p:cNvPr id="27" name="Graphic 40">
                <a:extLst>
                  <a:ext uri="{FF2B5EF4-FFF2-40B4-BE49-F238E27FC236}">
                    <a16:creationId xmlns:a16="http://schemas.microsoft.com/office/drawing/2014/main" id="{52CDE0CF-C6BA-4D76-B430-227FBF6EC05E}"/>
                  </a:ext>
                </a:extLst>
              </p:cNvPr>
              <p:cNvGrpSpPr/>
              <p:nvPr/>
            </p:nvGrpSpPr>
            <p:grpSpPr>
              <a:xfrm>
                <a:off x="-10581177" y="4318528"/>
                <a:ext cx="155783" cy="214412"/>
                <a:chOff x="4074593" y="1724490"/>
                <a:chExt cx="304956" cy="419725"/>
              </a:xfrm>
              <a:solidFill>
                <a:schemeClr val="bg1"/>
              </a:solidFill>
            </p:grpSpPr>
            <p:sp>
              <p:nvSpPr>
                <p:cNvPr id="28" name="Freeform: Shape 121">
                  <a:extLst>
                    <a:ext uri="{FF2B5EF4-FFF2-40B4-BE49-F238E27FC236}">
                      <a16:creationId xmlns:a16="http://schemas.microsoft.com/office/drawing/2014/main" id="{CCAC4C6C-3345-4C08-8799-FF2BE603AD73}"/>
                    </a:ext>
                  </a:extLst>
                </p:cNvPr>
                <p:cNvSpPr/>
                <p:nvPr/>
              </p:nvSpPr>
              <p:spPr>
                <a:xfrm>
                  <a:off x="4074593" y="1922056"/>
                  <a:ext cx="304956" cy="222159"/>
                </a:xfrm>
                <a:custGeom>
                  <a:avLst/>
                  <a:gdLst>
                    <a:gd name="connsiteX0" fmla="*/ 292971 w 304956"/>
                    <a:gd name="connsiteY0" fmla="*/ 0 h 222159"/>
                    <a:gd name="connsiteX1" fmla="*/ 12297 w 304956"/>
                    <a:gd name="connsiteY1" fmla="*/ 0 h 222159"/>
                    <a:gd name="connsiteX2" fmla="*/ 0 w 304956"/>
                    <a:gd name="connsiteY2" fmla="*/ 12297 h 222159"/>
                    <a:gd name="connsiteX3" fmla="*/ 0 w 304956"/>
                    <a:gd name="connsiteY3" fmla="*/ 141690 h 222159"/>
                    <a:gd name="connsiteX4" fmla="*/ 80477 w 304956"/>
                    <a:gd name="connsiteY4" fmla="*/ 222159 h 222159"/>
                    <a:gd name="connsiteX5" fmla="*/ 224799 w 304956"/>
                    <a:gd name="connsiteY5" fmla="*/ 222159 h 222159"/>
                    <a:gd name="connsiteX6" fmla="*/ 305268 w 304956"/>
                    <a:gd name="connsiteY6" fmla="*/ 141690 h 222159"/>
                    <a:gd name="connsiteX7" fmla="*/ 305268 w 304956"/>
                    <a:gd name="connsiteY7" fmla="*/ 12297 h 222159"/>
                    <a:gd name="connsiteX8" fmla="*/ 292971 w 304956"/>
                    <a:gd name="connsiteY8" fmla="*/ 0 h 222159"/>
                    <a:gd name="connsiteX9" fmla="*/ 171735 w 304956"/>
                    <a:gd name="connsiteY9" fmla="*/ 104275 h 222159"/>
                    <a:gd name="connsiteX10" fmla="*/ 164931 w 304956"/>
                    <a:gd name="connsiteY10" fmla="*/ 104275 h 222159"/>
                    <a:gd name="connsiteX11" fmla="*/ 164931 w 304956"/>
                    <a:gd name="connsiteY11" fmla="*/ 130180 h 222159"/>
                    <a:gd name="connsiteX12" fmla="*/ 152634 w 304956"/>
                    <a:gd name="connsiteY12" fmla="*/ 142477 h 222159"/>
                    <a:gd name="connsiteX13" fmla="*/ 140337 w 304956"/>
                    <a:gd name="connsiteY13" fmla="*/ 130180 h 222159"/>
                    <a:gd name="connsiteX14" fmla="*/ 140337 w 304956"/>
                    <a:gd name="connsiteY14" fmla="*/ 104275 h 222159"/>
                    <a:gd name="connsiteX15" fmla="*/ 133533 w 304956"/>
                    <a:gd name="connsiteY15" fmla="*/ 104275 h 222159"/>
                    <a:gd name="connsiteX16" fmla="*/ 121237 w 304956"/>
                    <a:gd name="connsiteY16" fmla="*/ 91979 h 222159"/>
                    <a:gd name="connsiteX17" fmla="*/ 133533 w 304956"/>
                    <a:gd name="connsiteY17" fmla="*/ 79682 h 222159"/>
                    <a:gd name="connsiteX18" fmla="*/ 171735 w 304956"/>
                    <a:gd name="connsiteY18" fmla="*/ 79682 h 222159"/>
                    <a:gd name="connsiteX19" fmla="*/ 184031 w 304956"/>
                    <a:gd name="connsiteY19" fmla="*/ 91979 h 222159"/>
                    <a:gd name="connsiteX20" fmla="*/ 171735 w 304956"/>
                    <a:gd name="connsiteY20" fmla="*/ 104275 h 222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04956" h="222159">
                      <a:moveTo>
                        <a:pt x="292971" y="0"/>
                      </a:moveTo>
                      <a:lnTo>
                        <a:pt x="12297" y="0"/>
                      </a:lnTo>
                      <a:cubicBezTo>
                        <a:pt x="5509" y="0"/>
                        <a:pt x="0" y="5509"/>
                        <a:pt x="0" y="12297"/>
                      </a:cubicBezTo>
                      <a:lnTo>
                        <a:pt x="0" y="141690"/>
                      </a:lnTo>
                      <a:cubicBezTo>
                        <a:pt x="0" y="186056"/>
                        <a:pt x="36103" y="222159"/>
                        <a:pt x="80477" y="222159"/>
                      </a:cubicBezTo>
                      <a:lnTo>
                        <a:pt x="224799" y="222159"/>
                      </a:lnTo>
                      <a:cubicBezTo>
                        <a:pt x="269165" y="222159"/>
                        <a:pt x="305268" y="186056"/>
                        <a:pt x="305268" y="141690"/>
                      </a:cubicBezTo>
                      <a:lnTo>
                        <a:pt x="305268" y="12297"/>
                      </a:lnTo>
                      <a:cubicBezTo>
                        <a:pt x="305268" y="5509"/>
                        <a:pt x="299759" y="0"/>
                        <a:pt x="292971" y="0"/>
                      </a:cubicBezTo>
                      <a:close/>
                      <a:moveTo>
                        <a:pt x="171735" y="104275"/>
                      </a:moveTo>
                      <a:lnTo>
                        <a:pt x="164931" y="104275"/>
                      </a:lnTo>
                      <a:lnTo>
                        <a:pt x="164931" y="130180"/>
                      </a:lnTo>
                      <a:cubicBezTo>
                        <a:pt x="164931" y="136976"/>
                        <a:pt x="159422" y="142477"/>
                        <a:pt x="152634" y="142477"/>
                      </a:cubicBezTo>
                      <a:cubicBezTo>
                        <a:pt x="145846" y="142477"/>
                        <a:pt x="140337" y="136976"/>
                        <a:pt x="140337" y="130180"/>
                      </a:cubicBezTo>
                      <a:lnTo>
                        <a:pt x="140337" y="104275"/>
                      </a:lnTo>
                      <a:lnTo>
                        <a:pt x="133533" y="104275"/>
                      </a:lnTo>
                      <a:cubicBezTo>
                        <a:pt x="126737" y="104275"/>
                        <a:pt x="121237" y="98767"/>
                        <a:pt x="121237" y="91979"/>
                      </a:cubicBezTo>
                      <a:cubicBezTo>
                        <a:pt x="121237" y="85183"/>
                        <a:pt x="126737" y="79682"/>
                        <a:pt x="133533" y="79682"/>
                      </a:cubicBezTo>
                      <a:lnTo>
                        <a:pt x="171735" y="79682"/>
                      </a:lnTo>
                      <a:cubicBezTo>
                        <a:pt x="178531" y="79682"/>
                        <a:pt x="184031" y="85183"/>
                        <a:pt x="184031" y="91979"/>
                      </a:cubicBezTo>
                      <a:cubicBezTo>
                        <a:pt x="184031" y="98767"/>
                        <a:pt x="178531" y="104275"/>
                        <a:pt x="171735" y="104275"/>
                      </a:cubicBezTo>
                      <a:close/>
                    </a:path>
                  </a:pathLst>
                </a:custGeom>
                <a:grpFill/>
                <a:ln w="81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9" name="Freeform: Shape 122">
                  <a:extLst>
                    <a:ext uri="{FF2B5EF4-FFF2-40B4-BE49-F238E27FC236}">
                      <a16:creationId xmlns:a16="http://schemas.microsoft.com/office/drawing/2014/main" id="{F6C91F40-1507-42F0-AD88-DE2115A0C558}"/>
                    </a:ext>
                  </a:extLst>
                </p:cNvPr>
                <p:cNvSpPr/>
                <p:nvPr/>
              </p:nvSpPr>
              <p:spPr>
                <a:xfrm>
                  <a:off x="4099186" y="1724490"/>
                  <a:ext cx="255770" cy="172973"/>
                </a:xfrm>
                <a:custGeom>
                  <a:avLst/>
                  <a:gdLst>
                    <a:gd name="connsiteX0" fmla="*/ 128041 w 255769"/>
                    <a:gd name="connsiteY0" fmla="*/ 0 h 172972"/>
                    <a:gd name="connsiteX1" fmla="*/ 0 w 255769"/>
                    <a:gd name="connsiteY1" fmla="*/ 128041 h 172972"/>
                    <a:gd name="connsiteX2" fmla="*/ 0 w 255769"/>
                    <a:gd name="connsiteY2" fmla="*/ 172973 h 172972"/>
                    <a:gd name="connsiteX3" fmla="*/ 24593 w 255769"/>
                    <a:gd name="connsiteY3" fmla="*/ 172973 h 172972"/>
                    <a:gd name="connsiteX4" fmla="*/ 24593 w 255769"/>
                    <a:gd name="connsiteY4" fmla="*/ 128041 h 172972"/>
                    <a:gd name="connsiteX5" fmla="*/ 128041 w 255769"/>
                    <a:gd name="connsiteY5" fmla="*/ 24593 h 172972"/>
                    <a:gd name="connsiteX6" fmla="*/ 231488 w 255769"/>
                    <a:gd name="connsiteY6" fmla="*/ 128041 h 172972"/>
                    <a:gd name="connsiteX7" fmla="*/ 231488 w 255769"/>
                    <a:gd name="connsiteY7" fmla="*/ 172973 h 172972"/>
                    <a:gd name="connsiteX8" fmla="*/ 256081 w 255769"/>
                    <a:gd name="connsiteY8" fmla="*/ 172973 h 172972"/>
                    <a:gd name="connsiteX9" fmla="*/ 256081 w 255769"/>
                    <a:gd name="connsiteY9" fmla="*/ 128041 h 172972"/>
                    <a:gd name="connsiteX10" fmla="*/ 128041 w 255769"/>
                    <a:gd name="connsiteY10" fmla="*/ 0 h 172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55769" h="172972">
                      <a:moveTo>
                        <a:pt x="128041" y="0"/>
                      </a:moveTo>
                      <a:cubicBezTo>
                        <a:pt x="57442" y="0"/>
                        <a:pt x="0" y="57442"/>
                        <a:pt x="0" y="128041"/>
                      </a:cubicBezTo>
                      <a:lnTo>
                        <a:pt x="0" y="172973"/>
                      </a:lnTo>
                      <a:lnTo>
                        <a:pt x="24593" y="172973"/>
                      </a:lnTo>
                      <a:lnTo>
                        <a:pt x="24593" y="128041"/>
                      </a:lnTo>
                      <a:cubicBezTo>
                        <a:pt x="24593" y="71001"/>
                        <a:pt x="71001" y="24593"/>
                        <a:pt x="128041" y="24593"/>
                      </a:cubicBezTo>
                      <a:cubicBezTo>
                        <a:pt x="185081" y="24593"/>
                        <a:pt x="231488" y="71001"/>
                        <a:pt x="231488" y="128041"/>
                      </a:cubicBezTo>
                      <a:lnTo>
                        <a:pt x="231488" y="172973"/>
                      </a:lnTo>
                      <a:lnTo>
                        <a:pt x="256081" y="172973"/>
                      </a:lnTo>
                      <a:lnTo>
                        <a:pt x="256081" y="128041"/>
                      </a:lnTo>
                      <a:cubicBezTo>
                        <a:pt x="256081" y="57442"/>
                        <a:pt x="198640" y="0"/>
                        <a:pt x="128041" y="0"/>
                      </a:cubicBezTo>
                      <a:close/>
                    </a:path>
                  </a:pathLst>
                </a:custGeom>
                <a:grpFill/>
                <a:ln w="81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grpSp>
        <p:grpSp>
          <p:nvGrpSpPr>
            <p:cNvPr id="10" name="Group 97">
              <a:extLst>
                <a:ext uri="{FF2B5EF4-FFF2-40B4-BE49-F238E27FC236}">
                  <a16:creationId xmlns:a16="http://schemas.microsoft.com/office/drawing/2014/main" id="{D58CF184-1D40-4B84-8327-6062792927B1}"/>
                </a:ext>
              </a:extLst>
            </p:cNvPr>
            <p:cNvGrpSpPr/>
            <p:nvPr/>
          </p:nvGrpSpPr>
          <p:grpSpPr>
            <a:xfrm>
              <a:off x="9150229" y="3093035"/>
              <a:ext cx="2355342" cy="1302873"/>
              <a:chOff x="-10937175" y="2646466"/>
              <a:chExt cx="2355342" cy="1302873"/>
            </a:xfrm>
          </p:grpSpPr>
          <p:sp>
            <p:nvSpPr>
              <p:cNvPr id="16" name="TextBox 109">
                <a:extLst>
                  <a:ext uri="{FF2B5EF4-FFF2-40B4-BE49-F238E27FC236}">
                    <a16:creationId xmlns:a16="http://schemas.microsoft.com/office/drawing/2014/main" id="{08BA6156-EE91-4C63-ABE5-6BFC823A840E}"/>
                  </a:ext>
                </a:extLst>
              </p:cNvPr>
              <p:cNvSpPr txBox="1"/>
              <p:nvPr/>
            </p:nvSpPr>
            <p:spPr>
              <a:xfrm>
                <a:off x="-10937175" y="3281784"/>
                <a:ext cx="2355342" cy="667555"/>
              </a:xfrm>
              <a:prstGeom prst="rect">
                <a:avLst/>
              </a:prstGeom>
              <a:noFill/>
            </p:spPr>
            <p:txBody>
              <a:bodyPr wrap="square" rtlCol="0">
                <a:spAutoFit/>
              </a:bodyPr>
              <a:lstStyle/>
              <a:p>
                <a:pPr marL="0" marR="0" lvl="0" indent="0" algn="l" defTabSz="914400" rtl="0" eaLnBrk="1" fontAlgn="auto" latinLnBrk="0" hangingPunct="1">
                  <a:lnSpc>
                    <a:spcPct val="14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lumMod val="65000"/>
                        <a:lumOff val="35000"/>
                      </a:srgbClr>
                    </a:solidFill>
                    <a:effectLst/>
                    <a:uLnTx/>
                    <a:uFillTx/>
                    <a:latin typeface="等线 Light" panose="020F0302020204030204"/>
                    <a:ea typeface="+mn-ea"/>
                    <a:cs typeface="+mn-cs"/>
                  </a:rPr>
                  <a:t>Lorem ipsum dolor sit </a:t>
                </a:r>
                <a:r>
                  <a:rPr kumimoji="0" lang="en-US" sz="1400" b="0" i="0" u="none" strike="noStrike" kern="1200" cap="none" spc="0" normalizeH="0" baseline="0" noProof="0" dirty="0" err="1">
                    <a:ln>
                      <a:noFill/>
                    </a:ln>
                    <a:solidFill>
                      <a:srgbClr val="000000">
                        <a:lumMod val="65000"/>
                        <a:lumOff val="35000"/>
                      </a:srgbClr>
                    </a:solidFill>
                    <a:effectLst/>
                    <a:uLnTx/>
                    <a:uFillTx/>
                    <a:latin typeface="等线 Light" panose="020F0302020204030204"/>
                    <a:ea typeface="+mn-ea"/>
                    <a:cs typeface="+mn-cs"/>
                  </a:rPr>
                  <a:t>amet</a:t>
                </a:r>
                <a:r>
                  <a:rPr kumimoji="0" lang="en-US" sz="1400" b="0" i="0" u="none" strike="noStrike" kern="1200" cap="none" spc="0" normalizeH="0" baseline="0" noProof="0" dirty="0">
                    <a:ln>
                      <a:noFill/>
                    </a:ln>
                    <a:solidFill>
                      <a:srgbClr val="000000">
                        <a:lumMod val="65000"/>
                        <a:lumOff val="35000"/>
                      </a:srgbClr>
                    </a:solidFill>
                    <a:effectLst/>
                    <a:uLnTx/>
                    <a:uFillTx/>
                    <a:latin typeface="等线 Light" panose="020F0302020204030204"/>
                    <a:ea typeface="+mn-ea"/>
                    <a:cs typeface="+mn-cs"/>
                  </a:rPr>
                  <a:t>, </a:t>
                </a:r>
                <a:r>
                  <a:rPr kumimoji="0" lang="en-US" sz="1400" b="0" i="0" u="none" strike="noStrike" kern="1200" cap="none" spc="0" normalizeH="0" baseline="0" noProof="0" dirty="0" err="1">
                    <a:ln>
                      <a:noFill/>
                    </a:ln>
                    <a:solidFill>
                      <a:srgbClr val="000000">
                        <a:lumMod val="65000"/>
                        <a:lumOff val="35000"/>
                      </a:srgbClr>
                    </a:solidFill>
                    <a:effectLst/>
                    <a:uLnTx/>
                    <a:uFillTx/>
                    <a:latin typeface="等线 Light" panose="020F0302020204030204"/>
                    <a:ea typeface="+mn-ea"/>
                    <a:cs typeface="+mn-cs"/>
                  </a:rPr>
                  <a:t>consectetur</a:t>
                </a:r>
                <a:r>
                  <a:rPr kumimoji="0" lang="en-US" sz="1400" b="0" i="0" u="none" strike="noStrike" kern="1200" cap="none" spc="0" normalizeH="0" baseline="0" noProof="0" dirty="0">
                    <a:ln>
                      <a:noFill/>
                    </a:ln>
                    <a:solidFill>
                      <a:srgbClr val="000000">
                        <a:lumMod val="65000"/>
                        <a:lumOff val="35000"/>
                      </a:srgbClr>
                    </a:solidFill>
                    <a:effectLst/>
                    <a:uLnTx/>
                    <a:uFillTx/>
                    <a:latin typeface="等线 Light" panose="020F0302020204030204"/>
                    <a:ea typeface="+mn-ea"/>
                    <a:cs typeface="+mn-cs"/>
                  </a:rPr>
                  <a:t> </a:t>
                </a:r>
                <a:r>
                  <a:rPr kumimoji="0" lang="en-US" sz="1400" b="0" i="0" u="none" strike="noStrike" kern="1200" cap="none" spc="0" normalizeH="0" baseline="0" noProof="0" dirty="0" err="1">
                    <a:ln>
                      <a:noFill/>
                    </a:ln>
                    <a:solidFill>
                      <a:srgbClr val="000000">
                        <a:lumMod val="65000"/>
                        <a:lumOff val="35000"/>
                      </a:srgbClr>
                    </a:solidFill>
                    <a:effectLst/>
                    <a:uLnTx/>
                    <a:uFillTx/>
                    <a:latin typeface="等线 Light" panose="020F0302020204030204"/>
                    <a:ea typeface="+mn-ea"/>
                    <a:cs typeface="+mn-cs"/>
                  </a:rPr>
                  <a:t>adipiscing</a:t>
                </a:r>
                <a:r>
                  <a:rPr kumimoji="0" lang="en-US" sz="1400" b="0" i="0" u="none" strike="noStrike" kern="1200" cap="none" spc="0" normalizeH="0" baseline="0" noProof="0" dirty="0">
                    <a:ln>
                      <a:noFill/>
                    </a:ln>
                    <a:solidFill>
                      <a:srgbClr val="000000">
                        <a:lumMod val="65000"/>
                        <a:lumOff val="35000"/>
                      </a:srgbClr>
                    </a:solidFill>
                    <a:effectLst/>
                    <a:uLnTx/>
                    <a:uFillTx/>
                    <a:latin typeface="等线 Light" panose="020F0302020204030204"/>
                    <a:ea typeface="+mn-ea"/>
                    <a:cs typeface="+mn-cs"/>
                  </a:rPr>
                  <a:t> </a:t>
                </a:r>
                <a:r>
                  <a:rPr kumimoji="0" lang="en-US" sz="1400" b="0" i="0" u="none" strike="noStrike" kern="1200" cap="none" spc="0" normalizeH="0" baseline="0" noProof="0" dirty="0" err="1">
                    <a:ln>
                      <a:noFill/>
                    </a:ln>
                    <a:solidFill>
                      <a:srgbClr val="000000">
                        <a:lumMod val="65000"/>
                        <a:lumOff val="35000"/>
                      </a:srgbClr>
                    </a:solidFill>
                    <a:effectLst/>
                    <a:uLnTx/>
                    <a:uFillTx/>
                    <a:latin typeface="等线 Light" panose="020F0302020204030204"/>
                    <a:ea typeface="+mn-ea"/>
                    <a:cs typeface="+mn-cs"/>
                  </a:rPr>
                  <a:t>elit</a:t>
                </a:r>
                <a:r>
                  <a:rPr kumimoji="0" lang="en-US" sz="1400" b="0" i="0" u="none" strike="noStrike" kern="1200" cap="none" spc="0" normalizeH="0" baseline="0" noProof="0" dirty="0">
                    <a:ln>
                      <a:noFill/>
                    </a:ln>
                    <a:solidFill>
                      <a:srgbClr val="000000">
                        <a:lumMod val="65000"/>
                        <a:lumOff val="35000"/>
                      </a:srgbClr>
                    </a:solidFill>
                    <a:effectLst/>
                    <a:uLnTx/>
                    <a:uFillTx/>
                    <a:latin typeface="等线 Light" panose="020F0302020204030204"/>
                    <a:ea typeface="+mn-ea"/>
                    <a:cs typeface="+mn-cs"/>
                  </a:rPr>
                  <a:t>, </a:t>
                </a:r>
              </a:p>
            </p:txBody>
          </p:sp>
          <p:sp>
            <p:nvSpPr>
              <p:cNvPr id="17" name="Rectangle 110">
                <a:extLst>
                  <a:ext uri="{FF2B5EF4-FFF2-40B4-BE49-F238E27FC236}">
                    <a16:creationId xmlns:a16="http://schemas.microsoft.com/office/drawing/2014/main" id="{ECD91F82-D47B-476B-9E31-DD7636EDA87E}"/>
                  </a:ext>
                </a:extLst>
              </p:cNvPr>
              <p:cNvSpPr/>
              <p:nvPr/>
            </p:nvSpPr>
            <p:spPr>
              <a:xfrm>
                <a:off x="-10849448" y="2646466"/>
                <a:ext cx="2030867" cy="525468"/>
              </a:xfrm>
              <a:prstGeom prst="rect">
                <a:avLst/>
              </a:prstGeom>
              <a:solidFill>
                <a:schemeClr val="accent5"/>
              </a:solidFill>
              <a:ln>
                <a:noFill/>
              </a:ln>
              <a:effectLst>
                <a:outerShdw blurRad="292100" dist="50800" dir="11160000" algn="ctr" rotWithShape="0">
                  <a:srgbClr val="000000">
                    <a:alpha val="13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等线" panose="020F0502020204030204"/>
                  <a:ea typeface="+mn-ea"/>
                  <a:cs typeface="+mn-cs"/>
                </a:endParaRPr>
              </a:p>
            </p:txBody>
          </p:sp>
          <p:sp>
            <p:nvSpPr>
              <p:cNvPr id="18" name="TextBox 111">
                <a:extLst>
                  <a:ext uri="{FF2B5EF4-FFF2-40B4-BE49-F238E27FC236}">
                    <a16:creationId xmlns:a16="http://schemas.microsoft.com/office/drawing/2014/main" id="{3AF24AC0-F62E-47D1-AB62-F9990E31E681}"/>
                  </a:ext>
                </a:extLst>
              </p:cNvPr>
              <p:cNvSpPr txBox="1"/>
              <p:nvPr/>
            </p:nvSpPr>
            <p:spPr>
              <a:xfrm>
                <a:off x="-10368326" y="2684760"/>
                <a:ext cx="1261034" cy="404983"/>
              </a:xfrm>
              <a:prstGeom prst="rect">
                <a:avLst/>
              </a:prstGeom>
              <a:noFill/>
            </p:spPr>
            <p:txBody>
              <a:bodyPr wrap="square" rtlCol="0">
                <a:spAutoFit/>
              </a:bodyPr>
              <a:lstStyle/>
              <a:p>
                <a:pPr marL="0" marR="0" lvl="0" indent="0" algn="l" defTabSz="914400" rtl="0" eaLnBrk="1" fontAlgn="auto" latinLnBrk="0" hangingPunct="1">
                  <a:lnSpc>
                    <a:spcPct val="14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等线" panose="020F0502020204030204"/>
                    <a:ea typeface="+mn-ea"/>
                    <a:cs typeface="+mn-cs"/>
                  </a:rPr>
                  <a:t>Options Five</a:t>
                </a:r>
              </a:p>
            </p:txBody>
          </p:sp>
          <p:grpSp>
            <p:nvGrpSpPr>
              <p:cNvPr id="19" name="Graphic 2">
                <a:extLst>
                  <a:ext uri="{FF2B5EF4-FFF2-40B4-BE49-F238E27FC236}">
                    <a16:creationId xmlns:a16="http://schemas.microsoft.com/office/drawing/2014/main" id="{F529D208-199E-4819-A73F-9167923D0792}"/>
                  </a:ext>
                </a:extLst>
              </p:cNvPr>
              <p:cNvGrpSpPr/>
              <p:nvPr/>
            </p:nvGrpSpPr>
            <p:grpSpPr>
              <a:xfrm>
                <a:off x="-10627163" y="2821760"/>
                <a:ext cx="224482" cy="206505"/>
                <a:chOff x="9803562" y="1740892"/>
                <a:chExt cx="419725" cy="386114"/>
              </a:xfrm>
              <a:solidFill>
                <a:schemeClr val="bg1"/>
              </a:solidFill>
            </p:grpSpPr>
            <p:sp>
              <p:nvSpPr>
                <p:cNvPr id="20" name="Freeform: Shape 113">
                  <a:extLst>
                    <a:ext uri="{FF2B5EF4-FFF2-40B4-BE49-F238E27FC236}">
                      <a16:creationId xmlns:a16="http://schemas.microsoft.com/office/drawing/2014/main" id="{FD62EC88-D4F9-4BAE-AE44-575101C6FC15}"/>
                    </a:ext>
                  </a:extLst>
                </p:cNvPr>
                <p:cNvSpPr/>
                <p:nvPr/>
              </p:nvSpPr>
              <p:spPr>
                <a:xfrm>
                  <a:off x="9901181" y="1823910"/>
                  <a:ext cx="26233" cy="26233"/>
                </a:xfrm>
                <a:custGeom>
                  <a:avLst/>
                  <a:gdLst>
                    <a:gd name="connsiteX0" fmla="*/ 13461 w 26232"/>
                    <a:gd name="connsiteY0" fmla="*/ 26913 h 26232"/>
                    <a:gd name="connsiteX1" fmla="*/ 26921 w 26232"/>
                    <a:gd name="connsiteY1" fmla="*/ 13453 h 26232"/>
                    <a:gd name="connsiteX2" fmla="*/ 13461 w 26232"/>
                    <a:gd name="connsiteY2" fmla="*/ 0 h 26232"/>
                    <a:gd name="connsiteX3" fmla="*/ 0 w 26232"/>
                    <a:gd name="connsiteY3" fmla="*/ 13453 h 26232"/>
                    <a:gd name="connsiteX4" fmla="*/ 13461 w 26232"/>
                    <a:gd name="connsiteY4" fmla="*/ 26913 h 262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32" h="26232">
                      <a:moveTo>
                        <a:pt x="13461" y="26913"/>
                      </a:moveTo>
                      <a:cubicBezTo>
                        <a:pt x="20880" y="26913"/>
                        <a:pt x="26921" y="20880"/>
                        <a:pt x="26921" y="13453"/>
                      </a:cubicBezTo>
                      <a:cubicBezTo>
                        <a:pt x="26921" y="6034"/>
                        <a:pt x="20880" y="0"/>
                        <a:pt x="13461" y="0"/>
                      </a:cubicBezTo>
                      <a:cubicBezTo>
                        <a:pt x="6042" y="0"/>
                        <a:pt x="0" y="6034"/>
                        <a:pt x="0" y="13453"/>
                      </a:cubicBezTo>
                      <a:cubicBezTo>
                        <a:pt x="0" y="20880"/>
                        <a:pt x="6042" y="26913"/>
                        <a:pt x="13461" y="26913"/>
                      </a:cubicBezTo>
                      <a:close/>
                    </a:path>
                  </a:pathLst>
                </a:custGeom>
                <a:grpFill/>
                <a:ln w="81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1" name="Freeform: Shape 114">
                  <a:extLst>
                    <a:ext uri="{FF2B5EF4-FFF2-40B4-BE49-F238E27FC236}">
                      <a16:creationId xmlns:a16="http://schemas.microsoft.com/office/drawing/2014/main" id="{26379387-6A11-4328-916D-06C47022A8BA}"/>
                    </a:ext>
                  </a:extLst>
                </p:cNvPr>
                <p:cNvSpPr/>
                <p:nvPr/>
              </p:nvSpPr>
              <p:spPr>
                <a:xfrm>
                  <a:off x="9883252" y="1875417"/>
                  <a:ext cx="62303" cy="28692"/>
                </a:xfrm>
                <a:custGeom>
                  <a:avLst/>
                  <a:gdLst>
                    <a:gd name="connsiteX0" fmla="*/ 31389 w 62302"/>
                    <a:gd name="connsiteY0" fmla="*/ 0 h 28692"/>
                    <a:gd name="connsiteX1" fmla="*/ 0 w 62302"/>
                    <a:gd name="connsiteY1" fmla="*/ 28774 h 28692"/>
                    <a:gd name="connsiteX2" fmla="*/ 62778 w 62302"/>
                    <a:gd name="connsiteY2" fmla="*/ 28774 h 28692"/>
                    <a:gd name="connsiteX3" fmla="*/ 31389 w 62302"/>
                    <a:gd name="connsiteY3" fmla="*/ 0 h 28692"/>
                  </a:gdLst>
                  <a:ahLst/>
                  <a:cxnLst>
                    <a:cxn ang="0">
                      <a:pos x="connsiteX0" y="connsiteY0"/>
                    </a:cxn>
                    <a:cxn ang="0">
                      <a:pos x="connsiteX1" y="connsiteY1"/>
                    </a:cxn>
                    <a:cxn ang="0">
                      <a:pos x="connsiteX2" y="connsiteY2"/>
                    </a:cxn>
                    <a:cxn ang="0">
                      <a:pos x="connsiteX3" y="connsiteY3"/>
                    </a:cxn>
                  </a:cxnLst>
                  <a:rect l="l" t="t" r="r" b="b"/>
                  <a:pathLst>
                    <a:path w="62302" h="28692">
                      <a:moveTo>
                        <a:pt x="31389" y="0"/>
                      </a:moveTo>
                      <a:cubicBezTo>
                        <a:pt x="14936" y="0"/>
                        <a:pt x="1394" y="12674"/>
                        <a:pt x="0" y="28774"/>
                      </a:cubicBezTo>
                      <a:lnTo>
                        <a:pt x="62778" y="28774"/>
                      </a:lnTo>
                      <a:cubicBezTo>
                        <a:pt x="61385" y="12674"/>
                        <a:pt x="47842" y="0"/>
                        <a:pt x="31389" y="0"/>
                      </a:cubicBezTo>
                      <a:close/>
                    </a:path>
                  </a:pathLst>
                </a:custGeom>
                <a:grpFill/>
                <a:ln w="81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2" name="Freeform: Shape 115">
                  <a:extLst>
                    <a:ext uri="{FF2B5EF4-FFF2-40B4-BE49-F238E27FC236}">
                      <a16:creationId xmlns:a16="http://schemas.microsoft.com/office/drawing/2014/main" id="{65FEC391-4DBC-47B1-8148-608024675B24}"/>
                    </a:ext>
                  </a:extLst>
                </p:cNvPr>
                <p:cNvSpPr/>
                <p:nvPr/>
              </p:nvSpPr>
              <p:spPr>
                <a:xfrm>
                  <a:off x="9803562" y="1740892"/>
                  <a:ext cx="419725" cy="220520"/>
                </a:xfrm>
                <a:custGeom>
                  <a:avLst/>
                  <a:gdLst>
                    <a:gd name="connsiteX0" fmla="*/ 407428 w 419725"/>
                    <a:gd name="connsiteY0" fmla="*/ 0 h 220519"/>
                    <a:gd name="connsiteX1" fmla="*/ 12297 w 419725"/>
                    <a:gd name="connsiteY1" fmla="*/ 0 h 220519"/>
                    <a:gd name="connsiteX2" fmla="*/ 0 w 419725"/>
                    <a:gd name="connsiteY2" fmla="*/ 12297 h 220519"/>
                    <a:gd name="connsiteX3" fmla="*/ 0 w 419725"/>
                    <a:gd name="connsiteY3" fmla="*/ 220938 h 220519"/>
                    <a:gd name="connsiteX4" fmla="*/ 419725 w 419725"/>
                    <a:gd name="connsiteY4" fmla="*/ 220938 h 220519"/>
                    <a:gd name="connsiteX5" fmla="*/ 419725 w 419725"/>
                    <a:gd name="connsiteY5" fmla="*/ 12297 h 220519"/>
                    <a:gd name="connsiteX6" fmla="*/ 407428 w 419725"/>
                    <a:gd name="connsiteY6" fmla="*/ 0 h 220519"/>
                    <a:gd name="connsiteX7" fmla="*/ 167177 w 419725"/>
                    <a:gd name="connsiteY7" fmla="*/ 175596 h 220519"/>
                    <a:gd name="connsiteX8" fmla="*/ 154880 w 419725"/>
                    <a:gd name="connsiteY8" fmla="*/ 187893 h 220519"/>
                    <a:gd name="connsiteX9" fmla="*/ 67279 w 419725"/>
                    <a:gd name="connsiteY9" fmla="*/ 187893 h 220519"/>
                    <a:gd name="connsiteX10" fmla="*/ 54982 w 419725"/>
                    <a:gd name="connsiteY10" fmla="*/ 175596 h 220519"/>
                    <a:gd name="connsiteX11" fmla="*/ 54982 w 419725"/>
                    <a:gd name="connsiteY11" fmla="*/ 166029 h 220519"/>
                    <a:gd name="connsiteX12" fmla="*/ 80469 w 419725"/>
                    <a:gd name="connsiteY12" fmla="*/ 119056 h 220519"/>
                    <a:gd name="connsiteX13" fmla="*/ 73026 w 419725"/>
                    <a:gd name="connsiteY13" fmla="*/ 96471 h 220519"/>
                    <a:gd name="connsiteX14" fmla="*/ 111080 w 419725"/>
                    <a:gd name="connsiteY14" fmla="*/ 58425 h 220519"/>
                    <a:gd name="connsiteX15" fmla="*/ 149134 w 419725"/>
                    <a:gd name="connsiteY15" fmla="*/ 96471 h 220519"/>
                    <a:gd name="connsiteX16" fmla="*/ 141690 w 419725"/>
                    <a:gd name="connsiteY16" fmla="*/ 119056 h 220519"/>
                    <a:gd name="connsiteX17" fmla="*/ 167177 w 419725"/>
                    <a:gd name="connsiteY17" fmla="*/ 166029 h 220519"/>
                    <a:gd name="connsiteX18" fmla="*/ 358242 w 419725"/>
                    <a:gd name="connsiteY18" fmla="*/ 183302 h 220519"/>
                    <a:gd name="connsiteX19" fmla="*/ 247474 w 419725"/>
                    <a:gd name="connsiteY19" fmla="*/ 183302 h 220519"/>
                    <a:gd name="connsiteX20" fmla="*/ 235177 w 419725"/>
                    <a:gd name="connsiteY20" fmla="*/ 171005 h 220519"/>
                    <a:gd name="connsiteX21" fmla="*/ 247474 w 419725"/>
                    <a:gd name="connsiteY21" fmla="*/ 158709 h 220519"/>
                    <a:gd name="connsiteX22" fmla="*/ 358242 w 419725"/>
                    <a:gd name="connsiteY22" fmla="*/ 158709 h 220519"/>
                    <a:gd name="connsiteX23" fmla="*/ 370538 w 419725"/>
                    <a:gd name="connsiteY23" fmla="*/ 171005 h 220519"/>
                    <a:gd name="connsiteX24" fmla="*/ 358242 w 419725"/>
                    <a:gd name="connsiteY24" fmla="*/ 183302 h 220519"/>
                    <a:gd name="connsiteX25" fmla="*/ 358242 w 419725"/>
                    <a:gd name="connsiteY25" fmla="*/ 134115 h 220519"/>
                    <a:gd name="connsiteX26" fmla="*/ 247474 w 419725"/>
                    <a:gd name="connsiteY26" fmla="*/ 134115 h 220519"/>
                    <a:gd name="connsiteX27" fmla="*/ 235177 w 419725"/>
                    <a:gd name="connsiteY27" fmla="*/ 121819 h 220519"/>
                    <a:gd name="connsiteX28" fmla="*/ 247474 w 419725"/>
                    <a:gd name="connsiteY28" fmla="*/ 109522 h 220519"/>
                    <a:gd name="connsiteX29" fmla="*/ 358242 w 419725"/>
                    <a:gd name="connsiteY29" fmla="*/ 109522 h 220519"/>
                    <a:gd name="connsiteX30" fmla="*/ 370538 w 419725"/>
                    <a:gd name="connsiteY30" fmla="*/ 121819 h 220519"/>
                    <a:gd name="connsiteX31" fmla="*/ 358242 w 419725"/>
                    <a:gd name="connsiteY31" fmla="*/ 134115 h 220519"/>
                    <a:gd name="connsiteX32" fmla="*/ 358242 w 419725"/>
                    <a:gd name="connsiteY32" fmla="*/ 84929 h 220519"/>
                    <a:gd name="connsiteX33" fmla="*/ 247474 w 419725"/>
                    <a:gd name="connsiteY33" fmla="*/ 84929 h 220519"/>
                    <a:gd name="connsiteX34" fmla="*/ 235177 w 419725"/>
                    <a:gd name="connsiteY34" fmla="*/ 72632 h 220519"/>
                    <a:gd name="connsiteX35" fmla="*/ 247474 w 419725"/>
                    <a:gd name="connsiteY35" fmla="*/ 60335 h 220519"/>
                    <a:gd name="connsiteX36" fmla="*/ 358242 w 419725"/>
                    <a:gd name="connsiteY36" fmla="*/ 60335 h 220519"/>
                    <a:gd name="connsiteX37" fmla="*/ 370538 w 419725"/>
                    <a:gd name="connsiteY37" fmla="*/ 72632 h 220519"/>
                    <a:gd name="connsiteX38" fmla="*/ 358242 w 419725"/>
                    <a:gd name="connsiteY38" fmla="*/ 84929 h 2205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19725" h="220519">
                      <a:moveTo>
                        <a:pt x="407428" y="0"/>
                      </a:moveTo>
                      <a:lnTo>
                        <a:pt x="12297" y="0"/>
                      </a:lnTo>
                      <a:cubicBezTo>
                        <a:pt x="5509" y="0"/>
                        <a:pt x="0" y="5509"/>
                        <a:pt x="0" y="12297"/>
                      </a:cubicBezTo>
                      <a:lnTo>
                        <a:pt x="0" y="220938"/>
                      </a:lnTo>
                      <a:lnTo>
                        <a:pt x="419725" y="220938"/>
                      </a:lnTo>
                      <a:lnTo>
                        <a:pt x="419725" y="12297"/>
                      </a:lnTo>
                      <a:cubicBezTo>
                        <a:pt x="419725" y="5509"/>
                        <a:pt x="414216" y="0"/>
                        <a:pt x="407428" y="0"/>
                      </a:cubicBezTo>
                      <a:close/>
                      <a:moveTo>
                        <a:pt x="167177" y="175596"/>
                      </a:moveTo>
                      <a:cubicBezTo>
                        <a:pt x="167177" y="182384"/>
                        <a:pt x="161676" y="187893"/>
                        <a:pt x="154880" y="187893"/>
                      </a:cubicBezTo>
                      <a:lnTo>
                        <a:pt x="67279" y="187893"/>
                      </a:lnTo>
                      <a:cubicBezTo>
                        <a:pt x="60483" y="187893"/>
                        <a:pt x="54982" y="182384"/>
                        <a:pt x="54982" y="175596"/>
                      </a:cubicBezTo>
                      <a:lnTo>
                        <a:pt x="54982" y="166029"/>
                      </a:lnTo>
                      <a:cubicBezTo>
                        <a:pt x="54982" y="146387"/>
                        <a:pt x="65131" y="129065"/>
                        <a:pt x="80469" y="119056"/>
                      </a:cubicBezTo>
                      <a:cubicBezTo>
                        <a:pt x="75796" y="112736"/>
                        <a:pt x="73026" y="104923"/>
                        <a:pt x="73026" y="96471"/>
                      </a:cubicBezTo>
                      <a:cubicBezTo>
                        <a:pt x="73026" y="75493"/>
                        <a:pt x="90102" y="58425"/>
                        <a:pt x="111080" y="58425"/>
                      </a:cubicBezTo>
                      <a:cubicBezTo>
                        <a:pt x="132058" y="58425"/>
                        <a:pt x="149134" y="75493"/>
                        <a:pt x="149134" y="96471"/>
                      </a:cubicBezTo>
                      <a:cubicBezTo>
                        <a:pt x="149134" y="104923"/>
                        <a:pt x="146363" y="112736"/>
                        <a:pt x="141690" y="119056"/>
                      </a:cubicBezTo>
                      <a:cubicBezTo>
                        <a:pt x="157028" y="129065"/>
                        <a:pt x="167177" y="146387"/>
                        <a:pt x="167177" y="166029"/>
                      </a:cubicBezTo>
                      <a:close/>
                      <a:moveTo>
                        <a:pt x="358242" y="183302"/>
                      </a:moveTo>
                      <a:lnTo>
                        <a:pt x="247474" y="183302"/>
                      </a:lnTo>
                      <a:cubicBezTo>
                        <a:pt x="240678" y="183302"/>
                        <a:pt x="235177" y="177793"/>
                        <a:pt x="235177" y="171005"/>
                      </a:cubicBezTo>
                      <a:cubicBezTo>
                        <a:pt x="235177" y="164209"/>
                        <a:pt x="240678" y="158709"/>
                        <a:pt x="247474" y="158709"/>
                      </a:cubicBezTo>
                      <a:lnTo>
                        <a:pt x="358242" y="158709"/>
                      </a:lnTo>
                      <a:cubicBezTo>
                        <a:pt x="365030" y="158709"/>
                        <a:pt x="370538" y="164209"/>
                        <a:pt x="370538" y="171005"/>
                      </a:cubicBezTo>
                      <a:cubicBezTo>
                        <a:pt x="370538" y="177793"/>
                        <a:pt x="365030" y="183302"/>
                        <a:pt x="358242" y="183302"/>
                      </a:cubicBezTo>
                      <a:close/>
                      <a:moveTo>
                        <a:pt x="358242" y="134115"/>
                      </a:moveTo>
                      <a:lnTo>
                        <a:pt x="247474" y="134115"/>
                      </a:lnTo>
                      <a:cubicBezTo>
                        <a:pt x="240678" y="134115"/>
                        <a:pt x="235177" y="128606"/>
                        <a:pt x="235177" y="121819"/>
                      </a:cubicBezTo>
                      <a:cubicBezTo>
                        <a:pt x="235177" y="115023"/>
                        <a:pt x="240678" y="109522"/>
                        <a:pt x="247474" y="109522"/>
                      </a:cubicBezTo>
                      <a:lnTo>
                        <a:pt x="358242" y="109522"/>
                      </a:lnTo>
                      <a:cubicBezTo>
                        <a:pt x="365030" y="109522"/>
                        <a:pt x="370538" y="115023"/>
                        <a:pt x="370538" y="121819"/>
                      </a:cubicBezTo>
                      <a:cubicBezTo>
                        <a:pt x="370538" y="128606"/>
                        <a:pt x="365030" y="134115"/>
                        <a:pt x="358242" y="134115"/>
                      </a:cubicBezTo>
                      <a:close/>
                      <a:moveTo>
                        <a:pt x="358242" y="84929"/>
                      </a:moveTo>
                      <a:lnTo>
                        <a:pt x="247474" y="84929"/>
                      </a:lnTo>
                      <a:cubicBezTo>
                        <a:pt x="240678" y="84929"/>
                        <a:pt x="235177" y="79420"/>
                        <a:pt x="235177" y="72632"/>
                      </a:cubicBezTo>
                      <a:cubicBezTo>
                        <a:pt x="235177" y="65836"/>
                        <a:pt x="240678" y="60335"/>
                        <a:pt x="247474" y="60335"/>
                      </a:cubicBezTo>
                      <a:lnTo>
                        <a:pt x="358242" y="60335"/>
                      </a:lnTo>
                      <a:cubicBezTo>
                        <a:pt x="365030" y="60335"/>
                        <a:pt x="370538" y="65836"/>
                        <a:pt x="370538" y="72632"/>
                      </a:cubicBezTo>
                      <a:cubicBezTo>
                        <a:pt x="370538" y="79420"/>
                        <a:pt x="365030" y="84929"/>
                        <a:pt x="358242" y="84929"/>
                      </a:cubicBezTo>
                      <a:close/>
                    </a:path>
                  </a:pathLst>
                </a:custGeom>
                <a:grpFill/>
                <a:ln w="81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3" name="Freeform: Shape 116">
                  <a:extLst>
                    <a:ext uri="{FF2B5EF4-FFF2-40B4-BE49-F238E27FC236}">
                      <a16:creationId xmlns:a16="http://schemas.microsoft.com/office/drawing/2014/main" id="{EDB8FDC2-25D4-4CB5-9EB4-198C373D2C86}"/>
                    </a:ext>
                  </a:extLst>
                </p:cNvPr>
                <p:cNvSpPr/>
                <p:nvPr/>
              </p:nvSpPr>
              <p:spPr>
                <a:xfrm>
                  <a:off x="9803562" y="1986423"/>
                  <a:ext cx="419725" cy="141001"/>
                </a:xfrm>
                <a:custGeom>
                  <a:avLst/>
                  <a:gdLst>
                    <a:gd name="connsiteX0" fmla="*/ 0 w 419725"/>
                    <a:gd name="connsiteY0" fmla="*/ 30717 h 141001"/>
                    <a:gd name="connsiteX1" fmla="*/ 12297 w 419725"/>
                    <a:gd name="connsiteY1" fmla="*/ 43014 h 141001"/>
                    <a:gd name="connsiteX2" fmla="*/ 180019 w 419725"/>
                    <a:gd name="connsiteY2" fmla="*/ 43014 h 141001"/>
                    <a:gd name="connsiteX3" fmla="*/ 180019 w 419725"/>
                    <a:gd name="connsiteY3" fmla="*/ 92200 h 141001"/>
                    <a:gd name="connsiteX4" fmla="*/ 156331 w 419725"/>
                    <a:gd name="connsiteY4" fmla="*/ 92200 h 141001"/>
                    <a:gd name="connsiteX5" fmla="*/ 115039 w 419725"/>
                    <a:gd name="connsiteY5" fmla="*/ 133500 h 141001"/>
                    <a:gd name="connsiteX6" fmla="*/ 117351 w 419725"/>
                    <a:gd name="connsiteY6" fmla="*/ 139075 h 141001"/>
                    <a:gd name="connsiteX7" fmla="*/ 122925 w 419725"/>
                    <a:gd name="connsiteY7" fmla="*/ 141387 h 141001"/>
                    <a:gd name="connsiteX8" fmla="*/ 296800 w 419725"/>
                    <a:gd name="connsiteY8" fmla="*/ 141387 h 141001"/>
                    <a:gd name="connsiteX9" fmla="*/ 304686 w 419725"/>
                    <a:gd name="connsiteY9" fmla="*/ 133500 h 141001"/>
                    <a:gd name="connsiteX10" fmla="*/ 292594 w 419725"/>
                    <a:gd name="connsiteY10" fmla="*/ 104292 h 141001"/>
                    <a:gd name="connsiteX11" fmla="*/ 263394 w 419725"/>
                    <a:gd name="connsiteY11" fmla="*/ 92200 h 141001"/>
                    <a:gd name="connsiteX12" fmla="*/ 239706 w 419725"/>
                    <a:gd name="connsiteY12" fmla="*/ 92200 h 141001"/>
                    <a:gd name="connsiteX13" fmla="*/ 239706 w 419725"/>
                    <a:gd name="connsiteY13" fmla="*/ 43014 h 141001"/>
                    <a:gd name="connsiteX14" fmla="*/ 407428 w 419725"/>
                    <a:gd name="connsiteY14" fmla="*/ 43014 h 141001"/>
                    <a:gd name="connsiteX15" fmla="*/ 419725 w 419725"/>
                    <a:gd name="connsiteY15" fmla="*/ 30717 h 141001"/>
                    <a:gd name="connsiteX16" fmla="*/ 419725 w 419725"/>
                    <a:gd name="connsiteY16" fmla="*/ 0 h 141001"/>
                    <a:gd name="connsiteX17" fmla="*/ 0 w 419725"/>
                    <a:gd name="connsiteY17" fmla="*/ 0 h 141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19725" h="141001">
                      <a:moveTo>
                        <a:pt x="0" y="30717"/>
                      </a:moveTo>
                      <a:cubicBezTo>
                        <a:pt x="0" y="37505"/>
                        <a:pt x="5509" y="43014"/>
                        <a:pt x="12297" y="43014"/>
                      </a:cubicBezTo>
                      <a:lnTo>
                        <a:pt x="180019" y="43014"/>
                      </a:lnTo>
                      <a:lnTo>
                        <a:pt x="180019" y="92200"/>
                      </a:lnTo>
                      <a:lnTo>
                        <a:pt x="156331" y="92200"/>
                      </a:lnTo>
                      <a:cubicBezTo>
                        <a:pt x="133525" y="92200"/>
                        <a:pt x="115039" y="110686"/>
                        <a:pt x="115039" y="133500"/>
                      </a:cubicBezTo>
                      <a:cubicBezTo>
                        <a:pt x="115039" y="135681"/>
                        <a:pt x="115924" y="137648"/>
                        <a:pt x="117351" y="139075"/>
                      </a:cubicBezTo>
                      <a:cubicBezTo>
                        <a:pt x="118777" y="140501"/>
                        <a:pt x="120753" y="141387"/>
                        <a:pt x="122925" y="141387"/>
                      </a:cubicBezTo>
                      <a:lnTo>
                        <a:pt x="296800" y="141387"/>
                      </a:lnTo>
                      <a:cubicBezTo>
                        <a:pt x="301153" y="141387"/>
                        <a:pt x="304686" y="137853"/>
                        <a:pt x="304686" y="133500"/>
                      </a:cubicBezTo>
                      <a:cubicBezTo>
                        <a:pt x="304686" y="122089"/>
                        <a:pt x="300062" y="111768"/>
                        <a:pt x="292594" y="104292"/>
                      </a:cubicBezTo>
                      <a:cubicBezTo>
                        <a:pt x="285118" y="96824"/>
                        <a:pt x="274797" y="92200"/>
                        <a:pt x="263394" y="92200"/>
                      </a:cubicBezTo>
                      <a:lnTo>
                        <a:pt x="239706" y="92200"/>
                      </a:lnTo>
                      <a:lnTo>
                        <a:pt x="239706" y="43014"/>
                      </a:lnTo>
                      <a:lnTo>
                        <a:pt x="407428" y="43014"/>
                      </a:lnTo>
                      <a:cubicBezTo>
                        <a:pt x="414216" y="43014"/>
                        <a:pt x="419725" y="37505"/>
                        <a:pt x="419725" y="30717"/>
                      </a:cubicBezTo>
                      <a:lnTo>
                        <a:pt x="419725" y="0"/>
                      </a:lnTo>
                      <a:lnTo>
                        <a:pt x="0" y="0"/>
                      </a:lnTo>
                      <a:close/>
                    </a:path>
                  </a:pathLst>
                </a:custGeom>
                <a:grpFill/>
                <a:ln w="81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grpSp>
        <p:grpSp>
          <p:nvGrpSpPr>
            <p:cNvPr id="11" name="Group 98">
              <a:extLst>
                <a:ext uri="{FF2B5EF4-FFF2-40B4-BE49-F238E27FC236}">
                  <a16:creationId xmlns:a16="http://schemas.microsoft.com/office/drawing/2014/main" id="{8F8656A0-9619-46FA-9A72-866F78A22662}"/>
                </a:ext>
              </a:extLst>
            </p:cNvPr>
            <p:cNvGrpSpPr/>
            <p:nvPr/>
          </p:nvGrpSpPr>
          <p:grpSpPr>
            <a:xfrm>
              <a:off x="9150229" y="4767383"/>
              <a:ext cx="2355342" cy="1302873"/>
              <a:chOff x="-10937175" y="1138034"/>
              <a:chExt cx="2355342" cy="1302873"/>
            </a:xfrm>
          </p:grpSpPr>
          <p:sp>
            <p:nvSpPr>
              <p:cNvPr id="12" name="TextBox 105">
                <a:extLst>
                  <a:ext uri="{FF2B5EF4-FFF2-40B4-BE49-F238E27FC236}">
                    <a16:creationId xmlns:a16="http://schemas.microsoft.com/office/drawing/2014/main" id="{E0EC3D12-1AC5-41F5-A738-FDAB091C1727}"/>
                  </a:ext>
                </a:extLst>
              </p:cNvPr>
              <p:cNvSpPr txBox="1"/>
              <p:nvPr/>
            </p:nvSpPr>
            <p:spPr>
              <a:xfrm>
                <a:off x="-10937175" y="1773352"/>
                <a:ext cx="2355342" cy="667555"/>
              </a:xfrm>
              <a:prstGeom prst="rect">
                <a:avLst/>
              </a:prstGeom>
              <a:noFill/>
            </p:spPr>
            <p:txBody>
              <a:bodyPr wrap="square" rtlCol="0">
                <a:spAutoFit/>
              </a:bodyPr>
              <a:lstStyle/>
              <a:p>
                <a:pPr marL="0" marR="0" lvl="0" indent="0" algn="l" defTabSz="914400" rtl="0" eaLnBrk="1" fontAlgn="auto" latinLnBrk="0" hangingPunct="1">
                  <a:lnSpc>
                    <a:spcPct val="14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lumMod val="65000"/>
                        <a:lumOff val="35000"/>
                      </a:srgbClr>
                    </a:solidFill>
                    <a:effectLst/>
                    <a:uLnTx/>
                    <a:uFillTx/>
                    <a:latin typeface="等线 Light" panose="020F0302020204030204"/>
                    <a:ea typeface="+mn-ea"/>
                    <a:cs typeface="+mn-cs"/>
                  </a:rPr>
                  <a:t>Lorem ipsum dolor sit </a:t>
                </a:r>
                <a:r>
                  <a:rPr kumimoji="0" lang="en-US" sz="1400" b="0" i="0" u="none" strike="noStrike" kern="1200" cap="none" spc="0" normalizeH="0" baseline="0" noProof="0" dirty="0" err="1">
                    <a:ln>
                      <a:noFill/>
                    </a:ln>
                    <a:solidFill>
                      <a:srgbClr val="000000">
                        <a:lumMod val="65000"/>
                        <a:lumOff val="35000"/>
                      </a:srgbClr>
                    </a:solidFill>
                    <a:effectLst/>
                    <a:uLnTx/>
                    <a:uFillTx/>
                    <a:latin typeface="等线 Light" panose="020F0302020204030204"/>
                    <a:ea typeface="+mn-ea"/>
                    <a:cs typeface="+mn-cs"/>
                  </a:rPr>
                  <a:t>amet</a:t>
                </a:r>
                <a:r>
                  <a:rPr kumimoji="0" lang="en-US" sz="1400" b="0" i="0" u="none" strike="noStrike" kern="1200" cap="none" spc="0" normalizeH="0" baseline="0" noProof="0" dirty="0">
                    <a:ln>
                      <a:noFill/>
                    </a:ln>
                    <a:solidFill>
                      <a:srgbClr val="000000">
                        <a:lumMod val="65000"/>
                        <a:lumOff val="35000"/>
                      </a:srgbClr>
                    </a:solidFill>
                    <a:effectLst/>
                    <a:uLnTx/>
                    <a:uFillTx/>
                    <a:latin typeface="等线 Light" panose="020F0302020204030204"/>
                    <a:ea typeface="+mn-ea"/>
                    <a:cs typeface="+mn-cs"/>
                  </a:rPr>
                  <a:t>, </a:t>
                </a:r>
                <a:r>
                  <a:rPr kumimoji="0" lang="en-US" sz="1400" b="0" i="0" u="none" strike="noStrike" kern="1200" cap="none" spc="0" normalizeH="0" baseline="0" noProof="0" dirty="0" err="1">
                    <a:ln>
                      <a:noFill/>
                    </a:ln>
                    <a:solidFill>
                      <a:srgbClr val="000000">
                        <a:lumMod val="65000"/>
                        <a:lumOff val="35000"/>
                      </a:srgbClr>
                    </a:solidFill>
                    <a:effectLst/>
                    <a:uLnTx/>
                    <a:uFillTx/>
                    <a:latin typeface="等线 Light" panose="020F0302020204030204"/>
                    <a:ea typeface="+mn-ea"/>
                    <a:cs typeface="+mn-cs"/>
                  </a:rPr>
                  <a:t>consectetur</a:t>
                </a:r>
                <a:r>
                  <a:rPr kumimoji="0" lang="en-US" sz="1400" b="0" i="0" u="none" strike="noStrike" kern="1200" cap="none" spc="0" normalizeH="0" baseline="0" noProof="0" dirty="0">
                    <a:ln>
                      <a:noFill/>
                    </a:ln>
                    <a:solidFill>
                      <a:srgbClr val="000000">
                        <a:lumMod val="65000"/>
                        <a:lumOff val="35000"/>
                      </a:srgbClr>
                    </a:solidFill>
                    <a:effectLst/>
                    <a:uLnTx/>
                    <a:uFillTx/>
                    <a:latin typeface="等线 Light" panose="020F0302020204030204"/>
                    <a:ea typeface="+mn-ea"/>
                    <a:cs typeface="+mn-cs"/>
                  </a:rPr>
                  <a:t> </a:t>
                </a:r>
                <a:r>
                  <a:rPr kumimoji="0" lang="en-US" sz="1400" b="0" i="0" u="none" strike="noStrike" kern="1200" cap="none" spc="0" normalizeH="0" baseline="0" noProof="0" dirty="0" err="1">
                    <a:ln>
                      <a:noFill/>
                    </a:ln>
                    <a:solidFill>
                      <a:srgbClr val="000000">
                        <a:lumMod val="65000"/>
                        <a:lumOff val="35000"/>
                      </a:srgbClr>
                    </a:solidFill>
                    <a:effectLst/>
                    <a:uLnTx/>
                    <a:uFillTx/>
                    <a:latin typeface="等线 Light" panose="020F0302020204030204"/>
                    <a:ea typeface="+mn-ea"/>
                    <a:cs typeface="+mn-cs"/>
                  </a:rPr>
                  <a:t>adipiscing</a:t>
                </a:r>
                <a:r>
                  <a:rPr kumimoji="0" lang="en-US" sz="1400" b="0" i="0" u="none" strike="noStrike" kern="1200" cap="none" spc="0" normalizeH="0" baseline="0" noProof="0" dirty="0">
                    <a:ln>
                      <a:noFill/>
                    </a:ln>
                    <a:solidFill>
                      <a:srgbClr val="000000">
                        <a:lumMod val="65000"/>
                        <a:lumOff val="35000"/>
                      </a:srgbClr>
                    </a:solidFill>
                    <a:effectLst/>
                    <a:uLnTx/>
                    <a:uFillTx/>
                    <a:latin typeface="等线 Light" panose="020F0302020204030204"/>
                    <a:ea typeface="+mn-ea"/>
                    <a:cs typeface="+mn-cs"/>
                  </a:rPr>
                  <a:t> </a:t>
                </a:r>
                <a:r>
                  <a:rPr kumimoji="0" lang="en-US" sz="1400" b="0" i="0" u="none" strike="noStrike" kern="1200" cap="none" spc="0" normalizeH="0" baseline="0" noProof="0" dirty="0" err="1">
                    <a:ln>
                      <a:noFill/>
                    </a:ln>
                    <a:solidFill>
                      <a:srgbClr val="000000">
                        <a:lumMod val="65000"/>
                        <a:lumOff val="35000"/>
                      </a:srgbClr>
                    </a:solidFill>
                    <a:effectLst/>
                    <a:uLnTx/>
                    <a:uFillTx/>
                    <a:latin typeface="等线 Light" panose="020F0302020204030204"/>
                    <a:ea typeface="+mn-ea"/>
                    <a:cs typeface="+mn-cs"/>
                  </a:rPr>
                  <a:t>elit</a:t>
                </a:r>
                <a:r>
                  <a:rPr kumimoji="0" lang="en-US" sz="1400" b="0" i="0" u="none" strike="noStrike" kern="1200" cap="none" spc="0" normalizeH="0" baseline="0" noProof="0" dirty="0">
                    <a:ln>
                      <a:noFill/>
                    </a:ln>
                    <a:solidFill>
                      <a:srgbClr val="000000">
                        <a:lumMod val="65000"/>
                        <a:lumOff val="35000"/>
                      </a:srgbClr>
                    </a:solidFill>
                    <a:effectLst/>
                    <a:uLnTx/>
                    <a:uFillTx/>
                    <a:latin typeface="等线 Light" panose="020F0302020204030204"/>
                    <a:ea typeface="+mn-ea"/>
                    <a:cs typeface="+mn-cs"/>
                  </a:rPr>
                  <a:t>, </a:t>
                </a:r>
              </a:p>
            </p:txBody>
          </p:sp>
          <p:sp>
            <p:nvSpPr>
              <p:cNvPr id="13" name="Rectangle 106">
                <a:extLst>
                  <a:ext uri="{FF2B5EF4-FFF2-40B4-BE49-F238E27FC236}">
                    <a16:creationId xmlns:a16="http://schemas.microsoft.com/office/drawing/2014/main" id="{83083194-9EF1-4031-9BC9-5D3F16D1E9FA}"/>
                  </a:ext>
                </a:extLst>
              </p:cNvPr>
              <p:cNvSpPr/>
              <p:nvPr/>
            </p:nvSpPr>
            <p:spPr>
              <a:xfrm>
                <a:off x="-10849448" y="1138034"/>
                <a:ext cx="2030867" cy="525468"/>
              </a:xfrm>
              <a:prstGeom prst="rect">
                <a:avLst/>
              </a:prstGeom>
              <a:solidFill>
                <a:schemeClr val="accent6"/>
              </a:solidFill>
              <a:ln>
                <a:noFill/>
              </a:ln>
              <a:effectLst>
                <a:outerShdw blurRad="292100" dist="50800" dir="11160000" algn="ctr" rotWithShape="0">
                  <a:srgbClr val="000000">
                    <a:alpha val="13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等线" panose="020F0502020204030204"/>
                  <a:ea typeface="+mn-ea"/>
                  <a:cs typeface="+mn-cs"/>
                </a:endParaRPr>
              </a:p>
            </p:txBody>
          </p:sp>
          <p:sp>
            <p:nvSpPr>
              <p:cNvPr id="14" name="TextBox 107">
                <a:extLst>
                  <a:ext uri="{FF2B5EF4-FFF2-40B4-BE49-F238E27FC236}">
                    <a16:creationId xmlns:a16="http://schemas.microsoft.com/office/drawing/2014/main" id="{C315D06B-1FE4-4A93-A2C1-01457A697EDF}"/>
                  </a:ext>
                </a:extLst>
              </p:cNvPr>
              <p:cNvSpPr txBox="1"/>
              <p:nvPr/>
            </p:nvSpPr>
            <p:spPr>
              <a:xfrm>
                <a:off x="-10368326" y="1176328"/>
                <a:ext cx="1261034" cy="404983"/>
              </a:xfrm>
              <a:prstGeom prst="rect">
                <a:avLst/>
              </a:prstGeom>
              <a:noFill/>
            </p:spPr>
            <p:txBody>
              <a:bodyPr wrap="square" rtlCol="0">
                <a:spAutoFit/>
              </a:bodyPr>
              <a:lstStyle/>
              <a:p>
                <a:pPr marL="0" marR="0" lvl="0" indent="0" algn="l" defTabSz="914400" rtl="0" eaLnBrk="1" fontAlgn="auto" latinLnBrk="0" hangingPunct="1">
                  <a:lnSpc>
                    <a:spcPct val="14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等线" panose="020F0502020204030204"/>
                    <a:ea typeface="+mn-ea"/>
                    <a:cs typeface="+mn-cs"/>
                  </a:rPr>
                  <a:t>Options Six</a:t>
                </a:r>
              </a:p>
            </p:txBody>
          </p:sp>
          <p:sp>
            <p:nvSpPr>
              <p:cNvPr id="15" name="Graphic 14">
                <a:extLst>
                  <a:ext uri="{FF2B5EF4-FFF2-40B4-BE49-F238E27FC236}">
                    <a16:creationId xmlns:a16="http://schemas.microsoft.com/office/drawing/2014/main" id="{35F806D7-88AD-4815-B35F-BEC9D16A0DFD}"/>
                  </a:ext>
                </a:extLst>
              </p:cNvPr>
              <p:cNvSpPr/>
              <p:nvPr/>
            </p:nvSpPr>
            <p:spPr>
              <a:xfrm>
                <a:off x="-10636461" y="1316919"/>
                <a:ext cx="212058" cy="212058"/>
              </a:xfrm>
              <a:custGeom>
                <a:avLst/>
                <a:gdLst>
                  <a:gd name="connsiteX0" fmla="*/ 266895 w 419725"/>
                  <a:gd name="connsiteY0" fmla="*/ 0 h 419725"/>
                  <a:gd name="connsiteX1" fmla="*/ 114065 w 419725"/>
                  <a:gd name="connsiteY1" fmla="*/ 152823 h 419725"/>
                  <a:gd name="connsiteX2" fmla="*/ 150487 w 419725"/>
                  <a:gd name="connsiteY2" fmla="*/ 251851 h 419725"/>
                  <a:gd name="connsiteX3" fmla="*/ 126369 w 419725"/>
                  <a:gd name="connsiteY3" fmla="*/ 275977 h 419725"/>
                  <a:gd name="connsiteX4" fmla="*/ 117672 w 419725"/>
                  <a:gd name="connsiteY4" fmla="*/ 267271 h 419725"/>
                  <a:gd name="connsiteX5" fmla="*/ 100284 w 419725"/>
                  <a:gd name="connsiteY5" fmla="*/ 267271 h 419725"/>
                  <a:gd name="connsiteX6" fmla="*/ 3600 w 419725"/>
                  <a:gd name="connsiteY6" fmla="*/ 363956 h 419725"/>
                  <a:gd name="connsiteX7" fmla="*/ 3600 w 419725"/>
                  <a:gd name="connsiteY7" fmla="*/ 381343 h 419725"/>
                  <a:gd name="connsiteX8" fmla="*/ 38383 w 419725"/>
                  <a:gd name="connsiteY8" fmla="*/ 416126 h 419725"/>
                  <a:gd name="connsiteX9" fmla="*/ 55770 w 419725"/>
                  <a:gd name="connsiteY9" fmla="*/ 416126 h 419725"/>
                  <a:gd name="connsiteX10" fmla="*/ 152446 w 419725"/>
                  <a:gd name="connsiteY10" fmla="*/ 319442 h 419725"/>
                  <a:gd name="connsiteX11" fmla="*/ 152446 w 419725"/>
                  <a:gd name="connsiteY11" fmla="*/ 302054 h 419725"/>
                  <a:gd name="connsiteX12" fmla="*/ 143757 w 419725"/>
                  <a:gd name="connsiteY12" fmla="*/ 293365 h 419725"/>
                  <a:gd name="connsiteX13" fmla="*/ 167875 w 419725"/>
                  <a:gd name="connsiteY13" fmla="*/ 269239 h 419725"/>
                  <a:gd name="connsiteX14" fmla="*/ 266895 w 419725"/>
                  <a:gd name="connsiteY14" fmla="*/ 305661 h 419725"/>
                  <a:gd name="connsiteX15" fmla="*/ 419726 w 419725"/>
                  <a:gd name="connsiteY15" fmla="*/ 152823 h 419725"/>
                  <a:gd name="connsiteX16" fmla="*/ 266895 w 419725"/>
                  <a:gd name="connsiteY16" fmla="*/ 0 h 419725"/>
                  <a:gd name="connsiteX17" fmla="*/ 266895 w 419725"/>
                  <a:gd name="connsiteY17" fmla="*/ 73780 h 419725"/>
                  <a:gd name="connsiteX18" fmla="*/ 187844 w 419725"/>
                  <a:gd name="connsiteY18" fmla="*/ 152831 h 419725"/>
                  <a:gd name="connsiteX19" fmla="*/ 175548 w 419725"/>
                  <a:gd name="connsiteY19" fmla="*/ 165127 h 419725"/>
                  <a:gd name="connsiteX20" fmla="*/ 163251 w 419725"/>
                  <a:gd name="connsiteY20" fmla="*/ 152831 h 419725"/>
                  <a:gd name="connsiteX21" fmla="*/ 266895 w 419725"/>
                  <a:gd name="connsiteY21" fmla="*/ 49187 h 419725"/>
                  <a:gd name="connsiteX22" fmla="*/ 279192 w 419725"/>
                  <a:gd name="connsiteY22" fmla="*/ 61483 h 419725"/>
                  <a:gd name="connsiteX23" fmla="*/ 266895 w 419725"/>
                  <a:gd name="connsiteY23" fmla="*/ 73780 h 419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19725" h="419725">
                    <a:moveTo>
                      <a:pt x="266895" y="0"/>
                    </a:moveTo>
                    <a:cubicBezTo>
                      <a:pt x="182622" y="0"/>
                      <a:pt x="114065" y="68558"/>
                      <a:pt x="114065" y="152823"/>
                    </a:cubicBezTo>
                    <a:cubicBezTo>
                      <a:pt x="114065" y="189614"/>
                      <a:pt x="127066" y="224299"/>
                      <a:pt x="150487" y="251851"/>
                    </a:cubicBezTo>
                    <a:lnTo>
                      <a:pt x="126369" y="275977"/>
                    </a:lnTo>
                    <a:lnTo>
                      <a:pt x="117672" y="267271"/>
                    </a:lnTo>
                    <a:cubicBezTo>
                      <a:pt x="112868" y="262476"/>
                      <a:pt x="105080" y="262476"/>
                      <a:pt x="100284" y="267271"/>
                    </a:cubicBezTo>
                    <a:lnTo>
                      <a:pt x="3600" y="363956"/>
                    </a:lnTo>
                    <a:cubicBezTo>
                      <a:pt x="-1196" y="368751"/>
                      <a:pt x="-1204" y="376539"/>
                      <a:pt x="3600" y="381343"/>
                    </a:cubicBezTo>
                    <a:lnTo>
                      <a:pt x="38383" y="416126"/>
                    </a:lnTo>
                    <a:cubicBezTo>
                      <a:pt x="43187" y="420922"/>
                      <a:pt x="50966" y="420930"/>
                      <a:pt x="55770" y="416126"/>
                    </a:cubicBezTo>
                    <a:lnTo>
                      <a:pt x="152446" y="319442"/>
                    </a:lnTo>
                    <a:cubicBezTo>
                      <a:pt x="157250" y="314646"/>
                      <a:pt x="157250" y="306858"/>
                      <a:pt x="152446" y="302054"/>
                    </a:cubicBezTo>
                    <a:lnTo>
                      <a:pt x="143757" y="293365"/>
                    </a:lnTo>
                    <a:lnTo>
                      <a:pt x="167875" y="269239"/>
                    </a:lnTo>
                    <a:cubicBezTo>
                      <a:pt x="195493" y="292717"/>
                      <a:pt x="230202" y="305661"/>
                      <a:pt x="266895" y="305661"/>
                    </a:cubicBezTo>
                    <a:cubicBezTo>
                      <a:pt x="351168" y="305661"/>
                      <a:pt x="419726" y="237104"/>
                      <a:pt x="419726" y="152823"/>
                    </a:cubicBezTo>
                    <a:cubicBezTo>
                      <a:pt x="419726" y="68558"/>
                      <a:pt x="351168" y="0"/>
                      <a:pt x="266895" y="0"/>
                    </a:cubicBezTo>
                    <a:close/>
                    <a:moveTo>
                      <a:pt x="266895" y="73780"/>
                    </a:moveTo>
                    <a:cubicBezTo>
                      <a:pt x="223308" y="73780"/>
                      <a:pt x="187844" y="109243"/>
                      <a:pt x="187844" y="152831"/>
                    </a:cubicBezTo>
                    <a:cubicBezTo>
                      <a:pt x="187844" y="159618"/>
                      <a:pt x="182335" y="165127"/>
                      <a:pt x="175548" y="165127"/>
                    </a:cubicBezTo>
                    <a:cubicBezTo>
                      <a:pt x="168752" y="165127"/>
                      <a:pt x="163251" y="159618"/>
                      <a:pt x="163251" y="152831"/>
                    </a:cubicBezTo>
                    <a:cubicBezTo>
                      <a:pt x="163251" y="95684"/>
                      <a:pt x="209749" y="49187"/>
                      <a:pt x="266895" y="49187"/>
                    </a:cubicBezTo>
                    <a:cubicBezTo>
                      <a:pt x="273683" y="49187"/>
                      <a:pt x="279192" y="54695"/>
                      <a:pt x="279192" y="61483"/>
                    </a:cubicBezTo>
                    <a:cubicBezTo>
                      <a:pt x="279192" y="68271"/>
                      <a:pt x="273683" y="73780"/>
                      <a:pt x="266895" y="73780"/>
                    </a:cubicBezTo>
                    <a:close/>
                  </a:path>
                </a:pathLst>
              </a:custGeom>
              <a:solidFill>
                <a:schemeClr val="bg1"/>
              </a:solidFill>
              <a:ln w="81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grpSp>
    </p:spTree>
    <p:extLst>
      <p:ext uri="{BB962C8B-B14F-4D97-AF65-F5344CB8AC3E}">
        <p14:creationId xmlns:p14="http://schemas.microsoft.com/office/powerpoint/2010/main" val="1262236780"/>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6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FC537C-D9B8-48C3-BC5F-7561410295F1}"/>
              </a:ext>
            </a:extLst>
          </p:cNvPr>
          <p:cNvSpPr txBox="1">
            <a:spLocks/>
          </p:cNvSpPr>
          <p:nvPr/>
        </p:nvSpPr>
        <p:spPr>
          <a:xfrm>
            <a:off x="611287" y="884856"/>
            <a:ext cx="4687769" cy="676275"/>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4400" b="1" i="0" u="none" strike="noStrike" kern="1200" cap="none" spc="0" normalizeH="0" baseline="0" noProof="0" dirty="0">
                <a:ln>
                  <a:noFill/>
                </a:ln>
                <a:solidFill>
                  <a:srgbClr val="000000">
                    <a:lumMod val="75000"/>
                    <a:lumOff val="25000"/>
                  </a:srgbClr>
                </a:solidFill>
                <a:effectLst/>
                <a:uLnTx/>
                <a:uFillTx/>
                <a:latin typeface="Segoe UI" panose="020B0502040204020203" pitchFamily="34" charset="0"/>
                <a:ea typeface="+mj-ea"/>
                <a:cs typeface="Segoe UI" panose="020B0502040204020203" pitchFamily="34" charset="0"/>
              </a:rPr>
              <a:t>6 Stage Value Growth Diagram </a:t>
            </a:r>
            <a:endParaRPr kumimoji="0" lang="en-ID" sz="4400" b="0" i="0" u="none" strike="noStrike" kern="1200" cap="none" spc="0" normalizeH="0" baseline="0" noProof="0" dirty="0">
              <a:ln>
                <a:noFill/>
              </a:ln>
              <a:solidFill>
                <a:srgbClr val="000000">
                  <a:lumMod val="75000"/>
                  <a:lumOff val="25000"/>
                </a:srgbClr>
              </a:solidFill>
              <a:effectLst/>
              <a:uLnTx/>
              <a:uFillTx/>
              <a:latin typeface="等线 Light" panose="020F0302020204030204"/>
              <a:ea typeface="+mj-ea"/>
              <a:cs typeface="+mj-cs"/>
            </a:endParaRPr>
          </a:p>
        </p:txBody>
      </p:sp>
      <p:grpSp>
        <p:nvGrpSpPr>
          <p:cNvPr id="3" name="Group 85">
            <a:extLst>
              <a:ext uri="{FF2B5EF4-FFF2-40B4-BE49-F238E27FC236}">
                <a16:creationId xmlns:a16="http://schemas.microsoft.com/office/drawing/2014/main" id="{B86FFE24-D2A6-41CA-AE7C-A4578F9DA32D}"/>
              </a:ext>
            </a:extLst>
          </p:cNvPr>
          <p:cNvGrpSpPr/>
          <p:nvPr/>
        </p:nvGrpSpPr>
        <p:grpSpPr>
          <a:xfrm>
            <a:off x="3719858" y="1791572"/>
            <a:ext cx="4703162" cy="5067669"/>
            <a:chOff x="1158977" y="1732657"/>
            <a:chExt cx="4879670" cy="5257857"/>
          </a:xfrm>
        </p:grpSpPr>
        <p:sp>
          <p:nvSpPr>
            <p:cNvPr id="4" name="任意多边形 19">
              <a:extLst>
                <a:ext uri="{FF2B5EF4-FFF2-40B4-BE49-F238E27FC236}">
                  <a16:creationId xmlns:a16="http://schemas.microsoft.com/office/drawing/2014/main" id="{7424E303-1298-47F4-8264-966640372BA9}"/>
                </a:ext>
              </a:extLst>
            </p:cNvPr>
            <p:cNvSpPr/>
            <p:nvPr/>
          </p:nvSpPr>
          <p:spPr>
            <a:xfrm>
              <a:off x="2220875" y="2551689"/>
              <a:ext cx="3555906" cy="4438825"/>
            </a:xfrm>
            <a:custGeom>
              <a:avLst/>
              <a:gdLst>
                <a:gd name="connsiteX0" fmla="*/ 1743740 w 3742661"/>
                <a:gd name="connsiteY0" fmla="*/ 4476307 h 4476307"/>
                <a:gd name="connsiteX1" fmla="*/ 1796903 w 3742661"/>
                <a:gd name="connsiteY1" fmla="*/ 3785190 h 4476307"/>
                <a:gd name="connsiteX2" fmla="*/ 1307805 w 3742661"/>
                <a:gd name="connsiteY2" fmla="*/ 3381153 h 4476307"/>
                <a:gd name="connsiteX3" fmla="*/ 31898 w 3742661"/>
                <a:gd name="connsiteY3" fmla="*/ 2945218 h 4476307"/>
                <a:gd name="connsiteX4" fmla="*/ 1127052 w 3742661"/>
                <a:gd name="connsiteY4" fmla="*/ 3242930 h 4476307"/>
                <a:gd name="connsiteX5" fmla="*/ 393405 w 3742661"/>
                <a:gd name="connsiteY5" fmla="*/ 2456121 h 4476307"/>
                <a:gd name="connsiteX6" fmla="*/ 1775638 w 3742661"/>
                <a:gd name="connsiteY6" fmla="*/ 3519376 h 4476307"/>
                <a:gd name="connsiteX7" fmla="*/ 1679945 w 3742661"/>
                <a:gd name="connsiteY7" fmla="*/ 2392325 h 4476307"/>
                <a:gd name="connsiteX8" fmla="*/ 0 w 3742661"/>
                <a:gd name="connsiteY8" fmla="*/ 754911 h 4476307"/>
                <a:gd name="connsiteX9" fmla="*/ 988828 w 3742661"/>
                <a:gd name="connsiteY9" fmla="*/ 1924493 h 4476307"/>
                <a:gd name="connsiteX10" fmla="*/ 1137684 w 3742661"/>
                <a:gd name="connsiteY10" fmla="*/ 861237 h 4476307"/>
                <a:gd name="connsiteX11" fmla="*/ 1222745 w 3742661"/>
                <a:gd name="connsiteY11" fmla="*/ 2062716 h 4476307"/>
                <a:gd name="connsiteX12" fmla="*/ 1690577 w 3742661"/>
                <a:gd name="connsiteY12" fmla="*/ 2190307 h 4476307"/>
                <a:gd name="connsiteX13" fmla="*/ 1956391 w 3742661"/>
                <a:gd name="connsiteY13" fmla="*/ 0 h 4476307"/>
                <a:gd name="connsiteX14" fmla="*/ 2083982 w 3742661"/>
                <a:gd name="connsiteY14" fmla="*/ 978195 h 4476307"/>
                <a:gd name="connsiteX15" fmla="*/ 1881963 w 3742661"/>
                <a:gd name="connsiteY15" fmla="*/ 2232837 h 4476307"/>
                <a:gd name="connsiteX16" fmla="*/ 2041452 w 3742661"/>
                <a:gd name="connsiteY16" fmla="*/ 3030279 h 4476307"/>
                <a:gd name="connsiteX17" fmla="*/ 2647507 w 3742661"/>
                <a:gd name="connsiteY17" fmla="*/ 2519916 h 4476307"/>
                <a:gd name="connsiteX18" fmla="*/ 2849526 w 3742661"/>
                <a:gd name="connsiteY18" fmla="*/ 1307804 h 4476307"/>
                <a:gd name="connsiteX19" fmla="*/ 2838893 w 3742661"/>
                <a:gd name="connsiteY19" fmla="*/ 2371060 h 4476307"/>
                <a:gd name="connsiteX20" fmla="*/ 3742661 w 3742661"/>
                <a:gd name="connsiteY20" fmla="*/ 1148316 h 4476307"/>
                <a:gd name="connsiteX21" fmla="*/ 2222205 w 3742661"/>
                <a:gd name="connsiteY21" fmla="*/ 3370521 h 4476307"/>
                <a:gd name="connsiteX22" fmla="*/ 2169042 w 3742661"/>
                <a:gd name="connsiteY22" fmla="*/ 3817088 h 4476307"/>
                <a:gd name="connsiteX23" fmla="*/ 3317358 w 3742661"/>
                <a:gd name="connsiteY23" fmla="*/ 3094074 h 4476307"/>
                <a:gd name="connsiteX24" fmla="*/ 2190307 w 3742661"/>
                <a:gd name="connsiteY24" fmla="*/ 4051004 h 4476307"/>
                <a:gd name="connsiteX25" fmla="*/ 2232838 w 3742661"/>
                <a:gd name="connsiteY25" fmla="*/ 4476307 h 4476307"/>
                <a:gd name="connsiteX26" fmla="*/ 1743740 w 3742661"/>
                <a:gd name="connsiteY26" fmla="*/ 4476307 h 4476307"/>
                <a:gd name="connsiteX0" fmla="*/ 1743740 w 3742661"/>
                <a:gd name="connsiteY0" fmla="*/ 4492350 h 4492350"/>
                <a:gd name="connsiteX1" fmla="*/ 1796903 w 3742661"/>
                <a:gd name="connsiteY1" fmla="*/ 3785190 h 4492350"/>
                <a:gd name="connsiteX2" fmla="*/ 1307805 w 3742661"/>
                <a:gd name="connsiteY2" fmla="*/ 3381153 h 4492350"/>
                <a:gd name="connsiteX3" fmla="*/ 31898 w 3742661"/>
                <a:gd name="connsiteY3" fmla="*/ 2945218 h 4492350"/>
                <a:gd name="connsiteX4" fmla="*/ 1127052 w 3742661"/>
                <a:gd name="connsiteY4" fmla="*/ 3242930 h 4492350"/>
                <a:gd name="connsiteX5" fmla="*/ 393405 w 3742661"/>
                <a:gd name="connsiteY5" fmla="*/ 2456121 h 4492350"/>
                <a:gd name="connsiteX6" fmla="*/ 1775638 w 3742661"/>
                <a:gd name="connsiteY6" fmla="*/ 3519376 h 4492350"/>
                <a:gd name="connsiteX7" fmla="*/ 1679945 w 3742661"/>
                <a:gd name="connsiteY7" fmla="*/ 2392325 h 4492350"/>
                <a:gd name="connsiteX8" fmla="*/ 0 w 3742661"/>
                <a:gd name="connsiteY8" fmla="*/ 754911 h 4492350"/>
                <a:gd name="connsiteX9" fmla="*/ 988828 w 3742661"/>
                <a:gd name="connsiteY9" fmla="*/ 1924493 h 4492350"/>
                <a:gd name="connsiteX10" fmla="*/ 1137684 w 3742661"/>
                <a:gd name="connsiteY10" fmla="*/ 861237 h 4492350"/>
                <a:gd name="connsiteX11" fmla="*/ 1222745 w 3742661"/>
                <a:gd name="connsiteY11" fmla="*/ 2062716 h 4492350"/>
                <a:gd name="connsiteX12" fmla="*/ 1690577 w 3742661"/>
                <a:gd name="connsiteY12" fmla="*/ 2190307 h 4492350"/>
                <a:gd name="connsiteX13" fmla="*/ 1956391 w 3742661"/>
                <a:gd name="connsiteY13" fmla="*/ 0 h 4492350"/>
                <a:gd name="connsiteX14" fmla="*/ 2083982 w 3742661"/>
                <a:gd name="connsiteY14" fmla="*/ 978195 h 4492350"/>
                <a:gd name="connsiteX15" fmla="*/ 1881963 w 3742661"/>
                <a:gd name="connsiteY15" fmla="*/ 2232837 h 4492350"/>
                <a:gd name="connsiteX16" fmla="*/ 2041452 w 3742661"/>
                <a:gd name="connsiteY16" fmla="*/ 3030279 h 4492350"/>
                <a:gd name="connsiteX17" fmla="*/ 2647507 w 3742661"/>
                <a:gd name="connsiteY17" fmla="*/ 2519916 h 4492350"/>
                <a:gd name="connsiteX18" fmla="*/ 2849526 w 3742661"/>
                <a:gd name="connsiteY18" fmla="*/ 1307804 h 4492350"/>
                <a:gd name="connsiteX19" fmla="*/ 2838893 w 3742661"/>
                <a:gd name="connsiteY19" fmla="*/ 2371060 h 4492350"/>
                <a:gd name="connsiteX20" fmla="*/ 3742661 w 3742661"/>
                <a:gd name="connsiteY20" fmla="*/ 1148316 h 4492350"/>
                <a:gd name="connsiteX21" fmla="*/ 2222205 w 3742661"/>
                <a:gd name="connsiteY21" fmla="*/ 3370521 h 4492350"/>
                <a:gd name="connsiteX22" fmla="*/ 2169042 w 3742661"/>
                <a:gd name="connsiteY22" fmla="*/ 3817088 h 4492350"/>
                <a:gd name="connsiteX23" fmla="*/ 3317358 w 3742661"/>
                <a:gd name="connsiteY23" fmla="*/ 3094074 h 4492350"/>
                <a:gd name="connsiteX24" fmla="*/ 2190307 w 3742661"/>
                <a:gd name="connsiteY24" fmla="*/ 4051004 h 4492350"/>
                <a:gd name="connsiteX25" fmla="*/ 2232838 w 3742661"/>
                <a:gd name="connsiteY25" fmla="*/ 4476307 h 4492350"/>
                <a:gd name="connsiteX26" fmla="*/ 1743740 w 3742661"/>
                <a:gd name="connsiteY26" fmla="*/ 4492350 h 4492350"/>
                <a:gd name="connsiteX0" fmla="*/ 1743740 w 3742661"/>
                <a:gd name="connsiteY0" fmla="*/ 4492350 h 4492350"/>
                <a:gd name="connsiteX1" fmla="*/ 1796903 w 3742661"/>
                <a:gd name="connsiteY1" fmla="*/ 3785190 h 4492350"/>
                <a:gd name="connsiteX2" fmla="*/ 1307805 w 3742661"/>
                <a:gd name="connsiteY2" fmla="*/ 3381153 h 4492350"/>
                <a:gd name="connsiteX3" fmla="*/ 31898 w 3742661"/>
                <a:gd name="connsiteY3" fmla="*/ 2945218 h 4492350"/>
                <a:gd name="connsiteX4" fmla="*/ 1127052 w 3742661"/>
                <a:gd name="connsiteY4" fmla="*/ 3242930 h 4492350"/>
                <a:gd name="connsiteX5" fmla="*/ 393405 w 3742661"/>
                <a:gd name="connsiteY5" fmla="*/ 2456121 h 4492350"/>
                <a:gd name="connsiteX6" fmla="*/ 1775638 w 3742661"/>
                <a:gd name="connsiteY6" fmla="*/ 3519376 h 4492350"/>
                <a:gd name="connsiteX7" fmla="*/ 1679945 w 3742661"/>
                <a:gd name="connsiteY7" fmla="*/ 2392325 h 4492350"/>
                <a:gd name="connsiteX8" fmla="*/ 0 w 3742661"/>
                <a:gd name="connsiteY8" fmla="*/ 754911 h 4492350"/>
                <a:gd name="connsiteX9" fmla="*/ 988828 w 3742661"/>
                <a:gd name="connsiteY9" fmla="*/ 1924493 h 4492350"/>
                <a:gd name="connsiteX10" fmla="*/ 1137684 w 3742661"/>
                <a:gd name="connsiteY10" fmla="*/ 861237 h 4492350"/>
                <a:gd name="connsiteX11" fmla="*/ 1222745 w 3742661"/>
                <a:gd name="connsiteY11" fmla="*/ 2062716 h 4492350"/>
                <a:gd name="connsiteX12" fmla="*/ 1690577 w 3742661"/>
                <a:gd name="connsiteY12" fmla="*/ 2190307 h 4492350"/>
                <a:gd name="connsiteX13" fmla="*/ 1956391 w 3742661"/>
                <a:gd name="connsiteY13" fmla="*/ 0 h 4492350"/>
                <a:gd name="connsiteX14" fmla="*/ 2083982 w 3742661"/>
                <a:gd name="connsiteY14" fmla="*/ 978195 h 4492350"/>
                <a:gd name="connsiteX15" fmla="*/ 1881963 w 3742661"/>
                <a:gd name="connsiteY15" fmla="*/ 2232837 h 4492350"/>
                <a:gd name="connsiteX16" fmla="*/ 2041452 w 3742661"/>
                <a:gd name="connsiteY16" fmla="*/ 3030279 h 4492350"/>
                <a:gd name="connsiteX17" fmla="*/ 2647507 w 3742661"/>
                <a:gd name="connsiteY17" fmla="*/ 2519916 h 4492350"/>
                <a:gd name="connsiteX18" fmla="*/ 2849526 w 3742661"/>
                <a:gd name="connsiteY18" fmla="*/ 1307804 h 4492350"/>
                <a:gd name="connsiteX19" fmla="*/ 2838893 w 3742661"/>
                <a:gd name="connsiteY19" fmla="*/ 2371060 h 4492350"/>
                <a:gd name="connsiteX20" fmla="*/ 3742661 w 3742661"/>
                <a:gd name="connsiteY20" fmla="*/ 1148316 h 4492350"/>
                <a:gd name="connsiteX21" fmla="*/ 2222205 w 3742661"/>
                <a:gd name="connsiteY21" fmla="*/ 3370521 h 4492350"/>
                <a:gd name="connsiteX22" fmla="*/ 2169042 w 3742661"/>
                <a:gd name="connsiteY22" fmla="*/ 3817088 h 4492350"/>
                <a:gd name="connsiteX23" fmla="*/ 3317358 w 3742661"/>
                <a:gd name="connsiteY23" fmla="*/ 3094074 h 4492350"/>
                <a:gd name="connsiteX24" fmla="*/ 2190307 w 3742661"/>
                <a:gd name="connsiteY24" fmla="*/ 4051004 h 4492350"/>
                <a:gd name="connsiteX25" fmla="*/ 2232838 w 3742661"/>
                <a:gd name="connsiteY25" fmla="*/ 4476307 h 4492350"/>
                <a:gd name="connsiteX26" fmla="*/ 2218194 w 3742661"/>
                <a:gd name="connsiteY26" fmla="*/ 4491415 h 4492350"/>
                <a:gd name="connsiteX27" fmla="*/ 1743740 w 3742661"/>
                <a:gd name="connsiteY27" fmla="*/ 4492350 h 4492350"/>
                <a:gd name="connsiteX0" fmla="*/ 1743740 w 3742661"/>
                <a:gd name="connsiteY0" fmla="*/ 4492350 h 4492350"/>
                <a:gd name="connsiteX1" fmla="*/ 1796903 w 3742661"/>
                <a:gd name="connsiteY1" fmla="*/ 3785190 h 4492350"/>
                <a:gd name="connsiteX2" fmla="*/ 1307805 w 3742661"/>
                <a:gd name="connsiteY2" fmla="*/ 3381153 h 4492350"/>
                <a:gd name="connsiteX3" fmla="*/ 31898 w 3742661"/>
                <a:gd name="connsiteY3" fmla="*/ 2945218 h 4492350"/>
                <a:gd name="connsiteX4" fmla="*/ 1127052 w 3742661"/>
                <a:gd name="connsiteY4" fmla="*/ 3242930 h 4492350"/>
                <a:gd name="connsiteX5" fmla="*/ 393405 w 3742661"/>
                <a:gd name="connsiteY5" fmla="*/ 2456121 h 4492350"/>
                <a:gd name="connsiteX6" fmla="*/ 1775638 w 3742661"/>
                <a:gd name="connsiteY6" fmla="*/ 3519376 h 4492350"/>
                <a:gd name="connsiteX7" fmla="*/ 1679945 w 3742661"/>
                <a:gd name="connsiteY7" fmla="*/ 2392325 h 4492350"/>
                <a:gd name="connsiteX8" fmla="*/ 0 w 3742661"/>
                <a:gd name="connsiteY8" fmla="*/ 754911 h 4492350"/>
                <a:gd name="connsiteX9" fmla="*/ 988828 w 3742661"/>
                <a:gd name="connsiteY9" fmla="*/ 1924493 h 4492350"/>
                <a:gd name="connsiteX10" fmla="*/ 1137684 w 3742661"/>
                <a:gd name="connsiteY10" fmla="*/ 861237 h 4492350"/>
                <a:gd name="connsiteX11" fmla="*/ 1222745 w 3742661"/>
                <a:gd name="connsiteY11" fmla="*/ 2062716 h 4492350"/>
                <a:gd name="connsiteX12" fmla="*/ 1690577 w 3742661"/>
                <a:gd name="connsiteY12" fmla="*/ 2190307 h 4492350"/>
                <a:gd name="connsiteX13" fmla="*/ 1956391 w 3742661"/>
                <a:gd name="connsiteY13" fmla="*/ 0 h 4492350"/>
                <a:gd name="connsiteX14" fmla="*/ 2083982 w 3742661"/>
                <a:gd name="connsiteY14" fmla="*/ 978195 h 4492350"/>
                <a:gd name="connsiteX15" fmla="*/ 1881963 w 3742661"/>
                <a:gd name="connsiteY15" fmla="*/ 2232837 h 4492350"/>
                <a:gd name="connsiteX16" fmla="*/ 2041452 w 3742661"/>
                <a:gd name="connsiteY16" fmla="*/ 3030279 h 4492350"/>
                <a:gd name="connsiteX17" fmla="*/ 2647507 w 3742661"/>
                <a:gd name="connsiteY17" fmla="*/ 2519916 h 4492350"/>
                <a:gd name="connsiteX18" fmla="*/ 2849526 w 3742661"/>
                <a:gd name="connsiteY18" fmla="*/ 1307804 h 4492350"/>
                <a:gd name="connsiteX19" fmla="*/ 2838893 w 3742661"/>
                <a:gd name="connsiteY19" fmla="*/ 2371060 h 4492350"/>
                <a:gd name="connsiteX20" fmla="*/ 3742661 w 3742661"/>
                <a:gd name="connsiteY20" fmla="*/ 1148316 h 4492350"/>
                <a:gd name="connsiteX21" fmla="*/ 2222205 w 3742661"/>
                <a:gd name="connsiteY21" fmla="*/ 3370521 h 4492350"/>
                <a:gd name="connsiteX22" fmla="*/ 2169042 w 3742661"/>
                <a:gd name="connsiteY22" fmla="*/ 3817088 h 4492350"/>
                <a:gd name="connsiteX23" fmla="*/ 3317358 w 3742661"/>
                <a:gd name="connsiteY23" fmla="*/ 3094074 h 4492350"/>
                <a:gd name="connsiteX24" fmla="*/ 2190307 w 3742661"/>
                <a:gd name="connsiteY24" fmla="*/ 4051004 h 4492350"/>
                <a:gd name="connsiteX25" fmla="*/ 2232838 w 3742661"/>
                <a:gd name="connsiteY25" fmla="*/ 4476307 h 4492350"/>
                <a:gd name="connsiteX26" fmla="*/ 2218194 w 3742661"/>
                <a:gd name="connsiteY26" fmla="*/ 4491415 h 4492350"/>
                <a:gd name="connsiteX27" fmla="*/ 1743740 w 3742661"/>
                <a:gd name="connsiteY27" fmla="*/ 4492350 h 4492350"/>
                <a:gd name="connsiteX0" fmla="*/ 1743740 w 3742661"/>
                <a:gd name="connsiteY0" fmla="*/ 4492350 h 4492350"/>
                <a:gd name="connsiteX1" fmla="*/ 1796903 w 3742661"/>
                <a:gd name="connsiteY1" fmla="*/ 3785190 h 4492350"/>
                <a:gd name="connsiteX2" fmla="*/ 1307805 w 3742661"/>
                <a:gd name="connsiteY2" fmla="*/ 3381153 h 4492350"/>
                <a:gd name="connsiteX3" fmla="*/ 31898 w 3742661"/>
                <a:gd name="connsiteY3" fmla="*/ 2945218 h 4492350"/>
                <a:gd name="connsiteX4" fmla="*/ 1127052 w 3742661"/>
                <a:gd name="connsiteY4" fmla="*/ 3242930 h 4492350"/>
                <a:gd name="connsiteX5" fmla="*/ 393405 w 3742661"/>
                <a:gd name="connsiteY5" fmla="*/ 2456121 h 4492350"/>
                <a:gd name="connsiteX6" fmla="*/ 1775638 w 3742661"/>
                <a:gd name="connsiteY6" fmla="*/ 3519376 h 4492350"/>
                <a:gd name="connsiteX7" fmla="*/ 1679945 w 3742661"/>
                <a:gd name="connsiteY7" fmla="*/ 2392325 h 4492350"/>
                <a:gd name="connsiteX8" fmla="*/ 0 w 3742661"/>
                <a:gd name="connsiteY8" fmla="*/ 754911 h 4492350"/>
                <a:gd name="connsiteX9" fmla="*/ 988828 w 3742661"/>
                <a:gd name="connsiteY9" fmla="*/ 1924493 h 4492350"/>
                <a:gd name="connsiteX10" fmla="*/ 1137684 w 3742661"/>
                <a:gd name="connsiteY10" fmla="*/ 861237 h 4492350"/>
                <a:gd name="connsiteX11" fmla="*/ 1222745 w 3742661"/>
                <a:gd name="connsiteY11" fmla="*/ 2062716 h 4492350"/>
                <a:gd name="connsiteX12" fmla="*/ 1690577 w 3742661"/>
                <a:gd name="connsiteY12" fmla="*/ 2190307 h 4492350"/>
                <a:gd name="connsiteX13" fmla="*/ 1956391 w 3742661"/>
                <a:gd name="connsiteY13" fmla="*/ 0 h 4492350"/>
                <a:gd name="connsiteX14" fmla="*/ 2083982 w 3742661"/>
                <a:gd name="connsiteY14" fmla="*/ 978195 h 4492350"/>
                <a:gd name="connsiteX15" fmla="*/ 1881963 w 3742661"/>
                <a:gd name="connsiteY15" fmla="*/ 2232837 h 4492350"/>
                <a:gd name="connsiteX16" fmla="*/ 2041452 w 3742661"/>
                <a:gd name="connsiteY16" fmla="*/ 3030279 h 4492350"/>
                <a:gd name="connsiteX17" fmla="*/ 2647507 w 3742661"/>
                <a:gd name="connsiteY17" fmla="*/ 2519916 h 4492350"/>
                <a:gd name="connsiteX18" fmla="*/ 2849526 w 3742661"/>
                <a:gd name="connsiteY18" fmla="*/ 1307804 h 4492350"/>
                <a:gd name="connsiteX19" fmla="*/ 2838893 w 3742661"/>
                <a:gd name="connsiteY19" fmla="*/ 2371060 h 4492350"/>
                <a:gd name="connsiteX20" fmla="*/ 3742661 w 3742661"/>
                <a:gd name="connsiteY20" fmla="*/ 1148316 h 4492350"/>
                <a:gd name="connsiteX21" fmla="*/ 2222205 w 3742661"/>
                <a:gd name="connsiteY21" fmla="*/ 3370521 h 4492350"/>
                <a:gd name="connsiteX22" fmla="*/ 2169042 w 3742661"/>
                <a:gd name="connsiteY22" fmla="*/ 3817088 h 4492350"/>
                <a:gd name="connsiteX23" fmla="*/ 3317358 w 3742661"/>
                <a:gd name="connsiteY23" fmla="*/ 3094074 h 4492350"/>
                <a:gd name="connsiteX24" fmla="*/ 2190307 w 3742661"/>
                <a:gd name="connsiteY24" fmla="*/ 4051004 h 4492350"/>
                <a:gd name="connsiteX25" fmla="*/ 2232838 w 3742661"/>
                <a:gd name="connsiteY25" fmla="*/ 4476307 h 4492350"/>
                <a:gd name="connsiteX26" fmla="*/ 2218194 w 3742661"/>
                <a:gd name="connsiteY26" fmla="*/ 4491415 h 4492350"/>
                <a:gd name="connsiteX27" fmla="*/ 1743740 w 3742661"/>
                <a:gd name="connsiteY27" fmla="*/ 4492350 h 4492350"/>
                <a:gd name="connsiteX0" fmla="*/ 1743740 w 3742661"/>
                <a:gd name="connsiteY0" fmla="*/ 4492350 h 4492350"/>
                <a:gd name="connsiteX1" fmla="*/ 1796903 w 3742661"/>
                <a:gd name="connsiteY1" fmla="*/ 3785190 h 4492350"/>
                <a:gd name="connsiteX2" fmla="*/ 1307805 w 3742661"/>
                <a:gd name="connsiteY2" fmla="*/ 3381153 h 4492350"/>
                <a:gd name="connsiteX3" fmla="*/ 31898 w 3742661"/>
                <a:gd name="connsiteY3" fmla="*/ 2945218 h 4492350"/>
                <a:gd name="connsiteX4" fmla="*/ 1127052 w 3742661"/>
                <a:gd name="connsiteY4" fmla="*/ 3242930 h 4492350"/>
                <a:gd name="connsiteX5" fmla="*/ 393405 w 3742661"/>
                <a:gd name="connsiteY5" fmla="*/ 2456121 h 4492350"/>
                <a:gd name="connsiteX6" fmla="*/ 1775638 w 3742661"/>
                <a:gd name="connsiteY6" fmla="*/ 3519376 h 4492350"/>
                <a:gd name="connsiteX7" fmla="*/ 1679945 w 3742661"/>
                <a:gd name="connsiteY7" fmla="*/ 2392325 h 4492350"/>
                <a:gd name="connsiteX8" fmla="*/ 0 w 3742661"/>
                <a:gd name="connsiteY8" fmla="*/ 754911 h 4492350"/>
                <a:gd name="connsiteX9" fmla="*/ 988828 w 3742661"/>
                <a:gd name="connsiteY9" fmla="*/ 1924493 h 4492350"/>
                <a:gd name="connsiteX10" fmla="*/ 1137684 w 3742661"/>
                <a:gd name="connsiteY10" fmla="*/ 861237 h 4492350"/>
                <a:gd name="connsiteX11" fmla="*/ 1222745 w 3742661"/>
                <a:gd name="connsiteY11" fmla="*/ 2062716 h 4492350"/>
                <a:gd name="connsiteX12" fmla="*/ 1690577 w 3742661"/>
                <a:gd name="connsiteY12" fmla="*/ 2190307 h 4492350"/>
                <a:gd name="connsiteX13" fmla="*/ 1956391 w 3742661"/>
                <a:gd name="connsiteY13" fmla="*/ 0 h 4492350"/>
                <a:gd name="connsiteX14" fmla="*/ 2083982 w 3742661"/>
                <a:gd name="connsiteY14" fmla="*/ 978195 h 4492350"/>
                <a:gd name="connsiteX15" fmla="*/ 1881963 w 3742661"/>
                <a:gd name="connsiteY15" fmla="*/ 2232837 h 4492350"/>
                <a:gd name="connsiteX16" fmla="*/ 2041452 w 3742661"/>
                <a:gd name="connsiteY16" fmla="*/ 3030279 h 4492350"/>
                <a:gd name="connsiteX17" fmla="*/ 2647507 w 3742661"/>
                <a:gd name="connsiteY17" fmla="*/ 2519916 h 4492350"/>
                <a:gd name="connsiteX18" fmla="*/ 2849526 w 3742661"/>
                <a:gd name="connsiteY18" fmla="*/ 1307804 h 4492350"/>
                <a:gd name="connsiteX19" fmla="*/ 2838893 w 3742661"/>
                <a:gd name="connsiteY19" fmla="*/ 2371060 h 4492350"/>
                <a:gd name="connsiteX20" fmla="*/ 3742661 w 3742661"/>
                <a:gd name="connsiteY20" fmla="*/ 1148316 h 4492350"/>
                <a:gd name="connsiteX21" fmla="*/ 2222205 w 3742661"/>
                <a:gd name="connsiteY21" fmla="*/ 3370521 h 4492350"/>
                <a:gd name="connsiteX22" fmla="*/ 2169042 w 3742661"/>
                <a:gd name="connsiteY22" fmla="*/ 3817088 h 4492350"/>
                <a:gd name="connsiteX23" fmla="*/ 3317358 w 3742661"/>
                <a:gd name="connsiteY23" fmla="*/ 3094074 h 4492350"/>
                <a:gd name="connsiteX24" fmla="*/ 2190307 w 3742661"/>
                <a:gd name="connsiteY24" fmla="*/ 4051004 h 4492350"/>
                <a:gd name="connsiteX25" fmla="*/ 2232838 w 3742661"/>
                <a:gd name="connsiteY25" fmla="*/ 4476307 h 4492350"/>
                <a:gd name="connsiteX26" fmla="*/ 2218194 w 3742661"/>
                <a:gd name="connsiteY26" fmla="*/ 4491415 h 4492350"/>
                <a:gd name="connsiteX27" fmla="*/ 1743740 w 3742661"/>
                <a:gd name="connsiteY27" fmla="*/ 4492350 h 4492350"/>
                <a:gd name="connsiteX0" fmla="*/ 1743740 w 3742661"/>
                <a:gd name="connsiteY0" fmla="*/ 4492350 h 4492350"/>
                <a:gd name="connsiteX1" fmla="*/ 1796903 w 3742661"/>
                <a:gd name="connsiteY1" fmla="*/ 3785190 h 4492350"/>
                <a:gd name="connsiteX2" fmla="*/ 1307805 w 3742661"/>
                <a:gd name="connsiteY2" fmla="*/ 3381153 h 4492350"/>
                <a:gd name="connsiteX3" fmla="*/ 31898 w 3742661"/>
                <a:gd name="connsiteY3" fmla="*/ 2945218 h 4492350"/>
                <a:gd name="connsiteX4" fmla="*/ 1127052 w 3742661"/>
                <a:gd name="connsiteY4" fmla="*/ 3242930 h 4492350"/>
                <a:gd name="connsiteX5" fmla="*/ 393405 w 3742661"/>
                <a:gd name="connsiteY5" fmla="*/ 2456121 h 4492350"/>
                <a:gd name="connsiteX6" fmla="*/ 1775638 w 3742661"/>
                <a:gd name="connsiteY6" fmla="*/ 3519376 h 4492350"/>
                <a:gd name="connsiteX7" fmla="*/ 1679945 w 3742661"/>
                <a:gd name="connsiteY7" fmla="*/ 2392325 h 4492350"/>
                <a:gd name="connsiteX8" fmla="*/ 0 w 3742661"/>
                <a:gd name="connsiteY8" fmla="*/ 754911 h 4492350"/>
                <a:gd name="connsiteX9" fmla="*/ 988828 w 3742661"/>
                <a:gd name="connsiteY9" fmla="*/ 1924493 h 4492350"/>
                <a:gd name="connsiteX10" fmla="*/ 1137684 w 3742661"/>
                <a:gd name="connsiteY10" fmla="*/ 861237 h 4492350"/>
                <a:gd name="connsiteX11" fmla="*/ 1222745 w 3742661"/>
                <a:gd name="connsiteY11" fmla="*/ 2062716 h 4492350"/>
                <a:gd name="connsiteX12" fmla="*/ 1690577 w 3742661"/>
                <a:gd name="connsiteY12" fmla="*/ 2190307 h 4492350"/>
                <a:gd name="connsiteX13" fmla="*/ 1956391 w 3742661"/>
                <a:gd name="connsiteY13" fmla="*/ 0 h 4492350"/>
                <a:gd name="connsiteX14" fmla="*/ 2083982 w 3742661"/>
                <a:gd name="connsiteY14" fmla="*/ 978195 h 4492350"/>
                <a:gd name="connsiteX15" fmla="*/ 1881963 w 3742661"/>
                <a:gd name="connsiteY15" fmla="*/ 2232837 h 4492350"/>
                <a:gd name="connsiteX16" fmla="*/ 2041452 w 3742661"/>
                <a:gd name="connsiteY16" fmla="*/ 3030279 h 4492350"/>
                <a:gd name="connsiteX17" fmla="*/ 2647507 w 3742661"/>
                <a:gd name="connsiteY17" fmla="*/ 2519916 h 4492350"/>
                <a:gd name="connsiteX18" fmla="*/ 2849526 w 3742661"/>
                <a:gd name="connsiteY18" fmla="*/ 1307804 h 4492350"/>
                <a:gd name="connsiteX19" fmla="*/ 2838893 w 3742661"/>
                <a:gd name="connsiteY19" fmla="*/ 2371060 h 4492350"/>
                <a:gd name="connsiteX20" fmla="*/ 3742661 w 3742661"/>
                <a:gd name="connsiteY20" fmla="*/ 1148316 h 4492350"/>
                <a:gd name="connsiteX21" fmla="*/ 2222205 w 3742661"/>
                <a:gd name="connsiteY21" fmla="*/ 3370521 h 4492350"/>
                <a:gd name="connsiteX22" fmla="*/ 2169042 w 3742661"/>
                <a:gd name="connsiteY22" fmla="*/ 3817088 h 4492350"/>
                <a:gd name="connsiteX23" fmla="*/ 3317358 w 3742661"/>
                <a:gd name="connsiteY23" fmla="*/ 3094074 h 4492350"/>
                <a:gd name="connsiteX24" fmla="*/ 2194317 w 3742661"/>
                <a:gd name="connsiteY24" fmla="*/ 4030951 h 4492350"/>
                <a:gd name="connsiteX25" fmla="*/ 2232838 w 3742661"/>
                <a:gd name="connsiteY25" fmla="*/ 4476307 h 4492350"/>
                <a:gd name="connsiteX26" fmla="*/ 2218194 w 3742661"/>
                <a:gd name="connsiteY26" fmla="*/ 4491415 h 4492350"/>
                <a:gd name="connsiteX27" fmla="*/ 1743740 w 3742661"/>
                <a:gd name="connsiteY27" fmla="*/ 4492350 h 4492350"/>
                <a:gd name="connsiteX0" fmla="*/ 1743740 w 3742661"/>
                <a:gd name="connsiteY0" fmla="*/ 4492350 h 4492350"/>
                <a:gd name="connsiteX1" fmla="*/ 1796903 w 3742661"/>
                <a:gd name="connsiteY1" fmla="*/ 3785190 h 4492350"/>
                <a:gd name="connsiteX2" fmla="*/ 1307805 w 3742661"/>
                <a:gd name="connsiteY2" fmla="*/ 3381153 h 4492350"/>
                <a:gd name="connsiteX3" fmla="*/ 31898 w 3742661"/>
                <a:gd name="connsiteY3" fmla="*/ 2945218 h 4492350"/>
                <a:gd name="connsiteX4" fmla="*/ 1127052 w 3742661"/>
                <a:gd name="connsiteY4" fmla="*/ 3242930 h 4492350"/>
                <a:gd name="connsiteX5" fmla="*/ 393405 w 3742661"/>
                <a:gd name="connsiteY5" fmla="*/ 2456121 h 4492350"/>
                <a:gd name="connsiteX6" fmla="*/ 1775638 w 3742661"/>
                <a:gd name="connsiteY6" fmla="*/ 3519376 h 4492350"/>
                <a:gd name="connsiteX7" fmla="*/ 1679945 w 3742661"/>
                <a:gd name="connsiteY7" fmla="*/ 2392325 h 4492350"/>
                <a:gd name="connsiteX8" fmla="*/ 0 w 3742661"/>
                <a:gd name="connsiteY8" fmla="*/ 754911 h 4492350"/>
                <a:gd name="connsiteX9" fmla="*/ 988828 w 3742661"/>
                <a:gd name="connsiteY9" fmla="*/ 1924493 h 4492350"/>
                <a:gd name="connsiteX10" fmla="*/ 1137684 w 3742661"/>
                <a:gd name="connsiteY10" fmla="*/ 861237 h 4492350"/>
                <a:gd name="connsiteX11" fmla="*/ 1222745 w 3742661"/>
                <a:gd name="connsiteY11" fmla="*/ 2062716 h 4492350"/>
                <a:gd name="connsiteX12" fmla="*/ 1690577 w 3742661"/>
                <a:gd name="connsiteY12" fmla="*/ 2190307 h 4492350"/>
                <a:gd name="connsiteX13" fmla="*/ 1956391 w 3742661"/>
                <a:gd name="connsiteY13" fmla="*/ 0 h 4492350"/>
                <a:gd name="connsiteX14" fmla="*/ 2083982 w 3742661"/>
                <a:gd name="connsiteY14" fmla="*/ 978195 h 4492350"/>
                <a:gd name="connsiteX15" fmla="*/ 1881963 w 3742661"/>
                <a:gd name="connsiteY15" fmla="*/ 2232837 h 4492350"/>
                <a:gd name="connsiteX16" fmla="*/ 2041452 w 3742661"/>
                <a:gd name="connsiteY16" fmla="*/ 3030279 h 4492350"/>
                <a:gd name="connsiteX17" fmla="*/ 2647507 w 3742661"/>
                <a:gd name="connsiteY17" fmla="*/ 2519916 h 4492350"/>
                <a:gd name="connsiteX18" fmla="*/ 2849526 w 3742661"/>
                <a:gd name="connsiteY18" fmla="*/ 1307804 h 4492350"/>
                <a:gd name="connsiteX19" fmla="*/ 2838893 w 3742661"/>
                <a:gd name="connsiteY19" fmla="*/ 2371060 h 4492350"/>
                <a:gd name="connsiteX20" fmla="*/ 3742661 w 3742661"/>
                <a:gd name="connsiteY20" fmla="*/ 1148316 h 4492350"/>
                <a:gd name="connsiteX21" fmla="*/ 2222205 w 3742661"/>
                <a:gd name="connsiteY21" fmla="*/ 3370521 h 4492350"/>
                <a:gd name="connsiteX22" fmla="*/ 2169042 w 3742661"/>
                <a:gd name="connsiteY22" fmla="*/ 3817088 h 4492350"/>
                <a:gd name="connsiteX23" fmla="*/ 3317358 w 3742661"/>
                <a:gd name="connsiteY23" fmla="*/ 3094074 h 4492350"/>
                <a:gd name="connsiteX24" fmla="*/ 2194317 w 3742661"/>
                <a:gd name="connsiteY24" fmla="*/ 4030951 h 4492350"/>
                <a:gd name="connsiteX25" fmla="*/ 2232838 w 3742661"/>
                <a:gd name="connsiteY25" fmla="*/ 4476307 h 4492350"/>
                <a:gd name="connsiteX26" fmla="*/ 2218194 w 3742661"/>
                <a:gd name="connsiteY26" fmla="*/ 4491415 h 4492350"/>
                <a:gd name="connsiteX27" fmla="*/ 1743740 w 3742661"/>
                <a:gd name="connsiteY27" fmla="*/ 4492350 h 4492350"/>
                <a:gd name="connsiteX0" fmla="*/ 1743740 w 3742661"/>
                <a:gd name="connsiteY0" fmla="*/ 4492350 h 4492350"/>
                <a:gd name="connsiteX1" fmla="*/ 1796903 w 3742661"/>
                <a:gd name="connsiteY1" fmla="*/ 3785190 h 4492350"/>
                <a:gd name="connsiteX2" fmla="*/ 1307805 w 3742661"/>
                <a:gd name="connsiteY2" fmla="*/ 3381153 h 4492350"/>
                <a:gd name="connsiteX3" fmla="*/ 31898 w 3742661"/>
                <a:gd name="connsiteY3" fmla="*/ 2945218 h 4492350"/>
                <a:gd name="connsiteX4" fmla="*/ 1127052 w 3742661"/>
                <a:gd name="connsiteY4" fmla="*/ 3242930 h 4492350"/>
                <a:gd name="connsiteX5" fmla="*/ 393405 w 3742661"/>
                <a:gd name="connsiteY5" fmla="*/ 2456121 h 4492350"/>
                <a:gd name="connsiteX6" fmla="*/ 1775638 w 3742661"/>
                <a:gd name="connsiteY6" fmla="*/ 3519376 h 4492350"/>
                <a:gd name="connsiteX7" fmla="*/ 1679945 w 3742661"/>
                <a:gd name="connsiteY7" fmla="*/ 2392325 h 4492350"/>
                <a:gd name="connsiteX8" fmla="*/ 0 w 3742661"/>
                <a:gd name="connsiteY8" fmla="*/ 754911 h 4492350"/>
                <a:gd name="connsiteX9" fmla="*/ 988828 w 3742661"/>
                <a:gd name="connsiteY9" fmla="*/ 1924493 h 4492350"/>
                <a:gd name="connsiteX10" fmla="*/ 1137684 w 3742661"/>
                <a:gd name="connsiteY10" fmla="*/ 861237 h 4492350"/>
                <a:gd name="connsiteX11" fmla="*/ 1222745 w 3742661"/>
                <a:gd name="connsiteY11" fmla="*/ 2062716 h 4492350"/>
                <a:gd name="connsiteX12" fmla="*/ 1690577 w 3742661"/>
                <a:gd name="connsiteY12" fmla="*/ 2190307 h 4492350"/>
                <a:gd name="connsiteX13" fmla="*/ 1956391 w 3742661"/>
                <a:gd name="connsiteY13" fmla="*/ 0 h 4492350"/>
                <a:gd name="connsiteX14" fmla="*/ 2083982 w 3742661"/>
                <a:gd name="connsiteY14" fmla="*/ 978195 h 4492350"/>
                <a:gd name="connsiteX15" fmla="*/ 1881963 w 3742661"/>
                <a:gd name="connsiteY15" fmla="*/ 2232837 h 4492350"/>
                <a:gd name="connsiteX16" fmla="*/ 2041452 w 3742661"/>
                <a:gd name="connsiteY16" fmla="*/ 3030279 h 4492350"/>
                <a:gd name="connsiteX17" fmla="*/ 2647507 w 3742661"/>
                <a:gd name="connsiteY17" fmla="*/ 2519916 h 4492350"/>
                <a:gd name="connsiteX18" fmla="*/ 2849526 w 3742661"/>
                <a:gd name="connsiteY18" fmla="*/ 1307804 h 4492350"/>
                <a:gd name="connsiteX19" fmla="*/ 2838893 w 3742661"/>
                <a:gd name="connsiteY19" fmla="*/ 2371060 h 4492350"/>
                <a:gd name="connsiteX20" fmla="*/ 3742661 w 3742661"/>
                <a:gd name="connsiteY20" fmla="*/ 1148316 h 4492350"/>
                <a:gd name="connsiteX21" fmla="*/ 2222205 w 3742661"/>
                <a:gd name="connsiteY21" fmla="*/ 3370521 h 4492350"/>
                <a:gd name="connsiteX22" fmla="*/ 2169042 w 3742661"/>
                <a:gd name="connsiteY22" fmla="*/ 3817088 h 4492350"/>
                <a:gd name="connsiteX23" fmla="*/ 3317358 w 3742661"/>
                <a:gd name="connsiteY23" fmla="*/ 3094074 h 4492350"/>
                <a:gd name="connsiteX24" fmla="*/ 2194317 w 3742661"/>
                <a:gd name="connsiteY24" fmla="*/ 4030951 h 4492350"/>
                <a:gd name="connsiteX25" fmla="*/ 2232838 w 3742661"/>
                <a:gd name="connsiteY25" fmla="*/ 4476307 h 4492350"/>
                <a:gd name="connsiteX26" fmla="*/ 2218194 w 3742661"/>
                <a:gd name="connsiteY26" fmla="*/ 4491415 h 4492350"/>
                <a:gd name="connsiteX27" fmla="*/ 1743740 w 3742661"/>
                <a:gd name="connsiteY27" fmla="*/ 4492350 h 4492350"/>
                <a:gd name="connsiteX0" fmla="*/ 1743740 w 3742661"/>
                <a:gd name="connsiteY0" fmla="*/ 4492350 h 4492350"/>
                <a:gd name="connsiteX1" fmla="*/ 1796903 w 3742661"/>
                <a:gd name="connsiteY1" fmla="*/ 3785190 h 4492350"/>
                <a:gd name="connsiteX2" fmla="*/ 1307805 w 3742661"/>
                <a:gd name="connsiteY2" fmla="*/ 3381153 h 4492350"/>
                <a:gd name="connsiteX3" fmla="*/ 31898 w 3742661"/>
                <a:gd name="connsiteY3" fmla="*/ 2945218 h 4492350"/>
                <a:gd name="connsiteX4" fmla="*/ 1127052 w 3742661"/>
                <a:gd name="connsiteY4" fmla="*/ 3242930 h 4492350"/>
                <a:gd name="connsiteX5" fmla="*/ 393405 w 3742661"/>
                <a:gd name="connsiteY5" fmla="*/ 2456121 h 4492350"/>
                <a:gd name="connsiteX6" fmla="*/ 1775638 w 3742661"/>
                <a:gd name="connsiteY6" fmla="*/ 3519376 h 4492350"/>
                <a:gd name="connsiteX7" fmla="*/ 1679945 w 3742661"/>
                <a:gd name="connsiteY7" fmla="*/ 2392325 h 4492350"/>
                <a:gd name="connsiteX8" fmla="*/ 0 w 3742661"/>
                <a:gd name="connsiteY8" fmla="*/ 754911 h 4492350"/>
                <a:gd name="connsiteX9" fmla="*/ 988828 w 3742661"/>
                <a:gd name="connsiteY9" fmla="*/ 1924493 h 4492350"/>
                <a:gd name="connsiteX10" fmla="*/ 1137684 w 3742661"/>
                <a:gd name="connsiteY10" fmla="*/ 861237 h 4492350"/>
                <a:gd name="connsiteX11" fmla="*/ 1222745 w 3742661"/>
                <a:gd name="connsiteY11" fmla="*/ 2062716 h 4492350"/>
                <a:gd name="connsiteX12" fmla="*/ 1690577 w 3742661"/>
                <a:gd name="connsiteY12" fmla="*/ 2190307 h 4492350"/>
                <a:gd name="connsiteX13" fmla="*/ 1956391 w 3742661"/>
                <a:gd name="connsiteY13" fmla="*/ 0 h 4492350"/>
                <a:gd name="connsiteX14" fmla="*/ 2083982 w 3742661"/>
                <a:gd name="connsiteY14" fmla="*/ 978195 h 4492350"/>
                <a:gd name="connsiteX15" fmla="*/ 1881963 w 3742661"/>
                <a:gd name="connsiteY15" fmla="*/ 2232837 h 4492350"/>
                <a:gd name="connsiteX16" fmla="*/ 2041452 w 3742661"/>
                <a:gd name="connsiteY16" fmla="*/ 3030279 h 4492350"/>
                <a:gd name="connsiteX17" fmla="*/ 2647507 w 3742661"/>
                <a:gd name="connsiteY17" fmla="*/ 2519916 h 4492350"/>
                <a:gd name="connsiteX18" fmla="*/ 2849526 w 3742661"/>
                <a:gd name="connsiteY18" fmla="*/ 1307804 h 4492350"/>
                <a:gd name="connsiteX19" fmla="*/ 2838893 w 3742661"/>
                <a:gd name="connsiteY19" fmla="*/ 2371060 h 4492350"/>
                <a:gd name="connsiteX20" fmla="*/ 3742661 w 3742661"/>
                <a:gd name="connsiteY20" fmla="*/ 1148316 h 4492350"/>
                <a:gd name="connsiteX21" fmla="*/ 2222205 w 3742661"/>
                <a:gd name="connsiteY21" fmla="*/ 3370521 h 4492350"/>
                <a:gd name="connsiteX22" fmla="*/ 2169042 w 3742661"/>
                <a:gd name="connsiteY22" fmla="*/ 3817088 h 4492350"/>
                <a:gd name="connsiteX23" fmla="*/ 3317358 w 3742661"/>
                <a:gd name="connsiteY23" fmla="*/ 3094074 h 4492350"/>
                <a:gd name="connsiteX24" fmla="*/ 2194317 w 3742661"/>
                <a:gd name="connsiteY24" fmla="*/ 4030951 h 4492350"/>
                <a:gd name="connsiteX25" fmla="*/ 2232838 w 3742661"/>
                <a:gd name="connsiteY25" fmla="*/ 4476307 h 4492350"/>
                <a:gd name="connsiteX26" fmla="*/ 2218194 w 3742661"/>
                <a:gd name="connsiteY26" fmla="*/ 4491415 h 4492350"/>
                <a:gd name="connsiteX27" fmla="*/ 1743740 w 3742661"/>
                <a:gd name="connsiteY27" fmla="*/ 4492350 h 4492350"/>
                <a:gd name="connsiteX0" fmla="*/ 1743740 w 3742661"/>
                <a:gd name="connsiteY0" fmla="*/ 4492350 h 4492350"/>
                <a:gd name="connsiteX1" fmla="*/ 1796903 w 3742661"/>
                <a:gd name="connsiteY1" fmla="*/ 3785190 h 4492350"/>
                <a:gd name="connsiteX2" fmla="*/ 1307805 w 3742661"/>
                <a:gd name="connsiteY2" fmla="*/ 3381153 h 4492350"/>
                <a:gd name="connsiteX3" fmla="*/ 31898 w 3742661"/>
                <a:gd name="connsiteY3" fmla="*/ 2945218 h 4492350"/>
                <a:gd name="connsiteX4" fmla="*/ 1127052 w 3742661"/>
                <a:gd name="connsiteY4" fmla="*/ 3242930 h 4492350"/>
                <a:gd name="connsiteX5" fmla="*/ 393405 w 3742661"/>
                <a:gd name="connsiteY5" fmla="*/ 2456121 h 4492350"/>
                <a:gd name="connsiteX6" fmla="*/ 1775638 w 3742661"/>
                <a:gd name="connsiteY6" fmla="*/ 3519376 h 4492350"/>
                <a:gd name="connsiteX7" fmla="*/ 1679945 w 3742661"/>
                <a:gd name="connsiteY7" fmla="*/ 2392325 h 4492350"/>
                <a:gd name="connsiteX8" fmla="*/ 0 w 3742661"/>
                <a:gd name="connsiteY8" fmla="*/ 754911 h 4492350"/>
                <a:gd name="connsiteX9" fmla="*/ 988828 w 3742661"/>
                <a:gd name="connsiteY9" fmla="*/ 1924493 h 4492350"/>
                <a:gd name="connsiteX10" fmla="*/ 1137684 w 3742661"/>
                <a:gd name="connsiteY10" fmla="*/ 861237 h 4492350"/>
                <a:gd name="connsiteX11" fmla="*/ 1222745 w 3742661"/>
                <a:gd name="connsiteY11" fmla="*/ 2062716 h 4492350"/>
                <a:gd name="connsiteX12" fmla="*/ 1690577 w 3742661"/>
                <a:gd name="connsiteY12" fmla="*/ 2190307 h 4492350"/>
                <a:gd name="connsiteX13" fmla="*/ 1956391 w 3742661"/>
                <a:gd name="connsiteY13" fmla="*/ 0 h 4492350"/>
                <a:gd name="connsiteX14" fmla="*/ 2083982 w 3742661"/>
                <a:gd name="connsiteY14" fmla="*/ 978195 h 4492350"/>
                <a:gd name="connsiteX15" fmla="*/ 1881963 w 3742661"/>
                <a:gd name="connsiteY15" fmla="*/ 2232837 h 4492350"/>
                <a:gd name="connsiteX16" fmla="*/ 2041452 w 3742661"/>
                <a:gd name="connsiteY16" fmla="*/ 3030279 h 4492350"/>
                <a:gd name="connsiteX17" fmla="*/ 2647507 w 3742661"/>
                <a:gd name="connsiteY17" fmla="*/ 2519916 h 4492350"/>
                <a:gd name="connsiteX18" fmla="*/ 2849526 w 3742661"/>
                <a:gd name="connsiteY18" fmla="*/ 1307804 h 4492350"/>
                <a:gd name="connsiteX19" fmla="*/ 2838893 w 3742661"/>
                <a:gd name="connsiteY19" fmla="*/ 2371060 h 4492350"/>
                <a:gd name="connsiteX20" fmla="*/ 3742661 w 3742661"/>
                <a:gd name="connsiteY20" fmla="*/ 1148316 h 4492350"/>
                <a:gd name="connsiteX21" fmla="*/ 2222205 w 3742661"/>
                <a:gd name="connsiteY21" fmla="*/ 3370521 h 4492350"/>
                <a:gd name="connsiteX22" fmla="*/ 2169042 w 3742661"/>
                <a:gd name="connsiteY22" fmla="*/ 3817088 h 4492350"/>
                <a:gd name="connsiteX23" fmla="*/ 3317358 w 3742661"/>
                <a:gd name="connsiteY23" fmla="*/ 3094074 h 4492350"/>
                <a:gd name="connsiteX24" fmla="*/ 2194317 w 3742661"/>
                <a:gd name="connsiteY24" fmla="*/ 4030951 h 4492350"/>
                <a:gd name="connsiteX25" fmla="*/ 2232838 w 3742661"/>
                <a:gd name="connsiteY25" fmla="*/ 4476307 h 4492350"/>
                <a:gd name="connsiteX26" fmla="*/ 2218194 w 3742661"/>
                <a:gd name="connsiteY26" fmla="*/ 4491415 h 4492350"/>
                <a:gd name="connsiteX27" fmla="*/ 1743740 w 3742661"/>
                <a:gd name="connsiteY27" fmla="*/ 4492350 h 4492350"/>
                <a:gd name="connsiteX0" fmla="*/ 1743740 w 3742661"/>
                <a:gd name="connsiteY0" fmla="*/ 4492350 h 4492350"/>
                <a:gd name="connsiteX1" fmla="*/ 1796903 w 3742661"/>
                <a:gd name="connsiteY1" fmla="*/ 3785190 h 4492350"/>
                <a:gd name="connsiteX2" fmla="*/ 1307805 w 3742661"/>
                <a:gd name="connsiteY2" fmla="*/ 3381153 h 4492350"/>
                <a:gd name="connsiteX3" fmla="*/ 31898 w 3742661"/>
                <a:gd name="connsiteY3" fmla="*/ 2945218 h 4492350"/>
                <a:gd name="connsiteX4" fmla="*/ 1127052 w 3742661"/>
                <a:gd name="connsiteY4" fmla="*/ 3242930 h 4492350"/>
                <a:gd name="connsiteX5" fmla="*/ 393405 w 3742661"/>
                <a:gd name="connsiteY5" fmla="*/ 2456121 h 4492350"/>
                <a:gd name="connsiteX6" fmla="*/ 1775638 w 3742661"/>
                <a:gd name="connsiteY6" fmla="*/ 3519376 h 4492350"/>
                <a:gd name="connsiteX7" fmla="*/ 1679945 w 3742661"/>
                <a:gd name="connsiteY7" fmla="*/ 2392325 h 4492350"/>
                <a:gd name="connsiteX8" fmla="*/ 0 w 3742661"/>
                <a:gd name="connsiteY8" fmla="*/ 754911 h 4492350"/>
                <a:gd name="connsiteX9" fmla="*/ 988828 w 3742661"/>
                <a:gd name="connsiteY9" fmla="*/ 1924493 h 4492350"/>
                <a:gd name="connsiteX10" fmla="*/ 1137684 w 3742661"/>
                <a:gd name="connsiteY10" fmla="*/ 861237 h 4492350"/>
                <a:gd name="connsiteX11" fmla="*/ 1222745 w 3742661"/>
                <a:gd name="connsiteY11" fmla="*/ 2062716 h 4492350"/>
                <a:gd name="connsiteX12" fmla="*/ 1690577 w 3742661"/>
                <a:gd name="connsiteY12" fmla="*/ 2190307 h 4492350"/>
                <a:gd name="connsiteX13" fmla="*/ 1956391 w 3742661"/>
                <a:gd name="connsiteY13" fmla="*/ 0 h 4492350"/>
                <a:gd name="connsiteX14" fmla="*/ 2083982 w 3742661"/>
                <a:gd name="connsiteY14" fmla="*/ 978195 h 4492350"/>
                <a:gd name="connsiteX15" fmla="*/ 1881963 w 3742661"/>
                <a:gd name="connsiteY15" fmla="*/ 2232837 h 4492350"/>
                <a:gd name="connsiteX16" fmla="*/ 2041452 w 3742661"/>
                <a:gd name="connsiteY16" fmla="*/ 3030279 h 4492350"/>
                <a:gd name="connsiteX17" fmla="*/ 2647507 w 3742661"/>
                <a:gd name="connsiteY17" fmla="*/ 2519916 h 4492350"/>
                <a:gd name="connsiteX18" fmla="*/ 2849526 w 3742661"/>
                <a:gd name="connsiteY18" fmla="*/ 1307804 h 4492350"/>
                <a:gd name="connsiteX19" fmla="*/ 2838893 w 3742661"/>
                <a:gd name="connsiteY19" fmla="*/ 2371060 h 4492350"/>
                <a:gd name="connsiteX20" fmla="*/ 3742661 w 3742661"/>
                <a:gd name="connsiteY20" fmla="*/ 1148316 h 4492350"/>
                <a:gd name="connsiteX21" fmla="*/ 2222205 w 3742661"/>
                <a:gd name="connsiteY21" fmla="*/ 3370521 h 4492350"/>
                <a:gd name="connsiteX22" fmla="*/ 2169042 w 3742661"/>
                <a:gd name="connsiteY22" fmla="*/ 3817088 h 4492350"/>
                <a:gd name="connsiteX23" fmla="*/ 3317358 w 3742661"/>
                <a:gd name="connsiteY23" fmla="*/ 3094074 h 4492350"/>
                <a:gd name="connsiteX24" fmla="*/ 2194317 w 3742661"/>
                <a:gd name="connsiteY24" fmla="*/ 4030951 h 4492350"/>
                <a:gd name="connsiteX25" fmla="*/ 2232838 w 3742661"/>
                <a:gd name="connsiteY25" fmla="*/ 4476307 h 4492350"/>
                <a:gd name="connsiteX26" fmla="*/ 2218194 w 3742661"/>
                <a:gd name="connsiteY26" fmla="*/ 4491415 h 4492350"/>
                <a:gd name="connsiteX27" fmla="*/ 1743740 w 3742661"/>
                <a:gd name="connsiteY27" fmla="*/ 4492350 h 4492350"/>
                <a:gd name="connsiteX0" fmla="*/ 1743740 w 3742661"/>
                <a:gd name="connsiteY0" fmla="*/ 4492350 h 4492350"/>
                <a:gd name="connsiteX1" fmla="*/ 1796903 w 3742661"/>
                <a:gd name="connsiteY1" fmla="*/ 3785190 h 4492350"/>
                <a:gd name="connsiteX2" fmla="*/ 1307805 w 3742661"/>
                <a:gd name="connsiteY2" fmla="*/ 3381153 h 4492350"/>
                <a:gd name="connsiteX3" fmla="*/ 31898 w 3742661"/>
                <a:gd name="connsiteY3" fmla="*/ 2945218 h 4492350"/>
                <a:gd name="connsiteX4" fmla="*/ 1127052 w 3742661"/>
                <a:gd name="connsiteY4" fmla="*/ 3242930 h 4492350"/>
                <a:gd name="connsiteX5" fmla="*/ 393405 w 3742661"/>
                <a:gd name="connsiteY5" fmla="*/ 2456121 h 4492350"/>
                <a:gd name="connsiteX6" fmla="*/ 1775638 w 3742661"/>
                <a:gd name="connsiteY6" fmla="*/ 3519376 h 4492350"/>
                <a:gd name="connsiteX7" fmla="*/ 1679945 w 3742661"/>
                <a:gd name="connsiteY7" fmla="*/ 2392325 h 4492350"/>
                <a:gd name="connsiteX8" fmla="*/ 0 w 3742661"/>
                <a:gd name="connsiteY8" fmla="*/ 754911 h 4492350"/>
                <a:gd name="connsiteX9" fmla="*/ 988828 w 3742661"/>
                <a:gd name="connsiteY9" fmla="*/ 1924493 h 4492350"/>
                <a:gd name="connsiteX10" fmla="*/ 1137684 w 3742661"/>
                <a:gd name="connsiteY10" fmla="*/ 861237 h 4492350"/>
                <a:gd name="connsiteX11" fmla="*/ 1222745 w 3742661"/>
                <a:gd name="connsiteY11" fmla="*/ 2062716 h 4492350"/>
                <a:gd name="connsiteX12" fmla="*/ 1690577 w 3742661"/>
                <a:gd name="connsiteY12" fmla="*/ 2190307 h 4492350"/>
                <a:gd name="connsiteX13" fmla="*/ 1956391 w 3742661"/>
                <a:gd name="connsiteY13" fmla="*/ 0 h 4492350"/>
                <a:gd name="connsiteX14" fmla="*/ 2083982 w 3742661"/>
                <a:gd name="connsiteY14" fmla="*/ 978195 h 4492350"/>
                <a:gd name="connsiteX15" fmla="*/ 1881963 w 3742661"/>
                <a:gd name="connsiteY15" fmla="*/ 2232837 h 4492350"/>
                <a:gd name="connsiteX16" fmla="*/ 2041452 w 3742661"/>
                <a:gd name="connsiteY16" fmla="*/ 3030279 h 4492350"/>
                <a:gd name="connsiteX17" fmla="*/ 2647507 w 3742661"/>
                <a:gd name="connsiteY17" fmla="*/ 2519916 h 4492350"/>
                <a:gd name="connsiteX18" fmla="*/ 2849526 w 3742661"/>
                <a:gd name="connsiteY18" fmla="*/ 1307804 h 4492350"/>
                <a:gd name="connsiteX19" fmla="*/ 2838893 w 3742661"/>
                <a:gd name="connsiteY19" fmla="*/ 2371060 h 4492350"/>
                <a:gd name="connsiteX20" fmla="*/ 3742661 w 3742661"/>
                <a:gd name="connsiteY20" fmla="*/ 1148316 h 4492350"/>
                <a:gd name="connsiteX21" fmla="*/ 2222205 w 3742661"/>
                <a:gd name="connsiteY21" fmla="*/ 3370521 h 4492350"/>
                <a:gd name="connsiteX22" fmla="*/ 2169042 w 3742661"/>
                <a:gd name="connsiteY22" fmla="*/ 3817088 h 4492350"/>
                <a:gd name="connsiteX23" fmla="*/ 3317358 w 3742661"/>
                <a:gd name="connsiteY23" fmla="*/ 3094074 h 4492350"/>
                <a:gd name="connsiteX24" fmla="*/ 2194317 w 3742661"/>
                <a:gd name="connsiteY24" fmla="*/ 4030951 h 4492350"/>
                <a:gd name="connsiteX25" fmla="*/ 2232838 w 3742661"/>
                <a:gd name="connsiteY25" fmla="*/ 4476307 h 4492350"/>
                <a:gd name="connsiteX26" fmla="*/ 2218194 w 3742661"/>
                <a:gd name="connsiteY26" fmla="*/ 4491415 h 4492350"/>
                <a:gd name="connsiteX27" fmla="*/ 1743740 w 3742661"/>
                <a:gd name="connsiteY27" fmla="*/ 4492350 h 4492350"/>
                <a:gd name="connsiteX0" fmla="*/ 1743740 w 3742661"/>
                <a:gd name="connsiteY0" fmla="*/ 4492350 h 4492350"/>
                <a:gd name="connsiteX1" fmla="*/ 1796903 w 3742661"/>
                <a:gd name="connsiteY1" fmla="*/ 3785190 h 4492350"/>
                <a:gd name="connsiteX2" fmla="*/ 1307805 w 3742661"/>
                <a:gd name="connsiteY2" fmla="*/ 3381153 h 4492350"/>
                <a:gd name="connsiteX3" fmla="*/ 31898 w 3742661"/>
                <a:gd name="connsiteY3" fmla="*/ 2945218 h 4492350"/>
                <a:gd name="connsiteX4" fmla="*/ 1127052 w 3742661"/>
                <a:gd name="connsiteY4" fmla="*/ 3242930 h 4492350"/>
                <a:gd name="connsiteX5" fmla="*/ 393405 w 3742661"/>
                <a:gd name="connsiteY5" fmla="*/ 2456121 h 4492350"/>
                <a:gd name="connsiteX6" fmla="*/ 1775638 w 3742661"/>
                <a:gd name="connsiteY6" fmla="*/ 3519376 h 4492350"/>
                <a:gd name="connsiteX7" fmla="*/ 1679945 w 3742661"/>
                <a:gd name="connsiteY7" fmla="*/ 2392325 h 4492350"/>
                <a:gd name="connsiteX8" fmla="*/ 0 w 3742661"/>
                <a:gd name="connsiteY8" fmla="*/ 754911 h 4492350"/>
                <a:gd name="connsiteX9" fmla="*/ 988828 w 3742661"/>
                <a:gd name="connsiteY9" fmla="*/ 1924493 h 4492350"/>
                <a:gd name="connsiteX10" fmla="*/ 1137684 w 3742661"/>
                <a:gd name="connsiteY10" fmla="*/ 861237 h 4492350"/>
                <a:gd name="connsiteX11" fmla="*/ 1222745 w 3742661"/>
                <a:gd name="connsiteY11" fmla="*/ 2062716 h 4492350"/>
                <a:gd name="connsiteX12" fmla="*/ 1690577 w 3742661"/>
                <a:gd name="connsiteY12" fmla="*/ 2190307 h 4492350"/>
                <a:gd name="connsiteX13" fmla="*/ 1956391 w 3742661"/>
                <a:gd name="connsiteY13" fmla="*/ 0 h 4492350"/>
                <a:gd name="connsiteX14" fmla="*/ 2083982 w 3742661"/>
                <a:gd name="connsiteY14" fmla="*/ 978195 h 4492350"/>
                <a:gd name="connsiteX15" fmla="*/ 1881963 w 3742661"/>
                <a:gd name="connsiteY15" fmla="*/ 2232837 h 4492350"/>
                <a:gd name="connsiteX16" fmla="*/ 2041452 w 3742661"/>
                <a:gd name="connsiteY16" fmla="*/ 3030279 h 4492350"/>
                <a:gd name="connsiteX17" fmla="*/ 2647507 w 3742661"/>
                <a:gd name="connsiteY17" fmla="*/ 2519916 h 4492350"/>
                <a:gd name="connsiteX18" fmla="*/ 2849526 w 3742661"/>
                <a:gd name="connsiteY18" fmla="*/ 1307804 h 4492350"/>
                <a:gd name="connsiteX19" fmla="*/ 2838893 w 3742661"/>
                <a:gd name="connsiteY19" fmla="*/ 2371060 h 4492350"/>
                <a:gd name="connsiteX20" fmla="*/ 3742661 w 3742661"/>
                <a:gd name="connsiteY20" fmla="*/ 1148316 h 4492350"/>
                <a:gd name="connsiteX21" fmla="*/ 2222205 w 3742661"/>
                <a:gd name="connsiteY21" fmla="*/ 3370521 h 4492350"/>
                <a:gd name="connsiteX22" fmla="*/ 2169042 w 3742661"/>
                <a:gd name="connsiteY22" fmla="*/ 3817088 h 4492350"/>
                <a:gd name="connsiteX23" fmla="*/ 3317358 w 3742661"/>
                <a:gd name="connsiteY23" fmla="*/ 3094074 h 4492350"/>
                <a:gd name="connsiteX24" fmla="*/ 2194317 w 3742661"/>
                <a:gd name="connsiteY24" fmla="*/ 4030951 h 4492350"/>
                <a:gd name="connsiteX25" fmla="*/ 2232838 w 3742661"/>
                <a:gd name="connsiteY25" fmla="*/ 4476307 h 4492350"/>
                <a:gd name="connsiteX26" fmla="*/ 2218194 w 3742661"/>
                <a:gd name="connsiteY26" fmla="*/ 4491415 h 4492350"/>
                <a:gd name="connsiteX27" fmla="*/ 1743740 w 3742661"/>
                <a:gd name="connsiteY27" fmla="*/ 4492350 h 4492350"/>
                <a:gd name="connsiteX0" fmla="*/ 1743740 w 3742661"/>
                <a:gd name="connsiteY0" fmla="*/ 4492350 h 4492350"/>
                <a:gd name="connsiteX1" fmla="*/ 1796903 w 3742661"/>
                <a:gd name="connsiteY1" fmla="*/ 3785190 h 4492350"/>
                <a:gd name="connsiteX2" fmla="*/ 1307805 w 3742661"/>
                <a:gd name="connsiteY2" fmla="*/ 3381153 h 4492350"/>
                <a:gd name="connsiteX3" fmla="*/ 31898 w 3742661"/>
                <a:gd name="connsiteY3" fmla="*/ 2945218 h 4492350"/>
                <a:gd name="connsiteX4" fmla="*/ 1127052 w 3742661"/>
                <a:gd name="connsiteY4" fmla="*/ 3242930 h 4492350"/>
                <a:gd name="connsiteX5" fmla="*/ 393405 w 3742661"/>
                <a:gd name="connsiteY5" fmla="*/ 2456121 h 4492350"/>
                <a:gd name="connsiteX6" fmla="*/ 1775638 w 3742661"/>
                <a:gd name="connsiteY6" fmla="*/ 3519376 h 4492350"/>
                <a:gd name="connsiteX7" fmla="*/ 1679945 w 3742661"/>
                <a:gd name="connsiteY7" fmla="*/ 2392325 h 4492350"/>
                <a:gd name="connsiteX8" fmla="*/ 0 w 3742661"/>
                <a:gd name="connsiteY8" fmla="*/ 754911 h 4492350"/>
                <a:gd name="connsiteX9" fmla="*/ 988828 w 3742661"/>
                <a:gd name="connsiteY9" fmla="*/ 1924493 h 4492350"/>
                <a:gd name="connsiteX10" fmla="*/ 1137684 w 3742661"/>
                <a:gd name="connsiteY10" fmla="*/ 861237 h 4492350"/>
                <a:gd name="connsiteX11" fmla="*/ 1222745 w 3742661"/>
                <a:gd name="connsiteY11" fmla="*/ 2062716 h 4492350"/>
                <a:gd name="connsiteX12" fmla="*/ 1690577 w 3742661"/>
                <a:gd name="connsiteY12" fmla="*/ 2190307 h 4492350"/>
                <a:gd name="connsiteX13" fmla="*/ 1956391 w 3742661"/>
                <a:gd name="connsiteY13" fmla="*/ 0 h 4492350"/>
                <a:gd name="connsiteX14" fmla="*/ 2083982 w 3742661"/>
                <a:gd name="connsiteY14" fmla="*/ 978195 h 4492350"/>
                <a:gd name="connsiteX15" fmla="*/ 1881963 w 3742661"/>
                <a:gd name="connsiteY15" fmla="*/ 2232837 h 4492350"/>
                <a:gd name="connsiteX16" fmla="*/ 2041452 w 3742661"/>
                <a:gd name="connsiteY16" fmla="*/ 3030279 h 4492350"/>
                <a:gd name="connsiteX17" fmla="*/ 2647507 w 3742661"/>
                <a:gd name="connsiteY17" fmla="*/ 2519916 h 4492350"/>
                <a:gd name="connsiteX18" fmla="*/ 2849526 w 3742661"/>
                <a:gd name="connsiteY18" fmla="*/ 1307804 h 4492350"/>
                <a:gd name="connsiteX19" fmla="*/ 2838893 w 3742661"/>
                <a:gd name="connsiteY19" fmla="*/ 2371060 h 4492350"/>
                <a:gd name="connsiteX20" fmla="*/ 3742661 w 3742661"/>
                <a:gd name="connsiteY20" fmla="*/ 1148316 h 4492350"/>
                <a:gd name="connsiteX21" fmla="*/ 2222205 w 3742661"/>
                <a:gd name="connsiteY21" fmla="*/ 3370521 h 4492350"/>
                <a:gd name="connsiteX22" fmla="*/ 2169042 w 3742661"/>
                <a:gd name="connsiteY22" fmla="*/ 3817088 h 4492350"/>
                <a:gd name="connsiteX23" fmla="*/ 3317358 w 3742661"/>
                <a:gd name="connsiteY23" fmla="*/ 3094074 h 4492350"/>
                <a:gd name="connsiteX24" fmla="*/ 2194317 w 3742661"/>
                <a:gd name="connsiteY24" fmla="*/ 4030951 h 4492350"/>
                <a:gd name="connsiteX25" fmla="*/ 2232838 w 3742661"/>
                <a:gd name="connsiteY25" fmla="*/ 4476307 h 4492350"/>
                <a:gd name="connsiteX26" fmla="*/ 2218194 w 3742661"/>
                <a:gd name="connsiteY26" fmla="*/ 4491415 h 4492350"/>
                <a:gd name="connsiteX27" fmla="*/ 1743740 w 3742661"/>
                <a:gd name="connsiteY27" fmla="*/ 4492350 h 4492350"/>
                <a:gd name="connsiteX0" fmla="*/ 1743740 w 3742661"/>
                <a:gd name="connsiteY0" fmla="*/ 4492350 h 4492350"/>
                <a:gd name="connsiteX1" fmla="*/ 1796903 w 3742661"/>
                <a:gd name="connsiteY1" fmla="*/ 3785190 h 4492350"/>
                <a:gd name="connsiteX2" fmla="*/ 1307805 w 3742661"/>
                <a:gd name="connsiteY2" fmla="*/ 3381153 h 4492350"/>
                <a:gd name="connsiteX3" fmla="*/ 31898 w 3742661"/>
                <a:gd name="connsiteY3" fmla="*/ 2945218 h 4492350"/>
                <a:gd name="connsiteX4" fmla="*/ 1127052 w 3742661"/>
                <a:gd name="connsiteY4" fmla="*/ 3242930 h 4492350"/>
                <a:gd name="connsiteX5" fmla="*/ 393405 w 3742661"/>
                <a:gd name="connsiteY5" fmla="*/ 2456121 h 4492350"/>
                <a:gd name="connsiteX6" fmla="*/ 1775638 w 3742661"/>
                <a:gd name="connsiteY6" fmla="*/ 3519376 h 4492350"/>
                <a:gd name="connsiteX7" fmla="*/ 1679945 w 3742661"/>
                <a:gd name="connsiteY7" fmla="*/ 2392325 h 4492350"/>
                <a:gd name="connsiteX8" fmla="*/ 0 w 3742661"/>
                <a:gd name="connsiteY8" fmla="*/ 754911 h 4492350"/>
                <a:gd name="connsiteX9" fmla="*/ 988828 w 3742661"/>
                <a:gd name="connsiteY9" fmla="*/ 1924493 h 4492350"/>
                <a:gd name="connsiteX10" fmla="*/ 1137684 w 3742661"/>
                <a:gd name="connsiteY10" fmla="*/ 861237 h 4492350"/>
                <a:gd name="connsiteX11" fmla="*/ 1222745 w 3742661"/>
                <a:gd name="connsiteY11" fmla="*/ 2062716 h 4492350"/>
                <a:gd name="connsiteX12" fmla="*/ 1690577 w 3742661"/>
                <a:gd name="connsiteY12" fmla="*/ 2190307 h 4492350"/>
                <a:gd name="connsiteX13" fmla="*/ 1956391 w 3742661"/>
                <a:gd name="connsiteY13" fmla="*/ 0 h 4492350"/>
                <a:gd name="connsiteX14" fmla="*/ 2083982 w 3742661"/>
                <a:gd name="connsiteY14" fmla="*/ 978195 h 4492350"/>
                <a:gd name="connsiteX15" fmla="*/ 1881963 w 3742661"/>
                <a:gd name="connsiteY15" fmla="*/ 2232837 h 4492350"/>
                <a:gd name="connsiteX16" fmla="*/ 2041452 w 3742661"/>
                <a:gd name="connsiteY16" fmla="*/ 3030279 h 4492350"/>
                <a:gd name="connsiteX17" fmla="*/ 2647507 w 3742661"/>
                <a:gd name="connsiteY17" fmla="*/ 2519916 h 4492350"/>
                <a:gd name="connsiteX18" fmla="*/ 2849526 w 3742661"/>
                <a:gd name="connsiteY18" fmla="*/ 1307804 h 4492350"/>
                <a:gd name="connsiteX19" fmla="*/ 2838893 w 3742661"/>
                <a:gd name="connsiteY19" fmla="*/ 2371060 h 4492350"/>
                <a:gd name="connsiteX20" fmla="*/ 3742661 w 3742661"/>
                <a:gd name="connsiteY20" fmla="*/ 1148316 h 4492350"/>
                <a:gd name="connsiteX21" fmla="*/ 2222205 w 3742661"/>
                <a:gd name="connsiteY21" fmla="*/ 3370521 h 4492350"/>
                <a:gd name="connsiteX22" fmla="*/ 2169042 w 3742661"/>
                <a:gd name="connsiteY22" fmla="*/ 3817088 h 4492350"/>
                <a:gd name="connsiteX23" fmla="*/ 3317358 w 3742661"/>
                <a:gd name="connsiteY23" fmla="*/ 3094074 h 4492350"/>
                <a:gd name="connsiteX24" fmla="*/ 2194317 w 3742661"/>
                <a:gd name="connsiteY24" fmla="*/ 4030951 h 4492350"/>
                <a:gd name="connsiteX25" fmla="*/ 2232838 w 3742661"/>
                <a:gd name="connsiteY25" fmla="*/ 4476307 h 4492350"/>
                <a:gd name="connsiteX26" fmla="*/ 2218194 w 3742661"/>
                <a:gd name="connsiteY26" fmla="*/ 4491415 h 4492350"/>
                <a:gd name="connsiteX27" fmla="*/ 1743740 w 3742661"/>
                <a:gd name="connsiteY27" fmla="*/ 4492350 h 4492350"/>
                <a:gd name="connsiteX0" fmla="*/ 1743740 w 3742661"/>
                <a:gd name="connsiteY0" fmla="*/ 4492350 h 4492350"/>
                <a:gd name="connsiteX1" fmla="*/ 1796903 w 3742661"/>
                <a:gd name="connsiteY1" fmla="*/ 3785190 h 4492350"/>
                <a:gd name="connsiteX2" fmla="*/ 1307805 w 3742661"/>
                <a:gd name="connsiteY2" fmla="*/ 3381153 h 4492350"/>
                <a:gd name="connsiteX3" fmla="*/ 31898 w 3742661"/>
                <a:gd name="connsiteY3" fmla="*/ 2945218 h 4492350"/>
                <a:gd name="connsiteX4" fmla="*/ 1127052 w 3742661"/>
                <a:gd name="connsiteY4" fmla="*/ 3242930 h 4492350"/>
                <a:gd name="connsiteX5" fmla="*/ 393405 w 3742661"/>
                <a:gd name="connsiteY5" fmla="*/ 2456121 h 4492350"/>
                <a:gd name="connsiteX6" fmla="*/ 1775638 w 3742661"/>
                <a:gd name="connsiteY6" fmla="*/ 3519376 h 4492350"/>
                <a:gd name="connsiteX7" fmla="*/ 1679945 w 3742661"/>
                <a:gd name="connsiteY7" fmla="*/ 2392325 h 4492350"/>
                <a:gd name="connsiteX8" fmla="*/ 0 w 3742661"/>
                <a:gd name="connsiteY8" fmla="*/ 754911 h 4492350"/>
                <a:gd name="connsiteX9" fmla="*/ 988828 w 3742661"/>
                <a:gd name="connsiteY9" fmla="*/ 1924493 h 4492350"/>
                <a:gd name="connsiteX10" fmla="*/ 1137684 w 3742661"/>
                <a:gd name="connsiteY10" fmla="*/ 861237 h 4492350"/>
                <a:gd name="connsiteX11" fmla="*/ 1222745 w 3742661"/>
                <a:gd name="connsiteY11" fmla="*/ 2062716 h 4492350"/>
                <a:gd name="connsiteX12" fmla="*/ 1690577 w 3742661"/>
                <a:gd name="connsiteY12" fmla="*/ 2190307 h 4492350"/>
                <a:gd name="connsiteX13" fmla="*/ 1956391 w 3742661"/>
                <a:gd name="connsiteY13" fmla="*/ 0 h 4492350"/>
                <a:gd name="connsiteX14" fmla="*/ 2083982 w 3742661"/>
                <a:gd name="connsiteY14" fmla="*/ 978195 h 4492350"/>
                <a:gd name="connsiteX15" fmla="*/ 1881963 w 3742661"/>
                <a:gd name="connsiteY15" fmla="*/ 2232837 h 4492350"/>
                <a:gd name="connsiteX16" fmla="*/ 2041452 w 3742661"/>
                <a:gd name="connsiteY16" fmla="*/ 3030279 h 4492350"/>
                <a:gd name="connsiteX17" fmla="*/ 2647507 w 3742661"/>
                <a:gd name="connsiteY17" fmla="*/ 2519916 h 4492350"/>
                <a:gd name="connsiteX18" fmla="*/ 2849526 w 3742661"/>
                <a:gd name="connsiteY18" fmla="*/ 1307804 h 4492350"/>
                <a:gd name="connsiteX19" fmla="*/ 2838893 w 3742661"/>
                <a:gd name="connsiteY19" fmla="*/ 2371060 h 4492350"/>
                <a:gd name="connsiteX20" fmla="*/ 3742661 w 3742661"/>
                <a:gd name="connsiteY20" fmla="*/ 1148316 h 4492350"/>
                <a:gd name="connsiteX21" fmla="*/ 2222205 w 3742661"/>
                <a:gd name="connsiteY21" fmla="*/ 3370521 h 4492350"/>
                <a:gd name="connsiteX22" fmla="*/ 2169042 w 3742661"/>
                <a:gd name="connsiteY22" fmla="*/ 3817088 h 4492350"/>
                <a:gd name="connsiteX23" fmla="*/ 3317358 w 3742661"/>
                <a:gd name="connsiteY23" fmla="*/ 3094074 h 4492350"/>
                <a:gd name="connsiteX24" fmla="*/ 2194317 w 3742661"/>
                <a:gd name="connsiteY24" fmla="*/ 4030951 h 4492350"/>
                <a:gd name="connsiteX25" fmla="*/ 2232838 w 3742661"/>
                <a:gd name="connsiteY25" fmla="*/ 4476307 h 4492350"/>
                <a:gd name="connsiteX26" fmla="*/ 2218194 w 3742661"/>
                <a:gd name="connsiteY26" fmla="*/ 4491415 h 4492350"/>
                <a:gd name="connsiteX27" fmla="*/ 1743740 w 3742661"/>
                <a:gd name="connsiteY27" fmla="*/ 4492350 h 4492350"/>
                <a:gd name="connsiteX0" fmla="*/ 1743740 w 3742661"/>
                <a:gd name="connsiteY0" fmla="*/ 4492350 h 4492350"/>
                <a:gd name="connsiteX1" fmla="*/ 1796903 w 3742661"/>
                <a:gd name="connsiteY1" fmla="*/ 3785190 h 4492350"/>
                <a:gd name="connsiteX2" fmla="*/ 1307805 w 3742661"/>
                <a:gd name="connsiteY2" fmla="*/ 3381153 h 4492350"/>
                <a:gd name="connsiteX3" fmla="*/ 31898 w 3742661"/>
                <a:gd name="connsiteY3" fmla="*/ 2945218 h 4492350"/>
                <a:gd name="connsiteX4" fmla="*/ 1127052 w 3742661"/>
                <a:gd name="connsiteY4" fmla="*/ 3242930 h 4492350"/>
                <a:gd name="connsiteX5" fmla="*/ 393405 w 3742661"/>
                <a:gd name="connsiteY5" fmla="*/ 2456121 h 4492350"/>
                <a:gd name="connsiteX6" fmla="*/ 1775638 w 3742661"/>
                <a:gd name="connsiteY6" fmla="*/ 3519376 h 4492350"/>
                <a:gd name="connsiteX7" fmla="*/ 1679945 w 3742661"/>
                <a:gd name="connsiteY7" fmla="*/ 2392325 h 4492350"/>
                <a:gd name="connsiteX8" fmla="*/ 0 w 3742661"/>
                <a:gd name="connsiteY8" fmla="*/ 754911 h 4492350"/>
                <a:gd name="connsiteX9" fmla="*/ 988828 w 3742661"/>
                <a:gd name="connsiteY9" fmla="*/ 1924493 h 4492350"/>
                <a:gd name="connsiteX10" fmla="*/ 1137684 w 3742661"/>
                <a:gd name="connsiteY10" fmla="*/ 861237 h 4492350"/>
                <a:gd name="connsiteX11" fmla="*/ 1222745 w 3742661"/>
                <a:gd name="connsiteY11" fmla="*/ 2062716 h 4492350"/>
                <a:gd name="connsiteX12" fmla="*/ 1690577 w 3742661"/>
                <a:gd name="connsiteY12" fmla="*/ 2190307 h 4492350"/>
                <a:gd name="connsiteX13" fmla="*/ 1956391 w 3742661"/>
                <a:gd name="connsiteY13" fmla="*/ 0 h 4492350"/>
                <a:gd name="connsiteX14" fmla="*/ 2083982 w 3742661"/>
                <a:gd name="connsiteY14" fmla="*/ 978195 h 4492350"/>
                <a:gd name="connsiteX15" fmla="*/ 1881963 w 3742661"/>
                <a:gd name="connsiteY15" fmla="*/ 2232837 h 4492350"/>
                <a:gd name="connsiteX16" fmla="*/ 2041452 w 3742661"/>
                <a:gd name="connsiteY16" fmla="*/ 3030279 h 4492350"/>
                <a:gd name="connsiteX17" fmla="*/ 2647507 w 3742661"/>
                <a:gd name="connsiteY17" fmla="*/ 2519916 h 4492350"/>
                <a:gd name="connsiteX18" fmla="*/ 2849526 w 3742661"/>
                <a:gd name="connsiteY18" fmla="*/ 1307804 h 4492350"/>
                <a:gd name="connsiteX19" fmla="*/ 2838893 w 3742661"/>
                <a:gd name="connsiteY19" fmla="*/ 2371060 h 4492350"/>
                <a:gd name="connsiteX20" fmla="*/ 3742661 w 3742661"/>
                <a:gd name="connsiteY20" fmla="*/ 1148316 h 4492350"/>
                <a:gd name="connsiteX21" fmla="*/ 2222205 w 3742661"/>
                <a:gd name="connsiteY21" fmla="*/ 3370521 h 4492350"/>
                <a:gd name="connsiteX22" fmla="*/ 2169042 w 3742661"/>
                <a:gd name="connsiteY22" fmla="*/ 3817088 h 4492350"/>
                <a:gd name="connsiteX23" fmla="*/ 3317358 w 3742661"/>
                <a:gd name="connsiteY23" fmla="*/ 3094074 h 4492350"/>
                <a:gd name="connsiteX24" fmla="*/ 2194317 w 3742661"/>
                <a:gd name="connsiteY24" fmla="*/ 4030951 h 4492350"/>
                <a:gd name="connsiteX25" fmla="*/ 2232838 w 3742661"/>
                <a:gd name="connsiteY25" fmla="*/ 4476307 h 4492350"/>
                <a:gd name="connsiteX26" fmla="*/ 2218194 w 3742661"/>
                <a:gd name="connsiteY26" fmla="*/ 4491415 h 4492350"/>
                <a:gd name="connsiteX27" fmla="*/ 1743740 w 3742661"/>
                <a:gd name="connsiteY27" fmla="*/ 4492350 h 4492350"/>
                <a:gd name="connsiteX0" fmla="*/ 1743740 w 3742661"/>
                <a:gd name="connsiteY0" fmla="*/ 4492350 h 4492350"/>
                <a:gd name="connsiteX1" fmla="*/ 1796903 w 3742661"/>
                <a:gd name="connsiteY1" fmla="*/ 3785190 h 4492350"/>
                <a:gd name="connsiteX2" fmla="*/ 1307805 w 3742661"/>
                <a:gd name="connsiteY2" fmla="*/ 3381153 h 4492350"/>
                <a:gd name="connsiteX3" fmla="*/ 31898 w 3742661"/>
                <a:gd name="connsiteY3" fmla="*/ 2945218 h 4492350"/>
                <a:gd name="connsiteX4" fmla="*/ 1127052 w 3742661"/>
                <a:gd name="connsiteY4" fmla="*/ 3242930 h 4492350"/>
                <a:gd name="connsiteX5" fmla="*/ 393405 w 3742661"/>
                <a:gd name="connsiteY5" fmla="*/ 2456121 h 4492350"/>
                <a:gd name="connsiteX6" fmla="*/ 1775638 w 3742661"/>
                <a:gd name="connsiteY6" fmla="*/ 3519376 h 4492350"/>
                <a:gd name="connsiteX7" fmla="*/ 1679945 w 3742661"/>
                <a:gd name="connsiteY7" fmla="*/ 2392325 h 4492350"/>
                <a:gd name="connsiteX8" fmla="*/ 0 w 3742661"/>
                <a:gd name="connsiteY8" fmla="*/ 754911 h 4492350"/>
                <a:gd name="connsiteX9" fmla="*/ 988828 w 3742661"/>
                <a:gd name="connsiteY9" fmla="*/ 1924493 h 4492350"/>
                <a:gd name="connsiteX10" fmla="*/ 1137684 w 3742661"/>
                <a:gd name="connsiteY10" fmla="*/ 861237 h 4492350"/>
                <a:gd name="connsiteX11" fmla="*/ 1222745 w 3742661"/>
                <a:gd name="connsiteY11" fmla="*/ 2062716 h 4492350"/>
                <a:gd name="connsiteX12" fmla="*/ 1690577 w 3742661"/>
                <a:gd name="connsiteY12" fmla="*/ 2190307 h 4492350"/>
                <a:gd name="connsiteX13" fmla="*/ 1956391 w 3742661"/>
                <a:gd name="connsiteY13" fmla="*/ 0 h 4492350"/>
                <a:gd name="connsiteX14" fmla="*/ 2083982 w 3742661"/>
                <a:gd name="connsiteY14" fmla="*/ 978195 h 4492350"/>
                <a:gd name="connsiteX15" fmla="*/ 1881963 w 3742661"/>
                <a:gd name="connsiteY15" fmla="*/ 2232837 h 4492350"/>
                <a:gd name="connsiteX16" fmla="*/ 2041452 w 3742661"/>
                <a:gd name="connsiteY16" fmla="*/ 3030279 h 4492350"/>
                <a:gd name="connsiteX17" fmla="*/ 2647507 w 3742661"/>
                <a:gd name="connsiteY17" fmla="*/ 2519916 h 4492350"/>
                <a:gd name="connsiteX18" fmla="*/ 2849526 w 3742661"/>
                <a:gd name="connsiteY18" fmla="*/ 1307804 h 4492350"/>
                <a:gd name="connsiteX19" fmla="*/ 2838893 w 3742661"/>
                <a:gd name="connsiteY19" fmla="*/ 2371060 h 4492350"/>
                <a:gd name="connsiteX20" fmla="*/ 3742661 w 3742661"/>
                <a:gd name="connsiteY20" fmla="*/ 1148316 h 4492350"/>
                <a:gd name="connsiteX21" fmla="*/ 2222205 w 3742661"/>
                <a:gd name="connsiteY21" fmla="*/ 3370521 h 4492350"/>
                <a:gd name="connsiteX22" fmla="*/ 2169042 w 3742661"/>
                <a:gd name="connsiteY22" fmla="*/ 3817088 h 4492350"/>
                <a:gd name="connsiteX23" fmla="*/ 3317358 w 3742661"/>
                <a:gd name="connsiteY23" fmla="*/ 3094074 h 4492350"/>
                <a:gd name="connsiteX24" fmla="*/ 2194317 w 3742661"/>
                <a:gd name="connsiteY24" fmla="*/ 4030951 h 4492350"/>
                <a:gd name="connsiteX25" fmla="*/ 2232838 w 3742661"/>
                <a:gd name="connsiteY25" fmla="*/ 4476307 h 4492350"/>
                <a:gd name="connsiteX26" fmla="*/ 2218194 w 3742661"/>
                <a:gd name="connsiteY26" fmla="*/ 4491415 h 4492350"/>
                <a:gd name="connsiteX27" fmla="*/ 1743740 w 3742661"/>
                <a:gd name="connsiteY27" fmla="*/ 4492350 h 4492350"/>
                <a:gd name="connsiteX0" fmla="*/ 1743740 w 3742661"/>
                <a:gd name="connsiteY0" fmla="*/ 4492350 h 4492350"/>
                <a:gd name="connsiteX1" fmla="*/ 1796903 w 3742661"/>
                <a:gd name="connsiteY1" fmla="*/ 3785190 h 4492350"/>
                <a:gd name="connsiteX2" fmla="*/ 1307805 w 3742661"/>
                <a:gd name="connsiteY2" fmla="*/ 3381153 h 4492350"/>
                <a:gd name="connsiteX3" fmla="*/ 31898 w 3742661"/>
                <a:gd name="connsiteY3" fmla="*/ 2945218 h 4492350"/>
                <a:gd name="connsiteX4" fmla="*/ 1127052 w 3742661"/>
                <a:gd name="connsiteY4" fmla="*/ 3242930 h 4492350"/>
                <a:gd name="connsiteX5" fmla="*/ 393405 w 3742661"/>
                <a:gd name="connsiteY5" fmla="*/ 2456121 h 4492350"/>
                <a:gd name="connsiteX6" fmla="*/ 1775638 w 3742661"/>
                <a:gd name="connsiteY6" fmla="*/ 3519376 h 4492350"/>
                <a:gd name="connsiteX7" fmla="*/ 1679945 w 3742661"/>
                <a:gd name="connsiteY7" fmla="*/ 2392325 h 4492350"/>
                <a:gd name="connsiteX8" fmla="*/ 0 w 3742661"/>
                <a:gd name="connsiteY8" fmla="*/ 754911 h 4492350"/>
                <a:gd name="connsiteX9" fmla="*/ 988828 w 3742661"/>
                <a:gd name="connsiteY9" fmla="*/ 1924493 h 4492350"/>
                <a:gd name="connsiteX10" fmla="*/ 1137684 w 3742661"/>
                <a:gd name="connsiteY10" fmla="*/ 861237 h 4492350"/>
                <a:gd name="connsiteX11" fmla="*/ 1222745 w 3742661"/>
                <a:gd name="connsiteY11" fmla="*/ 2062716 h 4492350"/>
                <a:gd name="connsiteX12" fmla="*/ 1690577 w 3742661"/>
                <a:gd name="connsiteY12" fmla="*/ 2190307 h 4492350"/>
                <a:gd name="connsiteX13" fmla="*/ 1956391 w 3742661"/>
                <a:gd name="connsiteY13" fmla="*/ 0 h 4492350"/>
                <a:gd name="connsiteX14" fmla="*/ 2083982 w 3742661"/>
                <a:gd name="connsiteY14" fmla="*/ 978195 h 4492350"/>
                <a:gd name="connsiteX15" fmla="*/ 1881963 w 3742661"/>
                <a:gd name="connsiteY15" fmla="*/ 2232837 h 4492350"/>
                <a:gd name="connsiteX16" fmla="*/ 2057494 w 3742661"/>
                <a:gd name="connsiteY16" fmla="*/ 3046321 h 4492350"/>
                <a:gd name="connsiteX17" fmla="*/ 2647507 w 3742661"/>
                <a:gd name="connsiteY17" fmla="*/ 2519916 h 4492350"/>
                <a:gd name="connsiteX18" fmla="*/ 2849526 w 3742661"/>
                <a:gd name="connsiteY18" fmla="*/ 1307804 h 4492350"/>
                <a:gd name="connsiteX19" fmla="*/ 2838893 w 3742661"/>
                <a:gd name="connsiteY19" fmla="*/ 2371060 h 4492350"/>
                <a:gd name="connsiteX20" fmla="*/ 3742661 w 3742661"/>
                <a:gd name="connsiteY20" fmla="*/ 1148316 h 4492350"/>
                <a:gd name="connsiteX21" fmla="*/ 2222205 w 3742661"/>
                <a:gd name="connsiteY21" fmla="*/ 3370521 h 4492350"/>
                <a:gd name="connsiteX22" fmla="*/ 2169042 w 3742661"/>
                <a:gd name="connsiteY22" fmla="*/ 3817088 h 4492350"/>
                <a:gd name="connsiteX23" fmla="*/ 3317358 w 3742661"/>
                <a:gd name="connsiteY23" fmla="*/ 3094074 h 4492350"/>
                <a:gd name="connsiteX24" fmla="*/ 2194317 w 3742661"/>
                <a:gd name="connsiteY24" fmla="*/ 4030951 h 4492350"/>
                <a:gd name="connsiteX25" fmla="*/ 2232838 w 3742661"/>
                <a:gd name="connsiteY25" fmla="*/ 4476307 h 4492350"/>
                <a:gd name="connsiteX26" fmla="*/ 2218194 w 3742661"/>
                <a:gd name="connsiteY26" fmla="*/ 4491415 h 4492350"/>
                <a:gd name="connsiteX27" fmla="*/ 1743740 w 3742661"/>
                <a:gd name="connsiteY27" fmla="*/ 4492350 h 4492350"/>
                <a:gd name="connsiteX0" fmla="*/ 1743740 w 3742661"/>
                <a:gd name="connsiteY0" fmla="*/ 4492350 h 4492350"/>
                <a:gd name="connsiteX1" fmla="*/ 1796903 w 3742661"/>
                <a:gd name="connsiteY1" fmla="*/ 3785190 h 4492350"/>
                <a:gd name="connsiteX2" fmla="*/ 1307805 w 3742661"/>
                <a:gd name="connsiteY2" fmla="*/ 3381153 h 4492350"/>
                <a:gd name="connsiteX3" fmla="*/ 31898 w 3742661"/>
                <a:gd name="connsiteY3" fmla="*/ 2945218 h 4492350"/>
                <a:gd name="connsiteX4" fmla="*/ 1127052 w 3742661"/>
                <a:gd name="connsiteY4" fmla="*/ 3242930 h 4492350"/>
                <a:gd name="connsiteX5" fmla="*/ 393405 w 3742661"/>
                <a:gd name="connsiteY5" fmla="*/ 2456121 h 4492350"/>
                <a:gd name="connsiteX6" fmla="*/ 1775638 w 3742661"/>
                <a:gd name="connsiteY6" fmla="*/ 3519376 h 4492350"/>
                <a:gd name="connsiteX7" fmla="*/ 1679945 w 3742661"/>
                <a:gd name="connsiteY7" fmla="*/ 2392325 h 4492350"/>
                <a:gd name="connsiteX8" fmla="*/ 0 w 3742661"/>
                <a:gd name="connsiteY8" fmla="*/ 754911 h 4492350"/>
                <a:gd name="connsiteX9" fmla="*/ 988828 w 3742661"/>
                <a:gd name="connsiteY9" fmla="*/ 1924493 h 4492350"/>
                <a:gd name="connsiteX10" fmla="*/ 1137684 w 3742661"/>
                <a:gd name="connsiteY10" fmla="*/ 861237 h 4492350"/>
                <a:gd name="connsiteX11" fmla="*/ 1222745 w 3742661"/>
                <a:gd name="connsiteY11" fmla="*/ 2062716 h 4492350"/>
                <a:gd name="connsiteX12" fmla="*/ 1690577 w 3742661"/>
                <a:gd name="connsiteY12" fmla="*/ 2190307 h 4492350"/>
                <a:gd name="connsiteX13" fmla="*/ 1956391 w 3742661"/>
                <a:gd name="connsiteY13" fmla="*/ 0 h 4492350"/>
                <a:gd name="connsiteX14" fmla="*/ 2083982 w 3742661"/>
                <a:gd name="connsiteY14" fmla="*/ 978195 h 4492350"/>
                <a:gd name="connsiteX15" fmla="*/ 1881963 w 3742661"/>
                <a:gd name="connsiteY15" fmla="*/ 2232837 h 4492350"/>
                <a:gd name="connsiteX16" fmla="*/ 2057494 w 3742661"/>
                <a:gd name="connsiteY16" fmla="*/ 3046321 h 4492350"/>
                <a:gd name="connsiteX17" fmla="*/ 2647507 w 3742661"/>
                <a:gd name="connsiteY17" fmla="*/ 2519916 h 4492350"/>
                <a:gd name="connsiteX18" fmla="*/ 2849526 w 3742661"/>
                <a:gd name="connsiteY18" fmla="*/ 1307804 h 4492350"/>
                <a:gd name="connsiteX19" fmla="*/ 2838893 w 3742661"/>
                <a:gd name="connsiteY19" fmla="*/ 2371060 h 4492350"/>
                <a:gd name="connsiteX20" fmla="*/ 3742661 w 3742661"/>
                <a:gd name="connsiteY20" fmla="*/ 1148316 h 4492350"/>
                <a:gd name="connsiteX21" fmla="*/ 2222205 w 3742661"/>
                <a:gd name="connsiteY21" fmla="*/ 3370521 h 4492350"/>
                <a:gd name="connsiteX22" fmla="*/ 2169042 w 3742661"/>
                <a:gd name="connsiteY22" fmla="*/ 3817088 h 4492350"/>
                <a:gd name="connsiteX23" fmla="*/ 3317358 w 3742661"/>
                <a:gd name="connsiteY23" fmla="*/ 3094074 h 4492350"/>
                <a:gd name="connsiteX24" fmla="*/ 2194317 w 3742661"/>
                <a:gd name="connsiteY24" fmla="*/ 4030951 h 4492350"/>
                <a:gd name="connsiteX25" fmla="*/ 2232838 w 3742661"/>
                <a:gd name="connsiteY25" fmla="*/ 4476307 h 4492350"/>
                <a:gd name="connsiteX26" fmla="*/ 2218194 w 3742661"/>
                <a:gd name="connsiteY26" fmla="*/ 4491415 h 4492350"/>
                <a:gd name="connsiteX27" fmla="*/ 1743740 w 3742661"/>
                <a:gd name="connsiteY27" fmla="*/ 4492350 h 4492350"/>
                <a:gd name="connsiteX0" fmla="*/ 1743740 w 3742661"/>
                <a:gd name="connsiteY0" fmla="*/ 4492350 h 4492350"/>
                <a:gd name="connsiteX1" fmla="*/ 1796903 w 3742661"/>
                <a:gd name="connsiteY1" fmla="*/ 3785190 h 4492350"/>
                <a:gd name="connsiteX2" fmla="*/ 1307805 w 3742661"/>
                <a:gd name="connsiteY2" fmla="*/ 3381153 h 4492350"/>
                <a:gd name="connsiteX3" fmla="*/ 31898 w 3742661"/>
                <a:gd name="connsiteY3" fmla="*/ 2945218 h 4492350"/>
                <a:gd name="connsiteX4" fmla="*/ 1127052 w 3742661"/>
                <a:gd name="connsiteY4" fmla="*/ 3242930 h 4492350"/>
                <a:gd name="connsiteX5" fmla="*/ 393405 w 3742661"/>
                <a:gd name="connsiteY5" fmla="*/ 2456121 h 4492350"/>
                <a:gd name="connsiteX6" fmla="*/ 1775638 w 3742661"/>
                <a:gd name="connsiteY6" fmla="*/ 3519376 h 4492350"/>
                <a:gd name="connsiteX7" fmla="*/ 1679945 w 3742661"/>
                <a:gd name="connsiteY7" fmla="*/ 2392325 h 4492350"/>
                <a:gd name="connsiteX8" fmla="*/ 0 w 3742661"/>
                <a:gd name="connsiteY8" fmla="*/ 754911 h 4492350"/>
                <a:gd name="connsiteX9" fmla="*/ 988828 w 3742661"/>
                <a:gd name="connsiteY9" fmla="*/ 1924493 h 4492350"/>
                <a:gd name="connsiteX10" fmla="*/ 1137684 w 3742661"/>
                <a:gd name="connsiteY10" fmla="*/ 861237 h 4492350"/>
                <a:gd name="connsiteX11" fmla="*/ 1222745 w 3742661"/>
                <a:gd name="connsiteY11" fmla="*/ 2062716 h 4492350"/>
                <a:gd name="connsiteX12" fmla="*/ 1690577 w 3742661"/>
                <a:gd name="connsiteY12" fmla="*/ 2190307 h 4492350"/>
                <a:gd name="connsiteX13" fmla="*/ 1956391 w 3742661"/>
                <a:gd name="connsiteY13" fmla="*/ 0 h 4492350"/>
                <a:gd name="connsiteX14" fmla="*/ 2083982 w 3742661"/>
                <a:gd name="connsiteY14" fmla="*/ 978195 h 4492350"/>
                <a:gd name="connsiteX15" fmla="*/ 1881963 w 3742661"/>
                <a:gd name="connsiteY15" fmla="*/ 2232837 h 4492350"/>
                <a:gd name="connsiteX16" fmla="*/ 2057494 w 3742661"/>
                <a:gd name="connsiteY16" fmla="*/ 3046321 h 4492350"/>
                <a:gd name="connsiteX17" fmla="*/ 2647507 w 3742661"/>
                <a:gd name="connsiteY17" fmla="*/ 2519916 h 4492350"/>
                <a:gd name="connsiteX18" fmla="*/ 2849526 w 3742661"/>
                <a:gd name="connsiteY18" fmla="*/ 1307804 h 4492350"/>
                <a:gd name="connsiteX19" fmla="*/ 2838893 w 3742661"/>
                <a:gd name="connsiteY19" fmla="*/ 2371060 h 4492350"/>
                <a:gd name="connsiteX20" fmla="*/ 3742661 w 3742661"/>
                <a:gd name="connsiteY20" fmla="*/ 1148316 h 4492350"/>
                <a:gd name="connsiteX21" fmla="*/ 2222205 w 3742661"/>
                <a:gd name="connsiteY21" fmla="*/ 3370521 h 4492350"/>
                <a:gd name="connsiteX22" fmla="*/ 2169042 w 3742661"/>
                <a:gd name="connsiteY22" fmla="*/ 3817088 h 4492350"/>
                <a:gd name="connsiteX23" fmla="*/ 3317358 w 3742661"/>
                <a:gd name="connsiteY23" fmla="*/ 3094074 h 4492350"/>
                <a:gd name="connsiteX24" fmla="*/ 2194317 w 3742661"/>
                <a:gd name="connsiteY24" fmla="*/ 4030951 h 4492350"/>
                <a:gd name="connsiteX25" fmla="*/ 2232838 w 3742661"/>
                <a:gd name="connsiteY25" fmla="*/ 4476307 h 4492350"/>
                <a:gd name="connsiteX26" fmla="*/ 2218194 w 3742661"/>
                <a:gd name="connsiteY26" fmla="*/ 4491415 h 4492350"/>
                <a:gd name="connsiteX27" fmla="*/ 1743740 w 3742661"/>
                <a:gd name="connsiteY27" fmla="*/ 4492350 h 4492350"/>
                <a:gd name="connsiteX0" fmla="*/ 1743740 w 3742661"/>
                <a:gd name="connsiteY0" fmla="*/ 4492350 h 4492350"/>
                <a:gd name="connsiteX1" fmla="*/ 1796903 w 3742661"/>
                <a:gd name="connsiteY1" fmla="*/ 3785190 h 4492350"/>
                <a:gd name="connsiteX2" fmla="*/ 1307805 w 3742661"/>
                <a:gd name="connsiteY2" fmla="*/ 3381153 h 4492350"/>
                <a:gd name="connsiteX3" fmla="*/ 31898 w 3742661"/>
                <a:gd name="connsiteY3" fmla="*/ 2945218 h 4492350"/>
                <a:gd name="connsiteX4" fmla="*/ 1127052 w 3742661"/>
                <a:gd name="connsiteY4" fmla="*/ 3242930 h 4492350"/>
                <a:gd name="connsiteX5" fmla="*/ 393405 w 3742661"/>
                <a:gd name="connsiteY5" fmla="*/ 2456121 h 4492350"/>
                <a:gd name="connsiteX6" fmla="*/ 1775638 w 3742661"/>
                <a:gd name="connsiteY6" fmla="*/ 3519376 h 4492350"/>
                <a:gd name="connsiteX7" fmla="*/ 1679945 w 3742661"/>
                <a:gd name="connsiteY7" fmla="*/ 2392325 h 4492350"/>
                <a:gd name="connsiteX8" fmla="*/ 0 w 3742661"/>
                <a:gd name="connsiteY8" fmla="*/ 754911 h 4492350"/>
                <a:gd name="connsiteX9" fmla="*/ 988828 w 3742661"/>
                <a:gd name="connsiteY9" fmla="*/ 1924493 h 4492350"/>
                <a:gd name="connsiteX10" fmla="*/ 1137684 w 3742661"/>
                <a:gd name="connsiteY10" fmla="*/ 861237 h 4492350"/>
                <a:gd name="connsiteX11" fmla="*/ 1222745 w 3742661"/>
                <a:gd name="connsiteY11" fmla="*/ 2062716 h 4492350"/>
                <a:gd name="connsiteX12" fmla="*/ 1690577 w 3742661"/>
                <a:gd name="connsiteY12" fmla="*/ 2190307 h 4492350"/>
                <a:gd name="connsiteX13" fmla="*/ 1956391 w 3742661"/>
                <a:gd name="connsiteY13" fmla="*/ 0 h 4492350"/>
                <a:gd name="connsiteX14" fmla="*/ 2083982 w 3742661"/>
                <a:gd name="connsiteY14" fmla="*/ 978195 h 4492350"/>
                <a:gd name="connsiteX15" fmla="*/ 1881963 w 3742661"/>
                <a:gd name="connsiteY15" fmla="*/ 2232837 h 4492350"/>
                <a:gd name="connsiteX16" fmla="*/ 2057494 w 3742661"/>
                <a:gd name="connsiteY16" fmla="*/ 3046321 h 4492350"/>
                <a:gd name="connsiteX17" fmla="*/ 2647507 w 3742661"/>
                <a:gd name="connsiteY17" fmla="*/ 2519916 h 4492350"/>
                <a:gd name="connsiteX18" fmla="*/ 2913694 w 3742661"/>
                <a:gd name="connsiteY18" fmla="*/ 1291762 h 4492350"/>
                <a:gd name="connsiteX19" fmla="*/ 2838893 w 3742661"/>
                <a:gd name="connsiteY19" fmla="*/ 2371060 h 4492350"/>
                <a:gd name="connsiteX20" fmla="*/ 3742661 w 3742661"/>
                <a:gd name="connsiteY20" fmla="*/ 1148316 h 4492350"/>
                <a:gd name="connsiteX21" fmla="*/ 2222205 w 3742661"/>
                <a:gd name="connsiteY21" fmla="*/ 3370521 h 4492350"/>
                <a:gd name="connsiteX22" fmla="*/ 2169042 w 3742661"/>
                <a:gd name="connsiteY22" fmla="*/ 3817088 h 4492350"/>
                <a:gd name="connsiteX23" fmla="*/ 3317358 w 3742661"/>
                <a:gd name="connsiteY23" fmla="*/ 3094074 h 4492350"/>
                <a:gd name="connsiteX24" fmla="*/ 2194317 w 3742661"/>
                <a:gd name="connsiteY24" fmla="*/ 4030951 h 4492350"/>
                <a:gd name="connsiteX25" fmla="*/ 2232838 w 3742661"/>
                <a:gd name="connsiteY25" fmla="*/ 4476307 h 4492350"/>
                <a:gd name="connsiteX26" fmla="*/ 2218194 w 3742661"/>
                <a:gd name="connsiteY26" fmla="*/ 4491415 h 4492350"/>
                <a:gd name="connsiteX27" fmla="*/ 1743740 w 3742661"/>
                <a:gd name="connsiteY27" fmla="*/ 4492350 h 4492350"/>
                <a:gd name="connsiteX0" fmla="*/ 1743740 w 3742661"/>
                <a:gd name="connsiteY0" fmla="*/ 4492350 h 4492350"/>
                <a:gd name="connsiteX1" fmla="*/ 1796903 w 3742661"/>
                <a:gd name="connsiteY1" fmla="*/ 3785190 h 4492350"/>
                <a:gd name="connsiteX2" fmla="*/ 1307805 w 3742661"/>
                <a:gd name="connsiteY2" fmla="*/ 3381153 h 4492350"/>
                <a:gd name="connsiteX3" fmla="*/ 31898 w 3742661"/>
                <a:gd name="connsiteY3" fmla="*/ 2945218 h 4492350"/>
                <a:gd name="connsiteX4" fmla="*/ 1127052 w 3742661"/>
                <a:gd name="connsiteY4" fmla="*/ 3242930 h 4492350"/>
                <a:gd name="connsiteX5" fmla="*/ 393405 w 3742661"/>
                <a:gd name="connsiteY5" fmla="*/ 2456121 h 4492350"/>
                <a:gd name="connsiteX6" fmla="*/ 1775638 w 3742661"/>
                <a:gd name="connsiteY6" fmla="*/ 3519376 h 4492350"/>
                <a:gd name="connsiteX7" fmla="*/ 1679945 w 3742661"/>
                <a:gd name="connsiteY7" fmla="*/ 2392325 h 4492350"/>
                <a:gd name="connsiteX8" fmla="*/ 0 w 3742661"/>
                <a:gd name="connsiteY8" fmla="*/ 754911 h 4492350"/>
                <a:gd name="connsiteX9" fmla="*/ 988828 w 3742661"/>
                <a:gd name="connsiteY9" fmla="*/ 1924493 h 4492350"/>
                <a:gd name="connsiteX10" fmla="*/ 1137684 w 3742661"/>
                <a:gd name="connsiteY10" fmla="*/ 861237 h 4492350"/>
                <a:gd name="connsiteX11" fmla="*/ 1222745 w 3742661"/>
                <a:gd name="connsiteY11" fmla="*/ 2062716 h 4492350"/>
                <a:gd name="connsiteX12" fmla="*/ 1690577 w 3742661"/>
                <a:gd name="connsiteY12" fmla="*/ 2190307 h 4492350"/>
                <a:gd name="connsiteX13" fmla="*/ 1956391 w 3742661"/>
                <a:gd name="connsiteY13" fmla="*/ 0 h 4492350"/>
                <a:gd name="connsiteX14" fmla="*/ 2083982 w 3742661"/>
                <a:gd name="connsiteY14" fmla="*/ 978195 h 4492350"/>
                <a:gd name="connsiteX15" fmla="*/ 1881963 w 3742661"/>
                <a:gd name="connsiteY15" fmla="*/ 2232837 h 4492350"/>
                <a:gd name="connsiteX16" fmla="*/ 2057494 w 3742661"/>
                <a:gd name="connsiteY16" fmla="*/ 3046321 h 4492350"/>
                <a:gd name="connsiteX17" fmla="*/ 2647507 w 3742661"/>
                <a:gd name="connsiteY17" fmla="*/ 2519916 h 4492350"/>
                <a:gd name="connsiteX18" fmla="*/ 2913694 w 3742661"/>
                <a:gd name="connsiteY18" fmla="*/ 1291762 h 4492350"/>
                <a:gd name="connsiteX19" fmla="*/ 2838893 w 3742661"/>
                <a:gd name="connsiteY19" fmla="*/ 2371060 h 4492350"/>
                <a:gd name="connsiteX20" fmla="*/ 3742661 w 3742661"/>
                <a:gd name="connsiteY20" fmla="*/ 1148316 h 4492350"/>
                <a:gd name="connsiteX21" fmla="*/ 2222205 w 3742661"/>
                <a:gd name="connsiteY21" fmla="*/ 3370521 h 4492350"/>
                <a:gd name="connsiteX22" fmla="*/ 2169042 w 3742661"/>
                <a:gd name="connsiteY22" fmla="*/ 3817088 h 4492350"/>
                <a:gd name="connsiteX23" fmla="*/ 3317358 w 3742661"/>
                <a:gd name="connsiteY23" fmla="*/ 3094074 h 4492350"/>
                <a:gd name="connsiteX24" fmla="*/ 2194317 w 3742661"/>
                <a:gd name="connsiteY24" fmla="*/ 4030951 h 4492350"/>
                <a:gd name="connsiteX25" fmla="*/ 2232838 w 3742661"/>
                <a:gd name="connsiteY25" fmla="*/ 4476307 h 4492350"/>
                <a:gd name="connsiteX26" fmla="*/ 2218194 w 3742661"/>
                <a:gd name="connsiteY26" fmla="*/ 4491415 h 4492350"/>
                <a:gd name="connsiteX27" fmla="*/ 1743740 w 3742661"/>
                <a:gd name="connsiteY27" fmla="*/ 4492350 h 4492350"/>
                <a:gd name="connsiteX0" fmla="*/ 1743740 w 3742661"/>
                <a:gd name="connsiteY0" fmla="*/ 4492350 h 4492350"/>
                <a:gd name="connsiteX1" fmla="*/ 1796903 w 3742661"/>
                <a:gd name="connsiteY1" fmla="*/ 3785190 h 4492350"/>
                <a:gd name="connsiteX2" fmla="*/ 1307805 w 3742661"/>
                <a:gd name="connsiteY2" fmla="*/ 3381153 h 4492350"/>
                <a:gd name="connsiteX3" fmla="*/ 31898 w 3742661"/>
                <a:gd name="connsiteY3" fmla="*/ 2945218 h 4492350"/>
                <a:gd name="connsiteX4" fmla="*/ 1127052 w 3742661"/>
                <a:gd name="connsiteY4" fmla="*/ 3242930 h 4492350"/>
                <a:gd name="connsiteX5" fmla="*/ 393405 w 3742661"/>
                <a:gd name="connsiteY5" fmla="*/ 2456121 h 4492350"/>
                <a:gd name="connsiteX6" fmla="*/ 1775638 w 3742661"/>
                <a:gd name="connsiteY6" fmla="*/ 3519376 h 4492350"/>
                <a:gd name="connsiteX7" fmla="*/ 1679945 w 3742661"/>
                <a:gd name="connsiteY7" fmla="*/ 2392325 h 4492350"/>
                <a:gd name="connsiteX8" fmla="*/ 0 w 3742661"/>
                <a:gd name="connsiteY8" fmla="*/ 754911 h 4492350"/>
                <a:gd name="connsiteX9" fmla="*/ 988828 w 3742661"/>
                <a:gd name="connsiteY9" fmla="*/ 1924493 h 4492350"/>
                <a:gd name="connsiteX10" fmla="*/ 1137684 w 3742661"/>
                <a:gd name="connsiteY10" fmla="*/ 861237 h 4492350"/>
                <a:gd name="connsiteX11" fmla="*/ 1222745 w 3742661"/>
                <a:gd name="connsiteY11" fmla="*/ 2062716 h 4492350"/>
                <a:gd name="connsiteX12" fmla="*/ 1690577 w 3742661"/>
                <a:gd name="connsiteY12" fmla="*/ 2190307 h 4492350"/>
                <a:gd name="connsiteX13" fmla="*/ 1956391 w 3742661"/>
                <a:gd name="connsiteY13" fmla="*/ 0 h 4492350"/>
                <a:gd name="connsiteX14" fmla="*/ 2083982 w 3742661"/>
                <a:gd name="connsiteY14" fmla="*/ 978195 h 4492350"/>
                <a:gd name="connsiteX15" fmla="*/ 1881963 w 3742661"/>
                <a:gd name="connsiteY15" fmla="*/ 2232837 h 4492350"/>
                <a:gd name="connsiteX16" fmla="*/ 2057494 w 3742661"/>
                <a:gd name="connsiteY16" fmla="*/ 3046321 h 4492350"/>
                <a:gd name="connsiteX17" fmla="*/ 2647507 w 3742661"/>
                <a:gd name="connsiteY17" fmla="*/ 2519916 h 4492350"/>
                <a:gd name="connsiteX18" fmla="*/ 2913694 w 3742661"/>
                <a:gd name="connsiteY18" fmla="*/ 1291762 h 4492350"/>
                <a:gd name="connsiteX19" fmla="*/ 2838893 w 3742661"/>
                <a:gd name="connsiteY19" fmla="*/ 2371060 h 4492350"/>
                <a:gd name="connsiteX20" fmla="*/ 3742661 w 3742661"/>
                <a:gd name="connsiteY20" fmla="*/ 1148316 h 4492350"/>
                <a:gd name="connsiteX21" fmla="*/ 2222205 w 3742661"/>
                <a:gd name="connsiteY21" fmla="*/ 3370521 h 4492350"/>
                <a:gd name="connsiteX22" fmla="*/ 2169042 w 3742661"/>
                <a:gd name="connsiteY22" fmla="*/ 3817088 h 4492350"/>
                <a:gd name="connsiteX23" fmla="*/ 3317358 w 3742661"/>
                <a:gd name="connsiteY23" fmla="*/ 3094074 h 4492350"/>
                <a:gd name="connsiteX24" fmla="*/ 2194317 w 3742661"/>
                <a:gd name="connsiteY24" fmla="*/ 4030951 h 4492350"/>
                <a:gd name="connsiteX25" fmla="*/ 2232838 w 3742661"/>
                <a:gd name="connsiteY25" fmla="*/ 4476307 h 4492350"/>
                <a:gd name="connsiteX26" fmla="*/ 2218194 w 3742661"/>
                <a:gd name="connsiteY26" fmla="*/ 4491415 h 4492350"/>
                <a:gd name="connsiteX27" fmla="*/ 1743740 w 3742661"/>
                <a:gd name="connsiteY27" fmla="*/ 4492350 h 4492350"/>
                <a:gd name="connsiteX0" fmla="*/ 1743740 w 3742661"/>
                <a:gd name="connsiteY0" fmla="*/ 4492350 h 4492350"/>
                <a:gd name="connsiteX1" fmla="*/ 1796903 w 3742661"/>
                <a:gd name="connsiteY1" fmla="*/ 3785190 h 4492350"/>
                <a:gd name="connsiteX2" fmla="*/ 1307805 w 3742661"/>
                <a:gd name="connsiteY2" fmla="*/ 3381153 h 4492350"/>
                <a:gd name="connsiteX3" fmla="*/ 31898 w 3742661"/>
                <a:gd name="connsiteY3" fmla="*/ 2945218 h 4492350"/>
                <a:gd name="connsiteX4" fmla="*/ 1127052 w 3742661"/>
                <a:gd name="connsiteY4" fmla="*/ 3242930 h 4492350"/>
                <a:gd name="connsiteX5" fmla="*/ 393405 w 3742661"/>
                <a:gd name="connsiteY5" fmla="*/ 2456121 h 4492350"/>
                <a:gd name="connsiteX6" fmla="*/ 1775638 w 3742661"/>
                <a:gd name="connsiteY6" fmla="*/ 3519376 h 4492350"/>
                <a:gd name="connsiteX7" fmla="*/ 1679945 w 3742661"/>
                <a:gd name="connsiteY7" fmla="*/ 2392325 h 4492350"/>
                <a:gd name="connsiteX8" fmla="*/ 0 w 3742661"/>
                <a:gd name="connsiteY8" fmla="*/ 754911 h 4492350"/>
                <a:gd name="connsiteX9" fmla="*/ 988828 w 3742661"/>
                <a:gd name="connsiteY9" fmla="*/ 1924493 h 4492350"/>
                <a:gd name="connsiteX10" fmla="*/ 1137684 w 3742661"/>
                <a:gd name="connsiteY10" fmla="*/ 861237 h 4492350"/>
                <a:gd name="connsiteX11" fmla="*/ 1222745 w 3742661"/>
                <a:gd name="connsiteY11" fmla="*/ 2062716 h 4492350"/>
                <a:gd name="connsiteX12" fmla="*/ 1690577 w 3742661"/>
                <a:gd name="connsiteY12" fmla="*/ 2190307 h 4492350"/>
                <a:gd name="connsiteX13" fmla="*/ 1956391 w 3742661"/>
                <a:gd name="connsiteY13" fmla="*/ 0 h 4492350"/>
                <a:gd name="connsiteX14" fmla="*/ 2083982 w 3742661"/>
                <a:gd name="connsiteY14" fmla="*/ 978195 h 4492350"/>
                <a:gd name="connsiteX15" fmla="*/ 1881963 w 3742661"/>
                <a:gd name="connsiteY15" fmla="*/ 2232837 h 4492350"/>
                <a:gd name="connsiteX16" fmla="*/ 2057494 w 3742661"/>
                <a:gd name="connsiteY16" fmla="*/ 3046321 h 4492350"/>
                <a:gd name="connsiteX17" fmla="*/ 2647507 w 3742661"/>
                <a:gd name="connsiteY17" fmla="*/ 2519916 h 4492350"/>
                <a:gd name="connsiteX18" fmla="*/ 2913694 w 3742661"/>
                <a:gd name="connsiteY18" fmla="*/ 1291762 h 4492350"/>
                <a:gd name="connsiteX19" fmla="*/ 2806809 w 3742661"/>
                <a:gd name="connsiteY19" fmla="*/ 2383091 h 4492350"/>
                <a:gd name="connsiteX20" fmla="*/ 3742661 w 3742661"/>
                <a:gd name="connsiteY20" fmla="*/ 1148316 h 4492350"/>
                <a:gd name="connsiteX21" fmla="*/ 2222205 w 3742661"/>
                <a:gd name="connsiteY21" fmla="*/ 3370521 h 4492350"/>
                <a:gd name="connsiteX22" fmla="*/ 2169042 w 3742661"/>
                <a:gd name="connsiteY22" fmla="*/ 3817088 h 4492350"/>
                <a:gd name="connsiteX23" fmla="*/ 3317358 w 3742661"/>
                <a:gd name="connsiteY23" fmla="*/ 3094074 h 4492350"/>
                <a:gd name="connsiteX24" fmla="*/ 2194317 w 3742661"/>
                <a:gd name="connsiteY24" fmla="*/ 4030951 h 4492350"/>
                <a:gd name="connsiteX25" fmla="*/ 2232838 w 3742661"/>
                <a:gd name="connsiteY25" fmla="*/ 4476307 h 4492350"/>
                <a:gd name="connsiteX26" fmla="*/ 2218194 w 3742661"/>
                <a:gd name="connsiteY26" fmla="*/ 4491415 h 4492350"/>
                <a:gd name="connsiteX27" fmla="*/ 1743740 w 3742661"/>
                <a:gd name="connsiteY27" fmla="*/ 4492350 h 4492350"/>
                <a:gd name="connsiteX0" fmla="*/ 1743740 w 3742661"/>
                <a:gd name="connsiteY0" fmla="*/ 4492350 h 4492350"/>
                <a:gd name="connsiteX1" fmla="*/ 1796903 w 3742661"/>
                <a:gd name="connsiteY1" fmla="*/ 3785190 h 4492350"/>
                <a:gd name="connsiteX2" fmla="*/ 1307805 w 3742661"/>
                <a:gd name="connsiteY2" fmla="*/ 3381153 h 4492350"/>
                <a:gd name="connsiteX3" fmla="*/ 31898 w 3742661"/>
                <a:gd name="connsiteY3" fmla="*/ 2945218 h 4492350"/>
                <a:gd name="connsiteX4" fmla="*/ 1127052 w 3742661"/>
                <a:gd name="connsiteY4" fmla="*/ 3242930 h 4492350"/>
                <a:gd name="connsiteX5" fmla="*/ 393405 w 3742661"/>
                <a:gd name="connsiteY5" fmla="*/ 2456121 h 4492350"/>
                <a:gd name="connsiteX6" fmla="*/ 1775638 w 3742661"/>
                <a:gd name="connsiteY6" fmla="*/ 3519376 h 4492350"/>
                <a:gd name="connsiteX7" fmla="*/ 1679945 w 3742661"/>
                <a:gd name="connsiteY7" fmla="*/ 2392325 h 4492350"/>
                <a:gd name="connsiteX8" fmla="*/ 0 w 3742661"/>
                <a:gd name="connsiteY8" fmla="*/ 754911 h 4492350"/>
                <a:gd name="connsiteX9" fmla="*/ 988828 w 3742661"/>
                <a:gd name="connsiteY9" fmla="*/ 1924493 h 4492350"/>
                <a:gd name="connsiteX10" fmla="*/ 1137684 w 3742661"/>
                <a:gd name="connsiteY10" fmla="*/ 861237 h 4492350"/>
                <a:gd name="connsiteX11" fmla="*/ 1222745 w 3742661"/>
                <a:gd name="connsiteY11" fmla="*/ 2062716 h 4492350"/>
                <a:gd name="connsiteX12" fmla="*/ 1690577 w 3742661"/>
                <a:gd name="connsiteY12" fmla="*/ 2190307 h 4492350"/>
                <a:gd name="connsiteX13" fmla="*/ 1956391 w 3742661"/>
                <a:gd name="connsiteY13" fmla="*/ 0 h 4492350"/>
                <a:gd name="connsiteX14" fmla="*/ 2083982 w 3742661"/>
                <a:gd name="connsiteY14" fmla="*/ 978195 h 4492350"/>
                <a:gd name="connsiteX15" fmla="*/ 1881963 w 3742661"/>
                <a:gd name="connsiteY15" fmla="*/ 2232837 h 4492350"/>
                <a:gd name="connsiteX16" fmla="*/ 2057494 w 3742661"/>
                <a:gd name="connsiteY16" fmla="*/ 3046321 h 4492350"/>
                <a:gd name="connsiteX17" fmla="*/ 2647507 w 3742661"/>
                <a:gd name="connsiteY17" fmla="*/ 2519916 h 4492350"/>
                <a:gd name="connsiteX18" fmla="*/ 2913694 w 3742661"/>
                <a:gd name="connsiteY18" fmla="*/ 1291762 h 4492350"/>
                <a:gd name="connsiteX19" fmla="*/ 2806809 w 3742661"/>
                <a:gd name="connsiteY19" fmla="*/ 2383091 h 4492350"/>
                <a:gd name="connsiteX20" fmla="*/ 3742661 w 3742661"/>
                <a:gd name="connsiteY20" fmla="*/ 1148316 h 4492350"/>
                <a:gd name="connsiteX21" fmla="*/ 2222205 w 3742661"/>
                <a:gd name="connsiteY21" fmla="*/ 3370521 h 4492350"/>
                <a:gd name="connsiteX22" fmla="*/ 2169042 w 3742661"/>
                <a:gd name="connsiteY22" fmla="*/ 3817088 h 4492350"/>
                <a:gd name="connsiteX23" fmla="*/ 3317358 w 3742661"/>
                <a:gd name="connsiteY23" fmla="*/ 3094074 h 4492350"/>
                <a:gd name="connsiteX24" fmla="*/ 2194317 w 3742661"/>
                <a:gd name="connsiteY24" fmla="*/ 4030951 h 4492350"/>
                <a:gd name="connsiteX25" fmla="*/ 2232838 w 3742661"/>
                <a:gd name="connsiteY25" fmla="*/ 4476307 h 4492350"/>
                <a:gd name="connsiteX26" fmla="*/ 2218194 w 3742661"/>
                <a:gd name="connsiteY26" fmla="*/ 4491415 h 4492350"/>
                <a:gd name="connsiteX27" fmla="*/ 1743740 w 3742661"/>
                <a:gd name="connsiteY27" fmla="*/ 4492350 h 4492350"/>
                <a:gd name="connsiteX0" fmla="*/ 1743740 w 3742661"/>
                <a:gd name="connsiteY0" fmla="*/ 4492350 h 4492350"/>
                <a:gd name="connsiteX1" fmla="*/ 1796903 w 3742661"/>
                <a:gd name="connsiteY1" fmla="*/ 3785190 h 4492350"/>
                <a:gd name="connsiteX2" fmla="*/ 1307805 w 3742661"/>
                <a:gd name="connsiteY2" fmla="*/ 3381153 h 4492350"/>
                <a:gd name="connsiteX3" fmla="*/ 31898 w 3742661"/>
                <a:gd name="connsiteY3" fmla="*/ 2945218 h 4492350"/>
                <a:gd name="connsiteX4" fmla="*/ 1127052 w 3742661"/>
                <a:gd name="connsiteY4" fmla="*/ 3242930 h 4492350"/>
                <a:gd name="connsiteX5" fmla="*/ 393405 w 3742661"/>
                <a:gd name="connsiteY5" fmla="*/ 2456121 h 4492350"/>
                <a:gd name="connsiteX6" fmla="*/ 1775638 w 3742661"/>
                <a:gd name="connsiteY6" fmla="*/ 3519376 h 4492350"/>
                <a:gd name="connsiteX7" fmla="*/ 1679945 w 3742661"/>
                <a:gd name="connsiteY7" fmla="*/ 2392325 h 4492350"/>
                <a:gd name="connsiteX8" fmla="*/ 0 w 3742661"/>
                <a:gd name="connsiteY8" fmla="*/ 754911 h 4492350"/>
                <a:gd name="connsiteX9" fmla="*/ 988828 w 3742661"/>
                <a:gd name="connsiteY9" fmla="*/ 1924493 h 4492350"/>
                <a:gd name="connsiteX10" fmla="*/ 1137684 w 3742661"/>
                <a:gd name="connsiteY10" fmla="*/ 861237 h 4492350"/>
                <a:gd name="connsiteX11" fmla="*/ 1222745 w 3742661"/>
                <a:gd name="connsiteY11" fmla="*/ 2062716 h 4492350"/>
                <a:gd name="connsiteX12" fmla="*/ 1690577 w 3742661"/>
                <a:gd name="connsiteY12" fmla="*/ 2190307 h 4492350"/>
                <a:gd name="connsiteX13" fmla="*/ 1956391 w 3742661"/>
                <a:gd name="connsiteY13" fmla="*/ 0 h 4492350"/>
                <a:gd name="connsiteX14" fmla="*/ 2083982 w 3742661"/>
                <a:gd name="connsiteY14" fmla="*/ 978195 h 4492350"/>
                <a:gd name="connsiteX15" fmla="*/ 1881963 w 3742661"/>
                <a:gd name="connsiteY15" fmla="*/ 2232837 h 4492350"/>
                <a:gd name="connsiteX16" fmla="*/ 2057494 w 3742661"/>
                <a:gd name="connsiteY16" fmla="*/ 3046321 h 4492350"/>
                <a:gd name="connsiteX17" fmla="*/ 2647507 w 3742661"/>
                <a:gd name="connsiteY17" fmla="*/ 2519916 h 4492350"/>
                <a:gd name="connsiteX18" fmla="*/ 2913694 w 3742661"/>
                <a:gd name="connsiteY18" fmla="*/ 1291762 h 4492350"/>
                <a:gd name="connsiteX19" fmla="*/ 2806809 w 3742661"/>
                <a:gd name="connsiteY19" fmla="*/ 2383091 h 4492350"/>
                <a:gd name="connsiteX20" fmla="*/ 3742661 w 3742661"/>
                <a:gd name="connsiteY20" fmla="*/ 1148316 h 4492350"/>
                <a:gd name="connsiteX21" fmla="*/ 2222205 w 3742661"/>
                <a:gd name="connsiteY21" fmla="*/ 3370521 h 4492350"/>
                <a:gd name="connsiteX22" fmla="*/ 2169042 w 3742661"/>
                <a:gd name="connsiteY22" fmla="*/ 3817088 h 4492350"/>
                <a:gd name="connsiteX23" fmla="*/ 3317358 w 3742661"/>
                <a:gd name="connsiteY23" fmla="*/ 3094074 h 4492350"/>
                <a:gd name="connsiteX24" fmla="*/ 2194317 w 3742661"/>
                <a:gd name="connsiteY24" fmla="*/ 4030951 h 4492350"/>
                <a:gd name="connsiteX25" fmla="*/ 2232838 w 3742661"/>
                <a:gd name="connsiteY25" fmla="*/ 4476307 h 4492350"/>
                <a:gd name="connsiteX26" fmla="*/ 2218194 w 3742661"/>
                <a:gd name="connsiteY26" fmla="*/ 4491415 h 4492350"/>
                <a:gd name="connsiteX27" fmla="*/ 1743740 w 3742661"/>
                <a:gd name="connsiteY27" fmla="*/ 4492350 h 4492350"/>
                <a:gd name="connsiteX0" fmla="*/ 1743740 w 3742661"/>
                <a:gd name="connsiteY0" fmla="*/ 4492350 h 4492350"/>
                <a:gd name="connsiteX1" fmla="*/ 1796903 w 3742661"/>
                <a:gd name="connsiteY1" fmla="*/ 3785190 h 4492350"/>
                <a:gd name="connsiteX2" fmla="*/ 1307805 w 3742661"/>
                <a:gd name="connsiteY2" fmla="*/ 3381153 h 4492350"/>
                <a:gd name="connsiteX3" fmla="*/ 31898 w 3742661"/>
                <a:gd name="connsiteY3" fmla="*/ 2945218 h 4492350"/>
                <a:gd name="connsiteX4" fmla="*/ 1127052 w 3742661"/>
                <a:gd name="connsiteY4" fmla="*/ 3242930 h 4492350"/>
                <a:gd name="connsiteX5" fmla="*/ 393405 w 3742661"/>
                <a:gd name="connsiteY5" fmla="*/ 2456121 h 4492350"/>
                <a:gd name="connsiteX6" fmla="*/ 1775638 w 3742661"/>
                <a:gd name="connsiteY6" fmla="*/ 3519376 h 4492350"/>
                <a:gd name="connsiteX7" fmla="*/ 1679945 w 3742661"/>
                <a:gd name="connsiteY7" fmla="*/ 2392325 h 4492350"/>
                <a:gd name="connsiteX8" fmla="*/ 0 w 3742661"/>
                <a:gd name="connsiteY8" fmla="*/ 754911 h 4492350"/>
                <a:gd name="connsiteX9" fmla="*/ 988828 w 3742661"/>
                <a:gd name="connsiteY9" fmla="*/ 1924493 h 4492350"/>
                <a:gd name="connsiteX10" fmla="*/ 1137684 w 3742661"/>
                <a:gd name="connsiteY10" fmla="*/ 861237 h 4492350"/>
                <a:gd name="connsiteX11" fmla="*/ 1222745 w 3742661"/>
                <a:gd name="connsiteY11" fmla="*/ 2062716 h 4492350"/>
                <a:gd name="connsiteX12" fmla="*/ 1690577 w 3742661"/>
                <a:gd name="connsiteY12" fmla="*/ 2190307 h 4492350"/>
                <a:gd name="connsiteX13" fmla="*/ 1956391 w 3742661"/>
                <a:gd name="connsiteY13" fmla="*/ 0 h 4492350"/>
                <a:gd name="connsiteX14" fmla="*/ 2083982 w 3742661"/>
                <a:gd name="connsiteY14" fmla="*/ 978195 h 4492350"/>
                <a:gd name="connsiteX15" fmla="*/ 1881963 w 3742661"/>
                <a:gd name="connsiteY15" fmla="*/ 2232837 h 4492350"/>
                <a:gd name="connsiteX16" fmla="*/ 2057494 w 3742661"/>
                <a:gd name="connsiteY16" fmla="*/ 3046321 h 4492350"/>
                <a:gd name="connsiteX17" fmla="*/ 2647507 w 3742661"/>
                <a:gd name="connsiteY17" fmla="*/ 2519916 h 4492350"/>
                <a:gd name="connsiteX18" fmla="*/ 2913694 w 3742661"/>
                <a:gd name="connsiteY18" fmla="*/ 1291762 h 4492350"/>
                <a:gd name="connsiteX19" fmla="*/ 2806809 w 3742661"/>
                <a:gd name="connsiteY19" fmla="*/ 2383091 h 4492350"/>
                <a:gd name="connsiteX20" fmla="*/ 3742661 w 3742661"/>
                <a:gd name="connsiteY20" fmla="*/ 1148316 h 4492350"/>
                <a:gd name="connsiteX21" fmla="*/ 2222205 w 3742661"/>
                <a:gd name="connsiteY21" fmla="*/ 3370521 h 4492350"/>
                <a:gd name="connsiteX22" fmla="*/ 2169042 w 3742661"/>
                <a:gd name="connsiteY22" fmla="*/ 3817088 h 4492350"/>
                <a:gd name="connsiteX23" fmla="*/ 3317358 w 3742661"/>
                <a:gd name="connsiteY23" fmla="*/ 3094074 h 4492350"/>
                <a:gd name="connsiteX24" fmla="*/ 2194317 w 3742661"/>
                <a:gd name="connsiteY24" fmla="*/ 4030951 h 4492350"/>
                <a:gd name="connsiteX25" fmla="*/ 2232838 w 3742661"/>
                <a:gd name="connsiteY25" fmla="*/ 4476307 h 4492350"/>
                <a:gd name="connsiteX26" fmla="*/ 2218194 w 3742661"/>
                <a:gd name="connsiteY26" fmla="*/ 4491415 h 4492350"/>
                <a:gd name="connsiteX27" fmla="*/ 1743740 w 3742661"/>
                <a:gd name="connsiteY27" fmla="*/ 4492350 h 4492350"/>
                <a:gd name="connsiteX0" fmla="*/ 1743740 w 3742661"/>
                <a:gd name="connsiteY0" fmla="*/ 4492350 h 4492350"/>
                <a:gd name="connsiteX1" fmla="*/ 1796903 w 3742661"/>
                <a:gd name="connsiteY1" fmla="*/ 3785190 h 4492350"/>
                <a:gd name="connsiteX2" fmla="*/ 1307805 w 3742661"/>
                <a:gd name="connsiteY2" fmla="*/ 3381153 h 4492350"/>
                <a:gd name="connsiteX3" fmla="*/ 31898 w 3742661"/>
                <a:gd name="connsiteY3" fmla="*/ 2945218 h 4492350"/>
                <a:gd name="connsiteX4" fmla="*/ 1127052 w 3742661"/>
                <a:gd name="connsiteY4" fmla="*/ 3242930 h 4492350"/>
                <a:gd name="connsiteX5" fmla="*/ 393405 w 3742661"/>
                <a:gd name="connsiteY5" fmla="*/ 2456121 h 4492350"/>
                <a:gd name="connsiteX6" fmla="*/ 1775638 w 3742661"/>
                <a:gd name="connsiteY6" fmla="*/ 3519376 h 4492350"/>
                <a:gd name="connsiteX7" fmla="*/ 1679945 w 3742661"/>
                <a:gd name="connsiteY7" fmla="*/ 2392325 h 4492350"/>
                <a:gd name="connsiteX8" fmla="*/ 0 w 3742661"/>
                <a:gd name="connsiteY8" fmla="*/ 754911 h 4492350"/>
                <a:gd name="connsiteX9" fmla="*/ 988828 w 3742661"/>
                <a:gd name="connsiteY9" fmla="*/ 1924493 h 4492350"/>
                <a:gd name="connsiteX10" fmla="*/ 1137684 w 3742661"/>
                <a:gd name="connsiteY10" fmla="*/ 861237 h 4492350"/>
                <a:gd name="connsiteX11" fmla="*/ 1222745 w 3742661"/>
                <a:gd name="connsiteY11" fmla="*/ 2062716 h 4492350"/>
                <a:gd name="connsiteX12" fmla="*/ 1690577 w 3742661"/>
                <a:gd name="connsiteY12" fmla="*/ 2190307 h 4492350"/>
                <a:gd name="connsiteX13" fmla="*/ 1956391 w 3742661"/>
                <a:gd name="connsiteY13" fmla="*/ 0 h 4492350"/>
                <a:gd name="connsiteX14" fmla="*/ 2083982 w 3742661"/>
                <a:gd name="connsiteY14" fmla="*/ 978195 h 4492350"/>
                <a:gd name="connsiteX15" fmla="*/ 1881963 w 3742661"/>
                <a:gd name="connsiteY15" fmla="*/ 2232837 h 4492350"/>
                <a:gd name="connsiteX16" fmla="*/ 2057494 w 3742661"/>
                <a:gd name="connsiteY16" fmla="*/ 3046321 h 4492350"/>
                <a:gd name="connsiteX17" fmla="*/ 2647507 w 3742661"/>
                <a:gd name="connsiteY17" fmla="*/ 2519916 h 4492350"/>
                <a:gd name="connsiteX18" fmla="*/ 2913694 w 3742661"/>
                <a:gd name="connsiteY18" fmla="*/ 1291762 h 4492350"/>
                <a:gd name="connsiteX19" fmla="*/ 2806809 w 3742661"/>
                <a:gd name="connsiteY19" fmla="*/ 2383091 h 4492350"/>
                <a:gd name="connsiteX20" fmla="*/ 3742661 w 3742661"/>
                <a:gd name="connsiteY20" fmla="*/ 1148316 h 4492350"/>
                <a:gd name="connsiteX21" fmla="*/ 2222205 w 3742661"/>
                <a:gd name="connsiteY21" fmla="*/ 3370521 h 4492350"/>
                <a:gd name="connsiteX22" fmla="*/ 2169042 w 3742661"/>
                <a:gd name="connsiteY22" fmla="*/ 3817088 h 4492350"/>
                <a:gd name="connsiteX23" fmla="*/ 3317358 w 3742661"/>
                <a:gd name="connsiteY23" fmla="*/ 3094074 h 4492350"/>
                <a:gd name="connsiteX24" fmla="*/ 2194317 w 3742661"/>
                <a:gd name="connsiteY24" fmla="*/ 4030951 h 4492350"/>
                <a:gd name="connsiteX25" fmla="*/ 2232838 w 3742661"/>
                <a:gd name="connsiteY25" fmla="*/ 4476307 h 4492350"/>
                <a:gd name="connsiteX26" fmla="*/ 2218194 w 3742661"/>
                <a:gd name="connsiteY26" fmla="*/ 4491415 h 4492350"/>
                <a:gd name="connsiteX27" fmla="*/ 1743740 w 3742661"/>
                <a:gd name="connsiteY27" fmla="*/ 4492350 h 4492350"/>
                <a:gd name="connsiteX0" fmla="*/ 1743740 w 3718598"/>
                <a:gd name="connsiteY0" fmla="*/ 4492350 h 4492350"/>
                <a:gd name="connsiteX1" fmla="*/ 1796903 w 3718598"/>
                <a:gd name="connsiteY1" fmla="*/ 3785190 h 4492350"/>
                <a:gd name="connsiteX2" fmla="*/ 1307805 w 3718598"/>
                <a:gd name="connsiteY2" fmla="*/ 3381153 h 4492350"/>
                <a:gd name="connsiteX3" fmla="*/ 31898 w 3718598"/>
                <a:gd name="connsiteY3" fmla="*/ 2945218 h 4492350"/>
                <a:gd name="connsiteX4" fmla="*/ 1127052 w 3718598"/>
                <a:gd name="connsiteY4" fmla="*/ 3242930 h 4492350"/>
                <a:gd name="connsiteX5" fmla="*/ 393405 w 3718598"/>
                <a:gd name="connsiteY5" fmla="*/ 2456121 h 4492350"/>
                <a:gd name="connsiteX6" fmla="*/ 1775638 w 3718598"/>
                <a:gd name="connsiteY6" fmla="*/ 3519376 h 4492350"/>
                <a:gd name="connsiteX7" fmla="*/ 1679945 w 3718598"/>
                <a:gd name="connsiteY7" fmla="*/ 2392325 h 4492350"/>
                <a:gd name="connsiteX8" fmla="*/ 0 w 3718598"/>
                <a:gd name="connsiteY8" fmla="*/ 754911 h 4492350"/>
                <a:gd name="connsiteX9" fmla="*/ 988828 w 3718598"/>
                <a:gd name="connsiteY9" fmla="*/ 1924493 h 4492350"/>
                <a:gd name="connsiteX10" fmla="*/ 1137684 w 3718598"/>
                <a:gd name="connsiteY10" fmla="*/ 861237 h 4492350"/>
                <a:gd name="connsiteX11" fmla="*/ 1222745 w 3718598"/>
                <a:gd name="connsiteY11" fmla="*/ 2062716 h 4492350"/>
                <a:gd name="connsiteX12" fmla="*/ 1690577 w 3718598"/>
                <a:gd name="connsiteY12" fmla="*/ 2190307 h 4492350"/>
                <a:gd name="connsiteX13" fmla="*/ 1956391 w 3718598"/>
                <a:gd name="connsiteY13" fmla="*/ 0 h 4492350"/>
                <a:gd name="connsiteX14" fmla="*/ 2083982 w 3718598"/>
                <a:gd name="connsiteY14" fmla="*/ 978195 h 4492350"/>
                <a:gd name="connsiteX15" fmla="*/ 1881963 w 3718598"/>
                <a:gd name="connsiteY15" fmla="*/ 2232837 h 4492350"/>
                <a:gd name="connsiteX16" fmla="*/ 2057494 w 3718598"/>
                <a:gd name="connsiteY16" fmla="*/ 3046321 h 4492350"/>
                <a:gd name="connsiteX17" fmla="*/ 2647507 w 3718598"/>
                <a:gd name="connsiteY17" fmla="*/ 2519916 h 4492350"/>
                <a:gd name="connsiteX18" fmla="*/ 2913694 w 3718598"/>
                <a:gd name="connsiteY18" fmla="*/ 1291762 h 4492350"/>
                <a:gd name="connsiteX19" fmla="*/ 2806809 w 3718598"/>
                <a:gd name="connsiteY19" fmla="*/ 2383091 h 4492350"/>
                <a:gd name="connsiteX20" fmla="*/ 3718598 w 3718598"/>
                <a:gd name="connsiteY20" fmla="*/ 1120242 h 4492350"/>
                <a:gd name="connsiteX21" fmla="*/ 2222205 w 3718598"/>
                <a:gd name="connsiteY21" fmla="*/ 3370521 h 4492350"/>
                <a:gd name="connsiteX22" fmla="*/ 2169042 w 3718598"/>
                <a:gd name="connsiteY22" fmla="*/ 3817088 h 4492350"/>
                <a:gd name="connsiteX23" fmla="*/ 3317358 w 3718598"/>
                <a:gd name="connsiteY23" fmla="*/ 3094074 h 4492350"/>
                <a:gd name="connsiteX24" fmla="*/ 2194317 w 3718598"/>
                <a:gd name="connsiteY24" fmla="*/ 4030951 h 4492350"/>
                <a:gd name="connsiteX25" fmla="*/ 2232838 w 3718598"/>
                <a:gd name="connsiteY25" fmla="*/ 4476307 h 4492350"/>
                <a:gd name="connsiteX26" fmla="*/ 2218194 w 3718598"/>
                <a:gd name="connsiteY26" fmla="*/ 4491415 h 4492350"/>
                <a:gd name="connsiteX27" fmla="*/ 1743740 w 3718598"/>
                <a:gd name="connsiteY27" fmla="*/ 4492350 h 4492350"/>
                <a:gd name="connsiteX0" fmla="*/ 1743740 w 3718598"/>
                <a:gd name="connsiteY0" fmla="*/ 4492350 h 4492350"/>
                <a:gd name="connsiteX1" fmla="*/ 1796903 w 3718598"/>
                <a:gd name="connsiteY1" fmla="*/ 3785190 h 4492350"/>
                <a:gd name="connsiteX2" fmla="*/ 1307805 w 3718598"/>
                <a:gd name="connsiteY2" fmla="*/ 3381153 h 4492350"/>
                <a:gd name="connsiteX3" fmla="*/ 31898 w 3718598"/>
                <a:gd name="connsiteY3" fmla="*/ 2945218 h 4492350"/>
                <a:gd name="connsiteX4" fmla="*/ 1127052 w 3718598"/>
                <a:gd name="connsiteY4" fmla="*/ 3242930 h 4492350"/>
                <a:gd name="connsiteX5" fmla="*/ 393405 w 3718598"/>
                <a:gd name="connsiteY5" fmla="*/ 2456121 h 4492350"/>
                <a:gd name="connsiteX6" fmla="*/ 1775638 w 3718598"/>
                <a:gd name="connsiteY6" fmla="*/ 3519376 h 4492350"/>
                <a:gd name="connsiteX7" fmla="*/ 1679945 w 3718598"/>
                <a:gd name="connsiteY7" fmla="*/ 2392325 h 4492350"/>
                <a:gd name="connsiteX8" fmla="*/ 0 w 3718598"/>
                <a:gd name="connsiteY8" fmla="*/ 754911 h 4492350"/>
                <a:gd name="connsiteX9" fmla="*/ 988828 w 3718598"/>
                <a:gd name="connsiteY9" fmla="*/ 1924493 h 4492350"/>
                <a:gd name="connsiteX10" fmla="*/ 1137684 w 3718598"/>
                <a:gd name="connsiteY10" fmla="*/ 861237 h 4492350"/>
                <a:gd name="connsiteX11" fmla="*/ 1222745 w 3718598"/>
                <a:gd name="connsiteY11" fmla="*/ 2062716 h 4492350"/>
                <a:gd name="connsiteX12" fmla="*/ 1690577 w 3718598"/>
                <a:gd name="connsiteY12" fmla="*/ 2190307 h 4492350"/>
                <a:gd name="connsiteX13" fmla="*/ 1956391 w 3718598"/>
                <a:gd name="connsiteY13" fmla="*/ 0 h 4492350"/>
                <a:gd name="connsiteX14" fmla="*/ 2083982 w 3718598"/>
                <a:gd name="connsiteY14" fmla="*/ 978195 h 4492350"/>
                <a:gd name="connsiteX15" fmla="*/ 1881963 w 3718598"/>
                <a:gd name="connsiteY15" fmla="*/ 2232837 h 4492350"/>
                <a:gd name="connsiteX16" fmla="*/ 2057494 w 3718598"/>
                <a:gd name="connsiteY16" fmla="*/ 3046321 h 4492350"/>
                <a:gd name="connsiteX17" fmla="*/ 2647507 w 3718598"/>
                <a:gd name="connsiteY17" fmla="*/ 2519916 h 4492350"/>
                <a:gd name="connsiteX18" fmla="*/ 2913694 w 3718598"/>
                <a:gd name="connsiteY18" fmla="*/ 1291762 h 4492350"/>
                <a:gd name="connsiteX19" fmla="*/ 2806809 w 3718598"/>
                <a:gd name="connsiteY19" fmla="*/ 2383091 h 4492350"/>
                <a:gd name="connsiteX20" fmla="*/ 3718598 w 3718598"/>
                <a:gd name="connsiteY20" fmla="*/ 1120242 h 4492350"/>
                <a:gd name="connsiteX21" fmla="*/ 2222205 w 3718598"/>
                <a:gd name="connsiteY21" fmla="*/ 3370521 h 4492350"/>
                <a:gd name="connsiteX22" fmla="*/ 2169042 w 3718598"/>
                <a:gd name="connsiteY22" fmla="*/ 3817088 h 4492350"/>
                <a:gd name="connsiteX23" fmla="*/ 3317358 w 3718598"/>
                <a:gd name="connsiteY23" fmla="*/ 3094074 h 4492350"/>
                <a:gd name="connsiteX24" fmla="*/ 2194317 w 3718598"/>
                <a:gd name="connsiteY24" fmla="*/ 4030951 h 4492350"/>
                <a:gd name="connsiteX25" fmla="*/ 2232838 w 3718598"/>
                <a:gd name="connsiteY25" fmla="*/ 4476307 h 4492350"/>
                <a:gd name="connsiteX26" fmla="*/ 2218194 w 3718598"/>
                <a:gd name="connsiteY26" fmla="*/ 4491415 h 4492350"/>
                <a:gd name="connsiteX27" fmla="*/ 1743740 w 3718598"/>
                <a:gd name="connsiteY27" fmla="*/ 4492350 h 4492350"/>
                <a:gd name="connsiteX0" fmla="*/ 1743740 w 3718598"/>
                <a:gd name="connsiteY0" fmla="*/ 4492350 h 4492350"/>
                <a:gd name="connsiteX1" fmla="*/ 1796903 w 3718598"/>
                <a:gd name="connsiteY1" fmla="*/ 3785190 h 4492350"/>
                <a:gd name="connsiteX2" fmla="*/ 1307805 w 3718598"/>
                <a:gd name="connsiteY2" fmla="*/ 3381153 h 4492350"/>
                <a:gd name="connsiteX3" fmla="*/ 31898 w 3718598"/>
                <a:gd name="connsiteY3" fmla="*/ 2945218 h 4492350"/>
                <a:gd name="connsiteX4" fmla="*/ 1127052 w 3718598"/>
                <a:gd name="connsiteY4" fmla="*/ 3242930 h 4492350"/>
                <a:gd name="connsiteX5" fmla="*/ 393405 w 3718598"/>
                <a:gd name="connsiteY5" fmla="*/ 2456121 h 4492350"/>
                <a:gd name="connsiteX6" fmla="*/ 1775638 w 3718598"/>
                <a:gd name="connsiteY6" fmla="*/ 3519376 h 4492350"/>
                <a:gd name="connsiteX7" fmla="*/ 1679945 w 3718598"/>
                <a:gd name="connsiteY7" fmla="*/ 2392325 h 4492350"/>
                <a:gd name="connsiteX8" fmla="*/ 0 w 3718598"/>
                <a:gd name="connsiteY8" fmla="*/ 754911 h 4492350"/>
                <a:gd name="connsiteX9" fmla="*/ 988828 w 3718598"/>
                <a:gd name="connsiteY9" fmla="*/ 1924493 h 4492350"/>
                <a:gd name="connsiteX10" fmla="*/ 1137684 w 3718598"/>
                <a:gd name="connsiteY10" fmla="*/ 861237 h 4492350"/>
                <a:gd name="connsiteX11" fmla="*/ 1222745 w 3718598"/>
                <a:gd name="connsiteY11" fmla="*/ 2062716 h 4492350"/>
                <a:gd name="connsiteX12" fmla="*/ 1690577 w 3718598"/>
                <a:gd name="connsiteY12" fmla="*/ 2190307 h 4492350"/>
                <a:gd name="connsiteX13" fmla="*/ 1956391 w 3718598"/>
                <a:gd name="connsiteY13" fmla="*/ 0 h 4492350"/>
                <a:gd name="connsiteX14" fmla="*/ 2083982 w 3718598"/>
                <a:gd name="connsiteY14" fmla="*/ 978195 h 4492350"/>
                <a:gd name="connsiteX15" fmla="*/ 1881963 w 3718598"/>
                <a:gd name="connsiteY15" fmla="*/ 2232837 h 4492350"/>
                <a:gd name="connsiteX16" fmla="*/ 2057494 w 3718598"/>
                <a:gd name="connsiteY16" fmla="*/ 3046321 h 4492350"/>
                <a:gd name="connsiteX17" fmla="*/ 2647507 w 3718598"/>
                <a:gd name="connsiteY17" fmla="*/ 2519916 h 4492350"/>
                <a:gd name="connsiteX18" fmla="*/ 2913694 w 3718598"/>
                <a:gd name="connsiteY18" fmla="*/ 1291762 h 4492350"/>
                <a:gd name="connsiteX19" fmla="*/ 2806809 w 3718598"/>
                <a:gd name="connsiteY19" fmla="*/ 2383091 h 4492350"/>
                <a:gd name="connsiteX20" fmla="*/ 3718598 w 3718598"/>
                <a:gd name="connsiteY20" fmla="*/ 1120242 h 4492350"/>
                <a:gd name="connsiteX21" fmla="*/ 2222205 w 3718598"/>
                <a:gd name="connsiteY21" fmla="*/ 3370521 h 4492350"/>
                <a:gd name="connsiteX22" fmla="*/ 2169042 w 3718598"/>
                <a:gd name="connsiteY22" fmla="*/ 3817088 h 4492350"/>
                <a:gd name="connsiteX23" fmla="*/ 3317358 w 3718598"/>
                <a:gd name="connsiteY23" fmla="*/ 3094074 h 4492350"/>
                <a:gd name="connsiteX24" fmla="*/ 2194317 w 3718598"/>
                <a:gd name="connsiteY24" fmla="*/ 4030951 h 4492350"/>
                <a:gd name="connsiteX25" fmla="*/ 2232838 w 3718598"/>
                <a:gd name="connsiteY25" fmla="*/ 4476307 h 4492350"/>
                <a:gd name="connsiteX26" fmla="*/ 2218194 w 3718598"/>
                <a:gd name="connsiteY26" fmla="*/ 4491415 h 4492350"/>
                <a:gd name="connsiteX27" fmla="*/ 1743740 w 3718598"/>
                <a:gd name="connsiteY27" fmla="*/ 4492350 h 4492350"/>
                <a:gd name="connsiteX0" fmla="*/ 1743740 w 3718598"/>
                <a:gd name="connsiteY0" fmla="*/ 4492350 h 4492350"/>
                <a:gd name="connsiteX1" fmla="*/ 1796903 w 3718598"/>
                <a:gd name="connsiteY1" fmla="*/ 3785190 h 4492350"/>
                <a:gd name="connsiteX2" fmla="*/ 1307805 w 3718598"/>
                <a:gd name="connsiteY2" fmla="*/ 3381153 h 4492350"/>
                <a:gd name="connsiteX3" fmla="*/ 31898 w 3718598"/>
                <a:gd name="connsiteY3" fmla="*/ 2945218 h 4492350"/>
                <a:gd name="connsiteX4" fmla="*/ 1127052 w 3718598"/>
                <a:gd name="connsiteY4" fmla="*/ 3242930 h 4492350"/>
                <a:gd name="connsiteX5" fmla="*/ 393405 w 3718598"/>
                <a:gd name="connsiteY5" fmla="*/ 2456121 h 4492350"/>
                <a:gd name="connsiteX6" fmla="*/ 1775638 w 3718598"/>
                <a:gd name="connsiteY6" fmla="*/ 3519376 h 4492350"/>
                <a:gd name="connsiteX7" fmla="*/ 1679945 w 3718598"/>
                <a:gd name="connsiteY7" fmla="*/ 2392325 h 4492350"/>
                <a:gd name="connsiteX8" fmla="*/ 0 w 3718598"/>
                <a:gd name="connsiteY8" fmla="*/ 754911 h 4492350"/>
                <a:gd name="connsiteX9" fmla="*/ 988828 w 3718598"/>
                <a:gd name="connsiteY9" fmla="*/ 1924493 h 4492350"/>
                <a:gd name="connsiteX10" fmla="*/ 1137684 w 3718598"/>
                <a:gd name="connsiteY10" fmla="*/ 861237 h 4492350"/>
                <a:gd name="connsiteX11" fmla="*/ 1222745 w 3718598"/>
                <a:gd name="connsiteY11" fmla="*/ 2062716 h 4492350"/>
                <a:gd name="connsiteX12" fmla="*/ 1690577 w 3718598"/>
                <a:gd name="connsiteY12" fmla="*/ 2190307 h 4492350"/>
                <a:gd name="connsiteX13" fmla="*/ 1956391 w 3718598"/>
                <a:gd name="connsiteY13" fmla="*/ 0 h 4492350"/>
                <a:gd name="connsiteX14" fmla="*/ 2083982 w 3718598"/>
                <a:gd name="connsiteY14" fmla="*/ 978195 h 4492350"/>
                <a:gd name="connsiteX15" fmla="*/ 1881963 w 3718598"/>
                <a:gd name="connsiteY15" fmla="*/ 2232837 h 4492350"/>
                <a:gd name="connsiteX16" fmla="*/ 2057494 w 3718598"/>
                <a:gd name="connsiteY16" fmla="*/ 3046321 h 4492350"/>
                <a:gd name="connsiteX17" fmla="*/ 2647507 w 3718598"/>
                <a:gd name="connsiteY17" fmla="*/ 2519916 h 4492350"/>
                <a:gd name="connsiteX18" fmla="*/ 2913694 w 3718598"/>
                <a:gd name="connsiteY18" fmla="*/ 1291762 h 4492350"/>
                <a:gd name="connsiteX19" fmla="*/ 2806809 w 3718598"/>
                <a:gd name="connsiteY19" fmla="*/ 2383091 h 4492350"/>
                <a:gd name="connsiteX20" fmla="*/ 3718598 w 3718598"/>
                <a:gd name="connsiteY20" fmla="*/ 1120242 h 4492350"/>
                <a:gd name="connsiteX21" fmla="*/ 2222205 w 3718598"/>
                <a:gd name="connsiteY21" fmla="*/ 3370521 h 4492350"/>
                <a:gd name="connsiteX22" fmla="*/ 2169042 w 3718598"/>
                <a:gd name="connsiteY22" fmla="*/ 3817088 h 4492350"/>
                <a:gd name="connsiteX23" fmla="*/ 3317358 w 3718598"/>
                <a:gd name="connsiteY23" fmla="*/ 3094074 h 4492350"/>
                <a:gd name="connsiteX24" fmla="*/ 2194317 w 3718598"/>
                <a:gd name="connsiteY24" fmla="*/ 4030951 h 4492350"/>
                <a:gd name="connsiteX25" fmla="*/ 2232838 w 3718598"/>
                <a:gd name="connsiteY25" fmla="*/ 4476307 h 4492350"/>
                <a:gd name="connsiteX26" fmla="*/ 2218194 w 3718598"/>
                <a:gd name="connsiteY26" fmla="*/ 4491415 h 4492350"/>
                <a:gd name="connsiteX27" fmla="*/ 1743740 w 3718598"/>
                <a:gd name="connsiteY27" fmla="*/ 4492350 h 4492350"/>
                <a:gd name="connsiteX0" fmla="*/ 1743740 w 3718598"/>
                <a:gd name="connsiteY0" fmla="*/ 4492350 h 4492350"/>
                <a:gd name="connsiteX1" fmla="*/ 1796903 w 3718598"/>
                <a:gd name="connsiteY1" fmla="*/ 3785190 h 4492350"/>
                <a:gd name="connsiteX2" fmla="*/ 1307805 w 3718598"/>
                <a:gd name="connsiteY2" fmla="*/ 3381153 h 4492350"/>
                <a:gd name="connsiteX3" fmla="*/ 31898 w 3718598"/>
                <a:gd name="connsiteY3" fmla="*/ 2945218 h 4492350"/>
                <a:gd name="connsiteX4" fmla="*/ 1127052 w 3718598"/>
                <a:gd name="connsiteY4" fmla="*/ 3242930 h 4492350"/>
                <a:gd name="connsiteX5" fmla="*/ 393405 w 3718598"/>
                <a:gd name="connsiteY5" fmla="*/ 2456121 h 4492350"/>
                <a:gd name="connsiteX6" fmla="*/ 1775638 w 3718598"/>
                <a:gd name="connsiteY6" fmla="*/ 3519376 h 4492350"/>
                <a:gd name="connsiteX7" fmla="*/ 1679945 w 3718598"/>
                <a:gd name="connsiteY7" fmla="*/ 2392325 h 4492350"/>
                <a:gd name="connsiteX8" fmla="*/ 0 w 3718598"/>
                <a:gd name="connsiteY8" fmla="*/ 754911 h 4492350"/>
                <a:gd name="connsiteX9" fmla="*/ 988828 w 3718598"/>
                <a:gd name="connsiteY9" fmla="*/ 1924493 h 4492350"/>
                <a:gd name="connsiteX10" fmla="*/ 1137684 w 3718598"/>
                <a:gd name="connsiteY10" fmla="*/ 861237 h 4492350"/>
                <a:gd name="connsiteX11" fmla="*/ 1222745 w 3718598"/>
                <a:gd name="connsiteY11" fmla="*/ 2062716 h 4492350"/>
                <a:gd name="connsiteX12" fmla="*/ 1690577 w 3718598"/>
                <a:gd name="connsiteY12" fmla="*/ 2190307 h 4492350"/>
                <a:gd name="connsiteX13" fmla="*/ 1956391 w 3718598"/>
                <a:gd name="connsiteY13" fmla="*/ 0 h 4492350"/>
                <a:gd name="connsiteX14" fmla="*/ 2083982 w 3718598"/>
                <a:gd name="connsiteY14" fmla="*/ 978195 h 4492350"/>
                <a:gd name="connsiteX15" fmla="*/ 1881963 w 3718598"/>
                <a:gd name="connsiteY15" fmla="*/ 2232837 h 4492350"/>
                <a:gd name="connsiteX16" fmla="*/ 2057494 w 3718598"/>
                <a:gd name="connsiteY16" fmla="*/ 3046321 h 4492350"/>
                <a:gd name="connsiteX17" fmla="*/ 2647507 w 3718598"/>
                <a:gd name="connsiteY17" fmla="*/ 2519916 h 4492350"/>
                <a:gd name="connsiteX18" fmla="*/ 2913694 w 3718598"/>
                <a:gd name="connsiteY18" fmla="*/ 1291762 h 4492350"/>
                <a:gd name="connsiteX19" fmla="*/ 2806809 w 3718598"/>
                <a:gd name="connsiteY19" fmla="*/ 2383091 h 4492350"/>
                <a:gd name="connsiteX20" fmla="*/ 3718598 w 3718598"/>
                <a:gd name="connsiteY20" fmla="*/ 1120242 h 4492350"/>
                <a:gd name="connsiteX21" fmla="*/ 2222205 w 3718598"/>
                <a:gd name="connsiteY21" fmla="*/ 3370521 h 4492350"/>
                <a:gd name="connsiteX22" fmla="*/ 2169042 w 3718598"/>
                <a:gd name="connsiteY22" fmla="*/ 3817088 h 4492350"/>
                <a:gd name="connsiteX23" fmla="*/ 3317358 w 3718598"/>
                <a:gd name="connsiteY23" fmla="*/ 3094074 h 4492350"/>
                <a:gd name="connsiteX24" fmla="*/ 2194317 w 3718598"/>
                <a:gd name="connsiteY24" fmla="*/ 4030951 h 4492350"/>
                <a:gd name="connsiteX25" fmla="*/ 2232838 w 3718598"/>
                <a:gd name="connsiteY25" fmla="*/ 4476307 h 4492350"/>
                <a:gd name="connsiteX26" fmla="*/ 2218194 w 3718598"/>
                <a:gd name="connsiteY26" fmla="*/ 4491415 h 4492350"/>
                <a:gd name="connsiteX27" fmla="*/ 1743740 w 3718598"/>
                <a:gd name="connsiteY27" fmla="*/ 4492350 h 4492350"/>
                <a:gd name="connsiteX0" fmla="*/ 1743740 w 3718598"/>
                <a:gd name="connsiteY0" fmla="*/ 4492350 h 4492350"/>
                <a:gd name="connsiteX1" fmla="*/ 1796903 w 3718598"/>
                <a:gd name="connsiteY1" fmla="*/ 3785190 h 4492350"/>
                <a:gd name="connsiteX2" fmla="*/ 1307805 w 3718598"/>
                <a:gd name="connsiteY2" fmla="*/ 3381153 h 4492350"/>
                <a:gd name="connsiteX3" fmla="*/ 31898 w 3718598"/>
                <a:gd name="connsiteY3" fmla="*/ 2945218 h 4492350"/>
                <a:gd name="connsiteX4" fmla="*/ 1127052 w 3718598"/>
                <a:gd name="connsiteY4" fmla="*/ 3242930 h 4492350"/>
                <a:gd name="connsiteX5" fmla="*/ 393405 w 3718598"/>
                <a:gd name="connsiteY5" fmla="*/ 2456121 h 4492350"/>
                <a:gd name="connsiteX6" fmla="*/ 1775638 w 3718598"/>
                <a:gd name="connsiteY6" fmla="*/ 3519376 h 4492350"/>
                <a:gd name="connsiteX7" fmla="*/ 1679945 w 3718598"/>
                <a:gd name="connsiteY7" fmla="*/ 2392325 h 4492350"/>
                <a:gd name="connsiteX8" fmla="*/ 0 w 3718598"/>
                <a:gd name="connsiteY8" fmla="*/ 754911 h 4492350"/>
                <a:gd name="connsiteX9" fmla="*/ 988828 w 3718598"/>
                <a:gd name="connsiteY9" fmla="*/ 1924493 h 4492350"/>
                <a:gd name="connsiteX10" fmla="*/ 1137684 w 3718598"/>
                <a:gd name="connsiteY10" fmla="*/ 861237 h 4492350"/>
                <a:gd name="connsiteX11" fmla="*/ 1222745 w 3718598"/>
                <a:gd name="connsiteY11" fmla="*/ 2062716 h 4492350"/>
                <a:gd name="connsiteX12" fmla="*/ 1690577 w 3718598"/>
                <a:gd name="connsiteY12" fmla="*/ 2190307 h 4492350"/>
                <a:gd name="connsiteX13" fmla="*/ 1956391 w 3718598"/>
                <a:gd name="connsiteY13" fmla="*/ 0 h 4492350"/>
                <a:gd name="connsiteX14" fmla="*/ 2083982 w 3718598"/>
                <a:gd name="connsiteY14" fmla="*/ 978195 h 4492350"/>
                <a:gd name="connsiteX15" fmla="*/ 1881963 w 3718598"/>
                <a:gd name="connsiteY15" fmla="*/ 2232837 h 4492350"/>
                <a:gd name="connsiteX16" fmla="*/ 2057494 w 3718598"/>
                <a:gd name="connsiteY16" fmla="*/ 3046321 h 4492350"/>
                <a:gd name="connsiteX17" fmla="*/ 2647507 w 3718598"/>
                <a:gd name="connsiteY17" fmla="*/ 2519916 h 4492350"/>
                <a:gd name="connsiteX18" fmla="*/ 2913694 w 3718598"/>
                <a:gd name="connsiteY18" fmla="*/ 1291762 h 4492350"/>
                <a:gd name="connsiteX19" fmla="*/ 2806809 w 3718598"/>
                <a:gd name="connsiteY19" fmla="*/ 2383091 h 4492350"/>
                <a:gd name="connsiteX20" fmla="*/ 3718598 w 3718598"/>
                <a:gd name="connsiteY20" fmla="*/ 1120242 h 4492350"/>
                <a:gd name="connsiteX21" fmla="*/ 2222205 w 3718598"/>
                <a:gd name="connsiteY21" fmla="*/ 3370521 h 4492350"/>
                <a:gd name="connsiteX22" fmla="*/ 2169042 w 3718598"/>
                <a:gd name="connsiteY22" fmla="*/ 3817088 h 4492350"/>
                <a:gd name="connsiteX23" fmla="*/ 3317358 w 3718598"/>
                <a:gd name="connsiteY23" fmla="*/ 3094074 h 4492350"/>
                <a:gd name="connsiteX24" fmla="*/ 2194317 w 3718598"/>
                <a:gd name="connsiteY24" fmla="*/ 4030951 h 4492350"/>
                <a:gd name="connsiteX25" fmla="*/ 2232838 w 3718598"/>
                <a:gd name="connsiteY25" fmla="*/ 4476307 h 4492350"/>
                <a:gd name="connsiteX26" fmla="*/ 2218194 w 3718598"/>
                <a:gd name="connsiteY26" fmla="*/ 4491415 h 4492350"/>
                <a:gd name="connsiteX27" fmla="*/ 1743740 w 3718598"/>
                <a:gd name="connsiteY27" fmla="*/ 4492350 h 4492350"/>
                <a:gd name="connsiteX0" fmla="*/ 1743740 w 3718598"/>
                <a:gd name="connsiteY0" fmla="*/ 4492350 h 4492350"/>
                <a:gd name="connsiteX1" fmla="*/ 1796903 w 3718598"/>
                <a:gd name="connsiteY1" fmla="*/ 3785190 h 4492350"/>
                <a:gd name="connsiteX2" fmla="*/ 1307805 w 3718598"/>
                <a:gd name="connsiteY2" fmla="*/ 3381153 h 4492350"/>
                <a:gd name="connsiteX3" fmla="*/ 31898 w 3718598"/>
                <a:gd name="connsiteY3" fmla="*/ 2945218 h 4492350"/>
                <a:gd name="connsiteX4" fmla="*/ 1127052 w 3718598"/>
                <a:gd name="connsiteY4" fmla="*/ 3242930 h 4492350"/>
                <a:gd name="connsiteX5" fmla="*/ 393405 w 3718598"/>
                <a:gd name="connsiteY5" fmla="*/ 2456121 h 4492350"/>
                <a:gd name="connsiteX6" fmla="*/ 1775638 w 3718598"/>
                <a:gd name="connsiteY6" fmla="*/ 3519376 h 4492350"/>
                <a:gd name="connsiteX7" fmla="*/ 1679945 w 3718598"/>
                <a:gd name="connsiteY7" fmla="*/ 2392325 h 4492350"/>
                <a:gd name="connsiteX8" fmla="*/ 0 w 3718598"/>
                <a:gd name="connsiteY8" fmla="*/ 754911 h 4492350"/>
                <a:gd name="connsiteX9" fmla="*/ 988828 w 3718598"/>
                <a:gd name="connsiteY9" fmla="*/ 1924493 h 4492350"/>
                <a:gd name="connsiteX10" fmla="*/ 1137684 w 3718598"/>
                <a:gd name="connsiteY10" fmla="*/ 861237 h 4492350"/>
                <a:gd name="connsiteX11" fmla="*/ 1222745 w 3718598"/>
                <a:gd name="connsiteY11" fmla="*/ 2062716 h 4492350"/>
                <a:gd name="connsiteX12" fmla="*/ 1690577 w 3718598"/>
                <a:gd name="connsiteY12" fmla="*/ 2190307 h 4492350"/>
                <a:gd name="connsiteX13" fmla="*/ 1956391 w 3718598"/>
                <a:gd name="connsiteY13" fmla="*/ 0 h 4492350"/>
                <a:gd name="connsiteX14" fmla="*/ 2083982 w 3718598"/>
                <a:gd name="connsiteY14" fmla="*/ 978195 h 4492350"/>
                <a:gd name="connsiteX15" fmla="*/ 1881963 w 3718598"/>
                <a:gd name="connsiteY15" fmla="*/ 2232837 h 4492350"/>
                <a:gd name="connsiteX16" fmla="*/ 2057494 w 3718598"/>
                <a:gd name="connsiteY16" fmla="*/ 3046321 h 4492350"/>
                <a:gd name="connsiteX17" fmla="*/ 2647507 w 3718598"/>
                <a:gd name="connsiteY17" fmla="*/ 2519916 h 4492350"/>
                <a:gd name="connsiteX18" fmla="*/ 2913694 w 3718598"/>
                <a:gd name="connsiteY18" fmla="*/ 1291762 h 4492350"/>
                <a:gd name="connsiteX19" fmla="*/ 2806809 w 3718598"/>
                <a:gd name="connsiteY19" fmla="*/ 2383091 h 4492350"/>
                <a:gd name="connsiteX20" fmla="*/ 3718598 w 3718598"/>
                <a:gd name="connsiteY20" fmla="*/ 1120242 h 4492350"/>
                <a:gd name="connsiteX21" fmla="*/ 2222205 w 3718598"/>
                <a:gd name="connsiteY21" fmla="*/ 3370521 h 4492350"/>
                <a:gd name="connsiteX22" fmla="*/ 2169042 w 3718598"/>
                <a:gd name="connsiteY22" fmla="*/ 3817088 h 4492350"/>
                <a:gd name="connsiteX23" fmla="*/ 3317358 w 3718598"/>
                <a:gd name="connsiteY23" fmla="*/ 3094074 h 4492350"/>
                <a:gd name="connsiteX24" fmla="*/ 2194317 w 3718598"/>
                <a:gd name="connsiteY24" fmla="*/ 4030951 h 4492350"/>
                <a:gd name="connsiteX25" fmla="*/ 2232838 w 3718598"/>
                <a:gd name="connsiteY25" fmla="*/ 4476307 h 4492350"/>
                <a:gd name="connsiteX26" fmla="*/ 2218194 w 3718598"/>
                <a:gd name="connsiteY26" fmla="*/ 4491415 h 4492350"/>
                <a:gd name="connsiteX27" fmla="*/ 1743740 w 3718598"/>
                <a:gd name="connsiteY27" fmla="*/ 4492350 h 4492350"/>
                <a:gd name="connsiteX0" fmla="*/ 1743740 w 3694535"/>
                <a:gd name="connsiteY0" fmla="*/ 4492350 h 4492350"/>
                <a:gd name="connsiteX1" fmla="*/ 1796903 w 3694535"/>
                <a:gd name="connsiteY1" fmla="*/ 3785190 h 4492350"/>
                <a:gd name="connsiteX2" fmla="*/ 1307805 w 3694535"/>
                <a:gd name="connsiteY2" fmla="*/ 3381153 h 4492350"/>
                <a:gd name="connsiteX3" fmla="*/ 31898 w 3694535"/>
                <a:gd name="connsiteY3" fmla="*/ 2945218 h 4492350"/>
                <a:gd name="connsiteX4" fmla="*/ 1127052 w 3694535"/>
                <a:gd name="connsiteY4" fmla="*/ 3242930 h 4492350"/>
                <a:gd name="connsiteX5" fmla="*/ 393405 w 3694535"/>
                <a:gd name="connsiteY5" fmla="*/ 2456121 h 4492350"/>
                <a:gd name="connsiteX6" fmla="*/ 1775638 w 3694535"/>
                <a:gd name="connsiteY6" fmla="*/ 3519376 h 4492350"/>
                <a:gd name="connsiteX7" fmla="*/ 1679945 w 3694535"/>
                <a:gd name="connsiteY7" fmla="*/ 2392325 h 4492350"/>
                <a:gd name="connsiteX8" fmla="*/ 0 w 3694535"/>
                <a:gd name="connsiteY8" fmla="*/ 754911 h 4492350"/>
                <a:gd name="connsiteX9" fmla="*/ 988828 w 3694535"/>
                <a:gd name="connsiteY9" fmla="*/ 1924493 h 4492350"/>
                <a:gd name="connsiteX10" fmla="*/ 1137684 w 3694535"/>
                <a:gd name="connsiteY10" fmla="*/ 861237 h 4492350"/>
                <a:gd name="connsiteX11" fmla="*/ 1222745 w 3694535"/>
                <a:gd name="connsiteY11" fmla="*/ 2062716 h 4492350"/>
                <a:gd name="connsiteX12" fmla="*/ 1690577 w 3694535"/>
                <a:gd name="connsiteY12" fmla="*/ 2190307 h 4492350"/>
                <a:gd name="connsiteX13" fmla="*/ 1956391 w 3694535"/>
                <a:gd name="connsiteY13" fmla="*/ 0 h 4492350"/>
                <a:gd name="connsiteX14" fmla="*/ 2083982 w 3694535"/>
                <a:gd name="connsiteY14" fmla="*/ 978195 h 4492350"/>
                <a:gd name="connsiteX15" fmla="*/ 1881963 w 3694535"/>
                <a:gd name="connsiteY15" fmla="*/ 2232837 h 4492350"/>
                <a:gd name="connsiteX16" fmla="*/ 2057494 w 3694535"/>
                <a:gd name="connsiteY16" fmla="*/ 3046321 h 4492350"/>
                <a:gd name="connsiteX17" fmla="*/ 2647507 w 3694535"/>
                <a:gd name="connsiteY17" fmla="*/ 2519916 h 4492350"/>
                <a:gd name="connsiteX18" fmla="*/ 2913694 w 3694535"/>
                <a:gd name="connsiteY18" fmla="*/ 1291762 h 4492350"/>
                <a:gd name="connsiteX19" fmla="*/ 2806809 w 3694535"/>
                <a:gd name="connsiteY19" fmla="*/ 2383091 h 4492350"/>
                <a:gd name="connsiteX20" fmla="*/ 3694535 w 3694535"/>
                <a:gd name="connsiteY20" fmla="*/ 1124252 h 4492350"/>
                <a:gd name="connsiteX21" fmla="*/ 2222205 w 3694535"/>
                <a:gd name="connsiteY21" fmla="*/ 3370521 h 4492350"/>
                <a:gd name="connsiteX22" fmla="*/ 2169042 w 3694535"/>
                <a:gd name="connsiteY22" fmla="*/ 3817088 h 4492350"/>
                <a:gd name="connsiteX23" fmla="*/ 3317358 w 3694535"/>
                <a:gd name="connsiteY23" fmla="*/ 3094074 h 4492350"/>
                <a:gd name="connsiteX24" fmla="*/ 2194317 w 3694535"/>
                <a:gd name="connsiteY24" fmla="*/ 4030951 h 4492350"/>
                <a:gd name="connsiteX25" fmla="*/ 2232838 w 3694535"/>
                <a:gd name="connsiteY25" fmla="*/ 4476307 h 4492350"/>
                <a:gd name="connsiteX26" fmla="*/ 2218194 w 3694535"/>
                <a:gd name="connsiteY26" fmla="*/ 4491415 h 4492350"/>
                <a:gd name="connsiteX27" fmla="*/ 1743740 w 3694535"/>
                <a:gd name="connsiteY27" fmla="*/ 4492350 h 4492350"/>
                <a:gd name="connsiteX0" fmla="*/ 1743740 w 3694535"/>
                <a:gd name="connsiteY0" fmla="*/ 4492350 h 4492350"/>
                <a:gd name="connsiteX1" fmla="*/ 1796903 w 3694535"/>
                <a:gd name="connsiteY1" fmla="*/ 3785190 h 4492350"/>
                <a:gd name="connsiteX2" fmla="*/ 1307805 w 3694535"/>
                <a:gd name="connsiteY2" fmla="*/ 3381153 h 4492350"/>
                <a:gd name="connsiteX3" fmla="*/ 31898 w 3694535"/>
                <a:gd name="connsiteY3" fmla="*/ 2945218 h 4492350"/>
                <a:gd name="connsiteX4" fmla="*/ 1127052 w 3694535"/>
                <a:gd name="connsiteY4" fmla="*/ 3242930 h 4492350"/>
                <a:gd name="connsiteX5" fmla="*/ 393405 w 3694535"/>
                <a:gd name="connsiteY5" fmla="*/ 2456121 h 4492350"/>
                <a:gd name="connsiteX6" fmla="*/ 1775638 w 3694535"/>
                <a:gd name="connsiteY6" fmla="*/ 3519376 h 4492350"/>
                <a:gd name="connsiteX7" fmla="*/ 1679945 w 3694535"/>
                <a:gd name="connsiteY7" fmla="*/ 2392325 h 4492350"/>
                <a:gd name="connsiteX8" fmla="*/ 0 w 3694535"/>
                <a:gd name="connsiteY8" fmla="*/ 754911 h 4492350"/>
                <a:gd name="connsiteX9" fmla="*/ 988828 w 3694535"/>
                <a:gd name="connsiteY9" fmla="*/ 1924493 h 4492350"/>
                <a:gd name="connsiteX10" fmla="*/ 1137684 w 3694535"/>
                <a:gd name="connsiteY10" fmla="*/ 861237 h 4492350"/>
                <a:gd name="connsiteX11" fmla="*/ 1222745 w 3694535"/>
                <a:gd name="connsiteY11" fmla="*/ 2062716 h 4492350"/>
                <a:gd name="connsiteX12" fmla="*/ 1690577 w 3694535"/>
                <a:gd name="connsiteY12" fmla="*/ 2190307 h 4492350"/>
                <a:gd name="connsiteX13" fmla="*/ 1956391 w 3694535"/>
                <a:gd name="connsiteY13" fmla="*/ 0 h 4492350"/>
                <a:gd name="connsiteX14" fmla="*/ 2083982 w 3694535"/>
                <a:gd name="connsiteY14" fmla="*/ 978195 h 4492350"/>
                <a:gd name="connsiteX15" fmla="*/ 1881963 w 3694535"/>
                <a:gd name="connsiteY15" fmla="*/ 2232837 h 4492350"/>
                <a:gd name="connsiteX16" fmla="*/ 2057494 w 3694535"/>
                <a:gd name="connsiteY16" fmla="*/ 3046321 h 4492350"/>
                <a:gd name="connsiteX17" fmla="*/ 2647507 w 3694535"/>
                <a:gd name="connsiteY17" fmla="*/ 2519916 h 4492350"/>
                <a:gd name="connsiteX18" fmla="*/ 2913694 w 3694535"/>
                <a:gd name="connsiteY18" fmla="*/ 1291762 h 4492350"/>
                <a:gd name="connsiteX19" fmla="*/ 2806809 w 3694535"/>
                <a:gd name="connsiteY19" fmla="*/ 2383091 h 4492350"/>
                <a:gd name="connsiteX20" fmla="*/ 3694535 w 3694535"/>
                <a:gd name="connsiteY20" fmla="*/ 1124252 h 4492350"/>
                <a:gd name="connsiteX21" fmla="*/ 2222205 w 3694535"/>
                <a:gd name="connsiteY21" fmla="*/ 3370521 h 4492350"/>
                <a:gd name="connsiteX22" fmla="*/ 2169042 w 3694535"/>
                <a:gd name="connsiteY22" fmla="*/ 3817088 h 4492350"/>
                <a:gd name="connsiteX23" fmla="*/ 3317358 w 3694535"/>
                <a:gd name="connsiteY23" fmla="*/ 3094074 h 4492350"/>
                <a:gd name="connsiteX24" fmla="*/ 2194317 w 3694535"/>
                <a:gd name="connsiteY24" fmla="*/ 4030951 h 4492350"/>
                <a:gd name="connsiteX25" fmla="*/ 2232838 w 3694535"/>
                <a:gd name="connsiteY25" fmla="*/ 4476307 h 4492350"/>
                <a:gd name="connsiteX26" fmla="*/ 2218194 w 3694535"/>
                <a:gd name="connsiteY26" fmla="*/ 4491415 h 4492350"/>
                <a:gd name="connsiteX27" fmla="*/ 1743740 w 3694535"/>
                <a:gd name="connsiteY27" fmla="*/ 4492350 h 4492350"/>
                <a:gd name="connsiteX0" fmla="*/ 1743740 w 3694535"/>
                <a:gd name="connsiteY0" fmla="*/ 4492350 h 4492350"/>
                <a:gd name="connsiteX1" fmla="*/ 1796903 w 3694535"/>
                <a:gd name="connsiteY1" fmla="*/ 3785190 h 4492350"/>
                <a:gd name="connsiteX2" fmla="*/ 1307805 w 3694535"/>
                <a:gd name="connsiteY2" fmla="*/ 3381153 h 4492350"/>
                <a:gd name="connsiteX3" fmla="*/ 31898 w 3694535"/>
                <a:gd name="connsiteY3" fmla="*/ 2945218 h 4492350"/>
                <a:gd name="connsiteX4" fmla="*/ 1127052 w 3694535"/>
                <a:gd name="connsiteY4" fmla="*/ 3242930 h 4492350"/>
                <a:gd name="connsiteX5" fmla="*/ 393405 w 3694535"/>
                <a:gd name="connsiteY5" fmla="*/ 2456121 h 4492350"/>
                <a:gd name="connsiteX6" fmla="*/ 1775638 w 3694535"/>
                <a:gd name="connsiteY6" fmla="*/ 3519376 h 4492350"/>
                <a:gd name="connsiteX7" fmla="*/ 1679945 w 3694535"/>
                <a:gd name="connsiteY7" fmla="*/ 2392325 h 4492350"/>
                <a:gd name="connsiteX8" fmla="*/ 0 w 3694535"/>
                <a:gd name="connsiteY8" fmla="*/ 754911 h 4492350"/>
                <a:gd name="connsiteX9" fmla="*/ 988828 w 3694535"/>
                <a:gd name="connsiteY9" fmla="*/ 1924493 h 4492350"/>
                <a:gd name="connsiteX10" fmla="*/ 1137684 w 3694535"/>
                <a:gd name="connsiteY10" fmla="*/ 861237 h 4492350"/>
                <a:gd name="connsiteX11" fmla="*/ 1222745 w 3694535"/>
                <a:gd name="connsiteY11" fmla="*/ 2062716 h 4492350"/>
                <a:gd name="connsiteX12" fmla="*/ 1690577 w 3694535"/>
                <a:gd name="connsiteY12" fmla="*/ 2190307 h 4492350"/>
                <a:gd name="connsiteX13" fmla="*/ 1956391 w 3694535"/>
                <a:gd name="connsiteY13" fmla="*/ 0 h 4492350"/>
                <a:gd name="connsiteX14" fmla="*/ 2083982 w 3694535"/>
                <a:gd name="connsiteY14" fmla="*/ 978195 h 4492350"/>
                <a:gd name="connsiteX15" fmla="*/ 1881963 w 3694535"/>
                <a:gd name="connsiteY15" fmla="*/ 2232837 h 4492350"/>
                <a:gd name="connsiteX16" fmla="*/ 2057494 w 3694535"/>
                <a:gd name="connsiteY16" fmla="*/ 3046321 h 4492350"/>
                <a:gd name="connsiteX17" fmla="*/ 2647507 w 3694535"/>
                <a:gd name="connsiteY17" fmla="*/ 2519916 h 4492350"/>
                <a:gd name="connsiteX18" fmla="*/ 2913694 w 3694535"/>
                <a:gd name="connsiteY18" fmla="*/ 1291762 h 4492350"/>
                <a:gd name="connsiteX19" fmla="*/ 2806809 w 3694535"/>
                <a:gd name="connsiteY19" fmla="*/ 2383091 h 4492350"/>
                <a:gd name="connsiteX20" fmla="*/ 3694535 w 3694535"/>
                <a:gd name="connsiteY20" fmla="*/ 1124252 h 4492350"/>
                <a:gd name="connsiteX21" fmla="*/ 2222205 w 3694535"/>
                <a:gd name="connsiteY21" fmla="*/ 3370521 h 4492350"/>
                <a:gd name="connsiteX22" fmla="*/ 2169042 w 3694535"/>
                <a:gd name="connsiteY22" fmla="*/ 3817088 h 4492350"/>
                <a:gd name="connsiteX23" fmla="*/ 3317358 w 3694535"/>
                <a:gd name="connsiteY23" fmla="*/ 3094074 h 4492350"/>
                <a:gd name="connsiteX24" fmla="*/ 2194317 w 3694535"/>
                <a:gd name="connsiteY24" fmla="*/ 4030951 h 4492350"/>
                <a:gd name="connsiteX25" fmla="*/ 2232838 w 3694535"/>
                <a:gd name="connsiteY25" fmla="*/ 4476307 h 4492350"/>
                <a:gd name="connsiteX26" fmla="*/ 2218194 w 3694535"/>
                <a:gd name="connsiteY26" fmla="*/ 4491415 h 4492350"/>
                <a:gd name="connsiteX27" fmla="*/ 1743740 w 3694535"/>
                <a:gd name="connsiteY27" fmla="*/ 4492350 h 4492350"/>
                <a:gd name="connsiteX0" fmla="*/ 1743740 w 3694535"/>
                <a:gd name="connsiteY0" fmla="*/ 4492350 h 4492350"/>
                <a:gd name="connsiteX1" fmla="*/ 1796903 w 3694535"/>
                <a:gd name="connsiteY1" fmla="*/ 3785190 h 4492350"/>
                <a:gd name="connsiteX2" fmla="*/ 1307805 w 3694535"/>
                <a:gd name="connsiteY2" fmla="*/ 3381153 h 4492350"/>
                <a:gd name="connsiteX3" fmla="*/ 31898 w 3694535"/>
                <a:gd name="connsiteY3" fmla="*/ 2945218 h 4492350"/>
                <a:gd name="connsiteX4" fmla="*/ 1127052 w 3694535"/>
                <a:gd name="connsiteY4" fmla="*/ 3242930 h 4492350"/>
                <a:gd name="connsiteX5" fmla="*/ 393405 w 3694535"/>
                <a:gd name="connsiteY5" fmla="*/ 2456121 h 4492350"/>
                <a:gd name="connsiteX6" fmla="*/ 1775638 w 3694535"/>
                <a:gd name="connsiteY6" fmla="*/ 3519376 h 4492350"/>
                <a:gd name="connsiteX7" fmla="*/ 1679945 w 3694535"/>
                <a:gd name="connsiteY7" fmla="*/ 2392325 h 4492350"/>
                <a:gd name="connsiteX8" fmla="*/ 0 w 3694535"/>
                <a:gd name="connsiteY8" fmla="*/ 754911 h 4492350"/>
                <a:gd name="connsiteX9" fmla="*/ 988828 w 3694535"/>
                <a:gd name="connsiteY9" fmla="*/ 1924493 h 4492350"/>
                <a:gd name="connsiteX10" fmla="*/ 1137684 w 3694535"/>
                <a:gd name="connsiteY10" fmla="*/ 861237 h 4492350"/>
                <a:gd name="connsiteX11" fmla="*/ 1222745 w 3694535"/>
                <a:gd name="connsiteY11" fmla="*/ 2062716 h 4492350"/>
                <a:gd name="connsiteX12" fmla="*/ 1690577 w 3694535"/>
                <a:gd name="connsiteY12" fmla="*/ 2190307 h 4492350"/>
                <a:gd name="connsiteX13" fmla="*/ 1956391 w 3694535"/>
                <a:gd name="connsiteY13" fmla="*/ 0 h 4492350"/>
                <a:gd name="connsiteX14" fmla="*/ 2083982 w 3694535"/>
                <a:gd name="connsiteY14" fmla="*/ 978195 h 4492350"/>
                <a:gd name="connsiteX15" fmla="*/ 1881963 w 3694535"/>
                <a:gd name="connsiteY15" fmla="*/ 2232837 h 4492350"/>
                <a:gd name="connsiteX16" fmla="*/ 2057494 w 3694535"/>
                <a:gd name="connsiteY16" fmla="*/ 3046321 h 4492350"/>
                <a:gd name="connsiteX17" fmla="*/ 2647507 w 3694535"/>
                <a:gd name="connsiteY17" fmla="*/ 2519916 h 4492350"/>
                <a:gd name="connsiteX18" fmla="*/ 2913694 w 3694535"/>
                <a:gd name="connsiteY18" fmla="*/ 1291762 h 4492350"/>
                <a:gd name="connsiteX19" fmla="*/ 2806809 w 3694535"/>
                <a:gd name="connsiteY19" fmla="*/ 2383091 h 4492350"/>
                <a:gd name="connsiteX20" fmla="*/ 3694535 w 3694535"/>
                <a:gd name="connsiteY20" fmla="*/ 1124252 h 4492350"/>
                <a:gd name="connsiteX21" fmla="*/ 2222205 w 3694535"/>
                <a:gd name="connsiteY21" fmla="*/ 3370521 h 4492350"/>
                <a:gd name="connsiteX22" fmla="*/ 2169042 w 3694535"/>
                <a:gd name="connsiteY22" fmla="*/ 3817088 h 4492350"/>
                <a:gd name="connsiteX23" fmla="*/ 3317358 w 3694535"/>
                <a:gd name="connsiteY23" fmla="*/ 3094074 h 4492350"/>
                <a:gd name="connsiteX24" fmla="*/ 2194317 w 3694535"/>
                <a:gd name="connsiteY24" fmla="*/ 4030951 h 4492350"/>
                <a:gd name="connsiteX25" fmla="*/ 2232838 w 3694535"/>
                <a:gd name="connsiteY25" fmla="*/ 4476307 h 4492350"/>
                <a:gd name="connsiteX26" fmla="*/ 2218194 w 3694535"/>
                <a:gd name="connsiteY26" fmla="*/ 4491415 h 4492350"/>
                <a:gd name="connsiteX27" fmla="*/ 1743740 w 3694535"/>
                <a:gd name="connsiteY27" fmla="*/ 4492350 h 4492350"/>
                <a:gd name="connsiteX0" fmla="*/ 1743740 w 3694535"/>
                <a:gd name="connsiteY0" fmla="*/ 4492350 h 4492350"/>
                <a:gd name="connsiteX1" fmla="*/ 1796903 w 3694535"/>
                <a:gd name="connsiteY1" fmla="*/ 3785190 h 4492350"/>
                <a:gd name="connsiteX2" fmla="*/ 1307805 w 3694535"/>
                <a:gd name="connsiteY2" fmla="*/ 3381153 h 4492350"/>
                <a:gd name="connsiteX3" fmla="*/ 31898 w 3694535"/>
                <a:gd name="connsiteY3" fmla="*/ 2945218 h 4492350"/>
                <a:gd name="connsiteX4" fmla="*/ 1127052 w 3694535"/>
                <a:gd name="connsiteY4" fmla="*/ 3242930 h 4492350"/>
                <a:gd name="connsiteX5" fmla="*/ 393405 w 3694535"/>
                <a:gd name="connsiteY5" fmla="*/ 2456121 h 4492350"/>
                <a:gd name="connsiteX6" fmla="*/ 1775638 w 3694535"/>
                <a:gd name="connsiteY6" fmla="*/ 3519376 h 4492350"/>
                <a:gd name="connsiteX7" fmla="*/ 1679945 w 3694535"/>
                <a:gd name="connsiteY7" fmla="*/ 2392325 h 4492350"/>
                <a:gd name="connsiteX8" fmla="*/ 0 w 3694535"/>
                <a:gd name="connsiteY8" fmla="*/ 754911 h 4492350"/>
                <a:gd name="connsiteX9" fmla="*/ 988828 w 3694535"/>
                <a:gd name="connsiteY9" fmla="*/ 1924493 h 4492350"/>
                <a:gd name="connsiteX10" fmla="*/ 1137684 w 3694535"/>
                <a:gd name="connsiteY10" fmla="*/ 861237 h 4492350"/>
                <a:gd name="connsiteX11" fmla="*/ 1222745 w 3694535"/>
                <a:gd name="connsiteY11" fmla="*/ 2062716 h 4492350"/>
                <a:gd name="connsiteX12" fmla="*/ 1690577 w 3694535"/>
                <a:gd name="connsiteY12" fmla="*/ 2190307 h 4492350"/>
                <a:gd name="connsiteX13" fmla="*/ 1956391 w 3694535"/>
                <a:gd name="connsiteY13" fmla="*/ 0 h 4492350"/>
                <a:gd name="connsiteX14" fmla="*/ 2083982 w 3694535"/>
                <a:gd name="connsiteY14" fmla="*/ 978195 h 4492350"/>
                <a:gd name="connsiteX15" fmla="*/ 1881963 w 3694535"/>
                <a:gd name="connsiteY15" fmla="*/ 2232837 h 4492350"/>
                <a:gd name="connsiteX16" fmla="*/ 2057494 w 3694535"/>
                <a:gd name="connsiteY16" fmla="*/ 3046321 h 4492350"/>
                <a:gd name="connsiteX17" fmla="*/ 2647507 w 3694535"/>
                <a:gd name="connsiteY17" fmla="*/ 2519916 h 4492350"/>
                <a:gd name="connsiteX18" fmla="*/ 2913694 w 3694535"/>
                <a:gd name="connsiteY18" fmla="*/ 1291762 h 4492350"/>
                <a:gd name="connsiteX19" fmla="*/ 2806809 w 3694535"/>
                <a:gd name="connsiteY19" fmla="*/ 2383091 h 4492350"/>
                <a:gd name="connsiteX20" fmla="*/ 3694535 w 3694535"/>
                <a:gd name="connsiteY20" fmla="*/ 1124252 h 4492350"/>
                <a:gd name="connsiteX21" fmla="*/ 2222205 w 3694535"/>
                <a:gd name="connsiteY21" fmla="*/ 3370521 h 4492350"/>
                <a:gd name="connsiteX22" fmla="*/ 2169042 w 3694535"/>
                <a:gd name="connsiteY22" fmla="*/ 3817088 h 4492350"/>
                <a:gd name="connsiteX23" fmla="*/ 3317358 w 3694535"/>
                <a:gd name="connsiteY23" fmla="*/ 3094074 h 4492350"/>
                <a:gd name="connsiteX24" fmla="*/ 2194317 w 3694535"/>
                <a:gd name="connsiteY24" fmla="*/ 4030951 h 4492350"/>
                <a:gd name="connsiteX25" fmla="*/ 2232838 w 3694535"/>
                <a:gd name="connsiteY25" fmla="*/ 4476307 h 4492350"/>
                <a:gd name="connsiteX26" fmla="*/ 2218194 w 3694535"/>
                <a:gd name="connsiteY26" fmla="*/ 4491415 h 4492350"/>
                <a:gd name="connsiteX27" fmla="*/ 1743740 w 3694535"/>
                <a:gd name="connsiteY27" fmla="*/ 4492350 h 4492350"/>
                <a:gd name="connsiteX0" fmla="*/ 1743740 w 3694535"/>
                <a:gd name="connsiteY0" fmla="*/ 4492350 h 4492350"/>
                <a:gd name="connsiteX1" fmla="*/ 1796903 w 3694535"/>
                <a:gd name="connsiteY1" fmla="*/ 3785190 h 4492350"/>
                <a:gd name="connsiteX2" fmla="*/ 1307805 w 3694535"/>
                <a:gd name="connsiteY2" fmla="*/ 3381153 h 4492350"/>
                <a:gd name="connsiteX3" fmla="*/ 31898 w 3694535"/>
                <a:gd name="connsiteY3" fmla="*/ 2945218 h 4492350"/>
                <a:gd name="connsiteX4" fmla="*/ 1127052 w 3694535"/>
                <a:gd name="connsiteY4" fmla="*/ 3242930 h 4492350"/>
                <a:gd name="connsiteX5" fmla="*/ 393405 w 3694535"/>
                <a:gd name="connsiteY5" fmla="*/ 2456121 h 4492350"/>
                <a:gd name="connsiteX6" fmla="*/ 1775638 w 3694535"/>
                <a:gd name="connsiteY6" fmla="*/ 3519376 h 4492350"/>
                <a:gd name="connsiteX7" fmla="*/ 1679945 w 3694535"/>
                <a:gd name="connsiteY7" fmla="*/ 2392325 h 4492350"/>
                <a:gd name="connsiteX8" fmla="*/ 0 w 3694535"/>
                <a:gd name="connsiteY8" fmla="*/ 754911 h 4492350"/>
                <a:gd name="connsiteX9" fmla="*/ 988828 w 3694535"/>
                <a:gd name="connsiteY9" fmla="*/ 1924493 h 4492350"/>
                <a:gd name="connsiteX10" fmla="*/ 1137684 w 3694535"/>
                <a:gd name="connsiteY10" fmla="*/ 861237 h 4492350"/>
                <a:gd name="connsiteX11" fmla="*/ 1222745 w 3694535"/>
                <a:gd name="connsiteY11" fmla="*/ 2062716 h 4492350"/>
                <a:gd name="connsiteX12" fmla="*/ 1690577 w 3694535"/>
                <a:gd name="connsiteY12" fmla="*/ 2190307 h 4492350"/>
                <a:gd name="connsiteX13" fmla="*/ 1956391 w 3694535"/>
                <a:gd name="connsiteY13" fmla="*/ 0 h 4492350"/>
                <a:gd name="connsiteX14" fmla="*/ 2083982 w 3694535"/>
                <a:gd name="connsiteY14" fmla="*/ 978195 h 4492350"/>
                <a:gd name="connsiteX15" fmla="*/ 1881963 w 3694535"/>
                <a:gd name="connsiteY15" fmla="*/ 2232837 h 4492350"/>
                <a:gd name="connsiteX16" fmla="*/ 2057494 w 3694535"/>
                <a:gd name="connsiteY16" fmla="*/ 3046321 h 4492350"/>
                <a:gd name="connsiteX17" fmla="*/ 2647507 w 3694535"/>
                <a:gd name="connsiteY17" fmla="*/ 2519916 h 4492350"/>
                <a:gd name="connsiteX18" fmla="*/ 2913694 w 3694535"/>
                <a:gd name="connsiteY18" fmla="*/ 1291762 h 4492350"/>
                <a:gd name="connsiteX19" fmla="*/ 2806809 w 3694535"/>
                <a:gd name="connsiteY19" fmla="*/ 2383091 h 4492350"/>
                <a:gd name="connsiteX20" fmla="*/ 3694535 w 3694535"/>
                <a:gd name="connsiteY20" fmla="*/ 1124252 h 4492350"/>
                <a:gd name="connsiteX21" fmla="*/ 2222205 w 3694535"/>
                <a:gd name="connsiteY21" fmla="*/ 3370521 h 4492350"/>
                <a:gd name="connsiteX22" fmla="*/ 2169042 w 3694535"/>
                <a:gd name="connsiteY22" fmla="*/ 3817088 h 4492350"/>
                <a:gd name="connsiteX23" fmla="*/ 3317358 w 3694535"/>
                <a:gd name="connsiteY23" fmla="*/ 3094074 h 4492350"/>
                <a:gd name="connsiteX24" fmla="*/ 2194317 w 3694535"/>
                <a:gd name="connsiteY24" fmla="*/ 4030951 h 4492350"/>
                <a:gd name="connsiteX25" fmla="*/ 2232838 w 3694535"/>
                <a:gd name="connsiteY25" fmla="*/ 4476307 h 4492350"/>
                <a:gd name="connsiteX26" fmla="*/ 2218194 w 3694535"/>
                <a:gd name="connsiteY26" fmla="*/ 4491415 h 4492350"/>
                <a:gd name="connsiteX27" fmla="*/ 1743740 w 3694535"/>
                <a:gd name="connsiteY27" fmla="*/ 4492350 h 4492350"/>
                <a:gd name="connsiteX0" fmla="*/ 1743740 w 3694535"/>
                <a:gd name="connsiteY0" fmla="*/ 4492350 h 4492350"/>
                <a:gd name="connsiteX1" fmla="*/ 1796903 w 3694535"/>
                <a:gd name="connsiteY1" fmla="*/ 3785190 h 4492350"/>
                <a:gd name="connsiteX2" fmla="*/ 1307805 w 3694535"/>
                <a:gd name="connsiteY2" fmla="*/ 3381153 h 4492350"/>
                <a:gd name="connsiteX3" fmla="*/ 31898 w 3694535"/>
                <a:gd name="connsiteY3" fmla="*/ 2945218 h 4492350"/>
                <a:gd name="connsiteX4" fmla="*/ 1127052 w 3694535"/>
                <a:gd name="connsiteY4" fmla="*/ 3242930 h 4492350"/>
                <a:gd name="connsiteX5" fmla="*/ 393405 w 3694535"/>
                <a:gd name="connsiteY5" fmla="*/ 2456121 h 4492350"/>
                <a:gd name="connsiteX6" fmla="*/ 1775638 w 3694535"/>
                <a:gd name="connsiteY6" fmla="*/ 3519376 h 4492350"/>
                <a:gd name="connsiteX7" fmla="*/ 1679945 w 3694535"/>
                <a:gd name="connsiteY7" fmla="*/ 2392325 h 4492350"/>
                <a:gd name="connsiteX8" fmla="*/ 0 w 3694535"/>
                <a:gd name="connsiteY8" fmla="*/ 754911 h 4492350"/>
                <a:gd name="connsiteX9" fmla="*/ 988828 w 3694535"/>
                <a:gd name="connsiteY9" fmla="*/ 1924493 h 4492350"/>
                <a:gd name="connsiteX10" fmla="*/ 1137684 w 3694535"/>
                <a:gd name="connsiteY10" fmla="*/ 861237 h 4492350"/>
                <a:gd name="connsiteX11" fmla="*/ 1222745 w 3694535"/>
                <a:gd name="connsiteY11" fmla="*/ 2062716 h 4492350"/>
                <a:gd name="connsiteX12" fmla="*/ 1690577 w 3694535"/>
                <a:gd name="connsiteY12" fmla="*/ 2190307 h 4492350"/>
                <a:gd name="connsiteX13" fmla="*/ 1956391 w 3694535"/>
                <a:gd name="connsiteY13" fmla="*/ 0 h 4492350"/>
                <a:gd name="connsiteX14" fmla="*/ 2083982 w 3694535"/>
                <a:gd name="connsiteY14" fmla="*/ 978195 h 4492350"/>
                <a:gd name="connsiteX15" fmla="*/ 1881963 w 3694535"/>
                <a:gd name="connsiteY15" fmla="*/ 2232837 h 4492350"/>
                <a:gd name="connsiteX16" fmla="*/ 2057494 w 3694535"/>
                <a:gd name="connsiteY16" fmla="*/ 3046321 h 4492350"/>
                <a:gd name="connsiteX17" fmla="*/ 2647507 w 3694535"/>
                <a:gd name="connsiteY17" fmla="*/ 2519916 h 4492350"/>
                <a:gd name="connsiteX18" fmla="*/ 2913694 w 3694535"/>
                <a:gd name="connsiteY18" fmla="*/ 1291762 h 4492350"/>
                <a:gd name="connsiteX19" fmla="*/ 2806809 w 3694535"/>
                <a:gd name="connsiteY19" fmla="*/ 2383091 h 4492350"/>
                <a:gd name="connsiteX20" fmla="*/ 3694535 w 3694535"/>
                <a:gd name="connsiteY20" fmla="*/ 1124252 h 4492350"/>
                <a:gd name="connsiteX21" fmla="*/ 2222205 w 3694535"/>
                <a:gd name="connsiteY21" fmla="*/ 3370521 h 4492350"/>
                <a:gd name="connsiteX22" fmla="*/ 2169042 w 3694535"/>
                <a:gd name="connsiteY22" fmla="*/ 3817088 h 4492350"/>
                <a:gd name="connsiteX23" fmla="*/ 3317358 w 3694535"/>
                <a:gd name="connsiteY23" fmla="*/ 3094074 h 4492350"/>
                <a:gd name="connsiteX24" fmla="*/ 2194317 w 3694535"/>
                <a:gd name="connsiteY24" fmla="*/ 4030951 h 4492350"/>
                <a:gd name="connsiteX25" fmla="*/ 2232838 w 3694535"/>
                <a:gd name="connsiteY25" fmla="*/ 4476307 h 4492350"/>
                <a:gd name="connsiteX26" fmla="*/ 2218194 w 3694535"/>
                <a:gd name="connsiteY26" fmla="*/ 4491415 h 4492350"/>
                <a:gd name="connsiteX27" fmla="*/ 1743740 w 3694535"/>
                <a:gd name="connsiteY27" fmla="*/ 4492350 h 4492350"/>
                <a:gd name="connsiteX0" fmla="*/ 1743740 w 3694535"/>
                <a:gd name="connsiteY0" fmla="*/ 4492350 h 4492350"/>
                <a:gd name="connsiteX1" fmla="*/ 1796903 w 3694535"/>
                <a:gd name="connsiteY1" fmla="*/ 3785190 h 4492350"/>
                <a:gd name="connsiteX2" fmla="*/ 1307805 w 3694535"/>
                <a:gd name="connsiteY2" fmla="*/ 3381153 h 4492350"/>
                <a:gd name="connsiteX3" fmla="*/ 31898 w 3694535"/>
                <a:gd name="connsiteY3" fmla="*/ 2945218 h 4492350"/>
                <a:gd name="connsiteX4" fmla="*/ 1127052 w 3694535"/>
                <a:gd name="connsiteY4" fmla="*/ 3242930 h 4492350"/>
                <a:gd name="connsiteX5" fmla="*/ 393405 w 3694535"/>
                <a:gd name="connsiteY5" fmla="*/ 2456121 h 4492350"/>
                <a:gd name="connsiteX6" fmla="*/ 1775638 w 3694535"/>
                <a:gd name="connsiteY6" fmla="*/ 3519376 h 4492350"/>
                <a:gd name="connsiteX7" fmla="*/ 1679945 w 3694535"/>
                <a:gd name="connsiteY7" fmla="*/ 2392325 h 4492350"/>
                <a:gd name="connsiteX8" fmla="*/ 0 w 3694535"/>
                <a:gd name="connsiteY8" fmla="*/ 754911 h 4492350"/>
                <a:gd name="connsiteX9" fmla="*/ 988828 w 3694535"/>
                <a:gd name="connsiteY9" fmla="*/ 1924493 h 4492350"/>
                <a:gd name="connsiteX10" fmla="*/ 1137684 w 3694535"/>
                <a:gd name="connsiteY10" fmla="*/ 861237 h 4492350"/>
                <a:gd name="connsiteX11" fmla="*/ 1222745 w 3694535"/>
                <a:gd name="connsiteY11" fmla="*/ 2062716 h 4492350"/>
                <a:gd name="connsiteX12" fmla="*/ 1690577 w 3694535"/>
                <a:gd name="connsiteY12" fmla="*/ 2190307 h 4492350"/>
                <a:gd name="connsiteX13" fmla="*/ 1956391 w 3694535"/>
                <a:gd name="connsiteY13" fmla="*/ 0 h 4492350"/>
                <a:gd name="connsiteX14" fmla="*/ 2083982 w 3694535"/>
                <a:gd name="connsiteY14" fmla="*/ 978195 h 4492350"/>
                <a:gd name="connsiteX15" fmla="*/ 1881963 w 3694535"/>
                <a:gd name="connsiteY15" fmla="*/ 2232837 h 4492350"/>
                <a:gd name="connsiteX16" fmla="*/ 2057494 w 3694535"/>
                <a:gd name="connsiteY16" fmla="*/ 3046321 h 4492350"/>
                <a:gd name="connsiteX17" fmla="*/ 2647507 w 3694535"/>
                <a:gd name="connsiteY17" fmla="*/ 2519916 h 4492350"/>
                <a:gd name="connsiteX18" fmla="*/ 2913694 w 3694535"/>
                <a:gd name="connsiteY18" fmla="*/ 1291762 h 4492350"/>
                <a:gd name="connsiteX19" fmla="*/ 2806809 w 3694535"/>
                <a:gd name="connsiteY19" fmla="*/ 2383091 h 4492350"/>
                <a:gd name="connsiteX20" fmla="*/ 3694535 w 3694535"/>
                <a:gd name="connsiteY20" fmla="*/ 1124252 h 4492350"/>
                <a:gd name="connsiteX21" fmla="*/ 2222205 w 3694535"/>
                <a:gd name="connsiteY21" fmla="*/ 3370521 h 4492350"/>
                <a:gd name="connsiteX22" fmla="*/ 2169042 w 3694535"/>
                <a:gd name="connsiteY22" fmla="*/ 3817088 h 4492350"/>
                <a:gd name="connsiteX23" fmla="*/ 3317358 w 3694535"/>
                <a:gd name="connsiteY23" fmla="*/ 3094074 h 4492350"/>
                <a:gd name="connsiteX24" fmla="*/ 2194317 w 3694535"/>
                <a:gd name="connsiteY24" fmla="*/ 4030951 h 4492350"/>
                <a:gd name="connsiteX25" fmla="*/ 2232838 w 3694535"/>
                <a:gd name="connsiteY25" fmla="*/ 4476307 h 4492350"/>
                <a:gd name="connsiteX26" fmla="*/ 2218194 w 3694535"/>
                <a:gd name="connsiteY26" fmla="*/ 4491415 h 4492350"/>
                <a:gd name="connsiteX27" fmla="*/ 1743740 w 3694535"/>
                <a:gd name="connsiteY27" fmla="*/ 4492350 h 4492350"/>
                <a:gd name="connsiteX0" fmla="*/ 1743740 w 3694535"/>
                <a:gd name="connsiteY0" fmla="*/ 4492350 h 4492350"/>
                <a:gd name="connsiteX1" fmla="*/ 1796903 w 3694535"/>
                <a:gd name="connsiteY1" fmla="*/ 3785190 h 4492350"/>
                <a:gd name="connsiteX2" fmla="*/ 1307805 w 3694535"/>
                <a:gd name="connsiteY2" fmla="*/ 3381153 h 4492350"/>
                <a:gd name="connsiteX3" fmla="*/ 31898 w 3694535"/>
                <a:gd name="connsiteY3" fmla="*/ 2945218 h 4492350"/>
                <a:gd name="connsiteX4" fmla="*/ 1127052 w 3694535"/>
                <a:gd name="connsiteY4" fmla="*/ 3242930 h 4492350"/>
                <a:gd name="connsiteX5" fmla="*/ 393405 w 3694535"/>
                <a:gd name="connsiteY5" fmla="*/ 2456121 h 4492350"/>
                <a:gd name="connsiteX6" fmla="*/ 1775638 w 3694535"/>
                <a:gd name="connsiteY6" fmla="*/ 3519376 h 4492350"/>
                <a:gd name="connsiteX7" fmla="*/ 1679945 w 3694535"/>
                <a:gd name="connsiteY7" fmla="*/ 2392325 h 4492350"/>
                <a:gd name="connsiteX8" fmla="*/ 0 w 3694535"/>
                <a:gd name="connsiteY8" fmla="*/ 754911 h 4492350"/>
                <a:gd name="connsiteX9" fmla="*/ 988828 w 3694535"/>
                <a:gd name="connsiteY9" fmla="*/ 1924493 h 4492350"/>
                <a:gd name="connsiteX10" fmla="*/ 1137684 w 3694535"/>
                <a:gd name="connsiteY10" fmla="*/ 861237 h 4492350"/>
                <a:gd name="connsiteX11" fmla="*/ 1222745 w 3694535"/>
                <a:gd name="connsiteY11" fmla="*/ 2062716 h 4492350"/>
                <a:gd name="connsiteX12" fmla="*/ 1690577 w 3694535"/>
                <a:gd name="connsiteY12" fmla="*/ 2190307 h 4492350"/>
                <a:gd name="connsiteX13" fmla="*/ 1956391 w 3694535"/>
                <a:gd name="connsiteY13" fmla="*/ 0 h 4492350"/>
                <a:gd name="connsiteX14" fmla="*/ 2083982 w 3694535"/>
                <a:gd name="connsiteY14" fmla="*/ 978195 h 4492350"/>
                <a:gd name="connsiteX15" fmla="*/ 1881963 w 3694535"/>
                <a:gd name="connsiteY15" fmla="*/ 2232837 h 4492350"/>
                <a:gd name="connsiteX16" fmla="*/ 2057494 w 3694535"/>
                <a:gd name="connsiteY16" fmla="*/ 3046321 h 4492350"/>
                <a:gd name="connsiteX17" fmla="*/ 2647507 w 3694535"/>
                <a:gd name="connsiteY17" fmla="*/ 2519916 h 4492350"/>
                <a:gd name="connsiteX18" fmla="*/ 2913694 w 3694535"/>
                <a:gd name="connsiteY18" fmla="*/ 1291762 h 4492350"/>
                <a:gd name="connsiteX19" fmla="*/ 2806809 w 3694535"/>
                <a:gd name="connsiteY19" fmla="*/ 2383091 h 4492350"/>
                <a:gd name="connsiteX20" fmla="*/ 3694535 w 3694535"/>
                <a:gd name="connsiteY20" fmla="*/ 1124252 h 4492350"/>
                <a:gd name="connsiteX21" fmla="*/ 2222205 w 3694535"/>
                <a:gd name="connsiteY21" fmla="*/ 3370521 h 4492350"/>
                <a:gd name="connsiteX22" fmla="*/ 2169042 w 3694535"/>
                <a:gd name="connsiteY22" fmla="*/ 3817088 h 4492350"/>
                <a:gd name="connsiteX23" fmla="*/ 3317358 w 3694535"/>
                <a:gd name="connsiteY23" fmla="*/ 3094074 h 4492350"/>
                <a:gd name="connsiteX24" fmla="*/ 2194317 w 3694535"/>
                <a:gd name="connsiteY24" fmla="*/ 4030951 h 4492350"/>
                <a:gd name="connsiteX25" fmla="*/ 2232838 w 3694535"/>
                <a:gd name="connsiteY25" fmla="*/ 4476307 h 4492350"/>
                <a:gd name="connsiteX26" fmla="*/ 2218194 w 3694535"/>
                <a:gd name="connsiteY26" fmla="*/ 4491415 h 4492350"/>
                <a:gd name="connsiteX27" fmla="*/ 1743740 w 3694535"/>
                <a:gd name="connsiteY27" fmla="*/ 4492350 h 4492350"/>
                <a:gd name="connsiteX0" fmla="*/ 1743740 w 3694535"/>
                <a:gd name="connsiteY0" fmla="*/ 4492350 h 4492350"/>
                <a:gd name="connsiteX1" fmla="*/ 1796903 w 3694535"/>
                <a:gd name="connsiteY1" fmla="*/ 3785190 h 4492350"/>
                <a:gd name="connsiteX2" fmla="*/ 1307805 w 3694535"/>
                <a:gd name="connsiteY2" fmla="*/ 3381153 h 4492350"/>
                <a:gd name="connsiteX3" fmla="*/ 31898 w 3694535"/>
                <a:gd name="connsiteY3" fmla="*/ 2945218 h 4492350"/>
                <a:gd name="connsiteX4" fmla="*/ 1127052 w 3694535"/>
                <a:gd name="connsiteY4" fmla="*/ 3242930 h 4492350"/>
                <a:gd name="connsiteX5" fmla="*/ 393405 w 3694535"/>
                <a:gd name="connsiteY5" fmla="*/ 2456121 h 4492350"/>
                <a:gd name="connsiteX6" fmla="*/ 1775638 w 3694535"/>
                <a:gd name="connsiteY6" fmla="*/ 3519376 h 4492350"/>
                <a:gd name="connsiteX7" fmla="*/ 1679945 w 3694535"/>
                <a:gd name="connsiteY7" fmla="*/ 2392325 h 4492350"/>
                <a:gd name="connsiteX8" fmla="*/ 0 w 3694535"/>
                <a:gd name="connsiteY8" fmla="*/ 754911 h 4492350"/>
                <a:gd name="connsiteX9" fmla="*/ 988828 w 3694535"/>
                <a:gd name="connsiteY9" fmla="*/ 1924493 h 4492350"/>
                <a:gd name="connsiteX10" fmla="*/ 1137684 w 3694535"/>
                <a:gd name="connsiteY10" fmla="*/ 861237 h 4492350"/>
                <a:gd name="connsiteX11" fmla="*/ 1222745 w 3694535"/>
                <a:gd name="connsiteY11" fmla="*/ 2062716 h 4492350"/>
                <a:gd name="connsiteX12" fmla="*/ 1690577 w 3694535"/>
                <a:gd name="connsiteY12" fmla="*/ 2190307 h 4492350"/>
                <a:gd name="connsiteX13" fmla="*/ 1956391 w 3694535"/>
                <a:gd name="connsiteY13" fmla="*/ 0 h 4492350"/>
                <a:gd name="connsiteX14" fmla="*/ 2083982 w 3694535"/>
                <a:gd name="connsiteY14" fmla="*/ 978195 h 4492350"/>
                <a:gd name="connsiteX15" fmla="*/ 1881963 w 3694535"/>
                <a:gd name="connsiteY15" fmla="*/ 2232837 h 4492350"/>
                <a:gd name="connsiteX16" fmla="*/ 2057494 w 3694535"/>
                <a:gd name="connsiteY16" fmla="*/ 3046321 h 4492350"/>
                <a:gd name="connsiteX17" fmla="*/ 2647507 w 3694535"/>
                <a:gd name="connsiteY17" fmla="*/ 2519916 h 4492350"/>
                <a:gd name="connsiteX18" fmla="*/ 2913694 w 3694535"/>
                <a:gd name="connsiteY18" fmla="*/ 1291762 h 4492350"/>
                <a:gd name="connsiteX19" fmla="*/ 2806809 w 3694535"/>
                <a:gd name="connsiteY19" fmla="*/ 2383091 h 4492350"/>
                <a:gd name="connsiteX20" fmla="*/ 3694535 w 3694535"/>
                <a:gd name="connsiteY20" fmla="*/ 1124252 h 4492350"/>
                <a:gd name="connsiteX21" fmla="*/ 2222205 w 3694535"/>
                <a:gd name="connsiteY21" fmla="*/ 3370521 h 4492350"/>
                <a:gd name="connsiteX22" fmla="*/ 2169042 w 3694535"/>
                <a:gd name="connsiteY22" fmla="*/ 3817088 h 4492350"/>
                <a:gd name="connsiteX23" fmla="*/ 3317358 w 3694535"/>
                <a:gd name="connsiteY23" fmla="*/ 3094074 h 4492350"/>
                <a:gd name="connsiteX24" fmla="*/ 2194317 w 3694535"/>
                <a:gd name="connsiteY24" fmla="*/ 4030951 h 4492350"/>
                <a:gd name="connsiteX25" fmla="*/ 2232838 w 3694535"/>
                <a:gd name="connsiteY25" fmla="*/ 4476307 h 4492350"/>
                <a:gd name="connsiteX26" fmla="*/ 2218194 w 3694535"/>
                <a:gd name="connsiteY26" fmla="*/ 4491415 h 4492350"/>
                <a:gd name="connsiteX27" fmla="*/ 1743740 w 3694535"/>
                <a:gd name="connsiteY27" fmla="*/ 4492350 h 4492350"/>
                <a:gd name="connsiteX0" fmla="*/ 1743740 w 3694535"/>
                <a:gd name="connsiteY0" fmla="*/ 4492350 h 4492350"/>
                <a:gd name="connsiteX1" fmla="*/ 1796903 w 3694535"/>
                <a:gd name="connsiteY1" fmla="*/ 3785190 h 4492350"/>
                <a:gd name="connsiteX2" fmla="*/ 1307805 w 3694535"/>
                <a:gd name="connsiteY2" fmla="*/ 3381153 h 4492350"/>
                <a:gd name="connsiteX3" fmla="*/ 31898 w 3694535"/>
                <a:gd name="connsiteY3" fmla="*/ 2945218 h 4492350"/>
                <a:gd name="connsiteX4" fmla="*/ 1127052 w 3694535"/>
                <a:gd name="connsiteY4" fmla="*/ 3242930 h 4492350"/>
                <a:gd name="connsiteX5" fmla="*/ 393405 w 3694535"/>
                <a:gd name="connsiteY5" fmla="*/ 2456121 h 4492350"/>
                <a:gd name="connsiteX6" fmla="*/ 1775638 w 3694535"/>
                <a:gd name="connsiteY6" fmla="*/ 3519376 h 4492350"/>
                <a:gd name="connsiteX7" fmla="*/ 1679945 w 3694535"/>
                <a:gd name="connsiteY7" fmla="*/ 2392325 h 4492350"/>
                <a:gd name="connsiteX8" fmla="*/ 0 w 3694535"/>
                <a:gd name="connsiteY8" fmla="*/ 754911 h 4492350"/>
                <a:gd name="connsiteX9" fmla="*/ 988828 w 3694535"/>
                <a:gd name="connsiteY9" fmla="*/ 1924493 h 4492350"/>
                <a:gd name="connsiteX10" fmla="*/ 1137684 w 3694535"/>
                <a:gd name="connsiteY10" fmla="*/ 861237 h 4492350"/>
                <a:gd name="connsiteX11" fmla="*/ 1222745 w 3694535"/>
                <a:gd name="connsiteY11" fmla="*/ 2062716 h 4492350"/>
                <a:gd name="connsiteX12" fmla="*/ 1690577 w 3694535"/>
                <a:gd name="connsiteY12" fmla="*/ 2190307 h 4492350"/>
                <a:gd name="connsiteX13" fmla="*/ 1956391 w 3694535"/>
                <a:gd name="connsiteY13" fmla="*/ 0 h 4492350"/>
                <a:gd name="connsiteX14" fmla="*/ 2083982 w 3694535"/>
                <a:gd name="connsiteY14" fmla="*/ 978195 h 4492350"/>
                <a:gd name="connsiteX15" fmla="*/ 1881963 w 3694535"/>
                <a:gd name="connsiteY15" fmla="*/ 2232837 h 4492350"/>
                <a:gd name="connsiteX16" fmla="*/ 2057494 w 3694535"/>
                <a:gd name="connsiteY16" fmla="*/ 3046321 h 4492350"/>
                <a:gd name="connsiteX17" fmla="*/ 2647507 w 3694535"/>
                <a:gd name="connsiteY17" fmla="*/ 2519916 h 4492350"/>
                <a:gd name="connsiteX18" fmla="*/ 2913694 w 3694535"/>
                <a:gd name="connsiteY18" fmla="*/ 1291762 h 4492350"/>
                <a:gd name="connsiteX19" fmla="*/ 2806809 w 3694535"/>
                <a:gd name="connsiteY19" fmla="*/ 2383091 h 4492350"/>
                <a:gd name="connsiteX20" fmla="*/ 3694535 w 3694535"/>
                <a:gd name="connsiteY20" fmla="*/ 1124252 h 4492350"/>
                <a:gd name="connsiteX21" fmla="*/ 2222205 w 3694535"/>
                <a:gd name="connsiteY21" fmla="*/ 3370521 h 4492350"/>
                <a:gd name="connsiteX22" fmla="*/ 2169042 w 3694535"/>
                <a:gd name="connsiteY22" fmla="*/ 3817088 h 4492350"/>
                <a:gd name="connsiteX23" fmla="*/ 3317358 w 3694535"/>
                <a:gd name="connsiteY23" fmla="*/ 3094074 h 4492350"/>
                <a:gd name="connsiteX24" fmla="*/ 2194317 w 3694535"/>
                <a:gd name="connsiteY24" fmla="*/ 4030951 h 4492350"/>
                <a:gd name="connsiteX25" fmla="*/ 2232838 w 3694535"/>
                <a:gd name="connsiteY25" fmla="*/ 4476307 h 4492350"/>
                <a:gd name="connsiteX26" fmla="*/ 2218194 w 3694535"/>
                <a:gd name="connsiteY26" fmla="*/ 4491415 h 4492350"/>
                <a:gd name="connsiteX27" fmla="*/ 1743740 w 3694535"/>
                <a:gd name="connsiteY27" fmla="*/ 4492350 h 4492350"/>
                <a:gd name="connsiteX0" fmla="*/ 1743740 w 3694535"/>
                <a:gd name="connsiteY0" fmla="*/ 4492350 h 4492350"/>
                <a:gd name="connsiteX1" fmla="*/ 1796903 w 3694535"/>
                <a:gd name="connsiteY1" fmla="*/ 3785190 h 4492350"/>
                <a:gd name="connsiteX2" fmla="*/ 1307805 w 3694535"/>
                <a:gd name="connsiteY2" fmla="*/ 3381153 h 4492350"/>
                <a:gd name="connsiteX3" fmla="*/ 31898 w 3694535"/>
                <a:gd name="connsiteY3" fmla="*/ 2945218 h 4492350"/>
                <a:gd name="connsiteX4" fmla="*/ 1127052 w 3694535"/>
                <a:gd name="connsiteY4" fmla="*/ 3242930 h 4492350"/>
                <a:gd name="connsiteX5" fmla="*/ 393405 w 3694535"/>
                <a:gd name="connsiteY5" fmla="*/ 2456121 h 4492350"/>
                <a:gd name="connsiteX6" fmla="*/ 1775638 w 3694535"/>
                <a:gd name="connsiteY6" fmla="*/ 3519376 h 4492350"/>
                <a:gd name="connsiteX7" fmla="*/ 1679945 w 3694535"/>
                <a:gd name="connsiteY7" fmla="*/ 2392325 h 4492350"/>
                <a:gd name="connsiteX8" fmla="*/ 0 w 3694535"/>
                <a:gd name="connsiteY8" fmla="*/ 754911 h 4492350"/>
                <a:gd name="connsiteX9" fmla="*/ 988828 w 3694535"/>
                <a:gd name="connsiteY9" fmla="*/ 1924493 h 4492350"/>
                <a:gd name="connsiteX10" fmla="*/ 1137684 w 3694535"/>
                <a:gd name="connsiteY10" fmla="*/ 861237 h 4492350"/>
                <a:gd name="connsiteX11" fmla="*/ 1222745 w 3694535"/>
                <a:gd name="connsiteY11" fmla="*/ 2062716 h 4492350"/>
                <a:gd name="connsiteX12" fmla="*/ 1690577 w 3694535"/>
                <a:gd name="connsiteY12" fmla="*/ 2190307 h 4492350"/>
                <a:gd name="connsiteX13" fmla="*/ 1956391 w 3694535"/>
                <a:gd name="connsiteY13" fmla="*/ 0 h 4492350"/>
                <a:gd name="connsiteX14" fmla="*/ 2083982 w 3694535"/>
                <a:gd name="connsiteY14" fmla="*/ 978195 h 4492350"/>
                <a:gd name="connsiteX15" fmla="*/ 1881963 w 3694535"/>
                <a:gd name="connsiteY15" fmla="*/ 2232837 h 4492350"/>
                <a:gd name="connsiteX16" fmla="*/ 2057494 w 3694535"/>
                <a:gd name="connsiteY16" fmla="*/ 3046321 h 4492350"/>
                <a:gd name="connsiteX17" fmla="*/ 2647507 w 3694535"/>
                <a:gd name="connsiteY17" fmla="*/ 2519916 h 4492350"/>
                <a:gd name="connsiteX18" fmla="*/ 2913694 w 3694535"/>
                <a:gd name="connsiteY18" fmla="*/ 1291762 h 4492350"/>
                <a:gd name="connsiteX19" fmla="*/ 2806809 w 3694535"/>
                <a:gd name="connsiteY19" fmla="*/ 2383091 h 4492350"/>
                <a:gd name="connsiteX20" fmla="*/ 3694535 w 3694535"/>
                <a:gd name="connsiteY20" fmla="*/ 1124252 h 4492350"/>
                <a:gd name="connsiteX21" fmla="*/ 2222205 w 3694535"/>
                <a:gd name="connsiteY21" fmla="*/ 3370521 h 4492350"/>
                <a:gd name="connsiteX22" fmla="*/ 2169042 w 3694535"/>
                <a:gd name="connsiteY22" fmla="*/ 3817088 h 4492350"/>
                <a:gd name="connsiteX23" fmla="*/ 3317358 w 3694535"/>
                <a:gd name="connsiteY23" fmla="*/ 3094074 h 4492350"/>
                <a:gd name="connsiteX24" fmla="*/ 2194317 w 3694535"/>
                <a:gd name="connsiteY24" fmla="*/ 4030951 h 4492350"/>
                <a:gd name="connsiteX25" fmla="*/ 2232838 w 3694535"/>
                <a:gd name="connsiteY25" fmla="*/ 4476307 h 4492350"/>
                <a:gd name="connsiteX26" fmla="*/ 2218194 w 3694535"/>
                <a:gd name="connsiteY26" fmla="*/ 4491415 h 4492350"/>
                <a:gd name="connsiteX27" fmla="*/ 1743740 w 3694535"/>
                <a:gd name="connsiteY27" fmla="*/ 4492350 h 4492350"/>
                <a:gd name="connsiteX0" fmla="*/ 1743740 w 3694535"/>
                <a:gd name="connsiteY0" fmla="*/ 4492350 h 4492350"/>
                <a:gd name="connsiteX1" fmla="*/ 1796903 w 3694535"/>
                <a:gd name="connsiteY1" fmla="*/ 3785190 h 4492350"/>
                <a:gd name="connsiteX2" fmla="*/ 1307805 w 3694535"/>
                <a:gd name="connsiteY2" fmla="*/ 3381153 h 4492350"/>
                <a:gd name="connsiteX3" fmla="*/ 31898 w 3694535"/>
                <a:gd name="connsiteY3" fmla="*/ 2945218 h 4492350"/>
                <a:gd name="connsiteX4" fmla="*/ 1127052 w 3694535"/>
                <a:gd name="connsiteY4" fmla="*/ 3242930 h 4492350"/>
                <a:gd name="connsiteX5" fmla="*/ 393405 w 3694535"/>
                <a:gd name="connsiteY5" fmla="*/ 2456121 h 4492350"/>
                <a:gd name="connsiteX6" fmla="*/ 1775638 w 3694535"/>
                <a:gd name="connsiteY6" fmla="*/ 3519376 h 4492350"/>
                <a:gd name="connsiteX7" fmla="*/ 1679945 w 3694535"/>
                <a:gd name="connsiteY7" fmla="*/ 2392325 h 4492350"/>
                <a:gd name="connsiteX8" fmla="*/ 0 w 3694535"/>
                <a:gd name="connsiteY8" fmla="*/ 754911 h 4492350"/>
                <a:gd name="connsiteX9" fmla="*/ 988828 w 3694535"/>
                <a:gd name="connsiteY9" fmla="*/ 1924493 h 4492350"/>
                <a:gd name="connsiteX10" fmla="*/ 1137684 w 3694535"/>
                <a:gd name="connsiteY10" fmla="*/ 861237 h 4492350"/>
                <a:gd name="connsiteX11" fmla="*/ 1222745 w 3694535"/>
                <a:gd name="connsiteY11" fmla="*/ 2062716 h 4492350"/>
                <a:gd name="connsiteX12" fmla="*/ 1690577 w 3694535"/>
                <a:gd name="connsiteY12" fmla="*/ 2190307 h 4492350"/>
                <a:gd name="connsiteX13" fmla="*/ 1956391 w 3694535"/>
                <a:gd name="connsiteY13" fmla="*/ 0 h 4492350"/>
                <a:gd name="connsiteX14" fmla="*/ 2083982 w 3694535"/>
                <a:gd name="connsiteY14" fmla="*/ 978195 h 4492350"/>
                <a:gd name="connsiteX15" fmla="*/ 1881963 w 3694535"/>
                <a:gd name="connsiteY15" fmla="*/ 2232837 h 4492350"/>
                <a:gd name="connsiteX16" fmla="*/ 2057494 w 3694535"/>
                <a:gd name="connsiteY16" fmla="*/ 3046321 h 4492350"/>
                <a:gd name="connsiteX17" fmla="*/ 2647507 w 3694535"/>
                <a:gd name="connsiteY17" fmla="*/ 2519916 h 4492350"/>
                <a:gd name="connsiteX18" fmla="*/ 2913694 w 3694535"/>
                <a:gd name="connsiteY18" fmla="*/ 1291762 h 4492350"/>
                <a:gd name="connsiteX19" fmla="*/ 2806809 w 3694535"/>
                <a:gd name="connsiteY19" fmla="*/ 2383091 h 4492350"/>
                <a:gd name="connsiteX20" fmla="*/ 3694535 w 3694535"/>
                <a:gd name="connsiteY20" fmla="*/ 1124252 h 4492350"/>
                <a:gd name="connsiteX21" fmla="*/ 2222205 w 3694535"/>
                <a:gd name="connsiteY21" fmla="*/ 3370521 h 4492350"/>
                <a:gd name="connsiteX22" fmla="*/ 2169042 w 3694535"/>
                <a:gd name="connsiteY22" fmla="*/ 3817088 h 4492350"/>
                <a:gd name="connsiteX23" fmla="*/ 3317358 w 3694535"/>
                <a:gd name="connsiteY23" fmla="*/ 3094074 h 4492350"/>
                <a:gd name="connsiteX24" fmla="*/ 2194317 w 3694535"/>
                <a:gd name="connsiteY24" fmla="*/ 4030951 h 4492350"/>
                <a:gd name="connsiteX25" fmla="*/ 2232838 w 3694535"/>
                <a:gd name="connsiteY25" fmla="*/ 4476307 h 4492350"/>
                <a:gd name="connsiteX26" fmla="*/ 2218194 w 3694535"/>
                <a:gd name="connsiteY26" fmla="*/ 4491415 h 4492350"/>
                <a:gd name="connsiteX27" fmla="*/ 1743740 w 3694535"/>
                <a:gd name="connsiteY27" fmla="*/ 4492350 h 4492350"/>
                <a:gd name="connsiteX0" fmla="*/ 1743740 w 3694535"/>
                <a:gd name="connsiteY0" fmla="*/ 4492350 h 4492350"/>
                <a:gd name="connsiteX1" fmla="*/ 1796903 w 3694535"/>
                <a:gd name="connsiteY1" fmla="*/ 3785190 h 4492350"/>
                <a:gd name="connsiteX2" fmla="*/ 1307805 w 3694535"/>
                <a:gd name="connsiteY2" fmla="*/ 3381153 h 4492350"/>
                <a:gd name="connsiteX3" fmla="*/ 31898 w 3694535"/>
                <a:gd name="connsiteY3" fmla="*/ 2945218 h 4492350"/>
                <a:gd name="connsiteX4" fmla="*/ 1127052 w 3694535"/>
                <a:gd name="connsiteY4" fmla="*/ 3242930 h 4492350"/>
                <a:gd name="connsiteX5" fmla="*/ 393405 w 3694535"/>
                <a:gd name="connsiteY5" fmla="*/ 2456121 h 4492350"/>
                <a:gd name="connsiteX6" fmla="*/ 1775638 w 3694535"/>
                <a:gd name="connsiteY6" fmla="*/ 3519376 h 4492350"/>
                <a:gd name="connsiteX7" fmla="*/ 1679945 w 3694535"/>
                <a:gd name="connsiteY7" fmla="*/ 2392325 h 4492350"/>
                <a:gd name="connsiteX8" fmla="*/ 0 w 3694535"/>
                <a:gd name="connsiteY8" fmla="*/ 754911 h 4492350"/>
                <a:gd name="connsiteX9" fmla="*/ 988828 w 3694535"/>
                <a:gd name="connsiteY9" fmla="*/ 1924493 h 4492350"/>
                <a:gd name="connsiteX10" fmla="*/ 1137684 w 3694535"/>
                <a:gd name="connsiteY10" fmla="*/ 861237 h 4492350"/>
                <a:gd name="connsiteX11" fmla="*/ 1222745 w 3694535"/>
                <a:gd name="connsiteY11" fmla="*/ 2062716 h 4492350"/>
                <a:gd name="connsiteX12" fmla="*/ 1690577 w 3694535"/>
                <a:gd name="connsiteY12" fmla="*/ 2190307 h 4492350"/>
                <a:gd name="connsiteX13" fmla="*/ 1956391 w 3694535"/>
                <a:gd name="connsiteY13" fmla="*/ 0 h 4492350"/>
                <a:gd name="connsiteX14" fmla="*/ 2027834 w 3694535"/>
                <a:gd name="connsiteY14" fmla="*/ 986216 h 4492350"/>
                <a:gd name="connsiteX15" fmla="*/ 1881963 w 3694535"/>
                <a:gd name="connsiteY15" fmla="*/ 2232837 h 4492350"/>
                <a:gd name="connsiteX16" fmla="*/ 2057494 w 3694535"/>
                <a:gd name="connsiteY16" fmla="*/ 3046321 h 4492350"/>
                <a:gd name="connsiteX17" fmla="*/ 2647507 w 3694535"/>
                <a:gd name="connsiteY17" fmla="*/ 2519916 h 4492350"/>
                <a:gd name="connsiteX18" fmla="*/ 2913694 w 3694535"/>
                <a:gd name="connsiteY18" fmla="*/ 1291762 h 4492350"/>
                <a:gd name="connsiteX19" fmla="*/ 2806809 w 3694535"/>
                <a:gd name="connsiteY19" fmla="*/ 2383091 h 4492350"/>
                <a:gd name="connsiteX20" fmla="*/ 3694535 w 3694535"/>
                <a:gd name="connsiteY20" fmla="*/ 1124252 h 4492350"/>
                <a:gd name="connsiteX21" fmla="*/ 2222205 w 3694535"/>
                <a:gd name="connsiteY21" fmla="*/ 3370521 h 4492350"/>
                <a:gd name="connsiteX22" fmla="*/ 2169042 w 3694535"/>
                <a:gd name="connsiteY22" fmla="*/ 3817088 h 4492350"/>
                <a:gd name="connsiteX23" fmla="*/ 3317358 w 3694535"/>
                <a:gd name="connsiteY23" fmla="*/ 3094074 h 4492350"/>
                <a:gd name="connsiteX24" fmla="*/ 2194317 w 3694535"/>
                <a:gd name="connsiteY24" fmla="*/ 4030951 h 4492350"/>
                <a:gd name="connsiteX25" fmla="*/ 2232838 w 3694535"/>
                <a:gd name="connsiteY25" fmla="*/ 4476307 h 4492350"/>
                <a:gd name="connsiteX26" fmla="*/ 2218194 w 3694535"/>
                <a:gd name="connsiteY26" fmla="*/ 4491415 h 4492350"/>
                <a:gd name="connsiteX27" fmla="*/ 1743740 w 3694535"/>
                <a:gd name="connsiteY27" fmla="*/ 4492350 h 4492350"/>
                <a:gd name="connsiteX0" fmla="*/ 1743740 w 3694535"/>
                <a:gd name="connsiteY0" fmla="*/ 4492350 h 4492350"/>
                <a:gd name="connsiteX1" fmla="*/ 1796903 w 3694535"/>
                <a:gd name="connsiteY1" fmla="*/ 3785190 h 4492350"/>
                <a:gd name="connsiteX2" fmla="*/ 1307805 w 3694535"/>
                <a:gd name="connsiteY2" fmla="*/ 3381153 h 4492350"/>
                <a:gd name="connsiteX3" fmla="*/ 31898 w 3694535"/>
                <a:gd name="connsiteY3" fmla="*/ 2945218 h 4492350"/>
                <a:gd name="connsiteX4" fmla="*/ 1127052 w 3694535"/>
                <a:gd name="connsiteY4" fmla="*/ 3242930 h 4492350"/>
                <a:gd name="connsiteX5" fmla="*/ 393405 w 3694535"/>
                <a:gd name="connsiteY5" fmla="*/ 2456121 h 4492350"/>
                <a:gd name="connsiteX6" fmla="*/ 1775638 w 3694535"/>
                <a:gd name="connsiteY6" fmla="*/ 3519376 h 4492350"/>
                <a:gd name="connsiteX7" fmla="*/ 1679945 w 3694535"/>
                <a:gd name="connsiteY7" fmla="*/ 2392325 h 4492350"/>
                <a:gd name="connsiteX8" fmla="*/ 0 w 3694535"/>
                <a:gd name="connsiteY8" fmla="*/ 754911 h 4492350"/>
                <a:gd name="connsiteX9" fmla="*/ 988828 w 3694535"/>
                <a:gd name="connsiteY9" fmla="*/ 1924493 h 4492350"/>
                <a:gd name="connsiteX10" fmla="*/ 1137684 w 3694535"/>
                <a:gd name="connsiteY10" fmla="*/ 861237 h 4492350"/>
                <a:gd name="connsiteX11" fmla="*/ 1222745 w 3694535"/>
                <a:gd name="connsiteY11" fmla="*/ 2062716 h 4492350"/>
                <a:gd name="connsiteX12" fmla="*/ 1690577 w 3694535"/>
                <a:gd name="connsiteY12" fmla="*/ 2190307 h 4492350"/>
                <a:gd name="connsiteX13" fmla="*/ 1956391 w 3694535"/>
                <a:gd name="connsiteY13" fmla="*/ 0 h 4492350"/>
                <a:gd name="connsiteX14" fmla="*/ 2027834 w 3694535"/>
                <a:gd name="connsiteY14" fmla="*/ 986216 h 4492350"/>
                <a:gd name="connsiteX15" fmla="*/ 1881963 w 3694535"/>
                <a:gd name="connsiteY15" fmla="*/ 2232837 h 4492350"/>
                <a:gd name="connsiteX16" fmla="*/ 2057494 w 3694535"/>
                <a:gd name="connsiteY16" fmla="*/ 3046321 h 4492350"/>
                <a:gd name="connsiteX17" fmla="*/ 2647507 w 3694535"/>
                <a:gd name="connsiteY17" fmla="*/ 2519916 h 4492350"/>
                <a:gd name="connsiteX18" fmla="*/ 2913694 w 3694535"/>
                <a:gd name="connsiteY18" fmla="*/ 1291762 h 4492350"/>
                <a:gd name="connsiteX19" fmla="*/ 2806809 w 3694535"/>
                <a:gd name="connsiteY19" fmla="*/ 2383091 h 4492350"/>
                <a:gd name="connsiteX20" fmla="*/ 3694535 w 3694535"/>
                <a:gd name="connsiteY20" fmla="*/ 1124252 h 4492350"/>
                <a:gd name="connsiteX21" fmla="*/ 2222205 w 3694535"/>
                <a:gd name="connsiteY21" fmla="*/ 3370521 h 4492350"/>
                <a:gd name="connsiteX22" fmla="*/ 2169042 w 3694535"/>
                <a:gd name="connsiteY22" fmla="*/ 3817088 h 4492350"/>
                <a:gd name="connsiteX23" fmla="*/ 3317358 w 3694535"/>
                <a:gd name="connsiteY23" fmla="*/ 3094074 h 4492350"/>
                <a:gd name="connsiteX24" fmla="*/ 2194317 w 3694535"/>
                <a:gd name="connsiteY24" fmla="*/ 4030951 h 4492350"/>
                <a:gd name="connsiteX25" fmla="*/ 2232838 w 3694535"/>
                <a:gd name="connsiteY25" fmla="*/ 4476307 h 4492350"/>
                <a:gd name="connsiteX26" fmla="*/ 2218194 w 3694535"/>
                <a:gd name="connsiteY26" fmla="*/ 4491415 h 4492350"/>
                <a:gd name="connsiteX27" fmla="*/ 1743740 w 3694535"/>
                <a:gd name="connsiteY27" fmla="*/ 4492350 h 4492350"/>
                <a:gd name="connsiteX0" fmla="*/ 1743740 w 3694535"/>
                <a:gd name="connsiteY0" fmla="*/ 4492350 h 4492350"/>
                <a:gd name="connsiteX1" fmla="*/ 1796903 w 3694535"/>
                <a:gd name="connsiteY1" fmla="*/ 3785190 h 4492350"/>
                <a:gd name="connsiteX2" fmla="*/ 1307805 w 3694535"/>
                <a:gd name="connsiteY2" fmla="*/ 3381153 h 4492350"/>
                <a:gd name="connsiteX3" fmla="*/ 31898 w 3694535"/>
                <a:gd name="connsiteY3" fmla="*/ 2945218 h 4492350"/>
                <a:gd name="connsiteX4" fmla="*/ 1127052 w 3694535"/>
                <a:gd name="connsiteY4" fmla="*/ 3242930 h 4492350"/>
                <a:gd name="connsiteX5" fmla="*/ 393405 w 3694535"/>
                <a:gd name="connsiteY5" fmla="*/ 2456121 h 4492350"/>
                <a:gd name="connsiteX6" fmla="*/ 1775638 w 3694535"/>
                <a:gd name="connsiteY6" fmla="*/ 3519376 h 4492350"/>
                <a:gd name="connsiteX7" fmla="*/ 1679945 w 3694535"/>
                <a:gd name="connsiteY7" fmla="*/ 2392325 h 4492350"/>
                <a:gd name="connsiteX8" fmla="*/ 0 w 3694535"/>
                <a:gd name="connsiteY8" fmla="*/ 754911 h 4492350"/>
                <a:gd name="connsiteX9" fmla="*/ 988828 w 3694535"/>
                <a:gd name="connsiteY9" fmla="*/ 1924493 h 4492350"/>
                <a:gd name="connsiteX10" fmla="*/ 1137684 w 3694535"/>
                <a:gd name="connsiteY10" fmla="*/ 861237 h 4492350"/>
                <a:gd name="connsiteX11" fmla="*/ 1222745 w 3694535"/>
                <a:gd name="connsiteY11" fmla="*/ 2062716 h 4492350"/>
                <a:gd name="connsiteX12" fmla="*/ 1690577 w 3694535"/>
                <a:gd name="connsiteY12" fmla="*/ 2190307 h 4492350"/>
                <a:gd name="connsiteX13" fmla="*/ 1956391 w 3694535"/>
                <a:gd name="connsiteY13" fmla="*/ 0 h 4492350"/>
                <a:gd name="connsiteX14" fmla="*/ 2027834 w 3694535"/>
                <a:gd name="connsiteY14" fmla="*/ 986216 h 4492350"/>
                <a:gd name="connsiteX15" fmla="*/ 1881963 w 3694535"/>
                <a:gd name="connsiteY15" fmla="*/ 2232837 h 4492350"/>
                <a:gd name="connsiteX16" fmla="*/ 2057494 w 3694535"/>
                <a:gd name="connsiteY16" fmla="*/ 3046321 h 4492350"/>
                <a:gd name="connsiteX17" fmla="*/ 2647507 w 3694535"/>
                <a:gd name="connsiteY17" fmla="*/ 2519916 h 4492350"/>
                <a:gd name="connsiteX18" fmla="*/ 2913694 w 3694535"/>
                <a:gd name="connsiteY18" fmla="*/ 1291762 h 4492350"/>
                <a:gd name="connsiteX19" fmla="*/ 2806809 w 3694535"/>
                <a:gd name="connsiteY19" fmla="*/ 2383091 h 4492350"/>
                <a:gd name="connsiteX20" fmla="*/ 3694535 w 3694535"/>
                <a:gd name="connsiteY20" fmla="*/ 1124252 h 4492350"/>
                <a:gd name="connsiteX21" fmla="*/ 2222205 w 3694535"/>
                <a:gd name="connsiteY21" fmla="*/ 3370521 h 4492350"/>
                <a:gd name="connsiteX22" fmla="*/ 2169042 w 3694535"/>
                <a:gd name="connsiteY22" fmla="*/ 3817088 h 4492350"/>
                <a:gd name="connsiteX23" fmla="*/ 3317358 w 3694535"/>
                <a:gd name="connsiteY23" fmla="*/ 3094074 h 4492350"/>
                <a:gd name="connsiteX24" fmla="*/ 2194317 w 3694535"/>
                <a:gd name="connsiteY24" fmla="*/ 4030951 h 4492350"/>
                <a:gd name="connsiteX25" fmla="*/ 2232838 w 3694535"/>
                <a:gd name="connsiteY25" fmla="*/ 4476307 h 4492350"/>
                <a:gd name="connsiteX26" fmla="*/ 2218194 w 3694535"/>
                <a:gd name="connsiteY26" fmla="*/ 4491415 h 4492350"/>
                <a:gd name="connsiteX27" fmla="*/ 1743740 w 3694535"/>
                <a:gd name="connsiteY27" fmla="*/ 4492350 h 4492350"/>
                <a:gd name="connsiteX0" fmla="*/ 1743740 w 3694535"/>
                <a:gd name="connsiteY0" fmla="*/ 4523651 h 4523651"/>
                <a:gd name="connsiteX1" fmla="*/ 1796903 w 3694535"/>
                <a:gd name="connsiteY1" fmla="*/ 3816491 h 4523651"/>
                <a:gd name="connsiteX2" fmla="*/ 1307805 w 3694535"/>
                <a:gd name="connsiteY2" fmla="*/ 3412454 h 4523651"/>
                <a:gd name="connsiteX3" fmla="*/ 31898 w 3694535"/>
                <a:gd name="connsiteY3" fmla="*/ 2976519 h 4523651"/>
                <a:gd name="connsiteX4" fmla="*/ 1127052 w 3694535"/>
                <a:gd name="connsiteY4" fmla="*/ 3274231 h 4523651"/>
                <a:gd name="connsiteX5" fmla="*/ 393405 w 3694535"/>
                <a:gd name="connsiteY5" fmla="*/ 2487422 h 4523651"/>
                <a:gd name="connsiteX6" fmla="*/ 1775638 w 3694535"/>
                <a:gd name="connsiteY6" fmla="*/ 3550677 h 4523651"/>
                <a:gd name="connsiteX7" fmla="*/ 1679945 w 3694535"/>
                <a:gd name="connsiteY7" fmla="*/ 2423626 h 4523651"/>
                <a:gd name="connsiteX8" fmla="*/ 0 w 3694535"/>
                <a:gd name="connsiteY8" fmla="*/ 786212 h 4523651"/>
                <a:gd name="connsiteX9" fmla="*/ 988828 w 3694535"/>
                <a:gd name="connsiteY9" fmla="*/ 1955794 h 4523651"/>
                <a:gd name="connsiteX10" fmla="*/ 1137684 w 3694535"/>
                <a:gd name="connsiteY10" fmla="*/ 892538 h 4523651"/>
                <a:gd name="connsiteX11" fmla="*/ 1222745 w 3694535"/>
                <a:gd name="connsiteY11" fmla="*/ 2094017 h 4523651"/>
                <a:gd name="connsiteX12" fmla="*/ 1690577 w 3694535"/>
                <a:gd name="connsiteY12" fmla="*/ 2221608 h 4523651"/>
                <a:gd name="connsiteX13" fmla="*/ 1956391 w 3694535"/>
                <a:gd name="connsiteY13" fmla="*/ 31301 h 4523651"/>
                <a:gd name="connsiteX14" fmla="*/ 2027834 w 3694535"/>
                <a:gd name="connsiteY14" fmla="*/ 1017517 h 4523651"/>
                <a:gd name="connsiteX15" fmla="*/ 1881963 w 3694535"/>
                <a:gd name="connsiteY15" fmla="*/ 2264138 h 4523651"/>
                <a:gd name="connsiteX16" fmla="*/ 2057494 w 3694535"/>
                <a:gd name="connsiteY16" fmla="*/ 3077622 h 4523651"/>
                <a:gd name="connsiteX17" fmla="*/ 2647507 w 3694535"/>
                <a:gd name="connsiteY17" fmla="*/ 2551217 h 4523651"/>
                <a:gd name="connsiteX18" fmla="*/ 2913694 w 3694535"/>
                <a:gd name="connsiteY18" fmla="*/ 1323063 h 4523651"/>
                <a:gd name="connsiteX19" fmla="*/ 2806809 w 3694535"/>
                <a:gd name="connsiteY19" fmla="*/ 2414392 h 4523651"/>
                <a:gd name="connsiteX20" fmla="*/ 3694535 w 3694535"/>
                <a:gd name="connsiteY20" fmla="*/ 1155553 h 4523651"/>
                <a:gd name="connsiteX21" fmla="*/ 2222205 w 3694535"/>
                <a:gd name="connsiteY21" fmla="*/ 3401822 h 4523651"/>
                <a:gd name="connsiteX22" fmla="*/ 2169042 w 3694535"/>
                <a:gd name="connsiteY22" fmla="*/ 3848389 h 4523651"/>
                <a:gd name="connsiteX23" fmla="*/ 3317358 w 3694535"/>
                <a:gd name="connsiteY23" fmla="*/ 3125375 h 4523651"/>
                <a:gd name="connsiteX24" fmla="*/ 2194317 w 3694535"/>
                <a:gd name="connsiteY24" fmla="*/ 4062252 h 4523651"/>
                <a:gd name="connsiteX25" fmla="*/ 2232838 w 3694535"/>
                <a:gd name="connsiteY25" fmla="*/ 4507608 h 4523651"/>
                <a:gd name="connsiteX26" fmla="*/ 2218194 w 3694535"/>
                <a:gd name="connsiteY26" fmla="*/ 4522716 h 4523651"/>
                <a:gd name="connsiteX27" fmla="*/ 1743740 w 3694535"/>
                <a:gd name="connsiteY27" fmla="*/ 4523651 h 4523651"/>
                <a:gd name="connsiteX0" fmla="*/ 1743740 w 3694535"/>
                <a:gd name="connsiteY0" fmla="*/ 4523651 h 4523651"/>
                <a:gd name="connsiteX1" fmla="*/ 1796903 w 3694535"/>
                <a:gd name="connsiteY1" fmla="*/ 3816491 h 4523651"/>
                <a:gd name="connsiteX2" fmla="*/ 1307805 w 3694535"/>
                <a:gd name="connsiteY2" fmla="*/ 3412454 h 4523651"/>
                <a:gd name="connsiteX3" fmla="*/ 31898 w 3694535"/>
                <a:gd name="connsiteY3" fmla="*/ 2976519 h 4523651"/>
                <a:gd name="connsiteX4" fmla="*/ 1127052 w 3694535"/>
                <a:gd name="connsiteY4" fmla="*/ 3274231 h 4523651"/>
                <a:gd name="connsiteX5" fmla="*/ 393405 w 3694535"/>
                <a:gd name="connsiteY5" fmla="*/ 2487422 h 4523651"/>
                <a:gd name="connsiteX6" fmla="*/ 1775638 w 3694535"/>
                <a:gd name="connsiteY6" fmla="*/ 3550677 h 4523651"/>
                <a:gd name="connsiteX7" fmla="*/ 1679945 w 3694535"/>
                <a:gd name="connsiteY7" fmla="*/ 2423626 h 4523651"/>
                <a:gd name="connsiteX8" fmla="*/ 0 w 3694535"/>
                <a:gd name="connsiteY8" fmla="*/ 786212 h 4523651"/>
                <a:gd name="connsiteX9" fmla="*/ 988828 w 3694535"/>
                <a:gd name="connsiteY9" fmla="*/ 1955794 h 4523651"/>
                <a:gd name="connsiteX10" fmla="*/ 1137684 w 3694535"/>
                <a:gd name="connsiteY10" fmla="*/ 892538 h 4523651"/>
                <a:gd name="connsiteX11" fmla="*/ 1222745 w 3694535"/>
                <a:gd name="connsiteY11" fmla="*/ 2094017 h 4523651"/>
                <a:gd name="connsiteX12" fmla="*/ 1690577 w 3694535"/>
                <a:gd name="connsiteY12" fmla="*/ 2221608 h 4523651"/>
                <a:gd name="connsiteX13" fmla="*/ 1956391 w 3694535"/>
                <a:gd name="connsiteY13" fmla="*/ 31301 h 4523651"/>
                <a:gd name="connsiteX14" fmla="*/ 2027834 w 3694535"/>
                <a:gd name="connsiteY14" fmla="*/ 1017517 h 4523651"/>
                <a:gd name="connsiteX15" fmla="*/ 1881963 w 3694535"/>
                <a:gd name="connsiteY15" fmla="*/ 2264138 h 4523651"/>
                <a:gd name="connsiteX16" fmla="*/ 2057494 w 3694535"/>
                <a:gd name="connsiteY16" fmla="*/ 3077622 h 4523651"/>
                <a:gd name="connsiteX17" fmla="*/ 2647507 w 3694535"/>
                <a:gd name="connsiteY17" fmla="*/ 2551217 h 4523651"/>
                <a:gd name="connsiteX18" fmla="*/ 2913694 w 3694535"/>
                <a:gd name="connsiteY18" fmla="*/ 1323063 h 4523651"/>
                <a:gd name="connsiteX19" fmla="*/ 2806809 w 3694535"/>
                <a:gd name="connsiteY19" fmla="*/ 2414392 h 4523651"/>
                <a:gd name="connsiteX20" fmla="*/ 3694535 w 3694535"/>
                <a:gd name="connsiteY20" fmla="*/ 1155553 h 4523651"/>
                <a:gd name="connsiteX21" fmla="*/ 2222205 w 3694535"/>
                <a:gd name="connsiteY21" fmla="*/ 3401822 h 4523651"/>
                <a:gd name="connsiteX22" fmla="*/ 2169042 w 3694535"/>
                <a:gd name="connsiteY22" fmla="*/ 3848389 h 4523651"/>
                <a:gd name="connsiteX23" fmla="*/ 3317358 w 3694535"/>
                <a:gd name="connsiteY23" fmla="*/ 3125375 h 4523651"/>
                <a:gd name="connsiteX24" fmla="*/ 2194317 w 3694535"/>
                <a:gd name="connsiteY24" fmla="*/ 4062252 h 4523651"/>
                <a:gd name="connsiteX25" fmla="*/ 2232838 w 3694535"/>
                <a:gd name="connsiteY25" fmla="*/ 4507608 h 4523651"/>
                <a:gd name="connsiteX26" fmla="*/ 2218194 w 3694535"/>
                <a:gd name="connsiteY26" fmla="*/ 4522716 h 4523651"/>
                <a:gd name="connsiteX27" fmla="*/ 1743740 w 3694535"/>
                <a:gd name="connsiteY27" fmla="*/ 4523651 h 4523651"/>
                <a:gd name="connsiteX0" fmla="*/ 1743740 w 3694535"/>
                <a:gd name="connsiteY0" fmla="*/ 4523651 h 4523651"/>
                <a:gd name="connsiteX1" fmla="*/ 1796903 w 3694535"/>
                <a:gd name="connsiteY1" fmla="*/ 3816491 h 4523651"/>
                <a:gd name="connsiteX2" fmla="*/ 1307805 w 3694535"/>
                <a:gd name="connsiteY2" fmla="*/ 3412454 h 4523651"/>
                <a:gd name="connsiteX3" fmla="*/ 31898 w 3694535"/>
                <a:gd name="connsiteY3" fmla="*/ 2976519 h 4523651"/>
                <a:gd name="connsiteX4" fmla="*/ 1127052 w 3694535"/>
                <a:gd name="connsiteY4" fmla="*/ 3274231 h 4523651"/>
                <a:gd name="connsiteX5" fmla="*/ 393405 w 3694535"/>
                <a:gd name="connsiteY5" fmla="*/ 2487422 h 4523651"/>
                <a:gd name="connsiteX6" fmla="*/ 1775638 w 3694535"/>
                <a:gd name="connsiteY6" fmla="*/ 3550677 h 4523651"/>
                <a:gd name="connsiteX7" fmla="*/ 1679945 w 3694535"/>
                <a:gd name="connsiteY7" fmla="*/ 2423626 h 4523651"/>
                <a:gd name="connsiteX8" fmla="*/ 0 w 3694535"/>
                <a:gd name="connsiteY8" fmla="*/ 786212 h 4523651"/>
                <a:gd name="connsiteX9" fmla="*/ 988828 w 3694535"/>
                <a:gd name="connsiteY9" fmla="*/ 1955794 h 4523651"/>
                <a:gd name="connsiteX10" fmla="*/ 1137684 w 3694535"/>
                <a:gd name="connsiteY10" fmla="*/ 892538 h 4523651"/>
                <a:gd name="connsiteX11" fmla="*/ 1222745 w 3694535"/>
                <a:gd name="connsiteY11" fmla="*/ 2094017 h 4523651"/>
                <a:gd name="connsiteX12" fmla="*/ 1690577 w 3694535"/>
                <a:gd name="connsiteY12" fmla="*/ 2221608 h 4523651"/>
                <a:gd name="connsiteX13" fmla="*/ 1956391 w 3694535"/>
                <a:gd name="connsiteY13" fmla="*/ 31301 h 4523651"/>
                <a:gd name="connsiteX14" fmla="*/ 2027834 w 3694535"/>
                <a:gd name="connsiteY14" fmla="*/ 1017517 h 4523651"/>
                <a:gd name="connsiteX15" fmla="*/ 1881963 w 3694535"/>
                <a:gd name="connsiteY15" fmla="*/ 2264138 h 4523651"/>
                <a:gd name="connsiteX16" fmla="*/ 2057494 w 3694535"/>
                <a:gd name="connsiteY16" fmla="*/ 3077622 h 4523651"/>
                <a:gd name="connsiteX17" fmla="*/ 2647507 w 3694535"/>
                <a:gd name="connsiteY17" fmla="*/ 2551217 h 4523651"/>
                <a:gd name="connsiteX18" fmla="*/ 2913694 w 3694535"/>
                <a:gd name="connsiteY18" fmla="*/ 1323063 h 4523651"/>
                <a:gd name="connsiteX19" fmla="*/ 2806809 w 3694535"/>
                <a:gd name="connsiteY19" fmla="*/ 2414392 h 4523651"/>
                <a:gd name="connsiteX20" fmla="*/ 3694535 w 3694535"/>
                <a:gd name="connsiteY20" fmla="*/ 1155553 h 4523651"/>
                <a:gd name="connsiteX21" fmla="*/ 2222205 w 3694535"/>
                <a:gd name="connsiteY21" fmla="*/ 3401822 h 4523651"/>
                <a:gd name="connsiteX22" fmla="*/ 2169042 w 3694535"/>
                <a:gd name="connsiteY22" fmla="*/ 3848389 h 4523651"/>
                <a:gd name="connsiteX23" fmla="*/ 3317358 w 3694535"/>
                <a:gd name="connsiteY23" fmla="*/ 3125375 h 4523651"/>
                <a:gd name="connsiteX24" fmla="*/ 2194317 w 3694535"/>
                <a:gd name="connsiteY24" fmla="*/ 4062252 h 4523651"/>
                <a:gd name="connsiteX25" fmla="*/ 2232838 w 3694535"/>
                <a:gd name="connsiteY25" fmla="*/ 4507608 h 4523651"/>
                <a:gd name="connsiteX26" fmla="*/ 2218194 w 3694535"/>
                <a:gd name="connsiteY26" fmla="*/ 4522716 h 4523651"/>
                <a:gd name="connsiteX27" fmla="*/ 1743740 w 3694535"/>
                <a:gd name="connsiteY27" fmla="*/ 4523651 h 4523651"/>
                <a:gd name="connsiteX0" fmla="*/ 1743740 w 3694535"/>
                <a:gd name="connsiteY0" fmla="*/ 4523651 h 4523651"/>
                <a:gd name="connsiteX1" fmla="*/ 1796903 w 3694535"/>
                <a:gd name="connsiteY1" fmla="*/ 3816491 h 4523651"/>
                <a:gd name="connsiteX2" fmla="*/ 1307805 w 3694535"/>
                <a:gd name="connsiteY2" fmla="*/ 3412454 h 4523651"/>
                <a:gd name="connsiteX3" fmla="*/ 31898 w 3694535"/>
                <a:gd name="connsiteY3" fmla="*/ 2976519 h 4523651"/>
                <a:gd name="connsiteX4" fmla="*/ 1127052 w 3694535"/>
                <a:gd name="connsiteY4" fmla="*/ 3274231 h 4523651"/>
                <a:gd name="connsiteX5" fmla="*/ 393405 w 3694535"/>
                <a:gd name="connsiteY5" fmla="*/ 2487422 h 4523651"/>
                <a:gd name="connsiteX6" fmla="*/ 1775638 w 3694535"/>
                <a:gd name="connsiteY6" fmla="*/ 3550677 h 4523651"/>
                <a:gd name="connsiteX7" fmla="*/ 1679945 w 3694535"/>
                <a:gd name="connsiteY7" fmla="*/ 2423626 h 4523651"/>
                <a:gd name="connsiteX8" fmla="*/ 0 w 3694535"/>
                <a:gd name="connsiteY8" fmla="*/ 786212 h 4523651"/>
                <a:gd name="connsiteX9" fmla="*/ 988828 w 3694535"/>
                <a:gd name="connsiteY9" fmla="*/ 1955794 h 4523651"/>
                <a:gd name="connsiteX10" fmla="*/ 1137684 w 3694535"/>
                <a:gd name="connsiteY10" fmla="*/ 892538 h 4523651"/>
                <a:gd name="connsiteX11" fmla="*/ 1222745 w 3694535"/>
                <a:gd name="connsiteY11" fmla="*/ 2094017 h 4523651"/>
                <a:gd name="connsiteX12" fmla="*/ 1690577 w 3694535"/>
                <a:gd name="connsiteY12" fmla="*/ 2221608 h 4523651"/>
                <a:gd name="connsiteX13" fmla="*/ 1956391 w 3694535"/>
                <a:gd name="connsiteY13" fmla="*/ 31301 h 4523651"/>
                <a:gd name="connsiteX14" fmla="*/ 2027834 w 3694535"/>
                <a:gd name="connsiteY14" fmla="*/ 1017517 h 4523651"/>
                <a:gd name="connsiteX15" fmla="*/ 1881963 w 3694535"/>
                <a:gd name="connsiteY15" fmla="*/ 2264138 h 4523651"/>
                <a:gd name="connsiteX16" fmla="*/ 2057494 w 3694535"/>
                <a:gd name="connsiteY16" fmla="*/ 3077622 h 4523651"/>
                <a:gd name="connsiteX17" fmla="*/ 2647507 w 3694535"/>
                <a:gd name="connsiteY17" fmla="*/ 2551217 h 4523651"/>
                <a:gd name="connsiteX18" fmla="*/ 2913694 w 3694535"/>
                <a:gd name="connsiteY18" fmla="*/ 1323063 h 4523651"/>
                <a:gd name="connsiteX19" fmla="*/ 2806809 w 3694535"/>
                <a:gd name="connsiteY19" fmla="*/ 2414392 h 4523651"/>
                <a:gd name="connsiteX20" fmla="*/ 3694535 w 3694535"/>
                <a:gd name="connsiteY20" fmla="*/ 1155553 h 4523651"/>
                <a:gd name="connsiteX21" fmla="*/ 2222205 w 3694535"/>
                <a:gd name="connsiteY21" fmla="*/ 3401822 h 4523651"/>
                <a:gd name="connsiteX22" fmla="*/ 2169042 w 3694535"/>
                <a:gd name="connsiteY22" fmla="*/ 3848389 h 4523651"/>
                <a:gd name="connsiteX23" fmla="*/ 3317358 w 3694535"/>
                <a:gd name="connsiteY23" fmla="*/ 3125375 h 4523651"/>
                <a:gd name="connsiteX24" fmla="*/ 2194317 w 3694535"/>
                <a:gd name="connsiteY24" fmla="*/ 4062252 h 4523651"/>
                <a:gd name="connsiteX25" fmla="*/ 2232838 w 3694535"/>
                <a:gd name="connsiteY25" fmla="*/ 4507608 h 4523651"/>
                <a:gd name="connsiteX26" fmla="*/ 2218194 w 3694535"/>
                <a:gd name="connsiteY26" fmla="*/ 4522716 h 4523651"/>
                <a:gd name="connsiteX27" fmla="*/ 1743740 w 3694535"/>
                <a:gd name="connsiteY27" fmla="*/ 4523651 h 4523651"/>
                <a:gd name="connsiteX0" fmla="*/ 1743740 w 3694535"/>
                <a:gd name="connsiteY0" fmla="*/ 4523651 h 4523651"/>
                <a:gd name="connsiteX1" fmla="*/ 1796903 w 3694535"/>
                <a:gd name="connsiteY1" fmla="*/ 3816491 h 4523651"/>
                <a:gd name="connsiteX2" fmla="*/ 1307805 w 3694535"/>
                <a:gd name="connsiteY2" fmla="*/ 3412454 h 4523651"/>
                <a:gd name="connsiteX3" fmla="*/ 31898 w 3694535"/>
                <a:gd name="connsiteY3" fmla="*/ 2976519 h 4523651"/>
                <a:gd name="connsiteX4" fmla="*/ 1127052 w 3694535"/>
                <a:gd name="connsiteY4" fmla="*/ 3274231 h 4523651"/>
                <a:gd name="connsiteX5" fmla="*/ 393405 w 3694535"/>
                <a:gd name="connsiteY5" fmla="*/ 2487422 h 4523651"/>
                <a:gd name="connsiteX6" fmla="*/ 1775638 w 3694535"/>
                <a:gd name="connsiteY6" fmla="*/ 3550677 h 4523651"/>
                <a:gd name="connsiteX7" fmla="*/ 1679945 w 3694535"/>
                <a:gd name="connsiteY7" fmla="*/ 2423626 h 4523651"/>
                <a:gd name="connsiteX8" fmla="*/ 0 w 3694535"/>
                <a:gd name="connsiteY8" fmla="*/ 786212 h 4523651"/>
                <a:gd name="connsiteX9" fmla="*/ 988828 w 3694535"/>
                <a:gd name="connsiteY9" fmla="*/ 1955794 h 4523651"/>
                <a:gd name="connsiteX10" fmla="*/ 1137684 w 3694535"/>
                <a:gd name="connsiteY10" fmla="*/ 892538 h 4523651"/>
                <a:gd name="connsiteX11" fmla="*/ 1222745 w 3694535"/>
                <a:gd name="connsiteY11" fmla="*/ 2094017 h 4523651"/>
                <a:gd name="connsiteX12" fmla="*/ 1690577 w 3694535"/>
                <a:gd name="connsiteY12" fmla="*/ 2221608 h 4523651"/>
                <a:gd name="connsiteX13" fmla="*/ 1956391 w 3694535"/>
                <a:gd name="connsiteY13" fmla="*/ 31301 h 4523651"/>
                <a:gd name="connsiteX14" fmla="*/ 2027834 w 3694535"/>
                <a:gd name="connsiteY14" fmla="*/ 1017517 h 4523651"/>
                <a:gd name="connsiteX15" fmla="*/ 1881963 w 3694535"/>
                <a:gd name="connsiteY15" fmla="*/ 2264138 h 4523651"/>
                <a:gd name="connsiteX16" fmla="*/ 2057494 w 3694535"/>
                <a:gd name="connsiteY16" fmla="*/ 3077622 h 4523651"/>
                <a:gd name="connsiteX17" fmla="*/ 2647507 w 3694535"/>
                <a:gd name="connsiteY17" fmla="*/ 2551217 h 4523651"/>
                <a:gd name="connsiteX18" fmla="*/ 2913694 w 3694535"/>
                <a:gd name="connsiteY18" fmla="*/ 1323063 h 4523651"/>
                <a:gd name="connsiteX19" fmla="*/ 2806809 w 3694535"/>
                <a:gd name="connsiteY19" fmla="*/ 2414392 h 4523651"/>
                <a:gd name="connsiteX20" fmla="*/ 3694535 w 3694535"/>
                <a:gd name="connsiteY20" fmla="*/ 1155553 h 4523651"/>
                <a:gd name="connsiteX21" fmla="*/ 2222205 w 3694535"/>
                <a:gd name="connsiteY21" fmla="*/ 3401822 h 4523651"/>
                <a:gd name="connsiteX22" fmla="*/ 2169042 w 3694535"/>
                <a:gd name="connsiteY22" fmla="*/ 3848389 h 4523651"/>
                <a:gd name="connsiteX23" fmla="*/ 3317358 w 3694535"/>
                <a:gd name="connsiteY23" fmla="*/ 3125375 h 4523651"/>
                <a:gd name="connsiteX24" fmla="*/ 2194317 w 3694535"/>
                <a:gd name="connsiteY24" fmla="*/ 4062252 h 4523651"/>
                <a:gd name="connsiteX25" fmla="*/ 2232838 w 3694535"/>
                <a:gd name="connsiteY25" fmla="*/ 4507608 h 4523651"/>
                <a:gd name="connsiteX26" fmla="*/ 2218194 w 3694535"/>
                <a:gd name="connsiteY26" fmla="*/ 4522716 h 4523651"/>
                <a:gd name="connsiteX27" fmla="*/ 1743740 w 3694535"/>
                <a:gd name="connsiteY27" fmla="*/ 4523651 h 4523651"/>
                <a:gd name="connsiteX0" fmla="*/ 1743740 w 3694535"/>
                <a:gd name="connsiteY0" fmla="*/ 4523651 h 4523651"/>
                <a:gd name="connsiteX1" fmla="*/ 1796903 w 3694535"/>
                <a:gd name="connsiteY1" fmla="*/ 3816491 h 4523651"/>
                <a:gd name="connsiteX2" fmla="*/ 1307805 w 3694535"/>
                <a:gd name="connsiteY2" fmla="*/ 3412454 h 4523651"/>
                <a:gd name="connsiteX3" fmla="*/ 31898 w 3694535"/>
                <a:gd name="connsiteY3" fmla="*/ 2976519 h 4523651"/>
                <a:gd name="connsiteX4" fmla="*/ 1127052 w 3694535"/>
                <a:gd name="connsiteY4" fmla="*/ 3274231 h 4523651"/>
                <a:gd name="connsiteX5" fmla="*/ 393405 w 3694535"/>
                <a:gd name="connsiteY5" fmla="*/ 2487422 h 4523651"/>
                <a:gd name="connsiteX6" fmla="*/ 1775638 w 3694535"/>
                <a:gd name="connsiteY6" fmla="*/ 3550677 h 4523651"/>
                <a:gd name="connsiteX7" fmla="*/ 1679945 w 3694535"/>
                <a:gd name="connsiteY7" fmla="*/ 2423626 h 4523651"/>
                <a:gd name="connsiteX8" fmla="*/ 0 w 3694535"/>
                <a:gd name="connsiteY8" fmla="*/ 786212 h 4523651"/>
                <a:gd name="connsiteX9" fmla="*/ 988828 w 3694535"/>
                <a:gd name="connsiteY9" fmla="*/ 1955794 h 4523651"/>
                <a:gd name="connsiteX10" fmla="*/ 1137684 w 3694535"/>
                <a:gd name="connsiteY10" fmla="*/ 892538 h 4523651"/>
                <a:gd name="connsiteX11" fmla="*/ 1222745 w 3694535"/>
                <a:gd name="connsiteY11" fmla="*/ 2094017 h 4523651"/>
                <a:gd name="connsiteX12" fmla="*/ 1690577 w 3694535"/>
                <a:gd name="connsiteY12" fmla="*/ 2221608 h 4523651"/>
                <a:gd name="connsiteX13" fmla="*/ 1956391 w 3694535"/>
                <a:gd name="connsiteY13" fmla="*/ 31301 h 4523651"/>
                <a:gd name="connsiteX14" fmla="*/ 2027834 w 3694535"/>
                <a:gd name="connsiteY14" fmla="*/ 1017517 h 4523651"/>
                <a:gd name="connsiteX15" fmla="*/ 1881963 w 3694535"/>
                <a:gd name="connsiteY15" fmla="*/ 2264138 h 4523651"/>
                <a:gd name="connsiteX16" fmla="*/ 2057494 w 3694535"/>
                <a:gd name="connsiteY16" fmla="*/ 3077622 h 4523651"/>
                <a:gd name="connsiteX17" fmla="*/ 2647507 w 3694535"/>
                <a:gd name="connsiteY17" fmla="*/ 2551217 h 4523651"/>
                <a:gd name="connsiteX18" fmla="*/ 2913694 w 3694535"/>
                <a:gd name="connsiteY18" fmla="*/ 1323063 h 4523651"/>
                <a:gd name="connsiteX19" fmla="*/ 2806809 w 3694535"/>
                <a:gd name="connsiteY19" fmla="*/ 2414392 h 4523651"/>
                <a:gd name="connsiteX20" fmla="*/ 3694535 w 3694535"/>
                <a:gd name="connsiteY20" fmla="*/ 1155553 h 4523651"/>
                <a:gd name="connsiteX21" fmla="*/ 2222205 w 3694535"/>
                <a:gd name="connsiteY21" fmla="*/ 3401822 h 4523651"/>
                <a:gd name="connsiteX22" fmla="*/ 2169042 w 3694535"/>
                <a:gd name="connsiteY22" fmla="*/ 3848389 h 4523651"/>
                <a:gd name="connsiteX23" fmla="*/ 3317358 w 3694535"/>
                <a:gd name="connsiteY23" fmla="*/ 3125375 h 4523651"/>
                <a:gd name="connsiteX24" fmla="*/ 2194317 w 3694535"/>
                <a:gd name="connsiteY24" fmla="*/ 4062252 h 4523651"/>
                <a:gd name="connsiteX25" fmla="*/ 2232838 w 3694535"/>
                <a:gd name="connsiteY25" fmla="*/ 4507608 h 4523651"/>
                <a:gd name="connsiteX26" fmla="*/ 2218194 w 3694535"/>
                <a:gd name="connsiteY26" fmla="*/ 4522716 h 4523651"/>
                <a:gd name="connsiteX27" fmla="*/ 1743740 w 3694535"/>
                <a:gd name="connsiteY27" fmla="*/ 4523651 h 4523651"/>
                <a:gd name="connsiteX0" fmla="*/ 1743740 w 3694535"/>
                <a:gd name="connsiteY0" fmla="*/ 4522819 h 4522819"/>
                <a:gd name="connsiteX1" fmla="*/ 1796903 w 3694535"/>
                <a:gd name="connsiteY1" fmla="*/ 3815659 h 4522819"/>
                <a:gd name="connsiteX2" fmla="*/ 1307805 w 3694535"/>
                <a:gd name="connsiteY2" fmla="*/ 3411622 h 4522819"/>
                <a:gd name="connsiteX3" fmla="*/ 31898 w 3694535"/>
                <a:gd name="connsiteY3" fmla="*/ 2975687 h 4522819"/>
                <a:gd name="connsiteX4" fmla="*/ 1127052 w 3694535"/>
                <a:gd name="connsiteY4" fmla="*/ 3273399 h 4522819"/>
                <a:gd name="connsiteX5" fmla="*/ 393405 w 3694535"/>
                <a:gd name="connsiteY5" fmla="*/ 2486590 h 4522819"/>
                <a:gd name="connsiteX6" fmla="*/ 1775638 w 3694535"/>
                <a:gd name="connsiteY6" fmla="*/ 3549845 h 4522819"/>
                <a:gd name="connsiteX7" fmla="*/ 1679945 w 3694535"/>
                <a:gd name="connsiteY7" fmla="*/ 2422794 h 4522819"/>
                <a:gd name="connsiteX8" fmla="*/ 0 w 3694535"/>
                <a:gd name="connsiteY8" fmla="*/ 785380 h 4522819"/>
                <a:gd name="connsiteX9" fmla="*/ 988828 w 3694535"/>
                <a:gd name="connsiteY9" fmla="*/ 1954962 h 4522819"/>
                <a:gd name="connsiteX10" fmla="*/ 1137684 w 3694535"/>
                <a:gd name="connsiteY10" fmla="*/ 891706 h 4522819"/>
                <a:gd name="connsiteX11" fmla="*/ 1222745 w 3694535"/>
                <a:gd name="connsiteY11" fmla="*/ 2093185 h 4522819"/>
                <a:gd name="connsiteX12" fmla="*/ 1690577 w 3694535"/>
                <a:gd name="connsiteY12" fmla="*/ 2220776 h 4522819"/>
                <a:gd name="connsiteX13" fmla="*/ 1956391 w 3694535"/>
                <a:gd name="connsiteY13" fmla="*/ 30469 h 4522819"/>
                <a:gd name="connsiteX14" fmla="*/ 2027834 w 3694535"/>
                <a:gd name="connsiteY14" fmla="*/ 1016685 h 4522819"/>
                <a:gd name="connsiteX15" fmla="*/ 1881963 w 3694535"/>
                <a:gd name="connsiteY15" fmla="*/ 2090854 h 4522819"/>
                <a:gd name="connsiteX16" fmla="*/ 2057494 w 3694535"/>
                <a:gd name="connsiteY16" fmla="*/ 3076790 h 4522819"/>
                <a:gd name="connsiteX17" fmla="*/ 2647507 w 3694535"/>
                <a:gd name="connsiteY17" fmla="*/ 2550385 h 4522819"/>
                <a:gd name="connsiteX18" fmla="*/ 2913694 w 3694535"/>
                <a:gd name="connsiteY18" fmla="*/ 1322231 h 4522819"/>
                <a:gd name="connsiteX19" fmla="*/ 2806809 w 3694535"/>
                <a:gd name="connsiteY19" fmla="*/ 2413560 h 4522819"/>
                <a:gd name="connsiteX20" fmla="*/ 3694535 w 3694535"/>
                <a:gd name="connsiteY20" fmla="*/ 1154721 h 4522819"/>
                <a:gd name="connsiteX21" fmla="*/ 2222205 w 3694535"/>
                <a:gd name="connsiteY21" fmla="*/ 3400990 h 4522819"/>
                <a:gd name="connsiteX22" fmla="*/ 2169042 w 3694535"/>
                <a:gd name="connsiteY22" fmla="*/ 3847557 h 4522819"/>
                <a:gd name="connsiteX23" fmla="*/ 3317358 w 3694535"/>
                <a:gd name="connsiteY23" fmla="*/ 3124543 h 4522819"/>
                <a:gd name="connsiteX24" fmla="*/ 2194317 w 3694535"/>
                <a:gd name="connsiteY24" fmla="*/ 4061420 h 4522819"/>
                <a:gd name="connsiteX25" fmla="*/ 2232838 w 3694535"/>
                <a:gd name="connsiteY25" fmla="*/ 4506776 h 4522819"/>
                <a:gd name="connsiteX26" fmla="*/ 2218194 w 3694535"/>
                <a:gd name="connsiteY26" fmla="*/ 4521884 h 4522819"/>
                <a:gd name="connsiteX27" fmla="*/ 1743740 w 3694535"/>
                <a:gd name="connsiteY27" fmla="*/ 4522819 h 4522819"/>
                <a:gd name="connsiteX0" fmla="*/ 1743740 w 3694535"/>
                <a:gd name="connsiteY0" fmla="*/ 4522819 h 4522819"/>
                <a:gd name="connsiteX1" fmla="*/ 1796903 w 3694535"/>
                <a:gd name="connsiteY1" fmla="*/ 3815659 h 4522819"/>
                <a:gd name="connsiteX2" fmla="*/ 1307805 w 3694535"/>
                <a:gd name="connsiteY2" fmla="*/ 3411622 h 4522819"/>
                <a:gd name="connsiteX3" fmla="*/ 31898 w 3694535"/>
                <a:gd name="connsiteY3" fmla="*/ 2975687 h 4522819"/>
                <a:gd name="connsiteX4" fmla="*/ 1127052 w 3694535"/>
                <a:gd name="connsiteY4" fmla="*/ 3273399 h 4522819"/>
                <a:gd name="connsiteX5" fmla="*/ 393405 w 3694535"/>
                <a:gd name="connsiteY5" fmla="*/ 2486590 h 4522819"/>
                <a:gd name="connsiteX6" fmla="*/ 1775638 w 3694535"/>
                <a:gd name="connsiteY6" fmla="*/ 3549845 h 4522819"/>
                <a:gd name="connsiteX7" fmla="*/ 1679945 w 3694535"/>
                <a:gd name="connsiteY7" fmla="*/ 2422794 h 4522819"/>
                <a:gd name="connsiteX8" fmla="*/ 0 w 3694535"/>
                <a:gd name="connsiteY8" fmla="*/ 785380 h 4522819"/>
                <a:gd name="connsiteX9" fmla="*/ 988828 w 3694535"/>
                <a:gd name="connsiteY9" fmla="*/ 1954962 h 4522819"/>
                <a:gd name="connsiteX10" fmla="*/ 1137684 w 3694535"/>
                <a:gd name="connsiteY10" fmla="*/ 891706 h 4522819"/>
                <a:gd name="connsiteX11" fmla="*/ 1222745 w 3694535"/>
                <a:gd name="connsiteY11" fmla="*/ 2093185 h 4522819"/>
                <a:gd name="connsiteX12" fmla="*/ 1690577 w 3694535"/>
                <a:gd name="connsiteY12" fmla="*/ 2220776 h 4522819"/>
                <a:gd name="connsiteX13" fmla="*/ 1956391 w 3694535"/>
                <a:gd name="connsiteY13" fmla="*/ 30469 h 4522819"/>
                <a:gd name="connsiteX14" fmla="*/ 2027834 w 3694535"/>
                <a:gd name="connsiteY14" fmla="*/ 1016685 h 4522819"/>
                <a:gd name="connsiteX15" fmla="*/ 1881963 w 3694535"/>
                <a:gd name="connsiteY15" fmla="*/ 2090854 h 4522819"/>
                <a:gd name="connsiteX16" fmla="*/ 2057494 w 3694535"/>
                <a:gd name="connsiteY16" fmla="*/ 3076790 h 4522819"/>
                <a:gd name="connsiteX17" fmla="*/ 2647507 w 3694535"/>
                <a:gd name="connsiteY17" fmla="*/ 2550385 h 4522819"/>
                <a:gd name="connsiteX18" fmla="*/ 2913694 w 3694535"/>
                <a:gd name="connsiteY18" fmla="*/ 1322231 h 4522819"/>
                <a:gd name="connsiteX19" fmla="*/ 2806809 w 3694535"/>
                <a:gd name="connsiteY19" fmla="*/ 2413560 h 4522819"/>
                <a:gd name="connsiteX20" fmla="*/ 3694535 w 3694535"/>
                <a:gd name="connsiteY20" fmla="*/ 1154721 h 4522819"/>
                <a:gd name="connsiteX21" fmla="*/ 2222205 w 3694535"/>
                <a:gd name="connsiteY21" fmla="*/ 3400990 h 4522819"/>
                <a:gd name="connsiteX22" fmla="*/ 2169042 w 3694535"/>
                <a:gd name="connsiteY22" fmla="*/ 3847557 h 4522819"/>
                <a:gd name="connsiteX23" fmla="*/ 3317358 w 3694535"/>
                <a:gd name="connsiteY23" fmla="*/ 3124543 h 4522819"/>
                <a:gd name="connsiteX24" fmla="*/ 2194317 w 3694535"/>
                <a:gd name="connsiteY24" fmla="*/ 4061420 h 4522819"/>
                <a:gd name="connsiteX25" fmla="*/ 2232838 w 3694535"/>
                <a:gd name="connsiteY25" fmla="*/ 4506776 h 4522819"/>
                <a:gd name="connsiteX26" fmla="*/ 2218194 w 3694535"/>
                <a:gd name="connsiteY26" fmla="*/ 4521884 h 4522819"/>
                <a:gd name="connsiteX27" fmla="*/ 1743740 w 3694535"/>
                <a:gd name="connsiteY27" fmla="*/ 4522819 h 4522819"/>
                <a:gd name="connsiteX0" fmla="*/ 1743740 w 3694535"/>
                <a:gd name="connsiteY0" fmla="*/ 4522814 h 4522814"/>
                <a:gd name="connsiteX1" fmla="*/ 1796903 w 3694535"/>
                <a:gd name="connsiteY1" fmla="*/ 3815654 h 4522814"/>
                <a:gd name="connsiteX2" fmla="*/ 1307805 w 3694535"/>
                <a:gd name="connsiteY2" fmla="*/ 3411617 h 4522814"/>
                <a:gd name="connsiteX3" fmla="*/ 31898 w 3694535"/>
                <a:gd name="connsiteY3" fmla="*/ 2975682 h 4522814"/>
                <a:gd name="connsiteX4" fmla="*/ 1127052 w 3694535"/>
                <a:gd name="connsiteY4" fmla="*/ 3273394 h 4522814"/>
                <a:gd name="connsiteX5" fmla="*/ 393405 w 3694535"/>
                <a:gd name="connsiteY5" fmla="*/ 2486585 h 4522814"/>
                <a:gd name="connsiteX6" fmla="*/ 1775638 w 3694535"/>
                <a:gd name="connsiteY6" fmla="*/ 3549840 h 4522814"/>
                <a:gd name="connsiteX7" fmla="*/ 1679945 w 3694535"/>
                <a:gd name="connsiteY7" fmla="*/ 2422789 h 4522814"/>
                <a:gd name="connsiteX8" fmla="*/ 0 w 3694535"/>
                <a:gd name="connsiteY8" fmla="*/ 785375 h 4522814"/>
                <a:gd name="connsiteX9" fmla="*/ 988828 w 3694535"/>
                <a:gd name="connsiteY9" fmla="*/ 1954957 h 4522814"/>
                <a:gd name="connsiteX10" fmla="*/ 1137684 w 3694535"/>
                <a:gd name="connsiteY10" fmla="*/ 891701 h 4522814"/>
                <a:gd name="connsiteX11" fmla="*/ 1222745 w 3694535"/>
                <a:gd name="connsiteY11" fmla="*/ 2093180 h 4522814"/>
                <a:gd name="connsiteX12" fmla="*/ 1690577 w 3694535"/>
                <a:gd name="connsiteY12" fmla="*/ 2220771 h 4522814"/>
                <a:gd name="connsiteX13" fmla="*/ 1956391 w 3694535"/>
                <a:gd name="connsiteY13" fmla="*/ 30464 h 4522814"/>
                <a:gd name="connsiteX14" fmla="*/ 2027834 w 3694535"/>
                <a:gd name="connsiteY14" fmla="*/ 1016680 h 4522814"/>
                <a:gd name="connsiteX15" fmla="*/ 1881963 w 3694535"/>
                <a:gd name="connsiteY15" fmla="*/ 2090849 h 4522814"/>
                <a:gd name="connsiteX16" fmla="*/ 2057494 w 3694535"/>
                <a:gd name="connsiteY16" fmla="*/ 3076785 h 4522814"/>
                <a:gd name="connsiteX17" fmla="*/ 2647507 w 3694535"/>
                <a:gd name="connsiteY17" fmla="*/ 2550380 h 4522814"/>
                <a:gd name="connsiteX18" fmla="*/ 2913694 w 3694535"/>
                <a:gd name="connsiteY18" fmla="*/ 1322226 h 4522814"/>
                <a:gd name="connsiteX19" fmla="*/ 2806809 w 3694535"/>
                <a:gd name="connsiteY19" fmla="*/ 2413555 h 4522814"/>
                <a:gd name="connsiteX20" fmla="*/ 3694535 w 3694535"/>
                <a:gd name="connsiteY20" fmla="*/ 1154716 h 4522814"/>
                <a:gd name="connsiteX21" fmla="*/ 2222205 w 3694535"/>
                <a:gd name="connsiteY21" fmla="*/ 3400985 h 4522814"/>
                <a:gd name="connsiteX22" fmla="*/ 2169042 w 3694535"/>
                <a:gd name="connsiteY22" fmla="*/ 3847552 h 4522814"/>
                <a:gd name="connsiteX23" fmla="*/ 3317358 w 3694535"/>
                <a:gd name="connsiteY23" fmla="*/ 3124538 h 4522814"/>
                <a:gd name="connsiteX24" fmla="*/ 2194317 w 3694535"/>
                <a:gd name="connsiteY24" fmla="*/ 4061415 h 4522814"/>
                <a:gd name="connsiteX25" fmla="*/ 2232838 w 3694535"/>
                <a:gd name="connsiteY25" fmla="*/ 4506771 h 4522814"/>
                <a:gd name="connsiteX26" fmla="*/ 2218194 w 3694535"/>
                <a:gd name="connsiteY26" fmla="*/ 4521879 h 4522814"/>
                <a:gd name="connsiteX27" fmla="*/ 1743740 w 3694535"/>
                <a:gd name="connsiteY27" fmla="*/ 4522814 h 4522814"/>
                <a:gd name="connsiteX0" fmla="*/ 1743740 w 3694535"/>
                <a:gd name="connsiteY0" fmla="*/ 4492350 h 4492350"/>
                <a:gd name="connsiteX1" fmla="*/ 1796903 w 3694535"/>
                <a:gd name="connsiteY1" fmla="*/ 3785190 h 4492350"/>
                <a:gd name="connsiteX2" fmla="*/ 1307805 w 3694535"/>
                <a:gd name="connsiteY2" fmla="*/ 3381153 h 4492350"/>
                <a:gd name="connsiteX3" fmla="*/ 31898 w 3694535"/>
                <a:gd name="connsiteY3" fmla="*/ 2945218 h 4492350"/>
                <a:gd name="connsiteX4" fmla="*/ 1127052 w 3694535"/>
                <a:gd name="connsiteY4" fmla="*/ 3242930 h 4492350"/>
                <a:gd name="connsiteX5" fmla="*/ 393405 w 3694535"/>
                <a:gd name="connsiteY5" fmla="*/ 2456121 h 4492350"/>
                <a:gd name="connsiteX6" fmla="*/ 1775638 w 3694535"/>
                <a:gd name="connsiteY6" fmla="*/ 3519376 h 4492350"/>
                <a:gd name="connsiteX7" fmla="*/ 1679945 w 3694535"/>
                <a:gd name="connsiteY7" fmla="*/ 2392325 h 4492350"/>
                <a:gd name="connsiteX8" fmla="*/ 0 w 3694535"/>
                <a:gd name="connsiteY8" fmla="*/ 754911 h 4492350"/>
                <a:gd name="connsiteX9" fmla="*/ 988828 w 3694535"/>
                <a:gd name="connsiteY9" fmla="*/ 1924493 h 4492350"/>
                <a:gd name="connsiteX10" fmla="*/ 1137684 w 3694535"/>
                <a:gd name="connsiteY10" fmla="*/ 861237 h 4492350"/>
                <a:gd name="connsiteX11" fmla="*/ 1222745 w 3694535"/>
                <a:gd name="connsiteY11" fmla="*/ 2062716 h 4492350"/>
                <a:gd name="connsiteX12" fmla="*/ 1690577 w 3694535"/>
                <a:gd name="connsiteY12" fmla="*/ 2190307 h 4492350"/>
                <a:gd name="connsiteX13" fmla="*/ 1956391 w 3694535"/>
                <a:gd name="connsiteY13" fmla="*/ 0 h 4492350"/>
                <a:gd name="connsiteX14" fmla="*/ 2027834 w 3694535"/>
                <a:gd name="connsiteY14" fmla="*/ 986216 h 4492350"/>
                <a:gd name="connsiteX15" fmla="*/ 1881963 w 3694535"/>
                <a:gd name="connsiteY15" fmla="*/ 2060385 h 4492350"/>
                <a:gd name="connsiteX16" fmla="*/ 2057494 w 3694535"/>
                <a:gd name="connsiteY16" fmla="*/ 3046321 h 4492350"/>
                <a:gd name="connsiteX17" fmla="*/ 2647507 w 3694535"/>
                <a:gd name="connsiteY17" fmla="*/ 2519916 h 4492350"/>
                <a:gd name="connsiteX18" fmla="*/ 2913694 w 3694535"/>
                <a:gd name="connsiteY18" fmla="*/ 1291762 h 4492350"/>
                <a:gd name="connsiteX19" fmla="*/ 2806809 w 3694535"/>
                <a:gd name="connsiteY19" fmla="*/ 2383091 h 4492350"/>
                <a:gd name="connsiteX20" fmla="*/ 3694535 w 3694535"/>
                <a:gd name="connsiteY20" fmla="*/ 1124252 h 4492350"/>
                <a:gd name="connsiteX21" fmla="*/ 2222205 w 3694535"/>
                <a:gd name="connsiteY21" fmla="*/ 3370521 h 4492350"/>
                <a:gd name="connsiteX22" fmla="*/ 2169042 w 3694535"/>
                <a:gd name="connsiteY22" fmla="*/ 3817088 h 4492350"/>
                <a:gd name="connsiteX23" fmla="*/ 3317358 w 3694535"/>
                <a:gd name="connsiteY23" fmla="*/ 3094074 h 4492350"/>
                <a:gd name="connsiteX24" fmla="*/ 2194317 w 3694535"/>
                <a:gd name="connsiteY24" fmla="*/ 4030951 h 4492350"/>
                <a:gd name="connsiteX25" fmla="*/ 2232838 w 3694535"/>
                <a:gd name="connsiteY25" fmla="*/ 4476307 h 4492350"/>
                <a:gd name="connsiteX26" fmla="*/ 2218194 w 3694535"/>
                <a:gd name="connsiteY26" fmla="*/ 4491415 h 4492350"/>
                <a:gd name="connsiteX27" fmla="*/ 1743740 w 3694535"/>
                <a:gd name="connsiteY27" fmla="*/ 4492350 h 4492350"/>
                <a:gd name="connsiteX0" fmla="*/ 1743740 w 3694535"/>
                <a:gd name="connsiteY0" fmla="*/ 4492350 h 4492350"/>
                <a:gd name="connsiteX1" fmla="*/ 1796903 w 3694535"/>
                <a:gd name="connsiteY1" fmla="*/ 3785190 h 4492350"/>
                <a:gd name="connsiteX2" fmla="*/ 1307805 w 3694535"/>
                <a:gd name="connsiteY2" fmla="*/ 3381153 h 4492350"/>
                <a:gd name="connsiteX3" fmla="*/ 31898 w 3694535"/>
                <a:gd name="connsiteY3" fmla="*/ 2945218 h 4492350"/>
                <a:gd name="connsiteX4" fmla="*/ 1127052 w 3694535"/>
                <a:gd name="connsiteY4" fmla="*/ 3242930 h 4492350"/>
                <a:gd name="connsiteX5" fmla="*/ 393405 w 3694535"/>
                <a:gd name="connsiteY5" fmla="*/ 2456121 h 4492350"/>
                <a:gd name="connsiteX6" fmla="*/ 1775638 w 3694535"/>
                <a:gd name="connsiteY6" fmla="*/ 3519376 h 4492350"/>
                <a:gd name="connsiteX7" fmla="*/ 1679945 w 3694535"/>
                <a:gd name="connsiteY7" fmla="*/ 2392325 h 4492350"/>
                <a:gd name="connsiteX8" fmla="*/ 0 w 3694535"/>
                <a:gd name="connsiteY8" fmla="*/ 754911 h 4492350"/>
                <a:gd name="connsiteX9" fmla="*/ 988828 w 3694535"/>
                <a:gd name="connsiteY9" fmla="*/ 1924493 h 4492350"/>
                <a:gd name="connsiteX10" fmla="*/ 1137684 w 3694535"/>
                <a:gd name="connsiteY10" fmla="*/ 861237 h 4492350"/>
                <a:gd name="connsiteX11" fmla="*/ 1222745 w 3694535"/>
                <a:gd name="connsiteY11" fmla="*/ 2062716 h 4492350"/>
                <a:gd name="connsiteX12" fmla="*/ 1690577 w 3694535"/>
                <a:gd name="connsiteY12" fmla="*/ 2190307 h 4492350"/>
                <a:gd name="connsiteX13" fmla="*/ 1956391 w 3694535"/>
                <a:gd name="connsiteY13" fmla="*/ 0 h 4492350"/>
                <a:gd name="connsiteX14" fmla="*/ 2027834 w 3694535"/>
                <a:gd name="connsiteY14" fmla="*/ 986216 h 4492350"/>
                <a:gd name="connsiteX15" fmla="*/ 1881963 w 3694535"/>
                <a:gd name="connsiteY15" fmla="*/ 2060385 h 4492350"/>
                <a:gd name="connsiteX16" fmla="*/ 2057494 w 3694535"/>
                <a:gd name="connsiteY16" fmla="*/ 3046321 h 4492350"/>
                <a:gd name="connsiteX17" fmla="*/ 2647507 w 3694535"/>
                <a:gd name="connsiteY17" fmla="*/ 2519916 h 4492350"/>
                <a:gd name="connsiteX18" fmla="*/ 2913694 w 3694535"/>
                <a:gd name="connsiteY18" fmla="*/ 1291762 h 4492350"/>
                <a:gd name="connsiteX19" fmla="*/ 2806809 w 3694535"/>
                <a:gd name="connsiteY19" fmla="*/ 2383091 h 4492350"/>
                <a:gd name="connsiteX20" fmla="*/ 3694535 w 3694535"/>
                <a:gd name="connsiteY20" fmla="*/ 1124252 h 4492350"/>
                <a:gd name="connsiteX21" fmla="*/ 2222205 w 3694535"/>
                <a:gd name="connsiteY21" fmla="*/ 3370521 h 4492350"/>
                <a:gd name="connsiteX22" fmla="*/ 2169042 w 3694535"/>
                <a:gd name="connsiteY22" fmla="*/ 3817088 h 4492350"/>
                <a:gd name="connsiteX23" fmla="*/ 3317358 w 3694535"/>
                <a:gd name="connsiteY23" fmla="*/ 3094074 h 4492350"/>
                <a:gd name="connsiteX24" fmla="*/ 2194317 w 3694535"/>
                <a:gd name="connsiteY24" fmla="*/ 4030951 h 4492350"/>
                <a:gd name="connsiteX25" fmla="*/ 2232838 w 3694535"/>
                <a:gd name="connsiteY25" fmla="*/ 4476307 h 4492350"/>
                <a:gd name="connsiteX26" fmla="*/ 2218194 w 3694535"/>
                <a:gd name="connsiteY26" fmla="*/ 4491415 h 4492350"/>
                <a:gd name="connsiteX27" fmla="*/ 1743740 w 3694535"/>
                <a:gd name="connsiteY27" fmla="*/ 4492350 h 4492350"/>
                <a:gd name="connsiteX0" fmla="*/ 1743740 w 3694535"/>
                <a:gd name="connsiteY0" fmla="*/ 4492350 h 4492350"/>
                <a:gd name="connsiteX1" fmla="*/ 1796903 w 3694535"/>
                <a:gd name="connsiteY1" fmla="*/ 3785190 h 4492350"/>
                <a:gd name="connsiteX2" fmla="*/ 1307805 w 3694535"/>
                <a:gd name="connsiteY2" fmla="*/ 3381153 h 4492350"/>
                <a:gd name="connsiteX3" fmla="*/ 31898 w 3694535"/>
                <a:gd name="connsiteY3" fmla="*/ 2945218 h 4492350"/>
                <a:gd name="connsiteX4" fmla="*/ 1127052 w 3694535"/>
                <a:gd name="connsiteY4" fmla="*/ 3242930 h 4492350"/>
                <a:gd name="connsiteX5" fmla="*/ 393405 w 3694535"/>
                <a:gd name="connsiteY5" fmla="*/ 2456121 h 4492350"/>
                <a:gd name="connsiteX6" fmla="*/ 1775638 w 3694535"/>
                <a:gd name="connsiteY6" fmla="*/ 3519376 h 4492350"/>
                <a:gd name="connsiteX7" fmla="*/ 1679945 w 3694535"/>
                <a:gd name="connsiteY7" fmla="*/ 2392325 h 4492350"/>
                <a:gd name="connsiteX8" fmla="*/ 0 w 3694535"/>
                <a:gd name="connsiteY8" fmla="*/ 754911 h 4492350"/>
                <a:gd name="connsiteX9" fmla="*/ 988828 w 3694535"/>
                <a:gd name="connsiteY9" fmla="*/ 1924493 h 4492350"/>
                <a:gd name="connsiteX10" fmla="*/ 1137684 w 3694535"/>
                <a:gd name="connsiteY10" fmla="*/ 861237 h 4492350"/>
                <a:gd name="connsiteX11" fmla="*/ 1222745 w 3694535"/>
                <a:gd name="connsiteY11" fmla="*/ 2062716 h 4492350"/>
                <a:gd name="connsiteX12" fmla="*/ 1690577 w 3694535"/>
                <a:gd name="connsiteY12" fmla="*/ 2190307 h 4492350"/>
                <a:gd name="connsiteX13" fmla="*/ 1956391 w 3694535"/>
                <a:gd name="connsiteY13" fmla="*/ 0 h 4492350"/>
                <a:gd name="connsiteX14" fmla="*/ 2027834 w 3694535"/>
                <a:gd name="connsiteY14" fmla="*/ 986216 h 4492350"/>
                <a:gd name="connsiteX15" fmla="*/ 1881963 w 3694535"/>
                <a:gd name="connsiteY15" fmla="*/ 2060385 h 4492350"/>
                <a:gd name="connsiteX16" fmla="*/ 2057494 w 3694535"/>
                <a:gd name="connsiteY16" fmla="*/ 3046321 h 4492350"/>
                <a:gd name="connsiteX17" fmla="*/ 2647507 w 3694535"/>
                <a:gd name="connsiteY17" fmla="*/ 2519916 h 4492350"/>
                <a:gd name="connsiteX18" fmla="*/ 2913694 w 3694535"/>
                <a:gd name="connsiteY18" fmla="*/ 1291762 h 4492350"/>
                <a:gd name="connsiteX19" fmla="*/ 2806809 w 3694535"/>
                <a:gd name="connsiteY19" fmla="*/ 2383091 h 4492350"/>
                <a:gd name="connsiteX20" fmla="*/ 3694535 w 3694535"/>
                <a:gd name="connsiteY20" fmla="*/ 1124252 h 4492350"/>
                <a:gd name="connsiteX21" fmla="*/ 2222205 w 3694535"/>
                <a:gd name="connsiteY21" fmla="*/ 3370521 h 4492350"/>
                <a:gd name="connsiteX22" fmla="*/ 2169042 w 3694535"/>
                <a:gd name="connsiteY22" fmla="*/ 3817088 h 4492350"/>
                <a:gd name="connsiteX23" fmla="*/ 3317358 w 3694535"/>
                <a:gd name="connsiteY23" fmla="*/ 3094074 h 4492350"/>
                <a:gd name="connsiteX24" fmla="*/ 2194317 w 3694535"/>
                <a:gd name="connsiteY24" fmla="*/ 4030951 h 4492350"/>
                <a:gd name="connsiteX25" fmla="*/ 2232838 w 3694535"/>
                <a:gd name="connsiteY25" fmla="*/ 4476307 h 4492350"/>
                <a:gd name="connsiteX26" fmla="*/ 2218194 w 3694535"/>
                <a:gd name="connsiteY26" fmla="*/ 4491415 h 4492350"/>
                <a:gd name="connsiteX27" fmla="*/ 1743740 w 3694535"/>
                <a:gd name="connsiteY27" fmla="*/ 4492350 h 4492350"/>
                <a:gd name="connsiteX0" fmla="*/ 1743740 w 3694535"/>
                <a:gd name="connsiteY0" fmla="*/ 4492350 h 4492350"/>
                <a:gd name="connsiteX1" fmla="*/ 1796903 w 3694535"/>
                <a:gd name="connsiteY1" fmla="*/ 3785190 h 4492350"/>
                <a:gd name="connsiteX2" fmla="*/ 1307805 w 3694535"/>
                <a:gd name="connsiteY2" fmla="*/ 3381153 h 4492350"/>
                <a:gd name="connsiteX3" fmla="*/ 31898 w 3694535"/>
                <a:gd name="connsiteY3" fmla="*/ 2945218 h 4492350"/>
                <a:gd name="connsiteX4" fmla="*/ 1127052 w 3694535"/>
                <a:gd name="connsiteY4" fmla="*/ 3242930 h 4492350"/>
                <a:gd name="connsiteX5" fmla="*/ 393405 w 3694535"/>
                <a:gd name="connsiteY5" fmla="*/ 2456121 h 4492350"/>
                <a:gd name="connsiteX6" fmla="*/ 1775638 w 3694535"/>
                <a:gd name="connsiteY6" fmla="*/ 3519376 h 4492350"/>
                <a:gd name="connsiteX7" fmla="*/ 1679945 w 3694535"/>
                <a:gd name="connsiteY7" fmla="*/ 2392325 h 4492350"/>
                <a:gd name="connsiteX8" fmla="*/ 0 w 3694535"/>
                <a:gd name="connsiteY8" fmla="*/ 754911 h 4492350"/>
                <a:gd name="connsiteX9" fmla="*/ 988828 w 3694535"/>
                <a:gd name="connsiteY9" fmla="*/ 1924493 h 4492350"/>
                <a:gd name="connsiteX10" fmla="*/ 1137684 w 3694535"/>
                <a:gd name="connsiteY10" fmla="*/ 861237 h 4492350"/>
                <a:gd name="connsiteX11" fmla="*/ 1222745 w 3694535"/>
                <a:gd name="connsiteY11" fmla="*/ 2062716 h 4492350"/>
                <a:gd name="connsiteX12" fmla="*/ 1690577 w 3694535"/>
                <a:gd name="connsiteY12" fmla="*/ 2190307 h 4492350"/>
                <a:gd name="connsiteX13" fmla="*/ 1956391 w 3694535"/>
                <a:gd name="connsiteY13" fmla="*/ 0 h 4492350"/>
                <a:gd name="connsiteX14" fmla="*/ 2027834 w 3694535"/>
                <a:gd name="connsiteY14" fmla="*/ 986216 h 4492350"/>
                <a:gd name="connsiteX15" fmla="*/ 1881963 w 3694535"/>
                <a:gd name="connsiteY15" fmla="*/ 2060385 h 4492350"/>
                <a:gd name="connsiteX16" fmla="*/ 2057494 w 3694535"/>
                <a:gd name="connsiteY16" fmla="*/ 3046321 h 4492350"/>
                <a:gd name="connsiteX17" fmla="*/ 2647507 w 3694535"/>
                <a:gd name="connsiteY17" fmla="*/ 2519916 h 4492350"/>
                <a:gd name="connsiteX18" fmla="*/ 2913694 w 3694535"/>
                <a:gd name="connsiteY18" fmla="*/ 1291762 h 4492350"/>
                <a:gd name="connsiteX19" fmla="*/ 2806809 w 3694535"/>
                <a:gd name="connsiteY19" fmla="*/ 2383091 h 4492350"/>
                <a:gd name="connsiteX20" fmla="*/ 3694535 w 3694535"/>
                <a:gd name="connsiteY20" fmla="*/ 1124252 h 4492350"/>
                <a:gd name="connsiteX21" fmla="*/ 2222205 w 3694535"/>
                <a:gd name="connsiteY21" fmla="*/ 3370521 h 4492350"/>
                <a:gd name="connsiteX22" fmla="*/ 2169042 w 3694535"/>
                <a:gd name="connsiteY22" fmla="*/ 3817088 h 4492350"/>
                <a:gd name="connsiteX23" fmla="*/ 3317358 w 3694535"/>
                <a:gd name="connsiteY23" fmla="*/ 3094074 h 4492350"/>
                <a:gd name="connsiteX24" fmla="*/ 2194317 w 3694535"/>
                <a:gd name="connsiteY24" fmla="*/ 4030951 h 4492350"/>
                <a:gd name="connsiteX25" fmla="*/ 2232838 w 3694535"/>
                <a:gd name="connsiteY25" fmla="*/ 4476307 h 4492350"/>
                <a:gd name="connsiteX26" fmla="*/ 2218194 w 3694535"/>
                <a:gd name="connsiteY26" fmla="*/ 4491415 h 4492350"/>
                <a:gd name="connsiteX27" fmla="*/ 1743740 w 3694535"/>
                <a:gd name="connsiteY27" fmla="*/ 4492350 h 4492350"/>
                <a:gd name="connsiteX0" fmla="*/ 1743740 w 3694535"/>
                <a:gd name="connsiteY0" fmla="*/ 4492350 h 4492350"/>
                <a:gd name="connsiteX1" fmla="*/ 1796903 w 3694535"/>
                <a:gd name="connsiteY1" fmla="*/ 3785190 h 4492350"/>
                <a:gd name="connsiteX2" fmla="*/ 1307805 w 3694535"/>
                <a:gd name="connsiteY2" fmla="*/ 3381153 h 4492350"/>
                <a:gd name="connsiteX3" fmla="*/ 31898 w 3694535"/>
                <a:gd name="connsiteY3" fmla="*/ 2945218 h 4492350"/>
                <a:gd name="connsiteX4" fmla="*/ 1127052 w 3694535"/>
                <a:gd name="connsiteY4" fmla="*/ 3242930 h 4492350"/>
                <a:gd name="connsiteX5" fmla="*/ 393405 w 3694535"/>
                <a:gd name="connsiteY5" fmla="*/ 2456121 h 4492350"/>
                <a:gd name="connsiteX6" fmla="*/ 1775638 w 3694535"/>
                <a:gd name="connsiteY6" fmla="*/ 3519376 h 4492350"/>
                <a:gd name="connsiteX7" fmla="*/ 1679945 w 3694535"/>
                <a:gd name="connsiteY7" fmla="*/ 2392325 h 4492350"/>
                <a:gd name="connsiteX8" fmla="*/ 0 w 3694535"/>
                <a:gd name="connsiteY8" fmla="*/ 754911 h 4492350"/>
                <a:gd name="connsiteX9" fmla="*/ 988828 w 3694535"/>
                <a:gd name="connsiteY9" fmla="*/ 1924493 h 4492350"/>
                <a:gd name="connsiteX10" fmla="*/ 1137684 w 3694535"/>
                <a:gd name="connsiteY10" fmla="*/ 861237 h 4492350"/>
                <a:gd name="connsiteX11" fmla="*/ 1222745 w 3694535"/>
                <a:gd name="connsiteY11" fmla="*/ 2062716 h 4492350"/>
                <a:gd name="connsiteX12" fmla="*/ 1690577 w 3694535"/>
                <a:gd name="connsiteY12" fmla="*/ 2190307 h 4492350"/>
                <a:gd name="connsiteX13" fmla="*/ 1956391 w 3694535"/>
                <a:gd name="connsiteY13" fmla="*/ 0 h 4492350"/>
                <a:gd name="connsiteX14" fmla="*/ 2027834 w 3694535"/>
                <a:gd name="connsiteY14" fmla="*/ 986216 h 4492350"/>
                <a:gd name="connsiteX15" fmla="*/ 1881963 w 3694535"/>
                <a:gd name="connsiteY15" fmla="*/ 2060385 h 4492350"/>
                <a:gd name="connsiteX16" fmla="*/ 2057494 w 3694535"/>
                <a:gd name="connsiteY16" fmla="*/ 3046321 h 4492350"/>
                <a:gd name="connsiteX17" fmla="*/ 2647507 w 3694535"/>
                <a:gd name="connsiteY17" fmla="*/ 2519916 h 4492350"/>
                <a:gd name="connsiteX18" fmla="*/ 2913694 w 3694535"/>
                <a:gd name="connsiteY18" fmla="*/ 1291762 h 4492350"/>
                <a:gd name="connsiteX19" fmla="*/ 2806809 w 3694535"/>
                <a:gd name="connsiteY19" fmla="*/ 2383091 h 4492350"/>
                <a:gd name="connsiteX20" fmla="*/ 3694535 w 3694535"/>
                <a:gd name="connsiteY20" fmla="*/ 1124252 h 4492350"/>
                <a:gd name="connsiteX21" fmla="*/ 2222205 w 3694535"/>
                <a:gd name="connsiteY21" fmla="*/ 3370521 h 4492350"/>
                <a:gd name="connsiteX22" fmla="*/ 2169042 w 3694535"/>
                <a:gd name="connsiteY22" fmla="*/ 3817088 h 4492350"/>
                <a:gd name="connsiteX23" fmla="*/ 3317358 w 3694535"/>
                <a:gd name="connsiteY23" fmla="*/ 3094074 h 4492350"/>
                <a:gd name="connsiteX24" fmla="*/ 2194317 w 3694535"/>
                <a:gd name="connsiteY24" fmla="*/ 4030951 h 4492350"/>
                <a:gd name="connsiteX25" fmla="*/ 2232838 w 3694535"/>
                <a:gd name="connsiteY25" fmla="*/ 4476307 h 4492350"/>
                <a:gd name="connsiteX26" fmla="*/ 2218194 w 3694535"/>
                <a:gd name="connsiteY26" fmla="*/ 4491415 h 4492350"/>
                <a:gd name="connsiteX27" fmla="*/ 1743740 w 3694535"/>
                <a:gd name="connsiteY27" fmla="*/ 4492350 h 4492350"/>
                <a:gd name="connsiteX0" fmla="*/ 1743740 w 3694535"/>
                <a:gd name="connsiteY0" fmla="*/ 4492350 h 4492350"/>
                <a:gd name="connsiteX1" fmla="*/ 1796903 w 3694535"/>
                <a:gd name="connsiteY1" fmla="*/ 3785190 h 4492350"/>
                <a:gd name="connsiteX2" fmla="*/ 1307805 w 3694535"/>
                <a:gd name="connsiteY2" fmla="*/ 3381153 h 4492350"/>
                <a:gd name="connsiteX3" fmla="*/ 31898 w 3694535"/>
                <a:gd name="connsiteY3" fmla="*/ 2945218 h 4492350"/>
                <a:gd name="connsiteX4" fmla="*/ 1127052 w 3694535"/>
                <a:gd name="connsiteY4" fmla="*/ 3242930 h 4492350"/>
                <a:gd name="connsiteX5" fmla="*/ 393405 w 3694535"/>
                <a:gd name="connsiteY5" fmla="*/ 2456121 h 4492350"/>
                <a:gd name="connsiteX6" fmla="*/ 1775638 w 3694535"/>
                <a:gd name="connsiteY6" fmla="*/ 3519376 h 4492350"/>
                <a:gd name="connsiteX7" fmla="*/ 1679945 w 3694535"/>
                <a:gd name="connsiteY7" fmla="*/ 2392325 h 4492350"/>
                <a:gd name="connsiteX8" fmla="*/ 0 w 3694535"/>
                <a:gd name="connsiteY8" fmla="*/ 754911 h 4492350"/>
                <a:gd name="connsiteX9" fmla="*/ 988828 w 3694535"/>
                <a:gd name="connsiteY9" fmla="*/ 1924493 h 4492350"/>
                <a:gd name="connsiteX10" fmla="*/ 1137684 w 3694535"/>
                <a:gd name="connsiteY10" fmla="*/ 861237 h 4492350"/>
                <a:gd name="connsiteX11" fmla="*/ 1222745 w 3694535"/>
                <a:gd name="connsiteY11" fmla="*/ 2062716 h 4492350"/>
                <a:gd name="connsiteX12" fmla="*/ 1690577 w 3694535"/>
                <a:gd name="connsiteY12" fmla="*/ 2190307 h 4492350"/>
                <a:gd name="connsiteX13" fmla="*/ 1956391 w 3694535"/>
                <a:gd name="connsiteY13" fmla="*/ 0 h 4492350"/>
                <a:gd name="connsiteX14" fmla="*/ 2027834 w 3694535"/>
                <a:gd name="connsiteY14" fmla="*/ 986216 h 4492350"/>
                <a:gd name="connsiteX15" fmla="*/ 1881963 w 3694535"/>
                <a:gd name="connsiteY15" fmla="*/ 2060385 h 4492350"/>
                <a:gd name="connsiteX16" fmla="*/ 2057494 w 3694535"/>
                <a:gd name="connsiteY16" fmla="*/ 3046321 h 4492350"/>
                <a:gd name="connsiteX17" fmla="*/ 2647507 w 3694535"/>
                <a:gd name="connsiteY17" fmla="*/ 2519916 h 4492350"/>
                <a:gd name="connsiteX18" fmla="*/ 2913694 w 3694535"/>
                <a:gd name="connsiteY18" fmla="*/ 1291762 h 4492350"/>
                <a:gd name="connsiteX19" fmla="*/ 2806809 w 3694535"/>
                <a:gd name="connsiteY19" fmla="*/ 2383091 h 4492350"/>
                <a:gd name="connsiteX20" fmla="*/ 3694535 w 3694535"/>
                <a:gd name="connsiteY20" fmla="*/ 1124252 h 4492350"/>
                <a:gd name="connsiteX21" fmla="*/ 2222205 w 3694535"/>
                <a:gd name="connsiteY21" fmla="*/ 3370521 h 4492350"/>
                <a:gd name="connsiteX22" fmla="*/ 2169042 w 3694535"/>
                <a:gd name="connsiteY22" fmla="*/ 3817088 h 4492350"/>
                <a:gd name="connsiteX23" fmla="*/ 3317358 w 3694535"/>
                <a:gd name="connsiteY23" fmla="*/ 3094074 h 4492350"/>
                <a:gd name="connsiteX24" fmla="*/ 2194317 w 3694535"/>
                <a:gd name="connsiteY24" fmla="*/ 4030951 h 4492350"/>
                <a:gd name="connsiteX25" fmla="*/ 2232838 w 3694535"/>
                <a:gd name="connsiteY25" fmla="*/ 4476307 h 4492350"/>
                <a:gd name="connsiteX26" fmla="*/ 2218194 w 3694535"/>
                <a:gd name="connsiteY26" fmla="*/ 4491415 h 4492350"/>
                <a:gd name="connsiteX27" fmla="*/ 1743740 w 3694535"/>
                <a:gd name="connsiteY27" fmla="*/ 4492350 h 4492350"/>
                <a:gd name="connsiteX0" fmla="*/ 1743740 w 3694535"/>
                <a:gd name="connsiteY0" fmla="*/ 4492350 h 4492350"/>
                <a:gd name="connsiteX1" fmla="*/ 1796903 w 3694535"/>
                <a:gd name="connsiteY1" fmla="*/ 3785190 h 4492350"/>
                <a:gd name="connsiteX2" fmla="*/ 1307805 w 3694535"/>
                <a:gd name="connsiteY2" fmla="*/ 3381153 h 4492350"/>
                <a:gd name="connsiteX3" fmla="*/ 31898 w 3694535"/>
                <a:gd name="connsiteY3" fmla="*/ 2945218 h 4492350"/>
                <a:gd name="connsiteX4" fmla="*/ 1127052 w 3694535"/>
                <a:gd name="connsiteY4" fmla="*/ 3242930 h 4492350"/>
                <a:gd name="connsiteX5" fmla="*/ 393405 w 3694535"/>
                <a:gd name="connsiteY5" fmla="*/ 2456121 h 4492350"/>
                <a:gd name="connsiteX6" fmla="*/ 1775638 w 3694535"/>
                <a:gd name="connsiteY6" fmla="*/ 3519376 h 4492350"/>
                <a:gd name="connsiteX7" fmla="*/ 1679945 w 3694535"/>
                <a:gd name="connsiteY7" fmla="*/ 2392325 h 4492350"/>
                <a:gd name="connsiteX8" fmla="*/ 0 w 3694535"/>
                <a:gd name="connsiteY8" fmla="*/ 754911 h 4492350"/>
                <a:gd name="connsiteX9" fmla="*/ 988828 w 3694535"/>
                <a:gd name="connsiteY9" fmla="*/ 1924493 h 4492350"/>
                <a:gd name="connsiteX10" fmla="*/ 1137684 w 3694535"/>
                <a:gd name="connsiteY10" fmla="*/ 861237 h 4492350"/>
                <a:gd name="connsiteX11" fmla="*/ 1222745 w 3694535"/>
                <a:gd name="connsiteY11" fmla="*/ 2062716 h 4492350"/>
                <a:gd name="connsiteX12" fmla="*/ 1690577 w 3694535"/>
                <a:gd name="connsiteY12" fmla="*/ 2190307 h 4492350"/>
                <a:gd name="connsiteX13" fmla="*/ 1956391 w 3694535"/>
                <a:gd name="connsiteY13" fmla="*/ 0 h 4492350"/>
                <a:gd name="connsiteX14" fmla="*/ 2027834 w 3694535"/>
                <a:gd name="connsiteY14" fmla="*/ 986216 h 4492350"/>
                <a:gd name="connsiteX15" fmla="*/ 1881963 w 3694535"/>
                <a:gd name="connsiteY15" fmla="*/ 2060385 h 4492350"/>
                <a:gd name="connsiteX16" fmla="*/ 2057494 w 3694535"/>
                <a:gd name="connsiteY16" fmla="*/ 3046321 h 4492350"/>
                <a:gd name="connsiteX17" fmla="*/ 2647507 w 3694535"/>
                <a:gd name="connsiteY17" fmla="*/ 2519916 h 4492350"/>
                <a:gd name="connsiteX18" fmla="*/ 2913694 w 3694535"/>
                <a:gd name="connsiteY18" fmla="*/ 1291762 h 4492350"/>
                <a:gd name="connsiteX19" fmla="*/ 2806809 w 3694535"/>
                <a:gd name="connsiteY19" fmla="*/ 2383091 h 4492350"/>
                <a:gd name="connsiteX20" fmla="*/ 3694535 w 3694535"/>
                <a:gd name="connsiteY20" fmla="*/ 1124252 h 4492350"/>
                <a:gd name="connsiteX21" fmla="*/ 2222205 w 3694535"/>
                <a:gd name="connsiteY21" fmla="*/ 3370521 h 4492350"/>
                <a:gd name="connsiteX22" fmla="*/ 2169042 w 3694535"/>
                <a:gd name="connsiteY22" fmla="*/ 3817088 h 4492350"/>
                <a:gd name="connsiteX23" fmla="*/ 3317358 w 3694535"/>
                <a:gd name="connsiteY23" fmla="*/ 3094074 h 4492350"/>
                <a:gd name="connsiteX24" fmla="*/ 2194317 w 3694535"/>
                <a:gd name="connsiteY24" fmla="*/ 4030951 h 4492350"/>
                <a:gd name="connsiteX25" fmla="*/ 2232838 w 3694535"/>
                <a:gd name="connsiteY25" fmla="*/ 4476307 h 4492350"/>
                <a:gd name="connsiteX26" fmla="*/ 2218194 w 3694535"/>
                <a:gd name="connsiteY26" fmla="*/ 4491415 h 4492350"/>
                <a:gd name="connsiteX27" fmla="*/ 1743740 w 3694535"/>
                <a:gd name="connsiteY27" fmla="*/ 4492350 h 4492350"/>
                <a:gd name="connsiteX0" fmla="*/ 1743740 w 3694535"/>
                <a:gd name="connsiteY0" fmla="*/ 4492350 h 4492350"/>
                <a:gd name="connsiteX1" fmla="*/ 1796903 w 3694535"/>
                <a:gd name="connsiteY1" fmla="*/ 3785190 h 4492350"/>
                <a:gd name="connsiteX2" fmla="*/ 1307805 w 3694535"/>
                <a:gd name="connsiteY2" fmla="*/ 3381153 h 4492350"/>
                <a:gd name="connsiteX3" fmla="*/ 31898 w 3694535"/>
                <a:gd name="connsiteY3" fmla="*/ 2945218 h 4492350"/>
                <a:gd name="connsiteX4" fmla="*/ 1127052 w 3694535"/>
                <a:gd name="connsiteY4" fmla="*/ 3242930 h 4492350"/>
                <a:gd name="connsiteX5" fmla="*/ 393405 w 3694535"/>
                <a:gd name="connsiteY5" fmla="*/ 2456121 h 4492350"/>
                <a:gd name="connsiteX6" fmla="*/ 1775638 w 3694535"/>
                <a:gd name="connsiteY6" fmla="*/ 3519376 h 4492350"/>
                <a:gd name="connsiteX7" fmla="*/ 1683956 w 3694535"/>
                <a:gd name="connsiteY7" fmla="*/ 2424409 h 4492350"/>
                <a:gd name="connsiteX8" fmla="*/ 0 w 3694535"/>
                <a:gd name="connsiteY8" fmla="*/ 754911 h 4492350"/>
                <a:gd name="connsiteX9" fmla="*/ 988828 w 3694535"/>
                <a:gd name="connsiteY9" fmla="*/ 1924493 h 4492350"/>
                <a:gd name="connsiteX10" fmla="*/ 1137684 w 3694535"/>
                <a:gd name="connsiteY10" fmla="*/ 861237 h 4492350"/>
                <a:gd name="connsiteX11" fmla="*/ 1222745 w 3694535"/>
                <a:gd name="connsiteY11" fmla="*/ 2062716 h 4492350"/>
                <a:gd name="connsiteX12" fmla="*/ 1690577 w 3694535"/>
                <a:gd name="connsiteY12" fmla="*/ 2190307 h 4492350"/>
                <a:gd name="connsiteX13" fmla="*/ 1956391 w 3694535"/>
                <a:gd name="connsiteY13" fmla="*/ 0 h 4492350"/>
                <a:gd name="connsiteX14" fmla="*/ 2027834 w 3694535"/>
                <a:gd name="connsiteY14" fmla="*/ 986216 h 4492350"/>
                <a:gd name="connsiteX15" fmla="*/ 1881963 w 3694535"/>
                <a:gd name="connsiteY15" fmla="*/ 2060385 h 4492350"/>
                <a:gd name="connsiteX16" fmla="*/ 2057494 w 3694535"/>
                <a:gd name="connsiteY16" fmla="*/ 3046321 h 4492350"/>
                <a:gd name="connsiteX17" fmla="*/ 2647507 w 3694535"/>
                <a:gd name="connsiteY17" fmla="*/ 2519916 h 4492350"/>
                <a:gd name="connsiteX18" fmla="*/ 2913694 w 3694535"/>
                <a:gd name="connsiteY18" fmla="*/ 1291762 h 4492350"/>
                <a:gd name="connsiteX19" fmla="*/ 2806809 w 3694535"/>
                <a:gd name="connsiteY19" fmla="*/ 2383091 h 4492350"/>
                <a:gd name="connsiteX20" fmla="*/ 3694535 w 3694535"/>
                <a:gd name="connsiteY20" fmla="*/ 1124252 h 4492350"/>
                <a:gd name="connsiteX21" fmla="*/ 2222205 w 3694535"/>
                <a:gd name="connsiteY21" fmla="*/ 3370521 h 4492350"/>
                <a:gd name="connsiteX22" fmla="*/ 2169042 w 3694535"/>
                <a:gd name="connsiteY22" fmla="*/ 3817088 h 4492350"/>
                <a:gd name="connsiteX23" fmla="*/ 3317358 w 3694535"/>
                <a:gd name="connsiteY23" fmla="*/ 3094074 h 4492350"/>
                <a:gd name="connsiteX24" fmla="*/ 2194317 w 3694535"/>
                <a:gd name="connsiteY24" fmla="*/ 4030951 h 4492350"/>
                <a:gd name="connsiteX25" fmla="*/ 2232838 w 3694535"/>
                <a:gd name="connsiteY25" fmla="*/ 4476307 h 4492350"/>
                <a:gd name="connsiteX26" fmla="*/ 2218194 w 3694535"/>
                <a:gd name="connsiteY26" fmla="*/ 4491415 h 4492350"/>
                <a:gd name="connsiteX27" fmla="*/ 1743740 w 3694535"/>
                <a:gd name="connsiteY27" fmla="*/ 4492350 h 4492350"/>
                <a:gd name="connsiteX0" fmla="*/ 1743740 w 3694535"/>
                <a:gd name="connsiteY0" fmla="*/ 4492350 h 4492350"/>
                <a:gd name="connsiteX1" fmla="*/ 1796903 w 3694535"/>
                <a:gd name="connsiteY1" fmla="*/ 3785190 h 4492350"/>
                <a:gd name="connsiteX2" fmla="*/ 1307805 w 3694535"/>
                <a:gd name="connsiteY2" fmla="*/ 3381153 h 4492350"/>
                <a:gd name="connsiteX3" fmla="*/ 31898 w 3694535"/>
                <a:gd name="connsiteY3" fmla="*/ 2945218 h 4492350"/>
                <a:gd name="connsiteX4" fmla="*/ 1127052 w 3694535"/>
                <a:gd name="connsiteY4" fmla="*/ 3242930 h 4492350"/>
                <a:gd name="connsiteX5" fmla="*/ 393405 w 3694535"/>
                <a:gd name="connsiteY5" fmla="*/ 2456121 h 4492350"/>
                <a:gd name="connsiteX6" fmla="*/ 1775638 w 3694535"/>
                <a:gd name="connsiteY6" fmla="*/ 3519376 h 4492350"/>
                <a:gd name="connsiteX7" fmla="*/ 1683956 w 3694535"/>
                <a:gd name="connsiteY7" fmla="*/ 2424409 h 4492350"/>
                <a:gd name="connsiteX8" fmla="*/ 0 w 3694535"/>
                <a:gd name="connsiteY8" fmla="*/ 754911 h 4492350"/>
                <a:gd name="connsiteX9" fmla="*/ 988828 w 3694535"/>
                <a:gd name="connsiteY9" fmla="*/ 1924493 h 4492350"/>
                <a:gd name="connsiteX10" fmla="*/ 1137684 w 3694535"/>
                <a:gd name="connsiteY10" fmla="*/ 861237 h 4492350"/>
                <a:gd name="connsiteX11" fmla="*/ 1222745 w 3694535"/>
                <a:gd name="connsiteY11" fmla="*/ 2062716 h 4492350"/>
                <a:gd name="connsiteX12" fmla="*/ 1690577 w 3694535"/>
                <a:gd name="connsiteY12" fmla="*/ 2190307 h 4492350"/>
                <a:gd name="connsiteX13" fmla="*/ 1956391 w 3694535"/>
                <a:gd name="connsiteY13" fmla="*/ 0 h 4492350"/>
                <a:gd name="connsiteX14" fmla="*/ 2027834 w 3694535"/>
                <a:gd name="connsiteY14" fmla="*/ 986216 h 4492350"/>
                <a:gd name="connsiteX15" fmla="*/ 1881963 w 3694535"/>
                <a:gd name="connsiteY15" fmla="*/ 2060385 h 4492350"/>
                <a:gd name="connsiteX16" fmla="*/ 2057494 w 3694535"/>
                <a:gd name="connsiteY16" fmla="*/ 3046321 h 4492350"/>
                <a:gd name="connsiteX17" fmla="*/ 2647507 w 3694535"/>
                <a:gd name="connsiteY17" fmla="*/ 2519916 h 4492350"/>
                <a:gd name="connsiteX18" fmla="*/ 2913694 w 3694535"/>
                <a:gd name="connsiteY18" fmla="*/ 1291762 h 4492350"/>
                <a:gd name="connsiteX19" fmla="*/ 2806809 w 3694535"/>
                <a:gd name="connsiteY19" fmla="*/ 2383091 h 4492350"/>
                <a:gd name="connsiteX20" fmla="*/ 3694535 w 3694535"/>
                <a:gd name="connsiteY20" fmla="*/ 1124252 h 4492350"/>
                <a:gd name="connsiteX21" fmla="*/ 2222205 w 3694535"/>
                <a:gd name="connsiteY21" fmla="*/ 3370521 h 4492350"/>
                <a:gd name="connsiteX22" fmla="*/ 2169042 w 3694535"/>
                <a:gd name="connsiteY22" fmla="*/ 3817088 h 4492350"/>
                <a:gd name="connsiteX23" fmla="*/ 3317358 w 3694535"/>
                <a:gd name="connsiteY23" fmla="*/ 3094074 h 4492350"/>
                <a:gd name="connsiteX24" fmla="*/ 2194317 w 3694535"/>
                <a:gd name="connsiteY24" fmla="*/ 4030951 h 4492350"/>
                <a:gd name="connsiteX25" fmla="*/ 2232838 w 3694535"/>
                <a:gd name="connsiteY25" fmla="*/ 4476307 h 4492350"/>
                <a:gd name="connsiteX26" fmla="*/ 2218194 w 3694535"/>
                <a:gd name="connsiteY26" fmla="*/ 4491415 h 4492350"/>
                <a:gd name="connsiteX27" fmla="*/ 1743740 w 3694535"/>
                <a:gd name="connsiteY27" fmla="*/ 4492350 h 4492350"/>
                <a:gd name="connsiteX0" fmla="*/ 1743740 w 3694535"/>
                <a:gd name="connsiteY0" fmla="*/ 4492350 h 4492350"/>
                <a:gd name="connsiteX1" fmla="*/ 1796903 w 3694535"/>
                <a:gd name="connsiteY1" fmla="*/ 3785190 h 4492350"/>
                <a:gd name="connsiteX2" fmla="*/ 1307805 w 3694535"/>
                <a:gd name="connsiteY2" fmla="*/ 3381153 h 4492350"/>
                <a:gd name="connsiteX3" fmla="*/ 31898 w 3694535"/>
                <a:gd name="connsiteY3" fmla="*/ 2945218 h 4492350"/>
                <a:gd name="connsiteX4" fmla="*/ 1127052 w 3694535"/>
                <a:gd name="connsiteY4" fmla="*/ 3242930 h 4492350"/>
                <a:gd name="connsiteX5" fmla="*/ 393405 w 3694535"/>
                <a:gd name="connsiteY5" fmla="*/ 2456121 h 4492350"/>
                <a:gd name="connsiteX6" fmla="*/ 1775638 w 3694535"/>
                <a:gd name="connsiteY6" fmla="*/ 3519376 h 4492350"/>
                <a:gd name="connsiteX7" fmla="*/ 1683956 w 3694535"/>
                <a:gd name="connsiteY7" fmla="*/ 2424409 h 4492350"/>
                <a:gd name="connsiteX8" fmla="*/ 0 w 3694535"/>
                <a:gd name="connsiteY8" fmla="*/ 754911 h 4492350"/>
                <a:gd name="connsiteX9" fmla="*/ 988828 w 3694535"/>
                <a:gd name="connsiteY9" fmla="*/ 1924493 h 4492350"/>
                <a:gd name="connsiteX10" fmla="*/ 1137684 w 3694535"/>
                <a:gd name="connsiteY10" fmla="*/ 861237 h 4492350"/>
                <a:gd name="connsiteX11" fmla="*/ 1222745 w 3694535"/>
                <a:gd name="connsiteY11" fmla="*/ 2062716 h 4492350"/>
                <a:gd name="connsiteX12" fmla="*/ 1714640 w 3694535"/>
                <a:gd name="connsiteY12" fmla="*/ 2194318 h 4492350"/>
                <a:gd name="connsiteX13" fmla="*/ 1956391 w 3694535"/>
                <a:gd name="connsiteY13" fmla="*/ 0 h 4492350"/>
                <a:gd name="connsiteX14" fmla="*/ 2027834 w 3694535"/>
                <a:gd name="connsiteY14" fmla="*/ 986216 h 4492350"/>
                <a:gd name="connsiteX15" fmla="*/ 1881963 w 3694535"/>
                <a:gd name="connsiteY15" fmla="*/ 2060385 h 4492350"/>
                <a:gd name="connsiteX16" fmla="*/ 2057494 w 3694535"/>
                <a:gd name="connsiteY16" fmla="*/ 3046321 h 4492350"/>
                <a:gd name="connsiteX17" fmla="*/ 2647507 w 3694535"/>
                <a:gd name="connsiteY17" fmla="*/ 2519916 h 4492350"/>
                <a:gd name="connsiteX18" fmla="*/ 2913694 w 3694535"/>
                <a:gd name="connsiteY18" fmla="*/ 1291762 h 4492350"/>
                <a:gd name="connsiteX19" fmla="*/ 2806809 w 3694535"/>
                <a:gd name="connsiteY19" fmla="*/ 2383091 h 4492350"/>
                <a:gd name="connsiteX20" fmla="*/ 3694535 w 3694535"/>
                <a:gd name="connsiteY20" fmla="*/ 1124252 h 4492350"/>
                <a:gd name="connsiteX21" fmla="*/ 2222205 w 3694535"/>
                <a:gd name="connsiteY21" fmla="*/ 3370521 h 4492350"/>
                <a:gd name="connsiteX22" fmla="*/ 2169042 w 3694535"/>
                <a:gd name="connsiteY22" fmla="*/ 3817088 h 4492350"/>
                <a:gd name="connsiteX23" fmla="*/ 3317358 w 3694535"/>
                <a:gd name="connsiteY23" fmla="*/ 3094074 h 4492350"/>
                <a:gd name="connsiteX24" fmla="*/ 2194317 w 3694535"/>
                <a:gd name="connsiteY24" fmla="*/ 4030951 h 4492350"/>
                <a:gd name="connsiteX25" fmla="*/ 2232838 w 3694535"/>
                <a:gd name="connsiteY25" fmla="*/ 4476307 h 4492350"/>
                <a:gd name="connsiteX26" fmla="*/ 2218194 w 3694535"/>
                <a:gd name="connsiteY26" fmla="*/ 4491415 h 4492350"/>
                <a:gd name="connsiteX27" fmla="*/ 1743740 w 3694535"/>
                <a:gd name="connsiteY27" fmla="*/ 4492350 h 4492350"/>
                <a:gd name="connsiteX0" fmla="*/ 1743740 w 3694535"/>
                <a:gd name="connsiteY0" fmla="*/ 4492350 h 4492350"/>
                <a:gd name="connsiteX1" fmla="*/ 1796903 w 3694535"/>
                <a:gd name="connsiteY1" fmla="*/ 3785190 h 4492350"/>
                <a:gd name="connsiteX2" fmla="*/ 1307805 w 3694535"/>
                <a:gd name="connsiteY2" fmla="*/ 3381153 h 4492350"/>
                <a:gd name="connsiteX3" fmla="*/ 31898 w 3694535"/>
                <a:gd name="connsiteY3" fmla="*/ 2945218 h 4492350"/>
                <a:gd name="connsiteX4" fmla="*/ 1127052 w 3694535"/>
                <a:gd name="connsiteY4" fmla="*/ 3242930 h 4492350"/>
                <a:gd name="connsiteX5" fmla="*/ 393405 w 3694535"/>
                <a:gd name="connsiteY5" fmla="*/ 2456121 h 4492350"/>
                <a:gd name="connsiteX6" fmla="*/ 1775638 w 3694535"/>
                <a:gd name="connsiteY6" fmla="*/ 3519376 h 4492350"/>
                <a:gd name="connsiteX7" fmla="*/ 1683956 w 3694535"/>
                <a:gd name="connsiteY7" fmla="*/ 2424409 h 4492350"/>
                <a:gd name="connsiteX8" fmla="*/ 0 w 3694535"/>
                <a:gd name="connsiteY8" fmla="*/ 754911 h 4492350"/>
                <a:gd name="connsiteX9" fmla="*/ 988828 w 3694535"/>
                <a:gd name="connsiteY9" fmla="*/ 1924493 h 4492350"/>
                <a:gd name="connsiteX10" fmla="*/ 1137684 w 3694535"/>
                <a:gd name="connsiteY10" fmla="*/ 861237 h 4492350"/>
                <a:gd name="connsiteX11" fmla="*/ 1222745 w 3694535"/>
                <a:gd name="connsiteY11" fmla="*/ 2062716 h 4492350"/>
                <a:gd name="connsiteX12" fmla="*/ 1714640 w 3694535"/>
                <a:gd name="connsiteY12" fmla="*/ 2194318 h 4492350"/>
                <a:gd name="connsiteX13" fmla="*/ 1956391 w 3694535"/>
                <a:gd name="connsiteY13" fmla="*/ 0 h 4492350"/>
                <a:gd name="connsiteX14" fmla="*/ 2027834 w 3694535"/>
                <a:gd name="connsiteY14" fmla="*/ 986216 h 4492350"/>
                <a:gd name="connsiteX15" fmla="*/ 1881963 w 3694535"/>
                <a:gd name="connsiteY15" fmla="*/ 2060385 h 4492350"/>
                <a:gd name="connsiteX16" fmla="*/ 2057494 w 3694535"/>
                <a:gd name="connsiteY16" fmla="*/ 3046321 h 4492350"/>
                <a:gd name="connsiteX17" fmla="*/ 2647507 w 3694535"/>
                <a:gd name="connsiteY17" fmla="*/ 2519916 h 4492350"/>
                <a:gd name="connsiteX18" fmla="*/ 2913694 w 3694535"/>
                <a:gd name="connsiteY18" fmla="*/ 1291762 h 4492350"/>
                <a:gd name="connsiteX19" fmla="*/ 2806809 w 3694535"/>
                <a:gd name="connsiteY19" fmla="*/ 2383091 h 4492350"/>
                <a:gd name="connsiteX20" fmla="*/ 3694535 w 3694535"/>
                <a:gd name="connsiteY20" fmla="*/ 1124252 h 4492350"/>
                <a:gd name="connsiteX21" fmla="*/ 2222205 w 3694535"/>
                <a:gd name="connsiteY21" fmla="*/ 3370521 h 4492350"/>
                <a:gd name="connsiteX22" fmla="*/ 2169042 w 3694535"/>
                <a:gd name="connsiteY22" fmla="*/ 3817088 h 4492350"/>
                <a:gd name="connsiteX23" fmla="*/ 3317358 w 3694535"/>
                <a:gd name="connsiteY23" fmla="*/ 3094074 h 4492350"/>
                <a:gd name="connsiteX24" fmla="*/ 2194317 w 3694535"/>
                <a:gd name="connsiteY24" fmla="*/ 4030951 h 4492350"/>
                <a:gd name="connsiteX25" fmla="*/ 2232838 w 3694535"/>
                <a:gd name="connsiteY25" fmla="*/ 4476307 h 4492350"/>
                <a:gd name="connsiteX26" fmla="*/ 2218194 w 3694535"/>
                <a:gd name="connsiteY26" fmla="*/ 4491415 h 4492350"/>
                <a:gd name="connsiteX27" fmla="*/ 1743740 w 3694535"/>
                <a:gd name="connsiteY27" fmla="*/ 4492350 h 4492350"/>
                <a:gd name="connsiteX0" fmla="*/ 1743740 w 3694535"/>
                <a:gd name="connsiteY0" fmla="*/ 4492350 h 4492350"/>
                <a:gd name="connsiteX1" fmla="*/ 1796903 w 3694535"/>
                <a:gd name="connsiteY1" fmla="*/ 3785190 h 4492350"/>
                <a:gd name="connsiteX2" fmla="*/ 1307805 w 3694535"/>
                <a:gd name="connsiteY2" fmla="*/ 3381153 h 4492350"/>
                <a:gd name="connsiteX3" fmla="*/ 31898 w 3694535"/>
                <a:gd name="connsiteY3" fmla="*/ 2945218 h 4492350"/>
                <a:gd name="connsiteX4" fmla="*/ 1127052 w 3694535"/>
                <a:gd name="connsiteY4" fmla="*/ 3242930 h 4492350"/>
                <a:gd name="connsiteX5" fmla="*/ 393405 w 3694535"/>
                <a:gd name="connsiteY5" fmla="*/ 2456121 h 4492350"/>
                <a:gd name="connsiteX6" fmla="*/ 1775638 w 3694535"/>
                <a:gd name="connsiteY6" fmla="*/ 3519376 h 4492350"/>
                <a:gd name="connsiteX7" fmla="*/ 1683956 w 3694535"/>
                <a:gd name="connsiteY7" fmla="*/ 2424409 h 4492350"/>
                <a:gd name="connsiteX8" fmla="*/ 0 w 3694535"/>
                <a:gd name="connsiteY8" fmla="*/ 754911 h 4492350"/>
                <a:gd name="connsiteX9" fmla="*/ 988828 w 3694535"/>
                <a:gd name="connsiteY9" fmla="*/ 1924493 h 4492350"/>
                <a:gd name="connsiteX10" fmla="*/ 1137684 w 3694535"/>
                <a:gd name="connsiteY10" fmla="*/ 861237 h 4492350"/>
                <a:gd name="connsiteX11" fmla="*/ 1222745 w 3694535"/>
                <a:gd name="connsiteY11" fmla="*/ 2062716 h 4492350"/>
                <a:gd name="connsiteX12" fmla="*/ 1714640 w 3694535"/>
                <a:gd name="connsiteY12" fmla="*/ 2194318 h 4492350"/>
                <a:gd name="connsiteX13" fmla="*/ 1956391 w 3694535"/>
                <a:gd name="connsiteY13" fmla="*/ 0 h 4492350"/>
                <a:gd name="connsiteX14" fmla="*/ 2027834 w 3694535"/>
                <a:gd name="connsiteY14" fmla="*/ 986216 h 4492350"/>
                <a:gd name="connsiteX15" fmla="*/ 1881963 w 3694535"/>
                <a:gd name="connsiteY15" fmla="*/ 2060385 h 4492350"/>
                <a:gd name="connsiteX16" fmla="*/ 2057494 w 3694535"/>
                <a:gd name="connsiteY16" fmla="*/ 3046321 h 4492350"/>
                <a:gd name="connsiteX17" fmla="*/ 2647507 w 3694535"/>
                <a:gd name="connsiteY17" fmla="*/ 2519916 h 4492350"/>
                <a:gd name="connsiteX18" fmla="*/ 2913694 w 3694535"/>
                <a:gd name="connsiteY18" fmla="*/ 1291762 h 4492350"/>
                <a:gd name="connsiteX19" fmla="*/ 2806809 w 3694535"/>
                <a:gd name="connsiteY19" fmla="*/ 2383091 h 4492350"/>
                <a:gd name="connsiteX20" fmla="*/ 3694535 w 3694535"/>
                <a:gd name="connsiteY20" fmla="*/ 1124252 h 4492350"/>
                <a:gd name="connsiteX21" fmla="*/ 2222205 w 3694535"/>
                <a:gd name="connsiteY21" fmla="*/ 3370521 h 4492350"/>
                <a:gd name="connsiteX22" fmla="*/ 2169042 w 3694535"/>
                <a:gd name="connsiteY22" fmla="*/ 3817088 h 4492350"/>
                <a:gd name="connsiteX23" fmla="*/ 3317358 w 3694535"/>
                <a:gd name="connsiteY23" fmla="*/ 3094074 h 4492350"/>
                <a:gd name="connsiteX24" fmla="*/ 2194317 w 3694535"/>
                <a:gd name="connsiteY24" fmla="*/ 4030951 h 4492350"/>
                <a:gd name="connsiteX25" fmla="*/ 2232838 w 3694535"/>
                <a:gd name="connsiteY25" fmla="*/ 4476307 h 4492350"/>
                <a:gd name="connsiteX26" fmla="*/ 2218194 w 3694535"/>
                <a:gd name="connsiteY26" fmla="*/ 4491415 h 4492350"/>
                <a:gd name="connsiteX27" fmla="*/ 1743740 w 3694535"/>
                <a:gd name="connsiteY27" fmla="*/ 4492350 h 4492350"/>
                <a:gd name="connsiteX0" fmla="*/ 1743740 w 3694535"/>
                <a:gd name="connsiteY0" fmla="*/ 4492350 h 4492350"/>
                <a:gd name="connsiteX1" fmla="*/ 1796903 w 3694535"/>
                <a:gd name="connsiteY1" fmla="*/ 3785190 h 4492350"/>
                <a:gd name="connsiteX2" fmla="*/ 1307805 w 3694535"/>
                <a:gd name="connsiteY2" fmla="*/ 3381153 h 4492350"/>
                <a:gd name="connsiteX3" fmla="*/ 31898 w 3694535"/>
                <a:gd name="connsiteY3" fmla="*/ 2945218 h 4492350"/>
                <a:gd name="connsiteX4" fmla="*/ 1127052 w 3694535"/>
                <a:gd name="connsiteY4" fmla="*/ 3242930 h 4492350"/>
                <a:gd name="connsiteX5" fmla="*/ 393405 w 3694535"/>
                <a:gd name="connsiteY5" fmla="*/ 2456121 h 4492350"/>
                <a:gd name="connsiteX6" fmla="*/ 1775638 w 3694535"/>
                <a:gd name="connsiteY6" fmla="*/ 3519376 h 4492350"/>
                <a:gd name="connsiteX7" fmla="*/ 1683956 w 3694535"/>
                <a:gd name="connsiteY7" fmla="*/ 2424409 h 4492350"/>
                <a:gd name="connsiteX8" fmla="*/ 0 w 3694535"/>
                <a:gd name="connsiteY8" fmla="*/ 754911 h 4492350"/>
                <a:gd name="connsiteX9" fmla="*/ 988828 w 3694535"/>
                <a:gd name="connsiteY9" fmla="*/ 1924493 h 4492350"/>
                <a:gd name="connsiteX10" fmla="*/ 1137684 w 3694535"/>
                <a:gd name="connsiteY10" fmla="*/ 861237 h 4492350"/>
                <a:gd name="connsiteX11" fmla="*/ 1222745 w 3694535"/>
                <a:gd name="connsiteY11" fmla="*/ 2062716 h 4492350"/>
                <a:gd name="connsiteX12" fmla="*/ 1714640 w 3694535"/>
                <a:gd name="connsiteY12" fmla="*/ 2194318 h 4492350"/>
                <a:gd name="connsiteX13" fmla="*/ 1956391 w 3694535"/>
                <a:gd name="connsiteY13" fmla="*/ 0 h 4492350"/>
                <a:gd name="connsiteX14" fmla="*/ 2027834 w 3694535"/>
                <a:gd name="connsiteY14" fmla="*/ 986216 h 4492350"/>
                <a:gd name="connsiteX15" fmla="*/ 1881963 w 3694535"/>
                <a:gd name="connsiteY15" fmla="*/ 2060385 h 4492350"/>
                <a:gd name="connsiteX16" fmla="*/ 2057494 w 3694535"/>
                <a:gd name="connsiteY16" fmla="*/ 3046321 h 4492350"/>
                <a:gd name="connsiteX17" fmla="*/ 2647507 w 3694535"/>
                <a:gd name="connsiteY17" fmla="*/ 2519916 h 4492350"/>
                <a:gd name="connsiteX18" fmla="*/ 2913694 w 3694535"/>
                <a:gd name="connsiteY18" fmla="*/ 1291762 h 4492350"/>
                <a:gd name="connsiteX19" fmla="*/ 2806809 w 3694535"/>
                <a:gd name="connsiteY19" fmla="*/ 2383091 h 4492350"/>
                <a:gd name="connsiteX20" fmla="*/ 3694535 w 3694535"/>
                <a:gd name="connsiteY20" fmla="*/ 1124252 h 4492350"/>
                <a:gd name="connsiteX21" fmla="*/ 2222205 w 3694535"/>
                <a:gd name="connsiteY21" fmla="*/ 3370521 h 4492350"/>
                <a:gd name="connsiteX22" fmla="*/ 2169042 w 3694535"/>
                <a:gd name="connsiteY22" fmla="*/ 3817088 h 4492350"/>
                <a:gd name="connsiteX23" fmla="*/ 3317358 w 3694535"/>
                <a:gd name="connsiteY23" fmla="*/ 3094074 h 4492350"/>
                <a:gd name="connsiteX24" fmla="*/ 2194317 w 3694535"/>
                <a:gd name="connsiteY24" fmla="*/ 4030951 h 4492350"/>
                <a:gd name="connsiteX25" fmla="*/ 2232838 w 3694535"/>
                <a:gd name="connsiteY25" fmla="*/ 4476307 h 4492350"/>
                <a:gd name="connsiteX26" fmla="*/ 2218194 w 3694535"/>
                <a:gd name="connsiteY26" fmla="*/ 4491415 h 4492350"/>
                <a:gd name="connsiteX27" fmla="*/ 1743740 w 3694535"/>
                <a:gd name="connsiteY27" fmla="*/ 4492350 h 4492350"/>
                <a:gd name="connsiteX0" fmla="*/ 1743740 w 3694535"/>
                <a:gd name="connsiteY0" fmla="*/ 4492350 h 4492350"/>
                <a:gd name="connsiteX1" fmla="*/ 1796903 w 3694535"/>
                <a:gd name="connsiteY1" fmla="*/ 3785190 h 4492350"/>
                <a:gd name="connsiteX2" fmla="*/ 1307805 w 3694535"/>
                <a:gd name="connsiteY2" fmla="*/ 3381153 h 4492350"/>
                <a:gd name="connsiteX3" fmla="*/ 31898 w 3694535"/>
                <a:gd name="connsiteY3" fmla="*/ 2945218 h 4492350"/>
                <a:gd name="connsiteX4" fmla="*/ 1127052 w 3694535"/>
                <a:gd name="connsiteY4" fmla="*/ 3242930 h 4492350"/>
                <a:gd name="connsiteX5" fmla="*/ 393405 w 3694535"/>
                <a:gd name="connsiteY5" fmla="*/ 2456121 h 4492350"/>
                <a:gd name="connsiteX6" fmla="*/ 1775638 w 3694535"/>
                <a:gd name="connsiteY6" fmla="*/ 3519376 h 4492350"/>
                <a:gd name="connsiteX7" fmla="*/ 1683956 w 3694535"/>
                <a:gd name="connsiteY7" fmla="*/ 2424409 h 4492350"/>
                <a:gd name="connsiteX8" fmla="*/ 0 w 3694535"/>
                <a:gd name="connsiteY8" fmla="*/ 754911 h 4492350"/>
                <a:gd name="connsiteX9" fmla="*/ 988828 w 3694535"/>
                <a:gd name="connsiteY9" fmla="*/ 1924493 h 4492350"/>
                <a:gd name="connsiteX10" fmla="*/ 1137684 w 3694535"/>
                <a:gd name="connsiteY10" fmla="*/ 861237 h 4492350"/>
                <a:gd name="connsiteX11" fmla="*/ 1222745 w 3694535"/>
                <a:gd name="connsiteY11" fmla="*/ 2062716 h 4492350"/>
                <a:gd name="connsiteX12" fmla="*/ 1714640 w 3694535"/>
                <a:gd name="connsiteY12" fmla="*/ 2194318 h 4492350"/>
                <a:gd name="connsiteX13" fmla="*/ 1956391 w 3694535"/>
                <a:gd name="connsiteY13" fmla="*/ 0 h 4492350"/>
                <a:gd name="connsiteX14" fmla="*/ 2027834 w 3694535"/>
                <a:gd name="connsiteY14" fmla="*/ 986216 h 4492350"/>
                <a:gd name="connsiteX15" fmla="*/ 1881963 w 3694535"/>
                <a:gd name="connsiteY15" fmla="*/ 2060385 h 4492350"/>
                <a:gd name="connsiteX16" fmla="*/ 2057494 w 3694535"/>
                <a:gd name="connsiteY16" fmla="*/ 3046321 h 4492350"/>
                <a:gd name="connsiteX17" fmla="*/ 2647507 w 3694535"/>
                <a:gd name="connsiteY17" fmla="*/ 2519916 h 4492350"/>
                <a:gd name="connsiteX18" fmla="*/ 2913694 w 3694535"/>
                <a:gd name="connsiteY18" fmla="*/ 1291762 h 4492350"/>
                <a:gd name="connsiteX19" fmla="*/ 2806809 w 3694535"/>
                <a:gd name="connsiteY19" fmla="*/ 2383091 h 4492350"/>
                <a:gd name="connsiteX20" fmla="*/ 3694535 w 3694535"/>
                <a:gd name="connsiteY20" fmla="*/ 1124252 h 4492350"/>
                <a:gd name="connsiteX21" fmla="*/ 2222205 w 3694535"/>
                <a:gd name="connsiteY21" fmla="*/ 3370521 h 4492350"/>
                <a:gd name="connsiteX22" fmla="*/ 2169042 w 3694535"/>
                <a:gd name="connsiteY22" fmla="*/ 3817088 h 4492350"/>
                <a:gd name="connsiteX23" fmla="*/ 3317358 w 3694535"/>
                <a:gd name="connsiteY23" fmla="*/ 3094074 h 4492350"/>
                <a:gd name="connsiteX24" fmla="*/ 2194317 w 3694535"/>
                <a:gd name="connsiteY24" fmla="*/ 4030951 h 4492350"/>
                <a:gd name="connsiteX25" fmla="*/ 2232838 w 3694535"/>
                <a:gd name="connsiteY25" fmla="*/ 4476307 h 4492350"/>
                <a:gd name="connsiteX26" fmla="*/ 2218194 w 3694535"/>
                <a:gd name="connsiteY26" fmla="*/ 4491415 h 4492350"/>
                <a:gd name="connsiteX27" fmla="*/ 1743740 w 3694535"/>
                <a:gd name="connsiteY27" fmla="*/ 4492350 h 4492350"/>
                <a:gd name="connsiteX0" fmla="*/ 1743740 w 3694535"/>
                <a:gd name="connsiteY0" fmla="*/ 4492350 h 4492350"/>
                <a:gd name="connsiteX1" fmla="*/ 1796903 w 3694535"/>
                <a:gd name="connsiteY1" fmla="*/ 3785190 h 4492350"/>
                <a:gd name="connsiteX2" fmla="*/ 1307805 w 3694535"/>
                <a:gd name="connsiteY2" fmla="*/ 3381153 h 4492350"/>
                <a:gd name="connsiteX3" fmla="*/ 31898 w 3694535"/>
                <a:gd name="connsiteY3" fmla="*/ 2945218 h 4492350"/>
                <a:gd name="connsiteX4" fmla="*/ 1127052 w 3694535"/>
                <a:gd name="connsiteY4" fmla="*/ 3242930 h 4492350"/>
                <a:gd name="connsiteX5" fmla="*/ 393405 w 3694535"/>
                <a:gd name="connsiteY5" fmla="*/ 2456121 h 4492350"/>
                <a:gd name="connsiteX6" fmla="*/ 1775638 w 3694535"/>
                <a:gd name="connsiteY6" fmla="*/ 3519376 h 4492350"/>
                <a:gd name="connsiteX7" fmla="*/ 1683956 w 3694535"/>
                <a:gd name="connsiteY7" fmla="*/ 2424409 h 4492350"/>
                <a:gd name="connsiteX8" fmla="*/ 0 w 3694535"/>
                <a:gd name="connsiteY8" fmla="*/ 754911 h 4492350"/>
                <a:gd name="connsiteX9" fmla="*/ 988828 w 3694535"/>
                <a:gd name="connsiteY9" fmla="*/ 1924493 h 4492350"/>
                <a:gd name="connsiteX10" fmla="*/ 1137684 w 3694535"/>
                <a:gd name="connsiteY10" fmla="*/ 861237 h 4492350"/>
                <a:gd name="connsiteX11" fmla="*/ 1222745 w 3694535"/>
                <a:gd name="connsiteY11" fmla="*/ 2062716 h 4492350"/>
                <a:gd name="connsiteX12" fmla="*/ 1714640 w 3694535"/>
                <a:gd name="connsiteY12" fmla="*/ 2194318 h 4492350"/>
                <a:gd name="connsiteX13" fmla="*/ 1956391 w 3694535"/>
                <a:gd name="connsiteY13" fmla="*/ 0 h 4492350"/>
                <a:gd name="connsiteX14" fmla="*/ 2027834 w 3694535"/>
                <a:gd name="connsiteY14" fmla="*/ 986216 h 4492350"/>
                <a:gd name="connsiteX15" fmla="*/ 1881963 w 3694535"/>
                <a:gd name="connsiteY15" fmla="*/ 2060385 h 4492350"/>
                <a:gd name="connsiteX16" fmla="*/ 2057494 w 3694535"/>
                <a:gd name="connsiteY16" fmla="*/ 3046321 h 4492350"/>
                <a:gd name="connsiteX17" fmla="*/ 2647507 w 3694535"/>
                <a:gd name="connsiteY17" fmla="*/ 2519916 h 4492350"/>
                <a:gd name="connsiteX18" fmla="*/ 2913694 w 3694535"/>
                <a:gd name="connsiteY18" fmla="*/ 1291762 h 4492350"/>
                <a:gd name="connsiteX19" fmla="*/ 2806809 w 3694535"/>
                <a:gd name="connsiteY19" fmla="*/ 2383091 h 4492350"/>
                <a:gd name="connsiteX20" fmla="*/ 3694535 w 3694535"/>
                <a:gd name="connsiteY20" fmla="*/ 1124252 h 4492350"/>
                <a:gd name="connsiteX21" fmla="*/ 2222205 w 3694535"/>
                <a:gd name="connsiteY21" fmla="*/ 3370521 h 4492350"/>
                <a:gd name="connsiteX22" fmla="*/ 2169042 w 3694535"/>
                <a:gd name="connsiteY22" fmla="*/ 3817088 h 4492350"/>
                <a:gd name="connsiteX23" fmla="*/ 3317358 w 3694535"/>
                <a:gd name="connsiteY23" fmla="*/ 3094074 h 4492350"/>
                <a:gd name="connsiteX24" fmla="*/ 2194317 w 3694535"/>
                <a:gd name="connsiteY24" fmla="*/ 4030951 h 4492350"/>
                <a:gd name="connsiteX25" fmla="*/ 2232838 w 3694535"/>
                <a:gd name="connsiteY25" fmla="*/ 4476307 h 4492350"/>
                <a:gd name="connsiteX26" fmla="*/ 2218194 w 3694535"/>
                <a:gd name="connsiteY26" fmla="*/ 4491415 h 4492350"/>
                <a:gd name="connsiteX27" fmla="*/ 1743740 w 3694535"/>
                <a:gd name="connsiteY27" fmla="*/ 4492350 h 4492350"/>
                <a:gd name="connsiteX0" fmla="*/ 1743740 w 3694535"/>
                <a:gd name="connsiteY0" fmla="*/ 4492350 h 4492350"/>
                <a:gd name="connsiteX1" fmla="*/ 1796903 w 3694535"/>
                <a:gd name="connsiteY1" fmla="*/ 3785190 h 4492350"/>
                <a:gd name="connsiteX2" fmla="*/ 1307805 w 3694535"/>
                <a:gd name="connsiteY2" fmla="*/ 3381153 h 4492350"/>
                <a:gd name="connsiteX3" fmla="*/ 31898 w 3694535"/>
                <a:gd name="connsiteY3" fmla="*/ 2945218 h 4492350"/>
                <a:gd name="connsiteX4" fmla="*/ 1127052 w 3694535"/>
                <a:gd name="connsiteY4" fmla="*/ 3242930 h 4492350"/>
                <a:gd name="connsiteX5" fmla="*/ 393405 w 3694535"/>
                <a:gd name="connsiteY5" fmla="*/ 2456121 h 4492350"/>
                <a:gd name="connsiteX6" fmla="*/ 1775638 w 3694535"/>
                <a:gd name="connsiteY6" fmla="*/ 3519376 h 4492350"/>
                <a:gd name="connsiteX7" fmla="*/ 1683956 w 3694535"/>
                <a:gd name="connsiteY7" fmla="*/ 2424409 h 4492350"/>
                <a:gd name="connsiteX8" fmla="*/ 0 w 3694535"/>
                <a:gd name="connsiteY8" fmla="*/ 754911 h 4492350"/>
                <a:gd name="connsiteX9" fmla="*/ 988828 w 3694535"/>
                <a:gd name="connsiteY9" fmla="*/ 1924493 h 4492350"/>
                <a:gd name="connsiteX10" fmla="*/ 1137684 w 3694535"/>
                <a:gd name="connsiteY10" fmla="*/ 861237 h 4492350"/>
                <a:gd name="connsiteX11" fmla="*/ 1222745 w 3694535"/>
                <a:gd name="connsiteY11" fmla="*/ 2062716 h 4492350"/>
                <a:gd name="connsiteX12" fmla="*/ 1714640 w 3694535"/>
                <a:gd name="connsiteY12" fmla="*/ 2194318 h 4492350"/>
                <a:gd name="connsiteX13" fmla="*/ 1956391 w 3694535"/>
                <a:gd name="connsiteY13" fmla="*/ 0 h 4492350"/>
                <a:gd name="connsiteX14" fmla="*/ 2027834 w 3694535"/>
                <a:gd name="connsiteY14" fmla="*/ 986216 h 4492350"/>
                <a:gd name="connsiteX15" fmla="*/ 1881963 w 3694535"/>
                <a:gd name="connsiteY15" fmla="*/ 2060385 h 4492350"/>
                <a:gd name="connsiteX16" fmla="*/ 2057494 w 3694535"/>
                <a:gd name="connsiteY16" fmla="*/ 3046321 h 4492350"/>
                <a:gd name="connsiteX17" fmla="*/ 2647507 w 3694535"/>
                <a:gd name="connsiteY17" fmla="*/ 2519916 h 4492350"/>
                <a:gd name="connsiteX18" fmla="*/ 2913694 w 3694535"/>
                <a:gd name="connsiteY18" fmla="*/ 1291762 h 4492350"/>
                <a:gd name="connsiteX19" fmla="*/ 2806809 w 3694535"/>
                <a:gd name="connsiteY19" fmla="*/ 2383091 h 4492350"/>
                <a:gd name="connsiteX20" fmla="*/ 3694535 w 3694535"/>
                <a:gd name="connsiteY20" fmla="*/ 1124252 h 4492350"/>
                <a:gd name="connsiteX21" fmla="*/ 2222205 w 3694535"/>
                <a:gd name="connsiteY21" fmla="*/ 3370521 h 4492350"/>
                <a:gd name="connsiteX22" fmla="*/ 2169042 w 3694535"/>
                <a:gd name="connsiteY22" fmla="*/ 3817088 h 4492350"/>
                <a:gd name="connsiteX23" fmla="*/ 3317358 w 3694535"/>
                <a:gd name="connsiteY23" fmla="*/ 3094074 h 4492350"/>
                <a:gd name="connsiteX24" fmla="*/ 2194317 w 3694535"/>
                <a:gd name="connsiteY24" fmla="*/ 4030951 h 4492350"/>
                <a:gd name="connsiteX25" fmla="*/ 2232838 w 3694535"/>
                <a:gd name="connsiteY25" fmla="*/ 4476307 h 4492350"/>
                <a:gd name="connsiteX26" fmla="*/ 2218194 w 3694535"/>
                <a:gd name="connsiteY26" fmla="*/ 4491415 h 4492350"/>
                <a:gd name="connsiteX27" fmla="*/ 1743740 w 3694535"/>
                <a:gd name="connsiteY27" fmla="*/ 4492350 h 4492350"/>
                <a:gd name="connsiteX0" fmla="*/ 1743740 w 3694535"/>
                <a:gd name="connsiteY0" fmla="*/ 4492350 h 4492350"/>
                <a:gd name="connsiteX1" fmla="*/ 1796903 w 3694535"/>
                <a:gd name="connsiteY1" fmla="*/ 3785190 h 4492350"/>
                <a:gd name="connsiteX2" fmla="*/ 1307805 w 3694535"/>
                <a:gd name="connsiteY2" fmla="*/ 3381153 h 4492350"/>
                <a:gd name="connsiteX3" fmla="*/ 31898 w 3694535"/>
                <a:gd name="connsiteY3" fmla="*/ 2945218 h 4492350"/>
                <a:gd name="connsiteX4" fmla="*/ 1127052 w 3694535"/>
                <a:gd name="connsiteY4" fmla="*/ 3242930 h 4492350"/>
                <a:gd name="connsiteX5" fmla="*/ 393405 w 3694535"/>
                <a:gd name="connsiteY5" fmla="*/ 2456121 h 4492350"/>
                <a:gd name="connsiteX6" fmla="*/ 1775638 w 3694535"/>
                <a:gd name="connsiteY6" fmla="*/ 3519376 h 4492350"/>
                <a:gd name="connsiteX7" fmla="*/ 1683956 w 3694535"/>
                <a:gd name="connsiteY7" fmla="*/ 2424409 h 4492350"/>
                <a:gd name="connsiteX8" fmla="*/ 0 w 3694535"/>
                <a:gd name="connsiteY8" fmla="*/ 754911 h 4492350"/>
                <a:gd name="connsiteX9" fmla="*/ 988828 w 3694535"/>
                <a:gd name="connsiteY9" fmla="*/ 1924493 h 4492350"/>
                <a:gd name="connsiteX10" fmla="*/ 1137684 w 3694535"/>
                <a:gd name="connsiteY10" fmla="*/ 861237 h 4492350"/>
                <a:gd name="connsiteX11" fmla="*/ 1222745 w 3694535"/>
                <a:gd name="connsiteY11" fmla="*/ 2062716 h 4492350"/>
                <a:gd name="connsiteX12" fmla="*/ 1714640 w 3694535"/>
                <a:gd name="connsiteY12" fmla="*/ 2194318 h 4492350"/>
                <a:gd name="connsiteX13" fmla="*/ 1956391 w 3694535"/>
                <a:gd name="connsiteY13" fmla="*/ 0 h 4492350"/>
                <a:gd name="connsiteX14" fmla="*/ 2027834 w 3694535"/>
                <a:gd name="connsiteY14" fmla="*/ 986216 h 4492350"/>
                <a:gd name="connsiteX15" fmla="*/ 1881963 w 3694535"/>
                <a:gd name="connsiteY15" fmla="*/ 2060385 h 4492350"/>
                <a:gd name="connsiteX16" fmla="*/ 2057494 w 3694535"/>
                <a:gd name="connsiteY16" fmla="*/ 3046321 h 4492350"/>
                <a:gd name="connsiteX17" fmla="*/ 2647507 w 3694535"/>
                <a:gd name="connsiteY17" fmla="*/ 2519916 h 4492350"/>
                <a:gd name="connsiteX18" fmla="*/ 2913694 w 3694535"/>
                <a:gd name="connsiteY18" fmla="*/ 1291762 h 4492350"/>
                <a:gd name="connsiteX19" fmla="*/ 2806809 w 3694535"/>
                <a:gd name="connsiteY19" fmla="*/ 2383091 h 4492350"/>
                <a:gd name="connsiteX20" fmla="*/ 3694535 w 3694535"/>
                <a:gd name="connsiteY20" fmla="*/ 1124252 h 4492350"/>
                <a:gd name="connsiteX21" fmla="*/ 2222205 w 3694535"/>
                <a:gd name="connsiteY21" fmla="*/ 3370521 h 4492350"/>
                <a:gd name="connsiteX22" fmla="*/ 2169042 w 3694535"/>
                <a:gd name="connsiteY22" fmla="*/ 3817088 h 4492350"/>
                <a:gd name="connsiteX23" fmla="*/ 3317358 w 3694535"/>
                <a:gd name="connsiteY23" fmla="*/ 3094074 h 4492350"/>
                <a:gd name="connsiteX24" fmla="*/ 2194317 w 3694535"/>
                <a:gd name="connsiteY24" fmla="*/ 4030951 h 4492350"/>
                <a:gd name="connsiteX25" fmla="*/ 2232838 w 3694535"/>
                <a:gd name="connsiteY25" fmla="*/ 4476307 h 4492350"/>
                <a:gd name="connsiteX26" fmla="*/ 2218194 w 3694535"/>
                <a:gd name="connsiteY26" fmla="*/ 4491415 h 4492350"/>
                <a:gd name="connsiteX27" fmla="*/ 1743740 w 3694535"/>
                <a:gd name="connsiteY27" fmla="*/ 4492350 h 4492350"/>
                <a:gd name="connsiteX0" fmla="*/ 1743740 w 3694535"/>
                <a:gd name="connsiteY0" fmla="*/ 4492350 h 4492350"/>
                <a:gd name="connsiteX1" fmla="*/ 1796903 w 3694535"/>
                <a:gd name="connsiteY1" fmla="*/ 3785190 h 4492350"/>
                <a:gd name="connsiteX2" fmla="*/ 1307805 w 3694535"/>
                <a:gd name="connsiteY2" fmla="*/ 3381153 h 4492350"/>
                <a:gd name="connsiteX3" fmla="*/ 31898 w 3694535"/>
                <a:gd name="connsiteY3" fmla="*/ 2945218 h 4492350"/>
                <a:gd name="connsiteX4" fmla="*/ 1127052 w 3694535"/>
                <a:gd name="connsiteY4" fmla="*/ 3242930 h 4492350"/>
                <a:gd name="connsiteX5" fmla="*/ 393405 w 3694535"/>
                <a:gd name="connsiteY5" fmla="*/ 2456121 h 4492350"/>
                <a:gd name="connsiteX6" fmla="*/ 1775638 w 3694535"/>
                <a:gd name="connsiteY6" fmla="*/ 3519376 h 4492350"/>
                <a:gd name="connsiteX7" fmla="*/ 1683956 w 3694535"/>
                <a:gd name="connsiteY7" fmla="*/ 2424409 h 4492350"/>
                <a:gd name="connsiteX8" fmla="*/ 0 w 3694535"/>
                <a:gd name="connsiteY8" fmla="*/ 754911 h 4492350"/>
                <a:gd name="connsiteX9" fmla="*/ 988828 w 3694535"/>
                <a:gd name="connsiteY9" fmla="*/ 1924493 h 4492350"/>
                <a:gd name="connsiteX10" fmla="*/ 1137684 w 3694535"/>
                <a:gd name="connsiteY10" fmla="*/ 861237 h 4492350"/>
                <a:gd name="connsiteX11" fmla="*/ 1194671 w 3694535"/>
                <a:gd name="connsiteY11" fmla="*/ 2026621 h 4492350"/>
                <a:gd name="connsiteX12" fmla="*/ 1714640 w 3694535"/>
                <a:gd name="connsiteY12" fmla="*/ 2194318 h 4492350"/>
                <a:gd name="connsiteX13" fmla="*/ 1956391 w 3694535"/>
                <a:gd name="connsiteY13" fmla="*/ 0 h 4492350"/>
                <a:gd name="connsiteX14" fmla="*/ 2027834 w 3694535"/>
                <a:gd name="connsiteY14" fmla="*/ 986216 h 4492350"/>
                <a:gd name="connsiteX15" fmla="*/ 1881963 w 3694535"/>
                <a:gd name="connsiteY15" fmla="*/ 2060385 h 4492350"/>
                <a:gd name="connsiteX16" fmla="*/ 2057494 w 3694535"/>
                <a:gd name="connsiteY16" fmla="*/ 3046321 h 4492350"/>
                <a:gd name="connsiteX17" fmla="*/ 2647507 w 3694535"/>
                <a:gd name="connsiteY17" fmla="*/ 2519916 h 4492350"/>
                <a:gd name="connsiteX18" fmla="*/ 2913694 w 3694535"/>
                <a:gd name="connsiteY18" fmla="*/ 1291762 h 4492350"/>
                <a:gd name="connsiteX19" fmla="*/ 2806809 w 3694535"/>
                <a:gd name="connsiteY19" fmla="*/ 2383091 h 4492350"/>
                <a:gd name="connsiteX20" fmla="*/ 3694535 w 3694535"/>
                <a:gd name="connsiteY20" fmla="*/ 1124252 h 4492350"/>
                <a:gd name="connsiteX21" fmla="*/ 2222205 w 3694535"/>
                <a:gd name="connsiteY21" fmla="*/ 3370521 h 4492350"/>
                <a:gd name="connsiteX22" fmla="*/ 2169042 w 3694535"/>
                <a:gd name="connsiteY22" fmla="*/ 3817088 h 4492350"/>
                <a:gd name="connsiteX23" fmla="*/ 3317358 w 3694535"/>
                <a:gd name="connsiteY23" fmla="*/ 3094074 h 4492350"/>
                <a:gd name="connsiteX24" fmla="*/ 2194317 w 3694535"/>
                <a:gd name="connsiteY24" fmla="*/ 4030951 h 4492350"/>
                <a:gd name="connsiteX25" fmla="*/ 2232838 w 3694535"/>
                <a:gd name="connsiteY25" fmla="*/ 4476307 h 4492350"/>
                <a:gd name="connsiteX26" fmla="*/ 2218194 w 3694535"/>
                <a:gd name="connsiteY26" fmla="*/ 4491415 h 4492350"/>
                <a:gd name="connsiteX27" fmla="*/ 1743740 w 3694535"/>
                <a:gd name="connsiteY27" fmla="*/ 4492350 h 4492350"/>
                <a:gd name="connsiteX0" fmla="*/ 1743740 w 3694535"/>
                <a:gd name="connsiteY0" fmla="*/ 4492350 h 4492350"/>
                <a:gd name="connsiteX1" fmla="*/ 1796903 w 3694535"/>
                <a:gd name="connsiteY1" fmla="*/ 3785190 h 4492350"/>
                <a:gd name="connsiteX2" fmla="*/ 1307805 w 3694535"/>
                <a:gd name="connsiteY2" fmla="*/ 3381153 h 4492350"/>
                <a:gd name="connsiteX3" fmla="*/ 31898 w 3694535"/>
                <a:gd name="connsiteY3" fmla="*/ 2945218 h 4492350"/>
                <a:gd name="connsiteX4" fmla="*/ 1127052 w 3694535"/>
                <a:gd name="connsiteY4" fmla="*/ 3242930 h 4492350"/>
                <a:gd name="connsiteX5" fmla="*/ 393405 w 3694535"/>
                <a:gd name="connsiteY5" fmla="*/ 2456121 h 4492350"/>
                <a:gd name="connsiteX6" fmla="*/ 1775638 w 3694535"/>
                <a:gd name="connsiteY6" fmla="*/ 3519376 h 4492350"/>
                <a:gd name="connsiteX7" fmla="*/ 1683956 w 3694535"/>
                <a:gd name="connsiteY7" fmla="*/ 2424409 h 4492350"/>
                <a:gd name="connsiteX8" fmla="*/ 0 w 3694535"/>
                <a:gd name="connsiteY8" fmla="*/ 754911 h 4492350"/>
                <a:gd name="connsiteX9" fmla="*/ 988828 w 3694535"/>
                <a:gd name="connsiteY9" fmla="*/ 1924493 h 4492350"/>
                <a:gd name="connsiteX10" fmla="*/ 1137684 w 3694535"/>
                <a:gd name="connsiteY10" fmla="*/ 861237 h 4492350"/>
                <a:gd name="connsiteX11" fmla="*/ 1194671 w 3694535"/>
                <a:gd name="connsiteY11" fmla="*/ 2026621 h 4492350"/>
                <a:gd name="connsiteX12" fmla="*/ 1714640 w 3694535"/>
                <a:gd name="connsiteY12" fmla="*/ 2194318 h 4492350"/>
                <a:gd name="connsiteX13" fmla="*/ 1956391 w 3694535"/>
                <a:gd name="connsiteY13" fmla="*/ 0 h 4492350"/>
                <a:gd name="connsiteX14" fmla="*/ 2027834 w 3694535"/>
                <a:gd name="connsiteY14" fmla="*/ 986216 h 4492350"/>
                <a:gd name="connsiteX15" fmla="*/ 1881963 w 3694535"/>
                <a:gd name="connsiteY15" fmla="*/ 2060385 h 4492350"/>
                <a:gd name="connsiteX16" fmla="*/ 2057494 w 3694535"/>
                <a:gd name="connsiteY16" fmla="*/ 3046321 h 4492350"/>
                <a:gd name="connsiteX17" fmla="*/ 2647507 w 3694535"/>
                <a:gd name="connsiteY17" fmla="*/ 2519916 h 4492350"/>
                <a:gd name="connsiteX18" fmla="*/ 2913694 w 3694535"/>
                <a:gd name="connsiteY18" fmla="*/ 1291762 h 4492350"/>
                <a:gd name="connsiteX19" fmla="*/ 2806809 w 3694535"/>
                <a:gd name="connsiteY19" fmla="*/ 2383091 h 4492350"/>
                <a:gd name="connsiteX20" fmla="*/ 3694535 w 3694535"/>
                <a:gd name="connsiteY20" fmla="*/ 1124252 h 4492350"/>
                <a:gd name="connsiteX21" fmla="*/ 2222205 w 3694535"/>
                <a:gd name="connsiteY21" fmla="*/ 3370521 h 4492350"/>
                <a:gd name="connsiteX22" fmla="*/ 2169042 w 3694535"/>
                <a:gd name="connsiteY22" fmla="*/ 3817088 h 4492350"/>
                <a:gd name="connsiteX23" fmla="*/ 3317358 w 3694535"/>
                <a:gd name="connsiteY23" fmla="*/ 3094074 h 4492350"/>
                <a:gd name="connsiteX24" fmla="*/ 2194317 w 3694535"/>
                <a:gd name="connsiteY24" fmla="*/ 4030951 h 4492350"/>
                <a:gd name="connsiteX25" fmla="*/ 2232838 w 3694535"/>
                <a:gd name="connsiteY25" fmla="*/ 4476307 h 4492350"/>
                <a:gd name="connsiteX26" fmla="*/ 2218194 w 3694535"/>
                <a:gd name="connsiteY26" fmla="*/ 4491415 h 4492350"/>
                <a:gd name="connsiteX27" fmla="*/ 1743740 w 3694535"/>
                <a:gd name="connsiteY27" fmla="*/ 4492350 h 4492350"/>
                <a:gd name="connsiteX0" fmla="*/ 1743740 w 3694535"/>
                <a:gd name="connsiteY0" fmla="*/ 4492350 h 4492350"/>
                <a:gd name="connsiteX1" fmla="*/ 1796903 w 3694535"/>
                <a:gd name="connsiteY1" fmla="*/ 3785190 h 4492350"/>
                <a:gd name="connsiteX2" fmla="*/ 1307805 w 3694535"/>
                <a:gd name="connsiteY2" fmla="*/ 3381153 h 4492350"/>
                <a:gd name="connsiteX3" fmla="*/ 31898 w 3694535"/>
                <a:gd name="connsiteY3" fmla="*/ 2945218 h 4492350"/>
                <a:gd name="connsiteX4" fmla="*/ 1127052 w 3694535"/>
                <a:gd name="connsiteY4" fmla="*/ 3242930 h 4492350"/>
                <a:gd name="connsiteX5" fmla="*/ 393405 w 3694535"/>
                <a:gd name="connsiteY5" fmla="*/ 2456121 h 4492350"/>
                <a:gd name="connsiteX6" fmla="*/ 1775638 w 3694535"/>
                <a:gd name="connsiteY6" fmla="*/ 3519376 h 4492350"/>
                <a:gd name="connsiteX7" fmla="*/ 1683956 w 3694535"/>
                <a:gd name="connsiteY7" fmla="*/ 2424409 h 4492350"/>
                <a:gd name="connsiteX8" fmla="*/ 0 w 3694535"/>
                <a:gd name="connsiteY8" fmla="*/ 754911 h 4492350"/>
                <a:gd name="connsiteX9" fmla="*/ 988828 w 3694535"/>
                <a:gd name="connsiteY9" fmla="*/ 1924493 h 4492350"/>
                <a:gd name="connsiteX10" fmla="*/ 1137684 w 3694535"/>
                <a:gd name="connsiteY10" fmla="*/ 861237 h 4492350"/>
                <a:gd name="connsiteX11" fmla="*/ 1194671 w 3694535"/>
                <a:gd name="connsiteY11" fmla="*/ 2026621 h 4492350"/>
                <a:gd name="connsiteX12" fmla="*/ 1714640 w 3694535"/>
                <a:gd name="connsiteY12" fmla="*/ 2194318 h 4492350"/>
                <a:gd name="connsiteX13" fmla="*/ 1956391 w 3694535"/>
                <a:gd name="connsiteY13" fmla="*/ 0 h 4492350"/>
                <a:gd name="connsiteX14" fmla="*/ 2027834 w 3694535"/>
                <a:gd name="connsiteY14" fmla="*/ 986216 h 4492350"/>
                <a:gd name="connsiteX15" fmla="*/ 1881963 w 3694535"/>
                <a:gd name="connsiteY15" fmla="*/ 2060385 h 4492350"/>
                <a:gd name="connsiteX16" fmla="*/ 2057494 w 3694535"/>
                <a:gd name="connsiteY16" fmla="*/ 3046321 h 4492350"/>
                <a:gd name="connsiteX17" fmla="*/ 2647507 w 3694535"/>
                <a:gd name="connsiteY17" fmla="*/ 2519916 h 4492350"/>
                <a:gd name="connsiteX18" fmla="*/ 2913694 w 3694535"/>
                <a:gd name="connsiteY18" fmla="*/ 1291762 h 4492350"/>
                <a:gd name="connsiteX19" fmla="*/ 2806809 w 3694535"/>
                <a:gd name="connsiteY19" fmla="*/ 2383091 h 4492350"/>
                <a:gd name="connsiteX20" fmla="*/ 3694535 w 3694535"/>
                <a:gd name="connsiteY20" fmla="*/ 1124252 h 4492350"/>
                <a:gd name="connsiteX21" fmla="*/ 2222205 w 3694535"/>
                <a:gd name="connsiteY21" fmla="*/ 3370521 h 4492350"/>
                <a:gd name="connsiteX22" fmla="*/ 2169042 w 3694535"/>
                <a:gd name="connsiteY22" fmla="*/ 3817088 h 4492350"/>
                <a:gd name="connsiteX23" fmla="*/ 3317358 w 3694535"/>
                <a:gd name="connsiteY23" fmla="*/ 3094074 h 4492350"/>
                <a:gd name="connsiteX24" fmla="*/ 2194317 w 3694535"/>
                <a:gd name="connsiteY24" fmla="*/ 4030951 h 4492350"/>
                <a:gd name="connsiteX25" fmla="*/ 2232838 w 3694535"/>
                <a:gd name="connsiteY25" fmla="*/ 4476307 h 4492350"/>
                <a:gd name="connsiteX26" fmla="*/ 2218194 w 3694535"/>
                <a:gd name="connsiteY26" fmla="*/ 4491415 h 4492350"/>
                <a:gd name="connsiteX27" fmla="*/ 1743740 w 3694535"/>
                <a:gd name="connsiteY27" fmla="*/ 4492350 h 4492350"/>
                <a:gd name="connsiteX0" fmla="*/ 1743740 w 3694535"/>
                <a:gd name="connsiteY0" fmla="*/ 4492350 h 4492350"/>
                <a:gd name="connsiteX1" fmla="*/ 1796903 w 3694535"/>
                <a:gd name="connsiteY1" fmla="*/ 3785190 h 4492350"/>
                <a:gd name="connsiteX2" fmla="*/ 1307805 w 3694535"/>
                <a:gd name="connsiteY2" fmla="*/ 3381153 h 4492350"/>
                <a:gd name="connsiteX3" fmla="*/ 31898 w 3694535"/>
                <a:gd name="connsiteY3" fmla="*/ 2945218 h 4492350"/>
                <a:gd name="connsiteX4" fmla="*/ 1127052 w 3694535"/>
                <a:gd name="connsiteY4" fmla="*/ 3242930 h 4492350"/>
                <a:gd name="connsiteX5" fmla="*/ 393405 w 3694535"/>
                <a:gd name="connsiteY5" fmla="*/ 2456121 h 4492350"/>
                <a:gd name="connsiteX6" fmla="*/ 1775638 w 3694535"/>
                <a:gd name="connsiteY6" fmla="*/ 3519376 h 4492350"/>
                <a:gd name="connsiteX7" fmla="*/ 1683956 w 3694535"/>
                <a:gd name="connsiteY7" fmla="*/ 2424409 h 4492350"/>
                <a:gd name="connsiteX8" fmla="*/ 0 w 3694535"/>
                <a:gd name="connsiteY8" fmla="*/ 754911 h 4492350"/>
                <a:gd name="connsiteX9" fmla="*/ 988828 w 3694535"/>
                <a:gd name="connsiteY9" fmla="*/ 1924493 h 4492350"/>
                <a:gd name="connsiteX10" fmla="*/ 1113621 w 3694535"/>
                <a:gd name="connsiteY10" fmla="*/ 861237 h 4492350"/>
                <a:gd name="connsiteX11" fmla="*/ 1194671 w 3694535"/>
                <a:gd name="connsiteY11" fmla="*/ 2026621 h 4492350"/>
                <a:gd name="connsiteX12" fmla="*/ 1714640 w 3694535"/>
                <a:gd name="connsiteY12" fmla="*/ 2194318 h 4492350"/>
                <a:gd name="connsiteX13" fmla="*/ 1956391 w 3694535"/>
                <a:gd name="connsiteY13" fmla="*/ 0 h 4492350"/>
                <a:gd name="connsiteX14" fmla="*/ 2027834 w 3694535"/>
                <a:gd name="connsiteY14" fmla="*/ 986216 h 4492350"/>
                <a:gd name="connsiteX15" fmla="*/ 1881963 w 3694535"/>
                <a:gd name="connsiteY15" fmla="*/ 2060385 h 4492350"/>
                <a:gd name="connsiteX16" fmla="*/ 2057494 w 3694535"/>
                <a:gd name="connsiteY16" fmla="*/ 3046321 h 4492350"/>
                <a:gd name="connsiteX17" fmla="*/ 2647507 w 3694535"/>
                <a:gd name="connsiteY17" fmla="*/ 2519916 h 4492350"/>
                <a:gd name="connsiteX18" fmla="*/ 2913694 w 3694535"/>
                <a:gd name="connsiteY18" fmla="*/ 1291762 h 4492350"/>
                <a:gd name="connsiteX19" fmla="*/ 2806809 w 3694535"/>
                <a:gd name="connsiteY19" fmla="*/ 2383091 h 4492350"/>
                <a:gd name="connsiteX20" fmla="*/ 3694535 w 3694535"/>
                <a:gd name="connsiteY20" fmla="*/ 1124252 h 4492350"/>
                <a:gd name="connsiteX21" fmla="*/ 2222205 w 3694535"/>
                <a:gd name="connsiteY21" fmla="*/ 3370521 h 4492350"/>
                <a:gd name="connsiteX22" fmla="*/ 2169042 w 3694535"/>
                <a:gd name="connsiteY22" fmla="*/ 3817088 h 4492350"/>
                <a:gd name="connsiteX23" fmla="*/ 3317358 w 3694535"/>
                <a:gd name="connsiteY23" fmla="*/ 3094074 h 4492350"/>
                <a:gd name="connsiteX24" fmla="*/ 2194317 w 3694535"/>
                <a:gd name="connsiteY24" fmla="*/ 4030951 h 4492350"/>
                <a:gd name="connsiteX25" fmla="*/ 2232838 w 3694535"/>
                <a:gd name="connsiteY25" fmla="*/ 4476307 h 4492350"/>
                <a:gd name="connsiteX26" fmla="*/ 2218194 w 3694535"/>
                <a:gd name="connsiteY26" fmla="*/ 4491415 h 4492350"/>
                <a:gd name="connsiteX27" fmla="*/ 1743740 w 3694535"/>
                <a:gd name="connsiteY27" fmla="*/ 4492350 h 4492350"/>
                <a:gd name="connsiteX0" fmla="*/ 1743740 w 3694535"/>
                <a:gd name="connsiteY0" fmla="*/ 4492350 h 4492350"/>
                <a:gd name="connsiteX1" fmla="*/ 1796903 w 3694535"/>
                <a:gd name="connsiteY1" fmla="*/ 3785190 h 4492350"/>
                <a:gd name="connsiteX2" fmla="*/ 1307805 w 3694535"/>
                <a:gd name="connsiteY2" fmla="*/ 3381153 h 4492350"/>
                <a:gd name="connsiteX3" fmla="*/ 31898 w 3694535"/>
                <a:gd name="connsiteY3" fmla="*/ 2945218 h 4492350"/>
                <a:gd name="connsiteX4" fmla="*/ 1127052 w 3694535"/>
                <a:gd name="connsiteY4" fmla="*/ 3242930 h 4492350"/>
                <a:gd name="connsiteX5" fmla="*/ 393405 w 3694535"/>
                <a:gd name="connsiteY5" fmla="*/ 2456121 h 4492350"/>
                <a:gd name="connsiteX6" fmla="*/ 1775638 w 3694535"/>
                <a:gd name="connsiteY6" fmla="*/ 3519376 h 4492350"/>
                <a:gd name="connsiteX7" fmla="*/ 1683956 w 3694535"/>
                <a:gd name="connsiteY7" fmla="*/ 2424409 h 4492350"/>
                <a:gd name="connsiteX8" fmla="*/ 0 w 3694535"/>
                <a:gd name="connsiteY8" fmla="*/ 754911 h 4492350"/>
                <a:gd name="connsiteX9" fmla="*/ 988828 w 3694535"/>
                <a:gd name="connsiteY9" fmla="*/ 1924493 h 4492350"/>
                <a:gd name="connsiteX10" fmla="*/ 1113621 w 3694535"/>
                <a:gd name="connsiteY10" fmla="*/ 861237 h 4492350"/>
                <a:gd name="connsiteX11" fmla="*/ 1194671 w 3694535"/>
                <a:gd name="connsiteY11" fmla="*/ 2026621 h 4492350"/>
                <a:gd name="connsiteX12" fmla="*/ 1714640 w 3694535"/>
                <a:gd name="connsiteY12" fmla="*/ 2194318 h 4492350"/>
                <a:gd name="connsiteX13" fmla="*/ 1956391 w 3694535"/>
                <a:gd name="connsiteY13" fmla="*/ 0 h 4492350"/>
                <a:gd name="connsiteX14" fmla="*/ 2027834 w 3694535"/>
                <a:gd name="connsiteY14" fmla="*/ 986216 h 4492350"/>
                <a:gd name="connsiteX15" fmla="*/ 1881963 w 3694535"/>
                <a:gd name="connsiteY15" fmla="*/ 2060385 h 4492350"/>
                <a:gd name="connsiteX16" fmla="*/ 2057494 w 3694535"/>
                <a:gd name="connsiteY16" fmla="*/ 3046321 h 4492350"/>
                <a:gd name="connsiteX17" fmla="*/ 2647507 w 3694535"/>
                <a:gd name="connsiteY17" fmla="*/ 2519916 h 4492350"/>
                <a:gd name="connsiteX18" fmla="*/ 2913694 w 3694535"/>
                <a:gd name="connsiteY18" fmla="*/ 1291762 h 4492350"/>
                <a:gd name="connsiteX19" fmla="*/ 2806809 w 3694535"/>
                <a:gd name="connsiteY19" fmla="*/ 2383091 h 4492350"/>
                <a:gd name="connsiteX20" fmla="*/ 3694535 w 3694535"/>
                <a:gd name="connsiteY20" fmla="*/ 1124252 h 4492350"/>
                <a:gd name="connsiteX21" fmla="*/ 2222205 w 3694535"/>
                <a:gd name="connsiteY21" fmla="*/ 3370521 h 4492350"/>
                <a:gd name="connsiteX22" fmla="*/ 2169042 w 3694535"/>
                <a:gd name="connsiteY22" fmla="*/ 3817088 h 4492350"/>
                <a:gd name="connsiteX23" fmla="*/ 3317358 w 3694535"/>
                <a:gd name="connsiteY23" fmla="*/ 3094074 h 4492350"/>
                <a:gd name="connsiteX24" fmla="*/ 2194317 w 3694535"/>
                <a:gd name="connsiteY24" fmla="*/ 4030951 h 4492350"/>
                <a:gd name="connsiteX25" fmla="*/ 2232838 w 3694535"/>
                <a:gd name="connsiteY25" fmla="*/ 4476307 h 4492350"/>
                <a:gd name="connsiteX26" fmla="*/ 2218194 w 3694535"/>
                <a:gd name="connsiteY26" fmla="*/ 4491415 h 4492350"/>
                <a:gd name="connsiteX27" fmla="*/ 1743740 w 3694535"/>
                <a:gd name="connsiteY27" fmla="*/ 4492350 h 4492350"/>
                <a:gd name="connsiteX0" fmla="*/ 1743740 w 3694535"/>
                <a:gd name="connsiteY0" fmla="*/ 4492350 h 4492350"/>
                <a:gd name="connsiteX1" fmla="*/ 1796903 w 3694535"/>
                <a:gd name="connsiteY1" fmla="*/ 3785190 h 4492350"/>
                <a:gd name="connsiteX2" fmla="*/ 1307805 w 3694535"/>
                <a:gd name="connsiteY2" fmla="*/ 3381153 h 4492350"/>
                <a:gd name="connsiteX3" fmla="*/ 31898 w 3694535"/>
                <a:gd name="connsiteY3" fmla="*/ 2945218 h 4492350"/>
                <a:gd name="connsiteX4" fmla="*/ 1127052 w 3694535"/>
                <a:gd name="connsiteY4" fmla="*/ 3242930 h 4492350"/>
                <a:gd name="connsiteX5" fmla="*/ 393405 w 3694535"/>
                <a:gd name="connsiteY5" fmla="*/ 2456121 h 4492350"/>
                <a:gd name="connsiteX6" fmla="*/ 1775638 w 3694535"/>
                <a:gd name="connsiteY6" fmla="*/ 3519376 h 4492350"/>
                <a:gd name="connsiteX7" fmla="*/ 1683956 w 3694535"/>
                <a:gd name="connsiteY7" fmla="*/ 2424409 h 4492350"/>
                <a:gd name="connsiteX8" fmla="*/ 0 w 3694535"/>
                <a:gd name="connsiteY8" fmla="*/ 754911 h 4492350"/>
                <a:gd name="connsiteX9" fmla="*/ 988828 w 3694535"/>
                <a:gd name="connsiteY9" fmla="*/ 1924493 h 4492350"/>
                <a:gd name="connsiteX10" fmla="*/ 1113621 w 3694535"/>
                <a:gd name="connsiteY10" fmla="*/ 861237 h 4492350"/>
                <a:gd name="connsiteX11" fmla="*/ 1194671 w 3694535"/>
                <a:gd name="connsiteY11" fmla="*/ 2026621 h 4492350"/>
                <a:gd name="connsiteX12" fmla="*/ 1714640 w 3694535"/>
                <a:gd name="connsiteY12" fmla="*/ 2194318 h 4492350"/>
                <a:gd name="connsiteX13" fmla="*/ 1956391 w 3694535"/>
                <a:gd name="connsiteY13" fmla="*/ 0 h 4492350"/>
                <a:gd name="connsiteX14" fmla="*/ 2027834 w 3694535"/>
                <a:gd name="connsiteY14" fmla="*/ 986216 h 4492350"/>
                <a:gd name="connsiteX15" fmla="*/ 1881963 w 3694535"/>
                <a:gd name="connsiteY15" fmla="*/ 2060385 h 4492350"/>
                <a:gd name="connsiteX16" fmla="*/ 2057494 w 3694535"/>
                <a:gd name="connsiteY16" fmla="*/ 3046321 h 4492350"/>
                <a:gd name="connsiteX17" fmla="*/ 2647507 w 3694535"/>
                <a:gd name="connsiteY17" fmla="*/ 2519916 h 4492350"/>
                <a:gd name="connsiteX18" fmla="*/ 2913694 w 3694535"/>
                <a:gd name="connsiteY18" fmla="*/ 1291762 h 4492350"/>
                <a:gd name="connsiteX19" fmla="*/ 2806809 w 3694535"/>
                <a:gd name="connsiteY19" fmla="*/ 2383091 h 4492350"/>
                <a:gd name="connsiteX20" fmla="*/ 3694535 w 3694535"/>
                <a:gd name="connsiteY20" fmla="*/ 1124252 h 4492350"/>
                <a:gd name="connsiteX21" fmla="*/ 2222205 w 3694535"/>
                <a:gd name="connsiteY21" fmla="*/ 3370521 h 4492350"/>
                <a:gd name="connsiteX22" fmla="*/ 2169042 w 3694535"/>
                <a:gd name="connsiteY22" fmla="*/ 3817088 h 4492350"/>
                <a:gd name="connsiteX23" fmla="*/ 3317358 w 3694535"/>
                <a:gd name="connsiteY23" fmla="*/ 3094074 h 4492350"/>
                <a:gd name="connsiteX24" fmla="*/ 2194317 w 3694535"/>
                <a:gd name="connsiteY24" fmla="*/ 4030951 h 4492350"/>
                <a:gd name="connsiteX25" fmla="*/ 2232838 w 3694535"/>
                <a:gd name="connsiteY25" fmla="*/ 4476307 h 4492350"/>
                <a:gd name="connsiteX26" fmla="*/ 2218194 w 3694535"/>
                <a:gd name="connsiteY26" fmla="*/ 4491415 h 4492350"/>
                <a:gd name="connsiteX27" fmla="*/ 1743740 w 3694535"/>
                <a:gd name="connsiteY27" fmla="*/ 4492350 h 4492350"/>
                <a:gd name="connsiteX0" fmla="*/ 1743740 w 3694535"/>
                <a:gd name="connsiteY0" fmla="*/ 4492350 h 4492350"/>
                <a:gd name="connsiteX1" fmla="*/ 1796903 w 3694535"/>
                <a:gd name="connsiteY1" fmla="*/ 3785190 h 4492350"/>
                <a:gd name="connsiteX2" fmla="*/ 1307805 w 3694535"/>
                <a:gd name="connsiteY2" fmla="*/ 3381153 h 4492350"/>
                <a:gd name="connsiteX3" fmla="*/ 31898 w 3694535"/>
                <a:gd name="connsiteY3" fmla="*/ 2945218 h 4492350"/>
                <a:gd name="connsiteX4" fmla="*/ 1127052 w 3694535"/>
                <a:gd name="connsiteY4" fmla="*/ 3242930 h 4492350"/>
                <a:gd name="connsiteX5" fmla="*/ 393405 w 3694535"/>
                <a:gd name="connsiteY5" fmla="*/ 2456121 h 4492350"/>
                <a:gd name="connsiteX6" fmla="*/ 1775638 w 3694535"/>
                <a:gd name="connsiteY6" fmla="*/ 3519376 h 4492350"/>
                <a:gd name="connsiteX7" fmla="*/ 1683956 w 3694535"/>
                <a:gd name="connsiteY7" fmla="*/ 2424409 h 4492350"/>
                <a:gd name="connsiteX8" fmla="*/ 0 w 3694535"/>
                <a:gd name="connsiteY8" fmla="*/ 754911 h 4492350"/>
                <a:gd name="connsiteX9" fmla="*/ 988828 w 3694535"/>
                <a:gd name="connsiteY9" fmla="*/ 1924493 h 4492350"/>
                <a:gd name="connsiteX10" fmla="*/ 1093568 w 3694535"/>
                <a:gd name="connsiteY10" fmla="*/ 857226 h 4492350"/>
                <a:gd name="connsiteX11" fmla="*/ 1194671 w 3694535"/>
                <a:gd name="connsiteY11" fmla="*/ 2026621 h 4492350"/>
                <a:gd name="connsiteX12" fmla="*/ 1714640 w 3694535"/>
                <a:gd name="connsiteY12" fmla="*/ 2194318 h 4492350"/>
                <a:gd name="connsiteX13" fmla="*/ 1956391 w 3694535"/>
                <a:gd name="connsiteY13" fmla="*/ 0 h 4492350"/>
                <a:gd name="connsiteX14" fmla="*/ 2027834 w 3694535"/>
                <a:gd name="connsiteY14" fmla="*/ 986216 h 4492350"/>
                <a:gd name="connsiteX15" fmla="*/ 1881963 w 3694535"/>
                <a:gd name="connsiteY15" fmla="*/ 2060385 h 4492350"/>
                <a:gd name="connsiteX16" fmla="*/ 2057494 w 3694535"/>
                <a:gd name="connsiteY16" fmla="*/ 3046321 h 4492350"/>
                <a:gd name="connsiteX17" fmla="*/ 2647507 w 3694535"/>
                <a:gd name="connsiteY17" fmla="*/ 2519916 h 4492350"/>
                <a:gd name="connsiteX18" fmla="*/ 2913694 w 3694535"/>
                <a:gd name="connsiteY18" fmla="*/ 1291762 h 4492350"/>
                <a:gd name="connsiteX19" fmla="*/ 2806809 w 3694535"/>
                <a:gd name="connsiteY19" fmla="*/ 2383091 h 4492350"/>
                <a:gd name="connsiteX20" fmla="*/ 3694535 w 3694535"/>
                <a:gd name="connsiteY20" fmla="*/ 1124252 h 4492350"/>
                <a:gd name="connsiteX21" fmla="*/ 2222205 w 3694535"/>
                <a:gd name="connsiteY21" fmla="*/ 3370521 h 4492350"/>
                <a:gd name="connsiteX22" fmla="*/ 2169042 w 3694535"/>
                <a:gd name="connsiteY22" fmla="*/ 3817088 h 4492350"/>
                <a:gd name="connsiteX23" fmla="*/ 3317358 w 3694535"/>
                <a:gd name="connsiteY23" fmla="*/ 3094074 h 4492350"/>
                <a:gd name="connsiteX24" fmla="*/ 2194317 w 3694535"/>
                <a:gd name="connsiteY24" fmla="*/ 4030951 h 4492350"/>
                <a:gd name="connsiteX25" fmla="*/ 2232838 w 3694535"/>
                <a:gd name="connsiteY25" fmla="*/ 4476307 h 4492350"/>
                <a:gd name="connsiteX26" fmla="*/ 2218194 w 3694535"/>
                <a:gd name="connsiteY26" fmla="*/ 4491415 h 4492350"/>
                <a:gd name="connsiteX27" fmla="*/ 1743740 w 3694535"/>
                <a:gd name="connsiteY27" fmla="*/ 4492350 h 4492350"/>
                <a:gd name="connsiteX0" fmla="*/ 1743740 w 3694535"/>
                <a:gd name="connsiteY0" fmla="*/ 4492350 h 4492350"/>
                <a:gd name="connsiteX1" fmla="*/ 1796903 w 3694535"/>
                <a:gd name="connsiteY1" fmla="*/ 3785190 h 4492350"/>
                <a:gd name="connsiteX2" fmla="*/ 1307805 w 3694535"/>
                <a:gd name="connsiteY2" fmla="*/ 3381153 h 4492350"/>
                <a:gd name="connsiteX3" fmla="*/ 31898 w 3694535"/>
                <a:gd name="connsiteY3" fmla="*/ 2945218 h 4492350"/>
                <a:gd name="connsiteX4" fmla="*/ 1127052 w 3694535"/>
                <a:gd name="connsiteY4" fmla="*/ 3242930 h 4492350"/>
                <a:gd name="connsiteX5" fmla="*/ 393405 w 3694535"/>
                <a:gd name="connsiteY5" fmla="*/ 2456121 h 4492350"/>
                <a:gd name="connsiteX6" fmla="*/ 1775638 w 3694535"/>
                <a:gd name="connsiteY6" fmla="*/ 3519376 h 4492350"/>
                <a:gd name="connsiteX7" fmla="*/ 1683956 w 3694535"/>
                <a:gd name="connsiteY7" fmla="*/ 2424409 h 4492350"/>
                <a:gd name="connsiteX8" fmla="*/ 0 w 3694535"/>
                <a:gd name="connsiteY8" fmla="*/ 754911 h 4492350"/>
                <a:gd name="connsiteX9" fmla="*/ 988828 w 3694535"/>
                <a:gd name="connsiteY9" fmla="*/ 1924493 h 4492350"/>
                <a:gd name="connsiteX10" fmla="*/ 1093568 w 3694535"/>
                <a:gd name="connsiteY10" fmla="*/ 857226 h 4492350"/>
                <a:gd name="connsiteX11" fmla="*/ 1194671 w 3694535"/>
                <a:gd name="connsiteY11" fmla="*/ 2026621 h 4492350"/>
                <a:gd name="connsiteX12" fmla="*/ 1714640 w 3694535"/>
                <a:gd name="connsiteY12" fmla="*/ 2194318 h 4492350"/>
                <a:gd name="connsiteX13" fmla="*/ 1956391 w 3694535"/>
                <a:gd name="connsiteY13" fmla="*/ 0 h 4492350"/>
                <a:gd name="connsiteX14" fmla="*/ 2027834 w 3694535"/>
                <a:gd name="connsiteY14" fmla="*/ 986216 h 4492350"/>
                <a:gd name="connsiteX15" fmla="*/ 1881963 w 3694535"/>
                <a:gd name="connsiteY15" fmla="*/ 2060385 h 4492350"/>
                <a:gd name="connsiteX16" fmla="*/ 2057494 w 3694535"/>
                <a:gd name="connsiteY16" fmla="*/ 3046321 h 4492350"/>
                <a:gd name="connsiteX17" fmla="*/ 2647507 w 3694535"/>
                <a:gd name="connsiteY17" fmla="*/ 2519916 h 4492350"/>
                <a:gd name="connsiteX18" fmla="*/ 2913694 w 3694535"/>
                <a:gd name="connsiteY18" fmla="*/ 1291762 h 4492350"/>
                <a:gd name="connsiteX19" fmla="*/ 2806809 w 3694535"/>
                <a:gd name="connsiteY19" fmla="*/ 2383091 h 4492350"/>
                <a:gd name="connsiteX20" fmla="*/ 3694535 w 3694535"/>
                <a:gd name="connsiteY20" fmla="*/ 1124252 h 4492350"/>
                <a:gd name="connsiteX21" fmla="*/ 2222205 w 3694535"/>
                <a:gd name="connsiteY21" fmla="*/ 3370521 h 4492350"/>
                <a:gd name="connsiteX22" fmla="*/ 2169042 w 3694535"/>
                <a:gd name="connsiteY22" fmla="*/ 3817088 h 4492350"/>
                <a:gd name="connsiteX23" fmla="*/ 3317358 w 3694535"/>
                <a:gd name="connsiteY23" fmla="*/ 3094074 h 4492350"/>
                <a:gd name="connsiteX24" fmla="*/ 2194317 w 3694535"/>
                <a:gd name="connsiteY24" fmla="*/ 4030951 h 4492350"/>
                <a:gd name="connsiteX25" fmla="*/ 2232838 w 3694535"/>
                <a:gd name="connsiteY25" fmla="*/ 4476307 h 4492350"/>
                <a:gd name="connsiteX26" fmla="*/ 2218194 w 3694535"/>
                <a:gd name="connsiteY26" fmla="*/ 4491415 h 4492350"/>
                <a:gd name="connsiteX27" fmla="*/ 1743740 w 3694535"/>
                <a:gd name="connsiteY27" fmla="*/ 4492350 h 4492350"/>
                <a:gd name="connsiteX0" fmla="*/ 1711842 w 3662637"/>
                <a:gd name="connsiteY0" fmla="*/ 4492350 h 4492350"/>
                <a:gd name="connsiteX1" fmla="*/ 1765005 w 3662637"/>
                <a:gd name="connsiteY1" fmla="*/ 3785190 h 4492350"/>
                <a:gd name="connsiteX2" fmla="*/ 1275907 w 3662637"/>
                <a:gd name="connsiteY2" fmla="*/ 3381153 h 4492350"/>
                <a:gd name="connsiteX3" fmla="*/ 0 w 3662637"/>
                <a:gd name="connsiteY3" fmla="*/ 2945218 h 4492350"/>
                <a:gd name="connsiteX4" fmla="*/ 1095154 w 3662637"/>
                <a:gd name="connsiteY4" fmla="*/ 3242930 h 4492350"/>
                <a:gd name="connsiteX5" fmla="*/ 361507 w 3662637"/>
                <a:gd name="connsiteY5" fmla="*/ 2456121 h 4492350"/>
                <a:gd name="connsiteX6" fmla="*/ 1743740 w 3662637"/>
                <a:gd name="connsiteY6" fmla="*/ 3519376 h 4492350"/>
                <a:gd name="connsiteX7" fmla="*/ 1652058 w 3662637"/>
                <a:gd name="connsiteY7" fmla="*/ 2424409 h 4492350"/>
                <a:gd name="connsiteX8" fmla="*/ 8208 w 3662637"/>
                <a:gd name="connsiteY8" fmla="*/ 750901 h 4492350"/>
                <a:gd name="connsiteX9" fmla="*/ 956930 w 3662637"/>
                <a:gd name="connsiteY9" fmla="*/ 1924493 h 4492350"/>
                <a:gd name="connsiteX10" fmla="*/ 1061670 w 3662637"/>
                <a:gd name="connsiteY10" fmla="*/ 857226 h 4492350"/>
                <a:gd name="connsiteX11" fmla="*/ 1162773 w 3662637"/>
                <a:gd name="connsiteY11" fmla="*/ 2026621 h 4492350"/>
                <a:gd name="connsiteX12" fmla="*/ 1682742 w 3662637"/>
                <a:gd name="connsiteY12" fmla="*/ 2194318 h 4492350"/>
                <a:gd name="connsiteX13" fmla="*/ 1924493 w 3662637"/>
                <a:gd name="connsiteY13" fmla="*/ 0 h 4492350"/>
                <a:gd name="connsiteX14" fmla="*/ 1995936 w 3662637"/>
                <a:gd name="connsiteY14" fmla="*/ 986216 h 4492350"/>
                <a:gd name="connsiteX15" fmla="*/ 1850065 w 3662637"/>
                <a:gd name="connsiteY15" fmla="*/ 2060385 h 4492350"/>
                <a:gd name="connsiteX16" fmla="*/ 2025596 w 3662637"/>
                <a:gd name="connsiteY16" fmla="*/ 3046321 h 4492350"/>
                <a:gd name="connsiteX17" fmla="*/ 2615609 w 3662637"/>
                <a:gd name="connsiteY17" fmla="*/ 2519916 h 4492350"/>
                <a:gd name="connsiteX18" fmla="*/ 2881796 w 3662637"/>
                <a:gd name="connsiteY18" fmla="*/ 1291762 h 4492350"/>
                <a:gd name="connsiteX19" fmla="*/ 2774911 w 3662637"/>
                <a:gd name="connsiteY19" fmla="*/ 2383091 h 4492350"/>
                <a:gd name="connsiteX20" fmla="*/ 3662637 w 3662637"/>
                <a:gd name="connsiteY20" fmla="*/ 1124252 h 4492350"/>
                <a:gd name="connsiteX21" fmla="*/ 2190307 w 3662637"/>
                <a:gd name="connsiteY21" fmla="*/ 3370521 h 4492350"/>
                <a:gd name="connsiteX22" fmla="*/ 2137144 w 3662637"/>
                <a:gd name="connsiteY22" fmla="*/ 3817088 h 4492350"/>
                <a:gd name="connsiteX23" fmla="*/ 3285460 w 3662637"/>
                <a:gd name="connsiteY23" fmla="*/ 3094074 h 4492350"/>
                <a:gd name="connsiteX24" fmla="*/ 2162419 w 3662637"/>
                <a:gd name="connsiteY24" fmla="*/ 4030951 h 4492350"/>
                <a:gd name="connsiteX25" fmla="*/ 2200940 w 3662637"/>
                <a:gd name="connsiteY25" fmla="*/ 4476307 h 4492350"/>
                <a:gd name="connsiteX26" fmla="*/ 2186296 w 3662637"/>
                <a:gd name="connsiteY26" fmla="*/ 4491415 h 4492350"/>
                <a:gd name="connsiteX27" fmla="*/ 1711842 w 3662637"/>
                <a:gd name="connsiteY27" fmla="*/ 4492350 h 4492350"/>
                <a:gd name="connsiteX0" fmla="*/ 1711842 w 3662637"/>
                <a:gd name="connsiteY0" fmla="*/ 4492350 h 4492350"/>
                <a:gd name="connsiteX1" fmla="*/ 1765005 w 3662637"/>
                <a:gd name="connsiteY1" fmla="*/ 3785190 h 4492350"/>
                <a:gd name="connsiteX2" fmla="*/ 1275907 w 3662637"/>
                <a:gd name="connsiteY2" fmla="*/ 3381153 h 4492350"/>
                <a:gd name="connsiteX3" fmla="*/ 0 w 3662637"/>
                <a:gd name="connsiteY3" fmla="*/ 2945218 h 4492350"/>
                <a:gd name="connsiteX4" fmla="*/ 1095154 w 3662637"/>
                <a:gd name="connsiteY4" fmla="*/ 3242930 h 4492350"/>
                <a:gd name="connsiteX5" fmla="*/ 361507 w 3662637"/>
                <a:gd name="connsiteY5" fmla="*/ 2456121 h 4492350"/>
                <a:gd name="connsiteX6" fmla="*/ 1743740 w 3662637"/>
                <a:gd name="connsiteY6" fmla="*/ 3519376 h 4492350"/>
                <a:gd name="connsiteX7" fmla="*/ 1652058 w 3662637"/>
                <a:gd name="connsiteY7" fmla="*/ 2424409 h 4492350"/>
                <a:gd name="connsiteX8" fmla="*/ 8208 w 3662637"/>
                <a:gd name="connsiteY8" fmla="*/ 750901 h 4492350"/>
                <a:gd name="connsiteX9" fmla="*/ 956930 w 3662637"/>
                <a:gd name="connsiteY9" fmla="*/ 1924493 h 4492350"/>
                <a:gd name="connsiteX10" fmla="*/ 1061670 w 3662637"/>
                <a:gd name="connsiteY10" fmla="*/ 857226 h 4492350"/>
                <a:gd name="connsiteX11" fmla="*/ 1162773 w 3662637"/>
                <a:gd name="connsiteY11" fmla="*/ 2026621 h 4492350"/>
                <a:gd name="connsiteX12" fmla="*/ 1682742 w 3662637"/>
                <a:gd name="connsiteY12" fmla="*/ 2194318 h 4492350"/>
                <a:gd name="connsiteX13" fmla="*/ 1924493 w 3662637"/>
                <a:gd name="connsiteY13" fmla="*/ 0 h 4492350"/>
                <a:gd name="connsiteX14" fmla="*/ 1995936 w 3662637"/>
                <a:gd name="connsiteY14" fmla="*/ 986216 h 4492350"/>
                <a:gd name="connsiteX15" fmla="*/ 1850065 w 3662637"/>
                <a:gd name="connsiteY15" fmla="*/ 2060385 h 4492350"/>
                <a:gd name="connsiteX16" fmla="*/ 2025596 w 3662637"/>
                <a:gd name="connsiteY16" fmla="*/ 3046321 h 4492350"/>
                <a:gd name="connsiteX17" fmla="*/ 2615609 w 3662637"/>
                <a:gd name="connsiteY17" fmla="*/ 2519916 h 4492350"/>
                <a:gd name="connsiteX18" fmla="*/ 2881796 w 3662637"/>
                <a:gd name="connsiteY18" fmla="*/ 1291762 h 4492350"/>
                <a:gd name="connsiteX19" fmla="*/ 2774911 w 3662637"/>
                <a:gd name="connsiteY19" fmla="*/ 2383091 h 4492350"/>
                <a:gd name="connsiteX20" fmla="*/ 3662637 w 3662637"/>
                <a:gd name="connsiteY20" fmla="*/ 1124252 h 4492350"/>
                <a:gd name="connsiteX21" fmla="*/ 2190307 w 3662637"/>
                <a:gd name="connsiteY21" fmla="*/ 3370521 h 4492350"/>
                <a:gd name="connsiteX22" fmla="*/ 2137144 w 3662637"/>
                <a:gd name="connsiteY22" fmla="*/ 3817088 h 4492350"/>
                <a:gd name="connsiteX23" fmla="*/ 3285460 w 3662637"/>
                <a:gd name="connsiteY23" fmla="*/ 3094074 h 4492350"/>
                <a:gd name="connsiteX24" fmla="*/ 2162419 w 3662637"/>
                <a:gd name="connsiteY24" fmla="*/ 4030951 h 4492350"/>
                <a:gd name="connsiteX25" fmla="*/ 2200940 w 3662637"/>
                <a:gd name="connsiteY25" fmla="*/ 4476307 h 4492350"/>
                <a:gd name="connsiteX26" fmla="*/ 2186296 w 3662637"/>
                <a:gd name="connsiteY26" fmla="*/ 4491415 h 4492350"/>
                <a:gd name="connsiteX27" fmla="*/ 1711842 w 3662637"/>
                <a:gd name="connsiteY27" fmla="*/ 4492350 h 4492350"/>
                <a:gd name="connsiteX0" fmla="*/ 1711842 w 3662637"/>
                <a:gd name="connsiteY0" fmla="*/ 4492350 h 4492350"/>
                <a:gd name="connsiteX1" fmla="*/ 1765005 w 3662637"/>
                <a:gd name="connsiteY1" fmla="*/ 3785190 h 4492350"/>
                <a:gd name="connsiteX2" fmla="*/ 1275907 w 3662637"/>
                <a:gd name="connsiteY2" fmla="*/ 3381153 h 4492350"/>
                <a:gd name="connsiteX3" fmla="*/ 0 w 3662637"/>
                <a:gd name="connsiteY3" fmla="*/ 2945218 h 4492350"/>
                <a:gd name="connsiteX4" fmla="*/ 1095154 w 3662637"/>
                <a:gd name="connsiteY4" fmla="*/ 3242930 h 4492350"/>
                <a:gd name="connsiteX5" fmla="*/ 361507 w 3662637"/>
                <a:gd name="connsiteY5" fmla="*/ 2456121 h 4492350"/>
                <a:gd name="connsiteX6" fmla="*/ 1743740 w 3662637"/>
                <a:gd name="connsiteY6" fmla="*/ 3519376 h 4492350"/>
                <a:gd name="connsiteX7" fmla="*/ 1652058 w 3662637"/>
                <a:gd name="connsiteY7" fmla="*/ 2424409 h 4492350"/>
                <a:gd name="connsiteX8" fmla="*/ 8208 w 3662637"/>
                <a:gd name="connsiteY8" fmla="*/ 750901 h 4492350"/>
                <a:gd name="connsiteX9" fmla="*/ 956930 w 3662637"/>
                <a:gd name="connsiteY9" fmla="*/ 1924493 h 4492350"/>
                <a:gd name="connsiteX10" fmla="*/ 1061670 w 3662637"/>
                <a:gd name="connsiteY10" fmla="*/ 857226 h 4492350"/>
                <a:gd name="connsiteX11" fmla="*/ 1162773 w 3662637"/>
                <a:gd name="connsiteY11" fmla="*/ 2026621 h 4492350"/>
                <a:gd name="connsiteX12" fmla="*/ 1682742 w 3662637"/>
                <a:gd name="connsiteY12" fmla="*/ 2194318 h 4492350"/>
                <a:gd name="connsiteX13" fmla="*/ 1924493 w 3662637"/>
                <a:gd name="connsiteY13" fmla="*/ 0 h 4492350"/>
                <a:gd name="connsiteX14" fmla="*/ 1995936 w 3662637"/>
                <a:gd name="connsiteY14" fmla="*/ 986216 h 4492350"/>
                <a:gd name="connsiteX15" fmla="*/ 1850065 w 3662637"/>
                <a:gd name="connsiteY15" fmla="*/ 2060385 h 4492350"/>
                <a:gd name="connsiteX16" fmla="*/ 2025596 w 3662637"/>
                <a:gd name="connsiteY16" fmla="*/ 3046321 h 4492350"/>
                <a:gd name="connsiteX17" fmla="*/ 2615609 w 3662637"/>
                <a:gd name="connsiteY17" fmla="*/ 2519916 h 4492350"/>
                <a:gd name="connsiteX18" fmla="*/ 2881796 w 3662637"/>
                <a:gd name="connsiteY18" fmla="*/ 1291762 h 4492350"/>
                <a:gd name="connsiteX19" fmla="*/ 2774911 w 3662637"/>
                <a:gd name="connsiteY19" fmla="*/ 2383091 h 4492350"/>
                <a:gd name="connsiteX20" fmla="*/ 3662637 w 3662637"/>
                <a:gd name="connsiteY20" fmla="*/ 1124252 h 4492350"/>
                <a:gd name="connsiteX21" fmla="*/ 2190307 w 3662637"/>
                <a:gd name="connsiteY21" fmla="*/ 3370521 h 4492350"/>
                <a:gd name="connsiteX22" fmla="*/ 2137144 w 3662637"/>
                <a:gd name="connsiteY22" fmla="*/ 3817088 h 4492350"/>
                <a:gd name="connsiteX23" fmla="*/ 3285460 w 3662637"/>
                <a:gd name="connsiteY23" fmla="*/ 3094074 h 4492350"/>
                <a:gd name="connsiteX24" fmla="*/ 2162419 w 3662637"/>
                <a:gd name="connsiteY24" fmla="*/ 4030951 h 4492350"/>
                <a:gd name="connsiteX25" fmla="*/ 2200940 w 3662637"/>
                <a:gd name="connsiteY25" fmla="*/ 4476307 h 4492350"/>
                <a:gd name="connsiteX26" fmla="*/ 2186296 w 3662637"/>
                <a:gd name="connsiteY26" fmla="*/ 4491415 h 4492350"/>
                <a:gd name="connsiteX27" fmla="*/ 1711842 w 3662637"/>
                <a:gd name="connsiteY27" fmla="*/ 4492350 h 4492350"/>
                <a:gd name="connsiteX0" fmla="*/ 1711842 w 3662637"/>
                <a:gd name="connsiteY0" fmla="*/ 4492350 h 4492350"/>
                <a:gd name="connsiteX1" fmla="*/ 1765005 w 3662637"/>
                <a:gd name="connsiteY1" fmla="*/ 3785190 h 4492350"/>
                <a:gd name="connsiteX2" fmla="*/ 1275907 w 3662637"/>
                <a:gd name="connsiteY2" fmla="*/ 3381153 h 4492350"/>
                <a:gd name="connsiteX3" fmla="*/ 0 w 3662637"/>
                <a:gd name="connsiteY3" fmla="*/ 2945218 h 4492350"/>
                <a:gd name="connsiteX4" fmla="*/ 1095154 w 3662637"/>
                <a:gd name="connsiteY4" fmla="*/ 3242930 h 4492350"/>
                <a:gd name="connsiteX5" fmla="*/ 361507 w 3662637"/>
                <a:gd name="connsiteY5" fmla="*/ 2456121 h 4492350"/>
                <a:gd name="connsiteX6" fmla="*/ 1743740 w 3662637"/>
                <a:gd name="connsiteY6" fmla="*/ 3519376 h 4492350"/>
                <a:gd name="connsiteX7" fmla="*/ 1652058 w 3662637"/>
                <a:gd name="connsiteY7" fmla="*/ 2424409 h 4492350"/>
                <a:gd name="connsiteX8" fmla="*/ 8208 w 3662637"/>
                <a:gd name="connsiteY8" fmla="*/ 750901 h 4492350"/>
                <a:gd name="connsiteX9" fmla="*/ 956930 w 3662637"/>
                <a:gd name="connsiteY9" fmla="*/ 1924493 h 4492350"/>
                <a:gd name="connsiteX10" fmla="*/ 1061670 w 3662637"/>
                <a:gd name="connsiteY10" fmla="*/ 857226 h 4492350"/>
                <a:gd name="connsiteX11" fmla="*/ 1162773 w 3662637"/>
                <a:gd name="connsiteY11" fmla="*/ 2026621 h 4492350"/>
                <a:gd name="connsiteX12" fmla="*/ 1682742 w 3662637"/>
                <a:gd name="connsiteY12" fmla="*/ 2194318 h 4492350"/>
                <a:gd name="connsiteX13" fmla="*/ 1924493 w 3662637"/>
                <a:gd name="connsiteY13" fmla="*/ 0 h 4492350"/>
                <a:gd name="connsiteX14" fmla="*/ 1995936 w 3662637"/>
                <a:gd name="connsiteY14" fmla="*/ 986216 h 4492350"/>
                <a:gd name="connsiteX15" fmla="*/ 1850065 w 3662637"/>
                <a:gd name="connsiteY15" fmla="*/ 2060385 h 4492350"/>
                <a:gd name="connsiteX16" fmla="*/ 2025596 w 3662637"/>
                <a:gd name="connsiteY16" fmla="*/ 3046321 h 4492350"/>
                <a:gd name="connsiteX17" fmla="*/ 2615609 w 3662637"/>
                <a:gd name="connsiteY17" fmla="*/ 2519916 h 4492350"/>
                <a:gd name="connsiteX18" fmla="*/ 2881796 w 3662637"/>
                <a:gd name="connsiteY18" fmla="*/ 1291762 h 4492350"/>
                <a:gd name="connsiteX19" fmla="*/ 2774911 w 3662637"/>
                <a:gd name="connsiteY19" fmla="*/ 2383091 h 4492350"/>
                <a:gd name="connsiteX20" fmla="*/ 3662637 w 3662637"/>
                <a:gd name="connsiteY20" fmla="*/ 1124252 h 4492350"/>
                <a:gd name="connsiteX21" fmla="*/ 2190307 w 3662637"/>
                <a:gd name="connsiteY21" fmla="*/ 3370521 h 4492350"/>
                <a:gd name="connsiteX22" fmla="*/ 2137144 w 3662637"/>
                <a:gd name="connsiteY22" fmla="*/ 3817088 h 4492350"/>
                <a:gd name="connsiteX23" fmla="*/ 3285460 w 3662637"/>
                <a:gd name="connsiteY23" fmla="*/ 3094074 h 4492350"/>
                <a:gd name="connsiteX24" fmla="*/ 2162419 w 3662637"/>
                <a:gd name="connsiteY24" fmla="*/ 4030951 h 4492350"/>
                <a:gd name="connsiteX25" fmla="*/ 2200940 w 3662637"/>
                <a:gd name="connsiteY25" fmla="*/ 4476307 h 4492350"/>
                <a:gd name="connsiteX26" fmla="*/ 2186296 w 3662637"/>
                <a:gd name="connsiteY26" fmla="*/ 4491415 h 4492350"/>
                <a:gd name="connsiteX27" fmla="*/ 1711842 w 3662637"/>
                <a:gd name="connsiteY27" fmla="*/ 4492350 h 4492350"/>
                <a:gd name="connsiteX0" fmla="*/ 1711842 w 3662637"/>
                <a:gd name="connsiteY0" fmla="*/ 4492350 h 4492350"/>
                <a:gd name="connsiteX1" fmla="*/ 1765005 w 3662637"/>
                <a:gd name="connsiteY1" fmla="*/ 3785190 h 4492350"/>
                <a:gd name="connsiteX2" fmla="*/ 1275907 w 3662637"/>
                <a:gd name="connsiteY2" fmla="*/ 3381153 h 4492350"/>
                <a:gd name="connsiteX3" fmla="*/ 0 w 3662637"/>
                <a:gd name="connsiteY3" fmla="*/ 2945218 h 4492350"/>
                <a:gd name="connsiteX4" fmla="*/ 1095154 w 3662637"/>
                <a:gd name="connsiteY4" fmla="*/ 3242930 h 4492350"/>
                <a:gd name="connsiteX5" fmla="*/ 361507 w 3662637"/>
                <a:gd name="connsiteY5" fmla="*/ 2456121 h 4492350"/>
                <a:gd name="connsiteX6" fmla="*/ 1743740 w 3662637"/>
                <a:gd name="connsiteY6" fmla="*/ 3519376 h 4492350"/>
                <a:gd name="connsiteX7" fmla="*/ 1652058 w 3662637"/>
                <a:gd name="connsiteY7" fmla="*/ 2400346 h 4492350"/>
                <a:gd name="connsiteX8" fmla="*/ 8208 w 3662637"/>
                <a:gd name="connsiteY8" fmla="*/ 750901 h 4492350"/>
                <a:gd name="connsiteX9" fmla="*/ 956930 w 3662637"/>
                <a:gd name="connsiteY9" fmla="*/ 1924493 h 4492350"/>
                <a:gd name="connsiteX10" fmla="*/ 1061670 w 3662637"/>
                <a:gd name="connsiteY10" fmla="*/ 857226 h 4492350"/>
                <a:gd name="connsiteX11" fmla="*/ 1162773 w 3662637"/>
                <a:gd name="connsiteY11" fmla="*/ 2026621 h 4492350"/>
                <a:gd name="connsiteX12" fmla="*/ 1682742 w 3662637"/>
                <a:gd name="connsiteY12" fmla="*/ 2194318 h 4492350"/>
                <a:gd name="connsiteX13" fmla="*/ 1924493 w 3662637"/>
                <a:gd name="connsiteY13" fmla="*/ 0 h 4492350"/>
                <a:gd name="connsiteX14" fmla="*/ 1995936 w 3662637"/>
                <a:gd name="connsiteY14" fmla="*/ 986216 h 4492350"/>
                <a:gd name="connsiteX15" fmla="*/ 1850065 w 3662637"/>
                <a:gd name="connsiteY15" fmla="*/ 2060385 h 4492350"/>
                <a:gd name="connsiteX16" fmla="*/ 2025596 w 3662637"/>
                <a:gd name="connsiteY16" fmla="*/ 3046321 h 4492350"/>
                <a:gd name="connsiteX17" fmla="*/ 2615609 w 3662637"/>
                <a:gd name="connsiteY17" fmla="*/ 2519916 h 4492350"/>
                <a:gd name="connsiteX18" fmla="*/ 2881796 w 3662637"/>
                <a:gd name="connsiteY18" fmla="*/ 1291762 h 4492350"/>
                <a:gd name="connsiteX19" fmla="*/ 2774911 w 3662637"/>
                <a:gd name="connsiteY19" fmla="*/ 2383091 h 4492350"/>
                <a:gd name="connsiteX20" fmla="*/ 3662637 w 3662637"/>
                <a:gd name="connsiteY20" fmla="*/ 1124252 h 4492350"/>
                <a:gd name="connsiteX21" fmla="*/ 2190307 w 3662637"/>
                <a:gd name="connsiteY21" fmla="*/ 3370521 h 4492350"/>
                <a:gd name="connsiteX22" fmla="*/ 2137144 w 3662637"/>
                <a:gd name="connsiteY22" fmla="*/ 3817088 h 4492350"/>
                <a:gd name="connsiteX23" fmla="*/ 3285460 w 3662637"/>
                <a:gd name="connsiteY23" fmla="*/ 3094074 h 4492350"/>
                <a:gd name="connsiteX24" fmla="*/ 2162419 w 3662637"/>
                <a:gd name="connsiteY24" fmla="*/ 4030951 h 4492350"/>
                <a:gd name="connsiteX25" fmla="*/ 2200940 w 3662637"/>
                <a:gd name="connsiteY25" fmla="*/ 4476307 h 4492350"/>
                <a:gd name="connsiteX26" fmla="*/ 2186296 w 3662637"/>
                <a:gd name="connsiteY26" fmla="*/ 4491415 h 4492350"/>
                <a:gd name="connsiteX27" fmla="*/ 1711842 w 3662637"/>
                <a:gd name="connsiteY27" fmla="*/ 4492350 h 4492350"/>
                <a:gd name="connsiteX0" fmla="*/ 1711842 w 3662637"/>
                <a:gd name="connsiteY0" fmla="*/ 4492350 h 4492350"/>
                <a:gd name="connsiteX1" fmla="*/ 1765005 w 3662637"/>
                <a:gd name="connsiteY1" fmla="*/ 3785190 h 4492350"/>
                <a:gd name="connsiteX2" fmla="*/ 1275907 w 3662637"/>
                <a:gd name="connsiteY2" fmla="*/ 3381153 h 4492350"/>
                <a:gd name="connsiteX3" fmla="*/ 0 w 3662637"/>
                <a:gd name="connsiteY3" fmla="*/ 2945218 h 4492350"/>
                <a:gd name="connsiteX4" fmla="*/ 1095154 w 3662637"/>
                <a:gd name="connsiteY4" fmla="*/ 3242930 h 4492350"/>
                <a:gd name="connsiteX5" fmla="*/ 361507 w 3662637"/>
                <a:gd name="connsiteY5" fmla="*/ 2456121 h 4492350"/>
                <a:gd name="connsiteX6" fmla="*/ 1743740 w 3662637"/>
                <a:gd name="connsiteY6" fmla="*/ 3519376 h 4492350"/>
                <a:gd name="connsiteX7" fmla="*/ 1652058 w 3662637"/>
                <a:gd name="connsiteY7" fmla="*/ 2400346 h 4492350"/>
                <a:gd name="connsiteX8" fmla="*/ 8208 w 3662637"/>
                <a:gd name="connsiteY8" fmla="*/ 750901 h 4492350"/>
                <a:gd name="connsiteX9" fmla="*/ 956930 w 3662637"/>
                <a:gd name="connsiteY9" fmla="*/ 1924493 h 4492350"/>
                <a:gd name="connsiteX10" fmla="*/ 1061670 w 3662637"/>
                <a:gd name="connsiteY10" fmla="*/ 857226 h 4492350"/>
                <a:gd name="connsiteX11" fmla="*/ 1162773 w 3662637"/>
                <a:gd name="connsiteY11" fmla="*/ 2026621 h 4492350"/>
                <a:gd name="connsiteX12" fmla="*/ 1682742 w 3662637"/>
                <a:gd name="connsiteY12" fmla="*/ 2194318 h 4492350"/>
                <a:gd name="connsiteX13" fmla="*/ 1924493 w 3662637"/>
                <a:gd name="connsiteY13" fmla="*/ 0 h 4492350"/>
                <a:gd name="connsiteX14" fmla="*/ 1995936 w 3662637"/>
                <a:gd name="connsiteY14" fmla="*/ 986216 h 4492350"/>
                <a:gd name="connsiteX15" fmla="*/ 1850065 w 3662637"/>
                <a:gd name="connsiteY15" fmla="*/ 2060385 h 4492350"/>
                <a:gd name="connsiteX16" fmla="*/ 2025596 w 3662637"/>
                <a:gd name="connsiteY16" fmla="*/ 3046321 h 4492350"/>
                <a:gd name="connsiteX17" fmla="*/ 2615609 w 3662637"/>
                <a:gd name="connsiteY17" fmla="*/ 2519916 h 4492350"/>
                <a:gd name="connsiteX18" fmla="*/ 2881796 w 3662637"/>
                <a:gd name="connsiteY18" fmla="*/ 1291762 h 4492350"/>
                <a:gd name="connsiteX19" fmla="*/ 2774911 w 3662637"/>
                <a:gd name="connsiteY19" fmla="*/ 2383091 h 4492350"/>
                <a:gd name="connsiteX20" fmla="*/ 3662637 w 3662637"/>
                <a:gd name="connsiteY20" fmla="*/ 1124252 h 4492350"/>
                <a:gd name="connsiteX21" fmla="*/ 2190307 w 3662637"/>
                <a:gd name="connsiteY21" fmla="*/ 3370521 h 4492350"/>
                <a:gd name="connsiteX22" fmla="*/ 2137144 w 3662637"/>
                <a:gd name="connsiteY22" fmla="*/ 3817088 h 4492350"/>
                <a:gd name="connsiteX23" fmla="*/ 3285460 w 3662637"/>
                <a:gd name="connsiteY23" fmla="*/ 3094074 h 4492350"/>
                <a:gd name="connsiteX24" fmla="*/ 2162419 w 3662637"/>
                <a:gd name="connsiteY24" fmla="*/ 4030951 h 4492350"/>
                <a:gd name="connsiteX25" fmla="*/ 2200940 w 3662637"/>
                <a:gd name="connsiteY25" fmla="*/ 4476307 h 4492350"/>
                <a:gd name="connsiteX26" fmla="*/ 2186296 w 3662637"/>
                <a:gd name="connsiteY26" fmla="*/ 4491415 h 4492350"/>
                <a:gd name="connsiteX27" fmla="*/ 1711842 w 3662637"/>
                <a:gd name="connsiteY27" fmla="*/ 4492350 h 4492350"/>
                <a:gd name="connsiteX0" fmla="*/ 1711842 w 3662637"/>
                <a:gd name="connsiteY0" fmla="*/ 4492350 h 4492350"/>
                <a:gd name="connsiteX1" fmla="*/ 1765005 w 3662637"/>
                <a:gd name="connsiteY1" fmla="*/ 3785190 h 4492350"/>
                <a:gd name="connsiteX2" fmla="*/ 1275907 w 3662637"/>
                <a:gd name="connsiteY2" fmla="*/ 3381153 h 4492350"/>
                <a:gd name="connsiteX3" fmla="*/ 0 w 3662637"/>
                <a:gd name="connsiteY3" fmla="*/ 2945218 h 4492350"/>
                <a:gd name="connsiteX4" fmla="*/ 1095154 w 3662637"/>
                <a:gd name="connsiteY4" fmla="*/ 3242930 h 4492350"/>
                <a:gd name="connsiteX5" fmla="*/ 361507 w 3662637"/>
                <a:gd name="connsiteY5" fmla="*/ 2456121 h 4492350"/>
                <a:gd name="connsiteX6" fmla="*/ 1743740 w 3662637"/>
                <a:gd name="connsiteY6" fmla="*/ 3519376 h 4492350"/>
                <a:gd name="connsiteX7" fmla="*/ 1652058 w 3662637"/>
                <a:gd name="connsiteY7" fmla="*/ 2400346 h 4492350"/>
                <a:gd name="connsiteX8" fmla="*/ 8208 w 3662637"/>
                <a:gd name="connsiteY8" fmla="*/ 750901 h 4492350"/>
                <a:gd name="connsiteX9" fmla="*/ 956930 w 3662637"/>
                <a:gd name="connsiteY9" fmla="*/ 1924493 h 4492350"/>
                <a:gd name="connsiteX10" fmla="*/ 1061670 w 3662637"/>
                <a:gd name="connsiteY10" fmla="*/ 857226 h 4492350"/>
                <a:gd name="connsiteX11" fmla="*/ 1162773 w 3662637"/>
                <a:gd name="connsiteY11" fmla="*/ 2026621 h 4492350"/>
                <a:gd name="connsiteX12" fmla="*/ 1682742 w 3662637"/>
                <a:gd name="connsiteY12" fmla="*/ 2194318 h 4492350"/>
                <a:gd name="connsiteX13" fmla="*/ 1924493 w 3662637"/>
                <a:gd name="connsiteY13" fmla="*/ 0 h 4492350"/>
                <a:gd name="connsiteX14" fmla="*/ 1995936 w 3662637"/>
                <a:gd name="connsiteY14" fmla="*/ 986216 h 4492350"/>
                <a:gd name="connsiteX15" fmla="*/ 1850065 w 3662637"/>
                <a:gd name="connsiteY15" fmla="*/ 2060385 h 4492350"/>
                <a:gd name="connsiteX16" fmla="*/ 2025596 w 3662637"/>
                <a:gd name="connsiteY16" fmla="*/ 3046321 h 4492350"/>
                <a:gd name="connsiteX17" fmla="*/ 2615609 w 3662637"/>
                <a:gd name="connsiteY17" fmla="*/ 2519916 h 4492350"/>
                <a:gd name="connsiteX18" fmla="*/ 2881796 w 3662637"/>
                <a:gd name="connsiteY18" fmla="*/ 1291762 h 4492350"/>
                <a:gd name="connsiteX19" fmla="*/ 2774911 w 3662637"/>
                <a:gd name="connsiteY19" fmla="*/ 2383091 h 4492350"/>
                <a:gd name="connsiteX20" fmla="*/ 3662637 w 3662637"/>
                <a:gd name="connsiteY20" fmla="*/ 1124252 h 4492350"/>
                <a:gd name="connsiteX21" fmla="*/ 2190307 w 3662637"/>
                <a:gd name="connsiteY21" fmla="*/ 3370521 h 4492350"/>
                <a:gd name="connsiteX22" fmla="*/ 2137144 w 3662637"/>
                <a:gd name="connsiteY22" fmla="*/ 3817088 h 4492350"/>
                <a:gd name="connsiteX23" fmla="*/ 3285460 w 3662637"/>
                <a:gd name="connsiteY23" fmla="*/ 3094074 h 4492350"/>
                <a:gd name="connsiteX24" fmla="*/ 2162419 w 3662637"/>
                <a:gd name="connsiteY24" fmla="*/ 4030951 h 4492350"/>
                <a:gd name="connsiteX25" fmla="*/ 2200940 w 3662637"/>
                <a:gd name="connsiteY25" fmla="*/ 4476307 h 4492350"/>
                <a:gd name="connsiteX26" fmla="*/ 2186296 w 3662637"/>
                <a:gd name="connsiteY26" fmla="*/ 4491415 h 4492350"/>
                <a:gd name="connsiteX27" fmla="*/ 1711842 w 3662637"/>
                <a:gd name="connsiteY27" fmla="*/ 4492350 h 4492350"/>
                <a:gd name="connsiteX0" fmla="*/ 1711842 w 3662637"/>
                <a:gd name="connsiteY0" fmla="*/ 4492350 h 4492350"/>
                <a:gd name="connsiteX1" fmla="*/ 1765005 w 3662637"/>
                <a:gd name="connsiteY1" fmla="*/ 3785190 h 4492350"/>
                <a:gd name="connsiteX2" fmla="*/ 1275907 w 3662637"/>
                <a:gd name="connsiteY2" fmla="*/ 3381153 h 4492350"/>
                <a:gd name="connsiteX3" fmla="*/ 0 w 3662637"/>
                <a:gd name="connsiteY3" fmla="*/ 2945218 h 4492350"/>
                <a:gd name="connsiteX4" fmla="*/ 1095154 w 3662637"/>
                <a:gd name="connsiteY4" fmla="*/ 3242930 h 4492350"/>
                <a:gd name="connsiteX5" fmla="*/ 361507 w 3662637"/>
                <a:gd name="connsiteY5" fmla="*/ 2456121 h 4492350"/>
                <a:gd name="connsiteX6" fmla="*/ 1743740 w 3662637"/>
                <a:gd name="connsiteY6" fmla="*/ 3519376 h 4492350"/>
                <a:gd name="connsiteX7" fmla="*/ 1652058 w 3662637"/>
                <a:gd name="connsiteY7" fmla="*/ 2400346 h 4492350"/>
                <a:gd name="connsiteX8" fmla="*/ 8208 w 3662637"/>
                <a:gd name="connsiteY8" fmla="*/ 750901 h 4492350"/>
                <a:gd name="connsiteX9" fmla="*/ 956930 w 3662637"/>
                <a:gd name="connsiteY9" fmla="*/ 1924493 h 4492350"/>
                <a:gd name="connsiteX10" fmla="*/ 1061670 w 3662637"/>
                <a:gd name="connsiteY10" fmla="*/ 857226 h 4492350"/>
                <a:gd name="connsiteX11" fmla="*/ 1162773 w 3662637"/>
                <a:gd name="connsiteY11" fmla="*/ 2026621 h 4492350"/>
                <a:gd name="connsiteX12" fmla="*/ 1682742 w 3662637"/>
                <a:gd name="connsiteY12" fmla="*/ 2194318 h 4492350"/>
                <a:gd name="connsiteX13" fmla="*/ 1924493 w 3662637"/>
                <a:gd name="connsiteY13" fmla="*/ 0 h 4492350"/>
                <a:gd name="connsiteX14" fmla="*/ 1995936 w 3662637"/>
                <a:gd name="connsiteY14" fmla="*/ 986216 h 4492350"/>
                <a:gd name="connsiteX15" fmla="*/ 1850065 w 3662637"/>
                <a:gd name="connsiteY15" fmla="*/ 2060385 h 4492350"/>
                <a:gd name="connsiteX16" fmla="*/ 2025596 w 3662637"/>
                <a:gd name="connsiteY16" fmla="*/ 3046321 h 4492350"/>
                <a:gd name="connsiteX17" fmla="*/ 2615609 w 3662637"/>
                <a:gd name="connsiteY17" fmla="*/ 2519916 h 4492350"/>
                <a:gd name="connsiteX18" fmla="*/ 2881796 w 3662637"/>
                <a:gd name="connsiteY18" fmla="*/ 1291762 h 4492350"/>
                <a:gd name="connsiteX19" fmla="*/ 2774911 w 3662637"/>
                <a:gd name="connsiteY19" fmla="*/ 2383091 h 4492350"/>
                <a:gd name="connsiteX20" fmla="*/ 3662637 w 3662637"/>
                <a:gd name="connsiteY20" fmla="*/ 1124252 h 4492350"/>
                <a:gd name="connsiteX21" fmla="*/ 2190307 w 3662637"/>
                <a:gd name="connsiteY21" fmla="*/ 3370521 h 4492350"/>
                <a:gd name="connsiteX22" fmla="*/ 2137144 w 3662637"/>
                <a:gd name="connsiteY22" fmla="*/ 3817088 h 4492350"/>
                <a:gd name="connsiteX23" fmla="*/ 3285460 w 3662637"/>
                <a:gd name="connsiteY23" fmla="*/ 3094074 h 4492350"/>
                <a:gd name="connsiteX24" fmla="*/ 2162419 w 3662637"/>
                <a:gd name="connsiteY24" fmla="*/ 4030951 h 4492350"/>
                <a:gd name="connsiteX25" fmla="*/ 2200940 w 3662637"/>
                <a:gd name="connsiteY25" fmla="*/ 4476307 h 4492350"/>
                <a:gd name="connsiteX26" fmla="*/ 2186296 w 3662637"/>
                <a:gd name="connsiteY26" fmla="*/ 4491415 h 4492350"/>
                <a:gd name="connsiteX27" fmla="*/ 1711842 w 3662637"/>
                <a:gd name="connsiteY27" fmla="*/ 4492350 h 4492350"/>
                <a:gd name="connsiteX0" fmla="*/ 1711842 w 3662637"/>
                <a:gd name="connsiteY0" fmla="*/ 4492350 h 4492350"/>
                <a:gd name="connsiteX1" fmla="*/ 1765005 w 3662637"/>
                <a:gd name="connsiteY1" fmla="*/ 3785190 h 4492350"/>
                <a:gd name="connsiteX2" fmla="*/ 1275907 w 3662637"/>
                <a:gd name="connsiteY2" fmla="*/ 3381153 h 4492350"/>
                <a:gd name="connsiteX3" fmla="*/ 0 w 3662637"/>
                <a:gd name="connsiteY3" fmla="*/ 2945218 h 4492350"/>
                <a:gd name="connsiteX4" fmla="*/ 1095154 w 3662637"/>
                <a:gd name="connsiteY4" fmla="*/ 3242930 h 4492350"/>
                <a:gd name="connsiteX5" fmla="*/ 361507 w 3662637"/>
                <a:gd name="connsiteY5" fmla="*/ 2456121 h 4492350"/>
                <a:gd name="connsiteX6" fmla="*/ 1743740 w 3662637"/>
                <a:gd name="connsiteY6" fmla="*/ 3519376 h 4492350"/>
                <a:gd name="connsiteX7" fmla="*/ 1652058 w 3662637"/>
                <a:gd name="connsiteY7" fmla="*/ 2400346 h 4492350"/>
                <a:gd name="connsiteX8" fmla="*/ 28261 w 3662637"/>
                <a:gd name="connsiteY8" fmla="*/ 742880 h 4492350"/>
                <a:gd name="connsiteX9" fmla="*/ 956930 w 3662637"/>
                <a:gd name="connsiteY9" fmla="*/ 1924493 h 4492350"/>
                <a:gd name="connsiteX10" fmla="*/ 1061670 w 3662637"/>
                <a:gd name="connsiteY10" fmla="*/ 857226 h 4492350"/>
                <a:gd name="connsiteX11" fmla="*/ 1162773 w 3662637"/>
                <a:gd name="connsiteY11" fmla="*/ 2026621 h 4492350"/>
                <a:gd name="connsiteX12" fmla="*/ 1682742 w 3662637"/>
                <a:gd name="connsiteY12" fmla="*/ 2194318 h 4492350"/>
                <a:gd name="connsiteX13" fmla="*/ 1924493 w 3662637"/>
                <a:gd name="connsiteY13" fmla="*/ 0 h 4492350"/>
                <a:gd name="connsiteX14" fmla="*/ 1995936 w 3662637"/>
                <a:gd name="connsiteY14" fmla="*/ 986216 h 4492350"/>
                <a:gd name="connsiteX15" fmla="*/ 1850065 w 3662637"/>
                <a:gd name="connsiteY15" fmla="*/ 2060385 h 4492350"/>
                <a:gd name="connsiteX16" fmla="*/ 2025596 w 3662637"/>
                <a:gd name="connsiteY16" fmla="*/ 3046321 h 4492350"/>
                <a:gd name="connsiteX17" fmla="*/ 2615609 w 3662637"/>
                <a:gd name="connsiteY17" fmla="*/ 2519916 h 4492350"/>
                <a:gd name="connsiteX18" fmla="*/ 2881796 w 3662637"/>
                <a:gd name="connsiteY18" fmla="*/ 1291762 h 4492350"/>
                <a:gd name="connsiteX19" fmla="*/ 2774911 w 3662637"/>
                <a:gd name="connsiteY19" fmla="*/ 2383091 h 4492350"/>
                <a:gd name="connsiteX20" fmla="*/ 3662637 w 3662637"/>
                <a:gd name="connsiteY20" fmla="*/ 1124252 h 4492350"/>
                <a:gd name="connsiteX21" fmla="*/ 2190307 w 3662637"/>
                <a:gd name="connsiteY21" fmla="*/ 3370521 h 4492350"/>
                <a:gd name="connsiteX22" fmla="*/ 2137144 w 3662637"/>
                <a:gd name="connsiteY22" fmla="*/ 3817088 h 4492350"/>
                <a:gd name="connsiteX23" fmla="*/ 3285460 w 3662637"/>
                <a:gd name="connsiteY23" fmla="*/ 3094074 h 4492350"/>
                <a:gd name="connsiteX24" fmla="*/ 2162419 w 3662637"/>
                <a:gd name="connsiteY24" fmla="*/ 4030951 h 4492350"/>
                <a:gd name="connsiteX25" fmla="*/ 2200940 w 3662637"/>
                <a:gd name="connsiteY25" fmla="*/ 4476307 h 4492350"/>
                <a:gd name="connsiteX26" fmla="*/ 2186296 w 3662637"/>
                <a:gd name="connsiteY26" fmla="*/ 4491415 h 4492350"/>
                <a:gd name="connsiteX27" fmla="*/ 1711842 w 3662637"/>
                <a:gd name="connsiteY27" fmla="*/ 4492350 h 4492350"/>
                <a:gd name="connsiteX0" fmla="*/ 1711842 w 3662637"/>
                <a:gd name="connsiteY0" fmla="*/ 4492350 h 4492350"/>
                <a:gd name="connsiteX1" fmla="*/ 1765005 w 3662637"/>
                <a:gd name="connsiteY1" fmla="*/ 3785190 h 4492350"/>
                <a:gd name="connsiteX2" fmla="*/ 1275907 w 3662637"/>
                <a:gd name="connsiteY2" fmla="*/ 3381153 h 4492350"/>
                <a:gd name="connsiteX3" fmla="*/ 0 w 3662637"/>
                <a:gd name="connsiteY3" fmla="*/ 2945218 h 4492350"/>
                <a:gd name="connsiteX4" fmla="*/ 1095154 w 3662637"/>
                <a:gd name="connsiteY4" fmla="*/ 3242930 h 4492350"/>
                <a:gd name="connsiteX5" fmla="*/ 361507 w 3662637"/>
                <a:gd name="connsiteY5" fmla="*/ 2456121 h 4492350"/>
                <a:gd name="connsiteX6" fmla="*/ 1743740 w 3662637"/>
                <a:gd name="connsiteY6" fmla="*/ 3519376 h 4492350"/>
                <a:gd name="connsiteX7" fmla="*/ 1652058 w 3662637"/>
                <a:gd name="connsiteY7" fmla="*/ 2400346 h 4492350"/>
                <a:gd name="connsiteX8" fmla="*/ 28261 w 3662637"/>
                <a:gd name="connsiteY8" fmla="*/ 742880 h 4492350"/>
                <a:gd name="connsiteX9" fmla="*/ 956930 w 3662637"/>
                <a:gd name="connsiteY9" fmla="*/ 1924493 h 4492350"/>
                <a:gd name="connsiteX10" fmla="*/ 1061670 w 3662637"/>
                <a:gd name="connsiteY10" fmla="*/ 857226 h 4492350"/>
                <a:gd name="connsiteX11" fmla="*/ 1162773 w 3662637"/>
                <a:gd name="connsiteY11" fmla="*/ 2026621 h 4492350"/>
                <a:gd name="connsiteX12" fmla="*/ 1682742 w 3662637"/>
                <a:gd name="connsiteY12" fmla="*/ 2194318 h 4492350"/>
                <a:gd name="connsiteX13" fmla="*/ 1924493 w 3662637"/>
                <a:gd name="connsiteY13" fmla="*/ 0 h 4492350"/>
                <a:gd name="connsiteX14" fmla="*/ 1995936 w 3662637"/>
                <a:gd name="connsiteY14" fmla="*/ 986216 h 4492350"/>
                <a:gd name="connsiteX15" fmla="*/ 1850065 w 3662637"/>
                <a:gd name="connsiteY15" fmla="*/ 2060385 h 4492350"/>
                <a:gd name="connsiteX16" fmla="*/ 2025596 w 3662637"/>
                <a:gd name="connsiteY16" fmla="*/ 3046321 h 4492350"/>
                <a:gd name="connsiteX17" fmla="*/ 2615609 w 3662637"/>
                <a:gd name="connsiteY17" fmla="*/ 2519916 h 4492350"/>
                <a:gd name="connsiteX18" fmla="*/ 2881796 w 3662637"/>
                <a:gd name="connsiteY18" fmla="*/ 1291762 h 4492350"/>
                <a:gd name="connsiteX19" fmla="*/ 2774911 w 3662637"/>
                <a:gd name="connsiteY19" fmla="*/ 2383091 h 4492350"/>
                <a:gd name="connsiteX20" fmla="*/ 3662637 w 3662637"/>
                <a:gd name="connsiteY20" fmla="*/ 1124252 h 4492350"/>
                <a:gd name="connsiteX21" fmla="*/ 2190307 w 3662637"/>
                <a:gd name="connsiteY21" fmla="*/ 3370521 h 4492350"/>
                <a:gd name="connsiteX22" fmla="*/ 2137144 w 3662637"/>
                <a:gd name="connsiteY22" fmla="*/ 3817088 h 4492350"/>
                <a:gd name="connsiteX23" fmla="*/ 3285460 w 3662637"/>
                <a:gd name="connsiteY23" fmla="*/ 3094074 h 4492350"/>
                <a:gd name="connsiteX24" fmla="*/ 2162419 w 3662637"/>
                <a:gd name="connsiteY24" fmla="*/ 4030951 h 4492350"/>
                <a:gd name="connsiteX25" fmla="*/ 2200940 w 3662637"/>
                <a:gd name="connsiteY25" fmla="*/ 4476307 h 4492350"/>
                <a:gd name="connsiteX26" fmla="*/ 2186296 w 3662637"/>
                <a:gd name="connsiteY26" fmla="*/ 4491415 h 4492350"/>
                <a:gd name="connsiteX27" fmla="*/ 1711842 w 3662637"/>
                <a:gd name="connsiteY27" fmla="*/ 4492350 h 4492350"/>
                <a:gd name="connsiteX0" fmla="*/ 1711842 w 3662637"/>
                <a:gd name="connsiteY0" fmla="*/ 4492350 h 4492350"/>
                <a:gd name="connsiteX1" fmla="*/ 1765005 w 3662637"/>
                <a:gd name="connsiteY1" fmla="*/ 3785190 h 4492350"/>
                <a:gd name="connsiteX2" fmla="*/ 1275907 w 3662637"/>
                <a:gd name="connsiteY2" fmla="*/ 3381153 h 4492350"/>
                <a:gd name="connsiteX3" fmla="*/ 0 w 3662637"/>
                <a:gd name="connsiteY3" fmla="*/ 2945218 h 4492350"/>
                <a:gd name="connsiteX4" fmla="*/ 1095154 w 3662637"/>
                <a:gd name="connsiteY4" fmla="*/ 3242930 h 4492350"/>
                <a:gd name="connsiteX5" fmla="*/ 361507 w 3662637"/>
                <a:gd name="connsiteY5" fmla="*/ 2456121 h 4492350"/>
                <a:gd name="connsiteX6" fmla="*/ 1743740 w 3662637"/>
                <a:gd name="connsiteY6" fmla="*/ 3519376 h 4492350"/>
                <a:gd name="connsiteX7" fmla="*/ 1652058 w 3662637"/>
                <a:gd name="connsiteY7" fmla="*/ 2400346 h 4492350"/>
                <a:gd name="connsiteX8" fmla="*/ 28261 w 3662637"/>
                <a:gd name="connsiteY8" fmla="*/ 742880 h 4492350"/>
                <a:gd name="connsiteX9" fmla="*/ 956930 w 3662637"/>
                <a:gd name="connsiteY9" fmla="*/ 1924493 h 4492350"/>
                <a:gd name="connsiteX10" fmla="*/ 1061670 w 3662637"/>
                <a:gd name="connsiteY10" fmla="*/ 857226 h 4492350"/>
                <a:gd name="connsiteX11" fmla="*/ 1162773 w 3662637"/>
                <a:gd name="connsiteY11" fmla="*/ 2026621 h 4492350"/>
                <a:gd name="connsiteX12" fmla="*/ 1682742 w 3662637"/>
                <a:gd name="connsiteY12" fmla="*/ 2194318 h 4492350"/>
                <a:gd name="connsiteX13" fmla="*/ 1924493 w 3662637"/>
                <a:gd name="connsiteY13" fmla="*/ 0 h 4492350"/>
                <a:gd name="connsiteX14" fmla="*/ 1995936 w 3662637"/>
                <a:gd name="connsiteY14" fmla="*/ 986216 h 4492350"/>
                <a:gd name="connsiteX15" fmla="*/ 1850065 w 3662637"/>
                <a:gd name="connsiteY15" fmla="*/ 2060385 h 4492350"/>
                <a:gd name="connsiteX16" fmla="*/ 2025596 w 3662637"/>
                <a:gd name="connsiteY16" fmla="*/ 3046321 h 4492350"/>
                <a:gd name="connsiteX17" fmla="*/ 2615609 w 3662637"/>
                <a:gd name="connsiteY17" fmla="*/ 2519916 h 4492350"/>
                <a:gd name="connsiteX18" fmla="*/ 2881796 w 3662637"/>
                <a:gd name="connsiteY18" fmla="*/ 1291762 h 4492350"/>
                <a:gd name="connsiteX19" fmla="*/ 2774911 w 3662637"/>
                <a:gd name="connsiteY19" fmla="*/ 2383091 h 4492350"/>
                <a:gd name="connsiteX20" fmla="*/ 3662637 w 3662637"/>
                <a:gd name="connsiteY20" fmla="*/ 1124252 h 4492350"/>
                <a:gd name="connsiteX21" fmla="*/ 2190307 w 3662637"/>
                <a:gd name="connsiteY21" fmla="*/ 3370521 h 4492350"/>
                <a:gd name="connsiteX22" fmla="*/ 2137144 w 3662637"/>
                <a:gd name="connsiteY22" fmla="*/ 3817088 h 4492350"/>
                <a:gd name="connsiteX23" fmla="*/ 3285460 w 3662637"/>
                <a:gd name="connsiteY23" fmla="*/ 3094074 h 4492350"/>
                <a:gd name="connsiteX24" fmla="*/ 2162419 w 3662637"/>
                <a:gd name="connsiteY24" fmla="*/ 4030951 h 4492350"/>
                <a:gd name="connsiteX25" fmla="*/ 2200940 w 3662637"/>
                <a:gd name="connsiteY25" fmla="*/ 4476307 h 4492350"/>
                <a:gd name="connsiteX26" fmla="*/ 2186296 w 3662637"/>
                <a:gd name="connsiteY26" fmla="*/ 4491415 h 4492350"/>
                <a:gd name="connsiteX27" fmla="*/ 1711842 w 3662637"/>
                <a:gd name="connsiteY27" fmla="*/ 4492350 h 4492350"/>
                <a:gd name="connsiteX0" fmla="*/ 1711842 w 3662637"/>
                <a:gd name="connsiteY0" fmla="*/ 4492350 h 4492350"/>
                <a:gd name="connsiteX1" fmla="*/ 1765005 w 3662637"/>
                <a:gd name="connsiteY1" fmla="*/ 3785190 h 4492350"/>
                <a:gd name="connsiteX2" fmla="*/ 1275907 w 3662637"/>
                <a:gd name="connsiteY2" fmla="*/ 3381153 h 4492350"/>
                <a:gd name="connsiteX3" fmla="*/ 0 w 3662637"/>
                <a:gd name="connsiteY3" fmla="*/ 2945218 h 4492350"/>
                <a:gd name="connsiteX4" fmla="*/ 1095154 w 3662637"/>
                <a:gd name="connsiteY4" fmla="*/ 3242930 h 4492350"/>
                <a:gd name="connsiteX5" fmla="*/ 361507 w 3662637"/>
                <a:gd name="connsiteY5" fmla="*/ 2456121 h 4492350"/>
                <a:gd name="connsiteX6" fmla="*/ 1743740 w 3662637"/>
                <a:gd name="connsiteY6" fmla="*/ 3519376 h 4492350"/>
                <a:gd name="connsiteX7" fmla="*/ 1652058 w 3662637"/>
                <a:gd name="connsiteY7" fmla="*/ 2400346 h 4492350"/>
                <a:gd name="connsiteX8" fmla="*/ 28261 w 3662637"/>
                <a:gd name="connsiteY8" fmla="*/ 742880 h 4492350"/>
                <a:gd name="connsiteX9" fmla="*/ 956930 w 3662637"/>
                <a:gd name="connsiteY9" fmla="*/ 1924493 h 4492350"/>
                <a:gd name="connsiteX10" fmla="*/ 1061670 w 3662637"/>
                <a:gd name="connsiteY10" fmla="*/ 857226 h 4492350"/>
                <a:gd name="connsiteX11" fmla="*/ 1162773 w 3662637"/>
                <a:gd name="connsiteY11" fmla="*/ 2026621 h 4492350"/>
                <a:gd name="connsiteX12" fmla="*/ 1682742 w 3662637"/>
                <a:gd name="connsiteY12" fmla="*/ 2194318 h 4492350"/>
                <a:gd name="connsiteX13" fmla="*/ 1924493 w 3662637"/>
                <a:gd name="connsiteY13" fmla="*/ 0 h 4492350"/>
                <a:gd name="connsiteX14" fmla="*/ 1995936 w 3662637"/>
                <a:gd name="connsiteY14" fmla="*/ 986216 h 4492350"/>
                <a:gd name="connsiteX15" fmla="*/ 1850065 w 3662637"/>
                <a:gd name="connsiteY15" fmla="*/ 2060385 h 4492350"/>
                <a:gd name="connsiteX16" fmla="*/ 2025596 w 3662637"/>
                <a:gd name="connsiteY16" fmla="*/ 3046321 h 4492350"/>
                <a:gd name="connsiteX17" fmla="*/ 2615609 w 3662637"/>
                <a:gd name="connsiteY17" fmla="*/ 2519916 h 4492350"/>
                <a:gd name="connsiteX18" fmla="*/ 2881796 w 3662637"/>
                <a:gd name="connsiteY18" fmla="*/ 1291762 h 4492350"/>
                <a:gd name="connsiteX19" fmla="*/ 2774911 w 3662637"/>
                <a:gd name="connsiteY19" fmla="*/ 2383091 h 4492350"/>
                <a:gd name="connsiteX20" fmla="*/ 3662637 w 3662637"/>
                <a:gd name="connsiteY20" fmla="*/ 1124252 h 4492350"/>
                <a:gd name="connsiteX21" fmla="*/ 2190307 w 3662637"/>
                <a:gd name="connsiteY21" fmla="*/ 3370521 h 4492350"/>
                <a:gd name="connsiteX22" fmla="*/ 2137144 w 3662637"/>
                <a:gd name="connsiteY22" fmla="*/ 3817088 h 4492350"/>
                <a:gd name="connsiteX23" fmla="*/ 3285460 w 3662637"/>
                <a:gd name="connsiteY23" fmla="*/ 3094074 h 4492350"/>
                <a:gd name="connsiteX24" fmla="*/ 2162419 w 3662637"/>
                <a:gd name="connsiteY24" fmla="*/ 4030951 h 4492350"/>
                <a:gd name="connsiteX25" fmla="*/ 2200940 w 3662637"/>
                <a:gd name="connsiteY25" fmla="*/ 4476307 h 4492350"/>
                <a:gd name="connsiteX26" fmla="*/ 2186296 w 3662637"/>
                <a:gd name="connsiteY26" fmla="*/ 4491415 h 4492350"/>
                <a:gd name="connsiteX27" fmla="*/ 1711842 w 3662637"/>
                <a:gd name="connsiteY27" fmla="*/ 4492350 h 4492350"/>
                <a:gd name="connsiteX0" fmla="*/ 1711842 w 3662637"/>
                <a:gd name="connsiteY0" fmla="*/ 4492350 h 4492350"/>
                <a:gd name="connsiteX1" fmla="*/ 1765005 w 3662637"/>
                <a:gd name="connsiteY1" fmla="*/ 3785190 h 4492350"/>
                <a:gd name="connsiteX2" fmla="*/ 1275907 w 3662637"/>
                <a:gd name="connsiteY2" fmla="*/ 3381153 h 4492350"/>
                <a:gd name="connsiteX3" fmla="*/ 0 w 3662637"/>
                <a:gd name="connsiteY3" fmla="*/ 2945218 h 4492350"/>
                <a:gd name="connsiteX4" fmla="*/ 1095154 w 3662637"/>
                <a:gd name="connsiteY4" fmla="*/ 3242930 h 4492350"/>
                <a:gd name="connsiteX5" fmla="*/ 361507 w 3662637"/>
                <a:gd name="connsiteY5" fmla="*/ 2456121 h 4492350"/>
                <a:gd name="connsiteX6" fmla="*/ 1743740 w 3662637"/>
                <a:gd name="connsiteY6" fmla="*/ 3519376 h 4492350"/>
                <a:gd name="connsiteX7" fmla="*/ 1652058 w 3662637"/>
                <a:gd name="connsiteY7" fmla="*/ 2400346 h 4492350"/>
                <a:gd name="connsiteX8" fmla="*/ 28261 w 3662637"/>
                <a:gd name="connsiteY8" fmla="*/ 742880 h 4492350"/>
                <a:gd name="connsiteX9" fmla="*/ 956930 w 3662637"/>
                <a:gd name="connsiteY9" fmla="*/ 1924493 h 4492350"/>
                <a:gd name="connsiteX10" fmla="*/ 1061670 w 3662637"/>
                <a:gd name="connsiteY10" fmla="*/ 857226 h 4492350"/>
                <a:gd name="connsiteX11" fmla="*/ 1162773 w 3662637"/>
                <a:gd name="connsiteY11" fmla="*/ 2026621 h 4492350"/>
                <a:gd name="connsiteX12" fmla="*/ 1682742 w 3662637"/>
                <a:gd name="connsiteY12" fmla="*/ 2194318 h 4492350"/>
                <a:gd name="connsiteX13" fmla="*/ 1924493 w 3662637"/>
                <a:gd name="connsiteY13" fmla="*/ 0 h 4492350"/>
                <a:gd name="connsiteX14" fmla="*/ 1995936 w 3662637"/>
                <a:gd name="connsiteY14" fmla="*/ 986216 h 4492350"/>
                <a:gd name="connsiteX15" fmla="*/ 1850065 w 3662637"/>
                <a:gd name="connsiteY15" fmla="*/ 2060385 h 4492350"/>
                <a:gd name="connsiteX16" fmla="*/ 2025596 w 3662637"/>
                <a:gd name="connsiteY16" fmla="*/ 3046321 h 4492350"/>
                <a:gd name="connsiteX17" fmla="*/ 2615609 w 3662637"/>
                <a:gd name="connsiteY17" fmla="*/ 2519916 h 4492350"/>
                <a:gd name="connsiteX18" fmla="*/ 2881796 w 3662637"/>
                <a:gd name="connsiteY18" fmla="*/ 1291762 h 4492350"/>
                <a:gd name="connsiteX19" fmla="*/ 2774911 w 3662637"/>
                <a:gd name="connsiteY19" fmla="*/ 2383091 h 4492350"/>
                <a:gd name="connsiteX20" fmla="*/ 3662637 w 3662637"/>
                <a:gd name="connsiteY20" fmla="*/ 1124252 h 4492350"/>
                <a:gd name="connsiteX21" fmla="*/ 2190307 w 3662637"/>
                <a:gd name="connsiteY21" fmla="*/ 3370521 h 4492350"/>
                <a:gd name="connsiteX22" fmla="*/ 2137144 w 3662637"/>
                <a:gd name="connsiteY22" fmla="*/ 3817088 h 4492350"/>
                <a:gd name="connsiteX23" fmla="*/ 3285460 w 3662637"/>
                <a:gd name="connsiteY23" fmla="*/ 3094074 h 4492350"/>
                <a:gd name="connsiteX24" fmla="*/ 2162419 w 3662637"/>
                <a:gd name="connsiteY24" fmla="*/ 4030951 h 4492350"/>
                <a:gd name="connsiteX25" fmla="*/ 2200940 w 3662637"/>
                <a:gd name="connsiteY25" fmla="*/ 4476307 h 4492350"/>
                <a:gd name="connsiteX26" fmla="*/ 2186296 w 3662637"/>
                <a:gd name="connsiteY26" fmla="*/ 4491415 h 4492350"/>
                <a:gd name="connsiteX27" fmla="*/ 1711842 w 3662637"/>
                <a:gd name="connsiteY27" fmla="*/ 4492350 h 4492350"/>
                <a:gd name="connsiteX0" fmla="*/ 1711842 w 3662637"/>
                <a:gd name="connsiteY0" fmla="*/ 4492350 h 4492350"/>
                <a:gd name="connsiteX1" fmla="*/ 1765005 w 3662637"/>
                <a:gd name="connsiteY1" fmla="*/ 3785190 h 4492350"/>
                <a:gd name="connsiteX2" fmla="*/ 1275907 w 3662637"/>
                <a:gd name="connsiteY2" fmla="*/ 3381153 h 4492350"/>
                <a:gd name="connsiteX3" fmla="*/ 0 w 3662637"/>
                <a:gd name="connsiteY3" fmla="*/ 2945218 h 4492350"/>
                <a:gd name="connsiteX4" fmla="*/ 1095154 w 3662637"/>
                <a:gd name="connsiteY4" fmla="*/ 3242930 h 4492350"/>
                <a:gd name="connsiteX5" fmla="*/ 361507 w 3662637"/>
                <a:gd name="connsiteY5" fmla="*/ 2456121 h 4492350"/>
                <a:gd name="connsiteX6" fmla="*/ 1743740 w 3662637"/>
                <a:gd name="connsiteY6" fmla="*/ 3519376 h 4492350"/>
                <a:gd name="connsiteX7" fmla="*/ 1652058 w 3662637"/>
                <a:gd name="connsiteY7" fmla="*/ 2400346 h 4492350"/>
                <a:gd name="connsiteX8" fmla="*/ 28261 w 3662637"/>
                <a:gd name="connsiteY8" fmla="*/ 742880 h 4492350"/>
                <a:gd name="connsiteX9" fmla="*/ 956930 w 3662637"/>
                <a:gd name="connsiteY9" fmla="*/ 1924493 h 4492350"/>
                <a:gd name="connsiteX10" fmla="*/ 1061670 w 3662637"/>
                <a:gd name="connsiteY10" fmla="*/ 857226 h 4492350"/>
                <a:gd name="connsiteX11" fmla="*/ 1162773 w 3662637"/>
                <a:gd name="connsiteY11" fmla="*/ 2026621 h 4492350"/>
                <a:gd name="connsiteX12" fmla="*/ 1682742 w 3662637"/>
                <a:gd name="connsiteY12" fmla="*/ 2194318 h 4492350"/>
                <a:gd name="connsiteX13" fmla="*/ 1924493 w 3662637"/>
                <a:gd name="connsiteY13" fmla="*/ 0 h 4492350"/>
                <a:gd name="connsiteX14" fmla="*/ 1995936 w 3662637"/>
                <a:gd name="connsiteY14" fmla="*/ 986216 h 4492350"/>
                <a:gd name="connsiteX15" fmla="*/ 1850065 w 3662637"/>
                <a:gd name="connsiteY15" fmla="*/ 2060385 h 4492350"/>
                <a:gd name="connsiteX16" fmla="*/ 2025596 w 3662637"/>
                <a:gd name="connsiteY16" fmla="*/ 3046321 h 4492350"/>
                <a:gd name="connsiteX17" fmla="*/ 2615609 w 3662637"/>
                <a:gd name="connsiteY17" fmla="*/ 2519916 h 4492350"/>
                <a:gd name="connsiteX18" fmla="*/ 2881796 w 3662637"/>
                <a:gd name="connsiteY18" fmla="*/ 1291762 h 4492350"/>
                <a:gd name="connsiteX19" fmla="*/ 2774911 w 3662637"/>
                <a:gd name="connsiteY19" fmla="*/ 2383091 h 4492350"/>
                <a:gd name="connsiteX20" fmla="*/ 3662637 w 3662637"/>
                <a:gd name="connsiteY20" fmla="*/ 1124252 h 4492350"/>
                <a:gd name="connsiteX21" fmla="*/ 2190307 w 3662637"/>
                <a:gd name="connsiteY21" fmla="*/ 3370521 h 4492350"/>
                <a:gd name="connsiteX22" fmla="*/ 2137144 w 3662637"/>
                <a:gd name="connsiteY22" fmla="*/ 3817088 h 4492350"/>
                <a:gd name="connsiteX23" fmla="*/ 3285460 w 3662637"/>
                <a:gd name="connsiteY23" fmla="*/ 3094074 h 4492350"/>
                <a:gd name="connsiteX24" fmla="*/ 2162419 w 3662637"/>
                <a:gd name="connsiteY24" fmla="*/ 4030951 h 4492350"/>
                <a:gd name="connsiteX25" fmla="*/ 2200940 w 3662637"/>
                <a:gd name="connsiteY25" fmla="*/ 4476307 h 4492350"/>
                <a:gd name="connsiteX26" fmla="*/ 2186296 w 3662637"/>
                <a:gd name="connsiteY26" fmla="*/ 4491415 h 4492350"/>
                <a:gd name="connsiteX27" fmla="*/ 1711842 w 3662637"/>
                <a:gd name="connsiteY27" fmla="*/ 4492350 h 4492350"/>
                <a:gd name="connsiteX0" fmla="*/ 1711842 w 3662637"/>
                <a:gd name="connsiteY0" fmla="*/ 4492350 h 4492350"/>
                <a:gd name="connsiteX1" fmla="*/ 1765005 w 3662637"/>
                <a:gd name="connsiteY1" fmla="*/ 3785190 h 4492350"/>
                <a:gd name="connsiteX2" fmla="*/ 1275907 w 3662637"/>
                <a:gd name="connsiteY2" fmla="*/ 3381153 h 4492350"/>
                <a:gd name="connsiteX3" fmla="*/ 0 w 3662637"/>
                <a:gd name="connsiteY3" fmla="*/ 2945218 h 4492350"/>
                <a:gd name="connsiteX4" fmla="*/ 1095154 w 3662637"/>
                <a:gd name="connsiteY4" fmla="*/ 3242930 h 4492350"/>
                <a:gd name="connsiteX5" fmla="*/ 381560 w 3662637"/>
                <a:gd name="connsiteY5" fmla="*/ 2432058 h 4492350"/>
                <a:gd name="connsiteX6" fmla="*/ 1743740 w 3662637"/>
                <a:gd name="connsiteY6" fmla="*/ 3519376 h 4492350"/>
                <a:gd name="connsiteX7" fmla="*/ 1652058 w 3662637"/>
                <a:gd name="connsiteY7" fmla="*/ 2400346 h 4492350"/>
                <a:gd name="connsiteX8" fmla="*/ 28261 w 3662637"/>
                <a:gd name="connsiteY8" fmla="*/ 742880 h 4492350"/>
                <a:gd name="connsiteX9" fmla="*/ 956930 w 3662637"/>
                <a:gd name="connsiteY9" fmla="*/ 1924493 h 4492350"/>
                <a:gd name="connsiteX10" fmla="*/ 1061670 w 3662637"/>
                <a:gd name="connsiteY10" fmla="*/ 857226 h 4492350"/>
                <a:gd name="connsiteX11" fmla="*/ 1162773 w 3662637"/>
                <a:gd name="connsiteY11" fmla="*/ 2026621 h 4492350"/>
                <a:gd name="connsiteX12" fmla="*/ 1682742 w 3662637"/>
                <a:gd name="connsiteY12" fmla="*/ 2194318 h 4492350"/>
                <a:gd name="connsiteX13" fmla="*/ 1924493 w 3662637"/>
                <a:gd name="connsiteY13" fmla="*/ 0 h 4492350"/>
                <a:gd name="connsiteX14" fmla="*/ 1995936 w 3662637"/>
                <a:gd name="connsiteY14" fmla="*/ 986216 h 4492350"/>
                <a:gd name="connsiteX15" fmla="*/ 1850065 w 3662637"/>
                <a:gd name="connsiteY15" fmla="*/ 2060385 h 4492350"/>
                <a:gd name="connsiteX16" fmla="*/ 2025596 w 3662637"/>
                <a:gd name="connsiteY16" fmla="*/ 3046321 h 4492350"/>
                <a:gd name="connsiteX17" fmla="*/ 2615609 w 3662637"/>
                <a:gd name="connsiteY17" fmla="*/ 2519916 h 4492350"/>
                <a:gd name="connsiteX18" fmla="*/ 2881796 w 3662637"/>
                <a:gd name="connsiteY18" fmla="*/ 1291762 h 4492350"/>
                <a:gd name="connsiteX19" fmla="*/ 2774911 w 3662637"/>
                <a:gd name="connsiteY19" fmla="*/ 2383091 h 4492350"/>
                <a:gd name="connsiteX20" fmla="*/ 3662637 w 3662637"/>
                <a:gd name="connsiteY20" fmla="*/ 1124252 h 4492350"/>
                <a:gd name="connsiteX21" fmla="*/ 2190307 w 3662637"/>
                <a:gd name="connsiteY21" fmla="*/ 3370521 h 4492350"/>
                <a:gd name="connsiteX22" fmla="*/ 2137144 w 3662637"/>
                <a:gd name="connsiteY22" fmla="*/ 3817088 h 4492350"/>
                <a:gd name="connsiteX23" fmla="*/ 3285460 w 3662637"/>
                <a:gd name="connsiteY23" fmla="*/ 3094074 h 4492350"/>
                <a:gd name="connsiteX24" fmla="*/ 2162419 w 3662637"/>
                <a:gd name="connsiteY24" fmla="*/ 4030951 h 4492350"/>
                <a:gd name="connsiteX25" fmla="*/ 2200940 w 3662637"/>
                <a:gd name="connsiteY25" fmla="*/ 4476307 h 4492350"/>
                <a:gd name="connsiteX26" fmla="*/ 2186296 w 3662637"/>
                <a:gd name="connsiteY26" fmla="*/ 4491415 h 4492350"/>
                <a:gd name="connsiteX27" fmla="*/ 1711842 w 3662637"/>
                <a:gd name="connsiteY27" fmla="*/ 4492350 h 4492350"/>
                <a:gd name="connsiteX0" fmla="*/ 1711842 w 3662637"/>
                <a:gd name="connsiteY0" fmla="*/ 4492350 h 4492350"/>
                <a:gd name="connsiteX1" fmla="*/ 1765005 w 3662637"/>
                <a:gd name="connsiteY1" fmla="*/ 3785190 h 4492350"/>
                <a:gd name="connsiteX2" fmla="*/ 1275907 w 3662637"/>
                <a:gd name="connsiteY2" fmla="*/ 3381153 h 4492350"/>
                <a:gd name="connsiteX3" fmla="*/ 0 w 3662637"/>
                <a:gd name="connsiteY3" fmla="*/ 2945218 h 4492350"/>
                <a:gd name="connsiteX4" fmla="*/ 1095154 w 3662637"/>
                <a:gd name="connsiteY4" fmla="*/ 3242930 h 4492350"/>
                <a:gd name="connsiteX5" fmla="*/ 381560 w 3662637"/>
                <a:gd name="connsiteY5" fmla="*/ 2432058 h 4492350"/>
                <a:gd name="connsiteX6" fmla="*/ 1743740 w 3662637"/>
                <a:gd name="connsiteY6" fmla="*/ 3519376 h 4492350"/>
                <a:gd name="connsiteX7" fmla="*/ 1652058 w 3662637"/>
                <a:gd name="connsiteY7" fmla="*/ 2400346 h 4492350"/>
                <a:gd name="connsiteX8" fmla="*/ 28261 w 3662637"/>
                <a:gd name="connsiteY8" fmla="*/ 742880 h 4492350"/>
                <a:gd name="connsiteX9" fmla="*/ 956930 w 3662637"/>
                <a:gd name="connsiteY9" fmla="*/ 1924493 h 4492350"/>
                <a:gd name="connsiteX10" fmla="*/ 1061670 w 3662637"/>
                <a:gd name="connsiteY10" fmla="*/ 857226 h 4492350"/>
                <a:gd name="connsiteX11" fmla="*/ 1162773 w 3662637"/>
                <a:gd name="connsiteY11" fmla="*/ 2026621 h 4492350"/>
                <a:gd name="connsiteX12" fmla="*/ 1682742 w 3662637"/>
                <a:gd name="connsiteY12" fmla="*/ 2194318 h 4492350"/>
                <a:gd name="connsiteX13" fmla="*/ 1924493 w 3662637"/>
                <a:gd name="connsiteY13" fmla="*/ 0 h 4492350"/>
                <a:gd name="connsiteX14" fmla="*/ 1995936 w 3662637"/>
                <a:gd name="connsiteY14" fmla="*/ 986216 h 4492350"/>
                <a:gd name="connsiteX15" fmla="*/ 1850065 w 3662637"/>
                <a:gd name="connsiteY15" fmla="*/ 2060385 h 4492350"/>
                <a:gd name="connsiteX16" fmla="*/ 2025596 w 3662637"/>
                <a:gd name="connsiteY16" fmla="*/ 3046321 h 4492350"/>
                <a:gd name="connsiteX17" fmla="*/ 2615609 w 3662637"/>
                <a:gd name="connsiteY17" fmla="*/ 2519916 h 4492350"/>
                <a:gd name="connsiteX18" fmla="*/ 2881796 w 3662637"/>
                <a:gd name="connsiteY18" fmla="*/ 1291762 h 4492350"/>
                <a:gd name="connsiteX19" fmla="*/ 2774911 w 3662637"/>
                <a:gd name="connsiteY19" fmla="*/ 2383091 h 4492350"/>
                <a:gd name="connsiteX20" fmla="*/ 3662637 w 3662637"/>
                <a:gd name="connsiteY20" fmla="*/ 1124252 h 4492350"/>
                <a:gd name="connsiteX21" fmla="*/ 2190307 w 3662637"/>
                <a:gd name="connsiteY21" fmla="*/ 3370521 h 4492350"/>
                <a:gd name="connsiteX22" fmla="*/ 2137144 w 3662637"/>
                <a:gd name="connsiteY22" fmla="*/ 3817088 h 4492350"/>
                <a:gd name="connsiteX23" fmla="*/ 3285460 w 3662637"/>
                <a:gd name="connsiteY23" fmla="*/ 3094074 h 4492350"/>
                <a:gd name="connsiteX24" fmla="*/ 2162419 w 3662637"/>
                <a:gd name="connsiteY24" fmla="*/ 4030951 h 4492350"/>
                <a:gd name="connsiteX25" fmla="*/ 2200940 w 3662637"/>
                <a:gd name="connsiteY25" fmla="*/ 4476307 h 4492350"/>
                <a:gd name="connsiteX26" fmla="*/ 2186296 w 3662637"/>
                <a:gd name="connsiteY26" fmla="*/ 4491415 h 4492350"/>
                <a:gd name="connsiteX27" fmla="*/ 1711842 w 3662637"/>
                <a:gd name="connsiteY27" fmla="*/ 4492350 h 4492350"/>
                <a:gd name="connsiteX0" fmla="*/ 1711842 w 3662637"/>
                <a:gd name="connsiteY0" fmla="*/ 4492350 h 4492350"/>
                <a:gd name="connsiteX1" fmla="*/ 1765005 w 3662637"/>
                <a:gd name="connsiteY1" fmla="*/ 3785190 h 4492350"/>
                <a:gd name="connsiteX2" fmla="*/ 1275907 w 3662637"/>
                <a:gd name="connsiteY2" fmla="*/ 3381153 h 4492350"/>
                <a:gd name="connsiteX3" fmla="*/ 0 w 3662637"/>
                <a:gd name="connsiteY3" fmla="*/ 2945218 h 4492350"/>
                <a:gd name="connsiteX4" fmla="*/ 1095154 w 3662637"/>
                <a:gd name="connsiteY4" fmla="*/ 3242930 h 4492350"/>
                <a:gd name="connsiteX5" fmla="*/ 381560 w 3662637"/>
                <a:gd name="connsiteY5" fmla="*/ 2432058 h 4492350"/>
                <a:gd name="connsiteX6" fmla="*/ 1743740 w 3662637"/>
                <a:gd name="connsiteY6" fmla="*/ 3519376 h 4492350"/>
                <a:gd name="connsiteX7" fmla="*/ 1652058 w 3662637"/>
                <a:gd name="connsiteY7" fmla="*/ 2400346 h 4492350"/>
                <a:gd name="connsiteX8" fmla="*/ 28261 w 3662637"/>
                <a:gd name="connsiteY8" fmla="*/ 742880 h 4492350"/>
                <a:gd name="connsiteX9" fmla="*/ 956930 w 3662637"/>
                <a:gd name="connsiteY9" fmla="*/ 1924493 h 4492350"/>
                <a:gd name="connsiteX10" fmla="*/ 1061670 w 3662637"/>
                <a:gd name="connsiteY10" fmla="*/ 857226 h 4492350"/>
                <a:gd name="connsiteX11" fmla="*/ 1162773 w 3662637"/>
                <a:gd name="connsiteY11" fmla="*/ 2026621 h 4492350"/>
                <a:gd name="connsiteX12" fmla="*/ 1682742 w 3662637"/>
                <a:gd name="connsiteY12" fmla="*/ 2194318 h 4492350"/>
                <a:gd name="connsiteX13" fmla="*/ 1924493 w 3662637"/>
                <a:gd name="connsiteY13" fmla="*/ 0 h 4492350"/>
                <a:gd name="connsiteX14" fmla="*/ 1995936 w 3662637"/>
                <a:gd name="connsiteY14" fmla="*/ 986216 h 4492350"/>
                <a:gd name="connsiteX15" fmla="*/ 1850065 w 3662637"/>
                <a:gd name="connsiteY15" fmla="*/ 2060385 h 4492350"/>
                <a:gd name="connsiteX16" fmla="*/ 2025596 w 3662637"/>
                <a:gd name="connsiteY16" fmla="*/ 3046321 h 4492350"/>
                <a:gd name="connsiteX17" fmla="*/ 2615609 w 3662637"/>
                <a:gd name="connsiteY17" fmla="*/ 2519916 h 4492350"/>
                <a:gd name="connsiteX18" fmla="*/ 2881796 w 3662637"/>
                <a:gd name="connsiteY18" fmla="*/ 1291762 h 4492350"/>
                <a:gd name="connsiteX19" fmla="*/ 2774911 w 3662637"/>
                <a:gd name="connsiteY19" fmla="*/ 2383091 h 4492350"/>
                <a:gd name="connsiteX20" fmla="*/ 3662637 w 3662637"/>
                <a:gd name="connsiteY20" fmla="*/ 1124252 h 4492350"/>
                <a:gd name="connsiteX21" fmla="*/ 2190307 w 3662637"/>
                <a:gd name="connsiteY21" fmla="*/ 3370521 h 4492350"/>
                <a:gd name="connsiteX22" fmla="*/ 2137144 w 3662637"/>
                <a:gd name="connsiteY22" fmla="*/ 3817088 h 4492350"/>
                <a:gd name="connsiteX23" fmla="*/ 3285460 w 3662637"/>
                <a:gd name="connsiteY23" fmla="*/ 3094074 h 4492350"/>
                <a:gd name="connsiteX24" fmla="*/ 2162419 w 3662637"/>
                <a:gd name="connsiteY24" fmla="*/ 4030951 h 4492350"/>
                <a:gd name="connsiteX25" fmla="*/ 2200940 w 3662637"/>
                <a:gd name="connsiteY25" fmla="*/ 4476307 h 4492350"/>
                <a:gd name="connsiteX26" fmla="*/ 2186296 w 3662637"/>
                <a:gd name="connsiteY26" fmla="*/ 4491415 h 4492350"/>
                <a:gd name="connsiteX27" fmla="*/ 1711842 w 3662637"/>
                <a:gd name="connsiteY27" fmla="*/ 4492350 h 4492350"/>
                <a:gd name="connsiteX0" fmla="*/ 1711842 w 3662637"/>
                <a:gd name="connsiteY0" fmla="*/ 4492350 h 4492350"/>
                <a:gd name="connsiteX1" fmla="*/ 1765005 w 3662637"/>
                <a:gd name="connsiteY1" fmla="*/ 3785190 h 4492350"/>
                <a:gd name="connsiteX2" fmla="*/ 1275907 w 3662637"/>
                <a:gd name="connsiteY2" fmla="*/ 3381153 h 4492350"/>
                <a:gd name="connsiteX3" fmla="*/ 0 w 3662637"/>
                <a:gd name="connsiteY3" fmla="*/ 2945218 h 4492350"/>
                <a:gd name="connsiteX4" fmla="*/ 1111196 w 3662637"/>
                <a:gd name="connsiteY4" fmla="*/ 3238920 h 4492350"/>
                <a:gd name="connsiteX5" fmla="*/ 381560 w 3662637"/>
                <a:gd name="connsiteY5" fmla="*/ 2432058 h 4492350"/>
                <a:gd name="connsiteX6" fmla="*/ 1743740 w 3662637"/>
                <a:gd name="connsiteY6" fmla="*/ 3519376 h 4492350"/>
                <a:gd name="connsiteX7" fmla="*/ 1652058 w 3662637"/>
                <a:gd name="connsiteY7" fmla="*/ 2400346 h 4492350"/>
                <a:gd name="connsiteX8" fmla="*/ 28261 w 3662637"/>
                <a:gd name="connsiteY8" fmla="*/ 742880 h 4492350"/>
                <a:gd name="connsiteX9" fmla="*/ 956930 w 3662637"/>
                <a:gd name="connsiteY9" fmla="*/ 1924493 h 4492350"/>
                <a:gd name="connsiteX10" fmla="*/ 1061670 w 3662637"/>
                <a:gd name="connsiteY10" fmla="*/ 857226 h 4492350"/>
                <a:gd name="connsiteX11" fmla="*/ 1162773 w 3662637"/>
                <a:gd name="connsiteY11" fmla="*/ 2026621 h 4492350"/>
                <a:gd name="connsiteX12" fmla="*/ 1682742 w 3662637"/>
                <a:gd name="connsiteY12" fmla="*/ 2194318 h 4492350"/>
                <a:gd name="connsiteX13" fmla="*/ 1924493 w 3662637"/>
                <a:gd name="connsiteY13" fmla="*/ 0 h 4492350"/>
                <a:gd name="connsiteX14" fmla="*/ 1995936 w 3662637"/>
                <a:gd name="connsiteY14" fmla="*/ 986216 h 4492350"/>
                <a:gd name="connsiteX15" fmla="*/ 1850065 w 3662637"/>
                <a:gd name="connsiteY15" fmla="*/ 2060385 h 4492350"/>
                <a:gd name="connsiteX16" fmla="*/ 2025596 w 3662637"/>
                <a:gd name="connsiteY16" fmla="*/ 3046321 h 4492350"/>
                <a:gd name="connsiteX17" fmla="*/ 2615609 w 3662637"/>
                <a:gd name="connsiteY17" fmla="*/ 2519916 h 4492350"/>
                <a:gd name="connsiteX18" fmla="*/ 2881796 w 3662637"/>
                <a:gd name="connsiteY18" fmla="*/ 1291762 h 4492350"/>
                <a:gd name="connsiteX19" fmla="*/ 2774911 w 3662637"/>
                <a:gd name="connsiteY19" fmla="*/ 2383091 h 4492350"/>
                <a:gd name="connsiteX20" fmla="*/ 3662637 w 3662637"/>
                <a:gd name="connsiteY20" fmla="*/ 1124252 h 4492350"/>
                <a:gd name="connsiteX21" fmla="*/ 2190307 w 3662637"/>
                <a:gd name="connsiteY21" fmla="*/ 3370521 h 4492350"/>
                <a:gd name="connsiteX22" fmla="*/ 2137144 w 3662637"/>
                <a:gd name="connsiteY22" fmla="*/ 3817088 h 4492350"/>
                <a:gd name="connsiteX23" fmla="*/ 3285460 w 3662637"/>
                <a:gd name="connsiteY23" fmla="*/ 3094074 h 4492350"/>
                <a:gd name="connsiteX24" fmla="*/ 2162419 w 3662637"/>
                <a:gd name="connsiteY24" fmla="*/ 4030951 h 4492350"/>
                <a:gd name="connsiteX25" fmla="*/ 2200940 w 3662637"/>
                <a:gd name="connsiteY25" fmla="*/ 4476307 h 4492350"/>
                <a:gd name="connsiteX26" fmla="*/ 2186296 w 3662637"/>
                <a:gd name="connsiteY26" fmla="*/ 4491415 h 4492350"/>
                <a:gd name="connsiteX27" fmla="*/ 1711842 w 3662637"/>
                <a:gd name="connsiteY27" fmla="*/ 4492350 h 4492350"/>
                <a:gd name="connsiteX0" fmla="*/ 1711842 w 3662637"/>
                <a:gd name="connsiteY0" fmla="*/ 4492350 h 4492350"/>
                <a:gd name="connsiteX1" fmla="*/ 1765005 w 3662637"/>
                <a:gd name="connsiteY1" fmla="*/ 3785190 h 4492350"/>
                <a:gd name="connsiteX2" fmla="*/ 1275907 w 3662637"/>
                <a:gd name="connsiteY2" fmla="*/ 3381153 h 4492350"/>
                <a:gd name="connsiteX3" fmla="*/ 0 w 3662637"/>
                <a:gd name="connsiteY3" fmla="*/ 2945218 h 4492350"/>
                <a:gd name="connsiteX4" fmla="*/ 1111196 w 3662637"/>
                <a:gd name="connsiteY4" fmla="*/ 3238920 h 4492350"/>
                <a:gd name="connsiteX5" fmla="*/ 381560 w 3662637"/>
                <a:gd name="connsiteY5" fmla="*/ 2432058 h 4492350"/>
                <a:gd name="connsiteX6" fmla="*/ 1743740 w 3662637"/>
                <a:gd name="connsiteY6" fmla="*/ 3519376 h 4492350"/>
                <a:gd name="connsiteX7" fmla="*/ 1652058 w 3662637"/>
                <a:gd name="connsiteY7" fmla="*/ 2400346 h 4492350"/>
                <a:gd name="connsiteX8" fmla="*/ 28261 w 3662637"/>
                <a:gd name="connsiteY8" fmla="*/ 742880 h 4492350"/>
                <a:gd name="connsiteX9" fmla="*/ 956930 w 3662637"/>
                <a:gd name="connsiteY9" fmla="*/ 1924493 h 4492350"/>
                <a:gd name="connsiteX10" fmla="*/ 1061670 w 3662637"/>
                <a:gd name="connsiteY10" fmla="*/ 857226 h 4492350"/>
                <a:gd name="connsiteX11" fmla="*/ 1162773 w 3662637"/>
                <a:gd name="connsiteY11" fmla="*/ 2026621 h 4492350"/>
                <a:gd name="connsiteX12" fmla="*/ 1682742 w 3662637"/>
                <a:gd name="connsiteY12" fmla="*/ 2194318 h 4492350"/>
                <a:gd name="connsiteX13" fmla="*/ 1924493 w 3662637"/>
                <a:gd name="connsiteY13" fmla="*/ 0 h 4492350"/>
                <a:gd name="connsiteX14" fmla="*/ 1995936 w 3662637"/>
                <a:gd name="connsiteY14" fmla="*/ 986216 h 4492350"/>
                <a:gd name="connsiteX15" fmla="*/ 1850065 w 3662637"/>
                <a:gd name="connsiteY15" fmla="*/ 2060385 h 4492350"/>
                <a:gd name="connsiteX16" fmla="*/ 2025596 w 3662637"/>
                <a:gd name="connsiteY16" fmla="*/ 3046321 h 4492350"/>
                <a:gd name="connsiteX17" fmla="*/ 2615609 w 3662637"/>
                <a:gd name="connsiteY17" fmla="*/ 2519916 h 4492350"/>
                <a:gd name="connsiteX18" fmla="*/ 2881796 w 3662637"/>
                <a:gd name="connsiteY18" fmla="*/ 1291762 h 4492350"/>
                <a:gd name="connsiteX19" fmla="*/ 2774911 w 3662637"/>
                <a:gd name="connsiteY19" fmla="*/ 2383091 h 4492350"/>
                <a:gd name="connsiteX20" fmla="*/ 3662637 w 3662637"/>
                <a:gd name="connsiteY20" fmla="*/ 1124252 h 4492350"/>
                <a:gd name="connsiteX21" fmla="*/ 2190307 w 3662637"/>
                <a:gd name="connsiteY21" fmla="*/ 3370521 h 4492350"/>
                <a:gd name="connsiteX22" fmla="*/ 2137144 w 3662637"/>
                <a:gd name="connsiteY22" fmla="*/ 3817088 h 4492350"/>
                <a:gd name="connsiteX23" fmla="*/ 3285460 w 3662637"/>
                <a:gd name="connsiteY23" fmla="*/ 3094074 h 4492350"/>
                <a:gd name="connsiteX24" fmla="*/ 2162419 w 3662637"/>
                <a:gd name="connsiteY24" fmla="*/ 4030951 h 4492350"/>
                <a:gd name="connsiteX25" fmla="*/ 2200940 w 3662637"/>
                <a:gd name="connsiteY25" fmla="*/ 4476307 h 4492350"/>
                <a:gd name="connsiteX26" fmla="*/ 2186296 w 3662637"/>
                <a:gd name="connsiteY26" fmla="*/ 4491415 h 4492350"/>
                <a:gd name="connsiteX27" fmla="*/ 1711842 w 3662637"/>
                <a:gd name="connsiteY27" fmla="*/ 4492350 h 4492350"/>
                <a:gd name="connsiteX0" fmla="*/ 1711842 w 3662637"/>
                <a:gd name="connsiteY0" fmla="*/ 4492350 h 4492350"/>
                <a:gd name="connsiteX1" fmla="*/ 1765005 w 3662637"/>
                <a:gd name="connsiteY1" fmla="*/ 3785190 h 4492350"/>
                <a:gd name="connsiteX2" fmla="*/ 1275907 w 3662637"/>
                <a:gd name="connsiteY2" fmla="*/ 3381153 h 4492350"/>
                <a:gd name="connsiteX3" fmla="*/ 0 w 3662637"/>
                <a:gd name="connsiteY3" fmla="*/ 2945218 h 4492350"/>
                <a:gd name="connsiteX4" fmla="*/ 1111196 w 3662637"/>
                <a:gd name="connsiteY4" fmla="*/ 3238920 h 4492350"/>
                <a:gd name="connsiteX5" fmla="*/ 381560 w 3662637"/>
                <a:gd name="connsiteY5" fmla="*/ 2432058 h 4492350"/>
                <a:gd name="connsiteX6" fmla="*/ 1743740 w 3662637"/>
                <a:gd name="connsiteY6" fmla="*/ 3519376 h 4492350"/>
                <a:gd name="connsiteX7" fmla="*/ 1652058 w 3662637"/>
                <a:gd name="connsiteY7" fmla="*/ 2400346 h 4492350"/>
                <a:gd name="connsiteX8" fmla="*/ 28261 w 3662637"/>
                <a:gd name="connsiteY8" fmla="*/ 742880 h 4492350"/>
                <a:gd name="connsiteX9" fmla="*/ 956930 w 3662637"/>
                <a:gd name="connsiteY9" fmla="*/ 1924493 h 4492350"/>
                <a:gd name="connsiteX10" fmla="*/ 1061670 w 3662637"/>
                <a:gd name="connsiteY10" fmla="*/ 857226 h 4492350"/>
                <a:gd name="connsiteX11" fmla="*/ 1162773 w 3662637"/>
                <a:gd name="connsiteY11" fmla="*/ 2026621 h 4492350"/>
                <a:gd name="connsiteX12" fmla="*/ 1682742 w 3662637"/>
                <a:gd name="connsiteY12" fmla="*/ 2194318 h 4492350"/>
                <a:gd name="connsiteX13" fmla="*/ 1924493 w 3662637"/>
                <a:gd name="connsiteY13" fmla="*/ 0 h 4492350"/>
                <a:gd name="connsiteX14" fmla="*/ 1995936 w 3662637"/>
                <a:gd name="connsiteY14" fmla="*/ 986216 h 4492350"/>
                <a:gd name="connsiteX15" fmla="*/ 1850065 w 3662637"/>
                <a:gd name="connsiteY15" fmla="*/ 2060385 h 4492350"/>
                <a:gd name="connsiteX16" fmla="*/ 2025596 w 3662637"/>
                <a:gd name="connsiteY16" fmla="*/ 3046321 h 4492350"/>
                <a:gd name="connsiteX17" fmla="*/ 2615609 w 3662637"/>
                <a:gd name="connsiteY17" fmla="*/ 2519916 h 4492350"/>
                <a:gd name="connsiteX18" fmla="*/ 2881796 w 3662637"/>
                <a:gd name="connsiteY18" fmla="*/ 1291762 h 4492350"/>
                <a:gd name="connsiteX19" fmla="*/ 2774911 w 3662637"/>
                <a:gd name="connsiteY19" fmla="*/ 2383091 h 4492350"/>
                <a:gd name="connsiteX20" fmla="*/ 3662637 w 3662637"/>
                <a:gd name="connsiteY20" fmla="*/ 1124252 h 4492350"/>
                <a:gd name="connsiteX21" fmla="*/ 2190307 w 3662637"/>
                <a:gd name="connsiteY21" fmla="*/ 3370521 h 4492350"/>
                <a:gd name="connsiteX22" fmla="*/ 2137144 w 3662637"/>
                <a:gd name="connsiteY22" fmla="*/ 3817088 h 4492350"/>
                <a:gd name="connsiteX23" fmla="*/ 3285460 w 3662637"/>
                <a:gd name="connsiteY23" fmla="*/ 3094074 h 4492350"/>
                <a:gd name="connsiteX24" fmla="*/ 2162419 w 3662637"/>
                <a:gd name="connsiteY24" fmla="*/ 4030951 h 4492350"/>
                <a:gd name="connsiteX25" fmla="*/ 2200940 w 3662637"/>
                <a:gd name="connsiteY25" fmla="*/ 4476307 h 4492350"/>
                <a:gd name="connsiteX26" fmla="*/ 2186296 w 3662637"/>
                <a:gd name="connsiteY26" fmla="*/ 4491415 h 4492350"/>
                <a:gd name="connsiteX27" fmla="*/ 1711842 w 3662637"/>
                <a:gd name="connsiteY27" fmla="*/ 4492350 h 4492350"/>
                <a:gd name="connsiteX0" fmla="*/ 1711842 w 3662637"/>
                <a:gd name="connsiteY0" fmla="*/ 4492350 h 4492350"/>
                <a:gd name="connsiteX1" fmla="*/ 1765005 w 3662637"/>
                <a:gd name="connsiteY1" fmla="*/ 3785190 h 4492350"/>
                <a:gd name="connsiteX2" fmla="*/ 1275907 w 3662637"/>
                <a:gd name="connsiteY2" fmla="*/ 3381153 h 4492350"/>
                <a:gd name="connsiteX3" fmla="*/ 0 w 3662637"/>
                <a:gd name="connsiteY3" fmla="*/ 2945218 h 4492350"/>
                <a:gd name="connsiteX4" fmla="*/ 1111196 w 3662637"/>
                <a:gd name="connsiteY4" fmla="*/ 3238920 h 4492350"/>
                <a:gd name="connsiteX5" fmla="*/ 381560 w 3662637"/>
                <a:gd name="connsiteY5" fmla="*/ 2432058 h 4492350"/>
                <a:gd name="connsiteX6" fmla="*/ 1743740 w 3662637"/>
                <a:gd name="connsiteY6" fmla="*/ 3519376 h 4492350"/>
                <a:gd name="connsiteX7" fmla="*/ 1652058 w 3662637"/>
                <a:gd name="connsiteY7" fmla="*/ 2400346 h 4492350"/>
                <a:gd name="connsiteX8" fmla="*/ 28261 w 3662637"/>
                <a:gd name="connsiteY8" fmla="*/ 742880 h 4492350"/>
                <a:gd name="connsiteX9" fmla="*/ 956930 w 3662637"/>
                <a:gd name="connsiteY9" fmla="*/ 1924493 h 4492350"/>
                <a:gd name="connsiteX10" fmla="*/ 1061670 w 3662637"/>
                <a:gd name="connsiteY10" fmla="*/ 857226 h 4492350"/>
                <a:gd name="connsiteX11" fmla="*/ 1162773 w 3662637"/>
                <a:gd name="connsiteY11" fmla="*/ 2026621 h 4492350"/>
                <a:gd name="connsiteX12" fmla="*/ 1682742 w 3662637"/>
                <a:gd name="connsiteY12" fmla="*/ 2194318 h 4492350"/>
                <a:gd name="connsiteX13" fmla="*/ 1924493 w 3662637"/>
                <a:gd name="connsiteY13" fmla="*/ 0 h 4492350"/>
                <a:gd name="connsiteX14" fmla="*/ 1995936 w 3662637"/>
                <a:gd name="connsiteY14" fmla="*/ 986216 h 4492350"/>
                <a:gd name="connsiteX15" fmla="*/ 1850065 w 3662637"/>
                <a:gd name="connsiteY15" fmla="*/ 2060385 h 4492350"/>
                <a:gd name="connsiteX16" fmla="*/ 2025596 w 3662637"/>
                <a:gd name="connsiteY16" fmla="*/ 3046321 h 4492350"/>
                <a:gd name="connsiteX17" fmla="*/ 2615609 w 3662637"/>
                <a:gd name="connsiteY17" fmla="*/ 2519916 h 4492350"/>
                <a:gd name="connsiteX18" fmla="*/ 2881796 w 3662637"/>
                <a:gd name="connsiteY18" fmla="*/ 1291762 h 4492350"/>
                <a:gd name="connsiteX19" fmla="*/ 2774911 w 3662637"/>
                <a:gd name="connsiteY19" fmla="*/ 2383091 h 4492350"/>
                <a:gd name="connsiteX20" fmla="*/ 3662637 w 3662637"/>
                <a:gd name="connsiteY20" fmla="*/ 1124252 h 4492350"/>
                <a:gd name="connsiteX21" fmla="*/ 2190307 w 3662637"/>
                <a:gd name="connsiteY21" fmla="*/ 3370521 h 4492350"/>
                <a:gd name="connsiteX22" fmla="*/ 2137144 w 3662637"/>
                <a:gd name="connsiteY22" fmla="*/ 3817088 h 4492350"/>
                <a:gd name="connsiteX23" fmla="*/ 3285460 w 3662637"/>
                <a:gd name="connsiteY23" fmla="*/ 3094074 h 4492350"/>
                <a:gd name="connsiteX24" fmla="*/ 2162419 w 3662637"/>
                <a:gd name="connsiteY24" fmla="*/ 4030951 h 4492350"/>
                <a:gd name="connsiteX25" fmla="*/ 2200940 w 3662637"/>
                <a:gd name="connsiteY25" fmla="*/ 4476307 h 4492350"/>
                <a:gd name="connsiteX26" fmla="*/ 2186296 w 3662637"/>
                <a:gd name="connsiteY26" fmla="*/ 4491415 h 4492350"/>
                <a:gd name="connsiteX27" fmla="*/ 1711842 w 3662637"/>
                <a:gd name="connsiteY27" fmla="*/ 4492350 h 4492350"/>
                <a:gd name="connsiteX0" fmla="*/ 1711842 w 3662637"/>
                <a:gd name="connsiteY0" fmla="*/ 4492350 h 4492350"/>
                <a:gd name="connsiteX1" fmla="*/ 1765005 w 3662637"/>
                <a:gd name="connsiteY1" fmla="*/ 3785190 h 4492350"/>
                <a:gd name="connsiteX2" fmla="*/ 1275907 w 3662637"/>
                <a:gd name="connsiteY2" fmla="*/ 3381153 h 4492350"/>
                <a:gd name="connsiteX3" fmla="*/ 0 w 3662637"/>
                <a:gd name="connsiteY3" fmla="*/ 2945218 h 4492350"/>
                <a:gd name="connsiteX4" fmla="*/ 1111196 w 3662637"/>
                <a:gd name="connsiteY4" fmla="*/ 3238920 h 4492350"/>
                <a:gd name="connsiteX5" fmla="*/ 381560 w 3662637"/>
                <a:gd name="connsiteY5" fmla="*/ 2432058 h 4492350"/>
                <a:gd name="connsiteX6" fmla="*/ 1743740 w 3662637"/>
                <a:gd name="connsiteY6" fmla="*/ 3519376 h 4492350"/>
                <a:gd name="connsiteX7" fmla="*/ 1652058 w 3662637"/>
                <a:gd name="connsiteY7" fmla="*/ 2400346 h 4492350"/>
                <a:gd name="connsiteX8" fmla="*/ 28261 w 3662637"/>
                <a:gd name="connsiteY8" fmla="*/ 742880 h 4492350"/>
                <a:gd name="connsiteX9" fmla="*/ 956930 w 3662637"/>
                <a:gd name="connsiteY9" fmla="*/ 1924493 h 4492350"/>
                <a:gd name="connsiteX10" fmla="*/ 1061670 w 3662637"/>
                <a:gd name="connsiteY10" fmla="*/ 857226 h 4492350"/>
                <a:gd name="connsiteX11" fmla="*/ 1162773 w 3662637"/>
                <a:gd name="connsiteY11" fmla="*/ 2026621 h 4492350"/>
                <a:gd name="connsiteX12" fmla="*/ 1682742 w 3662637"/>
                <a:gd name="connsiteY12" fmla="*/ 2194318 h 4492350"/>
                <a:gd name="connsiteX13" fmla="*/ 1924493 w 3662637"/>
                <a:gd name="connsiteY13" fmla="*/ 0 h 4492350"/>
                <a:gd name="connsiteX14" fmla="*/ 1995936 w 3662637"/>
                <a:gd name="connsiteY14" fmla="*/ 986216 h 4492350"/>
                <a:gd name="connsiteX15" fmla="*/ 1850065 w 3662637"/>
                <a:gd name="connsiteY15" fmla="*/ 2060385 h 4492350"/>
                <a:gd name="connsiteX16" fmla="*/ 2025596 w 3662637"/>
                <a:gd name="connsiteY16" fmla="*/ 3046321 h 4492350"/>
                <a:gd name="connsiteX17" fmla="*/ 2615609 w 3662637"/>
                <a:gd name="connsiteY17" fmla="*/ 2519916 h 4492350"/>
                <a:gd name="connsiteX18" fmla="*/ 2881796 w 3662637"/>
                <a:gd name="connsiteY18" fmla="*/ 1291762 h 4492350"/>
                <a:gd name="connsiteX19" fmla="*/ 2774911 w 3662637"/>
                <a:gd name="connsiteY19" fmla="*/ 2383091 h 4492350"/>
                <a:gd name="connsiteX20" fmla="*/ 3662637 w 3662637"/>
                <a:gd name="connsiteY20" fmla="*/ 1124252 h 4492350"/>
                <a:gd name="connsiteX21" fmla="*/ 2190307 w 3662637"/>
                <a:gd name="connsiteY21" fmla="*/ 3370521 h 4492350"/>
                <a:gd name="connsiteX22" fmla="*/ 2137144 w 3662637"/>
                <a:gd name="connsiteY22" fmla="*/ 3817088 h 4492350"/>
                <a:gd name="connsiteX23" fmla="*/ 3285460 w 3662637"/>
                <a:gd name="connsiteY23" fmla="*/ 3094074 h 4492350"/>
                <a:gd name="connsiteX24" fmla="*/ 2162419 w 3662637"/>
                <a:gd name="connsiteY24" fmla="*/ 4030951 h 4492350"/>
                <a:gd name="connsiteX25" fmla="*/ 2200940 w 3662637"/>
                <a:gd name="connsiteY25" fmla="*/ 4476307 h 4492350"/>
                <a:gd name="connsiteX26" fmla="*/ 2186296 w 3662637"/>
                <a:gd name="connsiteY26" fmla="*/ 4491415 h 4492350"/>
                <a:gd name="connsiteX27" fmla="*/ 1711842 w 3662637"/>
                <a:gd name="connsiteY27" fmla="*/ 4492350 h 4492350"/>
                <a:gd name="connsiteX0" fmla="*/ 1711842 w 3662637"/>
                <a:gd name="connsiteY0" fmla="*/ 4492350 h 4492350"/>
                <a:gd name="connsiteX1" fmla="*/ 1765005 w 3662637"/>
                <a:gd name="connsiteY1" fmla="*/ 3785190 h 4492350"/>
                <a:gd name="connsiteX2" fmla="*/ 1275907 w 3662637"/>
                <a:gd name="connsiteY2" fmla="*/ 3381153 h 4492350"/>
                <a:gd name="connsiteX3" fmla="*/ 0 w 3662637"/>
                <a:gd name="connsiteY3" fmla="*/ 2945218 h 4492350"/>
                <a:gd name="connsiteX4" fmla="*/ 1111196 w 3662637"/>
                <a:gd name="connsiteY4" fmla="*/ 3238920 h 4492350"/>
                <a:gd name="connsiteX5" fmla="*/ 381560 w 3662637"/>
                <a:gd name="connsiteY5" fmla="*/ 2432058 h 4492350"/>
                <a:gd name="connsiteX6" fmla="*/ 1743740 w 3662637"/>
                <a:gd name="connsiteY6" fmla="*/ 3519376 h 4492350"/>
                <a:gd name="connsiteX7" fmla="*/ 1652058 w 3662637"/>
                <a:gd name="connsiteY7" fmla="*/ 2400346 h 4492350"/>
                <a:gd name="connsiteX8" fmla="*/ 28261 w 3662637"/>
                <a:gd name="connsiteY8" fmla="*/ 742880 h 4492350"/>
                <a:gd name="connsiteX9" fmla="*/ 956930 w 3662637"/>
                <a:gd name="connsiteY9" fmla="*/ 1924493 h 4492350"/>
                <a:gd name="connsiteX10" fmla="*/ 1061670 w 3662637"/>
                <a:gd name="connsiteY10" fmla="*/ 857226 h 4492350"/>
                <a:gd name="connsiteX11" fmla="*/ 1162773 w 3662637"/>
                <a:gd name="connsiteY11" fmla="*/ 2026621 h 4492350"/>
                <a:gd name="connsiteX12" fmla="*/ 1682742 w 3662637"/>
                <a:gd name="connsiteY12" fmla="*/ 2194318 h 4492350"/>
                <a:gd name="connsiteX13" fmla="*/ 1924493 w 3662637"/>
                <a:gd name="connsiteY13" fmla="*/ 0 h 4492350"/>
                <a:gd name="connsiteX14" fmla="*/ 1995936 w 3662637"/>
                <a:gd name="connsiteY14" fmla="*/ 986216 h 4492350"/>
                <a:gd name="connsiteX15" fmla="*/ 1850065 w 3662637"/>
                <a:gd name="connsiteY15" fmla="*/ 2060385 h 4492350"/>
                <a:gd name="connsiteX16" fmla="*/ 2025596 w 3662637"/>
                <a:gd name="connsiteY16" fmla="*/ 3046321 h 4492350"/>
                <a:gd name="connsiteX17" fmla="*/ 2615609 w 3662637"/>
                <a:gd name="connsiteY17" fmla="*/ 2519916 h 4492350"/>
                <a:gd name="connsiteX18" fmla="*/ 2881796 w 3662637"/>
                <a:gd name="connsiteY18" fmla="*/ 1291762 h 4492350"/>
                <a:gd name="connsiteX19" fmla="*/ 2774911 w 3662637"/>
                <a:gd name="connsiteY19" fmla="*/ 2383091 h 4492350"/>
                <a:gd name="connsiteX20" fmla="*/ 3662637 w 3662637"/>
                <a:gd name="connsiteY20" fmla="*/ 1124252 h 4492350"/>
                <a:gd name="connsiteX21" fmla="*/ 2190307 w 3662637"/>
                <a:gd name="connsiteY21" fmla="*/ 3370521 h 4492350"/>
                <a:gd name="connsiteX22" fmla="*/ 2137144 w 3662637"/>
                <a:gd name="connsiteY22" fmla="*/ 3817088 h 4492350"/>
                <a:gd name="connsiteX23" fmla="*/ 3285460 w 3662637"/>
                <a:gd name="connsiteY23" fmla="*/ 3094074 h 4492350"/>
                <a:gd name="connsiteX24" fmla="*/ 2162419 w 3662637"/>
                <a:gd name="connsiteY24" fmla="*/ 4030951 h 4492350"/>
                <a:gd name="connsiteX25" fmla="*/ 2200940 w 3662637"/>
                <a:gd name="connsiteY25" fmla="*/ 4476307 h 4492350"/>
                <a:gd name="connsiteX26" fmla="*/ 2186296 w 3662637"/>
                <a:gd name="connsiteY26" fmla="*/ 4491415 h 4492350"/>
                <a:gd name="connsiteX27" fmla="*/ 1711842 w 3662637"/>
                <a:gd name="connsiteY27" fmla="*/ 4492350 h 4492350"/>
                <a:gd name="connsiteX0" fmla="*/ 1711842 w 3662637"/>
                <a:gd name="connsiteY0" fmla="*/ 4492350 h 4492350"/>
                <a:gd name="connsiteX1" fmla="*/ 1765005 w 3662637"/>
                <a:gd name="connsiteY1" fmla="*/ 3785190 h 4492350"/>
                <a:gd name="connsiteX2" fmla="*/ 1275907 w 3662637"/>
                <a:gd name="connsiteY2" fmla="*/ 3381153 h 4492350"/>
                <a:gd name="connsiteX3" fmla="*/ 0 w 3662637"/>
                <a:gd name="connsiteY3" fmla="*/ 2945218 h 4492350"/>
                <a:gd name="connsiteX4" fmla="*/ 1111196 w 3662637"/>
                <a:gd name="connsiteY4" fmla="*/ 3238920 h 4492350"/>
                <a:gd name="connsiteX5" fmla="*/ 381560 w 3662637"/>
                <a:gd name="connsiteY5" fmla="*/ 2432058 h 4492350"/>
                <a:gd name="connsiteX6" fmla="*/ 1743740 w 3662637"/>
                <a:gd name="connsiteY6" fmla="*/ 3519376 h 4492350"/>
                <a:gd name="connsiteX7" fmla="*/ 1652058 w 3662637"/>
                <a:gd name="connsiteY7" fmla="*/ 2400346 h 4492350"/>
                <a:gd name="connsiteX8" fmla="*/ 28261 w 3662637"/>
                <a:gd name="connsiteY8" fmla="*/ 742880 h 4492350"/>
                <a:gd name="connsiteX9" fmla="*/ 956930 w 3662637"/>
                <a:gd name="connsiteY9" fmla="*/ 1924493 h 4492350"/>
                <a:gd name="connsiteX10" fmla="*/ 1061670 w 3662637"/>
                <a:gd name="connsiteY10" fmla="*/ 857226 h 4492350"/>
                <a:gd name="connsiteX11" fmla="*/ 1162773 w 3662637"/>
                <a:gd name="connsiteY11" fmla="*/ 2026621 h 4492350"/>
                <a:gd name="connsiteX12" fmla="*/ 1682742 w 3662637"/>
                <a:gd name="connsiteY12" fmla="*/ 2194318 h 4492350"/>
                <a:gd name="connsiteX13" fmla="*/ 1924493 w 3662637"/>
                <a:gd name="connsiteY13" fmla="*/ 0 h 4492350"/>
                <a:gd name="connsiteX14" fmla="*/ 1995936 w 3662637"/>
                <a:gd name="connsiteY14" fmla="*/ 986216 h 4492350"/>
                <a:gd name="connsiteX15" fmla="*/ 1850065 w 3662637"/>
                <a:gd name="connsiteY15" fmla="*/ 2060385 h 4492350"/>
                <a:gd name="connsiteX16" fmla="*/ 2025596 w 3662637"/>
                <a:gd name="connsiteY16" fmla="*/ 3046321 h 4492350"/>
                <a:gd name="connsiteX17" fmla="*/ 2615609 w 3662637"/>
                <a:gd name="connsiteY17" fmla="*/ 2519916 h 4492350"/>
                <a:gd name="connsiteX18" fmla="*/ 2881796 w 3662637"/>
                <a:gd name="connsiteY18" fmla="*/ 1291762 h 4492350"/>
                <a:gd name="connsiteX19" fmla="*/ 2774911 w 3662637"/>
                <a:gd name="connsiteY19" fmla="*/ 2383091 h 4492350"/>
                <a:gd name="connsiteX20" fmla="*/ 3662637 w 3662637"/>
                <a:gd name="connsiteY20" fmla="*/ 1124252 h 4492350"/>
                <a:gd name="connsiteX21" fmla="*/ 2190307 w 3662637"/>
                <a:gd name="connsiteY21" fmla="*/ 3370521 h 4492350"/>
                <a:gd name="connsiteX22" fmla="*/ 2137144 w 3662637"/>
                <a:gd name="connsiteY22" fmla="*/ 3817088 h 4492350"/>
                <a:gd name="connsiteX23" fmla="*/ 3285460 w 3662637"/>
                <a:gd name="connsiteY23" fmla="*/ 3094074 h 4492350"/>
                <a:gd name="connsiteX24" fmla="*/ 2162419 w 3662637"/>
                <a:gd name="connsiteY24" fmla="*/ 4030951 h 4492350"/>
                <a:gd name="connsiteX25" fmla="*/ 2200940 w 3662637"/>
                <a:gd name="connsiteY25" fmla="*/ 4476307 h 4492350"/>
                <a:gd name="connsiteX26" fmla="*/ 2186296 w 3662637"/>
                <a:gd name="connsiteY26" fmla="*/ 4491415 h 4492350"/>
                <a:gd name="connsiteX27" fmla="*/ 1711842 w 3662637"/>
                <a:gd name="connsiteY27" fmla="*/ 4492350 h 4492350"/>
                <a:gd name="connsiteX0" fmla="*/ 1711842 w 3662637"/>
                <a:gd name="connsiteY0" fmla="*/ 4492350 h 4492350"/>
                <a:gd name="connsiteX1" fmla="*/ 1765005 w 3662637"/>
                <a:gd name="connsiteY1" fmla="*/ 3785190 h 4492350"/>
                <a:gd name="connsiteX2" fmla="*/ 1275907 w 3662637"/>
                <a:gd name="connsiteY2" fmla="*/ 3381153 h 4492350"/>
                <a:gd name="connsiteX3" fmla="*/ 0 w 3662637"/>
                <a:gd name="connsiteY3" fmla="*/ 2945218 h 4492350"/>
                <a:gd name="connsiteX4" fmla="*/ 1111196 w 3662637"/>
                <a:gd name="connsiteY4" fmla="*/ 3238920 h 4492350"/>
                <a:gd name="connsiteX5" fmla="*/ 381560 w 3662637"/>
                <a:gd name="connsiteY5" fmla="*/ 2432058 h 4492350"/>
                <a:gd name="connsiteX6" fmla="*/ 1743740 w 3662637"/>
                <a:gd name="connsiteY6" fmla="*/ 3519376 h 4492350"/>
                <a:gd name="connsiteX7" fmla="*/ 1652058 w 3662637"/>
                <a:gd name="connsiteY7" fmla="*/ 2400346 h 4492350"/>
                <a:gd name="connsiteX8" fmla="*/ 28261 w 3662637"/>
                <a:gd name="connsiteY8" fmla="*/ 742880 h 4492350"/>
                <a:gd name="connsiteX9" fmla="*/ 956930 w 3662637"/>
                <a:gd name="connsiteY9" fmla="*/ 1924493 h 4492350"/>
                <a:gd name="connsiteX10" fmla="*/ 1061670 w 3662637"/>
                <a:gd name="connsiteY10" fmla="*/ 857226 h 4492350"/>
                <a:gd name="connsiteX11" fmla="*/ 1162773 w 3662637"/>
                <a:gd name="connsiteY11" fmla="*/ 2026621 h 4492350"/>
                <a:gd name="connsiteX12" fmla="*/ 1682742 w 3662637"/>
                <a:gd name="connsiteY12" fmla="*/ 2194318 h 4492350"/>
                <a:gd name="connsiteX13" fmla="*/ 1924493 w 3662637"/>
                <a:gd name="connsiteY13" fmla="*/ 0 h 4492350"/>
                <a:gd name="connsiteX14" fmla="*/ 1995936 w 3662637"/>
                <a:gd name="connsiteY14" fmla="*/ 986216 h 4492350"/>
                <a:gd name="connsiteX15" fmla="*/ 1850065 w 3662637"/>
                <a:gd name="connsiteY15" fmla="*/ 2060385 h 4492350"/>
                <a:gd name="connsiteX16" fmla="*/ 2025596 w 3662637"/>
                <a:gd name="connsiteY16" fmla="*/ 3046321 h 4492350"/>
                <a:gd name="connsiteX17" fmla="*/ 2615609 w 3662637"/>
                <a:gd name="connsiteY17" fmla="*/ 2519916 h 4492350"/>
                <a:gd name="connsiteX18" fmla="*/ 2881796 w 3662637"/>
                <a:gd name="connsiteY18" fmla="*/ 1291762 h 4492350"/>
                <a:gd name="connsiteX19" fmla="*/ 2774911 w 3662637"/>
                <a:gd name="connsiteY19" fmla="*/ 2383091 h 4492350"/>
                <a:gd name="connsiteX20" fmla="*/ 3662637 w 3662637"/>
                <a:gd name="connsiteY20" fmla="*/ 1124252 h 4492350"/>
                <a:gd name="connsiteX21" fmla="*/ 2190307 w 3662637"/>
                <a:gd name="connsiteY21" fmla="*/ 3370521 h 4492350"/>
                <a:gd name="connsiteX22" fmla="*/ 2137144 w 3662637"/>
                <a:gd name="connsiteY22" fmla="*/ 3817088 h 4492350"/>
                <a:gd name="connsiteX23" fmla="*/ 3285460 w 3662637"/>
                <a:gd name="connsiteY23" fmla="*/ 3094074 h 4492350"/>
                <a:gd name="connsiteX24" fmla="*/ 2162419 w 3662637"/>
                <a:gd name="connsiteY24" fmla="*/ 4030951 h 4492350"/>
                <a:gd name="connsiteX25" fmla="*/ 2200940 w 3662637"/>
                <a:gd name="connsiteY25" fmla="*/ 4476307 h 4492350"/>
                <a:gd name="connsiteX26" fmla="*/ 2186296 w 3662637"/>
                <a:gd name="connsiteY26" fmla="*/ 4491415 h 4492350"/>
                <a:gd name="connsiteX27" fmla="*/ 1711842 w 3662637"/>
                <a:gd name="connsiteY27" fmla="*/ 4492350 h 4492350"/>
                <a:gd name="connsiteX0" fmla="*/ 1687779 w 3638574"/>
                <a:gd name="connsiteY0" fmla="*/ 4492350 h 4492350"/>
                <a:gd name="connsiteX1" fmla="*/ 1740942 w 3638574"/>
                <a:gd name="connsiteY1" fmla="*/ 3785190 h 4492350"/>
                <a:gd name="connsiteX2" fmla="*/ 1251844 w 3638574"/>
                <a:gd name="connsiteY2" fmla="*/ 3381153 h 4492350"/>
                <a:gd name="connsiteX3" fmla="*/ 0 w 3638574"/>
                <a:gd name="connsiteY3" fmla="*/ 2917145 h 4492350"/>
                <a:gd name="connsiteX4" fmla="*/ 1087133 w 3638574"/>
                <a:gd name="connsiteY4" fmla="*/ 3238920 h 4492350"/>
                <a:gd name="connsiteX5" fmla="*/ 357497 w 3638574"/>
                <a:gd name="connsiteY5" fmla="*/ 2432058 h 4492350"/>
                <a:gd name="connsiteX6" fmla="*/ 1719677 w 3638574"/>
                <a:gd name="connsiteY6" fmla="*/ 3519376 h 4492350"/>
                <a:gd name="connsiteX7" fmla="*/ 1627995 w 3638574"/>
                <a:gd name="connsiteY7" fmla="*/ 2400346 h 4492350"/>
                <a:gd name="connsiteX8" fmla="*/ 4198 w 3638574"/>
                <a:gd name="connsiteY8" fmla="*/ 742880 h 4492350"/>
                <a:gd name="connsiteX9" fmla="*/ 932867 w 3638574"/>
                <a:gd name="connsiteY9" fmla="*/ 1924493 h 4492350"/>
                <a:gd name="connsiteX10" fmla="*/ 1037607 w 3638574"/>
                <a:gd name="connsiteY10" fmla="*/ 857226 h 4492350"/>
                <a:gd name="connsiteX11" fmla="*/ 1138710 w 3638574"/>
                <a:gd name="connsiteY11" fmla="*/ 2026621 h 4492350"/>
                <a:gd name="connsiteX12" fmla="*/ 1658679 w 3638574"/>
                <a:gd name="connsiteY12" fmla="*/ 2194318 h 4492350"/>
                <a:gd name="connsiteX13" fmla="*/ 1900430 w 3638574"/>
                <a:gd name="connsiteY13" fmla="*/ 0 h 4492350"/>
                <a:gd name="connsiteX14" fmla="*/ 1971873 w 3638574"/>
                <a:gd name="connsiteY14" fmla="*/ 986216 h 4492350"/>
                <a:gd name="connsiteX15" fmla="*/ 1826002 w 3638574"/>
                <a:gd name="connsiteY15" fmla="*/ 2060385 h 4492350"/>
                <a:gd name="connsiteX16" fmla="*/ 2001533 w 3638574"/>
                <a:gd name="connsiteY16" fmla="*/ 3046321 h 4492350"/>
                <a:gd name="connsiteX17" fmla="*/ 2591546 w 3638574"/>
                <a:gd name="connsiteY17" fmla="*/ 2519916 h 4492350"/>
                <a:gd name="connsiteX18" fmla="*/ 2857733 w 3638574"/>
                <a:gd name="connsiteY18" fmla="*/ 1291762 h 4492350"/>
                <a:gd name="connsiteX19" fmla="*/ 2750848 w 3638574"/>
                <a:gd name="connsiteY19" fmla="*/ 2383091 h 4492350"/>
                <a:gd name="connsiteX20" fmla="*/ 3638574 w 3638574"/>
                <a:gd name="connsiteY20" fmla="*/ 1124252 h 4492350"/>
                <a:gd name="connsiteX21" fmla="*/ 2166244 w 3638574"/>
                <a:gd name="connsiteY21" fmla="*/ 3370521 h 4492350"/>
                <a:gd name="connsiteX22" fmla="*/ 2113081 w 3638574"/>
                <a:gd name="connsiteY22" fmla="*/ 3817088 h 4492350"/>
                <a:gd name="connsiteX23" fmla="*/ 3261397 w 3638574"/>
                <a:gd name="connsiteY23" fmla="*/ 3094074 h 4492350"/>
                <a:gd name="connsiteX24" fmla="*/ 2138356 w 3638574"/>
                <a:gd name="connsiteY24" fmla="*/ 4030951 h 4492350"/>
                <a:gd name="connsiteX25" fmla="*/ 2176877 w 3638574"/>
                <a:gd name="connsiteY25" fmla="*/ 4476307 h 4492350"/>
                <a:gd name="connsiteX26" fmla="*/ 2162233 w 3638574"/>
                <a:gd name="connsiteY26" fmla="*/ 4491415 h 4492350"/>
                <a:gd name="connsiteX27" fmla="*/ 1687779 w 3638574"/>
                <a:gd name="connsiteY27" fmla="*/ 4492350 h 4492350"/>
                <a:gd name="connsiteX0" fmla="*/ 1687779 w 3638574"/>
                <a:gd name="connsiteY0" fmla="*/ 4492350 h 4492350"/>
                <a:gd name="connsiteX1" fmla="*/ 1740942 w 3638574"/>
                <a:gd name="connsiteY1" fmla="*/ 3785190 h 4492350"/>
                <a:gd name="connsiteX2" fmla="*/ 1251844 w 3638574"/>
                <a:gd name="connsiteY2" fmla="*/ 3381153 h 4492350"/>
                <a:gd name="connsiteX3" fmla="*/ 0 w 3638574"/>
                <a:gd name="connsiteY3" fmla="*/ 2917145 h 4492350"/>
                <a:gd name="connsiteX4" fmla="*/ 1087133 w 3638574"/>
                <a:gd name="connsiteY4" fmla="*/ 3238920 h 4492350"/>
                <a:gd name="connsiteX5" fmla="*/ 357497 w 3638574"/>
                <a:gd name="connsiteY5" fmla="*/ 2432058 h 4492350"/>
                <a:gd name="connsiteX6" fmla="*/ 1719677 w 3638574"/>
                <a:gd name="connsiteY6" fmla="*/ 3519376 h 4492350"/>
                <a:gd name="connsiteX7" fmla="*/ 1627995 w 3638574"/>
                <a:gd name="connsiteY7" fmla="*/ 2400346 h 4492350"/>
                <a:gd name="connsiteX8" fmla="*/ 4198 w 3638574"/>
                <a:gd name="connsiteY8" fmla="*/ 742880 h 4492350"/>
                <a:gd name="connsiteX9" fmla="*/ 932867 w 3638574"/>
                <a:gd name="connsiteY9" fmla="*/ 1924493 h 4492350"/>
                <a:gd name="connsiteX10" fmla="*/ 1037607 w 3638574"/>
                <a:gd name="connsiteY10" fmla="*/ 857226 h 4492350"/>
                <a:gd name="connsiteX11" fmla="*/ 1138710 w 3638574"/>
                <a:gd name="connsiteY11" fmla="*/ 2026621 h 4492350"/>
                <a:gd name="connsiteX12" fmla="*/ 1658679 w 3638574"/>
                <a:gd name="connsiteY12" fmla="*/ 2194318 h 4492350"/>
                <a:gd name="connsiteX13" fmla="*/ 1900430 w 3638574"/>
                <a:gd name="connsiteY13" fmla="*/ 0 h 4492350"/>
                <a:gd name="connsiteX14" fmla="*/ 1971873 w 3638574"/>
                <a:gd name="connsiteY14" fmla="*/ 986216 h 4492350"/>
                <a:gd name="connsiteX15" fmla="*/ 1826002 w 3638574"/>
                <a:gd name="connsiteY15" fmla="*/ 2060385 h 4492350"/>
                <a:gd name="connsiteX16" fmla="*/ 2001533 w 3638574"/>
                <a:gd name="connsiteY16" fmla="*/ 3046321 h 4492350"/>
                <a:gd name="connsiteX17" fmla="*/ 2591546 w 3638574"/>
                <a:gd name="connsiteY17" fmla="*/ 2519916 h 4492350"/>
                <a:gd name="connsiteX18" fmla="*/ 2857733 w 3638574"/>
                <a:gd name="connsiteY18" fmla="*/ 1291762 h 4492350"/>
                <a:gd name="connsiteX19" fmla="*/ 2750848 w 3638574"/>
                <a:gd name="connsiteY19" fmla="*/ 2383091 h 4492350"/>
                <a:gd name="connsiteX20" fmla="*/ 3638574 w 3638574"/>
                <a:gd name="connsiteY20" fmla="*/ 1124252 h 4492350"/>
                <a:gd name="connsiteX21" fmla="*/ 2166244 w 3638574"/>
                <a:gd name="connsiteY21" fmla="*/ 3370521 h 4492350"/>
                <a:gd name="connsiteX22" fmla="*/ 2113081 w 3638574"/>
                <a:gd name="connsiteY22" fmla="*/ 3817088 h 4492350"/>
                <a:gd name="connsiteX23" fmla="*/ 3261397 w 3638574"/>
                <a:gd name="connsiteY23" fmla="*/ 3094074 h 4492350"/>
                <a:gd name="connsiteX24" fmla="*/ 2138356 w 3638574"/>
                <a:gd name="connsiteY24" fmla="*/ 4030951 h 4492350"/>
                <a:gd name="connsiteX25" fmla="*/ 2176877 w 3638574"/>
                <a:gd name="connsiteY25" fmla="*/ 4476307 h 4492350"/>
                <a:gd name="connsiteX26" fmla="*/ 2162233 w 3638574"/>
                <a:gd name="connsiteY26" fmla="*/ 4491415 h 4492350"/>
                <a:gd name="connsiteX27" fmla="*/ 1687779 w 3638574"/>
                <a:gd name="connsiteY27" fmla="*/ 4492350 h 4492350"/>
                <a:gd name="connsiteX0" fmla="*/ 1687779 w 3638574"/>
                <a:gd name="connsiteY0" fmla="*/ 4492350 h 4492350"/>
                <a:gd name="connsiteX1" fmla="*/ 1740942 w 3638574"/>
                <a:gd name="connsiteY1" fmla="*/ 3785190 h 4492350"/>
                <a:gd name="connsiteX2" fmla="*/ 1251844 w 3638574"/>
                <a:gd name="connsiteY2" fmla="*/ 3381153 h 4492350"/>
                <a:gd name="connsiteX3" fmla="*/ 0 w 3638574"/>
                <a:gd name="connsiteY3" fmla="*/ 2917145 h 4492350"/>
                <a:gd name="connsiteX4" fmla="*/ 1087133 w 3638574"/>
                <a:gd name="connsiteY4" fmla="*/ 3238920 h 4492350"/>
                <a:gd name="connsiteX5" fmla="*/ 357497 w 3638574"/>
                <a:gd name="connsiteY5" fmla="*/ 2432058 h 4492350"/>
                <a:gd name="connsiteX6" fmla="*/ 1719677 w 3638574"/>
                <a:gd name="connsiteY6" fmla="*/ 3519376 h 4492350"/>
                <a:gd name="connsiteX7" fmla="*/ 1627995 w 3638574"/>
                <a:gd name="connsiteY7" fmla="*/ 2400346 h 4492350"/>
                <a:gd name="connsiteX8" fmla="*/ 4198 w 3638574"/>
                <a:gd name="connsiteY8" fmla="*/ 742880 h 4492350"/>
                <a:gd name="connsiteX9" fmla="*/ 932867 w 3638574"/>
                <a:gd name="connsiteY9" fmla="*/ 1924493 h 4492350"/>
                <a:gd name="connsiteX10" fmla="*/ 1037607 w 3638574"/>
                <a:gd name="connsiteY10" fmla="*/ 857226 h 4492350"/>
                <a:gd name="connsiteX11" fmla="*/ 1138710 w 3638574"/>
                <a:gd name="connsiteY11" fmla="*/ 2026621 h 4492350"/>
                <a:gd name="connsiteX12" fmla="*/ 1658679 w 3638574"/>
                <a:gd name="connsiteY12" fmla="*/ 2194318 h 4492350"/>
                <a:gd name="connsiteX13" fmla="*/ 1900430 w 3638574"/>
                <a:gd name="connsiteY13" fmla="*/ 0 h 4492350"/>
                <a:gd name="connsiteX14" fmla="*/ 1971873 w 3638574"/>
                <a:gd name="connsiteY14" fmla="*/ 986216 h 4492350"/>
                <a:gd name="connsiteX15" fmla="*/ 1826002 w 3638574"/>
                <a:gd name="connsiteY15" fmla="*/ 2060385 h 4492350"/>
                <a:gd name="connsiteX16" fmla="*/ 2001533 w 3638574"/>
                <a:gd name="connsiteY16" fmla="*/ 3046321 h 4492350"/>
                <a:gd name="connsiteX17" fmla="*/ 2591546 w 3638574"/>
                <a:gd name="connsiteY17" fmla="*/ 2519916 h 4492350"/>
                <a:gd name="connsiteX18" fmla="*/ 2857733 w 3638574"/>
                <a:gd name="connsiteY18" fmla="*/ 1291762 h 4492350"/>
                <a:gd name="connsiteX19" fmla="*/ 2750848 w 3638574"/>
                <a:gd name="connsiteY19" fmla="*/ 2383091 h 4492350"/>
                <a:gd name="connsiteX20" fmla="*/ 3638574 w 3638574"/>
                <a:gd name="connsiteY20" fmla="*/ 1124252 h 4492350"/>
                <a:gd name="connsiteX21" fmla="*/ 2166244 w 3638574"/>
                <a:gd name="connsiteY21" fmla="*/ 3370521 h 4492350"/>
                <a:gd name="connsiteX22" fmla="*/ 2113081 w 3638574"/>
                <a:gd name="connsiteY22" fmla="*/ 3817088 h 4492350"/>
                <a:gd name="connsiteX23" fmla="*/ 3261397 w 3638574"/>
                <a:gd name="connsiteY23" fmla="*/ 3094074 h 4492350"/>
                <a:gd name="connsiteX24" fmla="*/ 2138356 w 3638574"/>
                <a:gd name="connsiteY24" fmla="*/ 4030951 h 4492350"/>
                <a:gd name="connsiteX25" fmla="*/ 2176877 w 3638574"/>
                <a:gd name="connsiteY25" fmla="*/ 4476307 h 4492350"/>
                <a:gd name="connsiteX26" fmla="*/ 2162233 w 3638574"/>
                <a:gd name="connsiteY26" fmla="*/ 4491415 h 4492350"/>
                <a:gd name="connsiteX27" fmla="*/ 1687779 w 3638574"/>
                <a:gd name="connsiteY27" fmla="*/ 4492350 h 4492350"/>
                <a:gd name="connsiteX0" fmla="*/ 1687779 w 3638574"/>
                <a:gd name="connsiteY0" fmla="*/ 4492350 h 4492350"/>
                <a:gd name="connsiteX1" fmla="*/ 1740942 w 3638574"/>
                <a:gd name="connsiteY1" fmla="*/ 3785190 h 4492350"/>
                <a:gd name="connsiteX2" fmla="*/ 1239812 w 3638574"/>
                <a:gd name="connsiteY2" fmla="*/ 3369121 h 4492350"/>
                <a:gd name="connsiteX3" fmla="*/ 0 w 3638574"/>
                <a:gd name="connsiteY3" fmla="*/ 2917145 h 4492350"/>
                <a:gd name="connsiteX4" fmla="*/ 1087133 w 3638574"/>
                <a:gd name="connsiteY4" fmla="*/ 3238920 h 4492350"/>
                <a:gd name="connsiteX5" fmla="*/ 357497 w 3638574"/>
                <a:gd name="connsiteY5" fmla="*/ 2432058 h 4492350"/>
                <a:gd name="connsiteX6" fmla="*/ 1719677 w 3638574"/>
                <a:gd name="connsiteY6" fmla="*/ 3519376 h 4492350"/>
                <a:gd name="connsiteX7" fmla="*/ 1627995 w 3638574"/>
                <a:gd name="connsiteY7" fmla="*/ 2400346 h 4492350"/>
                <a:gd name="connsiteX8" fmla="*/ 4198 w 3638574"/>
                <a:gd name="connsiteY8" fmla="*/ 742880 h 4492350"/>
                <a:gd name="connsiteX9" fmla="*/ 932867 w 3638574"/>
                <a:gd name="connsiteY9" fmla="*/ 1924493 h 4492350"/>
                <a:gd name="connsiteX10" fmla="*/ 1037607 w 3638574"/>
                <a:gd name="connsiteY10" fmla="*/ 857226 h 4492350"/>
                <a:gd name="connsiteX11" fmla="*/ 1138710 w 3638574"/>
                <a:gd name="connsiteY11" fmla="*/ 2026621 h 4492350"/>
                <a:gd name="connsiteX12" fmla="*/ 1658679 w 3638574"/>
                <a:gd name="connsiteY12" fmla="*/ 2194318 h 4492350"/>
                <a:gd name="connsiteX13" fmla="*/ 1900430 w 3638574"/>
                <a:gd name="connsiteY13" fmla="*/ 0 h 4492350"/>
                <a:gd name="connsiteX14" fmla="*/ 1971873 w 3638574"/>
                <a:gd name="connsiteY14" fmla="*/ 986216 h 4492350"/>
                <a:gd name="connsiteX15" fmla="*/ 1826002 w 3638574"/>
                <a:gd name="connsiteY15" fmla="*/ 2060385 h 4492350"/>
                <a:gd name="connsiteX16" fmla="*/ 2001533 w 3638574"/>
                <a:gd name="connsiteY16" fmla="*/ 3046321 h 4492350"/>
                <a:gd name="connsiteX17" fmla="*/ 2591546 w 3638574"/>
                <a:gd name="connsiteY17" fmla="*/ 2519916 h 4492350"/>
                <a:gd name="connsiteX18" fmla="*/ 2857733 w 3638574"/>
                <a:gd name="connsiteY18" fmla="*/ 1291762 h 4492350"/>
                <a:gd name="connsiteX19" fmla="*/ 2750848 w 3638574"/>
                <a:gd name="connsiteY19" fmla="*/ 2383091 h 4492350"/>
                <a:gd name="connsiteX20" fmla="*/ 3638574 w 3638574"/>
                <a:gd name="connsiteY20" fmla="*/ 1124252 h 4492350"/>
                <a:gd name="connsiteX21" fmla="*/ 2166244 w 3638574"/>
                <a:gd name="connsiteY21" fmla="*/ 3370521 h 4492350"/>
                <a:gd name="connsiteX22" fmla="*/ 2113081 w 3638574"/>
                <a:gd name="connsiteY22" fmla="*/ 3817088 h 4492350"/>
                <a:gd name="connsiteX23" fmla="*/ 3261397 w 3638574"/>
                <a:gd name="connsiteY23" fmla="*/ 3094074 h 4492350"/>
                <a:gd name="connsiteX24" fmla="*/ 2138356 w 3638574"/>
                <a:gd name="connsiteY24" fmla="*/ 4030951 h 4492350"/>
                <a:gd name="connsiteX25" fmla="*/ 2176877 w 3638574"/>
                <a:gd name="connsiteY25" fmla="*/ 4476307 h 4492350"/>
                <a:gd name="connsiteX26" fmla="*/ 2162233 w 3638574"/>
                <a:gd name="connsiteY26" fmla="*/ 4491415 h 4492350"/>
                <a:gd name="connsiteX27" fmla="*/ 1687779 w 3638574"/>
                <a:gd name="connsiteY27" fmla="*/ 4492350 h 4492350"/>
                <a:gd name="connsiteX0" fmla="*/ 1687779 w 3638574"/>
                <a:gd name="connsiteY0" fmla="*/ 4492350 h 4492350"/>
                <a:gd name="connsiteX1" fmla="*/ 1740942 w 3638574"/>
                <a:gd name="connsiteY1" fmla="*/ 3785190 h 4492350"/>
                <a:gd name="connsiteX2" fmla="*/ 1239812 w 3638574"/>
                <a:gd name="connsiteY2" fmla="*/ 3369121 h 4492350"/>
                <a:gd name="connsiteX3" fmla="*/ 0 w 3638574"/>
                <a:gd name="connsiteY3" fmla="*/ 2917145 h 4492350"/>
                <a:gd name="connsiteX4" fmla="*/ 1087133 w 3638574"/>
                <a:gd name="connsiteY4" fmla="*/ 3238920 h 4492350"/>
                <a:gd name="connsiteX5" fmla="*/ 357497 w 3638574"/>
                <a:gd name="connsiteY5" fmla="*/ 2432058 h 4492350"/>
                <a:gd name="connsiteX6" fmla="*/ 1719677 w 3638574"/>
                <a:gd name="connsiteY6" fmla="*/ 3519376 h 4492350"/>
                <a:gd name="connsiteX7" fmla="*/ 1627995 w 3638574"/>
                <a:gd name="connsiteY7" fmla="*/ 2400346 h 4492350"/>
                <a:gd name="connsiteX8" fmla="*/ 4198 w 3638574"/>
                <a:gd name="connsiteY8" fmla="*/ 742880 h 4492350"/>
                <a:gd name="connsiteX9" fmla="*/ 932867 w 3638574"/>
                <a:gd name="connsiteY9" fmla="*/ 1924493 h 4492350"/>
                <a:gd name="connsiteX10" fmla="*/ 1037607 w 3638574"/>
                <a:gd name="connsiteY10" fmla="*/ 857226 h 4492350"/>
                <a:gd name="connsiteX11" fmla="*/ 1138710 w 3638574"/>
                <a:gd name="connsiteY11" fmla="*/ 2026621 h 4492350"/>
                <a:gd name="connsiteX12" fmla="*/ 1658679 w 3638574"/>
                <a:gd name="connsiteY12" fmla="*/ 2194318 h 4492350"/>
                <a:gd name="connsiteX13" fmla="*/ 1900430 w 3638574"/>
                <a:gd name="connsiteY13" fmla="*/ 0 h 4492350"/>
                <a:gd name="connsiteX14" fmla="*/ 1971873 w 3638574"/>
                <a:gd name="connsiteY14" fmla="*/ 986216 h 4492350"/>
                <a:gd name="connsiteX15" fmla="*/ 1826002 w 3638574"/>
                <a:gd name="connsiteY15" fmla="*/ 2060385 h 4492350"/>
                <a:gd name="connsiteX16" fmla="*/ 2001533 w 3638574"/>
                <a:gd name="connsiteY16" fmla="*/ 3046321 h 4492350"/>
                <a:gd name="connsiteX17" fmla="*/ 2591546 w 3638574"/>
                <a:gd name="connsiteY17" fmla="*/ 2519916 h 4492350"/>
                <a:gd name="connsiteX18" fmla="*/ 2857733 w 3638574"/>
                <a:gd name="connsiteY18" fmla="*/ 1291762 h 4492350"/>
                <a:gd name="connsiteX19" fmla="*/ 2750848 w 3638574"/>
                <a:gd name="connsiteY19" fmla="*/ 2383091 h 4492350"/>
                <a:gd name="connsiteX20" fmla="*/ 3638574 w 3638574"/>
                <a:gd name="connsiteY20" fmla="*/ 1124252 h 4492350"/>
                <a:gd name="connsiteX21" fmla="*/ 2166244 w 3638574"/>
                <a:gd name="connsiteY21" fmla="*/ 3370521 h 4492350"/>
                <a:gd name="connsiteX22" fmla="*/ 2113081 w 3638574"/>
                <a:gd name="connsiteY22" fmla="*/ 3817088 h 4492350"/>
                <a:gd name="connsiteX23" fmla="*/ 3261397 w 3638574"/>
                <a:gd name="connsiteY23" fmla="*/ 3094074 h 4492350"/>
                <a:gd name="connsiteX24" fmla="*/ 2138356 w 3638574"/>
                <a:gd name="connsiteY24" fmla="*/ 4030951 h 4492350"/>
                <a:gd name="connsiteX25" fmla="*/ 2176877 w 3638574"/>
                <a:gd name="connsiteY25" fmla="*/ 4476307 h 4492350"/>
                <a:gd name="connsiteX26" fmla="*/ 2162233 w 3638574"/>
                <a:gd name="connsiteY26" fmla="*/ 4491415 h 4492350"/>
                <a:gd name="connsiteX27" fmla="*/ 1687779 w 3638574"/>
                <a:gd name="connsiteY27" fmla="*/ 4492350 h 4492350"/>
                <a:gd name="connsiteX0" fmla="*/ 1687779 w 3638574"/>
                <a:gd name="connsiteY0" fmla="*/ 4492350 h 4492350"/>
                <a:gd name="connsiteX1" fmla="*/ 1740942 w 3638574"/>
                <a:gd name="connsiteY1" fmla="*/ 3785190 h 4492350"/>
                <a:gd name="connsiteX2" fmla="*/ 1239812 w 3638574"/>
                <a:gd name="connsiteY2" fmla="*/ 3369121 h 4492350"/>
                <a:gd name="connsiteX3" fmla="*/ 0 w 3638574"/>
                <a:gd name="connsiteY3" fmla="*/ 2917145 h 4492350"/>
                <a:gd name="connsiteX4" fmla="*/ 1087133 w 3638574"/>
                <a:gd name="connsiteY4" fmla="*/ 3238920 h 4492350"/>
                <a:gd name="connsiteX5" fmla="*/ 365518 w 3638574"/>
                <a:gd name="connsiteY5" fmla="*/ 2420026 h 4492350"/>
                <a:gd name="connsiteX6" fmla="*/ 1719677 w 3638574"/>
                <a:gd name="connsiteY6" fmla="*/ 3519376 h 4492350"/>
                <a:gd name="connsiteX7" fmla="*/ 1627995 w 3638574"/>
                <a:gd name="connsiteY7" fmla="*/ 2400346 h 4492350"/>
                <a:gd name="connsiteX8" fmla="*/ 4198 w 3638574"/>
                <a:gd name="connsiteY8" fmla="*/ 742880 h 4492350"/>
                <a:gd name="connsiteX9" fmla="*/ 932867 w 3638574"/>
                <a:gd name="connsiteY9" fmla="*/ 1924493 h 4492350"/>
                <a:gd name="connsiteX10" fmla="*/ 1037607 w 3638574"/>
                <a:gd name="connsiteY10" fmla="*/ 857226 h 4492350"/>
                <a:gd name="connsiteX11" fmla="*/ 1138710 w 3638574"/>
                <a:gd name="connsiteY11" fmla="*/ 2026621 h 4492350"/>
                <a:gd name="connsiteX12" fmla="*/ 1658679 w 3638574"/>
                <a:gd name="connsiteY12" fmla="*/ 2194318 h 4492350"/>
                <a:gd name="connsiteX13" fmla="*/ 1900430 w 3638574"/>
                <a:gd name="connsiteY13" fmla="*/ 0 h 4492350"/>
                <a:gd name="connsiteX14" fmla="*/ 1971873 w 3638574"/>
                <a:gd name="connsiteY14" fmla="*/ 986216 h 4492350"/>
                <a:gd name="connsiteX15" fmla="*/ 1826002 w 3638574"/>
                <a:gd name="connsiteY15" fmla="*/ 2060385 h 4492350"/>
                <a:gd name="connsiteX16" fmla="*/ 2001533 w 3638574"/>
                <a:gd name="connsiteY16" fmla="*/ 3046321 h 4492350"/>
                <a:gd name="connsiteX17" fmla="*/ 2591546 w 3638574"/>
                <a:gd name="connsiteY17" fmla="*/ 2519916 h 4492350"/>
                <a:gd name="connsiteX18" fmla="*/ 2857733 w 3638574"/>
                <a:gd name="connsiteY18" fmla="*/ 1291762 h 4492350"/>
                <a:gd name="connsiteX19" fmla="*/ 2750848 w 3638574"/>
                <a:gd name="connsiteY19" fmla="*/ 2383091 h 4492350"/>
                <a:gd name="connsiteX20" fmla="*/ 3638574 w 3638574"/>
                <a:gd name="connsiteY20" fmla="*/ 1124252 h 4492350"/>
                <a:gd name="connsiteX21" fmla="*/ 2166244 w 3638574"/>
                <a:gd name="connsiteY21" fmla="*/ 3370521 h 4492350"/>
                <a:gd name="connsiteX22" fmla="*/ 2113081 w 3638574"/>
                <a:gd name="connsiteY22" fmla="*/ 3817088 h 4492350"/>
                <a:gd name="connsiteX23" fmla="*/ 3261397 w 3638574"/>
                <a:gd name="connsiteY23" fmla="*/ 3094074 h 4492350"/>
                <a:gd name="connsiteX24" fmla="*/ 2138356 w 3638574"/>
                <a:gd name="connsiteY24" fmla="*/ 4030951 h 4492350"/>
                <a:gd name="connsiteX25" fmla="*/ 2176877 w 3638574"/>
                <a:gd name="connsiteY25" fmla="*/ 4476307 h 4492350"/>
                <a:gd name="connsiteX26" fmla="*/ 2162233 w 3638574"/>
                <a:gd name="connsiteY26" fmla="*/ 4491415 h 4492350"/>
                <a:gd name="connsiteX27" fmla="*/ 1687779 w 3638574"/>
                <a:gd name="connsiteY27" fmla="*/ 4492350 h 4492350"/>
                <a:gd name="connsiteX0" fmla="*/ 1687779 w 3638574"/>
                <a:gd name="connsiteY0" fmla="*/ 4492350 h 4492350"/>
                <a:gd name="connsiteX1" fmla="*/ 1740942 w 3638574"/>
                <a:gd name="connsiteY1" fmla="*/ 3785190 h 4492350"/>
                <a:gd name="connsiteX2" fmla="*/ 1239812 w 3638574"/>
                <a:gd name="connsiteY2" fmla="*/ 3369121 h 4492350"/>
                <a:gd name="connsiteX3" fmla="*/ 0 w 3638574"/>
                <a:gd name="connsiteY3" fmla="*/ 2917145 h 4492350"/>
                <a:gd name="connsiteX4" fmla="*/ 1087133 w 3638574"/>
                <a:gd name="connsiteY4" fmla="*/ 3238920 h 4492350"/>
                <a:gd name="connsiteX5" fmla="*/ 365518 w 3638574"/>
                <a:gd name="connsiteY5" fmla="*/ 2420026 h 4492350"/>
                <a:gd name="connsiteX6" fmla="*/ 1719677 w 3638574"/>
                <a:gd name="connsiteY6" fmla="*/ 3519376 h 4492350"/>
                <a:gd name="connsiteX7" fmla="*/ 1627995 w 3638574"/>
                <a:gd name="connsiteY7" fmla="*/ 2400346 h 4492350"/>
                <a:gd name="connsiteX8" fmla="*/ 4198 w 3638574"/>
                <a:gd name="connsiteY8" fmla="*/ 742880 h 4492350"/>
                <a:gd name="connsiteX9" fmla="*/ 932867 w 3638574"/>
                <a:gd name="connsiteY9" fmla="*/ 1924493 h 4492350"/>
                <a:gd name="connsiteX10" fmla="*/ 1037607 w 3638574"/>
                <a:gd name="connsiteY10" fmla="*/ 857226 h 4492350"/>
                <a:gd name="connsiteX11" fmla="*/ 1138710 w 3638574"/>
                <a:gd name="connsiteY11" fmla="*/ 2026621 h 4492350"/>
                <a:gd name="connsiteX12" fmla="*/ 1658679 w 3638574"/>
                <a:gd name="connsiteY12" fmla="*/ 2194318 h 4492350"/>
                <a:gd name="connsiteX13" fmla="*/ 1900430 w 3638574"/>
                <a:gd name="connsiteY13" fmla="*/ 0 h 4492350"/>
                <a:gd name="connsiteX14" fmla="*/ 1971873 w 3638574"/>
                <a:gd name="connsiteY14" fmla="*/ 986216 h 4492350"/>
                <a:gd name="connsiteX15" fmla="*/ 1826002 w 3638574"/>
                <a:gd name="connsiteY15" fmla="*/ 2060385 h 4492350"/>
                <a:gd name="connsiteX16" fmla="*/ 2001533 w 3638574"/>
                <a:gd name="connsiteY16" fmla="*/ 3046321 h 4492350"/>
                <a:gd name="connsiteX17" fmla="*/ 2591546 w 3638574"/>
                <a:gd name="connsiteY17" fmla="*/ 2519916 h 4492350"/>
                <a:gd name="connsiteX18" fmla="*/ 2857733 w 3638574"/>
                <a:gd name="connsiteY18" fmla="*/ 1291762 h 4492350"/>
                <a:gd name="connsiteX19" fmla="*/ 2750848 w 3638574"/>
                <a:gd name="connsiteY19" fmla="*/ 2383091 h 4492350"/>
                <a:gd name="connsiteX20" fmla="*/ 3638574 w 3638574"/>
                <a:gd name="connsiteY20" fmla="*/ 1124252 h 4492350"/>
                <a:gd name="connsiteX21" fmla="*/ 2166244 w 3638574"/>
                <a:gd name="connsiteY21" fmla="*/ 3370521 h 4492350"/>
                <a:gd name="connsiteX22" fmla="*/ 2113081 w 3638574"/>
                <a:gd name="connsiteY22" fmla="*/ 3817088 h 4492350"/>
                <a:gd name="connsiteX23" fmla="*/ 3261397 w 3638574"/>
                <a:gd name="connsiteY23" fmla="*/ 3094074 h 4492350"/>
                <a:gd name="connsiteX24" fmla="*/ 2138356 w 3638574"/>
                <a:gd name="connsiteY24" fmla="*/ 4030951 h 4492350"/>
                <a:gd name="connsiteX25" fmla="*/ 2176877 w 3638574"/>
                <a:gd name="connsiteY25" fmla="*/ 4476307 h 4492350"/>
                <a:gd name="connsiteX26" fmla="*/ 2162233 w 3638574"/>
                <a:gd name="connsiteY26" fmla="*/ 4491415 h 4492350"/>
                <a:gd name="connsiteX27" fmla="*/ 1687779 w 3638574"/>
                <a:gd name="connsiteY27" fmla="*/ 4492350 h 4492350"/>
                <a:gd name="connsiteX0" fmla="*/ 1687779 w 3638574"/>
                <a:gd name="connsiteY0" fmla="*/ 4492350 h 4492350"/>
                <a:gd name="connsiteX1" fmla="*/ 1740942 w 3638574"/>
                <a:gd name="connsiteY1" fmla="*/ 3785190 h 4492350"/>
                <a:gd name="connsiteX2" fmla="*/ 1239812 w 3638574"/>
                <a:gd name="connsiteY2" fmla="*/ 3369121 h 4492350"/>
                <a:gd name="connsiteX3" fmla="*/ 0 w 3638574"/>
                <a:gd name="connsiteY3" fmla="*/ 2917145 h 4492350"/>
                <a:gd name="connsiteX4" fmla="*/ 1087133 w 3638574"/>
                <a:gd name="connsiteY4" fmla="*/ 3238920 h 4492350"/>
                <a:gd name="connsiteX5" fmla="*/ 365518 w 3638574"/>
                <a:gd name="connsiteY5" fmla="*/ 2420026 h 4492350"/>
                <a:gd name="connsiteX6" fmla="*/ 1719677 w 3638574"/>
                <a:gd name="connsiteY6" fmla="*/ 3519376 h 4492350"/>
                <a:gd name="connsiteX7" fmla="*/ 1627995 w 3638574"/>
                <a:gd name="connsiteY7" fmla="*/ 2400346 h 4492350"/>
                <a:gd name="connsiteX8" fmla="*/ 4198 w 3638574"/>
                <a:gd name="connsiteY8" fmla="*/ 742880 h 4492350"/>
                <a:gd name="connsiteX9" fmla="*/ 932867 w 3638574"/>
                <a:gd name="connsiteY9" fmla="*/ 1924493 h 4492350"/>
                <a:gd name="connsiteX10" fmla="*/ 1037607 w 3638574"/>
                <a:gd name="connsiteY10" fmla="*/ 857226 h 4492350"/>
                <a:gd name="connsiteX11" fmla="*/ 1138710 w 3638574"/>
                <a:gd name="connsiteY11" fmla="*/ 2026621 h 4492350"/>
                <a:gd name="connsiteX12" fmla="*/ 1658679 w 3638574"/>
                <a:gd name="connsiteY12" fmla="*/ 2194318 h 4492350"/>
                <a:gd name="connsiteX13" fmla="*/ 1900430 w 3638574"/>
                <a:gd name="connsiteY13" fmla="*/ 0 h 4492350"/>
                <a:gd name="connsiteX14" fmla="*/ 1971873 w 3638574"/>
                <a:gd name="connsiteY14" fmla="*/ 986216 h 4492350"/>
                <a:gd name="connsiteX15" fmla="*/ 1826002 w 3638574"/>
                <a:gd name="connsiteY15" fmla="*/ 2060385 h 4492350"/>
                <a:gd name="connsiteX16" fmla="*/ 2001533 w 3638574"/>
                <a:gd name="connsiteY16" fmla="*/ 3046321 h 4492350"/>
                <a:gd name="connsiteX17" fmla="*/ 2591546 w 3638574"/>
                <a:gd name="connsiteY17" fmla="*/ 2519916 h 4492350"/>
                <a:gd name="connsiteX18" fmla="*/ 2857733 w 3638574"/>
                <a:gd name="connsiteY18" fmla="*/ 1291762 h 4492350"/>
                <a:gd name="connsiteX19" fmla="*/ 2750848 w 3638574"/>
                <a:gd name="connsiteY19" fmla="*/ 2383091 h 4492350"/>
                <a:gd name="connsiteX20" fmla="*/ 3638574 w 3638574"/>
                <a:gd name="connsiteY20" fmla="*/ 1124252 h 4492350"/>
                <a:gd name="connsiteX21" fmla="*/ 2166244 w 3638574"/>
                <a:gd name="connsiteY21" fmla="*/ 3370521 h 4492350"/>
                <a:gd name="connsiteX22" fmla="*/ 2113081 w 3638574"/>
                <a:gd name="connsiteY22" fmla="*/ 3817088 h 4492350"/>
                <a:gd name="connsiteX23" fmla="*/ 3261397 w 3638574"/>
                <a:gd name="connsiteY23" fmla="*/ 3094074 h 4492350"/>
                <a:gd name="connsiteX24" fmla="*/ 2138356 w 3638574"/>
                <a:gd name="connsiteY24" fmla="*/ 4030951 h 4492350"/>
                <a:gd name="connsiteX25" fmla="*/ 2176877 w 3638574"/>
                <a:gd name="connsiteY25" fmla="*/ 4476307 h 4492350"/>
                <a:gd name="connsiteX26" fmla="*/ 2162233 w 3638574"/>
                <a:gd name="connsiteY26" fmla="*/ 4491415 h 4492350"/>
                <a:gd name="connsiteX27" fmla="*/ 1687779 w 3638574"/>
                <a:gd name="connsiteY27" fmla="*/ 4492350 h 4492350"/>
                <a:gd name="connsiteX0" fmla="*/ 1687779 w 3638574"/>
                <a:gd name="connsiteY0" fmla="*/ 4492350 h 4492350"/>
                <a:gd name="connsiteX1" fmla="*/ 1740942 w 3638574"/>
                <a:gd name="connsiteY1" fmla="*/ 3785190 h 4492350"/>
                <a:gd name="connsiteX2" fmla="*/ 1239812 w 3638574"/>
                <a:gd name="connsiteY2" fmla="*/ 3369121 h 4492350"/>
                <a:gd name="connsiteX3" fmla="*/ 0 w 3638574"/>
                <a:gd name="connsiteY3" fmla="*/ 2917145 h 4492350"/>
                <a:gd name="connsiteX4" fmla="*/ 1087133 w 3638574"/>
                <a:gd name="connsiteY4" fmla="*/ 3238920 h 4492350"/>
                <a:gd name="connsiteX5" fmla="*/ 365518 w 3638574"/>
                <a:gd name="connsiteY5" fmla="*/ 2420026 h 4492350"/>
                <a:gd name="connsiteX6" fmla="*/ 1719677 w 3638574"/>
                <a:gd name="connsiteY6" fmla="*/ 3519376 h 4492350"/>
                <a:gd name="connsiteX7" fmla="*/ 1627995 w 3638574"/>
                <a:gd name="connsiteY7" fmla="*/ 2400346 h 4492350"/>
                <a:gd name="connsiteX8" fmla="*/ 4198 w 3638574"/>
                <a:gd name="connsiteY8" fmla="*/ 742880 h 4492350"/>
                <a:gd name="connsiteX9" fmla="*/ 932867 w 3638574"/>
                <a:gd name="connsiteY9" fmla="*/ 1924493 h 4492350"/>
                <a:gd name="connsiteX10" fmla="*/ 1037607 w 3638574"/>
                <a:gd name="connsiteY10" fmla="*/ 857226 h 4492350"/>
                <a:gd name="connsiteX11" fmla="*/ 1138710 w 3638574"/>
                <a:gd name="connsiteY11" fmla="*/ 2026621 h 4492350"/>
                <a:gd name="connsiteX12" fmla="*/ 1658679 w 3638574"/>
                <a:gd name="connsiteY12" fmla="*/ 2194318 h 4492350"/>
                <a:gd name="connsiteX13" fmla="*/ 1900430 w 3638574"/>
                <a:gd name="connsiteY13" fmla="*/ 0 h 4492350"/>
                <a:gd name="connsiteX14" fmla="*/ 1971873 w 3638574"/>
                <a:gd name="connsiteY14" fmla="*/ 986216 h 4492350"/>
                <a:gd name="connsiteX15" fmla="*/ 1826002 w 3638574"/>
                <a:gd name="connsiteY15" fmla="*/ 2060385 h 4492350"/>
                <a:gd name="connsiteX16" fmla="*/ 2001533 w 3638574"/>
                <a:gd name="connsiteY16" fmla="*/ 3046321 h 4492350"/>
                <a:gd name="connsiteX17" fmla="*/ 2591546 w 3638574"/>
                <a:gd name="connsiteY17" fmla="*/ 2519916 h 4492350"/>
                <a:gd name="connsiteX18" fmla="*/ 2857733 w 3638574"/>
                <a:gd name="connsiteY18" fmla="*/ 1291762 h 4492350"/>
                <a:gd name="connsiteX19" fmla="*/ 2750848 w 3638574"/>
                <a:gd name="connsiteY19" fmla="*/ 2383091 h 4492350"/>
                <a:gd name="connsiteX20" fmla="*/ 3638574 w 3638574"/>
                <a:gd name="connsiteY20" fmla="*/ 1124252 h 4492350"/>
                <a:gd name="connsiteX21" fmla="*/ 2166244 w 3638574"/>
                <a:gd name="connsiteY21" fmla="*/ 3370521 h 4492350"/>
                <a:gd name="connsiteX22" fmla="*/ 2113081 w 3638574"/>
                <a:gd name="connsiteY22" fmla="*/ 3817088 h 4492350"/>
                <a:gd name="connsiteX23" fmla="*/ 3261397 w 3638574"/>
                <a:gd name="connsiteY23" fmla="*/ 3094074 h 4492350"/>
                <a:gd name="connsiteX24" fmla="*/ 2138356 w 3638574"/>
                <a:gd name="connsiteY24" fmla="*/ 4030951 h 4492350"/>
                <a:gd name="connsiteX25" fmla="*/ 2176877 w 3638574"/>
                <a:gd name="connsiteY25" fmla="*/ 4476307 h 4492350"/>
                <a:gd name="connsiteX26" fmla="*/ 2162233 w 3638574"/>
                <a:gd name="connsiteY26" fmla="*/ 4491415 h 4492350"/>
                <a:gd name="connsiteX27" fmla="*/ 1687779 w 3638574"/>
                <a:gd name="connsiteY27" fmla="*/ 4492350 h 4492350"/>
                <a:gd name="connsiteX0" fmla="*/ 1687779 w 3638574"/>
                <a:gd name="connsiteY0" fmla="*/ 4492350 h 4492350"/>
                <a:gd name="connsiteX1" fmla="*/ 1740942 w 3638574"/>
                <a:gd name="connsiteY1" fmla="*/ 3785190 h 4492350"/>
                <a:gd name="connsiteX2" fmla="*/ 1239812 w 3638574"/>
                <a:gd name="connsiteY2" fmla="*/ 3369121 h 4492350"/>
                <a:gd name="connsiteX3" fmla="*/ 0 w 3638574"/>
                <a:gd name="connsiteY3" fmla="*/ 2917145 h 4492350"/>
                <a:gd name="connsiteX4" fmla="*/ 1087133 w 3638574"/>
                <a:gd name="connsiteY4" fmla="*/ 3238920 h 4492350"/>
                <a:gd name="connsiteX5" fmla="*/ 365518 w 3638574"/>
                <a:gd name="connsiteY5" fmla="*/ 2420026 h 4492350"/>
                <a:gd name="connsiteX6" fmla="*/ 1719677 w 3638574"/>
                <a:gd name="connsiteY6" fmla="*/ 3519376 h 4492350"/>
                <a:gd name="connsiteX7" fmla="*/ 1627995 w 3638574"/>
                <a:gd name="connsiteY7" fmla="*/ 2400346 h 4492350"/>
                <a:gd name="connsiteX8" fmla="*/ 4198 w 3638574"/>
                <a:gd name="connsiteY8" fmla="*/ 742880 h 4492350"/>
                <a:gd name="connsiteX9" fmla="*/ 932867 w 3638574"/>
                <a:gd name="connsiteY9" fmla="*/ 1924493 h 4492350"/>
                <a:gd name="connsiteX10" fmla="*/ 1037607 w 3638574"/>
                <a:gd name="connsiteY10" fmla="*/ 857226 h 4492350"/>
                <a:gd name="connsiteX11" fmla="*/ 1138710 w 3638574"/>
                <a:gd name="connsiteY11" fmla="*/ 2026621 h 4492350"/>
                <a:gd name="connsiteX12" fmla="*/ 1658679 w 3638574"/>
                <a:gd name="connsiteY12" fmla="*/ 2194318 h 4492350"/>
                <a:gd name="connsiteX13" fmla="*/ 1900430 w 3638574"/>
                <a:gd name="connsiteY13" fmla="*/ 0 h 4492350"/>
                <a:gd name="connsiteX14" fmla="*/ 1971873 w 3638574"/>
                <a:gd name="connsiteY14" fmla="*/ 986216 h 4492350"/>
                <a:gd name="connsiteX15" fmla="*/ 1826002 w 3638574"/>
                <a:gd name="connsiteY15" fmla="*/ 2060385 h 4492350"/>
                <a:gd name="connsiteX16" fmla="*/ 2001533 w 3638574"/>
                <a:gd name="connsiteY16" fmla="*/ 3046321 h 4492350"/>
                <a:gd name="connsiteX17" fmla="*/ 2591546 w 3638574"/>
                <a:gd name="connsiteY17" fmla="*/ 2519916 h 4492350"/>
                <a:gd name="connsiteX18" fmla="*/ 2857733 w 3638574"/>
                <a:gd name="connsiteY18" fmla="*/ 1291762 h 4492350"/>
                <a:gd name="connsiteX19" fmla="*/ 2750848 w 3638574"/>
                <a:gd name="connsiteY19" fmla="*/ 2383091 h 4492350"/>
                <a:gd name="connsiteX20" fmla="*/ 3638574 w 3638574"/>
                <a:gd name="connsiteY20" fmla="*/ 1124252 h 4492350"/>
                <a:gd name="connsiteX21" fmla="*/ 2166244 w 3638574"/>
                <a:gd name="connsiteY21" fmla="*/ 3370521 h 4492350"/>
                <a:gd name="connsiteX22" fmla="*/ 2113081 w 3638574"/>
                <a:gd name="connsiteY22" fmla="*/ 3817088 h 4492350"/>
                <a:gd name="connsiteX23" fmla="*/ 3261397 w 3638574"/>
                <a:gd name="connsiteY23" fmla="*/ 3094074 h 4492350"/>
                <a:gd name="connsiteX24" fmla="*/ 2138356 w 3638574"/>
                <a:gd name="connsiteY24" fmla="*/ 4030951 h 4492350"/>
                <a:gd name="connsiteX25" fmla="*/ 2176877 w 3638574"/>
                <a:gd name="connsiteY25" fmla="*/ 4476307 h 4492350"/>
                <a:gd name="connsiteX26" fmla="*/ 2162233 w 3638574"/>
                <a:gd name="connsiteY26" fmla="*/ 4491415 h 4492350"/>
                <a:gd name="connsiteX27" fmla="*/ 1687779 w 3638574"/>
                <a:gd name="connsiteY27" fmla="*/ 4492350 h 4492350"/>
                <a:gd name="connsiteX0" fmla="*/ 1687779 w 3638574"/>
                <a:gd name="connsiteY0" fmla="*/ 4492350 h 4492350"/>
                <a:gd name="connsiteX1" fmla="*/ 1740942 w 3638574"/>
                <a:gd name="connsiteY1" fmla="*/ 3785190 h 4492350"/>
                <a:gd name="connsiteX2" fmla="*/ 1239812 w 3638574"/>
                <a:gd name="connsiteY2" fmla="*/ 3369121 h 4492350"/>
                <a:gd name="connsiteX3" fmla="*/ 0 w 3638574"/>
                <a:gd name="connsiteY3" fmla="*/ 2917145 h 4492350"/>
                <a:gd name="connsiteX4" fmla="*/ 1087133 w 3638574"/>
                <a:gd name="connsiteY4" fmla="*/ 3238920 h 4492350"/>
                <a:gd name="connsiteX5" fmla="*/ 389581 w 3638574"/>
                <a:gd name="connsiteY5" fmla="*/ 2412005 h 4492350"/>
                <a:gd name="connsiteX6" fmla="*/ 1719677 w 3638574"/>
                <a:gd name="connsiteY6" fmla="*/ 3519376 h 4492350"/>
                <a:gd name="connsiteX7" fmla="*/ 1627995 w 3638574"/>
                <a:gd name="connsiteY7" fmla="*/ 2400346 h 4492350"/>
                <a:gd name="connsiteX8" fmla="*/ 4198 w 3638574"/>
                <a:gd name="connsiteY8" fmla="*/ 742880 h 4492350"/>
                <a:gd name="connsiteX9" fmla="*/ 932867 w 3638574"/>
                <a:gd name="connsiteY9" fmla="*/ 1924493 h 4492350"/>
                <a:gd name="connsiteX10" fmla="*/ 1037607 w 3638574"/>
                <a:gd name="connsiteY10" fmla="*/ 857226 h 4492350"/>
                <a:gd name="connsiteX11" fmla="*/ 1138710 w 3638574"/>
                <a:gd name="connsiteY11" fmla="*/ 2026621 h 4492350"/>
                <a:gd name="connsiteX12" fmla="*/ 1658679 w 3638574"/>
                <a:gd name="connsiteY12" fmla="*/ 2194318 h 4492350"/>
                <a:gd name="connsiteX13" fmla="*/ 1900430 w 3638574"/>
                <a:gd name="connsiteY13" fmla="*/ 0 h 4492350"/>
                <a:gd name="connsiteX14" fmla="*/ 1971873 w 3638574"/>
                <a:gd name="connsiteY14" fmla="*/ 986216 h 4492350"/>
                <a:gd name="connsiteX15" fmla="*/ 1826002 w 3638574"/>
                <a:gd name="connsiteY15" fmla="*/ 2060385 h 4492350"/>
                <a:gd name="connsiteX16" fmla="*/ 2001533 w 3638574"/>
                <a:gd name="connsiteY16" fmla="*/ 3046321 h 4492350"/>
                <a:gd name="connsiteX17" fmla="*/ 2591546 w 3638574"/>
                <a:gd name="connsiteY17" fmla="*/ 2519916 h 4492350"/>
                <a:gd name="connsiteX18" fmla="*/ 2857733 w 3638574"/>
                <a:gd name="connsiteY18" fmla="*/ 1291762 h 4492350"/>
                <a:gd name="connsiteX19" fmla="*/ 2750848 w 3638574"/>
                <a:gd name="connsiteY19" fmla="*/ 2383091 h 4492350"/>
                <a:gd name="connsiteX20" fmla="*/ 3638574 w 3638574"/>
                <a:gd name="connsiteY20" fmla="*/ 1124252 h 4492350"/>
                <a:gd name="connsiteX21" fmla="*/ 2166244 w 3638574"/>
                <a:gd name="connsiteY21" fmla="*/ 3370521 h 4492350"/>
                <a:gd name="connsiteX22" fmla="*/ 2113081 w 3638574"/>
                <a:gd name="connsiteY22" fmla="*/ 3817088 h 4492350"/>
                <a:gd name="connsiteX23" fmla="*/ 3261397 w 3638574"/>
                <a:gd name="connsiteY23" fmla="*/ 3094074 h 4492350"/>
                <a:gd name="connsiteX24" fmla="*/ 2138356 w 3638574"/>
                <a:gd name="connsiteY24" fmla="*/ 4030951 h 4492350"/>
                <a:gd name="connsiteX25" fmla="*/ 2176877 w 3638574"/>
                <a:gd name="connsiteY25" fmla="*/ 4476307 h 4492350"/>
                <a:gd name="connsiteX26" fmla="*/ 2162233 w 3638574"/>
                <a:gd name="connsiteY26" fmla="*/ 4491415 h 4492350"/>
                <a:gd name="connsiteX27" fmla="*/ 1687779 w 3638574"/>
                <a:gd name="connsiteY27" fmla="*/ 4492350 h 4492350"/>
                <a:gd name="connsiteX0" fmla="*/ 1687779 w 3638574"/>
                <a:gd name="connsiteY0" fmla="*/ 4492350 h 4492350"/>
                <a:gd name="connsiteX1" fmla="*/ 1740942 w 3638574"/>
                <a:gd name="connsiteY1" fmla="*/ 3785190 h 4492350"/>
                <a:gd name="connsiteX2" fmla="*/ 1239812 w 3638574"/>
                <a:gd name="connsiteY2" fmla="*/ 3369121 h 4492350"/>
                <a:gd name="connsiteX3" fmla="*/ 0 w 3638574"/>
                <a:gd name="connsiteY3" fmla="*/ 2917145 h 4492350"/>
                <a:gd name="connsiteX4" fmla="*/ 1087133 w 3638574"/>
                <a:gd name="connsiteY4" fmla="*/ 3238920 h 4492350"/>
                <a:gd name="connsiteX5" fmla="*/ 389581 w 3638574"/>
                <a:gd name="connsiteY5" fmla="*/ 2412005 h 4492350"/>
                <a:gd name="connsiteX6" fmla="*/ 1719677 w 3638574"/>
                <a:gd name="connsiteY6" fmla="*/ 3519376 h 4492350"/>
                <a:gd name="connsiteX7" fmla="*/ 1627995 w 3638574"/>
                <a:gd name="connsiteY7" fmla="*/ 2400346 h 4492350"/>
                <a:gd name="connsiteX8" fmla="*/ 4198 w 3638574"/>
                <a:gd name="connsiteY8" fmla="*/ 742880 h 4492350"/>
                <a:gd name="connsiteX9" fmla="*/ 932867 w 3638574"/>
                <a:gd name="connsiteY9" fmla="*/ 1924493 h 4492350"/>
                <a:gd name="connsiteX10" fmla="*/ 1037607 w 3638574"/>
                <a:gd name="connsiteY10" fmla="*/ 857226 h 4492350"/>
                <a:gd name="connsiteX11" fmla="*/ 1138710 w 3638574"/>
                <a:gd name="connsiteY11" fmla="*/ 2026621 h 4492350"/>
                <a:gd name="connsiteX12" fmla="*/ 1658679 w 3638574"/>
                <a:gd name="connsiteY12" fmla="*/ 2194318 h 4492350"/>
                <a:gd name="connsiteX13" fmla="*/ 1900430 w 3638574"/>
                <a:gd name="connsiteY13" fmla="*/ 0 h 4492350"/>
                <a:gd name="connsiteX14" fmla="*/ 1971873 w 3638574"/>
                <a:gd name="connsiteY14" fmla="*/ 986216 h 4492350"/>
                <a:gd name="connsiteX15" fmla="*/ 1826002 w 3638574"/>
                <a:gd name="connsiteY15" fmla="*/ 2060385 h 4492350"/>
                <a:gd name="connsiteX16" fmla="*/ 2001533 w 3638574"/>
                <a:gd name="connsiteY16" fmla="*/ 3046321 h 4492350"/>
                <a:gd name="connsiteX17" fmla="*/ 2591546 w 3638574"/>
                <a:gd name="connsiteY17" fmla="*/ 2519916 h 4492350"/>
                <a:gd name="connsiteX18" fmla="*/ 2857733 w 3638574"/>
                <a:gd name="connsiteY18" fmla="*/ 1291762 h 4492350"/>
                <a:gd name="connsiteX19" fmla="*/ 2750848 w 3638574"/>
                <a:gd name="connsiteY19" fmla="*/ 2383091 h 4492350"/>
                <a:gd name="connsiteX20" fmla="*/ 3638574 w 3638574"/>
                <a:gd name="connsiteY20" fmla="*/ 1124252 h 4492350"/>
                <a:gd name="connsiteX21" fmla="*/ 2166244 w 3638574"/>
                <a:gd name="connsiteY21" fmla="*/ 3370521 h 4492350"/>
                <a:gd name="connsiteX22" fmla="*/ 2113081 w 3638574"/>
                <a:gd name="connsiteY22" fmla="*/ 3817088 h 4492350"/>
                <a:gd name="connsiteX23" fmla="*/ 3261397 w 3638574"/>
                <a:gd name="connsiteY23" fmla="*/ 3094074 h 4492350"/>
                <a:gd name="connsiteX24" fmla="*/ 2138356 w 3638574"/>
                <a:gd name="connsiteY24" fmla="*/ 4030951 h 4492350"/>
                <a:gd name="connsiteX25" fmla="*/ 2176877 w 3638574"/>
                <a:gd name="connsiteY25" fmla="*/ 4476307 h 4492350"/>
                <a:gd name="connsiteX26" fmla="*/ 2162233 w 3638574"/>
                <a:gd name="connsiteY26" fmla="*/ 4491415 h 4492350"/>
                <a:gd name="connsiteX27" fmla="*/ 1687779 w 3638574"/>
                <a:gd name="connsiteY27" fmla="*/ 4492350 h 4492350"/>
                <a:gd name="connsiteX0" fmla="*/ 1687779 w 3638574"/>
                <a:gd name="connsiteY0" fmla="*/ 4492350 h 4492350"/>
                <a:gd name="connsiteX1" fmla="*/ 1740942 w 3638574"/>
                <a:gd name="connsiteY1" fmla="*/ 3785190 h 4492350"/>
                <a:gd name="connsiteX2" fmla="*/ 1239812 w 3638574"/>
                <a:gd name="connsiteY2" fmla="*/ 3369121 h 4492350"/>
                <a:gd name="connsiteX3" fmla="*/ 0 w 3638574"/>
                <a:gd name="connsiteY3" fmla="*/ 2917145 h 4492350"/>
                <a:gd name="connsiteX4" fmla="*/ 1087133 w 3638574"/>
                <a:gd name="connsiteY4" fmla="*/ 3238920 h 4492350"/>
                <a:gd name="connsiteX5" fmla="*/ 389581 w 3638574"/>
                <a:gd name="connsiteY5" fmla="*/ 2412005 h 4492350"/>
                <a:gd name="connsiteX6" fmla="*/ 1719677 w 3638574"/>
                <a:gd name="connsiteY6" fmla="*/ 3519376 h 4492350"/>
                <a:gd name="connsiteX7" fmla="*/ 1627995 w 3638574"/>
                <a:gd name="connsiteY7" fmla="*/ 2400346 h 4492350"/>
                <a:gd name="connsiteX8" fmla="*/ 4198 w 3638574"/>
                <a:gd name="connsiteY8" fmla="*/ 742880 h 4492350"/>
                <a:gd name="connsiteX9" fmla="*/ 932867 w 3638574"/>
                <a:gd name="connsiteY9" fmla="*/ 1924493 h 4492350"/>
                <a:gd name="connsiteX10" fmla="*/ 1037607 w 3638574"/>
                <a:gd name="connsiteY10" fmla="*/ 857226 h 4492350"/>
                <a:gd name="connsiteX11" fmla="*/ 1138710 w 3638574"/>
                <a:gd name="connsiteY11" fmla="*/ 2026621 h 4492350"/>
                <a:gd name="connsiteX12" fmla="*/ 1658679 w 3638574"/>
                <a:gd name="connsiteY12" fmla="*/ 2194318 h 4492350"/>
                <a:gd name="connsiteX13" fmla="*/ 1900430 w 3638574"/>
                <a:gd name="connsiteY13" fmla="*/ 0 h 4492350"/>
                <a:gd name="connsiteX14" fmla="*/ 1971873 w 3638574"/>
                <a:gd name="connsiteY14" fmla="*/ 986216 h 4492350"/>
                <a:gd name="connsiteX15" fmla="*/ 1826002 w 3638574"/>
                <a:gd name="connsiteY15" fmla="*/ 2060385 h 4492350"/>
                <a:gd name="connsiteX16" fmla="*/ 2001533 w 3638574"/>
                <a:gd name="connsiteY16" fmla="*/ 3046321 h 4492350"/>
                <a:gd name="connsiteX17" fmla="*/ 2591546 w 3638574"/>
                <a:gd name="connsiteY17" fmla="*/ 2519916 h 4492350"/>
                <a:gd name="connsiteX18" fmla="*/ 2857733 w 3638574"/>
                <a:gd name="connsiteY18" fmla="*/ 1291762 h 4492350"/>
                <a:gd name="connsiteX19" fmla="*/ 2750848 w 3638574"/>
                <a:gd name="connsiteY19" fmla="*/ 2383091 h 4492350"/>
                <a:gd name="connsiteX20" fmla="*/ 3638574 w 3638574"/>
                <a:gd name="connsiteY20" fmla="*/ 1124252 h 4492350"/>
                <a:gd name="connsiteX21" fmla="*/ 2166244 w 3638574"/>
                <a:gd name="connsiteY21" fmla="*/ 3370521 h 4492350"/>
                <a:gd name="connsiteX22" fmla="*/ 2113081 w 3638574"/>
                <a:gd name="connsiteY22" fmla="*/ 3817088 h 4492350"/>
                <a:gd name="connsiteX23" fmla="*/ 3261397 w 3638574"/>
                <a:gd name="connsiteY23" fmla="*/ 3094074 h 4492350"/>
                <a:gd name="connsiteX24" fmla="*/ 2138356 w 3638574"/>
                <a:gd name="connsiteY24" fmla="*/ 4030951 h 4492350"/>
                <a:gd name="connsiteX25" fmla="*/ 2176877 w 3638574"/>
                <a:gd name="connsiteY25" fmla="*/ 4476307 h 4492350"/>
                <a:gd name="connsiteX26" fmla="*/ 2162233 w 3638574"/>
                <a:gd name="connsiteY26" fmla="*/ 4491415 h 4492350"/>
                <a:gd name="connsiteX27" fmla="*/ 1687779 w 3638574"/>
                <a:gd name="connsiteY27" fmla="*/ 4492350 h 4492350"/>
                <a:gd name="connsiteX0" fmla="*/ 1687779 w 3638574"/>
                <a:gd name="connsiteY0" fmla="*/ 4492350 h 4492350"/>
                <a:gd name="connsiteX1" fmla="*/ 1740942 w 3638574"/>
                <a:gd name="connsiteY1" fmla="*/ 3785190 h 4492350"/>
                <a:gd name="connsiteX2" fmla="*/ 1239812 w 3638574"/>
                <a:gd name="connsiteY2" fmla="*/ 3369121 h 4492350"/>
                <a:gd name="connsiteX3" fmla="*/ 0 w 3638574"/>
                <a:gd name="connsiteY3" fmla="*/ 2917145 h 4492350"/>
                <a:gd name="connsiteX4" fmla="*/ 1087133 w 3638574"/>
                <a:gd name="connsiteY4" fmla="*/ 3238920 h 4492350"/>
                <a:gd name="connsiteX5" fmla="*/ 389581 w 3638574"/>
                <a:gd name="connsiteY5" fmla="*/ 2412005 h 4492350"/>
                <a:gd name="connsiteX6" fmla="*/ 1719677 w 3638574"/>
                <a:gd name="connsiteY6" fmla="*/ 3519376 h 4492350"/>
                <a:gd name="connsiteX7" fmla="*/ 1627995 w 3638574"/>
                <a:gd name="connsiteY7" fmla="*/ 2400346 h 4492350"/>
                <a:gd name="connsiteX8" fmla="*/ 4198 w 3638574"/>
                <a:gd name="connsiteY8" fmla="*/ 742880 h 4492350"/>
                <a:gd name="connsiteX9" fmla="*/ 932867 w 3638574"/>
                <a:gd name="connsiteY9" fmla="*/ 1924493 h 4492350"/>
                <a:gd name="connsiteX10" fmla="*/ 1037607 w 3638574"/>
                <a:gd name="connsiteY10" fmla="*/ 857226 h 4492350"/>
                <a:gd name="connsiteX11" fmla="*/ 1138710 w 3638574"/>
                <a:gd name="connsiteY11" fmla="*/ 2026621 h 4492350"/>
                <a:gd name="connsiteX12" fmla="*/ 1658679 w 3638574"/>
                <a:gd name="connsiteY12" fmla="*/ 2194318 h 4492350"/>
                <a:gd name="connsiteX13" fmla="*/ 1900430 w 3638574"/>
                <a:gd name="connsiteY13" fmla="*/ 0 h 4492350"/>
                <a:gd name="connsiteX14" fmla="*/ 1971873 w 3638574"/>
                <a:gd name="connsiteY14" fmla="*/ 986216 h 4492350"/>
                <a:gd name="connsiteX15" fmla="*/ 1826002 w 3638574"/>
                <a:gd name="connsiteY15" fmla="*/ 2060385 h 4492350"/>
                <a:gd name="connsiteX16" fmla="*/ 2001533 w 3638574"/>
                <a:gd name="connsiteY16" fmla="*/ 3046321 h 4492350"/>
                <a:gd name="connsiteX17" fmla="*/ 2591546 w 3638574"/>
                <a:gd name="connsiteY17" fmla="*/ 2519916 h 4492350"/>
                <a:gd name="connsiteX18" fmla="*/ 2857733 w 3638574"/>
                <a:gd name="connsiteY18" fmla="*/ 1291762 h 4492350"/>
                <a:gd name="connsiteX19" fmla="*/ 2750848 w 3638574"/>
                <a:gd name="connsiteY19" fmla="*/ 2383091 h 4492350"/>
                <a:gd name="connsiteX20" fmla="*/ 3638574 w 3638574"/>
                <a:gd name="connsiteY20" fmla="*/ 1124252 h 4492350"/>
                <a:gd name="connsiteX21" fmla="*/ 2166244 w 3638574"/>
                <a:gd name="connsiteY21" fmla="*/ 3370521 h 4492350"/>
                <a:gd name="connsiteX22" fmla="*/ 2113081 w 3638574"/>
                <a:gd name="connsiteY22" fmla="*/ 3817088 h 4492350"/>
                <a:gd name="connsiteX23" fmla="*/ 3261397 w 3638574"/>
                <a:gd name="connsiteY23" fmla="*/ 3094074 h 4492350"/>
                <a:gd name="connsiteX24" fmla="*/ 2138356 w 3638574"/>
                <a:gd name="connsiteY24" fmla="*/ 4030951 h 4492350"/>
                <a:gd name="connsiteX25" fmla="*/ 2176877 w 3638574"/>
                <a:gd name="connsiteY25" fmla="*/ 4476307 h 4492350"/>
                <a:gd name="connsiteX26" fmla="*/ 2162233 w 3638574"/>
                <a:gd name="connsiteY26" fmla="*/ 4491415 h 4492350"/>
                <a:gd name="connsiteX27" fmla="*/ 1687779 w 3638574"/>
                <a:gd name="connsiteY27" fmla="*/ 4492350 h 4492350"/>
                <a:gd name="connsiteX0" fmla="*/ 1687779 w 3638574"/>
                <a:gd name="connsiteY0" fmla="*/ 4492350 h 4492350"/>
                <a:gd name="connsiteX1" fmla="*/ 1740942 w 3638574"/>
                <a:gd name="connsiteY1" fmla="*/ 3785190 h 4492350"/>
                <a:gd name="connsiteX2" fmla="*/ 1239812 w 3638574"/>
                <a:gd name="connsiteY2" fmla="*/ 3369121 h 4492350"/>
                <a:gd name="connsiteX3" fmla="*/ 0 w 3638574"/>
                <a:gd name="connsiteY3" fmla="*/ 2917145 h 4492350"/>
                <a:gd name="connsiteX4" fmla="*/ 1087133 w 3638574"/>
                <a:gd name="connsiteY4" fmla="*/ 3238920 h 4492350"/>
                <a:gd name="connsiteX5" fmla="*/ 389581 w 3638574"/>
                <a:gd name="connsiteY5" fmla="*/ 2412005 h 4492350"/>
                <a:gd name="connsiteX6" fmla="*/ 1719677 w 3638574"/>
                <a:gd name="connsiteY6" fmla="*/ 3519376 h 4492350"/>
                <a:gd name="connsiteX7" fmla="*/ 1627995 w 3638574"/>
                <a:gd name="connsiteY7" fmla="*/ 2400346 h 4492350"/>
                <a:gd name="connsiteX8" fmla="*/ 4198 w 3638574"/>
                <a:gd name="connsiteY8" fmla="*/ 742880 h 4492350"/>
                <a:gd name="connsiteX9" fmla="*/ 932867 w 3638574"/>
                <a:gd name="connsiteY9" fmla="*/ 1924493 h 4492350"/>
                <a:gd name="connsiteX10" fmla="*/ 1037607 w 3638574"/>
                <a:gd name="connsiteY10" fmla="*/ 857226 h 4492350"/>
                <a:gd name="connsiteX11" fmla="*/ 1138710 w 3638574"/>
                <a:gd name="connsiteY11" fmla="*/ 2026621 h 4492350"/>
                <a:gd name="connsiteX12" fmla="*/ 1658679 w 3638574"/>
                <a:gd name="connsiteY12" fmla="*/ 2194318 h 4492350"/>
                <a:gd name="connsiteX13" fmla="*/ 1900430 w 3638574"/>
                <a:gd name="connsiteY13" fmla="*/ 0 h 4492350"/>
                <a:gd name="connsiteX14" fmla="*/ 1971873 w 3638574"/>
                <a:gd name="connsiteY14" fmla="*/ 986216 h 4492350"/>
                <a:gd name="connsiteX15" fmla="*/ 1826002 w 3638574"/>
                <a:gd name="connsiteY15" fmla="*/ 2060385 h 4492350"/>
                <a:gd name="connsiteX16" fmla="*/ 2001533 w 3638574"/>
                <a:gd name="connsiteY16" fmla="*/ 3046321 h 4492350"/>
                <a:gd name="connsiteX17" fmla="*/ 2591546 w 3638574"/>
                <a:gd name="connsiteY17" fmla="*/ 2519916 h 4492350"/>
                <a:gd name="connsiteX18" fmla="*/ 2857733 w 3638574"/>
                <a:gd name="connsiteY18" fmla="*/ 1291762 h 4492350"/>
                <a:gd name="connsiteX19" fmla="*/ 2750848 w 3638574"/>
                <a:gd name="connsiteY19" fmla="*/ 2383091 h 4492350"/>
                <a:gd name="connsiteX20" fmla="*/ 3638574 w 3638574"/>
                <a:gd name="connsiteY20" fmla="*/ 1124252 h 4492350"/>
                <a:gd name="connsiteX21" fmla="*/ 2166244 w 3638574"/>
                <a:gd name="connsiteY21" fmla="*/ 3370521 h 4492350"/>
                <a:gd name="connsiteX22" fmla="*/ 2113081 w 3638574"/>
                <a:gd name="connsiteY22" fmla="*/ 3817088 h 4492350"/>
                <a:gd name="connsiteX23" fmla="*/ 3261397 w 3638574"/>
                <a:gd name="connsiteY23" fmla="*/ 3094074 h 4492350"/>
                <a:gd name="connsiteX24" fmla="*/ 2138356 w 3638574"/>
                <a:gd name="connsiteY24" fmla="*/ 4030951 h 4492350"/>
                <a:gd name="connsiteX25" fmla="*/ 2176877 w 3638574"/>
                <a:gd name="connsiteY25" fmla="*/ 4476307 h 4492350"/>
                <a:gd name="connsiteX26" fmla="*/ 2162233 w 3638574"/>
                <a:gd name="connsiteY26" fmla="*/ 4491415 h 4492350"/>
                <a:gd name="connsiteX27" fmla="*/ 1687779 w 3638574"/>
                <a:gd name="connsiteY27" fmla="*/ 4492350 h 4492350"/>
                <a:gd name="connsiteX0" fmla="*/ 1687779 w 3638574"/>
                <a:gd name="connsiteY0" fmla="*/ 4492350 h 4492350"/>
                <a:gd name="connsiteX1" fmla="*/ 1740942 w 3638574"/>
                <a:gd name="connsiteY1" fmla="*/ 3785190 h 4492350"/>
                <a:gd name="connsiteX2" fmla="*/ 1239812 w 3638574"/>
                <a:gd name="connsiteY2" fmla="*/ 3369121 h 4492350"/>
                <a:gd name="connsiteX3" fmla="*/ 0 w 3638574"/>
                <a:gd name="connsiteY3" fmla="*/ 2917145 h 4492350"/>
                <a:gd name="connsiteX4" fmla="*/ 1087133 w 3638574"/>
                <a:gd name="connsiteY4" fmla="*/ 3238920 h 4492350"/>
                <a:gd name="connsiteX5" fmla="*/ 389581 w 3638574"/>
                <a:gd name="connsiteY5" fmla="*/ 2412005 h 4492350"/>
                <a:gd name="connsiteX6" fmla="*/ 1719677 w 3638574"/>
                <a:gd name="connsiteY6" fmla="*/ 3519376 h 4492350"/>
                <a:gd name="connsiteX7" fmla="*/ 1627995 w 3638574"/>
                <a:gd name="connsiteY7" fmla="*/ 2400346 h 4492350"/>
                <a:gd name="connsiteX8" fmla="*/ 4198 w 3638574"/>
                <a:gd name="connsiteY8" fmla="*/ 742880 h 4492350"/>
                <a:gd name="connsiteX9" fmla="*/ 932867 w 3638574"/>
                <a:gd name="connsiteY9" fmla="*/ 1924493 h 4492350"/>
                <a:gd name="connsiteX10" fmla="*/ 1037607 w 3638574"/>
                <a:gd name="connsiteY10" fmla="*/ 857226 h 4492350"/>
                <a:gd name="connsiteX11" fmla="*/ 1138710 w 3638574"/>
                <a:gd name="connsiteY11" fmla="*/ 2026621 h 4492350"/>
                <a:gd name="connsiteX12" fmla="*/ 1658679 w 3638574"/>
                <a:gd name="connsiteY12" fmla="*/ 2194318 h 4492350"/>
                <a:gd name="connsiteX13" fmla="*/ 1900430 w 3638574"/>
                <a:gd name="connsiteY13" fmla="*/ 0 h 4492350"/>
                <a:gd name="connsiteX14" fmla="*/ 1971873 w 3638574"/>
                <a:gd name="connsiteY14" fmla="*/ 986216 h 4492350"/>
                <a:gd name="connsiteX15" fmla="*/ 1826002 w 3638574"/>
                <a:gd name="connsiteY15" fmla="*/ 2060385 h 4492350"/>
                <a:gd name="connsiteX16" fmla="*/ 2001533 w 3638574"/>
                <a:gd name="connsiteY16" fmla="*/ 3046321 h 4492350"/>
                <a:gd name="connsiteX17" fmla="*/ 2591546 w 3638574"/>
                <a:gd name="connsiteY17" fmla="*/ 2519916 h 4492350"/>
                <a:gd name="connsiteX18" fmla="*/ 2857733 w 3638574"/>
                <a:gd name="connsiteY18" fmla="*/ 1291762 h 4492350"/>
                <a:gd name="connsiteX19" fmla="*/ 2750848 w 3638574"/>
                <a:gd name="connsiteY19" fmla="*/ 2383091 h 4492350"/>
                <a:gd name="connsiteX20" fmla="*/ 3638574 w 3638574"/>
                <a:gd name="connsiteY20" fmla="*/ 1124252 h 4492350"/>
                <a:gd name="connsiteX21" fmla="*/ 2166244 w 3638574"/>
                <a:gd name="connsiteY21" fmla="*/ 3370521 h 4492350"/>
                <a:gd name="connsiteX22" fmla="*/ 2113081 w 3638574"/>
                <a:gd name="connsiteY22" fmla="*/ 3817088 h 4492350"/>
                <a:gd name="connsiteX23" fmla="*/ 3261397 w 3638574"/>
                <a:gd name="connsiteY23" fmla="*/ 3094074 h 4492350"/>
                <a:gd name="connsiteX24" fmla="*/ 2138356 w 3638574"/>
                <a:gd name="connsiteY24" fmla="*/ 4030951 h 4492350"/>
                <a:gd name="connsiteX25" fmla="*/ 2176877 w 3638574"/>
                <a:gd name="connsiteY25" fmla="*/ 4476307 h 4492350"/>
                <a:gd name="connsiteX26" fmla="*/ 2162233 w 3638574"/>
                <a:gd name="connsiteY26" fmla="*/ 4491415 h 4492350"/>
                <a:gd name="connsiteX27" fmla="*/ 1687779 w 3638574"/>
                <a:gd name="connsiteY27" fmla="*/ 4492350 h 4492350"/>
                <a:gd name="connsiteX0" fmla="*/ 1687779 w 3638574"/>
                <a:gd name="connsiteY0" fmla="*/ 4492350 h 4492350"/>
                <a:gd name="connsiteX1" fmla="*/ 1740942 w 3638574"/>
                <a:gd name="connsiteY1" fmla="*/ 3785190 h 4492350"/>
                <a:gd name="connsiteX2" fmla="*/ 1239812 w 3638574"/>
                <a:gd name="connsiteY2" fmla="*/ 3369121 h 4492350"/>
                <a:gd name="connsiteX3" fmla="*/ 0 w 3638574"/>
                <a:gd name="connsiteY3" fmla="*/ 2917145 h 4492350"/>
                <a:gd name="connsiteX4" fmla="*/ 1087133 w 3638574"/>
                <a:gd name="connsiteY4" fmla="*/ 3238920 h 4492350"/>
                <a:gd name="connsiteX5" fmla="*/ 389581 w 3638574"/>
                <a:gd name="connsiteY5" fmla="*/ 2412005 h 4492350"/>
                <a:gd name="connsiteX6" fmla="*/ 1719677 w 3638574"/>
                <a:gd name="connsiteY6" fmla="*/ 3519376 h 4492350"/>
                <a:gd name="connsiteX7" fmla="*/ 1627995 w 3638574"/>
                <a:gd name="connsiteY7" fmla="*/ 2400346 h 4492350"/>
                <a:gd name="connsiteX8" fmla="*/ 4198 w 3638574"/>
                <a:gd name="connsiteY8" fmla="*/ 742880 h 4492350"/>
                <a:gd name="connsiteX9" fmla="*/ 932867 w 3638574"/>
                <a:gd name="connsiteY9" fmla="*/ 1924493 h 4492350"/>
                <a:gd name="connsiteX10" fmla="*/ 1037607 w 3638574"/>
                <a:gd name="connsiteY10" fmla="*/ 857226 h 4492350"/>
                <a:gd name="connsiteX11" fmla="*/ 1138710 w 3638574"/>
                <a:gd name="connsiteY11" fmla="*/ 2026621 h 4492350"/>
                <a:gd name="connsiteX12" fmla="*/ 1646038 w 3638574"/>
                <a:gd name="connsiteY12" fmla="*/ 2198532 h 4492350"/>
                <a:gd name="connsiteX13" fmla="*/ 1900430 w 3638574"/>
                <a:gd name="connsiteY13" fmla="*/ 0 h 4492350"/>
                <a:gd name="connsiteX14" fmla="*/ 1971873 w 3638574"/>
                <a:gd name="connsiteY14" fmla="*/ 986216 h 4492350"/>
                <a:gd name="connsiteX15" fmla="*/ 1826002 w 3638574"/>
                <a:gd name="connsiteY15" fmla="*/ 2060385 h 4492350"/>
                <a:gd name="connsiteX16" fmla="*/ 2001533 w 3638574"/>
                <a:gd name="connsiteY16" fmla="*/ 3046321 h 4492350"/>
                <a:gd name="connsiteX17" fmla="*/ 2591546 w 3638574"/>
                <a:gd name="connsiteY17" fmla="*/ 2519916 h 4492350"/>
                <a:gd name="connsiteX18" fmla="*/ 2857733 w 3638574"/>
                <a:gd name="connsiteY18" fmla="*/ 1291762 h 4492350"/>
                <a:gd name="connsiteX19" fmla="*/ 2750848 w 3638574"/>
                <a:gd name="connsiteY19" fmla="*/ 2383091 h 4492350"/>
                <a:gd name="connsiteX20" fmla="*/ 3638574 w 3638574"/>
                <a:gd name="connsiteY20" fmla="*/ 1124252 h 4492350"/>
                <a:gd name="connsiteX21" fmla="*/ 2166244 w 3638574"/>
                <a:gd name="connsiteY21" fmla="*/ 3370521 h 4492350"/>
                <a:gd name="connsiteX22" fmla="*/ 2113081 w 3638574"/>
                <a:gd name="connsiteY22" fmla="*/ 3817088 h 4492350"/>
                <a:gd name="connsiteX23" fmla="*/ 3261397 w 3638574"/>
                <a:gd name="connsiteY23" fmla="*/ 3094074 h 4492350"/>
                <a:gd name="connsiteX24" fmla="*/ 2138356 w 3638574"/>
                <a:gd name="connsiteY24" fmla="*/ 4030951 h 4492350"/>
                <a:gd name="connsiteX25" fmla="*/ 2176877 w 3638574"/>
                <a:gd name="connsiteY25" fmla="*/ 4476307 h 4492350"/>
                <a:gd name="connsiteX26" fmla="*/ 2162233 w 3638574"/>
                <a:gd name="connsiteY26" fmla="*/ 4491415 h 4492350"/>
                <a:gd name="connsiteX27" fmla="*/ 1687779 w 3638574"/>
                <a:gd name="connsiteY27" fmla="*/ 4492350 h 4492350"/>
                <a:gd name="connsiteX0" fmla="*/ 1687779 w 3638574"/>
                <a:gd name="connsiteY0" fmla="*/ 4492350 h 4492350"/>
                <a:gd name="connsiteX1" fmla="*/ 1719873 w 3638574"/>
                <a:gd name="connsiteY1" fmla="*/ 3785190 h 4492350"/>
                <a:gd name="connsiteX2" fmla="*/ 1239812 w 3638574"/>
                <a:gd name="connsiteY2" fmla="*/ 3369121 h 4492350"/>
                <a:gd name="connsiteX3" fmla="*/ 0 w 3638574"/>
                <a:gd name="connsiteY3" fmla="*/ 2917145 h 4492350"/>
                <a:gd name="connsiteX4" fmla="*/ 1087133 w 3638574"/>
                <a:gd name="connsiteY4" fmla="*/ 3238920 h 4492350"/>
                <a:gd name="connsiteX5" fmla="*/ 389581 w 3638574"/>
                <a:gd name="connsiteY5" fmla="*/ 2412005 h 4492350"/>
                <a:gd name="connsiteX6" fmla="*/ 1719677 w 3638574"/>
                <a:gd name="connsiteY6" fmla="*/ 3519376 h 4492350"/>
                <a:gd name="connsiteX7" fmla="*/ 1627995 w 3638574"/>
                <a:gd name="connsiteY7" fmla="*/ 2400346 h 4492350"/>
                <a:gd name="connsiteX8" fmla="*/ 4198 w 3638574"/>
                <a:gd name="connsiteY8" fmla="*/ 742880 h 4492350"/>
                <a:gd name="connsiteX9" fmla="*/ 932867 w 3638574"/>
                <a:gd name="connsiteY9" fmla="*/ 1924493 h 4492350"/>
                <a:gd name="connsiteX10" fmla="*/ 1037607 w 3638574"/>
                <a:gd name="connsiteY10" fmla="*/ 857226 h 4492350"/>
                <a:gd name="connsiteX11" fmla="*/ 1138710 w 3638574"/>
                <a:gd name="connsiteY11" fmla="*/ 2026621 h 4492350"/>
                <a:gd name="connsiteX12" fmla="*/ 1646038 w 3638574"/>
                <a:gd name="connsiteY12" fmla="*/ 2198532 h 4492350"/>
                <a:gd name="connsiteX13" fmla="*/ 1900430 w 3638574"/>
                <a:gd name="connsiteY13" fmla="*/ 0 h 4492350"/>
                <a:gd name="connsiteX14" fmla="*/ 1971873 w 3638574"/>
                <a:gd name="connsiteY14" fmla="*/ 986216 h 4492350"/>
                <a:gd name="connsiteX15" fmla="*/ 1826002 w 3638574"/>
                <a:gd name="connsiteY15" fmla="*/ 2060385 h 4492350"/>
                <a:gd name="connsiteX16" fmla="*/ 2001533 w 3638574"/>
                <a:gd name="connsiteY16" fmla="*/ 3046321 h 4492350"/>
                <a:gd name="connsiteX17" fmla="*/ 2591546 w 3638574"/>
                <a:gd name="connsiteY17" fmla="*/ 2519916 h 4492350"/>
                <a:gd name="connsiteX18" fmla="*/ 2857733 w 3638574"/>
                <a:gd name="connsiteY18" fmla="*/ 1291762 h 4492350"/>
                <a:gd name="connsiteX19" fmla="*/ 2750848 w 3638574"/>
                <a:gd name="connsiteY19" fmla="*/ 2383091 h 4492350"/>
                <a:gd name="connsiteX20" fmla="*/ 3638574 w 3638574"/>
                <a:gd name="connsiteY20" fmla="*/ 1124252 h 4492350"/>
                <a:gd name="connsiteX21" fmla="*/ 2166244 w 3638574"/>
                <a:gd name="connsiteY21" fmla="*/ 3370521 h 4492350"/>
                <a:gd name="connsiteX22" fmla="*/ 2113081 w 3638574"/>
                <a:gd name="connsiteY22" fmla="*/ 3817088 h 4492350"/>
                <a:gd name="connsiteX23" fmla="*/ 3261397 w 3638574"/>
                <a:gd name="connsiteY23" fmla="*/ 3094074 h 4492350"/>
                <a:gd name="connsiteX24" fmla="*/ 2138356 w 3638574"/>
                <a:gd name="connsiteY24" fmla="*/ 4030951 h 4492350"/>
                <a:gd name="connsiteX25" fmla="*/ 2176877 w 3638574"/>
                <a:gd name="connsiteY25" fmla="*/ 4476307 h 4492350"/>
                <a:gd name="connsiteX26" fmla="*/ 2162233 w 3638574"/>
                <a:gd name="connsiteY26" fmla="*/ 4491415 h 4492350"/>
                <a:gd name="connsiteX27" fmla="*/ 1687779 w 3638574"/>
                <a:gd name="connsiteY27" fmla="*/ 4492350 h 4492350"/>
                <a:gd name="connsiteX0" fmla="*/ 1687779 w 3638574"/>
                <a:gd name="connsiteY0" fmla="*/ 4492350 h 4492350"/>
                <a:gd name="connsiteX1" fmla="*/ 1703018 w 3638574"/>
                <a:gd name="connsiteY1" fmla="*/ 3785190 h 4492350"/>
                <a:gd name="connsiteX2" fmla="*/ 1239812 w 3638574"/>
                <a:gd name="connsiteY2" fmla="*/ 3369121 h 4492350"/>
                <a:gd name="connsiteX3" fmla="*/ 0 w 3638574"/>
                <a:gd name="connsiteY3" fmla="*/ 2917145 h 4492350"/>
                <a:gd name="connsiteX4" fmla="*/ 1087133 w 3638574"/>
                <a:gd name="connsiteY4" fmla="*/ 3238920 h 4492350"/>
                <a:gd name="connsiteX5" fmla="*/ 389581 w 3638574"/>
                <a:gd name="connsiteY5" fmla="*/ 2412005 h 4492350"/>
                <a:gd name="connsiteX6" fmla="*/ 1719677 w 3638574"/>
                <a:gd name="connsiteY6" fmla="*/ 3519376 h 4492350"/>
                <a:gd name="connsiteX7" fmla="*/ 1627995 w 3638574"/>
                <a:gd name="connsiteY7" fmla="*/ 2400346 h 4492350"/>
                <a:gd name="connsiteX8" fmla="*/ 4198 w 3638574"/>
                <a:gd name="connsiteY8" fmla="*/ 742880 h 4492350"/>
                <a:gd name="connsiteX9" fmla="*/ 932867 w 3638574"/>
                <a:gd name="connsiteY9" fmla="*/ 1924493 h 4492350"/>
                <a:gd name="connsiteX10" fmla="*/ 1037607 w 3638574"/>
                <a:gd name="connsiteY10" fmla="*/ 857226 h 4492350"/>
                <a:gd name="connsiteX11" fmla="*/ 1138710 w 3638574"/>
                <a:gd name="connsiteY11" fmla="*/ 2026621 h 4492350"/>
                <a:gd name="connsiteX12" fmla="*/ 1646038 w 3638574"/>
                <a:gd name="connsiteY12" fmla="*/ 2198532 h 4492350"/>
                <a:gd name="connsiteX13" fmla="*/ 1900430 w 3638574"/>
                <a:gd name="connsiteY13" fmla="*/ 0 h 4492350"/>
                <a:gd name="connsiteX14" fmla="*/ 1971873 w 3638574"/>
                <a:gd name="connsiteY14" fmla="*/ 986216 h 4492350"/>
                <a:gd name="connsiteX15" fmla="*/ 1826002 w 3638574"/>
                <a:gd name="connsiteY15" fmla="*/ 2060385 h 4492350"/>
                <a:gd name="connsiteX16" fmla="*/ 2001533 w 3638574"/>
                <a:gd name="connsiteY16" fmla="*/ 3046321 h 4492350"/>
                <a:gd name="connsiteX17" fmla="*/ 2591546 w 3638574"/>
                <a:gd name="connsiteY17" fmla="*/ 2519916 h 4492350"/>
                <a:gd name="connsiteX18" fmla="*/ 2857733 w 3638574"/>
                <a:gd name="connsiteY18" fmla="*/ 1291762 h 4492350"/>
                <a:gd name="connsiteX19" fmla="*/ 2750848 w 3638574"/>
                <a:gd name="connsiteY19" fmla="*/ 2383091 h 4492350"/>
                <a:gd name="connsiteX20" fmla="*/ 3638574 w 3638574"/>
                <a:gd name="connsiteY20" fmla="*/ 1124252 h 4492350"/>
                <a:gd name="connsiteX21" fmla="*/ 2166244 w 3638574"/>
                <a:gd name="connsiteY21" fmla="*/ 3370521 h 4492350"/>
                <a:gd name="connsiteX22" fmla="*/ 2113081 w 3638574"/>
                <a:gd name="connsiteY22" fmla="*/ 3817088 h 4492350"/>
                <a:gd name="connsiteX23" fmla="*/ 3261397 w 3638574"/>
                <a:gd name="connsiteY23" fmla="*/ 3094074 h 4492350"/>
                <a:gd name="connsiteX24" fmla="*/ 2138356 w 3638574"/>
                <a:gd name="connsiteY24" fmla="*/ 4030951 h 4492350"/>
                <a:gd name="connsiteX25" fmla="*/ 2176877 w 3638574"/>
                <a:gd name="connsiteY25" fmla="*/ 4476307 h 4492350"/>
                <a:gd name="connsiteX26" fmla="*/ 2162233 w 3638574"/>
                <a:gd name="connsiteY26" fmla="*/ 4491415 h 4492350"/>
                <a:gd name="connsiteX27" fmla="*/ 1687779 w 3638574"/>
                <a:gd name="connsiteY27" fmla="*/ 4492350 h 4492350"/>
                <a:gd name="connsiteX0" fmla="*/ 1687779 w 3638574"/>
                <a:gd name="connsiteY0" fmla="*/ 4492350 h 4492350"/>
                <a:gd name="connsiteX1" fmla="*/ 1703018 w 3638574"/>
                <a:gd name="connsiteY1" fmla="*/ 3785190 h 4492350"/>
                <a:gd name="connsiteX2" fmla="*/ 1239812 w 3638574"/>
                <a:gd name="connsiteY2" fmla="*/ 3369121 h 4492350"/>
                <a:gd name="connsiteX3" fmla="*/ 0 w 3638574"/>
                <a:gd name="connsiteY3" fmla="*/ 2917145 h 4492350"/>
                <a:gd name="connsiteX4" fmla="*/ 1087133 w 3638574"/>
                <a:gd name="connsiteY4" fmla="*/ 3238920 h 4492350"/>
                <a:gd name="connsiteX5" fmla="*/ 389581 w 3638574"/>
                <a:gd name="connsiteY5" fmla="*/ 2412005 h 4492350"/>
                <a:gd name="connsiteX6" fmla="*/ 1719677 w 3638574"/>
                <a:gd name="connsiteY6" fmla="*/ 3519376 h 4492350"/>
                <a:gd name="connsiteX7" fmla="*/ 1627995 w 3638574"/>
                <a:gd name="connsiteY7" fmla="*/ 2400346 h 4492350"/>
                <a:gd name="connsiteX8" fmla="*/ 4198 w 3638574"/>
                <a:gd name="connsiteY8" fmla="*/ 742880 h 4492350"/>
                <a:gd name="connsiteX9" fmla="*/ 932867 w 3638574"/>
                <a:gd name="connsiteY9" fmla="*/ 1924493 h 4492350"/>
                <a:gd name="connsiteX10" fmla="*/ 1037607 w 3638574"/>
                <a:gd name="connsiteY10" fmla="*/ 857226 h 4492350"/>
                <a:gd name="connsiteX11" fmla="*/ 1138710 w 3638574"/>
                <a:gd name="connsiteY11" fmla="*/ 2026621 h 4492350"/>
                <a:gd name="connsiteX12" fmla="*/ 1646038 w 3638574"/>
                <a:gd name="connsiteY12" fmla="*/ 2198532 h 4492350"/>
                <a:gd name="connsiteX13" fmla="*/ 1900430 w 3638574"/>
                <a:gd name="connsiteY13" fmla="*/ 0 h 4492350"/>
                <a:gd name="connsiteX14" fmla="*/ 1971873 w 3638574"/>
                <a:gd name="connsiteY14" fmla="*/ 986216 h 4492350"/>
                <a:gd name="connsiteX15" fmla="*/ 1826002 w 3638574"/>
                <a:gd name="connsiteY15" fmla="*/ 2060385 h 4492350"/>
                <a:gd name="connsiteX16" fmla="*/ 2001533 w 3638574"/>
                <a:gd name="connsiteY16" fmla="*/ 3046321 h 4492350"/>
                <a:gd name="connsiteX17" fmla="*/ 2591546 w 3638574"/>
                <a:gd name="connsiteY17" fmla="*/ 2519916 h 4492350"/>
                <a:gd name="connsiteX18" fmla="*/ 2857733 w 3638574"/>
                <a:gd name="connsiteY18" fmla="*/ 1291762 h 4492350"/>
                <a:gd name="connsiteX19" fmla="*/ 2750848 w 3638574"/>
                <a:gd name="connsiteY19" fmla="*/ 2383091 h 4492350"/>
                <a:gd name="connsiteX20" fmla="*/ 3638574 w 3638574"/>
                <a:gd name="connsiteY20" fmla="*/ 1124252 h 4492350"/>
                <a:gd name="connsiteX21" fmla="*/ 2166244 w 3638574"/>
                <a:gd name="connsiteY21" fmla="*/ 3370521 h 4492350"/>
                <a:gd name="connsiteX22" fmla="*/ 2121509 w 3638574"/>
                <a:gd name="connsiteY22" fmla="*/ 3808660 h 4492350"/>
                <a:gd name="connsiteX23" fmla="*/ 3261397 w 3638574"/>
                <a:gd name="connsiteY23" fmla="*/ 3094074 h 4492350"/>
                <a:gd name="connsiteX24" fmla="*/ 2138356 w 3638574"/>
                <a:gd name="connsiteY24" fmla="*/ 4030951 h 4492350"/>
                <a:gd name="connsiteX25" fmla="*/ 2176877 w 3638574"/>
                <a:gd name="connsiteY25" fmla="*/ 4476307 h 4492350"/>
                <a:gd name="connsiteX26" fmla="*/ 2162233 w 3638574"/>
                <a:gd name="connsiteY26" fmla="*/ 4491415 h 4492350"/>
                <a:gd name="connsiteX27" fmla="*/ 1687779 w 3638574"/>
                <a:gd name="connsiteY27" fmla="*/ 4492350 h 4492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638574" h="4492350">
                  <a:moveTo>
                    <a:pt x="1687779" y="4492350"/>
                  </a:moveTo>
                  <a:cubicBezTo>
                    <a:pt x="1649353" y="4280693"/>
                    <a:pt x="1685297" y="4020910"/>
                    <a:pt x="1703018" y="3785190"/>
                  </a:cubicBezTo>
                  <a:lnTo>
                    <a:pt x="1239812" y="3369121"/>
                  </a:lnTo>
                  <a:cubicBezTo>
                    <a:pt x="710236" y="3436368"/>
                    <a:pt x="325039" y="3138656"/>
                    <a:pt x="0" y="2917145"/>
                  </a:cubicBezTo>
                  <a:cubicBezTo>
                    <a:pt x="370399" y="3119320"/>
                    <a:pt x="1037576" y="3333525"/>
                    <a:pt x="1087133" y="3238920"/>
                  </a:cubicBezTo>
                  <a:cubicBezTo>
                    <a:pt x="945521" y="3141082"/>
                    <a:pt x="539214" y="2730422"/>
                    <a:pt x="389581" y="2412005"/>
                  </a:cubicBezTo>
                  <a:cubicBezTo>
                    <a:pt x="859682" y="2946896"/>
                    <a:pt x="1430048" y="3277253"/>
                    <a:pt x="1719677" y="3519376"/>
                  </a:cubicBezTo>
                  <a:cubicBezTo>
                    <a:pt x="1735906" y="3304113"/>
                    <a:pt x="1659893" y="2776030"/>
                    <a:pt x="1627995" y="2400346"/>
                  </a:cubicBezTo>
                  <a:cubicBezTo>
                    <a:pt x="725782" y="2160678"/>
                    <a:pt x="172484" y="1536000"/>
                    <a:pt x="4198" y="742880"/>
                  </a:cubicBezTo>
                  <a:cubicBezTo>
                    <a:pt x="248250" y="1210277"/>
                    <a:pt x="456205" y="1649601"/>
                    <a:pt x="932867" y="1924493"/>
                  </a:cubicBezTo>
                  <a:cubicBezTo>
                    <a:pt x="1158949" y="1666327"/>
                    <a:pt x="1108304" y="1211645"/>
                    <a:pt x="1037607" y="857226"/>
                  </a:cubicBezTo>
                  <a:cubicBezTo>
                    <a:pt x="1222371" y="1153446"/>
                    <a:pt x="1266767" y="1586023"/>
                    <a:pt x="1138710" y="2026621"/>
                  </a:cubicBezTo>
                  <a:cubicBezTo>
                    <a:pt x="1250538" y="2109256"/>
                    <a:pt x="1570304" y="2252254"/>
                    <a:pt x="1646038" y="2198532"/>
                  </a:cubicBezTo>
                  <a:cubicBezTo>
                    <a:pt x="1690527" y="1476450"/>
                    <a:pt x="1904067" y="874481"/>
                    <a:pt x="1900430" y="0"/>
                  </a:cubicBezTo>
                  <a:cubicBezTo>
                    <a:pt x="1976693" y="192349"/>
                    <a:pt x="2015482" y="645373"/>
                    <a:pt x="1971873" y="986216"/>
                  </a:cubicBezTo>
                  <a:cubicBezTo>
                    <a:pt x="1947436" y="1177213"/>
                    <a:pt x="1846749" y="1657958"/>
                    <a:pt x="1826002" y="2060385"/>
                  </a:cubicBezTo>
                  <a:cubicBezTo>
                    <a:pt x="1811014" y="2351099"/>
                    <a:pt x="1951043" y="3007770"/>
                    <a:pt x="2001533" y="3046321"/>
                  </a:cubicBezTo>
                  <a:cubicBezTo>
                    <a:pt x="2041794" y="3055338"/>
                    <a:pt x="2575349" y="2567047"/>
                    <a:pt x="2591546" y="2519916"/>
                  </a:cubicBezTo>
                  <a:cubicBezTo>
                    <a:pt x="2482423" y="2107858"/>
                    <a:pt x="2569814" y="1503293"/>
                    <a:pt x="2857733" y="1291762"/>
                  </a:cubicBezTo>
                  <a:cubicBezTo>
                    <a:pt x="2648315" y="1639496"/>
                    <a:pt x="2663487" y="2195777"/>
                    <a:pt x="2750848" y="2383091"/>
                  </a:cubicBezTo>
                  <a:cubicBezTo>
                    <a:pt x="3066810" y="2282983"/>
                    <a:pt x="3503085" y="1513118"/>
                    <a:pt x="3638574" y="1124252"/>
                  </a:cubicBezTo>
                  <a:cubicBezTo>
                    <a:pt x="3492704" y="2254009"/>
                    <a:pt x="2460505" y="2814271"/>
                    <a:pt x="2166244" y="3370521"/>
                  </a:cubicBezTo>
                  <a:cubicBezTo>
                    <a:pt x="2148523" y="3519377"/>
                    <a:pt x="2147251" y="3667825"/>
                    <a:pt x="2121509" y="3808660"/>
                  </a:cubicBezTo>
                  <a:cubicBezTo>
                    <a:pt x="2452144" y="3808286"/>
                    <a:pt x="3159362" y="3298984"/>
                    <a:pt x="3261397" y="3094074"/>
                  </a:cubicBezTo>
                  <a:cubicBezTo>
                    <a:pt x="3262702" y="3429094"/>
                    <a:pt x="2493987" y="3820258"/>
                    <a:pt x="2138356" y="4030951"/>
                  </a:cubicBezTo>
                  <a:cubicBezTo>
                    <a:pt x="2116438" y="4040371"/>
                    <a:pt x="2182753" y="4334539"/>
                    <a:pt x="2176877" y="4476307"/>
                  </a:cubicBezTo>
                  <a:cubicBezTo>
                    <a:pt x="2170659" y="4477332"/>
                    <a:pt x="2168451" y="4490390"/>
                    <a:pt x="2162233" y="4491415"/>
                  </a:cubicBezTo>
                  <a:lnTo>
                    <a:pt x="1687779" y="4492350"/>
                  </a:lnTo>
                  <a:close/>
                </a:path>
              </a:pathLst>
            </a:custGeom>
            <a:solidFill>
              <a:schemeClr val="tx1">
                <a:lumMod val="65000"/>
                <a:lumOff val="3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等线" panose="020F0502020204030204"/>
                <a:ea typeface="等线" panose="02010600030101010101" pitchFamily="2" charset="-122"/>
                <a:cs typeface="+mn-cs"/>
              </a:endParaRPr>
            </a:p>
          </p:txBody>
        </p:sp>
        <p:sp>
          <p:nvSpPr>
            <p:cNvPr id="5" name="Freeform 9">
              <a:extLst>
                <a:ext uri="{FF2B5EF4-FFF2-40B4-BE49-F238E27FC236}">
                  <a16:creationId xmlns:a16="http://schemas.microsoft.com/office/drawing/2014/main" id="{0915C2A3-3228-42AD-89B8-E279D43FC107}"/>
                </a:ext>
              </a:extLst>
            </p:cNvPr>
            <p:cNvSpPr>
              <a:spLocks/>
            </p:cNvSpPr>
            <p:nvPr/>
          </p:nvSpPr>
          <p:spPr bwMode="auto">
            <a:xfrm rot="1885651">
              <a:off x="5011841" y="4712977"/>
              <a:ext cx="901328" cy="1607083"/>
            </a:xfrm>
            <a:custGeom>
              <a:avLst/>
              <a:gdLst>
                <a:gd name="T0" fmla="*/ 536 w 1696"/>
                <a:gd name="T1" fmla="*/ 2987 h 3026"/>
                <a:gd name="T2" fmla="*/ 462 w 1696"/>
                <a:gd name="T3" fmla="*/ 2911 h 3026"/>
                <a:gd name="T4" fmla="*/ 368 w 1696"/>
                <a:gd name="T5" fmla="*/ 2798 h 3026"/>
                <a:gd name="T6" fmla="*/ 263 w 1696"/>
                <a:gd name="T7" fmla="*/ 2650 h 3026"/>
                <a:gd name="T8" fmla="*/ 161 w 1696"/>
                <a:gd name="T9" fmla="*/ 2473 h 3026"/>
                <a:gd name="T10" fmla="*/ 76 w 1696"/>
                <a:gd name="T11" fmla="*/ 2268 h 3026"/>
                <a:gd name="T12" fmla="*/ 17 w 1696"/>
                <a:gd name="T13" fmla="*/ 2039 h 3026"/>
                <a:gd name="T14" fmla="*/ 0 w 1696"/>
                <a:gd name="T15" fmla="*/ 1789 h 3026"/>
                <a:gd name="T16" fmla="*/ 36 w 1696"/>
                <a:gd name="T17" fmla="*/ 1522 h 3026"/>
                <a:gd name="T18" fmla="*/ 137 w 1696"/>
                <a:gd name="T19" fmla="*/ 1239 h 3026"/>
                <a:gd name="T20" fmla="*/ 300 w 1696"/>
                <a:gd name="T21" fmla="*/ 959 h 3026"/>
                <a:gd name="T22" fmla="*/ 478 w 1696"/>
                <a:gd name="T23" fmla="*/ 721 h 3026"/>
                <a:gd name="T24" fmla="*/ 659 w 1696"/>
                <a:gd name="T25" fmla="*/ 526 h 3026"/>
                <a:gd name="T26" fmla="*/ 840 w 1696"/>
                <a:gd name="T27" fmla="*/ 369 h 3026"/>
                <a:gd name="T28" fmla="*/ 1014 w 1696"/>
                <a:gd name="T29" fmla="*/ 247 h 3026"/>
                <a:gd name="T30" fmla="*/ 1177 w 1696"/>
                <a:gd name="T31" fmla="*/ 155 h 3026"/>
                <a:gd name="T32" fmla="*/ 1322 w 1696"/>
                <a:gd name="T33" fmla="*/ 88 h 3026"/>
                <a:gd name="T34" fmla="*/ 1444 w 1696"/>
                <a:gd name="T35" fmla="*/ 43 h 3026"/>
                <a:gd name="T36" fmla="*/ 1538 w 1696"/>
                <a:gd name="T37" fmla="*/ 16 h 3026"/>
                <a:gd name="T38" fmla="*/ 1611 w 1696"/>
                <a:gd name="T39" fmla="*/ 1 h 3026"/>
                <a:gd name="T40" fmla="*/ 1604 w 1696"/>
                <a:gd name="T41" fmla="*/ 30 h 3026"/>
                <a:gd name="T42" fmla="*/ 1555 w 1696"/>
                <a:gd name="T43" fmla="*/ 143 h 3026"/>
                <a:gd name="T44" fmla="*/ 1517 w 1696"/>
                <a:gd name="T45" fmla="*/ 243 h 3026"/>
                <a:gd name="T46" fmla="*/ 1478 w 1696"/>
                <a:gd name="T47" fmla="*/ 367 h 3026"/>
                <a:gd name="T48" fmla="*/ 1444 w 1696"/>
                <a:gd name="T49" fmla="*/ 506 h 3026"/>
                <a:gd name="T50" fmla="*/ 1418 w 1696"/>
                <a:gd name="T51" fmla="*/ 660 h 3026"/>
                <a:gd name="T52" fmla="*/ 1406 w 1696"/>
                <a:gd name="T53" fmla="*/ 825 h 3026"/>
                <a:gd name="T54" fmla="*/ 1412 w 1696"/>
                <a:gd name="T55" fmla="*/ 997 h 3026"/>
                <a:gd name="T56" fmla="*/ 1441 w 1696"/>
                <a:gd name="T57" fmla="*/ 1171 h 3026"/>
                <a:gd name="T58" fmla="*/ 1515 w 1696"/>
                <a:gd name="T59" fmla="*/ 1398 h 3026"/>
                <a:gd name="T60" fmla="*/ 1614 w 1696"/>
                <a:gd name="T61" fmla="*/ 1682 h 3026"/>
                <a:gd name="T62" fmla="*/ 1651 w 1696"/>
                <a:gd name="T63" fmla="*/ 1802 h 3026"/>
                <a:gd name="T64" fmla="*/ 1678 w 1696"/>
                <a:gd name="T65" fmla="*/ 1912 h 3026"/>
                <a:gd name="T66" fmla="*/ 1693 w 1696"/>
                <a:gd name="T67" fmla="*/ 2017 h 3026"/>
                <a:gd name="T68" fmla="*/ 1695 w 1696"/>
                <a:gd name="T69" fmla="*/ 2119 h 3026"/>
                <a:gd name="T70" fmla="*/ 1683 w 1696"/>
                <a:gd name="T71" fmla="*/ 2222 h 3026"/>
                <a:gd name="T72" fmla="*/ 1655 w 1696"/>
                <a:gd name="T73" fmla="*/ 2330 h 3026"/>
                <a:gd name="T74" fmla="*/ 1611 w 1696"/>
                <a:gd name="T75" fmla="*/ 2447 h 3026"/>
                <a:gd name="T76" fmla="*/ 1547 w 1696"/>
                <a:gd name="T77" fmla="*/ 2575 h 3026"/>
                <a:gd name="T78" fmla="*/ 1464 w 1696"/>
                <a:gd name="T79" fmla="*/ 2698 h 3026"/>
                <a:gd name="T80" fmla="*/ 1362 w 1696"/>
                <a:gd name="T81" fmla="*/ 2795 h 3026"/>
                <a:gd name="T82" fmla="*/ 1248 w 1696"/>
                <a:gd name="T83" fmla="*/ 2872 h 3026"/>
                <a:gd name="T84" fmla="*/ 1127 w 1696"/>
                <a:gd name="T85" fmla="*/ 2930 h 3026"/>
                <a:gd name="T86" fmla="*/ 1005 w 1696"/>
                <a:gd name="T87" fmla="*/ 2971 h 3026"/>
                <a:gd name="T88" fmla="*/ 888 w 1696"/>
                <a:gd name="T89" fmla="*/ 2998 h 3026"/>
                <a:gd name="T90" fmla="*/ 782 w 1696"/>
                <a:gd name="T91" fmla="*/ 3015 h 3026"/>
                <a:gd name="T92" fmla="*/ 692 w 1696"/>
                <a:gd name="T93" fmla="*/ 3023 h 3026"/>
                <a:gd name="T94" fmla="*/ 585 w 1696"/>
                <a:gd name="T95" fmla="*/ 3026 h 30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696" h="3026">
                  <a:moveTo>
                    <a:pt x="576" y="3025"/>
                  </a:moveTo>
                  <a:lnTo>
                    <a:pt x="565" y="3015"/>
                  </a:lnTo>
                  <a:lnTo>
                    <a:pt x="536" y="2987"/>
                  </a:lnTo>
                  <a:lnTo>
                    <a:pt x="514" y="2966"/>
                  </a:lnTo>
                  <a:lnTo>
                    <a:pt x="491" y="2940"/>
                  </a:lnTo>
                  <a:lnTo>
                    <a:pt x="462" y="2911"/>
                  </a:lnTo>
                  <a:lnTo>
                    <a:pt x="433" y="2878"/>
                  </a:lnTo>
                  <a:lnTo>
                    <a:pt x="401" y="2840"/>
                  </a:lnTo>
                  <a:lnTo>
                    <a:pt x="368" y="2798"/>
                  </a:lnTo>
                  <a:lnTo>
                    <a:pt x="334" y="2752"/>
                  </a:lnTo>
                  <a:lnTo>
                    <a:pt x="299" y="2703"/>
                  </a:lnTo>
                  <a:lnTo>
                    <a:pt x="263" y="2650"/>
                  </a:lnTo>
                  <a:lnTo>
                    <a:pt x="229" y="2595"/>
                  </a:lnTo>
                  <a:lnTo>
                    <a:pt x="194" y="2536"/>
                  </a:lnTo>
                  <a:lnTo>
                    <a:pt x="161" y="2473"/>
                  </a:lnTo>
                  <a:lnTo>
                    <a:pt x="130" y="2408"/>
                  </a:lnTo>
                  <a:lnTo>
                    <a:pt x="102" y="2340"/>
                  </a:lnTo>
                  <a:lnTo>
                    <a:pt x="76" y="2268"/>
                  </a:lnTo>
                  <a:lnTo>
                    <a:pt x="52" y="2195"/>
                  </a:lnTo>
                  <a:lnTo>
                    <a:pt x="33" y="2118"/>
                  </a:lnTo>
                  <a:lnTo>
                    <a:pt x="17" y="2039"/>
                  </a:lnTo>
                  <a:lnTo>
                    <a:pt x="7" y="1958"/>
                  </a:lnTo>
                  <a:lnTo>
                    <a:pt x="0" y="1874"/>
                  </a:lnTo>
                  <a:lnTo>
                    <a:pt x="0" y="1789"/>
                  </a:lnTo>
                  <a:lnTo>
                    <a:pt x="6" y="1702"/>
                  </a:lnTo>
                  <a:lnTo>
                    <a:pt x="16" y="1613"/>
                  </a:lnTo>
                  <a:lnTo>
                    <a:pt x="36" y="1522"/>
                  </a:lnTo>
                  <a:lnTo>
                    <a:pt x="61" y="1429"/>
                  </a:lnTo>
                  <a:lnTo>
                    <a:pt x="95" y="1334"/>
                  </a:lnTo>
                  <a:lnTo>
                    <a:pt x="137" y="1239"/>
                  </a:lnTo>
                  <a:lnTo>
                    <a:pt x="187" y="1143"/>
                  </a:lnTo>
                  <a:lnTo>
                    <a:pt x="243" y="1048"/>
                  </a:lnTo>
                  <a:lnTo>
                    <a:pt x="300" y="959"/>
                  </a:lnTo>
                  <a:lnTo>
                    <a:pt x="358" y="874"/>
                  </a:lnTo>
                  <a:lnTo>
                    <a:pt x="418" y="795"/>
                  </a:lnTo>
                  <a:lnTo>
                    <a:pt x="478" y="721"/>
                  </a:lnTo>
                  <a:lnTo>
                    <a:pt x="538" y="651"/>
                  </a:lnTo>
                  <a:lnTo>
                    <a:pt x="599" y="587"/>
                  </a:lnTo>
                  <a:lnTo>
                    <a:pt x="659" y="526"/>
                  </a:lnTo>
                  <a:lnTo>
                    <a:pt x="720" y="470"/>
                  </a:lnTo>
                  <a:lnTo>
                    <a:pt x="780" y="418"/>
                  </a:lnTo>
                  <a:lnTo>
                    <a:pt x="840" y="369"/>
                  </a:lnTo>
                  <a:lnTo>
                    <a:pt x="899" y="325"/>
                  </a:lnTo>
                  <a:lnTo>
                    <a:pt x="957" y="285"/>
                  </a:lnTo>
                  <a:lnTo>
                    <a:pt x="1014" y="247"/>
                  </a:lnTo>
                  <a:lnTo>
                    <a:pt x="1070" y="213"/>
                  </a:lnTo>
                  <a:lnTo>
                    <a:pt x="1124" y="182"/>
                  </a:lnTo>
                  <a:lnTo>
                    <a:pt x="1177" y="155"/>
                  </a:lnTo>
                  <a:lnTo>
                    <a:pt x="1227" y="130"/>
                  </a:lnTo>
                  <a:lnTo>
                    <a:pt x="1275" y="107"/>
                  </a:lnTo>
                  <a:lnTo>
                    <a:pt x="1322" y="88"/>
                  </a:lnTo>
                  <a:lnTo>
                    <a:pt x="1365" y="70"/>
                  </a:lnTo>
                  <a:lnTo>
                    <a:pt x="1406" y="56"/>
                  </a:lnTo>
                  <a:lnTo>
                    <a:pt x="1444" y="43"/>
                  </a:lnTo>
                  <a:lnTo>
                    <a:pt x="1479" y="32"/>
                  </a:lnTo>
                  <a:lnTo>
                    <a:pt x="1510" y="24"/>
                  </a:lnTo>
                  <a:lnTo>
                    <a:pt x="1538" y="16"/>
                  </a:lnTo>
                  <a:lnTo>
                    <a:pt x="1562" y="11"/>
                  </a:lnTo>
                  <a:lnTo>
                    <a:pt x="1583" y="6"/>
                  </a:lnTo>
                  <a:lnTo>
                    <a:pt x="1611" y="1"/>
                  </a:lnTo>
                  <a:lnTo>
                    <a:pt x="1620" y="0"/>
                  </a:lnTo>
                  <a:lnTo>
                    <a:pt x="1616" y="8"/>
                  </a:lnTo>
                  <a:lnTo>
                    <a:pt x="1604" y="30"/>
                  </a:lnTo>
                  <a:lnTo>
                    <a:pt x="1588" y="66"/>
                  </a:lnTo>
                  <a:lnTo>
                    <a:pt x="1567" y="114"/>
                  </a:lnTo>
                  <a:lnTo>
                    <a:pt x="1555" y="143"/>
                  </a:lnTo>
                  <a:lnTo>
                    <a:pt x="1543" y="174"/>
                  </a:lnTo>
                  <a:lnTo>
                    <a:pt x="1530" y="208"/>
                  </a:lnTo>
                  <a:lnTo>
                    <a:pt x="1517" y="243"/>
                  </a:lnTo>
                  <a:lnTo>
                    <a:pt x="1504" y="282"/>
                  </a:lnTo>
                  <a:lnTo>
                    <a:pt x="1491" y="324"/>
                  </a:lnTo>
                  <a:lnTo>
                    <a:pt x="1478" y="367"/>
                  </a:lnTo>
                  <a:lnTo>
                    <a:pt x="1466" y="411"/>
                  </a:lnTo>
                  <a:lnTo>
                    <a:pt x="1455" y="458"/>
                  </a:lnTo>
                  <a:lnTo>
                    <a:pt x="1444" y="506"/>
                  </a:lnTo>
                  <a:lnTo>
                    <a:pt x="1434" y="556"/>
                  </a:lnTo>
                  <a:lnTo>
                    <a:pt x="1426" y="608"/>
                  </a:lnTo>
                  <a:lnTo>
                    <a:pt x="1418" y="660"/>
                  </a:lnTo>
                  <a:lnTo>
                    <a:pt x="1413" y="714"/>
                  </a:lnTo>
                  <a:lnTo>
                    <a:pt x="1408" y="769"/>
                  </a:lnTo>
                  <a:lnTo>
                    <a:pt x="1406" y="825"/>
                  </a:lnTo>
                  <a:lnTo>
                    <a:pt x="1406" y="881"/>
                  </a:lnTo>
                  <a:lnTo>
                    <a:pt x="1407" y="938"/>
                  </a:lnTo>
                  <a:lnTo>
                    <a:pt x="1412" y="997"/>
                  </a:lnTo>
                  <a:lnTo>
                    <a:pt x="1419" y="1054"/>
                  </a:lnTo>
                  <a:lnTo>
                    <a:pt x="1429" y="1113"/>
                  </a:lnTo>
                  <a:lnTo>
                    <a:pt x="1441" y="1171"/>
                  </a:lnTo>
                  <a:lnTo>
                    <a:pt x="1456" y="1229"/>
                  </a:lnTo>
                  <a:lnTo>
                    <a:pt x="1476" y="1288"/>
                  </a:lnTo>
                  <a:lnTo>
                    <a:pt x="1515" y="1398"/>
                  </a:lnTo>
                  <a:lnTo>
                    <a:pt x="1551" y="1501"/>
                  </a:lnTo>
                  <a:lnTo>
                    <a:pt x="1585" y="1595"/>
                  </a:lnTo>
                  <a:lnTo>
                    <a:pt x="1614" y="1682"/>
                  </a:lnTo>
                  <a:lnTo>
                    <a:pt x="1628" y="1723"/>
                  </a:lnTo>
                  <a:lnTo>
                    <a:pt x="1640" y="1763"/>
                  </a:lnTo>
                  <a:lnTo>
                    <a:pt x="1651" y="1802"/>
                  </a:lnTo>
                  <a:lnTo>
                    <a:pt x="1662" y="1840"/>
                  </a:lnTo>
                  <a:lnTo>
                    <a:pt x="1670" y="1877"/>
                  </a:lnTo>
                  <a:lnTo>
                    <a:pt x="1678" y="1912"/>
                  </a:lnTo>
                  <a:lnTo>
                    <a:pt x="1684" y="1948"/>
                  </a:lnTo>
                  <a:lnTo>
                    <a:pt x="1690" y="1983"/>
                  </a:lnTo>
                  <a:lnTo>
                    <a:pt x="1693" y="2017"/>
                  </a:lnTo>
                  <a:lnTo>
                    <a:pt x="1695" y="2051"/>
                  </a:lnTo>
                  <a:lnTo>
                    <a:pt x="1696" y="2084"/>
                  </a:lnTo>
                  <a:lnTo>
                    <a:pt x="1695" y="2119"/>
                  </a:lnTo>
                  <a:lnTo>
                    <a:pt x="1693" y="2153"/>
                  </a:lnTo>
                  <a:lnTo>
                    <a:pt x="1689" y="2187"/>
                  </a:lnTo>
                  <a:lnTo>
                    <a:pt x="1683" y="2222"/>
                  </a:lnTo>
                  <a:lnTo>
                    <a:pt x="1676" y="2258"/>
                  </a:lnTo>
                  <a:lnTo>
                    <a:pt x="1666" y="2293"/>
                  </a:lnTo>
                  <a:lnTo>
                    <a:pt x="1655" y="2330"/>
                  </a:lnTo>
                  <a:lnTo>
                    <a:pt x="1642" y="2368"/>
                  </a:lnTo>
                  <a:lnTo>
                    <a:pt x="1627" y="2407"/>
                  </a:lnTo>
                  <a:lnTo>
                    <a:pt x="1611" y="2447"/>
                  </a:lnTo>
                  <a:lnTo>
                    <a:pt x="1591" y="2488"/>
                  </a:lnTo>
                  <a:lnTo>
                    <a:pt x="1571" y="2530"/>
                  </a:lnTo>
                  <a:lnTo>
                    <a:pt x="1547" y="2575"/>
                  </a:lnTo>
                  <a:lnTo>
                    <a:pt x="1522" y="2619"/>
                  </a:lnTo>
                  <a:lnTo>
                    <a:pt x="1494" y="2659"/>
                  </a:lnTo>
                  <a:lnTo>
                    <a:pt x="1464" y="2698"/>
                  </a:lnTo>
                  <a:lnTo>
                    <a:pt x="1432" y="2733"/>
                  </a:lnTo>
                  <a:lnTo>
                    <a:pt x="1398" y="2765"/>
                  </a:lnTo>
                  <a:lnTo>
                    <a:pt x="1362" y="2795"/>
                  </a:lnTo>
                  <a:lnTo>
                    <a:pt x="1325" y="2824"/>
                  </a:lnTo>
                  <a:lnTo>
                    <a:pt x="1287" y="2849"/>
                  </a:lnTo>
                  <a:lnTo>
                    <a:pt x="1248" y="2872"/>
                  </a:lnTo>
                  <a:lnTo>
                    <a:pt x="1208" y="2894"/>
                  </a:lnTo>
                  <a:lnTo>
                    <a:pt x="1168" y="2912"/>
                  </a:lnTo>
                  <a:lnTo>
                    <a:pt x="1127" y="2930"/>
                  </a:lnTo>
                  <a:lnTo>
                    <a:pt x="1086" y="2945"/>
                  </a:lnTo>
                  <a:lnTo>
                    <a:pt x="1046" y="2959"/>
                  </a:lnTo>
                  <a:lnTo>
                    <a:pt x="1005" y="2971"/>
                  </a:lnTo>
                  <a:lnTo>
                    <a:pt x="966" y="2982"/>
                  </a:lnTo>
                  <a:lnTo>
                    <a:pt x="927" y="2990"/>
                  </a:lnTo>
                  <a:lnTo>
                    <a:pt x="888" y="2998"/>
                  </a:lnTo>
                  <a:lnTo>
                    <a:pt x="851" y="3004"/>
                  </a:lnTo>
                  <a:lnTo>
                    <a:pt x="815" y="3010"/>
                  </a:lnTo>
                  <a:lnTo>
                    <a:pt x="782" y="3015"/>
                  </a:lnTo>
                  <a:lnTo>
                    <a:pt x="750" y="3018"/>
                  </a:lnTo>
                  <a:lnTo>
                    <a:pt x="720" y="3020"/>
                  </a:lnTo>
                  <a:lnTo>
                    <a:pt x="692" y="3023"/>
                  </a:lnTo>
                  <a:lnTo>
                    <a:pt x="644" y="3025"/>
                  </a:lnTo>
                  <a:lnTo>
                    <a:pt x="607" y="3026"/>
                  </a:lnTo>
                  <a:lnTo>
                    <a:pt x="585" y="3026"/>
                  </a:lnTo>
                  <a:lnTo>
                    <a:pt x="576" y="3025"/>
                  </a:lnTo>
                  <a:close/>
                </a:path>
              </a:pathLst>
            </a:custGeom>
            <a:solidFill>
              <a:schemeClr val="accent1"/>
            </a:solidFill>
            <a:ln>
              <a:noFill/>
            </a:ln>
            <a:effectLst>
              <a:outerShdw blurRad="444500" dist="190500" dir="2700000" sx="95000" sy="95000" algn="tl" rotWithShape="0">
                <a:prstClr val="black">
                  <a:alpha val="23000"/>
                </a:prstClr>
              </a:outerShdw>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6" name="Freeform 9">
              <a:extLst>
                <a:ext uri="{FF2B5EF4-FFF2-40B4-BE49-F238E27FC236}">
                  <a16:creationId xmlns:a16="http://schemas.microsoft.com/office/drawing/2014/main" id="{718AC16B-F9B3-4F83-9042-8C071E6EFF73}"/>
                </a:ext>
              </a:extLst>
            </p:cNvPr>
            <p:cNvSpPr>
              <a:spLocks/>
            </p:cNvSpPr>
            <p:nvPr/>
          </p:nvSpPr>
          <p:spPr bwMode="auto">
            <a:xfrm rot="520602">
              <a:off x="5137319" y="3209143"/>
              <a:ext cx="901328" cy="1607083"/>
            </a:xfrm>
            <a:custGeom>
              <a:avLst/>
              <a:gdLst>
                <a:gd name="T0" fmla="*/ 536 w 1696"/>
                <a:gd name="T1" fmla="*/ 2987 h 3026"/>
                <a:gd name="T2" fmla="*/ 462 w 1696"/>
                <a:gd name="T3" fmla="*/ 2911 h 3026"/>
                <a:gd name="T4" fmla="*/ 368 w 1696"/>
                <a:gd name="T5" fmla="*/ 2798 h 3026"/>
                <a:gd name="T6" fmla="*/ 263 w 1696"/>
                <a:gd name="T7" fmla="*/ 2650 h 3026"/>
                <a:gd name="T8" fmla="*/ 161 w 1696"/>
                <a:gd name="T9" fmla="*/ 2473 h 3026"/>
                <a:gd name="T10" fmla="*/ 76 w 1696"/>
                <a:gd name="T11" fmla="*/ 2268 h 3026"/>
                <a:gd name="T12" fmla="*/ 17 w 1696"/>
                <a:gd name="T13" fmla="*/ 2039 h 3026"/>
                <a:gd name="T14" fmla="*/ 0 w 1696"/>
                <a:gd name="T15" fmla="*/ 1789 h 3026"/>
                <a:gd name="T16" fmla="*/ 36 w 1696"/>
                <a:gd name="T17" fmla="*/ 1522 h 3026"/>
                <a:gd name="T18" fmla="*/ 137 w 1696"/>
                <a:gd name="T19" fmla="*/ 1239 h 3026"/>
                <a:gd name="T20" fmla="*/ 300 w 1696"/>
                <a:gd name="T21" fmla="*/ 959 h 3026"/>
                <a:gd name="T22" fmla="*/ 478 w 1696"/>
                <a:gd name="T23" fmla="*/ 721 h 3026"/>
                <a:gd name="T24" fmla="*/ 659 w 1696"/>
                <a:gd name="T25" fmla="*/ 526 h 3026"/>
                <a:gd name="T26" fmla="*/ 840 w 1696"/>
                <a:gd name="T27" fmla="*/ 369 h 3026"/>
                <a:gd name="T28" fmla="*/ 1014 w 1696"/>
                <a:gd name="T29" fmla="*/ 247 h 3026"/>
                <a:gd name="T30" fmla="*/ 1177 w 1696"/>
                <a:gd name="T31" fmla="*/ 155 h 3026"/>
                <a:gd name="T32" fmla="*/ 1322 w 1696"/>
                <a:gd name="T33" fmla="*/ 88 h 3026"/>
                <a:gd name="T34" fmla="*/ 1444 w 1696"/>
                <a:gd name="T35" fmla="*/ 43 h 3026"/>
                <a:gd name="T36" fmla="*/ 1538 w 1696"/>
                <a:gd name="T37" fmla="*/ 16 h 3026"/>
                <a:gd name="T38" fmla="*/ 1611 w 1696"/>
                <a:gd name="T39" fmla="*/ 1 h 3026"/>
                <a:gd name="T40" fmla="*/ 1604 w 1696"/>
                <a:gd name="T41" fmla="*/ 30 h 3026"/>
                <a:gd name="T42" fmla="*/ 1555 w 1696"/>
                <a:gd name="T43" fmla="*/ 143 h 3026"/>
                <a:gd name="T44" fmla="*/ 1517 w 1696"/>
                <a:gd name="T45" fmla="*/ 243 h 3026"/>
                <a:gd name="T46" fmla="*/ 1478 w 1696"/>
                <a:gd name="T47" fmla="*/ 367 h 3026"/>
                <a:gd name="T48" fmla="*/ 1444 w 1696"/>
                <a:gd name="T49" fmla="*/ 506 h 3026"/>
                <a:gd name="T50" fmla="*/ 1418 w 1696"/>
                <a:gd name="T51" fmla="*/ 660 h 3026"/>
                <a:gd name="T52" fmla="*/ 1406 w 1696"/>
                <a:gd name="T53" fmla="*/ 825 h 3026"/>
                <a:gd name="T54" fmla="*/ 1412 w 1696"/>
                <a:gd name="T55" fmla="*/ 997 h 3026"/>
                <a:gd name="T56" fmla="*/ 1441 w 1696"/>
                <a:gd name="T57" fmla="*/ 1171 h 3026"/>
                <a:gd name="T58" fmla="*/ 1515 w 1696"/>
                <a:gd name="T59" fmla="*/ 1398 h 3026"/>
                <a:gd name="T60" fmla="*/ 1614 w 1696"/>
                <a:gd name="T61" fmla="*/ 1682 h 3026"/>
                <a:gd name="T62" fmla="*/ 1651 w 1696"/>
                <a:gd name="T63" fmla="*/ 1802 h 3026"/>
                <a:gd name="T64" fmla="*/ 1678 w 1696"/>
                <a:gd name="T65" fmla="*/ 1912 h 3026"/>
                <a:gd name="T66" fmla="*/ 1693 w 1696"/>
                <a:gd name="T67" fmla="*/ 2017 h 3026"/>
                <a:gd name="T68" fmla="*/ 1695 w 1696"/>
                <a:gd name="T69" fmla="*/ 2119 h 3026"/>
                <a:gd name="T70" fmla="*/ 1683 w 1696"/>
                <a:gd name="T71" fmla="*/ 2222 h 3026"/>
                <a:gd name="T72" fmla="*/ 1655 w 1696"/>
                <a:gd name="T73" fmla="*/ 2330 h 3026"/>
                <a:gd name="T74" fmla="*/ 1611 w 1696"/>
                <a:gd name="T75" fmla="*/ 2447 h 3026"/>
                <a:gd name="T76" fmla="*/ 1547 w 1696"/>
                <a:gd name="T77" fmla="*/ 2575 h 3026"/>
                <a:gd name="T78" fmla="*/ 1464 w 1696"/>
                <a:gd name="T79" fmla="*/ 2698 h 3026"/>
                <a:gd name="T80" fmla="*/ 1362 w 1696"/>
                <a:gd name="T81" fmla="*/ 2795 h 3026"/>
                <a:gd name="T82" fmla="*/ 1248 w 1696"/>
                <a:gd name="T83" fmla="*/ 2872 h 3026"/>
                <a:gd name="T84" fmla="*/ 1127 w 1696"/>
                <a:gd name="T85" fmla="*/ 2930 h 3026"/>
                <a:gd name="T86" fmla="*/ 1005 w 1696"/>
                <a:gd name="T87" fmla="*/ 2971 h 3026"/>
                <a:gd name="T88" fmla="*/ 888 w 1696"/>
                <a:gd name="T89" fmla="*/ 2998 h 3026"/>
                <a:gd name="T90" fmla="*/ 782 w 1696"/>
                <a:gd name="T91" fmla="*/ 3015 h 3026"/>
                <a:gd name="T92" fmla="*/ 692 w 1696"/>
                <a:gd name="T93" fmla="*/ 3023 h 3026"/>
                <a:gd name="T94" fmla="*/ 585 w 1696"/>
                <a:gd name="T95" fmla="*/ 3026 h 30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696" h="3026">
                  <a:moveTo>
                    <a:pt x="576" y="3025"/>
                  </a:moveTo>
                  <a:lnTo>
                    <a:pt x="565" y="3015"/>
                  </a:lnTo>
                  <a:lnTo>
                    <a:pt x="536" y="2987"/>
                  </a:lnTo>
                  <a:lnTo>
                    <a:pt x="514" y="2966"/>
                  </a:lnTo>
                  <a:lnTo>
                    <a:pt x="491" y="2940"/>
                  </a:lnTo>
                  <a:lnTo>
                    <a:pt x="462" y="2911"/>
                  </a:lnTo>
                  <a:lnTo>
                    <a:pt x="433" y="2878"/>
                  </a:lnTo>
                  <a:lnTo>
                    <a:pt x="401" y="2840"/>
                  </a:lnTo>
                  <a:lnTo>
                    <a:pt x="368" y="2798"/>
                  </a:lnTo>
                  <a:lnTo>
                    <a:pt x="334" y="2752"/>
                  </a:lnTo>
                  <a:lnTo>
                    <a:pt x="299" y="2703"/>
                  </a:lnTo>
                  <a:lnTo>
                    <a:pt x="263" y="2650"/>
                  </a:lnTo>
                  <a:lnTo>
                    <a:pt x="229" y="2595"/>
                  </a:lnTo>
                  <a:lnTo>
                    <a:pt x="194" y="2536"/>
                  </a:lnTo>
                  <a:lnTo>
                    <a:pt x="161" y="2473"/>
                  </a:lnTo>
                  <a:lnTo>
                    <a:pt x="130" y="2408"/>
                  </a:lnTo>
                  <a:lnTo>
                    <a:pt x="102" y="2340"/>
                  </a:lnTo>
                  <a:lnTo>
                    <a:pt x="76" y="2268"/>
                  </a:lnTo>
                  <a:lnTo>
                    <a:pt x="52" y="2195"/>
                  </a:lnTo>
                  <a:lnTo>
                    <a:pt x="33" y="2118"/>
                  </a:lnTo>
                  <a:lnTo>
                    <a:pt x="17" y="2039"/>
                  </a:lnTo>
                  <a:lnTo>
                    <a:pt x="7" y="1958"/>
                  </a:lnTo>
                  <a:lnTo>
                    <a:pt x="0" y="1874"/>
                  </a:lnTo>
                  <a:lnTo>
                    <a:pt x="0" y="1789"/>
                  </a:lnTo>
                  <a:lnTo>
                    <a:pt x="6" y="1702"/>
                  </a:lnTo>
                  <a:lnTo>
                    <a:pt x="16" y="1613"/>
                  </a:lnTo>
                  <a:lnTo>
                    <a:pt x="36" y="1522"/>
                  </a:lnTo>
                  <a:lnTo>
                    <a:pt x="61" y="1429"/>
                  </a:lnTo>
                  <a:lnTo>
                    <a:pt x="95" y="1334"/>
                  </a:lnTo>
                  <a:lnTo>
                    <a:pt x="137" y="1239"/>
                  </a:lnTo>
                  <a:lnTo>
                    <a:pt x="187" y="1143"/>
                  </a:lnTo>
                  <a:lnTo>
                    <a:pt x="243" y="1048"/>
                  </a:lnTo>
                  <a:lnTo>
                    <a:pt x="300" y="959"/>
                  </a:lnTo>
                  <a:lnTo>
                    <a:pt x="358" y="874"/>
                  </a:lnTo>
                  <a:lnTo>
                    <a:pt x="418" y="795"/>
                  </a:lnTo>
                  <a:lnTo>
                    <a:pt x="478" y="721"/>
                  </a:lnTo>
                  <a:lnTo>
                    <a:pt x="538" y="651"/>
                  </a:lnTo>
                  <a:lnTo>
                    <a:pt x="599" y="587"/>
                  </a:lnTo>
                  <a:lnTo>
                    <a:pt x="659" y="526"/>
                  </a:lnTo>
                  <a:lnTo>
                    <a:pt x="720" y="470"/>
                  </a:lnTo>
                  <a:lnTo>
                    <a:pt x="780" y="418"/>
                  </a:lnTo>
                  <a:lnTo>
                    <a:pt x="840" y="369"/>
                  </a:lnTo>
                  <a:lnTo>
                    <a:pt x="899" y="325"/>
                  </a:lnTo>
                  <a:lnTo>
                    <a:pt x="957" y="285"/>
                  </a:lnTo>
                  <a:lnTo>
                    <a:pt x="1014" y="247"/>
                  </a:lnTo>
                  <a:lnTo>
                    <a:pt x="1070" y="213"/>
                  </a:lnTo>
                  <a:lnTo>
                    <a:pt x="1124" y="182"/>
                  </a:lnTo>
                  <a:lnTo>
                    <a:pt x="1177" y="155"/>
                  </a:lnTo>
                  <a:lnTo>
                    <a:pt x="1227" y="130"/>
                  </a:lnTo>
                  <a:lnTo>
                    <a:pt x="1275" y="107"/>
                  </a:lnTo>
                  <a:lnTo>
                    <a:pt x="1322" y="88"/>
                  </a:lnTo>
                  <a:lnTo>
                    <a:pt x="1365" y="70"/>
                  </a:lnTo>
                  <a:lnTo>
                    <a:pt x="1406" y="56"/>
                  </a:lnTo>
                  <a:lnTo>
                    <a:pt x="1444" y="43"/>
                  </a:lnTo>
                  <a:lnTo>
                    <a:pt x="1479" y="32"/>
                  </a:lnTo>
                  <a:lnTo>
                    <a:pt x="1510" y="24"/>
                  </a:lnTo>
                  <a:lnTo>
                    <a:pt x="1538" y="16"/>
                  </a:lnTo>
                  <a:lnTo>
                    <a:pt x="1562" y="11"/>
                  </a:lnTo>
                  <a:lnTo>
                    <a:pt x="1583" y="6"/>
                  </a:lnTo>
                  <a:lnTo>
                    <a:pt x="1611" y="1"/>
                  </a:lnTo>
                  <a:lnTo>
                    <a:pt x="1620" y="0"/>
                  </a:lnTo>
                  <a:lnTo>
                    <a:pt x="1616" y="8"/>
                  </a:lnTo>
                  <a:lnTo>
                    <a:pt x="1604" y="30"/>
                  </a:lnTo>
                  <a:lnTo>
                    <a:pt x="1588" y="66"/>
                  </a:lnTo>
                  <a:lnTo>
                    <a:pt x="1567" y="114"/>
                  </a:lnTo>
                  <a:lnTo>
                    <a:pt x="1555" y="143"/>
                  </a:lnTo>
                  <a:lnTo>
                    <a:pt x="1543" y="174"/>
                  </a:lnTo>
                  <a:lnTo>
                    <a:pt x="1530" y="208"/>
                  </a:lnTo>
                  <a:lnTo>
                    <a:pt x="1517" y="243"/>
                  </a:lnTo>
                  <a:lnTo>
                    <a:pt x="1504" y="282"/>
                  </a:lnTo>
                  <a:lnTo>
                    <a:pt x="1491" y="324"/>
                  </a:lnTo>
                  <a:lnTo>
                    <a:pt x="1478" y="367"/>
                  </a:lnTo>
                  <a:lnTo>
                    <a:pt x="1466" y="411"/>
                  </a:lnTo>
                  <a:lnTo>
                    <a:pt x="1455" y="458"/>
                  </a:lnTo>
                  <a:lnTo>
                    <a:pt x="1444" y="506"/>
                  </a:lnTo>
                  <a:lnTo>
                    <a:pt x="1434" y="556"/>
                  </a:lnTo>
                  <a:lnTo>
                    <a:pt x="1426" y="608"/>
                  </a:lnTo>
                  <a:lnTo>
                    <a:pt x="1418" y="660"/>
                  </a:lnTo>
                  <a:lnTo>
                    <a:pt x="1413" y="714"/>
                  </a:lnTo>
                  <a:lnTo>
                    <a:pt x="1408" y="769"/>
                  </a:lnTo>
                  <a:lnTo>
                    <a:pt x="1406" y="825"/>
                  </a:lnTo>
                  <a:lnTo>
                    <a:pt x="1406" y="881"/>
                  </a:lnTo>
                  <a:lnTo>
                    <a:pt x="1407" y="938"/>
                  </a:lnTo>
                  <a:lnTo>
                    <a:pt x="1412" y="997"/>
                  </a:lnTo>
                  <a:lnTo>
                    <a:pt x="1419" y="1054"/>
                  </a:lnTo>
                  <a:lnTo>
                    <a:pt x="1429" y="1113"/>
                  </a:lnTo>
                  <a:lnTo>
                    <a:pt x="1441" y="1171"/>
                  </a:lnTo>
                  <a:lnTo>
                    <a:pt x="1456" y="1229"/>
                  </a:lnTo>
                  <a:lnTo>
                    <a:pt x="1476" y="1288"/>
                  </a:lnTo>
                  <a:lnTo>
                    <a:pt x="1515" y="1398"/>
                  </a:lnTo>
                  <a:lnTo>
                    <a:pt x="1551" y="1501"/>
                  </a:lnTo>
                  <a:lnTo>
                    <a:pt x="1585" y="1595"/>
                  </a:lnTo>
                  <a:lnTo>
                    <a:pt x="1614" y="1682"/>
                  </a:lnTo>
                  <a:lnTo>
                    <a:pt x="1628" y="1723"/>
                  </a:lnTo>
                  <a:lnTo>
                    <a:pt x="1640" y="1763"/>
                  </a:lnTo>
                  <a:lnTo>
                    <a:pt x="1651" y="1802"/>
                  </a:lnTo>
                  <a:lnTo>
                    <a:pt x="1662" y="1840"/>
                  </a:lnTo>
                  <a:lnTo>
                    <a:pt x="1670" y="1877"/>
                  </a:lnTo>
                  <a:lnTo>
                    <a:pt x="1678" y="1912"/>
                  </a:lnTo>
                  <a:lnTo>
                    <a:pt x="1684" y="1948"/>
                  </a:lnTo>
                  <a:lnTo>
                    <a:pt x="1690" y="1983"/>
                  </a:lnTo>
                  <a:lnTo>
                    <a:pt x="1693" y="2017"/>
                  </a:lnTo>
                  <a:lnTo>
                    <a:pt x="1695" y="2051"/>
                  </a:lnTo>
                  <a:lnTo>
                    <a:pt x="1696" y="2084"/>
                  </a:lnTo>
                  <a:lnTo>
                    <a:pt x="1695" y="2119"/>
                  </a:lnTo>
                  <a:lnTo>
                    <a:pt x="1693" y="2153"/>
                  </a:lnTo>
                  <a:lnTo>
                    <a:pt x="1689" y="2187"/>
                  </a:lnTo>
                  <a:lnTo>
                    <a:pt x="1683" y="2222"/>
                  </a:lnTo>
                  <a:lnTo>
                    <a:pt x="1676" y="2258"/>
                  </a:lnTo>
                  <a:lnTo>
                    <a:pt x="1666" y="2293"/>
                  </a:lnTo>
                  <a:lnTo>
                    <a:pt x="1655" y="2330"/>
                  </a:lnTo>
                  <a:lnTo>
                    <a:pt x="1642" y="2368"/>
                  </a:lnTo>
                  <a:lnTo>
                    <a:pt x="1627" y="2407"/>
                  </a:lnTo>
                  <a:lnTo>
                    <a:pt x="1611" y="2447"/>
                  </a:lnTo>
                  <a:lnTo>
                    <a:pt x="1591" y="2488"/>
                  </a:lnTo>
                  <a:lnTo>
                    <a:pt x="1571" y="2530"/>
                  </a:lnTo>
                  <a:lnTo>
                    <a:pt x="1547" y="2575"/>
                  </a:lnTo>
                  <a:lnTo>
                    <a:pt x="1522" y="2619"/>
                  </a:lnTo>
                  <a:lnTo>
                    <a:pt x="1494" y="2659"/>
                  </a:lnTo>
                  <a:lnTo>
                    <a:pt x="1464" y="2698"/>
                  </a:lnTo>
                  <a:lnTo>
                    <a:pt x="1432" y="2733"/>
                  </a:lnTo>
                  <a:lnTo>
                    <a:pt x="1398" y="2765"/>
                  </a:lnTo>
                  <a:lnTo>
                    <a:pt x="1362" y="2795"/>
                  </a:lnTo>
                  <a:lnTo>
                    <a:pt x="1325" y="2824"/>
                  </a:lnTo>
                  <a:lnTo>
                    <a:pt x="1287" y="2849"/>
                  </a:lnTo>
                  <a:lnTo>
                    <a:pt x="1248" y="2872"/>
                  </a:lnTo>
                  <a:lnTo>
                    <a:pt x="1208" y="2894"/>
                  </a:lnTo>
                  <a:lnTo>
                    <a:pt x="1168" y="2912"/>
                  </a:lnTo>
                  <a:lnTo>
                    <a:pt x="1127" y="2930"/>
                  </a:lnTo>
                  <a:lnTo>
                    <a:pt x="1086" y="2945"/>
                  </a:lnTo>
                  <a:lnTo>
                    <a:pt x="1046" y="2959"/>
                  </a:lnTo>
                  <a:lnTo>
                    <a:pt x="1005" y="2971"/>
                  </a:lnTo>
                  <a:lnTo>
                    <a:pt x="966" y="2982"/>
                  </a:lnTo>
                  <a:lnTo>
                    <a:pt x="927" y="2990"/>
                  </a:lnTo>
                  <a:lnTo>
                    <a:pt x="888" y="2998"/>
                  </a:lnTo>
                  <a:lnTo>
                    <a:pt x="851" y="3004"/>
                  </a:lnTo>
                  <a:lnTo>
                    <a:pt x="815" y="3010"/>
                  </a:lnTo>
                  <a:lnTo>
                    <a:pt x="782" y="3015"/>
                  </a:lnTo>
                  <a:lnTo>
                    <a:pt x="750" y="3018"/>
                  </a:lnTo>
                  <a:lnTo>
                    <a:pt x="720" y="3020"/>
                  </a:lnTo>
                  <a:lnTo>
                    <a:pt x="692" y="3023"/>
                  </a:lnTo>
                  <a:lnTo>
                    <a:pt x="644" y="3025"/>
                  </a:lnTo>
                  <a:lnTo>
                    <a:pt x="607" y="3026"/>
                  </a:lnTo>
                  <a:lnTo>
                    <a:pt x="585" y="3026"/>
                  </a:lnTo>
                  <a:lnTo>
                    <a:pt x="576" y="3025"/>
                  </a:lnTo>
                  <a:close/>
                </a:path>
              </a:pathLst>
            </a:custGeom>
            <a:solidFill>
              <a:schemeClr val="accent4"/>
            </a:solidFill>
            <a:ln>
              <a:noFill/>
            </a:ln>
            <a:effectLst>
              <a:outerShdw blurRad="444500" dist="190500" dir="2700000" sx="95000" sy="95000" algn="tl" rotWithShape="0">
                <a:prstClr val="black">
                  <a:alpha val="23000"/>
                </a:prstClr>
              </a:outerShdw>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7" name="Freeform 9">
              <a:extLst>
                <a:ext uri="{FF2B5EF4-FFF2-40B4-BE49-F238E27FC236}">
                  <a16:creationId xmlns:a16="http://schemas.microsoft.com/office/drawing/2014/main" id="{9BF241B8-06CE-4527-A481-1BF96251CDAC}"/>
                </a:ext>
              </a:extLst>
            </p:cNvPr>
            <p:cNvSpPr>
              <a:spLocks/>
            </p:cNvSpPr>
            <p:nvPr/>
          </p:nvSpPr>
          <p:spPr bwMode="auto">
            <a:xfrm rot="20700000">
              <a:off x="3438052" y="1732657"/>
              <a:ext cx="901328" cy="1607083"/>
            </a:xfrm>
            <a:custGeom>
              <a:avLst/>
              <a:gdLst>
                <a:gd name="T0" fmla="*/ 536 w 1696"/>
                <a:gd name="T1" fmla="*/ 2987 h 3026"/>
                <a:gd name="T2" fmla="*/ 462 w 1696"/>
                <a:gd name="T3" fmla="*/ 2911 h 3026"/>
                <a:gd name="T4" fmla="*/ 368 w 1696"/>
                <a:gd name="T5" fmla="*/ 2798 h 3026"/>
                <a:gd name="T6" fmla="*/ 263 w 1696"/>
                <a:gd name="T7" fmla="*/ 2650 h 3026"/>
                <a:gd name="T8" fmla="*/ 161 w 1696"/>
                <a:gd name="T9" fmla="*/ 2473 h 3026"/>
                <a:gd name="T10" fmla="*/ 76 w 1696"/>
                <a:gd name="T11" fmla="*/ 2268 h 3026"/>
                <a:gd name="T12" fmla="*/ 17 w 1696"/>
                <a:gd name="T13" fmla="*/ 2039 h 3026"/>
                <a:gd name="T14" fmla="*/ 0 w 1696"/>
                <a:gd name="T15" fmla="*/ 1789 h 3026"/>
                <a:gd name="T16" fmla="*/ 36 w 1696"/>
                <a:gd name="T17" fmla="*/ 1522 h 3026"/>
                <a:gd name="T18" fmla="*/ 137 w 1696"/>
                <a:gd name="T19" fmla="*/ 1239 h 3026"/>
                <a:gd name="T20" fmla="*/ 300 w 1696"/>
                <a:gd name="T21" fmla="*/ 959 h 3026"/>
                <a:gd name="T22" fmla="*/ 478 w 1696"/>
                <a:gd name="T23" fmla="*/ 721 h 3026"/>
                <a:gd name="T24" fmla="*/ 659 w 1696"/>
                <a:gd name="T25" fmla="*/ 526 h 3026"/>
                <a:gd name="T26" fmla="*/ 840 w 1696"/>
                <a:gd name="T27" fmla="*/ 369 h 3026"/>
                <a:gd name="T28" fmla="*/ 1014 w 1696"/>
                <a:gd name="T29" fmla="*/ 247 h 3026"/>
                <a:gd name="T30" fmla="*/ 1177 w 1696"/>
                <a:gd name="T31" fmla="*/ 155 h 3026"/>
                <a:gd name="T32" fmla="*/ 1322 w 1696"/>
                <a:gd name="T33" fmla="*/ 88 h 3026"/>
                <a:gd name="T34" fmla="*/ 1444 w 1696"/>
                <a:gd name="T35" fmla="*/ 43 h 3026"/>
                <a:gd name="T36" fmla="*/ 1538 w 1696"/>
                <a:gd name="T37" fmla="*/ 16 h 3026"/>
                <a:gd name="T38" fmla="*/ 1611 w 1696"/>
                <a:gd name="T39" fmla="*/ 1 h 3026"/>
                <a:gd name="T40" fmla="*/ 1604 w 1696"/>
                <a:gd name="T41" fmla="*/ 30 h 3026"/>
                <a:gd name="T42" fmla="*/ 1555 w 1696"/>
                <a:gd name="T43" fmla="*/ 143 h 3026"/>
                <a:gd name="T44" fmla="*/ 1517 w 1696"/>
                <a:gd name="T45" fmla="*/ 243 h 3026"/>
                <a:gd name="T46" fmla="*/ 1478 w 1696"/>
                <a:gd name="T47" fmla="*/ 367 h 3026"/>
                <a:gd name="T48" fmla="*/ 1444 w 1696"/>
                <a:gd name="T49" fmla="*/ 506 h 3026"/>
                <a:gd name="T50" fmla="*/ 1418 w 1696"/>
                <a:gd name="T51" fmla="*/ 660 h 3026"/>
                <a:gd name="T52" fmla="*/ 1406 w 1696"/>
                <a:gd name="T53" fmla="*/ 825 h 3026"/>
                <a:gd name="T54" fmla="*/ 1412 w 1696"/>
                <a:gd name="T55" fmla="*/ 997 h 3026"/>
                <a:gd name="T56" fmla="*/ 1441 w 1696"/>
                <a:gd name="T57" fmla="*/ 1171 h 3026"/>
                <a:gd name="T58" fmla="*/ 1515 w 1696"/>
                <a:gd name="T59" fmla="*/ 1398 h 3026"/>
                <a:gd name="T60" fmla="*/ 1614 w 1696"/>
                <a:gd name="T61" fmla="*/ 1682 h 3026"/>
                <a:gd name="T62" fmla="*/ 1651 w 1696"/>
                <a:gd name="T63" fmla="*/ 1802 h 3026"/>
                <a:gd name="T64" fmla="*/ 1678 w 1696"/>
                <a:gd name="T65" fmla="*/ 1912 h 3026"/>
                <a:gd name="T66" fmla="*/ 1693 w 1696"/>
                <a:gd name="T67" fmla="*/ 2017 h 3026"/>
                <a:gd name="T68" fmla="*/ 1695 w 1696"/>
                <a:gd name="T69" fmla="*/ 2119 h 3026"/>
                <a:gd name="T70" fmla="*/ 1683 w 1696"/>
                <a:gd name="T71" fmla="*/ 2222 h 3026"/>
                <a:gd name="T72" fmla="*/ 1655 w 1696"/>
                <a:gd name="T73" fmla="*/ 2330 h 3026"/>
                <a:gd name="T74" fmla="*/ 1611 w 1696"/>
                <a:gd name="T75" fmla="*/ 2447 h 3026"/>
                <a:gd name="T76" fmla="*/ 1547 w 1696"/>
                <a:gd name="T77" fmla="*/ 2575 h 3026"/>
                <a:gd name="T78" fmla="*/ 1464 w 1696"/>
                <a:gd name="T79" fmla="*/ 2698 h 3026"/>
                <a:gd name="T80" fmla="*/ 1362 w 1696"/>
                <a:gd name="T81" fmla="*/ 2795 h 3026"/>
                <a:gd name="T82" fmla="*/ 1248 w 1696"/>
                <a:gd name="T83" fmla="*/ 2872 h 3026"/>
                <a:gd name="T84" fmla="*/ 1127 w 1696"/>
                <a:gd name="T85" fmla="*/ 2930 h 3026"/>
                <a:gd name="T86" fmla="*/ 1005 w 1696"/>
                <a:gd name="T87" fmla="*/ 2971 h 3026"/>
                <a:gd name="T88" fmla="*/ 888 w 1696"/>
                <a:gd name="T89" fmla="*/ 2998 h 3026"/>
                <a:gd name="T90" fmla="*/ 782 w 1696"/>
                <a:gd name="T91" fmla="*/ 3015 h 3026"/>
                <a:gd name="T92" fmla="*/ 692 w 1696"/>
                <a:gd name="T93" fmla="*/ 3023 h 3026"/>
                <a:gd name="T94" fmla="*/ 585 w 1696"/>
                <a:gd name="T95" fmla="*/ 3026 h 30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696" h="3026">
                  <a:moveTo>
                    <a:pt x="576" y="3025"/>
                  </a:moveTo>
                  <a:lnTo>
                    <a:pt x="565" y="3015"/>
                  </a:lnTo>
                  <a:lnTo>
                    <a:pt x="536" y="2987"/>
                  </a:lnTo>
                  <a:lnTo>
                    <a:pt x="514" y="2966"/>
                  </a:lnTo>
                  <a:lnTo>
                    <a:pt x="491" y="2940"/>
                  </a:lnTo>
                  <a:lnTo>
                    <a:pt x="462" y="2911"/>
                  </a:lnTo>
                  <a:lnTo>
                    <a:pt x="433" y="2878"/>
                  </a:lnTo>
                  <a:lnTo>
                    <a:pt x="401" y="2840"/>
                  </a:lnTo>
                  <a:lnTo>
                    <a:pt x="368" y="2798"/>
                  </a:lnTo>
                  <a:lnTo>
                    <a:pt x="334" y="2752"/>
                  </a:lnTo>
                  <a:lnTo>
                    <a:pt x="299" y="2703"/>
                  </a:lnTo>
                  <a:lnTo>
                    <a:pt x="263" y="2650"/>
                  </a:lnTo>
                  <a:lnTo>
                    <a:pt x="229" y="2595"/>
                  </a:lnTo>
                  <a:lnTo>
                    <a:pt x="194" y="2536"/>
                  </a:lnTo>
                  <a:lnTo>
                    <a:pt x="161" y="2473"/>
                  </a:lnTo>
                  <a:lnTo>
                    <a:pt x="130" y="2408"/>
                  </a:lnTo>
                  <a:lnTo>
                    <a:pt x="102" y="2340"/>
                  </a:lnTo>
                  <a:lnTo>
                    <a:pt x="76" y="2268"/>
                  </a:lnTo>
                  <a:lnTo>
                    <a:pt x="52" y="2195"/>
                  </a:lnTo>
                  <a:lnTo>
                    <a:pt x="33" y="2118"/>
                  </a:lnTo>
                  <a:lnTo>
                    <a:pt x="17" y="2039"/>
                  </a:lnTo>
                  <a:lnTo>
                    <a:pt x="7" y="1958"/>
                  </a:lnTo>
                  <a:lnTo>
                    <a:pt x="0" y="1874"/>
                  </a:lnTo>
                  <a:lnTo>
                    <a:pt x="0" y="1789"/>
                  </a:lnTo>
                  <a:lnTo>
                    <a:pt x="6" y="1702"/>
                  </a:lnTo>
                  <a:lnTo>
                    <a:pt x="16" y="1613"/>
                  </a:lnTo>
                  <a:lnTo>
                    <a:pt x="36" y="1522"/>
                  </a:lnTo>
                  <a:lnTo>
                    <a:pt x="61" y="1429"/>
                  </a:lnTo>
                  <a:lnTo>
                    <a:pt x="95" y="1334"/>
                  </a:lnTo>
                  <a:lnTo>
                    <a:pt x="137" y="1239"/>
                  </a:lnTo>
                  <a:lnTo>
                    <a:pt x="187" y="1143"/>
                  </a:lnTo>
                  <a:lnTo>
                    <a:pt x="243" y="1048"/>
                  </a:lnTo>
                  <a:lnTo>
                    <a:pt x="300" y="959"/>
                  </a:lnTo>
                  <a:lnTo>
                    <a:pt x="358" y="874"/>
                  </a:lnTo>
                  <a:lnTo>
                    <a:pt x="418" y="795"/>
                  </a:lnTo>
                  <a:lnTo>
                    <a:pt x="478" y="721"/>
                  </a:lnTo>
                  <a:lnTo>
                    <a:pt x="538" y="651"/>
                  </a:lnTo>
                  <a:lnTo>
                    <a:pt x="599" y="587"/>
                  </a:lnTo>
                  <a:lnTo>
                    <a:pt x="659" y="526"/>
                  </a:lnTo>
                  <a:lnTo>
                    <a:pt x="720" y="470"/>
                  </a:lnTo>
                  <a:lnTo>
                    <a:pt x="780" y="418"/>
                  </a:lnTo>
                  <a:lnTo>
                    <a:pt x="840" y="369"/>
                  </a:lnTo>
                  <a:lnTo>
                    <a:pt x="899" y="325"/>
                  </a:lnTo>
                  <a:lnTo>
                    <a:pt x="957" y="285"/>
                  </a:lnTo>
                  <a:lnTo>
                    <a:pt x="1014" y="247"/>
                  </a:lnTo>
                  <a:lnTo>
                    <a:pt x="1070" y="213"/>
                  </a:lnTo>
                  <a:lnTo>
                    <a:pt x="1124" y="182"/>
                  </a:lnTo>
                  <a:lnTo>
                    <a:pt x="1177" y="155"/>
                  </a:lnTo>
                  <a:lnTo>
                    <a:pt x="1227" y="130"/>
                  </a:lnTo>
                  <a:lnTo>
                    <a:pt x="1275" y="107"/>
                  </a:lnTo>
                  <a:lnTo>
                    <a:pt x="1322" y="88"/>
                  </a:lnTo>
                  <a:lnTo>
                    <a:pt x="1365" y="70"/>
                  </a:lnTo>
                  <a:lnTo>
                    <a:pt x="1406" y="56"/>
                  </a:lnTo>
                  <a:lnTo>
                    <a:pt x="1444" y="43"/>
                  </a:lnTo>
                  <a:lnTo>
                    <a:pt x="1479" y="32"/>
                  </a:lnTo>
                  <a:lnTo>
                    <a:pt x="1510" y="24"/>
                  </a:lnTo>
                  <a:lnTo>
                    <a:pt x="1538" y="16"/>
                  </a:lnTo>
                  <a:lnTo>
                    <a:pt x="1562" y="11"/>
                  </a:lnTo>
                  <a:lnTo>
                    <a:pt x="1583" y="6"/>
                  </a:lnTo>
                  <a:lnTo>
                    <a:pt x="1611" y="1"/>
                  </a:lnTo>
                  <a:lnTo>
                    <a:pt x="1620" y="0"/>
                  </a:lnTo>
                  <a:lnTo>
                    <a:pt x="1616" y="8"/>
                  </a:lnTo>
                  <a:lnTo>
                    <a:pt x="1604" y="30"/>
                  </a:lnTo>
                  <a:lnTo>
                    <a:pt x="1588" y="66"/>
                  </a:lnTo>
                  <a:lnTo>
                    <a:pt x="1567" y="114"/>
                  </a:lnTo>
                  <a:lnTo>
                    <a:pt x="1555" y="143"/>
                  </a:lnTo>
                  <a:lnTo>
                    <a:pt x="1543" y="174"/>
                  </a:lnTo>
                  <a:lnTo>
                    <a:pt x="1530" y="208"/>
                  </a:lnTo>
                  <a:lnTo>
                    <a:pt x="1517" y="243"/>
                  </a:lnTo>
                  <a:lnTo>
                    <a:pt x="1504" y="282"/>
                  </a:lnTo>
                  <a:lnTo>
                    <a:pt x="1491" y="324"/>
                  </a:lnTo>
                  <a:lnTo>
                    <a:pt x="1478" y="367"/>
                  </a:lnTo>
                  <a:lnTo>
                    <a:pt x="1466" y="411"/>
                  </a:lnTo>
                  <a:lnTo>
                    <a:pt x="1455" y="458"/>
                  </a:lnTo>
                  <a:lnTo>
                    <a:pt x="1444" y="506"/>
                  </a:lnTo>
                  <a:lnTo>
                    <a:pt x="1434" y="556"/>
                  </a:lnTo>
                  <a:lnTo>
                    <a:pt x="1426" y="608"/>
                  </a:lnTo>
                  <a:lnTo>
                    <a:pt x="1418" y="660"/>
                  </a:lnTo>
                  <a:lnTo>
                    <a:pt x="1413" y="714"/>
                  </a:lnTo>
                  <a:lnTo>
                    <a:pt x="1408" y="769"/>
                  </a:lnTo>
                  <a:lnTo>
                    <a:pt x="1406" y="825"/>
                  </a:lnTo>
                  <a:lnTo>
                    <a:pt x="1406" y="881"/>
                  </a:lnTo>
                  <a:lnTo>
                    <a:pt x="1407" y="938"/>
                  </a:lnTo>
                  <a:lnTo>
                    <a:pt x="1412" y="997"/>
                  </a:lnTo>
                  <a:lnTo>
                    <a:pt x="1419" y="1054"/>
                  </a:lnTo>
                  <a:lnTo>
                    <a:pt x="1429" y="1113"/>
                  </a:lnTo>
                  <a:lnTo>
                    <a:pt x="1441" y="1171"/>
                  </a:lnTo>
                  <a:lnTo>
                    <a:pt x="1456" y="1229"/>
                  </a:lnTo>
                  <a:lnTo>
                    <a:pt x="1476" y="1288"/>
                  </a:lnTo>
                  <a:lnTo>
                    <a:pt x="1515" y="1398"/>
                  </a:lnTo>
                  <a:lnTo>
                    <a:pt x="1551" y="1501"/>
                  </a:lnTo>
                  <a:lnTo>
                    <a:pt x="1585" y="1595"/>
                  </a:lnTo>
                  <a:lnTo>
                    <a:pt x="1614" y="1682"/>
                  </a:lnTo>
                  <a:lnTo>
                    <a:pt x="1628" y="1723"/>
                  </a:lnTo>
                  <a:lnTo>
                    <a:pt x="1640" y="1763"/>
                  </a:lnTo>
                  <a:lnTo>
                    <a:pt x="1651" y="1802"/>
                  </a:lnTo>
                  <a:lnTo>
                    <a:pt x="1662" y="1840"/>
                  </a:lnTo>
                  <a:lnTo>
                    <a:pt x="1670" y="1877"/>
                  </a:lnTo>
                  <a:lnTo>
                    <a:pt x="1678" y="1912"/>
                  </a:lnTo>
                  <a:lnTo>
                    <a:pt x="1684" y="1948"/>
                  </a:lnTo>
                  <a:lnTo>
                    <a:pt x="1690" y="1983"/>
                  </a:lnTo>
                  <a:lnTo>
                    <a:pt x="1693" y="2017"/>
                  </a:lnTo>
                  <a:lnTo>
                    <a:pt x="1695" y="2051"/>
                  </a:lnTo>
                  <a:lnTo>
                    <a:pt x="1696" y="2084"/>
                  </a:lnTo>
                  <a:lnTo>
                    <a:pt x="1695" y="2119"/>
                  </a:lnTo>
                  <a:lnTo>
                    <a:pt x="1693" y="2153"/>
                  </a:lnTo>
                  <a:lnTo>
                    <a:pt x="1689" y="2187"/>
                  </a:lnTo>
                  <a:lnTo>
                    <a:pt x="1683" y="2222"/>
                  </a:lnTo>
                  <a:lnTo>
                    <a:pt x="1676" y="2258"/>
                  </a:lnTo>
                  <a:lnTo>
                    <a:pt x="1666" y="2293"/>
                  </a:lnTo>
                  <a:lnTo>
                    <a:pt x="1655" y="2330"/>
                  </a:lnTo>
                  <a:lnTo>
                    <a:pt x="1642" y="2368"/>
                  </a:lnTo>
                  <a:lnTo>
                    <a:pt x="1627" y="2407"/>
                  </a:lnTo>
                  <a:lnTo>
                    <a:pt x="1611" y="2447"/>
                  </a:lnTo>
                  <a:lnTo>
                    <a:pt x="1591" y="2488"/>
                  </a:lnTo>
                  <a:lnTo>
                    <a:pt x="1571" y="2530"/>
                  </a:lnTo>
                  <a:lnTo>
                    <a:pt x="1547" y="2575"/>
                  </a:lnTo>
                  <a:lnTo>
                    <a:pt x="1522" y="2619"/>
                  </a:lnTo>
                  <a:lnTo>
                    <a:pt x="1494" y="2659"/>
                  </a:lnTo>
                  <a:lnTo>
                    <a:pt x="1464" y="2698"/>
                  </a:lnTo>
                  <a:lnTo>
                    <a:pt x="1432" y="2733"/>
                  </a:lnTo>
                  <a:lnTo>
                    <a:pt x="1398" y="2765"/>
                  </a:lnTo>
                  <a:lnTo>
                    <a:pt x="1362" y="2795"/>
                  </a:lnTo>
                  <a:lnTo>
                    <a:pt x="1325" y="2824"/>
                  </a:lnTo>
                  <a:lnTo>
                    <a:pt x="1287" y="2849"/>
                  </a:lnTo>
                  <a:lnTo>
                    <a:pt x="1248" y="2872"/>
                  </a:lnTo>
                  <a:lnTo>
                    <a:pt x="1208" y="2894"/>
                  </a:lnTo>
                  <a:lnTo>
                    <a:pt x="1168" y="2912"/>
                  </a:lnTo>
                  <a:lnTo>
                    <a:pt x="1127" y="2930"/>
                  </a:lnTo>
                  <a:lnTo>
                    <a:pt x="1086" y="2945"/>
                  </a:lnTo>
                  <a:lnTo>
                    <a:pt x="1046" y="2959"/>
                  </a:lnTo>
                  <a:lnTo>
                    <a:pt x="1005" y="2971"/>
                  </a:lnTo>
                  <a:lnTo>
                    <a:pt x="966" y="2982"/>
                  </a:lnTo>
                  <a:lnTo>
                    <a:pt x="927" y="2990"/>
                  </a:lnTo>
                  <a:lnTo>
                    <a:pt x="888" y="2998"/>
                  </a:lnTo>
                  <a:lnTo>
                    <a:pt x="851" y="3004"/>
                  </a:lnTo>
                  <a:lnTo>
                    <a:pt x="815" y="3010"/>
                  </a:lnTo>
                  <a:lnTo>
                    <a:pt x="782" y="3015"/>
                  </a:lnTo>
                  <a:lnTo>
                    <a:pt x="750" y="3018"/>
                  </a:lnTo>
                  <a:lnTo>
                    <a:pt x="720" y="3020"/>
                  </a:lnTo>
                  <a:lnTo>
                    <a:pt x="692" y="3023"/>
                  </a:lnTo>
                  <a:lnTo>
                    <a:pt x="644" y="3025"/>
                  </a:lnTo>
                  <a:lnTo>
                    <a:pt x="607" y="3026"/>
                  </a:lnTo>
                  <a:lnTo>
                    <a:pt x="585" y="3026"/>
                  </a:lnTo>
                  <a:lnTo>
                    <a:pt x="576" y="3025"/>
                  </a:lnTo>
                  <a:close/>
                </a:path>
              </a:pathLst>
            </a:custGeom>
            <a:solidFill>
              <a:schemeClr val="accent1"/>
            </a:solidFill>
            <a:ln>
              <a:noFill/>
            </a:ln>
            <a:effectLst>
              <a:outerShdw blurRad="444500" dist="190500" dir="2700000" sx="95000" sy="95000" algn="tl" rotWithShape="0">
                <a:prstClr val="black">
                  <a:alpha val="23000"/>
                </a:prstClr>
              </a:outerShdw>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8" name="Freeform 9">
              <a:extLst>
                <a:ext uri="{FF2B5EF4-FFF2-40B4-BE49-F238E27FC236}">
                  <a16:creationId xmlns:a16="http://schemas.microsoft.com/office/drawing/2014/main" id="{2C6DC749-26D5-4B09-A267-6424F0EC607D}"/>
                </a:ext>
              </a:extLst>
            </p:cNvPr>
            <p:cNvSpPr>
              <a:spLocks/>
            </p:cNvSpPr>
            <p:nvPr/>
          </p:nvSpPr>
          <p:spPr bwMode="auto">
            <a:xfrm rot="2700000">
              <a:off x="4250462" y="2275380"/>
              <a:ext cx="901328" cy="1607083"/>
            </a:xfrm>
            <a:custGeom>
              <a:avLst/>
              <a:gdLst>
                <a:gd name="T0" fmla="*/ 536 w 1696"/>
                <a:gd name="T1" fmla="*/ 2987 h 3026"/>
                <a:gd name="T2" fmla="*/ 462 w 1696"/>
                <a:gd name="T3" fmla="*/ 2911 h 3026"/>
                <a:gd name="T4" fmla="*/ 368 w 1696"/>
                <a:gd name="T5" fmla="*/ 2798 h 3026"/>
                <a:gd name="T6" fmla="*/ 263 w 1696"/>
                <a:gd name="T7" fmla="*/ 2650 h 3026"/>
                <a:gd name="T8" fmla="*/ 161 w 1696"/>
                <a:gd name="T9" fmla="*/ 2473 h 3026"/>
                <a:gd name="T10" fmla="*/ 76 w 1696"/>
                <a:gd name="T11" fmla="*/ 2268 h 3026"/>
                <a:gd name="T12" fmla="*/ 17 w 1696"/>
                <a:gd name="T13" fmla="*/ 2039 h 3026"/>
                <a:gd name="T14" fmla="*/ 0 w 1696"/>
                <a:gd name="T15" fmla="*/ 1789 h 3026"/>
                <a:gd name="T16" fmla="*/ 36 w 1696"/>
                <a:gd name="T17" fmla="*/ 1522 h 3026"/>
                <a:gd name="T18" fmla="*/ 137 w 1696"/>
                <a:gd name="T19" fmla="*/ 1239 h 3026"/>
                <a:gd name="T20" fmla="*/ 300 w 1696"/>
                <a:gd name="T21" fmla="*/ 959 h 3026"/>
                <a:gd name="T22" fmla="*/ 478 w 1696"/>
                <a:gd name="T23" fmla="*/ 721 h 3026"/>
                <a:gd name="T24" fmla="*/ 659 w 1696"/>
                <a:gd name="T25" fmla="*/ 526 h 3026"/>
                <a:gd name="T26" fmla="*/ 840 w 1696"/>
                <a:gd name="T27" fmla="*/ 369 h 3026"/>
                <a:gd name="T28" fmla="*/ 1014 w 1696"/>
                <a:gd name="T29" fmla="*/ 247 h 3026"/>
                <a:gd name="T30" fmla="*/ 1177 w 1696"/>
                <a:gd name="T31" fmla="*/ 155 h 3026"/>
                <a:gd name="T32" fmla="*/ 1322 w 1696"/>
                <a:gd name="T33" fmla="*/ 88 h 3026"/>
                <a:gd name="T34" fmla="*/ 1444 w 1696"/>
                <a:gd name="T35" fmla="*/ 43 h 3026"/>
                <a:gd name="T36" fmla="*/ 1538 w 1696"/>
                <a:gd name="T37" fmla="*/ 16 h 3026"/>
                <a:gd name="T38" fmla="*/ 1611 w 1696"/>
                <a:gd name="T39" fmla="*/ 1 h 3026"/>
                <a:gd name="T40" fmla="*/ 1604 w 1696"/>
                <a:gd name="T41" fmla="*/ 30 h 3026"/>
                <a:gd name="T42" fmla="*/ 1555 w 1696"/>
                <a:gd name="T43" fmla="*/ 143 h 3026"/>
                <a:gd name="T44" fmla="*/ 1517 w 1696"/>
                <a:gd name="T45" fmla="*/ 243 h 3026"/>
                <a:gd name="T46" fmla="*/ 1478 w 1696"/>
                <a:gd name="T47" fmla="*/ 367 h 3026"/>
                <a:gd name="T48" fmla="*/ 1444 w 1696"/>
                <a:gd name="T49" fmla="*/ 506 h 3026"/>
                <a:gd name="T50" fmla="*/ 1418 w 1696"/>
                <a:gd name="T51" fmla="*/ 660 h 3026"/>
                <a:gd name="T52" fmla="*/ 1406 w 1696"/>
                <a:gd name="T53" fmla="*/ 825 h 3026"/>
                <a:gd name="T54" fmla="*/ 1412 w 1696"/>
                <a:gd name="T55" fmla="*/ 997 h 3026"/>
                <a:gd name="T56" fmla="*/ 1441 w 1696"/>
                <a:gd name="T57" fmla="*/ 1171 h 3026"/>
                <a:gd name="T58" fmla="*/ 1515 w 1696"/>
                <a:gd name="T59" fmla="*/ 1398 h 3026"/>
                <a:gd name="T60" fmla="*/ 1614 w 1696"/>
                <a:gd name="T61" fmla="*/ 1682 h 3026"/>
                <a:gd name="T62" fmla="*/ 1651 w 1696"/>
                <a:gd name="T63" fmla="*/ 1802 h 3026"/>
                <a:gd name="T64" fmla="*/ 1678 w 1696"/>
                <a:gd name="T65" fmla="*/ 1912 h 3026"/>
                <a:gd name="T66" fmla="*/ 1693 w 1696"/>
                <a:gd name="T67" fmla="*/ 2017 h 3026"/>
                <a:gd name="T68" fmla="*/ 1695 w 1696"/>
                <a:gd name="T69" fmla="*/ 2119 h 3026"/>
                <a:gd name="T70" fmla="*/ 1683 w 1696"/>
                <a:gd name="T71" fmla="*/ 2222 h 3026"/>
                <a:gd name="T72" fmla="*/ 1655 w 1696"/>
                <a:gd name="T73" fmla="*/ 2330 h 3026"/>
                <a:gd name="T74" fmla="*/ 1611 w 1696"/>
                <a:gd name="T75" fmla="*/ 2447 h 3026"/>
                <a:gd name="T76" fmla="*/ 1547 w 1696"/>
                <a:gd name="T77" fmla="*/ 2575 h 3026"/>
                <a:gd name="T78" fmla="*/ 1464 w 1696"/>
                <a:gd name="T79" fmla="*/ 2698 h 3026"/>
                <a:gd name="T80" fmla="*/ 1362 w 1696"/>
                <a:gd name="T81" fmla="*/ 2795 h 3026"/>
                <a:gd name="T82" fmla="*/ 1248 w 1696"/>
                <a:gd name="T83" fmla="*/ 2872 h 3026"/>
                <a:gd name="T84" fmla="*/ 1127 w 1696"/>
                <a:gd name="T85" fmla="*/ 2930 h 3026"/>
                <a:gd name="T86" fmla="*/ 1005 w 1696"/>
                <a:gd name="T87" fmla="*/ 2971 h 3026"/>
                <a:gd name="T88" fmla="*/ 888 w 1696"/>
                <a:gd name="T89" fmla="*/ 2998 h 3026"/>
                <a:gd name="T90" fmla="*/ 782 w 1696"/>
                <a:gd name="T91" fmla="*/ 3015 h 3026"/>
                <a:gd name="T92" fmla="*/ 692 w 1696"/>
                <a:gd name="T93" fmla="*/ 3023 h 3026"/>
                <a:gd name="T94" fmla="*/ 585 w 1696"/>
                <a:gd name="T95" fmla="*/ 3026 h 30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696" h="3026">
                  <a:moveTo>
                    <a:pt x="576" y="3025"/>
                  </a:moveTo>
                  <a:lnTo>
                    <a:pt x="565" y="3015"/>
                  </a:lnTo>
                  <a:lnTo>
                    <a:pt x="536" y="2987"/>
                  </a:lnTo>
                  <a:lnTo>
                    <a:pt x="514" y="2966"/>
                  </a:lnTo>
                  <a:lnTo>
                    <a:pt x="491" y="2940"/>
                  </a:lnTo>
                  <a:lnTo>
                    <a:pt x="462" y="2911"/>
                  </a:lnTo>
                  <a:lnTo>
                    <a:pt x="433" y="2878"/>
                  </a:lnTo>
                  <a:lnTo>
                    <a:pt x="401" y="2840"/>
                  </a:lnTo>
                  <a:lnTo>
                    <a:pt x="368" y="2798"/>
                  </a:lnTo>
                  <a:lnTo>
                    <a:pt x="334" y="2752"/>
                  </a:lnTo>
                  <a:lnTo>
                    <a:pt x="299" y="2703"/>
                  </a:lnTo>
                  <a:lnTo>
                    <a:pt x="263" y="2650"/>
                  </a:lnTo>
                  <a:lnTo>
                    <a:pt x="229" y="2595"/>
                  </a:lnTo>
                  <a:lnTo>
                    <a:pt x="194" y="2536"/>
                  </a:lnTo>
                  <a:lnTo>
                    <a:pt x="161" y="2473"/>
                  </a:lnTo>
                  <a:lnTo>
                    <a:pt x="130" y="2408"/>
                  </a:lnTo>
                  <a:lnTo>
                    <a:pt x="102" y="2340"/>
                  </a:lnTo>
                  <a:lnTo>
                    <a:pt x="76" y="2268"/>
                  </a:lnTo>
                  <a:lnTo>
                    <a:pt x="52" y="2195"/>
                  </a:lnTo>
                  <a:lnTo>
                    <a:pt x="33" y="2118"/>
                  </a:lnTo>
                  <a:lnTo>
                    <a:pt x="17" y="2039"/>
                  </a:lnTo>
                  <a:lnTo>
                    <a:pt x="7" y="1958"/>
                  </a:lnTo>
                  <a:lnTo>
                    <a:pt x="0" y="1874"/>
                  </a:lnTo>
                  <a:lnTo>
                    <a:pt x="0" y="1789"/>
                  </a:lnTo>
                  <a:lnTo>
                    <a:pt x="6" y="1702"/>
                  </a:lnTo>
                  <a:lnTo>
                    <a:pt x="16" y="1613"/>
                  </a:lnTo>
                  <a:lnTo>
                    <a:pt x="36" y="1522"/>
                  </a:lnTo>
                  <a:lnTo>
                    <a:pt x="61" y="1429"/>
                  </a:lnTo>
                  <a:lnTo>
                    <a:pt x="95" y="1334"/>
                  </a:lnTo>
                  <a:lnTo>
                    <a:pt x="137" y="1239"/>
                  </a:lnTo>
                  <a:lnTo>
                    <a:pt x="187" y="1143"/>
                  </a:lnTo>
                  <a:lnTo>
                    <a:pt x="243" y="1048"/>
                  </a:lnTo>
                  <a:lnTo>
                    <a:pt x="300" y="959"/>
                  </a:lnTo>
                  <a:lnTo>
                    <a:pt x="358" y="874"/>
                  </a:lnTo>
                  <a:lnTo>
                    <a:pt x="418" y="795"/>
                  </a:lnTo>
                  <a:lnTo>
                    <a:pt x="478" y="721"/>
                  </a:lnTo>
                  <a:lnTo>
                    <a:pt x="538" y="651"/>
                  </a:lnTo>
                  <a:lnTo>
                    <a:pt x="599" y="587"/>
                  </a:lnTo>
                  <a:lnTo>
                    <a:pt x="659" y="526"/>
                  </a:lnTo>
                  <a:lnTo>
                    <a:pt x="720" y="470"/>
                  </a:lnTo>
                  <a:lnTo>
                    <a:pt x="780" y="418"/>
                  </a:lnTo>
                  <a:lnTo>
                    <a:pt x="840" y="369"/>
                  </a:lnTo>
                  <a:lnTo>
                    <a:pt x="899" y="325"/>
                  </a:lnTo>
                  <a:lnTo>
                    <a:pt x="957" y="285"/>
                  </a:lnTo>
                  <a:lnTo>
                    <a:pt x="1014" y="247"/>
                  </a:lnTo>
                  <a:lnTo>
                    <a:pt x="1070" y="213"/>
                  </a:lnTo>
                  <a:lnTo>
                    <a:pt x="1124" y="182"/>
                  </a:lnTo>
                  <a:lnTo>
                    <a:pt x="1177" y="155"/>
                  </a:lnTo>
                  <a:lnTo>
                    <a:pt x="1227" y="130"/>
                  </a:lnTo>
                  <a:lnTo>
                    <a:pt x="1275" y="107"/>
                  </a:lnTo>
                  <a:lnTo>
                    <a:pt x="1322" y="88"/>
                  </a:lnTo>
                  <a:lnTo>
                    <a:pt x="1365" y="70"/>
                  </a:lnTo>
                  <a:lnTo>
                    <a:pt x="1406" y="56"/>
                  </a:lnTo>
                  <a:lnTo>
                    <a:pt x="1444" y="43"/>
                  </a:lnTo>
                  <a:lnTo>
                    <a:pt x="1479" y="32"/>
                  </a:lnTo>
                  <a:lnTo>
                    <a:pt x="1510" y="24"/>
                  </a:lnTo>
                  <a:lnTo>
                    <a:pt x="1538" y="16"/>
                  </a:lnTo>
                  <a:lnTo>
                    <a:pt x="1562" y="11"/>
                  </a:lnTo>
                  <a:lnTo>
                    <a:pt x="1583" y="6"/>
                  </a:lnTo>
                  <a:lnTo>
                    <a:pt x="1611" y="1"/>
                  </a:lnTo>
                  <a:lnTo>
                    <a:pt x="1620" y="0"/>
                  </a:lnTo>
                  <a:lnTo>
                    <a:pt x="1616" y="8"/>
                  </a:lnTo>
                  <a:lnTo>
                    <a:pt x="1604" y="30"/>
                  </a:lnTo>
                  <a:lnTo>
                    <a:pt x="1588" y="66"/>
                  </a:lnTo>
                  <a:lnTo>
                    <a:pt x="1567" y="114"/>
                  </a:lnTo>
                  <a:lnTo>
                    <a:pt x="1555" y="143"/>
                  </a:lnTo>
                  <a:lnTo>
                    <a:pt x="1543" y="174"/>
                  </a:lnTo>
                  <a:lnTo>
                    <a:pt x="1530" y="208"/>
                  </a:lnTo>
                  <a:lnTo>
                    <a:pt x="1517" y="243"/>
                  </a:lnTo>
                  <a:lnTo>
                    <a:pt x="1504" y="282"/>
                  </a:lnTo>
                  <a:lnTo>
                    <a:pt x="1491" y="324"/>
                  </a:lnTo>
                  <a:lnTo>
                    <a:pt x="1478" y="367"/>
                  </a:lnTo>
                  <a:lnTo>
                    <a:pt x="1466" y="411"/>
                  </a:lnTo>
                  <a:lnTo>
                    <a:pt x="1455" y="458"/>
                  </a:lnTo>
                  <a:lnTo>
                    <a:pt x="1444" y="506"/>
                  </a:lnTo>
                  <a:lnTo>
                    <a:pt x="1434" y="556"/>
                  </a:lnTo>
                  <a:lnTo>
                    <a:pt x="1426" y="608"/>
                  </a:lnTo>
                  <a:lnTo>
                    <a:pt x="1418" y="660"/>
                  </a:lnTo>
                  <a:lnTo>
                    <a:pt x="1413" y="714"/>
                  </a:lnTo>
                  <a:lnTo>
                    <a:pt x="1408" y="769"/>
                  </a:lnTo>
                  <a:lnTo>
                    <a:pt x="1406" y="825"/>
                  </a:lnTo>
                  <a:lnTo>
                    <a:pt x="1406" y="881"/>
                  </a:lnTo>
                  <a:lnTo>
                    <a:pt x="1407" y="938"/>
                  </a:lnTo>
                  <a:lnTo>
                    <a:pt x="1412" y="997"/>
                  </a:lnTo>
                  <a:lnTo>
                    <a:pt x="1419" y="1054"/>
                  </a:lnTo>
                  <a:lnTo>
                    <a:pt x="1429" y="1113"/>
                  </a:lnTo>
                  <a:lnTo>
                    <a:pt x="1441" y="1171"/>
                  </a:lnTo>
                  <a:lnTo>
                    <a:pt x="1456" y="1229"/>
                  </a:lnTo>
                  <a:lnTo>
                    <a:pt x="1476" y="1288"/>
                  </a:lnTo>
                  <a:lnTo>
                    <a:pt x="1515" y="1398"/>
                  </a:lnTo>
                  <a:lnTo>
                    <a:pt x="1551" y="1501"/>
                  </a:lnTo>
                  <a:lnTo>
                    <a:pt x="1585" y="1595"/>
                  </a:lnTo>
                  <a:lnTo>
                    <a:pt x="1614" y="1682"/>
                  </a:lnTo>
                  <a:lnTo>
                    <a:pt x="1628" y="1723"/>
                  </a:lnTo>
                  <a:lnTo>
                    <a:pt x="1640" y="1763"/>
                  </a:lnTo>
                  <a:lnTo>
                    <a:pt x="1651" y="1802"/>
                  </a:lnTo>
                  <a:lnTo>
                    <a:pt x="1662" y="1840"/>
                  </a:lnTo>
                  <a:lnTo>
                    <a:pt x="1670" y="1877"/>
                  </a:lnTo>
                  <a:lnTo>
                    <a:pt x="1678" y="1912"/>
                  </a:lnTo>
                  <a:lnTo>
                    <a:pt x="1684" y="1948"/>
                  </a:lnTo>
                  <a:lnTo>
                    <a:pt x="1690" y="1983"/>
                  </a:lnTo>
                  <a:lnTo>
                    <a:pt x="1693" y="2017"/>
                  </a:lnTo>
                  <a:lnTo>
                    <a:pt x="1695" y="2051"/>
                  </a:lnTo>
                  <a:lnTo>
                    <a:pt x="1696" y="2084"/>
                  </a:lnTo>
                  <a:lnTo>
                    <a:pt x="1695" y="2119"/>
                  </a:lnTo>
                  <a:lnTo>
                    <a:pt x="1693" y="2153"/>
                  </a:lnTo>
                  <a:lnTo>
                    <a:pt x="1689" y="2187"/>
                  </a:lnTo>
                  <a:lnTo>
                    <a:pt x="1683" y="2222"/>
                  </a:lnTo>
                  <a:lnTo>
                    <a:pt x="1676" y="2258"/>
                  </a:lnTo>
                  <a:lnTo>
                    <a:pt x="1666" y="2293"/>
                  </a:lnTo>
                  <a:lnTo>
                    <a:pt x="1655" y="2330"/>
                  </a:lnTo>
                  <a:lnTo>
                    <a:pt x="1642" y="2368"/>
                  </a:lnTo>
                  <a:lnTo>
                    <a:pt x="1627" y="2407"/>
                  </a:lnTo>
                  <a:lnTo>
                    <a:pt x="1611" y="2447"/>
                  </a:lnTo>
                  <a:lnTo>
                    <a:pt x="1591" y="2488"/>
                  </a:lnTo>
                  <a:lnTo>
                    <a:pt x="1571" y="2530"/>
                  </a:lnTo>
                  <a:lnTo>
                    <a:pt x="1547" y="2575"/>
                  </a:lnTo>
                  <a:lnTo>
                    <a:pt x="1522" y="2619"/>
                  </a:lnTo>
                  <a:lnTo>
                    <a:pt x="1494" y="2659"/>
                  </a:lnTo>
                  <a:lnTo>
                    <a:pt x="1464" y="2698"/>
                  </a:lnTo>
                  <a:lnTo>
                    <a:pt x="1432" y="2733"/>
                  </a:lnTo>
                  <a:lnTo>
                    <a:pt x="1398" y="2765"/>
                  </a:lnTo>
                  <a:lnTo>
                    <a:pt x="1362" y="2795"/>
                  </a:lnTo>
                  <a:lnTo>
                    <a:pt x="1325" y="2824"/>
                  </a:lnTo>
                  <a:lnTo>
                    <a:pt x="1287" y="2849"/>
                  </a:lnTo>
                  <a:lnTo>
                    <a:pt x="1248" y="2872"/>
                  </a:lnTo>
                  <a:lnTo>
                    <a:pt x="1208" y="2894"/>
                  </a:lnTo>
                  <a:lnTo>
                    <a:pt x="1168" y="2912"/>
                  </a:lnTo>
                  <a:lnTo>
                    <a:pt x="1127" y="2930"/>
                  </a:lnTo>
                  <a:lnTo>
                    <a:pt x="1086" y="2945"/>
                  </a:lnTo>
                  <a:lnTo>
                    <a:pt x="1046" y="2959"/>
                  </a:lnTo>
                  <a:lnTo>
                    <a:pt x="1005" y="2971"/>
                  </a:lnTo>
                  <a:lnTo>
                    <a:pt x="966" y="2982"/>
                  </a:lnTo>
                  <a:lnTo>
                    <a:pt x="927" y="2990"/>
                  </a:lnTo>
                  <a:lnTo>
                    <a:pt x="888" y="2998"/>
                  </a:lnTo>
                  <a:lnTo>
                    <a:pt x="851" y="3004"/>
                  </a:lnTo>
                  <a:lnTo>
                    <a:pt x="815" y="3010"/>
                  </a:lnTo>
                  <a:lnTo>
                    <a:pt x="782" y="3015"/>
                  </a:lnTo>
                  <a:lnTo>
                    <a:pt x="750" y="3018"/>
                  </a:lnTo>
                  <a:lnTo>
                    <a:pt x="720" y="3020"/>
                  </a:lnTo>
                  <a:lnTo>
                    <a:pt x="692" y="3023"/>
                  </a:lnTo>
                  <a:lnTo>
                    <a:pt x="644" y="3025"/>
                  </a:lnTo>
                  <a:lnTo>
                    <a:pt x="607" y="3026"/>
                  </a:lnTo>
                  <a:lnTo>
                    <a:pt x="585" y="3026"/>
                  </a:lnTo>
                  <a:lnTo>
                    <a:pt x="576" y="3025"/>
                  </a:lnTo>
                  <a:close/>
                </a:path>
              </a:pathLst>
            </a:custGeom>
            <a:solidFill>
              <a:schemeClr val="accent2"/>
            </a:solidFill>
            <a:ln>
              <a:noFill/>
            </a:ln>
            <a:effectLst>
              <a:outerShdw blurRad="444500" dist="190500" dir="2700000" sx="95000" sy="95000" algn="tl" rotWithShape="0">
                <a:prstClr val="black">
                  <a:alpha val="23000"/>
                </a:prstClr>
              </a:outerShdw>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9" name="Freeform 9">
              <a:extLst>
                <a:ext uri="{FF2B5EF4-FFF2-40B4-BE49-F238E27FC236}">
                  <a16:creationId xmlns:a16="http://schemas.microsoft.com/office/drawing/2014/main" id="{E770D9FB-E4C2-4218-8CA0-BC5D7B9714BD}"/>
                </a:ext>
              </a:extLst>
            </p:cNvPr>
            <p:cNvSpPr>
              <a:spLocks/>
            </p:cNvSpPr>
            <p:nvPr/>
          </p:nvSpPr>
          <p:spPr bwMode="auto">
            <a:xfrm rot="18900000" flipH="1">
              <a:off x="2942163" y="2345062"/>
              <a:ext cx="901328" cy="1607083"/>
            </a:xfrm>
            <a:custGeom>
              <a:avLst/>
              <a:gdLst>
                <a:gd name="T0" fmla="*/ 536 w 1696"/>
                <a:gd name="T1" fmla="*/ 2987 h 3026"/>
                <a:gd name="T2" fmla="*/ 462 w 1696"/>
                <a:gd name="T3" fmla="*/ 2911 h 3026"/>
                <a:gd name="T4" fmla="*/ 368 w 1696"/>
                <a:gd name="T5" fmla="*/ 2798 h 3026"/>
                <a:gd name="T6" fmla="*/ 263 w 1696"/>
                <a:gd name="T7" fmla="*/ 2650 h 3026"/>
                <a:gd name="T8" fmla="*/ 161 w 1696"/>
                <a:gd name="T9" fmla="*/ 2473 h 3026"/>
                <a:gd name="T10" fmla="*/ 76 w 1696"/>
                <a:gd name="T11" fmla="*/ 2268 h 3026"/>
                <a:gd name="T12" fmla="*/ 17 w 1696"/>
                <a:gd name="T13" fmla="*/ 2039 h 3026"/>
                <a:gd name="T14" fmla="*/ 0 w 1696"/>
                <a:gd name="T15" fmla="*/ 1789 h 3026"/>
                <a:gd name="T16" fmla="*/ 36 w 1696"/>
                <a:gd name="T17" fmla="*/ 1522 h 3026"/>
                <a:gd name="T18" fmla="*/ 137 w 1696"/>
                <a:gd name="T19" fmla="*/ 1239 h 3026"/>
                <a:gd name="T20" fmla="*/ 300 w 1696"/>
                <a:gd name="T21" fmla="*/ 959 h 3026"/>
                <a:gd name="T22" fmla="*/ 478 w 1696"/>
                <a:gd name="T23" fmla="*/ 721 h 3026"/>
                <a:gd name="T24" fmla="*/ 659 w 1696"/>
                <a:gd name="T25" fmla="*/ 526 h 3026"/>
                <a:gd name="T26" fmla="*/ 840 w 1696"/>
                <a:gd name="T27" fmla="*/ 369 h 3026"/>
                <a:gd name="T28" fmla="*/ 1014 w 1696"/>
                <a:gd name="T29" fmla="*/ 247 h 3026"/>
                <a:gd name="T30" fmla="*/ 1177 w 1696"/>
                <a:gd name="T31" fmla="*/ 155 h 3026"/>
                <a:gd name="T32" fmla="*/ 1322 w 1696"/>
                <a:gd name="T33" fmla="*/ 88 h 3026"/>
                <a:gd name="T34" fmla="*/ 1444 w 1696"/>
                <a:gd name="T35" fmla="*/ 43 h 3026"/>
                <a:gd name="T36" fmla="*/ 1538 w 1696"/>
                <a:gd name="T37" fmla="*/ 16 h 3026"/>
                <a:gd name="T38" fmla="*/ 1611 w 1696"/>
                <a:gd name="T39" fmla="*/ 1 h 3026"/>
                <a:gd name="T40" fmla="*/ 1604 w 1696"/>
                <a:gd name="T41" fmla="*/ 30 h 3026"/>
                <a:gd name="T42" fmla="*/ 1555 w 1696"/>
                <a:gd name="T43" fmla="*/ 143 h 3026"/>
                <a:gd name="T44" fmla="*/ 1517 w 1696"/>
                <a:gd name="T45" fmla="*/ 243 h 3026"/>
                <a:gd name="T46" fmla="*/ 1478 w 1696"/>
                <a:gd name="T47" fmla="*/ 367 h 3026"/>
                <a:gd name="T48" fmla="*/ 1444 w 1696"/>
                <a:gd name="T49" fmla="*/ 506 h 3026"/>
                <a:gd name="T50" fmla="*/ 1418 w 1696"/>
                <a:gd name="T51" fmla="*/ 660 h 3026"/>
                <a:gd name="T52" fmla="*/ 1406 w 1696"/>
                <a:gd name="T53" fmla="*/ 825 h 3026"/>
                <a:gd name="T54" fmla="*/ 1412 w 1696"/>
                <a:gd name="T55" fmla="*/ 997 h 3026"/>
                <a:gd name="T56" fmla="*/ 1441 w 1696"/>
                <a:gd name="T57" fmla="*/ 1171 h 3026"/>
                <a:gd name="T58" fmla="*/ 1515 w 1696"/>
                <a:gd name="T59" fmla="*/ 1398 h 3026"/>
                <a:gd name="T60" fmla="*/ 1614 w 1696"/>
                <a:gd name="T61" fmla="*/ 1682 h 3026"/>
                <a:gd name="T62" fmla="*/ 1651 w 1696"/>
                <a:gd name="T63" fmla="*/ 1802 h 3026"/>
                <a:gd name="T64" fmla="*/ 1678 w 1696"/>
                <a:gd name="T65" fmla="*/ 1912 h 3026"/>
                <a:gd name="T66" fmla="*/ 1693 w 1696"/>
                <a:gd name="T67" fmla="*/ 2017 h 3026"/>
                <a:gd name="T68" fmla="*/ 1695 w 1696"/>
                <a:gd name="T69" fmla="*/ 2119 h 3026"/>
                <a:gd name="T70" fmla="*/ 1683 w 1696"/>
                <a:gd name="T71" fmla="*/ 2222 h 3026"/>
                <a:gd name="T72" fmla="*/ 1655 w 1696"/>
                <a:gd name="T73" fmla="*/ 2330 h 3026"/>
                <a:gd name="T74" fmla="*/ 1611 w 1696"/>
                <a:gd name="T75" fmla="*/ 2447 h 3026"/>
                <a:gd name="T76" fmla="*/ 1547 w 1696"/>
                <a:gd name="T77" fmla="*/ 2575 h 3026"/>
                <a:gd name="T78" fmla="*/ 1464 w 1696"/>
                <a:gd name="T79" fmla="*/ 2698 h 3026"/>
                <a:gd name="T80" fmla="*/ 1362 w 1696"/>
                <a:gd name="T81" fmla="*/ 2795 h 3026"/>
                <a:gd name="T82" fmla="*/ 1248 w 1696"/>
                <a:gd name="T83" fmla="*/ 2872 h 3026"/>
                <a:gd name="T84" fmla="*/ 1127 w 1696"/>
                <a:gd name="T85" fmla="*/ 2930 h 3026"/>
                <a:gd name="T86" fmla="*/ 1005 w 1696"/>
                <a:gd name="T87" fmla="*/ 2971 h 3026"/>
                <a:gd name="T88" fmla="*/ 888 w 1696"/>
                <a:gd name="T89" fmla="*/ 2998 h 3026"/>
                <a:gd name="T90" fmla="*/ 782 w 1696"/>
                <a:gd name="T91" fmla="*/ 3015 h 3026"/>
                <a:gd name="T92" fmla="*/ 692 w 1696"/>
                <a:gd name="T93" fmla="*/ 3023 h 3026"/>
                <a:gd name="T94" fmla="*/ 585 w 1696"/>
                <a:gd name="T95" fmla="*/ 3026 h 30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696" h="3026">
                  <a:moveTo>
                    <a:pt x="576" y="3025"/>
                  </a:moveTo>
                  <a:lnTo>
                    <a:pt x="565" y="3015"/>
                  </a:lnTo>
                  <a:lnTo>
                    <a:pt x="536" y="2987"/>
                  </a:lnTo>
                  <a:lnTo>
                    <a:pt x="514" y="2966"/>
                  </a:lnTo>
                  <a:lnTo>
                    <a:pt x="491" y="2940"/>
                  </a:lnTo>
                  <a:lnTo>
                    <a:pt x="462" y="2911"/>
                  </a:lnTo>
                  <a:lnTo>
                    <a:pt x="433" y="2878"/>
                  </a:lnTo>
                  <a:lnTo>
                    <a:pt x="401" y="2840"/>
                  </a:lnTo>
                  <a:lnTo>
                    <a:pt x="368" y="2798"/>
                  </a:lnTo>
                  <a:lnTo>
                    <a:pt x="334" y="2752"/>
                  </a:lnTo>
                  <a:lnTo>
                    <a:pt x="299" y="2703"/>
                  </a:lnTo>
                  <a:lnTo>
                    <a:pt x="263" y="2650"/>
                  </a:lnTo>
                  <a:lnTo>
                    <a:pt x="229" y="2595"/>
                  </a:lnTo>
                  <a:lnTo>
                    <a:pt x="194" y="2536"/>
                  </a:lnTo>
                  <a:lnTo>
                    <a:pt x="161" y="2473"/>
                  </a:lnTo>
                  <a:lnTo>
                    <a:pt x="130" y="2408"/>
                  </a:lnTo>
                  <a:lnTo>
                    <a:pt x="102" y="2340"/>
                  </a:lnTo>
                  <a:lnTo>
                    <a:pt x="76" y="2268"/>
                  </a:lnTo>
                  <a:lnTo>
                    <a:pt x="52" y="2195"/>
                  </a:lnTo>
                  <a:lnTo>
                    <a:pt x="33" y="2118"/>
                  </a:lnTo>
                  <a:lnTo>
                    <a:pt x="17" y="2039"/>
                  </a:lnTo>
                  <a:lnTo>
                    <a:pt x="7" y="1958"/>
                  </a:lnTo>
                  <a:lnTo>
                    <a:pt x="0" y="1874"/>
                  </a:lnTo>
                  <a:lnTo>
                    <a:pt x="0" y="1789"/>
                  </a:lnTo>
                  <a:lnTo>
                    <a:pt x="6" y="1702"/>
                  </a:lnTo>
                  <a:lnTo>
                    <a:pt x="16" y="1613"/>
                  </a:lnTo>
                  <a:lnTo>
                    <a:pt x="36" y="1522"/>
                  </a:lnTo>
                  <a:lnTo>
                    <a:pt x="61" y="1429"/>
                  </a:lnTo>
                  <a:lnTo>
                    <a:pt x="95" y="1334"/>
                  </a:lnTo>
                  <a:lnTo>
                    <a:pt x="137" y="1239"/>
                  </a:lnTo>
                  <a:lnTo>
                    <a:pt x="187" y="1143"/>
                  </a:lnTo>
                  <a:lnTo>
                    <a:pt x="243" y="1048"/>
                  </a:lnTo>
                  <a:lnTo>
                    <a:pt x="300" y="959"/>
                  </a:lnTo>
                  <a:lnTo>
                    <a:pt x="358" y="874"/>
                  </a:lnTo>
                  <a:lnTo>
                    <a:pt x="418" y="795"/>
                  </a:lnTo>
                  <a:lnTo>
                    <a:pt x="478" y="721"/>
                  </a:lnTo>
                  <a:lnTo>
                    <a:pt x="538" y="651"/>
                  </a:lnTo>
                  <a:lnTo>
                    <a:pt x="599" y="587"/>
                  </a:lnTo>
                  <a:lnTo>
                    <a:pt x="659" y="526"/>
                  </a:lnTo>
                  <a:lnTo>
                    <a:pt x="720" y="470"/>
                  </a:lnTo>
                  <a:lnTo>
                    <a:pt x="780" y="418"/>
                  </a:lnTo>
                  <a:lnTo>
                    <a:pt x="840" y="369"/>
                  </a:lnTo>
                  <a:lnTo>
                    <a:pt x="899" y="325"/>
                  </a:lnTo>
                  <a:lnTo>
                    <a:pt x="957" y="285"/>
                  </a:lnTo>
                  <a:lnTo>
                    <a:pt x="1014" y="247"/>
                  </a:lnTo>
                  <a:lnTo>
                    <a:pt x="1070" y="213"/>
                  </a:lnTo>
                  <a:lnTo>
                    <a:pt x="1124" y="182"/>
                  </a:lnTo>
                  <a:lnTo>
                    <a:pt x="1177" y="155"/>
                  </a:lnTo>
                  <a:lnTo>
                    <a:pt x="1227" y="130"/>
                  </a:lnTo>
                  <a:lnTo>
                    <a:pt x="1275" y="107"/>
                  </a:lnTo>
                  <a:lnTo>
                    <a:pt x="1322" y="88"/>
                  </a:lnTo>
                  <a:lnTo>
                    <a:pt x="1365" y="70"/>
                  </a:lnTo>
                  <a:lnTo>
                    <a:pt x="1406" y="56"/>
                  </a:lnTo>
                  <a:lnTo>
                    <a:pt x="1444" y="43"/>
                  </a:lnTo>
                  <a:lnTo>
                    <a:pt x="1479" y="32"/>
                  </a:lnTo>
                  <a:lnTo>
                    <a:pt x="1510" y="24"/>
                  </a:lnTo>
                  <a:lnTo>
                    <a:pt x="1538" y="16"/>
                  </a:lnTo>
                  <a:lnTo>
                    <a:pt x="1562" y="11"/>
                  </a:lnTo>
                  <a:lnTo>
                    <a:pt x="1583" y="6"/>
                  </a:lnTo>
                  <a:lnTo>
                    <a:pt x="1611" y="1"/>
                  </a:lnTo>
                  <a:lnTo>
                    <a:pt x="1620" y="0"/>
                  </a:lnTo>
                  <a:lnTo>
                    <a:pt x="1616" y="8"/>
                  </a:lnTo>
                  <a:lnTo>
                    <a:pt x="1604" y="30"/>
                  </a:lnTo>
                  <a:lnTo>
                    <a:pt x="1588" y="66"/>
                  </a:lnTo>
                  <a:lnTo>
                    <a:pt x="1567" y="114"/>
                  </a:lnTo>
                  <a:lnTo>
                    <a:pt x="1555" y="143"/>
                  </a:lnTo>
                  <a:lnTo>
                    <a:pt x="1543" y="174"/>
                  </a:lnTo>
                  <a:lnTo>
                    <a:pt x="1530" y="208"/>
                  </a:lnTo>
                  <a:lnTo>
                    <a:pt x="1517" y="243"/>
                  </a:lnTo>
                  <a:lnTo>
                    <a:pt x="1504" y="282"/>
                  </a:lnTo>
                  <a:lnTo>
                    <a:pt x="1491" y="324"/>
                  </a:lnTo>
                  <a:lnTo>
                    <a:pt x="1478" y="367"/>
                  </a:lnTo>
                  <a:lnTo>
                    <a:pt x="1466" y="411"/>
                  </a:lnTo>
                  <a:lnTo>
                    <a:pt x="1455" y="458"/>
                  </a:lnTo>
                  <a:lnTo>
                    <a:pt x="1444" y="506"/>
                  </a:lnTo>
                  <a:lnTo>
                    <a:pt x="1434" y="556"/>
                  </a:lnTo>
                  <a:lnTo>
                    <a:pt x="1426" y="608"/>
                  </a:lnTo>
                  <a:lnTo>
                    <a:pt x="1418" y="660"/>
                  </a:lnTo>
                  <a:lnTo>
                    <a:pt x="1413" y="714"/>
                  </a:lnTo>
                  <a:lnTo>
                    <a:pt x="1408" y="769"/>
                  </a:lnTo>
                  <a:lnTo>
                    <a:pt x="1406" y="825"/>
                  </a:lnTo>
                  <a:lnTo>
                    <a:pt x="1406" y="881"/>
                  </a:lnTo>
                  <a:lnTo>
                    <a:pt x="1407" y="938"/>
                  </a:lnTo>
                  <a:lnTo>
                    <a:pt x="1412" y="997"/>
                  </a:lnTo>
                  <a:lnTo>
                    <a:pt x="1419" y="1054"/>
                  </a:lnTo>
                  <a:lnTo>
                    <a:pt x="1429" y="1113"/>
                  </a:lnTo>
                  <a:lnTo>
                    <a:pt x="1441" y="1171"/>
                  </a:lnTo>
                  <a:lnTo>
                    <a:pt x="1456" y="1229"/>
                  </a:lnTo>
                  <a:lnTo>
                    <a:pt x="1476" y="1288"/>
                  </a:lnTo>
                  <a:lnTo>
                    <a:pt x="1515" y="1398"/>
                  </a:lnTo>
                  <a:lnTo>
                    <a:pt x="1551" y="1501"/>
                  </a:lnTo>
                  <a:lnTo>
                    <a:pt x="1585" y="1595"/>
                  </a:lnTo>
                  <a:lnTo>
                    <a:pt x="1614" y="1682"/>
                  </a:lnTo>
                  <a:lnTo>
                    <a:pt x="1628" y="1723"/>
                  </a:lnTo>
                  <a:lnTo>
                    <a:pt x="1640" y="1763"/>
                  </a:lnTo>
                  <a:lnTo>
                    <a:pt x="1651" y="1802"/>
                  </a:lnTo>
                  <a:lnTo>
                    <a:pt x="1662" y="1840"/>
                  </a:lnTo>
                  <a:lnTo>
                    <a:pt x="1670" y="1877"/>
                  </a:lnTo>
                  <a:lnTo>
                    <a:pt x="1678" y="1912"/>
                  </a:lnTo>
                  <a:lnTo>
                    <a:pt x="1684" y="1948"/>
                  </a:lnTo>
                  <a:lnTo>
                    <a:pt x="1690" y="1983"/>
                  </a:lnTo>
                  <a:lnTo>
                    <a:pt x="1693" y="2017"/>
                  </a:lnTo>
                  <a:lnTo>
                    <a:pt x="1695" y="2051"/>
                  </a:lnTo>
                  <a:lnTo>
                    <a:pt x="1696" y="2084"/>
                  </a:lnTo>
                  <a:lnTo>
                    <a:pt x="1695" y="2119"/>
                  </a:lnTo>
                  <a:lnTo>
                    <a:pt x="1693" y="2153"/>
                  </a:lnTo>
                  <a:lnTo>
                    <a:pt x="1689" y="2187"/>
                  </a:lnTo>
                  <a:lnTo>
                    <a:pt x="1683" y="2222"/>
                  </a:lnTo>
                  <a:lnTo>
                    <a:pt x="1676" y="2258"/>
                  </a:lnTo>
                  <a:lnTo>
                    <a:pt x="1666" y="2293"/>
                  </a:lnTo>
                  <a:lnTo>
                    <a:pt x="1655" y="2330"/>
                  </a:lnTo>
                  <a:lnTo>
                    <a:pt x="1642" y="2368"/>
                  </a:lnTo>
                  <a:lnTo>
                    <a:pt x="1627" y="2407"/>
                  </a:lnTo>
                  <a:lnTo>
                    <a:pt x="1611" y="2447"/>
                  </a:lnTo>
                  <a:lnTo>
                    <a:pt x="1591" y="2488"/>
                  </a:lnTo>
                  <a:lnTo>
                    <a:pt x="1571" y="2530"/>
                  </a:lnTo>
                  <a:lnTo>
                    <a:pt x="1547" y="2575"/>
                  </a:lnTo>
                  <a:lnTo>
                    <a:pt x="1522" y="2619"/>
                  </a:lnTo>
                  <a:lnTo>
                    <a:pt x="1494" y="2659"/>
                  </a:lnTo>
                  <a:lnTo>
                    <a:pt x="1464" y="2698"/>
                  </a:lnTo>
                  <a:lnTo>
                    <a:pt x="1432" y="2733"/>
                  </a:lnTo>
                  <a:lnTo>
                    <a:pt x="1398" y="2765"/>
                  </a:lnTo>
                  <a:lnTo>
                    <a:pt x="1362" y="2795"/>
                  </a:lnTo>
                  <a:lnTo>
                    <a:pt x="1325" y="2824"/>
                  </a:lnTo>
                  <a:lnTo>
                    <a:pt x="1287" y="2849"/>
                  </a:lnTo>
                  <a:lnTo>
                    <a:pt x="1248" y="2872"/>
                  </a:lnTo>
                  <a:lnTo>
                    <a:pt x="1208" y="2894"/>
                  </a:lnTo>
                  <a:lnTo>
                    <a:pt x="1168" y="2912"/>
                  </a:lnTo>
                  <a:lnTo>
                    <a:pt x="1127" y="2930"/>
                  </a:lnTo>
                  <a:lnTo>
                    <a:pt x="1086" y="2945"/>
                  </a:lnTo>
                  <a:lnTo>
                    <a:pt x="1046" y="2959"/>
                  </a:lnTo>
                  <a:lnTo>
                    <a:pt x="1005" y="2971"/>
                  </a:lnTo>
                  <a:lnTo>
                    <a:pt x="966" y="2982"/>
                  </a:lnTo>
                  <a:lnTo>
                    <a:pt x="927" y="2990"/>
                  </a:lnTo>
                  <a:lnTo>
                    <a:pt x="888" y="2998"/>
                  </a:lnTo>
                  <a:lnTo>
                    <a:pt x="851" y="3004"/>
                  </a:lnTo>
                  <a:lnTo>
                    <a:pt x="815" y="3010"/>
                  </a:lnTo>
                  <a:lnTo>
                    <a:pt x="782" y="3015"/>
                  </a:lnTo>
                  <a:lnTo>
                    <a:pt x="750" y="3018"/>
                  </a:lnTo>
                  <a:lnTo>
                    <a:pt x="720" y="3020"/>
                  </a:lnTo>
                  <a:lnTo>
                    <a:pt x="692" y="3023"/>
                  </a:lnTo>
                  <a:lnTo>
                    <a:pt x="644" y="3025"/>
                  </a:lnTo>
                  <a:lnTo>
                    <a:pt x="607" y="3026"/>
                  </a:lnTo>
                  <a:lnTo>
                    <a:pt x="585" y="3026"/>
                  </a:lnTo>
                  <a:lnTo>
                    <a:pt x="576" y="3025"/>
                  </a:lnTo>
                  <a:close/>
                </a:path>
              </a:pathLst>
            </a:custGeom>
            <a:solidFill>
              <a:schemeClr val="accent3"/>
            </a:solidFill>
            <a:ln>
              <a:noFill/>
            </a:ln>
            <a:effectLst>
              <a:outerShdw blurRad="444500" dist="190500" dir="2700000" sx="95000" sy="95000" algn="tl" rotWithShape="0">
                <a:prstClr val="black">
                  <a:alpha val="23000"/>
                </a:prstClr>
              </a:outerShdw>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0" name="Freeform 9">
              <a:extLst>
                <a:ext uri="{FF2B5EF4-FFF2-40B4-BE49-F238E27FC236}">
                  <a16:creationId xmlns:a16="http://schemas.microsoft.com/office/drawing/2014/main" id="{99D17DE8-49AE-4291-9528-D0B6847EC1EB}"/>
                </a:ext>
              </a:extLst>
            </p:cNvPr>
            <p:cNvSpPr>
              <a:spLocks/>
            </p:cNvSpPr>
            <p:nvPr/>
          </p:nvSpPr>
          <p:spPr bwMode="auto">
            <a:xfrm rot="4930157" flipH="1" flipV="1">
              <a:off x="2239473" y="3792329"/>
              <a:ext cx="901328" cy="1607083"/>
            </a:xfrm>
            <a:custGeom>
              <a:avLst/>
              <a:gdLst>
                <a:gd name="T0" fmla="*/ 536 w 1696"/>
                <a:gd name="T1" fmla="*/ 2987 h 3026"/>
                <a:gd name="T2" fmla="*/ 462 w 1696"/>
                <a:gd name="T3" fmla="*/ 2911 h 3026"/>
                <a:gd name="T4" fmla="*/ 368 w 1696"/>
                <a:gd name="T5" fmla="*/ 2798 h 3026"/>
                <a:gd name="T6" fmla="*/ 263 w 1696"/>
                <a:gd name="T7" fmla="*/ 2650 h 3026"/>
                <a:gd name="T8" fmla="*/ 161 w 1696"/>
                <a:gd name="T9" fmla="*/ 2473 h 3026"/>
                <a:gd name="T10" fmla="*/ 76 w 1696"/>
                <a:gd name="T11" fmla="*/ 2268 h 3026"/>
                <a:gd name="T12" fmla="*/ 17 w 1696"/>
                <a:gd name="T13" fmla="*/ 2039 h 3026"/>
                <a:gd name="T14" fmla="*/ 0 w 1696"/>
                <a:gd name="T15" fmla="*/ 1789 h 3026"/>
                <a:gd name="T16" fmla="*/ 36 w 1696"/>
                <a:gd name="T17" fmla="*/ 1522 h 3026"/>
                <a:gd name="T18" fmla="*/ 137 w 1696"/>
                <a:gd name="T19" fmla="*/ 1239 h 3026"/>
                <a:gd name="T20" fmla="*/ 300 w 1696"/>
                <a:gd name="T21" fmla="*/ 959 h 3026"/>
                <a:gd name="T22" fmla="*/ 478 w 1696"/>
                <a:gd name="T23" fmla="*/ 721 h 3026"/>
                <a:gd name="T24" fmla="*/ 659 w 1696"/>
                <a:gd name="T25" fmla="*/ 526 h 3026"/>
                <a:gd name="T26" fmla="*/ 840 w 1696"/>
                <a:gd name="T27" fmla="*/ 369 h 3026"/>
                <a:gd name="T28" fmla="*/ 1014 w 1696"/>
                <a:gd name="T29" fmla="*/ 247 h 3026"/>
                <a:gd name="T30" fmla="*/ 1177 w 1696"/>
                <a:gd name="T31" fmla="*/ 155 h 3026"/>
                <a:gd name="T32" fmla="*/ 1322 w 1696"/>
                <a:gd name="T33" fmla="*/ 88 h 3026"/>
                <a:gd name="T34" fmla="*/ 1444 w 1696"/>
                <a:gd name="T35" fmla="*/ 43 h 3026"/>
                <a:gd name="T36" fmla="*/ 1538 w 1696"/>
                <a:gd name="T37" fmla="*/ 16 h 3026"/>
                <a:gd name="T38" fmla="*/ 1611 w 1696"/>
                <a:gd name="T39" fmla="*/ 1 h 3026"/>
                <a:gd name="T40" fmla="*/ 1604 w 1696"/>
                <a:gd name="T41" fmla="*/ 30 h 3026"/>
                <a:gd name="T42" fmla="*/ 1555 w 1696"/>
                <a:gd name="T43" fmla="*/ 143 h 3026"/>
                <a:gd name="T44" fmla="*/ 1517 w 1696"/>
                <a:gd name="T45" fmla="*/ 243 h 3026"/>
                <a:gd name="T46" fmla="*/ 1478 w 1696"/>
                <a:gd name="T47" fmla="*/ 367 h 3026"/>
                <a:gd name="T48" fmla="*/ 1444 w 1696"/>
                <a:gd name="T49" fmla="*/ 506 h 3026"/>
                <a:gd name="T50" fmla="*/ 1418 w 1696"/>
                <a:gd name="T51" fmla="*/ 660 h 3026"/>
                <a:gd name="T52" fmla="*/ 1406 w 1696"/>
                <a:gd name="T53" fmla="*/ 825 h 3026"/>
                <a:gd name="T54" fmla="*/ 1412 w 1696"/>
                <a:gd name="T55" fmla="*/ 997 h 3026"/>
                <a:gd name="T56" fmla="*/ 1441 w 1696"/>
                <a:gd name="T57" fmla="*/ 1171 h 3026"/>
                <a:gd name="T58" fmla="*/ 1515 w 1696"/>
                <a:gd name="T59" fmla="*/ 1398 h 3026"/>
                <a:gd name="T60" fmla="*/ 1614 w 1696"/>
                <a:gd name="T61" fmla="*/ 1682 h 3026"/>
                <a:gd name="T62" fmla="*/ 1651 w 1696"/>
                <a:gd name="T63" fmla="*/ 1802 h 3026"/>
                <a:gd name="T64" fmla="*/ 1678 w 1696"/>
                <a:gd name="T65" fmla="*/ 1912 h 3026"/>
                <a:gd name="T66" fmla="*/ 1693 w 1696"/>
                <a:gd name="T67" fmla="*/ 2017 h 3026"/>
                <a:gd name="T68" fmla="*/ 1695 w 1696"/>
                <a:gd name="T69" fmla="*/ 2119 h 3026"/>
                <a:gd name="T70" fmla="*/ 1683 w 1696"/>
                <a:gd name="T71" fmla="*/ 2222 h 3026"/>
                <a:gd name="T72" fmla="*/ 1655 w 1696"/>
                <a:gd name="T73" fmla="*/ 2330 h 3026"/>
                <a:gd name="T74" fmla="*/ 1611 w 1696"/>
                <a:gd name="T75" fmla="*/ 2447 h 3026"/>
                <a:gd name="T76" fmla="*/ 1547 w 1696"/>
                <a:gd name="T77" fmla="*/ 2575 h 3026"/>
                <a:gd name="T78" fmla="*/ 1464 w 1696"/>
                <a:gd name="T79" fmla="*/ 2698 h 3026"/>
                <a:gd name="T80" fmla="*/ 1362 w 1696"/>
                <a:gd name="T81" fmla="*/ 2795 h 3026"/>
                <a:gd name="T82" fmla="*/ 1248 w 1696"/>
                <a:gd name="T83" fmla="*/ 2872 h 3026"/>
                <a:gd name="T84" fmla="*/ 1127 w 1696"/>
                <a:gd name="T85" fmla="*/ 2930 h 3026"/>
                <a:gd name="T86" fmla="*/ 1005 w 1696"/>
                <a:gd name="T87" fmla="*/ 2971 h 3026"/>
                <a:gd name="T88" fmla="*/ 888 w 1696"/>
                <a:gd name="T89" fmla="*/ 2998 h 3026"/>
                <a:gd name="T90" fmla="*/ 782 w 1696"/>
                <a:gd name="T91" fmla="*/ 3015 h 3026"/>
                <a:gd name="T92" fmla="*/ 692 w 1696"/>
                <a:gd name="T93" fmla="*/ 3023 h 3026"/>
                <a:gd name="T94" fmla="*/ 585 w 1696"/>
                <a:gd name="T95" fmla="*/ 3026 h 30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696" h="3026">
                  <a:moveTo>
                    <a:pt x="576" y="3025"/>
                  </a:moveTo>
                  <a:lnTo>
                    <a:pt x="565" y="3015"/>
                  </a:lnTo>
                  <a:lnTo>
                    <a:pt x="536" y="2987"/>
                  </a:lnTo>
                  <a:lnTo>
                    <a:pt x="514" y="2966"/>
                  </a:lnTo>
                  <a:lnTo>
                    <a:pt x="491" y="2940"/>
                  </a:lnTo>
                  <a:lnTo>
                    <a:pt x="462" y="2911"/>
                  </a:lnTo>
                  <a:lnTo>
                    <a:pt x="433" y="2878"/>
                  </a:lnTo>
                  <a:lnTo>
                    <a:pt x="401" y="2840"/>
                  </a:lnTo>
                  <a:lnTo>
                    <a:pt x="368" y="2798"/>
                  </a:lnTo>
                  <a:lnTo>
                    <a:pt x="334" y="2752"/>
                  </a:lnTo>
                  <a:lnTo>
                    <a:pt x="299" y="2703"/>
                  </a:lnTo>
                  <a:lnTo>
                    <a:pt x="263" y="2650"/>
                  </a:lnTo>
                  <a:lnTo>
                    <a:pt x="229" y="2595"/>
                  </a:lnTo>
                  <a:lnTo>
                    <a:pt x="194" y="2536"/>
                  </a:lnTo>
                  <a:lnTo>
                    <a:pt x="161" y="2473"/>
                  </a:lnTo>
                  <a:lnTo>
                    <a:pt x="130" y="2408"/>
                  </a:lnTo>
                  <a:lnTo>
                    <a:pt x="102" y="2340"/>
                  </a:lnTo>
                  <a:lnTo>
                    <a:pt x="76" y="2268"/>
                  </a:lnTo>
                  <a:lnTo>
                    <a:pt x="52" y="2195"/>
                  </a:lnTo>
                  <a:lnTo>
                    <a:pt x="33" y="2118"/>
                  </a:lnTo>
                  <a:lnTo>
                    <a:pt x="17" y="2039"/>
                  </a:lnTo>
                  <a:lnTo>
                    <a:pt x="7" y="1958"/>
                  </a:lnTo>
                  <a:lnTo>
                    <a:pt x="0" y="1874"/>
                  </a:lnTo>
                  <a:lnTo>
                    <a:pt x="0" y="1789"/>
                  </a:lnTo>
                  <a:lnTo>
                    <a:pt x="6" y="1702"/>
                  </a:lnTo>
                  <a:lnTo>
                    <a:pt x="16" y="1613"/>
                  </a:lnTo>
                  <a:lnTo>
                    <a:pt x="36" y="1522"/>
                  </a:lnTo>
                  <a:lnTo>
                    <a:pt x="61" y="1429"/>
                  </a:lnTo>
                  <a:lnTo>
                    <a:pt x="95" y="1334"/>
                  </a:lnTo>
                  <a:lnTo>
                    <a:pt x="137" y="1239"/>
                  </a:lnTo>
                  <a:lnTo>
                    <a:pt x="187" y="1143"/>
                  </a:lnTo>
                  <a:lnTo>
                    <a:pt x="243" y="1048"/>
                  </a:lnTo>
                  <a:lnTo>
                    <a:pt x="300" y="959"/>
                  </a:lnTo>
                  <a:lnTo>
                    <a:pt x="358" y="874"/>
                  </a:lnTo>
                  <a:lnTo>
                    <a:pt x="418" y="795"/>
                  </a:lnTo>
                  <a:lnTo>
                    <a:pt x="478" y="721"/>
                  </a:lnTo>
                  <a:lnTo>
                    <a:pt x="538" y="651"/>
                  </a:lnTo>
                  <a:lnTo>
                    <a:pt x="599" y="587"/>
                  </a:lnTo>
                  <a:lnTo>
                    <a:pt x="659" y="526"/>
                  </a:lnTo>
                  <a:lnTo>
                    <a:pt x="720" y="470"/>
                  </a:lnTo>
                  <a:lnTo>
                    <a:pt x="780" y="418"/>
                  </a:lnTo>
                  <a:lnTo>
                    <a:pt x="840" y="369"/>
                  </a:lnTo>
                  <a:lnTo>
                    <a:pt x="899" y="325"/>
                  </a:lnTo>
                  <a:lnTo>
                    <a:pt x="957" y="285"/>
                  </a:lnTo>
                  <a:lnTo>
                    <a:pt x="1014" y="247"/>
                  </a:lnTo>
                  <a:lnTo>
                    <a:pt x="1070" y="213"/>
                  </a:lnTo>
                  <a:lnTo>
                    <a:pt x="1124" y="182"/>
                  </a:lnTo>
                  <a:lnTo>
                    <a:pt x="1177" y="155"/>
                  </a:lnTo>
                  <a:lnTo>
                    <a:pt x="1227" y="130"/>
                  </a:lnTo>
                  <a:lnTo>
                    <a:pt x="1275" y="107"/>
                  </a:lnTo>
                  <a:lnTo>
                    <a:pt x="1322" y="88"/>
                  </a:lnTo>
                  <a:lnTo>
                    <a:pt x="1365" y="70"/>
                  </a:lnTo>
                  <a:lnTo>
                    <a:pt x="1406" y="56"/>
                  </a:lnTo>
                  <a:lnTo>
                    <a:pt x="1444" y="43"/>
                  </a:lnTo>
                  <a:lnTo>
                    <a:pt x="1479" y="32"/>
                  </a:lnTo>
                  <a:lnTo>
                    <a:pt x="1510" y="24"/>
                  </a:lnTo>
                  <a:lnTo>
                    <a:pt x="1538" y="16"/>
                  </a:lnTo>
                  <a:lnTo>
                    <a:pt x="1562" y="11"/>
                  </a:lnTo>
                  <a:lnTo>
                    <a:pt x="1583" y="6"/>
                  </a:lnTo>
                  <a:lnTo>
                    <a:pt x="1611" y="1"/>
                  </a:lnTo>
                  <a:lnTo>
                    <a:pt x="1620" y="0"/>
                  </a:lnTo>
                  <a:lnTo>
                    <a:pt x="1616" y="8"/>
                  </a:lnTo>
                  <a:lnTo>
                    <a:pt x="1604" y="30"/>
                  </a:lnTo>
                  <a:lnTo>
                    <a:pt x="1588" y="66"/>
                  </a:lnTo>
                  <a:lnTo>
                    <a:pt x="1567" y="114"/>
                  </a:lnTo>
                  <a:lnTo>
                    <a:pt x="1555" y="143"/>
                  </a:lnTo>
                  <a:lnTo>
                    <a:pt x="1543" y="174"/>
                  </a:lnTo>
                  <a:lnTo>
                    <a:pt x="1530" y="208"/>
                  </a:lnTo>
                  <a:lnTo>
                    <a:pt x="1517" y="243"/>
                  </a:lnTo>
                  <a:lnTo>
                    <a:pt x="1504" y="282"/>
                  </a:lnTo>
                  <a:lnTo>
                    <a:pt x="1491" y="324"/>
                  </a:lnTo>
                  <a:lnTo>
                    <a:pt x="1478" y="367"/>
                  </a:lnTo>
                  <a:lnTo>
                    <a:pt x="1466" y="411"/>
                  </a:lnTo>
                  <a:lnTo>
                    <a:pt x="1455" y="458"/>
                  </a:lnTo>
                  <a:lnTo>
                    <a:pt x="1444" y="506"/>
                  </a:lnTo>
                  <a:lnTo>
                    <a:pt x="1434" y="556"/>
                  </a:lnTo>
                  <a:lnTo>
                    <a:pt x="1426" y="608"/>
                  </a:lnTo>
                  <a:lnTo>
                    <a:pt x="1418" y="660"/>
                  </a:lnTo>
                  <a:lnTo>
                    <a:pt x="1413" y="714"/>
                  </a:lnTo>
                  <a:lnTo>
                    <a:pt x="1408" y="769"/>
                  </a:lnTo>
                  <a:lnTo>
                    <a:pt x="1406" y="825"/>
                  </a:lnTo>
                  <a:lnTo>
                    <a:pt x="1406" y="881"/>
                  </a:lnTo>
                  <a:lnTo>
                    <a:pt x="1407" y="938"/>
                  </a:lnTo>
                  <a:lnTo>
                    <a:pt x="1412" y="997"/>
                  </a:lnTo>
                  <a:lnTo>
                    <a:pt x="1419" y="1054"/>
                  </a:lnTo>
                  <a:lnTo>
                    <a:pt x="1429" y="1113"/>
                  </a:lnTo>
                  <a:lnTo>
                    <a:pt x="1441" y="1171"/>
                  </a:lnTo>
                  <a:lnTo>
                    <a:pt x="1456" y="1229"/>
                  </a:lnTo>
                  <a:lnTo>
                    <a:pt x="1476" y="1288"/>
                  </a:lnTo>
                  <a:lnTo>
                    <a:pt x="1515" y="1398"/>
                  </a:lnTo>
                  <a:lnTo>
                    <a:pt x="1551" y="1501"/>
                  </a:lnTo>
                  <a:lnTo>
                    <a:pt x="1585" y="1595"/>
                  </a:lnTo>
                  <a:lnTo>
                    <a:pt x="1614" y="1682"/>
                  </a:lnTo>
                  <a:lnTo>
                    <a:pt x="1628" y="1723"/>
                  </a:lnTo>
                  <a:lnTo>
                    <a:pt x="1640" y="1763"/>
                  </a:lnTo>
                  <a:lnTo>
                    <a:pt x="1651" y="1802"/>
                  </a:lnTo>
                  <a:lnTo>
                    <a:pt x="1662" y="1840"/>
                  </a:lnTo>
                  <a:lnTo>
                    <a:pt x="1670" y="1877"/>
                  </a:lnTo>
                  <a:lnTo>
                    <a:pt x="1678" y="1912"/>
                  </a:lnTo>
                  <a:lnTo>
                    <a:pt x="1684" y="1948"/>
                  </a:lnTo>
                  <a:lnTo>
                    <a:pt x="1690" y="1983"/>
                  </a:lnTo>
                  <a:lnTo>
                    <a:pt x="1693" y="2017"/>
                  </a:lnTo>
                  <a:lnTo>
                    <a:pt x="1695" y="2051"/>
                  </a:lnTo>
                  <a:lnTo>
                    <a:pt x="1696" y="2084"/>
                  </a:lnTo>
                  <a:lnTo>
                    <a:pt x="1695" y="2119"/>
                  </a:lnTo>
                  <a:lnTo>
                    <a:pt x="1693" y="2153"/>
                  </a:lnTo>
                  <a:lnTo>
                    <a:pt x="1689" y="2187"/>
                  </a:lnTo>
                  <a:lnTo>
                    <a:pt x="1683" y="2222"/>
                  </a:lnTo>
                  <a:lnTo>
                    <a:pt x="1676" y="2258"/>
                  </a:lnTo>
                  <a:lnTo>
                    <a:pt x="1666" y="2293"/>
                  </a:lnTo>
                  <a:lnTo>
                    <a:pt x="1655" y="2330"/>
                  </a:lnTo>
                  <a:lnTo>
                    <a:pt x="1642" y="2368"/>
                  </a:lnTo>
                  <a:lnTo>
                    <a:pt x="1627" y="2407"/>
                  </a:lnTo>
                  <a:lnTo>
                    <a:pt x="1611" y="2447"/>
                  </a:lnTo>
                  <a:lnTo>
                    <a:pt x="1591" y="2488"/>
                  </a:lnTo>
                  <a:lnTo>
                    <a:pt x="1571" y="2530"/>
                  </a:lnTo>
                  <a:lnTo>
                    <a:pt x="1547" y="2575"/>
                  </a:lnTo>
                  <a:lnTo>
                    <a:pt x="1522" y="2619"/>
                  </a:lnTo>
                  <a:lnTo>
                    <a:pt x="1494" y="2659"/>
                  </a:lnTo>
                  <a:lnTo>
                    <a:pt x="1464" y="2698"/>
                  </a:lnTo>
                  <a:lnTo>
                    <a:pt x="1432" y="2733"/>
                  </a:lnTo>
                  <a:lnTo>
                    <a:pt x="1398" y="2765"/>
                  </a:lnTo>
                  <a:lnTo>
                    <a:pt x="1362" y="2795"/>
                  </a:lnTo>
                  <a:lnTo>
                    <a:pt x="1325" y="2824"/>
                  </a:lnTo>
                  <a:lnTo>
                    <a:pt x="1287" y="2849"/>
                  </a:lnTo>
                  <a:lnTo>
                    <a:pt x="1248" y="2872"/>
                  </a:lnTo>
                  <a:lnTo>
                    <a:pt x="1208" y="2894"/>
                  </a:lnTo>
                  <a:lnTo>
                    <a:pt x="1168" y="2912"/>
                  </a:lnTo>
                  <a:lnTo>
                    <a:pt x="1127" y="2930"/>
                  </a:lnTo>
                  <a:lnTo>
                    <a:pt x="1086" y="2945"/>
                  </a:lnTo>
                  <a:lnTo>
                    <a:pt x="1046" y="2959"/>
                  </a:lnTo>
                  <a:lnTo>
                    <a:pt x="1005" y="2971"/>
                  </a:lnTo>
                  <a:lnTo>
                    <a:pt x="966" y="2982"/>
                  </a:lnTo>
                  <a:lnTo>
                    <a:pt x="927" y="2990"/>
                  </a:lnTo>
                  <a:lnTo>
                    <a:pt x="888" y="2998"/>
                  </a:lnTo>
                  <a:lnTo>
                    <a:pt x="851" y="3004"/>
                  </a:lnTo>
                  <a:lnTo>
                    <a:pt x="815" y="3010"/>
                  </a:lnTo>
                  <a:lnTo>
                    <a:pt x="782" y="3015"/>
                  </a:lnTo>
                  <a:lnTo>
                    <a:pt x="750" y="3018"/>
                  </a:lnTo>
                  <a:lnTo>
                    <a:pt x="720" y="3020"/>
                  </a:lnTo>
                  <a:lnTo>
                    <a:pt x="692" y="3023"/>
                  </a:lnTo>
                  <a:lnTo>
                    <a:pt x="644" y="3025"/>
                  </a:lnTo>
                  <a:lnTo>
                    <a:pt x="607" y="3026"/>
                  </a:lnTo>
                  <a:lnTo>
                    <a:pt x="585" y="3026"/>
                  </a:lnTo>
                  <a:lnTo>
                    <a:pt x="576" y="3025"/>
                  </a:lnTo>
                  <a:close/>
                </a:path>
              </a:pathLst>
            </a:custGeom>
            <a:solidFill>
              <a:schemeClr val="accent6"/>
            </a:solidFill>
            <a:ln>
              <a:noFill/>
            </a:ln>
            <a:effectLst>
              <a:outerShdw blurRad="444500" dist="190500" dir="2700000" sx="95000" sy="95000" algn="tl" rotWithShape="0">
                <a:prstClr val="black">
                  <a:alpha val="23000"/>
                </a:prstClr>
              </a:outerShdw>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1" name="Freeform 9">
              <a:extLst>
                <a:ext uri="{FF2B5EF4-FFF2-40B4-BE49-F238E27FC236}">
                  <a16:creationId xmlns:a16="http://schemas.microsoft.com/office/drawing/2014/main" id="{8CB5F5F1-3BBA-45CC-8A08-A76E2566C621}"/>
                </a:ext>
              </a:extLst>
            </p:cNvPr>
            <p:cNvSpPr>
              <a:spLocks/>
            </p:cNvSpPr>
            <p:nvPr/>
          </p:nvSpPr>
          <p:spPr bwMode="auto">
            <a:xfrm rot="6999104" flipH="1" flipV="1">
              <a:off x="1511855" y="2847372"/>
              <a:ext cx="901328" cy="1607083"/>
            </a:xfrm>
            <a:custGeom>
              <a:avLst/>
              <a:gdLst>
                <a:gd name="T0" fmla="*/ 536 w 1696"/>
                <a:gd name="T1" fmla="*/ 2987 h 3026"/>
                <a:gd name="T2" fmla="*/ 462 w 1696"/>
                <a:gd name="T3" fmla="*/ 2911 h 3026"/>
                <a:gd name="T4" fmla="*/ 368 w 1696"/>
                <a:gd name="T5" fmla="*/ 2798 h 3026"/>
                <a:gd name="T6" fmla="*/ 263 w 1696"/>
                <a:gd name="T7" fmla="*/ 2650 h 3026"/>
                <a:gd name="T8" fmla="*/ 161 w 1696"/>
                <a:gd name="T9" fmla="*/ 2473 h 3026"/>
                <a:gd name="T10" fmla="*/ 76 w 1696"/>
                <a:gd name="T11" fmla="*/ 2268 h 3026"/>
                <a:gd name="T12" fmla="*/ 17 w 1696"/>
                <a:gd name="T13" fmla="*/ 2039 h 3026"/>
                <a:gd name="T14" fmla="*/ 0 w 1696"/>
                <a:gd name="T15" fmla="*/ 1789 h 3026"/>
                <a:gd name="T16" fmla="*/ 36 w 1696"/>
                <a:gd name="T17" fmla="*/ 1522 h 3026"/>
                <a:gd name="T18" fmla="*/ 137 w 1696"/>
                <a:gd name="T19" fmla="*/ 1239 h 3026"/>
                <a:gd name="T20" fmla="*/ 300 w 1696"/>
                <a:gd name="T21" fmla="*/ 959 h 3026"/>
                <a:gd name="T22" fmla="*/ 478 w 1696"/>
                <a:gd name="T23" fmla="*/ 721 h 3026"/>
                <a:gd name="T24" fmla="*/ 659 w 1696"/>
                <a:gd name="T25" fmla="*/ 526 h 3026"/>
                <a:gd name="T26" fmla="*/ 840 w 1696"/>
                <a:gd name="T27" fmla="*/ 369 h 3026"/>
                <a:gd name="T28" fmla="*/ 1014 w 1696"/>
                <a:gd name="T29" fmla="*/ 247 h 3026"/>
                <a:gd name="T30" fmla="*/ 1177 w 1696"/>
                <a:gd name="T31" fmla="*/ 155 h 3026"/>
                <a:gd name="T32" fmla="*/ 1322 w 1696"/>
                <a:gd name="T33" fmla="*/ 88 h 3026"/>
                <a:gd name="T34" fmla="*/ 1444 w 1696"/>
                <a:gd name="T35" fmla="*/ 43 h 3026"/>
                <a:gd name="T36" fmla="*/ 1538 w 1696"/>
                <a:gd name="T37" fmla="*/ 16 h 3026"/>
                <a:gd name="T38" fmla="*/ 1611 w 1696"/>
                <a:gd name="T39" fmla="*/ 1 h 3026"/>
                <a:gd name="T40" fmla="*/ 1604 w 1696"/>
                <a:gd name="T41" fmla="*/ 30 h 3026"/>
                <a:gd name="T42" fmla="*/ 1555 w 1696"/>
                <a:gd name="T43" fmla="*/ 143 h 3026"/>
                <a:gd name="T44" fmla="*/ 1517 w 1696"/>
                <a:gd name="T45" fmla="*/ 243 h 3026"/>
                <a:gd name="T46" fmla="*/ 1478 w 1696"/>
                <a:gd name="T47" fmla="*/ 367 h 3026"/>
                <a:gd name="T48" fmla="*/ 1444 w 1696"/>
                <a:gd name="T49" fmla="*/ 506 h 3026"/>
                <a:gd name="T50" fmla="*/ 1418 w 1696"/>
                <a:gd name="T51" fmla="*/ 660 h 3026"/>
                <a:gd name="T52" fmla="*/ 1406 w 1696"/>
                <a:gd name="T53" fmla="*/ 825 h 3026"/>
                <a:gd name="T54" fmla="*/ 1412 w 1696"/>
                <a:gd name="T55" fmla="*/ 997 h 3026"/>
                <a:gd name="T56" fmla="*/ 1441 w 1696"/>
                <a:gd name="T57" fmla="*/ 1171 h 3026"/>
                <a:gd name="T58" fmla="*/ 1515 w 1696"/>
                <a:gd name="T59" fmla="*/ 1398 h 3026"/>
                <a:gd name="T60" fmla="*/ 1614 w 1696"/>
                <a:gd name="T61" fmla="*/ 1682 h 3026"/>
                <a:gd name="T62" fmla="*/ 1651 w 1696"/>
                <a:gd name="T63" fmla="*/ 1802 h 3026"/>
                <a:gd name="T64" fmla="*/ 1678 w 1696"/>
                <a:gd name="T65" fmla="*/ 1912 h 3026"/>
                <a:gd name="T66" fmla="*/ 1693 w 1696"/>
                <a:gd name="T67" fmla="*/ 2017 h 3026"/>
                <a:gd name="T68" fmla="*/ 1695 w 1696"/>
                <a:gd name="T69" fmla="*/ 2119 h 3026"/>
                <a:gd name="T70" fmla="*/ 1683 w 1696"/>
                <a:gd name="T71" fmla="*/ 2222 h 3026"/>
                <a:gd name="T72" fmla="*/ 1655 w 1696"/>
                <a:gd name="T73" fmla="*/ 2330 h 3026"/>
                <a:gd name="T74" fmla="*/ 1611 w 1696"/>
                <a:gd name="T75" fmla="*/ 2447 h 3026"/>
                <a:gd name="T76" fmla="*/ 1547 w 1696"/>
                <a:gd name="T77" fmla="*/ 2575 h 3026"/>
                <a:gd name="T78" fmla="*/ 1464 w 1696"/>
                <a:gd name="T79" fmla="*/ 2698 h 3026"/>
                <a:gd name="T80" fmla="*/ 1362 w 1696"/>
                <a:gd name="T81" fmla="*/ 2795 h 3026"/>
                <a:gd name="T82" fmla="*/ 1248 w 1696"/>
                <a:gd name="T83" fmla="*/ 2872 h 3026"/>
                <a:gd name="T84" fmla="*/ 1127 w 1696"/>
                <a:gd name="T85" fmla="*/ 2930 h 3026"/>
                <a:gd name="T86" fmla="*/ 1005 w 1696"/>
                <a:gd name="T87" fmla="*/ 2971 h 3026"/>
                <a:gd name="T88" fmla="*/ 888 w 1696"/>
                <a:gd name="T89" fmla="*/ 2998 h 3026"/>
                <a:gd name="T90" fmla="*/ 782 w 1696"/>
                <a:gd name="T91" fmla="*/ 3015 h 3026"/>
                <a:gd name="T92" fmla="*/ 692 w 1696"/>
                <a:gd name="T93" fmla="*/ 3023 h 3026"/>
                <a:gd name="T94" fmla="*/ 585 w 1696"/>
                <a:gd name="T95" fmla="*/ 3026 h 30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696" h="3026">
                  <a:moveTo>
                    <a:pt x="576" y="3025"/>
                  </a:moveTo>
                  <a:lnTo>
                    <a:pt x="565" y="3015"/>
                  </a:lnTo>
                  <a:lnTo>
                    <a:pt x="536" y="2987"/>
                  </a:lnTo>
                  <a:lnTo>
                    <a:pt x="514" y="2966"/>
                  </a:lnTo>
                  <a:lnTo>
                    <a:pt x="491" y="2940"/>
                  </a:lnTo>
                  <a:lnTo>
                    <a:pt x="462" y="2911"/>
                  </a:lnTo>
                  <a:lnTo>
                    <a:pt x="433" y="2878"/>
                  </a:lnTo>
                  <a:lnTo>
                    <a:pt x="401" y="2840"/>
                  </a:lnTo>
                  <a:lnTo>
                    <a:pt x="368" y="2798"/>
                  </a:lnTo>
                  <a:lnTo>
                    <a:pt x="334" y="2752"/>
                  </a:lnTo>
                  <a:lnTo>
                    <a:pt x="299" y="2703"/>
                  </a:lnTo>
                  <a:lnTo>
                    <a:pt x="263" y="2650"/>
                  </a:lnTo>
                  <a:lnTo>
                    <a:pt x="229" y="2595"/>
                  </a:lnTo>
                  <a:lnTo>
                    <a:pt x="194" y="2536"/>
                  </a:lnTo>
                  <a:lnTo>
                    <a:pt x="161" y="2473"/>
                  </a:lnTo>
                  <a:lnTo>
                    <a:pt x="130" y="2408"/>
                  </a:lnTo>
                  <a:lnTo>
                    <a:pt x="102" y="2340"/>
                  </a:lnTo>
                  <a:lnTo>
                    <a:pt x="76" y="2268"/>
                  </a:lnTo>
                  <a:lnTo>
                    <a:pt x="52" y="2195"/>
                  </a:lnTo>
                  <a:lnTo>
                    <a:pt x="33" y="2118"/>
                  </a:lnTo>
                  <a:lnTo>
                    <a:pt x="17" y="2039"/>
                  </a:lnTo>
                  <a:lnTo>
                    <a:pt x="7" y="1958"/>
                  </a:lnTo>
                  <a:lnTo>
                    <a:pt x="0" y="1874"/>
                  </a:lnTo>
                  <a:lnTo>
                    <a:pt x="0" y="1789"/>
                  </a:lnTo>
                  <a:lnTo>
                    <a:pt x="6" y="1702"/>
                  </a:lnTo>
                  <a:lnTo>
                    <a:pt x="16" y="1613"/>
                  </a:lnTo>
                  <a:lnTo>
                    <a:pt x="36" y="1522"/>
                  </a:lnTo>
                  <a:lnTo>
                    <a:pt x="61" y="1429"/>
                  </a:lnTo>
                  <a:lnTo>
                    <a:pt x="95" y="1334"/>
                  </a:lnTo>
                  <a:lnTo>
                    <a:pt x="137" y="1239"/>
                  </a:lnTo>
                  <a:lnTo>
                    <a:pt x="187" y="1143"/>
                  </a:lnTo>
                  <a:lnTo>
                    <a:pt x="243" y="1048"/>
                  </a:lnTo>
                  <a:lnTo>
                    <a:pt x="300" y="959"/>
                  </a:lnTo>
                  <a:lnTo>
                    <a:pt x="358" y="874"/>
                  </a:lnTo>
                  <a:lnTo>
                    <a:pt x="418" y="795"/>
                  </a:lnTo>
                  <a:lnTo>
                    <a:pt x="478" y="721"/>
                  </a:lnTo>
                  <a:lnTo>
                    <a:pt x="538" y="651"/>
                  </a:lnTo>
                  <a:lnTo>
                    <a:pt x="599" y="587"/>
                  </a:lnTo>
                  <a:lnTo>
                    <a:pt x="659" y="526"/>
                  </a:lnTo>
                  <a:lnTo>
                    <a:pt x="720" y="470"/>
                  </a:lnTo>
                  <a:lnTo>
                    <a:pt x="780" y="418"/>
                  </a:lnTo>
                  <a:lnTo>
                    <a:pt x="840" y="369"/>
                  </a:lnTo>
                  <a:lnTo>
                    <a:pt x="899" y="325"/>
                  </a:lnTo>
                  <a:lnTo>
                    <a:pt x="957" y="285"/>
                  </a:lnTo>
                  <a:lnTo>
                    <a:pt x="1014" y="247"/>
                  </a:lnTo>
                  <a:lnTo>
                    <a:pt x="1070" y="213"/>
                  </a:lnTo>
                  <a:lnTo>
                    <a:pt x="1124" y="182"/>
                  </a:lnTo>
                  <a:lnTo>
                    <a:pt x="1177" y="155"/>
                  </a:lnTo>
                  <a:lnTo>
                    <a:pt x="1227" y="130"/>
                  </a:lnTo>
                  <a:lnTo>
                    <a:pt x="1275" y="107"/>
                  </a:lnTo>
                  <a:lnTo>
                    <a:pt x="1322" y="88"/>
                  </a:lnTo>
                  <a:lnTo>
                    <a:pt x="1365" y="70"/>
                  </a:lnTo>
                  <a:lnTo>
                    <a:pt x="1406" y="56"/>
                  </a:lnTo>
                  <a:lnTo>
                    <a:pt x="1444" y="43"/>
                  </a:lnTo>
                  <a:lnTo>
                    <a:pt x="1479" y="32"/>
                  </a:lnTo>
                  <a:lnTo>
                    <a:pt x="1510" y="24"/>
                  </a:lnTo>
                  <a:lnTo>
                    <a:pt x="1538" y="16"/>
                  </a:lnTo>
                  <a:lnTo>
                    <a:pt x="1562" y="11"/>
                  </a:lnTo>
                  <a:lnTo>
                    <a:pt x="1583" y="6"/>
                  </a:lnTo>
                  <a:lnTo>
                    <a:pt x="1611" y="1"/>
                  </a:lnTo>
                  <a:lnTo>
                    <a:pt x="1620" y="0"/>
                  </a:lnTo>
                  <a:lnTo>
                    <a:pt x="1616" y="8"/>
                  </a:lnTo>
                  <a:lnTo>
                    <a:pt x="1604" y="30"/>
                  </a:lnTo>
                  <a:lnTo>
                    <a:pt x="1588" y="66"/>
                  </a:lnTo>
                  <a:lnTo>
                    <a:pt x="1567" y="114"/>
                  </a:lnTo>
                  <a:lnTo>
                    <a:pt x="1555" y="143"/>
                  </a:lnTo>
                  <a:lnTo>
                    <a:pt x="1543" y="174"/>
                  </a:lnTo>
                  <a:lnTo>
                    <a:pt x="1530" y="208"/>
                  </a:lnTo>
                  <a:lnTo>
                    <a:pt x="1517" y="243"/>
                  </a:lnTo>
                  <a:lnTo>
                    <a:pt x="1504" y="282"/>
                  </a:lnTo>
                  <a:lnTo>
                    <a:pt x="1491" y="324"/>
                  </a:lnTo>
                  <a:lnTo>
                    <a:pt x="1478" y="367"/>
                  </a:lnTo>
                  <a:lnTo>
                    <a:pt x="1466" y="411"/>
                  </a:lnTo>
                  <a:lnTo>
                    <a:pt x="1455" y="458"/>
                  </a:lnTo>
                  <a:lnTo>
                    <a:pt x="1444" y="506"/>
                  </a:lnTo>
                  <a:lnTo>
                    <a:pt x="1434" y="556"/>
                  </a:lnTo>
                  <a:lnTo>
                    <a:pt x="1426" y="608"/>
                  </a:lnTo>
                  <a:lnTo>
                    <a:pt x="1418" y="660"/>
                  </a:lnTo>
                  <a:lnTo>
                    <a:pt x="1413" y="714"/>
                  </a:lnTo>
                  <a:lnTo>
                    <a:pt x="1408" y="769"/>
                  </a:lnTo>
                  <a:lnTo>
                    <a:pt x="1406" y="825"/>
                  </a:lnTo>
                  <a:lnTo>
                    <a:pt x="1406" y="881"/>
                  </a:lnTo>
                  <a:lnTo>
                    <a:pt x="1407" y="938"/>
                  </a:lnTo>
                  <a:lnTo>
                    <a:pt x="1412" y="997"/>
                  </a:lnTo>
                  <a:lnTo>
                    <a:pt x="1419" y="1054"/>
                  </a:lnTo>
                  <a:lnTo>
                    <a:pt x="1429" y="1113"/>
                  </a:lnTo>
                  <a:lnTo>
                    <a:pt x="1441" y="1171"/>
                  </a:lnTo>
                  <a:lnTo>
                    <a:pt x="1456" y="1229"/>
                  </a:lnTo>
                  <a:lnTo>
                    <a:pt x="1476" y="1288"/>
                  </a:lnTo>
                  <a:lnTo>
                    <a:pt x="1515" y="1398"/>
                  </a:lnTo>
                  <a:lnTo>
                    <a:pt x="1551" y="1501"/>
                  </a:lnTo>
                  <a:lnTo>
                    <a:pt x="1585" y="1595"/>
                  </a:lnTo>
                  <a:lnTo>
                    <a:pt x="1614" y="1682"/>
                  </a:lnTo>
                  <a:lnTo>
                    <a:pt x="1628" y="1723"/>
                  </a:lnTo>
                  <a:lnTo>
                    <a:pt x="1640" y="1763"/>
                  </a:lnTo>
                  <a:lnTo>
                    <a:pt x="1651" y="1802"/>
                  </a:lnTo>
                  <a:lnTo>
                    <a:pt x="1662" y="1840"/>
                  </a:lnTo>
                  <a:lnTo>
                    <a:pt x="1670" y="1877"/>
                  </a:lnTo>
                  <a:lnTo>
                    <a:pt x="1678" y="1912"/>
                  </a:lnTo>
                  <a:lnTo>
                    <a:pt x="1684" y="1948"/>
                  </a:lnTo>
                  <a:lnTo>
                    <a:pt x="1690" y="1983"/>
                  </a:lnTo>
                  <a:lnTo>
                    <a:pt x="1693" y="2017"/>
                  </a:lnTo>
                  <a:lnTo>
                    <a:pt x="1695" y="2051"/>
                  </a:lnTo>
                  <a:lnTo>
                    <a:pt x="1696" y="2084"/>
                  </a:lnTo>
                  <a:lnTo>
                    <a:pt x="1695" y="2119"/>
                  </a:lnTo>
                  <a:lnTo>
                    <a:pt x="1693" y="2153"/>
                  </a:lnTo>
                  <a:lnTo>
                    <a:pt x="1689" y="2187"/>
                  </a:lnTo>
                  <a:lnTo>
                    <a:pt x="1683" y="2222"/>
                  </a:lnTo>
                  <a:lnTo>
                    <a:pt x="1676" y="2258"/>
                  </a:lnTo>
                  <a:lnTo>
                    <a:pt x="1666" y="2293"/>
                  </a:lnTo>
                  <a:lnTo>
                    <a:pt x="1655" y="2330"/>
                  </a:lnTo>
                  <a:lnTo>
                    <a:pt x="1642" y="2368"/>
                  </a:lnTo>
                  <a:lnTo>
                    <a:pt x="1627" y="2407"/>
                  </a:lnTo>
                  <a:lnTo>
                    <a:pt x="1611" y="2447"/>
                  </a:lnTo>
                  <a:lnTo>
                    <a:pt x="1591" y="2488"/>
                  </a:lnTo>
                  <a:lnTo>
                    <a:pt x="1571" y="2530"/>
                  </a:lnTo>
                  <a:lnTo>
                    <a:pt x="1547" y="2575"/>
                  </a:lnTo>
                  <a:lnTo>
                    <a:pt x="1522" y="2619"/>
                  </a:lnTo>
                  <a:lnTo>
                    <a:pt x="1494" y="2659"/>
                  </a:lnTo>
                  <a:lnTo>
                    <a:pt x="1464" y="2698"/>
                  </a:lnTo>
                  <a:lnTo>
                    <a:pt x="1432" y="2733"/>
                  </a:lnTo>
                  <a:lnTo>
                    <a:pt x="1398" y="2765"/>
                  </a:lnTo>
                  <a:lnTo>
                    <a:pt x="1362" y="2795"/>
                  </a:lnTo>
                  <a:lnTo>
                    <a:pt x="1325" y="2824"/>
                  </a:lnTo>
                  <a:lnTo>
                    <a:pt x="1287" y="2849"/>
                  </a:lnTo>
                  <a:lnTo>
                    <a:pt x="1248" y="2872"/>
                  </a:lnTo>
                  <a:lnTo>
                    <a:pt x="1208" y="2894"/>
                  </a:lnTo>
                  <a:lnTo>
                    <a:pt x="1168" y="2912"/>
                  </a:lnTo>
                  <a:lnTo>
                    <a:pt x="1127" y="2930"/>
                  </a:lnTo>
                  <a:lnTo>
                    <a:pt x="1086" y="2945"/>
                  </a:lnTo>
                  <a:lnTo>
                    <a:pt x="1046" y="2959"/>
                  </a:lnTo>
                  <a:lnTo>
                    <a:pt x="1005" y="2971"/>
                  </a:lnTo>
                  <a:lnTo>
                    <a:pt x="966" y="2982"/>
                  </a:lnTo>
                  <a:lnTo>
                    <a:pt x="927" y="2990"/>
                  </a:lnTo>
                  <a:lnTo>
                    <a:pt x="888" y="2998"/>
                  </a:lnTo>
                  <a:lnTo>
                    <a:pt x="851" y="3004"/>
                  </a:lnTo>
                  <a:lnTo>
                    <a:pt x="815" y="3010"/>
                  </a:lnTo>
                  <a:lnTo>
                    <a:pt x="782" y="3015"/>
                  </a:lnTo>
                  <a:lnTo>
                    <a:pt x="750" y="3018"/>
                  </a:lnTo>
                  <a:lnTo>
                    <a:pt x="720" y="3020"/>
                  </a:lnTo>
                  <a:lnTo>
                    <a:pt x="692" y="3023"/>
                  </a:lnTo>
                  <a:lnTo>
                    <a:pt x="644" y="3025"/>
                  </a:lnTo>
                  <a:lnTo>
                    <a:pt x="607" y="3026"/>
                  </a:lnTo>
                  <a:lnTo>
                    <a:pt x="585" y="3026"/>
                  </a:lnTo>
                  <a:lnTo>
                    <a:pt x="576" y="3025"/>
                  </a:lnTo>
                  <a:close/>
                </a:path>
              </a:pathLst>
            </a:custGeom>
            <a:solidFill>
              <a:schemeClr val="accent5"/>
            </a:solidFill>
            <a:ln>
              <a:noFill/>
            </a:ln>
            <a:effectLst>
              <a:outerShdw blurRad="444500" dist="190500" dir="2700000" sx="95000" sy="95000" algn="tl" rotWithShape="0">
                <a:prstClr val="black">
                  <a:alpha val="23000"/>
                </a:prstClr>
              </a:outerShdw>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2" name="Freeform 9">
              <a:extLst>
                <a:ext uri="{FF2B5EF4-FFF2-40B4-BE49-F238E27FC236}">
                  <a16:creationId xmlns:a16="http://schemas.microsoft.com/office/drawing/2014/main" id="{DE50899E-79A8-47D4-A8C1-DFCC385D5114}"/>
                </a:ext>
              </a:extLst>
            </p:cNvPr>
            <p:cNvSpPr>
              <a:spLocks/>
            </p:cNvSpPr>
            <p:nvPr/>
          </p:nvSpPr>
          <p:spPr bwMode="auto">
            <a:xfrm rot="5400000" flipH="1" flipV="1">
              <a:off x="1739226" y="4816957"/>
              <a:ext cx="901328" cy="1607083"/>
            </a:xfrm>
            <a:custGeom>
              <a:avLst/>
              <a:gdLst>
                <a:gd name="T0" fmla="*/ 536 w 1696"/>
                <a:gd name="T1" fmla="*/ 2987 h 3026"/>
                <a:gd name="T2" fmla="*/ 462 w 1696"/>
                <a:gd name="T3" fmla="*/ 2911 h 3026"/>
                <a:gd name="T4" fmla="*/ 368 w 1696"/>
                <a:gd name="T5" fmla="*/ 2798 h 3026"/>
                <a:gd name="T6" fmla="*/ 263 w 1696"/>
                <a:gd name="T7" fmla="*/ 2650 h 3026"/>
                <a:gd name="T8" fmla="*/ 161 w 1696"/>
                <a:gd name="T9" fmla="*/ 2473 h 3026"/>
                <a:gd name="T10" fmla="*/ 76 w 1696"/>
                <a:gd name="T11" fmla="*/ 2268 h 3026"/>
                <a:gd name="T12" fmla="*/ 17 w 1696"/>
                <a:gd name="T13" fmla="*/ 2039 h 3026"/>
                <a:gd name="T14" fmla="*/ 0 w 1696"/>
                <a:gd name="T15" fmla="*/ 1789 h 3026"/>
                <a:gd name="T16" fmla="*/ 36 w 1696"/>
                <a:gd name="T17" fmla="*/ 1522 h 3026"/>
                <a:gd name="T18" fmla="*/ 137 w 1696"/>
                <a:gd name="T19" fmla="*/ 1239 h 3026"/>
                <a:gd name="T20" fmla="*/ 300 w 1696"/>
                <a:gd name="T21" fmla="*/ 959 h 3026"/>
                <a:gd name="T22" fmla="*/ 478 w 1696"/>
                <a:gd name="T23" fmla="*/ 721 h 3026"/>
                <a:gd name="T24" fmla="*/ 659 w 1696"/>
                <a:gd name="T25" fmla="*/ 526 h 3026"/>
                <a:gd name="T26" fmla="*/ 840 w 1696"/>
                <a:gd name="T27" fmla="*/ 369 h 3026"/>
                <a:gd name="T28" fmla="*/ 1014 w 1696"/>
                <a:gd name="T29" fmla="*/ 247 h 3026"/>
                <a:gd name="T30" fmla="*/ 1177 w 1696"/>
                <a:gd name="T31" fmla="*/ 155 h 3026"/>
                <a:gd name="T32" fmla="*/ 1322 w 1696"/>
                <a:gd name="T33" fmla="*/ 88 h 3026"/>
                <a:gd name="T34" fmla="*/ 1444 w 1696"/>
                <a:gd name="T35" fmla="*/ 43 h 3026"/>
                <a:gd name="T36" fmla="*/ 1538 w 1696"/>
                <a:gd name="T37" fmla="*/ 16 h 3026"/>
                <a:gd name="T38" fmla="*/ 1611 w 1696"/>
                <a:gd name="T39" fmla="*/ 1 h 3026"/>
                <a:gd name="T40" fmla="*/ 1604 w 1696"/>
                <a:gd name="T41" fmla="*/ 30 h 3026"/>
                <a:gd name="T42" fmla="*/ 1555 w 1696"/>
                <a:gd name="T43" fmla="*/ 143 h 3026"/>
                <a:gd name="T44" fmla="*/ 1517 w 1696"/>
                <a:gd name="T45" fmla="*/ 243 h 3026"/>
                <a:gd name="T46" fmla="*/ 1478 w 1696"/>
                <a:gd name="T47" fmla="*/ 367 h 3026"/>
                <a:gd name="T48" fmla="*/ 1444 w 1696"/>
                <a:gd name="T49" fmla="*/ 506 h 3026"/>
                <a:gd name="T50" fmla="*/ 1418 w 1696"/>
                <a:gd name="T51" fmla="*/ 660 h 3026"/>
                <a:gd name="T52" fmla="*/ 1406 w 1696"/>
                <a:gd name="T53" fmla="*/ 825 h 3026"/>
                <a:gd name="T54" fmla="*/ 1412 w 1696"/>
                <a:gd name="T55" fmla="*/ 997 h 3026"/>
                <a:gd name="T56" fmla="*/ 1441 w 1696"/>
                <a:gd name="T57" fmla="*/ 1171 h 3026"/>
                <a:gd name="T58" fmla="*/ 1515 w 1696"/>
                <a:gd name="T59" fmla="*/ 1398 h 3026"/>
                <a:gd name="T60" fmla="*/ 1614 w 1696"/>
                <a:gd name="T61" fmla="*/ 1682 h 3026"/>
                <a:gd name="T62" fmla="*/ 1651 w 1696"/>
                <a:gd name="T63" fmla="*/ 1802 h 3026"/>
                <a:gd name="T64" fmla="*/ 1678 w 1696"/>
                <a:gd name="T65" fmla="*/ 1912 h 3026"/>
                <a:gd name="T66" fmla="*/ 1693 w 1696"/>
                <a:gd name="T67" fmla="*/ 2017 h 3026"/>
                <a:gd name="T68" fmla="*/ 1695 w 1696"/>
                <a:gd name="T69" fmla="*/ 2119 h 3026"/>
                <a:gd name="T70" fmla="*/ 1683 w 1696"/>
                <a:gd name="T71" fmla="*/ 2222 h 3026"/>
                <a:gd name="T72" fmla="*/ 1655 w 1696"/>
                <a:gd name="T73" fmla="*/ 2330 h 3026"/>
                <a:gd name="T74" fmla="*/ 1611 w 1696"/>
                <a:gd name="T75" fmla="*/ 2447 h 3026"/>
                <a:gd name="T76" fmla="*/ 1547 w 1696"/>
                <a:gd name="T77" fmla="*/ 2575 h 3026"/>
                <a:gd name="T78" fmla="*/ 1464 w 1696"/>
                <a:gd name="T79" fmla="*/ 2698 h 3026"/>
                <a:gd name="T80" fmla="*/ 1362 w 1696"/>
                <a:gd name="T81" fmla="*/ 2795 h 3026"/>
                <a:gd name="T82" fmla="*/ 1248 w 1696"/>
                <a:gd name="T83" fmla="*/ 2872 h 3026"/>
                <a:gd name="T84" fmla="*/ 1127 w 1696"/>
                <a:gd name="T85" fmla="*/ 2930 h 3026"/>
                <a:gd name="T86" fmla="*/ 1005 w 1696"/>
                <a:gd name="T87" fmla="*/ 2971 h 3026"/>
                <a:gd name="T88" fmla="*/ 888 w 1696"/>
                <a:gd name="T89" fmla="*/ 2998 h 3026"/>
                <a:gd name="T90" fmla="*/ 782 w 1696"/>
                <a:gd name="T91" fmla="*/ 3015 h 3026"/>
                <a:gd name="T92" fmla="*/ 692 w 1696"/>
                <a:gd name="T93" fmla="*/ 3023 h 3026"/>
                <a:gd name="T94" fmla="*/ 585 w 1696"/>
                <a:gd name="T95" fmla="*/ 3026 h 30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696" h="3026">
                  <a:moveTo>
                    <a:pt x="576" y="3025"/>
                  </a:moveTo>
                  <a:lnTo>
                    <a:pt x="565" y="3015"/>
                  </a:lnTo>
                  <a:lnTo>
                    <a:pt x="536" y="2987"/>
                  </a:lnTo>
                  <a:lnTo>
                    <a:pt x="514" y="2966"/>
                  </a:lnTo>
                  <a:lnTo>
                    <a:pt x="491" y="2940"/>
                  </a:lnTo>
                  <a:lnTo>
                    <a:pt x="462" y="2911"/>
                  </a:lnTo>
                  <a:lnTo>
                    <a:pt x="433" y="2878"/>
                  </a:lnTo>
                  <a:lnTo>
                    <a:pt x="401" y="2840"/>
                  </a:lnTo>
                  <a:lnTo>
                    <a:pt x="368" y="2798"/>
                  </a:lnTo>
                  <a:lnTo>
                    <a:pt x="334" y="2752"/>
                  </a:lnTo>
                  <a:lnTo>
                    <a:pt x="299" y="2703"/>
                  </a:lnTo>
                  <a:lnTo>
                    <a:pt x="263" y="2650"/>
                  </a:lnTo>
                  <a:lnTo>
                    <a:pt x="229" y="2595"/>
                  </a:lnTo>
                  <a:lnTo>
                    <a:pt x="194" y="2536"/>
                  </a:lnTo>
                  <a:lnTo>
                    <a:pt x="161" y="2473"/>
                  </a:lnTo>
                  <a:lnTo>
                    <a:pt x="130" y="2408"/>
                  </a:lnTo>
                  <a:lnTo>
                    <a:pt x="102" y="2340"/>
                  </a:lnTo>
                  <a:lnTo>
                    <a:pt x="76" y="2268"/>
                  </a:lnTo>
                  <a:lnTo>
                    <a:pt x="52" y="2195"/>
                  </a:lnTo>
                  <a:lnTo>
                    <a:pt x="33" y="2118"/>
                  </a:lnTo>
                  <a:lnTo>
                    <a:pt x="17" y="2039"/>
                  </a:lnTo>
                  <a:lnTo>
                    <a:pt x="7" y="1958"/>
                  </a:lnTo>
                  <a:lnTo>
                    <a:pt x="0" y="1874"/>
                  </a:lnTo>
                  <a:lnTo>
                    <a:pt x="0" y="1789"/>
                  </a:lnTo>
                  <a:lnTo>
                    <a:pt x="6" y="1702"/>
                  </a:lnTo>
                  <a:lnTo>
                    <a:pt x="16" y="1613"/>
                  </a:lnTo>
                  <a:lnTo>
                    <a:pt x="36" y="1522"/>
                  </a:lnTo>
                  <a:lnTo>
                    <a:pt x="61" y="1429"/>
                  </a:lnTo>
                  <a:lnTo>
                    <a:pt x="95" y="1334"/>
                  </a:lnTo>
                  <a:lnTo>
                    <a:pt x="137" y="1239"/>
                  </a:lnTo>
                  <a:lnTo>
                    <a:pt x="187" y="1143"/>
                  </a:lnTo>
                  <a:lnTo>
                    <a:pt x="243" y="1048"/>
                  </a:lnTo>
                  <a:lnTo>
                    <a:pt x="300" y="959"/>
                  </a:lnTo>
                  <a:lnTo>
                    <a:pt x="358" y="874"/>
                  </a:lnTo>
                  <a:lnTo>
                    <a:pt x="418" y="795"/>
                  </a:lnTo>
                  <a:lnTo>
                    <a:pt x="478" y="721"/>
                  </a:lnTo>
                  <a:lnTo>
                    <a:pt x="538" y="651"/>
                  </a:lnTo>
                  <a:lnTo>
                    <a:pt x="599" y="587"/>
                  </a:lnTo>
                  <a:lnTo>
                    <a:pt x="659" y="526"/>
                  </a:lnTo>
                  <a:lnTo>
                    <a:pt x="720" y="470"/>
                  </a:lnTo>
                  <a:lnTo>
                    <a:pt x="780" y="418"/>
                  </a:lnTo>
                  <a:lnTo>
                    <a:pt x="840" y="369"/>
                  </a:lnTo>
                  <a:lnTo>
                    <a:pt x="899" y="325"/>
                  </a:lnTo>
                  <a:lnTo>
                    <a:pt x="957" y="285"/>
                  </a:lnTo>
                  <a:lnTo>
                    <a:pt x="1014" y="247"/>
                  </a:lnTo>
                  <a:lnTo>
                    <a:pt x="1070" y="213"/>
                  </a:lnTo>
                  <a:lnTo>
                    <a:pt x="1124" y="182"/>
                  </a:lnTo>
                  <a:lnTo>
                    <a:pt x="1177" y="155"/>
                  </a:lnTo>
                  <a:lnTo>
                    <a:pt x="1227" y="130"/>
                  </a:lnTo>
                  <a:lnTo>
                    <a:pt x="1275" y="107"/>
                  </a:lnTo>
                  <a:lnTo>
                    <a:pt x="1322" y="88"/>
                  </a:lnTo>
                  <a:lnTo>
                    <a:pt x="1365" y="70"/>
                  </a:lnTo>
                  <a:lnTo>
                    <a:pt x="1406" y="56"/>
                  </a:lnTo>
                  <a:lnTo>
                    <a:pt x="1444" y="43"/>
                  </a:lnTo>
                  <a:lnTo>
                    <a:pt x="1479" y="32"/>
                  </a:lnTo>
                  <a:lnTo>
                    <a:pt x="1510" y="24"/>
                  </a:lnTo>
                  <a:lnTo>
                    <a:pt x="1538" y="16"/>
                  </a:lnTo>
                  <a:lnTo>
                    <a:pt x="1562" y="11"/>
                  </a:lnTo>
                  <a:lnTo>
                    <a:pt x="1583" y="6"/>
                  </a:lnTo>
                  <a:lnTo>
                    <a:pt x="1611" y="1"/>
                  </a:lnTo>
                  <a:lnTo>
                    <a:pt x="1620" y="0"/>
                  </a:lnTo>
                  <a:lnTo>
                    <a:pt x="1616" y="8"/>
                  </a:lnTo>
                  <a:lnTo>
                    <a:pt x="1604" y="30"/>
                  </a:lnTo>
                  <a:lnTo>
                    <a:pt x="1588" y="66"/>
                  </a:lnTo>
                  <a:lnTo>
                    <a:pt x="1567" y="114"/>
                  </a:lnTo>
                  <a:lnTo>
                    <a:pt x="1555" y="143"/>
                  </a:lnTo>
                  <a:lnTo>
                    <a:pt x="1543" y="174"/>
                  </a:lnTo>
                  <a:lnTo>
                    <a:pt x="1530" y="208"/>
                  </a:lnTo>
                  <a:lnTo>
                    <a:pt x="1517" y="243"/>
                  </a:lnTo>
                  <a:lnTo>
                    <a:pt x="1504" y="282"/>
                  </a:lnTo>
                  <a:lnTo>
                    <a:pt x="1491" y="324"/>
                  </a:lnTo>
                  <a:lnTo>
                    <a:pt x="1478" y="367"/>
                  </a:lnTo>
                  <a:lnTo>
                    <a:pt x="1466" y="411"/>
                  </a:lnTo>
                  <a:lnTo>
                    <a:pt x="1455" y="458"/>
                  </a:lnTo>
                  <a:lnTo>
                    <a:pt x="1444" y="506"/>
                  </a:lnTo>
                  <a:lnTo>
                    <a:pt x="1434" y="556"/>
                  </a:lnTo>
                  <a:lnTo>
                    <a:pt x="1426" y="608"/>
                  </a:lnTo>
                  <a:lnTo>
                    <a:pt x="1418" y="660"/>
                  </a:lnTo>
                  <a:lnTo>
                    <a:pt x="1413" y="714"/>
                  </a:lnTo>
                  <a:lnTo>
                    <a:pt x="1408" y="769"/>
                  </a:lnTo>
                  <a:lnTo>
                    <a:pt x="1406" y="825"/>
                  </a:lnTo>
                  <a:lnTo>
                    <a:pt x="1406" y="881"/>
                  </a:lnTo>
                  <a:lnTo>
                    <a:pt x="1407" y="938"/>
                  </a:lnTo>
                  <a:lnTo>
                    <a:pt x="1412" y="997"/>
                  </a:lnTo>
                  <a:lnTo>
                    <a:pt x="1419" y="1054"/>
                  </a:lnTo>
                  <a:lnTo>
                    <a:pt x="1429" y="1113"/>
                  </a:lnTo>
                  <a:lnTo>
                    <a:pt x="1441" y="1171"/>
                  </a:lnTo>
                  <a:lnTo>
                    <a:pt x="1456" y="1229"/>
                  </a:lnTo>
                  <a:lnTo>
                    <a:pt x="1476" y="1288"/>
                  </a:lnTo>
                  <a:lnTo>
                    <a:pt x="1515" y="1398"/>
                  </a:lnTo>
                  <a:lnTo>
                    <a:pt x="1551" y="1501"/>
                  </a:lnTo>
                  <a:lnTo>
                    <a:pt x="1585" y="1595"/>
                  </a:lnTo>
                  <a:lnTo>
                    <a:pt x="1614" y="1682"/>
                  </a:lnTo>
                  <a:lnTo>
                    <a:pt x="1628" y="1723"/>
                  </a:lnTo>
                  <a:lnTo>
                    <a:pt x="1640" y="1763"/>
                  </a:lnTo>
                  <a:lnTo>
                    <a:pt x="1651" y="1802"/>
                  </a:lnTo>
                  <a:lnTo>
                    <a:pt x="1662" y="1840"/>
                  </a:lnTo>
                  <a:lnTo>
                    <a:pt x="1670" y="1877"/>
                  </a:lnTo>
                  <a:lnTo>
                    <a:pt x="1678" y="1912"/>
                  </a:lnTo>
                  <a:lnTo>
                    <a:pt x="1684" y="1948"/>
                  </a:lnTo>
                  <a:lnTo>
                    <a:pt x="1690" y="1983"/>
                  </a:lnTo>
                  <a:lnTo>
                    <a:pt x="1693" y="2017"/>
                  </a:lnTo>
                  <a:lnTo>
                    <a:pt x="1695" y="2051"/>
                  </a:lnTo>
                  <a:lnTo>
                    <a:pt x="1696" y="2084"/>
                  </a:lnTo>
                  <a:lnTo>
                    <a:pt x="1695" y="2119"/>
                  </a:lnTo>
                  <a:lnTo>
                    <a:pt x="1693" y="2153"/>
                  </a:lnTo>
                  <a:lnTo>
                    <a:pt x="1689" y="2187"/>
                  </a:lnTo>
                  <a:lnTo>
                    <a:pt x="1683" y="2222"/>
                  </a:lnTo>
                  <a:lnTo>
                    <a:pt x="1676" y="2258"/>
                  </a:lnTo>
                  <a:lnTo>
                    <a:pt x="1666" y="2293"/>
                  </a:lnTo>
                  <a:lnTo>
                    <a:pt x="1655" y="2330"/>
                  </a:lnTo>
                  <a:lnTo>
                    <a:pt x="1642" y="2368"/>
                  </a:lnTo>
                  <a:lnTo>
                    <a:pt x="1627" y="2407"/>
                  </a:lnTo>
                  <a:lnTo>
                    <a:pt x="1611" y="2447"/>
                  </a:lnTo>
                  <a:lnTo>
                    <a:pt x="1591" y="2488"/>
                  </a:lnTo>
                  <a:lnTo>
                    <a:pt x="1571" y="2530"/>
                  </a:lnTo>
                  <a:lnTo>
                    <a:pt x="1547" y="2575"/>
                  </a:lnTo>
                  <a:lnTo>
                    <a:pt x="1522" y="2619"/>
                  </a:lnTo>
                  <a:lnTo>
                    <a:pt x="1494" y="2659"/>
                  </a:lnTo>
                  <a:lnTo>
                    <a:pt x="1464" y="2698"/>
                  </a:lnTo>
                  <a:lnTo>
                    <a:pt x="1432" y="2733"/>
                  </a:lnTo>
                  <a:lnTo>
                    <a:pt x="1398" y="2765"/>
                  </a:lnTo>
                  <a:lnTo>
                    <a:pt x="1362" y="2795"/>
                  </a:lnTo>
                  <a:lnTo>
                    <a:pt x="1325" y="2824"/>
                  </a:lnTo>
                  <a:lnTo>
                    <a:pt x="1287" y="2849"/>
                  </a:lnTo>
                  <a:lnTo>
                    <a:pt x="1248" y="2872"/>
                  </a:lnTo>
                  <a:lnTo>
                    <a:pt x="1208" y="2894"/>
                  </a:lnTo>
                  <a:lnTo>
                    <a:pt x="1168" y="2912"/>
                  </a:lnTo>
                  <a:lnTo>
                    <a:pt x="1127" y="2930"/>
                  </a:lnTo>
                  <a:lnTo>
                    <a:pt x="1086" y="2945"/>
                  </a:lnTo>
                  <a:lnTo>
                    <a:pt x="1046" y="2959"/>
                  </a:lnTo>
                  <a:lnTo>
                    <a:pt x="1005" y="2971"/>
                  </a:lnTo>
                  <a:lnTo>
                    <a:pt x="966" y="2982"/>
                  </a:lnTo>
                  <a:lnTo>
                    <a:pt x="927" y="2990"/>
                  </a:lnTo>
                  <a:lnTo>
                    <a:pt x="888" y="2998"/>
                  </a:lnTo>
                  <a:lnTo>
                    <a:pt x="851" y="3004"/>
                  </a:lnTo>
                  <a:lnTo>
                    <a:pt x="815" y="3010"/>
                  </a:lnTo>
                  <a:lnTo>
                    <a:pt x="782" y="3015"/>
                  </a:lnTo>
                  <a:lnTo>
                    <a:pt x="750" y="3018"/>
                  </a:lnTo>
                  <a:lnTo>
                    <a:pt x="720" y="3020"/>
                  </a:lnTo>
                  <a:lnTo>
                    <a:pt x="692" y="3023"/>
                  </a:lnTo>
                  <a:lnTo>
                    <a:pt x="644" y="3025"/>
                  </a:lnTo>
                  <a:lnTo>
                    <a:pt x="607" y="3026"/>
                  </a:lnTo>
                  <a:lnTo>
                    <a:pt x="585" y="3026"/>
                  </a:lnTo>
                  <a:lnTo>
                    <a:pt x="576" y="3025"/>
                  </a:lnTo>
                  <a:close/>
                </a:path>
              </a:pathLst>
            </a:custGeom>
            <a:solidFill>
              <a:schemeClr val="accent2"/>
            </a:solidFill>
            <a:ln>
              <a:noFill/>
            </a:ln>
            <a:effectLst>
              <a:outerShdw blurRad="444500" dist="190500" dir="2700000" sx="95000" sy="95000" algn="tl" rotWithShape="0">
                <a:prstClr val="black">
                  <a:alpha val="23000"/>
                </a:prstClr>
              </a:outerShdw>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grpSp>
        <p:nvGrpSpPr>
          <p:cNvPr id="13" name="Graphic 2">
            <a:extLst>
              <a:ext uri="{FF2B5EF4-FFF2-40B4-BE49-F238E27FC236}">
                <a16:creationId xmlns:a16="http://schemas.microsoft.com/office/drawing/2014/main" id="{8EF6BA76-E8FB-4598-85B8-D10F893695D8}"/>
              </a:ext>
            </a:extLst>
          </p:cNvPr>
          <p:cNvGrpSpPr/>
          <p:nvPr/>
        </p:nvGrpSpPr>
        <p:grpSpPr>
          <a:xfrm>
            <a:off x="5829615" y="3105386"/>
            <a:ext cx="384202" cy="353434"/>
            <a:chOff x="9803562" y="1740892"/>
            <a:chExt cx="419725" cy="386114"/>
          </a:xfrm>
          <a:solidFill>
            <a:schemeClr val="bg1"/>
          </a:solidFill>
        </p:grpSpPr>
        <p:sp>
          <p:nvSpPr>
            <p:cNvPr id="14" name="Freeform: Shape 140">
              <a:extLst>
                <a:ext uri="{FF2B5EF4-FFF2-40B4-BE49-F238E27FC236}">
                  <a16:creationId xmlns:a16="http://schemas.microsoft.com/office/drawing/2014/main" id="{F38C5496-7186-427A-8A03-96C6ADA00B88}"/>
                </a:ext>
              </a:extLst>
            </p:cNvPr>
            <p:cNvSpPr/>
            <p:nvPr/>
          </p:nvSpPr>
          <p:spPr>
            <a:xfrm>
              <a:off x="9901181" y="1823910"/>
              <a:ext cx="26233" cy="26233"/>
            </a:xfrm>
            <a:custGeom>
              <a:avLst/>
              <a:gdLst>
                <a:gd name="connsiteX0" fmla="*/ 13461 w 26232"/>
                <a:gd name="connsiteY0" fmla="*/ 26913 h 26232"/>
                <a:gd name="connsiteX1" fmla="*/ 26921 w 26232"/>
                <a:gd name="connsiteY1" fmla="*/ 13453 h 26232"/>
                <a:gd name="connsiteX2" fmla="*/ 13461 w 26232"/>
                <a:gd name="connsiteY2" fmla="*/ 0 h 26232"/>
                <a:gd name="connsiteX3" fmla="*/ 0 w 26232"/>
                <a:gd name="connsiteY3" fmla="*/ 13453 h 26232"/>
                <a:gd name="connsiteX4" fmla="*/ 13461 w 26232"/>
                <a:gd name="connsiteY4" fmla="*/ 26913 h 262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32" h="26232">
                  <a:moveTo>
                    <a:pt x="13461" y="26913"/>
                  </a:moveTo>
                  <a:cubicBezTo>
                    <a:pt x="20880" y="26913"/>
                    <a:pt x="26921" y="20880"/>
                    <a:pt x="26921" y="13453"/>
                  </a:cubicBezTo>
                  <a:cubicBezTo>
                    <a:pt x="26921" y="6034"/>
                    <a:pt x="20880" y="0"/>
                    <a:pt x="13461" y="0"/>
                  </a:cubicBezTo>
                  <a:cubicBezTo>
                    <a:pt x="6042" y="0"/>
                    <a:pt x="0" y="6034"/>
                    <a:pt x="0" y="13453"/>
                  </a:cubicBezTo>
                  <a:cubicBezTo>
                    <a:pt x="0" y="20880"/>
                    <a:pt x="6042" y="26913"/>
                    <a:pt x="13461" y="26913"/>
                  </a:cubicBezTo>
                  <a:close/>
                </a:path>
              </a:pathLst>
            </a:custGeom>
            <a:grpFill/>
            <a:ln w="81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5" name="Freeform: Shape 141">
              <a:extLst>
                <a:ext uri="{FF2B5EF4-FFF2-40B4-BE49-F238E27FC236}">
                  <a16:creationId xmlns:a16="http://schemas.microsoft.com/office/drawing/2014/main" id="{233DBDCC-80D5-438F-9C4D-FA0A29D3E624}"/>
                </a:ext>
              </a:extLst>
            </p:cNvPr>
            <p:cNvSpPr/>
            <p:nvPr/>
          </p:nvSpPr>
          <p:spPr>
            <a:xfrm>
              <a:off x="9883252" y="1875417"/>
              <a:ext cx="62303" cy="28692"/>
            </a:xfrm>
            <a:custGeom>
              <a:avLst/>
              <a:gdLst>
                <a:gd name="connsiteX0" fmla="*/ 31389 w 62302"/>
                <a:gd name="connsiteY0" fmla="*/ 0 h 28692"/>
                <a:gd name="connsiteX1" fmla="*/ 0 w 62302"/>
                <a:gd name="connsiteY1" fmla="*/ 28774 h 28692"/>
                <a:gd name="connsiteX2" fmla="*/ 62778 w 62302"/>
                <a:gd name="connsiteY2" fmla="*/ 28774 h 28692"/>
                <a:gd name="connsiteX3" fmla="*/ 31389 w 62302"/>
                <a:gd name="connsiteY3" fmla="*/ 0 h 28692"/>
              </a:gdLst>
              <a:ahLst/>
              <a:cxnLst>
                <a:cxn ang="0">
                  <a:pos x="connsiteX0" y="connsiteY0"/>
                </a:cxn>
                <a:cxn ang="0">
                  <a:pos x="connsiteX1" y="connsiteY1"/>
                </a:cxn>
                <a:cxn ang="0">
                  <a:pos x="connsiteX2" y="connsiteY2"/>
                </a:cxn>
                <a:cxn ang="0">
                  <a:pos x="connsiteX3" y="connsiteY3"/>
                </a:cxn>
              </a:cxnLst>
              <a:rect l="l" t="t" r="r" b="b"/>
              <a:pathLst>
                <a:path w="62302" h="28692">
                  <a:moveTo>
                    <a:pt x="31389" y="0"/>
                  </a:moveTo>
                  <a:cubicBezTo>
                    <a:pt x="14936" y="0"/>
                    <a:pt x="1394" y="12674"/>
                    <a:pt x="0" y="28774"/>
                  </a:cubicBezTo>
                  <a:lnTo>
                    <a:pt x="62778" y="28774"/>
                  </a:lnTo>
                  <a:cubicBezTo>
                    <a:pt x="61385" y="12674"/>
                    <a:pt x="47842" y="0"/>
                    <a:pt x="31389" y="0"/>
                  </a:cubicBezTo>
                  <a:close/>
                </a:path>
              </a:pathLst>
            </a:custGeom>
            <a:grpFill/>
            <a:ln w="81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6" name="Freeform: Shape 142">
              <a:extLst>
                <a:ext uri="{FF2B5EF4-FFF2-40B4-BE49-F238E27FC236}">
                  <a16:creationId xmlns:a16="http://schemas.microsoft.com/office/drawing/2014/main" id="{E9C8C722-835D-4520-9E1A-B460F904AAEE}"/>
                </a:ext>
              </a:extLst>
            </p:cNvPr>
            <p:cNvSpPr/>
            <p:nvPr/>
          </p:nvSpPr>
          <p:spPr>
            <a:xfrm>
              <a:off x="9803562" y="1740892"/>
              <a:ext cx="419725" cy="220520"/>
            </a:xfrm>
            <a:custGeom>
              <a:avLst/>
              <a:gdLst>
                <a:gd name="connsiteX0" fmla="*/ 407428 w 419725"/>
                <a:gd name="connsiteY0" fmla="*/ 0 h 220519"/>
                <a:gd name="connsiteX1" fmla="*/ 12297 w 419725"/>
                <a:gd name="connsiteY1" fmla="*/ 0 h 220519"/>
                <a:gd name="connsiteX2" fmla="*/ 0 w 419725"/>
                <a:gd name="connsiteY2" fmla="*/ 12297 h 220519"/>
                <a:gd name="connsiteX3" fmla="*/ 0 w 419725"/>
                <a:gd name="connsiteY3" fmla="*/ 220938 h 220519"/>
                <a:gd name="connsiteX4" fmla="*/ 419725 w 419725"/>
                <a:gd name="connsiteY4" fmla="*/ 220938 h 220519"/>
                <a:gd name="connsiteX5" fmla="*/ 419725 w 419725"/>
                <a:gd name="connsiteY5" fmla="*/ 12297 h 220519"/>
                <a:gd name="connsiteX6" fmla="*/ 407428 w 419725"/>
                <a:gd name="connsiteY6" fmla="*/ 0 h 220519"/>
                <a:gd name="connsiteX7" fmla="*/ 167177 w 419725"/>
                <a:gd name="connsiteY7" fmla="*/ 175596 h 220519"/>
                <a:gd name="connsiteX8" fmla="*/ 154880 w 419725"/>
                <a:gd name="connsiteY8" fmla="*/ 187893 h 220519"/>
                <a:gd name="connsiteX9" fmla="*/ 67279 w 419725"/>
                <a:gd name="connsiteY9" fmla="*/ 187893 h 220519"/>
                <a:gd name="connsiteX10" fmla="*/ 54982 w 419725"/>
                <a:gd name="connsiteY10" fmla="*/ 175596 h 220519"/>
                <a:gd name="connsiteX11" fmla="*/ 54982 w 419725"/>
                <a:gd name="connsiteY11" fmla="*/ 166029 h 220519"/>
                <a:gd name="connsiteX12" fmla="*/ 80469 w 419725"/>
                <a:gd name="connsiteY12" fmla="*/ 119056 h 220519"/>
                <a:gd name="connsiteX13" fmla="*/ 73026 w 419725"/>
                <a:gd name="connsiteY13" fmla="*/ 96471 h 220519"/>
                <a:gd name="connsiteX14" fmla="*/ 111080 w 419725"/>
                <a:gd name="connsiteY14" fmla="*/ 58425 h 220519"/>
                <a:gd name="connsiteX15" fmla="*/ 149134 w 419725"/>
                <a:gd name="connsiteY15" fmla="*/ 96471 h 220519"/>
                <a:gd name="connsiteX16" fmla="*/ 141690 w 419725"/>
                <a:gd name="connsiteY16" fmla="*/ 119056 h 220519"/>
                <a:gd name="connsiteX17" fmla="*/ 167177 w 419725"/>
                <a:gd name="connsiteY17" fmla="*/ 166029 h 220519"/>
                <a:gd name="connsiteX18" fmla="*/ 358242 w 419725"/>
                <a:gd name="connsiteY18" fmla="*/ 183302 h 220519"/>
                <a:gd name="connsiteX19" fmla="*/ 247474 w 419725"/>
                <a:gd name="connsiteY19" fmla="*/ 183302 h 220519"/>
                <a:gd name="connsiteX20" fmla="*/ 235177 w 419725"/>
                <a:gd name="connsiteY20" fmla="*/ 171005 h 220519"/>
                <a:gd name="connsiteX21" fmla="*/ 247474 w 419725"/>
                <a:gd name="connsiteY21" fmla="*/ 158709 h 220519"/>
                <a:gd name="connsiteX22" fmla="*/ 358242 w 419725"/>
                <a:gd name="connsiteY22" fmla="*/ 158709 h 220519"/>
                <a:gd name="connsiteX23" fmla="*/ 370538 w 419725"/>
                <a:gd name="connsiteY23" fmla="*/ 171005 h 220519"/>
                <a:gd name="connsiteX24" fmla="*/ 358242 w 419725"/>
                <a:gd name="connsiteY24" fmla="*/ 183302 h 220519"/>
                <a:gd name="connsiteX25" fmla="*/ 358242 w 419725"/>
                <a:gd name="connsiteY25" fmla="*/ 134115 h 220519"/>
                <a:gd name="connsiteX26" fmla="*/ 247474 w 419725"/>
                <a:gd name="connsiteY26" fmla="*/ 134115 h 220519"/>
                <a:gd name="connsiteX27" fmla="*/ 235177 w 419725"/>
                <a:gd name="connsiteY27" fmla="*/ 121819 h 220519"/>
                <a:gd name="connsiteX28" fmla="*/ 247474 w 419725"/>
                <a:gd name="connsiteY28" fmla="*/ 109522 h 220519"/>
                <a:gd name="connsiteX29" fmla="*/ 358242 w 419725"/>
                <a:gd name="connsiteY29" fmla="*/ 109522 h 220519"/>
                <a:gd name="connsiteX30" fmla="*/ 370538 w 419725"/>
                <a:gd name="connsiteY30" fmla="*/ 121819 h 220519"/>
                <a:gd name="connsiteX31" fmla="*/ 358242 w 419725"/>
                <a:gd name="connsiteY31" fmla="*/ 134115 h 220519"/>
                <a:gd name="connsiteX32" fmla="*/ 358242 w 419725"/>
                <a:gd name="connsiteY32" fmla="*/ 84929 h 220519"/>
                <a:gd name="connsiteX33" fmla="*/ 247474 w 419725"/>
                <a:gd name="connsiteY33" fmla="*/ 84929 h 220519"/>
                <a:gd name="connsiteX34" fmla="*/ 235177 w 419725"/>
                <a:gd name="connsiteY34" fmla="*/ 72632 h 220519"/>
                <a:gd name="connsiteX35" fmla="*/ 247474 w 419725"/>
                <a:gd name="connsiteY35" fmla="*/ 60335 h 220519"/>
                <a:gd name="connsiteX36" fmla="*/ 358242 w 419725"/>
                <a:gd name="connsiteY36" fmla="*/ 60335 h 220519"/>
                <a:gd name="connsiteX37" fmla="*/ 370538 w 419725"/>
                <a:gd name="connsiteY37" fmla="*/ 72632 h 220519"/>
                <a:gd name="connsiteX38" fmla="*/ 358242 w 419725"/>
                <a:gd name="connsiteY38" fmla="*/ 84929 h 2205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19725" h="220519">
                  <a:moveTo>
                    <a:pt x="407428" y="0"/>
                  </a:moveTo>
                  <a:lnTo>
                    <a:pt x="12297" y="0"/>
                  </a:lnTo>
                  <a:cubicBezTo>
                    <a:pt x="5509" y="0"/>
                    <a:pt x="0" y="5509"/>
                    <a:pt x="0" y="12297"/>
                  </a:cubicBezTo>
                  <a:lnTo>
                    <a:pt x="0" y="220938"/>
                  </a:lnTo>
                  <a:lnTo>
                    <a:pt x="419725" y="220938"/>
                  </a:lnTo>
                  <a:lnTo>
                    <a:pt x="419725" y="12297"/>
                  </a:lnTo>
                  <a:cubicBezTo>
                    <a:pt x="419725" y="5509"/>
                    <a:pt x="414216" y="0"/>
                    <a:pt x="407428" y="0"/>
                  </a:cubicBezTo>
                  <a:close/>
                  <a:moveTo>
                    <a:pt x="167177" y="175596"/>
                  </a:moveTo>
                  <a:cubicBezTo>
                    <a:pt x="167177" y="182384"/>
                    <a:pt x="161676" y="187893"/>
                    <a:pt x="154880" y="187893"/>
                  </a:cubicBezTo>
                  <a:lnTo>
                    <a:pt x="67279" y="187893"/>
                  </a:lnTo>
                  <a:cubicBezTo>
                    <a:pt x="60483" y="187893"/>
                    <a:pt x="54982" y="182384"/>
                    <a:pt x="54982" y="175596"/>
                  </a:cubicBezTo>
                  <a:lnTo>
                    <a:pt x="54982" y="166029"/>
                  </a:lnTo>
                  <a:cubicBezTo>
                    <a:pt x="54982" y="146387"/>
                    <a:pt x="65131" y="129065"/>
                    <a:pt x="80469" y="119056"/>
                  </a:cubicBezTo>
                  <a:cubicBezTo>
                    <a:pt x="75796" y="112736"/>
                    <a:pt x="73026" y="104923"/>
                    <a:pt x="73026" y="96471"/>
                  </a:cubicBezTo>
                  <a:cubicBezTo>
                    <a:pt x="73026" y="75493"/>
                    <a:pt x="90102" y="58425"/>
                    <a:pt x="111080" y="58425"/>
                  </a:cubicBezTo>
                  <a:cubicBezTo>
                    <a:pt x="132058" y="58425"/>
                    <a:pt x="149134" y="75493"/>
                    <a:pt x="149134" y="96471"/>
                  </a:cubicBezTo>
                  <a:cubicBezTo>
                    <a:pt x="149134" y="104923"/>
                    <a:pt x="146363" y="112736"/>
                    <a:pt x="141690" y="119056"/>
                  </a:cubicBezTo>
                  <a:cubicBezTo>
                    <a:pt x="157028" y="129065"/>
                    <a:pt x="167177" y="146387"/>
                    <a:pt x="167177" y="166029"/>
                  </a:cubicBezTo>
                  <a:close/>
                  <a:moveTo>
                    <a:pt x="358242" y="183302"/>
                  </a:moveTo>
                  <a:lnTo>
                    <a:pt x="247474" y="183302"/>
                  </a:lnTo>
                  <a:cubicBezTo>
                    <a:pt x="240678" y="183302"/>
                    <a:pt x="235177" y="177793"/>
                    <a:pt x="235177" y="171005"/>
                  </a:cubicBezTo>
                  <a:cubicBezTo>
                    <a:pt x="235177" y="164209"/>
                    <a:pt x="240678" y="158709"/>
                    <a:pt x="247474" y="158709"/>
                  </a:cubicBezTo>
                  <a:lnTo>
                    <a:pt x="358242" y="158709"/>
                  </a:lnTo>
                  <a:cubicBezTo>
                    <a:pt x="365030" y="158709"/>
                    <a:pt x="370538" y="164209"/>
                    <a:pt x="370538" y="171005"/>
                  </a:cubicBezTo>
                  <a:cubicBezTo>
                    <a:pt x="370538" y="177793"/>
                    <a:pt x="365030" y="183302"/>
                    <a:pt x="358242" y="183302"/>
                  </a:cubicBezTo>
                  <a:close/>
                  <a:moveTo>
                    <a:pt x="358242" y="134115"/>
                  </a:moveTo>
                  <a:lnTo>
                    <a:pt x="247474" y="134115"/>
                  </a:lnTo>
                  <a:cubicBezTo>
                    <a:pt x="240678" y="134115"/>
                    <a:pt x="235177" y="128606"/>
                    <a:pt x="235177" y="121819"/>
                  </a:cubicBezTo>
                  <a:cubicBezTo>
                    <a:pt x="235177" y="115023"/>
                    <a:pt x="240678" y="109522"/>
                    <a:pt x="247474" y="109522"/>
                  </a:cubicBezTo>
                  <a:lnTo>
                    <a:pt x="358242" y="109522"/>
                  </a:lnTo>
                  <a:cubicBezTo>
                    <a:pt x="365030" y="109522"/>
                    <a:pt x="370538" y="115023"/>
                    <a:pt x="370538" y="121819"/>
                  </a:cubicBezTo>
                  <a:cubicBezTo>
                    <a:pt x="370538" y="128606"/>
                    <a:pt x="365030" y="134115"/>
                    <a:pt x="358242" y="134115"/>
                  </a:cubicBezTo>
                  <a:close/>
                  <a:moveTo>
                    <a:pt x="358242" y="84929"/>
                  </a:moveTo>
                  <a:lnTo>
                    <a:pt x="247474" y="84929"/>
                  </a:lnTo>
                  <a:cubicBezTo>
                    <a:pt x="240678" y="84929"/>
                    <a:pt x="235177" y="79420"/>
                    <a:pt x="235177" y="72632"/>
                  </a:cubicBezTo>
                  <a:cubicBezTo>
                    <a:pt x="235177" y="65836"/>
                    <a:pt x="240678" y="60335"/>
                    <a:pt x="247474" y="60335"/>
                  </a:cubicBezTo>
                  <a:lnTo>
                    <a:pt x="358242" y="60335"/>
                  </a:lnTo>
                  <a:cubicBezTo>
                    <a:pt x="365030" y="60335"/>
                    <a:pt x="370538" y="65836"/>
                    <a:pt x="370538" y="72632"/>
                  </a:cubicBezTo>
                  <a:cubicBezTo>
                    <a:pt x="370538" y="79420"/>
                    <a:pt x="365030" y="84929"/>
                    <a:pt x="358242" y="84929"/>
                  </a:cubicBezTo>
                  <a:close/>
                </a:path>
              </a:pathLst>
            </a:custGeom>
            <a:grpFill/>
            <a:ln w="81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7" name="Freeform: Shape 143">
              <a:extLst>
                <a:ext uri="{FF2B5EF4-FFF2-40B4-BE49-F238E27FC236}">
                  <a16:creationId xmlns:a16="http://schemas.microsoft.com/office/drawing/2014/main" id="{892993FF-D5A1-468F-8978-AADF239D3F23}"/>
                </a:ext>
              </a:extLst>
            </p:cNvPr>
            <p:cNvSpPr/>
            <p:nvPr/>
          </p:nvSpPr>
          <p:spPr>
            <a:xfrm>
              <a:off x="9803562" y="1986423"/>
              <a:ext cx="419725" cy="141001"/>
            </a:xfrm>
            <a:custGeom>
              <a:avLst/>
              <a:gdLst>
                <a:gd name="connsiteX0" fmla="*/ 0 w 419725"/>
                <a:gd name="connsiteY0" fmla="*/ 30717 h 141001"/>
                <a:gd name="connsiteX1" fmla="*/ 12297 w 419725"/>
                <a:gd name="connsiteY1" fmla="*/ 43014 h 141001"/>
                <a:gd name="connsiteX2" fmla="*/ 180019 w 419725"/>
                <a:gd name="connsiteY2" fmla="*/ 43014 h 141001"/>
                <a:gd name="connsiteX3" fmla="*/ 180019 w 419725"/>
                <a:gd name="connsiteY3" fmla="*/ 92200 h 141001"/>
                <a:gd name="connsiteX4" fmla="*/ 156331 w 419725"/>
                <a:gd name="connsiteY4" fmla="*/ 92200 h 141001"/>
                <a:gd name="connsiteX5" fmla="*/ 115039 w 419725"/>
                <a:gd name="connsiteY5" fmla="*/ 133500 h 141001"/>
                <a:gd name="connsiteX6" fmla="*/ 117351 w 419725"/>
                <a:gd name="connsiteY6" fmla="*/ 139075 h 141001"/>
                <a:gd name="connsiteX7" fmla="*/ 122925 w 419725"/>
                <a:gd name="connsiteY7" fmla="*/ 141387 h 141001"/>
                <a:gd name="connsiteX8" fmla="*/ 296800 w 419725"/>
                <a:gd name="connsiteY8" fmla="*/ 141387 h 141001"/>
                <a:gd name="connsiteX9" fmla="*/ 304686 w 419725"/>
                <a:gd name="connsiteY9" fmla="*/ 133500 h 141001"/>
                <a:gd name="connsiteX10" fmla="*/ 292594 w 419725"/>
                <a:gd name="connsiteY10" fmla="*/ 104292 h 141001"/>
                <a:gd name="connsiteX11" fmla="*/ 263394 w 419725"/>
                <a:gd name="connsiteY11" fmla="*/ 92200 h 141001"/>
                <a:gd name="connsiteX12" fmla="*/ 239706 w 419725"/>
                <a:gd name="connsiteY12" fmla="*/ 92200 h 141001"/>
                <a:gd name="connsiteX13" fmla="*/ 239706 w 419725"/>
                <a:gd name="connsiteY13" fmla="*/ 43014 h 141001"/>
                <a:gd name="connsiteX14" fmla="*/ 407428 w 419725"/>
                <a:gd name="connsiteY14" fmla="*/ 43014 h 141001"/>
                <a:gd name="connsiteX15" fmla="*/ 419725 w 419725"/>
                <a:gd name="connsiteY15" fmla="*/ 30717 h 141001"/>
                <a:gd name="connsiteX16" fmla="*/ 419725 w 419725"/>
                <a:gd name="connsiteY16" fmla="*/ 0 h 141001"/>
                <a:gd name="connsiteX17" fmla="*/ 0 w 419725"/>
                <a:gd name="connsiteY17" fmla="*/ 0 h 141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19725" h="141001">
                  <a:moveTo>
                    <a:pt x="0" y="30717"/>
                  </a:moveTo>
                  <a:cubicBezTo>
                    <a:pt x="0" y="37505"/>
                    <a:pt x="5509" y="43014"/>
                    <a:pt x="12297" y="43014"/>
                  </a:cubicBezTo>
                  <a:lnTo>
                    <a:pt x="180019" y="43014"/>
                  </a:lnTo>
                  <a:lnTo>
                    <a:pt x="180019" y="92200"/>
                  </a:lnTo>
                  <a:lnTo>
                    <a:pt x="156331" y="92200"/>
                  </a:lnTo>
                  <a:cubicBezTo>
                    <a:pt x="133525" y="92200"/>
                    <a:pt x="115039" y="110686"/>
                    <a:pt x="115039" y="133500"/>
                  </a:cubicBezTo>
                  <a:cubicBezTo>
                    <a:pt x="115039" y="135681"/>
                    <a:pt x="115924" y="137648"/>
                    <a:pt x="117351" y="139075"/>
                  </a:cubicBezTo>
                  <a:cubicBezTo>
                    <a:pt x="118777" y="140501"/>
                    <a:pt x="120753" y="141387"/>
                    <a:pt x="122925" y="141387"/>
                  </a:cubicBezTo>
                  <a:lnTo>
                    <a:pt x="296800" y="141387"/>
                  </a:lnTo>
                  <a:cubicBezTo>
                    <a:pt x="301153" y="141387"/>
                    <a:pt x="304686" y="137853"/>
                    <a:pt x="304686" y="133500"/>
                  </a:cubicBezTo>
                  <a:cubicBezTo>
                    <a:pt x="304686" y="122089"/>
                    <a:pt x="300062" y="111768"/>
                    <a:pt x="292594" y="104292"/>
                  </a:cubicBezTo>
                  <a:cubicBezTo>
                    <a:pt x="285118" y="96824"/>
                    <a:pt x="274797" y="92200"/>
                    <a:pt x="263394" y="92200"/>
                  </a:cubicBezTo>
                  <a:lnTo>
                    <a:pt x="239706" y="92200"/>
                  </a:lnTo>
                  <a:lnTo>
                    <a:pt x="239706" y="43014"/>
                  </a:lnTo>
                  <a:lnTo>
                    <a:pt x="407428" y="43014"/>
                  </a:lnTo>
                  <a:cubicBezTo>
                    <a:pt x="414216" y="43014"/>
                    <a:pt x="419725" y="37505"/>
                    <a:pt x="419725" y="30717"/>
                  </a:cubicBezTo>
                  <a:lnTo>
                    <a:pt x="419725" y="0"/>
                  </a:lnTo>
                  <a:lnTo>
                    <a:pt x="0" y="0"/>
                  </a:lnTo>
                  <a:close/>
                </a:path>
              </a:pathLst>
            </a:custGeom>
            <a:grpFill/>
            <a:ln w="81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sp>
        <p:nvSpPr>
          <p:cNvPr id="18" name="Graphic 14">
            <a:extLst>
              <a:ext uri="{FF2B5EF4-FFF2-40B4-BE49-F238E27FC236}">
                <a16:creationId xmlns:a16="http://schemas.microsoft.com/office/drawing/2014/main" id="{C8D48EFE-30A6-4C04-B64F-591B499E8361}"/>
              </a:ext>
            </a:extLst>
          </p:cNvPr>
          <p:cNvSpPr/>
          <p:nvPr/>
        </p:nvSpPr>
        <p:spPr>
          <a:xfrm>
            <a:off x="7765333" y="4101779"/>
            <a:ext cx="362938" cy="362938"/>
          </a:xfrm>
          <a:custGeom>
            <a:avLst/>
            <a:gdLst>
              <a:gd name="connsiteX0" fmla="*/ 266895 w 419725"/>
              <a:gd name="connsiteY0" fmla="*/ 0 h 419725"/>
              <a:gd name="connsiteX1" fmla="*/ 114065 w 419725"/>
              <a:gd name="connsiteY1" fmla="*/ 152823 h 419725"/>
              <a:gd name="connsiteX2" fmla="*/ 150487 w 419725"/>
              <a:gd name="connsiteY2" fmla="*/ 251851 h 419725"/>
              <a:gd name="connsiteX3" fmla="*/ 126369 w 419725"/>
              <a:gd name="connsiteY3" fmla="*/ 275977 h 419725"/>
              <a:gd name="connsiteX4" fmla="*/ 117672 w 419725"/>
              <a:gd name="connsiteY4" fmla="*/ 267271 h 419725"/>
              <a:gd name="connsiteX5" fmla="*/ 100284 w 419725"/>
              <a:gd name="connsiteY5" fmla="*/ 267271 h 419725"/>
              <a:gd name="connsiteX6" fmla="*/ 3600 w 419725"/>
              <a:gd name="connsiteY6" fmla="*/ 363956 h 419725"/>
              <a:gd name="connsiteX7" fmla="*/ 3600 w 419725"/>
              <a:gd name="connsiteY7" fmla="*/ 381343 h 419725"/>
              <a:gd name="connsiteX8" fmla="*/ 38383 w 419725"/>
              <a:gd name="connsiteY8" fmla="*/ 416126 h 419725"/>
              <a:gd name="connsiteX9" fmla="*/ 55770 w 419725"/>
              <a:gd name="connsiteY9" fmla="*/ 416126 h 419725"/>
              <a:gd name="connsiteX10" fmla="*/ 152446 w 419725"/>
              <a:gd name="connsiteY10" fmla="*/ 319442 h 419725"/>
              <a:gd name="connsiteX11" fmla="*/ 152446 w 419725"/>
              <a:gd name="connsiteY11" fmla="*/ 302054 h 419725"/>
              <a:gd name="connsiteX12" fmla="*/ 143757 w 419725"/>
              <a:gd name="connsiteY12" fmla="*/ 293365 h 419725"/>
              <a:gd name="connsiteX13" fmla="*/ 167875 w 419725"/>
              <a:gd name="connsiteY13" fmla="*/ 269239 h 419725"/>
              <a:gd name="connsiteX14" fmla="*/ 266895 w 419725"/>
              <a:gd name="connsiteY14" fmla="*/ 305661 h 419725"/>
              <a:gd name="connsiteX15" fmla="*/ 419726 w 419725"/>
              <a:gd name="connsiteY15" fmla="*/ 152823 h 419725"/>
              <a:gd name="connsiteX16" fmla="*/ 266895 w 419725"/>
              <a:gd name="connsiteY16" fmla="*/ 0 h 419725"/>
              <a:gd name="connsiteX17" fmla="*/ 266895 w 419725"/>
              <a:gd name="connsiteY17" fmla="*/ 73780 h 419725"/>
              <a:gd name="connsiteX18" fmla="*/ 187844 w 419725"/>
              <a:gd name="connsiteY18" fmla="*/ 152831 h 419725"/>
              <a:gd name="connsiteX19" fmla="*/ 175548 w 419725"/>
              <a:gd name="connsiteY19" fmla="*/ 165127 h 419725"/>
              <a:gd name="connsiteX20" fmla="*/ 163251 w 419725"/>
              <a:gd name="connsiteY20" fmla="*/ 152831 h 419725"/>
              <a:gd name="connsiteX21" fmla="*/ 266895 w 419725"/>
              <a:gd name="connsiteY21" fmla="*/ 49187 h 419725"/>
              <a:gd name="connsiteX22" fmla="*/ 279192 w 419725"/>
              <a:gd name="connsiteY22" fmla="*/ 61483 h 419725"/>
              <a:gd name="connsiteX23" fmla="*/ 266895 w 419725"/>
              <a:gd name="connsiteY23" fmla="*/ 73780 h 419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19725" h="419725">
                <a:moveTo>
                  <a:pt x="266895" y="0"/>
                </a:moveTo>
                <a:cubicBezTo>
                  <a:pt x="182622" y="0"/>
                  <a:pt x="114065" y="68558"/>
                  <a:pt x="114065" y="152823"/>
                </a:cubicBezTo>
                <a:cubicBezTo>
                  <a:pt x="114065" y="189614"/>
                  <a:pt x="127066" y="224299"/>
                  <a:pt x="150487" y="251851"/>
                </a:cubicBezTo>
                <a:lnTo>
                  <a:pt x="126369" y="275977"/>
                </a:lnTo>
                <a:lnTo>
                  <a:pt x="117672" y="267271"/>
                </a:lnTo>
                <a:cubicBezTo>
                  <a:pt x="112868" y="262476"/>
                  <a:pt x="105080" y="262476"/>
                  <a:pt x="100284" y="267271"/>
                </a:cubicBezTo>
                <a:lnTo>
                  <a:pt x="3600" y="363956"/>
                </a:lnTo>
                <a:cubicBezTo>
                  <a:pt x="-1196" y="368751"/>
                  <a:pt x="-1204" y="376539"/>
                  <a:pt x="3600" y="381343"/>
                </a:cubicBezTo>
                <a:lnTo>
                  <a:pt x="38383" y="416126"/>
                </a:lnTo>
                <a:cubicBezTo>
                  <a:pt x="43187" y="420922"/>
                  <a:pt x="50966" y="420930"/>
                  <a:pt x="55770" y="416126"/>
                </a:cubicBezTo>
                <a:lnTo>
                  <a:pt x="152446" y="319442"/>
                </a:lnTo>
                <a:cubicBezTo>
                  <a:pt x="157250" y="314646"/>
                  <a:pt x="157250" y="306858"/>
                  <a:pt x="152446" y="302054"/>
                </a:cubicBezTo>
                <a:lnTo>
                  <a:pt x="143757" y="293365"/>
                </a:lnTo>
                <a:lnTo>
                  <a:pt x="167875" y="269239"/>
                </a:lnTo>
                <a:cubicBezTo>
                  <a:pt x="195493" y="292717"/>
                  <a:pt x="230202" y="305661"/>
                  <a:pt x="266895" y="305661"/>
                </a:cubicBezTo>
                <a:cubicBezTo>
                  <a:pt x="351168" y="305661"/>
                  <a:pt x="419726" y="237104"/>
                  <a:pt x="419726" y="152823"/>
                </a:cubicBezTo>
                <a:cubicBezTo>
                  <a:pt x="419726" y="68558"/>
                  <a:pt x="351168" y="0"/>
                  <a:pt x="266895" y="0"/>
                </a:cubicBezTo>
                <a:close/>
                <a:moveTo>
                  <a:pt x="266895" y="73780"/>
                </a:moveTo>
                <a:cubicBezTo>
                  <a:pt x="223308" y="73780"/>
                  <a:pt x="187844" y="109243"/>
                  <a:pt x="187844" y="152831"/>
                </a:cubicBezTo>
                <a:cubicBezTo>
                  <a:pt x="187844" y="159618"/>
                  <a:pt x="182335" y="165127"/>
                  <a:pt x="175548" y="165127"/>
                </a:cubicBezTo>
                <a:cubicBezTo>
                  <a:pt x="168752" y="165127"/>
                  <a:pt x="163251" y="159618"/>
                  <a:pt x="163251" y="152831"/>
                </a:cubicBezTo>
                <a:cubicBezTo>
                  <a:pt x="163251" y="95684"/>
                  <a:pt x="209749" y="49187"/>
                  <a:pt x="266895" y="49187"/>
                </a:cubicBezTo>
                <a:cubicBezTo>
                  <a:pt x="273683" y="49187"/>
                  <a:pt x="279192" y="54695"/>
                  <a:pt x="279192" y="61483"/>
                </a:cubicBezTo>
                <a:cubicBezTo>
                  <a:pt x="279192" y="68271"/>
                  <a:pt x="273683" y="73780"/>
                  <a:pt x="266895" y="73780"/>
                </a:cubicBezTo>
                <a:close/>
              </a:path>
            </a:pathLst>
          </a:custGeom>
          <a:solidFill>
            <a:schemeClr val="bg1"/>
          </a:solidFill>
          <a:ln w="81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nvGrpSpPr>
          <p:cNvPr id="19" name="Graphic 94">
            <a:extLst>
              <a:ext uri="{FF2B5EF4-FFF2-40B4-BE49-F238E27FC236}">
                <a16:creationId xmlns:a16="http://schemas.microsoft.com/office/drawing/2014/main" id="{A2D1E581-4A13-4D94-8D7B-5850C702F31B}"/>
              </a:ext>
            </a:extLst>
          </p:cNvPr>
          <p:cNvGrpSpPr/>
          <p:nvPr/>
        </p:nvGrpSpPr>
        <p:grpSpPr>
          <a:xfrm>
            <a:off x="4470208" y="3517148"/>
            <a:ext cx="424424" cy="423596"/>
            <a:chOff x="2083633" y="256705"/>
            <a:chExt cx="419725" cy="418905"/>
          </a:xfrm>
          <a:solidFill>
            <a:schemeClr val="bg1"/>
          </a:solidFill>
        </p:grpSpPr>
        <p:sp>
          <p:nvSpPr>
            <p:cNvPr id="20" name="Freeform: Shape 146">
              <a:extLst>
                <a:ext uri="{FF2B5EF4-FFF2-40B4-BE49-F238E27FC236}">
                  <a16:creationId xmlns:a16="http://schemas.microsoft.com/office/drawing/2014/main" id="{B3E0C9C6-A8A2-48A9-A402-DC311623C89B}"/>
                </a:ext>
              </a:extLst>
            </p:cNvPr>
            <p:cNvSpPr/>
            <p:nvPr/>
          </p:nvSpPr>
          <p:spPr>
            <a:xfrm>
              <a:off x="2083633" y="306563"/>
              <a:ext cx="196746" cy="306596"/>
            </a:xfrm>
            <a:custGeom>
              <a:avLst/>
              <a:gdLst>
                <a:gd name="connsiteX0" fmla="*/ 184933 w 196746"/>
                <a:gd name="connsiteY0" fmla="*/ 0 h 306595"/>
                <a:gd name="connsiteX1" fmla="*/ 0 w 196746"/>
                <a:gd name="connsiteY1" fmla="*/ 184931 h 306595"/>
                <a:gd name="connsiteX2" fmla="*/ 45752 w 196746"/>
                <a:gd name="connsiteY2" fmla="*/ 306723 h 306595"/>
                <a:gd name="connsiteX3" fmla="*/ 197230 w 196746"/>
                <a:gd name="connsiteY3" fmla="*/ 155247 h 306595"/>
                <a:gd name="connsiteX4" fmla="*/ 197230 w 196746"/>
                <a:gd name="connsiteY4" fmla="*/ 12297 h 306595"/>
                <a:gd name="connsiteX5" fmla="*/ 184933 w 196746"/>
                <a:gd name="connsiteY5" fmla="*/ 0 h 306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6746" h="306595">
                  <a:moveTo>
                    <a:pt x="184933" y="0"/>
                  </a:moveTo>
                  <a:cubicBezTo>
                    <a:pt x="82724" y="0"/>
                    <a:pt x="0" y="82706"/>
                    <a:pt x="0" y="184931"/>
                  </a:cubicBezTo>
                  <a:cubicBezTo>
                    <a:pt x="0" y="230214"/>
                    <a:pt x="16158" y="273007"/>
                    <a:pt x="45752" y="306723"/>
                  </a:cubicBezTo>
                  <a:cubicBezTo>
                    <a:pt x="46755" y="305720"/>
                    <a:pt x="195756" y="156721"/>
                    <a:pt x="197230" y="155247"/>
                  </a:cubicBezTo>
                  <a:cubicBezTo>
                    <a:pt x="197230" y="137621"/>
                    <a:pt x="197230" y="30114"/>
                    <a:pt x="197230" y="12297"/>
                  </a:cubicBezTo>
                  <a:cubicBezTo>
                    <a:pt x="197230" y="5509"/>
                    <a:pt x="191721" y="0"/>
                    <a:pt x="184933" y="0"/>
                  </a:cubicBezTo>
                  <a:close/>
                </a:path>
              </a:pathLst>
            </a:custGeom>
            <a:grpFill/>
            <a:ln w="81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1" name="Freeform: Shape 147">
              <a:extLst>
                <a:ext uri="{FF2B5EF4-FFF2-40B4-BE49-F238E27FC236}">
                  <a16:creationId xmlns:a16="http://schemas.microsoft.com/office/drawing/2014/main" id="{701772CA-726B-44E6-9CB7-9292FFA11A57}"/>
                </a:ext>
              </a:extLst>
            </p:cNvPr>
            <p:cNvSpPr/>
            <p:nvPr/>
          </p:nvSpPr>
          <p:spPr>
            <a:xfrm>
              <a:off x="2146780" y="503848"/>
              <a:ext cx="126245" cy="172153"/>
            </a:xfrm>
            <a:custGeom>
              <a:avLst/>
              <a:gdLst>
                <a:gd name="connsiteX0" fmla="*/ 126819 w 126245"/>
                <a:gd name="connsiteY0" fmla="*/ 172502 h 172152"/>
                <a:gd name="connsiteX1" fmla="*/ 126819 w 126245"/>
                <a:gd name="connsiteY1" fmla="*/ 0 h 172152"/>
                <a:gd name="connsiteX2" fmla="*/ 0 w 126245"/>
                <a:gd name="connsiteY2" fmla="*/ 126825 h 172152"/>
                <a:gd name="connsiteX3" fmla="*/ 126819 w 126245"/>
                <a:gd name="connsiteY3" fmla="*/ 172502 h 172152"/>
              </a:gdLst>
              <a:ahLst/>
              <a:cxnLst>
                <a:cxn ang="0">
                  <a:pos x="connsiteX0" y="connsiteY0"/>
                </a:cxn>
                <a:cxn ang="0">
                  <a:pos x="connsiteX1" y="connsiteY1"/>
                </a:cxn>
                <a:cxn ang="0">
                  <a:pos x="connsiteX2" y="connsiteY2"/>
                </a:cxn>
                <a:cxn ang="0">
                  <a:pos x="connsiteX3" y="connsiteY3"/>
                </a:cxn>
              </a:cxnLst>
              <a:rect l="l" t="t" r="r" b="b"/>
              <a:pathLst>
                <a:path w="126245" h="172152">
                  <a:moveTo>
                    <a:pt x="126819" y="172502"/>
                  </a:moveTo>
                  <a:lnTo>
                    <a:pt x="126819" y="0"/>
                  </a:lnTo>
                  <a:lnTo>
                    <a:pt x="0" y="126825"/>
                  </a:lnTo>
                  <a:cubicBezTo>
                    <a:pt x="35933" y="158363"/>
                    <a:pt x="81336" y="173842"/>
                    <a:pt x="126819" y="172502"/>
                  </a:cubicBezTo>
                  <a:close/>
                </a:path>
              </a:pathLst>
            </a:custGeom>
            <a:grpFill/>
            <a:ln w="81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2" name="Freeform: Shape 148">
              <a:extLst>
                <a:ext uri="{FF2B5EF4-FFF2-40B4-BE49-F238E27FC236}">
                  <a16:creationId xmlns:a16="http://schemas.microsoft.com/office/drawing/2014/main" id="{ECE8BA88-5CE1-41E9-9D08-C3817E288EC1}"/>
                </a:ext>
              </a:extLst>
            </p:cNvPr>
            <p:cNvSpPr/>
            <p:nvPr/>
          </p:nvSpPr>
          <p:spPr>
            <a:xfrm>
              <a:off x="2298193" y="479197"/>
              <a:ext cx="154938" cy="194287"/>
            </a:xfrm>
            <a:custGeom>
              <a:avLst/>
              <a:gdLst>
                <a:gd name="connsiteX0" fmla="*/ 143010 w 154937"/>
                <a:gd name="connsiteY0" fmla="*/ 0 h 194286"/>
                <a:gd name="connsiteX1" fmla="*/ 57 w 154937"/>
                <a:gd name="connsiteY1" fmla="*/ 0 h 194286"/>
                <a:gd name="connsiteX2" fmla="*/ 0 w 154937"/>
                <a:gd name="connsiteY2" fmla="*/ 194874 h 194286"/>
                <a:gd name="connsiteX3" fmla="*/ 101136 w 154937"/>
                <a:gd name="connsiteY3" fmla="*/ 143065 h 194286"/>
                <a:gd name="connsiteX4" fmla="*/ 155306 w 154937"/>
                <a:gd name="connsiteY4" fmla="*/ 12296 h 194286"/>
                <a:gd name="connsiteX5" fmla="*/ 143010 w 154937"/>
                <a:gd name="connsiteY5" fmla="*/ 0 h 194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4937" h="194286">
                  <a:moveTo>
                    <a:pt x="143010" y="0"/>
                  </a:moveTo>
                  <a:lnTo>
                    <a:pt x="57" y="0"/>
                  </a:lnTo>
                  <a:lnTo>
                    <a:pt x="0" y="194874"/>
                  </a:lnTo>
                  <a:cubicBezTo>
                    <a:pt x="38000" y="188803"/>
                    <a:pt x="73231" y="170983"/>
                    <a:pt x="101136" y="143065"/>
                  </a:cubicBezTo>
                  <a:cubicBezTo>
                    <a:pt x="136066" y="108135"/>
                    <a:pt x="155306" y="61695"/>
                    <a:pt x="155306" y="12296"/>
                  </a:cubicBezTo>
                  <a:cubicBezTo>
                    <a:pt x="155306" y="5509"/>
                    <a:pt x="149798" y="0"/>
                    <a:pt x="143010" y="0"/>
                  </a:cubicBezTo>
                  <a:close/>
                </a:path>
              </a:pathLst>
            </a:custGeom>
            <a:grpFill/>
            <a:ln w="81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3" name="Freeform: Shape 149">
              <a:extLst>
                <a:ext uri="{FF2B5EF4-FFF2-40B4-BE49-F238E27FC236}">
                  <a16:creationId xmlns:a16="http://schemas.microsoft.com/office/drawing/2014/main" id="{6C84D098-99C5-48C7-AEF3-7DC8F53F98E3}"/>
                </a:ext>
              </a:extLst>
            </p:cNvPr>
            <p:cNvSpPr/>
            <p:nvPr/>
          </p:nvSpPr>
          <p:spPr>
            <a:xfrm>
              <a:off x="2306127" y="256705"/>
              <a:ext cx="196746" cy="196746"/>
            </a:xfrm>
            <a:custGeom>
              <a:avLst/>
              <a:gdLst>
                <a:gd name="connsiteX0" fmla="*/ 143060 w 196746"/>
                <a:gd name="connsiteY0" fmla="*/ 54170 h 196746"/>
                <a:gd name="connsiteX1" fmla="*/ 12297 w 196746"/>
                <a:gd name="connsiteY1" fmla="*/ 0 h 196746"/>
                <a:gd name="connsiteX2" fmla="*/ 0 w 196746"/>
                <a:gd name="connsiteY2" fmla="*/ 12297 h 196746"/>
                <a:gd name="connsiteX3" fmla="*/ 0 w 196746"/>
                <a:gd name="connsiteY3" fmla="*/ 184931 h 196746"/>
                <a:gd name="connsiteX4" fmla="*/ 12297 w 196746"/>
                <a:gd name="connsiteY4" fmla="*/ 197227 h 196746"/>
                <a:gd name="connsiteX5" fmla="*/ 184935 w 196746"/>
                <a:gd name="connsiteY5" fmla="*/ 197227 h 196746"/>
                <a:gd name="connsiteX6" fmla="*/ 197231 w 196746"/>
                <a:gd name="connsiteY6" fmla="*/ 184931 h 196746"/>
                <a:gd name="connsiteX7" fmla="*/ 143060 w 196746"/>
                <a:gd name="connsiteY7" fmla="*/ 54170 h 1967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6746" h="196746">
                  <a:moveTo>
                    <a:pt x="143060" y="54170"/>
                  </a:moveTo>
                  <a:cubicBezTo>
                    <a:pt x="108129" y="19240"/>
                    <a:pt x="61689" y="0"/>
                    <a:pt x="12297" y="0"/>
                  </a:cubicBezTo>
                  <a:cubicBezTo>
                    <a:pt x="5501" y="0"/>
                    <a:pt x="0" y="5509"/>
                    <a:pt x="0" y="12297"/>
                  </a:cubicBezTo>
                  <a:lnTo>
                    <a:pt x="0" y="184931"/>
                  </a:lnTo>
                  <a:cubicBezTo>
                    <a:pt x="0" y="191704"/>
                    <a:pt x="5479" y="197227"/>
                    <a:pt x="12297" y="197227"/>
                  </a:cubicBezTo>
                  <a:lnTo>
                    <a:pt x="184935" y="197227"/>
                  </a:lnTo>
                  <a:cubicBezTo>
                    <a:pt x="191723" y="197227"/>
                    <a:pt x="197231" y="191727"/>
                    <a:pt x="197231" y="184931"/>
                  </a:cubicBezTo>
                  <a:cubicBezTo>
                    <a:pt x="197231" y="135539"/>
                    <a:pt x="177991" y="89100"/>
                    <a:pt x="143060" y="54170"/>
                  </a:cubicBezTo>
                  <a:close/>
                </a:path>
              </a:pathLst>
            </a:custGeom>
            <a:grpFill/>
            <a:ln w="81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grpSp>
        <p:nvGrpSpPr>
          <p:cNvPr id="24" name="Graphic 12">
            <a:extLst>
              <a:ext uri="{FF2B5EF4-FFF2-40B4-BE49-F238E27FC236}">
                <a16:creationId xmlns:a16="http://schemas.microsoft.com/office/drawing/2014/main" id="{DFD17880-0229-4BD4-81E1-A83BF7CBAC73}"/>
              </a:ext>
            </a:extLst>
          </p:cNvPr>
          <p:cNvGrpSpPr/>
          <p:nvPr/>
        </p:nvGrpSpPr>
        <p:grpSpPr>
          <a:xfrm>
            <a:off x="6233267" y="2393795"/>
            <a:ext cx="317164" cy="317164"/>
            <a:chOff x="6640645" y="1724489"/>
            <a:chExt cx="418905" cy="418905"/>
          </a:xfrm>
          <a:solidFill>
            <a:schemeClr val="bg1"/>
          </a:solidFill>
        </p:grpSpPr>
        <p:sp>
          <p:nvSpPr>
            <p:cNvPr id="25" name="Freeform: Shape 151">
              <a:extLst>
                <a:ext uri="{FF2B5EF4-FFF2-40B4-BE49-F238E27FC236}">
                  <a16:creationId xmlns:a16="http://schemas.microsoft.com/office/drawing/2014/main" id="{16626EFB-C061-40B5-B191-02E9F3630C75}"/>
                </a:ext>
              </a:extLst>
            </p:cNvPr>
            <p:cNvSpPr/>
            <p:nvPr/>
          </p:nvSpPr>
          <p:spPr>
            <a:xfrm>
              <a:off x="6811107" y="1724489"/>
              <a:ext cx="249212" cy="249212"/>
            </a:xfrm>
            <a:custGeom>
              <a:avLst/>
              <a:gdLst>
                <a:gd name="connsiteX0" fmla="*/ 245654 w 249211"/>
                <a:gd name="connsiteY0" fmla="*/ 176761 h 249211"/>
                <a:gd name="connsiteX1" fmla="*/ 223446 w 249211"/>
                <a:gd name="connsiteY1" fmla="*/ 198985 h 249211"/>
                <a:gd name="connsiteX2" fmla="*/ 133779 w 249211"/>
                <a:gd name="connsiteY2" fmla="*/ 211716 h 249211"/>
                <a:gd name="connsiteX3" fmla="*/ 96250 w 249211"/>
                <a:gd name="connsiteY3" fmla="*/ 249246 h 249211"/>
                <a:gd name="connsiteX4" fmla="*/ 95963 w 249211"/>
                <a:gd name="connsiteY4" fmla="*/ 248672 h 249211"/>
                <a:gd name="connsiteX5" fmla="*/ 42358 w 249211"/>
                <a:gd name="connsiteY5" fmla="*/ 183418 h 249211"/>
                <a:gd name="connsiteX6" fmla="*/ 0 w 249211"/>
                <a:gd name="connsiteY6" fmla="*/ 153020 h 249211"/>
                <a:gd name="connsiteX7" fmla="*/ 37546 w 249211"/>
                <a:gd name="connsiteY7" fmla="*/ 115475 h 249211"/>
                <a:gd name="connsiteX8" fmla="*/ 50269 w 249211"/>
                <a:gd name="connsiteY8" fmla="*/ 25816 h 249211"/>
                <a:gd name="connsiteX9" fmla="*/ 72493 w 249211"/>
                <a:gd name="connsiteY9" fmla="*/ 3600 h 249211"/>
                <a:gd name="connsiteX10" fmla="*/ 89880 w 249211"/>
                <a:gd name="connsiteY10" fmla="*/ 3600 h 249211"/>
                <a:gd name="connsiteX11" fmla="*/ 245654 w 249211"/>
                <a:gd name="connsiteY11" fmla="*/ 159374 h 249211"/>
                <a:gd name="connsiteX12" fmla="*/ 245654 w 249211"/>
                <a:gd name="connsiteY12" fmla="*/ 176761 h 249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49211" h="249211">
                  <a:moveTo>
                    <a:pt x="245654" y="176761"/>
                  </a:moveTo>
                  <a:lnTo>
                    <a:pt x="223446" y="198985"/>
                  </a:lnTo>
                  <a:cubicBezTo>
                    <a:pt x="199779" y="222636"/>
                    <a:pt x="162996" y="227833"/>
                    <a:pt x="133779" y="211716"/>
                  </a:cubicBezTo>
                  <a:lnTo>
                    <a:pt x="96250" y="249246"/>
                  </a:lnTo>
                  <a:cubicBezTo>
                    <a:pt x="96151" y="249057"/>
                    <a:pt x="96061" y="248860"/>
                    <a:pt x="95963" y="248672"/>
                  </a:cubicBezTo>
                  <a:cubicBezTo>
                    <a:pt x="82073" y="220862"/>
                    <a:pt x="66849" y="207909"/>
                    <a:pt x="42358" y="183418"/>
                  </a:cubicBezTo>
                  <a:cubicBezTo>
                    <a:pt x="26907" y="167966"/>
                    <a:pt x="7916" y="156317"/>
                    <a:pt x="0" y="153020"/>
                  </a:cubicBezTo>
                  <a:lnTo>
                    <a:pt x="37546" y="115475"/>
                  </a:lnTo>
                  <a:cubicBezTo>
                    <a:pt x="21421" y="86291"/>
                    <a:pt x="26610" y="49483"/>
                    <a:pt x="50269" y="25816"/>
                  </a:cubicBezTo>
                  <a:lnTo>
                    <a:pt x="72493" y="3600"/>
                  </a:lnTo>
                  <a:cubicBezTo>
                    <a:pt x="77297" y="-1204"/>
                    <a:pt x="85084" y="-1196"/>
                    <a:pt x="89880" y="3600"/>
                  </a:cubicBezTo>
                  <a:lnTo>
                    <a:pt x="245654" y="159374"/>
                  </a:lnTo>
                  <a:cubicBezTo>
                    <a:pt x="250458" y="164177"/>
                    <a:pt x="250458" y="171965"/>
                    <a:pt x="245654" y="176761"/>
                  </a:cubicBezTo>
                  <a:close/>
                </a:path>
              </a:pathLst>
            </a:custGeom>
            <a:grpFill/>
            <a:ln w="81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等线" panose="020F0502020204030204"/>
                <a:ea typeface="+mn-ea"/>
                <a:cs typeface="+mn-cs"/>
              </a:endParaRPr>
            </a:p>
          </p:txBody>
        </p:sp>
        <p:sp>
          <p:nvSpPr>
            <p:cNvPr id="26" name="Freeform: Shape 152">
              <a:extLst>
                <a:ext uri="{FF2B5EF4-FFF2-40B4-BE49-F238E27FC236}">
                  <a16:creationId xmlns:a16="http://schemas.microsoft.com/office/drawing/2014/main" id="{77974215-527A-477A-AE75-17069E3A9508}"/>
                </a:ext>
              </a:extLst>
            </p:cNvPr>
            <p:cNvSpPr/>
            <p:nvPr/>
          </p:nvSpPr>
          <p:spPr>
            <a:xfrm>
              <a:off x="6644861" y="2050351"/>
              <a:ext cx="89356" cy="89356"/>
            </a:xfrm>
            <a:custGeom>
              <a:avLst/>
              <a:gdLst>
                <a:gd name="connsiteX0" fmla="*/ 89647 w 89355"/>
                <a:gd name="connsiteY0" fmla="*/ 17387 h 89355"/>
                <a:gd name="connsiteX1" fmla="*/ 20999 w 89355"/>
                <a:gd name="connsiteY1" fmla="*/ 86035 h 89355"/>
                <a:gd name="connsiteX2" fmla="*/ 12301 w 89355"/>
                <a:gd name="connsiteY2" fmla="*/ 89642 h 89355"/>
                <a:gd name="connsiteX3" fmla="*/ 3603 w 89355"/>
                <a:gd name="connsiteY3" fmla="*/ 86035 h 89355"/>
                <a:gd name="connsiteX4" fmla="*/ 3603 w 89355"/>
                <a:gd name="connsiteY4" fmla="*/ 68648 h 89355"/>
                <a:gd name="connsiteX5" fmla="*/ 72259 w 89355"/>
                <a:gd name="connsiteY5" fmla="*/ 0 h 89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9355" h="89355">
                  <a:moveTo>
                    <a:pt x="89647" y="17387"/>
                  </a:moveTo>
                  <a:lnTo>
                    <a:pt x="20999" y="86035"/>
                  </a:lnTo>
                  <a:cubicBezTo>
                    <a:pt x="18597" y="88437"/>
                    <a:pt x="15449" y="89642"/>
                    <a:pt x="12301" y="89642"/>
                  </a:cubicBezTo>
                  <a:cubicBezTo>
                    <a:pt x="9153" y="89642"/>
                    <a:pt x="6005" y="88437"/>
                    <a:pt x="3603" y="86035"/>
                  </a:cubicBezTo>
                  <a:cubicBezTo>
                    <a:pt x="-1201" y="81232"/>
                    <a:pt x="-1201" y="73452"/>
                    <a:pt x="3603" y="68648"/>
                  </a:cubicBezTo>
                  <a:lnTo>
                    <a:pt x="72259" y="0"/>
                  </a:lnTo>
                  <a:close/>
                </a:path>
              </a:pathLst>
            </a:custGeom>
            <a:grpFill/>
            <a:ln w="81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等线" panose="020F0502020204030204"/>
                <a:ea typeface="+mn-ea"/>
                <a:cs typeface="+mn-cs"/>
              </a:endParaRPr>
            </a:p>
          </p:txBody>
        </p:sp>
        <p:sp>
          <p:nvSpPr>
            <p:cNvPr id="27" name="Freeform: Shape 153">
              <a:extLst>
                <a:ext uri="{FF2B5EF4-FFF2-40B4-BE49-F238E27FC236}">
                  <a16:creationId xmlns:a16="http://schemas.microsoft.com/office/drawing/2014/main" id="{112804DD-ED46-4C3D-A220-A4602BA923E6}"/>
                </a:ext>
              </a:extLst>
            </p:cNvPr>
            <p:cNvSpPr/>
            <p:nvPr/>
          </p:nvSpPr>
          <p:spPr>
            <a:xfrm>
              <a:off x="6640645" y="1885506"/>
              <a:ext cx="258229" cy="258229"/>
            </a:xfrm>
            <a:custGeom>
              <a:avLst/>
              <a:gdLst>
                <a:gd name="connsiteX0" fmla="*/ 258646 w 258229"/>
                <a:gd name="connsiteY0" fmla="*/ 159188 h 258229"/>
                <a:gd name="connsiteX1" fmla="*/ 218911 w 258229"/>
                <a:gd name="connsiteY1" fmla="*/ 255110 h 258229"/>
                <a:gd name="connsiteX2" fmla="*/ 201515 w 258229"/>
                <a:gd name="connsiteY2" fmla="*/ 255110 h 258229"/>
                <a:gd name="connsiteX3" fmla="*/ 3597 w 258229"/>
                <a:gd name="connsiteY3" fmla="*/ 57183 h 258229"/>
                <a:gd name="connsiteX4" fmla="*/ 3597 w 258229"/>
                <a:gd name="connsiteY4" fmla="*/ 39796 h 258229"/>
                <a:gd name="connsiteX5" fmla="*/ 160059 w 258229"/>
                <a:gd name="connsiteY5" fmla="*/ 14284 h 258229"/>
                <a:gd name="connsiteX6" fmla="*/ 218911 w 258229"/>
                <a:gd name="connsiteY6" fmla="*/ 63266 h 258229"/>
                <a:gd name="connsiteX7" fmla="*/ 258646 w 258229"/>
                <a:gd name="connsiteY7" fmla="*/ 159188 h 258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8229" h="258229">
                  <a:moveTo>
                    <a:pt x="258646" y="159188"/>
                  </a:moveTo>
                  <a:cubicBezTo>
                    <a:pt x="258629" y="194751"/>
                    <a:pt x="245023" y="228980"/>
                    <a:pt x="218911" y="255110"/>
                  </a:cubicBezTo>
                  <a:cubicBezTo>
                    <a:pt x="214137" y="259884"/>
                    <a:pt x="206351" y="259928"/>
                    <a:pt x="201515" y="255110"/>
                  </a:cubicBezTo>
                  <a:lnTo>
                    <a:pt x="3597" y="57183"/>
                  </a:lnTo>
                  <a:cubicBezTo>
                    <a:pt x="-1189" y="52397"/>
                    <a:pt x="-1209" y="44602"/>
                    <a:pt x="3597" y="39796"/>
                  </a:cubicBezTo>
                  <a:cubicBezTo>
                    <a:pt x="44922" y="-1529"/>
                    <a:pt x="107799" y="-11784"/>
                    <a:pt x="160059" y="14284"/>
                  </a:cubicBezTo>
                  <a:cubicBezTo>
                    <a:pt x="183785" y="26133"/>
                    <a:pt x="194326" y="38689"/>
                    <a:pt x="218911" y="63266"/>
                  </a:cubicBezTo>
                  <a:cubicBezTo>
                    <a:pt x="244534" y="88889"/>
                    <a:pt x="258646" y="123226"/>
                    <a:pt x="258646" y="159188"/>
                  </a:cubicBezTo>
                  <a:close/>
                </a:path>
              </a:pathLst>
            </a:custGeom>
            <a:grpFill/>
            <a:ln w="81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等线" panose="020F0502020204030204"/>
                <a:ea typeface="+mn-ea"/>
                <a:cs typeface="+mn-cs"/>
              </a:endParaRPr>
            </a:p>
          </p:txBody>
        </p:sp>
      </p:grpSp>
      <p:grpSp>
        <p:nvGrpSpPr>
          <p:cNvPr id="28" name="Graphic 39">
            <a:extLst>
              <a:ext uri="{FF2B5EF4-FFF2-40B4-BE49-F238E27FC236}">
                <a16:creationId xmlns:a16="http://schemas.microsoft.com/office/drawing/2014/main" id="{DAB9321C-5480-4245-830A-BCACF8CB1BD0}"/>
              </a:ext>
            </a:extLst>
          </p:cNvPr>
          <p:cNvGrpSpPr/>
          <p:nvPr/>
        </p:nvGrpSpPr>
        <p:grpSpPr>
          <a:xfrm>
            <a:off x="5098875" y="4338624"/>
            <a:ext cx="351773" cy="351082"/>
            <a:chOff x="5306516" y="1725739"/>
            <a:chExt cx="419725" cy="418905"/>
          </a:xfrm>
          <a:solidFill>
            <a:schemeClr val="bg1"/>
          </a:solidFill>
        </p:grpSpPr>
        <p:sp>
          <p:nvSpPr>
            <p:cNvPr id="29" name="Freeform: Shape 155">
              <a:extLst>
                <a:ext uri="{FF2B5EF4-FFF2-40B4-BE49-F238E27FC236}">
                  <a16:creationId xmlns:a16="http://schemas.microsoft.com/office/drawing/2014/main" id="{ABFBE21A-D552-48B2-946C-EEC379A5C18B}"/>
                </a:ext>
              </a:extLst>
            </p:cNvPr>
            <p:cNvSpPr/>
            <p:nvPr/>
          </p:nvSpPr>
          <p:spPr>
            <a:xfrm>
              <a:off x="5371373" y="1878194"/>
              <a:ext cx="201665" cy="201665"/>
            </a:xfrm>
            <a:custGeom>
              <a:avLst/>
              <a:gdLst>
                <a:gd name="connsiteX0" fmla="*/ 64620 w 201664"/>
                <a:gd name="connsiteY0" fmla="*/ 193721 h 201664"/>
                <a:gd name="connsiteX1" fmla="*/ 12928 w 201664"/>
                <a:gd name="connsiteY1" fmla="*/ 202259 h 201664"/>
                <a:gd name="connsiteX2" fmla="*/ 153 w 201664"/>
                <a:gd name="connsiteY2" fmla="*/ 189484 h 201664"/>
                <a:gd name="connsiteX3" fmla="*/ 8691 w 201664"/>
                <a:gd name="connsiteY3" fmla="*/ 137793 h 201664"/>
                <a:gd name="connsiteX4" fmla="*/ 17778 w 201664"/>
                <a:gd name="connsiteY4" fmla="*/ 133340 h 201664"/>
                <a:gd name="connsiteX5" fmla="*/ 28610 w 201664"/>
                <a:gd name="connsiteY5" fmla="*/ 133738 h 201664"/>
                <a:gd name="connsiteX6" fmla="*/ 28679 w 201664"/>
                <a:gd name="connsiteY6" fmla="*/ 133704 h 201664"/>
                <a:gd name="connsiteX7" fmla="*/ 197428 w 201664"/>
                <a:gd name="connsiteY7" fmla="*/ 658 h 201664"/>
                <a:gd name="connsiteX8" fmla="*/ 201753 w 201664"/>
                <a:gd name="connsiteY8" fmla="*/ 4983 h 201664"/>
                <a:gd name="connsiteX9" fmla="*/ 68270 w 201664"/>
                <a:gd name="connsiteY9" fmla="*/ 174944 h 201664"/>
                <a:gd name="connsiteX10" fmla="*/ 69074 w 201664"/>
                <a:gd name="connsiteY10" fmla="*/ 184638 h 201664"/>
                <a:gd name="connsiteX11" fmla="*/ 64620 w 201664"/>
                <a:gd name="connsiteY11" fmla="*/ 193721 h 2016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1664" h="201664">
                  <a:moveTo>
                    <a:pt x="64620" y="193721"/>
                  </a:moveTo>
                  <a:lnTo>
                    <a:pt x="12928" y="202259"/>
                  </a:lnTo>
                  <a:cubicBezTo>
                    <a:pt x="5418" y="203500"/>
                    <a:pt x="-1088" y="196994"/>
                    <a:pt x="153" y="189484"/>
                  </a:cubicBezTo>
                  <a:lnTo>
                    <a:pt x="8691" y="137793"/>
                  </a:lnTo>
                  <a:cubicBezTo>
                    <a:pt x="9387" y="133581"/>
                    <a:pt x="14071" y="131223"/>
                    <a:pt x="17778" y="133340"/>
                  </a:cubicBezTo>
                  <a:cubicBezTo>
                    <a:pt x="20694" y="135004"/>
                    <a:pt x="24205" y="135677"/>
                    <a:pt x="28610" y="133738"/>
                  </a:cubicBezTo>
                  <a:cubicBezTo>
                    <a:pt x="28636" y="133730"/>
                    <a:pt x="28662" y="133721"/>
                    <a:pt x="28679" y="133704"/>
                  </a:cubicBezTo>
                  <a:cubicBezTo>
                    <a:pt x="30671" y="132878"/>
                    <a:pt x="45184" y="115919"/>
                    <a:pt x="197428" y="658"/>
                  </a:cubicBezTo>
                  <a:cubicBezTo>
                    <a:pt x="200288" y="-1506"/>
                    <a:pt x="203918" y="2124"/>
                    <a:pt x="201753" y="4983"/>
                  </a:cubicBezTo>
                  <a:cubicBezTo>
                    <a:pt x="85709" y="158230"/>
                    <a:pt x="69188" y="171910"/>
                    <a:pt x="68270" y="174944"/>
                  </a:cubicBezTo>
                  <a:cubicBezTo>
                    <a:pt x="67019" y="179006"/>
                    <a:pt x="67593" y="182034"/>
                    <a:pt x="69074" y="184638"/>
                  </a:cubicBezTo>
                  <a:cubicBezTo>
                    <a:pt x="71182" y="188348"/>
                    <a:pt x="68830" y="193026"/>
                    <a:pt x="64620" y="193721"/>
                  </a:cubicBezTo>
                  <a:close/>
                </a:path>
              </a:pathLst>
            </a:custGeom>
            <a:grpFill/>
            <a:ln w="81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0" name="Freeform: Shape 156">
              <a:extLst>
                <a:ext uri="{FF2B5EF4-FFF2-40B4-BE49-F238E27FC236}">
                  <a16:creationId xmlns:a16="http://schemas.microsoft.com/office/drawing/2014/main" id="{CFE7322E-04A0-4F53-A83E-2710AD8DB801}"/>
                </a:ext>
              </a:extLst>
            </p:cNvPr>
            <p:cNvSpPr/>
            <p:nvPr/>
          </p:nvSpPr>
          <p:spPr>
            <a:xfrm>
              <a:off x="5306516" y="1725739"/>
              <a:ext cx="419725" cy="418905"/>
            </a:xfrm>
            <a:custGeom>
              <a:avLst/>
              <a:gdLst>
                <a:gd name="connsiteX0" fmla="*/ 419194 w 419725"/>
                <a:gd name="connsiteY0" fmla="*/ 11221 h 418905"/>
                <a:gd name="connsiteX1" fmla="*/ 272302 w 419725"/>
                <a:gd name="connsiteY1" fmla="*/ 409937 h 418905"/>
                <a:gd name="connsiteX2" fmla="*/ 247701 w 419725"/>
                <a:gd name="connsiteY2" fmla="*/ 415340 h 418905"/>
                <a:gd name="connsiteX3" fmla="*/ 171795 w 419725"/>
                <a:gd name="connsiteY3" fmla="*/ 339435 h 418905"/>
                <a:gd name="connsiteX4" fmla="*/ 170427 w 419725"/>
                <a:gd name="connsiteY4" fmla="*/ 319548 h 418905"/>
                <a:gd name="connsiteX5" fmla="*/ 333066 w 419725"/>
                <a:gd name="connsiteY5" fmla="*/ 104712 h 418905"/>
                <a:gd name="connsiteX6" fmla="*/ 315014 w 419725"/>
                <a:gd name="connsiteY6" fmla="*/ 86660 h 418905"/>
                <a:gd name="connsiteX7" fmla="*/ 100178 w 419725"/>
                <a:gd name="connsiteY7" fmla="*/ 249300 h 418905"/>
                <a:gd name="connsiteX8" fmla="*/ 80290 w 419725"/>
                <a:gd name="connsiteY8" fmla="*/ 247931 h 418905"/>
                <a:gd name="connsiteX9" fmla="*/ 4385 w 419725"/>
                <a:gd name="connsiteY9" fmla="*/ 172025 h 418905"/>
                <a:gd name="connsiteX10" fmla="*/ 9788 w 419725"/>
                <a:gd name="connsiteY10" fmla="*/ 147424 h 418905"/>
                <a:gd name="connsiteX11" fmla="*/ 408505 w 419725"/>
                <a:gd name="connsiteY11" fmla="*/ 531 h 418905"/>
                <a:gd name="connsiteX12" fmla="*/ 419194 w 419725"/>
                <a:gd name="connsiteY12" fmla="*/ 11221 h 4189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19725" h="418905">
                  <a:moveTo>
                    <a:pt x="419194" y="11221"/>
                  </a:moveTo>
                  <a:lnTo>
                    <a:pt x="272302" y="409937"/>
                  </a:lnTo>
                  <a:cubicBezTo>
                    <a:pt x="268530" y="420175"/>
                    <a:pt x="255416" y="423056"/>
                    <a:pt x="247701" y="415340"/>
                  </a:cubicBezTo>
                  <a:lnTo>
                    <a:pt x="171795" y="339435"/>
                  </a:lnTo>
                  <a:cubicBezTo>
                    <a:pt x="166438" y="334077"/>
                    <a:pt x="165853" y="325589"/>
                    <a:pt x="170427" y="319548"/>
                  </a:cubicBezTo>
                  <a:lnTo>
                    <a:pt x="333066" y="104712"/>
                  </a:lnTo>
                  <a:cubicBezTo>
                    <a:pt x="342279" y="92379"/>
                    <a:pt x="326544" y="77987"/>
                    <a:pt x="315014" y="86660"/>
                  </a:cubicBezTo>
                  <a:lnTo>
                    <a:pt x="100178" y="249300"/>
                  </a:lnTo>
                  <a:cubicBezTo>
                    <a:pt x="94137" y="253873"/>
                    <a:pt x="85648" y="253289"/>
                    <a:pt x="80290" y="247931"/>
                  </a:cubicBezTo>
                  <a:lnTo>
                    <a:pt x="4385" y="172025"/>
                  </a:lnTo>
                  <a:cubicBezTo>
                    <a:pt x="-3331" y="164309"/>
                    <a:pt x="-450" y="151195"/>
                    <a:pt x="9788" y="147424"/>
                  </a:cubicBezTo>
                  <a:lnTo>
                    <a:pt x="408505" y="531"/>
                  </a:lnTo>
                  <a:cubicBezTo>
                    <a:pt x="415169" y="-1924"/>
                    <a:pt x="421650" y="4556"/>
                    <a:pt x="419194" y="11221"/>
                  </a:cubicBezTo>
                  <a:close/>
                </a:path>
              </a:pathLst>
            </a:custGeom>
            <a:grpFill/>
            <a:ln w="81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grpSp>
        <p:nvGrpSpPr>
          <p:cNvPr id="31" name="Graphic 40">
            <a:extLst>
              <a:ext uri="{FF2B5EF4-FFF2-40B4-BE49-F238E27FC236}">
                <a16:creationId xmlns:a16="http://schemas.microsoft.com/office/drawing/2014/main" id="{908977CC-602D-42FC-A1A7-EFEDE3AD6F82}"/>
              </a:ext>
            </a:extLst>
          </p:cNvPr>
          <p:cNvGrpSpPr/>
          <p:nvPr/>
        </p:nvGrpSpPr>
        <p:grpSpPr>
          <a:xfrm>
            <a:off x="6850638" y="3054768"/>
            <a:ext cx="266623" cy="366967"/>
            <a:chOff x="4074593" y="1724490"/>
            <a:chExt cx="304956" cy="419725"/>
          </a:xfrm>
          <a:solidFill>
            <a:schemeClr val="bg1"/>
          </a:solidFill>
        </p:grpSpPr>
        <p:sp>
          <p:nvSpPr>
            <p:cNvPr id="32" name="Freeform: Shape 158">
              <a:extLst>
                <a:ext uri="{FF2B5EF4-FFF2-40B4-BE49-F238E27FC236}">
                  <a16:creationId xmlns:a16="http://schemas.microsoft.com/office/drawing/2014/main" id="{0591FF1C-5818-4D81-8AFD-22240BE3050F}"/>
                </a:ext>
              </a:extLst>
            </p:cNvPr>
            <p:cNvSpPr/>
            <p:nvPr/>
          </p:nvSpPr>
          <p:spPr>
            <a:xfrm>
              <a:off x="4074593" y="1922056"/>
              <a:ext cx="304956" cy="222159"/>
            </a:xfrm>
            <a:custGeom>
              <a:avLst/>
              <a:gdLst>
                <a:gd name="connsiteX0" fmla="*/ 292971 w 304956"/>
                <a:gd name="connsiteY0" fmla="*/ 0 h 222159"/>
                <a:gd name="connsiteX1" fmla="*/ 12297 w 304956"/>
                <a:gd name="connsiteY1" fmla="*/ 0 h 222159"/>
                <a:gd name="connsiteX2" fmla="*/ 0 w 304956"/>
                <a:gd name="connsiteY2" fmla="*/ 12297 h 222159"/>
                <a:gd name="connsiteX3" fmla="*/ 0 w 304956"/>
                <a:gd name="connsiteY3" fmla="*/ 141690 h 222159"/>
                <a:gd name="connsiteX4" fmla="*/ 80477 w 304956"/>
                <a:gd name="connsiteY4" fmla="*/ 222159 h 222159"/>
                <a:gd name="connsiteX5" fmla="*/ 224799 w 304956"/>
                <a:gd name="connsiteY5" fmla="*/ 222159 h 222159"/>
                <a:gd name="connsiteX6" fmla="*/ 305268 w 304956"/>
                <a:gd name="connsiteY6" fmla="*/ 141690 h 222159"/>
                <a:gd name="connsiteX7" fmla="*/ 305268 w 304956"/>
                <a:gd name="connsiteY7" fmla="*/ 12297 h 222159"/>
                <a:gd name="connsiteX8" fmla="*/ 292971 w 304956"/>
                <a:gd name="connsiteY8" fmla="*/ 0 h 222159"/>
                <a:gd name="connsiteX9" fmla="*/ 171735 w 304956"/>
                <a:gd name="connsiteY9" fmla="*/ 104275 h 222159"/>
                <a:gd name="connsiteX10" fmla="*/ 164931 w 304956"/>
                <a:gd name="connsiteY10" fmla="*/ 104275 h 222159"/>
                <a:gd name="connsiteX11" fmla="*/ 164931 w 304956"/>
                <a:gd name="connsiteY11" fmla="*/ 130180 h 222159"/>
                <a:gd name="connsiteX12" fmla="*/ 152634 w 304956"/>
                <a:gd name="connsiteY12" fmla="*/ 142477 h 222159"/>
                <a:gd name="connsiteX13" fmla="*/ 140337 w 304956"/>
                <a:gd name="connsiteY13" fmla="*/ 130180 h 222159"/>
                <a:gd name="connsiteX14" fmla="*/ 140337 w 304956"/>
                <a:gd name="connsiteY14" fmla="*/ 104275 h 222159"/>
                <a:gd name="connsiteX15" fmla="*/ 133533 w 304956"/>
                <a:gd name="connsiteY15" fmla="*/ 104275 h 222159"/>
                <a:gd name="connsiteX16" fmla="*/ 121237 w 304956"/>
                <a:gd name="connsiteY16" fmla="*/ 91979 h 222159"/>
                <a:gd name="connsiteX17" fmla="*/ 133533 w 304956"/>
                <a:gd name="connsiteY17" fmla="*/ 79682 h 222159"/>
                <a:gd name="connsiteX18" fmla="*/ 171735 w 304956"/>
                <a:gd name="connsiteY18" fmla="*/ 79682 h 222159"/>
                <a:gd name="connsiteX19" fmla="*/ 184031 w 304956"/>
                <a:gd name="connsiteY19" fmla="*/ 91979 h 222159"/>
                <a:gd name="connsiteX20" fmla="*/ 171735 w 304956"/>
                <a:gd name="connsiteY20" fmla="*/ 104275 h 222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04956" h="222159">
                  <a:moveTo>
                    <a:pt x="292971" y="0"/>
                  </a:moveTo>
                  <a:lnTo>
                    <a:pt x="12297" y="0"/>
                  </a:lnTo>
                  <a:cubicBezTo>
                    <a:pt x="5509" y="0"/>
                    <a:pt x="0" y="5509"/>
                    <a:pt x="0" y="12297"/>
                  </a:cubicBezTo>
                  <a:lnTo>
                    <a:pt x="0" y="141690"/>
                  </a:lnTo>
                  <a:cubicBezTo>
                    <a:pt x="0" y="186056"/>
                    <a:pt x="36103" y="222159"/>
                    <a:pt x="80477" y="222159"/>
                  </a:cubicBezTo>
                  <a:lnTo>
                    <a:pt x="224799" y="222159"/>
                  </a:lnTo>
                  <a:cubicBezTo>
                    <a:pt x="269165" y="222159"/>
                    <a:pt x="305268" y="186056"/>
                    <a:pt x="305268" y="141690"/>
                  </a:cubicBezTo>
                  <a:lnTo>
                    <a:pt x="305268" y="12297"/>
                  </a:lnTo>
                  <a:cubicBezTo>
                    <a:pt x="305268" y="5509"/>
                    <a:pt x="299759" y="0"/>
                    <a:pt x="292971" y="0"/>
                  </a:cubicBezTo>
                  <a:close/>
                  <a:moveTo>
                    <a:pt x="171735" y="104275"/>
                  </a:moveTo>
                  <a:lnTo>
                    <a:pt x="164931" y="104275"/>
                  </a:lnTo>
                  <a:lnTo>
                    <a:pt x="164931" y="130180"/>
                  </a:lnTo>
                  <a:cubicBezTo>
                    <a:pt x="164931" y="136976"/>
                    <a:pt x="159422" y="142477"/>
                    <a:pt x="152634" y="142477"/>
                  </a:cubicBezTo>
                  <a:cubicBezTo>
                    <a:pt x="145846" y="142477"/>
                    <a:pt x="140337" y="136976"/>
                    <a:pt x="140337" y="130180"/>
                  </a:cubicBezTo>
                  <a:lnTo>
                    <a:pt x="140337" y="104275"/>
                  </a:lnTo>
                  <a:lnTo>
                    <a:pt x="133533" y="104275"/>
                  </a:lnTo>
                  <a:cubicBezTo>
                    <a:pt x="126737" y="104275"/>
                    <a:pt x="121237" y="98767"/>
                    <a:pt x="121237" y="91979"/>
                  </a:cubicBezTo>
                  <a:cubicBezTo>
                    <a:pt x="121237" y="85183"/>
                    <a:pt x="126737" y="79682"/>
                    <a:pt x="133533" y="79682"/>
                  </a:cubicBezTo>
                  <a:lnTo>
                    <a:pt x="171735" y="79682"/>
                  </a:lnTo>
                  <a:cubicBezTo>
                    <a:pt x="178531" y="79682"/>
                    <a:pt x="184031" y="85183"/>
                    <a:pt x="184031" y="91979"/>
                  </a:cubicBezTo>
                  <a:cubicBezTo>
                    <a:pt x="184031" y="98767"/>
                    <a:pt x="178531" y="104275"/>
                    <a:pt x="171735" y="104275"/>
                  </a:cubicBezTo>
                  <a:close/>
                </a:path>
              </a:pathLst>
            </a:custGeom>
            <a:grpFill/>
            <a:ln w="81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33" name="Freeform: Shape 159">
              <a:extLst>
                <a:ext uri="{FF2B5EF4-FFF2-40B4-BE49-F238E27FC236}">
                  <a16:creationId xmlns:a16="http://schemas.microsoft.com/office/drawing/2014/main" id="{D845E9AA-07AC-4CAE-AB30-97EAE4F858EB}"/>
                </a:ext>
              </a:extLst>
            </p:cNvPr>
            <p:cNvSpPr/>
            <p:nvPr/>
          </p:nvSpPr>
          <p:spPr>
            <a:xfrm>
              <a:off x="4099186" y="1724490"/>
              <a:ext cx="255770" cy="172973"/>
            </a:xfrm>
            <a:custGeom>
              <a:avLst/>
              <a:gdLst>
                <a:gd name="connsiteX0" fmla="*/ 128041 w 255769"/>
                <a:gd name="connsiteY0" fmla="*/ 0 h 172972"/>
                <a:gd name="connsiteX1" fmla="*/ 0 w 255769"/>
                <a:gd name="connsiteY1" fmla="*/ 128041 h 172972"/>
                <a:gd name="connsiteX2" fmla="*/ 0 w 255769"/>
                <a:gd name="connsiteY2" fmla="*/ 172973 h 172972"/>
                <a:gd name="connsiteX3" fmla="*/ 24593 w 255769"/>
                <a:gd name="connsiteY3" fmla="*/ 172973 h 172972"/>
                <a:gd name="connsiteX4" fmla="*/ 24593 w 255769"/>
                <a:gd name="connsiteY4" fmla="*/ 128041 h 172972"/>
                <a:gd name="connsiteX5" fmla="*/ 128041 w 255769"/>
                <a:gd name="connsiteY5" fmla="*/ 24593 h 172972"/>
                <a:gd name="connsiteX6" fmla="*/ 231488 w 255769"/>
                <a:gd name="connsiteY6" fmla="*/ 128041 h 172972"/>
                <a:gd name="connsiteX7" fmla="*/ 231488 w 255769"/>
                <a:gd name="connsiteY7" fmla="*/ 172973 h 172972"/>
                <a:gd name="connsiteX8" fmla="*/ 256081 w 255769"/>
                <a:gd name="connsiteY8" fmla="*/ 172973 h 172972"/>
                <a:gd name="connsiteX9" fmla="*/ 256081 w 255769"/>
                <a:gd name="connsiteY9" fmla="*/ 128041 h 172972"/>
                <a:gd name="connsiteX10" fmla="*/ 128041 w 255769"/>
                <a:gd name="connsiteY10" fmla="*/ 0 h 172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55769" h="172972">
                  <a:moveTo>
                    <a:pt x="128041" y="0"/>
                  </a:moveTo>
                  <a:cubicBezTo>
                    <a:pt x="57442" y="0"/>
                    <a:pt x="0" y="57442"/>
                    <a:pt x="0" y="128041"/>
                  </a:cubicBezTo>
                  <a:lnTo>
                    <a:pt x="0" y="172973"/>
                  </a:lnTo>
                  <a:lnTo>
                    <a:pt x="24593" y="172973"/>
                  </a:lnTo>
                  <a:lnTo>
                    <a:pt x="24593" y="128041"/>
                  </a:lnTo>
                  <a:cubicBezTo>
                    <a:pt x="24593" y="71001"/>
                    <a:pt x="71001" y="24593"/>
                    <a:pt x="128041" y="24593"/>
                  </a:cubicBezTo>
                  <a:cubicBezTo>
                    <a:pt x="185081" y="24593"/>
                    <a:pt x="231488" y="71001"/>
                    <a:pt x="231488" y="128041"/>
                  </a:cubicBezTo>
                  <a:lnTo>
                    <a:pt x="231488" y="172973"/>
                  </a:lnTo>
                  <a:lnTo>
                    <a:pt x="256081" y="172973"/>
                  </a:lnTo>
                  <a:lnTo>
                    <a:pt x="256081" y="128041"/>
                  </a:lnTo>
                  <a:cubicBezTo>
                    <a:pt x="256081" y="57442"/>
                    <a:pt x="198640" y="0"/>
                    <a:pt x="128041" y="0"/>
                  </a:cubicBezTo>
                  <a:close/>
                </a:path>
              </a:pathLst>
            </a:custGeom>
            <a:grpFill/>
            <a:ln w="81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grpSp>
        <p:nvGrpSpPr>
          <p:cNvPr id="34" name="Graphic 44">
            <a:extLst>
              <a:ext uri="{FF2B5EF4-FFF2-40B4-BE49-F238E27FC236}">
                <a16:creationId xmlns:a16="http://schemas.microsoft.com/office/drawing/2014/main" id="{538DB4AC-9974-4FC1-B5C5-5F9EB42D7BED}"/>
              </a:ext>
            </a:extLst>
          </p:cNvPr>
          <p:cNvGrpSpPr/>
          <p:nvPr/>
        </p:nvGrpSpPr>
        <p:grpSpPr>
          <a:xfrm>
            <a:off x="7538830" y="5384210"/>
            <a:ext cx="452748" cy="452748"/>
            <a:chOff x="9158990" y="272944"/>
            <a:chExt cx="418905" cy="418905"/>
          </a:xfrm>
          <a:solidFill>
            <a:schemeClr val="bg1"/>
          </a:solidFill>
        </p:grpSpPr>
        <p:sp>
          <p:nvSpPr>
            <p:cNvPr id="35" name="Freeform: Shape 166">
              <a:extLst>
                <a:ext uri="{FF2B5EF4-FFF2-40B4-BE49-F238E27FC236}">
                  <a16:creationId xmlns:a16="http://schemas.microsoft.com/office/drawing/2014/main" id="{6733A288-00D8-4705-BA86-1C5F290A8FB6}"/>
                </a:ext>
              </a:extLst>
            </p:cNvPr>
            <p:cNvSpPr/>
            <p:nvPr/>
          </p:nvSpPr>
          <p:spPr>
            <a:xfrm>
              <a:off x="9303800" y="272944"/>
              <a:ext cx="129525" cy="129525"/>
            </a:xfrm>
            <a:custGeom>
              <a:avLst/>
              <a:gdLst>
                <a:gd name="connsiteX0" fmla="*/ 111073 w 129524"/>
                <a:gd name="connsiteY0" fmla="*/ 111096 h 129524"/>
                <a:gd name="connsiteX1" fmla="*/ 19029 w 129524"/>
                <a:gd name="connsiteY1" fmla="*/ 111096 h 129524"/>
                <a:gd name="connsiteX2" fmla="*/ 19029 w 129524"/>
                <a:gd name="connsiteY2" fmla="*/ 19035 h 129524"/>
                <a:gd name="connsiteX3" fmla="*/ 111073 w 129524"/>
                <a:gd name="connsiteY3" fmla="*/ 19035 h 129524"/>
                <a:gd name="connsiteX4" fmla="*/ 111073 w 129524"/>
                <a:gd name="connsiteY4" fmla="*/ 111096 h 1295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9524" h="129524">
                  <a:moveTo>
                    <a:pt x="111073" y="111096"/>
                  </a:moveTo>
                  <a:cubicBezTo>
                    <a:pt x="85693" y="136476"/>
                    <a:pt x="44409" y="136468"/>
                    <a:pt x="19029" y="111096"/>
                  </a:cubicBezTo>
                  <a:cubicBezTo>
                    <a:pt x="-6343" y="85716"/>
                    <a:pt x="-6343" y="44415"/>
                    <a:pt x="19029" y="19035"/>
                  </a:cubicBezTo>
                  <a:cubicBezTo>
                    <a:pt x="44409" y="-6345"/>
                    <a:pt x="85693" y="-6345"/>
                    <a:pt x="111073" y="19035"/>
                  </a:cubicBezTo>
                  <a:cubicBezTo>
                    <a:pt x="136445" y="44415"/>
                    <a:pt x="136445" y="85716"/>
                    <a:pt x="111073" y="111096"/>
                  </a:cubicBezTo>
                  <a:close/>
                </a:path>
              </a:pathLst>
            </a:custGeom>
            <a:grpFill/>
            <a:ln w="81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6" name="Freeform: Shape 167">
              <a:extLst>
                <a:ext uri="{FF2B5EF4-FFF2-40B4-BE49-F238E27FC236}">
                  <a16:creationId xmlns:a16="http://schemas.microsoft.com/office/drawing/2014/main" id="{DE7B957D-1EAF-475E-A0B5-9FCA75450B7E}"/>
                </a:ext>
              </a:extLst>
            </p:cNvPr>
            <p:cNvSpPr/>
            <p:nvPr/>
          </p:nvSpPr>
          <p:spPr>
            <a:xfrm>
              <a:off x="9158990" y="417741"/>
              <a:ext cx="129525" cy="129525"/>
            </a:xfrm>
            <a:custGeom>
              <a:avLst/>
              <a:gdLst>
                <a:gd name="connsiteX0" fmla="*/ 111111 w 129524"/>
                <a:gd name="connsiteY0" fmla="*/ 111096 h 129524"/>
                <a:gd name="connsiteX1" fmla="*/ 19075 w 129524"/>
                <a:gd name="connsiteY1" fmla="*/ 111096 h 129524"/>
                <a:gd name="connsiteX2" fmla="*/ 19075 w 129524"/>
                <a:gd name="connsiteY2" fmla="*/ 19035 h 129524"/>
                <a:gd name="connsiteX3" fmla="*/ 111111 w 129524"/>
                <a:gd name="connsiteY3" fmla="*/ 19035 h 129524"/>
                <a:gd name="connsiteX4" fmla="*/ 111111 w 129524"/>
                <a:gd name="connsiteY4" fmla="*/ 111096 h 1295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9524" h="129524">
                  <a:moveTo>
                    <a:pt x="111111" y="111096"/>
                  </a:moveTo>
                  <a:cubicBezTo>
                    <a:pt x="85739" y="136476"/>
                    <a:pt x="44447" y="136476"/>
                    <a:pt x="19075" y="111096"/>
                  </a:cubicBezTo>
                  <a:cubicBezTo>
                    <a:pt x="-6362" y="85650"/>
                    <a:pt x="-6354" y="44473"/>
                    <a:pt x="19075" y="19035"/>
                  </a:cubicBezTo>
                  <a:cubicBezTo>
                    <a:pt x="44447" y="-6345"/>
                    <a:pt x="85739" y="-6345"/>
                    <a:pt x="111111" y="19035"/>
                  </a:cubicBezTo>
                  <a:cubicBezTo>
                    <a:pt x="136549" y="44481"/>
                    <a:pt x="136549" y="85658"/>
                    <a:pt x="111111" y="111096"/>
                  </a:cubicBezTo>
                  <a:close/>
                </a:path>
              </a:pathLst>
            </a:custGeom>
            <a:grpFill/>
            <a:ln w="81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7" name="Freeform: Shape 168">
              <a:extLst>
                <a:ext uri="{FF2B5EF4-FFF2-40B4-BE49-F238E27FC236}">
                  <a16:creationId xmlns:a16="http://schemas.microsoft.com/office/drawing/2014/main" id="{C0F297E7-A773-4E08-9675-869C59DB3B0D}"/>
                </a:ext>
              </a:extLst>
            </p:cNvPr>
            <p:cNvSpPr/>
            <p:nvPr/>
          </p:nvSpPr>
          <p:spPr>
            <a:xfrm>
              <a:off x="9448523" y="417741"/>
              <a:ext cx="129525" cy="129525"/>
            </a:xfrm>
            <a:custGeom>
              <a:avLst/>
              <a:gdLst>
                <a:gd name="connsiteX0" fmla="*/ 111114 w 129524"/>
                <a:gd name="connsiteY0" fmla="*/ 111096 h 129524"/>
                <a:gd name="connsiteX1" fmla="*/ 19078 w 129524"/>
                <a:gd name="connsiteY1" fmla="*/ 111096 h 129524"/>
                <a:gd name="connsiteX2" fmla="*/ 19078 w 129524"/>
                <a:gd name="connsiteY2" fmla="*/ 19035 h 129524"/>
                <a:gd name="connsiteX3" fmla="*/ 111114 w 129524"/>
                <a:gd name="connsiteY3" fmla="*/ 19035 h 129524"/>
                <a:gd name="connsiteX4" fmla="*/ 111114 w 129524"/>
                <a:gd name="connsiteY4" fmla="*/ 111096 h 1295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9524" h="129524">
                  <a:moveTo>
                    <a:pt x="111114" y="111096"/>
                  </a:moveTo>
                  <a:cubicBezTo>
                    <a:pt x="85742" y="136476"/>
                    <a:pt x="44450" y="136476"/>
                    <a:pt x="19078" y="111096"/>
                  </a:cubicBezTo>
                  <a:cubicBezTo>
                    <a:pt x="-6359" y="85650"/>
                    <a:pt x="-6359" y="44473"/>
                    <a:pt x="19078" y="19035"/>
                  </a:cubicBezTo>
                  <a:cubicBezTo>
                    <a:pt x="44450" y="-6345"/>
                    <a:pt x="85742" y="-6345"/>
                    <a:pt x="111114" y="19035"/>
                  </a:cubicBezTo>
                  <a:cubicBezTo>
                    <a:pt x="136552" y="44481"/>
                    <a:pt x="136544" y="85658"/>
                    <a:pt x="111114" y="111096"/>
                  </a:cubicBezTo>
                  <a:close/>
                </a:path>
              </a:pathLst>
            </a:custGeom>
            <a:grpFill/>
            <a:ln w="81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8" name="Freeform: Shape 169">
              <a:extLst>
                <a:ext uri="{FF2B5EF4-FFF2-40B4-BE49-F238E27FC236}">
                  <a16:creationId xmlns:a16="http://schemas.microsoft.com/office/drawing/2014/main" id="{8609F5D2-037B-4B4B-815E-BD4755FE150D}"/>
                </a:ext>
              </a:extLst>
            </p:cNvPr>
            <p:cNvSpPr/>
            <p:nvPr/>
          </p:nvSpPr>
          <p:spPr>
            <a:xfrm>
              <a:off x="9303800" y="562538"/>
              <a:ext cx="129525" cy="129525"/>
            </a:xfrm>
            <a:custGeom>
              <a:avLst/>
              <a:gdLst>
                <a:gd name="connsiteX0" fmla="*/ 130100 w 129524"/>
                <a:gd name="connsiteY0" fmla="*/ 65066 h 129524"/>
                <a:gd name="connsiteX1" fmla="*/ 111073 w 129524"/>
                <a:gd name="connsiteY1" fmla="*/ 111096 h 129524"/>
                <a:gd name="connsiteX2" fmla="*/ 19029 w 129524"/>
                <a:gd name="connsiteY2" fmla="*/ 111096 h 129524"/>
                <a:gd name="connsiteX3" fmla="*/ 19029 w 129524"/>
                <a:gd name="connsiteY3" fmla="*/ 19035 h 129524"/>
                <a:gd name="connsiteX4" fmla="*/ 111073 w 129524"/>
                <a:gd name="connsiteY4" fmla="*/ 19035 h 129524"/>
                <a:gd name="connsiteX5" fmla="*/ 130100 w 129524"/>
                <a:gd name="connsiteY5" fmla="*/ 65066 h 1295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9524" h="129524">
                  <a:moveTo>
                    <a:pt x="130100" y="65066"/>
                  </a:moveTo>
                  <a:cubicBezTo>
                    <a:pt x="130100" y="81732"/>
                    <a:pt x="123764" y="98406"/>
                    <a:pt x="111073" y="111096"/>
                  </a:cubicBezTo>
                  <a:cubicBezTo>
                    <a:pt x="85693" y="136476"/>
                    <a:pt x="44409" y="136476"/>
                    <a:pt x="19029" y="111096"/>
                  </a:cubicBezTo>
                  <a:cubicBezTo>
                    <a:pt x="-6343" y="85716"/>
                    <a:pt x="-6343" y="44415"/>
                    <a:pt x="19029" y="19035"/>
                  </a:cubicBezTo>
                  <a:cubicBezTo>
                    <a:pt x="44409" y="-6345"/>
                    <a:pt x="85693" y="-6345"/>
                    <a:pt x="111073" y="19035"/>
                  </a:cubicBezTo>
                  <a:cubicBezTo>
                    <a:pt x="123764" y="31725"/>
                    <a:pt x="130100" y="48400"/>
                    <a:pt x="130100" y="65066"/>
                  </a:cubicBezTo>
                  <a:close/>
                </a:path>
              </a:pathLst>
            </a:custGeom>
            <a:grpFill/>
            <a:ln w="81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9" name="Freeform: Shape 170">
              <a:extLst>
                <a:ext uri="{FF2B5EF4-FFF2-40B4-BE49-F238E27FC236}">
                  <a16:creationId xmlns:a16="http://schemas.microsoft.com/office/drawing/2014/main" id="{25479AA2-3DA1-452A-97D1-7169695596FC}"/>
                </a:ext>
              </a:extLst>
            </p:cNvPr>
            <p:cNvSpPr/>
            <p:nvPr/>
          </p:nvSpPr>
          <p:spPr>
            <a:xfrm>
              <a:off x="9231219" y="345145"/>
              <a:ext cx="62303" cy="62303"/>
            </a:xfrm>
            <a:custGeom>
              <a:avLst/>
              <a:gdLst>
                <a:gd name="connsiteX0" fmla="*/ 60150 w 62302"/>
                <a:gd name="connsiteY0" fmla="*/ 5245 h 62302"/>
                <a:gd name="connsiteX1" fmla="*/ 43025 w 62302"/>
                <a:gd name="connsiteY1" fmla="*/ 2225 h 62302"/>
                <a:gd name="connsiteX2" fmla="*/ 2226 w 62302"/>
                <a:gd name="connsiteY2" fmla="*/ 43033 h 62302"/>
                <a:gd name="connsiteX3" fmla="*/ 5243 w 62302"/>
                <a:gd name="connsiteY3" fmla="*/ 60161 h 62302"/>
                <a:gd name="connsiteX4" fmla="*/ 22368 w 62302"/>
                <a:gd name="connsiteY4" fmla="*/ 57143 h 62302"/>
                <a:gd name="connsiteX5" fmla="*/ 57131 w 62302"/>
                <a:gd name="connsiteY5" fmla="*/ 22373 h 62302"/>
                <a:gd name="connsiteX6" fmla="*/ 60150 w 62302"/>
                <a:gd name="connsiteY6" fmla="*/ 5245 h 62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302" h="62302">
                  <a:moveTo>
                    <a:pt x="60150" y="5245"/>
                  </a:moveTo>
                  <a:cubicBezTo>
                    <a:pt x="56254" y="-319"/>
                    <a:pt x="48587" y="-1670"/>
                    <a:pt x="43025" y="2225"/>
                  </a:cubicBezTo>
                  <a:cubicBezTo>
                    <a:pt x="27105" y="13377"/>
                    <a:pt x="13378" y="27106"/>
                    <a:pt x="2226" y="43033"/>
                  </a:cubicBezTo>
                  <a:cubicBezTo>
                    <a:pt x="-1671" y="48597"/>
                    <a:pt x="-319" y="56265"/>
                    <a:pt x="5243" y="60161"/>
                  </a:cubicBezTo>
                  <a:cubicBezTo>
                    <a:pt x="10806" y="64059"/>
                    <a:pt x="18472" y="62707"/>
                    <a:pt x="22368" y="57143"/>
                  </a:cubicBezTo>
                  <a:cubicBezTo>
                    <a:pt x="31871" y="43572"/>
                    <a:pt x="43566" y="31874"/>
                    <a:pt x="57131" y="22373"/>
                  </a:cubicBezTo>
                  <a:cubicBezTo>
                    <a:pt x="62695" y="18477"/>
                    <a:pt x="64046" y="10808"/>
                    <a:pt x="60150" y="5245"/>
                  </a:cubicBezTo>
                  <a:close/>
                </a:path>
              </a:pathLst>
            </a:custGeom>
            <a:grpFill/>
            <a:ln w="81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40" name="Freeform: Shape 171">
              <a:extLst>
                <a:ext uri="{FF2B5EF4-FFF2-40B4-BE49-F238E27FC236}">
                  <a16:creationId xmlns:a16="http://schemas.microsoft.com/office/drawing/2014/main" id="{93A2045F-791C-4C45-B193-EF7A2644631F}"/>
                </a:ext>
              </a:extLst>
            </p:cNvPr>
            <p:cNvSpPr/>
            <p:nvPr/>
          </p:nvSpPr>
          <p:spPr>
            <a:xfrm>
              <a:off x="9444108" y="558080"/>
              <a:ext cx="62303" cy="62303"/>
            </a:xfrm>
            <a:custGeom>
              <a:avLst/>
              <a:gdLst>
                <a:gd name="connsiteX0" fmla="*/ 2225 w 62302"/>
                <a:gd name="connsiteY0" fmla="*/ 57143 h 62302"/>
                <a:gd name="connsiteX1" fmla="*/ 19350 w 62302"/>
                <a:gd name="connsiteY1" fmla="*/ 60163 h 62302"/>
                <a:gd name="connsiteX2" fmla="*/ 60150 w 62302"/>
                <a:gd name="connsiteY2" fmla="*/ 19355 h 62302"/>
                <a:gd name="connsiteX3" fmla="*/ 57133 w 62302"/>
                <a:gd name="connsiteY3" fmla="*/ 2227 h 62302"/>
                <a:gd name="connsiteX4" fmla="*/ 40008 w 62302"/>
                <a:gd name="connsiteY4" fmla="*/ 5245 h 62302"/>
                <a:gd name="connsiteX5" fmla="*/ 5245 w 62302"/>
                <a:gd name="connsiteY5" fmla="*/ 40015 h 62302"/>
                <a:gd name="connsiteX6" fmla="*/ 2225 w 62302"/>
                <a:gd name="connsiteY6" fmla="*/ 57143 h 62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302" h="62302">
                  <a:moveTo>
                    <a:pt x="2225" y="57143"/>
                  </a:moveTo>
                  <a:cubicBezTo>
                    <a:pt x="6125" y="62711"/>
                    <a:pt x="13793" y="64056"/>
                    <a:pt x="19350" y="60163"/>
                  </a:cubicBezTo>
                  <a:cubicBezTo>
                    <a:pt x="35271" y="49011"/>
                    <a:pt x="48998" y="35282"/>
                    <a:pt x="60150" y="19355"/>
                  </a:cubicBezTo>
                  <a:cubicBezTo>
                    <a:pt x="64046" y="13791"/>
                    <a:pt x="62694" y="6123"/>
                    <a:pt x="57133" y="2227"/>
                  </a:cubicBezTo>
                  <a:cubicBezTo>
                    <a:pt x="51571" y="-1671"/>
                    <a:pt x="43904" y="-320"/>
                    <a:pt x="40008" y="5245"/>
                  </a:cubicBezTo>
                  <a:cubicBezTo>
                    <a:pt x="30505" y="18816"/>
                    <a:pt x="18809" y="30514"/>
                    <a:pt x="5245" y="40015"/>
                  </a:cubicBezTo>
                  <a:cubicBezTo>
                    <a:pt x="-319" y="43911"/>
                    <a:pt x="-1670" y="51580"/>
                    <a:pt x="2225" y="57143"/>
                  </a:cubicBezTo>
                  <a:close/>
                </a:path>
              </a:pathLst>
            </a:custGeom>
            <a:grpFill/>
            <a:ln w="81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41" name="Freeform: Shape 172">
              <a:extLst>
                <a:ext uri="{FF2B5EF4-FFF2-40B4-BE49-F238E27FC236}">
                  <a16:creationId xmlns:a16="http://schemas.microsoft.com/office/drawing/2014/main" id="{93B1C796-995B-481C-9C59-03D9EC79281C}"/>
                </a:ext>
              </a:extLst>
            </p:cNvPr>
            <p:cNvSpPr/>
            <p:nvPr/>
          </p:nvSpPr>
          <p:spPr>
            <a:xfrm>
              <a:off x="9231220" y="558081"/>
              <a:ext cx="62303" cy="62303"/>
            </a:xfrm>
            <a:custGeom>
              <a:avLst/>
              <a:gdLst>
                <a:gd name="connsiteX0" fmla="*/ 57131 w 62302"/>
                <a:gd name="connsiteY0" fmla="*/ 40014 h 62302"/>
                <a:gd name="connsiteX1" fmla="*/ 22368 w 62302"/>
                <a:gd name="connsiteY1" fmla="*/ 5244 h 62302"/>
                <a:gd name="connsiteX2" fmla="*/ 5243 w 62302"/>
                <a:gd name="connsiteY2" fmla="*/ 2225 h 62302"/>
                <a:gd name="connsiteX3" fmla="*/ 2226 w 62302"/>
                <a:gd name="connsiteY3" fmla="*/ 19354 h 62302"/>
                <a:gd name="connsiteX4" fmla="*/ 43026 w 62302"/>
                <a:gd name="connsiteY4" fmla="*/ 60161 h 62302"/>
                <a:gd name="connsiteX5" fmla="*/ 60151 w 62302"/>
                <a:gd name="connsiteY5" fmla="*/ 57142 h 62302"/>
                <a:gd name="connsiteX6" fmla="*/ 57131 w 62302"/>
                <a:gd name="connsiteY6" fmla="*/ 40014 h 62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302" h="62302">
                  <a:moveTo>
                    <a:pt x="57131" y="40014"/>
                  </a:moveTo>
                  <a:cubicBezTo>
                    <a:pt x="43567" y="30512"/>
                    <a:pt x="31871" y="18813"/>
                    <a:pt x="22368" y="5244"/>
                  </a:cubicBezTo>
                  <a:cubicBezTo>
                    <a:pt x="18472" y="-320"/>
                    <a:pt x="10807" y="-1669"/>
                    <a:pt x="5243" y="2225"/>
                  </a:cubicBezTo>
                  <a:cubicBezTo>
                    <a:pt x="-319" y="6122"/>
                    <a:pt x="-1670" y="13791"/>
                    <a:pt x="2226" y="19354"/>
                  </a:cubicBezTo>
                  <a:cubicBezTo>
                    <a:pt x="13378" y="35280"/>
                    <a:pt x="27105" y="49010"/>
                    <a:pt x="43026" y="60161"/>
                  </a:cubicBezTo>
                  <a:cubicBezTo>
                    <a:pt x="48592" y="64059"/>
                    <a:pt x="56257" y="62703"/>
                    <a:pt x="60151" y="57142"/>
                  </a:cubicBezTo>
                  <a:cubicBezTo>
                    <a:pt x="64045" y="51578"/>
                    <a:pt x="62694" y="43910"/>
                    <a:pt x="57131" y="40014"/>
                  </a:cubicBezTo>
                  <a:close/>
                </a:path>
              </a:pathLst>
            </a:custGeom>
            <a:grpFill/>
            <a:ln w="81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42" name="Freeform: Shape 173">
              <a:extLst>
                <a:ext uri="{FF2B5EF4-FFF2-40B4-BE49-F238E27FC236}">
                  <a16:creationId xmlns:a16="http://schemas.microsoft.com/office/drawing/2014/main" id="{ECB05D90-ED8D-4450-BD4E-419988609B6A}"/>
                </a:ext>
              </a:extLst>
            </p:cNvPr>
            <p:cNvSpPr/>
            <p:nvPr/>
          </p:nvSpPr>
          <p:spPr>
            <a:xfrm>
              <a:off x="9444107" y="345145"/>
              <a:ext cx="62303" cy="62303"/>
            </a:xfrm>
            <a:custGeom>
              <a:avLst/>
              <a:gdLst>
                <a:gd name="connsiteX0" fmla="*/ 40008 w 62302"/>
                <a:gd name="connsiteY0" fmla="*/ 57144 h 62302"/>
                <a:gd name="connsiteX1" fmla="*/ 57133 w 62302"/>
                <a:gd name="connsiteY1" fmla="*/ 60162 h 62302"/>
                <a:gd name="connsiteX2" fmla="*/ 60150 w 62302"/>
                <a:gd name="connsiteY2" fmla="*/ 43034 h 62302"/>
                <a:gd name="connsiteX3" fmla="*/ 19350 w 62302"/>
                <a:gd name="connsiteY3" fmla="*/ 2226 h 62302"/>
                <a:gd name="connsiteX4" fmla="*/ 2225 w 62302"/>
                <a:gd name="connsiteY4" fmla="*/ 5245 h 62302"/>
                <a:gd name="connsiteX5" fmla="*/ 5244 w 62302"/>
                <a:gd name="connsiteY5" fmla="*/ 22374 h 62302"/>
                <a:gd name="connsiteX6" fmla="*/ 40008 w 62302"/>
                <a:gd name="connsiteY6" fmla="*/ 57144 h 62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302" h="62302">
                  <a:moveTo>
                    <a:pt x="40008" y="57144"/>
                  </a:moveTo>
                  <a:cubicBezTo>
                    <a:pt x="43902" y="62706"/>
                    <a:pt x="51567" y="64059"/>
                    <a:pt x="57133" y="60162"/>
                  </a:cubicBezTo>
                  <a:cubicBezTo>
                    <a:pt x="62695" y="56266"/>
                    <a:pt x="64046" y="48597"/>
                    <a:pt x="60150" y="43034"/>
                  </a:cubicBezTo>
                  <a:cubicBezTo>
                    <a:pt x="48997" y="27107"/>
                    <a:pt x="35271" y="13377"/>
                    <a:pt x="19350" y="2226"/>
                  </a:cubicBezTo>
                  <a:cubicBezTo>
                    <a:pt x="13788" y="-1670"/>
                    <a:pt x="6121" y="-319"/>
                    <a:pt x="2225" y="5245"/>
                  </a:cubicBezTo>
                  <a:cubicBezTo>
                    <a:pt x="-1670" y="10809"/>
                    <a:pt x="-319" y="18478"/>
                    <a:pt x="5244" y="22374"/>
                  </a:cubicBezTo>
                  <a:cubicBezTo>
                    <a:pt x="18809" y="31875"/>
                    <a:pt x="30505" y="43574"/>
                    <a:pt x="40008" y="57144"/>
                  </a:cubicBezTo>
                  <a:close/>
                </a:path>
              </a:pathLst>
            </a:custGeom>
            <a:grpFill/>
            <a:ln w="81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sp>
        <p:nvSpPr>
          <p:cNvPr id="43" name="Freeform 116">
            <a:extLst>
              <a:ext uri="{FF2B5EF4-FFF2-40B4-BE49-F238E27FC236}">
                <a16:creationId xmlns:a16="http://schemas.microsoft.com/office/drawing/2014/main" id="{06A57DDE-928A-49E8-9E22-6075EF895373}"/>
              </a:ext>
            </a:extLst>
          </p:cNvPr>
          <p:cNvSpPr>
            <a:spLocks noChangeArrowheads="1"/>
          </p:cNvSpPr>
          <p:nvPr/>
        </p:nvSpPr>
        <p:spPr bwMode="auto">
          <a:xfrm>
            <a:off x="4781641" y="5384210"/>
            <a:ext cx="328230" cy="338649"/>
          </a:xfrm>
          <a:custGeom>
            <a:avLst/>
            <a:gdLst>
              <a:gd name="T0" fmla="*/ 179798 w 445"/>
              <a:gd name="T1" fmla="*/ 71025 h 462"/>
              <a:gd name="T2" fmla="*/ 179798 w 445"/>
              <a:gd name="T3" fmla="*/ 71025 h 462"/>
              <a:gd name="T4" fmla="*/ 119566 w 445"/>
              <a:gd name="T5" fmla="*/ 3574 h 462"/>
              <a:gd name="T6" fmla="*/ 16182 w 445"/>
              <a:gd name="T7" fmla="*/ 110781 h 462"/>
              <a:gd name="T8" fmla="*/ 4045 w 445"/>
              <a:gd name="T9" fmla="*/ 142497 h 462"/>
              <a:gd name="T10" fmla="*/ 36409 w 445"/>
              <a:gd name="T11" fmla="*/ 158578 h 462"/>
              <a:gd name="T12" fmla="*/ 44050 w 445"/>
              <a:gd name="T13" fmla="*/ 154558 h 462"/>
              <a:gd name="T14" fmla="*/ 60232 w 445"/>
              <a:gd name="T15" fmla="*/ 166172 h 462"/>
              <a:gd name="T16" fmla="*/ 71919 w 445"/>
              <a:gd name="T17" fmla="*/ 193867 h 462"/>
              <a:gd name="T18" fmla="*/ 84055 w 445"/>
              <a:gd name="T19" fmla="*/ 201908 h 462"/>
              <a:gd name="T20" fmla="*/ 107879 w 445"/>
              <a:gd name="T21" fmla="*/ 193867 h 462"/>
              <a:gd name="T22" fmla="*/ 111924 w 445"/>
              <a:gd name="T23" fmla="*/ 185827 h 462"/>
              <a:gd name="T24" fmla="*/ 103833 w 445"/>
              <a:gd name="T25" fmla="*/ 174213 h 462"/>
              <a:gd name="T26" fmla="*/ 91697 w 445"/>
              <a:gd name="T27" fmla="*/ 150538 h 462"/>
              <a:gd name="T28" fmla="*/ 103833 w 445"/>
              <a:gd name="T29" fmla="*/ 138477 h 462"/>
              <a:gd name="T30" fmla="*/ 187439 w 445"/>
              <a:gd name="T31" fmla="*/ 158578 h 462"/>
              <a:gd name="T32" fmla="*/ 179798 w 445"/>
              <a:gd name="T33" fmla="*/ 71025 h 462"/>
              <a:gd name="T34" fmla="*/ 175303 w 445"/>
              <a:gd name="T35" fmla="*/ 138477 h 462"/>
              <a:gd name="T36" fmla="*/ 175303 w 445"/>
              <a:gd name="T37" fmla="*/ 138477 h 462"/>
              <a:gd name="T38" fmla="*/ 135747 w 445"/>
              <a:gd name="T39" fmla="*/ 91127 h 462"/>
              <a:gd name="T40" fmla="*/ 127656 w 445"/>
              <a:gd name="T41" fmla="*/ 27695 h 462"/>
              <a:gd name="T42" fmla="*/ 163616 w 445"/>
              <a:gd name="T43" fmla="*/ 79066 h 462"/>
              <a:gd name="T44" fmla="*/ 175303 w 445"/>
              <a:gd name="T45" fmla="*/ 138477 h 462"/>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445" h="462">
                <a:moveTo>
                  <a:pt x="400" y="159"/>
                </a:moveTo>
                <a:lnTo>
                  <a:pt x="400" y="159"/>
                </a:lnTo>
                <a:cubicBezTo>
                  <a:pt x="364" y="71"/>
                  <a:pt x="302" y="0"/>
                  <a:pt x="266" y="8"/>
                </a:cubicBezTo>
                <a:cubicBezTo>
                  <a:pt x="213" y="36"/>
                  <a:pt x="302" y="142"/>
                  <a:pt x="36" y="248"/>
                </a:cubicBezTo>
                <a:cubicBezTo>
                  <a:pt x="9" y="257"/>
                  <a:pt x="0" y="292"/>
                  <a:pt x="9" y="319"/>
                </a:cubicBezTo>
                <a:cubicBezTo>
                  <a:pt x="18" y="337"/>
                  <a:pt x="53" y="363"/>
                  <a:pt x="81" y="355"/>
                </a:cubicBezTo>
                <a:lnTo>
                  <a:pt x="98" y="346"/>
                </a:lnTo>
                <a:cubicBezTo>
                  <a:pt x="116" y="372"/>
                  <a:pt x="134" y="355"/>
                  <a:pt x="134" y="372"/>
                </a:cubicBezTo>
                <a:cubicBezTo>
                  <a:pt x="143" y="390"/>
                  <a:pt x="160" y="425"/>
                  <a:pt x="160" y="434"/>
                </a:cubicBezTo>
                <a:cubicBezTo>
                  <a:pt x="169" y="443"/>
                  <a:pt x="178" y="461"/>
                  <a:pt x="187" y="452"/>
                </a:cubicBezTo>
                <a:cubicBezTo>
                  <a:pt x="196" y="452"/>
                  <a:pt x="231" y="443"/>
                  <a:pt x="240" y="434"/>
                </a:cubicBezTo>
                <a:cubicBezTo>
                  <a:pt x="257" y="434"/>
                  <a:pt x="257" y="425"/>
                  <a:pt x="249" y="416"/>
                </a:cubicBezTo>
                <a:cubicBezTo>
                  <a:pt x="249" y="408"/>
                  <a:pt x="231" y="399"/>
                  <a:pt x="231" y="390"/>
                </a:cubicBezTo>
                <a:cubicBezTo>
                  <a:pt x="222" y="381"/>
                  <a:pt x="213" y="346"/>
                  <a:pt x="204" y="337"/>
                </a:cubicBezTo>
                <a:cubicBezTo>
                  <a:pt x="196" y="328"/>
                  <a:pt x="213" y="310"/>
                  <a:pt x="231" y="310"/>
                </a:cubicBezTo>
                <a:cubicBezTo>
                  <a:pt x="355" y="302"/>
                  <a:pt x="373" y="372"/>
                  <a:pt x="417" y="355"/>
                </a:cubicBezTo>
                <a:cubicBezTo>
                  <a:pt x="444" y="346"/>
                  <a:pt x="444" y="248"/>
                  <a:pt x="400" y="159"/>
                </a:cubicBezTo>
                <a:close/>
                <a:moveTo>
                  <a:pt x="390" y="310"/>
                </a:moveTo>
                <a:lnTo>
                  <a:pt x="390" y="310"/>
                </a:lnTo>
                <a:cubicBezTo>
                  <a:pt x="381" y="310"/>
                  <a:pt x="328" y="275"/>
                  <a:pt x="302" y="204"/>
                </a:cubicBezTo>
                <a:cubicBezTo>
                  <a:pt x="275" y="133"/>
                  <a:pt x="275" y="62"/>
                  <a:pt x="284" y="62"/>
                </a:cubicBezTo>
                <a:cubicBezTo>
                  <a:pt x="293" y="62"/>
                  <a:pt x="337" y="106"/>
                  <a:pt x="364" y="177"/>
                </a:cubicBezTo>
                <a:cubicBezTo>
                  <a:pt x="400" y="248"/>
                  <a:pt x="390" y="302"/>
                  <a:pt x="390" y="310"/>
                </a:cubicBezTo>
                <a:close/>
              </a:path>
            </a:pathLst>
          </a:custGeom>
          <a:solidFill>
            <a:schemeClr val="bg1"/>
          </a:solid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7"/>
                    </a:srgbClr>
                  </a:outerShdw>
                </a:effectLst>
              </a14:hiddenEffects>
            </a:ext>
          </a:extLst>
        </p:spPr>
        <p:txBody>
          <a:bodyPr wrap="none" lIns="34290" tIns="17145" rIns="34290" bIns="17145"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grpSp>
        <p:nvGrpSpPr>
          <p:cNvPr id="44" name="Group 88">
            <a:extLst>
              <a:ext uri="{FF2B5EF4-FFF2-40B4-BE49-F238E27FC236}">
                <a16:creationId xmlns:a16="http://schemas.microsoft.com/office/drawing/2014/main" id="{0915289B-177C-4CD4-8BA0-C4CDEC658C97}"/>
              </a:ext>
            </a:extLst>
          </p:cNvPr>
          <p:cNvGrpSpPr/>
          <p:nvPr/>
        </p:nvGrpSpPr>
        <p:grpSpPr>
          <a:xfrm>
            <a:off x="8379427" y="2263846"/>
            <a:ext cx="3088113" cy="917477"/>
            <a:chOff x="7779911" y="1991949"/>
            <a:chExt cx="3088113" cy="917477"/>
          </a:xfrm>
        </p:grpSpPr>
        <p:sp>
          <p:nvSpPr>
            <p:cNvPr id="45" name="Rectangle: Rounded Corners 89">
              <a:extLst>
                <a:ext uri="{FF2B5EF4-FFF2-40B4-BE49-F238E27FC236}">
                  <a16:creationId xmlns:a16="http://schemas.microsoft.com/office/drawing/2014/main" id="{9FCE72A5-98DC-4873-9F06-1561C3419935}"/>
                </a:ext>
              </a:extLst>
            </p:cNvPr>
            <p:cNvSpPr/>
            <p:nvPr/>
          </p:nvSpPr>
          <p:spPr>
            <a:xfrm>
              <a:off x="7779911" y="1991949"/>
              <a:ext cx="3088113" cy="917477"/>
            </a:xfrm>
            <a:prstGeom prst="roundRect">
              <a:avLst>
                <a:gd name="adj" fmla="val 4672"/>
              </a:avLst>
            </a:prstGeom>
            <a:solidFill>
              <a:schemeClr val="accent1"/>
            </a:solidFill>
            <a:ln>
              <a:noFill/>
            </a:ln>
            <a:effectLst>
              <a:outerShdw blurRad="1270000" sx="88000" sy="88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等线" panose="020F0502020204030204"/>
                <a:ea typeface="+mn-ea"/>
                <a:cs typeface="+mn-cs"/>
              </a:endParaRPr>
            </a:p>
          </p:txBody>
        </p:sp>
        <p:sp>
          <p:nvSpPr>
            <p:cNvPr id="46" name="TextBox 90">
              <a:extLst>
                <a:ext uri="{FF2B5EF4-FFF2-40B4-BE49-F238E27FC236}">
                  <a16:creationId xmlns:a16="http://schemas.microsoft.com/office/drawing/2014/main" id="{C12EEEEC-103F-4D19-B537-37E7598948B6}"/>
                </a:ext>
              </a:extLst>
            </p:cNvPr>
            <p:cNvSpPr txBox="1"/>
            <p:nvPr/>
          </p:nvSpPr>
          <p:spPr>
            <a:xfrm>
              <a:off x="8789812" y="2081109"/>
              <a:ext cx="1699273" cy="326884"/>
            </a:xfrm>
            <a:prstGeom prst="rect">
              <a:avLst/>
            </a:prstGeom>
            <a:noFill/>
          </p:spPr>
          <p:txBody>
            <a:bodyPr wrap="square" rtlCol="0">
              <a:spAutoFit/>
            </a:bodyPr>
            <a:lstStyle/>
            <a:p>
              <a:pPr marL="0" marR="0" lvl="0" indent="0" algn="l" defTabSz="914400" rtl="0" eaLnBrk="1" fontAlgn="auto" latinLnBrk="0" hangingPunct="1">
                <a:lnSpc>
                  <a:spcPct val="14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等线 Light" panose="020F0302020204030204"/>
                  <a:ea typeface="+mn-ea"/>
                  <a:cs typeface="+mn-cs"/>
                </a:rPr>
                <a:t>Growth Value</a:t>
              </a:r>
            </a:p>
          </p:txBody>
        </p:sp>
        <p:sp>
          <p:nvSpPr>
            <p:cNvPr id="47" name="TextBox 91">
              <a:extLst>
                <a:ext uri="{FF2B5EF4-FFF2-40B4-BE49-F238E27FC236}">
                  <a16:creationId xmlns:a16="http://schemas.microsoft.com/office/drawing/2014/main" id="{480A82AB-1704-44C6-BEC7-ED04AA4D6D2A}"/>
                </a:ext>
              </a:extLst>
            </p:cNvPr>
            <p:cNvSpPr txBox="1"/>
            <p:nvPr/>
          </p:nvSpPr>
          <p:spPr>
            <a:xfrm>
              <a:off x="8789812" y="2316193"/>
              <a:ext cx="2044891" cy="473591"/>
            </a:xfrm>
            <a:prstGeom prst="rect">
              <a:avLst/>
            </a:prstGeom>
            <a:noFill/>
          </p:spPr>
          <p:txBody>
            <a:bodyPr wrap="square" rtlCol="0">
              <a:spAutoFit/>
            </a:bodyPr>
            <a:lstStyle/>
            <a:p>
              <a:pPr marL="0" marR="0" lvl="0" indent="0" algn="l" defTabSz="914400" rtl="0" eaLnBrk="1" fontAlgn="auto" latinLnBrk="0" hangingPunct="1">
                <a:lnSpc>
                  <a:spcPct val="14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21.000-36.021</a:t>
              </a:r>
            </a:p>
          </p:txBody>
        </p:sp>
        <p:grpSp>
          <p:nvGrpSpPr>
            <p:cNvPr id="48" name="Group 92">
              <a:extLst>
                <a:ext uri="{FF2B5EF4-FFF2-40B4-BE49-F238E27FC236}">
                  <a16:creationId xmlns:a16="http://schemas.microsoft.com/office/drawing/2014/main" id="{299F5908-7C5E-4B64-A48C-C1AB3BD39611}"/>
                </a:ext>
              </a:extLst>
            </p:cNvPr>
            <p:cNvGrpSpPr/>
            <p:nvPr/>
          </p:nvGrpSpPr>
          <p:grpSpPr>
            <a:xfrm>
              <a:off x="7981242" y="2113203"/>
              <a:ext cx="682732" cy="670474"/>
              <a:chOff x="7591353" y="1737100"/>
              <a:chExt cx="682732" cy="670474"/>
            </a:xfrm>
          </p:grpSpPr>
          <p:grpSp>
            <p:nvGrpSpPr>
              <p:cNvPr id="49" name="Group 98">
                <a:extLst>
                  <a:ext uri="{FF2B5EF4-FFF2-40B4-BE49-F238E27FC236}">
                    <a16:creationId xmlns:a16="http://schemas.microsoft.com/office/drawing/2014/main" id="{69858CBD-9955-43BE-BF84-5B2D933C48C5}"/>
                  </a:ext>
                </a:extLst>
              </p:cNvPr>
              <p:cNvGrpSpPr/>
              <p:nvPr/>
            </p:nvGrpSpPr>
            <p:grpSpPr>
              <a:xfrm>
                <a:off x="7603610" y="1737100"/>
                <a:ext cx="670475" cy="670474"/>
                <a:chOff x="7603610" y="1737100"/>
                <a:chExt cx="670475" cy="670474"/>
              </a:xfrm>
            </p:grpSpPr>
            <p:grpSp>
              <p:nvGrpSpPr>
                <p:cNvPr id="51" name="Group 110">
                  <a:extLst>
                    <a:ext uri="{FF2B5EF4-FFF2-40B4-BE49-F238E27FC236}">
                      <a16:creationId xmlns:a16="http://schemas.microsoft.com/office/drawing/2014/main" id="{2E63DA84-13E5-4516-A2D2-617EB531D710}"/>
                    </a:ext>
                  </a:extLst>
                </p:cNvPr>
                <p:cNvGrpSpPr/>
                <p:nvPr/>
              </p:nvGrpSpPr>
              <p:grpSpPr>
                <a:xfrm>
                  <a:off x="7603610" y="1737100"/>
                  <a:ext cx="670475" cy="670474"/>
                  <a:chOff x="1794513" y="2579369"/>
                  <a:chExt cx="784854" cy="784854"/>
                </a:xfrm>
              </p:grpSpPr>
              <p:sp>
                <p:nvSpPr>
                  <p:cNvPr id="53" name="Oval 112">
                    <a:extLst>
                      <a:ext uri="{FF2B5EF4-FFF2-40B4-BE49-F238E27FC236}">
                        <a16:creationId xmlns:a16="http://schemas.microsoft.com/office/drawing/2014/main" id="{FA34B8E9-3FF7-41AD-8896-DD6283F455E3}"/>
                      </a:ext>
                    </a:extLst>
                  </p:cNvPr>
                  <p:cNvSpPr/>
                  <p:nvPr/>
                </p:nvSpPr>
                <p:spPr>
                  <a:xfrm>
                    <a:off x="1794514" y="2579370"/>
                    <a:ext cx="784853" cy="784853"/>
                  </a:xfrm>
                  <a:prstGeom prst="ellipse">
                    <a:avLst/>
                  </a:prstGeom>
                  <a:noFill/>
                  <a:ln w="222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等线" panose="020F0502020204030204"/>
                      <a:ea typeface="+mn-ea"/>
                      <a:cs typeface="+mn-cs"/>
                    </a:endParaRPr>
                  </a:p>
                </p:txBody>
              </p:sp>
              <p:sp>
                <p:nvSpPr>
                  <p:cNvPr id="54" name="Arc 113">
                    <a:extLst>
                      <a:ext uri="{FF2B5EF4-FFF2-40B4-BE49-F238E27FC236}">
                        <a16:creationId xmlns:a16="http://schemas.microsoft.com/office/drawing/2014/main" id="{8515357D-A1EB-4D89-8AFE-8BA00C196E6F}"/>
                      </a:ext>
                    </a:extLst>
                  </p:cNvPr>
                  <p:cNvSpPr/>
                  <p:nvPr/>
                </p:nvSpPr>
                <p:spPr>
                  <a:xfrm>
                    <a:off x="1794513" y="2579369"/>
                    <a:ext cx="784854" cy="784854"/>
                  </a:xfrm>
                  <a:prstGeom prst="arc">
                    <a:avLst>
                      <a:gd name="adj1" fmla="val 611855"/>
                      <a:gd name="adj2" fmla="val 18282474"/>
                    </a:avLst>
                  </a:prstGeom>
                  <a:ln w="69850" cap="rnd">
                    <a:solidFill>
                      <a:schemeClr val="bg1"/>
                    </a:solidFill>
                    <a:roun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grpSp>
            <p:sp>
              <p:nvSpPr>
                <p:cNvPr id="52" name="Oval 111">
                  <a:extLst>
                    <a:ext uri="{FF2B5EF4-FFF2-40B4-BE49-F238E27FC236}">
                      <a16:creationId xmlns:a16="http://schemas.microsoft.com/office/drawing/2014/main" id="{9273BA3F-E92A-46E2-A4E0-3E4F1DBC8AF4}"/>
                    </a:ext>
                  </a:extLst>
                </p:cNvPr>
                <p:cNvSpPr/>
                <p:nvPr/>
              </p:nvSpPr>
              <p:spPr>
                <a:xfrm rot="5400000">
                  <a:off x="7672086" y="1805576"/>
                  <a:ext cx="533522" cy="533522"/>
                </a:xfrm>
                <a:prstGeom prst="ellipse">
                  <a:avLst/>
                </a:prstGeom>
                <a:solidFill>
                  <a:schemeClr val="bg1"/>
                </a:solidFill>
                <a:ln>
                  <a:noFill/>
                </a:ln>
                <a:effectLst>
                  <a:outerShdw blurRad="381000" dist="444500" dir="8100000" sx="90000" sy="90000" algn="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等线" panose="020F0502020204030204"/>
                    <a:ea typeface="+mn-ea"/>
                    <a:cs typeface="+mn-cs"/>
                  </a:endParaRPr>
                </a:p>
              </p:txBody>
            </p:sp>
          </p:grpSp>
          <p:sp>
            <p:nvSpPr>
              <p:cNvPr id="50" name="TextBox 104">
                <a:extLst>
                  <a:ext uri="{FF2B5EF4-FFF2-40B4-BE49-F238E27FC236}">
                    <a16:creationId xmlns:a16="http://schemas.microsoft.com/office/drawing/2014/main" id="{3B714F8F-785F-4EC3-B6FC-5E5FAA20AD41}"/>
                  </a:ext>
                </a:extLst>
              </p:cNvPr>
              <p:cNvSpPr txBox="1"/>
              <p:nvPr/>
            </p:nvSpPr>
            <p:spPr>
              <a:xfrm rot="20700000" flipH="1">
                <a:off x="7591353" y="1851667"/>
                <a:ext cx="676030" cy="397353"/>
              </a:xfrm>
              <a:prstGeom prst="rect">
                <a:avLst/>
              </a:prstGeom>
              <a:noFill/>
            </p:spPr>
            <p:txBody>
              <a:bodyPr wrap="square" rtlCol="0">
                <a:spAutoFit/>
              </a:bodyPr>
              <a:lstStyle/>
              <a:p>
                <a:pPr marL="0" marR="0" lvl="0" indent="0" algn="ctr" defTabSz="914400" rtl="0" eaLnBrk="1" fontAlgn="auto" latinLnBrk="0" hangingPunct="1">
                  <a:lnSpc>
                    <a:spcPct val="14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D229"/>
                    </a:solidFill>
                    <a:effectLst/>
                    <a:uLnTx/>
                    <a:uFillTx/>
                    <a:latin typeface="Segoe UI" panose="020B0502040204020203" pitchFamily="34" charset="0"/>
                    <a:ea typeface="+mn-ea"/>
                    <a:cs typeface="Segoe UI" panose="020B0502040204020203" pitchFamily="34" charset="0"/>
                  </a:rPr>
                  <a:t>70%</a:t>
                </a:r>
              </a:p>
            </p:txBody>
          </p:sp>
        </p:grpSp>
      </p:grpSp>
      <p:grpSp>
        <p:nvGrpSpPr>
          <p:cNvPr id="55" name="Group 114">
            <a:extLst>
              <a:ext uri="{FF2B5EF4-FFF2-40B4-BE49-F238E27FC236}">
                <a16:creationId xmlns:a16="http://schemas.microsoft.com/office/drawing/2014/main" id="{6D155D1F-6E33-4C9D-BFC7-D744AEC82297}"/>
              </a:ext>
            </a:extLst>
          </p:cNvPr>
          <p:cNvGrpSpPr/>
          <p:nvPr/>
        </p:nvGrpSpPr>
        <p:grpSpPr>
          <a:xfrm>
            <a:off x="611287" y="2755967"/>
            <a:ext cx="3088113" cy="917477"/>
            <a:chOff x="7779911" y="1991949"/>
            <a:chExt cx="3088113" cy="917477"/>
          </a:xfrm>
        </p:grpSpPr>
        <p:sp>
          <p:nvSpPr>
            <p:cNvPr id="56" name="Rectangle: Rounded Corners 115">
              <a:extLst>
                <a:ext uri="{FF2B5EF4-FFF2-40B4-BE49-F238E27FC236}">
                  <a16:creationId xmlns:a16="http://schemas.microsoft.com/office/drawing/2014/main" id="{6677457E-50E5-41A2-88B0-E31F7415C22E}"/>
                </a:ext>
              </a:extLst>
            </p:cNvPr>
            <p:cNvSpPr/>
            <p:nvPr/>
          </p:nvSpPr>
          <p:spPr>
            <a:xfrm>
              <a:off x="7779911" y="1991949"/>
              <a:ext cx="3088113" cy="917477"/>
            </a:xfrm>
            <a:prstGeom prst="roundRect">
              <a:avLst>
                <a:gd name="adj" fmla="val 4672"/>
              </a:avLst>
            </a:prstGeom>
            <a:solidFill>
              <a:schemeClr val="accent3"/>
            </a:solidFill>
            <a:ln>
              <a:noFill/>
            </a:ln>
            <a:effectLst>
              <a:outerShdw blurRad="1270000" sx="88000" sy="88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等线" panose="020F0502020204030204"/>
                <a:ea typeface="+mn-ea"/>
                <a:cs typeface="+mn-cs"/>
              </a:endParaRPr>
            </a:p>
          </p:txBody>
        </p:sp>
        <p:sp>
          <p:nvSpPr>
            <p:cNvPr id="57" name="TextBox 136">
              <a:extLst>
                <a:ext uri="{FF2B5EF4-FFF2-40B4-BE49-F238E27FC236}">
                  <a16:creationId xmlns:a16="http://schemas.microsoft.com/office/drawing/2014/main" id="{106544BA-C018-4B2C-9382-948C86F228C5}"/>
                </a:ext>
              </a:extLst>
            </p:cNvPr>
            <p:cNvSpPr txBox="1"/>
            <p:nvPr/>
          </p:nvSpPr>
          <p:spPr>
            <a:xfrm>
              <a:off x="8789812" y="2081109"/>
              <a:ext cx="1699273" cy="326884"/>
            </a:xfrm>
            <a:prstGeom prst="rect">
              <a:avLst/>
            </a:prstGeom>
            <a:noFill/>
          </p:spPr>
          <p:txBody>
            <a:bodyPr wrap="square" rtlCol="0">
              <a:spAutoFit/>
            </a:bodyPr>
            <a:lstStyle/>
            <a:p>
              <a:pPr marL="0" marR="0" lvl="0" indent="0" algn="l" defTabSz="914400" rtl="0" eaLnBrk="1" fontAlgn="auto" latinLnBrk="0" hangingPunct="1">
                <a:lnSpc>
                  <a:spcPct val="14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等线 Light" panose="020F0302020204030204"/>
                  <a:ea typeface="+mn-ea"/>
                  <a:cs typeface="+mn-cs"/>
                </a:rPr>
                <a:t>CHURN</a:t>
              </a:r>
            </a:p>
          </p:txBody>
        </p:sp>
        <p:sp>
          <p:nvSpPr>
            <p:cNvPr id="58" name="TextBox 137">
              <a:extLst>
                <a:ext uri="{FF2B5EF4-FFF2-40B4-BE49-F238E27FC236}">
                  <a16:creationId xmlns:a16="http://schemas.microsoft.com/office/drawing/2014/main" id="{0D11AA9A-4FD5-4ED8-B32A-16B2C0AB40AA}"/>
                </a:ext>
              </a:extLst>
            </p:cNvPr>
            <p:cNvSpPr txBox="1"/>
            <p:nvPr/>
          </p:nvSpPr>
          <p:spPr>
            <a:xfrm>
              <a:off x="8789812" y="2316193"/>
              <a:ext cx="2044891" cy="473591"/>
            </a:xfrm>
            <a:prstGeom prst="rect">
              <a:avLst/>
            </a:prstGeom>
            <a:noFill/>
          </p:spPr>
          <p:txBody>
            <a:bodyPr wrap="square" rtlCol="0">
              <a:spAutoFit/>
            </a:bodyPr>
            <a:lstStyle/>
            <a:p>
              <a:pPr marL="0" marR="0" lvl="0" indent="0" algn="l" defTabSz="914400" rtl="0" eaLnBrk="1" fontAlgn="auto" latinLnBrk="0" hangingPunct="1">
                <a:lnSpc>
                  <a:spcPct val="14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21.000-36.021</a:t>
              </a:r>
            </a:p>
          </p:txBody>
        </p:sp>
        <p:grpSp>
          <p:nvGrpSpPr>
            <p:cNvPr id="59" name="Group 138">
              <a:extLst>
                <a:ext uri="{FF2B5EF4-FFF2-40B4-BE49-F238E27FC236}">
                  <a16:creationId xmlns:a16="http://schemas.microsoft.com/office/drawing/2014/main" id="{9A63A52D-2826-42FC-AD76-81BDE363EB0E}"/>
                </a:ext>
              </a:extLst>
            </p:cNvPr>
            <p:cNvGrpSpPr/>
            <p:nvPr/>
          </p:nvGrpSpPr>
          <p:grpSpPr>
            <a:xfrm>
              <a:off x="7951281" y="2113203"/>
              <a:ext cx="757511" cy="670475"/>
              <a:chOff x="7561392" y="1737100"/>
              <a:chExt cx="757511" cy="670475"/>
            </a:xfrm>
          </p:grpSpPr>
          <p:grpSp>
            <p:nvGrpSpPr>
              <p:cNvPr id="60" name="Group 160">
                <a:extLst>
                  <a:ext uri="{FF2B5EF4-FFF2-40B4-BE49-F238E27FC236}">
                    <a16:creationId xmlns:a16="http://schemas.microsoft.com/office/drawing/2014/main" id="{0F36CEA5-2213-457E-9430-50C57DD913D7}"/>
                  </a:ext>
                </a:extLst>
              </p:cNvPr>
              <p:cNvGrpSpPr/>
              <p:nvPr/>
            </p:nvGrpSpPr>
            <p:grpSpPr>
              <a:xfrm>
                <a:off x="7603610" y="1737100"/>
                <a:ext cx="670475" cy="670475"/>
                <a:chOff x="7603610" y="1737100"/>
                <a:chExt cx="670475" cy="670475"/>
              </a:xfrm>
            </p:grpSpPr>
            <p:grpSp>
              <p:nvGrpSpPr>
                <p:cNvPr id="62" name="Group 162">
                  <a:extLst>
                    <a:ext uri="{FF2B5EF4-FFF2-40B4-BE49-F238E27FC236}">
                      <a16:creationId xmlns:a16="http://schemas.microsoft.com/office/drawing/2014/main" id="{70C5DC35-4D43-40F7-8C3D-0AA635E9BAA3}"/>
                    </a:ext>
                  </a:extLst>
                </p:cNvPr>
                <p:cNvGrpSpPr/>
                <p:nvPr/>
              </p:nvGrpSpPr>
              <p:grpSpPr>
                <a:xfrm>
                  <a:off x="7603610" y="1737100"/>
                  <a:ext cx="670475" cy="670475"/>
                  <a:chOff x="1794513" y="2579368"/>
                  <a:chExt cx="784854" cy="784855"/>
                </a:xfrm>
              </p:grpSpPr>
              <p:sp>
                <p:nvSpPr>
                  <p:cNvPr id="64" name="Oval 164">
                    <a:extLst>
                      <a:ext uri="{FF2B5EF4-FFF2-40B4-BE49-F238E27FC236}">
                        <a16:creationId xmlns:a16="http://schemas.microsoft.com/office/drawing/2014/main" id="{BD794801-2505-4E3F-A335-7BE9261CC346}"/>
                      </a:ext>
                    </a:extLst>
                  </p:cNvPr>
                  <p:cNvSpPr/>
                  <p:nvPr/>
                </p:nvSpPr>
                <p:spPr>
                  <a:xfrm>
                    <a:off x="1794514" y="2579370"/>
                    <a:ext cx="784853" cy="784853"/>
                  </a:xfrm>
                  <a:prstGeom prst="ellipse">
                    <a:avLst/>
                  </a:prstGeom>
                  <a:noFill/>
                  <a:ln w="222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等线" panose="020F0502020204030204"/>
                      <a:ea typeface="+mn-ea"/>
                      <a:cs typeface="+mn-cs"/>
                    </a:endParaRPr>
                  </a:p>
                </p:txBody>
              </p:sp>
              <p:sp>
                <p:nvSpPr>
                  <p:cNvPr id="65" name="Arc 175">
                    <a:extLst>
                      <a:ext uri="{FF2B5EF4-FFF2-40B4-BE49-F238E27FC236}">
                        <a16:creationId xmlns:a16="http://schemas.microsoft.com/office/drawing/2014/main" id="{7B5E3526-6831-4796-A7A1-8CDA597EDD3A}"/>
                      </a:ext>
                    </a:extLst>
                  </p:cNvPr>
                  <p:cNvSpPr/>
                  <p:nvPr/>
                </p:nvSpPr>
                <p:spPr>
                  <a:xfrm>
                    <a:off x="1794513" y="2579368"/>
                    <a:ext cx="784854" cy="784854"/>
                  </a:xfrm>
                  <a:prstGeom prst="arc">
                    <a:avLst>
                      <a:gd name="adj1" fmla="val 7504492"/>
                      <a:gd name="adj2" fmla="val 15878115"/>
                    </a:avLst>
                  </a:prstGeom>
                  <a:ln w="69850" cap="rnd">
                    <a:solidFill>
                      <a:schemeClr val="bg1"/>
                    </a:solidFill>
                    <a:roun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grpSp>
            <p:sp>
              <p:nvSpPr>
                <p:cNvPr id="63" name="Oval 163">
                  <a:extLst>
                    <a:ext uri="{FF2B5EF4-FFF2-40B4-BE49-F238E27FC236}">
                      <a16:creationId xmlns:a16="http://schemas.microsoft.com/office/drawing/2014/main" id="{C93655B1-EBCD-4522-8A25-B921A22C0818}"/>
                    </a:ext>
                  </a:extLst>
                </p:cNvPr>
                <p:cNvSpPr/>
                <p:nvPr/>
              </p:nvSpPr>
              <p:spPr>
                <a:xfrm rot="5400000">
                  <a:off x="7672086" y="1805576"/>
                  <a:ext cx="533522" cy="533522"/>
                </a:xfrm>
                <a:prstGeom prst="ellipse">
                  <a:avLst/>
                </a:prstGeom>
                <a:solidFill>
                  <a:schemeClr val="bg1"/>
                </a:solidFill>
                <a:ln>
                  <a:noFill/>
                </a:ln>
                <a:effectLst>
                  <a:outerShdw blurRad="381000" dist="444500" dir="8100000" sx="90000" sy="90000" algn="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等线" panose="020F0502020204030204"/>
                    <a:ea typeface="+mn-ea"/>
                    <a:cs typeface="+mn-cs"/>
                  </a:endParaRPr>
                </a:p>
              </p:txBody>
            </p:sp>
          </p:grpSp>
          <p:sp>
            <p:nvSpPr>
              <p:cNvPr id="61" name="TextBox 161">
                <a:extLst>
                  <a:ext uri="{FF2B5EF4-FFF2-40B4-BE49-F238E27FC236}">
                    <a16:creationId xmlns:a16="http://schemas.microsoft.com/office/drawing/2014/main" id="{B442F53C-2504-462C-B2D4-4A8DB580D221}"/>
                  </a:ext>
                </a:extLst>
              </p:cNvPr>
              <p:cNvSpPr txBox="1"/>
              <p:nvPr/>
            </p:nvSpPr>
            <p:spPr>
              <a:xfrm rot="20700000" flipH="1">
                <a:off x="7561392" y="1853031"/>
                <a:ext cx="757511" cy="397353"/>
              </a:xfrm>
              <a:prstGeom prst="rect">
                <a:avLst/>
              </a:prstGeom>
              <a:noFill/>
            </p:spPr>
            <p:txBody>
              <a:bodyPr wrap="square" rtlCol="0">
                <a:spAutoFit/>
              </a:bodyPr>
              <a:lstStyle/>
              <a:p>
                <a:pPr marL="0" marR="0" lvl="0" indent="0" algn="ctr" defTabSz="914400" rtl="0" eaLnBrk="1" fontAlgn="auto" latinLnBrk="0" hangingPunct="1">
                  <a:lnSpc>
                    <a:spcPct val="14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388A"/>
                    </a:solidFill>
                    <a:effectLst/>
                    <a:uLnTx/>
                    <a:uFillTx/>
                    <a:latin typeface="Segoe UI" panose="020B0502040204020203" pitchFamily="34" charset="0"/>
                    <a:ea typeface="+mn-ea"/>
                    <a:cs typeface="Segoe UI" panose="020B0502040204020203" pitchFamily="34" charset="0"/>
                  </a:rPr>
                  <a:t>40%</a:t>
                </a:r>
              </a:p>
            </p:txBody>
          </p:sp>
        </p:grpSp>
      </p:grpSp>
      <p:grpSp>
        <p:nvGrpSpPr>
          <p:cNvPr id="66" name="Group 177">
            <a:extLst>
              <a:ext uri="{FF2B5EF4-FFF2-40B4-BE49-F238E27FC236}">
                <a16:creationId xmlns:a16="http://schemas.microsoft.com/office/drawing/2014/main" id="{89DD8160-4E37-4369-BBC3-D0CC6777156E}"/>
              </a:ext>
            </a:extLst>
          </p:cNvPr>
          <p:cNvGrpSpPr/>
          <p:nvPr/>
        </p:nvGrpSpPr>
        <p:grpSpPr>
          <a:xfrm>
            <a:off x="8567234" y="3824509"/>
            <a:ext cx="3088113" cy="917477"/>
            <a:chOff x="7779911" y="1991949"/>
            <a:chExt cx="3088113" cy="917477"/>
          </a:xfrm>
        </p:grpSpPr>
        <p:sp>
          <p:nvSpPr>
            <p:cNvPr id="67" name="Rectangle: Rounded Corners 178">
              <a:extLst>
                <a:ext uri="{FF2B5EF4-FFF2-40B4-BE49-F238E27FC236}">
                  <a16:creationId xmlns:a16="http://schemas.microsoft.com/office/drawing/2014/main" id="{25C5E20A-F764-46A6-A157-4C7744A897E8}"/>
                </a:ext>
              </a:extLst>
            </p:cNvPr>
            <p:cNvSpPr/>
            <p:nvPr/>
          </p:nvSpPr>
          <p:spPr>
            <a:xfrm>
              <a:off x="7779911" y="1991949"/>
              <a:ext cx="3088113" cy="917477"/>
            </a:xfrm>
            <a:prstGeom prst="roundRect">
              <a:avLst>
                <a:gd name="adj" fmla="val 4672"/>
              </a:avLst>
            </a:prstGeom>
            <a:solidFill>
              <a:schemeClr val="accent4"/>
            </a:solidFill>
            <a:ln>
              <a:noFill/>
            </a:ln>
            <a:effectLst>
              <a:outerShdw blurRad="1270000" sx="88000" sy="88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等线" panose="020F0502020204030204"/>
                <a:ea typeface="+mn-ea"/>
                <a:cs typeface="+mn-cs"/>
              </a:endParaRPr>
            </a:p>
          </p:txBody>
        </p:sp>
        <p:sp>
          <p:nvSpPr>
            <p:cNvPr id="68" name="TextBox 179">
              <a:extLst>
                <a:ext uri="{FF2B5EF4-FFF2-40B4-BE49-F238E27FC236}">
                  <a16:creationId xmlns:a16="http://schemas.microsoft.com/office/drawing/2014/main" id="{D4542DE2-0B86-4BCA-8895-BA621C3BEA12}"/>
                </a:ext>
              </a:extLst>
            </p:cNvPr>
            <p:cNvSpPr txBox="1"/>
            <p:nvPr/>
          </p:nvSpPr>
          <p:spPr>
            <a:xfrm>
              <a:off x="8789812" y="2081109"/>
              <a:ext cx="1699273" cy="326884"/>
            </a:xfrm>
            <a:prstGeom prst="rect">
              <a:avLst/>
            </a:prstGeom>
            <a:noFill/>
          </p:spPr>
          <p:txBody>
            <a:bodyPr wrap="square" rtlCol="0">
              <a:spAutoFit/>
            </a:bodyPr>
            <a:lstStyle/>
            <a:p>
              <a:pPr marL="0" marR="0" lvl="0" indent="0" algn="l" defTabSz="914400" rtl="0" eaLnBrk="1" fontAlgn="auto" latinLnBrk="0" hangingPunct="1">
                <a:lnSpc>
                  <a:spcPct val="14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等线 Light" panose="020F0302020204030204"/>
                  <a:ea typeface="+mn-ea"/>
                  <a:cs typeface="+mn-cs"/>
                </a:rPr>
                <a:t>First Value</a:t>
              </a:r>
            </a:p>
          </p:txBody>
        </p:sp>
        <p:sp>
          <p:nvSpPr>
            <p:cNvPr id="69" name="TextBox 180">
              <a:extLst>
                <a:ext uri="{FF2B5EF4-FFF2-40B4-BE49-F238E27FC236}">
                  <a16:creationId xmlns:a16="http://schemas.microsoft.com/office/drawing/2014/main" id="{14BD672C-2AEA-411D-B6EA-BD94E322C562}"/>
                </a:ext>
              </a:extLst>
            </p:cNvPr>
            <p:cNvSpPr txBox="1"/>
            <p:nvPr/>
          </p:nvSpPr>
          <p:spPr>
            <a:xfrm>
              <a:off x="8789812" y="2316193"/>
              <a:ext cx="2044891" cy="473591"/>
            </a:xfrm>
            <a:prstGeom prst="rect">
              <a:avLst/>
            </a:prstGeom>
            <a:noFill/>
          </p:spPr>
          <p:txBody>
            <a:bodyPr wrap="square" rtlCol="0">
              <a:spAutoFit/>
            </a:bodyPr>
            <a:lstStyle/>
            <a:p>
              <a:pPr marL="0" marR="0" lvl="0" indent="0" algn="l" defTabSz="914400" rtl="0" eaLnBrk="1" fontAlgn="auto" latinLnBrk="0" hangingPunct="1">
                <a:lnSpc>
                  <a:spcPct val="14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21.000-36.021</a:t>
              </a:r>
            </a:p>
          </p:txBody>
        </p:sp>
        <p:grpSp>
          <p:nvGrpSpPr>
            <p:cNvPr id="70" name="Group 181">
              <a:extLst>
                <a:ext uri="{FF2B5EF4-FFF2-40B4-BE49-F238E27FC236}">
                  <a16:creationId xmlns:a16="http://schemas.microsoft.com/office/drawing/2014/main" id="{9406068C-312C-439C-ADDD-F102C1E6CC0B}"/>
                </a:ext>
              </a:extLst>
            </p:cNvPr>
            <p:cNvGrpSpPr/>
            <p:nvPr/>
          </p:nvGrpSpPr>
          <p:grpSpPr>
            <a:xfrm>
              <a:off x="7951281" y="2113203"/>
              <a:ext cx="757511" cy="670474"/>
              <a:chOff x="7561392" y="1737100"/>
              <a:chExt cx="757511" cy="670474"/>
            </a:xfrm>
          </p:grpSpPr>
          <p:grpSp>
            <p:nvGrpSpPr>
              <p:cNvPr id="71" name="Group 182">
                <a:extLst>
                  <a:ext uri="{FF2B5EF4-FFF2-40B4-BE49-F238E27FC236}">
                    <a16:creationId xmlns:a16="http://schemas.microsoft.com/office/drawing/2014/main" id="{285998B6-E9D1-4B12-9EEA-3E616F0F45D8}"/>
                  </a:ext>
                </a:extLst>
              </p:cNvPr>
              <p:cNvGrpSpPr/>
              <p:nvPr/>
            </p:nvGrpSpPr>
            <p:grpSpPr>
              <a:xfrm>
                <a:off x="7603610" y="1737100"/>
                <a:ext cx="670475" cy="670474"/>
                <a:chOff x="7603610" y="1737100"/>
                <a:chExt cx="670475" cy="670474"/>
              </a:xfrm>
            </p:grpSpPr>
            <p:grpSp>
              <p:nvGrpSpPr>
                <p:cNvPr id="73" name="Group 184">
                  <a:extLst>
                    <a:ext uri="{FF2B5EF4-FFF2-40B4-BE49-F238E27FC236}">
                      <a16:creationId xmlns:a16="http://schemas.microsoft.com/office/drawing/2014/main" id="{B2954930-AB0D-4CF0-8D85-E285D2AEB0A6}"/>
                    </a:ext>
                  </a:extLst>
                </p:cNvPr>
                <p:cNvGrpSpPr/>
                <p:nvPr/>
              </p:nvGrpSpPr>
              <p:grpSpPr>
                <a:xfrm>
                  <a:off x="7603610" y="1737100"/>
                  <a:ext cx="670475" cy="670474"/>
                  <a:chOff x="1794513" y="2579369"/>
                  <a:chExt cx="784854" cy="784854"/>
                </a:xfrm>
              </p:grpSpPr>
              <p:sp>
                <p:nvSpPr>
                  <p:cNvPr id="75" name="Oval 186">
                    <a:extLst>
                      <a:ext uri="{FF2B5EF4-FFF2-40B4-BE49-F238E27FC236}">
                        <a16:creationId xmlns:a16="http://schemas.microsoft.com/office/drawing/2014/main" id="{266801AF-5AF5-4D4D-A3B4-1257D68D8204}"/>
                      </a:ext>
                    </a:extLst>
                  </p:cNvPr>
                  <p:cNvSpPr/>
                  <p:nvPr/>
                </p:nvSpPr>
                <p:spPr>
                  <a:xfrm>
                    <a:off x="1794514" y="2579370"/>
                    <a:ext cx="784853" cy="784853"/>
                  </a:xfrm>
                  <a:prstGeom prst="ellipse">
                    <a:avLst/>
                  </a:prstGeom>
                  <a:noFill/>
                  <a:ln w="222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等线" panose="020F0502020204030204"/>
                      <a:ea typeface="+mn-ea"/>
                      <a:cs typeface="+mn-cs"/>
                    </a:endParaRPr>
                  </a:p>
                </p:txBody>
              </p:sp>
              <p:sp>
                <p:nvSpPr>
                  <p:cNvPr id="76" name="Arc 187">
                    <a:extLst>
                      <a:ext uri="{FF2B5EF4-FFF2-40B4-BE49-F238E27FC236}">
                        <a16:creationId xmlns:a16="http://schemas.microsoft.com/office/drawing/2014/main" id="{E6EB6E25-E748-4705-B383-572C11FBAF0B}"/>
                      </a:ext>
                    </a:extLst>
                  </p:cNvPr>
                  <p:cNvSpPr/>
                  <p:nvPr/>
                </p:nvSpPr>
                <p:spPr>
                  <a:xfrm>
                    <a:off x="1794513" y="2579369"/>
                    <a:ext cx="784854" cy="784854"/>
                  </a:xfrm>
                  <a:prstGeom prst="arc">
                    <a:avLst>
                      <a:gd name="adj1" fmla="val 20148017"/>
                      <a:gd name="adj2" fmla="val 15878115"/>
                    </a:avLst>
                  </a:prstGeom>
                  <a:ln w="69850" cap="rnd">
                    <a:solidFill>
                      <a:schemeClr val="bg1"/>
                    </a:solidFill>
                    <a:roun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grpSp>
            <p:sp>
              <p:nvSpPr>
                <p:cNvPr id="74" name="Oval 185">
                  <a:extLst>
                    <a:ext uri="{FF2B5EF4-FFF2-40B4-BE49-F238E27FC236}">
                      <a16:creationId xmlns:a16="http://schemas.microsoft.com/office/drawing/2014/main" id="{C7800C5E-B355-45CB-BBB6-A6B9AEB95FA3}"/>
                    </a:ext>
                  </a:extLst>
                </p:cNvPr>
                <p:cNvSpPr/>
                <p:nvPr/>
              </p:nvSpPr>
              <p:spPr>
                <a:xfrm rot="5400000">
                  <a:off x="7672086" y="1805576"/>
                  <a:ext cx="533522" cy="533522"/>
                </a:xfrm>
                <a:prstGeom prst="ellipse">
                  <a:avLst/>
                </a:prstGeom>
                <a:solidFill>
                  <a:schemeClr val="bg1"/>
                </a:solidFill>
                <a:ln>
                  <a:noFill/>
                </a:ln>
                <a:effectLst>
                  <a:outerShdw blurRad="381000" dist="444500" dir="8100000" sx="90000" sy="90000" algn="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等线" panose="020F0502020204030204"/>
                    <a:ea typeface="+mn-ea"/>
                    <a:cs typeface="+mn-cs"/>
                  </a:endParaRPr>
                </a:p>
              </p:txBody>
            </p:sp>
          </p:grpSp>
          <p:sp>
            <p:nvSpPr>
              <p:cNvPr id="72" name="TextBox 183">
                <a:extLst>
                  <a:ext uri="{FF2B5EF4-FFF2-40B4-BE49-F238E27FC236}">
                    <a16:creationId xmlns:a16="http://schemas.microsoft.com/office/drawing/2014/main" id="{9C636E55-AFA1-4D1C-A9D3-203B61AB978D}"/>
                  </a:ext>
                </a:extLst>
              </p:cNvPr>
              <p:cNvSpPr txBox="1"/>
              <p:nvPr/>
            </p:nvSpPr>
            <p:spPr>
              <a:xfrm rot="20700000" flipH="1">
                <a:off x="7561392" y="1853031"/>
                <a:ext cx="757511" cy="397353"/>
              </a:xfrm>
              <a:prstGeom prst="rect">
                <a:avLst/>
              </a:prstGeom>
              <a:noFill/>
            </p:spPr>
            <p:txBody>
              <a:bodyPr wrap="square" rtlCol="0">
                <a:spAutoFit/>
              </a:bodyPr>
              <a:lstStyle/>
              <a:p>
                <a:pPr marL="0" marR="0" lvl="0" indent="0" algn="ctr" defTabSz="914400" rtl="0" eaLnBrk="1" fontAlgn="auto" latinLnBrk="0" hangingPunct="1">
                  <a:lnSpc>
                    <a:spcPct val="14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8F38FF"/>
                    </a:solidFill>
                    <a:effectLst/>
                    <a:uLnTx/>
                    <a:uFillTx/>
                    <a:latin typeface="Segoe UI" panose="020B0502040204020203" pitchFamily="34" charset="0"/>
                    <a:ea typeface="+mn-ea"/>
                    <a:cs typeface="Segoe UI" panose="020B0502040204020203" pitchFamily="34" charset="0"/>
                  </a:rPr>
                  <a:t>80%</a:t>
                </a:r>
              </a:p>
            </p:txBody>
          </p:sp>
        </p:grpSp>
      </p:grpSp>
      <p:grpSp>
        <p:nvGrpSpPr>
          <p:cNvPr id="77" name="Group 188">
            <a:extLst>
              <a:ext uri="{FF2B5EF4-FFF2-40B4-BE49-F238E27FC236}">
                <a16:creationId xmlns:a16="http://schemas.microsoft.com/office/drawing/2014/main" id="{0A141111-3793-464B-8501-2A98409ED17E}"/>
              </a:ext>
            </a:extLst>
          </p:cNvPr>
          <p:cNvGrpSpPr/>
          <p:nvPr/>
        </p:nvGrpSpPr>
        <p:grpSpPr>
          <a:xfrm>
            <a:off x="628102" y="5124271"/>
            <a:ext cx="3088113" cy="917477"/>
            <a:chOff x="7779911" y="1991949"/>
            <a:chExt cx="3088113" cy="917477"/>
          </a:xfrm>
        </p:grpSpPr>
        <p:sp>
          <p:nvSpPr>
            <p:cNvPr id="78" name="Rectangle: Rounded Corners 189">
              <a:extLst>
                <a:ext uri="{FF2B5EF4-FFF2-40B4-BE49-F238E27FC236}">
                  <a16:creationId xmlns:a16="http://schemas.microsoft.com/office/drawing/2014/main" id="{D59701C9-A9CC-4884-8634-52D2E7F91719}"/>
                </a:ext>
              </a:extLst>
            </p:cNvPr>
            <p:cNvSpPr/>
            <p:nvPr/>
          </p:nvSpPr>
          <p:spPr>
            <a:xfrm>
              <a:off x="7779911" y="1991949"/>
              <a:ext cx="3088113" cy="917477"/>
            </a:xfrm>
            <a:prstGeom prst="roundRect">
              <a:avLst>
                <a:gd name="adj" fmla="val 4672"/>
              </a:avLst>
            </a:prstGeom>
            <a:solidFill>
              <a:schemeClr val="accent2"/>
            </a:solidFill>
            <a:ln>
              <a:noFill/>
            </a:ln>
            <a:effectLst>
              <a:outerShdw blurRad="1270000" sx="88000" sy="88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等线" panose="020F0502020204030204"/>
                <a:ea typeface="+mn-ea"/>
                <a:cs typeface="+mn-cs"/>
              </a:endParaRPr>
            </a:p>
          </p:txBody>
        </p:sp>
        <p:sp>
          <p:nvSpPr>
            <p:cNvPr id="79" name="TextBox 190">
              <a:extLst>
                <a:ext uri="{FF2B5EF4-FFF2-40B4-BE49-F238E27FC236}">
                  <a16:creationId xmlns:a16="http://schemas.microsoft.com/office/drawing/2014/main" id="{63CB4B87-6A4E-4A1B-A450-C97D2C79509C}"/>
                </a:ext>
              </a:extLst>
            </p:cNvPr>
            <p:cNvSpPr txBox="1"/>
            <p:nvPr/>
          </p:nvSpPr>
          <p:spPr>
            <a:xfrm>
              <a:off x="8789812" y="2081109"/>
              <a:ext cx="1699273" cy="326884"/>
            </a:xfrm>
            <a:prstGeom prst="rect">
              <a:avLst/>
            </a:prstGeom>
            <a:noFill/>
          </p:spPr>
          <p:txBody>
            <a:bodyPr wrap="square" rtlCol="0">
              <a:spAutoFit/>
            </a:bodyPr>
            <a:lstStyle/>
            <a:p>
              <a:pPr marL="0" marR="0" lvl="0" indent="0" algn="l" defTabSz="914400" rtl="0" eaLnBrk="1" fontAlgn="auto" latinLnBrk="0" hangingPunct="1">
                <a:lnSpc>
                  <a:spcPct val="14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等线 Light" panose="020F0302020204030204"/>
                  <a:ea typeface="+mn-ea"/>
                  <a:cs typeface="+mn-cs"/>
                </a:rPr>
                <a:t>Increase Users</a:t>
              </a:r>
            </a:p>
          </p:txBody>
        </p:sp>
        <p:sp>
          <p:nvSpPr>
            <p:cNvPr id="80" name="TextBox 191">
              <a:extLst>
                <a:ext uri="{FF2B5EF4-FFF2-40B4-BE49-F238E27FC236}">
                  <a16:creationId xmlns:a16="http://schemas.microsoft.com/office/drawing/2014/main" id="{AE398903-6F9A-4751-B16B-5B5731D2DF20}"/>
                </a:ext>
              </a:extLst>
            </p:cNvPr>
            <p:cNvSpPr txBox="1"/>
            <p:nvPr/>
          </p:nvSpPr>
          <p:spPr>
            <a:xfrm>
              <a:off x="8789812" y="2316193"/>
              <a:ext cx="2044891" cy="473591"/>
            </a:xfrm>
            <a:prstGeom prst="rect">
              <a:avLst/>
            </a:prstGeom>
            <a:noFill/>
          </p:spPr>
          <p:txBody>
            <a:bodyPr wrap="square" rtlCol="0">
              <a:spAutoFit/>
            </a:bodyPr>
            <a:lstStyle/>
            <a:p>
              <a:pPr marL="0" marR="0" lvl="0" indent="0" algn="l" defTabSz="914400" rtl="0" eaLnBrk="1" fontAlgn="auto" latinLnBrk="0" hangingPunct="1">
                <a:lnSpc>
                  <a:spcPct val="14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21.000-36.021</a:t>
              </a:r>
            </a:p>
          </p:txBody>
        </p:sp>
        <p:grpSp>
          <p:nvGrpSpPr>
            <p:cNvPr id="81" name="Group 192">
              <a:extLst>
                <a:ext uri="{FF2B5EF4-FFF2-40B4-BE49-F238E27FC236}">
                  <a16:creationId xmlns:a16="http://schemas.microsoft.com/office/drawing/2014/main" id="{A5B93183-5EE8-4A30-9E7C-5D85DF632033}"/>
                </a:ext>
              </a:extLst>
            </p:cNvPr>
            <p:cNvGrpSpPr/>
            <p:nvPr/>
          </p:nvGrpSpPr>
          <p:grpSpPr>
            <a:xfrm>
              <a:off x="7993499" y="2113203"/>
              <a:ext cx="682825" cy="670474"/>
              <a:chOff x="7603610" y="1737100"/>
              <a:chExt cx="682825" cy="670474"/>
            </a:xfrm>
          </p:grpSpPr>
          <p:grpSp>
            <p:nvGrpSpPr>
              <p:cNvPr id="82" name="Group 193">
                <a:extLst>
                  <a:ext uri="{FF2B5EF4-FFF2-40B4-BE49-F238E27FC236}">
                    <a16:creationId xmlns:a16="http://schemas.microsoft.com/office/drawing/2014/main" id="{6763559F-A1E2-4BBA-9DB1-C091B867C2FC}"/>
                  </a:ext>
                </a:extLst>
              </p:cNvPr>
              <p:cNvGrpSpPr/>
              <p:nvPr/>
            </p:nvGrpSpPr>
            <p:grpSpPr>
              <a:xfrm>
                <a:off x="7603610" y="1737100"/>
                <a:ext cx="670475" cy="670474"/>
                <a:chOff x="7603610" y="1737100"/>
                <a:chExt cx="670475" cy="670474"/>
              </a:xfrm>
            </p:grpSpPr>
            <p:grpSp>
              <p:nvGrpSpPr>
                <p:cNvPr id="84" name="Group 195">
                  <a:extLst>
                    <a:ext uri="{FF2B5EF4-FFF2-40B4-BE49-F238E27FC236}">
                      <a16:creationId xmlns:a16="http://schemas.microsoft.com/office/drawing/2014/main" id="{FE13A723-1D5C-450D-A6AB-250957D051EC}"/>
                    </a:ext>
                  </a:extLst>
                </p:cNvPr>
                <p:cNvGrpSpPr/>
                <p:nvPr/>
              </p:nvGrpSpPr>
              <p:grpSpPr>
                <a:xfrm>
                  <a:off x="7603610" y="1737100"/>
                  <a:ext cx="670475" cy="670474"/>
                  <a:chOff x="1794513" y="2579369"/>
                  <a:chExt cx="784854" cy="784854"/>
                </a:xfrm>
              </p:grpSpPr>
              <p:sp>
                <p:nvSpPr>
                  <p:cNvPr id="86" name="Oval 197">
                    <a:extLst>
                      <a:ext uri="{FF2B5EF4-FFF2-40B4-BE49-F238E27FC236}">
                        <a16:creationId xmlns:a16="http://schemas.microsoft.com/office/drawing/2014/main" id="{9D56860F-B1FC-4B9C-A6C5-CFF411C65722}"/>
                      </a:ext>
                    </a:extLst>
                  </p:cNvPr>
                  <p:cNvSpPr/>
                  <p:nvPr/>
                </p:nvSpPr>
                <p:spPr>
                  <a:xfrm>
                    <a:off x="1794514" y="2579370"/>
                    <a:ext cx="784853" cy="784853"/>
                  </a:xfrm>
                  <a:prstGeom prst="ellipse">
                    <a:avLst/>
                  </a:prstGeom>
                  <a:noFill/>
                  <a:ln w="222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等线" panose="020F0502020204030204"/>
                      <a:ea typeface="+mn-ea"/>
                      <a:cs typeface="+mn-cs"/>
                    </a:endParaRPr>
                  </a:p>
                </p:txBody>
              </p:sp>
              <p:sp>
                <p:nvSpPr>
                  <p:cNvPr id="87" name="Arc 198">
                    <a:extLst>
                      <a:ext uri="{FF2B5EF4-FFF2-40B4-BE49-F238E27FC236}">
                        <a16:creationId xmlns:a16="http://schemas.microsoft.com/office/drawing/2014/main" id="{697AB131-A4E3-4CA7-9E37-8437FD4211F7}"/>
                      </a:ext>
                    </a:extLst>
                  </p:cNvPr>
                  <p:cNvSpPr/>
                  <p:nvPr/>
                </p:nvSpPr>
                <p:spPr>
                  <a:xfrm>
                    <a:off x="1794513" y="2579369"/>
                    <a:ext cx="784854" cy="784854"/>
                  </a:xfrm>
                  <a:prstGeom prst="arc">
                    <a:avLst>
                      <a:gd name="adj1" fmla="val 9551977"/>
                      <a:gd name="adj2" fmla="val 18282474"/>
                    </a:avLst>
                  </a:prstGeom>
                  <a:ln w="69850" cap="rnd">
                    <a:solidFill>
                      <a:schemeClr val="bg1"/>
                    </a:solidFill>
                    <a:roun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grpSp>
            <p:sp>
              <p:nvSpPr>
                <p:cNvPr id="85" name="Oval 196">
                  <a:extLst>
                    <a:ext uri="{FF2B5EF4-FFF2-40B4-BE49-F238E27FC236}">
                      <a16:creationId xmlns:a16="http://schemas.microsoft.com/office/drawing/2014/main" id="{6F0A0F5F-9412-4209-8B53-77DE7341ADDB}"/>
                    </a:ext>
                  </a:extLst>
                </p:cNvPr>
                <p:cNvSpPr/>
                <p:nvPr/>
              </p:nvSpPr>
              <p:spPr>
                <a:xfrm rot="5400000">
                  <a:off x="7672086" y="1805576"/>
                  <a:ext cx="533522" cy="533522"/>
                </a:xfrm>
                <a:prstGeom prst="ellipse">
                  <a:avLst/>
                </a:prstGeom>
                <a:solidFill>
                  <a:schemeClr val="bg1"/>
                </a:solidFill>
                <a:ln>
                  <a:noFill/>
                </a:ln>
                <a:effectLst>
                  <a:outerShdw blurRad="381000" dist="444500" dir="8100000" sx="90000" sy="90000" algn="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等线" panose="020F0502020204030204"/>
                    <a:ea typeface="+mn-ea"/>
                    <a:cs typeface="+mn-cs"/>
                  </a:endParaRPr>
                </a:p>
              </p:txBody>
            </p:sp>
          </p:grpSp>
          <p:sp>
            <p:nvSpPr>
              <p:cNvPr id="83" name="TextBox 194">
                <a:extLst>
                  <a:ext uri="{FF2B5EF4-FFF2-40B4-BE49-F238E27FC236}">
                    <a16:creationId xmlns:a16="http://schemas.microsoft.com/office/drawing/2014/main" id="{26956B8D-DC88-4189-ADD1-9E265A8FF8B6}"/>
                  </a:ext>
                </a:extLst>
              </p:cNvPr>
              <p:cNvSpPr txBox="1"/>
              <p:nvPr/>
            </p:nvSpPr>
            <p:spPr>
              <a:xfrm rot="20700000" flipH="1">
                <a:off x="7610405" y="1851667"/>
                <a:ext cx="676030" cy="397353"/>
              </a:xfrm>
              <a:prstGeom prst="rect">
                <a:avLst/>
              </a:prstGeom>
              <a:noFill/>
            </p:spPr>
            <p:txBody>
              <a:bodyPr wrap="square" rtlCol="0">
                <a:spAutoFit/>
              </a:bodyPr>
              <a:lstStyle/>
              <a:p>
                <a:pPr marL="0" marR="0" lvl="0" indent="0" algn="ctr" defTabSz="914400" rtl="0" eaLnBrk="1" fontAlgn="auto" latinLnBrk="0" hangingPunct="1">
                  <a:lnSpc>
                    <a:spcPct val="14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4C38"/>
                    </a:solidFill>
                    <a:effectLst/>
                    <a:uLnTx/>
                    <a:uFillTx/>
                    <a:latin typeface="Segoe UI" panose="020B0502040204020203" pitchFamily="34" charset="0"/>
                    <a:ea typeface="+mn-ea"/>
                    <a:cs typeface="Segoe UI" panose="020B0502040204020203" pitchFamily="34" charset="0"/>
                  </a:rPr>
                  <a:t>30%</a:t>
                </a:r>
              </a:p>
            </p:txBody>
          </p:sp>
        </p:grpSp>
      </p:grpSp>
      <p:grpSp>
        <p:nvGrpSpPr>
          <p:cNvPr id="88" name="Group 199">
            <a:extLst>
              <a:ext uri="{FF2B5EF4-FFF2-40B4-BE49-F238E27FC236}">
                <a16:creationId xmlns:a16="http://schemas.microsoft.com/office/drawing/2014/main" id="{121A5336-BEF5-45A8-89E6-7E9B146DF9F0}"/>
              </a:ext>
            </a:extLst>
          </p:cNvPr>
          <p:cNvGrpSpPr/>
          <p:nvPr/>
        </p:nvGrpSpPr>
        <p:grpSpPr>
          <a:xfrm>
            <a:off x="1066973" y="4003580"/>
            <a:ext cx="3088113" cy="917477"/>
            <a:chOff x="7779911" y="1991949"/>
            <a:chExt cx="3088113" cy="917477"/>
          </a:xfrm>
        </p:grpSpPr>
        <p:sp>
          <p:nvSpPr>
            <p:cNvPr id="89" name="Rectangle: Rounded Corners 200">
              <a:extLst>
                <a:ext uri="{FF2B5EF4-FFF2-40B4-BE49-F238E27FC236}">
                  <a16:creationId xmlns:a16="http://schemas.microsoft.com/office/drawing/2014/main" id="{D357E757-925D-48BD-8107-8E36A4972759}"/>
                </a:ext>
              </a:extLst>
            </p:cNvPr>
            <p:cNvSpPr/>
            <p:nvPr/>
          </p:nvSpPr>
          <p:spPr>
            <a:xfrm>
              <a:off x="7779911" y="1991949"/>
              <a:ext cx="3088113" cy="917477"/>
            </a:xfrm>
            <a:prstGeom prst="roundRect">
              <a:avLst>
                <a:gd name="adj" fmla="val 4672"/>
              </a:avLst>
            </a:prstGeom>
            <a:solidFill>
              <a:schemeClr val="accent5"/>
            </a:solidFill>
            <a:ln>
              <a:noFill/>
            </a:ln>
            <a:effectLst>
              <a:outerShdw blurRad="1270000" sx="88000" sy="88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等线" panose="020F0502020204030204"/>
                <a:ea typeface="+mn-ea"/>
                <a:cs typeface="+mn-cs"/>
              </a:endParaRPr>
            </a:p>
          </p:txBody>
        </p:sp>
        <p:sp>
          <p:nvSpPr>
            <p:cNvPr id="90" name="TextBox 201">
              <a:extLst>
                <a:ext uri="{FF2B5EF4-FFF2-40B4-BE49-F238E27FC236}">
                  <a16:creationId xmlns:a16="http://schemas.microsoft.com/office/drawing/2014/main" id="{E96B5E82-94CA-48C6-8BBA-C8FC0BD40A81}"/>
                </a:ext>
              </a:extLst>
            </p:cNvPr>
            <p:cNvSpPr txBox="1"/>
            <p:nvPr/>
          </p:nvSpPr>
          <p:spPr>
            <a:xfrm>
              <a:off x="8789812" y="2081109"/>
              <a:ext cx="1699273" cy="326884"/>
            </a:xfrm>
            <a:prstGeom prst="rect">
              <a:avLst/>
            </a:prstGeom>
            <a:noFill/>
          </p:spPr>
          <p:txBody>
            <a:bodyPr wrap="square" rtlCol="0">
              <a:spAutoFit/>
            </a:bodyPr>
            <a:lstStyle/>
            <a:p>
              <a:pPr marL="0" marR="0" lvl="0" indent="0" algn="l" defTabSz="914400" rtl="0" eaLnBrk="1" fontAlgn="auto" latinLnBrk="0" hangingPunct="1">
                <a:lnSpc>
                  <a:spcPct val="14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等线 Light" panose="020F0302020204030204"/>
                  <a:ea typeface="+mn-ea"/>
                  <a:cs typeface="+mn-cs"/>
                </a:rPr>
                <a:t>Decrease Value</a:t>
              </a:r>
            </a:p>
          </p:txBody>
        </p:sp>
        <p:sp>
          <p:nvSpPr>
            <p:cNvPr id="91" name="TextBox 202">
              <a:extLst>
                <a:ext uri="{FF2B5EF4-FFF2-40B4-BE49-F238E27FC236}">
                  <a16:creationId xmlns:a16="http://schemas.microsoft.com/office/drawing/2014/main" id="{64EC2FA5-EE10-4B32-9385-9A45516976E5}"/>
                </a:ext>
              </a:extLst>
            </p:cNvPr>
            <p:cNvSpPr txBox="1"/>
            <p:nvPr/>
          </p:nvSpPr>
          <p:spPr>
            <a:xfrm>
              <a:off x="8789812" y="2316193"/>
              <a:ext cx="2044891" cy="473591"/>
            </a:xfrm>
            <a:prstGeom prst="rect">
              <a:avLst/>
            </a:prstGeom>
            <a:noFill/>
          </p:spPr>
          <p:txBody>
            <a:bodyPr wrap="square" rtlCol="0">
              <a:spAutoFit/>
            </a:bodyPr>
            <a:lstStyle/>
            <a:p>
              <a:pPr marL="0" marR="0" lvl="0" indent="0" algn="l" defTabSz="914400" rtl="0" eaLnBrk="1" fontAlgn="auto" latinLnBrk="0" hangingPunct="1">
                <a:lnSpc>
                  <a:spcPct val="14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21.000-36.021</a:t>
              </a:r>
            </a:p>
          </p:txBody>
        </p:sp>
        <p:grpSp>
          <p:nvGrpSpPr>
            <p:cNvPr id="92" name="Group 203">
              <a:extLst>
                <a:ext uri="{FF2B5EF4-FFF2-40B4-BE49-F238E27FC236}">
                  <a16:creationId xmlns:a16="http://schemas.microsoft.com/office/drawing/2014/main" id="{675506C1-3DCB-4783-A628-E150E8926F51}"/>
                </a:ext>
              </a:extLst>
            </p:cNvPr>
            <p:cNvGrpSpPr/>
            <p:nvPr/>
          </p:nvGrpSpPr>
          <p:grpSpPr>
            <a:xfrm>
              <a:off x="7951281" y="2113203"/>
              <a:ext cx="757511" cy="670474"/>
              <a:chOff x="7561392" y="1737100"/>
              <a:chExt cx="757511" cy="670474"/>
            </a:xfrm>
          </p:grpSpPr>
          <p:grpSp>
            <p:nvGrpSpPr>
              <p:cNvPr id="93" name="Group 204">
                <a:extLst>
                  <a:ext uri="{FF2B5EF4-FFF2-40B4-BE49-F238E27FC236}">
                    <a16:creationId xmlns:a16="http://schemas.microsoft.com/office/drawing/2014/main" id="{50986B83-8DCD-4D08-824A-1B543E131E7D}"/>
                  </a:ext>
                </a:extLst>
              </p:cNvPr>
              <p:cNvGrpSpPr/>
              <p:nvPr/>
            </p:nvGrpSpPr>
            <p:grpSpPr>
              <a:xfrm>
                <a:off x="7603610" y="1737100"/>
                <a:ext cx="670475" cy="670474"/>
                <a:chOff x="7603610" y="1737100"/>
                <a:chExt cx="670475" cy="670474"/>
              </a:xfrm>
            </p:grpSpPr>
            <p:grpSp>
              <p:nvGrpSpPr>
                <p:cNvPr id="95" name="Group 206">
                  <a:extLst>
                    <a:ext uri="{FF2B5EF4-FFF2-40B4-BE49-F238E27FC236}">
                      <a16:creationId xmlns:a16="http://schemas.microsoft.com/office/drawing/2014/main" id="{5D7CAA77-F325-478F-9367-AAA3DE9F32D3}"/>
                    </a:ext>
                  </a:extLst>
                </p:cNvPr>
                <p:cNvGrpSpPr/>
                <p:nvPr/>
              </p:nvGrpSpPr>
              <p:grpSpPr>
                <a:xfrm>
                  <a:off x="7603610" y="1737100"/>
                  <a:ext cx="670475" cy="670474"/>
                  <a:chOff x="1794513" y="2579369"/>
                  <a:chExt cx="784854" cy="784854"/>
                </a:xfrm>
              </p:grpSpPr>
              <p:sp>
                <p:nvSpPr>
                  <p:cNvPr id="97" name="Oval 208">
                    <a:extLst>
                      <a:ext uri="{FF2B5EF4-FFF2-40B4-BE49-F238E27FC236}">
                        <a16:creationId xmlns:a16="http://schemas.microsoft.com/office/drawing/2014/main" id="{926EADDA-27C9-4D5D-AE5F-4ED87FD542BB}"/>
                      </a:ext>
                    </a:extLst>
                  </p:cNvPr>
                  <p:cNvSpPr/>
                  <p:nvPr/>
                </p:nvSpPr>
                <p:spPr>
                  <a:xfrm>
                    <a:off x="1794514" y="2579370"/>
                    <a:ext cx="784853" cy="784853"/>
                  </a:xfrm>
                  <a:prstGeom prst="ellipse">
                    <a:avLst/>
                  </a:prstGeom>
                  <a:noFill/>
                  <a:ln w="222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等线" panose="020F0502020204030204"/>
                      <a:ea typeface="+mn-ea"/>
                      <a:cs typeface="+mn-cs"/>
                    </a:endParaRPr>
                  </a:p>
                </p:txBody>
              </p:sp>
              <p:sp>
                <p:nvSpPr>
                  <p:cNvPr id="98" name="Arc 209">
                    <a:extLst>
                      <a:ext uri="{FF2B5EF4-FFF2-40B4-BE49-F238E27FC236}">
                        <a16:creationId xmlns:a16="http://schemas.microsoft.com/office/drawing/2014/main" id="{F6C515DF-BAF2-4570-86C8-F455633993F8}"/>
                      </a:ext>
                    </a:extLst>
                  </p:cNvPr>
                  <p:cNvSpPr/>
                  <p:nvPr/>
                </p:nvSpPr>
                <p:spPr>
                  <a:xfrm>
                    <a:off x="1794513" y="2579369"/>
                    <a:ext cx="784854" cy="784854"/>
                  </a:xfrm>
                  <a:prstGeom prst="arc">
                    <a:avLst>
                      <a:gd name="adj1" fmla="val 13014200"/>
                      <a:gd name="adj2" fmla="val 15878115"/>
                    </a:avLst>
                  </a:prstGeom>
                  <a:ln w="69850" cap="rnd">
                    <a:solidFill>
                      <a:schemeClr val="bg1"/>
                    </a:solidFill>
                    <a:roun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grpSp>
            <p:sp>
              <p:nvSpPr>
                <p:cNvPr id="96" name="Oval 207">
                  <a:extLst>
                    <a:ext uri="{FF2B5EF4-FFF2-40B4-BE49-F238E27FC236}">
                      <a16:creationId xmlns:a16="http://schemas.microsoft.com/office/drawing/2014/main" id="{4C633B0C-D1EE-4CBC-9DCE-B1578C2574C7}"/>
                    </a:ext>
                  </a:extLst>
                </p:cNvPr>
                <p:cNvSpPr/>
                <p:nvPr/>
              </p:nvSpPr>
              <p:spPr>
                <a:xfrm rot="5400000">
                  <a:off x="7672086" y="1805576"/>
                  <a:ext cx="533522" cy="533522"/>
                </a:xfrm>
                <a:prstGeom prst="ellipse">
                  <a:avLst/>
                </a:prstGeom>
                <a:solidFill>
                  <a:schemeClr val="bg1"/>
                </a:solidFill>
                <a:ln>
                  <a:noFill/>
                </a:ln>
                <a:effectLst>
                  <a:outerShdw blurRad="381000" dist="444500" dir="8100000" sx="90000" sy="90000" algn="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等线" panose="020F0502020204030204"/>
                    <a:ea typeface="+mn-ea"/>
                    <a:cs typeface="+mn-cs"/>
                  </a:endParaRPr>
                </a:p>
              </p:txBody>
            </p:sp>
          </p:grpSp>
          <p:sp>
            <p:nvSpPr>
              <p:cNvPr id="94" name="TextBox 205">
                <a:extLst>
                  <a:ext uri="{FF2B5EF4-FFF2-40B4-BE49-F238E27FC236}">
                    <a16:creationId xmlns:a16="http://schemas.microsoft.com/office/drawing/2014/main" id="{F014FD6D-1776-46E6-B3B7-6A517FB6633C}"/>
                  </a:ext>
                </a:extLst>
              </p:cNvPr>
              <p:cNvSpPr txBox="1"/>
              <p:nvPr/>
            </p:nvSpPr>
            <p:spPr>
              <a:xfrm rot="20700000" flipH="1">
                <a:off x="7561392" y="1853031"/>
                <a:ext cx="757511" cy="397353"/>
              </a:xfrm>
              <a:prstGeom prst="rect">
                <a:avLst/>
              </a:prstGeom>
              <a:noFill/>
            </p:spPr>
            <p:txBody>
              <a:bodyPr wrap="square" rtlCol="0">
                <a:spAutoFit/>
              </a:bodyPr>
              <a:lstStyle/>
              <a:p>
                <a:pPr marL="0" marR="0" lvl="0" indent="0" algn="ctr" defTabSz="914400" rtl="0" eaLnBrk="1" fontAlgn="auto" latinLnBrk="0" hangingPunct="1">
                  <a:lnSpc>
                    <a:spcPct val="14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D99B"/>
                    </a:solidFill>
                    <a:effectLst/>
                    <a:uLnTx/>
                    <a:uFillTx/>
                    <a:latin typeface="Segoe UI" panose="020B0502040204020203" pitchFamily="34" charset="0"/>
                    <a:ea typeface="+mn-ea"/>
                    <a:cs typeface="Segoe UI" panose="020B0502040204020203" pitchFamily="34" charset="0"/>
                  </a:rPr>
                  <a:t>10%</a:t>
                </a:r>
              </a:p>
            </p:txBody>
          </p:sp>
        </p:grpSp>
      </p:grpSp>
      <p:grpSp>
        <p:nvGrpSpPr>
          <p:cNvPr id="99" name="Group 210">
            <a:extLst>
              <a:ext uri="{FF2B5EF4-FFF2-40B4-BE49-F238E27FC236}">
                <a16:creationId xmlns:a16="http://schemas.microsoft.com/office/drawing/2014/main" id="{EE6E88EC-E866-4938-B166-6244BCB32435}"/>
              </a:ext>
            </a:extLst>
          </p:cNvPr>
          <p:cNvGrpSpPr/>
          <p:nvPr/>
        </p:nvGrpSpPr>
        <p:grpSpPr>
          <a:xfrm>
            <a:off x="7156031" y="983769"/>
            <a:ext cx="3088113" cy="917477"/>
            <a:chOff x="7779911" y="1991949"/>
            <a:chExt cx="3088113" cy="917477"/>
          </a:xfrm>
        </p:grpSpPr>
        <p:sp>
          <p:nvSpPr>
            <p:cNvPr id="100" name="Rectangle: Rounded Corners 211">
              <a:extLst>
                <a:ext uri="{FF2B5EF4-FFF2-40B4-BE49-F238E27FC236}">
                  <a16:creationId xmlns:a16="http://schemas.microsoft.com/office/drawing/2014/main" id="{4295E8B9-D97C-4577-87AB-84F5F51ACE20}"/>
                </a:ext>
              </a:extLst>
            </p:cNvPr>
            <p:cNvSpPr/>
            <p:nvPr/>
          </p:nvSpPr>
          <p:spPr>
            <a:xfrm>
              <a:off x="7779911" y="1991949"/>
              <a:ext cx="3088113" cy="917477"/>
            </a:xfrm>
            <a:prstGeom prst="roundRect">
              <a:avLst>
                <a:gd name="adj" fmla="val 4672"/>
              </a:avLst>
            </a:prstGeom>
            <a:solidFill>
              <a:schemeClr val="accent6"/>
            </a:solidFill>
            <a:ln>
              <a:noFill/>
            </a:ln>
            <a:effectLst>
              <a:outerShdw blurRad="1270000" sx="88000" sy="88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等线" panose="020F0502020204030204"/>
                <a:ea typeface="+mn-ea"/>
                <a:cs typeface="+mn-cs"/>
              </a:endParaRPr>
            </a:p>
          </p:txBody>
        </p:sp>
        <p:sp>
          <p:nvSpPr>
            <p:cNvPr id="101" name="TextBox 212">
              <a:extLst>
                <a:ext uri="{FF2B5EF4-FFF2-40B4-BE49-F238E27FC236}">
                  <a16:creationId xmlns:a16="http://schemas.microsoft.com/office/drawing/2014/main" id="{77354C07-6847-4447-9A47-AC3998B3CE54}"/>
                </a:ext>
              </a:extLst>
            </p:cNvPr>
            <p:cNvSpPr txBox="1"/>
            <p:nvPr/>
          </p:nvSpPr>
          <p:spPr>
            <a:xfrm>
              <a:off x="8789812" y="2081109"/>
              <a:ext cx="1699273" cy="326884"/>
            </a:xfrm>
            <a:prstGeom prst="rect">
              <a:avLst/>
            </a:prstGeom>
            <a:noFill/>
          </p:spPr>
          <p:txBody>
            <a:bodyPr wrap="square" rtlCol="0">
              <a:spAutoFit/>
            </a:bodyPr>
            <a:lstStyle/>
            <a:p>
              <a:pPr marL="0" marR="0" lvl="0" indent="0" algn="l" defTabSz="914400" rtl="0" eaLnBrk="1" fontAlgn="auto" latinLnBrk="0" hangingPunct="1">
                <a:lnSpc>
                  <a:spcPct val="14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等线 Light" panose="020F0302020204030204"/>
                  <a:ea typeface="+mn-ea"/>
                  <a:cs typeface="+mn-cs"/>
                </a:rPr>
                <a:t>Expand Functionality</a:t>
              </a:r>
            </a:p>
          </p:txBody>
        </p:sp>
        <p:sp>
          <p:nvSpPr>
            <p:cNvPr id="102" name="TextBox 213">
              <a:extLst>
                <a:ext uri="{FF2B5EF4-FFF2-40B4-BE49-F238E27FC236}">
                  <a16:creationId xmlns:a16="http://schemas.microsoft.com/office/drawing/2014/main" id="{EC7C2BF4-C378-4A0E-B5BE-939D35BA96E7}"/>
                </a:ext>
              </a:extLst>
            </p:cNvPr>
            <p:cNvSpPr txBox="1"/>
            <p:nvPr/>
          </p:nvSpPr>
          <p:spPr>
            <a:xfrm>
              <a:off x="8789812" y="2316193"/>
              <a:ext cx="2044891" cy="473591"/>
            </a:xfrm>
            <a:prstGeom prst="rect">
              <a:avLst/>
            </a:prstGeom>
            <a:noFill/>
          </p:spPr>
          <p:txBody>
            <a:bodyPr wrap="square" rtlCol="0">
              <a:spAutoFit/>
            </a:bodyPr>
            <a:lstStyle/>
            <a:p>
              <a:pPr marL="0" marR="0" lvl="0" indent="0" algn="l" defTabSz="914400" rtl="0" eaLnBrk="1" fontAlgn="auto" latinLnBrk="0" hangingPunct="1">
                <a:lnSpc>
                  <a:spcPct val="14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21.000-36.021</a:t>
              </a:r>
            </a:p>
          </p:txBody>
        </p:sp>
        <p:grpSp>
          <p:nvGrpSpPr>
            <p:cNvPr id="103" name="Group 214">
              <a:extLst>
                <a:ext uri="{FF2B5EF4-FFF2-40B4-BE49-F238E27FC236}">
                  <a16:creationId xmlns:a16="http://schemas.microsoft.com/office/drawing/2014/main" id="{173ED1F1-5372-4D02-813F-19989D81A20E}"/>
                </a:ext>
              </a:extLst>
            </p:cNvPr>
            <p:cNvGrpSpPr/>
            <p:nvPr/>
          </p:nvGrpSpPr>
          <p:grpSpPr>
            <a:xfrm>
              <a:off x="7951281" y="2113203"/>
              <a:ext cx="757511" cy="670474"/>
              <a:chOff x="7561392" y="1737100"/>
              <a:chExt cx="757511" cy="670474"/>
            </a:xfrm>
          </p:grpSpPr>
          <p:grpSp>
            <p:nvGrpSpPr>
              <p:cNvPr id="104" name="Group 215">
                <a:extLst>
                  <a:ext uri="{FF2B5EF4-FFF2-40B4-BE49-F238E27FC236}">
                    <a16:creationId xmlns:a16="http://schemas.microsoft.com/office/drawing/2014/main" id="{781E99C6-23E3-4BD1-BE5F-BACC8C90DD75}"/>
                  </a:ext>
                </a:extLst>
              </p:cNvPr>
              <p:cNvGrpSpPr/>
              <p:nvPr/>
            </p:nvGrpSpPr>
            <p:grpSpPr>
              <a:xfrm>
                <a:off x="7603610" y="1737100"/>
                <a:ext cx="670475" cy="670474"/>
                <a:chOff x="7603610" y="1737100"/>
                <a:chExt cx="670475" cy="670474"/>
              </a:xfrm>
            </p:grpSpPr>
            <p:grpSp>
              <p:nvGrpSpPr>
                <p:cNvPr id="106" name="Group 217">
                  <a:extLst>
                    <a:ext uri="{FF2B5EF4-FFF2-40B4-BE49-F238E27FC236}">
                      <a16:creationId xmlns:a16="http://schemas.microsoft.com/office/drawing/2014/main" id="{796BFE9A-FC16-4917-BAD9-6B2486D89358}"/>
                    </a:ext>
                  </a:extLst>
                </p:cNvPr>
                <p:cNvGrpSpPr/>
                <p:nvPr/>
              </p:nvGrpSpPr>
              <p:grpSpPr>
                <a:xfrm>
                  <a:off x="7603610" y="1737100"/>
                  <a:ext cx="670475" cy="670474"/>
                  <a:chOff x="1794513" y="2579369"/>
                  <a:chExt cx="784854" cy="784854"/>
                </a:xfrm>
              </p:grpSpPr>
              <p:sp>
                <p:nvSpPr>
                  <p:cNvPr id="108" name="Oval 219">
                    <a:extLst>
                      <a:ext uri="{FF2B5EF4-FFF2-40B4-BE49-F238E27FC236}">
                        <a16:creationId xmlns:a16="http://schemas.microsoft.com/office/drawing/2014/main" id="{2C7F912B-AA9E-431C-93E8-43B93817002B}"/>
                      </a:ext>
                    </a:extLst>
                  </p:cNvPr>
                  <p:cNvSpPr/>
                  <p:nvPr/>
                </p:nvSpPr>
                <p:spPr>
                  <a:xfrm>
                    <a:off x="1794514" y="2579370"/>
                    <a:ext cx="784853" cy="784853"/>
                  </a:xfrm>
                  <a:prstGeom prst="ellipse">
                    <a:avLst/>
                  </a:prstGeom>
                  <a:noFill/>
                  <a:ln w="222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等线" panose="020F0502020204030204"/>
                      <a:ea typeface="+mn-ea"/>
                      <a:cs typeface="+mn-cs"/>
                    </a:endParaRPr>
                  </a:p>
                </p:txBody>
              </p:sp>
              <p:sp>
                <p:nvSpPr>
                  <p:cNvPr id="109" name="Arc 220">
                    <a:extLst>
                      <a:ext uri="{FF2B5EF4-FFF2-40B4-BE49-F238E27FC236}">
                        <a16:creationId xmlns:a16="http://schemas.microsoft.com/office/drawing/2014/main" id="{8DD450B9-4AD0-4C68-8058-4AA647EE065F}"/>
                      </a:ext>
                    </a:extLst>
                  </p:cNvPr>
                  <p:cNvSpPr/>
                  <p:nvPr/>
                </p:nvSpPr>
                <p:spPr>
                  <a:xfrm>
                    <a:off x="1794513" y="2579369"/>
                    <a:ext cx="784854" cy="784854"/>
                  </a:xfrm>
                  <a:prstGeom prst="arc">
                    <a:avLst>
                      <a:gd name="adj1" fmla="val 855950"/>
                      <a:gd name="adj2" fmla="val 15878115"/>
                    </a:avLst>
                  </a:prstGeom>
                  <a:ln w="69850" cap="rnd">
                    <a:solidFill>
                      <a:schemeClr val="bg1"/>
                    </a:solidFill>
                    <a:roun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grpSp>
            <p:sp>
              <p:nvSpPr>
                <p:cNvPr id="107" name="Oval 218">
                  <a:extLst>
                    <a:ext uri="{FF2B5EF4-FFF2-40B4-BE49-F238E27FC236}">
                      <a16:creationId xmlns:a16="http://schemas.microsoft.com/office/drawing/2014/main" id="{8D7AB268-670A-402A-BF28-06DFE0D2B960}"/>
                    </a:ext>
                  </a:extLst>
                </p:cNvPr>
                <p:cNvSpPr/>
                <p:nvPr/>
              </p:nvSpPr>
              <p:spPr>
                <a:xfrm rot="5400000">
                  <a:off x="7672086" y="1805576"/>
                  <a:ext cx="533522" cy="533522"/>
                </a:xfrm>
                <a:prstGeom prst="ellipse">
                  <a:avLst/>
                </a:prstGeom>
                <a:solidFill>
                  <a:schemeClr val="bg1"/>
                </a:solidFill>
                <a:ln>
                  <a:noFill/>
                </a:ln>
                <a:effectLst>
                  <a:outerShdw blurRad="381000" dist="444500" dir="8100000" sx="90000" sy="90000" algn="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等线" panose="020F0502020204030204"/>
                    <a:ea typeface="+mn-ea"/>
                    <a:cs typeface="+mn-cs"/>
                  </a:endParaRPr>
                </a:p>
              </p:txBody>
            </p:sp>
          </p:grpSp>
          <p:sp>
            <p:nvSpPr>
              <p:cNvPr id="105" name="TextBox 216">
                <a:extLst>
                  <a:ext uri="{FF2B5EF4-FFF2-40B4-BE49-F238E27FC236}">
                    <a16:creationId xmlns:a16="http://schemas.microsoft.com/office/drawing/2014/main" id="{284D07AA-E689-4B56-B37B-43B7046FB115}"/>
                  </a:ext>
                </a:extLst>
              </p:cNvPr>
              <p:cNvSpPr txBox="1"/>
              <p:nvPr/>
            </p:nvSpPr>
            <p:spPr>
              <a:xfrm rot="20700000" flipH="1">
                <a:off x="7561392" y="1853031"/>
                <a:ext cx="757511" cy="397353"/>
              </a:xfrm>
              <a:prstGeom prst="rect">
                <a:avLst/>
              </a:prstGeom>
              <a:noFill/>
            </p:spPr>
            <p:txBody>
              <a:bodyPr wrap="square" rtlCol="0">
                <a:spAutoFit/>
              </a:bodyPr>
              <a:lstStyle/>
              <a:p>
                <a:pPr marL="0" marR="0" lvl="0" indent="0" algn="ctr" defTabSz="914400" rtl="0" eaLnBrk="1" fontAlgn="auto" latinLnBrk="0" hangingPunct="1">
                  <a:lnSpc>
                    <a:spcPct val="14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385FFF"/>
                    </a:solidFill>
                    <a:effectLst/>
                    <a:uLnTx/>
                    <a:uFillTx/>
                    <a:latin typeface="Segoe UI" panose="020B0502040204020203" pitchFamily="34" charset="0"/>
                    <a:ea typeface="+mn-ea"/>
                    <a:cs typeface="Segoe UI" panose="020B0502040204020203" pitchFamily="34" charset="0"/>
                  </a:rPr>
                  <a:t>60%</a:t>
                </a:r>
              </a:p>
            </p:txBody>
          </p:sp>
        </p:grpSp>
      </p:grpSp>
    </p:spTree>
    <p:extLst>
      <p:ext uri="{BB962C8B-B14F-4D97-AF65-F5344CB8AC3E}">
        <p14:creationId xmlns:p14="http://schemas.microsoft.com/office/powerpoint/2010/main" val="2882886692"/>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6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5">
            <a:extLst>
              <a:ext uri="{FF2B5EF4-FFF2-40B4-BE49-F238E27FC236}">
                <a16:creationId xmlns:a16="http://schemas.microsoft.com/office/drawing/2014/main" id="{85C1111F-E3E0-4EBA-9F20-D46254DD1EFD}"/>
              </a:ext>
            </a:extLst>
          </p:cNvPr>
          <p:cNvSpPr>
            <a:spLocks noChangeArrowheads="1"/>
          </p:cNvSpPr>
          <p:nvPr/>
        </p:nvSpPr>
        <p:spPr bwMode="auto">
          <a:xfrm>
            <a:off x="4763" y="5983289"/>
            <a:ext cx="12204700" cy="904875"/>
          </a:xfrm>
          <a:prstGeom prst="rect">
            <a:avLst/>
          </a:prstGeom>
          <a:solidFill>
            <a:schemeClr val="tx1">
              <a:lumMod val="85000"/>
              <a:lumOff val="1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 name="TextBox 16">
            <a:extLst>
              <a:ext uri="{FF2B5EF4-FFF2-40B4-BE49-F238E27FC236}">
                <a16:creationId xmlns:a16="http://schemas.microsoft.com/office/drawing/2014/main" id="{B4F63FAF-5938-4BE2-9DD1-5B11CB04E63F}"/>
              </a:ext>
            </a:extLst>
          </p:cNvPr>
          <p:cNvSpPr txBox="1"/>
          <p:nvPr/>
        </p:nvSpPr>
        <p:spPr>
          <a:xfrm>
            <a:off x="2937165" y="820073"/>
            <a:ext cx="6317672"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000000">
                    <a:lumMod val="85000"/>
                    <a:lumOff val="15000"/>
                  </a:srgbClr>
                </a:solidFill>
                <a:effectLst/>
                <a:uLnTx/>
                <a:uFillTx/>
                <a:latin typeface="等线 Light" panose="020F0302020204030204"/>
                <a:ea typeface="+mn-ea"/>
                <a:cs typeface="+mn-cs"/>
              </a:rPr>
              <a:t>INFOGRAPHIC</a:t>
            </a:r>
            <a:r>
              <a:rPr kumimoji="0" lang="en-US" sz="3200" b="1" i="0" u="none" strike="noStrike" kern="1200" cap="none" spc="0" normalizeH="0" baseline="0" noProof="0" dirty="0">
                <a:ln>
                  <a:noFill/>
                </a:ln>
                <a:solidFill>
                  <a:srgbClr val="000000">
                    <a:lumMod val="85000"/>
                    <a:lumOff val="15000"/>
                  </a:srgbClr>
                </a:solidFill>
                <a:effectLst/>
                <a:uLnTx/>
                <a:uFillTx/>
                <a:latin typeface="等线" panose="020F0502020204030204"/>
                <a:ea typeface="+mn-ea"/>
                <a:cs typeface="+mn-cs"/>
              </a:rPr>
              <a:t> </a:t>
            </a:r>
            <a:r>
              <a:rPr kumimoji="0" lang="en-US" sz="3200" b="1" i="0" u="none" strike="noStrike" kern="1200" cap="none" spc="0" normalizeH="0" baseline="0" noProof="0" dirty="0">
                <a:ln>
                  <a:noFill/>
                </a:ln>
                <a:solidFill>
                  <a:srgbClr val="000000">
                    <a:lumMod val="85000"/>
                    <a:lumOff val="15000"/>
                  </a:srgbClr>
                </a:solidFill>
                <a:effectLst/>
                <a:uLnTx/>
                <a:uFillTx/>
                <a:latin typeface="等线 Light" panose="020F0302020204030204"/>
                <a:ea typeface="+mn-ea"/>
                <a:cs typeface="+mn-cs"/>
              </a:rPr>
              <a:t>TREE</a:t>
            </a:r>
          </a:p>
        </p:txBody>
      </p:sp>
      <p:grpSp>
        <p:nvGrpSpPr>
          <p:cNvPr id="4" name="Group 3">
            <a:extLst>
              <a:ext uri="{FF2B5EF4-FFF2-40B4-BE49-F238E27FC236}">
                <a16:creationId xmlns:a16="http://schemas.microsoft.com/office/drawing/2014/main" id="{4B3FFCD6-90C6-474E-BF92-BB7C49237AB1}"/>
              </a:ext>
            </a:extLst>
          </p:cNvPr>
          <p:cNvGrpSpPr/>
          <p:nvPr/>
        </p:nvGrpSpPr>
        <p:grpSpPr>
          <a:xfrm>
            <a:off x="3848103" y="1966490"/>
            <a:ext cx="4642685" cy="4545439"/>
            <a:chOff x="3848101" y="1966487"/>
            <a:chExt cx="4642685" cy="4545439"/>
          </a:xfrm>
        </p:grpSpPr>
        <p:sp>
          <p:nvSpPr>
            <p:cNvPr id="5" name="Oval 6">
              <a:extLst>
                <a:ext uri="{FF2B5EF4-FFF2-40B4-BE49-F238E27FC236}">
                  <a16:creationId xmlns:a16="http://schemas.microsoft.com/office/drawing/2014/main" id="{72CAFBFC-3F85-475A-9AE9-C47F115F4207}"/>
                </a:ext>
              </a:extLst>
            </p:cNvPr>
            <p:cNvSpPr>
              <a:spLocks noChangeArrowheads="1"/>
            </p:cNvSpPr>
            <p:nvPr/>
          </p:nvSpPr>
          <p:spPr bwMode="auto">
            <a:xfrm>
              <a:off x="5116513" y="6140451"/>
              <a:ext cx="1958975" cy="371475"/>
            </a:xfrm>
            <a:prstGeom prst="ellipse">
              <a:avLst/>
            </a:pr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6" name="Freeform 5">
              <a:extLst>
                <a:ext uri="{FF2B5EF4-FFF2-40B4-BE49-F238E27FC236}">
                  <a16:creationId xmlns:a16="http://schemas.microsoft.com/office/drawing/2014/main" id="{D80082F9-B59A-435B-84C9-CD6B489851FC}"/>
                </a:ext>
              </a:extLst>
            </p:cNvPr>
            <p:cNvSpPr>
              <a:spLocks/>
            </p:cNvSpPr>
            <p:nvPr/>
          </p:nvSpPr>
          <p:spPr bwMode="auto">
            <a:xfrm>
              <a:off x="4675067" y="3084400"/>
              <a:ext cx="2783918" cy="3351325"/>
            </a:xfrm>
            <a:custGeom>
              <a:avLst/>
              <a:gdLst>
                <a:gd name="T0" fmla="*/ 1528 w 1536"/>
                <a:gd name="T1" fmla="*/ 916 h 1851"/>
                <a:gd name="T2" fmla="*/ 1473 w 1536"/>
                <a:gd name="T3" fmla="*/ 926 h 1851"/>
                <a:gd name="T4" fmla="*/ 1343 w 1536"/>
                <a:gd name="T5" fmla="*/ 1006 h 1851"/>
                <a:gd name="T6" fmla="*/ 1142 w 1536"/>
                <a:gd name="T7" fmla="*/ 997 h 1851"/>
                <a:gd name="T8" fmla="*/ 1120 w 1536"/>
                <a:gd name="T9" fmla="*/ 881 h 1851"/>
                <a:gd name="T10" fmla="*/ 1248 w 1536"/>
                <a:gd name="T11" fmla="*/ 764 h 1851"/>
                <a:gd name="T12" fmla="*/ 1462 w 1536"/>
                <a:gd name="T13" fmla="*/ 626 h 1851"/>
                <a:gd name="T14" fmla="*/ 1317 w 1536"/>
                <a:gd name="T15" fmla="*/ 691 h 1851"/>
                <a:gd name="T16" fmla="*/ 1216 w 1536"/>
                <a:gd name="T17" fmla="*/ 714 h 1851"/>
                <a:gd name="T18" fmla="*/ 1279 w 1536"/>
                <a:gd name="T19" fmla="*/ 512 h 1851"/>
                <a:gd name="T20" fmla="*/ 1251 w 1536"/>
                <a:gd name="T21" fmla="*/ 419 h 1851"/>
                <a:gd name="T22" fmla="*/ 1209 w 1536"/>
                <a:gd name="T23" fmla="*/ 561 h 1851"/>
                <a:gd name="T24" fmla="*/ 974 w 1536"/>
                <a:gd name="T25" fmla="*/ 930 h 1851"/>
                <a:gd name="T26" fmla="*/ 957 w 1536"/>
                <a:gd name="T27" fmla="*/ 942 h 1851"/>
                <a:gd name="T28" fmla="*/ 865 w 1536"/>
                <a:gd name="T29" fmla="*/ 744 h 1851"/>
                <a:gd name="T30" fmla="*/ 852 w 1536"/>
                <a:gd name="T31" fmla="*/ 472 h 1851"/>
                <a:gd name="T32" fmla="*/ 953 w 1536"/>
                <a:gd name="T33" fmla="*/ 391 h 1851"/>
                <a:gd name="T34" fmla="*/ 1010 w 1536"/>
                <a:gd name="T35" fmla="*/ 249 h 1851"/>
                <a:gd name="T36" fmla="*/ 961 w 1536"/>
                <a:gd name="T37" fmla="*/ 300 h 1851"/>
                <a:gd name="T38" fmla="*/ 865 w 1536"/>
                <a:gd name="T39" fmla="*/ 409 h 1851"/>
                <a:gd name="T40" fmla="*/ 867 w 1536"/>
                <a:gd name="T41" fmla="*/ 254 h 1851"/>
                <a:gd name="T42" fmla="*/ 902 w 1536"/>
                <a:gd name="T43" fmla="*/ 16 h 1851"/>
                <a:gd name="T44" fmla="*/ 855 w 1536"/>
                <a:gd name="T45" fmla="*/ 73 h 1851"/>
                <a:gd name="T46" fmla="*/ 803 w 1536"/>
                <a:gd name="T47" fmla="*/ 229 h 1851"/>
                <a:gd name="T48" fmla="*/ 771 w 1536"/>
                <a:gd name="T49" fmla="*/ 672 h 1851"/>
                <a:gd name="T50" fmla="*/ 814 w 1536"/>
                <a:gd name="T51" fmla="*/ 999 h 1851"/>
                <a:gd name="T52" fmla="*/ 602 w 1536"/>
                <a:gd name="T53" fmla="*/ 804 h 1851"/>
                <a:gd name="T54" fmla="*/ 469 w 1536"/>
                <a:gd name="T55" fmla="*/ 523 h 1851"/>
                <a:gd name="T56" fmla="*/ 520 w 1536"/>
                <a:gd name="T57" fmla="*/ 274 h 1851"/>
                <a:gd name="T58" fmla="*/ 466 w 1536"/>
                <a:gd name="T59" fmla="*/ 430 h 1851"/>
                <a:gd name="T60" fmla="*/ 406 w 1536"/>
                <a:gd name="T61" fmla="*/ 520 h 1851"/>
                <a:gd name="T62" fmla="*/ 359 w 1536"/>
                <a:gd name="T63" fmla="*/ 460 h 1851"/>
                <a:gd name="T64" fmla="*/ 260 w 1536"/>
                <a:gd name="T65" fmla="*/ 256 h 1851"/>
                <a:gd name="T66" fmla="*/ 230 w 1536"/>
                <a:gd name="T67" fmla="*/ 250 h 1851"/>
                <a:gd name="T68" fmla="*/ 416 w 1536"/>
                <a:gd name="T69" fmla="*/ 685 h 1851"/>
                <a:gd name="T70" fmla="*/ 344 w 1536"/>
                <a:gd name="T71" fmla="*/ 710 h 1851"/>
                <a:gd name="T72" fmla="*/ 108 w 1536"/>
                <a:gd name="T73" fmla="*/ 694 h 1851"/>
                <a:gd name="T74" fmla="*/ 16 w 1536"/>
                <a:gd name="T75" fmla="*/ 639 h 1851"/>
                <a:gd name="T76" fmla="*/ 78 w 1536"/>
                <a:gd name="T77" fmla="*/ 728 h 1851"/>
                <a:gd name="T78" fmla="*/ 353 w 1536"/>
                <a:gd name="T79" fmla="*/ 754 h 1851"/>
                <a:gd name="T80" fmla="*/ 442 w 1536"/>
                <a:gd name="T81" fmla="*/ 723 h 1851"/>
                <a:gd name="T82" fmla="*/ 604 w 1536"/>
                <a:gd name="T83" fmla="*/ 911 h 1851"/>
                <a:gd name="T84" fmla="*/ 452 w 1536"/>
                <a:gd name="T85" fmla="*/ 929 h 1851"/>
                <a:gd name="T86" fmla="*/ 346 w 1536"/>
                <a:gd name="T87" fmla="*/ 974 h 1851"/>
                <a:gd name="T88" fmla="*/ 398 w 1536"/>
                <a:gd name="T89" fmla="*/ 984 h 1851"/>
                <a:gd name="T90" fmla="*/ 574 w 1536"/>
                <a:gd name="T91" fmla="*/ 973 h 1851"/>
                <a:gd name="T92" fmla="*/ 763 w 1536"/>
                <a:gd name="T93" fmla="*/ 1160 h 1851"/>
                <a:gd name="T94" fmla="*/ 742 w 1536"/>
                <a:gd name="T95" fmla="*/ 1594 h 1851"/>
                <a:gd name="T96" fmla="*/ 671 w 1536"/>
                <a:gd name="T97" fmla="*/ 1807 h 1851"/>
                <a:gd name="T98" fmla="*/ 995 w 1536"/>
                <a:gd name="T99" fmla="*/ 1789 h 1851"/>
                <a:gd name="T100" fmla="*/ 947 w 1536"/>
                <a:gd name="T101" fmla="*/ 1154 h 1851"/>
                <a:gd name="T102" fmla="*/ 1000 w 1536"/>
                <a:gd name="T103" fmla="*/ 1080 h 1851"/>
                <a:gd name="T104" fmla="*/ 1223 w 1536"/>
                <a:gd name="T105" fmla="*/ 1109 h 1851"/>
                <a:gd name="T106" fmla="*/ 1461 w 1536"/>
                <a:gd name="T107" fmla="*/ 1003 h 1851"/>
                <a:gd name="T108" fmla="*/ 1524 w 1536"/>
                <a:gd name="T109" fmla="*/ 921 h 18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536" h="1851">
                  <a:moveTo>
                    <a:pt x="1524" y="921"/>
                  </a:moveTo>
                  <a:cubicBezTo>
                    <a:pt x="1526" y="919"/>
                    <a:pt x="1527" y="918"/>
                    <a:pt x="1528" y="916"/>
                  </a:cubicBezTo>
                  <a:cubicBezTo>
                    <a:pt x="1534" y="908"/>
                    <a:pt x="1523" y="898"/>
                    <a:pt x="1515" y="903"/>
                  </a:cubicBezTo>
                  <a:cubicBezTo>
                    <a:pt x="1501" y="910"/>
                    <a:pt x="1486" y="917"/>
                    <a:pt x="1473" y="926"/>
                  </a:cubicBezTo>
                  <a:cubicBezTo>
                    <a:pt x="1459" y="936"/>
                    <a:pt x="1445" y="947"/>
                    <a:pt x="1430" y="957"/>
                  </a:cubicBezTo>
                  <a:cubicBezTo>
                    <a:pt x="1403" y="976"/>
                    <a:pt x="1374" y="994"/>
                    <a:pt x="1343" y="1006"/>
                  </a:cubicBezTo>
                  <a:cubicBezTo>
                    <a:pt x="1313" y="1018"/>
                    <a:pt x="1281" y="1024"/>
                    <a:pt x="1249" y="1023"/>
                  </a:cubicBezTo>
                  <a:cubicBezTo>
                    <a:pt x="1212" y="1021"/>
                    <a:pt x="1177" y="1007"/>
                    <a:pt x="1142" y="997"/>
                  </a:cubicBezTo>
                  <a:cubicBezTo>
                    <a:pt x="1107" y="987"/>
                    <a:pt x="1068" y="981"/>
                    <a:pt x="1031" y="986"/>
                  </a:cubicBezTo>
                  <a:cubicBezTo>
                    <a:pt x="1063" y="953"/>
                    <a:pt x="1093" y="918"/>
                    <a:pt x="1120" y="881"/>
                  </a:cubicBezTo>
                  <a:cubicBezTo>
                    <a:pt x="1146" y="846"/>
                    <a:pt x="1169" y="808"/>
                    <a:pt x="1190" y="769"/>
                  </a:cubicBezTo>
                  <a:cubicBezTo>
                    <a:pt x="1209" y="771"/>
                    <a:pt x="1230" y="767"/>
                    <a:pt x="1248" y="764"/>
                  </a:cubicBezTo>
                  <a:cubicBezTo>
                    <a:pt x="1278" y="760"/>
                    <a:pt x="1306" y="750"/>
                    <a:pt x="1334" y="739"/>
                  </a:cubicBezTo>
                  <a:cubicBezTo>
                    <a:pt x="1388" y="715"/>
                    <a:pt x="1435" y="679"/>
                    <a:pt x="1462" y="626"/>
                  </a:cubicBezTo>
                  <a:cubicBezTo>
                    <a:pt x="1465" y="620"/>
                    <a:pt x="1458" y="611"/>
                    <a:pt x="1452" y="616"/>
                  </a:cubicBezTo>
                  <a:cubicBezTo>
                    <a:pt x="1409" y="644"/>
                    <a:pt x="1365" y="673"/>
                    <a:pt x="1317" y="691"/>
                  </a:cubicBezTo>
                  <a:cubicBezTo>
                    <a:pt x="1293" y="701"/>
                    <a:pt x="1268" y="707"/>
                    <a:pt x="1243" y="712"/>
                  </a:cubicBezTo>
                  <a:cubicBezTo>
                    <a:pt x="1235" y="713"/>
                    <a:pt x="1226" y="713"/>
                    <a:pt x="1216" y="714"/>
                  </a:cubicBezTo>
                  <a:cubicBezTo>
                    <a:pt x="1233" y="676"/>
                    <a:pt x="1247" y="638"/>
                    <a:pt x="1258" y="599"/>
                  </a:cubicBezTo>
                  <a:cubicBezTo>
                    <a:pt x="1267" y="570"/>
                    <a:pt x="1274" y="542"/>
                    <a:pt x="1279" y="512"/>
                  </a:cubicBezTo>
                  <a:cubicBezTo>
                    <a:pt x="1284" y="482"/>
                    <a:pt x="1290" y="452"/>
                    <a:pt x="1278" y="422"/>
                  </a:cubicBezTo>
                  <a:cubicBezTo>
                    <a:pt x="1273" y="411"/>
                    <a:pt x="1259" y="408"/>
                    <a:pt x="1251" y="419"/>
                  </a:cubicBezTo>
                  <a:cubicBezTo>
                    <a:pt x="1237" y="440"/>
                    <a:pt x="1234" y="462"/>
                    <a:pt x="1228" y="487"/>
                  </a:cubicBezTo>
                  <a:cubicBezTo>
                    <a:pt x="1222" y="512"/>
                    <a:pt x="1216" y="537"/>
                    <a:pt x="1209" y="561"/>
                  </a:cubicBezTo>
                  <a:cubicBezTo>
                    <a:pt x="1195" y="608"/>
                    <a:pt x="1176" y="653"/>
                    <a:pt x="1153" y="696"/>
                  </a:cubicBezTo>
                  <a:cubicBezTo>
                    <a:pt x="1107" y="784"/>
                    <a:pt x="1047" y="863"/>
                    <a:pt x="974" y="930"/>
                  </a:cubicBezTo>
                  <a:cubicBezTo>
                    <a:pt x="969" y="934"/>
                    <a:pt x="963" y="939"/>
                    <a:pt x="958" y="944"/>
                  </a:cubicBezTo>
                  <a:cubicBezTo>
                    <a:pt x="958" y="943"/>
                    <a:pt x="957" y="943"/>
                    <a:pt x="957" y="942"/>
                  </a:cubicBezTo>
                  <a:cubicBezTo>
                    <a:pt x="936" y="905"/>
                    <a:pt x="911" y="871"/>
                    <a:pt x="894" y="832"/>
                  </a:cubicBezTo>
                  <a:cubicBezTo>
                    <a:pt x="882" y="804"/>
                    <a:pt x="872" y="774"/>
                    <a:pt x="865" y="744"/>
                  </a:cubicBezTo>
                  <a:cubicBezTo>
                    <a:pt x="855" y="656"/>
                    <a:pt x="851" y="567"/>
                    <a:pt x="852" y="478"/>
                  </a:cubicBezTo>
                  <a:cubicBezTo>
                    <a:pt x="852" y="476"/>
                    <a:pt x="852" y="474"/>
                    <a:pt x="852" y="472"/>
                  </a:cubicBezTo>
                  <a:cubicBezTo>
                    <a:pt x="867" y="465"/>
                    <a:pt x="881" y="455"/>
                    <a:pt x="893" y="446"/>
                  </a:cubicBezTo>
                  <a:cubicBezTo>
                    <a:pt x="915" y="430"/>
                    <a:pt x="935" y="412"/>
                    <a:pt x="953" y="391"/>
                  </a:cubicBezTo>
                  <a:cubicBezTo>
                    <a:pt x="971" y="369"/>
                    <a:pt x="986" y="347"/>
                    <a:pt x="997" y="322"/>
                  </a:cubicBezTo>
                  <a:cubicBezTo>
                    <a:pt x="1007" y="300"/>
                    <a:pt x="1020" y="273"/>
                    <a:pt x="1010" y="249"/>
                  </a:cubicBezTo>
                  <a:cubicBezTo>
                    <a:pt x="1008" y="245"/>
                    <a:pt x="1001" y="244"/>
                    <a:pt x="998" y="246"/>
                  </a:cubicBezTo>
                  <a:cubicBezTo>
                    <a:pt x="979" y="258"/>
                    <a:pt x="972" y="282"/>
                    <a:pt x="961" y="300"/>
                  </a:cubicBezTo>
                  <a:cubicBezTo>
                    <a:pt x="949" y="321"/>
                    <a:pt x="934" y="341"/>
                    <a:pt x="918" y="360"/>
                  </a:cubicBezTo>
                  <a:cubicBezTo>
                    <a:pt x="902" y="378"/>
                    <a:pt x="884" y="394"/>
                    <a:pt x="865" y="409"/>
                  </a:cubicBezTo>
                  <a:cubicBezTo>
                    <a:pt x="861" y="412"/>
                    <a:pt x="858" y="414"/>
                    <a:pt x="854" y="416"/>
                  </a:cubicBezTo>
                  <a:cubicBezTo>
                    <a:pt x="856" y="362"/>
                    <a:pt x="860" y="308"/>
                    <a:pt x="867" y="254"/>
                  </a:cubicBezTo>
                  <a:cubicBezTo>
                    <a:pt x="872" y="214"/>
                    <a:pt x="877" y="175"/>
                    <a:pt x="884" y="136"/>
                  </a:cubicBezTo>
                  <a:cubicBezTo>
                    <a:pt x="891" y="97"/>
                    <a:pt x="903" y="56"/>
                    <a:pt x="902" y="16"/>
                  </a:cubicBezTo>
                  <a:cubicBezTo>
                    <a:pt x="902" y="4"/>
                    <a:pt x="886" y="0"/>
                    <a:pt x="880" y="10"/>
                  </a:cubicBezTo>
                  <a:cubicBezTo>
                    <a:pt x="868" y="29"/>
                    <a:pt x="861" y="51"/>
                    <a:pt x="855" y="73"/>
                  </a:cubicBezTo>
                  <a:cubicBezTo>
                    <a:pt x="847" y="89"/>
                    <a:pt x="841" y="105"/>
                    <a:pt x="834" y="122"/>
                  </a:cubicBezTo>
                  <a:cubicBezTo>
                    <a:pt x="821" y="156"/>
                    <a:pt x="811" y="192"/>
                    <a:pt x="803" y="229"/>
                  </a:cubicBezTo>
                  <a:cubicBezTo>
                    <a:pt x="786" y="301"/>
                    <a:pt x="778" y="376"/>
                    <a:pt x="773" y="450"/>
                  </a:cubicBezTo>
                  <a:cubicBezTo>
                    <a:pt x="770" y="524"/>
                    <a:pt x="770" y="598"/>
                    <a:pt x="771" y="672"/>
                  </a:cubicBezTo>
                  <a:cubicBezTo>
                    <a:pt x="772" y="746"/>
                    <a:pt x="775" y="819"/>
                    <a:pt x="787" y="892"/>
                  </a:cubicBezTo>
                  <a:cubicBezTo>
                    <a:pt x="793" y="928"/>
                    <a:pt x="802" y="964"/>
                    <a:pt x="814" y="999"/>
                  </a:cubicBezTo>
                  <a:cubicBezTo>
                    <a:pt x="794" y="984"/>
                    <a:pt x="775" y="968"/>
                    <a:pt x="755" y="952"/>
                  </a:cubicBezTo>
                  <a:cubicBezTo>
                    <a:pt x="701" y="906"/>
                    <a:pt x="650" y="857"/>
                    <a:pt x="602" y="804"/>
                  </a:cubicBezTo>
                  <a:cubicBezTo>
                    <a:pt x="535" y="732"/>
                    <a:pt x="476" y="653"/>
                    <a:pt x="424" y="570"/>
                  </a:cubicBezTo>
                  <a:cubicBezTo>
                    <a:pt x="442" y="558"/>
                    <a:pt x="458" y="537"/>
                    <a:pt x="469" y="523"/>
                  </a:cubicBezTo>
                  <a:cubicBezTo>
                    <a:pt x="486" y="501"/>
                    <a:pt x="497" y="477"/>
                    <a:pt x="506" y="451"/>
                  </a:cubicBezTo>
                  <a:cubicBezTo>
                    <a:pt x="523" y="396"/>
                    <a:pt x="534" y="330"/>
                    <a:pt x="520" y="274"/>
                  </a:cubicBezTo>
                  <a:cubicBezTo>
                    <a:pt x="518" y="266"/>
                    <a:pt x="506" y="266"/>
                    <a:pt x="504" y="274"/>
                  </a:cubicBezTo>
                  <a:cubicBezTo>
                    <a:pt x="490" y="326"/>
                    <a:pt x="485" y="379"/>
                    <a:pt x="466" y="430"/>
                  </a:cubicBezTo>
                  <a:cubicBezTo>
                    <a:pt x="458" y="453"/>
                    <a:pt x="446" y="474"/>
                    <a:pt x="431" y="493"/>
                  </a:cubicBezTo>
                  <a:cubicBezTo>
                    <a:pt x="424" y="503"/>
                    <a:pt x="415" y="512"/>
                    <a:pt x="406" y="520"/>
                  </a:cubicBezTo>
                  <a:cubicBezTo>
                    <a:pt x="403" y="522"/>
                    <a:pt x="400" y="525"/>
                    <a:pt x="397" y="527"/>
                  </a:cubicBezTo>
                  <a:cubicBezTo>
                    <a:pt x="384" y="505"/>
                    <a:pt x="372" y="483"/>
                    <a:pt x="359" y="460"/>
                  </a:cubicBezTo>
                  <a:cubicBezTo>
                    <a:pt x="340" y="425"/>
                    <a:pt x="323" y="390"/>
                    <a:pt x="306" y="354"/>
                  </a:cubicBezTo>
                  <a:cubicBezTo>
                    <a:pt x="291" y="321"/>
                    <a:pt x="278" y="287"/>
                    <a:pt x="260" y="256"/>
                  </a:cubicBezTo>
                  <a:cubicBezTo>
                    <a:pt x="258" y="253"/>
                    <a:pt x="257" y="250"/>
                    <a:pt x="256" y="246"/>
                  </a:cubicBezTo>
                  <a:cubicBezTo>
                    <a:pt x="251" y="234"/>
                    <a:pt x="228" y="234"/>
                    <a:pt x="230" y="250"/>
                  </a:cubicBezTo>
                  <a:cubicBezTo>
                    <a:pt x="242" y="342"/>
                    <a:pt x="275" y="429"/>
                    <a:pt x="316" y="512"/>
                  </a:cubicBezTo>
                  <a:cubicBezTo>
                    <a:pt x="344" y="572"/>
                    <a:pt x="378" y="630"/>
                    <a:pt x="416" y="685"/>
                  </a:cubicBezTo>
                  <a:cubicBezTo>
                    <a:pt x="410" y="689"/>
                    <a:pt x="404" y="692"/>
                    <a:pt x="397" y="695"/>
                  </a:cubicBezTo>
                  <a:cubicBezTo>
                    <a:pt x="380" y="702"/>
                    <a:pt x="362" y="707"/>
                    <a:pt x="344" y="710"/>
                  </a:cubicBezTo>
                  <a:cubicBezTo>
                    <a:pt x="307" y="717"/>
                    <a:pt x="268" y="717"/>
                    <a:pt x="231" y="715"/>
                  </a:cubicBezTo>
                  <a:cubicBezTo>
                    <a:pt x="189" y="713"/>
                    <a:pt x="147" y="709"/>
                    <a:pt x="108" y="694"/>
                  </a:cubicBezTo>
                  <a:cubicBezTo>
                    <a:pt x="91" y="687"/>
                    <a:pt x="74" y="678"/>
                    <a:pt x="59" y="668"/>
                  </a:cubicBezTo>
                  <a:cubicBezTo>
                    <a:pt x="46" y="658"/>
                    <a:pt x="33" y="643"/>
                    <a:pt x="16" y="639"/>
                  </a:cubicBezTo>
                  <a:cubicBezTo>
                    <a:pt x="13" y="639"/>
                    <a:pt x="8" y="641"/>
                    <a:pt x="7" y="645"/>
                  </a:cubicBezTo>
                  <a:cubicBezTo>
                    <a:pt x="0" y="682"/>
                    <a:pt x="49" y="715"/>
                    <a:pt x="78" y="728"/>
                  </a:cubicBezTo>
                  <a:cubicBezTo>
                    <a:pt x="123" y="750"/>
                    <a:pt x="173" y="756"/>
                    <a:pt x="222" y="759"/>
                  </a:cubicBezTo>
                  <a:cubicBezTo>
                    <a:pt x="266" y="763"/>
                    <a:pt x="310" y="762"/>
                    <a:pt x="353" y="754"/>
                  </a:cubicBezTo>
                  <a:cubicBezTo>
                    <a:pt x="374" y="751"/>
                    <a:pt x="395" y="744"/>
                    <a:pt x="415" y="736"/>
                  </a:cubicBezTo>
                  <a:cubicBezTo>
                    <a:pt x="423" y="732"/>
                    <a:pt x="433" y="728"/>
                    <a:pt x="442" y="723"/>
                  </a:cubicBezTo>
                  <a:cubicBezTo>
                    <a:pt x="449" y="732"/>
                    <a:pt x="457" y="742"/>
                    <a:pt x="464" y="751"/>
                  </a:cubicBezTo>
                  <a:cubicBezTo>
                    <a:pt x="507" y="806"/>
                    <a:pt x="557" y="858"/>
                    <a:pt x="604" y="911"/>
                  </a:cubicBezTo>
                  <a:cubicBezTo>
                    <a:pt x="595" y="911"/>
                    <a:pt x="586" y="911"/>
                    <a:pt x="577" y="911"/>
                  </a:cubicBezTo>
                  <a:cubicBezTo>
                    <a:pt x="535" y="913"/>
                    <a:pt x="493" y="920"/>
                    <a:pt x="452" y="929"/>
                  </a:cubicBezTo>
                  <a:cubicBezTo>
                    <a:pt x="431" y="934"/>
                    <a:pt x="411" y="940"/>
                    <a:pt x="391" y="947"/>
                  </a:cubicBezTo>
                  <a:cubicBezTo>
                    <a:pt x="375" y="953"/>
                    <a:pt x="357" y="960"/>
                    <a:pt x="346" y="974"/>
                  </a:cubicBezTo>
                  <a:cubicBezTo>
                    <a:pt x="343" y="978"/>
                    <a:pt x="347" y="983"/>
                    <a:pt x="351" y="985"/>
                  </a:cubicBezTo>
                  <a:cubicBezTo>
                    <a:pt x="366" y="990"/>
                    <a:pt x="382" y="986"/>
                    <a:pt x="398" y="984"/>
                  </a:cubicBezTo>
                  <a:cubicBezTo>
                    <a:pt x="418" y="981"/>
                    <a:pt x="438" y="979"/>
                    <a:pt x="458" y="977"/>
                  </a:cubicBezTo>
                  <a:cubicBezTo>
                    <a:pt x="496" y="972"/>
                    <a:pt x="535" y="970"/>
                    <a:pt x="574" y="973"/>
                  </a:cubicBezTo>
                  <a:cubicBezTo>
                    <a:pt x="608" y="976"/>
                    <a:pt x="641" y="983"/>
                    <a:pt x="673" y="996"/>
                  </a:cubicBezTo>
                  <a:cubicBezTo>
                    <a:pt x="711" y="1047"/>
                    <a:pt x="742" y="1100"/>
                    <a:pt x="763" y="1160"/>
                  </a:cubicBezTo>
                  <a:cubicBezTo>
                    <a:pt x="775" y="1198"/>
                    <a:pt x="783" y="1236"/>
                    <a:pt x="789" y="1275"/>
                  </a:cubicBezTo>
                  <a:cubicBezTo>
                    <a:pt x="787" y="1383"/>
                    <a:pt x="778" y="1492"/>
                    <a:pt x="742" y="1594"/>
                  </a:cubicBezTo>
                  <a:cubicBezTo>
                    <a:pt x="722" y="1648"/>
                    <a:pt x="693" y="1700"/>
                    <a:pt x="654" y="1743"/>
                  </a:cubicBezTo>
                  <a:cubicBezTo>
                    <a:pt x="633" y="1766"/>
                    <a:pt x="644" y="1797"/>
                    <a:pt x="671" y="1807"/>
                  </a:cubicBezTo>
                  <a:cubicBezTo>
                    <a:pt x="766" y="1843"/>
                    <a:pt x="867" y="1851"/>
                    <a:pt x="967" y="1838"/>
                  </a:cubicBezTo>
                  <a:cubicBezTo>
                    <a:pt x="988" y="1835"/>
                    <a:pt x="1001" y="1807"/>
                    <a:pt x="995" y="1789"/>
                  </a:cubicBezTo>
                  <a:cubicBezTo>
                    <a:pt x="929" y="1584"/>
                    <a:pt x="935" y="1372"/>
                    <a:pt x="945" y="1160"/>
                  </a:cubicBezTo>
                  <a:cubicBezTo>
                    <a:pt x="946" y="1158"/>
                    <a:pt x="946" y="1156"/>
                    <a:pt x="947" y="1154"/>
                  </a:cubicBezTo>
                  <a:cubicBezTo>
                    <a:pt x="950" y="1145"/>
                    <a:pt x="953" y="1135"/>
                    <a:pt x="956" y="1126"/>
                  </a:cubicBezTo>
                  <a:cubicBezTo>
                    <a:pt x="967" y="1107"/>
                    <a:pt x="980" y="1089"/>
                    <a:pt x="1000" y="1080"/>
                  </a:cubicBezTo>
                  <a:cubicBezTo>
                    <a:pt x="1021" y="1070"/>
                    <a:pt x="1045" y="1073"/>
                    <a:pt x="1067" y="1078"/>
                  </a:cubicBezTo>
                  <a:cubicBezTo>
                    <a:pt x="1119" y="1090"/>
                    <a:pt x="1168" y="1113"/>
                    <a:pt x="1223" y="1109"/>
                  </a:cubicBezTo>
                  <a:cubicBezTo>
                    <a:pt x="1279" y="1105"/>
                    <a:pt x="1331" y="1081"/>
                    <a:pt x="1380" y="1054"/>
                  </a:cubicBezTo>
                  <a:cubicBezTo>
                    <a:pt x="1408" y="1038"/>
                    <a:pt x="1435" y="1021"/>
                    <a:pt x="1461" y="1003"/>
                  </a:cubicBezTo>
                  <a:cubicBezTo>
                    <a:pt x="1486" y="984"/>
                    <a:pt x="1514" y="967"/>
                    <a:pt x="1531" y="940"/>
                  </a:cubicBezTo>
                  <a:cubicBezTo>
                    <a:pt x="1536" y="933"/>
                    <a:pt x="1531" y="924"/>
                    <a:pt x="1524" y="921"/>
                  </a:cubicBezTo>
                  <a:close/>
                </a:path>
              </a:pathLst>
            </a:custGeom>
            <a:solidFill>
              <a:schemeClr val="accent3">
                <a:lumMod val="5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nvGrpSpPr>
            <p:cNvPr id="7" name="Group 1">
              <a:extLst>
                <a:ext uri="{FF2B5EF4-FFF2-40B4-BE49-F238E27FC236}">
                  <a16:creationId xmlns:a16="http://schemas.microsoft.com/office/drawing/2014/main" id="{8188E233-5506-4B8E-A641-FC24D4AEDEB3}"/>
                </a:ext>
              </a:extLst>
            </p:cNvPr>
            <p:cNvGrpSpPr/>
            <p:nvPr/>
          </p:nvGrpSpPr>
          <p:grpSpPr>
            <a:xfrm>
              <a:off x="6844097" y="3750457"/>
              <a:ext cx="1646689" cy="1634616"/>
              <a:chOff x="6844097" y="3750457"/>
              <a:chExt cx="1646689" cy="1634616"/>
            </a:xfrm>
          </p:grpSpPr>
          <p:sp>
            <p:nvSpPr>
              <p:cNvPr id="31" name="Freeform 9">
                <a:extLst>
                  <a:ext uri="{FF2B5EF4-FFF2-40B4-BE49-F238E27FC236}">
                    <a16:creationId xmlns:a16="http://schemas.microsoft.com/office/drawing/2014/main" id="{6696D3E9-621B-4B90-8822-C930B87FF375}"/>
                  </a:ext>
                </a:extLst>
              </p:cNvPr>
              <p:cNvSpPr>
                <a:spLocks/>
              </p:cNvSpPr>
              <p:nvPr/>
            </p:nvSpPr>
            <p:spPr bwMode="auto">
              <a:xfrm>
                <a:off x="6844097" y="3750457"/>
                <a:ext cx="1646689" cy="1634616"/>
              </a:xfrm>
              <a:custGeom>
                <a:avLst/>
                <a:gdLst>
                  <a:gd name="T0" fmla="*/ 905 w 908"/>
                  <a:gd name="T1" fmla="*/ 708 h 903"/>
                  <a:gd name="T2" fmla="*/ 855 w 908"/>
                  <a:gd name="T3" fmla="*/ 605 h 903"/>
                  <a:gd name="T4" fmla="*/ 882 w 908"/>
                  <a:gd name="T5" fmla="*/ 487 h 903"/>
                  <a:gd name="T6" fmla="*/ 902 w 908"/>
                  <a:gd name="T7" fmla="*/ 386 h 903"/>
                  <a:gd name="T8" fmla="*/ 865 w 908"/>
                  <a:gd name="T9" fmla="*/ 329 h 903"/>
                  <a:gd name="T10" fmla="*/ 807 w 908"/>
                  <a:gd name="T11" fmla="*/ 115 h 903"/>
                  <a:gd name="T12" fmla="*/ 636 w 908"/>
                  <a:gd name="T13" fmla="*/ 131 h 903"/>
                  <a:gd name="T14" fmla="*/ 552 w 908"/>
                  <a:gd name="T15" fmla="*/ 55 h 903"/>
                  <a:gd name="T16" fmla="*/ 470 w 908"/>
                  <a:gd name="T17" fmla="*/ 65 h 903"/>
                  <a:gd name="T18" fmla="*/ 388 w 908"/>
                  <a:gd name="T19" fmla="*/ 50 h 903"/>
                  <a:gd name="T20" fmla="*/ 233 w 908"/>
                  <a:gd name="T21" fmla="*/ 36 h 903"/>
                  <a:gd name="T22" fmla="*/ 192 w 908"/>
                  <a:gd name="T23" fmla="*/ 167 h 903"/>
                  <a:gd name="T24" fmla="*/ 89 w 908"/>
                  <a:gd name="T25" fmla="*/ 255 h 903"/>
                  <a:gd name="T26" fmla="*/ 79 w 908"/>
                  <a:gd name="T27" fmla="*/ 384 h 903"/>
                  <a:gd name="T28" fmla="*/ 40 w 908"/>
                  <a:gd name="T29" fmla="*/ 577 h 903"/>
                  <a:gd name="T30" fmla="*/ 53 w 908"/>
                  <a:gd name="T31" fmla="*/ 640 h 903"/>
                  <a:gd name="T32" fmla="*/ 108 w 908"/>
                  <a:gd name="T33" fmla="*/ 751 h 903"/>
                  <a:gd name="T34" fmla="*/ 268 w 908"/>
                  <a:gd name="T35" fmla="*/ 892 h 903"/>
                  <a:gd name="T36" fmla="*/ 448 w 908"/>
                  <a:gd name="T37" fmla="*/ 814 h 903"/>
                  <a:gd name="T38" fmla="*/ 543 w 908"/>
                  <a:gd name="T39" fmla="*/ 835 h 903"/>
                  <a:gd name="T40" fmla="*/ 613 w 908"/>
                  <a:gd name="T41" fmla="*/ 886 h 903"/>
                  <a:gd name="T42" fmla="*/ 680 w 908"/>
                  <a:gd name="T43" fmla="*/ 857 h 903"/>
                  <a:gd name="T44" fmla="*/ 744 w 908"/>
                  <a:gd name="T45" fmla="*/ 843 h 903"/>
                  <a:gd name="T46" fmla="*/ 858 w 908"/>
                  <a:gd name="T47" fmla="*/ 812 h 903"/>
                  <a:gd name="T48" fmla="*/ 905 w 908"/>
                  <a:gd name="T49" fmla="*/ 708 h 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08" h="903">
                    <a:moveTo>
                      <a:pt x="905" y="708"/>
                    </a:moveTo>
                    <a:cubicBezTo>
                      <a:pt x="904" y="667"/>
                      <a:pt x="885" y="626"/>
                      <a:pt x="855" y="605"/>
                    </a:cubicBezTo>
                    <a:cubicBezTo>
                      <a:pt x="888" y="583"/>
                      <a:pt x="902" y="527"/>
                      <a:pt x="882" y="487"/>
                    </a:cubicBezTo>
                    <a:cubicBezTo>
                      <a:pt x="895" y="456"/>
                      <a:pt x="908" y="421"/>
                      <a:pt x="902" y="386"/>
                    </a:cubicBezTo>
                    <a:cubicBezTo>
                      <a:pt x="898" y="361"/>
                      <a:pt x="885" y="338"/>
                      <a:pt x="865" y="329"/>
                    </a:cubicBezTo>
                    <a:cubicBezTo>
                      <a:pt x="884" y="253"/>
                      <a:pt x="865" y="161"/>
                      <a:pt x="807" y="115"/>
                    </a:cubicBezTo>
                    <a:cubicBezTo>
                      <a:pt x="756" y="74"/>
                      <a:pt x="680" y="79"/>
                      <a:pt x="636" y="131"/>
                    </a:cubicBezTo>
                    <a:cubicBezTo>
                      <a:pt x="612" y="100"/>
                      <a:pt x="586" y="68"/>
                      <a:pt x="552" y="55"/>
                    </a:cubicBezTo>
                    <a:cubicBezTo>
                      <a:pt x="524" y="44"/>
                      <a:pt x="494" y="46"/>
                      <a:pt x="470" y="65"/>
                    </a:cubicBezTo>
                    <a:cubicBezTo>
                      <a:pt x="449" y="39"/>
                      <a:pt x="415" y="33"/>
                      <a:pt x="388" y="50"/>
                    </a:cubicBezTo>
                    <a:cubicBezTo>
                      <a:pt x="343" y="16"/>
                      <a:pt x="281" y="0"/>
                      <a:pt x="233" y="36"/>
                    </a:cubicBezTo>
                    <a:cubicBezTo>
                      <a:pt x="197" y="64"/>
                      <a:pt x="177" y="118"/>
                      <a:pt x="192" y="167"/>
                    </a:cubicBezTo>
                    <a:cubicBezTo>
                      <a:pt x="152" y="186"/>
                      <a:pt x="113" y="212"/>
                      <a:pt x="89" y="255"/>
                    </a:cubicBezTo>
                    <a:cubicBezTo>
                      <a:pt x="68" y="293"/>
                      <a:pt x="61" y="343"/>
                      <a:pt x="79" y="384"/>
                    </a:cubicBezTo>
                    <a:cubicBezTo>
                      <a:pt x="20" y="417"/>
                      <a:pt x="0" y="516"/>
                      <a:pt x="40" y="577"/>
                    </a:cubicBezTo>
                    <a:cubicBezTo>
                      <a:pt x="30" y="599"/>
                      <a:pt x="36" y="626"/>
                      <a:pt x="53" y="640"/>
                    </a:cubicBezTo>
                    <a:cubicBezTo>
                      <a:pt x="39" y="687"/>
                      <a:pt x="66" y="743"/>
                      <a:pt x="108" y="751"/>
                    </a:cubicBezTo>
                    <a:cubicBezTo>
                      <a:pt x="137" y="825"/>
                      <a:pt x="198" y="881"/>
                      <a:pt x="268" y="892"/>
                    </a:cubicBezTo>
                    <a:cubicBezTo>
                      <a:pt x="334" y="903"/>
                      <a:pt x="403" y="872"/>
                      <a:pt x="448" y="814"/>
                    </a:cubicBezTo>
                    <a:cubicBezTo>
                      <a:pt x="468" y="851"/>
                      <a:pt x="510" y="846"/>
                      <a:pt x="543" y="835"/>
                    </a:cubicBezTo>
                    <a:cubicBezTo>
                      <a:pt x="543" y="873"/>
                      <a:pt x="584" y="892"/>
                      <a:pt x="613" y="886"/>
                    </a:cubicBezTo>
                    <a:cubicBezTo>
                      <a:pt x="637" y="880"/>
                      <a:pt x="657" y="865"/>
                      <a:pt x="680" y="857"/>
                    </a:cubicBezTo>
                    <a:cubicBezTo>
                      <a:pt x="700" y="849"/>
                      <a:pt x="722" y="846"/>
                      <a:pt x="744" y="843"/>
                    </a:cubicBezTo>
                    <a:cubicBezTo>
                      <a:pt x="782" y="838"/>
                      <a:pt x="824" y="836"/>
                      <a:pt x="858" y="812"/>
                    </a:cubicBezTo>
                    <a:cubicBezTo>
                      <a:pt x="889" y="790"/>
                      <a:pt x="907" y="751"/>
                      <a:pt x="905" y="708"/>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nvGrpSpPr>
              <p:cNvPr id="32" name="Group 17">
                <a:extLst>
                  <a:ext uri="{FF2B5EF4-FFF2-40B4-BE49-F238E27FC236}">
                    <a16:creationId xmlns:a16="http://schemas.microsoft.com/office/drawing/2014/main" id="{FE22E031-8D24-4362-9D9F-9DECDA73D3AC}"/>
                  </a:ext>
                </a:extLst>
              </p:cNvPr>
              <p:cNvGrpSpPr/>
              <p:nvPr/>
            </p:nvGrpSpPr>
            <p:grpSpPr>
              <a:xfrm>
                <a:off x="7487260" y="4385203"/>
                <a:ext cx="360362" cy="365125"/>
                <a:chOff x="5313363" y="2036763"/>
                <a:chExt cx="360362" cy="365125"/>
              </a:xfrm>
              <a:solidFill>
                <a:schemeClr val="bg1"/>
              </a:solidFill>
            </p:grpSpPr>
            <p:sp>
              <p:nvSpPr>
                <p:cNvPr id="33" name="Freeform 214">
                  <a:extLst>
                    <a:ext uri="{FF2B5EF4-FFF2-40B4-BE49-F238E27FC236}">
                      <a16:creationId xmlns:a16="http://schemas.microsoft.com/office/drawing/2014/main" id="{D6071AE2-953C-4392-A6E1-7F00BF891FDC}"/>
                    </a:ext>
                  </a:extLst>
                </p:cNvPr>
                <p:cNvSpPr>
                  <a:spLocks noEditPoints="1"/>
                </p:cNvSpPr>
                <p:nvPr/>
              </p:nvSpPr>
              <p:spPr bwMode="auto">
                <a:xfrm>
                  <a:off x="5422900" y="2036763"/>
                  <a:ext cx="142875" cy="142875"/>
                </a:xfrm>
                <a:custGeom>
                  <a:avLst/>
                  <a:gdLst>
                    <a:gd name="T0" fmla="*/ 22 w 44"/>
                    <a:gd name="T1" fmla="*/ 44 h 44"/>
                    <a:gd name="T2" fmla="*/ 44 w 44"/>
                    <a:gd name="T3" fmla="*/ 22 h 44"/>
                    <a:gd name="T4" fmla="*/ 22 w 44"/>
                    <a:gd name="T5" fmla="*/ 0 h 44"/>
                    <a:gd name="T6" fmla="*/ 0 w 44"/>
                    <a:gd name="T7" fmla="*/ 22 h 44"/>
                    <a:gd name="T8" fmla="*/ 22 w 44"/>
                    <a:gd name="T9" fmla="*/ 44 h 44"/>
                    <a:gd name="T10" fmla="*/ 11 w 44"/>
                    <a:gd name="T11" fmla="*/ 20 h 44"/>
                    <a:gd name="T12" fmla="*/ 16 w 44"/>
                    <a:gd name="T13" fmla="*/ 20 h 44"/>
                    <a:gd name="T14" fmla="*/ 19 w 44"/>
                    <a:gd name="T15" fmla="*/ 23 h 44"/>
                    <a:gd name="T16" fmla="*/ 28 w 44"/>
                    <a:gd name="T17" fmla="*/ 14 h 44"/>
                    <a:gd name="T18" fmla="*/ 32 w 44"/>
                    <a:gd name="T19" fmla="*/ 14 h 44"/>
                    <a:gd name="T20" fmla="*/ 32 w 44"/>
                    <a:gd name="T21" fmla="*/ 19 h 44"/>
                    <a:gd name="T22" fmla="*/ 21 w 44"/>
                    <a:gd name="T23" fmla="*/ 30 h 44"/>
                    <a:gd name="T24" fmla="*/ 19 w 44"/>
                    <a:gd name="T25" fmla="*/ 31 h 44"/>
                    <a:gd name="T26" fmla="*/ 17 w 44"/>
                    <a:gd name="T27" fmla="*/ 30 h 44"/>
                    <a:gd name="T28" fmla="*/ 11 w 44"/>
                    <a:gd name="T29" fmla="*/ 24 h 44"/>
                    <a:gd name="T30" fmla="*/ 11 w 44"/>
                    <a:gd name="T31" fmla="*/ 20 h 44"/>
                    <a:gd name="T32" fmla="*/ 11 w 44"/>
                    <a:gd name="T33" fmla="*/ 20 h 44"/>
                    <a:gd name="T34" fmla="*/ 11 w 44"/>
                    <a:gd name="T35" fmla="*/ 2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4" h="44">
                      <a:moveTo>
                        <a:pt x="22" y="44"/>
                      </a:moveTo>
                      <a:cubicBezTo>
                        <a:pt x="34" y="44"/>
                        <a:pt x="44" y="34"/>
                        <a:pt x="44" y="22"/>
                      </a:cubicBezTo>
                      <a:cubicBezTo>
                        <a:pt x="44" y="10"/>
                        <a:pt x="34" y="0"/>
                        <a:pt x="22" y="0"/>
                      </a:cubicBezTo>
                      <a:cubicBezTo>
                        <a:pt x="10" y="0"/>
                        <a:pt x="0" y="10"/>
                        <a:pt x="0" y="22"/>
                      </a:cubicBezTo>
                      <a:cubicBezTo>
                        <a:pt x="0" y="34"/>
                        <a:pt x="10" y="44"/>
                        <a:pt x="22" y="44"/>
                      </a:cubicBezTo>
                      <a:close/>
                      <a:moveTo>
                        <a:pt x="11" y="20"/>
                      </a:moveTo>
                      <a:cubicBezTo>
                        <a:pt x="13" y="18"/>
                        <a:pt x="15" y="18"/>
                        <a:pt x="16" y="20"/>
                      </a:cubicBezTo>
                      <a:cubicBezTo>
                        <a:pt x="19" y="23"/>
                        <a:pt x="19" y="23"/>
                        <a:pt x="19" y="23"/>
                      </a:cubicBezTo>
                      <a:cubicBezTo>
                        <a:pt x="28" y="14"/>
                        <a:pt x="28" y="14"/>
                        <a:pt x="28" y="14"/>
                      </a:cubicBezTo>
                      <a:cubicBezTo>
                        <a:pt x="29" y="13"/>
                        <a:pt x="31" y="13"/>
                        <a:pt x="32" y="14"/>
                      </a:cubicBezTo>
                      <a:cubicBezTo>
                        <a:pt x="34" y="15"/>
                        <a:pt x="34" y="18"/>
                        <a:pt x="32" y="19"/>
                      </a:cubicBezTo>
                      <a:cubicBezTo>
                        <a:pt x="21" y="30"/>
                        <a:pt x="21" y="30"/>
                        <a:pt x="21" y="30"/>
                      </a:cubicBezTo>
                      <a:cubicBezTo>
                        <a:pt x="21" y="30"/>
                        <a:pt x="20" y="31"/>
                        <a:pt x="19" y="31"/>
                      </a:cubicBezTo>
                      <a:cubicBezTo>
                        <a:pt x="18" y="31"/>
                        <a:pt x="17" y="30"/>
                        <a:pt x="17" y="30"/>
                      </a:cubicBezTo>
                      <a:cubicBezTo>
                        <a:pt x="11" y="24"/>
                        <a:pt x="11" y="24"/>
                        <a:pt x="11" y="24"/>
                      </a:cubicBezTo>
                      <a:cubicBezTo>
                        <a:pt x="10" y="23"/>
                        <a:pt x="10" y="21"/>
                        <a:pt x="11" y="20"/>
                      </a:cubicBezTo>
                      <a:close/>
                      <a:moveTo>
                        <a:pt x="11" y="20"/>
                      </a:moveTo>
                      <a:cubicBezTo>
                        <a:pt x="11" y="20"/>
                        <a:pt x="11" y="20"/>
                        <a:pt x="11" y="2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34" name="Freeform 215">
                  <a:extLst>
                    <a:ext uri="{FF2B5EF4-FFF2-40B4-BE49-F238E27FC236}">
                      <a16:creationId xmlns:a16="http://schemas.microsoft.com/office/drawing/2014/main" id="{8DF747C3-A605-450E-BD1D-C741C1C0B471}"/>
                    </a:ext>
                  </a:extLst>
                </p:cNvPr>
                <p:cNvSpPr>
                  <a:spLocks noEditPoints="1"/>
                </p:cNvSpPr>
                <p:nvPr/>
              </p:nvSpPr>
              <p:spPr bwMode="auto">
                <a:xfrm>
                  <a:off x="5313363" y="2057400"/>
                  <a:ext cx="84137" cy="84138"/>
                </a:xfrm>
                <a:custGeom>
                  <a:avLst/>
                  <a:gdLst>
                    <a:gd name="T0" fmla="*/ 13 w 26"/>
                    <a:gd name="T1" fmla="*/ 26 h 26"/>
                    <a:gd name="T2" fmla="*/ 26 w 26"/>
                    <a:gd name="T3" fmla="*/ 13 h 26"/>
                    <a:gd name="T4" fmla="*/ 13 w 26"/>
                    <a:gd name="T5" fmla="*/ 0 h 26"/>
                    <a:gd name="T6" fmla="*/ 0 w 26"/>
                    <a:gd name="T7" fmla="*/ 13 h 26"/>
                    <a:gd name="T8" fmla="*/ 13 w 26"/>
                    <a:gd name="T9" fmla="*/ 26 h 26"/>
                    <a:gd name="T10" fmla="*/ 13 w 26"/>
                    <a:gd name="T11" fmla="*/ 26 h 26"/>
                    <a:gd name="T12" fmla="*/ 13 w 26"/>
                    <a:gd name="T13" fmla="*/ 26 h 26"/>
                  </a:gdLst>
                  <a:ahLst/>
                  <a:cxnLst>
                    <a:cxn ang="0">
                      <a:pos x="T0" y="T1"/>
                    </a:cxn>
                    <a:cxn ang="0">
                      <a:pos x="T2" y="T3"/>
                    </a:cxn>
                    <a:cxn ang="0">
                      <a:pos x="T4" y="T5"/>
                    </a:cxn>
                    <a:cxn ang="0">
                      <a:pos x="T6" y="T7"/>
                    </a:cxn>
                    <a:cxn ang="0">
                      <a:pos x="T8" y="T9"/>
                    </a:cxn>
                    <a:cxn ang="0">
                      <a:pos x="T10" y="T11"/>
                    </a:cxn>
                    <a:cxn ang="0">
                      <a:pos x="T12" y="T13"/>
                    </a:cxn>
                  </a:cxnLst>
                  <a:rect l="0" t="0" r="r" b="b"/>
                  <a:pathLst>
                    <a:path w="26" h="26">
                      <a:moveTo>
                        <a:pt x="13" y="26"/>
                      </a:moveTo>
                      <a:cubicBezTo>
                        <a:pt x="20" y="26"/>
                        <a:pt x="26" y="20"/>
                        <a:pt x="26" y="13"/>
                      </a:cubicBezTo>
                      <a:cubicBezTo>
                        <a:pt x="26" y="6"/>
                        <a:pt x="20" y="0"/>
                        <a:pt x="13" y="0"/>
                      </a:cubicBezTo>
                      <a:cubicBezTo>
                        <a:pt x="6" y="0"/>
                        <a:pt x="0" y="6"/>
                        <a:pt x="0" y="13"/>
                      </a:cubicBezTo>
                      <a:cubicBezTo>
                        <a:pt x="0" y="20"/>
                        <a:pt x="6" y="26"/>
                        <a:pt x="13" y="26"/>
                      </a:cubicBezTo>
                      <a:close/>
                      <a:moveTo>
                        <a:pt x="13" y="26"/>
                      </a:moveTo>
                      <a:cubicBezTo>
                        <a:pt x="13" y="26"/>
                        <a:pt x="13" y="26"/>
                        <a:pt x="13" y="2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5" name="Freeform 216">
                  <a:extLst>
                    <a:ext uri="{FF2B5EF4-FFF2-40B4-BE49-F238E27FC236}">
                      <a16:creationId xmlns:a16="http://schemas.microsoft.com/office/drawing/2014/main" id="{7E263F40-09A1-4A94-B3CC-19C2374B5773}"/>
                    </a:ext>
                  </a:extLst>
                </p:cNvPr>
                <p:cNvSpPr>
                  <a:spLocks noEditPoints="1"/>
                </p:cNvSpPr>
                <p:nvPr/>
              </p:nvSpPr>
              <p:spPr bwMode="auto">
                <a:xfrm>
                  <a:off x="5316538" y="2163763"/>
                  <a:ext cx="142875" cy="230188"/>
                </a:xfrm>
                <a:custGeom>
                  <a:avLst/>
                  <a:gdLst>
                    <a:gd name="T0" fmla="*/ 0 w 44"/>
                    <a:gd name="T1" fmla="*/ 11 h 71"/>
                    <a:gd name="T2" fmla="*/ 0 w 44"/>
                    <a:gd name="T3" fmla="*/ 38 h 71"/>
                    <a:gd name="T4" fmla="*/ 11 w 44"/>
                    <a:gd name="T5" fmla="*/ 49 h 71"/>
                    <a:gd name="T6" fmla="*/ 26 w 44"/>
                    <a:gd name="T7" fmla="*/ 49 h 71"/>
                    <a:gd name="T8" fmla="*/ 26 w 44"/>
                    <a:gd name="T9" fmla="*/ 69 h 71"/>
                    <a:gd name="T10" fmla="*/ 29 w 44"/>
                    <a:gd name="T11" fmla="*/ 71 h 71"/>
                    <a:gd name="T12" fmla="*/ 41 w 44"/>
                    <a:gd name="T13" fmla="*/ 71 h 71"/>
                    <a:gd name="T14" fmla="*/ 44 w 44"/>
                    <a:gd name="T15" fmla="*/ 69 h 71"/>
                    <a:gd name="T16" fmla="*/ 44 w 44"/>
                    <a:gd name="T17" fmla="*/ 40 h 71"/>
                    <a:gd name="T18" fmla="*/ 35 w 44"/>
                    <a:gd name="T19" fmla="*/ 31 h 71"/>
                    <a:gd name="T20" fmla="*/ 24 w 44"/>
                    <a:gd name="T21" fmla="*/ 31 h 71"/>
                    <a:gd name="T22" fmla="*/ 24 w 44"/>
                    <a:gd name="T23" fmla="*/ 11 h 71"/>
                    <a:gd name="T24" fmla="*/ 12 w 44"/>
                    <a:gd name="T25" fmla="*/ 0 h 71"/>
                    <a:gd name="T26" fmla="*/ 0 w 44"/>
                    <a:gd name="T27" fmla="*/ 11 h 71"/>
                    <a:gd name="T28" fmla="*/ 0 w 44"/>
                    <a:gd name="T29" fmla="*/ 11 h 71"/>
                    <a:gd name="T30" fmla="*/ 0 w 44"/>
                    <a:gd name="T31" fmla="*/ 1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4" h="71">
                      <a:moveTo>
                        <a:pt x="0" y="11"/>
                      </a:moveTo>
                      <a:cubicBezTo>
                        <a:pt x="0" y="38"/>
                        <a:pt x="0" y="38"/>
                        <a:pt x="0" y="38"/>
                      </a:cubicBezTo>
                      <a:cubicBezTo>
                        <a:pt x="0" y="44"/>
                        <a:pt x="5" y="49"/>
                        <a:pt x="11" y="49"/>
                      </a:cubicBezTo>
                      <a:cubicBezTo>
                        <a:pt x="26" y="49"/>
                        <a:pt x="26" y="49"/>
                        <a:pt x="26" y="49"/>
                      </a:cubicBezTo>
                      <a:cubicBezTo>
                        <a:pt x="26" y="69"/>
                        <a:pt x="26" y="69"/>
                        <a:pt x="26" y="69"/>
                      </a:cubicBezTo>
                      <a:cubicBezTo>
                        <a:pt x="26" y="70"/>
                        <a:pt x="27" y="71"/>
                        <a:pt x="29" y="71"/>
                      </a:cubicBezTo>
                      <a:cubicBezTo>
                        <a:pt x="41" y="71"/>
                        <a:pt x="41" y="71"/>
                        <a:pt x="41" y="71"/>
                      </a:cubicBezTo>
                      <a:cubicBezTo>
                        <a:pt x="43" y="71"/>
                        <a:pt x="44" y="70"/>
                        <a:pt x="44" y="69"/>
                      </a:cubicBezTo>
                      <a:cubicBezTo>
                        <a:pt x="44" y="40"/>
                        <a:pt x="44" y="40"/>
                        <a:pt x="44" y="40"/>
                      </a:cubicBezTo>
                      <a:cubicBezTo>
                        <a:pt x="44" y="35"/>
                        <a:pt x="40" y="31"/>
                        <a:pt x="35" y="31"/>
                      </a:cubicBezTo>
                      <a:cubicBezTo>
                        <a:pt x="24" y="31"/>
                        <a:pt x="24" y="31"/>
                        <a:pt x="24" y="31"/>
                      </a:cubicBezTo>
                      <a:cubicBezTo>
                        <a:pt x="24" y="11"/>
                        <a:pt x="24" y="11"/>
                        <a:pt x="24" y="11"/>
                      </a:cubicBezTo>
                      <a:cubicBezTo>
                        <a:pt x="24" y="5"/>
                        <a:pt x="18" y="0"/>
                        <a:pt x="12" y="0"/>
                      </a:cubicBezTo>
                      <a:cubicBezTo>
                        <a:pt x="6" y="0"/>
                        <a:pt x="0" y="5"/>
                        <a:pt x="0" y="11"/>
                      </a:cubicBezTo>
                      <a:close/>
                      <a:moveTo>
                        <a:pt x="0" y="11"/>
                      </a:moveTo>
                      <a:cubicBezTo>
                        <a:pt x="0" y="11"/>
                        <a:pt x="0" y="11"/>
                        <a:pt x="0" y="1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6" name="Freeform 217">
                  <a:extLst>
                    <a:ext uri="{FF2B5EF4-FFF2-40B4-BE49-F238E27FC236}">
                      <a16:creationId xmlns:a16="http://schemas.microsoft.com/office/drawing/2014/main" id="{60BD37EE-6C9D-4D06-A4C9-4051005A5A32}"/>
                    </a:ext>
                  </a:extLst>
                </p:cNvPr>
                <p:cNvSpPr>
                  <a:spLocks noEditPoints="1"/>
                </p:cNvSpPr>
                <p:nvPr/>
              </p:nvSpPr>
              <p:spPr bwMode="auto">
                <a:xfrm>
                  <a:off x="5592763" y="2057400"/>
                  <a:ext cx="80962" cy="84138"/>
                </a:xfrm>
                <a:custGeom>
                  <a:avLst/>
                  <a:gdLst>
                    <a:gd name="T0" fmla="*/ 13 w 25"/>
                    <a:gd name="T1" fmla="*/ 26 h 26"/>
                    <a:gd name="T2" fmla="*/ 25 w 25"/>
                    <a:gd name="T3" fmla="*/ 13 h 26"/>
                    <a:gd name="T4" fmla="*/ 13 w 25"/>
                    <a:gd name="T5" fmla="*/ 0 h 26"/>
                    <a:gd name="T6" fmla="*/ 0 w 25"/>
                    <a:gd name="T7" fmla="*/ 13 h 26"/>
                    <a:gd name="T8" fmla="*/ 13 w 25"/>
                    <a:gd name="T9" fmla="*/ 26 h 26"/>
                    <a:gd name="T10" fmla="*/ 13 w 25"/>
                    <a:gd name="T11" fmla="*/ 26 h 26"/>
                    <a:gd name="T12" fmla="*/ 13 w 25"/>
                    <a:gd name="T13" fmla="*/ 26 h 26"/>
                  </a:gdLst>
                  <a:ahLst/>
                  <a:cxnLst>
                    <a:cxn ang="0">
                      <a:pos x="T0" y="T1"/>
                    </a:cxn>
                    <a:cxn ang="0">
                      <a:pos x="T2" y="T3"/>
                    </a:cxn>
                    <a:cxn ang="0">
                      <a:pos x="T4" y="T5"/>
                    </a:cxn>
                    <a:cxn ang="0">
                      <a:pos x="T6" y="T7"/>
                    </a:cxn>
                    <a:cxn ang="0">
                      <a:pos x="T8" y="T9"/>
                    </a:cxn>
                    <a:cxn ang="0">
                      <a:pos x="T10" y="T11"/>
                    </a:cxn>
                    <a:cxn ang="0">
                      <a:pos x="T12" y="T13"/>
                    </a:cxn>
                  </a:cxnLst>
                  <a:rect l="0" t="0" r="r" b="b"/>
                  <a:pathLst>
                    <a:path w="25" h="26">
                      <a:moveTo>
                        <a:pt x="13" y="26"/>
                      </a:moveTo>
                      <a:cubicBezTo>
                        <a:pt x="20" y="26"/>
                        <a:pt x="25" y="20"/>
                        <a:pt x="25" y="13"/>
                      </a:cubicBezTo>
                      <a:cubicBezTo>
                        <a:pt x="25" y="6"/>
                        <a:pt x="20" y="0"/>
                        <a:pt x="13" y="0"/>
                      </a:cubicBezTo>
                      <a:cubicBezTo>
                        <a:pt x="6" y="0"/>
                        <a:pt x="0" y="6"/>
                        <a:pt x="0" y="13"/>
                      </a:cubicBezTo>
                      <a:cubicBezTo>
                        <a:pt x="0" y="20"/>
                        <a:pt x="6" y="26"/>
                        <a:pt x="13" y="26"/>
                      </a:cubicBezTo>
                      <a:close/>
                      <a:moveTo>
                        <a:pt x="13" y="26"/>
                      </a:moveTo>
                      <a:cubicBezTo>
                        <a:pt x="13" y="26"/>
                        <a:pt x="13" y="26"/>
                        <a:pt x="13" y="2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7" name="Freeform 218">
                  <a:extLst>
                    <a:ext uri="{FF2B5EF4-FFF2-40B4-BE49-F238E27FC236}">
                      <a16:creationId xmlns:a16="http://schemas.microsoft.com/office/drawing/2014/main" id="{B9A5EC3B-2932-4A06-800E-48127AAFFC43}"/>
                    </a:ext>
                  </a:extLst>
                </p:cNvPr>
                <p:cNvSpPr>
                  <a:spLocks noEditPoints="1"/>
                </p:cNvSpPr>
                <p:nvPr/>
              </p:nvSpPr>
              <p:spPr bwMode="auto">
                <a:xfrm>
                  <a:off x="5530850" y="2163763"/>
                  <a:ext cx="139700" cy="230188"/>
                </a:xfrm>
                <a:custGeom>
                  <a:avLst/>
                  <a:gdLst>
                    <a:gd name="T0" fmla="*/ 20 w 43"/>
                    <a:gd name="T1" fmla="*/ 11 h 71"/>
                    <a:gd name="T2" fmla="*/ 20 w 43"/>
                    <a:gd name="T3" fmla="*/ 31 h 71"/>
                    <a:gd name="T4" fmla="*/ 9 w 43"/>
                    <a:gd name="T5" fmla="*/ 31 h 71"/>
                    <a:gd name="T6" fmla="*/ 0 w 43"/>
                    <a:gd name="T7" fmla="*/ 40 h 71"/>
                    <a:gd name="T8" fmla="*/ 0 w 43"/>
                    <a:gd name="T9" fmla="*/ 69 h 71"/>
                    <a:gd name="T10" fmla="*/ 2 w 43"/>
                    <a:gd name="T11" fmla="*/ 71 h 71"/>
                    <a:gd name="T12" fmla="*/ 15 w 43"/>
                    <a:gd name="T13" fmla="*/ 71 h 71"/>
                    <a:gd name="T14" fmla="*/ 18 w 43"/>
                    <a:gd name="T15" fmla="*/ 69 h 71"/>
                    <a:gd name="T16" fmla="*/ 18 w 43"/>
                    <a:gd name="T17" fmla="*/ 49 h 71"/>
                    <a:gd name="T18" fmla="*/ 32 w 43"/>
                    <a:gd name="T19" fmla="*/ 49 h 71"/>
                    <a:gd name="T20" fmla="*/ 43 w 43"/>
                    <a:gd name="T21" fmla="*/ 38 h 71"/>
                    <a:gd name="T22" fmla="*/ 43 w 43"/>
                    <a:gd name="T23" fmla="*/ 11 h 71"/>
                    <a:gd name="T24" fmla="*/ 32 w 43"/>
                    <a:gd name="T25" fmla="*/ 0 h 71"/>
                    <a:gd name="T26" fmla="*/ 20 w 43"/>
                    <a:gd name="T27" fmla="*/ 11 h 71"/>
                    <a:gd name="T28" fmla="*/ 20 w 43"/>
                    <a:gd name="T29" fmla="*/ 11 h 71"/>
                    <a:gd name="T30" fmla="*/ 20 w 43"/>
                    <a:gd name="T31" fmla="*/ 1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3" h="71">
                      <a:moveTo>
                        <a:pt x="20" y="11"/>
                      </a:moveTo>
                      <a:cubicBezTo>
                        <a:pt x="20" y="31"/>
                        <a:pt x="20" y="31"/>
                        <a:pt x="20" y="31"/>
                      </a:cubicBezTo>
                      <a:cubicBezTo>
                        <a:pt x="9" y="31"/>
                        <a:pt x="9" y="31"/>
                        <a:pt x="9" y="31"/>
                      </a:cubicBezTo>
                      <a:cubicBezTo>
                        <a:pt x="4" y="31"/>
                        <a:pt x="0" y="35"/>
                        <a:pt x="0" y="40"/>
                      </a:cubicBezTo>
                      <a:cubicBezTo>
                        <a:pt x="0" y="69"/>
                        <a:pt x="0" y="69"/>
                        <a:pt x="0" y="69"/>
                      </a:cubicBezTo>
                      <a:cubicBezTo>
                        <a:pt x="0" y="70"/>
                        <a:pt x="1" y="71"/>
                        <a:pt x="2" y="71"/>
                      </a:cubicBezTo>
                      <a:cubicBezTo>
                        <a:pt x="15" y="71"/>
                        <a:pt x="15" y="71"/>
                        <a:pt x="15" y="71"/>
                      </a:cubicBezTo>
                      <a:cubicBezTo>
                        <a:pt x="17" y="71"/>
                        <a:pt x="18" y="70"/>
                        <a:pt x="18" y="69"/>
                      </a:cubicBezTo>
                      <a:cubicBezTo>
                        <a:pt x="18" y="49"/>
                        <a:pt x="18" y="49"/>
                        <a:pt x="18" y="49"/>
                      </a:cubicBezTo>
                      <a:cubicBezTo>
                        <a:pt x="32" y="49"/>
                        <a:pt x="32" y="49"/>
                        <a:pt x="32" y="49"/>
                      </a:cubicBezTo>
                      <a:cubicBezTo>
                        <a:pt x="38" y="49"/>
                        <a:pt x="43" y="44"/>
                        <a:pt x="43" y="38"/>
                      </a:cubicBezTo>
                      <a:cubicBezTo>
                        <a:pt x="43" y="11"/>
                        <a:pt x="43" y="11"/>
                        <a:pt x="43" y="11"/>
                      </a:cubicBezTo>
                      <a:cubicBezTo>
                        <a:pt x="43" y="5"/>
                        <a:pt x="38" y="0"/>
                        <a:pt x="32" y="0"/>
                      </a:cubicBezTo>
                      <a:cubicBezTo>
                        <a:pt x="25" y="0"/>
                        <a:pt x="20" y="5"/>
                        <a:pt x="20" y="11"/>
                      </a:cubicBezTo>
                      <a:close/>
                      <a:moveTo>
                        <a:pt x="20" y="11"/>
                      </a:moveTo>
                      <a:cubicBezTo>
                        <a:pt x="20" y="11"/>
                        <a:pt x="20" y="11"/>
                        <a:pt x="20" y="1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8" name="Freeform 219">
                  <a:extLst>
                    <a:ext uri="{FF2B5EF4-FFF2-40B4-BE49-F238E27FC236}">
                      <a16:creationId xmlns:a16="http://schemas.microsoft.com/office/drawing/2014/main" id="{8885E1BE-9DE4-4144-AF96-9319C3918A33}"/>
                    </a:ext>
                  </a:extLst>
                </p:cNvPr>
                <p:cNvSpPr>
                  <a:spLocks noEditPoints="1"/>
                </p:cNvSpPr>
                <p:nvPr/>
              </p:nvSpPr>
              <p:spPr bwMode="auto">
                <a:xfrm>
                  <a:off x="5419725" y="2203450"/>
                  <a:ext cx="146050" cy="198438"/>
                </a:xfrm>
                <a:custGeom>
                  <a:avLst/>
                  <a:gdLst>
                    <a:gd name="T0" fmla="*/ 42 w 45"/>
                    <a:gd name="T1" fmla="*/ 6 h 61"/>
                    <a:gd name="T2" fmla="*/ 45 w 45"/>
                    <a:gd name="T3" fmla="*/ 3 h 61"/>
                    <a:gd name="T4" fmla="*/ 42 w 45"/>
                    <a:gd name="T5" fmla="*/ 0 h 61"/>
                    <a:gd name="T6" fmla="*/ 4 w 45"/>
                    <a:gd name="T7" fmla="*/ 0 h 61"/>
                    <a:gd name="T8" fmla="*/ 0 w 45"/>
                    <a:gd name="T9" fmla="*/ 3 h 61"/>
                    <a:gd name="T10" fmla="*/ 4 w 45"/>
                    <a:gd name="T11" fmla="*/ 6 h 61"/>
                    <a:gd name="T12" fmla="*/ 20 w 45"/>
                    <a:gd name="T13" fmla="*/ 6 h 61"/>
                    <a:gd name="T14" fmla="*/ 20 w 45"/>
                    <a:gd name="T15" fmla="*/ 57 h 61"/>
                    <a:gd name="T16" fmla="*/ 23 w 45"/>
                    <a:gd name="T17" fmla="*/ 61 h 61"/>
                    <a:gd name="T18" fmla="*/ 26 w 45"/>
                    <a:gd name="T19" fmla="*/ 57 h 61"/>
                    <a:gd name="T20" fmla="*/ 26 w 45"/>
                    <a:gd name="T21" fmla="*/ 6 h 61"/>
                    <a:gd name="T22" fmla="*/ 42 w 45"/>
                    <a:gd name="T23" fmla="*/ 6 h 61"/>
                    <a:gd name="T24" fmla="*/ 42 w 45"/>
                    <a:gd name="T25" fmla="*/ 6 h 61"/>
                    <a:gd name="T26" fmla="*/ 42 w 45"/>
                    <a:gd name="T27" fmla="*/ 6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5" h="61">
                      <a:moveTo>
                        <a:pt x="42" y="6"/>
                      </a:moveTo>
                      <a:cubicBezTo>
                        <a:pt x="44" y="6"/>
                        <a:pt x="45" y="5"/>
                        <a:pt x="45" y="3"/>
                      </a:cubicBezTo>
                      <a:cubicBezTo>
                        <a:pt x="45" y="1"/>
                        <a:pt x="44" y="0"/>
                        <a:pt x="42" y="0"/>
                      </a:cubicBezTo>
                      <a:cubicBezTo>
                        <a:pt x="4" y="0"/>
                        <a:pt x="4" y="0"/>
                        <a:pt x="4" y="0"/>
                      </a:cubicBezTo>
                      <a:cubicBezTo>
                        <a:pt x="2" y="0"/>
                        <a:pt x="0" y="1"/>
                        <a:pt x="0" y="3"/>
                      </a:cubicBezTo>
                      <a:cubicBezTo>
                        <a:pt x="0" y="5"/>
                        <a:pt x="2" y="6"/>
                        <a:pt x="4" y="6"/>
                      </a:cubicBezTo>
                      <a:cubicBezTo>
                        <a:pt x="20" y="6"/>
                        <a:pt x="20" y="6"/>
                        <a:pt x="20" y="6"/>
                      </a:cubicBezTo>
                      <a:cubicBezTo>
                        <a:pt x="20" y="57"/>
                        <a:pt x="20" y="57"/>
                        <a:pt x="20" y="57"/>
                      </a:cubicBezTo>
                      <a:cubicBezTo>
                        <a:pt x="20" y="59"/>
                        <a:pt x="21" y="61"/>
                        <a:pt x="23" y="61"/>
                      </a:cubicBezTo>
                      <a:cubicBezTo>
                        <a:pt x="25" y="61"/>
                        <a:pt x="26" y="59"/>
                        <a:pt x="26" y="57"/>
                      </a:cubicBezTo>
                      <a:cubicBezTo>
                        <a:pt x="26" y="6"/>
                        <a:pt x="26" y="6"/>
                        <a:pt x="26" y="6"/>
                      </a:cubicBezTo>
                      <a:lnTo>
                        <a:pt x="42" y="6"/>
                      </a:lnTo>
                      <a:close/>
                      <a:moveTo>
                        <a:pt x="42" y="6"/>
                      </a:moveTo>
                      <a:cubicBezTo>
                        <a:pt x="42" y="6"/>
                        <a:pt x="42" y="6"/>
                        <a:pt x="42"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grpSp>
        <p:grpSp>
          <p:nvGrpSpPr>
            <p:cNvPr id="8" name="Group 56">
              <a:extLst>
                <a:ext uri="{FF2B5EF4-FFF2-40B4-BE49-F238E27FC236}">
                  <a16:creationId xmlns:a16="http://schemas.microsoft.com/office/drawing/2014/main" id="{E4F22B76-9112-4F8A-A812-B9B997791EC7}"/>
                </a:ext>
              </a:extLst>
            </p:cNvPr>
            <p:cNvGrpSpPr/>
            <p:nvPr/>
          </p:nvGrpSpPr>
          <p:grpSpPr>
            <a:xfrm>
              <a:off x="4070235" y="2095662"/>
              <a:ext cx="1650311" cy="1702222"/>
              <a:chOff x="4070235" y="2095662"/>
              <a:chExt cx="1650311" cy="1702222"/>
            </a:xfrm>
          </p:grpSpPr>
          <p:sp>
            <p:nvSpPr>
              <p:cNvPr id="22" name="Freeform 13">
                <a:extLst>
                  <a:ext uri="{FF2B5EF4-FFF2-40B4-BE49-F238E27FC236}">
                    <a16:creationId xmlns:a16="http://schemas.microsoft.com/office/drawing/2014/main" id="{45AC8A9C-DD36-4876-B2DB-DA4AF051D74C}"/>
                  </a:ext>
                </a:extLst>
              </p:cNvPr>
              <p:cNvSpPr>
                <a:spLocks/>
              </p:cNvSpPr>
              <p:nvPr/>
            </p:nvSpPr>
            <p:spPr bwMode="auto">
              <a:xfrm>
                <a:off x="4070235" y="2095662"/>
                <a:ext cx="1650311" cy="1702222"/>
              </a:xfrm>
              <a:custGeom>
                <a:avLst/>
                <a:gdLst>
                  <a:gd name="T0" fmla="*/ 46 w 910"/>
                  <a:gd name="T1" fmla="*/ 116 h 940"/>
                  <a:gd name="T2" fmla="*/ 81 w 910"/>
                  <a:gd name="T3" fmla="*/ 228 h 940"/>
                  <a:gd name="T4" fmla="*/ 37 w 910"/>
                  <a:gd name="T5" fmla="*/ 338 h 940"/>
                  <a:gd name="T6" fmla="*/ 2 w 910"/>
                  <a:gd name="T7" fmla="*/ 435 h 940"/>
                  <a:gd name="T8" fmla="*/ 30 w 910"/>
                  <a:gd name="T9" fmla="*/ 498 h 940"/>
                  <a:gd name="T10" fmla="*/ 56 w 910"/>
                  <a:gd name="T11" fmla="*/ 720 h 940"/>
                  <a:gd name="T12" fmla="*/ 227 w 910"/>
                  <a:gd name="T13" fmla="*/ 739 h 940"/>
                  <a:gd name="T14" fmla="*/ 298 w 910"/>
                  <a:gd name="T15" fmla="*/ 831 h 940"/>
                  <a:gd name="T16" fmla="*/ 380 w 910"/>
                  <a:gd name="T17" fmla="*/ 837 h 940"/>
                  <a:gd name="T18" fmla="*/ 460 w 910"/>
                  <a:gd name="T19" fmla="*/ 869 h 940"/>
                  <a:gd name="T20" fmla="*/ 609 w 910"/>
                  <a:gd name="T21" fmla="*/ 914 h 940"/>
                  <a:gd name="T22" fmla="*/ 670 w 910"/>
                  <a:gd name="T23" fmla="*/ 793 h 940"/>
                  <a:gd name="T24" fmla="*/ 784 w 910"/>
                  <a:gd name="T25" fmla="*/ 727 h 940"/>
                  <a:gd name="T26" fmla="*/ 812 w 910"/>
                  <a:gd name="T27" fmla="*/ 602 h 940"/>
                  <a:gd name="T28" fmla="*/ 879 w 910"/>
                  <a:gd name="T29" fmla="*/ 419 h 940"/>
                  <a:gd name="T30" fmla="*/ 876 w 910"/>
                  <a:gd name="T31" fmla="*/ 356 h 940"/>
                  <a:gd name="T32" fmla="*/ 837 w 910"/>
                  <a:gd name="T33" fmla="*/ 235 h 940"/>
                  <a:gd name="T34" fmla="*/ 701 w 910"/>
                  <a:gd name="T35" fmla="*/ 63 h 940"/>
                  <a:gd name="T36" fmla="*/ 512 w 910"/>
                  <a:gd name="T37" fmla="*/ 104 h 940"/>
                  <a:gd name="T38" fmla="*/ 421 w 910"/>
                  <a:gd name="T39" fmla="*/ 64 h 940"/>
                  <a:gd name="T40" fmla="*/ 360 w 910"/>
                  <a:gd name="T41" fmla="*/ 0 h 940"/>
                  <a:gd name="T42" fmla="*/ 290 w 910"/>
                  <a:gd name="T43" fmla="*/ 15 h 940"/>
                  <a:gd name="T44" fmla="*/ 225 w 910"/>
                  <a:gd name="T45" fmla="*/ 16 h 940"/>
                  <a:gd name="T46" fmla="*/ 108 w 910"/>
                  <a:gd name="T47" fmla="*/ 23 h 940"/>
                  <a:gd name="T48" fmla="*/ 46 w 910"/>
                  <a:gd name="T49" fmla="*/ 116 h 9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10" h="940">
                    <a:moveTo>
                      <a:pt x="46" y="116"/>
                    </a:moveTo>
                    <a:cubicBezTo>
                      <a:pt x="42" y="157"/>
                      <a:pt x="53" y="201"/>
                      <a:pt x="81" y="228"/>
                    </a:cubicBezTo>
                    <a:cubicBezTo>
                      <a:pt x="44" y="243"/>
                      <a:pt x="22" y="295"/>
                      <a:pt x="37" y="338"/>
                    </a:cubicBezTo>
                    <a:cubicBezTo>
                      <a:pt x="19" y="367"/>
                      <a:pt x="1" y="398"/>
                      <a:pt x="2" y="435"/>
                    </a:cubicBezTo>
                    <a:cubicBezTo>
                      <a:pt x="2" y="460"/>
                      <a:pt x="12" y="485"/>
                      <a:pt x="30" y="498"/>
                    </a:cubicBezTo>
                    <a:cubicBezTo>
                      <a:pt x="0" y="569"/>
                      <a:pt x="6" y="663"/>
                      <a:pt x="56" y="720"/>
                    </a:cubicBezTo>
                    <a:cubicBezTo>
                      <a:pt x="100" y="771"/>
                      <a:pt x="175" y="782"/>
                      <a:pt x="227" y="739"/>
                    </a:cubicBezTo>
                    <a:cubicBezTo>
                      <a:pt x="246" y="775"/>
                      <a:pt x="266" y="811"/>
                      <a:pt x="298" y="831"/>
                    </a:cubicBezTo>
                    <a:cubicBezTo>
                      <a:pt x="324" y="847"/>
                      <a:pt x="354" y="852"/>
                      <a:pt x="380" y="837"/>
                    </a:cubicBezTo>
                    <a:cubicBezTo>
                      <a:pt x="398" y="867"/>
                      <a:pt x="431" y="880"/>
                      <a:pt x="460" y="869"/>
                    </a:cubicBezTo>
                    <a:cubicBezTo>
                      <a:pt x="498" y="911"/>
                      <a:pt x="558" y="940"/>
                      <a:pt x="609" y="914"/>
                    </a:cubicBezTo>
                    <a:cubicBezTo>
                      <a:pt x="649" y="894"/>
                      <a:pt x="677" y="844"/>
                      <a:pt x="670" y="793"/>
                    </a:cubicBezTo>
                    <a:cubicBezTo>
                      <a:pt x="711" y="782"/>
                      <a:pt x="754" y="765"/>
                      <a:pt x="784" y="727"/>
                    </a:cubicBezTo>
                    <a:cubicBezTo>
                      <a:pt x="810" y="694"/>
                      <a:pt x="824" y="646"/>
                      <a:pt x="812" y="602"/>
                    </a:cubicBezTo>
                    <a:cubicBezTo>
                      <a:pt x="876" y="581"/>
                      <a:pt x="910" y="488"/>
                      <a:pt x="879" y="419"/>
                    </a:cubicBezTo>
                    <a:cubicBezTo>
                      <a:pt x="892" y="401"/>
                      <a:pt x="890" y="372"/>
                      <a:pt x="876" y="356"/>
                    </a:cubicBezTo>
                    <a:cubicBezTo>
                      <a:pt x="896" y="312"/>
                      <a:pt x="878" y="251"/>
                      <a:pt x="837" y="235"/>
                    </a:cubicBezTo>
                    <a:cubicBezTo>
                      <a:pt x="820" y="156"/>
                      <a:pt x="768" y="88"/>
                      <a:pt x="701" y="63"/>
                    </a:cubicBezTo>
                    <a:cubicBezTo>
                      <a:pt x="637" y="39"/>
                      <a:pt x="565" y="56"/>
                      <a:pt x="512" y="104"/>
                    </a:cubicBezTo>
                    <a:cubicBezTo>
                      <a:pt x="498" y="63"/>
                      <a:pt x="455" y="60"/>
                      <a:pt x="421" y="64"/>
                    </a:cubicBezTo>
                    <a:cubicBezTo>
                      <a:pt x="427" y="27"/>
                      <a:pt x="389" y="0"/>
                      <a:pt x="360" y="0"/>
                    </a:cubicBezTo>
                    <a:cubicBezTo>
                      <a:pt x="336" y="1"/>
                      <a:pt x="313" y="11"/>
                      <a:pt x="290" y="15"/>
                    </a:cubicBezTo>
                    <a:cubicBezTo>
                      <a:pt x="268" y="19"/>
                      <a:pt x="246" y="18"/>
                      <a:pt x="225" y="16"/>
                    </a:cubicBezTo>
                    <a:cubicBezTo>
                      <a:pt x="186" y="13"/>
                      <a:pt x="145" y="7"/>
                      <a:pt x="108" y="23"/>
                    </a:cubicBezTo>
                    <a:cubicBezTo>
                      <a:pt x="73" y="39"/>
                      <a:pt x="51" y="74"/>
                      <a:pt x="46" y="116"/>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grpSp>
            <p:nvGrpSpPr>
              <p:cNvPr id="23" name="Group 24">
                <a:extLst>
                  <a:ext uri="{FF2B5EF4-FFF2-40B4-BE49-F238E27FC236}">
                    <a16:creationId xmlns:a16="http://schemas.microsoft.com/office/drawing/2014/main" id="{560C1069-45B5-4B6E-AE2B-5F4C837E3143}"/>
                  </a:ext>
                </a:extLst>
              </p:cNvPr>
              <p:cNvGrpSpPr/>
              <p:nvPr/>
            </p:nvGrpSpPr>
            <p:grpSpPr>
              <a:xfrm>
                <a:off x="4713622" y="2706197"/>
                <a:ext cx="363537" cy="325438"/>
                <a:chOff x="5335588" y="763588"/>
                <a:chExt cx="363537" cy="325438"/>
              </a:xfrm>
              <a:solidFill>
                <a:schemeClr val="bg1"/>
              </a:solidFill>
            </p:grpSpPr>
            <p:sp>
              <p:nvSpPr>
                <p:cNvPr id="24" name="Freeform 309">
                  <a:extLst>
                    <a:ext uri="{FF2B5EF4-FFF2-40B4-BE49-F238E27FC236}">
                      <a16:creationId xmlns:a16="http://schemas.microsoft.com/office/drawing/2014/main" id="{620F6ECE-D7C9-43FC-AD15-FB3531AAA00A}"/>
                    </a:ext>
                  </a:extLst>
                </p:cNvPr>
                <p:cNvSpPr>
                  <a:spLocks noEditPoints="1"/>
                </p:cNvSpPr>
                <p:nvPr/>
              </p:nvSpPr>
              <p:spPr bwMode="auto">
                <a:xfrm>
                  <a:off x="5387975" y="968375"/>
                  <a:ext cx="28575" cy="28575"/>
                </a:xfrm>
                <a:custGeom>
                  <a:avLst/>
                  <a:gdLst>
                    <a:gd name="T0" fmla="*/ 5 w 9"/>
                    <a:gd name="T1" fmla="*/ 0 h 9"/>
                    <a:gd name="T2" fmla="*/ 0 w 9"/>
                    <a:gd name="T3" fmla="*/ 5 h 9"/>
                    <a:gd name="T4" fmla="*/ 5 w 9"/>
                    <a:gd name="T5" fmla="*/ 9 h 9"/>
                    <a:gd name="T6" fmla="*/ 9 w 9"/>
                    <a:gd name="T7" fmla="*/ 5 h 9"/>
                    <a:gd name="T8" fmla="*/ 5 w 9"/>
                    <a:gd name="T9" fmla="*/ 0 h 9"/>
                    <a:gd name="T10" fmla="*/ 5 w 9"/>
                    <a:gd name="T11" fmla="*/ 0 h 9"/>
                    <a:gd name="T12" fmla="*/ 5 w 9"/>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9" h="9">
                      <a:moveTo>
                        <a:pt x="5" y="0"/>
                      </a:moveTo>
                      <a:cubicBezTo>
                        <a:pt x="2" y="0"/>
                        <a:pt x="0" y="2"/>
                        <a:pt x="0" y="5"/>
                      </a:cubicBezTo>
                      <a:cubicBezTo>
                        <a:pt x="0" y="7"/>
                        <a:pt x="2" y="9"/>
                        <a:pt x="5" y="9"/>
                      </a:cubicBezTo>
                      <a:cubicBezTo>
                        <a:pt x="7" y="9"/>
                        <a:pt x="9" y="7"/>
                        <a:pt x="9" y="5"/>
                      </a:cubicBezTo>
                      <a:cubicBezTo>
                        <a:pt x="9" y="2"/>
                        <a:pt x="7" y="0"/>
                        <a:pt x="5" y="0"/>
                      </a:cubicBezTo>
                      <a:close/>
                      <a:moveTo>
                        <a:pt x="5" y="0"/>
                      </a:moveTo>
                      <a:cubicBezTo>
                        <a:pt x="5" y="0"/>
                        <a:pt x="5"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5" name="Freeform 310">
                  <a:extLst>
                    <a:ext uri="{FF2B5EF4-FFF2-40B4-BE49-F238E27FC236}">
                      <a16:creationId xmlns:a16="http://schemas.microsoft.com/office/drawing/2014/main" id="{22550C53-A6A8-47BE-9A20-205704FC28D0}"/>
                    </a:ext>
                  </a:extLst>
                </p:cNvPr>
                <p:cNvSpPr>
                  <a:spLocks noEditPoints="1"/>
                </p:cNvSpPr>
                <p:nvPr/>
              </p:nvSpPr>
              <p:spPr bwMode="auto">
                <a:xfrm>
                  <a:off x="5592763" y="1036638"/>
                  <a:ext cx="77787" cy="52388"/>
                </a:xfrm>
                <a:custGeom>
                  <a:avLst/>
                  <a:gdLst>
                    <a:gd name="T0" fmla="*/ 21 w 24"/>
                    <a:gd name="T1" fmla="*/ 0 h 16"/>
                    <a:gd name="T2" fmla="*/ 19 w 24"/>
                    <a:gd name="T3" fmla="*/ 0 h 16"/>
                    <a:gd name="T4" fmla="*/ 13 w 24"/>
                    <a:gd name="T5" fmla="*/ 2 h 16"/>
                    <a:gd name="T6" fmla="*/ 11 w 24"/>
                    <a:gd name="T7" fmla="*/ 2 h 16"/>
                    <a:gd name="T8" fmla="*/ 5 w 24"/>
                    <a:gd name="T9" fmla="*/ 0 h 16"/>
                    <a:gd name="T10" fmla="*/ 3 w 24"/>
                    <a:gd name="T11" fmla="*/ 0 h 16"/>
                    <a:gd name="T12" fmla="*/ 0 w 24"/>
                    <a:gd name="T13" fmla="*/ 4 h 16"/>
                    <a:gd name="T14" fmla="*/ 0 w 24"/>
                    <a:gd name="T15" fmla="*/ 13 h 16"/>
                    <a:gd name="T16" fmla="*/ 3 w 24"/>
                    <a:gd name="T17" fmla="*/ 16 h 16"/>
                    <a:gd name="T18" fmla="*/ 21 w 24"/>
                    <a:gd name="T19" fmla="*/ 16 h 16"/>
                    <a:gd name="T20" fmla="*/ 24 w 24"/>
                    <a:gd name="T21" fmla="*/ 13 h 16"/>
                    <a:gd name="T22" fmla="*/ 24 w 24"/>
                    <a:gd name="T23" fmla="*/ 4 h 16"/>
                    <a:gd name="T24" fmla="*/ 21 w 24"/>
                    <a:gd name="T25" fmla="*/ 0 h 16"/>
                    <a:gd name="T26" fmla="*/ 21 w 24"/>
                    <a:gd name="T27" fmla="*/ 0 h 16"/>
                    <a:gd name="T28" fmla="*/ 21 w 24"/>
                    <a:gd name="T29"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 h="16">
                      <a:moveTo>
                        <a:pt x="21" y="0"/>
                      </a:moveTo>
                      <a:cubicBezTo>
                        <a:pt x="19" y="0"/>
                        <a:pt x="19" y="0"/>
                        <a:pt x="19" y="0"/>
                      </a:cubicBezTo>
                      <a:cubicBezTo>
                        <a:pt x="13" y="2"/>
                        <a:pt x="13" y="2"/>
                        <a:pt x="13" y="2"/>
                      </a:cubicBezTo>
                      <a:cubicBezTo>
                        <a:pt x="12" y="3"/>
                        <a:pt x="12" y="3"/>
                        <a:pt x="11" y="2"/>
                      </a:cubicBezTo>
                      <a:cubicBezTo>
                        <a:pt x="5" y="0"/>
                        <a:pt x="5" y="0"/>
                        <a:pt x="5" y="0"/>
                      </a:cubicBezTo>
                      <a:cubicBezTo>
                        <a:pt x="3" y="0"/>
                        <a:pt x="3" y="0"/>
                        <a:pt x="3" y="0"/>
                      </a:cubicBezTo>
                      <a:cubicBezTo>
                        <a:pt x="2" y="1"/>
                        <a:pt x="0" y="3"/>
                        <a:pt x="0" y="4"/>
                      </a:cubicBezTo>
                      <a:cubicBezTo>
                        <a:pt x="0" y="13"/>
                        <a:pt x="0" y="13"/>
                        <a:pt x="0" y="13"/>
                      </a:cubicBezTo>
                      <a:cubicBezTo>
                        <a:pt x="0" y="15"/>
                        <a:pt x="2" y="16"/>
                        <a:pt x="3" y="16"/>
                      </a:cubicBezTo>
                      <a:cubicBezTo>
                        <a:pt x="21" y="16"/>
                        <a:pt x="21" y="16"/>
                        <a:pt x="21" y="16"/>
                      </a:cubicBezTo>
                      <a:cubicBezTo>
                        <a:pt x="22" y="16"/>
                        <a:pt x="24" y="15"/>
                        <a:pt x="24" y="13"/>
                      </a:cubicBezTo>
                      <a:cubicBezTo>
                        <a:pt x="24" y="4"/>
                        <a:pt x="24" y="4"/>
                        <a:pt x="24" y="4"/>
                      </a:cubicBezTo>
                      <a:cubicBezTo>
                        <a:pt x="24" y="3"/>
                        <a:pt x="23" y="1"/>
                        <a:pt x="21" y="0"/>
                      </a:cubicBezTo>
                      <a:close/>
                      <a:moveTo>
                        <a:pt x="21" y="0"/>
                      </a:moveTo>
                      <a:cubicBezTo>
                        <a:pt x="21" y="0"/>
                        <a:pt x="21" y="0"/>
                        <a:pt x="2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6" name="Freeform 311">
                  <a:extLst>
                    <a:ext uri="{FF2B5EF4-FFF2-40B4-BE49-F238E27FC236}">
                      <a16:creationId xmlns:a16="http://schemas.microsoft.com/office/drawing/2014/main" id="{7693F2EC-8666-4108-A73D-1754B68C038D}"/>
                    </a:ext>
                  </a:extLst>
                </p:cNvPr>
                <p:cNvSpPr>
                  <a:spLocks noEditPoints="1"/>
                </p:cNvSpPr>
                <p:nvPr/>
              </p:nvSpPr>
              <p:spPr bwMode="auto">
                <a:xfrm>
                  <a:off x="5462588" y="1011238"/>
                  <a:ext cx="109537" cy="77788"/>
                </a:xfrm>
                <a:custGeom>
                  <a:avLst/>
                  <a:gdLst>
                    <a:gd name="T0" fmla="*/ 29 w 34"/>
                    <a:gd name="T1" fmla="*/ 1 h 24"/>
                    <a:gd name="T2" fmla="*/ 27 w 34"/>
                    <a:gd name="T3" fmla="*/ 0 h 24"/>
                    <a:gd name="T4" fmla="*/ 18 w 34"/>
                    <a:gd name="T5" fmla="*/ 4 h 24"/>
                    <a:gd name="T6" fmla="*/ 16 w 34"/>
                    <a:gd name="T7" fmla="*/ 4 h 24"/>
                    <a:gd name="T8" fmla="*/ 7 w 34"/>
                    <a:gd name="T9" fmla="*/ 0 h 24"/>
                    <a:gd name="T10" fmla="*/ 5 w 34"/>
                    <a:gd name="T11" fmla="*/ 1 h 24"/>
                    <a:gd name="T12" fmla="*/ 0 w 34"/>
                    <a:gd name="T13" fmla="*/ 7 h 24"/>
                    <a:gd name="T14" fmla="*/ 0 w 34"/>
                    <a:gd name="T15" fmla="*/ 21 h 24"/>
                    <a:gd name="T16" fmla="*/ 3 w 34"/>
                    <a:gd name="T17" fmla="*/ 24 h 24"/>
                    <a:gd name="T18" fmla="*/ 31 w 34"/>
                    <a:gd name="T19" fmla="*/ 24 h 24"/>
                    <a:gd name="T20" fmla="*/ 34 w 34"/>
                    <a:gd name="T21" fmla="*/ 21 h 24"/>
                    <a:gd name="T22" fmla="*/ 34 w 34"/>
                    <a:gd name="T23" fmla="*/ 7 h 24"/>
                    <a:gd name="T24" fmla="*/ 29 w 34"/>
                    <a:gd name="T25" fmla="*/ 1 h 24"/>
                    <a:gd name="T26" fmla="*/ 29 w 34"/>
                    <a:gd name="T27" fmla="*/ 1 h 24"/>
                    <a:gd name="T28" fmla="*/ 29 w 34"/>
                    <a:gd name="T29" fmla="*/ 1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4" h="24">
                      <a:moveTo>
                        <a:pt x="29" y="1"/>
                      </a:moveTo>
                      <a:cubicBezTo>
                        <a:pt x="27" y="0"/>
                        <a:pt x="27" y="0"/>
                        <a:pt x="27" y="0"/>
                      </a:cubicBezTo>
                      <a:cubicBezTo>
                        <a:pt x="18" y="4"/>
                        <a:pt x="18" y="4"/>
                        <a:pt x="18" y="4"/>
                      </a:cubicBezTo>
                      <a:cubicBezTo>
                        <a:pt x="17" y="4"/>
                        <a:pt x="17" y="4"/>
                        <a:pt x="16" y="4"/>
                      </a:cubicBezTo>
                      <a:cubicBezTo>
                        <a:pt x="7" y="0"/>
                        <a:pt x="7" y="0"/>
                        <a:pt x="7" y="0"/>
                      </a:cubicBezTo>
                      <a:cubicBezTo>
                        <a:pt x="5" y="1"/>
                        <a:pt x="5" y="1"/>
                        <a:pt x="5" y="1"/>
                      </a:cubicBezTo>
                      <a:cubicBezTo>
                        <a:pt x="2" y="2"/>
                        <a:pt x="0" y="4"/>
                        <a:pt x="0" y="7"/>
                      </a:cubicBezTo>
                      <a:cubicBezTo>
                        <a:pt x="0" y="21"/>
                        <a:pt x="0" y="21"/>
                        <a:pt x="0" y="21"/>
                      </a:cubicBezTo>
                      <a:cubicBezTo>
                        <a:pt x="0" y="23"/>
                        <a:pt x="1" y="24"/>
                        <a:pt x="3" y="24"/>
                      </a:cubicBezTo>
                      <a:cubicBezTo>
                        <a:pt x="31" y="24"/>
                        <a:pt x="31" y="24"/>
                        <a:pt x="31" y="24"/>
                      </a:cubicBezTo>
                      <a:cubicBezTo>
                        <a:pt x="33" y="24"/>
                        <a:pt x="34" y="23"/>
                        <a:pt x="34" y="21"/>
                      </a:cubicBezTo>
                      <a:cubicBezTo>
                        <a:pt x="34" y="7"/>
                        <a:pt x="34" y="7"/>
                        <a:pt x="34" y="7"/>
                      </a:cubicBezTo>
                      <a:cubicBezTo>
                        <a:pt x="34" y="4"/>
                        <a:pt x="32" y="2"/>
                        <a:pt x="29" y="1"/>
                      </a:cubicBezTo>
                      <a:close/>
                      <a:moveTo>
                        <a:pt x="29" y="1"/>
                      </a:moveTo>
                      <a:cubicBezTo>
                        <a:pt x="29" y="1"/>
                        <a:pt x="29" y="1"/>
                        <a:pt x="29"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7" name="Freeform 312">
                  <a:extLst>
                    <a:ext uri="{FF2B5EF4-FFF2-40B4-BE49-F238E27FC236}">
                      <a16:creationId xmlns:a16="http://schemas.microsoft.com/office/drawing/2014/main" id="{22B88EDB-7D9B-4C20-AD2D-BA468C31DF36}"/>
                    </a:ext>
                  </a:extLst>
                </p:cNvPr>
                <p:cNvSpPr>
                  <a:spLocks noEditPoints="1"/>
                </p:cNvSpPr>
                <p:nvPr/>
              </p:nvSpPr>
              <p:spPr bwMode="auto">
                <a:xfrm>
                  <a:off x="5494338" y="919163"/>
                  <a:ext cx="46037" cy="46038"/>
                </a:xfrm>
                <a:custGeom>
                  <a:avLst/>
                  <a:gdLst>
                    <a:gd name="T0" fmla="*/ 7 w 14"/>
                    <a:gd name="T1" fmla="*/ 0 h 14"/>
                    <a:gd name="T2" fmla="*/ 0 w 14"/>
                    <a:gd name="T3" fmla="*/ 7 h 14"/>
                    <a:gd name="T4" fmla="*/ 7 w 14"/>
                    <a:gd name="T5" fmla="*/ 14 h 14"/>
                    <a:gd name="T6" fmla="*/ 14 w 14"/>
                    <a:gd name="T7" fmla="*/ 7 h 14"/>
                    <a:gd name="T8" fmla="*/ 7 w 14"/>
                    <a:gd name="T9" fmla="*/ 0 h 14"/>
                    <a:gd name="T10" fmla="*/ 7 w 14"/>
                    <a:gd name="T11" fmla="*/ 0 h 14"/>
                    <a:gd name="T12" fmla="*/ 7 w 14"/>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14" h="14">
                      <a:moveTo>
                        <a:pt x="7" y="0"/>
                      </a:moveTo>
                      <a:cubicBezTo>
                        <a:pt x="3" y="0"/>
                        <a:pt x="0" y="3"/>
                        <a:pt x="0" y="7"/>
                      </a:cubicBezTo>
                      <a:cubicBezTo>
                        <a:pt x="0" y="11"/>
                        <a:pt x="3" y="14"/>
                        <a:pt x="7" y="14"/>
                      </a:cubicBezTo>
                      <a:cubicBezTo>
                        <a:pt x="11" y="14"/>
                        <a:pt x="14" y="11"/>
                        <a:pt x="14" y="7"/>
                      </a:cubicBezTo>
                      <a:cubicBezTo>
                        <a:pt x="14" y="3"/>
                        <a:pt x="11" y="0"/>
                        <a:pt x="7" y="0"/>
                      </a:cubicBezTo>
                      <a:close/>
                      <a:moveTo>
                        <a:pt x="7" y="0"/>
                      </a:moveTo>
                      <a:cubicBezTo>
                        <a:pt x="7" y="0"/>
                        <a:pt x="7" y="0"/>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8" name="Freeform 313">
                  <a:extLst>
                    <a:ext uri="{FF2B5EF4-FFF2-40B4-BE49-F238E27FC236}">
                      <a16:creationId xmlns:a16="http://schemas.microsoft.com/office/drawing/2014/main" id="{4E3343C4-C658-4740-A767-6CBFE2546BCC}"/>
                    </a:ext>
                  </a:extLst>
                </p:cNvPr>
                <p:cNvSpPr>
                  <a:spLocks noEditPoints="1"/>
                </p:cNvSpPr>
                <p:nvPr/>
              </p:nvSpPr>
              <p:spPr bwMode="auto">
                <a:xfrm>
                  <a:off x="5365750" y="1036638"/>
                  <a:ext cx="77787" cy="52388"/>
                </a:xfrm>
                <a:custGeom>
                  <a:avLst/>
                  <a:gdLst>
                    <a:gd name="T0" fmla="*/ 21 w 24"/>
                    <a:gd name="T1" fmla="*/ 0 h 16"/>
                    <a:gd name="T2" fmla="*/ 19 w 24"/>
                    <a:gd name="T3" fmla="*/ 0 h 16"/>
                    <a:gd name="T4" fmla="*/ 13 w 24"/>
                    <a:gd name="T5" fmla="*/ 2 h 16"/>
                    <a:gd name="T6" fmla="*/ 11 w 24"/>
                    <a:gd name="T7" fmla="*/ 2 h 16"/>
                    <a:gd name="T8" fmla="*/ 5 w 24"/>
                    <a:gd name="T9" fmla="*/ 0 h 16"/>
                    <a:gd name="T10" fmla="*/ 3 w 24"/>
                    <a:gd name="T11" fmla="*/ 0 h 16"/>
                    <a:gd name="T12" fmla="*/ 0 w 24"/>
                    <a:gd name="T13" fmla="*/ 4 h 16"/>
                    <a:gd name="T14" fmla="*/ 0 w 24"/>
                    <a:gd name="T15" fmla="*/ 13 h 16"/>
                    <a:gd name="T16" fmla="*/ 3 w 24"/>
                    <a:gd name="T17" fmla="*/ 16 h 16"/>
                    <a:gd name="T18" fmla="*/ 21 w 24"/>
                    <a:gd name="T19" fmla="*/ 16 h 16"/>
                    <a:gd name="T20" fmla="*/ 24 w 24"/>
                    <a:gd name="T21" fmla="*/ 13 h 16"/>
                    <a:gd name="T22" fmla="*/ 24 w 24"/>
                    <a:gd name="T23" fmla="*/ 4 h 16"/>
                    <a:gd name="T24" fmla="*/ 21 w 24"/>
                    <a:gd name="T25" fmla="*/ 0 h 16"/>
                    <a:gd name="T26" fmla="*/ 21 w 24"/>
                    <a:gd name="T27" fmla="*/ 0 h 16"/>
                    <a:gd name="T28" fmla="*/ 21 w 24"/>
                    <a:gd name="T29"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 h="16">
                      <a:moveTo>
                        <a:pt x="21" y="0"/>
                      </a:moveTo>
                      <a:cubicBezTo>
                        <a:pt x="19" y="0"/>
                        <a:pt x="19" y="0"/>
                        <a:pt x="19" y="0"/>
                      </a:cubicBezTo>
                      <a:cubicBezTo>
                        <a:pt x="13" y="2"/>
                        <a:pt x="13" y="2"/>
                        <a:pt x="13" y="2"/>
                      </a:cubicBezTo>
                      <a:cubicBezTo>
                        <a:pt x="12" y="3"/>
                        <a:pt x="11" y="3"/>
                        <a:pt x="11" y="2"/>
                      </a:cubicBezTo>
                      <a:cubicBezTo>
                        <a:pt x="5" y="0"/>
                        <a:pt x="5" y="0"/>
                        <a:pt x="5" y="0"/>
                      </a:cubicBezTo>
                      <a:cubicBezTo>
                        <a:pt x="3" y="0"/>
                        <a:pt x="3" y="0"/>
                        <a:pt x="3" y="0"/>
                      </a:cubicBezTo>
                      <a:cubicBezTo>
                        <a:pt x="1" y="1"/>
                        <a:pt x="0" y="3"/>
                        <a:pt x="0" y="4"/>
                      </a:cubicBezTo>
                      <a:cubicBezTo>
                        <a:pt x="0" y="13"/>
                        <a:pt x="0" y="13"/>
                        <a:pt x="0" y="13"/>
                      </a:cubicBezTo>
                      <a:cubicBezTo>
                        <a:pt x="0" y="15"/>
                        <a:pt x="1" y="16"/>
                        <a:pt x="3" y="16"/>
                      </a:cubicBezTo>
                      <a:cubicBezTo>
                        <a:pt x="21" y="16"/>
                        <a:pt x="21" y="16"/>
                        <a:pt x="21" y="16"/>
                      </a:cubicBezTo>
                      <a:cubicBezTo>
                        <a:pt x="22" y="16"/>
                        <a:pt x="24" y="15"/>
                        <a:pt x="24" y="13"/>
                      </a:cubicBezTo>
                      <a:cubicBezTo>
                        <a:pt x="24" y="4"/>
                        <a:pt x="24" y="4"/>
                        <a:pt x="24" y="4"/>
                      </a:cubicBezTo>
                      <a:cubicBezTo>
                        <a:pt x="24" y="3"/>
                        <a:pt x="22" y="1"/>
                        <a:pt x="21" y="0"/>
                      </a:cubicBezTo>
                      <a:close/>
                      <a:moveTo>
                        <a:pt x="21" y="0"/>
                      </a:moveTo>
                      <a:cubicBezTo>
                        <a:pt x="21" y="0"/>
                        <a:pt x="21" y="0"/>
                        <a:pt x="2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9" name="Freeform 314">
                  <a:extLst>
                    <a:ext uri="{FF2B5EF4-FFF2-40B4-BE49-F238E27FC236}">
                      <a16:creationId xmlns:a16="http://schemas.microsoft.com/office/drawing/2014/main" id="{7AD9A067-69B6-4012-9919-B8EE78E0BB16}"/>
                    </a:ext>
                  </a:extLst>
                </p:cNvPr>
                <p:cNvSpPr>
                  <a:spLocks noEditPoints="1"/>
                </p:cNvSpPr>
                <p:nvPr/>
              </p:nvSpPr>
              <p:spPr bwMode="auto">
                <a:xfrm>
                  <a:off x="5618163" y="968375"/>
                  <a:ext cx="28575" cy="28575"/>
                </a:xfrm>
                <a:custGeom>
                  <a:avLst/>
                  <a:gdLst>
                    <a:gd name="T0" fmla="*/ 4 w 9"/>
                    <a:gd name="T1" fmla="*/ 0 h 9"/>
                    <a:gd name="T2" fmla="*/ 0 w 9"/>
                    <a:gd name="T3" fmla="*/ 5 h 9"/>
                    <a:gd name="T4" fmla="*/ 4 w 9"/>
                    <a:gd name="T5" fmla="*/ 9 h 9"/>
                    <a:gd name="T6" fmla="*/ 9 w 9"/>
                    <a:gd name="T7" fmla="*/ 5 h 9"/>
                    <a:gd name="T8" fmla="*/ 4 w 9"/>
                    <a:gd name="T9" fmla="*/ 0 h 9"/>
                    <a:gd name="T10" fmla="*/ 4 w 9"/>
                    <a:gd name="T11" fmla="*/ 0 h 9"/>
                    <a:gd name="T12" fmla="*/ 4 w 9"/>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9" h="9">
                      <a:moveTo>
                        <a:pt x="4" y="0"/>
                      </a:moveTo>
                      <a:cubicBezTo>
                        <a:pt x="2" y="0"/>
                        <a:pt x="0" y="2"/>
                        <a:pt x="0" y="5"/>
                      </a:cubicBezTo>
                      <a:cubicBezTo>
                        <a:pt x="0" y="7"/>
                        <a:pt x="2" y="9"/>
                        <a:pt x="4" y="9"/>
                      </a:cubicBezTo>
                      <a:cubicBezTo>
                        <a:pt x="7" y="9"/>
                        <a:pt x="9" y="7"/>
                        <a:pt x="9" y="5"/>
                      </a:cubicBezTo>
                      <a:cubicBezTo>
                        <a:pt x="9" y="2"/>
                        <a:pt x="7" y="0"/>
                        <a:pt x="4" y="0"/>
                      </a:cubicBezTo>
                      <a:close/>
                      <a:moveTo>
                        <a:pt x="4" y="0"/>
                      </a:moveTo>
                      <a:cubicBezTo>
                        <a:pt x="4" y="0"/>
                        <a:pt x="4"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0" name="Freeform 315">
                  <a:extLst>
                    <a:ext uri="{FF2B5EF4-FFF2-40B4-BE49-F238E27FC236}">
                      <a16:creationId xmlns:a16="http://schemas.microsoft.com/office/drawing/2014/main" id="{A8DA0537-E51C-42E1-8C75-062FD365A11A}"/>
                    </a:ext>
                  </a:extLst>
                </p:cNvPr>
                <p:cNvSpPr>
                  <a:spLocks noEditPoints="1"/>
                </p:cNvSpPr>
                <p:nvPr/>
              </p:nvSpPr>
              <p:spPr bwMode="auto">
                <a:xfrm>
                  <a:off x="5335588" y="763588"/>
                  <a:ext cx="363537" cy="301625"/>
                </a:xfrm>
                <a:custGeom>
                  <a:avLst/>
                  <a:gdLst>
                    <a:gd name="T0" fmla="*/ 4 w 112"/>
                    <a:gd name="T1" fmla="*/ 0 h 93"/>
                    <a:gd name="T2" fmla="*/ 0 w 112"/>
                    <a:gd name="T3" fmla="*/ 90 h 93"/>
                    <a:gd name="T4" fmla="*/ 4 w 112"/>
                    <a:gd name="T5" fmla="*/ 93 h 93"/>
                    <a:gd name="T6" fmla="*/ 11 w 112"/>
                    <a:gd name="T7" fmla="*/ 79 h 93"/>
                    <a:gd name="T8" fmla="*/ 13 w 112"/>
                    <a:gd name="T9" fmla="*/ 78 h 93"/>
                    <a:gd name="T10" fmla="*/ 21 w 112"/>
                    <a:gd name="T11" fmla="*/ 81 h 93"/>
                    <a:gd name="T12" fmla="*/ 29 w 112"/>
                    <a:gd name="T13" fmla="*/ 78 h 93"/>
                    <a:gd name="T14" fmla="*/ 31 w 112"/>
                    <a:gd name="T15" fmla="*/ 79 h 93"/>
                    <a:gd name="T16" fmla="*/ 42 w 112"/>
                    <a:gd name="T17" fmla="*/ 72 h 93"/>
                    <a:gd name="T18" fmla="*/ 46 w 112"/>
                    <a:gd name="T19" fmla="*/ 71 h 93"/>
                    <a:gd name="T20" fmla="*/ 56 w 112"/>
                    <a:gd name="T21" fmla="*/ 74 h 93"/>
                    <a:gd name="T22" fmla="*/ 66 w 112"/>
                    <a:gd name="T23" fmla="*/ 71 h 93"/>
                    <a:gd name="T24" fmla="*/ 70 w 112"/>
                    <a:gd name="T25" fmla="*/ 72 h 93"/>
                    <a:gd name="T26" fmla="*/ 81 w 112"/>
                    <a:gd name="T27" fmla="*/ 79 h 93"/>
                    <a:gd name="T28" fmla="*/ 83 w 112"/>
                    <a:gd name="T29" fmla="*/ 78 h 93"/>
                    <a:gd name="T30" fmla="*/ 91 w 112"/>
                    <a:gd name="T31" fmla="*/ 81 h 93"/>
                    <a:gd name="T32" fmla="*/ 99 w 112"/>
                    <a:gd name="T33" fmla="*/ 78 h 93"/>
                    <a:gd name="T34" fmla="*/ 101 w 112"/>
                    <a:gd name="T35" fmla="*/ 79 h 93"/>
                    <a:gd name="T36" fmla="*/ 108 w 112"/>
                    <a:gd name="T37" fmla="*/ 93 h 93"/>
                    <a:gd name="T38" fmla="*/ 112 w 112"/>
                    <a:gd name="T39" fmla="*/ 90 h 93"/>
                    <a:gd name="T40" fmla="*/ 108 w 112"/>
                    <a:gd name="T41" fmla="*/ 0 h 93"/>
                    <a:gd name="T42" fmla="*/ 11 w 112"/>
                    <a:gd name="T43" fmla="*/ 68 h 93"/>
                    <a:gd name="T44" fmla="*/ 31 w 112"/>
                    <a:gd name="T45" fmla="*/ 68 h 93"/>
                    <a:gd name="T46" fmla="*/ 56 w 112"/>
                    <a:gd name="T47" fmla="*/ 68 h 93"/>
                    <a:gd name="T48" fmla="*/ 56 w 112"/>
                    <a:gd name="T49" fmla="*/ 43 h 93"/>
                    <a:gd name="T50" fmla="*/ 56 w 112"/>
                    <a:gd name="T51" fmla="*/ 68 h 93"/>
                    <a:gd name="T52" fmla="*/ 75 w 112"/>
                    <a:gd name="T53" fmla="*/ 35 h 93"/>
                    <a:gd name="T54" fmla="*/ 72 w 112"/>
                    <a:gd name="T55" fmla="*/ 31 h 93"/>
                    <a:gd name="T56" fmla="*/ 56 w 112"/>
                    <a:gd name="T57" fmla="*/ 35 h 93"/>
                    <a:gd name="T58" fmla="*/ 54 w 112"/>
                    <a:gd name="T59" fmla="*/ 35 h 93"/>
                    <a:gd name="T60" fmla="*/ 50 w 112"/>
                    <a:gd name="T61" fmla="*/ 28 h 93"/>
                    <a:gd name="T62" fmla="*/ 33 w 112"/>
                    <a:gd name="T63" fmla="*/ 32 h 93"/>
                    <a:gd name="T64" fmla="*/ 50 w 112"/>
                    <a:gd name="T65" fmla="*/ 21 h 93"/>
                    <a:gd name="T66" fmla="*/ 55 w 112"/>
                    <a:gd name="T67" fmla="*/ 23 h 93"/>
                    <a:gd name="T68" fmla="*/ 72 w 112"/>
                    <a:gd name="T69" fmla="*/ 21 h 93"/>
                    <a:gd name="T70" fmla="*/ 65 w 112"/>
                    <a:gd name="T71" fmla="*/ 15 h 93"/>
                    <a:gd name="T72" fmla="*/ 81 w 112"/>
                    <a:gd name="T73" fmla="*/ 18 h 93"/>
                    <a:gd name="T74" fmla="*/ 78 w 112"/>
                    <a:gd name="T75" fmla="*/ 33 h 93"/>
                    <a:gd name="T76" fmla="*/ 81 w 112"/>
                    <a:gd name="T77" fmla="*/ 68 h 93"/>
                    <a:gd name="T78" fmla="*/ 101 w 112"/>
                    <a:gd name="T79" fmla="*/ 68 h 93"/>
                    <a:gd name="T80" fmla="*/ 91 w 112"/>
                    <a:gd name="T81" fmla="*/ 78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12" h="93">
                      <a:moveTo>
                        <a:pt x="108" y="0"/>
                      </a:moveTo>
                      <a:cubicBezTo>
                        <a:pt x="4" y="0"/>
                        <a:pt x="4" y="0"/>
                        <a:pt x="4" y="0"/>
                      </a:cubicBezTo>
                      <a:cubicBezTo>
                        <a:pt x="2" y="0"/>
                        <a:pt x="0" y="1"/>
                        <a:pt x="0" y="3"/>
                      </a:cubicBezTo>
                      <a:cubicBezTo>
                        <a:pt x="0" y="90"/>
                        <a:pt x="0" y="90"/>
                        <a:pt x="0" y="90"/>
                      </a:cubicBezTo>
                      <a:cubicBezTo>
                        <a:pt x="0" y="92"/>
                        <a:pt x="2" y="93"/>
                        <a:pt x="4" y="93"/>
                      </a:cubicBezTo>
                      <a:cubicBezTo>
                        <a:pt x="4" y="93"/>
                        <a:pt x="4" y="93"/>
                        <a:pt x="4" y="93"/>
                      </a:cubicBezTo>
                      <a:cubicBezTo>
                        <a:pt x="4" y="88"/>
                        <a:pt x="4" y="88"/>
                        <a:pt x="4" y="88"/>
                      </a:cubicBezTo>
                      <a:cubicBezTo>
                        <a:pt x="4" y="84"/>
                        <a:pt x="7" y="81"/>
                        <a:pt x="11" y="79"/>
                      </a:cubicBezTo>
                      <a:cubicBezTo>
                        <a:pt x="11" y="79"/>
                        <a:pt x="11" y="79"/>
                        <a:pt x="11" y="79"/>
                      </a:cubicBezTo>
                      <a:cubicBezTo>
                        <a:pt x="13" y="78"/>
                        <a:pt x="13" y="78"/>
                        <a:pt x="13" y="78"/>
                      </a:cubicBezTo>
                      <a:cubicBezTo>
                        <a:pt x="14" y="78"/>
                        <a:pt x="14" y="78"/>
                        <a:pt x="15" y="79"/>
                      </a:cubicBezTo>
                      <a:cubicBezTo>
                        <a:pt x="21" y="81"/>
                        <a:pt x="21" y="81"/>
                        <a:pt x="21" y="81"/>
                      </a:cubicBezTo>
                      <a:cubicBezTo>
                        <a:pt x="27" y="79"/>
                        <a:pt x="27" y="79"/>
                        <a:pt x="27" y="79"/>
                      </a:cubicBezTo>
                      <a:cubicBezTo>
                        <a:pt x="27" y="78"/>
                        <a:pt x="28" y="78"/>
                        <a:pt x="29" y="78"/>
                      </a:cubicBezTo>
                      <a:cubicBezTo>
                        <a:pt x="31" y="79"/>
                        <a:pt x="31" y="79"/>
                        <a:pt x="31" y="79"/>
                      </a:cubicBezTo>
                      <a:cubicBezTo>
                        <a:pt x="31" y="79"/>
                        <a:pt x="31" y="79"/>
                        <a:pt x="31" y="79"/>
                      </a:cubicBezTo>
                      <a:cubicBezTo>
                        <a:pt x="32" y="80"/>
                        <a:pt x="33" y="80"/>
                        <a:pt x="34" y="81"/>
                      </a:cubicBezTo>
                      <a:cubicBezTo>
                        <a:pt x="35" y="77"/>
                        <a:pt x="38" y="73"/>
                        <a:pt x="42" y="72"/>
                      </a:cubicBezTo>
                      <a:cubicBezTo>
                        <a:pt x="42" y="72"/>
                        <a:pt x="42" y="72"/>
                        <a:pt x="42" y="72"/>
                      </a:cubicBezTo>
                      <a:cubicBezTo>
                        <a:pt x="46" y="71"/>
                        <a:pt x="46" y="71"/>
                        <a:pt x="46" y="71"/>
                      </a:cubicBezTo>
                      <a:cubicBezTo>
                        <a:pt x="46" y="70"/>
                        <a:pt x="47" y="71"/>
                        <a:pt x="48" y="71"/>
                      </a:cubicBezTo>
                      <a:cubicBezTo>
                        <a:pt x="56" y="74"/>
                        <a:pt x="56" y="74"/>
                        <a:pt x="56" y="74"/>
                      </a:cubicBezTo>
                      <a:cubicBezTo>
                        <a:pt x="64" y="71"/>
                        <a:pt x="64" y="71"/>
                        <a:pt x="64" y="71"/>
                      </a:cubicBezTo>
                      <a:cubicBezTo>
                        <a:pt x="65" y="71"/>
                        <a:pt x="66" y="70"/>
                        <a:pt x="66" y="71"/>
                      </a:cubicBezTo>
                      <a:cubicBezTo>
                        <a:pt x="70" y="72"/>
                        <a:pt x="70" y="72"/>
                        <a:pt x="70" y="72"/>
                      </a:cubicBezTo>
                      <a:cubicBezTo>
                        <a:pt x="70" y="72"/>
                        <a:pt x="70" y="72"/>
                        <a:pt x="70" y="72"/>
                      </a:cubicBezTo>
                      <a:cubicBezTo>
                        <a:pt x="74" y="73"/>
                        <a:pt x="77" y="77"/>
                        <a:pt x="78" y="81"/>
                      </a:cubicBezTo>
                      <a:cubicBezTo>
                        <a:pt x="79" y="80"/>
                        <a:pt x="80" y="80"/>
                        <a:pt x="81" y="79"/>
                      </a:cubicBezTo>
                      <a:cubicBezTo>
                        <a:pt x="81" y="79"/>
                        <a:pt x="81" y="79"/>
                        <a:pt x="81" y="79"/>
                      </a:cubicBezTo>
                      <a:cubicBezTo>
                        <a:pt x="83" y="78"/>
                        <a:pt x="83" y="78"/>
                        <a:pt x="83" y="78"/>
                      </a:cubicBezTo>
                      <a:cubicBezTo>
                        <a:pt x="84" y="78"/>
                        <a:pt x="85" y="78"/>
                        <a:pt x="85" y="79"/>
                      </a:cubicBezTo>
                      <a:cubicBezTo>
                        <a:pt x="91" y="81"/>
                        <a:pt x="91" y="81"/>
                        <a:pt x="91" y="81"/>
                      </a:cubicBezTo>
                      <a:cubicBezTo>
                        <a:pt x="97" y="79"/>
                        <a:pt x="97" y="79"/>
                        <a:pt x="97" y="79"/>
                      </a:cubicBezTo>
                      <a:cubicBezTo>
                        <a:pt x="98" y="78"/>
                        <a:pt x="98" y="78"/>
                        <a:pt x="99" y="78"/>
                      </a:cubicBezTo>
                      <a:cubicBezTo>
                        <a:pt x="101" y="79"/>
                        <a:pt x="101" y="79"/>
                        <a:pt x="101" y="79"/>
                      </a:cubicBezTo>
                      <a:cubicBezTo>
                        <a:pt x="101" y="79"/>
                        <a:pt x="101" y="79"/>
                        <a:pt x="101" y="79"/>
                      </a:cubicBezTo>
                      <a:cubicBezTo>
                        <a:pt x="105" y="81"/>
                        <a:pt x="108" y="84"/>
                        <a:pt x="108" y="88"/>
                      </a:cubicBezTo>
                      <a:cubicBezTo>
                        <a:pt x="108" y="93"/>
                        <a:pt x="108" y="93"/>
                        <a:pt x="108" y="93"/>
                      </a:cubicBezTo>
                      <a:cubicBezTo>
                        <a:pt x="108" y="93"/>
                        <a:pt x="108" y="93"/>
                        <a:pt x="108" y="93"/>
                      </a:cubicBezTo>
                      <a:cubicBezTo>
                        <a:pt x="110" y="93"/>
                        <a:pt x="112" y="92"/>
                        <a:pt x="112" y="90"/>
                      </a:cubicBezTo>
                      <a:cubicBezTo>
                        <a:pt x="112" y="3"/>
                        <a:pt x="112" y="3"/>
                        <a:pt x="112" y="3"/>
                      </a:cubicBezTo>
                      <a:cubicBezTo>
                        <a:pt x="112" y="1"/>
                        <a:pt x="110" y="0"/>
                        <a:pt x="108" y="0"/>
                      </a:cubicBezTo>
                      <a:close/>
                      <a:moveTo>
                        <a:pt x="21" y="78"/>
                      </a:moveTo>
                      <a:cubicBezTo>
                        <a:pt x="15" y="78"/>
                        <a:pt x="11" y="73"/>
                        <a:pt x="11" y="68"/>
                      </a:cubicBezTo>
                      <a:cubicBezTo>
                        <a:pt x="11" y="62"/>
                        <a:pt x="15" y="58"/>
                        <a:pt x="21" y="58"/>
                      </a:cubicBezTo>
                      <a:cubicBezTo>
                        <a:pt x="26" y="58"/>
                        <a:pt x="31" y="62"/>
                        <a:pt x="31" y="68"/>
                      </a:cubicBezTo>
                      <a:cubicBezTo>
                        <a:pt x="31" y="73"/>
                        <a:pt x="26" y="78"/>
                        <a:pt x="21" y="78"/>
                      </a:cubicBezTo>
                      <a:close/>
                      <a:moveTo>
                        <a:pt x="56" y="68"/>
                      </a:moveTo>
                      <a:cubicBezTo>
                        <a:pt x="49" y="68"/>
                        <a:pt x="44" y="62"/>
                        <a:pt x="44" y="55"/>
                      </a:cubicBezTo>
                      <a:cubicBezTo>
                        <a:pt x="44" y="48"/>
                        <a:pt x="49" y="43"/>
                        <a:pt x="56" y="43"/>
                      </a:cubicBezTo>
                      <a:cubicBezTo>
                        <a:pt x="63" y="43"/>
                        <a:pt x="68" y="48"/>
                        <a:pt x="68" y="55"/>
                      </a:cubicBezTo>
                      <a:cubicBezTo>
                        <a:pt x="68" y="62"/>
                        <a:pt x="63" y="68"/>
                        <a:pt x="56" y="68"/>
                      </a:cubicBezTo>
                      <a:close/>
                      <a:moveTo>
                        <a:pt x="78" y="33"/>
                      </a:moveTo>
                      <a:cubicBezTo>
                        <a:pt x="78" y="35"/>
                        <a:pt x="77" y="35"/>
                        <a:pt x="75" y="35"/>
                      </a:cubicBezTo>
                      <a:cubicBezTo>
                        <a:pt x="75" y="35"/>
                        <a:pt x="75" y="35"/>
                        <a:pt x="74" y="35"/>
                      </a:cubicBezTo>
                      <a:cubicBezTo>
                        <a:pt x="72" y="35"/>
                        <a:pt x="72" y="33"/>
                        <a:pt x="72" y="31"/>
                      </a:cubicBezTo>
                      <a:cubicBezTo>
                        <a:pt x="74" y="27"/>
                        <a:pt x="74" y="27"/>
                        <a:pt x="74" y="27"/>
                      </a:cubicBezTo>
                      <a:cubicBezTo>
                        <a:pt x="56" y="35"/>
                        <a:pt x="56" y="35"/>
                        <a:pt x="56" y="35"/>
                      </a:cubicBezTo>
                      <a:cubicBezTo>
                        <a:pt x="56" y="35"/>
                        <a:pt x="56" y="35"/>
                        <a:pt x="55" y="35"/>
                      </a:cubicBezTo>
                      <a:cubicBezTo>
                        <a:pt x="55" y="35"/>
                        <a:pt x="54" y="35"/>
                        <a:pt x="54" y="35"/>
                      </a:cubicBezTo>
                      <a:cubicBezTo>
                        <a:pt x="53" y="35"/>
                        <a:pt x="53" y="34"/>
                        <a:pt x="52" y="33"/>
                      </a:cubicBezTo>
                      <a:cubicBezTo>
                        <a:pt x="50" y="28"/>
                        <a:pt x="50" y="28"/>
                        <a:pt x="50" y="28"/>
                      </a:cubicBezTo>
                      <a:cubicBezTo>
                        <a:pt x="37" y="34"/>
                        <a:pt x="37" y="34"/>
                        <a:pt x="37" y="34"/>
                      </a:cubicBezTo>
                      <a:cubicBezTo>
                        <a:pt x="35" y="34"/>
                        <a:pt x="33" y="34"/>
                        <a:pt x="33" y="32"/>
                      </a:cubicBezTo>
                      <a:cubicBezTo>
                        <a:pt x="32" y="31"/>
                        <a:pt x="33" y="29"/>
                        <a:pt x="34" y="28"/>
                      </a:cubicBezTo>
                      <a:cubicBezTo>
                        <a:pt x="50" y="21"/>
                        <a:pt x="50" y="21"/>
                        <a:pt x="50" y="21"/>
                      </a:cubicBezTo>
                      <a:cubicBezTo>
                        <a:pt x="51" y="21"/>
                        <a:pt x="52" y="21"/>
                        <a:pt x="53" y="21"/>
                      </a:cubicBezTo>
                      <a:cubicBezTo>
                        <a:pt x="54" y="21"/>
                        <a:pt x="54" y="22"/>
                        <a:pt x="55" y="23"/>
                      </a:cubicBezTo>
                      <a:cubicBezTo>
                        <a:pt x="57" y="28"/>
                        <a:pt x="57" y="28"/>
                        <a:pt x="57" y="28"/>
                      </a:cubicBezTo>
                      <a:cubicBezTo>
                        <a:pt x="72" y="21"/>
                        <a:pt x="72" y="21"/>
                        <a:pt x="72" y="21"/>
                      </a:cubicBezTo>
                      <a:cubicBezTo>
                        <a:pt x="67" y="19"/>
                        <a:pt x="67" y="19"/>
                        <a:pt x="67" y="19"/>
                      </a:cubicBezTo>
                      <a:cubicBezTo>
                        <a:pt x="66" y="19"/>
                        <a:pt x="65" y="17"/>
                        <a:pt x="65" y="15"/>
                      </a:cubicBezTo>
                      <a:cubicBezTo>
                        <a:pt x="66" y="13"/>
                        <a:pt x="68" y="13"/>
                        <a:pt x="69" y="13"/>
                      </a:cubicBezTo>
                      <a:cubicBezTo>
                        <a:pt x="81" y="18"/>
                        <a:pt x="81" y="18"/>
                        <a:pt x="81" y="18"/>
                      </a:cubicBezTo>
                      <a:cubicBezTo>
                        <a:pt x="83" y="18"/>
                        <a:pt x="83" y="20"/>
                        <a:pt x="83" y="22"/>
                      </a:cubicBezTo>
                      <a:lnTo>
                        <a:pt x="78" y="33"/>
                      </a:lnTo>
                      <a:close/>
                      <a:moveTo>
                        <a:pt x="91" y="78"/>
                      </a:moveTo>
                      <a:cubicBezTo>
                        <a:pt x="86" y="78"/>
                        <a:pt x="81" y="73"/>
                        <a:pt x="81" y="68"/>
                      </a:cubicBezTo>
                      <a:cubicBezTo>
                        <a:pt x="81" y="62"/>
                        <a:pt x="86" y="58"/>
                        <a:pt x="91" y="58"/>
                      </a:cubicBezTo>
                      <a:cubicBezTo>
                        <a:pt x="96" y="58"/>
                        <a:pt x="101" y="62"/>
                        <a:pt x="101" y="68"/>
                      </a:cubicBezTo>
                      <a:cubicBezTo>
                        <a:pt x="101" y="73"/>
                        <a:pt x="96" y="78"/>
                        <a:pt x="91" y="78"/>
                      </a:cubicBezTo>
                      <a:close/>
                      <a:moveTo>
                        <a:pt x="91" y="78"/>
                      </a:moveTo>
                      <a:cubicBezTo>
                        <a:pt x="91" y="78"/>
                        <a:pt x="91" y="78"/>
                        <a:pt x="91" y="7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grpSp>
        <p:grpSp>
          <p:nvGrpSpPr>
            <p:cNvPr id="9" name="Group 57">
              <a:extLst>
                <a:ext uri="{FF2B5EF4-FFF2-40B4-BE49-F238E27FC236}">
                  <a16:creationId xmlns:a16="http://schemas.microsoft.com/office/drawing/2014/main" id="{D9A7E847-0202-4C9C-B4F0-E43C0CB50A50}"/>
                </a:ext>
              </a:extLst>
            </p:cNvPr>
            <p:cNvGrpSpPr/>
            <p:nvPr/>
          </p:nvGrpSpPr>
          <p:grpSpPr>
            <a:xfrm>
              <a:off x="5811089" y="1966487"/>
              <a:ext cx="1647896" cy="1633409"/>
              <a:chOff x="5811089" y="1966487"/>
              <a:chExt cx="1647896" cy="1633409"/>
            </a:xfrm>
          </p:grpSpPr>
          <p:sp>
            <p:nvSpPr>
              <p:cNvPr id="15" name="Freeform 7">
                <a:extLst>
                  <a:ext uri="{FF2B5EF4-FFF2-40B4-BE49-F238E27FC236}">
                    <a16:creationId xmlns:a16="http://schemas.microsoft.com/office/drawing/2014/main" id="{5CBFD2AF-D851-4C53-A57C-0FD7A8724AC4}"/>
                  </a:ext>
                </a:extLst>
              </p:cNvPr>
              <p:cNvSpPr>
                <a:spLocks/>
              </p:cNvSpPr>
              <p:nvPr/>
            </p:nvSpPr>
            <p:spPr bwMode="auto">
              <a:xfrm>
                <a:off x="5811089" y="1966487"/>
                <a:ext cx="1647896" cy="1633409"/>
              </a:xfrm>
              <a:custGeom>
                <a:avLst/>
                <a:gdLst>
                  <a:gd name="T0" fmla="*/ 906 w 909"/>
                  <a:gd name="T1" fmla="*/ 708 h 903"/>
                  <a:gd name="T2" fmla="*/ 855 w 909"/>
                  <a:gd name="T3" fmla="*/ 606 h 903"/>
                  <a:gd name="T4" fmla="*/ 882 w 909"/>
                  <a:gd name="T5" fmla="*/ 488 h 903"/>
                  <a:gd name="T6" fmla="*/ 903 w 909"/>
                  <a:gd name="T7" fmla="*/ 386 h 903"/>
                  <a:gd name="T8" fmla="*/ 866 w 909"/>
                  <a:gd name="T9" fmla="*/ 329 h 903"/>
                  <a:gd name="T10" fmla="*/ 808 w 909"/>
                  <a:gd name="T11" fmla="*/ 116 h 903"/>
                  <a:gd name="T12" fmla="*/ 637 w 909"/>
                  <a:gd name="T13" fmla="*/ 131 h 903"/>
                  <a:gd name="T14" fmla="*/ 553 w 909"/>
                  <a:gd name="T15" fmla="*/ 55 h 903"/>
                  <a:gd name="T16" fmla="*/ 471 w 909"/>
                  <a:gd name="T17" fmla="*/ 66 h 903"/>
                  <a:gd name="T18" fmla="*/ 388 w 909"/>
                  <a:gd name="T19" fmla="*/ 50 h 903"/>
                  <a:gd name="T20" fmla="*/ 234 w 909"/>
                  <a:gd name="T21" fmla="*/ 36 h 903"/>
                  <a:gd name="T22" fmla="*/ 192 w 909"/>
                  <a:gd name="T23" fmla="*/ 167 h 903"/>
                  <a:gd name="T24" fmla="*/ 90 w 909"/>
                  <a:gd name="T25" fmla="*/ 255 h 903"/>
                  <a:gd name="T26" fmla="*/ 80 w 909"/>
                  <a:gd name="T27" fmla="*/ 384 h 903"/>
                  <a:gd name="T28" fmla="*/ 41 w 909"/>
                  <a:gd name="T29" fmla="*/ 578 h 903"/>
                  <a:gd name="T30" fmla="*/ 53 w 909"/>
                  <a:gd name="T31" fmla="*/ 640 h 903"/>
                  <a:gd name="T32" fmla="*/ 109 w 909"/>
                  <a:gd name="T33" fmla="*/ 751 h 903"/>
                  <a:gd name="T34" fmla="*/ 268 w 909"/>
                  <a:gd name="T35" fmla="*/ 893 h 903"/>
                  <a:gd name="T36" fmla="*/ 449 w 909"/>
                  <a:gd name="T37" fmla="*/ 815 h 903"/>
                  <a:gd name="T38" fmla="*/ 544 w 909"/>
                  <a:gd name="T39" fmla="*/ 835 h 903"/>
                  <a:gd name="T40" fmla="*/ 614 w 909"/>
                  <a:gd name="T41" fmla="*/ 886 h 903"/>
                  <a:gd name="T42" fmla="*/ 681 w 909"/>
                  <a:gd name="T43" fmla="*/ 857 h 903"/>
                  <a:gd name="T44" fmla="*/ 744 w 909"/>
                  <a:gd name="T45" fmla="*/ 843 h 903"/>
                  <a:gd name="T46" fmla="*/ 859 w 909"/>
                  <a:gd name="T47" fmla="*/ 812 h 903"/>
                  <a:gd name="T48" fmla="*/ 906 w 909"/>
                  <a:gd name="T49" fmla="*/ 708 h 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09" h="903">
                    <a:moveTo>
                      <a:pt x="906" y="708"/>
                    </a:moveTo>
                    <a:cubicBezTo>
                      <a:pt x="904" y="667"/>
                      <a:pt x="886" y="626"/>
                      <a:pt x="855" y="606"/>
                    </a:cubicBezTo>
                    <a:cubicBezTo>
                      <a:pt x="889" y="583"/>
                      <a:pt x="903" y="528"/>
                      <a:pt x="882" y="488"/>
                    </a:cubicBezTo>
                    <a:cubicBezTo>
                      <a:pt x="895" y="456"/>
                      <a:pt x="909" y="422"/>
                      <a:pt x="903" y="386"/>
                    </a:cubicBezTo>
                    <a:cubicBezTo>
                      <a:pt x="899" y="361"/>
                      <a:pt x="886" y="339"/>
                      <a:pt x="866" y="329"/>
                    </a:cubicBezTo>
                    <a:cubicBezTo>
                      <a:pt x="885" y="253"/>
                      <a:pt x="865" y="162"/>
                      <a:pt x="808" y="116"/>
                    </a:cubicBezTo>
                    <a:cubicBezTo>
                      <a:pt x="757" y="75"/>
                      <a:pt x="681" y="79"/>
                      <a:pt x="637" y="131"/>
                    </a:cubicBezTo>
                    <a:cubicBezTo>
                      <a:pt x="613" y="100"/>
                      <a:pt x="587" y="69"/>
                      <a:pt x="553" y="55"/>
                    </a:cubicBezTo>
                    <a:cubicBezTo>
                      <a:pt x="525" y="44"/>
                      <a:pt x="495" y="46"/>
                      <a:pt x="471" y="66"/>
                    </a:cubicBezTo>
                    <a:cubicBezTo>
                      <a:pt x="450" y="39"/>
                      <a:pt x="415" y="34"/>
                      <a:pt x="388" y="50"/>
                    </a:cubicBezTo>
                    <a:cubicBezTo>
                      <a:pt x="344" y="17"/>
                      <a:pt x="281" y="0"/>
                      <a:pt x="234" y="36"/>
                    </a:cubicBezTo>
                    <a:cubicBezTo>
                      <a:pt x="198" y="64"/>
                      <a:pt x="177" y="119"/>
                      <a:pt x="192" y="167"/>
                    </a:cubicBezTo>
                    <a:cubicBezTo>
                      <a:pt x="153" y="186"/>
                      <a:pt x="114" y="212"/>
                      <a:pt x="90" y="255"/>
                    </a:cubicBezTo>
                    <a:cubicBezTo>
                      <a:pt x="68" y="293"/>
                      <a:pt x="62" y="343"/>
                      <a:pt x="80" y="384"/>
                    </a:cubicBezTo>
                    <a:cubicBezTo>
                      <a:pt x="20" y="418"/>
                      <a:pt x="0" y="516"/>
                      <a:pt x="41" y="578"/>
                    </a:cubicBezTo>
                    <a:cubicBezTo>
                      <a:pt x="31" y="599"/>
                      <a:pt x="37" y="626"/>
                      <a:pt x="53" y="640"/>
                    </a:cubicBezTo>
                    <a:cubicBezTo>
                      <a:pt x="40" y="687"/>
                      <a:pt x="67" y="743"/>
                      <a:pt x="109" y="751"/>
                    </a:cubicBezTo>
                    <a:cubicBezTo>
                      <a:pt x="138" y="826"/>
                      <a:pt x="199" y="882"/>
                      <a:pt x="268" y="893"/>
                    </a:cubicBezTo>
                    <a:cubicBezTo>
                      <a:pt x="335" y="903"/>
                      <a:pt x="404" y="873"/>
                      <a:pt x="449" y="815"/>
                    </a:cubicBezTo>
                    <a:cubicBezTo>
                      <a:pt x="469" y="852"/>
                      <a:pt x="511" y="846"/>
                      <a:pt x="544" y="835"/>
                    </a:cubicBezTo>
                    <a:cubicBezTo>
                      <a:pt x="544" y="873"/>
                      <a:pt x="585" y="893"/>
                      <a:pt x="614" y="886"/>
                    </a:cubicBezTo>
                    <a:cubicBezTo>
                      <a:pt x="637" y="881"/>
                      <a:pt x="658" y="866"/>
                      <a:pt x="681" y="857"/>
                    </a:cubicBezTo>
                    <a:cubicBezTo>
                      <a:pt x="701" y="849"/>
                      <a:pt x="723" y="846"/>
                      <a:pt x="744" y="843"/>
                    </a:cubicBezTo>
                    <a:cubicBezTo>
                      <a:pt x="783" y="838"/>
                      <a:pt x="824" y="836"/>
                      <a:pt x="859" y="812"/>
                    </a:cubicBezTo>
                    <a:cubicBezTo>
                      <a:pt x="890" y="790"/>
                      <a:pt x="907" y="752"/>
                      <a:pt x="906" y="708"/>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grpSp>
            <p:nvGrpSpPr>
              <p:cNvPr id="16" name="Group 32">
                <a:extLst>
                  <a:ext uri="{FF2B5EF4-FFF2-40B4-BE49-F238E27FC236}">
                    <a16:creationId xmlns:a16="http://schemas.microsoft.com/office/drawing/2014/main" id="{80715C9B-EAE3-4918-858B-5788F82022C8}"/>
                  </a:ext>
                </a:extLst>
              </p:cNvPr>
              <p:cNvGrpSpPr/>
              <p:nvPr/>
            </p:nvGrpSpPr>
            <p:grpSpPr>
              <a:xfrm>
                <a:off x="6453269" y="2617297"/>
                <a:ext cx="363537" cy="331788"/>
                <a:chOff x="5319713" y="1406525"/>
                <a:chExt cx="363537" cy="331788"/>
              </a:xfrm>
              <a:solidFill>
                <a:schemeClr val="bg1"/>
              </a:solidFill>
            </p:grpSpPr>
            <p:sp>
              <p:nvSpPr>
                <p:cNvPr id="17" name="Freeform 323">
                  <a:extLst>
                    <a:ext uri="{FF2B5EF4-FFF2-40B4-BE49-F238E27FC236}">
                      <a16:creationId xmlns:a16="http://schemas.microsoft.com/office/drawing/2014/main" id="{BD29245A-6281-4CE3-9C29-7602A3E4A2AE}"/>
                    </a:ext>
                  </a:extLst>
                </p:cNvPr>
                <p:cNvSpPr>
                  <a:spLocks noEditPoints="1"/>
                </p:cNvSpPr>
                <p:nvPr/>
              </p:nvSpPr>
              <p:spPr bwMode="auto">
                <a:xfrm>
                  <a:off x="5419725" y="1501775"/>
                  <a:ext cx="111125" cy="236538"/>
                </a:xfrm>
                <a:custGeom>
                  <a:avLst/>
                  <a:gdLst>
                    <a:gd name="T0" fmla="*/ 19 w 34"/>
                    <a:gd name="T1" fmla="*/ 1 h 73"/>
                    <a:gd name="T2" fmla="*/ 17 w 34"/>
                    <a:gd name="T3" fmla="*/ 0 h 73"/>
                    <a:gd name="T4" fmla="*/ 15 w 34"/>
                    <a:gd name="T5" fmla="*/ 1 h 73"/>
                    <a:gd name="T6" fmla="*/ 0 w 34"/>
                    <a:gd name="T7" fmla="*/ 20 h 73"/>
                    <a:gd name="T8" fmla="*/ 0 w 34"/>
                    <a:gd name="T9" fmla="*/ 23 h 73"/>
                    <a:gd name="T10" fmla="*/ 3 w 34"/>
                    <a:gd name="T11" fmla="*/ 25 h 73"/>
                    <a:gd name="T12" fmla="*/ 9 w 34"/>
                    <a:gd name="T13" fmla="*/ 25 h 73"/>
                    <a:gd name="T14" fmla="*/ 9 w 34"/>
                    <a:gd name="T15" fmla="*/ 70 h 73"/>
                    <a:gd name="T16" fmla="*/ 11 w 34"/>
                    <a:gd name="T17" fmla="*/ 73 h 73"/>
                    <a:gd name="T18" fmla="*/ 23 w 34"/>
                    <a:gd name="T19" fmla="*/ 73 h 73"/>
                    <a:gd name="T20" fmla="*/ 26 w 34"/>
                    <a:gd name="T21" fmla="*/ 70 h 73"/>
                    <a:gd name="T22" fmla="*/ 26 w 34"/>
                    <a:gd name="T23" fmla="*/ 25 h 73"/>
                    <a:gd name="T24" fmla="*/ 31 w 34"/>
                    <a:gd name="T25" fmla="*/ 25 h 73"/>
                    <a:gd name="T26" fmla="*/ 34 w 34"/>
                    <a:gd name="T27" fmla="*/ 23 h 73"/>
                    <a:gd name="T28" fmla="*/ 34 w 34"/>
                    <a:gd name="T29" fmla="*/ 20 h 73"/>
                    <a:gd name="T30" fmla="*/ 19 w 34"/>
                    <a:gd name="T31" fmla="*/ 1 h 73"/>
                    <a:gd name="T32" fmla="*/ 19 w 34"/>
                    <a:gd name="T33" fmla="*/ 1 h 73"/>
                    <a:gd name="T34" fmla="*/ 19 w 34"/>
                    <a:gd name="T35" fmla="*/ 1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 h="73">
                      <a:moveTo>
                        <a:pt x="19" y="1"/>
                      </a:moveTo>
                      <a:cubicBezTo>
                        <a:pt x="19" y="0"/>
                        <a:pt x="18" y="0"/>
                        <a:pt x="17" y="0"/>
                      </a:cubicBezTo>
                      <a:cubicBezTo>
                        <a:pt x="16" y="0"/>
                        <a:pt x="15" y="0"/>
                        <a:pt x="15" y="1"/>
                      </a:cubicBezTo>
                      <a:cubicBezTo>
                        <a:pt x="0" y="20"/>
                        <a:pt x="0" y="20"/>
                        <a:pt x="0" y="20"/>
                      </a:cubicBezTo>
                      <a:cubicBezTo>
                        <a:pt x="0" y="21"/>
                        <a:pt x="0" y="22"/>
                        <a:pt x="0" y="23"/>
                      </a:cubicBezTo>
                      <a:cubicBezTo>
                        <a:pt x="1" y="24"/>
                        <a:pt x="2" y="25"/>
                        <a:pt x="3" y="25"/>
                      </a:cubicBezTo>
                      <a:cubicBezTo>
                        <a:pt x="9" y="25"/>
                        <a:pt x="9" y="25"/>
                        <a:pt x="9" y="25"/>
                      </a:cubicBezTo>
                      <a:cubicBezTo>
                        <a:pt x="9" y="70"/>
                        <a:pt x="9" y="70"/>
                        <a:pt x="9" y="70"/>
                      </a:cubicBezTo>
                      <a:cubicBezTo>
                        <a:pt x="9" y="72"/>
                        <a:pt x="10" y="73"/>
                        <a:pt x="11" y="73"/>
                      </a:cubicBezTo>
                      <a:cubicBezTo>
                        <a:pt x="23" y="73"/>
                        <a:pt x="23" y="73"/>
                        <a:pt x="23" y="73"/>
                      </a:cubicBezTo>
                      <a:cubicBezTo>
                        <a:pt x="24" y="73"/>
                        <a:pt x="26" y="72"/>
                        <a:pt x="26" y="70"/>
                      </a:cubicBezTo>
                      <a:cubicBezTo>
                        <a:pt x="26" y="25"/>
                        <a:pt x="26" y="25"/>
                        <a:pt x="26" y="25"/>
                      </a:cubicBezTo>
                      <a:cubicBezTo>
                        <a:pt x="31" y="25"/>
                        <a:pt x="31" y="25"/>
                        <a:pt x="31" y="25"/>
                      </a:cubicBezTo>
                      <a:cubicBezTo>
                        <a:pt x="32" y="25"/>
                        <a:pt x="33" y="24"/>
                        <a:pt x="34" y="23"/>
                      </a:cubicBezTo>
                      <a:cubicBezTo>
                        <a:pt x="34" y="22"/>
                        <a:pt x="34" y="21"/>
                        <a:pt x="34" y="20"/>
                      </a:cubicBezTo>
                      <a:lnTo>
                        <a:pt x="19" y="1"/>
                      </a:lnTo>
                      <a:close/>
                      <a:moveTo>
                        <a:pt x="19" y="1"/>
                      </a:moveTo>
                      <a:cubicBezTo>
                        <a:pt x="19" y="1"/>
                        <a:pt x="19" y="1"/>
                        <a:pt x="19"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8" name="Freeform 324">
                  <a:extLst>
                    <a:ext uri="{FF2B5EF4-FFF2-40B4-BE49-F238E27FC236}">
                      <a16:creationId xmlns:a16="http://schemas.microsoft.com/office/drawing/2014/main" id="{4ECAC75A-5358-4B88-8021-33872618D742}"/>
                    </a:ext>
                  </a:extLst>
                </p:cNvPr>
                <p:cNvSpPr>
                  <a:spLocks noEditPoints="1"/>
                </p:cNvSpPr>
                <p:nvPr/>
              </p:nvSpPr>
              <p:spPr bwMode="auto">
                <a:xfrm>
                  <a:off x="5319713" y="1552575"/>
                  <a:ext cx="114300" cy="185738"/>
                </a:xfrm>
                <a:custGeom>
                  <a:avLst/>
                  <a:gdLst>
                    <a:gd name="T0" fmla="*/ 20 w 35"/>
                    <a:gd name="T1" fmla="*/ 1 h 57"/>
                    <a:gd name="T2" fmla="*/ 18 w 35"/>
                    <a:gd name="T3" fmla="*/ 0 h 57"/>
                    <a:gd name="T4" fmla="*/ 16 w 35"/>
                    <a:gd name="T5" fmla="*/ 1 h 57"/>
                    <a:gd name="T6" fmla="*/ 1 w 35"/>
                    <a:gd name="T7" fmla="*/ 21 h 57"/>
                    <a:gd name="T8" fmla="*/ 1 w 35"/>
                    <a:gd name="T9" fmla="*/ 23 h 57"/>
                    <a:gd name="T10" fmla="*/ 3 w 35"/>
                    <a:gd name="T11" fmla="*/ 25 h 57"/>
                    <a:gd name="T12" fmla="*/ 9 w 35"/>
                    <a:gd name="T13" fmla="*/ 25 h 57"/>
                    <a:gd name="T14" fmla="*/ 9 w 35"/>
                    <a:gd name="T15" fmla="*/ 54 h 57"/>
                    <a:gd name="T16" fmla="*/ 12 w 35"/>
                    <a:gd name="T17" fmla="*/ 57 h 57"/>
                    <a:gd name="T18" fmla="*/ 24 w 35"/>
                    <a:gd name="T19" fmla="*/ 57 h 57"/>
                    <a:gd name="T20" fmla="*/ 26 w 35"/>
                    <a:gd name="T21" fmla="*/ 54 h 57"/>
                    <a:gd name="T22" fmla="*/ 26 w 35"/>
                    <a:gd name="T23" fmla="*/ 25 h 57"/>
                    <a:gd name="T24" fmla="*/ 32 w 35"/>
                    <a:gd name="T25" fmla="*/ 25 h 57"/>
                    <a:gd name="T26" fmla="*/ 35 w 35"/>
                    <a:gd name="T27" fmla="*/ 23 h 57"/>
                    <a:gd name="T28" fmla="*/ 34 w 35"/>
                    <a:gd name="T29" fmla="*/ 21 h 57"/>
                    <a:gd name="T30" fmla="*/ 20 w 35"/>
                    <a:gd name="T31" fmla="*/ 1 h 57"/>
                    <a:gd name="T32" fmla="*/ 20 w 35"/>
                    <a:gd name="T33" fmla="*/ 1 h 57"/>
                    <a:gd name="T34" fmla="*/ 20 w 35"/>
                    <a:gd name="T35" fmla="*/ 1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5" h="57">
                      <a:moveTo>
                        <a:pt x="20" y="1"/>
                      </a:moveTo>
                      <a:cubicBezTo>
                        <a:pt x="19" y="0"/>
                        <a:pt x="19" y="0"/>
                        <a:pt x="18" y="0"/>
                      </a:cubicBezTo>
                      <a:cubicBezTo>
                        <a:pt x="17" y="0"/>
                        <a:pt x="16" y="0"/>
                        <a:pt x="16" y="1"/>
                      </a:cubicBezTo>
                      <a:cubicBezTo>
                        <a:pt x="1" y="21"/>
                        <a:pt x="1" y="21"/>
                        <a:pt x="1" y="21"/>
                      </a:cubicBezTo>
                      <a:cubicBezTo>
                        <a:pt x="1" y="21"/>
                        <a:pt x="0" y="22"/>
                        <a:pt x="1" y="23"/>
                      </a:cubicBezTo>
                      <a:cubicBezTo>
                        <a:pt x="1" y="24"/>
                        <a:pt x="2" y="25"/>
                        <a:pt x="3" y="25"/>
                      </a:cubicBezTo>
                      <a:cubicBezTo>
                        <a:pt x="9" y="25"/>
                        <a:pt x="9" y="25"/>
                        <a:pt x="9" y="25"/>
                      </a:cubicBezTo>
                      <a:cubicBezTo>
                        <a:pt x="9" y="54"/>
                        <a:pt x="9" y="54"/>
                        <a:pt x="9" y="54"/>
                      </a:cubicBezTo>
                      <a:cubicBezTo>
                        <a:pt x="9" y="56"/>
                        <a:pt x="10" y="57"/>
                        <a:pt x="12" y="57"/>
                      </a:cubicBezTo>
                      <a:cubicBezTo>
                        <a:pt x="24" y="57"/>
                        <a:pt x="24" y="57"/>
                        <a:pt x="24" y="57"/>
                      </a:cubicBezTo>
                      <a:cubicBezTo>
                        <a:pt x="25" y="57"/>
                        <a:pt x="26" y="56"/>
                        <a:pt x="26" y="54"/>
                      </a:cubicBezTo>
                      <a:cubicBezTo>
                        <a:pt x="26" y="25"/>
                        <a:pt x="26" y="25"/>
                        <a:pt x="26" y="25"/>
                      </a:cubicBezTo>
                      <a:cubicBezTo>
                        <a:pt x="32" y="25"/>
                        <a:pt x="32" y="25"/>
                        <a:pt x="32" y="25"/>
                      </a:cubicBezTo>
                      <a:cubicBezTo>
                        <a:pt x="33" y="25"/>
                        <a:pt x="34" y="24"/>
                        <a:pt x="35" y="23"/>
                      </a:cubicBezTo>
                      <a:cubicBezTo>
                        <a:pt x="35" y="22"/>
                        <a:pt x="35" y="21"/>
                        <a:pt x="34" y="21"/>
                      </a:cubicBezTo>
                      <a:lnTo>
                        <a:pt x="20" y="1"/>
                      </a:lnTo>
                      <a:close/>
                      <a:moveTo>
                        <a:pt x="20" y="1"/>
                      </a:moveTo>
                      <a:cubicBezTo>
                        <a:pt x="20" y="1"/>
                        <a:pt x="20" y="1"/>
                        <a:pt x="20"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9" name="Freeform 325">
                  <a:extLst>
                    <a:ext uri="{FF2B5EF4-FFF2-40B4-BE49-F238E27FC236}">
                      <a16:creationId xmlns:a16="http://schemas.microsoft.com/office/drawing/2014/main" id="{AE7B8354-3B5B-4BD7-B630-60755D05C119}"/>
                    </a:ext>
                  </a:extLst>
                </p:cNvPr>
                <p:cNvSpPr>
                  <a:spLocks noEditPoints="1"/>
                </p:cNvSpPr>
                <p:nvPr/>
              </p:nvSpPr>
              <p:spPr bwMode="auto">
                <a:xfrm>
                  <a:off x="5580063" y="1406525"/>
                  <a:ext cx="77787" cy="77788"/>
                </a:xfrm>
                <a:custGeom>
                  <a:avLst/>
                  <a:gdLst>
                    <a:gd name="T0" fmla="*/ 12 w 24"/>
                    <a:gd name="T1" fmla="*/ 24 h 24"/>
                    <a:gd name="T2" fmla="*/ 24 w 24"/>
                    <a:gd name="T3" fmla="*/ 12 h 24"/>
                    <a:gd name="T4" fmla="*/ 12 w 24"/>
                    <a:gd name="T5" fmla="*/ 0 h 24"/>
                    <a:gd name="T6" fmla="*/ 0 w 24"/>
                    <a:gd name="T7" fmla="*/ 12 h 24"/>
                    <a:gd name="T8" fmla="*/ 12 w 24"/>
                    <a:gd name="T9" fmla="*/ 24 h 24"/>
                    <a:gd name="T10" fmla="*/ 12 w 24"/>
                    <a:gd name="T11" fmla="*/ 24 h 24"/>
                    <a:gd name="T12" fmla="*/ 12 w 24"/>
                    <a:gd name="T13" fmla="*/ 24 h 24"/>
                  </a:gdLst>
                  <a:ahLst/>
                  <a:cxnLst>
                    <a:cxn ang="0">
                      <a:pos x="T0" y="T1"/>
                    </a:cxn>
                    <a:cxn ang="0">
                      <a:pos x="T2" y="T3"/>
                    </a:cxn>
                    <a:cxn ang="0">
                      <a:pos x="T4" y="T5"/>
                    </a:cxn>
                    <a:cxn ang="0">
                      <a:pos x="T6" y="T7"/>
                    </a:cxn>
                    <a:cxn ang="0">
                      <a:pos x="T8" y="T9"/>
                    </a:cxn>
                    <a:cxn ang="0">
                      <a:pos x="T10" y="T11"/>
                    </a:cxn>
                    <a:cxn ang="0">
                      <a:pos x="T12" y="T13"/>
                    </a:cxn>
                  </a:cxnLst>
                  <a:rect l="0" t="0" r="r" b="b"/>
                  <a:pathLst>
                    <a:path w="24" h="24">
                      <a:moveTo>
                        <a:pt x="12" y="24"/>
                      </a:moveTo>
                      <a:cubicBezTo>
                        <a:pt x="18" y="24"/>
                        <a:pt x="24" y="18"/>
                        <a:pt x="24" y="12"/>
                      </a:cubicBezTo>
                      <a:cubicBezTo>
                        <a:pt x="24" y="5"/>
                        <a:pt x="18" y="0"/>
                        <a:pt x="12" y="0"/>
                      </a:cubicBezTo>
                      <a:cubicBezTo>
                        <a:pt x="5" y="0"/>
                        <a:pt x="0" y="5"/>
                        <a:pt x="0" y="12"/>
                      </a:cubicBezTo>
                      <a:cubicBezTo>
                        <a:pt x="0" y="18"/>
                        <a:pt x="5" y="24"/>
                        <a:pt x="12" y="24"/>
                      </a:cubicBezTo>
                      <a:close/>
                      <a:moveTo>
                        <a:pt x="12" y="24"/>
                      </a:moveTo>
                      <a:cubicBezTo>
                        <a:pt x="12" y="24"/>
                        <a:pt x="12" y="24"/>
                        <a:pt x="12" y="2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0" name="Freeform 326">
                  <a:extLst>
                    <a:ext uri="{FF2B5EF4-FFF2-40B4-BE49-F238E27FC236}">
                      <a16:creationId xmlns:a16="http://schemas.microsoft.com/office/drawing/2014/main" id="{FB66CE3F-B51E-4247-B521-CC9D9D35812E}"/>
                    </a:ext>
                  </a:extLst>
                </p:cNvPr>
                <p:cNvSpPr>
                  <a:spLocks noEditPoints="1"/>
                </p:cNvSpPr>
                <p:nvPr/>
              </p:nvSpPr>
              <p:spPr bwMode="auto">
                <a:xfrm>
                  <a:off x="5549900" y="1498600"/>
                  <a:ext cx="133350" cy="239713"/>
                </a:xfrm>
                <a:custGeom>
                  <a:avLst/>
                  <a:gdLst>
                    <a:gd name="T0" fmla="*/ 34 w 41"/>
                    <a:gd name="T1" fmla="*/ 1 h 74"/>
                    <a:gd name="T2" fmla="*/ 34 w 41"/>
                    <a:gd name="T3" fmla="*/ 1 h 74"/>
                    <a:gd name="T4" fmla="*/ 30 w 41"/>
                    <a:gd name="T5" fmla="*/ 0 h 74"/>
                    <a:gd name="T6" fmla="*/ 29 w 41"/>
                    <a:gd name="T7" fmla="*/ 1 h 74"/>
                    <a:gd name="T8" fmla="*/ 22 w 41"/>
                    <a:gd name="T9" fmla="*/ 21 h 74"/>
                    <a:gd name="T10" fmla="*/ 19 w 41"/>
                    <a:gd name="T11" fmla="*/ 21 h 74"/>
                    <a:gd name="T12" fmla="*/ 12 w 41"/>
                    <a:gd name="T13" fmla="*/ 1 h 74"/>
                    <a:gd name="T14" fmla="*/ 11 w 41"/>
                    <a:gd name="T15" fmla="*/ 0 h 74"/>
                    <a:gd name="T16" fmla="*/ 8 w 41"/>
                    <a:gd name="T17" fmla="*/ 1 h 74"/>
                    <a:gd name="T18" fmla="*/ 0 w 41"/>
                    <a:gd name="T19" fmla="*/ 12 h 74"/>
                    <a:gd name="T20" fmla="*/ 0 w 41"/>
                    <a:gd name="T21" fmla="*/ 32 h 74"/>
                    <a:gd name="T22" fmla="*/ 0 w 41"/>
                    <a:gd name="T23" fmla="*/ 33 h 74"/>
                    <a:gd name="T24" fmla="*/ 8 w 41"/>
                    <a:gd name="T25" fmla="*/ 44 h 74"/>
                    <a:gd name="T26" fmla="*/ 8 w 41"/>
                    <a:gd name="T27" fmla="*/ 73 h 74"/>
                    <a:gd name="T28" fmla="*/ 9 w 41"/>
                    <a:gd name="T29" fmla="*/ 74 h 74"/>
                    <a:gd name="T30" fmla="*/ 32 w 41"/>
                    <a:gd name="T31" fmla="*/ 74 h 74"/>
                    <a:gd name="T32" fmla="*/ 33 w 41"/>
                    <a:gd name="T33" fmla="*/ 73 h 74"/>
                    <a:gd name="T34" fmla="*/ 33 w 41"/>
                    <a:gd name="T35" fmla="*/ 44 h 74"/>
                    <a:gd name="T36" fmla="*/ 41 w 41"/>
                    <a:gd name="T37" fmla="*/ 33 h 74"/>
                    <a:gd name="T38" fmla="*/ 41 w 41"/>
                    <a:gd name="T39" fmla="*/ 32 h 74"/>
                    <a:gd name="T40" fmla="*/ 41 w 41"/>
                    <a:gd name="T41" fmla="*/ 11 h 74"/>
                    <a:gd name="T42" fmla="*/ 34 w 41"/>
                    <a:gd name="T43" fmla="*/ 1 h 74"/>
                    <a:gd name="T44" fmla="*/ 34 w 41"/>
                    <a:gd name="T45" fmla="*/ 1 h 74"/>
                    <a:gd name="T46" fmla="*/ 34 w 41"/>
                    <a:gd name="T47" fmla="*/ 1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1" h="74">
                      <a:moveTo>
                        <a:pt x="34" y="1"/>
                      </a:moveTo>
                      <a:cubicBezTo>
                        <a:pt x="34" y="1"/>
                        <a:pt x="34" y="1"/>
                        <a:pt x="34" y="1"/>
                      </a:cubicBezTo>
                      <a:cubicBezTo>
                        <a:pt x="30" y="0"/>
                        <a:pt x="30" y="0"/>
                        <a:pt x="30" y="0"/>
                      </a:cubicBezTo>
                      <a:cubicBezTo>
                        <a:pt x="30" y="0"/>
                        <a:pt x="29" y="1"/>
                        <a:pt x="29" y="1"/>
                      </a:cubicBezTo>
                      <a:cubicBezTo>
                        <a:pt x="22" y="21"/>
                        <a:pt x="22" y="21"/>
                        <a:pt x="22" y="21"/>
                      </a:cubicBezTo>
                      <a:cubicBezTo>
                        <a:pt x="21" y="22"/>
                        <a:pt x="20" y="22"/>
                        <a:pt x="19" y="21"/>
                      </a:cubicBezTo>
                      <a:cubicBezTo>
                        <a:pt x="12" y="1"/>
                        <a:pt x="12" y="1"/>
                        <a:pt x="12" y="1"/>
                      </a:cubicBezTo>
                      <a:cubicBezTo>
                        <a:pt x="12" y="1"/>
                        <a:pt x="12" y="0"/>
                        <a:pt x="11" y="0"/>
                      </a:cubicBezTo>
                      <a:cubicBezTo>
                        <a:pt x="11" y="0"/>
                        <a:pt x="8" y="1"/>
                        <a:pt x="8" y="1"/>
                      </a:cubicBezTo>
                      <a:cubicBezTo>
                        <a:pt x="3" y="3"/>
                        <a:pt x="0" y="7"/>
                        <a:pt x="0" y="12"/>
                      </a:cubicBezTo>
                      <a:cubicBezTo>
                        <a:pt x="0" y="32"/>
                        <a:pt x="0" y="32"/>
                        <a:pt x="0" y="32"/>
                      </a:cubicBezTo>
                      <a:cubicBezTo>
                        <a:pt x="0" y="33"/>
                        <a:pt x="0" y="33"/>
                        <a:pt x="0" y="33"/>
                      </a:cubicBezTo>
                      <a:cubicBezTo>
                        <a:pt x="8" y="44"/>
                        <a:pt x="8" y="44"/>
                        <a:pt x="8" y="44"/>
                      </a:cubicBezTo>
                      <a:cubicBezTo>
                        <a:pt x="8" y="73"/>
                        <a:pt x="8" y="73"/>
                        <a:pt x="8" y="73"/>
                      </a:cubicBezTo>
                      <a:cubicBezTo>
                        <a:pt x="8" y="74"/>
                        <a:pt x="8" y="74"/>
                        <a:pt x="9" y="74"/>
                      </a:cubicBezTo>
                      <a:cubicBezTo>
                        <a:pt x="32" y="74"/>
                        <a:pt x="32" y="74"/>
                        <a:pt x="32" y="74"/>
                      </a:cubicBezTo>
                      <a:cubicBezTo>
                        <a:pt x="33" y="74"/>
                        <a:pt x="33" y="74"/>
                        <a:pt x="33" y="73"/>
                      </a:cubicBezTo>
                      <a:cubicBezTo>
                        <a:pt x="33" y="44"/>
                        <a:pt x="33" y="44"/>
                        <a:pt x="33" y="44"/>
                      </a:cubicBezTo>
                      <a:cubicBezTo>
                        <a:pt x="41" y="33"/>
                        <a:pt x="41" y="33"/>
                        <a:pt x="41" y="33"/>
                      </a:cubicBezTo>
                      <a:cubicBezTo>
                        <a:pt x="41" y="33"/>
                        <a:pt x="41" y="33"/>
                        <a:pt x="41" y="32"/>
                      </a:cubicBezTo>
                      <a:cubicBezTo>
                        <a:pt x="41" y="11"/>
                        <a:pt x="41" y="11"/>
                        <a:pt x="41" y="11"/>
                      </a:cubicBezTo>
                      <a:cubicBezTo>
                        <a:pt x="41" y="7"/>
                        <a:pt x="38" y="3"/>
                        <a:pt x="34" y="1"/>
                      </a:cubicBezTo>
                      <a:close/>
                      <a:moveTo>
                        <a:pt x="34" y="1"/>
                      </a:moveTo>
                      <a:cubicBezTo>
                        <a:pt x="34" y="1"/>
                        <a:pt x="34" y="1"/>
                        <a:pt x="34"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21" name="Freeform 327">
                  <a:extLst>
                    <a:ext uri="{FF2B5EF4-FFF2-40B4-BE49-F238E27FC236}">
                      <a16:creationId xmlns:a16="http://schemas.microsoft.com/office/drawing/2014/main" id="{0A9B44F9-DD1E-43FE-A220-371CC0D689B8}"/>
                    </a:ext>
                  </a:extLst>
                </p:cNvPr>
                <p:cNvSpPr>
                  <a:spLocks noEditPoints="1"/>
                </p:cNvSpPr>
                <p:nvPr/>
              </p:nvSpPr>
              <p:spPr bwMode="auto">
                <a:xfrm>
                  <a:off x="5605463" y="1495425"/>
                  <a:ext cx="22225" cy="57150"/>
                </a:xfrm>
                <a:custGeom>
                  <a:avLst/>
                  <a:gdLst>
                    <a:gd name="T0" fmla="*/ 7 w 7"/>
                    <a:gd name="T1" fmla="*/ 1 h 18"/>
                    <a:gd name="T2" fmla="*/ 5 w 7"/>
                    <a:gd name="T3" fmla="*/ 0 h 18"/>
                    <a:gd name="T4" fmla="*/ 2 w 7"/>
                    <a:gd name="T5" fmla="*/ 0 h 18"/>
                    <a:gd name="T6" fmla="*/ 1 w 7"/>
                    <a:gd name="T7" fmla="*/ 1 h 18"/>
                    <a:gd name="T8" fmla="*/ 0 w 7"/>
                    <a:gd name="T9" fmla="*/ 3 h 18"/>
                    <a:gd name="T10" fmla="*/ 2 w 7"/>
                    <a:gd name="T11" fmla="*/ 5 h 18"/>
                    <a:gd name="T12" fmla="*/ 1 w 7"/>
                    <a:gd name="T13" fmla="*/ 13 h 18"/>
                    <a:gd name="T14" fmla="*/ 3 w 7"/>
                    <a:gd name="T15" fmla="*/ 18 h 18"/>
                    <a:gd name="T16" fmla="*/ 4 w 7"/>
                    <a:gd name="T17" fmla="*/ 18 h 18"/>
                    <a:gd name="T18" fmla="*/ 6 w 7"/>
                    <a:gd name="T19" fmla="*/ 13 h 18"/>
                    <a:gd name="T20" fmla="*/ 5 w 7"/>
                    <a:gd name="T21" fmla="*/ 5 h 18"/>
                    <a:gd name="T22" fmla="*/ 7 w 7"/>
                    <a:gd name="T23" fmla="*/ 3 h 18"/>
                    <a:gd name="T24" fmla="*/ 7 w 7"/>
                    <a:gd name="T25" fmla="*/ 1 h 18"/>
                    <a:gd name="T26" fmla="*/ 7 w 7"/>
                    <a:gd name="T27" fmla="*/ 1 h 18"/>
                    <a:gd name="T28" fmla="*/ 7 w 7"/>
                    <a:gd name="T29"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 h="18">
                      <a:moveTo>
                        <a:pt x="7" y="1"/>
                      </a:moveTo>
                      <a:cubicBezTo>
                        <a:pt x="6" y="0"/>
                        <a:pt x="6" y="0"/>
                        <a:pt x="5" y="0"/>
                      </a:cubicBezTo>
                      <a:cubicBezTo>
                        <a:pt x="2" y="0"/>
                        <a:pt x="2" y="0"/>
                        <a:pt x="2" y="0"/>
                      </a:cubicBezTo>
                      <a:cubicBezTo>
                        <a:pt x="1" y="0"/>
                        <a:pt x="1" y="0"/>
                        <a:pt x="1" y="1"/>
                      </a:cubicBezTo>
                      <a:cubicBezTo>
                        <a:pt x="0" y="1"/>
                        <a:pt x="0" y="2"/>
                        <a:pt x="0" y="3"/>
                      </a:cubicBezTo>
                      <a:cubicBezTo>
                        <a:pt x="2" y="5"/>
                        <a:pt x="2" y="5"/>
                        <a:pt x="2" y="5"/>
                      </a:cubicBezTo>
                      <a:cubicBezTo>
                        <a:pt x="1" y="13"/>
                        <a:pt x="1" y="13"/>
                        <a:pt x="1" y="13"/>
                      </a:cubicBezTo>
                      <a:cubicBezTo>
                        <a:pt x="3" y="18"/>
                        <a:pt x="3" y="18"/>
                        <a:pt x="3" y="18"/>
                      </a:cubicBezTo>
                      <a:cubicBezTo>
                        <a:pt x="3" y="18"/>
                        <a:pt x="4" y="18"/>
                        <a:pt x="4" y="18"/>
                      </a:cubicBezTo>
                      <a:cubicBezTo>
                        <a:pt x="6" y="13"/>
                        <a:pt x="6" y="13"/>
                        <a:pt x="6" y="13"/>
                      </a:cubicBezTo>
                      <a:cubicBezTo>
                        <a:pt x="5" y="5"/>
                        <a:pt x="5" y="5"/>
                        <a:pt x="5" y="5"/>
                      </a:cubicBezTo>
                      <a:cubicBezTo>
                        <a:pt x="7" y="3"/>
                        <a:pt x="7" y="3"/>
                        <a:pt x="7" y="3"/>
                      </a:cubicBezTo>
                      <a:cubicBezTo>
                        <a:pt x="7" y="2"/>
                        <a:pt x="7" y="1"/>
                        <a:pt x="7" y="1"/>
                      </a:cubicBezTo>
                      <a:close/>
                      <a:moveTo>
                        <a:pt x="7" y="1"/>
                      </a:moveTo>
                      <a:cubicBezTo>
                        <a:pt x="7" y="1"/>
                        <a:pt x="7" y="1"/>
                        <a:pt x="7"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grpSp>
        <p:grpSp>
          <p:nvGrpSpPr>
            <p:cNvPr id="10" name="Group 2">
              <a:extLst>
                <a:ext uri="{FF2B5EF4-FFF2-40B4-BE49-F238E27FC236}">
                  <a16:creationId xmlns:a16="http://schemas.microsoft.com/office/drawing/2014/main" id="{8F796BAC-4EBD-40F8-80AE-24C1CAB07550}"/>
                </a:ext>
              </a:extLst>
            </p:cNvPr>
            <p:cNvGrpSpPr/>
            <p:nvPr/>
          </p:nvGrpSpPr>
          <p:grpSpPr>
            <a:xfrm>
              <a:off x="3848101" y="4096075"/>
              <a:ext cx="1645482" cy="1634616"/>
              <a:chOff x="3848101" y="4096075"/>
              <a:chExt cx="1645482" cy="1634616"/>
            </a:xfrm>
          </p:grpSpPr>
          <p:sp>
            <p:nvSpPr>
              <p:cNvPr id="11" name="Freeform 11">
                <a:extLst>
                  <a:ext uri="{FF2B5EF4-FFF2-40B4-BE49-F238E27FC236}">
                    <a16:creationId xmlns:a16="http://schemas.microsoft.com/office/drawing/2014/main" id="{D697FCDA-4777-4E97-99DD-E01C7F68CBCF}"/>
                  </a:ext>
                </a:extLst>
              </p:cNvPr>
              <p:cNvSpPr>
                <a:spLocks/>
              </p:cNvSpPr>
              <p:nvPr/>
            </p:nvSpPr>
            <p:spPr bwMode="auto">
              <a:xfrm>
                <a:off x="3848101" y="4096075"/>
                <a:ext cx="1645482" cy="1634616"/>
              </a:xfrm>
              <a:custGeom>
                <a:avLst/>
                <a:gdLst>
                  <a:gd name="T0" fmla="*/ 905 w 908"/>
                  <a:gd name="T1" fmla="*/ 709 h 903"/>
                  <a:gd name="T2" fmla="*/ 855 w 908"/>
                  <a:gd name="T3" fmla="*/ 606 h 903"/>
                  <a:gd name="T4" fmla="*/ 882 w 908"/>
                  <a:gd name="T5" fmla="*/ 488 h 903"/>
                  <a:gd name="T6" fmla="*/ 902 w 908"/>
                  <a:gd name="T7" fmla="*/ 386 h 903"/>
                  <a:gd name="T8" fmla="*/ 865 w 908"/>
                  <a:gd name="T9" fmla="*/ 329 h 903"/>
                  <a:gd name="T10" fmla="*/ 807 w 908"/>
                  <a:gd name="T11" fmla="*/ 116 h 903"/>
                  <a:gd name="T12" fmla="*/ 636 w 908"/>
                  <a:gd name="T13" fmla="*/ 131 h 903"/>
                  <a:gd name="T14" fmla="*/ 552 w 908"/>
                  <a:gd name="T15" fmla="*/ 55 h 903"/>
                  <a:gd name="T16" fmla="*/ 471 w 908"/>
                  <a:gd name="T17" fmla="*/ 66 h 903"/>
                  <a:gd name="T18" fmla="*/ 388 w 908"/>
                  <a:gd name="T19" fmla="*/ 50 h 903"/>
                  <a:gd name="T20" fmla="*/ 234 w 908"/>
                  <a:gd name="T21" fmla="*/ 36 h 903"/>
                  <a:gd name="T22" fmla="*/ 192 w 908"/>
                  <a:gd name="T23" fmla="*/ 167 h 903"/>
                  <a:gd name="T24" fmla="*/ 89 w 908"/>
                  <a:gd name="T25" fmla="*/ 255 h 903"/>
                  <a:gd name="T26" fmla="*/ 79 w 908"/>
                  <a:gd name="T27" fmla="*/ 384 h 903"/>
                  <a:gd name="T28" fmla="*/ 40 w 908"/>
                  <a:gd name="T29" fmla="*/ 578 h 903"/>
                  <a:gd name="T30" fmla="*/ 53 w 908"/>
                  <a:gd name="T31" fmla="*/ 640 h 903"/>
                  <a:gd name="T32" fmla="*/ 109 w 908"/>
                  <a:gd name="T33" fmla="*/ 751 h 903"/>
                  <a:gd name="T34" fmla="*/ 268 w 908"/>
                  <a:gd name="T35" fmla="*/ 893 h 903"/>
                  <a:gd name="T36" fmla="*/ 448 w 908"/>
                  <a:gd name="T37" fmla="*/ 815 h 903"/>
                  <a:gd name="T38" fmla="*/ 544 w 908"/>
                  <a:gd name="T39" fmla="*/ 835 h 903"/>
                  <a:gd name="T40" fmla="*/ 613 w 908"/>
                  <a:gd name="T41" fmla="*/ 886 h 903"/>
                  <a:gd name="T42" fmla="*/ 680 w 908"/>
                  <a:gd name="T43" fmla="*/ 857 h 903"/>
                  <a:gd name="T44" fmla="*/ 744 w 908"/>
                  <a:gd name="T45" fmla="*/ 843 h 903"/>
                  <a:gd name="T46" fmla="*/ 858 w 908"/>
                  <a:gd name="T47" fmla="*/ 812 h 903"/>
                  <a:gd name="T48" fmla="*/ 905 w 908"/>
                  <a:gd name="T49" fmla="*/ 709 h 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08" h="903">
                    <a:moveTo>
                      <a:pt x="905" y="709"/>
                    </a:moveTo>
                    <a:cubicBezTo>
                      <a:pt x="904" y="667"/>
                      <a:pt x="886" y="626"/>
                      <a:pt x="855" y="606"/>
                    </a:cubicBezTo>
                    <a:cubicBezTo>
                      <a:pt x="889" y="583"/>
                      <a:pt x="902" y="528"/>
                      <a:pt x="882" y="488"/>
                    </a:cubicBezTo>
                    <a:cubicBezTo>
                      <a:pt x="895" y="456"/>
                      <a:pt x="908" y="422"/>
                      <a:pt x="902" y="386"/>
                    </a:cubicBezTo>
                    <a:cubicBezTo>
                      <a:pt x="898" y="361"/>
                      <a:pt x="885" y="339"/>
                      <a:pt x="865" y="329"/>
                    </a:cubicBezTo>
                    <a:cubicBezTo>
                      <a:pt x="884" y="253"/>
                      <a:pt x="865" y="162"/>
                      <a:pt x="807" y="116"/>
                    </a:cubicBezTo>
                    <a:cubicBezTo>
                      <a:pt x="756" y="75"/>
                      <a:pt x="681" y="79"/>
                      <a:pt x="636" y="131"/>
                    </a:cubicBezTo>
                    <a:cubicBezTo>
                      <a:pt x="613" y="100"/>
                      <a:pt x="587" y="69"/>
                      <a:pt x="552" y="55"/>
                    </a:cubicBezTo>
                    <a:cubicBezTo>
                      <a:pt x="525" y="44"/>
                      <a:pt x="494" y="46"/>
                      <a:pt x="471" y="66"/>
                    </a:cubicBezTo>
                    <a:cubicBezTo>
                      <a:pt x="449" y="40"/>
                      <a:pt x="415" y="34"/>
                      <a:pt x="388" y="50"/>
                    </a:cubicBezTo>
                    <a:cubicBezTo>
                      <a:pt x="344" y="17"/>
                      <a:pt x="281" y="0"/>
                      <a:pt x="234" y="36"/>
                    </a:cubicBezTo>
                    <a:cubicBezTo>
                      <a:pt x="198" y="64"/>
                      <a:pt x="177" y="119"/>
                      <a:pt x="192" y="167"/>
                    </a:cubicBezTo>
                    <a:cubicBezTo>
                      <a:pt x="152" y="186"/>
                      <a:pt x="113" y="212"/>
                      <a:pt x="89" y="255"/>
                    </a:cubicBezTo>
                    <a:cubicBezTo>
                      <a:pt x="68" y="293"/>
                      <a:pt x="62" y="343"/>
                      <a:pt x="79" y="384"/>
                    </a:cubicBezTo>
                    <a:cubicBezTo>
                      <a:pt x="20" y="418"/>
                      <a:pt x="0" y="517"/>
                      <a:pt x="40" y="578"/>
                    </a:cubicBezTo>
                    <a:cubicBezTo>
                      <a:pt x="30" y="599"/>
                      <a:pt x="36" y="627"/>
                      <a:pt x="53" y="640"/>
                    </a:cubicBezTo>
                    <a:cubicBezTo>
                      <a:pt x="40" y="687"/>
                      <a:pt x="66" y="743"/>
                      <a:pt x="109" y="751"/>
                    </a:cubicBezTo>
                    <a:cubicBezTo>
                      <a:pt x="137" y="826"/>
                      <a:pt x="198" y="882"/>
                      <a:pt x="268" y="893"/>
                    </a:cubicBezTo>
                    <a:cubicBezTo>
                      <a:pt x="335" y="903"/>
                      <a:pt x="403" y="873"/>
                      <a:pt x="448" y="815"/>
                    </a:cubicBezTo>
                    <a:cubicBezTo>
                      <a:pt x="468" y="852"/>
                      <a:pt x="510" y="846"/>
                      <a:pt x="544" y="835"/>
                    </a:cubicBezTo>
                    <a:cubicBezTo>
                      <a:pt x="544" y="873"/>
                      <a:pt x="585" y="893"/>
                      <a:pt x="613" y="886"/>
                    </a:cubicBezTo>
                    <a:cubicBezTo>
                      <a:pt x="637" y="881"/>
                      <a:pt x="658" y="866"/>
                      <a:pt x="680" y="857"/>
                    </a:cubicBezTo>
                    <a:cubicBezTo>
                      <a:pt x="701" y="849"/>
                      <a:pt x="722" y="846"/>
                      <a:pt x="744" y="843"/>
                    </a:cubicBezTo>
                    <a:cubicBezTo>
                      <a:pt x="783" y="839"/>
                      <a:pt x="824" y="836"/>
                      <a:pt x="858" y="812"/>
                    </a:cubicBezTo>
                    <a:cubicBezTo>
                      <a:pt x="890" y="790"/>
                      <a:pt x="907" y="752"/>
                      <a:pt x="905" y="709"/>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nvGrpSpPr>
              <p:cNvPr id="12" name="Group 38">
                <a:extLst>
                  <a:ext uri="{FF2B5EF4-FFF2-40B4-BE49-F238E27FC236}">
                    <a16:creationId xmlns:a16="http://schemas.microsoft.com/office/drawing/2014/main" id="{5201B6FC-C693-454B-865D-8486364A3D08}"/>
                  </a:ext>
                </a:extLst>
              </p:cNvPr>
              <p:cNvGrpSpPr/>
              <p:nvPr/>
            </p:nvGrpSpPr>
            <p:grpSpPr>
              <a:xfrm>
                <a:off x="4507330" y="4700658"/>
                <a:ext cx="327025" cy="425450"/>
                <a:chOff x="4548188" y="1316038"/>
                <a:chExt cx="327025" cy="425450"/>
              </a:xfrm>
              <a:solidFill>
                <a:schemeClr val="bg1"/>
              </a:solidFill>
            </p:grpSpPr>
            <p:sp>
              <p:nvSpPr>
                <p:cNvPr id="13" name="Freeform 348">
                  <a:extLst>
                    <a:ext uri="{FF2B5EF4-FFF2-40B4-BE49-F238E27FC236}">
                      <a16:creationId xmlns:a16="http://schemas.microsoft.com/office/drawing/2014/main" id="{3FB43AA0-99AB-48E1-A985-4B4D6BF1E02D}"/>
                    </a:ext>
                  </a:extLst>
                </p:cNvPr>
                <p:cNvSpPr>
                  <a:spLocks noEditPoints="1"/>
                </p:cNvSpPr>
                <p:nvPr/>
              </p:nvSpPr>
              <p:spPr bwMode="auto">
                <a:xfrm>
                  <a:off x="4548188" y="1316038"/>
                  <a:ext cx="327025" cy="354013"/>
                </a:xfrm>
                <a:custGeom>
                  <a:avLst/>
                  <a:gdLst>
                    <a:gd name="T0" fmla="*/ 98 w 101"/>
                    <a:gd name="T1" fmla="*/ 87 h 109"/>
                    <a:gd name="T2" fmla="*/ 68 w 101"/>
                    <a:gd name="T3" fmla="*/ 68 h 109"/>
                    <a:gd name="T4" fmla="*/ 68 w 101"/>
                    <a:gd name="T5" fmla="*/ 67 h 109"/>
                    <a:gd name="T6" fmla="*/ 68 w 101"/>
                    <a:gd name="T7" fmla="*/ 47 h 109"/>
                    <a:gd name="T8" fmla="*/ 72 w 101"/>
                    <a:gd name="T9" fmla="*/ 39 h 109"/>
                    <a:gd name="T10" fmla="*/ 72 w 101"/>
                    <a:gd name="T11" fmla="*/ 19 h 109"/>
                    <a:gd name="T12" fmla="*/ 53 w 101"/>
                    <a:gd name="T13" fmla="*/ 0 h 109"/>
                    <a:gd name="T14" fmla="*/ 49 w 101"/>
                    <a:gd name="T15" fmla="*/ 0 h 109"/>
                    <a:gd name="T16" fmla="*/ 30 w 101"/>
                    <a:gd name="T17" fmla="*/ 19 h 109"/>
                    <a:gd name="T18" fmla="*/ 30 w 101"/>
                    <a:gd name="T19" fmla="*/ 39 h 109"/>
                    <a:gd name="T20" fmla="*/ 34 w 101"/>
                    <a:gd name="T21" fmla="*/ 47 h 109"/>
                    <a:gd name="T22" fmla="*/ 34 w 101"/>
                    <a:gd name="T23" fmla="*/ 67 h 109"/>
                    <a:gd name="T24" fmla="*/ 34 w 101"/>
                    <a:gd name="T25" fmla="*/ 68 h 109"/>
                    <a:gd name="T26" fmla="*/ 4 w 101"/>
                    <a:gd name="T27" fmla="*/ 87 h 109"/>
                    <a:gd name="T28" fmla="*/ 0 w 101"/>
                    <a:gd name="T29" fmla="*/ 95 h 109"/>
                    <a:gd name="T30" fmla="*/ 0 w 101"/>
                    <a:gd name="T31" fmla="*/ 109 h 109"/>
                    <a:gd name="T32" fmla="*/ 23 w 101"/>
                    <a:gd name="T33" fmla="*/ 109 h 109"/>
                    <a:gd name="T34" fmla="*/ 31 w 101"/>
                    <a:gd name="T35" fmla="*/ 89 h 109"/>
                    <a:gd name="T36" fmla="*/ 51 w 101"/>
                    <a:gd name="T37" fmla="*/ 81 h 109"/>
                    <a:gd name="T38" fmla="*/ 70 w 101"/>
                    <a:gd name="T39" fmla="*/ 89 h 109"/>
                    <a:gd name="T40" fmla="*/ 79 w 101"/>
                    <a:gd name="T41" fmla="*/ 109 h 109"/>
                    <a:gd name="T42" fmla="*/ 101 w 101"/>
                    <a:gd name="T43" fmla="*/ 109 h 109"/>
                    <a:gd name="T44" fmla="*/ 101 w 101"/>
                    <a:gd name="T45" fmla="*/ 95 h 109"/>
                    <a:gd name="T46" fmla="*/ 98 w 101"/>
                    <a:gd name="T47" fmla="*/ 87 h 109"/>
                    <a:gd name="T48" fmla="*/ 98 w 101"/>
                    <a:gd name="T49" fmla="*/ 87 h 109"/>
                    <a:gd name="T50" fmla="*/ 98 w 101"/>
                    <a:gd name="T51" fmla="*/ 8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1" h="109">
                      <a:moveTo>
                        <a:pt x="98" y="87"/>
                      </a:moveTo>
                      <a:cubicBezTo>
                        <a:pt x="85" y="76"/>
                        <a:pt x="71" y="69"/>
                        <a:pt x="68" y="68"/>
                      </a:cubicBezTo>
                      <a:cubicBezTo>
                        <a:pt x="68" y="68"/>
                        <a:pt x="68" y="67"/>
                        <a:pt x="68" y="67"/>
                      </a:cubicBezTo>
                      <a:cubicBezTo>
                        <a:pt x="68" y="47"/>
                        <a:pt x="68" y="47"/>
                        <a:pt x="68" y="47"/>
                      </a:cubicBezTo>
                      <a:cubicBezTo>
                        <a:pt x="70" y="45"/>
                        <a:pt x="72" y="43"/>
                        <a:pt x="72" y="39"/>
                      </a:cubicBezTo>
                      <a:cubicBezTo>
                        <a:pt x="72" y="19"/>
                        <a:pt x="72" y="19"/>
                        <a:pt x="72" y="19"/>
                      </a:cubicBezTo>
                      <a:cubicBezTo>
                        <a:pt x="72" y="8"/>
                        <a:pt x="63" y="0"/>
                        <a:pt x="53" y="0"/>
                      </a:cubicBezTo>
                      <a:cubicBezTo>
                        <a:pt x="49" y="0"/>
                        <a:pt x="49" y="0"/>
                        <a:pt x="49" y="0"/>
                      </a:cubicBezTo>
                      <a:cubicBezTo>
                        <a:pt x="38" y="0"/>
                        <a:pt x="30" y="8"/>
                        <a:pt x="30" y="19"/>
                      </a:cubicBezTo>
                      <a:cubicBezTo>
                        <a:pt x="30" y="39"/>
                        <a:pt x="30" y="39"/>
                        <a:pt x="30" y="39"/>
                      </a:cubicBezTo>
                      <a:cubicBezTo>
                        <a:pt x="30" y="43"/>
                        <a:pt x="32" y="45"/>
                        <a:pt x="34" y="47"/>
                      </a:cubicBezTo>
                      <a:cubicBezTo>
                        <a:pt x="34" y="67"/>
                        <a:pt x="34" y="67"/>
                        <a:pt x="34" y="67"/>
                      </a:cubicBezTo>
                      <a:cubicBezTo>
                        <a:pt x="34" y="67"/>
                        <a:pt x="34" y="68"/>
                        <a:pt x="34" y="68"/>
                      </a:cubicBezTo>
                      <a:cubicBezTo>
                        <a:pt x="31" y="69"/>
                        <a:pt x="17" y="76"/>
                        <a:pt x="4" y="87"/>
                      </a:cubicBezTo>
                      <a:cubicBezTo>
                        <a:pt x="2" y="89"/>
                        <a:pt x="0" y="92"/>
                        <a:pt x="0" y="95"/>
                      </a:cubicBezTo>
                      <a:cubicBezTo>
                        <a:pt x="0" y="109"/>
                        <a:pt x="0" y="109"/>
                        <a:pt x="0" y="109"/>
                      </a:cubicBezTo>
                      <a:cubicBezTo>
                        <a:pt x="23" y="109"/>
                        <a:pt x="23" y="109"/>
                        <a:pt x="23" y="109"/>
                      </a:cubicBezTo>
                      <a:cubicBezTo>
                        <a:pt x="23" y="101"/>
                        <a:pt x="26" y="94"/>
                        <a:pt x="31" y="89"/>
                      </a:cubicBezTo>
                      <a:cubicBezTo>
                        <a:pt x="36" y="84"/>
                        <a:pt x="43" y="81"/>
                        <a:pt x="51" y="81"/>
                      </a:cubicBezTo>
                      <a:cubicBezTo>
                        <a:pt x="58" y="81"/>
                        <a:pt x="65" y="84"/>
                        <a:pt x="70" y="89"/>
                      </a:cubicBezTo>
                      <a:cubicBezTo>
                        <a:pt x="76" y="94"/>
                        <a:pt x="79" y="101"/>
                        <a:pt x="79" y="109"/>
                      </a:cubicBezTo>
                      <a:cubicBezTo>
                        <a:pt x="101" y="109"/>
                        <a:pt x="101" y="109"/>
                        <a:pt x="101" y="109"/>
                      </a:cubicBezTo>
                      <a:cubicBezTo>
                        <a:pt x="101" y="95"/>
                        <a:pt x="101" y="95"/>
                        <a:pt x="101" y="95"/>
                      </a:cubicBezTo>
                      <a:cubicBezTo>
                        <a:pt x="101" y="92"/>
                        <a:pt x="100" y="89"/>
                        <a:pt x="98" y="87"/>
                      </a:cubicBezTo>
                      <a:close/>
                      <a:moveTo>
                        <a:pt x="98" y="87"/>
                      </a:moveTo>
                      <a:cubicBezTo>
                        <a:pt x="98" y="87"/>
                        <a:pt x="98" y="87"/>
                        <a:pt x="98" y="8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14" name="Freeform 349">
                  <a:extLst>
                    <a:ext uri="{FF2B5EF4-FFF2-40B4-BE49-F238E27FC236}">
                      <a16:creationId xmlns:a16="http://schemas.microsoft.com/office/drawing/2014/main" id="{506B0F86-A5F1-4874-825E-DD5DB931C6ED}"/>
                    </a:ext>
                  </a:extLst>
                </p:cNvPr>
                <p:cNvSpPr>
                  <a:spLocks noEditPoints="1"/>
                </p:cNvSpPr>
                <p:nvPr/>
              </p:nvSpPr>
              <p:spPr bwMode="auto">
                <a:xfrm>
                  <a:off x="4641850" y="1598613"/>
                  <a:ext cx="142875" cy="142875"/>
                </a:xfrm>
                <a:custGeom>
                  <a:avLst/>
                  <a:gdLst>
                    <a:gd name="T0" fmla="*/ 22 w 44"/>
                    <a:gd name="T1" fmla="*/ 0 h 44"/>
                    <a:gd name="T2" fmla="*/ 0 w 44"/>
                    <a:gd name="T3" fmla="*/ 22 h 44"/>
                    <a:gd name="T4" fmla="*/ 22 w 44"/>
                    <a:gd name="T5" fmla="*/ 44 h 44"/>
                    <a:gd name="T6" fmla="*/ 44 w 44"/>
                    <a:gd name="T7" fmla="*/ 22 h 44"/>
                    <a:gd name="T8" fmla="*/ 22 w 44"/>
                    <a:gd name="T9" fmla="*/ 0 h 44"/>
                    <a:gd name="T10" fmla="*/ 28 w 44"/>
                    <a:gd name="T11" fmla="*/ 31 h 44"/>
                    <a:gd name="T12" fmla="*/ 25 w 44"/>
                    <a:gd name="T13" fmla="*/ 33 h 44"/>
                    <a:gd name="T14" fmla="*/ 24 w 44"/>
                    <a:gd name="T15" fmla="*/ 34 h 44"/>
                    <a:gd name="T16" fmla="*/ 24 w 44"/>
                    <a:gd name="T17" fmla="*/ 36 h 44"/>
                    <a:gd name="T18" fmla="*/ 23 w 44"/>
                    <a:gd name="T19" fmla="*/ 37 h 44"/>
                    <a:gd name="T20" fmla="*/ 21 w 44"/>
                    <a:gd name="T21" fmla="*/ 37 h 44"/>
                    <a:gd name="T22" fmla="*/ 20 w 44"/>
                    <a:gd name="T23" fmla="*/ 36 h 44"/>
                    <a:gd name="T24" fmla="*/ 20 w 44"/>
                    <a:gd name="T25" fmla="*/ 35 h 44"/>
                    <a:gd name="T26" fmla="*/ 19 w 44"/>
                    <a:gd name="T27" fmla="*/ 34 h 44"/>
                    <a:gd name="T28" fmla="*/ 15 w 44"/>
                    <a:gd name="T29" fmla="*/ 33 h 44"/>
                    <a:gd name="T30" fmla="*/ 14 w 44"/>
                    <a:gd name="T31" fmla="*/ 31 h 44"/>
                    <a:gd name="T32" fmla="*/ 15 w 44"/>
                    <a:gd name="T33" fmla="*/ 29 h 44"/>
                    <a:gd name="T34" fmla="*/ 16 w 44"/>
                    <a:gd name="T35" fmla="*/ 28 h 44"/>
                    <a:gd name="T36" fmla="*/ 20 w 44"/>
                    <a:gd name="T37" fmla="*/ 29 h 44"/>
                    <a:gd name="T38" fmla="*/ 23 w 44"/>
                    <a:gd name="T39" fmla="*/ 29 h 44"/>
                    <a:gd name="T40" fmla="*/ 23 w 44"/>
                    <a:gd name="T41" fmla="*/ 25 h 44"/>
                    <a:gd name="T42" fmla="*/ 22 w 44"/>
                    <a:gd name="T43" fmla="*/ 24 h 44"/>
                    <a:gd name="T44" fmla="*/ 17 w 44"/>
                    <a:gd name="T45" fmla="*/ 22 h 44"/>
                    <a:gd name="T46" fmla="*/ 14 w 44"/>
                    <a:gd name="T47" fmla="*/ 16 h 44"/>
                    <a:gd name="T48" fmla="*/ 19 w 44"/>
                    <a:gd name="T49" fmla="*/ 10 h 44"/>
                    <a:gd name="T50" fmla="*/ 20 w 44"/>
                    <a:gd name="T51" fmla="*/ 9 h 44"/>
                    <a:gd name="T52" fmla="*/ 20 w 44"/>
                    <a:gd name="T53" fmla="*/ 7 h 44"/>
                    <a:gd name="T54" fmla="*/ 21 w 44"/>
                    <a:gd name="T55" fmla="*/ 6 h 44"/>
                    <a:gd name="T56" fmla="*/ 22 w 44"/>
                    <a:gd name="T57" fmla="*/ 6 h 44"/>
                    <a:gd name="T58" fmla="*/ 24 w 44"/>
                    <a:gd name="T59" fmla="*/ 8 h 44"/>
                    <a:gd name="T60" fmla="*/ 25 w 44"/>
                    <a:gd name="T61" fmla="*/ 10 h 44"/>
                    <a:gd name="T62" fmla="*/ 28 w 44"/>
                    <a:gd name="T63" fmla="*/ 11 h 44"/>
                    <a:gd name="T64" fmla="*/ 29 w 44"/>
                    <a:gd name="T65" fmla="*/ 12 h 44"/>
                    <a:gd name="T66" fmla="*/ 28 w 44"/>
                    <a:gd name="T67" fmla="*/ 14 h 44"/>
                    <a:gd name="T68" fmla="*/ 27 w 44"/>
                    <a:gd name="T69" fmla="*/ 15 h 44"/>
                    <a:gd name="T70" fmla="*/ 22 w 44"/>
                    <a:gd name="T71" fmla="*/ 14 h 44"/>
                    <a:gd name="T72" fmla="*/ 21 w 44"/>
                    <a:gd name="T73" fmla="*/ 14 h 44"/>
                    <a:gd name="T74" fmla="*/ 20 w 44"/>
                    <a:gd name="T75" fmla="*/ 18 h 44"/>
                    <a:gd name="T76" fmla="*/ 22 w 44"/>
                    <a:gd name="T77" fmla="*/ 19 h 44"/>
                    <a:gd name="T78" fmla="*/ 26 w 44"/>
                    <a:gd name="T79" fmla="*/ 20 h 44"/>
                    <a:gd name="T80" fmla="*/ 28 w 44"/>
                    <a:gd name="T81" fmla="*/ 31 h 44"/>
                    <a:gd name="T82" fmla="*/ 28 w 44"/>
                    <a:gd name="T83" fmla="*/ 31 h 44"/>
                    <a:gd name="T84" fmla="*/ 28 w 44"/>
                    <a:gd name="T85" fmla="*/ 31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4" h="44">
                      <a:moveTo>
                        <a:pt x="22" y="0"/>
                      </a:moveTo>
                      <a:cubicBezTo>
                        <a:pt x="10" y="0"/>
                        <a:pt x="0" y="10"/>
                        <a:pt x="0" y="22"/>
                      </a:cubicBezTo>
                      <a:cubicBezTo>
                        <a:pt x="0" y="34"/>
                        <a:pt x="10" y="44"/>
                        <a:pt x="22" y="44"/>
                      </a:cubicBezTo>
                      <a:cubicBezTo>
                        <a:pt x="34" y="44"/>
                        <a:pt x="44" y="34"/>
                        <a:pt x="44" y="22"/>
                      </a:cubicBezTo>
                      <a:cubicBezTo>
                        <a:pt x="44" y="10"/>
                        <a:pt x="34" y="0"/>
                        <a:pt x="22" y="0"/>
                      </a:cubicBezTo>
                      <a:close/>
                      <a:moveTo>
                        <a:pt x="28" y="31"/>
                      </a:moveTo>
                      <a:cubicBezTo>
                        <a:pt x="27" y="32"/>
                        <a:pt x="26" y="33"/>
                        <a:pt x="25" y="33"/>
                      </a:cubicBezTo>
                      <a:cubicBezTo>
                        <a:pt x="24" y="33"/>
                        <a:pt x="24" y="34"/>
                        <a:pt x="24" y="34"/>
                      </a:cubicBezTo>
                      <a:cubicBezTo>
                        <a:pt x="24" y="35"/>
                        <a:pt x="24" y="36"/>
                        <a:pt x="24" y="36"/>
                      </a:cubicBezTo>
                      <a:cubicBezTo>
                        <a:pt x="24" y="37"/>
                        <a:pt x="23" y="37"/>
                        <a:pt x="23" y="37"/>
                      </a:cubicBezTo>
                      <a:cubicBezTo>
                        <a:pt x="22" y="37"/>
                        <a:pt x="21" y="37"/>
                        <a:pt x="21" y="37"/>
                      </a:cubicBezTo>
                      <a:cubicBezTo>
                        <a:pt x="20" y="37"/>
                        <a:pt x="20" y="37"/>
                        <a:pt x="20" y="36"/>
                      </a:cubicBezTo>
                      <a:cubicBezTo>
                        <a:pt x="20" y="36"/>
                        <a:pt x="20" y="35"/>
                        <a:pt x="20" y="35"/>
                      </a:cubicBezTo>
                      <a:cubicBezTo>
                        <a:pt x="20" y="34"/>
                        <a:pt x="20" y="34"/>
                        <a:pt x="19" y="34"/>
                      </a:cubicBezTo>
                      <a:cubicBezTo>
                        <a:pt x="17" y="33"/>
                        <a:pt x="16" y="33"/>
                        <a:pt x="15" y="33"/>
                      </a:cubicBezTo>
                      <a:cubicBezTo>
                        <a:pt x="14" y="32"/>
                        <a:pt x="14" y="32"/>
                        <a:pt x="14" y="31"/>
                      </a:cubicBezTo>
                      <a:cubicBezTo>
                        <a:pt x="14" y="30"/>
                        <a:pt x="14" y="29"/>
                        <a:pt x="15" y="29"/>
                      </a:cubicBezTo>
                      <a:cubicBezTo>
                        <a:pt x="15" y="28"/>
                        <a:pt x="15" y="28"/>
                        <a:pt x="16" y="28"/>
                      </a:cubicBezTo>
                      <a:cubicBezTo>
                        <a:pt x="17" y="29"/>
                        <a:pt x="19" y="29"/>
                        <a:pt x="20" y="29"/>
                      </a:cubicBezTo>
                      <a:cubicBezTo>
                        <a:pt x="21" y="29"/>
                        <a:pt x="22" y="29"/>
                        <a:pt x="23" y="29"/>
                      </a:cubicBezTo>
                      <a:cubicBezTo>
                        <a:pt x="25" y="28"/>
                        <a:pt x="25" y="26"/>
                        <a:pt x="23" y="25"/>
                      </a:cubicBezTo>
                      <a:cubicBezTo>
                        <a:pt x="23" y="25"/>
                        <a:pt x="22" y="24"/>
                        <a:pt x="22" y="24"/>
                      </a:cubicBezTo>
                      <a:cubicBezTo>
                        <a:pt x="20" y="24"/>
                        <a:pt x="19" y="23"/>
                        <a:pt x="17" y="22"/>
                      </a:cubicBezTo>
                      <a:cubicBezTo>
                        <a:pt x="15" y="21"/>
                        <a:pt x="14" y="19"/>
                        <a:pt x="14" y="16"/>
                      </a:cubicBezTo>
                      <a:cubicBezTo>
                        <a:pt x="14" y="13"/>
                        <a:pt x="16" y="11"/>
                        <a:pt x="19" y="10"/>
                      </a:cubicBezTo>
                      <a:cubicBezTo>
                        <a:pt x="20" y="10"/>
                        <a:pt x="20" y="10"/>
                        <a:pt x="20" y="9"/>
                      </a:cubicBezTo>
                      <a:cubicBezTo>
                        <a:pt x="20" y="7"/>
                        <a:pt x="20" y="7"/>
                        <a:pt x="20" y="7"/>
                      </a:cubicBezTo>
                      <a:cubicBezTo>
                        <a:pt x="20" y="7"/>
                        <a:pt x="20" y="6"/>
                        <a:pt x="21" y="6"/>
                      </a:cubicBezTo>
                      <a:cubicBezTo>
                        <a:pt x="22" y="6"/>
                        <a:pt x="22" y="6"/>
                        <a:pt x="22" y="6"/>
                      </a:cubicBezTo>
                      <a:cubicBezTo>
                        <a:pt x="24" y="6"/>
                        <a:pt x="24" y="6"/>
                        <a:pt x="24" y="8"/>
                      </a:cubicBezTo>
                      <a:cubicBezTo>
                        <a:pt x="24" y="10"/>
                        <a:pt x="24" y="10"/>
                        <a:pt x="25" y="10"/>
                      </a:cubicBezTo>
                      <a:cubicBezTo>
                        <a:pt x="26" y="10"/>
                        <a:pt x="27" y="10"/>
                        <a:pt x="28" y="11"/>
                      </a:cubicBezTo>
                      <a:cubicBezTo>
                        <a:pt x="29" y="11"/>
                        <a:pt x="29" y="11"/>
                        <a:pt x="29" y="12"/>
                      </a:cubicBezTo>
                      <a:cubicBezTo>
                        <a:pt x="29" y="13"/>
                        <a:pt x="28" y="14"/>
                        <a:pt x="28" y="14"/>
                      </a:cubicBezTo>
                      <a:cubicBezTo>
                        <a:pt x="28" y="15"/>
                        <a:pt x="28" y="15"/>
                        <a:pt x="27" y="15"/>
                      </a:cubicBezTo>
                      <a:cubicBezTo>
                        <a:pt x="25" y="14"/>
                        <a:pt x="24" y="14"/>
                        <a:pt x="22" y="14"/>
                      </a:cubicBezTo>
                      <a:cubicBezTo>
                        <a:pt x="22" y="14"/>
                        <a:pt x="21" y="14"/>
                        <a:pt x="21" y="14"/>
                      </a:cubicBezTo>
                      <a:cubicBezTo>
                        <a:pt x="19" y="15"/>
                        <a:pt x="19" y="17"/>
                        <a:pt x="20" y="18"/>
                      </a:cubicBezTo>
                      <a:cubicBezTo>
                        <a:pt x="21" y="18"/>
                        <a:pt x="22" y="18"/>
                        <a:pt x="22" y="19"/>
                      </a:cubicBezTo>
                      <a:cubicBezTo>
                        <a:pt x="24" y="19"/>
                        <a:pt x="25" y="20"/>
                        <a:pt x="26" y="20"/>
                      </a:cubicBezTo>
                      <a:cubicBezTo>
                        <a:pt x="30" y="23"/>
                        <a:pt x="31" y="28"/>
                        <a:pt x="28" y="31"/>
                      </a:cubicBezTo>
                      <a:close/>
                      <a:moveTo>
                        <a:pt x="28" y="31"/>
                      </a:moveTo>
                      <a:cubicBezTo>
                        <a:pt x="28" y="31"/>
                        <a:pt x="28" y="31"/>
                        <a:pt x="28" y="3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grpSp>
      </p:grpSp>
      <p:sp>
        <p:nvSpPr>
          <p:cNvPr id="39" name="Rectangle 41">
            <a:extLst>
              <a:ext uri="{FF2B5EF4-FFF2-40B4-BE49-F238E27FC236}">
                <a16:creationId xmlns:a16="http://schemas.microsoft.com/office/drawing/2014/main" id="{D97B45F3-9135-46A6-8C83-F6DF82E39C54}"/>
              </a:ext>
            </a:extLst>
          </p:cNvPr>
          <p:cNvSpPr/>
          <p:nvPr/>
        </p:nvSpPr>
        <p:spPr>
          <a:xfrm>
            <a:off x="7868755" y="2653638"/>
            <a:ext cx="2485879" cy="827021"/>
          </a:xfrm>
          <a:prstGeom prst="rect">
            <a:avLst/>
          </a:prstGeom>
        </p:spPr>
        <p:txBody>
          <a:bodyPr wrap="square">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FFFFF">
                    <a:lumMod val="65000"/>
                  </a:srgbClr>
                </a:solidFill>
                <a:effectLst/>
                <a:uLnTx/>
                <a:uFillTx/>
                <a:latin typeface="等线" panose="020F0502020204030204"/>
                <a:ea typeface="+mn-ea"/>
                <a:cs typeface="+mn-cs"/>
              </a:rPr>
              <a:t>Lorem Ipsum is simply dummy text of the printing and typesetting industry. </a:t>
            </a:r>
          </a:p>
        </p:txBody>
      </p:sp>
      <p:sp>
        <p:nvSpPr>
          <p:cNvPr id="40" name="TextBox 42">
            <a:extLst>
              <a:ext uri="{FF2B5EF4-FFF2-40B4-BE49-F238E27FC236}">
                <a16:creationId xmlns:a16="http://schemas.microsoft.com/office/drawing/2014/main" id="{48E69A54-E7F1-429D-B726-45DD73FBD587}"/>
              </a:ext>
            </a:extLst>
          </p:cNvPr>
          <p:cNvSpPr txBox="1"/>
          <p:nvPr/>
        </p:nvSpPr>
        <p:spPr>
          <a:xfrm>
            <a:off x="7868755" y="2309017"/>
            <a:ext cx="2170359"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lumMod val="85000"/>
                    <a:lumOff val="15000"/>
                  </a:srgbClr>
                </a:solidFill>
                <a:effectLst/>
                <a:uLnTx/>
                <a:uFillTx/>
                <a:latin typeface="等线 Light" panose="020F0302020204030204"/>
                <a:ea typeface="+mn-ea"/>
                <a:cs typeface="+mn-cs"/>
              </a:rPr>
              <a:t>Step One</a:t>
            </a:r>
          </a:p>
        </p:txBody>
      </p:sp>
      <p:sp>
        <p:nvSpPr>
          <p:cNvPr id="41" name="Rectangle 43">
            <a:extLst>
              <a:ext uri="{FF2B5EF4-FFF2-40B4-BE49-F238E27FC236}">
                <a16:creationId xmlns:a16="http://schemas.microsoft.com/office/drawing/2014/main" id="{B986DC08-58A4-44AE-947B-CF1AB93858EB}"/>
              </a:ext>
            </a:extLst>
          </p:cNvPr>
          <p:cNvSpPr/>
          <p:nvPr/>
        </p:nvSpPr>
        <p:spPr>
          <a:xfrm>
            <a:off x="8849341" y="4449782"/>
            <a:ext cx="2485879" cy="827021"/>
          </a:xfrm>
          <a:prstGeom prst="rect">
            <a:avLst/>
          </a:prstGeom>
        </p:spPr>
        <p:txBody>
          <a:bodyPr wrap="square">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FFFFF">
                    <a:lumMod val="65000"/>
                  </a:srgbClr>
                </a:solidFill>
                <a:effectLst/>
                <a:uLnTx/>
                <a:uFillTx/>
                <a:latin typeface="等线" panose="020F0502020204030204"/>
                <a:ea typeface="+mn-ea"/>
                <a:cs typeface="+mn-cs"/>
              </a:rPr>
              <a:t>Lorem Ipsum is simply dummy text of the printing and typesetting industry</a:t>
            </a:r>
          </a:p>
        </p:txBody>
      </p:sp>
      <p:sp>
        <p:nvSpPr>
          <p:cNvPr id="42" name="TextBox 44">
            <a:extLst>
              <a:ext uri="{FF2B5EF4-FFF2-40B4-BE49-F238E27FC236}">
                <a16:creationId xmlns:a16="http://schemas.microsoft.com/office/drawing/2014/main" id="{6DE1EF26-C5CC-42C5-B0A6-F9DAE0B275FD}"/>
              </a:ext>
            </a:extLst>
          </p:cNvPr>
          <p:cNvSpPr txBox="1"/>
          <p:nvPr/>
        </p:nvSpPr>
        <p:spPr>
          <a:xfrm>
            <a:off x="8849341" y="4122486"/>
            <a:ext cx="2170359"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lumMod val="85000"/>
                    <a:lumOff val="15000"/>
                  </a:srgbClr>
                </a:solidFill>
                <a:effectLst/>
                <a:uLnTx/>
                <a:uFillTx/>
                <a:latin typeface="等线 Light" panose="020F0302020204030204"/>
                <a:ea typeface="+mn-ea"/>
                <a:cs typeface="+mn-cs"/>
              </a:rPr>
              <a:t>Step Two</a:t>
            </a:r>
          </a:p>
        </p:txBody>
      </p:sp>
      <p:sp>
        <p:nvSpPr>
          <p:cNvPr id="43" name="Rectangle 45">
            <a:extLst>
              <a:ext uri="{FF2B5EF4-FFF2-40B4-BE49-F238E27FC236}">
                <a16:creationId xmlns:a16="http://schemas.microsoft.com/office/drawing/2014/main" id="{28417BE8-FF90-480C-A68A-22CA3F696294}"/>
              </a:ext>
            </a:extLst>
          </p:cNvPr>
          <p:cNvSpPr/>
          <p:nvPr/>
        </p:nvSpPr>
        <p:spPr>
          <a:xfrm>
            <a:off x="1143895" y="2653638"/>
            <a:ext cx="2485879" cy="827021"/>
          </a:xfrm>
          <a:prstGeom prst="rect">
            <a:avLst/>
          </a:prstGeom>
        </p:spPr>
        <p:txBody>
          <a:bodyPr wrap="square">
            <a:spAutoFit/>
          </a:bodyPr>
          <a:lstStyle/>
          <a:p>
            <a:pPr marL="0" marR="0" lvl="0" indent="0" algn="r" defTabSz="914400" rtl="0" eaLnBrk="1" fontAlgn="auto" latinLnBrk="0" hangingPunct="1">
              <a:lnSpc>
                <a:spcPct val="15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FFFFF">
                    <a:lumMod val="65000"/>
                  </a:srgbClr>
                </a:solidFill>
                <a:effectLst/>
                <a:uLnTx/>
                <a:uFillTx/>
                <a:latin typeface="等线" panose="020F0502020204030204"/>
                <a:ea typeface="+mn-ea"/>
                <a:cs typeface="+mn-cs"/>
              </a:rPr>
              <a:t>Lorem Ipsum is simply dummy text of the printing and typesetting industry. </a:t>
            </a:r>
          </a:p>
        </p:txBody>
      </p:sp>
      <p:sp>
        <p:nvSpPr>
          <p:cNvPr id="44" name="TextBox 46">
            <a:extLst>
              <a:ext uri="{FF2B5EF4-FFF2-40B4-BE49-F238E27FC236}">
                <a16:creationId xmlns:a16="http://schemas.microsoft.com/office/drawing/2014/main" id="{0E438957-F1E7-48BD-907B-EFDD446C2E2E}"/>
              </a:ext>
            </a:extLst>
          </p:cNvPr>
          <p:cNvSpPr txBox="1"/>
          <p:nvPr/>
        </p:nvSpPr>
        <p:spPr>
          <a:xfrm>
            <a:off x="1459415" y="2309017"/>
            <a:ext cx="2170359" cy="307777"/>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lumMod val="85000"/>
                    <a:lumOff val="15000"/>
                  </a:srgbClr>
                </a:solidFill>
                <a:effectLst/>
                <a:uLnTx/>
                <a:uFillTx/>
                <a:latin typeface="等线 Light" panose="020F0302020204030204"/>
                <a:ea typeface="+mn-ea"/>
                <a:cs typeface="+mn-cs"/>
              </a:rPr>
              <a:t>Step One</a:t>
            </a:r>
          </a:p>
        </p:txBody>
      </p:sp>
      <p:sp>
        <p:nvSpPr>
          <p:cNvPr id="45" name="Rectangle 47">
            <a:extLst>
              <a:ext uri="{FF2B5EF4-FFF2-40B4-BE49-F238E27FC236}">
                <a16:creationId xmlns:a16="http://schemas.microsoft.com/office/drawing/2014/main" id="{3AC1F64B-56F7-4338-B74B-066304C837FF}"/>
              </a:ext>
            </a:extLst>
          </p:cNvPr>
          <p:cNvSpPr/>
          <p:nvPr/>
        </p:nvSpPr>
        <p:spPr>
          <a:xfrm>
            <a:off x="923839" y="4449782"/>
            <a:ext cx="2485879" cy="827021"/>
          </a:xfrm>
          <a:prstGeom prst="rect">
            <a:avLst/>
          </a:prstGeom>
        </p:spPr>
        <p:txBody>
          <a:bodyPr wrap="square">
            <a:spAutoFit/>
          </a:bodyPr>
          <a:lstStyle/>
          <a:p>
            <a:pPr marL="0" marR="0" lvl="0" indent="0" algn="r" defTabSz="914400" rtl="0" eaLnBrk="1" fontAlgn="auto" latinLnBrk="0" hangingPunct="1">
              <a:lnSpc>
                <a:spcPct val="15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FFFFF">
                    <a:lumMod val="65000"/>
                  </a:srgbClr>
                </a:solidFill>
                <a:effectLst/>
                <a:uLnTx/>
                <a:uFillTx/>
                <a:latin typeface="等线" panose="020F0502020204030204"/>
                <a:ea typeface="+mn-ea"/>
                <a:cs typeface="+mn-cs"/>
              </a:rPr>
              <a:t>Lorem Ipsum is simply dummy text of the printing and typesetting industry</a:t>
            </a:r>
          </a:p>
        </p:txBody>
      </p:sp>
      <p:sp>
        <p:nvSpPr>
          <p:cNvPr id="46" name="TextBox 48">
            <a:extLst>
              <a:ext uri="{FF2B5EF4-FFF2-40B4-BE49-F238E27FC236}">
                <a16:creationId xmlns:a16="http://schemas.microsoft.com/office/drawing/2014/main" id="{D60A4EA5-19BE-4DD6-9AB1-B1156D6DCE1B}"/>
              </a:ext>
            </a:extLst>
          </p:cNvPr>
          <p:cNvSpPr txBox="1"/>
          <p:nvPr/>
        </p:nvSpPr>
        <p:spPr>
          <a:xfrm>
            <a:off x="1239359" y="4122486"/>
            <a:ext cx="2170359" cy="307777"/>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lumMod val="85000"/>
                    <a:lumOff val="15000"/>
                  </a:srgbClr>
                </a:solidFill>
                <a:effectLst/>
                <a:uLnTx/>
                <a:uFillTx/>
                <a:latin typeface="等线 Light" panose="020F0302020204030204"/>
                <a:ea typeface="+mn-ea"/>
                <a:cs typeface="+mn-cs"/>
              </a:rPr>
              <a:t>Step Two</a:t>
            </a:r>
          </a:p>
        </p:txBody>
      </p:sp>
    </p:spTree>
    <p:extLst>
      <p:ext uri="{BB962C8B-B14F-4D97-AF65-F5344CB8AC3E}">
        <p14:creationId xmlns:p14="http://schemas.microsoft.com/office/powerpoint/2010/main" val="2226383862"/>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37"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barn(outVertical)">
                                      <p:cBhvr>
                                        <p:cTn id="7" dur="500"/>
                                        <p:tgtEl>
                                          <p:spTgt spid="3"/>
                                        </p:tgtEl>
                                      </p:cBhvr>
                                    </p:animEffect>
                                  </p:childTnLst>
                                </p:cTn>
                              </p:par>
                            </p:childTnLst>
                          </p:cTn>
                        </p:par>
                        <p:par>
                          <p:cTn id="8" fill="hold">
                            <p:stCondLst>
                              <p:cond delay="500"/>
                            </p:stCondLst>
                            <p:childTnLst>
                              <p:par>
                                <p:cTn id="9" presetID="22" presetClass="entr" presetSubtype="4" fill="hold" grpId="0" nodeType="afterEffect">
                                  <p:stCondLst>
                                    <p:cond delay="0"/>
                                  </p:stCondLst>
                                  <p:childTnLst>
                                    <p:set>
                                      <p:cBhvr>
                                        <p:cTn id="10" dur="1" fill="hold">
                                          <p:stCondLst>
                                            <p:cond delay="0"/>
                                          </p:stCondLst>
                                        </p:cTn>
                                        <p:tgtEl>
                                          <p:spTgt spid="2"/>
                                        </p:tgtEl>
                                        <p:attrNameLst>
                                          <p:attrName>style.visibility</p:attrName>
                                        </p:attrNameLst>
                                      </p:cBhvr>
                                      <p:to>
                                        <p:strVal val="visible"/>
                                      </p:to>
                                    </p:set>
                                    <p:animEffect transition="in" filter="wipe(down)">
                                      <p:cBhvr>
                                        <p:cTn id="11" dur="500"/>
                                        <p:tgtEl>
                                          <p:spTgt spid="2"/>
                                        </p:tgtEl>
                                      </p:cBhvr>
                                    </p:animEffect>
                                  </p:childTnLst>
                                </p:cTn>
                              </p:par>
                            </p:childTnLst>
                          </p:cTn>
                        </p:par>
                        <p:par>
                          <p:cTn id="12" fill="hold">
                            <p:stCondLst>
                              <p:cond delay="1000"/>
                            </p:stCondLst>
                            <p:childTnLst>
                              <p:par>
                                <p:cTn id="13" presetID="22" presetClass="entr" presetSubtype="4" fill="hold" nodeType="afterEffect">
                                  <p:stCondLst>
                                    <p:cond delay="0"/>
                                  </p:stCondLst>
                                  <p:childTnLst>
                                    <p:set>
                                      <p:cBhvr>
                                        <p:cTn id="14" dur="1" fill="hold">
                                          <p:stCondLst>
                                            <p:cond delay="0"/>
                                          </p:stCondLst>
                                        </p:cTn>
                                        <p:tgtEl>
                                          <p:spTgt spid="4"/>
                                        </p:tgtEl>
                                        <p:attrNameLst>
                                          <p:attrName>style.visibility</p:attrName>
                                        </p:attrNameLst>
                                      </p:cBhvr>
                                      <p:to>
                                        <p:strVal val="visible"/>
                                      </p:to>
                                    </p:set>
                                    <p:animEffect transition="in" filter="wipe(down)">
                                      <p:cBhvr>
                                        <p:cTn id="15" dur="500"/>
                                        <p:tgtEl>
                                          <p:spTgt spid="4"/>
                                        </p:tgtEl>
                                      </p:cBhvr>
                                    </p:animEffect>
                                  </p:childTnLst>
                                </p:cTn>
                              </p:par>
                            </p:childTnLst>
                          </p:cTn>
                        </p:par>
                        <p:par>
                          <p:cTn id="16" fill="hold">
                            <p:stCondLst>
                              <p:cond delay="1500"/>
                            </p:stCondLst>
                            <p:childTnLst>
                              <p:par>
                                <p:cTn id="17" presetID="22" presetClass="entr" presetSubtype="8" fill="hold" grpId="0" nodeType="afterEffect">
                                  <p:stCondLst>
                                    <p:cond delay="0"/>
                                  </p:stCondLst>
                                  <p:childTnLst>
                                    <p:set>
                                      <p:cBhvr>
                                        <p:cTn id="18" dur="1" fill="hold">
                                          <p:stCondLst>
                                            <p:cond delay="0"/>
                                          </p:stCondLst>
                                        </p:cTn>
                                        <p:tgtEl>
                                          <p:spTgt spid="46"/>
                                        </p:tgtEl>
                                        <p:attrNameLst>
                                          <p:attrName>style.visibility</p:attrName>
                                        </p:attrNameLst>
                                      </p:cBhvr>
                                      <p:to>
                                        <p:strVal val="visible"/>
                                      </p:to>
                                    </p:set>
                                    <p:animEffect transition="in" filter="wipe(left)">
                                      <p:cBhvr>
                                        <p:cTn id="19" dur="500"/>
                                        <p:tgtEl>
                                          <p:spTgt spid="46"/>
                                        </p:tgtEl>
                                      </p:cBhvr>
                                    </p:animEffect>
                                  </p:childTnLst>
                                </p:cTn>
                              </p:par>
                            </p:childTnLst>
                          </p:cTn>
                        </p:par>
                        <p:par>
                          <p:cTn id="20" fill="hold">
                            <p:stCondLst>
                              <p:cond delay="2000"/>
                            </p:stCondLst>
                            <p:childTnLst>
                              <p:par>
                                <p:cTn id="21" presetID="42" presetClass="entr" presetSubtype="0" fill="hold" grpId="0" nodeType="afterEffect">
                                  <p:stCondLst>
                                    <p:cond delay="0"/>
                                  </p:stCondLst>
                                  <p:childTnLst>
                                    <p:set>
                                      <p:cBhvr>
                                        <p:cTn id="22" dur="1" fill="hold">
                                          <p:stCondLst>
                                            <p:cond delay="0"/>
                                          </p:stCondLst>
                                        </p:cTn>
                                        <p:tgtEl>
                                          <p:spTgt spid="45"/>
                                        </p:tgtEl>
                                        <p:attrNameLst>
                                          <p:attrName>style.visibility</p:attrName>
                                        </p:attrNameLst>
                                      </p:cBhvr>
                                      <p:to>
                                        <p:strVal val="visible"/>
                                      </p:to>
                                    </p:set>
                                    <p:animEffect transition="in" filter="fade">
                                      <p:cBhvr>
                                        <p:cTn id="23" dur="500"/>
                                        <p:tgtEl>
                                          <p:spTgt spid="45"/>
                                        </p:tgtEl>
                                      </p:cBhvr>
                                    </p:animEffect>
                                    <p:anim calcmode="lin" valueType="num">
                                      <p:cBhvr>
                                        <p:cTn id="24" dur="500" fill="hold"/>
                                        <p:tgtEl>
                                          <p:spTgt spid="45"/>
                                        </p:tgtEl>
                                        <p:attrNameLst>
                                          <p:attrName>ppt_x</p:attrName>
                                        </p:attrNameLst>
                                      </p:cBhvr>
                                      <p:tavLst>
                                        <p:tav tm="0">
                                          <p:val>
                                            <p:strVal val="#ppt_x"/>
                                          </p:val>
                                        </p:tav>
                                        <p:tav tm="100000">
                                          <p:val>
                                            <p:strVal val="#ppt_x"/>
                                          </p:val>
                                        </p:tav>
                                      </p:tavLst>
                                    </p:anim>
                                    <p:anim calcmode="lin" valueType="num">
                                      <p:cBhvr>
                                        <p:cTn id="25" dur="500" fill="hold"/>
                                        <p:tgtEl>
                                          <p:spTgt spid="45"/>
                                        </p:tgtEl>
                                        <p:attrNameLst>
                                          <p:attrName>ppt_y</p:attrName>
                                        </p:attrNameLst>
                                      </p:cBhvr>
                                      <p:tavLst>
                                        <p:tav tm="0">
                                          <p:val>
                                            <p:strVal val="#ppt_y+.1"/>
                                          </p:val>
                                        </p:tav>
                                        <p:tav tm="100000">
                                          <p:val>
                                            <p:strVal val="#ppt_y"/>
                                          </p:val>
                                        </p:tav>
                                      </p:tavLst>
                                    </p:anim>
                                  </p:childTnLst>
                                </p:cTn>
                              </p:par>
                            </p:childTnLst>
                          </p:cTn>
                        </p:par>
                        <p:par>
                          <p:cTn id="26" fill="hold">
                            <p:stCondLst>
                              <p:cond delay="2500"/>
                            </p:stCondLst>
                            <p:childTnLst>
                              <p:par>
                                <p:cTn id="27" presetID="22" presetClass="entr" presetSubtype="8" fill="hold" grpId="0" nodeType="afterEffect">
                                  <p:stCondLst>
                                    <p:cond delay="0"/>
                                  </p:stCondLst>
                                  <p:childTnLst>
                                    <p:set>
                                      <p:cBhvr>
                                        <p:cTn id="28" dur="1" fill="hold">
                                          <p:stCondLst>
                                            <p:cond delay="0"/>
                                          </p:stCondLst>
                                        </p:cTn>
                                        <p:tgtEl>
                                          <p:spTgt spid="44"/>
                                        </p:tgtEl>
                                        <p:attrNameLst>
                                          <p:attrName>style.visibility</p:attrName>
                                        </p:attrNameLst>
                                      </p:cBhvr>
                                      <p:to>
                                        <p:strVal val="visible"/>
                                      </p:to>
                                    </p:set>
                                    <p:animEffect transition="in" filter="wipe(left)">
                                      <p:cBhvr>
                                        <p:cTn id="29" dur="500"/>
                                        <p:tgtEl>
                                          <p:spTgt spid="44"/>
                                        </p:tgtEl>
                                      </p:cBhvr>
                                    </p:animEffect>
                                  </p:childTnLst>
                                </p:cTn>
                              </p:par>
                            </p:childTnLst>
                          </p:cTn>
                        </p:par>
                        <p:par>
                          <p:cTn id="30" fill="hold">
                            <p:stCondLst>
                              <p:cond delay="3000"/>
                            </p:stCondLst>
                            <p:childTnLst>
                              <p:par>
                                <p:cTn id="31" presetID="42" presetClass="entr" presetSubtype="0" fill="hold" grpId="0" nodeType="afterEffect">
                                  <p:stCondLst>
                                    <p:cond delay="0"/>
                                  </p:stCondLst>
                                  <p:childTnLst>
                                    <p:set>
                                      <p:cBhvr>
                                        <p:cTn id="32" dur="1" fill="hold">
                                          <p:stCondLst>
                                            <p:cond delay="0"/>
                                          </p:stCondLst>
                                        </p:cTn>
                                        <p:tgtEl>
                                          <p:spTgt spid="43"/>
                                        </p:tgtEl>
                                        <p:attrNameLst>
                                          <p:attrName>style.visibility</p:attrName>
                                        </p:attrNameLst>
                                      </p:cBhvr>
                                      <p:to>
                                        <p:strVal val="visible"/>
                                      </p:to>
                                    </p:set>
                                    <p:animEffect transition="in" filter="fade">
                                      <p:cBhvr>
                                        <p:cTn id="33" dur="500"/>
                                        <p:tgtEl>
                                          <p:spTgt spid="43"/>
                                        </p:tgtEl>
                                      </p:cBhvr>
                                    </p:animEffect>
                                    <p:anim calcmode="lin" valueType="num">
                                      <p:cBhvr>
                                        <p:cTn id="34" dur="500" fill="hold"/>
                                        <p:tgtEl>
                                          <p:spTgt spid="43"/>
                                        </p:tgtEl>
                                        <p:attrNameLst>
                                          <p:attrName>ppt_x</p:attrName>
                                        </p:attrNameLst>
                                      </p:cBhvr>
                                      <p:tavLst>
                                        <p:tav tm="0">
                                          <p:val>
                                            <p:strVal val="#ppt_x"/>
                                          </p:val>
                                        </p:tav>
                                        <p:tav tm="100000">
                                          <p:val>
                                            <p:strVal val="#ppt_x"/>
                                          </p:val>
                                        </p:tav>
                                      </p:tavLst>
                                    </p:anim>
                                    <p:anim calcmode="lin" valueType="num">
                                      <p:cBhvr>
                                        <p:cTn id="35" dur="500" fill="hold"/>
                                        <p:tgtEl>
                                          <p:spTgt spid="43"/>
                                        </p:tgtEl>
                                        <p:attrNameLst>
                                          <p:attrName>ppt_y</p:attrName>
                                        </p:attrNameLst>
                                      </p:cBhvr>
                                      <p:tavLst>
                                        <p:tav tm="0">
                                          <p:val>
                                            <p:strVal val="#ppt_y+.1"/>
                                          </p:val>
                                        </p:tav>
                                        <p:tav tm="100000">
                                          <p:val>
                                            <p:strVal val="#ppt_y"/>
                                          </p:val>
                                        </p:tav>
                                      </p:tavLst>
                                    </p:anim>
                                  </p:childTnLst>
                                </p:cTn>
                              </p:par>
                            </p:childTnLst>
                          </p:cTn>
                        </p:par>
                        <p:par>
                          <p:cTn id="36" fill="hold">
                            <p:stCondLst>
                              <p:cond delay="3500"/>
                            </p:stCondLst>
                            <p:childTnLst>
                              <p:par>
                                <p:cTn id="37" presetID="22" presetClass="entr" presetSubtype="8" fill="hold" grpId="0" nodeType="afterEffect">
                                  <p:stCondLst>
                                    <p:cond delay="0"/>
                                  </p:stCondLst>
                                  <p:childTnLst>
                                    <p:set>
                                      <p:cBhvr>
                                        <p:cTn id="38" dur="1" fill="hold">
                                          <p:stCondLst>
                                            <p:cond delay="0"/>
                                          </p:stCondLst>
                                        </p:cTn>
                                        <p:tgtEl>
                                          <p:spTgt spid="40"/>
                                        </p:tgtEl>
                                        <p:attrNameLst>
                                          <p:attrName>style.visibility</p:attrName>
                                        </p:attrNameLst>
                                      </p:cBhvr>
                                      <p:to>
                                        <p:strVal val="visible"/>
                                      </p:to>
                                    </p:set>
                                    <p:animEffect transition="in" filter="wipe(left)">
                                      <p:cBhvr>
                                        <p:cTn id="39" dur="500"/>
                                        <p:tgtEl>
                                          <p:spTgt spid="40"/>
                                        </p:tgtEl>
                                      </p:cBhvr>
                                    </p:animEffect>
                                  </p:childTnLst>
                                </p:cTn>
                              </p:par>
                            </p:childTnLst>
                          </p:cTn>
                        </p:par>
                        <p:par>
                          <p:cTn id="40" fill="hold">
                            <p:stCondLst>
                              <p:cond delay="4000"/>
                            </p:stCondLst>
                            <p:childTnLst>
                              <p:par>
                                <p:cTn id="41" presetID="42" presetClass="entr" presetSubtype="0" fill="hold" grpId="0" nodeType="afterEffect">
                                  <p:stCondLst>
                                    <p:cond delay="0"/>
                                  </p:stCondLst>
                                  <p:childTnLst>
                                    <p:set>
                                      <p:cBhvr>
                                        <p:cTn id="42" dur="1" fill="hold">
                                          <p:stCondLst>
                                            <p:cond delay="0"/>
                                          </p:stCondLst>
                                        </p:cTn>
                                        <p:tgtEl>
                                          <p:spTgt spid="39"/>
                                        </p:tgtEl>
                                        <p:attrNameLst>
                                          <p:attrName>style.visibility</p:attrName>
                                        </p:attrNameLst>
                                      </p:cBhvr>
                                      <p:to>
                                        <p:strVal val="visible"/>
                                      </p:to>
                                    </p:set>
                                    <p:animEffect transition="in" filter="fade">
                                      <p:cBhvr>
                                        <p:cTn id="43" dur="500"/>
                                        <p:tgtEl>
                                          <p:spTgt spid="39"/>
                                        </p:tgtEl>
                                      </p:cBhvr>
                                    </p:animEffect>
                                    <p:anim calcmode="lin" valueType="num">
                                      <p:cBhvr>
                                        <p:cTn id="44" dur="500" fill="hold"/>
                                        <p:tgtEl>
                                          <p:spTgt spid="39"/>
                                        </p:tgtEl>
                                        <p:attrNameLst>
                                          <p:attrName>ppt_x</p:attrName>
                                        </p:attrNameLst>
                                      </p:cBhvr>
                                      <p:tavLst>
                                        <p:tav tm="0">
                                          <p:val>
                                            <p:strVal val="#ppt_x"/>
                                          </p:val>
                                        </p:tav>
                                        <p:tav tm="100000">
                                          <p:val>
                                            <p:strVal val="#ppt_x"/>
                                          </p:val>
                                        </p:tav>
                                      </p:tavLst>
                                    </p:anim>
                                    <p:anim calcmode="lin" valueType="num">
                                      <p:cBhvr>
                                        <p:cTn id="45" dur="500" fill="hold"/>
                                        <p:tgtEl>
                                          <p:spTgt spid="39"/>
                                        </p:tgtEl>
                                        <p:attrNameLst>
                                          <p:attrName>ppt_y</p:attrName>
                                        </p:attrNameLst>
                                      </p:cBhvr>
                                      <p:tavLst>
                                        <p:tav tm="0">
                                          <p:val>
                                            <p:strVal val="#ppt_y+.1"/>
                                          </p:val>
                                        </p:tav>
                                        <p:tav tm="100000">
                                          <p:val>
                                            <p:strVal val="#ppt_y"/>
                                          </p:val>
                                        </p:tav>
                                      </p:tavLst>
                                    </p:anim>
                                  </p:childTnLst>
                                </p:cTn>
                              </p:par>
                            </p:childTnLst>
                          </p:cTn>
                        </p:par>
                        <p:par>
                          <p:cTn id="46" fill="hold">
                            <p:stCondLst>
                              <p:cond delay="4500"/>
                            </p:stCondLst>
                            <p:childTnLst>
                              <p:par>
                                <p:cTn id="47" presetID="22" presetClass="entr" presetSubtype="8" fill="hold" grpId="0" nodeType="afterEffect">
                                  <p:stCondLst>
                                    <p:cond delay="0"/>
                                  </p:stCondLst>
                                  <p:childTnLst>
                                    <p:set>
                                      <p:cBhvr>
                                        <p:cTn id="48" dur="1" fill="hold">
                                          <p:stCondLst>
                                            <p:cond delay="0"/>
                                          </p:stCondLst>
                                        </p:cTn>
                                        <p:tgtEl>
                                          <p:spTgt spid="42"/>
                                        </p:tgtEl>
                                        <p:attrNameLst>
                                          <p:attrName>style.visibility</p:attrName>
                                        </p:attrNameLst>
                                      </p:cBhvr>
                                      <p:to>
                                        <p:strVal val="visible"/>
                                      </p:to>
                                    </p:set>
                                    <p:animEffect transition="in" filter="wipe(left)">
                                      <p:cBhvr>
                                        <p:cTn id="49" dur="500"/>
                                        <p:tgtEl>
                                          <p:spTgt spid="42"/>
                                        </p:tgtEl>
                                      </p:cBhvr>
                                    </p:animEffect>
                                  </p:childTnLst>
                                </p:cTn>
                              </p:par>
                            </p:childTnLst>
                          </p:cTn>
                        </p:par>
                        <p:par>
                          <p:cTn id="50" fill="hold">
                            <p:stCondLst>
                              <p:cond delay="5000"/>
                            </p:stCondLst>
                            <p:childTnLst>
                              <p:par>
                                <p:cTn id="51" presetID="42" presetClass="entr" presetSubtype="0" fill="hold" grpId="0" nodeType="afterEffect">
                                  <p:stCondLst>
                                    <p:cond delay="0"/>
                                  </p:stCondLst>
                                  <p:childTnLst>
                                    <p:set>
                                      <p:cBhvr>
                                        <p:cTn id="52" dur="1" fill="hold">
                                          <p:stCondLst>
                                            <p:cond delay="0"/>
                                          </p:stCondLst>
                                        </p:cTn>
                                        <p:tgtEl>
                                          <p:spTgt spid="41"/>
                                        </p:tgtEl>
                                        <p:attrNameLst>
                                          <p:attrName>style.visibility</p:attrName>
                                        </p:attrNameLst>
                                      </p:cBhvr>
                                      <p:to>
                                        <p:strVal val="visible"/>
                                      </p:to>
                                    </p:set>
                                    <p:animEffect transition="in" filter="fade">
                                      <p:cBhvr>
                                        <p:cTn id="53" dur="500"/>
                                        <p:tgtEl>
                                          <p:spTgt spid="41"/>
                                        </p:tgtEl>
                                      </p:cBhvr>
                                    </p:animEffect>
                                    <p:anim calcmode="lin" valueType="num">
                                      <p:cBhvr>
                                        <p:cTn id="54" dur="500" fill="hold"/>
                                        <p:tgtEl>
                                          <p:spTgt spid="41"/>
                                        </p:tgtEl>
                                        <p:attrNameLst>
                                          <p:attrName>ppt_x</p:attrName>
                                        </p:attrNameLst>
                                      </p:cBhvr>
                                      <p:tavLst>
                                        <p:tav tm="0">
                                          <p:val>
                                            <p:strVal val="#ppt_x"/>
                                          </p:val>
                                        </p:tav>
                                        <p:tav tm="100000">
                                          <p:val>
                                            <p:strVal val="#ppt_x"/>
                                          </p:val>
                                        </p:tav>
                                      </p:tavLst>
                                    </p:anim>
                                    <p:anim calcmode="lin" valueType="num">
                                      <p:cBhvr>
                                        <p:cTn id="55" dur="500" fill="hold"/>
                                        <p:tgtEl>
                                          <p:spTgt spid="41"/>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3" grpId="0"/>
      <p:bldP spid="39" grpId="0"/>
      <p:bldP spid="40" grpId="0"/>
      <p:bldP spid="41" grpId="0"/>
      <p:bldP spid="42" grpId="0"/>
      <p:bldP spid="43" grpId="0"/>
      <p:bldP spid="44" grpId="0"/>
      <p:bldP spid="45" grpId="0"/>
      <p:bldP spid="46" grpId="0"/>
    </p:bldLst>
  </p:timing>
</p:sld>
</file>

<file path=ppt/slides/slide6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38">
            <a:extLst>
              <a:ext uri="{FF2B5EF4-FFF2-40B4-BE49-F238E27FC236}">
                <a16:creationId xmlns:a16="http://schemas.microsoft.com/office/drawing/2014/main" id="{DE60A46E-2BA2-488F-A57E-73D2A6F80BD4}"/>
              </a:ext>
            </a:extLst>
          </p:cNvPr>
          <p:cNvGrpSpPr/>
          <p:nvPr/>
        </p:nvGrpSpPr>
        <p:grpSpPr>
          <a:xfrm>
            <a:off x="4702487" y="2984512"/>
            <a:ext cx="3582496" cy="3873488"/>
            <a:chOff x="4702486" y="2984512"/>
            <a:chExt cx="3582496" cy="3873488"/>
          </a:xfrm>
        </p:grpSpPr>
        <p:sp>
          <p:nvSpPr>
            <p:cNvPr id="3" name="Oval 5">
              <a:extLst>
                <a:ext uri="{FF2B5EF4-FFF2-40B4-BE49-F238E27FC236}">
                  <a16:creationId xmlns:a16="http://schemas.microsoft.com/office/drawing/2014/main" id="{8AF21B91-0C3A-4EE0-8920-7513FC332C20}"/>
                </a:ext>
              </a:extLst>
            </p:cNvPr>
            <p:cNvSpPr>
              <a:spLocks noChangeArrowheads="1"/>
            </p:cNvSpPr>
            <p:nvPr/>
          </p:nvSpPr>
          <p:spPr bwMode="auto">
            <a:xfrm>
              <a:off x="5483419" y="6446748"/>
              <a:ext cx="2035475" cy="411252"/>
            </a:xfrm>
            <a:prstGeom prst="ellipse">
              <a:avLst/>
            </a:prstGeom>
            <a:solidFill>
              <a:schemeClr val="bg2">
                <a:lumMod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4" name="Freeform 6">
              <a:extLst>
                <a:ext uri="{FF2B5EF4-FFF2-40B4-BE49-F238E27FC236}">
                  <a16:creationId xmlns:a16="http://schemas.microsoft.com/office/drawing/2014/main" id="{FE07814A-A8A8-42B6-97ED-AC1EB8AA755A}"/>
                </a:ext>
              </a:extLst>
            </p:cNvPr>
            <p:cNvSpPr>
              <a:spLocks/>
            </p:cNvSpPr>
            <p:nvPr/>
          </p:nvSpPr>
          <p:spPr bwMode="auto">
            <a:xfrm>
              <a:off x="4702486" y="2984512"/>
              <a:ext cx="3582496" cy="3748777"/>
            </a:xfrm>
            <a:custGeom>
              <a:avLst/>
              <a:gdLst>
                <a:gd name="T0" fmla="*/ 1932 w 1950"/>
                <a:gd name="T1" fmla="*/ 352 h 2045"/>
                <a:gd name="T2" fmla="*/ 1764 w 1950"/>
                <a:gd name="T3" fmla="*/ 442 h 2045"/>
                <a:gd name="T4" fmla="*/ 1530 w 1950"/>
                <a:gd name="T5" fmla="*/ 791 h 2045"/>
                <a:gd name="T6" fmla="*/ 1290 w 1950"/>
                <a:gd name="T7" fmla="*/ 1008 h 2045"/>
                <a:gd name="T8" fmla="*/ 1026 w 1950"/>
                <a:gd name="T9" fmla="*/ 1073 h 2045"/>
                <a:gd name="T10" fmla="*/ 1111 w 1950"/>
                <a:gd name="T11" fmla="*/ 660 h 2045"/>
                <a:gd name="T12" fmla="*/ 1460 w 1950"/>
                <a:gd name="T13" fmla="*/ 224 h 2045"/>
                <a:gd name="T14" fmla="*/ 1357 w 1950"/>
                <a:gd name="T15" fmla="*/ 375 h 2045"/>
                <a:gd name="T16" fmla="*/ 1142 w 1950"/>
                <a:gd name="T17" fmla="*/ 540 h 2045"/>
                <a:gd name="T18" fmla="*/ 914 w 1950"/>
                <a:gd name="T19" fmla="*/ 143 h 2045"/>
                <a:gd name="T20" fmla="*/ 866 w 1950"/>
                <a:gd name="T21" fmla="*/ 128 h 2045"/>
                <a:gd name="T22" fmla="*/ 806 w 1950"/>
                <a:gd name="T23" fmla="*/ 0 h 2045"/>
                <a:gd name="T24" fmla="*/ 971 w 1950"/>
                <a:gd name="T25" fmla="*/ 268 h 2045"/>
                <a:gd name="T26" fmla="*/ 1031 w 1950"/>
                <a:gd name="T27" fmla="*/ 571 h 2045"/>
                <a:gd name="T28" fmla="*/ 914 w 1950"/>
                <a:gd name="T29" fmla="*/ 1033 h 2045"/>
                <a:gd name="T30" fmla="*/ 598 w 1950"/>
                <a:gd name="T31" fmla="*/ 992 h 2045"/>
                <a:gd name="T32" fmla="*/ 556 w 1950"/>
                <a:gd name="T33" fmla="*/ 987 h 2045"/>
                <a:gd name="T34" fmla="*/ 483 w 1950"/>
                <a:gd name="T35" fmla="*/ 882 h 2045"/>
                <a:gd name="T36" fmla="*/ 372 w 1950"/>
                <a:gd name="T37" fmla="*/ 393 h 2045"/>
                <a:gd name="T38" fmla="*/ 616 w 1950"/>
                <a:gd name="T39" fmla="*/ 1104 h 2045"/>
                <a:gd name="T40" fmla="*/ 768 w 1950"/>
                <a:gd name="T41" fmla="*/ 1106 h 2045"/>
                <a:gd name="T42" fmla="*/ 796 w 1950"/>
                <a:gd name="T43" fmla="*/ 1116 h 2045"/>
                <a:gd name="T44" fmla="*/ 859 w 1950"/>
                <a:gd name="T45" fmla="*/ 1262 h 2045"/>
                <a:gd name="T46" fmla="*/ 597 w 1950"/>
                <a:gd name="T47" fmla="*/ 1283 h 2045"/>
                <a:gd name="T48" fmla="*/ 242 w 1950"/>
                <a:gd name="T49" fmla="*/ 839 h 2045"/>
                <a:gd name="T50" fmla="*/ 14 w 1950"/>
                <a:gd name="T51" fmla="*/ 909 h 2045"/>
                <a:gd name="T52" fmla="*/ 148 w 1950"/>
                <a:gd name="T53" fmla="*/ 913 h 2045"/>
                <a:gd name="T54" fmla="*/ 201 w 1950"/>
                <a:gd name="T55" fmla="*/ 967 h 2045"/>
                <a:gd name="T56" fmla="*/ 539 w 1950"/>
                <a:gd name="T57" fmla="*/ 1396 h 2045"/>
                <a:gd name="T58" fmla="*/ 753 w 1950"/>
                <a:gd name="T59" fmla="*/ 1384 h 2045"/>
                <a:gd name="T60" fmla="*/ 778 w 1950"/>
                <a:gd name="T61" fmla="*/ 1655 h 2045"/>
                <a:gd name="T62" fmla="*/ 970 w 1950"/>
                <a:gd name="T63" fmla="*/ 2044 h 2045"/>
                <a:gd name="T64" fmla="*/ 1188 w 1950"/>
                <a:gd name="T65" fmla="*/ 1404 h 2045"/>
                <a:gd name="T66" fmla="*/ 1413 w 1950"/>
                <a:gd name="T67" fmla="*/ 1327 h 2045"/>
                <a:gd name="T68" fmla="*/ 1795 w 1950"/>
                <a:gd name="T69" fmla="*/ 1042 h 2045"/>
                <a:gd name="T70" fmla="*/ 1773 w 1950"/>
                <a:gd name="T71" fmla="*/ 858 h 2045"/>
                <a:gd name="T72" fmla="*/ 1622 w 1950"/>
                <a:gd name="T73" fmla="*/ 1170 h 2045"/>
                <a:gd name="T74" fmla="*/ 1123 w 1950"/>
                <a:gd name="T75" fmla="*/ 1288 h 2045"/>
                <a:gd name="T76" fmla="*/ 1124 w 1950"/>
                <a:gd name="T77" fmla="*/ 1221 h 2045"/>
                <a:gd name="T78" fmla="*/ 1282 w 1950"/>
                <a:gd name="T79" fmla="*/ 1118 h 2045"/>
                <a:gd name="T80" fmla="*/ 1638 w 1950"/>
                <a:gd name="T81" fmla="*/ 858 h 2045"/>
                <a:gd name="T82" fmla="*/ 1668 w 1950"/>
                <a:gd name="T83" fmla="*/ 570 h 2045"/>
                <a:gd name="T84" fmla="*/ 1679 w 1950"/>
                <a:gd name="T85" fmla="*/ 559 h 20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950" h="2045">
                  <a:moveTo>
                    <a:pt x="1750" y="554"/>
                  </a:moveTo>
                  <a:cubicBezTo>
                    <a:pt x="1786" y="552"/>
                    <a:pt x="1822" y="544"/>
                    <a:pt x="1853" y="527"/>
                  </a:cubicBezTo>
                  <a:cubicBezTo>
                    <a:pt x="1915" y="492"/>
                    <a:pt x="1950" y="421"/>
                    <a:pt x="1932" y="352"/>
                  </a:cubicBezTo>
                  <a:cubicBezTo>
                    <a:pt x="1914" y="283"/>
                    <a:pt x="1807" y="312"/>
                    <a:pt x="1825" y="381"/>
                  </a:cubicBezTo>
                  <a:cubicBezTo>
                    <a:pt x="1827" y="391"/>
                    <a:pt x="1826" y="403"/>
                    <a:pt x="1818" y="414"/>
                  </a:cubicBezTo>
                  <a:cubicBezTo>
                    <a:pt x="1805" y="431"/>
                    <a:pt x="1784" y="438"/>
                    <a:pt x="1764" y="442"/>
                  </a:cubicBezTo>
                  <a:cubicBezTo>
                    <a:pt x="1717" y="450"/>
                    <a:pt x="1665" y="438"/>
                    <a:pt x="1620" y="465"/>
                  </a:cubicBezTo>
                  <a:cubicBezTo>
                    <a:pt x="1568" y="495"/>
                    <a:pt x="1550" y="560"/>
                    <a:pt x="1541" y="615"/>
                  </a:cubicBezTo>
                  <a:cubicBezTo>
                    <a:pt x="1532" y="673"/>
                    <a:pt x="1531" y="732"/>
                    <a:pt x="1530" y="791"/>
                  </a:cubicBezTo>
                  <a:cubicBezTo>
                    <a:pt x="1529" y="839"/>
                    <a:pt x="1529" y="887"/>
                    <a:pt x="1512" y="933"/>
                  </a:cubicBezTo>
                  <a:cubicBezTo>
                    <a:pt x="1498" y="969"/>
                    <a:pt x="1469" y="989"/>
                    <a:pt x="1434" y="999"/>
                  </a:cubicBezTo>
                  <a:cubicBezTo>
                    <a:pt x="1389" y="1013"/>
                    <a:pt x="1340" y="1010"/>
                    <a:pt x="1290" y="1008"/>
                  </a:cubicBezTo>
                  <a:cubicBezTo>
                    <a:pt x="1231" y="1006"/>
                    <a:pt x="1167" y="1004"/>
                    <a:pt x="1112" y="1029"/>
                  </a:cubicBezTo>
                  <a:cubicBezTo>
                    <a:pt x="1065" y="1050"/>
                    <a:pt x="1042" y="1097"/>
                    <a:pt x="1028" y="1145"/>
                  </a:cubicBezTo>
                  <a:cubicBezTo>
                    <a:pt x="1027" y="1121"/>
                    <a:pt x="1027" y="1097"/>
                    <a:pt x="1026" y="1073"/>
                  </a:cubicBezTo>
                  <a:cubicBezTo>
                    <a:pt x="1023" y="979"/>
                    <a:pt x="1013" y="880"/>
                    <a:pt x="1029" y="787"/>
                  </a:cubicBezTo>
                  <a:cubicBezTo>
                    <a:pt x="1036" y="753"/>
                    <a:pt x="1044" y="698"/>
                    <a:pt x="1071" y="676"/>
                  </a:cubicBezTo>
                  <a:cubicBezTo>
                    <a:pt x="1082" y="667"/>
                    <a:pt x="1097" y="663"/>
                    <a:pt x="1111" y="660"/>
                  </a:cubicBezTo>
                  <a:cubicBezTo>
                    <a:pt x="1136" y="654"/>
                    <a:pt x="1162" y="649"/>
                    <a:pt x="1187" y="643"/>
                  </a:cubicBezTo>
                  <a:cubicBezTo>
                    <a:pt x="1269" y="625"/>
                    <a:pt x="1363" y="609"/>
                    <a:pt x="1418" y="541"/>
                  </a:cubicBezTo>
                  <a:cubicBezTo>
                    <a:pt x="1487" y="455"/>
                    <a:pt x="1471" y="326"/>
                    <a:pt x="1460" y="224"/>
                  </a:cubicBezTo>
                  <a:cubicBezTo>
                    <a:pt x="1456" y="194"/>
                    <a:pt x="1436" y="169"/>
                    <a:pt x="1404" y="169"/>
                  </a:cubicBezTo>
                  <a:cubicBezTo>
                    <a:pt x="1377" y="169"/>
                    <a:pt x="1345" y="194"/>
                    <a:pt x="1349" y="224"/>
                  </a:cubicBezTo>
                  <a:cubicBezTo>
                    <a:pt x="1354" y="274"/>
                    <a:pt x="1357" y="325"/>
                    <a:pt x="1357" y="375"/>
                  </a:cubicBezTo>
                  <a:cubicBezTo>
                    <a:pt x="1356" y="409"/>
                    <a:pt x="1353" y="447"/>
                    <a:pt x="1334" y="470"/>
                  </a:cubicBezTo>
                  <a:cubicBezTo>
                    <a:pt x="1312" y="495"/>
                    <a:pt x="1282" y="505"/>
                    <a:pt x="1249" y="515"/>
                  </a:cubicBezTo>
                  <a:cubicBezTo>
                    <a:pt x="1214" y="525"/>
                    <a:pt x="1178" y="532"/>
                    <a:pt x="1142" y="540"/>
                  </a:cubicBezTo>
                  <a:cubicBezTo>
                    <a:pt x="1144" y="481"/>
                    <a:pt x="1146" y="421"/>
                    <a:pt x="1145" y="363"/>
                  </a:cubicBezTo>
                  <a:cubicBezTo>
                    <a:pt x="1143" y="294"/>
                    <a:pt x="1122" y="233"/>
                    <a:pt x="1065" y="192"/>
                  </a:cubicBezTo>
                  <a:cubicBezTo>
                    <a:pt x="1020" y="160"/>
                    <a:pt x="967" y="152"/>
                    <a:pt x="914" y="143"/>
                  </a:cubicBezTo>
                  <a:cubicBezTo>
                    <a:pt x="902" y="141"/>
                    <a:pt x="890" y="139"/>
                    <a:pt x="878" y="135"/>
                  </a:cubicBezTo>
                  <a:cubicBezTo>
                    <a:pt x="879" y="135"/>
                    <a:pt x="873" y="132"/>
                    <a:pt x="870" y="130"/>
                  </a:cubicBezTo>
                  <a:cubicBezTo>
                    <a:pt x="871" y="130"/>
                    <a:pt x="864" y="124"/>
                    <a:pt x="866" y="128"/>
                  </a:cubicBezTo>
                  <a:cubicBezTo>
                    <a:pt x="860" y="119"/>
                    <a:pt x="859" y="111"/>
                    <a:pt x="859" y="101"/>
                  </a:cubicBezTo>
                  <a:cubicBezTo>
                    <a:pt x="858" y="86"/>
                    <a:pt x="860" y="71"/>
                    <a:pt x="861" y="56"/>
                  </a:cubicBezTo>
                  <a:cubicBezTo>
                    <a:pt x="865" y="26"/>
                    <a:pt x="834" y="0"/>
                    <a:pt x="806" y="0"/>
                  </a:cubicBezTo>
                  <a:cubicBezTo>
                    <a:pt x="773" y="0"/>
                    <a:pt x="754" y="26"/>
                    <a:pt x="750" y="56"/>
                  </a:cubicBezTo>
                  <a:cubicBezTo>
                    <a:pt x="744" y="121"/>
                    <a:pt x="754" y="190"/>
                    <a:pt x="815" y="227"/>
                  </a:cubicBezTo>
                  <a:cubicBezTo>
                    <a:pt x="862" y="255"/>
                    <a:pt x="920" y="250"/>
                    <a:pt x="971" y="268"/>
                  </a:cubicBezTo>
                  <a:cubicBezTo>
                    <a:pt x="1012" y="282"/>
                    <a:pt x="1032" y="309"/>
                    <a:pt x="1034" y="359"/>
                  </a:cubicBezTo>
                  <a:cubicBezTo>
                    <a:pt x="1036" y="427"/>
                    <a:pt x="1032" y="496"/>
                    <a:pt x="1031" y="565"/>
                  </a:cubicBezTo>
                  <a:cubicBezTo>
                    <a:pt x="1031" y="567"/>
                    <a:pt x="1031" y="569"/>
                    <a:pt x="1031" y="571"/>
                  </a:cubicBezTo>
                  <a:cubicBezTo>
                    <a:pt x="1013" y="580"/>
                    <a:pt x="997" y="591"/>
                    <a:pt x="983" y="607"/>
                  </a:cubicBezTo>
                  <a:cubicBezTo>
                    <a:pt x="952" y="644"/>
                    <a:pt x="936" y="692"/>
                    <a:pt x="926" y="738"/>
                  </a:cubicBezTo>
                  <a:cubicBezTo>
                    <a:pt x="905" y="835"/>
                    <a:pt x="911" y="935"/>
                    <a:pt x="914" y="1033"/>
                  </a:cubicBezTo>
                  <a:cubicBezTo>
                    <a:pt x="914" y="1048"/>
                    <a:pt x="915" y="1063"/>
                    <a:pt x="915" y="1078"/>
                  </a:cubicBezTo>
                  <a:cubicBezTo>
                    <a:pt x="867" y="1010"/>
                    <a:pt x="788" y="989"/>
                    <a:pt x="707" y="990"/>
                  </a:cubicBezTo>
                  <a:cubicBezTo>
                    <a:pt x="671" y="990"/>
                    <a:pt x="634" y="994"/>
                    <a:pt x="598" y="992"/>
                  </a:cubicBezTo>
                  <a:cubicBezTo>
                    <a:pt x="593" y="992"/>
                    <a:pt x="588" y="992"/>
                    <a:pt x="583" y="992"/>
                  </a:cubicBezTo>
                  <a:cubicBezTo>
                    <a:pt x="582" y="991"/>
                    <a:pt x="577" y="991"/>
                    <a:pt x="575" y="991"/>
                  </a:cubicBezTo>
                  <a:cubicBezTo>
                    <a:pt x="572" y="990"/>
                    <a:pt x="560" y="988"/>
                    <a:pt x="556" y="987"/>
                  </a:cubicBezTo>
                  <a:cubicBezTo>
                    <a:pt x="542" y="983"/>
                    <a:pt x="531" y="978"/>
                    <a:pt x="523" y="971"/>
                  </a:cubicBezTo>
                  <a:cubicBezTo>
                    <a:pt x="509" y="960"/>
                    <a:pt x="503" y="951"/>
                    <a:pt x="497" y="937"/>
                  </a:cubicBezTo>
                  <a:cubicBezTo>
                    <a:pt x="491" y="924"/>
                    <a:pt x="485" y="900"/>
                    <a:pt x="483" y="882"/>
                  </a:cubicBezTo>
                  <a:cubicBezTo>
                    <a:pt x="479" y="850"/>
                    <a:pt x="480" y="800"/>
                    <a:pt x="481" y="762"/>
                  </a:cubicBezTo>
                  <a:cubicBezTo>
                    <a:pt x="481" y="639"/>
                    <a:pt x="482" y="516"/>
                    <a:pt x="483" y="393"/>
                  </a:cubicBezTo>
                  <a:cubicBezTo>
                    <a:pt x="484" y="322"/>
                    <a:pt x="373" y="322"/>
                    <a:pt x="372" y="393"/>
                  </a:cubicBezTo>
                  <a:cubicBezTo>
                    <a:pt x="371" y="503"/>
                    <a:pt x="371" y="613"/>
                    <a:pt x="370" y="722"/>
                  </a:cubicBezTo>
                  <a:cubicBezTo>
                    <a:pt x="369" y="813"/>
                    <a:pt x="360" y="911"/>
                    <a:pt x="402" y="995"/>
                  </a:cubicBezTo>
                  <a:cubicBezTo>
                    <a:pt x="443" y="1077"/>
                    <a:pt x="530" y="1104"/>
                    <a:pt x="616" y="1104"/>
                  </a:cubicBezTo>
                  <a:cubicBezTo>
                    <a:pt x="652" y="1104"/>
                    <a:pt x="689" y="1100"/>
                    <a:pt x="725" y="1101"/>
                  </a:cubicBezTo>
                  <a:cubicBezTo>
                    <a:pt x="734" y="1101"/>
                    <a:pt x="743" y="1102"/>
                    <a:pt x="752" y="1103"/>
                  </a:cubicBezTo>
                  <a:cubicBezTo>
                    <a:pt x="752" y="1103"/>
                    <a:pt x="765" y="1105"/>
                    <a:pt x="768" y="1106"/>
                  </a:cubicBezTo>
                  <a:cubicBezTo>
                    <a:pt x="772" y="1107"/>
                    <a:pt x="777" y="1108"/>
                    <a:pt x="781" y="1109"/>
                  </a:cubicBezTo>
                  <a:cubicBezTo>
                    <a:pt x="783" y="1110"/>
                    <a:pt x="788" y="1112"/>
                    <a:pt x="789" y="1112"/>
                  </a:cubicBezTo>
                  <a:cubicBezTo>
                    <a:pt x="792" y="1113"/>
                    <a:pt x="794" y="1115"/>
                    <a:pt x="796" y="1116"/>
                  </a:cubicBezTo>
                  <a:cubicBezTo>
                    <a:pt x="796" y="1116"/>
                    <a:pt x="806" y="1122"/>
                    <a:pt x="806" y="1121"/>
                  </a:cubicBezTo>
                  <a:cubicBezTo>
                    <a:pt x="837" y="1146"/>
                    <a:pt x="846" y="1186"/>
                    <a:pt x="854" y="1228"/>
                  </a:cubicBezTo>
                  <a:cubicBezTo>
                    <a:pt x="856" y="1239"/>
                    <a:pt x="857" y="1251"/>
                    <a:pt x="859" y="1262"/>
                  </a:cubicBezTo>
                  <a:cubicBezTo>
                    <a:pt x="795" y="1267"/>
                    <a:pt x="730" y="1272"/>
                    <a:pt x="666" y="1277"/>
                  </a:cubicBezTo>
                  <a:cubicBezTo>
                    <a:pt x="661" y="1278"/>
                    <a:pt x="657" y="1278"/>
                    <a:pt x="653" y="1279"/>
                  </a:cubicBezTo>
                  <a:cubicBezTo>
                    <a:pt x="635" y="1281"/>
                    <a:pt x="616" y="1282"/>
                    <a:pt x="597" y="1283"/>
                  </a:cubicBezTo>
                  <a:cubicBezTo>
                    <a:pt x="543" y="1286"/>
                    <a:pt x="485" y="1288"/>
                    <a:pt x="435" y="1265"/>
                  </a:cubicBezTo>
                  <a:cubicBezTo>
                    <a:pt x="338" y="1221"/>
                    <a:pt x="343" y="1100"/>
                    <a:pt x="326" y="1008"/>
                  </a:cubicBezTo>
                  <a:cubicBezTo>
                    <a:pt x="315" y="946"/>
                    <a:pt x="292" y="880"/>
                    <a:pt x="242" y="839"/>
                  </a:cubicBezTo>
                  <a:cubicBezTo>
                    <a:pt x="215" y="817"/>
                    <a:pt x="183" y="803"/>
                    <a:pt x="148" y="802"/>
                  </a:cubicBezTo>
                  <a:cubicBezTo>
                    <a:pt x="107" y="801"/>
                    <a:pt x="70" y="817"/>
                    <a:pt x="34" y="833"/>
                  </a:cubicBezTo>
                  <a:cubicBezTo>
                    <a:pt x="6" y="845"/>
                    <a:pt x="0" y="885"/>
                    <a:pt x="14" y="909"/>
                  </a:cubicBezTo>
                  <a:cubicBezTo>
                    <a:pt x="30" y="937"/>
                    <a:pt x="62" y="941"/>
                    <a:pt x="90" y="929"/>
                  </a:cubicBezTo>
                  <a:cubicBezTo>
                    <a:pt x="104" y="923"/>
                    <a:pt x="119" y="916"/>
                    <a:pt x="135" y="914"/>
                  </a:cubicBezTo>
                  <a:cubicBezTo>
                    <a:pt x="139" y="913"/>
                    <a:pt x="144" y="913"/>
                    <a:pt x="148" y="913"/>
                  </a:cubicBezTo>
                  <a:cubicBezTo>
                    <a:pt x="151" y="913"/>
                    <a:pt x="161" y="917"/>
                    <a:pt x="160" y="916"/>
                  </a:cubicBezTo>
                  <a:cubicBezTo>
                    <a:pt x="169" y="921"/>
                    <a:pt x="175" y="926"/>
                    <a:pt x="182" y="934"/>
                  </a:cubicBezTo>
                  <a:cubicBezTo>
                    <a:pt x="188" y="942"/>
                    <a:pt x="196" y="956"/>
                    <a:pt x="201" y="967"/>
                  </a:cubicBezTo>
                  <a:cubicBezTo>
                    <a:pt x="227" y="1029"/>
                    <a:pt x="225" y="1099"/>
                    <a:pt x="239" y="1164"/>
                  </a:cubicBezTo>
                  <a:cubicBezTo>
                    <a:pt x="254" y="1233"/>
                    <a:pt x="285" y="1297"/>
                    <a:pt x="343" y="1339"/>
                  </a:cubicBezTo>
                  <a:cubicBezTo>
                    <a:pt x="399" y="1381"/>
                    <a:pt x="471" y="1395"/>
                    <a:pt x="539" y="1396"/>
                  </a:cubicBezTo>
                  <a:cubicBezTo>
                    <a:pt x="581" y="1396"/>
                    <a:pt x="622" y="1392"/>
                    <a:pt x="664" y="1390"/>
                  </a:cubicBezTo>
                  <a:cubicBezTo>
                    <a:pt x="684" y="1388"/>
                    <a:pt x="703" y="1387"/>
                    <a:pt x="723" y="1386"/>
                  </a:cubicBezTo>
                  <a:cubicBezTo>
                    <a:pt x="733" y="1385"/>
                    <a:pt x="743" y="1384"/>
                    <a:pt x="753" y="1384"/>
                  </a:cubicBezTo>
                  <a:cubicBezTo>
                    <a:pt x="755" y="1393"/>
                    <a:pt x="757" y="1403"/>
                    <a:pt x="758" y="1413"/>
                  </a:cubicBezTo>
                  <a:cubicBezTo>
                    <a:pt x="762" y="1440"/>
                    <a:pt x="764" y="1467"/>
                    <a:pt x="766" y="1493"/>
                  </a:cubicBezTo>
                  <a:cubicBezTo>
                    <a:pt x="770" y="1547"/>
                    <a:pt x="782" y="1601"/>
                    <a:pt x="778" y="1655"/>
                  </a:cubicBezTo>
                  <a:cubicBezTo>
                    <a:pt x="772" y="1743"/>
                    <a:pt x="778" y="1842"/>
                    <a:pt x="756" y="1924"/>
                  </a:cubicBezTo>
                  <a:cubicBezTo>
                    <a:pt x="749" y="1953"/>
                    <a:pt x="749" y="1984"/>
                    <a:pt x="776" y="2000"/>
                  </a:cubicBezTo>
                  <a:cubicBezTo>
                    <a:pt x="776" y="2000"/>
                    <a:pt x="910" y="2043"/>
                    <a:pt x="970" y="2044"/>
                  </a:cubicBezTo>
                  <a:cubicBezTo>
                    <a:pt x="1035" y="2045"/>
                    <a:pt x="1102" y="2040"/>
                    <a:pt x="1163" y="2016"/>
                  </a:cubicBezTo>
                  <a:cubicBezTo>
                    <a:pt x="1197" y="2002"/>
                    <a:pt x="1244" y="1964"/>
                    <a:pt x="1226" y="1933"/>
                  </a:cubicBezTo>
                  <a:cubicBezTo>
                    <a:pt x="1205" y="1757"/>
                    <a:pt x="1172" y="1580"/>
                    <a:pt x="1188" y="1404"/>
                  </a:cubicBezTo>
                  <a:cubicBezTo>
                    <a:pt x="1191" y="1389"/>
                    <a:pt x="1196" y="1376"/>
                    <a:pt x="1204" y="1364"/>
                  </a:cubicBezTo>
                  <a:cubicBezTo>
                    <a:pt x="1221" y="1339"/>
                    <a:pt x="1252" y="1328"/>
                    <a:pt x="1282" y="1324"/>
                  </a:cubicBezTo>
                  <a:cubicBezTo>
                    <a:pt x="1326" y="1319"/>
                    <a:pt x="1370" y="1326"/>
                    <a:pt x="1413" y="1327"/>
                  </a:cubicBezTo>
                  <a:cubicBezTo>
                    <a:pt x="1460" y="1329"/>
                    <a:pt x="1506" y="1326"/>
                    <a:pt x="1551" y="1317"/>
                  </a:cubicBezTo>
                  <a:cubicBezTo>
                    <a:pt x="1633" y="1302"/>
                    <a:pt x="1710" y="1257"/>
                    <a:pt x="1755" y="1187"/>
                  </a:cubicBezTo>
                  <a:cubicBezTo>
                    <a:pt x="1783" y="1143"/>
                    <a:pt x="1790" y="1093"/>
                    <a:pt x="1795" y="1042"/>
                  </a:cubicBezTo>
                  <a:cubicBezTo>
                    <a:pt x="1797" y="1023"/>
                    <a:pt x="1799" y="1004"/>
                    <a:pt x="1805" y="986"/>
                  </a:cubicBezTo>
                  <a:cubicBezTo>
                    <a:pt x="1810" y="972"/>
                    <a:pt x="1818" y="960"/>
                    <a:pt x="1829" y="953"/>
                  </a:cubicBezTo>
                  <a:cubicBezTo>
                    <a:pt x="1890" y="917"/>
                    <a:pt x="1834" y="821"/>
                    <a:pt x="1773" y="858"/>
                  </a:cubicBezTo>
                  <a:cubicBezTo>
                    <a:pt x="1732" y="882"/>
                    <a:pt x="1706" y="923"/>
                    <a:pt x="1694" y="969"/>
                  </a:cubicBezTo>
                  <a:cubicBezTo>
                    <a:pt x="1684" y="1011"/>
                    <a:pt x="1687" y="1055"/>
                    <a:pt x="1675" y="1096"/>
                  </a:cubicBezTo>
                  <a:cubicBezTo>
                    <a:pt x="1667" y="1125"/>
                    <a:pt x="1646" y="1153"/>
                    <a:pt x="1622" y="1170"/>
                  </a:cubicBezTo>
                  <a:cubicBezTo>
                    <a:pt x="1589" y="1194"/>
                    <a:pt x="1558" y="1204"/>
                    <a:pt x="1518" y="1211"/>
                  </a:cubicBezTo>
                  <a:cubicBezTo>
                    <a:pt x="1426" y="1229"/>
                    <a:pt x="1331" y="1200"/>
                    <a:pt x="1239" y="1220"/>
                  </a:cubicBezTo>
                  <a:cubicBezTo>
                    <a:pt x="1195" y="1229"/>
                    <a:pt x="1152" y="1252"/>
                    <a:pt x="1123" y="1288"/>
                  </a:cubicBezTo>
                  <a:cubicBezTo>
                    <a:pt x="1121" y="1291"/>
                    <a:pt x="1118" y="1294"/>
                    <a:pt x="1116" y="1297"/>
                  </a:cubicBezTo>
                  <a:cubicBezTo>
                    <a:pt x="1116" y="1297"/>
                    <a:pt x="1116" y="1296"/>
                    <a:pt x="1116" y="1296"/>
                  </a:cubicBezTo>
                  <a:cubicBezTo>
                    <a:pt x="1116" y="1271"/>
                    <a:pt x="1119" y="1246"/>
                    <a:pt x="1124" y="1221"/>
                  </a:cubicBezTo>
                  <a:cubicBezTo>
                    <a:pt x="1129" y="1195"/>
                    <a:pt x="1137" y="1160"/>
                    <a:pt x="1149" y="1139"/>
                  </a:cubicBezTo>
                  <a:cubicBezTo>
                    <a:pt x="1157" y="1127"/>
                    <a:pt x="1169" y="1124"/>
                    <a:pt x="1189" y="1121"/>
                  </a:cubicBezTo>
                  <a:cubicBezTo>
                    <a:pt x="1219" y="1116"/>
                    <a:pt x="1251" y="1117"/>
                    <a:pt x="1282" y="1118"/>
                  </a:cubicBezTo>
                  <a:cubicBezTo>
                    <a:pt x="1339" y="1120"/>
                    <a:pt x="1395" y="1123"/>
                    <a:pt x="1451" y="1110"/>
                  </a:cubicBezTo>
                  <a:cubicBezTo>
                    <a:pt x="1506" y="1097"/>
                    <a:pt x="1555" y="1067"/>
                    <a:pt x="1589" y="1021"/>
                  </a:cubicBezTo>
                  <a:cubicBezTo>
                    <a:pt x="1623" y="974"/>
                    <a:pt x="1633" y="915"/>
                    <a:pt x="1638" y="858"/>
                  </a:cubicBezTo>
                  <a:cubicBezTo>
                    <a:pt x="1643" y="798"/>
                    <a:pt x="1640" y="738"/>
                    <a:pt x="1645" y="678"/>
                  </a:cubicBezTo>
                  <a:cubicBezTo>
                    <a:pt x="1647" y="653"/>
                    <a:pt x="1650" y="629"/>
                    <a:pt x="1656" y="606"/>
                  </a:cubicBezTo>
                  <a:cubicBezTo>
                    <a:pt x="1660" y="594"/>
                    <a:pt x="1663" y="580"/>
                    <a:pt x="1668" y="570"/>
                  </a:cubicBezTo>
                  <a:cubicBezTo>
                    <a:pt x="1668" y="570"/>
                    <a:pt x="1673" y="564"/>
                    <a:pt x="1672" y="564"/>
                  </a:cubicBezTo>
                  <a:cubicBezTo>
                    <a:pt x="1677" y="559"/>
                    <a:pt x="1678" y="558"/>
                    <a:pt x="1676" y="561"/>
                  </a:cubicBezTo>
                  <a:cubicBezTo>
                    <a:pt x="1682" y="557"/>
                    <a:pt x="1683" y="557"/>
                    <a:pt x="1679" y="559"/>
                  </a:cubicBezTo>
                  <a:cubicBezTo>
                    <a:pt x="1699" y="554"/>
                    <a:pt x="1725" y="556"/>
                    <a:pt x="1750" y="554"/>
                  </a:cubicBezTo>
                  <a:close/>
                </a:path>
              </a:pathLst>
            </a:custGeom>
            <a:solidFill>
              <a:schemeClr val="accent3">
                <a:lumMod val="5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sp>
        <p:nvSpPr>
          <p:cNvPr id="5" name="Oval 8">
            <a:extLst>
              <a:ext uri="{FF2B5EF4-FFF2-40B4-BE49-F238E27FC236}">
                <a16:creationId xmlns:a16="http://schemas.microsoft.com/office/drawing/2014/main" id="{0A8E2BF2-23E3-4608-A248-7D6E88C65890}"/>
              </a:ext>
            </a:extLst>
          </p:cNvPr>
          <p:cNvSpPr>
            <a:spLocks noChangeArrowheads="1"/>
          </p:cNvSpPr>
          <p:nvPr/>
        </p:nvSpPr>
        <p:spPr bwMode="auto">
          <a:xfrm>
            <a:off x="4715848" y="2801899"/>
            <a:ext cx="1101621" cy="1101621"/>
          </a:xfrm>
          <a:prstGeom prst="ellipse">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nvGrpSpPr>
          <p:cNvPr id="6" name="Group 1">
            <a:extLst>
              <a:ext uri="{FF2B5EF4-FFF2-40B4-BE49-F238E27FC236}">
                <a16:creationId xmlns:a16="http://schemas.microsoft.com/office/drawing/2014/main" id="{C0F8348B-D216-4E92-9485-7E43D3E0DF17}"/>
              </a:ext>
            </a:extLst>
          </p:cNvPr>
          <p:cNvGrpSpPr/>
          <p:nvPr/>
        </p:nvGrpSpPr>
        <p:grpSpPr>
          <a:xfrm>
            <a:off x="5599226" y="1930400"/>
            <a:ext cx="1171401" cy="1171400"/>
            <a:chOff x="5599223" y="1930400"/>
            <a:chExt cx="1171401" cy="1171400"/>
          </a:xfrm>
        </p:grpSpPr>
        <p:sp>
          <p:nvSpPr>
            <p:cNvPr id="7" name="Oval 12">
              <a:extLst>
                <a:ext uri="{FF2B5EF4-FFF2-40B4-BE49-F238E27FC236}">
                  <a16:creationId xmlns:a16="http://schemas.microsoft.com/office/drawing/2014/main" id="{C8A9E797-6B39-43A8-8BE6-E731392D7FCA}"/>
                </a:ext>
              </a:extLst>
            </p:cNvPr>
            <p:cNvSpPr>
              <a:spLocks noChangeArrowheads="1"/>
            </p:cNvSpPr>
            <p:nvPr/>
          </p:nvSpPr>
          <p:spPr bwMode="auto">
            <a:xfrm>
              <a:off x="5599223" y="1930400"/>
              <a:ext cx="1171401" cy="1171400"/>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8" name="Freeform 359">
              <a:extLst>
                <a:ext uri="{FF2B5EF4-FFF2-40B4-BE49-F238E27FC236}">
                  <a16:creationId xmlns:a16="http://schemas.microsoft.com/office/drawing/2014/main" id="{221DDD10-02AA-429C-9ADE-4CC9D5951AD1}"/>
                </a:ext>
              </a:extLst>
            </p:cNvPr>
            <p:cNvSpPr>
              <a:spLocks noEditPoints="1"/>
            </p:cNvSpPr>
            <p:nvPr/>
          </p:nvSpPr>
          <p:spPr bwMode="auto">
            <a:xfrm>
              <a:off x="6034984" y="2366782"/>
              <a:ext cx="299878" cy="298636"/>
            </a:xfrm>
            <a:custGeom>
              <a:avLst/>
              <a:gdLst>
                <a:gd name="T0" fmla="*/ 1518 w 3384"/>
                <a:gd name="T1" fmla="*/ 2943 h 3362"/>
                <a:gd name="T2" fmla="*/ 1826 w 3384"/>
                <a:gd name="T3" fmla="*/ 3203 h 3362"/>
                <a:gd name="T4" fmla="*/ 1985 w 3384"/>
                <a:gd name="T5" fmla="*/ 3197 h 3362"/>
                <a:gd name="T6" fmla="*/ 2084 w 3384"/>
                <a:gd name="T7" fmla="*/ 3079 h 3362"/>
                <a:gd name="T8" fmla="*/ 2067 w 3384"/>
                <a:gd name="T9" fmla="*/ 2916 h 3362"/>
                <a:gd name="T10" fmla="*/ 1833 w 3384"/>
                <a:gd name="T11" fmla="*/ 2651 h 3362"/>
                <a:gd name="T12" fmla="*/ 1858 w 3384"/>
                <a:gd name="T13" fmla="*/ 2614 h 3362"/>
                <a:gd name="T14" fmla="*/ 2168 w 3384"/>
                <a:gd name="T15" fmla="*/ 2900 h 3362"/>
                <a:gd name="T16" fmla="*/ 2333 w 3384"/>
                <a:gd name="T17" fmla="*/ 2939 h 3362"/>
                <a:gd name="T18" fmla="*/ 2465 w 3384"/>
                <a:gd name="T19" fmla="*/ 2862 h 3362"/>
                <a:gd name="T20" fmla="*/ 2496 w 3384"/>
                <a:gd name="T21" fmla="*/ 2709 h 3362"/>
                <a:gd name="T22" fmla="*/ 2411 w 3384"/>
                <a:gd name="T23" fmla="*/ 2550 h 3362"/>
                <a:gd name="T24" fmla="*/ 2181 w 3384"/>
                <a:gd name="T25" fmla="*/ 2282 h 3362"/>
                <a:gd name="T26" fmla="*/ 2505 w 3384"/>
                <a:gd name="T27" fmla="*/ 2569 h 3362"/>
                <a:gd name="T28" fmla="*/ 2664 w 3384"/>
                <a:gd name="T29" fmla="*/ 2654 h 3362"/>
                <a:gd name="T30" fmla="*/ 2818 w 3384"/>
                <a:gd name="T31" fmla="*/ 2623 h 3362"/>
                <a:gd name="T32" fmla="*/ 2894 w 3384"/>
                <a:gd name="T33" fmla="*/ 2490 h 3362"/>
                <a:gd name="T34" fmla="*/ 2855 w 3384"/>
                <a:gd name="T35" fmla="*/ 2326 h 3362"/>
                <a:gd name="T36" fmla="*/ 2513 w 3384"/>
                <a:gd name="T37" fmla="*/ 1959 h 3362"/>
                <a:gd name="T38" fmla="*/ 2550 w 3384"/>
                <a:gd name="T39" fmla="*/ 1934 h 3362"/>
                <a:gd name="T40" fmla="*/ 2939 w 3384"/>
                <a:gd name="T41" fmla="*/ 2292 h 3362"/>
                <a:gd name="T42" fmla="*/ 3102 w 3384"/>
                <a:gd name="T43" fmla="*/ 2308 h 3362"/>
                <a:gd name="T44" fmla="*/ 3219 w 3384"/>
                <a:gd name="T45" fmla="*/ 2210 h 3362"/>
                <a:gd name="T46" fmla="*/ 3226 w 3384"/>
                <a:gd name="T47" fmla="*/ 2050 h 3362"/>
                <a:gd name="T48" fmla="*/ 1796 w 3384"/>
                <a:gd name="T49" fmla="*/ 571 h 3362"/>
                <a:gd name="T50" fmla="*/ 1221 w 3384"/>
                <a:gd name="T51" fmla="*/ 13 h 3362"/>
                <a:gd name="T52" fmla="*/ 2190 w 3384"/>
                <a:gd name="T53" fmla="*/ 4 h 3362"/>
                <a:gd name="T54" fmla="*/ 2285 w 3384"/>
                <a:gd name="T55" fmla="*/ 14 h 3362"/>
                <a:gd name="T56" fmla="*/ 3374 w 3384"/>
                <a:gd name="T57" fmla="*/ 1109 h 3362"/>
                <a:gd name="T58" fmla="*/ 3168 w 3384"/>
                <a:gd name="T59" fmla="*/ 1742 h 3362"/>
                <a:gd name="T60" fmla="*/ 3353 w 3384"/>
                <a:gd name="T61" fmla="*/ 1978 h 3362"/>
                <a:gd name="T62" fmla="*/ 3379 w 3384"/>
                <a:gd name="T63" fmla="*/ 2188 h 3362"/>
                <a:gd name="T64" fmla="*/ 3290 w 3384"/>
                <a:gd name="T65" fmla="*/ 2370 h 3362"/>
                <a:gd name="T66" fmla="*/ 3122 w 3384"/>
                <a:gd name="T67" fmla="*/ 2457 h 3362"/>
                <a:gd name="T68" fmla="*/ 3028 w 3384"/>
                <a:gd name="T69" fmla="*/ 2579 h 3362"/>
                <a:gd name="T70" fmla="*/ 2921 w 3384"/>
                <a:gd name="T71" fmla="*/ 2735 h 3362"/>
                <a:gd name="T72" fmla="*/ 2743 w 3384"/>
                <a:gd name="T73" fmla="*/ 2803 h 3362"/>
                <a:gd name="T74" fmla="*/ 2628 w 3384"/>
                <a:gd name="T75" fmla="*/ 2869 h 3362"/>
                <a:gd name="T76" fmla="*/ 2523 w 3384"/>
                <a:gd name="T77" fmla="*/ 3020 h 3362"/>
                <a:gd name="T78" fmla="*/ 2345 w 3384"/>
                <a:gd name="T79" fmla="*/ 3087 h 3362"/>
                <a:gd name="T80" fmla="*/ 2219 w 3384"/>
                <a:gd name="T81" fmla="*/ 3148 h 3362"/>
                <a:gd name="T82" fmla="*/ 2115 w 3384"/>
                <a:gd name="T83" fmla="*/ 3293 h 3362"/>
                <a:gd name="T84" fmla="*/ 1938 w 3384"/>
                <a:gd name="T85" fmla="*/ 3361 h 3362"/>
                <a:gd name="T86" fmla="*/ 1692 w 3384"/>
                <a:gd name="T87" fmla="*/ 3299 h 3362"/>
                <a:gd name="T88" fmla="*/ 1447 w 3384"/>
                <a:gd name="T89" fmla="*/ 3361 h 3362"/>
                <a:gd name="T90" fmla="*/ 1268 w 3384"/>
                <a:gd name="T91" fmla="*/ 3293 h 3362"/>
                <a:gd name="T92" fmla="*/ 1165 w 3384"/>
                <a:gd name="T93" fmla="*/ 3148 h 3362"/>
                <a:gd name="T94" fmla="*/ 1038 w 3384"/>
                <a:gd name="T95" fmla="*/ 3087 h 3362"/>
                <a:gd name="T96" fmla="*/ 860 w 3384"/>
                <a:gd name="T97" fmla="*/ 3020 h 3362"/>
                <a:gd name="T98" fmla="*/ 756 w 3384"/>
                <a:gd name="T99" fmla="*/ 2869 h 3362"/>
                <a:gd name="T100" fmla="*/ 642 w 3384"/>
                <a:gd name="T101" fmla="*/ 2803 h 3362"/>
                <a:gd name="T102" fmla="*/ 463 w 3384"/>
                <a:gd name="T103" fmla="*/ 2735 h 3362"/>
                <a:gd name="T104" fmla="*/ 356 w 3384"/>
                <a:gd name="T105" fmla="*/ 2579 h 3362"/>
                <a:gd name="T106" fmla="*/ 261 w 3384"/>
                <a:gd name="T107" fmla="*/ 2457 h 3362"/>
                <a:gd name="T108" fmla="*/ 93 w 3384"/>
                <a:gd name="T109" fmla="*/ 2370 h 3362"/>
                <a:gd name="T110" fmla="*/ 4 w 3384"/>
                <a:gd name="T111" fmla="*/ 2188 h 3362"/>
                <a:gd name="T112" fmla="*/ 31 w 3384"/>
                <a:gd name="T113" fmla="*/ 1978 h 3362"/>
                <a:gd name="T114" fmla="*/ 216 w 3384"/>
                <a:gd name="T115" fmla="*/ 1742 h 3362"/>
                <a:gd name="T116" fmla="*/ 2 w 3384"/>
                <a:gd name="T117" fmla="*/ 1134 h 3362"/>
                <a:gd name="T118" fmla="*/ 1081 w 3384"/>
                <a:gd name="T119" fmla="*/ 26 h 3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384" h="3362">
                  <a:moveTo>
                    <a:pt x="1170" y="148"/>
                  </a:moveTo>
                  <a:lnTo>
                    <a:pt x="147" y="1170"/>
                  </a:lnTo>
                  <a:lnTo>
                    <a:pt x="408" y="1835"/>
                  </a:lnTo>
                  <a:lnTo>
                    <a:pt x="981" y="2408"/>
                  </a:lnTo>
                  <a:lnTo>
                    <a:pt x="1518" y="2943"/>
                  </a:lnTo>
                  <a:lnTo>
                    <a:pt x="1700" y="3127"/>
                  </a:lnTo>
                  <a:lnTo>
                    <a:pt x="1730" y="3152"/>
                  </a:lnTo>
                  <a:lnTo>
                    <a:pt x="1761" y="3175"/>
                  </a:lnTo>
                  <a:lnTo>
                    <a:pt x="1792" y="3192"/>
                  </a:lnTo>
                  <a:lnTo>
                    <a:pt x="1826" y="3203"/>
                  </a:lnTo>
                  <a:lnTo>
                    <a:pt x="1859" y="3212"/>
                  </a:lnTo>
                  <a:lnTo>
                    <a:pt x="1892" y="3215"/>
                  </a:lnTo>
                  <a:lnTo>
                    <a:pt x="1925" y="3214"/>
                  </a:lnTo>
                  <a:lnTo>
                    <a:pt x="1957" y="3207"/>
                  </a:lnTo>
                  <a:lnTo>
                    <a:pt x="1985" y="3197"/>
                  </a:lnTo>
                  <a:lnTo>
                    <a:pt x="2013" y="3181"/>
                  </a:lnTo>
                  <a:lnTo>
                    <a:pt x="2037" y="3161"/>
                  </a:lnTo>
                  <a:lnTo>
                    <a:pt x="2058" y="3136"/>
                  </a:lnTo>
                  <a:lnTo>
                    <a:pt x="2073" y="3109"/>
                  </a:lnTo>
                  <a:lnTo>
                    <a:pt x="2084" y="3079"/>
                  </a:lnTo>
                  <a:lnTo>
                    <a:pt x="2089" y="3048"/>
                  </a:lnTo>
                  <a:lnTo>
                    <a:pt x="2092" y="3015"/>
                  </a:lnTo>
                  <a:lnTo>
                    <a:pt x="2088" y="2983"/>
                  </a:lnTo>
                  <a:lnTo>
                    <a:pt x="2080" y="2950"/>
                  </a:lnTo>
                  <a:lnTo>
                    <a:pt x="2067" y="2916"/>
                  </a:lnTo>
                  <a:lnTo>
                    <a:pt x="2050" y="2884"/>
                  </a:lnTo>
                  <a:lnTo>
                    <a:pt x="2029" y="2853"/>
                  </a:lnTo>
                  <a:lnTo>
                    <a:pt x="2003" y="2825"/>
                  </a:lnTo>
                  <a:lnTo>
                    <a:pt x="1838" y="2659"/>
                  </a:lnTo>
                  <a:lnTo>
                    <a:pt x="1833" y="2651"/>
                  </a:lnTo>
                  <a:lnTo>
                    <a:pt x="1832" y="2641"/>
                  </a:lnTo>
                  <a:lnTo>
                    <a:pt x="1834" y="2630"/>
                  </a:lnTo>
                  <a:lnTo>
                    <a:pt x="1839" y="2622"/>
                  </a:lnTo>
                  <a:lnTo>
                    <a:pt x="1848" y="2616"/>
                  </a:lnTo>
                  <a:lnTo>
                    <a:pt x="1858" y="2614"/>
                  </a:lnTo>
                  <a:lnTo>
                    <a:pt x="1868" y="2616"/>
                  </a:lnTo>
                  <a:lnTo>
                    <a:pt x="1876" y="2621"/>
                  </a:lnTo>
                  <a:lnTo>
                    <a:pt x="2108" y="2853"/>
                  </a:lnTo>
                  <a:lnTo>
                    <a:pt x="2137" y="2879"/>
                  </a:lnTo>
                  <a:lnTo>
                    <a:pt x="2168" y="2900"/>
                  </a:lnTo>
                  <a:lnTo>
                    <a:pt x="2201" y="2917"/>
                  </a:lnTo>
                  <a:lnTo>
                    <a:pt x="2234" y="2930"/>
                  </a:lnTo>
                  <a:lnTo>
                    <a:pt x="2268" y="2937"/>
                  </a:lnTo>
                  <a:lnTo>
                    <a:pt x="2300" y="2941"/>
                  </a:lnTo>
                  <a:lnTo>
                    <a:pt x="2333" y="2939"/>
                  </a:lnTo>
                  <a:lnTo>
                    <a:pt x="2364" y="2933"/>
                  </a:lnTo>
                  <a:lnTo>
                    <a:pt x="2394" y="2922"/>
                  </a:lnTo>
                  <a:lnTo>
                    <a:pt x="2420" y="2907"/>
                  </a:lnTo>
                  <a:lnTo>
                    <a:pt x="2445" y="2886"/>
                  </a:lnTo>
                  <a:lnTo>
                    <a:pt x="2465" y="2862"/>
                  </a:lnTo>
                  <a:lnTo>
                    <a:pt x="2481" y="2835"/>
                  </a:lnTo>
                  <a:lnTo>
                    <a:pt x="2491" y="2805"/>
                  </a:lnTo>
                  <a:lnTo>
                    <a:pt x="2498" y="2775"/>
                  </a:lnTo>
                  <a:lnTo>
                    <a:pt x="2499" y="2742"/>
                  </a:lnTo>
                  <a:lnTo>
                    <a:pt x="2496" y="2709"/>
                  </a:lnTo>
                  <a:lnTo>
                    <a:pt x="2487" y="2675"/>
                  </a:lnTo>
                  <a:lnTo>
                    <a:pt x="2475" y="2642"/>
                  </a:lnTo>
                  <a:lnTo>
                    <a:pt x="2458" y="2610"/>
                  </a:lnTo>
                  <a:lnTo>
                    <a:pt x="2437" y="2580"/>
                  </a:lnTo>
                  <a:lnTo>
                    <a:pt x="2411" y="2550"/>
                  </a:lnTo>
                  <a:lnTo>
                    <a:pt x="2180" y="2319"/>
                  </a:lnTo>
                  <a:lnTo>
                    <a:pt x="2173" y="2309"/>
                  </a:lnTo>
                  <a:lnTo>
                    <a:pt x="2172" y="2300"/>
                  </a:lnTo>
                  <a:lnTo>
                    <a:pt x="2174" y="2290"/>
                  </a:lnTo>
                  <a:lnTo>
                    <a:pt x="2181" y="2282"/>
                  </a:lnTo>
                  <a:lnTo>
                    <a:pt x="2189" y="2275"/>
                  </a:lnTo>
                  <a:lnTo>
                    <a:pt x="2199" y="2273"/>
                  </a:lnTo>
                  <a:lnTo>
                    <a:pt x="2208" y="2275"/>
                  </a:lnTo>
                  <a:lnTo>
                    <a:pt x="2217" y="2280"/>
                  </a:lnTo>
                  <a:lnTo>
                    <a:pt x="2505" y="2569"/>
                  </a:lnTo>
                  <a:lnTo>
                    <a:pt x="2535" y="2594"/>
                  </a:lnTo>
                  <a:lnTo>
                    <a:pt x="2566" y="2616"/>
                  </a:lnTo>
                  <a:lnTo>
                    <a:pt x="2597" y="2633"/>
                  </a:lnTo>
                  <a:lnTo>
                    <a:pt x="2631" y="2645"/>
                  </a:lnTo>
                  <a:lnTo>
                    <a:pt x="2664" y="2654"/>
                  </a:lnTo>
                  <a:lnTo>
                    <a:pt x="2697" y="2657"/>
                  </a:lnTo>
                  <a:lnTo>
                    <a:pt x="2730" y="2655"/>
                  </a:lnTo>
                  <a:lnTo>
                    <a:pt x="2762" y="2650"/>
                  </a:lnTo>
                  <a:lnTo>
                    <a:pt x="2790" y="2639"/>
                  </a:lnTo>
                  <a:lnTo>
                    <a:pt x="2818" y="2623"/>
                  </a:lnTo>
                  <a:lnTo>
                    <a:pt x="2842" y="2603"/>
                  </a:lnTo>
                  <a:lnTo>
                    <a:pt x="2863" y="2579"/>
                  </a:lnTo>
                  <a:lnTo>
                    <a:pt x="2878" y="2551"/>
                  </a:lnTo>
                  <a:lnTo>
                    <a:pt x="2889" y="2521"/>
                  </a:lnTo>
                  <a:lnTo>
                    <a:pt x="2894" y="2490"/>
                  </a:lnTo>
                  <a:lnTo>
                    <a:pt x="2897" y="2458"/>
                  </a:lnTo>
                  <a:lnTo>
                    <a:pt x="2893" y="2425"/>
                  </a:lnTo>
                  <a:lnTo>
                    <a:pt x="2885" y="2391"/>
                  </a:lnTo>
                  <a:lnTo>
                    <a:pt x="2872" y="2358"/>
                  </a:lnTo>
                  <a:lnTo>
                    <a:pt x="2855" y="2326"/>
                  </a:lnTo>
                  <a:lnTo>
                    <a:pt x="2834" y="2295"/>
                  </a:lnTo>
                  <a:lnTo>
                    <a:pt x="2808" y="2266"/>
                  </a:lnTo>
                  <a:lnTo>
                    <a:pt x="2520" y="1977"/>
                  </a:lnTo>
                  <a:lnTo>
                    <a:pt x="2515" y="1969"/>
                  </a:lnTo>
                  <a:lnTo>
                    <a:pt x="2513" y="1959"/>
                  </a:lnTo>
                  <a:lnTo>
                    <a:pt x="2515" y="1950"/>
                  </a:lnTo>
                  <a:lnTo>
                    <a:pt x="2521" y="1941"/>
                  </a:lnTo>
                  <a:lnTo>
                    <a:pt x="2530" y="1935"/>
                  </a:lnTo>
                  <a:lnTo>
                    <a:pt x="2539" y="1933"/>
                  </a:lnTo>
                  <a:lnTo>
                    <a:pt x="2550" y="1934"/>
                  </a:lnTo>
                  <a:lnTo>
                    <a:pt x="2558" y="1940"/>
                  </a:lnTo>
                  <a:lnTo>
                    <a:pt x="2847" y="2229"/>
                  </a:lnTo>
                  <a:lnTo>
                    <a:pt x="2875" y="2254"/>
                  </a:lnTo>
                  <a:lnTo>
                    <a:pt x="2906" y="2275"/>
                  </a:lnTo>
                  <a:lnTo>
                    <a:pt x="2939" y="2292"/>
                  </a:lnTo>
                  <a:lnTo>
                    <a:pt x="2972" y="2305"/>
                  </a:lnTo>
                  <a:lnTo>
                    <a:pt x="3005" y="2312"/>
                  </a:lnTo>
                  <a:lnTo>
                    <a:pt x="3039" y="2317"/>
                  </a:lnTo>
                  <a:lnTo>
                    <a:pt x="3070" y="2314"/>
                  </a:lnTo>
                  <a:lnTo>
                    <a:pt x="3102" y="2308"/>
                  </a:lnTo>
                  <a:lnTo>
                    <a:pt x="3132" y="2297"/>
                  </a:lnTo>
                  <a:lnTo>
                    <a:pt x="3158" y="2283"/>
                  </a:lnTo>
                  <a:lnTo>
                    <a:pt x="3183" y="2261"/>
                  </a:lnTo>
                  <a:lnTo>
                    <a:pt x="3203" y="2237"/>
                  </a:lnTo>
                  <a:lnTo>
                    <a:pt x="3219" y="2210"/>
                  </a:lnTo>
                  <a:lnTo>
                    <a:pt x="3230" y="2181"/>
                  </a:lnTo>
                  <a:lnTo>
                    <a:pt x="3236" y="2150"/>
                  </a:lnTo>
                  <a:lnTo>
                    <a:pt x="3237" y="2117"/>
                  </a:lnTo>
                  <a:lnTo>
                    <a:pt x="3234" y="2084"/>
                  </a:lnTo>
                  <a:lnTo>
                    <a:pt x="3226" y="2050"/>
                  </a:lnTo>
                  <a:lnTo>
                    <a:pt x="3214" y="2017"/>
                  </a:lnTo>
                  <a:lnTo>
                    <a:pt x="3197" y="1986"/>
                  </a:lnTo>
                  <a:lnTo>
                    <a:pt x="3175" y="1954"/>
                  </a:lnTo>
                  <a:lnTo>
                    <a:pt x="3150" y="1925"/>
                  </a:lnTo>
                  <a:lnTo>
                    <a:pt x="1796" y="571"/>
                  </a:lnTo>
                  <a:lnTo>
                    <a:pt x="1170" y="148"/>
                  </a:lnTo>
                  <a:close/>
                  <a:moveTo>
                    <a:pt x="1166" y="0"/>
                  </a:moveTo>
                  <a:lnTo>
                    <a:pt x="1166" y="0"/>
                  </a:lnTo>
                  <a:lnTo>
                    <a:pt x="1193" y="4"/>
                  </a:lnTo>
                  <a:lnTo>
                    <a:pt x="1221" y="13"/>
                  </a:lnTo>
                  <a:lnTo>
                    <a:pt x="1247" y="27"/>
                  </a:lnTo>
                  <a:lnTo>
                    <a:pt x="1692" y="328"/>
                  </a:lnTo>
                  <a:lnTo>
                    <a:pt x="2137" y="27"/>
                  </a:lnTo>
                  <a:lnTo>
                    <a:pt x="2164" y="13"/>
                  </a:lnTo>
                  <a:lnTo>
                    <a:pt x="2190" y="4"/>
                  </a:lnTo>
                  <a:lnTo>
                    <a:pt x="2219" y="0"/>
                  </a:lnTo>
                  <a:lnTo>
                    <a:pt x="2219" y="0"/>
                  </a:lnTo>
                  <a:lnTo>
                    <a:pt x="2241" y="1"/>
                  </a:lnTo>
                  <a:lnTo>
                    <a:pt x="2263" y="5"/>
                  </a:lnTo>
                  <a:lnTo>
                    <a:pt x="2285" y="14"/>
                  </a:lnTo>
                  <a:lnTo>
                    <a:pt x="2304" y="26"/>
                  </a:lnTo>
                  <a:lnTo>
                    <a:pt x="2322" y="40"/>
                  </a:lnTo>
                  <a:lnTo>
                    <a:pt x="3344" y="1063"/>
                  </a:lnTo>
                  <a:lnTo>
                    <a:pt x="3361" y="1084"/>
                  </a:lnTo>
                  <a:lnTo>
                    <a:pt x="3374" y="1109"/>
                  </a:lnTo>
                  <a:lnTo>
                    <a:pt x="3381" y="1134"/>
                  </a:lnTo>
                  <a:lnTo>
                    <a:pt x="3384" y="1162"/>
                  </a:lnTo>
                  <a:lnTo>
                    <a:pt x="3381" y="1189"/>
                  </a:lnTo>
                  <a:lnTo>
                    <a:pt x="3374" y="1217"/>
                  </a:lnTo>
                  <a:lnTo>
                    <a:pt x="3168" y="1742"/>
                  </a:lnTo>
                  <a:lnTo>
                    <a:pt x="3251" y="1824"/>
                  </a:lnTo>
                  <a:lnTo>
                    <a:pt x="3283" y="1860"/>
                  </a:lnTo>
                  <a:lnTo>
                    <a:pt x="3310" y="1898"/>
                  </a:lnTo>
                  <a:lnTo>
                    <a:pt x="3333" y="1938"/>
                  </a:lnTo>
                  <a:lnTo>
                    <a:pt x="3353" y="1978"/>
                  </a:lnTo>
                  <a:lnTo>
                    <a:pt x="3367" y="2021"/>
                  </a:lnTo>
                  <a:lnTo>
                    <a:pt x="3377" y="2062"/>
                  </a:lnTo>
                  <a:lnTo>
                    <a:pt x="3382" y="2104"/>
                  </a:lnTo>
                  <a:lnTo>
                    <a:pt x="3383" y="2147"/>
                  </a:lnTo>
                  <a:lnTo>
                    <a:pt x="3379" y="2188"/>
                  </a:lnTo>
                  <a:lnTo>
                    <a:pt x="3371" y="2229"/>
                  </a:lnTo>
                  <a:lnTo>
                    <a:pt x="3358" y="2267"/>
                  </a:lnTo>
                  <a:lnTo>
                    <a:pt x="3340" y="2304"/>
                  </a:lnTo>
                  <a:lnTo>
                    <a:pt x="3318" y="2338"/>
                  </a:lnTo>
                  <a:lnTo>
                    <a:pt x="3290" y="2370"/>
                  </a:lnTo>
                  <a:lnTo>
                    <a:pt x="3261" y="2394"/>
                  </a:lnTo>
                  <a:lnTo>
                    <a:pt x="3230" y="2416"/>
                  </a:lnTo>
                  <a:lnTo>
                    <a:pt x="3197" y="2433"/>
                  </a:lnTo>
                  <a:lnTo>
                    <a:pt x="3161" y="2447"/>
                  </a:lnTo>
                  <a:lnTo>
                    <a:pt x="3122" y="2457"/>
                  </a:lnTo>
                  <a:lnTo>
                    <a:pt x="3083" y="2462"/>
                  </a:lnTo>
                  <a:lnTo>
                    <a:pt x="3043" y="2463"/>
                  </a:lnTo>
                  <a:lnTo>
                    <a:pt x="3042" y="2502"/>
                  </a:lnTo>
                  <a:lnTo>
                    <a:pt x="3037" y="2540"/>
                  </a:lnTo>
                  <a:lnTo>
                    <a:pt x="3028" y="2579"/>
                  </a:lnTo>
                  <a:lnTo>
                    <a:pt x="3014" y="2615"/>
                  </a:lnTo>
                  <a:lnTo>
                    <a:pt x="2997" y="2649"/>
                  </a:lnTo>
                  <a:lnTo>
                    <a:pt x="2975" y="2680"/>
                  </a:lnTo>
                  <a:lnTo>
                    <a:pt x="2948" y="2710"/>
                  </a:lnTo>
                  <a:lnTo>
                    <a:pt x="2921" y="2735"/>
                  </a:lnTo>
                  <a:lnTo>
                    <a:pt x="2889" y="2757"/>
                  </a:lnTo>
                  <a:lnTo>
                    <a:pt x="2855" y="2775"/>
                  </a:lnTo>
                  <a:lnTo>
                    <a:pt x="2819" y="2789"/>
                  </a:lnTo>
                  <a:lnTo>
                    <a:pt x="2782" y="2798"/>
                  </a:lnTo>
                  <a:lnTo>
                    <a:pt x="2743" y="2803"/>
                  </a:lnTo>
                  <a:lnTo>
                    <a:pt x="2701" y="2804"/>
                  </a:lnTo>
                  <a:lnTo>
                    <a:pt x="2673" y="2802"/>
                  </a:lnTo>
                  <a:lnTo>
                    <a:pt x="2643" y="2798"/>
                  </a:lnTo>
                  <a:lnTo>
                    <a:pt x="2638" y="2834"/>
                  </a:lnTo>
                  <a:lnTo>
                    <a:pt x="2628" y="2869"/>
                  </a:lnTo>
                  <a:lnTo>
                    <a:pt x="2614" y="2903"/>
                  </a:lnTo>
                  <a:lnTo>
                    <a:pt x="2597" y="2936"/>
                  </a:lnTo>
                  <a:lnTo>
                    <a:pt x="2576" y="2967"/>
                  </a:lnTo>
                  <a:lnTo>
                    <a:pt x="2552" y="2994"/>
                  </a:lnTo>
                  <a:lnTo>
                    <a:pt x="2523" y="3020"/>
                  </a:lnTo>
                  <a:lnTo>
                    <a:pt x="2491" y="3041"/>
                  </a:lnTo>
                  <a:lnTo>
                    <a:pt x="2458" y="3059"/>
                  </a:lnTo>
                  <a:lnTo>
                    <a:pt x="2422" y="3073"/>
                  </a:lnTo>
                  <a:lnTo>
                    <a:pt x="2384" y="3082"/>
                  </a:lnTo>
                  <a:lnTo>
                    <a:pt x="2345" y="3087"/>
                  </a:lnTo>
                  <a:lnTo>
                    <a:pt x="2305" y="3088"/>
                  </a:lnTo>
                  <a:lnTo>
                    <a:pt x="2270" y="3085"/>
                  </a:lnTo>
                  <a:lnTo>
                    <a:pt x="2235" y="3079"/>
                  </a:lnTo>
                  <a:lnTo>
                    <a:pt x="2228" y="3114"/>
                  </a:lnTo>
                  <a:lnTo>
                    <a:pt x="2219" y="3148"/>
                  </a:lnTo>
                  <a:lnTo>
                    <a:pt x="2205" y="3181"/>
                  </a:lnTo>
                  <a:lnTo>
                    <a:pt x="2188" y="3212"/>
                  </a:lnTo>
                  <a:lnTo>
                    <a:pt x="2168" y="3241"/>
                  </a:lnTo>
                  <a:lnTo>
                    <a:pt x="2143" y="3268"/>
                  </a:lnTo>
                  <a:lnTo>
                    <a:pt x="2115" y="3293"/>
                  </a:lnTo>
                  <a:lnTo>
                    <a:pt x="2084" y="3315"/>
                  </a:lnTo>
                  <a:lnTo>
                    <a:pt x="2050" y="3333"/>
                  </a:lnTo>
                  <a:lnTo>
                    <a:pt x="2014" y="3346"/>
                  </a:lnTo>
                  <a:lnTo>
                    <a:pt x="1977" y="3356"/>
                  </a:lnTo>
                  <a:lnTo>
                    <a:pt x="1938" y="3361"/>
                  </a:lnTo>
                  <a:lnTo>
                    <a:pt x="1896" y="3362"/>
                  </a:lnTo>
                  <a:lnTo>
                    <a:pt x="1844" y="3357"/>
                  </a:lnTo>
                  <a:lnTo>
                    <a:pt x="1791" y="3344"/>
                  </a:lnTo>
                  <a:lnTo>
                    <a:pt x="1740" y="3324"/>
                  </a:lnTo>
                  <a:lnTo>
                    <a:pt x="1692" y="3299"/>
                  </a:lnTo>
                  <a:lnTo>
                    <a:pt x="1643" y="3324"/>
                  </a:lnTo>
                  <a:lnTo>
                    <a:pt x="1592" y="3344"/>
                  </a:lnTo>
                  <a:lnTo>
                    <a:pt x="1540" y="3357"/>
                  </a:lnTo>
                  <a:lnTo>
                    <a:pt x="1487" y="3362"/>
                  </a:lnTo>
                  <a:lnTo>
                    <a:pt x="1447" y="3361"/>
                  </a:lnTo>
                  <a:lnTo>
                    <a:pt x="1407" y="3356"/>
                  </a:lnTo>
                  <a:lnTo>
                    <a:pt x="1369" y="3346"/>
                  </a:lnTo>
                  <a:lnTo>
                    <a:pt x="1333" y="3333"/>
                  </a:lnTo>
                  <a:lnTo>
                    <a:pt x="1299" y="3315"/>
                  </a:lnTo>
                  <a:lnTo>
                    <a:pt x="1268" y="3293"/>
                  </a:lnTo>
                  <a:lnTo>
                    <a:pt x="1240" y="3268"/>
                  </a:lnTo>
                  <a:lnTo>
                    <a:pt x="1215" y="3241"/>
                  </a:lnTo>
                  <a:lnTo>
                    <a:pt x="1195" y="3212"/>
                  </a:lnTo>
                  <a:lnTo>
                    <a:pt x="1178" y="3181"/>
                  </a:lnTo>
                  <a:lnTo>
                    <a:pt x="1165" y="3148"/>
                  </a:lnTo>
                  <a:lnTo>
                    <a:pt x="1155" y="3114"/>
                  </a:lnTo>
                  <a:lnTo>
                    <a:pt x="1149" y="3079"/>
                  </a:lnTo>
                  <a:lnTo>
                    <a:pt x="1114" y="3085"/>
                  </a:lnTo>
                  <a:lnTo>
                    <a:pt x="1079" y="3088"/>
                  </a:lnTo>
                  <a:lnTo>
                    <a:pt x="1038" y="3087"/>
                  </a:lnTo>
                  <a:lnTo>
                    <a:pt x="999" y="3082"/>
                  </a:lnTo>
                  <a:lnTo>
                    <a:pt x="962" y="3073"/>
                  </a:lnTo>
                  <a:lnTo>
                    <a:pt x="926" y="3059"/>
                  </a:lnTo>
                  <a:lnTo>
                    <a:pt x="892" y="3041"/>
                  </a:lnTo>
                  <a:lnTo>
                    <a:pt x="860" y="3020"/>
                  </a:lnTo>
                  <a:lnTo>
                    <a:pt x="832" y="2994"/>
                  </a:lnTo>
                  <a:lnTo>
                    <a:pt x="807" y="2967"/>
                  </a:lnTo>
                  <a:lnTo>
                    <a:pt x="786" y="2936"/>
                  </a:lnTo>
                  <a:lnTo>
                    <a:pt x="769" y="2903"/>
                  </a:lnTo>
                  <a:lnTo>
                    <a:pt x="756" y="2869"/>
                  </a:lnTo>
                  <a:lnTo>
                    <a:pt x="747" y="2834"/>
                  </a:lnTo>
                  <a:lnTo>
                    <a:pt x="740" y="2798"/>
                  </a:lnTo>
                  <a:lnTo>
                    <a:pt x="712" y="2802"/>
                  </a:lnTo>
                  <a:lnTo>
                    <a:pt x="682" y="2804"/>
                  </a:lnTo>
                  <a:lnTo>
                    <a:pt x="642" y="2803"/>
                  </a:lnTo>
                  <a:lnTo>
                    <a:pt x="602" y="2798"/>
                  </a:lnTo>
                  <a:lnTo>
                    <a:pt x="564" y="2789"/>
                  </a:lnTo>
                  <a:lnTo>
                    <a:pt x="528" y="2775"/>
                  </a:lnTo>
                  <a:lnTo>
                    <a:pt x="494" y="2757"/>
                  </a:lnTo>
                  <a:lnTo>
                    <a:pt x="463" y="2735"/>
                  </a:lnTo>
                  <a:lnTo>
                    <a:pt x="435" y="2710"/>
                  </a:lnTo>
                  <a:lnTo>
                    <a:pt x="408" y="2680"/>
                  </a:lnTo>
                  <a:lnTo>
                    <a:pt x="387" y="2649"/>
                  </a:lnTo>
                  <a:lnTo>
                    <a:pt x="369" y="2615"/>
                  </a:lnTo>
                  <a:lnTo>
                    <a:pt x="356" y="2579"/>
                  </a:lnTo>
                  <a:lnTo>
                    <a:pt x="347" y="2540"/>
                  </a:lnTo>
                  <a:lnTo>
                    <a:pt x="342" y="2502"/>
                  </a:lnTo>
                  <a:lnTo>
                    <a:pt x="340" y="2463"/>
                  </a:lnTo>
                  <a:lnTo>
                    <a:pt x="300" y="2462"/>
                  </a:lnTo>
                  <a:lnTo>
                    <a:pt x="261" y="2457"/>
                  </a:lnTo>
                  <a:lnTo>
                    <a:pt x="224" y="2447"/>
                  </a:lnTo>
                  <a:lnTo>
                    <a:pt x="188" y="2433"/>
                  </a:lnTo>
                  <a:lnTo>
                    <a:pt x="154" y="2416"/>
                  </a:lnTo>
                  <a:lnTo>
                    <a:pt x="122" y="2394"/>
                  </a:lnTo>
                  <a:lnTo>
                    <a:pt x="93" y="2370"/>
                  </a:lnTo>
                  <a:lnTo>
                    <a:pt x="66" y="2338"/>
                  </a:lnTo>
                  <a:lnTo>
                    <a:pt x="43" y="2304"/>
                  </a:lnTo>
                  <a:lnTo>
                    <a:pt x="25" y="2267"/>
                  </a:lnTo>
                  <a:lnTo>
                    <a:pt x="13" y="2229"/>
                  </a:lnTo>
                  <a:lnTo>
                    <a:pt x="4" y="2188"/>
                  </a:lnTo>
                  <a:lnTo>
                    <a:pt x="0" y="2147"/>
                  </a:lnTo>
                  <a:lnTo>
                    <a:pt x="1" y="2104"/>
                  </a:lnTo>
                  <a:lnTo>
                    <a:pt x="6" y="2062"/>
                  </a:lnTo>
                  <a:lnTo>
                    <a:pt x="17" y="2021"/>
                  </a:lnTo>
                  <a:lnTo>
                    <a:pt x="31" y="1978"/>
                  </a:lnTo>
                  <a:lnTo>
                    <a:pt x="50" y="1938"/>
                  </a:lnTo>
                  <a:lnTo>
                    <a:pt x="73" y="1898"/>
                  </a:lnTo>
                  <a:lnTo>
                    <a:pt x="101" y="1860"/>
                  </a:lnTo>
                  <a:lnTo>
                    <a:pt x="134" y="1824"/>
                  </a:lnTo>
                  <a:lnTo>
                    <a:pt x="216" y="1742"/>
                  </a:lnTo>
                  <a:lnTo>
                    <a:pt x="11" y="1217"/>
                  </a:lnTo>
                  <a:lnTo>
                    <a:pt x="2" y="1189"/>
                  </a:lnTo>
                  <a:lnTo>
                    <a:pt x="0" y="1163"/>
                  </a:lnTo>
                  <a:lnTo>
                    <a:pt x="0" y="1160"/>
                  </a:lnTo>
                  <a:lnTo>
                    <a:pt x="2" y="1134"/>
                  </a:lnTo>
                  <a:lnTo>
                    <a:pt x="11" y="1109"/>
                  </a:lnTo>
                  <a:lnTo>
                    <a:pt x="22" y="1084"/>
                  </a:lnTo>
                  <a:lnTo>
                    <a:pt x="40" y="1063"/>
                  </a:lnTo>
                  <a:lnTo>
                    <a:pt x="1063" y="40"/>
                  </a:lnTo>
                  <a:lnTo>
                    <a:pt x="1081" y="26"/>
                  </a:lnTo>
                  <a:lnTo>
                    <a:pt x="1100" y="14"/>
                  </a:lnTo>
                  <a:lnTo>
                    <a:pt x="1121" y="5"/>
                  </a:lnTo>
                  <a:lnTo>
                    <a:pt x="1143" y="1"/>
                  </a:lnTo>
                  <a:lnTo>
                    <a:pt x="1166"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grpSp>
      <p:grpSp>
        <p:nvGrpSpPr>
          <p:cNvPr id="9" name="Group 19">
            <a:extLst>
              <a:ext uri="{FF2B5EF4-FFF2-40B4-BE49-F238E27FC236}">
                <a16:creationId xmlns:a16="http://schemas.microsoft.com/office/drawing/2014/main" id="{1A33039C-0E3C-402F-A292-63D115881125}"/>
              </a:ext>
            </a:extLst>
          </p:cNvPr>
          <p:cNvGrpSpPr/>
          <p:nvPr/>
        </p:nvGrpSpPr>
        <p:grpSpPr>
          <a:xfrm>
            <a:off x="6883460" y="2482695"/>
            <a:ext cx="1055597" cy="1054112"/>
            <a:chOff x="6883458" y="2482695"/>
            <a:chExt cx="1055597" cy="1054112"/>
          </a:xfrm>
        </p:grpSpPr>
        <p:sp>
          <p:nvSpPr>
            <p:cNvPr id="10" name="Oval 9">
              <a:extLst>
                <a:ext uri="{FF2B5EF4-FFF2-40B4-BE49-F238E27FC236}">
                  <a16:creationId xmlns:a16="http://schemas.microsoft.com/office/drawing/2014/main" id="{0619DE93-A018-454E-92AF-B63EC601EB2E}"/>
                </a:ext>
              </a:extLst>
            </p:cNvPr>
            <p:cNvSpPr>
              <a:spLocks noChangeArrowheads="1"/>
            </p:cNvSpPr>
            <p:nvPr/>
          </p:nvSpPr>
          <p:spPr bwMode="auto">
            <a:xfrm>
              <a:off x="6883458" y="2482695"/>
              <a:ext cx="1055597" cy="1054112"/>
            </a:xfrm>
            <a:prstGeom prst="ellipse">
              <a:avLst/>
            </a:pr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nvGrpSpPr>
            <p:cNvPr id="11" name="Group 3">
              <a:extLst>
                <a:ext uri="{FF2B5EF4-FFF2-40B4-BE49-F238E27FC236}">
                  <a16:creationId xmlns:a16="http://schemas.microsoft.com/office/drawing/2014/main" id="{730D6616-EAF2-4485-84DA-B4054F1EB966}"/>
                </a:ext>
              </a:extLst>
            </p:cNvPr>
            <p:cNvGrpSpPr/>
            <p:nvPr/>
          </p:nvGrpSpPr>
          <p:grpSpPr>
            <a:xfrm>
              <a:off x="7266787" y="2859315"/>
              <a:ext cx="288938" cy="300873"/>
              <a:chOff x="-1073150" y="-1223963"/>
              <a:chExt cx="730249" cy="760413"/>
            </a:xfrm>
            <a:solidFill>
              <a:schemeClr val="bg1"/>
            </a:solidFill>
          </p:grpSpPr>
          <p:sp>
            <p:nvSpPr>
              <p:cNvPr id="12" name="Freeform 628">
                <a:extLst>
                  <a:ext uri="{FF2B5EF4-FFF2-40B4-BE49-F238E27FC236}">
                    <a16:creationId xmlns:a16="http://schemas.microsoft.com/office/drawing/2014/main" id="{223425B8-8EEC-4394-8D4E-6E59AA72846A}"/>
                  </a:ext>
                </a:extLst>
              </p:cNvPr>
              <p:cNvSpPr>
                <a:spLocks noEditPoints="1"/>
              </p:cNvSpPr>
              <p:nvPr/>
            </p:nvSpPr>
            <p:spPr bwMode="auto">
              <a:xfrm>
                <a:off x="-1073150" y="-1223963"/>
                <a:ext cx="466725" cy="760413"/>
              </a:xfrm>
              <a:custGeom>
                <a:avLst/>
                <a:gdLst>
                  <a:gd name="T0" fmla="*/ 1350 w 2061"/>
                  <a:gd name="T1" fmla="*/ 3064 h 3355"/>
                  <a:gd name="T2" fmla="*/ 1660 w 2061"/>
                  <a:gd name="T3" fmla="*/ 2751 h 3355"/>
                  <a:gd name="T4" fmla="*/ 876 w 2061"/>
                  <a:gd name="T5" fmla="*/ 2751 h 3355"/>
                  <a:gd name="T6" fmla="*/ 1186 w 2061"/>
                  <a:gd name="T7" fmla="*/ 3064 h 3355"/>
                  <a:gd name="T8" fmla="*/ 876 w 2061"/>
                  <a:gd name="T9" fmla="*/ 2751 h 3355"/>
                  <a:gd name="T10" fmla="*/ 402 w 2061"/>
                  <a:gd name="T11" fmla="*/ 3064 h 3355"/>
                  <a:gd name="T12" fmla="*/ 712 w 2061"/>
                  <a:gd name="T13" fmla="*/ 2751 h 3355"/>
                  <a:gd name="T14" fmla="*/ 1350 w 2061"/>
                  <a:gd name="T15" fmla="*/ 2225 h 3355"/>
                  <a:gd name="T16" fmla="*/ 1660 w 2061"/>
                  <a:gd name="T17" fmla="*/ 2538 h 3355"/>
                  <a:gd name="T18" fmla="*/ 1350 w 2061"/>
                  <a:gd name="T19" fmla="*/ 2225 h 3355"/>
                  <a:gd name="T20" fmla="*/ 876 w 2061"/>
                  <a:gd name="T21" fmla="*/ 2538 h 3355"/>
                  <a:gd name="T22" fmla="*/ 1186 w 2061"/>
                  <a:gd name="T23" fmla="*/ 2225 h 3355"/>
                  <a:gd name="T24" fmla="*/ 402 w 2061"/>
                  <a:gd name="T25" fmla="*/ 2225 h 3355"/>
                  <a:gd name="T26" fmla="*/ 712 w 2061"/>
                  <a:gd name="T27" fmla="*/ 2538 h 3355"/>
                  <a:gd name="T28" fmla="*/ 402 w 2061"/>
                  <a:gd name="T29" fmla="*/ 2225 h 3355"/>
                  <a:gd name="T30" fmla="*/ 1350 w 2061"/>
                  <a:gd name="T31" fmla="*/ 2014 h 3355"/>
                  <a:gd name="T32" fmla="*/ 1660 w 2061"/>
                  <a:gd name="T33" fmla="*/ 1701 h 3355"/>
                  <a:gd name="T34" fmla="*/ 876 w 2061"/>
                  <a:gd name="T35" fmla="*/ 1701 h 3355"/>
                  <a:gd name="T36" fmla="*/ 1186 w 2061"/>
                  <a:gd name="T37" fmla="*/ 2014 h 3355"/>
                  <a:gd name="T38" fmla="*/ 876 w 2061"/>
                  <a:gd name="T39" fmla="*/ 1701 h 3355"/>
                  <a:gd name="T40" fmla="*/ 402 w 2061"/>
                  <a:gd name="T41" fmla="*/ 2014 h 3355"/>
                  <a:gd name="T42" fmla="*/ 712 w 2061"/>
                  <a:gd name="T43" fmla="*/ 1701 h 3355"/>
                  <a:gd name="T44" fmla="*/ 718 w 2061"/>
                  <a:gd name="T45" fmla="*/ 217 h 3355"/>
                  <a:gd name="T46" fmla="*/ 718 w 2061"/>
                  <a:gd name="T47" fmla="*/ 446 h 3355"/>
                  <a:gd name="T48" fmla="*/ 834 w 2061"/>
                  <a:gd name="T49" fmla="*/ 119 h 3355"/>
                  <a:gd name="T50" fmla="*/ 393 w 2061"/>
                  <a:gd name="T51" fmla="*/ 564 h 3355"/>
                  <a:gd name="T52" fmla="*/ 1668 w 2061"/>
                  <a:gd name="T53" fmla="*/ 1410 h 3355"/>
                  <a:gd name="T54" fmla="*/ 834 w 2061"/>
                  <a:gd name="T55" fmla="*/ 119 h 3355"/>
                  <a:gd name="T56" fmla="*/ 1785 w 2061"/>
                  <a:gd name="T57" fmla="*/ 0 h 3355"/>
                  <a:gd name="T58" fmla="*/ 2061 w 2061"/>
                  <a:gd name="T59" fmla="*/ 1410 h 3355"/>
                  <a:gd name="T60" fmla="*/ 0 w 2061"/>
                  <a:gd name="T61" fmla="*/ 3355 h 3355"/>
                  <a:gd name="T62" fmla="*/ 276 w 2061"/>
                  <a:gd name="T63" fmla="*/ 1410 h 3355"/>
                  <a:gd name="T64" fmla="*/ 760 w 2061"/>
                  <a:gd name="T65" fmla="*/ 0 h 3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061" h="3355">
                    <a:moveTo>
                      <a:pt x="1350" y="2751"/>
                    </a:moveTo>
                    <a:lnTo>
                      <a:pt x="1350" y="3064"/>
                    </a:lnTo>
                    <a:lnTo>
                      <a:pt x="1660" y="3064"/>
                    </a:lnTo>
                    <a:lnTo>
                      <a:pt x="1660" y="2751"/>
                    </a:lnTo>
                    <a:lnTo>
                      <a:pt x="1350" y="2751"/>
                    </a:lnTo>
                    <a:close/>
                    <a:moveTo>
                      <a:pt x="876" y="2751"/>
                    </a:moveTo>
                    <a:lnTo>
                      <a:pt x="876" y="3064"/>
                    </a:lnTo>
                    <a:lnTo>
                      <a:pt x="1186" y="3064"/>
                    </a:lnTo>
                    <a:lnTo>
                      <a:pt x="1186" y="2751"/>
                    </a:lnTo>
                    <a:lnTo>
                      <a:pt x="876" y="2751"/>
                    </a:lnTo>
                    <a:close/>
                    <a:moveTo>
                      <a:pt x="402" y="2751"/>
                    </a:moveTo>
                    <a:lnTo>
                      <a:pt x="402" y="3064"/>
                    </a:lnTo>
                    <a:lnTo>
                      <a:pt x="712" y="3064"/>
                    </a:lnTo>
                    <a:lnTo>
                      <a:pt x="712" y="2751"/>
                    </a:lnTo>
                    <a:lnTo>
                      <a:pt x="402" y="2751"/>
                    </a:lnTo>
                    <a:close/>
                    <a:moveTo>
                      <a:pt x="1350" y="2225"/>
                    </a:moveTo>
                    <a:lnTo>
                      <a:pt x="1350" y="2538"/>
                    </a:lnTo>
                    <a:lnTo>
                      <a:pt x="1660" y="2538"/>
                    </a:lnTo>
                    <a:lnTo>
                      <a:pt x="1660" y="2225"/>
                    </a:lnTo>
                    <a:lnTo>
                      <a:pt x="1350" y="2225"/>
                    </a:lnTo>
                    <a:close/>
                    <a:moveTo>
                      <a:pt x="876" y="2225"/>
                    </a:moveTo>
                    <a:lnTo>
                      <a:pt x="876" y="2538"/>
                    </a:lnTo>
                    <a:lnTo>
                      <a:pt x="1186" y="2538"/>
                    </a:lnTo>
                    <a:lnTo>
                      <a:pt x="1186" y="2225"/>
                    </a:lnTo>
                    <a:lnTo>
                      <a:pt x="876" y="2225"/>
                    </a:lnTo>
                    <a:close/>
                    <a:moveTo>
                      <a:pt x="402" y="2225"/>
                    </a:moveTo>
                    <a:lnTo>
                      <a:pt x="402" y="2538"/>
                    </a:lnTo>
                    <a:lnTo>
                      <a:pt x="712" y="2538"/>
                    </a:lnTo>
                    <a:lnTo>
                      <a:pt x="712" y="2225"/>
                    </a:lnTo>
                    <a:lnTo>
                      <a:pt x="402" y="2225"/>
                    </a:lnTo>
                    <a:close/>
                    <a:moveTo>
                      <a:pt x="1350" y="1701"/>
                    </a:moveTo>
                    <a:lnTo>
                      <a:pt x="1350" y="2014"/>
                    </a:lnTo>
                    <a:lnTo>
                      <a:pt x="1660" y="2014"/>
                    </a:lnTo>
                    <a:lnTo>
                      <a:pt x="1660" y="1701"/>
                    </a:lnTo>
                    <a:lnTo>
                      <a:pt x="1350" y="1701"/>
                    </a:lnTo>
                    <a:close/>
                    <a:moveTo>
                      <a:pt x="876" y="1701"/>
                    </a:moveTo>
                    <a:lnTo>
                      <a:pt x="876" y="2014"/>
                    </a:lnTo>
                    <a:lnTo>
                      <a:pt x="1186" y="2014"/>
                    </a:lnTo>
                    <a:lnTo>
                      <a:pt x="1186" y="1701"/>
                    </a:lnTo>
                    <a:lnTo>
                      <a:pt x="876" y="1701"/>
                    </a:lnTo>
                    <a:close/>
                    <a:moveTo>
                      <a:pt x="402" y="1701"/>
                    </a:moveTo>
                    <a:lnTo>
                      <a:pt x="402" y="2014"/>
                    </a:lnTo>
                    <a:lnTo>
                      <a:pt x="712" y="2014"/>
                    </a:lnTo>
                    <a:lnTo>
                      <a:pt x="712" y="1701"/>
                    </a:lnTo>
                    <a:lnTo>
                      <a:pt x="402" y="1701"/>
                    </a:lnTo>
                    <a:close/>
                    <a:moveTo>
                      <a:pt x="718" y="217"/>
                    </a:moveTo>
                    <a:lnTo>
                      <a:pt x="503" y="446"/>
                    </a:lnTo>
                    <a:lnTo>
                      <a:pt x="718" y="446"/>
                    </a:lnTo>
                    <a:lnTo>
                      <a:pt x="718" y="217"/>
                    </a:lnTo>
                    <a:close/>
                    <a:moveTo>
                      <a:pt x="834" y="119"/>
                    </a:moveTo>
                    <a:lnTo>
                      <a:pt x="834" y="564"/>
                    </a:lnTo>
                    <a:lnTo>
                      <a:pt x="393" y="564"/>
                    </a:lnTo>
                    <a:lnTo>
                      <a:pt x="393" y="1410"/>
                    </a:lnTo>
                    <a:lnTo>
                      <a:pt x="1668" y="1410"/>
                    </a:lnTo>
                    <a:lnTo>
                      <a:pt x="1668" y="119"/>
                    </a:lnTo>
                    <a:lnTo>
                      <a:pt x="834" y="119"/>
                    </a:lnTo>
                    <a:close/>
                    <a:moveTo>
                      <a:pt x="1237" y="0"/>
                    </a:moveTo>
                    <a:lnTo>
                      <a:pt x="1785" y="0"/>
                    </a:lnTo>
                    <a:lnTo>
                      <a:pt x="1785" y="1410"/>
                    </a:lnTo>
                    <a:lnTo>
                      <a:pt x="2061" y="1410"/>
                    </a:lnTo>
                    <a:lnTo>
                      <a:pt x="2061" y="3355"/>
                    </a:lnTo>
                    <a:lnTo>
                      <a:pt x="0" y="3355"/>
                    </a:lnTo>
                    <a:lnTo>
                      <a:pt x="0" y="1410"/>
                    </a:lnTo>
                    <a:lnTo>
                      <a:pt x="276" y="1410"/>
                    </a:lnTo>
                    <a:lnTo>
                      <a:pt x="276" y="516"/>
                    </a:lnTo>
                    <a:lnTo>
                      <a:pt x="760" y="0"/>
                    </a:lnTo>
                    <a:lnTo>
                      <a:pt x="123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13" name="Rectangle 629">
                <a:extLst>
                  <a:ext uri="{FF2B5EF4-FFF2-40B4-BE49-F238E27FC236}">
                    <a16:creationId xmlns:a16="http://schemas.microsoft.com/office/drawing/2014/main" id="{9BA0F2F8-562F-48E2-BC5B-1F61CC0C1594}"/>
                  </a:ext>
                </a:extLst>
              </p:cNvPr>
              <p:cNvSpPr>
                <a:spLocks noChangeArrowheads="1"/>
              </p:cNvSpPr>
              <p:nvPr/>
            </p:nvSpPr>
            <p:spPr bwMode="auto">
              <a:xfrm>
                <a:off x="-554038" y="-1222376"/>
                <a:ext cx="211137" cy="7572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grpSp>
      </p:grpSp>
      <p:grpSp>
        <p:nvGrpSpPr>
          <p:cNvPr id="14" name="Group 20">
            <a:extLst>
              <a:ext uri="{FF2B5EF4-FFF2-40B4-BE49-F238E27FC236}">
                <a16:creationId xmlns:a16="http://schemas.microsoft.com/office/drawing/2014/main" id="{BBBBB79D-D2A4-45C0-AC95-71FAABCF482C}"/>
              </a:ext>
            </a:extLst>
          </p:cNvPr>
          <p:cNvGrpSpPr/>
          <p:nvPr/>
        </p:nvGrpSpPr>
        <p:grpSpPr>
          <a:xfrm>
            <a:off x="7939055" y="4068318"/>
            <a:ext cx="1107560" cy="1103105"/>
            <a:chOff x="7939054" y="4068316"/>
            <a:chExt cx="1107560" cy="1103105"/>
          </a:xfrm>
        </p:grpSpPr>
        <p:sp>
          <p:nvSpPr>
            <p:cNvPr id="15" name="Oval 11">
              <a:extLst>
                <a:ext uri="{FF2B5EF4-FFF2-40B4-BE49-F238E27FC236}">
                  <a16:creationId xmlns:a16="http://schemas.microsoft.com/office/drawing/2014/main" id="{1730F7C0-9E25-4218-8554-DB32CE8BB6E2}"/>
                </a:ext>
              </a:extLst>
            </p:cNvPr>
            <p:cNvSpPr>
              <a:spLocks noChangeArrowheads="1"/>
            </p:cNvSpPr>
            <p:nvPr/>
          </p:nvSpPr>
          <p:spPr bwMode="auto">
            <a:xfrm>
              <a:off x="7939054" y="4068316"/>
              <a:ext cx="1107560" cy="1103105"/>
            </a:xfrm>
            <a:prstGeom prst="ellipse">
              <a:avLst/>
            </a:pr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nvGrpSpPr>
            <p:cNvPr id="16" name="Group 13">
              <a:extLst>
                <a:ext uri="{FF2B5EF4-FFF2-40B4-BE49-F238E27FC236}">
                  <a16:creationId xmlns:a16="http://schemas.microsoft.com/office/drawing/2014/main" id="{48C012B2-1ECA-4109-B3E0-C591154EFFE9}"/>
                </a:ext>
              </a:extLst>
            </p:cNvPr>
            <p:cNvGrpSpPr/>
            <p:nvPr/>
          </p:nvGrpSpPr>
          <p:grpSpPr>
            <a:xfrm>
              <a:off x="8346167" y="4470374"/>
              <a:ext cx="293335" cy="298988"/>
              <a:chOff x="-508000" y="-2051051"/>
              <a:chExt cx="741363" cy="755650"/>
            </a:xfrm>
            <a:solidFill>
              <a:schemeClr val="bg1"/>
            </a:solidFill>
          </p:grpSpPr>
          <p:sp>
            <p:nvSpPr>
              <p:cNvPr id="17" name="Freeform 621">
                <a:extLst>
                  <a:ext uri="{FF2B5EF4-FFF2-40B4-BE49-F238E27FC236}">
                    <a16:creationId xmlns:a16="http://schemas.microsoft.com/office/drawing/2014/main" id="{E8E0C10D-449B-4B79-AD1D-68AC3AC2A48A}"/>
                  </a:ext>
                </a:extLst>
              </p:cNvPr>
              <p:cNvSpPr>
                <a:spLocks noEditPoints="1"/>
              </p:cNvSpPr>
              <p:nvPr/>
            </p:nvSpPr>
            <p:spPr bwMode="auto">
              <a:xfrm>
                <a:off x="-508000" y="-2051051"/>
                <a:ext cx="741363" cy="755650"/>
              </a:xfrm>
              <a:custGeom>
                <a:avLst/>
                <a:gdLst>
                  <a:gd name="T0" fmla="*/ 1664 w 3269"/>
                  <a:gd name="T1" fmla="*/ 325 h 3335"/>
                  <a:gd name="T2" fmla="*/ 1342 w 3269"/>
                  <a:gd name="T3" fmla="*/ 668 h 3335"/>
                  <a:gd name="T4" fmla="*/ 1664 w 3269"/>
                  <a:gd name="T5" fmla="*/ 668 h 3335"/>
                  <a:gd name="T6" fmla="*/ 1664 w 3269"/>
                  <a:gd name="T7" fmla="*/ 325 h 3335"/>
                  <a:gd name="T8" fmla="*/ 1728 w 3269"/>
                  <a:gd name="T9" fmla="*/ 0 h 3335"/>
                  <a:gd name="T10" fmla="*/ 3269 w 3269"/>
                  <a:gd name="T11" fmla="*/ 0 h 3335"/>
                  <a:gd name="T12" fmla="*/ 3269 w 3269"/>
                  <a:gd name="T13" fmla="*/ 3335 h 3335"/>
                  <a:gd name="T14" fmla="*/ 0 w 3269"/>
                  <a:gd name="T15" fmla="*/ 3335 h 3335"/>
                  <a:gd name="T16" fmla="*/ 0 w 3269"/>
                  <a:gd name="T17" fmla="*/ 1709 h 3335"/>
                  <a:gd name="T18" fmla="*/ 1389 w 3269"/>
                  <a:gd name="T19" fmla="*/ 3056 h 3335"/>
                  <a:gd name="T20" fmla="*/ 2779 w 3269"/>
                  <a:gd name="T21" fmla="*/ 1709 h 3335"/>
                  <a:gd name="T22" fmla="*/ 2779 w 3269"/>
                  <a:gd name="T23" fmla="*/ 3158 h 3335"/>
                  <a:gd name="T24" fmla="*/ 3094 w 3269"/>
                  <a:gd name="T25" fmla="*/ 3158 h 3335"/>
                  <a:gd name="T26" fmla="*/ 3094 w 3269"/>
                  <a:gd name="T27" fmla="*/ 176 h 3335"/>
                  <a:gd name="T28" fmla="*/ 1839 w 3269"/>
                  <a:gd name="T29" fmla="*/ 176 h 3335"/>
                  <a:gd name="T30" fmla="*/ 1839 w 3269"/>
                  <a:gd name="T31" fmla="*/ 846 h 3335"/>
                  <a:gd name="T32" fmla="*/ 1177 w 3269"/>
                  <a:gd name="T33" fmla="*/ 846 h 3335"/>
                  <a:gd name="T34" fmla="*/ 1177 w 3269"/>
                  <a:gd name="T35" fmla="*/ 1540 h 3335"/>
                  <a:gd name="T36" fmla="*/ 2688 w 3269"/>
                  <a:gd name="T37" fmla="*/ 1540 h 3335"/>
                  <a:gd name="T38" fmla="*/ 1389 w 3269"/>
                  <a:gd name="T39" fmla="*/ 2799 h 3335"/>
                  <a:gd name="T40" fmla="*/ 91 w 3269"/>
                  <a:gd name="T41" fmla="*/ 1540 h 3335"/>
                  <a:gd name="T42" fmla="*/ 1001 w 3269"/>
                  <a:gd name="T43" fmla="*/ 1540 h 3335"/>
                  <a:gd name="T44" fmla="*/ 1001 w 3269"/>
                  <a:gd name="T45" fmla="*/ 774 h 3335"/>
                  <a:gd name="T46" fmla="*/ 1728 w 3269"/>
                  <a:gd name="T47" fmla="*/ 0 h 3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269" h="3335">
                    <a:moveTo>
                      <a:pt x="1664" y="325"/>
                    </a:moveTo>
                    <a:lnTo>
                      <a:pt x="1342" y="668"/>
                    </a:lnTo>
                    <a:lnTo>
                      <a:pt x="1664" y="668"/>
                    </a:lnTo>
                    <a:lnTo>
                      <a:pt x="1664" y="325"/>
                    </a:lnTo>
                    <a:close/>
                    <a:moveTo>
                      <a:pt x="1728" y="0"/>
                    </a:moveTo>
                    <a:lnTo>
                      <a:pt x="3269" y="0"/>
                    </a:lnTo>
                    <a:lnTo>
                      <a:pt x="3269" y="3335"/>
                    </a:lnTo>
                    <a:lnTo>
                      <a:pt x="0" y="3335"/>
                    </a:lnTo>
                    <a:lnTo>
                      <a:pt x="0" y="1709"/>
                    </a:lnTo>
                    <a:lnTo>
                      <a:pt x="1389" y="3056"/>
                    </a:lnTo>
                    <a:lnTo>
                      <a:pt x="2779" y="1709"/>
                    </a:lnTo>
                    <a:lnTo>
                      <a:pt x="2779" y="3158"/>
                    </a:lnTo>
                    <a:lnTo>
                      <a:pt x="3094" y="3158"/>
                    </a:lnTo>
                    <a:lnTo>
                      <a:pt x="3094" y="176"/>
                    </a:lnTo>
                    <a:lnTo>
                      <a:pt x="1839" y="176"/>
                    </a:lnTo>
                    <a:lnTo>
                      <a:pt x="1839" y="846"/>
                    </a:lnTo>
                    <a:lnTo>
                      <a:pt x="1177" y="846"/>
                    </a:lnTo>
                    <a:lnTo>
                      <a:pt x="1177" y="1540"/>
                    </a:lnTo>
                    <a:lnTo>
                      <a:pt x="2688" y="1540"/>
                    </a:lnTo>
                    <a:lnTo>
                      <a:pt x="1389" y="2799"/>
                    </a:lnTo>
                    <a:lnTo>
                      <a:pt x="91" y="1540"/>
                    </a:lnTo>
                    <a:lnTo>
                      <a:pt x="1001" y="1540"/>
                    </a:lnTo>
                    <a:lnTo>
                      <a:pt x="1001" y="774"/>
                    </a:lnTo>
                    <a:lnTo>
                      <a:pt x="172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18" name="Rectangle 622">
                <a:extLst>
                  <a:ext uri="{FF2B5EF4-FFF2-40B4-BE49-F238E27FC236}">
                    <a16:creationId xmlns:a16="http://schemas.microsoft.com/office/drawing/2014/main" id="{1E1FF362-68C7-4932-A9D8-5C7FC9579C76}"/>
                  </a:ext>
                </a:extLst>
              </p:cNvPr>
              <p:cNvSpPr>
                <a:spLocks noChangeArrowheads="1"/>
              </p:cNvSpPr>
              <p:nvPr/>
            </p:nvSpPr>
            <p:spPr bwMode="auto">
              <a:xfrm>
                <a:off x="-34925" y="-1925638"/>
                <a:ext cx="169863" cy="49213"/>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19" name="Rectangle 623">
                <a:extLst>
                  <a:ext uri="{FF2B5EF4-FFF2-40B4-BE49-F238E27FC236}">
                    <a16:creationId xmlns:a16="http://schemas.microsoft.com/office/drawing/2014/main" id="{E0795719-713A-44B3-8E29-97F9868278EE}"/>
                  </a:ext>
                </a:extLst>
              </p:cNvPr>
              <p:cNvSpPr>
                <a:spLocks noChangeArrowheads="1"/>
              </p:cNvSpPr>
              <p:nvPr/>
            </p:nvSpPr>
            <p:spPr bwMode="auto">
              <a:xfrm>
                <a:off x="-34925" y="-1814513"/>
                <a:ext cx="169863" cy="49213"/>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grpSp>
      </p:grpSp>
      <p:grpSp>
        <p:nvGrpSpPr>
          <p:cNvPr id="20" name="Group 36">
            <a:extLst>
              <a:ext uri="{FF2B5EF4-FFF2-40B4-BE49-F238E27FC236}">
                <a16:creationId xmlns:a16="http://schemas.microsoft.com/office/drawing/2014/main" id="{96F41833-2244-4106-8AC7-2D747A21C1F6}"/>
              </a:ext>
            </a:extLst>
          </p:cNvPr>
          <p:cNvGrpSpPr/>
          <p:nvPr/>
        </p:nvGrpSpPr>
        <p:grpSpPr>
          <a:xfrm>
            <a:off x="4034389" y="4124733"/>
            <a:ext cx="933855" cy="935339"/>
            <a:chOff x="4034387" y="4124734"/>
            <a:chExt cx="933854" cy="935338"/>
          </a:xfrm>
        </p:grpSpPr>
        <p:sp>
          <p:nvSpPr>
            <p:cNvPr id="21" name="Oval 7">
              <a:extLst>
                <a:ext uri="{FF2B5EF4-FFF2-40B4-BE49-F238E27FC236}">
                  <a16:creationId xmlns:a16="http://schemas.microsoft.com/office/drawing/2014/main" id="{809A84CE-5475-42D7-B15B-F78B46E141C2}"/>
                </a:ext>
              </a:extLst>
            </p:cNvPr>
            <p:cNvSpPr>
              <a:spLocks noChangeArrowheads="1"/>
            </p:cNvSpPr>
            <p:nvPr/>
          </p:nvSpPr>
          <p:spPr bwMode="auto">
            <a:xfrm>
              <a:off x="4034387" y="4124734"/>
              <a:ext cx="933854" cy="935338"/>
            </a:xfrm>
            <a:prstGeom prst="ellipse">
              <a:avLst/>
            </a:pr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2" name="Freeform 239">
              <a:extLst>
                <a:ext uri="{FF2B5EF4-FFF2-40B4-BE49-F238E27FC236}">
                  <a16:creationId xmlns:a16="http://schemas.microsoft.com/office/drawing/2014/main" id="{122EFE1B-A969-40DD-B0EC-BD3C500D79A2}"/>
                </a:ext>
              </a:extLst>
            </p:cNvPr>
            <p:cNvSpPr>
              <a:spLocks noEditPoints="1"/>
            </p:cNvSpPr>
            <p:nvPr/>
          </p:nvSpPr>
          <p:spPr bwMode="auto">
            <a:xfrm>
              <a:off x="4375517" y="4472053"/>
              <a:ext cx="251594" cy="240700"/>
            </a:xfrm>
            <a:custGeom>
              <a:avLst/>
              <a:gdLst>
                <a:gd name="T0" fmla="*/ 2245 w 3396"/>
                <a:gd name="T1" fmla="*/ 2622 h 3249"/>
                <a:gd name="T2" fmla="*/ 2543 w 3396"/>
                <a:gd name="T3" fmla="*/ 1381 h 3249"/>
                <a:gd name="T4" fmla="*/ 1548 w 3396"/>
                <a:gd name="T5" fmla="*/ 1381 h 3249"/>
                <a:gd name="T6" fmla="*/ 1848 w 3396"/>
                <a:gd name="T7" fmla="*/ 2622 h 3249"/>
                <a:gd name="T8" fmla="*/ 1548 w 3396"/>
                <a:gd name="T9" fmla="*/ 1381 h 3249"/>
                <a:gd name="T10" fmla="*/ 853 w 3396"/>
                <a:gd name="T11" fmla="*/ 2622 h 3249"/>
                <a:gd name="T12" fmla="*/ 1151 w 3396"/>
                <a:gd name="T13" fmla="*/ 1381 h 3249"/>
                <a:gd name="T14" fmla="*/ 1698 w 3396"/>
                <a:gd name="T15" fmla="*/ 384 h 3249"/>
                <a:gd name="T16" fmla="*/ 1629 w 3396"/>
                <a:gd name="T17" fmla="*/ 395 h 3249"/>
                <a:gd name="T18" fmla="*/ 1570 w 3396"/>
                <a:gd name="T19" fmla="*/ 426 h 3249"/>
                <a:gd name="T20" fmla="*/ 1523 w 3396"/>
                <a:gd name="T21" fmla="*/ 473 h 3249"/>
                <a:gd name="T22" fmla="*/ 1492 w 3396"/>
                <a:gd name="T23" fmla="*/ 532 h 3249"/>
                <a:gd name="T24" fmla="*/ 1481 w 3396"/>
                <a:gd name="T25" fmla="*/ 601 h 3249"/>
                <a:gd name="T26" fmla="*/ 1492 w 3396"/>
                <a:gd name="T27" fmla="*/ 670 h 3249"/>
                <a:gd name="T28" fmla="*/ 1523 w 3396"/>
                <a:gd name="T29" fmla="*/ 729 h 3249"/>
                <a:gd name="T30" fmla="*/ 1570 w 3396"/>
                <a:gd name="T31" fmla="*/ 776 h 3249"/>
                <a:gd name="T32" fmla="*/ 1629 w 3396"/>
                <a:gd name="T33" fmla="*/ 807 h 3249"/>
                <a:gd name="T34" fmla="*/ 1698 w 3396"/>
                <a:gd name="T35" fmla="*/ 817 h 3249"/>
                <a:gd name="T36" fmla="*/ 1767 w 3396"/>
                <a:gd name="T37" fmla="*/ 807 h 3249"/>
                <a:gd name="T38" fmla="*/ 1826 w 3396"/>
                <a:gd name="T39" fmla="*/ 776 h 3249"/>
                <a:gd name="T40" fmla="*/ 1873 w 3396"/>
                <a:gd name="T41" fmla="*/ 729 h 3249"/>
                <a:gd name="T42" fmla="*/ 1904 w 3396"/>
                <a:gd name="T43" fmla="*/ 670 h 3249"/>
                <a:gd name="T44" fmla="*/ 1915 w 3396"/>
                <a:gd name="T45" fmla="*/ 601 h 3249"/>
                <a:gd name="T46" fmla="*/ 1904 w 3396"/>
                <a:gd name="T47" fmla="*/ 532 h 3249"/>
                <a:gd name="T48" fmla="*/ 1873 w 3396"/>
                <a:gd name="T49" fmla="*/ 473 h 3249"/>
                <a:gd name="T50" fmla="*/ 1826 w 3396"/>
                <a:gd name="T51" fmla="*/ 426 h 3249"/>
                <a:gd name="T52" fmla="*/ 1767 w 3396"/>
                <a:gd name="T53" fmla="*/ 395 h 3249"/>
                <a:gd name="T54" fmla="*/ 1698 w 3396"/>
                <a:gd name="T55" fmla="*/ 384 h 3249"/>
                <a:gd name="T56" fmla="*/ 1698 w 3396"/>
                <a:gd name="T57" fmla="*/ 0 h 3249"/>
                <a:gd name="T58" fmla="*/ 3057 w 3396"/>
                <a:gd name="T59" fmla="*/ 1122 h 3249"/>
                <a:gd name="T60" fmla="*/ 3396 w 3396"/>
                <a:gd name="T61" fmla="*/ 1381 h 3249"/>
                <a:gd name="T62" fmla="*/ 2941 w 3396"/>
                <a:gd name="T63" fmla="*/ 2622 h 3249"/>
                <a:gd name="T64" fmla="*/ 3396 w 3396"/>
                <a:gd name="T65" fmla="*/ 3249 h 3249"/>
                <a:gd name="T66" fmla="*/ 106 w 3396"/>
                <a:gd name="T67" fmla="*/ 2622 h 3249"/>
                <a:gd name="T68" fmla="*/ 455 w 3396"/>
                <a:gd name="T69" fmla="*/ 1381 h 3249"/>
                <a:gd name="T70" fmla="*/ 0 w 3396"/>
                <a:gd name="T71" fmla="*/ 1122 h 3249"/>
                <a:gd name="T72" fmla="*/ 339 w 3396"/>
                <a:gd name="T73" fmla="*/ 944 h 3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396" h="3249">
                  <a:moveTo>
                    <a:pt x="2245" y="1381"/>
                  </a:moveTo>
                  <a:lnTo>
                    <a:pt x="2245" y="2622"/>
                  </a:lnTo>
                  <a:lnTo>
                    <a:pt x="2543" y="2622"/>
                  </a:lnTo>
                  <a:lnTo>
                    <a:pt x="2543" y="1381"/>
                  </a:lnTo>
                  <a:lnTo>
                    <a:pt x="2245" y="1381"/>
                  </a:lnTo>
                  <a:close/>
                  <a:moveTo>
                    <a:pt x="1548" y="1381"/>
                  </a:moveTo>
                  <a:lnTo>
                    <a:pt x="1548" y="2622"/>
                  </a:lnTo>
                  <a:lnTo>
                    <a:pt x="1848" y="2622"/>
                  </a:lnTo>
                  <a:lnTo>
                    <a:pt x="1848" y="1381"/>
                  </a:lnTo>
                  <a:lnTo>
                    <a:pt x="1548" y="1381"/>
                  </a:lnTo>
                  <a:close/>
                  <a:moveTo>
                    <a:pt x="853" y="1381"/>
                  </a:moveTo>
                  <a:lnTo>
                    <a:pt x="853" y="2622"/>
                  </a:lnTo>
                  <a:lnTo>
                    <a:pt x="1151" y="2622"/>
                  </a:lnTo>
                  <a:lnTo>
                    <a:pt x="1151" y="1381"/>
                  </a:lnTo>
                  <a:lnTo>
                    <a:pt x="853" y="1381"/>
                  </a:lnTo>
                  <a:close/>
                  <a:moveTo>
                    <a:pt x="1698" y="384"/>
                  </a:moveTo>
                  <a:lnTo>
                    <a:pt x="1663" y="387"/>
                  </a:lnTo>
                  <a:lnTo>
                    <a:pt x="1629" y="395"/>
                  </a:lnTo>
                  <a:lnTo>
                    <a:pt x="1598" y="408"/>
                  </a:lnTo>
                  <a:lnTo>
                    <a:pt x="1570" y="426"/>
                  </a:lnTo>
                  <a:lnTo>
                    <a:pt x="1544" y="447"/>
                  </a:lnTo>
                  <a:lnTo>
                    <a:pt x="1523" y="473"/>
                  </a:lnTo>
                  <a:lnTo>
                    <a:pt x="1505" y="501"/>
                  </a:lnTo>
                  <a:lnTo>
                    <a:pt x="1492" y="532"/>
                  </a:lnTo>
                  <a:lnTo>
                    <a:pt x="1484" y="566"/>
                  </a:lnTo>
                  <a:lnTo>
                    <a:pt x="1481" y="601"/>
                  </a:lnTo>
                  <a:lnTo>
                    <a:pt x="1484" y="636"/>
                  </a:lnTo>
                  <a:lnTo>
                    <a:pt x="1492" y="670"/>
                  </a:lnTo>
                  <a:lnTo>
                    <a:pt x="1505" y="701"/>
                  </a:lnTo>
                  <a:lnTo>
                    <a:pt x="1523" y="729"/>
                  </a:lnTo>
                  <a:lnTo>
                    <a:pt x="1544" y="755"/>
                  </a:lnTo>
                  <a:lnTo>
                    <a:pt x="1570" y="776"/>
                  </a:lnTo>
                  <a:lnTo>
                    <a:pt x="1598" y="794"/>
                  </a:lnTo>
                  <a:lnTo>
                    <a:pt x="1629" y="807"/>
                  </a:lnTo>
                  <a:lnTo>
                    <a:pt x="1663" y="815"/>
                  </a:lnTo>
                  <a:lnTo>
                    <a:pt x="1698" y="817"/>
                  </a:lnTo>
                  <a:lnTo>
                    <a:pt x="1733" y="815"/>
                  </a:lnTo>
                  <a:lnTo>
                    <a:pt x="1767" y="807"/>
                  </a:lnTo>
                  <a:lnTo>
                    <a:pt x="1798" y="794"/>
                  </a:lnTo>
                  <a:lnTo>
                    <a:pt x="1826" y="776"/>
                  </a:lnTo>
                  <a:lnTo>
                    <a:pt x="1852" y="755"/>
                  </a:lnTo>
                  <a:lnTo>
                    <a:pt x="1873" y="729"/>
                  </a:lnTo>
                  <a:lnTo>
                    <a:pt x="1891" y="701"/>
                  </a:lnTo>
                  <a:lnTo>
                    <a:pt x="1904" y="670"/>
                  </a:lnTo>
                  <a:lnTo>
                    <a:pt x="1912" y="636"/>
                  </a:lnTo>
                  <a:lnTo>
                    <a:pt x="1915" y="601"/>
                  </a:lnTo>
                  <a:lnTo>
                    <a:pt x="1912" y="566"/>
                  </a:lnTo>
                  <a:lnTo>
                    <a:pt x="1904" y="532"/>
                  </a:lnTo>
                  <a:lnTo>
                    <a:pt x="1891" y="501"/>
                  </a:lnTo>
                  <a:lnTo>
                    <a:pt x="1873" y="473"/>
                  </a:lnTo>
                  <a:lnTo>
                    <a:pt x="1852" y="447"/>
                  </a:lnTo>
                  <a:lnTo>
                    <a:pt x="1826" y="426"/>
                  </a:lnTo>
                  <a:lnTo>
                    <a:pt x="1798" y="408"/>
                  </a:lnTo>
                  <a:lnTo>
                    <a:pt x="1767" y="395"/>
                  </a:lnTo>
                  <a:lnTo>
                    <a:pt x="1733" y="387"/>
                  </a:lnTo>
                  <a:lnTo>
                    <a:pt x="1698" y="384"/>
                  </a:lnTo>
                  <a:close/>
                  <a:moveTo>
                    <a:pt x="1698" y="0"/>
                  </a:moveTo>
                  <a:lnTo>
                    <a:pt x="1698" y="0"/>
                  </a:lnTo>
                  <a:lnTo>
                    <a:pt x="3057" y="944"/>
                  </a:lnTo>
                  <a:lnTo>
                    <a:pt x="3057" y="1122"/>
                  </a:lnTo>
                  <a:lnTo>
                    <a:pt x="3396" y="1122"/>
                  </a:lnTo>
                  <a:lnTo>
                    <a:pt x="3396" y="1381"/>
                  </a:lnTo>
                  <a:lnTo>
                    <a:pt x="2941" y="1381"/>
                  </a:lnTo>
                  <a:lnTo>
                    <a:pt x="2941" y="2622"/>
                  </a:lnTo>
                  <a:lnTo>
                    <a:pt x="3290" y="2622"/>
                  </a:lnTo>
                  <a:lnTo>
                    <a:pt x="3396" y="3249"/>
                  </a:lnTo>
                  <a:lnTo>
                    <a:pt x="0" y="3249"/>
                  </a:lnTo>
                  <a:lnTo>
                    <a:pt x="106" y="2622"/>
                  </a:lnTo>
                  <a:lnTo>
                    <a:pt x="455" y="2622"/>
                  </a:lnTo>
                  <a:lnTo>
                    <a:pt x="455" y="1381"/>
                  </a:lnTo>
                  <a:lnTo>
                    <a:pt x="0" y="1381"/>
                  </a:lnTo>
                  <a:lnTo>
                    <a:pt x="0" y="1122"/>
                  </a:lnTo>
                  <a:lnTo>
                    <a:pt x="339" y="1122"/>
                  </a:lnTo>
                  <a:lnTo>
                    <a:pt x="339" y="944"/>
                  </a:lnTo>
                  <a:lnTo>
                    <a:pt x="1698"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grpSp>
      <p:grpSp>
        <p:nvGrpSpPr>
          <p:cNvPr id="23" name="Group 46">
            <a:extLst>
              <a:ext uri="{FF2B5EF4-FFF2-40B4-BE49-F238E27FC236}">
                <a16:creationId xmlns:a16="http://schemas.microsoft.com/office/drawing/2014/main" id="{6859390C-76EE-455F-87EF-B6CFA120BF31}"/>
              </a:ext>
            </a:extLst>
          </p:cNvPr>
          <p:cNvGrpSpPr/>
          <p:nvPr/>
        </p:nvGrpSpPr>
        <p:grpSpPr>
          <a:xfrm>
            <a:off x="7916784" y="3140403"/>
            <a:ext cx="901192" cy="898221"/>
            <a:chOff x="7916784" y="3140401"/>
            <a:chExt cx="901192" cy="898221"/>
          </a:xfrm>
        </p:grpSpPr>
        <p:sp>
          <p:nvSpPr>
            <p:cNvPr id="24" name="Oval 10">
              <a:extLst>
                <a:ext uri="{FF2B5EF4-FFF2-40B4-BE49-F238E27FC236}">
                  <a16:creationId xmlns:a16="http://schemas.microsoft.com/office/drawing/2014/main" id="{FBA67BA4-0A43-4D10-84C4-838551437AEC}"/>
                </a:ext>
              </a:extLst>
            </p:cNvPr>
            <p:cNvSpPr>
              <a:spLocks noChangeArrowheads="1"/>
            </p:cNvSpPr>
            <p:nvPr/>
          </p:nvSpPr>
          <p:spPr bwMode="auto">
            <a:xfrm>
              <a:off x="7916784" y="3140401"/>
              <a:ext cx="901192" cy="898221"/>
            </a:xfrm>
            <a:prstGeom prst="ellipse">
              <a:avLst/>
            </a:pr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grpSp>
          <p:nvGrpSpPr>
            <p:cNvPr id="25" name="Group 109">
              <a:extLst>
                <a:ext uri="{FF2B5EF4-FFF2-40B4-BE49-F238E27FC236}">
                  <a16:creationId xmlns:a16="http://schemas.microsoft.com/office/drawing/2014/main" id="{CF95669A-9B2C-4C24-ADA7-F18476BAF900}"/>
                </a:ext>
              </a:extLst>
            </p:cNvPr>
            <p:cNvGrpSpPr>
              <a:grpSpLocks noChangeAspect="1"/>
            </p:cNvGrpSpPr>
            <p:nvPr/>
          </p:nvGrpSpPr>
          <p:grpSpPr bwMode="auto">
            <a:xfrm>
              <a:off x="8199613" y="3422487"/>
              <a:ext cx="335534" cy="334049"/>
              <a:chOff x="3026" y="2310"/>
              <a:chExt cx="226" cy="225"/>
            </a:xfrm>
            <a:solidFill>
              <a:schemeClr val="bg1"/>
            </a:solidFill>
          </p:grpSpPr>
          <p:sp>
            <p:nvSpPr>
              <p:cNvPr id="26" name="Freeform 111">
                <a:extLst>
                  <a:ext uri="{FF2B5EF4-FFF2-40B4-BE49-F238E27FC236}">
                    <a16:creationId xmlns:a16="http://schemas.microsoft.com/office/drawing/2014/main" id="{9A4AD70C-F520-4581-8961-5A3727403041}"/>
                  </a:ext>
                </a:extLst>
              </p:cNvPr>
              <p:cNvSpPr>
                <a:spLocks/>
              </p:cNvSpPr>
              <p:nvPr/>
            </p:nvSpPr>
            <p:spPr bwMode="auto">
              <a:xfrm>
                <a:off x="3143" y="2426"/>
                <a:ext cx="13" cy="13"/>
              </a:xfrm>
              <a:custGeom>
                <a:avLst/>
                <a:gdLst>
                  <a:gd name="T0" fmla="*/ 152 w 186"/>
                  <a:gd name="T1" fmla="*/ 0 h 184"/>
                  <a:gd name="T2" fmla="*/ 166 w 186"/>
                  <a:gd name="T3" fmla="*/ 16 h 184"/>
                  <a:gd name="T4" fmla="*/ 177 w 186"/>
                  <a:gd name="T5" fmla="*/ 34 h 184"/>
                  <a:gd name="T6" fmla="*/ 183 w 186"/>
                  <a:gd name="T7" fmla="*/ 55 h 184"/>
                  <a:gd name="T8" fmla="*/ 186 w 186"/>
                  <a:gd name="T9" fmla="*/ 78 h 184"/>
                  <a:gd name="T10" fmla="*/ 183 w 186"/>
                  <a:gd name="T11" fmla="*/ 101 h 184"/>
                  <a:gd name="T12" fmla="*/ 175 w 186"/>
                  <a:gd name="T13" fmla="*/ 124 h 184"/>
                  <a:gd name="T14" fmla="*/ 162 w 186"/>
                  <a:gd name="T15" fmla="*/ 144 h 184"/>
                  <a:gd name="T16" fmla="*/ 145 w 186"/>
                  <a:gd name="T17" fmla="*/ 161 h 184"/>
                  <a:gd name="T18" fmla="*/ 126 w 186"/>
                  <a:gd name="T19" fmla="*/ 174 h 184"/>
                  <a:gd name="T20" fmla="*/ 103 w 186"/>
                  <a:gd name="T21" fmla="*/ 182 h 184"/>
                  <a:gd name="T22" fmla="*/ 78 w 186"/>
                  <a:gd name="T23" fmla="*/ 184 h 184"/>
                  <a:gd name="T24" fmla="*/ 55 w 186"/>
                  <a:gd name="T25" fmla="*/ 182 h 184"/>
                  <a:gd name="T26" fmla="*/ 35 w 186"/>
                  <a:gd name="T27" fmla="*/ 176 h 184"/>
                  <a:gd name="T28" fmla="*/ 16 w 186"/>
                  <a:gd name="T29" fmla="*/ 164 h 184"/>
                  <a:gd name="T30" fmla="*/ 0 w 186"/>
                  <a:gd name="T31" fmla="*/ 151 h 184"/>
                  <a:gd name="T32" fmla="*/ 26 w 186"/>
                  <a:gd name="T33" fmla="*/ 141 h 184"/>
                  <a:gd name="T34" fmla="*/ 50 w 186"/>
                  <a:gd name="T35" fmla="*/ 127 h 184"/>
                  <a:gd name="T36" fmla="*/ 73 w 186"/>
                  <a:gd name="T37" fmla="*/ 112 h 184"/>
                  <a:gd name="T38" fmla="*/ 95 w 186"/>
                  <a:gd name="T39" fmla="*/ 93 h 184"/>
                  <a:gd name="T40" fmla="*/ 113 w 186"/>
                  <a:gd name="T41" fmla="*/ 71 h 184"/>
                  <a:gd name="T42" fmla="*/ 129 w 186"/>
                  <a:gd name="T43" fmla="*/ 49 h 184"/>
                  <a:gd name="T44" fmla="*/ 142 w 186"/>
                  <a:gd name="T45" fmla="*/ 25 h 184"/>
                  <a:gd name="T46" fmla="*/ 152 w 186"/>
                  <a:gd name="T47"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6" h="184">
                    <a:moveTo>
                      <a:pt x="152" y="0"/>
                    </a:moveTo>
                    <a:lnTo>
                      <a:pt x="166" y="16"/>
                    </a:lnTo>
                    <a:lnTo>
                      <a:pt x="177" y="34"/>
                    </a:lnTo>
                    <a:lnTo>
                      <a:pt x="183" y="55"/>
                    </a:lnTo>
                    <a:lnTo>
                      <a:pt x="186" y="78"/>
                    </a:lnTo>
                    <a:lnTo>
                      <a:pt x="183" y="101"/>
                    </a:lnTo>
                    <a:lnTo>
                      <a:pt x="175" y="124"/>
                    </a:lnTo>
                    <a:lnTo>
                      <a:pt x="162" y="144"/>
                    </a:lnTo>
                    <a:lnTo>
                      <a:pt x="145" y="161"/>
                    </a:lnTo>
                    <a:lnTo>
                      <a:pt x="126" y="174"/>
                    </a:lnTo>
                    <a:lnTo>
                      <a:pt x="103" y="182"/>
                    </a:lnTo>
                    <a:lnTo>
                      <a:pt x="78" y="184"/>
                    </a:lnTo>
                    <a:lnTo>
                      <a:pt x="55" y="182"/>
                    </a:lnTo>
                    <a:lnTo>
                      <a:pt x="35" y="176"/>
                    </a:lnTo>
                    <a:lnTo>
                      <a:pt x="16" y="164"/>
                    </a:lnTo>
                    <a:lnTo>
                      <a:pt x="0" y="151"/>
                    </a:lnTo>
                    <a:lnTo>
                      <a:pt x="26" y="141"/>
                    </a:lnTo>
                    <a:lnTo>
                      <a:pt x="50" y="127"/>
                    </a:lnTo>
                    <a:lnTo>
                      <a:pt x="73" y="112"/>
                    </a:lnTo>
                    <a:lnTo>
                      <a:pt x="95" y="93"/>
                    </a:lnTo>
                    <a:lnTo>
                      <a:pt x="113" y="71"/>
                    </a:lnTo>
                    <a:lnTo>
                      <a:pt x="129" y="49"/>
                    </a:lnTo>
                    <a:lnTo>
                      <a:pt x="142" y="25"/>
                    </a:lnTo>
                    <a:lnTo>
                      <a:pt x="15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27" name="Freeform 112">
                <a:extLst>
                  <a:ext uri="{FF2B5EF4-FFF2-40B4-BE49-F238E27FC236}">
                    <a16:creationId xmlns:a16="http://schemas.microsoft.com/office/drawing/2014/main" id="{92538D3F-8D51-4B05-A73A-CFAABCF13273}"/>
                  </a:ext>
                </a:extLst>
              </p:cNvPr>
              <p:cNvSpPr>
                <a:spLocks/>
              </p:cNvSpPr>
              <p:nvPr/>
            </p:nvSpPr>
            <p:spPr bwMode="auto">
              <a:xfrm>
                <a:off x="3113" y="2397"/>
                <a:ext cx="70" cy="69"/>
              </a:xfrm>
              <a:custGeom>
                <a:avLst/>
                <a:gdLst>
                  <a:gd name="T0" fmla="*/ 581 w 1048"/>
                  <a:gd name="T1" fmla="*/ 3 h 1045"/>
                  <a:gd name="T2" fmla="*/ 690 w 1048"/>
                  <a:gd name="T3" fmla="*/ 26 h 1045"/>
                  <a:gd name="T4" fmla="*/ 788 w 1048"/>
                  <a:gd name="T5" fmla="*/ 71 h 1045"/>
                  <a:gd name="T6" fmla="*/ 875 w 1048"/>
                  <a:gd name="T7" fmla="*/ 135 h 1045"/>
                  <a:gd name="T8" fmla="*/ 947 w 1048"/>
                  <a:gd name="T9" fmla="*/ 214 h 1045"/>
                  <a:gd name="T10" fmla="*/ 1002 w 1048"/>
                  <a:gd name="T11" fmla="*/ 307 h 1045"/>
                  <a:gd name="T12" fmla="*/ 1037 w 1048"/>
                  <a:gd name="T13" fmla="*/ 410 h 1045"/>
                  <a:gd name="T14" fmla="*/ 1048 w 1048"/>
                  <a:gd name="T15" fmla="*/ 523 h 1045"/>
                  <a:gd name="T16" fmla="*/ 1037 w 1048"/>
                  <a:gd name="T17" fmla="*/ 634 h 1045"/>
                  <a:gd name="T18" fmla="*/ 1002 w 1048"/>
                  <a:gd name="T19" fmla="*/ 738 h 1045"/>
                  <a:gd name="T20" fmla="*/ 947 w 1048"/>
                  <a:gd name="T21" fmla="*/ 830 h 1045"/>
                  <a:gd name="T22" fmla="*/ 875 w 1048"/>
                  <a:gd name="T23" fmla="*/ 910 h 1045"/>
                  <a:gd name="T24" fmla="*/ 788 w 1048"/>
                  <a:gd name="T25" fmla="*/ 974 h 1045"/>
                  <a:gd name="T26" fmla="*/ 690 w 1048"/>
                  <a:gd name="T27" fmla="*/ 1018 h 1045"/>
                  <a:gd name="T28" fmla="*/ 581 w 1048"/>
                  <a:gd name="T29" fmla="*/ 1042 h 1045"/>
                  <a:gd name="T30" fmla="*/ 467 w 1048"/>
                  <a:gd name="T31" fmla="*/ 1042 h 1045"/>
                  <a:gd name="T32" fmla="*/ 358 w 1048"/>
                  <a:gd name="T33" fmla="*/ 1018 h 1045"/>
                  <a:gd name="T34" fmla="*/ 260 w 1048"/>
                  <a:gd name="T35" fmla="*/ 974 h 1045"/>
                  <a:gd name="T36" fmla="*/ 173 w 1048"/>
                  <a:gd name="T37" fmla="*/ 910 h 1045"/>
                  <a:gd name="T38" fmla="*/ 100 w 1048"/>
                  <a:gd name="T39" fmla="*/ 830 h 1045"/>
                  <a:gd name="T40" fmla="*/ 46 w 1048"/>
                  <a:gd name="T41" fmla="*/ 738 h 1045"/>
                  <a:gd name="T42" fmla="*/ 11 w 1048"/>
                  <a:gd name="T43" fmla="*/ 634 h 1045"/>
                  <a:gd name="T44" fmla="*/ 0 w 1048"/>
                  <a:gd name="T45" fmla="*/ 523 h 1045"/>
                  <a:gd name="T46" fmla="*/ 10 w 1048"/>
                  <a:gd name="T47" fmla="*/ 416 h 1045"/>
                  <a:gd name="T48" fmla="*/ 26 w 1048"/>
                  <a:gd name="T49" fmla="*/ 368 h 1045"/>
                  <a:gd name="T50" fmla="*/ 39 w 1048"/>
                  <a:gd name="T51" fmla="*/ 381 h 1045"/>
                  <a:gd name="T52" fmla="*/ 62 w 1048"/>
                  <a:gd name="T53" fmla="*/ 405 h 1045"/>
                  <a:gd name="T54" fmla="*/ 92 w 1048"/>
                  <a:gd name="T55" fmla="*/ 435 h 1045"/>
                  <a:gd name="T56" fmla="*/ 125 w 1048"/>
                  <a:gd name="T57" fmla="*/ 467 h 1045"/>
                  <a:gd name="T58" fmla="*/ 158 w 1048"/>
                  <a:gd name="T59" fmla="*/ 499 h 1045"/>
                  <a:gd name="T60" fmla="*/ 186 w 1048"/>
                  <a:gd name="T61" fmla="*/ 527 h 1045"/>
                  <a:gd name="T62" fmla="*/ 207 w 1048"/>
                  <a:gd name="T63" fmla="*/ 547 h 1045"/>
                  <a:gd name="T64" fmla="*/ 216 w 1048"/>
                  <a:gd name="T65" fmla="*/ 556 h 1045"/>
                  <a:gd name="T66" fmla="*/ 236 w 1048"/>
                  <a:gd name="T67" fmla="*/ 636 h 1045"/>
                  <a:gd name="T68" fmla="*/ 276 w 1048"/>
                  <a:gd name="T69" fmla="*/ 706 h 1045"/>
                  <a:gd name="T70" fmla="*/ 332 w 1048"/>
                  <a:gd name="T71" fmla="*/ 764 h 1045"/>
                  <a:gd name="T72" fmla="*/ 402 w 1048"/>
                  <a:gd name="T73" fmla="*/ 805 h 1045"/>
                  <a:gd name="T74" fmla="*/ 482 w 1048"/>
                  <a:gd name="T75" fmla="*/ 828 h 1045"/>
                  <a:gd name="T76" fmla="*/ 566 w 1048"/>
                  <a:gd name="T77" fmla="*/ 828 h 1045"/>
                  <a:gd name="T78" fmla="*/ 644 w 1048"/>
                  <a:gd name="T79" fmla="*/ 806 h 1045"/>
                  <a:gd name="T80" fmla="*/ 713 w 1048"/>
                  <a:gd name="T81" fmla="*/ 766 h 1045"/>
                  <a:gd name="T82" fmla="*/ 769 w 1048"/>
                  <a:gd name="T83" fmla="*/ 710 h 1045"/>
                  <a:gd name="T84" fmla="*/ 809 w 1048"/>
                  <a:gd name="T85" fmla="*/ 642 h 1045"/>
                  <a:gd name="T86" fmla="*/ 831 w 1048"/>
                  <a:gd name="T87" fmla="*/ 564 h 1045"/>
                  <a:gd name="T88" fmla="*/ 831 w 1048"/>
                  <a:gd name="T89" fmla="*/ 480 h 1045"/>
                  <a:gd name="T90" fmla="*/ 809 w 1048"/>
                  <a:gd name="T91" fmla="*/ 401 h 1045"/>
                  <a:gd name="T92" fmla="*/ 768 w 1048"/>
                  <a:gd name="T93" fmla="*/ 332 h 1045"/>
                  <a:gd name="T94" fmla="*/ 710 w 1048"/>
                  <a:gd name="T95" fmla="*/ 276 h 1045"/>
                  <a:gd name="T96" fmla="*/ 639 w 1048"/>
                  <a:gd name="T97" fmla="*/ 236 h 1045"/>
                  <a:gd name="T98" fmla="*/ 559 w 1048"/>
                  <a:gd name="T99" fmla="*/ 216 h 1045"/>
                  <a:gd name="T100" fmla="*/ 550 w 1048"/>
                  <a:gd name="T101" fmla="*/ 207 h 1045"/>
                  <a:gd name="T102" fmla="*/ 530 w 1048"/>
                  <a:gd name="T103" fmla="*/ 186 h 1045"/>
                  <a:gd name="T104" fmla="*/ 502 w 1048"/>
                  <a:gd name="T105" fmla="*/ 157 h 1045"/>
                  <a:gd name="T106" fmla="*/ 470 w 1048"/>
                  <a:gd name="T107" fmla="*/ 125 h 1045"/>
                  <a:gd name="T108" fmla="*/ 437 w 1048"/>
                  <a:gd name="T109" fmla="*/ 92 h 1045"/>
                  <a:gd name="T110" fmla="*/ 407 w 1048"/>
                  <a:gd name="T111" fmla="*/ 62 h 1045"/>
                  <a:gd name="T112" fmla="*/ 384 w 1048"/>
                  <a:gd name="T113" fmla="*/ 39 h 1045"/>
                  <a:gd name="T114" fmla="*/ 371 w 1048"/>
                  <a:gd name="T115" fmla="*/ 25 h 1045"/>
                  <a:gd name="T116" fmla="*/ 418 w 1048"/>
                  <a:gd name="T117" fmla="*/ 11 h 1045"/>
                  <a:gd name="T118" fmla="*/ 524 w 1048"/>
                  <a:gd name="T119" fmla="*/ 0 h 10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48" h="1045">
                    <a:moveTo>
                      <a:pt x="524" y="0"/>
                    </a:moveTo>
                    <a:lnTo>
                      <a:pt x="581" y="3"/>
                    </a:lnTo>
                    <a:lnTo>
                      <a:pt x="636" y="12"/>
                    </a:lnTo>
                    <a:lnTo>
                      <a:pt x="690" y="26"/>
                    </a:lnTo>
                    <a:lnTo>
                      <a:pt x="741" y="46"/>
                    </a:lnTo>
                    <a:lnTo>
                      <a:pt x="788" y="71"/>
                    </a:lnTo>
                    <a:lnTo>
                      <a:pt x="834" y="101"/>
                    </a:lnTo>
                    <a:lnTo>
                      <a:pt x="875" y="135"/>
                    </a:lnTo>
                    <a:lnTo>
                      <a:pt x="914" y="173"/>
                    </a:lnTo>
                    <a:lnTo>
                      <a:pt x="947" y="214"/>
                    </a:lnTo>
                    <a:lnTo>
                      <a:pt x="977" y="258"/>
                    </a:lnTo>
                    <a:lnTo>
                      <a:pt x="1002" y="307"/>
                    </a:lnTo>
                    <a:lnTo>
                      <a:pt x="1022" y="358"/>
                    </a:lnTo>
                    <a:lnTo>
                      <a:pt x="1037" y="410"/>
                    </a:lnTo>
                    <a:lnTo>
                      <a:pt x="1045" y="466"/>
                    </a:lnTo>
                    <a:lnTo>
                      <a:pt x="1048" y="523"/>
                    </a:lnTo>
                    <a:lnTo>
                      <a:pt x="1045" y="579"/>
                    </a:lnTo>
                    <a:lnTo>
                      <a:pt x="1037" y="634"/>
                    </a:lnTo>
                    <a:lnTo>
                      <a:pt x="1022" y="687"/>
                    </a:lnTo>
                    <a:lnTo>
                      <a:pt x="1002" y="738"/>
                    </a:lnTo>
                    <a:lnTo>
                      <a:pt x="977" y="786"/>
                    </a:lnTo>
                    <a:lnTo>
                      <a:pt x="947" y="830"/>
                    </a:lnTo>
                    <a:lnTo>
                      <a:pt x="914" y="872"/>
                    </a:lnTo>
                    <a:lnTo>
                      <a:pt x="875" y="910"/>
                    </a:lnTo>
                    <a:lnTo>
                      <a:pt x="834" y="944"/>
                    </a:lnTo>
                    <a:lnTo>
                      <a:pt x="788" y="974"/>
                    </a:lnTo>
                    <a:lnTo>
                      <a:pt x="741" y="998"/>
                    </a:lnTo>
                    <a:lnTo>
                      <a:pt x="690" y="1018"/>
                    </a:lnTo>
                    <a:lnTo>
                      <a:pt x="636" y="1032"/>
                    </a:lnTo>
                    <a:lnTo>
                      <a:pt x="581" y="1042"/>
                    </a:lnTo>
                    <a:lnTo>
                      <a:pt x="524" y="1045"/>
                    </a:lnTo>
                    <a:lnTo>
                      <a:pt x="467" y="1042"/>
                    </a:lnTo>
                    <a:lnTo>
                      <a:pt x="411" y="1032"/>
                    </a:lnTo>
                    <a:lnTo>
                      <a:pt x="358" y="1018"/>
                    </a:lnTo>
                    <a:lnTo>
                      <a:pt x="308" y="998"/>
                    </a:lnTo>
                    <a:lnTo>
                      <a:pt x="260" y="974"/>
                    </a:lnTo>
                    <a:lnTo>
                      <a:pt x="214" y="944"/>
                    </a:lnTo>
                    <a:lnTo>
                      <a:pt x="173" y="910"/>
                    </a:lnTo>
                    <a:lnTo>
                      <a:pt x="135" y="872"/>
                    </a:lnTo>
                    <a:lnTo>
                      <a:pt x="100" y="830"/>
                    </a:lnTo>
                    <a:lnTo>
                      <a:pt x="71" y="786"/>
                    </a:lnTo>
                    <a:lnTo>
                      <a:pt x="46" y="738"/>
                    </a:lnTo>
                    <a:lnTo>
                      <a:pt x="27" y="687"/>
                    </a:lnTo>
                    <a:lnTo>
                      <a:pt x="11" y="634"/>
                    </a:lnTo>
                    <a:lnTo>
                      <a:pt x="3" y="579"/>
                    </a:lnTo>
                    <a:lnTo>
                      <a:pt x="0" y="523"/>
                    </a:lnTo>
                    <a:lnTo>
                      <a:pt x="2" y="469"/>
                    </a:lnTo>
                    <a:lnTo>
                      <a:pt x="10" y="416"/>
                    </a:lnTo>
                    <a:lnTo>
                      <a:pt x="24" y="367"/>
                    </a:lnTo>
                    <a:lnTo>
                      <a:pt x="26" y="368"/>
                    </a:lnTo>
                    <a:lnTo>
                      <a:pt x="31" y="373"/>
                    </a:lnTo>
                    <a:lnTo>
                      <a:pt x="39" y="381"/>
                    </a:lnTo>
                    <a:lnTo>
                      <a:pt x="50" y="393"/>
                    </a:lnTo>
                    <a:lnTo>
                      <a:pt x="62" y="405"/>
                    </a:lnTo>
                    <a:lnTo>
                      <a:pt x="76" y="419"/>
                    </a:lnTo>
                    <a:lnTo>
                      <a:pt x="92" y="435"/>
                    </a:lnTo>
                    <a:lnTo>
                      <a:pt x="109" y="450"/>
                    </a:lnTo>
                    <a:lnTo>
                      <a:pt x="125" y="467"/>
                    </a:lnTo>
                    <a:lnTo>
                      <a:pt x="142" y="483"/>
                    </a:lnTo>
                    <a:lnTo>
                      <a:pt x="158" y="499"/>
                    </a:lnTo>
                    <a:lnTo>
                      <a:pt x="173" y="513"/>
                    </a:lnTo>
                    <a:lnTo>
                      <a:pt x="186" y="527"/>
                    </a:lnTo>
                    <a:lnTo>
                      <a:pt x="198" y="538"/>
                    </a:lnTo>
                    <a:lnTo>
                      <a:pt x="207" y="547"/>
                    </a:lnTo>
                    <a:lnTo>
                      <a:pt x="213" y="554"/>
                    </a:lnTo>
                    <a:lnTo>
                      <a:pt x="216" y="556"/>
                    </a:lnTo>
                    <a:lnTo>
                      <a:pt x="224" y="597"/>
                    </a:lnTo>
                    <a:lnTo>
                      <a:pt x="236" y="636"/>
                    </a:lnTo>
                    <a:lnTo>
                      <a:pt x="254" y="673"/>
                    </a:lnTo>
                    <a:lnTo>
                      <a:pt x="276" y="706"/>
                    </a:lnTo>
                    <a:lnTo>
                      <a:pt x="302" y="737"/>
                    </a:lnTo>
                    <a:lnTo>
                      <a:pt x="332" y="764"/>
                    </a:lnTo>
                    <a:lnTo>
                      <a:pt x="366" y="787"/>
                    </a:lnTo>
                    <a:lnTo>
                      <a:pt x="402" y="805"/>
                    </a:lnTo>
                    <a:lnTo>
                      <a:pt x="440" y="819"/>
                    </a:lnTo>
                    <a:lnTo>
                      <a:pt x="482" y="828"/>
                    </a:lnTo>
                    <a:lnTo>
                      <a:pt x="524" y="830"/>
                    </a:lnTo>
                    <a:lnTo>
                      <a:pt x="566" y="828"/>
                    </a:lnTo>
                    <a:lnTo>
                      <a:pt x="606" y="820"/>
                    </a:lnTo>
                    <a:lnTo>
                      <a:pt x="644" y="806"/>
                    </a:lnTo>
                    <a:lnTo>
                      <a:pt x="681" y="789"/>
                    </a:lnTo>
                    <a:lnTo>
                      <a:pt x="713" y="766"/>
                    </a:lnTo>
                    <a:lnTo>
                      <a:pt x="743" y="740"/>
                    </a:lnTo>
                    <a:lnTo>
                      <a:pt x="769" y="710"/>
                    </a:lnTo>
                    <a:lnTo>
                      <a:pt x="791" y="677"/>
                    </a:lnTo>
                    <a:lnTo>
                      <a:pt x="809" y="642"/>
                    </a:lnTo>
                    <a:lnTo>
                      <a:pt x="823" y="604"/>
                    </a:lnTo>
                    <a:lnTo>
                      <a:pt x="831" y="564"/>
                    </a:lnTo>
                    <a:lnTo>
                      <a:pt x="834" y="523"/>
                    </a:lnTo>
                    <a:lnTo>
                      <a:pt x="831" y="480"/>
                    </a:lnTo>
                    <a:lnTo>
                      <a:pt x="823" y="439"/>
                    </a:lnTo>
                    <a:lnTo>
                      <a:pt x="809" y="401"/>
                    </a:lnTo>
                    <a:lnTo>
                      <a:pt x="790" y="365"/>
                    </a:lnTo>
                    <a:lnTo>
                      <a:pt x="768" y="332"/>
                    </a:lnTo>
                    <a:lnTo>
                      <a:pt x="741" y="302"/>
                    </a:lnTo>
                    <a:lnTo>
                      <a:pt x="710" y="276"/>
                    </a:lnTo>
                    <a:lnTo>
                      <a:pt x="676" y="253"/>
                    </a:lnTo>
                    <a:lnTo>
                      <a:pt x="639" y="236"/>
                    </a:lnTo>
                    <a:lnTo>
                      <a:pt x="601" y="223"/>
                    </a:lnTo>
                    <a:lnTo>
                      <a:pt x="559" y="216"/>
                    </a:lnTo>
                    <a:lnTo>
                      <a:pt x="556" y="213"/>
                    </a:lnTo>
                    <a:lnTo>
                      <a:pt x="550" y="207"/>
                    </a:lnTo>
                    <a:lnTo>
                      <a:pt x="542" y="198"/>
                    </a:lnTo>
                    <a:lnTo>
                      <a:pt x="530" y="186"/>
                    </a:lnTo>
                    <a:lnTo>
                      <a:pt x="517" y="173"/>
                    </a:lnTo>
                    <a:lnTo>
                      <a:pt x="502" y="157"/>
                    </a:lnTo>
                    <a:lnTo>
                      <a:pt x="487" y="142"/>
                    </a:lnTo>
                    <a:lnTo>
                      <a:pt x="470" y="125"/>
                    </a:lnTo>
                    <a:lnTo>
                      <a:pt x="454" y="109"/>
                    </a:lnTo>
                    <a:lnTo>
                      <a:pt x="437" y="92"/>
                    </a:lnTo>
                    <a:lnTo>
                      <a:pt x="422" y="77"/>
                    </a:lnTo>
                    <a:lnTo>
                      <a:pt x="407" y="62"/>
                    </a:lnTo>
                    <a:lnTo>
                      <a:pt x="395" y="49"/>
                    </a:lnTo>
                    <a:lnTo>
                      <a:pt x="384" y="39"/>
                    </a:lnTo>
                    <a:lnTo>
                      <a:pt x="376" y="30"/>
                    </a:lnTo>
                    <a:lnTo>
                      <a:pt x="371" y="25"/>
                    </a:lnTo>
                    <a:lnTo>
                      <a:pt x="369" y="23"/>
                    </a:lnTo>
                    <a:lnTo>
                      <a:pt x="418" y="11"/>
                    </a:lnTo>
                    <a:lnTo>
                      <a:pt x="470" y="3"/>
                    </a:lnTo>
                    <a:lnTo>
                      <a:pt x="52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28" name="Freeform 113">
                <a:extLst>
                  <a:ext uri="{FF2B5EF4-FFF2-40B4-BE49-F238E27FC236}">
                    <a16:creationId xmlns:a16="http://schemas.microsoft.com/office/drawing/2014/main" id="{546A3636-A015-4767-80EE-E135C7C93C49}"/>
                  </a:ext>
                </a:extLst>
              </p:cNvPr>
              <p:cNvSpPr>
                <a:spLocks/>
              </p:cNvSpPr>
              <p:nvPr/>
            </p:nvSpPr>
            <p:spPr bwMode="auto">
              <a:xfrm>
                <a:off x="3086" y="2369"/>
                <a:ext cx="125" cy="125"/>
              </a:xfrm>
              <a:custGeom>
                <a:avLst/>
                <a:gdLst>
                  <a:gd name="T0" fmla="*/ 1094 w 1884"/>
                  <a:gd name="T1" fmla="*/ 12 h 1875"/>
                  <a:gd name="T2" fmla="*/ 1308 w 1884"/>
                  <a:gd name="T3" fmla="*/ 73 h 1875"/>
                  <a:gd name="T4" fmla="*/ 1498 w 1884"/>
                  <a:gd name="T5" fmla="*/ 180 h 1875"/>
                  <a:gd name="T6" fmla="*/ 1657 w 1884"/>
                  <a:gd name="T7" fmla="*/ 327 h 1875"/>
                  <a:gd name="T8" fmla="*/ 1778 w 1884"/>
                  <a:gd name="T9" fmla="*/ 506 h 1875"/>
                  <a:gd name="T10" fmla="*/ 1856 w 1884"/>
                  <a:gd name="T11" fmla="*/ 712 h 1875"/>
                  <a:gd name="T12" fmla="*/ 1884 w 1884"/>
                  <a:gd name="T13" fmla="*/ 938 h 1875"/>
                  <a:gd name="T14" fmla="*/ 1856 w 1884"/>
                  <a:gd name="T15" fmla="*/ 1163 h 1875"/>
                  <a:gd name="T16" fmla="*/ 1778 w 1884"/>
                  <a:gd name="T17" fmla="*/ 1368 h 1875"/>
                  <a:gd name="T18" fmla="*/ 1657 w 1884"/>
                  <a:gd name="T19" fmla="*/ 1547 h 1875"/>
                  <a:gd name="T20" fmla="*/ 1498 w 1884"/>
                  <a:gd name="T21" fmla="*/ 1694 h 1875"/>
                  <a:gd name="T22" fmla="*/ 1308 w 1884"/>
                  <a:gd name="T23" fmla="*/ 1801 h 1875"/>
                  <a:gd name="T24" fmla="*/ 1094 w 1884"/>
                  <a:gd name="T25" fmla="*/ 1863 h 1875"/>
                  <a:gd name="T26" fmla="*/ 865 w 1884"/>
                  <a:gd name="T27" fmla="*/ 1871 h 1875"/>
                  <a:gd name="T28" fmla="*/ 645 w 1884"/>
                  <a:gd name="T29" fmla="*/ 1827 h 1875"/>
                  <a:gd name="T30" fmla="*/ 447 w 1884"/>
                  <a:gd name="T31" fmla="*/ 1734 h 1875"/>
                  <a:gd name="T32" fmla="*/ 277 w 1884"/>
                  <a:gd name="T33" fmla="*/ 1600 h 1875"/>
                  <a:gd name="T34" fmla="*/ 141 w 1884"/>
                  <a:gd name="T35" fmla="*/ 1431 h 1875"/>
                  <a:gd name="T36" fmla="*/ 48 w 1884"/>
                  <a:gd name="T37" fmla="*/ 1234 h 1875"/>
                  <a:gd name="T38" fmla="*/ 3 w 1884"/>
                  <a:gd name="T39" fmla="*/ 1014 h 1875"/>
                  <a:gd name="T40" fmla="*/ 12 w 1884"/>
                  <a:gd name="T41" fmla="*/ 794 h 1875"/>
                  <a:gd name="T42" fmla="*/ 67 w 1884"/>
                  <a:gd name="T43" fmla="*/ 592 h 1875"/>
                  <a:gd name="T44" fmla="*/ 286 w 1884"/>
                  <a:gd name="T45" fmla="*/ 626 h 1875"/>
                  <a:gd name="T46" fmla="*/ 227 w 1884"/>
                  <a:gd name="T47" fmla="*/ 807 h 1875"/>
                  <a:gd name="T48" fmla="*/ 218 w 1884"/>
                  <a:gd name="T49" fmla="*/ 1003 h 1875"/>
                  <a:gd name="T50" fmla="*/ 261 w 1884"/>
                  <a:gd name="T51" fmla="*/ 1189 h 1875"/>
                  <a:gd name="T52" fmla="*/ 348 w 1884"/>
                  <a:gd name="T53" fmla="*/ 1354 h 1875"/>
                  <a:gd name="T54" fmla="*/ 474 w 1884"/>
                  <a:gd name="T55" fmla="*/ 1491 h 1875"/>
                  <a:gd name="T56" fmla="*/ 631 w 1884"/>
                  <a:gd name="T57" fmla="*/ 1591 h 1875"/>
                  <a:gd name="T58" fmla="*/ 812 w 1884"/>
                  <a:gd name="T59" fmla="*/ 1650 h 1875"/>
                  <a:gd name="T60" fmla="*/ 1008 w 1884"/>
                  <a:gd name="T61" fmla="*/ 1658 h 1875"/>
                  <a:gd name="T62" fmla="*/ 1195 w 1884"/>
                  <a:gd name="T63" fmla="*/ 1616 h 1875"/>
                  <a:gd name="T64" fmla="*/ 1361 w 1884"/>
                  <a:gd name="T65" fmla="*/ 1528 h 1875"/>
                  <a:gd name="T66" fmla="*/ 1498 w 1884"/>
                  <a:gd name="T67" fmla="*/ 1403 h 1875"/>
                  <a:gd name="T68" fmla="*/ 1599 w 1884"/>
                  <a:gd name="T69" fmla="*/ 1247 h 1875"/>
                  <a:gd name="T70" fmla="*/ 1657 w 1884"/>
                  <a:gd name="T71" fmla="*/ 1067 h 1875"/>
                  <a:gd name="T72" fmla="*/ 1665 w 1884"/>
                  <a:gd name="T73" fmla="*/ 872 h 1875"/>
                  <a:gd name="T74" fmla="*/ 1623 w 1884"/>
                  <a:gd name="T75" fmla="*/ 685 h 1875"/>
                  <a:gd name="T76" fmla="*/ 1536 w 1884"/>
                  <a:gd name="T77" fmla="*/ 520 h 1875"/>
                  <a:gd name="T78" fmla="*/ 1411 w 1884"/>
                  <a:gd name="T79" fmla="*/ 384 h 1875"/>
                  <a:gd name="T80" fmla="*/ 1253 w 1884"/>
                  <a:gd name="T81" fmla="*/ 283 h 1875"/>
                  <a:gd name="T82" fmla="*/ 1073 w 1884"/>
                  <a:gd name="T83" fmla="*/ 226 h 1875"/>
                  <a:gd name="T84" fmla="*/ 876 w 1884"/>
                  <a:gd name="T85" fmla="*/ 216 h 1875"/>
                  <a:gd name="T86" fmla="*/ 688 w 1884"/>
                  <a:gd name="T87" fmla="*/ 259 h 1875"/>
                  <a:gd name="T88" fmla="*/ 533 w 1884"/>
                  <a:gd name="T89" fmla="*/ 93 h 1875"/>
                  <a:gd name="T90" fmla="*/ 729 w 1884"/>
                  <a:gd name="T91" fmla="*/ 23 h 1875"/>
                  <a:gd name="T92" fmla="*/ 942 w 1884"/>
                  <a:gd name="T93" fmla="*/ 0 h 1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884" h="1875">
                    <a:moveTo>
                      <a:pt x="942" y="0"/>
                    </a:moveTo>
                    <a:lnTo>
                      <a:pt x="1019" y="3"/>
                    </a:lnTo>
                    <a:lnTo>
                      <a:pt x="1094" y="12"/>
                    </a:lnTo>
                    <a:lnTo>
                      <a:pt x="1168" y="27"/>
                    </a:lnTo>
                    <a:lnTo>
                      <a:pt x="1240" y="47"/>
                    </a:lnTo>
                    <a:lnTo>
                      <a:pt x="1308" y="73"/>
                    </a:lnTo>
                    <a:lnTo>
                      <a:pt x="1374" y="104"/>
                    </a:lnTo>
                    <a:lnTo>
                      <a:pt x="1437" y="140"/>
                    </a:lnTo>
                    <a:lnTo>
                      <a:pt x="1498" y="180"/>
                    </a:lnTo>
                    <a:lnTo>
                      <a:pt x="1555" y="226"/>
                    </a:lnTo>
                    <a:lnTo>
                      <a:pt x="1607" y="274"/>
                    </a:lnTo>
                    <a:lnTo>
                      <a:pt x="1657" y="327"/>
                    </a:lnTo>
                    <a:lnTo>
                      <a:pt x="1702" y="384"/>
                    </a:lnTo>
                    <a:lnTo>
                      <a:pt x="1742" y="443"/>
                    </a:lnTo>
                    <a:lnTo>
                      <a:pt x="1778" y="506"/>
                    </a:lnTo>
                    <a:lnTo>
                      <a:pt x="1809" y="572"/>
                    </a:lnTo>
                    <a:lnTo>
                      <a:pt x="1835" y="642"/>
                    </a:lnTo>
                    <a:lnTo>
                      <a:pt x="1856" y="712"/>
                    </a:lnTo>
                    <a:lnTo>
                      <a:pt x="1872" y="785"/>
                    </a:lnTo>
                    <a:lnTo>
                      <a:pt x="1881" y="860"/>
                    </a:lnTo>
                    <a:lnTo>
                      <a:pt x="1884" y="938"/>
                    </a:lnTo>
                    <a:lnTo>
                      <a:pt x="1881" y="1014"/>
                    </a:lnTo>
                    <a:lnTo>
                      <a:pt x="1872" y="1089"/>
                    </a:lnTo>
                    <a:lnTo>
                      <a:pt x="1856" y="1163"/>
                    </a:lnTo>
                    <a:lnTo>
                      <a:pt x="1835" y="1234"/>
                    </a:lnTo>
                    <a:lnTo>
                      <a:pt x="1809" y="1302"/>
                    </a:lnTo>
                    <a:lnTo>
                      <a:pt x="1778" y="1368"/>
                    </a:lnTo>
                    <a:lnTo>
                      <a:pt x="1742" y="1431"/>
                    </a:lnTo>
                    <a:lnTo>
                      <a:pt x="1702" y="1491"/>
                    </a:lnTo>
                    <a:lnTo>
                      <a:pt x="1657" y="1547"/>
                    </a:lnTo>
                    <a:lnTo>
                      <a:pt x="1607" y="1600"/>
                    </a:lnTo>
                    <a:lnTo>
                      <a:pt x="1555" y="1649"/>
                    </a:lnTo>
                    <a:lnTo>
                      <a:pt x="1498" y="1694"/>
                    </a:lnTo>
                    <a:lnTo>
                      <a:pt x="1437" y="1734"/>
                    </a:lnTo>
                    <a:lnTo>
                      <a:pt x="1374" y="1770"/>
                    </a:lnTo>
                    <a:lnTo>
                      <a:pt x="1308" y="1801"/>
                    </a:lnTo>
                    <a:lnTo>
                      <a:pt x="1240" y="1827"/>
                    </a:lnTo>
                    <a:lnTo>
                      <a:pt x="1168" y="1848"/>
                    </a:lnTo>
                    <a:lnTo>
                      <a:pt x="1094" y="1863"/>
                    </a:lnTo>
                    <a:lnTo>
                      <a:pt x="1019" y="1871"/>
                    </a:lnTo>
                    <a:lnTo>
                      <a:pt x="942" y="1875"/>
                    </a:lnTo>
                    <a:lnTo>
                      <a:pt x="865" y="1871"/>
                    </a:lnTo>
                    <a:lnTo>
                      <a:pt x="790" y="1863"/>
                    </a:lnTo>
                    <a:lnTo>
                      <a:pt x="716" y="1848"/>
                    </a:lnTo>
                    <a:lnTo>
                      <a:pt x="645" y="1827"/>
                    </a:lnTo>
                    <a:lnTo>
                      <a:pt x="576" y="1801"/>
                    </a:lnTo>
                    <a:lnTo>
                      <a:pt x="510" y="1770"/>
                    </a:lnTo>
                    <a:lnTo>
                      <a:pt x="447" y="1734"/>
                    </a:lnTo>
                    <a:lnTo>
                      <a:pt x="387" y="1694"/>
                    </a:lnTo>
                    <a:lnTo>
                      <a:pt x="330" y="1649"/>
                    </a:lnTo>
                    <a:lnTo>
                      <a:pt x="277" y="1600"/>
                    </a:lnTo>
                    <a:lnTo>
                      <a:pt x="227" y="1547"/>
                    </a:lnTo>
                    <a:lnTo>
                      <a:pt x="183" y="1491"/>
                    </a:lnTo>
                    <a:lnTo>
                      <a:pt x="141" y="1431"/>
                    </a:lnTo>
                    <a:lnTo>
                      <a:pt x="106" y="1368"/>
                    </a:lnTo>
                    <a:lnTo>
                      <a:pt x="75" y="1302"/>
                    </a:lnTo>
                    <a:lnTo>
                      <a:pt x="48" y="1234"/>
                    </a:lnTo>
                    <a:lnTo>
                      <a:pt x="28" y="1163"/>
                    </a:lnTo>
                    <a:lnTo>
                      <a:pt x="13" y="1089"/>
                    </a:lnTo>
                    <a:lnTo>
                      <a:pt x="3" y="1014"/>
                    </a:lnTo>
                    <a:lnTo>
                      <a:pt x="0" y="938"/>
                    </a:lnTo>
                    <a:lnTo>
                      <a:pt x="3" y="864"/>
                    </a:lnTo>
                    <a:lnTo>
                      <a:pt x="12" y="794"/>
                    </a:lnTo>
                    <a:lnTo>
                      <a:pt x="25" y="724"/>
                    </a:lnTo>
                    <a:lnTo>
                      <a:pt x="44" y="657"/>
                    </a:lnTo>
                    <a:lnTo>
                      <a:pt x="67" y="592"/>
                    </a:lnTo>
                    <a:lnTo>
                      <a:pt x="95" y="529"/>
                    </a:lnTo>
                    <a:lnTo>
                      <a:pt x="127" y="468"/>
                    </a:lnTo>
                    <a:lnTo>
                      <a:pt x="286" y="626"/>
                    </a:lnTo>
                    <a:lnTo>
                      <a:pt x="261" y="684"/>
                    </a:lnTo>
                    <a:lnTo>
                      <a:pt x="242" y="745"/>
                    </a:lnTo>
                    <a:lnTo>
                      <a:pt x="227" y="807"/>
                    </a:lnTo>
                    <a:lnTo>
                      <a:pt x="219" y="872"/>
                    </a:lnTo>
                    <a:lnTo>
                      <a:pt x="216" y="938"/>
                    </a:lnTo>
                    <a:lnTo>
                      <a:pt x="218" y="1003"/>
                    </a:lnTo>
                    <a:lnTo>
                      <a:pt x="227" y="1067"/>
                    </a:lnTo>
                    <a:lnTo>
                      <a:pt x="242" y="1130"/>
                    </a:lnTo>
                    <a:lnTo>
                      <a:pt x="261" y="1189"/>
                    </a:lnTo>
                    <a:lnTo>
                      <a:pt x="285" y="1247"/>
                    </a:lnTo>
                    <a:lnTo>
                      <a:pt x="315" y="1302"/>
                    </a:lnTo>
                    <a:lnTo>
                      <a:pt x="348" y="1354"/>
                    </a:lnTo>
                    <a:lnTo>
                      <a:pt x="387" y="1403"/>
                    </a:lnTo>
                    <a:lnTo>
                      <a:pt x="428" y="1448"/>
                    </a:lnTo>
                    <a:lnTo>
                      <a:pt x="474" y="1491"/>
                    </a:lnTo>
                    <a:lnTo>
                      <a:pt x="524" y="1528"/>
                    </a:lnTo>
                    <a:lnTo>
                      <a:pt x="575" y="1562"/>
                    </a:lnTo>
                    <a:lnTo>
                      <a:pt x="631" y="1591"/>
                    </a:lnTo>
                    <a:lnTo>
                      <a:pt x="689" y="1616"/>
                    </a:lnTo>
                    <a:lnTo>
                      <a:pt x="749" y="1635"/>
                    </a:lnTo>
                    <a:lnTo>
                      <a:pt x="812" y="1650"/>
                    </a:lnTo>
                    <a:lnTo>
                      <a:pt x="876" y="1658"/>
                    </a:lnTo>
                    <a:lnTo>
                      <a:pt x="942" y="1661"/>
                    </a:lnTo>
                    <a:lnTo>
                      <a:pt x="1008" y="1658"/>
                    </a:lnTo>
                    <a:lnTo>
                      <a:pt x="1073" y="1650"/>
                    </a:lnTo>
                    <a:lnTo>
                      <a:pt x="1135" y="1635"/>
                    </a:lnTo>
                    <a:lnTo>
                      <a:pt x="1195" y="1616"/>
                    </a:lnTo>
                    <a:lnTo>
                      <a:pt x="1253" y="1591"/>
                    </a:lnTo>
                    <a:lnTo>
                      <a:pt x="1309" y="1562"/>
                    </a:lnTo>
                    <a:lnTo>
                      <a:pt x="1361" y="1528"/>
                    </a:lnTo>
                    <a:lnTo>
                      <a:pt x="1411" y="1491"/>
                    </a:lnTo>
                    <a:lnTo>
                      <a:pt x="1456" y="1448"/>
                    </a:lnTo>
                    <a:lnTo>
                      <a:pt x="1498" y="1403"/>
                    </a:lnTo>
                    <a:lnTo>
                      <a:pt x="1536" y="1354"/>
                    </a:lnTo>
                    <a:lnTo>
                      <a:pt x="1569" y="1302"/>
                    </a:lnTo>
                    <a:lnTo>
                      <a:pt x="1599" y="1247"/>
                    </a:lnTo>
                    <a:lnTo>
                      <a:pt x="1623" y="1189"/>
                    </a:lnTo>
                    <a:lnTo>
                      <a:pt x="1643" y="1130"/>
                    </a:lnTo>
                    <a:lnTo>
                      <a:pt x="1657" y="1067"/>
                    </a:lnTo>
                    <a:lnTo>
                      <a:pt x="1665" y="1003"/>
                    </a:lnTo>
                    <a:lnTo>
                      <a:pt x="1669" y="938"/>
                    </a:lnTo>
                    <a:lnTo>
                      <a:pt x="1665" y="872"/>
                    </a:lnTo>
                    <a:lnTo>
                      <a:pt x="1657" y="808"/>
                    </a:lnTo>
                    <a:lnTo>
                      <a:pt x="1643" y="745"/>
                    </a:lnTo>
                    <a:lnTo>
                      <a:pt x="1623" y="685"/>
                    </a:lnTo>
                    <a:lnTo>
                      <a:pt x="1599" y="627"/>
                    </a:lnTo>
                    <a:lnTo>
                      <a:pt x="1569" y="572"/>
                    </a:lnTo>
                    <a:lnTo>
                      <a:pt x="1536" y="520"/>
                    </a:lnTo>
                    <a:lnTo>
                      <a:pt x="1498" y="471"/>
                    </a:lnTo>
                    <a:lnTo>
                      <a:pt x="1456" y="426"/>
                    </a:lnTo>
                    <a:lnTo>
                      <a:pt x="1411" y="384"/>
                    </a:lnTo>
                    <a:lnTo>
                      <a:pt x="1361" y="346"/>
                    </a:lnTo>
                    <a:lnTo>
                      <a:pt x="1309" y="312"/>
                    </a:lnTo>
                    <a:lnTo>
                      <a:pt x="1253" y="283"/>
                    </a:lnTo>
                    <a:lnTo>
                      <a:pt x="1195" y="259"/>
                    </a:lnTo>
                    <a:lnTo>
                      <a:pt x="1135" y="239"/>
                    </a:lnTo>
                    <a:lnTo>
                      <a:pt x="1073" y="226"/>
                    </a:lnTo>
                    <a:lnTo>
                      <a:pt x="1008" y="216"/>
                    </a:lnTo>
                    <a:lnTo>
                      <a:pt x="942" y="213"/>
                    </a:lnTo>
                    <a:lnTo>
                      <a:pt x="876" y="216"/>
                    </a:lnTo>
                    <a:lnTo>
                      <a:pt x="812" y="226"/>
                    </a:lnTo>
                    <a:lnTo>
                      <a:pt x="749" y="239"/>
                    </a:lnTo>
                    <a:lnTo>
                      <a:pt x="688" y="259"/>
                    </a:lnTo>
                    <a:lnTo>
                      <a:pt x="630" y="283"/>
                    </a:lnTo>
                    <a:lnTo>
                      <a:pt x="472" y="126"/>
                    </a:lnTo>
                    <a:lnTo>
                      <a:pt x="533" y="93"/>
                    </a:lnTo>
                    <a:lnTo>
                      <a:pt x="596" y="66"/>
                    </a:lnTo>
                    <a:lnTo>
                      <a:pt x="661" y="42"/>
                    </a:lnTo>
                    <a:lnTo>
                      <a:pt x="729" y="23"/>
                    </a:lnTo>
                    <a:lnTo>
                      <a:pt x="798" y="10"/>
                    </a:lnTo>
                    <a:lnTo>
                      <a:pt x="870" y="2"/>
                    </a:lnTo>
                    <a:lnTo>
                      <a:pt x="94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29" name="Freeform 114">
                <a:extLst>
                  <a:ext uri="{FF2B5EF4-FFF2-40B4-BE49-F238E27FC236}">
                    <a16:creationId xmlns:a16="http://schemas.microsoft.com/office/drawing/2014/main" id="{692B516A-412F-4DAA-9F02-37510FDDD705}"/>
                  </a:ext>
                </a:extLst>
              </p:cNvPr>
              <p:cNvSpPr>
                <a:spLocks/>
              </p:cNvSpPr>
              <p:nvPr/>
            </p:nvSpPr>
            <p:spPr bwMode="auto">
              <a:xfrm>
                <a:off x="3058" y="2342"/>
                <a:ext cx="87" cy="86"/>
              </a:xfrm>
              <a:custGeom>
                <a:avLst/>
                <a:gdLst>
                  <a:gd name="T0" fmla="*/ 144 w 1296"/>
                  <a:gd name="T1" fmla="*/ 0 h 1290"/>
                  <a:gd name="T2" fmla="*/ 1267 w 1296"/>
                  <a:gd name="T3" fmla="*/ 1118 h 1290"/>
                  <a:gd name="T4" fmla="*/ 1282 w 1296"/>
                  <a:gd name="T5" fmla="*/ 1136 h 1290"/>
                  <a:gd name="T6" fmla="*/ 1292 w 1296"/>
                  <a:gd name="T7" fmla="*/ 1157 h 1290"/>
                  <a:gd name="T8" fmla="*/ 1296 w 1296"/>
                  <a:gd name="T9" fmla="*/ 1178 h 1290"/>
                  <a:gd name="T10" fmla="*/ 1296 w 1296"/>
                  <a:gd name="T11" fmla="*/ 1200 h 1290"/>
                  <a:gd name="T12" fmla="*/ 1292 w 1296"/>
                  <a:gd name="T13" fmla="*/ 1222 h 1290"/>
                  <a:gd name="T14" fmla="*/ 1282 w 1296"/>
                  <a:gd name="T15" fmla="*/ 1242 h 1290"/>
                  <a:gd name="T16" fmla="*/ 1267 w 1296"/>
                  <a:gd name="T17" fmla="*/ 1260 h 1290"/>
                  <a:gd name="T18" fmla="*/ 1252 w 1296"/>
                  <a:gd name="T19" fmla="*/ 1273 h 1290"/>
                  <a:gd name="T20" fmla="*/ 1234 w 1296"/>
                  <a:gd name="T21" fmla="*/ 1283 h 1290"/>
                  <a:gd name="T22" fmla="*/ 1215 w 1296"/>
                  <a:gd name="T23" fmla="*/ 1288 h 1290"/>
                  <a:gd name="T24" fmla="*/ 1196 w 1296"/>
                  <a:gd name="T25" fmla="*/ 1290 h 1290"/>
                  <a:gd name="T26" fmla="*/ 1177 w 1296"/>
                  <a:gd name="T27" fmla="*/ 1288 h 1290"/>
                  <a:gd name="T28" fmla="*/ 1158 w 1296"/>
                  <a:gd name="T29" fmla="*/ 1283 h 1290"/>
                  <a:gd name="T30" fmla="*/ 1141 w 1296"/>
                  <a:gd name="T31" fmla="*/ 1273 h 1290"/>
                  <a:gd name="T32" fmla="*/ 1124 w 1296"/>
                  <a:gd name="T33" fmla="*/ 1260 h 1290"/>
                  <a:gd name="T34" fmla="*/ 0 w 1296"/>
                  <a:gd name="T35" fmla="*/ 142 h 1290"/>
                  <a:gd name="T36" fmla="*/ 26 w 1296"/>
                  <a:gd name="T37" fmla="*/ 142 h 1290"/>
                  <a:gd name="T38" fmla="*/ 53 w 1296"/>
                  <a:gd name="T39" fmla="*/ 138 h 1290"/>
                  <a:gd name="T40" fmla="*/ 78 w 1296"/>
                  <a:gd name="T41" fmla="*/ 129 h 1290"/>
                  <a:gd name="T42" fmla="*/ 99 w 1296"/>
                  <a:gd name="T43" fmla="*/ 116 h 1290"/>
                  <a:gd name="T44" fmla="*/ 118 w 1296"/>
                  <a:gd name="T45" fmla="*/ 97 h 1290"/>
                  <a:gd name="T46" fmla="*/ 131 w 1296"/>
                  <a:gd name="T47" fmla="*/ 75 h 1290"/>
                  <a:gd name="T48" fmla="*/ 141 w 1296"/>
                  <a:gd name="T49" fmla="*/ 51 h 1290"/>
                  <a:gd name="T50" fmla="*/ 144 w 1296"/>
                  <a:gd name="T51" fmla="*/ 24 h 1290"/>
                  <a:gd name="T52" fmla="*/ 144 w 1296"/>
                  <a:gd name="T53" fmla="*/ 0 h 1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96" h="1290">
                    <a:moveTo>
                      <a:pt x="144" y="0"/>
                    </a:moveTo>
                    <a:lnTo>
                      <a:pt x="1267" y="1118"/>
                    </a:lnTo>
                    <a:lnTo>
                      <a:pt x="1282" y="1136"/>
                    </a:lnTo>
                    <a:lnTo>
                      <a:pt x="1292" y="1157"/>
                    </a:lnTo>
                    <a:lnTo>
                      <a:pt x="1296" y="1178"/>
                    </a:lnTo>
                    <a:lnTo>
                      <a:pt x="1296" y="1200"/>
                    </a:lnTo>
                    <a:lnTo>
                      <a:pt x="1292" y="1222"/>
                    </a:lnTo>
                    <a:lnTo>
                      <a:pt x="1282" y="1242"/>
                    </a:lnTo>
                    <a:lnTo>
                      <a:pt x="1267" y="1260"/>
                    </a:lnTo>
                    <a:lnTo>
                      <a:pt x="1252" y="1273"/>
                    </a:lnTo>
                    <a:lnTo>
                      <a:pt x="1234" y="1283"/>
                    </a:lnTo>
                    <a:lnTo>
                      <a:pt x="1215" y="1288"/>
                    </a:lnTo>
                    <a:lnTo>
                      <a:pt x="1196" y="1290"/>
                    </a:lnTo>
                    <a:lnTo>
                      <a:pt x="1177" y="1288"/>
                    </a:lnTo>
                    <a:lnTo>
                      <a:pt x="1158" y="1283"/>
                    </a:lnTo>
                    <a:lnTo>
                      <a:pt x="1141" y="1273"/>
                    </a:lnTo>
                    <a:lnTo>
                      <a:pt x="1124" y="1260"/>
                    </a:lnTo>
                    <a:lnTo>
                      <a:pt x="0" y="142"/>
                    </a:lnTo>
                    <a:lnTo>
                      <a:pt x="26" y="142"/>
                    </a:lnTo>
                    <a:lnTo>
                      <a:pt x="53" y="138"/>
                    </a:lnTo>
                    <a:lnTo>
                      <a:pt x="78" y="129"/>
                    </a:lnTo>
                    <a:lnTo>
                      <a:pt x="99" y="116"/>
                    </a:lnTo>
                    <a:lnTo>
                      <a:pt x="118" y="97"/>
                    </a:lnTo>
                    <a:lnTo>
                      <a:pt x="131" y="75"/>
                    </a:lnTo>
                    <a:lnTo>
                      <a:pt x="141" y="51"/>
                    </a:lnTo>
                    <a:lnTo>
                      <a:pt x="144" y="24"/>
                    </a:lnTo>
                    <a:lnTo>
                      <a:pt x="14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30" name="Freeform 115">
                <a:extLst>
                  <a:ext uri="{FF2B5EF4-FFF2-40B4-BE49-F238E27FC236}">
                    <a16:creationId xmlns:a16="http://schemas.microsoft.com/office/drawing/2014/main" id="{E761D17A-3BFA-4E52-B048-2D334695D415}"/>
                  </a:ext>
                </a:extLst>
              </p:cNvPr>
              <p:cNvSpPr>
                <a:spLocks/>
              </p:cNvSpPr>
              <p:nvPr/>
            </p:nvSpPr>
            <p:spPr bwMode="auto">
              <a:xfrm>
                <a:off x="3044" y="2328"/>
                <a:ext cx="208" cy="207"/>
              </a:xfrm>
              <a:custGeom>
                <a:avLst/>
                <a:gdLst>
                  <a:gd name="T0" fmla="*/ 1764 w 3122"/>
                  <a:gd name="T1" fmla="*/ 13 h 3109"/>
                  <a:gd name="T2" fmla="*/ 2054 w 3122"/>
                  <a:gd name="T3" fmla="*/ 79 h 3109"/>
                  <a:gd name="T4" fmla="*/ 2321 w 3122"/>
                  <a:gd name="T5" fmla="*/ 197 h 3109"/>
                  <a:gd name="T6" fmla="*/ 2558 w 3122"/>
                  <a:gd name="T7" fmla="*/ 359 h 3109"/>
                  <a:gd name="T8" fmla="*/ 2761 w 3122"/>
                  <a:gd name="T9" fmla="*/ 561 h 3109"/>
                  <a:gd name="T10" fmla="*/ 2925 w 3122"/>
                  <a:gd name="T11" fmla="*/ 798 h 3109"/>
                  <a:gd name="T12" fmla="*/ 3043 w 3122"/>
                  <a:gd name="T13" fmla="*/ 1063 h 3109"/>
                  <a:gd name="T14" fmla="*/ 3109 w 3122"/>
                  <a:gd name="T15" fmla="*/ 1351 h 3109"/>
                  <a:gd name="T16" fmla="*/ 3119 w 3122"/>
                  <a:gd name="T17" fmla="*/ 1656 h 3109"/>
                  <a:gd name="T18" fmla="*/ 3071 w 3122"/>
                  <a:gd name="T19" fmla="*/ 1951 h 3109"/>
                  <a:gd name="T20" fmla="*/ 2969 w 3122"/>
                  <a:gd name="T21" fmla="*/ 2224 h 3109"/>
                  <a:gd name="T22" fmla="*/ 2820 w 3122"/>
                  <a:gd name="T23" fmla="*/ 2472 h 3109"/>
                  <a:gd name="T24" fmla="*/ 2629 w 3122"/>
                  <a:gd name="T25" fmla="*/ 2687 h 3109"/>
                  <a:gd name="T26" fmla="*/ 2404 w 3122"/>
                  <a:gd name="T27" fmla="*/ 2863 h 3109"/>
                  <a:gd name="T28" fmla="*/ 2146 w 3122"/>
                  <a:gd name="T29" fmla="*/ 2995 h 3109"/>
                  <a:gd name="T30" fmla="*/ 1863 w 3122"/>
                  <a:gd name="T31" fmla="*/ 3080 h 3109"/>
                  <a:gd name="T32" fmla="*/ 1561 w 3122"/>
                  <a:gd name="T33" fmla="*/ 3109 h 3109"/>
                  <a:gd name="T34" fmla="*/ 1259 w 3122"/>
                  <a:gd name="T35" fmla="*/ 3080 h 3109"/>
                  <a:gd name="T36" fmla="*/ 977 w 3122"/>
                  <a:gd name="T37" fmla="*/ 2995 h 3109"/>
                  <a:gd name="T38" fmla="*/ 719 w 3122"/>
                  <a:gd name="T39" fmla="*/ 2863 h 3109"/>
                  <a:gd name="T40" fmla="*/ 492 w 3122"/>
                  <a:gd name="T41" fmla="*/ 2687 h 3109"/>
                  <a:gd name="T42" fmla="*/ 302 w 3122"/>
                  <a:gd name="T43" fmla="*/ 2472 h 3109"/>
                  <a:gd name="T44" fmla="*/ 153 w 3122"/>
                  <a:gd name="T45" fmla="*/ 2224 h 3109"/>
                  <a:gd name="T46" fmla="*/ 51 w 3122"/>
                  <a:gd name="T47" fmla="*/ 1951 h 3109"/>
                  <a:gd name="T48" fmla="*/ 4 w 3122"/>
                  <a:gd name="T49" fmla="*/ 1656 h 3109"/>
                  <a:gd name="T50" fmla="*/ 13 w 3122"/>
                  <a:gd name="T51" fmla="*/ 1352 h 3109"/>
                  <a:gd name="T52" fmla="*/ 79 w 3122"/>
                  <a:gd name="T53" fmla="*/ 1066 h 3109"/>
                  <a:gd name="T54" fmla="*/ 195 w 3122"/>
                  <a:gd name="T55" fmla="*/ 801 h 3109"/>
                  <a:gd name="T56" fmla="*/ 598 w 3122"/>
                  <a:gd name="T57" fmla="*/ 939 h 3109"/>
                  <a:gd name="T58" fmla="*/ 491 w 3122"/>
                  <a:gd name="T59" fmla="*/ 1152 h 3109"/>
                  <a:gd name="T60" fmla="*/ 430 w 3122"/>
                  <a:gd name="T61" fmla="*/ 1387 h 3109"/>
                  <a:gd name="T62" fmla="*/ 420 w 3122"/>
                  <a:gd name="T63" fmla="*/ 1639 h 3109"/>
                  <a:gd name="T64" fmla="*/ 466 w 3122"/>
                  <a:gd name="T65" fmla="*/ 1883 h 3109"/>
                  <a:gd name="T66" fmla="*/ 560 w 3122"/>
                  <a:gd name="T67" fmla="*/ 2106 h 3109"/>
                  <a:gd name="T68" fmla="*/ 698 w 3122"/>
                  <a:gd name="T69" fmla="*/ 2301 h 3109"/>
                  <a:gd name="T70" fmla="*/ 873 w 3122"/>
                  <a:gd name="T71" fmla="*/ 2464 h 3109"/>
                  <a:gd name="T72" fmla="*/ 1079 w 3122"/>
                  <a:gd name="T73" fmla="*/ 2587 h 3109"/>
                  <a:gd name="T74" fmla="*/ 1310 w 3122"/>
                  <a:gd name="T75" fmla="*/ 2666 h 3109"/>
                  <a:gd name="T76" fmla="*/ 1561 w 3122"/>
                  <a:gd name="T77" fmla="*/ 2694 h 3109"/>
                  <a:gd name="T78" fmla="*/ 1812 w 3122"/>
                  <a:gd name="T79" fmla="*/ 2666 h 3109"/>
                  <a:gd name="T80" fmla="*/ 2043 w 3122"/>
                  <a:gd name="T81" fmla="*/ 2587 h 3109"/>
                  <a:gd name="T82" fmla="*/ 2249 w 3122"/>
                  <a:gd name="T83" fmla="*/ 2464 h 3109"/>
                  <a:gd name="T84" fmla="*/ 2424 w 3122"/>
                  <a:gd name="T85" fmla="*/ 2301 h 3109"/>
                  <a:gd name="T86" fmla="*/ 2562 w 3122"/>
                  <a:gd name="T87" fmla="*/ 2106 h 3109"/>
                  <a:gd name="T88" fmla="*/ 2656 w 3122"/>
                  <a:gd name="T89" fmla="*/ 1883 h 3109"/>
                  <a:gd name="T90" fmla="*/ 2702 w 3122"/>
                  <a:gd name="T91" fmla="*/ 1639 h 3109"/>
                  <a:gd name="T92" fmla="*/ 2693 w 3122"/>
                  <a:gd name="T93" fmla="*/ 1386 h 3109"/>
                  <a:gd name="T94" fmla="*/ 2631 w 3122"/>
                  <a:gd name="T95" fmla="*/ 1149 h 3109"/>
                  <a:gd name="T96" fmla="*/ 2521 w 3122"/>
                  <a:gd name="T97" fmla="*/ 935 h 3109"/>
                  <a:gd name="T98" fmla="*/ 2369 w 3122"/>
                  <a:gd name="T99" fmla="*/ 749 h 3109"/>
                  <a:gd name="T100" fmla="*/ 2184 w 3122"/>
                  <a:gd name="T101" fmla="*/ 599 h 3109"/>
                  <a:gd name="T102" fmla="*/ 1968 w 3122"/>
                  <a:gd name="T103" fmla="*/ 490 h 3109"/>
                  <a:gd name="T104" fmla="*/ 1730 w 3122"/>
                  <a:gd name="T105" fmla="*/ 428 h 3109"/>
                  <a:gd name="T106" fmla="*/ 1476 w 3122"/>
                  <a:gd name="T107" fmla="*/ 419 h 3109"/>
                  <a:gd name="T108" fmla="*/ 1234 w 3122"/>
                  <a:gd name="T109" fmla="*/ 463 h 3109"/>
                  <a:gd name="T110" fmla="*/ 1012 w 3122"/>
                  <a:gd name="T111" fmla="*/ 556 h 3109"/>
                  <a:gd name="T112" fmla="*/ 723 w 3122"/>
                  <a:gd name="T113" fmla="*/ 243 h 3109"/>
                  <a:gd name="T114" fmla="*/ 979 w 3122"/>
                  <a:gd name="T115" fmla="*/ 112 h 3109"/>
                  <a:gd name="T116" fmla="*/ 1261 w 3122"/>
                  <a:gd name="T117" fmla="*/ 29 h 3109"/>
                  <a:gd name="T118" fmla="*/ 1561 w 3122"/>
                  <a:gd name="T119" fmla="*/ 0 h 3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122" h="3109">
                    <a:moveTo>
                      <a:pt x="1561" y="0"/>
                    </a:moveTo>
                    <a:lnTo>
                      <a:pt x="1664" y="3"/>
                    </a:lnTo>
                    <a:lnTo>
                      <a:pt x="1764" y="13"/>
                    </a:lnTo>
                    <a:lnTo>
                      <a:pt x="1863" y="29"/>
                    </a:lnTo>
                    <a:lnTo>
                      <a:pt x="1960" y="51"/>
                    </a:lnTo>
                    <a:lnTo>
                      <a:pt x="2054" y="79"/>
                    </a:lnTo>
                    <a:lnTo>
                      <a:pt x="2146" y="113"/>
                    </a:lnTo>
                    <a:lnTo>
                      <a:pt x="2235" y="152"/>
                    </a:lnTo>
                    <a:lnTo>
                      <a:pt x="2321" y="197"/>
                    </a:lnTo>
                    <a:lnTo>
                      <a:pt x="2404" y="246"/>
                    </a:lnTo>
                    <a:lnTo>
                      <a:pt x="2482" y="300"/>
                    </a:lnTo>
                    <a:lnTo>
                      <a:pt x="2558" y="359"/>
                    </a:lnTo>
                    <a:lnTo>
                      <a:pt x="2629" y="423"/>
                    </a:lnTo>
                    <a:lnTo>
                      <a:pt x="2698" y="490"/>
                    </a:lnTo>
                    <a:lnTo>
                      <a:pt x="2761" y="561"/>
                    </a:lnTo>
                    <a:lnTo>
                      <a:pt x="2820" y="636"/>
                    </a:lnTo>
                    <a:lnTo>
                      <a:pt x="2875" y="716"/>
                    </a:lnTo>
                    <a:lnTo>
                      <a:pt x="2925" y="798"/>
                    </a:lnTo>
                    <a:lnTo>
                      <a:pt x="2969" y="884"/>
                    </a:lnTo>
                    <a:lnTo>
                      <a:pt x="3009" y="972"/>
                    </a:lnTo>
                    <a:lnTo>
                      <a:pt x="3043" y="1063"/>
                    </a:lnTo>
                    <a:lnTo>
                      <a:pt x="3071" y="1157"/>
                    </a:lnTo>
                    <a:lnTo>
                      <a:pt x="3093" y="1253"/>
                    </a:lnTo>
                    <a:lnTo>
                      <a:pt x="3109" y="1351"/>
                    </a:lnTo>
                    <a:lnTo>
                      <a:pt x="3119" y="1452"/>
                    </a:lnTo>
                    <a:lnTo>
                      <a:pt x="3122" y="1555"/>
                    </a:lnTo>
                    <a:lnTo>
                      <a:pt x="3119" y="1656"/>
                    </a:lnTo>
                    <a:lnTo>
                      <a:pt x="3109" y="1757"/>
                    </a:lnTo>
                    <a:lnTo>
                      <a:pt x="3093" y="1855"/>
                    </a:lnTo>
                    <a:lnTo>
                      <a:pt x="3071" y="1951"/>
                    </a:lnTo>
                    <a:lnTo>
                      <a:pt x="3043" y="2045"/>
                    </a:lnTo>
                    <a:lnTo>
                      <a:pt x="3009" y="2137"/>
                    </a:lnTo>
                    <a:lnTo>
                      <a:pt x="2969" y="2224"/>
                    </a:lnTo>
                    <a:lnTo>
                      <a:pt x="2925" y="2310"/>
                    </a:lnTo>
                    <a:lnTo>
                      <a:pt x="2875" y="2392"/>
                    </a:lnTo>
                    <a:lnTo>
                      <a:pt x="2820" y="2472"/>
                    </a:lnTo>
                    <a:lnTo>
                      <a:pt x="2761" y="2547"/>
                    </a:lnTo>
                    <a:lnTo>
                      <a:pt x="2698" y="2618"/>
                    </a:lnTo>
                    <a:lnTo>
                      <a:pt x="2629" y="2687"/>
                    </a:lnTo>
                    <a:lnTo>
                      <a:pt x="2558" y="2749"/>
                    </a:lnTo>
                    <a:lnTo>
                      <a:pt x="2482" y="2808"/>
                    </a:lnTo>
                    <a:lnTo>
                      <a:pt x="2404" y="2863"/>
                    </a:lnTo>
                    <a:lnTo>
                      <a:pt x="2321" y="2913"/>
                    </a:lnTo>
                    <a:lnTo>
                      <a:pt x="2235" y="2957"/>
                    </a:lnTo>
                    <a:lnTo>
                      <a:pt x="2146" y="2995"/>
                    </a:lnTo>
                    <a:lnTo>
                      <a:pt x="2054" y="3029"/>
                    </a:lnTo>
                    <a:lnTo>
                      <a:pt x="1960" y="3057"/>
                    </a:lnTo>
                    <a:lnTo>
                      <a:pt x="1863" y="3080"/>
                    </a:lnTo>
                    <a:lnTo>
                      <a:pt x="1764" y="3095"/>
                    </a:lnTo>
                    <a:lnTo>
                      <a:pt x="1664" y="3105"/>
                    </a:lnTo>
                    <a:lnTo>
                      <a:pt x="1561" y="3109"/>
                    </a:lnTo>
                    <a:lnTo>
                      <a:pt x="1459" y="3105"/>
                    </a:lnTo>
                    <a:lnTo>
                      <a:pt x="1358" y="3095"/>
                    </a:lnTo>
                    <a:lnTo>
                      <a:pt x="1259" y="3080"/>
                    </a:lnTo>
                    <a:lnTo>
                      <a:pt x="1162" y="3057"/>
                    </a:lnTo>
                    <a:lnTo>
                      <a:pt x="1068" y="3029"/>
                    </a:lnTo>
                    <a:lnTo>
                      <a:pt x="977" y="2995"/>
                    </a:lnTo>
                    <a:lnTo>
                      <a:pt x="888" y="2957"/>
                    </a:lnTo>
                    <a:lnTo>
                      <a:pt x="802" y="2913"/>
                    </a:lnTo>
                    <a:lnTo>
                      <a:pt x="719" y="2863"/>
                    </a:lnTo>
                    <a:lnTo>
                      <a:pt x="640" y="2808"/>
                    </a:lnTo>
                    <a:lnTo>
                      <a:pt x="564" y="2749"/>
                    </a:lnTo>
                    <a:lnTo>
                      <a:pt x="492" y="2687"/>
                    </a:lnTo>
                    <a:lnTo>
                      <a:pt x="424" y="2618"/>
                    </a:lnTo>
                    <a:lnTo>
                      <a:pt x="361" y="2547"/>
                    </a:lnTo>
                    <a:lnTo>
                      <a:pt x="302" y="2472"/>
                    </a:lnTo>
                    <a:lnTo>
                      <a:pt x="247" y="2392"/>
                    </a:lnTo>
                    <a:lnTo>
                      <a:pt x="197" y="2310"/>
                    </a:lnTo>
                    <a:lnTo>
                      <a:pt x="153" y="2224"/>
                    </a:lnTo>
                    <a:lnTo>
                      <a:pt x="114" y="2137"/>
                    </a:lnTo>
                    <a:lnTo>
                      <a:pt x="79" y="2045"/>
                    </a:lnTo>
                    <a:lnTo>
                      <a:pt x="51" y="1951"/>
                    </a:lnTo>
                    <a:lnTo>
                      <a:pt x="30" y="1855"/>
                    </a:lnTo>
                    <a:lnTo>
                      <a:pt x="13" y="1757"/>
                    </a:lnTo>
                    <a:lnTo>
                      <a:pt x="4" y="1656"/>
                    </a:lnTo>
                    <a:lnTo>
                      <a:pt x="0" y="1555"/>
                    </a:lnTo>
                    <a:lnTo>
                      <a:pt x="4" y="1452"/>
                    </a:lnTo>
                    <a:lnTo>
                      <a:pt x="13" y="1352"/>
                    </a:lnTo>
                    <a:lnTo>
                      <a:pt x="30" y="1255"/>
                    </a:lnTo>
                    <a:lnTo>
                      <a:pt x="51" y="1159"/>
                    </a:lnTo>
                    <a:lnTo>
                      <a:pt x="79" y="1066"/>
                    </a:lnTo>
                    <a:lnTo>
                      <a:pt x="113" y="975"/>
                    </a:lnTo>
                    <a:lnTo>
                      <a:pt x="152" y="887"/>
                    </a:lnTo>
                    <a:lnTo>
                      <a:pt x="195" y="801"/>
                    </a:lnTo>
                    <a:lnTo>
                      <a:pt x="245" y="719"/>
                    </a:lnTo>
                    <a:lnTo>
                      <a:pt x="299" y="640"/>
                    </a:lnTo>
                    <a:lnTo>
                      <a:pt x="598" y="939"/>
                    </a:lnTo>
                    <a:lnTo>
                      <a:pt x="558" y="1007"/>
                    </a:lnTo>
                    <a:lnTo>
                      <a:pt x="522" y="1078"/>
                    </a:lnTo>
                    <a:lnTo>
                      <a:pt x="491" y="1152"/>
                    </a:lnTo>
                    <a:lnTo>
                      <a:pt x="465" y="1229"/>
                    </a:lnTo>
                    <a:lnTo>
                      <a:pt x="444" y="1307"/>
                    </a:lnTo>
                    <a:lnTo>
                      <a:pt x="430" y="1387"/>
                    </a:lnTo>
                    <a:lnTo>
                      <a:pt x="420" y="1470"/>
                    </a:lnTo>
                    <a:lnTo>
                      <a:pt x="417" y="1555"/>
                    </a:lnTo>
                    <a:lnTo>
                      <a:pt x="420" y="1639"/>
                    </a:lnTo>
                    <a:lnTo>
                      <a:pt x="430" y="1722"/>
                    </a:lnTo>
                    <a:lnTo>
                      <a:pt x="445" y="1803"/>
                    </a:lnTo>
                    <a:lnTo>
                      <a:pt x="466" y="1883"/>
                    </a:lnTo>
                    <a:lnTo>
                      <a:pt x="492" y="1960"/>
                    </a:lnTo>
                    <a:lnTo>
                      <a:pt x="524" y="2034"/>
                    </a:lnTo>
                    <a:lnTo>
                      <a:pt x="560" y="2106"/>
                    </a:lnTo>
                    <a:lnTo>
                      <a:pt x="602" y="2174"/>
                    </a:lnTo>
                    <a:lnTo>
                      <a:pt x="648" y="2240"/>
                    </a:lnTo>
                    <a:lnTo>
                      <a:pt x="698" y="2301"/>
                    </a:lnTo>
                    <a:lnTo>
                      <a:pt x="753" y="2359"/>
                    </a:lnTo>
                    <a:lnTo>
                      <a:pt x="811" y="2413"/>
                    </a:lnTo>
                    <a:lnTo>
                      <a:pt x="873" y="2464"/>
                    </a:lnTo>
                    <a:lnTo>
                      <a:pt x="938" y="2509"/>
                    </a:lnTo>
                    <a:lnTo>
                      <a:pt x="1008" y="2550"/>
                    </a:lnTo>
                    <a:lnTo>
                      <a:pt x="1079" y="2587"/>
                    </a:lnTo>
                    <a:lnTo>
                      <a:pt x="1154" y="2618"/>
                    </a:lnTo>
                    <a:lnTo>
                      <a:pt x="1231" y="2645"/>
                    </a:lnTo>
                    <a:lnTo>
                      <a:pt x="1310" y="2666"/>
                    </a:lnTo>
                    <a:lnTo>
                      <a:pt x="1392" y="2681"/>
                    </a:lnTo>
                    <a:lnTo>
                      <a:pt x="1476" y="2690"/>
                    </a:lnTo>
                    <a:lnTo>
                      <a:pt x="1561" y="2694"/>
                    </a:lnTo>
                    <a:lnTo>
                      <a:pt x="1646" y="2690"/>
                    </a:lnTo>
                    <a:lnTo>
                      <a:pt x="1730" y="2681"/>
                    </a:lnTo>
                    <a:lnTo>
                      <a:pt x="1812" y="2666"/>
                    </a:lnTo>
                    <a:lnTo>
                      <a:pt x="1891" y="2645"/>
                    </a:lnTo>
                    <a:lnTo>
                      <a:pt x="1968" y="2618"/>
                    </a:lnTo>
                    <a:lnTo>
                      <a:pt x="2043" y="2587"/>
                    </a:lnTo>
                    <a:lnTo>
                      <a:pt x="2114" y="2550"/>
                    </a:lnTo>
                    <a:lnTo>
                      <a:pt x="2184" y="2509"/>
                    </a:lnTo>
                    <a:lnTo>
                      <a:pt x="2249" y="2464"/>
                    </a:lnTo>
                    <a:lnTo>
                      <a:pt x="2311" y="2413"/>
                    </a:lnTo>
                    <a:lnTo>
                      <a:pt x="2369" y="2359"/>
                    </a:lnTo>
                    <a:lnTo>
                      <a:pt x="2424" y="2301"/>
                    </a:lnTo>
                    <a:lnTo>
                      <a:pt x="2474" y="2240"/>
                    </a:lnTo>
                    <a:lnTo>
                      <a:pt x="2521" y="2174"/>
                    </a:lnTo>
                    <a:lnTo>
                      <a:pt x="2562" y="2106"/>
                    </a:lnTo>
                    <a:lnTo>
                      <a:pt x="2598" y="2034"/>
                    </a:lnTo>
                    <a:lnTo>
                      <a:pt x="2631" y="1960"/>
                    </a:lnTo>
                    <a:lnTo>
                      <a:pt x="2656" y="1883"/>
                    </a:lnTo>
                    <a:lnTo>
                      <a:pt x="2677" y="1803"/>
                    </a:lnTo>
                    <a:lnTo>
                      <a:pt x="2693" y="1722"/>
                    </a:lnTo>
                    <a:lnTo>
                      <a:pt x="2702" y="1639"/>
                    </a:lnTo>
                    <a:lnTo>
                      <a:pt x="2705" y="1555"/>
                    </a:lnTo>
                    <a:lnTo>
                      <a:pt x="2702" y="1469"/>
                    </a:lnTo>
                    <a:lnTo>
                      <a:pt x="2693" y="1386"/>
                    </a:lnTo>
                    <a:lnTo>
                      <a:pt x="2677" y="1305"/>
                    </a:lnTo>
                    <a:lnTo>
                      <a:pt x="2656" y="1225"/>
                    </a:lnTo>
                    <a:lnTo>
                      <a:pt x="2631" y="1149"/>
                    </a:lnTo>
                    <a:lnTo>
                      <a:pt x="2598" y="1075"/>
                    </a:lnTo>
                    <a:lnTo>
                      <a:pt x="2562" y="1003"/>
                    </a:lnTo>
                    <a:lnTo>
                      <a:pt x="2521" y="935"/>
                    </a:lnTo>
                    <a:lnTo>
                      <a:pt x="2474" y="870"/>
                    </a:lnTo>
                    <a:lnTo>
                      <a:pt x="2424" y="808"/>
                    </a:lnTo>
                    <a:lnTo>
                      <a:pt x="2369" y="749"/>
                    </a:lnTo>
                    <a:lnTo>
                      <a:pt x="2311" y="695"/>
                    </a:lnTo>
                    <a:lnTo>
                      <a:pt x="2249" y="645"/>
                    </a:lnTo>
                    <a:lnTo>
                      <a:pt x="2184" y="599"/>
                    </a:lnTo>
                    <a:lnTo>
                      <a:pt x="2114" y="558"/>
                    </a:lnTo>
                    <a:lnTo>
                      <a:pt x="2043" y="521"/>
                    </a:lnTo>
                    <a:lnTo>
                      <a:pt x="1968" y="490"/>
                    </a:lnTo>
                    <a:lnTo>
                      <a:pt x="1891" y="463"/>
                    </a:lnTo>
                    <a:lnTo>
                      <a:pt x="1812" y="442"/>
                    </a:lnTo>
                    <a:lnTo>
                      <a:pt x="1730" y="428"/>
                    </a:lnTo>
                    <a:lnTo>
                      <a:pt x="1646" y="419"/>
                    </a:lnTo>
                    <a:lnTo>
                      <a:pt x="1561" y="416"/>
                    </a:lnTo>
                    <a:lnTo>
                      <a:pt x="1476" y="419"/>
                    </a:lnTo>
                    <a:lnTo>
                      <a:pt x="1394" y="427"/>
                    </a:lnTo>
                    <a:lnTo>
                      <a:pt x="1312" y="442"/>
                    </a:lnTo>
                    <a:lnTo>
                      <a:pt x="1234" y="463"/>
                    </a:lnTo>
                    <a:lnTo>
                      <a:pt x="1157" y="489"/>
                    </a:lnTo>
                    <a:lnTo>
                      <a:pt x="1083" y="520"/>
                    </a:lnTo>
                    <a:lnTo>
                      <a:pt x="1012" y="556"/>
                    </a:lnTo>
                    <a:lnTo>
                      <a:pt x="944" y="596"/>
                    </a:lnTo>
                    <a:lnTo>
                      <a:pt x="644" y="298"/>
                    </a:lnTo>
                    <a:lnTo>
                      <a:pt x="723" y="243"/>
                    </a:lnTo>
                    <a:lnTo>
                      <a:pt x="805" y="195"/>
                    </a:lnTo>
                    <a:lnTo>
                      <a:pt x="891" y="150"/>
                    </a:lnTo>
                    <a:lnTo>
                      <a:pt x="979" y="112"/>
                    </a:lnTo>
                    <a:lnTo>
                      <a:pt x="1071" y="78"/>
                    </a:lnTo>
                    <a:lnTo>
                      <a:pt x="1164" y="50"/>
                    </a:lnTo>
                    <a:lnTo>
                      <a:pt x="1261" y="29"/>
                    </a:lnTo>
                    <a:lnTo>
                      <a:pt x="1359" y="13"/>
                    </a:lnTo>
                    <a:lnTo>
                      <a:pt x="1460" y="3"/>
                    </a:lnTo>
                    <a:lnTo>
                      <a:pt x="156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31" name="Freeform 116">
                <a:extLst>
                  <a:ext uri="{FF2B5EF4-FFF2-40B4-BE49-F238E27FC236}">
                    <a16:creationId xmlns:a16="http://schemas.microsoft.com/office/drawing/2014/main" id="{09E67F69-732B-4399-B865-0A240F818939}"/>
                  </a:ext>
                </a:extLst>
              </p:cNvPr>
              <p:cNvSpPr>
                <a:spLocks/>
              </p:cNvSpPr>
              <p:nvPr/>
            </p:nvSpPr>
            <p:spPr bwMode="auto">
              <a:xfrm>
                <a:off x="3026" y="2310"/>
                <a:ext cx="32" cy="31"/>
              </a:xfrm>
              <a:custGeom>
                <a:avLst/>
                <a:gdLst>
                  <a:gd name="T0" fmla="*/ 249 w 473"/>
                  <a:gd name="T1" fmla="*/ 0 h 467"/>
                  <a:gd name="T2" fmla="*/ 259 w 473"/>
                  <a:gd name="T3" fmla="*/ 0 h 467"/>
                  <a:gd name="T4" fmla="*/ 268 w 473"/>
                  <a:gd name="T5" fmla="*/ 7 h 467"/>
                  <a:gd name="T6" fmla="*/ 465 w 473"/>
                  <a:gd name="T7" fmla="*/ 201 h 467"/>
                  <a:gd name="T8" fmla="*/ 468 w 473"/>
                  <a:gd name="T9" fmla="*/ 204 h 467"/>
                  <a:gd name="T10" fmla="*/ 470 w 473"/>
                  <a:gd name="T11" fmla="*/ 208 h 467"/>
                  <a:gd name="T12" fmla="*/ 471 w 473"/>
                  <a:gd name="T13" fmla="*/ 212 h 467"/>
                  <a:gd name="T14" fmla="*/ 473 w 473"/>
                  <a:gd name="T15" fmla="*/ 216 h 467"/>
                  <a:gd name="T16" fmla="*/ 473 w 473"/>
                  <a:gd name="T17" fmla="*/ 444 h 467"/>
                  <a:gd name="T18" fmla="*/ 469 w 473"/>
                  <a:gd name="T19" fmla="*/ 455 h 467"/>
                  <a:gd name="T20" fmla="*/ 461 w 473"/>
                  <a:gd name="T21" fmla="*/ 464 h 467"/>
                  <a:gd name="T22" fmla="*/ 450 w 473"/>
                  <a:gd name="T23" fmla="*/ 467 h 467"/>
                  <a:gd name="T24" fmla="*/ 222 w 473"/>
                  <a:gd name="T25" fmla="*/ 467 h 467"/>
                  <a:gd name="T26" fmla="*/ 218 w 473"/>
                  <a:gd name="T27" fmla="*/ 466 h 467"/>
                  <a:gd name="T28" fmla="*/ 213 w 473"/>
                  <a:gd name="T29" fmla="*/ 465 h 467"/>
                  <a:gd name="T30" fmla="*/ 209 w 473"/>
                  <a:gd name="T31" fmla="*/ 463 h 467"/>
                  <a:gd name="T32" fmla="*/ 206 w 473"/>
                  <a:gd name="T33" fmla="*/ 461 h 467"/>
                  <a:gd name="T34" fmla="*/ 6 w 473"/>
                  <a:gd name="T35" fmla="*/ 263 h 467"/>
                  <a:gd name="T36" fmla="*/ 1 w 473"/>
                  <a:gd name="T37" fmla="*/ 254 h 467"/>
                  <a:gd name="T38" fmla="*/ 0 w 473"/>
                  <a:gd name="T39" fmla="*/ 245 h 467"/>
                  <a:gd name="T40" fmla="*/ 4 w 473"/>
                  <a:gd name="T41" fmla="*/ 236 h 467"/>
                  <a:gd name="T42" fmla="*/ 11 w 473"/>
                  <a:gd name="T43" fmla="*/ 228 h 467"/>
                  <a:gd name="T44" fmla="*/ 23 w 473"/>
                  <a:gd name="T45" fmla="*/ 226 h 467"/>
                  <a:gd name="T46" fmla="*/ 90 w 473"/>
                  <a:gd name="T47" fmla="*/ 226 h 467"/>
                  <a:gd name="T48" fmla="*/ 118 w 473"/>
                  <a:gd name="T49" fmla="*/ 223 h 467"/>
                  <a:gd name="T50" fmla="*/ 145 w 473"/>
                  <a:gd name="T51" fmla="*/ 215 h 467"/>
                  <a:gd name="T52" fmla="*/ 169 w 473"/>
                  <a:gd name="T53" fmla="*/ 202 h 467"/>
                  <a:gd name="T54" fmla="*/ 190 w 473"/>
                  <a:gd name="T55" fmla="*/ 185 h 467"/>
                  <a:gd name="T56" fmla="*/ 206 w 473"/>
                  <a:gd name="T57" fmla="*/ 164 h 467"/>
                  <a:gd name="T58" fmla="*/ 220 w 473"/>
                  <a:gd name="T59" fmla="*/ 141 h 467"/>
                  <a:gd name="T60" fmla="*/ 228 w 473"/>
                  <a:gd name="T61" fmla="*/ 114 h 467"/>
                  <a:gd name="T62" fmla="*/ 230 w 473"/>
                  <a:gd name="T63" fmla="*/ 86 h 467"/>
                  <a:gd name="T64" fmla="*/ 230 w 473"/>
                  <a:gd name="T65" fmla="*/ 22 h 467"/>
                  <a:gd name="T66" fmla="*/ 233 w 473"/>
                  <a:gd name="T67" fmla="*/ 12 h 467"/>
                  <a:gd name="T68" fmla="*/ 239 w 473"/>
                  <a:gd name="T69" fmla="*/ 5 h 467"/>
                  <a:gd name="T70" fmla="*/ 249 w 473"/>
                  <a:gd name="T71" fmla="*/ 0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73" h="467">
                    <a:moveTo>
                      <a:pt x="249" y="0"/>
                    </a:moveTo>
                    <a:lnTo>
                      <a:pt x="259" y="0"/>
                    </a:lnTo>
                    <a:lnTo>
                      <a:pt x="268" y="7"/>
                    </a:lnTo>
                    <a:lnTo>
                      <a:pt x="465" y="201"/>
                    </a:lnTo>
                    <a:lnTo>
                      <a:pt x="468" y="204"/>
                    </a:lnTo>
                    <a:lnTo>
                      <a:pt x="470" y="208"/>
                    </a:lnTo>
                    <a:lnTo>
                      <a:pt x="471" y="212"/>
                    </a:lnTo>
                    <a:lnTo>
                      <a:pt x="473" y="216"/>
                    </a:lnTo>
                    <a:lnTo>
                      <a:pt x="473" y="444"/>
                    </a:lnTo>
                    <a:lnTo>
                      <a:pt x="469" y="455"/>
                    </a:lnTo>
                    <a:lnTo>
                      <a:pt x="461" y="464"/>
                    </a:lnTo>
                    <a:lnTo>
                      <a:pt x="450" y="467"/>
                    </a:lnTo>
                    <a:lnTo>
                      <a:pt x="222" y="467"/>
                    </a:lnTo>
                    <a:lnTo>
                      <a:pt x="218" y="466"/>
                    </a:lnTo>
                    <a:lnTo>
                      <a:pt x="213" y="465"/>
                    </a:lnTo>
                    <a:lnTo>
                      <a:pt x="209" y="463"/>
                    </a:lnTo>
                    <a:lnTo>
                      <a:pt x="206" y="461"/>
                    </a:lnTo>
                    <a:lnTo>
                      <a:pt x="6" y="263"/>
                    </a:lnTo>
                    <a:lnTo>
                      <a:pt x="1" y="254"/>
                    </a:lnTo>
                    <a:lnTo>
                      <a:pt x="0" y="245"/>
                    </a:lnTo>
                    <a:lnTo>
                      <a:pt x="4" y="236"/>
                    </a:lnTo>
                    <a:lnTo>
                      <a:pt x="11" y="228"/>
                    </a:lnTo>
                    <a:lnTo>
                      <a:pt x="23" y="226"/>
                    </a:lnTo>
                    <a:lnTo>
                      <a:pt x="90" y="226"/>
                    </a:lnTo>
                    <a:lnTo>
                      <a:pt x="118" y="223"/>
                    </a:lnTo>
                    <a:lnTo>
                      <a:pt x="145" y="215"/>
                    </a:lnTo>
                    <a:lnTo>
                      <a:pt x="169" y="202"/>
                    </a:lnTo>
                    <a:lnTo>
                      <a:pt x="190" y="185"/>
                    </a:lnTo>
                    <a:lnTo>
                      <a:pt x="206" y="164"/>
                    </a:lnTo>
                    <a:lnTo>
                      <a:pt x="220" y="141"/>
                    </a:lnTo>
                    <a:lnTo>
                      <a:pt x="228" y="114"/>
                    </a:lnTo>
                    <a:lnTo>
                      <a:pt x="230" y="86"/>
                    </a:lnTo>
                    <a:lnTo>
                      <a:pt x="230" y="22"/>
                    </a:lnTo>
                    <a:lnTo>
                      <a:pt x="233" y="12"/>
                    </a:lnTo>
                    <a:lnTo>
                      <a:pt x="239" y="5"/>
                    </a:lnTo>
                    <a:lnTo>
                      <a:pt x="24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grpSp>
      </p:grpSp>
      <p:sp>
        <p:nvSpPr>
          <p:cNvPr id="32" name="Freeform 487">
            <a:extLst>
              <a:ext uri="{FF2B5EF4-FFF2-40B4-BE49-F238E27FC236}">
                <a16:creationId xmlns:a16="http://schemas.microsoft.com/office/drawing/2014/main" id="{737DD542-C07C-483B-B3C0-1ECDB2015C33}"/>
              </a:ext>
            </a:extLst>
          </p:cNvPr>
          <p:cNvSpPr>
            <a:spLocks/>
          </p:cNvSpPr>
          <p:nvPr/>
        </p:nvSpPr>
        <p:spPr bwMode="auto">
          <a:xfrm>
            <a:off x="5106310" y="3187948"/>
            <a:ext cx="276905" cy="296152"/>
          </a:xfrm>
          <a:custGeom>
            <a:avLst/>
            <a:gdLst>
              <a:gd name="T0" fmla="*/ 3125 w 3125"/>
              <a:gd name="T1" fmla="*/ 0 h 3341"/>
              <a:gd name="T2" fmla="*/ 2382 w 3125"/>
              <a:gd name="T3" fmla="*/ 3107 h 3341"/>
              <a:gd name="T4" fmla="*/ 1782 w 3125"/>
              <a:gd name="T5" fmla="*/ 2722 h 3341"/>
              <a:gd name="T6" fmla="*/ 1272 w 3125"/>
              <a:gd name="T7" fmla="*/ 3341 h 3341"/>
              <a:gd name="T8" fmla="*/ 1272 w 3125"/>
              <a:gd name="T9" fmla="*/ 2367 h 3341"/>
              <a:gd name="T10" fmla="*/ 2369 w 3125"/>
              <a:gd name="T11" fmla="*/ 901 h 3341"/>
              <a:gd name="T12" fmla="*/ 907 w 3125"/>
              <a:gd name="T13" fmla="*/ 2157 h 3341"/>
              <a:gd name="T14" fmla="*/ 0 w 3125"/>
              <a:gd name="T15" fmla="*/ 1569 h 3341"/>
              <a:gd name="T16" fmla="*/ 3125 w 3125"/>
              <a:gd name="T17" fmla="*/ 0 h 3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25" h="3341">
                <a:moveTo>
                  <a:pt x="3125" y="0"/>
                </a:moveTo>
                <a:lnTo>
                  <a:pt x="2382" y="3107"/>
                </a:lnTo>
                <a:lnTo>
                  <a:pt x="1782" y="2722"/>
                </a:lnTo>
                <a:lnTo>
                  <a:pt x="1272" y="3341"/>
                </a:lnTo>
                <a:lnTo>
                  <a:pt x="1272" y="2367"/>
                </a:lnTo>
                <a:lnTo>
                  <a:pt x="2369" y="901"/>
                </a:lnTo>
                <a:lnTo>
                  <a:pt x="907" y="2157"/>
                </a:lnTo>
                <a:lnTo>
                  <a:pt x="0" y="1569"/>
                </a:lnTo>
                <a:lnTo>
                  <a:pt x="3125"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33" name="TextBox 30">
            <a:extLst>
              <a:ext uri="{FF2B5EF4-FFF2-40B4-BE49-F238E27FC236}">
                <a16:creationId xmlns:a16="http://schemas.microsoft.com/office/drawing/2014/main" id="{220DC02C-5CF7-450E-B548-DBA2E1798DEF}"/>
              </a:ext>
            </a:extLst>
          </p:cNvPr>
          <p:cNvSpPr txBox="1"/>
          <p:nvPr/>
        </p:nvSpPr>
        <p:spPr>
          <a:xfrm>
            <a:off x="2194760" y="4146247"/>
            <a:ext cx="1667081" cy="307777"/>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lumMod val="85000"/>
                    <a:lumOff val="15000"/>
                  </a:srgbClr>
                </a:solidFill>
                <a:effectLst/>
                <a:uLnTx/>
                <a:uFillTx/>
                <a:latin typeface="等线 Light" panose="020F0302020204030204"/>
                <a:ea typeface="+mn-ea"/>
                <a:cs typeface="+mn-cs"/>
              </a:rPr>
              <a:t>Subtitle Here</a:t>
            </a:r>
          </a:p>
        </p:txBody>
      </p:sp>
      <p:sp>
        <p:nvSpPr>
          <p:cNvPr id="34" name="TextBox 31">
            <a:extLst>
              <a:ext uri="{FF2B5EF4-FFF2-40B4-BE49-F238E27FC236}">
                <a16:creationId xmlns:a16="http://schemas.microsoft.com/office/drawing/2014/main" id="{066922FB-3C7B-4020-B6BA-EC948CD14F17}"/>
              </a:ext>
            </a:extLst>
          </p:cNvPr>
          <p:cNvSpPr txBox="1"/>
          <p:nvPr/>
        </p:nvSpPr>
        <p:spPr>
          <a:xfrm>
            <a:off x="2892829" y="2387748"/>
            <a:ext cx="1667081" cy="307777"/>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lumMod val="85000"/>
                    <a:lumOff val="15000"/>
                  </a:srgbClr>
                </a:solidFill>
                <a:effectLst/>
                <a:uLnTx/>
                <a:uFillTx/>
                <a:latin typeface="等线 Light" panose="020F0302020204030204"/>
                <a:ea typeface="+mn-ea"/>
                <a:cs typeface="+mn-cs"/>
              </a:rPr>
              <a:t>Subtitle Here</a:t>
            </a:r>
          </a:p>
        </p:txBody>
      </p:sp>
      <p:sp>
        <p:nvSpPr>
          <p:cNvPr id="35" name="TextBox 32">
            <a:extLst>
              <a:ext uri="{FF2B5EF4-FFF2-40B4-BE49-F238E27FC236}">
                <a16:creationId xmlns:a16="http://schemas.microsoft.com/office/drawing/2014/main" id="{7B5C7F98-904D-48A2-B47D-69F2C6DC7FFE}"/>
              </a:ext>
            </a:extLst>
          </p:cNvPr>
          <p:cNvSpPr txBox="1"/>
          <p:nvPr/>
        </p:nvSpPr>
        <p:spPr>
          <a:xfrm>
            <a:off x="5600570" y="918467"/>
            <a:ext cx="1753929"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lumMod val="85000"/>
                    <a:lumOff val="15000"/>
                  </a:srgbClr>
                </a:solidFill>
                <a:effectLst/>
                <a:uLnTx/>
                <a:uFillTx/>
                <a:latin typeface="等线 Light" panose="020F0302020204030204"/>
                <a:ea typeface="+mn-ea"/>
                <a:cs typeface="+mn-cs"/>
              </a:rPr>
              <a:t>Subtitle Here</a:t>
            </a:r>
          </a:p>
        </p:txBody>
      </p:sp>
      <p:sp>
        <p:nvSpPr>
          <p:cNvPr id="36" name="TextBox 33">
            <a:extLst>
              <a:ext uri="{FF2B5EF4-FFF2-40B4-BE49-F238E27FC236}">
                <a16:creationId xmlns:a16="http://schemas.microsoft.com/office/drawing/2014/main" id="{6A11D6A5-9DDD-44DB-8A6A-40486F478F12}"/>
              </a:ext>
            </a:extLst>
          </p:cNvPr>
          <p:cNvSpPr txBox="1"/>
          <p:nvPr/>
        </p:nvSpPr>
        <p:spPr>
          <a:xfrm>
            <a:off x="8051893" y="1834875"/>
            <a:ext cx="1753929"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lumMod val="85000"/>
                    <a:lumOff val="15000"/>
                  </a:srgbClr>
                </a:solidFill>
                <a:effectLst/>
                <a:uLnTx/>
                <a:uFillTx/>
                <a:latin typeface="等线 Light" panose="020F0302020204030204"/>
                <a:ea typeface="+mn-ea"/>
                <a:cs typeface="+mn-cs"/>
              </a:rPr>
              <a:t>Subtitle Here</a:t>
            </a:r>
          </a:p>
        </p:txBody>
      </p:sp>
      <p:sp>
        <p:nvSpPr>
          <p:cNvPr id="37" name="TextBox 34">
            <a:extLst>
              <a:ext uri="{FF2B5EF4-FFF2-40B4-BE49-F238E27FC236}">
                <a16:creationId xmlns:a16="http://schemas.microsoft.com/office/drawing/2014/main" id="{90E3230E-BCD4-441D-B7C8-F1C4E46FADC3}"/>
              </a:ext>
            </a:extLst>
          </p:cNvPr>
          <p:cNvSpPr txBox="1"/>
          <p:nvPr/>
        </p:nvSpPr>
        <p:spPr>
          <a:xfrm>
            <a:off x="8897773" y="3136256"/>
            <a:ext cx="1753929"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lumMod val="85000"/>
                    <a:lumOff val="15000"/>
                  </a:srgbClr>
                </a:solidFill>
                <a:effectLst/>
                <a:uLnTx/>
                <a:uFillTx/>
                <a:latin typeface="等线 Light" panose="020F0302020204030204"/>
                <a:ea typeface="+mn-ea"/>
                <a:cs typeface="+mn-cs"/>
              </a:rPr>
              <a:t>Subtitle Here</a:t>
            </a:r>
          </a:p>
        </p:txBody>
      </p:sp>
      <p:sp>
        <p:nvSpPr>
          <p:cNvPr id="38" name="TextBox 35">
            <a:extLst>
              <a:ext uri="{FF2B5EF4-FFF2-40B4-BE49-F238E27FC236}">
                <a16:creationId xmlns:a16="http://schemas.microsoft.com/office/drawing/2014/main" id="{4A88ABB1-0F16-4E41-B22D-4027A22CE908}"/>
              </a:ext>
            </a:extLst>
          </p:cNvPr>
          <p:cNvSpPr txBox="1"/>
          <p:nvPr/>
        </p:nvSpPr>
        <p:spPr>
          <a:xfrm>
            <a:off x="9233798" y="4445235"/>
            <a:ext cx="1753929"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lumMod val="85000"/>
                    <a:lumOff val="15000"/>
                  </a:srgbClr>
                </a:solidFill>
                <a:effectLst/>
                <a:uLnTx/>
                <a:uFillTx/>
                <a:latin typeface="等线 Light" panose="020F0302020204030204"/>
                <a:ea typeface="+mn-ea"/>
                <a:cs typeface="+mn-cs"/>
              </a:rPr>
              <a:t>Subtitle Here</a:t>
            </a:r>
          </a:p>
        </p:txBody>
      </p:sp>
      <p:sp>
        <p:nvSpPr>
          <p:cNvPr id="39" name="Rectangle 39">
            <a:extLst>
              <a:ext uri="{FF2B5EF4-FFF2-40B4-BE49-F238E27FC236}">
                <a16:creationId xmlns:a16="http://schemas.microsoft.com/office/drawing/2014/main" id="{9AD7E811-F616-468E-A855-666497943A63}"/>
              </a:ext>
            </a:extLst>
          </p:cNvPr>
          <p:cNvSpPr/>
          <p:nvPr/>
        </p:nvSpPr>
        <p:spPr>
          <a:xfrm>
            <a:off x="2546899" y="2658575"/>
            <a:ext cx="2013008" cy="760208"/>
          </a:xfrm>
          <a:prstGeom prst="rect">
            <a:avLst/>
          </a:prstGeom>
        </p:spPr>
        <p:txBody>
          <a:bodyPr wrap="square">
            <a:spAutoFit/>
          </a:bodyPr>
          <a:lstStyle/>
          <a:p>
            <a:pPr marL="0" marR="0" lvl="0" indent="0" algn="r" defTabSz="914400" rtl="0" eaLnBrk="1" fontAlgn="auto" latinLnBrk="0" hangingPunct="1">
              <a:lnSpc>
                <a:spcPct val="15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lumMod val="50000"/>
                    <a:lumOff val="50000"/>
                  </a:srgbClr>
                </a:solidFill>
                <a:effectLst/>
                <a:uLnTx/>
                <a:uFillTx/>
                <a:latin typeface="等线" panose="020F0502020204030204"/>
                <a:ea typeface="+mn-ea"/>
                <a:cs typeface="+mn-cs"/>
              </a:rPr>
              <a:t>Lorem Ipsum is simply dummy text of the printing and typesetting industry</a:t>
            </a:r>
          </a:p>
        </p:txBody>
      </p:sp>
      <p:sp>
        <p:nvSpPr>
          <p:cNvPr id="40" name="Rectangle 40">
            <a:extLst>
              <a:ext uri="{FF2B5EF4-FFF2-40B4-BE49-F238E27FC236}">
                <a16:creationId xmlns:a16="http://schemas.microsoft.com/office/drawing/2014/main" id="{5FB0EF8A-1150-4420-95A7-E190AF22E128}"/>
              </a:ext>
            </a:extLst>
          </p:cNvPr>
          <p:cNvSpPr/>
          <p:nvPr/>
        </p:nvSpPr>
        <p:spPr>
          <a:xfrm>
            <a:off x="1848831" y="4473866"/>
            <a:ext cx="2013008" cy="760208"/>
          </a:xfrm>
          <a:prstGeom prst="rect">
            <a:avLst/>
          </a:prstGeom>
        </p:spPr>
        <p:txBody>
          <a:bodyPr wrap="square">
            <a:spAutoFit/>
          </a:bodyPr>
          <a:lstStyle/>
          <a:p>
            <a:pPr marL="0" marR="0" lvl="0" indent="0" algn="r" defTabSz="914400" rtl="0" eaLnBrk="1" fontAlgn="auto" latinLnBrk="0" hangingPunct="1">
              <a:lnSpc>
                <a:spcPct val="15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lumMod val="50000"/>
                    <a:lumOff val="50000"/>
                  </a:srgbClr>
                </a:solidFill>
                <a:effectLst/>
                <a:uLnTx/>
                <a:uFillTx/>
                <a:latin typeface="等线" panose="020F0502020204030204"/>
                <a:ea typeface="+mn-ea"/>
                <a:cs typeface="+mn-cs"/>
              </a:rPr>
              <a:t>Lorem Ipsum is simply dummy text of the printing and typesetting industry</a:t>
            </a:r>
          </a:p>
        </p:txBody>
      </p:sp>
      <p:sp>
        <p:nvSpPr>
          <p:cNvPr id="41" name="Rectangle 41">
            <a:extLst>
              <a:ext uri="{FF2B5EF4-FFF2-40B4-BE49-F238E27FC236}">
                <a16:creationId xmlns:a16="http://schemas.microsoft.com/office/drawing/2014/main" id="{8F390BDF-4A21-46B4-85A3-1A411D7DBE33}"/>
              </a:ext>
            </a:extLst>
          </p:cNvPr>
          <p:cNvSpPr/>
          <p:nvPr/>
        </p:nvSpPr>
        <p:spPr>
          <a:xfrm>
            <a:off x="5600568" y="1225649"/>
            <a:ext cx="3123045" cy="529376"/>
          </a:xfrm>
          <a:prstGeom prst="rect">
            <a:avLst/>
          </a:prstGeom>
        </p:spPr>
        <p:txBody>
          <a:bodyPr wrap="square">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lumMod val="65000"/>
                  </a:srgbClr>
                </a:solidFill>
                <a:effectLst/>
                <a:uLnTx/>
                <a:uFillTx/>
                <a:latin typeface="等线" panose="020F0502020204030204"/>
                <a:ea typeface="+mn-ea"/>
                <a:cs typeface="+mn-cs"/>
              </a:rPr>
              <a:t>Lorem Ipsum is simply dummy text of the printing and typesetting industry</a:t>
            </a:r>
          </a:p>
        </p:txBody>
      </p:sp>
      <p:sp>
        <p:nvSpPr>
          <p:cNvPr id="42" name="Rectangle 42">
            <a:extLst>
              <a:ext uri="{FF2B5EF4-FFF2-40B4-BE49-F238E27FC236}">
                <a16:creationId xmlns:a16="http://schemas.microsoft.com/office/drawing/2014/main" id="{73B906FE-D24F-47E0-8925-E0DD5E9274BC}"/>
              </a:ext>
            </a:extLst>
          </p:cNvPr>
          <p:cNvSpPr/>
          <p:nvPr/>
        </p:nvSpPr>
        <p:spPr>
          <a:xfrm>
            <a:off x="8051891" y="2074207"/>
            <a:ext cx="2079743" cy="760208"/>
          </a:xfrm>
          <a:prstGeom prst="rect">
            <a:avLst/>
          </a:prstGeom>
        </p:spPr>
        <p:txBody>
          <a:bodyPr wrap="square">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lumMod val="50000"/>
                    <a:lumOff val="50000"/>
                  </a:srgbClr>
                </a:solidFill>
                <a:effectLst/>
                <a:uLnTx/>
                <a:uFillTx/>
                <a:latin typeface="等线" panose="020F0502020204030204"/>
                <a:ea typeface="+mn-ea"/>
                <a:cs typeface="+mn-cs"/>
              </a:rPr>
              <a:t>Lorem Ipsum is simply dummy text of the printing and typesetting industry</a:t>
            </a:r>
          </a:p>
        </p:txBody>
      </p:sp>
      <p:sp>
        <p:nvSpPr>
          <p:cNvPr id="43" name="Rectangle 43">
            <a:extLst>
              <a:ext uri="{FF2B5EF4-FFF2-40B4-BE49-F238E27FC236}">
                <a16:creationId xmlns:a16="http://schemas.microsoft.com/office/drawing/2014/main" id="{8604E508-326D-4E14-8380-EF0A798A9D2E}"/>
              </a:ext>
            </a:extLst>
          </p:cNvPr>
          <p:cNvSpPr/>
          <p:nvPr/>
        </p:nvSpPr>
        <p:spPr>
          <a:xfrm>
            <a:off x="8894803" y="3458355"/>
            <a:ext cx="2079743" cy="760208"/>
          </a:xfrm>
          <a:prstGeom prst="rect">
            <a:avLst/>
          </a:prstGeom>
        </p:spPr>
        <p:txBody>
          <a:bodyPr wrap="square">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lumMod val="50000"/>
                    <a:lumOff val="50000"/>
                  </a:srgbClr>
                </a:solidFill>
                <a:effectLst/>
                <a:uLnTx/>
                <a:uFillTx/>
                <a:latin typeface="等线" panose="020F0502020204030204"/>
                <a:ea typeface="+mn-ea"/>
                <a:cs typeface="+mn-cs"/>
              </a:rPr>
              <a:t>Lorem Ipsum is simply dummy text of the printing and typesetting industry</a:t>
            </a:r>
          </a:p>
        </p:txBody>
      </p:sp>
      <p:sp>
        <p:nvSpPr>
          <p:cNvPr id="44" name="Rectangle 44">
            <a:extLst>
              <a:ext uri="{FF2B5EF4-FFF2-40B4-BE49-F238E27FC236}">
                <a16:creationId xmlns:a16="http://schemas.microsoft.com/office/drawing/2014/main" id="{849F7B33-493A-45D8-BFD7-5F1F04CA72B3}"/>
              </a:ext>
            </a:extLst>
          </p:cNvPr>
          <p:cNvSpPr/>
          <p:nvPr/>
        </p:nvSpPr>
        <p:spPr>
          <a:xfrm>
            <a:off x="9233798" y="4679971"/>
            <a:ext cx="2079743" cy="760208"/>
          </a:xfrm>
          <a:prstGeom prst="rect">
            <a:avLst/>
          </a:prstGeom>
        </p:spPr>
        <p:txBody>
          <a:bodyPr wrap="square">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lumMod val="50000"/>
                    <a:lumOff val="50000"/>
                  </a:srgbClr>
                </a:solidFill>
                <a:effectLst/>
                <a:uLnTx/>
                <a:uFillTx/>
                <a:latin typeface="等线" panose="020F0502020204030204"/>
                <a:ea typeface="+mn-ea"/>
                <a:cs typeface="+mn-cs"/>
              </a:rPr>
              <a:t>Lorem Ipsum is simply dummy text of the printing and typesetting industry</a:t>
            </a:r>
          </a:p>
        </p:txBody>
      </p:sp>
      <p:sp>
        <p:nvSpPr>
          <p:cNvPr id="45" name="TextBox 45">
            <a:extLst>
              <a:ext uri="{FF2B5EF4-FFF2-40B4-BE49-F238E27FC236}">
                <a16:creationId xmlns:a16="http://schemas.microsoft.com/office/drawing/2014/main" id="{05401C0E-D052-43A2-85D7-37C17F31EFDA}"/>
              </a:ext>
            </a:extLst>
          </p:cNvPr>
          <p:cNvSpPr txBox="1"/>
          <p:nvPr/>
        </p:nvSpPr>
        <p:spPr>
          <a:xfrm>
            <a:off x="1424828" y="1191385"/>
            <a:ext cx="3991712" cy="107721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000000">
                    <a:lumMod val="85000"/>
                    <a:lumOff val="15000"/>
                  </a:srgbClr>
                </a:solidFill>
                <a:effectLst/>
                <a:uLnTx/>
                <a:uFillTx/>
                <a:latin typeface="等线 Light" panose="020F0302020204030204"/>
                <a:ea typeface="+mn-ea"/>
                <a:cs typeface="+mn-cs"/>
              </a:rPr>
              <a:t>INFOGRAPHIC</a:t>
            </a:r>
            <a:endParaRPr kumimoji="0" lang="en-US" sz="3200" b="1" i="0" u="none" strike="noStrike" kern="1200" cap="none" spc="0" normalizeH="0" baseline="0" noProof="0" dirty="0">
              <a:ln>
                <a:noFill/>
              </a:ln>
              <a:solidFill>
                <a:srgbClr val="000000">
                  <a:lumMod val="85000"/>
                  <a:lumOff val="15000"/>
                </a:srgbClr>
              </a:solidFill>
              <a:effectLst/>
              <a:uLnTx/>
              <a:uFillTx/>
              <a:latin typeface="等线"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000000">
                    <a:lumMod val="85000"/>
                    <a:lumOff val="15000"/>
                  </a:srgbClr>
                </a:solidFill>
                <a:effectLst/>
                <a:uLnTx/>
                <a:uFillTx/>
                <a:latin typeface="等线 Light" panose="020F0302020204030204"/>
                <a:ea typeface="+mn-ea"/>
                <a:cs typeface="+mn-cs"/>
              </a:rPr>
              <a:t>TREE</a:t>
            </a:r>
          </a:p>
        </p:txBody>
      </p:sp>
    </p:spTree>
    <p:extLst>
      <p:ext uri="{BB962C8B-B14F-4D97-AF65-F5344CB8AC3E}">
        <p14:creationId xmlns:p14="http://schemas.microsoft.com/office/powerpoint/2010/main" val="1557214858"/>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45"/>
                                        </p:tgtEl>
                                        <p:attrNameLst>
                                          <p:attrName>style.visibility</p:attrName>
                                        </p:attrNameLst>
                                      </p:cBhvr>
                                      <p:to>
                                        <p:strVal val="visible"/>
                                      </p:to>
                                    </p:set>
                                    <p:animEffect transition="in" filter="wipe(left)">
                                      <p:cBhvr>
                                        <p:cTn id="7" dur="500"/>
                                        <p:tgtEl>
                                          <p:spTgt spid="45"/>
                                        </p:tgtEl>
                                      </p:cBhvr>
                                    </p:animEffect>
                                  </p:childTnLst>
                                </p:cTn>
                              </p:par>
                            </p:childTnLst>
                          </p:cTn>
                        </p:par>
                        <p:par>
                          <p:cTn id="8" fill="hold">
                            <p:stCondLst>
                              <p:cond delay="500"/>
                            </p:stCondLst>
                            <p:childTnLst>
                              <p:par>
                                <p:cTn id="9" presetID="22" presetClass="entr" presetSubtype="4" fill="hold" nodeType="afterEffect">
                                  <p:stCondLst>
                                    <p:cond delay="0"/>
                                  </p:stCondLst>
                                  <p:childTnLst>
                                    <p:set>
                                      <p:cBhvr>
                                        <p:cTn id="10" dur="1" fill="hold">
                                          <p:stCondLst>
                                            <p:cond delay="0"/>
                                          </p:stCondLst>
                                        </p:cTn>
                                        <p:tgtEl>
                                          <p:spTgt spid="2"/>
                                        </p:tgtEl>
                                        <p:attrNameLst>
                                          <p:attrName>style.visibility</p:attrName>
                                        </p:attrNameLst>
                                      </p:cBhvr>
                                      <p:to>
                                        <p:strVal val="visible"/>
                                      </p:to>
                                    </p:set>
                                    <p:animEffect transition="in" filter="wipe(down)">
                                      <p:cBhvr>
                                        <p:cTn id="11" dur="500"/>
                                        <p:tgtEl>
                                          <p:spTgt spid="2"/>
                                        </p:tgtEl>
                                      </p:cBhvr>
                                    </p:animEffect>
                                  </p:childTnLst>
                                </p:cTn>
                              </p:par>
                            </p:childTnLst>
                          </p:cTn>
                        </p:par>
                        <p:par>
                          <p:cTn id="12" fill="hold">
                            <p:stCondLst>
                              <p:cond delay="1000"/>
                            </p:stCondLst>
                            <p:childTnLst>
                              <p:par>
                                <p:cTn id="13" presetID="53" presetClass="entr" presetSubtype="16" fill="hold" nodeType="afterEffect">
                                  <p:stCondLst>
                                    <p:cond delay="0"/>
                                  </p:stCondLst>
                                  <p:childTnLst>
                                    <p:set>
                                      <p:cBhvr>
                                        <p:cTn id="14" dur="1" fill="hold">
                                          <p:stCondLst>
                                            <p:cond delay="0"/>
                                          </p:stCondLst>
                                        </p:cTn>
                                        <p:tgtEl>
                                          <p:spTgt spid="20"/>
                                        </p:tgtEl>
                                        <p:attrNameLst>
                                          <p:attrName>style.visibility</p:attrName>
                                        </p:attrNameLst>
                                      </p:cBhvr>
                                      <p:to>
                                        <p:strVal val="visible"/>
                                      </p:to>
                                    </p:set>
                                    <p:anim calcmode="lin" valueType="num">
                                      <p:cBhvr>
                                        <p:cTn id="15" dur="500" fill="hold"/>
                                        <p:tgtEl>
                                          <p:spTgt spid="20"/>
                                        </p:tgtEl>
                                        <p:attrNameLst>
                                          <p:attrName>ppt_w</p:attrName>
                                        </p:attrNameLst>
                                      </p:cBhvr>
                                      <p:tavLst>
                                        <p:tav tm="0">
                                          <p:val>
                                            <p:fltVal val="0"/>
                                          </p:val>
                                        </p:tav>
                                        <p:tav tm="100000">
                                          <p:val>
                                            <p:strVal val="#ppt_w"/>
                                          </p:val>
                                        </p:tav>
                                      </p:tavLst>
                                    </p:anim>
                                    <p:anim calcmode="lin" valueType="num">
                                      <p:cBhvr>
                                        <p:cTn id="16" dur="500" fill="hold"/>
                                        <p:tgtEl>
                                          <p:spTgt spid="20"/>
                                        </p:tgtEl>
                                        <p:attrNameLst>
                                          <p:attrName>ppt_h</p:attrName>
                                        </p:attrNameLst>
                                      </p:cBhvr>
                                      <p:tavLst>
                                        <p:tav tm="0">
                                          <p:val>
                                            <p:fltVal val="0"/>
                                          </p:val>
                                        </p:tav>
                                        <p:tav tm="100000">
                                          <p:val>
                                            <p:strVal val="#ppt_h"/>
                                          </p:val>
                                        </p:tav>
                                      </p:tavLst>
                                    </p:anim>
                                    <p:animEffect transition="in" filter="fade">
                                      <p:cBhvr>
                                        <p:cTn id="17" dur="500"/>
                                        <p:tgtEl>
                                          <p:spTgt spid="20"/>
                                        </p:tgtEl>
                                      </p:cBhvr>
                                    </p:animEffect>
                                  </p:childTnLst>
                                </p:cTn>
                              </p:par>
                            </p:childTnLst>
                          </p:cTn>
                        </p:par>
                        <p:par>
                          <p:cTn id="18" fill="hold">
                            <p:stCondLst>
                              <p:cond delay="1500"/>
                            </p:stCondLst>
                            <p:childTnLst>
                              <p:par>
                                <p:cTn id="19" presetID="22" presetClass="entr" presetSubtype="2" fill="hold" grpId="0" nodeType="afterEffect">
                                  <p:stCondLst>
                                    <p:cond delay="0"/>
                                  </p:stCondLst>
                                  <p:childTnLst>
                                    <p:set>
                                      <p:cBhvr>
                                        <p:cTn id="20" dur="1" fill="hold">
                                          <p:stCondLst>
                                            <p:cond delay="0"/>
                                          </p:stCondLst>
                                        </p:cTn>
                                        <p:tgtEl>
                                          <p:spTgt spid="33"/>
                                        </p:tgtEl>
                                        <p:attrNameLst>
                                          <p:attrName>style.visibility</p:attrName>
                                        </p:attrNameLst>
                                      </p:cBhvr>
                                      <p:to>
                                        <p:strVal val="visible"/>
                                      </p:to>
                                    </p:set>
                                    <p:animEffect transition="in" filter="wipe(right)">
                                      <p:cBhvr>
                                        <p:cTn id="21" dur="500"/>
                                        <p:tgtEl>
                                          <p:spTgt spid="33"/>
                                        </p:tgtEl>
                                      </p:cBhvr>
                                    </p:animEffect>
                                  </p:childTnLst>
                                </p:cTn>
                              </p:par>
                            </p:childTnLst>
                          </p:cTn>
                        </p:par>
                        <p:par>
                          <p:cTn id="22" fill="hold">
                            <p:stCondLst>
                              <p:cond delay="2000"/>
                            </p:stCondLst>
                            <p:childTnLst>
                              <p:par>
                                <p:cTn id="23" presetID="42" presetClass="entr" presetSubtype="0" fill="hold" grpId="0" nodeType="afterEffect">
                                  <p:stCondLst>
                                    <p:cond delay="0"/>
                                  </p:stCondLst>
                                  <p:childTnLst>
                                    <p:set>
                                      <p:cBhvr>
                                        <p:cTn id="24" dur="1" fill="hold">
                                          <p:stCondLst>
                                            <p:cond delay="0"/>
                                          </p:stCondLst>
                                        </p:cTn>
                                        <p:tgtEl>
                                          <p:spTgt spid="40"/>
                                        </p:tgtEl>
                                        <p:attrNameLst>
                                          <p:attrName>style.visibility</p:attrName>
                                        </p:attrNameLst>
                                      </p:cBhvr>
                                      <p:to>
                                        <p:strVal val="visible"/>
                                      </p:to>
                                    </p:set>
                                    <p:animEffect transition="in" filter="fade">
                                      <p:cBhvr>
                                        <p:cTn id="25" dur="500"/>
                                        <p:tgtEl>
                                          <p:spTgt spid="40"/>
                                        </p:tgtEl>
                                      </p:cBhvr>
                                    </p:animEffect>
                                    <p:anim calcmode="lin" valueType="num">
                                      <p:cBhvr>
                                        <p:cTn id="26" dur="500" fill="hold"/>
                                        <p:tgtEl>
                                          <p:spTgt spid="40"/>
                                        </p:tgtEl>
                                        <p:attrNameLst>
                                          <p:attrName>ppt_x</p:attrName>
                                        </p:attrNameLst>
                                      </p:cBhvr>
                                      <p:tavLst>
                                        <p:tav tm="0">
                                          <p:val>
                                            <p:strVal val="#ppt_x"/>
                                          </p:val>
                                        </p:tav>
                                        <p:tav tm="100000">
                                          <p:val>
                                            <p:strVal val="#ppt_x"/>
                                          </p:val>
                                        </p:tav>
                                      </p:tavLst>
                                    </p:anim>
                                    <p:anim calcmode="lin" valueType="num">
                                      <p:cBhvr>
                                        <p:cTn id="27" dur="500" fill="hold"/>
                                        <p:tgtEl>
                                          <p:spTgt spid="40"/>
                                        </p:tgtEl>
                                        <p:attrNameLst>
                                          <p:attrName>ppt_y</p:attrName>
                                        </p:attrNameLst>
                                      </p:cBhvr>
                                      <p:tavLst>
                                        <p:tav tm="0">
                                          <p:val>
                                            <p:strVal val="#ppt_y+.1"/>
                                          </p:val>
                                        </p:tav>
                                        <p:tav tm="100000">
                                          <p:val>
                                            <p:strVal val="#ppt_y"/>
                                          </p:val>
                                        </p:tav>
                                      </p:tavLst>
                                    </p:anim>
                                  </p:childTnLst>
                                </p:cTn>
                              </p:par>
                            </p:childTnLst>
                          </p:cTn>
                        </p:par>
                        <p:par>
                          <p:cTn id="28" fill="hold">
                            <p:stCondLst>
                              <p:cond delay="2500"/>
                            </p:stCondLst>
                            <p:childTnLst>
                              <p:par>
                                <p:cTn id="29" presetID="53" presetClass="entr" presetSubtype="16" fill="hold" grpId="0" nodeType="afterEffect">
                                  <p:stCondLst>
                                    <p:cond delay="0"/>
                                  </p:stCondLst>
                                  <p:childTnLst>
                                    <p:set>
                                      <p:cBhvr>
                                        <p:cTn id="30" dur="1" fill="hold">
                                          <p:stCondLst>
                                            <p:cond delay="0"/>
                                          </p:stCondLst>
                                        </p:cTn>
                                        <p:tgtEl>
                                          <p:spTgt spid="5"/>
                                        </p:tgtEl>
                                        <p:attrNameLst>
                                          <p:attrName>style.visibility</p:attrName>
                                        </p:attrNameLst>
                                      </p:cBhvr>
                                      <p:to>
                                        <p:strVal val="visible"/>
                                      </p:to>
                                    </p:set>
                                    <p:anim calcmode="lin" valueType="num">
                                      <p:cBhvr>
                                        <p:cTn id="31" dur="500" fill="hold"/>
                                        <p:tgtEl>
                                          <p:spTgt spid="5"/>
                                        </p:tgtEl>
                                        <p:attrNameLst>
                                          <p:attrName>ppt_w</p:attrName>
                                        </p:attrNameLst>
                                      </p:cBhvr>
                                      <p:tavLst>
                                        <p:tav tm="0">
                                          <p:val>
                                            <p:fltVal val="0"/>
                                          </p:val>
                                        </p:tav>
                                        <p:tav tm="100000">
                                          <p:val>
                                            <p:strVal val="#ppt_w"/>
                                          </p:val>
                                        </p:tav>
                                      </p:tavLst>
                                    </p:anim>
                                    <p:anim calcmode="lin" valueType="num">
                                      <p:cBhvr>
                                        <p:cTn id="32" dur="500" fill="hold"/>
                                        <p:tgtEl>
                                          <p:spTgt spid="5"/>
                                        </p:tgtEl>
                                        <p:attrNameLst>
                                          <p:attrName>ppt_h</p:attrName>
                                        </p:attrNameLst>
                                      </p:cBhvr>
                                      <p:tavLst>
                                        <p:tav tm="0">
                                          <p:val>
                                            <p:fltVal val="0"/>
                                          </p:val>
                                        </p:tav>
                                        <p:tav tm="100000">
                                          <p:val>
                                            <p:strVal val="#ppt_h"/>
                                          </p:val>
                                        </p:tav>
                                      </p:tavLst>
                                    </p:anim>
                                    <p:animEffect transition="in" filter="fade">
                                      <p:cBhvr>
                                        <p:cTn id="33" dur="500"/>
                                        <p:tgtEl>
                                          <p:spTgt spid="5"/>
                                        </p:tgtEl>
                                      </p:cBhvr>
                                    </p:animEffect>
                                  </p:childTnLst>
                                </p:cTn>
                              </p:par>
                            </p:childTnLst>
                          </p:cTn>
                        </p:par>
                        <p:par>
                          <p:cTn id="34" fill="hold">
                            <p:stCondLst>
                              <p:cond delay="3000"/>
                            </p:stCondLst>
                            <p:childTnLst>
                              <p:par>
                                <p:cTn id="35" presetID="22" presetClass="entr" presetSubtype="2" fill="hold" grpId="0" nodeType="afterEffect">
                                  <p:stCondLst>
                                    <p:cond delay="0"/>
                                  </p:stCondLst>
                                  <p:childTnLst>
                                    <p:set>
                                      <p:cBhvr>
                                        <p:cTn id="36" dur="1" fill="hold">
                                          <p:stCondLst>
                                            <p:cond delay="0"/>
                                          </p:stCondLst>
                                        </p:cTn>
                                        <p:tgtEl>
                                          <p:spTgt spid="34"/>
                                        </p:tgtEl>
                                        <p:attrNameLst>
                                          <p:attrName>style.visibility</p:attrName>
                                        </p:attrNameLst>
                                      </p:cBhvr>
                                      <p:to>
                                        <p:strVal val="visible"/>
                                      </p:to>
                                    </p:set>
                                    <p:animEffect transition="in" filter="wipe(right)">
                                      <p:cBhvr>
                                        <p:cTn id="37" dur="500"/>
                                        <p:tgtEl>
                                          <p:spTgt spid="34"/>
                                        </p:tgtEl>
                                      </p:cBhvr>
                                    </p:animEffect>
                                  </p:childTnLst>
                                </p:cTn>
                              </p:par>
                            </p:childTnLst>
                          </p:cTn>
                        </p:par>
                        <p:par>
                          <p:cTn id="38" fill="hold">
                            <p:stCondLst>
                              <p:cond delay="3500"/>
                            </p:stCondLst>
                            <p:childTnLst>
                              <p:par>
                                <p:cTn id="39" presetID="42" presetClass="entr" presetSubtype="0" fill="hold" grpId="0" nodeType="afterEffect">
                                  <p:stCondLst>
                                    <p:cond delay="0"/>
                                  </p:stCondLst>
                                  <p:childTnLst>
                                    <p:set>
                                      <p:cBhvr>
                                        <p:cTn id="40" dur="1" fill="hold">
                                          <p:stCondLst>
                                            <p:cond delay="0"/>
                                          </p:stCondLst>
                                        </p:cTn>
                                        <p:tgtEl>
                                          <p:spTgt spid="39"/>
                                        </p:tgtEl>
                                        <p:attrNameLst>
                                          <p:attrName>style.visibility</p:attrName>
                                        </p:attrNameLst>
                                      </p:cBhvr>
                                      <p:to>
                                        <p:strVal val="visible"/>
                                      </p:to>
                                    </p:set>
                                    <p:animEffect transition="in" filter="fade">
                                      <p:cBhvr>
                                        <p:cTn id="41" dur="500"/>
                                        <p:tgtEl>
                                          <p:spTgt spid="39"/>
                                        </p:tgtEl>
                                      </p:cBhvr>
                                    </p:animEffect>
                                    <p:anim calcmode="lin" valueType="num">
                                      <p:cBhvr>
                                        <p:cTn id="42" dur="500" fill="hold"/>
                                        <p:tgtEl>
                                          <p:spTgt spid="39"/>
                                        </p:tgtEl>
                                        <p:attrNameLst>
                                          <p:attrName>ppt_x</p:attrName>
                                        </p:attrNameLst>
                                      </p:cBhvr>
                                      <p:tavLst>
                                        <p:tav tm="0">
                                          <p:val>
                                            <p:strVal val="#ppt_x"/>
                                          </p:val>
                                        </p:tav>
                                        <p:tav tm="100000">
                                          <p:val>
                                            <p:strVal val="#ppt_x"/>
                                          </p:val>
                                        </p:tav>
                                      </p:tavLst>
                                    </p:anim>
                                    <p:anim calcmode="lin" valueType="num">
                                      <p:cBhvr>
                                        <p:cTn id="43" dur="500" fill="hold"/>
                                        <p:tgtEl>
                                          <p:spTgt spid="39"/>
                                        </p:tgtEl>
                                        <p:attrNameLst>
                                          <p:attrName>ppt_y</p:attrName>
                                        </p:attrNameLst>
                                      </p:cBhvr>
                                      <p:tavLst>
                                        <p:tav tm="0">
                                          <p:val>
                                            <p:strVal val="#ppt_y+.1"/>
                                          </p:val>
                                        </p:tav>
                                        <p:tav tm="100000">
                                          <p:val>
                                            <p:strVal val="#ppt_y"/>
                                          </p:val>
                                        </p:tav>
                                      </p:tavLst>
                                    </p:anim>
                                  </p:childTnLst>
                                </p:cTn>
                              </p:par>
                            </p:childTnLst>
                          </p:cTn>
                        </p:par>
                        <p:par>
                          <p:cTn id="44" fill="hold">
                            <p:stCondLst>
                              <p:cond delay="4000"/>
                            </p:stCondLst>
                            <p:childTnLst>
                              <p:par>
                                <p:cTn id="45" presetID="53" presetClass="entr" presetSubtype="16" fill="hold" nodeType="afterEffect">
                                  <p:stCondLst>
                                    <p:cond delay="0"/>
                                  </p:stCondLst>
                                  <p:childTnLst>
                                    <p:set>
                                      <p:cBhvr>
                                        <p:cTn id="46" dur="1" fill="hold">
                                          <p:stCondLst>
                                            <p:cond delay="0"/>
                                          </p:stCondLst>
                                        </p:cTn>
                                        <p:tgtEl>
                                          <p:spTgt spid="6"/>
                                        </p:tgtEl>
                                        <p:attrNameLst>
                                          <p:attrName>style.visibility</p:attrName>
                                        </p:attrNameLst>
                                      </p:cBhvr>
                                      <p:to>
                                        <p:strVal val="visible"/>
                                      </p:to>
                                    </p:set>
                                    <p:anim calcmode="lin" valueType="num">
                                      <p:cBhvr>
                                        <p:cTn id="47" dur="500" fill="hold"/>
                                        <p:tgtEl>
                                          <p:spTgt spid="6"/>
                                        </p:tgtEl>
                                        <p:attrNameLst>
                                          <p:attrName>ppt_w</p:attrName>
                                        </p:attrNameLst>
                                      </p:cBhvr>
                                      <p:tavLst>
                                        <p:tav tm="0">
                                          <p:val>
                                            <p:fltVal val="0"/>
                                          </p:val>
                                        </p:tav>
                                        <p:tav tm="100000">
                                          <p:val>
                                            <p:strVal val="#ppt_w"/>
                                          </p:val>
                                        </p:tav>
                                      </p:tavLst>
                                    </p:anim>
                                    <p:anim calcmode="lin" valueType="num">
                                      <p:cBhvr>
                                        <p:cTn id="48" dur="500" fill="hold"/>
                                        <p:tgtEl>
                                          <p:spTgt spid="6"/>
                                        </p:tgtEl>
                                        <p:attrNameLst>
                                          <p:attrName>ppt_h</p:attrName>
                                        </p:attrNameLst>
                                      </p:cBhvr>
                                      <p:tavLst>
                                        <p:tav tm="0">
                                          <p:val>
                                            <p:fltVal val="0"/>
                                          </p:val>
                                        </p:tav>
                                        <p:tav tm="100000">
                                          <p:val>
                                            <p:strVal val="#ppt_h"/>
                                          </p:val>
                                        </p:tav>
                                      </p:tavLst>
                                    </p:anim>
                                    <p:animEffect transition="in" filter="fade">
                                      <p:cBhvr>
                                        <p:cTn id="49" dur="500"/>
                                        <p:tgtEl>
                                          <p:spTgt spid="6"/>
                                        </p:tgtEl>
                                      </p:cBhvr>
                                    </p:animEffect>
                                  </p:childTnLst>
                                </p:cTn>
                              </p:par>
                            </p:childTnLst>
                          </p:cTn>
                        </p:par>
                        <p:par>
                          <p:cTn id="50" fill="hold">
                            <p:stCondLst>
                              <p:cond delay="4500"/>
                            </p:stCondLst>
                            <p:childTnLst>
                              <p:par>
                                <p:cTn id="51" presetID="22" presetClass="entr" presetSubtype="8" fill="hold" grpId="0" nodeType="afterEffect">
                                  <p:stCondLst>
                                    <p:cond delay="0"/>
                                  </p:stCondLst>
                                  <p:childTnLst>
                                    <p:set>
                                      <p:cBhvr>
                                        <p:cTn id="52" dur="1" fill="hold">
                                          <p:stCondLst>
                                            <p:cond delay="0"/>
                                          </p:stCondLst>
                                        </p:cTn>
                                        <p:tgtEl>
                                          <p:spTgt spid="35"/>
                                        </p:tgtEl>
                                        <p:attrNameLst>
                                          <p:attrName>style.visibility</p:attrName>
                                        </p:attrNameLst>
                                      </p:cBhvr>
                                      <p:to>
                                        <p:strVal val="visible"/>
                                      </p:to>
                                    </p:set>
                                    <p:animEffect transition="in" filter="wipe(left)">
                                      <p:cBhvr>
                                        <p:cTn id="53" dur="500"/>
                                        <p:tgtEl>
                                          <p:spTgt spid="35"/>
                                        </p:tgtEl>
                                      </p:cBhvr>
                                    </p:animEffect>
                                  </p:childTnLst>
                                </p:cTn>
                              </p:par>
                            </p:childTnLst>
                          </p:cTn>
                        </p:par>
                        <p:par>
                          <p:cTn id="54" fill="hold">
                            <p:stCondLst>
                              <p:cond delay="5000"/>
                            </p:stCondLst>
                            <p:childTnLst>
                              <p:par>
                                <p:cTn id="55" presetID="42" presetClass="entr" presetSubtype="0" fill="hold" grpId="0" nodeType="afterEffect">
                                  <p:stCondLst>
                                    <p:cond delay="0"/>
                                  </p:stCondLst>
                                  <p:childTnLst>
                                    <p:set>
                                      <p:cBhvr>
                                        <p:cTn id="56" dur="1" fill="hold">
                                          <p:stCondLst>
                                            <p:cond delay="0"/>
                                          </p:stCondLst>
                                        </p:cTn>
                                        <p:tgtEl>
                                          <p:spTgt spid="41"/>
                                        </p:tgtEl>
                                        <p:attrNameLst>
                                          <p:attrName>style.visibility</p:attrName>
                                        </p:attrNameLst>
                                      </p:cBhvr>
                                      <p:to>
                                        <p:strVal val="visible"/>
                                      </p:to>
                                    </p:set>
                                    <p:animEffect transition="in" filter="fade">
                                      <p:cBhvr>
                                        <p:cTn id="57" dur="500"/>
                                        <p:tgtEl>
                                          <p:spTgt spid="41"/>
                                        </p:tgtEl>
                                      </p:cBhvr>
                                    </p:animEffect>
                                    <p:anim calcmode="lin" valueType="num">
                                      <p:cBhvr>
                                        <p:cTn id="58" dur="500" fill="hold"/>
                                        <p:tgtEl>
                                          <p:spTgt spid="41"/>
                                        </p:tgtEl>
                                        <p:attrNameLst>
                                          <p:attrName>ppt_x</p:attrName>
                                        </p:attrNameLst>
                                      </p:cBhvr>
                                      <p:tavLst>
                                        <p:tav tm="0">
                                          <p:val>
                                            <p:strVal val="#ppt_x"/>
                                          </p:val>
                                        </p:tav>
                                        <p:tav tm="100000">
                                          <p:val>
                                            <p:strVal val="#ppt_x"/>
                                          </p:val>
                                        </p:tav>
                                      </p:tavLst>
                                    </p:anim>
                                    <p:anim calcmode="lin" valueType="num">
                                      <p:cBhvr>
                                        <p:cTn id="59" dur="500" fill="hold"/>
                                        <p:tgtEl>
                                          <p:spTgt spid="41"/>
                                        </p:tgtEl>
                                        <p:attrNameLst>
                                          <p:attrName>ppt_y</p:attrName>
                                        </p:attrNameLst>
                                      </p:cBhvr>
                                      <p:tavLst>
                                        <p:tav tm="0">
                                          <p:val>
                                            <p:strVal val="#ppt_y+.1"/>
                                          </p:val>
                                        </p:tav>
                                        <p:tav tm="100000">
                                          <p:val>
                                            <p:strVal val="#ppt_y"/>
                                          </p:val>
                                        </p:tav>
                                      </p:tavLst>
                                    </p:anim>
                                  </p:childTnLst>
                                </p:cTn>
                              </p:par>
                            </p:childTnLst>
                          </p:cTn>
                        </p:par>
                        <p:par>
                          <p:cTn id="60" fill="hold">
                            <p:stCondLst>
                              <p:cond delay="5500"/>
                            </p:stCondLst>
                            <p:childTnLst>
                              <p:par>
                                <p:cTn id="61" presetID="53" presetClass="entr" presetSubtype="16" fill="hold" nodeType="afterEffect">
                                  <p:stCondLst>
                                    <p:cond delay="0"/>
                                  </p:stCondLst>
                                  <p:childTnLst>
                                    <p:set>
                                      <p:cBhvr>
                                        <p:cTn id="62" dur="1" fill="hold">
                                          <p:stCondLst>
                                            <p:cond delay="0"/>
                                          </p:stCondLst>
                                        </p:cTn>
                                        <p:tgtEl>
                                          <p:spTgt spid="9"/>
                                        </p:tgtEl>
                                        <p:attrNameLst>
                                          <p:attrName>style.visibility</p:attrName>
                                        </p:attrNameLst>
                                      </p:cBhvr>
                                      <p:to>
                                        <p:strVal val="visible"/>
                                      </p:to>
                                    </p:set>
                                    <p:anim calcmode="lin" valueType="num">
                                      <p:cBhvr>
                                        <p:cTn id="63" dur="500" fill="hold"/>
                                        <p:tgtEl>
                                          <p:spTgt spid="9"/>
                                        </p:tgtEl>
                                        <p:attrNameLst>
                                          <p:attrName>ppt_w</p:attrName>
                                        </p:attrNameLst>
                                      </p:cBhvr>
                                      <p:tavLst>
                                        <p:tav tm="0">
                                          <p:val>
                                            <p:fltVal val="0"/>
                                          </p:val>
                                        </p:tav>
                                        <p:tav tm="100000">
                                          <p:val>
                                            <p:strVal val="#ppt_w"/>
                                          </p:val>
                                        </p:tav>
                                      </p:tavLst>
                                    </p:anim>
                                    <p:anim calcmode="lin" valueType="num">
                                      <p:cBhvr>
                                        <p:cTn id="64" dur="500" fill="hold"/>
                                        <p:tgtEl>
                                          <p:spTgt spid="9"/>
                                        </p:tgtEl>
                                        <p:attrNameLst>
                                          <p:attrName>ppt_h</p:attrName>
                                        </p:attrNameLst>
                                      </p:cBhvr>
                                      <p:tavLst>
                                        <p:tav tm="0">
                                          <p:val>
                                            <p:fltVal val="0"/>
                                          </p:val>
                                        </p:tav>
                                        <p:tav tm="100000">
                                          <p:val>
                                            <p:strVal val="#ppt_h"/>
                                          </p:val>
                                        </p:tav>
                                      </p:tavLst>
                                    </p:anim>
                                    <p:animEffect transition="in" filter="fade">
                                      <p:cBhvr>
                                        <p:cTn id="65" dur="500"/>
                                        <p:tgtEl>
                                          <p:spTgt spid="9"/>
                                        </p:tgtEl>
                                      </p:cBhvr>
                                    </p:animEffect>
                                  </p:childTnLst>
                                </p:cTn>
                              </p:par>
                            </p:childTnLst>
                          </p:cTn>
                        </p:par>
                        <p:par>
                          <p:cTn id="66" fill="hold">
                            <p:stCondLst>
                              <p:cond delay="6000"/>
                            </p:stCondLst>
                            <p:childTnLst>
                              <p:par>
                                <p:cTn id="67" presetID="22" presetClass="entr" presetSubtype="8" fill="hold" grpId="0" nodeType="afterEffect">
                                  <p:stCondLst>
                                    <p:cond delay="0"/>
                                  </p:stCondLst>
                                  <p:childTnLst>
                                    <p:set>
                                      <p:cBhvr>
                                        <p:cTn id="68" dur="1" fill="hold">
                                          <p:stCondLst>
                                            <p:cond delay="0"/>
                                          </p:stCondLst>
                                        </p:cTn>
                                        <p:tgtEl>
                                          <p:spTgt spid="36"/>
                                        </p:tgtEl>
                                        <p:attrNameLst>
                                          <p:attrName>style.visibility</p:attrName>
                                        </p:attrNameLst>
                                      </p:cBhvr>
                                      <p:to>
                                        <p:strVal val="visible"/>
                                      </p:to>
                                    </p:set>
                                    <p:animEffect transition="in" filter="wipe(left)">
                                      <p:cBhvr>
                                        <p:cTn id="69" dur="500"/>
                                        <p:tgtEl>
                                          <p:spTgt spid="36"/>
                                        </p:tgtEl>
                                      </p:cBhvr>
                                    </p:animEffect>
                                  </p:childTnLst>
                                </p:cTn>
                              </p:par>
                            </p:childTnLst>
                          </p:cTn>
                        </p:par>
                        <p:par>
                          <p:cTn id="70" fill="hold">
                            <p:stCondLst>
                              <p:cond delay="6500"/>
                            </p:stCondLst>
                            <p:childTnLst>
                              <p:par>
                                <p:cTn id="71" presetID="42" presetClass="entr" presetSubtype="0" fill="hold" grpId="0" nodeType="afterEffect">
                                  <p:stCondLst>
                                    <p:cond delay="0"/>
                                  </p:stCondLst>
                                  <p:childTnLst>
                                    <p:set>
                                      <p:cBhvr>
                                        <p:cTn id="72" dur="1" fill="hold">
                                          <p:stCondLst>
                                            <p:cond delay="0"/>
                                          </p:stCondLst>
                                        </p:cTn>
                                        <p:tgtEl>
                                          <p:spTgt spid="42"/>
                                        </p:tgtEl>
                                        <p:attrNameLst>
                                          <p:attrName>style.visibility</p:attrName>
                                        </p:attrNameLst>
                                      </p:cBhvr>
                                      <p:to>
                                        <p:strVal val="visible"/>
                                      </p:to>
                                    </p:set>
                                    <p:animEffect transition="in" filter="fade">
                                      <p:cBhvr>
                                        <p:cTn id="73" dur="500"/>
                                        <p:tgtEl>
                                          <p:spTgt spid="42"/>
                                        </p:tgtEl>
                                      </p:cBhvr>
                                    </p:animEffect>
                                    <p:anim calcmode="lin" valueType="num">
                                      <p:cBhvr>
                                        <p:cTn id="74" dur="500" fill="hold"/>
                                        <p:tgtEl>
                                          <p:spTgt spid="42"/>
                                        </p:tgtEl>
                                        <p:attrNameLst>
                                          <p:attrName>ppt_x</p:attrName>
                                        </p:attrNameLst>
                                      </p:cBhvr>
                                      <p:tavLst>
                                        <p:tav tm="0">
                                          <p:val>
                                            <p:strVal val="#ppt_x"/>
                                          </p:val>
                                        </p:tav>
                                        <p:tav tm="100000">
                                          <p:val>
                                            <p:strVal val="#ppt_x"/>
                                          </p:val>
                                        </p:tav>
                                      </p:tavLst>
                                    </p:anim>
                                    <p:anim calcmode="lin" valueType="num">
                                      <p:cBhvr>
                                        <p:cTn id="75" dur="500" fill="hold"/>
                                        <p:tgtEl>
                                          <p:spTgt spid="42"/>
                                        </p:tgtEl>
                                        <p:attrNameLst>
                                          <p:attrName>ppt_y</p:attrName>
                                        </p:attrNameLst>
                                      </p:cBhvr>
                                      <p:tavLst>
                                        <p:tav tm="0">
                                          <p:val>
                                            <p:strVal val="#ppt_y+.1"/>
                                          </p:val>
                                        </p:tav>
                                        <p:tav tm="100000">
                                          <p:val>
                                            <p:strVal val="#ppt_y"/>
                                          </p:val>
                                        </p:tav>
                                      </p:tavLst>
                                    </p:anim>
                                  </p:childTnLst>
                                </p:cTn>
                              </p:par>
                            </p:childTnLst>
                          </p:cTn>
                        </p:par>
                        <p:par>
                          <p:cTn id="76" fill="hold">
                            <p:stCondLst>
                              <p:cond delay="7000"/>
                            </p:stCondLst>
                            <p:childTnLst>
                              <p:par>
                                <p:cTn id="77" presetID="53" presetClass="entr" presetSubtype="16" fill="hold" nodeType="afterEffect">
                                  <p:stCondLst>
                                    <p:cond delay="0"/>
                                  </p:stCondLst>
                                  <p:childTnLst>
                                    <p:set>
                                      <p:cBhvr>
                                        <p:cTn id="78" dur="1" fill="hold">
                                          <p:stCondLst>
                                            <p:cond delay="0"/>
                                          </p:stCondLst>
                                        </p:cTn>
                                        <p:tgtEl>
                                          <p:spTgt spid="23"/>
                                        </p:tgtEl>
                                        <p:attrNameLst>
                                          <p:attrName>style.visibility</p:attrName>
                                        </p:attrNameLst>
                                      </p:cBhvr>
                                      <p:to>
                                        <p:strVal val="visible"/>
                                      </p:to>
                                    </p:set>
                                    <p:anim calcmode="lin" valueType="num">
                                      <p:cBhvr>
                                        <p:cTn id="79" dur="500" fill="hold"/>
                                        <p:tgtEl>
                                          <p:spTgt spid="23"/>
                                        </p:tgtEl>
                                        <p:attrNameLst>
                                          <p:attrName>ppt_w</p:attrName>
                                        </p:attrNameLst>
                                      </p:cBhvr>
                                      <p:tavLst>
                                        <p:tav tm="0">
                                          <p:val>
                                            <p:fltVal val="0"/>
                                          </p:val>
                                        </p:tav>
                                        <p:tav tm="100000">
                                          <p:val>
                                            <p:strVal val="#ppt_w"/>
                                          </p:val>
                                        </p:tav>
                                      </p:tavLst>
                                    </p:anim>
                                    <p:anim calcmode="lin" valueType="num">
                                      <p:cBhvr>
                                        <p:cTn id="80" dur="500" fill="hold"/>
                                        <p:tgtEl>
                                          <p:spTgt spid="23"/>
                                        </p:tgtEl>
                                        <p:attrNameLst>
                                          <p:attrName>ppt_h</p:attrName>
                                        </p:attrNameLst>
                                      </p:cBhvr>
                                      <p:tavLst>
                                        <p:tav tm="0">
                                          <p:val>
                                            <p:fltVal val="0"/>
                                          </p:val>
                                        </p:tav>
                                        <p:tav tm="100000">
                                          <p:val>
                                            <p:strVal val="#ppt_h"/>
                                          </p:val>
                                        </p:tav>
                                      </p:tavLst>
                                    </p:anim>
                                    <p:animEffect transition="in" filter="fade">
                                      <p:cBhvr>
                                        <p:cTn id="81" dur="500"/>
                                        <p:tgtEl>
                                          <p:spTgt spid="23"/>
                                        </p:tgtEl>
                                      </p:cBhvr>
                                    </p:animEffect>
                                  </p:childTnLst>
                                </p:cTn>
                              </p:par>
                            </p:childTnLst>
                          </p:cTn>
                        </p:par>
                        <p:par>
                          <p:cTn id="82" fill="hold">
                            <p:stCondLst>
                              <p:cond delay="7500"/>
                            </p:stCondLst>
                            <p:childTnLst>
                              <p:par>
                                <p:cTn id="83" presetID="22" presetClass="entr" presetSubtype="8" fill="hold" grpId="0" nodeType="afterEffect">
                                  <p:stCondLst>
                                    <p:cond delay="0"/>
                                  </p:stCondLst>
                                  <p:childTnLst>
                                    <p:set>
                                      <p:cBhvr>
                                        <p:cTn id="84" dur="1" fill="hold">
                                          <p:stCondLst>
                                            <p:cond delay="0"/>
                                          </p:stCondLst>
                                        </p:cTn>
                                        <p:tgtEl>
                                          <p:spTgt spid="37"/>
                                        </p:tgtEl>
                                        <p:attrNameLst>
                                          <p:attrName>style.visibility</p:attrName>
                                        </p:attrNameLst>
                                      </p:cBhvr>
                                      <p:to>
                                        <p:strVal val="visible"/>
                                      </p:to>
                                    </p:set>
                                    <p:animEffect transition="in" filter="wipe(left)">
                                      <p:cBhvr>
                                        <p:cTn id="85" dur="500"/>
                                        <p:tgtEl>
                                          <p:spTgt spid="37"/>
                                        </p:tgtEl>
                                      </p:cBhvr>
                                    </p:animEffect>
                                  </p:childTnLst>
                                </p:cTn>
                              </p:par>
                            </p:childTnLst>
                          </p:cTn>
                        </p:par>
                        <p:par>
                          <p:cTn id="86" fill="hold">
                            <p:stCondLst>
                              <p:cond delay="8000"/>
                            </p:stCondLst>
                            <p:childTnLst>
                              <p:par>
                                <p:cTn id="87" presetID="42" presetClass="entr" presetSubtype="0" fill="hold" grpId="0" nodeType="afterEffect">
                                  <p:stCondLst>
                                    <p:cond delay="0"/>
                                  </p:stCondLst>
                                  <p:childTnLst>
                                    <p:set>
                                      <p:cBhvr>
                                        <p:cTn id="88" dur="1" fill="hold">
                                          <p:stCondLst>
                                            <p:cond delay="0"/>
                                          </p:stCondLst>
                                        </p:cTn>
                                        <p:tgtEl>
                                          <p:spTgt spid="43"/>
                                        </p:tgtEl>
                                        <p:attrNameLst>
                                          <p:attrName>style.visibility</p:attrName>
                                        </p:attrNameLst>
                                      </p:cBhvr>
                                      <p:to>
                                        <p:strVal val="visible"/>
                                      </p:to>
                                    </p:set>
                                    <p:animEffect transition="in" filter="fade">
                                      <p:cBhvr>
                                        <p:cTn id="89" dur="500"/>
                                        <p:tgtEl>
                                          <p:spTgt spid="43"/>
                                        </p:tgtEl>
                                      </p:cBhvr>
                                    </p:animEffect>
                                    <p:anim calcmode="lin" valueType="num">
                                      <p:cBhvr>
                                        <p:cTn id="90" dur="500" fill="hold"/>
                                        <p:tgtEl>
                                          <p:spTgt spid="43"/>
                                        </p:tgtEl>
                                        <p:attrNameLst>
                                          <p:attrName>ppt_x</p:attrName>
                                        </p:attrNameLst>
                                      </p:cBhvr>
                                      <p:tavLst>
                                        <p:tav tm="0">
                                          <p:val>
                                            <p:strVal val="#ppt_x"/>
                                          </p:val>
                                        </p:tav>
                                        <p:tav tm="100000">
                                          <p:val>
                                            <p:strVal val="#ppt_x"/>
                                          </p:val>
                                        </p:tav>
                                      </p:tavLst>
                                    </p:anim>
                                    <p:anim calcmode="lin" valueType="num">
                                      <p:cBhvr>
                                        <p:cTn id="91" dur="500" fill="hold"/>
                                        <p:tgtEl>
                                          <p:spTgt spid="43"/>
                                        </p:tgtEl>
                                        <p:attrNameLst>
                                          <p:attrName>ppt_y</p:attrName>
                                        </p:attrNameLst>
                                      </p:cBhvr>
                                      <p:tavLst>
                                        <p:tav tm="0">
                                          <p:val>
                                            <p:strVal val="#ppt_y+.1"/>
                                          </p:val>
                                        </p:tav>
                                        <p:tav tm="100000">
                                          <p:val>
                                            <p:strVal val="#ppt_y"/>
                                          </p:val>
                                        </p:tav>
                                      </p:tavLst>
                                    </p:anim>
                                  </p:childTnLst>
                                </p:cTn>
                              </p:par>
                            </p:childTnLst>
                          </p:cTn>
                        </p:par>
                        <p:par>
                          <p:cTn id="92" fill="hold">
                            <p:stCondLst>
                              <p:cond delay="8500"/>
                            </p:stCondLst>
                            <p:childTnLst>
                              <p:par>
                                <p:cTn id="93" presetID="53" presetClass="entr" presetSubtype="16" fill="hold" nodeType="afterEffect">
                                  <p:stCondLst>
                                    <p:cond delay="0"/>
                                  </p:stCondLst>
                                  <p:childTnLst>
                                    <p:set>
                                      <p:cBhvr>
                                        <p:cTn id="94" dur="1" fill="hold">
                                          <p:stCondLst>
                                            <p:cond delay="0"/>
                                          </p:stCondLst>
                                        </p:cTn>
                                        <p:tgtEl>
                                          <p:spTgt spid="14"/>
                                        </p:tgtEl>
                                        <p:attrNameLst>
                                          <p:attrName>style.visibility</p:attrName>
                                        </p:attrNameLst>
                                      </p:cBhvr>
                                      <p:to>
                                        <p:strVal val="visible"/>
                                      </p:to>
                                    </p:set>
                                    <p:anim calcmode="lin" valueType="num">
                                      <p:cBhvr>
                                        <p:cTn id="95" dur="500" fill="hold"/>
                                        <p:tgtEl>
                                          <p:spTgt spid="14"/>
                                        </p:tgtEl>
                                        <p:attrNameLst>
                                          <p:attrName>ppt_w</p:attrName>
                                        </p:attrNameLst>
                                      </p:cBhvr>
                                      <p:tavLst>
                                        <p:tav tm="0">
                                          <p:val>
                                            <p:fltVal val="0"/>
                                          </p:val>
                                        </p:tav>
                                        <p:tav tm="100000">
                                          <p:val>
                                            <p:strVal val="#ppt_w"/>
                                          </p:val>
                                        </p:tav>
                                      </p:tavLst>
                                    </p:anim>
                                    <p:anim calcmode="lin" valueType="num">
                                      <p:cBhvr>
                                        <p:cTn id="96" dur="500" fill="hold"/>
                                        <p:tgtEl>
                                          <p:spTgt spid="14"/>
                                        </p:tgtEl>
                                        <p:attrNameLst>
                                          <p:attrName>ppt_h</p:attrName>
                                        </p:attrNameLst>
                                      </p:cBhvr>
                                      <p:tavLst>
                                        <p:tav tm="0">
                                          <p:val>
                                            <p:fltVal val="0"/>
                                          </p:val>
                                        </p:tav>
                                        <p:tav tm="100000">
                                          <p:val>
                                            <p:strVal val="#ppt_h"/>
                                          </p:val>
                                        </p:tav>
                                      </p:tavLst>
                                    </p:anim>
                                    <p:animEffect transition="in" filter="fade">
                                      <p:cBhvr>
                                        <p:cTn id="97" dur="500"/>
                                        <p:tgtEl>
                                          <p:spTgt spid="14"/>
                                        </p:tgtEl>
                                      </p:cBhvr>
                                    </p:animEffect>
                                  </p:childTnLst>
                                </p:cTn>
                              </p:par>
                            </p:childTnLst>
                          </p:cTn>
                        </p:par>
                        <p:par>
                          <p:cTn id="98" fill="hold">
                            <p:stCondLst>
                              <p:cond delay="9000"/>
                            </p:stCondLst>
                            <p:childTnLst>
                              <p:par>
                                <p:cTn id="99" presetID="22" presetClass="entr" presetSubtype="8" fill="hold" grpId="0" nodeType="afterEffect">
                                  <p:stCondLst>
                                    <p:cond delay="0"/>
                                  </p:stCondLst>
                                  <p:childTnLst>
                                    <p:set>
                                      <p:cBhvr>
                                        <p:cTn id="100" dur="1" fill="hold">
                                          <p:stCondLst>
                                            <p:cond delay="0"/>
                                          </p:stCondLst>
                                        </p:cTn>
                                        <p:tgtEl>
                                          <p:spTgt spid="38"/>
                                        </p:tgtEl>
                                        <p:attrNameLst>
                                          <p:attrName>style.visibility</p:attrName>
                                        </p:attrNameLst>
                                      </p:cBhvr>
                                      <p:to>
                                        <p:strVal val="visible"/>
                                      </p:to>
                                    </p:set>
                                    <p:animEffect transition="in" filter="wipe(left)">
                                      <p:cBhvr>
                                        <p:cTn id="101" dur="500"/>
                                        <p:tgtEl>
                                          <p:spTgt spid="38"/>
                                        </p:tgtEl>
                                      </p:cBhvr>
                                    </p:animEffect>
                                  </p:childTnLst>
                                </p:cTn>
                              </p:par>
                            </p:childTnLst>
                          </p:cTn>
                        </p:par>
                        <p:par>
                          <p:cTn id="102" fill="hold">
                            <p:stCondLst>
                              <p:cond delay="9500"/>
                            </p:stCondLst>
                            <p:childTnLst>
                              <p:par>
                                <p:cTn id="103" presetID="42" presetClass="entr" presetSubtype="0" fill="hold" grpId="0" nodeType="afterEffect">
                                  <p:stCondLst>
                                    <p:cond delay="0"/>
                                  </p:stCondLst>
                                  <p:childTnLst>
                                    <p:set>
                                      <p:cBhvr>
                                        <p:cTn id="104" dur="1" fill="hold">
                                          <p:stCondLst>
                                            <p:cond delay="0"/>
                                          </p:stCondLst>
                                        </p:cTn>
                                        <p:tgtEl>
                                          <p:spTgt spid="44"/>
                                        </p:tgtEl>
                                        <p:attrNameLst>
                                          <p:attrName>style.visibility</p:attrName>
                                        </p:attrNameLst>
                                      </p:cBhvr>
                                      <p:to>
                                        <p:strVal val="visible"/>
                                      </p:to>
                                    </p:set>
                                    <p:animEffect transition="in" filter="fade">
                                      <p:cBhvr>
                                        <p:cTn id="105" dur="500"/>
                                        <p:tgtEl>
                                          <p:spTgt spid="44"/>
                                        </p:tgtEl>
                                      </p:cBhvr>
                                    </p:animEffect>
                                    <p:anim calcmode="lin" valueType="num">
                                      <p:cBhvr>
                                        <p:cTn id="106" dur="500" fill="hold"/>
                                        <p:tgtEl>
                                          <p:spTgt spid="44"/>
                                        </p:tgtEl>
                                        <p:attrNameLst>
                                          <p:attrName>ppt_x</p:attrName>
                                        </p:attrNameLst>
                                      </p:cBhvr>
                                      <p:tavLst>
                                        <p:tav tm="0">
                                          <p:val>
                                            <p:strVal val="#ppt_x"/>
                                          </p:val>
                                        </p:tav>
                                        <p:tav tm="100000">
                                          <p:val>
                                            <p:strVal val="#ppt_x"/>
                                          </p:val>
                                        </p:tav>
                                      </p:tavLst>
                                    </p:anim>
                                    <p:anim calcmode="lin" valueType="num">
                                      <p:cBhvr>
                                        <p:cTn id="107" dur="500" fill="hold"/>
                                        <p:tgtEl>
                                          <p:spTgt spid="4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33" grpId="0"/>
      <p:bldP spid="34" grpId="0"/>
      <p:bldP spid="35" grpId="0"/>
      <p:bldP spid="36" grpId="0"/>
      <p:bldP spid="37" grpId="0"/>
      <p:bldP spid="38" grpId="0"/>
      <p:bldP spid="39" grpId="0"/>
      <p:bldP spid="40" grpId="0"/>
      <p:bldP spid="41" grpId="0"/>
      <p:bldP spid="42" grpId="0"/>
      <p:bldP spid="43" grpId="0"/>
      <p:bldP spid="44" grpId="0"/>
      <p:bldP spid="45" grpId="0"/>
    </p:bldLst>
  </p:timing>
</p:sld>
</file>

<file path=ppt/slides/slide6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23">
            <a:extLst>
              <a:ext uri="{FF2B5EF4-FFF2-40B4-BE49-F238E27FC236}">
                <a16:creationId xmlns:a16="http://schemas.microsoft.com/office/drawing/2014/main" id="{DF38D3B3-09E4-4C7F-A47E-0BAD42228292}"/>
              </a:ext>
            </a:extLst>
          </p:cNvPr>
          <p:cNvGrpSpPr/>
          <p:nvPr/>
        </p:nvGrpSpPr>
        <p:grpSpPr>
          <a:xfrm>
            <a:off x="3929914" y="1524000"/>
            <a:ext cx="4332172" cy="5334000"/>
            <a:chOff x="3612938" y="743444"/>
            <a:chExt cx="4966124" cy="6114556"/>
          </a:xfrm>
        </p:grpSpPr>
        <p:sp>
          <p:nvSpPr>
            <p:cNvPr id="3" name="Freeform 7">
              <a:extLst>
                <a:ext uri="{FF2B5EF4-FFF2-40B4-BE49-F238E27FC236}">
                  <a16:creationId xmlns:a16="http://schemas.microsoft.com/office/drawing/2014/main" id="{058267A8-9CDD-4B49-91AF-28313C19E7CF}"/>
                </a:ext>
              </a:extLst>
            </p:cNvPr>
            <p:cNvSpPr>
              <a:spLocks/>
            </p:cNvSpPr>
            <p:nvPr/>
          </p:nvSpPr>
          <p:spPr bwMode="auto">
            <a:xfrm rot="3600000">
              <a:off x="4221463" y="1151693"/>
              <a:ext cx="1648287" cy="831789"/>
            </a:xfrm>
            <a:custGeom>
              <a:avLst/>
              <a:gdLst>
                <a:gd name="T0" fmla="*/ 4456 w 8085"/>
                <a:gd name="T1" fmla="*/ 75 h 16320"/>
                <a:gd name="T2" fmla="*/ 5053 w 8085"/>
                <a:gd name="T3" fmla="*/ 448 h 16320"/>
                <a:gd name="T4" fmla="*/ 5616 w 8085"/>
                <a:gd name="T5" fmla="*/ 1081 h 16320"/>
                <a:gd name="T6" fmla="*/ 6138 w 8085"/>
                <a:gd name="T7" fmla="*/ 1921 h 16320"/>
                <a:gd name="T8" fmla="*/ 6613 w 8085"/>
                <a:gd name="T9" fmla="*/ 2912 h 16320"/>
                <a:gd name="T10" fmla="*/ 7035 w 8085"/>
                <a:gd name="T11" fmla="*/ 4000 h 16320"/>
                <a:gd name="T12" fmla="*/ 7395 w 8085"/>
                <a:gd name="T13" fmla="*/ 5130 h 16320"/>
                <a:gd name="T14" fmla="*/ 7687 w 8085"/>
                <a:gd name="T15" fmla="*/ 6246 h 16320"/>
                <a:gd name="T16" fmla="*/ 7903 w 8085"/>
                <a:gd name="T17" fmla="*/ 7295 h 16320"/>
                <a:gd name="T18" fmla="*/ 8038 w 8085"/>
                <a:gd name="T19" fmla="*/ 8220 h 16320"/>
                <a:gd name="T20" fmla="*/ 8085 w 8085"/>
                <a:gd name="T21" fmla="*/ 8968 h 16320"/>
                <a:gd name="T22" fmla="*/ 8038 w 8085"/>
                <a:gd name="T23" fmla="*/ 9675 h 16320"/>
                <a:gd name="T24" fmla="*/ 7903 w 8085"/>
                <a:gd name="T25" fmla="*/ 10492 h 16320"/>
                <a:gd name="T26" fmla="*/ 7687 w 8085"/>
                <a:gd name="T27" fmla="*/ 11377 h 16320"/>
                <a:gd name="T28" fmla="*/ 7395 w 8085"/>
                <a:gd name="T29" fmla="*/ 12294 h 16320"/>
                <a:gd name="T30" fmla="*/ 7035 w 8085"/>
                <a:gd name="T31" fmla="*/ 13203 h 16320"/>
                <a:gd name="T32" fmla="*/ 6613 w 8085"/>
                <a:gd name="T33" fmla="*/ 14065 h 16320"/>
                <a:gd name="T34" fmla="*/ 6138 w 8085"/>
                <a:gd name="T35" fmla="*/ 14841 h 16320"/>
                <a:gd name="T36" fmla="*/ 5616 w 8085"/>
                <a:gd name="T37" fmla="*/ 15492 h 16320"/>
                <a:gd name="T38" fmla="*/ 5053 w 8085"/>
                <a:gd name="T39" fmla="*/ 15978 h 16320"/>
                <a:gd name="T40" fmla="*/ 4456 w 8085"/>
                <a:gd name="T41" fmla="*/ 16263 h 16320"/>
                <a:gd name="T42" fmla="*/ 3834 w 8085"/>
                <a:gd name="T43" fmla="*/ 16306 h 16320"/>
                <a:gd name="T44" fmla="*/ 3228 w 8085"/>
                <a:gd name="T45" fmla="*/ 16098 h 16320"/>
                <a:gd name="T46" fmla="*/ 2653 w 8085"/>
                <a:gd name="T47" fmla="*/ 15673 h 16320"/>
                <a:gd name="T48" fmla="*/ 2116 w 8085"/>
                <a:gd name="T49" fmla="*/ 15074 h 16320"/>
                <a:gd name="T50" fmla="*/ 1624 w 8085"/>
                <a:gd name="T51" fmla="*/ 14335 h 16320"/>
                <a:gd name="T52" fmla="*/ 1184 w 8085"/>
                <a:gd name="T53" fmla="*/ 13498 h 16320"/>
                <a:gd name="T54" fmla="*/ 803 w 8085"/>
                <a:gd name="T55" fmla="*/ 12600 h 16320"/>
                <a:gd name="T56" fmla="*/ 488 w 8085"/>
                <a:gd name="T57" fmla="*/ 11682 h 16320"/>
                <a:gd name="T58" fmla="*/ 245 w 8085"/>
                <a:gd name="T59" fmla="*/ 10781 h 16320"/>
                <a:gd name="T60" fmla="*/ 82 w 8085"/>
                <a:gd name="T61" fmla="*/ 9937 h 16320"/>
                <a:gd name="T62" fmla="*/ 5 w 8085"/>
                <a:gd name="T63" fmla="*/ 9189 h 16320"/>
                <a:gd name="T64" fmla="*/ 21 w 8085"/>
                <a:gd name="T65" fmla="*/ 8492 h 16320"/>
                <a:gd name="T66" fmla="*/ 127 w 8085"/>
                <a:gd name="T67" fmla="*/ 7619 h 16320"/>
                <a:gd name="T68" fmla="*/ 318 w 8085"/>
                <a:gd name="T69" fmla="*/ 6606 h 16320"/>
                <a:gd name="T70" fmla="*/ 585 w 8085"/>
                <a:gd name="T71" fmla="*/ 5506 h 16320"/>
                <a:gd name="T72" fmla="*/ 923 w 8085"/>
                <a:gd name="T73" fmla="*/ 4375 h 16320"/>
                <a:gd name="T74" fmla="*/ 1324 w 8085"/>
                <a:gd name="T75" fmla="*/ 3267 h 16320"/>
                <a:gd name="T76" fmla="*/ 1783 w 8085"/>
                <a:gd name="T77" fmla="*/ 2237 h 16320"/>
                <a:gd name="T78" fmla="*/ 2290 w 8085"/>
                <a:gd name="T79" fmla="*/ 1340 h 16320"/>
                <a:gd name="T80" fmla="*/ 2840 w 8085"/>
                <a:gd name="T81" fmla="*/ 632 h 16320"/>
                <a:gd name="T82" fmla="*/ 3427 w 8085"/>
                <a:gd name="T83" fmla="*/ 167 h 16320"/>
                <a:gd name="T84" fmla="*/ 4043 w 8085"/>
                <a:gd name="T85" fmla="*/ 0 h 16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085" h="16320">
                  <a:moveTo>
                    <a:pt x="4043" y="0"/>
                  </a:moveTo>
                  <a:lnTo>
                    <a:pt x="4251" y="19"/>
                  </a:lnTo>
                  <a:lnTo>
                    <a:pt x="4456" y="75"/>
                  </a:lnTo>
                  <a:lnTo>
                    <a:pt x="4658" y="167"/>
                  </a:lnTo>
                  <a:lnTo>
                    <a:pt x="4857" y="292"/>
                  </a:lnTo>
                  <a:lnTo>
                    <a:pt x="5053" y="448"/>
                  </a:lnTo>
                  <a:lnTo>
                    <a:pt x="5245" y="632"/>
                  </a:lnTo>
                  <a:lnTo>
                    <a:pt x="5432" y="845"/>
                  </a:lnTo>
                  <a:lnTo>
                    <a:pt x="5616" y="1081"/>
                  </a:lnTo>
                  <a:lnTo>
                    <a:pt x="5795" y="1340"/>
                  </a:lnTo>
                  <a:lnTo>
                    <a:pt x="5969" y="1622"/>
                  </a:lnTo>
                  <a:lnTo>
                    <a:pt x="6138" y="1921"/>
                  </a:lnTo>
                  <a:lnTo>
                    <a:pt x="6302" y="2237"/>
                  </a:lnTo>
                  <a:lnTo>
                    <a:pt x="6461" y="2568"/>
                  </a:lnTo>
                  <a:lnTo>
                    <a:pt x="6613" y="2912"/>
                  </a:lnTo>
                  <a:lnTo>
                    <a:pt x="6761" y="3267"/>
                  </a:lnTo>
                  <a:lnTo>
                    <a:pt x="6901" y="3630"/>
                  </a:lnTo>
                  <a:lnTo>
                    <a:pt x="7035" y="4000"/>
                  </a:lnTo>
                  <a:lnTo>
                    <a:pt x="7162" y="4375"/>
                  </a:lnTo>
                  <a:lnTo>
                    <a:pt x="7282" y="4752"/>
                  </a:lnTo>
                  <a:lnTo>
                    <a:pt x="7395" y="5130"/>
                  </a:lnTo>
                  <a:lnTo>
                    <a:pt x="7500" y="5506"/>
                  </a:lnTo>
                  <a:lnTo>
                    <a:pt x="7597" y="5879"/>
                  </a:lnTo>
                  <a:lnTo>
                    <a:pt x="7687" y="6246"/>
                  </a:lnTo>
                  <a:lnTo>
                    <a:pt x="7767" y="6606"/>
                  </a:lnTo>
                  <a:lnTo>
                    <a:pt x="7840" y="6956"/>
                  </a:lnTo>
                  <a:lnTo>
                    <a:pt x="7903" y="7295"/>
                  </a:lnTo>
                  <a:lnTo>
                    <a:pt x="7958" y="7619"/>
                  </a:lnTo>
                  <a:lnTo>
                    <a:pt x="8003" y="7928"/>
                  </a:lnTo>
                  <a:lnTo>
                    <a:pt x="8038" y="8220"/>
                  </a:lnTo>
                  <a:lnTo>
                    <a:pt x="8064" y="8492"/>
                  </a:lnTo>
                  <a:lnTo>
                    <a:pt x="8080" y="8741"/>
                  </a:lnTo>
                  <a:lnTo>
                    <a:pt x="8085" y="8968"/>
                  </a:lnTo>
                  <a:lnTo>
                    <a:pt x="8080" y="9189"/>
                  </a:lnTo>
                  <a:lnTo>
                    <a:pt x="8064" y="9426"/>
                  </a:lnTo>
                  <a:lnTo>
                    <a:pt x="8038" y="9675"/>
                  </a:lnTo>
                  <a:lnTo>
                    <a:pt x="8003" y="9937"/>
                  </a:lnTo>
                  <a:lnTo>
                    <a:pt x="7958" y="10210"/>
                  </a:lnTo>
                  <a:lnTo>
                    <a:pt x="7903" y="10492"/>
                  </a:lnTo>
                  <a:lnTo>
                    <a:pt x="7840" y="10781"/>
                  </a:lnTo>
                  <a:lnTo>
                    <a:pt x="7767" y="11077"/>
                  </a:lnTo>
                  <a:lnTo>
                    <a:pt x="7687" y="11377"/>
                  </a:lnTo>
                  <a:lnTo>
                    <a:pt x="7597" y="11682"/>
                  </a:lnTo>
                  <a:lnTo>
                    <a:pt x="7500" y="11988"/>
                  </a:lnTo>
                  <a:lnTo>
                    <a:pt x="7395" y="12294"/>
                  </a:lnTo>
                  <a:lnTo>
                    <a:pt x="7282" y="12600"/>
                  </a:lnTo>
                  <a:lnTo>
                    <a:pt x="7162" y="12904"/>
                  </a:lnTo>
                  <a:lnTo>
                    <a:pt x="7035" y="13203"/>
                  </a:lnTo>
                  <a:lnTo>
                    <a:pt x="6901" y="13498"/>
                  </a:lnTo>
                  <a:lnTo>
                    <a:pt x="6761" y="13785"/>
                  </a:lnTo>
                  <a:lnTo>
                    <a:pt x="6613" y="14065"/>
                  </a:lnTo>
                  <a:lnTo>
                    <a:pt x="6461" y="14335"/>
                  </a:lnTo>
                  <a:lnTo>
                    <a:pt x="6302" y="14594"/>
                  </a:lnTo>
                  <a:lnTo>
                    <a:pt x="6138" y="14841"/>
                  </a:lnTo>
                  <a:lnTo>
                    <a:pt x="5969" y="15074"/>
                  </a:lnTo>
                  <a:lnTo>
                    <a:pt x="5795" y="15291"/>
                  </a:lnTo>
                  <a:lnTo>
                    <a:pt x="5616" y="15492"/>
                  </a:lnTo>
                  <a:lnTo>
                    <a:pt x="5432" y="15673"/>
                  </a:lnTo>
                  <a:lnTo>
                    <a:pt x="5245" y="15837"/>
                  </a:lnTo>
                  <a:lnTo>
                    <a:pt x="5053" y="15978"/>
                  </a:lnTo>
                  <a:lnTo>
                    <a:pt x="4857" y="16098"/>
                  </a:lnTo>
                  <a:lnTo>
                    <a:pt x="4658" y="16193"/>
                  </a:lnTo>
                  <a:lnTo>
                    <a:pt x="4456" y="16263"/>
                  </a:lnTo>
                  <a:lnTo>
                    <a:pt x="4251" y="16306"/>
                  </a:lnTo>
                  <a:lnTo>
                    <a:pt x="4043" y="16320"/>
                  </a:lnTo>
                  <a:lnTo>
                    <a:pt x="3834" y="16306"/>
                  </a:lnTo>
                  <a:lnTo>
                    <a:pt x="3629" y="16263"/>
                  </a:lnTo>
                  <a:lnTo>
                    <a:pt x="3427" y="16193"/>
                  </a:lnTo>
                  <a:lnTo>
                    <a:pt x="3228" y="16098"/>
                  </a:lnTo>
                  <a:lnTo>
                    <a:pt x="3032" y="15978"/>
                  </a:lnTo>
                  <a:lnTo>
                    <a:pt x="2840" y="15837"/>
                  </a:lnTo>
                  <a:lnTo>
                    <a:pt x="2653" y="15673"/>
                  </a:lnTo>
                  <a:lnTo>
                    <a:pt x="2469" y="15492"/>
                  </a:lnTo>
                  <a:lnTo>
                    <a:pt x="2290" y="15291"/>
                  </a:lnTo>
                  <a:lnTo>
                    <a:pt x="2116" y="15074"/>
                  </a:lnTo>
                  <a:lnTo>
                    <a:pt x="1947" y="14841"/>
                  </a:lnTo>
                  <a:lnTo>
                    <a:pt x="1783" y="14594"/>
                  </a:lnTo>
                  <a:lnTo>
                    <a:pt x="1624" y="14335"/>
                  </a:lnTo>
                  <a:lnTo>
                    <a:pt x="1472" y="14065"/>
                  </a:lnTo>
                  <a:lnTo>
                    <a:pt x="1324" y="13785"/>
                  </a:lnTo>
                  <a:lnTo>
                    <a:pt x="1184" y="13498"/>
                  </a:lnTo>
                  <a:lnTo>
                    <a:pt x="1050" y="13203"/>
                  </a:lnTo>
                  <a:lnTo>
                    <a:pt x="923" y="12904"/>
                  </a:lnTo>
                  <a:lnTo>
                    <a:pt x="803" y="12600"/>
                  </a:lnTo>
                  <a:lnTo>
                    <a:pt x="690" y="12294"/>
                  </a:lnTo>
                  <a:lnTo>
                    <a:pt x="585" y="11988"/>
                  </a:lnTo>
                  <a:lnTo>
                    <a:pt x="488" y="11682"/>
                  </a:lnTo>
                  <a:lnTo>
                    <a:pt x="398" y="11377"/>
                  </a:lnTo>
                  <a:lnTo>
                    <a:pt x="318" y="11077"/>
                  </a:lnTo>
                  <a:lnTo>
                    <a:pt x="245" y="10781"/>
                  </a:lnTo>
                  <a:lnTo>
                    <a:pt x="182" y="10492"/>
                  </a:lnTo>
                  <a:lnTo>
                    <a:pt x="127" y="10210"/>
                  </a:lnTo>
                  <a:lnTo>
                    <a:pt x="82" y="9937"/>
                  </a:lnTo>
                  <a:lnTo>
                    <a:pt x="47" y="9675"/>
                  </a:lnTo>
                  <a:lnTo>
                    <a:pt x="21" y="9426"/>
                  </a:lnTo>
                  <a:lnTo>
                    <a:pt x="5" y="9189"/>
                  </a:lnTo>
                  <a:lnTo>
                    <a:pt x="0" y="8968"/>
                  </a:lnTo>
                  <a:lnTo>
                    <a:pt x="5" y="8741"/>
                  </a:lnTo>
                  <a:lnTo>
                    <a:pt x="21" y="8492"/>
                  </a:lnTo>
                  <a:lnTo>
                    <a:pt x="47" y="8220"/>
                  </a:lnTo>
                  <a:lnTo>
                    <a:pt x="82" y="7928"/>
                  </a:lnTo>
                  <a:lnTo>
                    <a:pt x="127" y="7619"/>
                  </a:lnTo>
                  <a:lnTo>
                    <a:pt x="182" y="7295"/>
                  </a:lnTo>
                  <a:lnTo>
                    <a:pt x="245" y="6956"/>
                  </a:lnTo>
                  <a:lnTo>
                    <a:pt x="318" y="6606"/>
                  </a:lnTo>
                  <a:lnTo>
                    <a:pt x="398" y="6246"/>
                  </a:lnTo>
                  <a:lnTo>
                    <a:pt x="488" y="5879"/>
                  </a:lnTo>
                  <a:lnTo>
                    <a:pt x="585" y="5506"/>
                  </a:lnTo>
                  <a:lnTo>
                    <a:pt x="690" y="5130"/>
                  </a:lnTo>
                  <a:lnTo>
                    <a:pt x="803" y="4752"/>
                  </a:lnTo>
                  <a:lnTo>
                    <a:pt x="923" y="4375"/>
                  </a:lnTo>
                  <a:lnTo>
                    <a:pt x="1050" y="4000"/>
                  </a:lnTo>
                  <a:lnTo>
                    <a:pt x="1184" y="3630"/>
                  </a:lnTo>
                  <a:lnTo>
                    <a:pt x="1324" y="3267"/>
                  </a:lnTo>
                  <a:lnTo>
                    <a:pt x="1472" y="2912"/>
                  </a:lnTo>
                  <a:lnTo>
                    <a:pt x="1624" y="2568"/>
                  </a:lnTo>
                  <a:lnTo>
                    <a:pt x="1783" y="2237"/>
                  </a:lnTo>
                  <a:lnTo>
                    <a:pt x="1947" y="1921"/>
                  </a:lnTo>
                  <a:lnTo>
                    <a:pt x="2116" y="1622"/>
                  </a:lnTo>
                  <a:lnTo>
                    <a:pt x="2290" y="1340"/>
                  </a:lnTo>
                  <a:lnTo>
                    <a:pt x="2469" y="1081"/>
                  </a:lnTo>
                  <a:lnTo>
                    <a:pt x="2653" y="845"/>
                  </a:lnTo>
                  <a:lnTo>
                    <a:pt x="2840" y="632"/>
                  </a:lnTo>
                  <a:lnTo>
                    <a:pt x="3032" y="448"/>
                  </a:lnTo>
                  <a:lnTo>
                    <a:pt x="3228" y="292"/>
                  </a:lnTo>
                  <a:lnTo>
                    <a:pt x="3427" y="167"/>
                  </a:lnTo>
                  <a:lnTo>
                    <a:pt x="3629" y="75"/>
                  </a:lnTo>
                  <a:lnTo>
                    <a:pt x="3834" y="19"/>
                  </a:lnTo>
                  <a:lnTo>
                    <a:pt x="4043" y="0"/>
                  </a:lnTo>
                  <a:close/>
                </a:path>
              </a:pathLst>
            </a:custGeom>
            <a:solidFill>
              <a:schemeClr val="accent3"/>
            </a:solidFill>
            <a:ln w="76200">
              <a:solidFill>
                <a:schemeClr val="bg1"/>
              </a:solidFill>
              <a:round/>
              <a:headEnd/>
              <a:tailEnd/>
            </a:ln>
            <a:effectLst>
              <a:outerShdw blurRad="1270000" dist="685800" dir="5400000" sx="84000" sy="84000" algn="t" rotWithShape="0">
                <a:prstClr val="black">
                  <a:alpha val="15000"/>
                </a:prstClr>
              </a:outerShdw>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4" name="Freeform 8">
              <a:extLst>
                <a:ext uri="{FF2B5EF4-FFF2-40B4-BE49-F238E27FC236}">
                  <a16:creationId xmlns:a16="http://schemas.microsoft.com/office/drawing/2014/main" id="{F4A08C33-C334-4F92-93D9-93A88DD18E87}"/>
                </a:ext>
              </a:extLst>
            </p:cNvPr>
            <p:cNvSpPr>
              <a:spLocks/>
            </p:cNvSpPr>
            <p:nvPr/>
          </p:nvSpPr>
          <p:spPr bwMode="auto">
            <a:xfrm rot="6300000">
              <a:off x="5316975" y="1593454"/>
              <a:ext cx="1176660" cy="593787"/>
            </a:xfrm>
            <a:custGeom>
              <a:avLst/>
              <a:gdLst>
                <a:gd name="T0" fmla="*/ 4456 w 8085"/>
                <a:gd name="T1" fmla="*/ 75 h 16320"/>
                <a:gd name="T2" fmla="*/ 5053 w 8085"/>
                <a:gd name="T3" fmla="*/ 448 h 16320"/>
                <a:gd name="T4" fmla="*/ 5616 w 8085"/>
                <a:gd name="T5" fmla="*/ 1081 h 16320"/>
                <a:gd name="T6" fmla="*/ 6138 w 8085"/>
                <a:gd name="T7" fmla="*/ 1921 h 16320"/>
                <a:gd name="T8" fmla="*/ 6613 w 8085"/>
                <a:gd name="T9" fmla="*/ 2912 h 16320"/>
                <a:gd name="T10" fmla="*/ 7035 w 8085"/>
                <a:gd name="T11" fmla="*/ 4000 h 16320"/>
                <a:gd name="T12" fmla="*/ 7395 w 8085"/>
                <a:gd name="T13" fmla="*/ 5130 h 16320"/>
                <a:gd name="T14" fmla="*/ 7687 w 8085"/>
                <a:gd name="T15" fmla="*/ 6246 h 16320"/>
                <a:gd name="T16" fmla="*/ 7903 w 8085"/>
                <a:gd name="T17" fmla="*/ 7295 h 16320"/>
                <a:gd name="T18" fmla="*/ 8038 w 8085"/>
                <a:gd name="T19" fmla="*/ 8220 h 16320"/>
                <a:gd name="T20" fmla="*/ 8085 w 8085"/>
                <a:gd name="T21" fmla="*/ 8968 h 16320"/>
                <a:gd name="T22" fmla="*/ 8038 w 8085"/>
                <a:gd name="T23" fmla="*/ 9675 h 16320"/>
                <a:gd name="T24" fmla="*/ 7903 w 8085"/>
                <a:gd name="T25" fmla="*/ 10492 h 16320"/>
                <a:gd name="T26" fmla="*/ 7687 w 8085"/>
                <a:gd name="T27" fmla="*/ 11377 h 16320"/>
                <a:gd name="T28" fmla="*/ 7395 w 8085"/>
                <a:gd name="T29" fmla="*/ 12294 h 16320"/>
                <a:gd name="T30" fmla="*/ 7035 w 8085"/>
                <a:gd name="T31" fmla="*/ 13203 h 16320"/>
                <a:gd name="T32" fmla="*/ 6613 w 8085"/>
                <a:gd name="T33" fmla="*/ 14065 h 16320"/>
                <a:gd name="T34" fmla="*/ 6138 w 8085"/>
                <a:gd name="T35" fmla="*/ 14841 h 16320"/>
                <a:gd name="T36" fmla="*/ 5616 w 8085"/>
                <a:gd name="T37" fmla="*/ 15492 h 16320"/>
                <a:gd name="T38" fmla="*/ 5053 w 8085"/>
                <a:gd name="T39" fmla="*/ 15978 h 16320"/>
                <a:gd name="T40" fmla="*/ 4456 w 8085"/>
                <a:gd name="T41" fmla="*/ 16263 h 16320"/>
                <a:gd name="T42" fmla="*/ 3834 w 8085"/>
                <a:gd name="T43" fmla="*/ 16306 h 16320"/>
                <a:gd name="T44" fmla="*/ 3228 w 8085"/>
                <a:gd name="T45" fmla="*/ 16098 h 16320"/>
                <a:gd name="T46" fmla="*/ 2653 w 8085"/>
                <a:gd name="T47" fmla="*/ 15673 h 16320"/>
                <a:gd name="T48" fmla="*/ 2116 w 8085"/>
                <a:gd name="T49" fmla="*/ 15074 h 16320"/>
                <a:gd name="T50" fmla="*/ 1624 w 8085"/>
                <a:gd name="T51" fmla="*/ 14335 h 16320"/>
                <a:gd name="T52" fmla="*/ 1184 w 8085"/>
                <a:gd name="T53" fmla="*/ 13498 h 16320"/>
                <a:gd name="T54" fmla="*/ 803 w 8085"/>
                <a:gd name="T55" fmla="*/ 12600 h 16320"/>
                <a:gd name="T56" fmla="*/ 488 w 8085"/>
                <a:gd name="T57" fmla="*/ 11682 h 16320"/>
                <a:gd name="T58" fmla="*/ 245 w 8085"/>
                <a:gd name="T59" fmla="*/ 10781 h 16320"/>
                <a:gd name="T60" fmla="*/ 82 w 8085"/>
                <a:gd name="T61" fmla="*/ 9937 h 16320"/>
                <a:gd name="T62" fmla="*/ 5 w 8085"/>
                <a:gd name="T63" fmla="*/ 9189 h 16320"/>
                <a:gd name="T64" fmla="*/ 21 w 8085"/>
                <a:gd name="T65" fmla="*/ 8492 h 16320"/>
                <a:gd name="T66" fmla="*/ 127 w 8085"/>
                <a:gd name="T67" fmla="*/ 7619 h 16320"/>
                <a:gd name="T68" fmla="*/ 318 w 8085"/>
                <a:gd name="T69" fmla="*/ 6606 h 16320"/>
                <a:gd name="T70" fmla="*/ 585 w 8085"/>
                <a:gd name="T71" fmla="*/ 5506 h 16320"/>
                <a:gd name="T72" fmla="*/ 923 w 8085"/>
                <a:gd name="T73" fmla="*/ 4375 h 16320"/>
                <a:gd name="T74" fmla="*/ 1324 w 8085"/>
                <a:gd name="T75" fmla="*/ 3267 h 16320"/>
                <a:gd name="T76" fmla="*/ 1783 w 8085"/>
                <a:gd name="T77" fmla="*/ 2237 h 16320"/>
                <a:gd name="T78" fmla="*/ 2290 w 8085"/>
                <a:gd name="T79" fmla="*/ 1340 h 16320"/>
                <a:gd name="T80" fmla="*/ 2840 w 8085"/>
                <a:gd name="T81" fmla="*/ 632 h 16320"/>
                <a:gd name="T82" fmla="*/ 3427 w 8085"/>
                <a:gd name="T83" fmla="*/ 167 h 16320"/>
                <a:gd name="T84" fmla="*/ 4043 w 8085"/>
                <a:gd name="T85" fmla="*/ 0 h 16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085" h="16320">
                  <a:moveTo>
                    <a:pt x="4043" y="0"/>
                  </a:moveTo>
                  <a:lnTo>
                    <a:pt x="4251" y="19"/>
                  </a:lnTo>
                  <a:lnTo>
                    <a:pt x="4456" y="75"/>
                  </a:lnTo>
                  <a:lnTo>
                    <a:pt x="4658" y="167"/>
                  </a:lnTo>
                  <a:lnTo>
                    <a:pt x="4857" y="292"/>
                  </a:lnTo>
                  <a:lnTo>
                    <a:pt x="5053" y="448"/>
                  </a:lnTo>
                  <a:lnTo>
                    <a:pt x="5245" y="632"/>
                  </a:lnTo>
                  <a:lnTo>
                    <a:pt x="5432" y="845"/>
                  </a:lnTo>
                  <a:lnTo>
                    <a:pt x="5616" y="1081"/>
                  </a:lnTo>
                  <a:lnTo>
                    <a:pt x="5795" y="1340"/>
                  </a:lnTo>
                  <a:lnTo>
                    <a:pt x="5969" y="1622"/>
                  </a:lnTo>
                  <a:lnTo>
                    <a:pt x="6138" y="1921"/>
                  </a:lnTo>
                  <a:lnTo>
                    <a:pt x="6302" y="2237"/>
                  </a:lnTo>
                  <a:lnTo>
                    <a:pt x="6461" y="2568"/>
                  </a:lnTo>
                  <a:lnTo>
                    <a:pt x="6613" y="2912"/>
                  </a:lnTo>
                  <a:lnTo>
                    <a:pt x="6761" y="3267"/>
                  </a:lnTo>
                  <a:lnTo>
                    <a:pt x="6901" y="3630"/>
                  </a:lnTo>
                  <a:lnTo>
                    <a:pt x="7035" y="4000"/>
                  </a:lnTo>
                  <a:lnTo>
                    <a:pt x="7162" y="4375"/>
                  </a:lnTo>
                  <a:lnTo>
                    <a:pt x="7282" y="4752"/>
                  </a:lnTo>
                  <a:lnTo>
                    <a:pt x="7395" y="5130"/>
                  </a:lnTo>
                  <a:lnTo>
                    <a:pt x="7500" y="5506"/>
                  </a:lnTo>
                  <a:lnTo>
                    <a:pt x="7597" y="5879"/>
                  </a:lnTo>
                  <a:lnTo>
                    <a:pt x="7687" y="6246"/>
                  </a:lnTo>
                  <a:lnTo>
                    <a:pt x="7767" y="6606"/>
                  </a:lnTo>
                  <a:lnTo>
                    <a:pt x="7840" y="6956"/>
                  </a:lnTo>
                  <a:lnTo>
                    <a:pt x="7903" y="7295"/>
                  </a:lnTo>
                  <a:lnTo>
                    <a:pt x="7958" y="7619"/>
                  </a:lnTo>
                  <a:lnTo>
                    <a:pt x="8003" y="7928"/>
                  </a:lnTo>
                  <a:lnTo>
                    <a:pt x="8038" y="8220"/>
                  </a:lnTo>
                  <a:lnTo>
                    <a:pt x="8064" y="8492"/>
                  </a:lnTo>
                  <a:lnTo>
                    <a:pt x="8080" y="8741"/>
                  </a:lnTo>
                  <a:lnTo>
                    <a:pt x="8085" y="8968"/>
                  </a:lnTo>
                  <a:lnTo>
                    <a:pt x="8080" y="9189"/>
                  </a:lnTo>
                  <a:lnTo>
                    <a:pt x="8064" y="9426"/>
                  </a:lnTo>
                  <a:lnTo>
                    <a:pt x="8038" y="9675"/>
                  </a:lnTo>
                  <a:lnTo>
                    <a:pt x="8003" y="9937"/>
                  </a:lnTo>
                  <a:lnTo>
                    <a:pt x="7958" y="10210"/>
                  </a:lnTo>
                  <a:lnTo>
                    <a:pt x="7903" y="10492"/>
                  </a:lnTo>
                  <a:lnTo>
                    <a:pt x="7840" y="10781"/>
                  </a:lnTo>
                  <a:lnTo>
                    <a:pt x="7767" y="11077"/>
                  </a:lnTo>
                  <a:lnTo>
                    <a:pt x="7687" y="11377"/>
                  </a:lnTo>
                  <a:lnTo>
                    <a:pt x="7597" y="11682"/>
                  </a:lnTo>
                  <a:lnTo>
                    <a:pt x="7500" y="11988"/>
                  </a:lnTo>
                  <a:lnTo>
                    <a:pt x="7395" y="12294"/>
                  </a:lnTo>
                  <a:lnTo>
                    <a:pt x="7282" y="12600"/>
                  </a:lnTo>
                  <a:lnTo>
                    <a:pt x="7162" y="12904"/>
                  </a:lnTo>
                  <a:lnTo>
                    <a:pt x="7035" y="13203"/>
                  </a:lnTo>
                  <a:lnTo>
                    <a:pt x="6901" y="13498"/>
                  </a:lnTo>
                  <a:lnTo>
                    <a:pt x="6761" y="13785"/>
                  </a:lnTo>
                  <a:lnTo>
                    <a:pt x="6613" y="14065"/>
                  </a:lnTo>
                  <a:lnTo>
                    <a:pt x="6461" y="14335"/>
                  </a:lnTo>
                  <a:lnTo>
                    <a:pt x="6302" y="14594"/>
                  </a:lnTo>
                  <a:lnTo>
                    <a:pt x="6138" y="14841"/>
                  </a:lnTo>
                  <a:lnTo>
                    <a:pt x="5969" y="15074"/>
                  </a:lnTo>
                  <a:lnTo>
                    <a:pt x="5795" y="15291"/>
                  </a:lnTo>
                  <a:lnTo>
                    <a:pt x="5616" y="15492"/>
                  </a:lnTo>
                  <a:lnTo>
                    <a:pt x="5432" y="15673"/>
                  </a:lnTo>
                  <a:lnTo>
                    <a:pt x="5245" y="15837"/>
                  </a:lnTo>
                  <a:lnTo>
                    <a:pt x="5053" y="15978"/>
                  </a:lnTo>
                  <a:lnTo>
                    <a:pt x="4857" y="16098"/>
                  </a:lnTo>
                  <a:lnTo>
                    <a:pt x="4658" y="16193"/>
                  </a:lnTo>
                  <a:lnTo>
                    <a:pt x="4456" y="16263"/>
                  </a:lnTo>
                  <a:lnTo>
                    <a:pt x="4251" y="16306"/>
                  </a:lnTo>
                  <a:lnTo>
                    <a:pt x="4043" y="16320"/>
                  </a:lnTo>
                  <a:lnTo>
                    <a:pt x="3834" y="16306"/>
                  </a:lnTo>
                  <a:lnTo>
                    <a:pt x="3629" y="16263"/>
                  </a:lnTo>
                  <a:lnTo>
                    <a:pt x="3427" y="16193"/>
                  </a:lnTo>
                  <a:lnTo>
                    <a:pt x="3228" y="16098"/>
                  </a:lnTo>
                  <a:lnTo>
                    <a:pt x="3032" y="15978"/>
                  </a:lnTo>
                  <a:lnTo>
                    <a:pt x="2840" y="15837"/>
                  </a:lnTo>
                  <a:lnTo>
                    <a:pt x="2653" y="15673"/>
                  </a:lnTo>
                  <a:lnTo>
                    <a:pt x="2469" y="15492"/>
                  </a:lnTo>
                  <a:lnTo>
                    <a:pt x="2290" y="15291"/>
                  </a:lnTo>
                  <a:lnTo>
                    <a:pt x="2116" y="15074"/>
                  </a:lnTo>
                  <a:lnTo>
                    <a:pt x="1947" y="14841"/>
                  </a:lnTo>
                  <a:lnTo>
                    <a:pt x="1783" y="14594"/>
                  </a:lnTo>
                  <a:lnTo>
                    <a:pt x="1624" y="14335"/>
                  </a:lnTo>
                  <a:lnTo>
                    <a:pt x="1472" y="14065"/>
                  </a:lnTo>
                  <a:lnTo>
                    <a:pt x="1324" y="13785"/>
                  </a:lnTo>
                  <a:lnTo>
                    <a:pt x="1184" y="13498"/>
                  </a:lnTo>
                  <a:lnTo>
                    <a:pt x="1050" y="13203"/>
                  </a:lnTo>
                  <a:lnTo>
                    <a:pt x="923" y="12904"/>
                  </a:lnTo>
                  <a:lnTo>
                    <a:pt x="803" y="12600"/>
                  </a:lnTo>
                  <a:lnTo>
                    <a:pt x="690" y="12294"/>
                  </a:lnTo>
                  <a:lnTo>
                    <a:pt x="585" y="11988"/>
                  </a:lnTo>
                  <a:lnTo>
                    <a:pt x="488" y="11682"/>
                  </a:lnTo>
                  <a:lnTo>
                    <a:pt x="398" y="11377"/>
                  </a:lnTo>
                  <a:lnTo>
                    <a:pt x="318" y="11077"/>
                  </a:lnTo>
                  <a:lnTo>
                    <a:pt x="245" y="10781"/>
                  </a:lnTo>
                  <a:lnTo>
                    <a:pt x="182" y="10492"/>
                  </a:lnTo>
                  <a:lnTo>
                    <a:pt x="127" y="10210"/>
                  </a:lnTo>
                  <a:lnTo>
                    <a:pt x="82" y="9937"/>
                  </a:lnTo>
                  <a:lnTo>
                    <a:pt x="47" y="9675"/>
                  </a:lnTo>
                  <a:lnTo>
                    <a:pt x="21" y="9426"/>
                  </a:lnTo>
                  <a:lnTo>
                    <a:pt x="5" y="9189"/>
                  </a:lnTo>
                  <a:lnTo>
                    <a:pt x="0" y="8968"/>
                  </a:lnTo>
                  <a:lnTo>
                    <a:pt x="5" y="8741"/>
                  </a:lnTo>
                  <a:lnTo>
                    <a:pt x="21" y="8492"/>
                  </a:lnTo>
                  <a:lnTo>
                    <a:pt x="47" y="8220"/>
                  </a:lnTo>
                  <a:lnTo>
                    <a:pt x="82" y="7928"/>
                  </a:lnTo>
                  <a:lnTo>
                    <a:pt x="127" y="7619"/>
                  </a:lnTo>
                  <a:lnTo>
                    <a:pt x="182" y="7295"/>
                  </a:lnTo>
                  <a:lnTo>
                    <a:pt x="245" y="6956"/>
                  </a:lnTo>
                  <a:lnTo>
                    <a:pt x="318" y="6606"/>
                  </a:lnTo>
                  <a:lnTo>
                    <a:pt x="398" y="6246"/>
                  </a:lnTo>
                  <a:lnTo>
                    <a:pt x="488" y="5879"/>
                  </a:lnTo>
                  <a:lnTo>
                    <a:pt x="585" y="5506"/>
                  </a:lnTo>
                  <a:lnTo>
                    <a:pt x="690" y="5130"/>
                  </a:lnTo>
                  <a:lnTo>
                    <a:pt x="803" y="4752"/>
                  </a:lnTo>
                  <a:lnTo>
                    <a:pt x="923" y="4375"/>
                  </a:lnTo>
                  <a:lnTo>
                    <a:pt x="1050" y="4000"/>
                  </a:lnTo>
                  <a:lnTo>
                    <a:pt x="1184" y="3630"/>
                  </a:lnTo>
                  <a:lnTo>
                    <a:pt x="1324" y="3267"/>
                  </a:lnTo>
                  <a:lnTo>
                    <a:pt x="1472" y="2912"/>
                  </a:lnTo>
                  <a:lnTo>
                    <a:pt x="1624" y="2568"/>
                  </a:lnTo>
                  <a:lnTo>
                    <a:pt x="1783" y="2237"/>
                  </a:lnTo>
                  <a:lnTo>
                    <a:pt x="1947" y="1921"/>
                  </a:lnTo>
                  <a:lnTo>
                    <a:pt x="2116" y="1622"/>
                  </a:lnTo>
                  <a:lnTo>
                    <a:pt x="2290" y="1340"/>
                  </a:lnTo>
                  <a:lnTo>
                    <a:pt x="2469" y="1081"/>
                  </a:lnTo>
                  <a:lnTo>
                    <a:pt x="2653" y="845"/>
                  </a:lnTo>
                  <a:lnTo>
                    <a:pt x="2840" y="632"/>
                  </a:lnTo>
                  <a:lnTo>
                    <a:pt x="3032" y="448"/>
                  </a:lnTo>
                  <a:lnTo>
                    <a:pt x="3228" y="292"/>
                  </a:lnTo>
                  <a:lnTo>
                    <a:pt x="3427" y="167"/>
                  </a:lnTo>
                  <a:lnTo>
                    <a:pt x="3629" y="75"/>
                  </a:lnTo>
                  <a:lnTo>
                    <a:pt x="3834" y="19"/>
                  </a:lnTo>
                  <a:lnTo>
                    <a:pt x="4043"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lumMod val="50000"/>
                  </a:srgbClr>
                </a:solidFill>
                <a:effectLst/>
                <a:uLnTx/>
                <a:uFillTx/>
                <a:latin typeface="等线 Light" panose="020F0302020204030204"/>
                <a:ea typeface="+mn-ea"/>
                <a:cs typeface="+mn-cs"/>
              </a:endParaRPr>
            </a:p>
          </p:txBody>
        </p:sp>
        <p:sp>
          <p:nvSpPr>
            <p:cNvPr id="5" name="Freeform 9">
              <a:extLst>
                <a:ext uri="{FF2B5EF4-FFF2-40B4-BE49-F238E27FC236}">
                  <a16:creationId xmlns:a16="http://schemas.microsoft.com/office/drawing/2014/main" id="{7253C11A-D4C7-43ED-A38C-09943CCDAD91}"/>
                </a:ext>
              </a:extLst>
            </p:cNvPr>
            <p:cNvSpPr>
              <a:spLocks/>
            </p:cNvSpPr>
            <p:nvPr/>
          </p:nvSpPr>
          <p:spPr bwMode="auto">
            <a:xfrm rot="900000">
              <a:off x="4236737" y="2204714"/>
              <a:ext cx="1176660" cy="593787"/>
            </a:xfrm>
            <a:custGeom>
              <a:avLst/>
              <a:gdLst>
                <a:gd name="T0" fmla="*/ 4456 w 8085"/>
                <a:gd name="T1" fmla="*/ 75 h 16320"/>
                <a:gd name="T2" fmla="*/ 5053 w 8085"/>
                <a:gd name="T3" fmla="*/ 448 h 16320"/>
                <a:gd name="T4" fmla="*/ 5616 w 8085"/>
                <a:gd name="T5" fmla="*/ 1081 h 16320"/>
                <a:gd name="T6" fmla="*/ 6138 w 8085"/>
                <a:gd name="T7" fmla="*/ 1921 h 16320"/>
                <a:gd name="T8" fmla="*/ 6613 w 8085"/>
                <a:gd name="T9" fmla="*/ 2912 h 16320"/>
                <a:gd name="T10" fmla="*/ 7035 w 8085"/>
                <a:gd name="T11" fmla="*/ 4000 h 16320"/>
                <a:gd name="T12" fmla="*/ 7395 w 8085"/>
                <a:gd name="T13" fmla="*/ 5130 h 16320"/>
                <a:gd name="T14" fmla="*/ 7687 w 8085"/>
                <a:gd name="T15" fmla="*/ 6246 h 16320"/>
                <a:gd name="T16" fmla="*/ 7903 w 8085"/>
                <a:gd name="T17" fmla="*/ 7295 h 16320"/>
                <a:gd name="T18" fmla="*/ 8038 w 8085"/>
                <a:gd name="T19" fmla="*/ 8220 h 16320"/>
                <a:gd name="T20" fmla="*/ 8085 w 8085"/>
                <a:gd name="T21" fmla="*/ 8968 h 16320"/>
                <a:gd name="T22" fmla="*/ 8038 w 8085"/>
                <a:gd name="T23" fmla="*/ 9675 h 16320"/>
                <a:gd name="T24" fmla="*/ 7903 w 8085"/>
                <a:gd name="T25" fmla="*/ 10492 h 16320"/>
                <a:gd name="T26" fmla="*/ 7687 w 8085"/>
                <a:gd name="T27" fmla="*/ 11377 h 16320"/>
                <a:gd name="T28" fmla="*/ 7395 w 8085"/>
                <a:gd name="T29" fmla="*/ 12294 h 16320"/>
                <a:gd name="T30" fmla="*/ 7035 w 8085"/>
                <a:gd name="T31" fmla="*/ 13203 h 16320"/>
                <a:gd name="T32" fmla="*/ 6613 w 8085"/>
                <a:gd name="T33" fmla="*/ 14065 h 16320"/>
                <a:gd name="T34" fmla="*/ 6138 w 8085"/>
                <a:gd name="T35" fmla="*/ 14841 h 16320"/>
                <a:gd name="T36" fmla="*/ 5616 w 8085"/>
                <a:gd name="T37" fmla="*/ 15492 h 16320"/>
                <a:gd name="T38" fmla="*/ 5053 w 8085"/>
                <a:gd name="T39" fmla="*/ 15978 h 16320"/>
                <a:gd name="T40" fmla="*/ 4456 w 8085"/>
                <a:gd name="T41" fmla="*/ 16263 h 16320"/>
                <a:gd name="T42" fmla="*/ 3834 w 8085"/>
                <a:gd name="T43" fmla="*/ 16306 h 16320"/>
                <a:gd name="T44" fmla="*/ 3228 w 8085"/>
                <a:gd name="T45" fmla="*/ 16098 h 16320"/>
                <a:gd name="T46" fmla="*/ 2653 w 8085"/>
                <a:gd name="T47" fmla="*/ 15673 h 16320"/>
                <a:gd name="T48" fmla="*/ 2116 w 8085"/>
                <a:gd name="T49" fmla="*/ 15074 h 16320"/>
                <a:gd name="T50" fmla="*/ 1624 w 8085"/>
                <a:gd name="T51" fmla="*/ 14335 h 16320"/>
                <a:gd name="T52" fmla="*/ 1184 w 8085"/>
                <a:gd name="T53" fmla="*/ 13498 h 16320"/>
                <a:gd name="T54" fmla="*/ 803 w 8085"/>
                <a:gd name="T55" fmla="*/ 12600 h 16320"/>
                <a:gd name="T56" fmla="*/ 488 w 8085"/>
                <a:gd name="T57" fmla="*/ 11682 h 16320"/>
                <a:gd name="T58" fmla="*/ 245 w 8085"/>
                <a:gd name="T59" fmla="*/ 10781 h 16320"/>
                <a:gd name="T60" fmla="*/ 82 w 8085"/>
                <a:gd name="T61" fmla="*/ 9937 h 16320"/>
                <a:gd name="T62" fmla="*/ 5 w 8085"/>
                <a:gd name="T63" fmla="*/ 9189 h 16320"/>
                <a:gd name="T64" fmla="*/ 21 w 8085"/>
                <a:gd name="T65" fmla="*/ 8492 h 16320"/>
                <a:gd name="T66" fmla="*/ 127 w 8085"/>
                <a:gd name="T67" fmla="*/ 7619 h 16320"/>
                <a:gd name="T68" fmla="*/ 318 w 8085"/>
                <a:gd name="T69" fmla="*/ 6606 h 16320"/>
                <a:gd name="T70" fmla="*/ 585 w 8085"/>
                <a:gd name="T71" fmla="*/ 5506 h 16320"/>
                <a:gd name="T72" fmla="*/ 923 w 8085"/>
                <a:gd name="T73" fmla="*/ 4375 h 16320"/>
                <a:gd name="T74" fmla="*/ 1324 w 8085"/>
                <a:gd name="T75" fmla="*/ 3267 h 16320"/>
                <a:gd name="T76" fmla="*/ 1783 w 8085"/>
                <a:gd name="T77" fmla="*/ 2237 h 16320"/>
                <a:gd name="T78" fmla="*/ 2290 w 8085"/>
                <a:gd name="T79" fmla="*/ 1340 h 16320"/>
                <a:gd name="T80" fmla="*/ 2840 w 8085"/>
                <a:gd name="T81" fmla="*/ 632 h 16320"/>
                <a:gd name="T82" fmla="*/ 3427 w 8085"/>
                <a:gd name="T83" fmla="*/ 167 h 16320"/>
                <a:gd name="T84" fmla="*/ 4043 w 8085"/>
                <a:gd name="T85" fmla="*/ 0 h 16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085" h="16320">
                  <a:moveTo>
                    <a:pt x="4043" y="0"/>
                  </a:moveTo>
                  <a:lnTo>
                    <a:pt x="4251" y="19"/>
                  </a:lnTo>
                  <a:lnTo>
                    <a:pt x="4456" y="75"/>
                  </a:lnTo>
                  <a:lnTo>
                    <a:pt x="4658" y="167"/>
                  </a:lnTo>
                  <a:lnTo>
                    <a:pt x="4857" y="292"/>
                  </a:lnTo>
                  <a:lnTo>
                    <a:pt x="5053" y="448"/>
                  </a:lnTo>
                  <a:lnTo>
                    <a:pt x="5245" y="632"/>
                  </a:lnTo>
                  <a:lnTo>
                    <a:pt x="5432" y="845"/>
                  </a:lnTo>
                  <a:lnTo>
                    <a:pt x="5616" y="1081"/>
                  </a:lnTo>
                  <a:lnTo>
                    <a:pt x="5795" y="1340"/>
                  </a:lnTo>
                  <a:lnTo>
                    <a:pt x="5969" y="1622"/>
                  </a:lnTo>
                  <a:lnTo>
                    <a:pt x="6138" y="1921"/>
                  </a:lnTo>
                  <a:lnTo>
                    <a:pt x="6302" y="2237"/>
                  </a:lnTo>
                  <a:lnTo>
                    <a:pt x="6461" y="2568"/>
                  </a:lnTo>
                  <a:lnTo>
                    <a:pt x="6613" y="2912"/>
                  </a:lnTo>
                  <a:lnTo>
                    <a:pt x="6761" y="3267"/>
                  </a:lnTo>
                  <a:lnTo>
                    <a:pt x="6901" y="3630"/>
                  </a:lnTo>
                  <a:lnTo>
                    <a:pt x="7035" y="4000"/>
                  </a:lnTo>
                  <a:lnTo>
                    <a:pt x="7162" y="4375"/>
                  </a:lnTo>
                  <a:lnTo>
                    <a:pt x="7282" y="4752"/>
                  </a:lnTo>
                  <a:lnTo>
                    <a:pt x="7395" y="5130"/>
                  </a:lnTo>
                  <a:lnTo>
                    <a:pt x="7500" y="5506"/>
                  </a:lnTo>
                  <a:lnTo>
                    <a:pt x="7597" y="5879"/>
                  </a:lnTo>
                  <a:lnTo>
                    <a:pt x="7687" y="6246"/>
                  </a:lnTo>
                  <a:lnTo>
                    <a:pt x="7767" y="6606"/>
                  </a:lnTo>
                  <a:lnTo>
                    <a:pt x="7840" y="6956"/>
                  </a:lnTo>
                  <a:lnTo>
                    <a:pt x="7903" y="7295"/>
                  </a:lnTo>
                  <a:lnTo>
                    <a:pt x="7958" y="7619"/>
                  </a:lnTo>
                  <a:lnTo>
                    <a:pt x="8003" y="7928"/>
                  </a:lnTo>
                  <a:lnTo>
                    <a:pt x="8038" y="8220"/>
                  </a:lnTo>
                  <a:lnTo>
                    <a:pt x="8064" y="8492"/>
                  </a:lnTo>
                  <a:lnTo>
                    <a:pt x="8080" y="8741"/>
                  </a:lnTo>
                  <a:lnTo>
                    <a:pt x="8085" y="8968"/>
                  </a:lnTo>
                  <a:lnTo>
                    <a:pt x="8080" y="9189"/>
                  </a:lnTo>
                  <a:lnTo>
                    <a:pt x="8064" y="9426"/>
                  </a:lnTo>
                  <a:lnTo>
                    <a:pt x="8038" y="9675"/>
                  </a:lnTo>
                  <a:lnTo>
                    <a:pt x="8003" y="9937"/>
                  </a:lnTo>
                  <a:lnTo>
                    <a:pt x="7958" y="10210"/>
                  </a:lnTo>
                  <a:lnTo>
                    <a:pt x="7903" y="10492"/>
                  </a:lnTo>
                  <a:lnTo>
                    <a:pt x="7840" y="10781"/>
                  </a:lnTo>
                  <a:lnTo>
                    <a:pt x="7767" y="11077"/>
                  </a:lnTo>
                  <a:lnTo>
                    <a:pt x="7687" y="11377"/>
                  </a:lnTo>
                  <a:lnTo>
                    <a:pt x="7597" y="11682"/>
                  </a:lnTo>
                  <a:lnTo>
                    <a:pt x="7500" y="11988"/>
                  </a:lnTo>
                  <a:lnTo>
                    <a:pt x="7395" y="12294"/>
                  </a:lnTo>
                  <a:lnTo>
                    <a:pt x="7282" y="12600"/>
                  </a:lnTo>
                  <a:lnTo>
                    <a:pt x="7162" y="12904"/>
                  </a:lnTo>
                  <a:lnTo>
                    <a:pt x="7035" y="13203"/>
                  </a:lnTo>
                  <a:lnTo>
                    <a:pt x="6901" y="13498"/>
                  </a:lnTo>
                  <a:lnTo>
                    <a:pt x="6761" y="13785"/>
                  </a:lnTo>
                  <a:lnTo>
                    <a:pt x="6613" y="14065"/>
                  </a:lnTo>
                  <a:lnTo>
                    <a:pt x="6461" y="14335"/>
                  </a:lnTo>
                  <a:lnTo>
                    <a:pt x="6302" y="14594"/>
                  </a:lnTo>
                  <a:lnTo>
                    <a:pt x="6138" y="14841"/>
                  </a:lnTo>
                  <a:lnTo>
                    <a:pt x="5969" y="15074"/>
                  </a:lnTo>
                  <a:lnTo>
                    <a:pt x="5795" y="15291"/>
                  </a:lnTo>
                  <a:lnTo>
                    <a:pt x="5616" y="15492"/>
                  </a:lnTo>
                  <a:lnTo>
                    <a:pt x="5432" y="15673"/>
                  </a:lnTo>
                  <a:lnTo>
                    <a:pt x="5245" y="15837"/>
                  </a:lnTo>
                  <a:lnTo>
                    <a:pt x="5053" y="15978"/>
                  </a:lnTo>
                  <a:lnTo>
                    <a:pt x="4857" y="16098"/>
                  </a:lnTo>
                  <a:lnTo>
                    <a:pt x="4658" y="16193"/>
                  </a:lnTo>
                  <a:lnTo>
                    <a:pt x="4456" y="16263"/>
                  </a:lnTo>
                  <a:lnTo>
                    <a:pt x="4251" y="16306"/>
                  </a:lnTo>
                  <a:lnTo>
                    <a:pt x="4043" y="16320"/>
                  </a:lnTo>
                  <a:lnTo>
                    <a:pt x="3834" y="16306"/>
                  </a:lnTo>
                  <a:lnTo>
                    <a:pt x="3629" y="16263"/>
                  </a:lnTo>
                  <a:lnTo>
                    <a:pt x="3427" y="16193"/>
                  </a:lnTo>
                  <a:lnTo>
                    <a:pt x="3228" y="16098"/>
                  </a:lnTo>
                  <a:lnTo>
                    <a:pt x="3032" y="15978"/>
                  </a:lnTo>
                  <a:lnTo>
                    <a:pt x="2840" y="15837"/>
                  </a:lnTo>
                  <a:lnTo>
                    <a:pt x="2653" y="15673"/>
                  </a:lnTo>
                  <a:lnTo>
                    <a:pt x="2469" y="15492"/>
                  </a:lnTo>
                  <a:lnTo>
                    <a:pt x="2290" y="15291"/>
                  </a:lnTo>
                  <a:lnTo>
                    <a:pt x="2116" y="15074"/>
                  </a:lnTo>
                  <a:lnTo>
                    <a:pt x="1947" y="14841"/>
                  </a:lnTo>
                  <a:lnTo>
                    <a:pt x="1783" y="14594"/>
                  </a:lnTo>
                  <a:lnTo>
                    <a:pt x="1624" y="14335"/>
                  </a:lnTo>
                  <a:lnTo>
                    <a:pt x="1472" y="14065"/>
                  </a:lnTo>
                  <a:lnTo>
                    <a:pt x="1324" y="13785"/>
                  </a:lnTo>
                  <a:lnTo>
                    <a:pt x="1184" y="13498"/>
                  </a:lnTo>
                  <a:lnTo>
                    <a:pt x="1050" y="13203"/>
                  </a:lnTo>
                  <a:lnTo>
                    <a:pt x="923" y="12904"/>
                  </a:lnTo>
                  <a:lnTo>
                    <a:pt x="803" y="12600"/>
                  </a:lnTo>
                  <a:lnTo>
                    <a:pt x="690" y="12294"/>
                  </a:lnTo>
                  <a:lnTo>
                    <a:pt x="585" y="11988"/>
                  </a:lnTo>
                  <a:lnTo>
                    <a:pt x="488" y="11682"/>
                  </a:lnTo>
                  <a:lnTo>
                    <a:pt x="398" y="11377"/>
                  </a:lnTo>
                  <a:lnTo>
                    <a:pt x="318" y="11077"/>
                  </a:lnTo>
                  <a:lnTo>
                    <a:pt x="245" y="10781"/>
                  </a:lnTo>
                  <a:lnTo>
                    <a:pt x="182" y="10492"/>
                  </a:lnTo>
                  <a:lnTo>
                    <a:pt x="127" y="10210"/>
                  </a:lnTo>
                  <a:lnTo>
                    <a:pt x="82" y="9937"/>
                  </a:lnTo>
                  <a:lnTo>
                    <a:pt x="47" y="9675"/>
                  </a:lnTo>
                  <a:lnTo>
                    <a:pt x="21" y="9426"/>
                  </a:lnTo>
                  <a:lnTo>
                    <a:pt x="5" y="9189"/>
                  </a:lnTo>
                  <a:lnTo>
                    <a:pt x="0" y="8968"/>
                  </a:lnTo>
                  <a:lnTo>
                    <a:pt x="5" y="8741"/>
                  </a:lnTo>
                  <a:lnTo>
                    <a:pt x="21" y="8492"/>
                  </a:lnTo>
                  <a:lnTo>
                    <a:pt x="47" y="8220"/>
                  </a:lnTo>
                  <a:lnTo>
                    <a:pt x="82" y="7928"/>
                  </a:lnTo>
                  <a:lnTo>
                    <a:pt x="127" y="7619"/>
                  </a:lnTo>
                  <a:lnTo>
                    <a:pt x="182" y="7295"/>
                  </a:lnTo>
                  <a:lnTo>
                    <a:pt x="245" y="6956"/>
                  </a:lnTo>
                  <a:lnTo>
                    <a:pt x="318" y="6606"/>
                  </a:lnTo>
                  <a:lnTo>
                    <a:pt x="398" y="6246"/>
                  </a:lnTo>
                  <a:lnTo>
                    <a:pt x="488" y="5879"/>
                  </a:lnTo>
                  <a:lnTo>
                    <a:pt x="585" y="5506"/>
                  </a:lnTo>
                  <a:lnTo>
                    <a:pt x="690" y="5130"/>
                  </a:lnTo>
                  <a:lnTo>
                    <a:pt x="803" y="4752"/>
                  </a:lnTo>
                  <a:lnTo>
                    <a:pt x="923" y="4375"/>
                  </a:lnTo>
                  <a:lnTo>
                    <a:pt x="1050" y="4000"/>
                  </a:lnTo>
                  <a:lnTo>
                    <a:pt x="1184" y="3630"/>
                  </a:lnTo>
                  <a:lnTo>
                    <a:pt x="1324" y="3267"/>
                  </a:lnTo>
                  <a:lnTo>
                    <a:pt x="1472" y="2912"/>
                  </a:lnTo>
                  <a:lnTo>
                    <a:pt x="1624" y="2568"/>
                  </a:lnTo>
                  <a:lnTo>
                    <a:pt x="1783" y="2237"/>
                  </a:lnTo>
                  <a:lnTo>
                    <a:pt x="1947" y="1921"/>
                  </a:lnTo>
                  <a:lnTo>
                    <a:pt x="2116" y="1622"/>
                  </a:lnTo>
                  <a:lnTo>
                    <a:pt x="2290" y="1340"/>
                  </a:lnTo>
                  <a:lnTo>
                    <a:pt x="2469" y="1081"/>
                  </a:lnTo>
                  <a:lnTo>
                    <a:pt x="2653" y="845"/>
                  </a:lnTo>
                  <a:lnTo>
                    <a:pt x="2840" y="632"/>
                  </a:lnTo>
                  <a:lnTo>
                    <a:pt x="3032" y="448"/>
                  </a:lnTo>
                  <a:lnTo>
                    <a:pt x="3228" y="292"/>
                  </a:lnTo>
                  <a:lnTo>
                    <a:pt x="3427" y="167"/>
                  </a:lnTo>
                  <a:lnTo>
                    <a:pt x="3629" y="75"/>
                  </a:lnTo>
                  <a:lnTo>
                    <a:pt x="3834" y="19"/>
                  </a:lnTo>
                  <a:lnTo>
                    <a:pt x="4043" y="0"/>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lumMod val="50000"/>
                  </a:srgbClr>
                </a:solidFill>
                <a:effectLst/>
                <a:uLnTx/>
                <a:uFillTx/>
                <a:latin typeface="等线 Light" panose="020F0302020204030204"/>
                <a:ea typeface="+mn-ea"/>
                <a:cs typeface="+mn-cs"/>
              </a:endParaRPr>
            </a:p>
          </p:txBody>
        </p:sp>
        <p:sp>
          <p:nvSpPr>
            <p:cNvPr id="6" name="Freeform 10">
              <a:extLst>
                <a:ext uri="{FF2B5EF4-FFF2-40B4-BE49-F238E27FC236}">
                  <a16:creationId xmlns:a16="http://schemas.microsoft.com/office/drawing/2014/main" id="{F002A4D1-7902-4059-AD4A-D5BE9E1FA4DD}"/>
                </a:ext>
              </a:extLst>
            </p:cNvPr>
            <p:cNvSpPr>
              <a:spLocks/>
            </p:cNvSpPr>
            <p:nvPr/>
          </p:nvSpPr>
          <p:spPr bwMode="auto">
            <a:xfrm rot="9000000">
              <a:off x="5813687" y="2224282"/>
              <a:ext cx="829073" cy="418383"/>
            </a:xfrm>
            <a:custGeom>
              <a:avLst/>
              <a:gdLst>
                <a:gd name="T0" fmla="*/ 4456 w 8085"/>
                <a:gd name="T1" fmla="*/ 75 h 16320"/>
                <a:gd name="T2" fmla="*/ 5053 w 8085"/>
                <a:gd name="T3" fmla="*/ 448 h 16320"/>
                <a:gd name="T4" fmla="*/ 5616 w 8085"/>
                <a:gd name="T5" fmla="*/ 1081 h 16320"/>
                <a:gd name="T6" fmla="*/ 6138 w 8085"/>
                <a:gd name="T7" fmla="*/ 1921 h 16320"/>
                <a:gd name="T8" fmla="*/ 6613 w 8085"/>
                <a:gd name="T9" fmla="*/ 2912 h 16320"/>
                <a:gd name="T10" fmla="*/ 7035 w 8085"/>
                <a:gd name="T11" fmla="*/ 4000 h 16320"/>
                <a:gd name="T12" fmla="*/ 7395 w 8085"/>
                <a:gd name="T13" fmla="*/ 5130 h 16320"/>
                <a:gd name="T14" fmla="*/ 7687 w 8085"/>
                <a:gd name="T15" fmla="*/ 6246 h 16320"/>
                <a:gd name="T16" fmla="*/ 7903 w 8085"/>
                <a:gd name="T17" fmla="*/ 7295 h 16320"/>
                <a:gd name="T18" fmla="*/ 8038 w 8085"/>
                <a:gd name="T19" fmla="*/ 8220 h 16320"/>
                <a:gd name="T20" fmla="*/ 8085 w 8085"/>
                <a:gd name="T21" fmla="*/ 8968 h 16320"/>
                <a:gd name="T22" fmla="*/ 8038 w 8085"/>
                <a:gd name="T23" fmla="*/ 9675 h 16320"/>
                <a:gd name="T24" fmla="*/ 7903 w 8085"/>
                <a:gd name="T25" fmla="*/ 10492 h 16320"/>
                <a:gd name="T26" fmla="*/ 7687 w 8085"/>
                <a:gd name="T27" fmla="*/ 11377 h 16320"/>
                <a:gd name="T28" fmla="*/ 7395 w 8085"/>
                <a:gd name="T29" fmla="*/ 12294 h 16320"/>
                <a:gd name="T30" fmla="*/ 7035 w 8085"/>
                <a:gd name="T31" fmla="*/ 13203 h 16320"/>
                <a:gd name="T32" fmla="*/ 6613 w 8085"/>
                <a:gd name="T33" fmla="*/ 14065 h 16320"/>
                <a:gd name="T34" fmla="*/ 6138 w 8085"/>
                <a:gd name="T35" fmla="*/ 14841 h 16320"/>
                <a:gd name="T36" fmla="*/ 5616 w 8085"/>
                <a:gd name="T37" fmla="*/ 15492 h 16320"/>
                <a:gd name="T38" fmla="*/ 5053 w 8085"/>
                <a:gd name="T39" fmla="*/ 15978 h 16320"/>
                <a:gd name="T40" fmla="*/ 4456 w 8085"/>
                <a:gd name="T41" fmla="*/ 16263 h 16320"/>
                <a:gd name="T42" fmla="*/ 3834 w 8085"/>
                <a:gd name="T43" fmla="*/ 16306 h 16320"/>
                <a:gd name="T44" fmla="*/ 3228 w 8085"/>
                <a:gd name="T45" fmla="*/ 16098 h 16320"/>
                <a:gd name="T46" fmla="*/ 2653 w 8085"/>
                <a:gd name="T47" fmla="*/ 15673 h 16320"/>
                <a:gd name="T48" fmla="*/ 2116 w 8085"/>
                <a:gd name="T49" fmla="*/ 15074 h 16320"/>
                <a:gd name="T50" fmla="*/ 1624 w 8085"/>
                <a:gd name="T51" fmla="*/ 14335 h 16320"/>
                <a:gd name="T52" fmla="*/ 1184 w 8085"/>
                <a:gd name="T53" fmla="*/ 13498 h 16320"/>
                <a:gd name="T54" fmla="*/ 803 w 8085"/>
                <a:gd name="T55" fmla="*/ 12600 h 16320"/>
                <a:gd name="T56" fmla="*/ 488 w 8085"/>
                <a:gd name="T57" fmla="*/ 11682 h 16320"/>
                <a:gd name="T58" fmla="*/ 245 w 8085"/>
                <a:gd name="T59" fmla="*/ 10781 h 16320"/>
                <a:gd name="T60" fmla="*/ 82 w 8085"/>
                <a:gd name="T61" fmla="*/ 9937 h 16320"/>
                <a:gd name="T62" fmla="*/ 5 w 8085"/>
                <a:gd name="T63" fmla="*/ 9189 h 16320"/>
                <a:gd name="T64" fmla="*/ 21 w 8085"/>
                <a:gd name="T65" fmla="*/ 8492 h 16320"/>
                <a:gd name="T66" fmla="*/ 127 w 8085"/>
                <a:gd name="T67" fmla="*/ 7619 h 16320"/>
                <a:gd name="T68" fmla="*/ 318 w 8085"/>
                <a:gd name="T69" fmla="*/ 6606 h 16320"/>
                <a:gd name="T70" fmla="*/ 585 w 8085"/>
                <a:gd name="T71" fmla="*/ 5506 h 16320"/>
                <a:gd name="T72" fmla="*/ 923 w 8085"/>
                <a:gd name="T73" fmla="*/ 4375 h 16320"/>
                <a:gd name="T74" fmla="*/ 1324 w 8085"/>
                <a:gd name="T75" fmla="*/ 3267 h 16320"/>
                <a:gd name="T76" fmla="*/ 1783 w 8085"/>
                <a:gd name="T77" fmla="*/ 2237 h 16320"/>
                <a:gd name="T78" fmla="*/ 2290 w 8085"/>
                <a:gd name="T79" fmla="*/ 1340 h 16320"/>
                <a:gd name="T80" fmla="*/ 2840 w 8085"/>
                <a:gd name="T81" fmla="*/ 632 h 16320"/>
                <a:gd name="T82" fmla="*/ 3427 w 8085"/>
                <a:gd name="T83" fmla="*/ 167 h 16320"/>
                <a:gd name="T84" fmla="*/ 4043 w 8085"/>
                <a:gd name="T85" fmla="*/ 0 h 16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085" h="16320">
                  <a:moveTo>
                    <a:pt x="4043" y="0"/>
                  </a:moveTo>
                  <a:lnTo>
                    <a:pt x="4251" y="19"/>
                  </a:lnTo>
                  <a:lnTo>
                    <a:pt x="4456" y="75"/>
                  </a:lnTo>
                  <a:lnTo>
                    <a:pt x="4658" y="167"/>
                  </a:lnTo>
                  <a:lnTo>
                    <a:pt x="4857" y="292"/>
                  </a:lnTo>
                  <a:lnTo>
                    <a:pt x="5053" y="448"/>
                  </a:lnTo>
                  <a:lnTo>
                    <a:pt x="5245" y="632"/>
                  </a:lnTo>
                  <a:lnTo>
                    <a:pt x="5432" y="845"/>
                  </a:lnTo>
                  <a:lnTo>
                    <a:pt x="5616" y="1081"/>
                  </a:lnTo>
                  <a:lnTo>
                    <a:pt x="5795" y="1340"/>
                  </a:lnTo>
                  <a:lnTo>
                    <a:pt x="5969" y="1622"/>
                  </a:lnTo>
                  <a:lnTo>
                    <a:pt x="6138" y="1921"/>
                  </a:lnTo>
                  <a:lnTo>
                    <a:pt x="6302" y="2237"/>
                  </a:lnTo>
                  <a:lnTo>
                    <a:pt x="6461" y="2568"/>
                  </a:lnTo>
                  <a:lnTo>
                    <a:pt x="6613" y="2912"/>
                  </a:lnTo>
                  <a:lnTo>
                    <a:pt x="6761" y="3267"/>
                  </a:lnTo>
                  <a:lnTo>
                    <a:pt x="6901" y="3630"/>
                  </a:lnTo>
                  <a:lnTo>
                    <a:pt x="7035" y="4000"/>
                  </a:lnTo>
                  <a:lnTo>
                    <a:pt x="7162" y="4375"/>
                  </a:lnTo>
                  <a:lnTo>
                    <a:pt x="7282" y="4752"/>
                  </a:lnTo>
                  <a:lnTo>
                    <a:pt x="7395" y="5130"/>
                  </a:lnTo>
                  <a:lnTo>
                    <a:pt x="7500" y="5506"/>
                  </a:lnTo>
                  <a:lnTo>
                    <a:pt x="7597" y="5879"/>
                  </a:lnTo>
                  <a:lnTo>
                    <a:pt x="7687" y="6246"/>
                  </a:lnTo>
                  <a:lnTo>
                    <a:pt x="7767" y="6606"/>
                  </a:lnTo>
                  <a:lnTo>
                    <a:pt x="7840" y="6956"/>
                  </a:lnTo>
                  <a:lnTo>
                    <a:pt x="7903" y="7295"/>
                  </a:lnTo>
                  <a:lnTo>
                    <a:pt x="7958" y="7619"/>
                  </a:lnTo>
                  <a:lnTo>
                    <a:pt x="8003" y="7928"/>
                  </a:lnTo>
                  <a:lnTo>
                    <a:pt x="8038" y="8220"/>
                  </a:lnTo>
                  <a:lnTo>
                    <a:pt x="8064" y="8492"/>
                  </a:lnTo>
                  <a:lnTo>
                    <a:pt x="8080" y="8741"/>
                  </a:lnTo>
                  <a:lnTo>
                    <a:pt x="8085" y="8968"/>
                  </a:lnTo>
                  <a:lnTo>
                    <a:pt x="8080" y="9189"/>
                  </a:lnTo>
                  <a:lnTo>
                    <a:pt x="8064" y="9426"/>
                  </a:lnTo>
                  <a:lnTo>
                    <a:pt x="8038" y="9675"/>
                  </a:lnTo>
                  <a:lnTo>
                    <a:pt x="8003" y="9937"/>
                  </a:lnTo>
                  <a:lnTo>
                    <a:pt x="7958" y="10210"/>
                  </a:lnTo>
                  <a:lnTo>
                    <a:pt x="7903" y="10492"/>
                  </a:lnTo>
                  <a:lnTo>
                    <a:pt x="7840" y="10781"/>
                  </a:lnTo>
                  <a:lnTo>
                    <a:pt x="7767" y="11077"/>
                  </a:lnTo>
                  <a:lnTo>
                    <a:pt x="7687" y="11377"/>
                  </a:lnTo>
                  <a:lnTo>
                    <a:pt x="7597" y="11682"/>
                  </a:lnTo>
                  <a:lnTo>
                    <a:pt x="7500" y="11988"/>
                  </a:lnTo>
                  <a:lnTo>
                    <a:pt x="7395" y="12294"/>
                  </a:lnTo>
                  <a:lnTo>
                    <a:pt x="7282" y="12600"/>
                  </a:lnTo>
                  <a:lnTo>
                    <a:pt x="7162" y="12904"/>
                  </a:lnTo>
                  <a:lnTo>
                    <a:pt x="7035" y="13203"/>
                  </a:lnTo>
                  <a:lnTo>
                    <a:pt x="6901" y="13498"/>
                  </a:lnTo>
                  <a:lnTo>
                    <a:pt x="6761" y="13785"/>
                  </a:lnTo>
                  <a:lnTo>
                    <a:pt x="6613" y="14065"/>
                  </a:lnTo>
                  <a:lnTo>
                    <a:pt x="6461" y="14335"/>
                  </a:lnTo>
                  <a:lnTo>
                    <a:pt x="6302" y="14594"/>
                  </a:lnTo>
                  <a:lnTo>
                    <a:pt x="6138" y="14841"/>
                  </a:lnTo>
                  <a:lnTo>
                    <a:pt x="5969" y="15074"/>
                  </a:lnTo>
                  <a:lnTo>
                    <a:pt x="5795" y="15291"/>
                  </a:lnTo>
                  <a:lnTo>
                    <a:pt x="5616" y="15492"/>
                  </a:lnTo>
                  <a:lnTo>
                    <a:pt x="5432" y="15673"/>
                  </a:lnTo>
                  <a:lnTo>
                    <a:pt x="5245" y="15837"/>
                  </a:lnTo>
                  <a:lnTo>
                    <a:pt x="5053" y="15978"/>
                  </a:lnTo>
                  <a:lnTo>
                    <a:pt x="4857" y="16098"/>
                  </a:lnTo>
                  <a:lnTo>
                    <a:pt x="4658" y="16193"/>
                  </a:lnTo>
                  <a:lnTo>
                    <a:pt x="4456" y="16263"/>
                  </a:lnTo>
                  <a:lnTo>
                    <a:pt x="4251" y="16306"/>
                  </a:lnTo>
                  <a:lnTo>
                    <a:pt x="4043" y="16320"/>
                  </a:lnTo>
                  <a:lnTo>
                    <a:pt x="3834" y="16306"/>
                  </a:lnTo>
                  <a:lnTo>
                    <a:pt x="3629" y="16263"/>
                  </a:lnTo>
                  <a:lnTo>
                    <a:pt x="3427" y="16193"/>
                  </a:lnTo>
                  <a:lnTo>
                    <a:pt x="3228" y="16098"/>
                  </a:lnTo>
                  <a:lnTo>
                    <a:pt x="3032" y="15978"/>
                  </a:lnTo>
                  <a:lnTo>
                    <a:pt x="2840" y="15837"/>
                  </a:lnTo>
                  <a:lnTo>
                    <a:pt x="2653" y="15673"/>
                  </a:lnTo>
                  <a:lnTo>
                    <a:pt x="2469" y="15492"/>
                  </a:lnTo>
                  <a:lnTo>
                    <a:pt x="2290" y="15291"/>
                  </a:lnTo>
                  <a:lnTo>
                    <a:pt x="2116" y="15074"/>
                  </a:lnTo>
                  <a:lnTo>
                    <a:pt x="1947" y="14841"/>
                  </a:lnTo>
                  <a:lnTo>
                    <a:pt x="1783" y="14594"/>
                  </a:lnTo>
                  <a:lnTo>
                    <a:pt x="1624" y="14335"/>
                  </a:lnTo>
                  <a:lnTo>
                    <a:pt x="1472" y="14065"/>
                  </a:lnTo>
                  <a:lnTo>
                    <a:pt x="1324" y="13785"/>
                  </a:lnTo>
                  <a:lnTo>
                    <a:pt x="1184" y="13498"/>
                  </a:lnTo>
                  <a:lnTo>
                    <a:pt x="1050" y="13203"/>
                  </a:lnTo>
                  <a:lnTo>
                    <a:pt x="923" y="12904"/>
                  </a:lnTo>
                  <a:lnTo>
                    <a:pt x="803" y="12600"/>
                  </a:lnTo>
                  <a:lnTo>
                    <a:pt x="690" y="12294"/>
                  </a:lnTo>
                  <a:lnTo>
                    <a:pt x="585" y="11988"/>
                  </a:lnTo>
                  <a:lnTo>
                    <a:pt x="488" y="11682"/>
                  </a:lnTo>
                  <a:lnTo>
                    <a:pt x="398" y="11377"/>
                  </a:lnTo>
                  <a:lnTo>
                    <a:pt x="318" y="11077"/>
                  </a:lnTo>
                  <a:lnTo>
                    <a:pt x="245" y="10781"/>
                  </a:lnTo>
                  <a:lnTo>
                    <a:pt x="182" y="10492"/>
                  </a:lnTo>
                  <a:lnTo>
                    <a:pt x="127" y="10210"/>
                  </a:lnTo>
                  <a:lnTo>
                    <a:pt x="82" y="9937"/>
                  </a:lnTo>
                  <a:lnTo>
                    <a:pt x="47" y="9675"/>
                  </a:lnTo>
                  <a:lnTo>
                    <a:pt x="21" y="9426"/>
                  </a:lnTo>
                  <a:lnTo>
                    <a:pt x="5" y="9189"/>
                  </a:lnTo>
                  <a:lnTo>
                    <a:pt x="0" y="8968"/>
                  </a:lnTo>
                  <a:lnTo>
                    <a:pt x="5" y="8741"/>
                  </a:lnTo>
                  <a:lnTo>
                    <a:pt x="21" y="8492"/>
                  </a:lnTo>
                  <a:lnTo>
                    <a:pt x="47" y="8220"/>
                  </a:lnTo>
                  <a:lnTo>
                    <a:pt x="82" y="7928"/>
                  </a:lnTo>
                  <a:lnTo>
                    <a:pt x="127" y="7619"/>
                  </a:lnTo>
                  <a:lnTo>
                    <a:pt x="182" y="7295"/>
                  </a:lnTo>
                  <a:lnTo>
                    <a:pt x="245" y="6956"/>
                  </a:lnTo>
                  <a:lnTo>
                    <a:pt x="318" y="6606"/>
                  </a:lnTo>
                  <a:lnTo>
                    <a:pt x="398" y="6246"/>
                  </a:lnTo>
                  <a:lnTo>
                    <a:pt x="488" y="5879"/>
                  </a:lnTo>
                  <a:lnTo>
                    <a:pt x="585" y="5506"/>
                  </a:lnTo>
                  <a:lnTo>
                    <a:pt x="690" y="5130"/>
                  </a:lnTo>
                  <a:lnTo>
                    <a:pt x="803" y="4752"/>
                  </a:lnTo>
                  <a:lnTo>
                    <a:pt x="923" y="4375"/>
                  </a:lnTo>
                  <a:lnTo>
                    <a:pt x="1050" y="4000"/>
                  </a:lnTo>
                  <a:lnTo>
                    <a:pt x="1184" y="3630"/>
                  </a:lnTo>
                  <a:lnTo>
                    <a:pt x="1324" y="3267"/>
                  </a:lnTo>
                  <a:lnTo>
                    <a:pt x="1472" y="2912"/>
                  </a:lnTo>
                  <a:lnTo>
                    <a:pt x="1624" y="2568"/>
                  </a:lnTo>
                  <a:lnTo>
                    <a:pt x="1783" y="2237"/>
                  </a:lnTo>
                  <a:lnTo>
                    <a:pt x="1947" y="1921"/>
                  </a:lnTo>
                  <a:lnTo>
                    <a:pt x="2116" y="1622"/>
                  </a:lnTo>
                  <a:lnTo>
                    <a:pt x="2290" y="1340"/>
                  </a:lnTo>
                  <a:lnTo>
                    <a:pt x="2469" y="1081"/>
                  </a:lnTo>
                  <a:lnTo>
                    <a:pt x="2653" y="845"/>
                  </a:lnTo>
                  <a:lnTo>
                    <a:pt x="2840" y="632"/>
                  </a:lnTo>
                  <a:lnTo>
                    <a:pt x="3032" y="448"/>
                  </a:lnTo>
                  <a:lnTo>
                    <a:pt x="3228" y="292"/>
                  </a:lnTo>
                  <a:lnTo>
                    <a:pt x="3427" y="167"/>
                  </a:lnTo>
                  <a:lnTo>
                    <a:pt x="3629" y="75"/>
                  </a:lnTo>
                  <a:lnTo>
                    <a:pt x="3834" y="19"/>
                  </a:lnTo>
                  <a:lnTo>
                    <a:pt x="4043" y="0"/>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lumMod val="50000"/>
                  </a:srgbClr>
                </a:solidFill>
                <a:effectLst/>
                <a:uLnTx/>
                <a:uFillTx/>
                <a:latin typeface="等线 Light" panose="020F0302020204030204"/>
                <a:ea typeface="+mn-ea"/>
                <a:cs typeface="+mn-cs"/>
              </a:endParaRPr>
            </a:p>
          </p:txBody>
        </p:sp>
        <p:sp>
          <p:nvSpPr>
            <p:cNvPr id="7" name="Freeform 12">
              <a:extLst>
                <a:ext uri="{FF2B5EF4-FFF2-40B4-BE49-F238E27FC236}">
                  <a16:creationId xmlns:a16="http://schemas.microsoft.com/office/drawing/2014/main" id="{7D20E8D8-EA5B-466D-9842-2EA280B55750}"/>
                </a:ext>
              </a:extLst>
            </p:cNvPr>
            <p:cNvSpPr>
              <a:spLocks/>
            </p:cNvSpPr>
            <p:nvPr/>
          </p:nvSpPr>
          <p:spPr bwMode="auto">
            <a:xfrm rot="9000000">
              <a:off x="6950040" y="2613312"/>
              <a:ext cx="1394694" cy="703817"/>
            </a:xfrm>
            <a:custGeom>
              <a:avLst/>
              <a:gdLst>
                <a:gd name="T0" fmla="*/ 4456 w 8085"/>
                <a:gd name="T1" fmla="*/ 75 h 16320"/>
                <a:gd name="T2" fmla="*/ 5053 w 8085"/>
                <a:gd name="T3" fmla="*/ 448 h 16320"/>
                <a:gd name="T4" fmla="*/ 5616 w 8085"/>
                <a:gd name="T5" fmla="*/ 1081 h 16320"/>
                <a:gd name="T6" fmla="*/ 6138 w 8085"/>
                <a:gd name="T7" fmla="*/ 1921 h 16320"/>
                <a:gd name="T8" fmla="*/ 6613 w 8085"/>
                <a:gd name="T9" fmla="*/ 2912 h 16320"/>
                <a:gd name="T10" fmla="*/ 7035 w 8085"/>
                <a:gd name="T11" fmla="*/ 4000 h 16320"/>
                <a:gd name="T12" fmla="*/ 7395 w 8085"/>
                <a:gd name="T13" fmla="*/ 5130 h 16320"/>
                <a:gd name="T14" fmla="*/ 7687 w 8085"/>
                <a:gd name="T15" fmla="*/ 6246 h 16320"/>
                <a:gd name="T16" fmla="*/ 7903 w 8085"/>
                <a:gd name="T17" fmla="*/ 7295 h 16320"/>
                <a:gd name="T18" fmla="*/ 8038 w 8085"/>
                <a:gd name="T19" fmla="*/ 8220 h 16320"/>
                <a:gd name="T20" fmla="*/ 8085 w 8085"/>
                <a:gd name="T21" fmla="*/ 8968 h 16320"/>
                <a:gd name="T22" fmla="*/ 8038 w 8085"/>
                <a:gd name="T23" fmla="*/ 9675 h 16320"/>
                <a:gd name="T24" fmla="*/ 7903 w 8085"/>
                <a:gd name="T25" fmla="*/ 10492 h 16320"/>
                <a:gd name="T26" fmla="*/ 7687 w 8085"/>
                <a:gd name="T27" fmla="*/ 11377 h 16320"/>
                <a:gd name="T28" fmla="*/ 7395 w 8085"/>
                <a:gd name="T29" fmla="*/ 12294 h 16320"/>
                <a:gd name="T30" fmla="*/ 7035 w 8085"/>
                <a:gd name="T31" fmla="*/ 13203 h 16320"/>
                <a:gd name="T32" fmla="*/ 6613 w 8085"/>
                <a:gd name="T33" fmla="*/ 14065 h 16320"/>
                <a:gd name="T34" fmla="*/ 6138 w 8085"/>
                <a:gd name="T35" fmla="*/ 14841 h 16320"/>
                <a:gd name="T36" fmla="*/ 5616 w 8085"/>
                <a:gd name="T37" fmla="*/ 15492 h 16320"/>
                <a:gd name="T38" fmla="*/ 5053 w 8085"/>
                <a:gd name="T39" fmla="*/ 15978 h 16320"/>
                <a:gd name="T40" fmla="*/ 4456 w 8085"/>
                <a:gd name="T41" fmla="*/ 16263 h 16320"/>
                <a:gd name="T42" fmla="*/ 3834 w 8085"/>
                <a:gd name="T43" fmla="*/ 16306 h 16320"/>
                <a:gd name="T44" fmla="*/ 3228 w 8085"/>
                <a:gd name="T45" fmla="*/ 16098 h 16320"/>
                <a:gd name="T46" fmla="*/ 2653 w 8085"/>
                <a:gd name="T47" fmla="*/ 15673 h 16320"/>
                <a:gd name="T48" fmla="*/ 2116 w 8085"/>
                <a:gd name="T49" fmla="*/ 15074 h 16320"/>
                <a:gd name="T50" fmla="*/ 1624 w 8085"/>
                <a:gd name="T51" fmla="*/ 14335 h 16320"/>
                <a:gd name="T52" fmla="*/ 1184 w 8085"/>
                <a:gd name="T53" fmla="*/ 13498 h 16320"/>
                <a:gd name="T54" fmla="*/ 803 w 8085"/>
                <a:gd name="T55" fmla="*/ 12600 h 16320"/>
                <a:gd name="T56" fmla="*/ 488 w 8085"/>
                <a:gd name="T57" fmla="*/ 11682 h 16320"/>
                <a:gd name="T58" fmla="*/ 245 w 8085"/>
                <a:gd name="T59" fmla="*/ 10781 h 16320"/>
                <a:gd name="T60" fmla="*/ 82 w 8085"/>
                <a:gd name="T61" fmla="*/ 9937 h 16320"/>
                <a:gd name="T62" fmla="*/ 5 w 8085"/>
                <a:gd name="T63" fmla="*/ 9189 h 16320"/>
                <a:gd name="T64" fmla="*/ 21 w 8085"/>
                <a:gd name="T65" fmla="*/ 8492 h 16320"/>
                <a:gd name="T66" fmla="*/ 127 w 8085"/>
                <a:gd name="T67" fmla="*/ 7619 h 16320"/>
                <a:gd name="T68" fmla="*/ 318 w 8085"/>
                <a:gd name="T69" fmla="*/ 6606 h 16320"/>
                <a:gd name="T70" fmla="*/ 585 w 8085"/>
                <a:gd name="T71" fmla="*/ 5506 h 16320"/>
                <a:gd name="T72" fmla="*/ 923 w 8085"/>
                <a:gd name="T73" fmla="*/ 4375 h 16320"/>
                <a:gd name="T74" fmla="*/ 1324 w 8085"/>
                <a:gd name="T75" fmla="*/ 3267 h 16320"/>
                <a:gd name="T76" fmla="*/ 1783 w 8085"/>
                <a:gd name="T77" fmla="*/ 2237 h 16320"/>
                <a:gd name="T78" fmla="*/ 2290 w 8085"/>
                <a:gd name="T79" fmla="*/ 1340 h 16320"/>
                <a:gd name="T80" fmla="*/ 2840 w 8085"/>
                <a:gd name="T81" fmla="*/ 632 h 16320"/>
                <a:gd name="T82" fmla="*/ 3427 w 8085"/>
                <a:gd name="T83" fmla="*/ 167 h 16320"/>
                <a:gd name="T84" fmla="*/ 4043 w 8085"/>
                <a:gd name="T85" fmla="*/ 0 h 16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085" h="16320">
                  <a:moveTo>
                    <a:pt x="4043" y="0"/>
                  </a:moveTo>
                  <a:lnTo>
                    <a:pt x="4251" y="19"/>
                  </a:lnTo>
                  <a:lnTo>
                    <a:pt x="4456" y="75"/>
                  </a:lnTo>
                  <a:lnTo>
                    <a:pt x="4658" y="167"/>
                  </a:lnTo>
                  <a:lnTo>
                    <a:pt x="4857" y="292"/>
                  </a:lnTo>
                  <a:lnTo>
                    <a:pt x="5053" y="448"/>
                  </a:lnTo>
                  <a:lnTo>
                    <a:pt x="5245" y="632"/>
                  </a:lnTo>
                  <a:lnTo>
                    <a:pt x="5432" y="845"/>
                  </a:lnTo>
                  <a:lnTo>
                    <a:pt x="5616" y="1081"/>
                  </a:lnTo>
                  <a:lnTo>
                    <a:pt x="5795" y="1340"/>
                  </a:lnTo>
                  <a:lnTo>
                    <a:pt x="5969" y="1622"/>
                  </a:lnTo>
                  <a:lnTo>
                    <a:pt x="6138" y="1921"/>
                  </a:lnTo>
                  <a:lnTo>
                    <a:pt x="6302" y="2237"/>
                  </a:lnTo>
                  <a:lnTo>
                    <a:pt x="6461" y="2568"/>
                  </a:lnTo>
                  <a:lnTo>
                    <a:pt x="6613" y="2912"/>
                  </a:lnTo>
                  <a:lnTo>
                    <a:pt x="6761" y="3267"/>
                  </a:lnTo>
                  <a:lnTo>
                    <a:pt x="6901" y="3630"/>
                  </a:lnTo>
                  <a:lnTo>
                    <a:pt x="7035" y="4000"/>
                  </a:lnTo>
                  <a:lnTo>
                    <a:pt x="7162" y="4375"/>
                  </a:lnTo>
                  <a:lnTo>
                    <a:pt x="7282" y="4752"/>
                  </a:lnTo>
                  <a:lnTo>
                    <a:pt x="7395" y="5130"/>
                  </a:lnTo>
                  <a:lnTo>
                    <a:pt x="7500" y="5506"/>
                  </a:lnTo>
                  <a:lnTo>
                    <a:pt x="7597" y="5879"/>
                  </a:lnTo>
                  <a:lnTo>
                    <a:pt x="7687" y="6246"/>
                  </a:lnTo>
                  <a:lnTo>
                    <a:pt x="7767" y="6606"/>
                  </a:lnTo>
                  <a:lnTo>
                    <a:pt x="7840" y="6956"/>
                  </a:lnTo>
                  <a:lnTo>
                    <a:pt x="7903" y="7295"/>
                  </a:lnTo>
                  <a:lnTo>
                    <a:pt x="7958" y="7619"/>
                  </a:lnTo>
                  <a:lnTo>
                    <a:pt x="8003" y="7928"/>
                  </a:lnTo>
                  <a:lnTo>
                    <a:pt x="8038" y="8220"/>
                  </a:lnTo>
                  <a:lnTo>
                    <a:pt x="8064" y="8492"/>
                  </a:lnTo>
                  <a:lnTo>
                    <a:pt x="8080" y="8741"/>
                  </a:lnTo>
                  <a:lnTo>
                    <a:pt x="8085" y="8968"/>
                  </a:lnTo>
                  <a:lnTo>
                    <a:pt x="8080" y="9189"/>
                  </a:lnTo>
                  <a:lnTo>
                    <a:pt x="8064" y="9426"/>
                  </a:lnTo>
                  <a:lnTo>
                    <a:pt x="8038" y="9675"/>
                  </a:lnTo>
                  <a:lnTo>
                    <a:pt x="8003" y="9937"/>
                  </a:lnTo>
                  <a:lnTo>
                    <a:pt x="7958" y="10210"/>
                  </a:lnTo>
                  <a:lnTo>
                    <a:pt x="7903" y="10492"/>
                  </a:lnTo>
                  <a:lnTo>
                    <a:pt x="7840" y="10781"/>
                  </a:lnTo>
                  <a:lnTo>
                    <a:pt x="7767" y="11077"/>
                  </a:lnTo>
                  <a:lnTo>
                    <a:pt x="7687" y="11377"/>
                  </a:lnTo>
                  <a:lnTo>
                    <a:pt x="7597" y="11682"/>
                  </a:lnTo>
                  <a:lnTo>
                    <a:pt x="7500" y="11988"/>
                  </a:lnTo>
                  <a:lnTo>
                    <a:pt x="7395" y="12294"/>
                  </a:lnTo>
                  <a:lnTo>
                    <a:pt x="7282" y="12600"/>
                  </a:lnTo>
                  <a:lnTo>
                    <a:pt x="7162" y="12904"/>
                  </a:lnTo>
                  <a:lnTo>
                    <a:pt x="7035" y="13203"/>
                  </a:lnTo>
                  <a:lnTo>
                    <a:pt x="6901" y="13498"/>
                  </a:lnTo>
                  <a:lnTo>
                    <a:pt x="6761" y="13785"/>
                  </a:lnTo>
                  <a:lnTo>
                    <a:pt x="6613" y="14065"/>
                  </a:lnTo>
                  <a:lnTo>
                    <a:pt x="6461" y="14335"/>
                  </a:lnTo>
                  <a:lnTo>
                    <a:pt x="6302" y="14594"/>
                  </a:lnTo>
                  <a:lnTo>
                    <a:pt x="6138" y="14841"/>
                  </a:lnTo>
                  <a:lnTo>
                    <a:pt x="5969" y="15074"/>
                  </a:lnTo>
                  <a:lnTo>
                    <a:pt x="5795" y="15291"/>
                  </a:lnTo>
                  <a:lnTo>
                    <a:pt x="5616" y="15492"/>
                  </a:lnTo>
                  <a:lnTo>
                    <a:pt x="5432" y="15673"/>
                  </a:lnTo>
                  <a:lnTo>
                    <a:pt x="5245" y="15837"/>
                  </a:lnTo>
                  <a:lnTo>
                    <a:pt x="5053" y="15978"/>
                  </a:lnTo>
                  <a:lnTo>
                    <a:pt x="4857" y="16098"/>
                  </a:lnTo>
                  <a:lnTo>
                    <a:pt x="4658" y="16193"/>
                  </a:lnTo>
                  <a:lnTo>
                    <a:pt x="4456" y="16263"/>
                  </a:lnTo>
                  <a:lnTo>
                    <a:pt x="4251" y="16306"/>
                  </a:lnTo>
                  <a:lnTo>
                    <a:pt x="4043" y="16320"/>
                  </a:lnTo>
                  <a:lnTo>
                    <a:pt x="3834" y="16306"/>
                  </a:lnTo>
                  <a:lnTo>
                    <a:pt x="3629" y="16263"/>
                  </a:lnTo>
                  <a:lnTo>
                    <a:pt x="3427" y="16193"/>
                  </a:lnTo>
                  <a:lnTo>
                    <a:pt x="3228" y="16098"/>
                  </a:lnTo>
                  <a:lnTo>
                    <a:pt x="3032" y="15978"/>
                  </a:lnTo>
                  <a:lnTo>
                    <a:pt x="2840" y="15837"/>
                  </a:lnTo>
                  <a:lnTo>
                    <a:pt x="2653" y="15673"/>
                  </a:lnTo>
                  <a:lnTo>
                    <a:pt x="2469" y="15492"/>
                  </a:lnTo>
                  <a:lnTo>
                    <a:pt x="2290" y="15291"/>
                  </a:lnTo>
                  <a:lnTo>
                    <a:pt x="2116" y="15074"/>
                  </a:lnTo>
                  <a:lnTo>
                    <a:pt x="1947" y="14841"/>
                  </a:lnTo>
                  <a:lnTo>
                    <a:pt x="1783" y="14594"/>
                  </a:lnTo>
                  <a:lnTo>
                    <a:pt x="1624" y="14335"/>
                  </a:lnTo>
                  <a:lnTo>
                    <a:pt x="1472" y="14065"/>
                  </a:lnTo>
                  <a:lnTo>
                    <a:pt x="1324" y="13785"/>
                  </a:lnTo>
                  <a:lnTo>
                    <a:pt x="1184" y="13498"/>
                  </a:lnTo>
                  <a:lnTo>
                    <a:pt x="1050" y="13203"/>
                  </a:lnTo>
                  <a:lnTo>
                    <a:pt x="923" y="12904"/>
                  </a:lnTo>
                  <a:lnTo>
                    <a:pt x="803" y="12600"/>
                  </a:lnTo>
                  <a:lnTo>
                    <a:pt x="690" y="12294"/>
                  </a:lnTo>
                  <a:lnTo>
                    <a:pt x="585" y="11988"/>
                  </a:lnTo>
                  <a:lnTo>
                    <a:pt x="488" y="11682"/>
                  </a:lnTo>
                  <a:lnTo>
                    <a:pt x="398" y="11377"/>
                  </a:lnTo>
                  <a:lnTo>
                    <a:pt x="318" y="11077"/>
                  </a:lnTo>
                  <a:lnTo>
                    <a:pt x="245" y="10781"/>
                  </a:lnTo>
                  <a:lnTo>
                    <a:pt x="182" y="10492"/>
                  </a:lnTo>
                  <a:lnTo>
                    <a:pt x="127" y="10210"/>
                  </a:lnTo>
                  <a:lnTo>
                    <a:pt x="82" y="9937"/>
                  </a:lnTo>
                  <a:lnTo>
                    <a:pt x="47" y="9675"/>
                  </a:lnTo>
                  <a:lnTo>
                    <a:pt x="21" y="9426"/>
                  </a:lnTo>
                  <a:lnTo>
                    <a:pt x="5" y="9189"/>
                  </a:lnTo>
                  <a:lnTo>
                    <a:pt x="0" y="8968"/>
                  </a:lnTo>
                  <a:lnTo>
                    <a:pt x="5" y="8741"/>
                  </a:lnTo>
                  <a:lnTo>
                    <a:pt x="21" y="8492"/>
                  </a:lnTo>
                  <a:lnTo>
                    <a:pt x="47" y="8220"/>
                  </a:lnTo>
                  <a:lnTo>
                    <a:pt x="82" y="7928"/>
                  </a:lnTo>
                  <a:lnTo>
                    <a:pt x="127" y="7619"/>
                  </a:lnTo>
                  <a:lnTo>
                    <a:pt x="182" y="7295"/>
                  </a:lnTo>
                  <a:lnTo>
                    <a:pt x="245" y="6956"/>
                  </a:lnTo>
                  <a:lnTo>
                    <a:pt x="318" y="6606"/>
                  </a:lnTo>
                  <a:lnTo>
                    <a:pt x="398" y="6246"/>
                  </a:lnTo>
                  <a:lnTo>
                    <a:pt x="488" y="5879"/>
                  </a:lnTo>
                  <a:lnTo>
                    <a:pt x="585" y="5506"/>
                  </a:lnTo>
                  <a:lnTo>
                    <a:pt x="690" y="5130"/>
                  </a:lnTo>
                  <a:lnTo>
                    <a:pt x="803" y="4752"/>
                  </a:lnTo>
                  <a:lnTo>
                    <a:pt x="923" y="4375"/>
                  </a:lnTo>
                  <a:lnTo>
                    <a:pt x="1050" y="4000"/>
                  </a:lnTo>
                  <a:lnTo>
                    <a:pt x="1184" y="3630"/>
                  </a:lnTo>
                  <a:lnTo>
                    <a:pt x="1324" y="3267"/>
                  </a:lnTo>
                  <a:lnTo>
                    <a:pt x="1472" y="2912"/>
                  </a:lnTo>
                  <a:lnTo>
                    <a:pt x="1624" y="2568"/>
                  </a:lnTo>
                  <a:lnTo>
                    <a:pt x="1783" y="2237"/>
                  </a:lnTo>
                  <a:lnTo>
                    <a:pt x="1947" y="1921"/>
                  </a:lnTo>
                  <a:lnTo>
                    <a:pt x="2116" y="1622"/>
                  </a:lnTo>
                  <a:lnTo>
                    <a:pt x="2290" y="1340"/>
                  </a:lnTo>
                  <a:lnTo>
                    <a:pt x="2469" y="1081"/>
                  </a:lnTo>
                  <a:lnTo>
                    <a:pt x="2653" y="845"/>
                  </a:lnTo>
                  <a:lnTo>
                    <a:pt x="2840" y="632"/>
                  </a:lnTo>
                  <a:lnTo>
                    <a:pt x="3032" y="448"/>
                  </a:lnTo>
                  <a:lnTo>
                    <a:pt x="3228" y="292"/>
                  </a:lnTo>
                  <a:lnTo>
                    <a:pt x="3427" y="167"/>
                  </a:lnTo>
                  <a:lnTo>
                    <a:pt x="3629" y="75"/>
                  </a:lnTo>
                  <a:lnTo>
                    <a:pt x="3834" y="19"/>
                  </a:lnTo>
                  <a:lnTo>
                    <a:pt x="4043" y="0"/>
                  </a:lnTo>
                  <a:close/>
                </a:path>
              </a:pathLst>
            </a:custGeom>
            <a:solidFill>
              <a:schemeClr val="accent1"/>
            </a:solidFill>
            <a:ln w="76200">
              <a:solidFill>
                <a:schemeClr val="bg1"/>
              </a:solidFill>
              <a:round/>
              <a:headEnd/>
              <a:tailEnd/>
            </a:ln>
            <a:effectLst>
              <a:outerShdw blurRad="1270000" dist="685800" dir="5400000" sx="84000" sy="84000" algn="t" rotWithShape="0">
                <a:prstClr val="black">
                  <a:alpha val="15000"/>
                </a:prstClr>
              </a:outerShdw>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8" name="Freeform 13">
              <a:extLst>
                <a:ext uri="{FF2B5EF4-FFF2-40B4-BE49-F238E27FC236}">
                  <a16:creationId xmlns:a16="http://schemas.microsoft.com/office/drawing/2014/main" id="{A86CA5A9-41A3-4C12-8F62-7AFCCF1D97A3}"/>
                </a:ext>
              </a:extLst>
            </p:cNvPr>
            <p:cNvSpPr>
              <a:spLocks/>
            </p:cNvSpPr>
            <p:nvPr/>
          </p:nvSpPr>
          <p:spPr bwMode="auto">
            <a:xfrm rot="11700000">
              <a:off x="6876472" y="3441435"/>
              <a:ext cx="995627" cy="502432"/>
            </a:xfrm>
            <a:custGeom>
              <a:avLst/>
              <a:gdLst>
                <a:gd name="T0" fmla="*/ 4456 w 8085"/>
                <a:gd name="T1" fmla="*/ 75 h 16320"/>
                <a:gd name="T2" fmla="*/ 5053 w 8085"/>
                <a:gd name="T3" fmla="*/ 448 h 16320"/>
                <a:gd name="T4" fmla="*/ 5616 w 8085"/>
                <a:gd name="T5" fmla="*/ 1081 h 16320"/>
                <a:gd name="T6" fmla="*/ 6138 w 8085"/>
                <a:gd name="T7" fmla="*/ 1921 h 16320"/>
                <a:gd name="T8" fmla="*/ 6613 w 8085"/>
                <a:gd name="T9" fmla="*/ 2912 h 16320"/>
                <a:gd name="T10" fmla="*/ 7035 w 8085"/>
                <a:gd name="T11" fmla="*/ 4000 h 16320"/>
                <a:gd name="T12" fmla="*/ 7395 w 8085"/>
                <a:gd name="T13" fmla="*/ 5130 h 16320"/>
                <a:gd name="T14" fmla="*/ 7687 w 8085"/>
                <a:gd name="T15" fmla="*/ 6246 h 16320"/>
                <a:gd name="T16" fmla="*/ 7903 w 8085"/>
                <a:gd name="T17" fmla="*/ 7295 h 16320"/>
                <a:gd name="T18" fmla="*/ 8038 w 8085"/>
                <a:gd name="T19" fmla="*/ 8220 h 16320"/>
                <a:gd name="T20" fmla="*/ 8085 w 8085"/>
                <a:gd name="T21" fmla="*/ 8968 h 16320"/>
                <a:gd name="T22" fmla="*/ 8038 w 8085"/>
                <a:gd name="T23" fmla="*/ 9675 h 16320"/>
                <a:gd name="T24" fmla="*/ 7903 w 8085"/>
                <a:gd name="T25" fmla="*/ 10492 h 16320"/>
                <a:gd name="T26" fmla="*/ 7687 w 8085"/>
                <a:gd name="T27" fmla="*/ 11377 h 16320"/>
                <a:gd name="T28" fmla="*/ 7395 w 8085"/>
                <a:gd name="T29" fmla="*/ 12294 h 16320"/>
                <a:gd name="T30" fmla="*/ 7035 w 8085"/>
                <a:gd name="T31" fmla="*/ 13203 h 16320"/>
                <a:gd name="T32" fmla="*/ 6613 w 8085"/>
                <a:gd name="T33" fmla="*/ 14065 h 16320"/>
                <a:gd name="T34" fmla="*/ 6138 w 8085"/>
                <a:gd name="T35" fmla="*/ 14841 h 16320"/>
                <a:gd name="T36" fmla="*/ 5616 w 8085"/>
                <a:gd name="T37" fmla="*/ 15492 h 16320"/>
                <a:gd name="T38" fmla="*/ 5053 w 8085"/>
                <a:gd name="T39" fmla="*/ 15978 h 16320"/>
                <a:gd name="T40" fmla="*/ 4456 w 8085"/>
                <a:gd name="T41" fmla="*/ 16263 h 16320"/>
                <a:gd name="T42" fmla="*/ 3834 w 8085"/>
                <a:gd name="T43" fmla="*/ 16306 h 16320"/>
                <a:gd name="T44" fmla="*/ 3228 w 8085"/>
                <a:gd name="T45" fmla="*/ 16098 h 16320"/>
                <a:gd name="T46" fmla="*/ 2653 w 8085"/>
                <a:gd name="T47" fmla="*/ 15673 h 16320"/>
                <a:gd name="T48" fmla="*/ 2116 w 8085"/>
                <a:gd name="T49" fmla="*/ 15074 h 16320"/>
                <a:gd name="T50" fmla="*/ 1624 w 8085"/>
                <a:gd name="T51" fmla="*/ 14335 h 16320"/>
                <a:gd name="T52" fmla="*/ 1184 w 8085"/>
                <a:gd name="T53" fmla="*/ 13498 h 16320"/>
                <a:gd name="T54" fmla="*/ 803 w 8085"/>
                <a:gd name="T55" fmla="*/ 12600 h 16320"/>
                <a:gd name="T56" fmla="*/ 488 w 8085"/>
                <a:gd name="T57" fmla="*/ 11682 h 16320"/>
                <a:gd name="T58" fmla="*/ 245 w 8085"/>
                <a:gd name="T59" fmla="*/ 10781 h 16320"/>
                <a:gd name="T60" fmla="*/ 82 w 8085"/>
                <a:gd name="T61" fmla="*/ 9937 h 16320"/>
                <a:gd name="T62" fmla="*/ 5 w 8085"/>
                <a:gd name="T63" fmla="*/ 9189 h 16320"/>
                <a:gd name="T64" fmla="*/ 21 w 8085"/>
                <a:gd name="T65" fmla="*/ 8492 h 16320"/>
                <a:gd name="T66" fmla="*/ 127 w 8085"/>
                <a:gd name="T67" fmla="*/ 7619 h 16320"/>
                <a:gd name="T68" fmla="*/ 318 w 8085"/>
                <a:gd name="T69" fmla="*/ 6606 h 16320"/>
                <a:gd name="T70" fmla="*/ 585 w 8085"/>
                <a:gd name="T71" fmla="*/ 5506 h 16320"/>
                <a:gd name="T72" fmla="*/ 923 w 8085"/>
                <a:gd name="T73" fmla="*/ 4375 h 16320"/>
                <a:gd name="T74" fmla="*/ 1324 w 8085"/>
                <a:gd name="T75" fmla="*/ 3267 h 16320"/>
                <a:gd name="T76" fmla="*/ 1783 w 8085"/>
                <a:gd name="T77" fmla="*/ 2237 h 16320"/>
                <a:gd name="T78" fmla="*/ 2290 w 8085"/>
                <a:gd name="T79" fmla="*/ 1340 h 16320"/>
                <a:gd name="T80" fmla="*/ 2840 w 8085"/>
                <a:gd name="T81" fmla="*/ 632 h 16320"/>
                <a:gd name="T82" fmla="*/ 3427 w 8085"/>
                <a:gd name="T83" fmla="*/ 167 h 16320"/>
                <a:gd name="T84" fmla="*/ 4043 w 8085"/>
                <a:gd name="T85" fmla="*/ 0 h 16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085" h="16320">
                  <a:moveTo>
                    <a:pt x="4043" y="0"/>
                  </a:moveTo>
                  <a:lnTo>
                    <a:pt x="4251" y="19"/>
                  </a:lnTo>
                  <a:lnTo>
                    <a:pt x="4456" y="75"/>
                  </a:lnTo>
                  <a:lnTo>
                    <a:pt x="4658" y="167"/>
                  </a:lnTo>
                  <a:lnTo>
                    <a:pt x="4857" y="292"/>
                  </a:lnTo>
                  <a:lnTo>
                    <a:pt x="5053" y="448"/>
                  </a:lnTo>
                  <a:lnTo>
                    <a:pt x="5245" y="632"/>
                  </a:lnTo>
                  <a:lnTo>
                    <a:pt x="5432" y="845"/>
                  </a:lnTo>
                  <a:lnTo>
                    <a:pt x="5616" y="1081"/>
                  </a:lnTo>
                  <a:lnTo>
                    <a:pt x="5795" y="1340"/>
                  </a:lnTo>
                  <a:lnTo>
                    <a:pt x="5969" y="1622"/>
                  </a:lnTo>
                  <a:lnTo>
                    <a:pt x="6138" y="1921"/>
                  </a:lnTo>
                  <a:lnTo>
                    <a:pt x="6302" y="2237"/>
                  </a:lnTo>
                  <a:lnTo>
                    <a:pt x="6461" y="2568"/>
                  </a:lnTo>
                  <a:lnTo>
                    <a:pt x="6613" y="2912"/>
                  </a:lnTo>
                  <a:lnTo>
                    <a:pt x="6761" y="3267"/>
                  </a:lnTo>
                  <a:lnTo>
                    <a:pt x="6901" y="3630"/>
                  </a:lnTo>
                  <a:lnTo>
                    <a:pt x="7035" y="4000"/>
                  </a:lnTo>
                  <a:lnTo>
                    <a:pt x="7162" y="4375"/>
                  </a:lnTo>
                  <a:lnTo>
                    <a:pt x="7282" y="4752"/>
                  </a:lnTo>
                  <a:lnTo>
                    <a:pt x="7395" y="5130"/>
                  </a:lnTo>
                  <a:lnTo>
                    <a:pt x="7500" y="5506"/>
                  </a:lnTo>
                  <a:lnTo>
                    <a:pt x="7597" y="5879"/>
                  </a:lnTo>
                  <a:lnTo>
                    <a:pt x="7687" y="6246"/>
                  </a:lnTo>
                  <a:lnTo>
                    <a:pt x="7767" y="6606"/>
                  </a:lnTo>
                  <a:lnTo>
                    <a:pt x="7840" y="6956"/>
                  </a:lnTo>
                  <a:lnTo>
                    <a:pt x="7903" y="7295"/>
                  </a:lnTo>
                  <a:lnTo>
                    <a:pt x="7958" y="7619"/>
                  </a:lnTo>
                  <a:lnTo>
                    <a:pt x="8003" y="7928"/>
                  </a:lnTo>
                  <a:lnTo>
                    <a:pt x="8038" y="8220"/>
                  </a:lnTo>
                  <a:lnTo>
                    <a:pt x="8064" y="8492"/>
                  </a:lnTo>
                  <a:lnTo>
                    <a:pt x="8080" y="8741"/>
                  </a:lnTo>
                  <a:lnTo>
                    <a:pt x="8085" y="8968"/>
                  </a:lnTo>
                  <a:lnTo>
                    <a:pt x="8080" y="9189"/>
                  </a:lnTo>
                  <a:lnTo>
                    <a:pt x="8064" y="9426"/>
                  </a:lnTo>
                  <a:lnTo>
                    <a:pt x="8038" y="9675"/>
                  </a:lnTo>
                  <a:lnTo>
                    <a:pt x="8003" y="9937"/>
                  </a:lnTo>
                  <a:lnTo>
                    <a:pt x="7958" y="10210"/>
                  </a:lnTo>
                  <a:lnTo>
                    <a:pt x="7903" y="10492"/>
                  </a:lnTo>
                  <a:lnTo>
                    <a:pt x="7840" y="10781"/>
                  </a:lnTo>
                  <a:lnTo>
                    <a:pt x="7767" y="11077"/>
                  </a:lnTo>
                  <a:lnTo>
                    <a:pt x="7687" y="11377"/>
                  </a:lnTo>
                  <a:lnTo>
                    <a:pt x="7597" y="11682"/>
                  </a:lnTo>
                  <a:lnTo>
                    <a:pt x="7500" y="11988"/>
                  </a:lnTo>
                  <a:lnTo>
                    <a:pt x="7395" y="12294"/>
                  </a:lnTo>
                  <a:lnTo>
                    <a:pt x="7282" y="12600"/>
                  </a:lnTo>
                  <a:lnTo>
                    <a:pt x="7162" y="12904"/>
                  </a:lnTo>
                  <a:lnTo>
                    <a:pt x="7035" y="13203"/>
                  </a:lnTo>
                  <a:lnTo>
                    <a:pt x="6901" y="13498"/>
                  </a:lnTo>
                  <a:lnTo>
                    <a:pt x="6761" y="13785"/>
                  </a:lnTo>
                  <a:lnTo>
                    <a:pt x="6613" y="14065"/>
                  </a:lnTo>
                  <a:lnTo>
                    <a:pt x="6461" y="14335"/>
                  </a:lnTo>
                  <a:lnTo>
                    <a:pt x="6302" y="14594"/>
                  </a:lnTo>
                  <a:lnTo>
                    <a:pt x="6138" y="14841"/>
                  </a:lnTo>
                  <a:lnTo>
                    <a:pt x="5969" y="15074"/>
                  </a:lnTo>
                  <a:lnTo>
                    <a:pt x="5795" y="15291"/>
                  </a:lnTo>
                  <a:lnTo>
                    <a:pt x="5616" y="15492"/>
                  </a:lnTo>
                  <a:lnTo>
                    <a:pt x="5432" y="15673"/>
                  </a:lnTo>
                  <a:lnTo>
                    <a:pt x="5245" y="15837"/>
                  </a:lnTo>
                  <a:lnTo>
                    <a:pt x="5053" y="15978"/>
                  </a:lnTo>
                  <a:lnTo>
                    <a:pt x="4857" y="16098"/>
                  </a:lnTo>
                  <a:lnTo>
                    <a:pt x="4658" y="16193"/>
                  </a:lnTo>
                  <a:lnTo>
                    <a:pt x="4456" y="16263"/>
                  </a:lnTo>
                  <a:lnTo>
                    <a:pt x="4251" y="16306"/>
                  </a:lnTo>
                  <a:lnTo>
                    <a:pt x="4043" y="16320"/>
                  </a:lnTo>
                  <a:lnTo>
                    <a:pt x="3834" y="16306"/>
                  </a:lnTo>
                  <a:lnTo>
                    <a:pt x="3629" y="16263"/>
                  </a:lnTo>
                  <a:lnTo>
                    <a:pt x="3427" y="16193"/>
                  </a:lnTo>
                  <a:lnTo>
                    <a:pt x="3228" y="16098"/>
                  </a:lnTo>
                  <a:lnTo>
                    <a:pt x="3032" y="15978"/>
                  </a:lnTo>
                  <a:lnTo>
                    <a:pt x="2840" y="15837"/>
                  </a:lnTo>
                  <a:lnTo>
                    <a:pt x="2653" y="15673"/>
                  </a:lnTo>
                  <a:lnTo>
                    <a:pt x="2469" y="15492"/>
                  </a:lnTo>
                  <a:lnTo>
                    <a:pt x="2290" y="15291"/>
                  </a:lnTo>
                  <a:lnTo>
                    <a:pt x="2116" y="15074"/>
                  </a:lnTo>
                  <a:lnTo>
                    <a:pt x="1947" y="14841"/>
                  </a:lnTo>
                  <a:lnTo>
                    <a:pt x="1783" y="14594"/>
                  </a:lnTo>
                  <a:lnTo>
                    <a:pt x="1624" y="14335"/>
                  </a:lnTo>
                  <a:lnTo>
                    <a:pt x="1472" y="14065"/>
                  </a:lnTo>
                  <a:lnTo>
                    <a:pt x="1324" y="13785"/>
                  </a:lnTo>
                  <a:lnTo>
                    <a:pt x="1184" y="13498"/>
                  </a:lnTo>
                  <a:lnTo>
                    <a:pt x="1050" y="13203"/>
                  </a:lnTo>
                  <a:lnTo>
                    <a:pt x="923" y="12904"/>
                  </a:lnTo>
                  <a:lnTo>
                    <a:pt x="803" y="12600"/>
                  </a:lnTo>
                  <a:lnTo>
                    <a:pt x="690" y="12294"/>
                  </a:lnTo>
                  <a:lnTo>
                    <a:pt x="585" y="11988"/>
                  </a:lnTo>
                  <a:lnTo>
                    <a:pt x="488" y="11682"/>
                  </a:lnTo>
                  <a:lnTo>
                    <a:pt x="398" y="11377"/>
                  </a:lnTo>
                  <a:lnTo>
                    <a:pt x="318" y="11077"/>
                  </a:lnTo>
                  <a:lnTo>
                    <a:pt x="245" y="10781"/>
                  </a:lnTo>
                  <a:lnTo>
                    <a:pt x="182" y="10492"/>
                  </a:lnTo>
                  <a:lnTo>
                    <a:pt x="127" y="10210"/>
                  </a:lnTo>
                  <a:lnTo>
                    <a:pt x="82" y="9937"/>
                  </a:lnTo>
                  <a:lnTo>
                    <a:pt x="47" y="9675"/>
                  </a:lnTo>
                  <a:lnTo>
                    <a:pt x="21" y="9426"/>
                  </a:lnTo>
                  <a:lnTo>
                    <a:pt x="5" y="9189"/>
                  </a:lnTo>
                  <a:lnTo>
                    <a:pt x="0" y="8968"/>
                  </a:lnTo>
                  <a:lnTo>
                    <a:pt x="5" y="8741"/>
                  </a:lnTo>
                  <a:lnTo>
                    <a:pt x="21" y="8492"/>
                  </a:lnTo>
                  <a:lnTo>
                    <a:pt x="47" y="8220"/>
                  </a:lnTo>
                  <a:lnTo>
                    <a:pt x="82" y="7928"/>
                  </a:lnTo>
                  <a:lnTo>
                    <a:pt x="127" y="7619"/>
                  </a:lnTo>
                  <a:lnTo>
                    <a:pt x="182" y="7295"/>
                  </a:lnTo>
                  <a:lnTo>
                    <a:pt x="245" y="6956"/>
                  </a:lnTo>
                  <a:lnTo>
                    <a:pt x="318" y="6606"/>
                  </a:lnTo>
                  <a:lnTo>
                    <a:pt x="398" y="6246"/>
                  </a:lnTo>
                  <a:lnTo>
                    <a:pt x="488" y="5879"/>
                  </a:lnTo>
                  <a:lnTo>
                    <a:pt x="585" y="5506"/>
                  </a:lnTo>
                  <a:lnTo>
                    <a:pt x="690" y="5130"/>
                  </a:lnTo>
                  <a:lnTo>
                    <a:pt x="803" y="4752"/>
                  </a:lnTo>
                  <a:lnTo>
                    <a:pt x="923" y="4375"/>
                  </a:lnTo>
                  <a:lnTo>
                    <a:pt x="1050" y="4000"/>
                  </a:lnTo>
                  <a:lnTo>
                    <a:pt x="1184" y="3630"/>
                  </a:lnTo>
                  <a:lnTo>
                    <a:pt x="1324" y="3267"/>
                  </a:lnTo>
                  <a:lnTo>
                    <a:pt x="1472" y="2912"/>
                  </a:lnTo>
                  <a:lnTo>
                    <a:pt x="1624" y="2568"/>
                  </a:lnTo>
                  <a:lnTo>
                    <a:pt x="1783" y="2237"/>
                  </a:lnTo>
                  <a:lnTo>
                    <a:pt x="1947" y="1921"/>
                  </a:lnTo>
                  <a:lnTo>
                    <a:pt x="2116" y="1622"/>
                  </a:lnTo>
                  <a:lnTo>
                    <a:pt x="2290" y="1340"/>
                  </a:lnTo>
                  <a:lnTo>
                    <a:pt x="2469" y="1081"/>
                  </a:lnTo>
                  <a:lnTo>
                    <a:pt x="2653" y="845"/>
                  </a:lnTo>
                  <a:lnTo>
                    <a:pt x="2840" y="632"/>
                  </a:lnTo>
                  <a:lnTo>
                    <a:pt x="3032" y="448"/>
                  </a:lnTo>
                  <a:lnTo>
                    <a:pt x="3228" y="292"/>
                  </a:lnTo>
                  <a:lnTo>
                    <a:pt x="3427" y="167"/>
                  </a:lnTo>
                  <a:lnTo>
                    <a:pt x="3629" y="75"/>
                  </a:lnTo>
                  <a:lnTo>
                    <a:pt x="3834" y="19"/>
                  </a:lnTo>
                  <a:lnTo>
                    <a:pt x="4043"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lumMod val="50000"/>
                  </a:srgbClr>
                </a:solidFill>
                <a:effectLst/>
                <a:uLnTx/>
                <a:uFillTx/>
                <a:latin typeface="等线 Light" panose="020F0302020204030204"/>
                <a:ea typeface="+mn-ea"/>
                <a:cs typeface="+mn-cs"/>
              </a:endParaRPr>
            </a:p>
          </p:txBody>
        </p:sp>
        <p:sp>
          <p:nvSpPr>
            <p:cNvPr id="9" name="Freeform 14">
              <a:extLst>
                <a:ext uri="{FF2B5EF4-FFF2-40B4-BE49-F238E27FC236}">
                  <a16:creationId xmlns:a16="http://schemas.microsoft.com/office/drawing/2014/main" id="{2575AD08-D047-4E5F-8957-886203AFF98C}"/>
                </a:ext>
              </a:extLst>
            </p:cNvPr>
            <p:cNvSpPr>
              <a:spLocks/>
            </p:cNvSpPr>
            <p:nvPr/>
          </p:nvSpPr>
          <p:spPr bwMode="auto">
            <a:xfrm rot="6300000">
              <a:off x="6359254" y="2527393"/>
              <a:ext cx="995627" cy="502432"/>
            </a:xfrm>
            <a:custGeom>
              <a:avLst/>
              <a:gdLst>
                <a:gd name="T0" fmla="*/ 4456 w 8085"/>
                <a:gd name="T1" fmla="*/ 75 h 16320"/>
                <a:gd name="T2" fmla="*/ 5053 w 8085"/>
                <a:gd name="T3" fmla="*/ 448 h 16320"/>
                <a:gd name="T4" fmla="*/ 5616 w 8085"/>
                <a:gd name="T5" fmla="*/ 1081 h 16320"/>
                <a:gd name="T6" fmla="*/ 6138 w 8085"/>
                <a:gd name="T7" fmla="*/ 1921 h 16320"/>
                <a:gd name="T8" fmla="*/ 6613 w 8085"/>
                <a:gd name="T9" fmla="*/ 2912 h 16320"/>
                <a:gd name="T10" fmla="*/ 7035 w 8085"/>
                <a:gd name="T11" fmla="*/ 4000 h 16320"/>
                <a:gd name="T12" fmla="*/ 7395 w 8085"/>
                <a:gd name="T13" fmla="*/ 5130 h 16320"/>
                <a:gd name="T14" fmla="*/ 7687 w 8085"/>
                <a:gd name="T15" fmla="*/ 6246 h 16320"/>
                <a:gd name="T16" fmla="*/ 7903 w 8085"/>
                <a:gd name="T17" fmla="*/ 7295 h 16320"/>
                <a:gd name="T18" fmla="*/ 8038 w 8085"/>
                <a:gd name="T19" fmla="*/ 8220 h 16320"/>
                <a:gd name="T20" fmla="*/ 8085 w 8085"/>
                <a:gd name="T21" fmla="*/ 8968 h 16320"/>
                <a:gd name="T22" fmla="*/ 8038 w 8085"/>
                <a:gd name="T23" fmla="*/ 9675 h 16320"/>
                <a:gd name="T24" fmla="*/ 7903 w 8085"/>
                <a:gd name="T25" fmla="*/ 10492 h 16320"/>
                <a:gd name="T26" fmla="*/ 7687 w 8085"/>
                <a:gd name="T27" fmla="*/ 11377 h 16320"/>
                <a:gd name="T28" fmla="*/ 7395 w 8085"/>
                <a:gd name="T29" fmla="*/ 12294 h 16320"/>
                <a:gd name="T30" fmla="*/ 7035 w 8085"/>
                <a:gd name="T31" fmla="*/ 13203 h 16320"/>
                <a:gd name="T32" fmla="*/ 6613 w 8085"/>
                <a:gd name="T33" fmla="*/ 14065 h 16320"/>
                <a:gd name="T34" fmla="*/ 6138 w 8085"/>
                <a:gd name="T35" fmla="*/ 14841 h 16320"/>
                <a:gd name="T36" fmla="*/ 5616 w 8085"/>
                <a:gd name="T37" fmla="*/ 15492 h 16320"/>
                <a:gd name="T38" fmla="*/ 5053 w 8085"/>
                <a:gd name="T39" fmla="*/ 15978 h 16320"/>
                <a:gd name="T40" fmla="*/ 4456 w 8085"/>
                <a:gd name="T41" fmla="*/ 16263 h 16320"/>
                <a:gd name="T42" fmla="*/ 3834 w 8085"/>
                <a:gd name="T43" fmla="*/ 16306 h 16320"/>
                <a:gd name="T44" fmla="*/ 3228 w 8085"/>
                <a:gd name="T45" fmla="*/ 16098 h 16320"/>
                <a:gd name="T46" fmla="*/ 2653 w 8085"/>
                <a:gd name="T47" fmla="*/ 15673 h 16320"/>
                <a:gd name="T48" fmla="*/ 2116 w 8085"/>
                <a:gd name="T49" fmla="*/ 15074 h 16320"/>
                <a:gd name="T50" fmla="*/ 1624 w 8085"/>
                <a:gd name="T51" fmla="*/ 14335 h 16320"/>
                <a:gd name="T52" fmla="*/ 1184 w 8085"/>
                <a:gd name="T53" fmla="*/ 13498 h 16320"/>
                <a:gd name="T54" fmla="*/ 803 w 8085"/>
                <a:gd name="T55" fmla="*/ 12600 h 16320"/>
                <a:gd name="T56" fmla="*/ 488 w 8085"/>
                <a:gd name="T57" fmla="*/ 11682 h 16320"/>
                <a:gd name="T58" fmla="*/ 245 w 8085"/>
                <a:gd name="T59" fmla="*/ 10781 h 16320"/>
                <a:gd name="T60" fmla="*/ 82 w 8085"/>
                <a:gd name="T61" fmla="*/ 9937 h 16320"/>
                <a:gd name="T62" fmla="*/ 5 w 8085"/>
                <a:gd name="T63" fmla="*/ 9189 h 16320"/>
                <a:gd name="T64" fmla="*/ 21 w 8085"/>
                <a:gd name="T65" fmla="*/ 8492 h 16320"/>
                <a:gd name="T66" fmla="*/ 127 w 8085"/>
                <a:gd name="T67" fmla="*/ 7619 h 16320"/>
                <a:gd name="T68" fmla="*/ 318 w 8085"/>
                <a:gd name="T69" fmla="*/ 6606 h 16320"/>
                <a:gd name="T70" fmla="*/ 585 w 8085"/>
                <a:gd name="T71" fmla="*/ 5506 h 16320"/>
                <a:gd name="T72" fmla="*/ 923 w 8085"/>
                <a:gd name="T73" fmla="*/ 4375 h 16320"/>
                <a:gd name="T74" fmla="*/ 1324 w 8085"/>
                <a:gd name="T75" fmla="*/ 3267 h 16320"/>
                <a:gd name="T76" fmla="*/ 1783 w 8085"/>
                <a:gd name="T77" fmla="*/ 2237 h 16320"/>
                <a:gd name="T78" fmla="*/ 2290 w 8085"/>
                <a:gd name="T79" fmla="*/ 1340 h 16320"/>
                <a:gd name="T80" fmla="*/ 2840 w 8085"/>
                <a:gd name="T81" fmla="*/ 632 h 16320"/>
                <a:gd name="T82" fmla="*/ 3427 w 8085"/>
                <a:gd name="T83" fmla="*/ 167 h 16320"/>
                <a:gd name="T84" fmla="*/ 4043 w 8085"/>
                <a:gd name="T85" fmla="*/ 0 h 16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085" h="16320">
                  <a:moveTo>
                    <a:pt x="4043" y="0"/>
                  </a:moveTo>
                  <a:lnTo>
                    <a:pt x="4251" y="19"/>
                  </a:lnTo>
                  <a:lnTo>
                    <a:pt x="4456" y="75"/>
                  </a:lnTo>
                  <a:lnTo>
                    <a:pt x="4658" y="167"/>
                  </a:lnTo>
                  <a:lnTo>
                    <a:pt x="4857" y="292"/>
                  </a:lnTo>
                  <a:lnTo>
                    <a:pt x="5053" y="448"/>
                  </a:lnTo>
                  <a:lnTo>
                    <a:pt x="5245" y="632"/>
                  </a:lnTo>
                  <a:lnTo>
                    <a:pt x="5432" y="845"/>
                  </a:lnTo>
                  <a:lnTo>
                    <a:pt x="5616" y="1081"/>
                  </a:lnTo>
                  <a:lnTo>
                    <a:pt x="5795" y="1340"/>
                  </a:lnTo>
                  <a:lnTo>
                    <a:pt x="5969" y="1622"/>
                  </a:lnTo>
                  <a:lnTo>
                    <a:pt x="6138" y="1921"/>
                  </a:lnTo>
                  <a:lnTo>
                    <a:pt x="6302" y="2237"/>
                  </a:lnTo>
                  <a:lnTo>
                    <a:pt x="6461" y="2568"/>
                  </a:lnTo>
                  <a:lnTo>
                    <a:pt x="6613" y="2912"/>
                  </a:lnTo>
                  <a:lnTo>
                    <a:pt x="6761" y="3267"/>
                  </a:lnTo>
                  <a:lnTo>
                    <a:pt x="6901" y="3630"/>
                  </a:lnTo>
                  <a:lnTo>
                    <a:pt x="7035" y="4000"/>
                  </a:lnTo>
                  <a:lnTo>
                    <a:pt x="7162" y="4375"/>
                  </a:lnTo>
                  <a:lnTo>
                    <a:pt x="7282" y="4752"/>
                  </a:lnTo>
                  <a:lnTo>
                    <a:pt x="7395" y="5130"/>
                  </a:lnTo>
                  <a:lnTo>
                    <a:pt x="7500" y="5506"/>
                  </a:lnTo>
                  <a:lnTo>
                    <a:pt x="7597" y="5879"/>
                  </a:lnTo>
                  <a:lnTo>
                    <a:pt x="7687" y="6246"/>
                  </a:lnTo>
                  <a:lnTo>
                    <a:pt x="7767" y="6606"/>
                  </a:lnTo>
                  <a:lnTo>
                    <a:pt x="7840" y="6956"/>
                  </a:lnTo>
                  <a:lnTo>
                    <a:pt x="7903" y="7295"/>
                  </a:lnTo>
                  <a:lnTo>
                    <a:pt x="7958" y="7619"/>
                  </a:lnTo>
                  <a:lnTo>
                    <a:pt x="8003" y="7928"/>
                  </a:lnTo>
                  <a:lnTo>
                    <a:pt x="8038" y="8220"/>
                  </a:lnTo>
                  <a:lnTo>
                    <a:pt x="8064" y="8492"/>
                  </a:lnTo>
                  <a:lnTo>
                    <a:pt x="8080" y="8741"/>
                  </a:lnTo>
                  <a:lnTo>
                    <a:pt x="8085" y="8968"/>
                  </a:lnTo>
                  <a:lnTo>
                    <a:pt x="8080" y="9189"/>
                  </a:lnTo>
                  <a:lnTo>
                    <a:pt x="8064" y="9426"/>
                  </a:lnTo>
                  <a:lnTo>
                    <a:pt x="8038" y="9675"/>
                  </a:lnTo>
                  <a:lnTo>
                    <a:pt x="8003" y="9937"/>
                  </a:lnTo>
                  <a:lnTo>
                    <a:pt x="7958" y="10210"/>
                  </a:lnTo>
                  <a:lnTo>
                    <a:pt x="7903" y="10492"/>
                  </a:lnTo>
                  <a:lnTo>
                    <a:pt x="7840" y="10781"/>
                  </a:lnTo>
                  <a:lnTo>
                    <a:pt x="7767" y="11077"/>
                  </a:lnTo>
                  <a:lnTo>
                    <a:pt x="7687" y="11377"/>
                  </a:lnTo>
                  <a:lnTo>
                    <a:pt x="7597" y="11682"/>
                  </a:lnTo>
                  <a:lnTo>
                    <a:pt x="7500" y="11988"/>
                  </a:lnTo>
                  <a:lnTo>
                    <a:pt x="7395" y="12294"/>
                  </a:lnTo>
                  <a:lnTo>
                    <a:pt x="7282" y="12600"/>
                  </a:lnTo>
                  <a:lnTo>
                    <a:pt x="7162" y="12904"/>
                  </a:lnTo>
                  <a:lnTo>
                    <a:pt x="7035" y="13203"/>
                  </a:lnTo>
                  <a:lnTo>
                    <a:pt x="6901" y="13498"/>
                  </a:lnTo>
                  <a:lnTo>
                    <a:pt x="6761" y="13785"/>
                  </a:lnTo>
                  <a:lnTo>
                    <a:pt x="6613" y="14065"/>
                  </a:lnTo>
                  <a:lnTo>
                    <a:pt x="6461" y="14335"/>
                  </a:lnTo>
                  <a:lnTo>
                    <a:pt x="6302" y="14594"/>
                  </a:lnTo>
                  <a:lnTo>
                    <a:pt x="6138" y="14841"/>
                  </a:lnTo>
                  <a:lnTo>
                    <a:pt x="5969" y="15074"/>
                  </a:lnTo>
                  <a:lnTo>
                    <a:pt x="5795" y="15291"/>
                  </a:lnTo>
                  <a:lnTo>
                    <a:pt x="5616" y="15492"/>
                  </a:lnTo>
                  <a:lnTo>
                    <a:pt x="5432" y="15673"/>
                  </a:lnTo>
                  <a:lnTo>
                    <a:pt x="5245" y="15837"/>
                  </a:lnTo>
                  <a:lnTo>
                    <a:pt x="5053" y="15978"/>
                  </a:lnTo>
                  <a:lnTo>
                    <a:pt x="4857" y="16098"/>
                  </a:lnTo>
                  <a:lnTo>
                    <a:pt x="4658" y="16193"/>
                  </a:lnTo>
                  <a:lnTo>
                    <a:pt x="4456" y="16263"/>
                  </a:lnTo>
                  <a:lnTo>
                    <a:pt x="4251" y="16306"/>
                  </a:lnTo>
                  <a:lnTo>
                    <a:pt x="4043" y="16320"/>
                  </a:lnTo>
                  <a:lnTo>
                    <a:pt x="3834" y="16306"/>
                  </a:lnTo>
                  <a:lnTo>
                    <a:pt x="3629" y="16263"/>
                  </a:lnTo>
                  <a:lnTo>
                    <a:pt x="3427" y="16193"/>
                  </a:lnTo>
                  <a:lnTo>
                    <a:pt x="3228" y="16098"/>
                  </a:lnTo>
                  <a:lnTo>
                    <a:pt x="3032" y="15978"/>
                  </a:lnTo>
                  <a:lnTo>
                    <a:pt x="2840" y="15837"/>
                  </a:lnTo>
                  <a:lnTo>
                    <a:pt x="2653" y="15673"/>
                  </a:lnTo>
                  <a:lnTo>
                    <a:pt x="2469" y="15492"/>
                  </a:lnTo>
                  <a:lnTo>
                    <a:pt x="2290" y="15291"/>
                  </a:lnTo>
                  <a:lnTo>
                    <a:pt x="2116" y="15074"/>
                  </a:lnTo>
                  <a:lnTo>
                    <a:pt x="1947" y="14841"/>
                  </a:lnTo>
                  <a:lnTo>
                    <a:pt x="1783" y="14594"/>
                  </a:lnTo>
                  <a:lnTo>
                    <a:pt x="1624" y="14335"/>
                  </a:lnTo>
                  <a:lnTo>
                    <a:pt x="1472" y="14065"/>
                  </a:lnTo>
                  <a:lnTo>
                    <a:pt x="1324" y="13785"/>
                  </a:lnTo>
                  <a:lnTo>
                    <a:pt x="1184" y="13498"/>
                  </a:lnTo>
                  <a:lnTo>
                    <a:pt x="1050" y="13203"/>
                  </a:lnTo>
                  <a:lnTo>
                    <a:pt x="923" y="12904"/>
                  </a:lnTo>
                  <a:lnTo>
                    <a:pt x="803" y="12600"/>
                  </a:lnTo>
                  <a:lnTo>
                    <a:pt x="690" y="12294"/>
                  </a:lnTo>
                  <a:lnTo>
                    <a:pt x="585" y="11988"/>
                  </a:lnTo>
                  <a:lnTo>
                    <a:pt x="488" y="11682"/>
                  </a:lnTo>
                  <a:lnTo>
                    <a:pt x="398" y="11377"/>
                  </a:lnTo>
                  <a:lnTo>
                    <a:pt x="318" y="11077"/>
                  </a:lnTo>
                  <a:lnTo>
                    <a:pt x="245" y="10781"/>
                  </a:lnTo>
                  <a:lnTo>
                    <a:pt x="182" y="10492"/>
                  </a:lnTo>
                  <a:lnTo>
                    <a:pt x="127" y="10210"/>
                  </a:lnTo>
                  <a:lnTo>
                    <a:pt x="82" y="9937"/>
                  </a:lnTo>
                  <a:lnTo>
                    <a:pt x="47" y="9675"/>
                  </a:lnTo>
                  <a:lnTo>
                    <a:pt x="21" y="9426"/>
                  </a:lnTo>
                  <a:lnTo>
                    <a:pt x="5" y="9189"/>
                  </a:lnTo>
                  <a:lnTo>
                    <a:pt x="0" y="8968"/>
                  </a:lnTo>
                  <a:lnTo>
                    <a:pt x="5" y="8741"/>
                  </a:lnTo>
                  <a:lnTo>
                    <a:pt x="21" y="8492"/>
                  </a:lnTo>
                  <a:lnTo>
                    <a:pt x="47" y="8220"/>
                  </a:lnTo>
                  <a:lnTo>
                    <a:pt x="82" y="7928"/>
                  </a:lnTo>
                  <a:lnTo>
                    <a:pt x="127" y="7619"/>
                  </a:lnTo>
                  <a:lnTo>
                    <a:pt x="182" y="7295"/>
                  </a:lnTo>
                  <a:lnTo>
                    <a:pt x="245" y="6956"/>
                  </a:lnTo>
                  <a:lnTo>
                    <a:pt x="318" y="6606"/>
                  </a:lnTo>
                  <a:lnTo>
                    <a:pt x="398" y="6246"/>
                  </a:lnTo>
                  <a:lnTo>
                    <a:pt x="488" y="5879"/>
                  </a:lnTo>
                  <a:lnTo>
                    <a:pt x="585" y="5506"/>
                  </a:lnTo>
                  <a:lnTo>
                    <a:pt x="690" y="5130"/>
                  </a:lnTo>
                  <a:lnTo>
                    <a:pt x="803" y="4752"/>
                  </a:lnTo>
                  <a:lnTo>
                    <a:pt x="923" y="4375"/>
                  </a:lnTo>
                  <a:lnTo>
                    <a:pt x="1050" y="4000"/>
                  </a:lnTo>
                  <a:lnTo>
                    <a:pt x="1184" y="3630"/>
                  </a:lnTo>
                  <a:lnTo>
                    <a:pt x="1324" y="3267"/>
                  </a:lnTo>
                  <a:lnTo>
                    <a:pt x="1472" y="2912"/>
                  </a:lnTo>
                  <a:lnTo>
                    <a:pt x="1624" y="2568"/>
                  </a:lnTo>
                  <a:lnTo>
                    <a:pt x="1783" y="2237"/>
                  </a:lnTo>
                  <a:lnTo>
                    <a:pt x="1947" y="1921"/>
                  </a:lnTo>
                  <a:lnTo>
                    <a:pt x="2116" y="1622"/>
                  </a:lnTo>
                  <a:lnTo>
                    <a:pt x="2290" y="1340"/>
                  </a:lnTo>
                  <a:lnTo>
                    <a:pt x="2469" y="1081"/>
                  </a:lnTo>
                  <a:lnTo>
                    <a:pt x="2653" y="845"/>
                  </a:lnTo>
                  <a:lnTo>
                    <a:pt x="2840" y="632"/>
                  </a:lnTo>
                  <a:lnTo>
                    <a:pt x="3032" y="448"/>
                  </a:lnTo>
                  <a:lnTo>
                    <a:pt x="3228" y="292"/>
                  </a:lnTo>
                  <a:lnTo>
                    <a:pt x="3427" y="167"/>
                  </a:lnTo>
                  <a:lnTo>
                    <a:pt x="3629" y="75"/>
                  </a:lnTo>
                  <a:lnTo>
                    <a:pt x="3834" y="19"/>
                  </a:lnTo>
                  <a:lnTo>
                    <a:pt x="4043" y="0"/>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lumMod val="50000"/>
                  </a:srgbClr>
                </a:solidFill>
                <a:effectLst/>
                <a:uLnTx/>
                <a:uFillTx/>
                <a:latin typeface="等线 Light" panose="020F0302020204030204"/>
                <a:ea typeface="+mn-ea"/>
                <a:cs typeface="+mn-cs"/>
              </a:endParaRPr>
            </a:p>
          </p:txBody>
        </p:sp>
        <p:sp>
          <p:nvSpPr>
            <p:cNvPr id="10" name="Freeform 15">
              <a:extLst>
                <a:ext uri="{FF2B5EF4-FFF2-40B4-BE49-F238E27FC236}">
                  <a16:creationId xmlns:a16="http://schemas.microsoft.com/office/drawing/2014/main" id="{5F02D540-98BC-448E-89D0-4701B9240413}"/>
                </a:ext>
              </a:extLst>
            </p:cNvPr>
            <p:cNvSpPr>
              <a:spLocks/>
            </p:cNvSpPr>
            <p:nvPr/>
          </p:nvSpPr>
          <p:spPr bwMode="auto">
            <a:xfrm rot="14400000">
              <a:off x="6563961" y="3788881"/>
              <a:ext cx="701519" cy="354013"/>
            </a:xfrm>
            <a:custGeom>
              <a:avLst/>
              <a:gdLst>
                <a:gd name="T0" fmla="*/ 4456 w 8085"/>
                <a:gd name="T1" fmla="*/ 75 h 16320"/>
                <a:gd name="T2" fmla="*/ 5053 w 8085"/>
                <a:gd name="T3" fmla="*/ 448 h 16320"/>
                <a:gd name="T4" fmla="*/ 5616 w 8085"/>
                <a:gd name="T5" fmla="*/ 1081 h 16320"/>
                <a:gd name="T6" fmla="*/ 6138 w 8085"/>
                <a:gd name="T7" fmla="*/ 1921 h 16320"/>
                <a:gd name="T8" fmla="*/ 6613 w 8085"/>
                <a:gd name="T9" fmla="*/ 2912 h 16320"/>
                <a:gd name="T10" fmla="*/ 7035 w 8085"/>
                <a:gd name="T11" fmla="*/ 4000 h 16320"/>
                <a:gd name="T12" fmla="*/ 7395 w 8085"/>
                <a:gd name="T13" fmla="*/ 5130 h 16320"/>
                <a:gd name="T14" fmla="*/ 7687 w 8085"/>
                <a:gd name="T15" fmla="*/ 6246 h 16320"/>
                <a:gd name="T16" fmla="*/ 7903 w 8085"/>
                <a:gd name="T17" fmla="*/ 7295 h 16320"/>
                <a:gd name="T18" fmla="*/ 8038 w 8085"/>
                <a:gd name="T19" fmla="*/ 8220 h 16320"/>
                <a:gd name="T20" fmla="*/ 8085 w 8085"/>
                <a:gd name="T21" fmla="*/ 8968 h 16320"/>
                <a:gd name="T22" fmla="*/ 8038 w 8085"/>
                <a:gd name="T23" fmla="*/ 9675 h 16320"/>
                <a:gd name="T24" fmla="*/ 7903 w 8085"/>
                <a:gd name="T25" fmla="*/ 10492 h 16320"/>
                <a:gd name="T26" fmla="*/ 7687 w 8085"/>
                <a:gd name="T27" fmla="*/ 11377 h 16320"/>
                <a:gd name="T28" fmla="*/ 7395 w 8085"/>
                <a:gd name="T29" fmla="*/ 12294 h 16320"/>
                <a:gd name="T30" fmla="*/ 7035 w 8085"/>
                <a:gd name="T31" fmla="*/ 13203 h 16320"/>
                <a:gd name="T32" fmla="*/ 6613 w 8085"/>
                <a:gd name="T33" fmla="*/ 14065 h 16320"/>
                <a:gd name="T34" fmla="*/ 6138 w 8085"/>
                <a:gd name="T35" fmla="*/ 14841 h 16320"/>
                <a:gd name="T36" fmla="*/ 5616 w 8085"/>
                <a:gd name="T37" fmla="*/ 15492 h 16320"/>
                <a:gd name="T38" fmla="*/ 5053 w 8085"/>
                <a:gd name="T39" fmla="*/ 15978 h 16320"/>
                <a:gd name="T40" fmla="*/ 4456 w 8085"/>
                <a:gd name="T41" fmla="*/ 16263 h 16320"/>
                <a:gd name="T42" fmla="*/ 3834 w 8085"/>
                <a:gd name="T43" fmla="*/ 16306 h 16320"/>
                <a:gd name="T44" fmla="*/ 3228 w 8085"/>
                <a:gd name="T45" fmla="*/ 16098 h 16320"/>
                <a:gd name="T46" fmla="*/ 2653 w 8085"/>
                <a:gd name="T47" fmla="*/ 15673 h 16320"/>
                <a:gd name="T48" fmla="*/ 2116 w 8085"/>
                <a:gd name="T49" fmla="*/ 15074 h 16320"/>
                <a:gd name="T50" fmla="*/ 1624 w 8085"/>
                <a:gd name="T51" fmla="*/ 14335 h 16320"/>
                <a:gd name="T52" fmla="*/ 1184 w 8085"/>
                <a:gd name="T53" fmla="*/ 13498 h 16320"/>
                <a:gd name="T54" fmla="*/ 803 w 8085"/>
                <a:gd name="T55" fmla="*/ 12600 h 16320"/>
                <a:gd name="T56" fmla="*/ 488 w 8085"/>
                <a:gd name="T57" fmla="*/ 11682 h 16320"/>
                <a:gd name="T58" fmla="*/ 245 w 8085"/>
                <a:gd name="T59" fmla="*/ 10781 h 16320"/>
                <a:gd name="T60" fmla="*/ 82 w 8085"/>
                <a:gd name="T61" fmla="*/ 9937 h 16320"/>
                <a:gd name="T62" fmla="*/ 5 w 8085"/>
                <a:gd name="T63" fmla="*/ 9189 h 16320"/>
                <a:gd name="T64" fmla="*/ 21 w 8085"/>
                <a:gd name="T65" fmla="*/ 8492 h 16320"/>
                <a:gd name="T66" fmla="*/ 127 w 8085"/>
                <a:gd name="T67" fmla="*/ 7619 h 16320"/>
                <a:gd name="T68" fmla="*/ 318 w 8085"/>
                <a:gd name="T69" fmla="*/ 6606 h 16320"/>
                <a:gd name="T70" fmla="*/ 585 w 8085"/>
                <a:gd name="T71" fmla="*/ 5506 h 16320"/>
                <a:gd name="T72" fmla="*/ 923 w 8085"/>
                <a:gd name="T73" fmla="*/ 4375 h 16320"/>
                <a:gd name="T74" fmla="*/ 1324 w 8085"/>
                <a:gd name="T75" fmla="*/ 3267 h 16320"/>
                <a:gd name="T76" fmla="*/ 1783 w 8085"/>
                <a:gd name="T77" fmla="*/ 2237 h 16320"/>
                <a:gd name="T78" fmla="*/ 2290 w 8085"/>
                <a:gd name="T79" fmla="*/ 1340 h 16320"/>
                <a:gd name="T80" fmla="*/ 2840 w 8085"/>
                <a:gd name="T81" fmla="*/ 632 h 16320"/>
                <a:gd name="T82" fmla="*/ 3427 w 8085"/>
                <a:gd name="T83" fmla="*/ 167 h 16320"/>
                <a:gd name="T84" fmla="*/ 4043 w 8085"/>
                <a:gd name="T85" fmla="*/ 0 h 16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085" h="16320">
                  <a:moveTo>
                    <a:pt x="4043" y="0"/>
                  </a:moveTo>
                  <a:lnTo>
                    <a:pt x="4251" y="19"/>
                  </a:lnTo>
                  <a:lnTo>
                    <a:pt x="4456" y="75"/>
                  </a:lnTo>
                  <a:lnTo>
                    <a:pt x="4658" y="167"/>
                  </a:lnTo>
                  <a:lnTo>
                    <a:pt x="4857" y="292"/>
                  </a:lnTo>
                  <a:lnTo>
                    <a:pt x="5053" y="448"/>
                  </a:lnTo>
                  <a:lnTo>
                    <a:pt x="5245" y="632"/>
                  </a:lnTo>
                  <a:lnTo>
                    <a:pt x="5432" y="845"/>
                  </a:lnTo>
                  <a:lnTo>
                    <a:pt x="5616" y="1081"/>
                  </a:lnTo>
                  <a:lnTo>
                    <a:pt x="5795" y="1340"/>
                  </a:lnTo>
                  <a:lnTo>
                    <a:pt x="5969" y="1622"/>
                  </a:lnTo>
                  <a:lnTo>
                    <a:pt x="6138" y="1921"/>
                  </a:lnTo>
                  <a:lnTo>
                    <a:pt x="6302" y="2237"/>
                  </a:lnTo>
                  <a:lnTo>
                    <a:pt x="6461" y="2568"/>
                  </a:lnTo>
                  <a:lnTo>
                    <a:pt x="6613" y="2912"/>
                  </a:lnTo>
                  <a:lnTo>
                    <a:pt x="6761" y="3267"/>
                  </a:lnTo>
                  <a:lnTo>
                    <a:pt x="6901" y="3630"/>
                  </a:lnTo>
                  <a:lnTo>
                    <a:pt x="7035" y="4000"/>
                  </a:lnTo>
                  <a:lnTo>
                    <a:pt x="7162" y="4375"/>
                  </a:lnTo>
                  <a:lnTo>
                    <a:pt x="7282" y="4752"/>
                  </a:lnTo>
                  <a:lnTo>
                    <a:pt x="7395" y="5130"/>
                  </a:lnTo>
                  <a:lnTo>
                    <a:pt x="7500" y="5506"/>
                  </a:lnTo>
                  <a:lnTo>
                    <a:pt x="7597" y="5879"/>
                  </a:lnTo>
                  <a:lnTo>
                    <a:pt x="7687" y="6246"/>
                  </a:lnTo>
                  <a:lnTo>
                    <a:pt x="7767" y="6606"/>
                  </a:lnTo>
                  <a:lnTo>
                    <a:pt x="7840" y="6956"/>
                  </a:lnTo>
                  <a:lnTo>
                    <a:pt x="7903" y="7295"/>
                  </a:lnTo>
                  <a:lnTo>
                    <a:pt x="7958" y="7619"/>
                  </a:lnTo>
                  <a:lnTo>
                    <a:pt x="8003" y="7928"/>
                  </a:lnTo>
                  <a:lnTo>
                    <a:pt x="8038" y="8220"/>
                  </a:lnTo>
                  <a:lnTo>
                    <a:pt x="8064" y="8492"/>
                  </a:lnTo>
                  <a:lnTo>
                    <a:pt x="8080" y="8741"/>
                  </a:lnTo>
                  <a:lnTo>
                    <a:pt x="8085" y="8968"/>
                  </a:lnTo>
                  <a:lnTo>
                    <a:pt x="8080" y="9189"/>
                  </a:lnTo>
                  <a:lnTo>
                    <a:pt x="8064" y="9426"/>
                  </a:lnTo>
                  <a:lnTo>
                    <a:pt x="8038" y="9675"/>
                  </a:lnTo>
                  <a:lnTo>
                    <a:pt x="8003" y="9937"/>
                  </a:lnTo>
                  <a:lnTo>
                    <a:pt x="7958" y="10210"/>
                  </a:lnTo>
                  <a:lnTo>
                    <a:pt x="7903" y="10492"/>
                  </a:lnTo>
                  <a:lnTo>
                    <a:pt x="7840" y="10781"/>
                  </a:lnTo>
                  <a:lnTo>
                    <a:pt x="7767" y="11077"/>
                  </a:lnTo>
                  <a:lnTo>
                    <a:pt x="7687" y="11377"/>
                  </a:lnTo>
                  <a:lnTo>
                    <a:pt x="7597" y="11682"/>
                  </a:lnTo>
                  <a:lnTo>
                    <a:pt x="7500" y="11988"/>
                  </a:lnTo>
                  <a:lnTo>
                    <a:pt x="7395" y="12294"/>
                  </a:lnTo>
                  <a:lnTo>
                    <a:pt x="7282" y="12600"/>
                  </a:lnTo>
                  <a:lnTo>
                    <a:pt x="7162" y="12904"/>
                  </a:lnTo>
                  <a:lnTo>
                    <a:pt x="7035" y="13203"/>
                  </a:lnTo>
                  <a:lnTo>
                    <a:pt x="6901" y="13498"/>
                  </a:lnTo>
                  <a:lnTo>
                    <a:pt x="6761" y="13785"/>
                  </a:lnTo>
                  <a:lnTo>
                    <a:pt x="6613" y="14065"/>
                  </a:lnTo>
                  <a:lnTo>
                    <a:pt x="6461" y="14335"/>
                  </a:lnTo>
                  <a:lnTo>
                    <a:pt x="6302" y="14594"/>
                  </a:lnTo>
                  <a:lnTo>
                    <a:pt x="6138" y="14841"/>
                  </a:lnTo>
                  <a:lnTo>
                    <a:pt x="5969" y="15074"/>
                  </a:lnTo>
                  <a:lnTo>
                    <a:pt x="5795" y="15291"/>
                  </a:lnTo>
                  <a:lnTo>
                    <a:pt x="5616" y="15492"/>
                  </a:lnTo>
                  <a:lnTo>
                    <a:pt x="5432" y="15673"/>
                  </a:lnTo>
                  <a:lnTo>
                    <a:pt x="5245" y="15837"/>
                  </a:lnTo>
                  <a:lnTo>
                    <a:pt x="5053" y="15978"/>
                  </a:lnTo>
                  <a:lnTo>
                    <a:pt x="4857" y="16098"/>
                  </a:lnTo>
                  <a:lnTo>
                    <a:pt x="4658" y="16193"/>
                  </a:lnTo>
                  <a:lnTo>
                    <a:pt x="4456" y="16263"/>
                  </a:lnTo>
                  <a:lnTo>
                    <a:pt x="4251" y="16306"/>
                  </a:lnTo>
                  <a:lnTo>
                    <a:pt x="4043" y="16320"/>
                  </a:lnTo>
                  <a:lnTo>
                    <a:pt x="3834" y="16306"/>
                  </a:lnTo>
                  <a:lnTo>
                    <a:pt x="3629" y="16263"/>
                  </a:lnTo>
                  <a:lnTo>
                    <a:pt x="3427" y="16193"/>
                  </a:lnTo>
                  <a:lnTo>
                    <a:pt x="3228" y="16098"/>
                  </a:lnTo>
                  <a:lnTo>
                    <a:pt x="3032" y="15978"/>
                  </a:lnTo>
                  <a:lnTo>
                    <a:pt x="2840" y="15837"/>
                  </a:lnTo>
                  <a:lnTo>
                    <a:pt x="2653" y="15673"/>
                  </a:lnTo>
                  <a:lnTo>
                    <a:pt x="2469" y="15492"/>
                  </a:lnTo>
                  <a:lnTo>
                    <a:pt x="2290" y="15291"/>
                  </a:lnTo>
                  <a:lnTo>
                    <a:pt x="2116" y="15074"/>
                  </a:lnTo>
                  <a:lnTo>
                    <a:pt x="1947" y="14841"/>
                  </a:lnTo>
                  <a:lnTo>
                    <a:pt x="1783" y="14594"/>
                  </a:lnTo>
                  <a:lnTo>
                    <a:pt x="1624" y="14335"/>
                  </a:lnTo>
                  <a:lnTo>
                    <a:pt x="1472" y="14065"/>
                  </a:lnTo>
                  <a:lnTo>
                    <a:pt x="1324" y="13785"/>
                  </a:lnTo>
                  <a:lnTo>
                    <a:pt x="1184" y="13498"/>
                  </a:lnTo>
                  <a:lnTo>
                    <a:pt x="1050" y="13203"/>
                  </a:lnTo>
                  <a:lnTo>
                    <a:pt x="923" y="12904"/>
                  </a:lnTo>
                  <a:lnTo>
                    <a:pt x="803" y="12600"/>
                  </a:lnTo>
                  <a:lnTo>
                    <a:pt x="690" y="12294"/>
                  </a:lnTo>
                  <a:lnTo>
                    <a:pt x="585" y="11988"/>
                  </a:lnTo>
                  <a:lnTo>
                    <a:pt x="488" y="11682"/>
                  </a:lnTo>
                  <a:lnTo>
                    <a:pt x="398" y="11377"/>
                  </a:lnTo>
                  <a:lnTo>
                    <a:pt x="318" y="11077"/>
                  </a:lnTo>
                  <a:lnTo>
                    <a:pt x="245" y="10781"/>
                  </a:lnTo>
                  <a:lnTo>
                    <a:pt x="182" y="10492"/>
                  </a:lnTo>
                  <a:lnTo>
                    <a:pt x="127" y="10210"/>
                  </a:lnTo>
                  <a:lnTo>
                    <a:pt x="82" y="9937"/>
                  </a:lnTo>
                  <a:lnTo>
                    <a:pt x="47" y="9675"/>
                  </a:lnTo>
                  <a:lnTo>
                    <a:pt x="21" y="9426"/>
                  </a:lnTo>
                  <a:lnTo>
                    <a:pt x="5" y="9189"/>
                  </a:lnTo>
                  <a:lnTo>
                    <a:pt x="0" y="8968"/>
                  </a:lnTo>
                  <a:lnTo>
                    <a:pt x="5" y="8741"/>
                  </a:lnTo>
                  <a:lnTo>
                    <a:pt x="21" y="8492"/>
                  </a:lnTo>
                  <a:lnTo>
                    <a:pt x="47" y="8220"/>
                  </a:lnTo>
                  <a:lnTo>
                    <a:pt x="82" y="7928"/>
                  </a:lnTo>
                  <a:lnTo>
                    <a:pt x="127" y="7619"/>
                  </a:lnTo>
                  <a:lnTo>
                    <a:pt x="182" y="7295"/>
                  </a:lnTo>
                  <a:lnTo>
                    <a:pt x="245" y="6956"/>
                  </a:lnTo>
                  <a:lnTo>
                    <a:pt x="318" y="6606"/>
                  </a:lnTo>
                  <a:lnTo>
                    <a:pt x="398" y="6246"/>
                  </a:lnTo>
                  <a:lnTo>
                    <a:pt x="488" y="5879"/>
                  </a:lnTo>
                  <a:lnTo>
                    <a:pt x="585" y="5506"/>
                  </a:lnTo>
                  <a:lnTo>
                    <a:pt x="690" y="5130"/>
                  </a:lnTo>
                  <a:lnTo>
                    <a:pt x="803" y="4752"/>
                  </a:lnTo>
                  <a:lnTo>
                    <a:pt x="923" y="4375"/>
                  </a:lnTo>
                  <a:lnTo>
                    <a:pt x="1050" y="4000"/>
                  </a:lnTo>
                  <a:lnTo>
                    <a:pt x="1184" y="3630"/>
                  </a:lnTo>
                  <a:lnTo>
                    <a:pt x="1324" y="3267"/>
                  </a:lnTo>
                  <a:lnTo>
                    <a:pt x="1472" y="2912"/>
                  </a:lnTo>
                  <a:lnTo>
                    <a:pt x="1624" y="2568"/>
                  </a:lnTo>
                  <a:lnTo>
                    <a:pt x="1783" y="2237"/>
                  </a:lnTo>
                  <a:lnTo>
                    <a:pt x="1947" y="1921"/>
                  </a:lnTo>
                  <a:lnTo>
                    <a:pt x="2116" y="1622"/>
                  </a:lnTo>
                  <a:lnTo>
                    <a:pt x="2290" y="1340"/>
                  </a:lnTo>
                  <a:lnTo>
                    <a:pt x="2469" y="1081"/>
                  </a:lnTo>
                  <a:lnTo>
                    <a:pt x="2653" y="845"/>
                  </a:lnTo>
                  <a:lnTo>
                    <a:pt x="2840" y="632"/>
                  </a:lnTo>
                  <a:lnTo>
                    <a:pt x="3032" y="448"/>
                  </a:lnTo>
                  <a:lnTo>
                    <a:pt x="3228" y="292"/>
                  </a:lnTo>
                  <a:lnTo>
                    <a:pt x="3427" y="167"/>
                  </a:lnTo>
                  <a:lnTo>
                    <a:pt x="3629" y="75"/>
                  </a:lnTo>
                  <a:lnTo>
                    <a:pt x="3834" y="19"/>
                  </a:lnTo>
                  <a:lnTo>
                    <a:pt x="4043" y="0"/>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lumMod val="50000"/>
                  </a:srgbClr>
                </a:solidFill>
                <a:effectLst/>
                <a:uLnTx/>
                <a:uFillTx/>
                <a:latin typeface="等线 Light" panose="020F0302020204030204"/>
                <a:ea typeface="+mn-ea"/>
                <a:cs typeface="+mn-cs"/>
              </a:endParaRPr>
            </a:p>
          </p:txBody>
        </p:sp>
        <p:sp>
          <p:nvSpPr>
            <p:cNvPr id="11" name="Freeform 16">
              <a:extLst>
                <a:ext uri="{FF2B5EF4-FFF2-40B4-BE49-F238E27FC236}">
                  <a16:creationId xmlns:a16="http://schemas.microsoft.com/office/drawing/2014/main" id="{A08D6140-E3F9-4A15-9C4C-CD3214FE7855}"/>
                </a:ext>
              </a:extLst>
            </p:cNvPr>
            <p:cNvSpPr>
              <a:spLocks/>
            </p:cNvSpPr>
            <p:nvPr/>
          </p:nvSpPr>
          <p:spPr bwMode="auto">
            <a:xfrm rot="2700000">
              <a:off x="3761544" y="3386213"/>
              <a:ext cx="1394696" cy="703817"/>
            </a:xfrm>
            <a:custGeom>
              <a:avLst/>
              <a:gdLst>
                <a:gd name="T0" fmla="*/ 4456 w 8085"/>
                <a:gd name="T1" fmla="*/ 75 h 16320"/>
                <a:gd name="T2" fmla="*/ 5053 w 8085"/>
                <a:gd name="T3" fmla="*/ 448 h 16320"/>
                <a:gd name="T4" fmla="*/ 5616 w 8085"/>
                <a:gd name="T5" fmla="*/ 1081 h 16320"/>
                <a:gd name="T6" fmla="*/ 6138 w 8085"/>
                <a:gd name="T7" fmla="*/ 1921 h 16320"/>
                <a:gd name="T8" fmla="*/ 6613 w 8085"/>
                <a:gd name="T9" fmla="*/ 2912 h 16320"/>
                <a:gd name="T10" fmla="*/ 7035 w 8085"/>
                <a:gd name="T11" fmla="*/ 4000 h 16320"/>
                <a:gd name="T12" fmla="*/ 7395 w 8085"/>
                <a:gd name="T13" fmla="*/ 5130 h 16320"/>
                <a:gd name="T14" fmla="*/ 7687 w 8085"/>
                <a:gd name="T15" fmla="*/ 6246 h 16320"/>
                <a:gd name="T16" fmla="*/ 7903 w 8085"/>
                <a:gd name="T17" fmla="*/ 7295 h 16320"/>
                <a:gd name="T18" fmla="*/ 8038 w 8085"/>
                <a:gd name="T19" fmla="*/ 8220 h 16320"/>
                <a:gd name="T20" fmla="*/ 8085 w 8085"/>
                <a:gd name="T21" fmla="*/ 8968 h 16320"/>
                <a:gd name="T22" fmla="*/ 8038 w 8085"/>
                <a:gd name="T23" fmla="*/ 9675 h 16320"/>
                <a:gd name="T24" fmla="*/ 7903 w 8085"/>
                <a:gd name="T25" fmla="*/ 10492 h 16320"/>
                <a:gd name="T26" fmla="*/ 7687 w 8085"/>
                <a:gd name="T27" fmla="*/ 11377 h 16320"/>
                <a:gd name="T28" fmla="*/ 7395 w 8085"/>
                <a:gd name="T29" fmla="*/ 12294 h 16320"/>
                <a:gd name="T30" fmla="*/ 7035 w 8085"/>
                <a:gd name="T31" fmla="*/ 13203 h 16320"/>
                <a:gd name="T32" fmla="*/ 6613 w 8085"/>
                <a:gd name="T33" fmla="*/ 14065 h 16320"/>
                <a:gd name="T34" fmla="*/ 6138 w 8085"/>
                <a:gd name="T35" fmla="*/ 14841 h 16320"/>
                <a:gd name="T36" fmla="*/ 5616 w 8085"/>
                <a:gd name="T37" fmla="*/ 15492 h 16320"/>
                <a:gd name="T38" fmla="*/ 5053 w 8085"/>
                <a:gd name="T39" fmla="*/ 15978 h 16320"/>
                <a:gd name="T40" fmla="*/ 4456 w 8085"/>
                <a:gd name="T41" fmla="*/ 16263 h 16320"/>
                <a:gd name="T42" fmla="*/ 3834 w 8085"/>
                <a:gd name="T43" fmla="*/ 16306 h 16320"/>
                <a:gd name="T44" fmla="*/ 3228 w 8085"/>
                <a:gd name="T45" fmla="*/ 16098 h 16320"/>
                <a:gd name="T46" fmla="*/ 2653 w 8085"/>
                <a:gd name="T47" fmla="*/ 15673 h 16320"/>
                <a:gd name="T48" fmla="*/ 2116 w 8085"/>
                <a:gd name="T49" fmla="*/ 15074 h 16320"/>
                <a:gd name="T50" fmla="*/ 1624 w 8085"/>
                <a:gd name="T51" fmla="*/ 14335 h 16320"/>
                <a:gd name="T52" fmla="*/ 1184 w 8085"/>
                <a:gd name="T53" fmla="*/ 13498 h 16320"/>
                <a:gd name="T54" fmla="*/ 803 w 8085"/>
                <a:gd name="T55" fmla="*/ 12600 h 16320"/>
                <a:gd name="T56" fmla="*/ 488 w 8085"/>
                <a:gd name="T57" fmla="*/ 11682 h 16320"/>
                <a:gd name="T58" fmla="*/ 245 w 8085"/>
                <a:gd name="T59" fmla="*/ 10781 h 16320"/>
                <a:gd name="T60" fmla="*/ 82 w 8085"/>
                <a:gd name="T61" fmla="*/ 9937 h 16320"/>
                <a:gd name="T62" fmla="*/ 5 w 8085"/>
                <a:gd name="T63" fmla="*/ 9189 h 16320"/>
                <a:gd name="T64" fmla="*/ 21 w 8085"/>
                <a:gd name="T65" fmla="*/ 8492 h 16320"/>
                <a:gd name="T66" fmla="*/ 127 w 8085"/>
                <a:gd name="T67" fmla="*/ 7619 h 16320"/>
                <a:gd name="T68" fmla="*/ 318 w 8085"/>
                <a:gd name="T69" fmla="*/ 6606 h 16320"/>
                <a:gd name="T70" fmla="*/ 585 w 8085"/>
                <a:gd name="T71" fmla="*/ 5506 h 16320"/>
                <a:gd name="T72" fmla="*/ 923 w 8085"/>
                <a:gd name="T73" fmla="*/ 4375 h 16320"/>
                <a:gd name="T74" fmla="*/ 1324 w 8085"/>
                <a:gd name="T75" fmla="*/ 3267 h 16320"/>
                <a:gd name="T76" fmla="*/ 1783 w 8085"/>
                <a:gd name="T77" fmla="*/ 2237 h 16320"/>
                <a:gd name="T78" fmla="*/ 2290 w 8085"/>
                <a:gd name="T79" fmla="*/ 1340 h 16320"/>
                <a:gd name="T80" fmla="*/ 2840 w 8085"/>
                <a:gd name="T81" fmla="*/ 632 h 16320"/>
                <a:gd name="T82" fmla="*/ 3427 w 8085"/>
                <a:gd name="T83" fmla="*/ 167 h 16320"/>
                <a:gd name="T84" fmla="*/ 4043 w 8085"/>
                <a:gd name="T85" fmla="*/ 0 h 16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085" h="16320">
                  <a:moveTo>
                    <a:pt x="4043" y="0"/>
                  </a:moveTo>
                  <a:lnTo>
                    <a:pt x="4251" y="19"/>
                  </a:lnTo>
                  <a:lnTo>
                    <a:pt x="4456" y="75"/>
                  </a:lnTo>
                  <a:lnTo>
                    <a:pt x="4658" y="167"/>
                  </a:lnTo>
                  <a:lnTo>
                    <a:pt x="4857" y="292"/>
                  </a:lnTo>
                  <a:lnTo>
                    <a:pt x="5053" y="448"/>
                  </a:lnTo>
                  <a:lnTo>
                    <a:pt x="5245" y="632"/>
                  </a:lnTo>
                  <a:lnTo>
                    <a:pt x="5432" y="845"/>
                  </a:lnTo>
                  <a:lnTo>
                    <a:pt x="5616" y="1081"/>
                  </a:lnTo>
                  <a:lnTo>
                    <a:pt x="5795" y="1340"/>
                  </a:lnTo>
                  <a:lnTo>
                    <a:pt x="5969" y="1622"/>
                  </a:lnTo>
                  <a:lnTo>
                    <a:pt x="6138" y="1921"/>
                  </a:lnTo>
                  <a:lnTo>
                    <a:pt x="6302" y="2237"/>
                  </a:lnTo>
                  <a:lnTo>
                    <a:pt x="6461" y="2568"/>
                  </a:lnTo>
                  <a:lnTo>
                    <a:pt x="6613" y="2912"/>
                  </a:lnTo>
                  <a:lnTo>
                    <a:pt x="6761" y="3267"/>
                  </a:lnTo>
                  <a:lnTo>
                    <a:pt x="6901" y="3630"/>
                  </a:lnTo>
                  <a:lnTo>
                    <a:pt x="7035" y="4000"/>
                  </a:lnTo>
                  <a:lnTo>
                    <a:pt x="7162" y="4375"/>
                  </a:lnTo>
                  <a:lnTo>
                    <a:pt x="7282" y="4752"/>
                  </a:lnTo>
                  <a:lnTo>
                    <a:pt x="7395" y="5130"/>
                  </a:lnTo>
                  <a:lnTo>
                    <a:pt x="7500" y="5506"/>
                  </a:lnTo>
                  <a:lnTo>
                    <a:pt x="7597" y="5879"/>
                  </a:lnTo>
                  <a:lnTo>
                    <a:pt x="7687" y="6246"/>
                  </a:lnTo>
                  <a:lnTo>
                    <a:pt x="7767" y="6606"/>
                  </a:lnTo>
                  <a:lnTo>
                    <a:pt x="7840" y="6956"/>
                  </a:lnTo>
                  <a:lnTo>
                    <a:pt x="7903" y="7295"/>
                  </a:lnTo>
                  <a:lnTo>
                    <a:pt x="7958" y="7619"/>
                  </a:lnTo>
                  <a:lnTo>
                    <a:pt x="8003" y="7928"/>
                  </a:lnTo>
                  <a:lnTo>
                    <a:pt x="8038" y="8220"/>
                  </a:lnTo>
                  <a:lnTo>
                    <a:pt x="8064" y="8492"/>
                  </a:lnTo>
                  <a:lnTo>
                    <a:pt x="8080" y="8741"/>
                  </a:lnTo>
                  <a:lnTo>
                    <a:pt x="8085" y="8968"/>
                  </a:lnTo>
                  <a:lnTo>
                    <a:pt x="8080" y="9189"/>
                  </a:lnTo>
                  <a:lnTo>
                    <a:pt x="8064" y="9426"/>
                  </a:lnTo>
                  <a:lnTo>
                    <a:pt x="8038" y="9675"/>
                  </a:lnTo>
                  <a:lnTo>
                    <a:pt x="8003" y="9937"/>
                  </a:lnTo>
                  <a:lnTo>
                    <a:pt x="7958" y="10210"/>
                  </a:lnTo>
                  <a:lnTo>
                    <a:pt x="7903" y="10492"/>
                  </a:lnTo>
                  <a:lnTo>
                    <a:pt x="7840" y="10781"/>
                  </a:lnTo>
                  <a:lnTo>
                    <a:pt x="7767" y="11077"/>
                  </a:lnTo>
                  <a:lnTo>
                    <a:pt x="7687" y="11377"/>
                  </a:lnTo>
                  <a:lnTo>
                    <a:pt x="7597" y="11682"/>
                  </a:lnTo>
                  <a:lnTo>
                    <a:pt x="7500" y="11988"/>
                  </a:lnTo>
                  <a:lnTo>
                    <a:pt x="7395" y="12294"/>
                  </a:lnTo>
                  <a:lnTo>
                    <a:pt x="7282" y="12600"/>
                  </a:lnTo>
                  <a:lnTo>
                    <a:pt x="7162" y="12904"/>
                  </a:lnTo>
                  <a:lnTo>
                    <a:pt x="7035" y="13203"/>
                  </a:lnTo>
                  <a:lnTo>
                    <a:pt x="6901" y="13498"/>
                  </a:lnTo>
                  <a:lnTo>
                    <a:pt x="6761" y="13785"/>
                  </a:lnTo>
                  <a:lnTo>
                    <a:pt x="6613" y="14065"/>
                  </a:lnTo>
                  <a:lnTo>
                    <a:pt x="6461" y="14335"/>
                  </a:lnTo>
                  <a:lnTo>
                    <a:pt x="6302" y="14594"/>
                  </a:lnTo>
                  <a:lnTo>
                    <a:pt x="6138" y="14841"/>
                  </a:lnTo>
                  <a:lnTo>
                    <a:pt x="5969" y="15074"/>
                  </a:lnTo>
                  <a:lnTo>
                    <a:pt x="5795" y="15291"/>
                  </a:lnTo>
                  <a:lnTo>
                    <a:pt x="5616" y="15492"/>
                  </a:lnTo>
                  <a:lnTo>
                    <a:pt x="5432" y="15673"/>
                  </a:lnTo>
                  <a:lnTo>
                    <a:pt x="5245" y="15837"/>
                  </a:lnTo>
                  <a:lnTo>
                    <a:pt x="5053" y="15978"/>
                  </a:lnTo>
                  <a:lnTo>
                    <a:pt x="4857" y="16098"/>
                  </a:lnTo>
                  <a:lnTo>
                    <a:pt x="4658" y="16193"/>
                  </a:lnTo>
                  <a:lnTo>
                    <a:pt x="4456" y="16263"/>
                  </a:lnTo>
                  <a:lnTo>
                    <a:pt x="4251" y="16306"/>
                  </a:lnTo>
                  <a:lnTo>
                    <a:pt x="4043" y="16320"/>
                  </a:lnTo>
                  <a:lnTo>
                    <a:pt x="3834" y="16306"/>
                  </a:lnTo>
                  <a:lnTo>
                    <a:pt x="3629" y="16263"/>
                  </a:lnTo>
                  <a:lnTo>
                    <a:pt x="3427" y="16193"/>
                  </a:lnTo>
                  <a:lnTo>
                    <a:pt x="3228" y="16098"/>
                  </a:lnTo>
                  <a:lnTo>
                    <a:pt x="3032" y="15978"/>
                  </a:lnTo>
                  <a:lnTo>
                    <a:pt x="2840" y="15837"/>
                  </a:lnTo>
                  <a:lnTo>
                    <a:pt x="2653" y="15673"/>
                  </a:lnTo>
                  <a:lnTo>
                    <a:pt x="2469" y="15492"/>
                  </a:lnTo>
                  <a:lnTo>
                    <a:pt x="2290" y="15291"/>
                  </a:lnTo>
                  <a:lnTo>
                    <a:pt x="2116" y="15074"/>
                  </a:lnTo>
                  <a:lnTo>
                    <a:pt x="1947" y="14841"/>
                  </a:lnTo>
                  <a:lnTo>
                    <a:pt x="1783" y="14594"/>
                  </a:lnTo>
                  <a:lnTo>
                    <a:pt x="1624" y="14335"/>
                  </a:lnTo>
                  <a:lnTo>
                    <a:pt x="1472" y="14065"/>
                  </a:lnTo>
                  <a:lnTo>
                    <a:pt x="1324" y="13785"/>
                  </a:lnTo>
                  <a:lnTo>
                    <a:pt x="1184" y="13498"/>
                  </a:lnTo>
                  <a:lnTo>
                    <a:pt x="1050" y="13203"/>
                  </a:lnTo>
                  <a:lnTo>
                    <a:pt x="923" y="12904"/>
                  </a:lnTo>
                  <a:lnTo>
                    <a:pt x="803" y="12600"/>
                  </a:lnTo>
                  <a:lnTo>
                    <a:pt x="690" y="12294"/>
                  </a:lnTo>
                  <a:lnTo>
                    <a:pt x="585" y="11988"/>
                  </a:lnTo>
                  <a:lnTo>
                    <a:pt x="488" y="11682"/>
                  </a:lnTo>
                  <a:lnTo>
                    <a:pt x="398" y="11377"/>
                  </a:lnTo>
                  <a:lnTo>
                    <a:pt x="318" y="11077"/>
                  </a:lnTo>
                  <a:lnTo>
                    <a:pt x="245" y="10781"/>
                  </a:lnTo>
                  <a:lnTo>
                    <a:pt x="182" y="10492"/>
                  </a:lnTo>
                  <a:lnTo>
                    <a:pt x="127" y="10210"/>
                  </a:lnTo>
                  <a:lnTo>
                    <a:pt x="82" y="9937"/>
                  </a:lnTo>
                  <a:lnTo>
                    <a:pt x="47" y="9675"/>
                  </a:lnTo>
                  <a:lnTo>
                    <a:pt x="21" y="9426"/>
                  </a:lnTo>
                  <a:lnTo>
                    <a:pt x="5" y="9189"/>
                  </a:lnTo>
                  <a:lnTo>
                    <a:pt x="0" y="8968"/>
                  </a:lnTo>
                  <a:lnTo>
                    <a:pt x="5" y="8741"/>
                  </a:lnTo>
                  <a:lnTo>
                    <a:pt x="21" y="8492"/>
                  </a:lnTo>
                  <a:lnTo>
                    <a:pt x="47" y="8220"/>
                  </a:lnTo>
                  <a:lnTo>
                    <a:pt x="82" y="7928"/>
                  </a:lnTo>
                  <a:lnTo>
                    <a:pt x="127" y="7619"/>
                  </a:lnTo>
                  <a:lnTo>
                    <a:pt x="182" y="7295"/>
                  </a:lnTo>
                  <a:lnTo>
                    <a:pt x="245" y="6956"/>
                  </a:lnTo>
                  <a:lnTo>
                    <a:pt x="318" y="6606"/>
                  </a:lnTo>
                  <a:lnTo>
                    <a:pt x="398" y="6246"/>
                  </a:lnTo>
                  <a:lnTo>
                    <a:pt x="488" y="5879"/>
                  </a:lnTo>
                  <a:lnTo>
                    <a:pt x="585" y="5506"/>
                  </a:lnTo>
                  <a:lnTo>
                    <a:pt x="690" y="5130"/>
                  </a:lnTo>
                  <a:lnTo>
                    <a:pt x="803" y="4752"/>
                  </a:lnTo>
                  <a:lnTo>
                    <a:pt x="923" y="4375"/>
                  </a:lnTo>
                  <a:lnTo>
                    <a:pt x="1050" y="4000"/>
                  </a:lnTo>
                  <a:lnTo>
                    <a:pt x="1184" y="3630"/>
                  </a:lnTo>
                  <a:lnTo>
                    <a:pt x="1324" y="3267"/>
                  </a:lnTo>
                  <a:lnTo>
                    <a:pt x="1472" y="2912"/>
                  </a:lnTo>
                  <a:lnTo>
                    <a:pt x="1624" y="2568"/>
                  </a:lnTo>
                  <a:lnTo>
                    <a:pt x="1783" y="2237"/>
                  </a:lnTo>
                  <a:lnTo>
                    <a:pt x="1947" y="1921"/>
                  </a:lnTo>
                  <a:lnTo>
                    <a:pt x="2116" y="1622"/>
                  </a:lnTo>
                  <a:lnTo>
                    <a:pt x="2290" y="1340"/>
                  </a:lnTo>
                  <a:lnTo>
                    <a:pt x="2469" y="1081"/>
                  </a:lnTo>
                  <a:lnTo>
                    <a:pt x="2653" y="845"/>
                  </a:lnTo>
                  <a:lnTo>
                    <a:pt x="2840" y="632"/>
                  </a:lnTo>
                  <a:lnTo>
                    <a:pt x="3032" y="448"/>
                  </a:lnTo>
                  <a:lnTo>
                    <a:pt x="3228" y="292"/>
                  </a:lnTo>
                  <a:lnTo>
                    <a:pt x="3427" y="167"/>
                  </a:lnTo>
                  <a:lnTo>
                    <a:pt x="3629" y="75"/>
                  </a:lnTo>
                  <a:lnTo>
                    <a:pt x="3834" y="19"/>
                  </a:lnTo>
                  <a:lnTo>
                    <a:pt x="4043" y="0"/>
                  </a:lnTo>
                  <a:close/>
                </a:path>
              </a:pathLst>
            </a:custGeom>
            <a:solidFill>
              <a:schemeClr val="accent2"/>
            </a:solidFill>
            <a:ln w="76200">
              <a:solidFill>
                <a:schemeClr val="bg1"/>
              </a:solidFill>
              <a:round/>
              <a:headEnd/>
              <a:tailEnd/>
            </a:ln>
            <a:effectLst>
              <a:outerShdw blurRad="1270000" dist="685800" dir="5400000" sx="84000" sy="84000" algn="t" rotWithShape="0">
                <a:prstClr val="black">
                  <a:alpha val="15000"/>
                </a:prstClr>
              </a:outerShdw>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2" name="Freeform 17">
              <a:extLst>
                <a:ext uri="{FF2B5EF4-FFF2-40B4-BE49-F238E27FC236}">
                  <a16:creationId xmlns:a16="http://schemas.microsoft.com/office/drawing/2014/main" id="{854C6FB0-16D7-478B-BA98-30C5A1B36E6E}"/>
                </a:ext>
              </a:extLst>
            </p:cNvPr>
            <p:cNvSpPr>
              <a:spLocks/>
            </p:cNvSpPr>
            <p:nvPr/>
          </p:nvSpPr>
          <p:spPr bwMode="auto">
            <a:xfrm rot="5400000">
              <a:off x="4734406" y="3562429"/>
              <a:ext cx="995627" cy="502432"/>
            </a:xfrm>
            <a:custGeom>
              <a:avLst/>
              <a:gdLst>
                <a:gd name="T0" fmla="*/ 4456 w 8085"/>
                <a:gd name="T1" fmla="*/ 75 h 16320"/>
                <a:gd name="T2" fmla="*/ 5053 w 8085"/>
                <a:gd name="T3" fmla="*/ 448 h 16320"/>
                <a:gd name="T4" fmla="*/ 5616 w 8085"/>
                <a:gd name="T5" fmla="*/ 1081 h 16320"/>
                <a:gd name="T6" fmla="*/ 6138 w 8085"/>
                <a:gd name="T7" fmla="*/ 1921 h 16320"/>
                <a:gd name="T8" fmla="*/ 6613 w 8085"/>
                <a:gd name="T9" fmla="*/ 2912 h 16320"/>
                <a:gd name="T10" fmla="*/ 7035 w 8085"/>
                <a:gd name="T11" fmla="*/ 4000 h 16320"/>
                <a:gd name="T12" fmla="*/ 7395 w 8085"/>
                <a:gd name="T13" fmla="*/ 5130 h 16320"/>
                <a:gd name="T14" fmla="*/ 7687 w 8085"/>
                <a:gd name="T15" fmla="*/ 6246 h 16320"/>
                <a:gd name="T16" fmla="*/ 7903 w 8085"/>
                <a:gd name="T17" fmla="*/ 7295 h 16320"/>
                <a:gd name="T18" fmla="*/ 8038 w 8085"/>
                <a:gd name="T19" fmla="*/ 8220 h 16320"/>
                <a:gd name="T20" fmla="*/ 8085 w 8085"/>
                <a:gd name="T21" fmla="*/ 8968 h 16320"/>
                <a:gd name="T22" fmla="*/ 8038 w 8085"/>
                <a:gd name="T23" fmla="*/ 9675 h 16320"/>
                <a:gd name="T24" fmla="*/ 7903 w 8085"/>
                <a:gd name="T25" fmla="*/ 10492 h 16320"/>
                <a:gd name="T26" fmla="*/ 7687 w 8085"/>
                <a:gd name="T27" fmla="*/ 11377 h 16320"/>
                <a:gd name="T28" fmla="*/ 7395 w 8085"/>
                <a:gd name="T29" fmla="*/ 12294 h 16320"/>
                <a:gd name="T30" fmla="*/ 7035 w 8085"/>
                <a:gd name="T31" fmla="*/ 13203 h 16320"/>
                <a:gd name="T32" fmla="*/ 6613 w 8085"/>
                <a:gd name="T33" fmla="*/ 14065 h 16320"/>
                <a:gd name="T34" fmla="*/ 6138 w 8085"/>
                <a:gd name="T35" fmla="*/ 14841 h 16320"/>
                <a:gd name="T36" fmla="*/ 5616 w 8085"/>
                <a:gd name="T37" fmla="*/ 15492 h 16320"/>
                <a:gd name="T38" fmla="*/ 5053 w 8085"/>
                <a:gd name="T39" fmla="*/ 15978 h 16320"/>
                <a:gd name="T40" fmla="*/ 4456 w 8085"/>
                <a:gd name="T41" fmla="*/ 16263 h 16320"/>
                <a:gd name="T42" fmla="*/ 3834 w 8085"/>
                <a:gd name="T43" fmla="*/ 16306 h 16320"/>
                <a:gd name="T44" fmla="*/ 3228 w 8085"/>
                <a:gd name="T45" fmla="*/ 16098 h 16320"/>
                <a:gd name="T46" fmla="*/ 2653 w 8085"/>
                <a:gd name="T47" fmla="*/ 15673 h 16320"/>
                <a:gd name="T48" fmla="*/ 2116 w 8085"/>
                <a:gd name="T49" fmla="*/ 15074 h 16320"/>
                <a:gd name="T50" fmla="*/ 1624 w 8085"/>
                <a:gd name="T51" fmla="*/ 14335 h 16320"/>
                <a:gd name="T52" fmla="*/ 1184 w 8085"/>
                <a:gd name="T53" fmla="*/ 13498 h 16320"/>
                <a:gd name="T54" fmla="*/ 803 w 8085"/>
                <a:gd name="T55" fmla="*/ 12600 h 16320"/>
                <a:gd name="T56" fmla="*/ 488 w 8085"/>
                <a:gd name="T57" fmla="*/ 11682 h 16320"/>
                <a:gd name="T58" fmla="*/ 245 w 8085"/>
                <a:gd name="T59" fmla="*/ 10781 h 16320"/>
                <a:gd name="T60" fmla="*/ 82 w 8085"/>
                <a:gd name="T61" fmla="*/ 9937 h 16320"/>
                <a:gd name="T62" fmla="*/ 5 w 8085"/>
                <a:gd name="T63" fmla="*/ 9189 h 16320"/>
                <a:gd name="T64" fmla="*/ 21 w 8085"/>
                <a:gd name="T65" fmla="*/ 8492 h 16320"/>
                <a:gd name="T66" fmla="*/ 127 w 8085"/>
                <a:gd name="T67" fmla="*/ 7619 h 16320"/>
                <a:gd name="T68" fmla="*/ 318 w 8085"/>
                <a:gd name="T69" fmla="*/ 6606 h 16320"/>
                <a:gd name="T70" fmla="*/ 585 w 8085"/>
                <a:gd name="T71" fmla="*/ 5506 h 16320"/>
                <a:gd name="T72" fmla="*/ 923 w 8085"/>
                <a:gd name="T73" fmla="*/ 4375 h 16320"/>
                <a:gd name="T74" fmla="*/ 1324 w 8085"/>
                <a:gd name="T75" fmla="*/ 3267 h 16320"/>
                <a:gd name="T76" fmla="*/ 1783 w 8085"/>
                <a:gd name="T77" fmla="*/ 2237 h 16320"/>
                <a:gd name="T78" fmla="*/ 2290 w 8085"/>
                <a:gd name="T79" fmla="*/ 1340 h 16320"/>
                <a:gd name="T80" fmla="*/ 2840 w 8085"/>
                <a:gd name="T81" fmla="*/ 632 h 16320"/>
                <a:gd name="T82" fmla="*/ 3427 w 8085"/>
                <a:gd name="T83" fmla="*/ 167 h 16320"/>
                <a:gd name="T84" fmla="*/ 4043 w 8085"/>
                <a:gd name="T85" fmla="*/ 0 h 16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085" h="16320">
                  <a:moveTo>
                    <a:pt x="4043" y="0"/>
                  </a:moveTo>
                  <a:lnTo>
                    <a:pt x="4251" y="19"/>
                  </a:lnTo>
                  <a:lnTo>
                    <a:pt x="4456" y="75"/>
                  </a:lnTo>
                  <a:lnTo>
                    <a:pt x="4658" y="167"/>
                  </a:lnTo>
                  <a:lnTo>
                    <a:pt x="4857" y="292"/>
                  </a:lnTo>
                  <a:lnTo>
                    <a:pt x="5053" y="448"/>
                  </a:lnTo>
                  <a:lnTo>
                    <a:pt x="5245" y="632"/>
                  </a:lnTo>
                  <a:lnTo>
                    <a:pt x="5432" y="845"/>
                  </a:lnTo>
                  <a:lnTo>
                    <a:pt x="5616" y="1081"/>
                  </a:lnTo>
                  <a:lnTo>
                    <a:pt x="5795" y="1340"/>
                  </a:lnTo>
                  <a:lnTo>
                    <a:pt x="5969" y="1622"/>
                  </a:lnTo>
                  <a:lnTo>
                    <a:pt x="6138" y="1921"/>
                  </a:lnTo>
                  <a:lnTo>
                    <a:pt x="6302" y="2237"/>
                  </a:lnTo>
                  <a:lnTo>
                    <a:pt x="6461" y="2568"/>
                  </a:lnTo>
                  <a:lnTo>
                    <a:pt x="6613" y="2912"/>
                  </a:lnTo>
                  <a:lnTo>
                    <a:pt x="6761" y="3267"/>
                  </a:lnTo>
                  <a:lnTo>
                    <a:pt x="6901" y="3630"/>
                  </a:lnTo>
                  <a:lnTo>
                    <a:pt x="7035" y="4000"/>
                  </a:lnTo>
                  <a:lnTo>
                    <a:pt x="7162" y="4375"/>
                  </a:lnTo>
                  <a:lnTo>
                    <a:pt x="7282" y="4752"/>
                  </a:lnTo>
                  <a:lnTo>
                    <a:pt x="7395" y="5130"/>
                  </a:lnTo>
                  <a:lnTo>
                    <a:pt x="7500" y="5506"/>
                  </a:lnTo>
                  <a:lnTo>
                    <a:pt x="7597" y="5879"/>
                  </a:lnTo>
                  <a:lnTo>
                    <a:pt x="7687" y="6246"/>
                  </a:lnTo>
                  <a:lnTo>
                    <a:pt x="7767" y="6606"/>
                  </a:lnTo>
                  <a:lnTo>
                    <a:pt x="7840" y="6956"/>
                  </a:lnTo>
                  <a:lnTo>
                    <a:pt x="7903" y="7295"/>
                  </a:lnTo>
                  <a:lnTo>
                    <a:pt x="7958" y="7619"/>
                  </a:lnTo>
                  <a:lnTo>
                    <a:pt x="8003" y="7928"/>
                  </a:lnTo>
                  <a:lnTo>
                    <a:pt x="8038" y="8220"/>
                  </a:lnTo>
                  <a:lnTo>
                    <a:pt x="8064" y="8492"/>
                  </a:lnTo>
                  <a:lnTo>
                    <a:pt x="8080" y="8741"/>
                  </a:lnTo>
                  <a:lnTo>
                    <a:pt x="8085" y="8968"/>
                  </a:lnTo>
                  <a:lnTo>
                    <a:pt x="8080" y="9189"/>
                  </a:lnTo>
                  <a:lnTo>
                    <a:pt x="8064" y="9426"/>
                  </a:lnTo>
                  <a:lnTo>
                    <a:pt x="8038" y="9675"/>
                  </a:lnTo>
                  <a:lnTo>
                    <a:pt x="8003" y="9937"/>
                  </a:lnTo>
                  <a:lnTo>
                    <a:pt x="7958" y="10210"/>
                  </a:lnTo>
                  <a:lnTo>
                    <a:pt x="7903" y="10492"/>
                  </a:lnTo>
                  <a:lnTo>
                    <a:pt x="7840" y="10781"/>
                  </a:lnTo>
                  <a:lnTo>
                    <a:pt x="7767" y="11077"/>
                  </a:lnTo>
                  <a:lnTo>
                    <a:pt x="7687" y="11377"/>
                  </a:lnTo>
                  <a:lnTo>
                    <a:pt x="7597" y="11682"/>
                  </a:lnTo>
                  <a:lnTo>
                    <a:pt x="7500" y="11988"/>
                  </a:lnTo>
                  <a:lnTo>
                    <a:pt x="7395" y="12294"/>
                  </a:lnTo>
                  <a:lnTo>
                    <a:pt x="7282" y="12600"/>
                  </a:lnTo>
                  <a:lnTo>
                    <a:pt x="7162" y="12904"/>
                  </a:lnTo>
                  <a:lnTo>
                    <a:pt x="7035" y="13203"/>
                  </a:lnTo>
                  <a:lnTo>
                    <a:pt x="6901" y="13498"/>
                  </a:lnTo>
                  <a:lnTo>
                    <a:pt x="6761" y="13785"/>
                  </a:lnTo>
                  <a:lnTo>
                    <a:pt x="6613" y="14065"/>
                  </a:lnTo>
                  <a:lnTo>
                    <a:pt x="6461" y="14335"/>
                  </a:lnTo>
                  <a:lnTo>
                    <a:pt x="6302" y="14594"/>
                  </a:lnTo>
                  <a:lnTo>
                    <a:pt x="6138" y="14841"/>
                  </a:lnTo>
                  <a:lnTo>
                    <a:pt x="5969" y="15074"/>
                  </a:lnTo>
                  <a:lnTo>
                    <a:pt x="5795" y="15291"/>
                  </a:lnTo>
                  <a:lnTo>
                    <a:pt x="5616" y="15492"/>
                  </a:lnTo>
                  <a:lnTo>
                    <a:pt x="5432" y="15673"/>
                  </a:lnTo>
                  <a:lnTo>
                    <a:pt x="5245" y="15837"/>
                  </a:lnTo>
                  <a:lnTo>
                    <a:pt x="5053" y="15978"/>
                  </a:lnTo>
                  <a:lnTo>
                    <a:pt x="4857" y="16098"/>
                  </a:lnTo>
                  <a:lnTo>
                    <a:pt x="4658" y="16193"/>
                  </a:lnTo>
                  <a:lnTo>
                    <a:pt x="4456" y="16263"/>
                  </a:lnTo>
                  <a:lnTo>
                    <a:pt x="4251" y="16306"/>
                  </a:lnTo>
                  <a:lnTo>
                    <a:pt x="4043" y="16320"/>
                  </a:lnTo>
                  <a:lnTo>
                    <a:pt x="3834" y="16306"/>
                  </a:lnTo>
                  <a:lnTo>
                    <a:pt x="3629" y="16263"/>
                  </a:lnTo>
                  <a:lnTo>
                    <a:pt x="3427" y="16193"/>
                  </a:lnTo>
                  <a:lnTo>
                    <a:pt x="3228" y="16098"/>
                  </a:lnTo>
                  <a:lnTo>
                    <a:pt x="3032" y="15978"/>
                  </a:lnTo>
                  <a:lnTo>
                    <a:pt x="2840" y="15837"/>
                  </a:lnTo>
                  <a:lnTo>
                    <a:pt x="2653" y="15673"/>
                  </a:lnTo>
                  <a:lnTo>
                    <a:pt x="2469" y="15492"/>
                  </a:lnTo>
                  <a:lnTo>
                    <a:pt x="2290" y="15291"/>
                  </a:lnTo>
                  <a:lnTo>
                    <a:pt x="2116" y="15074"/>
                  </a:lnTo>
                  <a:lnTo>
                    <a:pt x="1947" y="14841"/>
                  </a:lnTo>
                  <a:lnTo>
                    <a:pt x="1783" y="14594"/>
                  </a:lnTo>
                  <a:lnTo>
                    <a:pt x="1624" y="14335"/>
                  </a:lnTo>
                  <a:lnTo>
                    <a:pt x="1472" y="14065"/>
                  </a:lnTo>
                  <a:lnTo>
                    <a:pt x="1324" y="13785"/>
                  </a:lnTo>
                  <a:lnTo>
                    <a:pt x="1184" y="13498"/>
                  </a:lnTo>
                  <a:lnTo>
                    <a:pt x="1050" y="13203"/>
                  </a:lnTo>
                  <a:lnTo>
                    <a:pt x="923" y="12904"/>
                  </a:lnTo>
                  <a:lnTo>
                    <a:pt x="803" y="12600"/>
                  </a:lnTo>
                  <a:lnTo>
                    <a:pt x="690" y="12294"/>
                  </a:lnTo>
                  <a:lnTo>
                    <a:pt x="585" y="11988"/>
                  </a:lnTo>
                  <a:lnTo>
                    <a:pt x="488" y="11682"/>
                  </a:lnTo>
                  <a:lnTo>
                    <a:pt x="398" y="11377"/>
                  </a:lnTo>
                  <a:lnTo>
                    <a:pt x="318" y="11077"/>
                  </a:lnTo>
                  <a:lnTo>
                    <a:pt x="245" y="10781"/>
                  </a:lnTo>
                  <a:lnTo>
                    <a:pt x="182" y="10492"/>
                  </a:lnTo>
                  <a:lnTo>
                    <a:pt x="127" y="10210"/>
                  </a:lnTo>
                  <a:lnTo>
                    <a:pt x="82" y="9937"/>
                  </a:lnTo>
                  <a:lnTo>
                    <a:pt x="47" y="9675"/>
                  </a:lnTo>
                  <a:lnTo>
                    <a:pt x="21" y="9426"/>
                  </a:lnTo>
                  <a:lnTo>
                    <a:pt x="5" y="9189"/>
                  </a:lnTo>
                  <a:lnTo>
                    <a:pt x="0" y="8968"/>
                  </a:lnTo>
                  <a:lnTo>
                    <a:pt x="5" y="8741"/>
                  </a:lnTo>
                  <a:lnTo>
                    <a:pt x="21" y="8492"/>
                  </a:lnTo>
                  <a:lnTo>
                    <a:pt x="47" y="8220"/>
                  </a:lnTo>
                  <a:lnTo>
                    <a:pt x="82" y="7928"/>
                  </a:lnTo>
                  <a:lnTo>
                    <a:pt x="127" y="7619"/>
                  </a:lnTo>
                  <a:lnTo>
                    <a:pt x="182" y="7295"/>
                  </a:lnTo>
                  <a:lnTo>
                    <a:pt x="245" y="6956"/>
                  </a:lnTo>
                  <a:lnTo>
                    <a:pt x="318" y="6606"/>
                  </a:lnTo>
                  <a:lnTo>
                    <a:pt x="398" y="6246"/>
                  </a:lnTo>
                  <a:lnTo>
                    <a:pt x="488" y="5879"/>
                  </a:lnTo>
                  <a:lnTo>
                    <a:pt x="585" y="5506"/>
                  </a:lnTo>
                  <a:lnTo>
                    <a:pt x="690" y="5130"/>
                  </a:lnTo>
                  <a:lnTo>
                    <a:pt x="803" y="4752"/>
                  </a:lnTo>
                  <a:lnTo>
                    <a:pt x="923" y="4375"/>
                  </a:lnTo>
                  <a:lnTo>
                    <a:pt x="1050" y="4000"/>
                  </a:lnTo>
                  <a:lnTo>
                    <a:pt x="1184" y="3630"/>
                  </a:lnTo>
                  <a:lnTo>
                    <a:pt x="1324" y="3267"/>
                  </a:lnTo>
                  <a:lnTo>
                    <a:pt x="1472" y="2912"/>
                  </a:lnTo>
                  <a:lnTo>
                    <a:pt x="1624" y="2568"/>
                  </a:lnTo>
                  <a:lnTo>
                    <a:pt x="1783" y="2237"/>
                  </a:lnTo>
                  <a:lnTo>
                    <a:pt x="1947" y="1921"/>
                  </a:lnTo>
                  <a:lnTo>
                    <a:pt x="2116" y="1622"/>
                  </a:lnTo>
                  <a:lnTo>
                    <a:pt x="2290" y="1340"/>
                  </a:lnTo>
                  <a:lnTo>
                    <a:pt x="2469" y="1081"/>
                  </a:lnTo>
                  <a:lnTo>
                    <a:pt x="2653" y="845"/>
                  </a:lnTo>
                  <a:lnTo>
                    <a:pt x="2840" y="632"/>
                  </a:lnTo>
                  <a:lnTo>
                    <a:pt x="3032" y="448"/>
                  </a:lnTo>
                  <a:lnTo>
                    <a:pt x="3228" y="292"/>
                  </a:lnTo>
                  <a:lnTo>
                    <a:pt x="3427" y="167"/>
                  </a:lnTo>
                  <a:lnTo>
                    <a:pt x="3629" y="75"/>
                  </a:lnTo>
                  <a:lnTo>
                    <a:pt x="3834" y="19"/>
                  </a:lnTo>
                  <a:lnTo>
                    <a:pt x="4043" y="0"/>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lumMod val="50000"/>
                  </a:srgbClr>
                </a:solidFill>
                <a:effectLst/>
                <a:uLnTx/>
                <a:uFillTx/>
                <a:latin typeface="等线 Light" panose="020F0302020204030204"/>
                <a:ea typeface="+mn-ea"/>
                <a:cs typeface="+mn-cs"/>
              </a:endParaRPr>
            </a:p>
          </p:txBody>
        </p:sp>
        <p:sp>
          <p:nvSpPr>
            <p:cNvPr id="13" name="Freeform 18">
              <a:extLst>
                <a:ext uri="{FF2B5EF4-FFF2-40B4-BE49-F238E27FC236}">
                  <a16:creationId xmlns:a16="http://schemas.microsoft.com/office/drawing/2014/main" id="{57493BDC-1364-47D6-A6C8-56D98FB8F1F6}"/>
                </a:ext>
              </a:extLst>
            </p:cNvPr>
            <p:cNvSpPr>
              <a:spLocks/>
            </p:cNvSpPr>
            <p:nvPr/>
          </p:nvSpPr>
          <p:spPr bwMode="auto">
            <a:xfrm>
              <a:off x="3985375" y="4298596"/>
              <a:ext cx="995627" cy="502432"/>
            </a:xfrm>
            <a:custGeom>
              <a:avLst/>
              <a:gdLst>
                <a:gd name="T0" fmla="*/ 4456 w 8085"/>
                <a:gd name="T1" fmla="*/ 75 h 16320"/>
                <a:gd name="T2" fmla="*/ 5053 w 8085"/>
                <a:gd name="T3" fmla="*/ 448 h 16320"/>
                <a:gd name="T4" fmla="*/ 5616 w 8085"/>
                <a:gd name="T5" fmla="*/ 1081 h 16320"/>
                <a:gd name="T6" fmla="*/ 6138 w 8085"/>
                <a:gd name="T7" fmla="*/ 1921 h 16320"/>
                <a:gd name="T8" fmla="*/ 6613 w 8085"/>
                <a:gd name="T9" fmla="*/ 2912 h 16320"/>
                <a:gd name="T10" fmla="*/ 7035 w 8085"/>
                <a:gd name="T11" fmla="*/ 4000 h 16320"/>
                <a:gd name="T12" fmla="*/ 7395 w 8085"/>
                <a:gd name="T13" fmla="*/ 5130 h 16320"/>
                <a:gd name="T14" fmla="*/ 7687 w 8085"/>
                <a:gd name="T15" fmla="*/ 6246 h 16320"/>
                <a:gd name="T16" fmla="*/ 7903 w 8085"/>
                <a:gd name="T17" fmla="*/ 7295 h 16320"/>
                <a:gd name="T18" fmla="*/ 8038 w 8085"/>
                <a:gd name="T19" fmla="*/ 8220 h 16320"/>
                <a:gd name="T20" fmla="*/ 8085 w 8085"/>
                <a:gd name="T21" fmla="*/ 8968 h 16320"/>
                <a:gd name="T22" fmla="*/ 8038 w 8085"/>
                <a:gd name="T23" fmla="*/ 9675 h 16320"/>
                <a:gd name="T24" fmla="*/ 7903 w 8085"/>
                <a:gd name="T25" fmla="*/ 10492 h 16320"/>
                <a:gd name="T26" fmla="*/ 7687 w 8085"/>
                <a:gd name="T27" fmla="*/ 11377 h 16320"/>
                <a:gd name="T28" fmla="*/ 7395 w 8085"/>
                <a:gd name="T29" fmla="*/ 12294 h 16320"/>
                <a:gd name="T30" fmla="*/ 7035 w 8085"/>
                <a:gd name="T31" fmla="*/ 13203 h 16320"/>
                <a:gd name="T32" fmla="*/ 6613 w 8085"/>
                <a:gd name="T33" fmla="*/ 14065 h 16320"/>
                <a:gd name="T34" fmla="*/ 6138 w 8085"/>
                <a:gd name="T35" fmla="*/ 14841 h 16320"/>
                <a:gd name="T36" fmla="*/ 5616 w 8085"/>
                <a:gd name="T37" fmla="*/ 15492 h 16320"/>
                <a:gd name="T38" fmla="*/ 5053 w 8085"/>
                <a:gd name="T39" fmla="*/ 15978 h 16320"/>
                <a:gd name="T40" fmla="*/ 4456 w 8085"/>
                <a:gd name="T41" fmla="*/ 16263 h 16320"/>
                <a:gd name="T42" fmla="*/ 3834 w 8085"/>
                <a:gd name="T43" fmla="*/ 16306 h 16320"/>
                <a:gd name="T44" fmla="*/ 3228 w 8085"/>
                <a:gd name="T45" fmla="*/ 16098 h 16320"/>
                <a:gd name="T46" fmla="*/ 2653 w 8085"/>
                <a:gd name="T47" fmla="*/ 15673 h 16320"/>
                <a:gd name="T48" fmla="*/ 2116 w 8085"/>
                <a:gd name="T49" fmla="*/ 15074 h 16320"/>
                <a:gd name="T50" fmla="*/ 1624 w 8085"/>
                <a:gd name="T51" fmla="*/ 14335 h 16320"/>
                <a:gd name="T52" fmla="*/ 1184 w 8085"/>
                <a:gd name="T53" fmla="*/ 13498 h 16320"/>
                <a:gd name="T54" fmla="*/ 803 w 8085"/>
                <a:gd name="T55" fmla="*/ 12600 h 16320"/>
                <a:gd name="T56" fmla="*/ 488 w 8085"/>
                <a:gd name="T57" fmla="*/ 11682 h 16320"/>
                <a:gd name="T58" fmla="*/ 245 w 8085"/>
                <a:gd name="T59" fmla="*/ 10781 h 16320"/>
                <a:gd name="T60" fmla="*/ 82 w 8085"/>
                <a:gd name="T61" fmla="*/ 9937 h 16320"/>
                <a:gd name="T62" fmla="*/ 5 w 8085"/>
                <a:gd name="T63" fmla="*/ 9189 h 16320"/>
                <a:gd name="T64" fmla="*/ 21 w 8085"/>
                <a:gd name="T65" fmla="*/ 8492 h 16320"/>
                <a:gd name="T66" fmla="*/ 127 w 8085"/>
                <a:gd name="T67" fmla="*/ 7619 h 16320"/>
                <a:gd name="T68" fmla="*/ 318 w 8085"/>
                <a:gd name="T69" fmla="*/ 6606 h 16320"/>
                <a:gd name="T70" fmla="*/ 585 w 8085"/>
                <a:gd name="T71" fmla="*/ 5506 h 16320"/>
                <a:gd name="T72" fmla="*/ 923 w 8085"/>
                <a:gd name="T73" fmla="*/ 4375 h 16320"/>
                <a:gd name="T74" fmla="*/ 1324 w 8085"/>
                <a:gd name="T75" fmla="*/ 3267 h 16320"/>
                <a:gd name="T76" fmla="*/ 1783 w 8085"/>
                <a:gd name="T77" fmla="*/ 2237 h 16320"/>
                <a:gd name="T78" fmla="*/ 2290 w 8085"/>
                <a:gd name="T79" fmla="*/ 1340 h 16320"/>
                <a:gd name="T80" fmla="*/ 2840 w 8085"/>
                <a:gd name="T81" fmla="*/ 632 h 16320"/>
                <a:gd name="T82" fmla="*/ 3427 w 8085"/>
                <a:gd name="T83" fmla="*/ 167 h 16320"/>
                <a:gd name="T84" fmla="*/ 4043 w 8085"/>
                <a:gd name="T85" fmla="*/ 0 h 16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085" h="16320">
                  <a:moveTo>
                    <a:pt x="4043" y="0"/>
                  </a:moveTo>
                  <a:lnTo>
                    <a:pt x="4251" y="19"/>
                  </a:lnTo>
                  <a:lnTo>
                    <a:pt x="4456" y="75"/>
                  </a:lnTo>
                  <a:lnTo>
                    <a:pt x="4658" y="167"/>
                  </a:lnTo>
                  <a:lnTo>
                    <a:pt x="4857" y="292"/>
                  </a:lnTo>
                  <a:lnTo>
                    <a:pt x="5053" y="448"/>
                  </a:lnTo>
                  <a:lnTo>
                    <a:pt x="5245" y="632"/>
                  </a:lnTo>
                  <a:lnTo>
                    <a:pt x="5432" y="845"/>
                  </a:lnTo>
                  <a:lnTo>
                    <a:pt x="5616" y="1081"/>
                  </a:lnTo>
                  <a:lnTo>
                    <a:pt x="5795" y="1340"/>
                  </a:lnTo>
                  <a:lnTo>
                    <a:pt x="5969" y="1622"/>
                  </a:lnTo>
                  <a:lnTo>
                    <a:pt x="6138" y="1921"/>
                  </a:lnTo>
                  <a:lnTo>
                    <a:pt x="6302" y="2237"/>
                  </a:lnTo>
                  <a:lnTo>
                    <a:pt x="6461" y="2568"/>
                  </a:lnTo>
                  <a:lnTo>
                    <a:pt x="6613" y="2912"/>
                  </a:lnTo>
                  <a:lnTo>
                    <a:pt x="6761" y="3267"/>
                  </a:lnTo>
                  <a:lnTo>
                    <a:pt x="6901" y="3630"/>
                  </a:lnTo>
                  <a:lnTo>
                    <a:pt x="7035" y="4000"/>
                  </a:lnTo>
                  <a:lnTo>
                    <a:pt x="7162" y="4375"/>
                  </a:lnTo>
                  <a:lnTo>
                    <a:pt x="7282" y="4752"/>
                  </a:lnTo>
                  <a:lnTo>
                    <a:pt x="7395" y="5130"/>
                  </a:lnTo>
                  <a:lnTo>
                    <a:pt x="7500" y="5506"/>
                  </a:lnTo>
                  <a:lnTo>
                    <a:pt x="7597" y="5879"/>
                  </a:lnTo>
                  <a:lnTo>
                    <a:pt x="7687" y="6246"/>
                  </a:lnTo>
                  <a:lnTo>
                    <a:pt x="7767" y="6606"/>
                  </a:lnTo>
                  <a:lnTo>
                    <a:pt x="7840" y="6956"/>
                  </a:lnTo>
                  <a:lnTo>
                    <a:pt x="7903" y="7295"/>
                  </a:lnTo>
                  <a:lnTo>
                    <a:pt x="7958" y="7619"/>
                  </a:lnTo>
                  <a:lnTo>
                    <a:pt x="8003" y="7928"/>
                  </a:lnTo>
                  <a:lnTo>
                    <a:pt x="8038" y="8220"/>
                  </a:lnTo>
                  <a:lnTo>
                    <a:pt x="8064" y="8492"/>
                  </a:lnTo>
                  <a:lnTo>
                    <a:pt x="8080" y="8741"/>
                  </a:lnTo>
                  <a:lnTo>
                    <a:pt x="8085" y="8968"/>
                  </a:lnTo>
                  <a:lnTo>
                    <a:pt x="8080" y="9189"/>
                  </a:lnTo>
                  <a:lnTo>
                    <a:pt x="8064" y="9426"/>
                  </a:lnTo>
                  <a:lnTo>
                    <a:pt x="8038" y="9675"/>
                  </a:lnTo>
                  <a:lnTo>
                    <a:pt x="8003" y="9937"/>
                  </a:lnTo>
                  <a:lnTo>
                    <a:pt x="7958" y="10210"/>
                  </a:lnTo>
                  <a:lnTo>
                    <a:pt x="7903" y="10492"/>
                  </a:lnTo>
                  <a:lnTo>
                    <a:pt x="7840" y="10781"/>
                  </a:lnTo>
                  <a:lnTo>
                    <a:pt x="7767" y="11077"/>
                  </a:lnTo>
                  <a:lnTo>
                    <a:pt x="7687" y="11377"/>
                  </a:lnTo>
                  <a:lnTo>
                    <a:pt x="7597" y="11682"/>
                  </a:lnTo>
                  <a:lnTo>
                    <a:pt x="7500" y="11988"/>
                  </a:lnTo>
                  <a:lnTo>
                    <a:pt x="7395" y="12294"/>
                  </a:lnTo>
                  <a:lnTo>
                    <a:pt x="7282" y="12600"/>
                  </a:lnTo>
                  <a:lnTo>
                    <a:pt x="7162" y="12904"/>
                  </a:lnTo>
                  <a:lnTo>
                    <a:pt x="7035" y="13203"/>
                  </a:lnTo>
                  <a:lnTo>
                    <a:pt x="6901" y="13498"/>
                  </a:lnTo>
                  <a:lnTo>
                    <a:pt x="6761" y="13785"/>
                  </a:lnTo>
                  <a:lnTo>
                    <a:pt x="6613" y="14065"/>
                  </a:lnTo>
                  <a:lnTo>
                    <a:pt x="6461" y="14335"/>
                  </a:lnTo>
                  <a:lnTo>
                    <a:pt x="6302" y="14594"/>
                  </a:lnTo>
                  <a:lnTo>
                    <a:pt x="6138" y="14841"/>
                  </a:lnTo>
                  <a:lnTo>
                    <a:pt x="5969" y="15074"/>
                  </a:lnTo>
                  <a:lnTo>
                    <a:pt x="5795" y="15291"/>
                  </a:lnTo>
                  <a:lnTo>
                    <a:pt x="5616" y="15492"/>
                  </a:lnTo>
                  <a:lnTo>
                    <a:pt x="5432" y="15673"/>
                  </a:lnTo>
                  <a:lnTo>
                    <a:pt x="5245" y="15837"/>
                  </a:lnTo>
                  <a:lnTo>
                    <a:pt x="5053" y="15978"/>
                  </a:lnTo>
                  <a:lnTo>
                    <a:pt x="4857" y="16098"/>
                  </a:lnTo>
                  <a:lnTo>
                    <a:pt x="4658" y="16193"/>
                  </a:lnTo>
                  <a:lnTo>
                    <a:pt x="4456" y="16263"/>
                  </a:lnTo>
                  <a:lnTo>
                    <a:pt x="4251" y="16306"/>
                  </a:lnTo>
                  <a:lnTo>
                    <a:pt x="4043" y="16320"/>
                  </a:lnTo>
                  <a:lnTo>
                    <a:pt x="3834" y="16306"/>
                  </a:lnTo>
                  <a:lnTo>
                    <a:pt x="3629" y="16263"/>
                  </a:lnTo>
                  <a:lnTo>
                    <a:pt x="3427" y="16193"/>
                  </a:lnTo>
                  <a:lnTo>
                    <a:pt x="3228" y="16098"/>
                  </a:lnTo>
                  <a:lnTo>
                    <a:pt x="3032" y="15978"/>
                  </a:lnTo>
                  <a:lnTo>
                    <a:pt x="2840" y="15837"/>
                  </a:lnTo>
                  <a:lnTo>
                    <a:pt x="2653" y="15673"/>
                  </a:lnTo>
                  <a:lnTo>
                    <a:pt x="2469" y="15492"/>
                  </a:lnTo>
                  <a:lnTo>
                    <a:pt x="2290" y="15291"/>
                  </a:lnTo>
                  <a:lnTo>
                    <a:pt x="2116" y="15074"/>
                  </a:lnTo>
                  <a:lnTo>
                    <a:pt x="1947" y="14841"/>
                  </a:lnTo>
                  <a:lnTo>
                    <a:pt x="1783" y="14594"/>
                  </a:lnTo>
                  <a:lnTo>
                    <a:pt x="1624" y="14335"/>
                  </a:lnTo>
                  <a:lnTo>
                    <a:pt x="1472" y="14065"/>
                  </a:lnTo>
                  <a:lnTo>
                    <a:pt x="1324" y="13785"/>
                  </a:lnTo>
                  <a:lnTo>
                    <a:pt x="1184" y="13498"/>
                  </a:lnTo>
                  <a:lnTo>
                    <a:pt x="1050" y="13203"/>
                  </a:lnTo>
                  <a:lnTo>
                    <a:pt x="923" y="12904"/>
                  </a:lnTo>
                  <a:lnTo>
                    <a:pt x="803" y="12600"/>
                  </a:lnTo>
                  <a:lnTo>
                    <a:pt x="690" y="12294"/>
                  </a:lnTo>
                  <a:lnTo>
                    <a:pt x="585" y="11988"/>
                  </a:lnTo>
                  <a:lnTo>
                    <a:pt x="488" y="11682"/>
                  </a:lnTo>
                  <a:lnTo>
                    <a:pt x="398" y="11377"/>
                  </a:lnTo>
                  <a:lnTo>
                    <a:pt x="318" y="11077"/>
                  </a:lnTo>
                  <a:lnTo>
                    <a:pt x="245" y="10781"/>
                  </a:lnTo>
                  <a:lnTo>
                    <a:pt x="182" y="10492"/>
                  </a:lnTo>
                  <a:lnTo>
                    <a:pt x="127" y="10210"/>
                  </a:lnTo>
                  <a:lnTo>
                    <a:pt x="82" y="9937"/>
                  </a:lnTo>
                  <a:lnTo>
                    <a:pt x="47" y="9675"/>
                  </a:lnTo>
                  <a:lnTo>
                    <a:pt x="21" y="9426"/>
                  </a:lnTo>
                  <a:lnTo>
                    <a:pt x="5" y="9189"/>
                  </a:lnTo>
                  <a:lnTo>
                    <a:pt x="0" y="8968"/>
                  </a:lnTo>
                  <a:lnTo>
                    <a:pt x="5" y="8741"/>
                  </a:lnTo>
                  <a:lnTo>
                    <a:pt x="21" y="8492"/>
                  </a:lnTo>
                  <a:lnTo>
                    <a:pt x="47" y="8220"/>
                  </a:lnTo>
                  <a:lnTo>
                    <a:pt x="82" y="7928"/>
                  </a:lnTo>
                  <a:lnTo>
                    <a:pt x="127" y="7619"/>
                  </a:lnTo>
                  <a:lnTo>
                    <a:pt x="182" y="7295"/>
                  </a:lnTo>
                  <a:lnTo>
                    <a:pt x="245" y="6956"/>
                  </a:lnTo>
                  <a:lnTo>
                    <a:pt x="318" y="6606"/>
                  </a:lnTo>
                  <a:lnTo>
                    <a:pt x="398" y="6246"/>
                  </a:lnTo>
                  <a:lnTo>
                    <a:pt x="488" y="5879"/>
                  </a:lnTo>
                  <a:lnTo>
                    <a:pt x="585" y="5506"/>
                  </a:lnTo>
                  <a:lnTo>
                    <a:pt x="690" y="5130"/>
                  </a:lnTo>
                  <a:lnTo>
                    <a:pt x="803" y="4752"/>
                  </a:lnTo>
                  <a:lnTo>
                    <a:pt x="923" y="4375"/>
                  </a:lnTo>
                  <a:lnTo>
                    <a:pt x="1050" y="4000"/>
                  </a:lnTo>
                  <a:lnTo>
                    <a:pt x="1184" y="3630"/>
                  </a:lnTo>
                  <a:lnTo>
                    <a:pt x="1324" y="3267"/>
                  </a:lnTo>
                  <a:lnTo>
                    <a:pt x="1472" y="2912"/>
                  </a:lnTo>
                  <a:lnTo>
                    <a:pt x="1624" y="2568"/>
                  </a:lnTo>
                  <a:lnTo>
                    <a:pt x="1783" y="2237"/>
                  </a:lnTo>
                  <a:lnTo>
                    <a:pt x="1947" y="1921"/>
                  </a:lnTo>
                  <a:lnTo>
                    <a:pt x="2116" y="1622"/>
                  </a:lnTo>
                  <a:lnTo>
                    <a:pt x="2290" y="1340"/>
                  </a:lnTo>
                  <a:lnTo>
                    <a:pt x="2469" y="1081"/>
                  </a:lnTo>
                  <a:lnTo>
                    <a:pt x="2653" y="845"/>
                  </a:lnTo>
                  <a:lnTo>
                    <a:pt x="2840" y="632"/>
                  </a:lnTo>
                  <a:lnTo>
                    <a:pt x="3032" y="448"/>
                  </a:lnTo>
                  <a:lnTo>
                    <a:pt x="3228" y="292"/>
                  </a:lnTo>
                  <a:lnTo>
                    <a:pt x="3427" y="167"/>
                  </a:lnTo>
                  <a:lnTo>
                    <a:pt x="3629" y="75"/>
                  </a:lnTo>
                  <a:lnTo>
                    <a:pt x="3834" y="19"/>
                  </a:lnTo>
                  <a:lnTo>
                    <a:pt x="4043" y="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lumMod val="50000"/>
                  </a:srgbClr>
                </a:solidFill>
                <a:effectLst/>
                <a:uLnTx/>
                <a:uFillTx/>
                <a:latin typeface="等线 Light" panose="020F0302020204030204"/>
                <a:ea typeface="+mn-ea"/>
                <a:cs typeface="+mn-cs"/>
              </a:endParaRPr>
            </a:p>
          </p:txBody>
        </p:sp>
        <p:sp>
          <p:nvSpPr>
            <p:cNvPr id="14" name="Freeform 19">
              <a:extLst>
                <a:ext uri="{FF2B5EF4-FFF2-40B4-BE49-F238E27FC236}">
                  <a16:creationId xmlns:a16="http://schemas.microsoft.com/office/drawing/2014/main" id="{9A607D95-053C-4208-8DCC-C854C0F887F0}"/>
                </a:ext>
              </a:extLst>
            </p:cNvPr>
            <p:cNvSpPr>
              <a:spLocks/>
            </p:cNvSpPr>
            <p:nvPr/>
          </p:nvSpPr>
          <p:spPr bwMode="auto">
            <a:xfrm rot="9000000">
              <a:off x="4524699" y="4789379"/>
              <a:ext cx="701519" cy="354013"/>
            </a:xfrm>
            <a:custGeom>
              <a:avLst/>
              <a:gdLst>
                <a:gd name="T0" fmla="*/ 4456 w 8085"/>
                <a:gd name="T1" fmla="*/ 75 h 16320"/>
                <a:gd name="T2" fmla="*/ 5053 w 8085"/>
                <a:gd name="T3" fmla="*/ 448 h 16320"/>
                <a:gd name="T4" fmla="*/ 5616 w 8085"/>
                <a:gd name="T5" fmla="*/ 1081 h 16320"/>
                <a:gd name="T6" fmla="*/ 6138 w 8085"/>
                <a:gd name="T7" fmla="*/ 1921 h 16320"/>
                <a:gd name="T8" fmla="*/ 6613 w 8085"/>
                <a:gd name="T9" fmla="*/ 2912 h 16320"/>
                <a:gd name="T10" fmla="*/ 7035 w 8085"/>
                <a:gd name="T11" fmla="*/ 4000 h 16320"/>
                <a:gd name="T12" fmla="*/ 7395 w 8085"/>
                <a:gd name="T13" fmla="*/ 5130 h 16320"/>
                <a:gd name="T14" fmla="*/ 7687 w 8085"/>
                <a:gd name="T15" fmla="*/ 6246 h 16320"/>
                <a:gd name="T16" fmla="*/ 7903 w 8085"/>
                <a:gd name="T17" fmla="*/ 7295 h 16320"/>
                <a:gd name="T18" fmla="*/ 8038 w 8085"/>
                <a:gd name="T19" fmla="*/ 8220 h 16320"/>
                <a:gd name="T20" fmla="*/ 8085 w 8085"/>
                <a:gd name="T21" fmla="*/ 8968 h 16320"/>
                <a:gd name="T22" fmla="*/ 8038 w 8085"/>
                <a:gd name="T23" fmla="*/ 9675 h 16320"/>
                <a:gd name="T24" fmla="*/ 7903 w 8085"/>
                <a:gd name="T25" fmla="*/ 10492 h 16320"/>
                <a:gd name="T26" fmla="*/ 7687 w 8085"/>
                <a:gd name="T27" fmla="*/ 11377 h 16320"/>
                <a:gd name="T28" fmla="*/ 7395 w 8085"/>
                <a:gd name="T29" fmla="*/ 12294 h 16320"/>
                <a:gd name="T30" fmla="*/ 7035 w 8085"/>
                <a:gd name="T31" fmla="*/ 13203 h 16320"/>
                <a:gd name="T32" fmla="*/ 6613 w 8085"/>
                <a:gd name="T33" fmla="*/ 14065 h 16320"/>
                <a:gd name="T34" fmla="*/ 6138 w 8085"/>
                <a:gd name="T35" fmla="*/ 14841 h 16320"/>
                <a:gd name="T36" fmla="*/ 5616 w 8085"/>
                <a:gd name="T37" fmla="*/ 15492 h 16320"/>
                <a:gd name="T38" fmla="*/ 5053 w 8085"/>
                <a:gd name="T39" fmla="*/ 15978 h 16320"/>
                <a:gd name="T40" fmla="*/ 4456 w 8085"/>
                <a:gd name="T41" fmla="*/ 16263 h 16320"/>
                <a:gd name="T42" fmla="*/ 3834 w 8085"/>
                <a:gd name="T43" fmla="*/ 16306 h 16320"/>
                <a:gd name="T44" fmla="*/ 3228 w 8085"/>
                <a:gd name="T45" fmla="*/ 16098 h 16320"/>
                <a:gd name="T46" fmla="*/ 2653 w 8085"/>
                <a:gd name="T47" fmla="*/ 15673 h 16320"/>
                <a:gd name="T48" fmla="*/ 2116 w 8085"/>
                <a:gd name="T49" fmla="*/ 15074 h 16320"/>
                <a:gd name="T50" fmla="*/ 1624 w 8085"/>
                <a:gd name="T51" fmla="*/ 14335 h 16320"/>
                <a:gd name="T52" fmla="*/ 1184 w 8085"/>
                <a:gd name="T53" fmla="*/ 13498 h 16320"/>
                <a:gd name="T54" fmla="*/ 803 w 8085"/>
                <a:gd name="T55" fmla="*/ 12600 h 16320"/>
                <a:gd name="T56" fmla="*/ 488 w 8085"/>
                <a:gd name="T57" fmla="*/ 11682 h 16320"/>
                <a:gd name="T58" fmla="*/ 245 w 8085"/>
                <a:gd name="T59" fmla="*/ 10781 h 16320"/>
                <a:gd name="T60" fmla="*/ 82 w 8085"/>
                <a:gd name="T61" fmla="*/ 9937 h 16320"/>
                <a:gd name="T62" fmla="*/ 5 w 8085"/>
                <a:gd name="T63" fmla="*/ 9189 h 16320"/>
                <a:gd name="T64" fmla="*/ 21 w 8085"/>
                <a:gd name="T65" fmla="*/ 8492 h 16320"/>
                <a:gd name="T66" fmla="*/ 127 w 8085"/>
                <a:gd name="T67" fmla="*/ 7619 h 16320"/>
                <a:gd name="T68" fmla="*/ 318 w 8085"/>
                <a:gd name="T69" fmla="*/ 6606 h 16320"/>
                <a:gd name="T70" fmla="*/ 585 w 8085"/>
                <a:gd name="T71" fmla="*/ 5506 h 16320"/>
                <a:gd name="T72" fmla="*/ 923 w 8085"/>
                <a:gd name="T73" fmla="*/ 4375 h 16320"/>
                <a:gd name="T74" fmla="*/ 1324 w 8085"/>
                <a:gd name="T75" fmla="*/ 3267 h 16320"/>
                <a:gd name="T76" fmla="*/ 1783 w 8085"/>
                <a:gd name="T77" fmla="*/ 2237 h 16320"/>
                <a:gd name="T78" fmla="*/ 2290 w 8085"/>
                <a:gd name="T79" fmla="*/ 1340 h 16320"/>
                <a:gd name="T80" fmla="*/ 2840 w 8085"/>
                <a:gd name="T81" fmla="*/ 632 h 16320"/>
                <a:gd name="T82" fmla="*/ 3427 w 8085"/>
                <a:gd name="T83" fmla="*/ 167 h 16320"/>
                <a:gd name="T84" fmla="*/ 4043 w 8085"/>
                <a:gd name="T85" fmla="*/ 0 h 16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085" h="16320">
                  <a:moveTo>
                    <a:pt x="4043" y="0"/>
                  </a:moveTo>
                  <a:lnTo>
                    <a:pt x="4251" y="19"/>
                  </a:lnTo>
                  <a:lnTo>
                    <a:pt x="4456" y="75"/>
                  </a:lnTo>
                  <a:lnTo>
                    <a:pt x="4658" y="167"/>
                  </a:lnTo>
                  <a:lnTo>
                    <a:pt x="4857" y="292"/>
                  </a:lnTo>
                  <a:lnTo>
                    <a:pt x="5053" y="448"/>
                  </a:lnTo>
                  <a:lnTo>
                    <a:pt x="5245" y="632"/>
                  </a:lnTo>
                  <a:lnTo>
                    <a:pt x="5432" y="845"/>
                  </a:lnTo>
                  <a:lnTo>
                    <a:pt x="5616" y="1081"/>
                  </a:lnTo>
                  <a:lnTo>
                    <a:pt x="5795" y="1340"/>
                  </a:lnTo>
                  <a:lnTo>
                    <a:pt x="5969" y="1622"/>
                  </a:lnTo>
                  <a:lnTo>
                    <a:pt x="6138" y="1921"/>
                  </a:lnTo>
                  <a:lnTo>
                    <a:pt x="6302" y="2237"/>
                  </a:lnTo>
                  <a:lnTo>
                    <a:pt x="6461" y="2568"/>
                  </a:lnTo>
                  <a:lnTo>
                    <a:pt x="6613" y="2912"/>
                  </a:lnTo>
                  <a:lnTo>
                    <a:pt x="6761" y="3267"/>
                  </a:lnTo>
                  <a:lnTo>
                    <a:pt x="6901" y="3630"/>
                  </a:lnTo>
                  <a:lnTo>
                    <a:pt x="7035" y="4000"/>
                  </a:lnTo>
                  <a:lnTo>
                    <a:pt x="7162" y="4375"/>
                  </a:lnTo>
                  <a:lnTo>
                    <a:pt x="7282" y="4752"/>
                  </a:lnTo>
                  <a:lnTo>
                    <a:pt x="7395" y="5130"/>
                  </a:lnTo>
                  <a:lnTo>
                    <a:pt x="7500" y="5506"/>
                  </a:lnTo>
                  <a:lnTo>
                    <a:pt x="7597" y="5879"/>
                  </a:lnTo>
                  <a:lnTo>
                    <a:pt x="7687" y="6246"/>
                  </a:lnTo>
                  <a:lnTo>
                    <a:pt x="7767" y="6606"/>
                  </a:lnTo>
                  <a:lnTo>
                    <a:pt x="7840" y="6956"/>
                  </a:lnTo>
                  <a:lnTo>
                    <a:pt x="7903" y="7295"/>
                  </a:lnTo>
                  <a:lnTo>
                    <a:pt x="7958" y="7619"/>
                  </a:lnTo>
                  <a:lnTo>
                    <a:pt x="8003" y="7928"/>
                  </a:lnTo>
                  <a:lnTo>
                    <a:pt x="8038" y="8220"/>
                  </a:lnTo>
                  <a:lnTo>
                    <a:pt x="8064" y="8492"/>
                  </a:lnTo>
                  <a:lnTo>
                    <a:pt x="8080" y="8741"/>
                  </a:lnTo>
                  <a:lnTo>
                    <a:pt x="8085" y="8968"/>
                  </a:lnTo>
                  <a:lnTo>
                    <a:pt x="8080" y="9189"/>
                  </a:lnTo>
                  <a:lnTo>
                    <a:pt x="8064" y="9426"/>
                  </a:lnTo>
                  <a:lnTo>
                    <a:pt x="8038" y="9675"/>
                  </a:lnTo>
                  <a:lnTo>
                    <a:pt x="8003" y="9937"/>
                  </a:lnTo>
                  <a:lnTo>
                    <a:pt x="7958" y="10210"/>
                  </a:lnTo>
                  <a:lnTo>
                    <a:pt x="7903" y="10492"/>
                  </a:lnTo>
                  <a:lnTo>
                    <a:pt x="7840" y="10781"/>
                  </a:lnTo>
                  <a:lnTo>
                    <a:pt x="7767" y="11077"/>
                  </a:lnTo>
                  <a:lnTo>
                    <a:pt x="7687" y="11377"/>
                  </a:lnTo>
                  <a:lnTo>
                    <a:pt x="7597" y="11682"/>
                  </a:lnTo>
                  <a:lnTo>
                    <a:pt x="7500" y="11988"/>
                  </a:lnTo>
                  <a:lnTo>
                    <a:pt x="7395" y="12294"/>
                  </a:lnTo>
                  <a:lnTo>
                    <a:pt x="7282" y="12600"/>
                  </a:lnTo>
                  <a:lnTo>
                    <a:pt x="7162" y="12904"/>
                  </a:lnTo>
                  <a:lnTo>
                    <a:pt x="7035" y="13203"/>
                  </a:lnTo>
                  <a:lnTo>
                    <a:pt x="6901" y="13498"/>
                  </a:lnTo>
                  <a:lnTo>
                    <a:pt x="6761" y="13785"/>
                  </a:lnTo>
                  <a:lnTo>
                    <a:pt x="6613" y="14065"/>
                  </a:lnTo>
                  <a:lnTo>
                    <a:pt x="6461" y="14335"/>
                  </a:lnTo>
                  <a:lnTo>
                    <a:pt x="6302" y="14594"/>
                  </a:lnTo>
                  <a:lnTo>
                    <a:pt x="6138" y="14841"/>
                  </a:lnTo>
                  <a:lnTo>
                    <a:pt x="5969" y="15074"/>
                  </a:lnTo>
                  <a:lnTo>
                    <a:pt x="5795" y="15291"/>
                  </a:lnTo>
                  <a:lnTo>
                    <a:pt x="5616" y="15492"/>
                  </a:lnTo>
                  <a:lnTo>
                    <a:pt x="5432" y="15673"/>
                  </a:lnTo>
                  <a:lnTo>
                    <a:pt x="5245" y="15837"/>
                  </a:lnTo>
                  <a:lnTo>
                    <a:pt x="5053" y="15978"/>
                  </a:lnTo>
                  <a:lnTo>
                    <a:pt x="4857" y="16098"/>
                  </a:lnTo>
                  <a:lnTo>
                    <a:pt x="4658" y="16193"/>
                  </a:lnTo>
                  <a:lnTo>
                    <a:pt x="4456" y="16263"/>
                  </a:lnTo>
                  <a:lnTo>
                    <a:pt x="4251" y="16306"/>
                  </a:lnTo>
                  <a:lnTo>
                    <a:pt x="4043" y="16320"/>
                  </a:lnTo>
                  <a:lnTo>
                    <a:pt x="3834" y="16306"/>
                  </a:lnTo>
                  <a:lnTo>
                    <a:pt x="3629" y="16263"/>
                  </a:lnTo>
                  <a:lnTo>
                    <a:pt x="3427" y="16193"/>
                  </a:lnTo>
                  <a:lnTo>
                    <a:pt x="3228" y="16098"/>
                  </a:lnTo>
                  <a:lnTo>
                    <a:pt x="3032" y="15978"/>
                  </a:lnTo>
                  <a:lnTo>
                    <a:pt x="2840" y="15837"/>
                  </a:lnTo>
                  <a:lnTo>
                    <a:pt x="2653" y="15673"/>
                  </a:lnTo>
                  <a:lnTo>
                    <a:pt x="2469" y="15492"/>
                  </a:lnTo>
                  <a:lnTo>
                    <a:pt x="2290" y="15291"/>
                  </a:lnTo>
                  <a:lnTo>
                    <a:pt x="2116" y="15074"/>
                  </a:lnTo>
                  <a:lnTo>
                    <a:pt x="1947" y="14841"/>
                  </a:lnTo>
                  <a:lnTo>
                    <a:pt x="1783" y="14594"/>
                  </a:lnTo>
                  <a:lnTo>
                    <a:pt x="1624" y="14335"/>
                  </a:lnTo>
                  <a:lnTo>
                    <a:pt x="1472" y="14065"/>
                  </a:lnTo>
                  <a:lnTo>
                    <a:pt x="1324" y="13785"/>
                  </a:lnTo>
                  <a:lnTo>
                    <a:pt x="1184" y="13498"/>
                  </a:lnTo>
                  <a:lnTo>
                    <a:pt x="1050" y="13203"/>
                  </a:lnTo>
                  <a:lnTo>
                    <a:pt x="923" y="12904"/>
                  </a:lnTo>
                  <a:lnTo>
                    <a:pt x="803" y="12600"/>
                  </a:lnTo>
                  <a:lnTo>
                    <a:pt x="690" y="12294"/>
                  </a:lnTo>
                  <a:lnTo>
                    <a:pt x="585" y="11988"/>
                  </a:lnTo>
                  <a:lnTo>
                    <a:pt x="488" y="11682"/>
                  </a:lnTo>
                  <a:lnTo>
                    <a:pt x="398" y="11377"/>
                  </a:lnTo>
                  <a:lnTo>
                    <a:pt x="318" y="11077"/>
                  </a:lnTo>
                  <a:lnTo>
                    <a:pt x="245" y="10781"/>
                  </a:lnTo>
                  <a:lnTo>
                    <a:pt x="182" y="10492"/>
                  </a:lnTo>
                  <a:lnTo>
                    <a:pt x="127" y="10210"/>
                  </a:lnTo>
                  <a:lnTo>
                    <a:pt x="82" y="9937"/>
                  </a:lnTo>
                  <a:lnTo>
                    <a:pt x="47" y="9675"/>
                  </a:lnTo>
                  <a:lnTo>
                    <a:pt x="21" y="9426"/>
                  </a:lnTo>
                  <a:lnTo>
                    <a:pt x="5" y="9189"/>
                  </a:lnTo>
                  <a:lnTo>
                    <a:pt x="0" y="8968"/>
                  </a:lnTo>
                  <a:lnTo>
                    <a:pt x="5" y="8741"/>
                  </a:lnTo>
                  <a:lnTo>
                    <a:pt x="21" y="8492"/>
                  </a:lnTo>
                  <a:lnTo>
                    <a:pt x="47" y="8220"/>
                  </a:lnTo>
                  <a:lnTo>
                    <a:pt x="82" y="7928"/>
                  </a:lnTo>
                  <a:lnTo>
                    <a:pt x="127" y="7619"/>
                  </a:lnTo>
                  <a:lnTo>
                    <a:pt x="182" y="7295"/>
                  </a:lnTo>
                  <a:lnTo>
                    <a:pt x="245" y="6956"/>
                  </a:lnTo>
                  <a:lnTo>
                    <a:pt x="318" y="6606"/>
                  </a:lnTo>
                  <a:lnTo>
                    <a:pt x="398" y="6246"/>
                  </a:lnTo>
                  <a:lnTo>
                    <a:pt x="488" y="5879"/>
                  </a:lnTo>
                  <a:lnTo>
                    <a:pt x="585" y="5506"/>
                  </a:lnTo>
                  <a:lnTo>
                    <a:pt x="690" y="5130"/>
                  </a:lnTo>
                  <a:lnTo>
                    <a:pt x="803" y="4752"/>
                  </a:lnTo>
                  <a:lnTo>
                    <a:pt x="923" y="4375"/>
                  </a:lnTo>
                  <a:lnTo>
                    <a:pt x="1050" y="4000"/>
                  </a:lnTo>
                  <a:lnTo>
                    <a:pt x="1184" y="3630"/>
                  </a:lnTo>
                  <a:lnTo>
                    <a:pt x="1324" y="3267"/>
                  </a:lnTo>
                  <a:lnTo>
                    <a:pt x="1472" y="2912"/>
                  </a:lnTo>
                  <a:lnTo>
                    <a:pt x="1624" y="2568"/>
                  </a:lnTo>
                  <a:lnTo>
                    <a:pt x="1783" y="2237"/>
                  </a:lnTo>
                  <a:lnTo>
                    <a:pt x="1947" y="1921"/>
                  </a:lnTo>
                  <a:lnTo>
                    <a:pt x="2116" y="1622"/>
                  </a:lnTo>
                  <a:lnTo>
                    <a:pt x="2290" y="1340"/>
                  </a:lnTo>
                  <a:lnTo>
                    <a:pt x="2469" y="1081"/>
                  </a:lnTo>
                  <a:lnTo>
                    <a:pt x="2653" y="845"/>
                  </a:lnTo>
                  <a:lnTo>
                    <a:pt x="2840" y="632"/>
                  </a:lnTo>
                  <a:lnTo>
                    <a:pt x="3032" y="448"/>
                  </a:lnTo>
                  <a:lnTo>
                    <a:pt x="3228" y="292"/>
                  </a:lnTo>
                  <a:lnTo>
                    <a:pt x="3427" y="167"/>
                  </a:lnTo>
                  <a:lnTo>
                    <a:pt x="3629" y="75"/>
                  </a:lnTo>
                  <a:lnTo>
                    <a:pt x="3834" y="19"/>
                  </a:lnTo>
                  <a:lnTo>
                    <a:pt x="4043" y="0"/>
                  </a:ln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lumMod val="50000"/>
                  </a:srgbClr>
                </a:solidFill>
                <a:effectLst/>
                <a:uLnTx/>
                <a:uFillTx/>
                <a:latin typeface="等线 Light" panose="020F0302020204030204"/>
                <a:ea typeface="+mn-ea"/>
                <a:cs typeface="+mn-cs"/>
              </a:endParaRPr>
            </a:p>
          </p:txBody>
        </p:sp>
        <p:grpSp>
          <p:nvGrpSpPr>
            <p:cNvPr id="15" name="Group 13">
              <a:extLst>
                <a:ext uri="{FF2B5EF4-FFF2-40B4-BE49-F238E27FC236}">
                  <a16:creationId xmlns:a16="http://schemas.microsoft.com/office/drawing/2014/main" id="{7679CA69-BEA6-4B25-9FB7-811BE6894EBD}"/>
                </a:ext>
              </a:extLst>
            </p:cNvPr>
            <p:cNvGrpSpPr/>
            <p:nvPr/>
          </p:nvGrpSpPr>
          <p:grpSpPr>
            <a:xfrm>
              <a:off x="5317599" y="2750239"/>
              <a:ext cx="1349696" cy="3483484"/>
              <a:chOff x="6421351" y="1894996"/>
              <a:chExt cx="983281" cy="2537788"/>
            </a:xfrm>
            <a:solidFill>
              <a:schemeClr val="tx1">
                <a:lumMod val="75000"/>
                <a:lumOff val="25000"/>
              </a:schemeClr>
            </a:solidFill>
          </p:grpSpPr>
          <p:sp>
            <p:nvSpPr>
              <p:cNvPr id="17" name="Freeform 6">
                <a:extLst>
                  <a:ext uri="{FF2B5EF4-FFF2-40B4-BE49-F238E27FC236}">
                    <a16:creationId xmlns:a16="http://schemas.microsoft.com/office/drawing/2014/main" id="{D38DC40B-B4BC-460D-BCAB-4B493B084604}"/>
                  </a:ext>
                </a:extLst>
              </p:cNvPr>
              <p:cNvSpPr>
                <a:spLocks/>
              </p:cNvSpPr>
              <p:nvPr/>
            </p:nvSpPr>
            <p:spPr bwMode="auto">
              <a:xfrm>
                <a:off x="6707369" y="1991742"/>
                <a:ext cx="549306" cy="2441042"/>
              </a:xfrm>
              <a:custGeom>
                <a:avLst/>
                <a:gdLst>
                  <a:gd name="T0" fmla="*/ 943 w 3675"/>
                  <a:gd name="T1" fmla="*/ 0 h 17136"/>
                  <a:gd name="T2" fmla="*/ 2235 w 3675"/>
                  <a:gd name="T3" fmla="*/ 0 h 17136"/>
                  <a:gd name="T4" fmla="*/ 3675 w 3675"/>
                  <a:gd name="T5" fmla="*/ 17136 h 17136"/>
                  <a:gd name="T6" fmla="*/ 0 w 3675"/>
                  <a:gd name="T7" fmla="*/ 17136 h 17136"/>
                  <a:gd name="T8" fmla="*/ 943 w 3675"/>
                  <a:gd name="T9" fmla="*/ 0 h 17136"/>
                </a:gdLst>
                <a:ahLst/>
                <a:cxnLst>
                  <a:cxn ang="0">
                    <a:pos x="T0" y="T1"/>
                  </a:cxn>
                  <a:cxn ang="0">
                    <a:pos x="T2" y="T3"/>
                  </a:cxn>
                  <a:cxn ang="0">
                    <a:pos x="T4" y="T5"/>
                  </a:cxn>
                  <a:cxn ang="0">
                    <a:pos x="T6" y="T7"/>
                  </a:cxn>
                  <a:cxn ang="0">
                    <a:pos x="T8" y="T9"/>
                  </a:cxn>
                </a:cxnLst>
                <a:rect l="0" t="0" r="r" b="b"/>
                <a:pathLst>
                  <a:path w="3675" h="17136">
                    <a:moveTo>
                      <a:pt x="943" y="0"/>
                    </a:moveTo>
                    <a:lnTo>
                      <a:pt x="2235" y="0"/>
                    </a:lnTo>
                    <a:lnTo>
                      <a:pt x="3675" y="17136"/>
                    </a:lnTo>
                    <a:lnTo>
                      <a:pt x="0" y="17136"/>
                    </a:lnTo>
                    <a:lnTo>
                      <a:pt x="94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lumMod val="50000"/>
                    </a:srgbClr>
                  </a:solidFill>
                  <a:effectLst/>
                  <a:uLnTx/>
                  <a:uFillTx/>
                  <a:latin typeface="等线 Light" panose="020F0302020204030204"/>
                  <a:ea typeface="+mn-ea"/>
                  <a:cs typeface="+mn-cs"/>
                </a:endParaRPr>
              </a:p>
            </p:txBody>
          </p:sp>
          <p:sp>
            <p:nvSpPr>
              <p:cNvPr id="18" name="Freeform 8">
                <a:extLst>
                  <a:ext uri="{FF2B5EF4-FFF2-40B4-BE49-F238E27FC236}">
                    <a16:creationId xmlns:a16="http://schemas.microsoft.com/office/drawing/2014/main" id="{40B8205C-9140-42C8-B4D6-6333C68D54A7}"/>
                  </a:ext>
                </a:extLst>
              </p:cNvPr>
              <p:cNvSpPr>
                <a:spLocks/>
              </p:cNvSpPr>
              <p:nvPr/>
            </p:nvSpPr>
            <p:spPr bwMode="auto">
              <a:xfrm rot="900000">
                <a:off x="6525449" y="1894996"/>
                <a:ext cx="455560" cy="540664"/>
              </a:xfrm>
              <a:custGeom>
                <a:avLst/>
                <a:gdLst>
                  <a:gd name="T0" fmla="*/ 0 w 3279"/>
                  <a:gd name="T1" fmla="*/ 391 h 3884"/>
                  <a:gd name="T2" fmla="*/ 163 w 3279"/>
                  <a:gd name="T3" fmla="*/ 0 h 3884"/>
                  <a:gd name="T4" fmla="*/ 3279 w 3279"/>
                  <a:gd name="T5" fmla="*/ 2771 h 3884"/>
                  <a:gd name="T6" fmla="*/ 2816 w 3279"/>
                  <a:gd name="T7" fmla="*/ 3884 h 3884"/>
                  <a:gd name="T8" fmla="*/ 0 w 3279"/>
                  <a:gd name="T9" fmla="*/ 391 h 3884"/>
                </a:gdLst>
                <a:ahLst/>
                <a:cxnLst>
                  <a:cxn ang="0">
                    <a:pos x="T0" y="T1"/>
                  </a:cxn>
                  <a:cxn ang="0">
                    <a:pos x="T2" y="T3"/>
                  </a:cxn>
                  <a:cxn ang="0">
                    <a:pos x="T4" y="T5"/>
                  </a:cxn>
                  <a:cxn ang="0">
                    <a:pos x="T6" y="T7"/>
                  </a:cxn>
                  <a:cxn ang="0">
                    <a:pos x="T8" y="T9"/>
                  </a:cxn>
                </a:cxnLst>
                <a:rect l="0" t="0" r="r" b="b"/>
                <a:pathLst>
                  <a:path w="3279" h="3884">
                    <a:moveTo>
                      <a:pt x="0" y="391"/>
                    </a:moveTo>
                    <a:lnTo>
                      <a:pt x="163" y="0"/>
                    </a:lnTo>
                    <a:lnTo>
                      <a:pt x="3279" y="2771"/>
                    </a:lnTo>
                    <a:lnTo>
                      <a:pt x="2816" y="3884"/>
                    </a:lnTo>
                    <a:lnTo>
                      <a:pt x="0" y="39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lumMod val="50000"/>
                    </a:srgbClr>
                  </a:solidFill>
                  <a:effectLst/>
                  <a:uLnTx/>
                  <a:uFillTx/>
                  <a:latin typeface="等线 Light" panose="020F0302020204030204"/>
                  <a:ea typeface="+mn-ea"/>
                  <a:cs typeface="+mn-cs"/>
                </a:endParaRPr>
              </a:p>
            </p:txBody>
          </p:sp>
          <p:sp>
            <p:nvSpPr>
              <p:cNvPr id="19" name="Freeform 8">
                <a:extLst>
                  <a:ext uri="{FF2B5EF4-FFF2-40B4-BE49-F238E27FC236}">
                    <a16:creationId xmlns:a16="http://schemas.microsoft.com/office/drawing/2014/main" id="{7787E9C0-C019-4AD9-B76B-4F1DEF3EEC6E}"/>
                  </a:ext>
                </a:extLst>
              </p:cNvPr>
              <p:cNvSpPr>
                <a:spLocks/>
              </p:cNvSpPr>
              <p:nvPr/>
            </p:nvSpPr>
            <p:spPr bwMode="auto">
              <a:xfrm rot="5400000">
                <a:off x="7023980" y="2399969"/>
                <a:ext cx="338693" cy="422611"/>
              </a:xfrm>
              <a:custGeom>
                <a:avLst/>
                <a:gdLst>
                  <a:gd name="T0" fmla="*/ 0 w 3279"/>
                  <a:gd name="T1" fmla="*/ 391 h 3884"/>
                  <a:gd name="T2" fmla="*/ 163 w 3279"/>
                  <a:gd name="T3" fmla="*/ 0 h 3884"/>
                  <a:gd name="T4" fmla="*/ 3279 w 3279"/>
                  <a:gd name="T5" fmla="*/ 2771 h 3884"/>
                  <a:gd name="T6" fmla="*/ 2816 w 3279"/>
                  <a:gd name="T7" fmla="*/ 3884 h 3884"/>
                  <a:gd name="T8" fmla="*/ 0 w 3279"/>
                  <a:gd name="T9" fmla="*/ 391 h 3884"/>
                </a:gdLst>
                <a:ahLst/>
                <a:cxnLst>
                  <a:cxn ang="0">
                    <a:pos x="T0" y="T1"/>
                  </a:cxn>
                  <a:cxn ang="0">
                    <a:pos x="T2" y="T3"/>
                  </a:cxn>
                  <a:cxn ang="0">
                    <a:pos x="T4" y="T5"/>
                  </a:cxn>
                  <a:cxn ang="0">
                    <a:pos x="T6" y="T7"/>
                  </a:cxn>
                  <a:cxn ang="0">
                    <a:pos x="T8" y="T9"/>
                  </a:cxn>
                </a:cxnLst>
                <a:rect l="0" t="0" r="r" b="b"/>
                <a:pathLst>
                  <a:path w="3279" h="3884">
                    <a:moveTo>
                      <a:pt x="0" y="391"/>
                    </a:moveTo>
                    <a:lnTo>
                      <a:pt x="163" y="0"/>
                    </a:lnTo>
                    <a:lnTo>
                      <a:pt x="3279" y="2771"/>
                    </a:lnTo>
                    <a:lnTo>
                      <a:pt x="2816" y="3884"/>
                    </a:lnTo>
                    <a:lnTo>
                      <a:pt x="0" y="39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lumMod val="50000"/>
                    </a:srgbClr>
                  </a:solidFill>
                  <a:effectLst/>
                  <a:uLnTx/>
                  <a:uFillTx/>
                  <a:latin typeface="等线 Light" panose="020F0302020204030204"/>
                  <a:ea typeface="+mn-ea"/>
                  <a:cs typeface="+mn-cs"/>
                </a:endParaRPr>
              </a:p>
            </p:txBody>
          </p:sp>
          <p:sp>
            <p:nvSpPr>
              <p:cNvPr id="20" name="Freeform 8">
                <a:extLst>
                  <a:ext uri="{FF2B5EF4-FFF2-40B4-BE49-F238E27FC236}">
                    <a16:creationId xmlns:a16="http://schemas.microsoft.com/office/drawing/2014/main" id="{1808E9C8-D203-46C2-8D82-1C4B5076A942}"/>
                  </a:ext>
                </a:extLst>
              </p:cNvPr>
              <p:cNvSpPr>
                <a:spLocks/>
              </p:cNvSpPr>
              <p:nvPr/>
            </p:nvSpPr>
            <p:spPr bwMode="auto">
              <a:xfrm rot="20700000">
                <a:off x="6421351" y="3116141"/>
                <a:ext cx="455560" cy="540664"/>
              </a:xfrm>
              <a:custGeom>
                <a:avLst/>
                <a:gdLst>
                  <a:gd name="T0" fmla="*/ 0 w 3279"/>
                  <a:gd name="T1" fmla="*/ 391 h 3884"/>
                  <a:gd name="T2" fmla="*/ 163 w 3279"/>
                  <a:gd name="T3" fmla="*/ 0 h 3884"/>
                  <a:gd name="T4" fmla="*/ 3279 w 3279"/>
                  <a:gd name="T5" fmla="*/ 2771 h 3884"/>
                  <a:gd name="T6" fmla="*/ 2816 w 3279"/>
                  <a:gd name="T7" fmla="*/ 3884 h 3884"/>
                  <a:gd name="T8" fmla="*/ 0 w 3279"/>
                  <a:gd name="T9" fmla="*/ 391 h 3884"/>
                </a:gdLst>
                <a:ahLst/>
                <a:cxnLst>
                  <a:cxn ang="0">
                    <a:pos x="T0" y="T1"/>
                  </a:cxn>
                  <a:cxn ang="0">
                    <a:pos x="T2" y="T3"/>
                  </a:cxn>
                  <a:cxn ang="0">
                    <a:pos x="T4" y="T5"/>
                  </a:cxn>
                  <a:cxn ang="0">
                    <a:pos x="T6" y="T7"/>
                  </a:cxn>
                  <a:cxn ang="0">
                    <a:pos x="T8" y="T9"/>
                  </a:cxn>
                </a:cxnLst>
                <a:rect l="0" t="0" r="r" b="b"/>
                <a:pathLst>
                  <a:path w="3279" h="3884">
                    <a:moveTo>
                      <a:pt x="0" y="391"/>
                    </a:moveTo>
                    <a:lnTo>
                      <a:pt x="163" y="0"/>
                    </a:lnTo>
                    <a:lnTo>
                      <a:pt x="3279" y="2771"/>
                    </a:lnTo>
                    <a:lnTo>
                      <a:pt x="2816" y="3884"/>
                    </a:lnTo>
                    <a:lnTo>
                      <a:pt x="0" y="39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lumMod val="50000"/>
                    </a:srgbClr>
                  </a:solidFill>
                  <a:effectLst/>
                  <a:uLnTx/>
                  <a:uFillTx/>
                  <a:latin typeface="等线 Light" panose="020F0302020204030204"/>
                  <a:ea typeface="+mn-ea"/>
                  <a:cs typeface="+mn-cs"/>
                </a:endParaRPr>
              </a:p>
            </p:txBody>
          </p:sp>
        </p:grpSp>
        <p:sp>
          <p:nvSpPr>
            <p:cNvPr id="16" name="Rectangle 22">
              <a:extLst>
                <a:ext uri="{FF2B5EF4-FFF2-40B4-BE49-F238E27FC236}">
                  <a16:creationId xmlns:a16="http://schemas.microsoft.com/office/drawing/2014/main" id="{5B95D156-33B9-46D1-B664-72E53DE586C8}"/>
                </a:ext>
              </a:extLst>
            </p:cNvPr>
            <p:cNvSpPr/>
            <p:nvPr/>
          </p:nvSpPr>
          <p:spPr>
            <a:xfrm>
              <a:off x="3612938" y="6207322"/>
              <a:ext cx="4966124" cy="650678"/>
            </a:xfrm>
            <a:custGeom>
              <a:avLst/>
              <a:gdLst>
                <a:gd name="connsiteX0" fmla="*/ 0 w 19477038"/>
                <a:gd name="connsiteY0" fmla="*/ 0 h 866426"/>
                <a:gd name="connsiteX1" fmla="*/ 19477038 w 19477038"/>
                <a:gd name="connsiteY1" fmla="*/ 0 h 866426"/>
                <a:gd name="connsiteX2" fmla="*/ 19477038 w 19477038"/>
                <a:gd name="connsiteY2" fmla="*/ 866426 h 866426"/>
                <a:gd name="connsiteX3" fmla="*/ 0 w 19477038"/>
                <a:gd name="connsiteY3" fmla="*/ 866426 h 866426"/>
                <a:gd name="connsiteX4" fmla="*/ 0 w 19477038"/>
                <a:gd name="connsiteY4" fmla="*/ 0 h 866426"/>
                <a:gd name="connsiteX0" fmla="*/ 0 w 19477038"/>
                <a:gd name="connsiteY0" fmla="*/ 527221 h 1393647"/>
                <a:gd name="connsiteX1" fmla="*/ 19477038 w 19477038"/>
                <a:gd name="connsiteY1" fmla="*/ 527221 h 1393647"/>
                <a:gd name="connsiteX2" fmla="*/ 19477038 w 19477038"/>
                <a:gd name="connsiteY2" fmla="*/ 1393647 h 1393647"/>
                <a:gd name="connsiteX3" fmla="*/ 0 w 19477038"/>
                <a:gd name="connsiteY3" fmla="*/ 1393647 h 1393647"/>
                <a:gd name="connsiteX4" fmla="*/ 0 w 19477038"/>
                <a:gd name="connsiteY4" fmla="*/ 527221 h 1393647"/>
                <a:gd name="connsiteX0" fmla="*/ 0 w 19477038"/>
                <a:gd name="connsiteY0" fmla="*/ 500816 h 1367242"/>
                <a:gd name="connsiteX1" fmla="*/ 19477038 w 19477038"/>
                <a:gd name="connsiteY1" fmla="*/ 500816 h 1367242"/>
                <a:gd name="connsiteX2" fmla="*/ 19477038 w 19477038"/>
                <a:gd name="connsiteY2" fmla="*/ 1367242 h 1367242"/>
                <a:gd name="connsiteX3" fmla="*/ 0 w 19477038"/>
                <a:gd name="connsiteY3" fmla="*/ 1367242 h 1367242"/>
                <a:gd name="connsiteX4" fmla="*/ 0 w 19477038"/>
                <a:gd name="connsiteY4" fmla="*/ 500816 h 1367242"/>
                <a:gd name="connsiteX0" fmla="*/ 0 w 19477038"/>
                <a:gd name="connsiteY0" fmla="*/ 467933 h 1334359"/>
                <a:gd name="connsiteX1" fmla="*/ 19477038 w 19477038"/>
                <a:gd name="connsiteY1" fmla="*/ 467933 h 1334359"/>
                <a:gd name="connsiteX2" fmla="*/ 19477038 w 19477038"/>
                <a:gd name="connsiteY2" fmla="*/ 1334359 h 1334359"/>
                <a:gd name="connsiteX3" fmla="*/ 0 w 19477038"/>
                <a:gd name="connsiteY3" fmla="*/ 1334359 h 1334359"/>
                <a:gd name="connsiteX4" fmla="*/ 0 w 19477038"/>
                <a:gd name="connsiteY4" fmla="*/ 467933 h 1334359"/>
                <a:gd name="connsiteX0" fmla="*/ 0 w 19477038"/>
                <a:gd name="connsiteY0" fmla="*/ 2913345 h 3779771"/>
                <a:gd name="connsiteX1" fmla="*/ 19477038 w 19477038"/>
                <a:gd name="connsiteY1" fmla="*/ 2913345 h 3779771"/>
                <a:gd name="connsiteX2" fmla="*/ 19477038 w 19477038"/>
                <a:gd name="connsiteY2" fmla="*/ 3779771 h 3779771"/>
                <a:gd name="connsiteX3" fmla="*/ 0 w 19477038"/>
                <a:gd name="connsiteY3" fmla="*/ 3779771 h 3779771"/>
                <a:gd name="connsiteX4" fmla="*/ 0 w 19477038"/>
                <a:gd name="connsiteY4" fmla="*/ 2913345 h 3779771"/>
                <a:gd name="connsiteX0" fmla="*/ 0 w 19477038"/>
                <a:gd name="connsiteY0" fmla="*/ 4149490 h 5015916"/>
                <a:gd name="connsiteX1" fmla="*/ 19477038 w 19477038"/>
                <a:gd name="connsiteY1" fmla="*/ 4149490 h 5015916"/>
                <a:gd name="connsiteX2" fmla="*/ 19477038 w 19477038"/>
                <a:gd name="connsiteY2" fmla="*/ 5015916 h 5015916"/>
                <a:gd name="connsiteX3" fmla="*/ 0 w 19477038"/>
                <a:gd name="connsiteY3" fmla="*/ 5015916 h 5015916"/>
                <a:gd name="connsiteX4" fmla="*/ 0 w 19477038"/>
                <a:gd name="connsiteY4" fmla="*/ 4149490 h 5015916"/>
                <a:gd name="connsiteX0" fmla="*/ 0 w 19477038"/>
                <a:gd name="connsiteY0" fmla="*/ 22604044 h 23470470"/>
                <a:gd name="connsiteX1" fmla="*/ 19477038 w 19477038"/>
                <a:gd name="connsiteY1" fmla="*/ 22604044 h 23470470"/>
                <a:gd name="connsiteX2" fmla="*/ 19477038 w 19477038"/>
                <a:gd name="connsiteY2" fmla="*/ 23470470 h 23470470"/>
                <a:gd name="connsiteX3" fmla="*/ 0 w 19477038"/>
                <a:gd name="connsiteY3" fmla="*/ 23470470 h 23470470"/>
                <a:gd name="connsiteX4" fmla="*/ 0 w 19477038"/>
                <a:gd name="connsiteY4" fmla="*/ 22604044 h 23470470"/>
                <a:gd name="connsiteX0" fmla="*/ 0 w 19477038"/>
                <a:gd name="connsiteY0" fmla="*/ 22255053 h 23121479"/>
                <a:gd name="connsiteX1" fmla="*/ 19477038 w 19477038"/>
                <a:gd name="connsiteY1" fmla="*/ 22255053 h 23121479"/>
                <a:gd name="connsiteX2" fmla="*/ 19477038 w 19477038"/>
                <a:gd name="connsiteY2" fmla="*/ 23121479 h 23121479"/>
                <a:gd name="connsiteX3" fmla="*/ 0 w 19477038"/>
                <a:gd name="connsiteY3" fmla="*/ 23121479 h 23121479"/>
                <a:gd name="connsiteX4" fmla="*/ 0 w 19477038"/>
                <a:gd name="connsiteY4" fmla="*/ 22255053 h 23121479"/>
                <a:gd name="connsiteX0" fmla="*/ 0 w 19477038"/>
                <a:gd name="connsiteY0" fmla="*/ 17364648 h 18231074"/>
                <a:gd name="connsiteX1" fmla="*/ 19477038 w 19477038"/>
                <a:gd name="connsiteY1" fmla="*/ 17364648 h 18231074"/>
                <a:gd name="connsiteX2" fmla="*/ 19477038 w 19477038"/>
                <a:gd name="connsiteY2" fmla="*/ 18231074 h 18231074"/>
                <a:gd name="connsiteX3" fmla="*/ 0 w 19477038"/>
                <a:gd name="connsiteY3" fmla="*/ 18231074 h 18231074"/>
                <a:gd name="connsiteX4" fmla="*/ 0 w 19477038"/>
                <a:gd name="connsiteY4" fmla="*/ 17364648 h 18231074"/>
                <a:gd name="connsiteX0" fmla="*/ 0 w 19477038"/>
                <a:gd name="connsiteY0" fmla="*/ 20938813 h 21805239"/>
                <a:gd name="connsiteX1" fmla="*/ 9725462 w 19477038"/>
                <a:gd name="connsiteY1" fmla="*/ 0 h 21805239"/>
                <a:gd name="connsiteX2" fmla="*/ 19477038 w 19477038"/>
                <a:gd name="connsiteY2" fmla="*/ 20938813 h 21805239"/>
                <a:gd name="connsiteX3" fmla="*/ 19477038 w 19477038"/>
                <a:gd name="connsiteY3" fmla="*/ 21805239 h 21805239"/>
                <a:gd name="connsiteX4" fmla="*/ 0 w 19477038"/>
                <a:gd name="connsiteY4" fmla="*/ 21805239 h 21805239"/>
                <a:gd name="connsiteX5" fmla="*/ 0 w 19477038"/>
                <a:gd name="connsiteY5" fmla="*/ 20938813 h 21805239"/>
                <a:gd name="connsiteX0" fmla="*/ 0 w 19477038"/>
                <a:gd name="connsiteY0" fmla="*/ 21805239 h 21805239"/>
                <a:gd name="connsiteX1" fmla="*/ 9725462 w 19477038"/>
                <a:gd name="connsiteY1" fmla="*/ 0 h 21805239"/>
                <a:gd name="connsiteX2" fmla="*/ 19477038 w 19477038"/>
                <a:gd name="connsiteY2" fmla="*/ 20938813 h 21805239"/>
                <a:gd name="connsiteX3" fmla="*/ 19477038 w 19477038"/>
                <a:gd name="connsiteY3" fmla="*/ 21805239 h 21805239"/>
                <a:gd name="connsiteX4" fmla="*/ 0 w 19477038"/>
                <a:gd name="connsiteY4" fmla="*/ 21805239 h 21805239"/>
                <a:gd name="connsiteX0" fmla="*/ 0 w 19688508"/>
                <a:gd name="connsiteY0" fmla="*/ 21805239 h 21805239"/>
                <a:gd name="connsiteX1" fmla="*/ 9725462 w 19688508"/>
                <a:gd name="connsiteY1" fmla="*/ 0 h 21805239"/>
                <a:gd name="connsiteX2" fmla="*/ 19477038 w 19688508"/>
                <a:gd name="connsiteY2" fmla="*/ 21805239 h 21805239"/>
                <a:gd name="connsiteX3" fmla="*/ 0 w 19688508"/>
                <a:gd name="connsiteY3" fmla="*/ 21805239 h 21805239"/>
                <a:gd name="connsiteX0" fmla="*/ 0 w 19477038"/>
                <a:gd name="connsiteY0" fmla="*/ 21805239 h 21805239"/>
                <a:gd name="connsiteX1" fmla="*/ 9725462 w 19477038"/>
                <a:gd name="connsiteY1" fmla="*/ 0 h 21805239"/>
                <a:gd name="connsiteX2" fmla="*/ 19477038 w 19477038"/>
                <a:gd name="connsiteY2" fmla="*/ 21805239 h 21805239"/>
                <a:gd name="connsiteX3" fmla="*/ 0 w 19477038"/>
                <a:gd name="connsiteY3" fmla="*/ 21805239 h 21805239"/>
                <a:gd name="connsiteX0" fmla="*/ 0 w 19477038"/>
                <a:gd name="connsiteY0" fmla="*/ 21805239 h 21805239"/>
                <a:gd name="connsiteX1" fmla="*/ 9725462 w 19477038"/>
                <a:gd name="connsiteY1" fmla="*/ 0 h 21805239"/>
                <a:gd name="connsiteX2" fmla="*/ 19477038 w 19477038"/>
                <a:gd name="connsiteY2" fmla="*/ 21805239 h 21805239"/>
                <a:gd name="connsiteX3" fmla="*/ 0 w 19477038"/>
                <a:gd name="connsiteY3" fmla="*/ 21805239 h 21805239"/>
                <a:gd name="connsiteX0" fmla="*/ 0 w 19477038"/>
                <a:gd name="connsiteY0" fmla="*/ 21805239 h 21805239"/>
                <a:gd name="connsiteX1" fmla="*/ 9725462 w 19477038"/>
                <a:gd name="connsiteY1" fmla="*/ 0 h 21805239"/>
                <a:gd name="connsiteX2" fmla="*/ 19477038 w 19477038"/>
                <a:gd name="connsiteY2" fmla="*/ 21805239 h 21805239"/>
                <a:gd name="connsiteX3" fmla="*/ 0 w 19477038"/>
                <a:gd name="connsiteY3" fmla="*/ 21805239 h 21805239"/>
                <a:gd name="connsiteX0" fmla="*/ 0 w 19477038"/>
                <a:gd name="connsiteY0" fmla="*/ 21805239 h 21805239"/>
                <a:gd name="connsiteX1" fmla="*/ 9725462 w 19477038"/>
                <a:gd name="connsiteY1" fmla="*/ 0 h 21805239"/>
                <a:gd name="connsiteX2" fmla="*/ 19477038 w 19477038"/>
                <a:gd name="connsiteY2" fmla="*/ 21805239 h 21805239"/>
                <a:gd name="connsiteX3" fmla="*/ 0 w 19477038"/>
                <a:gd name="connsiteY3" fmla="*/ 21805239 h 21805239"/>
                <a:gd name="connsiteX0" fmla="*/ 0 w 19477038"/>
                <a:gd name="connsiteY0" fmla="*/ 21805239 h 21805239"/>
                <a:gd name="connsiteX1" fmla="*/ 9725462 w 19477038"/>
                <a:gd name="connsiteY1" fmla="*/ 0 h 21805239"/>
                <a:gd name="connsiteX2" fmla="*/ 19477038 w 19477038"/>
                <a:gd name="connsiteY2" fmla="*/ 21805239 h 21805239"/>
                <a:gd name="connsiteX3" fmla="*/ 0 w 19477038"/>
                <a:gd name="connsiteY3" fmla="*/ 21805239 h 21805239"/>
                <a:gd name="connsiteX0" fmla="*/ 0 w 19477038"/>
                <a:gd name="connsiteY0" fmla="*/ 21849238 h 21849238"/>
                <a:gd name="connsiteX1" fmla="*/ 9725462 w 19477038"/>
                <a:gd name="connsiteY1" fmla="*/ 43999 h 21849238"/>
                <a:gd name="connsiteX2" fmla="*/ 19477038 w 19477038"/>
                <a:gd name="connsiteY2" fmla="*/ 21849238 h 21849238"/>
                <a:gd name="connsiteX3" fmla="*/ 0 w 19477038"/>
                <a:gd name="connsiteY3" fmla="*/ 21849238 h 21849238"/>
                <a:gd name="connsiteX0" fmla="*/ 0 w 19477038"/>
                <a:gd name="connsiteY0" fmla="*/ 21849238 h 21849238"/>
                <a:gd name="connsiteX1" fmla="*/ 9725462 w 19477038"/>
                <a:gd name="connsiteY1" fmla="*/ 43999 h 21849238"/>
                <a:gd name="connsiteX2" fmla="*/ 19477038 w 19477038"/>
                <a:gd name="connsiteY2" fmla="*/ 21849238 h 21849238"/>
                <a:gd name="connsiteX3" fmla="*/ 0 w 19477038"/>
                <a:gd name="connsiteY3" fmla="*/ 21849238 h 21849238"/>
              </a:gdLst>
              <a:ahLst/>
              <a:cxnLst>
                <a:cxn ang="0">
                  <a:pos x="connsiteX0" y="connsiteY0"/>
                </a:cxn>
                <a:cxn ang="0">
                  <a:pos x="connsiteX1" y="connsiteY1"/>
                </a:cxn>
                <a:cxn ang="0">
                  <a:pos x="connsiteX2" y="connsiteY2"/>
                </a:cxn>
                <a:cxn ang="0">
                  <a:pos x="connsiteX3" y="connsiteY3"/>
                </a:cxn>
              </a:cxnLst>
              <a:rect l="l" t="t" r="r" b="b"/>
              <a:pathLst>
                <a:path w="19477038" h="21849238">
                  <a:moveTo>
                    <a:pt x="0" y="21849238"/>
                  </a:moveTo>
                  <a:cubicBezTo>
                    <a:pt x="3034737" y="3017441"/>
                    <a:pt x="7130777" y="-451575"/>
                    <a:pt x="9725462" y="43999"/>
                  </a:cubicBezTo>
                  <a:cubicBezTo>
                    <a:pt x="12661011" y="-121192"/>
                    <a:pt x="18681976" y="8744069"/>
                    <a:pt x="19477038" y="21849238"/>
                  </a:cubicBezTo>
                  <a:lnTo>
                    <a:pt x="0" y="21849238"/>
                  </a:lnTo>
                  <a:close/>
                </a:path>
              </a:pathLst>
            </a:cu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FFFFFF">
                    <a:lumMod val="50000"/>
                  </a:srgbClr>
                </a:solidFill>
                <a:effectLst/>
                <a:uLnTx/>
                <a:uFillTx/>
                <a:latin typeface="等线 Light" panose="020F0302020204030204"/>
                <a:ea typeface="+mn-ea"/>
                <a:cs typeface="+mn-cs"/>
              </a:endParaRPr>
            </a:p>
          </p:txBody>
        </p:sp>
      </p:grpSp>
      <p:grpSp>
        <p:nvGrpSpPr>
          <p:cNvPr id="21" name="Group 24">
            <a:extLst>
              <a:ext uri="{FF2B5EF4-FFF2-40B4-BE49-F238E27FC236}">
                <a16:creationId xmlns:a16="http://schemas.microsoft.com/office/drawing/2014/main" id="{47EF167C-328B-4EA3-AE17-BEA4893C0E43}"/>
              </a:ext>
            </a:extLst>
          </p:cNvPr>
          <p:cNvGrpSpPr/>
          <p:nvPr/>
        </p:nvGrpSpPr>
        <p:grpSpPr>
          <a:xfrm>
            <a:off x="8719995" y="2807157"/>
            <a:ext cx="2722370" cy="1364017"/>
            <a:chOff x="6630902" y="1075295"/>
            <a:chExt cx="2722370" cy="1364017"/>
          </a:xfrm>
        </p:grpSpPr>
        <p:sp>
          <p:nvSpPr>
            <p:cNvPr id="22" name="Rectangle 25">
              <a:extLst>
                <a:ext uri="{FF2B5EF4-FFF2-40B4-BE49-F238E27FC236}">
                  <a16:creationId xmlns:a16="http://schemas.microsoft.com/office/drawing/2014/main" id="{E7627188-33A6-4408-8A5F-1E8CD1AC9438}"/>
                </a:ext>
              </a:extLst>
            </p:cNvPr>
            <p:cNvSpPr/>
            <p:nvPr/>
          </p:nvSpPr>
          <p:spPr>
            <a:xfrm>
              <a:off x="6630902" y="1794215"/>
              <a:ext cx="2348779" cy="645097"/>
            </a:xfrm>
            <a:prstGeom prst="rect">
              <a:avLst/>
            </a:prstGeom>
          </p:spPr>
          <p:txBody>
            <a:bodyPr wrap="square">
              <a:spAutoFit/>
            </a:bodyPr>
            <a:lstStyle/>
            <a:p>
              <a:pPr marL="0" marR="0" lvl="0" indent="0" algn="l" defTabSz="914400" rtl="0" eaLnBrk="1" fontAlgn="auto" latinLnBrk="0" hangingPunct="1">
                <a:lnSpc>
                  <a:spcPct val="13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lumMod val="50000"/>
                      <a:lumOff val="50000"/>
                    </a:srgbClr>
                  </a:solidFill>
                  <a:effectLst/>
                  <a:uLnTx/>
                  <a:uFillTx/>
                  <a:latin typeface="等线" panose="020F0502020204030204"/>
                  <a:ea typeface="Open Sans Light" panose="020B0306030504020204" pitchFamily="34" charset="0"/>
                  <a:cs typeface="Segoe UI" panose="020B0502040204020203" pitchFamily="34" charset="0"/>
                </a:rPr>
                <a:t>Their pronunciation and their most common words. </a:t>
              </a:r>
            </a:p>
          </p:txBody>
        </p:sp>
        <p:sp>
          <p:nvSpPr>
            <p:cNvPr id="23" name="Rectangle 26">
              <a:extLst>
                <a:ext uri="{FF2B5EF4-FFF2-40B4-BE49-F238E27FC236}">
                  <a16:creationId xmlns:a16="http://schemas.microsoft.com/office/drawing/2014/main" id="{B29BF553-DA0F-4E51-AF48-AAD3308F2D75}"/>
                </a:ext>
              </a:extLst>
            </p:cNvPr>
            <p:cNvSpPr/>
            <p:nvPr/>
          </p:nvSpPr>
          <p:spPr>
            <a:xfrm>
              <a:off x="6630902" y="1075295"/>
              <a:ext cx="2722370" cy="737574"/>
            </a:xfrm>
            <a:prstGeom prst="rect">
              <a:avLst/>
            </a:prstGeom>
          </p:spPr>
          <p:txBody>
            <a:bodyPr wrap="square">
              <a:spAutoFit/>
            </a:bodyPr>
            <a:lstStyle/>
            <a:p>
              <a:pPr marL="0" marR="0" lvl="0" indent="0" algn="l" defTabSz="914400" rtl="0" eaLnBrk="1" fontAlgn="auto" latinLnBrk="0" hangingPunct="1">
                <a:lnSpc>
                  <a:spcPct val="130000"/>
                </a:lnSpc>
                <a:spcBef>
                  <a:spcPts val="0"/>
                </a:spcBef>
                <a:spcAft>
                  <a:spcPts val="0"/>
                </a:spcAft>
                <a:buClrTx/>
                <a:buSzTx/>
                <a:buFontTx/>
                <a:buNone/>
                <a:tabLst/>
                <a:defRPr/>
              </a:pPr>
              <a:r>
                <a:rPr kumimoji="0" lang="en-US" sz="3600" b="1" i="0" u="none" strike="noStrike" kern="1200" cap="none" spc="0" normalizeH="0" baseline="0" noProof="0" dirty="0">
                  <a:ln>
                    <a:noFill/>
                  </a:ln>
                  <a:solidFill>
                    <a:srgbClr val="FF388A"/>
                  </a:solidFill>
                  <a:effectLst/>
                  <a:uLnTx/>
                  <a:uFillTx/>
                  <a:latin typeface="等线 Light" panose="020F0302020204030204"/>
                  <a:ea typeface="Open Sans Light" panose="020B0306030504020204" pitchFamily="34" charset="0"/>
                  <a:cs typeface="Poppins" panose="02000000000000000000" pitchFamily="2" charset="0"/>
                </a:rPr>
                <a:t>446K</a:t>
              </a:r>
              <a:endParaRPr kumimoji="0" lang="en-US" sz="3600" b="1" i="0" u="none" strike="noStrike" kern="1200" cap="none" spc="0" normalizeH="0" baseline="30000" noProof="0" dirty="0">
                <a:ln>
                  <a:noFill/>
                </a:ln>
                <a:solidFill>
                  <a:srgbClr val="FF388A"/>
                </a:solidFill>
                <a:effectLst/>
                <a:uLnTx/>
                <a:uFillTx/>
                <a:latin typeface="等线 Light" panose="020F0302020204030204"/>
                <a:ea typeface="Open Sans Light" panose="020B0306030504020204" pitchFamily="34" charset="0"/>
                <a:cs typeface="Poppins" panose="02000000000000000000" pitchFamily="2" charset="0"/>
              </a:endParaRPr>
            </a:p>
          </p:txBody>
        </p:sp>
      </p:grpSp>
      <p:grpSp>
        <p:nvGrpSpPr>
          <p:cNvPr id="24" name="Group 27">
            <a:extLst>
              <a:ext uri="{FF2B5EF4-FFF2-40B4-BE49-F238E27FC236}">
                <a16:creationId xmlns:a16="http://schemas.microsoft.com/office/drawing/2014/main" id="{CACEC63A-FAB4-4B56-B247-87469E9BA9D7}"/>
              </a:ext>
            </a:extLst>
          </p:cNvPr>
          <p:cNvGrpSpPr/>
          <p:nvPr/>
        </p:nvGrpSpPr>
        <p:grpSpPr>
          <a:xfrm>
            <a:off x="7211106" y="1139491"/>
            <a:ext cx="2722370" cy="1364017"/>
            <a:chOff x="6630902" y="1075295"/>
            <a:chExt cx="2722370" cy="1364017"/>
          </a:xfrm>
        </p:grpSpPr>
        <p:sp>
          <p:nvSpPr>
            <p:cNvPr id="25" name="Rectangle 28">
              <a:extLst>
                <a:ext uri="{FF2B5EF4-FFF2-40B4-BE49-F238E27FC236}">
                  <a16:creationId xmlns:a16="http://schemas.microsoft.com/office/drawing/2014/main" id="{18A4B78C-8103-4F54-8182-11558BB9F775}"/>
                </a:ext>
              </a:extLst>
            </p:cNvPr>
            <p:cNvSpPr/>
            <p:nvPr/>
          </p:nvSpPr>
          <p:spPr>
            <a:xfrm>
              <a:off x="6630902" y="1794215"/>
              <a:ext cx="2348779" cy="645097"/>
            </a:xfrm>
            <a:prstGeom prst="rect">
              <a:avLst/>
            </a:prstGeom>
          </p:spPr>
          <p:txBody>
            <a:bodyPr wrap="square">
              <a:spAutoFit/>
            </a:bodyPr>
            <a:lstStyle/>
            <a:p>
              <a:pPr marL="0" marR="0" lvl="0" indent="0" algn="l" defTabSz="914400" rtl="0" eaLnBrk="1" fontAlgn="auto" latinLnBrk="0" hangingPunct="1">
                <a:lnSpc>
                  <a:spcPct val="13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lumMod val="50000"/>
                      <a:lumOff val="50000"/>
                    </a:srgbClr>
                  </a:solidFill>
                  <a:effectLst/>
                  <a:uLnTx/>
                  <a:uFillTx/>
                  <a:latin typeface="等线" panose="020F0502020204030204"/>
                  <a:ea typeface="Open Sans Light" panose="020B0306030504020204" pitchFamily="34" charset="0"/>
                  <a:cs typeface="Segoe UI" panose="020B0502040204020203" pitchFamily="34" charset="0"/>
                </a:rPr>
                <a:t>Their pronunciation and their most common words. </a:t>
              </a:r>
            </a:p>
          </p:txBody>
        </p:sp>
        <p:sp>
          <p:nvSpPr>
            <p:cNvPr id="26" name="Rectangle 29">
              <a:extLst>
                <a:ext uri="{FF2B5EF4-FFF2-40B4-BE49-F238E27FC236}">
                  <a16:creationId xmlns:a16="http://schemas.microsoft.com/office/drawing/2014/main" id="{2E3735CD-E342-49C4-A50D-7339BB011E28}"/>
                </a:ext>
              </a:extLst>
            </p:cNvPr>
            <p:cNvSpPr/>
            <p:nvPr/>
          </p:nvSpPr>
          <p:spPr>
            <a:xfrm>
              <a:off x="6630902" y="1075295"/>
              <a:ext cx="2722370" cy="737574"/>
            </a:xfrm>
            <a:prstGeom prst="rect">
              <a:avLst/>
            </a:prstGeom>
          </p:spPr>
          <p:txBody>
            <a:bodyPr wrap="square">
              <a:spAutoFit/>
            </a:bodyPr>
            <a:lstStyle/>
            <a:p>
              <a:pPr marL="0" marR="0" lvl="0" indent="0" algn="l" defTabSz="914400" rtl="0" eaLnBrk="1" fontAlgn="auto" latinLnBrk="0" hangingPunct="1">
                <a:lnSpc>
                  <a:spcPct val="130000"/>
                </a:lnSpc>
                <a:spcBef>
                  <a:spcPts val="0"/>
                </a:spcBef>
                <a:spcAft>
                  <a:spcPts val="0"/>
                </a:spcAft>
                <a:buClrTx/>
                <a:buSzTx/>
                <a:buFontTx/>
                <a:buNone/>
                <a:tabLst/>
                <a:defRPr/>
              </a:pPr>
              <a:r>
                <a:rPr kumimoji="0" lang="en-US" sz="3600" b="1" i="0" u="none" strike="noStrike" kern="1200" cap="none" spc="0" normalizeH="0" baseline="0" noProof="0" dirty="0">
                  <a:ln>
                    <a:noFill/>
                  </a:ln>
                  <a:solidFill>
                    <a:srgbClr val="8F38FF"/>
                  </a:solidFill>
                  <a:effectLst/>
                  <a:uLnTx/>
                  <a:uFillTx/>
                  <a:latin typeface="等线 Light" panose="020F0302020204030204"/>
                  <a:ea typeface="Open Sans Light" panose="020B0306030504020204" pitchFamily="34" charset="0"/>
                  <a:cs typeface="Poppins" panose="02000000000000000000" pitchFamily="2" charset="0"/>
                </a:rPr>
                <a:t>221K</a:t>
              </a:r>
              <a:endParaRPr kumimoji="0" lang="en-US" sz="3600" b="1" i="0" u="none" strike="noStrike" kern="1200" cap="none" spc="0" normalizeH="0" baseline="30000" noProof="0" dirty="0">
                <a:ln>
                  <a:noFill/>
                </a:ln>
                <a:solidFill>
                  <a:srgbClr val="8F38FF"/>
                </a:solidFill>
                <a:effectLst/>
                <a:uLnTx/>
                <a:uFillTx/>
                <a:latin typeface="等线 Light" panose="020F0302020204030204"/>
                <a:ea typeface="Open Sans Light" panose="020B0306030504020204" pitchFamily="34" charset="0"/>
                <a:cs typeface="Poppins" panose="02000000000000000000" pitchFamily="2" charset="0"/>
              </a:endParaRPr>
            </a:p>
          </p:txBody>
        </p:sp>
      </p:grpSp>
      <p:grpSp>
        <p:nvGrpSpPr>
          <p:cNvPr id="27" name="Group 30">
            <a:extLst>
              <a:ext uri="{FF2B5EF4-FFF2-40B4-BE49-F238E27FC236}">
                <a16:creationId xmlns:a16="http://schemas.microsoft.com/office/drawing/2014/main" id="{8146B651-CBF0-4E59-ADE3-28A0EF08FE10}"/>
              </a:ext>
            </a:extLst>
          </p:cNvPr>
          <p:cNvGrpSpPr/>
          <p:nvPr/>
        </p:nvGrpSpPr>
        <p:grpSpPr>
          <a:xfrm>
            <a:off x="7687294" y="4538944"/>
            <a:ext cx="2722370" cy="1364017"/>
            <a:chOff x="6630902" y="1075295"/>
            <a:chExt cx="2722370" cy="1364017"/>
          </a:xfrm>
        </p:grpSpPr>
        <p:sp>
          <p:nvSpPr>
            <p:cNvPr id="28" name="Rectangle 31">
              <a:extLst>
                <a:ext uri="{FF2B5EF4-FFF2-40B4-BE49-F238E27FC236}">
                  <a16:creationId xmlns:a16="http://schemas.microsoft.com/office/drawing/2014/main" id="{54F0905F-6125-4FCD-A5D9-E866BC61C174}"/>
                </a:ext>
              </a:extLst>
            </p:cNvPr>
            <p:cNvSpPr/>
            <p:nvPr/>
          </p:nvSpPr>
          <p:spPr>
            <a:xfrm>
              <a:off x="6630902" y="1794215"/>
              <a:ext cx="2348779" cy="645097"/>
            </a:xfrm>
            <a:prstGeom prst="rect">
              <a:avLst/>
            </a:prstGeom>
          </p:spPr>
          <p:txBody>
            <a:bodyPr wrap="square">
              <a:spAutoFit/>
            </a:bodyPr>
            <a:lstStyle/>
            <a:p>
              <a:pPr marL="0" marR="0" lvl="0" indent="0" algn="l" defTabSz="914400" rtl="0" eaLnBrk="1" fontAlgn="auto" latinLnBrk="0" hangingPunct="1">
                <a:lnSpc>
                  <a:spcPct val="13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lumMod val="50000"/>
                      <a:lumOff val="50000"/>
                    </a:srgbClr>
                  </a:solidFill>
                  <a:effectLst/>
                  <a:uLnTx/>
                  <a:uFillTx/>
                  <a:latin typeface="等线" panose="020F0502020204030204"/>
                  <a:ea typeface="Open Sans Light" panose="020B0306030504020204" pitchFamily="34" charset="0"/>
                  <a:cs typeface="Segoe UI" panose="020B0502040204020203" pitchFamily="34" charset="0"/>
                </a:rPr>
                <a:t>Their pronunciation and their most common words. </a:t>
              </a:r>
            </a:p>
          </p:txBody>
        </p:sp>
        <p:sp>
          <p:nvSpPr>
            <p:cNvPr id="29" name="Rectangle 32">
              <a:extLst>
                <a:ext uri="{FF2B5EF4-FFF2-40B4-BE49-F238E27FC236}">
                  <a16:creationId xmlns:a16="http://schemas.microsoft.com/office/drawing/2014/main" id="{F25FED81-51F1-43C7-B56D-B78EAB80284A}"/>
                </a:ext>
              </a:extLst>
            </p:cNvPr>
            <p:cNvSpPr/>
            <p:nvPr/>
          </p:nvSpPr>
          <p:spPr>
            <a:xfrm>
              <a:off x="6630902" y="1075295"/>
              <a:ext cx="2722370" cy="737574"/>
            </a:xfrm>
            <a:prstGeom prst="rect">
              <a:avLst/>
            </a:prstGeom>
          </p:spPr>
          <p:txBody>
            <a:bodyPr wrap="square">
              <a:spAutoFit/>
            </a:bodyPr>
            <a:lstStyle/>
            <a:p>
              <a:pPr marL="0" marR="0" lvl="0" indent="0" algn="l" defTabSz="914400" rtl="0" eaLnBrk="1" fontAlgn="auto" latinLnBrk="0" hangingPunct="1">
                <a:lnSpc>
                  <a:spcPct val="130000"/>
                </a:lnSpc>
                <a:spcBef>
                  <a:spcPts val="0"/>
                </a:spcBef>
                <a:spcAft>
                  <a:spcPts val="0"/>
                </a:spcAft>
                <a:buClrTx/>
                <a:buSzTx/>
                <a:buFontTx/>
                <a:buNone/>
                <a:tabLst/>
                <a:defRPr/>
              </a:pPr>
              <a:r>
                <a:rPr kumimoji="0" lang="en-US" sz="3600" b="1" i="0" u="none" strike="noStrike" kern="1200" cap="none" spc="0" normalizeH="0" baseline="0" noProof="0" dirty="0">
                  <a:ln>
                    <a:noFill/>
                  </a:ln>
                  <a:solidFill>
                    <a:srgbClr val="00D99B"/>
                  </a:solidFill>
                  <a:effectLst/>
                  <a:uLnTx/>
                  <a:uFillTx/>
                  <a:latin typeface="等线 Light" panose="020F0302020204030204"/>
                  <a:ea typeface="Open Sans Light" panose="020B0306030504020204" pitchFamily="34" charset="0"/>
                  <a:cs typeface="Poppins" panose="02000000000000000000" pitchFamily="2" charset="0"/>
                </a:rPr>
                <a:t>66K</a:t>
              </a:r>
              <a:endParaRPr kumimoji="0" lang="en-US" sz="3600" b="1" i="0" u="none" strike="noStrike" kern="1200" cap="none" spc="0" normalizeH="0" baseline="30000" noProof="0" dirty="0">
                <a:ln>
                  <a:noFill/>
                </a:ln>
                <a:solidFill>
                  <a:srgbClr val="00D99B"/>
                </a:solidFill>
                <a:effectLst/>
                <a:uLnTx/>
                <a:uFillTx/>
                <a:latin typeface="等线 Light" panose="020F0302020204030204"/>
                <a:ea typeface="Open Sans Light" panose="020B0306030504020204" pitchFamily="34" charset="0"/>
                <a:cs typeface="Poppins" panose="02000000000000000000" pitchFamily="2" charset="0"/>
              </a:endParaRPr>
            </a:p>
          </p:txBody>
        </p:sp>
      </p:grpSp>
      <p:grpSp>
        <p:nvGrpSpPr>
          <p:cNvPr id="30" name="Group 33">
            <a:extLst>
              <a:ext uri="{FF2B5EF4-FFF2-40B4-BE49-F238E27FC236}">
                <a16:creationId xmlns:a16="http://schemas.microsoft.com/office/drawing/2014/main" id="{78D6EB01-415A-4194-AF19-2512D7B2AAFB}"/>
              </a:ext>
            </a:extLst>
          </p:cNvPr>
          <p:cNvGrpSpPr/>
          <p:nvPr/>
        </p:nvGrpSpPr>
        <p:grpSpPr>
          <a:xfrm>
            <a:off x="547137" y="2807157"/>
            <a:ext cx="2722370" cy="1364017"/>
            <a:chOff x="6630902" y="1075295"/>
            <a:chExt cx="2722370" cy="1364017"/>
          </a:xfrm>
        </p:grpSpPr>
        <p:sp>
          <p:nvSpPr>
            <p:cNvPr id="31" name="Rectangle 34">
              <a:extLst>
                <a:ext uri="{FF2B5EF4-FFF2-40B4-BE49-F238E27FC236}">
                  <a16:creationId xmlns:a16="http://schemas.microsoft.com/office/drawing/2014/main" id="{38847846-9789-4569-9A44-BD55723333F2}"/>
                </a:ext>
              </a:extLst>
            </p:cNvPr>
            <p:cNvSpPr/>
            <p:nvPr/>
          </p:nvSpPr>
          <p:spPr>
            <a:xfrm>
              <a:off x="7004493" y="1794215"/>
              <a:ext cx="2348779" cy="645097"/>
            </a:xfrm>
            <a:prstGeom prst="rect">
              <a:avLst/>
            </a:prstGeom>
          </p:spPr>
          <p:txBody>
            <a:bodyPr wrap="square">
              <a:spAutoFit/>
            </a:bodyPr>
            <a:lstStyle/>
            <a:p>
              <a:pPr marL="0" marR="0" lvl="0" indent="0" algn="r" defTabSz="914400" rtl="0" eaLnBrk="1" fontAlgn="auto" latinLnBrk="0" hangingPunct="1">
                <a:lnSpc>
                  <a:spcPct val="13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lumMod val="50000"/>
                      <a:lumOff val="50000"/>
                    </a:srgbClr>
                  </a:solidFill>
                  <a:effectLst/>
                  <a:uLnTx/>
                  <a:uFillTx/>
                  <a:latin typeface="等线" panose="020F0502020204030204"/>
                  <a:ea typeface="Open Sans Light" panose="020B0306030504020204" pitchFamily="34" charset="0"/>
                  <a:cs typeface="Segoe UI" panose="020B0502040204020203" pitchFamily="34" charset="0"/>
                </a:rPr>
                <a:t>Their pronunciation and their most common words. </a:t>
              </a:r>
            </a:p>
          </p:txBody>
        </p:sp>
        <p:sp>
          <p:nvSpPr>
            <p:cNvPr id="32" name="Rectangle 35">
              <a:extLst>
                <a:ext uri="{FF2B5EF4-FFF2-40B4-BE49-F238E27FC236}">
                  <a16:creationId xmlns:a16="http://schemas.microsoft.com/office/drawing/2014/main" id="{5510E77C-C162-4063-BFC9-52B50B42B69B}"/>
                </a:ext>
              </a:extLst>
            </p:cNvPr>
            <p:cNvSpPr/>
            <p:nvPr/>
          </p:nvSpPr>
          <p:spPr>
            <a:xfrm>
              <a:off x="6630902" y="1075295"/>
              <a:ext cx="2722370" cy="737574"/>
            </a:xfrm>
            <a:prstGeom prst="rect">
              <a:avLst/>
            </a:prstGeom>
          </p:spPr>
          <p:txBody>
            <a:bodyPr wrap="square">
              <a:spAutoFit/>
            </a:bodyPr>
            <a:lstStyle/>
            <a:p>
              <a:pPr marL="0" marR="0" lvl="0" indent="0" algn="r" defTabSz="914400" rtl="0" eaLnBrk="1" fontAlgn="auto" latinLnBrk="0" hangingPunct="1">
                <a:lnSpc>
                  <a:spcPct val="130000"/>
                </a:lnSpc>
                <a:spcBef>
                  <a:spcPts val="0"/>
                </a:spcBef>
                <a:spcAft>
                  <a:spcPts val="0"/>
                </a:spcAft>
                <a:buClrTx/>
                <a:buSzTx/>
                <a:buFontTx/>
                <a:buNone/>
                <a:tabLst/>
                <a:defRPr/>
              </a:pPr>
              <a:r>
                <a:rPr kumimoji="0" lang="en-US" sz="3600" b="1" i="0" u="none" strike="noStrike" kern="1200" cap="none" spc="0" normalizeH="0" baseline="0" noProof="0" dirty="0">
                  <a:ln>
                    <a:noFill/>
                  </a:ln>
                  <a:solidFill>
                    <a:srgbClr val="FF4C38"/>
                  </a:solidFill>
                  <a:effectLst/>
                  <a:uLnTx/>
                  <a:uFillTx/>
                  <a:latin typeface="等线 Light" panose="020F0302020204030204"/>
                  <a:ea typeface="Open Sans Light" panose="020B0306030504020204" pitchFamily="34" charset="0"/>
                  <a:cs typeface="Poppins" panose="02000000000000000000" pitchFamily="2" charset="0"/>
                </a:rPr>
                <a:t>484K</a:t>
              </a:r>
              <a:endParaRPr kumimoji="0" lang="en-US" sz="3600" b="1" i="0" u="none" strike="noStrike" kern="1200" cap="none" spc="0" normalizeH="0" baseline="30000" noProof="0" dirty="0">
                <a:ln>
                  <a:noFill/>
                </a:ln>
                <a:solidFill>
                  <a:srgbClr val="FF4C38"/>
                </a:solidFill>
                <a:effectLst/>
                <a:uLnTx/>
                <a:uFillTx/>
                <a:latin typeface="等线 Light" panose="020F0302020204030204"/>
                <a:ea typeface="Open Sans Light" panose="020B0306030504020204" pitchFamily="34" charset="0"/>
                <a:cs typeface="Poppins" panose="02000000000000000000" pitchFamily="2" charset="0"/>
              </a:endParaRPr>
            </a:p>
          </p:txBody>
        </p:sp>
      </p:grpSp>
      <p:grpSp>
        <p:nvGrpSpPr>
          <p:cNvPr id="33" name="Group 36">
            <a:extLst>
              <a:ext uri="{FF2B5EF4-FFF2-40B4-BE49-F238E27FC236}">
                <a16:creationId xmlns:a16="http://schemas.microsoft.com/office/drawing/2014/main" id="{B0C148C7-C31D-4D92-8AFC-3CB7C83559AB}"/>
              </a:ext>
            </a:extLst>
          </p:cNvPr>
          <p:cNvGrpSpPr/>
          <p:nvPr/>
        </p:nvGrpSpPr>
        <p:grpSpPr>
          <a:xfrm>
            <a:off x="1361418" y="1139491"/>
            <a:ext cx="2722370" cy="1364017"/>
            <a:chOff x="6630902" y="1075295"/>
            <a:chExt cx="2722370" cy="1364017"/>
          </a:xfrm>
        </p:grpSpPr>
        <p:sp>
          <p:nvSpPr>
            <p:cNvPr id="34" name="Rectangle 37">
              <a:extLst>
                <a:ext uri="{FF2B5EF4-FFF2-40B4-BE49-F238E27FC236}">
                  <a16:creationId xmlns:a16="http://schemas.microsoft.com/office/drawing/2014/main" id="{646B1952-8C8E-44D3-879E-0994BD14EF34}"/>
                </a:ext>
              </a:extLst>
            </p:cNvPr>
            <p:cNvSpPr/>
            <p:nvPr/>
          </p:nvSpPr>
          <p:spPr>
            <a:xfrm>
              <a:off x="7004493" y="1794215"/>
              <a:ext cx="2348779" cy="645097"/>
            </a:xfrm>
            <a:prstGeom prst="rect">
              <a:avLst/>
            </a:prstGeom>
          </p:spPr>
          <p:txBody>
            <a:bodyPr wrap="square">
              <a:spAutoFit/>
            </a:bodyPr>
            <a:lstStyle/>
            <a:p>
              <a:pPr marL="0" marR="0" lvl="0" indent="0" algn="r" defTabSz="914400" rtl="0" eaLnBrk="1" fontAlgn="auto" latinLnBrk="0" hangingPunct="1">
                <a:lnSpc>
                  <a:spcPct val="13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lumMod val="50000"/>
                      <a:lumOff val="50000"/>
                    </a:srgbClr>
                  </a:solidFill>
                  <a:effectLst/>
                  <a:uLnTx/>
                  <a:uFillTx/>
                  <a:latin typeface="等线" panose="020F0502020204030204"/>
                  <a:ea typeface="Open Sans Light" panose="020B0306030504020204" pitchFamily="34" charset="0"/>
                  <a:cs typeface="Segoe UI" panose="020B0502040204020203" pitchFamily="34" charset="0"/>
                </a:rPr>
                <a:t>Their pronunciation and their most common words. </a:t>
              </a:r>
            </a:p>
          </p:txBody>
        </p:sp>
        <p:sp>
          <p:nvSpPr>
            <p:cNvPr id="35" name="Rectangle 38">
              <a:extLst>
                <a:ext uri="{FF2B5EF4-FFF2-40B4-BE49-F238E27FC236}">
                  <a16:creationId xmlns:a16="http://schemas.microsoft.com/office/drawing/2014/main" id="{5A4689A5-5075-45F6-BF02-6EDE36495FB0}"/>
                </a:ext>
              </a:extLst>
            </p:cNvPr>
            <p:cNvSpPr/>
            <p:nvPr/>
          </p:nvSpPr>
          <p:spPr>
            <a:xfrm>
              <a:off x="6630902" y="1075295"/>
              <a:ext cx="2722370" cy="737574"/>
            </a:xfrm>
            <a:prstGeom prst="rect">
              <a:avLst/>
            </a:prstGeom>
          </p:spPr>
          <p:txBody>
            <a:bodyPr wrap="square">
              <a:spAutoFit/>
            </a:bodyPr>
            <a:lstStyle/>
            <a:p>
              <a:pPr marL="0" marR="0" lvl="0" indent="0" algn="r" defTabSz="914400" rtl="0" eaLnBrk="1" fontAlgn="auto" latinLnBrk="0" hangingPunct="1">
                <a:lnSpc>
                  <a:spcPct val="130000"/>
                </a:lnSpc>
                <a:spcBef>
                  <a:spcPts val="0"/>
                </a:spcBef>
                <a:spcAft>
                  <a:spcPts val="0"/>
                </a:spcAft>
                <a:buClrTx/>
                <a:buSzTx/>
                <a:buFontTx/>
                <a:buNone/>
                <a:tabLst/>
                <a:defRPr/>
              </a:pPr>
              <a:r>
                <a:rPr kumimoji="0" lang="en-US" sz="3600" b="1" i="0" u="none" strike="noStrike" kern="1200" cap="none" spc="0" normalizeH="0" baseline="0" noProof="0" dirty="0">
                  <a:ln>
                    <a:noFill/>
                  </a:ln>
                  <a:solidFill>
                    <a:srgbClr val="FFD229"/>
                  </a:solidFill>
                  <a:effectLst/>
                  <a:uLnTx/>
                  <a:uFillTx/>
                  <a:latin typeface="等线 Light" panose="020F0302020204030204"/>
                  <a:ea typeface="Open Sans Light" panose="020B0306030504020204" pitchFamily="34" charset="0"/>
                  <a:cs typeface="Poppins" panose="02000000000000000000" pitchFamily="2" charset="0"/>
                </a:rPr>
                <a:t>221K</a:t>
              </a:r>
              <a:endParaRPr kumimoji="0" lang="en-US" sz="3600" b="1" i="0" u="none" strike="noStrike" kern="1200" cap="none" spc="0" normalizeH="0" baseline="30000" noProof="0" dirty="0">
                <a:ln>
                  <a:noFill/>
                </a:ln>
                <a:solidFill>
                  <a:srgbClr val="FFD229"/>
                </a:solidFill>
                <a:effectLst/>
                <a:uLnTx/>
                <a:uFillTx/>
                <a:latin typeface="等线 Light" panose="020F0302020204030204"/>
                <a:ea typeface="Open Sans Light" panose="020B0306030504020204" pitchFamily="34" charset="0"/>
                <a:cs typeface="Poppins" panose="02000000000000000000" pitchFamily="2" charset="0"/>
              </a:endParaRPr>
            </a:p>
          </p:txBody>
        </p:sp>
      </p:grpSp>
      <p:grpSp>
        <p:nvGrpSpPr>
          <p:cNvPr id="36" name="Group 39">
            <a:extLst>
              <a:ext uri="{FF2B5EF4-FFF2-40B4-BE49-F238E27FC236}">
                <a16:creationId xmlns:a16="http://schemas.microsoft.com/office/drawing/2014/main" id="{DCF73941-A9D7-481A-B823-F98CB0AF673A}"/>
              </a:ext>
            </a:extLst>
          </p:cNvPr>
          <p:cNvGrpSpPr/>
          <p:nvPr/>
        </p:nvGrpSpPr>
        <p:grpSpPr>
          <a:xfrm>
            <a:off x="1113070" y="4538944"/>
            <a:ext cx="2722370" cy="1364017"/>
            <a:chOff x="6630902" y="1075295"/>
            <a:chExt cx="2722370" cy="1364017"/>
          </a:xfrm>
        </p:grpSpPr>
        <p:sp>
          <p:nvSpPr>
            <p:cNvPr id="37" name="Rectangle 40">
              <a:extLst>
                <a:ext uri="{FF2B5EF4-FFF2-40B4-BE49-F238E27FC236}">
                  <a16:creationId xmlns:a16="http://schemas.microsoft.com/office/drawing/2014/main" id="{7114B57F-93BA-4368-ABFD-ECE4EC72D78C}"/>
                </a:ext>
              </a:extLst>
            </p:cNvPr>
            <p:cNvSpPr/>
            <p:nvPr/>
          </p:nvSpPr>
          <p:spPr>
            <a:xfrm>
              <a:off x="7004493" y="1794215"/>
              <a:ext cx="2348779" cy="645097"/>
            </a:xfrm>
            <a:prstGeom prst="rect">
              <a:avLst/>
            </a:prstGeom>
          </p:spPr>
          <p:txBody>
            <a:bodyPr wrap="square">
              <a:spAutoFit/>
            </a:bodyPr>
            <a:lstStyle/>
            <a:p>
              <a:pPr marL="0" marR="0" lvl="0" indent="0" algn="r" defTabSz="914400" rtl="0" eaLnBrk="1" fontAlgn="auto" latinLnBrk="0" hangingPunct="1">
                <a:lnSpc>
                  <a:spcPct val="13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lumMod val="50000"/>
                      <a:lumOff val="50000"/>
                    </a:srgbClr>
                  </a:solidFill>
                  <a:effectLst/>
                  <a:uLnTx/>
                  <a:uFillTx/>
                  <a:latin typeface="等线" panose="020F0502020204030204"/>
                  <a:ea typeface="Open Sans Light" panose="020B0306030504020204" pitchFamily="34" charset="0"/>
                  <a:cs typeface="Segoe UI" panose="020B0502040204020203" pitchFamily="34" charset="0"/>
                </a:rPr>
                <a:t>Their pronunciation and their most common words. </a:t>
              </a:r>
            </a:p>
          </p:txBody>
        </p:sp>
        <p:sp>
          <p:nvSpPr>
            <p:cNvPr id="38" name="Rectangle 41">
              <a:extLst>
                <a:ext uri="{FF2B5EF4-FFF2-40B4-BE49-F238E27FC236}">
                  <a16:creationId xmlns:a16="http://schemas.microsoft.com/office/drawing/2014/main" id="{AF01B2D3-1FDF-44F3-8591-F5AB9438A9DA}"/>
                </a:ext>
              </a:extLst>
            </p:cNvPr>
            <p:cNvSpPr/>
            <p:nvPr/>
          </p:nvSpPr>
          <p:spPr>
            <a:xfrm>
              <a:off x="6630902" y="1075295"/>
              <a:ext cx="2722370" cy="737574"/>
            </a:xfrm>
            <a:prstGeom prst="rect">
              <a:avLst/>
            </a:prstGeom>
          </p:spPr>
          <p:txBody>
            <a:bodyPr wrap="square">
              <a:spAutoFit/>
            </a:bodyPr>
            <a:lstStyle/>
            <a:p>
              <a:pPr marL="0" marR="0" lvl="0" indent="0" algn="r" defTabSz="914400" rtl="0" eaLnBrk="1" fontAlgn="auto" latinLnBrk="0" hangingPunct="1">
                <a:lnSpc>
                  <a:spcPct val="130000"/>
                </a:lnSpc>
                <a:spcBef>
                  <a:spcPts val="0"/>
                </a:spcBef>
                <a:spcAft>
                  <a:spcPts val="0"/>
                </a:spcAft>
                <a:buClrTx/>
                <a:buSzTx/>
                <a:buFontTx/>
                <a:buNone/>
                <a:tabLst/>
                <a:defRPr/>
              </a:pPr>
              <a:r>
                <a:rPr kumimoji="0" lang="en-US" sz="3600" b="1" i="0" u="none" strike="noStrike" kern="1200" cap="none" spc="0" normalizeH="0" baseline="0" noProof="0" dirty="0">
                  <a:ln>
                    <a:noFill/>
                  </a:ln>
                  <a:solidFill>
                    <a:srgbClr val="385FFF"/>
                  </a:solidFill>
                  <a:effectLst/>
                  <a:uLnTx/>
                  <a:uFillTx/>
                  <a:latin typeface="等线 Light" panose="020F0302020204030204"/>
                  <a:ea typeface="Open Sans Light" panose="020B0306030504020204" pitchFamily="34" charset="0"/>
                  <a:cs typeface="Poppins" panose="02000000000000000000" pitchFamily="2" charset="0"/>
                </a:rPr>
                <a:t>800K</a:t>
              </a:r>
              <a:endParaRPr kumimoji="0" lang="en-US" sz="3600" b="1" i="0" u="none" strike="noStrike" kern="1200" cap="none" spc="0" normalizeH="0" baseline="30000" noProof="0" dirty="0">
                <a:ln>
                  <a:noFill/>
                </a:ln>
                <a:solidFill>
                  <a:srgbClr val="385FFF"/>
                </a:solidFill>
                <a:effectLst/>
                <a:uLnTx/>
                <a:uFillTx/>
                <a:latin typeface="等线 Light" panose="020F0302020204030204"/>
                <a:ea typeface="Open Sans Light" panose="020B0306030504020204" pitchFamily="34" charset="0"/>
                <a:cs typeface="Poppins" panose="02000000000000000000" pitchFamily="2" charset="0"/>
              </a:endParaRPr>
            </a:p>
          </p:txBody>
        </p:sp>
      </p:grpSp>
    </p:spTree>
    <p:extLst>
      <p:ext uri="{BB962C8B-B14F-4D97-AF65-F5344CB8AC3E}">
        <p14:creationId xmlns:p14="http://schemas.microsoft.com/office/powerpoint/2010/main" val="1239999432"/>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8" presetClass="entr" presetSubtype="12" fill="hold" nodeType="withEffect">
                                  <p:stCondLst>
                                    <p:cond delay="500"/>
                                  </p:stCondLst>
                                  <p:childTnLst>
                                    <p:set>
                                      <p:cBhvr>
                                        <p:cTn id="6" dur="1" fill="hold">
                                          <p:stCondLst>
                                            <p:cond delay="0"/>
                                          </p:stCondLst>
                                        </p:cTn>
                                        <p:tgtEl>
                                          <p:spTgt spid="21"/>
                                        </p:tgtEl>
                                        <p:attrNameLst>
                                          <p:attrName>style.visibility</p:attrName>
                                        </p:attrNameLst>
                                      </p:cBhvr>
                                      <p:to>
                                        <p:strVal val="visible"/>
                                      </p:to>
                                    </p:set>
                                    <p:animEffect transition="in" filter="strips(downLeft)">
                                      <p:cBhvr>
                                        <p:cTn id="7" dur="500"/>
                                        <p:tgtEl>
                                          <p:spTgt spid="21"/>
                                        </p:tgtEl>
                                      </p:cBhvr>
                                    </p:animEffect>
                                  </p:childTnLst>
                                </p:cTn>
                              </p:par>
                              <p:par>
                                <p:cTn id="8" presetID="6" presetClass="emph" presetSubtype="0" accel="52000" decel="48000" autoRev="1" fill="hold" nodeType="withEffect">
                                  <p:stCondLst>
                                    <p:cond delay="500"/>
                                  </p:stCondLst>
                                  <p:childTnLst>
                                    <p:animScale>
                                      <p:cBhvr>
                                        <p:cTn id="9" dur="500" fill="hold"/>
                                        <p:tgtEl>
                                          <p:spTgt spid="21"/>
                                        </p:tgtEl>
                                      </p:cBhvr>
                                      <p:by x="120000" y="120000"/>
                                    </p:animScale>
                                  </p:childTnLst>
                                </p:cTn>
                              </p:par>
                              <p:par>
                                <p:cTn id="10" presetID="18" presetClass="entr" presetSubtype="12" fill="hold" nodeType="withEffect">
                                  <p:stCondLst>
                                    <p:cond delay="500"/>
                                  </p:stCondLst>
                                  <p:childTnLst>
                                    <p:set>
                                      <p:cBhvr>
                                        <p:cTn id="11" dur="1" fill="hold">
                                          <p:stCondLst>
                                            <p:cond delay="0"/>
                                          </p:stCondLst>
                                        </p:cTn>
                                        <p:tgtEl>
                                          <p:spTgt spid="24"/>
                                        </p:tgtEl>
                                        <p:attrNameLst>
                                          <p:attrName>style.visibility</p:attrName>
                                        </p:attrNameLst>
                                      </p:cBhvr>
                                      <p:to>
                                        <p:strVal val="visible"/>
                                      </p:to>
                                    </p:set>
                                    <p:animEffect transition="in" filter="strips(downLeft)">
                                      <p:cBhvr>
                                        <p:cTn id="12" dur="500"/>
                                        <p:tgtEl>
                                          <p:spTgt spid="24"/>
                                        </p:tgtEl>
                                      </p:cBhvr>
                                    </p:animEffect>
                                  </p:childTnLst>
                                </p:cTn>
                              </p:par>
                              <p:par>
                                <p:cTn id="13" presetID="6" presetClass="emph" presetSubtype="0" accel="52000" decel="48000" autoRev="1" fill="hold" nodeType="withEffect">
                                  <p:stCondLst>
                                    <p:cond delay="500"/>
                                  </p:stCondLst>
                                  <p:childTnLst>
                                    <p:animScale>
                                      <p:cBhvr>
                                        <p:cTn id="14" dur="500" fill="hold"/>
                                        <p:tgtEl>
                                          <p:spTgt spid="24"/>
                                        </p:tgtEl>
                                      </p:cBhvr>
                                      <p:by x="120000" y="120000"/>
                                    </p:animScale>
                                  </p:childTnLst>
                                </p:cTn>
                              </p:par>
                              <p:par>
                                <p:cTn id="15" presetID="18" presetClass="entr" presetSubtype="12" fill="hold" nodeType="withEffect">
                                  <p:stCondLst>
                                    <p:cond delay="500"/>
                                  </p:stCondLst>
                                  <p:childTnLst>
                                    <p:set>
                                      <p:cBhvr>
                                        <p:cTn id="16" dur="1" fill="hold">
                                          <p:stCondLst>
                                            <p:cond delay="0"/>
                                          </p:stCondLst>
                                        </p:cTn>
                                        <p:tgtEl>
                                          <p:spTgt spid="27"/>
                                        </p:tgtEl>
                                        <p:attrNameLst>
                                          <p:attrName>style.visibility</p:attrName>
                                        </p:attrNameLst>
                                      </p:cBhvr>
                                      <p:to>
                                        <p:strVal val="visible"/>
                                      </p:to>
                                    </p:set>
                                    <p:animEffect transition="in" filter="strips(downLeft)">
                                      <p:cBhvr>
                                        <p:cTn id="17" dur="500"/>
                                        <p:tgtEl>
                                          <p:spTgt spid="27"/>
                                        </p:tgtEl>
                                      </p:cBhvr>
                                    </p:animEffect>
                                  </p:childTnLst>
                                </p:cTn>
                              </p:par>
                              <p:par>
                                <p:cTn id="18" presetID="6" presetClass="emph" presetSubtype="0" accel="52000" decel="48000" autoRev="1" fill="hold" nodeType="withEffect">
                                  <p:stCondLst>
                                    <p:cond delay="500"/>
                                  </p:stCondLst>
                                  <p:childTnLst>
                                    <p:animScale>
                                      <p:cBhvr>
                                        <p:cTn id="19" dur="500" fill="hold"/>
                                        <p:tgtEl>
                                          <p:spTgt spid="27"/>
                                        </p:tgtEl>
                                      </p:cBhvr>
                                      <p:by x="120000" y="120000"/>
                                    </p:animScale>
                                  </p:childTnLst>
                                </p:cTn>
                              </p:par>
                              <p:par>
                                <p:cTn id="20" presetID="18" presetClass="entr" presetSubtype="12" fill="hold" nodeType="withEffect">
                                  <p:stCondLst>
                                    <p:cond delay="500"/>
                                  </p:stCondLst>
                                  <p:childTnLst>
                                    <p:set>
                                      <p:cBhvr>
                                        <p:cTn id="21" dur="1" fill="hold">
                                          <p:stCondLst>
                                            <p:cond delay="0"/>
                                          </p:stCondLst>
                                        </p:cTn>
                                        <p:tgtEl>
                                          <p:spTgt spid="30"/>
                                        </p:tgtEl>
                                        <p:attrNameLst>
                                          <p:attrName>style.visibility</p:attrName>
                                        </p:attrNameLst>
                                      </p:cBhvr>
                                      <p:to>
                                        <p:strVal val="visible"/>
                                      </p:to>
                                    </p:set>
                                    <p:animEffect transition="in" filter="strips(downLeft)">
                                      <p:cBhvr>
                                        <p:cTn id="22" dur="500"/>
                                        <p:tgtEl>
                                          <p:spTgt spid="30"/>
                                        </p:tgtEl>
                                      </p:cBhvr>
                                    </p:animEffect>
                                  </p:childTnLst>
                                </p:cTn>
                              </p:par>
                              <p:par>
                                <p:cTn id="23" presetID="6" presetClass="emph" presetSubtype="0" accel="52000" decel="48000" autoRev="1" fill="hold" nodeType="withEffect">
                                  <p:stCondLst>
                                    <p:cond delay="500"/>
                                  </p:stCondLst>
                                  <p:childTnLst>
                                    <p:animScale>
                                      <p:cBhvr>
                                        <p:cTn id="24" dur="500" fill="hold"/>
                                        <p:tgtEl>
                                          <p:spTgt spid="30"/>
                                        </p:tgtEl>
                                      </p:cBhvr>
                                      <p:by x="120000" y="120000"/>
                                    </p:animScale>
                                  </p:childTnLst>
                                </p:cTn>
                              </p:par>
                              <p:par>
                                <p:cTn id="25" presetID="18" presetClass="entr" presetSubtype="12" fill="hold" nodeType="withEffect">
                                  <p:stCondLst>
                                    <p:cond delay="250"/>
                                  </p:stCondLst>
                                  <p:childTnLst>
                                    <p:set>
                                      <p:cBhvr>
                                        <p:cTn id="26" dur="1" fill="hold">
                                          <p:stCondLst>
                                            <p:cond delay="0"/>
                                          </p:stCondLst>
                                        </p:cTn>
                                        <p:tgtEl>
                                          <p:spTgt spid="33"/>
                                        </p:tgtEl>
                                        <p:attrNameLst>
                                          <p:attrName>style.visibility</p:attrName>
                                        </p:attrNameLst>
                                      </p:cBhvr>
                                      <p:to>
                                        <p:strVal val="visible"/>
                                      </p:to>
                                    </p:set>
                                    <p:animEffect transition="in" filter="strips(downLeft)">
                                      <p:cBhvr>
                                        <p:cTn id="27" dur="500"/>
                                        <p:tgtEl>
                                          <p:spTgt spid="33"/>
                                        </p:tgtEl>
                                      </p:cBhvr>
                                    </p:animEffect>
                                  </p:childTnLst>
                                </p:cTn>
                              </p:par>
                              <p:par>
                                <p:cTn id="28" presetID="6" presetClass="emph" presetSubtype="0" accel="52000" decel="48000" autoRev="1" fill="hold" nodeType="withEffect">
                                  <p:stCondLst>
                                    <p:cond delay="250"/>
                                  </p:stCondLst>
                                  <p:childTnLst>
                                    <p:animScale>
                                      <p:cBhvr>
                                        <p:cTn id="29" dur="500" fill="hold"/>
                                        <p:tgtEl>
                                          <p:spTgt spid="33"/>
                                        </p:tgtEl>
                                      </p:cBhvr>
                                      <p:by x="120000" y="120000"/>
                                    </p:animScale>
                                  </p:childTnLst>
                                </p:cTn>
                              </p:par>
                              <p:par>
                                <p:cTn id="30" presetID="18" presetClass="entr" presetSubtype="12" fill="hold" nodeType="withEffect">
                                  <p:stCondLst>
                                    <p:cond delay="250"/>
                                  </p:stCondLst>
                                  <p:childTnLst>
                                    <p:set>
                                      <p:cBhvr>
                                        <p:cTn id="31" dur="1" fill="hold">
                                          <p:stCondLst>
                                            <p:cond delay="0"/>
                                          </p:stCondLst>
                                        </p:cTn>
                                        <p:tgtEl>
                                          <p:spTgt spid="36"/>
                                        </p:tgtEl>
                                        <p:attrNameLst>
                                          <p:attrName>style.visibility</p:attrName>
                                        </p:attrNameLst>
                                      </p:cBhvr>
                                      <p:to>
                                        <p:strVal val="visible"/>
                                      </p:to>
                                    </p:set>
                                    <p:animEffect transition="in" filter="strips(downLeft)">
                                      <p:cBhvr>
                                        <p:cTn id="32" dur="500"/>
                                        <p:tgtEl>
                                          <p:spTgt spid="36"/>
                                        </p:tgtEl>
                                      </p:cBhvr>
                                    </p:animEffect>
                                  </p:childTnLst>
                                </p:cTn>
                              </p:par>
                              <p:par>
                                <p:cTn id="33" presetID="6" presetClass="emph" presetSubtype="0" accel="52000" decel="48000" autoRev="1" fill="hold" nodeType="withEffect">
                                  <p:stCondLst>
                                    <p:cond delay="250"/>
                                  </p:stCondLst>
                                  <p:childTnLst>
                                    <p:animScale>
                                      <p:cBhvr>
                                        <p:cTn id="34" dur="500" fill="hold"/>
                                        <p:tgtEl>
                                          <p:spTgt spid="36"/>
                                        </p:tgtEl>
                                      </p:cBhvr>
                                      <p:by x="120000" y="120000"/>
                                    </p:animScale>
                                  </p:childTnLst>
                                </p:cTn>
                              </p:par>
                              <p:par>
                                <p:cTn id="35" presetID="18" presetClass="entr" presetSubtype="3" fill="hold" nodeType="withEffect">
                                  <p:stCondLst>
                                    <p:cond delay="500"/>
                                  </p:stCondLst>
                                  <p:childTnLst>
                                    <p:set>
                                      <p:cBhvr>
                                        <p:cTn id="36" dur="1" fill="hold">
                                          <p:stCondLst>
                                            <p:cond delay="0"/>
                                          </p:stCondLst>
                                        </p:cTn>
                                        <p:tgtEl>
                                          <p:spTgt spid="2"/>
                                        </p:tgtEl>
                                        <p:attrNameLst>
                                          <p:attrName>style.visibility</p:attrName>
                                        </p:attrNameLst>
                                      </p:cBhvr>
                                      <p:to>
                                        <p:strVal val="visible"/>
                                      </p:to>
                                    </p:set>
                                    <p:animEffect transition="in" filter="strips(upRight)">
                                      <p:cBhvr>
                                        <p:cTn id="37" dur="500"/>
                                        <p:tgtEl>
                                          <p:spTgt spid="2"/>
                                        </p:tgtEl>
                                      </p:cBhvr>
                                    </p:animEffect>
                                  </p:childTnLst>
                                </p:cTn>
                              </p:par>
                              <p:par>
                                <p:cTn id="38" presetID="6" presetClass="emph" presetSubtype="0" accel="52000" decel="48000" autoRev="1" fill="hold" nodeType="withEffect">
                                  <p:stCondLst>
                                    <p:cond delay="500"/>
                                  </p:stCondLst>
                                  <p:childTnLst>
                                    <p:animScale>
                                      <p:cBhvr>
                                        <p:cTn id="39" dur="350" fill="hold"/>
                                        <p:tgtEl>
                                          <p:spTgt spid="2"/>
                                        </p:tgtEl>
                                      </p:cBhvr>
                                      <p:by x="110000" y="11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33">
            <a:extLst>
              <a:ext uri="{FF2B5EF4-FFF2-40B4-BE49-F238E27FC236}">
                <a16:creationId xmlns:a16="http://schemas.microsoft.com/office/drawing/2014/main" id="{D15E5BDF-AF9E-40E8-9C62-BE69292525C1}"/>
              </a:ext>
            </a:extLst>
          </p:cNvPr>
          <p:cNvGrpSpPr/>
          <p:nvPr/>
        </p:nvGrpSpPr>
        <p:grpSpPr>
          <a:xfrm>
            <a:off x="2434439" y="2095299"/>
            <a:ext cx="7323122" cy="4762701"/>
            <a:chOff x="4868878" y="2095299"/>
            <a:chExt cx="7323122" cy="4762701"/>
          </a:xfrm>
        </p:grpSpPr>
        <p:grpSp>
          <p:nvGrpSpPr>
            <p:cNvPr id="3" name="Group 1">
              <a:extLst>
                <a:ext uri="{FF2B5EF4-FFF2-40B4-BE49-F238E27FC236}">
                  <a16:creationId xmlns:a16="http://schemas.microsoft.com/office/drawing/2014/main" id="{EE08EF4F-A6F5-4BE4-859C-4B899268AFD7}"/>
                </a:ext>
              </a:extLst>
            </p:cNvPr>
            <p:cNvGrpSpPr/>
            <p:nvPr/>
          </p:nvGrpSpPr>
          <p:grpSpPr>
            <a:xfrm>
              <a:off x="7634772" y="2095299"/>
              <a:ext cx="1811486" cy="3058226"/>
              <a:chOff x="5941247" y="1912756"/>
              <a:chExt cx="931863" cy="1573213"/>
            </a:xfrm>
          </p:grpSpPr>
          <p:sp>
            <p:nvSpPr>
              <p:cNvPr id="33" name="Freeform 53">
                <a:extLst>
                  <a:ext uri="{FF2B5EF4-FFF2-40B4-BE49-F238E27FC236}">
                    <a16:creationId xmlns:a16="http://schemas.microsoft.com/office/drawing/2014/main" id="{81822CE2-E4AC-4005-A93D-F414889AE778}"/>
                  </a:ext>
                </a:extLst>
              </p:cNvPr>
              <p:cNvSpPr>
                <a:spLocks/>
              </p:cNvSpPr>
              <p:nvPr/>
            </p:nvSpPr>
            <p:spPr bwMode="auto">
              <a:xfrm>
                <a:off x="5941247" y="2673169"/>
                <a:ext cx="931863" cy="627063"/>
              </a:xfrm>
              <a:custGeom>
                <a:avLst/>
                <a:gdLst>
                  <a:gd name="T0" fmla="*/ 145 w 177"/>
                  <a:gd name="T1" fmla="*/ 52 h 119"/>
                  <a:gd name="T2" fmla="*/ 145 w 177"/>
                  <a:gd name="T3" fmla="*/ 52 h 119"/>
                  <a:gd name="T4" fmla="*/ 103 w 177"/>
                  <a:gd name="T5" fmla="*/ 7 h 119"/>
                  <a:gd name="T6" fmla="*/ 78 w 177"/>
                  <a:gd name="T7" fmla="*/ 7 h 119"/>
                  <a:gd name="T8" fmla="*/ 33 w 177"/>
                  <a:gd name="T9" fmla="*/ 51 h 119"/>
                  <a:gd name="T10" fmla="*/ 33 w 177"/>
                  <a:gd name="T11" fmla="*/ 51 h 119"/>
                  <a:gd name="T12" fmla="*/ 0 w 177"/>
                  <a:gd name="T13" fmla="*/ 94 h 119"/>
                  <a:gd name="T14" fmla="*/ 25 w 177"/>
                  <a:gd name="T15" fmla="*/ 119 h 119"/>
                  <a:gd name="T16" fmla="*/ 46 w 177"/>
                  <a:gd name="T17" fmla="*/ 108 h 119"/>
                  <a:gd name="T18" fmla="*/ 67 w 177"/>
                  <a:gd name="T19" fmla="*/ 119 h 119"/>
                  <a:gd name="T20" fmla="*/ 89 w 177"/>
                  <a:gd name="T21" fmla="*/ 108 h 119"/>
                  <a:gd name="T22" fmla="*/ 110 w 177"/>
                  <a:gd name="T23" fmla="*/ 119 h 119"/>
                  <a:gd name="T24" fmla="*/ 131 w 177"/>
                  <a:gd name="T25" fmla="*/ 108 h 119"/>
                  <a:gd name="T26" fmla="*/ 152 w 177"/>
                  <a:gd name="T27" fmla="*/ 119 h 119"/>
                  <a:gd name="T28" fmla="*/ 177 w 177"/>
                  <a:gd name="T29" fmla="*/ 94 h 119"/>
                  <a:gd name="T30" fmla="*/ 145 w 177"/>
                  <a:gd name="T31" fmla="*/ 52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77" h="119">
                    <a:moveTo>
                      <a:pt x="145" y="52"/>
                    </a:moveTo>
                    <a:cubicBezTo>
                      <a:pt x="145" y="52"/>
                      <a:pt x="145" y="52"/>
                      <a:pt x="145" y="52"/>
                    </a:cubicBezTo>
                    <a:cubicBezTo>
                      <a:pt x="103" y="7"/>
                      <a:pt x="103" y="7"/>
                      <a:pt x="103" y="7"/>
                    </a:cubicBezTo>
                    <a:cubicBezTo>
                      <a:pt x="96" y="0"/>
                      <a:pt x="85" y="0"/>
                      <a:pt x="78" y="7"/>
                    </a:cubicBezTo>
                    <a:cubicBezTo>
                      <a:pt x="33" y="51"/>
                      <a:pt x="33" y="51"/>
                      <a:pt x="33" y="51"/>
                    </a:cubicBezTo>
                    <a:cubicBezTo>
                      <a:pt x="33" y="51"/>
                      <a:pt x="33" y="51"/>
                      <a:pt x="33" y="51"/>
                    </a:cubicBezTo>
                    <a:cubicBezTo>
                      <a:pt x="33" y="51"/>
                      <a:pt x="0" y="78"/>
                      <a:pt x="0" y="94"/>
                    </a:cubicBezTo>
                    <a:cubicBezTo>
                      <a:pt x="0" y="108"/>
                      <a:pt x="11" y="119"/>
                      <a:pt x="25" y="119"/>
                    </a:cubicBezTo>
                    <a:cubicBezTo>
                      <a:pt x="34" y="119"/>
                      <a:pt x="42" y="115"/>
                      <a:pt x="46" y="108"/>
                    </a:cubicBezTo>
                    <a:cubicBezTo>
                      <a:pt x="51" y="115"/>
                      <a:pt x="59" y="119"/>
                      <a:pt x="67" y="119"/>
                    </a:cubicBezTo>
                    <a:cubicBezTo>
                      <a:pt x="76" y="119"/>
                      <a:pt x="84" y="115"/>
                      <a:pt x="89" y="108"/>
                    </a:cubicBezTo>
                    <a:cubicBezTo>
                      <a:pt x="93" y="115"/>
                      <a:pt x="101" y="119"/>
                      <a:pt x="110" y="119"/>
                    </a:cubicBezTo>
                    <a:cubicBezTo>
                      <a:pt x="118" y="119"/>
                      <a:pt x="126" y="115"/>
                      <a:pt x="131" y="108"/>
                    </a:cubicBezTo>
                    <a:cubicBezTo>
                      <a:pt x="135" y="115"/>
                      <a:pt x="143" y="119"/>
                      <a:pt x="152" y="119"/>
                    </a:cubicBezTo>
                    <a:cubicBezTo>
                      <a:pt x="166" y="119"/>
                      <a:pt x="177" y="108"/>
                      <a:pt x="177" y="94"/>
                    </a:cubicBezTo>
                    <a:cubicBezTo>
                      <a:pt x="177" y="80"/>
                      <a:pt x="145" y="52"/>
                      <a:pt x="145" y="52"/>
                    </a:cubicBezTo>
                    <a:close/>
                  </a:path>
                </a:pathLst>
              </a:custGeom>
              <a:gradFill>
                <a:gsLst>
                  <a:gs pos="100000">
                    <a:schemeClr val="accent4">
                      <a:lumMod val="75000"/>
                    </a:schemeClr>
                  </a:gs>
                  <a:gs pos="0">
                    <a:schemeClr val="accent4"/>
                  </a:gs>
                </a:gsLst>
                <a:lin ang="2700000" scaled="1"/>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4" name="Freeform 54">
                <a:extLst>
                  <a:ext uri="{FF2B5EF4-FFF2-40B4-BE49-F238E27FC236}">
                    <a16:creationId xmlns:a16="http://schemas.microsoft.com/office/drawing/2014/main" id="{E34FA5F4-432B-48F7-9CA7-A7A1D3655F5B}"/>
                  </a:ext>
                </a:extLst>
              </p:cNvPr>
              <p:cNvSpPr>
                <a:spLocks/>
              </p:cNvSpPr>
              <p:nvPr/>
            </p:nvSpPr>
            <p:spPr bwMode="auto">
              <a:xfrm>
                <a:off x="6061897" y="2798581"/>
                <a:ext cx="695325" cy="196850"/>
              </a:xfrm>
              <a:custGeom>
                <a:avLst/>
                <a:gdLst>
                  <a:gd name="T0" fmla="*/ 10 w 132"/>
                  <a:gd name="T1" fmla="*/ 27 h 37"/>
                  <a:gd name="T2" fmla="*/ 10 w 132"/>
                  <a:gd name="T3" fmla="*/ 27 h 37"/>
                  <a:gd name="T4" fmla="*/ 0 w 132"/>
                  <a:gd name="T5" fmla="*/ 37 h 37"/>
                  <a:gd name="T6" fmla="*/ 132 w 132"/>
                  <a:gd name="T7" fmla="*/ 37 h 37"/>
                  <a:gd name="T8" fmla="*/ 122 w 132"/>
                  <a:gd name="T9" fmla="*/ 28 h 37"/>
                  <a:gd name="T10" fmla="*/ 122 w 132"/>
                  <a:gd name="T11" fmla="*/ 28 h 37"/>
                  <a:gd name="T12" fmla="*/ 96 w 132"/>
                  <a:gd name="T13" fmla="*/ 0 h 37"/>
                  <a:gd name="T14" fmla="*/ 37 w 132"/>
                  <a:gd name="T15" fmla="*/ 0 h 37"/>
                  <a:gd name="T16" fmla="*/ 10 w 132"/>
                  <a:gd name="T17" fmla="*/ 27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2" h="37">
                    <a:moveTo>
                      <a:pt x="10" y="27"/>
                    </a:moveTo>
                    <a:cubicBezTo>
                      <a:pt x="10" y="27"/>
                      <a:pt x="10" y="27"/>
                      <a:pt x="10" y="27"/>
                    </a:cubicBezTo>
                    <a:cubicBezTo>
                      <a:pt x="10" y="27"/>
                      <a:pt x="6" y="31"/>
                      <a:pt x="0" y="37"/>
                    </a:cubicBezTo>
                    <a:cubicBezTo>
                      <a:pt x="132" y="37"/>
                      <a:pt x="132" y="37"/>
                      <a:pt x="132" y="37"/>
                    </a:cubicBezTo>
                    <a:cubicBezTo>
                      <a:pt x="126" y="31"/>
                      <a:pt x="122" y="28"/>
                      <a:pt x="122" y="28"/>
                    </a:cubicBezTo>
                    <a:cubicBezTo>
                      <a:pt x="122" y="28"/>
                      <a:pt x="122" y="28"/>
                      <a:pt x="122" y="28"/>
                    </a:cubicBezTo>
                    <a:cubicBezTo>
                      <a:pt x="96" y="0"/>
                      <a:pt x="96" y="0"/>
                      <a:pt x="96" y="0"/>
                    </a:cubicBezTo>
                    <a:cubicBezTo>
                      <a:pt x="37" y="0"/>
                      <a:pt x="37" y="0"/>
                      <a:pt x="37" y="0"/>
                    </a:cubicBezTo>
                    <a:lnTo>
                      <a:pt x="10" y="27"/>
                    </a:lnTo>
                    <a:close/>
                  </a:path>
                </a:pathLst>
              </a:custGeom>
              <a:solidFill>
                <a:schemeClr val="accent4">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5" name="Freeform 62">
                <a:extLst>
                  <a:ext uri="{FF2B5EF4-FFF2-40B4-BE49-F238E27FC236}">
                    <a16:creationId xmlns:a16="http://schemas.microsoft.com/office/drawing/2014/main" id="{79617645-B51C-44C1-B4B2-BF6EF7271999}"/>
                  </a:ext>
                </a:extLst>
              </p:cNvPr>
              <p:cNvSpPr>
                <a:spLocks/>
              </p:cNvSpPr>
              <p:nvPr/>
            </p:nvSpPr>
            <p:spPr bwMode="auto">
              <a:xfrm>
                <a:off x="6225410" y="2666819"/>
                <a:ext cx="379413" cy="819150"/>
              </a:xfrm>
              <a:custGeom>
                <a:avLst/>
                <a:gdLst>
                  <a:gd name="T0" fmla="*/ 68 w 72"/>
                  <a:gd name="T1" fmla="*/ 44 h 155"/>
                  <a:gd name="T2" fmla="*/ 62 w 72"/>
                  <a:gd name="T3" fmla="*/ 40 h 155"/>
                  <a:gd name="T4" fmla="*/ 57 w 72"/>
                  <a:gd name="T5" fmla="*/ 46 h 155"/>
                  <a:gd name="T6" fmla="*/ 53 w 72"/>
                  <a:gd name="T7" fmla="*/ 73 h 155"/>
                  <a:gd name="T8" fmla="*/ 41 w 72"/>
                  <a:gd name="T9" fmla="*/ 77 h 155"/>
                  <a:gd name="T10" fmla="*/ 41 w 72"/>
                  <a:gd name="T11" fmla="*/ 40 h 155"/>
                  <a:gd name="T12" fmla="*/ 42 w 72"/>
                  <a:gd name="T13" fmla="*/ 40 h 155"/>
                  <a:gd name="T14" fmla="*/ 54 w 72"/>
                  <a:gd name="T15" fmla="*/ 35 h 155"/>
                  <a:gd name="T16" fmla="*/ 58 w 72"/>
                  <a:gd name="T17" fmla="*/ 18 h 155"/>
                  <a:gd name="T18" fmla="*/ 52 w 72"/>
                  <a:gd name="T19" fmla="*/ 13 h 155"/>
                  <a:gd name="T20" fmla="*/ 47 w 72"/>
                  <a:gd name="T21" fmla="*/ 19 h 155"/>
                  <a:gd name="T22" fmla="*/ 46 w 72"/>
                  <a:gd name="T23" fmla="*/ 28 h 155"/>
                  <a:gd name="T24" fmla="*/ 41 w 72"/>
                  <a:gd name="T25" fmla="*/ 29 h 155"/>
                  <a:gd name="T26" fmla="*/ 41 w 72"/>
                  <a:gd name="T27" fmla="*/ 6 h 155"/>
                  <a:gd name="T28" fmla="*/ 36 w 72"/>
                  <a:gd name="T29" fmla="*/ 0 h 155"/>
                  <a:gd name="T30" fmla="*/ 31 w 72"/>
                  <a:gd name="T31" fmla="*/ 6 h 155"/>
                  <a:gd name="T32" fmla="*/ 31 w 72"/>
                  <a:gd name="T33" fmla="*/ 55 h 155"/>
                  <a:gd name="T34" fmla="*/ 25 w 72"/>
                  <a:gd name="T35" fmla="*/ 52 h 155"/>
                  <a:gd name="T36" fmla="*/ 23 w 72"/>
                  <a:gd name="T37" fmla="*/ 30 h 155"/>
                  <a:gd name="T38" fmla="*/ 19 w 72"/>
                  <a:gd name="T39" fmla="*/ 23 h 155"/>
                  <a:gd name="T40" fmla="*/ 12 w 72"/>
                  <a:gd name="T41" fmla="*/ 27 h 155"/>
                  <a:gd name="T42" fmla="*/ 11 w 72"/>
                  <a:gd name="T43" fmla="*/ 39 h 155"/>
                  <a:gd name="T44" fmla="*/ 6 w 72"/>
                  <a:gd name="T45" fmla="*/ 39 h 155"/>
                  <a:gd name="T46" fmla="*/ 0 w 72"/>
                  <a:gd name="T47" fmla="*/ 44 h 155"/>
                  <a:gd name="T48" fmla="*/ 6 w 72"/>
                  <a:gd name="T49" fmla="*/ 50 h 155"/>
                  <a:gd name="T50" fmla="*/ 12 w 72"/>
                  <a:gd name="T51" fmla="*/ 50 h 155"/>
                  <a:gd name="T52" fmla="*/ 17 w 72"/>
                  <a:gd name="T53" fmla="*/ 60 h 155"/>
                  <a:gd name="T54" fmla="*/ 31 w 72"/>
                  <a:gd name="T55" fmla="*/ 66 h 155"/>
                  <a:gd name="T56" fmla="*/ 31 w 72"/>
                  <a:gd name="T57" fmla="*/ 150 h 155"/>
                  <a:gd name="T58" fmla="*/ 36 w 72"/>
                  <a:gd name="T59" fmla="*/ 155 h 155"/>
                  <a:gd name="T60" fmla="*/ 41 w 72"/>
                  <a:gd name="T61" fmla="*/ 150 h 155"/>
                  <a:gd name="T62" fmla="*/ 41 w 72"/>
                  <a:gd name="T63" fmla="*/ 88 h 155"/>
                  <a:gd name="T64" fmla="*/ 42 w 72"/>
                  <a:gd name="T65" fmla="*/ 88 h 155"/>
                  <a:gd name="T66" fmla="*/ 61 w 72"/>
                  <a:gd name="T67" fmla="*/ 80 h 155"/>
                  <a:gd name="T68" fmla="*/ 68 w 72"/>
                  <a:gd name="T69" fmla="*/ 44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2" h="155">
                    <a:moveTo>
                      <a:pt x="68" y="44"/>
                    </a:moveTo>
                    <a:cubicBezTo>
                      <a:pt x="68" y="41"/>
                      <a:pt x="65" y="39"/>
                      <a:pt x="62" y="40"/>
                    </a:cubicBezTo>
                    <a:cubicBezTo>
                      <a:pt x="59" y="40"/>
                      <a:pt x="57" y="43"/>
                      <a:pt x="57" y="46"/>
                    </a:cubicBezTo>
                    <a:cubicBezTo>
                      <a:pt x="58" y="51"/>
                      <a:pt x="59" y="66"/>
                      <a:pt x="53" y="73"/>
                    </a:cubicBezTo>
                    <a:cubicBezTo>
                      <a:pt x="50" y="76"/>
                      <a:pt x="46" y="77"/>
                      <a:pt x="41" y="77"/>
                    </a:cubicBezTo>
                    <a:cubicBezTo>
                      <a:pt x="41" y="40"/>
                      <a:pt x="41" y="40"/>
                      <a:pt x="41" y="40"/>
                    </a:cubicBezTo>
                    <a:cubicBezTo>
                      <a:pt x="41" y="40"/>
                      <a:pt x="41" y="40"/>
                      <a:pt x="42" y="40"/>
                    </a:cubicBezTo>
                    <a:cubicBezTo>
                      <a:pt x="48" y="40"/>
                      <a:pt x="52" y="38"/>
                      <a:pt x="54" y="35"/>
                    </a:cubicBezTo>
                    <a:cubicBezTo>
                      <a:pt x="60" y="29"/>
                      <a:pt x="58" y="19"/>
                      <a:pt x="58" y="18"/>
                    </a:cubicBezTo>
                    <a:cubicBezTo>
                      <a:pt x="58" y="15"/>
                      <a:pt x="55" y="13"/>
                      <a:pt x="52" y="13"/>
                    </a:cubicBezTo>
                    <a:cubicBezTo>
                      <a:pt x="49" y="14"/>
                      <a:pt x="47" y="16"/>
                      <a:pt x="47" y="19"/>
                    </a:cubicBezTo>
                    <a:cubicBezTo>
                      <a:pt x="47" y="21"/>
                      <a:pt x="48" y="26"/>
                      <a:pt x="46" y="28"/>
                    </a:cubicBezTo>
                    <a:cubicBezTo>
                      <a:pt x="45" y="29"/>
                      <a:pt x="43" y="29"/>
                      <a:pt x="41" y="29"/>
                    </a:cubicBezTo>
                    <a:cubicBezTo>
                      <a:pt x="41" y="6"/>
                      <a:pt x="41" y="6"/>
                      <a:pt x="41" y="6"/>
                    </a:cubicBezTo>
                    <a:cubicBezTo>
                      <a:pt x="41" y="3"/>
                      <a:pt x="39" y="0"/>
                      <a:pt x="36" y="0"/>
                    </a:cubicBezTo>
                    <a:cubicBezTo>
                      <a:pt x="33" y="0"/>
                      <a:pt x="31" y="3"/>
                      <a:pt x="31" y="6"/>
                    </a:cubicBezTo>
                    <a:cubicBezTo>
                      <a:pt x="31" y="55"/>
                      <a:pt x="31" y="55"/>
                      <a:pt x="31" y="55"/>
                    </a:cubicBezTo>
                    <a:cubicBezTo>
                      <a:pt x="27" y="54"/>
                      <a:pt x="26" y="53"/>
                      <a:pt x="25" y="52"/>
                    </a:cubicBezTo>
                    <a:cubicBezTo>
                      <a:pt x="20" y="47"/>
                      <a:pt x="22" y="34"/>
                      <a:pt x="23" y="30"/>
                    </a:cubicBezTo>
                    <a:cubicBezTo>
                      <a:pt x="23" y="27"/>
                      <a:pt x="22" y="24"/>
                      <a:pt x="19" y="23"/>
                    </a:cubicBezTo>
                    <a:cubicBezTo>
                      <a:pt x="16" y="22"/>
                      <a:pt x="13" y="24"/>
                      <a:pt x="12" y="27"/>
                    </a:cubicBezTo>
                    <a:cubicBezTo>
                      <a:pt x="12" y="28"/>
                      <a:pt x="11" y="33"/>
                      <a:pt x="11" y="39"/>
                    </a:cubicBezTo>
                    <a:cubicBezTo>
                      <a:pt x="6" y="39"/>
                      <a:pt x="6" y="39"/>
                      <a:pt x="6" y="39"/>
                    </a:cubicBezTo>
                    <a:cubicBezTo>
                      <a:pt x="2" y="39"/>
                      <a:pt x="0" y="41"/>
                      <a:pt x="0" y="44"/>
                    </a:cubicBezTo>
                    <a:cubicBezTo>
                      <a:pt x="0" y="47"/>
                      <a:pt x="3" y="50"/>
                      <a:pt x="6" y="50"/>
                    </a:cubicBezTo>
                    <a:cubicBezTo>
                      <a:pt x="12" y="50"/>
                      <a:pt x="12" y="50"/>
                      <a:pt x="12" y="50"/>
                    </a:cubicBezTo>
                    <a:cubicBezTo>
                      <a:pt x="13" y="53"/>
                      <a:pt x="15" y="57"/>
                      <a:pt x="17" y="60"/>
                    </a:cubicBezTo>
                    <a:cubicBezTo>
                      <a:pt x="19" y="62"/>
                      <a:pt x="24" y="65"/>
                      <a:pt x="31" y="66"/>
                    </a:cubicBezTo>
                    <a:cubicBezTo>
                      <a:pt x="31" y="150"/>
                      <a:pt x="31" y="150"/>
                      <a:pt x="31" y="150"/>
                    </a:cubicBezTo>
                    <a:cubicBezTo>
                      <a:pt x="31" y="152"/>
                      <a:pt x="33" y="155"/>
                      <a:pt x="36" y="155"/>
                    </a:cubicBezTo>
                    <a:cubicBezTo>
                      <a:pt x="39" y="155"/>
                      <a:pt x="41" y="152"/>
                      <a:pt x="41" y="150"/>
                    </a:cubicBezTo>
                    <a:cubicBezTo>
                      <a:pt x="41" y="88"/>
                      <a:pt x="41" y="88"/>
                      <a:pt x="41" y="88"/>
                    </a:cubicBezTo>
                    <a:cubicBezTo>
                      <a:pt x="41" y="88"/>
                      <a:pt x="42" y="88"/>
                      <a:pt x="42" y="88"/>
                    </a:cubicBezTo>
                    <a:cubicBezTo>
                      <a:pt x="50" y="88"/>
                      <a:pt x="56" y="85"/>
                      <a:pt x="61" y="80"/>
                    </a:cubicBezTo>
                    <a:cubicBezTo>
                      <a:pt x="72" y="68"/>
                      <a:pt x="68" y="45"/>
                      <a:pt x="68" y="44"/>
                    </a:cubicBezTo>
                    <a:close/>
                  </a:path>
                </a:pathLst>
              </a:custGeom>
              <a:solidFill>
                <a:schemeClr val="tx1">
                  <a:lumMod val="85000"/>
                  <a:lumOff val="15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6" name="Freeform 63">
                <a:extLst>
                  <a:ext uri="{FF2B5EF4-FFF2-40B4-BE49-F238E27FC236}">
                    <a16:creationId xmlns:a16="http://schemas.microsoft.com/office/drawing/2014/main" id="{94CB4452-47A5-4E5D-8569-52A47F4EF6BB}"/>
                  </a:ext>
                </a:extLst>
              </p:cNvPr>
              <p:cNvSpPr>
                <a:spLocks/>
              </p:cNvSpPr>
              <p:nvPr/>
            </p:nvSpPr>
            <p:spPr bwMode="auto">
              <a:xfrm>
                <a:off x="5941247" y="2335031"/>
                <a:ext cx="931863" cy="628650"/>
              </a:xfrm>
              <a:custGeom>
                <a:avLst/>
                <a:gdLst>
                  <a:gd name="T0" fmla="*/ 145 w 177"/>
                  <a:gd name="T1" fmla="*/ 51 h 119"/>
                  <a:gd name="T2" fmla="*/ 145 w 177"/>
                  <a:gd name="T3" fmla="*/ 51 h 119"/>
                  <a:gd name="T4" fmla="*/ 103 w 177"/>
                  <a:gd name="T5" fmla="*/ 7 h 119"/>
                  <a:gd name="T6" fmla="*/ 78 w 177"/>
                  <a:gd name="T7" fmla="*/ 7 h 119"/>
                  <a:gd name="T8" fmla="*/ 33 w 177"/>
                  <a:gd name="T9" fmla="*/ 51 h 119"/>
                  <a:gd name="T10" fmla="*/ 33 w 177"/>
                  <a:gd name="T11" fmla="*/ 51 h 119"/>
                  <a:gd name="T12" fmla="*/ 0 w 177"/>
                  <a:gd name="T13" fmla="*/ 94 h 119"/>
                  <a:gd name="T14" fmla="*/ 25 w 177"/>
                  <a:gd name="T15" fmla="*/ 119 h 119"/>
                  <a:gd name="T16" fmla="*/ 46 w 177"/>
                  <a:gd name="T17" fmla="*/ 108 h 119"/>
                  <a:gd name="T18" fmla="*/ 67 w 177"/>
                  <a:gd name="T19" fmla="*/ 119 h 119"/>
                  <a:gd name="T20" fmla="*/ 89 w 177"/>
                  <a:gd name="T21" fmla="*/ 108 h 119"/>
                  <a:gd name="T22" fmla="*/ 110 w 177"/>
                  <a:gd name="T23" fmla="*/ 119 h 119"/>
                  <a:gd name="T24" fmla="*/ 131 w 177"/>
                  <a:gd name="T25" fmla="*/ 108 h 119"/>
                  <a:gd name="T26" fmla="*/ 152 w 177"/>
                  <a:gd name="T27" fmla="*/ 119 h 119"/>
                  <a:gd name="T28" fmla="*/ 177 w 177"/>
                  <a:gd name="T29" fmla="*/ 94 h 119"/>
                  <a:gd name="T30" fmla="*/ 145 w 177"/>
                  <a:gd name="T31" fmla="*/ 51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77" h="119">
                    <a:moveTo>
                      <a:pt x="145" y="51"/>
                    </a:moveTo>
                    <a:cubicBezTo>
                      <a:pt x="145" y="51"/>
                      <a:pt x="145" y="51"/>
                      <a:pt x="145" y="51"/>
                    </a:cubicBezTo>
                    <a:cubicBezTo>
                      <a:pt x="103" y="7"/>
                      <a:pt x="103" y="7"/>
                      <a:pt x="103" y="7"/>
                    </a:cubicBezTo>
                    <a:cubicBezTo>
                      <a:pt x="96" y="0"/>
                      <a:pt x="85" y="0"/>
                      <a:pt x="78" y="7"/>
                    </a:cubicBezTo>
                    <a:cubicBezTo>
                      <a:pt x="33" y="51"/>
                      <a:pt x="33" y="51"/>
                      <a:pt x="33" y="51"/>
                    </a:cubicBezTo>
                    <a:cubicBezTo>
                      <a:pt x="33" y="51"/>
                      <a:pt x="33" y="51"/>
                      <a:pt x="33" y="51"/>
                    </a:cubicBezTo>
                    <a:cubicBezTo>
                      <a:pt x="33" y="51"/>
                      <a:pt x="0" y="78"/>
                      <a:pt x="0" y="94"/>
                    </a:cubicBezTo>
                    <a:cubicBezTo>
                      <a:pt x="0" y="108"/>
                      <a:pt x="11" y="119"/>
                      <a:pt x="25" y="119"/>
                    </a:cubicBezTo>
                    <a:cubicBezTo>
                      <a:pt x="34" y="119"/>
                      <a:pt x="42" y="115"/>
                      <a:pt x="46" y="108"/>
                    </a:cubicBezTo>
                    <a:cubicBezTo>
                      <a:pt x="51" y="115"/>
                      <a:pt x="59" y="119"/>
                      <a:pt x="67" y="119"/>
                    </a:cubicBezTo>
                    <a:cubicBezTo>
                      <a:pt x="76" y="119"/>
                      <a:pt x="84" y="115"/>
                      <a:pt x="89" y="108"/>
                    </a:cubicBezTo>
                    <a:cubicBezTo>
                      <a:pt x="93" y="115"/>
                      <a:pt x="101" y="119"/>
                      <a:pt x="110" y="119"/>
                    </a:cubicBezTo>
                    <a:cubicBezTo>
                      <a:pt x="118" y="119"/>
                      <a:pt x="126" y="115"/>
                      <a:pt x="131" y="108"/>
                    </a:cubicBezTo>
                    <a:cubicBezTo>
                      <a:pt x="135" y="115"/>
                      <a:pt x="143" y="119"/>
                      <a:pt x="152" y="119"/>
                    </a:cubicBezTo>
                    <a:cubicBezTo>
                      <a:pt x="166" y="119"/>
                      <a:pt x="177" y="108"/>
                      <a:pt x="177" y="94"/>
                    </a:cubicBezTo>
                    <a:cubicBezTo>
                      <a:pt x="177" y="80"/>
                      <a:pt x="145" y="51"/>
                      <a:pt x="145" y="51"/>
                    </a:cubicBezTo>
                    <a:close/>
                  </a:path>
                </a:pathLst>
              </a:custGeom>
              <a:gradFill>
                <a:gsLst>
                  <a:gs pos="100000">
                    <a:schemeClr val="accent4">
                      <a:lumMod val="75000"/>
                    </a:schemeClr>
                  </a:gs>
                  <a:gs pos="0">
                    <a:schemeClr val="accent4"/>
                  </a:gs>
                </a:gsLst>
                <a:lin ang="2700000" scaled="1"/>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7" name="Freeform 64">
                <a:extLst>
                  <a:ext uri="{FF2B5EF4-FFF2-40B4-BE49-F238E27FC236}">
                    <a16:creationId xmlns:a16="http://schemas.microsoft.com/office/drawing/2014/main" id="{8F10B811-6203-4F33-99FD-E46DC29A2951}"/>
                  </a:ext>
                </a:extLst>
              </p:cNvPr>
              <p:cNvSpPr>
                <a:spLocks/>
              </p:cNvSpPr>
              <p:nvPr/>
            </p:nvSpPr>
            <p:spPr bwMode="auto">
              <a:xfrm>
                <a:off x="6093647" y="2446156"/>
                <a:ext cx="631825" cy="179388"/>
              </a:xfrm>
              <a:custGeom>
                <a:avLst/>
                <a:gdLst>
                  <a:gd name="T0" fmla="*/ 4 w 120"/>
                  <a:gd name="T1" fmla="*/ 30 h 34"/>
                  <a:gd name="T2" fmla="*/ 4 w 120"/>
                  <a:gd name="T3" fmla="*/ 30 h 34"/>
                  <a:gd name="T4" fmla="*/ 0 w 120"/>
                  <a:gd name="T5" fmla="*/ 34 h 34"/>
                  <a:gd name="T6" fmla="*/ 120 w 120"/>
                  <a:gd name="T7" fmla="*/ 34 h 34"/>
                  <a:gd name="T8" fmla="*/ 116 w 120"/>
                  <a:gd name="T9" fmla="*/ 30 h 34"/>
                  <a:gd name="T10" fmla="*/ 116 w 120"/>
                  <a:gd name="T11" fmla="*/ 30 h 34"/>
                  <a:gd name="T12" fmla="*/ 88 w 120"/>
                  <a:gd name="T13" fmla="*/ 0 h 34"/>
                  <a:gd name="T14" fmla="*/ 34 w 120"/>
                  <a:gd name="T15" fmla="*/ 0 h 34"/>
                  <a:gd name="T16" fmla="*/ 4 w 120"/>
                  <a:gd name="T17" fmla="*/ 3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0" h="34">
                    <a:moveTo>
                      <a:pt x="4" y="30"/>
                    </a:moveTo>
                    <a:cubicBezTo>
                      <a:pt x="4" y="30"/>
                      <a:pt x="4" y="30"/>
                      <a:pt x="4" y="30"/>
                    </a:cubicBezTo>
                    <a:cubicBezTo>
                      <a:pt x="4" y="30"/>
                      <a:pt x="3" y="31"/>
                      <a:pt x="0" y="34"/>
                    </a:cubicBezTo>
                    <a:cubicBezTo>
                      <a:pt x="120" y="34"/>
                      <a:pt x="120" y="34"/>
                      <a:pt x="120" y="34"/>
                    </a:cubicBezTo>
                    <a:cubicBezTo>
                      <a:pt x="118" y="32"/>
                      <a:pt x="116" y="30"/>
                      <a:pt x="116" y="30"/>
                    </a:cubicBezTo>
                    <a:cubicBezTo>
                      <a:pt x="116" y="30"/>
                      <a:pt x="116" y="30"/>
                      <a:pt x="116" y="30"/>
                    </a:cubicBezTo>
                    <a:cubicBezTo>
                      <a:pt x="88" y="0"/>
                      <a:pt x="88" y="0"/>
                      <a:pt x="88" y="0"/>
                    </a:cubicBezTo>
                    <a:cubicBezTo>
                      <a:pt x="34" y="0"/>
                      <a:pt x="34" y="0"/>
                      <a:pt x="34" y="0"/>
                    </a:cubicBezTo>
                    <a:lnTo>
                      <a:pt x="4" y="30"/>
                    </a:lnTo>
                    <a:close/>
                  </a:path>
                </a:pathLst>
              </a:custGeom>
              <a:solidFill>
                <a:schemeClr val="accent4">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8" name="Freeform 74">
                <a:extLst>
                  <a:ext uri="{FF2B5EF4-FFF2-40B4-BE49-F238E27FC236}">
                    <a16:creationId xmlns:a16="http://schemas.microsoft.com/office/drawing/2014/main" id="{FCF74C60-3FB2-4BD6-9715-8AD709561FBF}"/>
                  </a:ext>
                </a:extLst>
              </p:cNvPr>
              <p:cNvSpPr>
                <a:spLocks/>
              </p:cNvSpPr>
              <p:nvPr/>
            </p:nvSpPr>
            <p:spPr bwMode="auto">
              <a:xfrm>
                <a:off x="6030147" y="2081031"/>
                <a:ext cx="754063" cy="512763"/>
              </a:xfrm>
              <a:custGeom>
                <a:avLst/>
                <a:gdLst>
                  <a:gd name="T0" fmla="*/ 117 w 143"/>
                  <a:gd name="T1" fmla="*/ 42 h 97"/>
                  <a:gd name="T2" fmla="*/ 117 w 143"/>
                  <a:gd name="T3" fmla="*/ 42 h 97"/>
                  <a:gd name="T4" fmla="*/ 83 w 143"/>
                  <a:gd name="T5" fmla="*/ 6 h 97"/>
                  <a:gd name="T6" fmla="*/ 63 w 143"/>
                  <a:gd name="T7" fmla="*/ 6 h 97"/>
                  <a:gd name="T8" fmla="*/ 27 w 143"/>
                  <a:gd name="T9" fmla="*/ 42 h 97"/>
                  <a:gd name="T10" fmla="*/ 27 w 143"/>
                  <a:gd name="T11" fmla="*/ 42 h 97"/>
                  <a:gd name="T12" fmla="*/ 0 w 143"/>
                  <a:gd name="T13" fmla="*/ 76 h 97"/>
                  <a:gd name="T14" fmla="*/ 20 w 143"/>
                  <a:gd name="T15" fmla="*/ 97 h 97"/>
                  <a:gd name="T16" fmla="*/ 38 w 143"/>
                  <a:gd name="T17" fmla="*/ 88 h 97"/>
                  <a:gd name="T18" fmla="*/ 55 w 143"/>
                  <a:gd name="T19" fmla="*/ 97 h 97"/>
                  <a:gd name="T20" fmla="*/ 72 w 143"/>
                  <a:gd name="T21" fmla="*/ 88 h 97"/>
                  <a:gd name="T22" fmla="*/ 89 w 143"/>
                  <a:gd name="T23" fmla="*/ 97 h 97"/>
                  <a:gd name="T24" fmla="*/ 106 w 143"/>
                  <a:gd name="T25" fmla="*/ 88 h 97"/>
                  <a:gd name="T26" fmla="*/ 123 w 143"/>
                  <a:gd name="T27" fmla="*/ 97 h 97"/>
                  <a:gd name="T28" fmla="*/ 143 w 143"/>
                  <a:gd name="T29" fmla="*/ 76 h 97"/>
                  <a:gd name="T30" fmla="*/ 117 w 143"/>
                  <a:gd name="T31" fmla="*/ 42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3" h="97">
                    <a:moveTo>
                      <a:pt x="117" y="42"/>
                    </a:moveTo>
                    <a:cubicBezTo>
                      <a:pt x="117" y="42"/>
                      <a:pt x="117" y="42"/>
                      <a:pt x="117" y="42"/>
                    </a:cubicBezTo>
                    <a:cubicBezTo>
                      <a:pt x="83" y="6"/>
                      <a:pt x="83" y="6"/>
                      <a:pt x="83" y="6"/>
                    </a:cubicBezTo>
                    <a:cubicBezTo>
                      <a:pt x="78" y="1"/>
                      <a:pt x="69" y="0"/>
                      <a:pt x="63" y="6"/>
                    </a:cubicBezTo>
                    <a:cubicBezTo>
                      <a:pt x="27" y="42"/>
                      <a:pt x="27" y="42"/>
                      <a:pt x="27" y="42"/>
                    </a:cubicBezTo>
                    <a:cubicBezTo>
                      <a:pt x="27" y="42"/>
                      <a:pt x="27" y="42"/>
                      <a:pt x="27" y="42"/>
                    </a:cubicBezTo>
                    <a:cubicBezTo>
                      <a:pt x="27" y="42"/>
                      <a:pt x="0" y="64"/>
                      <a:pt x="0" y="76"/>
                    </a:cubicBezTo>
                    <a:cubicBezTo>
                      <a:pt x="0" y="88"/>
                      <a:pt x="9" y="97"/>
                      <a:pt x="20" y="97"/>
                    </a:cubicBezTo>
                    <a:cubicBezTo>
                      <a:pt x="28" y="97"/>
                      <a:pt x="34" y="93"/>
                      <a:pt x="38" y="88"/>
                    </a:cubicBezTo>
                    <a:cubicBezTo>
                      <a:pt x="41" y="93"/>
                      <a:pt x="47" y="97"/>
                      <a:pt x="55" y="97"/>
                    </a:cubicBezTo>
                    <a:cubicBezTo>
                      <a:pt x="62" y="97"/>
                      <a:pt x="68" y="93"/>
                      <a:pt x="72" y="88"/>
                    </a:cubicBezTo>
                    <a:cubicBezTo>
                      <a:pt x="75" y="93"/>
                      <a:pt x="82" y="97"/>
                      <a:pt x="89" y="97"/>
                    </a:cubicBezTo>
                    <a:cubicBezTo>
                      <a:pt x="96" y="97"/>
                      <a:pt x="102" y="93"/>
                      <a:pt x="106" y="88"/>
                    </a:cubicBezTo>
                    <a:cubicBezTo>
                      <a:pt x="109" y="93"/>
                      <a:pt x="116" y="97"/>
                      <a:pt x="123" y="97"/>
                    </a:cubicBezTo>
                    <a:cubicBezTo>
                      <a:pt x="134" y="97"/>
                      <a:pt x="143" y="88"/>
                      <a:pt x="143" y="76"/>
                    </a:cubicBezTo>
                    <a:cubicBezTo>
                      <a:pt x="143" y="65"/>
                      <a:pt x="117" y="42"/>
                      <a:pt x="117" y="42"/>
                    </a:cubicBezTo>
                    <a:close/>
                  </a:path>
                </a:pathLst>
              </a:custGeom>
              <a:gradFill>
                <a:gsLst>
                  <a:gs pos="100000">
                    <a:schemeClr val="accent4">
                      <a:lumMod val="75000"/>
                    </a:schemeClr>
                  </a:gs>
                  <a:gs pos="0">
                    <a:schemeClr val="accent4"/>
                  </a:gs>
                </a:gsLst>
                <a:lin ang="2700000" scaled="1"/>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9" name="Freeform 86">
                <a:extLst>
                  <a:ext uri="{FF2B5EF4-FFF2-40B4-BE49-F238E27FC236}">
                    <a16:creationId xmlns:a16="http://schemas.microsoft.com/office/drawing/2014/main" id="{8AFE4019-C179-4257-A868-E4A25CE84795}"/>
                  </a:ext>
                </a:extLst>
              </p:cNvPr>
              <p:cNvSpPr>
                <a:spLocks/>
              </p:cNvSpPr>
              <p:nvPr/>
            </p:nvSpPr>
            <p:spPr bwMode="auto">
              <a:xfrm>
                <a:off x="6209535" y="2081031"/>
                <a:ext cx="400050" cy="184150"/>
              </a:xfrm>
              <a:custGeom>
                <a:avLst/>
                <a:gdLst>
                  <a:gd name="T0" fmla="*/ 76 w 76"/>
                  <a:gd name="T1" fmla="*/ 35 h 35"/>
                  <a:gd name="T2" fmla="*/ 49 w 76"/>
                  <a:gd name="T3" fmla="*/ 6 h 35"/>
                  <a:gd name="T4" fmla="*/ 29 w 76"/>
                  <a:gd name="T5" fmla="*/ 6 h 35"/>
                  <a:gd name="T6" fmla="*/ 0 w 76"/>
                  <a:gd name="T7" fmla="*/ 35 h 35"/>
                  <a:gd name="T8" fmla="*/ 76 w 76"/>
                  <a:gd name="T9" fmla="*/ 35 h 35"/>
                </a:gdLst>
                <a:ahLst/>
                <a:cxnLst>
                  <a:cxn ang="0">
                    <a:pos x="T0" y="T1"/>
                  </a:cxn>
                  <a:cxn ang="0">
                    <a:pos x="T2" y="T3"/>
                  </a:cxn>
                  <a:cxn ang="0">
                    <a:pos x="T4" y="T5"/>
                  </a:cxn>
                  <a:cxn ang="0">
                    <a:pos x="T6" y="T7"/>
                  </a:cxn>
                  <a:cxn ang="0">
                    <a:pos x="T8" y="T9"/>
                  </a:cxn>
                </a:cxnLst>
                <a:rect l="0" t="0" r="r" b="b"/>
                <a:pathLst>
                  <a:path w="76" h="35">
                    <a:moveTo>
                      <a:pt x="76" y="35"/>
                    </a:moveTo>
                    <a:cubicBezTo>
                      <a:pt x="49" y="6"/>
                      <a:pt x="49" y="6"/>
                      <a:pt x="49" y="6"/>
                    </a:cubicBezTo>
                    <a:cubicBezTo>
                      <a:pt x="44" y="1"/>
                      <a:pt x="35" y="0"/>
                      <a:pt x="29" y="6"/>
                    </a:cubicBezTo>
                    <a:cubicBezTo>
                      <a:pt x="0" y="35"/>
                      <a:pt x="0" y="35"/>
                      <a:pt x="0" y="35"/>
                    </a:cubicBezTo>
                    <a:lnTo>
                      <a:pt x="76" y="35"/>
                    </a:lnTo>
                    <a:close/>
                  </a:path>
                </a:pathLst>
              </a:custGeom>
              <a:solidFill>
                <a:schemeClr val="accent4">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40" name="Freeform 87">
                <a:extLst>
                  <a:ext uri="{FF2B5EF4-FFF2-40B4-BE49-F238E27FC236}">
                    <a16:creationId xmlns:a16="http://schemas.microsoft.com/office/drawing/2014/main" id="{2A386331-2FA3-42E1-BCB5-BC4E7BEE936C}"/>
                  </a:ext>
                </a:extLst>
              </p:cNvPr>
              <p:cNvSpPr>
                <a:spLocks/>
              </p:cNvSpPr>
              <p:nvPr/>
            </p:nvSpPr>
            <p:spPr bwMode="auto">
              <a:xfrm>
                <a:off x="6157147" y="1912756"/>
                <a:ext cx="500063" cy="336550"/>
              </a:xfrm>
              <a:custGeom>
                <a:avLst/>
                <a:gdLst>
                  <a:gd name="T0" fmla="*/ 78 w 95"/>
                  <a:gd name="T1" fmla="*/ 28 h 64"/>
                  <a:gd name="T2" fmla="*/ 78 w 95"/>
                  <a:gd name="T3" fmla="*/ 28 h 64"/>
                  <a:gd name="T4" fmla="*/ 55 w 95"/>
                  <a:gd name="T5" fmla="*/ 4 h 64"/>
                  <a:gd name="T6" fmla="*/ 42 w 95"/>
                  <a:gd name="T7" fmla="*/ 4 h 64"/>
                  <a:gd name="T8" fmla="*/ 18 w 95"/>
                  <a:gd name="T9" fmla="*/ 28 h 64"/>
                  <a:gd name="T10" fmla="*/ 18 w 95"/>
                  <a:gd name="T11" fmla="*/ 28 h 64"/>
                  <a:gd name="T12" fmla="*/ 0 w 95"/>
                  <a:gd name="T13" fmla="*/ 51 h 64"/>
                  <a:gd name="T14" fmla="*/ 13 w 95"/>
                  <a:gd name="T15" fmla="*/ 64 h 64"/>
                  <a:gd name="T16" fmla="*/ 25 w 95"/>
                  <a:gd name="T17" fmla="*/ 58 h 64"/>
                  <a:gd name="T18" fmla="*/ 36 w 95"/>
                  <a:gd name="T19" fmla="*/ 64 h 64"/>
                  <a:gd name="T20" fmla="*/ 48 w 95"/>
                  <a:gd name="T21" fmla="*/ 58 h 64"/>
                  <a:gd name="T22" fmla="*/ 59 w 95"/>
                  <a:gd name="T23" fmla="*/ 64 h 64"/>
                  <a:gd name="T24" fmla="*/ 70 w 95"/>
                  <a:gd name="T25" fmla="*/ 58 h 64"/>
                  <a:gd name="T26" fmla="*/ 82 w 95"/>
                  <a:gd name="T27" fmla="*/ 64 h 64"/>
                  <a:gd name="T28" fmla="*/ 95 w 95"/>
                  <a:gd name="T29" fmla="*/ 51 h 64"/>
                  <a:gd name="T30" fmla="*/ 78 w 95"/>
                  <a:gd name="T31" fmla="*/ 28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5" h="64">
                    <a:moveTo>
                      <a:pt x="78" y="28"/>
                    </a:moveTo>
                    <a:cubicBezTo>
                      <a:pt x="78" y="28"/>
                      <a:pt x="78" y="28"/>
                      <a:pt x="78" y="28"/>
                    </a:cubicBezTo>
                    <a:cubicBezTo>
                      <a:pt x="55" y="4"/>
                      <a:pt x="55" y="4"/>
                      <a:pt x="55" y="4"/>
                    </a:cubicBezTo>
                    <a:cubicBezTo>
                      <a:pt x="52" y="0"/>
                      <a:pt x="46" y="0"/>
                      <a:pt x="42" y="4"/>
                    </a:cubicBezTo>
                    <a:cubicBezTo>
                      <a:pt x="18" y="28"/>
                      <a:pt x="18" y="28"/>
                      <a:pt x="18" y="28"/>
                    </a:cubicBezTo>
                    <a:cubicBezTo>
                      <a:pt x="18" y="28"/>
                      <a:pt x="18" y="28"/>
                      <a:pt x="18" y="28"/>
                    </a:cubicBezTo>
                    <a:cubicBezTo>
                      <a:pt x="18" y="28"/>
                      <a:pt x="0" y="42"/>
                      <a:pt x="0" y="51"/>
                    </a:cubicBezTo>
                    <a:cubicBezTo>
                      <a:pt x="0" y="58"/>
                      <a:pt x="6" y="64"/>
                      <a:pt x="13" y="64"/>
                    </a:cubicBezTo>
                    <a:cubicBezTo>
                      <a:pt x="18" y="64"/>
                      <a:pt x="22" y="62"/>
                      <a:pt x="25" y="58"/>
                    </a:cubicBezTo>
                    <a:cubicBezTo>
                      <a:pt x="27" y="62"/>
                      <a:pt x="31" y="64"/>
                      <a:pt x="36" y="64"/>
                    </a:cubicBezTo>
                    <a:cubicBezTo>
                      <a:pt x="41" y="64"/>
                      <a:pt x="45" y="62"/>
                      <a:pt x="48" y="58"/>
                    </a:cubicBezTo>
                    <a:cubicBezTo>
                      <a:pt x="50" y="62"/>
                      <a:pt x="54" y="64"/>
                      <a:pt x="59" y="64"/>
                    </a:cubicBezTo>
                    <a:cubicBezTo>
                      <a:pt x="64" y="64"/>
                      <a:pt x="68" y="62"/>
                      <a:pt x="70" y="58"/>
                    </a:cubicBezTo>
                    <a:cubicBezTo>
                      <a:pt x="73" y="62"/>
                      <a:pt x="77" y="64"/>
                      <a:pt x="82" y="64"/>
                    </a:cubicBezTo>
                    <a:cubicBezTo>
                      <a:pt x="89" y="64"/>
                      <a:pt x="95" y="58"/>
                      <a:pt x="95" y="51"/>
                    </a:cubicBezTo>
                    <a:cubicBezTo>
                      <a:pt x="95" y="43"/>
                      <a:pt x="78" y="28"/>
                      <a:pt x="78" y="28"/>
                    </a:cubicBezTo>
                    <a:close/>
                  </a:path>
                </a:pathLst>
              </a:custGeom>
              <a:gradFill>
                <a:gsLst>
                  <a:gs pos="100000">
                    <a:schemeClr val="accent4">
                      <a:lumMod val="75000"/>
                    </a:schemeClr>
                  </a:gs>
                  <a:gs pos="0">
                    <a:schemeClr val="accent4"/>
                  </a:gs>
                </a:gsLst>
                <a:lin ang="2700000" scaled="1"/>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nvGrpSpPr>
              <p:cNvPr id="41" name="Group 10">
                <a:extLst>
                  <a:ext uri="{FF2B5EF4-FFF2-40B4-BE49-F238E27FC236}">
                    <a16:creationId xmlns:a16="http://schemas.microsoft.com/office/drawing/2014/main" id="{636FE7FC-F57F-453B-98AC-8C53C965FED5}"/>
                  </a:ext>
                </a:extLst>
              </p:cNvPr>
              <p:cNvGrpSpPr/>
              <p:nvPr/>
            </p:nvGrpSpPr>
            <p:grpSpPr>
              <a:xfrm>
                <a:off x="6182547" y="2017531"/>
                <a:ext cx="574675" cy="1189038"/>
                <a:chOff x="5649913" y="1795463"/>
                <a:chExt cx="574675" cy="1189038"/>
              </a:xfrm>
            </p:grpSpPr>
            <p:sp>
              <p:nvSpPr>
                <p:cNvPr id="63" name="Oval 55">
                  <a:extLst>
                    <a:ext uri="{FF2B5EF4-FFF2-40B4-BE49-F238E27FC236}">
                      <a16:creationId xmlns:a16="http://schemas.microsoft.com/office/drawing/2014/main" id="{36437004-6107-413C-848C-87C34372F6E8}"/>
                    </a:ext>
                  </a:extLst>
                </p:cNvPr>
                <p:cNvSpPr>
                  <a:spLocks noChangeArrowheads="1"/>
                </p:cNvSpPr>
                <p:nvPr/>
              </p:nvSpPr>
              <p:spPr bwMode="auto">
                <a:xfrm>
                  <a:off x="6167438" y="2835276"/>
                  <a:ext cx="57150" cy="53975"/>
                </a:xfrm>
                <a:prstGeom prst="ellipse">
                  <a:avLst/>
                </a:prstGeom>
                <a:solidFill>
                  <a:schemeClr val="accent4">
                    <a:lumMod val="60000"/>
                    <a:lumOff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64" name="Oval 57">
                  <a:extLst>
                    <a:ext uri="{FF2B5EF4-FFF2-40B4-BE49-F238E27FC236}">
                      <a16:creationId xmlns:a16="http://schemas.microsoft.com/office/drawing/2014/main" id="{C7C4B749-1858-40F2-9C03-C0F4B1869A9D}"/>
                    </a:ext>
                  </a:extLst>
                </p:cNvPr>
                <p:cNvSpPr>
                  <a:spLocks noChangeArrowheads="1"/>
                </p:cNvSpPr>
                <p:nvPr/>
              </p:nvSpPr>
              <p:spPr bwMode="auto">
                <a:xfrm>
                  <a:off x="5724526" y="2941638"/>
                  <a:ext cx="47625" cy="42863"/>
                </a:xfrm>
                <a:prstGeom prst="ellipse">
                  <a:avLst/>
                </a:prstGeom>
                <a:solidFill>
                  <a:schemeClr val="accent4">
                    <a:lumMod val="60000"/>
                    <a:lumOff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65" name="Oval 67">
                  <a:extLst>
                    <a:ext uri="{FF2B5EF4-FFF2-40B4-BE49-F238E27FC236}">
                      <a16:creationId xmlns:a16="http://schemas.microsoft.com/office/drawing/2014/main" id="{83DACD60-5972-4324-AD9C-E7A010A1C58E}"/>
                    </a:ext>
                  </a:extLst>
                </p:cNvPr>
                <p:cNvSpPr>
                  <a:spLocks noChangeArrowheads="1"/>
                </p:cNvSpPr>
                <p:nvPr/>
              </p:nvSpPr>
              <p:spPr bwMode="auto">
                <a:xfrm>
                  <a:off x="5740401" y="2571751"/>
                  <a:ext cx="41275" cy="42863"/>
                </a:xfrm>
                <a:prstGeom prst="ellipse">
                  <a:avLst/>
                </a:prstGeom>
                <a:solidFill>
                  <a:schemeClr val="accent4">
                    <a:lumMod val="60000"/>
                    <a:lumOff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66" name="Oval 68">
                  <a:extLst>
                    <a:ext uri="{FF2B5EF4-FFF2-40B4-BE49-F238E27FC236}">
                      <a16:creationId xmlns:a16="http://schemas.microsoft.com/office/drawing/2014/main" id="{EC39DBD5-3FEF-4879-A0A2-A1B7339C9846}"/>
                    </a:ext>
                  </a:extLst>
                </p:cNvPr>
                <p:cNvSpPr>
                  <a:spLocks noChangeArrowheads="1"/>
                </p:cNvSpPr>
                <p:nvPr/>
              </p:nvSpPr>
              <p:spPr bwMode="auto">
                <a:xfrm>
                  <a:off x="5876926" y="2492376"/>
                  <a:ext cx="42863" cy="42863"/>
                </a:xfrm>
                <a:prstGeom prst="ellipse">
                  <a:avLst/>
                </a:prstGeom>
                <a:solidFill>
                  <a:schemeClr val="accent4">
                    <a:lumMod val="60000"/>
                    <a:lumOff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67" name="Oval 70">
                  <a:extLst>
                    <a:ext uri="{FF2B5EF4-FFF2-40B4-BE49-F238E27FC236}">
                      <a16:creationId xmlns:a16="http://schemas.microsoft.com/office/drawing/2014/main" id="{9FF979A6-CE45-4795-BD7D-F9E43FF603FE}"/>
                    </a:ext>
                  </a:extLst>
                </p:cNvPr>
                <p:cNvSpPr>
                  <a:spLocks noChangeArrowheads="1"/>
                </p:cNvSpPr>
                <p:nvPr/>
              </p:nvSpPr>
              <p:spPr bwMode="auto">
                <a:xfrm>
                  <a:off x="5649913" y="2560638"/>
                  <a:ext cx="31750" cy="26988"/>
                </a:xfrm>
                <a:prstGeom prst="ellipse">
                  <a:avLst/>
                </a:prstGeom>
                <a:solidFill>
                  <a:schemeClr val="accent4">
                    <a:lumMod val="60000"/>
                    <a:lumOff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68" name="Oval 75">
                  <a:extLst>
                    <a:ext uri="{FF2B5EF4-FFF2-40B4-BE49-F238E27FC236}">
                      <a16:creationId xmlns:a16="http://schemas.microsoft.com/office/drawing/2014/main" id="{B1D1A26B-F417-4810-B66B-13A380A8C705}"/>
                    </a:ext>
                  </a:extLst>
                </p:cNvPr>
                <p:cNvSpPr>
                  <a:spLocks noChangeArrowheads="1"/>
                </p:cNvSpPr>
                <p:nvPr/>
              </p:nvSpPr>
              <p:spPr bwMode="auto">
                <a:xfrm>
                  <a:off x="6072188" y="2122488"/>
                  <a:ext cx="36513" cy="38100"/>
                </a:xfrm>
                <a:prstGeom prst="ellipse">
                  <a:avLst/>
                </a:prstGeom>
                <a:solidFill>
                  <a:schemeClr val="accent4">
                    <a:lumMod val="60000"/>
                    <a:lumOff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69" name="Oval 77">
                  <a:extLst>
                    <a:ext uri="{FF2B5EF4-FFF2-40B4-BE49-F238E27FC236}">
                      <a16:creationId xmlns:a16="http://schemas.microsoft.com/office/drawing/2014/main" id="{7D27D604-9732-470D-8A0E-2BB68B286690}"/>
                    </a:ext>
                  </a:extLst>
                </p:cNvPr>
                <p:cNvSpPr>
                  <a:spLocks noChangeArrowheads="1"/>
                </p:cNvSpPr>
                <p:nvPr/>
              </p:nvSpPr>
              <p:spPr bwMode="auto">
                <a:xfrm>
                  <a:off x="5761038" y="2249488"/>
                  <a:ext cx="31750" cy="31750"/>
                </a:xfrm>
                <a:prstGeom prst="ellipse">
                  <a:avLst/>
                </a:prstGeom>
                <a:solidFill>
                  <a:schemeClr val="accent4">
                    <a:lumMod val="60000"/>
                    <a:lumOff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70" name="Oval 78">
                  <a:extLst>
                    <a:ext uri="{FF2B5EF4-FFF2-40B4-BE49-F238E27FC236}">
                      <a16:creationId xmlns:a16="http://schemas.microsoft.com/office/drawing/2014/main" id="{C8064AFA-1349-4DB2-8540-E3ED5477B197}"/>
                    </a:ext>
                  </a:extLst>
                </p:cNvPr>
                <p:cNvSpPr>
                  <a:spLocks noChangeArrowheads="1"/>
                </p:cNvSpPr>
                <p:nvPr/>
              </p:nvSpPr>
              <p:spPr bwMode="auto">
                <a:xfrm>
                  <a:off x="5924551" y="2224088"/>
                  <a:ext cx="31750" cy="31750"/>
                </a:xfrm>
                <a:prstGeom prst="ellipse">
                  <a:avLst/>
                </a:prstGeom>
                <a:solidFill>
                  <a:schemeClr val="accent4">
                    <a:lumMod val="60000"/>
                    <a:lumOff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71" name="Oval 88">
                  <a:extLst>
                    <a:ext uri="{FF2B5EF4-FFF2-40B4-BE49-F238E27FC236}">
                      <a16:creationId xmlns:a16="http://schemas.microsoft.com/office/drawing/2014/main" id="{55237674-D9CB-46A1-85DC-2699DE03DDDB}"/>
                    </a:ext>
                  </a:extLst>
                </p:cNvPr>
                <p:cNvSpPr>
                  <a:spLocks noChangeArrowheads="1"/>
                </p:cNvSpPr>
                <p:nvPr/>
              </p:nvSpPr>
              <p:spPr bwMode="auto">
                <a:xfrm>
                  <a:off x="5861051" y="1795463"/>
                  <a:ext cx="36513" cy="36513"/>
                </a:xfrm>
                <a:prstGeom prst="ellipse">
                  <a:avLst/>
                </a:prstGeom>
                <a:solidFill>
                  <a:schemeClr val="accent4">
                    <a:lumMod val="60000"/>
                    <a:lumOff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72" name="Oval 89">
                  <a:extLst>
                    <a:ext uri="{FF2B5EF4-FFF2-40B4-BE49-F238E27FC236}">
                      <a16:creationId xmlns:a16="http://schemas.microsoft.com/office/drawing/2014/main" id="{E7BB58D6-2AA4-4E82-B410-9C59DA829637}"/>
                    </a:ext>
                  </a:extLst>
                </p:cNvPr>
                <p:cNvSpPr>
                  <a:spLocks noChangeArrowheads="1"/>
                </p:cNvSpPr>
                <p:nvPr/>
              </p:nvSpPr>
              <p:spPr bwMode="auto">
                <a:xfrm>
                  <a:off x="5734051" y="1890713"/>
                  <a:ext cx="38100" cy="31750"/>
                </a:xfrm>
                <a:prstGeom prst="ellipse">
                  <a:avLst/>
                </a:prstGeom>
                <a:solidFill>
                  <a:schemeClr val="accent4">
                    <a:lumMod val="60000"/>
                    <a:lumOff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73" name="Oval 90">
                  <a:extLst>
                    <a:ext uri="{FF2B5EF4-FFF2-40B4-BE49-F238E27FC236}">
                      <a16:creationId xmlns:a16="http://schemas.microsoft.com/office/drawing/2014/main" id="{FE8AEBEE-9AF1-4113-840D-7DA73C3CC206}"/>
                    </a:ext>
                  </a:extLst>
                </p:cNvPr>
                <p:cNvSpPr>
                  <a:spLocks noChangeArrowheads="1"/>
                </p:cNvSpPr>
                <p:nvPr/>
              </p:nvSpPr>
              <p:spPr bwMode="auto">
                <a:xfrm>
                  <a:off x="5851526" y="1922463"/>
                  <a:ext cx="30163" cy="31750"/>
                </a:xfrm>
                <a:prstGeom prst="ellipse">
                  <a:avLst/>
                </a:prstGeom>
                <a:solidFill>
                  <a:schemeClr val="accent4">
                    <a:lumMod val="60000"/>
                    <a:lumOff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grpSp>
            <p:nvGrpSpPr>
              <p:cNvPr id="42" name="Group 11">
                <a:extLst>
                  <a:ext uri="{FF2B5EF4-FFF2-40B4-BE49-F238E27FC236}">
                    <a16:creationId xmlns:a16="http://schemas.microsoft.com/office/drawing/2014/main" id="{90B88CA7-1725-492A-A520-4E56767C359B}"/>
                  </a:ext>
                </a:extLst>
              </p:cNvPr>
              <p:cNvGrpSpPr/>
              <p:nvPr/>
            </p:nvGrpSpPr>
            <p:grpSpPr>
              <a:xfrm>
                <a:off x="6003160" y="2054044"/>
                <a:ext cx="785812" cy="1136650"/>
                <a:chOff x="5470526" y="1831976"/>
                <a:chExt cx="785812" cy="1136650"/>
              </a:xfrm>
              <a:solidFill>
                <a:schemeClr val="accent3">
                  <a:lumMod val="75000"/>
                </a:schemeClr>
              </a:solidFill>
            </p:grpSpPr>
            <p:sp>
              <p:nvSpPr>
                <p:cNvPr id="43" name="Oval 56">
                  <a:extLst>
                    <a:ext uri="{FF2B5EF4-FFF2-40B4-BE49-F238E27FC236}">
                      <a16:creationId xmlns:a16="http://schemas.microsoft.com/office/drawing/2014/main" id="{A5F5F90F-4FE4-4DBF-AA9C-C5917012EDBE}"/>
                    </a:ext>
                  </a:extLst>
                </p:cNvPr>
                <p:cNvSpPr>
                  <a:spLocks noChangeArrowheads="1"/>
                </p:cNvSpPr>
                <p:nvPr/>
              </p:nvSpPr>
              <p:spPr bwMode="auto">
                <a:xfrm>
                  <a:off x="5676901" y="2862263"/>
                  <a:ext cx="47625" cy="52388"/>
                </a:xfrm>
                <a:prstGeom prst="ellipse">
                  <a:avLst/>
                </a:prstGeom>
                <a:solidFill>
                  <a:schemeClr val="accent4">
                    <a:lumMod val="75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44" name="Oval 58">
                  <a:extLst>
                    <a:ext uri="{FF2B5EF4-FFF2-40B4-BE49-F238E27FC236}">
                      <a16:creationId xmlns:a16="http://schemas.microsoft.com/office/drawing/2014/main" id="{9CDF65BB-A962-4D29-B3E7-E6D49780C80C}"/>
                    </a:ext>
                  </a:extLst>
                </p:cNvPr>
                <p:cNvSpPr>
                  <a:spLocks noChangeArrowheads="1"/>
                </p:cNvSpPr>
                <p:nvPr/>
              </p:nvSpPr>
              <p:spPr bwMode="auto">
                <a:xfrm>
                  <a:off x="6224588" y="2889251"/>
                  <a:ext cx="31750" cy="36513"/>
                </a:xfrm>
                <a:prstGeom prst="ellipse">
                  <a:avLst/>
                </a:prstGeom>
                <a:solidFill>
                  <a:schemeClr val="accent4">
                    <a:lumMod val="75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45" name="Oval 59">
                  <a:extLst>
                    <a:ext uri="{FF2B5EF4-FFF2-40B4-BE49-F238E27FC236}">
                      <a16:creationId xmlns:a16="http://schemas.microsoft.com/office/drawing/2014/main" id="{E647AA1C-F2E3-45CB-A039-DE62DE04139A}"/>
                    </a:ext>
                  </a:extLst>
                </p:cNvPr>
                <p:cNvSpPr>
                  <a:spLocks noChangeArrowheads="1"/>
                </p:cNvSpPr>
                <p:nvPr/>
              </p:nvSpPr>
              <p:spPr bwMode="auto">
                <a:xfrm>
                  <a:off x="5624513" y="2925763"/>
                  <a:ext cx="31750" cy="31750"/>
                </a:xfrm>
                <a:prstGeom prst="ellipse">
                  <a:avLst/>
                </a:prstGeom>
                <a:solidFill>
                  <a:schemeClr val="accent4">
                    <a:lumMod val="75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46" name="Oval 60">
                  <a:extLst>
                    <a:ext uri="{FF2B5EF4-FFF2-40B4-BE49-F238E27FC236}">
                      <a16:creationId xmlns:a16="http://schemas.microsoft.com/office/drawing/2014/main" id="{376DECDA-C56B-4756-AD91-58EDD3CB88D9}"/>
                    </a:ext>
                  </a:extLst>
                </p:cNvPr>
                <p:cNvSpPr>
                  <a:spLocks noChangeArrowheads="1"/>
                </p:cNvSpPr>
                <p:nvPr/>
              </p:nvSpPr>
              <p:spPr bwMode="auto">
                <a:xfrm>
                  <a:off x="5470526" y="2914651"/>
                  <a:ext cx="53975" cy="53975"/>
                </a:xfrm>
                <a:prstGeom prst="ellipse">
                  <a:avLst/>
                </a:prstGeom>
                <a:solidFill>
                  <a:schemeClr val="accent4">
                    <a:lumMod val="75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47" name="Oval 61">
                  <a:extLst>
                    <a:ext uri="{FF2B5EF4-FFF2-40B4-BE49-F238E27FC236}">
                      <a16:creationId xmlns:a16="http://schemas.microsoft.com/office/drawing/2014/main" id="{65308851-C6B6-40D4-960E-793D303DD712}"/>
                    </a:ext>
                  </a:extLst>
                </p:cNvPr>
                <p:cNvSpPr>
                  <a:spLocks noChangeArrowheads="1"/>
                </p:cNvSpPr>
                <p:nvPr/>
              </p:nvSpPr>
              <p:spPr bwMode="auto">
                <a:xfrm>
                  <a:off x="6019801" y="2909888"/>
                  <a:ext cx="52388" cy="52388"/>
                </a:xfrm>
                <a:prstGeom prst="ellipse">
                  <a:avLst/>
                </a:prstGeom>
                <a:solidFill>
                  <a:schemeClr val="accent4">
                    <a:lumMod val="75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48" name="Oval 65">
                  <a:extLst>
                    <a:ext uri="{FF2B5EF4-FFF2-40B4-BE49-F238E27FC236}">
                      <a16:creationId xmlns:a16="http://schemas.microsoft.com/office/drawing/2014/main" id="{183B47A3-3D38-42E0-A720-9047CB00F81D}"/>
                    </a:ext>
                  </a:extLst>
                </p:cNvPr>
                <p:cNvSpPr>
                  <a:spLocks noChangeArrowheads="1"/>
                </p:cNvSpPr>
                <p:nvPr/>
              </p:nvSpPr>
              <p:spPr bwMode="auto">
                <a:xfrm>
                  <a:off x="6140451" y="2476501"/>
                  <a:ext cx="52388" cy="47625"/>
                </a:xfrm>
                <a:prstGeom prst="ellipse">
                  <a:avLst/>
                </a:prstGeom>
                <a:solidFill>
                  <a:schemeClr val="accent4">
                    <a:lumMod val="75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49" name="Oval 66">
                  <a:extLst>
                    <a:ext uri="{FF2B5EF4-FFF2-40B4-BE49-F238E27FC236}">
                      <a16:creationId xmlns:a16="http://schemas.microsoft.com/office/drawing/2014/main" id="{11F494C8-3BE0-4D30-88B9-752FAD3CFBF4}"/>
                    </a:ext>
                  </a:extLst>
                </p:cNvPr>
                <p:cNvSpPr>
                  <a:spLocks noChangeArrowheads="1"/>
                </p:cNvSpPr>
                <p:nvPr/>
              </p:nvSpPr>
              <p:spPr bwMode="auto">
                <a:xfrm>
                  <a:off x="5697538" y="2503488"/>
                  <a:ext cx="42863" cy="47625"/>
                </a:xfrm>
                <a:prstGeom prst="ellipse">
                  <a:avLst/>
                </a:prstGeom>
                <a:solidFill>
                  <a:schemeClr val="accent4">
                    <a:lumMod val="75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50" name="Oval 69">
                  <a:extLst>
                    <a:ext uri="{FF2B5EF4-FFF2-40B4-BE49-F238E27FC236}">
                      <a16:creationId xmlns:a16="http://schemas.microsoft.com/office/drawing/2014/main" id="{2763F682-88AB-46E0-A815-02E759EE41A2}"/>
                    </a:ext>
                  </a:extLst>
                </p:cNvPr>
                <p:cNvSpPr>
                  <a:spLocks noChangeArrowheads="1"/>
                </p:cNvSpPr>
                <p:nvPr/>
              </p:nvSpPr>
              <p:spPr bwMode="auto">
                <a:xfrm>
                  <a:off x="6192838" y="2530476"/>
                  <a:ext cx="31750" cy="30163"/>
                </a:xfrm>
                <a:prstGeom prst="ellipse">
                  <a:avLst/>
                </a:prstGeom>
                <a:solidFill>
                  <a:schemeClr val="accent4">
                    <a:lumMod val="75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51" name="Oval 71">
                  <a:extLst>
                    <a:ext uri="{FF2B5EF4-FFF2-40B4-BE49-F238E27FC236}">
                      <a16:creationId xmlns:a16="http://schemas.microsoft.com/office/drawing/2014/main" id="{BD9468CF-31DF-4A0D-A132-216BBED318E3}"/>
                    </a:ext>
                  </a:extLst>
                </p:cNvPr>
                <p:cNvSpPr>
                  <a:spLocks noChangeArrowheads="1"/>
                </p:cNvSpPr>
                <p:nvPr/>
              </p:nvSpPr>
              <p:spPr bwMode="auto">
                <a:xfrm>
                  <a:off x="5919788" y="2635251"/>
                  <a:ext cx="31750" cy="31750"/>
                </a:xfrm>
                <a:prstGeom prst="ellipse">
                  <a:avLst/>
                </a:prstGeom>
                <a:solidFill>
                  <a:schemeClr val="accent4">
                    <a:lumMod val="75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52" name="Oval 72">
                  <a:extLst>
                    <a:ext uri="{FF2B5EF4-FFF2-40B4-BE49-F238E27FC236}">
                      <a16:creationId xmlns:a16="http://schemas.microsoft.com/office/drawing/2014/main" id="{AD3BD24C-FC19-405B-A0F8-4AC7FBEF3EB0}"/>
                    </a:ext>
                  </a:extLst>
                </p:cNvPr>
                <p:cNvSpPr>
                  <a:spLocks noChangeArrowheads="1"/>
                </p:cNvSpPr>
                <p:nvPr/>
              </p:nvSpPr>
              <p:spPr bwMode="auto">
                <a:xfrm>
                  <a:off x="5513388" y="2551113"/>
                  <a:ext cx="47625" cy="47625"/>
                </a:xfrm>
                <a:prstGeom prst="ellipse">
                  <a:avLst/>
                </a:prstGeom>
                <a:solidFill>
                  <a:schemeClr val="accent4">
                    <a:lumMod val="75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53" name="Oval 73">
                  <a:extLst>
                    <a:ext uri="{FF2B5EF4-FFF2-40B4-BE49-F238E27FC236}">
                      <a16:creationId xmlns:a16="http://schemas.microsoft.com/office/drawing/2014/main" id="{BBB07B8D-440B-47DF-9C33-8CD7EE889ED2}"/>
                    </a:ext>
                  </a:extLst>
                </p:cNvPr>
                <p:cNvSpPr>
                  <a:spLocks noChangeArrowheads="1"/>
                </p:cNvSpPr>
                <p:nvPr/>
              </p:nvSpPr>
              <p:spPr bwMode="auto">
                <a:xfrm>
                  <a:off x="6008688" y="2544763"/>
                  <a:ext cx="47625" cy="47625"/>
                </a:xfrm>
                <a:prstGeom prst="ellipse">
                  <a:avLst/>
                </a:prstGeom>
                <a:solidFill>
                  <a:schemeClr val="accent4">
                    <a:lumMod val="75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54" name="Oval 76">
                  <a:extLst>
                    <a:ext uri="{FF2B5EF4-FFF2-40B4-BE49-F238E27FC236}">
                      <a16:creationId xmlns:a16="http://schemas.microsoft.com/office/drawing/2014/main" id="{1F73BDE7-E4BD-4C3B-BB84-8E7464C97957}"/>
                    </a:ext>
                  </a:extLst>
                </p:cNvPr>
                <p:cNvSpPr>
                  <a:spLocks noChangeArrowheads="1"/>
                </p:cNvSpPr>
                <p:nvPr/>
              </p:nvSpPr>
              <p:spPr bwMode="auto">
                <a:xfrm>
                  <a:off x="5761038" y="2128838"/>
                  <a:ext cx="31750" cy="36513"/>
                </a:xfrm>
                <a:prstGeom prst="ellipse">
                  <a:avLst/>
                </a:prstGeom>
                <a:solidFill>
                  <a:schemeClr val="accent4">
                    <a:lumMod val="75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55" name="Oval 80">
                  <a:extLst>
                    <a:ext uri="{FF2B5EF4-FFF2-40B4-BE49-F238E27FC236}">
                      <a16:creationId xmlns:a16="http://schemas.microsoft.com/office/drawing/2014/main" id="{873C46CE-D2C3-410D-8D0D-C3186A115B8A}"/>
                    </a:ext>
                  </a:extLst>
                </p:cNvPr>
                <p:cNvSpPr>
                  <a:spLocks noChangeArrowheads="1"/>
                </p:cNvSpPr>
                <p:nvPr/>
              </p:nvSpPr>
              <p:spPr bwMode="auto">
                <a:xfrm>
                  <a:off x="6130926" y="2249488"/>
                  <a:ext cx="25400" cy="26988"/>
                </a:xfrm>
                <a:prstGeom prst="ellipse">
                  <a:avLst/>
                </a:prstGeom>
                <a:solidFill>
                  <a:schemeClr val="accent4">
                    <a:lumMod val="75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56" name="Oval 81">
                  <a:extLst>
                    <a:ext uri="{FF2B5EF4-FFF2-40B4-BE49-F238E27FC236}">
                      <a16:creationId xmlns:a16="http://schemas.microsoft.com/office/drawing/2014/main" id="{F937D2E0-C28F-4417-989F-12C43CD26823}"/>
                    </a:ext>
                  </a:extLst>
                </p:cNvPr>
                <p:cNvSpPr>
                  <a:spLocks noChangeArrowheads="1"/>
                </p:cNvSpPr>
                <p:nvPr/>
              </p:nvSpPr>
              <p:spPr bwMode="auto">
                <a:xfrm>
                  <a:off x="5692776" y="2239963"/>
                  <a:ext cx="20638" cy="25400"/>
                </a:xfrm>
                <a:prstGeom prst="ellipse">
                  <a:avLst/>
                </a:prstGeom>
                <a:solidFill>
                  <a:schemeClr val="accent4">
                    <a:lumMod val="75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57" name="Oval 82">
                  <a:extLst>
                    <a:ext uri="{FF2B5EF4-FFF2-40B4-BE49-F238E27FC236}">
                      <a16:creationId xmlns:a16="http://schemas.microsoft.com/office/drawing/2014/main" id="{35D6E679-0AF4-4251-B557-93106A049C72}"/>
                    </a:ext>
                  </a:extLst>
                </p:cNvPr>
                <p:cNvSpPr>
                  <a:spLocks noChangeArrowheads="1"/>
                </p:cNvSpPr>
                <p:nvPr/>
              </p:nvSpPr>
              <p:spPr bwMode="auto">
                <a:xfrm>
                  <a:off x="5581651" y="2281238"/>
                  <a:ext cx="26988" cy="26988"/>
                </a:xfrm>
                <a:prstGeom prst="ellipse">
                  <a:avLst/>
                </a:prstGeom>
                <a:solidFill>
                  <a:schemeClr val="accent4">
                    <a:lumMod val="75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58" name="Oval 83">
                  <a:extLst>
                    <a:ext uri="{FF2B5EF4-FFF2-40B4-BE49-F238E27FC236}">
                      <a16:creationId xmlns:a16="http://schemas.microsoft.com/office/drawing/2014/main" id="{F611B665-C24B-435A-8224-BC3EE1061A3A}"/>
                    </a:ext>
                  </a:extLst>
                </p:cNvPr>
                <p:cNvSpPr>
                  <a:spLocks noChangeArrowheads="1"/>
                </p:cNvSpPr>
                <p:nvPr/>
              </p:nvSpPr>
              <p:spPr bwMode="auto">
                <a:xfrm>
                  <a:off x="5608638" y="2176463"/>
                  <a:ext cx="31750" cy="36513"/>
                </a:xfrm>
                <a:prstGeom prst="ellipse">
                  <a:avLst/>
                </a:prstGeom>
                <a:solidFill>
                  <a:schemeClr val="accent4">
                    <a:lumMod val="75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59" name="Oval 84">
                  <a:extLst>
                    <a:ext uri="{FF2B5EF4-FFF2-40B4-BE49-F238E27FC236}">
                      <a16:creationId xmlns:a16="http://schemas.microsoft.com/office/drawing/2014/main" id="{A1CAF076-EDC0-413E-9174-491234F004D1}"/>
                    </a:ext>
                  </a:extLst>
                </p:cNvPr>
                <p:cNvSpPr>
                  <a:spLocks noChangeArrowheads="1"/>
                </p:cNvSpPr>
                <p:nvPr/>
              </p:nvSpPr>
              <p:spPr bwMode="auto">
                <a:xfrm>
                  <a:off x="5972176" y="2176463"/>
                  <a:ext cx="36513" cy="31750"/>
                </a:xfrm>
                <a:prstGeom prst="ellipse">
                  <a:avLst/>
                </a:prstGeom>
                <a:solidFill>
                  <a:schemeClr val="accent4">
                    <a:lumMod val="75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60" name="Oval 85">
                  <a:extLst>
                    <a:ext uri="{FF2B5EF4-FFF2-40B4-BE49-F238E27FC236}">
                      <a16:creationId xmlns:a16="http://schemas.microsoft.com/office/drawing/2014/main" id="{8122A7FD-3DDF-40BA-A91F-F703D858D1DE}"/>
                    </a:ext>
                  </a:extLst>
                </p:cNvPr>
                <p:cNvSpPr>
                  <a:spLocks noChangeArrowheads="1"/>
                </p:cNvSpPr>
                <p:nvPr/>
              </p:nvSpPr>
              <p:spPr bwMode="auto">
                <a:xfrm>
                  <a:off x="5913438" y="2085976"/>
                  <a:ext cx="38100" cy="36513"/>
                </a:xfrm>
                <a:prstGeom prst="ellipse">
                  <a:avLst/>
                </a:prstGeom>
                <a:solidFill>
                  <a:schemeClr val="accent4">
                    <a:lumMod val="75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61" name="Oval 91">
                  <a:extLst>
                    <a:ext uri="{FF2B5EF4-FFF2-40B4-BE49-F238E27FC236}">
                      <a16:creationId xmlns:a16="http://schemas.microsoft.com/office/drawing/2014/main" id="{09AE37F8-5351-41DC-807F-76F532638C6E}"/>
                    </a:ext>
                  </a:extLst>
                </p:cNvPr>
                <p:cNvSpPr>
                  <a:spLocks noChangeArrowheads="1"/>
                </p:cNvSpPr>
                <p:nvPr/>
              </p:nvSpPr>
              <p:spPr bwMode="auto">
                <a:xfrm>
                  <a:off x="5897563" y="1831976"/>
                  <a:ext cx="22225" cy="22225"/>
                </a:xfrm>
                <a:prstGeom prst="ellipse">
                  <a:avLst/>
                </a:prstGeom>
                <a:solidFill>
                  <a:schemeClr val="accent4">
                    <a:lumMod val="75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62" name="Oval 92">
                  <a:extLst>
                    <a:ext uri="{FF2B5EF4-FFF2-40B4-BE49-F238E27FC236}">
                      <a16:creationId xmlns:a16="http://schemas.microsoft.com/office/drawing/2014/main" id="{AB9CAD06-E9EF-409E-9F9C-B18220C6FAB9}"/>
                    </a:ext>
                  </a:extLst>
                </p:cNvPr>
                <p:cNvSpPr>
                  <a:spLocks noChangeArrowheads="1"/>
                </p:cNvSpPr>
                <p:nvPr/>
              </p:nvSpPr>
              <p:spPr bwMode="auto">
                <a:xfrm>
                  <a:off x="5967413" y="1922463"/>
                  <a:ext cx="36513" cy="36513"/>
                </a:xfrm>
                <a:prstGeom prst="ellipse">
                  <a:avLst/>
                </a:prstGeom>
                <a:solidFill>
                  <a:schemeClr val="accent4">
                    <a:lumMod val="75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grpSp>
        <p:grpSp>
          <p:nvGrpSpPr>
            <p:cNvPr id="4" name="Group 43">
              <a:extLst>
                <a:ext uri="{FF2B5EF4-FFF2-40B4-BE49-F238E27FC236}">
                  <a16:creationId xmlns:a16="http://schemas.microsoft.com/office/drawing/2014/main" id="{DEBFCC2A-083E-47D9-B5B5-B1C1A3848634}"/>
                </a:ext>
              </a:extLst>
            </p:cNvPr>
            <p:cNvGrpSpPr/>
            <p:nvPr/>
          </p:nvGrpSpPr>
          <p:grpSpPr>
            <a:xfrm>
              <a:off x="6888253" y="3986585"/>
              <a:ext cx="969236" cy="1478789"/>
              <a:chOff x="6603395" y="4073254"/>
              <a:chExt cx="969236" cy="1478789"/>
            </a:xfrm>
          </p:grpSpPr>
          <p:sp>
            <p:nvSpPr>
              <p:cNvPr id="20" name="Freeform 26">
                <a:extLst>
                  <a:ext uri="{FF2B5EF4-FFF2-40B4-BE49-F238E27FC236}">
                    <a16:creationId xmlns:a16="http://schemas.microsoft.com/office/drawing/2014/main" id="{DE9CE294-9478-48BB-90F9-299CB8FE6A0C}"/>
                  </a:ext>
                </a:extLst>
              </p:cNvPr>
              <p:cNvSpPr>
                <a:spLocks/>
              </p:cNvSpPr>
              <p:nvPr/>
            </p:nvSpPr>
            <p:spPr bwMode="auto">
              <a:xfrm>
                <a:off x="6996944" y="4128546"/>
                <a:ext cx="223336" cy="241767"/>
              </a:xfrm>
              <a:custGeom>
                <a:avLst/>
                <a:gdLst>
                  <a:gd name="T0" fmla="*/ 116 w 120"/>
                  <a:gd name="T1" fmla="*/ 65 h 130"/>
                  <a:gd name="T2" fmla="*/ 84 w 120"/>
                  <a:gd name="T3" fmla="*/ 130 h 130"/>
                  <a:gd name="T4" fmla="*/ 19 w 120"/>
                  <a:gd name="T5" fmla="*/ 65 h 130"/>
                  <a:gd name="T6" fmla="*/ 84 w 120"/>
                  <a:gd name="T7" fmla="*/ 0 h 130"/>
                  <a:gd name="T8" fmla="*/ 116 w 120"/>
                  <a:gd name="T9" fmla="*/ 65 h 130"/>
                </a:gdLst>
                <a:ahLst/>
                <a:cxnLst>
                  <a:cxn ang="0">
                    <a:pos x="T0" y="T1"/>
                  </a:cxn>
                  <a:cxn ang="0">
                    <a:pos x="T2" y="T3"/>
                  </a:cxn>
                  <a:cxn ang="0">
                    <a:pos x="T4" y="T5"/>
                  </a:cxn>
                  <a:cxn ang="0">
                    <a:pos x="T6" y="T7"/>
                  </a:cxn>
                  <a:cxn ang="0">
                    <a:pos x="T8" y="T9"/>
                  </a:cxn>
                </a:cxnLst>
                <a:rect l="0" t="0" r="r" b="b"/>
                <a:pathLst>
                  <a:path w="120" h="130">
                    <a:moveTo>
                      <a:pt x="116" y="65"/>
                    </a:moveTo>
                    <a:cubicBezTo>
                      <a:pt x="116" y="101"/>
                      <a:pt x="120" y="130"/>
                      <a:pt x="84" y="130"/>
                    </a:cubicBezTo>
                    <a:cubicBezTo>
                      <a:pt x="48" y="130"/>
                      <a:pt x="19" y="101"/>
                      <a:pt x="19" y="65"/>
                    </a:cubicBezTo>
                    <a:cubicBezTo>
                      <a:pt x="19" y="29"/>
                      <a:pt x="0" y="0"/>
                      <a:pt x="84" y="0"/>
                    </a:cubicBezTo>
                    <a:cubicBezTo>
                      <a:pt x="120" y="0"/>
                      <a:pt x="116" y="29"/>
                      <a:pt x="116" y="65"/>
                    </a:cubicBezTo>
                    <a:close/>
                  </a:path>
                </a:pathLst>
              </a:custGeom>
              <a:solidFill>
                <a:srgbClr val="E297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1" name="Freeform 27">
                <a:extLst>
                  <a:ext uri="{FF2B5EF4-FFF2-40B4-BE49-F238E27FC236}">
                    <a16:creationId xmlns:a16="http://schemas.microsoft.com/office/drawing/2014/main" id="{DAFA9EA3-819B-4EE5-8C7E-7FCCAA1EDBCD}"/>
                  </a:ext>
                </a:extLst>
              </p:cNvPr>
              <p:cNvSpPr>
                <a:spLocks/>
              </p:cNvSpPr>
              <p:nvPr/>
            </p:nvSpPr>
            <p:spPr bwMode="auto">
              <a:xfrm>
                <a:off x="7025132" y="4315021"/>
                <a:ext cx="122510" cy="94322"/>
              </a:xfrm>
              <a:custGeom>
                <a:avLst/>
                <a:gdLst>
                  <a:gd name="T0" fmla="*/ 25 w 66"/>
                  <a:gd name="T1" fmla="*/ 0 h 51"/>
                  <a:gd name="T2" fmla="*/ 0 w 66"/>
                  <a:gd name="T3" fmla="*/ 19 h 51"/>
                  <a:gd name="T4" fmla="*/ 46 w 66"/>
                  <a:gd name="T5" fmla="*/ 49 h 51"/>
                  <a:gd name="T6" fmla="*/ 66 w 66"/>
                  <a:gd name="T7" fmla="*/ 19 h 51"/>
                  <a:gd name="T8" fmla="*/ 25 w 66"/>
                  <a:gd name="T9" fmla="*/ 0 h 51"/>
                </a:gdLst>
                <a:ahLst/>
                <a:cxnLst>
                  <a:cxn ang="0">
                    <a:pos x="T0" y="T1"/>
                  </a:cxn>
                  <a:cxn ang="0">
                    <a:pos x="T2" y="T3"/>
                  </a:cxn>
                  <a:cxn ang="0">
                    <a:pos x="T4" y="T5"/>
                  </a:cxn>
                  <a:cxn ang="0">
                    <a:pos x="T6" y="T7"/>
                  </a:cxn>
                  <a:cxn ang="0">
                    <a:pos x="T8" y="T9"/>
                  </a:cxn>
                </a:cxnLst>
                <a:rect l="0" t="0" r="r" b="b"/>
                <a:pathLst>
                  <a:path w="66" h="51">
                    <a:moveTo>
                      <a:pt x="25" y="0"/>
                    </a:moveTo>
                    <a:cubicBezTo>
                      <a:pt x="0" y="19"/>
                      <a:pt x="0" y="19"/>
                      <a:pt x="0" y="19"/>
                    </a:cubicBezTo>
                    <a:cubicBezTo>
                      <a:pt x="0" y="19"/>
                      <a:pt x="34" y="51"/>
                      <a:pt x="46" y="49"/>
                    </a:cubicBezTo>
                    <a:cubicBezTo>
                      <a:pt x="53" y="48"/>
                      <a:pt x="66" y="19"/>
                      <a:pt x="66" y="19"/>
                    </a:cubicBezTo>
                    <a:lnTo>
                      <a:pt x="25" y="0"/>
                    </a:lnTo>
                    <a:close/>
                  </a:path>
                </a:pathLst>
              </a:custGeom>
              <a:solidFill>
                <a:srgbClr val="E297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2" name="Freeform 28">
                <a:extLst>
                  <a:ext uri="{FF2B5EF4-FFF2-40B4-BE49-F238E27FC236}">
                    <a16:creationId xmlns:a16="http://schemas.microsoft.com/office/drawing/2014/main" id="{A1B1EA1D-46EE-498E-954C-A9A9407B8A72}"/>
                  </a:ext>
                </a:extLst>
              </p:cNvPr>
              <p:cNvSpPr>
                <a:spLocks/>
              </p:cNvSpPr>
              <p:nvPr/>
            </p:nvSpPr>
            <p:spPr bwMode="auto">
              <a:xfrm>
                <a:off x="7511918" y="4569797"/>
                <a:ext cx="60713" cy="145277"/>
              </a:xfrm>
              <a:custGeom>
                <a:avLst/>
                <a:gdLst>
                  <a:gd name="T0" fmla="*/ 11 w 33"/>
                  <a:gd name="T1" fmla="*/ 64 h 78"/>
                  <a:gd name="T2" fmla="*/ 28 w 33"/>
                  <a:gd name="T3" fmla="*/ 70 h 78"/>
                  <a:gd name="T4" fmla="*/ 28 w 33"/>
                  <a:gd name="T5" fmla="*/ 0 h 78"/>
                  <a:gd name="T6" fmla="*/ 8 w 33"/>
                  <a:gd name="T7" fmla="*/ 47 h 78"/>
                  <a:gd name="T8" fmla="*/ 11 w 33"/>
                  <a:gd name="T9" fmla="*/ 64 h 78"/>
                </a:gdLst>
                <a:ahLst/>
                <a:cxnLst>
                  <a:cxn ang="0">
                    <a:pos x="T0" y="T1"/>
                  </a:cxn>
                  <a:cxn ang="0">
                    <a:pos x="T2" y="T3"/>
                  </a:cxn>
                  <a:cxn ang="0">
                    <a:pos x="T4" y="T5"/>
                  </a:cxn>
                  <a:cxn ang="0">
                    <a:pos x="T6" y="T7"/>
                  </a:cxn>
                  <a:cxn ang="0">
                    <a:pos x="T8" y="T9"/>
                  </a:cxn>
                </a:cxnLst>
                <a:rect l="0" t="0" r="r" b="b"/>
                <a:pathLst>
                  <a:path w="33" h="78">
                    <a:moveTo>
                      <a:pt x="11" y="64"/>
                    </a:moveTo>
                    <a:cubicBezTo>
                      <a:pt x="11" y="64"/>
                      <a:pt x="22" y="78"/>
                      <a:pt x="28" y="70"/>
                    </a:cubicBezTo>
                    <a:cubicBezTo>
                      <a:pt x="33" y="62"/>
                      <a:pt x="32" y="0"/>
                      <a:pt x="28" y="0"/>
                    </a:cubicBezTo>
                    <a:cubicBezTo>
                      <a:pt x="23" y="0"/>
                      <a:pt x="17" y="43"/>
                      <a:pt x="8" y="47"/>
                    </a:cubicBezTo>
                    <a:cubicBezTo>
                      <a:pt x="0" y="51"/>
                      <a:pt x="11" y="64"/>
                      <a:pt x="11" y="64"/>
                    </a:cubicBezTo>
                    <a:close/>
                  </a:path>
                </a:pathLst>
              </a:custGeom>
              <a:solidFill>
                <a:srgbClr val="E297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3" name="Freeform 29">
                <a:extLst>
                  <a:ext uri="{FF2B5EF4-FFF2-40B4-BE49-F238E27FC236}">
                    <a16:creationId xmlns:a16="http://schemas.microsoft.com/office/drawing/2014/main" id="{5C28C070-5B35-4A0D-A82D-DB484682B5F7}"/>
                  </a:ext>
                </a:extLst>
              </p:cNvPr>
              <p:cNvSpPr>
                <a:spLocks/>
              </p:cNvSpPr>
              <p:nvPr/>
            </p:nvSpPr>
            <p:spPr bwMode="auto">
              <a:xfrm>
                <a:off x="6931895" y="4367060"/>
                <a:ext cx="594118" cy="441252"/>
              </a:xfrm>
              <a:custGeom>
                <a:avLst/>
                <a:gdLst>
                  <a:gd name="T0" fmla="*/ 74 w 320"/>
                  <a:gd name="T1" fmla="*/ 38 h 237"/>
                  <a:gd name="T2" fmla="*/ 320 w 320"/>
                  <a:gd name="T3" fmla="*/ 149 h 237"/>
                  <a:gd name="T4" fmla="*/ 318 w 320"/>
                  <a:gd name="T5" fmla="*/ 175 h 237"/>
                  <a:gd name="T6" fmla="*/ 31 w 320"/>
                  <a:gd name="T7" fmla="*/ 100 h 237"/>
                  <a:gd name="T8" fmla="*/ 22 w 320"/>
                  <a:gd name="T9" fmla="*/ 36 h 237"/>
                  <a:gd name="T10" fmla="*/ 74 w 320"/>
                  <a:gd name="T11" fmla="*/ 38 h 237"/>
                </a:gdLst>
                <a:ahLst/>
                <a:cxnLst>
                  <a:cxn ang="0">
                    <a:pos x="T0" y="T1"/>
                  </a:cxn>
                  <a:cxn ang="0">
                    <a:pos x="T2" y="T3"/>
                  </a:cxn>
                  <a:cxn ang="0">
                    <a:pos x="T4" y="T5"/>
                  </a:cxn>
                  <a:cxn ang="0">
                    <a:pos x="T6" y="T7"/>
                  </a:cxn>
                  <a:cxn ang="0">
                    <a:pos x="T8" y="T9"/>
                  </a:cxn>
                  <a:cxn ang="0">
                    <a:pos x="T10" y="T11"/>
                  </a:cxn>
                </a:cxnLst>
                <a:rect l="0" t="0" r="r" b="b"/>
                <a:pathLst>
                  <a:path w="320" h="237">
                    <a:moveTo>
                      <a:pt x="74" y="38"/>
                    </a:moveTo>
                    <a:cubicBezTo>
                      <a:pt x="74" y="38"/>
                      <a:pt x="162" y="171"/>
                      <a:pt x="320" y="149"/>
                    </a:cubicBezTo>
                    <a:cubicBezTo>
                      <a:pt x="318" y="175"/>
                      <a:pt x="318" y="175"/>
                      <a:pt x="318" y="175"/>
                    </a:cubicBezTo>
                    <a:cubicBezTo>
                      <a:pt x="318" y="175"/>
                      <a:pt x="159" y="237"/>
                      <a:pt x="31" y="100"/>
                    </a:cubicBezTo>
                    <a:cubicBezTo>
                      <a:pt x="31" y="100"/>
                      <a:pt x="0" y="71"/>
                      <a:pt x="22" y="36"/>
                    </a:cubicBezTo>
                    <a:cubicBezTo>
                      <a:pt x="43" y="0"/>
                      <a:pt x="74" y="38"/>
                      <a:pt x="74" y="38"/>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4" name="Freeform 30">
                <a:extLst>
                  <a:ext uri="{FF2B5EF4-FFF2-40B4-BE49-F238E27FC236}">
                    <a16:creationId xmlns:a16="http://schemas.microsoft.com/office/drawing/2014/main" id="{478CB4A8-416C-4F34-A2DE-6020731B0AC8}"/>
                  </a:ext>
                </a:extLst>
              </p:cNvPr>
              <p:cNvSpPr>
                <a:spLocks/>
              </p:cNvSpPr>
              <p:nvPr/>
            </p:nvSpPr>
            <p:spPr bwMode="auto">
              <a:xfrm>
                <a:off x="6603395" y="4597986"/>
                <a:ext cx="362108" cy="894429"/>
              </a:xfrm>
              <a:custGeom>
                <a:avLst/>
                <a:gdLst>
                  <a:gd name="T0" fmla="*/ 103 w 195"/>
                  <a:gd name="T1" fmla="*/ 0 h 481"/>
                  <a:gd name="T2" fmla="*/ 110 w 195"/>
                  <a:gd name="T3" fmla="*/ 271 h 481"/>
                  <a:gd name="T4" fmla="*/ 56 w 195"/>
                  <a:gd name="T5" fmla="*/ 481 h 481"/>
                  <a:gd name="T6" fmla="*/ 81 w 195"/>
                  <a:gd name="T7" fmla="*/ 481 h 481"/>
                  <a:gd name="T8" fmla="*/ 188 w 195"/>
                  <a:gd name="T9" fmla="*/ 271 h 481"/>
                  <a:gd name="T10" fmla="*/ 163 w 195"/>
                  <a:gd name="T11" fmla="*/ 64 h 481"/>
                  <a:gd name="T12" fmla="*/ 103 w 195"/>
                  <a:gd name="T13" fmla="*/ 0 h 481"/>
                </a:gdLst>
                <a:ahLst/>
                <a:cxnLst>
                  <a:cxn ang="0">
                    <a:pos x="T0" y="T1"/>
                  </a:cxn>
                  <a:cxn ang="0">
                    <a:pos x="T2" y="T3"/>
                  </a:cxn>
                  <a:cxn ang="0">
                    <a:pos x="T4" y="T5"/>
                  </a:cxn>
                  <a:cxn ang="0">
                    <a:pos x="T6" y="T7"/>
                  </a:cxn>
                  <a:cxn ang="0">
                    <a:pos x="T8" y="T9"/>
                  </a:cxn>
                  <a:cxn ang="0">
                    <a:pos x="T10" y="T11"/>
                  </a:cxn>
                  <a:cxn ang="0">
                    <a:pos x="T12" y="T13"/>
                  </a:cxn>
                </a:cxnLst>
                <a:rect l="0" t="0" r="r" b="b"/>
                <a:pathLst>
                  <a:path w="195" h="481">
                    <a:moveTo>
                      <a:pt x="103" y="0"/>
                    </a:moveTo>
                    <a:cubicBezTo>
                      <a:pt x="103" y="0"/>
                      <a:pt x="0" y="157"/>
                      <a:pt x="110" y="271"/>
                    </a:cubicBezTo>
                    <a:cubicBezTo>
                      <a:pt x="110" y="271"/>
                      <a:pt x="56" y="431"/>
                      <a:pt x="56" y="481"/>
                    </a:cubicBezTo>
                    <a:cubicBezTo>
                      <a:pt x="81" y="481"/>
                      <a:pt x="81" y="481"/>
                      <a:pt x="81" y="481"/>
                    </a:cubicBezTo>
                    <a:cubicBezTo>
                      <a:pt x="81" y="481"/>
                      <a:pt x="181" y="292"/>
                      <a:pt x="188" y="271"/>
                    </a:cubicBezTo>
                    <a:cubicBezTo>
                      <a:pt x="195" y="249"/>
                      <a:pt x="135" y="128"/>
                      <a:pt x="163" y="64"/>
                    </a:cubicBezTo>
                    <a:lnTo>
                      <a:pt x="103" y="0"/>
                    </a:lnTo>
                    <a:close/>
                  </a:path>
                </a:pathLst>
              </a:custGeom>
              <a:solidFill>
                <a:srgbClr val="0910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5" name="Freeform 31">
                <a:extLst>
                  <a:ext uri="{FF2B5EF4-FFF2-40B4-BE49-F238E27FC236}">
                    <a16:creationId xmlns:a16="http://schemas.microsoft.com/office/drawing/2014/main" id="{3C964ED0-AB71-471D-B68D-056FF6856CBC}"/>
                  </a:ext>
                </a:extLst>
              </p:cNvPr>
              <p:cNvSpPr>
                <a:spLocks/>
              </p:cNvSpPr>
              <p:nvPr/>
            </p:nvSpPr>
            <p:spPr bwMode="auto">
              <a:xfrm>
                <a:off x="6777944" y="4743262"/>
                <a:ext cx="499796" cy="697112"/>
              </a:xfrm>
              <a:custGeom>
                <a:avLst/>
                <a:gdLst>
                  <a:gd name="T0" fmla="*/ 0 w 269"/>
                  <a:gd name="T1" fmla="*/ 0 h 375"/>
                  <a:gd name="T2" fmla="*/ 176 w 269"/>
                  <a:gd name="T3" fmla="*/ 194 h 375"/>
                  <a:gd name="T4" fmla="*/ 250 w 269"/>
                  <a:gd name="T5" fmla="*/ 375 h 375"/>
                  <a:gd name="T6" fmla="*/ 269 w 269"/>
                  <a:gd name="T7" fmla="*/ 360 h 375"/>
                  <a:gd name="T8" fmla="*/ 235 w 269"/>
                  <a:gd name="T9" fmla="*/ 159 h 375"/>
                  <a:gd name="T10" fmla="*/ 87 w 269"/>
                  <a:gd name="T11" fmla="*/ 13 h 375"/>
                  <a:gd name="T12" fmla="*/ 0 w 269"/>
                  <a:gd name="T13" fmla="*/ 0 h 375"/>
                </a:gdLst>
                <a:ahLst/>
                <a:cxnLst>
                  <a:cxn ang="0">
                    <a:pos x="T0" y="T1"/>
                  </a:cxn>
                  <a:cxn ang="0">
                    <a:pos x="T2" y="T3"/>
                  </a:cxn>
                  <a:cxn ang="0">
                    <a:pos x="T4" y="T5"/>
                  </a:cxn>
                  <a:cxn ang="0">
                    <a:pos x="T6" y="T7"/>
                  </a:cxn>
                  <a:cxn ang="0">
                    <a:pos x="T8" y="T9"/>
                  </a:cxn>
                  <a:cxn ang="0">
                    <a:pos x="T10" y="T11"/>
                  </a:cxn>
                  <a:cxn ang="0">
                    <a:pos x="T12" y="T13"/>
                  </a:cxn>
                </a:cxnLst>
                <a:rect l="0" t="0" r="r" b="b"/>
                <a:pathLst>
                  <a:path w="269" h="375">
                    <a:moveTo>
                      <a:pt x="0" y="0"/>
                    </a:moveTo>
                    <a:cubicBezTo>
                      <a:pt x="0" y="0"/>
                      <a:pt x="16" y="162"/>
                      <a:pt x="176" y="194"/>
                    </a:cubicBezTo>
                    <a:cubicBezTo>
                      <a:pt x="176" y="194"/>
                      <a:pt x="219" y="336"/>
                      <a:pt x="250" y="375"/>
                    </a:cubicBezTo>
                    <a:cubicBezTo>
                      <a:pt x="269" y="360"/>
                      <a:pt x="269" y="360"/>
                      <a:pt x="269" y="360"/>
                    </a:cubicBezTo>
                    <a:cubicBezTo>
                      <a:pt x="269" y="360"/>
                      <a:pt x="243" y="181"/>
                      <a:pt x="235" y="159"/>
                    </a:cubicBezTo>
                    <a:cubicBezTo>
                      <a:pt x="227" y="138"/>
                      <a:pt x="105" y="81"/>
                      <a:pt x="87" y="13"/>
                    </a:cubicBezTo>
                    <a:lnTo>
                      <a:pt x="0" y="0"/>
                    </a:lnTo>
                    <a:close/>
                  </a:path>
                </a:pathLst>
              </a:custGeom>
              <a:solidFill>
                <a:srgbClr val="0910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6" name="Freeform 32">
                <a:extLst>
                  <a:ext uri="{FF2B5EF4-FFF2-40B4-BE49-F238E27FC236}">
                    <a16:creationId xmlns:a16="http://schemas.microsoft.com/office/drawing/2014/main" id="{64C3692E-BA71-497E-8871-FA0B8253E752}"/>
                  </a:ext>
                </a:extLst>
              </p:cNvPr>
              <p:cNvSpPr>
                <a:spLocks/>
              </p:cNvSpPr>
              <p:nvPr/>
            </p:nvSpPr>
            <p:spPr bwMode="auto">
              <a:xfrm>
                <a:off x="6694464" y="4333451"/>
                <a:ext cx="430410" cy="567014"/>
              </a:xfrm>
              <a:custGeom>
                <a:avLst/>
                <a:gdLst>
                  <a:gd name="T0" fmla="*/ 182 w 232"/>
                  <a:gd name="T1" fmla="*/ 0 h 305"/>
                  <a:gd name="T2" fmla="*/ 0 w 232"/>
                  <a:gd name="T3" fmla="*/ 221 h 305"/>
                  <a:gd name="T4" fmla="*/ 172 w 232"/>
                  <a:gd name="T5" fmla="*/ 292 h 305"/>
                  <a:gd name="T6" fmla="*/ 232 w 232"/>
                  <a:gd name="T7" fmla="*/ 34 h 305"/>
                  <a:gd name="T8" fmla="*/ 182 w 232"/>
                  <a:gd name="T9" fmla="*/ 0 h 305"/>
                </a:gdLst>
                <a:ahLst/>
                <a:cxnLst>
                  <a:cxn ang="0">
                    <a:pos x="T0" y="T1"/>
                  </a:cxn>
                  <a:cxn ang="0">
                    <a:pos x="T2" y="T3"/>
                  </a:cxn>
                  <a:cxn ang="0">
                    <a:pos x="T4" y="T5"/>
                  </a:cxn>
                  <a:cxn ang="0">
                    <a:pos x="T6" y="T7"/>
                  </a:cxn>
                  <a:cxn ang="0">
                    <a:pos x="T8" y="T9"/>
                  </a:cxn>
                </a:cxnLst>
                <a:rect l="0" t="0" r="r" b="b"/>
                <a:pathLst>
                  <a:path w="232" h="305">
                    <a:moveTo>
                      <a:pt x="182" y="0"/>
                    </a:moveTo>
                    <a:cubicBezTo>
                      <a:pt x="182" y="0"/>
                      <a:pt x="66" y="56"/>
                      <a:pt x="0" y="221"/>
                    </a:cubicBezTo>
                    <a:cubicBezTo>
                      <a:pt x="0" y="221"/>
                      <a:pt x="107" y="305"/>
                      <a:pt x="172" y="292"/>
                    </a:cubicBezTo>
                    <a:cubicBezTo>
                      <a:pt x="172" y="292"/>
                      <a:pt x="163" y="145"/>
                      <a:pt x="232" y="34"/>
                    </a:cubicBezTo>
                    <a:cubicBezTo>
                      <a:pt x="232" y="34"/>
                      <a:pt x="190" y="21"/>
                      <a:pt x="182" y="0"/>
                    </a:cubicBezTo>
                    <a:close/>
                  </a:path>
                </a:pathLst>
              </a:custGeom>
              <a:solidFill>
                <a:schemeClr val="accent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7" name="Freeform 33">
                <a:extLst>
                  <a:ext uri="{FF2B5EF4-FFF2-40B4-BE49-F238E27FC236}">
                    <a16:creationId xmlns:a16="http://schemas.microsoft.com/office/drawing/2014/main" id="{D6E30015-8286-40B2-9098-3BBEFD80DFFF}"/>
                  </a:ext>
                </a:extLst>
              </p:cNvPr>
              <p:cNvSpPr>
                <a:spLocks/>
              </p:cNvSpPr>
              <p:nvPr/>
            </p:nvSpPr>
            <p:spPr bwMode="auto">
              <a:xfrm>
                <a:off x="7387240" y="4506916"/>
                <a:ext cx="125762" cy="81312"/>
              </a:xfrm>
              <a:custGeom>
                <a:avLst/>
                <a:gdLst>
                  <a:gd name="T0" fmla="*/ 0 w 68"/>
                  <a:gd name="T1" fmla="*/ 29 h 44"/>
                  <a:gd name="T2" fmla="*/ 21 w 68"/>
                  <a:gd name="T3" fmla="*/ 1 h 44"/>
                  <a:gd name="T4" fmla="*/ 20 w 68"/>
                  <a:gd name="T5" fmla="*/ 16 h 44"/>
                  <a:gd name="T6" fmla="*/ 67 w 68"/>
                  <a:gd name="T7" fmla="*/ 32 h 44"/>
                  <a:gd name="T8" fmla="*/ 9 w 68"/>
                  <a:gd name="T9" fmla="*/ 44 h 44"/>
                  <a:gd name="T10" fmla="*/ 0 w 68"/>
                  <a:gd name="T11" fmla="*/ 29 h 44"/>
                </a:gdLst>
                <a:ahLst/>
                <a:cxnLst>
                  <a:cxn ang="0">
                    <a:pos x="T0" y="T1"/>
                  </a:cxn>
                  <a:cxn ang="0">
                    <a:pos x="T2" y="T3"/>
                  </a:cxn>
                  <a:cxn ang="0">
                    <a:pos x="T4" y="T5"/>
                  </a:cxn>
                  <a:cxn ang="0">
                    <a:pos x="T6" y="T7"/>
                  </a:cxn>
                  <a:cxn ang="0">
                    <a:pos x="T8" y="T9"/>
                  </a:cxn>
                  <a:cxn ang="0">
                    <a:pos x="T10" y="T11"/>
                  </a:cxn>
                </a:cxnLst>
                <a:rect l="0" t="0" r="r" b="b"/>
                <a:pathLst>
                  <a:path w="68" h="44">
                    <a:moveTo>
                      <a:pt x="0" y="29"/>
                    </a:moveTo>
                    <a:cubicBezTo>
                      <a:pt x="0" y="29"/>
                      <a:pt x="16" y="0"/>
                      <a:pt x="21" y="1"/>
                    </a:cubicBezTo>
                    <a:cubicBezTo>
                      <a:pt x="26" y="2"/>
                      <a:pt x="20" y="16"/>
                      <a:pt x="20" y="16"/>
                    </a:cubicBezTo>
                    <a:cubicBezTo>
                      <a:pt x="20" y="16"/>
                      <a:pt x="66" y="27"/>
                      <a:pt x="67" y="32"/>
                    </a:cubicBezTo>
                    <a:cubicBezTo>
                      <a:pt x="68" y="36"/>
                      <a:pt x="9" y="44"/>
                      <a:pt x="9" y="44"/>
                    </a:cubicBezTo>
                    <a:lnTo>
                      <a:pt x="0" y="29"/>
                    </a:lnTo>
                    <a:close/>
                  </a:path>
                </a:pathLst>
              </a:custGeom>
              <a:solidFill>
                <a:srgbClr val="E297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8" name="Freeform 34">
                <a:extLst>
                  <a:ext uri="{FF2B5EF4-FFF2-40B4-BE49-F238E27FC236}">
                    <a16:creationId xmlns:a16="http://schemas.microsoft.com/office/drawing/2014/main" id="{B318042B-7B88-4978-A02A-3EBA6BF0E74B}"/>
                  </a:ext>
                </a:extLst>
              </p:cNvPr>
              <p:cNvSpPr>
                <a:spLocks/>
              </p:cNvSpPr>
              <p:nvPr/>
            </p:nvSpPr>
            <p:spPr bwMode="auto">
              <a:xfrm>
                <a:off x="6915632" y="4341041"/>
                <a:ext cx="487871" cy="418484"/>
              </a:xfrm>
              <a:custGeom>
                <a:avLst/>
                <a:gdLst>
                  <a:gd name="T0" fmla="*/ 14 w 263"/>
                  <a:gd name="T1" fmla="*/ 57 h 225"/>
                  <a:gd name="T2" fmla="*/ 111 w 263"/>
                  <a:gd name="T3" fmla="*/ 194 h 225"/>
                  <a:gd name="T4" fmla="*/ 263 w 263"/>
                  <a:gd name="T5" fmla="*/ 133 h 225"/>
                  <a:gd name="T6" fmla="*/ 254 w 263"/>
                  <a:gd name="T7" fmla="*/ 114 h 225"/>
                  <a:gd name="T8" fmla="*/ 152 w 263"/>
                  <a:gd name="T9" fmla="*/ 142 h 225"/>
                  <a:gd name="T10" fmla="*/ 78 w 263"/>
                  <a:gd name="T11" fmla="*/ 28 h 225"/>
                  <a:gd name="T12" fmla="*/ 26 w 263"/>
                  <a:gd name="T13" fmla="*/ 14 h 225"/>
                  <a:gd name="T14" fmla="*/ 14 w 263"/>
                  <a:gd name="T15" fmla="*/ 57 h 2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3" h="225">
                    <a:moveTo>
                      <a:pt x="14" y="57"/>
                    </a:moveTo>
                    <a:cubicBezTo>
                      <a:pt x="14" y="57"/>
                      <a:pt x="73" y="163"/>
                      <a:pt x="111" y="194"/>
                    </a:cubicBezTo>
                    <a:cubicBezTo>
                      <a:pt x="149" y="225"/>
                      <a:pt x="263" y="133"/>
                      <a:pt x="263" y="133"/>
                    </a:cubicBezTo>
                    <a:cubicBezTo>
                      <a:pt x="254" y="114"/>
                      <a:pt x="254" y="114"/>
                      <a:pt x="254" y="114"/>
                    </a:cubicBezTo>
                    <a:cubicBezTo>
                      <a:pt x="152" y="142"/>
                      <a:pt x="152" y="142"/>
                      <a:pt x="152" y="142"/>
                    </a:cubicBezTo>
                    <a:cubicBezTo>
                      <a:pt x="78" y="28"/>
                      <a:pt x="78" y="28"/>
                      <a:pt x="78" y="28"/>
                    </a:cubicBezTo>
                    <a:cubicBezTo>
                      <a:pt x="78" y="28"/>
                      <a:pt x="52" y="0"/>
                      <a:pt x="26" y="14"/>
                    </a:cubicBezTo>
                    <a:cubicBezTo>
                      <a:pt x="0" y="28"/>
                      <a:pt x="14" y="57"/>
                      <a:pt x="14" y="57"/>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9" name="Freeform 35">
                <a:extLst>
                  <a:ext uri="{FF2B5EF4-FFF2-40B4-BE49-F238E27FC236}">
                    <a16:creationId xmlns:a16="http://schemas.microsoft.com/office/drawing/2014/main" id="{4BFF8547-7193-4FAF-AEB8-48F6B9C4646D}"/>
                  </a:ext>
                </a:extLst>
              </p:cNvPr>
              <p:cNvSpPr>
                <a:spLocks/>
              </p:cNvSpPr>
              <p:nvPr/>
            </p:nvSpPr>
            <p:spPr bwMode="auto">
              <a:xfrm>
                <a:off x="6692296" y="5492414"/>
                <a:ext cx="132267" cy="59629"/>
              </a:xfrm>
              <a:custGeom>
                <a:avLst/>
                <a:gdLst>
                  <a:gd name="T0" fmla="*/ 33 w 71"/>
                  <a:gd name="T1" fmla="*/ 0 h 32"/>
                  <a:gd name="T2" fmla="*/ 64 w 71"/>
                  <a:gd name="T3" fmla="*/ 24 h 32"/>
                  <a:gd name="T4" fmla="*/ 7 w 71"/>
                  <a:gd name="T5" fmla="*/ 19 h 32"/>
                  <a:gd name="T6" fmla="*/ 8 w 71"/>
                  <a:gd name="T7" fmla="*/ 0 h 32"/>
                  <a:gd name="T8" fmla="*/ 33 w 71"/>
                  <a:gd name="T9" fmla="*/ 0 h 32"/>
                </a:gdLst>
                <a:ahLst/>
                <a:cxnLst>
                  <a:cxn ang="0">
                    <a:pos x="T0" y="T1"/>
                  </a:cxn>
                  <a:cxn ang="0">
                    <a:pos x="T2" y="T3"/>
                  </a:cxn>
                  <a:cxn ang="0">
                    <a:pos x="T4" y="T5"/>
                  </a:cxn>
                  <a:cxn ang="0">
                    <a:pos x="T6" y="T7"/>
                  </a:cxn>
                  <a:cxn ang="0">
                    <a:pos x="T8" y="T9"/>
                  </a:cxn>
                </a:cxnLst>
                <a:rect l="0" t="0" r="r" b="b"/>
                <a:pathLst>
                  <a:path w="71" h="32">
                    <a:moveTo>
                      <a:pt x="33" y="0"/>
                    </a:moveTo>
                    <a:cubicBezTo>
                      <a:pt x="33" y="0"/>
                      <a:pt x="48" y="21"/>
                      <a:pt x="64" y="24"/>
                    </a:cubicBezTo>
                    <a:cubicBezTo>
                      <a:pt x="71" y="32"/>
                      <a:pt x="19" y="28"/>
                      <a:pt x="7" y="19"/>
                    </a:cubicBezTo>
                    <a:cubicBezTo>
                      <a:pt x="0" y="14"/>
                      <a:pt x="8" y="0"/>
                      <a:pt x="8" y="0"/>
                    </a:cubicBezTo>
                    <a:lnTo>
                      <a:pt x="33" y="0"/>
                    </a:lnTo>
                    <a:close/>
                  </a:path>
                </a:pathLst>
              </a:custGeom>
              <a:solidFill>
                <a:srgbClr val="0910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0" name="Freeform 36">
                <a:extLst>
                  <a:ext uri="{FF2B5EF4-FFF2-40B4-BE49-F238E27FC236}">
                    <a16:creationId xmlns:a16="http://schemas.microsoft.com/office/drawing/2014/main" id="{BFCD9020-2D9A-46A2-BE87-57EDC521763A}"/>
                  </a:ext>
                </a:extLst>
              </p:cNvPr>
              <p:cNvSpPr>
                <a:spLocks/>
              </p:cNvSpPr>
              <p:nvPr/>
            </p:nvSpPr>
            <p:spPr bwMode="auto">
              <a:xfrm>
                <a:off x="7240879" y="5399177"/>
                <a:ext cx="122510" cy="68302"/>
              </a:xfrm>
              <a:custGeom>
                <a:avLst/>
                <a:gdLst>
                  <a:gd name="T0" fmla="*/ 17 w 66"/>
                  <a:gd name="T1" fmla="*/ 3 h 37"/>
                  <a:gd name="T2" fmla="*/ 56 w 66"/>
                  <a:gd name="T3" fmla="*/ 0 h 37"/>
                  <a:gd name="T4" fmla="*/ 12 w 66"/>
                  <a:gd name="T5" fmla="*/ 36 h 37"/>
                  <a:gd name="T6" fmla="*/ 0 w 66"/>
                  <a:gd name="T7" fmla="*/ 21 h 37"/>
                  <a:gd name="T8" fmla="*/ 17 w 66"/>
                  <a:gd name="T9" fmla="*/ 3 h 37"/>
                </a:gdLst>
                <a:ahLst/>
                <a:cxnLst>
                  <a:cxn ang="0">
                    <a:pos x="T0" y="T1"/>
                  </a:cxn>
                  <a:cxn ang="0">
                    <a:pos x="T2" y="T3"/>
                  </a:cxn>
                  <a:cxn ang="0">
                    <a:pos x="T4" y="T5"/>
                  </a:cxn>
                  <a:cxn ang="0">
                    <a:pos x="T6" y="T7"/>
                  </a:cxn>
                  <a:cxn ang="0">
                    <a:pos x="T8" y="T9"/>
                  </a:cxn>
                </a:cxnLst>
                <a:rect l="0" t="0" r="r" b="b"/>
                <a:pathLst>
                  <a:path w="66" h="37">
                    <a:moveTo>
                      <a:pt x="17" y="3"/>
                    </a:moveTo>
                    <a:cubicBezTo>
                      <a:pt x="17" y="3"/>
                      <a:pt x="42" y="8"/>
                      <a:pt x="56" y="0"/>
                    </a:cubicBezTo>
                    <a:cubicBezTo>
                      <a:pt x="66" y="0"/>
                      <a:pt x="27" y="33"/>
                      <a:pt x="12" y="36"/>
                    </a:cubicBezTo>
                    <a:cubicBezTo>
                      <a:pt x="3" y="37"/>
                      <a:pt x="0" y="21"/>
                      <a:pt x="0" y="21"/>
                    </a:cubicBezTo>
                    <a:lnTo>
                      <a:pt x="17" y="3"/>
                    </a:lnTo>
                    <a:close/>
                  </a:path>
                </a:pathLst>
              </a:custGeom>
              <a:solidFill>
                <a:srgbClr val="0910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1" name="Freeform 37">
                <a:extLst>
                  <a:ext uri="{FF2B5EF4-FFF2-40B4-BE49-F238E27FC236}">
                    <a16:creationId xmlns:a16="http://schemas.microsoft.com/office/drawing/2014/main" id="{87ECFD86-F9ED-4FA8-AF22-87ACFBDD87A5}"/>
                  </a:ext>
                </a:extLst>
              </p:cNvPr>
              <p:cNvSpPr>
                <a:spLocks/>
              </p:cNvSpPr>
              <p:nvPr/>
            </p:nvSpPr>
            <p:spPr bwMode="auto">
              <a:xfrm>
                <a:off x="6989355" y="4073254"/>
                <a:ext cx="238515" cy="241767"/>
              </a:xfrm>
              <a:custGeom>
                <a:avLst/>
                <a:gdLst>
                  <a:gd name="T0" fmla="*/ 51 w 128"/>
                  <a:gd name="T1" fmla="*/ 53 h 130"/>
                  <a:gd name="T2" fmla="*/ 128 w 128"/>
                  <a:gd name="T3" fmla="*/ 44 h 130"/>
                  <a:gd name="T4" fmla="*/ 49 w 128"/>
                  <a:gd name="T5" fmla="*/ 19 h 130"/>
                  <a:gd name="T6" fmla="*/ 17 w 128"/>
                  <a:gd name="T7" fmla="*/ 57 h 130"/>
                  <a:gd name="T8" fmla="*/ 5 w 128"/>
                  <a:gd name="T9" fmla="*/ 89 h 130"/>
                  <a:gd name="T10" fmla="*/ 33 w 128"/>
                  <a:gd name="T11" fmla="*/ 130 h 130"/>
                  <a:gd name="T12" fmla="*/ 44 w 128"/>
                  <a:gd name="T13" fmla="*/ 62 h 130"/>
                  <a:gd name="T14" fmla="*/ 51 w 128"/>
                  <a:gd name="T15" fmla="*/ 53 h 1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8" h="130">
                    <a:moveTo>
                      <a:pt x="51" y="53"/>
                    </a:moveTo>
                    <a:cubicBezTo>
                      <a:pt x="51" y="53"/>
                      <a:pt x="103" y="82"/>
                      <a:pt x="128" y="44"/>
                    </a:cubicBezTo>
                    <a:cubicBezTo>
                      <a:pt x="128" y="44"/>
                      <a:pt x="96" y="0"/>
                      <a:pt x="49" y="19"/>
                    </a:cubicBezTo>
                    <a:cubicBezTo>
                      <a:pt x="3" y="39"/>
                      <a:pt x="17" y="57"/>
                      <a:pt x="17" y="57"/>
                    </a:cubicBezTo>
                    <a:cubicBezTo>
                      <a:pt x="17" y="57"/>
                      <a:pt x="0" y="66"/>
                      <a:pt x="5" y="89"/>
                    </a:cubicBezTo>
                    <a:cubicBezTo>
                      <a:pt x="10" y="112"/>
                      <a:pt x="33" y="130"/>
                      <a:pt x="33" y="130"/>
                    </a:cubicBezTo>
                    <a:cubicBezTo>
                      <a:pt x="33" y="130"/>
                      <a:pt x="72" y="94"/>
                      <a:pt x="44" y="62"/>
                    </a:cubicBezTo>
                    <a:lnTo>
                      <a:pt x="51" y="53"/>
                    </a:lnTo>
                    <a:close/>
                  </a:path>
                </a:pathLst>
              </a:custGeom>
              <a:solidFill>
                <a:srgbClr val="3C1F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2" name="Freeform 38">
                <a:extLst>
                  <a:ext uri="{FF2B5EF4-FFF2-40B4-BE49-F238E27FC236}">
                    <a16:creationId xmlns:a16="http://schemas.microsoft.com/office/drawing/2014/main" id="{7C623C90-89C7-47C3-B4E5-5B2431D3B461}"/>
                  </a:ext>
                </a:extLst>
              </p:cNvPr>
              <p:cNvSpPr>
                <a:spLocks/>
              </p:cNvSpPr>
              <p:nvPr/>
            </p:nvSpPr>
            <p:spPr bwMode="auto">
              <a:xfrm>
                <a:off x="7183419" y="4236962"/>
                <a:ext cx="45535" cy="62881"/>
              </a:xfrm>
              <a:custGeom>
                <a:avLst/>
                <a:gdLst>
                  <a:gd name="T0" fmla="*/ 6 w 25"/>
                  <a:gd name="T1" fmla="*/ 0 h 34"/>
                  <a:gd name="T2" fmla="*/ 24 w 25"/>
                  <a:gd name="T3" fmla="*/ 32 h 34"/>
                  <a:gd name="T4" fmla="*/ 7 w 25"/>
                  <a:gd name="T5" fmla="*/ 34 h 34"/>
                  <a:gd name="T6" fmla="*/ 6 w 25"/>
                  <a:gd name="T7" fmla="*/ 0 h 34"/>
                </a:gdLst>
                <a:ahLst/>
                <a:cxnLst>
                  <a:cxn ang="0">
                    <a:pos x="T0" y="T1"/>
                  </a:cxn>
                  <a:cxn ang="0">
                    <a:pos x="T2" y="T3"/>
                  </a:cxn>
                  <a:cxn ang="0">
                    <a:pos x="T4" y="T5"/>
                  </a:cxn>
                  <a:cxn ang="0">
                    <a:pos x="T6" y="T7"/>
                  </a:cxn>
                </a:cxnLst>
                <a:rect l="0" t="0" r="r" b="b"/>
                <a:pathLst>
                  <a:path w="25" h="34">
                    <a:moveTo>
                      <a:pt x="6" y="0"/>
                    </a:moveTo>
                    <a:cubicBezTo>
                      <a:pt x="6" y="0"/>
                      <a:pt x="23" y="21"/>
                      <a:pt x="24" y="32"/>
                    </a:cubicBezTo>
                    <a:cubicBezTo>
                      <a:pt x="25" y="34"/>
                      <a:pt x="7" y="34"/>
                      <a:pt x="7" y="34"/>
                    </a:cubicBezTo>
                    <a:cubicBezTo>
                      <a:pt x="7" y="34"/>
                      <a:pt x="0" y="15"/>
                      <a:pt x="6" y="0"/>
                    </a:cubicBezTo>
                    <a:close/>
                  </a:path>
                </a:pathLst>
              </a:custGeom>
              <a:solidFill>
                <a:srgbClr val="E26D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grpSp>
          <p:nvGrpSpPr>
            <p:cNvPr id="5" name="Group 57">
              <a:extLst>
                <a:ext uri="{FF2B5EF4-FFF2-40B4-BE49-F238E27FC236}">
                  <a16:creationId xmlns:a16="http://schemas.microsoft.com/office/drawing/2014/main" id="{0B34B64A-0D61-4C0C-8D3C-FCF85B07A691}"/>
                </a:ext>
              </a:extLst>
            </p:cNvPr>
            <p:cNvGrpSpPr/>
            <p:nvPr/>
          </p:nvGrpSpPr>
          <p:grpSpPr>
            <a:xfrm>
              <a:off x="9267500" y="3908480"/>
              <a:ext cx="739395" cy="1492883"/>
              <a:chOff x="9532787" y="4017962"/>
              <a:chExt cx="739395" cy="1492883"/>
            </a:xfrm>
          </p:grpSpPr>
          <p:sp>
            <p:nvSpPr>
              <p:cNvPr id="9" name="Freeform 39">
                <a:extLst>
                  <a:ext uri="{FF2B5EF4-FFF2-40B4-BE49-F238E27FC236}">
                    <a16:creationId xmlns:a16="http://schemas.microsoft.com/office/drawing/2014/main" id="{DA3CC321-7873-4425-8457-C37F1F40FF72}"/>
                  </a:ext>
                </a:extLst>
              </p:cNvPr>
              <p:cNvSpPr>
                <a:spLocks/>
              </p:cNvSpPr>
              <p:nvPr/>
            </p:nvSpPr>
            <p:spPr bwMode="auto">
              <a:xfrm>
                <a:off x="9532787" y="4123125"/>
                <a:ext cx="97574" cy="119257"/>
              </a:xfrm>
              <a:custGeom>
                <a:avLst/>
                <a:gdLst>
                  <a:gd name="T0" fmla="*/ 18 w 52"/>
                  <a:gd name="T1" fmla="*/ 61 h 64"/>
                  <a:gd name="T2" fmla="*/ 2 w 52"/>
                  <a:gd name="T3" fmla="*/ 54 h 64"/>
                  <a:gd name="T4" fmla="*/ 49 w 52"/>
                  <a:gd name="T5" fmla="*/ 3 h 64"/>
                  <a:gd name="T6" fmla="*/ 31 w 52"/>
                  <a:gd name="T7" fmla="*/ 50 h 64"/>
                  <a:gd name="T8" fmla="*/ 18 w 52"/>
                  <a:gd name="T9" fmla="*/ 61 h 64"/>
                </a:gdLst>
                <a:ahLst/>
                <a:cxnLst>
                  <a:cxn ang="0">
                    <a:pos x="T0" y="T1"/>
                  </a:cxn>
                  <a:cxn ang="0">
                    <a:pos x="T2" y="T3"/>
                  </a:cxn>
                  <a:cxn ang="0">
                    <a:pos x="T4" y="T5"/>
                  </a:cxn>
                  <a:cxn ang="0">
                    <a:pos x="T6" y="T7"/>
                  </a:cxn>
                  <a:cxn ang="0">
                    <a:pos x="T8" y="T9"/>
                  </a:cxn>
                </a:cxnLst>
                <a:rect l="0" t="0" r="r" b="b"/>
                <a:pathLst>
                  <a:path w="52" h="64">
                    <a:moveTo>
                      <a:pt x="18" y="61"/>
                    </a:moveTo>
                    <a:cubicBezTo>
                      <a:pt x="18" y="61"/>
                      <a:pt x="0" y="64"/>
                      <a:pt x="2" y="54"/>
                    </a:cubicBezTo>
                    <a:cubicBezTo>
                      <a:pt x="3" y="44"/>
                      <a:pt x="46" y="0"/>
                      <a:pt x="49" y="3"/>
                    </a:cubicBezTo>
                    <a:cubicBezTo>
                      <a:pt x="52" y="6"/>
                      <a:pt x="28" y="41"/>
                      <a:pt x="31" y="50"/>
                    </a:cubicBezTo>
                    <a:cubicBezTo>
                      <a:pt x="35" y="59"/>
                      <a:pt x="18" y="61"/>
                      <a:pt x="18" y="61"/>
                    </a:cubicBezTo>
                    <a:close/>
                  </a:path>
                </a:pathLst>
              </a:custGeom>
              <a:solidFill>
                <a:srgbClr val="E297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0" name="Freeform 40">
                <a:extLst>
                  <a:ext uri="{FF2B5EF4-FFF2-40B4-BE49-F238E27FC236}">
                    <a16:creationId xmlns:a16="http://schemas.microsoft.com/office/drawing/2014/main" id="{1EAF03DC-8D72-4D79-B4AE-D809223169B8}"/>
                  </a:ext>
                </a:extLst>
              </p:cNvPr>
              <p:cNvSpPr>
                <a:spLocks/>
              </p:cNvSpPr>
              <p:nvPr/>
            </p:nvSpPr>
            <p:spPr bwMode="auto">
              <a:xfrm>
                <a:off x="9578322" y="4207689"/>
                <a:ext cx="594118" cy="323079"/>
              </a:xfrm>
              <a:custGeom>
                <a:avLst/>
                <a:gdLst>
                  <a:gd name="T0" fmla="*/ 271 w 320"/>
                  <a:gd name="T1" fmla="*/ 89 h 174"/>
                  <a:gd name="T2" fmla="*/ 16 w 320"/>
                  <a:gd name="T3" fmla="*/ 0 h 174"/>
                  <a:gd name="T4" fmla="*/ 0 w 320"/>
                  <a:gd name="T5" fmla="*/ 20 h 174"/>
                  <a:gd name="T6" fmla="*/ 260 w 320"/>
                  <a:gd name="T7" fmla="*/ 163 h 174"/>
                  <a:gd name="T8" fmla="*/ 311 w 320"/>
                  <a:gd name="T9" fmla="*/ 123 h 174"/>
                  <a:gd name="T10" fmla="*/ 271 w 320"/>
                  <a:gd name="T11" fmla="*/ 89 h 174"/>
                </a:gdLst>
                <a:ahLst/>
                <a:cxnLst>
                  <a:cxn ang="0">
                    <a:pos x="T0" y="T1"/>
                  </a:cxn>
                  <a:cxn ang="0">
                    <a:pos x="T2" y="T3"/>
                  </a:cxn>
                  <a:cxn ang="0">
                    <a:pos x="T4" y="T5"/>
                  </a:cxn>
                  <a:cxn ang="0">
                    <a:pos x="T6" y="T7"/>
                  </a:cxn>
                  <a:cxn ang="0">
                    <a:pos x="T8" y="T9"/>
                  </a:cxn>
                  <a:cxn ang="0">
                    <a:pos x="T10" y="T11"/>
                  </a:cxn>
                </a:cxnLst>
                <a:rect l="0" t="0" r="r" b="b"/>
                <a:pathLst>
                  <a:path w="320" h="174">
                    <a:moveTo>
                      <a:pt x="271" y="89"/>
                    </a:moveTo>
                    <a:cubicBezTo>
                      <a:pt x="271" y="89"/>
                      <a:pt x="116" y="124"/>
                      <a:pt x="16" y="0"/>
                    </a:cubicBezTo>
                    <a:cubicBezTo>
                      <a:pt x="0" y="20"/>
                      <a:pt x="0" y="20"/>
                      <a:pt x="0" y="20"/>
                    </a:cubicBezTo>
                    <a:cubicBezTo>
                      <a:pt x="0" y="20"/>
                      <a:pt x="72" y="174"/>
                      <a:pt x="260" y="163"/>
                    </a:cubicBezTo>
                    <a:cubicBezTo>
                      <a:pt x="260" y="163"/>
                      <a:pt x="302" y="163"/>
                      <a:pt x="311" y="123"/>
                    </a:cubicBezTo>
                    <a:cubicBezTo>
                      <a:pt x="320" y="82"/>
                      <a:pt x="271" y="89"/>
                      <a:pt x="271" y="89"/>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1" name="Freeform 41">
                <a:extLst>
                  <a:ext uri="{FF2B5EF4-FFF2-40B4-BE49-F238E27FC236}">
                    <a16:creationId xmlns:a16="http://schemas.microsoft.com/office/drawing/2014/main" id="{0FA4A823-2DFD-484E-8404-89A3D7135B20}"/>
                  </a:ext>
                </a:extLst>
              </p:cNvPr>
              <p:cNvSpPr>
                <a:spLocks/>
              </p:cNvSpPr>
              <p:nvPr/>
            </p:nvSpPr>
            <p:spPr bwMode="auto">
              <a:xfrm>
                <a:off x="10011984" y="4709654"/>
                <a:ext cx="260198" cy="801191"/>
              </a:xfrm>
              <a:custGeom>
                <a:avLst/>
                <a:gdLst>
                  <a:gd name="T0" fmla="*/ 0 w 140"/>
                  <a:gd name="T1" fmla="*/ 38 h 431"/>
                  <a:gd name="T2" fmla="*/ 45 w 140"/>
                  <a:gd name="T3" fmla="*/ 268 h 431"/>
                  <a:gd name="T4" fmla="*/ 99 w 140"/>
                  <a:gd name="T5" fmla="*/ 410 h 431"/>
                  <a:gd name="T6" fmla="*/ 73 w 140"/>
                  <a:gd name="T7" fmla="*/ 429 h 431"/>
                  <a:gd name="T8" fmla="*/ 132 w 140"/>
                  <a:gd name="T9" fmla="*/ 422 h 431"/>
                  <a:gd name="T10" fmla="*/ 116 w 140"/>
                  <a:gd name="T11" fmla="*/ 130 h 431"/>
                  <a:gd name="T12" fmla="*/ 113 w 140"/>
                  <a:gd name="T13" fmla="*/ 16 h 431"/>
                  <a:gd name="T14" fmla="*/ 0 w 140"/>
                  <a:gd name="T15" fmla="*/ 38 h 4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0" h="431">
                    <a:moveTo>
                      <a:pt x="0" y="38"/>
                    </a:moveTo>
                    <a:cubicBezTo>
                      <a:pt x="0" y="38"/>
                      <a:pt x="14" y="199"/>
                      <a:pt x="45" y="268"/>
                    </a:cubicBezTo>
                    <a:cubicBezTo>
                      <a:pt x="76" y="336"/>
                      <a:pt x="99" y="410"/>
                      <a:pt x="99" y="410"/>
                    </a:cubicBezTo>
                    <a:cubicBezTo>
                      <a:pt x="73" y="429"/>
                      <a:pt x="73" y="429"/>
                      <a:pt x="73" y="429"/>
                    </a:cubicBezTo>
                    <a:cubicBezTo>
                      <a:pt x="73" y="429"/>
                      <a:pt x="118" y="431"/>
                      <a:pt x="132" y="422"/>
                    </a:cubicBezTo>
                    <a:cubicBezTo>
                      <a:pt x="140" y="407"/>
                      <a:pt x="113" y="178"/>
                      <a:pt x="116" y="130"/>
                    </a:cubicBezTo>
                    <a:cubicBezTo>
                      <a:pt x="118" y="83"/>
                      <a:pt x="113" y="16"/>
                      <a:pt x="113" y="16"/>
                    </a:cubicBezTo>
                    <a:cubicBezTo>
                      <a:pt x="113" y="16"/>
                      <a:pt x="40" y="0"/>
                      <a:pt x="0" y="38"/>
                    </a:cubicBezTo>
                    <a:close/>
                  </a:path>
                </a:pathLst>
              </a:custGeom>
              <a:solidFill>
                <a:schemeClr val="tx1">
                  <a:lumMod val="75000"/>
                  <a:lumOff val="2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2" name="Freeform 42">
                <a:extLst>
                  <a:ext uri="{FF2B5EF4-FFF2-40B4-BE49-F238E27FC236}">
                    <a16:creationId xmlns:a16="http://schemas.microsoft.com/office/drawing/2014/main" id="{3C5DEE98-6073-4D0D-A2B2-BE20536CB3DB}"/>
                  </a:ext>
                </a:extLst>
              </p:cNvPr>
              <p:cNvSpPr>
                <a:spLocks/>
              </p:cNvSpPr>
              <p:nvPr/>
            </p:nvSpPr>
            <p:spPr bwMode="auto">
              <a:xfrm>
                <a:off x="9694326" y="4759525"/>
                <a:ext cx="449925" cy="741563"/>
              </a:xfrm>
              <a:custGeom>
                <a:avLst/>
                <a:gdLst>
                  <a:gd name="T0" fmla="*/ 9 w 242"/>
                  <a:gd name="T1" fmla="*/ 373 h 399"/>
                  <a:gd name="T2" fmla="*/ 43 w 242"/>
                  <a:gd name="T3" fmla="*/ 371 h 399"/>
                  <a:gd name="T4" fmla="*/ 41 w 242"/>
                  <a:gd name="T5" fmla="*/ 185 h 399"/>
                  <a:gd name="T6" fmla="*/ 151 w 242"/>
                  <a:gd name="T7" fmla="*/ 26 h 399"/>
                  <a:gd name="T8" fmla="*/ 229 w 242"/>
                  <a:gd name="T9" fmla="*/ 0 h 399"/>
                  <a:gd name="T10" fmla="*/ 101 w 242"/>
                  <a:gd name="T11" fmla="*/ 207 h 399"/>
                  <a:gd name="T12" fmla="*/ 64 w 242"/>
                  <a:gd name="T13" fmla="*/ 383 h 399"/>
                  <a:gd name="T14" fmla="*/ 64 w 242"/>
                  <a:gd name="T15" fmla="*/ 383 h 399"/>
                  <a:gd name="T16" fmla="*/ 56 w 242"/>
                  <a:gd name="T17" fmla="*/ 399 h 399"/>
                  <a:gd name="T18" fmla="*/ 9 w 242"/>
                  <a:gd name="T19" fmla="*/ 373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2" h="399">
                    <a:moveTo>
                      <a:pt x="9" y="373"/>
                    </a:moveTo>
                    <a:cubicBezTo>
                      <a:pt x="20" y="378"/>
                      <a:pt x="37" y="373"/>
                      <a:pt x="43" y="371"/>
                    </a:cubicBezTo>
                    <a:cubicBezTo>
                      <a:pt x="42" y="347"/>
                      <a:pt x="38" y="204"/>
                      <a:pt x="41" y="185"/>
                    </a:cubicBezTo>
                    <a:cubicBezTo>
                      <a:pt x="45" y="164"/>
                      <a:pt x="147" y="91"/>
                      <a:pt x="151" y="26"/>
                    </a:cubicBezTo>
                    <a:cubicBezTo>
                      <a:pt x="229" y="0"/>
                      <a:pt x="229" y="0"/>
                      <a:pt x="229" y="0"/>
                    </a:cubicBezTo>
                    <a:cubicBezTo>
                      <a:pt x="229" y="0"/>
                      <a:pt x="242" y="151"/>
                      <a:pt x="101" y="207"/>
                    </a:cubicBezTo>
                    <a:cubicBezTo>
                      <a:pt x="101" y="207"/>
                      <a:pt x="86" y="340"/>
                      <a:pt x="64" y="383"/>
                    </a:cubicBezTo>
                    <a:cubicBezTo>
                      <a:pt x="64" y="383"/>
                      <a:pt x="64" y="383"/>
                      <a:pt x="64" y="383"/>
                    </a:cubicBezTo>
                    <a:cubicBezTo>
                      <a:pt x="64" y="383"/>
                      <a:pt x="64" y="398"/>
                      <a:pt x="56" y="399"/>
                    </a:cubicBezTo>
                    <a:cubicBezTo>
                      <a:pt x="41" y="399"/>
                      <a:pt x="0" y="375"/>
                      <a:pt x="9" y="373"/>
                    </a:cubicBezTo>
                    <a:close/>
                  </a:path>
                </a:pathLst>
              </a:custGeom>
              <a:solidFill>
                <a:schemeClr val="tx1">
                  <a:lumMod val="75000"/>
                  <a:lumOff val="2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3" name="Freeform 43">
                <a:extLst>
                  <a:ext uri="{FF2B5EF4-FFF2-40B4-BE49-F238E27FC236}">
                    <a16:creationId xmlns:a16="http://schemas.microsoft.com/office/drawing/2014/main" id="{55D208E8-942B-4267-AA7E-BB085279864E}"/>
                  </a:ext>
                </a:extLst>
              </p:cNvPr>
              <p:cNvSpPr>
                <a:spLocks/>
              </p:cNvSpPr>
              <p:nvPr/>
            </p:nvSpPr>
            <p:spPr bwMode="auto">
              <a:xfrm>
                <a:off x="10003311" y="4075422"/>
                <a:ext cx="222252" cy="239599"/>
              </a:xfrm>
              <a:custGeom>
                <a:avLst/>
                <a:gdLst>
                  <a:gd name="T0" fmla="*/ 4 w 120"/>
                  <a:gd name="T1" fmla="*/ 65 h 129"/>
                  <a:gd name="T2" fmla="*/ 36 w 120"/>
                  <a:gd name="T3" fmla="*/ 129 h 129"/>
                  <a:gd name="T4" fmla="*/ 101 w 120"/>
                  <a:gd name="T5" fmla="*/ 65 h 129"/>
                  <a:gd name="T6" fmla="*/ 36 w 120"/>
                  <a:gd name="T7" fmla="*/ 0 h 129"/>
                  <a:gd name="T8" fmla="*/ 4 w 120"/>
                  <a:gd name="T9" fmla="*/ 65 h 129"/>
                </a:gdLst>
                <a:ahLst/>
                <a:cxnLst>
                  <a:cxn ang="0">
                    <a:pos x="T0" y="T1"/>
                  </a:cxn>
                  <a:cxn ang="0">
                    <a:pos x="T2" y="T3"/>
                  </a:cxn>
                  <a:cxn ang="0">
                    <a:pos x="T4" y="T5"/>
                  </a:cxn>
                  <a:cxn ang="0">
                    <a:pos x="T6" y="T7"/>
                  </a:cxn>
                  <a:cxn ang="0">
                    <a:pos x="T8" y="T9"/>
                  </a:cxn>
                </a:cxnLst>
                <a:rect l="0" t="0" r="r" b="b"/>
                <a:pathLst>
                  <a:path w="120" h="129">
                    <a:moveTo>
                      <a:pt x="4" y="65"/>
                    </a:moveTo>
                    <a:cubicBezTo>
                      <a:pt x="4" y="100"/>
                      <a:pt x="0" y="129"/>
                      <a:pt x="36" y="129"/>
                    </a:cubicBezTo>
                    <a:cubicBezTo>
                      <a:pt x="72" y="129"/>
                      <a:pt x="101" y="100"/>
                      <a:pt x="101" y="65"/>
                    </a:cubicBezTo>
                    <a:cubicBezTo>
                      <a:pt x="101" y="29"/>
                      <a:pt x="120" y="0"/>
                      <a:pt x="36" y="0"/>
                    </a:cubicBezTo>
                    <a:cubicBezTo>
                      <a:pt x="0" y="0"/>
                      <a:pt x="4" y="29"/>
                      <a:pt x="4" y="65"/>
                    </a:cubicBezTo>
                    <a:close/>
                  </a:path>
                </a:pathLst>
              </a:custGeom>
              <a:solidFill>
                <a:srgbClr val="E297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4" name="Freeform 44">
                <a:extLst>
                  <a:ext uri="{FF2B5EF4-FFF2-40B4-BE49-F238E27FC236}">
                    <a16:creationId xmlns:a16="http://schemas.microsoft.com/office/drawing/2014/main" id="{1D44F2A0-7017-4ADD-865E-BF9518CBEB60}"/>
                  </a:ext>
                </a:extLst>
              </p:cNvPr>
              <p:cNvSpPr>
                <a:spLocks/>
              </p:cNvSpPr>
              <p:nvPr/>
            </p:nvSpPr>
            <p:spPr bwMode="auto">
              <a:xfrm>
                <a:off x="9995722" y="4017962"/>
                <a:ext cx="237430" cy="241767"/>
              </a:xfrm>
              <a:custGeom>
                <a:avLst/>
                <a:gdLst>
                  <a:gd name="T0" fmla="*/ 77 w 128"/>
                  <a:gd name="T1" fmla="*/ 54 h 130"/>
                  <a:gd name="T2" fmla="*/ 0 w 128"/>
                  <a:gd name="T3" fmla="*/ 45 h 130"/>
                  <a:gd name="T4" fmla="*/ 78 w 128"/>
                  <a:gd name="T5" fmla="*/ 20 h 130"/>
                  <a:gd name="T6" fmla="*/ 110 w 128"/>
                  <a:gd name="T7" fmla="*/ 57 h 130"/>
                  <a:gd name="T8" fmla="*/ 123 w 128"/>
                  <a:gd name="T9" fmla="*/ 89 h 130"/>
                  <a:gd name="T10" fmla="*/ 94 w 128"/>
                  <a:gd name="T11" fmla="*/ 130 h 130"/>
                  <a:gd name="T12" fmla="*/ 84 w 128"/>
                  <a:gd name="T13" fmla="*/ 63 h 130"/>
                  <a:gd name="T14" fmla="*/ 77 w 128"/>
                  <a:gd name="T15" fmla="*/ 54 h 1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8" h="130">
                    <a:moveTo>
                      <a:pt x="77" y="54"/>
                    </a:moveTo>
                    <a:cubicBezTo>
                      <a:pt x="77" y="54"/>
                      <a:pt x="25" y="82"/>
                      <a:pt x="0" y="45"/>
                    </a:cubicBezTo>
                    <a:cubicBezTo>
                      <a:pt x="0" y="45"/>
                      <a:pt x="32" y="0"/>
                      <a:pt x="78" y="20"/>
                    </a:cubicBezTo>
                    <a:cubicBezTo>
                      <a:pt x="125" y="40"/>
                      <a:pt x="110" y="57"/>
                      <a:pt x="110" y="57"/>
                    </a:cubicBezTo>
                    <a:cubicBezTo>
                      <a:pt x="110" y="57"/>
                      <a:pt x="128" y="66"/>
                      <a:pt x="123" y="89"/>
                    </a:cubicBezTo>
                    <a:cubicBezTo>
                      <a:pt x="118" y="112"/>
                      <a:pt x="94" y="130"/>
                      <a:pt x="94" y="130"/>
                    </a:cubicBezTo>
                    <a:cubicBezTo>
                      <a:pt x="94" y="130"/>
                      <a:pt x="55" y="95"/>
                      <a:pt x="84" y="63"/>
                    </a:cubicBezTo>
                    <a:lnTo>
                      <a:pt x="77" y="54"/>
                    </a:lnTo>
                    <a:close/>
                  </a:path>
                </a:pathLst>
              </a:custGeom>
              <a:solidFill>
                <a:srgbClr val="3C1F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5" name="Freeform 45">
                <a:extLst>
                  <a:ext uri="{FF2B5EF4-FFF2-40B4-BE49-F238E27FC236}">
                    <a16:creationId xmlns:a16="http://schemas.microsoft.com/office/drawing/2014/main" id="{4700E961-A0F8-4D25-B592-07A78D4A5897}"/>
                  </a:ext>
                </a:extLst>
              </p:cNvPr>
              <p:cNvSpPr>
                <a:spLocks/>
              </p:cNvSpPr>
              <p:nvPr/>
            </p:nvSpPr>
            <p:spPr bwMode="auto">
              <a:xfrm>
                <a:off x="9991385" y="4181670"/>
                <a:ext cx="48787" cy="65049"/>
              </a:xfrm>
              <a:custGeom>
                <a:avLst/>
                <a:gdLst>
                  <a:gd name="T0" fmla="*/ 20 w 26"/>
                  <a:gd name="T1" fmla="*/ 0 h 35"/>
                  <a:gd name="T2" fmla="*/ 1 w 26"/>
                  <a:gd name="T3" fmla="*/ 32 h 35"/>
                  <a:gd name="T4" fmla="*/ 19 w 26"/>
                  <a:gd name="T5" fmla="*/ 35 h 35"/>
                  <a:gd name="T6" fmla="*/ 20 w 26"/>
                  <a:gd name="T7" fmla="*/ 0 h 35"/>
                </a:gdLst>
                <a:ahLst/>
                <a:cxnLst>
                  <a:cxn ang="0">
                    <a:pos x="T0" y="T1"/>
                  </a:cxn>
                  <a:cxn ang="0">
                    <a:pos x="T2" y="T3"/>
                  </a:cxn>
                  <a:cxn ang="0">
                    <a:pos x="T4" y="T5"/>
                  </a:cxn>
                  <a:cxn ang="0">
                    <a:pos x="T6" y="T7"/>
                  </a:cxn>
                </a:cxnLst>
                <a:rect l="0" t="0" r="r" b="b"/>
                <a:pathLst>
                  <a:path w="26" h="35">
                    <a:moveTo>
                      <a:pt x="20" y="0"/>
                    </a:moveTo>
                    <a:cubicBezTo>
                      <a:pt x="20" y="0"/>
                      <a:pt x="3" y="22"/>
                      <a:pt x="1" y="32"/>
                    </a:cubicBezTo>
                    <a:cubicBezTo>
                      <a:pt x="0" y="35"/>
                      <a:pt x="19" y="35"/>
                      <a:pt x="19" y="35"/>
                    </a:cubicBezTo>
                    <a:cubicBezTo>
                      <a:pt x="19" y="35"/>
                      <a:pt x="26" y="16"/>
                      <a:pt x="20" y="0"/>
                    </a:cubicBezTo>
                    <a:close/>
                  </a:path>
                </a:pathLst>
              </a:custGeom>
              <a:solidFill>
                <a:srgbClr val="E26D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6" name="Freeform 46">
                <a:extLst>
                  <a:ext uri="{FF2B5EF4-FFF2-40B4-BE49-F238E27FC236}">
                    <a16:creationId xmlns:a16="http://schemas.microsoft.com/office/drawing/2014/main" id="{93449B6C-27C1-4045-A288-A7208F6AD087}"/>
                  </a:ext>
                </a:extLst>
              </p:cNvPr>
              <p:cNvSpPr>
                <a:spLocks/>
              </p:cNvSpPr>
              <p:nvPr/>
            </p:nvSpPr>
            <p:spPr bwMode="auto">
              <a:xfrm>
                <a:off x="10047762" y="4279244"/>
                <a:ext cx="78059" cy="72638"/>
              </a:xfrm>
              <a:custGeom>
                <a:avLst/>
                <a:gdLst>
                  <a:gd name="T0" fmla="*/ 3 w 42"/>
                  <a:gd name="T1" fmla="*/ 15 h 39"/>
                  <a:gd name="T2" fmla="*/ 0 w 42"/>
                  <a:gd name="T3" fmla="*/ 38 h 39"/>
                  <a:gd name="T4" fmla="*/ 42 w 42"/>
                  <a:gd name="T5" fmla="*/ 26 h 39"/>
                  <a:gd name="T6" fmla="*/ 41 w 42"/>
                  <a:gd name="T7" fmla="*/ 0 h 39"/>
                  <a:gd name="T8" fmla="*/ 3 w 42"/>
                  <a:gd name="T9" fmla="*/ 15 h 39"/>
                </a:gdLst>
                <a:ahLst/>
                <a:cxnLst>
                  <a:cxn ang="0">
                    <a:pos x="T0" y="T1"/>
                  </a:cxn>
                  <a:cxn ang="0">
                    <a:pos x="T2" y="T3"/>
                  </a:cxn>
                  <a:cxn ang="0">
                    <a:pos x="T4" y="T5"/>
                  </a:cxn>
                  <a:cxn ang="0">
                    <a:pos x="T6" y="T7"/>
                  </a:cxn>
                  <a:cxn ang="0">
                    <a:pos x="T8" y="T9"/>
                  </a:cxn>
                </a:cxnLst>
                <a:rect l="0" t="0" r="r" b="b"/>
                <a:pathLst>
                  <a:path w="42" h="39">
                    <a:moveTo>
                      <a:pt x="3" y="15"/>
                    </a:moveTo>
                    <a:cubicBezTo>
                      <a:pt x="0" y="38"/>
                      <a:pt x="0" y="38"/>
                      <a:pt x="0" y="38"/>
                    </a:cubicBezTo>
                    <a:cubicBezTo>
                      <a:pt x="0" y="38"/>
                      <a:pt x="33" y="39"/>
                      <a:pt x="42" y="26"/>
                    </a:cubicBezTo>
                    <a:cubicBezTo>
                      <a:pt x="41" y="0"/>
                      <a:pt x="41" y="0"/>
                      <a:pt x="41" y="0"/>
                    </a:cubicBezTo>
                    <a:lnTo>
                      <a:pt x="3" y="15"/>
                    </a:lnTo>
                    <a:close/>
                  </a:path>
                </a:pathLst>
              </a:custGeom>
              <a:solidFill>
                <a:srgbClr val="E297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7" name="Freeform 47">
                <a:extLst>
                  <a:ext uri="{FF2B5EF4-FFF2-40B4-BE49-F238E27FC236}">
                    <a16:creationId xmlns:a16="http://schemas.microsoft.com/office/drawing/2014/main" id="{1310FD3F-6E27-4FBE-9C40-213D5A053693}"/>
                  </a:ext>
                </a:extLst>
              </p:cNvPr>
              <p:cNvSpPr>
                <a:spLocks/>
              </p:cNvSpPr>
              <p:nvPr/>
            </p:nvSpPr>
            <p:spPr bwMode="auto">
              <a:xfrm>
                <a:off x="9958861" y="4311768"/>
                <a:ext cx="292722" cy="600623"/>
              </a:xfrm>
              <a:custGeom>
                <a:avLst/>
                <a:gdLst>
                  <a:gd name="T0" fmla="*/ 45 w 158"/>
                  <a:gd name="T1" fmla="*/ 15 h 323"/>
                  <a:gd name="T2" fmla="*/ 0 w 158"/>
                  <a:gd name="T3" fmla="*/ 278 h 323"/>
                  <a:gd name="T4" fmla="*/ 150 w 158"/>
                  <a:gd name="T5" fmla="*/ 261 h 323"/>
                  <a:gd name="T6" fmla="*/ 92 w 158"/>
                  <a:gd name="T7" fmla="*/ 0 h 323"/>
                  <a:gd name="T8" fmla="*/ 45 w 158"/>
                  <a:gd name="T9" fmla="*/ 15 h 323"/>
                </a:gdLst>
                <a:ahLst/>
                <a:cxnLst>
                  <a:cxn ang="0">
                    <a:pos x="T0" y="T1"/>
                  </a:cxn>
                  <a:cxn ang="0">
                    <a:pos x="T2" y="T3"/>
                  </a:cxn>
                  <a:cxn ang="0">
                    <a:pos x="T4" y="T5"/>
                  </a:cxn>
                  <a:cxn ang="0">
                    <a:pos x="T6" y="T7"/>
                  </a:cxn>
                  <a:cxn ang="0">
                    <a:pos x="T8" y="T9"/>
                  </a:cxn>
                </a:cxnLst>
                <a:rect l="0" t="0" r="r" b="b"/>
                <a:pathLst>
                  <a:path w="158" h="323">
                    <a:moveTo>
                      <a:pt x="45" y="15"/>
                    </a:moveTo>
                    <a:cubicBezTo>
                      <a:pt x="45" y="15"/>
                      <a:pt x="7" y="214"/>
                      <a:pt x="0" y="278"/>
                    </a:cubicBezTo>
                    <a:cubicBezTo>
                      <a:pt x="0" y="278"/>
                      <a:pt x="93" y="323"/>
                      <a:pt x="150" y="261"/>
                    </a:cubicBezTo>
                    <a:cubicBezTo>
                      <a:pt x="150" y="261"/>
                      <a:pt x="158" y="76"/>
                      <a:pt x="92" y="0"/>
                    </a:cubicBezTo>
                    <a:cubicBezTo>
                      <a:pt x="92" y="0"/>
                      <a:pt x="58" y="16"/>
                      <a:pt x="45" y="15"/>
                    </a:cubicBezTo>
                    <a:close/>
                  </a:path>
                </a:pathLst>
              </a:custGeom>
              <a:solidFill>
                <a:schemeClr val="accent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8" name="Freeform 48">
                <a:extLst>
                  <a:ext uri="{FF2B5EF4-FFF2-40B4-BE49-F238E27FC236}">
                    <a16:creationId xmlns:a16="http://schemas.microsoft.com/office/drawing/2014/main" id="{5D338360-DEE8-4B99-8AC9-3FE51AA7E678}"/>
                  </a:ext>
                </a:extLst>
              </p:cNvPr>
              <p:cNvSpPr>
                <a:spLocks/>
              </p:cNvSpPr>
              <p:nvPr/>
            </p:nvSpPr>
            <p:spPr bwMode="auto">
              <a:xfrm>
                <a:off x="9573985" y="4508001"/>
                <a:ext cx="127931" cy="82396"/>
              </a:xfrm>
              <a:custGeom>
                <a:avLst/>
                <a:gdLst>
                  <a:gd name="T0" fmla="*/ 69 w 69"/>
                  <a:gd name="T1" fmla="*/ 30 h 44"/>
                  <a:gd name="T2" fmla="*/ 48 w 69"/>
                  <a:gd name="T3" fmla="*/ 1 h 44"/>
                  <a:gd name="T4" fmla="*/ 49 w 69"/>
                  <a:gd name="T5" fmla="*/ 16 h 44"/>
                  <a:gd name="T6" fmla="*/ 1 w 69"/>
                  <a:gd name="T7" fmla="*/ 31 h 44"/>
                  <a:gd name="T8" fmla="*/ 59 w 69"/>
                  <a:gd name="T9" fmla="*/ 44 h 44"/>
                  <a:gd name="T10" fmla="*/ 69 w 69"/>
                  <a:gd name="T11" fmla="*/ 30 h 44"/>
                </a:gdLst>
                <a:ahLst/>
                <a:cxnLst>
                  <a:cxn ang="0">
                    <a:pos x="T0" y="T1"/>
                  </a:cxn>
                  <a:cxn ang="0">
                    <a:pos x="T2" y="T3"/>
                  </a:cxn>
                  <a:cxn ang="0">
                    <a:pos x="T4" y="T5"/>
                  </a:cxn>
                  <a:cxn ang="0">
                    <a:pos x="T6" y="T7"/>
                  </a:cxn>
                  <a:cxn ang="0">
                    <a:pos x="T8" y="T9"/>
                  </a:cxn>
                  <a:cxn ang="0">
                    <a:pos x="T10" y="T11"/>
                  </a:cxn>
                </a:cxnLst>
                <a:rect l="0" t="0" r="r" b="b"/>
                <a:pathLst>
                  <a:path w="69" h="44">
                    <a:moveTo>
                      <a:pt x="69" y="30"/>
                    </a:moveTo>
                    <a:cubicBezTo>
                      <a:pt x="69" y="30"/>
                      <a:pt x="53" y="0"/>
                      <a:pt x="48" y="1"/>
                    </a:cubicBezTo>
                    <a:cubicBezTo>
                      <a:pt x="43" y="2"/>
                      <a:pt x="49" y="16"/>
                      <a:pt x="49" y="16"/>
                    </a:cubicBezTo>
                    <a:cubicBezTo>
                      <a:pt x="49" y="16"/>
                      <a:pt x="2" y="26"/>
                      <a:pt x="1" y="31"/>
                    </a:cubicBezTo>
                    <a:cubicBezTo>
                      <a:pt x="0" y="36"/>
                      <a:pt x="59" y="44"/>
                      <a:pt x="59" y="44"/>
                    </a:cubicBezTo>
                    <a:lnTo>
                      <a:pt x="69" y="30"/>
                    </a:lnTo>
                    <a:close/>
                  </a:path>
                </a:pathLst>
              </a:custGeom>
              <a:solidFill>
                <a:srgbClr val="E297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9" name="Freeform 49">
                <a:extLst>
                  <a:ext uri="{FF2B5EF4-FFF2-40B4-BE49-F238E27FC236}">
                    <a16:creationId xmlns:a16="http://schemas.microsoft.com/office/drawing/2014/main" id="{7071339C-ECFC-445B-A6D7-98CD33A6F906}"/>
                  </a:ext>
                </a:extLst>
              </p:cNvPr>
              <p:cNvSpPr>
                <a:spLocks/>
              </p:cNvSpPr>
              <p:nvPr/>
            </p:nvSpPr>
            <p:spPr bwMode="auto">
              <a:xfrm>
                <a:off x="9683485" y="4348630"/>
                <a:ext cx="492207" cy="416316"/>
              </a:xfrm>
              <a:custGeom>
                <a:avLst/>
                <a:gdLst>
                  <a:gd name="T0" fmla="*/ 250 w 265"/>
                  <a:gd name="T1" fmla="*/ 58 h 224"/>
                  <a:gd name="T2" fmla="*/ 151 w 265"/>
                  <a:gd name="T3" fmla="*/ 194 h 224"/>
                  <a:gd name="T4" fmla="*/ 0 w 265"/>
                  <a:gd name="T5" fmla="*/ 130 h 224"/>
                  <a:gd name="T6" fmla="*/ 10 w 265"/>
                  <a:gd name="T7" fmla="*/ 111 h 224"/>
                  <a:gd name="T8" fmla="*/ 111 w 265"/>
                  <a:gd name="T9" fmla="*/ 141 h 224"/>
                  <a:gd name="T10" fmla="*/ 187 w 265"/>
                  <a:gd name="T11" fmla="*/ 28 h 224"/>
                  <a:gd name="T12" fmla="*/ 239 w 265"/>
                  <a:gd name="T13" fmla="*/ 15 h 224"/>
                  <a:gd name="T14" fmla="*/ 250 w 265"/>
                  <a:gd name="T15" fmla="*/ 58 h 2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5" h="224">
                    <a:moveTo>
                      <a:pt x="250" y="58"/>
                    </a:moveTo>
                    <a:cubicBezTo>
                      <a:pt x="250" y="58"/>
                      <a:pt x="189" y="163"/>
                      <a:pt x="151" y="194"/>
                    </a:cubicBezTo>
                    <a:cubicBezTo>
                      <a:pt x="112" y="224"/>
                      <a:pt x="0" y="130"/>
                      <a:pt x="0" y="130"/>
                    </a:cubicBezTo>
                    <a:cubicBezTo>
                      <a:pt x="10" y="111"/>
                      <a:pt x="10" y="111"/>
                      <a:pt x="10" y="111"/>
                    </a:cubicBezTo>
                    <a:cubicBezTo>
                      <a:pt x="111" y="141"/>
                      <a:pt x="111" y="141"/>
                      <a:pt x="111" y="141"/>
                    </a:cubicBezTo>
                    <a:cubicBezTo>
                      <a:pt x="187" y="28"/>
                      <a:pt x="187" y="28"/>
                      <a:pt x="187" y="28"/>
                    </a:cubicBezTo>
                    <a:cubicBezTo>
                      <a:pt x="187" y="28"/>
                      <a:pt x="213" y="0"/>
                      <a:pt x="239" y="15"/>
                    </a:cubicBezTo>
                    <a:cubicBezTo>
                      <a:pt x="265" y="29"/>
                      <a:pt x="250" y="58"/>
                      <a:pt x="250" y="58"/>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grpSp>
          <p:nvGrpSpPr>
            <p:cNvPr id="6" name="Group 4">
              <a:extLst>
                <a:ext uri="{FF2B5EF4-FFF2-40B4-BE49-F238E27FC236}">
                  <a16:creationId xmlns:a16="http://schemas.microsoft.com/office/drawing/2014/main" id="{90C187F2-D5D3-4FEC-893D-2E9B0236D508}"/>
                </a:ext>
              </a:extLst>
            </p:cNvPr>
            <p:cNvGrpSpPr>
              <a:grpSpLocks noChangeAspect="1"/>
            </p:cNvGrpSpPr>
            <p:nvPr/>
          </p:nvGrpSpPr>
          <p:grpSpPr bwMode="auto">
            <a:xfrm>
              <a:off x="4868878" y="5067435"/>
              <a:ext cx="7323122" cy="1790565"/>
              <a:chOff x="1935" y="2305"/>
              <a:chExt cx="3824" cy="935"/>
            </a:xfrm>
            <a:solidFill>
              <a:schemeClr val="tx2">
                <a:lumMod val="50000"/>
              </a:schemeClr>
            </a:solidFill>
          </p:grpSpPr>
          <p:sp>
            <p:nvSpPr>
              <p:cNvPr id="7" name="Freeform 5">
                <a:extLst>
                  <a:ext uri="{FF2B5EF4-FFF2-40B4-BE49-F238E27FC236}">
                    <a16:creationId xmlns:a16="http://schemas.microsoft.com/office/drawing/2014/main" id="{F31D468E-636F-4BC8-B810-F1DC175731A3}"/>
                  </a:ext>
                </a:extLst>
              </p:cNvPr>
              <p:cNvSpPr>
                <a:spLocks/>
              </p:cNvSpPr>
              <p:nvPr/>
            </p:nvSpPr>
            <p:spPr bwMode="auto">
              <a:xfrm>
                <a:off x="1935" y="2305"/>
                <a:ext cx="3824" cy="935"/>
              </a:xfrm>
              <a:custGeom>
                <a:avLst/>
                <a:gdLst>
                  <a:gd name="T0" fmla="*/ 0 w 5644"/>
                  <a:gd name="T1" fmla="*/ 1376 h 1376"/>
                  <a:gd name="T2" fmla="*/ 2822 w 5644"/>
                  <a:gd name="T3" fmla="*/ 0 h 1376"/>
                  <a:gd name="T4" fmla="*/ 5644 w 5644"/>
                  <a:gd name="T5" fmla="*/ 1376 h 1376"/>
                  <a:gd name="T6" fmla="*/ 0 w 5644"/>
                  <a:gd name="T7" fmla="*/ 1376 h 1376"/>
                </a:gdLst>
                <a:ahLst/>
                <a:cxnLst>
                  <a:cxn ang="0">
                    <a:pos x="T0" y="T1"/>
                  </a:cxn>
                  <a:cxn ang="0">
                    <a:pos x="T2" y="T3"/>
                  </a:cxn>
                  <a:cxn ang="0">
                    <a:pos x="T4" y="T5"/>
                  </a:cxn>
                  <a:cxn ang="0">
                    <a:pos x="T6" y="T7"/>
                  </a:cxn>
                </a:cxnLst>
                <a:rect l="0" t="0" r="r" b="b"/>
                <a:pathLst>
                  <a:path w="5644" h="1376">
                    <a:moveTo>
                      <a:pt x="0" y="1376"/>
                    </a:moveTo>
                    <a:cubicBezTo>
                      <a:pt x="285" y="955"/>
                      <a:pt x="1434" y="0"/>
                      <a:pt x="2822" y="0"/>
                    </a:cubicBezTo>
                    <a:cubicBezTo>
                      <a:pt x="4210" y="0"/>
                      <a:pt x="5358" y="955"/>
                      <a:pt x="5644" y="1376"/>
                    </a:cubicBezTo>
                    <a:lnTo>
                      <a:pt x="0" y="1376"/>
                    </a:lnTo>
                    <a:close/>
                  </a:path>
                </a:pathLst>
              </a:custGeom>
              <a:solidFill>
                <a:schemeClr val="tx1">
                  <a:lumMod val="95000"/>
                  <a:lumOff val="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8" name="Freeform 6">
                <a:extLst>
                  <a:ext uri="{FF2B5EF4-FFF2-40B4-BE49-F238E27FC236}">
                    <a16:creationId xmlns:a16="http://schemas.microsoft.com/office/drawing/2014/main" id="{71B998A0-CECE-4DD1-8D2C-6F2406388635}"/>
                  </a:ext>
                </a:extLst>
              </p:cNvPr>
              <p:cNvSpPr>
                <a:spLocks/>
              </p:cNvSpPr>
              <p:nvPr/>
            </p:nvSpPr>
            <p:spPr bwMode="auto">
              <a:xfrm>
                <a:off x="2246" y="2305"/>
                <a:ext cx="3263" cy="669"/>
              </a:xfrm>
              <a:custGeom>
                <a:avLst/>
                <a:gdLst>
                  <a:gd name="T0" fmla="*/ 166 w 4815"/>
                  <a:gd name="T1" fmla="*/ 736 h 984"/>
                  <a:gd name="T2" fmla="*/ 2362 w 4815"/>
                  <a:gd name="T3" fmla="*/ 0 h 984"/>
                  <a:gd name="T4" fmla="*/ 4555 w 4815"/>
                  <a:gd name="T5" fmla="*/ 751 h 984"/>
                  <a:gd name="T6" fmla="*/ 4377 w 4815"/>
                  <a:gd name="T7" fmla="*/ 895 h 984"/>
                  <a:gd name="T8" fmla="*/ 3454 w 4815"/>
                  <a:gd name="T9" fmla="*/ 725 h 984"/>
                  <a:gd name="T10" fmla="*/ 2741 w 4815"/>
                  <a:gd name="T11" fmla="*/ 669 h 984"/>
                  <a:gd name="T12" fmla="*/ 2133 w 4815"/>
                  <a:gd name="T13" fmla="*/ 634 h 984"/>
                  <a:gd name="T14" fmla="*/ 1481 w 4815"/>
                  <a:gd name="T15" fmla="*/ 749 h 984"/>
                  <a:gd name="T16" fmla="*/ 500 w 4815"/>
                  <a:gd name="T17" fmla="*/ 773 h 984"/>
                  <a:gd name="T18" fmla="*/ 166 w 4815"/>
                  <a:gd name="T19" fmla="*/ 736 h 9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15" h="984">
                    <a:moveTo>
                      <a:pt x="166" y="736"/>
                    </a:moveTo>
                    <a:cubicBezTo>
                      <a:pt x="694" y="359"/>
                      <a:pt x="1507" y="0"/>
                      <a:pt x="2362" y="0"/>
                    </a:cubicBezTo>
                    <a:cubicBezTo>
                      <a:pt x="3260" y="0"/>
                      <a:pt x="4028" y="357"/>
                      <a:pt x="4555" y="751"/>
                    </a:cubicBezTo>
                    <a:cubicBezTo>
                      <a:pt x="4815" y="945"/>
                      <a:pt x="4589" y="952"/>
                      <a:pt x="4377" y="895"/>
                    </a:cubicBezTo>
                    <a:cubicBezTo>
                      <a:pt x="4048" y="807"/>
                      <a:pt x="3539" y="616"/>
                      <a:pt x="3454" y="725"/>
                    </a:cubicBezTo>
                    <a:cubicBezTo>
                      <a:pt x="3251" y="984"/>
                      <a:pt x="2852" y="813"/>
                      <a:pt x="2741" y="669"/>
                    </a:cubicBezTo>
                    <a:cubicBezTo>
                      <a:pt x="2652" y="552"/>
                      <a:pt x="2438" y="303"/>
                      <a:pt x="2133" y="634"/>
                    </a:cubicBezTo>
                    <a:cubicBezTo>
                      <a:pt x="1918" y="867"/>
                      <a:pt x="1646" y="887"/>
                      <a:pt x="1481" y="749"/>
                    </a:cubicBezTo>
                    <a:cubicBezTo>
                      <a:pt x="1286" y="586"/>
                      <a:pt x="894" y="588"/>
                      <a:pt x="500" y="773"/>
                    </a:cubicBezTo>
                    <a:cubicBezTo>
                      <a:pt x="90" y="966"/>
                      <a:pt x="0" y="855"/>
                      <a:pt x="166" y="736"/>
                    </a:cubicBezTo>
                    <a:close/>
                  </a:path>
                </a:pathLst>
              </a:custGeom>
              <a:solidFill>
                <a:schemeClr val="tx1">
                  <a:lumMod val="85000"/>
                  <a:lumOff val="1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grpSp>
      <p:sp>
        <p:nvSpPr>
          <p:cNvPr id="74" name="Freeform: Shape 134">
            <a:extLst>
              <a:ext uri="{FF2B5EF4-FFF2-40B4-BE49-F238E27FC236}">
                <a16:creationId xmlns:a16="http://schemas.microsoft.com/office/drawing/2014/main" id="{692D29CE-8258-461A-9663-A37821A3C4FA}"/>
              </a:ext>
            </a:extLst>
          </p:cNvPr>
          <p:cNvSpPr/>
          <p:nvPr/>
        </p:nvSpPr>
        <p:spPr>
          <a:xfrm flipH="1">
            <a:off x="2089448" y="5000767"/>
            <a:ext cx="1530393" cy="522171"/>
          </a:xfrm>
          <a:custGeom>
            <a:avLst/>
            <a:gdLst>
              <a:gd name="connsiteX0" fmla="*/ 0 w 2833141"/>
              <a:gd name="connsiteY0" fmla="*/ 884420 h 884420"/>
              <a:gd name="connsiteX1" fmla="*/ 0 w 2833141"/>
              <a:gd name="connsiteY1" fmla="*/ 434715 h 884420"/>
              <a:gd name="connsiteX2" fmla="*/ 2833141 w 2833141"/>
              <a:gd name="connsiteY2" fmla="*/ 434715 h 884420"/>
              <a:gd name="connsiteX3" fmla="*/ 2833141 w 2833141"/>
              <a:gd name="connsiteY3" fmla="*/ 0 h 884420"/>
            </a:gdLst>
            <a:ahLst/>
            <a:cxnLst>
              <a:cxn ang="0">
                <a:pos x="connsiteX0" y="connsiteY0"/>
              </a:cxn>
              <a:cxn ang="0">
                <a:pos x="connsiteX1" y="connsiteY1"/>
              </a:cxn>
              <a:cxn ang="0">
                <a:pos x="connsiteX2" y="connsiteY2"/>
              </a:cxn>
              <a:cxn ang="0">
                <a:pos x="connsiteX3" y="connsiteY3"/>
              </a:cxn>
            </a:cxnLst>
            <a:rect l="l" t="t" r="r" b="b"/>
            <a:pathLst>
              <a:path w="2833141" h="884420">
                <a:moveTo>
                  <a:pt x="0" y="884420"/>
                </a:moveTo>
                <a:lnTo>
                  <a:pt x="0" y="434715"/>
                </a:lnTo>
                <a:lnTo>
                  <a:pt x="2833141" y="434715"/>
                </a:lnTo>
                <a:lnTo>
                  <a:pt x="2833141" y="0"/>
                </a:lnTo>
              </a:path>
            </a:pathLst>
          </a:custGeom>
          <a:ln>
            <a:solidFill>
              <a:schemeClr val="tx1">
                <a:lumMod val="75000"/>
                <a:lumOff val="25000"/>
              </a:schemeClr>
            </a:solidFill>
            <a:prstDash val="dash"/>
            <a:tailEnd type="oval"/>
          </a:ln>
          <a:effectLst>
            <a:outerShdw blurRad="2667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75" name="Freeform: Shape 145">
            <a:extLst>
              <a:ext uri="{FF2B5EF4-FFF2-40B4-BE49-F238E27FC236}">
                <a16:creationId xmlns:a16="http://schemas.microsoft.com/office/drawing/2014/main" id="{DF0C12D5-296A-498D-A39E-6CFF17DBADD0}"/>
              </a:ext>
            </a:extLst>
          </p:cNvPr>
          <p:cNvSpPr/>
          <p:nvPr/>
        </p:nvSpPr>
        <p:spPr>
          <a:xfrm>
            <a:off x="8562536" y="5000767"/>
            <a:ext cx="1530393" cy="522171"/>
          </a:xfrm>
          <a:custGeom>
            <a:avLst/>
            <a:gdLst>
              <a:gd name="connsiteX0" fmla="*/ 0 w 2833141"/>
              <a:gd name="connsiteY0" fmla="*/ 884420 h 884420"/>
              <a:gd name="connsiteX1" fmla="*/ 0 w 2833141"/>
              <a:gd name="connsiteY1" fmla="*/ 434715 h 884420"/>
              <a:gd name="connsiteX2" fmla="*/ 2833141 w 2833141"/>
              <a:gd name="connsiteY2" fmla="*/ 434715 h 884420"/>
              <a:gd name="connsiteX3" fmla="*/ 2833141 w 2833141"/>
              <a:gd name="connsiteY3" fmla="*/ 0 h 884420"/>
            </a:gdLst>
            <a:ahLst/>
            <a:cxnLst>
              <a:cxn ang="0">
                <a:pos x="connsiteX0" y="connsiteY0"/>
              </a:cxn>
              <a:cxn ang="0">
                <a:pos x="connsiteX1" y="connsiteY1"/>
              </a:cxn>
              <a:cxn ang="0">
                <a:pos x="connsiteX2" y="connsiteY2"/>
              </a:cxn>
              <a:cxn ang="0">
                <a:pos x="connsiteX3" y="connsiteY3"/>
              </a:cxn>
            </a:cxnLst>
            <a:rect l="l" t="t" r="r" b="b"/>
            <a:pathLst>
              <a:path w="2833141" h="884420">
                <a:moveTo>
                  <a:pt x="0" y="884420"/>
                </a:moveTo>
                <a:lnTo>
                  <a:pt x="0" y="434715"/>
                </a:lnTo>
                <a:lnTo>
                  <a:pt x="2833141" y="434715"/>
                </a:lnTo>
                <a:lnTo>
                  <a:pt x="2833141" y="0"/>
                </a:lnTo>
              </a:path>
            </a:pathLst>
          </a:custGeom>
          <a:ln>
            <a:solidFill>
              <a:schemeClr val="tx1">
                <a:lumMod val="75000"/>
                <a:lumOff val="25000"/>
              </a:schemeClr>
            </a:solidFill>
            <a:prstDash val="dash"/>
            <a:tailEnd type="oval"/>
          </a:ln>
          <a:effectLst>
            <a:outerShdw blurRad="2667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nvGrpSpPr>
          <p:cNvPr id="76" name="Group 149">
            <a:extLst>
              <a:ext uri="{FF2B5EF4-FFF2-40B4-BE49-F238E27FC236}">
                <a16:creationId xmlns:a16="http://schemas.microsoft.com/office/drawing/2014/main" id="{F4CA6E5F-713A-4B7A-8575-ECA886844C63}"/>
              </a:ext>
            </a:extLst>
          </p:cNvPr>
          <p:cNvGrpSpPr/>
          <p:nvPr/>
        </p:nvGrpSpPr>
        <p:grpSpPr>
          <a:xfrm>
            <a:off x="773858" y="2049787"/>
            <a:ext cx="2857500" cy="1435534"/>
            <a:chOff x="6572572" y="1642725"/>
            <a:chExt cx="4504549" cy="1435534"/>
          </a:xfrm>
        </p:grpSpPr>
        <p:sp>
          <p:nvSpPr>
            <p:cNvPr id="77" name="Rectangle 150">
              <a:extLst>
                <a:ext uri="{FF2B5EF4-FFF2-40B4-BE49-F238E27FC236}">
                  <a16:creationId xmlns:a16="http://schemas.microsoft.com/office/drawing/2014/main" id="{4CA22C37-4439-4CA3-BB08-235CB45BA4BC}"/>
                </a:ext>
              </a:extLst>
            </p:cNvPr>
            <p:cNvSpPr/>
            <p:nvPr/>
          </p:nvSpPr>
          <p:spPr>
            <a:xfrm>
              <a:off x="6768903" y="1642725"/>
              <a:ext cx="4111889" cy="1200329"/>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200" b="1" i="0" u="none" strike="noStrike" kern="1200" cap="none" spc="0" normalizeH="0" baseline="0" noProof="0" dirty="0">
                  <a:ln>
                    <a:noFill/>
                  </a:ln>
                  <a:solidFill>
                    <a:srgbClr val="FFD229"/>
                  </a:solidFill>
                  <a:effectLst/>
                  <a:uLnTx/>
                  <a:uFillTx/>
                  <a:latin typeface="等线 Light" panose="020F0302020204030204"/>
                  <a:ea typeface="Open Sans" panose="020B0606030504020204" pitchFamily="34" charset="0"/>
                  <a:cs typeface="Segoe UI" panose="020B0502040204020203" pitchFamily="34" charset="0"/>
                </a:rPr>
                <a:t>88</a:t>
              </a:r>
              <a:r>
                <a:rPr kumimoji="0" lang="en-US" sz="3200" b="1" i="0" u="none" strike="noStrike" kern="1200" cap="none" spc="0" normalizeH="0" baseline="0" noProof="0" dirty="0">
                  <a:ln>
                    <a:noFill/>
                  </a:ln>
                  <a:solidFill>
                    <a:srgbClr val="FFD229"/>
                  </a:solidFill>
                  <a:effectLst/>
                  <a:uLnTx/>
                  <a:uFillTx/>
                  <a:latin typeface="等线 Light" panose="020F0302020204030204"/>
                  <a:ea typeface="Open Sans" panose="020B0606030504020204" pitchFamily="34" charset="0"/>
                  <a:cs typeface="Segoe UI" panose="020B0502040204020203" pitchFamily="34" charset="0"/>
                </a:rPr>
                <a:t>%</a:t>
              </a:r>
              <a:endParaRPr kumimoji="0" lang="en-US" sz="3200" b="1" i="0" u="none" strike="noStrike" kern="1200" cap="none" spc="0" normalizeH="0" baseline="0" noProof="0" dirty="0">
                <a:ln>
                  <a:noFill/>
                </a:ln>
                <a:solidFill>
                  <a:srgbClr val="FFD229"/>
                </a:solidFill>
                <a:effectLst/>
                <a:uLnTx/>
                <a:uFillTx/>
                <a:latin typeface="等线 Light" panose="020F0302020204030204"/>
                <a:ea typeface="+mn-ea"/>
                <a:cs typeface="+mn-cs"/>
              </a:endParaRPr>
            </a:p>
          </p:txBody>
        </p:sp>
        <p:sp>
          <p:nvSpPr>
            <p:cNvPr id="78" name="Rectangle 151">
              <a:extLst>
                <a:ext uri="{FF2B5EF4-FFF2-40B4-BE49-F238E27FC236}">
                  <a16:creationId xmlns:a16="http://schemas.microsoft.com/office/drawing/2014/main" id="{A355865C-6545-413B-82FA-5C7EF41B7C56}"/>
                </a:ext>
              </a:extLst>
            </p:cNvPr>
            <p:cNvSpPr/>
            <p:nvPr/>
          </p:nvSpPr>
          <p:spPr>
            <a:xfrm>
              <a:off x="6572572" y="2739705"/>
              <a:ext cx="4504549" cy="338554"/>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D229"/>
                  </a:solidFill>
                  <a:effectLst/>
                  <a:uLnTx/>
                  <a:uFillTx/>
                  <a:latin typeface="等线 Light" panose="020F0302020204030204"/>
                  <a:ea typeface="Open Sans" panose="020B0606030504020204" pitchFamily="34" charset="0"/>
                  <a:cs typeface="Segoe UI" panose="020B0502040204020203" pitchFamily="34" charset="0"/>
                </a:rPr>
                <a:t>Your Title Goes Here</a:t>
              </a:r>
              <a:endParaRPr kumimoji="0" lang="en-US" sz="1600" b="1" i="0" u="none" strike="noStrike" kern="1200" cap="none" spc="0" normalizeH="0" baseline="0" noProof="0" dirty="0">
                <a:ln>
                  <a:noFill/>
                </a:ln>
                <a:solidFill>
                  <a:srgbClr val="FFD229"/>
                </a:solidFill>
                <a:effectLst/>
                <a:uLnTx/>
                <a:uFillTx/>
                <a:latin typeface="等线 Light" panose="020F0302020204030204"/>
                <a:ea typeface="+mn-ea"/>
                <a:cs typeface="+mn-cs"/>
              </a:endParaRPr>
            </a:p>
          </p:txBody>
        </p:sp>
      </p:grpSp>
      <p:grpSp>
        <p:nvGrpSpPr>
          <p:cNvPr id="79" name="Group 152">
            <a:extLst>
              <a:ext uri="{FF2B5EF4-FFF2-40B4-BE49-F238E27FC236}">
                <a16:creationId xmlns:a16="http://schemas.microsoft.com/office/drawing/2014/main" id="{7360E818-CCA5-4DCE-8A75-B670830EA76F}"/>
              </a:ext>
            </a:extLst>
          </p:cNvPr>
          <p:cNvGrpSpPr/>
          <p:nvPr/>
        </p:nvGrpSpPr>
        <p:grpSpPr>
          <a:xfrm>
            <a:off x="8587120" y="2049787"/>
            <a:ext cx="2857500" cy="1435534"/>
            <a:chOff x="6572572" y="1642725"/>
            <a:chExt cx="4504549" cy="1435534"/>
          </a:xfrm>
        </p:grpSpPr>
        <p:sp>
          <p:nvSpPr>
            <p:cNvPr id="80" name="Rectangle 153">
              <a:extLst>
                <a:ext uri="{FF2B5EF4-FFF2-40B4-BE49-F238E27FC236}">
                  <a16:creationId xmlns:a16="http://schemas.microsoft.com/office/drawing/2014/main" id="{BC0BA433-A507-421A-A369-F397973F21C9}"/>
                </a:ext>
              </a:extLst>
            </p:cNvPr>
            <p:cNvSpPr/>
            <p:nvPr/>
          </p:nvSpPr>
          <p:spPr>
            <a:xfrm>
              <a:off x="6768903" y="1642725"/>
              <a:ext cx="4111889" cy="1200329"/>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200" b="1" i="0" u="none" strike="noStrike" kern="1200" cap="none" spc="0" normalizeH="0" baseline="0" noProof="0" dirty="0">
                  <a:ln>
                    <a:noFill/>
                  </a:ln>
                  <a:solidFill>
                    <a:srgbClr val="FF4C38"/>
                  </a:solidFill>
                  <a:effectLst/>
                  <a:uLnTx/>
                  <a:uFillTx/>
                  <a:latin typeface="等线 Light" panose="020F0302020204030204"/>
                  <a:ea typeface="Open Sans" panose="020B0606030504020204" pitchFamily="34" charset="0"/>
                  <a:cs typeface="Segoe UI" panose="020B0502040204020203" pitchFamily="34" charset="0"/>
                </a:rPr>
                <a:t>15</a:t>
              </a:r>
              <a:r>
                <a:rPr kumimoji="0" lang="en-US" sz="3200" b="1" i="0" u="none" strike="noStrike" kern="1200" cap="none" spc="0" normalizeH="0" baseline="0" noProof="0" dirty="0">
                  <a:ln>
                    <a:noFill/>
                  </a:ln>
                  <a:solidFill>
                    <a:srgbClr val="FF4C38"/>
                  </a:solidFill>
                  <a:effectLst/>
                  <a:uLnTx/>
                  <a:uFillTx/>
                  <a:latin typeface="等线 Light" panose="020F0302020204030204"/>
                  <a:ea typeface="Open Sans" panose="020B0606030504020204" pitchFamily="34" charset="0"/>
                  <a:cs typeface="Segoe UI" panose="020B0502040204020203" pitchFamily="34" charset="0"/>
                </a:rPr>
                <a:t>%</a:t>
              </a:r>
              <a:endParaRPr kumimoji="0" lang="en-US" sz="3200" b="1" i="0" u="none" strike="noStrike" kern="1200" cap="none" spc="0" normalizeH="0" baseline="0" noProof="0" dirty="0">
                <a:ln>
                  <a:noFill/>
                </a:ln>
                <a:solidFill>
                  <a:srgbClr val="FF4C38"/>
                </a:solidFill>
                <a:effectLst/>
                <a:uLnTx/>
                <a:uFillTx/>
                <a:latin typeface="等线 Light" panose="020F0302020204030204"/>
                <a:ea typeface="+mn-ea"/>
                <a:cs typeface="+mn-cs"/>
              </a:endParaRPr>
            </a:p>
          </p:txBody>
        </p:sp>
        <p:sp>
          <p:nvSpPr>
            <p:cNvPr id="81" name="Rectangle 154">
              <a:extLst>
                <a:ext uri="{FF2B5EF4-FFF2-40B4-BE49-F238E27FC236}">
                  <a16:creationId xmlns:a16="http://schemas.microsoft.com/office/drawing/2014/main" id="{D4FE2633-A803-491F-92E3-D0CB8235B9C0}"/>
                </a:ext>
              </a:extLst>
            </p:cNvPr>
            <p:cNvSpPr/>
            <p:nvPr/>
          </p:nvSpPr>
          <p:spPr>
            <a:xfrm>
              <a:off x="6572572" y="2739705"/>
              <a:ext cx="4504549" cy="338554"/>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4C38"/>
                  </a:solidFill>
                  <a:effectLst/>
                  <a:uLnTx/>
                  <a:uFillTx/>
                  <a:latin typeface="等线 Light" panose="020F0302020204030204"/>
                  <a:ea typeface="Open Sans" panose="020B0606030504020204" pitchFamily="34" charset="0"/>
                  <a:cs typeface="Segoe UI" panose="020B0502040204020203" pitchFamily="34" charset="0"/>
                </a:rPr>
                <a:t>Your Title Goes Here</a:t>
              </a:r>
              <a:endParaRPr kumimoji="0" lang="en-US" sz="1600" b="1" i="0" u="none" strike="noStrike" kern="1200" cap="none" spc="0" normalizeH="0" baseline="0" noProof="0" dirty="0">
                <a:ln>
                  <a:noFill/>
                </a:ln>
                <a:solidFill>
                  <a:srgbClr val="FF4C38"/>
                </a:solidFill>
                <a:effectLst/>
                <a:uLnTx/>
                <a:uFillTx/>
                <a:latin typeface="等线 Light" panose="020F0302020204030204"/>
                <a:ea typeface="+mn-ea"/>
                <a:cs typeface="+mn-cs"/>
              </a:endParaRPr>
            </a:p>
          </p:txBody>
        </p:sp>
      </p:grpSp>
      <p:sp>
        <p:nvSpPr>
          <p:cNvPr id="82" name="Rectangle 155">
            <a:extLst>
              <a:ext uri="{FF2B5EF4-FFF2-40B4-BE49-F238E27FC236}">
                <a16:creationId xmlns:a16="http://schemas.microsoft.com/office/drawing/2014/main" id="{1B7C1FDE-DECD-4776-963A-28E1930419D9}"/>
              </a:ext>
            </a:extLst>
          </p:cNvPr>
          <p:cNvSpPr/>
          <p:nvPr/>
        </p:nvSpPr>
        <p:spPr>
          <a:xfrm>
            <a:off x="904726" y="3639076"/>
            <a:ext cx="2595762" cy="903389"/>
          </a:xfrm>
          <a:prstGeom prst="rect">
            <a:avLst/>
          </a:prstGeom>
        </p:spPr>
        <p:txBody>
          <a:bodyPr wrap="square">
            <a:spAutoFit/>
          </a:bodyPr>
          <a:lstStyle/>
          <a:p>
            <a:pPr marL="0" marR="0" lvl="0" indent="0" algn="ctr" defTabSz="914400" rtl="0" eaLnBrk="1" fontAlgn="auto" latinLnBrk="0" hangingPunct="1">
              <a:lnSpc>
                <a:spcPct val="13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lumMod val="50000"/>
                    <a:lumOff val="50000"/>
                  </a:srgbClr>
                </a:solidFill>
                <a:effectLst/>
                <a:uLnTx/>
                <a:uFillTx/>
                <a:latin typeface="等线" panose="020F0502020204030204"/>
                <a:ea typeface="Open Sans Light" panose="020B0306030504020204" pitchFamily="34" charset="0"/>
                <a:cs typeface="Segoe UI" panose="020B0502040204020203" pitchFamily="34" charset="0"/>
              </a:rPr>
              <a:t>Lorem ipsum dolor sit </a:t>
            </a:r>
            <a:r>
              <a:rPr kumimoji="0" lang="en-US" sz="1400" b="0" i="0" u="none" strike="noStrike" kern="1200" cap="none" spc="0" normalizeH="0" baseline="0" noProof="0" dirty="0" err="1">
                <a:ln>
                  <a:noFill/>
                </a:ln>
                <a:solidFill>
                  <a:srgbClr val="000000">
                    <a:lumMod val="50000"/>
                    <a:lumOff val="50000"/>
                  </a:srgbClr>
                </a:solidFill>
                <a:effectLst/>
                <a:uLnTx/>
                <a:uFillTx/>
                <a:latin typeface="等线" panose="020F0502020204030204"/>
                <a:ea typeface="Open Sans Light" panose="020B0306030504020204" pitchFamily="34" charset="0"/>
                <a:cs typeface="Segoe UI" panose="020B0502040204020203" pitchFamily="34" charset="0"/>
              </a:rPr>
              <a:t>amet</a:t>
            </a:r>
            <a:r>
              <a:rPr kumimoji="0" lang="en-US" sz="1400" b="0" i="0" u="none" strike="noStrike" kern="1200" cap="none" spc="0" normalizeH="0" baseline="0" noProof="0" dirty="0">
                <a:ln>
                  <a:noFill/>
                </a:ln>
                <a:solidFill>
                  <a:srgbClr val="000000">
                    <a:lumMod val="50000"/>
                    <a:lumOff val="50000"/>
                  </a:srgbClr>
                </a:solidFill>
                <a:effectLst/>
                <a:uLnTx/>
                <a:uFillTx/>
                <a:latin typeface="等线" panose="020F0502020204030204"/>
                <a:ea typeface="Open Sans Light" panose="020B0306030504020204" pitchFamily="34" charset="0"/>
                <a:cs typeface="Segoe UI" panose="020B0502040204020203" pitchFamily="34" charset="0"/>
              </a:rPr>
              <a:t>, </a:t>
            </a:r>
            <a:r>
              <a:rPr kumimoji="0" lang="en-US" sz="1400" b="0" i="0" u="none" strike="noStrike" kern="1200" cap="none" spc="0" normalizeH="0" baseline="0" noProof="0" dirty="0" err="1">
                <a:ln>
                  <a:noFill/>
                </a:ln>
                <a:solidFill>
                  <a:srgbClr val="000000">
                    <a:lumMod val="50000"/>
                    <a:lumOff val="50000"/>
                  </a:srgbClr>
                </a:solidFill>
                <a:effectLst/>
                <a:uLnTx/>
                <a:uFillTx/>
                <a:latin typeface="等线" panose="020F0502020204030204"/>
                <a:ea typeface="Open Sans Light" panose="020B0306030504020204" pitchFamily="34" charset="0"/>
                <a:cs typeface="Segoe UI" panose="020B0502040204020203" pitchFamily="34" charset="0"/>
              </a:rPr>
              <a:t>consectetuer</a:t>
            </a:r>
            <a:r>
              <a:rPr kumimoji="0" lang="en-US" sz="1400" b="0" i="0" u="none" strike="noStrike" kern="1200" cap="none" spc="0" normalizeH="0" baseline="0" noProof="0" dirty="0">
                <a:ln>
                  <a:noFill/>
                </a:ln>
                <a:solidFill>
                  <a:srgbClr val="000000">
                    <a:lumMod val="50000"/>
                    <a:lumOff val="50000"/>
                  </a:srgbClr>
                </a:solidFill>
                <a:effectLst/>
                <a:uLnTx/>
                <a:uFillTx/>
                <a:latin typeface="等线" panose="020F0502020204030204"/>
                <a:ea typeface="Open Sans Light" panose="020B0306030504020204" pitchFamily="34" charset="0"/>
                <a:cs typeface="Segoe UI" panose="020B0502040204020203" pitchFamily="34" charset="0"/>
              </a:rPr>
              <a:t> </a:t>
            </a:r>
            <a:r>
              <a:rPr kumimoji="0" lang="en-US" sz="1400" b="0" i="0" u="none" strike="noStrike" kern="1200" cap="none" spc="0" normalizeH="0" baseline="0" noProof="0" dirty="0" err="1">
                <a:ln>
                  <a:noFill/>
                </a:ln>
                <a:solidFill>
                  <a:srgbClr val="000000">
                    <a:lumMod val="50000"/>
                    <a:lumOff val="50000"/>
                  </a:srgbClr>
                </a:solidFill>
                <a:effectLst/>
                <a:uLnTx/>
                <a:uFillTx/>
                <a:latin typeface="等线" panose="020F0502020204030204"/>
                <a:ea typeface="Open Sans Light" panose="020B0306030504020204" pitchFamily="34" charset="0"/>
                <a:cs typeface="Segoe UI" panose="020B0502040204020203" pitchFamily="34" charset="0"/>
              </a:rPr>
              <a:t>adipiscing</a:t>
            </a:r>
            <a:r>
              <a:rPr kumimoji="0" lang="en-US" sz="1400" b="0" i="0" u="none" strike="noStrike" kern="1200" cap="none" spc="0" normalizeH="0" baseline="0" noProof="0" dirty="0">
                <a:ln>
                  <a:noFill/>
                </a:ln>
                <a:solidFill>
                  <a:srgbClr val="000000">
                    <a:lumMod val="50000"/>
                    <a:lumOff val="50000"/>
                  </a:srgbClr>
                </a:solidFill>
                <a:effectLst/>
                <a:uLnTx/>
                <a:uFillTx/>
                <a:latin typeface="等线" panose="020F0502020204030204"/>
                <a:ea typeface="Open Sans Light" panose="020B0306030504020204" pitchFamily="34" charset="0"/>
                <a:cs typeface="Segoe UI" panose="020B0502040204020203" pitchFamily="34" charset="0"/>
              </a:rPr>
              <a:t> </a:t>
            </a:r>
            <a:r>
              <a:rPr kumimoji="0" lang="en-US" sz="1400" b="0" i="0" u="none" strike="noStrike" kern="1200" cap="none" spc="0" normalizeH="0" baseline="0" noProof="0" dirty="0" err="1">
                <a:ln>
                  <a:noFill/>
                </a:ln>
                <a:solidFill>
                  <a:srgbClr val="000000">
                    <a:lumMod val="50000"/>
                    <a:lumOff val="50000"/>
                  </a:srgbClr>
                </a:solidFill>
                <a:effectLst/>
                <a:uLnTx/>
                <a:uFillTx/>
                <a:latin typeface="等线" panose="020F0502020204030204"/>
                <a:ea typeface="Open Sans Light" panose="020B0306030504020204" pitchFamily="34" charset="0"/>
                <a:cs typeface="Segoe UI" panose="020B0502040204020203" pitchFamily="34" charset="0"/>
              </a:rPr>
              <a:t>elit</a:t>
            </a:r>
            <a:r>
              <a:rPr kumimoji="0" lang="en-US" sz="1400" b="0" i="0" u="none" strike="noStrike" kern="1200" cap="none" spc="0" normalizeH="0" baseline="0" noProof="0" dirty="0">
                <a:ln>
                  <a:noFill/>
                </a:ln>
                <a:solidFill>
                  <a:srgbClr val="000000">
                    <a:lumMod val="50000"/>
                    <a:lumOff val="50000"/>
                  </a:srgbClr>
                </a:solidFill>
                <a:effectLst/>
                <a:uLnTx/>
                <a:uFillTx/>
                <a:latin typeface="等线" panose="020F0502020204030204"/>
                <a:ea typeface="Open Sans Light" panose="020B0306030504020204" pitchFamily="34" charset="0"/>
                <a:cs typeface="Segoe UI" panose="020B0502040204020203" pitchFamily="34" charset="0"/>
              </a:rPr>
              <a:t>. </a:t>
            </a:r>
            <a:r>
              <a:rPr kumimoji="0" lang="en-US" sz="1400" b="0" i="0" u="none" strike="noStrike" kern="1200" cap="none" spc="0" normalizeH="0" baseline="0" noProof="0" dirty="0" err="1">
                <a:ln>
                  <a:noFill/>
                </a:ln>
                <a:solidFill>
                  <a:srgbClr val="000000">
                    <a:lumMod val="50000"/>
                    <a:lumOff val="50000"/>
                  </a:srgbClr>
                </a:solidFill>
                <a:effectLst/>
                <a:uLnTx/>
                <a:uFillTx/>
                <a:latin typeface="等线" panose="020F0502020204030204"/>
                <a:ea typeface="Open Sans Light" panose="020B0306030504020204" pitchFamily="34" charset="0"/>
                <a:cs typeface="Segoe UI" panose="020B0502040204020203" pitchFamily="34" charset="0"/>
              </a:rPr>
              <a:t>Aenean</a:t>
            </a:r>
            <a:r>
              <a:rPr kumimoji="0" lang="en-US" sz="1400" b="0" i="0" u="none" strike="noStrike" kern="1200" cap="none" spc="0" normalizeH="0" baseline="0" noProof="0" dirty="0">
                <a:ln>
                  <a:noFill/>
                </a:ln>
                <a:solidFill>
                  <a:srgbClr val="000000">
                    <a:lumMod val="50000"/>
                    <a:lumOff val="50000"/>
                  </a:srgbClr>
                </a:solidFill>
                <a:effectLst/>
                <a:uLnTx/>
                <a:uFillTx/>
                <a:latin typeface="等线" panose="020F0502020204030204"/>
                <a:ea typeface="Open Sans Light" panose="020B0306030504020204" pitchFamily="34" charset="0"/>
                <a:cs typeface="Segoe UI" panose="020B0502040204020203" pitchFamily="34" charset="0"/>
              </a:rPr>
              <a:t> </a:t>
            </a:r>
            <a:r>
              <a:rPr kumimoji="0" lang="en-US" sz="1400" b="0" i="0" u="none" strike="noStrike" kern="1200" cap="none" spc="0" normalizeH="0" baseline="0" noProof="0" dirty="0" err="1">
                <a:ln>
                  <a:noFill/>
                </a:ln>
                <a:solidFill>
                  <a:srgbClr val="000000">
                    <a:lumMod val="50000"/>
                    <a:lumOff val="50000"/>
                  </a:srgbClr>
                </a:solidFill>
                <a:effectLst/>
                <a:uLnTx/>
                <a:uFillTx/>
                <a:latin typeface="等线" panose="020F0502020204030204"/>
                <a:ea typeface="Open Sans Light" panose="020B0306030504020204" pitchFamily="34" charset="0"/>
                <a:cs typeface="Segoe UI" panose="020B0502040204020203" pitchFamily="34" charset="0"/>
              </a:rPr>
              <a:t>commodo</a:t>
            </a:r>
            <a:endParaRPr kumimoji="0" lang="en-US" sz="1400" b="0" i="0" u="none" strike="noStrike" kern="1200" cap="none" spc="0" normalizeH="0" baseline="0" noProof="0" dirty="0">
              <a:ln>
                <a:noFill/>
              </a:ln>
              <a:solidFill>
                <a:srgbClr val="000000">
                  <a:lumMod val="50000"/>
                  <a:lumOff val="50000"/>
                </a:srgbClr>
              </a:solidFill>
              <a:effectLst/>
              <a:uLnTx/>
              <a:uFillTx/>
              <a:latin typeface="等线" panose="020F0502020204030204"/>
              <a:ea typeface="Open Sans Light" panose="020B0306030504020204" pitchFamily="34" charset="0"/>
              <a:cs typeface="Segoe UI" panose="020B0502040204020203" pitchFamily="34" charset="0"/>
            </a:endParaRPr>
          </a:p>
        </p:txBody>
      </p:sp>
      <p:sp>
        <p:nvSpPr>
          <p:cNvPr id="83" name="Rectangle 156">
            <a:extLst>
              <a:ext uri="{FF2B5EF4-FFF2-40B4-BE49-F238E27FC236}">
                <a16:creationId xmlns:a16="http://schemas.microsoft.com/office/drawing/2014/main" id="{C786AD9E-E38B-4F04-B0FF-DEBF8842803E}"/>
              </a:ext>
            </a:extLst>
          </p:cNvPr>
          <p:cNvSpPr/>
          <p:nvPr/>
        </p:nvSpPr>
        <p:spPr>
          <a:xfrm>
            <a:off x="8711663" y="3639076"/>
            <a:ext cx="2608414" cy="903389"/>
          </a:xfrm>
          <a:prstGeom prst="rect">
            <a:avLst/>
          </a:prstGeom>
        </p:spPr>
        <p:txBody>
          <a:bodyPr wrap="square">
            <a:spAutoFit/>
          </a:bodyPr>
          <a:lstStyle/>
          <a:p>
            <a:pPr marL="0" marR="0" lvl="0" indent="0" algn="ctr" defTabSz="914400" rtl="0" eaLnBrk="1" fontAlgn="auto" latinLnBrk="0" hangingPunct="1">
              <a:lnSpc>
                <a:spcPct val="13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lumMod val="50000"/>
                    <a:lumOff val="50000"/>
                  </a:srgbClr>
                </a:solidFill>
                <a:effectLst/>
                <a:uLnTx/>
                <a:uFillTx/>
                <a:latin typeface="等线" panose="020F0502020204030204"/>
                <a:ea typeface="Open Sans Light" panose="020B0306030504020204" pitchFamily="34" charset="0"/>
                <a:cs typeface="Segoe UI" panose="020B0502040204020203" pitchFamily="34" charset="0"/>
              </a:rPr>
              <a:t>Lorem ipsum dolor sit </a:t>
            </a:r>
            <a:r>
              <a:rPr kumimoji="0" lang="en-US" sz="1400" b="0" i="0" u="none" strike="noStrike" kern="1200" cap="none" spc="0" normalizeH="0" baseline="0" noProof="0" dirty="0" err="1">
                <a:ln>
                  <a:noFill/>
                </a:ln>
                <a:solidFill>
                  <a:srgbClr val="000000">
                    <a:lumMod val="50000"/>
                    <a:lumOff val="50000"/>
                  </a:srgbClr>
                </a:solidFill>
                <a:effectLst/>
                <a:uLnTx/>
                <a:uFillTx/>
                <a:latin typeface="等线" panose="020F0502020204030204"/>
                <a:ea typeface="Open Sans Light" panose="020B0306030504020204" pitchFamily="34" charset="0"/>
                <a:cs typeface="Segoe UI" panose="020B0502040204020203" pitchFamily="34" charset="0"/>
              </a:rPr>
              <a:t>amet</a:t>
            </a:r>
            <a:r>
              <a:rPr kumimoji="0" lang="en-US" sz="1400" b="0" i="0" u="none" strike="noStrike" kern="1200" cap="none" spc="0" normalizeH="0" baseline="0" noProof="0" dirty="0">
                <a:ln>
                  <a:noFill/>
                </a:ln>
                <a:solidFill>
                  <a:srgbClr val="000000">
                    <a:lumMod val="50000"/>
                    <a:lumOff val="50000"/>
                  </a:srgbClr>
                </a:solidFill>
                <a:effectLst/>
                <a:uLnTx/>
                <a:uFillTx/>
                <a:latin typeface="等线" panose="020F0502020204030204"/>
                <a:ea typeface="Open Sans Light" panose="020B0306030504020204" pitchFamily="34" charset="0"/>
                <a:cs typeface="Segoe UI" panose="020B0502040204020203" pitchFamily="34" charset="0"/>
              </a:rPr>
              <a:t>, </a:t>
            </a:r>
            <a:r>
              <a:rPr kumimoji="0" lang="en-US" sz="1400" b="0" i="0" u="none" strike="noStrike" kern="1200" cap="none" spc="0" normalizeH="0" baseline="0" noProof="0" dirty="0" err="1">
                <a:ln>
                  <a:noFill/>
                </a:ln>
                <a:solidFill>
                  <a:srgbClr val="000000">
                    <a:lumMod val="50000"/>
                    <a:lumOff val="50000"/>
                  </a:srgbClr>
                </a:solidFill>
                <a:effectLst/>
                <a:uLnTx/>
                <a:uFillTx/>
                <a:latin typeface="等线" panose="020F0502020204030204"/>
                <a:ea typeface="Open Sans Light" panose="020B0306030504020204" pitchFamily="34" charset="0"/>
                <a:cs typeface="Segoe UI" panose="020B0502040204020203" pitchFamily="34" charset="0"/>
              </a:rPr>
              <a:t>consectetuer</a:t>
            </a:r>
            <a:r>
              <a:rPr kumimoji="0" lang="en-US" sz="1400" b="0" i="0" u="none" strike="noStrike" kern="1200" cap="none" spc="0" normalizeH="0" baseline="0" noProof="0" dirty="0">
                <a:ln>
                  <a:noFill/>
                </a:ln>
                <a:solidFill>
                  <a:srgbClr val="000000">
                    <a:lumMod val="50000"/>
                    <a:lumOff val="50000"/>
                  </a:srgbClr>
                </a:solidFill>
                <a:effectLst/>
                <a:uLnTx/>
                <a:uFillTx/>
                <a:latin typeface="等线" panose="020F0502020204030204"/>
                <a:ea typeface="Open Sans Light" panose="020B0306030504020204" pitchFamily="34" charset="0"/>
                <a:cs typeface="Segoe UI" panose="020B0502040204020203" pitchFamily="34" charset="0"/>
              </a:rPr>
              <a:t> </a:t>
            </a:r>
            <a:r>
              <a:rPr kumimoji="0" lang="en-US" sz="1400" b="0" i="0" u="none" strike="noStrike" kern="1200" cap="none" spc="0" normalizeH="0" baseline="0" noProof="0" dirty="0" err="1">
                <a:ln>
                  <a:noFill/>
                </a:ln>
                <a:solidFill>
                  <a:srgbClr val="000000">
                    <a:lumMod val="50000"/>
                    <a:lumOff val="50000"/>
                  </a:srgbClr>
                </a:solidFill>
                <a:effectLst/>
                <a:uLnTx/>
                <a:uFillTx/>
                <a:latin typeface="等线" panose="020F0502020204030204"/>
                <a:ea typeface="Open Sans Light" panose="020B0306030504020204" pitchFamily="34" charset="0"/>
                <a:cs typeface="Segoe UI" panose="020B0502040204020203" pitchFamily="34" charset="0"/>
              </a:rPr>
              <a:t>adipiscing</a:t>
            </a:r>
            <a:r>
              <a:rPr kumimoji="0" lang="en-US" sz="1400" b="0" i="0" u="none" strike="noStrike" kern="1200" cap="none" spc="0" normalizeH="0" baseline="0" noProof="0" dirty="0">
                <a:ln>
                  <a:noFill/>
                </a:ln>
                <a:solidFill>
                  <a:srgbClr val="000000">
                    <a:lumMod val="50000"/>
                    <a:lumOff val="50000"/>
                  </a:srgbClr>
                </a:solidFill>
                <a:effectLst/>
                <a:uLnTx/>
                <a:uFillTx/>
                <a:latin typeface="等线" panose="020F0502020204030204"/>
                <a:ea typeface="Open Sans Light" panose="020B0306030504020204" pitchFamily="34" charset="0"/>
                <a:cs typeface="Segoe UI" panose="020B0502040204020203" pitchFamily="34" charset="0"/>
              </a:rPr>
              <a:t> </a:t>
            </a:r>
            <a:r>
              <a:rPr kumimoji="0" lang="en-US" sz="1400" b="0" i="0" u="none" strike="noStrike" kern="1200" cap="none" spc="0" normalizeH="0" baseline="0" noProof="0" dirty="0" err="1">
                <a:ln>
                  <a:noFill/>
                </a:ln>
                <a:solidFill>
                  <a:srgbClr val="000000">
                    <a:lumMod val="50000"/>
                    <a:lumOff val="50000"/>
                  </a:srgbClr>
                </a:solidFill>
                <a:effectLst/>
                <a:uLnTx/>
                <a:uFillTx/>
                <a:latin typeface="等线" panose="020F0502020204030204"/>
                <a:ea typeface="Open Sans Light" panose="020B0306030504020204" pitchFamily="34" charset="0"/>
                <a:cs typeface="Segoe UI" panose="020B0502040204020203" pitchFamily="34" charset="0"/>
              </a:rPr>
              <a:t>elit</a:t>
            </a:r>
            <a:r>
              <a:rPr kumimoji="0" lang="en-US" sz="1400" b="0" i="0" u="none" strike="noStrike" kern="1200" cap="none" spc="0" normalizeH="0" baseline="0" noProof="0" dirty="0">
                <a:ln>
                  <a:noFill/>
                </a:ln>
                <a:solidFill>
                  <a:srgbClr val="000000">
                    <a:lumMod val="50000"/>
                    <a:lumOff val="50000"/>
                  </a:srgbClr>
                </a:solidFill>
                <a:effectLst/>
                <a:uLnTx/>
                <a:uFillTx/>
                <a:latin typeface="等线" panose="020F0502020204030204"/>
                <a:ea typeface="Open Sans Light" panose="020B0306030504020204" pitchFamily="34" charset="0"/>
                <a:cs typeface="Segoe UI" panose="020B0502040204020203" pitchFamily="34" charset="0"/>
              </a:rPr>
              <a:t>. </a:t>
            </a:r>
            <a:r>
              <a:rPr kumimoji="0" lang="en-US" sz="1400" b="0" i="0" u="none" strike="noStrike" kern="1200" cap="none" spc="0" normalizeH="0" baseline="0" noProof="0" dirty="0" err="1">
                <a:ln>
                  <a:noFill/>
                </a:ln>
                <a:solidFill>
                  <a:srgbClr val="000000">
                    <a:lumMod val="50000"/>
                    <a:lumOff val="50000"/>
                  </a:srgbClr>
                </a:solidFill>
                <a:effectLst/>
                <a:uLnTx/>
                <a:uFillTx/>
                <a:latin typeface="等线" panose="020F0502020204030204"/>
                <a:ea typeface="Open Sans Light" panose="020B0306030504020204" pitchFamily="34" charset="0"/>
                <a:cs typeface="Segoe UI" panose="020B0502040204020203" pitchFamily="34" charset="0"/>
              </a:rPr>
              <a:t>Aenean</a:t>
            </a:r>
            <a:r>
              <a:rPr kumimoji="0" lang="en-US" sz="1400" b="0" i="0" u="none" strike="noStrike" kern="1200" cap="none" spc="0" normalizeH="0" baseline="0" noProof="0" dirty="0">
                <a:ln>
                  <a:noFill/>
                </a:ln>
                <a:solidFill>
                  <a:srgbClr val="000000">
                    <a:lumMod val="50000"/>
                    <a:lumOff val="50000"/>
                  </a:srgbClr>
                </a:solidFill>
                <a:effectLst/>
                <a:uLnTx/>
                <a:uFillTx/>
                <a:latin typeface="等线" panose="020F0502020204030204"/>
                <a:ea typeface="Open Sans Light" panose="020B0306030504020204" pitchFamily="34" charset="0"/>
                <a:cs typeface="Segoe UI" panose="020B0502040204020203" pitchFamily="34" charset="0"/>
              </a:rPr>
              <a:t> </a:t>
            </a:r>
            <a:r>
              <a:rPr kumimoji="0" lang="en-US" sz="1400" b="0" i="0" u="none" strike="noStrike" kern="1200" cap="none" spc="0" normalizeH="0" baseline="0" noProof="0" dirty="0" err="1">
                <a:ln>
                  <a:noFill/>
                </a:ln>
                <a:solidFill>
                  <a:srgbClr val="000000">
                    <a:lumMod val="50000"/>
                    <a:lumOff val="50000"/>
                  </a:srgbClr>
                </a:solidFill>
                <a:effectLst/>
                <a:uLnTx/>
                <a:uFillTx/>
                <a:latin typeface="等线" panose="020F0502020204030204"/>
                <a:ea typeface="Open Sans Light" panose="020B0306030504020204" pitchFamily="34" charset="0"/>
                <a:cs typeface="Segoe UI" panose="020B0502040204020203" pitchFamily="34" charset="0"/>
              </a:rPr>
              <a:t>commodo</a:t>
            </a:r>
            <a:endParaRPr kumimoji="0" lang="en-US" sz="1400" b="0" i="0" u="none" strike="noStrike" kern="1200" cap="none" spc="0" normalizeH="0" baseline="0" noProof="0" dirty="0">
              <a:ln>
                <a:noFill/>
              </a:ln>
              <a:solidFill>
                <a:srgbClr val="000000">
                  <a:lumMod val="50000"/>
                  <a:lumOff val="50000"/>
                </a:srgbClr>
              </a:solidFill>
              <a:effectLst/>
              <a:uLnTx/>
              <a:uFillTx/>
              <a:latin typeface="等线" panose="020F0502020204030204"/>
              <a:ea typeface="Open Sans Light" panose="020B0306030504020204" pitchFamily="34" charset="0"/>
              <a:cs typeface="Segoe UI" panose="020B0502040204020203" pitchFamily="34" charset="0"/>
            </a:endParaRPr>
          </a:p>
        </p:txBody>
      </p:sp>
      <p:sp>
        <p:nvSpPr>
          <p:cNvPr id="84" name="TextBox 157">
            <a:extLst>
              <a:ext uri="{FF2B5EF4-FFF2-40B4-BE49-F238E27FC236}">
                <a16:creationId xmlns:a16="http://schemas.microsoft.com/office/drawing/2014/main" id="{42279A80-725C-495E-9C6E-BDF38CC8A674}"/>
              </a:ext>
            </a:extLst>
          </p:cNvPr>
          <p:cNvSpPr txBox="1"/>
          <p:nvPr/>
        </p:nvSpPr>
        <p:spPr>
          <a:xfrm>
            <a:off x="2657474" y="731469"/>
            <a:ext cx="6877050"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1" i="0" u="none" strike="noStrike" kern="1200" cap="none" spc="0" normalizeH="0" baseline="0" noProof="0" dirty="0">
                <a:ln>
                  <a:noFill/>
                </a:ln>
                <a:solidFill>
                  <a:srgbClr val="000000">
                    <a:lumMod val="85000"/>
                    <a:lumOff val="15000"/>
                  </a:srgbClr>
                </a:solidFill>
                <a:effectLst/>
                <a:uLnTx/>
                <a:uFillTx/>
                <a:latin typeface="等线 Light" panose="020F0302020204030204"/>
                <a:ea typeface="+mn-ea"/>
                <a:cs typeface="Arial" panose="020B0604020202020204" pitchFamily="34" charset="0"/>
              </a:rPr>
              <a:t>Your Title Text Goes Here</a:t>
            </a:r>
          </a:p>
        </p:txBody>
      </p:sp>
    </p:spTree>
    <p:extLst>
      <p:ext uri="{BB962C8B-B14F-4D97-AF65-F5344CB8AC3E}">
        <p14:creationId xmlns:p14="http://schemas.microsoft.com/office/powerpoint/2010/main" val="1041203519"/>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withEffect">
                                  <p:stCondLst>
                                    <p:cond delay="1250"/>
                                  </p:stCondLst>
                                  <p:childTnLst>
                                    <p:set>
                                      <p:cBhvr>
                                        <p:cTn id="6" dur="1" fill="hold">
                                          <p:stCondLst>
                                            <p:cond delay="0"/>
                                          </p:stCondLst>
                                        </p:cTn>
                                        <p:tgtEl>
                                          <p:spTgt spid="74"/>
                                        </p:tgtEl>
                                        <p:attrNameLst>
                                          <p:attrName>style.visibility</p:attrName>
                                        </p:attrNameLst>
                                      </p:cBhvr>
                                      <p:to>
                                        <p:strVal val="visible"/>
                                      </p:to>
                                    </p:set>
                                    <p:animEffect transition="in" filter="wipe(down)">
                                      <p:cBhvr>
                                        <p:cTn id="7" dur="500"/>
                                        <p:tgtEl>
                                          <p:spTgt spid="74"/>
                                        </p:tgtEl>
                                      </p:cBhvr>
                                    </p:animEffect>
                                  </p:childTnLst>
                                </p:cTn>
                              </p:par>
                              <p:par>
                                <p:cTn id="8" presetID="22" presetClass="entr" presetSubtype="4" fill="hold" grpId="0" nodeType="withEffect">
                                  <p:stCondLst>
                                    <p:cond delay="1250"/>
                                  </p:stCondLst>
                                  <p:childTnLst>
                                    <p:set>
                                      <p:cBhvr>
                                        <p:cTn id="9" dur="1" fill="hold">
                                          <p:stCondLst>
                                            <p:cond delay="0"/>
                                          </p:stCondLst>
                                        </p:cTn>
                                        <p:tgtEl>
                                          <p:spTgt spid="75"/>
                                        </p:tgtEl>
                                        <p:attrNameLst>
                                          <p:attrName>style.visibility</p:attrName>
                                        </p:attrNameLst>
                                      </p:cBhvr>
                                      <p:to>
                                        <p:strVal val="visible"/>
                                      </p:to>
                                    </p:set>
                                    <p:animEffect transition="in" filter="wipe(down)">
                                      <p:cBhvr>
                                        <p:cTn id="10" dur="500"/>
                                        <p:tgtEl>
                                          <p:spTgt spid="75"/>
                                        </p:tgtEl>
                                      </p:cBhvr>
                                    </p:animEffect>
                                  </p:childTnLst>
                                </p:cTn>
                              </p:par>
                              <p:par>
                                <p:cTn id="11" presetID="18" presetClass="entr" presetSubtype="3" fill="hold" grpId="0" nodeType="withEffect">
                                  <p:stCondLst>
                                    <p:cond delay="250"/>
                                  </p:stCondLst>
                                  <p:childTnLst>
                                    <p:set>
                                      <p:cBhvr>
                                        <p:cTn id="12" dur="1" fill="hold">
                                          <p:stCondLst>
                                            <p:cond delay="0"/>
                                          </p:stCondLst>
                                        </p:cTn>
                                        <p:tgtEl>
                                          <p:spTgt spid="84"/>
                                        </p:tgtEl>
                                        <p:attrNameLst>
                                          <p:attrName>style.visibility</p:attrName>
                                        </p:attrNameLst>
                                      </p:cBhvr>
                                      <p:to>
                                        <p:strVal val="visible"/>
                                      </p:to>
                                    </p:set>
                                    <p:animEffect transition="in" filter="strips(upRight)">
                                      <p:cBhvr>
                                        <p:cTn id="13" dur="500"/>
                                        <p:tgtEl>
                                          <p:spTgt spid="84"/>
                                        </p:tgtEl>
                                      </p:cBhvr>
                                    </p:animEffect>
                                  </p:childTnLst>
                                </p:cTn>
                              </p:par>
                              <p:par>
                                <p:cTn id="14" presetID="6" presetClass="emph" presetSubtype="0" accel="52000" decel="48000" autoRev="1" fill="hold" grpId="1" nodeType="withEffect">
                                  <p:stCondLst>
                                    <p:cond delay="250"/>
                                  </p:stCondLst>
                                  <p:childTnLst>
                                    <p:animScale>
                                      <p:cBhvr>
                                        <p:cTn id="15" dur="350" fill="hold"/>
                                        <p:tgtEl>
                                          <p:spTgt spid="84"/>
                                        </p:tgtEl>
                                      </p:cBhvr>
                                      <p:by x="110000" y="110000"/>
                                    </p:animScale>
                                  </p:childTnLst>
                                </p:cTn>
                              </p:par>
                              <p:par>
                                <p:cTn id="16" presetID="42" presetClass="entr" presetSubtype="0" fill="hold" nodeType="withEffect">
                                  <p:stCondLst>
                                    <p:cond delay="750"/>
                                  </p:stCondLst>
                                  <p:childTnLst>
                                    <p:set>
                                      <p:cBhvr>
                                        <p:cTn id="17" dur="1" fill="hold">
                                          <p:stCondLst>
                                            <p:cond delay="0"/>
                                          </p:stCondLst>
                                        </p:cTn>
                                        <p:tgtEl>
                                          <p:spTgt spid="2"/>
                                        </p:tgtEl>
                                        <p:attrNameLst>
                                          <p:attrName>style.visibility</p:attrName>
                                        </p:attrNameLst>
                                      </p:cBhvr>
                                      <p:to>
                                        <p:strVal val="visible"/>
                                      </p:to>
                                    </p:set>
                                    <p:animEffect transition="in" filter="fade">
                                      <p:cBhvr>
                                        <p:cTn id="18" dur="500"/>
                                        <p:tgtEl>
                                          <p:spTgt spid="2"/>
                                        </p:tgtEl>
                                      </p:cBhvr>
                                    </p:animEffect>
                                    <p:anim calcmode="lin" valueType="num">
                                      <p:cBhvr>
                                        <p:cTn id="19" dur="500" fill="hold"/>
                                        <p:tgtEl>
                                          <p:spTgt spid="2"/>
                                        </p:tgtEl>
                                        <p:attrNameLst>
                                          <p:attrName>ppt_x</p:attrName>
                                        </p:attrNameLst>
                                      </p:cBhvr>
                                      <p:tavLst>
                                        <p:tav tm="0">
                                          <p:val>
                                            <p:strVal val="#ppt_x"/>
                                          </p:val>
                                        </p:tav>
                                        <p:tav tm="100000">
                                          <p:val>
                                            <p:strVal val="#ppt_x"/>
                                          </p:val>
                                        </p:tav>
                                      </p:tavLst>
                                    </p:anim>
                                    <p:anim calcmode="lin" valueType="num">
                                      <p:cBhvr>
                                        <p:cTn id="20" dur="500" fill="hold"/>
                                        <p:tgtEl>
                                          <p:spTgt spid="2"/>
                                        </p:tgtEl>
                                        <p:attrNameLst>
                                          <p:attrName>ppt_y</p:attrName>
                                        </p:attrNameLst>
                                      </p:cBhvr>
                                      <p:tavLst>
                                        <p:tav tm="0">
                                          <p:val>
                                            <p:strVal val="#ppt_y+.1"/>
                                          </p:val>
                                        </p:tav>
                                        <p:tav tm="100000">
                                          <p:val>
                                            <p:strVal val="#ppt_y"/>
                                          </p:val>
                                        </p:tav>
                                      </p:tavLst>
                                    </p:anim>
                                  </p:childTnLst>
                                </p:cTn>
                              </p:par>
                              <p:par>
                                <p:cTn id="21" presetID="18" presetClass="entr" presetSubtype="3" fill="hold" nodeType="withEffect">
                                  <p:stCondLst>
                                    <p:cond delay="1000"/>
                                  </p:stCondLst>
                                  <p:childTnLst>
                                    <p:set>
                                      <p:cBhvr>
                                        <p:cTn id="22" dur="1" fill="hold">
                                          <p:stCondLst>
                                            <p:cond delay="0"/>
                                          </p:stCondLst>
                                        </p:cTn>
                                        <p:tgtEl>
                                          <p:spTgt spid="76"/>
                                        </p:tgtEl>
                                        <p:attrNameLst>
                                          <p:attrName>style.visibility</p:attrName>
                                        </p:attrNameLst>
                                      </p:cBhvr>
                                      <p:to>
                                        <p:strVal val="visible"/>
                                      </p:to>
                                    </p:set>
                                    <p:animEffect transition="in" filter="strips(upRight)">
                                      <p:cBhvr>
                                        <p:cTn id="23" dur="500"/>
                                        <p:tgtEl>
                                          <p:spTgt spid="76"/>
                                        </p:tgtEl>
                                      </p:cBhvr>
                                    </p:animEffect>
                                  </p:childTnLst>
                                </p:cTn>
                              </p:par>
                              <p:par>
                                <p:cTn id="24" presetID="6" presetClass="emph" presetSubtype="0" accel="52000" decel="48000" autoRev="1" fill="hold" nodeType="withEffect">
                                  <p:stCondLst>
                                    <p:cond delay="1000"/>
                                  </p:stCondLst>
                                  <p:childTnLst>
                                    <p:animScale>
                                      <p:cBhvr>
                                        <p:cTn id="25" dur="350" fill="hold"/>
                                        <p:tgtEl>
                                          <p:spTgt spid="76"/>
                                        </p:tgtEl>
                                      </p:cBhvr>
                                      <p:by x="110000" y="110000"/>
                                    </p:animScale>
                                  </p:childTnLst>
                                </p:cTn>
                              </p:par>
                              <p:par>
                                <p:cTn id="26" presetID="18" presetClass="entr" presetSubtype="3" fill="hold" nodeType="withEffect">
                                  <p:stCondLst>
                                    <p:cond delay="1000"/>
                                  </p:stCondLst>
                                  <p:childTnLst>
                                    <p:set>
                                      <p:cBhvr>
                                        <p:cTn id="27" dur="1" fill="hold">
                                          <p:stCondLst>
                                            <p:cond delay="0"/>
                                          </p:stCondLst>
                                        </p:cTn>
                                        <p:tgtEl>
                                          <p:spTgt spid="79"/>
                                        </p:tgtEl>
                                        <p:attrNameLst>
                                          <p:attrName>style.visibility</p:attrName>
                                        </p:attrNameLst>
                                      </p:cBhvr>
                                      <p:to>
                                        <p:strVal val="visible"/>
                                      </p:to>
                                    </p:set>
                                    <p:animEffect transition="in" filter="strips(upRight)">
                                      <p:cBhvr>
                                        <p:cTn id="28" dur="500"/>
                                        <p:tgtEl>
                                          <p:spTgt spid="79"/>
                                        </p:tgtEl>
                                      </p:cBhvr>
                                    </p:animEffect>
                                  </p:childTnLst>
                                </p:cTn>
                              </p:par>
                              <p:par>
                                <p:cTn id="29" presetID="6" presetClass="emph" presetSubtype="0" accel="52000" decel="48000" autoRev="1" fill="hold" nodeType="withEffect">
                                  <p:stCondLst>
                                    <p:cond delay="1000"/>
                                  </p:stCondLst>
                                  <p:childTnLst>
                                    <p:animScale>
                                      <p:cBhvr>
                                        <p:cTn id="30" dur="350" fill="hold"/>
                                        <p:tgtEl>
                                          <p:spTgt spid="79"/>
                                        </p:tgtEl>
                                      </p:cBhvr>
                                      <p:by x="110000" y="110000"/>
                                    </p:animScale>
                                  </p:childTnLst>
                                </p:cTn>
                              </p:par>
                              <p:par>
                                <p:cTn id="31" presetID="18" presetClass="entr" presetSubtype="3" fill="hold" grpId="0" nodeType="withEffect">
                                  <p:stCondLst>
                                    <p:cond delay="1250"/>
                                  </p:stCondLst>
                                  <p:childTnLst>
                                    <p:set>
                                      <p:cBhvr>
                                        <p:cTn id="32" dur="1" fill="hold">
                                          <p:stCondLst>
                                            <p:cond delay="0"/>
                                          </p:stCondLst>
                                        </p:cTn>
                                        <p:tgtEl>
                                          <p:spTgt spid="82"/>
                                        </p:tgtEl>
                                        <p:attrNameLst>
                                          <p:attrName>style.visibility</p:attrName>
                                        </p:attrNameLst>
                                      </p:cBhvr>
                                      <p:to>
                                        <p:strVal val="visible"/>
                                      </p:to>
                                    </p:set>
                                    <p:animEffect transition="in" filter="strips(upRight)">
                                      <p:cBhvr>
                                        <p:cTn id="33" dur="500"/>
                                        <p:tgtEl>
                                          <p:spTgt spid="82"/>
                                        </p:tgtEl>
                                      </p:cBhvr>
                                    </p:animEffect>
                                  </p:childTnLst>
                                </p:cTn>
                              </p:par>
                              <p:par>
                                <p:cTn id="34" presetID="6" presetClass="emph" presetSubtype="0" accel="52000" decel="48000" autoRev="1" fill="hold" grpId="1" nodeType="withEffect">
                                  <p:stCondLst>
                                    <p:cond delay="1250"/>
                                  </p:stCondLst>
                                  <p:childTnLst>
                                    <p:animScale>
                                      <p:cBhvr>
                                        <p:cTn id="35" dur="350" fill="hold"/>
                                        <p:tgtEl>
                                          <p:spTgt spid="82"/>
                                        </p:tgtEl>
                                      </p:cBhvr>
                                      <p:by x="110000" y="110000"/>
                                    </p:animScale>
                                  </p:childTnLst>
                                </p:cTn>
                              </p:par>
                              <p:par>
                                <p:cTn id="36" presetID="18" presetClass="entr" presetSubtype="3" fill="hold" grpId="0" nodeType="withEffect">
                                  <p:stCondLst>
                                    <p:cond delay="1250"/>
                                  </p:stCondLst>
                                  <p:childTnLst>
                                    <p:set>
                                      <p:cBhvr>
                                        <p:cTn id="37" dur="1" fill="hold">
                                          <p:stCondLst>
                                            <p:cond delay="0"/>
                                          </p:stCondLst>
                                        </p:cTn>
                                        <p:tgtEl>
                                          <p:spTgt spid="83"/>
                                        </p:tgtEl>
                                        <p:attrNameLst>
                                          <p:attrName>style.visibility</p:attrName>
                                        </p:attrNameLst>
                                      </p:cBhvr>
                                      <p:to>
                                        <p:strVal val="visible"/>
                                      </p:to>
                                    </p:set>
                                    <p:animEffect transition="in" filter="strips(upRight)">
                                      <p:cBhvr>
                                        <p:cTn id="38" dur="500"/>
                                        <p:tgtEl>
                                          <p:spTgt spid="83"/>
                                        </p:tgtEl>
                                      </p:cBhvr>
                                    </p:animEffect>
                                  </p:childTnLst>
                                </p:cTn>
                              </p:par>
                              <p:par>
                                <p:cTn id="39" presetID="6" presetClass="emph" presetSubtype="0" accel="52000" decel="48000" autoRev="1" fill="hold" grpId="1" nodeType="withEffect">
                                  <p:stCondLst>
                                    <p:cond delay="1250"/>
                                  </p:stCondLst>
                                  <p:childTnLst>
                                    <p:animScale>
                                      <p:cBhvr>
                                        <p:cTn id="40" dur="350" fill="hold"/>
                                        <p:tgtEl>
                                          <p:spTgt spid="83"/>
                                        </p:tgtEl>
                                      </p:cBhvr>
                                      <p:by x="110000" y="11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4" grpId="0" animBg="1"/>
      <p:bldP spid="75" grpId="0" animBg="1"/>
      <p:bldP spid="82" grpId="0"/>
      <p:bldP spid="82" grpId="1"/>
      <p:bldP spid="83" grpId="0"/>
      <p:bldP spid="83" grpId="1"/>
      <p:bldP spid="84" grpId="0"/>
      <p:bldP spid="84" grpId="1"/>
    </p:bldLst>
  </p:timing>
</p:sld>
</file>

<file path=ppt/slides/slide6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66">
            <a:extLst>
              <a:ext uri="{FF2B5EF4-FFF2-40B4-BE49-F238E27FC236}">
                <a16:creationId xmlns:a16="http://schemas.microsoft.com/office/drawing/2014/main" id="{59A98284-F075-4A99-92EA-36BF4C2620FC}"/>
              </a:ext>
            </a:extLst>
          </p:cNvPr>
          <p:cNvGrpSpPr/>
          <p:nvPr/>
        </p:nvGrpSpPr>
        <p:grpSpPr>
          <a:xfrm>
            <a:off x="4810366" y="722519"/>
            <a:ext cx="2501462" cy="4223074"/>
            <a:chOff x="5941247" y="1912756"/>
            <a:chExt cx="931863" cy="1573213"/>
          </a:xfrm>
        </p:grpSpPr>
        <p:sp>
          <p:nvSpPr>
            <p:cNvPr id="3" name="Freeform 53">
              <a:extLst>
                <a:ext uri="{FF2B5EF4-FFF2-40B4-BE49-F238E27FC236}">
                  <a16:creationId xmlns:a16="http://schemas.microsoft.com/office/drawing/2014/main" id="{2E747C63-7698-4209-B941-E3C960C69343}"/>
                </a:ext>
              </a:extLst>
            </p:cNvPr>
            <p:cNvSpPr>
              <a:spLocks/>
            </p:cNvSpPr>
            <p:nvPr/>
          </p:nvSpPr>
          <p:spPr bwMode="auto">
            <a:xfrm>
              <a:off x="5941247" y="2673169"/>
              <a:ext cx="931863" cy="627063"/>
            </a:xfrm>
            <a:custGeom>
              <a:avLst/>
              <a:gdLst>
                <a:gd name="T0" fmla="*/ 145 w 177"/>
                <a:gd name="T1" fmla="*/ 52 h 119"/>
                <a:gd name="T2" fmla="*/ 145 w 177"/>
                <a:gd name="T3" fmla="*/ 52 h 119"/>
                <a:gd name="T4" fmla="*/ 103 w 177"/>
                <a:gd name="T5" fmla="*/ 7 h 119"/>
                <a:gd name="T6" fmla="*/ 78 w 177"/>
                <a:gd name="T7" fmla="*/ 7 h 119"/>
                <a:gd name="T8" fmla="*/ 33 w 177"/>
                <a:gd name="T9" fmla="*/ 51 h 119"/>
                <a:gd name="T10" fmla="*/ 33 w 177"/>
                <a:gd name="T11" fmla="*/ 51 h 119"/>
                <a:gd name="T12" fmla="*/ 0 w 177"/>
                <a:gd name="T13" fmla="*/ 94 h 119"/>
                <a:gd name="T14" fmla="*/ 25 w 177"/>
                <a:gd name="T15" fmla="*/ 119 h 119"/>
                <a:gd name="T16" fmla="*/ 46 w 177"/>
                <a:gd name="T17" fmla="*/ 108 h 119"/>
                <a:gd name="T18" fmla="*/ 67 w 177"/>
                <a:gd name="T19" fmla="*/ 119 h 119"/>
                <a:gd name="T20" fmla="*/ 89 w 177"/>
                <a:gd name="T21" fmla="*/ 108 h 119"/>
                <a:gd name="T22" fmla="*/ 110 w 177"/>
                <a:gd name="T23" fmla="*/ 119 h 119"/>
                <a:gd name="T24" fmla="*/ 131 w 177"/>
                <a:gd name="T25" fmla="*/ 108 h 119"/>
                <a:gd name="T26" fmla="*/ 152 w 177"/>
                <a:gd name="T27" fmla="*/ 119 h 119"/>
                <a:gd name="T28" fmla="*/ 177 w 177"/>
                <a:gd name="T29" fmla="*/ 94 h 119"/>
                <a:gd name="T30" fmla="*/ 145 w 177"/>
                <a:gd name="T31" fmla="*/ 52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77" h="119">
                  <a:moveTo>
                    <a:pt x="145" y="52"/>
                  </a:moveTo>
                  <a:cubicBezTo>
                    <a:pt x="145" y="52"/>
                    <a:pt x="145" y="52"/>
                    <a:pt x="145" y="52"/>
                  </a:cubicBezTo>
                  <a:cubicBezTo>
                    <a:pt x="103" y="7"/>
                    <a:pt x="103" y="7"/>
                    <a:pt x="103" y="7"/>
                  </a:cubicBezTo>
                  <a:cubicBezTo>
                    <a:pt x="96" y="0"/>
                    <a:pt x="85" y="0"/>
                    <a:pt x="78" y="7"/>
                  </a:cubicBezTo>
                  <a:cubicBezTo>
                    <a:pt x="33" y="51"/>
                    <a:pt x="33" y="51"/>
                    <a:pt x="33" y="51"/>
                  </a:cubicBezTo>
                  <a:cubicBezTo>
                    <a:pt x="33" y="51"/>
                    <a:pt x="33" y="51"/>
                    <a:pt x="33" y="51"/>
                  </a:cubicBezTo>
                  <a:cubicBezTo>
                    <a:pt x="33" y="51"/>
                    <a:pt x="0" y="78"/>
                    <a:pt x="0" y="94"/>
                  </a:cubicBezTo>
                  <a:cubicBezTo>
                    <a:pt x="0" y="108"/>
                    <a:pt x="11" y="119"/>
                    <a:pt x="25" y="119"/>
                  </a:cubicBezTo>
                  <a:cubicBezTo>
                    <a:pt x="34" y="119"/>
                    <a:pt x="42" y="115"/>
                    <a:pt x="46" y="108"/>
                  </a:cubicBezTo>
                  <a:cubicBezTo>
                    <a:pt x="51" y="115"/>
                    <a:pt x="59" y="119"/>
                    <a:pt x="67" y="119"/>
                  </a:cubicBezTo>
                  <a:cubicBezTo>
                    <a:pt x="76" y="119"/>
                    <a:pt x="84" y="115"/>
                    <a:pt x="89" y="108"/>
                  </a:cubicBezTo>
                  <a:cubicBezTo>
                    <a:pt x="93" y="115"/>
                    <a:pt x="101" y="119"/>
                    <a:pt x="110" y="119"/>
                  </a:cubicBezTo>
                  <a:cubicBezTo>
                    <a:pt x="118" y="119"/>
                    <a:pt x="126" y="115"/>
                    <a:pt x="131" y="108"/>
                  </a:cubicBezTo>
                  <a:cubicBezTo>
                    <a:pt x="135" y="115"/>
                    <a:pt x="143" y="119"/>
                    <a:pt x="152" y="119"/>
                  </a:cubicBezTo>
                  <a:cubicBezTo>
                    <a:pt x="166" y="119"/>
                    <a:pt x="177" y="108"/>
                    <a:pt x="177" y="94"/>
                  </a:cubicBezTo>
                  <a:cubicBezTo>
                    <a:pt x="177" y="80"/>
                    <a:pt x="145" y="52"/>
                    <a:pt x="145" y="52"/>
                  </a:cubicBezTo>
                  <a:close/>
                </a:path>
              </a:pathLst>
            </a:custGeom>
            <a:gradFill>
              <a:gsLst>
                <a:gs pos="100000">
                  <a:schemeClr val="accent4">
                    <a:lumMod val="75000"/>
                  </a:schemeClr>
                </a:gs>
                <a:gs pos="0">
                  <a:schemeClr val="accent4"/>
                </a:gs>
              </a:gsLst>
              <a:lin ang="2700000" scaled="1"/>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4" name="Freeform 54">
              <a:extLst>
                <a:ext uri="{FF2B5EF4-FFF2-40B4-BE49-F238E27FC236}">
                  <a16:creationId xmlns:a16="http://schemas.microsoft.com/office/drawing/2014/main" id="{95AC8658-05CB-4FC5-A17A-2FE2103F66BD}"/>
                </a:ext>
              </a:extLst>
            </p:cNvPr>
            <p:cNvSpPr>
              <a:spLocks/>
            </p:cNvSpPr>
            <p:nvPr/>
          </p:nvSpPr>
          <p:spPr bwMode="auto">
            <a:xfrm>
              <a:off x="6061897" y="2798581"/>
              <a:ext cx="695325" cy="196850"/>
            </a:xfrm>
            <a:custGeom>
              <a:avLst/>
              <a:gdLst>
                <a:gd name="T0" fmla="*/ 10 w 132"/>
                <a:gd name="T1" fmla="*/ 27 h 37"/>
                <a:gd name="T2" fmla="*/ 10 w 132"/>
                <a:gd name="T3" fmla="*/ 27 h 37"/>
                <a:gd name="T4" fmla="*/ 0 w 132"/>
                <a:gd name="T5" fmla="*/ 37 h 37"/>
                <a:gd name="T6" fmla="*/ 132 w 132"/>
                <a:gd name="T7" fmla="*/ 37 h 37"/>
                <a:gd name="T8" fmla="*/ 122 w 132"/>
                <a:gd name="T9" fmla="*/ 28 h 37"/>
                <a:gd name="T10" fmla="*/ 122 w 132"/>
                <a:gd name="T11" fmla="*/ 28 h 37"/>
                <a:gd name="T12" fmla="*/ 96 w 132"/>
                <a:gd name="T13" fmla="*/ 0 h 37"/>
                <a:gd name="T14" fmla="*/ 37 w 132"/>
                <a:gd name="T15" fmla="*/ 0 h 37"/>
                <a:gd name="T16" fmla="*/ 10 w 132"/>
                <a:gd name="T17" fmla="*/ 27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2" h="37">
                  <a:moveTo>
                    <a:pt x="10" y="27"/>
                  </a:moveTo>
                  <a:cubicBezTo>
                    <a:pt x="10" y="27"/>
                    <a:pt x="10" y="27"/>
                    <a:pt x="10" y="27"/>
                  </a:cubicBezTo>
                  <a:cubicBezTo>
                    <a:pt x="10" y="27"/>
                    <a:pt x="6" y="31"/>
                    <a:pt x="0" y="37"/>
                  </a:cubicBezTo>
                  <a:cubicBezTo>
                    <a:pt x="132" y="37"/>
                    <a:pt x="132" y="37"/>
                    <a:pt x="132" y="37"/>
                  </a:cubicBezTo>
                  <a:cubicBezTo>
                    <a:pt x="126" y="31"/>
                    <a:pt x="122" y="28"/>
                    <a:pt x="122" y="28"/>
                  </a:cubicBezTo>
                  <a:cubicBezTo>
                    <a:pt x="122" y="28"/>
                    <a:pt x="122" y="28"/>
                    <a:pt x="122" y="28"/>
                  </a:cubicBezTo>
                  <a:cubicBezTo>
                    <a:pt x="96" y="0"/>
                    <a:pt x="96" y="0"/>
                    <a:pt x="96" y="0"/>
                  </a:cubicBezTo>
                  <a:cubicBezTo>
                    <a:pt x="37" y="0"/>
                    <a:pt x="37" y="0"/>
                    <a:pt x="37" y="0"/>
                  </a:cubicBezTo>
                  <a:lnTo>
                    <a:pt x="10" y="27"/>
                  </a:lnTo>
                  <a:close/>
                </a:path>
              </a:pathLst>
            </a:custGeom>
            <a:solidFill>
              <a:schemeClr val="accent4">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5" name="Freeform 62">
              <a:extLst>
                <a:ext uri="{FF2B5EF4-FFF2-40B4-BE49-F238E27FC236}">
                  <a16:creationId xmlns:a16="http://schemas.microsoft.com/office/drawing/2014/main" id="{BE388CC3-BD8C-4B2D-9682-08A541F92F90}"/>
                </a:ext>
              </a:extLst>
            </p:cNvPr>
            <p:cNvSpPr>
              <a:spLocks/>
            </p:cNvSpPr>
            <p:nvPr/>
          </p:nvSpPr>
          <p:spPr bwMode="auto">
            <a:xfrm>
              <a:off x="6225410" y="2666819"/>
              <a:ext cx="379413" cy="819150"/>
            </a:xfrm>
            <a:custGeom>
              <a:avLst/>
              <a:gdLst>
                <a:gd name="T0" fmla="*/ 68 w 72"/>
                <a:gd name="T1" fmla="*/ 44 h 155"/>
                <a:gd name="T2" fmla="*/ 62 w 72"/>
                <a:gd name="T3" fmla="*/ 40 h 155"/>
                <a:gd name="T4" fmla="*/ 57 w 72"/>
                <a:gd name="T5" fmla="*/ 46 h 155"/>
                <a:gd name="T6" fmla="*/ 53 w 72"/>
                <a:gd name="T7" fmla="*/ 73 h 155"/>
                <a:gd name="T8" fmla="*/ 41 w 72"/>
                <a:gd name="T9" fmla="*/ 77 h 155"/>
                <a:gd name="T10" fmla="*/ 41 w 72"/>
                <a:gd name="T11" fmla="*/ 40 h 155"/>
                <a:gd name="T12" fmla="*/ 42 w 72"/>
                <a:gd name="T13" fmla="*/ 40 h 155"/>
                <a:gd name="T14" fmla="*/ 54 w 72"/>
                <a:gd name="T15" fmla="*/ 35 h 155"/>
                <a:gd name="T16" fmla="*/ 58 w 72"/>
                <a:gd name="T17" fmla="*/ 18 h 155"/>
                <a:gd name="T18" fmla="*/ 52 w 72"/>
                <a:gd name="T19" fmla="*/ 13 h 155"/>
                <a:gd name="T20" fmla="*/ 47 w 72"/>
                <a:gd name="T21" fmla="*/ 19 h 155"/>
                <a:gd name="T22" fmla="*/ 46 w 72"/>
                <a:gd name="T23" fmla="*/ 28 h 155"/>
                <a:gd name="T24" fmla="*/ 41 w 72"/>
                <a:gd name="T25" fmla="*/ 29 h 155"/>
                <a:gd name="T26" fmla="*/ 41 w 72"/>
                <a:gd name="T27" fmla="*/ 6 h 155"/>
                <a:gd name="T28" fmla="*/ 36 w 72"/>
                <a:gd name="T29" fmla="*/ 0 h 155"/>
                <a:gd name="T30" fmla="*/ 31 w 72"/>
                <a:gd name="T31" fmla="*/ 6 h 155"/>
                <a:gd name="T32" fmla="*/ 31 w 72"/>
                <a:gd name="T33" fmla="*/ 55 h 155"/>
                <a:gd name="T34" fmla="*/ 25 w 72"/>
                <a:gd name="T35" fmla="*/ 52 h 155"/>
                <a:gd name="T36" fmla="*/ 23 w 72"/>
                <a:gd name="T37" fmla="*/ 30 h 155"/>
                <a:gd name="T38" fmla="*/ 19 w 72"/>
                <a:gd name="T39" fmla="*/ 23 h 155"/>
                <a:gd name="T40" fmla="*/ 12 w 72"/>
                <a:gd name="T41" fmla="*/ 27 h 155"/>
                <a:gd name="T42" fmla="*/ 11 w 72"/>
                <a:gd name="T43" fmla="*/ 39 h 155"/>
                <a:gd name="T44" fmla="*/ 6 w 72"/>
                <a:gd name="T45" fmla="*/ 39 h 155"/>
                <a:gd name="T46" fmla="*/ 0 w 72"/>
                <a:gd name="T47" fmla="*/ 44 h 155"/>
                <a:gd name="T48" fmla="*/ 6 w 72"/>
                <a:gd name="T49" fmla="*/ 50 h 155"/>
                <a:gd name="T50" fmla="*/ 12 w 72"/>
                <a:gd name="T51" fmla="*/ 50 h 155"/>
                <a:gd name="T52" fmla="*/ 17 w 72"/>
                <a:gd name="T53" fmla="*/ 60 h 155"/>
                <a:gd name="T54" fmla="*/ 31 w 72"/>
                <a:gd name="T55" fmla="*/ 66 h 155"/>
                <a:gd name="T56" fmla="*/ 31 w 72"/>
                <a:gd name="T57" fmla="*/ 150 h 155"/>
                <a:gd name="T58" fmla="*/ 36 w 72"/>
                <a:gd name="T59" fmla="*/ 155 h 155"/>
                <a:gd name="T60" fmla="*/ 41 w 72"/>
                <a:gd name="T61" fmla="*/ 150 h 155"/>
                <a:gd name="T62" fmla="*/ 41 w 72"/>
                <a:gd name="T63" fmla="*/ 88 h 155"/>
                <a:gd name="T64" fmla="*/ 42 w 72"/>
                <a:gd name="T65" fmla="*/ 88 h 155"/>
                <a:gd name="T66" fmla="*/ 61 w 72"/>
                <a:gd name="T67" fmla="*/ 80 h 155"/>
                <a:gd name="T68" fmla="*/ 68 w 72"/>
                <a:gd name="T69" fmla="*/ 44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2" h="155">
                  <a:moveTo>
                    <a:pt x="68" y="44"/>
                  </a:moveTo>
                  <a:cubicBezTo>
                    <a:pt x="68" y="41"/>
                    <a:pt x="65" y="39"/>
                    <a:pt x="62" y="40"/>
                  </a:cubicBezTo>
                  <a:cubicBezTo>
                    <a:pt x="59" y="40"/>
                    <a:pt x="57" y="43"/>
                    <a:pt x="57" y="46"/>
                  </a:cubicBezTo>
                  <a:cubicBezTo>
                    <a:pt x="58" y="51"/>
                    <a:pt x="59" y="66"/>
                    <a:pt x="53" y="73"/>
                  </a:cubicBezTo>
                  <a:cubicBezTo>
                    <a:pt x="50" y="76"/>
                    <a:pt x="46" y="77"/>
                    <a:pt x="41" y="77"/>
                  </a:cubicBezTo>
                  <a:cubicBezTo>
                    <a:pt x="41" y="40"/>
                    <a:pt x="41" y="40"/>
                    <a:pt x="41" y="40"/>
                  </a:cubicBezTo>
                  <a:cubicBezTo>
                    <a:pt x="41" y="40"/>
                    <a:pt x="41" y="40"/>
                    <a:pt x="42" y="40"/>
                  </a:cubicBezTo>
                  <a:cubicBezTo>
                    <a:pt x="48" y="40"/>
                    <a:pt x="52" y="38"/>
                    <a:pt x="54" y="35"/>
                  </a:cubicBezTo>
                  <a:cubicBezTo>
                    <a:pt x="60" y="29"/>
                    <a:pt x="58" y="19"/>
                    <a:pt x="58" y="18"/>
                  </a:cubicBezTo>
                  <a:cubicBezTo>
                    <a:pt x="58" y="15"/>
                    <a:pt x="55" y="13"/>
                    <a:pt x="52" y="13"/>
                  </a:cubicBezTo>
                  <a:cubicBezTo>
                    <a:pt x="49" y="14"/>
                    <a:pt x="47" y="16"/>
                    <a:pt x="47" y="19"/>
                  </a:cubicBezTo>
                  <a:cubicBezTo>
                    <a:pt x="47" y="21"/>
                    <a:pt x="48" y="26"/>
                    <a:pt x="46" y="28"/>
                  </a:cubicBezTo>
                  <a:cubicBezTo>
                    <a:pt x="45" y="29"/>
                    <a:pt x="43" y="29"/>
                    <a:pt x="41" y="29"/>
                  </a:cubicBezTo>
                  <a:cubicBezTo>
                    <a:pt x="41" y="6"/>
                    <a:pt x="41" y="6"/>
                    <a:pt x="41" y="6"/>
                  </a:cubicBezTo>
                  <a:cubicBezTo>
                    <a:pt x="41" y="3"/>
                    <a:pt x="39" y="0"/>
                    <a:pt x="36" y="0"/>
                  </a:cubicBezTo>
                  <a:cubicBezTo>
                    <a:pt x="33" y="0"/>
                    <a:pt x="31" y="3"/>
                    <a:pt x="31" y="6"/>
                  </a:cubicBezTo>
                  <a:cubicBezTo>
                    <a:pt x="31" y="55"/>
                    <a:pt x="31" y="55"/>
                    <a:pt x="31" y="55"/>
                  </a:cubicBezTo>
                  <a:cubicBezTo>
                    <a:pt x="27" y="54"/>
                    <a:pt x="26" y="53"/>
                    <a:pt x="25" y="52"/>
                  </a:cubicBezTo>
                  <a:cubicBezTo>
                    <a:pt x="20" y="47"/>
                    <a:pt x="22" y="34"/>
                    <a:pt x="23" y="30"/>
                  </a:cubicBezTo>
                  <a:cubicBezTo>
                    <a:pt x="23" y="27"/>
                    <a:pt x="22" y="24"/>
                    <a:pt x="19" y="23"/>
                  </a:cubicBezTo>
                  <a:cubicBezTo>
                    <a:pt x="16" y="22"/>
                    <a:pt x="13" y="24"/>
                    <a:pt x="12" y="27"/>
                  </a:cubicBezTo>
                  <a:cubicBezTo>
                    <a:pt x="12" y="28"/>
                    <a:pt x="11" y="33"/>
                    <a:pt x="11" y="39"/>
                  </a:cubicBezTo>
                  <a:cubicBezTo>
                    <a:pt x="6" y="39"/>
                    <a:pt x="6" y="39"/>
                    <a:pt x="6" y="39"/>
                  </a:cubicBezTo>
                  <a:cubicBezTo>
                    <a:pt x="2" y="39"/>
                    <a:pt x="0" y="41"/>
                    <a:pt x="0" y="44"/>
                  </a:cubicBezTo>
                  <a:cubicBezTo>
                    <a:pt x="0" y="47"/>
                    <a:pt x="3" y="50"/>
                    <a:pt x="6" y="50"/>
                  </a:cubicBezTo>
                  <a:cubicBezTo>
                    <a:pt x="12" y="50"/>
                    <a:pt x="12" y="50"/>
                    <a:pt x="12" y="50"/>
                  </a:cubicBezTo>
                  <a:cubicBezTo>
                    <a:pt x="13" y="53"/>
                    <a:pt x="15" y="57"/>
                    <a:pt x="17" y="60"/>
                  </a:cubicBezTo>
                  <a:cubicBezTo>
                    <a:pt x="19" y="62"/>
                    <a:pt x="24" y="65"/>
                    <a:pt x="31" y="66"/>
                  </a:cubicBezTo>
                  <a:cubicBezTo>
                    <a:pt x="31" y="150"/>
                    <a:pt x="31" y="150"/>
                    <a:pt x="31" y="150"/>
                  </a:cubicBezTo>
                  <a:cubicBezTo>
                    <a:pt x="31" y="152"/>
                    <a:pt x="33" y="155"/>
                    <a:pt x="36" y="155"/>
                  </a:cubicBezTo>
                  <a:cubicBezTo>
                    <a:pt x="39" y="155"/>
                    <a:pt x="41" y="152"/>
                    <a:pt x="41" y="150"/>
                  </a:cubicBezTo>
                  <a:cubicBezTo>
                    <a:pt x="41" y="88"/>
                    <a:pt x="41" y="88"/>
                    <a:pt x="41" y="88"/>
                  </a:cubicBezTo>
                  <a:cubicBezTo>
                    <a:pt x="41" y="88"/>
                    <a:pt x="42" y="88"/>
                    <a:pt x="42" y="88"/>
                  </a:cubicBezTo>
                  <a:cubicBezTo>
                    <a:pt x="50" y="88"/>
                    <a:pt x="56" y="85"/>
                    <a:pt x="61" y="80"/>
                  </a:cubicBezTo>
                  <a:cubicBezTo>
                    <a:pt x="72" y="68"/>
                    <a:pt x="68" y="45"/>
                    <a:pt x="68" y="44"/>
                  </a:cubicBezTo>
                  <a:close/>
                </a:path>
              </a:pathLst>
            </a:custGeom>
            <a:solidFill>
              <a:schemeClr val="tx1">
                <a:lumMod val="85000"/>
                <a:lumOff val="15000"/>
              </a:scheme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6" name="Freeform 63">
              <a:extLst>
                <a:ext uri="{FF2B5EF4-FFF2-40B4-BE49-F238E27FC236}">
                  <a16:creationId xmlns:a16="http://schemas.microsoft.com/office/drawing/2014/main" id="{A901A7B0-8BED-4929-B812-B888FF226784}"/>
                </a:ext>
              </a:extLst>
            </p:cNvPr>
            <p:cNvSpPr>
              <a:spLocks/>
            </p:cNvSpPr>
            <p:nvPr/>
          </p:nvSpPr>
          <p:spPr bwMode="auto">
            <a:xfrm>
              <a:off x="5941247" y="2335031"/>
              <a:ext cx="931863" cy="628650"/>
            </a:xfrm>
            <a:custGeom>
              <a:avLst/>
              <a:gdLst>
                <a:gd name="T0" fmla="*/ 145 w 177"/>
                <a:gd name="T1" fmla="*/ 51 h 119"/>
                <a:gd name="T2" fmla="*/ 145 w 177"/>
                <a:gd name="T3" fmla="*/ 51 h 119"/>
                <a:gd name="T4" fmla="*/ 103 w 177"/>
                <a:gd name="T5" fmla="*/ 7 h 119"/>
                <a:gd name="T6" fmla="*/ 78 w 177"/>
                <a:gd name="T7" fmla="*/ 7 h 119"/>
                <a:gd name="T8" fmla="*/ 33 w 177"/>
                <a:gd name="T9" fmla="*/ 51 h 119"/>
                <a:gd name="T10" fmla="*/ 33 w 177"/>
                <a:gd name="T11" fmla="*/ 51 h 119"/>
                <a:gd name="T12" fmla="*/ 0 w 177"/>
                <a:gd name="T13" fmla="*/ 94 h 119"/>
                <a:gd name="T14" fmla="*/ 25 w 177"/>
                <a:gd name="T15" fmla="*/ 119 h 119"/>
                <a:gd name="T16" fmla="*/ 46 w 177"/>
                <a:gd name="T17" fmla="*/ 108 h 119"/>
                <a:gd name="T18" fmla="*/ 67 w 177"/>
                <a:gd name="T19" fmla="*/ 119 h 119"/>
                <a:gd name="T20" fmla="*/ 89 w 177"/>
                <a:gd name="T21" fmla="*/ 108 h 119"/>
                <a:gd name="T22" fmla="*/ 110 w 177"/>
                <a:gd name="T23" fmla="*/ 119 h 119"/>
                <a:gd name="T24" fmla="*/ 131 w 177"/>
                <a:gd name="T25" fmla="*/ 108 h 119"/>
                <a:gd name="T26" fmla="*/ 152 w 177"/>
                <a:gd name="T27" fmla="*/ 119 h 119"/>
                <a:gd name="T28" fmla="*/ 177 w 177"/>
                <a:gd name="T29" fmla="*/ 94 h 119"/>
                <a:gd name="T30" fmla="*/ 145 w 177"/>
                <a:gd name="T31" fmla="*/ 51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77" h="119">
                  <a:moveTo>
                    <a:pt x="145" y="51"/>
                  </a:moveTo>
                  <a:cubicBezTo>
                    <a:pt x="145" y="51"/>
                    <a:pt x="145" y="51"/>
                    <a:pt x="145" y="51"/>
                  </a:cubicBezTo>
                  <a:cubicBezTo>
                    <a:pt x="103" y="7"/>
                    <a:pt x="103" y="7"/>
                    <a:pt x="103" y="7"/>
                  </a:cubicBezTo>
                  <a:cubicBezTo>
                    <a:pt x="96" y="0"/>
                    <a:pt x="85" y="0"/>
                    <a:pt x="78" y="7"/>
                  </a:cubicBezTo>
                  <a:cubicBezTo>
                    <a:pt x="33" y="51"/>
                    <a:pt x="33" y="51"/>
                    <a:pt x="33" y="51"/>
                  </a:cubicBezTo>
                  <a:cubicBezTo>
                    <a:pt x="33" y="51"/>
                    <a:pt x="33" y="51"/>
                    <a:pt x="33" y="51"/>
                  </a:cubicBezTo>
                  <a:cubicBezTo>
                    <a:pt x="33" y="51"/>
                    <a:pt x="0" y="78"/>
                    <a:pt x="0" y="94"/>
                  </a:cubicBezTo>
                  <a:cubicBezTo>
                    <a:pt x="0" y="108"/>
                    <a:pt x="11" y="119"/>
                    <a:pt x="25" y="119"/>
                  </a:cubicBezTo>
                  <a:cubicBezTo>
                    <a:pt x="34" y="119"/>
                    <a:pt x="42" y="115"/>
                    <a:pt x="46" y="108"/>
                  </a:cubicBezTo>
                  <a:cubicBezTo>
                    <a:pt x="51" y="115"/>
                    <a:pt x="59" y="119"/>
                    <a:pt x="67" y="119"/>
                  </a:cubicBezTo>
                  <a:cubicBezTo>
                    <a:pt x="76" y="119"/>
                    <a:pt x="84" y="115"/>
                    <a:pt x="89" y="108"/>
                  </a:cubicBezTo>
                  <a:cubicBezTo>
                    <a:pt x="93" y="115"/>
                    <a:pt x="101" y="119"/>
                    <a:pt x="110" y="119"/>
                  </a:cubicBezTo>
                  <a:cubicBezTo>
                    <a:pt x="118" y="119"/>
                    <a:pt x="126" y="115"/>
                    <a:pt x="131" y="108"/>
                  </a:cubicBezTo>
                  <a:cubicBezTo>
                    <a:pt x="135" y="115"/>
                    <a:pt x="143" y="119"/>
                    <a:pt x="152" y="119"/>
                  </a:cubicBezTo>
                  <a:cubicBezTo>
                    <a:pt x="166" y="119"/>
                    <a:pt x="177" y="108"/>
                    <a:pt x="177" y="94"/>
                  </a:cubicBezTo>
                  <a:cubicBezTo>
                    <a:pt x="177" y="80"/>
                    <a:pt x="145" y="51"/>
                    <a:pt x="145" y="51"/>
                  </a:cubicBezTo>
                  <a:close/>
                </a:path>
              </a:pathLst>
            </a:custGeom>
            <a:gradFill>
              <a:gsLst>
                <a:gs pos="100000">
                  <a:schemeClr val="accent4">
                    <a:lumMod val="75000"/>
                  </a:schemeClr>
                </a:gs>
                <a:gs pos="0">
                  <a:schemeClr val="accent4"/>
                </a:gs>
              </a:gsLst>
              <a:lin ang="2700000" scaled="1"/>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7" name="Freeform 64">
              <a:extLst>
                <a:ext uri="{FF2B5EF4-FFF2-40B4-BE49-F238E27FC236}">
                  <a16:creationId xmlns:a16="http://schemas.microsoft.com/office/drawing/2014/main" id="{992E3C43-8E5E-4853-A5A1-634092BD8848}"/>
                </a:ext>
              </a:extLst>
            </p:cNvPr>
            <p:cNvSpPr>
              <a:spLocks/>
            </p:cNvSpPr>
            <p:nvPr/>
          </p:nvSpPr>
          <p:spPr bwMode="auto">
            <a:xfrm>
              <a:off x="6093647" y="2446156"/>
              <a:ext cx="631825" cy="179388"/>
            </a:xfrm>
            <a:custGeom>
              <a:avLst/>
              <a:gdLst>
                <a:gd name="T0" fmla="*/ 4 w 120"/>
                <a:gd name="T1" fmla="*/ 30 h 34"/>
                <a:gd name="T2" fmla="*/ 4 w 120"/>
                <a:gd name="T3" fmla="*/ 30 h 34"/>
                <a:gd name="T4" fmla="*/ 0 w 120"/>
                <a:gd name="T5" fmla="*/ 34 h 34"/>
                <a:gd name="T6" fmla="*/ 120 w 120"/>
                <a:gd name="T7" fmla="*/ 34 h 34"/>
                <a:gd name="T8" fmla="*/ 116 w 120"/>
                <a:gd name="T9" fmla="*/ 30 h 34"/>
                <a:gd name="T10" fmla="*/ 116 w 120"/>
                <a:gd name="T11" fmla="*/ 30 h 34"/>
                <a:gd name="T12" fmla="*/ 88 w 120"/>
                <a:gd name="T13" fmla="*/ 0 h 34"/>
                <a:gd name="T14" fmla="*/ 34 w 120"/>
                <a:gd name="T15" fmla="*/ 0 h 34"/>
                <a:gd name="T16" fmla="*/ 4 w 120"/>
                <a:gd name="T17" fmla="*/ 3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0" h="34">
                  <a:moveTo>
                    <a:pt x="4" y="30"/>
                  </a:moveTo>
                  <a:cubicBezTo>
                    <a:pt x="4" y="30"/>
                    <a:pt x="4" y="30"/>
                    <a:pt x="4" y="30"/>
                  </a:cubicBezTo>
                  <a:cubicBezTo>
                    <a:pt x="4" y="30"/>
                    <a:pt x="3" y="31"/>
                    <a:pt x="0" y="34"/>
                  </a:cubicBezTo>
                  <a:cubicBezTo>
                    <a:pt x="120" y="34"/>
                    <a:pt x="120" y="34"/>
                    <a:pt x="120" y="34"/>
                  </a:cubicBezTo>
                  <a:cubicBezTo>
                    <a:pt x="118" y="32"/>
                    <a:pt x="116" y="30"/>
                    <a:pt x="116" y="30"/>
                  </a:cubicBezTo>
                  <a:cubicBezTo>
                    <a:pt x="116" y="30"/>
                    <a:pt x="116" y="30"/>
                    <a:pt x="116" y="30"/>
                  </a:cubicBezTo>
                  <a:cubicBezTo>
                    <a:pt x="88" y="0"/>
                    <a:pt x="88" y="0"/>
                    <a:pt x="88" y="0"/>
                  </a:cubicBezTo>
                  <a:cubicBezTo>
                    <a:pt x="34" y="0"/>
                    <a:pt x="34" y="0"/>
                    <a:pt x="34" y="0"/>
                  </a:cubicBezTo>
                  <a:lnTo>
                    <a:pt x="4" y="30"/>
                  </a:lnTo>
                  <a:close/>
                </a:path>
              </a:pathLst>
            </a:custGeom>
            <a:solidFill>
              <a:schemeClr val="accent4">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8" name="Freeform 74">
              <a:extLst>
                <a:ext uri="{FF2B5EF4-FFF2-40B4-BE49-F238E27FC236}">
                  <a16:creationId xmlns:a16="http://schemas.microsoft.com/office/drawing/2014/main" id="{284EC11F-3299-4EA0-906C-D52DBC7B95F7}"/>
                </a:ext>
              </a:extLst>
            </p:cNvPr>
            <p:cNvSpPr>
              <a:spLocks/>
            </p:cNvSpPr>
            <p:nvPr/>
          </p:nvSpPr>
          <p:spPr bwMode="auto">
            <a:xfrm>
              <a:off x="6030147" y="2081031"/>
              <a:ext cx="754063" cy="512763"/>
            </a:xfrm>
            <a:custGeom>
              <a:avLst/>
              <a:gdLst>
                <a:gd name="T0" fmla="*/ 117 w 143"/>
                <a:gd name="T1" fmla="*/ 42 h 97"/>
                <a:gd name="T2" fmla="*/ 117 w 143"/>
                <a:gd name="T3" fmla="*/ 42 h 97"/>
                <a:gd name="T4" fmla="*/ 83 w 143"/>
                <a:gd name="T5" fmla="*/ 6 h 97"/>
                <a:gd name="T6" fmla="*/ 63 w 143"/>
                <a:gd name="T7" fmla="*/ 6 h 97"/>
                <a:gd name="T8" fmla="*/ 27 w 143"/>
                <a:gd name="T9" fmla="*/ 42 h 97"/>
                <a:gd name="T10" fmla="*/ 27 w 143"/>
                <a:gd name="T11" fmla="*/ 42 h 97"/>
                <a:gd name="T12" fmla="*/ 0 w 143"/>
                <a:gd name="T13" fmla="*/ 76 h 97"/>
                <a:gd name="T14" fmla="*/ 20 w 143"/>
                <a:gd name="T15" fmla="*/ 97 h 97"/>
                <a:gd name="T16" fmla="*/ 38 w 143"/>
                <a:gd name="T17" fmla="*/ 88 h 97"/>
                <a:gd name="T18" fmla="*/ 55 w 143"/>
                <a:gd name="T19" fmla="*/ 97 h 97"/>
                <a:gd name="T20" fmla="*/ 72 w 143"/>
                <a:gd name="T21" fmla="*/ 88 h 97"/>
                <a:gd name="T22" fmla="*/ 89 w 143"/>
                <a:gd name="T23" fmla="*/ 97 h 97"/>
                <a:gd name="T24" fmla="*/ 106 w 143"/>
                <a:gd name="T25" fmla="*/ 88 h 97"/>
                <a:gd name="T26" fmla="*/ 123 w 143"/>
                <a:gd name="T27" fmla="*/ 97 h 97"/>
                <a:gd name="T28" fmla="*/ 143 w 143"/>
                <a:gd name="T29" fmla="*/ 76 h 97"/>
                <a:gd name="T30" fmla="*/ 117 w 143"/>
                <a:gd name="T31" fmla="*/ 42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3" h="97">
                  <a:moveTo>
                    <a:pt x="117" y="42"/>
                  </a:moveTo>
                  <a:cubicBezTo>
                    <a:pt x="117" y="42"/>
                    <a:pt x="117" y="42"/>
                    <a:pt x="117" y="42"/>
                  </a:cubicBezTo>
                  <a:cubicBezTo>
                    <a:pt x="83" y="6"/>
                    <a:pt x="83" y="6"/>
                    <a:pt x="83" y="6"/>
                  </a:cubicBezTo>
                  <a:cubicBezTo>
                    <a:pt x="78" y="1"/>
                    <a:pt x="69" y="0"/>
                    <a:pt x="63" y="6"/>
                  </a:cubicBezTo>
                  <a:cubicBezTo>
                    <a:pt x="27" y="42"/>
                    <a:pt x="27" y="42"/>
                    <a:pt x="27" y="42"/>
                  </a:cubicBezTo>
                  <a:cubicBezTo>
                    <a:pt x="27" y="42"/>
                    <a:pt x="27" y="42"/>
                    <a:pt x="27" y="42"/>
                  </a:cubicBezTo>
                  <a:cubicBezTo>
                    <a:pt x="27" y="42"/>
                    <a:pt x="0" y="64"/>
                    <a:pt x="0" y="76"/>
                  </a:cubicBezTo>
                  <a:cubicBezTo>
                    <a:pt x="0" y="88"/>
                    <a:pt x="9" y="97"/>
                    <a:pt x="20" y="97"/>
                  </a:cubicBezTo>
                  <a:cubicBezTo>
                    <a:pt x="28" y="97"/>
                    <a:pt x="34" y="93"/>
                    <a:pt x="38" y="88"/>
                  </a:cubicBezTo>
                  <a:cubicBezTo>
                    <a:pt x="41" y="93"/>
                    <a:pt x="47" y="97"/>
                    <a:pt x="55" y="97"/>
                  </a:cubicBezTo>
                  <a:cubicBezTo>
                    <a:pt x="62" y="97"/>
                    <a:pt x="68" y="93"/>
                    <a:pt x="72" y="88"/>
                  </a:cubicBezTo>
                  <a:cubicBezTo>
                    <a:pt x="75" y="93"/>
                    <a:pt x="82" y="97"/>
                    <a:pt x="89" y="97"/>
                  </a:cubicBezTo>
                  <a:cubicBezTo>
                    <a:pt x="96" y="97"/>
                    <a:pt x="102" y="93"/>
                    <a:pt x="106" y="88"/>
                  </a:cubicBezTo>
                  <a:cubicBezTo>
                    <a:pt x="109" y="93"/>
                    <a:pt x="116" y="97"/>
                    <a:pt x="123" y="97"/>
                  </a:cubicBezTo>
                  <a:cubicBezTo>
                    <a:pt x="134" y="97"/>
                    <a:pt x="143" y="88"/>
                    <a:pt x="143" y="76"/>
                  </a:cubicBezTo>
                  <a:cubicBezTo>
                    <a:pt x="143" y="65"/>
                    <a:pt x="117" y="42"/>
                    <a:pt x="117" y="42"/>
                  </a:cubicBezTo>
                  <a:close/>
                </a:path>
              </a:pathLst>
            </a:custGeom>
            <a:gradFill>
              <a:gsLst>
                <a:gs pos="100000">
                  <a:schemeClr val="accent4">
                    <a:lumMod val="75000"/>
                  </a:schemeClr>
                </a:gs>
                <a:gs pos="0">
                  <a:schemeClr val="accent4"/>
                </a:gs>
              </a:gsLst>
              <a:lin ang="2700000" scaled="1"/>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9" name="Freeform 86">
              <a:extLst>
                <a:ext uri="{FF2B5EF4-FFF2-40B4-BE49-F238E27FC236}">
                  <a16:creationId xmlns:a16="http://schemas.microsoft.com/office/drawing/2014/main" id="{520EF447-DAC4-4643-B0EB-0E8277CB284C}"/>
                </a:ext>
              </a:extLst>
            </p:cNvPr>
            <p:cNvSpPr>
              <a:spLocks/>
            </p:cNvSpPr>
            <p:nvPr/>
          </p:nvSpPr>
          <p:spPr bwMode="auto">
            <a:xfrm>
              <a:off x="6209535" y="2081031"/>
              <a:ext cx="400050" cy="184150"/>
            </a:xfrm>
            <a:custGeom>
              <a:avLst/>
              <a:gdLst>
                <a:gd name="T0" fmla="*/ 76 w 76"/>
                <a:gd name="T1" fmla="*/ 35 h 35"/>
                <a:gd name="T2" fmla="*/ 49 w 76"/>
                <a:gd name="T3" fmla="*/ 6 h 35"/>
                <a:gd name="T4" fmla="*/ 29 w 76"/>
                <a:gd name="T5" fmla="*/ 6 h 35"/>
                <a:gd name="T6" fmla="*/ 0 w 76"/>
                <a:gd name="T7" fmla="*/ 35 h 35"/>
                <a:gd name="T8" fmla="*/ 76 w 76"/>
                <a:gd name="T9" fmla="*/ 35 h 35"/>
              </a:gdLst>
              <a:ahLst/>
              <a:cxnLst>
                <a:cxn ang="0">
                  <a:pos x="T0" y="T1"/>
                </a:cxn>
                <a:cxn ang="0">
                  <a:pos x="T2" y="T3"/>
                </a:cxn>
                <a:cxn ang="0">
                  <a:pos x="T4" y="T5"/>
                </a:cxn>
                <a:cxn ang="0">
                  <a:pos x="T6" y="T7"/>
                </a:cxn>
                <a:cxn ang="0">
                  <a:pos x="T8" y="T9"/>
                </a:cxn>
              </a:cxnLst>
              <a:rect l="0" t="0" r="r" b="b"/>
              <a:pathLst>
                <a:path w="76" h="35">
                  <a:moveTo>
                    <a:pt x="76" y="35"/>
                  </a:moveTo>
                  <a:cubicBezTo>
                    <a:pt x="49" y="6"/>
                    <a:pt x="49" y="6"/>
                    <a:pt x="49" y="6"/>
                  </a:cubicBezTo>
                  <a:cubicBezTo>
                    <a:pt x="44" y="1"/>
                    <a:pt x="35" y="0"/>
                    <a:pt x="29" y="6"/>
                  </a:cubicBezTo>
                  <a:cubicBezTo>
                    <a:pt x="0" y="35"/>
                    <a:pt x="0" y="35"/>
                    <a:pt x="0" y="35"/>
                  </a:cubicBezTo>
                  <a:lnTo>
                    <a:pt x="76" y="35"/>
                  </a:lnTo>
                  <a:close/>
                </a:path>
              </a:pathLst>
            </a:custGeom>
            <a:solidFill>
              <a:schemeClr val="accent4">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0" name="Freeform 87">
              <a:extLst>
                <a:ext uri="{FF2B5EF4-FFF2-40B4-BE49-F238E27FC236}">
                  <a16:creationId xmlns:a16="http://schemas.microsoft.com/office/drawing/2014/main" id="{AE004D7F-71B9-4E7D-81F9-20F442103569}"/>
                </a:ext>
              </a:extLst>
            </p:cNvPr>
            <p:cNvSpPr>
              <a:spLocks/>
            </p:cNvSpPr>
            <p:nvPr/>
          </p:nvSpPr>
          <p:spPr bwMode="auto">
            <a:xfrm>
              <a:off x="6157147" y="1912756"/>
              <a:ext cx="500063" cy="336550"/>
            </a:xfrm>
            <a:custGeom>
              <a:avLst/>
              <a:gdLst>
                <a:gd name="T0" fmla="*/ 78 w 95"/>
                <a:gd name="T1" fmla="*/ 28 h 64"/>
                <a:gd name="T2" fmla="*/ 78 w 95"/>
                <a:gd name="T3" fmla="*/ 28 h 64"/>
                <a:gd name="T4" fmla="*/ 55 w 95"/>
                <a:gd name="T5" fmla="*/ 4 h 64"/>
                <a:gd name="T6" fmla="*/ 42 w 95"/>
                <a:gd name="T7" fmla="*/ 4 h 64"/>
                <a:gd name="T8" fmla="*/ 18 w 95"/>
                <a:gd name="T9" fmla="*/ 28 h 64"/>
                <a:gd name="T10" fmla="*/ 18 w 95"/>
                <a:gd name="T11" fmla="*/ 28 h 64"/>
                <a:gd name="T12" fmla="*/ 0 w 95"/>
                <a:gd name="T13" fmla="*/ 51 h 64"/>
                <a:gd name="T14" fmla="*/ 13 w 95"/>
                <a:gd name="T15" fmla="*/ 64 h 64"/>
                <a:gd name="T16" fmla="*/ 25 w 95"/>
                <a:gd name="T17" fmla="*/ 58 h 64"/>
                <a:gd name="T18" fmla="*/ 36 w 95"/>
                <a:gd name="T19" fmla="*/ 64 h 64"/>
                <a:gd name="T20" fmla="*/ 48 w 95"/>
                <a:gd name="T21" fmla="*/ 58 h 64"/>
                <a:gd name="T22" fmla="*/ 59 w 95"/>
                <a:gd name="T23" fmla="*/ 64 h 64"/>
                <a:gd name="T24" fmla="*/ 70 w 95"/>
                <a:gd name="T25" fmla="*/ 58 h 64"/>
                <a:gd name="T26" fmla="*/ 82 w 95"/>
                <a:gd name="T27" fmla="*/ 64 h 64"/>
                <a:gd name="T28" fmla="*/ 95 w 95"/>
                <a:gd name="T29" fmla="*/ 51 h 64"/>
                <a:gd name="T30" fmla="*/ 78 w 95"/>
                <a:gd name="T31" fmla="*/ 28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5" h="64">
                  <a:moveTo>
                    <a:pt x="78" y="28"/>
                  </a:moveTo>
                  <a:cubicBezTo>
                    <a:pt x="78" y="28"/>
                    <a:pt x="78" y="28"/>
                    <a:pt x="78" y="28"/>
                  </a:cubicBezTo>
                  <a:cubicBezTo>
                    <a:pt x="55" y="4"/>
                    <a:pt x="55" y="4"/>
                    <a:pt x="55" y="4"/>
                  </a:cubicBezTo>
                  <a:cubicBezTo>
                    <a:pt x="52" y="0"/>
                    <a:pt x="46" y="0"/>
                    <a:pt x="42" y="4"/>
                  </a:cubicBezTo>
                  <a:cubicBezTo>
                    <a:pt x="18" y="28"/>
                    <a:pt x="18" y="28"/>
                    <a:pt x="18" y="28"/>
                  </a:cubicBezTo>
                  <a:cubicBezTo>
                    <a:pt x="18" y="28"/>
                    <a:pt x="18" y="28"/>
                    <a:pt x="18" y="28"/>
                  </a:cubicBezTo>
                  <a:cubicBezTo>
                    <a:pt x="18" y="28"/>
                    <a:pt x="0" y="42"/>
                    <a:pt x="0" y="51"/>
                  </a:cubicBezTo>
                  <a:cubicBezTo>
                    <a:pt x="0" y="58"/>
                    <a:pt x="6" y="64"/>
                    <a:pt x="13" y="64"/>
                  </a:cubicBezTo>
                  <a:cubicBezTo>
                    <a:pt x="18" y="64"/>
                    <a:pt x="22" y="62"/>
                    <a:pt x="25" y="58"/>
                  </a:cubicBezTo>
                  <a:cubicBezTo>
                    <a:pt x="27" y="62"/>
                    <a:pt x="31" y="64"/>
                    <a:pt x="36" y="64"/>
                  </a:cubicBezTo>
                  <a:cubicBezTo>
                    <a:pt x="41" y="64"/>
                    <a:pt x="45" y="62"/>
                    <a:pt x="48" y="58"/>
                  </a:cubicBezTo>
                  <a:cubicBezTo>
                    <a:pt x="50" y="62"/>
                    <a:pt x="54" y="64"/>
                    <a:pt x="59" y="64"/>
                  </a:cubicBezTo>
                  <a:cubicBezTo>
                    <a:pt x="64" y="64"/>
                    <a:pt x="68" y="62"/>
                    <a:pt x="70" y="58"/>
                  </a:cubicBezTo>
                  <a:cubicBezTo>
                    <a:pt x="73" y="62"/>
                    <a:pt x="77" y="64"/>
                    <a:pt x="82" y="64"/>
                  </a:cubicBezTo>
                  <a:cubicBezTo>
                    <a:pt x="89" y="64"/>
                    <a:pt x="95" y="58"/>
                    <a:pt x="95" y="51"/>
                  </a:cubicBezTo>
                  <a:cubicBezTo>
                    <a:pt x="95" y="43"/>
                    <a:pt x="78" y="28"/>
                    <a:pt x="78" y="28"/>
                  </a:cubicBezTo>
                  <a:close/>
                </a:path>
              </a:pathLst>
            </a:custGeom>
            <a:gradFill>
              <a:gsLst>
                <a:gs pos="100000">
                  <a:schemeClr val="accent4">
                    <a:lumMod val="75000"/>
                  </a:schemeClr>
                </a:gs>
                <a:gs pos="0">
                  <a:schemeClr val="accent4"/>
                </a:gs>
              </a:gsLst>
              <a:lin ang="2700000" scaled="1"/>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nvGrpSpPr>
            <p:cNvPr id="11" name="Group 175">
              <a:extLst>
                <a:ext uri="{FF2B5EF4-FFF2-40B4-BE49-F238E27FC236}">
                  <a16:creationId xmlns:a16="http://schemas.microsoft.com/office/drawing/2014/main" id="{C79625AC-FA31-4455-84E8-D15896E9F719}"/>
                </a:ext>
              </a:extLst>
            </p:cNvPr>
            <p:cNvGrpSpPr/>
            <p:nvPr/>
          </p:nvGrpSpPr>
          <p:grpSpPr>
            <a:xfrm>
              <a:off x="6182547" y="2017531"/>
              <a:ext cx="574675" cy="1189038"/>
              <a:chOff x="5649913" y="1795463"/>
              <a:chExt cx="574675" cy="1189038"/>
            </a:xfrm>
          </p:grpSpPr>
          <p:sp>
            <p:nvSpPr>
              <p:cNvPr id="33" name="Oval 55">
                <a:extLst>
                  <a:ext uri="{FF2B5EF4-FFF2-40B4-BE49-F238E27FC236}">
                    <a16:creationId xmlns:a16="http://schemas.microsoft.com/office/drawing/2014/main" id="{F4C318A5-B9B7-4D38-AE9F-09BE4D91CA88}"/>
                  </a:ext>
                </a:extLst>
              </p:cNvPr>
              <p:cNvSpPr>
                <a:spLocks noChangeArrowheads="1"/>
              </p:cNvSpPr>
              <p:nvPr/>
            </p:nvSpPr>
            <p:spPr bwMode="auto">
              <a:xfrm>
                <a:off x="6167438" y="2835276"/>
                <a:ext cx="57150" cy="53975"/>
              </a:xfrm>
              <a:prstGeom prst="ellipse">
                <a:avLst/>
              </a:prstGeom>
              <a:solidFill>
                <a:schemeClr val="accent4">
                  <a:lumMod val="60000"/>
                  <a:lumOff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4" name="Oval 57">
                <a:extLst>
                  <a:ext uri="{FF2B5EF4-FFF2-40B4-BE49-F238E27FC236}">
                    <a16:creationId xmlns:a16="http://schemas.microsoft.com/office/drawing/2014/main" id="{8DB459FF-028D-4AAE-A5D8-C173DF44FE2C}"/>
                  </a:ext>
                </a:extLst>
              </p:cNvPr>
              <p:cNvSpPr>
                <a:spLocks noChangeArrowheads="1"/>
              </p:cNvSpPr>
              <p:nvPr/>
            </p:nvSpPr>
            <p:spPr bwMode="auto">
              <a:xfrm>
                <a:off x="5724526" y="2941638"/>
                <a:ext cx="47625" cy="42863"/>
              </a:xfrm>
              <a:prstGeom prst="ellipse">
                <a:avLst/>
              </a:prstGeom>
              <a:solidFill>
                <a:schemeClr val="accent4">
                  <a:lumMod val="60000"/>
                  <a:lumOff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5" name="Oval 67">
                <a:extLst>
                  <a:ext uri="{FF2B5EF4-FFF2-40B4-BE49-F238E27FC236}">
                    <a16:creationId xmlns:a16="http://schemas.microsoft.com/office/drawing/2014/main" id="{2DAF60C2-FD21-4D61-8FA2-CA1EC05E4A6E}"/>
                  </a:ext>
                </a:extLst>
              </p:cNvPr>
              <p:cNvSpPr>
                <a:spLocks noChangeArrowheads="1"/>
              </p:cNvSpPr>
              <p:nvPr/>
            </p:nvSpPr>
            <p:spPr bwMode="auto">
              <a:xfrm>
                <a:off x="5740401" y="2571751"/>
                <a:ext cx="41275" cy="42863"/>
              </a:xfrm>
              <a:prstGeom prst="ellipse">
                <a:avLst/>
              </a:prstGeom>
              <a:solidFill>
                <a:schemeClr val="accent4">
                  <a:lumMod val="60000"/>
                  <a:lumOff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6" name="Oval 68">
                <a:extLst>
                  <a:ext uri="{FF2B5EF4-FFF2-40B4-BE49-F238E27FC236}">
                    <a16:creationId xmlns:a16="http://schemas.microsoft.com/office/drawing/2014/main" id="{3C42F337-5F6B-4D4D-A99F-58B50AD47E49}"/>
                  </a:ext>
                </a:extLst>
              </p:cNvPr>
              <p:cNvSpPr>
                <a:spLocks noChangeArrowheads="1"/>
              </p:cNvSpPr>
              <p:nvPr/>
            </p:nvSpPr>
            <p:spPr bwMode="auto">
              <a:xfrm>
                <a:off x="5876926" y="2492376"/>
                <a:ext cx="42863" cy="42863"/>
              </a:xfrm>
              <a:prstGeom prst="ellipse">
                <a:avLst/>
              </a:prstGeom>
              <a:solidFill>
                <a:schemeClr val="accent4">
                  <a:lumMod val="60000"/>
                  <a:lumOff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7" name="Oval 70">
                <a:extLst>
                  <a:ext uri="{FF2B5EF4-FFF2-40B4-BE49-F238E27FC236}">
                    <a16:creationId xmlns:a16="http://schemas.microsoft.com/office/drawing/2014/main" id="{60BFEDDB-BA1B-4B76-8B52-8EEC3E583837}"/>
                  </a:ext>
                </a:extLst>
              </p:cNvPr>
              <p:cNvSpPr>
                <a:spLocks noChangeArrowheads="1"/>
              </p:cNvSpPr>
              <p:nvPr/>
            </p:nvSpPr>
            <p:spPr bwMode="auto">
              <a:xfrm>
                <a:off x="5649913" y="2560638"/>
                <a:ext cx="31750" cy="26988"/>
              </a:xfrm>
              <a:prstGeom prst="ellipse">
                <a:avLst/>
              </a:prstGeom>
              <a:solidFill>
                <a:schemeClr val="accent4">
                  <a:lumMod val="60000"/>
                  <a:lumOff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8" name="Oval 75">
                <a:extLst>
                  <a:ext uri="{FF2B5EF4-FFF2-40B4-BE49-F238E27FC236}">
                    <a16:creationId xmlns:a16="http://schemas.microsoft.com/office/drawing/2014/main" id="{E3AE3039-D8EB-4722-B222-098110EE645E}"/>
                  </a:ext>
                </a:extLst>
              </p:cNvPr>
              <p:cNvSpPr>
                <a:spLocks noChangeArrowheads="1"/>
              </p:cNvSpPr>
              <p:nvPr/>
            </p:nvSpPr>
            <p:spPr bwMode="auto">
              <a:xfrm>
                <a:off x="6072188" y="2122488"/>
                <a:ext cx="36513" cy="38100"/>
              </a:xfrm>
              <a:prstGeom prst="ellipse">
                <a:avLst/>
              </a:prstGeom>
              <a:solidFill>
                <a:schemeClr val="accent4">
                  <a:lumMod val="60000"/>
                  <a:lumOff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9" name="Oval 77">
                <a:extLst>
                  <a:ext uri="{FF2B5EF4-FFF2-40B4-BE49-F238E27FC236}">
                    <a16:creationId xmlns:a16="http://schemas.microsoft.com/office/drawing/2014/main" id="{E8D5FA03-2702-4C1F-8DDE-3AD70B5202C9}"/>
                  </a:ext>
                </a:extLst>
              </p:cNvPr>
              <p:cNvSpPr>
                <a:spLocks noChangeArrowheads="1"/>
              </p:cNvSpPr>
              <p:nvPr/>
            </p:nvSpPr>
            <p:spPr bwMode="auto">
              <a:xfrm>
                <a:off x="5761038" y="2249488"/>
                <a:ext cx="31750" cy="31750"/>
              </a:xfrm>
              <a:prstGeom prst="ellipse">
                <a:avLst/>
              </a:prstGeom>
              <a:solidFill>
                <a:schemeClr val="accent4">
                  <a:lumMod val="60000"/>
                  <a:lumOff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40" name="Oval 78">
                <a:extLst>
                  <a:ext uri="{FF2B5EF4-FFF2-40B4-BE49-F238E27FC236}">
                    <a16:creationId xmlns:a16="http://schemas.microsoft.com/office/drawing/2014/main" id="{D9C1F59C-A681-45F7-B78D-F320D0ED734F}"/>
                  </a:ext>
                </a:extLst>
              </p:cNvPr>
              <p:cNvSpPr>
                <a:spLocks noChangeArrowheads="1"/>
              </p:cNvSpPr>
              <p:nvPr/>
            </p:nvSpPr>
            <p:spPr bwMode="auto">
              <a:xfrm>
                <a:off x="5924551" y="2224088"/>
                <a:ext cx="31750" cy="31750"/>
              </a:xfrm>
              <a:prstGeom prst="ellipse">
                <a:avLst/>
              </a:prstGeom>
              <a:solidFill>
                <a:schemeClr val="accent4">
                  <a:lumMod val="60000"/>
                  <a:lumOff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41" name="Oval 88">
                <a:extLst>
                  <a:ext uri="{FF2B5EF4-FFF2-40B4-BE49-F238E27FC236}">
                    <a16:creationId xmlns:a16="http://schemas.microsoft.com/office/drawing/2014/main" id="{3321D094-BDE2-4F26-A9DE-5CEF10073C4E}"/>
                  </a:ext>
                </a:extLst>
              </p:cNvPr>
              <p:cNvSpPr>
                <a:spLocks noChangeArrowheads="1"/>
              </p:cNvSpPr>
              <p:nvPr/>
            </p:nvSpPr>
            <p:spPr bwMode="auto">
              <a:xfrm>
                <a:off x="5861051" y="1795463"/>
                <a:ext cx="36513" cy="36513"/>
              </a:xfrm>
              <a:prstGeom prst="ellipse">
                <a:avLst/>
              </a:prstGeom>
              <a:solidFill>
                <a:schemeClr val="accent4">
                  <a:lumMod val="60000"/>
                  <a:lumOff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42" name="Oval 89">
                <a:extLst>
                  <a:ext uri="{FF2B5EF4-FFF2-40B4-BE49-F238E27FC236}">
                    <a16:creationId xmlns:a16="http://schemas.microsoft.com/office/drawing/2014/main" id="{BC564987-9EEE-481B-8825-C28329F191D8}"/>
                  </a:ext>
                </a:extLst>
              </p:cNvPr>
              <p:cNvSpPr>
                <a:spLocks noChangeArrowheads="1"/>
              </p:cNvSpPr>
              <p:nvPr/>
            </p:nvSpPr>
            <p:spPr bwMode="auto">
              <a:xfrm>
                <a:off x="5734051" y="1890713"/>
                <a:ext cx="38100" cy="31750"/>
              </a:xfrm>
              <a:prstGeom prst="ellipse">
                <a:avLst/>
              </a:prstGeom>
              <a:solidFill>
                <a:schemeClr val="accent4">
                  <a:lumMod val="60000"/>
                  <a:lumOff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43" name="Oval 90">
                <a:extLst>
                  <a:ext uri="{FF2B5EF4-FFF2-40B4-BE49-F238E27FC236}">
                    <a16:creationId xmlns:a16="http://schemas.microsoft.com/office/drawing/2014/main" id="{FE2B686C-9D30-46D2-8A4F-4B6A4F68136B}"/>
                  </a:ext>
                </a:extLst>
              </p:cNvPr>
              <p:cNvSpPr>
                <a:spLocks noChangeArrowheads="1"/>
              </p:cNvSpPr>
              <p:nvPr/>
            </p:nvSpPr>
            <p:spPr bwMode="auto">
              <a:xfrm>
                <a:off x="5851526" y="1922463"/>
                <a:ext cx="30163" cy="31750"/>
              </a:xfrm>
              <a:prstGeom prst="ellipse">
                <a:avLst/>
              </a:prstGeom>
              <a:solidFill>
                <a:schemeClr val="accent4">
                  <a:lumMod val="60000"/>
                  <a:lumOff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grpSp>
          <p:nvGrpSpPr>
            <p:cNvPr id="12" name="Group 176">
              <a:extLst>
                <a:ext uri="{FF2B5EF4-FFF2-40B4-BE49-F238E27FC236}">
                  <a16:creationId xmlns:a16="http://schemas.microsoft.com/office/drawing/2014/main" id="{E0F41FD6-6953-47CE-A029-04F759FB52E8}"/>
                </a:ext>
              </a:extLst>
            </p:cNvPr>
            <p:cNvGrpSpPr/>
            <p:nvPr/>
          </p:nvGrpSpPr>
          <p:grpSpPr>
            <a:xfrm>
              <a:off x="6003160" y="2054044"/>
              <a:ext cx="785812" cy="1136650"/>
              <a:chOff x="5470526" y="1831976"/>
              <a:chExt cx="785812" cy="1136650"/>
            </a:xfrm>
            <a:solidFill>
              <a:schemeClr val="accent3">
                <a:lumMod val="75000"/>
              </a:schemeClr>
            </a:solidFill>
          </p:grpSpPr>
          <p:sp>
            <p:nvSpPr>
              <p:cNvPr id="13" name="Oval 56">
                <a:extLst>
                  <a:ext uri="{FF2B5EF4-FFF2-40B4-BE49-F238E27FC236}">
                    <a16:creationId xmlns:a16="http://schemas.microsoft.com/office/drawing/2014/main" id="{5DB2ED5A-67C3-4799-8987-A6C34033A3AC}"/>
                  </a:ext>
                </a:extLst>
              </p:cNvPr>
              <p:cNvSpPr>
                <a:spLocks noChangeArrowheads="1"/>
              </p:cNvSpPr>
              <p:nvPr/>
            </p:nvSpPr>
            <p:spPr bwMode="auto">
              <a:xfrm>
                <a:off x="5676901" y="2862263"/>
                <a:ext cx="47625" cy="52388"/>
              </a:xfrm>
              <a:prstGeom prst="ellipse">
                <a:avLst/>
              </a:prstGeom>
              <a:solidFill>
                <a:schemeClr val="accent4">
                  <a:lumMod val="75000"/>
                </a:scheme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4" name="Oval 58">
                <a:extLst>
                  <a:ext uri="{FF2B5EF4-FFF2-40B4-BE49-F238E27FC236}">
                    <a16:creationId xmlns:a16="http://schemas.microsoft.com/office/drawing/2014/main" id="{1F367599-8A6F-40A2-BDF6-4BA99028A3EE}"/>
                  </a:ext>
                </a:extLst>
              </p:cNvPr>
              <p:cNvSpPr>
                <a:spLocks noChangeArrowheads="1"/>
              </p:cNvSpPr>
              <p:nvPr/>
            </p:nvSpPr>
            <p:spPr bwMode="auto">
              <a:xfrm>
                <a:off x="6224588" y="2889251"/>
                <a:ext cx="31750" cy="36513"/>
              </a:xfrm>
              <a:prstGeom prst="ellipse">
                <a:avLst/>
              </a:prstGeom>
              <a:solidFill>
                <a:schemeClr val="accent4">
                  <a:lumMod val="75000"/>
                </a:scheme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5" name="Oval 59">
                <a:extLst>
                  <a:ext uri="{FF2B5EF4-FFF2-40B4-BE49-F238E27FC236}">
                    <a16:creationId xmlns:a16="http://schemas.microsoft.com/office/drawing/2014/main" id="{F9A4BA7E-6E95-4DEE-A864-6E48D08D3FC3}"/>
                  </a:ext>
                </a:extLst>
              </p:cNvPr>
              <p:cNvSpPr>
                <a:spLocks noChangeArrowheads="1"/>
              </p:cNvSpPr>
              <p:nvPr/>
            </p:nvSpPr>
            <p:spPr bwMode="auto">
              <a:xfrm>
                <a:off x="5624513" y="2925763"/>
                <a:ext cx="31750" cy="31750"/>
              </a:xfrm>
              <a:prstGeom prst="ellipse">
                <a:avLst/>
              </a:prstGeom>
              <a:solidFill>
                <a:schemeClr val="accent4">
                  <a:lumMod val="75000"/>
                </a:scheme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6" name="Oval 60">
                <a:extLst>
                  <a:ext uri="{FF2B5EF4-FFF2-40B4-BE49-F238E27FC236}">
                    <a16:creationId xmlns:a16="http://schemas.microsoft.com/office/drawing/2014/main" id="{FF0C52A2-B364-40A9-A218-40E93CD3D382}"/>
                  </a:ext>
                </a:extLst>
              </p:cNvPr>
              <p:cNvSpPr>
                <a:spLocks noChangeArrowheads="1"/>
              </p:cNvSpPr>
              <p:nvPr/>
            </p:nvSpPr>
            <p:spPr bwMode="auto">
              <a:xfrm>
                <a:off x="5470526" y="2914651"/>
                <a:ext cx="53975" cy="53975"/>
              </a:xfrm>
              <a:prstGeom prst="ellipse">
                <a:avLst/>
              </a:prstGeom>
              <a:solidFill>
                <a:schemeClr val="accent4">
                  <a:lumMod val="75000"/>
                </a:scheme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7" name="Oval 61">
                <a:extLst>
                  <a:ext uri="{FF2B5EF4-FFF2-40B4-BE49-F238E27FC236}">
                    <a16:creationId xmlns:a16="http://schemas.microsoft.com/office/drawing/2014/main" id="{601801B3-57EA-40AE-AFED-8828E41B289C}"/>
                  </a:ext>
                </a:extLst>
              </p:cNvPr>
              <p:cNvSpPr>
                <a:spLocks noChangeArrowheads="1"/>
              </p:cNvSpPr>
              <p:nvPr/>
            </p:nvSpPr>
            <p:spPr bwMode="auto">
              <a:xfrm>
                <a:off x="6019801" y="2909888"/>
                <a:ext cx="52388" cy="52388"/>
              </a:xfrm>
              <a:prstGeom prst="ellipse">
                <a:avLst/>
              </a:prstGeom>
              <a:solidFill>
                <a:schemeClr val="accent4">
                  <a:lumMod val="75000"/>
                </a:scheme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8" name="Oval 65">
                <a:extLst>
                  <a:ext uri="{FF2B5EF4-FFF2-40B4-BE49-F238E27FC236}">
                    <a16:creationId xmlns:a16="http://schemas.microsoft.com/office/drawing/2014/main" id="{EE358682-BD6C-48E3-A860-228369F24374}"/>
                  </a:ext>
                </a:extLst>
              </p:cNvPr>
              <p:cNvSpPr>
                <a:spLocks noChangeArrowheads="1"/>
              </p:cNvSpPr>
              <p:nvPr/>
            </p:nvSpPr>
            <p:spPr bwMode="auto">
              <a:xfrm>
                <a:off x="6140451" y="2476501"/>
                <a:ext cx="52388" cy="47625"/>
              </a:xfrm>
              <a:prstGeom prst="ellipse">
                <a:avLst/>
              </a:prstGeom>
              <a:solidFill>
                <a:schemeClr val="accent4">
                  <a:lumMod val="75000"/>
                </a:scheme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9" name="Oval 66">
                <a:extLst>
                  <a:ext uri="{FF2B5EF4-FFF2-40B4-BE49-F238E27FC236}">
                    <a16:creationId xmlns:a16="http://schemas.microsoft.com/office/drawing/2014/main" id="{4684FFB4-4995-4FF8-AE4F-5EC7D8DF8A85}"/>
                  </a:ext>
                </a:extLst>
              </p:cNvPr>
              <p:cNvSpPr>
                <a:spLocks noChangeArrowheads="1"/>
              </p:cNvSpPr>
              <p:nvPr/>
            </p:nvSpPr>
            <p:spPr bwMode="auto">
              <a:xfrm>
                <a:off x="5697538" y="2503488"/>
                <a:ext cx="42863" cy="47625"/>
              </a:xfrm>
              <a:prstGeom prst="ellipse">
                <a:avLst/>
              </a:prstGeom>
              <a:solidFill>
                <a:schemeClr val="accent4">
                  <a:lumMod val="75000"/>
                </a:scheme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0" name="Oval 69">
                <a:extLst>
                  <a:ext uri="{FF2B5EF4-FFF2-40B4-BE49-F238E27FC236}">
                    <a16:creationId xmlns:a16="http://schemas.microsoft.com/office/drawing/2014/main" id="{27E1808C-D745-433D-BB00-806BF275A63A}"/>
                  </a:ext>
                </a:extLst>
              </p:cNvPr>
              <p:cNvSpPr>
                <a:spLocks noChangeArrowheads="1"/>
              </p:cNvSpPr>
              <p:nvPr/>
            </p:nvSpPr>
            <p:spPr bwMode="auto">
              <a:xfrm>
                <a:off x="6192838" y="2530476"/>
                <a:ext cx="31750" cy="30163"/>
              </a:xfrm>
              <a:prstGeom prst="ellipse">
                <a:avLst/>
              </a:prstGeom>
              <a:solidFill>
                <a:schemeClr val="accent4">
                  <a:lumMod val="75000"/>
                </a:scheme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1" name="Oval 71">
                <a:extLst>
                  <a:ext uri="{FF2B5EF4-FFF2-40B4-BE49-F238E27FC236}">
                    <a16:creationId xmlns:a16="http://schemas.microsoft.com/office/drawing/2014/main" id="{5991C699-9C8D-466D-B49A-A315BB196A1B}"/>
                  </a:ext>
                </a:extLst>
              </p:cNvPr>
              <p:cNvSpPr>
                <a:spLocks noChangeArrowheads="1"/>
              </p:cNvSpPr>
              <p:nvPr/>
            </p:nvSpPr>
            <p:spPr bwMode="auto">
              <a:xfrm>
                <a:off x="5919788" y="2635251"/>
                <a:ext cx="31750" cy="31750"/>
              </a:xfrm>
              <a:prstGeom prst="ellipse">
                <a:avLst/>
              </a:prstGeom>
              <a:solidFill>
                <a:schemeClr val="accent4">
                  <a:lumMod val="75000"/>
                </a:scheme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2" name="Oval 72">
                <a:extLst>
                  <a:ext uri="{FF2B5EF4-FFF2-40B4-BE49-F238E27FC236}">
                    <a16:creationId xmlns:a16="http://schemas.microsoft.com/office/drawing/2014/main" id="{70239867-B4FB-48B6-BF8E-6D63B66D3B0A}"/>
                  </a:ext>
                </a:extLst>
              </p:cNvPr>
              <p:cNvSpPr>
                <a:spLocks noChangeArrowheads="1"/>
              </p:cNvSpPr>
              <p:nvPr/>
            </p:nvSpPr>
            <p:spPr bwMode="auto">
              <a:xfrm>
                <a:off x="5513388" y="2551113"/>
                <a:ext cx="47625" cy="47625"/>
              </a:xfrm>
              <a:prstGeom prst="ellipse">
                <a:avLst/>
              </a:prstGeom>
              <a:solidFill>
                <a:schemeClr val="accent4">
                  <a:lumMod val="75000"/>
                </a:scheme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3" name="Oval 73">
                <a:extLst>
                  <a:ext uri="{FF2B5EF4-FFF2-40B4-BE49-F238E27FC236}">
                    <a16:creationId xmlns:a16="http://schemas.microsoft.com/office/drawing/2014/main" id="{6AA01B1C-14FE-4C7B-92CE-55845B59CA16}"/>
                  </a:ext>
                </a:extLst>
              </p:cNvPr>
              <p:cNvSpPr>
                <a:spLocks noChangeArrowheads="1"/>
              </p:cNvSpPr>
              <p:nvPr/>
            </p:nvSpPr>
            <p:spPr bwMode="auto">
              <a:xfrm>
                <a:off x="6008688" y="2544763"/>
                <a:ext cx="47625" cy="47625"/>
              </a:xfrm>
              <a:prstGeom prst="ellipse">
                <a:avLst/>
              </a:prstGeom>
              <a:solidFill>
                <a:schemeClr val="accent4">
                  <a:lumMod val="75000"/>
                </a:scheme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4" name="Oval 76">
                <a:extLst>
                  <a:ext uri="{FF2B5EF4-FFF2-40B4-BE49-F238E27FC236}">
                    <a16:creationId xmlns:a16="http://schemas.microsoft.com/office/drawing/2014/main" id="{CA5012FF-CE9B-4ACF-9DCF-53BDCEF5AA9D}"/>
                  </a:ext>
                </a:extLst>
              </p:cNvPr>
              <p:cNvSpPr>
                <a:spLocks noChangeArrowheads="1"/>
              </p:cNvSpPr>
              <p:nvPr/>
            </p:nvSpPr>
            <p:spPr bwMode="auto">
              <a:xfrm>
                <a:off x="5761038" y="2128838"/>
                <a:ext cx="31750" cy="36513"/>
              </a:xfrm>
              <a:prstGeom prst="ellipse">
                <a:avLst/>
              </a:prstGeom>
              <a:solidFill>
                <a:schemeClr val="accent4">
                  <a:lumMod val="75000"/>
                </a:scheme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5" name="Oval 80">
                <a:extLst>
                  <a:ext uri="{FF2B5EF4-FFF2-40B4-BE49-F238E27FC236}">
                    <a16:creationId xmlns:a16="http://schemas.microsoft.com/office/drawing/2014/main" id="{057269A7-4E04-42A3-B0C1-318A54457295}"/>
                  </a:ext>
                </a:extLst>
              </p:cNvPr>
              <p:cNvSpPr>
                <a:spLocks noChangeArrowheads="1"/>
              </p:cNvSpPr>
              <p:nvPr/>
            </p:nvSpPr>
            <p:spPr bwMode="auto">
              <a:xfrm>
                <a:off x="6130926" y="2249488"/>
                <a:ext cx="25400" cy="26988"/>
              </a:xfrm>
              <a:prstGeom prst="ellipse">
                <a:avLst/>
              </a:prstGeom>
              <a:solidFill>
                <a:schemeClr val="accent4">
                  <a:lumMod val="75000"/>
                </a:scheme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6" name="Oval 81">
                <a:extLst>
                  <a:ext uri="{FF2B5EF4-FFF2-40B4-BE49-F238E27FC236}">
                    <a16:creationId xmlns:a16="http://schemas.microsoft.com/office/drawing/2014/main" id="{E456F4E7-A110-4067-95ED-7FDBBE636DF8}"/>
                  </a:ext>
                </a:extLst>
              </p:cNvPr>
              <p:cNvSpPr>
                <a:spLocks noChangeArrowheads="1"/>
              </p:cNvSpPr>
              <p:nvPr/>
            </p:nvSpPr>
            <p:spPr bwMode="auto">
              <a:xfrm>
                <a:off x="5692776" y="2239963"/>
                <a:ext cx="20638" cy="25400"/>
              </a:xfrm>
              <a:prstGeom prst="ellipse">
                <a:avLst/>
              </a:prstGeom>
              <a:solidFill>
                <a:schemeClr val="accent4">
                  <a:lumMod val="75000"/>
                </a:scheme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7" name="Oval 82">
                <a:extLst>
                  <a:ext uri="{FF2B5EF4-FFF2-40B4-BE49-F238E27FC236}">
                    <a16:creationId xmlns:a16="http://schemas.microsoft.com/office/drawing/2014/main" id="{229C1F4D-090C-4CE1-A2F0-C31FDDECB1E0}"/>
                  </a:ext>
                </a:extLst>
              </p:cNvPr>
              <p:cNvSpPr>
                <a:spLocks noChangeArrowheads="1"/>
              </p:cNvSpPr>
              <p:nvPr/>
            </p:nvSpPr>
            <p:spPr bwMode="auto">
              <a:xfrm>
                <a:off x="5581651" y="2281238"/>
                <a:ext cx="26988" cy="26988"/>
              </a:xfrm>
              <a:prstGeom prst="ellipse">
                <a:avLst/>
              </a:prstGeom>
              <a:solidFill>
                <a:schemeClr val="accent4">
                  <a:lumMod val="75000"/>
                </a:scheme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8" name="Oval 83">
                <a:extLst>
                  <a:ext uri="{FF2B5EF4-FFF2-40B4-BE49-F238E27FC236}">
                    <a16:creationId xmlns:a16="http://schemas.microsoft.com/office/drawing/2014/main" id="{29D5262C-4EE9-4BDE-825E-C649BABD57B5}"/>
                  </a:ext>
                </a:extLst>
              </p:cNvPr>
              <p:cNvSpPr>
                <a:spLocks noChangeArrowheads="1"/>
              </p:cNvSpPr>
              <p:nvPr/>
            </p:nvSpPr>
            <p:spPr bwMode="auto">
              <a:xfrm>
                <a:off x="5608638" y="2176463"/>
                <a:ext cx="31750" cy="36513"/>
              </a:xfrm>
              <a:prstGeom prst="ellipse">
                <a:avLst/>
              </a:prstGeom>
              <a:solidFill>
                <a:schemeClr val="accent4">
                  <a:lumMod val="75000"/>
                </a:scheme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9" name="Oval 84">
                <a:extLst>
                  <a:ext uri="{FF2B5EF4-FFF2-40B4-BE49-F238E27FC236}">
                    <a16:creationId xmlns:a16="http://schemas.microsoft.com/office/drawing/2014/main" id="{1112947E-1624-4851-8065-FC26E807480F}"/>
                  </a:ext>
                </a:extLst>
              </p:cNvPr>
              <p:cNvSpPr>
                <a:spLocks noChangeArrowheads="1"/>
              </p:cNvSpPr>
              <p:nvPr/>
            </p:nvSpPr>
            <p:spPr bwMode="auto">
              <a:xfrm>
                <a:off x="5972176" y="2176463"/>
                <a:ext cx="36513" cy="31750"/>
              </a:xfrm>
              <a:prstGeom prst="ellipse">
                <a:avLst/>
              </a:prstGeom>
              <a:solidFill>
                <a:schemeClr val="accent4">
                  <a:lumMod val="75000"/>
                </a:scheme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0" name="Oval 85">
                <a:extLst>
                  <a:ext uri="{FF2B5EF4-FFF2-40B4-BE49-F238E27FC236}">
                    <a16:creationId xmlns:a16="http://schemas.microsoft.com/office/drawing/2014/main" id="{F1439795-95D2-406E-B5FE-A5577262169B}"/>
                  </a:ext>
                </a:extLst>
              </p:cNvPr>
              <p:cNvSpPr>
                <a:spLocks noChangeArrowheads="1"/>
              </p:cNvSpPr>
              <p:nvPr/>
            </p:nvSpPr>
            <p:spPr bwMode="auto">
              <a:xfrm>
                <a:off x="5913438" y="2085976"/>
                <a:ext cx="38100" cy="36513"/>
              </a:xfrm>
              <a:prstGeom prst="ellipse">
                <a:avLst/>
              </a:prstGeom>
              <a:solidFill>
                <a:schemeClr val="accent4">
                  <a:lumMod val="75000"/>
                </a:scheme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1" name="Oval 91">
                <a:extLst>
                  <a:ext uri="{FF2B5EF4-FFF2-40B4-BE49-F238E27FC236}">
                    <a16:creationId xmlns:a16="http://schemas.microsoft.com/office/drawing/2014/main" id="{E93195A9-E831-49D4-900F-39AE814A6700}"/>
                  </a:ext>
                </a:extLst>
              </p:cNvPr>
              <p:cNvSpPr>
                <a:spLocks noChangeArrowheads="1"/>
              </p:cNvSpPr>
              <p:nvPr/>
            </p:nvSpPr>
            <p:spPr bwMode="auto">
              <a:xfrm>
                <a:off x="5897563" y="1831976"/>
                <a:ext cx="22225" cy="22225"/>
              </a:xfrm>
              <a:prstGeom prst="ellipse">
                <a:avLst/>
              </a:prstGeom>
              <a:solidFill>
                <a:schemeClr val="accent4">
                  <a:lumMod val="75000"/>
                </a:scheme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2" name="Oval 92">
                <a:extLst>
                  <a:ext uri="{FF2B5EF4-FFF2-40B4-BE49-F238E27FC236}">
                    <a16:creationId xmlns:a16="http://schemas.microsoft.com/office/drawing/2014/main" id="{8D843877-A1E7-4142-9080-B9C6BD270456}"/>
                  </a:ext>
                </a:extLst>
              </p:cNvPr>
              <p:cNvSpPr>
                <a:spLocks noChangeArrowheads="1"/>
              </p:cNvSpPr>
              <p:nvPr/>
            </p:nvSpPr>
            <p:spPr bwMode="auto">
              <a:xfrm>
                <a:off x="5967413" y="1922463"/>
                <a:ext cx="36513" cy="36513"/>
              </a:xfrm>
              <a:prstGeom prst="ellipse">
                <a:avLst/>
              </a:prstGeom>
              <a:solidFill>
                <a:schemeClr val="accent4">
                  <a:lumMod val="75000"/>
                </a:scheme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grpSp>
      <p:grpSp>
        <p:nvGrpSpPr>
          <p:cNvPr id="44" name="Group 216">
            <a:extLst>
              <a:ext uri="{FF2B5EF4-FFF2-40B4-BE49-F238E27FC236}">
                <a16:creationId xmlns:a16="http://schemas.microsoft.com/office/drawing/2014/main" id="{1491626B-16C7-4862-BF07-A45D81122CC5}"/>
              </a:ext>
            </a:extLst>
          </p:cNvPr>
          <p:cNvGrpSpPr/>
          <p:nvPr/>
        </p:nvGrpSpPr>
        <p:grpSpPr>
          <a:xfrm flipH="1">
            <a:off x="6814470" y="1037112"/>
            <a:ext cx="1452571" cy="297979"/>
            <a:chOff x="6803902" y="1491921"/>
            <a:chExt cx="1452571" cy="297979"/>
          </a:xfrm>
        </p:grpSpPr>
        <p:cxnSp>
          <p:nvCxnSpPr>
            <p:cNvPr id="45" name="Straight Connector 217">
              <a:extLst>
                <a:ext uri="{FF2B5EF4-FFF2-40B4-BE49-F238E27FC236}">
                  <a16:creationId xmlns:a16="http://schemas.microsoft.com/office/drawing/2014/main" id="{883057D2-A00F-4366-A716-180A442D59C4}"/>
                </a:ext>
              </a:extLst>
            </p:cNvPr>
            <p:cNvCxnSpPr>
              <a:cxnSpLocks/>
            </p:cNvCxnSpPr>
            <p:nvPr/>
          </p:nvCxnSpPr>
          <p:spPr>
            <a:xfrm flipH="1">
              <a:off x="7101881" y="1640910"/>
              <a:ext cx="1154592" cy="0"/>
            </a:xfrm>
            <a:prstGeom prst="line">
              <a:avLst/>
            </a:prstGeom>
            <a:ln>
              <a:solidFill>
                <a:schemeClr val="tx1">
                  <a:lumMod val="75000"/>
                  <a:lumOff val="25000"/>
                </a:schemeClr>
              </a:solidFill>
              <a:prstDash val="dash"/>
              <a:tailEnd type="none"/>
            </a:ln>
            <a:effectLst>
              <a:outerShdw blurRad="2667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grpSp>
          <p:nvGrpSpPr>
            <p:cNvPr id="46" name="Group 218">
              <a:extLst>
                <a:ext uri="{FF2B5EF4-FFF2-40B4-BE49-F238E27FC236}">
                  <a16:creationId xmlns:a16="http://schemas.microsoft.com/office/drawing/2014/main" id="{AB33B86B-6C5F-4797-B6D8-826F1701D9E0}"/>
                </a:ext>
              </a:extLst>
            </p:cNvPr>
            <p:cNvGrpSpPr/>
            <p:nvPr/>
          </p:nvGrpSpPr>
          <p:grpSpPr>
            <a:xfrm rot="16200000">
              <a:off x="6803902" y="1491921"/>
              <a:ext cx="297979" cy="297979"/>
              <a:chOff x="5867400" y="1025054"/>
              <a:chExt cx="457200" cy="457200"/>
            </a:xfrm>
            <a:solidFill>
              <a:schemeClr val="bg1"/>
            </a:solidFill>
          </p:grpSpPr>
          <p:sp>
            <p:nvSpPr>
              <p:cNvPr id="47" name="Oval 219">
                <a:extLst>
                  <a:ext uri="{FF2B5EF4-FFF2-40B4-BE49-F238E27FC236}">
                    <a16:creationId xmlns:a16="http://schemas.microsoft.com/office/drawing/2014/main" id="{B7799E99-79E6-4D01-A726-E9BA8B47C21F}"/>
                  </a:ext>
                </a:extLst>
              </p:cNvPr>
              <p:cNvSpPr/>
              <p:nvPr/>
            </p:nvSpPr>
            <p:spPr>
              <a:xfrm>
                <a:off x="5867400" y="1025054"/>
                <a:ext cx="457200" cy="457200"/>
              </a:xfrm>
              <a:prstGeom prst="ellipse">
                <a:avLst/>
              </a:prstGeom>
              <a:solidFill>
                <a:schemeClr val="accent4">
                  <a:alpha val="1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400" b="0" i="0" u="none" strike="noStrike" kern="1200" cap="none" spc="0" normalizeH="0" baseline="0" noProof="0">
                  <a:ln>
                    <a:noFill/>
                  </a:ln>
                  <a:solidFill>
                    <a:srgbClr val="FFFFFF"/>
                  </a:solidFill>
                  <a:effectLst/>
                  <a:uLnTx/>
                  <a:uFillTx/>
                  <a:latin typeface="等线" panose="020F0502020204030204"/>
                  <a:ea typeface="+mn-ea"/>
                  <a:cs typeface="+mn-cs"/>
                </a:endParaRPr>
              </a:p>
            </p:txBody>
          </p:sp>
          <p:sp>
            <p:nvSpPr>
              <p:cNvPr id="48" name="Oval 220">
                <a:extLst>
                  <a:ext uri="{FF2B5EF4-FFF2-40B4-BE49-F238E27FC236}">
                    <a16:creationId xmlns:a16="http://schemas.microsoft.com/office/drawing/2014/main" id="{774F5FC7-D515-426F-B9D6-97CC56A792FC}"/>
                  </a:ext>
                </a:extLst>
              </p:cNvPr>
              <p:cNvSpPr/>
              <p:nvPr/>
            </p:nvSpPr>
            <p:spPr>
              <a:xfrm>
                <a:off x="5956101" y="1110778"/>
                <a:ext cx="279797" cy="279797"/>
              </a:xfrm>
              <a:prstGeom prst="ellipse">
                <a:avLst/>
              </a:prstGeom>
              <a:solidFill>
                <a:schemeClr val="accent4">
                  <a:alpha val="2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400" b="0" i="0" u="none" strike="noStrike" kern="1200" cap="none" spc="0" normalizeH="0" baseline="0" noProof="0">
                  <a:ln>
                    <a:noFill/>
                  </a:ln>
                  <a:solidFill>
                    <a:srgbClr val="FFFFFF"/>
                  </a:solidFill>
                  <a:effectLst/>
                  <a:uLnTx/>
                  <a:uFillTx/>
                  <a:latin typeface="等线" panose="020F0502020204030204"/>
                  <a:ea typeface="+mn-ea"/>
                  <a:cs typeface="+mn-cs"/>
                </a:endParaRPr>
              </a:p>
            </p:txBody>
          </p:sp>
        </p:grpSp>
      </p:grpSp>
      <p:grpSp>
        <p:nvGrpSpPr>
          <p:cNvPr id="49" name="Group 269">
            <a:extLst>
              <a:ext uri="{FF2B5EF4-FFF2-40B4-BE49-F238E27FC236}">
                <a16:creationId xmlns:a16="http://schemas.microsoft.com/office/drawing/2014/main" id="{03F099E2-1058-4584-8197-5BD202468B38}"/>
              </a:ext>
            </a:extLst>
          </p:cNvPr>
          <p:cNvGrpSpPr/>
          <p:nvPr/>
        </p:nvGrpSpPr>
        <p:grpSpPr>
          <a:xfrm flipH="1">
            <a:off x="7465240" y="3119784"/>
            <a:ext cx="919449" cy="297979"/>
            <a:chOff x="6803902" y="1491921"/>
            <a:chExt cx="919449" cy="297979"/>
          </a:xfrm>
        </p:grpSpPr>
        <p:cxnSp>
          <p:nvCxnSpPr>
            <p:cNvPr id="50" name="Straight Connector 270">
              <a:extLst>
                <a:ext uri="{FF2B5EF4-FFF2-40B4-BE49-F238E27FC236}">
                  <a16:creationId xmlns:a16="http://schemas.microsoft.com/office/drawing/2014/main" id="{909AB721-A466-4BCB-9A55-7F759B6BB97E}"/>
                </a:ext>
              </a:extLst>
            </p:cNvPr>
            <p:cNvCxnSpPr>
              <a:cxnSpLocks/>
            </p:cNvCxnSpPr>
            <p:nvPr/>
          </p:nvCxnSpPr>
          <p:spPr>
            <a:xfrm flipH="1">
              <a:off x="7101881" y="1640910"/>
              <a:ext cx="621470" cy="0"/>
            </a:xfrm>
            <a:prstGeom prst="line">
              <a:avLst/>
            </a:prstGeom>
            <a:ln>
              <a:solidFill>
                <a:schemeClr val="tx1">
                  <a:lumMod val="75000"/>
                  <a:lumOff val="25000"/>
                </a:schemeClr>
              </a:solidFill>
              <a:prstDash val="dash"/>
              <a:tailEnd type="none"/>
            </a:ln>
            <a:effectLst>
              <a:outerShdw blurRad="2667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grpSp>
          <p:nvGrpSpPr>
            <p:cNvPr id="51" name="Group 271">
              <a:extLst>
                <a:ext uri="{FF2B5EF4-FFF2-40B4-BE49-F238E27FC236}">
                  <a16:creationId xmlns:a16="http://schemas.microsoft.com/office/drawing/2014/main" id="{6895D035-6815-4478-A99B-D8037EC27E83}"/>
                </a:ext>
              </a:extLst>
            </p:cNvPr>
            <p:cNvGrpSpPr/>
            <p:nvPr/>
          </p:nvGrpSpPr>
          <p:grpSpPr>
            <a:xfrm rot="16200000">
              <a:off x="6803902" y="1491921"/>
              <a:ext cx="297979" cy="297979"/>
              <a:chOff x="5867400" y="1025054"/>
              <a:chExt cx="457200" cy="457200"/>
            </a:xfrm>
            <a:solidFill>
              <a:schemeClr val="bg1"/>
            </a:solidFill>
          </p:grpSpPr>
          <p:sp>
            <p:nvSpPr>
              <p:cNvPr id="52" name="Oval 272">
                <a:extLst>
                  <a:ext uri="{FF2B5EF4-FFF2-40B4-BE49-F238E27FC236}">
                    <a16:creationId xmlns:a16="http://schemas.microsoft.com/office/drawing/2014/main" id="{9D335FF9-5E2A-4188-8634-43FC68B98D6D}"/>
                  </a:ext>
                </a:extLst>
              </p:cNvPr>
              <p:cNvSpPr/>
              <p:nvPr/>
            </p:nvSpPr>
            <p:spPr>
              <a:xfrm>
                <a:off x="5867400" y="1025054"/>
                <a:ext cx="457200" cy="457200"/>
              </a:xfrm>
              <a:prstGeom prst="ellipse">
                <a:avLst/>
              </a:prstGeom>
              <a:solidFill>
                <a:schemeClr val="accent4">
                  <a:alpha val="1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400" b="0" i="0" u="none" strike="noStrike" kern="1200" cap="none" spc="0" normalizeH="0" baseline="0" noProof="0">
                  <a:ln>
                    <a:noFill/>
                  </a:ln>
                  <a:solidFill>
                    <a:srgbClr val="FFFFFF"/>
                  </a:solidFill>
                  <a:effectLst/>
                  <a:uLnTx/>
                  <a:uFillTx/>
                  <a:latin typeface="等线" panose="020F0502020204030204"/>
                  <a:ea typeface="+mn-ea"/>
                  <a:cs typeface="+mn-cs"/>
                </a:endParaRPr>
              </a:p>
            </p:txBody>
          </p:sp>
          <p:sp>
            <p:nvSpPr>
              <p:cNvPr id="53" name="Oval 273">
                <a:extLst>
                  <a:ext uri="{FF2B5EF4-FFF2-40B4-BE49-F238E27FC236}">
                    <a16:creationId xmlns:a16="http://schemas.microsoft.com/office/drawing/2014/main" id="{92BE1DA0-1C1A-4135-BF08-FF046F2BE6B4}"/>
                  </a:ext>
                </a:extLst>
              </p:cNvPr>
              <p:cNvSpPr/>
              <p:nvPr/>
            </p:nvSpPr>
            <p:spPr>
              <a:xfrm>
                <a:off x="5956101" y="1110778"/>
                <a:ext cx="279797" cy="279797"/>
              </a:xfrm>
              <a:prstGeom prst="ellipse">
                <a:avLst/>
              </a:prstGeom>
              <a:solidFill>
                <a:schemeClr val="accent4">
                  <a:alpha val="2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400" b="0" i="0" u="none" strike="noStrike" kern="1200" cap="none" spc="0" normalizeH="0" baseline="0" noProof="0">
                  <a:ln>
                    <a:noFill/>
                  </a:ln>
                  <a:solidFill>
                    <a:srgbClr val="FFFFFF"/>
                  </a:solidFill>
                  <a:effectLst/>
                  <a:uLnTx/>
                  <a:uFillTx/>
                  <a:latin typeface="等线" panose="020F0502020204030204"/>
                  <a:ea typeface="+mn-ea"/>
                  <a:cs typeface="+mn-cs"/>
                </a:endParaRPr>
              </a:p>
            </p:txBody>
          </p:sp>
        </p:grpSp>
      </p:grpSp>
      <p:grpSp>
        <p:nvGrpSpPr>
          <p:cNvPr id="54" name="Group 1">
            <a:extLst>
              <a:ext uri="{FF2B5EF4-FFF2-40B4-BE49-F238E27FC236}">
                <a16:creationId xmlns:a16="http://schemas.microsoft.com/office/drawing/2014/main" id="{3B8A795B-0895-4815-987B-BCCD9ABEA0E4}"/>
              </a:ext>
            </a:extLst>
          </p:cNvPr>
          <p:cNvGrpSpPr/>
          <p:nvPr/>
        </p:nvGrpSpPr>
        <p:grpSpPr>
          <a:xfrm>
            <a:off x="8448405" y="821697"/>
            <a:ext cx="3004358" cy="1814910"/>
            <a:chOff x="8483308" y="965660"/>
            <a:chExt cx="3004358" cy="1814910"/>
          </a:xfrm>
        </p:grpSpPr>
        <p:grpSp>
          <p:nvGrpSpPr>
            <p:cNvPr id="55" name="Group 209">
              <a:extLst>
                <a:ext uri="{FF2B5EF4-FFF2-40B4-BE49-F238E27FC236}">
                  <a16:creationId xmlns:a16="http://schemas.microsoft.com/office/drawing/2014/main" id="{9690CE03-1171-4CFA-A1A5-17031645C174}"/>
                </a:ext>
              </a:extLst>
            </p:cNvPr>
            <p:cNvGrpSpPr/>
            <p:nvPr/>
          </p:nvGrpSpPr>
          <p:grpSpPr>
            <a:xfrm flipH="1">
              <a:off x="8483308" y="965660"/>
              <a:ext cx="2182370" cy="961918"/>
              <a:chOff x="4838862" y="1363790"/>
              <a:chExt cx="2182370" cy="961918"/>
            </a:xfrm>
          </p:grpSpPr>
          <p:sp>
            <p:nvSpPr>
              <p:cNvPr id="57" name="Rectangle 239">
                <a:extLst>
                  <a:ext uri="{FF2B5EF4-FFF2-40B4-BE49-F238E27FC236}">
                    <a16:creationId xmlns:a16="http://schemas.microsoft.com/office/drawing/2014/main" id="{F8FB45B3-65C3-40A6-B106-9A54E47C3643}"/>
                  </a:ext>
                </a:extLst>
              </p:cNvPr>
              <p:cNvSpPr/>
              <p:nvPr/>
            </p:nvSpPr>
            <p:spPr>
              <a:xfrm>
                <a:off x="4838862" y="1937140"/>
                <a:ext cx="2182370" cy="388568"/>
              </a:xfrm>
              <a:prstGeom prst="rect">
                <a:avLst/>
              </a:prstGeom>
            </p:spPr>
            <p:txBody>
              <a:bodyPr wrap="square">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id-ID" sz="1400" b="1" i="0" u="none" strike="noStrike" kern="1200" cap="none" spc="0" normalizeH="0" baseline="0" noProof="0" dirty="0">
                    <a:ln>
                      <a:noFill/>
                    </a:ln>
                    <a:solidFill>
                      <a:srgbClr val="000000">
                        <a:lumMod val="85000"/>
                        <a:lumOff val="15000"/>
                      </a:srgbClr>
                    </a:solidFill>
                    <a:effectLst/>
                    <a:uLnTx/>
                    <a:uFillTx/>
                    <a:latin typeface="等线" panose="020F0502020204030204"/>
                    <a:ea typeface="+mn-ea"/>
                    <a:cs typeface="Arial" panose="020B0604020202020204" pitchFamily="34" charset="0"/>
                  </a:rPr>
                  <a:t>Title Text Goes Here</a:t>
                </a:r>
                <a:endParaRPr kumimoji="0" lang="en-US" sz="1400" b="1" i="0" u="none" strike="noStrike" kern="1200" cap="none" spc="0" normalizeH="0" baseline="0" noProof="0" dirty="0">
                  <a:ln>
                    <a:noFill/>
                  </a:ln>
                  <a:solidFill>
                    <a:srgbClr val="000000">
                      <a:lumMod val="85000"/>
                      <a:lumOff val="15000"/>
                    </a:srgbClr>
                  </a:solidFill>
                  <a:effectLst/>
                  <a:uLnTx/>
                  <a:uFillTx/>
                  <a:latin typeface="等线" panose="020F0502020204030204"/>
                  <a:ea typeface="+mn-ea"/>
                  <a:cs typeface="Arial" panose="020B0604020202020204" pitchFamily="34" charset="0"/>
                </a:endParaRPr>
              </a:p>
            </p:txBody>
          </p:sp>
          <p:sp>
            <p:nvSpPr>
              <p:cNvPr id="58" name="TextBox 240">
                <a:extLst>
                  <a:ext uri="{FF2B5EF4-FFF2-40B4-BE49-F238E27FC236}">
                    <a16:creationId xmlns:a16="http://schemas.microsoft.com/office/drawing/2014/main" id="{E389D9CF-2201-467F-AC91-6618E0AE36EB}"/>
                  </a:ext>
                </a:extLst>
              </p:cNvPr>
              <p:cNvSpPr txBox="1"/>
              <p:nvPr/>
            </p:nvSpPr>
            <p:spPr>
              <a:xfrm>
                <a:off x="5566173" y="1363790"/>
                <a:ext cx="1455059"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dirty="0">
                    <a:ln>
                      <a:noFill/>
                    </a:ln>
                    <a:solidFill>
                      <a:srgbClr val="000000">
                        <a:lumMod val="85000"/>
                        <a:lumOff val="15000"/>
                      </a:srgbClr>
                    </a:solidFill>
                    <a:effectLst/>
                    <a:uLnTx/>
                    <a:uFillTx/>
                    <a:latin typeface="等线" panose="020F0502020204030204"/>
                    <a:ea typeface="+mn-ea"/>
                    <a:cs typeface="Lato Heavy" panose="020F0902020204030203" pitchFamily="34" charset="0"/>
                  </a:rPr>
                  <a:t>8</a:t>
                </a:r>
                <a:r>
                  <a:rPr kumimoji="0" lang="id-ID" sz="3600" b="1" i="0" u="none" strike="noStrike" kern="1200" cap="none" spc="0" normalizeH="0" baseline="0" noProof="0" dirty="0">
                    <a:ln>
                      <a:noFill/>
                    </a:ln>
                    <a:solidFill>
                      <a:srgbClr val="000000">
                        <a:lumMod val="85000"/>
                        <a:lumOff val="15000"/>
                      </a:srgbClr>
                    </a:solidFill>
                    <a:effectLst/>
                    <a:uLnTx/>
                    <a:uFillTx/>
                    <a:latin typeface="等线" panose="020F0502020204030204"/>
                    <a:ea typeface="+mn-ea"/>
                    <a:cs typeface="Lato Heavy" panose="020F0902020204030203" pitchFamily="34" charset="0"/>
                  </a:rPr>
                  <a:t>0</a:t>
                </a:r>
                <a:r>
                  <a:rPr kumimoji="0" lang="id-ID" sz="2000" b="1" i="0" u="none" strike="noStrike" kern="1200" cap="none" spc="0" normalizeH="0" baseline="0" noProof="0" dirty="0">
                    <a:ln>
                      <a:noFill/>
                    </a:ln>
                    <a:solidFill>
                      <a:srgbClr val="000000">
                        <a:lumMod val="85000"/>
                        <a:lumOff val="15000"/>
                      </a:srgbClr>
                    </a:solidFill>
                    <a:effectLst/>
                    <a:uLnTx/>
                    <a:uFillTx/>
                    <a:latin typeface="等线" panose="020F0502020204030204"/>
                    <a:ea typeface="+mn-ea"/>
                    <a:cs typeface="Lato Heavy" panose="020F0902020204030203" pitchFamily="34" charset="0"/>
                  </a:rPr>
                  <a:t>%</a:t>
                </a:r>
                <a:endParaRPr kumimoji="0" lang="en-US" sz="2000" b="1" i="0" u="none" strike="noStrike" kern="1200" cap="none" spc="0" normalizeH="0" baseline="0" noProof="0" dirty="0">
                  <a:ln>
                    <a:noFill/>
                  </a:ln>
                  <a:solidFill>
                    <a:srgbClr val="000000">
                      <a:lumMod val="85000"/>
                      <a:lumOff val="15000"/>
                    </a:srgbClr>
                  </a:solidFill>
                  <a:effectLst/>
                  <a:uLnTx/>
                  <a:uFillTx/>
                  <a:latin typeface="等线" panose="020F0502020204030204"/>
                  <a:ea typeface="+mn-ea"/>
                  <a:cs typeface="Lato Heavy" panose="020F0902020204030203" pitchFamily="34" charset="0"/>
                </a:endParaRPr>
              </a:p>
            </p:txBody>
          </p:sp>
        </p:grpSp>
        <p:sp>
          <p:nvSpPr>
            <p:cNvPr id="56" name="Rectangle 259">
              <a:extLst>
                <a:ext uri="{FF2B5EF4-FFF2-40B4-BE49-F238E27FC236}">
                  <a16:creationId xmlns:a16="http://schemas.microsoft.com/office/drawing/2014/main" id="{B42CC62A-75C8-4684-B740-3495D4B9C6CB}"/>
                </a:ext>
              </a:extLst>
            </p:cNvPr>
            <p:cNvSpPr/>
            <p:nvPr/>
          </p:nvSpPr>
          <p:spPr>
            <a:xfrm>
              <a:off x="8483308" y="1891672"/>
              <a:ext cx="3004358" cy="888898"/>
            </a:xfrm>
            <a:prstGeom prst="rect">
              <a:avLst/>
            </a:prstGeom>
            <a:noFill/>
          </p:spPr>
          <p:txBody>
            <a:bodyPr wrap="square">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A0A1A3"/>
                  </a:solidFill>
                  <a:effectLst/>
                  <a:uLnTx/>
                  <a:uFillTx/>
                  <a:latin typeface="等线" panose="020F0502020204030204"/>
                  <a:ea typeface="+mn-ea"/>
                  <a:cs typeface="Arial" panose="020B0604020202020204" pitchFamily="34" charset="0"/>
                </a:rPr>
                <a:t>A wonderful serenity has taken possession of my entire soul, like these sweet mornings</a:t>
              </a:r>
            </a:p>
          </p:txBody>
        </p:sp>
      </p:grpSp>
      <p:grpSp>
        <p:nvGrpSpPr>
          <p:cNvPr id="59" name="Group 2">
            <a:extLst>
              <a:ext uri="{FF2B5EF4-FFF2-40B4-BE49-F238E27FC236}">
                <a16:creationId xmlns:a16="http://schemas.microsoft.com/office/drawing/2014/main" id="{6B02B265-7558-4FAA-9AED-DE7CE5739D8D}"/>
              </a:ext>
            </a:extLst>
          </p:cNvPr>
          <p:cNvGrpSpPr/>
          <p:nvPr/>
        </p:nvGrpSpPr>
        <p:grpSpPr>
          <a:xfrm>
            <a:off x="8540675" y="2904369"/>
            <a:ext cx="3352849" cy="1538167"/>
            <a:chOff x="8837450" y="2754117"/>
            <a:chExt cx="3352849" cy="1538167"/>
          </a:xfrm>
        </p:grpSpPr>
        <p:grpSp>
          <p:nvGrpSpPr>
            <p:cNvPr id="60" name="Group 266">
              <a:extLst>
                <a:ext uri="{FF2B5EF4-FFF2-40B4-BE49-F238E27FC236}">
                  <a16:creationId xmlns:a16="http://schemas.microsoft.com/office/drawing/2014/main" id="{46E49527-2422-4AD2-9941-414EF66D6AE4}"/>
                </a:ext>
              </a:extLst>
            </p:cNvPr>
            <p:cNvGrpSpPr/>
            <p:nvPr/>
          </p:nvGrpSpPr>
          <p:grpSpPr>
            <a:xfrm flipH="1">
              <a:off x="8837451" y="2754117"/>
              <a:ext cx="2182370" cy="961918"/>
              <a:chOff x="4838862" y="1363790"/>
              <a:chExt cx="2182370" cy="961918"/>
            </a:xfrm>
          </p:grpSpPr>
          <p:sp>
            <p:nvSpPr>
              <p:cNvPr id="62" name="Rectangle 267">
                <a:extLst>
                  <a:ext uri="{FF2B5EF4-FFF2-40B4-BE49-F238E27FC236}">
                    <a16:creationId xmlns:a16="http://schemas.microsoft.com/office/drawing/2014/main" id="{1C919721-C62E-4B84-BCF7-DF4A07310CA1}"/>
                  </a:ext>
                </a:extLst>
              </p:cNvPr>
              <p:cNvSpPr/>
              <p:nvPr/>
            </p:nvSpPr>
            <p:spPr>
              <a:xfrm>
                <a:off x="4838862" y="1937140"/>
                <a:ext cx="2182370" cy="388568"/>
              </a:xfrm>
              <a:prstGeom prst="rect">
                <a:avLst/>
              </a:prstGeom>
            </p:spPr>
            <p:txBody>
              <a:bodyPr wrap="square">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id-ID" sz="1400" b="1" i="0" u="none" strike="noStrike" kern="1200" cap="none" spc="0" normalizeH="0" baseline="0" noProof="0" dirty="0">
                    <a:ln>
                      <a:noFill/>
                    </a:ln>
                    <a:solidFill>
                      <a:srgbClr val="000000">
                        <a:lumMod val="85000"/>
                        <a:lumOff val="15000"/>
                      </a:srgbClr>
                    </a:solidFill>
                    <a:effectLst/>
                    <a:uLnTx/>
                    <a:uFillTx/>
                    <a:latin typeface="等线" panose="020F0502020204030204"/>
                    <a:ea typeface="+mn-ea"/>
                    <a:cs typeface="Arial" panose="020B0604020202020204" pitchFamily="34" charset="0"/>
                  </a:rPr>
                  <a:t>Title Text Goes Here</a:t>
                </a:r>
                <a:endParaRPr kumimoji="0" lang="en-US" sz="1400" b="1" i="0" u="none" strike="noStrike" kern="1200" cap="none" spc="0" normalizeH="0" baseline="0" noProof="0" dirty="0">
                  <a:ln>
                    <a:noFill/>
                  </a:ln>
                  <a:solidFill>
                    <a:srgbClr val="000000">
                      <a:lumMod val="85000"/>
                      <a:lumOff val="15000"/>
                    </a:srgbClr>
                  </a:solidFill>
                  <a:effectLst/>
                  <a:uLnTx/>
                  <a:uFillTx/>
                  <a:latin typeface="等线" panose="020F0502020204030204"/>
                  <a:ea typeface="+mn-ea"/>
                  <a:cs typeface="Arial" panose="020B0604020202020204" pitchFamily="34" charset="0"/>
                </a:endParaRPr>
              </a:p>
            </p:txBody>
          </p:sp>
          <p:sp>
            <p:nvSpPr>
              <p:cNvPr id="63" name="TextBox 268">
                <a:extLst>
                  <a:ext uri="{FF2B5EF4-FFF2-40B4-BE49-F238E27FC236}">
                    <a16:creationId xmlns:a16="http://schemas.microsoft.com/office/drawing/2014/main" id="{0ACCB154-AC1B-44B1-9B24-3C4FB5CBCEAD}"/>
                  </a:ext>
                </a:extLst>
              </p:cNvPr>
              <p:cNvSpPr txBox="1"/>
              <p:nvPr/>
            </p:nvSpPr>
            <p:spPr>
              <a:xfrm>
                <a:off x="5566173" y="1363790"/>
                <a:ext cx="1455059"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dirty="0">
                    <a:ln>
                      <a:noFill/>
                    </a:ln>
                    <a:solidFill>
                      <a:srgbClr val="000000">
                        <a:lumMod val="85000"/>
                        <a:lumOff val="15000"/>
                      </a:srgbClr>
                    </a:solidFill>
                    <a:effectLst/>
                    <a:uLnTx/>
                    <a:uFillTx/>
                    <a:latin typeface="等线" panose="020F0502020204030204"/>
                    <a:ea typeface="+mn-ea"/>
                    <a:cs typeface="Lato Heavy" panose="020F0902020204030203" pitchFamily="34" charset="0"/>
                  </a:rPr>
                  <a:t>4</a:t>
                </a:r>
                <a:r>
                  <a:rPr kumimoji="0" lang="id-ID" sz="3600" b="1" i="0" u="none" strike="noStrike" kern="1200" cap="none" spc="0" normalizeH="0" baseline="0" noProof="0" dirty="0">
                    <a:ln>
                      <a:noFill/>
                    </a:ln>
                    <a:solidFill>
                      <a:srgbClr val="000000">
                        <a:lumMod val="85000"/>
                        <a:lumOff val="15000"/>
                      </a:srgbClr>
                    </a:solidFill>
                    <a:effectLst/>
                    <a:uLnTx/>
                    <a:uFillTx/>
                    <a:latin typeface="等线" panose="020F0502020204030204"/>
                    <a:ea typeface="+mn-ea"/>
                    <a:cs typeface="Lato Heavy" panose="020F0902020204030203" pitchFamily="34" charset="0"/>
                  </a:rPr>
                  <a:t>0</a:t>
                </a:r>
                <a:r>
                  <a:rPr kumimoji="0" lang="id-ID" sz="2000" b="1" i="0" u="none" strike="noStrike" kern="1200" cap="none" spc="0" normalizeH="0" baseline="0" noProof="0" dirty="0">
                    <a:ln>
                      <a:noFill/>
                    </a:ln>
                    <a:solidFill>
                      <a:srgbClr val="000000">
                        <a:lumMod val="85000"/>
                        <a:lumOff val="15000"/>
                      </a:srgbClr>
                    </a:solidFill>
                    <a:effectLst/>
                    <a:uLnTx/>
                    <a:uFillTx/>
                    <a:latin typeface="等线" panose="020F0502020204030204"/>
                    <a:ea typeface="+mn-ea"/>
                    <a:cs typeface="Lato Heavy" panose="020F0902020204030203" pitchFamily="34" charset="0"/>
                  </a:rPr>
                  <a:t>%</a:t>
                </a:r>
                <a:endParaRPr kumimoji="0" lang="en-US" sz="2000" b="1" i="0" u="none" strike="noStrike" kern="1200" cap="none" spc="0" normalizeH="0" baseline="0" noProof="0" dirty="0">
                  <a:ln>
                    <a:noFill/>
                  </a:ln>
                  <a:solidFill>
                    <a:srgbClr val="000000">
                      <a:lumMod val="85000"/>
                      <a:lumOff val="15000"/>
                    </a:srgbClr>
                  </a:solidFill>
                  <a:effectLst/>
                  <a:uLnTx/>
                  <a:uFillTx/>
                  <a:latin typeface="等线" panose="020F0502020204030204"/>
                  <a:ea typeface="+mn-ea"/>
                  <a:cs typeface="Lato Heavy" panose="020F0902020204030203" pitchFamily="34" charset="0"/>
                </a:endParaRPr>
              </a:p>
            </p:txBody>
          </p:sp>
        </p:grpSp>
        <p:sp>
          <p:nvSpPr>
            <p:cNvPr id="61" name="Rectangle 274">
              <a:extLst>
                <a:ext uri="{FF2B5EF4-FFF2-40B4-BE49-F238E27FC236}">
                  <a16:creationId xmlns:a16="http://schemas.microsoft.com/office/drawing/2014/main" id="{A96F4442-9AAF-4B21-91D4-7045D2DBE818}"/>
                </a:ext>
              </a:extLst>
            </p:cNvPr>
            <p:cNvSpPr/>
            <p:nvPr/>
          </p:nvSpPr>
          <p:spPr>
            <a:xfrm>
              <a:off x="8837450" y="3680129"/>
              <a:ext cx="3352849" cy="612155"/>
            </a:xfrm>
            <a:prstGeom prst="rect">
              <a:avLst/>
            </a:prstGeom>
            <a:noFill/>
          </p:spPr>
          <p:txBody>
            <a:bodyPr wrap="square">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A0A1A3"/>
                  </a:solidFill>
                  <a:effectLst/>
                  <a:uLnTx/>
                  <a:uFillTx/>
                  <a:latin typeface="等线" panose="020F0502020204030204"/>
                  <a:ea typeface="+mn-ea"/>
                  <a:cs typeface="Arial" panose="020B0604020202020204" pitchFamily="34" charset="0"/>
                </a:rPr>
                <a:t>A wonderful serenity has taken possession of my entire soul, like these sweet mornings</a:t>
              </a:r>
            </a:p>
          </p:txBody>
        </p:sp>
      </p:grpSp>
      <p:sp>
        <p:nvSpPr>
          <p:cNvPr id="64" name="TextBox 102">
            <a:extLst>
              <a:ext uri="{FF2B5EF4-FFF2-40B4-BE49-F238E27FC236}">
                <a16:creationId xmlns:a16="http://schemas.microsoft.com/office/drawing/2014/main" id="{44CD9B7B-44BA-4423-A09F-2B2C1C479AE1}"/>
              </a:ext>
            </a:extLst>
          </p:cNvPr>
          <p:cNvSpPr txBox="1"/>
          <p:nvPr/>
        </p:nvSpPr>
        <p:spPr>
          <a:xfrm>
            <a:off x="942974" y="1667479"/>
            <a:ext cx="4161519" cy="132343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0" b="1" i="0" u="none" strike="noStrike" kern="1200" cap="none" spc="0" normalizeH="0" baseline="0" noProof="0" dirty="0">
                <a:ln>
                  <a:noFill/>
                </a:ln>
                <a:solidFill>
                  <a:srgbClr val="000000">
                    <a:lumMod val="85000"/>
                    <a:lumOff val="15000"/>
                  </a:srgbClr>
                </a:solidFill>
                <a:effectLst/>
                <a:uLnTx/>
                <a:uFillTx/>
                <a:latin typeface="等线 Light" panose="020F0302020204030204"/>
                <a:ea typeface="+mn-ea"/>
                <a:cs typeface="Arial" panose="020B0604020202020204" pitchFamily="34" charset="0"/>
              </a:rPr>
              <a:t>Your Title Text Goes Here</a:t>
            </a:r>
          </a:p>
        </p:txBody>
      </p:sp>
      <p:sp>
        <p:nvSpPr>
          <p:cNvPr id="65" name="TextBox 103">
            <a:extLst>
              <a:ext uri="{FF2B5EF4-FFF2-40B4-BE49-F238E27FC236}">
                <a16:creationId xmlns:a16="http://schemas.microsoft.com/office/drawing/2014/main" id="{FFCFD36B-1C54-451C-A4E1-C6E1C637D049}"/>
              </a:ext>
            </a:extLst>
          </p:cNvPr>
          <p:cNvSpPr txBox="1"/>
          <p:nvPr/>
        </p:nvSpPr>
        <p:spPr>
          <a:xfrm>
            <a:off x="990600" y="3102565"/>
            <a:ext cx="3096223" cy="903389"/>
          </a:xfrm>
          <a:prstGeom prst="rect">
            <a:avLst/>
          </a:prstGeom>
          <a:noFill/>
        </p:spPr>
        <p:txBody>
          <a:bodyPr wrap="square" rtlCol="0">
            <a:spAutoFit/>
          </a:bodyPr>
          <a:lstStyle/>
          <a:p>
            <a:pPr marL="0" marR="0" lvl="0" indent="0" algn="l" defTabSz="914400" rtl="0" eaLnBrk="1" fontAlgn="auto" latinLnBrk="0" hangingPunct="1">
              <a:lnSpc>
                <a:spcPct val="13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000000">
                    <a:lumMod val="65000"/>
                    <a:lumOff val="35000"/>
                  </a:srgbClr>
                </a:solidFill>
                <a:effectLst/>
                <a:uLnTx/>
                <a:uFillTx/>
                <a:latin typeface="等线" panose="020F0502020204030204"/>
                <a:ea typeface="Open Sans" panose="020B0606030504020204" pitchFamily="34" charset="0"/>
                <a:cs typeface="Segoe UI" panose="020B0502040204020203" pitchFamily="34" charset="0"/>
              </a:rPr>
              <a:t>Leverage agile frameworks to provide a robust synopsis for high level overviews.</a:t>
            </a:r>
          </a:p>
        </p:txBody>
      </p:sp>
      <p:grpSp>
        <p:nvGrpSpPr>
          <p:cNvPr id="66" name="Group 3">
            <a:extLst>
              <a:ext uri="{FF2B5EF4-FFF2-40B4-BE49-F238E27FC236}">
                <a16:creationId xmlns:a16="http://schemas.microsoft.com/office/drawing/2014/main" id="{475CDA3F-BBB9-4B13-B8E8-670692737D80}"/>
              </a:ext>
            </a:extLst>
          </p:cNvPr>
          <p:cNvGrpSpPr/>
          <p:nvPr/>
        </p:nvGrpSpPr>
        <p:grpSpPr>
          <a:xfrm>
            <a:off x="0" y="4883972"/>
            <a:ext cx="3070746" cy="1974028"/>
            <a:chOff x="0" y="4883972"/>
            <a:chExt cx="3070746" cy="1974028"/>
          </a:xfrm>
        </p:grpSpPr>
        <p:sp>
          <p:nvSpPr>
            <p:cNvPr id="67" name="Rectangle 133">
              <a:extLst>
                <a:ext uri="{FF2B5EF4-FFF2-40B4-BE49-F238E27FC236}">
                  <a16:creationId xmlns:a16="http://schemas.microsoft.com/office/drawing/2014/main" id="{8BA7F6B9-E656-4028-AC4E-34CA6C452E9D}"/>
                </a:ext>
              </a:extLst>
            </p:cNvPr>
            <p:cNvSpPr/>
            <p:nvPr/>
          </p:nvSpPr>
          <p:spPr>
            <a:xfrm>
              <a:off x="0" y="4883972"/>
              <a:ext cx="3070746" cy="197402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FFFFFF"/>
                </a:solidFill>
                <a:effectLst/>
                <a:uLnTx/>
                <a:uFillTx/>
                <a:latin typeface="等线" panose="020F0502020204030204"/>
                <a:ea typeface="+mn-ea"/>
                <a:cs typeface="+mn-cs"/>
              </a:endParaRPr>
            </a:p>
          </p:txBody>
        </p:sp>
        <p:grpSp>
          <p:nvGrpSpPr>
            <p:cNvPr id="68" name="Group 114">
              <a:extLst>
                <a:ext uri="{FF2B5EF4-FFF2-40B4-BE49-F238E27FC236}">
                  <a16:creationId xmlns:a16="http://schemas.microsoft.com/office/drawing/2014/main" id="{AFFAEC37-E1C1-452A-AB34-DAC7217CAFE9}"/>
                </a:ext>
              </a:extLst>
            </p:cNvPr>
            <p:cNvGrpSpPr/>
            <p:nvPr/>
          </p:nvGrpSpPr>
          <p:grpSpPr>
            <a:xfrm>
              <a:off x="390621" y="5294692"/>
              <a:ext cx="2289505" cy="980454"/>
              <a:chOff x="1509711" y="6885246"/>
              <a:chExt cx="3041935" cy="1568726"/>
            </a:xfrm>
          </p:grpSpPr>
          <p:sp>
            <p:nvSpPr>
              <p:cNvPr id="69" name="TextBox 115">
                <a:extLst>
                  <a:ext uri="{FF2B5EF4-FFF2-40B4-BE49-F238E27FC236}">
                    <a16:creationId xmlns:a16="http://schemas.microsoft.com/office/drawing/2014/main" id="{9E0616C4-B838-41B4-884B-AD2F8785266C}"/>
                  </a:ext>
                </a:extLst>
              </p:cNvPr>
              <p:cNvSpPr txBox="1"/>
              <p:nvPr/>
            </p:nvSpPr>
            <p:spPr>
              <a:xfrm>
                <a:off x="1509711" y="7577937"/>
                <a:ext cx="3041935" cy="876035"/>
              </a:xfrm>
              <a:prstGeom prst="rect">
                <a:avLst/>
              </a:prstGeom>
              <a:noFill/>
            </p:spPr>
            <p:txBody>
              <a:bodyPr wrap="square" rtlCol="0">
                <a:spAutoFit/>
              </a:bodyPr>
              <a:lstStyle/>
              <a:p>
                <a:pPr marL="0" marR="0" lvl="0" indent="0" algn="l" defTabSz="914400" rtl="0" eaLnBrk="1" fontAlgn="auto" latinLnBrk="0" hangingPunct="1">
                  <a:lnSpc>
                    <a:spcPct val="130000"/>
                  </a:lnSpc>
                  <a:spcBef>
                    <a:spcPts val="75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等线" panose="020F0502020204030204"/>
                    <a:ea typeface="Open Sans" panose="020B0606030504020204" pitchFamily="34" charset="0"/>
                    <a:cs typeface="Segoe UI" panose="020B0502040204020203" pitchFamily="34" charset="0"/>
                  </a:rPr>
                  <a:t>The European languages are members of the same family. </a:t>
                </a:r>
              </a:p>
            </p:txBody>
          </p:sp>
          <p:sp>
            <p:nvSpPr>
              <p:cNvPr id="70" name="TextBox 116">
                <a:extLst>
                  <a:ext uri="{FF2B5EF4-FFF2-40B4-BE49-F238E27FC236}">
                    <a16:creationId xmlns:a16="http://schemas.microsoft.com/office/drawing/2014/main" id="{083E17E4-1C1E-4F45-A3BD-1D841D49A8AC}"/>
                  </a:ext>
                </a:extLst>
              </p:cNvPr>
              <p:cNvSpPr txBox="1"/>
              <p:nvPr/>
            </p:nvSpPr>
            <p:spPr>
              <a:xfrm>
                <a:off x="1509711" y="6885246"/>
                <a:ext cx="2797592" cy="834794"/>
              </a:xfrm>
              <a:prstGeom prst="rect">
                <a:avLst/>
              </a:prstGeom>
              <a:noFill/>
            </p:spPr>
            <p:txBody>
              <a:bodyPr wrap="square" rtlCol="0">
                <a:sp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US" sz="2750" b="0" i="0" u="none" strike="noStrike" kern="1200" cap="none" spc="0" normalizeH="0" baseline="0" noProof="0" dirty="0">
                    <a:ln>
                      <a:noFill/>
                    </a:ln>
                    <a:solidFill>
                      <a:srgbClr val="FFFFFF"/>
                    </a:solidFill>
                    <a:effectLst/>
                    <a:uLnTx/>
                    <a:uFillTx/>
                    <a:latin typeface="等线 Light" panose="020F0302020204030204"/>
                    <a:ea typeface="+mn-ea"/>
                    <a:cs typeface="+mn-cs"/>
                  </a:rPr>
                  <a:t>2.8</a:t>
                </a:r>
                <a:r>
                  <a:rPr kumimoji="0" lang="en-US" sz="2750" b="0" i="0" u="none" strike="noStrike" kern="1200" cap="none" spc="0" normalizeH="0" baseline="30000" noProof="0" dirty="0">
                    <a:ln>
                      <a:noFill/>
                    </a:ln>
                    <a:solidFill>
                      <a:srgbClr val="FFFFFF"/>
                    </a:solidFill>
                    <a:effectLst/>
                    <a:uLnTx/>
                    <a:uFillTx/>
                    <a:latin typeface="等线 Light" panose="020F0302020204030204"/>
                    <a:ea typeface="+mn-ea"/>
                    <a:cs typeface="+mn-cs"/>
                  </a:rPr>
                  <a:t>%</a:t>
                </a:r>
              </a:p>
            </p:txBody>
          </p:sp>
        </p:grpSp>
      </p:grpSp>
      <p:grpSp>
        <p:nvGrpSpPr>
          <p:cNvPr id="71" name="Group 4">
            <a:extLst>
              <a:ext uri="{FF2B5EF4-FFF2-40B4-BE49-F238E27FC236}">
                <a16:creationId xmlns:a16="http://schemas.microsoft.com/office/drawing/2014/main" id="{3795C772-6356-4C94-988A-27152563C8E3}"/>
              </a:ext>
            </a:extLst>
          </p:cNvPr>
          <p:cNvGrpSpPr/>
          <p:nvPr/>
        </p:nvGrpSpPr>
        <p:grpSpPr>
          <a:xfrm>
            <a:off x="3070746" y="4883972"/>
            <a:ext cx="3025254" cy="1974028"/>
            <a:chOff x="3070746" y="4883972"/>
            <a:chExt cx="3025254" cy="1974028"/>
          </a:xfrm>
        </p:grpSpPr>
        <p:sp>
          <p:nvSpPr>
            <p:cNvPr id="72" name="Rectangle 132">
              <a:extLst>
                <a:ext uri="{FF2B5EF4-FFF2-40B4-BE49-F238E27FC236}">
                  <a16:creationId xmlns:a16="http://schemas.microsoft.com/office/drawing/2014/main" id="{A4476064-6726-4989-A219-6CEC62A7121E}"/>
                </a:ext>
              </a:extLst>
            </p:cNvPr>
            <p:cNvSpPr/>
            <p:nvPr/>
          </p:nvSpPr>
          <p:spPr>
            <a:xfrm>
              <a:off x="3070746" y="4883972"/>
              <a:ext cx="3025254" cy="197402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FFFFFF"/>
                </a:solidFill>
                <a:effectLst/>
                <a:uLnTx/>
                <a:uFillTx/>
                <a:latin typeface="等线" panose="020F0502020204030204"/>
                <a:ea typeface="+mn-ea"/>
                <a:cs typeface="+mn-cs"/>
              </a:endParaRPr>
            </a:p>
          </p:txBody>
        </p:sp>
        <p:grpSp>
          <p:nvGrpSpPr>
            <p:cNvPr id="73" name="Group 117">
              <a:extLst>
                <a:ext uri="{FF2B5EF4-FFF2-40B4-BE49-F238E27FC236}">
                  <a16:creationId xmlns:a16="http://schemas.microsoft.com/office/drawing/2014/main" id="{76FA1A37-E250-4CDE-B4DB-6B652348F345}"/>
                </a:ext>
              </a:extLst>
            </p:cNvPr>
            <p:cNvGrpSpPr/>
            <p:nvPr/>
          </p:nvGrpSpPr>
          <p:grpSpPr>
            <a:xfrm>
              <a:off x="3438621" y="5294692"/>
              <a:ext cx="2289505" cy="980454"/>
              <a:chOff x="1509711" y="6885246"/>
              <a:chExt cx="3041935" cy="1568726"/>
            </a:xfrm>
          </p:grpSpPr>
          <p:sp>
            <p:nvSpPr>
              <p:cNvPr id="74" name="TextBox 118">
                <a:extLst>
                  <a:ext uri="{FF2B5EF4-FFF2-40B4-BE49-F238E27FC236}">
                    <a16:creationId xmlns:a16="http://schemas.microsoft.com/office/drawing/2014/main" id="{5EAD851B-1E69-4036-A8E1-FD45CA31CFF0}"/>
                  </a:ext>
                </a:extLst>
              </p:cNvPr>
              <p:cNvSpPr txBox="1"/>
              <p:nvPr/>
            </p:nvSpPr>
            <p:spPr>
              <a:xfrm>
                <a:off x="1509711" y="7577937"/>
                <a:ext cx="3041935" cy="876035"/>
              </a:xfrm>
              <a:prstGeom prst="rect">
                <a:avLst/>
              </a:prstGeom>
              <a:noFill/>
            </p:spPr>
            <p:txBody>
              <a:bodyPr wrap="square" rtlCol="0">
                <a:spAutoFit/>
              </a:bodyPr>
              <a:lstStyle/>
              <a:p>
                <a:pPr marL="0" marR="0" lvl="0" indent="0" algn="l" defTabSz="914400" rtl="0" eaLnBrk="1" fontAlgn="auto" latinLnBrk="0" hangingPunct="1">
                  <a:lnSpc>
                    <a:spcPct val="130000"/>
                  </a:lnSpc>
                  <a:spcBef>
                    <a:spcPts val="75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等线" panose="020F0502020204030204"/>
                    <a:ea typeface="Open Sans" panose="020B0606030504020204" pitchFamily="34" charset="0"/>
                    <a:cs typeface="Segoe UI" panose="020B0502040204020203" pitchFamily="34" charset="0"/>
                  </a:rPr>
                  <a:t>The European languages are members of the same family. </a:t>
                </a:r>
              </a:p>
            </p:txBody>
          </p:sp>
          <p:sp>
            <p:nvSpPr>
              <p:cNvPr id="75" name="TextBox 119">
                <a:extLst>
                  <a:ext uri="{FF2B5EF4-FFF2-40B4-BE49-F238E27FC236}">
                    <a16:creationId xmlns:a16="http://schemas.microsoft.com/office/drawing/2014/main" id="{FCE965A9-4144-47E7-AD5D-46A5C1401520}"/>
                  </a:ext>
                </a:extLst>
              </p:cNvPr>
              <p:cNvSpPr txBox="1"/>
              <p:nvPr/>
            </p:nvSpPr>
            <p:spPr>
              <a:xfrm>
                <a:off x="1509711" y="6885246"/>
                <a:ext cx="2797592" cy="834794"/>
              </a:xfrm>
              <a:prstGeom prst="rect">
                <a:avLst/>
              </a:prstGeom>
              <a:noFill/>
            </p:spPr>
            <p:txBody>
              <a:bodyPr wrap="square" rtlCol="0">
                <a:sp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US" sz="2750" b="0" i="0" u="none" strike="noStrike" kern="1200" cap="none" spc="0" normalizeH="0" baseline="0" noProof="0" dirty="0">
                    <a:ln>
                      <a:noFill/>
                    </a:ln>
                    <a:solidFill>
                      <a:srgbClr val="FFFFFF"/>
                    </a:solidFill>
                    <a:effectLst/>
                    <a:uLnTx/>
                    <a:uFillTx/>
                    <a:latin typeface="等线 Light" panose="020F0302020204030204"/>
                    <a:ea typeface="+mn-ea"/>
                    <a:cs typeface="+mn-cs"/>
                  </a:rPr>
                  <a:t>7.7</a:t>
                </a:r>
                <a:r>
                  <a:rPr kumimoji="0" lang="en-US" sz="2750" b="0" i="0" u="none" strike="noStrike" kern="1200" cap="none" spc="0" normalizeH="0" baseline="30000" noProof="0" dirty="0">
                    <a:ln>
                      <a:noFill/>
                    </a:ln>
                    <a:solidFill>
                      <a:srgbClr val="FFFFFF"/>
                    </a:solidFill>
                    <a:effectLst/>
                    <a:uLnTx/>
                    <a:uFillTx/>
                    <a:latin typeface="等线 Light" panose="020F0302020204030204"/>
                    <a:ea typeface="+mn-ea"/>
                    <a:cs typeface="+mn-cs"/>
                  </a:rPr>
                  <a:t>%</a:t>
                </a:r>
              </a:p>
            </p:txBody>
          </p:sp>
        </p:grpSp>
      </p:grpSp>
      <p:grpSp>
        <p:nvGrpSpPr>
          <p:cNvPr id="76" name="Group 5">
            <a:extLst>
              <a:ext uri="{FF2B5EF4-FFF2-40B4-BE49-F238E27FC236}">
                <a16:creationId xmlns:a16="http://schemas.microsoft.com/office/drawing/2014/main" id="{64FC3D42-8A3A-4640-BC20-93117CEC1230}"/>
              </a:ext>
            </a:extLst>
          </p:cNvPr>
          <p:cNvGrpSpPr/>
          <p:nvPr/>
        </p:nvGrpSpPr>
        <p:grpSpPr>
          <a:xfrm>
            <a:off x="6096000" y="4883972"/>
            <a:ext cx="3070746" cy="1974028"/>
            <a:chOff x="6096000" y="4883972"/>
            <a:chExt cx="3070746" cy="1974028"/>
          </a:xfrm>
        </p:grpSpPr>
        <p:sp>
          <p:nvSpPr>
            <p:cNvPr id="77" name="Rectangle 135">
              <a:extLst>
                <a:ext uri="{FF2B5EF4-FFF2-40B4-BE49-F238E27FC236}">
                  <a16:creationId xmlns:a16="http://schemas.microsoft.com/office/drawing/2014/main" id="{5C7A7807-C281-4664-AC28-7FC48AD56D9E}"/>
                </a:ext>
              </a:extLst>
            </p:cNvPr>
            <p:cNvSpPr/>
            <p:nvPr/>
          </p:nvSpPr>
          <p:spPr>
            <a:xfrm>
              <a:off x="6096000" y="4883972"/>
              <a:ext cx="3070746" cy="197402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FFFFFF"/>
                </a:solidFill>
                <a:effectLst/>
                <a:uLnTx/>
                <a:uFillTx/>
                <a:latin typeface="等线" panose="020F0502020204030204"/>
                <a:ea typeface="+mn-ea"/>
                <a:cs typeface="+mn-cs"/>
              </a:endParaRPr>
            </a:p>
          </p:txBody>
        </p:sp>
        <p:grpSp>
          <p:nvGrpSpPr>
            <p:cNvPr id="78" name="Group 120">
              <a:extLst>
                <a:ext uri="{FF2B5EF4-FFF2-40B4-BE49-F238E27FC236}">
                  <a16:creationId xmlns:a16="http://schemas.microsoft.com/office/drawing/2014/main" id="{5F48FDF7-59A5-45FB-B5D4-7FB8F088B49B}"/>
                </a:ext>
              </a:extLst>
            </p:cNvPr>
            <p:cNvGrpSpPr/>
            <p:nvPr/>
          </p:nvGrpSpPr>
          <p:grpSpPr>
            <a:xfrm>
              <a:off x="6486621" y="5294692"/>
              <a:ext cx="2289505" cy="980454"/>
              <a:chOff x="1509711" y="6885246"/>
              <a:chExt cx="3041935" cy="1568726"/>
            </a:xfrm>
          </p:grpSpPr>
          <p:sp>
            <p:nvSpPr>
              <p:cNvPr id="79" name="TextBox 121">
                <a:extLst>
                  <a:ext uri="{FF2B5EF4-FFF2-40B4-BE49-F238E27FC236}">
                    <a16:creationId xmlns:a16="http://schemas.microsoft.com/office/drawing/2014/main" id="{E20AAF22-1FFD-422C-93E3-C21BFAC95203}"/>
                  </a:ext>
                </a:extLst>
              </p:cNvPr>
              <p:cNvSpPr txBox="1"/>
              <p:nvPr/>
            </p:nvSpPr>
            <p:spPr>
              <a:xfrm>
                <a:off x="1509711" y="7577937"/>
                <a:ext cx="3041935" cy="876035"/>
              </a:xfrm>
              <a:prstGeom prst="rect">
                <a:avLst/>
              </a:prstGeom>
              <a:noFill/>
            </p:spPr>
            <p:txBody>
              <a:bodyPr wrap="square" rtlCol="0">
                <a:spAutoFit/>
              </a:bodyPr>
              <a:lstStyle/>
              <a:p>
                <a:pPr marL="0" marR="0" lvl="0" indent="0" algn="l" defTabSz="914400" rtl="0" eaLnBrk="1" fontAlgn="auto" latinLnBrk="0" hangingPunct="1">
                  <a:lnSpc>
                    <a:spcPct val="130000"/>
                  </a:lnSpc>
                  <a:spcBef>
                    <a:spcPts val="75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等线" panose="020F0502020204030204"/>
                    <a:ea typeface="Open Sans" panose="020B0606030504020204" pitchFamily="34" charset="0"/>
                    <a:cs typeface="Segoe UI" panose="020B0502040204020203" pitchFamily="34" charset="0"/>
                  </a:rPr>
                  <a:t>The European languages are members of the same family. </a:t>
                </a:r>
              </a:p>
            </p:txBody>
          </p:sp>
          <p:sp>
            <p:nvSpPr>
              <p:cNvPr id="80" name="TextBox 122">
                <a:extLst>
                  <a:ext uri="{FF2B5EF4-FFF2-40B4-BE49-F238E27FC236}">
                    <a16:creationId xmlns:a16="http://schemas.microsoft.com/office/drawing/2014/main" id="{50A47BDB-8284-4ED4-8DEB-67710E222886}"/>
                  </a:ext>
                </a:extLst>
              </p:cNvPr>
              <p:cNvSpPr txBox="1"/>
              <p:nvPr/>
            </p:nvSpPr>
            <p:spPr>
              <a:xfrm>
                <a:off x="1509711" y="6885246"/>
                <a:ext cx="2797592" cy="834794"/>
              </a:xfrm>
              <a:prstGeom prst="rect">
                <a:avLst/>
              </a:prstGeom>
              <a:noFill/>
            </p:spPr>
            <p:txBody>
              <a:bodyPr wrap="square" rtlCol="0">
                <a:sp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US" sz="2750" b="0" i="0" u="none" strike="noStrike" kern="1200" cap="none" spc="0" normalizeH="0" baseline="0" noProof="0" dirty="0">
                    <a:ln>
                      <a:noFill/>
                    </a:ln>
                    <a:solidFill>
                      <a:srgbClr val="FFFFFF"/>
                    </a:solidFill>
                    <a:effectLst/>
                    <a:uLnTx/>
                    <a:uFillTx/>
                    <a:latin typeface="等线 Light" panose="020F0302020204030204"/>
                    <a:ea typeface="+mn-ea"/>
                    <a:cs typeface="+mn-cs"/>
                  </a:rPr>
                  <a:t>5.6</a:t>
                </a:r>
                <a:r>
                  <a:rPr kumimoji="0" lang="en-US" sz="2750" b="0" i="0" u="none" strike="noStrike" kern="1200" cap="none" spc="0" normalizeH="0" baseline="30000" noProof="0" dirty="0">
                    <a:ln>
                      <a:noFill/>
                    </a:ln>
                    <a:solidFill>
                      <a:srgbClr val="FFFFFF"/>
                    </a:solidFill>
                    <a:effectLst/>
                    <a:uLnTx/>
                    <a:uFillTx/>
                    <a:latin typeface="等线 Light" panose="020F0302020204030204"/>
                    <a:ea typeface="+mn-ea"/>
                    <a:cs typeface="+mn-cs"/>
                  </a:rPr>
                  <a:t>%</a:t>
                </a:r>
              </a:p>
            </p:txBody>
          </p:sp>
        </p:grpSp>
      </p:grpSp>
      <p:grpSp>
        <p:nvGrpSpPr>
          <p:cNvPr id="81" name="Group 6">
            <a:extLst>
              <a:ext uri="{FF2B5EF4-FFF2-40B4-BE49-F238E27FC236}">
                <a16:creationId xmlns:a16="http://schemas.microsoft.com/office/drawing/2014/main" id="{1B205197-20E8-498A-B61E-BB61E710C925}"/>
              </a:ext>
            </a:extLst>
          </p:cNvPr>
          <p:cNvGrpSpPr/>
          <p:nvPr/>
        </p:nvGrpSpPr>
        <p:grpSpPr>
          <a:xfrm>
            <a:off x="9166746" y="4883972"/>
            <a:ext cx="3025254" cy="1974028"/>
            <a:chOff x="9166746" y="4883972"/>
            <a:chExt cx="3025254" cy="1974028"/>
          </a:xfrm>
        </p:grpSpPr>
        <p:sp>
          <p:nvSpPr>
            <p:cNvPr id="82" name="Rectangle 134">
              <a:extLst>
                <a:ext uri="{FF2B5EF4-FFF2-40B4-BE49-F238E27FC236}">
                  <a16:creationId xmlns:a16="http://schemas.microsoft.com/office/drawing/2014/main" id="{41DF19AA-9AC6-4FE3-A0E5-FB9048DDCC07}"/>
                </a:ext>
              </a:extLst>
            </p:cNvPr>
            <p:cNvSpPr/>
            <p:nvPr/>
          </p:nvSpPr>
          <p:spPr>
            <a:xfrm>
              <a:off x="9166746" y="4883972"/>
              <a:ext cx="3025254" cy="197402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FFFFFF"/>
                </a:solidFill>
                <a:effectLst/>
                <a:uLnTx/>
                <a:uFillTx/>
                <a:latin typeface="等线" panose="020F0502020204030204"/>
                <a:ea typeface="+mn-ea"/>
                <a:cs typeface="+mn-cs"/>
              </a:endParaRPr>
            </a:p>
          </p:txBody>
        </p:sp>
        <p:grpSp>
          <p:nvGrpSpPr>
            <p:cNvPr id="83" name="Group 127">
              <a:extLst>
                <a:ext uri="{FF2B5EF4-FFF2-40B4-BE49-F238E27FC236}">
                  <a16:creationId xmlns:a16="http://schemas.microsoft.com/office/drawing/2014/main" id="{65A91FBC-ABE8-4D2C-8947-F2866FFA0460}"/>
                </a:ext>
              </a:extLst>
            </p:cNvPr>
            <p:cNvGrpSpPr/>
            <p:nvPr/>
          </p:nvGrpSpPr>
          <p:grpSpPr>
            <a:xfrm>
              <a:off x="9534621" y="5294692"/>
              <a:ext cx="2289505" cy="980454"/>
              <a:chOff x="1509711" y="6885246"/>
              <a:chExt cx="3041935" cy="1568726"/>
            </a:xfrm>
          </p:grpSpPr>
          <p:sp>
            <p:nvSpPr>
              <p:cNvPr id="84" name="TextBox 128">
                <a:extLst>
                  <a:ext uri="{FF2B5EF4-FFF2-40B4-BE49-F238E27FC236}">
                    <a16:creationId xmlns:a16="http://schemas.microsoft.com/office/drawing/2014/main" id="{CDED1EB2-0B5F-418D-AD1E-E61DE917B151}"/>
                  </a:ext>
                </a:extLst>
              </p:cNvPr>
              <p:cNvSpPr txBox="1"/>
              <p:nvPr/>
            </p:nvSpPr>
            <p:spPr>
              <a:xfrm>
                <a:off x="1509711" y="7577937"/>
                <a:ext cx="3041935" cy="876035"/>
              </a:xfrm>
              <a:prstGeom prst="rect">
                <a:avLst/>
              </a:prstGeom>
              <a:noFill/>
            </p:spPr>
            <p:txBody>
              <a:bodyPr wrap="square" rtlCol="0">
                <a:spAutoFit/>
              </a:bodyPr>
              <a:lstStyle/>
              <a:p>
                <a:pPr marL="0" marR="0" lvl="0" indent="0" algn="l" defTabSz="914400" rtl="0" eaLnBrk="1" fontAlgn="auto" latinLnBrk="0" hangingPunct="1">
                  <a:lnSpc>
                    <a:spcPct val="130000"/>
                  </a:lnSpc>
                  <a:spcBef>
                    <a:spcPts val="75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等线" panose="020F0502020204030204"/>
                    <a:ea typeface="Open Sans" panose="020B0606030504020204" pitchFamily="34" charset="0"/>
                    <a:cs typeface="Segoe UI" panose="020B0502040204020203" pitchFamily="34" charset="0"/>
                  </a:rPr>
                  <a:t>The European languages are members of the same family. </a:t>
                </a:r>
              </a:p>
            </p:txBody>
          </p:sp>
          <p:sp>
            <p:nvSpPr>
              <p:cNvPr id="85" name="TextBox 129">
                <a:extLst>
                  <a:ext uri="{FF2B5EF4-FFF2-40B4-BE49-F238E27FC236}">
                    <a16:creationId xmlns:a16="http://schemas.microsoft.com/office/drawing/2014/main" id="{752A7746-3ABD-4F54-A179-59BC7655BD92}"/>
                  </a:ext>
                </a:extLst>
              </p:cNvPr>
              <p:cNvSpPr txBox="1"/>
              <p:nvPr/>
            </p:nvSpPr>
            <p:spPr>
              <a:xfrm>
                <a:off x="1509711" y="6885246"/>
                <a:ext cx="2797592" cy="834794"/>
              </a:xfrm>
              <a:prstGeom prst="rect">
                <a:avLst/>
              </a:prstGeom>
              <a:noFill/>
            </p:spPr>
            <p:txBody>
              <a:bodyPr wrap="square" rtlCol="0">
                <a:sp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US" sz="2750" b="0" i="0" u="none" strike="noStrike" kern="1200" cap="none" spc="0" normalizeH="0" baseline="0" noProof="0" dirty="0">
                    <a:ln>
                      <a:noFill/>
                    </a:ln>
                    <a:solidFill>
                      <a:srgbClr val="FFFFFF"/>
                    </a:solidFill>
                    <a:effectLst/>
                    <a:uLnTx/>
                    <a:uFillTx/>
                    <a:latin typeface="等线 Light" panose="020F0302020204030204"/>
                    <a:ea typeface="+mn-ea"/>
                    <a:cs typeface="+mn-cs"/>
                  </a:rPr>
                  <a:t>12.6</a:t>
                </a:r>
                <a:r>
                  <a:rPr kumimoji="0" lang="en-US" sz="2750" b="0" i="0" u="none" strike="noStrike" kern="1200" cap="none" spc="0" normalizeH="0" baseline="30000" noProof="0" dirty="0">
                    <a:ln>
                      <a:noFill/>
                    </a:ln>
                    <a:solidFill>
                      <a:srgbClr val="FFFFFF"/>
                    </a:solidFill>
                    <a:effectLst/>
                    <a:uLnTx/>
                    <a:uFillTx/>
                    <a:latin typeface="等线 Light" panose="020F0302020204030204"/>
                    <a:ea typeface="+mn-ea"/>
                    <a:cs typeface="+mn-cs"/>
                  </a:rPr>
                  <a:t>%</a:t>
                </a:r>
              </a:p>
            </p:txBody>
          </p:sp>
        </p:grpSp>
      </p:grpSp>
    </p:spTree>
    <p:extLst>
      <p:ext uri="{BB962C8B-B14F-4D97-AF65-F5344CB8AC3E}">
        <p14:creationId xmlns:p14="http://schemas.microsoft.com/office/powerpoint/2010/main" val="3025720122"/>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nodeType="withEffect">
                                  <p:stCondLst>
                                    <p:cond delay="50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1000" fill="hold"/>
                                        <p:tgtEl>
                                          <p:spTgt spid="2"/>
                                        </p:tgtEl>
                                        <p:attrNameLst>
                                          <p:attrName>ppt_x</p:attrName>
                                        </p:attrNameLst>
                                      </p:cBhvr>
                                      <p:tavLst>
                                        <p:tav tm="0">
                                          <p:val>
                                            <p:strVal val="#ppt_x"/>
                                          </p:val>
                                        </p:tav>
                                        <p:tav tm="100000">
                                          <p:val>
                                            <p:strVal val="#ppt_x"/>
                                          </p:val>
                                        </p:tav>
                                      </p:tavLst>
                                    </p:anim>
                                    <p:anim calcmode="lin" valueType="num">
                                      <p:cBhvr additive="base">
                                        <p:cTn id="8" dur="1000" fill="hold"/>
                                        <p:tgtEl>
                                          <p:spTgt spid="2"/>
                                        </p:tgtEl>
                                        <p:attrNameLst>
                                          <p:attrName>ppt_y</p:attrName>
                                        </p:attrNameLst>
                                      </p:cBhvr>
                                      <p:tavLst>
                                        <p:tav tm="0">
                                          <p:val>
                                            <p:strVal val="1+#ppt_h/2"/>
                                          </p:val>
                                        </p:tav>
                                        <p:tav tm="100000">
                                          <p:val>
                                            <p:strVal val="#ppt_y"/>
                                          </p:val>
                                        </p:tav>
                                      </p:tavLst>
                                    </p:anim>
                                  </p:childTnLst>
                                </p:cTn>
                              </p:par>
                              <p:par>
                                <p:cTn id="9" presetID="22" presetClass="entr" presetSubtype="8" fill="hold" nodeType="withEffect">
                                  <p:stCondLst>
                                    <p:cond delay="1000"/>
                                  </p:stCondLst>
                                  <p:childTnLst>
                                    <p:set>
                                      <p:cBhvr>
                                        <p:cTn id="10" dur="1" fill="hold">
                                          <p:stCondLst>
                                            <p:cond delay="0"/>
                                          </p:stCondLst>
                                        </p:cTn>
                                        <p:tgtEl>
                                          <p:spTgt spid="44"/>
                                        </p:tgtEl>
                                        <p:attrNameLst>
                                          <p:attrName>style.visibility</p:attrName>
                                        </p:attrNameLst>
                                      </p:cBhvr>
                                      <p:to>
                                        <p:strVal val="visible"/>
                                      </p:to>
                                    </p:set>
                                    <p:animEffect transition="in" filter="wipe(left)">
                                      <p:cBhvr>
                                        <p:cTn id="11" dur="500"/>
                                        <p:tgtEl>
                                          <p:spTgt spid="44"/>
                                        </p:tgtEl>
                                      </p:cBhvr>
                                    </p:animEffect>
                                  </p:childTnLst>
                                </p:cTn>
                              </p:par>
                              <p:par>
                                <p:cTn id="12" presetID="22" presetClass="entr" presetSubtype="8" fill="hold" nodeType="withEffect">
                                  <p:stCondLst>
                                    <p:cond delay="1250"/>
                                  </p:stCondLst>
                                  <p:childTnLst>
                                    <p:set>
                                      <p:cBhvr>
                                        <p:cTn id="13" dur="1" fill="hold">
                                          <p:stCondLst>
                                            <p:cond delay="0"/>
                                          </p:stCondLst>
                                        </p:cTn>
                                        <p:tgtEl>
                                          <p:spTgt spid="49"/>
                                        </p:tgtEl>
                                        <p:attrNameLst>
                                          <p:attrName>style.visibility</p:attrName>
                                        </p:attrNameLst>
                                      </p:cBhvr>
                                      <p:to>
                                        <p:strVal val="visible"/>
                                      </p:to>
                                    </p:set>
                                    <p:animEffect transition="in" filter="wipe(left)">
                                      <p:cBhvr>
                                        <p:cTn id="14" dur="500"/>
                                        <p:tgtEl>
                                          <p:spTgt spid="49"/>
                                        </p:tgtEl>
                                      </p:cBhvr>
                                    </p:animEffect>
                                  </p:childTnLst>
                                </p:cTn>
                              </p:par>
                              <p:par>
                                <p:cTn id="15" presetID="18" presetClass="entr" presetSubtype="3" fill="hold" grpId="0" nodeType="withEffect">
                                  <p:stCondLst>
                                    <p:cond delay="0"/>
                                  </p:stCondLst>
                                  <p:childTnLst>
                                    <p:set>
                                      <p:cBhvr>
                                        <p:cTn id="16" dur="1" fill="hold">
                                          <p:stCondLst>
                                            <p:cond delay="0"/>
                                          </p:stCondLst>
                                        </p:cTn>
                                        <p:tgtEl>
                                          <p:spTgt spid="64"/>
                                        </p:tgtEl>
                                        <p:attrNameLst>
                                          <p:attrName>style.visibility</p:attrName>
                                        </p:attrNameLst>
                                      </p:cBhvr>
                                      <p:to>
                                        <p:strVal val="visible"/>
                                      </p:to>
                                    </p:set>
                                    <p:animEffect transition="in" filter="strips(upRight)">
                                      <p:cBhvr>
                                        <p:cTn id="17" dur="500"/>
                                        <p:tgtEl>
                                          <p:spTgt spid="64"/>
                                        </p:tgtEl>
                                      </p:cBhvr>
                                    </p:animEffect>
                                  </p:childTnLst>
                                </p:cTn>
                              </p:par>
                              <p:par>
                                <p:cTn id="18" presetID="6" presetClass="emph" presetSubtype="0" accel="52000" decel="48000" autoRev="1" fill="hold" grpId="1" nodeType="withEffect">
                                  <p:stCondLst>
                                    <p:cond delay="0"/>
                                  </p:stCondLst>
                                  <p:childTnLst>
                                    <p:animScale>
                                      <p:cBhvr>
                                        <p:cTn id="19" dur="350" fill="hold"/>
                                        <p:tgtEl>
                                          <p:spTgt spid="64"/>
                                        </p:tgtEl>
                                      </p:cBhvr>
                                      <p:by x="110000" y="110000"/>
                                    </p:animScale>
                                  </p:childTnLst>
                                </p:cTn>
                              </p:par>
                              <p:par>
                                <p:cTn id="20" presetID="10" presetClass="entr" presetSubtype="0" fill="hold" grpId="0" nodeType="withEffect">
                                  <p:stCondLst>
                                    <p:cond delay="50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750"/>
                                        <p:tgtEl>
                                          <p:spTgt spid="65"/>
                                        </p:tgtEl>
                                      </p:cBhvr>
                                    </p:animEffect>
                                  </p:childTnLst>
                                </p:cTn>
                              </p:par>
                              <p:par>
                                <p:cTn id="23" presetID="18" presetClass="entr" presetSubtype="3" fill="hold" nodeType="withEffect">
                                  <p:stCondLst>
                                    <p:cond delay="1000"/>
                                  </p:stCondLst>
                                  <p:childTnLst>
                                    <p:set>
                                      <p:cBhvr>
                                        <p:cTn id="24" dur="1" fill="hold">
                                          <p:stCondLst>
                                            <p:cond delay="0"/>
                                          </p:stCondLst>
                                        </p:cTn>
                                        <p:tgtEl>
                                          <p:spTgt spid="54"/>
                                        </p:tgtEl>
                                        <p:attrNameLst>
                                          <p:attrName>style.visibility</p:attrName>
                                        </p:attrNameLst>
                                      </p:cBhvr>
                                      <p:to>
                                        <p:strVal val="visible"/>
                                      </p:to>
                                    </p:set>
                                    <p:animEffect transition="in" filter="strips(upRight)">
                                      <p:cBhvr>
                                        <p:cTn id="25" dur="500"/>
                                        <p:tgtEl>
                                          <p:spTgt spid="54"/>
                                        </p:tgtEl>
                                      </p:cBhvr>
                                    </p:animEffect>
                                  </p:childTnLst>
                                </p:cTn>
                              </p:par>
                              <p:par>
                                <p:cTn id="26" presetID="6" presetClass="emph" presetSubtype="0" accel="52000" decel="48000" autoRev="1" fill="hold" nodeType="withEffect">
                                  <p:stCondLst>
                                    <p:cond delay="1000"/>
                                  </p:stCondLst>
                                  <p:childTnLst>
                                    <p:animScale>
                                      <p:cBhvr>
                                        <p:cTn id="27" dur="350" fill="hold"/>
                                        <p:tgtEl>
                                          <p:spTgt spid="54"/>
                                        </p:tgtEl>
                                      </p:cBhvr>
                                      <p:by x="110000" y="110000"/>
                                    </p:animScale>
                                  </p:childTnLst>
                                </p:cTn>
                              </p:par>
                              <p:par>
                                <p:cTn id="28" presetID="18" presetClass="entr" presetSubtype="3" fill="hold" nodeType="withEffect">
                                  <p:stCondLst>
                                    <p:cond delay="1250"/>
                                  </p:stCondLst>
                                  <p:childTnLst>
                                    <p:set>
                                      <p:cBhvr>
                                        <p:cTn id="29" dur="1" fill="hold">
                                          <p:stCondLst>
                                            <p:cond delay="0"/>
                                          </p:stCondLst>
                                        </p:cTn>
                                        <p:tgtEl>
                                          <p:spTgt spid="59"/>
                                        </p:tgtEl>
                                        <p:attrNameLst>
                                          <p:attrName>style.visibility</p:attrName>
                                        </p:attrNameLst>
                                      </p:cBhvr>
                                      <p:to>
                                        <p:strVal val="visible"/>
                                      </p:to>
                                    </p:set>
                                    <p:animEffect transition="in" filter="strips(upRight)">
                                      <p:cBhvr>
                                        <p:cTn id="30" dur="500"/>
                                        <p:tgtEl>
                                          <p:spTgt spid="59"/>
                                        </p:tgtEl>
                                      </p:cBhvr>
                                    </p:animEffect>
                                  </p:childTnLst>
                                </p:cTn>
                              </p:par>
                              <p:par>
                                <p:cTn id="31" presetID="6" presetClass="emph" presetSubtype="0" accel="52000" decel="48000" autoRev="1" fill="hold" nodeType="withEffect">
                                  <p:stCondLst>
                                    <p:cond delay="1250"/>
                                  </p:stCondLst>
                                  <p:childTnLst>
                                    <p:animScale>
                                      <p:cBhvr>
                                        <p:cTn id="32" dur="350" fill="hold"/>
                                        <p:tgtEl>
                                          <p:spTgt spid="59"/>
                                        </p:tgtEl>
                                      </p:cBhvr>
                                      <p:by x="110000" y="110000"/>
                                    </p:animScale>
                                  </p:childTnLst>
                                </p:cTn>
                              </p:par>
                              <p:par>
                                <p:cTn id="33" presetID="2" presetClass="entr" presetSubtype="4" decel="100000" fill="hold" nodeType="withEffect">
                                  <p:stCondLst>
                                    <p:cond delay="0"/>
                                  </p:stCondLst>
                                  <p:childTnLst>
                                    <p:set>
                                      <p:cBhvr>
                                        <p:cTn id="34" dur="1" fill="hold">
                                          <p:stCondLst>
                                            <p:cond delay="0"/>
                                          </p:stCondLst>
                                        </p:cTn>
                                        <p:tgtEl>
                                          <p:spTgt spid="66"/>
                                        </p:tgtEl>
                                        <p:attrNameLst>
                                          <p:attrName>style.visibility</p:attrName>
                                        </p:attrNameLst>
                                      </p:cBhvr>
                                      <p:to>
                                        <p:strVal val="visible"/>
                                      </p:to>
                                    </p:set>
                                    <p:anim calcmode="lin" valueType="num">
                                      <p:cBhvr additive="base">
                                        <p:cTn id="35" dur="1000" fill="hold"/>
                                        <p:tgtEl>
                                          <p:spTgt spid="66"/>
                                        </p:tgtEl>
                                        <p:attrNameLst>
                                          <p:attrName>ppt_x</p:attrName>
                                        </p:attrNameLst>
                                      </p:cBhvr>
                                      <p:tavLst>
                                        <p:tav tm="0">
                                          <p:val>
                                            <p:strVal val="#ppt_x"/>
                                          </p:val>
                                        </p:tav>
                                        <p:tav tm="100000">
                                          <p:val>
                                            <p:strVal val="#ppt_x"/>
                                          </p:val>
                                        </p:tav>
                                      </p:tavLst>
                                    </p:anim>
                                    <p:anim calcmode="lin" valueType="num">
                                      <p:cBhvr additive="base">
                                        <p:cTn id="36" dur="1000" fill="hold"/>
                                        <p:tgtEl>
                                          <p:spTgt spid="66"/>
                                        </p:tgtEl>
                                        <p:attrNameLst>
                                          <p:attrName>ppt_y</p:attrName>
                                        </p:attrNameLst>
                                      </p:cBhvr>
                                      <p:tavLst>
                                        <p:tav tm="0">
                                          <p:val>
                                            <p:strVal val="1+#ppt_h/2"/>
                                          </p:val>
                                        </p:tav>
                                        <p:tav tm="100000">
                                          <p:val>
                                            <p:strVal val="#ppt_y"/>
                                          </p:val>
                                        </p:tav>
                                      </p:tavLst>
                                    </p:anim>
                                  </p:childTnLst>
                                </p:cTn>
                              </p:par>
                              <p:par>
                                <p:cTn id="37" presetID="2" presetClass="entr" presetSubtype="4" decel="100000" fill="hold" nodeType="withEffect">
                                  <p:stCondLst>
                                    <p:cond delay="250"/>
                                  </p:stCondLst>
                                  <p:childTnLst>
                                    <p:set>
                                      <p:cBhvr>
                                        <p:cTn id="38" dur="1" fill="hold">
                                          <p:stCondLst>
                                            <p:cond delay="0"/>
                                          </p:stCondLst>
                                        </p:cTn>
                                        <p:tgtEl>
                                          <p:spTgt spid="71"/>
                                        </p:tgtEl>
                                        <p:attrNameLst>
                                          <p:attrName>style.visibility</p:attrName>
                                        </p:attrNameLst>
                                      </p:cBhvr>
                                      <p:to>
                                        <p:strVal val="visible"/>
                                      </p:to>
                                    </p:set>
                                    <p:anim calcmode="lin" valueType="num">
                                      <p:cBhvr additive="base">
                                        <p:cTn id="39" dur="1000" fill="hold"/>
                                        <p:tgtEl>
                                          <p:spTgt spid="71"/>
                                        </p:tgtEl>
                                        <p:attrNameLst>
                                          <p:attrName>ppt_x</p:attrName>
                                        </p:attrNameLst>
                                      </p:cBhvr>
                                      <p:tavLst>
                                        <p:tav tm="0">
                                          <p:val>
                                            <p:strVal val="#ppt_x"/>
                                          </p:val>
                                        </p:tav>
                                        <p:tav tm="100000">
                                          <p:val>
                                            <p:strVal val="#ppt_x"/>
                                          </p:val>
                                        </p:tav>
                                      </p:tavLst>
                                    </p:anim>
                                    <p:anim calcmode="lin" valueType="num">
                                      <p:cBhvr additive="base">
                                        <p:cTn id="40" dur="1000" fill="hold"/>
                                        <p:tgtEl>
                                          <p:spTgt spid="71"/>
                                        </p:tgtEl>
                                        <p:attrNameLst>
                                          <p:attrName>ppt_y</p:attrName>
                                        </p:attrNameLst>
                                      </p:cBhvr>
                                      <p:tavLst>
                                        <p:tav tm="0">
                                          <p:val>
                                            <p:strVal val="1+#ppt_h/2"/>
                                          </p:val>
                                        </p:tav>
                                        <p:tav tm="100000">
                                          <p:val>
                                            <p:strVal val="#ppt_y"/>
                                          </p:val>
                                        </p:tav>
                                      </p:tavLst>
                                    </p:anim>
                                  </p:childTnLst>
                                </p:cTn>
                              </p:par>
                              <p:par>
                                <p:cTn id="41" presetID="2" presetClass="entr" presetSubtype="4" decel="100000" fill="hold" nodeType="withEffect">
                                  <p:stCondLst>
                                    <p:cond delay="500"/>
                                  </p:stCondLst>
                                  <p:childTnLst>
                                    <p:set>
                                      <p:cBhvr>
                                        <p:cTn id="42" dur="1" fill="hold">
                                          <p:stCondLst>
                                            <p:cond delay="0"/>
                                          </p:stCondLst>
                                        </p:cTn>
                                        <p:tgtEl>
                                          <p:spTgt spid="76"/>
                                        </p:tgtEl>
                                        <p:attrNameLst>
                                          <p:attrName>style.visibility</p:attrName>
                                        </p:attrNameLst>
                                      </p:cBhvr>
                                      <p:to>
                                        <p:strVal val="visible"/>
                                      </p:to>
                                    </p:set>
                                    <p:anim calcmode="lin" valueType="num">
                                      <p:cBhvr additive="base">
                                        <p:cTn id="43" dur="1000" fill="hold"/>
                                        <p:tgtEl>
                                          <p:spTgt spid="76"/>
                                        </p:tgtEl>
                                        <p:attrNameLst>
                                          <p:attrName>ppt_x</p:attrName>
                                        </p:attrNameLst>
                                      </p:cBhvr>
                                      <p:tavLst>
                                        <p:tav tm="0">
                                          <p:val>
                                            <p:strVal val="#ppt_x"/>
                                          </p:val>
                                        </p:tav>
                                        <p:tav tm="100000">
                                          <p:val>
                                            <p:strVal val="#ppt_x"/>
                                          </p:val>
                                        </p:tav>
                                      </p:tavLst>
                                    </p:anim>
                                    <p:anim calcmode="lin" valueType="num">
                                      <p:cBhvr additive="base">
                                        <p:cTn id="44" dur="1000" fill="hold"/>
                                        <p:tgtEl>
                                          <p:spTgt spid="76"/>
                                        </p:tgtEl>
                                        <p:attrNameLst>
                                          <p:attrName>ppt_y</p:attrName>
                                        </p:attrNameLst>
                                      </p:cBhvr>
                                      <p:tavLst>
                                        <p:tav tm="0">
                                          <p:val>
                                            <p:strVal val="1+#ppt_h/2"/>
                                          </p:val>
                                        </p:tav>
                                        <p:tav tm="100000">
                                          <p:val>
                                            <p:strVal val="#ppt_y"/>
                                          </p:val>
                                        </p:tav>
                                      </p:tavLst>
                                    </p:anim>
                                  </p:childTnLst>
                                </p:cTn>
                              </p:par>
                              <p:par>
                                <p:cTn id="45" presetID="2" presetClass="entr" presetSubtype="4" decel="100000" fill="hold" nodeType="withEffect">
                                  <p:stCondLst>
                                    <p:cond delay="750"/>
                                  </p:stCondLst>
                                  <p:childTnLst>
                                    <p:set>
                                      <p:cBhvr>
                                        <p:cTn id="46" dur="1" fill="hold">
                                          <p:stCondLst>
                                            <p:cond delay="0"/>
                                          </p:stCondLst>
                                        </p:cTn>
                                        <p:tgtEl>
                                          <p:spTgt spid="81"/>
                                        </p:tgtEl>
                                        <p:attrNameLst>
                                          <p:attrName>style.visibility</p:attrName>
                                        </p:attrNameLst>
                                      </p:cBhvr>
                                      <p:to>
                                        <p:strVal val="visible"/>
                                      </p:to>
                                    </p:set>
                                    <p:anim calcmode="lin" valueType="num">
                                      <p:cBhvr additive="base">
                                        <p:cTn id="47" dur="1000" fill="hold"/>
                                        <p:tgtEl>
                                          <p:spTgt spid="81"/>
                                        </p:tgtEl>
                                        <p:attrNameLst>
                                          <p:attrName>ppt_x</p:attrName>
                                        </p:attrNameLst>
                                      </p:cBhvr>
                                      <p:tavLst>
                                        <p:tav tm="0">
                                          <p:val>
                                            <p:strVal val="#ppt_x"/>
                                          </p:val>
                                        </p:tav>
                                        <p:tav tm="100000">
                                          <p:val>
                                            <p:strVal val="#ppt_x"/>
                                          </p:val>
                                        </p:tav>
                                      </p:tavLst>
                                    </p:anim>
                                    <p:anim calcmode="lin" valueType="num">
                                      <p:cBhvr additive="base">
                                        <p:cTn id="48" dur="1000" fill="hold"/>
                                        <p:tgtEl>
                                          <p:spTgt spid="81"/>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4" grpId="0"/>
      <p:bldP spid="64" grpId="1"/>
      <p:bldP spid="65" grpId="0"/>
    </p:bld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a:extLst>
              <a:ext uri="{FF2B5EF4-FFF2-40B4-BE49-F238E27FC236}">
                <a16:creationId xmlns:a16="http://schemas.microsoft.com/office/drawing/2014/main" id="{53FBD903-39EF-4D60-B27D-25E57A52D85A}"/>
              </a:ext>
            </a:extLst>
          </p:cNvPr>
          <p:cNvSpPr/>
          <p:nvPr/>
        </p:nvSpPr>
        <p:spPr>
          <a:xfrm>
            <a:off x="-1" y="0"/>
            <a:ext cx="12192001" cy="27146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p>
        </p:txBody>
      </p:sp>
      <p:sp>
        <p:nvSpPr>
          <p:cNvPr id="3" name="文本框 2">
            <a:extLst>
              <a:ext uri="{FF2B5EF4-FFF2-40B4-BE49-F238E27FC236}">
                <a16:creationId xmlns:a16="http://schemas.microsoft.com/office/drawing/2014/main" id="{56A670B2-CA81-4818-A1D8-31BF030A05AB}"/>
              </a:ext>
            </a:extLst>
          </p:cNvPr>
          <p:cNvSpPr txBox="1"/>
          <p:nvPr/>
        </p:nvSpPr>
        <p:spPr>
          <a:xfrm>
            <a:off x="4525987" y="274955"/>
            <a:ext cx="2949525" cy="1769715"/>
          </a:xfrm>
          <a:prstGeom prst="rect">
            <a:avLst/>
          </a:prstGeom>
          <a:noFill/>
        </p:spPr>
        <p:txBody>
          <a:bodyPr wrap="none" lIns="0" tIns="0" rIns="0" bIns="0" rtlCol="0" anchor="t">
            <a:spAutoFit/>
          </a:bodyPr>
          <a:lstStyle/>
          <a:p>
            <a:pPr algn="l"/>
            <a:r>
              <a:rPr lang="zh-CN" altLang="en-US" sz="11500" dirty="0">
                <a:solidFill>
                  <a:schemeClr val="bg1"/>
                </a:solidFill>
                <a:latin typeface="+mj-ea"/>
                <a:ea typeface="+mj-ea"/>
              </a:rPr>
              <a:t>目录</a:t>
            </a:r>
          </a:p>
        </p:txBody>
      </p:sp>
      <p:grpSp>
        <p:nvGrpSpPr>
          <p:cNvPr id="22" name="组合 21">
            <a:extLst>
              <a:ext uri="{FF2B5EF4-FFF2-40B4-BE49-F238E27FC236}">
                <a16:creationId xmlns:a16="http://schemas.microsoft.com/office/drawing/2014/main" id="{7B6EA12B-8317-42D5-AFC0-D6DF9B32210D}"/>
              </a:ext>
            </a:extLst>
          </p:cNvPr>
          <p:cNvGrpSpPr/>
          <p:nvPr/>
        </p:nvGrpSpPr>
        <p:grpSpPr>
          <a:xfrm>
            <a:off x="1892132" y="3637421"/>
            <a:ext cx="3569036" cy="505955"/>
            <a:chOff x="6904495" y="1028701"/>
            <a:chExt cx="3569036" cy="505955"/>
          </a:xfrm>
        </p:grpSpPr>
        <p:sp>
          <p:nvSpPr>
            <p:cNvPr id="23" name="矩形: 圆角 22">
              <a:extLst>
                <a:ext uri="{FF2B5EF4-FFF2-40B4-BE49-F238E27FC236}">
                  <a16:creationId xmlns:a16="http://schemas.microsoft.com/office/drawing/2014/main" id="{BFB5CD65-B5E0-409A-BFF8-7C2AAA339FF5}"/>
                </a:ext>
              </a:extLst>
            </p:cNvPr>
            <p:cNvSpPr/>
            <p:nvPr/>
          </p:nvSpPr>
          <p:spPr>
            <a:xfrm>
              <a:off x="6904495" y="1028701"/>
              <a:ext cx="505955" cy="505955"/>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600" dirty="0"/>
                <a:t>01</a:t>
              </a:r>
              <a:endParaRPr lang="zh-CN" altLang="en-US" sz="1600" dirty="0"/>
            </a:p>
          </p:txBody>
        </p:sp>
        <p:sp>
          <p:nvSpPr>
            <p:cNvPr id="24" name="文本框 23">
              <a:extLst>
                <a:ext uri="{FF2B5EF4-FFF2-40B4-BE49-F238E27FC236}">
                  <a16:creationId xmlns:a16="http://schemas.microsoft.com/office/drawing/2014/main" id="{F0DED41A-1810-4B28-8821-E7DD9644F5DB}"/>
                </a:ext>
              </a:extLst>
            </p:cNvPr>
            <p:cNvSpPr txBox="1"/>
            <p:nvPr/>
          </p:nvSpPr>
          <p:spPr>
            <a:xfrm>
              <a:off x="7600950" y="1066235"/>
              <a:ext cx="2872581" cy="430887"/>
            </a:xfrm>
            <a:prstGeom prst="rect">
              <a:avLst/>
            </a:prstGeom>
            <a:noFill/>
          </p:spPr>
          <p:txBody>
            <a:bodyPr wrap="none" lIns="0" tIns="0" rIns="0" bIns="0" rtlCol="0" anchor="t">
              <a:spAutoFit/>
            </a:bodyPr>
            <a:lstStyle/>
            <a:p>
              <a:pPr algn="l"/>
              <a:r>
                <a:rPr lang="zh-CN" altLang="en-US" sz="2800" dirty="0">
                  <a:solidFill>
                    <a:schemeClr val="accent1">
                      <a:lumMod val="100000"/>
                    </a:schemeClr>
                  </a:solidFill>
                  <a:latin typeface="+mj-ea"/>
                  <a:ea typeface="+mj-ea"/>
                </a:rPr>
                <a:t>输入你的目录标题</a:t>
              </a:r>
            </a:p>
          </p:txBody>
        </p:sp>
      </p:grpSp>
      <p:grpSp>
        <p:nvGrpSpPr>
          <p:cNvPr id="25" name="组合 24">
            <a:extLst>
              <a:ext uri="{FF2B5EF4-FFF2-40B4-BE49-F238E27FC236}">
                <a16:creationId xmlns:a16="http://schemas.microsoft.com/office/drawing/2014/main" id="{79D1DA69-7A99-49E9-BC4A-7F5C81F1F9F5}"/>
              </a:ext>
            </a:extLst>
          </p:cNvPr>
          <p:cNvGrpSpPr/>
          <p:nvPr/>
        </p:nvGrpSpPr>
        <p:grpSpPr>
          <a:xfrm>
            <a:off x="6730832" y="3637421"/>
            <a:ext cx="3569036" cy="505955"/>
            <a:chOff x="6904495" y="1028701"/>
            <a:chExt cx="3569036" cy="505955"/>
          </a:xfrm>
        </p:grpSpPr>
        <p:sp>
          <p:nvSpPr>
            <p:cNvPr id="26" name="矩形: 圆角 25">
              <a:extLst>
                <a:ext uri="{FF2B5EF4-FFF2-40B4-BE49-F238E27FC236}">
                  <a16:creationId xmlns:a16="http://schemas.microsoft.com/office/drawing/2014/main" id="{E59B215A-CCAA-41EF-BD4A-F0499E488DDF}"/>
                </a:ext>
              </a:extLst>
            </p:cNvPr>
            <p:cNvSpPr/>
            <p:nvPr/>
          </p:nvSpPr>
          <p:spPr>
            <a:xfrm>
              <a:off x="6904495" y="1028701"/>
              <a:ext cx="505955" cy="505955"/>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600" dirty="0"/>
                <a:t>02</a:t>
              </a:r>
              <a:endParaRPr lang="zh-CN" altLang="en-US" sz="1600" dirty="0"/>
            </a:p>
          </p:txBody>
        </p:sp>
        <p:sp>
          <p:nvSpPr>
            <p:cNvPr id="27" name="文本框 26">
              <a:extLst>
                <a:ext uri="{FF2B5EF4-FFF2-40B4-BE49-F238E27FC236}">
                  <a16:creationId xmlns:a16="http://schemas.microsoft.com/office/drawing/2014/main" id="{4758D992-324B-427E-911E-C92B513ADB15}"/>
                </a:ext>
              </a:extLst>
            </p:cNvPr>
            <p:cNvSpPr txBox="1"/>
            <p:nvPr/>
          </p:nvSpPr>
          <p:spPr>
            <a:xfrm>
              <a:off x="7600950" y="1066235"/>
              <a:ext cx="2872581" cy="430887"/>
            </a:xfrm>
            <a:prstGeom prst="rect">
              <a:avLst/>
            </a:prstGeom>
            <a:noFill/>
          </p:spPr>
          <p:txBody>
            <a:bodyPr wrap="none" lIns="0" tIns="0" rIns="0" bIns="0" rtlCol="0" anchor="t">
              <a:spAutoFit/>
            </a:bodyPr>
            <a:lstStyle/>
            <a:p>
              <a:pPr algn="l"/>
              <a:r>
                <a:rPr lang="zh-CN" altLang="en-US" sz="2800" dirty="0">
                  <a:solidFill>
                    <a:schemeClr val="accent1">
                      <a:lumMod val="100000"/>
                    </a:schemeClr>
                  </a:solidFill>
                  <a:latin typeface="+mj-ea"/>
                  <a:ea typeface="+mj-ea"/>
                </a:rPr>
                <a:t>输入你的目录标题</a:t>
              </a:r>
            </a:p>
          </p:txBody>
        </p:sp>
      </p:grpSp>
      <p:grpSp>
        <p:nvGrpSpPr>
          <p:cNvPr id="28" name="组合 27">
            <a:extLst>
              <a:ext uri="{FF2B5EF4-FFF2-40B4-BE49-F238E27FC236}">
                <a16:creationId xmlns:a16="http://schemas.microsoft.com/office/drawing/2014/main" id="{6AA9B6FE-A6F6-4817-9697-B05F468FC872}"/>
              </a:ext>
            </a:extLst>
          </p:cNvPr>
          <p:cNvGrpSpPr/>
          <p:nvPr/>
        </p:nvGrpSpPr>
        <p:grpSpPr>
          <a:xfrm>
            <a:off x="1892132" y="4972279"/>
            <a:ext cx="3569036" cy="505955"/>
            <a:chOff x="6904495" y="1028701"/>
            <a:chExt cx="3569036" cy="505955"/>
          </a:xfrm>
        </p:grpSpPr>
        <p:sp>
          <p:nvSpPr>
            <p:cNvPr id="29" name="矩形: 圆角 28">
              <a:extLst>
                <a:ext uri="{FF2B5EF4-FFF2-40B4-BE49-F238E27FC236}">
                  <a16:creationId xmlns:a16="http://schemas.microsoft.com/office/drawing/2014/main" id="{16614FA7-8BA5-48E0-A9F5-28F713463D49}"/>
                </a:ext>
              </a:extLst>
            </p:cNvPr>
            <p:cNvSpPr/>
            <p:nvPr/>
          </p:nvSpPr>
          <p:spPr>
            <a:xfrm>
              <a:off x="6904495" y="1028701"/>
              <a:ext cx="505955" cy="505955"/>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600" dirty="0"/>
                <a:t>03</a:t>
              </a:r>
              <a:endParaRPr lang="zh-CN" altLang="en-US" sz="1600" dirty="0"/>
            </a:p>
          </p:txBody>
        </p:sp>
        <p:sp>
          <p:nvSpPr>
            <p:cNvPr id="30" name="文本框 29">
              <a:extLst>
                <a:ext uri="{FF2B5EF4-FFF2-40B4-BE49-F238E27FC236}">
                  <a16:creationId xmlns:a16="http://schemas.microsoft.com/office/drawing/2014/main" id="{EABCFAFE-B7DA-40C0-9EAD-F63DD3800171}"/>
                </a:ext>
              </a:extLst>
            </p:cNvPr>
            <p:cNvSpPr txBox="1"/>
            <p:nvPr/>
          </p:nvSpPr>
          <p:spPr>
            <a:xfrm>
              <a:off x="7600950" y="1066235"/>
              <a:ext cx="2872581" cy="430887"/>
            </a:xfrm>
            <a:prstGeom prst="rect">
              <a:avLst/>
            </a:prstGeom>
            <a:noFill/>
          </p:spPr>
          <p:txBody>
            <a:bodyPr wrap="none" lIns="0" tIns="0" rIns="0" bIns="0" rtlCol="0" anchor="t">
              <a:spAutoFit/>
            </a:bodyPr>
            <a:lstStyle/>
            <a:p>
              <a:pPr algn="l"/>
              <a:r>
                <a:rPr lang="zh-CN" altLang="en-US" sz="2800" dirty="0">
                  <a:solidFill>
                    <a:schemeClr val="accent1">
                      <a:lumMod val="100000"/>
                    </a:schemeClr>
                  </a:solidFill>
                  <a:latin typeface="+mj-ea"/>
                  <a:ea typeface="+mj-ea"/>
                </a:rPr>
                <a:t>输入你的目录标题</a:t>
              </a:r>
            </a:p>
          </p:txBody>
        </p:sp>
      </p:grpSp>
      <p:grpSp>
        <p:nvGrpSpPr>
          <p:cNvPr id="31" name="组合 30">
            <a:extLst>
              <a:ext uri="{FF2B5EF4-FFF2-40B4-BE49-F238E27FC236}">
                <a16:creationId xmlns:a16="http://schemas.microsoft.com/office/drawing/2014/main" id="{6B25AEE2-91B6-4722-B6AF-AAB78FD8A486}"/>
              </a:ext>
            </a:extLst>
          </p:cNvPr>
          <p:cNvGrpSpPr/>
          <p:nvPr/>
        </p:nvGrpSpPr>
        <p:grpSpPr>
          <a:xfrm>
            <a:off x="6730832" y="4934745"/>
            <a:ext cx="3569036" cy="505955"/>
            <a:chOff x="6904495" y="1028701"/>
            <a:chExt cx="3569036" cy="505955"/>
          </a:xfrm>
        </p:grpSpPr>
        <p:sp>
          <p:nvSpPr>
            <p:cNvPr id="32" name="矩形: 圆角 31">
              <a:extLst>
                <a:ext uri="{FF2B5EF4-FFF2-40B4-BE49-F238E27FC236}">
                  <a16:creationId xmlns:a16="http://schemas.microsoft.com/office/drawing/2014/main" id="{6BE653CE-CD88-49F9-9438-EF09C67DF379}"/>
                </a:ext>
              </a:extLst>
            </p:cNvPr>
            <p:cNvSpPr/>
            <p:nvPr/>
          </p:nvSpPr>
          <p:spPr>
            <a:xfrm>
              <a:off x="6904495" y="1028701"/>
              <a:ext cx="505955" cy="505955"/>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600" dirty="0"/>
                <a:t>04</a:t>
              </a:r>
              <a:endParaRPr lang="zh-CN" altLang="en-US" sz="1600" dirty="0"/>
            </a:p>
          </p:txBody>
        </p:sp>
        <p:sp>
          <p:nvSpPr>
            <p:cNvPr id="33" name="文本框 32">
              <a:extLst>
                <a:ext uri="{FF2B5EF4-FFF2-40B4-BE49-F238E27FC236}">
                  <a16:creationId xmlns:a16="http://schemas.microsoft.com/office/drawing/2014/main" id="{C308054B-008C-46F7-826F-350670CD7A52}"/>
                </a:ext>
              </a:extLst>
            </p:cNvPr>
            <p:cNvSpPr txBox="1"/>
            <p:nvPr/>
          </p:nvSpPr>
          <p:spPr>
            <a:xfrm>
              <a:off x="7600950" y="1066235"/>
              <a:ext cx="2872581" cy="430887"/>
            </a:xfrm>
            <a:prstGeom prst="rect">
              <a:avLst/>
            </a:prstGeom>
            <a:noFill/>
          </p:spPr>
          <p:txBody>
            <a:bodyPr wrap="none" lIns="0" tIns="0" rIns="0" bIns="0" rtlCol="0" anchor="t">
              <a:spAutoFit/>
            </a:bodyPr>
            <a:lstStyle/>
            <a:p>
              <a:pPr algn="l"/>
              <a:r>
                <a:rPr lang="zh-CN" altLang="en-US" sz="2800" dirty="0">
                  <a:solidFill>
                    <a:schemeClr val="accent1">
                      <a:lumMod val="100000"/>
                    </a:schemeClr>
                  </a:solidFill>
                  <a:latin typeface="+mj-ea"/>
                  <a:ea typeface="+mj-ea"/>
                </a:rPr>
                <a:t>输入你的目录标题</a:t>
              </a:r>
            </a:p>
          </p:txBody>
        </p:sp>
      </p:grpSp>
      <p:sp>
        <p:nvSpPr>
          <p:cNvPr id="17" name="文本框 16">
            <a:extLst>
              <a:ext uri="{FF2B5EF4-FFF2-40B4-BE49-F238E27FC236}">
                <a16:creationId xmlns:a16="http://schemas.microsoft.com/office/drawing/2014/main" id="{4FB963FB-0304-40B7-BDDD-D0DDC45CB261}"/>
              </a:ext>
            </a:extLst>
          </p:cNvPr>
          <p:cNvSpPr txBox="1"/>
          <p:nvPr/>
        </p:nvSpPr>
        <p:spPr>
          <a:xfrm>
            <a:off x="4727447" y="1964149"/>
            <a:ext cx="2699839" cy="430887"/>
          </a:xfrm>
          <a:prstGeom prst="rect">
            <a:avLst/>
          </a:prstGeom>
          <a:noFill/>
        </p:spPr>
        <p:txBody>
          <a:bodyPr wrap="square" lIns="0" tIns="0" rIns="0" bIns="0" rtlCol="0" anchor="t">
            <a:spAutoFit/>
          </a:bodyPr>
          <a:lstStyle/>
          <a:p>
            <a:pPr algn="dist"/>
            <a:r>
              <a:rPr lang="en-US" altLang="zh-CN" sz="2800" dirty="0">
                <a:solidFill>
                  <a:schemeClr val="bg1"/>
                </a:solidFill>
              </a:rPr>
              <a:t>CONTENTS</a:t>
            </a:r>
            <a:endParaRPr lang="zh-CN" altLang="en-US" sz="2800" dirty="0">
              <a:solidFill>
                <a:schemeClr val="bg1"/>
              </a:solidFill>
            </a:endParaRPr>
          </a:p>
        </p:txBody>
      </p:sp>
    </p:spTree>
    <p:extLst>
      <p:ext uri="{BB962C8B-B14F-4D97-AF65-F5344CB8AC3E}">
        <p14:creationId xmlns:p14="http://schemas.microsoft.com/office/powerpoint/2010/main" val="1380987441"/>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6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1">
            <a:extLst>
              <a:ext uri="{FF2B5EF4-FFF2-40B4-BE49-F238E27FC236}">
                <a16:creationId xmlns:a16="http://schemas.microsoft.com/office/drawing/2014/main" id="{F10162BF-69A0-4E7D-AC10-92F1F281D1F5}"/>
              </a:ext>
            </a:extLst>
          </p:cNvPr>
          <p:cNvSpPr>
            <a:spLocks/>
          </p:cNvSpPr>
          <p:nvPr/>
        </p:nvSpPr>
        <p:spPr bwMode="auto">
          <a:xfrm>
            <a:off x="-11403" y="6530977"/>
            <a:ext cx="12203403" cy="357188"/>
          </a:xfrm>
          <a:custGeom>
            <a:avLst/>
            <a:gdLst>
              <a:gd name="T0" fmla="*/ 4378 w 7678"/>
              <a:gd name="T1" fmla="*/ 0 h 225"/>
              <a:gd name="T2" fmla="*/ 4285 w 7678"/>
              <a:gd name="T3" fmla="*/ 0 h 225"/>
              <a:gd name="T4" fmla="*/ 3098 w 7678"/>
              <a:gd name="T5" fmla="*/ 0 h 225"/>
              <a:gd name="T6" fmla="*/ 3070 w 7678"/>
              <a:gd name="T7" fmla="*/ 0 h 225"/>
              <a:gd name="T8" fmla="*/ 0 w 7678"/>
              <a:gd name="T9" fmla="*/ 0 h 225"/>
              <a:gd name="T10" fmla="*/ 0 w 7678"/>
              <a:gd name="T11" fmla="*/ 225 h 225"/>
              <a:gd name="T12" fmla="*/ 7678 w 7678"/>
              <a:gd name="T13" fmla="*/ 225 h 225"/>
              <a:gd name="T14" fmla="*/ 7678 w 7678"/>
              <a:gd name="T15" fmla="*/ 0 h 225"/>
              <a:gd name="T16" fmla="*/ 4378 w 7678"/>
              <a:gd name="T17" fmla="*/ 0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78" h="225">
                <a:moveTo>
                  <a:pt x="4378" y="0"/>
                </a:moveTo>
                <a:lnTo>
                  <a:pt x="4285" y="0"/>
                </a:lnTo>
                <a:lnTo>
                  <a:pt x="3098" y="0"/>
                </a:lnTo>
                <a:lnTo>
                  <a:pt x="3070" y="0"/>
                </a:lnTo>
                <a:lnTo>
                  <a:pt x="0" y="0"/>
                </a:lnTo>
                <a:lnTo>
                  <a:pt x="0" y="225"/>
                </a:lnTo>
                <a:lnTo>
                  <a:pt x="7678" y="225"/>
                </a:lnTo>
                <a:lnTo>
                  <a:pt x="7678" y="0"/>
                </a:lnTo>
                <a:lnTo>
                  <a:pt x="4378" y="0"/>
                </a:lnTo>
                <a:close/>
              </a:path>
            </a:pathLst>
          </a:custGeom>
          <a:solidFill>
            <a:srgbClr val="A3A1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nvGrpSpPr>
          <p:cNvPr id="3" name="Group 1">
            <a:extLst>
              <a:ext uri="{FF2B5EF4-FFF2-40B4-BE49-F238E27FC236}">
                <a16:creationId xmlns:a16="http://schemas.microsoft.com/office/drawing/2014/main" id="{54B4EA70-96A8-40BB-A4F5-81496381CA3F}"/>
              </a:ext>
            </a:extLst>
          </p:cNvPr>
          <p:cNvGrpSpPr/>
          <p:nvPr/>
        </p:nvGrpSpPr>
        <p:grpSpPr>
          <a:xfrm>
            <a:off x="3291189" y="1789893"/>
            <a:ext cx="6330063" cy="4741864"/>
            <a:chOff x="3291187" y="1789893"/>
            <a:chExt cx="6330062" cy="4741864"/>
          </a:xfrm>
        </p:grpSpPr>
        <p:sp>
          <p:nvSpPr>
            <p:cNvPr id="4" name="Freeform 5">
              <a:extLst>
                <a:ext uri="{FF2B5EF4-FFF2-40B4-BE49-F238E27FC236}">
                  <a16:creationId xmlns:a16="http://schemas.microsoft.com/office/drawing/2014/main" id="{700B9970-150E-4ED0-8F74-D943A064931A}"/>
                </a:ext>
              </a:extLst>
            </p:cNvPr>
            <p:cNvSpPr>
              <a:spLocks/>
            </p:cNvSpPr>
            <p:nvPr/>
          </p:nvSpPr>
          <p:spPr bwMode="auto">
            <a:xfrm>
              <a:off x="4624789" y="3125011"/>
              <a:ext cx="3991712" cy="3406746"/>
            </a:xfrm>
            <a:custGeom>
              <a:avLst/>
              <a:gdLst>
                <a:gd name="T0" fmla="*/ 1023 w 1756"/>
                <a:gd name="T1" fmla="*/ 1422 h 1501"/>
                <a:gd name="T2" fmla="*/ 917 w 1756"/>
                <a:gd name="T3" fmla="*/ 1284 h 1501"/>
                <a:gd name="T4" fmla="*/ 880 w 1756"/>
                <a:gd name="T5" fmla="*/ 975 h 1501"/>
                <a:gd name="T6" fmla="*/ 873 w 1756"/>
                <a:gd name="T7" fmla="*/ 882 h 1501"/>
                <a:gd name="T8" fmla="*/ 1093 w 1756"/>
                <a:gd name="T9" fmla="*/ 772 h 1501"/>
                <a:gd name="T10" fmla="*/ 1737 w 1756"/>
                <a:gd name="T11" fmla="*/ 657 h 1501"/>
                <a:gd name="T12" fmla="*/ 1301 w 1756"/>
                <a:gd name="T13" fmla="*/ 669 h 1501"/>
                <a:gd name="T14" fmla="*/ 894 w 1756"/>
                <a:gd name="T15" fmla="*/ 811 h 1501"/>
                <a:gd name="T16" fmla="*/ 859 w 1756"/>
                <a:gd name="T17" fmla="*/ 738 h 1501"/>
                <a:gd name="T18" fmla="*/ 946 w 1756"/>
                <a:gd name="T19" fmla="*/ 683 h 1501"/>
                <a:gd name="T20" fmla="*/ 1196 w 1756"/>
                <a:gd name="T21" fmla="*/ 452 h 1501"/>
                <a:gd name="T22" fmla="*/ 1259 w 1756"/>
                <a:gd name="T23" fmla="*/ 300 h 1501"/>
                <a:gd name="T24" fmla="*/ 1039 w 1756"/>
                <a:gd name="T25" fmla="*/ 542 h 1501"/>
                <a:gd name="T26" fmla="*/ 856 w 1756"/>
                <a:gd name="T27" fmla="*/ 669 h 1501"/>
                <a:gd name="T28" fmla="*/ 855 w 1756"/>
                <a:gd name="T29" fmla="*/ 597 h 1501"/>
                <a:gd name="T30" fmla="*/ 865 w 1756"/>
                <a:gd name="T31" fmla="*/ 19 h 1501"/>
                <a:gd name="T32" fmla="*/ 847 w 1756"/>
                <a:gd name="T33" fmla="*/ 208 h 1501"/>
                <a:gd name="T34" fmla="*/ 784 w 1756"/>
                <a:gd name="T35" fmla="*/ 581 h 1501"/>
                <a:gd name="T36" fmla="*/ 762 w 1756"/>
                <a:gd name="T37" fmla="*/ 645 h 1501"/>
                <a:gd name="T38" fmla="*/ 594 w 1756"/>
                <a:gd name="T39" fmla="*/ 355 h 1501"/>
                <a:gd name="T40" fmla="*/ 455 w 1756"/>
                <a:gd name="T41" fmla="*/ 254 h 1501"/>
                <a:gd name="T42" fmla="*/ 633 w 1756"/>
                <a:gd name="T43" fmla="*/ 522 h 1501"/>
                <a:gd name="T44" fmla="*/ 713 w 1756"/>
                <a:gd name="T45" fmla="*/ 740 h 1501"/>
                <a:gd name="T46" fmla="*/ 720 w 1756"/>
                <a:gd name="T47" fmla="*/ 857 h 1501"/>
                <a:gd name="T48" fmla="*/ 630 w 1756"/>
                <a:gd name="T49" fmla="*/ 787 h 1501"/>
                <a:gd name="T50" fmla="*/ 17 w 1756"/>
                <a:gd name="T51" fmla="*/ 571 h 1501"/>
                <a:gd name="T52" fmla="*/ 403 w 1756"/>
                <a:gd name="T53" fmla="*/ 734 h 1501"/>
                <a:gd name="T54" fmla="*/ 666 w 1756"/>
                <a:gd name="T55" fmla="*/ 890 h 1501"/>
                <a:gd name="T56" fmla="*/ 712 w 1756"/>
                <a:gd name="T57" fmla="*/ 938 h 1501"/>
                <a:gd name="T58" fmla="*/ 701 w 1756"/>
                <a:gd name="T59" fmla="*/ 1080 h 1501"/>
                <a:gd name="T60" fmla="*/ 568 w 1756"/>
                <a:gd name="T61" fmla="*/ 1420 h 1501"/>
                <a:gd name="T62" fmla="*/ 443 w 1756"/>
                <a:gd name="T63" fmla="*/ 1466 h 1501"/>
                <a:gd name="T64" fmla="*/ 1155 w 1756"/>
                <a:gd name="T65" fmla="*/ 1501 h 15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56" h="1501">
                  <a:moveTo>
                    <a:pt x="1111" y="1478"/>
                  </a:moveTo>
                  <a:cubicBezTo>
                    <a:pt x="1081" y="1461"/>
                    <a:pt x="1051" y="1442"/>
                    <a:pt x="1023" y="1422"/>
                  </a:cubicBezTo>
                  <a:cubicBezTo>
                    <a:pt x="998" y="1404"/>
                    <a:pt x="972" y="1384"/>
                    <a:pt x="953" y="1360"/>
                  </a:cubicBezTo>
                  <a:cubicBezTo>
                    <a:pt x="935" y="1337"/>
                    <a:pt x="924" y="1311"/>
                    <a:pt x="917" y="1284"/>
                  </a:cubicBezTo>
                  <a:cubicBezTo>
                    <a:pt x="898" y="1220"/>
                    <a:pt x="894" y="1151"/>
                    <a:pt x="889" y="1085"/>
                  </a:cubicBezTo>
                  <a:cubicBezTo>
                    <a:pt x="886" y="1048"/>
                    <a:pt x="884" y="1011"/>
                    <a:pt x="880" y="975"/>
                  </a:cubicBezTo>
                  <a:cubicBezTo>
                    <a:pt x="879" y="957"/>
                    <a:pt x="877" y="938"/>
                    <a:pt x="876" y="920"/>
                  </a:cubicBezTo>
                  <a:cubicBezTo>
                    <a:pt x="876" y="907"/>
                    <a:pt x="874" y="895"/>
                    <a:pt x="873" y="882"/>
                  </a:cubicBezTo>
                  <a:cubicBezTo>
                    <a:pt x="887" y="872"/>
                    <a:pt x="901" y="862"/>
                    <a:pt x="916" y="852"/>
                  </a:cubicBezTo>
                  <a:cubicBezTo>
                    <a:pt x="971" y="818"/>
                    <a:pt x="1032" y="793"/>
                    <a:pt x="1093" y="772"/>
                  </a:cubicBezTo>
                  <a:cubicBezTo>
                    <a:pt x="1225" y="726"/>
                    <a:pt x="1363" y="701"/>
                    <a:pt x="1501" y="685"/>
                  </a:cubicBezTo>
                  <a:cubicBezTo>
                    <a:pt x="1580" y="675"/>
                    <a:pt x="1658" y="667"/>
                    <a:pt x="1737" y="657"/>
                  </a:cubicBezTo>
                  <a:cubicBezTo>
                    <a:pt x="1755" y="655"/>
                    <a:pt x="1756" y="627"/>
                    <a:pt x="1737" y="628"/>
                  </a:cubicBezTo>
                  <a:cubicBezTo>
                    <a:pt x="1591" y="630"/>
                    <a:pt x="1445" y="642"/>
                    <a:pt x="1301" y="669"/>
                  </a:cubicBezTo>
                  <a:cubicBezTo>
                    <a:pt x="1163" y="694"/>
                    <a:pt x="1022" y="736"/>
                    <a:pt x="901" y="807"/>
                  </a:cubicBezTo>
                  <a:cubicBezTo>
                    <a:pt x="899" y="809"/>
                    <a:pt x="896" y="810"/>
                    <a:pt x="894" y="811"/>
                  </a:cubicBezTo>
                  <a:cubicBezTo>
                    <a:pt x="883" y="814"/>
                    <a:pt x="870" y="817"/>
                    <a:pt x="858" y="822"/>
                  </a:cubicBezTo>
                  <a:cubicBezTo>
                    <a:pt x="857" y="794"/>
                    <a:pt x="858" y="766"/>
                    <a:pt x="859" y="738"/>
                  </a:cubicBezTo>
                  <a:cubicBezTo>
                    <a:pt x="865" y="734"/>
                    <a:pt x="871" y="731"/>
                    <a:pt x="877" y="727"/>
                  </a:cubicBezTo>
                  <a:cubicBezTo>
                    <a:pt x="900" y="713"/>
                    <a:pt x="923" y="699"/>
                    <a:pt x="946" y="683"/>
                  </a:cubicBezTo>
                  <a:cubicBezTo>
                    <a:pt x="993" y="651"/>
                    <a:pt x="1038" y="616"/>
                    <a:pt x="1080" y="577"/>
                  </a:cubicBezTo>
                  <a:cubicBezTo>
                    <a:pt x="1122" y="539"/>
                    <a:pt x="1161" y="497"/>
                    <a:pt x="1196" y="452"/>
                  </a:cubicBezTo>
                  <a:cubicBezTo>
                    <a:pt x="1232" y="407"/>
                    <a:pt x="1257" y="361"/>
                    <a:pt x="1272" y="305"/>
                  </a:cubicBezTo>
                  <a:cubicBezTo>
                    <a:pt x="1274" y="298"/>
                    <a:pt x="1262" y="292"/>
                    <a:pt x="1259" y="300"/>
                  </a:cubicBezTo>
                  <a:cubicBezTo>
                    <a:pt x="1236" y="350"/>
                    <a:pt x="1195" y="393"/>
                    <a:pt x="1157" y="433"/>
                  </a:cubicBezTo>
                  <a:cubicBezTo>
                    <a:pt x="1120" y="471"/>
                    <a:pt x="1081" y="507"/>
                    <a:pt x="1039" y="542"/>
                  </a:cubicBezTo>
                  <a:cubicBezTo>
                    <a:pt x="998" y="575"/>
                    <a:pt x="955" y="607"/>
                    <a:pt x="910" y="636"/>
                  </a:cubicBezTo>
                  <a:cubicBezTo>
                    <a:pt x="893" y="648"/>
                    <a:pt x="875" y="658"/>
                    <a:pt x="856" y="669"/>
                  </a:cubicBezTo>
                  <a:cubicBezTo>
                    <a:pt x="856" y="649"/>
                    <a:pt x="853" y="628"/>
                    <a:pt x="851" y="609"/>
                  </a:cubicBezTo>
                  <a:cubicBezTo>
                    <a:pt x="853" y="605"/>
                    <a:pt x="854" y="601"/>
                    <a:pt x="855" y="597"/>
                  </a:cubicBezTo>
                  <a:cubicBezTo>
                    <a:pt x="872" y="531"/>
                    <a:pt x="883" y="465"/>
                    <a:pt x="891" y="398"/>
                  </a:cubicBezTo>
                  <a:cubicBezTo>
                    <a:pt x="906" y="274"/>
                    <a:pt x="920" y="135"/>
                    <a:pt x="865" y="19"/>
                  </a:cubicBezTo>
                  <a:cubicBezTo>
                    <a:pt x="856" y="0"/>
                    <a:pt x="823" y="13"/>
                    <a:pt x="831" y="33"/>
                  </a:cubicBezTo>
                  <a:cubicBezTo>
                    <a:pt x="853" y="89"/>
                    <a:pt x="851" y="149"/>
                    <a:pt x="847" y="208"/>
                  </a:cubicBezTo>
                  <a:cubicBezTo>
                    <a:pt x="842" y="271"/>
                    <a:pt x="835" y="334"/>
                    <a:pt x="824" y="397"/>
                  </a:cubicBezTo>
                  <a:cubicBezTo>
                    <a:pt x="812" y="458"/>
                    <a:pt x="799" y="520"/>
                    <a:pt x="784" y="581"/>
                  </a:cubicBezTo>
                  <a:cubicBezTo>
                    <a:pt x="778" y="605"/>
                    <a:pt x="771" y="629"/>
                    <a:pt x="765" y="652"/>
                  </a:cubicBezTo>
                  <a:cubicBezTo>
                    <a:pt x="764" y="650"/>
                    <a:pt x="763" y="648"/>
                    <a:pt x="762" y="645"/>
                  </a:cubicBezTo>
                  <a:cubicBezTo>
                    <a:pt x="742" y="593"/>
                    <a:pt x="718" y="541"/>
                    <a:pt x="690" y="492"/>
                  </a:cubicBezTo>
                  <a:cubicBezTo>
                    <a:pt x="661" y="444"/>
                    <a:pt x="629" y="398"/>
                    <a:pt x="594" y="355"/>
                  </a:cubicBezTo>
                  <a:cubicBezTo>
                    <a:pt x="557" y="311"/>
                    <a:pt x="515" y="274"/>
                    <a:pt x="473" y="236"/>
                  </a:cubicBezTo>
                  <a:cubicBezTo>
                    <a:pt x="461" y="224"/>
                    <a:pt x="443" y="242"/>
                    <a:pt x="455" y="254"/>
                  </a:cubicBezTo>
                  <a:cubicBezTo>
                    <a:pt x="492" y="293"/>
                    <a:pt x="523" y="338"/>
                    <a:pt x="553" y="383"/>
                  </a:cubicBezTo>
                  <a:cubicBezTo>
                    <a:pt x="583" y="427"/>
                    <a:pt x="609" y="473"/>
                    <a:pt x="633" y="522"/>
                  </a:cubicBezTo>
                  <a:cubicBezTo>
                    <a:pt x="655" y="568"/>
                    <a:pt x="675" y="616"/>
                    <a:pt x="691" y="665"/>
                  </a:cubicBezTo>
                  <a:cubicBezTo>
                    <a:pt x="699" y="690"/>
                    <a:pt x="706" y="715"/>
                    <a:pt x="713" y="740"/>
                  </a:cubicBezTo>
                  <a:cubicBezTo>
                    <a:pt x="715" y="747"/>
                    <a:pt x="717" y="756"/>
                    <a:pt x="719" y="765"/>
                  </a:cubicBezTo>
                  <a:cubicBezTo>
                    <a:pt x="719" y="796"/>
                    <a:pt x="720" y="826"/>
                    <a:pt x="720" y="857"/>
                  </a:cubicBezTo>
                  <a:cubicBezTo>
                    <a:pt x="718" y="855"/>
                    <a:pt x="716" y="853"/>
                    <a:pt x="714" y="851"/>
                  </a:cubicBezTo>
                  <a:cubicBezTo>
                    <a:pt x="689" y="827"/>
                    <a:pt x="660" y="806"/>
                    <a:pt x="630" y="787"/>
                  </a:cubicBezTo>
                  <a:cubicBezTo>
                    <a:pt x="569" y="749"/>
                    <a:pt x="504" y="716"/>
                    <a:pt x="438" y="687"/>
                  </a:cubicBezTo>
                  <a:cubicBezTo>
                    <a:pt x="303" y="628"/>
                    <a:pt x="163" y="591"/>
                    <a:pt x="17" y="571"/>
                  </a:cubicBezTo>
                  <a:cubicBezTo>
                    <a:pt x="5" y="569"/>
                    <a:pt x="0" y="586"/>
                    <a:pt x="12" y="589"/>
                  </a:cubicBezTo>
                  <a:cubicBezTo>
                    <a:pt x="146" y="624"/>
                    <a:pt x="278" y="674"/>
                    <a:pt x="403" y="734"/>
                  </a:cubicBezTo>
                  <a:cubicBezTo>
                    <a:pt x="466" y="763"/>
                    <a:pt x="527" y="796"/>
                    <a:pt x="587" y="832"/>
                  </a:cubicBezTo>
                  <a:cubicBezTo>
                    <a:pt x="615" y="849"/>
                    <a:pt x="642" y="867"/>
                    <a:pt x="666" y="890"/>
                  </a:cubicBezTo>
                  <a:cubicBezTo>
                    <a:pt x="678" y="901"/>
                    <a:pt x="688" y="913"/>
                    <a:pt x="699" y="924"/>
                  </a:cubicBezTo>
                  <a:cubicBezTo>
                    <a:pt x="703" y="929"/>
                    <a:pt x="708" y="934"/>
                    <a:pt x="712" y="938"/>
                  </a:cubicBezTo>
                  <a:cubicBezTo>
                    <a:pt x="711" y="947"/>
                    <a:pt x="710" y="956"/>
                    <a:pt x="709" y="965"/>
                  </a:cubicBezTo>
                  <a:cubicBezTo>
                    <a:pt x="705" y="1003"/>
                    <a:pt x="704" y="1041"/>
                    <a:pt x="701" y="1080"/>
                  </a:cubicBezTo>
                  <a:cubicBezTo>
                    <a:pt x="696" y="1151"/>
                    <a:pt x="688" y="1223"/>
                    <a:pt x="662" y="1290"/>
                  </a:cubicBezTo>
                  <a:cubicBezTo>
                    <a:pt x="643" y="1340"/>
                    <a:pt x="611" y="1388"/>
                    <a:pt x="568" y="1420"/>
                  </a:cubicBezTo>
                  <a:cubicBezTo>
                    <a:pt x="544" y="1438"/>
                    <a:pt x="517" y="1451"/>
                    <a:pt x="487" y="1458"/>
                  </a:cubicBezTo>
                  <a:cubicBezTo>
                    <a:pt x="473" y="1462"/>
                    <a:pt x="458" y="1465"/>
                    <a:pt x="443" y="1466"/>
                  </a:cubicBezTo>
                  <a:cubicBezTo>
                    <a:pt x="422" y="1469"/>
                    <a:pt x="368" y="1493"/>
                    <a:pt x="364" y="1501"/>
                  </a:cubicBezTo>
                  <a:cubicBezTo>
                    <a:pt x="1155" y="1501"/>
                    <a:pt x="1155" y="1501"/>
                    <a:pt x="1155" y="1501"/>
                  </a:cubicBezTo>
                  <a:cubicBezTo>
                    <a:pt x="1141" y="1493"/>
                    <a:pt x="1125" y="1486"/>
                    <a:pt x="1111" y="1478"/>
                  </a:cubicBezTo>
                  <a:close/>
                </a:path>
              </a:pathLst>
            </a:custGeom>
            <a:solidFill>
              <a:schemeClr val="accent3">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nvGrpSpPr>
            <p:cNvPr id="5" name="Group 51">
              <a:extLst>
                <a:ext uri="{FF2B5EF4-FFF2-40B4-BE49-F238E27FC236}">
                  <a16:creationId xmlns:a16="http://schemas.microsoft.com/office/drawing/2014/main" id="{2A2E7B03-B335-4E08-BA2B-E7A90DFEC2EB}"/>
                </a:ext>
              </a:extLst>
            </p:cNvPr>
            <p:cNvGrpSpPr/>
            <p:nvPr/>
          </p:nvGrpSpPr>
          <p:grpSpPr>
            <a:xfrm>
              <a:off x="3291187" y="3547823"/>
              <a:ext cx="1750353" cy="1222974"/>
              <a:chOff x="3291187" y="3547823"/>
              <a:chExt cx="1750353" cy="1222974"/>
            </a:xfrm>
          </p:grpSpPr>
          <p:sp>
            <p:nvSpPr>
              <p:cNvPr id="40" name="Freeform 6">
                <a:extLst>
                  <a:ext uri="{FF2B5EF4-FFF2-40B4-BE49-F238E27FC236}">
                    <a16:creationId xmlns:a16="http://schemas.microsoft.com/office/drawing/2014/main" id="{1129B44E-5306-4122-AF32-30E9D6140664}"/>
                  </a:ext>
                </a:extLst>
              </p:cNvPr>
              <p:cNvSpPr>
                <a:spLocks/>
              </p:cNvSpPr>
              <p:nvPr/>
            </p:nvSpPr>
            <p:spPr bwMode="auto">
              <a:xfrm>
                <a:off x="3291187" y="3547823"/>
                <a:ext cx="1750353" cy="1222974"/>
              </a:xfrm>
              <a:custGeom>
                <a:avLst/>
                <a:gdLst>
                  <a:gd name="T0" fmla="*/ 200 w 770"/>
                  <a:gd name="T1" fmla="*/ 44 h 539"/>
                  <a:gd name="T2" fmla="*/ 5 w 770"/>
                  <a:gd name="T3" fmla="*/ 117 h 539"/>
                  <a:gd name="T4" fmla="*/ 5 w 770"/>
                  <a:gd name="T5" fmla="*/ 118 h 539"/>
                  <a:gd name="T6" fmla="*/ 1 w 770"/>
                  <a:gd name="T7" fmla="*/ 127 h 539"/>
                  <a:gd name="T8" fmla="*/ 226 w 770"/>
                  <a:gd name="T9" fmla="*/ 436 h 539"/>
                  <a:gd name="T10" fmla="*/ 765 w 770"/>
                  <a:gd name="T11" fmla="*/ 436 h 539"/>
                  <a:gd name="T12" fmla="*/ 769 w 770"/>
                  <a:gd name="T13" fmla="*/ 426 h 539"/>
                  <a:gd name="T14" fmla="*/ 768 w 770"/>
                  <a:gd name="T15" fmla="*/ 424 h 539"/>
                  <a:gd name="T16" fmla="*/ 549 w 770"/>
                  <a:gd name="T17" fmla="*/ 104 h 539"/>
                  <a:gd name="T18" fmla="*/ 200 w 770"/>
                  <a:gd name="T19" fmla="*/ 44 h 5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0" h="539">
                    <a:moveTo>
                      <a:pt x="200" y="44"/>
                    </a:moveTo>
                    <a:cubicBezTo>
                      <a:pt x="134" y="66"/>
                      <a:pt x="65" y="82"/>
                      <a:pt x="5" y="117"/>
                    </a:cubicBezTo>
                    <a:cubicBezTo>
                      <a:pt x="5" y="117"/>
                      <a:pt x="5" y="117"/>
                      <a:pt x="5" y="118"/>
                    </a:cubicBezTo>
                    <a:cubicBezTo>
                      <a:pt x="2" y="119"/>
                      <a:pt x="0" y="122"/>
                      <a:pt x="1" y="127"/>
                    </a:cubicBezTo>
                    <a:cubicBezTo>
                      <a:pt x="41" y="245"/>
                      <a:pt x="130" y="356"/>
                      <a:pt x="226" y="436"/>
                    </a:cubicBezTo>
                    <a:cubicBezTo>
                      <a:pt x="348" y="539"/>
                      <a:pt x="724" y="503"/>
                      <a:pt x="765" y="436"/>
                    </a:cubicBezTo>
                    <a:cubicBezTo>
                      <a:pt x="767" y="432"/>
                      <a:pt x="770" y="430"/>
                      <a:pt x="769" y="426"/>
                    </a:cubicBezTo>
                    <a:cubicBezTo>
                      <a:pt x="769" y="426"/>
                      <a:pt x="768" y="425"/>
                      <a:pt x="768" y="424"/>
                    </a:cubicBezTo>
                    <a:cubicBezTo>
                      <a:pt x="730" y="296"/>
                      <a:pt x="645" y="191"/>
                      <a:pt x="549" y="104"/>
                    </a:cubicBezTo>
                    <a:cubicBezTo>
                      <a:pt x="453" y="17"/>
                      <a:pt x="331" y="0"/>
                      <a:pt x="200" y="44"/>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41" name="Freeform 763">
                <a:extLst>
                  <a:ext uri="{FF2B5EF4-FFF2-40B4-BE49-F238E27FC236}">
                    <a16:creationId xmlns:a16="http://schemas.microsoft.com/office/drawing/2014/main" id="{73DF4956-D11C-4A4B-BF4E-091C5AA165C0}"/>
                  </a:ext>
                </a:extLst>
              </p:cNvPr>
              <p:cNvSpPr>
                <a:spLocks noEditPoints="1"/>
              </p:cNvSpPr>
              <p:nvPr/>
            </p:nvSpPr>
            <p:spPr bwMode="auto">
              <a:xfrm>
                <a:off x="3957868" y="3914026"/>
                <a:ext cx="395447" cy="415262"/>
              </a:xfrm>
              <a:custGeom>
                <a:avLst/>
                <a:gdLst>
                  <a:gd name="T0" fmla="*/ 1608 w 3217"/>
                  <a:gd name="T1" fmla="*/ 259 h 3376"/>
                  <a:gd name="T2" fmla="*/ 506 w 3217"/>
                  <a:gd name="T3" fmla="*/ 819 h 3376"/>
                  <a:gd name="T4" fmla="*/ 1608 w 3217"/>
                  <a:gd name="T5" fmla="*/ 1381 h 3376"/>
                  <a:gd name="T6" fmla="*/ 2711 w 3217"/>
                  <a:gd name="T7" fmla="*/ 819 h 3376"/>
                  <a:gd name="T8" fmla="*/ 1608 w 3217"/>
                  <a:gd name="T9" fmla="*/ 259 h 3376"/>
                  <a:gd name="T10" fmla="*/ 1608 w 3217"/>
                  <a:gd name="T11" fmla="*/ 0 h 3376"/>
                  <a:gd name="T12" fmla="*/ 3217 w 3217"/>
                  <a:gd name="T13" fmla="*/ 819 h 3376"/>
                  <a:gd name="T14" fmla="*/ 3217 w 3217"/>
                  <a:gd name="T15" fmla="*/ 2556 h 3376"/>
                  <a:gd name="T16" fmla="*/ 1608 w 3217"/>
                  <a:gd name="T17" fmla="*/ 3376 h 3376"/>
                  <a:gd name="T18" fmla="*/ 0 w 3217"/>
                  <a:gd name="T19" fmla="*/ 2556 h 3376"/>
                  <a:gd name="T20" fmla="*/ 0 w 3217"/>
                  <a:gd name="T21" fmla="*/ 819 h 3376"/>
                  <a:gd name="T22" fmla="*/ 1608 w 3217"/>
                  <a:gd name="T23" fmla="*/ 0 h 3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17" h="3376">
                    <a:moveTo>
                      <a:pt x="1608" y="259"/>
                    </a:moveTo>
                    <a:lnTo>
                      <a:pt x="506" y="819"/>
                    </a:lnTo>
                    <a:lnTo>
                      <a:pt x="1608" y="1381"/>
                    </a:lnTo>
                    <a:lnTo>
                      <a:pt x="2711" y="819"/>
                    </a:lnTo>
                    <a:lnTo>
                      <a:pt x="1608" y="259"/>
                    </a:lnTo>
                    <a:close/>
                    <a:moveTo>
                      <a:pt x="1608" y="0"/>
                    </a:moveTo>
                    <a:lnTo>
                      <a:pt x="3217" y="819"/>
                    </a:lnTo>
                    <a:lnTo>
                      <a:pt x="3217" y="2556"/>
                    </a:lnTo>
                    <a:lnTo>
                      <a:pt x="1608" y="3376"/>
                    </a:lnTo>
                    <a:lnTo>
                      <a:pt x="0" y="2556"/>
                    </a:lnTo>
                    <a:lnTo>
                      <a:pt x="0" y="819"/>
                    </a:lnTo>
                    <a:lnTo>
                      <a:pt x="1608"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grpSp>
        <p:grpSp>
          <p:nvGrpSpPr>
            <p:cNvPr id="6" name="Group 52">
              <a:extLst>
                <a:ext uri="{FF2B5EF4-FFF2-40B4-BE49-F238E27FC236}">
                  <a16:creationId xmlns:a16="http://schemas.microsoft.com/office/drawing/2014/main" id="{430A1348-D74F-4F38-B894-BB4EFD20465E}"/>
                </a:ext>
              </a:extLst>
            </p:cNvPr>
            <p:cNvGrpSpPr/>
            <p:nvPr/>
          </p:nvGrpSpPr>
          <p:grpSpPr>
            <a:xfrm>
              <a:off x="4412625" y="2787063"/>
              <a:ext cx="1516972" cy="1285107"/>
              <a:chOff x="4412625" y="2787063"/>
              <a:chExt cx="1516972" cy="1285107"/>
            </a:xfrm>
          </p:grpSpPr>
          <p:sp>
            <p:nvSpPr>
              <p:cNvPr id="32" name="Freeform 7">
                <a:extLst>
                  <a:ext uri="{FF2B5EF4-FFF2-40B4-BE49-F238E27FC236}">
                    <a16:creationId xmlns:a16="http://schemas.microsoft.com/office/drawing/2014/main" id="{F2328440-3A16-42B8-86FB-DDC2A39429CB}"/>
                  </a:ext>
                </a:extLst>
              </p:cNvPr>
              <p:cNvSpPr>
                <a:spLocks/>
              </p:cNvSpPr>
              <p:nvPr/>
            </p:nvSpPr>
            <p:spPr bwMode="auto">
              <a:xfrm>
                <a:off x="4412625" y="2787063"/>
                <a:ext cx="1516972" cy="1285107"/>
              </a:xfrm>
              <a:custGeom>
                <a:avLst/>
                <a:gdLst>
                  <a:gd name="T0" fmla="*/ 208 w 668"/>
                  <a:gd name="T1" fmla="*/ 13 h 566"/>
                  <a:gd name="T2" fmla="*/ 7 w 668"/>
                  <a:gd name="T3" fmla="*/ 40 h 566"/>
                  <a:gd name="T4" fmla="*/ 6 w 668"/>
                  <a:gd name="T5" fmla="*/ 41 h 566"/>
                  <a:gd name="T6" fmla="*/ 0 w 668"/>
                  <a:gd name="T7" fmla="*/ 49 h 566"/>
                  <a:gd name="T8" fmla="*/ 147 w 668"/>
                  <a:gd name="T9" fmla="*/ 394 h 566"/>
                  <a:gd name="T10" fmla="*/ 662 w 668"/>
                  <a:gd name="T11" fmla="*/ 511 h 566"/>
                  <a:gd name="T12" fmla="*/ 668 w 668"/>
                  <a:gd name="T13" fmla="*/ 503 h 566"/>
                  <a:gd name="T14" fmla="*/ 668 w 668"/>
                  <a:gd name="T15" fmla="*/ 501 h 566"/>
                  <a:gd name="T16" fmla="*/ 528 w 668"/>
                  <a:gd name="T17" fmla="*/ 147 h 566"/>
                  <a:gd name="T18" fmla="*/ 208 w 668"/>
                  <a:gd name="T19" fmla="*/ 13 h 5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68" h="566">
                    <a:moveTo>
                      <a:pt x="208" y="13"/>
                    </a:moveTo>
                    <a:cubicBezTo>
                      <a:pt x="140" y="20"/>
                      <a:pt x="71" y="20"/>
                      <a:pt x="7" y="40"/>
                    </a:cubicBezTo>
                    <a:cubicBezTo>
                      <a:pt x="6" y="40"/>
                      <a:pt x="6" y="41"/>
                      <a:pt x="6" y="41"/>
                    </a:cubicBezTo>
                    <a:cubicBezTo>
                      <a:pt x="2" y="42"/>
                      <a:pt x="0" y="44"/>
                      <a:pt x="0" y="49"/>
                    </a:cubicBezTo>
                    <a:cubicBezTo>
                      <a:pt x="12" y="171"/>
                      <a:pt x="73" y="296"/>
                      <a:pt x="147" y="394"/>
                    </a:cubicBezTo>
                    <a:cubicBezTo>
                      <a:pt x="241" y="519"/>
                      <a:pt x="608" y="566"/>
                      <a:pt x="662" y="511"/>
                    </a:cubicBezTo>
                    <a:cubicBezTo>
                      <a:pt x="665" y="508"/>
                      <a:pt x="668" y="507"/>
                      <a:pt x="668" y="503"/>
                    </a:cubicBezTo>
                    <a:cubicBezTo>
                      <a:pt x="668" y="502"/>
                      <a:pt x="668" y="502"/>
                      <a:pt x="668" y="501"/>
                    </a:cubicBezTo>
                    <a:cubicBezTo>
                      <a:pt x="659" y="370"/>
                      <a:pt x="601" y="251"/>
                      <a:pt x="528" y="147"/>
                    </a:cubicBezTo>
                    <a:cubicBezTo>
                      <a:pt x="456" y="43"/>
                      <a:pt x="343" y="0"/>
                      <a:pt x="208" y="13"/>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nvGrpSpPr>
              <p:cNvPr id="33" name="Group 50">
                <a:extLst>
                  <a:ext uri="{FF2B5EF4-FFF2-40B4-BE49-F238E27FC236}">
                    <a16:creationId xmlns:a16="http://schemas.microsoft.com/office/drawing/2014/main" id="{E3C7575D-68BB-4D34-A6AD-3390416BF106}"/>
                  </a:ext>
                </a:extLst>
              </p:cNvPr>
              <p:cNvGrpSpPr/>
              <p:nvPr/>
            </p:nvGrpSpPr>
            <p:grpSpPr>
              <a:xfrm>
                <a:off x="4922363" y="3168357"/>
                <a:ext cx="471795" cy="465930"/>
                <a:chOff x="4912973" y="3133701"/>
                <a:chExt cx="516276" cy="509860"/>
              </a:xfrm>
            </p:grpSpPr>
            <p:sp>
              <p:nvSpPr>
                <p:cNvPr id="34" name="Freeform 590">
                  <a:extLst>
                    <a:ext uri="{FF2B5EF4-FFF2-40B4-BE49-F238E27FC236}">
                      <a16:creationId xmlns:a16="http://schemas.microsoft.com/office/drawing/2014/main" id="{945AAFF4-7177-489B-9E0A-A3049FAFED5A}"/>
                    </a:ext>
                  </a:extLst>
                </p:cNvPr>
                <p:cNvSpPr>
                  <a:spLocks noEditPoints="1"/>
                </p:cNvSpPr>
                <p:nvPr/>
              </p:nvSpPr>
              <p:spPr bwMode="auto">
                <a:xfrm>
                  <a:off x="5148130" y="3365650"/>
                  <a:ext cx="281119" cy="277911"/>
                </a:xfrm>
                <a:custGeom>
                  <a:avLst/>
                  <a:gdLst>
                    <a:gd name="T0" fmla="*/ 639 w 1839"/>
                    <a:gd name="T1" fmla="*/ 284 h 1819"/>
                    <a:gd name="T2" fmla="*/ 497 w 1839"/>
                    <a:gd name="T3" fmla="*/ 345 h 1819"/>
                    <a:gd name="T4" fmla="*/ 378 w 1839"/>
                    <a:gd name="T5" fmla="*/ 451 h 1819"/>
                    <a:gd name="T6" fmla="*/ 301 w 1839"/>
                    <a:gd name="T7" fmla="*/ 585 h 1819"/>
                    <a:gd name="T8" fmla="*/ 270 w 1839"/>
                    <a:gd name="T9" fmla="*/ 732 h 1819"/>
                    <a:gd name="T10" fmla="*/ 286 w 1839"/>
                    <a:gd name="T11" fmla="*/ 881 h 1819"/>
                    <a:gd name="T12" fmla="*/ 347 w 1839"/>
                    <a:gd name="T13" fmla="*/ 1022 h 1819"/>
                    <a:gd name="T14" fmla="*/ 455 w 1839"/>
                    <a:gd name="T15" fmla="*/ 1140 h 1819"/>
                    <a:gd name="T16" fmla="*/ 591 w 1839"/>
                    <a:gd name="T17" fmla="*/ 1216 h 1819"/>
                    <a:gd name="T18" fmla="*/ 740 w 1839"/>
                    <a:gd name="T19" fmla="*/ 1246 h 1819"/>
                    <a:gd name="T20" fmla="*/ 891 w 1839"/>
                    <a:gd name="T21" fmla="*/ 1231 h 1819"/>
                    <a:gd name="T22" fmla="*/ 1033 w 1839"/>
                    <a:gd name="T23" fmla="*/ 1170 h 1819"/>
                    <a:gd name="T24" fmla="*/ 1152 w 1839"/>
                    <a:gd name="T25" fmla="*/ 1064 h 1819"/>
                    <a:gd name="T26" fmla="*/ 1229 w 1839"/>
                    <a:gd name="T27" fmla="*/ 930 h 1819"/>
                    <a:gd name="T28" fmla="*/ 1260 w 1839"/>
                    <a:gd name="T29" fmla="*/ 782 h 1819"/>
                    <a:gd name="T30" fmla="*/ 1244 w 1839"/>
                    <a:gd name="T31" fmla="*/ 633 h 1819"/>
                    <a:gd name="T32" fmla="*/ 1183 w 1839"/>
                    <a:gd name="T33" fmla="*/ 493 h 1819"/>
                    <a:gd name="T34" fmla="*/ 1076 w 1839"/>
                    <a:gd name="T35" fmla="*/ 375 h 1819"/>
                    <a:gd name="T36" fmla="*/ 939 w 1839"/>
                    <a:gd name="T37" fmla="*/ 299 h 1819"/>
                    <a:gd name="T38" fmla="*/ 790 w 1839"/>
                    <a:gd name="T39" fmla="*/ 268 h 1819"/>
                    <a:gd name="T40" fmla="*/ 858 w 1839"/>
                    <a:gd name="T41" fmla="*/ 6 h 1819"/>
                    <a:gd name="T42" fmla="*/ 1038 w 1839"/>
                    <a:gd name="T43" fmla="*/ 49 h 1819"/>
                    <a:gd name="T44" fmla="*/ 1207 w 1839"/>
                    <a:gd name="T45" fmla="*/ 138 h 1819"/>
                    <a:gd name="T46" fmla="*/ 1350 w 1839"/>
                    <a:gd name="T47" fmla="*/ 268 h 1819"/>
                    <a:gd name="T48" fmla="*/ 1454 w 1839"/>
                    <a:gd name="T49" fmla="*/ 425 h 1819"/>
                    <a:gd name="T50" fmla="*/ 1513 w 1839"/>
                    <a:gd name="T51" fmla="*/ 598 h 1819"/>
                    <a:gd name="T52" fmla="*/ 1530 w 1839"/>
                    <a:gd name="T53" fmla="*/ 778 h 1819"/>
                    <a:gd name="T54" fmla="*/ 1502 w 1839"/>
                    <a:gd name="T55" fmla="*/ 956 h 1819"/>
                    <a:gd name="T56" fmla="*/ 1760 w 1839"/>
                    <a:gd name="T57" fmla="*/ 1368 h 1819"/>
                    <a:gd name="T58" fmla="*/ 1818 w 1839"/>
                    <a:gd name="T59" fmla="*/ 1454 h 1819"/>
                    <a:gd name="T60" fmla="*/ 1839 w 1839"/>
                    <a:gd name="T61" fmla="*/ 1555 h 1819"/>
                    <a:gd name="T62" fmla="*/ 1818 w 1839"/>
                    <a:gd name="T63" fmla="*/ 1656 h 1819"/>
                    <a:gd name="T64" fmla="*/ 1760 w 1839"/>
                    <a:gd name="T65" fmla="*/ 1743 h 1819"/>
                    <a:gd name="T66" fmla="*/ 1663 w 1839"/>
                    <a:gd name="T67" fmla="*/ 1804 h 1819"/>
                    <a:gd name="T68" fmla="*/ 1553 w 1839"/>
                    <a:gd name="T69" fmla="*/ 1819 h 1819"/>
                    <a:gd name="T70" fmla="*/ 1445 w 1839"/>
                    <a:gd name="T71" fmla="*/ 1788 h 1819"/>
                    <a:gd name="T72" fmla="*/ 1082 w 1839"/>
                    <a:gd name="T73" fmla="*/ 1446 h 1819"/>
                    <a:gd name="T74" fmla="*/ 907 w 1839"/>
                    <a:gd name="T75" fmla="*/ 1501 h 1819"/>
                    <a:gd name="T76" fmla="*/ 725 w 1839"/>
                    <a:gd name="T77" fmla="*/ 1513 h 1819"/>
                    <a:gd name="T78" fmla="*/ 545 w 1839"/>
                    <a:gd name="T79" fmla="*/ 1482 h 1819"/>
                    <a:gd name="T80" fmla="*/ 375 w 1839"/>
                    <a:gd name="T81" fmla="*/ 1409 h 1819"/>
                    <a:gd name="T82" fmla="*/ 224 w 1839"/>
                    <a:gd name="T83" fmla="*/ 1293 h 1819"/>
                    <a:gd name="T84" fmla="*/ 105 w 1839"/>
                    <a:gd name="T85" fmla="*/ 1141 h 1819"/>
                    <a:gd name="T86" fmla="*/ 30 w 1839"/>
                    <a:gd name="T87" fmla="*/ 970 h 1819"/>
                    <a:gd name="T88" fmla="*/ 0 w 1839"/>
                    <a:gd name="T89" fmla="*/ 787 h 1819"/>
                    <a:gd name="T90" fmla="*/ 15 w 1839"/>
                    <a:gd name="T91" fmla="*/ 604 h 1819"/>
                    <a:gd name="T92" fmla="*/ 74 w 1839"/>
                    <a:gd name="T93" fmla="*/ 429 h 1819"/>
                    <a:gd name="T94" fmla="*/ 179 w 1839"/>
                    <a:gd name="T95" fmla="*/ 270 h 1819"/>
                    <a:gd name="T96" fmla="*/ 323 w 1839"/>
                    <a:gd name="T97" fmla="*/ 138 h 1819"/>
                    <a:gd name="T98" fmla="*/ 491 w 1839"/>
                    <a:gd name="T99" fmla="*/ 49 h 1819"/>
                    <a:gd name="T100" fmla="*/ 672 w 1839"/>
                    <a:gd name="T101" fmla="*/ 6 h 18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839" h="1819">
                      <a:moveTo>
                        <a:pt x="740" y="268"/>
                      </a:moveTo>
                      <a:lnTo>
                        <a:pt x="689" y="273"/>
                      </a:lnTo>
                      <a:lnTo>
                        <a:pt x="639" y="284"/>
                      </a:lnTo>
                      <a:lnTo>
                        <a:pt x="591" y="299"/>
                      </a:lnTo>
                      <a:lnTo>
                        <a:pt x="544" y="319"/>
                      </a:lnTo>
                      <a:lnTo>
                        <a:pt x="497" y="345"/>
                      </a:lnTo>
                      <a:lnTo>
                        <a:pt x="455" y="375"/>
                      </a:lnTo>
                      <a:lnTo>
                        <a:pt x="415" y="410"/>
                      </a:lnTo>
                      <a:lnTo>
                        <a:pt x="378" y="451"/>
                      </a:lnTo>
                      <a:lnTo>
                        <a:pt x="347" y="493"/>
                      </a:lnTo>
                      <a:lnTo>
                        <a:pt x="322" y="538"/>
                      </a:lnTo>
                      <a:lnTo>
                        <a:pt x="301" y="585"/>
                      </a:lnTo>
                      <a:lnTo>
                        <a:pt x="286" y="633"/>
                      </a:lnTo>
                      <a:lnTo>
                        <a:pt x="276" y="682"/>
                      </a:lnTo>
                      <a:lnTo>
                        <a:pt x="270" y="732"/>
                      </a:lnTo>
                      <a:lnTo>
                        <a:pt x="270" y="782"/>
                      </a:lnTo>
                      <a:lnTo>
                        <a:pt x="276" y="832"/>
                      </a:lnTo>
                      <a:lnTo>
                        <a:pt x="286" y="881"/>
                      </a:lnTo>
                      <a:lnTo>
                        <a:pt x="301" y="930"/>
                      </a:lnTo>
                      <a:lnTo>
                        <a:pt x="322" y="977"/>
                      </a:lnTo>
                      <a:lnTo>
                        <a:pt x="347" y="1022"/>
                      </a:lnTo>
                      <a:lnTo>
                        <a:pt x="378" y="1064"/>
                      </a:lnTo>
                      <a:lnTo>
                        <a:pt x="415" y="1104"/>
                      </a:lnTo>
                      <a:lnTo>
                        <a:pt x="455" y="1140"/>
                      </a:lnTo>
                      <a:lnTo>
                        <a:pt x="497" y="1170"/>
                      </a:lnTo>
                      <a:lnTo>
                        <a:pt x="544" y="1195"/>
                      </a:lnTo>
                      <a:lnTo>
                        <a:pt x="591" y="1216"/>
                      </a:lnTo>
                      <a:lnTo>
                        <a:pt x="639" y="1231"/>
                      </a:lnTo>
                      <a:lnTo>
                        <a:pt x="689" y="1241"/>
                      </a:lnTo>
                      <a:lnTo>
                        <a:pt x="740" y="1246"/>
                      </a:lnTo>
                      <a:lnTo>
                        <a:pt x="790" y="1246"/>
                      </a:lnTo>
                      <a:lnTo>
                        <a:pt x="841" y="1241"/>
                      </a:lnTo>
                      <a:lnTo>
                        <a:pt x="891" y="1231"/>
                      </a:lnTo>
                      <a:lnTo>
                        <a:pt x="939" y="1216"/>
                      </a:lnTo>
                      <a:lnTo>
                        <a:pt x="986" y="1195"/>
                      </a:lnTo>
                      <a:lnTo>
                        <a:pt x="1033" y="1170"/>
                      </a:lnTo>
                      <a:lnTo>
                        <a:pt x="1076" y="1140"/>
                      </a:lnTo>
                      <a:lnTo>
                        <a:pt x="1115" y="1104"/>
                      </a:lnTo>
                      <a:lnTo>
                        <a:pt x="1152" y="1064"/>
                      </a:lnTo>
                      <a:lnTo>
                        <a:pt x="1183" y="1022"/>
                      </a:lnTo>
                      <a:lnTo>
                        <a:pt x="1208" y="977"/>
                      </a:lnTo>
                      <a:lnTo>
                        <a:pt x="1229" y="930"/>
                      </a:lnTo>
                      <a:lnTo>
                        <a:pt x="1244" y="881"/>
                      </a:lnTo>
                      <a:lnTo>
                        <a:pt x="1254" y="832"/>
                      </a:lnTo>
                      <a:lnTo>
                        <a:pt x="1260" y="782"/>
                      </a:lnTo>
                      <a:lnTo>
                        <a:pt x="1260" y="732"/>
                      </a:lnTo>
                      <a:lnTo>
                        <a:pt x="1254" y="682"/>
                      </a:lnTo>
                      <a:lnTo>
                        <a:pt x="1244" y="633"/>
                      </a:lnTo>
                      <a:lnTo>
                        <a:pt x="1229" y="585"/>
                      </a:lnTo>
                      <a:lnTo>
                        <a:pt x="1208" y="538"/>
                      </a:lnTo>
                      <a:lnTo>
                        <a:pt x="1183" y="493"/>
                      </a:lnTo>
                      <a:lnTo>
                        <a:pt x="1152" y="451"/>
                      </a:lnTo>
                      <a:lnTo>
                        <a:pt x="1115" y="410"/>
                      </a:lnTo>
                      <a:lnTo>
                        <a:pt x="1076" y="375"/>
                      </a:lnTo>
                      <a:lnTo>
                        <a:pt x="1033" y="345"/>
                      </a:lnTo>
                      <a:lnTo>
                        <a:pt x="986" y="319"/>
                      </a:lnTo>
                      <a:lnTo>
                        <a:pt x="939" y="299"/>
                      </a:lnTo>
                      <a:lnTo>
                        <a:pt x="891" y="284"/>
                      </a:lnTo>
                      <a:lnTo>
                        <a:pt x="841" y="273"/>
                      </a:lnTo>
                      <a:lnTo>
                        <a:pt x="790" y="268"/>
                      </a:lnTo>
                      <a:lnTo>
                        <a:pt x="740" y="268"/>
                      </a:lnTo>
                      <a:close/>
                      <a:moveTo>
                        <a:pt x="796" y="0"/>
                      </a:moveTo>
                      <a:lnTo>
                        <a:pt x="858" y="6"/>
                      </a:lnTo>
                      <a:lnTo>
                        <a:pt x="919" y="16"/>
                      </a:lnTo>
                      <a:lnTo>
                        <a:pt x="980" y="30"/>
                      </a:lnTo>
                      <a:lnTo>
                        <a:pt x="1038" y="49"/>
                      </a:lnTo>
                      <a:lnTo>
                        <a:pt x="1097" y="74"/>
                      </a:lnTo>
                      <a:lnTo>
                        <a:pt x="1153" y="104"/>
                      </a:lnTo>
                      <a:lnTo>
                        <a:pt x="1207" y="138"/>
                      </a:lnTo>
                      <a:lnTo>
                        <a:pt x="1257" y="177"/>
                      </a:lnTo>
                      <a:lnTo>
                        <a:pt x="1306" y="221"/>
                      </a:lnTo>
                      <a:lnTo>
                        <a:pt x="1350" y="268"/>
                      </a:lnTo>
                      <a:lnTo>
                        <a:pt x="1390" y="319"/>
                      </a:lnTo>
                      <a:lnTo>
                        <a:pt x="1424" y="371"/>
                      </a:lnTo>
                      <a:lnTo>
                        <a:pt x="1454" y="425"/>
                      </a:lnTo>
                      <a:lnTo>
                        <a:pt x="1478" y="481"/>
                      </a:lnTo>
                      <a:lnTo>
                        <a:pt x="1498" y="539"/>
                      </a:lnTo>
                      <a:lnTo>
                        <a:pt x="1513" y="598"/>
                      </a:lnTo>
                      <a:lnTo>
                        <a:pt x="1523" y="658"/>
                      </a:lnTo>
                      <a:lnTo>
                        <a:pt x="1528" y="718"/>
                      </a:lnTo>
                      <a:lnTo>
                        <a:pt x="1530" y="778"/>
                      </a:lnTo>
                      <a:lnTo>
                        <a:pt x="1525" y="838"/>
                      </a:lnTo>
                      <a:lnTo>
                        <a:pt x="1516" y="898"/>
                      </a:lnTo>
                      <a:lnTo>
                        <a:pt x="1502" y="956"/>
                      </a:lnTo>
                      <a:lnTo>
                        <a:pt x="1483" y="1014"/>
                      </a:lnTo>
                      <a:lnTo>
                        <a:pt x="1460" y="1071"/>
                      </a:lnTo>
                      <a:lnTo>
                        <a:pt x="1760" y="1368"/>
                      </a:lnTo>
                      <a:lnTo>
                        <a:pt x="1784" y="1394"/>
                      </a:lnTo>
                      <a:lnTo>
                        <a:pt x="1803" y="1423"/>
                      </a:lnTo>
                      <a:lnTo>
                        <a:pt x="1818" y="1454"/>
                      </a:lnTo>
                      <a:lnTo>
                        <a:pt x="1830" y="1486"/>
                      </a:lnTo>
                      <a:lnTo>
                        <a:pt x="1837" y="1520"/>
                      </a:lnTo>
                      <a:lnTo>
                        <a:pt x="1839" y="1555"/>
                      </a:lnTo>
                      <a:lnTo>
                        <a:pt x="1837" y="1590"/>
                      </a:lnTo>
                      <a:lnTo>
                        <a:pt x="1830" y="1624"/>
                      </a:lnTo>
                      <a:lnTo>
                        <a:pt x="1818" y="1656"/>
                      </a:lnTo>
                      <a:lnTo>
                        <a:pt x="1803" y="1687"/>
                      </a:lnTo>
                      <a:lnTo>
                        <a:pt x="1784" y="1716"/>
                      </a:lnTo>
                      <a:lnTo>
                        <a:pt x="1760" y="1743"/>
                      </a:lnTo>
                      <a:lnTo>
                        <a:pt x="1730" y="1768"/>
                      </a:lnTo>
                      <a:lnTo>
                        <a:pt x="1698" y="1788"/>
                      </a:lnTo>
                      <a:lnTo>
                        <a:pt x="1663" y="1804"/>
                      </a:lnTo>
                      <a:lnTo>
                        <a:pt x="1626" y="1815"/>
                      </a:lnTo>
                      <a:lnTo>
                        <a:pt x="1590" y="1819"/>
                      </a:lnTo>
                      <a:lnTo>
                        <a:pt x="1553" y="1819"/>
                      </a:lnTo>
                      <a:lnTo>
                        <a:pt x="1515" y="1815"/>
                      </a:lnTo>
                      <a:lnTo>
                        <a:pt x="1479" y="1804"/>
                      </a:lnTo>
                      <a:lnTo>
                        <a:pt x="1445" y="1788"/>
                      </a:lnTo>
                      <a:lnTo>
                        <a:pt x="1412" y="1768"/>
                      </a:lnTo>
                      <a:lnTo>
                        <a:pt x="1382" y="1743"/>
                      </a:lnTo>
                      <a:lnTo>
                        <a:pt x="1082" y="1446"/>
                      </a:lnTo>
                      <a:lnTo>
                        <a:pt x="1025" y="1469"/>
                      </a:lnTo>
                      <a:lnTo>
                        <a:pt x="967" y="1487"/>
                      </a:lnTo>
                      <a:lnTo>
                        <a:pt x="907" y="1501"/>
                      </a:lnTo>
                      <a:lnTo>
                        <a:pt x="847" y="1509"/>
                      </a:lnTo>
                      <a:lnTo>
                        <a:pt x="786" y="1514"/>
                      </a:lnTo>
                      <a:lnTo>
                        <a:pt x="725" y="1513"/>
                      </a:lnTo>
                      <a:lnTo>
                        <a:pt x="665" y="1508"/>
                      </a:lnTo>
                      <a:lnTo>
                        <a:pt x="604" y="1497"/>
                      </a:lnTo>
                      <a:lnTo>
                        <a:pt x="545" y="1482"/>
                      </a:lnTo>
                      <a:lnTo>
                        <a:pt x="486" y="1462"/>
                      </a:lnTo>
                      <a:lnTo>
                        <a:pt x="430" y="1438"/>
                      </a:lnTo>
                      <a:lnTo>
                        <a:pt x="375" y="1409"/>
                      </a:lnTo>
                      <a:lnTo>
                        <a:pt x="322" y="1375"/>
                      </a:lnTo>
                      <a:lnTo>
                        <a:pt x="271" y="1336"/>
                      </a:lnTo>
                      <a:lnTo>
                        <a:pt x="224" y="1293"/>
                      </a:lnTo>
                      <a:lnTo>
                        <a:pt x="179" y="1244"/>
                      </a:lnTo>
                      <a:lnTo>
                        <a:pt x="139" y="1194"/>
                      </a:lnTo>
                      <a:lnTo>
                        <a:pt x="105" y="1141"/>
                      </a:lnTo>
                      <a:lnTo>
                        <a:pt x="75" y="1085"/>
                      </a:lnTo>
                      <a:lnTo>
                        <a:pt x="50" y="1027"/>
                      </a:lnTo>
                      <a:lnTo>
                        <a:pt x="30" y="970"/>
                      </a:lnTo>
                      <a:lnTo>
                        <a:pt x="15" y="910"/>
                      </a:lnTo>
                      <a:lnTo>
                        <a:pt x="5" y="849"/>
                      </a:lnTo>
                      <a:lnTo>
                        <a:pt x="0" y="787"/>
                      </a:lnTo>
                      <a:lnTo>
                        <a:pt x="0" y="726"/>
                      </a:lnTo>
                      <a:lnTo>
                        <a:pt x="5" y="665"/>
                      </a:lnTo>
                      <a:lnTo>
                        <a:pt x="15" y="604"/>
                      </a:lnTo>
                      <a:lnTo>
                        <a:pt x="30" y="545"/>
                      </a:lnTo>
                      <a:lnTo>
                        <a:pt x="50" y="487"/>
                      </a:lnTo>
                      <a:lnTo>
                        <a:pt x="74" y="429"/>
                      </a:lnTo>
                      <a:lnTo>
                        <a:pt x="104" y="374"/>
                      </a:lnTo>
                      <a:lnTo>
                        <a:pt x="139" y="321"/>
                      </a:lnTo>
                      <a:lnTo>
                        <a:pt x="179" y="270"/>
                      </a:lnTo>
                      <a:lnTo>
                        <a:pt x="223" y="222"/>
                      </a:lnTo>
                      <a:lnTo>
                        <a:pt x="271" y="177"/>
                      </a:lnTo>
                      <a:lnTo>
                        <a:pt x="323" y="138"/>
                      </a:lnTo>
                      <a:lnTo>
                        <a:pt x="377" y="104"/>
                      </a:lnTo>
                      <a:lnTo>
                        <a:pt x="433" y="74"/>
                      </a:lnTo>
                      <a:lnTo>
                        <a:pt x="491" y="49"/>
                      </a:lnTo>
                      <a:lnTo>
                        <a:pt x="550" y="30"/>
                      </a:lnTo>
                      <a:lnTo>
                        <a:pt x="611" y="16"/>
                      </a:lnTo>
                      <a:lnTo>
                        <a:pt x="672" y="6"/>
                      </a:lnTo>
                      <a:lnTo>
                        <a:pt x="734" y="0"/>
                      </a:lnTo>
                      <a:lnTo>
                        <a:pt x="796"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35" name="Freeform 591">
                  <a:extLst>
                    <a:ext uri="{FF2B5EF4-FFF2-40B4-BE49-F238E27FC236}">
                      <a16:creationId xmlns:a16="http://schemas.microsoft.com/office/drawing/2014/main" id="{D121B78C-F63C-4CB7-B7CE-3E2E9044655F}"/>
                    </a:ext>
                  </a:extLst>
                </p:cNvPr>
                <p:cNvSpPr>
                  <a:spLocks/>
                </p:cNvSpPr>
                <p:nvPr/>
              </p:nvSpPr>
              <p:spPr bwMode="auto">
                <a:xfrm>
                  <a:off x="5172715" y="3185008"/>
                  <a:ext cx="252259" cy="319598"/>
                </a:xfrm>
                <a:custGeom>
                  <a:avLst/>
                  <a:gdLst>
                    <a:gd name="T0" fmla="*/ 503 w 1655"/>
                    <a:gd name="T1" fmla="*/ 30 h 2089"/>
                    <a:gd name="T2" fmla="*/ 679 w 1655"/>
                    <a:gd name="T3" fmla="*/ 255 h 2089"/>
                    <a:gd name="T4" fmla="*/ 922 w 1655"/>
                    <a:gd name="T5" fmla="*/ 543 h 2089"/>
                    <a:gd name="T6" fmla="*/ 1053 w 1655"/>
                    <a:gd name="T7" fmla="*/ 442 h 2089"/>
                    <a:gd name="T8" fmla="*/ 1370 w 1655"/>
                    <a:gd name="T9" fmla="*/ 402 h 2089"/>
                    <a:gd name="T10" fmla="*/ 1470 w 1655"/>
                    <a:gd name="T11" fmla="*/ 566 h 2089"/>
                    <a:gd name="T12" fmla="*/ 1548 w 1655"/>
                    <a:gd name="T13" fmla="*/ 743 h 2089"/>
                    <a:gd name="T14" fmla="*/ 1606 w 1655"/>
                    <a:gd name="T15" fmla="*/ 929 h 2089"/>
                    <a:gd name="T16" fmla="*/ 1643 w 1655"/>
                    <a:gd name="T17" fmla="*/ 1125 h 2089"/>
                    <a:gd name="T18" fmla="*/ 1655 w 1655"/>
                    <a:gd name="T19" fmla="*/ 1326 h 2089"/>
                    <a:gd name="T20" fmla="*/ 1643 w 1655"/>
                    <a:gd name="T21" fmla="*/ 1530 h 2089"/>
                    <a:gd name="T22" fmla="*/ 1605 w 1655"/>
                    <a:gd name="T23" fmla="*/ 1725 h 2089"/>
                    <a:gd name="T24" fmla="*/ 1546 w 1655"/>
                    <a:gd name="T25" fmla="*/ 1913 h 2089"/>
                    <a:gd name="T26" fmla="*/ 1466 w 1655"/>
                    <a:gd name="T27" fmla="*/ 2089 h 2089"/>
                    <a:gd name="T28" fmla="*/ 1480 w 1655"/>
                    <a:gd name="T29" fmla="*/ 1951 h 2089"/>
                    <a:gd name="T30" fmla="*/ 1471 w 1655"/>
                    <a:gd name="T31" fmla="*/ 1814 h 2089"/>
                    <a:gd name="T32" fmla="*/ 1440 w 1655"/>
                    <a:gd name="T33" fmla="*/ 1680 h 2089"/>
                    <a:gd name="T34" fmla="*/ 1389 w 1655"/>
                    <a:gd name="T35" fmla="*/ 1552 h 2089"/>
                    <a:gd name="T36" fmla="*/ 1318 w 1655"/>
                    <a:gd name="T37" fmla="*/ 1433 h 2089"/>
                    <a:gd name="T38" fmla="*/ 1225 w 1655"/>
                    <a:gd name="T39" fmla="*/ 1325 h 2089"/>
                    <a:gd name="T40" fmla="*/ 1120 w 1655"/>
                    <a:gd name="T41" fmla="*/ 1237 h 2089"/>
                    <a:gd name="T42" fmla="*/ 1004 w 1655"/>
                    <a:gd name="T43" fmla="*/ 1166 h 2089"/>
                    <a:gd name="T44" fmla="*/ 878 w 1655"/>
                    <a:gd name="T45" fmla="*/ 1115 h 2089"/>
                    <a:gd name="T46" fmla="*/ 746 w 1655"/>
                    <a:gd name="T47" fmla="*/ 1083 h 2089"/>
                    <a:gd name="T48" fmla="*/ 607 w 1655"/>
                    <a:gd name="T49" fmla="*/ 1072 h 2089"/>
                    <a:gd name="T50" fmla="*/ 456 w 1655"/>
                    <a:gd name="T51" fmla="*/ 1085 h 2089"/>
                    <a:gd name="T52" fmla="*/ 311 w 1655"/>
                    <a:gd name="T53" fmla="*/ 1123 h 2089"/>
                    <a:gd name="T54" fmla="*/ 175 w 1655"/>
                    <a:gd name="T55" fmla="*/ 1186 h 2089"/>
                    <a:gd name="T56" fmla="*/ 648 w 1655"/>
                    <a:gd name="T57" fmla="*/ 815 h 2089"/>
                    <a:gd name="T58" fmla="*/ 824 w 1655"/>
                    <a:gd name="T59" fmla="*/ 757 h 2089"/>
                    <a:gd name="T60" fmla="*/ 549 w 1655"/>
                    <a:gd name="T61" fmla="*/ 408 h 2089"/>
                    <a:gd name="T62" fmla="*/ 370 w 1655"/>
                    <a:gd name="T63" fmla="*/ 368 h 2089"/>
                    <a:gd name="T64" fmla="*/ 192 w 1655"/>
                    <a:gd name="T65" fmla="*/ 521 h 2089"/>
                    <a:gd name="T66" fmla="*/ 0 w 1655"/>
                    <a:gd name="T67" fmla="*/ 377 h 2089"/>
                    <a:gd name="T68" fmla="*/ 182 w 1655"/>
                    <a:gd name="T69" fmla="*/ 152 h 2089"/>
                    <a:gd name="T70" fmla="*/ 315 w 1655"/>
                    <a:gd name="T71" fmla="*/ 290 h 2089"/>
                    <a:gd name="T72" fmla="*/ 488 w 1655"/>
                    <a:gd name="T73" fmla="*/ 353 h 2089"/>
                    <a:gd name="T74" fmla="*/ 497 w 1655"/>
                    <a:gd name="T75" fmla="*/ 221 h 2089"/>
                    <a:gd name="T76" fmla="*/ 346 w 1655"/>
                    <a:gd name="T77" fmla="*/ 0 h 20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655" h="2089">
                      <a:moveTo>
                        <a:pt x="346" y="0"/>
                      </a:moveTo>
                      <a:lnTo>
                        <a:pt x="503" y="30"/>
                      </a:lnTo>
                      <a:lnTo>
                        <a:pt x="638" y="150"/>
                      </a:lnTo>
                      <a:lnTo>
                        <a:pt x="679" y="255"/>
                      </a:lnTo>
                      <a:lnTo>
                        <a:pt x="709" y="354"/>
                      </a:lnTo>
                      <a:lnTo>
                        <a:pt x="922" y="543"/>
                      </a:lnTo>
                      <a:lnTo>
                        <a:pt x="977" y="561"/>
                      </a:lnTo>
                      <a:lnTo>
                        <a:pt x="1053" y="442"/>
                      </a:lnTo>
                      <a:lnTo>
                        <a:pt x="1321" y="418"/>
                      </a:lnTo>
                      <a:lnTo>
                        <a:pt x="1370" y="402"/>
                      </a:lnTo>
                      <a:lnTo>
                        <a:pt x="1422" y="482"/>
                      </a:lnTo>
                      <a:lnTo>
                        <a:pt x="1470" y="566"/>
                      </a:lnTo>
                      <a:lnTo>
                        <a:pt x="1511" y="654"/>
                      </a:lnTo>
                      <a:lnTo>
                        <a:pt x="1548" y="743"/>
                      </a:lnTo>
                      <a:lnTo>
                        <a:pt x="1580" y="835"/>
                      </a:lnTo>
                      <a:lnTo>
                        <a:pt x="1606" y="929"/>
                      </a:lnTo>
                      <a:lnTo>
                        <a:pt x="1627" y="1025"/>
                      </a:lnTo>
                      <a:lnTo>
                        <a:pt x="1643" y="1125"/>
                      </a:lnTo>
                      <a:lnTo>
                        <a:pt x="1651" y="1225"/>
                      </a:lnTo>
                      <a:lnTo>
                        <a:pt x="1655" y="1326"/>
                      </a:lnTo>
                      <a:lnTo>
                        <a:pt x="1651" y="1429"/>
                      </a:lnTo>
                      <a:lnTo>
                        <a:pt x="1643" y="1530"/>
                      </a:lnTo>
                      <a:lnTo>
                        <a:pt x="1627" y="1628"/>
                      </a:lnTo>
                      <a:lnTo>
                        <a:pt x="1605" y="1725"/>
                      </a:lnTo>
                      <a:lnTo>
                        <a:pt x="1579" y="1820"/>
                      </a:lnTo>
                      <a:lnTo>
                        <a:pt x="1546" y="1913"/>
                      </a:lnTo>
                      <a:lnTo>
                        <a:pt x="1508" y="2002"/>
                      </a:lnTo>
                      <a:lnTo>
                        <a:pt x="1466" y="2089"/>
                      </a:lnTo>
                      <a:lnTo>
                        <a:pt x="1475" y="2021"/>
                      </a:lnTo>
                      <a:lnTo>
                        <a:pt x="1480" y="1951"/>
                      </a:lnTo>
                      <a:lnTo>
                        <a:pt x="1477" y="1882"/>
                      </a:lnTo>
                      <a:lnTo>
                        <a:pt x="1471" y="1814"/>
                      </a:lnTo>
                      <a:lnTo>
                        <a:pt x="1457" y="1746"/>
                      </a:lnTo>
                      <a:lnTo>
                        <a:pt x="1440" y="1680"/>
                      </a:lnTo>
                      <a:lnTo>
                        <a:pt x="1418" y="1615"/>
                      </a:lnTo>
                      <a:lnTo>
                        <a:pt x="1389" y="1552"/>
                      </a:lnTo>
                      <a:lnTo>
                        <a:pt x="1356" y="1491"/>
                      </a:lnTo>
                      <a:lnTo>
                        <a:pt x="1318" y="1433"/>
                      </a:lnTo>
                      <a:lnTo>
                        <a:pt x="1274" y="1378"/>
                      </a:lnTo>
                      <a:lnTo>
                        <a:pt x="1225" y="1325"/>
                      </a:lnTo>
                      <a:lnTo>
                        <a:pt x="1174" y="1279"/>
                      </a:lnTo>
                      <a:lnTo>
                        <a:pt x="1120" y="1237"/>
                      </a:lnTo>
                      <a:lnTo>
                        <a:pt x="1063" y="1199"/>
                      </a:lnTo>
                      <a:lnTo>
                        <a:pt x="1004" y="1166"/>
                      </a:lnTo>
                      <a:lnTo>
                        <a:pt x="942" y="1138"/>
                      </a:lnTo>
                      <a:lnTo>
                        <a:pt x="878" y="1115"/>
                      </a:lnTo>
                      <a:lnTo>
                        <a:pt x="813" y="1096"/>
                      </a:lnTo>
                      <a:lnTo>
                        <a:pt x="746" y="1083"/>
                      </a:lnTo>
                      <a:lnTo>
                        <a:pt x="676" y="1076"/>
                      </a:lnTo>
                      <a:lnTo>
                        <a:pt x="607" y="1072"/>
                      </a:lnTo>
                      <a:lnTo>
                        <a:pt x="531" y="1076"/>
                      </a:lnTo>
                      <a:lnTo>
                        <a:pt x="456" y="1085"/>
                      </a:lnTo>
                      <a:lnTo>
                        <a:pt x="382" y="1102"/>
                      </a:lnTo>
                      <a:lnTo>
                        <a:pt x="311" y="1123"/>
                      </a:lnTo>
                      <a:lnTo>
                        <a:pt x="241" y="1152"/>
                      </a:lnTo>
                      <a:lnTo>
                        <a:pt x="175" y="1186"/>
                      </a:lnTo>
                      <a:lnTo>
                        <a:pt x="370" y="954"/>
                      </a:lnTo>
                      <a:lnTo>
                        <a:pt x="648" y="815"/>
                      </a:lnTo>
                      <a:lnTo>
                        <a:pt x="810" y="836"/>
                      </a:lnTo>
                      <a:lnTo>
                        <a:pt x="824" y="757"/>
                      </a:lnTo>
                      <a:lnTo>
                        <a:pt x="625" y="558"/>
                      </a:lnTo>
                      <a:lnTo>
                        <a:pt x="549" y="408"/>
                      </a:lnTo>
                      <a:lnTo>
                        <a:pt x="438" y="408"/>
                      </a:lnTo>
                      <a:lnTo>
                        <a:pt x="370" y="368"/>
                      </a:lnTo>
                      <a:lnTo>
                        <a:pt x="223" y="346"/>
                      </a:lnTo>
                      <a:lnTo>
                        <a:pt x="192" y="521"/>
                      </a:lnTo>
                      <a:lnTo>
                        <a:pt x="13" y="486"/>
                      </a:lnTo>
                      <a:lnTo>
                        <a:pt x="0" y="377"/>
                      </a:lnTo>
                      <a:lnTo>
                        <a:pt x="137" y="346"/>
                      </a:lnTo>
                      <a:lnTo>
                        <a:pt x="182" y="152"/>
                      </a:lnTo>
                      <a:lnTo>
                        <a:pt x="318" y="208"/>
                      </a:lnTo>
                      <a:lnTo>
                        <a:pt x="315" y="290"/>
                      </a:lnTo>
                      <a:lnTo>
                        <a:pt x="419" y="333"/>
                      </a:lnTo>
                      <a:lnTo>
                        <a:pt x="488" y="353"/>
                      </a:lnTo>
                      <a:lnTo>
                        <a:pt x="573" y="309"/>
                      </a:lnTo>
                      <a:lnTo>
                        <a:pt x="497" y="221"/>
                      </a:lnTo>
                      <a:lnTo>
                        <a:pt x="343" y="71"/>
                      </a:lnTo>
                      <a:lnTo>
                        <a:pt x="346"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36" name="Freeform 592">
                  <a:extLst>
                    <a:ext uri="{FF2B5EF4-FFF2-40B4-BE49-F238E27FC236}">
                      <a16:creationId xmlns:a16="http://schemas.microsoft.com/office/drawing/2014/main" id="{992C7B86-60EC-42E5-94E4-A36F18AE4D93}"/>
                    </a:ext>
                  </a:extLst>
                </p:cNvPr>
                <p:cNvSpPr>
                  <a:spLocks/>
                </p:cNvSpPr>
                <p:nvPr/>
              </p:nvSpPr>
              <p:spPr bwMode="auto">
                <a:xfrm>
                  <a:off x="5142785" y="3374201"/>
                  <a:ext cx="35274" cy="29929"/>
                </a:xfrm>
                <a:custGeom>
                  <a:avLst/>
                  <a:gdLst>
                    <a:gd name="T0" fmla="*/ 130 w 229"/>
                    <a:gd name="T1" fmla="*/ 0 h 197"/>
                    <a:gd name="T2" fmla="*/ 229 w 229"/>
                    <a:gd name="T3" fmla="*/ 45 h 197"/>
                    <a:gd name="T4" fmla="*/ 205 w 229"/>
                    <a:gd name="T5" fmla="*/ 66 h 197"/>
                    <a:gd name="T6" fmla="*/ 182 w 229"/>
                    <a:gd name="T7" fmla="*/ 89 h 197"/>
                    <a:gd name="T8" fmla="*/ 162 w 229"/>
                    <a:gd name="T9" fmla="*/ 109 h 197"/>
                    <a:gd name="T10" fmla="*/ 143 w 229"/>
                    <a:gd name="T11" fmla="*/ 131 h 197"/>
                    <a:gd name="T12" fmla="*/ 89 w 229"/>
                    <a:gd name="T13" fmla="*/ 132 h 197"/>
                    <a:gd name="T14" fmla="*/ 32 w 229"/>
                    <a:gd name="T15" fmla="*/ 197 h 197"/>
                    <a:gd name="T16" fmla="*/ 0 w 229"/>
                    <a:gd name="T17" fmla="*/ 61 h 197"/>
                    <a:gd name="T18" fmla="*/ 130 w 229"/>
                    <a:gd name="T19" fmla="*/ 0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9" h="197">
                      <a:moveTo>
                        <a:pt x="130" y="0"/>
                      </a:moveTo>
                      <a:lnTo>
                        <a:pt x="229" y="45"/>
                      </a:lnTo>
                      <a:lnTo>
                        <a:pt x="205" y="66"/>
                      </a:lnTo>
                      <a:lnTo>
                        <a:pt x="182" y="89"/>
                      </a:lnTo>
                      <a:lnTo>
                        <a:pt x="162" y="109"/>
                      </a:lnTo>
                      <a:lnTo>
                        <a:pt x="143" y="131"/>
                      </a:lnTo>
                      <a:lnTo>
                        <a:pt x="89" y="132"/>
                      </a:lnTo>
                      <a:lnTo>
                        <a:pt x="32" y="197"/>
                      </a:lnTo>
                      <a:lnTo>
                        <a:pt x="0" y="61"/>
                      </a:lnTo>
                      <a:lnTo>
                        <a:pt x="130"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37" name="Freeform 593">
                  <a:extLst>
                    <a:ext uri="{FF2B5EF4-FFF2-40B4-BE49-F238E27FC236}">
                      <a16:creationId xmlns:a16="http://schemas.microsoft.com/office/drawing/2014/main" id="{A455948D-0194-49D2-920F-4BDF7E30C118}"/>
                    </a:ext>
                  </a:extLst>
                </p:cNvPr>
                <p:cNvSpPr>
                  <a:spLocks/>
                </p:cNvSpPr>
                <p:nvPr/>
              </p:nvSpPr>
              <p:spPr bwMode="auto">
                <a:xfrm>
                  <a:off x="5229366" y="3610426"/>
                  <a:ext cx="61996" cy="23516"/>
                </a:xfrm>
                <a:custGeom>
                  <a:avLst/>
                  <a:gdLst>
                    <a:gd name="T0" fmla="*/ 404 w 404"/>
                    <a:gd name="T1" fmla="*/ 0 h 154"/>
                    <a:gd name="T2" fmla="*/ 327 w 404"/>
                    <a:gd name="T3" fmla="*/ 38 h 154"/>
                    <a:gd name="T4" fmla="*/ 249 w 404"/>
                    <a:gd name="T5" fmla="*/ 73 h 154"/>
                    <a:gd name="T6" fmla="*/ 168 w 404"/>
                    <a:gd name="T7" fmla="*/ 105 h 154"/>
                    <a:gd name="T8" fmla="*/ 85 w 404"/>
                    <a:gd name="T9" fmla="*/ 131 h 154"/>
                    <a:gd name="T10" fmla="*/ 0 w 404"/>
                    <a:gd name="T11" fmla="*/ 154 h 154"/>
                    <a:gd name="T12" fmla="*/ 31 w 404"/>
                    <a:gd name="T13" fmla="*/ 44 h 154"/>
                    <a:gd name="T14" fmla="*/ 92 w 404"/>
                    <a:gd name="T15" fmla="*/ 5 h 154"/>
                    <a:gd name="T16" fmla="*/ 163 w 404"/>
                    <a:gd name="T17" fmla="*/ 13 h 154"/>
                    <a:gd name="T18" fmla="*/ 236 w 404"/>
                    <a:gd name="T19" fmla="*/ 17 h 154"/>
                    <a:gd name="T20" fmla="*/ 292 w 404"/>
                    <a:gd name="T21" fmla="*/ 14 h 154"/>
                    <a:gd name="T22" fmla="*/ 348 w 404"/>
                    <a:gd name="T23" fmla="*/ 9 h 154"/>
                    <a:gd name="T24" fmla="*/ 404 w 404"/>
                    <a:gd name="T25"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4" h="154">
                      <a:moveTo>
                        <a:pt x="404" y="0"/>
                      </a:moveTo>
                      <a:lnTo>
                        <a:pt x="327" y="38"/>
                      </a:lnTo>
                      <a:lnTo>
                        <a:pt x="249" y="73"/>
                      </a:lnTo>
                      <a:lnTo>
                        <a:pt x="168" y="105"/>
                      </a:lnTo>
                      <a:lnTo>
                        <a:pt x="85" y="131"/>
                      </a:lnTo>
                      <a:lnTo>
                        <a:pt x="0" y="154"/>
                      </a:lnTo>
                      <a:lnTo>
                        <a:pt x="31" y="44"/>
                      </a:lnTo>
                      <a:lnTo>
                        <a:pt x="92" y="5"/>
                      </a:lnTo>
                      <a:lnTo>
                        <a:pt x="163" y="13"/>
                      </a:lnTo>
                      <a:lnTo>
                        <a:pt x="236" y="17"/>
                      </a:lnTo>
                      <a:lnTo>
                        <a:pt x="292" y="14"/>
                      </a:lnTo>
                      <a:lnTo>
                        <a:pt x="348" y="9"/>
                      </a:lnTo>
                      <a:lnTo>
                        <a:pt x="404"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38" name="Freeform 594">
                  <a:extLst>
                    <a:ext uri="{FF2B5EF4-FFF2-40B4-BE49-F238E27FC236}">
                      <a16:creationId xmlns:a16="http://schemas.microsoft.com/office/drawing/2014/main" id="{527E9971-F9D3-4F4F-8AE1-062938AC8437}"/>
                    </a:ext>
                  </a:extLst>
                </p:cNvPr>
                <p:cNvSpPr>
                  <a:spLocks/>
                </p:cNvSpPr>
                <p:nvPr/>
              </p:nvSpPr>
              <p:spPr bwMode="auto">
                <a:xfrm>
                  <a:off x="4912973" y="3255554"/>
                  <a:ext cx="288601" cy="385869"/>
                </a:xfrm>
                <a:custGeom>
                  <a:avLst/>
                  <a:gdLst>
                    <a:gd name="T0" fmla="*/ 230 w 1890"/>
                    <a:gd name="T1" fmla="*/ 95 h 2526"/>
                    <a:gd name="T2" fmla="*/ 513 w 1890"/>
                    <a:gd name="T3" fmla="*/ 157 h 2526"/>
                    <a:gd name="T4" fmla="*/ 969 w 1890"/>
                    <a:gd name="T5" fmla="*/ 390 h 2526"/>
                    <a:gd name="T6" fmla="*/ 1211 w 1890"/>
                    <a:gd name="T7" fmla="*/ 979 h 2526"/>
                    <a:gd name="T8" fmla="*/ 1251 w 1890"/>
                    <a:gd name="T9" fmla="*/ 864 h 2526"/>
                    <a:gd name="T10" fmla="*/ 1524 w 1890"/>
                    <a:gd name="T11" fmla="*/ 1097 h 2526"/>
                    <a:gd name="T12" fmla="*/ 1475 w 1890"/>
                    <a:gd name="T13" fmla="*/ 1216 h 2526"/>
                    <a:gd name="T14" fmla="*/ 1444 w 1890"/>
                    <a:gd name="T15" fmla="*/ 1344 h 2526"/>
                    <a:gd name="T16" fmla="*/ 1434 w 1890"/>
                    <a:gd name="T17" fmla="*/ 1476 h 2526"/>
                    <a:gd name="T18" fmla="*/ 1445 w 1890"/>
                    <a:gd name="T19" fmla="*/ 1613 h 2526"/>
                    <a:gd name="T20" fmla="*/ 1477 w 1890"/>
                    <a:gd name="T21" fmla="*/ 1745 h 2526"/>
                    <a:gd name="T22" fmla="*/ 1529 w 1890"/>
                    <a:gd name="T23" fmla="*/ 1870 h 2526"/>
                    <a:gd name="T24" fmla="*/ 1601 w 1890"/>
                    <a:gd name="T25" fmla="*/ 1984 h 2526"/>
                    <a:gd name="T26" fmla="*/ 1691 w 1890"/>
                    <a:gd name="T27" fmla="*/ 2089 h 2526"/>
                    <a:gd name="T28" fmla="*/ 1786 w 1890"/>
                    <a:gd name="T29" fmla="*/ 2170 h 2526"/>
                    <a:gd name="T30" fmla="*/ 1890 w 1890"/>
                    <a:gd name="T31" fmla="*/ 2236 h 2526"/>
                    <a:gd name="T32" fmla="*/ 1880 w 1890"/>
                    <a:gd name="T33" fmla="*/ 2274 h 2526"/>
                    <a:gd name="T34" fmla="*/ 1874 w 1890"/>
                    <a:gd name="T35" fmla="*/ 2300 h 2526"/>
                    <a:gd name="T36" fmla="*/ 1872 w 1890"/>
                    <a:gd name="T37" fmla="*/ 2310 h 2526"/>
                    <a:gd name="T38" fmla="*/ 1820 w 1890"/>
                    <a:gd name="T39" fmla="*/ 2519 h 2526"/>
                    <a:gd name="T40" fmla="*/ 1679 w 1890"/>
                    <a:gd name="T41" fmla="*/ 2526 h 2526"/>
                    <a:gd name="T42" fmla="*/ 1468 w 1890"/>
                    <a:gd name="T43" fmla="*/ 2513 h 2526"/>
                    <a:gd name="T44" fmla="*/ 1266 w 1890"/>
                    <a:gd name="T45" fmla="*/ 2475 h 2526"/>
                    <a:gd name="T46" fmla="*/ 1072 w 1890"/>
                    <a:gd name="T47" fmla="*/ 2414 h 2526"/>
                    <a:gd name="T48" fmla="*/ 889 w 1890"/>
                    <a:gd name="T49" fmla="*/ 2331 h 2526"/>
                    <a:gd name="T50" fmla="*/ 719 w 1890"/>
                    <a:gd name="T51" fmla="*/ 2228 h 2526"/>
                    <a:gd name="T52" fmla="*/ 564 w 1890"/>
                    <a:gd name="T53" fmla="*/ 2106 h 2526"/>
                    <a:gd name="T54" fmla="*/ 424 w 1890"/>
                    <a:gd name="T55" fmla="*/ 1968 h 2526"/>
                    <a:gd name="T56" fmla="*/ 301 w 1890"/>
                    <a:gd name="T57" fmla="*/ 1814 h 2526"/>
                    <a:gd name="T58" fmla="*/ 197 w 1890"/>
                    <a:gd name="T59" fmla="*/ 1645 h 2526"/>
                    <a:gd name="T60" fmla="*/ 113 w 1890"/>
                    <a:gd name="T61" fmla="*/ 1465 h 2526"/>
                    <a:gd name="T62" fmla="*/ 52 w 1890"/>
                    <a:gd name="T63" fmla="*/ 1273 h 2526"/>
                    <a:gd name="T64" fmla="*/ 13 w 1890"/>
                    <a:gd name="T65" fmla="*/ 1073 h 2526"/>
                    <a:gd name="T66" fmla="*/ 0 w 1890"/>
                    <a:gd name="T67" fmla="*/ 864 h 2526"/>
                    <a:gd name="T68" fmla="*/ 12 w 1890"/>
                    <a:gd name="T69" fmla="*/ 664 h 2526"/>
                    <a:gd name="T70" fmla="*/ 48 w 1890"/>
                    <a:gd name="T71" fmla="*/ 471 h 2526"/>
                    <a:gd name="T72" fmla="*/ 106 w 1890"/>
                    <a:gd name="T73" fmla="*/ 285 h 2526"/>
                    <a:gd name="T74" fmla="*/ 184 w 1890"/>
                    <a:gd name="T75" fmla="*/ 111 h 2526"/>
                    <a:gd name="T76" fmla="*/ 351 w 1890"/>
                    <a:gd name="T77" fmla="*/ 0 h 2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890" h="2526">
                      <a:moveTo>
                        <a:pt x="351" y="0"/>
                      </a:moveTo>
                      <a:lnTo>
                        <a:pt x="230" y="95"/>
                      </a:lnTo>
                      <a:lnTo>
                        <a:pt x="325" y="157"/>
                      </a:lnTo>
                      <a:lnTo>
                        <a:pt x="513" y="157"/>
                      </a:lnTo>
                      <a:lnTo>
                        <a:pt x="794" y="107"/>
                      </a:lnTo>
                      <a:lnTo>
                        <a:pt x="969" y="390"/>
                      </a:lnTo>
                      <a:lnTo>
                        <a:pt x="969" y="656"/>
                      </a:lnTo>
                      <a:lnTo>
                        <a:pt x="1211" y="979"/>
                      </a:lnTo>
                      <a:lnTo>
                        <a:pt x="1251" y="979"/>
                      </a:lnTo>
                      <a:lnTo>
                        <a:pt x="1251" y="864"/>
                      </a:lnTo>
                      <a:lnTo>
                        <a:pt x="1344" y="1056"/>
                      </a:lnTo>
                      <a:lnTo>
                        <a:pt x="1524" y="1097"/>
                      </a:lnTo>
                      <a:lnTo>
                        <a:pt x="1497" y="1155"/>
                      </a:lnTo>
                      <a:lnTo>
                        <a:pt x="1475" y="1216"/>
                      </a:lnTo>
                      <a:lnTo>
                        <a:pt x="1457" y="1280"/>
                      </a:lnTo>
                      <a:lnTo>
                        <a:pt x="1444" y="1344"/>
                      </a:lnTo>
                      <a:lnTo>
                        <a:pt x="1436" y="1409"/>
                      </a:lnTo>
                      <a:lnTo>
                        <a:pt x="1434" y="1476"/>
                      </a:lnTo>
                      <a:lnTo>
                        <a:pt x="1436" y="1546"/>
                      </a:lnTo>
                      <a:lnTo>
                        <a:pt x="1445" y="1613"/>
                      </a:lnTo>
                      <a:lnTo>
                        <a:pt x="1459" y="1680"/>
                      </a:lnTo>
                      <a:lnTo>
                        <a:pt x="1477" y="1745"/>
                      </a:lnTo>
                      <a:lnTo>
                        <a:pt x="1500" y="1807"/>
                      </a:lnTo>
                      <a:lnTo>
                        <a:pt x="1529" y="1870"/>
                      </a:lnTo>
                      <a:lnTo>
                        <a:pt x="1562" y="1928"/>
                      </a:lnTo>
                      <a:lnTo>
                        <a:pt x="1601" y="1984"/>
                      </a:lnTo>
                      <a:lnTo>
                        <a:pt x="1644" y="2037"/>
                      </a:lnTo>
                      <a:lnTo>
                        <a:pt x="1691" y="2089"/>
                      </a:lnTo>
                      <a:lnTo>
                        <a:pt x="1737" y="2131"/>
                      </a:lnTo>
                      <a:lnTo>
                        <a:pt x="1786" y="2170"/>
                      </a:lnTo>
                      <a:lnTo>
                        <a:pt x="1837" y="2205"/>
                      </a:lnTo>
                      <a:lnTo>
                        <a:pt x="1890" y="2236"/>
                      </a:lnTo>
                      <a:lnTo>
                        <a:pt x="1885" y="2257"/>
                      </a:lnTo>
                      <a:lnTo>
                        <a:pt x="1880" y="2274"/>
                      </a:lnTo>
                      <a:lnTo>
                        <a:pt x="1877" y="2289"/>
                      </a:lnTo>
                      <a:lnTo>
                        <a:pt x="1874" y="2300"/>
                      </a:lnTo>
                      <a:lnTo>
                        <a:pt x="1872" y="2308"/>
                      </a:lnTo>
                      <a:lnTo>
                        <a:pt x="1872" y="2310"/>
                      </a:lnTo>
                      <a:lnTo>
                        <a:pt x="1889" y="2512"/>
                      </a:lnTo>
                      <a:lnTo>
                        <a:pt x="1820" y="2519"/>
                      </a:lnTo>
                      <a:lnTo>
                        <a:pt x="1749" y="2524"/>
                      </a:lnTo>
                      <a:lnTo>
                        <a:pt x="1679" y="2526"/>
                      </a:lnTo>
                      <a:lnTo>
                        <a:pt x="1572" y="2523"/>
                      </a:lnTo>
                      <a:lnTo>
                        <a:pt x="1468" y="2513"/>
                      </a:lnTo>
                      <a:lnTo>
                        <a:pt x="1366" y="2496"/>
                      </a:lnTo>
                      <a:lnTo>
                        <a:pt x="1266" y="2475"/>
                      </a:lnTo>
                      <a:lnTo>
                        <a:pt x="1168" y="2447"/>
                      </a:lnTo>
                      <a:lnTo>
                        <a:pt x="1072" y="2414"/>
                      </a:lnTo>
                      <a:lnTo>
                        <a:pt x="979" y="2375"/>
                      </a:lnTo>
                      <a:lnTo>
                        <a:pt x="889" y="2331"/>
                      </a:lnTo>
                      <a:lnTo>
                        <a:pt x="803" y="2282"/>
                      </a:lnTo>
                      <a:lnTo>
                        <a:pt x="719" y="2228"/>
                      </a:lnTo>
                      <a:lnTo>
                        <a:pt x="640" y="2169"/>
                      </a:lnTo>
                      <a:lnTo>
                        <a:pt x="564" y="2106"/>
                      </a:lnTo>
                      <a:lnTo>
                        <a:pt x="491" y="2040"/>
                      </a:lnTo>
                      <a:lnTo>
                        <a:pt x="424" y="1968"/>
                      </a:lnTo>
                      <a:lnTo>
                        <a:pt x="360" y="1892"/>
                      </a:lnTo>
                      <a:lnTo>
                        <a:pt x="301" y="1814"/>
                      </a:lnTo>
                      <a:lnTo>
                        <a:pt x="247" y="1731"/>
                      </a:lnTo>
                      <a:lnTo>
                        <a:pt x="197" y="1645"/>
                      </a:lnTo>
                      <a:lnTo>
                        <a:pt x="152" y="1557"/>
                      </a:lnTo>
                      <a:lnTo>
                        <a:pt x="113" y="1465"/>
                      </a:lnTo>
                      <a:lnTo>
                        <a:pt x="79" y="1370"/>
                      </a:lnTo>
                      <a:lnTo>
                        <a:pt x="52" y="1273"/>
                      </a:lnTo>
                      <a:lnTo>
                        <a:pt x="30" y="1174"/>
                      </a:lnTo>
                      <a:lnTo>
                        <a:pt x="13" y="1073"/>
                      </a:lnTo>
                      <a:lnTo>
                        <a:pt x="3" y="970"/>
                      </a:lnTo>
                      <a:lnTo>
                        <a:pt x="0" y="864"/>
                      </a:lnTo>
                      <a:lnTo>
                        <a:pt x="3" y="763"/>
                      </a:lnTo>
                      <a:lnTo>
                        <a:pt x="12" y="664"/>
                      </a:lnTo>
                      <a:lnTo>
                        <a:pt x="27" y="567"/>
                      </a:lnTo>
                      <a:lnTo>
                        <a:pt x="48" y="471"/>
                      </a:lnTo>
                      <a:lnTo>
                        <a:pt x="75" y="377"/>
                      </a:lnTo>
                      <a:lnTo>
                        <a:pt x="106" y="285"/>
                      </a:lnTo>
                      <a:lnTo>
                        <a:pt x="143" y="197"/>
                      </a:lnTo>
                      <a:lnTo>
                        <a:pt x="184" y="111"/>
                      </a:lnTo>
                      <a:lnTo>
                        <a:pt x="230" y="27"/>
                      </a:lnTo>
                      <a:lnTo>
                        <a:pt x="351"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39" name="Freeform 595">
                  <a:extLst>
                    <a:ext uri="{FF2B5EF4-FFF2-40B4-BE49-F238E27FC236}">
                      <a16:creationId xmlns:a16="http://schemas.microsoft.com/office/drawing/2014/main" id="{8C1313E6-3E87-4666-BFDD-0FC3AA6C3F16}"/>
                    </a:ext>
                  </a:extLst>
                </p:cNvPr>
                <p:cNvSpPr>
                  <a:spLocks noEditPoints="1"/>
                </p:cNvSpPr>
                <p:nvPr/>
              </p:nvSpPr>
              <p:spPr bwMode="auto">
                <a:xfrm>
                  <a:off x="4971762" y="3133701"/>
                  <a:ext cx="306773" cy="92994"/>
                </a:xfrm>
                <a:custGeom>
                  <a:avLst/>
                  <a:gdLst>
                    <a:gd name="T0" fmla="*/ 857 w 2009"/>
                    <a:gd name="T1" fmla="*/ 178 h 604"/>
                    <a:gd name="T2" fmla="*/ 854 w 2009"/>
                    <a:gd name="T3" fmla="*/ 185 h 604"/>
                    <a:gd name="T4" fmla="*/ 848 w 2009"/>
                    <a:gd name="T5" fmla="*/ 194 h 604"/>
                    <a:gd name="T6" fmla="*/ 837 w 2009"/>
                    <a:gd name="T7" fmla="*/ 204 h 604"/>
                    <a:gd name="T8" fmla="*/ 823 w 2009"/>
                    <a:gd name="T9" fmla="*/ 214 h 604"/>
                    <a:gd name="T10" fmla="*/ 809 w 2009"/>
                    <a:gd name="T11" fmla="*/ 225 h 604"/>
                    <a:gd name="T12" fmla="*/ 795 w 2009"/>
                    <a:gd name="T13" fmla="*/ 235 h 604"/>
                    <a:gd name="T14" fmla="*/ 780 w 2009"/>
                    <a:gd name="T15" fmla="*/ 246 h 604"/>
                    <a:gd name="T16" fmla="*/ 767 w 2009"/>
                    <a:gd name="T17" fmla="*/ 254 h 604"/>
                    <a:gd name="T18" fmla="*/ 757 w 2009"/>
                    <a:gd name="T19" fmla="*/ 261 h 604"/>
                    <a:gd name="T20" fmla="*/ 750 w 2009"/>
                    <a:gd name="T21" fmla="*/ 266 h 604"/>
                    <a:gd name="T22" fmla="*/ 747 w 2009"/>
                    <a:gd name="T23" fmla="*/ 267 h 604"/>
                    <a:gd name="T24" fmla="*/ 857 w 2009"/>
                    <a:gd name="T25" fmla="*/ 331 h 604"/>
                    <a:gd name="T26" fmla="*/ 1087 w 2009"/>
                    <a:gd name="T27" fmla="*/ 271 h 604"/>
                    <a:gd name="T28" fmla="*/ 1033 w 2009"/>
                    <a:gd name="T29" fmla="*/ 178 h 604"/>
                    <a:gd name="T30" fmla="*/ 933 w 2009"/>
                    <a:gd name="T31" fmla="*/ 210 h 604"/>
                    <a:gd name="T32" fmla="*/ 857 w 2009"/>
                    <a:gd name="T33" fmla="*/ 178 h 604"/>
                    <a:gd name="T34" fmla="*/ 1537 w 2009"/>
                    <a:gd name="T35" fmla="*/ 72 h 604"/>
                    <a:gd name="T36" fmla="*/ 1365 w 2009"/>
                    <a:gd name="T37" fmla="*/ 165 h 604"/>
                    <a:gd name="T38" fmla="*/ 1267 w 2009"/>
                    <a:gd name="T39" fmla="*/ 226 h 604"/>
                    <a:gd name="T40" fmla="*/ 1336 w 2009"/>
                    <a:gd name="T41" fmla="*/ 270 h 604"/>
                    <a:gd name="T42" fmla="*/ 1488 w 2009"/>
                    <a:gd name="T43" fmla="*/ 255 h 604"/>
                    <a:gd name="T44" fmla="*/ 1647 w 2009"/>
                    <a:gd name="T45" fmla="*/ 135 h 604"/>
                    <a:gd name="T46" fmla="*/ 1537 w 2009"/>
                    <a:gd name="T47" fmla="*/ 72 h 604"/>
                    <a:gd name="T48" fmla="*/ 1295 w 2009"/>
                    <a:gd name="T49" fmla="*/ 0 h 604"/>
                    <a:gd name="T50" fmla="*/ 1295 w 2009"/>
                    <a:gd name="T51" fmla="*/ 0 h 604"/>
                    <a:gd name="T52" fmla="*/ 1390 w 2009"/>
                    <a:gd name="T53" fmla="*/ 3 h 604"/>
                    <a:gd name="T54" fmla="*/ 1483 w 2009"/>
                    <a:gd name="T55" fmla="*/ 11 h 604"/>
                    <a:gd name="T56" fmla="*/ 1576 w 2009"/>
                    <a:gd name="T57" fmla="*/ 24 h 604"/>
                    <a:gd name="T58" fmla="*/ 1666 w 2009"/>
                    <a:gd name="T59" fmla="*/ 42 h 604"/>
                    <a:gd name="T60" fmla="*/ 1755 w 2009"/>
                    <a:gd name="T61" fmla="*/ 65 h 604"/>
                    <a:gd name="T62" fmla="*/ 1842 w 2009"/>
                    <a:gd name="T63" fmla="*/ 92 h 604"/>
                    <a:gd name="T64" fmla="*/ 1926 w 2009"/>
                    <a:gd name="T65" fmla="*/ 124 h 604"/>
                    <a:gd name="T66" fmla="*/ 2009 w 2009"/>
                    <a:gd name="T67" fmla="*/ 160 h 604"/>
                    <a:gd name="T68" fmla="*/ 1948 w 2009"/>
                    <a:gd name="T69" fmla="*/ 169 h 604"/>
                    <a:gd name="T70" fmla="*/ 1784 w 2009"/>
                    <a:gd name="T71" fmla="*/ 145 h 604"/>
                    <a:gd name="T72" fmla="*/ 1668 w 2009"/>
                    <a:gd name="T73" fmla="*/ 221 h 604"/>
                    <a:gd name="T74" fmla="*/ 1586 w 2009"/>
                    <a:gd name="T75" fmla="*/ 311 h 604"/>
                    <a:gd name="T76" fmla="*/ 1285 w 2009"/>
                    <a:gd name="T77" fmla="*/ 339 h 604"/>
                    <a:gd name="T78" fmla="*/ 1162 w 2009"/>
                    <a:gd name="T79" fmla="*/ 319 h 604"/>
                    <a:gd name="T80" fmla="*/ 1077 w 2009"/>
                    <a:gd name="T81" fmla="*/ 450 h 604"/>
                    <a:gd name="T82" fmla="*/ 830 w 2009"/>
                    <a:gd name="T83" fmla="*/ 464 h 604"/>
                    <a:gd name="T84" fmla="*/ 676 w 2009"/>
                    <a:gd name="T85" fmla="*/ 421 h 604"/>
                    <a:gd name="T86" fmla="*/ 538 w 2009"/>
                    <a:gd name="T87" fmla="*/ 495 h 604"/>
                    <a:gd name="T88" fmla="*/ 239 w 2009"/>
                    <a:gd name="T89" fmla="*/ 536 h 604"/>
                    <a:gd name="T90" fmla="*/ 0 w 2009"/>
                    <a:gd name="T91" fmla="*/ 604 h 604"/>
                    <a:gd name="T92" fmla="*/ 0 w 2009"/>
                    <a:gd name="T93" fmla="*/ 604 h 604"/>
                    <a:gd name="T94" fmla="*/ 63 w 2009"/>
                    <a:gd name="T95" fmla="*/ 532 h 604"/>
                    <a:gd name="T96" fmla="*/ 131 w 2009"/>
                    <a:gd name="T97" fmla="*/ 464 h 604"/>
                    <a:gd name="T98" fmla="*/ 203 w 2009"/>
                    <a:gd name="T99" fmla="*/ 400 h 604"/>
                    <a:gd name="T100" fmla="*/ 278 w 2009"/>
                    <a:gd name="T101" fmla="*/ 339 h 604"/>
                    <a:gd name="T102" fmla="*/ 356 w 2009"/>
                    <a:gd name="T103" fmla="*/ 283 h 604"/>
                    <a:gd name="T104" fmla="*/ 439 w 2009"/>
                    <a:gd name="T105" fmla="*/ 232 h 604"/>
                    <a:gd name="T106" fmla="*/ 524 w 2009"/>
                    <a:gd name="T107" fmla="*/ 185 h 604"/>
                    <a:gd name="T108" fmla="*/ 612 w 2009"/>
                    <a:gd name="T109" fmla="*/ 144 h 604"/>
                    <a:gd name="T110" fmla="*/ 702 w 2009"/>
                    <a:gd name="T111" fmla="*/ 107 h 604"/>
                    <a:gd name="T112" fmla="*/ 796 w 2009"/>
                    <a:gd name="T113" fmla="*/ 75 h 604"/>
                    <a:gd name="T114" fmla="*/ 892 w 2009"/>
                    <a:gd name="T115" fmla="*/ 49 h 604"/>
                    <a:gd name="T116" fmla="*/ 990 w 2009"/>
                    <a:gd name="T117" fmla="*/ 27 h 604"/>
                    <a:gd name="T118" fmla="*/ 1089 w 2009"/>
                    <a:gd name="T119" fmla="*/ 13 h 604"/>
                    <a:gd name="T120" fmla="*/ 1191 w 2009"/>
                    <a:gd name="T121" fmla="*/ 3 h 604"/>
                    <a:gd name="T122" fmla="*/ 1295 w 2009"/>
                    <a:gd name="T123" fmla="*/ 0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009" h="604">
                      <a:moveTo>
                        <a:pt x="857" y="178"/>
                      </a:moveTo>
                      <a:lnTo>
                        <a:pt x="854" y="185"/>
                      </a:lnTo>
                      <a:lnTo>
                        <a:pt x="848" y="194"/>
                      </a:lnTo>
                      <a:lnTo>
                        <a:pt x="837" y="204"/>
                      </a:lnTo>
                      <a:lnTo>
                        <a:pt x="823" y="214"/>
                      </a:lnTo>
                      <a:lnTo>
                        <a:pt x="809" y="225"/>
                      </a:lnTo>
                      <a:lnTo>
                        <a:pt x="795" y="235"/>
                      </a:lnTo>
                      <a:lnTo>
                        <a:pt x="780" y="246"/>
                      </a:lnTo>
                      <a:lnTo>
                        <a:pt x="767" y="254"/>
                      </a:lnTo>
                      <a:lnTo>
                        <a:pt x="757" y="261"/>
                      </a:lnTo>
                      <a:lnTo>
                        <a:pt x="750" y="266"/>
                      </a:lnTo>
                      <a:lnTo>
                        <a:pt x="747" y="267"/>
                      </a:lnTo>
                      <a:lnTo>
                        <a:pt x="857" y="331"/>
                      </a:lnTo>
                      <a:lnTo>
                        <a:pt x="1087" y="271"/>
                      </a:lnTo>
                      <a:lnTo>
                        <a:pt x="1033" y="178"/>
                      </a:lnTo>
                      <a:lnTo>
                        <a:pt x="933" y="210"/>
                      </a:lnTo>
                      <a:lnTo>
                        <a:pt x="857" y="178"/>
                      </a:lnTo>
                      <a:close/>
                      <a:moveTo>
                        <a:pt x="1537" y="72"/>
                      </a:moveTo>
                      <a:lnTo>
                        <a:pt x="1365" y="165"/>
                      </a:lnTo>
                      <a:lnTo>
                        <a:pt x="1267" y="226"/>
                      </a:lnTo>
                      <a:lnTo>
                        <a:pt x="1336" y="270"/>
                      </a:lnTo>
                      <a:lnTo>
                        <a:pt x="1488" y="255"/>
                      </a:lnTo>
                      <a:lnTo>
                        <a:pt x="1647" y="135"/>
                      </a:lnTo>
                      <a:lnTo>
                        <a:pt x="1537" y="72"/>
                      </a:lnTo>
                      <a:close/>
                      <a:moveTo>
                        <a:pt x="1295" y="0"/>
                      </a:moveTo>
                      <a:lnTo>
                        <a:pt x="1295" y="0"/>
                      </a:lnTo>
                      <a:lnTo>
                        <a:pt x="1390" y="3"/>
                      </a:lnTo>
                      <a:lnTo>
                        <a:pt x="1483" y="11"/>
                      </a:lnTo>
                      <a:lnTo>
                        <a:pt x="1576" y="24"/>
                      </a:lnTo>
                      <a:lnTo>
                        <a:pt x="1666" y="42"/>
                      </a:lnTo>
                      <a:lnTo>
                        <a:pt x="1755" y="65"/>
                      </a:lnTo>
                      <a:lnTo>
                        <a:pt x="1842" y="92"/>
                      </a:lnTo>
                      <a:lnTo>
                        <a:pt x="1926" y="124"/>
                      </a:lnTo>
                      <a:lnTo>
                        <a:pt x="2009" y="160"/>
                      </a:lnTo>
                      <a:lnTo>
                        <a:pt x="1948" y="169"/>
                      </a:lnTo>
                      <a:lnTo>
                        <a:pt x="1784" y="145"/>
                      </a:lnTo>
                      <a:lnTo>
                        <a:pt x="1668" y="221"/>
                      </a:lnTo>
                      <a:lnTo>
                        <a:pt x="1586" y="311"/>
                      </a:lnTo>
                      <a:lnTo>
                        <a:pt x="1285" y="339"/>
                      </a:lnTo>
                      <a:lnTo>
                        <a:pt x="1162" y="319"/>
                      </a:lnTo>
                      <a:lnTo>
                        <a:pt x="1077" y="450"/>
                      </a:lnTo>
                      <a:lnTo>
                        <a:pt x="830" y="464"/>
                      </a:lnTo>
                      <a:lnTo>
                        <a:pt x="676" y="421"/>
                      </a:lnTo>
                      <a:lnTo>
                        <a:pt x="538" y="495"/>
                      </a:lnTo>
                      <a:lnTo>
                        <a:pt x="239" y="536"/>
                      </a:lnTo>
                      <a:lnTo>
                        <a:pt x="0" y="604"/>
                      </a:lnTo>
                      <a:lnTo>
                        <a:pt x="0" y="604"/>
                      </a:lnTo>
                      <a:lnTo>
                        <a:pt x="63" y="532"/>
                      </a:lnTo>
                      <a:lnTo>
                        <a:pt x="131" y="464"/>
                      </a:lnTo>
                      <a:lnTo>
                        <a:pt x="203" y="400"/>
                      </a:lnTo>
                      <a:lnTo>
                        <a:pt x="278" y="339"/>
                      </a:lnTo>
                      <a:lnTo>
                        <a:pt x="356" y="283"/>
                      </a:lnTo>
                      <a:lnTo>
                        <a:pt x="439" y="232"/>
                      </a:lnTo>
                      <a:lnTo>
                        <a:pt x="524" y="185"/>
                      </a:lnTo>
                      <a:lnTo>
                        <a:pt x="612" y="144"/>
                      </a:lnTo>
                      <a:lnTo>
                        <a:pt x="702" y="107"/>
                      </a:lnTo>
                      <a:lnTo>
                        <a:pt x="796" y="75"/>
                      </a:lnTo>
                      <a:lnTo>
                        <a:pt x="892" y="49"/>
                      </a:lnTo>
                      <a:lnTo>
                        <a:pt x="990" y="27"/>
                      </a:lnTo>
                      <a:lnTo>
                        <a:pt x="1089" y="13"/>
                      </a:lnTo>
                      <a:lnTo>
                        <a:pt x="1191" y="3"/>
                      </a:lnTo>
                      <a:lnTo>
                        <a:pt x="1295"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grpSp>
        </p:grpSp>
        <p:grpSp>
          <p:nvGrpSpPr>
            <p:cNvPr id="7" name="Group 53">
              <a:extLst>
                <a:ext uri="{FF2B5EF4-FFF2-40B4-BE49-F238E27FC236}">
                  <a16:creationId xmlns:a16="http://schemas.microsoft.com/office/drawing/2014/main" id="{D80A21C2-C97D-4101-ABE0-5FA3770DFD7E}"/>
                </a:ext>
              </a:extLst>
            </p:cNvPr>
            <p:cNvGrpSpPr/>
            <p:nvPr/>
          </p:nvGrpSpPr>
          <p:grpSpPr>
            <a:xfrm>
              <a:off x="5906865" y="1789893"/>
              <a:ext cx="1082036" cy="1814002"/>
              <a:chOff x="5906865" y="1789893"/>
              <a:chExt cx="1082036" cy="1814002"/>
            </a:xfrm>
          </p:grpSpPr>
          <p:sp>
            <p:nvSpPr>
              <p:cNvPr id="28" name="Freeform 8">
                <a:extLst>
                  <a:ext uri="{FF2B5EF4-FFF2-40B4-BE49-F238E27FC236}">
                    <a16:creationId xmlns:a16="http://schemas.microsoft.com/office/drawing/2014/main" id="{028A492A-3785-4033-8C1A-E108FA748382}"/>
                  </a:ext>
                </a:extLst>
              </p:cNvPr>
              <p:cNvSpPr>
                <a:spLocks/>
              </p:cNvSpPr>
              <p:nvPr/>
            </p:nvSpPr>
            <p:spPr bwMode="auto">
              <a:xfrm>
                <a:off x="5906865" y="1789893"/>
                <a:ext cx="1082036" cy="1814002"/>
              </a:xfrm>
              <a:custGeom>
                <a:avLst/>
                <a:gdLst>
                  <a:gd name="T0" fmla="*/ 306 w 476"/>
                  <a:gd name="T1" fmla="*/ 113 h 799"/>
                  <a:gd name="T2" fmla="*/ 134 w 476"/>
                  <a:gd name="T3" fmla="*/ 2 h 799"/>
                  <a:gd name="T4" fmla="*/ 133 w 476"/>
                  <a:gd name="T5" fmla="*/ 1 h 799"/>
                  <a:gd name="T6" fmla="*/ 124 w 476"/>
                  <a:gd name="T7" fmla="*/ 4 h 799"/>
                  <a:gd name="T8" fmla="*/ 10 w 476"/>
                  <a:gd name="T9" fmla="*/ 364 h 799"/>
                  <a:gd name="T10" fmla="*/ 326 w 476"/>
                  <a:gd name="T11" fmla="*/ 792 h 799"/>
                  <a:gd name="T12" fmla="*/ 336 w 476"/>
                  <a:gd name="T13" fmla="*/ 790 h 799"/>
                  <a:gd name="T14" fmla="*/ 338 w 476"/>
                  <a:gd name="T15" fmla="*/ 788 h 799"/>
                  <a:gd name="T16" fmla="*/ 463 w 476"/>
                  <a:gd name="T17" fmla="*/ 426 h 799"/>
                  <a:gd name="T18" fmla="*/ 306 w 476"/>
                  <a:gd name="T19" fmla="*/ 113 h 7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76" h="799">
                    <a:moveTo>
                      <a:pt x="306" y="113"/>
                    </a:moveTo>
                    <a:cubicBezTo>
                      <a:pt x="250" y="74"/>
                      <a:pt x="198" y="29"/>
                      <a:pt x="134" y="2"/>
                    </a:cubicBezTo>
                    <a:cubicBezTo>
                      <a:pt x="134" y="2"/>
                      <a:pt x="134" y="2"/>
                      <a:pt x="133" y="1"/>
                    </a:cubicBezTo>
                    <a:cubicBezTo>
                      <a:pt x="131" y="0"/>
                      <a:pt x="127" y="0"/>
                      <a:pt x="124" y="4"/>
                    </a:cubicBezTo>
                    <a:cubicBezTo>
                      <a:pt x="54" y="105"/>
                      <a:pt x="18" y="241"/>
                      <a:pt x="10" y="364"/>
                    </a:cubicBezTo>
                    <a:cubicBezTo>
                      <a:pt x="0" y="522"/>
                      <a:pt x="249" y="799"/>
                      <a:pt x="326" y="792"/>
                    </a:cubicBezTo>
                    <a:cubicBezTo>
                      <a:pt x="331" y="792"/>
                      <a:pt x="334" y="793"/>
                      <a:pt x="336" y="790"/>
                    </a:cubicBezTo>
                    <a:cubicBezTo>
                      <a:pt x="337" y="789"/>
                      <a:pt x="337" y="789"/>
                      <a:pt x="338" y="788"/>
                    </a:cubicBezTo>
                    <a:cubicBezTo>
                      <a:pt x="417" y="682"/>
                      <a:pt x="450" y="554"/>
                      <a:pt x="463" y="426"/>
                    </a:cubicBezTo>
                    <a:cubicBezTo>
                      <a:pt x="476" y="299"/>
                      <a:pt x="418" y="192"/>
                      <a:pt x="306" y="113"/>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nvGrpSpPr>
              <p:cNvPr id="29" name="Group 2">
                <a:extLst>
                  <a:ext uri="{FF2B5EF4-FFF2-40B4-BE49-F238E27FC236}">
                    <a16:creationId xmlns:a16="http://schemas.microsoft.com/office/drawing/2014/main" id="{B9BCCF91-806D-4EA2-B3AF-394C1BD3CDA1}"/>
                  </a:ext>
                </a:extLst>
              </p:cNvPr>
              <p:cNvGrpSpPr/>
              <p:nvPr/>
            </p:nvGrpSpPr>
            <p:grpSpPr>
              <a:xfrm>
                <a:off x="6259123" y="2482360"/>
                <a:ext cx="470203" cy="453787"/>
                <a:chOff x="6249765" y="2448608"/>
                <a:chExt cx="514534" cy="496572"/>
              </a:xfrm>
            </p:grpSpPr>
            <p:sp>
              <p:nvSpPr>
                <p:cNvPr id="30" name="Freeform 211">
                  <a:extLst>
                    <a:ext uri="{FF2B5EF4-FFF2-40B4-BE49-F238E27FC236}">
                      <a16:creationId xmlns:a16="http://schemas.microsoft.com/office/drawing/2014/main" id="{207E18A4-B417-4BC4-8015-909D8466FAF1}"/>
                    </a:ext>
                  </a:extLst>
                </p:cNvPr>
                <p:cNvSpPr>
                  <a:spLocks noEditPoints="1"/>
                </p:cNvSpPr>
                <p:nvPr/>
              </p:nvSpPr>
              <p:spPr bwMode="auto">
                <a:xfrm>
                  <a:off x="6249765" y="2492983"/>
                  <a:ext cx="312735" cy="452197"/>
                </a:xfrm>
                <a:custGeom>
                  <a:avLst/>
                  <a:gdLst>
                    <a:gd name="T0" fmla="*/ 575 w 2074"/>
                    <a:gd name="T1" fmla="*/ 663 h 2994"/>
                    <a:gd name="T2" fmla="*/ 600 w 2074"/>
                    <a:gd name="T3" fmla="*/ 860 h 2994"/>
                    <a:gd name="T4" fmla="*/ 709 w 2074"/>
                    <a:gd name="T5" fmla="*/ 1032 h 2994"/>
                    <a:gd name="T6" fmla="*/ 880 w 2074"/>
                    <a:gd name="T7" fmla="*/ 1140 h 2994"/>
                    <a:gd name="T8" fmla="*/ 1090 w 2074"/>
                    <a:gd name="T9" fmla="*/ 1165 h 2994"/>
                    <a:gd name="T10" fmla="*/ 1286 w 2074"/>
                    <a:gd name="T11" fmla="*/ 1096 h 2994"/>
                    <a:gd name="T12" fmla="*/ 1428 w 2074"/>
                    <a:gd name="T13" fmla="*/ 953 h 2994"/>
                    <a:gd name="T14" fmla="*/ 1498 w 2074"/>
                    <a:gd name="T15" fmla="*/ 757 h 2994"/>
                    <a:gd name="T16" fmla="*/ 1484 w 2074"/>
                    <a:gd name="T17" fmla="*/ 586 h 2994"/>
                    <a:gd name="T18" fmla="*/ 1104 w 2074"/>
                    <a:gd name="T19" fmla="*/ 3 h 2994"/>
                    <a:gd name="T20" fmla="*/ 1356 w 2074"/>
                    <a:gd name="T21" fmla="*/ 77 h 2994"/>
                    <a:gd name="T22" fmla="*/ 1558 w 2074"/>
                    <a:gd name="T23" fmla="*/ 230 h 2994"/>
                    <a:gd name="T24" fmla="*/ 1694 w 2074"/>
                    <a:gd name="T25" fmla="*/ 447 h 2994"/>
                    <a:gd name="T26" fmla="*/ 1743 w 2074"/>
                    <a:gd name="T27" fmla="*/ 707 h 2994"/>
                    <a:gd name="T28" fmla="*/ 1748 w 2074"/>
                    <a:gd name="T29" fmla="*/ 916 h 2994"/>
                    <a:gd name="T30" fmla="*/ 1790 w 2074"/>
                    <a:gd name="T31" fmla="*/ 1056 h 2994"/>
                    <a:gd name="T32" fmla="*/ 1859 w 2074"/>
                    <a:gd name="T33" fmla="*/ 1155 h 2994"/>
                    <a:gd name="T34" fmla="*/ 1934 w 2074"/>
                    <a:gd name="T35" fmla="*/ 1198 h 2994"/>
                    <a:gd name="T36" fmla="*/ 1901 w 2074"/>
                    <a:gd name="T37" fmla="*/ 1221 h 2994"/>
                    <a:gd name="T38" fmla="*/ 1816 w 2074"/>
                    <a:gd name="T39" fmla="*/ 1261 h 2994"/>
                    <a:gd name="T40" fmla="*/ 1671 w 2074"/>
                    <a:gd name="T41" fmla="*/ 1299 h 2994"/>
                    <a:gd name="T42" fmla="*/ 1455 w 2074"/>
                    <a:gd name="T43" fmla="*/ 1317 h 2994"/>
                    <a:gd name="T44" fmla="*/ 1512 w 2074"/>
                    <a:gd name="T45" fmla="*/ 1362 h 2994"/>
                    <a:gd name="T46" fmla="*/ 1709 w 2074"/>
                    <a:gd name="T47" fmla="*/ 1409 h 2994"/>
                    <a:gd name="T48" fmla="*/ 1858 w 2074"/>
                    <a:gd name="T49" fmla="*/ 1536 h 2994"/>
                    <a:gd name="T50" fmla="*/ 1937 w 2074"/>
                    <a:gd name="T51" fmla="*/ 1721 h 2994"/>
                    <a:gd name="T52" fmla="*/ 2069 w 2074"/>
                    <a:gd name="T53" fmla="*/ 2646 h 2994"/>
                    <a:gd name="T54" fmla="*/ 2004 w 2074"/>
                    <a:gd name="T55" fmla="*/ 2812 h 2994"/>
                    <a:gd name="T56" fmla="*/ 1873 w 2074"/>
                    <a:gd name="T57" fmla="*/ 2935 h 2994"/>
                    <a:gd name="T58" fmla="*/ 1706 w 2074"/>
                    <a:gd name="T59" fmla="*/ 2992 h 2994"/>
                    <a:gd name="T60" fmla="*/ 324 w 2074"/>
                    <a:gd name="T61" fmla="*/ 2985 h 2994"/>
                    <a:gd name="T62" fmla="*/ 162 w 2074"/>
                    <a:gd name="T63" fmla="*/ 2909 h 2994"/>
                    <a:gd name="T64" fmla="*/ 47 w 2074"/>
                    <a:gd name="T65" fmla="*/ 2773 h 2994"/>
                    <a:gd name="T66" fmla="*/ 0 w 2074"/>
                    <a:gd name="T67" fmla="*/ 2602 h 2994"/>
                    <a:gd name="T68" fmla="*/ 149 w 2074"/>
                    <a:gd name="T69" fmla="*/ 1671 h 2994"/>
                    <a:gd name="T70" fmla="*/ 247 w 2074"/>
                    <a:gd name="T71" fmla="*/ 1498 h 2994"/>
                    <a:gd name="T72" fmla="*/ 411 w 2074"/>
                    <a:gd name="T73" fmla="*/ 1389 h 2994"/>
                    <a:gd name="T74" fmla="*/ 775 w 2074"/>
                    <a:gd name="T75" fmla="*/ 1362 h 2994"/>
                    <a:gd name="T76" fmla="*/ 558 w 2074"/>
                    <a:gd name="T77" fmla="*/ 1315 h 2994"/>
                    <a:gd name="T78" fmla="*/ 361 w 2074"/>
                    <a:gd name="T79" fmla="*/ 1290 h 2994"/>
                    <a:gd name="T80" fmla="*/ 231 w 2074"/>
                    <a:gd name="T81" fmla="*/ 1251 h 2994"/>
                    <a:gd name="T82" fmla="*/ 159 w 2074"/>
                    <a:gd name="T83" fmla="*/ 1212 h 2994"/>
                    <a:gd name="T84" fmla="*/ 138 w 2074"/>
                    <a:gd name="T85" fmla="*/ 1197 h 2994"/>
                    <a:gd name="T86" fmla="*/ 231 w 2074"/>
                    <a:gd name="T87" fmla="*/ 1137 h 2994"/>
                    <a:gd name="T88" fmla="*/ 291 w 2074"/>
                    <a:gd name="T89" fmla="*/ 1035 h 2994"/>
                    <a:gd name="T90" fmla="*/ 331 w 2074"/>
                    <a:gd name="T91" fmla="*/ 870 h 2994"/>
                    <a:gd name="T92" fmla="*/ 330 w 2074"/>
                    <a:gd name="T93" fmla="*/ 707 h 2994"/>
                    <a:gd name="T94" fmla="*/ 380 w 2074"/>
                    <a:gd name="T95" fmla="*/ 447 h 2994"/>
                    <a:gd name="T96" fmla="*/ 516 w 2074"/>
                    <a:gd name="T97" fmla="*/ 230 h 2994"/>
                    <a:gd name="T98" fmla="*/ 718 w 2074"/>
                    <a:gd name="T99" fmla="*/ 77 h 2994"/>
                    <a:gd name="T100" fmla="*/ 968 w 2074"/>
                    <a:gd name="T101" fmla="*/ 3 h 2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074" h="2994">
                      <a:moveTo>
                        <a:pt x="601" y="549"/>
                      </a:moveTo>
                      <a:lnTo>
                        <a:pt x="590" y="586"/>
                      </a:lnTo>
                      <a:lnTo>
                        <a:pt x="581" y="624"/>
                      </a:lnTo>
                      <a:lnTo>
                        <a:pt x="575" y="663"/>
                      </a:lnTo>
                      <a:lnTo>
                        <a:pt x="573" y="703"/>
                      </a:lnTo>
                      <a:lnTo>
                        <a:pt x="576" y="757"/>
                      </a:lnTo>
                      <a:lnTo>
                        <a:pt x="586" y="811"/>
                      </a:lnTo>
                      <a:lnTo>
                        <a:pt x="600" y="860"/>
                      </a:lnTo>
                      <a:lnTo>
                        <a:pt x="621" y="908"/>
                      </a:lnTo>
                      <a:lnTo>
                        <a:pt x="646" y="953"/>
                      </a:lnTo>
                      <a:lnTo>
                        <a:pt x="675" y="994"/>
                      </a:lnTo>
                      <a:lnTo>
                        <a:pt x="709" y="1032"/>
                      </a:lnTo>
                      <a:lnTo>
                        <a:pt x="747" y="1066"/>
                      </a:lnTo>
                      <a:lnTo>
                        <a:pt x="788" y="1096"/>
                      </a:lnTo>
                      <a:lnTo>
                        <a:pt x="833" y="1120"/>
                      </a:lnTo>
                      <a:lnTo>
                        <a:pt x="880" y="1140"/>
                      </a:lnTo>
                      <a:lnTo>
                        <a:pt x="930" y="1155"/>
                      </a:lnTo>
                      <a:lnTo>
                        <a:pt x="982" y="1165"/>
                      </a:lnTo>
                      <a:lnTo>
                        <a:pt x="1036" y="1168"/>
                      </a:lnTo>
                      <a:lnTo>
                        <a:pt x="1090" y="1165"/>
                      </a:lnTo>
                      <a:lnTo>
                        <a:pt x="1142" y="1155"/>
                      </a:lnTo>
                      <a:lnTo>
                        <a:pt x="1193" y="1140"/>
                      </a:lnTo>
                      <a:lnTo>
                        <a:pt x="1240" y="1120"/>
                      </a:lnTo>
                      <a:lnTo>
                        <a:pt x="1286" y="1096"/>
                      </a:lnTo>
                      <a:lnTo>
                        <a:pt x="1327" y="1066"/>
                      </a:lnTo>
                      <a:lnTo>
                        <a:pt x="1364" y="1032"/>
                      </a:lnTo>
                      <a:lnTo>
                        <a:pt x="1398" y="994"/>
                      </a:lnTo>
                      <a:lnTo>
                        <a:pt x="1428" y="953"/>
                      </a:lnTo>
                      <a:lnTo>
                        <a:pt x="1453" y="908"/>
                      </a:lnTo>
                      <a:lnTo>
                        <a:pt x="1473" y="860"/>
                      </a:lnTo>
                      <a:lnTo>
                        <a:pt x="1488" y="811"/>
                      </a:lnTo>
                      <a:lnTo>
                        <a:pt x="1498" y="757"/>
                      </a:lnTo>
                      <a:lnTo>
                        <a:pt x="1500" y="703"/>
                      </a:lnTo>
                      <a:lnTo>
                        <a:pt x="1499" y="663"/>
                      </a:lnTo>
                      <a:lnTo>
                        <a:pt x="1492" y="624"/>
                      </a:lnTo>
                      <a:lnTo>
                        <a:pt x="1484" y="586"/>
                      </a:lnTo>
                      <a:lnTo>
                        <a:pt x="1472" y="549"/>
                      </a:lnTo>
                      <a:lnTo>
                        <a:pt x="601" y="549"/>
                      </a:lnTo>
                      <a:close/>
                      <a:moveTo>
                        <a:pt x="1036" y="0"/>
                      </a:moveTo>
                      <a:lnTo>
                        <a:pt x="1104" y="3"/>
                      </a:lnTo>
                      <a:lnTo>
                        <a:pt x="1171" y="13"/>
                      </a:lnTo>
                      <a:lnTo>
                        <a:pt x="1235" y="29"/>
                      </a:lnTo>
                      <a:lnTo>
                        <a:pt x="1296" y="50"/>
                      </a:lnTo>
                      <a:lnTo>
                        <a:pt x="1356" y="77"/>
                      </a:lnTo>
                      <a:lnTo>
                        <a:pt x="1412" y="107"/>
                      </a:lnTo>
                      <a:lnTo>
                        <a:pt x="1464" y="144"/>
                      </a:lnTo>
                      <a:lnTo>
                        <a:pt x="1512" y="185"/>
                      </a:lnTo>
                      <a:lnTo>
                        <a:pt x="1558" y="230"/>
                      </a:lnTo>
                      <a:lnTo>
                        <a:pt x="1598" y="279"/>
                      </a:lnTo>
                      <a:lnTo>
                        <a:pt x="1636" y="332"/>
                      </a:lnTo>
                      <a:lnTo>
                        <a:pt x="1667" y="387"/>
                      </a:lnTo>
                      <a:lnTo>
                        <a:pt x="1694" y="447"/>
                      </a:lnTo>
                      <a:lnTo>
                        <a:pt x="1714" y="508"/>
                      </a:lnTo>
                      <a:lnTo>
                        <a:pt x="1730" y="572"/>
                      </a:lnTo>
                      <a:lnTo>
                        <a:pt x="1739" y="639"/>
                      </a:lnTo>
                      <a:lnTo>
                        <a:pt x="1743" y="707"/>
                      </a:lnTo>
                      <a:lnTo>
                        <a:pt x="1741" y="761"/>
                      </a:lnTo>
                      <a:lnTo>
                        <a:pt x="1738" y="813"/>
                      </a:lnTo>
                      <a:lnTo>
                        <a:pt x="1742" y="865"/>
                      </a:lnTo>
                      <a:lnTo>
                        <a:pt x="1748" y="916"/>
                      </a:lnTo>
                      <a:lnTo>
                        <a:pt x="1759" y="965"/>
                      </a:lnTo>
                      <a:lnTo>
                        <a:pt x="1768" y="996"/>
                      </a:lnTo>
                      <a:lnTo>
                        <a:pt x="1778" y="1026"/>
                      </a:lnTo>
                      <a:lnTo>
                        <a:pt x="1790" y="1056"/>
                      </a:lnTo>
                      <a:lnTo>
                        <a:pt x="1804" y="1083"/>
                      </a:lnTo>
                      <a:lnTo>
                        <a:pt x="1820" y="1110"/>
                      </a:lnTo>
                      <a:lnTo>
                        <a:pt x="1838" y="1134"/>
                      </a:lnTo>
                      <a:lnTo>
                        <a:pt x="1859" y="1155"/>
                      </a:lnTo>
                      <a:lnTo>
                        <a:pt x="1882" y="1173"/>
                      </a:lnTo>
                      <a:lnTo>
                        <a:pt x="1907" y="1187"/>
                      </a:lnTo>
                      <a:lnTo>
                        <a:pt x="1936" y="1197"/>
                      </a:lnTo>
                      <a:lnTo>
                        <a:pt x="1934" y="1198"/>
                      </a:lnTo>
                      <a:lnTo>
                        <a:pt x="1930" y="1201"/>
                      </a:lnTo>
                      <a:lnTo>
                        <a:pt x="1923" y="1206"/>
                      </a:lnTo>
                      <a:lnTo>
                        <a:pt x="1913" y="1212"/>
                      </a:lnTo>
                      <a:lnTo>
                        <a:pt x="1901" y="1221"/>
                      </a:lnTo>
                      <a:lnTo>
                        <a:pt x="1885" y="1231"/>
                      </a:lnTo>
                      <a:lnTo>
                        <a:pt x="1866" y="1240"/>
                      </a:lnTo>
                      <a:lnTo>
                        <a:pt x="1842" y="1251"/>
                      </a:lnTo>
                      <a:lnTo>
                        <a:pt x="1816" y="1261"/>
                      </a:lnTo>
                      <a:lnTo>
                        <a:pt x="1785" y="1271"/>
                      </a:lnTo>
                      <a:lnTo>
                        <a:pt x="1751" y="1281"/>
                      </a:lnTo>
                      <a:lnTo>
                        <a:pt x="1713" y="1291"/>
                      </a:lnTo>
                      <a:lnTo>
                        <a:pt x="1671" y="1299"/>
                      </a:lnTo>
                      <a:lnTo>
                        <a:pt x="1624" y="1306"/>
                      </a:lnTo>
                      <a:lnTo>
                        <a:pt x="1572" y="1312"/>
                      </a:lnTo>
                      <a:lnTo>
                        <a:pt x="1516" y="1316"/>
                      </a:lnTo>
                      <a:lnTo>
                        <a:pt x="1455" y="1317"/>
                      </a:lnTo>
                      <a:lnTo>
                        <a:pt x="1389" y="1317"/>
                      </a:lnTo>
                      <a:lnTo>
                        <a:pt x="1344" y="1342"/>
                      </a:lnTo>
                      <a:lnTo>
                        <a:pt x="1298" y="1362"/>
                      </a:lnTo>
                      <a:lnTo>
                        <a:pt x="1512" y="1362"/>
                      </a:lnTo>
                      <a:lnTo>
                        <a:pt x="1564" y="1365"/>
                      </a:lnTo>
                      <a:lnTo>
                        <a:pt x="1614" y="1375"/>
                      </a:lnTo>
                      <a:lnTo>
                        <a:pt x="1663" y="1389"/>
                      </a:lnTo>
                      <a:lnTo>
                        <a:pt x="1709" y="1409"/>
                      </a:lnTo>
                      <a:lnTo>
                        <a:pt x="1751" y="1434"/>
                      </a:lnTo>
                      <a:lnTo>
                        <a:pt x="1790" y="1464"/>
                      </a:lnTo>
                      <a:lnTo>
                        <a:pt x="1826" y="1498"/>
                      </a:lnTo>
                      <a:lnTo>
                        <a:pt x="1858" y="1536"/>
                      </a:lnTo>
                      <a:lnTo>
                        <a:pt x="1886" y="1577"/>
                      </a:lnTo>
                      <a:lnTo>
                        <a:pt x="1908" y="1622"/>
                      </a:lnTo>
                      <a:lnTo>
                        <a:pt x="1925" y="1671"/>
                      </a:lnTo>
                      <a:lnTo>
                        <a:pt x="1937" y="1721"/>
                      </a:lnTo>
                      <a:lnTo>
                        <a:pt x="2068" y="2512"/>
                      </a:lnTo>
                      <a:lnTo>
                        <a:pt x="2074" y="2557"/>
                      </a:lnTo>
                      <a:lnTo>
                        <a:pt x="2074" y="2602"/>
                      </a:lnTo>
                      <a:lnTo>
                        <a:pt x="2069" y="2646"/>
                      </a:lnTo>
                      <a:lnTo>
                        <a:pt x="2060" y="2690"/>
                      </a:lnTo>
                      <a:lnTo>
                        <a:pt x="2045" y="2732"/>
                      </a:lnTo>
                      <a:lnTo>
                        <a:pt x="2027" y="2773"/>
                      </a:lnTo>
                      <a:lnTo>
                        <a:pt x="2004" y="2812"/>
                      </a:lnTo>
                      <a:lnTo>
                        <a:pt x="1976" y="2848"/>
                      </a:lnTo>
                      <a:lnTo>
                        <a:pt x="1945" y="2881"/>
                      </a:lnTo>
                      <a:lnTo>
                        <a:pt x="1910" y="2909"/>
                      </a:lnTo>
                      <a:lnTo>
                        <a:pt x="1873" y="2935"/>
                      </a:lnTo>
                      <a:lnTo>
                        <a:pt x="1834" y="2956"/>
                      </a:lnTo>
                      <a:lnTo>
                        <a:pt x="1792" y="2972"/>
                      </a:lnTo>
                      <a:lnTo>
                        <a:pt x="1749" y="2985"/>
                      </a:lnTo>
                      <a:lnTo>
                        <a:pt x="1706" y="2992"/>
                      </a:lnTo>
                      <a:lnTo>
                        <a:pt x="1660" y="2994"/>
                      </a:lnTo>
                      <a:lnTo>
                        <a:pt x="414" y="2994"/>
                      </a:lnTo>
                      <a:lnTo>
                        <a:pt x="368" y="2992"/>
                      </a:lnTo>
                      <a:lnTo>
                        <a:pt x="324" y="2985"/>
                      </a:lnTo>
                      <a:lnTo>
                        <a:pt x="281" y="2972"/>
                      </a:lnTo>
                      <a:lnTo>
                        <a:pt x="239" y="2956"/>
                      </a:lnTo>
                      <a:lnTo>
                        <a:pt x="199" y="2935"/>
                      </a:lnTo>
                      <a:lnTo>
                        <a:pt x="162" y="2909"/>
                      </a:lnTo>
                      <a:lnTo>
                        <a:pt x="128" y="2881"/>
                      </a:lnTo>
                      <a:lnTo>
                        <a:pt x="98" y="2848"/>
                      </a:lnTo>
                      <a:lnTo>
                        <a:pt x="70" y="2812"/>
                      </a:lnTo>
                      <a:lnTo>
                        <a:pt x="47" y="2773"/>
                      </a:lnTo>
                      <a:lnTo>
                        <a:pt x="28" y="2732"/>
                      </a:lnTo>
                      <a:lnTo>
                        <a:pt x="14" y="2690"/>
                      </a:lnTo>
                      <a:lnTo>
                        <a:pt x="4" y="2646"/>
                      </a:lnTo>
                      <a:lnTo>
                        <a:pt x="0" y="2602"/>
                      </a:lnTo>
                      <a:lnTo>
                        <a:pt x="0" y="2557"/>
                      </a:lnTo>
                      <a:lnTo>
                        <a:pt x="4" y="2512"/>
                      </a:lnTo>
                      <a:lnTo>
                        <a:pt x="137" y="1721"/>
                      </a:lnTo>
                      <a:lnTo>
                        <a:pt x="149" y="1671"/>
                      </a:lnTo>
                      <a:lnTo>
                        <a:pt x="166" y="1622"/>
                      </a:lnTo>
                      <a:lnTo>
                        <a:pt x="188" y="1577"/>
                      </a:lnTo>
                      <a:lnTo>
                        <a:pt x="215" y="1536"/>
                      </a:lnTo>
                      <a:lnTo>
                        <a:pt x="247" y="1498"/>
                      </a:lnTo>
                      <a:lnTo>
                        <a:pt x="283" y="1464"/>
                      </a:lnTo>
                      <a:lnTo>
                        <a:pt x="322" y="1434"/>
                      </a:lnTo>
                      <a:lnTo>
                        <a:pt x="365" y="1409"/>
                      </a:lnTo>
                      <a:lnTo>
                        <a:pt x="411" y="1389"/>
                      </a:lnTo>
                      <a:lnTo>
                        <a:pt x="458" y="1375"/>
                      </a:lnTo>
                      <a:lnTo>
                        <a:pt x="509" y="1365"/>
                      </a:lnTo>
                      <a:lnTo>
                        <a:pt x="561" y="1362"/>
                      </a:lnTo>
                      <a:lnTo>
                        <a:pt x="775" y="1362"/>
                      </a:lnTo>
                      <a:lnTo>
                        <a:pt x="729" y="1341"/>
                      </a:lnTo>
                      <a:lnTo>
                        <a:pt x="684" y="1317"/>
                      </a:lnTo>
                      <a:lnTo>
                        <a:pt x="618" y="1317"/>
                      </a:lnTo>
                      <a:lnTo>
                        <a:pt x="558" y="1315"/>
                      </a:lnTo>
                      <a:lnTo>
                        <a:pt x="502" y="1312"/>
                      </a:lnTo>
                      <a:lnTo>
                        <a:pt x="450" y="1306"/>
                      </a:lnTo>
                      <a:lnTo>
                        <a:pt x="403" y="1298"/>
                      </a:lnTo>
                      <a:lnTo>
                        <a:pt x="361" y="1290"/>
                      </a:lnTo>
                      <a:lnTo>
                        <a:pt x="322" y="1281"/>
                      </a:lnTo>
                      <a:lnTo>
                        <a:pt x="287" y="1271"/>
                      </a:lnTo>
                      <a:lnTo>
                        <a:pt x="258" y="1260"/>
                      </a:lnTo>
                      <a:lnTo>
                        <a:pt x="231" y="1251"/>
                      </a:lnTo>
                      <a:lnTo>
                        <a:pt x="208" y="1240"/>
                      </a:lnTo>
                      <a:lnTo>
                        <a:pt x="189" y="1231"/>
                      </a:lnTo>
                      <a:lnTo>
                        <a:pt x="172" y="1221"/>
                      </a:lnTo>
                      <a:lnTo>
                        <a:pt x="159" y="1212"/>
                      </a:lnTo>
                      <a:lnTo>
                        <a:pt x="150" y="1206"/>
                      </a:lnTo>
                      <a:lnTo>
                        <a:pt x="143" y="1201"/>
                      </a:lnTo>
                      <a:lnTo>
                        <a:pt x="139" y="1198"/>
                      </a:lnTo>
                      <a:lnTo>
                        <a:pt x="138" y="1197"/>
                      </a:lnTo>
                      <a:lnTo>
                        <a:pt x="164" y="1187"/>
                      </a:lnTo>
                      <a:lnTo>
                        <a:pt x="189" y="1174"/>
                      </a:lnTo>
                      <a:lnTo>
                        <a:pt x="211" y="1157"/>
                      </a:lnTo>
                      <a:lnTo>
                        <a:pt x="231" y="1137"/>
                      </a:lnTo>
                      <a:lnTo>
                        <a:pt x="249" y="1115"/>
                      </a:lnTo>
                      <a:lnTo>
                        <a:pt x="265" y="1091"/>
                      </a:lnTo>
                      <a:lnTo>
                        <a:pt x="279" y="1064"/>
                      </a:lnTo>
                      <a:lnTo>
                        <a:pt x="291" y="1035"/>
                      </a:lnTo>
                      <a:lnTo>
                        <a:pt x="301" y="1008"/>
                      </a:lnTo>
                      <a:lnTo>
                        <a:pt x="310" y="978"/>
                      </a:lnTo>
                      <a:lnTo>
                        <a:pt x="324" y="925"/>
                      </a:lnTo>
                      <a:lnTo>
                        <a:pt x="331" y="870"/>
                      </a:lnTo>
                      <a:lnTo>
                        <a:pt x="334" y="815"/>
                      </a:lnTo>
                      <a:lnTo>
                        <a:pt x="332" y="760"/>
                      </a:lnTo>
                      <a:lnTo>
                        <a:pt x="331" y="733"/>
                      </a:lnTo>
                      <a:lnTo>
                        <a:pt x="330" y="707"/>
                      </a:lnTo>
                      <a:lnTo>
                        <a:pt x="333" y="639"/>
                      </a:lnTo>
                      <a:lnTo>
                        <a:pt x="343" y="572"/>
                      </a:lnTo>
                      <a:lnTo>
                        <a:pt x="359" y="508"/>
                      </a:lnTo>
                      <a:lnTo>
                        <a:pt x="380" y="447"/>
                      </a:lnTo>
                      <a:lnTo>
                        <a:pt x="406" y="387"/>
                      </a:lnTo>
                      <a:lnTo>
                        <a:pt x="438" y="332"/>
                      </a:lnTo>
                      <a:lnTo>
                        <a:pt x="474" y="279"/>
                      </a:lnTo>
                      <a:lnTo>
                        <a:pt x="516" y="230"/>
                      </a:lnTo>
                      <a:lnTo>
                        <a:pt x="560" y="185"/>
                      </a:lnTo>
                      <a:lnTo>
                        <a:pt x="609" y="144"/>
                      </a:lnTo>
                      <a:lnTo>
                        <a:pt x="662" y="107"/>
                      </a:lnTo>
                      <a:lnTo>
                        <a:pt x="718" y="77"/>
                      </a:lnTo>
                      <a:lnTo>
                        <a:pt x="776" y="50"/>
                      </a:lnTo>
                      <a:lnTo>
                        <a:pt x="838" y="29"/>
                      </a:lnTo>
                      <a:lnTo>
                        <a:pt x="903" y="13"/>
                      </a:lnTo>
                      <a:lnTo>
                        <a:pt x="968" y="3"/>
                      </a:lnTo>
                      <a:lnTo>
                        <a:pt x="1036"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31" name="Freeform 212">
                  <a:extLst>
                    <a:ext uri="{FF2B5EF4-FFF2-40B4-BE49-F238E27FC236}">
                      <a16:creationId xmlns:a16="http://schemas.microsoft.com/office/drawing/2014/main" id="{7CBBCD97-0A42-4EAA-A3B1-56A3073F2DF9}"/>
                    </a:ext>
                  </a:extLst>
                </p:cNvPr>
                <p:cNvSpPr>
                  <a:spLocks/>
                </p:cNvSpPr>
                <p:nvPr/>
              </p:nvSpPr>
              <p:spPr bwMode="auto">
                <a:xfrm>
                  <a:off x="6527634" y="2448608"/>
                  <a:ext cx="236665" cy="210251"/>
                </a:xfrm>
                <a:custGeom>
                  <a:avLst/>
                  <a:gdLst>
                    <a:gd name="T0" fmla="*/ 280 w 1568"/>
                    <a:gd name="T1" fmla="*/ 0 h 1390"/>
                    <a:gd name="T2" fmla="*/ 1289 w 1568"/>
                    <a:gd name="T3" fmla="*/ 0 h 1390"/>
                    <a:gd name="T4" fmla="*/ 1330 w 1568"/>
                    <a:gd name="T5" fmla="*/ 4 h 1390"/>
                    <a:gd name="T6" fmla="*/ 1369 w 1568"/>
                    <a:gd name="T7" fmla="*/ 13 h 1390"/>
                    <a:gd name="T8" fmla="*/ 1407 w 1568"/>
                    <a:gd name="T9" fmla="*/ 27 h 1390"/>
                    <a:gd name="T10" fmla="*/ 1440 w 1568"/>
                    <a:gd name="T11" fmla="*/ 46 h 1390"/>
                    <a:gd name="T12" fmla="*/ 1472 w 1568"/>
                    <a:gd name="T13" fmla="*/ 69 h 1390"/>
                    <a:gd name="T14" fmla="*/ 1500 w 1568"/>
                    <a:gd name="T15" fmla="*/ 97 h 1390"/>
                    <a:gd name="T16" fmla="*/ 1523 w 1568"/>
                    <a:gd name="T17" fmla="*/ 128 h 1390"/>
                    <a:gd name="T18" fmla="*/ 1542 w 1568"/>
                    <a:gd name="T19" fmla="*/ 163 h 1390"/>
                    <a:gd name="T20" fmla="*/ 1556 w 1568"/>
                    <a:gd name="T21" fmla="*/ 200 h 1390"/>
                    <a:gd name="T22" fmla="*/ 1565 w 1568"/>
                    <a:gd name="T23" fmla="*/ 239 h 1390"/>
                    <a:gd name="T24" fmla="*/ 1568 w 1568"/>
                    <a:gd name="T25" fmla="*/ 280 h 1390"/>
                    <a:gd name="T26" fmla="*/ 1568 w 1568"/>
                    <a:gd name="T27" fmla="*/ 746 h 1390"/>
                    <a:gd name="T28" fmla="*/ 1565 w 1568"/>
                    <a:gd name="T29" fmla="*/ 787 h 1390"/>
                    <a:gd name="T30" fmla="*/ 1556 w 1568"/>
                    <a:gd name="T31" fmla="*/ 827 h 1390"/>
                    <a:gd name="T32" fmla="*/ 1542 w 1568"/>
                    <a:gd name="T33" fmla="*/ 864 h 1390"/>
                    <a:gd name="T34" fmla="*/ 1523 w 1568"/>
                    <a:gd name="T35" fmla="*/ 899 h 1390"/>
                    <a:gd name="T36" fmla="*/ 1500 w 1568"/>
                    <a:gd name="T37" fmla="*/ 930 h 1390"/>
                    <a:gd name="T38" fmla="*/ 1472 w 1568"/>
                    <a:gd name="T39" fmla="*/ 957 h 1390"/>
                    <a:gd name="T40" fmla="*/ 1440 w 1568"/>
                    <a:gd name="T41" fmla="*/ 980 h 1390"/>
                    <a:gd name="T42" fmla="*/ 1407 w 1568"/>
                    <a:gd name="T43" fmla="*/ 1000 h 1390"/>
                    <a:gd name="T44" fmla="*/ 1369 w 1568"/>
                    <a:gd name="T45" fmla="*/ 1014 h 1390"/>
                    <a:gd name="T46" fmla="*/ 1330 w 1568"/>
                    <a:gd name="T47" fmla="*/ 1023 h 1390"/>
                    <a:gd name="T48" fmla="*/ 1289 w 1568"/>
                    <a:gd name="T49" fmla="*/ 1026 h 1390"/>
                    <a:gd name="T50" fmla="*/ 812 w 1568"/>
                    <a:gd name="T51" fmla="*/ 1026 h 1390"/>
                    <a:gd name="T52" fmla="*/ 172 w 1568"/>
                    <a:gd name="T53" fmla="*/ 1390 h 1390"/>
                    <a:gd name="T54" fmla="*/ 392 w 1568"/>
                    <a:gd name="T55" fmla="*/ 1026 h 1390"/>
                    <a:gd name="T56" fmla="*/ 280 w 1568"/>
                    <a:gd name="T57" fmla="*/ 1026 h 1390"/>
                    <a:gd name="T58" fmla="*/ 239 w 1568"/>
                    <a:gd name="T59" fmla="*/ 1023 h 1390"/>
                    <a:gd name="T60" fmla="*/ 200 w 1568"/>
                    <a:gd name="T61" fmla="*/ 1014 h 1390"/>
                    <a:gd name="T62" fmla="*/ 162 w 1568"/>
                    <a:gd name="T63" fmla="*/ 1000 h 1390"/>
                    <a:gd name="T64" fmla="*/ 127 w 1568"/>
                    <a:gd name="T65" fmla="*/ 980 h 1390"/>
                    <a:gd name="T66" fmla="*/ 97 w 1568"/>
                    <a:gd name="T67" fmla="*/ 957 h 1390"/>
                    <a:gd name="T68" fmla="*/ 69 w 1568"/>
                    <a:gd name="T69" fmla="*/ 930 h 1390"/>
                    <a:gd name="T70" fmla="*/ 46 w 1568"/>
                    <a:gd name="T71" fmla="*/ 899 h 1390"/>
                    <a:gd name="T72" fmla="*/ 27 w 1568"/>
                    <a:gd name="T73" fmla="*/ 864 h 1390"/>
                    <a:gd name="T74" fmla="*/ 12 w 1568"/>
                    <a:gd name="T75" fmla="*/ 827 h 1390"/>
                    <a:gd name="T76" fmla="*/ 3 w 1568"/>
                    <a:gd name="T77" fmla="*/ 787 h 1390"/>
                    <a:gd name="T78" fmla="*/ 0 w 1568"/>
                    <a:gd name="T79" fmla="*/ 746 h 1390"/>
                    <a:gd name="T80" fmla="*/ 0 w 1568"/>
                    <a:gd name="T81" fmla="*/ 280 h 1390"/>
                    <a:gd name="T82" fmla="*/ 3 w 1568"/>
                    <a:gd name="T83" fmla="*/ 239 h 1390"/>
                    <a:gd name="T84" fmla="*/ 12 w 1568"/>
                    <a:gd name="T85" fmla="*/ 200 h 1390"/>
                    <a:gd name="T86" fmla="*/ 27 w 1568"/>
                    <a:gd name="T87" fmla="*/ 163 h 1390"/>
                    <a:gd name="T88" fmla="*/ 46 w 1568"/>
                    <a:gd name="T89" fmla="*/ 128 h 1390"/>
                    <a:gd name="T90" fmla="*/ 69 w 1568"/>
                    <a:gd name="T91" fmla="*/ 97 h 1390"/>
                    <a:gd name="T92" fmla="*/ 97 w 1568"/>
                    <a:gd name="T93" fmla="*/ 69 h 1390"/>
                    <a:gd name="T94" fmla="*/ 127 w 1568"/>
                    <a:gd name="T95" fmla="*/ 46 h 1390"/>
                    <a:gd name="T96" fmla="*/ 162 w 1568"/>
                    <a:gd name="T97" fmla="*/ 27 h 1390"/>
                    <a:gd name="T98" fmla="*/ 200 w 1568"/>
                    <a:gd name="T99" fmla="*/ 13 h 1390"/>
                    <a:gd name="T100" fmla="*/ 239 w 1568"/>
                    <a:gd name="T101" fmla="*/ 4 h 1390"/>
                    <a:gd name="T102" fmla="*/ 280 w 1568"/>
                    <a:gd name="T103" fmla="*/ 0 h 1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568" h="1390">
                      <a:moveTo>
                        <a:pt x="280" y="0"/>
                      </a:moveTo>
                      <a:lnTo>
                        <a:pt x="1289" y="0"/>
                      </a:lnTo>
                      <a:lnTo>
                        <a:pt x="1330" y="4"/>
                      </a:lnTo>
                      <a:lnTo>
                        <a:pt x="1369" y="13"/>
                      </a:lnTo>
                      <a:lnTo>
                        <a:pt x="1407" y="27"/>
                      </a:lnTo>
                      <a:lnTo>
                        <a:pt x="1440" y="46"/>
                      </a:lnTo>
                      <a:lnTo>
                        <a:pt x="1472" y="69"/>
                      </a:lnTo>
                      <a:lnTo>
                        <a:pt x="1500" y="97"/>
                      </a:lnTo>
                      <a:lnTo>
                        <a:pt x="1523" y="128"/>
                      </a:lnTo>
                      <a:lnTo>
                        <a:pt x="1542" y="163"/>
                      </a:lnTo>
                      <a:lnTo>
                        <a:pt x="1556" y="200"/>
                      </a:lnTo>
                      <a:lnTo>
                        <a:pt x="1565" y="239"/>
                      </a:lnTo>
                      <a:lnTo>
                        <a:pt x="1568" y="280"/>
                      </a:lnTo>
                      <a:lnTo>
                        <a:pt x="1568" y="746"/>
                      </a:lnTo>
                      <a:lnTo>
                        <a:pt x="1565" y="787"/>
                      </a:lnTo>
                      <a:lnTo>
                        <a:pt x="1556" y="827"/>
                      </a:lnTo>
                      <a:lnTo>
                        <a:pt x="1542" y="864"/>
                      </a:lnTo>
                      <a:lnTo>
                        <a:pt x="1523" y="899"/>
                      </a:lnTo>
                      <a:lnTo>
                        <a:pt x="1500" y="930"/>
                      </a:lnTo>
                      <a:lnTo>
                        <a:pt x="1472" y="957"/>
                      </a:lnTo>
                      <a:lnTo>
                        <a:pt x="1440" y="980"/>
                      </a:lnTo>
                      <a:lnTo>
                        <a:pt x="1407" y="1000"/>
                      </a:lnTo>
                      <a:lnTo>
                        <a:pt x="1369" y="1014"/>
                      </a:lnTo>
                      <a:lnTo>
                        <a:pt x="1330" y="1023"/>
                      </a:lnTo>
                      <a:lnTo>
                        <a:pt x="1289" y="1026"/>
                      </a:lnTo>
                      <a:lnTo>
                        <a:pt x="812" y="1026"/>
                      </a:lnTo>
                      <a:lnTo>
                        <a:pt x="172" y="1390"/>
                      </a:lnTo>
                      <a:lnTo>
                        <a:pt x="392" y="1026"/>
                      </a:lnTo>
                      <a:lnTo>
                        <a:pt x="280" y="1026"/>
                      </a:lnTo>
                      <a:lnTo>
                        <a:pt x="239" y="1023"/>
                      </a:lnTo>
                      <a:lnTo>
                        <a:pt x="200" y="1014"/>
                      </a:lnTo>
                      <a:lnTo>
                        <a:pt x="162" y="1000"/>
                      </a:lnTo>
                      <a:lnTo>
                        <a:pt x="127" y="980"/>
                      </a:lnTo>
                      <a:lnTo>
                        <a:pt x="97" y="957"/>
                      </a:lnTo>
                      <a:lnTo>
                        <a:pt x="69" y="930"/>
                      </a:lnTo>
                      <a:lnTo>
                        <a:pt x="46" y="899"/>
                      </a:lnTo>
                      <a:lnTo>
                        <a:pt x="27" y="864"/>
                      </a:lnTo>
                      <a:lnTo>
                        <a:pt x="12" y="827"/>
                      </a:lnTo>
                      <a:lnTo>
                        <a:pt x="3" y="787"/>
                      </a:lnTo>
                      <a:lnTo>
                        <a:pt x="0" y="746"/>
                      </a:lnTo>
                      <a:lnTo>
                        <a:pt x="0" y="280"/>
                      </a:lnTo>
                      <a:lnTo>
                        <a:pt x="3" y="239"/>
                      </a:lnTo>
                      <a:lnTo>
                        <a:pt x="12" y="200"/>
                      </a:lnTo>
                      <a:lnTo>
                        <a:pt x="27" y="163"/>
                      </a:lnTo>
                      <a:lnTo>
                        <a:pt x="46" y="128"/>
                      </a:lnTo>
                      <a:lnTo>
                        <a:pt x="69" y="97"/>
                      </a:lnTo>
                      <a:lnTo>
                        <a:pt x="97" y="69"/>
                      </a:lnTo>
                      <a:lnTo>
                        <a:pt x="127" y="46"/>
                      </a:lnTo>
                      <a:lnTo>
                        <a:pt x="162" y="27"/>
                      </a:lnTo>
                      <a:lnTo>
                        <a:pt x="200" y="13"/>
                      </a:lnTo>
                      <a:lnTo>
                        <a:pt x="239" y="4"/>
                      </a:lnTo>
                      <a:lnTo>
                        <a:pt x="280"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grpSp>
        </p:grpSp>
        <p:grpSp>
          <p:nvGrpSpPr>
            <p:cNvPr id="8" name="Group 54">
              <a:extLst>
                <a:ext uri="{FF2B5EF4-FFF2-40B4-BE49-F238E27FC236}">
                  <a16:creationId xmlns:a16="http://schemas.microsoft.com/office/drawing/2014/main" id="{8D2BF351-FFC0-408E-9379-C4715EC1BB5F}"/>
                </a:ext>
              </a:extLst>
            </p:cNvPr>
            <p:cNvGrpSpPr/>
            <p:nvPr/>
          </p:nvGrpSpPr>
          <p:grpSpPr>
            <a:xfrm>
              <a:off x="7187426" y="2587023"/>
              <a:ext cx="1315416" cy="1635178"/>
              <a:chOff x="7187426" y="2587023"/>
              <a:chExt cx="1315416" cy="1635178"/>
            </a:xfrm>
          </p:grpSpPr>
          <p:sp>
            <p:nvSpPr>
              <p:cNvPr id="24" name="Freeform 9">
                <a:extLst>
                  <a:ext uri="{FF2B5EF4-FFF2-40B4-BE49-F238E27FC236}">
                    <a16:creationId xmlns:a16="http://schemas.microsoft.com/office/drawing/2014/main" id="{5CB83E59-C059-401F-A1B1-E5374E44DD7C}"/>
                  </a:ext>
                </a:extLst>
              </p:cNvPr>
              <p:cNvSpPr>
                <a:spLocks/>
              </p:cNvSpPr>
              <p:nvPr/>
            </p:nvSpPr>
            <p:spPr bwMode="auto">
              <a:xfrm>
                <a:off x="7187426" y="2587023"/>
                <a:ext cx="1315416" cy="1635178"/>
              </a:xfrm>
              <a:custGeom>
                <a:avLst/>
                <a:gdLst>
                  <a:gd name="T0" fmla="*/ 552 w 579"/>
                  <a:gd name="T1" fmla="*/ 221 h 720"/>
                  <a:gd name="T2" fmla="*/ 504 w 579"/>
                  <a:gd name="T3" fmla="*/ 7 h 720"/>
                  <a:gd name="T4" fmla="*/ 504 w 579"/>
                  <a:gd name="T5" fmla="*/ 6 h 720"/>
                  <a:gd name="T6" fmla="*/ 495 w 579"/>
                  <a:gd name="T7" fmla="*/ 1 h 720"/>
                  <a:gd name="T8" fmla="*/ 140 w 579"/>
                  <a:gd name="T9" fmla="*/ 164 h 720"/>
                  <a:gd name="T10" fmla="*/ 63 w 579"/>
                  <a:gd name="T11" fmla="*/ 714 h 720"/>
                  <a:gd name="T12" fmla="*/ 72 w 579"/>
                  <a:gd name="T13" fmla="*/ 720 h 720"/>
                  <a:gd name="T14" fmla="*/ 75 w 579"/>
                  <a:gd name="T15" fmla="*/ 720 h 720"/>
                  <a:gd name="T16" fmla="*/ 440 w 579"/>
                  <a:gd name="T17" fmla="*/ 564 h 720"/>
                  <a:gd name="T18" fmla="*/ 552 w 579"/>
                  <a:gd name="T19" fmla="*/ 221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9" h="720">
                    <a:moveTo>
                      <a:pt x="552" y="221"/>
                    </a:moveTo>
                    <a:cubicBezTo>
                      <a:pt x="539" y="149"/>
                      <a:pt x="532" y="76"/>
                      <a:pt x="504" y="7"/>
                    </a:cubicBezTo>
                    <a:cubicBezTo>
                      <a:pt x="504" y="7"/>
                      <a:pt x="504" y="7"/>
                      <a:pt x="504" y="6"/>
                    </a:cubicBezTo>
                    <a:cubicBezTo>
                      <a:pt x="502" y="3"/>
                      <a:pt x="499" y="0"/>
                      <a:pt x="495" y="1"/>
                    </a:cubicBezTo>
                    <a:cubicBezTo>
                      <a:pt x="366" y="16"/>
                      <a:pt x="238" y="84"/>
                      <a:pt x="140" y="164"/>
                    </a:cubicBezTo>
                    <a:cubicBezTo>
                      <a:pt x="15" y="267"/>
                      <a:pt x="0" y="658"/>
                      <a:pt x="63" y="714"/>
                    </a:cubicBezTo>
                    <a:cubicBezTo>
                      <a:pt x="67" y="717"/>
                      <a:pt x="69" y="720"/>
                      <a:pt x="72" y="720"/>
                    </a:cubicBezTo>
                    <a:cubicBezTo>
                      <a:pt x="73" y="720"/>
                      <a:pt x="74" y="720"/>
                      <a:pt x="75" y="720"/>
                    </a:cubicBezTo>
                    <a:cubicBezTo>
                      <a:pt x="213" y="708"/>
                      <a:pt x="335" y="644"/>
                      <a:pt x="440" y="564"/>
                    </a:cubicBezTo>
                    <a:cubicBezTo>
                      <a:pt x="544" y="485"/>
                      <a:pt x="579" y="364"/>
                      <a:pt x="552" y="221"/>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nvGrpSpPr>
              <p:cNvPr id="25" name="Group 48">
                <a:extLst>
                  <a:ext uri="{FF2B5EF4-FFF2-40B4-BE49-F238E27FC236}">
                    <a16:creationId xmlns:a16="http://schemas.microsoft.com/office/drawing/2014/main" id="{EC62325F-24B5-42D4-98C0-E12E1E10241A}"/>
                  </a:ext>
                </a:extLst>
              </p:cNvPr>
              <p:cNvGrpSpPr/>
              <p:nvPr/>
            </p:nvGrpSpPr>
            <p:grpSpPr>
              <a:xfrm>
                <a:off x="7571071" y="3212127"/>
                <a:ext cx="519809" cy="433745"/>
                <a:chOff x="7560726" y="3167293"/>
                <a:chExt cx="568816" cy="474638"/>
              </a:xfrm>
            </p:grpSpPr>
            <p:sp>
              <p:nvSpPr>
                <p:cNvPr id="26" name="Freeform 28">
                  <a:extLst>
                    <a:ext uri="{FF2B5EF4-FFF2-40B4-BE49-F238E27FC236}">
                      <a16:creationId xmlns:a16="http://schemas.microsoft.com/office/drawing/2014/main" id="{8AFAAAA4-09E7-4BA4-BB61-0C64CCD6727B}"/>
                    </a:ext>
                  </a:extLst>
                </p:cNvPr>
                <p:cNvSpPr>
                  <a:spLocks/>
                </p:cNvSpPr>
                <p:nvPr/>
              </p:nvSpPr>
              <p:spPr bwMode="auto">
                <a:xfrm>
                  <a:off x="7560726" y="3167293"/>
                  <a:ext cx="472130" cy="474638"/>
                </a:xfrm>
                <a:custGeom>
                  <a:avLst/>
                  <a:gdLst>
                    <a:gd name="T0" fmla="*/ 0 w 3004"/>
                    <a:gd name="T1" fmla="*/ 0 h 3022"/>
                    <a:gd name="T2" fmla="*/ 406 w 3004"/>
                    <a:gd name="T3" fmla="*/ 0 h 3022"/>
                    <a:gd name="T4" fmla="*/ 406 w 3004"/>
                    <a:gd name="T5" fmla="*/ 2616 h 3022"/>
                    <a:gd name="T6" fmla="*/ 3004 w 3004"/>
                    <a:gd name="T7" fmla="*/ 2616 h 3022"/>
                    <a:gd name="T8" fmla="*/ 3004 w 3004"/>
                    <a:gd name="T9" fmla="*/ 3022 h 3022"/>
                    <a:gd name="T10" fmla="*/ 0 w 3004"/>
                    <a:gd name="T11" fmla="*/ 3022 h 3022"/>
                    <a:gd name="T12" fmla="*/ 0 w 3004"/>
                    <a:gd name="T13" fmla="*/ 0 h 3022"/>
                  </a:gdLst>
                  <a:ahLst/>
                  <a:cxnLst>
                    <a:cxn ang="0">
                      <a:pos x="T0" y="T1"/>
                    </a:cxn>
                    <a:cxn ang="0">
                      <a:pos x="T2" y="T3"/>
                    </a:cxn>
                    <a:cxn ang="0">
                      <a:pos x="T4" y="T5"/>
                    </a:cxn>
                    <a:cxn ang="0">
                      <a:pos x="T6" y="T7"/>
                    </a:cxn>
                    <a:cxn ang="0">
                      <a:pos x="T8" y="T9"/>
                    </a:cxn>
                    <a:cxn ang="0">
                      <a:pos x="T10" y="T11"/>
                    </a:cxn>
                    <a:cxn ang="0">
                      <a:pos x="T12" y="T13"/>
                    </a:cxn>
                  </a:cxnLst>
                  <a:rect l="0" t="0" r="r" b="b"/>
                  <a:pathLst>
                    <a:path w="3004" h="3022">
                      <a:moveTo>
                        <a:pt x="0" y="0"/>
                      </a:moveTo>
                      <a:lnTo>
                        <a:pt x="406" y="0"/>
                      </a:lnTo>
                      <a:lnTo>
                        <a:pt x="406" y="2616"/>
                      </a:lnTo>
                      <a:lnTo>
                        <a:pt x="3004" y="2616"/>
                      </a:lnTo>
                      <a:lnTo>
                        <a:pt x="3004" y="3022"/>
                      </a:lnTo>
                      <a:lnTo>
                        <a:pt x="0" y="3022"/>
                      </a:lnTo>
                      <a:lnTo>
                        <a:pt x="0"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27" name="Freeform 29">
                  <a:extLst>
                    <a:ext uri="{FF2B5EF4-FFF2-40B4-BE49-F238E27FC236}">
                      <a16:creationId xmlns:a16="http://schemas.microsoft.com/office/drawing/2014/main" id="{CAB7ADF7-401F-4A5D-8CF0-9BC26CC79ABB}"/>
                    </a:ext>
                  </a:extLst>
                </p:cNvPr>
                <p:cNvSpPr>
                  <a:spLocks/>
                </p:cNvSpPr>
                <p:nvPr/>
              </p:nvSpPr>
              <p:spPr bwMode="auto">
                <a:xfrm>
                  <a:off x="7656156" y="3232587"/>
                  <a:ext cx="473386" cy="296335"/>
                </a:xfrm>
                <a:custGeom>
                  <a:avLst/>
                  <a:gdLst>
                    <a:gd name="T0" fmla="*/ 1545 w 3022"/>
                    <a:gd name="T1" fmla="*/ 0 h 1882"/>
                    <a:gd name="T2" fmla="*/ 2490 w 3022"/>
                    <a:gd name="T3" fmla="*/ 945 h 1882"/>
                    <a:gd name="T4" fmla="*/ 2802 w 3022"/>
                    <a:gd name="T5" fmla="*/ 633 h 1882"/>
                    <a:gd name="T6" fmla="*/ 3022 w 3022"/>
                    <a:gd name="T7" fmla="*/ 1882 h 1882"/>
                    <a:gd name="T8" fmla="*/ 1772 w 3022"/>
                    <a:gd name="T9" fmla="*/ 1662 h 1882"/>
                    <a:gd name="T10" fmla="*/ 2107 w 3022"/>
                    <a:gd name="T11" fmla="*/ 1328 h 1882"/>
                    <a:gd name="T12" fmla="*/ 1545 w 3022"/>
                    <a:gd name="T13" fmla="*/ 766 h 1882"/>
                    <a:gd name="T14" fmla="*/ 947 w 3022"/>
                    <a:gd name="T15" fmla="*/ 1364 h 1882"/>
                    <a:gd name="T16" fmla="*/ 0 w 3022"/>
                    <a:gd name="T17" fmla="*/ 419 h 1882"/>
                    <a:gd name="T18" fmla="*/ 384 w 3022"/>
                    <a:gd name="T19" fmla="*/ 37 h 1882"/>
                    <a:gd name="T20" fmla="*/ 947 w 3022"/>
                    <a:gd name="T21" fmla="*/ 599 h 1882"/>
                    <a:gd name="T22" fmla="*/ 1545 w 3022"/>
                    <a:gd name="T23" fmla="*/ 0 h 18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022" h="1882">
                      <a:moveTo>
                        <a:pt x="1545" y="0"/>
                      </a:moveTo>
                      <a:lnTo>
                        <a:pt x="2490" y="945"/>
                      </a:lnTo>
                      <a:lnTo>
                        <a:pt x="2802" y="633"/>
                      </a:lnTo>
                      <a:lnTo>
                        <a:pt x="3022" y="1882"/>
                      </a:lnTo>
                      <a:lnTo>
                        <a:pt x="1772" y="1662"/>
                      </a:lnTo>
                      <a:lnTo>
                        <a:pt x="2107" y="1328"/>
                      </a:lnTo>
                      <a:lnTo>
                        <a:pt x="1545" y="766"/>
                      </a:lnTo>
                      <a:lnTo>
                        <a:pt x="947" y="1364"/>
                      </a:lnTo>
                      <a:lnTo>
                        <a:pt x="0" y="419"/>
                      </a:lnTo>
                      <a:lnTo>
                        <a:pt x="384" y="37"/>
                      </a:lnTo>
                      <a:lnTo>
                        <a:pt x="947" y="599"/>
                      </a:lnTo>
                      <a:lnTo>
                        <a:pt x="1545"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grpSp>
        </p:grpSp>
        <p:grpSp>
          <p:nvGrpSpPr>
            <p:cNvPr id="9" name="Group 55">
              <a:extLst>
                <a:ext uri="{FF2B5EF4-FFF2-40B4-BE49-F238E27FC236}">
                  <a16:creationId xmlns:a16="http://schemas.microsoft.com/office/drawing/2014/main" id="{6BB32709-CEA5-45D1-B3A8-1C3DF1C0A904}"/>
                </a:ext>
              </a:extLst>
            </p:cNvPr>
            <p:cNvGrpSpPr/>
            <p:nvPr/>
          </p:nvGrpSpPr>
          <p:grpSpPr>
            <a:xfrm>
              <a:off x="7948185" y="3905470"/>
              <a:ext cx="1673064" cy="1071428"/>
              <a:chOff x="7948185" y="3905470"/>
              <a:chExt cx="1673064" cy="1071428"/>
            </a:xfrm>
          </p:grpSpPr>
          <p:sp>
            <p:nvSpPr>
              <p:cNvPr id="10" name="Freeform 10">
                <a:extLst>
                  <a:ext uri="{FF2B5EF4-FFF2-40B4-BE49-F238E27FC236}">
                    <a16:creationId xmlns:a16="http://schemas.microsoft.com/office/drawing/2014/main" id="{00BBDD55-1419-405B-A81A-C3D453F7FB0E}"/>
                  </a:ext>
                </a:extLst>
              </p:cNvPr>
              <p:cNvSpPr>
                <a:spLocks/>
              </p:cNvSpPr>
              <p:nvPr/>
            </p:nvSpPr>
            <p:spPr bwMode="auto">
              <a:xfrm>
                <a:off x="7948185" y="3905470"/>
                <a:ext cx="1673064" cy="1071428"/>
              </a:xfrm>
              <a:custGeom>
                <a:avLst/>
                <a:gdLst>
                  <a:gd name="T0" fmla="*/ 631 w 736"/>
                  <a:gd name="T1" fmla="*/ 307 h 472"/>
                  <a:gd name="T2" fmla="*/ 734 w 736"/>
                  <a:gd name="T3" fmla="*/ 140 h 472"/>
                  <a:gd name="T4" fmla="*/ 734 w 736"/>
                  <a:gd name="T5" fmla="*/ 139 h 472"/>
                  <a:gd name="T6" fmla="*/ 732 w 736"/>
                  <a:gd name="T7" fmla="*/ 130 h 472"/>
                  <a:gd name="T8" fmla="*/ 401 w 736"/>
                  <a:gd name="T9" fmla="*/ 12 h 472"/>
                  <a:gd name="T10" fmla="*/ 6 w 736"/>
                  <a:gd name="T11" fmla="*/ 317 h 472"/>
                  <a:gd name="T12" fmla="*/ 8 w 736"/>
                  <a:gd name="T13" fmla="*/ 327 h 472"/>
                  <a:gd name="T14" fmla="*/ 9 w 736"/>
                  <a:gd name="T15" fmla="*/ 328 h 472"/>
                  <a:gd name="T16" fmla="*/ 343 w 736"/>
                  <a:gd name="T17" fmla="*/ 458 h 472"/>
                  <a:gd name="T18" fmla="*/ 631 w 736"/>
                  <a:gd name="T19" fmla="*/ 307 h 4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6" h="472">
                    <a:moveTo>
                      <a:pt x="631" y="307"/>
                    </a:moveTo>
                    <a:cubicBezTo>
                      <a:pt x="667" y="253"/>
                      <a:pt x="709" y="202"/>
                      <a:pt x="734" y="140"/>
                    </a:cubicBezTo>
                    <a:cubicBezTo>
                      <a:pt x="734" y="140"/>
                      <a:pt x="734" y="139"/>
                      <a:pt x="734" y="139"/>
                    </a:cubicBezTo>
                    <a:cubicBezTo>
                      <a:pt x="736" y="136"/>
                      <a:pt x="735" y="132"/>
                      <a:pt x="732" y="130"/>
                    </a:cubicBezTo>
                    <a:cubicBezTo>
                      <a:pt x="639" y="59"/>
                      <a:pt x="514" y="22"/>
                      <a:pt x="401" y="12"/>
                    </a:cubicBezTo>
                    <a:cubicBezTo>
                      <a:pt x="256" y="0"/>
                      <a:pt x="0" y="241"/>
                      <a:pt x="6" y="317"/>
                    </a:cubicBezTo>
                    <a:cubicBezTo>
                      <a:pt x="6" y="322"/>
                      <a:pt x="5" y="325"/>
                      <a:pt x="8" y="327"/>
                    </a:cubicBezTo>
                    <a:cubicBezTo>
                      <a:pt x="8" y="328"/>
                      <a:pt x="9" y="328"/>
                      <a:pt x="9" y="328"/>
                    </a:cubicBezTo>
                    <a:cubicBezTo>
                      <a:pt x="106" y="408"/>
                      <a:pt x="225" y="443"/>
                      <a:pt x="343" y="458"/>
                    </a:cubicBezTo>
                    <a:cubicBezTo>
                      <a:pt x="459" y="472"/>
                      <a:pt x="558" y="416"/>
                      <a:pt x="631" y="307"/>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grpSp>
            <p:nvGrpSpPr>
              <p:cNvPr id="11" name="Group 49">
                <a:extLst>
                  <a:ext uri="{FF2B5EF4-FFF2-40B4-BE49-F238E27FC236}">
                    <a16:creationId xmlns:a16="http://schemas.microsoft.com/office/drawing/2014/main" id="{D6F1BEA7-2596-4A0B-BABD-958EC68A7ACC}"/>
                  </a:ext>
                </a:extLst>
              </p:cNvPr>
              <p:cNvGrpSpPr/>
              <p:nvPr/>
            </p:nvGrpSpPr>
            <p:grpSpPr>
              <a:xfrm>
                <a:off x="8571602" y="4232096"/>
                <a:ext cx="436376" cy="442267"/>
                <a:chOff x="8545958" y="4199201"/>
                <a:chExt cx="477518" cy="483966"/>
              </a:xfrm>
            </p:grpSpPr>
            <p:sp>
              <p:nvSpPr>
                <p:cNvPr id="12" name="Rectangle 109">
                  <a:extLst>
                    <a:ext uri="{FF2B5EF4-FFF2-40B4-BE49-F238E27FC236}">
                      <a16:creationId xmlns:a16="http://schemas.microsoft.com/office/drawing/2014/main" id="{16F96659-6B14-40C8-A654-B6CA2B47CE08}"/>
                    </a:ext>
                  </a:extLst>
                </p:cNvPr>
                <p:cNvSpPr>
                  <a:spLocks noChangeArrowheads="1"/>
                </p:cNvSpPr>
                <p:nvPr/>
              </p:nvSpPr>
              <p:spPr bwMode="auto">
                <a:xfrm>
                  <a:off x="8545958" y="4243931"/>
                  <a:ext cx="31028" cy="32237"/>
                </a:xfrm>
                <a:prstGeom prst="rect">
                  <a:avLst/>
                </a:prstGeom>
                <a:solidFill>
                  <a:schemeClr val="bg1"/>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13" name="Rectangle 110">
                  <a:extLst>
                    <a:ext uri="{FF2B5EF4-FFF2-40B4-BE49-F238E27FC236}">
                      <a16:creationId xmlns:a16="http://schemas.microsoft.com/office/drawing/2014/main" id="{407FA25B-32C9-49C3-B854-1E783A19CFD8}"/>
                    </a:ext>
                  </a:extLst>
                </p:cNvPr>
                <p:cNvSpPr>
                  <a:spLocks noChangeArrowheads="1"/>
                </p:cNvSpPr>
                <p:nvPr/>
              </p:nvSpPr>
              <p:spPr bwMode="auto">
                <a:xfrm>
                  <a:off x="8545958" y="4310420"/>
                  <a:ext cx="31028" cy="31835"/>
                </a:xfrm>
                <a:prstGeom prst="rect">
                  <a:avLst/>
                </a:prstGeom>
                <a:solidFill>
                  <a:schemeClr val="bg1"/>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14" name="Rectangle 111">
                  <a:extLst>
                    <a:ext uri="{FF2B5EF4-FFF2-40B4-BE49-F238E27FC236}">
                      <a16:creationId xmlns:a16="http://schemas.microsoft.com/office/drawing/2014/main" id="{6212F55B-5867-4582-931A-D77E623683BE}"/>
                    </a:ext>
                  </a:extLst>
                </p:cNvPr>
                <p:cNvSpPr>
                  <a:spLocks noChangeArrowheads="1"/>
                </p:cNvSpPr>
                <p:nvPr/>
              </p:nvSpPr>
              <p:spPr bwMode="auto">
                <a:xfrm>
                  <a:off x="8545958" y="4376104"/>
                  <a:ext cx="31028" cy="32237"/>
                </a:xfrm>
                <a:prstGeom prst="rect">
                  <a:avLst/>
                </a:prstGeom>
                <a:solidFill>
                  <a:schemeClr val="bg1"/>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15" name="Rectangle 112">
                  <a:extLst>
                    <a:ext uri="{FF2B5EF4-FFF2-40B4-BE49-F238E27FC236}">
                      <a16:creationId xmlns:a16="http://schemas.microsoft.com/office/drawing/2014/main" id="{9F5A8870-C9D5-4DEE-AA64-3910F1F419BD}"/>
                    </a:ext>
                  </a:extLst>
                </p:cNvPr>
                <p:cNvSpPr>
                  <a:spLocks noChangeArrowheads="1"/>
                </p:cNvSpPr>
                <p:nvPr/>
              </p:nvSpPr>
              <p:spPr bwMode="auto">
                <a:xfrm>
                  <a:off x="8545958" y="4442594"/>
                  <a:ext cx="31028" cy="31835"/>
                </a:xfrm>
                <a:prstGeom prst="rect">
                  <a:avLst/>
                </a:prstGeom>
                <a:solidFill>
                  <a:schemeClr val="bg1"/>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16" name="Rectangle 113">
                  <a:extLst>
                    <a:ext uri="{FF2B5EF4-FFF2-40B4-BE49-F238E27FC236}">
                      <a16:creationId xmlns:a16="http://schemas.microsoft.com/office/drawing/2014/main" id="{F9BC65C0-B0E6-402D-9C62-03272F6F415A}"/>
                    </a:ext>
                  </a:extLst>
                </p:cNvPr>
                <p:cNvSpPr>
                  <a:spLocks noChangeArrowheads="1"/>
                </p:cNvSpPr>
                <p:nvPr/>
              </p:nvSpPr>
              <p:spPr bwMode="auto">
                <a:xfrm>
                  <a:off x="8545958" y="4508278"/>
                  <a:ext cx="31028" cy="32237"/>
                </a:xfrm>
                <a:prstGeom prst="rect">
                  <a:avLst/>
                </a:prstGeom>
                <a:solidFill>
                  <a:schemeClr val="bg1"/>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17" name="Freeform 114">
                  <a:extLst>
                    <a:ext uri="{FF2B5EF4-FFF2-40B4-BE49-F238E27FC236}">
                      <a16:creationId xmlns:a16="http://schemas.microsoft.com/office/drawing/2014/main" id="{3C87D621-12D8-4DC2-B785-C6A49EEC4AC6}"/>
                    </a:ext>
                  </a:extLst>
                </p:cNvPr>
                <p:cNvSpPr>
                  <a:spLocks/>
                </p:cNvSpPr>
                <p:nvPr/>
              </p:nvSpPr>
              <p:spPr bwMode="auto">
                <a:xfrm>
                  <a:off x="8597135" y="4199201"/>
                  <a:ext cx="426341" cy="432386"/>
                </a:xfrm>
                <a:custGeom>
                  <a:avLst/>
                  <a:gdLst>
                    <a:gd name="T0" fmla="*/ 350 w 3173"/>
                    <a:gd name="T1" fmla="*/ 0 h 3219"/>
                    <a:gd name="T2" fmla="*/ 350 w 3173"/>
                    <a:gd name="T3" fmla="*/ 2862 h 3219"/>
                    <a:gd name="T4" fmla="*/ 3173 w 3173"/>
                    <a:gd name="T5" fmla="*/ 2862 h 3219"/>
                    <a:gd name="T6" fmla="*/ 3173 w 3173"/>
                    <a:gd name="T7" fmla="*/ 3219 h 3219"/>
                    <a:gd name="T8" fmla="*/ 0 w 3173"/>
                    <a:gd name="T9" fmla="*/ 3219 h 3219"/>
                    <a:gd name="T10" fmla="*/ 0 w 3173"/>
                    <a:gd name="T11" fmla="*/ 0 h 3219"/>
                    <a:gd name="T12" fmla="*/ 350 w 3173"/>
                    <a:gd name="T13" fmla="*/ 0 h 3219"/>
                  </a:gdLst>
                  <a:ahLst/>
                  <a:cxnLst>
                    <a:cxn ang="0">
                      <a:pos x="T0" y="T1"/>
                    </a:cxn>
                    <a:cxn ang="0">
                      <a:pos x="T2" y="T3"/>
                    </a:cxn>
                    <a:cxn ang="0">
                      <a:pos x="T4" y="T5"/>
                    </a:cxn>
                    <a:cxn ang="0">
                      <a:pos x="T6" y="T7"/>
                    </a:cxn>
                    <a:cxn ang="0">
                      <a:pos x="T8" y="T9"/>
                    </a:cxn>
                    <a:cxn ang="0">
                      <a:pos x="T10" y="T11"/>
                    </a:cxn>
                    <a:cxn ang="0">
                      <a:pos x="T12" y="T13"/>
                    </a:cxn>
                  </a:cxnLst>
                  <a:rect l="0" t="0" r="r" b="b"/>
                  <a:pathLst>
                    <a:path w="3173" h="3219">
                      <a:moveTo>
                        <a:pt x="350" y="0"/>
                      </a:moveTo>
                      <a:lnTo>
                        <a:pt x="350" y="2862"/>
                      </a:lnTo>
                      <a:lnTo>
                        <a:pt x="3173" y="2862"/>
                      </a:lnTo>
                      <a:lnTo>
                        <a:pt x="3173" y="3219"/>
                      </a:lnTo>
                      <a:lnTo>
                        <a:pt x="0" y="3219"/>
                      </a:lnTo>
                      <a:lnTo>
                        <a:pt x="0" y="0"/>
                      </a:lnTo>
                      <a:lnTo>
                        <a:pt x="350"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18" name="Rectangle 115">
                  <a:extLst>
                    <a:ext uri="{FF2B5EF4-FFF2-40B4-BE49-F238E27FC236}">
                      <a16:creationId xmlns:a16="http://schemas.microsoft.com/office/drawing/2014/main" id="{8D8B366C-039E-4610-817C-8F619ABF27E1}"/>
                    </a:ext>
                  </a:extLst>
                </p:cNvPr>
                <p:cNvSpPr>
                  <a:spLocks noChangeArrowheads="1"/>
                </p:cNvSpPr>
                <p:nvPr/>
              </p:nvSpPr>
              <p:spPr bwMode="auto">
                <a:xfrm>
                  <a:off x="8948121" y="4651735"/>
                  <a:ext cx="31431" cy="31432"/>
                </a:xfrm>
                <a:prstGeom prst="rect">
                  <a:avLst/>
                </a:prstGeom>
                <a:solidFill>
                  <a:schemeClr val="bg1"/>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19" name="Rectangle 116">
                  <a:extLst>
                    <a:ext uri="{FF2B5EF4-FFF2-40B4-BE49-F238E27FC236}">
                      <a16:creationId xmlns:a16="http://schemas.microsoft.com/office/drawing/2014/main" id="{A51E1CEC-FD16-4F0C-87CF-D629A19B9B77}"/>
                    </a:ext>
                  </a:extLst>
                </p:cNvPr>
                <p:cNvSpPr>
                  <a:spLocks noChangeArrowheads="1"/>
                </p:cNvSpPr>
                <p:nvPr/>
              </p:nvSpPr>
              <p:spPr bwMode="auto">
                <a:xfrm>
                  <a:off x="8883243" y="4651735"/>
                  <a:ext cx="31431" cy="31432"/>
                </a:xfrm>
                <a:prstGeom prst="rect">
                  <a:avLst/>
                </a:prstGeom>
                <a:solidFill>
                  <a:schemeClr val="bg1"/>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20" name="Rectangle 117">
                  <a:extLst>
                    <a:ext uri="{FF2B5EF4-FFF2-40B4-BE49-F238E27FC236}">
                      <a16:creationId xmlns:a16="http://schemas.microsoft.com/office/drawing/2014/main" id="{211DB2B0-11C3-4B09-831A-AD42A781CF24}"/>
                    </a:ext>
                  </a:extLst>
                </p:cNvPr>
                <p:cNvSpPr>
                  <a:spLocks noChangeArrowheads="1"/>
                </p:cNvSpPr>
                <p:nvPr/>
              </p:nvSpPr>
              <p:spPr bwMode="auto">
                <a:xfrm>
                  <a:off x="8818768" y="4651735"/>
                  <a:ext cx="31431" cy="31432"/>
                </a:xfrm>
                <a:prstGeom prst="rect">
                  <a:avLst/>
                </a:prstGeom>
                <a:solidFill>
                  <a:schemeClr val="bg1"/>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21" name="Rectangle 118">
                  <a:extLst>
                    <a:ext uri="{FF2B5EF4-FFF2-40B4-BE49-F238E27FC236}">
                      <a16:creationId xmlns:a16="http://schemas.microsoft.com/office/drawing/2014/main" id="{38F7A0FD-13B0-4356-A7AA-34A50C40B660}"/>
                    </a:ext>
                  </a:extLst>
                </p:cNvPr>
                <p:cNvSpPr>
                  <a:spLocks noChangeArrowheads="1"/>
                </p:cNvSpPr>
                <p:nvPr/>
              </p:nvSpPr>
              <p:spPr bwMode="auto">
                <a:xfrm>
                  <a:off x="8753890" y="4651735"/>
                  <a:ext cx="31431" cy="31432"/>
                </a:xfrm>
                <a:prstGeom prst="rect">
                  <a:avLst/>
                </a:prstGeom>
                <a:solidFill>
                  <a:schemeClr val="bg1"/>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22" name="Rectangle 119">
                  <a:extLst>
                    <a:ext uri="{FF2B5EF4-FFF2-40B4-BE49-F238E27FC236}">
                      <a16:creationId xmlns:a16="http://schemas.microsoft.com/office/drawing/2014/main" id="{CE98DC74-12FE-4114-B78D-C42E65EB0CCC}"/>
                    </a:ext>
                  </a:extLst>
                </p:cNvPr>
                <p:cNvSpPr>
                  <a:spLocks noChangeArrowheads="1"/>
                </p:cNvSpPr>
                <p:nvPr/>
              </p:nvSpPr>
              <p:spPr bwMode="auto">
                <a:xfrm>
                  <a:off x="8689012" y="4651735"/>
                  <a:ext cx="31431" cy="31432"/>
                </a:xfrm>
                <a:prstGeom prst="rect">
                  <a:avLst/>
                </a:prstGeom>
                <a:solidFill>
                  <a:schemeClr val="bg1"/>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23" name="Freeform 120">
                  <a:extLst>
                    <a:ext uri="{FF2B5EF4-FFF2-40B4-BE49-F238E27FC236}">
                      <a16:creationId xmlns:a16="http://schemas.microsoft.com/office/drawing/2014/main" id="{215C8C65-02A7-442C-88A3-B882FD80BB75}"/>
                    </a:ext>
                  </a:extLst>
                </p:cNvPr>
                <p:cNvSpPr>
                  <a:spLocks/>
                </p:cNvSpPr>
                <p:nvPr/>
              </p:nvSpPr>
              <p:spPr bwMode="auto">
                <a:xfrm>
                  <a:off x="8655968" y="4297929"/>
                  <a:ext cx="359851" cy="268378"/>
                </a:xfrm>
                <a:custGeom>
                  <a:avLst/>
                  <a:gdLst>
                    <a:gd name="T0" fmla="*/ 2477 w 2681"/>
                    <a:gd name="T1" fmla="*/ 0 h 1998"/>
                    <a:gd name="T2" fmla="*/ 2681 w 2681"/>
                    <a:gd name="T3" fmla="*/ 116 h 1998"/>
                    <a:gd name="T4" fmla="*/ 2159 w 2681"/>
                    <a:gd name="T5" fmla="*/ 1069 h 1998"/>
                    <a:gd name="T6" fmla="*/ 1619 w 2681"/>
                    <a:gd name="T7" fmla="*/ 810 h 1998"/>
                    <a:gd name="T8" fmla="*/ 1266 w 2681"/>
                    <a:gd name="T9" fmla="*/ 1507 h 1998"/>
                    <a:gd name="T10" fmla="*/ 655 w 2681"/>
                    <a:gd name="T11" fmla="*/ 1208 h 1998"/>
                    <a:gd name="T12" fmla="*/ 201 w 2681"/>
                    <a:gd name="T13" fmla="*/ 1998 h 1998"/>
                    <a:gd name="T14" fmla="*/ 0 w 2681"/>
                    <a:gd name="T15" fmla="*/ 1877 h 1998"/>
                    <a:gd name="T16" fmla="*/ 563 w 2681"/>
                    <a:gd name="T17" fmla="*/ 899 h 1998"/>
                    <a:gd name="T18" fmla="*/ 1162 w 2681"/>
                    <a:gd name="T19" fmla="*/ 1192 h 1998"/>
                    <a:gd name="T20" fmla="*/ 1514 w 2681"/>
                    <a:gd name="T21" fmla="*/ 498 h 1998"/>
                    <a:gd name="T22" fmla="*/ 2062 w 2681"/>
                    <a:gd name="T23" fmla="*/ 758 h 1998"/>
                    <a:gd name="T24" fmla="*/ 2477 w 2681"/>
                    <a:gd name="T25" fmla="*/ 0 h 19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81" h="1998">
                      <a:moveTo>
                        <a:pt x="2477" y="0"/>
                      </a:moveTo>
                      <a:lnTo>
                        <a:pt x="2681" y="116"/>
                      </a:lnTo>
                      <a:lnTo>
                        <a:pt x="2159" y="1069"/>
                      </a:lnTo>
                      <a:lnTo>
                        <a:pt x="1619" y="810"/>
                      </a:lnTo>
                      <a:lnTo>
                        <a:pt x="1266" y="1507"/>
                      </a:lnTo>
                      <a:lnTo>
                        <a:pt x="655" y="1208"/>
                      </a:lnTo>
                      <a:lnTo>
                        <a:pt x="201" y="1998"/>
                      </a:lnTo>
                      <a:lnTo>
                        <a:pt x="0" y="1877"/>
                      </a:lnTo>
                      <a:lnTo>
                        <a:pt x="563" y="899"/>
                      </a:lnTo>
                      <a:lnTo>
                        <a:pt x="1162" y="1192"/>
                      </a:lnTo>
                      <a:lnTo>
                        <a:pt x="1514" y="498"/>
                      </a:lnTo>
                      <a:lnTo>
                        <a:pt x="2062" y="758"/>
                      </a:lnTo>
                      <a:lnTo>
                        <a:pt x="2477"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grpSp>
        </p:grpSp>
      </p:grpSp>
      <p:sp>
        <p:nvSpPr>
          <p:cNvPr id="42" name="TextBox 40">
            <a:extLst>
              <a:ext uri="{FF2B5EF4-FFF2-40B4-BE49-F238E27FC236}">
                <a16:creationId xmlns:a16="http://schemas.microsoft.com/office/drawing/2014/main" id="{85A79928-B1C2-46A8-A03D-1B1FD866E2EC}"/>
              </a:ext>
            </a:extLst>
          </p:cNvPr>
          <p:cNvSpPr txBox="1"/>
          <p:nvPr/>
        </p:nvSpPr>
        <p:spPr>
          <a:xfrm>
            <a:off x="1424828" y="1191385"/>
            <a:ext cx="3991712" cy="107721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000000">
                    <a:lumMod val="85000"/>
                    <a:lumOff val="15000"/>
                  </a:srgbClr>
                </a:solidFill>
                <a:effectLst/>
                <a:uLnTx/>
                <a:uFillTx/>
                <a:latin typeface="等线 Light" panose="020F0302020204030204"/>
                <a:ea typeface="+mn-ea"/>
                <a:cs typeface="+mn-cs"/>
              </a:rPr>
              <a:t>INFOGRAPHIC</a:t>
            </a:r>
            <a:endParaRPr kumimoji="0" lang="en-US" sz="3200" b="1" i="0" u="none" strike="noStrike" kern="1200" cap="none" spc="0" normalizeH="0" baseline="0" noProof="0" dirty="0">
              <a:ln>
                <a:noFill/>
              </a:ln>
              <a:solidFill>
                <a:srgbClr val="000000">
                  <a:lumMod val="85000"/>
                  <a:lumOff val="15000"/>
                </a:srgbClr>
              </a:solidFill>
              <a:effectLst/>
              <a:uLnTx/>
              <a:uFillTx/>
              <a:latin typeface="等线"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000000">
                    <a:lumMod val="85000"/>
                    <a:lumOff val="15000"/>
                  </a:srgbClr>
                </a:solidFill>
                <a:effectLst/>
                <a:uLnTx/>
                <a:uFillTx/>
                <a:latin typeface="等线 Light" panose="020F0302020204030204"/>
                <a:ea typeface="+mn-ea"/>
                <a:cs typeface="+mn-cs"/>
              </a:rPr>
              <a:t>TREE</a:t>
            </a:r>
          </a:p>
        </p:txBody>
      </p:sp>
      <p:sp>
        <p:nvSpPr>
          <p:cNvPr id="43" name="TextBox 41">
            <a:extLst>
              <a:ext uri="{FF2B5EF4-FFF2-40B4-BE49-F238E27FC236}">
                <a16:creationId xmlns:a16="http://schemas.microsoft.com/office/drawing/2014/main" id="{F3E4FFBE-2D5F-40E6-B12C-83FE3C1DA3CA}"/>
              </a:ext>
            </a:extLst>
          </p:cNvPr>
          <p:cNvSpPr txBox="1"/>
          <p:nvPr/>
        </p:nvSpPr>
        <p:spPr>
          <a:xfrm>
            <a:off x="8157154" y="2164144"/>
            <a:ext cx="2170359"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lumMod val="85000"/>
                    <a:lumOff val="15000"/>
                  </a:srgbClr>
                </a:solidFill>
                <a:effectLst/>
                <a:uLnTx/>
                <a:uFillTx/>
                <a:latin typeface="等线 Light" panose="020F0302020204030204"/>
                <a:ea typeface="+mn-ea"/>
                <a:cs typeface="+mn-cs"/>
              </a:rPr>
              <a:t>Subtitle Here</a:t>
            </a:r>
          </a:p>
        </p:txBody>
      </p:sp>
      <p:sp>
        <p:nvSpPr>
          <p:cNvPr id="44" name="TextBox 42">
            <a:extLst>
              <a:ext uri="{FF2B5EF4-FFF2-40B4-BE49-F238E27FC236}">
                <a16:creationId xmlns:a16="http://schemas.microsoft.com/office/drawing/2014/main" id="{4E81E40D-DCF2-4771-AC02-0B5AC1680430}"/>
              </a:ext>
            </a:extLst>
          </p:cNvPr>
          <p:cNvSpPr txBox="1"/>
          <p:nvPr/>
        </p:nvSpPr>
        <p:spPr>
          <a:xfrm>
            <a:off x="9769541" y="4045172"/>
            <a:ext cx="2170359"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lumMod val="85000"/>
                    <a:lumOff val="15000"/>
                  </a:srgbClr>
                </a:solidFill>
                <a:effectLst/>
                <a:uLnTx/>
                <a:uFillTx/>
                <a:latin typeface="等线 Light" panose="020F0302020204030204"/>
                <a:ea typeface="+mn-ea"/>
                <a:cs typeface="+mn-cs"/>
              </a:rPr>
              <a:t>Subtitle Here</a:t>
            </a:r>
          </a:p>
        </p:txBody>
      </p:sp>
      <p:sp>
        <p:nvSpPr>
          <p:cNvPr id="45" name="TextBox 43">
            <a:extLst>
              <a:ext uri="{FF2B5EF4-FFF2-40B4-BE49-F238E27FC236}">
                <a16:creationId xmlns:a16="http://schemas.microsoft.com/office/drawing/2014/main" id="{8A759D87-29E2-45D3-9181-5EF451F4F13F}"/>
              </a:ext>
            </a:extLst>
          </p:cNvPr>
          <p:cNvSpPr txBox="1"/>
          <p:nvPr/>
        </p:nvSpPr>
        <p:spPr>
          <a:xfrm>
            <a:off x="1057827" y="3617973"/>
            <a:ext cx="2170359" cy="307777"/>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lumMod val="85000"/>
                    <a:lumOff val="15000"/>
                  </a:srgbClr>
                </a:solidFill>
                <a:effectLst/>
                <a:uLnTx/>
                <a:uFillTx/>
                <a:latin typeface="等线 Light" panose="020F0302020204030204"/>
                <a:ea typeface="+mn-ea"/>
                <a:cs typeface="+mn-cs"/>
              </a:rPr>
              <a:t>Subtitle Here</a:t>
            </a:r>
          </a:p>
        </p:txBody>
      </p:sp>
      <p:sp>
        <p:nvSpPr>
          <p:cNvPr id="46" name="TextBox 44">
            <a:extLst>
              <a:ext uri="{FF2B5EF4-FFF2-40B4-BE49-F238E27FC236}">
                <a16:creationId xmlns:a16="http://schemas.microsoft.com/office/drawing/2014/main" id="{AEA4025B-B962-4901-99BF-AC78C3EEAA7C}"/>
              </a:ext>
            </a:extLst>
          </p:cNvPr>
          <p:cNvSpPr txBox="1"/>
          <p:nvPr/>
        </p:nvSpPr>
        <p:spPr>
          <a:xfrm>
            <a:off x="2223083" y="2624478"/>
            <a:ext cx="2170359" cy="307777"/>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lumMod val="85000"/>
                    <a:lumOff val="15000"/>
                  </a:srgbClr>
                </a:solidFill>
                <a:effectLst/>
                <a:uLnTx/>
                <a:uFillTx/>
                <a:latin typeface="等线 Light" panose="020F0302020204030204"/>
                <a:ea typeface="+mn-ea"/>
                <a:cs typeface="+mn-cs"/>
              </a:rPr>
              <a:t>Subtitle Here</a:t>
            </a:r>
          </a:p>
        </p:txBody>
      </p:sp>
      <p:sp>
        <p:nvSpPr>
          <p:cNvPr id="47" name="TextBox 45">
            <a:extLst>
              <a:ext uri="{FF2B5EF4-FFF2-40B4-BE49-F238E27FC236}">
                <a16:creationId xmlns:a16="http://schemas.microsoft.com/office/drawing/2014/main" id="{B041F8E0-C76F-4100-ADF7-DA4F6F15374B}"/>
              </a:ext>
            </a:extLst>
          </p:cNvPr>
          <p:cNvSpPr txBox="1"/>
          <p:nvPr/>
        </p:nvSpPr>
        <p:spPr>
          <a:xfrm>
            <a:off x="5890110" y="1421401"/>
            <a:ext cx="2170359"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lumMod val="85000"/>
                    <a:lumOff val="15000"/>
                  </a:srgbClr>
                </a:solidFill>
                <a:effectLst/>
                <a:uLnTx/>
                <a:uFillTx/>
                <a:latin typeface="等线 Light" panose="020F0302020204030204"/>
                <a:ea typeface="+mn-ea"/>
                <a:cs typeface="+mn-cs"/>
              </a:rPr>
              <a:t>Subtitle Here</a:t>
            </a:r>
          </a:p>
        </p:txBody>
      </p:sp>
      <p:sp>
        <p:nvSpPr>
          <p:cNvPr id="48" name="Rectangle 46">
            <a:extLst>
              <a:ext uri="{FF2B5EF4-FFF2-40B4-BE49-F238E27FC236}">
                <a16:creationId xmlns:a16="http://schemas.microsoft.com/office/drawing/2014/main" id="{DC7C48A1-0653-4D15-A0E0-991223B3B952}"/>
              </a:ext>
            </a:extLst>
          </p:cNvPr>
          <p:cNvSpPr/>
          <p:nvPr/>
        </p:nvSpPr>
        <p:spPr>
          <a:xfrm>
            <a:off x="1426645" y="4954568"/>
            <a:ext cx="3060755" cy="1080937"/>
          </a:xfrm>
          <a:prstGeom prst="rect">
            <a:avLst/>
          </a:prstGeom>
        </p:spPr>
        <p:txBody>
          <a:bodyPr wrap="square">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0F0F0">
                    <a:lumMod val="75000"/>
                  </a:srgbClr>
                </a:solidFill>
                <a:effectLst/>
                <a:uLnTx/>
                <a:uFillTx/>
                <a:latin typeface="等线" panose="020F0502020204030204"/>
                <a:ea typeface="+mn-ea"/>
                <a:cs typeface="+mn-cs"/>
              </a:rPr>
              <a:t>Lorem Ipsum is simply dummy text of the printing and typesetting industry. Lorem Ipsum has been the industry's standard dummy text ever since the 1500s</a:t>
            </a:r>
          </a:p>
        </p:txBody>
      </p:sp>
      <p:sp>
        <p:nvSpPr>
          <p:cNvPr id="49" name="Rectangle 47">
            <a:extLst>
              <a:ext uri="{FF2B5EF4-FFF2-40B4-BE49-F238E27FC236}">
                <a16:creationId xmlns:a16="http://schemas.microsoft.com/office/drawing/2014/main" id="{BBA910D8-EA45-42A1-A22D-3E4A0C6B26C5}"/>
              </a:ext>
            </a:extLst>
          </p:cNvPr>
          <p:cNvSpPr/>
          <p:nvPr/>
        </p:nvSpPr>
        <p:spPr>
          <a:xfrm>
            <a:off x="7824401" y="5125843"/>
            <a:ext cx="3060755" cy="1080937"/>
          </a:xfrm>
          <a:prstGeom prst="rect">
            <a:avLst/>
          </a:prstGeom>
        </p:spPr>
        <p:txBody>
          <a:bodyPr wrap="square">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0F0F0">
                    <a:lumMod val="75000"/>
                  </a:srgbClr>
                </a:solidFill>
                <a:effectLst/>
                <a:uLnTx/>
                <a:uFillTx/>
                <a:latin typeface="等线" panose="020F0502020204030204"/>
                <a:ea typeface="+mn-ea"/>
                <a:cs typeface="+mn-cs"/>
              </a:rPr>
              <a:t>Lorem Ipsum is simply dummy text of the printing and typesetting industry. Lorem Ipsum has been the industry's standard dummy text ever since the 1500s</a:t>
            </a:r>
          </a:p>
        </p:txBody>
      </p:sp>
    </p:spTree>
    <p:extLst>
      <p:ext uri="{BB962C8B-B14F-4D97-AF65-F5344CB8AC3E}">
        <p14:creationId xmlns:p14="http://schemas.microsoft.com/office/powerpoint/2010/main" val="619769863"/>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42"/>
                                        </p:tgtEl>
                                        <p:attrNameLst>
                                          <p:attrName>style.visibility</p:attrName>
                                        </p:attrNameLst>
                                      </p:cBhvr>
                                      <p:to>
                                        <p:strVal val="visible"/>
                                      </p:to>
                                    </p:set>
                                    <p:animEffect transition="in" filter="wipe(left)">
                                      <p:cBhvr>
                                        <p:cTn id="7" dur="500"/>
                                        <p:tgtEl>
                                          <p:spTgt spid="42"/>
                                        </p:tgtEl>
                                      </p:cBhvr>
                                    </p:animEffect>
                                  </p:childTnLst>
                                </p:cTn>
                              </p:par>
                            </p:childTnLst>
                          </p:cTn>
                        </p:par>
                        <p:par>
                          <p:cTn id="8" fill="hold">
                            <p:stCondLst>
                              <p:cond delay="500"/>
                            </p:stCondLst>
                            <p:childTnLst>
                              <p:par>
                                <p:cTn id="9" presetID="22" presetClass="entr" presetSubtype="4" fill="hold" nodeType="afterEffect">
                                  <p:stCondLst>
                                    <p:cond delay="0"/>
                                  </p:stCondLst>
                                  <p:childTnLst>
                                    <p:set>
                                      <p:cBhvr>
                                        <p:cTn id="10" dur="1" fill="hold">
                                          <p:stCondLst>
                                            <p:cond delay="0"/>
                                          </p:stCondLst>
                                        </p:cTn>
                                        <p:tgtEl>
                                          <p:spTgt spid="3"/>
                                        </p:tgtEl>
                                        <p:attrNameLst>
                                          <p:attrName>style.visibility</p:attrName>
                                        </p:attrNameLst>
                                      </p:cBhvr>
                                      <p:to>
                                        <p:strVal val="visible"/>
                                      </p:to>
                                    </p:set>
                                    <p:animEffect transition="in" filter="wipe(down)">
                                      <p:cBhvr>
                                        <p:cTn id="11" dur="500"/>
                                        <p:tgtEl>
                                          <p:spTgt spid="3"/>
                                        </p:tgtEl>
                                      </p:cBhvr>
                                    </p:animEffect>
                                  </p:childTnLst>
                                </p:cTn>
                              </p:par>
                            </p:childTnLst>
                          </p:cTn>
                        </p:par>
                        <p:par>
                          <p:cTn id="12" fill="hold">
                            <p:stCondLst>
                              <p:cond delay="1000"/>
                            </p:stCondLst>
                            <p:childTnLst>
                              <p:par>
                                <p:cTn id="13" presetID="42" presetClass="entr" presetSubtype="0" fill="hold" grpId="0" nodeType="afterEffect">
                                  <p:stCondLst>
                                    <p:cond delay="0"/>
                                  </p:stCondLst>
                                  <p:childTnLst>
                                    <p:set>
                                      <p:cBhvr>
                                        <p:cTn id="14" dur="1" fill="hold">
                                          <p:stCondLst>
                                            <p:cond delay="0"/>
                                          </p:stCondLst>
                                        </p:cTn>
                                        <p:tgtEl>
                                          <p:spTgt spid="48"/>
                                        </p:tgtEl>
                                        <p:attrNameLst>
                                          <p:attrName>style.visibility</p:attrName>
                                        </p:attrNameLst>
                                      </p:cBhvr>
                                      <p:to>
                                        <p:strVal val="visible"/>
                                      </p:to>
                                    </p:set>
                                    <p:animEffect transition="in" filter="fade">
                                      <p:cBhvr>
                                        <p:cTn id="15" dur="500"/>
                                        <p:tgtEl>
                                          <p:spTgt spid="48"/>
                                        </p:tgtEl>
                                      </p:cBhvr>
                                    </p:animEffect>
                                    <p:anim calcmode="lin" valueType="num">
                                      <p:cBhvr>
                                        <p:cTn id="16" dur="500" fill="hold"/>
                                        <p:tgtEl>
                                          <p:spTgt spid="48"/>
                                        </p:tgtEl>
                                        <p:attrNameLst>
                                          <p:attrName>ppt_x</p:attrName>
                                        </p:attrNameLst>
                                      </p:cBhvr>
                                      <p:tavLst>
                                        <p:tav tm="0">
                                          <p:val>
                                            <p:strVal val="#ppt_x"/>
                                          </p:val>
                                        </p:tav>
                                        <p:tav tm="100000">
                                          <p:val>
                                            <p:strVal val="#ppt_x"/>
                                          </p:val>
                                        </p:tav>
                                      </p:tavLst>
                                    </p:anim>
                                    <p:anim calcmode="lin" valueType="num">
                                      <p:cBhvr>
                                        <p:cTn id="17" dur="500" fill="hold"/>
                                        <p:tgtEl>
                                          <p:spTgt spid="48"/>
                                        </p:tgtEl>
                                        <p:attrNameLst>
                                          <p:attrName>ppt_y</p:attrName>
                                        </p:attrNameLst>
                                      </p:cBhvr>
                                      <p:tavLst>
                                        <p:tav tm="0">
                                          <p:val>
                                            <p:strVal val="#ppt_y+.1"/>
                                          </p:val>
                                        </p:tav>
                                        <p:tav tm="100000">
                                          <p:val>
                                            <p:strVal val="#ppt_y"/>
                                          </p:val>
                                        </p:tav>
                                      </p:tavLst>
                                    </p:anim>
                                  </p:childTnLst>
                                </p:cTn>
                              </p:par>
                            </p:childTnLst>
                          </p:cTn>
                        </p:par>
                        <p:par>
                          <p:cTn id="18" fill="hold">
                            <p:stCondLst>
                              <p:cond delay="1500"/>
                            </p:stCondLst>
                            <p:childTnLst>
                              <p:par>
                                <p:cTn id="19" presetID="22" presetClass="entr" presetSubtype="2" fill="hold" grpId="0" nodeType="afterEffect">
                                  <p:stCondLst>
                                    <p:cond delay="0"/>
                                  </p:stCondLst>
                                  <p:childTnLst>
                                    <p:set>
                                      <p:cBhvr>
                                        <p:cTn id="20" dur="1" fill="hold">
                                          <p:stCondLst>
                                            <p:cond delay="0"/>
                                          </p:stCondLst>
                                        </p:cTn>
                                        <p:tgtEl>
                                          <p:spTgt spid="45"/>
                                        </p:tgtEl>
                                        <p:attrNameLst>
                                          <p:attrName>style.visibility</p:attrName>
                                        </p:attrNameLst>
                                      </p:cBhvr>
                                      <p:to>
                                        <p:strVal val="visible"/>
                                      </p:to>
                                    </p:set>
                                    <p:animEffect transition="in" filter="wipe(right)">
                                      <p:cBhvr>
                                        <p:cTn id="21" dur="500"/>
                                        <p:tgtEl>
                                          <p:spTgt spid="45"/>
                                        </p:tgtEl>
                                      </p:cBhvr>
                                    </p:animEffect>
                                  </p:childTnLst>
                                </p:cTn>
                              </p:par>
                            </p:childTnLst>
                          </p:cTn>
                        </p:par>
                        <p:par>
                          <p:cTn id="22" fill="hold">
                            <p:stCondLst>
                              <p:cond delay="2000"/>
                            </p:stCondLst>
                            <p:childTnLst>
                              <p:par>
                                <p:cTn id="23" presetID="22" presetClass="entr" presetSubtype="2" fill="hold" grpId="0" nodeType="afterEffect">
                                  <p:stCondLst>
                                    <p:cond delay="0"/>
                                  </p:stCondLst>
                                  <p:childTnLst>
                                    <p:set>
                                      <p:cBhvr>
                                        <p:cTn id="24" dur="1" fill="hold">
                                          <p:stCondLst>
                                            <p:cond delay="0"/>
                                          </p:stCondLst>
                                        </p:cTn>
                                        <p:tgtEl>
                                          <p:spTgt spid="46"/>
                                        </p:tgtEl>
                                        <p:attrNameLst>
                                          <p:attrName>style.visibility</p:attrName>
                                        </p:attrNameLst>
                                      </p:cBhvr>
                                      <p:to>
                                        <p:strVal val="visible"/>
                                      </p:to>
                                    </p:set>
                                    <p:animEffect transition="in" filter="wipe(right)">
                                      <p:cBhvr>
                                        <p:cTn id="25" dur="500"/>
                                        <p:tgtEl>
                                          <p:spTgt spid="46"/>
                                        </p:tgtEl>
                                      </p:cBhvr>
                                    </p:animEffect>
                                  </p:childTnLst>
                                </p:cTn>
                              </p:par>
                            </p:childTnLst>
                          </p:cTn>
                        </p:par>
                        <p:par>
                          <p:cTn id="26" fill="hold">
                            <p:stCondLst>
                              <p:cond delay="2500"/>
                            </p:stCondLst>
                            <p:childTnLst>
                              <p:par>
                                <p:cTn id="27" presetID="22" presetClass="entr" presetSubtype="8" fill="hold" grpId="0" nodeType="afterEffect">
                                  <p:stCondLst>
                                    <p:cond delay="0"/>
                                  </p:stCondLst>
                                  <p:childTnLst>
                                    <p:set>
                                      <p:cBhvr>
                                        <p:cTn id="28" dur="1" fill="hold">
                                          <p:stCondLst>
                                            <p:cond delay="0"/>
                                          </p:stCondLst>
                                        </p:cTn>
                                        <p:tgtEl>
                                          <p:spTgt spid="47"/>
                                        </p:tgtEl>
                                        <p:attrNameLst>
                                          <p:attrName>style.visibility</p:attrName>
                                        </p:attrNameLst>
                                      </p:cBhvr>
                                      <p:to>
                                        <p:strVal val="visible"/>
                                      </p:to>
                                    </p:set>
                                    <p:animEffect transition="in" filter="wipe(left)">
                                      <p:cBhvr>
                                        <p:cTn id="29" dur="500"/>
                                        <p:tgtEl>
                                          <p:spTgt spid="47"/>
                                        </p:tgtEl>
                                      </p:cBhvr>
                                    </p:animEffect>
                                  </p:childTnLst>
                                </p:cTn>
                              </p:par>
                            </p:childTnLst>
                          </p:cTn>
                        </p:par>
                        <p:par>
                          <p:cTn id="30" fill="hold">
                            <p:stCondLst>
                              <p:cond delay="3000"/>
                            </p:stCondLst>
                            <p:childTnLst>
                              <p:par>
                                <p:cTn id="31" presetID="22" presetClass="entr" presetSubtype="8" fill="hold" grpId="0" nodeType="afterEffect">
                                  <p:stCondLst>
                                    <p:cond delay="0"/>
                                  </p:stCondLst>
                                  <p:childTnLst>
                                    <p:set>
                                      <p:cBhvr>
                                        <p:cTn id="32" dur="1" fill="hold">
                                          <p:stCondLst>
                                            <p:cond delay="0"/>
                                          </p:stCondLst>
                                        </p:cTn>
                                        <p:tgtEl>
                                          <p:spTgt spid="43"/>
                                        </p:tgtEl>
                                        <p:attrNameLst>
                                          <p:attrName>style.visibility</p:attrName>
                                        </p:attrNameLst>
                                      </p:cBhvr>
                                      <p:to>
                                        <p:strVal val="visible"/>
                                      </p:to>
                                    </p:set>
                                    <p:animEffect transition="in" filter="wipe(left)">
                                      <p:cBhvr>
                                        <p:cTn id="33" dur="500"/>
                                        <p:tgtEl>
                                          <p:spTgt spid="43"/>
                                        </p:tgtEl>
                                      </p:cBhvr>
                                    </p:animEffect>
                                  </p:childTnLst>
                                </p:cTn>
                              </p:par>
                            </p:childTnLst>
                          </p:cTn>
                        </p:par>
                        <p:par>
                          <p:cTn id="34" fill="hold">
                            <p:stCondLst>
                              <p:cond delay="3500"/>
                            </p:stCondLst>
                            <p:childTnLst>
                              <p:par>
                                <p:cTn id="35" presetID="22" presetClass="entr" presetSubtype="8" fill="hold" grpId="0" nodeType="afterEffect">
                                  <p:stCondLst>
                                    <p:cond delay="0"/>
                                  </p:stCondLst>
                                  <p:childTnLst>
                                    <p:set>
                                      <p:cBhvr>
                                        <p:cTn id="36" dur="1" fill="hold">
                                          <p:stCondLst>
                                            <p:cond delay="0"/>
                                          </p:stCondLst>
                                        </p:cTn>
                                        <p:tgtEl>
                                          <p:spTgt spid="44"/>
                                        </p:tgtEl>
                                        <p:attrNameLst>
                                          <p:attrName>style.visibility</p:attrName>
                                        </p:attrNameLst>
                                      </p:cBhvr>
                                      <p:to>
                                        <p:strVal val="visible"/>
                                      </p:to>
                                    </p:set>
                                    <p:animEffect transition="in" filter="wipe(left)">
                                      <p:cBhvr>
                                        <p:cTn id="37" dur="500"/>
                                        <p:tgtEl>
                                          <p:spTgt spid="44"/>
                                        </p:tgtEl>
                                      </p:cBhvr>
                                    </p:animEffect>
                                  </p:childTnLst>
                                </p:cTn>
                              </p:par>
                            </p:childTnLst>
                          </p:cTn>
                        </p:par>
                        <p:par>
                          <p:cTn id="38" fill="hold">
                            <p:stCondLst>
                              <p:cond delay="4000"/>
                            </p:stCondLst>
                            <p:childTnLst>
                              <p:par>
                                <p:cTn id="39" presetID="42" presetClass="entr" presetSubtype="0" fill="hold" grpId="0" nodeType="afterEffect">
                                  <p:stCondLst>
                                    <p:cond delay="0"/>
                                  </p:stCondLst>
                                  <p:childTnLst>
                                    <p:set>
                                      <p:cBhvr>
                                        <p:cTn id="40" dur="1" fill="hold">
                                          <p:stCondLst>
                                            <p:cond delay="0"/>
                                          </p:stCondLst>
                                        </p:cTn>
                                        <p:tgtEl>
                                          <p:spTgt spid="49"/>
                                        </p:tgtEl>
                                        <p:attrNameLst>
                                          <p:attrName>style.visibility</p:attrName>
                                        </p:attrNameLst>
                                      </p:cBhvr>
                                      <p:to>
                                        <p:strVal val="visible"/>
                                      </p:to>
                                    </p:set>
                                    <p:animEffect transition="in" filter="fade">
                                      <p:cBhvr>
                                        <p:cTn id="41" dur="500"/>
                                        <p:tgtEl>
                                          <p:spTgt spid="49"/>
                                        </p:tgtEl>
                                      </p:cBhvr>
                                    </p:animEffect>
                                    <p:anim calcmode="lin" valueType="num">
                                      <p:cBhvr>
                                        <p:cTn id="42" dur="500" fill="hold"/>
                                        <p:tgtEl>
                                          <p:spTgt spid="49"/>
                                        </p:tgtEl>
                                        <p:attrNameLst>
                                          <p:attrName>ppt_x</p:attrName>
                                        </p:attrNameLst>
                                      </p:cBhvr>
                                      <p:tavLst>
                                        <p:tav tm="0">
                                          <p:val>
                                            <p:strVal val="#ppt_x"/>
                                          </p:val>
                                        </p:tav>
                                        <p:tav tm="100000">
                                          <p:val>
                                            <p:strVal val="#ppt_x"/>
                                          </p:val>
                                        </p:tav>
                                      </p:tavLst>
                                    </p:anim>
                                    <p:anim calcmode="lin" valueType="num">
                                      <p:cBhvr>
                                        <p:cTn id="43" dur="500" fill="hold"/>
                                        <p:tgtEl>
                                          <p:spTgt spid="49"/>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2" grpId="0"/>
      <p:bldP spid="43" grpId="0"/>
      <p:bldP spid="44" grpId="0"/>
      <p:bldP spid="45" grpId="0"/>
      <p:bldP spid="46" grpId="0"/>
      <p:bldP spid="47" grpId="0"/>
      <p:bldP spid="48" grpId="0"/>
      <p:bldP spid="49" grpId="0"/>
    </p:bldLst>
  </p:timing>
</p:sld>
</file>

<file path=ppt/slides/slide6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25">
            <a:extLst>
              <a:ext uri="{FF2B5EF4-FFF2-40B4-BE49-F238E27FC236}">
                <a16:creationId xmlns:a16="http://schemas.microsoft.com/office/drawing/2014/main" id="{320E0781-A066-475D-8850-2F10428387E6}"/>
              </a:ext>
            </a:extLst>
          </p:cNvPr>
          <p:cNvSpPr>
            <a:spLocks/>
          </p:cNvSpPr>
          <p:nvPr/>
        </p:nvSpPr>
        <p:spPr bwMode="auto">
          <a:xfrm>
            <a:off x="3177" y="5665789"/>
            <a:ext cx="12188825" cy="1252539"/>
          </a:xfrm>
          <a:custGeom>
            <a:avLst/>
            <a:gdLst>
              <a:gd name="T0" fmla="*/ 5123 w 5128"/>
              <a:gd name="T1" fmla="*/ 239 h 529"/>
              <a:gd name="T2" fmla="*/ 4771 w 5128"/>
              <a:gd name="T3" fmla="*/ 227 h 529"/>
              <a:gd name="T4" fmla="*/ 4229 w 5128"/>
              <a:gd name="T5" fmla="*/ 280 h 529"/>
              <a:gd name="T6" fmla="*/ 3664 w 5128"/>
              <a:gd name="T7" fmla="*/ 379 h 529"/>
              <a:gd name="T8" fmla="*/ 3494 w 5128"/>
              <a:gd name="T9" fmla="*/ 402 h 529"/>
              <a:gd name="T10" fmla="*/ 3438 w 5128"/>
              <a:gd name="T11" fmla="*/ 410 h 529"/>
              <a:gd name="T12" fmla="*/ 3157 w 5128"/>
              <a:gd name="T13" fmla="*/ 429 h 529"/>
              <a:gd name="T14" fmla="*/ 2976 w 5128"/>
              <a:gd name="T15" fmla="*/ 412 h 529"/>
              <a:gd name="T16" fmla="*/ 2575 w 5128"/>
              <a:gd name="T17" fmla="*/ 367 h 529"/>
              <a:gd name="T18" fmla="*/ 2541 w 5128"/>
              <a:gd name="T19" fmla="*/ 362 h 529"/>
              <a:gd name="T20" fmla="*/ 2529 w 5128"/>
              <a:gd name="T21" fmla="*/ 361 h 529"/>
              <a:gd name="T22" fmla="*/ 2520 w 5128"/>
              <a:gd name="T23" fmla="*/ 360 h 529"/>
              <a:gd name="T24" fmla="*/ 2496 w 5128"/>
              <a:gd name="T25" fmla="*/ 356 h 529"/>
              <a:gd name="T26" fmla="*/ 2392 w 5128"/>
              <a:gd name="T27" fmla="*/ 342 h 529"/>
              <a:gd name="T28" fmla="*/ 2308 w 5128"/>
              <a:gd name="T29" fmla="*/ 331 h 529"/>
              <a:gd name="T30" fmla="*/ 2249 w 5128"/>
              <a:gd name="T31" fmla="*/ 322 h 529"/>
              <a:gd name="T32" fmla="*/ 2130 w 5128"/>
              <a:gd name="T33" fmla="*/ 298 h 529"/>
              <a:gd name="T34" fmla="*/ 1653 w 5128"/>
              <a:gd name="T35" fmla="*/ 153 h 529"/>
              <a:gd name="T36" fmla="*/ 445 w 5128"/>
              <a:gd name="T37" fmla="*/ 79 h 529"/>
              <a:gd name="T38" fmla="*/ 132 w 5128"/>
              <a:gd name="T39" fmla="*/ 176 h 529"/>
              <a:gd name="T40" fmla="*/ 109 w 5128"/>
              <a:gd name="T41" fmla="*/ 187 h 529"/>
              <a:gd name="T42" fmla="*/ 68 w 5128"/>
              <a:gd name="T43" fmla="*/ 201 h 529"/>
              <a:gd name="T44" fmla="*/ 0 w 5128"/>
              <a:gd name="T45" fmla="*/ 227 h 529"/>
              <a:gd name="T46" fmla="*/ 0 w 5128"/>
              <a:gd name="T47" fmla="*/ 529 h 529"/>
              <a:gd name="T48" fmla="*/ 5128 w 5128"/>
              <a:gd name="T49" fmla="*/ 529 h 529"/>
              <a:gd name="T50" fmla="*/ 5123 w 5128"/>
              <a:gd name="T51" fmla="*/ 239 h 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128" h="529">
                <a:moveTo>
                  <a:pt x="5123" y="239"/>
                </a:moveTo>
                <a:cubicBezTo>
                  <a:pt x="5006" y="229"/>
                  <a:pt x="4889" y="225"/>
                  <a:pt x="4771" y="227"/>
                </a:cubicBezTo>
                <a:cubicBezTo>
                  <a:pt x="4589" y="231"/>
                  <a:pt x="4408" y="251"/>
                  <a:pt x="4229" y="280"/>
                </a:cubicBezTo>
                <a:cubicBezTo>
                  <a:pt x="4041" y="311"/>
                  <a:pt x="3853" y="349"/>
                  <a:pt x="3664" y="379"/>
                </a:cubicBezTo>
                <a:cubicBezTo>
                  <a:pt x="3608" y="387"/>
                  <a:pt x="3551" y="395"/>
                  <a:pt x="3494" y="402"/>
                </a:cubicBezTo>
                <a:cubicBezTo>
                  <a:pt x="3475" y="405"/>
                  <a:pt x="3457" y="408"/>
                  <a:pt x="3438" y="410"/>
                </a:cubicBezTo>
                <a:cubicBezTo>
                  <a:pt x="3345" y="421"/>
                  <a:pt x="3251" y="427"/>
                  <a:pt x="3157" y="429"/>
                </a:cubicBezTo>
                <a:cubicBezTo>
                  <a:pt x="3097" y="424"/>
                  <a:pt x="3036" y="418"/>
                  <a:pt x="2976" y="412"/>
                </a:cubicBezTo>
                <a:cubicBezTo>
                  <a:pt x="2842" y="399"/>
                  <a:pt x="2708" y="384"/>
                  <a:pt x="2575" y="367"/>
                </a:cubicBezTo>
                <a:cubicBezTo>
                  <a:pt x="2564" y="365"/>
                  <a:pt x="2552" y="364"/>
                  <a:pt x="2541" y="362"/>
                </a:cubicBezTo>
                <a:cubicBezTo>
                  <a:pt x="2537" y="362"/>
                  <a:pt x="2533" y="361"/>
                  <a:pt x="2529" y="361"/>
                </a:cubicBezTo>
                <a:cubicBezTo>
                  <a:pt x="2525" y="360"/>
                  <a:pt x="2521" y="360"/>
                  <a:pt x="2520" y="360"/>
                </a:cubicBezTo>
                <a:cubicBezTo>
                  <a:pt x="2512" y="359"/>
                  <a:pt x="2504" y="358"/>
                  <a:pt x="2496" y="356"/>
                </a:cubicBezTo>
                <a:cubicBezTo>
                  <a:pt x="2461" y="352"/>
                  <a:pt x="2427" y="347"/>
                  <a:pt x="2392" y="342"/>
                </a:cubicBezTo>
                <a:cubicBezTo>
                  <a:pt x="2364" y="339"/>
                  <a:pt x="2336" y="335"/>
                  <a:pt x="2308" y="331"/>
                </a:cubicBezTo>
                <a:cubicBezTo>
                  <a:pt x="2288" y="328"/>
                  <a:pt x="2268" y="325"/>
                  <a:pt x="2249" y="322"/>
                </a:cubicBezTo>
                <a:cubicBezTo>
                  <a:pt x="2209" y="314"/>
                  <a:pt x="2170" y="306"/>
                  <a:pt x="2130" y="298"/>
                </a:cubicBezTo>
                <a:cubicBezTo>
                  <a:pt x="1973" y="245"/>
                  <a:pt x="1814" y="195"/>
                  <a:pt x="1653" y="153"/>
                </a:cubicBezTo>
                <a:cubicBezTo>
                  <a:pt x="1260" y="50"/>
                  <a:pt x="848" y="0"/>
                  <a:pt x="445" y="79"/>
                </a:cubicBezTo>
                <a:cubicBezTo>
                  <a:pt x="338" y="100"/>
                  <a:pt x="232" y="132"/>
                  <a:pt x="132" y="176"/>
                </a:cubicBezTo>
                <a:cubicBezTo>
                  <a:pt x="124" y="179"/>
                  <a:pt x="116" y="183"/>
                  <a:pt x="109" y="187"/>
                </a:cubicBezTo>
                <a:cubicBezTo>
                  <a:pt x="95" y="191"/>
                  <a:pt x="81" y="196"/>
                  <a:pt x="68" y="201"/>
                </a:cubicBezTo>
                <a:cubicBezTo>
                  <a:pt x="45" y="209"/>
                  <a:pt x="22" y="217"/>
                  <a:pt x="0" y="227"/>
                </a:cubicBezTo>
                <a:cubicBezTo>
                  <a:pt x="0" y="529"/>
                  <a:pt x="0" y="529"/>
                  <a:pt x="0" y="529"/>
                </a:cubicBezTo>
                <a:cubicBezTo>
                  <a:pt x="5128" y="529"/>
                  <a:pt x="5128" y="529"/>
                  <a:pt x="5128" y="529"/>
                </a:cubicBezTo>
                <a:lnTo>
                  <a:pt x="5123" y="239"/>
                </a:lnTo>
                <a:close/>
              </a:path>
            </a:pathLst>
          </a:custGeom>
          <a:solidFill>
            <a:schemeClr val="accent6">
              <a:lumMod val="60000"/>
              <a:lumOff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grpSp>
        <p:nvGrpSpPr>
          <p:cNvPr id="3" name="Group 1">
            <a:extLst>
              <a:ext uri="{FF2B5EF4-FFF2-40B4-BE49-F238E27FC236}">
                <a16:creationId xmlns:a16="http://schemas.microsoft.com/office/drawing/2014/main" id="{4D8B6F97-3280-441E-9B4C-DD12D714AA9A}"/>
              </a:ext>
            </a:extLst>
          </p:cNvPr>
          <p:cNvGrpSpPr/>
          <p:nvPr/>
        </p:nvGrpSpPr>
        <p:grpSpPr>
          <a:xfrm>
            <a:off x="2559052" y="1538290"/>
            <a:ext cx="6289675" cy="4445001"/>
            <a:chOff x="2559050" y="1538287"/>
            <a:chExt cx="6289675" cy="4445001"/>
          </a:xfrm>
        </p:grpSpPr>
        <p:sp>
          <p:nvSpPr>
            <p:cNvPr id="4" name="Freeform 17">
              <a:extLst>
                <a:ext uri="{FF2B5EF4-FFF2-40B4-BE49-F238E27FC236}">
                  <a16:creationId xmlns:a16="http://schemas.microsoft.com/office/drawing/2014/main" id="{993B3EE5-0387-4C3A-8755-D63EAFC08D62}"/>
                </a:ext>
              </a:extLst>
            </p:cNvPr>
            <p:cNvSpPr>
              <a:spLocks/>
            </p:cNvSpPr>
            <p:nvPr/>
          </p:nvSpPr>
          <p:spPr bwMode="auto">
            <a:xfrm>
              <a:off x="5038725" y="1538287"/>
              <a:ext cx="1368425" cy="1890713"/>
            </a:xfrm>
            <a:custGeom>
              <a:avLst/>
              <a:gdLst>
                <a:gd name="T0" fmla="*/ 565 w 577"/>
                <a:gd name="T1" fmla="*/ 326 h 798"/>
                <a:gd name="T2" fmla="*/ 482 w 577"/>
                <a:gd name="T3" fmla="*/ 177 h 798"/>
                <a:gd name="T4" fmla="*/ 305 w 577"/>
                <a:gd name="T5" fmla="*/ 3 h 798"/>
                <a:gd name="T6" fmla="*/ 296 w 577"/>
                <a:gd name="T7" fmla="*/ 1 h 798"/>
                <a:gd name="T8" fmla="*/ 291 w 577"/>
                <a:gd name="T9" fmla="*/ 1 h 798"/>
                <a:gd name="T10" fmla="*/ 148 w 577"/>
                <a:gd name="T11" fmla="*/ 125 h 798"/>
                <a:gd name="T12" fmla="*/ 43 w 577"/>
                <a:gd name="T13" fmla="*/ 299 h 798"/>
                <a:gd name="T14" fmla="*/ 150 w 577"/>
                <a:gd name="T15" fmla="*/ 662 h 798"/>
                <a:gd name="T16" fmla="*/ 339 w 577"/>
                <a:gd name="T17" fmla="*/ 796 h 798"/>
                <a:gd name="T18" fmla="*/ 345 w 577"/>
                <a:gd name="T19" fmla="*/ 798 h 798"/>
                <a:gd name="T20" fmla="*/ 351 w 577"/>
                <a:gd name="T21" fmla="*/ 795 h 798"/>
                <a:gd name="T22" fmla="*/ 559 w 577"/>
                <a:gd name="T23" fmla="*/ 494 h 798"/>
                <a:gd name="T24" fmla="*/ 565 w 577"/>
                <a:gd name="T25" fmla="*/ 326 h 7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77" h="798">
                  <a:moveTo>
                    <a:pt x="565" y="326"/>
                  </a:moveTo>
                  <a:cubicBezTo>
                    <a:pt x="553" y="267"/>
                    <a:pt x="523" y="219"/>
                    <a:pt x="482" y="177"/>
                  </a:cubicBezTo>
                  <a:cubicBezTo>
                    <a:pt x="425" y="118"/>
                    <a:pt x="364" y="61"/>
                    <a:pt x="305" y="3"/>
                  </a:cubicBezTo>
                  <a:cubicBezTo>
                    <a:pt x="302" y="0"/>
                    <a:pt x="299" y="0"/>
                    <a:pt x="296" y="1"/>
                  </a:cubicBezTo>
                  <a:cubicBezTo>
                    <a:pt x="295" y="0"/>
                    <a:pt x="293" y="1"/>
                    <a:pt x="291" y="1"/>
                  </a:cubicBezTo>
                  <a:cubicBezTo>
                    <a:pt x="229" y="22"/>
                    <a:pt x="188" y="75"/>
                    <a:pt x="148" y="125"/>
                  </a:cubicBezTo>
                  <a:cubicBezTo>
                    <a:pt x="105" y="178"/>
                    <a:pt x="65" y="234"/>
                    <a:pt x="43" y="299"/>
                  </a:cubicBezTo>
                  <a:cubicBezTo>
                    <a:pt x="0" y="430"/>
                    <a:pt x="57" y="568"/>
                    <a:pt x="150" y="662"/>
                  </a:cubicBezTo>
                  <a:cubicBezTo>
                    <a:pt x="205" y="717"/>
                    <a:pt x="271" y="760"/>
                    <a:pt x="339" y="796"/>
                  </a:cubicBezTo>
                  <a:cubicBezTo>
                    <a:pt x="341" y="798"/>
                    <a:pt x="343" y="798"/>
                    <a:pt x="345" y="798"/>
                  </a:cubicBezTo>
                  <a:cubicBezTo>
                    <a:pt x="347" y="797"/>
                    <a:pt x="349" y="797"/>
                    <a:pt x="351" y="795"/>
                  </a:cubicBezTo>
                  <a:cubicBezTo>
                    <a:pt x="440" y="712"/>
                    <a:pt x="526" y="614"/>
                    <a:pt x="559" y="494"/>
                  </a:cubicBezTo>
                  <a:cubicBezTo>
                    <a:pt x="574" y="440"/>
                    <a:pt x="577" y="381"/>
                    <a:pt x="565" y="326"/>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5" name="Freeform 18">
              <a:extLst>
                <a:ext uri="{FF2B5EF4-FFF2-40B4-BE49-F238E27FC236}">
                  <a16:creationId xmlns:a16="http://schemas.microsoft.com/office/drawing/2014/main" id="{FE8E0BFC-1EBD-4B6A-A667-E348B9BB3AC8}"/>
                </a:ext>
              </a:extLst>
            </p:cNvPr>
            <p:cNvSpPr>
              <a:spLocks/>
            </p:cNvSpPr>
            <p:nvPr/>
          </p:nvSpPr>
          <p:spPr bwMode="auto">
            <a:xfrm>
              <a:off x="6407150" y="2405063"/>
              <a:ext cx="1349375" cy="1554163"/>
            </a:xfrm>
            <a:custGeom>
              <a:avLst/>
              <a:gdLst>
                <a:gd name="T0" fmla="*/ 537 w 569"/>
                <a:gd name="T1" fmla="*/ 259 h 656"/>
                <a:gd name="T2" fmla="*/ 472 w 569"/>
                <a:gd name="T3" fmla="*/ 22 h 656"/>
                <a:gd name="T4" fmla="*/ 463 w 569"/>
                <a:gd name="T5" fmla="*/ 10 h 656"/>
                <a:gd name="T6" fmla="*/ 448 w 569"/>
                <a:gd name="T7" fmla="*/ 4 h 656"/>
                <a:gd name="T8" fmla="*/ 249 w 569"/>
                <a:gd name="T9" fmla="*/ 110 h 656"/>
                <a:gd name="T10" fmla="*/ 92 w 569"/>
                <a:gd name="T11" fmla="*/ 237 h 656"/>
                <a:gd name="T12" fmla="*/ 21 w 569"/>
                <a:gd name="T13" fmla="*/ 408 h 656"/>
                <a:gd name="T14" fmla="*/ 17 w 569"/>
                <a:gd name="T15" fmla="*/ 522 h 656"/>
                <a:gd name="T16" fmla="*/ 1 w 569"/>
                <a:gd name="T17" fmla="*/ 641 h 656"/>
                <a:gd name="T18" fmla="*/ 11 w 569"/>
                <a:gd name="T19" fmla="*/ 653 h 656"/>
                <a:gd name="T20" fmla="*/ 220 w 569"/>
                <a:gd name="T21" fmla="*/ 605 h 656"/>
                <a:gd name="T22" fmla="*/ 332 w 569"/>
                <a:gd name="T23" fmla="*/ 568 h 656"/>
                <a:gd name="T24" fmla="*/ 429 w 569"/>
                <a:gd name="T25" fmla="*/ 533 h 656"/>
                <a:gd name="T26" fmla="*/ 537 w 569"/>
                <a:gd name="T27" fmla="*/ 259 h 6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69" h="656">
                  <a:moveTo>
                    <a:pt x="537" y="259"/>
                  </a:moveTo>
                  <a:cubicBezTo>
                    <a:pt x="513" y="181"/>
                    <a:pt x="454" y="107"/>
                    <a:pt x="472" y="22"/>
                  </a:cubicBezTo>
                  <a:cubicBezTo>
                    <a:pt x="474" y="15"/>
                    <a:pt x="468" y="10"/>
                    <a:pt x="463" y="10"/>
                  </a:cubicBezTo>
                  <a:cubicBezTo>
                    <a:pt x="461" y="4"/>
                    <a:pt x="455" y="0"/>
                    <a:pt x="448" y="4"/>
                  </a:cubicBezTo>
                  <a:cubicBezTo>
                    <a:pt x="382" y="39"/>
                    <a:pt x="314" y="73"/>
                    <a:pt x="249" y="110"/>
                  </a:cubicBezTo>
                  <a:cubicBezTo>
                    <a:pt x="191" y="144"/>
                    <a:pt x="135" y="184"/>
                    <a:pt x="92" y="237"/>
                  </a:cubicBezTo>
                  <a:cubicBezTo>
                    <a:pt x="51" y="287"/>
                    <a:pt x="27" y="344"/>
                    <a:pt x="21" y="408"/>
                  </a:cubicBezTo>
                  <a:cubicBezTo>
                    <a:pt x="17" y="446"/>
                    <a:pt x="19" y="484"/>
                    <a:pt x="17" y="522"/>
                  </a:cubicBezTo>
                  <a:cubicBezTo>
                    <a:pt x="16" y="562"/>
                    <a:pt x="9" y="601"/>
                    <a:pt x="1" y="641"/>
                  </a:cubicBezTo>
                  <a:cubicBezTo>
                    <a:pt x="0" y="647"/>
                    <a:pt x="4" y="653"/>
                    <a:pt x="11" y="653"/>
                  </a:cubicBezTo>
                  <a:cubicBezTo>
                    <a:pt x="83" y="656"/>
                    <a:pt x="152" y="627"/>
                    <a:pt x="220" y="605"/>
                  </a:cubicBezTo>
                  <a:cubicBezTo>
                    <a:pt x="257" y="592"/>
                    <a:pt x="295" y="580"/>
                    <a:pt x="332" y="568"/>
                  </a:cubicBezTo>
                  <a:cubicBezTo>
                    <a:pt x="365" y="557"/>
                    <a:pt x="398" y="547"/>
                    <a:pt x="429" y="533"/>
                  </a:cubicBezTo>
                  <a:cubicBezTo>
                    <a:pt x="530" y="485"/>
                    <a:pt x="569" y="361"/>
                    <a:pt x="537" y="259"/>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6" name="Freeform 19">
              <a:extLst>
                <a:ext uri="{FF2B5EF4-FFF2-40B4-BE49-F238E27FC236}">
                  <a16:creationId xmlns:a16="http://schemas.microsoft.com/office/drawing/2014/main" id="{3B832592-4D8A-46C7-84A1-FB69CD696A3C}"/>
                </a:ext>
              </a:extLst>
            </p:cNvPr>
            <p:cNvSpPr>
              <a:spLocks/>
            </p:cNvSpPr>
            <p:nvPr/>
          </p:nvSpPr>
          <p:spPr bwMode="auto">
            <a:xfrm>
              <a:off x="6781800" y="3868738"/>
              <a:ext cx="2066925" cy="1019175"/>
            </a:xfrm>
            <a:custGeom>
              <a:avLst/>
              <a:gdLst>
                <a:gd name="T0" fmla="*/ 866 w 871"/>
                <a:gd name="T1" fmla="*/ 133 h 430"/>
                <a:gd name="T2" fmla="*/ 860 w 871"/>
                <a:gd name="T3" fmla="*/ 120 h 430"/>
                <a:gd name="T4" fmla="*/ 632 w 871"/>
                <a:gd name="T5" fmla="*/ 39 h 430"/>
                <a:gd name="T6" fmla="*/ 408 w 871"/>
                <a:gd name="T7" fmla="*/ 10 h 430"/>
                <a:gd name="T8" fmla="*/ 215 w 871"/>
                <a:gd name="T9" fmla="*/ 91 h 430"/>
                <a:gd name="T10" fmla="*/ 6 w 871"/>
                <a:gd name="T11" fmla="*/ 219 h 430"/>
                <a:gd name="T12" fmla="*/ 4 w 871"/>
                <a:gd name="T13" fmla="*/ 235 h 430"/>
                <a:gd name="T14" fmla="*/ 189 w 871"/>
                <a:gd name="T15" fmla="*/ 342 h 430"/>
                <a:gd name="T16" fmla="*/ 401 w 871"/>
                <a:gd name="T17" fmla="*/ 415 h 430"/>
                <a:gd name="T18" fmla="*/ 776 w 871"/>
                <a:gd name="T19" fmla="*/ 315 h 430"/>
                <a:gd name="T20" fmla="*/ 870 w 871"/>
                <a:gd name="T21" fmla="*/ 144 h 430"/>
                <a:gd name="T22" fmla="*/ 866 w 871"/>
                <a:gd name="T23" fmla="*/ 133 h 4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71" h="430">
                  <a:moveTo>
                    <a:pt x="866" y="133"/>
                  </a:moveTo>
                  <a:cubicBezTo>
                    <a:pt x="868" y="128"/>
                    <a:pt x="866" y="122"/>
                    <a:pt x="860" y="120"/>
                  </a:cubicBezTo>
                  <a:cubicBezTo>
                    <a:pt x="784" y="92"/>
                    <a:pt x="709" y="63"/>
                    <a:pt x="632" y="39"/>
                  </a:cubicBezTo>
                  <a:cubicBezTo>
                    <a:pt x="560" y="16"/>
                    <a:pt x="484" y="0"/>
                    <a:pt x="408" y="10"/>
                  </a:cubicBezTo>
                  <a:cubicBezTo>
                    <a:pt x="337" y="20"/>
                    <a:pt x="275" y="54"/>
                    <a:pt x="215" y="91"/>
                  </a:cubicBezTo>
                  <a:cubicBezTo>
                    <a:pt x="145" y="133"/>
                    <a:pt x="76" y="176"/>
                    <a:pt x="6" y="219"/>
                  </a:cubicBezTo>
                  <a:cubicBezTo>
                    <a:pt x="1" y="222"/>
                    <a:pt x="0" y="230"/>
                    <a:pt x="4" y="235"/>
                  </a:cubicBezTo>
                  <a:cubicBezTo>
                    <a:pt x="55" y="285"/>
                    <a:pt x="124" y="313"/>
                    <a:pt x="189" y="342"/>
                  </a:cubicBezTo>
                  <a:cubicBezTo>
                    <a:pt x="257" y="372"/>
                    <a:pt x="326" y="406"/>
                    <a:pt x="401" y="415"/>
                  </a:cubicBezTo>
                  <a:cubicBezTo>
                    <a:pt x="535" y="430"/>
                    <a:pt x="677" y="414"/>
                    <a:pt x="776" y="315"/>
                  </a:cubicBezTo>
                  <a:cubicBezTo>
                    <a:pt x="823" y="268"/>
                    <a:pt x="856" y="209"/>
                    <a:pt x="870" y="144"/>
                  </a:cubicBezTo>
                  <a:cubicBezTo>
                    <a:pt x="871" y="139"/>
                    <a:pt x="869" y="135"/>
                    <a:pt x="866" y="133"/>
                  </a:cubicBez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7" name="Freeform 20">
              <a:extLst>
                <a:ext uri="{FF2B5EF4-FFF2-40B4-BE49-F238E27FC236}">
                  <a16:creationId xmlns:a16="http://schemas.microsoft.com/office/drawing/2014/main" id="{4D7386F6-EE3B-4841-B358-896BF4273170}"/>
                </a:ext>
              </a:extLst>
            </p:cNvPr>
            <p:cNvSpPr>
              <a:spLocks/>
            </p:cNvSpPr>
            <p:nvPr/>
          </p:nvSpPr>
          <p:spPr bwMode="auto">
            <a:xfrm>
              <a:off x="6445250" y="4675188"/>
              <a:ext cx="1138238" cy="1308100"/>
            </a:xfrm>
            <a:custGeom>
              <a:avLst/>
              <a:gdLst>
                <a:gd name="T0" fmla="*/ 475 w 480"/>
                <a:gd name="T1" fmla="*/ 338 h 552"/>
                <a:gd name="T2" fmla="*/ 333 w 480"/>
                <a:gd name="T3" fmla="*/ 116 h 552"/>
                <a:gd name="T4" fmla="*/ 184 w 480"/>
                <a:gd name="T5" fmla="*/ 80 h 552"/>
                <a:gd name="T6" fmla="*/ 46 w 480"/>
                <a:gd name="T7" fmla="*/ 11 h 552"/>
                <a:gd name="T8" fmla="*/ 26 w 480"/>
                <a:gd name="T9" fmla="*/ 14 h 552"/>
                <a:gd name="T10" fmla="*/ 5 w 480"/>
                <a:gd name="T11" fmla="*/ 122 h 552"/>
                <a:gd name="T12" fmla="*/ 5 w 480"/>
                <a:gd name="T13" fmla="*/ 237 h 552"/>
                <a:gd name="T14" fmla="*/ 95 w 480"/>
                <a:gd name="T15" fmla="*/ 406 h 552"/>
                <a:gd name="T16" fmla="*/ 427 w 480"/>
                <a:gd name="T17" fmla="*/ 547 h 552"/>
                <a:gd name="T18" fmla="*/ 444 w 480"/>
                <a:gd name="T19" fmla="*/ 543 h 552"/>
                <a:gd name="T20" fmla="*/ 475 w 480"/>
                <a:gd name="T21" fmla="*/ 338 h 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80" h="552">
                  <a:moveTo>
                    <a:pt x="475" y="338"/>
                  </a:moveTo>
                  <a:cubicBezTo>
                    <a:pt x="467" y="244"/>
                    <a:pt x="421" y="157"/>
                    <a:pt x="333" y="116"/>
                  </a:cubicBezTo>
                  <a:cubicBezTo>
                    <a:pt x="286" y="94"/>
                    <a:pt x="235" y="87"/>
                    <a:pt x="184" y="80"/>
                  </a:cubicBezTo>
                  <a:cubicBezTo>
                    <a:pt x="137" y="73"/>
                    <a:pt x="64" y="63"/>
                    <a:pt x="46" y="11"/>
                  </a:cubicBezTo>
                  <a:cubicBezTo>
                    <a:pt x="42" y="0"/>
                    <a:pt x="27" y="3"/>
                    <a:pt x="26" y="14"/>
                  </a:cubicBezTo>
                  <a:cubicBezTo>
                    <a:pt x="22" y="50"/>
                    <a:pt x="10" y="86"/>
                    <a:pt x="5" y="122"/>
                  </a:cubicBezTo>
                  <a:cubicBezTo>
                    <a:pt x="1" y="160"/>
                    <a:pt x="0" y="199"/>
                    <a:pt x="5" y="237"/>
                  </a:cubicBezTo>
                  <a:cubicBezTo>
                    <a:pt x="15" y="301"/>
                    <a:pt x="44" y="364"/>
                    <a:pt x="95" y="406"/>
                  </a:cubicBezTo>
                  <a:cubicBezTo>
                    <a:pt x="192" y="483"/>
                    <a:pt x="334" y="464"/>
                    <a:pt x="427" y="547"/>
                  </a:cubicBezTo>
                  <a:cubicBezTo>
                    <a:pt x="433" y="552"/>
                    <a:pt x="441" y="550"/>
                    <a:pt x="444" y="543"/>
                  </a:cubicBezTo>
                  <a:cubicBezTo>
                    <a:pt x="465" y="477"/>
                    <a:pt x="480" y="408"/>
                    <a:pt x="475" y="338"/>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8" name="Freeform 21">
              <a:extLst>
                <a:ext uri="{FF2B5EF4-FFF2-40B4-BE49-F238E27FC236}">
                  <a16:creationId xmlns:a16="http://schemas.microsoft.com/office/drawing/2014/main" id="{8D64A5D1-2DA5-4818-974E-807885B082A8}"/>
                </a:ext>
              </a:extLst>
            </p:cNvPr>
            <p:cNvSpPr>
              <a:spLocks/>
            </p:cNvSpPr>
            <p:nvPr/>
          </p:nvSpPr>
          <p:spPr bwMode="auto">
            <a:xfrm>
              <a:off x="3649663" y="2165350"/>
              <a:ext cx="1350963" cy="1554163"/>
            </a:xfrm>
            <a:custGeom>
              <a:avLst/>
              <a:gdLst>
                <a:gd name="T0" fmla="*/ 32 w 569"/>
                <a:gd name="T1" fmla="*/ 258 h 656"/>
                <a:gd name="T2" fmla="*/ 97 w 569"/>
                <a:gd name="T3" fmla="*/ 22 h 656"/>
                <a:gd name="T4" fmla="*/ 106 w 569"/>
                <a:gd name="T5" fmla="*/ 9 h 656"/>
                <a:gd name="T6" fmla="*/ 121 w 569"/>
                <a:gd name="T7" fmla="*/ 3 h 656"/>
                <a:gd name="T8" fmla="*/ 320 w 569"/>
                <a:gd name="T9" fmla="*/ 110 h 656"/>
                <a:gd name="T10" fmla="*/ 477 w 569"/>
                <a:gd name="T11" fmla="*/ 236 h 656"/>
                <a:gd name="T12" fmla="*/ 548 w 569"/>
                <a:gd name="T13" fmla="*/ 407 h 656"/>
                <a:gd name="T14" fmla="*/ 552 w 569"/>
                <a:gd name="T15" fmla="*/ 521 h 656"/>
                <a:gd name="T16" fmla="*/ 568 w 569"/>
                <a:gd name="T17" fmla="*/ 640 h 656"/>
                <a:gd name="T18" fmla="*/ 558 w 569"/>
                <a:gd name="T19" fmla="*/ 653 h 656"/>
                <a:gd name="T20" fmla="*/ 349 w 569"/>
                <a:gd name="T21" fmla="*/ 604 h 656"/>
                <a:gd name="T22" fmla="*/ 237 w 569"/>
                <a:gd name="T23" fmla="*/ 567 h 656"/>
                <a:gd name="T24" fmla="*/ 140 w 569"/>
                <a:gd name="T25" fmla="*/ 532 h 656"/>
                <a:gd name="T26" fmla="*/ 32 w 569"/>
                <a:gd name="T27" fmla="*/ 258 h 6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69" h="656">
                  <a:moveTo>
                    <a:pt x="32" y="258"/>
                  </a:moveTo>
                  <a:cubicBezTo>
                    <a:pt x="57" y="181"/>
                    <a:pt x="115" y="107"/>
                    <a:pt x="97" y="22"/>
                  </a:cubicBezTo>
                  <a:cubicBezTo>
                    <a:pt x="95" y="15"/>
                    <a:pt x="101" y="10"/>
                    <a:pt x="106" y="9"/>
                  </a:cubicBezTo>
                  <a:cubicBezTo>
                    <a:pt x="108" y="4"/>
                    <a:pt x="114" y="0"/>
                    <a:pt x="121" y="3"/>
                  </a:cubicBezTo>
                  <a:cubicBezTo>
                    <a:pt x="187" y="38"/>
                    <a:pt x="255" y="72"/>
                    <a:pt x="320" y="110"/>
                  </a:cubicBezTo>
                  <a:cubicBezTo>
                    <a:pt x="378" y="144"/>
                    <a:pt x="434" y="184"/>
                    <a:pt x="477" y="236"/>
                  </a:cubicBezTo>
                  <a:cubicBezTo>
                    <a:pt x="518" y="286"/>
                    <a:pt x="542" y="343"/>
                    <a:pt x="548" y="407"/>
                  </a:cubicBezTo>
                  <a:cubicBezTo>
                    <a:pt x="552" y="445"/>
                    <a:pt x="550" y="483"/>
                    <a:pt x="552" y="521"/>
                  </a:cubicBezTo>
                  <a:cubicBezTo>
                    <a:pt x="553" y="562"/>
                    <a:pt x="560" y="601"/>
                    <a:pt x="568" y="640"/>
                  </a:cubicBezTo>
                  <a:cubicBezTo>
                    <a:pt x="569" y="647"/>
                    <a:pt x="565" y="653"/>
                    <a:pt x="558" y="653"/>
                  </a:cubicBezTo>
                  <a:cubicBezTo>
                    <a:pt x="486" y="656"/>
                    <a:pt x="417" y="627"/>
                    <a:pt x="349" y="604"/>
                  </a:cubicBezTo>
                  <a:cubicBezTo>
                    <a:pt x="312" y="592"/>
                    <a:pt x="274" y="579"/>
                    <a:pt x="237" y="567"/>
                  </a:cubicBezTo>
                  <a:cubicBezTo>
                    <a:pt x="204" y="556"/>
                    <a:pt x="171" y="547"/>
                    <a:pt x="140" y="532"/>
                  </a:cubicBezTo>
                  <a:cubicBezTo>
                    <a:pt x="39" y="484"/>
                    <a:pt x="0" y="361"/>
                    <a:pt x="32" y="258"/>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9" name="Freeform 22">
              <a:extLst>
                <a:ext uri="{FF2B5EF4-FFF2-40B4-BE49-F238E27FC236}">
                  <a16:creationId xmlns:a16="http://schemas.microsoft.com/office/drawing/2014/main" id="{3126671B-4373-4CB9-AD80-43D16A1160E7}"/>
                </a:ext>
              </a:extLst>
            </p:cNvPr>
            <p:cNvSpPr>
              <a:spLocks/>
            </p:cNvSpPr>
            <p:nvPr/>
          </p:nvSpPr>
          <p:spPr bwMode="auto">
            <a:xfrm>
              <a:off x="2559050" y="3630613"/>
              <a:ext cx="2066925" cy="1017588"/>
            </a:xfrm>
            <a:custGeom>
              <a:avLst/>
              <a:gdLst>
                <a:gd name="T0" fmla="*/ 5 w 871"/>
                <a:gd name="T1" fmla="*/ 133 h 430"/>
                <a:gd name="T2" fmla="*/ 11 w 871"/>
                <a:gd name="T3" fmla="*/ 119 h 430"/>
                <a:gd name="T4" fmla="*/ 239 w 871"/>
                <a:gd name="T5" fmla="*/ 39 h 430"/>
                <a:gd name="T6" fmla="*/ 463 w 871"/>
                <a:gd name="T7" fmla="*/ 10 h 430"/>
                <a:gd name="T8" fmla="*/ 656 w 871"/>
                <a:gd name="T9" fmla="*/ 90 h 430"/>
                <a:gd name="T10" fmla="*/ 865 w 871"/>
                <a:gd name="T11" fmla="*/ 219 h 430"/>
                <a:gd name="T12" fmla="*/ 867 w 871"/>
                <a:gd name="T13" fmla="*/ 234 h 430"/>
                <a:gd name="T14" fmla="*/ 682 w 871"/>
                <a:gd name="T15" fmla="*/ 341 h 430"/>
                <a:gd name="T16" fmla="*/ 470 w 871"/>
                <a:gd name="T17" fmla="*/ 414 h 430"/>
                <a:gd name="T18" fmla="*/ 95 w 871"/>
                <a:gd name="T19" fmla="*/ 315 h 430"/>
                <a:gd name="T20" fmla="*/ 1 w 871"/>
                <a:gd name="T21" fmla="*/ 144 h 430"/>
                <a:gd name="T22" fmla="*/ 5 w 871"/>
                <a:gd name="T23" fmla="*/ 133 h 4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71" h="430">
                  <a:moveTo>
                    <a:pt x="5" y="133"/>
                  </a:moveTo>
                  <a:cubicBezTo>
                    <a:pt x="4" y="128"/>
                    <a:pt x="5" y="122"/>
                    <a:pt x="11" y="119"/>
                  </a:cubicBezTo>
                  <a:cubicBezTo>
                    <a:pt x="87" y="92"/>
                    <a:pt x="162" y="63"/>
                    <a:pt x="239" y="39"/>
                  </a:cubicBezTo>
                  <a:cubicBezTo>
                    <a:pt x="311" y="16"/>
                    <a:pt x="387" y="0"/>
                    <a:pt x="463" y="10"/>
                  </a:cubicBezTo>
                  <a:cubicBezTo>
                    <a:pt x="534" y="19"/>
                    <a:pt x="596" y="54"/>
                    <a:pt x="656" y="90"/>
                  </a:cubicBezTo>
                  <a:cubicBezTo>
                    <a:pt x="726" y="133"/>
                    <a:pt x="795" y="176"/>
                    <a:pt x="865" y="219"/>
                  </a:cubicBezTo>
                  <a:cubicBezTo>
                    <a:pt x="870" y="222"/>
                    <a:pt x="871" y="230"/>
                    <a:pt x="867" y="234"/>
                  </a:cubicBezTo>
                  <a:cubicBezTo>
                    <a:pt x="816" y="285"/>
                    <a:pt x="747" y="313"/>
                    <a:pt x="682" y="341"/>
                  </a:cubicBezTo>
                  <a:cubicBezTo>
                    <a:pt x="614" y="372"/>
                    <a:pt x="545" y="405"/>
                    <a:pt x="470" y="414"/>
                  </a:cubicBezTo>
                  <a:cubicBezTo>
                    <a:pt x="336" y="430"/>
                    <a:pt x="194" y="414"/>
                    <a:pt x="95" y="315"/>
                  </a:cubicBezTo>
                  <a:cubicBezTo>
                    <a:pt x="48" y="268"/>
                    <a:pt x="15" y="208"/>
                    <a:pt x="1" y="144"/>
                  </a:cubicBezTo>
                  <a:cubicBezTo>
                    <a:pt x="0" y="139"/>
                    <a:pt x="2" y="135"/>
                    <a:pt x="5" y="133"/>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10" name="Freeform 23">
              <a:extLst>
                <a:ext uri="{FF2B5EF4-FFF2-40B4-BE49-F238E27FC236}">
                  <a16:creationId xmlns:a16="http://schemas.microsoft.com/office/drawing/2014/main" id="{E009A53F-A68D-411E-A934-8A0EFB7BDA3E}"/>
                </a:ext>
              </a:extLst>
            </p:cNvPr>
            <p:cNvSpPr>
              <a:spLocks/>
            </p:cNvSpPr>
            <p:nvPr/>
          </p:nvSpPr>
          <p:spPr bwMode="auto">
            <a:xfrm>
              <a:off x="3822700" y="4435475"/>
              <a:ext cx="1139825" cy="1308100"/>
            </a:xfrm>
            <a:custGeom>
              <a:avLst/>
              <a:gdLst>
                <a:gd name="T0" fmla="*/ 5 w 480"/>
                <a:gd name="T1" fmla="*/ 338 h 552"/>
                <a:gd name="T2" fmla="*/ 147 w 480"/>
                <a:gd name="T3" fmla="*/ 116 h 552"/>
                <a:gd name="T4" fmla="*/ 296 w 480"/>
                <a:gd name="T5" fmla="*/ 80 h 552"/>
                <a:gd name="T6" fmla="*/ 435 w 480"/>
                <a:gd name="T7" fmla="*/ 11 h 552"/>
                <a:gd name="T8" fmla="*/ 454 w 480"/>
                <a:gd name="T9" fmla="*/ 13 h 552"/>
                <a:gd name="T10" fmla="*/ 475 w 480"/>
                <a:gd name="T11" fmla="*/ 121 h 552"/>
                <a:gd name="T12" fmla="*/ 475 w 480"/>
                <a:gd name="T13" fmla="*/ 237 h 552"/>
                <a:gd name="T14" fmla="*/ 385 w 480"/>
                <a:gd name="T15" fmla="*/ 405 h 552"/>
                <a:gd name="T16" fmla="*/ 53 w 480"/>
                <a:gd name="T17" fmla="*/ 547 h 552"/>
                <a:gd name="T18" fmla="*/ 37 w 480"/>
                <a:gd name="T19" fmla="*/ 542 h 552"/>
                <a:gd name="T20" fmla="*/ 5 w 480"/>
                <a:gd name="T21" fmla="*/ 338 h 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80" h="552">
                  <a:moveTo>
                    <a:pt x="5" y="338"/>
                  </a:moveTo>
                  <a:cubicBezTo>
                    <a:pt x="13" y="244"/>
                    <a:pt x="59" y="157"/>
                    <a:pt x="147" y="116"/>
                  </a:cubicBezTo>
                  <a:cubicBezTo>
                    <a:pt x="194" y="94"/>
                    <a:pt x="245" y="87"/>
                    <a:pt x="296" y="80"/>
                  </a:cubicBezTo>
                  <a:cubicBezTo>
                    <a:pt x="343" y="73"/>
                    <a:pt x="416" y="63"/>
                    <a:pt x="435" y="11"/>
                  </a:cubicBezTo>
                  <a:cubicBezTo>
                    <a:pt x="438" y="0"/>
                    <a:pt x="453" y="2"/>
                    <a:pt x="454" y="13"/>
                  </a:cubicBezTo>
                  <a:cubicBezTo>
                    <a:pt x="458" y="50"/>
                    <a:pt x="470" y="85"/>
                    <a:pt x="475" y="121"/>
                  </a:cubicBezTo>
                  <a:cubicBezTo>
                    <a:pt x="479" y="160"/>
                    <a:pt x="480" y="199"/>
                    <a:pt x="475" y="237"/>
                  </a:cubicBezTo>
                  <a:cubicBezTo>
                    <a:pt x="465" y="301"/>
                    <a:pt x="436" y="364"/>
                    <a:pt x="385" y="405"/>
                  </a:cubicBezTo>
                  <a:cubicBezTo>
                    <a:pt x="288" y="483"/>
                    <a:pt x="146" y="464"/>
                    <a:pt x="53" y="547"/>
                  </a:cubicBezTo>
                  <a:cubicBezTo>
                    <a:pt x="48" y="552"/>
                    <a:pt x="39" y="550"/>
                    <a:pt x="37" y="542"/>
                  </a:cubicBezTo>
                  <a:cubicBezTo>
                    <a:pt x="15" y="476"/>
                    <a:pt x="0" y="408"/>
                    <a:pt x="5" y="338"/>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grpSp>
      <p:sp>
        <p:nvSpPr>
          <p:cNvPr id="11" name="Freeform 24">
            <a:extLst>
              <a:ext uri="{FF2B5EF4-FFF2-40B4-BE49-F238E27FC236}">
                <a16:creationId xmlns:a16="http://schemas.microsoft.com/office/drawing/2014/main" id="{146F2A61-B6DE-4CE3-8F31-C7D4E4CEF1A3}"/>
              </a:ext>
            </a:extLst>
          </p:cNvPr>
          <p:cNvSpPr>
            <a:spLocks/>
          </p:cNvSpPr>
          <p:nvPr/>
        </p:nvSpPr>
        <p:spPr bwMode="auto">
          <a:xfrm>
            <a:off x="5038725" y="3544449"/>
            <a:ext cx="1565275" cy="2993104"/>
          </a:xfrm>
          <a:custGeom>
            <a:avLst/>
            <a:gdLst>
              <a:gd name="T0" fmla="*/ 362 w 648"/>
              <a:gd name="T1" fmla="*/ 1234 h 1240"/>
              <a:gd name="T2" fmla="*/ 386 w 648"/>
              <a:gd name="T3" fmla="*/ 1238 h 1240"/>
              <a:gd name="T4" fmla="*/ 395 w 648"/>
              <a:gd name="T5" fmla="*/ 1239 h 1240"/>
              <a:gd name="T6" fmla="*/ 407 w 648"/>
              <a:gd name="T7" fmla="*/ 1240 h 1240"/>
              <a:gd name="T8" fmla="*/ 392 w 648"/>
              <a:gd name="T9" fmla="*/ 1183 h 1240"/>
              <a:gd name="T10" fmla="*/ 378 w 648"/>
              <a:gd name="T11" fmla="*/ 1081 h 1240"/>
              <a:gd name="T12" fmla="*/ 387 w 648"/>
              <a:gd name="T13" fmla="*/ 872 h 1240"/>
              <a:gd name="T14" fmla="*/ 435 w 648"/>
              <a:gd name="T15" fmla="*/ 657 h 1240"/>
              <a:gd name="T16" fmla="*/ 471 w 648"/>
              <a:gd name="T17" fmla="*/ 555 h 1240"/>
              <a:gd name="T18" fmla="*/ 499 w 648"/>
              <a:gd name="T19" fmla="*/ 490 h 1240"/>
              <a:gd name="T20" fmla="*/ 519 w 648"/>
              <a:gd name="T21" fmla="*/ 461 h 1240"/>
              <a:gd name="T22" fmla="*/ 529 w 648"/>
              <a:gd name="T23" fmla="*/ 452 h 1240"/>
              <a:gd name="T24" fmla="*/ 577 w 648"/>
              <a:gd name="T25" fmla="*/ 423 h 1240"/>
              <a:gd name="T26" fmla="*/ 626 w 648"/>
              <a:gd name="T27" fmla="*/ 412 h 1240"/>
              <a:gd name="T28" fmla="*/ 628 w 648"/>
              <a:gd name="T29" fmla="*/ 411 h 1240"/>
              <a:gd name="T30" fmla="*/ 640 w 648"/>
              <a:gd name="T31" fmla="*/ 407 h 1240"/>
              <a:gd name="T32" fmla="*/ 638 w 648"/>
              <a:gd name="T33" fmla="*/ 393 h 1240"/>
              <a:gd name="T34" fmla="*/ 619 w 648"/>
              <a:gd name="T35" fmla="*/ 393 h 1240"/>
              <a:gd name="T36" fmla="*/ 579 w 648"/>
              <a:gd name="T37" fmla="*/ 382 h 1240"/>
              <a:gd name="T38" fmla="*/ 571 w 648"/>
              <a:gd name="T39" fmla="*/ 339 h 1240"/>
              <a:gd name="T40" fmla="*/ 588 w 648"/>
              <a:gd name="T41" fmla="*/ 297 h 1240"/>
              <a:gd name="T42" fmla="*/ 600 w 648"/>
              <a:gd name="T43" fmla="*/ 218 h 1240"/>
              <a:gd name="T44" fmla="*/ 582 w 648"/>
              <a:gd name="T45" fmla="*/ 213 h 1240"/>
              <a:gd name="T46" fmla="*/ 567 w 648"/>
              <a:gd name="T47" fmla="*/ 249 h 1240"/>
              <a:gd name="T48" fmla="*/ 553 w 648"/>
              <a:gd name="T49" fmla="*/ 287 h 1240"/>
              <a:gd name="T50" fmla="*/ 512 w 648"/>
              <a:gd name="T51" fmla="*/ 367 h 1240"/>
              <a:gd name="T52" fmla="*/ 416 w 648"/>
              <a:gd name="T53" fmla="*/ 515 h 1240"/>
              <a:gd name="T54" fmla="*/ 331 w 648"/>
              <a:gd name="T55" fmla="*/ 677 h 1240"/>
              <a:gd name="T56" fmla="*/ 321 w 648"/>
              <a:gd name="T57" fmla="*/ 703 h 1240"/>
              <a:gd name="T58" fmla="*/ 319 w 648"/>
              <a:gd name="T59" fmla="*/ 686 h 1240"/>
              <a:gd name="T60" fmla="*/ 305 w 648"/>
              <a:gd name="T61" fmla="*/ 571 h 1240"/>
              <a:gd name="T62" fmla="*/ 306 w 648"/>
              <a:gd name="T63" fmla="*/ 554 h 1240"/>
              <a:gd name="T64" fmla="*/ 284 w 648"/>
              <a:gd name="T65" fmla="*/ 302 h 1240"/>
              <a:gd name="T66" fmla="*/ 333 w 648"/>
              <a:gd name="T67" fmla="*/ 18 h 1240"/>
              <a:gd name="T68" fmla="*/ 315 w 648"/>
              <a:gd name="T69" fmla="*/ 10 h 1240"/>
              <a:gd name="T70" fmla="*/ 241 w 648"/>
              <a:gd name="T71" fmla="*/ 247 h 1240"/>
              <a:gd name="T72" fmla="*/ 239 w 648"/>
              <a:gd name="T73" fmla="*/ 369 h 1240"/>
              <a:gd name="T74" fmla="*/ 241 w 648"/>
              <a:gd name="T75" fmla="*/ 385 h 1240"/>
              <a:gd name="T76" fmla="*/ 226 w 648"/>
              <a:gd name="T77" fmla="*/ 443 h 1240"/>
              <a:gd name="T78" fmla="*/ 183 w 648"/>
              <a:gd name="T79" fmla="*/ 434 h 1240"/>
              <a:gd name="T80" fmla="*/ 144 w 648"/>
              <a:gd name="T81" fmla="*/ 399 h 1240"/>
              <a:gd name="T82" fmla="*/ 28 w 648"/>
              <a:gd name="T83" fmla="*/ 319 h 1240"/>
              <a:gd name="T84" fmla="*/ 8 w 648"/>
              <a:gd name="T85" fmla="*/ 339 h 1240"/>
              <a:gd name="T86" fmla="*/ 186 w 648"/>
              <a:gd name="T87" fmla="*/ 532 h 1240"/>
              <a:gd name="T88" fmla="*/ 209 w 648"/>
              <a:gd name="T89" fmla="*/ 680 h 1240"/>
              <a:gd name="T90" fmla="*/ 220 w 648"/>
              <a:gd name="T91" fmla="*/ 810 h 1240"/>
              <a:gd name="T92" fmla="*/ 212 w 648"/>
              <a:gd name="T93" fmla="*/ 988 h 1240"/>
              <a:gd name="T94" fmla="*/ 174 w 648"/>
              <a:gd name="T95" fmla="*/ 1209 h 1240"/>
              <a:gd name="T96" fmla="*/ 258 w 648"/>
              <a:gd name="T97" fmla="*/ 1220 h 1240"/>
              <a:gd name="T98" fmla="*/ 362 w 648"/>
              <a:gd name="T99" fmla="*/ 1234 h 1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48" h="1240">
                <a:moveTo>
                  <a:pt x="362" y="1234"/>
                </a:moveTo>
                <a:cubicBezTo>
                  <a:pt x="370" y="1236"/>
                  <a:pt x="378" y="1237"/>
                  <a:pt x="386" y="1238"/>
                </a:cubicBezTo>
                <a:cubicBezTo>
                  <a:pt x="387" y="1238"/>
                  <a:pt x="391" y="1238"/>
                  <a:pt x="395" y="1239"/>
                </a:cubicBezTo>
                <a:cubicBezTo>
                  <a:pt x="399" y="1239"/>
                  <a:pt x="403" y="1240"/>
                  <a:pt x="407" y="1240"/>
                </a:cubicBezTo>
                <a:cubicBezTo>
                  <a:pt x="402" y="1222"/>
                  <a:pt x="396" y="1203"/>
                  <a:pt x="392" y="1183"/>
                </a:cubicBezTo>
                <a:cubicBezTo>
                  <a:pt x="385" y="1150"/>
                  <a:pt x="381" y="1115"/>
                  <a:pt x="378" y="1081"/>
                </a:cubicBezTo>
                <a:cubicBezTo>
                  <a:pt x="373" y="1012"/>
                  <a:pt x="376" y="941"/>
                  <a:pt x="387" y="872"/>
                </a:cubicBezTo>
                <a:cubicBezTo>
                  <a:pt x="399" y="799"/>
                  <a:pt x="414" y="727"/>
                  <a:pt x="435" y="657"/>
                </a:cubicBezTo>
                <a:cubicBezTo>
                  <a:pt x="445" y="622"/>
                  <a:pt x="457" y="588"/>
                  <a:pt x="471" y="555"/>
                </a:cubicBezTo>
                <a:cubicBezTo>
                  <a:pt x="479" y="534"/>
                  <a:pt x="490" y="512"/>
                  <a:pt x="499" y="490"/>
                </a:cubicBezTo>
                <a:cubicBezTo>
                  <a:pt x="506" y="480"/>
                  <a:pt x="512" y="471"/>
                  <a:pt x="519" y="461"/>
                </a:cubicBezTo>
                <a:cubicBezTo>
                  <a:pt x="522" y="458"/>
                  <a:pt x="525" y="455"/>
                  <a:pt x="529" y="452"/>
                </a:cubicBezTo>
                <a:cubicBezTo>
                  <a:pt x="543" y="440"/>
                  <a:pt x="559" y="429"/>
                  <a:pt x="577" y="423"/>
                </a:cubicBezTo>
                <a:cubicBezTo>
                  <a:pt x="593" y="417"/>
                  <a:pt x="610" y="417"/>
                  <a:pt x="626" y="412"/>
                </a:cubicBezTo>
                <a:cubicBezTo>
                  <a:pt x="626" y="412"/>
                  <a:pt x="627" y="411"/>
                  <a:pt x="628" y="411"/>
                </a:cubicBezTo>
                <a:cubicBezTo>
                  <a:pt x="632" y="410"/>
                  <a:pt x="636" y="409"/>
                  <a:pt x="640" y="407"/>
                </a:cubicBezTo>
                <a:cubicBezTo>
                  <a:pt x="648" y="405"/>
                  <a:pt x="646" y="394"/>
                  <a:pt x="638" y="393"/>
                </a:cubicBezTo>
                <a:cubicBezTo>
                  <a:pt x="632" y="392"/>
                  <a:pt x="625" y="392"/>
                  <a:pt x="619" y="393"/>
                </a:cubicBezTo>
                <a:cubicBezTo>
                  <a:pt x="607" y="387"/>
                  <a:pt x="593" y="384"/>
                  <a:pt x="579" y="382"/>
                </a:cubicBezTo>
                <a:cubicBezTo>
                  <a:pt x="567" y="372"/>
                  <a:pt x="569" y="354"/>
                  <a:pt x="571" y="339"/>
                </a:cubicBezTo>
                <a:cubicBezTo>
                  <a:pt x="577" y="325"/>
                  <a:pt x="583" y="311"/>
                  <a:pt x="588" y="297"/>
                </a:cubicBezTo>
                <a:cubicBezTo>
                  <a:pt x="595" y="275"/>
                  <a:pt x="608" y="240"/>
                  <a:pt x="600" y="218"/>
                </a:cubicBezTo>
                <a:cubicBezTo>
                  <a:pt x="597" y="211"/>
                  <a:pt x="587" y="206"/>
                  <a:pt x="582" y="213"/>
                </a:cubicBezTo>
                <a:cubicBezTo>
                  <a:pt x="573" y="224"/>
                  <a:pt x="572" y="236"/>
                  <a:pt x="567" y="249"/>
                </a:cubicBezTo>
                <a:cubicBezTo>
                  <a:pt x="563" y="262"/>
                  <a:pt x="559" y="275"/>
                  <a:pt x="553" y="287"/>
                </a:cubicBezTo>
                <a:cubicBezTo>
                  <a:pt x="542" y="315"/>
                  <a:pt x="527" y="341"/>
                  <a:pt x="512" y="367"/>
                </a:cubicBezTo>
                <a:cubicBezTo>
                  <a:pt x="482" y="417"/>
                  <a:pt x="447" y="465"/>
                  <a:pt x="416" y="515"/>
                </a:cubicBezTo>
                <a:cubicBezTo>
                  <a:pt x="384" y="567"/>
                  <a:pt x="355" y="621"/>
                  <a:pt x="331" y="677"/>
                </a:cubicBezTo>
                <a:cubicBezTo>
                  <a:pt x="328" y="686"/>
                  <a:pt x="324" y="694"/>
                  <a:pt x="321" y="703"/>
                </a:cubicBezTo>
                <a:cubicBezTo>
                  <a:pt x="320" y="698"/>
                  <a:pt x="319" y="692"/>
                  <a:pt x="319" y="686"/>
                </a:cubicBezTo>
                <a:cubicBezTo>
                  <a:pt x="315" y="648"/>
                  <a:pt x="312" y="609"/>
                  <a:pt x="305" y="571"/>
                </a:cubicBezTo>
                <a:cubicBezTo>
                  <a:pt x="305" y="566"/>
                  <a:pt x="306" y="560"/>
                  <a:pt x="306" y="554"/>
                </a:cubicBezTo>
                <a:cubicBezTo>
                  <a:pt x="313" y="469"/>
                  <a:pt x="283" y="387"/>
                  <a:pt x="284" y="302"/>
                </a:cubicBezTo>
                <a:cubicBezTo>
                  <a:pt x="285" y="205"/>
                  <a:pt x="318" y="113"/>
                  <a:pt x="333" y="18"/>
                </a:cubicBezTo>
                <a:cubicBezTo>
                  <a:pt x="335" y="8"/>
                  <a:pt x="321" y="0"/>
                  <a:pt x="315" y="10"/>
                </a:cubicBezTo>
                <a:cubicBezTo>
                  <a:pt x="273" y="83"/>
                  <a:pt x="251" y="163"/>
                  <a:pt x="241" y="247"/>
                </a:cubicBezTo>
                <a:cubicBezTo>
                  <a:pt x="236" y="287"/>
                  <a:pt x="235" y="328"/>
                  <a:pt x="239" y="369"/>
                </a:cubicBezTo>
                <a:cubicBezTo>
                  <a:pt x="239" y="374"/>
                  <a:pt x="240" y="380"/>
                  <a:pt x="241" y="385"/>
                </a:cubicBezTo>
                <a:cubicBezTo>
                  <a:pt x="238" y="405"/>
                  <a:pt x="240" y="429"/>
                  <a:pt x="226" y="443"/>
                </a:cubicBezTo>
                <a:cubicBezTo>
                  <a:pt x="217" y="453"/>
                  <a:pt x="199" y="443"/>
                  <a:pt x="183" y="434"/>
                </a:cubicBezTo>
                <a:cubicBezTo>
                  <a:pt x="171" y="421"/>
                  <a:pt x="158" y="409"/>
                  <a:pt x="144" y="399"/>
                </a:cubicBezTo>
                <a:cubicBezTo>
                  <a:pt x="108" y="370"/>
                  <a:pt x="69" y="342"/>
                  <a:pt x="28" y="319"/>
                </a:cubicBezTo>
                <a:cubicBezTo>
                  <a:pt x="16" y="312"/>
                  <a:pt x="0" y="326"/>
                  <a:pt x="8" y="339"/>
                </a:cubicBezTo>
                <a:cubicBezTo>
                  <a:pt x="56" y="415"/>
                  <a:pt x="156" y="442"/>
                  <a:pt x="186" y="532"/>
                </a:cubicBezTo>
                <a:cubicBezTo>
                  <a:pt x="203" y="580"/>
                  <a:pt x="206" y="630"/>
                  <a:pt x="209" y="680"/>
                </a:cubicBezTo>
                <a:cubicBezTo>
                  <a:pt x="213" y="723"/>
                  <a:pt x="213" y="767"/>
                  <a:pt x="220" y="810"/>
                </a:cubicBezTo>
                <a:cubicBezTo>
                  <a:pt x="217" y="869"/>
                  <a:pt x="215" y="928"/>
                  <a:pt x="212" y="988"/>
                </a:cubicBezTo>
                <a:cubicBezTo>
                  <a:pt x="207" y="1062"/>
                  <a:pt x="198" y="1138"/>
                  <a:pt x="174" y="1209"/>
                </a:cubicBezTo>
                <a:cubicBezTo>
                  <a:pt x="202" y="1213"/>
                  <a:pt x="230" y="1217"/>
                  <a:pt x="258" y="1220"/>
                </a:cubicBezTo>
                <a:cubicBezTo>
                  <a:pt x="293" y="1225"/>
                  <a:pt x="327" y="1230"/>
                  <a:pt x="362" y="1234"/>
                </a:cubicBezTo>
                <a:close/>
              </a:path>
            </a:pathLst>
          </a:custGeom>
          <a:solidFill>
            <a:srgbClr val="5537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12" name="TextBox 11">
            <a:extLst>
              <a:ext uri="{FF2B5EF4-FFF2-40B4-BE49-F238E27FC236}">
                <a16:creationId xmlns:a16="http://schemas.microsoft.com/office/drawing/2014/main" id="{50253491-56D5-4778-AC5C-6235AB5B41CB}"/>
              </a:ext>
            </a:extLst>
          </p:cNvPr>
          <p:cNvSpPr txBox="1"/>
          <p:nvPr/>
        </p:nvSpPr>
        <p:spPr>
          <a:xfrm>
            <a:off x="3120983" y="700743"/>
            <a:ext cx="5950039"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000000">
                    <a:lumMod val="85000"/>
                    <a:lumOff val="15000"/>
                  </a:srgbClr>
                </a:solidFill>
                <a:effectLst/>
                <a:uLnTx/>
                <a:uFillTx/>
                <a:latin typeface="等线 Light" panose="020F0302020204030204"/>
                <a:ea typeface="+mn-ea"/>
                <a:cs typeface="+mn-cs"/>
              </a:rPr>
              <a:t>INFOGRAPHIC</a:t>
            </a:r>
            <a:r>
              <a:rPr kumimoji="0" lang="en-US" sz="3200" b="1" i="0" u="none" strike="noStrike" kern="1200" cap="none" spc="0" normalizeH="0" baseline="0" noProof="0" dirty="0">
                <a:ln>
                  <a:noFill/>
                </a:ln>
                <a:solidFill>
                  <a:srgbClr val="000000">
                    <a:lumMod val="85000"/>
                    <a:lumOff val="15000"/>
                  </a:srgbClr>
                </a:solidFill>
                <a:effectLst/>
                <a:uLnTx/>
                <a:uFillTx/>
                <a:latin typeface="等线" panose="020F0502020204030204"/>
                <a:ea typeface="+mn-ea"/>
                <a:cs typeface="+mn-cs"/>
              </a:rPr>
              <a:t> </a:t>
            </a:r>
            <a:r>
              <a:rPr kumimoji="0" lang="en-US" sz="3200" b="1" i="0" u="none" strike="noStrike" kern="1200" cap="none" spc="0" normalizeH="0" baseline="0" noProof="0" dirty="0">
                <a:ln>
                  <a:noFill/>
                </a:ln>
                <a:solidFill>
                  <a:srgbClr val="000000">
                    <a:lumMod val="85000"/>
                    <a:lumOff val="15000"/>
                  </a:srgbClr>
                </a:solidFill>
                <a:effectLst/>
                <a:uLnTx/>
                <a:uFillTx/>
                <a:latin typeface="等线 Light" panose="020F0302020204030204"/>
                <a:ea typeface="+mn-ea"/>
                <a:cs typeface="+mn-cs"/>
              </a:rPr>
              <a:t>TREE</a:t>
            </a:r>
          </a:p>
        </p:txBody>
      </p:sp>
      <p:cxnSp>
        <p:nvCxnSpPr>
          <p:cNvPr id="13" name="Connector: Elbow 12">
            <a:extLst>
              <a:ext uri="{FF2B5EF4-FFF2-40B4-BE49-F238E27FC236}">
                <a16:creationId xmlns:a16="http://schemas.microsoft.com/office/drawing/2014/main" id="{57501A80-5582-4898-B2B8-A7405B9BC3C7}"/>
              </a:ext>
            </a:extLst>
          </p:cNvPr>
          <p:cNvCxnSpPr>
            <a:cxnSpLocks/>
          </p:cNvCxnSpPr>
          <p:nvPr/>
        </p:nvCxnSpPr>
        <p:spPr>
          <a:xfrm rot="16200000" flipV="1">
            <a:off x="4100347" y="635367"/>
            <a:ext cx="339024" cy="2297756"/>
          </a:xfrm>
          <a:prstGeom prst="bentConnector2">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14" name="Connector: Elbow 13">
            <a:extLst>
              <a:ext uri="{FF2B5EF4-FFF2-40B4-BE49-F238E27FC236}">
                <a16:creationId xmlns:a16="http://schemas.microsoft.com/office/drawing/2014/main" id="{91976609-BB0D-4A09-988F-1F1DED47A842}"/>
              </a:ext>
            </a:extLst>
          </p:cNvPr>
          <p:cNvCxnSpPr>
            <a:cxnSpLocks/>
          </p:cNvCxnSpPr>
          <p:nvPr/>
        </p:nvCxnSpPr>
        <p:spPr>
          <a:xfrm flipH="1">
            <a:off x="2559049" y="2792431"/>
            <a:ext cx="1263651" cy="0"/>
          </a:xfrm>
          <a:prstGeom prst="straightConnector1">
            <a:avLst/>
          </a:prstGeom>
          <a:ln>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15" name="Connector: Elbow 24">
            <a:extLst>
              <a:ext uri="{FF2B5EF4-FFF2-40B4-BE49-F238E27FC236}">
                <a16:creationId xmlns:a16="http://schemas.microsoft.com/office/drawing/2014/main" id="{F8432E03-98ED-4D86-A1E9-F1E3A44FB346}"/>
              </a:ext>
            </a:extLst>
          </p:cNvPr>
          <p:cNvCxnSpPr>
            <a:cxnSpLocks/>
          </p:cNvCxnSpPr>
          <p:nvPr/>
        </p:nvCxnSpPr>
        <p:spPr>
          <a:xfrm flipH="1">
            <a:off x="2236228" y="3968585"/>
            <a:ext cx="1069369" cy="0"/>
          </a:xfrm>
          <a:prstGeom prst="straightConnector1">
            <a:avLst/>
          </a:prstGeom>
          <a:ln>
            <a:solidFill>
              <a:schemeClr val="accent2"/>
            </a:solidFill>
            <a:tailEnd type="triangle"/>
          </a:ln>
        </p:spPr>
        <p:style>
          <a:lnRef idx="1">
            <a:schemeClr val="accent1"/>
          </a:lnRef>
          <a:fillRef idx="0">
            <a:schemeClr val="accent1"/>
          </a:fillRef>
          <a:effectRef idx="0">
            <a:schemeClr val="accent1"/>
          </a:effectRef>
          <a:fontRef idx="minor">
            <a:schemeClr val="tx1"/>
          </a:fontRef>
        </p:style>
      </p:cxnSp>
      <p:cxnSp>
        <p:nvCxnSpPr>
          <p:cNvPr id="16" name="Connector: Elbow 25">
            <a:extLst>
              <a:ext uri="{FF2B5EF4-FFF2-40B4-BE49-F238E27FC236}">
                <a16:creationId xmlns:a16="http://schemas.microsoft.com/office/drawing/2014/main" id="{5EF6776A-0E8D-4891-AE3D-060FD07EE4AE}"/>
              </a:ext>
            </a:extLst>
          </p:cNvPr>
          <p:cNvCxnSpPr>
            <a:cxnSpLocks/>
          </p:cNvCxnSpPr>
          <p:nvPr/>
        </p:nvCxnSpPr>
        <p:spPr>
          <a:xfrm flipH="1">
            <a:off x="3120983" y="5015482"/>
            <a:ext cx="856007" cy="1"/>
          </a:xfrm>
          <a:prstGeom prst="straightConnector1">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17" name="Rectangle 26">
            <a:extLst>
              <a:ext uri="{FF2B5EF4-FFF2-40B4-BE49-F238E27FC236}">
                <a16:creationId xmlns:a16="http://schemas.microsoft.com/office/drawing/2014/main" id="{87C7F9A4-A22C-4EDF-BF2E-D23242AE6BE3}"/>
              </a:ext>
            </a:extLst>
          </p:cNvPr>
          <p:cNvSpPr/>
          <p:nvPr/>
        </p:nvSpPr>
        <p:spPr>
          <a:xfrm>
            <a:off x="754350" y="1799308"/>
            <a:ext cx="2236145" cy="693395"/>
          </a:xfrm>
          <a:prstGeom prst="rect">
            <a:avLst/>
          </a:prstGeom>
        </p:spPr>
        <p:txBody>
          <a:bodyPr wrap="square">
            <a:spAutoFit/>
          </a:bodyPr>
          <a:lstStyle/>
          <a:p>
            <a:pPr marL="0" marR="0" lvl="0" indent="0" algn="r" defTabSz="914400" rtl="0" eaLnBrk="1" fontAlgn="auto" latinLnBrk="0" hangingPunct="1">
              <a:lnSpc>
                <a:spcPct val="15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lumMod val="50000"/>
                    <a:lumOff val="50000"/>
                  </a:srgbClr>
                </a:solidFill>
                <a:effectLst/>
                <a:uLnTx/>
                <a:uFillTx/>
                <a:latin typeface="等线" panose="020F0502020204030204"/>
                <a:ea typeface="+mn-ea"/>
                <a:cs typeface="+mn-cs"/>
              </a:rPr>
              <a:t>Lorem Ipsum is simply dummy text of the printing and typesetting industry. Lorem Ipsum has been to.</a:t>
            </a:r>
          </a:p>
        </p:txBody>
      </p:sp>
      <p:sp>
        <p:nvSpPr>
          <p:cNvPr id="18" name="TextBox 27">
            <a:extLst>
              <a:ext uri="{FF2B5EF4-FFF2-40B4-BE49-F238E27FC236}">
                <a16:creationId xmlns:a16="http://schemas.microsoft.com/office/drawing/2014/main" id="{C65D4A6C-3503-46DF-9221-97F5B73DC0D2}"/>
              </a:ext>
            </a:extLst>
          </p:cNvPr>
          <p:cNvSpPr txBox="1"/>
          <p:nvPr/>
        </p:nvSpPr>
        <p:spPr>
          <a:xfrm>
            <a:off x="438422" y="1483093"/>
            <a:ext cx="2552073" cy="307777"/>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lumMod val="85000"/>
                    <a:lumOff val="15000"/>
                  </a:srgbClr>
                </a:solidFill>
                <a:effectLst/>
                <a:uLnTx/>
                <a:uFillTx/>
                <a:latin typeface="等线 Light" panose="020F0302020204030204"/>
                <a:ea typeface="+mn-ea"/>
                <a:cs typeface="+mn-cs"/>
              </a:rPr>
              <a:t>Subtitle Here</a:t>
            </a:r>
          </a:p>
        </p:txBody>
      </p:sp>
      <p:sp>
        <p:nvSpPr>
          <p:cNvPr id="19" name="Rectangle 28">
            <a:extLst>
              <a:ext uri="{FF2B5EF4-FFF2-40B4-BE49-F238E27FC236}">
                <a16:creationId xmlns:a16="http://schemas.microsoft.com/office/drawing/2014/main" id="{4D310861-004C-4806-AB4D-A7CED4BB08CD}"/>
              </a:ext>
            </a:extLst>
          </p:cNvPr>
          <p:cNvSpPr/>
          <p:nvPr/>
        </p:nvSpPr>
        <p:spPr>
          <a:xfrm>
            <a:off x="500077" y="2947684"/>
            <a:ext cx="1941184" cy="693395"/>
          </a:xfrm>
          <a:prstGeom prst="rect">
            <a:avLst/>
          </a:prstGeom>
        </p:spPr>
        <p:txBody>
          <a:bodyPr wrap="square">
            <a:spAutoFit/>
          </a:bodyPr>
          <a:lstStyle/>
          <a:p>
            <a:pPr marL="0" marR="0" lvl="0" indent="0" algn="r" defTabSz="914400" rtl="0" eaLnBrk="1" fontAlgn="auto" latinLnBrk="0" hangingPunct="1">
              <a:lnSpc>
                <a:spcPct val="15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lumMod val="50000"/>
                    <a:lumOff val="50000"/>
                  </a:srgbClr>
                </a:solidFill>
                <a:effectLst/>
                <a:uLnTx/>
                <a:uFillTx/>
                <a:latin typeface="等线" panose="020F0502020204030204"/>
                <a:ea typeface="+mn-ea"/>
                <a:cs typeface="+mn-cs"/>
              </a:rPr>
              <a:t>Lorem Ipsum is simply dummy text of the printing and typesetting industry. </a:t>
            </a:r>
          </a:p>
        </p:txBody>
      </p:sp>
      <p:sp>
        <p:nvSpPr>
          <p:cNvPr id="20" name="TextBox 29">
            <a:extLst>
              <a:ext uri="{FF2B5EF4-FFF2-40B4-BE49-F238E27FC236}">
                <a16:creationId xmlns:a16="http://schemas.microsoft.com/office/drawing/2014/main" id="{8C3ABFD9-1F73-49EC-A25F-E728A76288E4}"/>
              </a:ext>
            </a:extLst>
          </p:cNvPr>
          <p:cNvSpPr txBox="1"/>
          <p:nvPr/>
        </p:nvSpPr>
        <p:spPr>
          <a:xfrm>
            <a:off x="-110811" y="2631468"/>
            <a:ext cx="2552073" cy="307777"/>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lumMod val="85000"/>
                    <a:lumOff val="15000"/>
                  </a:srgbClr>
                </a:solidFill>
                <a:effectLst/>
                <a:uLnTx/>
                <a:uFillTx/>
                <a:latin typeface="等线 Light" panose="020F0302020204030204"/>
                <a:ea typeface="+mn-ea"/>
                <a:cs typeface="+mn-cs"/>
              </a:rPr>
              <a:t>Subtitle Here</a:t>
            </a:r>
          </a:p>
        </p:txBody>
      </p:sp>
      <p:sp>
        <p:nvSpPr>
          <p:cNvPr id="21" name="Rectangle 30">
            <a:extLst>
              <a:ext uri="{FF2B5EF4-FFF2-40B4-BE49-F238E27FC236}">
                <a16:creationId xmlns:a16="http://schemas.microsoft.com/office/drawing/2014/main" id="{BD33AAB7-EB8B-4F99-A3E7-733CB99C7E5F}"/>
              </a:ext>
            </a:extLst>
          </p:cNvPr>
          <p:cNvSpPr/>
          <p:nvPr/>
        </p:nvSpPr>
        <p:spPr>
          <a:xfrm>
            <a:off x="236147" y="4108754"/>
            <a:ext cx="1941184" cy="693395"/>
          </a:xfrm>
          <a:prstGeom prst="rect">
            <a:avLst/>
          </a:prstGeom>
        </p:spPr>
        <p:txBody>
          <a:bodyPr wrap="square">
            <a:spAutoFit/>
          </a:bodyPr>
          <a:lstStyle/>
          <a:p>
            <a:pPr marL="0" marR="0" lvl="0" indent="0" algn="r" defTabSz="914400" rtl="0" eaLnBrk="1" fontAlgn="auto" latinLnBrk="0" hangingPunct="1">
              <a:lnSpc>
                <a:spcPct val="15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lumMod val="50000"/>
                    <a:lumOff val="50000"/>
                  </a:srgbClr>
                </a:solidFill>
                <a:effectLst/>
                <a:uLnTx/>
                <a:uFillTx/>
                <a:latin typeface="等线" panose="020F0502020204030204"/>
                <a:ea typeface="+mn-ea"/>
                <a:cs typeface="+mn-cs"/>
              </a:rPr>
              <a:t>Lorem Ipsum is simply dummy text of the printing and typesetting industry. </a:t>
            </a:r>
          </a:p>
        </p:txBody>
      </p:sp>
      <p:sp>
        <p:nvSpPr>
          <p:cNvPr id="22" name="TextBox 31">
            <a:extLst>
              <a:ext uri="{FF2B5EF4-FFF2-40B4-BE49-F238E27FC236}">
                <a16:creationId xmlns:a16="http://schemas.microsoft.com/office/drawing/2014/main" id="{6D566663-7CE3-4CD0-8AEB-01EBE649785B}"/>
              </a:ext>
            </a:extLst>
          </p:cNvPr>
          <p:cNvSpPr txBox="1"/>
          <p:nvPr/>
        </p:nvSpPr>
        <p:spPr>
          <a:xfrm>
            <a:off x="-374742" y="3792537"/>
            <a:ext cx="2552073" cy="307777"/>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lumMod val="85000"/>
                    <a:lumOff val="15000"/>
                  </a:srgbClr>
                </a:solidFill>
                <a:effectLst/>
                <a:uLnTx/>
                <a:uFillTx/>
                <a:latin typeface="等线 Light" panose="020F0302020204030204"/>
                <a:ea typeface="+mn-ea"/>
                <a:cs typeface="+mn-cs"/>
              </a:rPr>
              <a:t>Subtitle Here</a:t>
            </a:r>
          </a:p>
        </p:txBody>
      </p:sp>
      <p:sp>
        <p:nvSpPr>
          <p:cNvPr id="23" name="Rectangle 32">
            <a:extLst>
              <a:ext uri="{FF2B5EF4-FFF2-40B4-BE49-F238E27FC236}">
                <a16:creationId xmlns:a16="http://schemas.microsoft.com/office/drawing/2014/main" id="{2F365BC0-8F99-43A8-BF72-DE348EE434DA}"/>
              </a:ext>
            </a:extLst>
          </p:cNvPr>
          <p:cNvSpPr/>
          <p:nvPr/>
        </p:nvSpPr>
        <p:spPr>
          <a:xfrm>
            <a:off x="524943" y="5174622"/>
            <a:ext cx="2465552" cy="485646"/>
          </a:xfrm>
          <a:prstGeom prst="rect">
            <a:avLst/>
          </a:prstGeom>
        </p:spPr>
        <p:txBody>
          <a:bodyPr wrap="square">
            <a:spAutoFit/>
          </a:bodyPr>
          <a:lstStyle/>
          <a:p>
            <a:pPr marL="0" marR="0" lvl="0" indent="0" algn="r" defTabSz="914400" rtl="0" eaLnBrk="1" fontAlgn="auto" latinLnBrk="0" hangingPunct="1">
              <a:lnSpc>
                <a:spcPct val="15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lumMod val="50000"/>
                    <a:lumOff val="50000"/>
                  </a:srgbClr>
                </a:solidFill>
                <a:effectLst/>
                <a:uLnTx/>
                <a:uFillTx/>
                <a:latin typeface="等线" panose="020F0502020204030204"/>
                <a:ea typeface="+mn-ea"/>
                <a:cs typeface="+mn-cs"/>
              </a:rPr>
              <a:t>Lorem Ipsum is simply dummy text of the printing and typesetting industry. </a:t>
            </a:r>
          </a:p>
        </p:txBody>
      </p:sp>
      <p:sp>
        <p:nvSpPr>
          <p:cNvPr id="24" name="TextBox 33">
            <a:extLst>
              <a:ext uri="{FF2B5EF4-FFF2-40B4-BE49-F238E27FC236}">
                <a16:creationId xmlns:a16="http://schemas.microsoft.com/office/drawing/2014/main" id="{688965BD-8929-4D85-BA76-E7CBCD6DC006}"/>
              </a:ext>
            </a:extLst>
          </p:cNvPr>
          <p:cNvSpPr txBox="1"/>
          <p:nvPr/>
        </p:nvSpPr>
        <p:spPr>
          <a:xfrm>
            <a:off x="524944" y="4858405"/>
            <a:ext cx="2552073" cy="307777"/>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lumMod val="85000"/>
                    <a:lumOff val="15000"/>
                  </a:srgbClr>
                </a:solidFill>
                <a:effectLst/>
                <a:uLnTx/>
                <a:uFillTx/>
                <a:latin typeface="等线 Light" panose="020F0302020204030204"/>
                <a:ea typeface="+mn-ea"/>
                <a:cs typeface="+mn-cs"/>
              </a:rPr>
              <a:t>Subtitle Here</a:t>
            </a:r>
          </a:p>
        </p:txBody>
      </p:sp>
      <p:cxnSp>
        <p:nvCxnSpPr>
          <p:cNvPr id="25" name="Connector: Elbow 34">
            <a:extLst>
              <a:ext uri="{FF2B5EF4-FFF2-40B4-BE49-F238E27FC236}">
                <a16:creationId xmlns:a16="http://schemas.microsoft.com/office/drawing/2014/main" id="{877EEF6B-8546-445B-9E05-080B07457A6C}"/>
              </a:ext>
            </a:extLst>
          </p:cNvPr>
          <p:cNvCxnSpPr>
            <a:cxnSpLocks/>
          </p:cNvCxnSpPr>
          <p:nvPr/>
        </p:nvCxnSpPr>
        <p:spPr>
          <a:xfrm flipV="1">
            <a:off x="7336481" y="1898435"/>
            <a:ext cx="1321936" cy="686876"/>
          </a:xfrm>
          <a:prstGeom prst="bentConnector3">
            <a:avLst>
              <a:gd name="adj1" fmla="val 742"/>
            </a:avLst>
          </a:prstGeom>
          <a:ln>
            <a:solidFill>
              <a:schemeClr val="accent5"/>
            </a:solidFill>
            <a:tailEnd type="triangle"/>
          </a:ln>
        </p:spPr>
        <p:style>
          <a:lnRef idx="1">
            <a:schemeClr val="accent1"/>
          </a:lnRef>
          <a:fillRef idx="0">
            <a:schemeClr val="accent1"/>
          </a:fillRef>
          <a:effectRef idx="0">
            <a:schemeClr val="accent1"/>
          </a:effectRef>
          <a:fontRef idx="minor">
            <a:schemeClr val="tx1"/>
          </a:fontRef>
        </p:style>
      </p:cxnSp>
      <p:cxnSp>
        <p:nvCxnSpPr>
          <p:cNvPr id="26" name="Connector: Elbow 35">
            <a:extLst>
              <a:ext uri="{FF2B5EF4-FFF2-40B4-BE49-F238E27FC236}">
                <a16:creationId xmlns:a16="http://schemas.microsoft.com/office/drawing/2014/main" id="{412E53C6-77BB-4838-BB9E-17C55691718F}"/>
              </a:ext>
            </a:extLst>
          </p:cNvPr>
          <p:cNvCxnSpPr>
            <a:cxnSpLocks/>
            <a:stCxn id="6" idx="2"/>
            <a:endCxn id="30" idx="1"/>
          </p:cNvCxnSpPr>
          <p:nvPr/>
        </p:nvCxnSpPr>
        <p:spPr>
          <a:xfrm flipV="1">
            <a:off x="8281568" y="3429002"/>
            <a:ext cx="940942" cy="532176"/>
          </a:xfrm>
          <a:prstGeom prst="bentConnector3">
            <a:avLst>
              <a:gd name="adj1" fmla="val 50000"/>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27" name="Rectangle 43">
            <a:extLst>
              <a:ext uri="{FF2B5EF4-FFF2-40B4-BE49-F238E27FC236}">
                <a16:creationId xmlns:a16="http://schemas.microsoft.com/office/drawing/2014/main" id="{D3F4475A-5E3B-44D6-8039-DF377A450114}"/>
              </a:ext>
            </a:extLst>
          </p:cNvPr>
          <p:cNvSpPr/>
          <p:nvPr/>
        </p:nvSpPr>
        <p:spPr>
          <a:xfrm>
            <a:off x="8685858" y="2048022"/>
            <a:ext cx="2552073" cy="693395"/>
          </a:xfrm>
          <a:prstGeom prst="rect">
            <a:avLst/>
          </a:prstGeom>
        </p:spPr>
        <p:txBody>
          <a:bodyPr wrap="square">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lumMod val="50000"/>
                    <a:lumOff val="50000"/>
                  </a:srgbClr>
                </a:solidFill>
                <a:effectLst/>
                <a:uLnTx/>
                <a:uFillTx/>
                <a:latin typeface="等线" panose="020F0502020204030204"/>
                <a:ea typeface="+mn-ea"/>
                <a:cs typeface="+mn-cs"/>
              </a:rPr>
              <a:t>Lorem Ipsum is simply dummy text of the printing and typesetting industry. Lorem Ipsum has been the make.</a:t>
            </a:r>
          </a:p>
        </p:txBody>
      </p:sp>
      <p:sp>
        <p:nvSpPr>
          <p:cNvPr id="28" name="TextBox 44">
            <a:extLst>
              <a:ext uri="{FF2B5EF4-FFF2-40B4-BE49-F238E27FC236}">
                <a16:creationId xmlns:a16="http://schemas.microsoft.com/office/drawing/2014/main" id="{A759E29A-8804-46B4-B1B6-3555C826B4FC}"/>
              </a:ext>
            </a:extLst>
          </p:cNvPr>
          <p:cNvSpPr txBox="1"/>
          <p:nvPr/>
        </p:nvSpPr>
        <p:spPr>
          <a:xfrm>
            <a:off x="8685858" y="1731808"/>
            <a:ext cx="2552073"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lumMod val="85000"/>
                    <a:lumOff val="15000"/>
                  </a:srgbClr>
                </a:solidFill>
                <a:effectLst/>
                <a:uLnTx/>
                <a:uFillTx/>
                <a:latin typeface="等线 Light" panose="020F0302020204030204"/>
                <a:ea typeface="+mn-ea"/>
                <a:cs typeface="+mn-cs"/>
              </a:rPr>
              <a:t>Subtitle Here</a:t>
            </a:r>
          </a:p>
        </p:txBody>
      </p:sp>
      <p:sp>
        <p:nvSpPr>
          <p:cNvPr id="29" name="Rectangle 45">
            <a:extLst>
              <a:ext uri="{FF2B5EF4-FFF2-40B4-BE49-F238E27FC236}">
                <a16:creationId xmlns:a16="http://schemas.microsoft.com/office/drawing/2014/main" id="{651D80D9-39B6-4552-A0D8-5A7E208A7AF7}"/>
              </a:ext>
            </a:extLst>
          </p:cNvPr>
          <p:cNvSpPr/>
          <p:nvPr/>
        </p:nvSpPr>
        <p:spPr>
          <a:xfrm>
            <a:off x="9222510" y="3591328"/>
            <a:ext cx="2552073" cy="693395"/>
          </a:xfrm>
          <a:prstGeom prst="rect">
            <a:avLst/>
          </a:prstGeom>
        </p:spPr>
        <p:txBody>
          <a:bodyPr wrap="square">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lumMod val="50000"/>
                    <a:lumOff val="50000"/>
                  </a:srgbClr>
                </a:solidFill>
                <a:effectLst/>
                <a:uLnTx/>
                <a:uFillTx/>
                <a:latin typeface="等线" panose="020F0502020204030204"/>
                <a:ea typeface="+mn-ea"/>
                <a:cs typeface="+mn-cs"/>
              </a:rPr>
              <a:t>Lorem Ipsum is simply dummy text of the printing and typesetting industry. Lorem Ipsum has been the make.</a:t>
            </a:r>
          </a:p>
        </p:txBody>
      </p:sp>
      <p:sp>
        <p:nvSpPr>
          <p:cNvPr id="30" name="TextBox 46">
            <a:extLst>
              <a:ext uri="{FF2B5EF4-FFF2-40B4-BE49-F238E27FC236}">
                <a16:creationId xmlns:a16="http://schemas.microsoft.com/office/drawing/2014/main" id="{5FCB7F53-C47F-4039-BE5F-2A3FCB1420C5}"/>
              </a:ext>
            </a:extLst>
          </p:cNvPr>
          <p:cNvSpPr txBox="1"/>
          <p:nvPr/>
        </p:nvSpPr>
        <p:spPr>
          <a:xfrm>
            <a:off x="9222510" y="3275113"/>
            <a:ext cx="2552073"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lumMod val="85000"/>
                    <a:lumOff val="15000"/>
                  </a:srgbClr>
                </a:solidFill>
                <a:effectLst/>
                <a:uLnTx/>
                <a:uFillTx/>
                <a:latin typeface="等线 Light" panose="020F0302020204030204"/>
                <a:ea typeface="+mn-ea"/>
                <a:cs typeface="+mn-cs"/>
              </a:rPr>
              <a:t>Subtitle Here</a:t>
            </a:r>
          </a:p>
        </p:txBody>
      </p:sp>
      <p:sp>
        <p:nvSpPr>
          <p:cNvPr id="31" name="Rectangle 47">
            <a:extLst>
              <a:ext uri="{FF2B5EF4-FFF2-40B4-BE49-F238E27FC236}">
                <a16:creationId xmlns:a16="http://schemas.microsoft.com/office/drawing/2014/main" id="{DA767B42-30E0-4664-943D-4E2BF4DD0C7C}"/>
              </a:ext>
            </a:extLst>
          </p:cNvPr>
          <p:cNvSpPr/>
          <p:nvPr/>
        </p:nvSpPr>
        <p:spPr>
          <a:xfrm>
            <a:off x="9067156" y="5375975"/>
            <a:ext cx="2552073" cy="693395"/>
          </a:xfrm>
          <a:prstGeom prst="rect">
            <a:avLst/>
          </a:prstGeom>
        </p:spPr>
        <p:txBody>
          <a:bodyPr wrap="square">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lumMod val="50000"/>
                    <a:lumOff val="50000"/>
                  </a:srgbClr>
                </a:solidFill>
                <a:effectLst/>
                <a:uLnTx/>
                <a:uFillTx/>
                <a:latin typeface="等线" panose="020F0502020204030204"/>
                <a:ea typeface="+mn-ea"/>
                <a:cs typeface="+mn-cs"/>
              </a:rPr>
              <a:t>Lorem Ipsum is simply dummy text of the printing and typesetting industry. Lorem Ipsum has been the make.</a:t>
            </a:r>
          </a:p>
        </p:txBody>
      </p:sp>
      <p:sp>
        <p:nvSpPr>
          <p:cNvPr id="32" name="TextBox 48">
            <a:extLst>
              <a:ext uri="{FF2B5EF4-FFF2-40B4-BE49-F238E27FC236}">
                <a16:creationId xmlns:a16="http://schemas.microsoft.com/office/drawing/2014/main" id="{864BF838-80F0-426F-AF1B-64529C4690CD}"/>
              </a:ext>
            </a:extLst>
          </p:cNvPr>
          <p:cNvSpPr txBox="1"/>
          <p:nvPr/>
        </p:nvSpPr>
        <p:spPr>
          <a:xfrm>
            <a:off x="9067156" y="5059761"/>
            <a:ext cx="2552073"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lumMod val="85000"/>
                    <a:lumOff val="15000"/>
                  </a:srgbClr>
                </a:solidFill>
                <a:effectLst/>
                <a:uLnTx/>
                <a:uFillTx/>
                <a:latin typeface="等线 Light" panose="020F0302020204030204"/>
                <a:ea typeface="+mn-ea"/>
                <a:cs typeface="+mn-cs"/>
              </a:rPr>
              <a:t>Subtitle Here</a:t>
            </a:r>
          </a:p>
        </p:txBody>
      </p:sp>
      <p:grpSp>
        <p:nvGrpSpPr>
          <p:cNvPr id="33" name="Group 49">
            <a:extLst>
              <a:ext uri="{FF2B5EF4-FFF2-40B4-BE49-F238E27FC236}">
                <a16:creationId xmlns:a16="http://schemas.microsoft.com/office/drawing/2014/main" id="{4C73ACF0-EFDB-447F-8B23-A9B5C2E66508}"/>
              </a:ext>
            </a:extLst>
          </p:cNvPr>
          <p:cNvGrpSpPr/>
          <p:nvPr/>
        </p:nvGrpSpPr>
        <p:grpSpPr>
          <a:xfrm>
            <a:off x="4160484" y="4927802"/>
            <a:ext cx="360363" cy="357188"/>
            <a:chOff x="6111875" y="1384300"/>
            <a:chExt cx="360363" cy="357188"/>
          </a:xfrm>
          <a:solidFill>
            <a:schemeClr val="bg1"/>
          </a:solidFill>
        </p:grpSpPr>
        <p:sp>
          <p:nvSpPr>
            <p:cNvPr id="34" name="Freeform 256">
              <a:extLst>
                <a:ext uri="{FF2B5EF4-FFF2-40B4-BE49-F238E27FC236}">
                  <a16:creationId xmlns:a16="http://schemas.microsoft.com/office/drawing/2014/main" id="{B738807B-ACAB-413C-8287-A946418A5A5D}"/>
                </a:ext>
              </a:extLst>
            </p:cNvPr>
            <p:cNvSpPr>
              <a:spLocks noEditPoints="1"/>
            </p:cNvSpPr>
            <p:nvPr/>
          </p:nvSpPr>
          <p:spPr bwMode="auto">
            <a:xfrm>
              <a:off x="6319838" y="1481138"/>
              <a:ext cx="38100" cy="39688"/>
            </a:xfrm>
            <a:custGeom>
              <a:avLst/>
              <a:gdLst>
                <a:gd name="T0" fmla="*/ 12 w 12"/>
                <a:gd name="T1" fmla="*/ 6 h 12"/>
                <a:gd name="T2" fmla="*/ 6 w 12"/>
                <a:gd name="T3" fmla="*/ 12 h 12"/>
                <a:gd name="T4" fmla="*/ 0 w 12"/>
                <a:gd name="T5" fmla="*/ 6 h 12"/>
                <a:gd name="T6" fmla="*/ 6 w 12"/>
                <a:gd name="T7" fmla="*/ 0 h 12"/>
                <a:gd name="T8" fmla="*/ 12 w 12"/>
                <a:gd name="T9" fmla="*/ 6 h 12"/>
                <a:gd name="T10" fmla="*/ 12 w 12"/>
                <a:gd name="T11" fmla="*/ 6 h 12"/>
                <a:gd name="T12" fmla="*/ 12 w 12"/>
                <a:gd name="T13" fmla="*/ 6 h 12"/>
              </a:gdLst>
              <a:ahLst/>
              <a:cxnLst>
                <a:cxn ang="0">
                  <a:pos x="T0" y="T1"/>
                </a:cxn>
                <a:cxn ang="0">
                  <a:pos x="T2" y="T3"/>
                </a:cxn>
                <a:cxn ang="0">
                  <a:pos x="T4" y="T5"/>
                </a:cxn>
                <a:cxn ang="0">
                  <a:pos x="T6" y="T7"/>
                </a:cxn>
                <a:cxn ang="0">
                  <a:pos x="T8" y="T9"/>
                </a:cxn>
                <a:cxn ang="0">
                  <a:pos x="T10" y="T11"/>
                </a:cxn>
                <a:cxn ang="0">
                  <a:pos x="T12" y="T13"/>
                </a:cxn>
              </a:cxnLst>
              <a:rect l="0" t="0" r="r" b="b"/>
              <a:pathLst>
                <a:path w="12" h="12">
                  <a:moveTo>
                    <a:pt x="12" y="6"/>
                  </a:moveTo>
                  <a:cubicBezTo>
                    <a:pt x="12" y="10"/>
                    <a:pt x="9" y="12"/>
                    <a:pt x="6" y="12"/>
                  </a:cubicBezTo>
                  <a:cubicBezTo>
                    <a:pt x="3" y="12"/>
                    <a:pt x="0" y="10"/>
                    <a:pt x="0" y="6"/>
                  </a:cubicBezTo>
                  <a:cubicBezTo>
                    <a:pt x="0" y="3"/>
                    <a:pt x="3" y="0"/>
                    <a:pt x="6" y="0"/>
                  </a:cubicBezTo>
                  <a:cubicBezTo>
                    <a:pt x="9" y="0"/>
                    <a:pt x="12" y="3"/>
                    <a:pt x="12" y="6"/>
                  </a:cubicBezTo>
                  <a:close/>
                  <a:moveTo>
                    <a:pt x="12" y="6"/>
                  </a:moveTo>
                  <a:cubicBezTo>
                    <a:pt x="12" y="6"/>
                    <a:pt x="12" y="6"/>
                    <a:pt x="12"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5" name="Freeform 257">
              <a:extLst>
                <a:ext uri="{FF2B5EF4-FFF2-40B4-BE49-F238E27FC236}">
                  <a16:creationId xmlns:a16="http://schemas.microsoft.com/office/drawing/2014/main" id="{847E878C-F83D-472F-8305-7839CFED501C}"/>
                </a:ext>
              </a:extLst>
            </p:cNvPr>
            <p:cNvSpPr>
              <a:spLocks noEditPoints="1"/>
            </p:cNvSpPr>
            <p:nvPr/>
          </p:nvSpPr>
          <p:spPr bwMode="auto">
            <a:xfrm>
              <a:off x="6205538" y="1384300"/>
              <a:ext cx="266700" cy="266700"/>
            </a:xfrm>
            <a:custGeom>
              <a:avLst/>
              <a:gdLst>
                <a:gd name="T0" fmla="*/ 79 w 82"/>
                <a:gd name="T1" fmla="*/ 30 h 82"/>
                <a:gd name="T2" fmla="*/ 73 w 82"/>
                <a:gd name="T3" fmla="*/ 30 h 82"/>
                <a:gd name="T4" fmla="*/ 71 w 82"/>
                <a:gd name="T5" fmla="*/ 26 h 82"/>
                <a:gd name="T6" fmla="*/ 75 w 82"/>
                <a:gd name="T7" fmla="*/ 21 h 82"/>
                <a:gd name="T8" fmla="*/ 75 w 82"/>
                <a:gd name="T9" fmla="*/ 17 h 82"/>
                <a:gd name="T10" fmla="*/ 65 w 82"/>
                <a:gd name="T11" fmla="*/ 6 h 82"/>
                <a:gd name="T12" fmla="*/ 61 w 82"/>
                <a:gd name="T13" fmla="*/ 6 h 82"/>
                <a:gd name="T14" fmla="*/ 56 w 82"/>
                <a:gd name="T15" fmla="*/ 11 h 82"/>
                <a:gd name="T16" fmla="*/ 51 w 82"/>
                <a:gd name="T17" fmla="*/ 9 h 82"/>
                <a:gd name="T18" fmla="*/ 51 w 82"/>
                <a:gd name="T19" fmla="*/ 2 h 82"/>
                <a:gd name="T20" fmla="*/ 49 w 82"/>
                <a:gd name="T21" fmla="*/ 0 h 82"/>
                <a:gd name="T22" fmla="*/ 33 w 82"/>
                <a:gd name="T23" fmla="*/ 0 h 82"/>
                <a:gd name="T24" fmla="*/ 31 w 82"/>
                <a:gd name="T25" fmla="*/ 2 h 82"/>
                <a:gd name="T26" fmla="*/ 31 w 82"/>
                <a:gd name="T27" fmla="*/ 9 h 82"/>
                <a:gd name="T28" fmla="*/ 26 w 82"/>
                <a:gd name="T29" fmla="*/ 11 h 82"/>
                <a:gd name="T30" fmla="*/ 21 w 82"/>
                <a:gd name="T31" fmla="*/ 6 h 82"/>
                <a:gd name="T32" fmla="*/ 19 w 82"/>
                <a:gd name="T33" fmla="*/ 6 h 82"/>
                <a:gd name="T34" fmla="*/ 17 w 82"/>
                <a:gd name="T35" fmla="*/ 6 h 82"/>
                <a:gd name="T36" fmla="*/ 6 w 82"/>
                <a:gd name="T37" fmla="*/ 17 h 82"/>
                <a:gd name="T38" fmla="*/ 6 w 82"/>
                <a:gd name="T39" fmla="*/ 21 h 82"/>
                <a:gd name="T40" fmla="*/ 11 w 82"/>
                <a:gd name="T41" fmla="*/ 26 h 82"/>
                <a:gd name="T42" fmla="*/ 9 w 82"/>
                <a:gd name="T43" fmla="*/ 30 h 82"/>
                <a:gd name="T44" fmla="*/ 2 w 82"/>
                <a:gd name="T45" fmla="*/ 30 h 82"/>
                <a:gd name="T46" fmla="*/ 0 w 82"/>
                <a:gd name="T47" fmla="*/ 33 h 82"/>
                <a:gd name="T48" fmla="*/ 0 w 82"/>
                <a:gd name="T49" fmla="*/ 49 h 82"/>
                <a:gd name="T50" fmla="*/ 2 w 82"/>
                <a:gd name="T51" fmla="*/ 51 h 82"/>
                <a:gd name="T52" fmla="*/ 9 w 82"/>
                <a:gd name="T53" fmla="*/ 51 h 82"/>
                <a:gd name="T54" fmla="*/ 11 w 82"/>
                <a:gd name="T55" fmla="*/ 56 h 82"/>
                <a:gd name="T56" fmla="*/ 6 w 82"/>
                <a:gd name="T57" fmla="*/ 61 h 82"/>
                <a:gd name="T58" fmla="*/ 6 w 82"/>
                <a:gd name="T59" fmla="*/ 63 h 82"/>
                <a:gd name="T60" fmla="*/ 6 w 82"/>
                <a:gd name="T61" fmla="*/ 64 h 82"/>
                <a:gd name="T62" fmla="*/ 17 w 82"/>
                <a:gd name="T63" fmla="*/ 75 h 82"/>
                <a:gd name="T64" fmla="*/ 21 w 82"/>
                <a:gd name="T65" fmla="*/ 75 h 82"/>
                <a:gd name="T66" fmla="*/ 26 w 82"/>
                <a:gd name="T67" fmla="*/ 71 h 82"/>
                <a:gd name="T68" fmla="*/ 31 w 82"/>
                <a:gd name="T69" fmla="*/ 73 h 82"/>
                <a:gd name="T70" fmla="*/ 31 w 82"/>
                <a:gd name="T71" fmla="*/ 79 h 82"/>
                <a:gd name="T72" fmla="*/ 33 w 82"/>
                <a:gd name="T73" fmla="*/ 82 h 82"/>
                <a:gd name="T74" fmla="*/ 49 w 82"/>
                <a:gd name="T75" fmla="*/ 82 h 82"/>
                <a:gd name="T76" fmla="*/ 51 w 82"/>
                <a:gd name="T77" fmla="*/ 79 h 82"/>
                <a:gd name="T78" fmla="*/ 51 w 82"/>
                <a:gd name="T79" fmla="*/ 73 h 82"/>
                <a:gd name="T80" fmla="*/ 56 w 82"/>
                <a:gd name="T81" fmla="*/ 71 h 82"/>
                <a:gd name="T82" fmla="*/ 61 w 82"/>
                <a:gd name="T83" fmla="*/ 75 h 82"/>
                <a:gd name="T84" fmla="*/ 65 w 82"/>
                <a:gd name="T85" fmla="*/ 75 h 82"/>
                <a:gd name="T86" fmla="*/ 75 w 82"/>
                <a:gd name="T87" fmla="*/ 64 h 82"/>
                <a:gd name="T88" fmla="*/ 75 w 82"/>
                <a:gd name="T89" fmla="*/ 61 h 82"/>
                <a:gd name="T90" fmla="*/ 71 w 82"/>
                <a:gd name="T91" fmla="*/ 56 h 82"/>
                <a:gd name="T92" fmla="*/ 73 w 82"/>
                <a:gd name="T93" fmla="*/ 51 h 82"/>
                <a:gd name="T94" fmla="*/ 79 w 82"/>
                <a:gd name="T95" fmla="*/ 51 h 82"/>
                <a:gd name="T96" fmla="*/ 82 w 82"/>
                <a:gd name="T97" fmla="*/ 49 h 82"/>
                <a:gd name="T98" fmla="*/ 82 w 82"/>
                <a:gd name="T99" fmla="*/ 33 h 82"/>
                <a:gd name="T100" fmla="*/ 79 w 82"/>
                <a:gd name="T101" fmla="*/ 30 h 82"/>
                <a:gd name="T102" fmla="*/ 41 w 82"/>
                <a:gd name="T103" fmla="*/ 59 h 82"/>
                <a:gd name="T104" fmla="*/ 23 w 82"/>
                <a:gd name="T105" fmla="*/ 41 h 82"/>
                <a:gd name="T106" fmla="*/ 41 w 82"/>
                <a:gd name="T107" fmla="*/ 23 h 82"/>
                <a:gd name="T108" fmla="*/ 59 w 82"/>
                <a:gd name="T109" fmla="*/ 41 h 82"/>
                <a:gd name="T110" fmla="*/ 41 w 82"/>
                <a:gd name="T111" fmla="*/ 59 h 82"/>
                <a:gd name="T112" fmla="*/ 41 w 82"/>
                <a:gd name="T113" fmla="*/ 59 h 82"/>
                <a:gd name="T114" fmla="*/ 41 w 82"/>
                <a:gd name="T115" fmla="*/ 59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2" h="82">
                  <a:moveTo>
                    <a:pt x="79" y="30"/>
                  </a:moveTo>
                  <a:cubicBezTo>
                    <a:pt x="73" y="30"/>
                    <a:pt x="73" y="30"/>
                    <a:pt x="73" y="30"/>
                  </a:cubicBezTo>
                  <a:cubicBezTo>
                    <a:pt x="72" y="29"/>
                    <a:pt x="71" y="27"/>
                    <a:pt x="71" y="26"/>
                  </a:cubicBezTo>
                  <a:cubicBezTo>
                    <a:pt x="75" y="21"/>
                    <a:pt x="75" y="21"/>
                    <a:pt x="75" y="21"/>
                  </a:cubicBezTo>
                  <a:cubicBezTo>
                    <a:pt x="76" y="20"/>
                    <a:pt x="76" y="18"/>
                    <a:pt x="75" y="17"/>
                  </a:cubicBezTo>
                  <a:cubicBezTo>
                    <a:pt x="65" y="6"/>
                    <a:pt x="65" y="6"/>
                    <a:pt x="65" y="6"/>
                  </a:cubicBezTo>
                  <a:cubicBezTo>
                    <a:pt x="63" y="5"/>
                    <a:pt x="62" y="5"/>
                    <a:pt x="61" y="6"/>
                  </a:cubicBezTo>
                  <a:cubicBezTo>
                    <a:pt x="56" y="11"/>
                    <a:pt x="56" y="11"/>
                    <a:pt x="56" y="11"/>
                  </a:cubicBezTo>
                  <a:cubicBezTo>
                    <a:pt x="54" y="10"/>
                    <a:pt x="53" y="10"/>
                    <a:pt x="51" y="9"/>
                  </a:cubicBezTo>
                  <a:cubicBezTo>
                    <a:pt x="51" y="2"/>
                    <a:pt x="51" y="2"/>
                    <a:pt x="51" y="2"/>
                  </a:cubicBezTo>
                  <a:cubicBezTo>
                    <a:pt x="51" y="1"/>
                    <a:pt x="50" y="0"/>
                    <a:pt x="49" y="0"/>
                  </a:cubicBezTo>
                  <a:cubicBezTo>
                    <a:pt x="33" y="0"/>
                    <a:pt x="33" y="0"/>
                    <a:pt x="33" y="0"/>
                  </a:cubicBezTo>
                  <a:cubicBezTo>
                    <a:pt x="32" y="0"/>
                    <a:pt x="31" y="1"/>
                    <a:pt x="31" y="2"/>
                  </a:cubicBezTo>
                  <a:cubicBezTo>
                    <a:pt x="31" y="9"/>
                    <a:pt x="31" y="9"/>
                    <a:pt x="31" y="9"/>
                  </a:cubicBezTo>
                  <a:cubicBezTo>
                    <a:pt x="29" y="10"/>
                    <a:pt x="27" y="10"/>
                    <a:pt x="26" y="11"/>
                  </a:cubicBezTo>
                  <a:cubicBezTo>
                    <a:pt x="21" y="6"/>
                    <a:pt x="21" y="6"/>
                    <a:pt x="21" y="6"/>
                  </a:cubicBezTo>
                  <a:cubicBezTo>
                    <a:pt x="21" y="6"/>
                    <a:pt x="20" y="6"/>
                    <a:pt x="19" y="6"/>
                  </a:cubicBezTo>
                  <a:cubicBezTo>
                    <a:pt x="18" y="6"/>
                    <a:pt x="18" y="6"/>
                    <a:pt x="17" y="6"/>
                  </a:cubicBezTo>
                  <a:cubicBezTo>
                    <a:pt x="6" y="17"/>
                    <a:pt x="6" y="17"/>
                    <a:pt x="6" y="17"/>
                  </a:cubicBezTo>
                  <a:cubicBezTo>
                    <a:pt x="5" y="18"/>
                    <a:pt x="5" y="20"/>
                    <a:pt x="6" y="21"/>
                  </a:cubicBezTo>
                  <a:cubicBezTo>
                    <a:pt x="11" y="26"/>
                    <a:pt x="11" y="26"/>
                    <a:pt x="11" y="26"/>
                  </a:cubicBezTo>
                  <a:cubicBezTo>
                    <a:pt x="10" y="27"/>
                    <a:pt x="10" y="29"/>
                    <a:pt x="9" y="30"/>
                  </a:cubicBezTo>
                  <a:cubicBezTo>
                    <a:pt x="2" y="30"/>
                    <a:pt x="2" y="30"/>
                    <a:pt x="2" y="30"/>
                  </a:cubicBezTo>
                  <a:cubicBezTo>
                    <a:pt x="1" y="30"/>
                    <a:pt x="0" y="32"/>
                    <a:pt x="0" y="33"/>
                  </a:cubicBezTo>
                  <a:cubicBezTo>
                    <a:pt x="0" y="49"/>
                    <a:pt x="0" y="49"/>
                    <a:pt x="0" y="49"/>
                  </a:cubicBezTo>
                  <a:cubicBezTo>
                    <a:pt x="0" y="50"/>
                    <a:pt x="1" y="51"/>
                    <a:pt x="2" y="51"/>
                  </a:cubicBezTo>
                  <a:cubicBezTo>
                    <a:pt x="9" y="51"/>
                    <a:pt x="9" y="51"/>
                    <a:pt x="9" y="51"/>
                  </a:cubicBezTo>
                  <a:cubicBezTo>
                    <a:pt x="10" y="53"/>
                    <a:pt x="10" y="54"/>
                    <a:pt x="11" y="56"/>
                  </a:cubicBezTo>
                  <a:cubicBezTo>
                    <a:pt x="6" y="61"/>
                    <a:pt x="6" y="61"/>
                    <a:pt x="6" y="61"/>
                  </a:cubicBezTo>
                  <a:cubicBezTo>
                    <a:pt x="6" y="61"/>
                    <a:pt x="6" y="62"/>
                    <a:pt x="6" y="63"/>
                  </a:cubicBezTo>
                  <a:cubicBezTo>
                    <a:pt x="6" y="63"/>
                    <a:pt x="6" y="64"/>
                    <a:pt x="6" y="64"/>
                  </a:cubicBezTo>
                  <a:cubicBezTo>
                    <a:pt x="17" y="75"/>
                    <a:pt x="17" y="75"/>
                    <a:pt x="17" y="75"/>
                  </a:cubicBezTo>
                  <a:cubicBezTo>
                    <a:pt x="18" y="76"/>
                    <a:pt x="20" y="76"/>
                    <a:pt x="21" y="75"/>
                  </a:cubicBezTo>
                  <a:cubicBezTo>
                    <a:pt x="26" y="71"/>
                    <a:pt x="26" y="71"/>
                    <a:pt x="26" y="71"/>
                  </a:cubicBezTo>
                  <a:cubicBezTo>
                    <a:pt x="27" y="71"/>
                    <a:pt x="29" y="72"/>
                    <a:pt x="31" y="73"/>
                  </a:cubicBezTo>
                  <a:cubicBezTo>
                    <a:pt x="31" y="79"/>
                    <a:pt x="31" y="79"/>
                    <a:pt x="31" y="79"/>
                  </a:cubicBezTo>
                  <a:cubicBezTo>
                    <a:pt x="31" y="81"/>
                    <a:pt x="32" y="82"/>
                    <a:pt x="33" y="82"/>
                  </a:cubicBezTo>
                  <a:cubicBezTo>
                    <a:pt x="49" y="82"/>
                    <a:pt x="49" y="82"/>
                    <a:pt x="49" y="82"/>
                  </a:cubicBezTo>
                  <a:cubicBezTo>
                    <a:pt x="50" y="82"/>
                    <a:pt x="51" y="81"/>
                    <a:pt x="51" y="79"/>
                  </a:cubicBezTo>
                  <a:cubicBezTo>
                    <a:pt x="51" y="73"/>
                    <a:pt x="51" y="73"/>
                    <a:pt x="51" y="73"/>
                  </a:cubicBezTo>
                  <a:cubicBezTo>
                    <a:pt x="53" y="72"/>
                    <a:pt x="54" y="71"/>
                    <a:pt x="56" y="71"/>
                  </a:cubicBezTo>
                  <a:cubicBezTo>
                    <a:pt x="61" y="75"/>
                    <a:pt x="61" y="75"/>
                    <a:pt x="61" y="75"/>
                  </a:cubicBezTo>
                  <a:cubicBezTo>
                    <a:pt x="62" y="76"/>
                    <a:pt x="63" y="76"/>
                    <a:pt x="65" y="75"/>
                  </a:cubicBezTo>
                  <a:cubicBezTo>
                    <a:pt x="75" y="64"/>
                    <a:pt x="75" y="64"/>
                    <a:pt x="75" y="64"/>
                  </a:cubicBezTo>
                  <a:cubicBezTo>
                    <a:pt x="76" y="63"/>
                    <a:pt x="76" y="62"/>
                    <a:pt x="75" y="61"/>
                  </a:cubicBezTo>
                  <a:cubicBezTo>
                    <a:pt x="71" y="56"/>
                    <a:pt x="71" y="56"/>
                    <a:pt x="71" y="56"/>
                  </a:cubicBezTo>
                  <a:cubicBezTo>
                    <a:pt x="71" y="54"/>
                    <a:pt x="72" y="53"/>
                    <a:pt x="73" y="51"/>
                  </a:cubicBezTo>
                  <a:cubicBezTo>
                    <a:pt x="79" y="51"/>
                    <a:pt x="79" y="51"/>
                    <a:pt x="79" y="51"/>
                  </a:cubicBezTo>
                  <a:cubicBezTo>
                    <a:pt x="81" y="51"/>
                    <a:pt x="82" y="50"/>
                    <a:pt x="82" y="49"/>
                  </a:cubicBezTo>
                  <a:cubicBezTo>
                    <a:pt x="82" y="33"/>
                    <a:pt x="82" y="33"/>
                    <a:pt x="82" y="33"/>
                  </a:cubicBezTo>
                  <a:cubicBezTo>
                    <a:pt x="82" y="32"/>
                    <a:pt x="81" y="30"/>
                    <a:pt x="79" y="30"/>
                  </a:cubicBezTo>
                  <a:close/>
                  <a:moveTo>
                    <a:pt x="41" y="59"/>
                  </a:moveTo>
                  <a:cubicBezTo>
                    <a:pt x="31" y="59"/>
                    <a:pt x="23" y="51"/>
                    <a:pt x="23" y="41"/>
                  </a:cubicBezTo>
                  <a:cubicBezTo>
                    <a:pt x="23" y="31"/>
                    <a:pt x="31" y="23"/>
                    <a:pt x="41" y="23"/>
                  </a:cubicBezTo>
                  <a:cubicBezTo>
                    <a:pt x="51" y="23"/>
                    <a:pt x="59" y="31"/>
                    <a:pt x="59" y="41"/>
                  </a:cubicBezTo>
                  <a:cubicBezTo>
                    <a:pt x="59" y="51"/>
                    <a:pt x="51" y="59"/>
                    <a:pt x="41" y="59"/>
                  </a:cubicBezTo>
                  <a:close/>
                  <a:moveTo>
                    <a:pt x="41" y="59"/>
                  </a:moveTo>
                  <a:cubicBezTo>
                    <a:pt x="41" y="59"/>
                    <a:pt x="41" y="59"/>
                    <a:pt x="41" y="5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6" name="Freeform 258">
              <a:extLst>
                <a:ext uri="{FF2B5EF4-FFF2-40B4-BE49-F238E27FC236}">
                  <a16:creationId xmlns:a16="http://schemas.microsoft.com/office/drawing/2014/main" id="{ADDD0286-DD52-47E0-8548-1D0A7C5F3608}"/>
                </a:ext>
              </a:extLst>
            </p:cNvPr>
            <p:cNvSpPr>
              <a:spLocks noEditPoints="1"/>
            </p:cNvSpPr>
            <p:nvPr/>
          </p:nvSpPr>
          <p:spPr bwMode="auto">
            <a:xfrm>
              <a:off x="6111875" y="1595438"/>
              <a:ext cx="142875" cy="146050"/>
            </a:xfrm>
            <a:custGeom>
              <a:avLst/>
              <a:gdLst>
                <a:gd name="T0" fmla="*/ 42 w 44"/>
                <a:gd name="T1" fmla="*/ 16 h 45"/>
                <a:gd name="T2" fmla="*/ 39 w 44"/>
                <a:gd name="T3" fmla="*/ 16 h 45"/>
                <a:gd name="T4" fmla="*/ 39 w 44"/>
                <a:gd name="T5" fmla="*/ 15 h 45"/>
                <a:gd name="T6" fmla="*/ 41 w 44"/>
                <a:gd name="T7" fmla="*/ 13 h 45"/>
                <a:gd name="T8" fmla="*/ 41 w 44"/>
                <a:gd name="T9" fmla="*/ 9 h 45"/>
                <a:gd name="T10" fmla="*/ 35 w 44"/>
                <a:gd name="T11" fmla="*/ 4 h 45"/>
                <a:gd name="T12" fmla="*/ 31 w 44"/>
                <a:gd name="T13" fmla="*/ 4 h 45"/>
                <a:gd name="T14" fmla="*/ 29 w 44"/>
                <a:gd name="T15" fmla="*/ 5 h 45"/>
                <a:gd name="T16" fmla="*/ 29 w 44"/>
                <a:gd name="T17" fmla="*/ 5 h 45"/>
                <a:gd name="T18" fmla="*/ 29 w 44"/>
                <a:gd name="T19" fmla="*/ 3 h 45"/>
                <a:gd name="T20" fmla="*/ 26 w 44"/>
                <a:gd name="T21" fmla="*/ 0 h 45"/>
                <a:gd name="T22" fmla="*/ 18 w 44"/>
                <a:gd name="T23" fmla="*/ 0 h 45"/>
                <a:gd name="T24" fmla="*/ 15 w 44"/>
                <a:gd name="T25" fmla="*/ 3 h 45"/>
                <a:gd name="T26" fmla="*/ 15 w 44"/>
                <a:gd name="T27" fmla="*/ 5 h 45"/>
                <a:gd name="T28" fmla="*/ 15 w 44"/>
                <a:gd name="T29" fmla="*/ 5 h 45"/>
                <a:gd name="T30" fmla="*/ 13 w 44"/>
                <a:gd name="T31" fmla="*/ 4 h 45"/>
                <a:gd name="T32" fmla="*/ 9 w 44"/>
                <a:gd name="T33" fmla="*/ 4 h 45"/>
                <a:gd name="T34" fmla="*/ 3 w 44"/>
                <a:gd name="T35" fmla="*/ 9 h 45"/>
                <a:gd name="T36" fmla="*/ 3 w 44"/>
                <a:gd name="T37" fmla="*/ 13 h 45"/>
                <a:gd name="T38" fmla="*/ 5 w 44"/>
                <a:gd name="T39" fmla="*/ 15 h 45"/>
                <a:gd name="T40" fmla="*/ 5 w 44"/>
                <a:gd name="T41" fmla="*/ 16 h 45"/>
                <a:gd name="T42" fmla="*/ 2 w 44"/>
                <a:gd name="T43" fmla="*/ 16 h 45"/>
                <a:gd name="T44" fmla="*/ 0 w 44"/>
                <a:gd name="T45" fmla="*/ 18 h 45"/>
                <a:gd name="T46" fmla="*/ 0 w 44"/>
                <a:gd name="T47" fmla="*/ 26 h 45"/>
                <a:gd name="T48" fmla="*/ 2 w 44"/>
                <a:gd name="T49" fmla="*/ 29 h 45"/>
                <a:gd name="T50" fmla="*/ 5 w 44"/>
                <a:gd name="T51" fmla="*/ 29 h 45"/>
                <a:gd name="T52" fmla="*/ 5 w 44"/>
                <a:gd name="T53" fmla="*/ 30 h 45"/>
                <a:gd name="T54" fmla="*/ 3 w 44"/>
                <a:gd name="T55" fmla="*/ 31 h 45"/>
                <a:gd name="T56" fmla="*/ 3 w 44"/>
                <a:gd name="T57" fmla="*/ 35 h 45"/>
                <a:gd name="T58" fmla="*/ 9 w 44"/>
                <a:gd name="T59" fmla="*/ 41 h 45"/>
                <a:gd name="T60" fmla="*/ 13 w 44"/>
                <a:gd name="T61" fmla="*/ 41 h 45"/>
                <a:gd name="T62" fmla="*/ 15 w 44"/>
                <a:gd name="T63" fmla="*/ 39 h 45"/>
                <a:gd name="T64" fmla="*/ 15 w 44"/>
                <a:gd name="T65" fmla="*/ 39 h 45"/>
                <a:gd name="T66" fmla="*/ 15 w 44"/>
                <a:gd name="T67" fmla="*/ 42 h 45"/>
                <a:gd name="T68" fmla="*/ 18 w 44"/>
                <a:gd name="T69" fmla="*/ 45 h 45"/>
                <a:gd name="T70" fmla="*/ 26 w 44"/>
                <a:gd name="T71" fmla="*/ 45 h 45"/>
                <a:gd name="T72" fmla="*/ 29 w 44"/>
                <a:gd name="T73" fmla="*/ 42 h 45"/>
                <a:gd name="T74" fmla="*/ 29 w 44"/>
                <a:gd name="T75" fmla="*/ 39 h 45"/>
                <a:gd name="T76" fmla="*/ 29 w 44"/>
                <a:gd name="T77" fmla="*/ 39 h 45"/>
                <a:gd name="T78" fmla="*/ 31 w 44"/>
                <a:gd name="T79" fmla="*/ 41 h 45"/>
                <a:gd name="T80" fmla="*/ 35 w 44"/>
                <a:gd name="T81" fmla="*/ 41 h 45"/>
                <a:gd name="T82" fmla="*/ 41 w 44"/>
                <a:gd name="T83" fmla="*/ 35 h 45"/>
                <a:gd name="T84" fmla="*/ 41 w 44"/>
                <a:gd name="T85" fmla="*/ 31 h 45"/>
                <a:gd name="T86" fmla="*/ 39 w 44"/>
                <a:gd name="T87" fmla="*/ 30 h 45"/>
                <a:gd name="T88" fmla="*/ 39 w 44"/>
                <a:gd name="T89" fmla="*/ 29 h 45"/>
                <a:gd name="T90" fmla="*/ 42 w 44"/>
                <a:gd name="T91" fmla="*/ 29 h 45"/>
                <a:gd name="T92" fmla="*/ 44 w 44"/>
                <a:gd name="T93" fmla="*/ 26 h 45"/>
                <a:gd name="T94" fmla="*/ 44 w 44"/>
                <a:gd name="T95" fmla="*/ 18 h 45"/>
                <a:gd name="T96" fmla="*/ 42 w 44"/>
                <a:gd name="T97" fmla="*/ 16 h 45"/>
                <a:gd name="T98" fmla="*/ 22 w 44"/>
                <a:gd name="T99" fmla="*/ 31 h 45"/>
                <a:gd name="T100" fmla="*/ 13 w 44"/>
                <a:gd name="T101" fmla="*/ 22 h 45"/>
                <a:gd name="T102" fmla="*/ 22 w 44"/>
                <a:gd name="T103" fmla="*/ 13 h 45"/>
                <a:gd name="T104" fmla="*/ 31 w 44"/>
                <a:gd name="T105" fmla="*/ 22 h 45"/>
                <a:gd name="T106" fmla="*/ 22 w 44"/>
                <a:gd name="T107" fmla="*/ 31 h 45"/>
                <a:gd name="T108" fmla="*/ 22 w 44"/>
                <a:gd name="T109" fmla="*/ 31 h 45"/>
                <a:gd name="T110" fmla="*/ 22 w 44"/>
                <a:gd name="T111" fmla="*/ 3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4" h="45">
                  <a:moveTo>
                    <a:pt x="42" y="16"/>
                  </a:moveTo>
                  <a:cubicBezTo>
                    <a:pt x="39" y="16"/>
                    <a:pt x="39" y="16"/>
                    <a:pt x="39" y="16"/>
                  </a:cubicBezTo>
                  <a:cubicBezTo>
                    <a:pt x="39" y="15"/>
                    <a:pt x="39" y="15"/>
                    <a:pt x="39" y="15"/>
                  </a:cubicBezTo>
                  <a:cubicBezTo>
                    <a:pt x="41" y="13"/>
                    <a:pt x="41" y="13"/>
                    <a:pt x="41" y="13"/>
                  </a:cubicBezTo>
                  <a:cubicBezTo>
                    <a:pt x="42" y="12"/>
                    <a:pt x="42" y="10"/>
                    <a:pt x="41" y="9"/>
                  </a:cubicBezTo>
                  <a:cubicBezTo>
                    <a:pt x="35" y="4"/>
                    <a:pt x="35" y="4"/>
                    <a:pt x="35" y="4"/>
                  </a:cubicBezTo>
                  <a:cubicBezTo>
                    <a:pt x="34" y="3"/>
                    <a:pt x="32" y="3"/>
                    <a:pt x="31" y="4"/>
                  </a:cubicBezTo>
                  <a:cubicBezTo>
                    <a:pt x="29" y="5"/>
                    <a:pt x="29" y="5"/>
                    <a:pt x="29" y="5"/>
                  </a:cubicBezTo>
                  <a:cubicBezTo>
                    <a:pt x="29" y="5"/>
                    <a:pt x="29" y="5"/>
                    <a:pt x="29" y="5"/>
                  </a:cubicBezTo>
                  <a:cubicBezTo>
                    <a:pt x="29" y="3"/>
                    <a:pt x="29" y="3"/>
                    <a:pt x="29" y="3"/>
                  </a:cubicBezTo>
                  <a:cubicBezTo>
                    <a:pt x="29" y="1"/>
                    <a:pt x="27" y="0"/>
                    <a:pt x="26" y="0"/>
                  </a:cubicBezTo>
                  <a:cubicBezTo>
                    <a:pt x="18" y="0"/>
                    <a:pt x="18" y="0"/>
                    <a:pt x="18" y="0"/>
                  </a:cubicBezTo>
                  <a:cubicBezTo>
                    <a:pt x="17" y="0"/>
                    <a:pt x="15" y="1"/>
                    <a:pt x="15" y="3"/>
                  </a:cubicBezTo>
                  <a:cubicBezTo>
                    <a:pt x="15" y="5"/>
                    <a:pt x="15" y="5"/>
                    <a:pt x="15" y="5"/>
                  </a:cubicBezTo>
                  <a:cubicBezTo>
                    <a:pt x="15" y="5"/>
                    <a:pt x="15" y="5"/>
                    <a:pt x="15" y="5"/>
                  </a:cubicBezTo>
                  <a:cubicBezTo>
                    <a:pt x="13" y="4"/>
                    <a:pt x="13" y="4"/>
                    <a:pt x="13" y="4"/>
                  </a:cubicBezTo>
                  <a:cubicBezTo>
                    <a:pt x="12" y="3"/>
                    <a:pt x="10" y="3"/>
                    <a:pt x="9" y="4"/>
                  </a:cubicBezTo>
                  <a:cubicBezTo>
                    <a:pt x="3" y="9"/>
                    <a:pt x="3" y="9"/>
                    <a:pt x="3" y="9"/>
                  </a:cubicBezTo>
                  <a:cubicBezTo>
                    <a:pt x="2" y="10"/>
                    <a:pt x="2" y="12"/>
                    <a:pt x="3" y="13"/>
                  </a:cubicBezTo>
                  <a:cubicBezTo>
                    <a:pt x="5" y="15"/>
                    <a:pt x="5" y="15"/>
                    <a:pt x="5" y="15"/>
                  </a:cubicBezTo>
                  <a:cubicBezTo>
                    <a:pt x="5" y="15"/>
                    <a:pt x="5" y="15"/>
                    <a:pt x="5" y="16"/>
                  </a:cubicBezTo>
                  <a:cubicBezTo>
                    <a:pt x="2" y="16"/>
                    <a:pt x="2" y="16"/>
                    <a:pt x="2" y="16"/>
                  </a:cubicBezTo>
                  <a:cubicBezTo>
                    <a:pt x="1" y="16"/>
                    <a:pt x="0" y="17"/>
                    <a:pt x="0" y="18"/>
                  </a:cubicBezTo>
                  <a:cubicBezTo>
                    <a:pt x="0" y="26"/>
                    <a:pt x="0" y="26"/>
                    <a:pt x="0" y="26"/>
                  </a:cubicBezTo>
                  <a:cubicBezTo>
                    <a:pt x="0" y="28"/>
                    <a:pt x="1" y="29"/>
                    <a:pt x="2" y="29"/>
                  </a:cubicBezTo>
                  <a:cubicBezTo>
                    <a:pt x="5" y="29"/>
                    <a:pt x="5" y="29"/>
                    <a:pt x="5" y="29"/>
                  </a:cubicBezTo>
                  <a:cubicBezTo>
                    <a:pt x="5" y="29"/>
                    <a:pt x="5" y="29"/>
                    <a:pt x="5" y="30"/>
                  </a:cubicBezTo>
                  <a:cubicBezTo>
                    <a:pt x="3" y="31"/>
                    <a:pt x="3" y="31"/>
                    <a:pt x="3" y="31"/>
                  </a:cubicBezTo>
                  <a:cubicBezTo>
                    <a:pt x="2" y="33"/>
                    <a:pt x="2" y="34"/>
                    <a:pt x="3" y="35"/>
                  </a:cubicBezTo>
                  <a:cubicBezTo>
                    <a:pt x="9" y="41"/>
                    <a:pt x="9" y="41"/>
                    <a:pt x="9" y="41"/>
                  </a:cubicBezTo>
                  <a:cubicBezTo>
                    <a:pt x="10" y="42"/>
                    <a:pt x="12" y="42"/>
                    <a:pt x="13" y="41"/>
                  </a:cubicBezTo>
                  <a:cubicBezTo>
                    <a:pt x="15" y="39"/>
                    <a:pt x="15" y="39"/>
                    <a:pt x="15" y="39"/>
                  </a:cubicBezTo>
                  <a:cubicBezTo>
                    <a:pt x="15" y="39"/>
                    <a:pt x="15" y="39"/>
                    <a:pt x="15" y="39"/>
                  </a:cubicBezTo>
                  <a:cubicBezTo>
                    <a:pt x="15" y="42"/>
                    <a:pt x="15" y="42"/>
                    <a:pt x="15" y="42"/>
                  </a:cubicBezTo>
                  <a:cubicBezTo>
                    <a:pt x="15" y="43"/>
                    <a:pt x="17" y="45"/>
                    <a:pt x="18" y="45"/>
                  </a:cubicBezTo>
                  <a:cubicBezTo>
                    <a:pt x="26" y="45"/>
                    <a:pt x="26" y="45"/>
                    <a:pt x="26" y="45"/>
                  </a:cubicBezTo>
                  <a:cubicBezTo>
                    <a:pt x="27" y="45"/>
                    <a:pt x="29" y="43"/>
                    <a:pt x="29" y="42"/>
                  </a:cubicBezTo>
                  <a:cubicBezTo>
                    <a:pt x="29" y="39"/>
                    <a:pt x="29" y="39"/>
                    <a:pt x="29" y="39"/>
                  </a:cubicBezTo>
                  <a:cubicBezTo>
                    <a:pt x="29" y="39"/>
                    <a:pt x="29" y="39"/>
                    <a:pt x="29" y="39"/>
                  </a:cubicBezTo>
                  <a:cubicBezTo>
                    <a:pt x="31" y="41"/>
                    <a:pt x="31" y="41"/>
                    <a:pt x="31" y="41"/>
                  </a:cubicBezTo>
                  <a:cubicBezTo>
                    <a:pt x="32" y="42"/>
                    <a:pt x="34" y="42"/>
                    <a:pt x="35" y="41"/>
                  </a:cubicBezTo>
                  <a:cubicBezTo>
                    <a:pt x="41" y="35"/>
                    <a:pt x="41" y="35"/>
                    <a:pt x="41" y="35"/>
                  </a:cubicBezTo>
                  <a:cubicBezTo>
                    <a:pt x="42" y="34"/>
                    <a:pt x="42" y="33"/>
                    <a:pt x="41" y="31"/>
                  </a:cubicBezTo>
                  <a:cubicBezTo>
                    <a:pt x="39" y="30"/>
                    <a:pt x="39" y="30"/>
                    <a:pt x="39" y="30"/>
                  </a:cubicBezTo>
                  <a:cubicBezTo>
                    <a:pt x="39" y="29"/>
                    <a:pt x="39" y="29"/>
                    <a:pt x="39" y="29"/>
                  </a:cubicBezTo>
                  <a:cubicBezTo>
                    <a:pt x="42" y="29"/>
                    <a:pt x="42" y="29"/>
                    <a:pt x="42" y="29"/>
                  </a:cubicBezTo>
                  <a:cubicBezTo>
                    <a:pt x="43" y="29"/>
                    <a:pt x="44" y="28"/>
                    <a:pt x="44" y="26"/>
                  </a:cubicBezTo>
                  <a:cubicBezTo>
                    <a:pt x="44" y="18"/>
                    <a:pt x="44" y="18"/>
                    <a:pt x="44" y="18"/>
                  </a:cubicBezTo>
                  <a:cubicBezTo>
                    <a:pt x="44" y="17"/>
                    <a:pt x="43" y="16"/>
                    <a:pt x="42" y="16"/>
                  </a:cubicBezTo>
                  <a:close/>
                  <a:moveTo>
                    <a:pt x="22" y="31"/>
                  </a:moveTo>
                  <a:cubicBezTo>
                    <a:pt x="17" y="31"/>
                    <a:pt x="13" y="27"/>
                    <a:pt x="13" y="22"/>
                  </a:cubicBezTo>
                  <a:cubicBezTo>
                    <a:pt x="13" y="17"/>
                    <a:pt x="17" y="13"/>
                    <a:pt x="22" y="13"/>
                  </a:cubicBezTo>
                  <a:cubicBezTo>
                    <a:pt x="27" y="13"/>
                    <a:pt x="31" y="17"/>
                    <a:pt x="31" y="22"/>
                  </a:cubicBezTo>
                  <a:cubicBezTo>
                    <a:pt x="31" y="27"/>
                    <a:pt x="27" y="31"/>
                    <a:pt x="22" y="31"/>
                  </a:cubicBezTo>
                  <a:close/>
                  <a:moveTo>
                    <a:pt x="22" y="31"/>
                  </a:moveTo>
                  <a:cubicBezTo>
                    <a:pt x="22" y="31"/>
                    <a:pt x="22" y="31"/>
                    <a:pt x="22" y="3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7" name="Freeform 259">
              <a:extLst>
                <a:ext uri="{FF2B5EF4-FFF2-40B4-BE49-F238E27FC236}">
                  <a16:creationId xmlns:a16="http://schemas.microsoft.com/office/drawing/2014/main" id="{97DC15B4-2E1C-4C33-9346-F1885B291A72}"/>
                </a:ext>
              </a:extLst>
            </p:cNvPr>
            <p:cNvSpPr>
              <a:spLocks noEditPoints="1"/>
            </p:cNvSpPr>
            <p:nvPr/>
          </p:nvSpPr>
          <p:spPr bwMode="auto">
            <a:xfrm>
              <a:off x="6305550" y="1530350"/>
              <a:ext cx="65087" cy="28575"/>
            </a:xfrm>
            <a:custGeom>
              <a:avLst/>
              <a:gdLst>
                <a:gd name="T0" fmla="*/ 16 w 20"/>
                <a:gd name="T1" fmla="*/ 0 h 9"/>
                <a:gd name="T2" fmla="*/ 15 w 20"/>
                <a:gd name="T3" fmla="*/ 0 h 9"/>
                <a:gd name="T4" fmla="*/ 10 w 20"/>
                <a:gd name="T5" fmla="*/ 2 h 9"/>
                <a:gd name="T6" fmla="*/ 5 w 20"/>
                <a:gd name="T7" fmla="*/ 0 h 9"/>
                <a:gd name="T8" fmla="*/ 3 w 20"/>
                <a:gd name="T9" fmla="*/ 0 h 9"/>
                <a:gd name="T10" fmla="*/ 0 w 20"/>
                <a:gd name="T11" fmla="*/ 5 h 9"/>
                <a:gd name="T12" fmla="*/ 10 w 20"/>
                <a:gd name="T13" fmla="*/ 9 h 9"/>
                <a:gd name="T14" fmla="*/ 20 w 20"/>
                <a:gd name="T15" fmla="*/ 5 h 9"/>
                <a:gd name="T16" fmla="*/ 16 w 20"/>
                <a:gd name="T17" fmla="*/ 0 h 9"/>
                <a:gd name="T18" fmla="*/ 16 w 20"/>
                <a:gd name="T19" fmla="*/ 0 h 9"/>
                <a:gd name="T20" fmla="*/ 16 w 20"/>
                <a:gd name="T21"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9">
                  <a:moveTo>
                    <a:pt x="16" y="0"/>
                  </a:moveTo>
                  <a:cubicBezTo>
                    <a:pt x="15" y="0"/>
                    <a:pt x="15" y="0"/>
                    <a:pt x="15" y="0"/>
                  </a:cubicBezTo>
                  <a:cubicBezTo>
                    <a:pt x="10" y="2"/>
                    <a:pt x="10" y="2"/>
                    <a:pt x="10" y="2"/>
                  </a:cubicBezTo>
                  <a:cubicBezTo>
                    <a:pt x="5" y="0"/>
                    <a:pt x="5" y="0"/>
                    <a:pt x="5" y="0"/>
                  </a:cubicBezTo>
                  <a:cubicBezTo>
                    <a:pt x="3" y="0"/>
                    <a:pt x="3" y="0"/>
                    <a:pt x="3" y="0"/>
                  </a:cubicBezTo>
                  <a:cubicBezTo>
                    <a:pt x="1" y="1"/>
                    <a:pt x="0" y="3"/>
                    <a:pt x="0" y="5"/>
                  </a:cubicBezTo>
                  <a:cubicBezTo>
                    <a:pt x="2" y="7"/>
                    <a:pt x="6" y="9"/>
                    <a:pt x="10" y="9"/>
                  </a:cubicBezTo>
                  <a:cubicBezTo>
                    <a:pt x="14" y="9"/>
                    <a:pt x="17" y="7"/>
                    <a:pt x="20" y="5"/>
                  </a:cubicBezTo>
                  <a:cubicBezTo>
                    <a:pt x="20" y="3"/>
                    <a:pt x="18" y="1"/>
                    <a:pt x="16" y="0"/>
                  </a:cubicBezTo>
                  <a:close/>
                  <a:moveTo>
                    <a:pt x="16" y="0"/>
                  </a:moveTo>
                  <a:cubicBezTo>
                    <a:pt x="16" y="0"/>
                    <a:pt x="16" y="0"/>
                    <a:pt x="1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grpSp>
        <p:nvGrpSpPr>
          <p:cNvPr id="38" name="Group 54">
            <a:extLst>
              <a:ext uri="{FF2B5EF4-FFF2-40B4-BE49-F238E27FC236}">
                <a16:creationId xmlns:a16="http://schemas.microsoft.com/office/drawing/2014/main" id="{F8684241-376E-48F9-926E-A695A49977DA}"/>
              </a:ext>
            </a:extLst>
          </p:cNvPr>
          <p:cNvGrpSpPr/>
          <p:nvPr/>
        </p:nvGrpSpPr>
        <p:grpSpPr>
          <a:xfrm>
            <a:off x="3355369" y="3911997"/>
            <a:ext cx="273051" cy="387351"/>
            <a:chOff x="7318375" y="100013"/>
            <a:chExt cx="273050" cy="387350"/>
          </a:xfrm>
          <a:solidFill>
            <a:schemeClr val="bg1"/>
          </a:solidFill>
        </p:grpSpPr>
        <p:sp>
          <p:nvSpPr>
            <p:cNvPr id="39" name="Freeform 382">
              <a:extLst>
                <a:ext uri="{FF2B5EF4-FFF2-40B4-BE49-F238E27FC236}">
                  <a16:creationId xmlns:a16="http://schemas.microsoft.com/office/drawing/2014/main" id="{83B9FF11-4054-42B4-A90F-359989EF190A}"/>
                </a:ext>
              </a:extLst>
            </p:cNvPr>
            <p:cNvSpPr>
              <a:spLocks noEditPoints="1"/>
            </p:cNvSpPr>
            <p:nvPr/>
          </p:nvSpPr>
          <p:spPr bwMode="auto">
            <a:xfrm>
              <a:off x="7318375" y="100013"/>
              <a:ext cx="273050" cy="260350"/>
            </a:xfrm>
            <a:custGeom>
              <a:avLst/>
              <a:gdLst>
                <a:gd name="T0" fmla="*/ 22 w 84"/>
                <a:gd name="T1" fmla="*/ 79 h 80"/>
                <a:gd name="T2" fmla="*/ 20 w 84"/>
                <a:gd name="T3" fmla="*/ 72 h 80"/>
                <a:gd name="T4" fmla="*/ 20 w 84"/>
                <a:gd name="T5" fmla="*/ 68 h 80"/>
                <a:gd name="T6" fmla="*/ 13 w 84"/>
                <a:gd name="T7" fmla="*/ 59 h 80"/>
                <a:gd name="T8" fmla="*/ 20 w 84"/>
                <a:gd name="T9" fmla="*/ 59 h 80"/>
                <a:gd name="T10" fmla="*/ 20 w 84"/>
                <a:gd name="T11" fmla="*/ 57 h 80"/>
                <a:gd name="T12" fmla="*/ 21 w 84"/>
                <a:gd name="T13" fmla="*/ 51 h 80"/>
                <a:gd name="T14" fmla="*/ 9 w 84"/>
                <a:gd name="T15" fmla="*/ 51 h 80"/>
                <a:gd name="T16" fmla="*/ 8 w 84"/>
                <a:gd name="T17" fmla="*/ 42 h 80"/>
                <a:gd name="T18" fmla="*/ 9 w 84"/>
                <a:gd name="T19" fmla="*/ 33 h 80"/>
                <a:gd name="T20" fmla="*/ 21 w 84"/>
                <a:gd name="T21" fmla="*/ 33 h 80"/>
                <a:gd name="T22" fmla="*/ 21 w 84"/>
                <a:gd name="T23" fmla="*/ 42 h 80"/>
                <a:gd name="T24" fmla="*/ 21 w 84"/>
                <a:gd name="T25" fmla="*/ 50 h 80"/>
                <a:gd name="T26" fmla="*/ 29 w 84"/>
                <a:gd name="T27" fmla="*/ 41 h 80"/>
                <a:gd name="T28" fmla="*/ 30 w 84"/>
                <a:gd name="T29" fmla="*/ 33 h 80"/>
                <a:gd name="T30" fmla="*/ 53 w 84"/>
                <a:gd name="T31" fmla="*/ 33 h 80"/>
                <a:gd name="T32" fmla="*/ 54 w 84"/>
                <a:gd name="T33" fmla="*/ 41 h 80"/>
                <a:gd name="T34" fmla="*/ 62 w 84"/>
                <a:gd name="T35" fmla="*/ 50 h 80"/>
                <a:gd name="T36" fmla="*/ 62 w 84"/>
                <a:gd name="T37" fmla="*/ 42 h 80"/>
                <a:gd name="T38" fmla="*/ 62 w 84"/>
                <a:gd name="T39" fmla="*/ 33 h 80"/>
                <a:gd name="T40" fmla="*/ 74 w 84"/>
                <a:gd name="T41" fmla="*/ 33 h 80"/>
                <a:gd name="T42" fmla="*/ 75 w 84"/>
                <a:gd name="T43" fmla="*/ 42 h 80"/>
                <a:gd name="T44" fmla="*/ 74 w 84"/>
                <a:gd name="T45" fmla="*/ 51 h 80"/>
                <a:gd name="T46" fmla="*/ 62 w 84"/>
                <a:gd name="T47" fmla="*/ 51 h 80"/>
                <a:gd name="T48" fmla="*/ 63 w 84"/>
                <a:gd name="T49" fmla="*/ 57 h 80"/>
                <a:gd name="T50" fmla="*/ 63 w 84"/>
                <a:gd name="T51" fmla="*/ 59 h 80"/>
                <a:gd name="T52" fmla="*/ 71 w 84"/>
                <a:gd name="T53" fmla="*/ 59 h 80"/>
                <a:gd name="T54" fmla="*/ 63 w 84"/>
                <a:gd name="T55" fmla="*/ 68 h 80"/>
                <a:gd name="T56" fmla="*/ 63 w 84"/>
                <a:gd name="T57" fmla="*/ 72 h 80"/>
                <a:gd name="T58" fmla="*/ 60 w 84"/>
                <a:gd name="T59" fmla="*/ 80 h 80"/>
                <a:gd name="T60" fmla="*/ 71 w 84"/>
                <a:gd name="T61" fmla="*/ 72 h 80"/>
                <a:gd name="T62" fmla="*/ 84 w 84"/>
                <a:gd name="T63" fmla="*/ 42 h 80"/>
                <a:gd name="T64" fmla="*/ 71 w 84"/>
                <a:gd name="T65" fmla="*/ 12 h 80"/>
                <a:gd name="T66" fmla="*/ 42 w 84"/>
                <a:gd name="T67" fmla="*/ 0 h 80"/>
                <a:gd name="T68" fmla="*/ 12 w 84"/>
                <a:gd name="T69" fmla="*/ 12 h 80"/>
                <a:gd name="T70" fmla="*/ 0 w 84"/>
                <a:gd name="T71" fmla="*/ 42 h 80"/>
                <a:gd name="T72" fmla="*/ 12 w 84"/>
                <a:gd name="T73" fmla="*/ 72 h 80"/>
                <a:gd name="T74" fmla="*/ 22 w 84"/>
                <a:gd name="T75" fmla="*/ 79 h 80"/>
                <a:gd name="T76" fmla="*/ 71 w 84"/>
                <a:gd name="T77" fmla="*/ 25 h 80"/>
                <a:gd name="T78" fmla="*/ 60 w 84"/>
                <a:gd name="T79" fmla="*/ 25 h 80"/>
                <a:gd name="T80" fmla="*/ 55 w 84"/>
                <a:gd name="T81" fmla="*/ 11 h 80"/>
                <a:gd name="T82" fmla="*/ 71 w 84"/>
                <a:gd name="T83" fmla="*/ 25 h 80"/>
                <a:gd name="T84" fmla="*/ 39 w 84"/>
                <a:gd name="T85" fmla="*/ 8 h 80"/>
                <a:gd name="T86" fmla="*/ 44 w 84"/>
                <a:gd name="T87" fmla="*/ 8 h 80"/>
                <a:gd name="T88" fmla="*/ 52 w 84"/>
                <a:gd name="T89" fmla="*/ 25 h 80"/>
                <a:gd name="T90" fmla="*/ 32 w 84"/>
                <a:gd name="T91" fmla="*/ 25 h 80"/>
                <a:gd name="T92" fmla="*/ 39 w 84"/>
                <a:gd name="T93" fmla="*/ 8 h 80"/>
                <a:gd name="T94" fmla="*/ 28 w 84"/>
                <a:gd name="T95" fmla="*/ 11 h 80"/>
                <a:gd name="T96" fmla="*/ 23 w 84"/>
                <a:gd name="T97" fmla="*/ 25 h 80"/>
                <a:gd name="T98" fmla="*/ 13 w 84"/>
                <a:gd name="T99" fmla="*/ 25 h 80"/>
                <a:gd name="T100" fmla="*/ 28 w 84"/>
                <a:gd name="T101" fmla="*/ 11 h 80"/>
                <a:gd name="T102" fmla="*/ 28 w 84"/>
                <a:gd name="T103" fmla="*/ 11 h 80"/>
                <a:gd name="T104" fmla="*/ 28 w 84"/>
                <a:gd name="T105" fmla="*/ 11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4" h="80">
                  <a:moveTo>
                    <a:pt x="22" y="79"/>
                  </a:moveTo>
                  <a:cubicBezTo>
                    <a:pt x="21" y="77"/>
                    <a:pt x="20" y="74"/>
                    <a:pt x="20" y="72"/>
                  </a:cubicBezTo>
                  <a:cubicBezTo>
                    <a:pt x="20" y="68"/>
                    <a:pt x="20" y="68"/>
                    <a:pt x="20" y="68"/>
                  </a:cubicBezTo>
                  <a:cubicBezTo>
                    <a:pt x="17" y="65"/>
                    <a:pt x="15" y="62"/>
                    <a:pt x="13" y="59"/>
                  </a:cubicBezTo>
                  <a:cubicBezTo>
                    <a:pt x="20" y="59"/>
                    <a:pt x="20" y="59"/>
                    <a:pt x="20" y="59"/>
                  </a:cubicBezTo>
                  <a:cubicBezTo>
                    <a:pt x="20" y="57"/>
                    <a:pt x="20" y="57"/>
                    <a:pt x="20" y="57"/>
                  </a:cubicBezTo>
                  <a:cubicBezTo>
                    <a:pt x="20" y="55"/>
                    <a:pt x="20" y="53"/>
                    <a:pt x="21" y="51"/>
                  </a:cubicBezTo>
                  <a:cubicBezTo>
                    <a:pt x="9" y="51"/>
                    <a:pt x="9" y="51"/>
                    <a:pt x="9" y="51"/>
                  </a:cubicBezTo>
                  <a:cubicBezTo>
                    <a:pt x="8" y="48"/>
                    <a:pt x="8" y="45"/>
                    <a:pt x="8" y="42"/>
                  </a:cubicBezTo>
                  <a:cubicBezTo>
                    <a:pt x="8" y="39"/>
                    <a:pt x="8" y="36"/>
                    <a:pt x="9" y="33"/>
                  </a:cubicBezTo>
                  <a:cubicBezTo>
                    <a:pt x="21" y="33"/>
                    <a:pt x="21" y="33"/>
                    <a:pt x="21" y="33"/>
                  </a:cubicBezTo>
                  <a:cubicBezTo>
                    <a:pt x="21" y="36"/>
                    <a:pt x="21" y="39"/>
                    <a:pt x="21" y="42"/>
                  </a:cubicBezTo>
                  <a:cubicBezTo>
                    <a:pt x="21" y="45"/>
                    <a:pt x="21" y="48"/>
                    <a:pt x="21" y="50"/>
                  </a:cubicBezTo>
                  <a:cubicBezTo>
                    <a:pt x="23" y="46"/>
                    <a:pt x="26" y="43"/>
                    <a:pt x="29" y="41"/>
                  </a:cubicBezTo>
                  <a:cubicBezTo>
                    <a:pt x="29" y="38"/>
                    <a:pt x="30" y="36"/>
                    <a:pt x="30" y="33"/>
                  </a:cubicBezTo>
                  <a:cubicBezTo>
                    <a:pt x="53" y="33"/>
                    <a:pt x="53" y="33"/>
                    <a:pt x="53" y="33"/>
                  </a:cubicBezTo>
                  <a:cubicBezTo>
                    <a:pt x="54" y="36"/>
                    <a:pt x="54" y="38"/>
                    <a:pt x="54" y="41"/>
                  </a:cubicBezTo>
                  <a:cubicBezTo>
                    <a:pt x="57" y="43"/>
                    <a:pt x="60" y="46"/>
                    <a:pt x="62" y="50"/>
                  </a:cubicBezTo>
                  <a:cubicBezTo>
                    <a:pt x="62" y="47"/>
                    <a:pt x="62" y="44"/>
                    <a:pt x="62" y="42"/>
                  </a:cubicBezTo>
                  <a:cubicBezTo>
                    <a:pt x="62" y="39"/>
                    <a:pt x="62" y="36"/>
                    <a:pt x="62" y="33"/>
                  </a:cubicBezTo>
                  <a:cubicBezTo>
                    <a:pt x="74" y="33"/>
                    <a:pt x="74" y="33"/>
                    <a:pt x="74" y="33"/>
                  </a:cubicBezTo>
                  <a:cubicBezTo>
                    <a:pt x="75" y="36"/>
                    <a:pt x="75" y="39"/>
                    <a:pt x="75" y="42"/>
                  </a:cubicBezTo>
                  <a:cubicBezTo>
                    <a:pt x="75" y="45"/>
                    <a:pt x="75" y="48"/>
                    <a:pt x="74" y="51"/>
                  </a:cubicBezTo>
                  <a:cubicBezTo>
                    <a:pt x="62" y="51"/>
                    <a:pt x="62" y="51"/>
                    <a:pt x="62" y="51"/>
                  </a:cubicBezTo>
                  <a:cubicBezTo>
                    <a:pt x="63" y="53"/>
                    <a:pt x="63" y="55"/>
                    <a:pt x="63" y="57"/>
                  </a:cubicBezTo>
                  <a:cubicBezTo>
                    <a:pt x="63" y="59"/>
                    <a:pt x="63" y="59"/>
                    <a:pt x="63" y="59"/>
                  </a:cubicBezTo>
                  <a:cubicBezTo>
                    <a:pt x="71" y="59"/>
                    <a:pt x="71" y="59"/>
                    <a:pt x="71" y="59"/>
                  </a:cubicBezTo>
                  <a:cubicBezTo>
                    <a:pt x="69" y="63"/>
                    <a:pt x="66" y="66"/>
                    <a:pt x="63" y="68"/>
                  </a:cubicBezTo>
                  <a:cubicBezTo>
                    <a:pt x="63" y="72"/>
                    <a:pt x="63" y="72"/>
                    <a:pt x="63" y="72"/>
                  </a:cubicBezTo>
                  <a:cubicBezTo>
                    <a:pt x="63" y="75"/>
                    <a:pt x="62" y="77"/>
                    <a:pt x="60" y="80"/>
                  </a:cubicBezTo>
                  <a:cubicBezTo>
                    <a:pt x="64" y="78"/>
                    <a:pt x="68" y="75"/>
                    <a:pt x="71" y="72"/>
                  </a:cubicBezTo>
                  <a:cubicBezTo>
                    <a:pt x="79" y="64"/>
                    <a:pt x="84" y="53"/>
                    <a:pt x="84" y="42"/>
                  </a:cubicBezTo>
                  <a:cubicBezTo>
                    <a:pt x="84" y="31"/>
                    <a:pt x="79" y="20"/>
                    <a:pt x="71" y="12"/>
                  </a:cubicBezTo>
                  <a:cubicBezTo>
                    <a:pt x="64" y="4"/>
                    <a:pt x="53" y="0"/>
                    <a:pt x="42" y="0"/>
                  </a:cubicBezTo>
                  <a:cubicBezTo>
                    <a:pt x="30" y="0"/>
                    <a:pt x="20" y="4"/>
                    <a:pt x="12" y="12"/>
                  </a:cubicBezTo>
                  <a:cubicBezTo>
                    <a:pt x="4" y="20"/>
                    <a:pt x="0" y="31"/>
                    <a:pt x="0" y="42"/>
                  </a:cubicBezTo>
                  <a:cubicBezTo>
                    <a:pt x="0" y="53"/>
                    <a:pt x="4" y="64"/>
                    <a:pt x="12" y="72"/>
                  </a:cubicBezTo>
                  <a:cubicBezTo>
                    <a:pt x="15" y="75"/>
                    <a:pt x="19" y="77"/>
                    <a:pt x="22" y="79"/>
                  </a:cubicBezTo>
                  <a:close/>
                  <a:moveTo>
                    <a:pt x="71" y="25"/>
                  </a:moveTo>
                  <a:cubicBezTo>
                    <a:pt x="60" y="25"/>
                    <a:pt x="60" y="25"/>
                    <a:pt x="60" y="25"/>
                  </a:cubicBezTo>
                  <a:cubicBezTo>
                    <a:pt x="59" y="20"/>
                    <a:pt x="58" y="16"/>
                    <a:pt x="55" y="11"/>
                  </a:cubicBezTo>
                  <a:cubicBezTo>
                    <a:pt x="62" y="14"/>
                    <a:pt x="67" y="19"/>
                    <a:pt x="71" y="25"/>
                  </a:cubicBezTo>
                  <a:close/>
                  <a:moveTo>
                    <a:pt x="39" y="8"/>
                  </a:moveTo>
                  <a:cubicBezTo>
                    <a:pt x="41" y="8"/>
                    <a:pt x="43" y="8"/>
                    <a:pt x="44" y="8"/>
                  </a:cubicBezTo>
                  <a:cubicBezTo>
                    <a:pt x="48" y="13"/>
                    <a:pt x="50" y="19"/>
                    <a:pt x="52" y="25"/>
                  </a:cubicBezTo>
                  <a:cubicBezTo>
                    <a:pt x="32" y="25"/>
                    <a:pt x="32" y="25"/>
                    <a:pt x="32" y="25"/>
                  </a:cubicBezTo>
                  <a:cubicBezTo>
                    <a:pt x="34" y="19"/>
                    <a:pt x="36" y="13"/>
                    <a:pt x="39" y="8"/>
                  </a:cubicBezTo>
                  <a:close/>
                  <a:moveTo>
                    <a:pt x="28" y="11"/>
                  </a:moveTo>
                  <a:cubicBezTo>
                    <a:pt x="26" y="15"/>
                    <a:pt x="24" y="20"/>
                    <a:pt x="23" y="25"/>
                  </a:cubicBezTo>
                  <a:cubicBezTo>
                    <a:pt x="13" y="25"/>
                    <a:pt x="13" y="25"/>
                    <a:pt x="13" y="25"/>
                  </a:cubicBezTo>
                  <a:cubicBezTo>
                    <a:pt x="16" y="19"/>
                    <a:pt x="22" y="14"/>
                    <a:pt x="28" y="11"/>
                  </a:cubicBezTo>
                  <a:close/>
                  <a:moveTo>
                    <a:pt x="28" y="11"/>
                  </a:moveTo>
                  <a:cubicBezTo>
                    <a:pt x="28" y="11"/>
                    <a:pt x="28" y="11"/>
                    <a:pt x="28" y="1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40" name="Freeform 383">
              <a:extLst>
                <a:ext uri="{FF2B5EF4-FFF2-40B4-BE49-F238E27FC236}">
                  <a16:creationId xmlns:a16="http://schemas.microsoft.com/office/drawing/2014/main" id="{622CF070-51ED-4CC5-BABC-F4770286360F}"/>
                </a:ext>
              </a:extLst>
            </p:cNvPr>
            <p:cNvSpPr>
              <a:spLocks noEditPoints="1"/>
            </p:cNvSpPr>
            <p:nvPr/>
          </p:nvSpPr>
          <p:spPr bwMode="auto">
            <a:xfrm>
              <a:off x="7340600" y="247650"/>
              <a:ext cx="223837" cy="239713"/>
            </a:xfrm>
            <a:custGeom>
              <a:avLst/>
              <a:gdLst>
                <a:gd name="T0" fmla="*/ 67 w 69"/>
                <a:gd name="T1" fmla="*/ 59 h 74"/>
                <a:gd name="T2" fmla="*/ 46 w 69"/>
                <a:gd name="T3" fmla="*/ 46 h 74"/>
                <a:gd name="T4" fmla="*/ 46 w 69"/>
                <a:gd name="T5" fmla="*/ 46 h 74"/>
                <a:gd name="T6" fmla="*/ 46 w 69"/>
                <a:gd name="T7" fmla="*/ 32 h 74"/>
                <a:gd name="T8" fmla="*/ 49 w 69"/>
                <a:gd name="T9" fmla="*/ 27 h 74"/>
                <a:gd name="T10" fmla="*/ 49 w 69"/>
                <a:gd name="T11" fmla="*/ 12 h 74"/>
                <a:gd name="T12" fmla="*/ 36 w 69"/>
                <a:gd name="T13" fmla="*/ 0 h 74"/>
                <a:gd name="T14" fmla="*/ 33 w 69"/>
                <a:gd name="T15" fmla="*/ 0 h 74"/>
                <a:gd name="T16" fmla="*/ 20 w 69"/>
                <a:gd name="T17" fmla="*/ 12 h 74"/>
                <a:gd name="T18" fmla="*/ 20 w 69"/>
                <a:gd name="T19" fmla="*/ 27 h 74"/>
                <a:gd name="T20" fmla="*/ 23 w 69"/>
                <a:gd name="T21" fmla="*/ 32 h 74"/>
                <a:gd name="T22" fmla="*/ 23 w 69"/>
                <a:gd name="T23" fmla="*/ 46 h 74"/>
                <a:gd name="T24" fmla="*/ 23 w 69"/>
                <a:gd name="T25" fmla="*/ 46 h 74"/>
                <a:gd name="T26" fmla="*/ 2 w 69"/>
                <a:gd name="T27" fmla="*/ 59 h 74"/>
                <a:gd name="T28" fmla="*/ 0 w 69"/>
                <a:gd name="T29" fmla="*/ 65 h 74"/>
                <a:gd name="T30" fmla="*/ 0 w 69"/>
                <a:gd name="T31" fmla="*/ 74 h 74"/>
                <a:gd name="T32" fmla="*/ 69 w 69"/>
                <a:gd name="T33" fmla="*/ 74 h 74"/>
                <a:gd name="T34" fmla="*/ 69 w 69"/>
                <a:gd name="T35" fmla="*/ 65 h 74"/>
                <a:gd name="T36" fmla="*/ 67 w 69"/>
                <a:gd name="T37" fmla="*/ 59 h 74"/>
                <a:gd name="T38" fmla="*/ 67 w 69"/>
                <a:gd name="T39" fmla="*/ 59 h 74"/>
                <a:gd name="T40" fmla="*/ 67 w 69"/>
                <a:gd name="T41" fmla="*/ 59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9" h="74">
                  <a:moveTo>
                    <a:pt x="67" y="59"/>
                  </a:moveTo>
                  <a:cubicBezTo>
                    <a:pt x="58" y="52"/>
                    <a:pt x="48" y="47"/>
                    <a:pt x="46" y="46"/>
                  </a:cubicBezTo>
                  <a:cubicBezTo>
                    <a:pt x="46" y="46"/>
                    <a:pt x="46" y="46"/>
                    <a:pt x="46" y="46"/>
                  </a:cubicBezTo>
                  <a:cubicBezTo>
                    <a:pt x="46" y="32"/>
                    <a:pt x="46" y="32"/>
                    <a:pt x="46" y="32"/>
                  </a:cubicBezTo>
                  <a:cubicBezTo>
                    <a:pt x="48" y="31"/>
                    <a:pt x="49" y="29"/>
                    <a:pt x="49" y="27"/>
                  </a:cubicBezTo>
                  <a:cubicBezTo>
                    <a:pt x="49" y="12"/>
                    <a:pt x="49" y="12"/>
                    <a:pt x="49" y="12"/>
                  </a:cubicBezTo>
                  <a:cubicBezTo>
                    <a:pt x="49" y="5"/>
                    <a:pt x="43" y="0"/>
                    <a:pt x="36" y="0"/>
                  </a:cubicBezTo>
                  <a:cubicBezTo>
                    <a:pt x="33" y="0"/>
                    <a:pt x="33" y="0"/>
                    <a:pt x="33" y="0"/>
                  </a:cubicBezTo>
                  <a:cubicBezTo>
                    <a:pt x="26" y="0"/>
                    <a:pt x="20" y="5"/>
                    <a:pt x="20" y="12"/>
                  </a:cubicBezTo>
                  <a:cubicBezTo>
                    <a:pt x="20" y="27"/>
                    <a:pt x="20" y="27"/>
                    <a:pt x="20" y="27"/>
                  </a:cubicBezTo>
                  <a:cubicBezTo>
                    <a:pt x="20" y="29"/>
                    <a:pt x="21" y="31"/>
                    <a:pt x="23" y="32"/>
                  </a:cubicBezTo>
                  <a:cubicBezTo>
                    <a:pt x="23" y="46"/>
                    <a:pt x="23" y="46"/>
                    <a:pt x="23" y="46"/>
                  </a:cubicBezTo>
                  <a:cubicBezTo>
                    <a:pt x="23" y="46"/>
                    <a:pt x="23" y="46"/>
                    <a:pt x="23" y="46"/>
                  </a:cubicBezTo>
                  <a:cubicBezTo>
                    <a:pt x="21" y="47"/>
                    <a:pt x="11" y="52"/>
                    <a:pt x="2" y="59"/>
                  </a:cubicBezTo>
                  <a:cubicBezTo>
                    <a:pt x="1" y="61"/>
                    <a:pt x="0" y="63"/>
                    <a:pt x="0" y="65"/>
                  </a:cubicBezTo>
                  <a:cubicBezTo>
                    <a:pt x="0" y="74"/>
                    <a:pt x="0" y="74"/>
                    <a:pt x="0" y="74"/>
                  </a:cubicBezTo>
                  <a:cubicBezTo>
                    <a:pt x="69" y="74"/>
                    <a:pt x="69" y="74"/>
                    <a:pt x="69" y="74"/>
                  </a:cubicBezTo>
                  <a:cubicBezTo>
                    <a:pt x="69" y="65"/>
                    <a:pt x="69" y="65"/>
                    <a:pt x="69" y="65"/>
                  </a:cubicBezTo>
                  <a:cubicBezTo>
                    <a:pt x="69" y="63"/>
                    <a:pt x="68" y="61"/>
                    <a:pt x="67" y="59"/>
                  </a:cubicBezTo>
                  <a:close/>
                  <a:moveTo>
                    <a:pt x="67" y="59"/>
                  </a:moveTo>
                  <a:cubicBezTo>
                    <a:pt x="67" y="59"/>
                    <a:pt x="67" y="59"/>
                    <a:pt x="67" y="5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grpSp>
        <p:nvGrpSpPr>
          <p:cNvPr id="41" name="Group 57">
            <a:extLst>
              <a:ext uri="{FF2B5EF4-FFF2-40B4-BE49-F238E27FC236}">
                <a16:creationId xmlns:a16="http://schemas.microsoft.com/office/drawing/2014/main" id="{26305CB6-9C16-4F32-A175-D27C9C8CB8EF}"/>
              </a:ext>
            </a:extLst>
          </p:cNvPr>
          <p:cNvGrpSpPr/>
          <p:nvPr/>
        </p:nvGrpSpPr>
        <p:grpSpPr>
          <a:xfrm>
            <a:off x="4235901" y="2791993"/>
            <a:ext cx="319755" cy="410019"/>
            <a:chOff x="900113" y="80963"/>
            <a:chExt cx="331787" cy="425450"/>
          </a:xfrm>
          <a:solidFill>
            <a:schemeClr val="bg1"/>
          </a:solidFill>
        </p:grpSpPr>
        <p:sp>
          <p:nvSpPr>
            <p:cNvPr id="42" name="Freeform 346">
              <a:extLst>
                <a:ext uri="{FF2B5EF4-FFF2-40B4-BE49-F238E27FC236}">
                  <a16:creationId xmlns:a16="http://schemas.microsoft.com/office/drawing/2014/main" id="{241E67FE-54D7-41D3-A0FF-B4128E02EFB5}"/>
                </a:ext>
              </a:extLst>
            </p:cNvPr>
            <p:cNvSpPr>
              <a:spLocks noEditPoints="1"/>
            </p:cNvSpPr>
            <p:nvPr/>
          </p:nvSpPr>
          <p:spPr bwMode="auto">
            <a:xfrm>
              <a:off x="900113" y="80963"/>
              <a:ext cx="331787" cy="354013"/>
            </a:xfrm>
            <a:custGeom>
              <a:avLst/>
              <a:gdLst>
                <a:gd name="T0" fmla="*/ 98 w 102"/>
                <a:gd name="T1" fmla="*/ 87 h 109"/>
                <a:gd name="T2" fmla="*/ 68 w 102"/>
                <a:gd name="T3" fmla="*/ 68 h 109"/>
                <a:gd name="T4" fmla="*/ 68 w 102"/>
                <a:gd name="T5" fmla="*/ 68 h 109"/>
                <a:gd name="T6" fmla="*/ 68 w 102"/>
                <a:gd name="T7" fmla="*/ 48 h 109"/>
                <a:gd name="T8" fmla="*/ 72 w 102"/>
                <a:gd name="T9" fmla="*/ 40 h 109"/>
                <a:gd name="T10" fmla="*/ 72 w 102"/>
                <a:gd name="T11" fmla="*/ 19 h 109"/>
                <a:gd name="T12" fmla="*/ 53 w 102"/>
                <a:gd name="T13" fmla="*/ 0 h 109"/>
                <a:gd name="T14" fmla="*/ 49 w 102"/>
                <a:gd name="T15" fmla="*/ 0 h 109"/>
                <a:gd name="T16" fmla="*/ 30 w 102"/>
                <a:gd name="T17" fmla="*/ 19 h 109"/>
                <a:gd name="T18" fmla="*/ 30 w 102"/>
                <a:gd name="T19" fmla="*/ 40 h 109"/>
                <a:gd name="T20" fmla="*/ 34 w 102"/>
                <a:gd name="T21" fmla="*/ 47 h 109"/>
                <a:gd name="T22" fmla="*/ 34 w 102"/>
                <a:gd name="T23" fmla="*/ 68 h 109"/>
                <a:gd name="T24" fmla="*/ 34 w 102"/>
                <a:gd name="T25" fmla="*/ 68 h 109"/>
                <a:gd name="T26" fmla="*/ 4 w 102"/>
                <a:gd name="T27" fmla="*/ 87 h 109"/>
                <a:gd name="T28" fmla="*/ 0 w 102"/>
                <a:gd name="T29" fmla="*/ 95 h 109"/>
                <a:gd name="T30" fmla="*/ 0 w 102"/>
                <a:gd name="T31" fmla="*/ 109 h 109"/>
                <a:gd name="T32" fmla="*/ 23 w 102"/>
                <a:gd name="T33" fmla="*/ 109 h 109"/>
                <a:gd name="T34" fmla="*/ 31 w 102"/>
                <a:gd name="T35" fmla="*/ 90 h 109"/>
                <a:gd name="T36" fmla="*/ 51 w 102"/>
                <a:gd name="T37" fmla="*/ 82 h 109"/>
                <a:gd name="T38" fmla="*/ 71 w 102"/>
                <a:gd name="T39" fmla="*/ 90 h 109"/>
                <a:gd name="T40" fmla="*/ 79 w 102"/>
                <a:gd name="T41" fmla="*/ 109 h 109"/>
                <a:gd name="T42" fmla="*/ 102 w 102"/>
                <a:gd name="T43" fmla="*/ 109 h 109"/>
                <a:gd name="T44" fmla="*/ 102 w 102"/>
                <a:gd name="T45" fmla="*/ 95 h 109"/>
                <a:gd name="T46" fmla="*/ 98 w 102"/>
                <a:gd name="T47" fmla="*/ 87 h 109"/>
                <a:gd name="T48" fmla="*/ 98 w 102"/>
                <a:gd name="T49" fmla="*/ 87 h 109"/>
                <a:gd name="T50" fmla="*/ 98 w 102"/>
                <a:gd name="T51" fmla="*/ 8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2" h="109">
                  <a:moveTo>
                    <a:pt x="98" y="87"/>
                  </a:moveTo>
                  <a:cubicBezTo>
                    <a:pt x="85" y="77"/>
                    <a:pt x="71" y="70"/>
                    <a:pt x="68" y="68"/>
                  </a:cubicBezTo>
                  <a:cubicBezTo>
                    <a:pt x="68" y="68"/>
                    <a:pt x="68" y="68"/>
                    <a:pt x="68" y="68"/>
                  </a:cubicBezTo>
                  <a:cubicBezTo>
                    <a:pt x="68" y="48"/>
                    <a:pt x="68" y="48"/>
                    <a:pt x="68" y="48"/>
                  </a:cubicBezTo>
                  <a:cubicBezTo>
                    <a:pt x="70" y="46"/>
                    <a:pt x="72" y="43"/>
                    <a:pt x="72" y="40"/>
                  </a:cubicBezTo>
                  <a:cubicBezTo>
                    <a:pt x="72" y="19"/>
                    <a:pt x="72" y="19"/>
                    <a:pt x="72" y="19"/>
                  </a:cubicBezTo>
                  <a:cubicBezTo>
                    <a:pt x="72" y="9"/>
                    <a:pt x="64" y="0"/>
                    <a:pt x="53" y="0"/>
                  </a:cubicBezTo>
                  <a:cubicBezTo>
                    <a:pt x="49" y="0"/>
                    <a:pt x="49" y="0"/>
                    <a:pt x="49" y="0"/>
                  </a:cubicBezTo>
                  <a:cubicBezTo>
                    <a:pt x="39" y="0"/>
                    <a:pt x="30" y="9"/>
                    <a:pt x="30" y="19"/>
                  </a:cubicBezTo>
                  <a:cubicBezTo>
                    <a:pt x="30" y="40"/>
                    <a:pt x="30" y="40"/>
                    <a:pt x="30" y="40"/>
                  </a:cubicBezTo>
                  <a:cubicBezTo>
                    <a:pt x="30" y="43"/>
                    <a:pt x="32" y="46"/>
                    <a:pt x="34" y="47"/>
                  </a:cubicBezTo>
                  <a:cubicBezTo>
                    <a:pt x="34" y="68"/>
                    <a:pt x="34" y="68"/>
                    <a:pt x="34" y="68"/>
                  </a:cubicBezTo>
                  <a:cubicBezTo>
                    <a:pt x="34" y="68"/>
                    <a:pt x="34" y="68"/>
                    <a:pt x="34" y="68"/>
                  </a:cubicBezTo>
                  <a:cubicBezTo>
                    <a:pt x="31" y="70"/>
                    <a:pt x="17" y="77"/>
                    <a:pt x="4" y="87"/>
                  </a:cubicBezTo>
                  <a:cubicBezTo>
                    <a:pt x="2" y="89"/>
                    <a:pt x="0" y="92"/>
                    <a:pt x="0" y="95"/>
                  </a:cubicBezTo>
                  <a:cubicBezTo>
                    <a:pt x="0" y="109"/>
                    <a:pt x="0" y="109"/>
                    <a:pt x="0" y="109"/>
                  </a:cubicBezTo>
                  <a:cubicBezTo>
                    <a:pt x="23" y="109"/>
                    <a:pt x="23" y="109"/>
                    <a:pt x="23" y="109"/>
                  </a:cubicBezTo>
                  <a:cubicBezTo>
                    <a:pt x="23" y="102"/>
                    <a:pt x="26" y="95"/>
                    <a:pt x="31" y="90"/>
                  </a:cubicBezTo>
                  <a:cubicBezTo>
                    <a:pt x="37" y="84"/>
                    <a:pt x="44" y="82"/>
                    <a:pt x="51" y="82"/>
                  </a:cubicBezTo>
                  <a:cubicBezTo>
                    <a:pt x="59" y="82"/>
                    <a:pt x="66" y="84"/>
                    <a:pt x="71" y="90"/>
                  </a:cubicBezTo>
                  <a:cubicBezTo>
                    <a:pt x="76" y="95"/>
                    <a:pt x="79" y="102"/>
                    <a:pt x="79" y="109"/>
                  </a:cubicBezTo>
                  <a:cubicBezTo>
                    <a:pt x="102" y="109"/>
                    <a:pt x="102" y="109"/>
                    <a:pt x="102" y="109"/>
                  </a:cubicBezTo>
                  <a:cubicBezTo>
                    <a:pt x="102" y="95"/>
                    <a:pt x="102" y="95"/>
                    <a:pt x="102" y="95"/>
                  </a:cubicBezTo>
                  <a:cubicBezTo>
                    <a:pt x="102" y="92"/>
                    <a:pt x="100" y="89"/>
                    <a:pt x="98" y="87"/>
                  </a:cubicBezTo>
                  <a:close/>
                  <a:moveTo>
                    <a:pt x="98" y="87"/>
                  </a:moveTo>
                  <a:cubicBezTo>
                    <a:pt x="98" y="87"/>
                    <a:pt x="98" y="87"/>
                    <a:pt x="98" y="8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43" name="Freeform 347">
              <a:extLst>
                <a:ext uri="{FF2B5EF4-FFF2-40B4-BE49-F238E27FC236}">
                  <a16:creationId xmlns:a16="http://schemas.microsoft.com/office/drawing/2014/main" id="{FECD6706-647E-4E01-BECC-3BA6C2BE3B29}"/>
                </a:ext>
              </a:extLst>
            </p:cNvPr>
            <p:cNvSpPr>
              <a:spLocks noEditPoints="1"/>
            </p:cNvSpPr>
            <p:nvPr/>
          </p:nvSpPr>
          <p:spPr bwMode="auto">
            <a:xfrm>
              <a:off x="993775" y="366713"/>
              <a:ext cx="142875" cy="139700"/>
            </a:xfrm>
            <a:custGeom>
              <a:avLst/>
              <a:gdLst>
                <a:gd name="T0" fmla="*/ 22 w 44"/>
                <a:gd name="T1" fmla="*/ 0 h 43"/>
                <a:gd name="T2" fmla="*/ 0 w 44"/>
                <a:gd name="T3" fmla="*/ 21 h 43"/>
                <a:gd name="T4" fmla="*/ 22 w 44"/>
                <a:gd name="T5" fmla="*/ 43 h 43"/>
                <a:gd name="T6" fmla="*/ 44 w 44"/>
                <a:gd name="T7" fmla="*/ 21 h 43"/>
                <a:gd name="T8" fmla="*/ 22 w 44"/>
                <a:gd name="T9" fmla="*/ 0 h 43"/>
                <a:gd name="T10" fmla="*/ 23 w 44"/>
                <a:gd name="T11" fmla="*/ 7 h 43"/>
                <a:gd name="T12" fmla="*/ 27 w 44"/>
                <a:gd name="T13" fmla="*/ 11 h 43"/>
                <a:gd name="T14" fmla="*/ 23 w 44"/>
                <a:gd name="T15" fmla="*/ 15 h 43"/>
                <a:gd name="T16" fmla="*/ 19 w 44"/>
                <a:gd name="T17" fmla="*/ 11 h 43"/>
                <a:gd name="T18" fmla="*/ 23 w 44"/>
                <a:gd name="T19" fmla="*/ 7 h 43"/>
                <a:gd name="T20" fmla="*/ 28 w 44"/>
                <a:gd name="T21" fmla="*/ 32 h 43"/>
                <a:gd name="T22" fmla="*/ 28 w 44"/>
                <a:gd name="T23" fmla="*/ 33 h 43"/>
                <a:gd name="T24" fmla="*/ 23 w 44"/>
                <a:gd name="T25" fmla="*/ 35 h 43"/>
                <a:gd name="T26" fmla="*/ 20 w 44"/>
                <a:gd name="T27" fmla="*/ 35 h 43"/>
                <a:gd name="T28" fmla="*/ 17 w 44"/>
                <a:gd name="T29" fmla="*/ 31 h 43"/>
                <a:gd name="T30" fmla="*/ 18 w 44"/>
                <a:gd name="T31" fmla="*/ 27 h 43"/>
                <a:gd name="T32" fmla="*/ 19 w 44"/>
                <a:gd name="T33" fmla="*/ 20 h 43"/>
                <a:gd name="T34" fmla="*/ 19 w 44"/>
                <a:gd name="T35" fmla="*/ 20 h 43"/>
                <a:gd name="T36" fmla="*/ 18 w 44"/>
                <a:gd name="T37" fmla="*/ 19 h 43"/>
                <a:gd name="T38" fmla="*/ 16 w 44"/>
                <a:gd name="T39" fmla="*/ 18 h 43"/>
                <a:gd name="T40" fmla="*/ 16 w 44"/>
                <a:gd name="T41" fmla="*/ 17 h 43"/>
                <a:gd name="T42" fmla="*/ 17 w 44"/>
                <a:gd name="T43" fmla="*/ 17 h 43"/>
                <a:gd name="T44" fmla="*/ 17 w 44"/>
                <a:gd name="T45" fmla="*/ 17 h 43"/>
                <a:gd name="T46" fmla="*/ 25 w 44"/>
                <a:gd name="T47" fmla="*/ 17 h 43"/>
                <a:gd name="T48" fmla="*/ 26 w 44"/>
                <a:gd name="T49" fmla="*/ 18 h 43"/>
                <a:gd name="T50" fmla="*/ 26 w 44"/>
                <a:gd name="T51" fmla="*/ 20 h 43"/>
                <a:gd name="T52" fmla="*/ 24 w 44"/>
                <a:gd name="T53" fmla="*/ 28 h 43"/>
                <a:gd name="T54" fmla="*/ 24 w 44"/>
                <a:gd name="T55" fmla="*/ 31 h 43"/>
                <a:gd name="T56" fmla="*/ 24 w 44"/>
                <a:gd name="T57" fmla="*/ 32 h 43"/>
                <a:gd name="T58" fmla="*/ 25 w 44"/>
                <a:gd name="T59" fmla="*/ 33 h 43"/>
                <a:gd name="T60" fmla="*/ 26 w 44"/>
                <a:gd name="T61" fmla="*/ 32 h 43"/>
                <a:gd name="T62" fmla="*/ 27 w 44"/>
                <a:gd name="T63" fmla="*/ 32 h 43"/>
                <a:gd name="T64" fmla="*/ 28 w 44"/>
                <a:gd name="T65" fmla="*/ 32 h 43"/>
                <a:gd name="T66" fmla="*/ 28 w 44"/>
                <a:gd name="T67" fmla="*/ 32 h 43"/>
                <a:gd name="T68" fmla="*/ 28 w 44"/>
                <a:gd name="T69" fmla="*/ 3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4" h="43">
                  <a:moveTo>
                    <a:pt x="22" y="0"/>
                  </a:moveTo>
                  <a:cubicBezTo>
                    <a:pt x="10" y="0"/>
                    <a:pt x="0" y="9"/>
                    <a:pt x="0" y="21"/>
                  </a:cubicBezTo>
                  <a:cubicBezTo>
                    <a:pt x="0" y="33"/>
                    <a:pt x="10" y="43"/>
                    <a:pt x="22" y="43"/>
                  </a:cubicBezTo>
                  <a:cubicBezTo>
                    <a:pt x="34" y="43"/>
                    <a:pt x="44" y="33"/>
                    <a:pt x="44" y="21"/>
                  </a:cubicBezTo>
                  <a:cubicBezTo>
                    <a:pt x="44" y="9"/>
                    <a:pt x="34" y="0"/>
                    <a:pt x="22" y="0"/>
                  </a:cubicBezTo>
                  <a:close/>
                  <a:moveTo>
                    <a:pt x="23" y="7"/>
                  </a:moveTo>
                  <a:cubicBezTo>
                    <a:pt x="25" y="7"/>
                    <a:pt x="27" y="9"/>
                    <a:pt x="27" y="11"/>
                  </a:cubicBezTo>
                  <a:cubicBezTo>
                    <a:pt x="27" y="13"/>
                    <a:pt x="25" y="15"/>
                    <a:pt x="23" y="15"/>
                  </a:cubicBezTo>
                  <a:cubicBezTo>
                    <a:pt x="21" y="15"/>
                    <a:pt x="19" y="13"/>
                    <a:pt x="19" y="11"/>
                  </a:cubicBezTo>
                  <a:cubicBezTo>
                    <a:pt x="19" y="9"/>
                    <a:pt x="21" y="7"/>
                    <a:pt x="23" y="7"/>
                  </a:cubicBezTo>
                  <a:close/>
                  <a:moveTo>
                    <a:pt x="28" y="32"/>
                  </a:moveTo>
                  <a:cubicBezTo>
                    <a:pt x="28" y="33"/>
                    <a:pt x="28" y="33"/>
                    <a:pt x="28" y="33"/>
                  </a:cubicBezTo>
                  <a:cubicBezTo>
                    <a:pt x="26" y="35"/>
                    <a:pt x="25" y="35"/>
                    <a:pt x="23" y="35"/>
                  </a:cubicBezTo>
                  <a:cubicBezTo>
                    <a:pt x="22" y="35"/>
                    <a:pt x="21" y="35"/>
                    <a:pt x="20" y="35"/>
                  </a:cubicBezTo>
                  <a:cubicBezTo>
                    <a:pt x="19" y="35"/>
                    <a:pt x="17" y="33"/>
                    <a:pt x="17" y="31"/>
                  </a:cubicBezTo>
                  <a:cubicBezTo>
                    <a:pt x="17" y="30"/>
                    <a:pt x="17" y="29"/>
                    <a:pt x="18" y="27"/>
                  </a:cubicBezTo>
                  <a:cubicBezTo>
                    <a:pt x="18" y="25"/>
                    <a:pt x="19" y="23"/>
                    <a:pt x="19" y="20"/>
                  </a:cubicBezTo>
                  <a:cubicBezTo>
                    <a:pt x="19" y="20"/>
                    <a:pt x="19" y="20"/>
                    <a:pt x="19" y="20"/>
                  </a:cubicBezTo>
                  <a:cubicBezTo>
                    <a:pt x="19" y="19"/>
                    <a:pt x="19" y="19"/>
                    <a:pt x="18" y="19"/>
                  </a:cubicBezTo>
                  <a:cubicBezTo>
                    <a:pt x="17" y="18"/>
                    <a:pt x="17" y="18"/>
                    <a:pt x="16" y="18"/>
                  </a:cubicBezTo>
                  <a:cubicBezTo>
                    <a:pt x="16" y="18"/>
                    <a:pt x="16" y="18"/>
                    <a:pt x="16" y="17"/>
                  </a:cubicBezTo>
                  <a:cubicBezTo>
                    <a:pt x="16" y="17"/>
                    <a:pt x="16" y="17"/>
                    <a:pt x="17" y="17"/>
                  </a:cubicBezTo>
                  <a:cubicBezTo>
                    <a:pt x="17" y="17"/>
                    <a:pt x="17" y="17"/>
                    <a:pt x="17" y="17"/>
                  </a:cubicBezTo>
                  <a:cubicBezTo>
                    <a:pt x="25" y="17"/>
                    <a:pt x="25" y="17"/>
                    <a:pt x="25" y="17"/>
                  </a:cubicBezTo>
                  <a:cubicBezTo>
                    <a:pt x="25" y="17"/>
                    <a:pt x="26" y="17"/>
                    <a:pt x="26" y="18"/>
                  </a:cubicBezTo>
                  <a:cubicBezTo>
                    <a:pt x="26" y="19"/>
                    <a:pt x="26" y="19"/>
                    <a:pt x="26" y="20"/>
                  </a:cubicBezTo>
                  <a:cubicBezTo>
                    <a:pt x="25" y="23"/>
                    <a:pt x="25" y="25"/>
                    <a:pt x="24" y="28"/>
                  </a:cubicBezTo>
                  <a:cubicBezTo>
                    <a:pt x="24" y="29"/>
                    <a:pt x="24" y="30"/>
                    <a:pt x="24" y="31"/>
                  </a:cubicBezTo>
                  <a:cubicBezTo>
                    <a:pt x="24" y="31"/>
                    <a:pt x="24" y="31"/>
                    <a:pt x="24" y="32"/>
                  </a:cubicBezTo>
                  <a:cubicBezTo>
                    <a:pt x="24" y="32"/>
                    <a:pt x="24" y="33"/>
                    <a:pt x="25" y="33"/>
                  </a:cubicBezTo>
                  <a:cubicBezTo>
                    <a:pt x="26" y="33"/>
                    <a:pt x="26" y="32"/>
                    <a:pt x="26" y="32"/>
                  </a:cubicBezTo>
                  <a:cubicBezTo>
                    <a:pt x="27" y="32"/>
                    <a:pt x="27" y="32"/>
                    <a:pt x="27" y="32"/>
                  </a:cubicBezTo>
                  <a:cubicBezTo>
                    <a:pt x="28" y="31"/>
                    <a:pt x="28" y="32"/>
                    <a:pt x="28" y="32"/>
                  </a:cubicBezTo>
                  <a:close/>
                  <a:moveTo>
                    <a:pt x="28" y="32"/>
                  </a:moveTo>
                  <a:cubicBezTo>
                    <a:pt x="28" y="32"/>
                    <a:pt x="28" y="32"/>
                    <a:pt x="28" y="3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cxnSp>
        <p:nvCxnSpPr>
          <p:cNvPr id="44" name="Connector: Elbow 61">
            <a:extLst>
              <a:ext uri="{FF2B5EF4-FFF2-40B4-BE49-F238E27FC236}">
                <a16:creationId xmlns:a16="http://schemas.microsoft.com/office/drawing/2014/main" id="{FFEDFA75-2E40-4D79-A2B7-BC2437228ADD}"/>
              </a:ext>
            </a:extLst>
          </p:cNvPr>
          <p:cNvCxnSpPr>
            <a:cxnSpLocks/>
            <a:stCxn id="7" idx="0"/>
            <a:endCxn id="32" idx="1"/>
          </p:cNvCxnSpPr>
          <p:nvPr/>
        </p:nvCxnSpPr>
        <p:spPr>
          <a:xfrm flipV="1">
            <a:off x="7571633" y="5213650"/>
            <a:ext cx="1495523" cy="262515"/>
          </a:xfrm>
          <a:prstGeom prst="bentConnector3">
            <a:avLst>
              <a:gd name="adj1" fmla="val 50000"/>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grpSp>
        <p:nvGrpSpPr>
          <p:cNvPr id="45" name="Group 67">
            <a:extLst>
              <a:ext uri="{FF2B5EF4-FFF2-40B4-BE49-F238E27FC236}">
                <a16:creationId xmlns:a16="http://schemas.microsoft.com/office/drawing/2014/main" id="{85BDF913-423C-4A3F-A7B0-B088375AF411}"/>
              </a:ext>
            </a:extLst>
          </p:cNvPr>
          <p:cNvGrpSpPr/>
          <p:nvPr/>
        </p:nvGrpSpPr>
        <p:grpSpPr>
          <a:xfrm>
            <a:off x="5588475" y="2359365"/>
            <a:ext cx="354012" cy="369887"/>
            <a:chOff x="2252663" y="741363"/>
            <a:chExt cx="354012" cy="369887"/>
          </a:xfrm>
          <a:solidFill>
            <a:schemeClr val="bg1"/>
          </a:solidFill>
        </p:grpSpPr>
        <p:sp>
          <p:nvSpPr>
            <p:cNvPr id="46" name="Freeform 287">
              <a:extLst>
                <a:ext uri="{FF2B5EF4-FFF2-40B4-BE49-F238E27FC236}">
                  <a16:creationId xmlns:a16="http://schemas.microsoft.com/office/drawing/2014/main" id="{5D73100F-E6DD-4260-BD1B-7B9098A8987E}"/>
                </a:ext>
              </a:extLst>
            </p:cNvPr>
            <p:cNvSpPr>
              <a:spLocks noEditPoints="1"/>
            </p:cNvSpPr>
            <p:nvPr/>
          </p:nvSpPr>
          <p:spPr bwMode="auto">
            <a:xfrm>
              <a:off x="2435225" y="968375"/>
              <a:ext cx="106362" cy="111125"/>
            </a:xfrm>
            <a:custGeom>
              <a:avLst/>
              <a:gdLst>
                <a:gd name="T0" fmla="*/ 20 w 33"/>
                <a:gd name="T1" fmla="*/ 16 h 34"/>
                <a:gd name="T2" fmla="*/ 20 w 33"/>
                <a:gd name="T3" fmla="*/ 0 h 34"/>
                <a:gd name="T4" fmla="*/ 13 w 33"/>
                <a:gd name="T5" fmla="*/ 0 h 34"/>
                <a:gd name="T6" fmla="*/ 13 w 33"/>
                <a:gd name="T7" fmla="*/ 16 h 34"/>
                <a:gd name="T8" fmla="*/ 1 w 33"/>
                <a:gd name="T9" fmla="*/ 28 h 34"/>
                <a:gd name="T10" fmla="*/ 1 w 33"/>
                <a:gd name="T11" fmla="*/ 33 h 34"/>
                <a:gd name="T12" fmla="*/ 6 w 33"/>
                <a:gd name="T13" fmla="*/ 33 h 34"/>
                <a:gd name="T14" fmla="*/ 13 w 33"/>
                <a:gd name="T15" fmla="*/ 26 h 34"/>
                <a:gd name="T16" fmla="*/ 13 w 33"/>
                <a:gd name="T17" fmla="*/ 31 h 34"/>
                <a:gd name="T18" fmla="*/ 17 w 33"/>
                <a:gd name="T19" fmla="*/ 34 h 34"/>
                <a:gd name="T20" fmla="*/ 20 w 33"/>
                <a:gd name="T21" fmla="*/ 31 h 34"/>
                <a:gd name="T22" fmla="*/ 20 w 33"/>
                <a:gd name="T23" fmla="*/ 26 h 34"/>
                <a:gd name="T24" fmla="*/ 27 w 33"/>
                <a:gd name="T25" fmla="*/ 33 h 34"/>
                <a:gd name="T26" fmla="*/ 30 w 33"/>
                <a:gd name="T27" fmla="*/ 34 h 34"/>
                <a:gd name="T28" fmla="*/ 32 w 33"/>
                <a:gd name="T29" fmla="*/ 33 h 34"/>
                <a:gd name="T30" fmla="*/ 32 w 33"/>
                <a:gd name="T31" fmla="*/ 28 h 34"/>
                <a:gd name="T32" fmla="*/ 20 w 33"/>
                <a:gd name="T33" fmla="*/ 16 h 34"/>
                <a:gd name="T34" fmla="*/ 20 w 33"/>
                <a:gd name="T35" fmla="*/ 16 h 34"/>
                <a:gd name="T36" fmla="*/ 20 w 33"/>
                <a:gd name="T37" fmla="*/ 16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 h="34">
                  <a:moveTo>
                    <a:pt x="20" y="16"/>
                  </a:moveTo>
                  <a:cubicBezTo>
                    <a:pt x="20" y="0"/>
                    <a:pt x="20" y="0"/>
                    <a:pt x="20" y="0"/>
                  </a:cubicBezTo>
                  <a:cubicBezTo>
                    <a:pt x="13" y="0"/>
                    <a:pt x="13" y="0"/>
                    <a:pt x="13" y="0"/>
                  </a:cubicBezTo>
                  <a:cubicBezTo>
                    <a:pt x="13" y="16"/>
                    <a:pt x="13" y="16"/>
                    <a:pt x="13" y="16"/>
                  </a:cubicBezTo>
                  <a:cubicBezTo>
                    <a:pt x="1" y="28"/>
                    <a:pt x="1" y="28"/>
                    <a:pt x="1" y="28"/>
                  </a:cubicBezTo>
                  <a:cubicBezTo>
                    <a:pt x="0" y="29"/>
                    <a:pt x="0" y="32"/>
                    <a:pt x="1" y="33"/>
                  </a:cubicBezTo>
                  <a:cubicBezTo>
                    <a:pt x="3" y="34"/>
                    <a:pt x="5" y="34"/>
                    <a:pt x="6" y="33"/>
                  </a:cubicBezTo>
                  <a:cubicBezTo>
                    <a:pt x="13" y="26"/>
                    <a:pt x="13" y="26"/>
                    <a:pt x="13" y="26"/>
                  </a:cubicBezTo>
                  <a:cubicBezTo>
                    <a:pt x="13" y="31"/>
                    <a:pt x="13" y="31"/>
                    <a:pt x="13" y="31"/>
                  </a:cubicBezTo>
                  <a:cubicBezTo>
                    <a:pt x="13" y="32"/>
                    <a:pt x="15" y="34"/>
                    <a:pt x="17" y="34"/>
                  </a:cubicBezTo>
                  <a:cubicBezTo>
                    <a:pt x="19" y="34"/>
                    <a:pt x="20" y="32"/>
                    <a:pt x="20" y="31"/>
                  </a:cubicBezTo>
                  <a:cubicBezTo>
                    <a:pt x="20" y="26"/>
                    <a:pt x="20" y="26"/>
                    <a:pt x="20" y="26"/>
                  </a:cubicBezTo>
                  <a:cubicBezTo>
                    <a:pt x="27" y="33"/>
                    <a:pt x="27" y="33"/>
                    <a:pt x="27" y="33"/>
                  </a:cubicBezTo>
                  <a:cubicBezTo>
                    <a:pt x="28" y="34"/>
                    <a:pt x="29" y="34"/>
                    <a:pt x="30" y="34"/>
                  </a:cubicBezTo>
                  <a:cubicBezTo>
                    <a:pt x="31" y="34"/>
                    <a:pt x="31" y="34"/>
                    <a:pt x="32" y="33"/>
                  </a:cubicBezTo>
                  <a:cubicBezTo>
                    <a:pt x="33" y="32"/>
                    <a:pt x="33" y="29"/>
                    <a:pt x="32" y="28"/>
                  </a:cubicBezTo>
                  <a:lnTo>
                    <a:pt x="20" y="16"/>
                  </a:lnTo>
                  <a:close/>
                  <a:moveTo>
                    <a:pt x="20" y="16"/>
                  </a:moveTo>
                  <a:cubicBezTo>
                    <a:pt x="20" y="16"/>
                    <a:pt x="20" y="16"/>
                    <a:pt x="20" y="1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47" name="Rectangle 288">
              <a:extLst>
                <a:ext uri="{FF2B5EF4-FFF2-40B4-BE49-F238E27FC236}">
                  <a16:creationId xmlns:a16="http://schemas.microsoft.com/office/drawing/2014/main" id="{D21516DD-7777-4F71-92A3-11169FF3ABD4}"/>
                </a:ext>
              </a:extLst>
            </p:cNvPr>
            <p:cNvSpPr>
              <a:spLocks noChangeArrowheads="1"/>
            </p:cNvSpPr>
            <p:nvPr/>
          </p:nvSpPr>
          <p:spPr bwMode="auto">
            <a:xfrm>
              <a:off x="2409825" y="893763"/>
              <a:ext cx="22225" cy="222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48" name="Rectangle 289">
              <a:extLst>
                <a:ext uri="{FF2B5EF4-FFF2-40B4-BE49-F238E27FC236}">
                  <a16:creationId xmlns:a16="http://schemas.microsoft.com/office/drawing/2014/main" id="{1522984C-D6D7-4C75-B809-F99652810A6D}"/>
                </a:ext>
              </a:extLst>
            </p:cNvPr>
            <p:cNvSpPr>
              <a:spLocks noChangeArrowheads="1"/>
            </p:cNvSpPr>
            <p:nvPr/>
          </p:nvSpPr>
          <p:spPr bwMode="auto">
            <a:xfrm>
              <a:off x="2547938" y="819150"/>
              <a:ext cx="23812" cy="968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49" name="Rectangle 290">
              <a:extLst>
                <a:ext uri="{FF2B5EF4-FFF2-40B4-BE49-F238E27FC236}">
                  <a16:creationId xmlns:a16="http://schemas.microsoft.com/office/drawing/2014/main" id="{D0BDA4F5-B07E-4879-9FC7-6AFCBEF1B71D}"/>
                </a:ext>
              </a:extLst>
            </p:cNvPr>
            <p:cNvSpPr>
              <a:spLocks noChangeArrowheads="1"/>
            </p:cNvSpPr>
            <p:nvPr/>
          </p:nvSpPr>
          <p:spPr bwMode="auto">
            <a:xfrm>
              <a:off x="2478088" y="857250"/>
              <a:ext cx="22225" cy="587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50" name="Freeform 291">
              <a:extLst>
                <a:ext uri="{FF2B5EF4-FFF2-40B4-BE49-F238E27FC236}">
                  <a16:creationId xmlns:a16="http://schemas.microsoft.com/office/drawing/2014/main" id="{88A4A35A-6FF9-4619-A2D4-5A71B3C8EEBC}"/>
                </a:ext>
              </a:extLst>
            </p:cNvPr>
            <p:cNvSpPr>
              <a:spLocks noEditPoints="1"/>
            </p:cNvSpPr>
            <p:nvPr/>
          </p:nvSpPr>
          <p:spPr bwMode="auto">
            <a:xfrm>
              <a:off x="2478088" y="741363"/>
              <a:ext cx="22225" cy="22225"/>
            </a:xfrm>
            <a:custGeom>
              <a:avLst/>
              <a:gdLst>
                <a:gd name="T0" fmla="*/ 7 w 7"/>
                <a:gd name="T1" fmla="*/ 3 h 7"/>
                <a:gd name="T2" fmla="*/ 4 w 7"/>
                <a:gd name="T3" fmla="*/ 0 h 7"/>
                <a:gd name="T4" fmla="*/ 0 w 7"/>
                <a:gd name="T5" fmla="*/ 3 h 7"/>
                <a:gd name="T6" fmla="*/ 0 w 7"/>
                <a:gd name="T7" fmla="*/ 7 h 7"/>
                <a:gd name="T8" fmla="*/ 7 w 7"/>
                <a:gd name="T9" fmla="*/ 7 h 7"/>
                <a:gd name="T10" fmla="*/ 7 w 7"/>
                <a:gd name="T11" fmla="*/ 3 h 7"/>
                <a:gd name="T12" fmla="*/ 7 w 7"/>
                <a:gd name="T13" fmla="*/ 3 h 7"/>
                <a:gd name="T14" fmla="*/ 7 w 7"/>
                <a:gd name="T15" fmla="*/ 3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7">
                  <a:moveTo>
                    <a:pt x="7" y="3"/>
                  </a:moveTo>
                  <a:cubicBezTo>
                    <a:pt x="7" y="2"/>
                    <a:pt x="6" y="0"/>
                    <a:pt x="4" y="0"/>
                  </a:cubicBezTo>
                  <a:cubicBezTo>
                    <a:pt x="2" y="0"/>
                    <a:pt x="0" y="2"/>
                    <a:pt x="0" y="3"/>
                  </a:cubicBezTo>
                  <a:cubicBezTo>
                    <a:pt x="0" y="7"/>
                    <a:pt x="0" y="7"/>
                    <a:pt x="0" y="7"/>
                  </a:cubicBezTo>
                  <a:cubicBezTo>
                    <a:pt x="7" y="7"/>
                    <a:pt x="7" y="7"/>
                    <a:pt x="7" y="7"/>
                  </a:cubicBezTo>
                  <a:cubicBezTo>
                    <a:pt x="7" y="3"/>
                    <a:pt x="7" y="3"/>
                    <a:pt x="7" y="3"/>
                  </a:cubicBezTo>
                  <a:close/>
                  <a:moveTo>
                    <a:pt x="7" y="3"/>
                  </a:moveTo>
                  <a:cubicBezTo>
                    <a:pt x="7" y="3"/>
                    <a:pt x="7" y="3"/>
                    <a:pt x="7" y="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51" name="Freeform 292">
              <a:extLst>
                <a:ext uri="{FF2B5EF4-FFF2-40B4-BE49-F238E27FC236}">
                  <a16:creationId xmlns:a16="http://schemas.microsoft.com/office/drawing/2014/main" id="{982923C6-18F1-4137-ADB1-6EDBB2E9B377}"/>
                </a:ext>
              </a:extLst>
            </p:cNvPr>
            <p:cNvSpPr>
              <a:spLocks noEditPoints="1"/>
            </p:cNvSpPr>
            <p:nvPr/>
          </p:nvSpPr>
          <p:spPr bwMode="auto">
            <a:xfrm>
              <a:off x="2370138" y="779463"/>
              <a:ext cx="236537" cy="176213"/>
            </a:xfrm>
            <a:custGeom>
              <a:avLst/>
              <a:gdLst>
                <a:gd name="T0" fmla="*/ 71 w 73"/>
                <a:gd name="T1" fmla="*/ 0 h 54"/>
                <a:gd name="T2" fmla="*/ 3 w 73"/>
                <a:gd name="T3" fmla="*/ 0 h 54"/>
                <a:gd name="T4" fmla="*/ 0 w 73"/>
                <a:gd name="T5" fmla="*/ 2 h 54"/>
                <a:gd name="T6" fmla="*/ 0 w 73"/>
                <a:gd name="T7" fmla="*/ 51 h 54"/>
                <a:gd name="T8" fmla="*/ 3 w 73"/>
                <a:gd name="T9" fmla="*/ 54 h 54"/>
                <a:gd name="T10" fmla="*/ 71 w 73"/>
                <a:gd name="T11" fmla="*/ 54 h 54"/>
                <a:gd name="T12" fmla="*/ 73 w 73"/>
                <a:gd name="T13" fmla="*/ 51 h 54"/>
                <a:gd name="T14" fmla="*/ 73 w 73"/>
                <a:gd name="T15" fmla="*/ 2 h 54"/>
                <a:gd name="T16" fmla="*/ 71 w 73"/>
                <a:gd name="T17" fmla="*/ 0 h 54"/>
                <a:gd name="T18" fmla="*/ 24 w 73"/>
                <a:gd name="T19" fmla="*/ 44 h 54"/>
                <a:gd name="T20" fmla="*/ 21 w 73"/>
                <a:gd name="T21" fmla="*/ 47 h 54"/>
                <a:gd name="T22" fmla="*/ 9 w 73"/>
                <a:gd name="T23" fmla="*/ 47 h 54"/>
                <a:gd name="T24" fmla="*/ 6 w 73"/>
                <a:gd name="T25" fmla="*/ 44 h 54"/>
                <a:gd name="T26" fmla="*/ 6 w 73"/>
                <a:gd name="T27" fmla="*/ 33 h 54"/>
                <a:gd name="T28" fmla="*/ 9 w 73"/>
                <a:gd name="T29" fmla="*/ 30 h 54"/>
                <a:gd name="T30" fmla="*/ 21 w 73"/>
                <a:gd name="T31" fmla="*/ 30 h 54"/>
                <a:gd name="T32" fmla="*/ 24 w 73"/>
                <a:gd name="T33" fmla="*/ 33 h 54"/>
                <a:gd name="T34" fmla="*/ 24 w 73"/>
                <a:gd name="T35" fmla="*/ 44 h 54"/>
                <a:gd name="T36" fmla="*/ 46 w 73"/>
                <a:gd name="T37" fmla="*/ 44 h 54"/>
                <a:gd name="T38" fmla="*/ 43 w 73"/>
                <a:gd name="T39" fmla="*/ 47 h 54"/>
                <a:gd name="T40" fmla="*/ 30 w 73"/>
                <a:gd name="T41" fmla="*/ 47 h 54"/>
                <a:gd name="T42" fmla="*/ 28 w 73"/>
                <a:gd name="T43" fmla="*/ 44 h 54"/>
                <a:gd name="T44" fmla="*/ 28 w 73"/>
                <a:gd name="T45" fmla="*/ 21 h 54"/>
                <a:gd name="T46" fmla="*/ 30 w 73"/>
                <a:gd name="T47" fmla="*/ 18 h 54"/>
                <a:gd name="T48" fmla="*/ 43 w 73"/>
                <a:gd name="T49" fmla="*/ 18 h 54"/>
                <a:gd name="T50" fmla="*/ 46 w 73"/>
                <a:gd name="T51" fmla="*/ 21 h 54"/>
                <a:gd name="T52" fmla="*/ 46 w 73"/>
                <a:gd name="T53" fmla="*/ 44 h 54"/>
                <a:gd name="T54" fmla="*/ 67 w 73"/>
                <a:gd name="T55" fmla="*/ 44 h 54"/>
                <a:gd name="T56" fmla="*/ 64 w 73"/>
                <a:gd name="T57" fmla="*/ 47 h 54"/>
                <a:gd name="T58" fmla="*/ 52 w 73"/>
                <a:gd name="T59" fmla="*/ 47 h 54"/>
                <a:gd name="T60" fmla="*/ 49 w 73"/>
                <a:gd name="T61" fmla="*/ 44 h 54"/>
                <a:gd name="T62" fmla="*/ 49 w 73"/>
                <a:gd name="T63" fmla="*/ 9 h 54"/>
                <a:gd name="T64" fmla="*/ 52 w 73"/>
                <a:gd name="T65" fmla="*/ 6 h 54"/>
                <a:gd name="T66" fmla="*/ 64 w 73"/>
                <a:gd name="T67" fmla="*/ 6 h 54"/>
                <a:gd name="T68" fmla="*/ 67 w 73"/>
                <a:gd name="T69" fmla="*/ 9 h 54"/>
                <a:gd name="T70" fmla="*/ 67 w 73"/>
                <a:gd name="T71" fmla="*/ 44 h 54"/>
                <a:gd name="T72" fmla="*/ 67 w 73"/>
                <a:gd name="T73" fmla="*/ 44 h 54"/>
                <a:gd name="T74" fmla="*/ 67 w 73"/>
                <a:gd name="T75" fmla="*/ 4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3" h="54">
                  <a:moveTo>
                    <a:pt x="71" y="0"/>
                  </a:moveTo>
                  <a:cubicBezTo>
                    <a:pt x="3" y="0"/>
                    <a:pt x="3" y="0"/>
                    <a:pt x="3" y="0"/>
                  </a:cubicBezTo>
                  <a:cubicBezTo>
                    <a:pt x="1" y="0"/>
                    <a:pt x="0" y="1"/>
                    <a:pt x="0" y="2"/>
                  </a:cubicBezTo>
                  <a:cubicBezTo>
                    <a:pt x="0" y="51"/>
                    <a:pt x="0" y="51"/>
                    <a:pt x="0" y="51"/>
                  </a:cubicBezTo>
                  <a:cubicBezTo>
                    <a:pt x="0" y="53"/>
                    <a:pt x="1" y="54"/>
                    <a:pt x="3" y="54"/>
                  </a:cubicBezTo>
                  <a:cubicBezTo>
                    <a:pt x="71" y="54"/>
                    <a:pt x="71" y="54"/>
                    <a:pt x="71" y="54"/>
                  </a:cubicBezTo>
                  <a:cubicBezTo>
                    <a:pt x="72" y="54"/>
                    <a:pt x="73" y="53"/>
                    <a:pt x="73" y="51"/>
                  </a:cubicBezTo>
                  <a:cubicBezTo>
                    <a:pt x="73" y="2"/>
                    <a:pt x="73" y="2"/>
                    <a:pt x="73" y="2"/>
                  </a:cubicBezTo>
                  <a:cubicBezTo>
                    <a:pt x="73" y="1"/>
                    <a:pt x="72" y="0"/>
                    <a:pt x="71" y="0"/>
                  </a:cubicBezTo>
                  <a:close/>
                  <a:moveTo>
                    <a:pt x="24" y="44"/>
                  </a:moveTo>
                  <a:cubicBezTo>
                    <a:pt x="24" y="46"/>
                    <a:pt x="23" y="47"/>
                    <a:pt x="21" y="47"/>
                  </a:cubicBezTo>
                  <a:cubicBezTo>
                    <a:pt x="9" y="47"/>
                    <a:pt x="9" y="47"/>
                    <a:pt x="9" y="47"/>
                  </a:cubicBezTo>
                  <a:cubicBezTo>
                    <a:pt x="7" y="47"/>
                    <a:pt x="6" y="46"/>
                    <a:pt x="6" y="44"/>
                  </a:cubicBezTo>
                  <a:cubicBezTo>
                    <a:pt x="6" y="33"/>
                    <a:pt x="6" y="33"/>
                    <a:pt x="6" y="33"/>
                  </a:cubicBezTo>
                  <a:cubicBezTo>
                    <a:pt x="6" y="31"/>
                    <a:pt x="7" y="30"/>
                    <a:pt x="9" y="30"/>
                  </a:cubicBezTo>
                  <a:cubicBezTo>
                    <a:pt x="21" y="30"/>
                    <a:pt x="21" y="30"/>
                    <a:pt x="21" y="30"/>
                  </a:cubicBezTo>
                  <a:cubicBezTo>
                    <a:pt x="23" y="30"/>
                    <a:pt x="24" y="31"/>
                    <a:pt x="24" y="33"/>
                  </a:cubicBezTo>
                  <a:lnTo>
                    <a:pt x="24" y="44"/>
                  </a:lnTo>
                  <a:close/>
                  <a:moveTo>
                    <a:pt x="46" y="44"/>
                  </a:moveTo>
                  <a:cubicBezTo>
                    <a:pt x="46" y="46"/>
                    <a:pt x="44" y="47"/>
                    <a:pt x="43" y="47"/>
                  </a:cubicBezTo>
                  <a:cubicBezTo>
                    <a:pt x="30" y="47"/>
                    <a:pt x="30" y="47"/>
                    <a:pt x="30" y="47"/>
                  </a:cubicBezTo>
                  <a:cubicBezTo>
                    <a:pt x="29" y="47"/>
                    <a:pt x="28" y="46"/>
                    <a:pt x="28" y="44"/>
                  </a:cubicBezTo>
                  <a:cubicBezTo>
                    <a:pt x="28" y="21"/>
                    <a:pt x="28" y="21"/>
                    <a:pt x="28" y="21"/>
                  </a:cubicBezTo>
                  <a:cubicBezTo>
                    <a:pt x="28" y="19"/>
                    <a:pt x="29" y="18"/>
                    <a:pt x="30" y="18"/>
                  </a:cubicBezTo>
                  <a:cubicBezTo>
                    <a:pt x="43" y="18"/>
                    <a:pt x="43" y="18"/>
                    <a:pt x="43" y="18"/>
                  </a:cubicBezTo>
                  <a:cubicBezTo>
                    <a:pt x="44" y="18"/>
                    <a:pt x="46" y="19"/>
                    <a:pt x="46" y="21"/>
                  </a:cubicBezTo>
                  <a:lnTo>
                    <a:pt x="46" y="44"/>
                  </a:lnTo>
                  <a:close/>
                  <a:moveTo>
                    <a:pt x="67" y="44"/>
                  </a:moveTo>
                  <a:cubicBezTo>
                    <a:pt x="67" y="46"/>
                    <a:pt x="66" y="47"/>
                    <a:pt x="64" y="47"/>
                  </a:cubicBezTo>
                  <a:cubicBezTo>
                    <a:pt x="52" y="47"/>
                    <a:pt x="52" y="47"/>
                    <a:pt x="52" y="47"/>
                  </a:cubicBezTo>
                  <a:cubicBezTo>
                    <a:pt x="50" y="47"/>
                    <a:pt x="49" y="46"/>
                    <a:pt x="49" y="44"/>
                  </a:cubicBezTo>
                  <a:cubicBezTo>
                    <a:pt x="49" y="9"/>
                    <a:pt x="49" y="9"/>
                    <a:pt x="49" y="9"/>
                  </a:cubicBezTo>
                  <a:cubicBezTo>
                    <a:pt x="49" y="8"/>
                    <a:pt x="50" y="6"/>
                    <a:pt x="52" y="6"/>
                  </a:cubicBezTo>
                  <a:cubicBezTo>
                    <a:pt x="64" y="6"/>
                    <a:pt x="64" y="6"/>
                    <a:pt x="64" y="6"/>
                  </a:cubicBezTo>
                  <a:cubicBezTo>
                    <a:pt x="66" y="6"/>
                    <a:pt x="67" y="8"/>
                    <a:pt x="67" y="9"/>
                  </a:cubicBezTo>
                  <a:lnTo>
                    <a:pt x="67" y="44"/>
                  </a:lnTo>
                  <a:close/>
                  <a:moveTo>
                    <a:pt x="67" y="44"/>
                  </a:moveTo>
                  <a:cubicBezTo>
                    <a:pt x="67" y="44"/>
                    <a:pt x="67" y="44"/>
                    <a:pt x="67" y="4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52" name="Freeform 293">
              <a:extLst>
                <a:ext uri="{FF2B5EF4-FFF2-40B4-BE49-F238E27FC236}">
                  <a16:creationId xmlns:a16="http://schemas.microsoft.com/office/drawing/2014/main" id="{51B05C17-CB5F-4CB1-8FA6-A5EFE6BA96DA}"/>
                </a:ext>
              </a:extLst>
            </p:cNvPr>
            <p:cNvSpPr>
              <a:spLocks noEditPoints="1"/>
            </p:cNvSpPr>
            <p:nvPr/>
          </p:nvSpPr>
          <p:spPr bwMode="auto">
            <a:xfrm>
              <a:off x="2252663" y="766763"/>
              <a:ext cx="85725" cy="84138"/>
            </a:xfrm>
            <a:custGeom>
              <a:avLst/>
              <a:gdLst>
                <a:gd name="T0" fmla="*/ 13 w 26"/>
                <a:gd name="T1" fmla="*/ 0 h 26"/>
                <a:gd name="T2" fmla="*/ 0 w 26"/>
                <a:gd name="T3" fmla="*/ 13 h 26"/>
                <a:gd name="T4" fmla="*/ 13 w 26"/>
                <a:gd name="T5" fmla="*/ 26 h 26"/>
                <a:gd name="T6" fmla="*/ 26 w 26"/>
                <a:gd name="T7" fmla="*/ 13 h 26"/>
                <a:gd name="T8" fmla="*/ 13 w 26"/>
                <a:gd name="T9" fmla="*/ 0 h 26"/>
                <a:gd name="T10" fmla="*/ 13 w 26"/>
                <a:gd name="T11" fmla="*/ 0 h 26"/>
                <a:gd name="T12" fmla="*/ 13 w 26"/>
                <a:gd name="T13" fmla="*/ 0 h 26"/>
              </a:gdLst>
              <a:ahLst/>
              <a:cxnLst>
                <a:cxn ang="0">
                  <a:pos x="T0" y="T1"/>
                </a:cxn>
                <a:cxn ang="0">
                  <a:pos x="T2" y="T3"/>
                </a:cxn>
                <a:cxn ang="0">
                  <a:pos x="T4" y="T5"/>
                </a:cxn>
                <a:cxn ang="0">
                  <a:pos x="T6" y="T7"/>
                </a:cxn>
                <a:cxn ang="0">
                  <a:pos x="T8" y="T9"/>
                </a:cxn>
                <a:cxn ang="0">
                  <a:pos x="T10" y="T11"/>
                </a:cxn>
                <a:cxn ang="0">
                  <a:pos x="T12" y="T13"/>
                </a:cxn>
              </a:cxnLst>
              <a:rect l="0" t="0" r="r" b="b"/>
              <a:pathLst>
                <a:path w="26" h="26">
                  <a:moveTo>
                    <a:pt x="13" y="0"/>
                  </a:moveTo>
                  <a:cubicBezTo>
                    <a:pt x="6" y="0"/>
                    <a:pt x="0" y="6"/>
                    <a:pt x="0" y="13"/>
                  </a:cubicBezTo>
                  <a:cubicBezTo>
                    <a:pt x="0" y="20"/>
                    <a:pt x="6" y="26"/>
                    <a:pt x="13" y="26"/>
                  </a:cubicBezTo>
                  <a:cubicBezTo>
                    <a:pt x="20" y="26"/>
                    <a:pt x="26" y="20"/>
                    <a:pt x="26" y="13"/>
                  </a:cubicBezTo>
                  <a:cubicBezTo>
                    <a:pt x="26" y="6"/>
                    <a:pt x="20" y="0"/>
                    <a:pt x="13" y="0"/>
                  </a:cubicBezTo>
                  <a:close/>
                  <a:moveTo>
                    <a:pt x="13" y="0"/>
                  </a:moveTo>
                  <a:cubicBezTo>
                    <a:pt x="13" y="0"/>
                    <a:pt x="13" y="0"/>
                    <a:pt x="1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53" name="Freeform 294">
              <a:extLst>
                <a:ext uri="{FF2B5EF4-FFF2-40B4-BE49-F238E27FC236}">
                  <a16:creationId xmlns:a16="http://schemas.microsoft.com/office/drawing/2014/main" id="{9AD2AB64-21A7-475A-8EB4-101787EC6E6F}"/>
                </a:ext>
              </a:extLst>
            </p:cNvPr>
            <p:cNvSpPr>
              <a:spLocks noEditPoints="1"/>
            </p:cNvSpPr>
            <p:nvPr/>
          </p:nvSpPr>
          <p:spPr bwMode="auto">
            <a:xfrm>
              <a:off x="2257425" y="857250"/>
              <a:ext cx="80962" cy="254000"/>
            </a:xfrm>
            <a:custGeom>
              <a:avLst/>
              <a:gdLst>
                <a:gd name="T0" fmla="*/ 13 w 25"/>
                <a:gd name="T1" fmla="*/ 0 h 78"/>
                <a:gd name="T2" fmla="*/ 0 w 25"/>
                <a:gd name="T3" fmla="*/ 13 h 78"/>
                <a:gd name="T4" fmla="*/ 0 w 25"/>
                <a:gd name="T5" fmla="*/ 32 h 78"/>
                <a:gd name="T6" fmla="*/ 1 w 25"/>
                <a:gd name="T7" fmla="*/ 37 h 78"/>
                <a:gd name="T8" fmla="*/ 4 w 25"/>
                <a:gd name="T9" fmla="*/ 45 h 78"/>
                <a:gd name="T10" fmla="*/ 5 w 25"/>
                <a:gd name="T11" fmla="*/ 48 h 78"/>
                <a:gd name="T12" fmla="*/ 5 w 25"/>
                <a:gd name="T13" fmla="*/ 75 h 78"/>
                <a:gd name="T14" fmla="*/ 8 w 25"/>
                <a:gd name="T15" fmla="*/ 78 h 78"/>
                <a:gd name="T16" fmla="*/ 22 w 25"/>
                <a:gd name="T17" fmla="*/ 78 h 78"/>
                <a:gd name="T18" fmla="*/ 25 w 25"/>
                <a:gd name="T19" fmla="*/ 75 h 78"/>
                <a:gd name="T20" fmla="*/ 25 w 25"/>
                <a:gd name="T21" fmla="*/ 13 h 78"/>
                <a:gd name="T22" fmla="*/ 13 w 25"/>
                <a:gd name="T23" fmla="*/ 0 h 78"/>
                <a:gd name="T24" fmla="*/ 13 w 25"/>
                <a:gd name="T25" fmla="*/ 0 h 78"/>
                <a:gd name="T26" fmla="*/ 13 w 25"/>
                <a:gd name="T27"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 h="78">
                  <a:moveTo>
                    <a:pt x="13" y="0"/>
                  </a:moveTo>
                  <a:cubicBezTo>
                    <a:pt x="6" y="0"/>
                    <a:pt x="0" y="6"/>
                    <a:pt x="0" y="13"/>
                  </a:cubicBezTo>
                  <a:cubicBezTo>
                    <a:pt x="0" y="32"/>
                    <a:pt x="0" y="32"/>
                    <a:pt x="0" y="32"/>
                  </a:cubicBezTo>
                  <a:cubicBezTo>
                    <a:pt x="0" y="33"/>
                    <a:pt x="1" y="35"/>
                    <a:pt x="1" y="37"/>
                  </a:cubicBezTo>
                  <a:cubicBezTo>
                    <a:pt x="4" y="45"/>
                    <a:pt x="4" y="45"/>
                    <a:pt x="4" y="45"/>
                  </a:cubicBezTo>
                  <a:cubicBezTo>
                    <a:pt x="4" y="46"/>
                    <a:pt x="5" y="47"/>
                    <a:pt x="5" y="48"/>
                  </a:cubicBezTo>
                  <a:cubicBezTo>
                    <a:pt x="5" y="75"/>
                    <a:pt x="5" y="75"/>
                    <a:pt x="5" y="75"/>
                  </a:cubicBezTo>
                  <a:cubicBezTo>
                    <a:pt x="5" y="76"/>
                    <a:pt x="6" y="78"/>
                    <a:pt x="8" y="78"/>
                  </a:cubicBezTo>
                  <a:cubicBezTo>
                    <a:pt x="22" y="78"/>
                    <a:pt x="22" y="78"/>
                    <a:pt x="22" y="78"/>
                  </a:cubicBezTo>
                  <a:cubicBezTo>
                    <a:pt x="23" y="78"/>
                    <a:pt x="25" y="76"/>
                    <a:pt x="25" y="75"/>
                  </a:cubicBezTo>
                  <a:cubicBezTo>
                    <a:pt x="25" y="13"/>
                    <a:pt x="25" y="13"/>
                    <a:pt x="25" y="13"/>
                  </a:cubicBezTo>
                  <a:cubicBezTo>
                    <a:pt x="25" y="6"/>
                    <a:pt x="19" y="0"/>
                    <a:pt x="13" y="0"/>
                  </a:cubicBezTo>
                  <a:close/>
                  <a:moveTo>
                    <a:pt x="13" y="0"/>
                  </a:moveTo>
                  <a:cubicBezTo>
                    <a:pt x="13" y="0"/>
                    <a:pt x="13" y="0"/>
                    <a:pt x="1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grpSp>
        <p:nvGrpSpPr>
          <p:cNvPr id="54" name="Group 76">
            <a:extLst>
              <a:ext uri="{FF2B5EF4-FFF2-40B4-BE49-F238E27FC236}">
                <a16:creationId xmlns:a16="http://schemas.microsoft.com/office/drawing/2014/main" id="{4F997D52-D629-4C39-A6C2-DA4B982A31D5}"/>
              </a:ext>
            </a:extLst>
          </p:cNvPr>
          <p:cNvGrpSpPr/>
          <p:nvPr/>
        </p:nvGrpSpPr>
        <p:grpSpPr>
          <a:xfrm>
            <a:off x="6827193" y="3101741"/>
            <a:ext cx="509288" cy="366363"/>
            <a:chOff x="4414838" y="2039938"/>
            <a:chExt cx="492124" cy="354013"/>
          </a:xfrm>
          <a:solidFill>
            <a:schemeClr val="bg1"/>
          </a:solidFill>
        </p:grpSpPr>
        <p:sp>
          <p:nvSpPr>
            <p:cNvPr id="55" name="Freeform 10">
              <a:extLst>
                <a:ext uri="{FF2B5EF4-FFF2-40B4-BE49-F238E27FC236}">
                  <a16:creationId xmlns:a16="http://schemas.microsoft.com/office/drawing/2014/main" id="{74D69306-6636-446D-9228-B09D28A349B2}"/>
                </a:ext>
              </a:extLst>
            </p:cNvPr>
            <p:cNvSpPr>
              <a:spLocks noEditPoints="1"/>
            </p:cNvSpPr>
            <p:nvPr/>
          </p:nvSpPr>
          <p:spPr bwMode="auto">
            <a:xfrm>
              <a:off x="4530725" y="2300288"/>
              <a:ext cx="260350" cy="74613"/>
            </a:xfrm>
            <a:custGeom>
              <a:avLst/>
              <a:gdLst>
                <a:gd name="T0" fmla="*/ 66 w 80"/>
                <a:gd name="T1" fmla="*/ 5 h 23"/>
                <a:gd name="T2" fmla="*/ 64 w 80"/>
                <a:gd name="T3" fmla="*/ 4 h 23"/>
                <a:gd name="T4" fmla="*/ 40 w 80"/>
                <a:gd name="T5" fmla="*/ 11 h 23"/>
                <a:gd name="T6" fmla="*/ 10 w 80"/>
                <a:gd name="T7" fmla="*/ 0 h 23"/>
                <a:gd name="T8" fmla="*/ 3 w 80"/>
                <a:gd name="T9" fmla="*/ 6 h 23"/>
                <a:gd name="T10" fmla="*/ 0 w 80"/>
                <a:gd name="T11" fmla="*/ 12 h 23"/>
                <a:gd name="T12" fmla="*/ 0 w 80"/>
                <a:gd name="T13" fmla="*/ 23 h 23"/>
                <a:gd name="T14" fmla="*/ 80 w 80"/>
                <a:gd name="T15" fmla="*/ 23 h 23"/>
                <a:gd name="T16" fmla="*/ 80 w 80"/>
                <a:gd name="T17" fmla="*/ 19 h 23"/>
                <a:gd name="T18" fmla="*/ 68 w 80"/>
                <a:gd name="T19" fmla="*/ 7 h 23"/>
                <a:gd name="T20" fmla="*/ 66 w 80"/>
                <a:gd name="T21" fmla="*/ 5 h 23"/>
                <a:gd name="T22" fmla="*/ 66 w 80"/>
                <a:gd name="T23" fmla="*/ 5 h 23"/>
                <a:gd name="T24" fmla="*/ 66 w 80"/>
                <a:gd name="T25" fmla="*/ 5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0" h="23">
                  <a:moveTo>
                    <a:pt x="66" y="5"/>
                  </a:moveTo>
                  <a:cubicBezTo>
                    <a:pt x="64" y="4"/>
                    <a:pt x="64" y="4"/>
                    <a:pt x="64" y="4"/>
                  </a:cubicBezTo>
                  <a:cubicBezTo>
                    <a:pt x="57" y="8"/>
                    <a:pt x="49" y="11"/>
                    <a:pt x="40" y="11"/>
                  </a:cubicBezTo>
                  <a:cubicBezTo>
                    <a:pt x="29" y="11"/>
                    <a:pt x="19" y="7"/>
                    <a:pt x="10" y="0"/>
                  </a:cubicBezTo>
                  <a:cubicBezTo>
                    <a:pt x="8" y="2"/>
                    <a:pt x="5" y="4"/>
                    <a:pt x="3" y="6"/>
                  </a:cubicBezTo>
                  <a:cubicBezTo>
                    <a:pt x="1" y="7"/>
                    <a:pt x="0" y="9"/>
                    <a:pt x="0" y="12"/>
                  </a:cubicBezTo>
                  <a:cubicBezTo>
                    <a:pt x="0" y="23"/>
                    <a:pt x="0" y="23"/>
                    <a:pt x="0" y="23"/>
                  </a:cubicBezTo>
                  <a:cubicBezTo>
                    <a:pt x="80" y="23"/>
                    <a:pt x="80" y="23"/>
                    <a:pt x="80" y="23"/>
                  </a:cubicBezTo>
                  <a:cubicBezTo>
                    <a:pt x="80" y="19"/>
                    <a:pt x="80" y="19"/>
                    <a:pt x="80" y="19"/>
                  </a:cubicBezTo>
                  <a:cubicBezTo>
                    <a:pt x="68" y="7"/>
                    <a:pt x="68" y="7"/>
                    <a:pt x="68" y="7"/>
                  </a:cubicBezTo>
                  <a:lnTo>
                    <a:pt x="66" y="5"/>
                  </a:lnTo>
                  <a:close/>
                  <a:moveTo>
                    <a:pt x="66" y="5"/>
                  </a:moveTo>
                  <a:cubicBezTo>
                    <a:pt x="66" y="5"/>
                    <a:pt x="66" y="5"/>
                    <a:pt x="66" y="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56" name="Freeform 11">
              <a:extLst>
                <a:ext uri="{FF2B5EF4-FFF2-40B4-BE49-F238E27FC236}">
                  <a16:creationId xmlns:a16="http://schemas.microsoft.com/office/drawing/2014/main" id="{4E1A3569-035F-4E75-A084-530A4AD4EC05}"/>
                </a:ext>
              </a:extLst>
            </p:cNvPr>
            <p:cNvSpPr>
              <a:spLocks noEditPoints="1"/>
            </p:cNvSpPr>
            <p:nvPr/>
          </p:nvSpPr>
          <p:spPr bwMode="auto">
            <a:xfrm>
              <a:off x="4608513" y="2095500"/>
              <a:ext cx="104775" cy="176213"/>
            </a:xfrm>
            <a:custGeom>
              <a:avLst/>
              <a:gdLst>
                <a:gd name="T0" fmla="*/ 18 w 32"/>
                <a:gd name="T1" fmla="*/ 0 h 54"/>
                <a:gd name="T2" fmla="*/ 14 w 32"/>
                <a:gd name="T3" fmla="*/ 0 h 54"/>
                <a:gd name="T4" fmla="*/ 0 w 32"/>
                <a:gd name="T5" fmla="*/ 15 h 54"/>
                <a:gd name="T6" fmla="*/ 0 w 32"/>
                <a:gd name="T7" fmla="*/ 31 h 54"/>
                <a:gd name="T8" fmla="*/ 3 w 32"/>
                <a:gd name="T9" fmla="*/ 37 h 54"/>
                <a:gd name="T10" fmla="*/ 3 w 32"/>
                <a:gd name="T11" fmla="*/ 51 h 54"/>
                <a:gd name="T12" fmla="*/ 16 w 32"/>
                <a:gd name="T13" fmla="*/ 54 h 54"/>
                <a:gd name="T14" fmla="*/ 29 w 32"/>
                <a:gd name="T15" fmla="*/ 51 h 54"/>
                <a:gd name="T16" fmla="*/ 29 w 32"/>
                <a:gd name="T17" fmla="*/ 37 h 54"/>
                <a:gd name="T18" fmla="*/ 32 w 32"/>
                <a:gd name="T19" fmla="*/ 31 h 54"/>
                <a:gd name="T20" fmla="*/ 32 w 32"/>
                <a:gd name="T21" fmla="*/ 15 h 54"/>
                <a:gd name="T22" fmla="*/ 18 w 32"/>
                <a:gd name="T23" fmla="*/ 0 h 54"/>
                <a:gd name="T24" fmla="*/ 18 w 32"/>
                <a:gd name="T25" fmla="*/ 0 h 54"/>
                <a:gd name="T26" fmla="*/ 18 w 32"/>
                <a:gd name="T27"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 h="54">
                  <a:moveTo>
                    <a:pt x="18" y="0"/>
                  </a:moveTo>
                  <a:cubicBezTo>
                    <a:pt x="14" y="0"/>
                    <a:pt x="14" y="0"/>
                    <a:pt x="14" y="0"/>
                  </a:cubicBezTo>
                  <a:cubicBezTo>
                    <a:pt x="6" y="0"/>
                    <a:pt x="0" y="7"/>
                    <a:pt x="0" y="15"/>
                  </a:cubicBezTo>
                  <a:cubicBezTo>
                    <a:pt x="0" y="31"/>
                    <a:pt x="0" y="31"/>
                    <a:pt x="0" y="31"/>
                  </a:cubicBezTo>
                  <a:cubicBezTo>
                    <a:pt x="0" y="34"/>
                    <a:pt x="1" y="36"/>
                    <a:pt x="3" y="37"/>
                  </a:cubicBezTo>
                  <a:cubicBezTo>
                    <a:pt x="3" y="51"/>
                    <a:pt x="3" y="51"/>
                    <a:pt x="3" y="51"/>
                  </a:cubicBezTo>
                  <a:cubicBezTo>
                    <a:pt x="7" y="53"/>
                    <a:pt x="11" y="54"/>
                    <a:pt x="16" y="54"/>
                  </a:cubicBezTo>
                  <a:cubicBezTo>
                    <a:pt x="21" y="54"/>
                    <a:pt x="25" y="53"/>
                    <a:pt x="29" y="51"/>
                  </a:cubicBezTo>
                  <a:cubicBezTo>
                    <a:pt x="29" y="37"/>
                    <a:pt x="29" y="37"/>
                    <a:pt x="29" y="37"/>
                  </a:cubicBezTo>
                  <a:cubicBezTo>
                    <a:pt x="31" y="36"/>
                    <a:pt x="32" y="34"/>
                    <a:pt x="32" y="31"/>
                  </a:cubicBezTo>
                  <a:cubicBezTo>
                    <a:pt x="32" y="15"/>
                    <a:pt x="32" y="15"/>
                    <a:pt x="32" y="15"/>
                  </a:cubicBezTo>
                  <a:cubicBezTo>
                    <a:pt x="32" y="7"/>
                    <a:pt x="26" y="0"/>
                    <a:pt x="18" y="0"/>
                  </a:cubicBezTo>
                  <a:close/>
                  <a:moveTo>
                    <a:pt x="18" y="0"/>
                  </a:moveTo>
                  <a:cubicBezTo>
                    <a:pt x="18" y="0"/>
                    <a:pt x="18" y="0"/>
                    <a:pt x="1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57" name="Freeform 12">
              <a:extLst>
                <a:ext uri="{FF2B5EF4-FFF2-40B4-BE49-F238E27FC236}">
                  <a16:creationId xmlns:a16="http://schemas.microsoft.com/office/drawing/2014/main" id="{F32E6F97-DD06-4BC2-8448-3DCFA86F0E05}"/>
                </a:ext>
              </a:extLst>
            </p:cNvPr>
            <p:cNvSpPr>
              <a:spLocks noEditPoints="1"/>
            </p:cNvSpPr>
            <p:nvPr/>
          </p:nvSpPr>
          <p:spPr bwMode="auto">
            <a:xfrm>
              <a:off x="4794250" y="2095500"/>
              <a:ext cx="112712" cy="234950"/>
            </a:xfrm>
            <a:custGeom>
              <a:avLst/>
              <a:gdLst>
                <a:gd name="T0" fmla="*/ 32 w 35"/>
                <a:gd name="T1" fmla="*/ 58 h 72"/>
                <a:gd name="T2" fmla="*/ 13 w 35"/>
                <a:gd name="T3" fmla="*/ 45 h 72"/>
                <a:gd name="T4" fmla="*/ 12 w 35"/>
                <a:gd name="T5" fmla="*/ 45 h 72"/>
                <a:gd name="T6" fmla="*/ 12 w 35"/>
                <a:gd name="T7" fmla="*/ 31 h 72"/>
                <a:gd name="T8" fmla="*/ 15 w 35"/>
                <a:gd name="T9" fmla="*/ 26 h 72"/>
                <a:gd name="T10" fmla="*/ 15 w 35"/>
                <a:gd name="T11" fmla="*/ 13 h 72"/>
                <a:gd name="T12" fmla="*/ 3 w 35"/>
                <a:gd name="T13" fmla="*/ 0 h 72"/>
                <a:gd name="T14" fmla="*/ 0 w 35"/>
                <a:gd name="T15" fmla="*/ 0 h 72"/>
                <a:gd name="T16" fmla="*/ 7 w 35"/>
                <a:gd name="T17" fmla="*/ 24 h 72"/>
                <a:gd name="T18" fmla="*/ 0 w 35"/>
                <a:gd name="T19" fmla="*/ 50 h 72"/>
                <a:gd name="T20" fmla="*/ 22 w 35"/>
                <a:gd name="T21" fmla="*/ 72 h 72"/>
                <a:gd name="T22" fmla="*/ 35 w 35"/>
                <a:gd name="T23" fmla="*/ 72 h 72"/>
                <a:gd name="T24" fmla="*/ 35 w 35"/>
                <a:gd name="T25" fmla="*/ 63 h 72"/>
                <a:gd name="T26" fmla="*/ 32 w 35"/>
                <a:gd name="T27" fmla="*/ 58 h 72"/>
                <a:gd name="T28" fmla="*/ 32 w 35"/>
                <a:gd name="T29" fmla="*/ 58 h 72"/>
                <a:gd name="T30" fmla="*/ 32 w 35"/>
                <a:gd name="T31" fmla="*/ 58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5" h="72">
                  <a:moveTo>
                    <a:pt x="32" y="58"/>
                  </a:moveTo>
                  <a:cubicBezTo>
                    <a:pt x="24" y="51"/>
                    <a:pt x="15" y="46"/>
                    <a:pt x="13" y="45"/>
                  </a:cubicBezTo>
                  <a:cubicBezTo>
                    <a:pt x="12" y="45"/>
                    <a:pt x="12" y="45"/>
                    <a:pt x="12" y="45"/>
                  </a:cubicBezTo>
                  <a:cubicBezTo>
                    <a:pt x="12" y="31"/>
                    <a:pt x="12" y="31"/>
                    <a:pt x="12" y="31"/>
                  </a:cubicBezTo>
                  <a:cubicBezTo>
                    <a:pt x="14" y="30"/>
                    <a:pt x="15" y="28"/>
                    <a:pt x="15" y="26"/>
                  </a:cubicBezTo>
                  <a:cubicBezTo>
                    <a:pt x="15" y="13"/>
                    <a:pt x="15" y="13"/>
                    <a:pt x="15" y="13"/>
                  </a:cubicBezTo>
                  <a:cubicBezTo>
                    <a:pt x="15" y="6"/>
                    <a:pt x="10" y="0"/>
                    <a:pt x="3" y="0"/>
                  </a:cubicBezTo>
                  <a:cubicBezTo>
                    <a:pt x="0" y="0"/>
                    <a:pt x="0" y="0"/>
                    <a:pt x="0" y="0"/>
                  </a:cubicBezTo>
                  <a:cubicBezTo>
                    <a:pt x="4" y="7"/>
                    <a:pt x="7" y="15"/>
                    <a:pt x="7" y="24"/>
                  </a:cubicBezTo>
                  <a:cubicBezTo>
                    <a:pt x="7" y="33"/>
                    <a:pt x="5" y="42"/>
                    <a:pt x="0" y="50"/>
                  </a:cubicBezTo>
                  <a:cubicBezTo>
                    <a:pt x="22" y="72"/>
                    <a:pt x="22" y="72"/>
                    <a:pt x="22" y="72"/>
                  </a:cubicBezTo>
                  <a:cubicBezTo>
                    <a:pt x="35" y="72"/>
                    <a:pt x="35" y="72"/>
                    <a:pt x="35" y="72"/>
                  </a:cubicBezTo>
                  <a:cubicBezTo>
                    <a:pt x="35" y="63"/>
                    <a:pt x="35" y="63"/>
                    <a:pt x="35" y="63"/>
                  </a:cubicBezTo>
                  <a:cubicBezTo>
                    <a:pt x="35" y="61"/>
                    <a:pt x="34" y="59"/>
                    <a:pt x="32" y="58"/>
                  </a:cubicBezTo>
                  <a:close/>
                  <a:moveTo>
                    <a:pt x="32" y="58"/>
                  </a:moveTo>
                  <a:cubicBezTo>
                    <a:pt x="32" y="58"/>
                    <a:pt x="32" y="58"/>
                    <a:pt x="32" y="5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58" name="Freeform 13">
              <a:extLst>
                <a:ext uri="{FF2B5EF4-FFF2-40B4-BE49-F238E27FC236}">
                  <a16:creationId xmlns:a16="http://schemas.microsoft.com/office/drawing/2014/main" id="{99C922A0-2595-47EF-A2BC-AE6D867A1734}"/>
                </a:ext>
              </a:extLst>
            </p:cNvPr>
            <p:cNvSpPr>
              <a:spLocks noEditPoints="1"/>
            </p:cNvSpPr>
            <p:nvPr/>
          </p:nvSpPr>
          <p:spPr bwMode="auto">
            <a:xfrm>
              <a:off x="4511675" y="2039938"/>
              <a:ext cx="366712" cy="354013"/>
            </a:xfrm>
            <a:custGeom>
              <a:avLst/>
              <a:gdLst>
                <a:gd name="T0" fmla="*/ 111 w 113"/>
                <a:gd name="T1" fmla="*/ 99 h 109"/>
                <a:gd name="T2" fmla="*/ 87 w 113"/>
                <a:gd name="T3" fmla="*/ 75 h 109"/>
                <a:gd name="T4" fmla="*/ 84 w 113"/>
                <a:gd name="T5" fmla="*/ 73 h 109"/>
                <a:gd name="T6" fmla="*/ 84 w 113"/>
                <a:gd name="T7" fmla="*/ 72 h 109"/>
                <a:gd name="T8" fmla="*/ 83 w 113"/>
                <a:gd name="T9" fmla="*/ 72 h 109"/>
                <a:gd name="T10" fmla="*/ 82 w 113"/>
                <a:gd name="T11" fmla="*/ 73 h 109"/>
                <a:gd name="T12" fmla="*/ 78 w 113"/>
                <a:gd name="T13" fmla="*/ 70 h 109"/>
                <a:gd name="T14" fmla="*/ 76 w 113"/>
                <a:gd name="T15" fmla="*/ 13 h 109"/>
                <a:gd name="T16" fmla="*/ 46 w 113"/>
                <a:gd name="T17" fmla="*/ 0 h 109"/>
                <a:gd name="T18" fmla="*/ 16 w 113"/>
                <a:gd name="T19" fmla="*/ 13 h 109"/>
                <a:gd name="T20" fmla="*/ 16 w 113"/>
                <a:gd name="T21" fmla="*/ 72 h 109"/>
                <a:gd name="T22" fmla="*/ 46 w 113"/>
                <a:gd name="T23" fmla="*/ 85 h 109"/>
                <a:gd name="T24" fmla="*/ 73 w 113"/>
                <a:gd name="T25" fmla="*/ 75 h 109"/>
                <a:gd name="T26" fmla="*/ 77 w 113"/>
                <a:gd name="T27" fmla="*/ 78 h 109"/>
                <a:gd name="T28" fmla="*/ 75 w 113"/>
                <a:gd name="T29" fmla="*/ 80 h 109"/>
                <a:gd name="T30" fmla="*/ 76 w 113"/>
                <a:gd name="T31" fmla="*/ 81 h 109"/>
                <a:gd name="T32" fmla="*/ 78 w 113"/>
                <a:gd name="T33" fmla="*/ 83 h 109"/>
                <a:gd name="T34" fmla="*/ 103 w 113"/>
                <a:gd name="T35" fmla="*/ 108 h 109"/>
                <a:gd name="T36" fmla="*/ 107 w 113"/>
                <a:gd name="T37" fmla="*/ 109 h 109"/>
                <a:gd name="T38" fmla="*/ 111 w 113"/>
                <a:gd name="T39" fmla="*/ 108 h 109"/>
                <a:gd name="T40" fmla="*/ 111 w 113"/>
                <a:gd name="T41" fmla="*/ 99 h 109"/>
                <a:gd name="T42" fmla="*/ 111 w 113"/>
                <a:gd name="T43" fmla="*/ 99 h 109"/>
                <a:gd name="T44" fmla="*/ 71 w 113"/>
                <a:gd name="T45" fmla="*/ 67 h 109"/>
                <a:gd name="T46" fmla="*/ 46 w 113"/>
                <a:gd name="T47" fmla="*/ 78 h 109"/>
                <a:gd name="T48" fmla="*/ 21 w 113"/>
                <a:gd name="T49" fmla="*/ 67 h 109"/>
                <a:gd name="T50" fmla="*/ 21 w 113"/>
                <a:gd name="T51" fmla="*/ 18 h 109"/>
                <a:gd name="T52" fmla="*/ 46 w 113"/>
                <a:gd name="T53" fmla="*/ 8 h 109"/>
                <a:gd name="T54" fmla="*/ 71 w 113"/>
                <a:gd name="T55" fmla="*/ 18 h 109"/>
                <a:gd name="T56" fmla="*/ 71 w 113"/>
                <a:gd name="T57" fmla="*/ 67 h 109"/>
                <a:gd name="T58" fmla="*/ 71 w 113"/>
                <a:gd name="T59" fmla="*/ 67 h 109"/>
                <a:gd name="T60" fmla="*/ 71 w 113"/>
                <a:gd name="T61" fmla="*/ 6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13" h="109">
                  <a:moveTo>
                    <a:pt x="111" y="99"/>
                  </a:moveTo>
                  <a:cubicBezTo>
                    <a:pt x="87" y="75"/>
                    <a:pt x="87" y="75"/>
                    <a:pt x="87" y="75"/>
                  </a:cubicBezTo>
                  <a:cubicBezTo>
                    <a:pt x="84" y="73"/>
                    <a:pt x="84" y="73"/>
                    <a:pt x="84" y="73"/>
                  </a:cubicBezTo>
                  <a:cubicBezTo>
                    <a:pt x="84" y="72"/>
                    <a:pt x="84" y="72"/>
                    <a:pt x="84" y="72"/>
                  </a:cubicBezTo>
                  <a:cubicBezTo>
                    <a:pt x="83" y="72"/>
                    <a:pt x="83" y="72"/>
                    <a:pt x="83" y="72"/>
                  </a:cubicBezTo>
                  <a:cubicBezTo>
                    <a:pt x="82" y="73"/>
                    <a:pt x="82" y="73"/>
                    <a:pt x="82" y="73"/>
                  </a:cubicBezTo>
                  <a:cubicBezTo>
                    <a:pt x="78" y="70"/>
                    <a:pt x="78" y="70"/>
                    <a:pt x="78" y="70"/>
                  </a:cubicBezTo>
                  <a:cubicBezTo>
                    <a:pt x="92" y="53"/>
                    <a:pt x="91" y="28"/>
                    <a:pt x="76" y="13"/>
                  </a:cubicBezTo>
                  <a:cubicBezTo>
                    <a:pt x="67" y="5"/>
                    <a:pt x="57" y="0"/>
                    <a:pt x="46" y="0"/>
                  </a:cubicBezTo>
                  <a:cubicBezTo>
                    <a:pt x="35" y="0"/>
                    <a:pt x="24" y="5"/>
                    <a:pt x="16" y="13"/>
                  </a:cubicBezTo>
                  <a:cubicBezTo>
                    <a:pt x="0" y="29"/>
                    <a:pt x="0" y="56"/>
                    <a:pt x="16" y="72"/>
                  </a:cubicBezTo>
                  <a:cubicBezTo>
                    <a:pt x="24" y="80"/>
                    <a:pt x="35" y="85"/>
                    <a:pt x="46" y="85"/>
                  </a:cubicBezTo>
                  <a:cubicBezTo>
                    <a:pt x="56" y="85"/>
                    <a:pt x="65" y="81"/>
                    <a:pt x="73" y="75"/>
                  </a:cubicBezTo>
                  <a:cubicBezTo>
                    <a:pt x="77" y="78"/>
                    <a:pt x="77" y="78"/>
                    <a:pt x="77" y="78"/>
                  </a:cubicBezTo>
                  <a:cubicBezTo>
                    <a:pt x="75" y="80"/>
                    <a:pt x="75" y="80"/>
                    <a:pt x="75" y="80"/>
                  </a:cubicBezTo>
                  <a:cubicBezTo>
                    <a:pt x="76" y="81"/>
                    <a:pt x="76" y="81"/>
                    <a:pt x="76" y="81"/>
                  </a:cubicBezTo>
                  <a:cubicBezTo>
                    <a:pt x="78" y="83"/>
                    <a:pt x="78" y="83"/>
                    <a:pt x="78" y="83"/>
                  </a:cubicBezTo>
                  <a:cubicBezTo>
                    <a:pt x="103" y="108"/>
                    <a:pt x="103" y="108"/>
                    <a:pt x="103" y="108"/>
                  </a:cubicBezTo>
                  <a:cubicBezTo>
                    <a:pt x="104" y="109"/>
                    <a:pt x="105" y="109"/>
                    <a:pt x="107" y="109"/>
                  </a:cubicBezTo>
                  <a:cubicBezTo>
                    <a:pt x="108" y="109"/>
                    <a:pt x="110" y="109"/>
                    <a:pt x="111" y="108"/>
                  </a:cubicBezTo>
                  <a:cubicBezTo>
                    <a:pt x="113" y="105"/>
                    <a:pt x="113" y="102"/>
                    <a:pt x="111" y="99"/>
                  </a:cubicBezTo>
                  <a:cubicBezTo>
                    <a:pt x="111" y="99"/>
                    <a:pt x="111" y="99"/>
                    <a:pt x="111" y="99"/>
                  </a:cubicBezTo>
                  <a:close/>
                  <a:moveTo>
                    <a:pt x="71" y="67"/>
                  </a:moveTo>
                  <a:cubicBezTo>
                    <a:pt x="64" y="74"/>
                    <a:pt x="55" y="78"/>
                    <a:pt x="46" y="78"/>
                  </a:cubicBezTo>
                  <a:cubicBezTo>
                    <a:pt x="37" y="78"/>
                    <a:pt x="28" y="74"/>
                    <a:pt x="21" y="67"/>
                  </a:cubicBezTo>
                  <a:cubicBezTo>
                    <a:pt x="7" y="54"/>
                    <a:pt x="7" y="31"/>
                    <a:pt x="21" y="18"/>
                  </a:cubicBezTo>
                  <a:cubicBezTo>
                    <a:pt x="28" y="11"/>
                    <a:pt x="37" y="8"/>
                    <a:pt x="46" y="8"/>
                  </a:cubicBezTo>
                  <a:cubicBezTo>
                    <a:pt x="55" y="8"/>
                    <a:pt x="64" y="11"/>
                    <a:pt x="71" y="18"/>
                  </a:cubicBezTo>
                  <a:cubicBezTo>
                    <a:pt x="84" y="31"/>
                    <a:pt x="84" y="54"/>
                    <a:pt x="71" y="67"/>
                  </a:cubicBezTo>
                  <a:close/>
                  <a:moveTo>
                    <a:pt x="71" y="67"/>
                  </a:moveTo>
                  <a:cubicBezTo>
                    <a:pt x="71" y="67"/>
                    <a:pt x="71" y="67"/>
                    <a:pt x="71" y="6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59" name="Freeform 14">
              <a:extLst>
                <a:ext uri="{FF2B5EF4-FFF2-40B4-BE49-F238E27FC236}">
                  <a16:creationId xmlns:a16="http://schemas.microsoft.com/office/drawing/2014/main" id="{DBCB4204-C8B6-46FE-89D7-E0E0B6865C11}"/>
                </a:ext>
              </a:extLst>
            </p:cNvPr>
            <p:cNvSpPr>
              <a:spLocks noEditPoints="1"/>
            </p:cNvSpPr>
            <p:nvPr/>
          </p:nvSpPr>
          <p:spPr bwMode="auto">
            <a:xfrm>
              <a:off x="4414838" y="2095500"/>
              <a:ext cx="136525" cy="234950"/>
            </a:xfrm>
            <a:custGeom>
              <a:avLst/>
              <a:gdLst>
                <a:gd name="T0" fmla="*/ 35 w 42"/>
                <a:gd name="T1" fmla="*/ 0 h 72"/>
                <a:gd name="T2" fmla="*/ 32 w 42"/>
                <a:gd name="T3" fmla="*/ 0 h 72"/>
                <a:gd name="T4" fmla="*/ 20 w 42"/>
                <a:gd name="T5" fmla="*/ 13 h 72"/>
                <a:gd name="T6" fmla="*/ 20 w 42"/>
                <a:gd name="T7" fmla="*/ 26 h 72"/>
                <a:gd name="T8" fmla="*/ 23 w 42"/>
                <a:gd name="T9" fmla="*/ 31 h 72"/>
                <a:gd name="T10" fmla="*/ 23 w 42"/>
                <a:gd name="T11" fmla="*/ 45 h 72"/>
                <a:gd name="T12" fmla="*/ 22 w 42"/>
                <a:gd name="T13" fmla="*/ 45 h 72"/>
                <a:gd name="T14" fmla="*/ 3 w 42"/>
                <a:gd name="T15" fmla="*/ 58 h 72"/>
                <a:gd name="T16" fmla="*/ 0 w 42"/>
                <a:gd name="T17" fmla="*/ 63 h 72"/>
                <a:gd name="T18" fmla="*/ 0 w 42"/>
                <a:gd name="T19" fmla="*/ 72 h 72"/>
                <a:gd name="T20" fmla="*/ 31 w 42"/>
                <a:gd name="T21" fmla="*/ 72 h 72"/>
                <a:gd name="T22" fmla="*/ 35 w 42"/>
                <a:gd name="T23" fmla="*/ 64 h 72"/>
                <a:gd name="T24" fmla="*/ 42 w 42"/>
                <a:gd name="T25" fmla="*/ 59 h 72"/>
                <a:gd name="T26" fmla="*/ 35 w 42"/>
                <a:gd name="T27" fmla="*/ 0 h 72"/>
                <a:gd name="T28" fmla="*/ 35 w 42"/>
                <a:gd name="T29" fmla="*/ 0 h 72"/>
                <a:gd name="T30" fmla="*/ 35 w 42"/>
                <a:gd name="T31" fmla="*/ 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2" h="72">
                  <a:moveTo>
                    <a:pt x="35" y="0"/>
                  </a:moveTo>
                  <a:cubicBezTo>
                    <a:pt x="32" y="0"/>
                    <a:pt x="32" y="0"/>
                    <a:pt x="32" y="0"/>
                  </a:cubicBezTo>
                  <a:cubicBezTo>
                    <a:pt x="25" y="0"/>
                    <a:pt x="20" y="6"/>
                    <a:pt x="20" y="13"/>
                  </a:cubicBezTo>
                  <a:cubicBezTo>
                    <a:pt x="20" y="26"/>
                    <a:pt x="20" y="26"/>
                    <a:pt x="20" y="26"/>
                  </a:cubicBezTo>
                  <a:cubicBezTo>
                    <a:pt x="20" y="28"/>
                    <a:pt x="21" y="30"/>
                    <a:pt x="23" y="31"/>
                  </a:cubicBezTo>
                  <a:cubicBezTo>
                    <a:pt x="23" y="45"/>
                    <a:pt x="23" y="45"/>
                    <a:pt x="23" y="45"/>
                  </a:cubicBezTo>
                  <a:cubicBezTo>
                    <a:pt x="23" y="45"/>
                    <a:pt x="23" y="45"/>
                    <a:pt x="22" y="45"/>
                  </a:cubicBezTo>
                  <a:cubicBezTo>
                    <a:pt x="21" y="46"/>
                    <a:pt x="11" y="51"/>
                    <a:pt x="3" y="58"/>
                  </a:cubicBezTo>
                  <a:cubicBezTo>
                    <a:pt x="1" y="59"/>
                    <a:pt x="0" y="61"/>
                    <a:pt x="0" y="63"/>
                  </a:cubicBezTo>
                  <a:cubicBezTo>
                    <a:pt x="0" y="72"/>
                    <a:pt x="0" y="72"/>
                    <a:pt x="0" y="72"/>
                  </a:cubicBezTo>
                  <a:cubicBezTo>
                    <a:pt x="31" y="72"/>
                    <a:pt x="31" y="72"/>
                    <a:pt x="31" y="72"/>
                  </a:cubicBezTo>
                  <a:cubicBezTo>
                    <a:pt x="31" y="69"/>
                    <a:pt x="33" y="66"/>
                    <a:pt x="35" y="64"/>
                  </a:cubicBezTo>
                  <a:cubicBezTo>
                    <a:pt x="37" y="62"/>
                    <a:pt x="40" y="61"/>
                    <a:pt x="42" y="59"/>
                  </a:cubicBezTo>
                  <a:cubicBezTo>
                    <a:pt x="26" y="43"/>
                    <a:pt x="24" y="19"/>
                    <a:pt x="35" y="0"/>
                  </a:cubicBezTo>
                  <a:close/>
                  <a:moveTo>
                    <a:pt x="35" y="0"/>
                  </a:moveTo>
                  <a:cubicBezTo>
                    <a:pt x="35" y="0"/>
                    <a:pt x="35" y="0"/>
                    <a:pt x="3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grpSp>
        <p:nvGrpSpPr>
          <p:cNvPr id="60" name="Group 82">
            <a:extLst>
              <a:ext uri="{FF2B5EF4-FFF2-40B4-BE49-F238E27FC236}">
                <a16:creationId xmlns:a16="http://schemas.microsoft.com/office/drawing/2014/main" id="{DBE553BB-6D73-4D21-B449-5B444D2EC77F}"/>
              </a:ext>
            </a:extLst>
          </p:cNvPr>
          <p:cNvGrpSpPr/>
          <p:nvPr/>
        </p:nvGrpSpPr>
        <p:grpSpPr>
          <a:xfrm>
            <a:off x="7755804" y="4184651"/>
            <a:ext cx="273051" cy="387351"/>
            <a:chOff x="7318375" y="100013"/>
            <a:chExt cx="273050" cy="387350"/>
          </a:xfrm>
          <a:solidFill>
            <a:schemeClr val="bg1"/>
          </a:solidFill>
        </p:grpSpPr>
        <p:sp>
          <p:nvSpPr>
            <p:cNvPr id="61" name="Freeform 382">
              <a:extLst>
                <a:ext uri="{FF2B5EF4-FFF2-40B4-BE49-F238E27FC236}">
                  <a16:creationId xmlns:a16="http://schemas.microsoft.com/office/drawing/2014/main" id="{5FD551B6-F4EC-4D19-8F0E-422CA563939F}"/>
                </a:ext>
              </a:extLst>
            </p:cNvPr>
            <p:cNvSpPr>
              <a:spLocks noEditPoints="1"/>
            </p:cNvSpPr>
            <p:nvPr/>
          </p:nvSpPr>
          <p:spPr bwMode="auto">
            <a:xfrm>
              <a:off x="7318375" y="100013"/>
              <a:ext cx="273050" cy="260350"/>
            </a:xfrm>
            <a:custGeom>
              <a:avLst/>
              <a:gdLst>
                <a:gd name="T0" fmla="*/ 22 w 84"/>
                <a:gd name="T1" fmla="*/ 79 h 80"/>
                <a:gd name="T2" fmla="*/ 20 w 84"/>
                <a:gd name="T3" fmla="*/ 72 h 80"/>
                <a:gd name="T4" fmla="*/ 20 w 84"/>
                <a:gd name="T5" fmla="*/ 68 h 80"/>
                <a:gd name="T6" fmla="*/ 13 w 84"/>
                <a:gd name="T7" fmla="*/ 59 h 80"/>
                <a:gd name="T8" fmla="*/ 20 w 84"/>
                <a:gd name="T9" fmla="*/ 59 h 80"/>
                <a:gd name="T10" fmla="*/ 20 w 84"/>
                <a:gd name="T11" fmla="*/ 57 h 80"/>
                <a:gd name="T12" fmla="*/ 21 w 84"/>
                <a:gd name="T13" fmla="*/ 51 h 80"/>
                <a:gd name="T14" fmla="*/ 9 w 84"/>
                <a:gd name="T15" fmla="*/ 51 h 80"/>
                <a:gd name="T16" fmla="*/ 8 w 84"/>
                <a:gd name="T17" fmla="*/ 42 h 80"/>
                <a:gd name="T18" fmla="*/ 9 w 84"/>
                <a:gd name="T19" fmla="*/ 33 h 80"/>
                <a:gd name="T20" fmla="*/ 21 w 84"/>
                <a:gd name="T21" fmla="*/ 33 h 80"/>
                <a:gd name="T22" fmla="*/ 21 w 84"/>
                <a:gd name="T23" fmla="*/ 42 h 80"/>
                <a:gd name="T24" fmla="*/ 21 w 84"/>
                <a:gd name="T25" fmla="*/ 50 h 80"/>
                <a:gd name="T26" fmla="*/ 29 w 84"/>
                <a:gd name="T27" fmla="*/ 41 h 80"/>
                <a:gd name="T28" fmla="*/ 30 w 84"/>
                <a:gd name="T29" fmla="*/ 33 h 80"/>
                <a:gd name="T30" fmla="*/ 53 w 84"/>
                <a:gd name="T31" fmla="*/ 33 h 80"/>
                <a:gd name="T32" fmla="*/ 54 w 84"/>
                <a:gd name="T33" fmla="*/ 41 h 80"/>
                <a:gd name="T34" fmla="*/ 62 w 84"/>
                <a:gd name="T35" fmla="*/ 50 h 80"/>
                <a:gd name="T36" fmla="*/ 62 w 84"/>
                <a:gd name="T37" fmla="*/ 42 h 80"/>
                <a:gd name="T38" fmla="*/ 62 w 84"/>
                <a:gd name="T39" fmla="*/ 33 h 80"/>
                <a:gd name="T40" fmla="*/ 74 w 84"/>
                <a:gd name="T41" fmla="*/ 33 h 80"/>
                <a:gd name="T42" fmla="*/ 75 w 84"/>
                <a:gd name="T43" fmla="*/ 42 h 80"/>
                <a:gd name="T44" fmla="*/ 74 w 84"/>
                <a:gd name="T45" fmla="*/ 51 h 80"/>
                <a:gd name="T46" fmla="*/ 62 w 84"/>
                <a:gd name="T47" fmla="*/ 51 h 80"/>
                <a:gd name="T48" fmla="*/ 63 w 84"/>
                <a:gd name="T49" fmla="*/ 57 h 80"/>
                <a:gd name="T50" fmla="*/ 63 w 84"/>
                <a:gd name="T51" fmla="*/ 59 h 80"/>
                <a:gd name="T52" fmla="*/ 71 w 84"/>
                <a:gd name="T53" fmla="*/ 59 h 80"/>
                <a:gd name="T54" fmla="*/ 63 w 84"/>
                <a:gd name="T55" fmla="*/ 68 h 80"/>
                <a:gd name="T56" fmla="*/ 63 w 84"/>
                <a:gd name="T57" fmla="*/ 72 h 80"/>
                <a:gd name="T58" fmla="*/ 60 w 84"/>
                <a:gd name="T59" fmla="*/ 80 h 80"/>
                <a:gd name="T60" fmla="*/ 71 w 84"/>
                <a:gd name="T61" fmla="*/ 72 h 80"/>
                <a:gd name="T62" fmla="*/ 84 w 84"/>
                <a:gd name="T63" fmla="*/ 42 h 80"/>
                <a:gd name="T64" fmla="*/ 71 w 84"/>
                <a:gd name="T65" fmla="*/ 12 h 80"/>
                <a:gd name="T66" fmla="*/ 42 w 84"/>
                <a:gd name="T67" fmla="*/ 0 h 80"/>
                <a:gd name="T68" fmla="*/ 12 w 84"/>
                <a:gd name="T69" fmla="*/ 12 h 80"/>
                <a:gd name="T70" fmla="*/ 0 w 84"/>
                <a:gd name="T71" fmla="*/ 42 h 80"/>
                <a:gd name="T72" fmla="*/ 12 w 84"/>
                <a:gd name="T73" fmla="*/ 72 h 80"/>
                <a:gd name="T74" fmla="*/ 22 w 84"/>
                <a:gd name="T75" fmla="*/ 79 h 80"/>
                <a:gd name="T76" fmla="*/ 71 w 84"/>
                <a:gd name="T77" fmla="*/ 25 h 80"/>
                <a:gd name="T78" fmla="*/ 60 w 84"/>
                <a:gd name="T79" fmla="*/ 25 h 80"/>
                <a:gd name="T80" fmla="*/ 55 w 84"/>
                <a:gd name="T81" fmla="*/ 11 h 80"/>
                <a:gd name="T82" fmla="*/ 71 w 84"/>
                <a:gd name="T83" fmla="*/ 25 h 80"/>
                <a:gd name="T84" fmla="*/ 39 w 84"/>
                <a:gd name="T85" fmla="*/ 8 h 80"/>
                <a:gd name="T86" fmla="*/ 44 w 84"/>
                <a:gd name="T87" fmla="*/ 8 h 80"/>
                <a:gd name="T88" fmla="*/ 52 w 84"/>
                <a:gd name="T89" fmla="*/ 25 h 80"/>
                <a:gd name="T90" fmla="*/ 32 w 84"/>
                <a:gd name="T91" fmla="*/ 25 h 80"/>
                <a:gd name="T92" fmla="*/ 39 w 84"/>
                <a:gd name="T93" fmla="*/ 8 h 80"/>
                <a:gd name="T94" fmla="*/ 28 w 84"/>
                <a:gd name="T95" fmla="*/ 11 h 80"/>
                <a:gd name="T96" fmla="*/ 23 w 84"/>
                <a:gd name="T97" fmla="*/ 25 h 80"/>
                <a:gd name="T98" fmla="*/ 13 w 84"/>
                <a:gd name="T99" fmla="*/ 25 h 80"/>
                <a:gd name="T100" fmla="*/ 28 w 84"/>
                <a:gd name="T101" fmla="*/ 11 h 80"/>
                <a:gd name="T102" fmla="*/ 28 w 84"/>
                <a:gd name="T103" fmla="*/ 11 h 80"/>
                <a:gd name="T104" fmla="*/ 28 w 84"/>
                <a:gd name="T105" fmla="*/ 11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4" h="80">
                  <a:moveTo>
                    <a:pt x="22" y="79"/>
                  </a:moveTo>
                  <a:cubicBezTo>
                    <a:pt x="21" y="77"/>
                    <a:pt x="20" y="74"/>
                    <a:pt x="20" y="72"/>
                  </a:cubicBezTo>
                  <a:cubicBezTo>
                    <a:pt x="20" y="68"/>
                    <a:pt x="20" y="68"/>
                    <a:pt x="20" y="68"/>
                  </a:cubicBezTo>
                  <a:cubicBezTo>
                    <a:pt x="17" y="65"/>
                    <a:pt x="15" y="62"/>
                    <a:pt x="13" y="59"/>
                  </a:cubicBezTo>
                  <a:cubicBezTo>
                    <a:pt x="20" y="59"/>
                    <a:pt x="20" y="59"/>
                    <a:pt x="20" y="59"/>
                  </a:cubicBezTo>
                  <a:cubicBezTo>
                    <a:pt x="20" y="57"/>
                    <a:pt x="20" y="57"/>
                    <a:pt x="20" y="57"/>
                  </a:cubicBezTo>
                  <a:cubicBezTo>
                    <a:pt x="20" y="55"/>
                    <a:pt x="20" y="53"/>
                    <a:pt x="21" y="51"/>
                  </a:cubicBezTo>
                  <a:cubicBezTo>
                    <a:pt x="9" y="51"/>
                    <a:pt x="9" y="51"/>
                    <a:pt x="9" y="51"/>
                  </a:cubicBezTo>
                  <a:cubicBezTo>
                    <a:pt x="8" y="48"/>
                    <a:pt x="8" y="45"/>
                    <a:pt x="8" y="42"/>
                  </a:cubicBezTo>
                  <a:cubicBezTo>
                    <a:pt x="8" y="39"/>
                    <a:pt x="8" y="36"/>
                    <a:pt x="9" y="33"/>
                  </a:cubicBezTo>
                  <a:cubicBezTo>
                    <a:pt x="21" y="33"/>
                    <a:pt x="21" y="33"/>
                    <a:pt x="21" y="33"/>
                  </a:cubicBezTo>
                  <a:cubicBezTo>
                    <a:pt x="21" y="36"/>
                    <a:pt x="21" y="39"/>
                    <a:pt x="21" y="42"/>
                  </a:cubicBezTo>
                  <a:cubicBezTo>
                    <a:pt x="21" y="45"/>
                    <a:pt x="21" y="48"/>
                    <a:pt x="21" y="50"/>
                  </a:cubicBezTo>
                  <a:cubicBezTo>
                    <a:pt x="23" y="46"/>
                    <a:pt x="26" y="43"/>
                    <a:pt x="29" y="41"/>
                  </a:cubicBezTo>
                  <a:cubicBezTo>
                    <a:pt x="29" y="38"/>
                    <a:pt x="30" y="36"/>
                    <a:pt x="30" y="33"/>
                  </a:cubicBezTo>
                  <a:cubicBezTo>
                    <a:pt x="53" y="33"/>
                    <a:pt x="53" y="33"/>
                    <a:pt x="53" y="33"/>
                  </a:cubicBezTo>
                  <a:cubicBezTo>
                    <a:pt x="54" y="36"/>
                    <a:pt x="54" y="38"/>
                    <a:pt x="54" y="41"/>
                  </a:cubicBezTo>
                  <a:cubicBezTo>
                    <a:pt x="57" y="43"/>
                    <a:pt x="60" y="46"/>
                    <a:pt x="62" y="50"/>
                  </a:cubicBezTo>
                  <a:cubicBezTo>
                    <a:pt x="62" y="47"/>
                    <a:pt x="62" y="44"/>
                    <a:pt x="62" y="42"/>
                  </a:cubicBezTo>
                  <a:cubicBezTo>
                    <a:pt x="62" y="39"/>
                    <a:pt x="62" y="36"/>
                    <a:pt x="62" y="33"/>
                  </a:cubicBezTo>
                  <a:cubicBezTo>
                    <a:pt x="74" y="33"/>
                    <a:pt x="74" y="33"/>
                    <a:pt x="74" y="33"/>
                  </a:cubicBezTo>
                  <a:cubicBezTo>
                    <a:pt x="75" y="36"/>
                    <a:pt x="75" y="39"/>
                    <a:pt x="75" y="42"/>
                  </a:cubicBezTo>
                  <a:cubicBezTo>
                    <a:pt x="75" y="45"/>
                    <a:pt x="75" y="48"/>
                    <a:pt x="74" y="51"/>
                  </a:cubicBezTo>
                  <a:cubicBezTo>
                    <a:pt x="62" y="51"/>
                    <a:pt x="62" y="51"/>
                    <a:pt x="62" y="51"/>
                  </a:cubicBezTo>
                  <a:cubicBezTo>
                    <a:pt x="63" y="53"/>
                    <a:pt x="63" y="55"/>
                    <a:pt x="63" y="57"/>
                  </a:cubicBezTo>
                  <a:cubicBezTo>
                    <a:pt x="63" y="59"/>
                    <a:pt x="63" y="59"/>
                    <a:pt x="63" y="59"/>
                  </a:cubicBezTo>
                  <a:cubicBezTo>
                    <a:pt x="71" y="59"/>
                    <a:pt x="71" y="59"/>
                    <a:pt x="71" y="59"/>
                  </a:cubicBezTo>
                  <a:cubicBezTo>
                    <a:pt x="69" y="63"/>
                    <a:pt x="66" y="66"/>
                    <a:pt x="63" y="68"/>
                  </a:cubicBezTo>
                  <a:cubicBezTo>
                    <a:pt x="63" y="72"/>
                    <a:pt x="63" y="72"/>
                    <a:pt x="63" y="72"/>
                  </a:cubicBezTo>
                  <a:cubicBezTo>
                    <a:pt x="63" y="75"/>
                    <a:pt x="62" y="77"/>
                    <a:pt x="60" y="80"/>
                  </a:cubicBezTo>
                  <a:cubicBezTo>
                    <a:pt x="64" y="78"/>
                    <a:pt x="68" y="75"/>
                    <a:pt x="71" y="72"/>
                  </a:cubicBezTo>
                  <a:cubicBezTo>
                    <a:pt x="79" y="64"/>
                    <a:pt x="84" y="53"/>
                    <a:pt x="84" y="42"/>
                  </a:cubicBezTo>
                  <a:cubicBezTo>
                    <a:pt x="84" y="31"/>
                    <a:pt x="79" y="20"/>
                    <a:pt x="71" y="12"/>
                  </a:cubicBezTo>
                  <a:cubicBezTo>
                    <a:pt x="64" y="4"/>
                    <a:pt x="53" y="0"/>
                    <a:pt x="42" y="0"/>
                  </a:cubicBezTo>
                  <a:cubicBezTo>
                    <a:pt x="30" y="0"/>
                    <a:pt x="20" y="4"/>
                    <a:pt x="12" y="12"/>
                  </a:cubicBezTo>
                  <a:cubicBezTo>
                    <a:pt x="4" y="20"/>
                    <a:pt x="0" y="31"/>
                    <a:pt x="0" y="42"/>
                  </a:cubicBezTo>
                  <a:cubicBezTo>
                    <a:pt x="0" y="53"/>
                    <a:pt x="4" y="64"/>
                    <a:pt x="12" y="72"/>
                  </a:cubicBezTo>
                  <a:cubicBezTo>
                    <a:pt x="15" y="75"/>
                    <a:pt x="19" y="77"/>
                    <a:pt x="22" y="79"/>
                  </a:cubicBezTo>
                  <a:close/>
                  <a:moveTo>
                    <a:pt x="71" y="25"/>
                  </a:moveTo>
                  <a:cubicBezTo>
                    <a:pt x="60" y="25"/>
                    <a:pt x="60" y="25"/>
                    <a:pt x="60" y="25"/>
                  </a:cubicBezTo>
                  <a:cubicBezTo>
                    <a:pt x="59" y="20"/>
                    <a:pt x="58" y="16"/>
                    <a:pt x="55" y="11"/>
                  </a:cubicBezTo>
                  <a:cubicBezTo>
                    <a:pt x="62" y="14"/>
                    <a:pt x="67" y="19"/>
                    <a:pt x="71" y="25"/>
                  </a:cubicBezTo>
                  <a:close/>
                  <a:moveTo>
                    <a:pt x="39" y="8"/>
                  </a:moveTo>
                  <a:cubicBezTo>
                    <a:pt x="41" y="8"/>
                    <a:pt x="43" y="8"/>
                    <a:pt x="44" y="8"/>
                  </a:cubicBezTo>
                  <a:cubicBezTo>
                    <a:pt x="48" y="13"/>
                    <a:pt x="50" y="19"/>
                    <a:pt x="52" y="25"/>
                  </a:cubicBezTo>
                  <a:cubicBezTo>
                    <a:pt x="32" y="25"/>
                    <a:pt x="32" y="25"/>
                    <a:pt x="32" y="25"/>
                  </a:cubicBezTo>
                  <a:cubicBezTo>
                    <a:pt x="34" y="19"/>
                    <a:pt x="36" y="13"/>
                    <a:pt x="39" y="8"/>
                  </a:cubicBezTo>
                  <a:close/>
                  <a:moveTo>
                    <a:pt x="28" y="11"/>
                  </a:moveTo>
                  <a:cubicBezTo>
                    <a:pt x="26" y="15"/>
                    <a:pt x="24" y="20"/>
                    <a:pt x="23" y="25"/>
                  </a:cubicBezTo>
                  <a:cubicBezTo>
                    <a:pt x="13" y="25"/>
                    <a:pt x="13" y="25"/>
                    <a:pt x="13" y="25"/>
                  </a:cubicBezTo>
                  <a:cubicBezTo>
                    <a:pt x="16" y="19"/>
                    <a:pt x="22" y="14"/>
                    <a:pt x="28" y="11"/>
                  </a:cubicBezTo>
                  <a:close/>
                  <a:moveTo>
                    <a:pt x="28" y="11"/>
                  </a:moveTo>
                  <a:cubicBezTo>
                    <a:pt x="28" y="11"/>
                    <a:pt x="28" y="11"/>
                    <a:pt x="28" y="1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62" name="Freeform 383">
              <a:extLst>
                <a:ext uri="{FF2B5EF4-FFF2-40B4-BE49-F238E27FC236}">
                  <a16:creationId xmlns:a16="http://schemas.microsoft.com/office/drawing/2014/main" id="{6809BD6A-96A8-4353-B933-90CA96C2A6D4}"/>
                </a:ext>
              </a:extLst>
            </p:cNvPr>
            <p:cNvSpPr>
              <a:spLocks noEditPoints="1"/>
            </p:cNvSpPr>
            <p:nvPr/>
          </p:nvSpPr>
          <p:spPr bwMode="auto">
            <a:xfrm>
              <a:off x="7340600" y="247650"/>
              <a:ext cx="223837" cy="239713"/>
            </a:xfrm>
            <a:custGeom>
              <a:avLst/>
              <a:gdLst>
                <a:gd name="T0" fmla="*/ 67 w 69"/>
                <a:gd name="T1" fmla="*/ 59 h 74"/>
                <a:gd name="T2" fmla="*/ 46 w 69"/>
                <a:gd name="T3" fmla="*/ 46 h 74"/>
                <a:gd name="T4" fmla="*/ 46 w 69"/>
                <a:gd name="T5" fmla="*/ 46 h 74"/>
                <a:gd name="T6" fmla="*/ 46 w 69"/>
                <a:gd name="T7" fmla="*/ 32 h 74"/>
                <a:gd name="T8" fmla="*/ 49 w 69"/>
                <a:gd name="T9" fmla="*/ 27 h 74"/>
                <a:gd name="T10" fmla="*/ 49 w 69"/>
                <a:gd name="T11" fmla="*/ 12 h 74"/>
                <a:gd name="T12" fmla="*/ 36 w 69"/>
                <a:gd name="T13" fmla="*/ 0 h 74"/>
                <a:gd name="T14" fmla="*/ 33 w 69"/>
                <a:gd name="T15" fmla="*/ 0 h 74"/>
                <a:gd name="T16" fmla="*/ 20 w 69"/>
                <a:gd name="T17" fmla="*/ 12 h 74"/>
                <a:gd name="T18" fmla="*/ 20 w 69"/>
                <a:gd name="T19" fmla="*/ 27 h 74"/>
                <a:gd name="T20" fmla="*/ 23 w 69"/>
                <a:gd name="T21" fmla="*/ 32 h 74"/>
                <a:gd name="T22" fmla="*/ 23 w 69"/>
                <a:gd name="T23" fmla="*/ 46 h 74"/>
                <a:gd name="T24" fmla="*/ 23 w 69"/>
                <a:gd name="T25" fmla="*/ 46 h 74"/>
                <a:gd name="T26" fmla="*/ 2 w 69"/>
                <a:gd name="T27" fmla="*/ 59 h 74"/>
                <a:gd name="T28" fmla="*/ 0 w 69"/>
                <a:gd name="T29" fmla="*/ 65 h 74"/>
                <a:gd name="T30" fmla="*/ 0 w 69"/>
                <a:gd name="T31" fmla="*/ 74 h 74"/>
                <a:gd name="T32" fmla="*/ 69 w 69"/>
                <a:gd name="T33" fmla="*/ 74 h 74"/>
                <a:gd name="T34" fmla="*/ 69 w 69"/>
                <a:gd name="T35" fmla="*/ 65 h 74"/>
                <a:gd name="T36" fmla="*/ 67 w 69"/>
                <a:gd name="T37" fmla="*/ 59 h 74"/>
                <a:gd name="T38" fmla="*/ 67 w 69"/>
                <a:gd name="T39" fmla="*/ 59 h 74"/>
                <a:gd name="T40" fmla="*/ 67 w 69"/>
                <a:gd name="T41" fmla="*/ 59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9" h="74">
                  <a:moveTo>
                    <a:pt x="67" y="59"/>
                  </a:moveTo>
                  <a:cubicBezTo>
                    <a:pt x="58" y="52"/>
                    <a:pt x="48" y="47"/>
                    <a:pt x="46" y="46"/>
                  </a:cubicBezTo>
                  <a:cubicBezTo>
                    <a:pt x="46" y="46"/>
                    <a:pt x="46" y="46"/>
                    <a:pt x="46" y="46"/>
                  </a:cubicBezTo>
                  <a:cubicBezTo>
                    <a:pt x="46" y="32"/>
                    <a:pt x="46" y="32"/>
                    <a:pt x="46" y="32"/>
                  </a:cubicBezTo>
                  <a:cubicBezTo>
                    <a:pt x="48" y="31"/>
                    <a:pt x="49" y="29"/>
                    <a:pt x="49" y="27"/>
                  </a:cubicBezTo>
                  <a:cubicBezTo>
                    <a:pt x="49" y="12"/>
                    <a:pt x="49" y="12"/>
                    <a:pt x="49" y="12"/>
                  </a:cubicBezTo>
                  <a:cubicBezTo>
                    <a:pt x="49" y="5"/>
                    <a:pt x="43" y="0"/>
                    <a:pt x="36" y="0"/>
                  </a:cubicBezTo>
                  <a:cubicBezTo>
                    <a:pt x="33" y="0"/>
                    <a:pt x="33" y="0"/>
                    <a:pt x="33" y="0"/>
                  </a:cubicBezTo>
                  <a:cubicBezTo>
                    <a:pt x="26" y="0"/>
                    <a:pt x="20" y="5"/>
                    <a:pt x="20" y="12"/>
                  </a:cubicBezTo>
                  <a:cubicBezTo>
                    <a:pt x="20" y="27"/>
                    <a:pt x="20" y="27"/>
                    <a:pt x="20" y="27"/>
                  </a:cubicBezTo>
                  <a:cubicBezTo>
                    <a:pt x="20" y="29"/>
                    <a:pt x="21" y="31"/>
                    <a:pt x="23" y="32"/>
                  </a:cubicBezTo>
                  <a:cubicBezTo>
                    <a:pt x="23" y="46"/>
                    <a:pt x="23" y="46"/>
                    <a:pt x="23" y="46"/>
                  </a:cubicBezTo>
                  <a:cubicBezTo>
                    <a:pt x="23" y="46"/>
                    <a:pt x="23" y="46"/>
                    <a:pt x="23" y="46"/>
                  </a:cubicBezTo>
                  <a:cubicBezTo>
                    <a:pt x="21" y="47"/>
                    <a:pt x="11" y="52"/>
                    <a:pt x="2" y="59"/>
                  </a:cubicBezTo>
                  <a:cubicBezTo>
                    <a:pt x="1" y="61"/>
                    <a:pt x="0" y="63"/>
                    <a:pt x="0" y="65"/>
                  </a:cubicBezTo>
                  <a:cubicBezTo>
                    <a:pt x="0" y="74"/>
                    <a:pt x="0" y="74"/>
                    <a:pt x="0" y="74"/>
                  </a:cubicBezTo>
                  <a:cubicBezTo>
                    <a:pt x="69" y="74"/>
                    <a:pt x="69" y="74"/>
                    <a:pt x="69" y="74"/>
                  </a:cubicBezTo>
                  <a:cubicBezTo>
                    <a:pt x="69" y="65"/>
                    <a:pt x="69" y="65"/>
                    <a:pt x="69" y="65"/>
                  </a:cubicBezTo>
                  <a:cubicBezTo>
                    <a:pt x="69" y="63"/>
                    <a:pt x="68" y="61"/>
                    <a:pt x="67" y="59"/>
                  </a:cubicBezTo>
                  <a:close/>
                  <a:moveTo>
                    <a:pt x="67" y="59"/>
                  </a:moveTo>
                  <a:cubicBezTo>
                    <a:pt x="67" y="59"/>
                    <a:pt x="67" y="59"/>
                    <a:pt x="67" y="5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grpSp>
        <p:nvGrpSpPr>
          <p:cNvPr id="63" name="Group 85">
            <a:extLst>
              <a:ext uri="{FF2B5EF4-FFF2-40B4-BE49-F238E27FC236}">
                <a16:creationId xmlns:a16="http://schemas.microsoft.com/office/drawing/2014/main" id="{EB37C087-AA10-49EF-9ADE-6F36D407E4D9}"/>
              </a:ext>
            </a:extLst>
          </p:cNvPr>
          <p:cNvGrpSpPr/>
          <p:nvPr/>
        </p:nvGrpSpPr>
        <p:grpSpPr>
          <a:xfrm>
            <a:off x="6819762" y="5164521"/>
            <a:ext cx="341313" cy="360363"/>
            <a:chOff x="88900" y="744538"/>
            <a:chExt cx="341313" cy="360362"/>
          </a:xfrm>
          <a:solidFill>
            <a:schemeClr val="bg1"/>
          </a:solidFill>
        </p:grpSpPr>
        <p:sp>
          <p:nvSpPr>
            <p:cNvPr id="64" name="Freeform 158">
              <a:extLst>
                <a:ext uri="{FF2B5EF4-FFF2-40B4-BE49-F238E27FC236}">
                  <a16:creationId xmlns:a16="http://schemas.microsoft.com/office/drawing/2014/main" id="{CE2AA0EB-8784-46FD-8A5E-BBF8FDBB8E16}"/>
                </a:ext>
              </a:extLst>
            </p:cNvPr>
            <p:cNvSpPr>
              <a:spLocks noEditPoints="1"/>
            </p:cNvSpPr>
            <p:nvPr/>
          </p:nvSpPr>
          <p:spPr bwMode="auto">
            <a:xfrm>
              <a:off x="88900" y="906463"/>
              <a:ext cx="139700" cy="139700"/>
            </a:xfrm>
            <a:custGeom>
              <a:avLst/>
              <a:gdLst>
                <a:gd name="T0" fmla="*/ 39 w 43"/>
                <a:gd name="T1" fmla="*/ 19 h 43"/>
                <a:gd name="T2" fmla="*/ 42 w 43"/>
                <a:gd name="T3" fmla="*/ 18 h 43"/>
                <a:gd name="T4" fmla="*/ 43 w 43"/>
                <a:gd name="T5" fmla="*/ 15 h 43"/>
                <a:gd name="T6" fmla="*/ 38 w 43"/>
                <a:gd name="T7" fmla="*/ 6 h 43"/>
                <a:gd name="T8" fmla="*/ 36 w 43"/>
                <a:gd name="T9" fmla="*/ 5 h 43"/>
                <a:gd name="T10" fmla="*/ 35 w 43"/>
                <a:gd name="T11" fmla="*/ 6 h 43"/>
                <a:gd name="T12" fmla="*/ 32 w 43"/>
                <a:gd name="T13" fmla="*/ 7 h 43"/>
                <a:gd name="T14" fmla="*/ 31 w 43"/>
                <a:gd name="T15" fmla="*/ 7 h 43"/>
                <a:gd name="T16" fmla="*/ 29 w 43"/>
                <a:gd name="T17" fmla="*/ 5 h 43"/>
                <a:gd name="T18" fmla="*/ 29 w 43"/>
                <a:gd name="T19" fmla="*/ 2 h 43"/>
                <a:gd name="T20" fmla="*/ 27 w 43"/>
                <a:gd name="T21" fmla="*/ 0 h 43"/>
                <a:gd name="T22" fmla="*/ 17 w 43"/>
                <a:gd name="T23" fmla="*/ 0 h 43"/>
                <a:gd name="T24" fmla="*/ 15 w 43"/>
                <a:gd name="T25" fmla="*/ 2 h 43"/>
                <a:gd name="T26" fmla="*/ 15 w 43"/>
                <a:gd name="T27" fmla="*/ 5 h 43"/>
                <a:gd name="T28" fmla="*/ 13 w 43"/>
                <a:gd name="T29" fmla="*/ 7 h 43"/>
                <a:gd name="T30" fmla="*/ 11 w 43"/>
                <a:gd name="T31" fmla="*/ 7 h 43"/>
                <a:gd name="T32" fmla="*/ 9 w 43"/>
                <a:gd name="T33" fmla="*/ 6 h 43"/>
                <a:gd name="T34" fmla="*/ 8 w 43"/>
                <a:gd name="T35" fmla="*/ 5 h 43"/>
                <a:gd name="T36" fmla="*/ 6 w 43"/>
                <a:gd name="T37" fmla="*/ 6 h 43"/>
                <a:gd name="T38" fmla="*/ 1 w 43"/>
                <a:gd name="T39" fmla="*/ 15 h 43"/>
                <a:gd name="T40" fmla="*/ 2 w 43"/>
                <a:gd name="T41" fmla="*/ 18 h 43"/>
                <a:gd name="T42" fmla="*/ 4 w 43"/>
                <a:gd name="T43" fmla="*/ 19 h 43"/>
                <a:gd name="T44" fmla="*/ 4 w 43"/>
                <a:gd name="T45" fmla="*/ 23 h 43"/>
                <a:gd name="T46" fmla="*/ 2 w 43"/>
                <a:gd name="T47" fmla="*/ 25 h 43"/>
                <a:gd name="T48" fmla="*/ 1 w 43"/>
                <a:gd name="T49" fmla="*/ 28 h 43"/>
                <a:gd name="T50" fmla="*/ 6 w 43"/>
                <a:gd name="T51" fmla="*/ 36 h 43"/>
                <a:gd name="T52" fmla="*/ 8 w 43"/>
                <a:gd name="T53" fmla="*/ 37 h 43"/>
                <a:gd name="T54" fmla="*/ 9 w 43"/>
                <a:gd name="T55" fmla="*/ 37 h 43"/>
                <a:gd name="T56" fmla="*/ 11 w 43"/>
                <a:gd name="T57" fmla="*/ 35 h 43"/>
                <a:gd name="T58" fmla="*/ 13 w 43"/>
                <a:gd name="T59" fmla="*/ 35 h 43"/>
                <a:gd name="T60" fmla="*/ 15 w 43"/>
                <a:gd name="T61" fmla="*/ 37 h 43"/>
                <a:gd name="T62" fmla="*/ 15 w 43"/>
                <a:gd name="T63" fmla="*/ 40 h 43"/>
                <a:gd name="T64" fmla="*/ 17 w 43"/>
                <a:gd name="T65" fmla="*/ 43 h 43"/>
                <a:gd name="T66" fmla="*/ 27 w 43"/>
                <a:gd name="T67" fmla="*/ 43 h 43"/>
                <a:gd name="T68" fmla="*/ 29 w 43"/>
                <a:gd name="T69" fmla="*/ 40 h 43"/>
                <a:gd name="T70" fmla="*/ 29 w 43"/>
                <a:gd name="T71" fmla="*/ 37 h 43"/>
                <a:gd name="T72" fmla="*/ 31 w 43"/>
                <a:gd name="T73" fmla="*/ 35 h 43"/>
                <a:gd name="T74" fmla="*/ 32 w 43"/>
                <a:gd name="T75" fmla="*/ 35 h 43"/>
                <a:gd name="T76" fmla="*/ 35 w 43"/>
                <a:gd name="T77" fmla="*/ 37 h 43"/>
                <a:gd name="T78" fmla="*/ 36 w 43"/>
                <a:gd name="T79" fmla="*/ 37 h 43"/>
                <a:gd name="T80" fmla="*/ 38 w 43"/>
                <a:gd name="T81" fmla="*/ 36 h 43"/>
                <a:gd name="T82" fmla="*/ 43 w 43"/>
                <a:gd name="T83" fmla="*/ 28 h 43"/>
                <a:gd name="T84" fmla="*/ 42 w 43"/>
                <a:gd name="T85" fmla="*/ 25 h 43"/>
                <a:gd name="T86" fmla="*/ 39 w 43"/>
                <a:gd name="T87" fmla="*/ 23 h 43"/>
                <a:gd name="T88" fmla="*/ 39 w 43"/>
                <a:gd name="T89" fmla="*/ 19 h 43"/>
                <a:gd name="T90" fmla="*/ 22 w 43"/>
                <a:gd name="T91" fmla="*/ 28 h 43"/>
                <a:gd name="T92" fmla="*/ 15 w 43"/>
                <a:gd name="T93" fmla="*/ 21 h 43"/>
                <a:gd name="T94" fmla="*/ 22 w 43"/>
                <a:gd name="T95" fmla="*/ 15 h 43"/>
                <a:gd name="T96" fmla="*/ 28 w 43"/>
                <a:gd name="T97" fmla="*/ 21 h 43"/>
                <a:gd name="T98" fmla="*/ 22 w 43"/>
                <a:gd name="T99" fmla="*/ 28 h 43"/>
                <a:gd name="T100" fmla="*/ 22 w 43"/>
                <a:gd name="T101" fmla="*/ 28 h 43"/>
                <a:gd name="T102" fmla="*/ 22 w 43"/>
                <a:gd name="T103" fmla="*/ 28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3" h="43">
                  <a:moveTo>
                    <a:pt x="39" y="19"/>
                  </a:moveTo>
                  <a:cubicBezTo>
                    <a:pt x="42" y="18"/>
                    <a:pt x="42" y="18"/>
                    <a:pt x="42" y="18"/>
                  </a:cubicBezTo>
                  <a:cubicBezTo>
                    <a:pt x="43" y="17"/>
                    <a:pt x="43" y="16"/>
                    <a:pt x="43" y="15"/>
                  </a:cubicBezTo>
                  <a:cubicBezTo>
                    <a:pt x="38" y="6"/>
                    <a:pt x="38" y="6"/>
                    <a:pt x="38" y="6"/>
                  </a:cubicBezTo>
                  <a:cubicBezTo>
                    <a:pt x="37" y="6"/>
                    <a:pt x="37" y="5"/>
                    <a:pt x="36" y="5"/>
                  </a:cubicBezTo>
                  <a:cubicBezTo>
                    <a:pt x="36" y="5"/>
                    <a:pt x="35" y="5"/>
                    <a:pt x="35" y="6"/>
                  </a:cubicBezTo>
                  <a:cubicBezTo>
                    <a:pt x="32" y="7"/>
                    <a:pt x="32" y="7"/>
                    <a:pt x="32" y="7"/>
                  </a:cubicBezTo>
                  <a:cubicBezTo>
                    <a:pt x="32" y="7"/>
                    <a:pt x="31" y="7"/>
                    <a:pt x="31" y="7"/>
                  </a:cubicBezTo>
                  <a:cubicBezTo>
                    <a:pt x="30" y="7"/>
                    <a:pt x="29" y="7"/>
                    <a:pt x="29" y="5"/>
                  </a:cubicBezTo>
                  <a:cubicBezTo>
                    <a:pt x="29" y="2"/>
                    <a:pt x="29" y="2"/>
                    <a:pt x="29" y="2"/>
                  </a:cubicBezTo>
                  <a:cubicBezTo>
                    <a:pt x="29" y="1"/>
                    <a:pt x="28" y="0"/>
                    <a:pt x="27" y="0"/>
                  </a:cubicBezTo>
                  <a:cubicBezTo>
                    <a:pt x="17" y="0"/>
                    <a:pt x="17" y="0"/>
                    <a:pt x="17" y="0"/>
                  </a:cubicBezTo>
                  <a:cubicBezTo>
                    <a:pt x="16" y="0"/>
                    <a:pt x="15" y="1"/>
                    <a:pt x="15" y="2"/>
                  </a:cubicBezTo>
                  <a:cubicBezTo>
                    <a:pt x="15" y="5"/>
                    <a:pt x="15" y="5"/>
                    <a:pt x="15" y="5"/>
                  </a:cubicBezTo>
                  <a:cubicBezTo>
                    <a:pt x="15" y="7"/>
                    <a:pt x="14" y="7"/>
                    <a:pt x="13" y="7"/>
                  </a:cubicBezTo>
                  <a:cubicBezTo>
                    <a:pt x="12" y="7"/>
                    <a:pt x="12" y="7"/>
                    <a:pt x="11" y="7"/>
                  </a:cubicBezTo>
                  <a:cubicBezTo>
                    <a:pt x="9" y="6"/>
                    <a:pt x="9" y="6"/>
                    <a:pt x="9" y="6"/>
                  </a:cubicBezTo>
                  <a:cubicBezTo>
                    <a:pt x="9" y="5"/>
                    <a:pt x="8" y="5"/>
                    <a:pt x="8" y="5"/>
                  </a:cubicBezTo>
                  <a:cubicBezTo>
                    <a:pt x="7" y="5"/>
                    <a:pt x="6" y="6"/>
                    <a:pt x="6" y="6"/>
                  </a:cubicBezTo>
                  <a:cubicBezTo>
                    <a:pt x="1" y="15"/>
                    <a:pt x="1" y="15"/>
                    <a:pt x="1" y="15"/>
                  </a:cubicBezTo>
                  <a:cubicBezTo>
                    <a:pt x="0" y="16"/>
                    <a:pt x="1" y="17"/>
                    <a:pt x="2" y="18"/>
                  </a:cubicBezTo>
                  <a:cubicBezTo>
                    <a:pt x="4" y="19"/>
                    <a:pt x="4" y="19"/>
                    <a:pt x="4" y="19"/>
                  </a:cubicBezTo>
                  <a:cubicBezTo>
                    <a:pt x="6" y="20"/>
                    <a:pt x="6" y="22"/>
                    <a:pt x="4" y="23"/>
                  </a:cubicBezTo>
                  <a:cubicBezTo>
                    <a:pt x="2" y="25"/>
                    <a:pt x="2" y="25"/>
                    <a:pt x="2" y="25"/>
                  </a:cubicBezTo>
                  <a:cubicBezTo>
                    <a:pt x="1" y="25"/>
                    <a:pt x="0" y="27"/>
                    <a:pt x="1" y="28"/>
                  </a:cubicBezTo>
                  <a:cubicBezTo>
                    <a:pt x="6" y="36"/>
                    <a:pt x="6" y="36"/>
                    <a:pt x="6" y="36"/>
                  </a:cubicBezTo>
                  <a:cubicBezTo>
                    <a:pt x="6" y="37"/>
                    <a:pt x="7" y="37"/>
                    <a:pt x="8" y="37"/>
                  </a:cubicBezTo>
                  <a:cubicBezTo>
                    <a:pt x="8" y="37"/>
                    <a:pt x="9" y="37"/>
                    <a:pt x="9" y="37"/>
                  </a:cubicBezTo>
                  <a:cubicBezTo>
                    <a:pt x="11" y="35"/>
                    <a:pt x="11" y="35"/>
                    <a:pt x="11" y="35"/>
                  </a:cubicBezTo>
                  <a:cubicBezTo>
                    <a:pt x="12" y="35"/>
                    <a:pt x="12" y="35"/>
                    <a:pt x="13" y="35"/>
                  </a:cubicBezTo>
                  <a:cubicBezTo>
                    <a:pt x="14" y="35"/>
                    <a:pt x="15" y="36"/>
                    <a:pt x="15" y="37"/>
                  </a:cubicBezTo>
                  <a:cubicBezTo>
                    <a:pt x="15" y="40"/>
                    <a:pt x="15" y="40"/>
                    <a:pt x="15" y="40"/>
                  </a:cubicBezTo>
                  <a:cubicBezTo>
                    <a:pt x="15" y="42"/>
                    <a:pt x="16" y="43"/>
                    <a:pt x="17" y="43"/>
                  </a:cubicBezTo>
                  <a:cubicBezTo>
                    <a:pt x="27" y="43"/>
                    <a:pt x="27" y="43"/>
                    <a:pt x="27" y="43"/>
                  </a:cubicBezTo>
                  <a:cubicBezTo>
                    <a:pt x="28" y="43"/>
                    <a:pt x="29" y="42"/>
                    <a:pt x="29" y="40"/>
                  </a:cubicBezTo>
                  <a:cubicBezTo>
                    <a:pt x="29" y="37"/>
                    <a:pt x="29" y="37"/>
                    <a:pt x="29" y="37"/>
                  </a:cubicBezTo>
                  <a:cubicBezTo>
                    <a:pt x="29" y="36"/>
                    <a:pt x="30" y="35"/>
                    <a:pt x="31" y="35"/>
                  </a:cubicBezTo>
                  <a:cubicBezTo>
                    <a:pt x="31" y="35"/>
                    <a:pt x="32" y="35"/>
                    <a:pt x="32" y="35"/>
                  </a:cubicBezTo>
                  <a:cubicBezTo>
                    <a:pt x="35" y="37"/>
                    <a:pt x="35" y="37"/>
                    <a:pt x="35" y="37"/>
                  </a:cubicBezTo>
                  <a:cubicBezTo>
                    <a:pt x="35" y="37"/>
                    <a:pt x="36" y="37"/>
                    <a:pt x="36" y="37"/>
                  </a:cubicBezTo>
                  <a:cubicBezTo>
                    <a:pt x="37" y="37"/>
                    <a:pt x="37" y="37"/>
                    <a:pt x="38" y="36"/>
                  </a:cubicBezTo>
                  <a:cubicBezTo>
                    <a:pt x="43" y="28"/>
                    <a:pt x="43" y="28"/>
                    <a:pt x="43" y="28"/>
                  </a:cubicBezTo>
                  <a:cubicBezTo>
                    <a:pt x="43" y="27"/>
                    <a:pt x="43" y="25"/>
                    <a:pt x="42" y="25"/>
                  </a:cubicBezTo>
                  <a:cubicBezTo>
                    <a:pt x="39" y="23"/>
                    <a:pt x="39" y="23"/>
                    <a:pt x="39" y="23"/>
                  </a:cubicBezTo>
                  <a:cubicBezTo>
                    <a:pt x="38" y="22"/>
                    <a:pt x="38" y="20"/>
                    <a:pt x="39" y="19"/>
                  </a:cubicBezTo>
                  <a:close/>
                  <a:moveTo>
                    <a:pt x="22" y="28"/>
                  </a:moveTo>
                  <a:cubicBezTo>
                    <a:pt x="18" y="28"/>
                    <a:pt x="15" y="25"/>
                    <a:pt x="15" y="21"/>
                  </a:cubicBezTo>
                  <a:cubicBezTo>
                    <a:pt x="15" y="18"/>
                    <a:pt x="18" y="15"/>
                    <a:pt x="22" y="15"/>
                  </a:cubicBezTo>
                  <a:cubicBezTo>
                    <a:pt x="25" y="15"/>
                    <a:pt x="28" y="18"/>
                    <a:pt x="28" y="21"/>
                  </a:cubicBezTo>
                  <a:cubicBezTo>
                    <a:pt x="28" y="25"/>
                    <a:pt x="25" y="28"/>
                    <a:pt x="22" y="28"/>
                  </a:cubicBezTo>
                  <a:close/>
                  <a:moveTo>
                    <a:pt x="22" y="28"/>
                  </a:moveTo>
                  <a:cubicBezTo>
                    <a:pt x="22" y="28"/>
                    <a:pt x="22" y="28"/>
                    <a:pt x="22" y="2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65" name="Freeform 159">
              <a:extLst>
                <a:ext uri="{FF2B5EF4-FFF2-40B4-BE49-F238E27FC236}">
                  <a16:creationId xmlns:a16="http://schemas.microsoft.com/office/drawing/2014/main" id="{6852D6F6-B6B6-40EB-B132-12D9C4EFD16C}"/>
                </a:ext>
              </a:extLst>
            </p:cNvPr>
            <p:cNvSpPr>
              <a:spLocks noEditPoints="1"/>
            </p:cNvSpPr>
            <p:nvPr/>
          </p:nvSpPr>
          <p:spPr bwMode="auto">
            <a:xfrm>
              <a:off x="92075" y="769938"/>
              <a:ext cx="155575" cy="152400"/>
            </a:xfrm>
            <a:custGeom>
              <a:avLst/>
              <a:gdLst>
                <a:gd name="T0" fmla="*/ 37 w 48"/>
                <a:gd name="T1" fmla="*/ 1 h 47"/>
                <a:gd name="T2" fmla="*/ 32 w 48"/>
                <a:gd name="T3" fmla="*/ 1 h 47"/>
                <a:gd name="T4" fmla="*/ 32 w 48"/>
                <a:gd name="T5" fmla="*/ 5 h 47"/>
                <a:gd name="T6" fmla="*/ 38 w 48"/>
                <a:gd name="T7" fmla="*/ 11 h 47"/>
                <a:gd name="T8" fmla="*/ 0 w 48"/>
                <a:gd name="T9" fmla="*/ 47 h 47"/>
                <a:gd name="T10" fmla="*/ 1 w 48"/>
                <a:gd name="T11" fmla="*/ 46 h 47"/>
                <a:gd name="T12" fmla="*/ 7 w 48"/>
                <a:gd name="T13" fmla="*/ 42 h 47"/>
                <a:gd name="T14" fmla="*/ 7 w 48"/>
                <a:gd name="T15" fmla="*/ 42 h 47"/>
                <a:gd name="T16" fmla="*/ 38 w 48"/>
                <a:gd name="T17" fmla="*/ 17 h 47"/>
                <a:gd name="T18" fmla="*/ 32 w 48"/>
                <a:gd name="T19" fmla="*/ 22 h 47"/>
                <a:gd name="T20" fmla="*/ 32 w 48"/>
                <a:gd name="T21" fmla="*/ 26 h 47"/>
                <a:gd name="T22" fmla="*/ 34 w 48"/>
                <a:gd name="T23" fmla="*/ 27 h 47"/>
                <a:gd name="T24" fmla="*/ 37 w 48"/>
                <a:gd name="T25" fmla="*/ 26 h 47"/>
                <a:gd name="T26" fmla="*/ 47 w 48"/>
                <a:gd name="T27" fmla="*/ 16 h 47"/>
                <a:gd name="T28" fmla="*/ 48 w 48"/>
                <a:gd name="T29" fmla="*/ 14 h 47"/>
                <a:gd name="T30" fmla="*/ 47 w 48"/>
                <a:gd name="T31" fmla="*/ 11 h 47"/>
                <a:gd name="T32" fmla="*/ 37 w 48"/>
                <a:gd name="T33" fmla="*/ 1 h 47"/>
                <a:gd name="T34" fmla="*/ 37 w 48"/>
                <a:gd name="T35" fmla="*/ 1 h 47"/>
                <a:gd name="T36" fmla="*/ 37 w 48"/>
                <a:gd name="T37" fmla="*/ 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47">
                  <a:moveTo>
                    <a:pt x="37" y="1"/>
                  </a:moveTo>
                  <a:cubicBezTo>
                    <a:pt x="35" y="0"/>
                    <a:pt x="34" y="0"/>
                    <a:pt x="32" y="1"/>
                  </a:cubicBezTo>
                  <a:cubicBezTo>
                    <a:pt x="31" y="2"/>
                    <a:pt x="31" y="4"/>
                    <a:pt x="32" y="5"/>
                  </a:cubicBezTo>
                  <a:cubicBezTo>
                    <a:pt x="38" y="11"/>
                    <a:pt x="38" y="11"/>
                    <a:pt x="38" y="11"/>
                  </a:cubicBezTo>
                  <a:cubicBezTo>
                    <a:pt x="18" y="12"/>
                    <a:pt x="2" y="27"/>
                    <a:pt x="0" y="47"/>
                  </a:cubicBezTo>
                  <a:cubicBezTo>
                    <a:pt x="1" y="46"/>
                    <a:pt x="1" y="46"/>
                    <a:pt x="1" y="46"/>
                  </a:cubicBezTo>
                  <a:cubicBezTo>
                    <a:pt x="2" y="44"/>
                    <a:pt x="4" y="42"/>
                    <a:pt x="7" y="42"/>
                  </a:cubicBezTo>
                  <a:cubicBezTo>
                    <a:pt x="7" y="42"/>
                    <a:pt x="7" y="42"/>
                    <a:pt x="7" y="42"/>
                  </a:cubicBezTo>
                  <a:cubicBezTo>
                    <a:pt x="10" y="28"/>
                    <a:pt x="23" y="18"/>
                    <a:pt x="38" y="17"/>
                  </a:cubicBezTo>
                  <a:cubicBezTo>
                    <a:pt x="32" y="22"/>
                    <a:pt x="32" y="22"/>
                    <a:pt x="32" y="22"/>
                  </a:cubicBezTo>
                  <a:cubicBezTo>
                    <a:pt x="31" y="23"/>
                    <a:pt x="31" y="25"/>
                    <a:pt x="32" y="26"/>
                  </a:cubicBezTo>
                  <a:cubicBezTo>
                    <a:pt x="33" y="27"/>
                    <a:pt x="34" y="27"/>
                    <a:pt x="34" y="27"/>
                  </a:cubicBezTo>
                  <a:cubicBezTo>
                    <a:pt x="35" y="27"/>
                    <a:pt x="36" y="27"/>
                    <a:pt x="37" y="26"/>
                  </a:cubicBezTo>
                  <a:cubicBezTo>
                    <a:pt x="47" y="16"/>
                    <a:pt x="47" y="16"/>
                    <a:pt x="47" y="16"/>
                  </a:cubicBezTo>
                  <a:cubicBezTo>
                    <a:pt x="48" y="15"/>
                    <a:pt x="48" y="14"/>
                    <a:pt x="48" y="14"/>
                  </a:cubicBezTo>
                  <a:cubicBezTo>
                    <a:pt x="48" y="13"/>
                    <a:pt x="48" y="12"/>
                    <a:pt x="47" y="11"/>
                  </a:cubicBezTo>
                  <a:lnTo>
                    <a:pt x="37" y="1"/>
                  </a:lnTo>
                  <a:close/>
                  <a:moveTo>
                    <a:pt x="37" y="1"/>
                  </a:moveTo>
                  <a:cubicBezTo>
                    <a:pt x="37" y="1"/>
                    <a:pt x="37" y="1"/>
                    <a:pt x="37"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66" name="Freeform 160">
              <a:extLst>
                <a:ext uri="{FF2B5EF4-FFF2-40B4-BE49-F238E27FC236}">
                  <a16:creationId xmlns:a16="http://schemas.microsoft.com/office/drawing/2014/main" id="{D2077BA3-153C-4D4C-A54D-51DB7158B9C0}"/>
                </a:ext>
              </a:extLst>
            </p:cNvPr>
            <p:cNvSpPr>
              <a:spLocks noEditPoints="1"/>
            </p:cNvSpPr>
            <p:nvPr/>
          </p:nvSpPr>
          <p:spPr bwMode="auto">
            <a:xfrm>
              <a:off x="296863" y="744538"/>
              <a:ext cx="77787" cy="77788"/>
            </a:xfrm>
            <a:custGeom>
              <a:avLst/>
              <a:gdLst>
                <a:gd name="T0" fmla="*/ 12 w 24"/>
                <a:gd name="T1" fmla="*/ 24 h 24"/>
                <a:gd name="T2" fmla="*/ 24 w 24"/>
                <a:gd name="T3" fmla="*/ 12 h 24"/>
                <a:gd name="T4" fmla="*/ 12 w 24"/>
                <a:gd name="T5" fmla="*/ 0 h 24"/>
                <a:gd name="T6" fmla="*/ 0 w 24"/>
                <a:gd name="T7" fmla="*/ 12 h 24"/>
                <a:gd name="T8" fmla="*/ 12 w 24"/>
                <a:gd name="T9" fmla="*/ 24 h 24"/>
                <a:gd name="T10" fmla="*/ 12 w 24"/>
                <a:gd name="T11" fmla="*/ 24 h 24"/>
                <a:gd name="T12" fmla="*/ 12 w 24"/>
                <a:gd name="T13" fmla="*/ 24 h 24"/>
              </a:gdLst>
              <a:ahLst/>
              <a:cxnLst>
                <a:cxn ang="0">
                  <a:pos x="T0" y="T1"/>
                </a:cxn>
                <a:cxn ang="0">
                  <a:pos x="T2" y="T3"/>
                </a:cxn>
                <a:cxn ang="0">
                  <a:pos x="T4" y="T5"/>
                </a:cxn>
                <a:cxn ang="0">
                  <a:pos x="T6" y="T7"/>
                </a:cxn>
                <a:cxn ang="0">
                  <a:pos x="T8" y="T9"/>
                </a:cxn>
                <a:cxn ang="0">
                  <a:pos x="T10" y="T11"/>
                </a:cxn>
                <a:cxn ang="0">
                  <a:pos x="T12" y="T13"/>
                </a:cxn>
              </a:cxnLst>
              <a:rect l="0" t="0" r="r" b="b"/>
              <a:pathLst>
                <a:path w="24" h="24">
                  <a:moveTo>
                    <a:pt x="12" y="24"/>
                  </a:moveTo>
                  <a:cubicBezTo>
                    <a:pt x="18" y="24"/>
                    <a:pt x="24" y="19"/>
                    <a:pt x="24" y="12"/>
                  </a:cubicBezTo>
                  <a:cubicBezTo>
                    <a:pt x="24" y="6"/>
                    <a:pt x="18" y="0"/>
                    <a:pt x="12" y="0"/>
                  </a:cubicBezTo>
                  <a:cubicBezTo>
                    <a:pt x="5" y="0"/>
                    <a:pt x="0" y="6"/>
                    <a:pt x="0" y="12"/>
                  </a:cubicBezTo>
                  <a:cubicBezTo>
                    <a:pt x="0" y="19"/>
                    <a:pt x="5" y="24"/>
                    <a:pt x="12" y="24"/>
                  </a:cubicBezTo>
                  <a:close/>
                  <a:moveTo>
                    <a:pt x="12" y="24"/>
                  </a:moveTo>
                  <a:cubicBezTo>
                    <a:pt x="12" y="24"/>
                    <a:pt x="12" y="24"/>
                    <a:pt x="12" y="2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67" name="Freeform 161">
              <a:extLst>
                <a:ext uri="{FF2B5EF4-FFF2-40B4-BE49-F238E27FC236}">
                  <a16:creationId xmlns:a16="http://schemas.microsoft.com/office/drawing/2014/main" id="{C7078F3F-7628-42BD-AB04-62549090547A}"/>
                </a:ext>
              </a:extLst>
            </p:cNvPr>
            <p:cNvSpPr>
              <a:spLocks noEditPoints="1"/>
            </p:cNvSpPr>
            <p:nvPr/>
          </p:nvSpPr>
          <p:spPr bwMode="auto">
            <a:xfrm>
              <a:off x="257175" y="838200"/>
              <a:ext cx="153987" cy="107950"/>
            </a:xfrm>
            <a:custGeom>
              <a:avLst/>
              <a:gdLst>
                <a:gd name="T0" fmla="*/ 47 w 47"/>
                <a:gd name="T1" fmla="*/ 28 h 33"/>
                <a:gd name="T2" fmla="*/ 47 w 47"/>
                <a:gd name="T3" fmla="*/ 11 h 33"/>
                <a:gd name="T4" fmla="*/ 40 w 47"/>
                <a:gd name="T5" fmla="*/ 1 h 33"/>
                <a:gd name="T6" fmla="*/ 40 w 47"/>
                <a:gd name="T7" fmla="*/ 1 h 33"/>
                <a:gd name="T8" fmla="*/ 34 w 47"/>
                <a:gd name="T9" fmla="*/ 0 h 33"/>
                <a:gd name="T10" fmla="*/ 32 w 47"/>
                <a:gd name="T11" fmla="*/ 1 h 33"/>
                <a:gd name="T12" fmla="*/ 25 w 47"/>
                <a:gd name="T13" fmla="*/ 21 h 33"/>
                <a:gd name="T14" fmla="*/ 23 w 47"/>
                <a:gd name="T15" fmla="*/ 21 h 33"/>
                <a:gd name="T16" fmla="*/ 15 w 47"/>
                <a:gd name="T17" fmla="*/ 1 h 33"/>
                <a:gd name="T18" fmla="*/ 14 w 47"/>
                <a:gd name="T19" fmla="*/ 0 h 33"/>
                <a:gd name="T20" fmla="*/ 7 w 47"/>
                <a:gd name="T21" fmla="*/ 1 h 33"/>
                <a:gd name="T22" fmla="*/ 0 w 47"/>
                <a:gd name="T23" fmla="*/ 11 h 33"/>
                <a:gd name="T24" fmla="*/ 0 w 47"/>
                <a:gd name="T25" fmla="*/ 28 h 33"/>
                <a:gd name="T26" fmla="*/ 5 w 47"/>
                <a:gd name="T27" fmla="*/ 33 h 33"/>
                <a:gd name="T28" fmla="*/ 43 w 47"/>
                <a:gd name="T29" fmla="*/ 33 h 33"/>
                <a:gd name="T30" fmla="*/ 47 w 47"/>
                <a:gd name="T31" fmla="*/ 28 h 33"/>
                <a:gd name="T32" fmla="*/ 47 w 47"/>
                <a:gd name="T33" fmla="*/ 28 h 33"/>
                <a:gd name="T34" fmla="*/ 47 w 47"/>
                <a:gd name="T35" fmla="*/ 28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7" h="33">
                  <a:moveTo>
                    <a:pt x="47" y="28"/>
                  </a:moveTo>
                  <a:cubicBezTo>
                    <a:pt x="47" y="11"/>
                    <a:pt x="47" y="11"/>
                    <a:pt x="47" y="11"/>
                  </a:cubicBezTo>
                  <a:cubicBezTo>
                    <a:pt x="47" y="7"/>
                    <a:pt x="44" y="3"/>
                    <a:pt x="40" y="1"/>
                  </a:cubicBezTo>
                  <a:cubicBezTo>
                    <a:pt x="40" y="1"/>
                    <a:pt x="40" y="1"/>
                    <a:pt x="40" y="1"/>
                  </a:cubicBezTo>
                  <a:cubicBezTo>
                    <a:pt x="34" y="0"/>
                    <a:pt x="34" y="0"/>
                    <a:pt x="34" y="0"/>
                  </a:cubicBezTo>
                  <a:cubicBezTo>
                    <a:pt x="33" y="0"/>
                    <a:pt x="32" y="0"/>
                    <a:pt x="32" y="1"/>
                  </a:cubicBezTo>
                  <a:cubicBezTo>
                    <a:pt x="25" y="21"/>
                    <a:pt x="25" y="21"/>
                    <a:pt x="25" y="21"/>
                  </a:cubicBezTo>
                  <a:cubicBezTo>
                    <a:pt x="25" y="22"/>
                    <a:pt x="23" y="22"/>
                    <a:pt x="23" y="21"/>
                  </a:cubicBezTo>
                  <a:cubicBezTo>
                    <a:pt x="15" y="1"/>
                    <a:pt x="15" y="1"/>
                    <a:pt x="15" y="1"/>
                  </a:cubicBezTo>
                  <a:cubicBezTo>
                    <a:pt x="15" y="0"/>
                    <a:pt x="15" y="0"/>
                    <a:pt x="14" y="0"/>
                  </a:cubicBezTo>
                  <a:cubicBezTo>
                    <a:pt x="14" y="0"/>
                    <a:pt x="7" y="1"/>
                    <a:pt x="7" y="1"/>
                  </a:cubicBezTo>
                  <a:cubicBezTo>
                    <a:pt x="3" y="3"/>
                    <a:pt x="0" y="7"/>
                    <a:pt x="0" y="11"/>
                  </a:cubicBezTo>
                  <a:cubicBezTo>
                    <a:pt x="0" y="28"/>
                    <a:pt x="0" y="28"/>
                    <a:pt x="0" y="28"/>
                  </a:cubicBezTo>
                  <a:cubicBezTo>
                    <a:pt x="0" y="31"/>
                    <a:pt x="2" y="33"/>
                    <a:pt x="5" y="33"/>
                  </a:cubicBezTo>
                  <a:cubicBezTo>
                    <a:pt x="43" y="33"/>
                    <a:pt x="43" y="33"/>
                    <a:pt x="43" y="33"/>
                  </a:cubicBezTo>
                  <a:cubicBezTo>
                    <a:pt x="45" y="33"/>
                    <a:pt x="47" y="31"/>
                    <a:pt x="47" y="28"/>
                  </a:cubicBezTo>
                  <a:close/>
                  <a:moveTo>
                    <a:pt x="47" y="28"/>
                  </a:moveTo>
                  <a:cubicBezTo>
                    <a:pt x="47" y="28"/>
                    <a:pt x="47" y="28"/>
                    <a:pt x="47" y="2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68" name="Freeform 162">
              <a:extLst>
                <a:ext uri="{FF2B5EF4-FFF2-40B4-BE49-F238E27FC236}">
                  <a16:creationId xmlns:a16="http://schemas.microsoft.com/office/drawing/2014/main" id="{3B9A3C6A-A53D-417D-9568-0285644D701F}"/>
                </a:ext>
              </a:extLst>
            </p:cNvPr>
            <p:cNvSpPr>
              <a:spLocks noEditPoints="1"/>
            </p:cNvSpPr>
            <p:nvPr/>
          </p:nvSpPr>
          <p:spPr bwMode="auto">
            <a:xfrm>
              <a:off x="271463" y="942975"/>
              <a:ext cx="158750" cy="161925"/>
            </a:xfrm>
            <a:custGeom>
              <a:avLst/>
              <a:gdLst>
                <a:gd name="T0" fmla="*/ 49 w 49"/>
                <a:gd name="T1" fmla="*/ 0 h 50"/>
                <a:gd name="T2" fmla="*/ 42 w 49"/>
                <a:gd name="T3" fmla="*/ 6 h 50"/>
                <a:gd name="T4" fmla="*/ 11 w 49"/>
                <a:gd name="T5" fmla="*/ 34 h 50"/>
                <a:gd name="T6" fmla="*/ 16 w 49"/>
                <a:gd name="T7" fmla="*/ 28 h 50"/>
                <a:gd name="T8" fmla="*/ 16 w 49"/>
                <a:gd name="T9" fmla="*/ 24 h 50"/>
                <a:gd name="T10" fmla="*/ 12 w 49"/>
                <a:gd name="T11" fmla="*/ 24 h 50"/>
                <a:gd name="T12" fmla="*/ 2 w 49"/>
                <a:gd name="T13" fmla="*/ 35 h 50"/>
                <a:gd name="T14" fmla="*/ 2 w 49"/>
                <a:gd name="T15" fmla="*/ 39 h 50"/>
                <a:gd name="T16" fmla="*/ 12 w 49"/>
                <a:gd name="T17" fmla="*/ 49 h 50"/>
                <a:gd name="T18" fmla="*/ 14 w 49"/>
                <a:gd name="T19" fmla="*/ 50 h 50"/>
                <a:gd name="T20" fmla="*/ 16 w 49"/>
                <a:gd name="T21" fmla="*/ 49 h 50"/>
                <a:gd name="T22" fmla="*/ 16 w 49"/>
                <a:gd name="T23" fmla="*/ 45 h 50"/>
                <a:gd name="T24" fmla="*/ 11 w 49"/>
                <a:gd name="T25" fmla="*/ 40 h 50"/>
                <a:gd name="T26" fmla="*/ 49 w 49"/>
                <a:gd name="T27" fmla="*/ 0 h 50"/>
                <a:gd name="T28" fmla="*/ 49 w 49"/>
                <a:gd name="T29" fmla="*/ 0 h 50"/>
                <a:gd name="T30" fmla="*/ 49 w 49"/>
                <a:gd name="T31"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9" h="50">
                  <a:moveTo>
                    <a:pt x="49" y="0"/>
                  </a:moveTo>
                  <a:cubicBezTo>
                    <a:pt x="49" y="4"/>
                    <a:pt x="46" y="6"/>
                    <a:pt x="42" y="6"/>
                  </a:cubicBezTo>
                  <a:cubicBezTo>
                    <a:pt x="40" y="21"/>
                    <a:pt x="27" y="33"/>
                    <a:pt x="11" y="34"/>
                  </a:cubicBezTo>
                  <a:cubicBezTo>
                    <a:pt x="16" y="28"/>
                    <a:pt x="16" y="28"/>
                    <a:pt x="16" y="28"/>
                  </a:cubicBezTo>
                  <a:cubicBezTo>
                    <a:pt x="18" y="27"/>
                    <a:pt x="18" y="25"/>
                    <a:pt x="16" y="24"/>
                  </a:cubicBezTo>
                  <a:cubicBezTo>
                    <a:pt x="15" y="23"/>
                    <a:pt x="13" y="23"/>
                    <a:pt x="12" y="24"/>
                  </a:cubicBezTo>
                  <a:cubicBezTo>
                    <a:pt x="2" y="35"/>
                    <a:pt x="2" y="35"/>
                    <a:pt x="2" y="35"/>
                  </a:cubicBezTo>
                  <a:cubicBezTo>
                    <a:pt x="0" y="36"/>
                    <a:pt x="0" y="38"/>
                    <a:pt x="2" y="39"/>
                  </a:cubicBezTo>
                  <a:cubicBezTo>
                    <a:pt x="12" y="49"/>
                    <a:pt x="12" y="49"/>
                    <a:pt x="12" y="49"/>
                  </a:cubicBezTo>
                  <a:cubicBezTo>
                    <a:pt x="13" y="50"/>
                    <a:pt x="14" y="50"/>
                    <a:pt x="14" y="50"/>
                  </a:cubicBezTo>
                  <a:cubicBezTo>
                    <a:pt x="15" y="50"/>
                    <a:pt x="16" y="50"/>
                    <a:pt x="16" y="49"/>
                  </a:cubicBezTo>
                  <a:cubicBezTo>
                    <a:pt x="18" y="48"/>
                    <a:pt x="18" y="46"/>
                    <a:pt x="16" y="45"/>
                  </a:cubicBezTo>
                  <a:cubicBezTo>
                    <a:pt x="11" y="40"/>
                    <a:pt x="11" y="40"/>
                    <a:pt x="11" y="40"/>
                  </a:cubicBezTo>
                  <a:cubicBezTo>
                    <a:pt x="32" y="39"/>
                    <a:pt x="49" y="21"/>
                    <a:pt x="49" y="0"/>
                  </a:cubicBezTo>
                  <a:close/>
                  <a:moveTo>
                    <a:pt x="49" y="0"/>
                  </a:moveTo>
                  <a:cubicBezTo>
                    <a:pt x="49" y="0"/>
                    <a:pt x="49" y="0"/>
                    <a:pt x="4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69" name="Freeform 163">
              <a:extLst>
                <a:ext uri="{FF2B5EF4-FFF2-40B4-BE49-F238E27FC236}">
                  <a16:creationId xmlns:a16="http://schemas.microsoft.com/office/drawing/2014/main" id="{DA6C3DB9-AA19-4715-99F4-8E697C2FB46D}"/>
                </a:ext>
              </a:extLst>
            </p:cNvPr>
            <p:cNvSpPr>
              <a:spLocks noEditPoints="1"/>
            </p:cNvSpPr>
            <p:nvPr/>
          </p:nvSpPr>
          <p:spPr bwMode="auto">
            <a:xfrm>
              <a:off x="325438" y="835025"/>
              <a:ext cx="20637" cy="52388"/>
            </a:xfrm>
            <a:custGeom>
              <a:avLst/>
              <a:gdLst>
                <a:gd name="T0" fmla="*/ 5 w 6"/>
                <a:gd name="T1" fmla="*/ 1 h 16"/>
                <a:gd name="T2" fmla="*/ 4 w 6"/>
                <a:gd name="T3" fmla="*/ 0 h 16"/>
                <a:gd name="T4" fmla="*/ 1 w 6"/>
                <a:gd name="T5" fmla="*/ 0 h 16"/>
                <a:gd name="T6" fmla="*/ 0 w 6"/>
                <a:gd name="T7" fmla="*/ 1 h 16"/>
                <a:gd name="T8" fmla="*/ 0 w 6"/>
                <a:gd name="T9" fmla="*/ 3 h 16"/>
                <a:gd name="T10" fmla="*/ 2 w 6"/>
                <a:gd name="T11" fmla="*/ 5 h 16"/>
                <a:gd name="T12" fmla="*/ 1 w 6"/>
                <a:gd name="T13" fmla="*/ 12 h 16"/>
                <a:gd name="T14" fmla="*/ 2 w 6"/>
                <a:gd name="T15" fmla="*/ 16 h 16"/>
                <a:gd name="T16" fmla="*/ 3 w 6"/>
                <a:gd name="T17" fmla="*/ 16 h 16"/>
                <a:gd name="T18" fmla="*/ 5 w 6"/>
                <a:gd name="T19" fmla="*/ 12 h 16"/>
                <a:gd name="T20" fmla="*/ 4 w 6"/>
                <a:gd name="T21" fmla="*/ 5 h 16"/>
                <a:gd name="T22" fmla="*/ 6 w 6"/>
                <a:gd name="T23" fmla="*/ 3 h 16"/>
                <a:gd name="T24" fmla="*/ 5 w 6"/>
                <a:gd name="T25" fmla="*/ 1 h 16"/>
                <a:gd name="T26" fmla="*/ 5 w 6"/>
                <a:gd name="T27" fmla="*/ 1 h 16"/>
                <a:gd name="T28" fmla="*/ 5 w 6"/>
                <a:gd name="T29" fmla="*/ 1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16">
                  <a:moveTo>
                    <a:pt x="5" y="1"/>
                  </a:moveTo>
                  <a:cubicBezTo>
                    <a:pt x="5" y="1"/>
                    <a:pt x="5" y="0"/>
                    <a:pt x="4" y="0"/>
                  </a:cubicBezTo>
                  <a:cubicBezTo>
                    <a:pt x="1" y="0"/>
                    <a:pt x="1" y="0"/>
                    <a:pt x="1" y="0"/>
                  </a:cubicBezTo>
                  <a:cubicBezTo>
                    <a:pt x="1" y="0"/>
                    <a:pt x="0" y="1"/>
                    <a:pt x="0" y="1"/>
                  </a:cubicBezTo>
                  <a:cubicBezTo>
                    <a:pt x="0" y="1"/>
                    <a:pt x="0" y="2"/>
                    <a:pt x="0" y="3"/>
                  </a:cubicBezTo>
                  <a:cubicBezTo>
                    <a:pt x="2" y="5"/>
                    <a:pt x="2" y="5"/>
                    <a:pt x="2" y="5"/>
                  </a:cubicBezTo>
                  <a:cubicBezTo>
                    <a:pt x="1" y="12"/>
                    <a:pt x="1" y="12"/>
                    <a:pt x="1" y="12"/>
                  </a:cubicBezTo>
                  <a:cubicBezTo>
                    <a:pt x="2" y="16"/>
                    <a:pt x="2" y="16"/>
                    <a:pt x="2" y="16"/>
                  </a:cubicBezTo>
                  <a:cubicBezTo>
                    <a:pt x="2" y="16"/>
                    <a:pt x="3" y="16"/>
                    <a:pt x="3" y="16"/>
                  </a:cubicBezTo>
                  <a:cubicBezTo>
                    <a:pt x="5" y="12"/>
                    <a:pt x="5" y="12"/>
                    <a:pt x="5" y="12"/>
                  </a:cubicBezTo>
                  <a:cubicBezTo>
                    <a:pt x="4" y="5"/>
                    <a:pt x="4" y="5"/>
                    <a:pt x="4" y="5"/>
                  </a:cubicBezTo>
                  <a:cubicBezTo>
                    <a:pt x="6" y="3"/>
                    <a:pt x="6" y="3"/>
                    <a:pt x="6" y="3"/>
                  </a:cubicBezTo>
                  <a:cubicBezTo>
                    <a:pt x="6" y="2"/>
                    <a:pt x="6" y="1"/>
                    <a:pt x="5" y="1"/>
                  </a:cubicBezTo>
                  <a:close/>
                  <a:moveTo>
                    <a:pt x="5" y="1"/>
                  </a:moveTo>
                  <a:cubicBezTo>
                    <a:pt x="5" y="1"/>
                    <a:pt x="5" y="1"/>
                    <a:pt x="5"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spTree>
    <p:extLst>
      <p:ext uri="{BB962C8B-B14F-4D97-AF65-F5344CB8AC3E}">
        <p14:creationId xmlns:p14="http://schemas.microsoft.com/office/powerpoint/2010/main" val="4075496971"/>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37" fill="hold" grpId="0" nodeType="after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barn(outVertical)">
                                      <p:cBhvr>
                                        <p:cTn id="7" dur="500"/>
                                        <p:tgtEl>
                                          <p:spTgt spid="12"/>
                                        </p:tgtEl>
                                      </p:cBhvr>
                                    </p:animEffect>
                                  </p:childTnLst>
                                </p:cTn>
                              </p:par>
                            </p:childTnLst>
                          </p:cTn>
                        </p:par>
                        <p:par>
                          <p:cTn id="8" fill="hold">
                            <p:stCondLst>
                              <p:cond delay="500"/>
                            </p:stCondLst>
                            <p:childTnLst>
                              <p:par>
                                <p:cTn id="9" presetID="22" presetClass="entr" presetSubtype="4" fill="hold" grpId="0" nodeType="afterEffect">
                                  <p:stCondLst>
                                    <p:cond delay="0"/>
                                  </p:stCondLst>
                                  <p:childTnLst>
                                    <p:set>
                                      <p:cBhvr>
                                        <p:cTn id="10" dur="1" fill="hold">
                                          <p:stCondLst>
                                            <p:cond delay="0"/>
                                          </p:stCondLst>
                                        </p:cTn>
                                        <p:tgtEl>
                                          <p:spTgt spid="2"/>
                                        </p:tgtEl>
                                        <p:attrNameLst>
                                          <p:attrName>style.visibility</p:attrName>
                                        </p:attrNameLst>
                                      </p:cBhvr>
                                      <p:to>
                                        <p:strVal val="visible"/>
                                      </p:to>
                                    </p:set>
                                    <p:animEffect transition="in" filter="wipe(down)">
                                      <p:cBhvr>
                                        <p:cTn id="11" dur="500"/>
                                        <p:tgtEl>
                                          <p:spTgt spid="2"/>
                                        </p:tgtEl>
                                      </p:cBhvr>
                                    </p:animEffect>
                                  </p:childTnLst>
                                </p:cTn>
                              </p:par>
                            </p:childTnLst>
                          </p:cTn>
                        </p:par>
                        <p:par>
                          <p:cTn id="12" fill="hold">
                            <p:stCondLst>
                              <p:cond delay="1000"/>
                            </p:stCondLst>
                            <p:childTnLst>
                              <p:par>
                                <p:cTn id="13" presetID="22" presetClass="entr" presetSubtype="4" fill="hold" grpId="0" nodeType="afterEffect">
                                  <p:stCondLst>
                                    <p:cond delay="0"/>
                                  </p:stCondLst>
                                  <p:childTnLst>
                                    <p:set>
                                      <p:cBhvr>
                                        <p:cTn id="14" dur="1" fill="hold">
                                          <p:stCondLst>
                                            <p:cond delay="0"/>
                                          </p:stCondLst>
                                        </p:cTn>
                                        <p:tgtEl>
                                          <p:spTgt spid="11"/>
                                        </p:tgtEl>
                                        <p:attrNameLst>
                                          <p:attrName>style.visibility</p:attrName>
                                        </p:attrNameLst>
                                      </p:cBhvr>
                                      <p:to>
                                        <p:strVal val="visible"/>
                                      </p:to>
                                    </p:set>
                                    <p:animEffect transition="in" filter="wipe(down)">
                                      <p:cBhvr>
                                        <p:cTn id="15" dur="500"/>
                                        <p:tgtEl>
                                          <p:spTgt spid="11"/>
                                        </p:tgtEl>
                                      </p:cBhvr>
                                    </p:animEffect>
                                  </p:childTnLst>
                                </p:cTn>
                              </p:par>
                            </p:childTnLst>
                          </p:cTn>
                        </p:par>
                        <p:par>
                          <p:cTn id="16" fill="hold">
                            <p:stCondLst>
                              <p:cond delay="1500"/>
                            </p:stCondLst>
                            <p:childTnLst>
                              <p:par>
                                <p:cTn id="17" presetID="53" presetClass="entr" presetSubtype="16" fill="hold" nodeType="afterEffect">
                                  <p:stCondLst>
                                    <p:cond delay="0"/>
                                  </p:stCondLst>
                                  <p:childTnLst>
                                    <p:set>
                                      <p:cBhvr>
                                        <p:cTn id="18" dur="1" fill="hold">
                                          <p:stCondLst>
                                            <p:cond delay="0"/>
                                          </p:stCondLst>
                                        </p:cTn>
                                        <p:tgtEl>
                                          <p:spTgt spid="3"/>
                                        </p:tgtEl>
                                        <p:attrNameLst>
                                          <p:attrName>style.visibility</p:attrName>
                                        </p:attrNameLst>
                                      </p:cBhvr>
                                      <p:to>
                                        <p:strVal val="visible"/>
                                      </p:to>
                                    </p:set>
                                    <p:anim calcmode="lin" valueType="num">
                                      <p:cBhvr>
                                        <p:cTn id="19" dur="500" fill="hold"/>
                                        <p:tgtEl>
                                          <p:spTgt spid="3"/>
                                        </p:tgtEl>
                                        <p:attrNameLst>
                                          <p:attrName>ppt_w</p:attrName>
                                        </p:attrNameLst>
                                      </p:cBhvr>
                                      <p:tavLst>
                                        <p:tav tm="0">
                                          <p:val>
                                            <p:fltVal val="0"/>
                                          </p:val>
                                        </p:tav>
                                        <p:tav tm="100000">
                                          <p:val>
                                            <p:strVal val="#ppt_w"/>
                                          </p:val>
                                        </p:tav>
                                      </p:tavLst>
                                    </p:anim>
                                    <p:anim calcmode="lin" valueType="num">
                                      <p:cBhvr>
                                        <p:cTn id="20" dur="500" fill="hold"/>
                                        <p:tgtEl>
                                          <p:spTgt spid="3"/>
                                        </p:tgtEl>
                                        <p:attrNameLst>
                                          <p:attrName>ppt_h</p:attrName>
                                        </p:attrNameLst>
                                      </p:cBhvr>
                                      <p:tavLst>
                                        <p:tav tm="0">
                                          <p:val>
                                            <p:fltVal val="0"/>
                                          </p:val>
                                        </p:tav>
                                        <p:tav tm="100000">
                                          <p:val>
                                            <p:strVal val="#ppt_h"/>
                                          </p:val>
                                        </p:tav>
                                      </p:tavLst>
                                    </p:anim>
                                    <p:animEffect transition="in" filter="fade">
                                      <p:cBhvr>
                                        <p:cTn id="21" dur="500"/>
                                        <p:tgtEl>
                                          <p:spTgt spid="3"/>
                                        </p:tgtEl>
                                      </p:cBhvr>
                                    </p:animEffect>
                                  </p:childTnLst>
                                </p:cTn>
                              </p:par>
                            </p:childTnLst>
                          </p:cTn>
                        </p:par>
                        <p:par>
                          <p:cTn id="22" fill="hold">
                            <p:stCondLst>
                              <p:cond delay="2000"/>
                            </p:stCondLst>
                            <p:childTnLst>
                              <p:par>
                                <p:cTn id="23" presetID="22" presetClass="entr" presetSubtype="2" fill="hold" nodeType="afterEffect">
                                  <p:stCondLst>
                                    <p:cond delay="0"/>
                                  </p:stCondLst>
                                  <p:childTnLst>
                                    <p:set>
                                      <p:cBhvr>
                                        <p:cTn id="24" dur="1" fill="hold">
                                          <p:stCondLst>
                                            <p:cond delay="0"/>
                                          </p:stCondLst>
                                        </p:cTn>
                                        <p:tgtEl>
                                          <p:spTgt spid="13"/>
                                        </p:tgtEl>
                                        <p:attrNameLst>
                                          <p:attrName>style.visibility</p:attrName>
                                        </p:attrNameLst>
                                      </p:cBhvr>
                                      <p:to>
                                        <p:strVal val="visible"/>
                                      </p:to>
                                    </p:set>
                                    <p:animEffect transition="in" filter="wipe(right)">
                                      <p:cBhvr>
                                        <p:cTn id="25" dur="500"/>
                                        <p:tgtEl>
                                          <p:spTgt spid="13"/>
                                        </p:tgtEl>
                                      </p:cBhvr>
                                    </p:animEffect>
                                  </p:childTnLst>
                                </p:cTn>
                              </p:par>
                            </p:childTnLst>
                          </p:cTn>
                        </p:par>
                        <p:par>
                          <p:cTn id="26" fill="hold">
                            <p:stCondLst>
                              <p:cond delay="2500"/>
                            </p:stCondLst>
                            <p:childTnLst>
                              <p:par>
                                <p:cTn id="27" presetID="22" presetClass="entr" presetSubtype="2" fill="hold" grpId="0" nodeType="afterEffect">
                                  <p:stCondLst>
                                    <p:cond delay="0"/>
                                  </p:stCondLst>
                                  <p:childTnLst>
                                    <p:set>
                                      <p:cBhvr>
                                        <p:cTn id="28" dur="1" fill="hold">
                                          <p:stCondLst>
                                            <p:cond delay="0"/>
                                          </p:stCondLst>
                                        </p:cTn>
                                        <p:tgtEl>
                                          <p:spTgt spid="18"/>
                                        </p:tgtEl>
                                        <p:attrNameLst>
                                          <p:attrName>style.visibility</p:attrName>
                                        </p:attrNameLst>
                                      </p:cBhvr>
                                      <p:to>
                                        <p:strVal val="visible"/>
                                      </p:to>
                                    </p:set>
                                    <p:animEffect transition="in" filter="wipe(right)">
                                      <p:cBhvr>
                                        <p:cTn id="29" dur="500"/>
                                        <p:tgtEl>
                                          <p:spTgt spid="18"/>
                                        </p:tgtEl>
                                      </p:cBhvr>
                                    </p:animEffect>
                                  </p:childTnLst>
                                </p:cTn>
                              </p:par>
                            </p:childTnLst>
                          </p:cTn>
                        </p:par>
                        <p:par>
                          <p:cTn id="30" fill="hold">
                            <p:stCondLst>
                              <p:cond delay="3000"/>
                            </p:stCondLst>
                            <p:childTnLst>
                              <p:par>
                                <p:cTn id="31" presetID="42" presetClass="entr" presetSubtype="0" fill="hold" grpId="0" nodeType="afterEffect">
                                  <p:stCondLst>
                                    <p:cond delay="0"/>
                                  </p:stCondLst>
                                  <p:childTnLst>
                                    <p:set>
                                      <p:cBhvr>
                                        <p:cTn id="32" dur="1" fill="hold">
                                          <p:stCondLst>
                                            <p:cond delay="0"/>
                                          </p:stCondLst>
                                        </p:cTn>
                                        <p:tgtEl>
                                          <p:spTgt spid="17"/>
                                        </p:tgtEl>
                                        <p:attrNameLst>
                                          <p:attrName>style.visibility</p:attrName>
                                        </p:attrNameLst>
                                      </p:cBhvr>
                                      <p:to>
                                        <p:strVal val="visible"/>
                                      </p:to>
                                    </p:set>
                                    <p:animEffect transition="in" filter="fade">
                                      <p:cBhvr>
                                        <p:cTn id="33" dur="500"/>
                                        <p:tgtEl>
                                          <p:spTgt spid="17"/>
                                        </p:tgtEl>
                                      </p:cBhvr>
                                    </p:animEffect>
                                    <p:anim calcmode="lin" valueType="num">
                                      <p:cBhvr>
                                        <p:cTn id="34" dur="500" fill="hold"/>
                                        <p:tgtEl>
                                          <p:spTgt spid="17"/>
                                        </p:tgtEl>
                                        <p:attrNameLst>
                                          <p:attrName>ppt_x</p:attrName>
                                        </p:attrNameLst>
                                      </p:cBhvr>
                                      <p:tavLst>
                                        <p:tav tm="0">
                                          <p:val>
                                            <p:strVal val="#ppt_x"/>
                                          </p:val>
                                        </p:tav>
                                        <p:tav tm="100000">
                                          <p:val>
                                            <p:strVal val="#ppt_x"/>
                                          </p:val>
                                        </p:tav>
                                      </p:tavLst>
                                    </p:anim>
                                    <p:anim calcmode="lin" valueType="num">
                                      <p:cBhvr>
                                        <p:cTn id="35" dur="500" fill="hold"/>
                                        <p:tgtEl>
                                          <p:spTgt spid="17"/>
                                        </p:tgtEl>
                                        <p:attrNameLst>
                                          <p:attrName>ppt_y</p:attrName>
                                        </p:attrNameLst>
                                      </p:cBhvr>
                                      <p:tavLst>
                                        <p:tav tm="0">
                                          <p:val>
                                            <p:strVal val="#ppt_y+.1"/>
                                          </p:val>
                                        </p:tav>
                                        <p:tav tm="100000">
                                          <p:val>
                                            <p:strVal val="#ppt_y"/>
                                          </p:val>
                                        </p:tav>
                                      </p:tavLst>
                                    </p:anim>
                                  </p:childTnLst>
                                </p:cTn>
                              </p:par>
                            </p:childTnLst>
                          </p:cTn>
                        </p:par>
                        <p:par>
                          <p:cTn id="36" fill="hold">
                            <p:stCondLst>
                              <p:cond delay="3500"/>
                            </p:stCondLst>
                            <p:childTnLst>
                              <p:par>
                                <p:cTn id="37" presetID="22" presetClass="entr" presetSubtype="2" fill="hold" grpId="0" nodeType="afterEffect">
                                  <p:stCondLst>
                                    <p:cond delay="0"/>
                                  </p:stCondLst>
                                  <p:childTnLst>
                                    <p:set>
                                      <p:cBhvr>
                                        <p:cTn id="38" dur="1" fill="hold">
                                          <p:stCondLst>
                                            <p:cond delay="0"/>
                                          </p:stCondLst>
                                        </p:cTn>
                                        <p:tgtEl>
                                          <p:spTgt spid="20"/>
                                        </p:tgtEl>
                                        <p:attrNameLst>
                                          <p:attrName>style.visibility</p:attrName>
                                        </p:attrNameLst>
                                      </p:cBhvr>
                                      <p:to>
                                        <p:strVal val="visible"/>
                                      </p:to>
                                    </p:set>
                                    <p:animEffect transition="in" filter="wipe(right)">
                                      <p:cBhvr>
                                        <p:cTn id="39" dur="500"/>
                                        <p:tgtEl>
                                          <p:spTgt spid="20"/>
                                        </p:tgtEl>
                                      </p:cBhvr>
                                    </p:animEffect>
                                  </p:childTnLst>
                                </p:cTn>
                              </p:par>
                            </p:childTnLst>
                          </p:cTn>
                        </p:par>
                        <p:par>
                          <p:cTn id="40" fill="hold">
                            <p:stCondLst>
                              <p:cond delay="4000"/>
                            </p:stCondLst>
                            <p:childTnLst>
                              <p:par>
                                <p:cTn id="41" presetID="22" presetClass="entr" presetSubtype="2" fill="hold" nodeType="afterEffect">
                                  <p:stCondLst>
                                    <p:cond delay="0"/>
                                  </p:stCondLst>
                                  <p:childTnLst>
                                    <p:set>
                                      <p:cBhvr>
                                        <p:cTn id="42" dur="1" fill="hold">
                                          <p:stCondLst>
                                            <p:cond delay="0"/>
                                          </p:stCondLst>
                                        </p:cTn>
                                        <p:tgtEl>
                                          <p:spTgt spid="14"/>
                                        </p:tgtEl>
                                        <p:attrNameLst>
                                          <p:attrName>style.visibility</p:attrName>
                                        </p:attrNameLst>
                                      </p:cBhvr>
                                      <p:to>
                                        <p:strVal val="visible"/>
                                      </p:to>
                                    </p:set>
                                    <p:animEffect transition="in" filter="wipe(right)">
                                      <p:cBhvr>
                                        <p:cTn id="43" dur="500"/>
                                        <p:tgtEl>
                                          <p:spTgt spid="14"/>
                                        </p:tgtEl>
                                      </p:cBhvr>
                                    </p:animEffect>
                                  </p:childTnLst>
                                </p:cTn>
                              </p:par>
                            </p:childTnLst>
                          </p:cTn>
                        </p:par>
                        <p:par>
                          <p:cTn id="44" fill="hold">
                            <p:stCondLst>
                              <p:cond delay="4500"/>
                            </p:stCondLst>
                            <p:childTnLst>
                              <p:par>
                                <p:cTn id="45" presetID="42" presetClass="entr" presetSubtype="0" fill="hold" grpId="0" nodeType="afterEffect">
                                  <p:stCondLst>
                                    <p:cond delay="0"/>
                                  </p:stCondLst>
                                  <p:childTnLst>
                                    <p:set>
                                      <p:cBhvr>
                                        <p:cTn id="46" dur="1" fill="hold">
                                          <p:stCondLst>
                                            <p:cond delay="0"/>
                                          </p:stCondLst>
                                        </p:cTn>
                                        <p:tgtEl>
                                          <p:spTgt spid="19"/>
                                        </p:tgtEl>
                                        <p:attrNameLst>
                                          <p:attrName>style.visibility</p:attrName>
                                        </p:attrNameLst>
                                      </p:cBhvr>
                                      <p:to>
                                        <p:strVal val="visible"/>
                                      </p:to>
                                    </p:set>
                                    <p:animEffect transition="in" filter="fade">
                                      <p:cBhvr>
                                        <p:cTn id="47" dur="500"/>
                                        <p:tgtEl>
                                          <p:spTgt spid="19"/>
                                        </p:tgtEl>
                                      </p:cBhvr>
                                    </p:animEffect>
                                    <p:anim calcmode="lin" valueType="num">
                                      <p:cBhvr>
                                        <p:cTn id="48" dur="500" fill="hold"/>
                                        <p:tgtEl>
                                          <p:spTgt spid="19"/>
                                        </p:tgtEl>
                                        <p:attrNameLst>
                                          <p:attrName>ppt_x</p:attrName>
                                        </p:attrNameLst>
                                      </p:cBhvr>
                                      <p:tavLst>
                                        <p:tav tm="0">
                                          <p:val>
                                            <p:strVal val="#ppt_x"/>
                                          </p:val>
                                        </p:tav>
                                        <p:tav tm="100000">
                                          <p:val>
                                            <p:strVal val="#ppt_x"/>
                                          </p:val>
                                        </p:tav>
                                      </p:tavLst>
                                    </p:anim>
                                    <p:anim calcmode="lin" valueType="num">
                                      <p:cBhvr>
                                        <p:cTn id="49" dur="500" fill="hold"/>
                                        <p:tgtEl>
                                          <p:spTgt spid="19"/>
                                        </p:tgtEl>
                                        <p:attrNameLst>
                                          <p:attrName>ppt_y</p:attrName>
                                        </p:attrNameLst>
                                      </p:cBhvr>
                                      <p:tavLst>
                                        <p:tav tm="0">
                                          <p:val>
                                            <p:strVal val="#ppt_y+.1"/>
                                          </p:val>
                                        </p:tav>
                                        <p:tav tm="100000">
                                          <p:val>
                                            <p:strVal val="#ppt_y"/>
                                          </p:val>
                                        </p:tav>
                                      </p:tavLst>
                                    </p:anim>
                                  </p:childTnLst>
                                </p:cTn>
                              </p:par>
                            </p:childTnLst>
                          </p:cTn>
                        </p:par>
                        <p:par>
                          <p:cTn id="50" fill="hold">
                            <p:stCondLst>
                              <p:cond delay="5000"/>
                            </p:stCondLst>
                            <p:childTnLst>
                              <p:par>
                                <p:cTn id="51" presetID="22" presetClass="entr" presetSubtype="2" fill="hold" nodeType="afterEffect">
                                  <p:stCondLst>
                                    <p:cond delay="0"/>
                                  </p:stCondLst>
                                  <p:childTnLst>
                                    <p:set>
                                      <p:cBhvr>
                                        <p:cTn id="52" dur="1" fill="hold">
                                          <p:stCondLst>
                                            <p:cond delay="0"/>
                                          </p:stCondLst>
                                        </p:cTn>
                                        <p:tgtEl>
                                          <p:spTgt spid="15"/>
                                        </p:tgtEl>
                                        <p:attrNameLst>
                                          <p:attrName>style.visibility</p:attrName>
                                        </p:attrNameLst>
                                      </p:cBhvr>
                                      <p:to>
                                        <p:strVal val="visible"/>
                                      </p:to>
                                    </p:set>
                                    <p:animEffect transition="in" filter="wipe(right)">
                                      <p:cBhvr>
                                        <p:cTn id="53" dur="500"/>
                                        <p:tgtEl>
                                          <p:spTgt spid="15"/>
                                        </p:tgtEl>
                                      </p:cBhvr>
                                    </p:animEffect>
                                  </p:childTnLst>
                                </p:cTn>
                              </p:par>
                            </p:childTnLst>
                          </p:cTn>
                        </p:par>
                        <p:par>
                          <p:cTn id="54" fill="hold">
                            <p:stCondLst>
                              <p:cond delay="5500"/>
                            </p:stCondLst>
                            <p:childTnLst>
                              <p:par>
                                <p:cTn id="55" presetID="22" presetClass="entr" presetSubtype="2" fill="hold" grpId="0" nodeType="afterEffect">
                                  <p:stCondLst>
                                    <p:cond delay="0"/>
                                  </p:stCondLst>
                                  <p:childTnLst>
                                    <p:set>
                                      <p:cBhvr>
                                        <p:cTn id="56" dur="1" fill="hold">
                                          <p:stCondLst>
                                            <p:cond delay="0"/>
                                          </p:stCondLst>
                                        </p:cTn>
                                        <p:tgtEl>
                                          <p:spTgt spid="22"/>
                                        </p:tgtEl>
                                        <p:attrNameLst>
                                          <p:attrName>style.visibility</p:attrName>
                                        </p:attrNameLst>
                                      </p:cBhvr>
                                      <p:to>
                                        <p:strVal val="visible"/>
                                      </p:to>
                                    </p:set>
                                    <p:animEffect transition="in" filter="wipe(right)">
                                      <p:cBhvr>
                                        <p:cTn id="57" dur="500"/>
                                        <p:tgtEl>
                                          <p:spTgt spid="22"/>
                                        </p:tgtEl>
                                      </p:cBhvr>
                                    </p:animEffect>
                                  </p:childTnLst>
                                </p:cTn>
                              </p:par>
                            </p:childTnLst>
                          </p:cTn>
                        </p:par>
                        <p:par>
                          <p:cTn id="58" fill="hold">
                            <p:stCondLst>
                              <p:cond delay="6000"/>
                            </p:stCondLst>
                            <p:childTnLst>
                              <p:par>
                                <p:cTn id="59" presetID="42" presetClass="entr" presetSubtype="0" fill="hold" grpId="0" nodeType="afterEffect">
                                  <p:stCondLst>
                                    <p:cond delay="0"/>
                                  </p:stCondLst>
                                  <p:childTnLst>
                                    <p:set>
                                      <p:cBhvr>
                                        <p:cTn id="60" dur="1" fill="hold">
                                          <p:stCondLst>
                                            <p:cond delay="0"/>
                                          </p:stCondLst>
                                        </p:cTn>
                                        <p:tgtEl>
                                          <p:spTgt spid="21"/>
                                        </p:tgtEl>
                                        <p:attrNameLst>
                                          <p:attrName>style.visibility</p:attrName>
                                        </p:attrNameLst>
                                      </p:cBhvr>
                                      <p:to>
                                        <p:strVal val="visible"/>
                                      </p:to>
                                    </p:set>
                                    <p:animEffect transition="in" filter="fade">
                                      <p:cBhvr>
                                        <p:cTn id="61" dur="500"/>
                                        <p:tgtEl>
                                          <p:spTgt spid="21"/>
                                        </p:tgtEl>
                                      </p:cBhvr>
                                    </p:animEffect>
                                    <p:anim calcmode="lin" valueType="num">
                                      <p:cBhvr>
                                        <p:cTn id="62" dur="500" fill="hold"/>
                                        <p:tgtEl>
                                          <p:spTgt spid="21"/>
                                        </p:tgtEl>
                                        <p:attrNameLst>
                                          <p:attrName>ppt_x</p:attrName>
                                        </p:attrNameLst>
                                      </p:cBhvr>
                                      <p:tavLst>
                                        <p:tav tm="0">
                                          <p:val>
                                            <p:strVal val="#ppt_x"/>
                                          </p:val>
                                        </p:tav>
                                        <p:tav tm="100000">
                                          <p:val>
                                            <p:strVal val="#ppt_x"/>
                                          </p:val>
                                        </p:tav>
                                      </p:tavLst>
                                    </p:anim>
                                    <p:anim calcmode="lin" valueType="num">
                                      <p:cBhvr>
                                        <p:cTn id="63" dur="500" fill="hold"/>
                                        <p:tgtEl>
                                          <p:spTgt spid="21"/>
                                        </p:tgtEl>
                                        <p:attrNameLst>
                                          <p:attrName>ppt_y</p:attrName>
                                        </p:attrNameLst>
                                      </p:cBhvr>
                                      <p:tavLst>
                                        <p:tav tm="0">
                                          <p:val>
                                            <p:strVal val="#ppt_y+.1"/>
                                          </p:val>
                                        </p:tav>
                                        <p:tav tm="100000">
                                          <p:val>
                                            <p:strVal val="#ppt_y"/>
                                          </p:val>
                                        </p:tav>
                                      </p:tavLst>
                                    </p:anim>
                                  </p:childTnLst>
                                </p:cTn>
                              </p:par>
                            </p:childTnLst>
                          </p:cTn>
                        </p:par>
                        <p:par>
                          <p:cTn id="64" fill="hold">
                            <p:stCondLst>
                              <p:cond delay="6500"/>
                            </p:stCondLst>
                            <p:childTnLst>
                              <p:par>
                                <p:cTn id="65" presetID="22" presetClass="entr" presetSubtype="2" fill="hold" nodeType="afterEffect">
                                  <p:stCondLst>
                                    <p:cond delay="0"/>
                                  </p:stCondLst>
                                  <p:childTnLst>
                                    <p:set>
                                      <p:cBhvr>
                                        <p:cTn id="66" dur="1" fill="hold">
                                          <p:stCondLst>
                                            <p:cond delay="0"/>
                                          </p:stCondLst>
                                        </p:cTn>
                                        <p:tgtEl>
                                          <p:spTgt spid="16"/>
                                        </p:tgtEl>
                                        <p:attrNameLst>
                                          <p:attrName>style.visibility</p:attrName>
                                        </p:attrNameLst>
                                      </p:cBhvr>
                                      <p:to>
                                        <p:strVal val="visible"/>
                                      </p:to>
                                    </p:set>
                                    <p:animEffect transition="in" filter="wipe(right)">
                                      <p:cBhvr>
                                        <p:cTn id="67" dur="500"/>
                                        <p:tgtEl>
                                          <p:spTgt spid="16"/>
                                        </p:tgtEl>
                                      </p:cBhvr>
                                    </p:animEffect>
                                  </p:childTnLst>
                                </p:cTn>
                              </p:par>
                            </p:childTnLst>
                          </p:cTn>
                        </p:par>
                        <p:par>
                          <p:cTn id="68" fill="hold">
                            <p:stCondLst>
                              <p:cond delay="7000"/>
                            </p:stCondLst>
                            <p:childTnLst>
                              <p:par>
                                <p:cTn id="69" presetID="22" presetClass="entr" presetSubtype="2" fill="hold" grpId="0" nodeType="afterEffect">
                                  <p:stCondLst>
                                    <p:cond delay="0"/>
                                  </p:stCondLst>
                                  <p:childTnLst>
                                    <p:set>
                                      <p:cBhvr>
                                        <p:cTn id="70" dur="1" fill="hold">
                                          <p:stCondLst>
                                            <p:cond delay="0"/>
                                          </p:stCondLst>
                                        </p:cTn>
                                        <p:tgtEl>
                                          <p:spTgt spid="24"/>
                                        </p:tgtEl>
                                        <p:attrNameLst>
                                          <p:attrName>style.visibility</p:attrName>
                                        </p:attrNameLst>
                                      </p:cBhvr>
                                      <p:to>
                                        <p:strVal val="visible"/>
                                      </p:to>
                                    </p:set>
                                    <p:animEffect transition="in" filter="wipe(right)">
                                      <p:cBhvr>
                                        <p:cTn id="71" dur="500"/>
                                        <p:tgtEl>
                                          <p:spTgt spid="24"/>
                                        </p:tgtEl>
                                      </p:cBhvr>
                                    </p:animEffect>
                                  </p:childTnLst>
                                </p:cTn>
                              </p:par>
                            </p:childTnLst>
                          </p:cTn>
                        </p:par>
                        <p:par>
                          <p:cTn id="72" fill="hold">
                            <p:stCondLst>
                              <p:cond delay="7500"/>
                            </p:stCondLst>
                            <p:childTnLst>
                              <p:par>
                                <p:cTn id="73" presetID="42" presetClass="entr" presetSubtype="0" fill="hold" grpId="0" nodeType="afterEffect">
                                  <p:stCondLst>
                                    <p:cond delay="0"/>
                                  </p:stCondLst>
                                  <p:childTnLst>
                                    <p:set>
                                      <p:cBhvr>
                                        <p:cTn id="74" dur="1" fill="hold">
                                          <p:stCondLst>
                                            <p:cond delay="0"/>
                                          </p:stCondLst>
                                        </p:cTn>
                                        <p:tgtEl>
                                          <p:spTgt spid="23"/>
                                        </p:tgtEl>
                                        <p:attrNameLst>
                                          <p:attrName>style.visibility</p:attrName>
                                        </p:attrNameLst>
                                      </p:cBhvr>
                                      <p:to>
                                        <p:strVal val="visible"/>
                                      </p:to>
                                    </p:set>
                                    <p:animEffect transition="in" filter="fade">
                                      <p:cBhvr>
                                        <p:cTn id="75" dur="500"/>
                                        <p:tgtEl>
                                          <p:spTgt spid="23"/>
                                        </p:tgtEl>
                                      </p:cBhvr>
                                    </p:animEffect>
                                    <p:anim calcmode="lin" valueType="num">
                                      <p:cBhvr>
                                        <p:cTn id="76" dur="500" fill="hold"/>
                                        <p:tgtEl>
                                          <p:spTgt spid="23"/>
                                        </p:tgtEl>
                                        <p:attrNameLst>
                                          <p:attrName>ppt_x</p:attrName>
                                        </p:attrNameLst>
                                      </p:cBhvr>
                                      <p:tavLst>
                                        <p:tav tm="0">
                                          <p:val>
                                            <p:strVal val="#ppt_x"/>
                                          </p:val>
                                        </p:tav>
                                        <p:tav tm="100000">
                                          <p:val>
                                            <p:strVal val="#ppt_x"/>
                                          </p:val>
                                        </p:tav>
                                      </p:tavLst>
                                    </p:anim>
                                    <p:anim calcmode="lin" valueType="num">
                                      <p:cBhvr>
                                        <p:cTn id="77" dur="500" fill="hold"/>
                                        <p:tgtEl>
                                          <p:spTgt spid="2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11" grpId="0" animBg="1"/>
      <p:bldP spid="12" grpId="0"/>
      <p:bldP spid="17" grpId="0"/>
      <p:bldP spid="18" grpId="0"/>
      <p:bldP spid="19" grpId="0"/>
      <p:bldP spid="20" grpId="0"/>
      <p:bldP spid="21" grpId="0"/>
      <p:bldP spid="22" grpId="0"/>
      <p:bldP spid="23" grpId="0"/>
      <p:bldP spid="24" grpId="0"/>
    </p:bldLst>
  </p:timing>
</p:sld>
</file>

<file path=ppt/slides/slide6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66">
            <a:extLst>
              <a:ext uri="{FF2B5EF4-FFF2-40B4-BE49-F238E27FC236}">
                <a16:creationId xmlns:a16="http://schemas.microsoft.com/office/drawing/2014/main" id="{99B54D03-3BC9-4190-AF63-7ABDD405A7E5}"/>
              </a:ext>
            </a:extLst>
          </p:cNvPr>
          <p:cNvGrpSpPr/>
          <p:nvPr/>
        </p:nvGrpSpPr>
        <p:grpSpPr>
          <a:xfrm>
            <a:off x="991958" y="4114709"/>
            <a:ext cx="3569220" cy="574016"/>
            <a:chOff x="991955" y="4114712"/>
            <a:chExt cx="3569221" cy="574016"/>
          </a:xfrm>
        </p:grpSpPr>
        <p:grpSp>
          <p:nvGrpSpPr>
            <p:cNvPr id="3" name="Group 42">
              <a:extLst>
                <a:ext uri="{FF2B5EF4-FFF2-40B4-BE49-F238E27FC236}">
                  <a16:creationId xmlns:a16="http://schemas.microsoft.com/office/drawing/2014/main" id="{A0CB3CF9-4E26-4BC5-9024-3D54EDE0255B}"/>
                </a:ext>
              </a:extLst>
            </p:cNvPr>
            <p:cNvGrpSpPr/>
            <p:nvPr/>
          </p:nvGrpSpPr>
          <p:grpSpPr>
            <a:xfrm>
              <a:off x="991955" y="4114712"/>
              <a:ext cx="3569221" cy="574016"/>
              <a:chOff x="991955" y="4114712"/>
              <a:chExt cx="3569221" cy="574016"/>
            </a:xfrm>
          </p:grpSpPr>
          <p:sp>
            <p:nvSpPr>
              <p:cNvPr id="5" name="Rectangle: Rounded Corners 89">
                <a:extLst>
                  <a:ext uri="{FF2B5EF4-FFF2-40B4-BE49-F238E27FC236}">
                    <a16:creationId xmlns:a16="http://schemas.microsoft.com/office/drawing/2014/main" id="{142C8432-BC94-47D6-A5BB-58CDE72DFB15}"/>
                  </a:ext>
                </a:extLst>
              </p:cNvPr>
              <p:cNvSpPr/>
              <p:nvPr/>
            </p:nvSpPr>
            <p:spPr>
              <a:xfrm>
                <a:off x="991955" y="4114712"/>
                <a:ext cx="2031193" cy="574016"/>
              </a:xfrm>
              <a:prstGeom prst="roundRect">
                <a:avLst>
                  <a:gd name="adj" fmla="val 5000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FFFFFF"/>
                  </a:solidFill>
                  <a:effectLst/>
                  <a:uLnTx/>
                  <a:uFillTx/>
                  <a:latin typeface="等线" panose="020F0502020204030204"/>
                  <a:ea typeface="+mn-ea"/>
                  <a:cs typeface="+mn-cs"/>
                </a:endParaRPr>
              </a:p>
            </p:txBody>
          </p:sp>
          <p:cxnSp>
            <p:nvCxnSpPr>
              <p:cNvPr id="6" name="Connector: Elbow 68">
                <a:extLst>
                  <a:ext uri="{FF2B5EF4-FFF2-40B4-BE49-F238E27FC236}">
                    <a16:creationId xmlns:a16="http://schemas.microsoft.com/office/drawing/2014/main" id="{BE1897CF-36C2-4E09-90EC-A3B210366388}"/>
                  </a:ext>
                </a:extLst>
              </p:cNvPr>
              <p:cNvCxnSpPr>
                <a:cxnSpLocks/>
                <a:stCxn id="64" idx="1"/>
                <a:endCxn id="5" idx="3"/>
              </p:cNvCxnSpPr>
              <p:nvPr/>
            </p:nvCxnSpPr>
            <p:spPr>
              <a:xfrm rot="10800000">
                <a:off x="3023149" y="4401720"/>
                <a:ext cx="1538027" cy="73534"/>
              </a:xfrm>
              <a:prstGeom prst="bentConnector3">
                <a:avLst>
                  <a:gd name="adj1" fmla="val 50000"/>
                </a:avLst>
              </a:prstGeom>
              <a:ln>
                <a:solidFill>
                  <a:schemeClr val="accent2"/>
                </a:solidFill>
                <a:tailEnd type="triangle"/>
              </a:ln>
            </p:spPr>
            <p:style>
              <a:lnRef idx="1">
                <a:schemeClr val="accent1"/>
              </a:lnRef>
              <a:fillRef idx="0">
                <a:schemeClr val="accent1"/>
              </a:fillRef>
              <a:effectRef idx="0">
                <a:schemeClr val="accent1"/>
              </a:effectRef>
              <a:fontRef idx="minor">
                <a:schemeClr val="tx1"/>
              </a:fontRef>
            </p:style>
          </p:cxnSp>
        </p:grpSp>
        <p:sp>
          <p:nvSpPr>
            <p:cNvPr id="4" name="TextBox 77">
              <a:extLst>
                <a:ext uri="{FF2B5EF4-FFF2-40B4-BE49-F238E27FC236}">
                  <a16:creationId xmlns:a16="http://schemas.microsoft.com/office/drawing/2014/main" id="{CEBC31E4-BA35-4B99-89B0-615C8B382D82}"/>
                </a:ext>
              </a:extLst>
            </p:cNvPr>
            <p:cNvSpPr txBox="1"/>
            <p:nvPr/>
          </p:nvSpPr>
          <p:spPr>
            <a:xfrm>
              <a:off x="1147662" y="4247832"/>
              <a:ext cx="1719779"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等线 Light" panose="020F0302020204030204"/>
                  <a:ea typeface="+mn-ea"/>
                  <a:cs typeface="+mn-cs"/>
                </a:rPr>
                <a:t>Stem Internode</a:t>
              </a:r>
            </a:p>
          </p:txBody>
        </p:sp>
      </p:grpSp>
      <p:grpSp>
        <p:nvGrpSpPr>
          <p:cNvPr id="7" name="Group 62">
            <a:extLst>
              <a:ext uri="{FF2B5EF4-FFF2-40B4-BE49-F238E27FC236}">
                <a16:creationId xmlns:a16="http://schemas.microsoft.com/office/drawing/2014/main" id="{BDD30603-163D-4057-9B61-352FA7F8D980}"/>
              </a:ext>
            </a:extLst>
          </p:cNvPr>
          <p:cNvGrpSpPr/>
          <p:nvPr/>
        </p:nvGrpSpPr>
        <p:grpSpPr>
          <a:xfrm>
            <a:off x="312615" y="5048144"/>
            <a:ext cx="4278404" cy="574016"/>
            <a:chOff x="312615" y="5048144"/>
            <a:chExt cx="4278404" cy="574016"/>
          </a:xfrm>
        </p:grpSpPr>
        <p:sp>
          <p:nvSpPr>
            <p:cNvPr id="8" name="Rectangle: Rounded Corners 90">
              <a:extLst>
                <a:ext uri="{FF2B5EF4-FFF2-40B4-BE49-F238E27FC236}">
                  <a16:creationId xmlns:a16="http://schemas.microsoft.com/office/drawing/2014/main" id="{1C473858-C6AF-45E1-91F2-AC1B00A0698B}"/>
                </a:ext>
              </a:extLst>
            </p:cNvPr>
            <p:cNvSpPr/>
            <p:nvPr/>
          </p:nvSpPr>
          <p:spPr>
            <a:xfrm>
              <a:off x="566828" y="5048144"/>
              <a:ext cx="2031193" cy="574016"/>
            </a:xfrm>
            <a:prstGeom prst="roundRect">
              <a:avLst>
                <a:gd name="adj" fmla="val 5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FFFFFF"/>
                </a:solidFill>
                <a:effectLst/>
                <a:uLnTx/>
                <a:uFillTx/>
                <a:latin typeface="等线" panose="020F0502020204030204"/>
                <a:ea typeface="+mn-ea"/>
                <a:cs typeface="+mn-cs"/>
              </a:endParaRPr>
            </a:p>
          </p:txBody>
        </p:sp>
        <p:cxnSp>
          <p:nvCxnSpPr>
            <p:cNvPr id="9" name="Connector: Elbow 80">
              <a:extLst>
                <a:ext uri="{FF2B5EF4-FFF2-40B4-BE49-F238E27FC236}">
                  <a16:creationId xmlns:a16="http://schemas.microsoft.com/office/drawing/2014/main" id="{536A0063-3992-4F6D-B32A-A8D60AF8E860}"/>
                </a:ext>
              </a:extLst>
            </p:cNvPr>
            <p:cNvCxnSpPr>
              <a:cxnSpLocks/>
              <a:stCxn id="60" idx="4"/>
            </p:cNvCxnSpPr>
            <p:nvPr/>
          </p:nvCxnSpPr>
          <p:spPr>
            <a:xfrm rot="5400000" flipH="1">
              <a:off x="3649603" y="4477853"/>
              <a:ext cx="12940" cy="1869893"/>
            </a:xfrm>
            <a:prstGeom prst="bentConnector4">
              <a:avLst>
                <a:gd name="adj1" fmla="val 149699"/>
                <a:gd name="adj2" fmla="val 72724"/>
              </a:avLst>
            </a:prstGeom>
            <a:ln>
              <a:solidFill>
                <a:schemeClr val="accent2"/>
              </a:solidFill>
              <a:tailEnd type="triangle"/>
            </a:ln>
          </p:spPr>
          <p:style>
            <a:lnRef idx="1">
              <a:schemeClr val="accent1"/>
            </a:lnRef>
            <a:fillRef idx="0">
              <a:schemeClr val="accent1"/>
            </a:fillRef>
            <a:effectRef idx="0">
              <a:schemeClr val="accent1"/>
            </a:effectRef>
            <a:fontRef idx="minor">
              <a:schemeClr val="tx1"/>
            </a:fontRef>
          </p:style>
        </p:cxnSp>
        <p:sp>
          <p:nvSpPr>
            <p:cNvPr id="10" name="TextBox 81">
              <a:extLst>
                <a:ext uri="{FF2B5EF4-FFF2-40B4-BE49-F238E27FC236}">
                  <a16:creationId xmlns:a16="http://schemas.microsoft.com/office/drawing/2014/main" id="{58064EAC-34B4-4444-AE2E-C1D6476C0CF4}"/>
                </a:ext>
              </a:extLst>
            </p:cNvPr>
            <p:cNvSpPr txBox="1"/>
            <p:nvPr/>
          </p:nvSpPr>
          <p:spPr>
            <a:xfrm>
              <a:off x="312615" y="5181264"/>
              <a:ext cx="2539619"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等线 Light" panose="020F0302020204030204"/>
                  <a:ea typeface="+mn-ea"/>
                  <a:cs typeface="+mn-cs"/>
                </a:rPr>
                <a:t>Leaf Primordium</a:t>
              </a:r>
            </a:p>
          </p:txBody>
        </p:sp>
      </p:grpSp>
      <p:grpSp>
        <p:nvGrpSpPr>
          <p:cNvPr id="11" name="Group 65">
            <a:extLst>
              <a:ext uri="{FF2B5EF4-FFF2-40B4-BE49-F238E27FC236}">
                <a16:creationId xmlns:a16="http://schemas.microsoft.com/office/drawing/2014/main" id="{2AED9B00-A47E-4B66-A6FE-D9D4FD64324E}"/>
              </a:ext>
            </a:extLst>
          </p:cNvPr>
          <p:cNvGrpSpPr/>
          <p:nvPr/>
        </p:nvGrpSpPr>
        <p:grpSpPr>
          <a:xfrm>
            <a:off x="1219202" y="2210172"/>
            <a:ext cx="4469457" cy="615075"/>
            <a:chOff x="1219200" y="2210170"/>
            <a:chExt cx="4469457" cy="615075"/>
          </a:xfrm>
        </p:grpSpPr>
        <p:sp>
          <p:nvSpPr>
            <p:cNvPr id="12" name="Rectangle: Rounded Corners 84">
              <a:extLst>
                <a:ext uri="{FF2B5EF4-FFF2-40B4-BE49-F238E27FC236}">
                  <a16:creationId xmlns:a16="http://schemas.microsoft.com/office/drawing/2014/main" id="{B2E9384B-30DD-480F-A300-183870762DA6}"/>
                </a:ext>
              </a:extLst>
            </p:cNvPr>
            <p:cNvSpPr/>
            <p:nvPr/>
          </p:nvSpPr>
          <p:spPr>
            <a:xfrm>
              <a:off x="1219200" y="2210170"/>
              <a:ext cx="2031193" cy="574016"/>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FFFFFF"/>
                </a:solidFill>
                <a:effectLst/>
                <a:uLnTx/>
                <a:uFillTx/>
                <a:latin typeface="等线" panose="020F0502020204030204"/>
                <a:ea typeface="+mn-ea"/>
                <a:cs typeface="+mn-cs"/>
              </a:endParaRPr>
            </a:p>
          </p:txBody>
        </p:sp>
        <p:cxnSp>
          <p:nvCxnSpPr>
            <p:cNvPr id="13" name="Connector: Elbow 57">
              <a:extLst>
                <a:ext uri="{FF2B5EF4-FFF2-40B4-BE49-F238E27FC236}">
                  <a16:creationId xmlns:a16="http://schemas.microsoft.com/office/drawing/2014/main" id="{3B21152E-70C2-46E5-8CF4-86F55E9899CD}"/>
                </a:ext>
              </a:extLst>
            </p:cNvPr>
            <p:cNvCxnSpPr>
              <a:cxnSpLocks/>
              <a:stCxn id="69" idx="0"/>
              <a:endCxn id="12" idx="3"/>
            </p:cNvCxnSpPr>
            <p:nvPr/>
          </p:nvCxnSpPr>
          <p:spPr>
            <a:xfrm rot="16200000" flipV="1">
              <a:off x="4305492" y="1442080"/>
              <a:ext cx="328067" cy="2438263"/>
            </a:xfrm>
            <a:prstGeom prst="bentConnector2">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sp>
          <p:nvSpPr>
            <p:cNvPr id="14" name="TextBox 58">
              <a:extLst>
                <a:ext uri="{FF2B5EF4-FFF2-40B4-BE49-F238E27FC236}">
                  <a16:creationId xmlns:a16="http://schemas.microsoft.com/office/drawing/2014/main" id="{2E7230C0-47F7-4419-A30D-66EB33D6564F}"/>
                </a:ext>
              </a:extLst>
            </p:cNvPr>
            <p:cNvSpPr txBox="1"/>
            <p:nvPr/>
          </p:nvSpPr>
          <p:spPr>
            <a:xfrm>
              <a:off x="1428011" y="2343290"/>
              <a:ext cx="1613571"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等线 Light" panose="020F0302020204030204"/>
                  <a:ea typeface="+mn-ea"/>
                  <a:cs typeface="+mn-cs"/>
                </a:rPr>
                <a:t>Epidermis</a:t>
              </a:r>
            </a:p>
          </p:txBody>
        </p:sp>
      </p:grpSp>
      <p:grpSp>
        <p:nvGrpSpPr>
          <p:cNvPr id="15" name="Group 63">
            <a:extLst>
              <a:ext uri="{FF2B5EF4-FFF2-40B4-BE49-F238E27FC236}">
                <a16:creationId xmlns:a16="http://schemas.microsoft.com/office/drawing/2014/main" id="{CB1EAB72-6563-4A38-BF51-A85D9F95A1A5}"/>
              </a:ext>
            </a:extLst>
          </p:cNvPr>
          <p:cNvGrpSpPr/>
          <p:nvPr/>
        </p:nvGrpSpPr>
        <p:grpSpPr>
          <a:xfrm>
            <a:off x="1219200" y="3257700"/>
            <a:ext cx="3666013" cy="574016"/>
            <a:chOff x="1219200" y="3257700"/>
            <a:chExt cx="3666013" cy="574016"/>
          </a:xfrm>
        </p:grpSpPr>
        <p:sp>
          <p:nvSpPr>
            <p:cNvPr id="16" name="Rectangle: Rounded Corners 87">
              <a:extLst>
                <a:ext uri="{FF2B5EF4-FFF2-40B4-BE49-F238E27FC236}">
                  <a16:creationId xmlns:a16="http://schemas.microsoft.com/office/drawing/2014/main" id="{1CC1CBF6-C8D5-4A39-9747-FB159F4E5597}"/>
                </a:ext>
              </a:extLst>
            </p:cNvPr>
            <p:cNvSpPr/>
            <p:nvPr/>
          </p:nvSpPr>
          <p:spPr>
            <a:xfrm>
              <a:off x="1219200" y="3257700"/>
              <a:ext cx="2031193" cy="574016"/>
            </a:xfrm>
            <a:prstGeom prst="roundRect">
              <a:avLst>
                <a:gd name="adj" fmla="val 5000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FFFFFF"/>
                </a:solidFill>
                <a:effectLst/>
                <a:uLnTx/>
                <a:uFillTx/>
                <a:latin typeface="等线" panose="020F0502020204030204"/>
                <a:ea typeface="+mn-ea"/>
                <a:cs typeface="+mn-cs"/>
              </a:endParaRPr>
            </a:p>
          </p:txBody>
        </p:sp>
        <p:cxnSp>
          <p:nvCxnSpPr>
            <p:cNvPr id="17" name="Connector: Elbow 60">
              <a:extLst>
                <a:ext uri="{FF2B5EF4-FFF2-40B4-BE49-F238E27FC236}">
                  <a16:creationId xmlns:a16="http://schemas.microsoft.com/office/drawing/2014/main" id="{FFDF1578-729B-451D-86F2-1721777C38A9}"/>
                </a:ext>
              </a:extLst>
            </p:cNvPr>
            <p:cNvCxnSpPr>
              <a:cxnSpLocks/>
              <a:stCxn id="66" idx="1"/>
              <a:endCxn id="16" idx="3"/>
            </p:cNvCxnSpPr>
            <p:nvPr/>
          </p:nvCxnSpPr>
          <p:spPr>
            <a:xfrm rot="16200000" flipH="1" flipV="1">
              <a:off x="4017590" y="2677085"/>
              <a:ext cx="100425" cy="1634820"/>
            </a:xfrm>
            <a:prstGeom prst="bentConnector4">
              <a:avLst>
                <a:gd name="adj1" fmla="val -227633"/>
                <a:gd name="adj2" fmla="val 52887"/>
              </a:avLst>
            </a:prstGeom>
            <a:ln>
              <a:solidFill>
                <a:schemeClr val="accent3">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8" name="TextBox 64">
              <a:extLst>
                <a:ext uri="{FF2B5EF4-FFF2-40B4-BE49-F238E27FC236}">
                  <a16:creationId xmlns:a16="http://schemas.microsoft.com/office/drawing/2014/main" id="{44400035-4183-4203-AC35-A4199A958DD3}"/>
                </a:ext>
              </a:extLst>
            </p:cNvPr>
            <p:cNvSpPr txBox="1"/>
            <p:nvPr/>
          </p:nvSpPr>
          <p:spPr>
            <a:xfrm>
              <a:off x="1428011" y="3390820"/>
              <a:ext cx="1613571"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等线 Light" panose="020F0302020204030204"/>
                  <a:ea typeface="+mn-ea"/>
                  <a:cs typeface="+mn-cs"/>
                </a:rPr>
                <a:t>Cortex</a:t>
              </a:r>
            </a:p>
          </p:txBody>
        </p:sp>
      </p:grpSp>
      <p:grpSp>
        <p:nvGrpSpPr>
          <p:cNvPr id="19" name="Group 78">
            <a:extLst>
              <a:ext uri="{FF2B5EF4-FFF2-40B4-BE49-F238E27FC236}">
                <a16:creationId xmlns:a16="http://schemas.microsoft.com/office/drawing/2014/main" id="{BD0FBE54-A79C-428E-835F-226475419037}"/>
              </a:ext>
            </a:extLst>
          </p:cNvPr>
          <p:cNvGrpSpPr/>
          <p:nvPr/>
        </p:nvGrpSpPr>
        <p:grpSpPr>
          <a:xfrm>
            <a:off x="3390900" y="2006691"/>
            <a:ext cx="5410200" cy="3712503"/>
            <a:chOff x="3390900" y="2006689"/>
            <a:chExt cx="5410200" cy="3712503"/>
          </a:xfrm>
        </p:grpSpPr>
        <p:sp>
          <p:nvSpPr>
            <p:cNvPr id="20" name="Freeform 9">
              <a:extLst>
                <a:ext uri="{FF2B5EF4-FFF2-40B4-BE49-F238E27FC236}">
                  <a16:creationId xmlns:a16="http://schemas.microsoft.com/office/drawing/2014/main" id="{2C8DA849-3802-4B98-94E3-94D5687EF4E6}"/>
                </a:ext>
              </a:extLst>
            </p:cNvPr>
            <p:cNvSpPr>
              <a:spLocks/>
            </p:cNvSpPr>
            <p:nvPr/>
          </p:nvSpPr>
          <p:spPr bwMode="auto">
            <a:xfrm>
              <a:off x="6478208" y="2883252"/>
              <a:ext cx="273281" cy="430547"/>
            </a:xfrm>
            <a:custGeom>
              <a:avLst/>
              <a:gdLst>
                <a:gd name="T0" fmla="*/ 70 w 142"/>
                <a:gd name="T1" fmla="*/ 11 h 223"/>
                <a:gd name="T2" fmla="*/ 116 w 142"/>
                <a:gd name="T3" fmla="*/ 73 h 223"/>
                <a:gd name="T4" fmla="*/ 141 w 142"/>
                <a:gd name="T5" fmla="*/ 146 h 223"/>
                <a:gd name="T6" fmla="*/ 127 w 142"/>
                <a:gd name="T7" fmla="*/ 199 h 223"/>
                <a:gd name="T8" fmla="*/ 79 w 142"/>
                <a:gd name="T9" fmla="*/ 219 h 223"/>
                <a:gd name="T10" fmla="*/ 68 w 142"/>
                <a:gd name="T11" fmla="*/ 54 h 223"/>
                <a:gd name="T12" fmla="*/ 64 w 142"/>
                <a:gd name="T13" fmla="*/ 209 h 223"/>
                <a:gd name="T14" fmla="*/ 61 w 142"/>
                <a:gd name="T15" fmla="*/ 213 h 223"/>
                <a:gd name="T16" fmla="*/ 56 w 142"/>
                <a:gd name="T17" fmla="*/ 213 h 223"/>
                <a:gd name="T18" fmla="*/ 6 w 142"/>
                <a:gd name="T19" fmla="*/ 154 h 223"/>
                <a:gd name="T20" fmla="*/ 12 w 142"/>
                <a:gd name="T21" fmla="*/ 75 h 223"/>
                <a:gd name="T22" fmla="*/ 25 w 142"/>
                <a:gd name="T23" fmla="*/ 47 h 223"/>
                <a:gd name="T24" fmla="*/ 51 w 142"/>
                <a:gd name="T25" fmla="*/ 21 h 223"/>
                <a:gd name="T26" fmla="*/ 61 w 142"/>
                <a:gd name="T27" fmla="*/ 0 h 223"/>
                <a:gd name="T28" fmla="*/ 70 w 142"/>
                <a:gd name="T29" fmla="*/ 11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2" h="223">
                  <a:moveTo>
                    <a:pt x="70" y="11"/>
                  </a:moveTo>
                  <a:cubicBezTo>
                    <a:pt x="86" y="31"/>
                    <a:pt x="103" y="51"/>
                    <a:pt x="116" y="73"/>
                  </a:cubicBezTo>
                  <a:cubicBezTo>
                    <a:pt x="130" y="95"/>
                    <a:pt x="139" y="120"/>
                    <a:pt x="141" y="146"/>
                  </a:cubicBezTo>
                  <a:cubicBezTo>
                    <a:pt x="142" y="164"/>
                    <a:pt x="138" y="184"/>
                    <a:pt x="127" y="199"/>
                  </a:cubicBezTo>
                  <a:cubicBezTo>
                    <a:pt x="116" y="213"/>
                    <a:pt x="97" y="223"/>
                    <a:pt x="79" y="219"/>
                  </a:cubicBezTo>
                  <a:cubicBezTo>
                    <a:pt x="91" y="172"/>
                    <a:pt x="89" y="98"/>
                    <a:pt x="68" y="54"/>
                  </a:cubicBezTo>
                  <a:cubicBezTo>
                    <a:pt x="80" y="96"/>
                    <a:pt x="70" y="165"/>
                    <a:pt x="64" y="209"/>
                  </a:cubicBezTo>
                  <a:cubicBezTo>
                    <a:pt x="63" y="210"/>
                    <a:pt x="63" y="213"/>
                    <a:pt x="61" y="213"/>
                  </a:cubicBezTo>
                  <a:cubicBezTo>
                    <a:pt x="60" y="214"/>
                    <a:pt x="58" y="214"/>
                    <a:pt x="56" y="213"/>
                  </a:cubicBezTo>
                  <a:cubicBezTo>
                    <a:pt x="31" y="204"/>
                    <a:pt x="13" y="180"/>
                    <a:pt x="6" y="154"/>
                  </a:cubicBezTo>
                  <a:cubicBezTo>
                    <a:pt x="0" y="128"/>
                    <a:pt x="3" y="100"/>
                    <a:pt x="12" y="75"/>
                  </a:cubicBezTo>
                  <a:cubicBezTo>
                    <a:pt x="15" y="65"/>
                    <a:pt x="19" y="55"/>
                    <a:pt x="25" y="47"/>
                  </a:cubicBezTo>
                  <a:cubicBezTo>
                    <a:pt x="33" y="38"/>
                    <a:pt x="43" y="31"/>
                    <a:pt x="51" y="21"/>
                  </a:cubicBezTo>
                  <a:cubicBezTo>
                    <a:pt x="59" y="12"/>
                    <a:pt x="61" y="0"/>
                    <a:pt x="61" y="0"/>
                  </a:cubicBezTo>
                  <a:cubicBezTo>
                    <a:pt x="61" y="0"/>
                    <a:pt x="65" y="5"/>
                    <a:pt x="70" y="11"/>
                  </a:cubicBezTo>
                </a:path>
              </a:pathLst>
            </a:custGeom>
            <a:solidFill>
              <a:schemeClr val="accent6">
                <a:lumMod val="60000"/>
                <a:lumOff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grpSp>
          <p:nvGrpSpPr>
            <p:cNvPr id="21" name="Group 2">
              <a:extLst>
                <a:ext uri="{FF2B5EF4-FFF2-40B4-BE49-F238E27FC236}">
                  <a16:creationId xmlns:a16="http://schemas.microsoft.com/office/drawing/2014/main" id="{3DA028DD-B286-46FF-B467-DFA9B53F7B7C}"/>
                </a:ext>
              </a:extLst>
            </p:cNvPr>
            <p:cNvGrpSpPr/>
            <p:nvPr/>
          </p:nvGrpSpPr>
          <p:grpSpPr>
            <a:xfrm>
              <a:off x="5717660" y="2006689"/>
              <a:ext cx="788907" cy="613594"/>
              <a:chOff x="5717660" y="2006689"/>
              <a:chExt cx="788907" cy="613594"/>
            </a:xfrm>
          </p:grpSpPr>
          <p:sp>
            <p:nvSpPr>
              <p:cNvPr id="43" name="Freeform 7">
                <a:extLst>
                  <a:ext uri="{FF2B5EF4-FFF2-40B4-BE49-F238E27FC236}">
                    <a16:creationId xmlns:a16="http://schemas.microsoft.com/office/drawing/2014/main" id="{67C92D3C-7DEE-4954-A622-42804E663B1C}"/>
                  </a:ext>
                </a:extLst>
              </p:cNvPr>
              <p:cNvSpPr>
                <a:spLocks/>
              </p:cNvSpPr>
              <p:nvPr/>
            </p:nvSpPr>
            <p:spPr bwMode="auto">
              <a:xfrm>
                <a:off x="5717660" y="2049228"/>
                <a:ext cx="269415" cy="436993"/>
              </a:xfrm>
              <a:custGeom>
                <a:avLst/>
                <a:gdLst>
                  <a:gd name="T0" fmla="*/ 52 w 139"/>
                  <a:gd name="T1" fmla="*/ 12 h 226"/>
                  <a:gd name="T2" fmla="*/ 15 w 139"/>
                  <a:gd name="T3" fmla="*/ 81 h 226"/>
                  <a:gd name="T4" fmla="*/ 2 w 139"/>
                  <a:gd name="T5" fmla="*/ 156 h 226"/>
                  <a:gd name="T6" fmla="*/ 24 w 139"/>
                  <a:gd name="T7" fmla="*/ 206 h 226"/>
                  <a:gd name="T8" fmla="*/ 75 w 139"/>
                  <a:gd name="T9" fmla="*/ 219 h 226"/>
                  <a:gd name="T10" fmla="*/ 60 w 139"/>
                  <a:gd name="T11" fmla="*/ 55 h 226"/>
                  <a:gd name="T12" fmla="*/ 88 w 139"/>
                  <a:gd name="T13" fmla="*/ 206 h 226"/>
                  <a:gd name="T14" fmla="*/ 91 w 139"/>
                  <a:gd name="T15" fmla="*/ 211 h 226"/>
                  <a:gd name="T16" fmla="*/ 96 w 139"/>
                  <a:gd name="T17" fmla="*/ 210 h 226"/>
                  <a:gd name="T18" fmla="*/ 137 w 139"/>
                  <a:gd name="T19" fmla="*/ 144 h 226"/>
                  <a:gd name="T20" fmla="*/ 119 w 139"/>
                  <a:gd name="T21" fmla="*/ 66 h 226"/>
                  <a:gd name="T22" fmla="*/ 101 w 139"/>
                  <a:gd name="T23" fmla="*/ 41 h 226"/>
                  <a:gd name="T24" fmla="*/ 72 w 139"/>
                  <a:gd name="T25" fmla="*/ 20 h 226"/>
                  <a:gd name="T26" fmla="*/ 59 w 139"/>
                  <a:gd name="T27" fmla="*/ 0 h 226"/>
                  <a:gd name="T28" fmla="*/ 52 w 139"/>
                  <a:gd name="T29" fmla="*/ 12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9" h="226">
                    <a:moveTo>
                      <a:pt x="52" y="12"/>
                    </a:moveTo>
                    <a:cubicBezTo>
                      <a:pt x="38" y="34"/>
                      <a:pt x="25" y="56"/>
                      <a:pt x="15" y="81"/>
                    </a:cubicBezTo>
                    <a:cubicBezTo>
                      <a:pt x="6" y="105"/>
                      <a:pt x="0" y="131"/>
                      <a:pt x="2" y="156"/>
                    </a:cubicBezTo>
                    <a:cubicBezTo>
                      <a:pt x="4" y="175"/>
                      <a:pt x="11" y="193"/>
                      <a:pt x="24" y="206"/>
                    </a:cubicBezTo>
                    <a:cubicBezTo>
                      <a:pt x="37" y="219"/>
                      <a:pt x="57" y="226"/>
                      <a:pt x="75" y="219"/>
                    </a:cubicBezTo>
                    <a:cubicBezTo>
                      <a:pt x="56" y="175"/>
                      <a:pt x="46" y="101"/>
                      <a:pt x="60" y="55"/>
                    </a:cubicBezTo>
                    <a:cubicBezTo>
                      <a:pt x="54" y="98"/>
                      <a:pt x="75" y="164"/>
                      <a:pt x="88" y="206"/>
                    </a:cubicBezTo>
                    <a:cubicBezTo>
                      <a:pt x="89" y="208"/>
                      <a:pt x="90" y="210"/>
                      <a:pt x="91" y="211"/>
                    </a:cubicBezTo>
                    <a:cubicBezTo>
                      <a:pt x="93" y="211"/>
                      <a:pt x="95" y="211"/>
                      <a:pt x="96" y="210"/>
                    </a:cubicBezTo>
                    <a:cubicBezTo>
                      <a:pt x="120" y="197"/>
                      <a:pt x="134" y="170"/>
                      <a:pt x="137" y="144"/>
                    </a:cubicBezTo>
                    <a:cubicBezTo>
                      <a:pt x="139" y="117"/>
                      <a:pt x="131" y="90"/>
                      <a:pt x="119" y="66"/>
                    </a:cubicBezTo>
                    <a:cubicBezTo>
                      <a:pt x="114" y="57"/>
                      <a:pt x="109" y="48"/>
                      <a:pt x="101" y="41"/>
                    </a:cubicBezTo>
                    <a:cubicBezTo>
                      <a:pt x="92" y="33"/>
                      <a:pt x="81" y="27"/>
                      <a:pt x="72" y="20"/>
                    </a:cubicBezTo>
                    <a:cubicBezTo>
                      <a:pt x="62" y="12"/>
                      <a:pt x="59" y="0"/>
                      <a:pt x="59" y="0"/>
                    </a:cubicBezTo>
                    <a:cubicBezTo>
                      <a:pt x="58" y="0"/>
                      <a:pt x="55" y="5"/>
                      <a:pt x="52" y="12"/>
                    </a:cubicBezTo>
                  </a:path>
                </a:pathLst>
              </a:custGeom>
              <a:solidFill>
                <a:schemeClr val="accent6">
                  <a:lumMod val="60000"/>
                  <a:lumOff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44" name="Freeform 8">
                <a:extLst>
                  <a:ext uri="{FF2B5EF4-FFF2-40B4-BE49-F238E27FC236}">
                    <a16:creationId xmlns:a16="http://schemas.microsoft.com/office/drawing/2014/main" id="{EC627210-A778-4211-BB76-43ECBE74F66F}"/>
                  </a:ext>
                </a:extLst>
              </p:cNvPr>
              <p:cNvSpPr>
                <a:spLocks/>
              </p:cNvSpPr>
              <p:nvPr/>
            </p:nvSpPr>
            <p:spPr bwMode="auto">
              <a:xfrm>
                <a:off x="6127582" y="2006689"/>
                <a:ext cx="378985" cy="613594"/>
              </a:xfrm>
              <a:custGeom>
                <a:avLst/>
                <a:gdLst>
                  <a:gd name="T0" fmla="*/ 73 w 196"/>
                  <a:gd name="T1" fmla="*/ 17 h 318"/>
                  <a:gd name="T2" fmla="*/ 21 w 196"/>
                  <a:gd name="T3" fmla="*/ 114 h 318"/>
                  <a:gd name="T4" fmla="*/ 3 w 196"/>
                  <a:gd name="T5" fmla="*/ 221 h 318"/>
                  <a:gd name="T6" fmla="*/ 33 w 196"/>
                  <a:gd name="T7" fmla="*/ 291 h 318"/>
                  <a:gd name="T8" fmla="*/ 105 w 196"/>
                  <a:gd name="T9" fmla="*/ 309 h 318"/>
                  <a:gd name="T10" fmla="*/ 85 w 196"/>
                  <a:gd name="T11" fmla="*/ 77 h 318"/>
                  <a:gd name="T12" fmla="*/ 124 w 196"/>
                  <a:gd name="T13" fmla="*/ 291 h 318"/>
                  <a:gd name="T14" fmla="*/ 128 w 196"/>
                  <a:gd name="T15" fmla="*/ 297 h 318"/>
                  <a:gd name="T16" fmla="*/ 135 w 196"/>
                  <a:gd name="T17" fmla="*/ 296 h 318"/>
                  <a:gd name="T18" fmla="*/ 192 w 196"/>
                  <a:gd name="T19" fmla="*/ 202 h 318"/>
                  <a:gd name="T20" fmla="*/ 167 w 196"/>
                  <a:gd name="T21" fmla="*/ 93 h 318"/>
                  <a:gd name="T22" fmla="*/ 142 w 196"/>
                  <a:gd name="T23" fmla="*/ 58 h 318"/>
                  <a:gd name="T24" fmla="*/ 101 w 196"/>
                  <a:gd name="T25" fmla="*/ 28 h 318"/>
                  <a:gd name="T26" fmla="*/ 83 w 196"/>
                  <a:gd name="T27" fmla="*/ 0 h 318"/>
                  <a:gd name="T28" fmla="*/ 73 w 196"/>
                  <a:gd name="T29" fmla="*/ 17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96" h="318">
                    <a:moveTo>
                      <a:pt x="73" y="17"/>
                    </a:moveTo>
                    <a:cubicBezTo>
                      <a:pt x="54" y="49"/>
                      <a:pt x="35" y="80"/>
                      <a:pt x="21" y="114"/>
                    </a:cubicBezTo>
                    <a:cubicBezTo>
                      <a:pt x="8" y="148"/>
                      <a:pt x="0" y="184"/>
                      <a:pt x="3" y="221"/>
                    </a:cubicBezTo>
                    <a:cubicBezTo>
                      <a:pt x="6" y="246"/>
                      <a:pt x="15" y="272"/>
                      <a:pt x="33" y="291"/>
                    </a:cubicBezTo>
                    <a:cubicBezTo>
                      <a:pt x="52" y="309"/>
                      <a:pt x="80" y="318"/>
                      <a:pt x="105" y="309"/>
                    </a:cubicBezTo>
                    <a:cubicBezTo>
                      <a:pt x="79" y="246"/>
                      <a:pt x="64" y="142"/>
                      <a:pt x="85" y="77"/>
                    </a:cubicBezTo>
                    <a:cubicBezTo>
                      <a:pt x="76" y="138"/>
                      <a:pt x="106" y="232"/>
                      <a:pt x="124" y="291"/>
                    </a:cubicBezTo>
                    <a:cubicBezTo>
                      <a:pt x="125" y="293"/>
                      <a:pt x="126" y="296"/>
                      <a:pt x="128" y="297"/>
                    </a:cubicBezTo>
                    <a:cubicBezTo>
                      <a:pt x="131" y="298"/>
                      <a:pt x="133" y="297"/>
                      <a:pt x="135" y="296"/>
                    </a:cubicBezTo>
                    <a:cubicBezTo>
                      <a:pt x="169" y="278"/>
                      <a:pt x="189" y="240"/>
                      <a:pt x="192" y="202"/>
                    </a:cubicBezTo>
                    <a:cubicBezTo>
                      <a:pt x="196" y="165"/>
                      <a:pt x="184" y="127"/>
                      <a:pt x="167" y="93"/>
                    </a:cubicBezTo>
                    <a:cubicBezTo>
                      <a:pt x="160" y="80"/>
                      <a:pt x="153" y="68"/>
                      <a:pt x="142" y="58"/>
                    </a:cubicBezTo>
                    <a:cubicBezTo>
                      <a:pt x="130" y="46"/>
                      <a:pt x="114" y="39"/>
                      <a:pt x="101" y="28"/>
                    </a:cubicBezTo>
                    <a:cubicBezTo>
                      <a:pt x="87" y="17"/>
                      <a:pt x="83" y="0"/>
                      <a:pt x="83" y="0"/>
                    </a:cubicBezTo>
                    <a:cubicBezTo>
                      <a:pt x="82" y="1"/>
                      <a:pt x="78" y="8"/>
                      <a:pt x="73" y="17"/>
                    </a:cubicBezTo>
                  </a:path>
                </a:pathLst>
              </a:custGeom>
              <a:solidFill>
                <a:schemeClr val="accent6">
                  <a:lumMod val="60000"/>
                  <a:lumOff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grpSp>
        <p:sp>
          <p:nvSpPr>
            <p:cNvPr id="22" name="Freeform 5">
              <a:extLst>
                <a:ext uri="{FF2B5EF4-FFF2-40B4-BE49-F238E27FC236}">
                  <a16:creationId xmlns:a16="http://schemas.microsoft.com/office/drawing/2014/main" id="{71D45D76-692A-48E5-AF81-E0FCF73BFDE2}"/>
                </a:ext>
              </a:extLst>
            </p:cNvPr>
            <p:cNvSpPr>
              <a:spLocks/>
            </p:cNvSpPr>
            <p:nvPr/>
          </p:nvSpPr>
          <p:spPr bwMode="auto">
            <a:xfrm>
              <a:off x="6587778" y="2327666"/>
              <a:ext cx="317110" cy="377696"/>
            </a:xfrm>
            <a:custGeom>
              <a:avLst/>
              <a:gdLst>
                <a:gd name="T0" fmla="*/ 138 w 164"/>
                <a:gd name="T1" fmla="*/ 6 h 196"/>
                <a:gd name="T2" fmla="*/ 69 w 164"/>
                <a:gd name="T3" fmla="*/ 41 h 196"/>
                <a:gd name="T4" fmla="*/ 14 w 164"/>
                <a:gd name="T5" fmla="*/ 95 h 196"/>
                <a:gd name="T6" fmla="*/ 3 w 164"/>
                <a:gd name="T7" fmla="*/ 148 h 196"/>
                <a:gd name="T8" fmla="*/ 36 w 164"/>
                <a:gd name="T9" fmla="*/ 188 h 196"/>
                <a:gd name="T10" fmla="*/ 121 w 164"/>
                <a:gd name="T11" fmla="*/ 46 h 196"/>
                <a:gd name="T12" fmla="*/ 55 w 164"/>
                <a:gd name="T13" fmla="*/ 185 h 196"/>
                <a:gd name="T14" fmla="*/ 55 w 164"/>
                <a:gd name="T15" fmla="*/ 191 h 196"/>
                <a:gd name="T16" fmla="*/ 60 w 164"/>
                <a:gd name="T17" fmla="*/ 193 h 196"/>
                <a:gd name="T18" fmla="*/ 131 w 164"/>
                <a:gd name="T19" fmla="*/ 162 h 196"/>
                <a:gd name="T20" fmla="*/ 161 w 164"/>
                <a:gd name="T21" fmla="*/ 89 h 196"/>
                <a:gd name="T22" fmla="*/ 162 w 164"/>
                <a:gd name="T23" fmla="*/ 58 h 196"/>
                <a:gd name="T24" fmla="*/ 150 w 164"/>
                <a:gd name="T25" fmla="*/ 24 h 196"/>
                <a:gd name="T26" fmla="*/ 151 w 164"/>
                <a:gd name="T27" fmla="*/ 0 h 196"/>
                <a:gd name="T28" fmla="*/ 138 w 164"/>
                <a:gd name="T29" fmla="*/ 6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4" h="196">
                  <a:moveTo>
                    <a:pt x="138" y="6"/>
                  </a:moveTo>
                  <a:cubicBezTo>
                    <a:pt x="115" y="16"/>
                    <a:pt x="91" y="27"/>
                    <a:pt x="69" y="41"/>
                  </a:cubicBezTo>
                  <a:cubicBezTo>
                    <a:pt x="47" y="54"/>
                    <a:pt x="27" y="72"/>
                    <a:pt x="14" y="95"/>
                  </a:cubicBezTo>
                  <a:cubicBezTo>
                    <a:pt x="5" y="111"/>
                    <a:pt x="0" y="130"/>
                    <a:pt x="3" y="148"/>
                  </a:cubicBezTo>
                  <a:cubicBezTo>
                    <a:pt x="6" y="166"/>
                    <a:pt x="19" y="183"/>
                    <a:pt x="36" y="188"/>
                  </a:cubicBezTo>
                  <a:cubicBezTo>
                    <a:pt x="47" y="141"/>
                    <a:pt x="82" y="75"/>
                    <a:pt x="121" y="46"/>
                  </a:cubicBezTo>
                  <a:cubicBezTo>
                    <a:pt x="90" y="78"/>
                    <a:pt x="69" y="144"/>
                    <a:pt x="55" y="185"/>
                  </a:cubicBezTo>
                  <a:cubicBezTo>
                    <a:pt x="55" y="187"/>
                    <a:pt x="54" y="189"/>
                    <a:pt x="55" y="191"/>
                  </a:cubicBezTo>
                  <a:cubicBezTo>
                    <a:pt x="56" y="192"/>
                    <a:pt x="58" y="193"/>
                    <a:pt x="60" y="193"/>
                  </a:cubicBezTo>
                  <a:cubicBezTo>
                    <a:pt x="86" y="196"/>
                    <a:pt x="113" y="183"/>
                    <a:pt x="131" y="162"/>
                  </a:cubicBezTo>
                  <a:cubicBezTo>
                    <a:pt x="149" y="142"/>
                    <a:pt x="157" y="115"/>
                    <a:pt x="161" y="89"/>
                  </a:cubicBezTo>
                  <a:cubicBezTo>
                    <a:pt x="163" y="79"/>
                    <a:pt x="164" y="68"/>
                    <a:pt x="162" y="58"/>
                  </a:cubicBezTo>
                  <a:cubicBezTo>
                    <a:pt x="159" y="46"/>
                    <a:pt x="153" y="35"/>
                    <a:pt x="150" y="24"/>
                  </a:cubicBezTo>
                  <a:cubicBezTo>
                    <a:pt x="147" y="12"/>
                    <a:pt x="151" y="0"/>
                    <a:pt x="151" y="0"/>
                  </a:cubicBezTo>
                  <a:cubicBezTo>
                    <a:pt x="150" y="0"/>
                    <a:pt x="145" y="3"/>
                    <a:pt x="138" y="6"/>
                  </a:cubicBezTo>
                </a:path>
              </a:pathLst>
            </a:custGeom>
            <a:solidFill>
              <a:schemeClr val="accent6">
                <a:lumMod val="60000"/>
                <a:lumOff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23" name="Freeform 6">
              <a:extLst>
                <a:ext uri="{FF2B5EF4-FFF2-40B4-BE49-F238E27FC236}">
                  <a16:creationId xmlns:a16="http://schemas.microsoft.com/office/drawing/2014/main" id="{B7A4CE9C-824D-47EB-BCCC-BC78E93F3AAE}"/>
                </a:ext>
              </a:extLst>
            </p:cNvPr>
            <p:cNvSpPr>
              <a:spLocks/>
            </p:cNvSpPr>
            <p:nvPr/>
          </p:nvSpPr>
          <p:spPr bwMode="auto">
            <a:xfrm>
              <a:off x="6944849" y="2308330"/>
              <a:ext cx="447305" cy="532384"/>
            </a:xfrm>
            <a:custGeom>
              <a:avLst/>
              <a:gdLst>
                <a:gd name="T0" fmla="*/ 195 w 231"/>
                <a:gd name="T1" fmla="*/ 8 h 276"/>
                <a:gd name="T2" fmla="*/ 97 w 231"/>
                <a:gd name="T3" fmla="*/ 57 h 276"/>
                <a:gd name="T4" fmla="*/ 20 w 231"/>
                <a:gd name="T5" fmla="*/ 133 h 276"/>
                <a:gd name="T6" fmla="*/ 4 w 231"/>
                <a:gd name="T7" fmla="*/ 208 h 276"/>
                <a:gd name="T8" fmla="*/ 51 w 231"/>
                <a:gd name="T9" fmla="*/ 264 h 276"/>
                <a:gd name="T10" fmla="*/ 170 w 231"/>
                <a:gd name="T11" fmla="*/ 64 h 276"/>
                <a:gd name="T12" fmla="*/ 78 w 231"/>
                <a:gd name="T13" fmla="*/ 261 h 276"/>
                <a:gd name="T14" fmla="*/ 78 w 231"/>
                <a:gd name="T15" fmla="*/ 268 h 276"/>
                <a:gd name="T16" fmla="*/ 84 w 231"/>
                <a:gd name="T17" fmla="*/ 271 h 276"/>
                <a:gd name="T18" fmla="*/ 185 w 231"/>
                <a:gd name="T19" fmla="*/ 228 h 276"/>
                <a:gd name="T20" fmla="*/ 227 w 231"/>
                <a:gd name="T21" fmla="*/ 125 h 276"/>
                <a:gd name="T22" fmla="*/ 228 w 231"/>
                <a:gd name="T23" fmla="*/ 82 h 276"/>
                <a:gd name="T24" fmla="*/ 211 w 231"/>
                <a:gd name="T25" fmla="*/ 33 h 276"/>
                <a:gd name="T26" fmla="*/ 213 w 231"/>
                <a:gd name="T27" fmla="*/ 1 h 276"/>
                <a:gd name="T28" fmla="*/ 195 w 231"/>
                <a:gd name="T29" fmla="*/ 8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1" h="276">
                  <a:moveTo>
                    <a:pt x="195" y="8"/>
                  </a:moveTo>
                  <a:cubicBezTo>
                    <a:pt x="161" y="23"/>
                    <a:pt x="128" y="37"/>
                    <a:pt x="97" y="57"/>
                  </a:cubicBezTo>
                  <a:cubicBezTo>
                    <a:pt x="66" y="77"/>
                    <a:pt x="38" y="102"/>
                    <a:pt x="20" y="133"/>
                  </a:cubicBezTo>
                  <a:cubicBezTo>
                    <a:pt x="7" y="156"/>
                    <a:pt x="0" y="182"/>
                    <a:pt x="4" y="208"/>
                  </a:cubicBezTo>
                  <a:cubicBezTo>
                    <a:pt x="8" y="233"/>
                    <a:pt x="26" y="258"/>
                    <a:pt x="51" y="264"/>
                  </a:cubicBezTo>
                  <a:cubicBezTo>
                    <a:pt x="67" y="198"/>
                    <a:pt x="115" y="105"/>
                    <a:pt x="170" y="64"/>
                  </a:cubicBezTo>
                  <a:cubicBezTo>
                    <a:pt x="127" y="109"/>
                    <a:pt x="98" y="202"/>
                    <a:pt x="78" y="261"/>
                  </a:cubicBezTo>
                  <a:cubicBezTo>
                    <a:pt x="77" y="263"/>
                    <a:pt x="76" y="266"/>
                    <a:pt x="78" y="268"/>
                  </a:cubicBezTo>
                  <a:cubicBezTo>
                    <a:pt x="79" y="270"/>
                    <a:pt x="82" y="271"/>
                    <a:pt x="84" y="271"/>
                  </a:cubicBezTo>
                  <a:cubicBezTo>
                    <a:pt x="122" y="276"/>
                    <a:pt x="160" y="257"/>
                    <a:pt x="185" y="228"/>
                  </a:cubicBezTo>
                  <a:cubicBezTo>
                    <a:pt x="209" y="200"/>
                    <a:pt x="222" y="162"/>
                    <a:pt x="227" y="125"/>
                  </a:cubicBezTo>
                  <a:cubicBezTo>
                    <a:pt x="229" y="111"/>
                    <a:pt x="231" y="96"/>
                    <a:pt x="228" y="82"/>
                  </a:cubicBezTo>
                  <a:cubicBezTo>
                    <a:pt x="225" y="65"/>
                    <a:pt x="216" y="50"/>
                    <a:pt x="211" y="33"/>
                  </a:cubicBezTo>
                  <a:cubicBezTo>
                    <a:pt x="207" y="17"/>
                    <a:pt x="213" y="1"/>
                    <a:pt x="213" y="1"/>
                  </a:cubicBezTo>
                  <a:cubicBezTo>
                    <a:pt x="212" y="0"/>
                    <a:pt x="204" y="4"/>
                    <a:pt x="195" y="8"/>
                  </a:cubicBezTo>
                </a:path>
              </a:pathLst>
            </a:custGeom>
            <a:solidFill>
              <a:schemeClr val="accent6">
                <a:lumMod val="60000"/>
                <a:lumOff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24" name="Freeform 10">
              <a:extLst>
                <a:ext uri="{FF2B5EF4-FFF2-40B4-BE49-F238E27FC236}">
                  <a16:creationId xmlns:a16="http://schemas.microsoft.com/office/drawing/2014/main" id="{F7134BCE-1140-49BC-BEF4-7368F62C989B}"/>
                </a:ext>
              </a:extLst>
            </p:cNvPr>
            <p:cNvSpPr>
              <a:spLocks/>
            </p:cNvSpPr>
            <p:nvPr/>
          </p:nvSpPr>
          <p:spPr bwMode="auto">
            <a:xfrm>
              <a:off x="5929066" y="2692471"/>
              <a:ext cx="386719" cy="603282"/>
            </a:xfrm>
            <a:custGeom>
              <a:avLst/>
              <a:gdLst>
                <a:gd name="T0" fmla="*/ 98 w 200"/>
                <a:gd name="T1" fmla="*/ 15 h 313"/>
                <a:gd name="T2" fmla="*/ 164 w 200"/>
                <a:gd name="T3" fmla="*/ 102 h 313"/>
                <a:gd name="T4" fmla="*/ 198 w 200"/>
                <a:gd name="T5" fmla="*/ 205 h 313"/>
                <a:gd name="T6" fmla="*/ 179 w 200"/>
                <a:gd name="T7" fmla="*/ 279 h 313"/>
                <a:gd name="T8" fmla="*/ 112 w 200"/>
                <a:gd name="T9" fmla="*/ 308 h 313"/>
                <a:gd name="T10" fmla="*/ 96 w 200"/>
                <a:gd name="T11" fmla="*/ 76 h 313"/>
                <a:gd name="T12" fmla="*/ 90 w 200"/>
                <a:gd name="T13" fmla="*/ 293 h 313"/>
                <a:gd name="T14" fmla="*/ 86 w 200"/>
                <a:gd name="T15" fmla="*/ 300 h 313"/>
                <a:gd name="T16" fmla="*/ 79 w 200"/>
                <a:gd name="T17" fmla="*/ 300 h 313"/>
                <a:gd name="T18" fmla="*/ 9 w 200"/>
                <a:gd name="T19" fmla="*/ 216 h 313"/>
                <a:gd name="T20" fmla="*/ 17 w 200"/>
                <a:gd name="T21" fmla="*/ 104 h 313"/>
                <a:gd name="T22" fmla="*/ 36 w 200"/>
                <a:gd name="T23" fmla="*/ 66 h 313"/>
                <a:gd name="T24" fmla="*/ 72 w 200"/>
                <a:gd name="T25" fmla="*/ 30 h 313"/>
                <a:gd name="T26" fmla="*/ 85 w 200"/>
                <a:gd name="T27" fmla="*/ 0 h 313"/>
                <a:gd name="T28" fmla="*/ 98 w 200"/>
                <a:gd name="T29" fmla="*/ 15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0" h="313">
                  <a:moveTo>
                    <a:pt x="98" y="15"/>
                  </a:moveTo>
                  <a:cubicBezTo>
                    <a:pt x="122" y="43"/>
                    <a:pt x="145" y="71"/>
                    <a:pt x="164" y="102"/>
                  </a:cubicBezTo>
                  <a:cubicBezTo>
                    <a:pt x="183" y="134"/>
                    <a:pt x="196" y="169"/>
                    <a:pt x="198" y="205"/>
                  </a:cubicBezTo>
                  <a:cubicBezTo>
                    <a:pt x="200" y="231"/>
                    <a:pt x="195" y="258"/>
                    <a:pt x="179" y="279"/>
                  </a:cubicBezTo>
                  <a:cubicBezTo>
                    <a:pt x="164" y="300"/>
                    <a:pt x="137" y="313"/>
                    <a:pt x="112" y="308"/>
                  </a:cubicBezTo>
                  <a:cubicBezTo>
                    <a:pt x="128" y="242"/>
                    <a:pt x="126" y="137"/>
                    <a:pt x="96" y="76"/>
                  </a:cubicBezTo>
                  <a:cubicBezTo>
                    <a:pt x="114" y="135"/>
                    <a:pt x="98" y="232"/>
                    <a:pt x="90" y="293"/>
                  </a:cubicBezTo>
                  <a:cubicBezTo>
                    <a:pt x="89" y="296"/>
                    <a:pt x="89" y="299"/>
                    <a:pt x="86" y="300"/>
                  </a:cubicBezTo>
                  <a:cubicBezTo>
                    <a:pt x="84" y="301"/>
                    <a:pt x="82" y="300"/>
                    <a:pt x="79" y="300"/>
                  </a:cubicBezTo>
                  <a:cubicBezTo>
                    <a:pt x="43" y="287"/>
                    <a:pt x="18" y="253"/>
                    <a:pt x="9" y="216"/>
                  </a:cubicBezTo>
                  <a:cubicBezTo>
                    <a:pt x="0" y="180"/>
                    <a:pt x="5" y="140"/>
                    <a:pt x="17" y="104"/>
                  </a:cubicBezTo>
                  <a:cubicBezTo>
                    <a:pt x="22" y="91"/>
                    <a:pt x="27" y="77"/>
                    <a:pt x="36" y="66"/>
                  </a:cubicBezTo>
                  <a:cubicBezTo>
                    <a:pt x="46" y="52"/>
                    <a:pt x="61" y="43"/>
                    <a:pt x="72" y="30"/>
                  </a:cubicBezTo>
                  <a:cubicBezTo>
                    <a:pt x="84" y="17"/>
                    <a:pt x="85" y="0"/>
                    <a:pt x="85" y="0"/>
                  </a:cubicBezTo>
                  <a:cubicBezTo>
                    <a:pt x="87" y="0"/>
                    <a:pt x="92" y="6"/>
                    <a:pt x="98" y="15"/>
                  </a:cubicBezTo>
                </a:path>
              </a:pathLst>
            </a:custGeom>
            <a:solidFill>
              <a:schemeClr val="accent6">
                <a:lumMod val="60000"/>
                <a:lumOff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25" name="Freeform 11">
              <a:extLst>
                <a:ext uri="{FF2B5EF4-FFF2-40B4-BE49-F238E27FC236}">
                  <a16:creationId xmlns:a16="http://schemas.microsoft.com/office/drawing/2014/main" id="{6D6A9536-F781-4288-A921-B4E9D61E2170}"/>
                </a:ext>
              </a:extLst>
            </p:cNvPr>
            <p:cNvSpPr>
              <a:spLocks/>
            </p:cNvSpPr>
            <p:nvPr/>
          </p:nvSpPr>
          <p:spPr bwMode="auto">
            <a:xfrm>
              <a:off x="7906490" y="3884855"/>
              <a:ext cx="542696" cy="342891"/>
            </a:xfrm>
            <a:custGeom>
              <a:avLst/>
              <a:gdLst>
                <a:gd name="T0" fmla="*/ 267 w 281"/>
                <a:gd name="T1" fmla="*/ 86 h 178"/>
                <a:gd name="T2" fmla="*/ 188 w 281"/>
                <a:gd name="T3" fmla="*/ 29 h 178"/>
                <a:gd name="T4" fmla="*/ 95 w 281"/>
                <a:gd name="T5" fmla="*/ 1 h 178"/>
                <a:gd name="T6" fmla="*/ 30 w 281"/>
                <a:gd name="T7" fmla="*/ 19 h 178"/>
                <a:gd name="T8" fmla="*/ 5 w 281"/>
                <a:gd name="T9" fmla="*/ 80 h 178"/>
                <a:gd name="T10" fmla="*/ 213 w 281"/>
                <a:gd name="T11" fmla="*/ 90 h 178"/>
                <a:gd name="T12" fmla="*/ 19 w 281"/>
                <a:gd name="T13" fmla="*/ 100 h 178"/>
                <a:gd name="T14" fmla="*/ 13 w 281"/>
                <a:gd name="T15" fmla="*/ 103 h 178"/>
                <a:gd name="T16" fmla="*/ 13 w 281"/>
                <a:gd name="T17" fmla="*/ 109 h 178"/>
                <a:gd name="T18" fmla="*/ 89 w 281"/>
                <a:gd name="T19" fmla="*/ 170 h 178"/>
                <a:gd name="T20" fmla="*/ 189 w 281"/>
                <a:gd name="T21" fmla="*/ 160 h 178"/>
                <a:gd name="T22" fmla="*/ 223 w 281"/>
                <a:gd name="T23" fmla="*/ 143 h 178"/>
                <a:gd name="T24" fmla="*/ 255 w 281"/>
                <a:gd name="T25" fmla="*/ 109 h 178"/>
                <a:gd name="T26" fmla="*/ 281 w 281"/>
                <a:gd name="T27" fmla="*/ 97 h 178"/>
                <a:gd name="T28" fmla="*/ 267 w 281"/>
                <a:gd name="T29" fmla="*/ 86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81" h="178">
                  <a:moveTo>
                    <a:pt x="267" y="86"/>
                  </a:moveTo>
                  <a:cubicBezTo>
                    <a:pt x="242" y="66"/>
                    <a:pt x="216" y="45"/>
                    <a:pt x="188" y="29"/>
                  </a:cubicBezTo>
                  <a:cubicBezTo>
                    <a:pt x="160" y="13"/>
                    <a:pt x="128" y="2"/>
                    <a:pt x="95" y="1"/>
                  </a:cubicBezTo>
                  <a:cubicBezTo>
                    <a:pt x="72" y="0"/>
                    <a:pt x="48" y="5"/>
                    <a:pt x="30" y="19"/>
                  </a:cubicBezTo>
                  <a:cubicBezTo>
                    <a:pt x="11" y="33"/>
                    <a:pt x="0" y="58"/>
                    <a:pt x="5" y="80"/>
                  </a:cubicBezTo>
                  <a:cubicBezTo>
                    <a:pt x="64" y="65"/>
                    <a:pt x="158" y="64"/>
                    <a:pt x="213" y="90"/>
                  </a:cubicBezTo>
                  <a:cubicBezTo>
                    <a:pt x="160" y="75"/>
                    <a:pt x="74" y="90"/>
                    <a:pt x="19" y="100"/>
                  </a:cubicBezTo>
                  <a:cubicBezTo>
                    <a:pt x="17" y="100"/>
                    <a:pt x="14" y="101"/>
                    <a:pt x="13" y="103"/>
                  </a:cubicBezTo>
                  <a:cubicBezTo>
                    <a:pt x="12" y="105"/>
                    <a:pt x="13" y="107"/>
                    <a:pt x="13" y="109"/>
                  </a:cubicBezTo>
                  <a:cubicBezTo>
                    <a:pt x="25" y="141"/>
                    <a:pt x="56" y="163"/>
                    <a:pt x="89" y="170"/>
                  </a:cubicBezTo>
                  <a:cubicBezTo>
                    <a:pt x="123" y="178"/>
                    <a:pt x="157" y="172"/>
                    <a:pt x="189" y="160"/>
                  </a:cubicBezTo>
                  <a:cubicBezTo>
                    <a:pt x="201" y="156"/>
                    <a:pt x="213" y="151"/>
                    <a:pt x="223" y="143"/>
                  </a:cubicBezTo>
                  <a:cubicBezTo>
                    <a:pt x="235" y="133"/>
                    <a:pt x="244" y="120"/>
                    <a:pt x="255" y="109"/>
                  </a:cubicBezTo>
                  <a:cubicBezTo>
                    <a:pt x="266" y="99"/>
                    <a:pt x="281" y="97"/>
                    <a:pt x="281" y="97"/>
                  </a:cubicBezTo>
                  <a:cubicBezTo>
                    <a:pt x="281" y="96"/>
                    <a:pt x="275" y="91"/>
                    <a:pt x="267" y="86"/>
                  </a:cubicBezTo>
                </a:path>
              </a:pathLst>
            </a:custGeom>
            <a:solidFill>
              <a:schemeClr val="accent6">
                <a:lumMod val="60000"/>
                <a:lumOff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26" name="Freeform 12">
              <a:extLst>
                <a:ext uri="{FF2B5EF4-FFF2-40B4-BE49-F238E27FC236}">
                  <a16:creationId xmlns:a16="http://schemas.microsoft.com/office/drawing/2014/main" id="{D8B5ED1A-6BD0-4232-AA52-9A7C0D4444B0}"/>
                </a:ext>
              </a:extLst>
            </p:cNvPr>
            <p:cNvSpPr>
              <a:spLocks/>
            </p:cNvSpPr>
            <p:nvPr/>
          </p:nvSpPr>
          <p:spPr bwMode="auto">
            <a:xfrm>
              <a:off x="7709263" y="4316690"/>
              <a:ext cx="473087" cy="403477"/>
            </a:xfrm>
            <a:custGeom>
              <a:avLst/>
              <a:gdLst>
                <a:gd name="T0" fmla="*/ 238 w 245"/>
                <a:gd name="T1" fmla="*/ 179 h 209"/>
                <a:gd name="T2" fmla="*/ 197 w 245"/>
                <a:gd name="T3" fmla="*/ 90 h 209"/>
                <a:gd name="T4" fmla="*/ 130 w 245"/>
                <a:gd name="T5" fmla="*/ 20 h 209"/>
                <a:gd name="T6" fmla="*/ 64 w 245"/>
                <a:gd name="T7" fmla="*/ 4 h 209"/>
                <a:gd name="T8" fmla="*/ 13 w 245"/>
                <a:gd name="T9" fmla="*/ 45 h 209"/>
                <a:gd name="T10" fmla="*/ 189 w 245"/>
                <a:gd name="T11" fmla="*/ 155 h 209"/>
                <a:gd name="T12" fmla="*/ 15 w 245"/>
                <a:gd name="T13" fmla="*/ 68 h 209"/>
                <a:gd name="T14" fmla="*/ 8 w 245"/>
                <a:gd name="T15" fmla="*/ 68 h 209"/>
                <a:gd name="T16" fmla="*/ 6 w 245"/>
                <a:gd name="T17" fmla="*/ 74 h 209"/>
                <a:gd name="T18" fmla="*/ 41 w 245"/>
                <a:gd name="T19" fmla="*/ 165 h 209"/>
                <a:gd name="T20" fmla="*/ 133 w 245"/>
                <a:gd name="T21" fmla="*/ 205 h 209"/>
                <a:gd name="T22" fmla="*/ 171 w 245"/>
                <a:gd name="T23" fmla="*/ 207 h 209"/>
                <a:gd name="T24" fmla="*/ 215 w 245"/>
                <a:gd name="T25" fmla="*/ 193 h 209"/>
                <a:gd name="T26" fmla="*/ 245 w 245"/>
                <a:gd name="T27" fmla="*/ 196 h 209"/>
                <a:gd name="T28" fmla="*/ 238 w 245"/>
                <a:gd name="T29" fmla="*/ 179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5" h="209">
                  <a:moveTo>
                    <a:pt x="238" y="179"/>
                  </a:moveTo>
                  <a:cubicBezTo>
                    <a:pt x="226" y="149"/>
                    <a:pt x="214" y="118"/>
                    <a:pt x="197" y="90"/>
                  </a:cubicBezTo>
                  <a:cubicBezTo>
                    <a:pt x="180" y="62"/>
                    <a:pt x="158" y="37"/>
                    <a:pt x="130" y="20"/>
                  </a:cubicBezTo>
                  <a:cubicBezTo>
                    <a:pt x="111" y="8"/>
                    <a:pt x="87" y="0"/>
                    <a:pt x="64" y="4"/>
                  </a:cubicBezTo>
                  <a:cubicBezTo>
                    <a:pt x="41" y="7"/>
                    <a:pt x="19" y="22"/>
                    <a:pt x="13" y="45"/>
                  </a:cubicBezTo>
                  <a:cubicBezTo>
                    <a:pt x="72" y="60"/>
                    <a:pt x="154" y="106"/>
                    <a:pt x="189" y="155"/>
                  </a:cubicBezTo>
                  <a:cubicBezTo>
                    <a:pt x="150" y="116"/>
                    <a:pt x="67" y="87"/>
                    <a:pt x="15" y="68"/>
                  </a:cubicBezTo>
                  <a:cubicBezTo>
                    <a:pt x="13" y="68"/>
                    <a:pt x="10" y="67"/>
                    <a:pt x="8" y="68"/>
                  </a:cubicBezTo>
                  <a:cubicBezTo>
                    <a:pt x="7" y="69"/>
                    <a:pt x="6" y="72"/>
                    <a:pt x="6" y="74"/>
                  </a:cubicBezTo>
                  <a:cubicBezTo>
                    <a:pt x="0" y="107"/>
                    <a:pt x="16" y="142"/>
                    <a:pt x="41" y="165"/>
                  </a:cubicBezTo>
                  <a:cubicBezTo>
                    <a:pt x="67" y="187"/>
                    <a:pt x="100" y="199"/>
                    <a:pt x="133" y="205"/>
                  </a:cubicBezTo>
                  <a:cubicBezTo>
                    <a:pt x="146" y="207"/>
                    <a:pt x="159" y="209"/>
                    <a:pt x="171" y="207"/>
                  </a:cubicBezTo>
                  <a:cubicBezTo>
                    <a:pt x="187" y="204"/>
                    <a:pt x="201" y="197"/>
                    <a:pt x="215" y="193"/>
                  </a:cubicBezTo>
                  <a:cubicBezTo>
                    <a:pt x="230" y="190"/>
                    <a:pt x="245" y="196"/>
                    <a:pt x="245" y="196"/>
                  </a:cubicBezTo>
                  <a:cubicBezTo>
                    <a:pt x="245" y="194"/>
                    <a:pt x="242" y="188"/>
                    <a:pt x="238" y="179"/>
                  </a:cubicBezTo>
                </a:path>
              </a:pathLst>
            </a:custGeom>
            <a:solidFill>
              <a:schemeClr val="accent6">
                <a:lumMod val="60000"/>
                <a:lumOff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27" name="Freeform 13">
              <a:extLst>
                <a:ext uri="{FF2B5EF4-FFF2-40B4-BE49-F238E27FC236}">
                  <a16:creationId xmlns:a16="http://schemas.microsoft.com/office/drawing/2014/main" id="{97CF5DCF-49EB-462C-8BFF-CE2CBEBE8709}"/>
                </a:ext>
              </a:extLst>
            </p:cNvPr>
            <p:cNvSpPr>
              <a:spLocks/>
            </p:cNvSpPr>
            <p:nvPr/>
          </p:nvSpPr>
          <p:spPr bwMode="auto">
            <a:xfrm>
              <a:off x="8197818" y="4883878"/>
              <a:ext cx="545274" cy="341602"/>
            </a:xfrm>
            <a:custGeom>
              <a:avLst/>
              <a:gdLst>
                <a:gd name="T0" fmla="*/ 268 w 282"/>
                <a:gd name="T1" fmla="*/ 86 h 177"/>
                <a:gd name="T2" fmla="*/ 188 w 282"/>
                <a:gd name="T3" fmla="*/ 29 h 177"/>
                <a:gd name="T4" fmla="*/ 96 w 282"/>
                <a:gd name="T5" fmla="*/ 0 h 177"/>
                <a:gd name="T6" fmla="*/ 30 w 282"/>
                <a:gd name="T7" fmla="*/ 19 h 177"/>
                <a:gd name="T8" fmla="*/ 5 w 282"/>
                <a:gd name="T9" fmla="*/ 80 h 177"/>
                <a:gd name="T10" fmla="*/ 213 w 282"/>
                <a:gd name="T11" fmla="*/ 89 h 177"/>
                <a:gd name="T12" fmla="*/ 20 w 282"/>
                <a:gd name="T13" fmla="*/ 99 h 177"/>
                <a:gd name="T14" fmla="*/ 13 w 282"/>
                <a:gd name="T15" fmla="*/ 103 h 177"/>
                <a:gd name="T16" fmla="*/ 14 w 282"/>
                <a:gd name="T17" fmla="*/ 109 h 177"/>
                <a:gd name="T18" fmla="*/ 90 w 282"/>
                <a:gd name="T19" fmla="*/ 170 h 177"/>
                <a:gd name="T20" fmla="*/ 190 w 282"/>
                <a:gd name="T21" fmla="*/ 160 h 177"/>
                <a:gd name="T22" fmla="*/ 224 w 282"/>
                <a:gd name="T23" fmla="*/ 143 h 177"/>
                <a:gd name="T24" fmla="*/ 255 w 282"/>
                <a:gd name="T25" fmla="*/ 109 h 177"/>
                <a:gd name="T26" fmla="*/ 282 w 282"/>
                <a:gd name="T27" fmla="*/ 97 h 177"/>
                <a:gd name="T28" fmla="*/ 268 w 282"/>
                <a:gd name="T29" fmla="*/ 86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82" h="177">
                  <a:moveTo>
                    <a:pt x="268" y="86"/>
                  </a:moveTo>
                  <a:cubicBezTo>
                    <a:pt x="242" y="65"/>
                    <a:pt x="217" y="45"/>
                    <a:pt x="188" y="29"/>
                  </a:cubicBezTo>
                  <a:cubicBezTo>
                    <a:pt x="160" y="13"/>
                    <a:pt x="128" y="1"/>
                    <a:pt x="96" y="0"/>
                  </a:cubicBezTo>
                  <a:cubicBezTo>
                    <a:pt x="73" y="0"/>
                    <a:pt x="48" y="5"/>
                    <a:pt x="30" y="19"/>
                  </a:cubicBezTo>
                  <a:cubicBezTo>
                    <a:pt x="12" y="33"/>
                    <a:pt x="0" y="58"/>
                    <a:pt x="5" y="80"/>
                  </a:cubicBezTo>
                  <a:cubicBezTo>
                    <a:pt x="64" y="64"/>
                    <a:pt x="158" y="64"/>
                    <a:pt x="213" y="89"/>
                  </a:cubicBezTo>
                  <a:cubicBezTo>
                    <a:pt x="160" y="75"/>
                    <a:pt x="74" y="90"/>
                    <a:pt x="20" y="99"/>
                  </a:cubicBezTo>
                  <a:cubicBezTo>
                    <a:pt x="17" y="100"/>
                    <a:pt x="14" y="100"/>
                    <a:pt x="13" y="103"/>
                  </a:cubicBezTo>
                  <a:cubicBezTo>
                    <a:pt x="12" y="104"/>
                    <a:pt x="13" y="107"/>
                    <a:pt x="14" y="109"/>
                  </a:cubicBezTo>
                  <a:cubicBezTo>
                    <a:pt x="26" y="141"/>
                    <a:pt x="57" y="163"/>
                    <a:pt x="90" y="170"/>
                  </a:cubicBezTo>
                  <a:cubicBezTo>
                    <a:pt x="123" y="177"/>
                    <a:pt x="158" y="172"/>
                    <a:pt x="190" y="160"/>
                  </a:cubicBezTo>
                  <a:cubicBezTo>
                    <a:pt x="202" y="156"/>
                    <a:pt x="214" y="151"/>
                    <a:pt x="224" y="143"/>
                  </a:cubicBezTo>
                  <a:cubicBezTo>
                    <a:pt x="236" y="133"/>
                    <a:pt x="244" y="120"/>
                    <a:pt x="255" y="109"/>
                  </a:cubicBezTo>
                  <a:cubicBezTo>
                    <a:pt x="266" y="99"/>
                    <a:pt x="282" y="97"/>
                    <a:pt x="282" y="97"/>
                  </a:cubicBezTo>
                  <a:cubicBezTo>
                    <a:pt x="282" y="96"/>
                    <a:pt x="276" y="91"/>
                    <a:pt x="268" y="86"/>
                  </a:cubicBezTo>
                </a:path>
              </a:pathLst>
            </a:custGeom>
            <a:solidFill>
              <a:schemeClr val="accent6">
                <a:lumMod val="60000"/>
                <a:lumOff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28" name="Freeform 14">
              <a:extLst>
                <a:ext uri="{FF2B5EF4-FFF2-40B4-BE49-F238E27FC236}">
                  <a16:creationId xmlns:a16="http://schemas.microsoft.com/office/drawing/2014/main" id="{785DCC81-6E73-40CF-B0D3-F7623AD24BE5}"/>
                </a:ext>
              </a:extLst>
            </p:cNvPr>
            <p:cNvSpPr>
              <a:spLocks/>
            </p:cNvSpPr>
            <p:nvPr/>
          </p:nvSpPr>
          <p:spPr bwMode="auto">
            <a:xfrm>
              <a:off x="8003169" y="5315715"/>
              <a:ext cx="470509" cy="403477"/>
            </a:xfrm>
            <a:custGeom>
              <a:avLst/>
              <a:gdLst>
                <a:gd name="T0" fmla="*/ 237 w 244"/>
                <a:gd name="T1" fmla="*/ 179 h 209"/>
                <a:gd name="T2" fmla="*/ 196 w 244"/>
                <a:gd name="T3" fmla="*/ 90 h 209"/>
                <a:gd name="T4" fmla="*/ 130 w 244"/>
                <a:gd name="T5" fmla="*/ 20 h 209"/>
                <a:gd name="T6" fmla="*/ 64 w 244"/>
                <a:gd name="T7" fmla="*/ 3 h 209"/>
                <a:gd name="T8" fmla="*/ 12 w 244"/>
                <a:gd name="T9" fmla="*/ 44 h 209"/>
                <a:gd name="T10" fmla="*/ 188 w 244"/>
                <a:gd name="T11" fmla="*/ 155 h 209"/>
                <a:gd name="T12" fmla="*/ 15 w 244"/>
                <a:gd name="T13" fmla="*/ 68 h 209"/>
                <a:gd name="T14" fmla="*/ 8 w 244"/>
                <a:gd name="T15" fmla="*/ 68 h 209"/>
                <a:gd name="T16" fmla="*/ 5 w 244"/>
                <a:gd name="T17" fmla="*/ 74 h 209"/>
                <a:gd name="T18" fmla="*/ 41 w 244"/>
                <a:gd name="T19" fmla="*/ 164 h 209"/>
                <a:gd name="T20" fmla="*/ 133 w 244"/>
                <a:gd name="T21" fmla="*/ 205 h 209"/>
                <a:gd name="T22" fmla="*/ 171 w 244"/>
                <a:gd name="T23" fmla="*/ 206 h 209"/>
                <a:gd name="T24" fmla="*/ 215 w 244"/>
                <a:gd name="T25" fmla="*/ 193 h 209"/>
                <a:gd name="T26" fmla="*/ 244 w 244"/>
                <a:gd name="T27" fmla="*/ 195 h 209"/>
                <a:gd name="T28" fmla="*/ 237 w 244"/>
                <a:gd name="T29" fmla="*/ 179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4" h="209">
                  <a:moveTo>
                    <a:pt x="237" y="179"/>
                  </a:moveTo>
                  <a:cubicBezTo>
                    <a:pt x="225" y="149"/>
                    <a:pt x="213" y="118"/>
                    <a:pt x="196" y="90"/>
                  </a:cubicBezTo>
                  <a:cubicBezTo>
                    <a:pt x="179" y="62"/>
                    <a:pt x="158" y="37"/>
                    <a:pt x="130" y="20"/>
                  </a:cubicBezTo>
                  <a:cubicBezTo>
                    <a:pt x="110" y="8"/>
                    <a:pt x="87" y="0"/>
                    <a:pt x="64" y="3"/>
                  </a:cubicBezTo>
                  <a:cubicBezTo>
                    <a:pt x="41" y="7"/>
                    <a:pt x="19" y="22"/>
                    <a:pt x="12" y="44"/>
                  </a:cubicBezTo>
                  <a:cubicBezTo>
                    <a:pt x="71" y="60"/>
                    <a:pt x="153" y="105"/>
                    <a:pt x="188" y="155"/>
                  </a:cubicBezTo>
                  <a:cubicBezTo>
                    <a:pt x="149" y="116"/>
                    <a:pt x="67" y="87"/>
                    <a:pt x="15" y="68"/>
                  </a:cubicBezTo>
                  <a:cubicBezTo>
                    <a:pt x="12" y="67"/>
                    <a:pt x="10" y="67"/>
                    <a:pt x="8" y="68"/>
                  </a:cubicBezTo>
                  <a:cubicBezTo>
                    <a:pt x="6" y="69"/>
                    <a:pt x="5" y="71"/>
                    <a:pt x="5" y="74"/>
                  </a:cubicBezTo>
                  <a:cubicBezTo>
                    <a:pt x="0" y="107"/>
                    <a:pt x="16" y="142"/>
                    <a:pt x="41" y="164"/>
                  </a:cubicBezTo>
                  <a:cubicBezTo>
                    <a:pt x="66" y="187"/>
                    <a:pt x="99" y="199"/>
                    <a:pt x="133" y="205"/>
                  </a:cubicBezTo>
                  <a:cubicBezTo>
                    <a:pt x="145" y="207"/>
                    <a:pt x="158" y="209"/>
                    <a:pt x="171" y="206"/>
                  </a:cubicBezTo>
                  <a:cubicBezTo>
                    <a:pt x="186" y="204"/>
                    <a:pt x="200" y="197"/>
                    <a:pt x="215" y="193"/>
                  </a:cubicBezTo>
                  <a:cubicBezTo>
                    <a:pt x="230" y="189"/>
                    <a:pt x="244" y="195"/>
                    <a:pt x="244" y="195"/>
                  </a:cubicBezTo>
                  <a:cubicBezTo>
                    <a:pt x="244" y="194"/>
                    <a:pt x="241" y="187"/>
                    <a:pt x="237" y="179"/>
                  </a:cubicBezTo>
                </a:path>
              </a:pathLst>
            </a:custGeom>
            <a:solidFill>
              <a:schemeClr val="accent6">
                <a:lumMod val="60000"/>
                <a:lumOff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29" name="Freeform 15">
              <a:extLst>
                <a:ext uri="{FF2B5EF4-FFF2-40B4-BE49-F238E27FC236}">
                  <a16:creationId xmlns:a16="http://schemas.microsoft.com/office/drawing/2014/main" id="{C3FF856F-7A45-444E-B291-02B3A81864DD}"/>
                </a:ext>
              </a:extLst>
            </p:cNvPr>
            <p:cNvSpPr>
              <a:spLocks/>
            </p:cNvSpPr>
            <p:nvPr/>
          </p:nvSpPr>
          <p:spPr bwMode="auto">
            <a:xfrm>
              <a:off x="7554575" y="2927080"/>
              <a:ext cx="456328" cy="411212"/>
            </a:xfrm>
            <a:custGeom>
              <a:avLst/>
              <a:gdLst>
                <a:gd name="T0" fmla="*/ 218 w 236"/>
                <a:gd name="T1" fmla="*/ 3 h 213"/>
                <a:gd name="T2" fmla="*/ 122 w 236"/>
                <a:gd name="T3" fmla="*/ 19 h 213"/>
                <a:gd name="T4" fmla="*/ 36 w 236"/>
                <a:gd name="T5" fmla="*/ 64 h 213"/>
                <a:gd name="T6" fmla="*/ 3 w 236"/>
                <a:gd name="T7" fmla="*/ 124 h 213"/>
                <a:gd name="T8" fmla="*/ 29 w 236"/>
                <a:gd name="T9" fmla="*/ 184 h 213"/>
                <a:gd name="T10" fmla="*/ 182 w 236"/>
                <a:gd name="T11" fmla="*/ 44 h 213"/>
                <a:gd name="T12" fmla="*/ 52 w 236"/>
                <a:gd name="T13" fmla="*/ 188 h 213"/>
                <a:gd name="T14" fmla="*/ 50 w 236"/>
                <a:gd name="T15" fmla="*/ 195 h 213"/>
                <a:gd name="T16" fmla="*/ 55 w 236"/>
                <a:gd name="T17" fmla="*/ 199 h 213"/>
                <a:gd name="T18" fmla="*/ 152 w 236"/>
                <a:gd name="T19" fmla="*/ 188 h 213"/>
                <a:gd name="T20" fmla="*/ 216 w 236"/>
                <a:gd name="T21" fmla="*/ 111 h 213"/>
                <a:gd name="T22" fmla="*/ 227 w 236"/>
                <a:gd name="T23" fmla="*/ 75 h 213"/>
                <a:gd name="T24" fmla="*/ 226 w 236"/>
                <a:gd name="T25" fmla="*/ 29 h 213"/>
                <a:gd name="T26" fmla="*/ 236 w 236"/>
                <a:gd name="T27" fmla="*/ 1 h 213"/>
                <a:gd name="T28" fmla="*/ 218 w 236"/>
                <a:gd name="T29" fmla="*/ 3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6" h="213">
                  <a:moveTo>
                    <a:pt x="218" y="3"/>
                  </a:moveTo>
                  <a:cubicBezTo>
                    <a:pt x="186" y="7"/>
                    <a:pt x="153" y="10"/>
                    <a:pt x="122" y="19"/>
                  </a:cubicBezTo>
                  <a:cubicBezTo>
                    <a:pt x="90" y="28"/>
                    <a:pt x="60" y="42"/>
                    <a:pt x="36" y="64"/>
                  </a:cubicBezTo>
                  <a:cubicBezTo>
                    <a:pt x="19" y="80"/>
                    <a:pt x="6" y="100"/>
                    <a:pt x="3" y="124"/>
                  </a:cubicBezTo>
                  <a:cubicBezTo>
                    <a:pt x="0" y="147"/>
                    <a:pt x="9" y="172"/>
                    <a:pt x="29" y="184"/>
                  </a:cubicBezTo>
                  <a:cubicBezTo>
                    <a:pt x="59" y="131"/>
                    <a:pt x="125" y="65"/>
                    <a:pt x="182" y="44"/>
                  </a:cubicBezTo>
                  <a:cubicBezTo>
                    <a:pt x="134" y="71"/>
                    <a:pt x="84" y="143"/>
                    <a:pt x="52" y="188"/>
                  </a:cubicBezTo>
                  <a:cubicBezTo>
                    <a:pt x="51" y="190"/>
                    <a:pt x="49" y="192"/>
                    <a:pt x="50" y="195"/>
                  </a:cubicBezTo>
                  <a:cubicBezTo>
                    <a:pt x="51" y="197"/>
                    <a:pt x="53" y="198"/>
                    <a:pt x="55" y="199"/>
                  </a:cubicBezTo>
                  <a:cubicBezTo>
                    <a:pt x="86" y="213"/>
                    <a:pt x="123" y="207"/>
                    <a:pt x="152" y="188"/>
                  </a:cubicBezTo>
                  <a:cubicBezTo>
                    <a:pt x="180" y="170"/>
                    <a:pt x="201" y="142"/>
                    <a:pt x="216" y="111"/>
                  </a:cubicBezTo>
                  <a:cubicBezTo>
                    <a:pt x="221" y="99"/>
                    <a:pt x="226" y="87"/>
                    <a:pt x="227" y="75"/>
                  </a:cubicBezTo>
                  <a:cubicBezTo>
                    <a:pt x="229" y="59"/>
                    <a:pt x="225" y="44"/>
                    <a:pt x="226" y="29"/>
                  </a:cubicBezTo>
                  <a:cubicBezTo>
                    <a:pt x="226" y="13"/>
                    <a:pt x="236" y="1"/>
                    <a:pt x="236" y="1"/>
                  </a:cubicBezTo>
                  <a:cubicBezTo>
                    <a:pt x="235" y="0"/>
                    <a:pt x="228" y="1"/>
                    <a:pt x="218" y="3"/>
                  </a:cubicBezTo>
                </a:path>
              </a:pathLst>
            </a:custGeom>
            <a:solidFill>
              <a:schemeClr val="accent6">
                <a:lumMod val="60000"/>
                <a:lumOff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30" name="Freeform 16">
              <a:extLst>
                <a:ext uri="{FF2B5EF4-FFF2-40B4-BE49-F238E27FC236}">
                  <a16:creationId xmlns:a16="http://schemas.microsoft.com/office/drawing/2014/main" id="{1FCF8CD1-B502-4474-9082-70AB0D75BFE4}"/>
                </a:ext>
              </a:extLst>
            </p:cNvPr>
            <p:cNvSpPr>
              <a:spLocks/>
            </p:cNvSpPr>
            <p:nvPr/>
          </p:nvSpPr>
          <p:spPr bwMode="auto">
            <a:xfrm>
              <a:off x="7714419" y="3459464"/>
              <a:ext cx="545274" cy="336446"/>
            </a:xfrm>
            <a:custGeom>
              <a:avLst/>
              <a:gdLst>
                <a:gd name="T0" fmla="*/ 266 w 282"/>
                <a:gd name="T1" fmla="*/ 45 h 174"/>
                <a:gd name="T2" fmla="*/ 174 w 282"/>
                <a:gd name="T3" fmla="*/ 11 h 174"/>
                <a:gd name="T4" fmla="*/ 77 w 282"/>
                <a:gd name="T5" fmla="*/ 8 h 174"/>
                <a:gd name="T6" fmla="*/ 19 w 282"/>
                <a:gd name="T7" fmla="*/ 43 h 174"/>
                <a:gd name="T8" fmla="*/ 11 w 282"/>
                <a:gd name="T9" fmla="*/ 108 h 174"/>
                <a:gd name="T10" fmla="*/ 214 w 282"/>
                <a:gd name="T11" fmla="*/ 62 h 174"/>
                <a:gd name="T12" fmla="*/ 30 w 282"/>
                <a:gd name="T13" fmla="*/ 123 h 174"/>
                <a:gd name="T14" fmla="*/ 25 w 282"/>
                <a:gd name="T15" fmla="*/ 128 h 174"/>
                <a:gd name="T16" fmla="*/ 27 w 282"/>
                <a:gd name="T17" fmla="*/ 134 h 174"/>
                <a:gd name="T18" fmla="*/ 116 w 282"/>
                <a:gd name="T19" fmla="*/ 173 h 174"/>
                <a:gd name="T20" fmla="*/ 210 w 282"/>
                <a:gd name="T21" fmla="*/ 137 h 174"/>
                <a:gd name="T22" fmla="*/ 238 w 282"/>
                <a:gd name="T23" fmla="*/ 111 h 174"/>
                <a:gd name="T24" fmla="*/ 260 w 282"/>
                <a:gd name="T25" fmla="*/ 70 h 174"/>
                <a:gd name="T26" fmla="*/ 282 w 282"/>
                <a:gd name="T27" fmla="*/ 52 h 174"/>
                <a:gd name="T28" fmla="*/ 266 w 282"/>
                <a:gd name="T29" fmla="*/ 45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82" h="174">
                  <a:moveTo>
                    <a:pt x="266" y="45"/>
                  </a:moveTo>
                  <a:cubicBezTo>
                    <a:pt x="236" y="32"/>
                    <a:pt x="206" y="19"/>
                    <a:pt x="174" y="11"/>
                  </a:cubicBezTo>
                  <a:cubicBezTo>
                    <a:pt x="143" y="3"/>
                    <a:pt x="109" y="0"/>
                    <a:pt x="77" y="8"/>
                  </a:cubicBezTo>
                  <a:cubicBezTo>
                    <a:pt x="55" y="13"/>
                    <a:pt x="33" y="24"/>
                    <a:pt x="19" y="43"/>
                  </a:cubicBezTo>
                  <a:cubicBezTo>
                    <a:pt x="5" y="61"/>
                    <a:pt x="0" y="88"/>
                    <a:pt x="11" y="108"/>
                  </a:cubicBezTo>
                  <a:cubicBezTo>
                    <a:pt x="64" y="78"/>
                    <a:pt x="154" y="52"/>
                    <a:pt x="214" y="62"/>
                  </a:cubicBezTo>
                  <a:cubicBezTo>
                    <a:pt x="159" y="62"/>
                    <a:pt x="80" y="100"/>
                    <a:pt x="30" y="123"/>
                  </a:cubicBezTo>
                  <a:cubicBezTo>
                    <a:pt x="28" y="124"/>
                    <a:pt x="26" y="126"/>
                    <a:pt x="25" y="128"/>
                  </a:cubicBezTo>
                  <a:cubicBezTo>
                    <a:pt x="24" y="130"/>
                    <a:pt x="26" y="132"/>
                    <a:pt x="27" y="134"/>
                  </a:cubicBezTo>
                  <a:cubicBezTo>
                    <a:pt x="47" y="161"/>
                    <a:pt x="83" y="174"/>
                    <a:pt x="116" y="173"/>
                  </a:cubicBezTo>
                  <a:cubicBezTo>
                    <a:pt x="150" y="171"/>
                    <a:pt x="182" y="157"/>
                    <a:pt x="210" y="137"/>
                  </a:cubicBezTo>
                  <a:cubicBezTo>
                    <a:pt x="221" y="130"/>
                    <a:pt x="231" y="121"/>
                    <a:pt x="238" y="111"/>
                  </a:cubicBezTo>
                  <a:cubicBezTo>
                    <a:pt x="247" y="99"/>
                    <a:pt x="252" y="84"/>
                    <a:pt x="260" y="70"/>
                  </a:cubicBezTo>
                  <a:cubicBezTo>
                    <a:pt x="268" y="57"/>
                    <a:pt x="282" y="52"/>
                    <a:pt x="282" y="52"/>
                  </a:cubicBezTo>
                  <a:cubicBezTo>
                    <a:pt x="282" y="50"/>
                    <a:pt x="275" y="48"/>
                    <a:pt x="266" y="45"/>
                  </a:cubicBezTo>
                </a:path>
              </a:pathLst>
            </a:custGeom>
            <a:solidFill>
              <a:schemeClr val="accent6">
                <a:lumMod val="60000"/>
                <a:lumOff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31" name="Freeform 17">
              <a:extLst>
                <a:ext uri="{FF2B5EF4-FFF2-40B4-BE49-F238E27FC236}">
                  <a16:creationId xmlns:a16="http://schemas.microsoft.com/office/drawing/2014/main" id="{896D6E3F-7AE9-4691-BCAF-EE584D7975F8}"/>
                </a:ext>
              </a:extLst>
            </p:cNvPr>
            <p:cNvSpPr>
              <a:spLocks/>
            </p:cNvSpPr>
            <p:nvPr/>
          </p:nvSpPr>
          <p:spPr bwMode="auto">
            <a:xfrm>
              <a:off x="8093404" y="3012158"/>
              <a:ext cx="457618" cy="409922"/>
            </a:xfrm>
            <a:custGeom>
              <a:avLst/>
              <a:gdLst>
                <a:gd name="T0" fmla="*/ 219 w 237"/>
                <a:gd name="T1" fmla="*/ 2 h 212"/>
                <a:gd name="T2" fmla="*/ 122 w 237"/>
                <a:gd name="T3" fmla="*/ 18 h 212"/>
                <a:gd name="T4" fmla="*/ 37 w 237"/>
                <a:gd name="T5" fmla="*/ 63 h 212"/>
                <a:gd name="T6" fmla="*/ 3 w 237"/>
                <a:gd name="T7" fmla="*/ 123 h 212"/>
                <a:gd name="T8" fmla="*/ 29 w 237"/>
                <a:gd name="T9" fmla="*/ 183 h 212"/>
                <a:gd name="T10" fmla="*/ 183 w 237"/>
                <a:gd name="T11" fmla="*/ 43 h 212"/>
                <a:gd name="T12" fmla="*/ 53 w 237"/>
                <a:gd name="T13" fmla="*/ 187 h 212"/>
                <a:gd name="T14" fmla="*/ 51 w 237"/>
                <a:gd name="T15" fmla="*/ 194 h 212"/>
                <a:gd name="T16" fmla="*/ 55 w 237"/>
                <a:gd name="T17" fmla="*/ 198 h 212"/>
                <a:gd name="T18" fmla="*/ 152 w 237"/>
                <a:gd name="T19" fmla="*/ 188 h 212"/>
                <a:gd name="T20" fmla="*/ 216 w 237"/>
                <a:gd name="T21" fmla="*/ 110 h 212"/>
                <a:gd name="T22" fmla="*/ 228 w 237"/>
                <a:gd name="T23" fmla="*/ 74 h 212"/>
                <a:gd name="T24" fmla="*/ 227 w 237"/>
                <a:gd name="T25" fmla="*/ 28 h 212"/>
                <a:gd name="T26" fmla="*/ 237 w 237"/>
                <a:gd name="T27" fmla="*/ 0 h 212"/>
                <a:gd name="T28" fmla="*/ 219 w 237"/>
                <a:gd name="T29" fmla="*/ 2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7" h="212">
                  <a:moveTo>
                    <a:pt x="219" y="2"/>
                  </a:moveTo>
                  <a:cubicBezTo>
                    <a:pt x="187" y="6"/>
                    <a:pt x="154" y="9"/>
                    <a:pt x="122" y="18"/>
                  </a:cubicBezTo>
                  <a:cubicBezTo>
                    <a:pt x="91" y="27"/>
                    <a:pt x="61" y="41"/>
                    <a:pt x="37" y="63"/>
                  </a:cubicBezTo>
                  <a:cubicBezTo>
                    <a:pt x="20" y="79"/>
                    <a:pt x="6" y="100"/>
                    <a:pt x="3" y="123"/>
                  </a:cubicBezTo>
                  <a:cubicBezTo>
                    <a:pt x="0" y="146"/>
                    <a:pt x="9" y="171"/>
                    <a:pt x="29" y="183"/>
                  </a:cubicBezTo>
                  <a:cubicBezTo>
                    <a:pt x="60" y="131"/>
                    <a:pt x="126" y="64"/>
                    <a:pt x="183" y="43"/>
                  </a:cubicBezTo>
                  <a:cubicBezTo>
                    <a:pt x="135" y="71"/>
                    <a:pt x="85" y="142"/>
                    <a:pt x="53" y="187"/>
                  </a:cubicBezTo>
                  <a:cubicBezTo>
                    <a:pt x="51" y="189"/>
                    <a:pt x="50" y="192"/>
                    <a:pt x="51" y="194"/>
                  </a:cubicBezTo>
                  <a:cubicBezTo>
                    <a:pt x="51" y="196"/>
                    <a:pt x="53" y="197"/>
                    <a:pt x="55" y="198"/>
                  </a:cubicBezTo>
                  <a:cubicBezTo>
                    <a:pt x="86" y="212"/>
                    <a:pt x="124" y="206"/>
                    <a:pt x="152" y="188"/>
                  </a:cubicBezTo>
                  <a:cubicBezTo>
                    <a:pt x="181" y="170"/>
                    <a:pt x="202" y="141"/>
                    <a:pt x="216" y="110"/>
                  </a:cubicBezTo>
                  <a:cubicBezTo>
                    <a:pt x="222" y="99"/>
                    <a:pt x="226" y="87"/>
                    <a:pt x="228" y="74"/>
                  </a:cubicBezTo>
                  <a:cubicBezTo>
                    <a:pt x="229" y="59"/>
                    <a:pt x="226" y="43"/>
                    <a:pt x="227" y="28"/>
                  </a:cubicBezTo>
                  <a:cubicBezTo>
                    <a:pt x="227" y="12"/>
                    <a:pt x="237" y="0"/>
                    <a:pt x="237" y="0"/>
                  </a:cubicBezTo>
                  <a:cubicBezTo>
                    <a:pt x="236" y="0"/>
                    <a:pt x="228" y="1"/>
                    <a:pt x="219" y="2"/>
                  </a:cubicBezTo>
                </a:path>
              </a:pathLst>
            </a:custGeom>
            <a:solidFill>
              <a:schemeClr val="accent6">
                <a:lumMod val="60000"/>
                <a:lumOff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32" name="Freeform 18">
              <a:extLst>
                <a:ext uri="{FF2B5EF4-FFF2-40B4-BE49-F238E27FC236}">
                  <a16:creationId xmlns:a16="http://schemas.microsoft.com/office/drawing/2014/main" id="{3D59ABE2-3F27-4E3D-A577-5F67F1FF73B6}"/>
                </a:ext>
              </a:extLst>
            </p:cNvPr>
            <p:cNvSpPr>
              <a:spLocks/>
            </p:cNvSpPr>
            <p:nvPr/>
          </p:nvSpPr>
          <p:spPr bwMode="auto">
            <a:xfrm>
              <a:off x="8255826" y="3543252"/>
              <a:ext cx="545274" cy="337735"/>
            </a:xfrm>
            <a:custGeom>
              <a:avLst/>
              <a:gdLst>
                <a:gd name="T0" fmla="*/ 266 w 282"/>
                <a:gd name="T1" fmla="*/ 45 h 175"/>
                <a:gd name="T2" fmla="*/ 174 w 282"/>
                <a:gd name="T3" fmla="*/ 11 h 175"/>
                <a:gd name="T4" fmla="*/ 77 w 282"/>
                <a:gd name="T5" fmla="*/ 8 h 175"/>
                <a:gd name="T6" fmla="*/ 19 w 282"/>
                <a:gd name="T7" fmla="*/ 43 h 175"/>
                <a:gd name="T8" fmla="*/ 11 w 282"/>
                <a:gd name="T9" fmla="*/ 109 h 175"/>
                <a:gd name="T10" fmla="*/ 214 w 282"/>
                <a:gd name="T11" fmla="*/ 63 h 175"/>
                <a:gd name="T12" fmla="*/ 30 w 282"/>
                <a:gd name="T13" fmla="*/ 124 h 175"/>
                <a:gd name="T14" fmla="*/ 25 w 282"/>
                <a:gd name="T15" fmla="*/ 128 h 175"/>
                <a:gd name="T16" fmla="*/ 27 w 282"/>
                <a:gd name="T17" fmla="*/ 134 h 175"/>
                <a:gd name="T18" fmla="*/ 116 w 282"/>
                <a:gd name="T19" fmla="*/ 173 h 175"/>
                <a:gd name="T20" fmla="*/ 210 w 282"/>
                <a:gd name="T21" fmla="*/ 137 h 175"/>
                <a:gd name="T22" fmla="*/ 238 w 282"/>
                <a:gd name="T23" fmla="*/ 111 h 175"/>
                <a:gd name="T24" fmla="*/ 260 w 282"/>
                <a:gd name="T25" fmla="*/ 71 h 175"/>
                <a:gd name="T26" fmla="*/ 282 w 282"/>
                <a:gd name="T27" fmla="*/ 52 h 175"/>
                <a:gd name="T28" fmla="*/ 266 w 282"/>
                <a:gd name="T29" fmla="*/ 45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82" h="175">
                  <a:moveTo>
                    <a:pt x="266" y="45"/>
                  </a:moveTo>
                  <a:cubicBezTo>
                    <a:pt x="236" y="32"/>
                    <a:pt x="206" y="19"/>
                    <a:pt x="174" y="11"/>
                  </a:cubicBezTo>
                  <a:cubicBezTo>
                    <a:pt x="142" y="3"/>
                    <a:pt x="109" y="0"/>
                    <a:pt x="77" y="8"/>
                  </a:cubicBezTo>
                  <a:cubicBezTo>
                    <a:pt x="55" y="13"/>
                    <a:pt x="33" y="25"/>
                    <a:pt x="19" y="43"/>
                  </a:cubicBezTo>
                  <a:cubicBezTo>
                    <a:pt x="5" y="62"/>
                    <a:pt x="0" y="88"/>
                    <a:pt x="11" y="109"/>
                  </a:cubicBezTo>
                  <a:cubicBezTo>
                    <a:pt x="64" y="78"/>
                    <a:pt x="154" y="52"/>
                    <a:pt x="214" y="63"/>
                  </a:cubicBezTo>
                  <a:cubicBezTo>
                    <a:pt x="159" y="63"/>
                    <a:pt x="80" y="100"/>
                    <a:pt x="30" y="124"/>
                  </a:cubicBezTo>
                  <a:cubicBezTo>
                    <a:pt x="28" y="125"/>
                    <a:pt x="25" y="126"/>
                    <a:pt x="25" y="128"/>
                  </a:cubicBezTo>
                  <a:cubicBezTo>
                    <a:pt x="24" y="130"/>
                    <a:pt x="25" y="132"/>
                    <a:pt x="27" y="134"/>
                  </a:cubicBezTo>
                  <a:cubicBezTo>
                    <a:pt x="47" y="162"/>
                    <a:pt x="82" y="175"/>
                    <a:pt x="116" y="173"/>
                  </a:cubicBezTo>
                  <a:cubicBezTo>
                    <a:pt x="150" y="172"/>
                    <a:pt x="182" y="157"/>
                    <a:pt x="210" y="137"/>
                  </a:cubicBezTo>
                  <a:cubicBezTo>
                    <a:pt x="220" y="130"/>
                    <a:pt x="230" y="122"/>
                    <a:pt x="238" y="111"/>
                  </a:cubicBezTo>
                  <a:cubicBezTo>
                    <a:pt x="247" y="99"/>
                    <a:pt x="252" y="84"/>
                    <a:pt x="260" y="71"/>
                  </a:cubicBezTo>
                  <a:cubicBezTo>
                    <a:pt x="268" y="58"/>
                    <a:pt x="282" y="52"/>
                    <a:pt x="282" y="52"/>
                  </a:cubicBezTo>
                  <a:cubicBezTo>
                    <a:pt x="281" y="51"/>
                    <a:pt x="275" y="48"/>
                    <a:pt x="266" y="45"/>
                  </a:cubicBezTo>
                </a:path>
              </a:pathLst>
            </a:custGeom>
            <a:solidFill>
              <a:schemeClr val="accent6">
                <a:lumMod val="60000"/>
                <a:lumOff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33" name="Freeform 19">
              <a:extLst>
                <a:ext uri="{FF2B5EF4-FFF2-40B4-BE49-F238E27FC236}">
                  <a16:creationId xmlns:a16="http://schemas.microsoft.com/office/drawing/2014/main" id="{56D61C99-0574-41F8-9D11-BD9C05367B73}"/>
                </a:ext>
              </a:extLst>
            </p:cNvPr>
            <p:cNvSpPr>
              <a:spLocks/>
            </p:cNvSpPr>
            <p:nvPr/>
          </p:nvSpPr>
          <p:spPr bwMode="auto">
            <a:xfrm>
              <a:off x="3902659" y="4432706"/>
              <a:ext cx="567188" cy="368672"/>
            </a:xfrm>
            <a:custGeom>
              <a:avLst/>
              <a:gdLst>
                <a:gd name="T0" fmla="*/ 14 w 293"/>
                <a:gd name="T1" fmla="*/ 108 h 191"/>
                <a:gd name="T2" fmla="*/ 93 w 293"/>
                <a:gd name="T3" fmla="*/ 41 h 191"/>
                <a:gd name="T4" fmla="*/ 187 w 293"/>
                <a:gd name="T5" fmla="*/ 3 h 191"/>
                <a:gd name="T6" fmla="*/ 258 w 293"/>
                <a:gd name="T7" fmla="*/ 17 h 191"/>
                <a:gd name="T8" fmla="*/ 289 w 293"/>
                <a:gd name="T9" fmla="*/ 79 h 191"/>
                <a:gd name="T10" fmla="*/ 72 w 293"/>
                <a:gd name="T11" fmla="*/ 107 h 191"/>
                <a:gd name="T12" fmla="*/ 276 w 293"/>
                <a:gd name="T13" fmla="*/ 100 h 191"/>
                <a:gd name="T14" fmla="*/ 283 w 293"/>
                <a:gd name="T15" fmla="*/ 103 h 191"/>
                <a:gd name="T16" fmla="*/ 283 w 293"/>
                <a:gd name="T17" fmla="*/ 110 h 191"/>
                <a:gd name="T18" fmla="*/ 209 w 293"/>
                <a:gd name="T19" fmla="*/ 181 h 191"/>
                <a:gd name="T20" fmla="*/ 103 w 293"/>
                <a:gd name="T21" fmla="*/ 179 h 191"/>
                <a:gd name="T22" fmla="*/ 66 w 293"/>
                <a:gd name="T23" fmla="*/ 164 h 191"/>
                <a:gd name="T24" fmla="*/ 29 w 293"/>
                <a:gd name="T25" fmla="*/ 131 h 191"/>
                <a:gd name="T26" fmla="*/ 1 w 293"/>
                <a:gd name="T27" fmla="*/ 121 h 191"/>
                <a:gd name="T28" fmla="*/ 14 w 293"/>
                <a:gd name="T29" fmla="*/ 108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93" h="191">
                  <a:moveTo>
                    <a:pt x="14" y="108"/>
                  </a:moveTo>
                  <a:cubicBezTo>
                    <a:pt x="39" y="84"/>
                    <a:pt x="64" y="60"/>
                    <a:pt x="93" y="41"/>
                  </a:cubicBezTo>
                  <a:cubicBezTo>
                    <a:pt x="121" y="22"/>
                    <a:pt x="153" y="7"/>
                    <a:pt x="187" y="3"/>
                  </a:cubicBezTo>
                  <a:cubicBezTo>
                    <a:pt x="212" y="0"/>
                    <a:pt x="237" y="3"/>
                    <a:pt x="258" y="17"/>
                  </a:cubicBezTo>
                  <a:cubicBezTo>
                    <a:pt x="278" y="30"/>
                    <a:pt x="293" y="54"/>
                    <a:pt x="289" y="79"/>
                  </a:cubicBezTo>
                  <a:cubicBezTo>
                    <a:pt x="226" y="67"/>
                    <a:pt x="127" y="75"/>
                    <a:pt x="72" y="107"/>
                  </a:cubicBezTo>
                  <a:cubicBezTo>
                    <a:pt x="126" y="87"/>
                    <a:pt x="218" y="95"/>
                    <a:pt x="276" y="100"/>
                  </a:cubicBezTo>
                  <a:cubicBezTo>
                    <a:pt x="279" y="100"/>
                    <a:pt x="281" y="101"/>
                    <a:pt x="283" y="103"/>
                  </a:cubicBezTo>
                  <a:cubicBezTo>
                    <a:pt x="284" y="105"/>
                    <a:pt x="284" y="107"/>
                    <a:pt x="283" y="110"/>
                  </a:cubicBezTo>
                  <a:cubicBezTo>
                    <a:pt x="273" y="144"/>
                    <a:pt x="243" y="170"/>
                    <a:pt x="209" y="181"/>
                  </a:cubicBezTo>
                  <a:cubicBezTo>
                    <a:pt x="175" y="191"/>
                    <a:pt x="137" y="188"/>
                    <a:pt x="103" y="179"/>
                  </a:cubicBezTo>
                  <a:cubicBezTo>
                    <a:pt x="90" y="176"/>
                    <a:pt x="77" y="171"/>
                    <a:pt x="66" y="164"/>
                  </a:cubicBezTo>
                  <a:cubicBezTo>
                    <a:pt x="52" y="155"/>
                    <a:pt x="42" y="141"/>
                    <a:pt x="29" y="131"/>
                  </a:cubicBezTo>
                  <a:cubicBezTo>
                    <a:pt x="17" y="121"/>
                    <a:pt x="1" y="121"/>
                    <a:pt x="1" y="121"/>
                  </a:cubicBezTo>
                  <a:cubicBezTo>
                    <a:pt x="0" y="120"/>
                    <a:pt x="6" y="114"/>
                    <a:pt x="14" y="108"/>
                  </a:cubicBezTo>
                </a:path>
              </a:pathLst>
            </a:custGeom>
            <a:solidFill>
              <a:schemeClr val="accent6">
                <a:lumMod val="60000"/>
                <a:lumOff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34" name="Freeform 20">
              <a:extLst>
                <a:ext uri="{FF2B5EF4-FFF2-40B4-BE49-F238E27FC236}">
                  <a16:creationId xmlns:a16="http://schemas.microsoft.com/office/drawing/2014/main" id="{F0552613-DD46-487F-9100-A45C437D4255}"/>
                </a:ext>
              </a:extLst>
            </p:cNvPr>
            <p:cNvSpPr>
              <a:spLocks/>
            </p:cNvSpPr>
            <p:nvPr/>
          </p:nvSpPr>
          <p:spPr bwMode="auto">
            <a:xfrm>
              <a:off x="3521096" y="4076925"/>
              <a:ext cx="563321" cy="368672"/>
            </a:xfrm>
            <a:custGeom>
              <a:avLst/>
              <a:gdLst>
                <a:gd name="T0" fmla="*/ 13 w 292"/>
                <a:gd name="T1" fmla="*/ 108 h 191"/>
                <a:gd name="T2" fmla="*/ 92 w 292"/>
                <a:gd name="T3" fmla="*/ 41 h 191"/>
                <a:gd name="T4" fmla="*/ 186 w 292"/>
                <a:gd name="T5" fmla="*/ 3 h 191"/>
                <a:gd name="T6" fmla="*/ 257 w 292"/>
                <a:gd name="T7" fmla="*/ 16 h 191"/>
                <a:gd name="T8" fmla="*/ 288 w 292"/>
                <a:gd name="T9" fmla="*/ 78 h 191"/>
                <a:gd name="T10" fmla="*/ 71 w 292"/>
                <a:gd name="T11" fmla="*/ 107 h 191"/>
                <a:gd name="T12" fmla="*/ 275 w 292"/>
                <a:gd name="T13" fmla="*/ 100 h 191"/>
                <a:gd name="T14" fmla="*/ 282 w 292"/>
                <a:gd name="T15" fmla="*/ 103 h 191"/>
                <a:gd name="T16" fmla="*/ 282 w 292"/>
                <a:gd name="T17" fmla="*/ 109 h 191"/>
                <a:gd name="T18" fmla="*/ 208 w 292"/>
                <a:gd name="T19" fmla="*/ 180 h 191"/>
                <a:gd name="T20" fmla="*/ 102 w 292"/>
                <a:gd name="T21" fmla="*/ 179 h 191"/>
                <a:gd name="T22" fmla="*/ 65 w 292"/>
                <a:gd name="T23" fmla="*/ 164 h 191"/>
                <a:gd name="T24" fmla="*/ 29 w 292"/>
                <a:gd name="T25" fmla="*/ 131 h 191"/>
                <a:gd name="T26" fmla="*/ 0 w 292"/>
                <a:gd name="T27" fmla="*/ 121 h 191"/>
                <a:gd name="T28" fmla="*/ 13 w 292"/>
                <a:gd name="T29" fmla="*/ 108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92" h="191">
                  <a:moveTo>
                    <a:pt x="13" y="108"/>
                  </a:moveTo>
                  <a:cubicBezTo>
                    <a:pt x="38" y="84"/>
                    <a:pt x="63" y="60"/>
                    <a:pt x="92" y="41"/>
                  </a:cubicBezTo>
                  <a:cubicBezTo>
                    <a:pt x="120" y="22"/>
                    <a:pt x="152" y="7"/>
                    <a:pt x="186" y="3"/>
                  </a:cubicBezTo>
                  <a:cubicBezTo>
                    <a:pt x="211" y="0"/>
                    <a:pt x="236" y="3"/>
                    <a:pt x="257" y="16"/>
                  </a:cubicBezTo>
                  <a:cubicBezTo>
                    <a:pt x="278" y="30"/>
                    <a:pt x="292" y="54"/>
                    <a:pt x="288" y="78"/>
                  </a:cubicBezTo>
                  <a:cubicBezTo>
                    <a:pt x="225" y="67"/>
                    <a:pt x="127" y="75"/>
                    <a:pt x="71" y="107"/>
                  </a:cubicBezTo>
                  <a:cubicBezTo>
                    <a:pt x="126" y="86"/>
                    <a:pt x="217" y="95"/>
                    <a:pt x="275" y="100"/>
                  </a:cubicBezTo>
                  <a:cubicBezTo>
                    <a:pt x="278" y="100"/>
                    <a:pt x="281" y="101"/>
                    <a:pt x="282" y="103"/>
                  </a:cubicBezTo>
                  <a:cubicBezTo>
                    <a:pt x="283" y="105"/>
                    <a:pt x="283" y="107"/>
                    <a:pt x="282" y="109"/>
                  </a:cubicBezTo>
                  <a:cubicBezTo>
                    <a:pt x="272" y="144"/>
                    <a:pt x="242" y="170"/>
                    <a:pt x="208" y="180"/>
                  </a:cubicBezTo>
                  <a:cubicBezTo>
                    <a:pt x="174" y="191"/>
                    <a:pt x="137" y="188"/>
                    <a:pt x="102" y="179"/>
                  </a:cubicBezTo>
                  <a:cubicBezTo>
                    <a:pt x="89" y="176"/>
                    <a:pt x="76" y="171"/>
                    <a:pt x="65" y="164"/>
                  </a:cubicBezTo>
                  <a:cubicBezTo>
                    <a:pt x="51" y="154"/>
                    <a:pt x="41" y="141"/>
                    <a:pt x="29" y="131"/>
                  </a:cubicBezTo>
                  <a:cubicBezTo>
                    <a:pt x="16" y="121"/>
                    <a:pt x="0" y="121"/>
                    <a:pt x="0" y="121"/>
                  </a:cubicBezTo>
                  <a:cubicBezTo>
                    <a:pt x="0" y="119"/>
                    <a:pt x="6" y="114"/>
                    <a:pt x="13" y="108"/>
                  </a:cubicBezTo>
                </a:path>
              </a:pathLst>
            </a:custGeom>
            <a:solidFill>
              <a:schemeClr val="accent6">
                <a:lumMod val="60000"/>
                <a:lumOff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35" name="Freeform 21">
              <a:extLst>
                <a:ext uri="{FF2B5EF4-FFF2-40B4-BE49-F238E27FC236}">
                  <a16:creationId xmlns:a16="http://schemas.microsoft.com/office/drawing/2014/main" id="{F33935D6-43DF-4F41-8FB5-32E37E9FD90E}"/>
                </a:ext>
              </a:extLst>
            </p:cNvPr>
            <p:cNvSpPr>
              <a:spLocks/>
            </p:cNvSpPr>
            <p:nvPr/>
          </p:nvSpPr>
          <p:spPr bwMode="auto">
            <a:xfrm>
              <a:off x="3776330" y="5295090"/>
              <a:ext cx="563321" cy="368672"/>
            </a:xfrm>
            <a:custGeom>
              <a:avLst/>
              <a:gdLst>
                <a:gd name="T0" fmla="*/ 14 w 292"/>
                <a:gd name="T1" fmla="*/ 108 h 191"/>
                <a:gd name="T2" fmla="*/ 92 w 292"/>
                <a:gd name="T3" fmla="*/ 41 h 191"/>
                <a:gd name="T4" fmla="*/ 187 w 292"/>
                <a:gd name="T5" fmla="*/ 3 h 191"/>
                <a:gd name="T6" fmla="*/ 257 w 292"/>
                <a:gd name="T7" fmla="*/ 16 h 191"/>
                <a:gd name="T8" fmla="*/ 289 w 292"/>
                <a:gd name="T9" fmla="*/ 78 h 191"/>
                <a:gd name="T10" fmla="*/ 71 w 292"/>
                <a:gd name="T11" fmla="*/ 107 h 191"/>
                <a:gd name="T12" fmla="*/ 275 w 292"/>
                <a:gd name="T13" fmla="*/ 100 h 191"/>
                <a:gd name="T14" fmla="*/ 282 w 292"/>
                <a:gd name="T15" fmla="*/ 103 h 191"/>
                <a:gd name="T16" fmla="*/ 282 w 292"/>
                <a:gd name="T17" fmla="*/ 109 h 191"/>
                <a:gd name="T18" fmla="*/ 208 w 292"/>
                <a:gd name="T19" fmla="*/ 180 h 191"/>
                <a:gd name="T20" fmla="*/ 102 w 292"/>
                <a:gd name="T21" fmla="*/ 179 h 191"/>
                <a:gd name="T22" fmla="*/ 65 w 292"/>
                <a:gd name="T23" fmla="*/ 163 h 191"/>
                <a:gd name="T24" fmla="*/ 29 w 292"/>
                <a:gd name="T25" fmla="*/ 131 h 191"/>
                <a:gd name="T26" fmla="*/ 0 w 292"/>
                <a:gd name="T27" fmla="*/ 120 h 191"/>
                <a:gd name="T28" fmla="*/ 14 w 292"/>
                <a:gd name="T29" fmla="*/ 108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92" h="191">
                  <a:moveTo>
                    <a:pt x="14" y="108"/>
                  </a:moveTo>
                  <a:cubicBezTo>
                    <a:pt x="38" y="84"/>
                    <a:pt x="63" y="60"/>
                    <a:pt x="92" y="41"/>
                  </a:cubicBezTo>
                  <a:cubicBezTo>
                    <a:pt x="120" y="21"/>
                    <a:pt x="152" y="6"/>
                    <a:pt x="187" y="3"/>
                  </a:cubicBezTo>
                  <a:cubicBezTo>
                    <a:pt x="211" y="0"/>
                    <a:pt x="237" y="3"/>
                    <a:pt x="257" y="16"/>
                  </a:cubicBezTo>
                  <a:cubicBezTo>
                    <a:pt x="278" y="30"/>
                    <a:pt x="292" y="54"/>
                    <a:pt x="289" y="78"/>
                  </a:cubicBezTo>
                  <a:cubicBezTo>
                    <a:pt x="225" y="67"/>
                    <a:pt x="127" y="74"/>
                    <a:pt x="71" y="107"/>
                  </a:cubicBezTo>
                  <a:cubicBezTo>
                    <a:pt x="126" y="86"/>
                    <a:pt x="217" y="95"/>
                    <a:pt x="275" y="100"/>
                  </a:cubicBezTo>
                  <a:cubicBezTo>
                    <a:pt x="278" y="100"/>
                    <a:pt x="281" y="100"/>
                    <a:pt x="282" y="103"/>
                  </a:cubicBezTo>
                  <a:cubicBezTo>
                    <a:pt x="284" y="104"/>
                    <a:pt x="283" y="107"/>
                    <a:pt x="282" y="109"/>
                  </a:cubicBezTo>
                  <a:cubicBezTo>
                    <a:pt x="273" y="144"/>
                    <a:pt x="242" y="170"/>
                    <a:pt x="208" y="180"/>
                  </a:cubicBezTo>
                  <a:cubicBezTo>
                    <a:pt x="174" y="191"/>
                    <a:pt x="137" y="188"/>
                    <a:pt x="102" y="179"/>
                  </a:cubicBezTo>
                  <a:cubicBezTo>
                    <a:pt x="89" y="175"/>
                    <a:pt x="76" y="171"/>
                    <a:pt x="65" y="163"/>
                  </a:cubicBezTo>
                  <a:cubicBezTo>
                    <a:pt x="52" y="154"/>
                    <a:pt x="41" y="141"/>
                    <a:pt x="29" y="131"/>
                  </a:cubicBezTo>
                  <a:cubicBezTo>
                    <a:pt x="16" y="121"/>
                    <a:pt x="0" y="120"/>
                    <a:pt x="0" y="120"/>
                  </a:cubicBezTo>
                  <a:cubicBezTo>
                    <a:pt x="0" y="119"/>
                    <a:pt x="6" y="114"/>
                    <a:pt x="14" y="108"/>
                  </a:cubicBezTo>
                </a:path>
              </a:pathLst>
            </a:custGeom>
            <a:solidFill>
              <a:schemeClr val="accent6">
                <a:lumMod val="60000"/>
                <a:lumOff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36" name="Freeform 22">
              <a:extLst>
                <a:ext uri="{FF2B5EF4-FFF2-40B4-BE49-F238E27FC236}">
                  <a16:creationId xmlns:a16="http://schemas.microsoft.com/office/drawing/2014/main" id="{AC37AC85-B025-483B-8351-2BD01CC99FD1}"/>
                </a:ext>
              </a:extLst>
            </p:cNvPr>
            <p:cNvSpPr>
              <a:spLocks/>
            </p:cNvSpPr>
            <p:nvPr/>
          </p:nvSpPr>
          <p:spPr bwMode="auto">
            <a:xfrm>
              <a:off x="3390900" y="4940597"/>
              <a:ext cx="564610" cy="367383"/>
            </a:xfrm>
            <a:custGeom>
              <a:avLst/>
              <a:gdLst>
                <a:gd name="T0" fmla="*/ 14 w 292"/>
                <a:gd name="T1" fmla="*/ 107 h 191"/>
                <a:gd name="T2" fmla="*/ 92 w 292"/>
                <a:gd name="T3" fmla="*/ 41 h 191"/>
                <a:gd name="T4" fmla="*/ 187 w 292"/>
                <a:gd name="T5" fmla="*/ 2 h 191"/>
                <a:gd name="T6" fmla="*/ 257 w 292"/>
                <a:gd name="T7" fmla="*/ 16 h 191"/>
                <a:gd name="T8" fmla="*/ 289 w 292"/>
                <a:gd name="T9" fmla="*/ 78 h 191"/>
                <a:gd name="T10" fmla="*/ 71 w 292"/>
                <a:gd name="T11" fmla="*/ 106 h 191"/>
                <a:gd name="T12" fmla="*/ 276 w 292"/>
                <a:gd name="T13" fmla="*/ 100 h 191"/>
                <a:gd name="T14" fmla="*/ 282 w 292"/>
                <a:gd name="T15" fmla="*/ 102 h 191"/>
                <a:gd name="T16" fmla="*/ 283 w 292"/>
                <a:gd name="T17" fmla="*/ 109 h 191"/>
                <a:gd name="T18" fmla="*/ 208 w 292"/>
                <a:gd name="T19" fmla="*/ 180 h 191"/>
                <a:gd name="T20" fmla="*/ 102 w 292"/>
                <a:gd name="T21" fmla="*/ 179 h 191"/>
                <a:gd name="T22" fmla="*/ 65 w 292"/>
                <a:gd name="T23" fmla="*/ 163 h 191"/>
                <a:gd name="T24" fmla="*/ 29 w 292"/>
                <a:gd name="T25" fmla="*/ 131 h 191"/>
                <a:gd name="T26" fmla="*/ 0 w 292"/>
                <a:gd name="T27" fmla="*/ 120 h 191"/>
                <a:gd name="T28" fmla="*/ 14 w 292"/>
                <a:gd name="T29" fmla="*/ 107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92" h="191">
                  <a:moveTo>
                    <a:pt x="14" y="107"/>
                  </a:moveTo>
                  <a:cubicBezTo>
                    <a:pt x="39" y="84"/>
                    <a:pt x="64" y="60"/>
                    <a:pt x="92" y="41"/>
                  </a:cubicBezTo>
                  <a:cubicBezTo>
                    <a:pt x="120" y="21"/>
                    <a:pt x="153" y="6"/>
                    <a:pt x="187" y="2"/>
                  </a:cubicBezTo>
                  <a:cubicBezTo>
                    <a:pt x="211" y="0"/>
                    <a:pt x="237" y="3"/>
                    <a:pt x="257" y="16"/>
                  </a:cubicBezTo>
                  <a:cubicBezTo>
                    <a:pt x="278" y="29"/>
                    <a:pt x="292" y="54"/>
                    <a:pt x="289" y="78"/>
                  </a:cubicBezTo>
                  <a:cubicBezTo>
                    <a:pt x="225" y="67"/>
                    <a:pt x="127" y="74"/>
                    <a:pt x="71" y="106"/>
                  </a:cubicBezTo>
                  <a:cubicBezTo>
                    <a:pt x="126" y="86"/>
                    <a:pt x="218" y="95"/>
                    <a:pt x="276" y="100"/>
                  </a:cubicBezTo>
                  <a:cubicBezTo>
                    <a:pt x="278" y="100"/>
                    <a:pt x="281" y="100"/>
                    <a:pt x="282" y="102"/>
                  </a:cubicBezTo>
                  <a:cubicBezTo>
                    <a:pt x="284" y="104"/>
                    <a:pt x="283" y="107"/>
                    <a:pt x="283" y="109"/>
                  </a:cubicBezTo>
                  <a:cubicBezTo>
                    <a:pt x="273" y="143"/>
                    <a:pt x="242" y="169"/>
                    <a:pt x="208" y="180"/>
                  </a:cubicBezTo>
                  <a:cubicBezTo>
                    <a:pt x="174" y="191"/>
                    <a:pt x="137" y="188"/>
                    <a:pt x="102" y="179"/>
                  </a:cubicBezTo>
                  <a:cubicBezTo>
                    <a:pt x="89" y="175"/>
                    <a:pt x="76" y="171"/>
                    <a:pt x="65" y="163"/>
                  </a:cubicBezTo>
                  <a:cubicBezTo>
                    <a:pt x="52" y="154"/>
                    <a:pt x="42" y="141"/>
                    <a:pt x="29" y="131"/>
                  </a:cubicBezTo>
                  <a:cubicBezTo>
                    <a:pt x="16" y="121"/>
                    <a:pt x="0" y="120"/>
                    <a:pt x="0" y="120"/>
                  </a:cubicBezTo>
                  <a:cubicBezTo>
                    <a:pt x="0" y="119"/>
                    <a:pt x="6" y="114"/>
                    <a:pt x="14" y="107"/>
                  </a:cubicBezTo>
                </a:path>
              </a:pathLst>
            </a:custGeom>
            <a:solidFill>
              <a:schemeClr val="accent6">
                <a:lumMod val="60000"/>
                <a:lumOff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37" name="Freeform 23">
              <a:extLst>
                <a:ext uri="{FF2B5EF4-FFF2-40B4-BE49-F238E27FC236}">
                  <a16:creationId xmlns:a16="http://schemas.microsoft.com/office/drawing/2014/main" id="{C809AD5B-A8BC-467B-AAC1-2E4C9E39EE3C}"/>
                </a:ext>
              </a:extLst>
            </p:cNvPr>
            <p:cNvSpPr>
              <a:spLocks/>
            </p:cNvSpPr>
            <p:nvPr/>
          </p:nvSpPr>
          <p:spPr bwMode="auto">
            <a:xfrm>
              <a:off x="4338362" y="2562276"/>
              <a:ext cx="581368" cy="448594"/>
            </a:xfrm>
            <a:custGeom>
              <a:avLst/>
              <a:gdLst>
                <a:gd name="T0" fmla="*/ 22 w 301"/>
                <a:gd name="T1" fmla="*/ 1 h 232"/>
                <a:gd name="T2" fmla="*/ 138 w 301"/>
                <a:gd name="T3" fmla="*/ 6 h 232"/>
                <a:gd name="T4" fmla="*/ 247 w 301"/>
                <a:gd name="T5" fmla="*/ 48 h 232"/>
                <a:gd name="T6" fmla="*/ 294 w 301"/>
                <a:gd name="T7" fmla="*/ 114 h 232"/>
                <a:gd name="T8" fmla="*/ 272 w 301"/>
                <a:gd name="T9" fmla="*/ 190 h 232"/>
                <a:gd name="T10" fmla="*/ 70 w 301"/>
                <a:gd name="T11" fmla="*/ 45 h 232"/>
                <a:gd name="T12" fmla="*/ 245 w 301"/>
                <a:gd name="T13" fmla="*/ 198 h 232"/>
                <a:gd name="T14" fmla="*/ 248 w 301"/>
                <a:gd name="T15" fmla="*/ 205 h 232"/>
                <a:gd name="T16" fmla="*/ 243 w 301"/>
                <a:gd name="T17" fmla="*/ 211 h 232"/>
                <a:gd name="T18" fmla="*/ 126 w 301"/>
                <a:gd name="T19" fmla="*/ 212 h 232"/>
                <a:gd name="T20" fmla="*/ 40 w 301"/>
                <a:gd name="T21" fmla="*/ 129 h 232"/>
                <a:gd name="T22" fmla="*/ 21 w 301"/>
                <a:gd name="T23" fmla="*/ 87 h 232"/>
                <a:gd name="T24" fmla="*/ 16 w 301"/>
                <a:gd name="T25" fmla="*/ 32 h 232"/>
                <a:gd name="T26" fmla="*/ 0 w 301"/>
                <a:gd name="T27" fmla="*/ 1 h 232"/>
                <a:gd name="T28" fmla="*/ 22 w 301"/>
                <a:gd name="T29" fmla="*/ 1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1" h="232">
                  <a:moveTo>
                    <a:pt x="22" y="1"/>
                  </a:moveTo>
                  <a:cubicBezTo>
                    <a:pt x="61" y="0"/>
                    <a:pt x="100" y="0"/>
                    <a:pt x="138" y="6"/>
                  </a:cubicBezTo>
                  <a:cubicBezTo>
                    <a:pt x="177" y="12"/>
                    <a:pt x="215" y="25"/>
                    <a:pt x="247" y="48"/>
                  </a:cubicBezTo>
                  <a:cubicBezTo>
                    <a:pt x="269" y="65"/>
                    <a:pt x="288" y="87"/>
                    <a:pt x="294" y="114"/>
                  </a:cubicBezTo>
                  <a:cubicBezTo>
                    <a:pt x="301" y="141"/>
                    <a:pt x="294" y="173"/>
                    <a:pt x="272" y="190"/>
                  </a:cubicBezTo>
                  <a:cubicBezTo>
                    <a:pt x="229" y="131"/>
                    <a:pt x="141" y="61"/>
                    <a:pt x="70" y="45"/>
                  </a:cubicBezTo>
                  <a:cubicBezTo>
                    <a:pt x="131" y="70"/>
                    <a:pt x="200" y="149"/>
                    <a:pt x="245" y="198"/>
                  </a:cubicBezTo>
                  <a:cubicBezTo>
                    <a:pt x="247" y="200"/>
                    <a:pt x="249" y="202"/>
                    <a:pt x="248" y="205"/>
                  </a:cubicBezTo>
                  <a:cubicBezTo>
                    <a:pt x="248" y="208"/>
                    <a:pt x="245" y="210"/>
                    <a:pt x="243" y="211"/>
                  </a:cubicBezTo>
                  <a:cubicBezTo>
                    <a:pt x="208" y="232"/>
                    <a:pt x="163" y="230"/>
                    <a:pt x="126" y="212"/>
                  </a:cubicBezTo>
                  <a:cubicBezTo>
                    <a:pt x="90" y="194"/>
                    <a:pt x="61" y="163"/>
                    <a:pt x="40" y="129"/>
                  </a:cubicBezTo>
                  <a:cubicBezTo>
                    <a:pt x="32" y="116"/>
                    <a:pt x="24" y="102"/>
                    <a:pt x="21" y="87"/>
                  </a:cubicBezTo>
                  <a:cubicBezTo>
                    <a:pt x="17" y="69"/>
                    <a:pt x="19" y="50"/>
                    <a:pt x="16" y="32"/>
                  </a:cubicBezTo>
                  <a:cubicBezTo>
                    <a:pt x="13" y="14"/>
                    <a:pt x="0" y="1"/>
                    <a:pt x="0" y="1"/>
                  </a:cubicBezTo>
                  <a:cubicBezTo>
                    <a:pt x="1" y="0"/>
                    <a:pt x="10" y="0"/>
                    <a:pt x="22" y="1"/>
                  </a:cubicBezTo>
                </a:path>
              </a:pathLst>
            </a:custGeom>
            <a:solidFill>
              <a:schemeClr val="accent6">
                <a:lumMod val="60000"/>
                <a:lumOff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38" name="Freeform 24">
              <a:extLst>
                <a:ext uri="{FF2B5EF4-FFF2-40B4-BE49-F238E27FC236}">
                  <a16:creationId xmlns:a16="http://schemas.microsoft.com/office/drawing/2014/main" id="{B5DF00F4-C8E7-4E87-92BC-F5EF6CF6DCA4}"/>
                </a:ext>
              </a:extLst>
            </p:cNvPr>
            <p:cNvSpPr>
              <a:spLocks/>
            </p:cNvSpPr>
            <p:nvPr/>
          </p:nvSpPr>
          <p:spPr bwMode="auto">
            <a:xfrm>
              <a:off x="4942932" y="2301885"/>
              <a:ext cx="444727" cy="600704"/>
            </a:xfrm>
            <a:custGeom>
              <a:avLst/>
              <a:gdLst>
                <a:gd name="T0" fmla="*/ 60 w 230"/>
                <a:gd name="T1" fmla="*/ 13 h 311"/>
                <a:gd name="T2" fmla="*/ 153 w 230"/>
                <a:gd name="T3" fmla="*/ 83 h 311"/>
                <a:gd name="T4" fmla="*/ 218 w 230"/>
                <a:gd name="T5" fmla="*/ 179 h 311"/>
                <a:gd name="T6" fmla="*/ 220 w 230"/>
                <a:gd name="T7" fmla="*/ 261 h 311"/>
                <a:gd name="T8" fmla="*/ 158 w 230"/>
                <a:gd name="T9" fmla="*/ 311 h 311"/>
                <a:gd name="T10" fmla="*/ 75 w 230"/>
                <a:gd name="T11" fmla="*/ 76 h 311"/>
                <a:gd name="T12" fmla="*/ 131 w 230"/>
                <a:gd name="T13" fmla="*/ 301 h 311"/>
                <a:gd name="T14" fmla="*/ 130 w 230"/>
                <a:gd name="T15" fmla="*/ 309 h 311"/>
                <a:gd name="T16" fmla="*/ 123 w 230"/>
                <a:gd name="T17" fmla="*/ 311 h 311"/>
                <a:gd name="T18" fmla="*/ 26 w 230"/>
                <a:gd name="T19" fmla="*/ 246 h 311"/>
                <a:gd name="T20" fmla="*/ 2 w 230"/>
                <a:gd name="T21" fmla="*/ 128 h 311"/>
                <a:gd name="T22" fmla="*/ 10 w 230"/>
                <a:gd name="T23" fmla="*/ 83 h 311"/>
                <a:gd name="T24" fmla="*/ 37 w 230"/>
                <a:gd name="T25" fmla="*/ 35 h 311"/>
                <a:gd name="T26" fmla="*/ 42 w 230"/>
                <a:gd name="T27" fmla="*/ 1 h 311"/>
                <a:gd name="T28" fmla="*/ 60 w 230"/>
                <a:gd name="T29" fmla="*/ 13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0" h="311">
                  <a:moveTo>
                    <a:pt x="60" y="13"/>
                  </a:moveTo>
                  <a:cubicBezTo>
                    <a:pt x="92" y="34"/>
                    <a:pt x="124" y="57"/>
                    <a:pt x="153" y="83"/>
                  </a:cubicBezTo>
                  <a:cubicBezTo>
                    <a:pt x="181" y="110"/>
                    <a:pt x="205" y="142"/>
                    <a:pt x="218" y="179"/>
                  </a:cubicBezTo>
                  <a:cubicBezTo>
                    <a:pt x="227" y="206"/>
                    <a:pt x="230" y="235"/>
                    <a:pt x="220" y="261"/>
                  </a:cubicBezTo>
                  <a:cubicBezTo>
                    <a:pt x="210" y="287"/>
                    <a:pt x="186" y="309"/>
                    <a:pt x="158" y="311"/>
                  </a:cubicBezTo>
                  <a:cubicBezTo>
                    <a:pt x="156" y="238"/>
                    <a:pt x="124" y="130"/>
                    <a:pt x="75" y="76"/>
                  </a:cubicBezTo>
                  <a:cubicBezTo>
                    <a:pt x="110" y="132"/>
                    <a:pt x="123" y="236"/>
                    <a:pt x="131" y="301"/>
                  </a:cubicBezTo>
                  <a:cubicBezTo>
                    <a:pt x="132" y="304"/>
                    <a:pt x="132" y="307"/>
                    <a:pt x="130" y="309"/>
                  </a:cubicBezTo>
                  <a:cubicBezTo>
                    <a:pt x="128" y="311"/>
                    <a:pt x="125" y="311"/>
                    <a:pt x="123" y="311"/>
                  </a:cubicBezTo>
                  <a:cubicBezTo>
                    <a:pt x="82" y="309"/>
                    <a:pt x="46" y="281"/>
                    <a:pt x="26" y="246"/>
                  </a:cubicBezTo>
                  <a:cubicBezTo>
                    <a:pt x="6" y="211"/>
                    <a:pt x="0" y="169"/>
                    <a:pt x="2" y="128"/>
                  </a:cubicBezTo>
                  <a:cubicBezTo>
                    <a:pt x="3" y="113"/>
                    <a:pt x="5" y="97"/>
                    <a:pt x="10" y="83"/>
                  </a:cubicBezTo>
                  <a:cubicBezTo>
                    <a:pt x="17" y="66"/>
                    <a:pt x="29" y="52"/>
                    <a:pt x="37" y="35"/>
                  </a:cubicBezTo>
                  <a:cubicBezTo>
                    <a:pt x="45" y="19"/>
                    <a:pt x="42" y="1"/>
                    <a:pt x="42" y="1"/>
                  </a:cubicBezTo>
                  <a:cubicBezTo>
                    <a:pt x="44" y="0"/>
                    <a:pt x="51" y="5"/>
                    <a:pt x="60" y="13"/>
                  </a:cubicBezTo>
                </a:path>
              </a:pathLst>
            </a:custGeom>
            <a:solidFill>
              <a:schemeClr val="accent6">
                <a:lumMod val="60000"/>
                <a:lumOff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39" name="Freeform 25">
              <a:extLst>
                <a:ext uri="{FF2B5EF4-FFF2-40B4-BE49-F238E27FC236}">
                  <a16:creationId xmlns:a16="http://schemas.microsoft.com/office/drawing/2014/main" id="{6C825DDB-7403-4C0B-9D16-20F8CF184D23}"/>
                </a:ext>
              </a:extLst>
            </p:cNvPr>
            <p:cNvSpPr>
              <a:spLocks/>
            </p:cNvSpPr>
            <p:nvPr/>
          </p:nvSpPr>
          <p:spPr bwMode="auto">
            <a:xfrm>
              <a:off x="3603596" y="3442706"/>
              <a:ext cx="654844" cy="407344"/>
            </a:xfrm>
            <a:custGeom>
              <a:avLst/>
              <a:gdLst>
                <a:gd name="T0" fmla="*/ 17 w 339"/>
                <a:gd name="T1" fmla="*/ 92 h 211"/>
                <a:gd name="T2" fmla="*/ 116 w 339"/>
                <a:gd name="T3" fmla="*/ 29 h 211"/>
                <a:gd name="T4" fmla="*/ 228 w 339"/>
                <a:gd name="T5" fmla="*/ 1 h 211"/>
                <a:gd name="T6" fmla="*/ 306 w 339"/>
                <a:gd name="T7" fmla="*/ 28 h 211"/>
                <a:gd name="T8" fmla="*/ 331 w 339"/>
                <a:gd name="T9" fmla="*/ 102 h 211"/>
                <a:gd name="T10" fmla="*/ 82 w 339"/>
                <a:gd name="T11" fmla="*/ 100 h 211"/>
                <a:gd name="T12" fmla="*/ 313 w 339"/>
                <a:gd name="T13" fmla="*/ 124 h 211"/>
                <a:gd name="T14" fmla="*/ 320 w 339"/>
                <a:gd name="T15" fmla="*/ 129 h 211"/>
                <a:gd name="T16" fmla="*/ 319 w 339"/>
                <a:gd name="T17" fmla="*/ 136 h 211"/>
                <a:gd name="T18" fmla="*/ 225 w 339"/>
                <a:gd name="T19" fmla="*/ 204 h 211"/>
                <a:gd name="T20" fmla="*/ 106 w 339"/>
                <a:gd name="T21" fmla="*/ 186 h 211"/>
                <a:gd name="T22" fmla="*/ 67 w 339"/>
                <a:gd name="T23" fmla="*/ 163 h 211"/>
                <a:gd name="T24" fmla="*/ 31 w 339"/>
                <a:gd name="T25" fmla="*/ 121 h 211"/>
                <a:gd name="T26" fmla="*/ 0 w 339"/>
                <a:gd name="T27" fmla="*/ 105 h 211"/>
                <a:gd name="T28" fmla="*/ 17 w 339"/>
                <a:gd name="T29" fmla="*/ 92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39" h="211">
                  <a:moveTo>
                    <a:pt x="17" y="92"/>
                  </a:moveTo>
                  <a:cubicBezTo>
                    <a:pt x="49" y="70"/>
                    <a:pt x="81" y="47"/>
                    <a:pt x="116" y="29"/>
                  </a:cubicBezTo>
                  <a:cubicBezTo>
                    <a:pt x="151" y="12"/>
                    <a:pt x="189" y="0"/>
                    <a:pt x="228" y="1"/>
                  </a:cubicBezTo>
                  <a:cubicBezTo>
                    <a:pt x="256" y="2"/>
                    <a:pt x="285" y="10"/>
                    <a:pt x="306" y="28"/>
                  </a:cubicBezTo>
                  <a:cubicBezTo>
                    <a:pt x="327" y="46"/>
                    <a:pt x="339" y="76"/>
                    <a:pt x="331" y="102"/>
                  </a:cubicBezTo>
                  <a:cubicBezTo>
                    <a:pt x="262" y="80"/>
                    <a:pt x="150" y="73"/>
                    <a:pt x="82" y="100"/>
                  </a:cubicBezTo>
                  <a:cubicBezTo>
                    <a:pt x="147" y="86"/>
                    <a:pt x="249" y="110"/>
                    <a:pt x="313" y="124"/>
                  </a:cubicBezTo>
                  <a:cubicBezTo>
                    <a:pt x="316" y="125"/>
                    <a:pt x="319" y="126"/>
                    <a:pt x="320" y="129"/>
                  </a:cubicBezTo>
                  <a:cubicBezTo>
                    <a:pt x="321" y="131"/>
                    <a:pt x="321" y="134"/>
                    <a:pt x="319" y="136"/>
                  </a:cubicBezTo>
                  <a:cubicBezTo>
                    <a:pt x="303" y="173"/>
                    <a:pt x="265" y="198"/>
                    <a:pt x="225" y="204"/>
                  </a:cubicBezTo>
                  <a:cubicBezTo>
                    <a:pt x="185" y="211"/>
                    <a:pt x="143" y="202"/>
                    <a:pt x="106" y="186"/>
                  </a:cubicBezTo>
                  <a:cubicBezTo>
                    <a:pt x="92" y="180"/>
                    <a:pt x="78" y="173"/>
                    <a:pt x="67" y="163"/>
                  </a:cubicBezTo>
                  <a:cubicBezTo>
                    <a:pt x="53" y="151"/>
                    <a:pt x="44" y="134"/>
                    <a:pt x="31" y="121"/>
                  </a:cubicBezTo>
                  <a:cubicBezTo>
                    <a:pt x="18" y="108"/>
                    <a:pt x="0" y="105"/>
                    <a:pt x="0" y="105"/>
                  </a:cubicBezTo>
                  <a:cubicBezTo>
                    <a:pt x="0" y="103"/>
                    <a:pt x="8" y="98"/>
                    <a:pt x="17" y="92"/>
                  </a:cubicBezTo>
                </a:path>
              </a:pathLst>
            </a:custGeom>
            <a:solidFill>
              <a:schemeClr val="accent6">
                <a:lumMod val="60000"/>
                <a:lumOff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40" name="Freeform 26">
              <a:extLst>
                <a:ext uri="{FF2B5EF4-FFF2-40B4-BE49-F238E27FC236}">
                  <a16:creationId xmlns:a16="http://schemas.microsoft.com/office/drawing/2014/main" id="{19C56F3A-B598-4975-B15C-199BA4D5BC7F}"/>
                </a:ext>
              </a:extLst>
            </p:cNvPr>
            <p:cNvSpPr>
              <a:spLocks/>
            </p:cNvSpPr>
            <p:nvPr/>
          </p:nvSpPr>
          <p:spPr bwMode="auto">
            <a:xfrm>
              <a:off x="4013518" y="3034073"/>
              <a:ext cx="583946" cy="443438"/>
            </a:xfrm>
            <a:custGeom>
              <a:avLst/>
              <a:gdLst>
                <a:gd name="T0" fmla="*/ 21 w 302"/>
                <a:gd name="T1" fmla="*/ 1 h 230"/>
                <a:gd name="T2" fmla="*/ 138 w 302"/>
                <a:gd name="T3" fmla="*/ 5 h 230"/>
                <a:gd name="T4" fmla="*/ 246 w 302"/>
                <a:gd name="T5" fmla="*/ 46 h 230"/>
                <a:gd name="T6" fmla="*/ 295 w 302"/>
                <a:gd name="T7" fmla="*/ 112 h 230"/>
                <a:gd name="T8" fmla="*/ 274 w 302"/>
                <a:gd name="T9" fmla="*/ 188 h 230"/>
                <a:gd name="T10" fmla="*/ 70 w 302"/>
                <a:gd name="T11" fmla="*/ 44 h 230"/>
                <a:gd name="T12" fmla="*/ 246 w 302"/>
                <a:gd name="T13" fmla="*/ 196 h 230"/>
                <a:gd name="T14" fmla="*/ 250 w 302"/>
                <a:gd name="T15" fmla="*/ 203 h 230"/>
                <a:gd name="T16" fmla="*/ 245 w 302"/>
                <a:gd name="T17" fmla="*/ 209 h 230"/>
                <a:gd name="T18" fmla="*/ 128 w 302"/>
                <a:gd name="T19" fmla="*/ 211 h 230"/>
                <a:gd name="T20" fmla="*/ 41 w 302"/>
                <a:gd name="T21" fmla="*/ 129 h 230"/>
                <a:gd name="T22" fmla="*/ 21 w 302"/>
                <a:gd name="T23" fmla="*/ 87 h 230"/>
                <a:gd name="T24" fmla="*/ 16 w 302"/>
                <a:gd name="T25" fmla="*/ 33 h 230"/>
                <a:gd name="T26" fmla="*/ 0 w 302"/>
                <a:gd name="T27" fmla="*/ 1 h 230"/>
                <a:gd name="T28" fmla="*/ 21 w 302"/>
                <a:gd name="T29" fmla="*/ 1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2" h="230">
                  <a:moveTo>
                    <a:pt x="21" y="1"/>
                  </a:moveTo>
                  <a:cubicBezTo>
                    <a:pt x="60" y="0"/>
                    <a:pt x="99" y="0"/>
                    <a:pt x="138" y="5"/>
                  </a:cubicBezTo>
                  <a:cubicBezTo>
                    <a:pt x="177" y="11"/>
                    <a:pt x="215" y="23"/>
                    <a:pt x="246" y="46"/>
                  </a:cubicBezTo>
                  <a:cubicBezTo>
                    <a:pt x="269" y="62"/>
                    <a:pt x="288" y="85"/>
                    <a:pt x="295" y="112"/>
                  </a:cubicBezTo>
                  <a:cubicBezTo>
                    <a:pt x="302" y="139"/>
                    <a:pt x="295" y="170"/>
                    <a:pt x="274" y="188"/>
                  </a:cubicBezTo>
                  <a:cubicBezTo>
                    <a:pt x="229" y="130"/>
                    <a:pt x="141" y="60"/>
                    <a:pt x="70" y="44"/>
                  </a:cubicBezTo>
                  <a:cubicBezTo>
                    <a:pt x="131" y="69"/>
                    <a:pt x="201" y="147"/>
                    <a:pt x="246" y="196"/>
                  </a:cubicBezTo>
                  <a:cubicBezTo>
                    <a:pt x="248" y="198"/>
                    <a:pt x="250" y="200"/>
                    <a:pt x="250" y="203"/>
                  </a:cubicBezTo>
                  <a:cubicBezTo>
                    <a:pt x="249" y="206"/>
                    <a:pt x="247" y="207"/>
                    <a:pt x="245" y="209"/>
                  </a:cubicBezTo>
                  <a:cubicBezTo>
                    <a:pt x="210" y="230"/>
                    <a:pt x="165" y="228"/>
                    <a:pt x="128" y="211"/>
                  </a:cubicBezTo>
                  <a:cubicBezTo>
                    <a:pt x="91" y="194"/>
                    <a:pt x="62" y="163"/>
                    <a:pt x="41" y="129"/>
                  </a:cubicBezTo>
                  <a:cubicBezTo>
                    <a:pt x="32" y="116"/>
                    <a:pt x="25" y="102"/>
                    <a:pt x="21" y="87"/>
                  </a:cubicBezTo>
                  <a:cubicBezTo>
                    <a:pt x="17" y="69"/>
                    <a:pt x="19" y="51"/>
                    <a:pt x="16" y="33"/>
                  </a:cubicBezTo>
                  <a:cubicBezTo>
                    <a:pt x="13" y="14"/>
                    <a:pt x="0" y="1"/>
                    <a:pt x="0" y="1"/>
                  </a:cubicBezTo>
                  <a:cubicBezTo>
                    <a:pt x="1" y="0"/>
                    <a:pt x="10" y="0"/>
                    <a:pt x="21" y="1"/>
                  </a:cubicBezTo>
                </a:path>
              </a:pathLst>
            </a:custGeom>
            <a:solidFill>
              <a:schemeClr val="accent6">
                <a:lumMod val="60000"/>
                <a:lumOff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41" name="Freeform 27">
              <a:extLst>
                <a:ext uri="{FF2B5EF4-FFF2-40B4-BE49-F238E27FC236}">
                  <a16:creationId xmlns:a16="http://schemas.microsoft.com/office/drawing/2014/main" id="{44385094-75AD-4CD1-A65A-91709FF2FC7C}"/>
                </a:ext>
              </a:extLst>
            </p:cNvPr>
            <p:cNvSpPr>
              <a:spLocks/>
            </p:cNvSpPr>
            <p:nvPr/>
          </p:nvSpPr>
          <p:spPr bwMode="auto">
            <a:xfrm>
              <a:off x="4289378" y="3758526"/>
              <a:ext cx="656134" cy="407344"/>
            </a:xfrm>
            <a:custGeom>
              <a:avLst/>
              <a:gdLst>
                <a:gd name="T0" fmla="*/ 18 w 339"/>
                <a:gd name="T1" fmla="*/ 92 h 211"/>
                <a:gd name="T2" fmla="*/ 116 w 339"/>
                <a:gd name="T3" fmla="*/ 29 h 211"/>
                <a:gd name="T4" fmla="*/ 229 w 339"/>
                <a:gd name="T5" fmla="*/ 1 h 211"/>
                <a:gd name="T6" fmla="*/ 306 w 339"/>
                <a:gd name="T7" fmla="*/ 27 h 211"/>
                <a:gd name="T8" fmla="*/ 332 w 339"/>
                <a:gd name="T9" fmla="*/ 102 h 211"/>
                <a:gd name="T10" fmla="*/ 83 w 339"/>
                <a:gd name="T11" fmla="*/ 100 h 211"/>
                <a:gd name="T12" fmla="*/ 314 w 339"/>
                <a:gd name="T13" fmla="*/ 124 h 211"/>
                <a:gd name="T14" fmla="*/ 321 w 339"/>
                <a:gd name="T15" fmla="*/ 128 h 211"/>
                <a:gd name="T16" fmla="*/ 320 w 339"/>
                <a:gd name="T17" fmla="*/ 136 h 211"/>
                <a:gd name="T18" fmla="*/ 225 w 339"/>
                <a:gd name="T19" fmla="*/ 204 h 211"/>
                <a:gd name="T20" fmla="*/ 106 w 339"/>
                <a:gd name="T21" fmla="*/ 186 h 211"/>
                <a:gd name="T22" fmla="*/ 67 w 339"/>
                <a:gd name="T23" fmla="*/ 163 h 211"/>
                <a:gd name="T24" fmla="*/ 31 w 339"/>
                <a:gd name="T25" fmla="*/ 121 h 211"/>
                <a:gd name="T26" fmla="*/ 0 w 339"/>
                <a:gd name="T27" fmla="*/ 104 h 211"/>
                <a:gd name="T28" fmla="*/ 18 w 339"/>
                <a:gd name="T29" fmla="*/ 92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39" h="211">
                  <a:moveTo>
                    <a:pt x="18" y="92"/>
                  </a:moveTo>
                  <a:cubicBezTo>
                    <a:pt x="50" y="69"/>
                    <a:pt x="81" y="46"/>
                    <a:pt x="116" y="29"/>
                  </a:cubicBezTo>
                  <a:cubicBezTo>
                    <a:pt x="151" y="12"/>
                    <a:pt x="190" y="0"/>
                    <a:pt x="229" y="1"/>
                  </a:cubicBezTo>
                  <a:cubicBezTo>
                    <a:pt x="257" y="1"/>
                    <a:pt x="285" y="9"/>
                    <a:pt x="306" y="27"/>
                  </a:cubicBezTo>
                  <a:cubicBezTo>
                    <a:pt x="327" y="45"/>
                    <a:pt x="339" y="75"/>
                    <a:pt x="332" y="102"/>
                  </a:cubicBezTo>
                  <a:cubicBezTo>
                    <a:pt x="262" y="79"/>
                    <a:pt x="150" y="72"/>
                    <a:pt x="83" y="100"/>
                  </a:cubicBezTo>
                  <a:cubicBezTo>
                    <a:pt x="147" y="85"/>
                    <a:pt x="249" y="109"/>
                    <a:pt x="314" y="124"/>
                  </a:cubicBezTo>
                  <a:cubicBezTo>
                    <a:pt x="316" y="125"/>
                    <a:pt x="320" y="126"/>
                    <a:pt x="321" y="128"/>
                  </a:cubicBezTo>
                  <a:cubicBezTo>
                    <a:pt x="322" y="130"/>
                    <a:pt x="321" y="133"/>
                    <a:pt x="320" y="136"/>
                  </a:cubicBezTo>
                  <a:cubicBezTo>
                    <a:pt x="304" y="173"/>
                    <a:pt x="265" y="197"/>
                    <a:pt x="225" y="204"/>
                  </a:cubicBezTo>
                  <a:cubicBezTo>
                    <a:pt x="185" y="211"/>
                    <a:pt x="144" y="202"/>
                    <a:pt x="106" y="186"/>
                  </a:cubicBezTo>
                  <a:cubicBezTo>
                    <a:pt x="92" y="180"/>
                    <a:pt x="78" y="173"/>
                    <a:pt x="67" y="163"/>
                  </a:cubicBezTo>
                  <a:cubicBezTo>
                    <a:pt x="53" y="150"/>
                    <a:pt x="44" y="134"/>
                    <a:pt x="31" y="121"/>
                  </a:cubicBezTo>
                  <a:cubicBezTo>
                    <a:pt x="19" y="107"/>
                    <a:pt x="0" y="104"/>
                    <a:pt x="0" y="104"/>
                  </a:cubicBezTo>
                  <a:cubicBezTo>
                    <a:pt x="1" y="103"/>
                    <a:pt x="8" y="98"/>
                    <a:pt x="18" y="92"/>
                  </a:cubicBezTo>
                </a:path>
              </a:pathLst>
            </a:custGeom>
            <a:solidFill>
              <a:schemeClr val="accent6">
                <a:lumMod val="60000"/>
                <a:lumOff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42" name="Freeform 28">
              <a:extLst>
                <a:ext uri="{FF2B5EF4-FFF2-40B4-BE49-F238E27FC236}">
                  <a16:creationId xmlns:a16="http://schemas.microsoft.com/office/drawing/2014/main" id="{680193DE-1C46-4A09-9061-0DD4991EEB03}"/>
                </a:ext>
              </a:extLst>
            </p:cNvPr>
            <p:cNvSpPr>
              <a:spLocks/>
            </p:cNvSpPr>
            <p:nvPr/>
          </p:nvSpPr>
          <p:spPr bwMode="auto">
            <a:xfrm>
              <a:off x="4699300" y="3348604"/>
              <a:ext cx="586524" cy="444727"/>
            </a:xfrm>
            <a:custGeom>
              <a:avLst/>
              <a:gdLst>
                <a:gd name="T0" fmla="*/ 21 w 303"/>
                <a:gd name="T1" fmla="*/ 2 h 231"/>
                <a:gd name="T2" fmla="*/ 138 w 303"/>
                <a:gd name="T3" fmla="*/ 6 h 231"/>
                <a:gd name="T4" fmla="*/ 247 w 303"/>
                <a:gd name="T5" fmla="*/ 47 h 231"/>
                <a:gd name="T6" fmla="*/ 296 w 303"/>
                <a:gd name="T7" fmla="*/ 112 h 231"/>
                <a:gd name="T8" fmla="*/ 274 w 303"/>
                <a:gd name="T9" fmla="*/ 188 h 231"/>
                <a:gd name="T10" fmla="*/ 70 w 303"/>
                <a:gd name="T11" fmla="*/ 45 h 231"/>
                <a:gd name="T12" fmla="*/ 247 w 303"/>
                <a:gd name="T13" fmla="*/ 196 h 231"/>
                <a:gd name="T14" fmla="*/ 250 w 303"/>
                <a:gd name="T15" fmla="*/ 204 h 231"/>
                <a:gd name="T16" fmla="*/ 245 w 303"/>
                <a:gd name="T17" fmla="*/ 209 h 231"/>
                <a:gd name="T18" fmla="*/ 128 w 303"/>
                <a:gd name="T19" fmla="*/ 212 h 231"/>
                <a:gd name="T20" fmla="*/ 41 w 303"/>
                <a:gd name="T21" fmla="*/ 129 h 231"/>
                <a:gd name="T22" fmla="*/ 22 w 303"/>
                <a:gd name="T23" fmla="*/ 88 h 231"/>
                <a:gd name="T24" fmla="*/ 16 w 303"/>
                <a:gd name="T25" fmla="*/ 33 h 231"/>
                <a:gd name="T26" fmla="*/ 0 w 303"/>
                <a:gd name="T27" fmla="*/ 2 h 231"/>
                <a:gd name="T28" fmla="*/ 21 w 303"/>
                <a:gd name="T29" fmla="*/ 2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3" h="231">
                  <a:moveTo>
                    <a:pt x="21" y="2"/>
                  </a:moveTo>
                  <a:cubicBezTo>
                    <a:pt x="61" y="1"/>
                    <a:pt x="100" y="0"/>
                    <a:pt x="138" y="6"/>
                  </a:cubicBezTo>
                  <a:cubicBezTo>
                    <a:pt x="177" y="11"/>
                    <a:pt x="215" y="24"/>
                    <a:pt x="247" y="47"/>
                  </a:cubicBezTo>
                  <a:cubicBezTo>
                    <a:pt x="269" y="63"/>
                    <a:pt x="288" y="85"/>
                    <a:pt x="296" y="112"/>
                  </a:cubicBezTo>
                  <a:cubicBezTo>
                    <a:pt x="303" y="139"/>
                    <a:pt x="296" y="171"/>
                    <a:pt x="274" y="188"/>
                  </a:cubicBezTo>
                  <a:cubicBezTo>
                    <a:pt x="230" y="130"/>
                    <a:pt x="142" y="61"/>
                    <a:pt x="70" y="45"/>
                  </a:cubicBezTo>
                  <a:cubicBezTo>
                    <a:pt x="132" y="70"/>
                    <a:pt x="202" y="148"/>
                    <a:pt x="247" y="196"/>
                  </a:cubicBezTo>
                  <a:cubicBezTo>
                    <a:pt x="249" y="198"/>
                    <a:pt x="251" y="201"/>
                    <a:pt x="250" y="204"/>
                  </a:cubicBezTo>
                  <a:cubicBezTo>
                    <a:pt x="250" y="206"/>
                    <a:pt x="247" y="208"/>
                    <a:pt x="245" y="209"/>
                  </a:cubicBezTo>
                  <a:cubicBezTo>
                    <a:pt x="211" y="231"/>
                    <a:pt x="165" y="229"/>
                    <a:pt x="128" y="212"/>
                  </a:cubicBezTo>
                  <a:cubicBezTo>
                    <a:pt x="92" y="195"/>
                    <a:pt x="63" y="164"/>
                    <a:pt x="41" y="129"/>
                  </a:cubicBezTo>
                  <a:cubicBezTo>
                    <a:pt x="33" y="116"/>
                    <a:pt x="25" y="103"/>
                    <a:pt x="22" y="88"/>
                  </a:cubicBezTo>
                  <a:cubicBezTo>
                    <a:pt x="18" y="70"/>
                    <a:pt x="19" y="51"/>
                    <a:pt x="16" y="33"/>
                  </a:cubicBezTo>
                  <a:cubicBezTo>
                    <a:pt x="13" y="15"/>
                    <a:pt x="0" y="2"/>
                    <a:pt x="0" y="2"/>
                  </a:cubicBezTo>
                  <a:cubicBezTo>
                    <a:pt x="1" y="1"/>
                    <a:pt x="10" y="1"/>
                    <a:pt x="21" y="2"/>
                  </a:cubicBezTo>
                </a:path>
              </a:pathLst>
            </a:custGeom>
            <a:solidFill>
              <a:schemeClr val="accent6">
                <a:lumMod val="60000"/>
                <a:lumOff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grpSp>
      <p:sp>
        <p:nvSpPr>
          <p:cNvPr id="45" name="Rectangle 29">
            <a:extLst>
              <a:ext uri="{FF2B5EF4-FFF2-40B4-BE49-F238E27FC236}">
                <a16:creationId xmlns:a16="http://schemas.microsoft.com/office/drawing/2014/main" id="{41D3E226-FF7C-4776-A191-E61C9C8218EE}"/>
              </a:ext>
            </a:extLst>
          </p:cNvPr>
          <p:cNvSpPr>
            <a:spLocks noChangeArrowheads="1"/>
          </p:cNvSpPr>
          <p:nvPr/>
        </p:nvSpPr>
        <p:spPr bwMode="auto">
          <a:xfrm>
            <a:off x="3176" y="6137276"/>
            <a:ext cx="12185651" cy="750888"/>
          </a:xfrm>
          <a:prstGeom prst="rect">
            <a:avLst/>
          </a:prstGeom>
          <a:solidFill>
            <a:schemeClr val="bg2">
              <a:lumMod val="9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46" name="Freeform 31">
            <a:extLst>
              <a:ext uri="{FF2B5EF4-FFF2-40B4-BE49-F238E27FC236}">
                <a16:creationId xmlns:a16="http://schemas.microsoft.com/office/drawing/2014/main" id="{7BAA90D2-1893-47BD-9D85-47B7418DD32E}"/>
              </a:ext>
            </a:extLst>
          </p:cNvPr>
          <p:cNvSpPr>
            <a:spLocks noEditPoints="1"/>
          </p:cNvSpPr>
          <p:nvPr/>
        </p:nvSpPr>
        <p:spPr bwMode="auto">
          <a:xfrm>
            <a:off x="4752153" y="2812357"/>
            <a:ext cx="2722503" cy="3849143"/>
          </a:xfrm>
          <a:custGeom>
            <a:avLst/>
            <a:gdLst>
              <a:gd name="T0" fmla="*/ 1303 w 1409"/>
              <a:gd name="T1" fmla="*/ 1248 h 1995"/>
              <a:gd name="T2" fmla="*/ 1239 w 1409"/>
              <a:gd name="T3" fmla="*/ 1117 h 1995"/>
              <a:gd name="T4" fmla="*/ 1162 w 1409"/>
              <a:gd name="T5" fmla="*/ 1066 h 1995"/>
              <a:gd name="T6" fmla="*/ 1038 w 1409"/>
              <a:gd name="T7" fmla="*/ 1202 h 1995"/>
              <a:gd name="T8" fmla="*/ 1124 w 1409"/>
              <a:gd name="T9" fmla="*/ 402 h 1995"/>
              <a:gd name="T10" fmla="*/ 969 w 1409"/>
              <a:gd name="T11" fmla="*/ 837 h 1995"/>
              <a:gd name="T12" fmla="*/ 904 w 1409"/>
              <a:gd name="T13" fmla="*/ 1113 h 1995"/>
              <a:gd name="T14" fmla="*/ 856 w 1409"/>
              <a:gd name="T15" fmla="*/ 1201 h 1995"/>
              <a:gd name="T16" fmla="*/ 841 w 1409"/>
              <a:gd name="T17" fmla="*/ 1218 h 1995"/>
              <a:gd name="T18" fmla="*/ 793 w 1409"/>
              <a:gd name="T19" fmla="*/ 1260 h 1995"/>
              <a:gd name="T20" fmla="*/ 793 w 1409"/>
              <a:gd name="T21" fmla="*/ 1241 h 1995"/>
              <a:gd name="T22" fmla="*/ 877 w 1409"/>
              <a:gd name="T23" fmla="*/ 715 h 1995"/>
              <a:gd name="T24" fmla="*/ 1005 w 1409"/>
              <a:gd name="T25" fmla="*/ 266 h 1995"/>
              <a:gd name="T26" fmla="*/ 1183 w 1409"/>
              <a:gd name="T27" fmla="*/ 8 h 1995"/>
              <a:gd name="T28" fmla="*/ 792 w 1409"/>
              <a:gd name="T29" fmla="*/ 461 h 1995"/>
              <a:gd name="T30" fmla="*/ 737 w 1409"/>
              <a:gd name="T31" fmla="*/ 885 h 1995"/>
              <a:gd name="T32" fmla="*/ 736 w 1409"/>
              <a:gd name="T33" fmla="*/ 899 h 1995"/>
              <a:gd name="T34" fmla="*/ 635 w 1409"/>
              <a:gd name="T35" fmla="*/ 1329 h 1995"/>
              <a:gd name="T36" fmla="*/ 561 w 1409"/>
              <a:gd name="T37" fmla="*/ 1183 h 1995"/>
              <a:gd name="T38" fmla="*/ 537 w 1409"/>
              <a:gd name="T39" fmla="*/ 887 h 1995"/>
              <a:gd name="T40" fmla="*/ 525 w 1409"/>
              <a:gd name="T41" fmla="*/ 283 h 1995"/>
              <a:gd name="T42" fmla="*/ 476 w 1409"/>
              <a:gd name="T43" fmla="*/ 568 h 1995"/>
              <a:gd name="T44" fmla="*/ 347 w 1409"/>
              <a:gd name="T45" fmla="*/ 680 h 1995"/>
              <a:gd name="T46" fmla="*/ 253 w 1409"/>
              <a:gd name="T47" fmla="*/ 549 h 1995"/>
              <a:gd name="T48" fmla="*/ 330 w 1409"/>
              <a:gd name="T49" fmla="*/ 849 h 1995"/>
              <a:gd name="T50" fmla="*/ 288 w 1409"/>
              <a:gd name="T51" fmla="*/ 1002 h 1995"/>
              <a:gd name="T52" fmla="*/ 134 w 1409"/>
              <a:gd name="T53" fmla="*/ 1037 h 1995"/>
              <a:gd name="T54" fmla="*/ 297 w 1409"/>
              <a:gd name="T55" fmla="*/ 1144 h 1995"/>
              <a:gd name="T56" fmla="*/ 327 w 1409"/>
              <a:gd name="T57" fmla="*/ 1165 h 1995"/>
              <a:gd name="T58" fmla="*/ 402 w 1409"/>
              <a:gd name="T59" fmla="*/ 1243 h 1995"/>
              <a:gd name="T60" fmla="*/ 407 w 1409"/>
              <a:gd name="T61" fmla="*/ 1306 h 1995"/>
              <a:gd name="T62" fmla="*/ 148 w 1409"/>
              <a:gd name="T63" fmla="*/ 1281 h 1995"/>
              <a:gd name="T64" fmla="*/ 1 w 1409"/>
              <a:gd name="T65" fmla="*/ 1177 h 1995"/>
              <a:gd name="T66" fmla="*/ 426 w 1409"/>
              <a:gd name="T67" fmla="*/ 1441 h 1995"/>
              <a:gd name="T68" fmla="*/ 462 w 1409"/>
              <a:gd name="T69" fmla="*/ 1444 h 1995"/>
              <a:gd name="T70" fmla="*/ 499 w 1409"/>
              <a:gd name="T71" fmla="*/ 1456 h 1995"/>
              <a:gd name="T72" fmla="*/ 548 w 1409"/>
              <a:gd name="T73" fmla="*/ 1572 h 1995"/>
              <a:gd name="T74" fmla="*/ 547 w 1409"/>
              <a:gd name="T75" fmla="*/ 1661 h 1995"/>
              <a:gd name="T76" fmla="*/ 525 w 1409"/>
              <a:gd name="T77" fmla="*/ 1752 h 1995"/>
              <a:gd name="T78" fmla="*/ 126 w 1409"/>
              <a:gd name="T79" fmla="*/ 1890 h 1995"/>
              <a:gd name="T80" fmla="*/ 1129 w 1409"/>
              <a:gd name="T81" fmla="*/ 1995 h 1995"/>
              <a:gd name="T82" fmla="*/ 1129 w 1409"/>
              <a:gd name="T83" fmla="*/ 1785 h 1995"/>
              <a:gd name="T84" fmla="*/ 845 w 1409"/>
              <a:gd name="T85" fmla="*/ 1740 h 1995"/>
              <a:gd name="T86" fmla="*/ 840 w 1409"/>
              <a:gd name="T87" fmla="*/ 1588 h 1995"/>
              <a:gd name="T88" fmla="*/ 843 w 1409"/>
              <a:gd name="T89" fmla="*/ 1575 h 1995"/>
              <a:gd name="T90" fmla="*/ 871 w 1409"/>
              <a:gd name="T91" fmla="*/ 1486 h 1995"/>
              <a:gd name="T92" fmla="*/ 891 w 1409"/>
              <a:gd name="T93" fmla="*/ 1452 h 1995"/>
              <a:gd name="T94" fmla="*/ 920 w 1409"/>
              <a:gd name="T95" fmla="*/ 1423 h 1995"/>
              <a:gd name="T96" fmla="*/ 997 w 1409"/>
              <a:gd name="T97" fmla="*/ 1381 h 1995"/>
              <a:gd name="T98" fmla="*/ 1111 w 1409"/>
              <a:gd name="T99" fmla="*/ 1367 h 1995"/>
              <a:gd name="T100" fmla="*/ 1401 w 1409"/>
              <a:gd name="T101" fmla="*/ 1246 h 1995"/>
              <a:gd name="T102" fmla="*/ 919 w 1409"/>
              <a:gd name="T103" fmla="*/ 1424 h 19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09" h="1995">
                <a:moveTo>
                  <a:pt x="1401" y="1246"/>
                </a:moveTo>
                <a:cubicBezTo>
                  <a:pt x="1400" y="1239"/>
                  <a:pt x="1393" y="1233"/>
                  <a:pt x="1386" y="1231"/>
                </a:cubicBezTo>
                <a:cubicBezTo>
                  <a:pt x="1359" y="1224"/>
                  <a:pt x="1327" y="1245"/>
                  <a:pt x="1303" y="1248"/>
                </a:cubicBezTo>
                <a:cubicBezTo>
                  <a:pt x="1273" y="1252"/>
                  <a:pt x="1243" y="1250"/>
                  <a:pt x="1213" y="1248"/>
                </a:cubicBezTo>
                <a:cubicBezTo>
                  <a:pt x="1194" y="1246"/>
                  <a:pt x="1176" y="1243"/>
                  <a:pt x="1158" y="1240"/>
                </a:cubicBezTo>
                <a:cubicBezTo>
                  <a:pt x="1189" y="1201"/>
                  <a:pt x="1215" y="1159"/>
                  <a:pt x="1239" y="1117"/>
                </a:cubicBezTo>
                <a:cubicBezTo>
                  <a:pt x="1284" y="1039"/>
                  <a:pt x="1329" y="947"/>
                  <a:pt x="1300" y="856"/>
                </a:cubicBezTo>
                <a:cubicBezTo>
                  <a:pt x="1296" y="843"/>
                  <a:pt x="1274" y="841"/>
                  <a:pt x="1271" y="856"/>
                </a:cubicBezTo>
                <a:cubicBezTo>
                  <a:pt x="1255" y="936"/>
                  <a:pt x="1213" y="1005"/>
                  <a:pt x="1162" y="1066"/>
                </a:cubicBezTo>
                <a:cubicBezTo>
                  <a:pt x="1137" y="1096"/>
                  <a:pt x="1112" y="1127"/>
                  <a:pt x="1085" y="1156"/>
                </a:cubicBezTo>
                <a:cubicBezTo>
                  <a:pt x="1073" y="1169"/>
                  <a:pt x="1060" y="1183"/>
                  <a:pt x="1046" y="1195"/>
                </a:cubicBezTo>
                <a:cubicBezTo>
                  <a:pt x="1044" y="1198"/>
                  <a:pt x="1041" y="1200"/>
                  <a:pt x="1038" y="1202"/>
                </a:cubicBezTo>
                <a:cubicBezTo>
                  <a:pt x="1055" y="1162"/>
                  <a:pt x="1068" y="1120"/>
                  <a:pt x="1078" y="1077"/>
                </a:cubicBezTo>
                <a:cubicBezTo>
                  <a:pt x="1104" y="966"/>
                  <a:pt x="1114" y="853"/>
                  <a:pt x="1114" y="740"/>
                </a:cubicBezTo>
                <a:cubicBezTo>
                  <a:pt x="1114" y="627"/>
                  <a:pt x="1082" y="512"/>
                  <a:pt x="1124" y="402"/>
                </a:cubicBezTo>
                <a:cubicBezTo>
                  <a:pt x="1129" y="388"/>
                  <a:pt x="1107" y="374"/>
                  <a:pt x="1097" y="387"/>
                </a:cubicBezTo>
                <a:cubicBezTo>
                  <a:pt x="1032" y="467"/>
                  <a:pt x="1010" y="568"/>
                  <a:pt x="994" y="668"/>
                </a:cubicBezTo>
                <a:cubicBezTo>
                  <a:pt x="983" y="731"/>
                  <a:pt x="980" y="777"/>
                  <a:pt x="969" y="837"/>
                </a:cubicBezTo>
                <a:cubicBezTo>
                  <a:pt x="960" y="891"/>
                  <a:pt x="951" y="946"/>
                  <a:pt x="938" y="999"/>
                </a:cubicBezTo>
                <a:cubicBezTo>
                  <a:pt x="932" y="1026"/>
                  <a:pt x="924" y="1052"/>
                  <a:pt x="916" y="1078"/>
                </a:cubicBezTo>
                <a:cubicBezTo>
                  <a:pt x="912" y="1089"/>
                  <a:pt x="908" y="1101"/>
                  <a:pt x="904" y="1113"/>
                </a:cubicBezTo>
                <a:cubicBezTo>
                  <a:pt x="902" y="1116"/>
                  <a:pt x="901" y="1119"/>
                  <a:pt x="900" y="1123"/>
                </a:cubicBezTo>
                <a:cubicBezTo>
                  <a:pt x="899" y="1124"/>
                  <a:pt x="893" y="1138"/>
                  <a:pt x="892" y="1140"/>
                </a:cubicBezTo>
                <a:cubicBezTo>
                  <a:pt x="881" y="1161"/>
                  <a:pt x="869" y="1181"/>
                  <a:pt x="856" y="1201"/>
                </a:cubicBezTo>
                <a:cubicBezTo>
                  <a:pt x="856" y="1201"/>
                  <a:pt x="856" y="1201"/>
                  <a:pt x="856" y="1201"/>
                </a:cubicBezTo>
                <a:cubicBezTo>
                  <a:pt x="855" y="1202"/>
                  <a:pt x="855" y="1202"/>
                  <a:pt x="854" y="1203"/>
                </a:cubicBezTo>
                <a:cubicBezTo>
                  <a:pt x="850" y="1208"/>
                  <a:pt x="846" y="1213"/>
                  <a:pt x="841" y="1218"/>
                </a:cubicBezTo>
                <a:cubicBezTo>
                  <a:pt x="831" y="1228"/>
                  <a:pt x="821" y="1237"/>
                  <a:pt x="811" y="1246"/>
                </a:cubicBezTo>
                <a:cubicBezTo>
                  <a:pt x="805" y="1250"/>
                  <a:pt x="800" y="1254"/>
                  <a:pt x="794" y="1259"/>
                </a:cubicBezTo>
                <a:cubicBezTo>
                  <a:pt x="794" y="1259"/>
                  <a:pt x="793" y="1260"/>
                  <a:pt x="793" y="1260"/>
                </a:cubicBezTo>
                <a:cubicBezTo>
                  <a:pt x="792" y="1261"/>
                  <a:pt x="791" y="1262"/>
                  <a:pt x="789" y="1263"/>
                </a:cubicBezTo>
                <a:cubicBezTo>
                  <a:pt x="789" y="1263"/>
                  <a:pt x="788" y="1264"/>
                  <a:pt x="788" y="1264"/>
                </a:cubicBezTo>
                <a:cubicBezTo>
                  <a:pt x="789" y="1256"/>
                  <a:pt x="791" y="1248"/>
                  <a:pt x="793" y="1241"/>
                </a:cubicBezTo>
                <a:cubicBezTo>
                  <a:pt x="807" y="1182"/>
                  <a:pt x="825" y="1124"/>
                  <a:pt x="839" y="1065"/>
                </a:cubicBezTo>
                <a:cubicBezTo>
                  <a:pt x="853" y="1006"/>
                  <a:pt x="861" y="945"/>
                  <a:pt x="867" y="885"/>
                </a:cubicBezTo>
                <a:cubicBezTo>
                  <a:pt x="872" y="828"/>
                  <a:pt x="874" y="772"/>
                  <a:pt x="877" y="715"/>
                </a:cubicBezTo>
                <a:cubicBezTo>
                  <a:pt x="880" y="666"/>
                  <a:pt x="884" y="607"/>
                  <a:pt x="890" y="564"/>
                </a:cubicBezTo>
                <a:cubicBezTo>
                  <a:pt x="898" y="509"/>
                  <a:pt x="910" y="455"/>
                  <a:pt x="930" y="403"/>
                </a:cubicBezTo>
                <a:cubicBezTo>
                  <a:pt x="947" y="355"/>
                  <a:pt x="975" y="309"/>
                  <a:pt x="1005" y="266"/>
                </a:cubicBezTo>
                <a:cubicBezTo>
                  <a:pt x="1070" y="174"/>
                  <a:pt x="1157" y="88"/>
                  <a:pt x="1263" y="46"/>
                </a:cubicBezTo>
                <a:cubicBezTo>
                  <a:pt x="1280" y="39"/>
                  <a:pt x="1286" y="10"/>
                  <a:pt x="1263" y="6"/>
                </a:cubicBezTo>
                <a:cubicBezTo>
                  <a:pt x="1235" y="0"/>
                  <a:pt x="1211" y="0"/>
                  <a:pt x="1183" y="8"/>
                </a:cubicBezTo>
                <a:cubicBezTo>
                  <a:pt x="1155" y="15"/>
                  <a:pt x="1128" y="27"/>
                  <a:pt x="1103" y="42"/>
                </a:cubicBezTo>
                <a:cubicBezTo>
                  <a:pt x="1053" y="70"/>
                  <a:pt x="1010" y="109"/>
                  <a:pt x="970" y="149"/>
                </a:cubicBezTo>
                <a:cubicBezTo>
                  <a:pt x="883" y="237"/>
                  <a:pt x="823" y="342"/>
                  <a:pt x="792" y="461"/>
                </a:cubicBezTo>
                <a:cubicBezTo>
                  <a:pt x="761" y="579"/>
                  <a:pt x="756" y="701"/>
                  <a:pt x="744" y="821"/>
                </a:cubicBezTo>
                <a:cubicBezTo>
                  <a:pt x="743" y="835"/>
                  <a:pt x="741" y="849"/>
                  <a:pt x="740" y="864"/>
                </a:cubicBezTo>
                <a:cubicBezTo>
                  <a:pt x="739" y="871"/>
                  <a:pt x="738" y="878"/>
                  <a:pt x="737" y="885"/>
                </a:cubicBezTo>
                <a:cubicBezTo>
                  <a:pt x="737" y="888"/>
                  <a:pt x="737" y="892"/>
                  <a:pt x="736" y="895"/>
                </a:cubicBezTo>
                <a:cubicBezTo>
                  <a:pt x="736" y="895"/>
                  <a:pt x="736" y="896"/>
                  <a:pt x="736" y="896"/>
                </a:cubicBezTo>
                <a:cubicBezTo>
                  <a:pt x="736" y="896"/>
                  <a:pt x="736" y="897"/>
                  <a:pt x="736" y="899"/>
                </a:cubicBezTo>
                <a:cubicBezTo>
                  <a:pt x="731" y="929"/>
                  <a:pt x="726" y="959"/>
                  <a:pt x="719" y="989"/>
                </a:cubicBezTo>
                <a:cubicBezTo>
                  <a:pt x="705" y="1051"/>
                  <a:pt x="686" y="1111"/>
                  <a:pt x="669" y="1171"/>
                </a:cubicBezTo>
                <a:cubicBezTo>
                  <a:pt x="655" y="1223"/>
                  <a:pt x="642" y="1275"/>
                  <a:pt x="635" y="1329"/>
                </a:cubicBezTo>
                <a:cubicBezTo>
                  <a:pt x="632" y="1323"/>
                  <a:pt x="628" y="1317"/>
                  <a:pt x="625" y="1312"/>
                </a:cubicBezTo>
                <a:cubicBezTo>
                  <a:pt x="608" y="1283"/>
                  <a:pt x="590" y="1255"/>
                  <a:pt x="572" y="1227"/>
                </a:cubicBezTo>
                <a:cubicBezTo>
                  <a:pt x="568" y="1212"/>
                  <a:pt x="564" y="1198"/>
                  <a:pt x="561" y="1183"/>
                </a:cubicBezTo>
                <a:cubicBezTo>
                  <a:pt x="555" y="1158"/>
                  <a:pt x="550" y="1133"/>
                  <a:pt x="546" y="1108"/>
                </a:cubicBezTo>
                <a:cubicBezTo>
                  <a:pt x="543" y="1085"/>
                  <a:pt x="541" y="1069"/>
                  <a:pt x="539" y="1039"/>
                </a:cubicBezTo>
                <a:cubicBezTo>
                  <a:pt x="535" y="989"/>
                  <a:pt x="534" y="938"/>
                  <a:pt x="537" y="887"/>
                </a:cubicBezTo>
                <a:cubicBezTo>
                  <a:pt x="544" y="789"/>
                  <a:pt x="572" y="688"/>
                  <a:pt x="593" y="584"/>
                </a:cubicBezTo>
                <a:cubicBezTo>
                  <a:pt x="605" y="524"/>
                  <a:pt x="612" y="459"/>
                  <a:pt x="602" y="399"/>
                </a:cubicBezTo>
                <a:cubicBezTo>
                  <a:pt x="595" y="352"/>
                  <a:pt x="575" y="298"/>
                  <a:pt x="525" y="283"/>
                </a:cubicBezTo>
                <a:cubicBezTo>
                  <a:pt x="514" y="280"/>
                  <a:pt x="503" y="291"/>
                  <a:pt x="506" y="303"/>
                </a:cubicBezTo>
                <a:cubicBezTo>
                  <a:pt x="516" y="341"/>
                  <a:pt x="520" y="377"/>
                  <a:pt x="514" y="416"/>
                </a:cubicBezTo>
                <a:cubicBezTo>
                  <a:pt x="506" y="468"/>
                  <a:pt x="491" y="517"/>
                  <a:pt x="476" y="568"/>
                </a:cubicBezTo>
                <a:cubicBezTo>
                  <a:pt x="461" y="618"/>
                  <a:pt x="443" y="668"/>
                  <a:pt x="431" y="719"/>
                </a:cubicBezTo>
                <a:cubicBezTo>
                  <a:pt x="427" y="738"/>
                  <a:pt x="423" y="758"/>
                  <a:pt x="419" y="777"/>
                </a:cubicBezTo>
                <a:cubicBezTo>
                  <a:pt x="399" y="742"/>
                  <a:pt x="375" y="709"/>
                  <a:pt x="347" y="680"/>
                </a:cubicBezTo>
                <a:cubicBezTo>
                  <a:pt x="330" y="663"/>
                  <a:pt x="313" y="645"/>
                  <a:pt x="304" y="621"/>
                </a:cubicBezTo>
                <a:cubicBezTo>
                  <a:pt x="296" y="598"/>
                  <a:pt x="297" y="559"/>
                  <a:pt x="272" y="546"/>
                </a:cubicBezTo>
                <a:cubicBezTo>
                  <a:pt x="266" y="543"/>
                  <a:pt x="258" y="543"/>
                  <a:pt x="253" y="549"/>
                </a:cubicBezTo>
                <a:cubicBezTo>
                  <a:pt x="237" y="566"/>
                  <a:pt x="238" y="604"/>
                  <a:pt x="237" y="627"/>
                </a:cubicBezTo>
                <a:cubicBezTo>
                  <a:pt x="237" y="657"/>
                  <a:pt x="245" y="684"/>
                  <a:pt x="259" y="711"/>
                </a:cubicBezTo>
                <a:cubicBezTo>
                  <a:pt x="283" y="758"/>
                  <a:pt x="313" y="800"/>
                  <a:pt x="330" y="849"/>
                </a:cubicBezTo>
                <a:cubicBezTo>
                  <a:pt x="348" y="899"/>
                  <a:pt x="361" y="952"/>
                  <a:pt x="371" y="1004"/>
                </a:cubicBezTo>
                <a:cubicBezTo>
                  <a:pt x="373" y="1016"/>
                  <a:pt x="375" y="1029"/>
                  <a:pt x="377" y="1041"/>
                </a:cubicBezTo>
                <a:cubicBezTo>
                  <a:pt x="349" y="1026"/>
                  <a:pt x="319" y="1013"/>
                  <a:pt x="288" y="1002"/>
                </a:cubicBezTo>
                <a:cubicBezTo>
                  <a:pt x="224" y="979"/>
                  <a:pt x="141" y="945"/>
                  <a:pt x="80" y="990"/>
                </a:cubicBezTo>
                <a:cubicBezTo>
                  <a:pt x="68" y="999"/>
                  <a:pt x="71" y="1021"/>
                  <a:pt x="88" y="1020"/>
                </a:cubicBezTo>
                <a:cubicBezTo>
                  <a:pt x="107" y="1020"/>
                  <a:pt x="118" y="1028"/>
                  <a:pt x="134" y="1037"/>
                </a:cubicBezTo>
                <a:cubicBezTo>
                  <a:pt x="147" y="1046"/>
                  <a:pt x="162" y="1054"/>
                  <a:pt x="175" y="1063"/>
                </a:cubicBezTo>
                <a:cubicBezTo>
                  <a:pt x="202" y="1082"/>
                  <a:pt x="231" y="1097"/>
                  <a:pt x="258" y="1116"/>
                </a:cubicBezTo>
                <a:cubicBezTo>
                  <a:pt x="272" y="1125"/>
                  <a:pt x="284" y="1134"/>
                  <a:pt x="297" y="1144"/>
                </a:cubicBezTo>
                <a:cubicBezTo>
                  <a:pt x="303" y="1148"/>
                  <a:pt x="308" y="1151"/>
                  <a:pt x="314" y="1155"/>
                </a:cubicBezTo>
                <a:cubicBezTo>
                  <a:pt x="317" y="1157"/>
                  <a:pt x="319" y="1159"/>
                  <a:pt x="322" y="1161"/>
                </a:cubicBezTo>
                <a:cubicBezTo>
                  <a:pt x="321" y="1161"/>
                  <a:pt x="323" y="1162"/>
                  <a:pt x="327" y="1165"/>
                </a:cubicBezTo>
                <a:cubicBezTo>
                  <a:pt x="351" y="1186"/>
                  <a:pt x="373" y="1209"/>
                  <a:pt x="394" y="1233"/>
                </a:cubicBezTo>
                <a:cubicBezTo>
                  <a:pt x="398" y="1238"/>
                  <a:pt x="399" y="1239"/>
                  <a:pt x="398" y="1238"/>
                </a:cubicBezTo>
                <a:cubicBezTo>
                  <a:pt x="400" y="1240"/>
                  <a:pt x="401" y="1241"/>
                  <a:pt x="402" y="1243"/>
                </a:cubicBezTo>
                <a:cubicBezTo>
                  <a:pt x="407" y="1250"/>
                  <a:pt x="412" y="1256"/>
                  <a:pt x="416" y="1263"/>
                </a:cubicBezTo>
                <a:cubicBezTo>
                  <a:pt x="425" y="1277"/>
                  <a:pt x="434" y="1290"/>
                  <a:pt x="442" y="1304"/>
                </a:cubicBezTo>
                <a:cubicBezTo>
                  <a:pt x="431" y="1304"/>
                  <a:pt x="419" y="1305"/>
                  <a:pt x="407" y="1306"/>
                </a:cubicBezTo>
                <a:cubicBezTo>
                  <a:pt x="364" y="1310"/>
                  <a:pt x="321" y="1319"/>
                  <a:pt x="277" y="1319"/>
                </a:cubicBezTo>
                <a:cubicBezTo>
                  <a:pt x="247" y="1318"/>
                  <a:pt x="224" y="1315"/>
                  <a:pt x="190" y="1302"/>
                </a:cubicBezTo>
                <a:cubicBezTo>
                  <a:pt x="179" y="1298"/>
                  <a:pt x="162" y="1289"/>
                  <a:pt x="148" y="1281"/>
                </a:cubicBezTo>
                <a:cubicBezTo>
                  <a:pt x="134" y="1272"/>
                  <a:pt x="121" y="1263"/>
                  <a:pt x="109" y="1252"/>
                </a:cubicBezTo>
                <a:cubicBezTo>
                  <a:pt x="80" y="1228"/>
                  <a:pt x="59" y="1198"/>
                  <a:pt x="37" y="1167"/>
                </a:cubicBezTo>
                <a:cubicBezTo>
                  <a:pt x="26" y="1153"/>
                  <a:pt x="0" y="1156"/>
                  <a:pt x="1" y="1177"/>
                </a:cubicBezTo>
                <a:cubicBezTo>
                  <a:pt x="2" y="1244"/>
                  <a:pt x="43" y="1310"/>
                  <a:pt x="92" y="1353"/>
                </a:cubicBezTo>
                <a:cubicBezTo>
                  <a:pt x="151" y="1405"/>
                  <a:pt x="221" y="1434"/>
                  <a:pt x="299" y="1439"/>
                </a:cubicBezTo>
                <a:cubicBezTo>
                  <a:pt x="341" y="1442"/>
                  <a:pt x="384" y="1439"/>
                  <a:pt x="426" y="1441"/>
                </a:cubicBezTo>
                <a:cubicBezTo>
                  <a:pt x="432" y="1441"/>
                  <a:pt x="438" y="1441"/>
                  <a:pt x="444" y="1442"/>
                </a:cubicBezTo>
                <a:cubicBezTo>
                  <a:pt x="445" y="1442"/>
                  <a:pt x="450" y="1443"/>
                  <a:pt x="453" y="1443"/>
                </a:cubicBezTo>
                <a:cubicBezTo>
                  <a:pt x="456" y="1443"/>
                  <a:pt x="461" y="1444"/>
                  <a:pt x="462" y="1444"/>
                </a:cubicBezTo>
                <a:cubicBezTo>
                  <a:pt x="466" y="1445"/>
                  <a:pt x="470" y="1446"/>
                  <a:pt x="473" y="1447"/>
                </a:cubicBezTo>
                <a:cubicBezTo>
                  <a:pt x="482" y="1449"/>
                  <a:pt x="490" y="1452"/>
                  <a:pt x="498" y="1455"/>
                </a:cubicBezTo>
                <a:cubicBezTo>
                  <a:pt x="499" y="1455"/>
                  <a:pt x="499" y="1455"/>
                  <a:pt x="499" y="1456"/>
                </a:cubicBezTo>
                <a:cubicBezTo>
                  <a:pt x="499" y="1456"/>
                  <a:pt x="499" y="1456"/>
                  <a:pt x="499" y="1456"/>
                </a:cubicBezTo>
                <a:cubicBezTo>
                  <a:pt x="504" y="1466"/>
                  <a:pt x="508" y="1477"/>
                  <a:pt x="512" y="1487"/>
                </a:cubicBezTo>
                <a:cubicBezTo>
                  <a:pt x="524" y="1516"/>
                  <a:pt x="536" y="1544"/>
                  <a:pt x="548" y="1572"/>
                </a:cubicBezTo>
                <a:cubicBezTo>
                  <a:pt x="550" y="1595"/>
                  <a:pt x="550" y="1619"/>
                  <a:pt x="548" y="1645"/>
                </a:cubicBezTo>
                <a:cubicBezTo>
                  <a:pt x="548" y="1650"/>
                  <a:pt x="547" y="1655"/>
                  <a:pt x="547" y="1660"/>
                </a:cubicBezTo>
                <a:cubicBezTo>
                  <a:pt x="547" y="1660"/>
                  <a:pt x="547" y="1661"/>
                  <a:pt x="547" y="1661"/>
                </a:cubicBezTo>
                <a:cubicBezTo>
                  <a:pt x="547" y="1661"/>
                  <a:pt x="547" y="1662"/>
                  <a:pt x="546" y="1663"/>
                </a:cubicBezTo>
                <a:cubicBezTo>
                  <a:pt x="545" y="1672"/>
                  <a:pt x="543" y="1682"/>
                  <a:pt x="541" y="1692"/>
                </a:cubicBezTo>
                <a:cubicBezTo>
                  <a:pt x="536" y="1712"/>
                  <a:pt x="530" y="1732"/>
                  <a:pt x="525" y="1752"/>
                </a:cubicBezTo>
                <a:cubicBezTo>
                  <a:pt x="522" y="1763"/>
                  <a:pt x="519" y="1774"/>
                  <a:pt x="516" y="1785"/>
                </a:cubicBezTo>
                <a:cubicBezTo>
                  <a:pt x="231" y="1785"/>
                  <a:pt x="231" y="1785"/>
                  <a:pt x="231" y="1785"/>
                </a:cubicBezTo>
                <a:cubicBezTo>
                  <a:pt x="173" y="1785"/>
                  <a:pt x="126" y="1832"/>
                  <a:pt x="126" y="1890"/>
                </a:cubicBezTo>
                <a:cubicBezTo>
                  <a:pt x="126" y="1890"/>
                  <a:pt x="126" y="1890"/>
                  <a:pt x="126" y="1890"/>
                </a:cubicBezTo>
                <a:cubicBezTo>
                  <a:pt x="126" y="1948"/>
                  <a:pt x="173" y="1995"/>
                  <a:pt x="231" y="1995"/>
                </a:cubicBezTo>
                <a:cubicBezTo>
                  <a:pt x="1129" y="1995"/>
                  <a:pt x="1129" y="1995"/>
                  <a:pt x="1129" y="1995"/>
                </a:cubicBezTo>
                <a:cubicBezTo>
                  <a:pt x="1186" y="1995"/>
                  <a:pt x="1234" y="1948"/>
                  <a:pt x="1234" y="1890"/>
                </a:cubicBezTo>
                <a:cubicBezTo>
                  <a:pt x="1234" y="1890"/>
                  <a:pt x="1234" y="1890"/>
                  <a:pt x="1234" y="1890"/>
                </a:cubicBezTo>
                <a:cubicBezTo>
                  <a:pt x="1234" y="1832"/>
                  <a:pt x="1186" y="1785"/>
                  <a:pt x="1129" y="1785"/>
                </a:cubicBezTo>
                <a:cubicBezTo>
                  <a:pt x="855" y="1785"/>
                  <a:pt x="855" y="1785"/>
                  <a:pt x="855" y="1785"/>
                </a:cubicBezTo>
                <a:cubicBezTo>
                  <a:pt x="854" y="1779"/>
                  <a:pt x="853" y="1774"/>
                  <a:pt x="851" y="1768"/>
                </a:cubicBezTo>
                <a:cubicBezTo>
                  <a:pt x="850" y="1759"/>
                  <a:pt x="847" y="1749"/>
                  <a:pt x="845" y="1740"/>
                </a:cubicBezTo>
                <a:cubicBezTo>
                  <a:pt x="844" y="1735"/>
                  <a:pt x="843" y="1730"/>
                  <a:pt x="842" y="1725"/>
                </a:cubicBezTo>
                <a:cubicBezTo>
                  <a:pt x="842" y="1724"/>
                  <a:pt x="840" y="1711"/>
                  <a:pt x="840" y="1711"/>
                </a:cubicBezTo>
                <a:cubicBezTo>
                  <a:pt x="836" y="1670"/>
                  <a:pt x="836" y="1629"/>
                  <a:pt x="840" y="1588"/>
                </a:cubicBezTo>
                <a:cubicBezTo>
                  <a:pt x="840" y="1588"/>
                  <a:pt x="840" y="1588"/>
                  <a:pt x="840" y="1588"/>
                </a:cubicBezTo>
                <a:cubicBezTo>
                  <a:pt x="840" y="1588"/>
                  <a:pt x="840" y="1587"/>
                  <a:pt x="840" y="1586"/>
                </a:cubicBezTo>
                <a:cubicBezTo>
                  <a:pt x="841" y="1582"/>
                  <a:pt x="842" y="1578"/>
                  <a:pt x="843" y="1575"/>
                </a:cubicBezTo>
                <a:cubicBezTo>
                  <a:pt x="844" y="1566"/>
                  <a:pt x="846" y="1557"/>
                  <a:pt x="848" y="1548"/>
                </a:cubicBezTo>
                <a:cubicBezTo>
                  <a:pt x="852" y="1532"/>
                  <a:pt x="857" y="1517"/>
                  <a:pt x="863" y="1501"/>
                </a:cubicBezTo>
                <a:cubicBezTo>
                  <a:pt x="863" y="1502"/>
                  <a:pt x="869" y="1489"/>
                  <a:pt x="871" y="1486"/>
                </a:cubicBezTo>
                <a:cubicBezTo>
                  <a:pt x="875" y="1478"/>
                  <a:pt x="879" y="1471"/>
                  <a:pt x="884" y="1463"/>
                </a:cubicBezTo>
                <a:cubicBezTo>
                  <a:pt x="886" y="1460"/>
                  <a:pt x="889" y="1457"/>
                  <a:pt x="891" y="1453"/>
                </a:cubicBezTo>
                <a:cubicBezTo>
                  <a:pt x="891" y="1453"/>
                  <a:pt x="891" y="1453"/>
                  <a:pt x="891" y="1452"/>
                </a:cubicBezTo>
                <a:cubicBezTo>
                  <a:pt x="892" y="1452"/>
                  <a:pt x="892" y="1452"/>
                  <a:pt x="892" y="1451"/>
                </a:cubicBezTo>
                <a:cubicBezTo>
                  <a:pt x="898" y="1445"/>
                  <a:pt x="904" y="1438"/>
                  <a:pt x="910" y="1432"/>
                </a:cubicBezTo>
                <a:cubicBezTo>
                  <a:pt x="913" y="1429"/>
                  <a:pt x="917" y="1426"/>
                  <a:pt x="920" y="1423"/>
                </a:cubicBezTo>
                <a:cubicBezTo>
                  <a:pt x="920" y="1423"/>
                  <a:pt x="920" y="1423"/>
                  <a:pt x="921" y="1423"/>
                </a:cubicBezTo>
                <a:cubicBezTo>
                  <a:pt x="928" y="1418"/>
                  <a:pt x="935" y="1413"/>
                  <a:pt x="942" y="1409"/>
                </a:cubicBezTo>
                <a:cubicBezTo>
                  <a:pt x="960" y="1398"/>
                  <a:pt x="979" y="1390"/>
                  <a:pt x="997" y="1381"/>
                </a:cubicBezTo>
                <a:cubicBezTo>
                  <a:pt x="1010" y="1374"/>
                  <a:pt x="1023" y="1366"/>
                  <a:pt x="1035" y="1358"/>
                </a:cubicBezTo>
                <a:cubicBezTo>
                  <a:pt x="1039" y="1359"/>
                  <a:pt x="1042" y="1359"/>
                  <a:pt x="1046" y="1359"/>
                </a:cubicBezTo>
                <a:cubicBezTo>
                  <a:pt x="1062" y="1361"/>
                  <a:pt x="1087" y="1364"/>
                  <a:pt x="1111" y="1367"/>
                </a:cubicBezTo>
                <a:cubicBezTo>
                  <a:pt x="1154" y="1370"/>
                  <a:pt x="1197" y="1373"/>
                  <a:pt x="1241" y="1366"/>
                </a:cubicBezTo>
                <a:cubicBezTo>
                  <a:pt x="1276" y="1361"/>
                  <a:pt x="1310" y="1350"/>
                  <a:pt x="1341" y="1331"/>
                </a:cubicBezTo>
                <a:cubicBezTo>
                  <a:pt x="1369" y="1313"/>
                  <a:pt x="1409" y="1285"/>
                  <a:pt x="1401" y="1246"/>
                </a:cubicBezTo>
                <a:close/>
                <a:moveTo>
                  <a:pt x="496" y="1454"/>
                </a:moveTo>
                <a:cubicBezTo>
                  <a:pt x="494" y="1453"/>
                  <a:pt x="492" y="1452"/>
                  <a:pt x="496" y="1454"/>
                </a:cubicBezTo>
                <a:close/>
                <a:moveTo>
                  <a:pt x="919" y="1424"/>
                </a:moveTo>
                <a:cubicBezTo>
                  <a:pt x="916" y="1426"/>
                  <a:pt x="913" y="1428"/>
                  <a:pt x="919" y="1424"/>
                </a:cubicBezTo>
                <a:close/>
              </a:path>
            </a:pathLst>
          </a:custGeom>
          <a:solidFill>
            <a:schemeClr val="accent3">
              <a:lumMod val="5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grpSp>
        <p:nvGrpSpPr>
          <p:cNvPr id="47" name="Group 71">
            <a:extLst>
              <a:ext uri="{FF2B5EF4-FFF2-40B4-BE49-F238E27FC236}">
                <a16:creationId xmlns:a16="http://schemas.microsoft.com/office/drawing/2014/main" id="{97EC58C7-1A07-454C-9B56-6692F10718B1}"/>
              </a:ext>
            </a:extLst>
          </p:cNvPr>
          <p:cNvGrpSpPr/>
          <p:nvPr/>
        </p:nvGrpSpPr>
        <p:grpSpPr>
          <a:xfrm>
            <a:off x="7588608" y="4808328"/>
            <a:ext cx="3865457" cy="666160"/>
            <a:chOff x="7588605" y="4808330"/>
            <a:chExt cx="3865457" cy="666160"/>
          </a:xfrm>
        </p:grpSpPr>
        <p:sp>
          <p:nvSpPr>
            <p:cNvPr id="48" name="Rectangle: Rounded Corners 110">
              <a:extLst>
                <a:ext uri="{FF2B5EF4-FFF2-40B4-BE49-F238E27FC236}">
                  <a16:creationId xmlns:a16="http://schemas.microsoft.com/office/drawing/2014/main" id="{B56C6752-CD57-46DD-91CF-38884FB566AE}"/>
                </a:ext>
              </a:extLst>
            </p:cNvPr>
            <p:cNvSpPr/>
            <p:nvPr/>
          </p:nvSpPr>
          <p:spPr>
            <a:xfrm>
              <a:off x="9422869" y="4808330"/>
              <a:ext cx="2031193" cy="574016"/>
            </a:xfrm>
            <a:prstGeom prst="roundRect">
              <a:avLst>
                <a:gd name="adj" fmla="val 5000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FFFFFF"/>
                </a:solidFill>
                <a:effectLst/>
                <a:uLnTx/>
                <a:uFillTx/>
                <a:latin typeface="等线" panose="020F0502020204030204"/>
                <a:ea typeface="+mn-ea"/>
                <a:cs typeface="+mn-cs"/>
              </a:endParaRPr>
            </a:p>
          </p:txBody>
        </p:sp>
        <p:cxnSp>
          <p:nvCxnSpPr>
            <p:cNvPr id="49" name="Connector: Elbow 52">
              <a:extLst>
                <a:ext uri="{FF2B5EF4-FFF2-40B4-BE49-F238E27FC236}">
                  <a16:creationId xmlns:a16="http://schemas.microsoft.com/office/drawing/2014/main" id="{6BB592CE-F74D-4F58-BD37-C2D134725E72}"/>
                </a:ext>
              </a:extLst>
            </p:cNvPr>
            <p:cNvCxnSpPr>
              <a:cxnSpLocks/>
              <a:stCxn id="81" idx="4"/>
              <a:endCxn id="48" idx="1"/>
            </p:cNvCxnSpPr>
            <p:nvPr/>
          </p:nvCxnSpPr>
          <p:spPr>
            <a:xfrm rot="5400000" flipH="1" flipV="1">
              <a:off x="8316161" y="4367782"/>
              <a:ext cx="379152" cy="1834263"/>
            </a:xfrm>
            <a:prstGeom prst="bentConnector4">
              <a:avLst>
                <a:gd name="adj1" fmla="val -60292"/>
                <a:gd name="adj2" fmla="val 58802"/>
              </a:avLst>
            </a:prstGeom>
            <a:ln>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50" name="TextBox 55">
              <a:extLst>
                <a:ext uri="{FF2B5EF4-FFF2-40B4-BE49-F238E27FC236}">
                  <a16:creationId xmlns:a16="http://schemas.microsoft.com/office/drawing/2014/main" id="{B739141B-C4BB-40AD-A865-95621BD1F642}"/>
                </a:ext>
              </a:extLst>
            </p:cNvPr>
            <p:cNvSpPr txBox="1"/>
            <p:nvPr/>
          </p:nvSpPr>
          <p:spPr>
            <a:xfrm>
              <a:off x="9858726" y="4941450"/>
              <a:ext cx="1159479"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等线 Light" panose="020F0302020204030204"/>
                  <a:ea typeface="+mn-ea"/>
                  <a:cs typeface="+mn-cs"/>
                </a:rPr>
                <a:t>Flowers</a:t>
              </a:r>
            </a:p>
          </p:txBody>
        </p:sp>
      </p:grpSp>
      <p:grpSp>
        <p:nvGrpSpPr>
          <p:cNvPr id="51" name="Group 70">
            <a:extLst>
              <a:ext uri="{FF2B5EF4-FFF2-40B4-BE49-F238E27FC236}">
                <a16:creationId xmlns:a16="http://schemas.microsoft.com/office/drawing/2014/main" id="{55510101-F82F-4B75-B108-0D679E309B8E}"/>
              </a:ext>
            </a:extLst>
          </p:cNvPr>
          <p:cNvGrpSpPr/>
          <p:nvPr/>
        </p:nvGrpSpPr>
        <p:grpSpPr>
          <a:xfrm>
            <a:off x="7506238" y="3865981"/>
            <a:ext cx="3960497" cy="574016"/>
            <a:chOff x="7506236" y="3865981"/>
            <a:chExt cx="3960497" cy="574016"/>
          </a:xfrm>
        </p:grpSpPr>
        <p:cxnSp>
          <p:nvCxnSpPr>
            <p:cNvPr id="52" name="Connector: Elbow 48">
              <a:extLst>
                <a:ext uri="{FF2B5EF4-FFF2-40B4-BE49-F238E27FC236}">
                  <a16:creationId xmlns:a16="http://schemas.microsoft.com/office/drawing/2014/main" id="{C5084A18-398C-464E-8CDB-CEC561CAEF8A}"/>
                </a:ext>
              </a:extLst>
            </p:cNvPr>
            <p:cNvCxnSpPr>
              <a:cxnSpLocks/>
              <a:stCxn id="78" idx="0"/>
              <a:endCxn id="53" idx="1"/>
            </p:cNvCxnSpPr>
            <p:nvPr/>
          </p:nvCxnSpPr>
          <p:spPr>
            <a:xfrm rot="16200000" flipH="1">
              <a:off x="8441879" y="3159328"/>
              <a:ext cx="58017" cy="1929304"/>
            </a:xfrm>
            <a:prstGeom prst="bentConnector4">
              <a:avLst>
                <a:gd name="adj1" fmla="val -394022"/>
                <a:gd name="adj2" fmla="val 58369"/>
              </a:avLst>
            </a:prstGeom>
            <a:ln>
              <a:solidFill>
                <a:schemeClr val="accent1">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53" name="Rectangle: Rounded Corners 109">
              <a:extLst>
                <a:ext uri="{FF2B5EF4-FFF2-40B4-BE49-F238E27FC236}">
                  <a16:creationId xmlns:a16="http://schemas.microsoft.com/office/drawing/2014/main" id="{173D85E9-994B-4907-8EC1-76AF18E38C11}"/>
                </a:ext>
              </a:extLst>
            </p:cNvPr>
            <p:cNvSpPr/>
            <p:nvPr/>
          </p:nvSpPr>
          <p:spPr>
            <a:xfrm>
              <a:off x="9435540" y="3865981"/>
              <a:ext cx="2031193" cy="574016"/>
            </a:xfrm>
            <a:prstGeom prst="roundRect">
              <a:avLst>
                <a:gd name="adj" fmla="val 50000"/>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FFFFFF"/>
                </a:solidFill>
                <a:effectLst/>
                <a:uLnTx/>
                <a:uFillTx/>
                <a:latin typeface="等线" panose="020F0502020204030204"/>
                <a:ea typeface="+mn-ea"/>
                <a:cs typeface="+mn-cs"/>
              </a:endParaRPr>
            </a:p>
          </p:txBody>
        </p:sp>
        <p:sp>
          <p:nvSpPr>
            <p:cNvPr id="54" name="TextBox 51">
              <a:extLst>
                <a:ext uri="{FF2B5EF4-FFF2-40B4-BE49-F238E27FC236}">
                  <a16:creationId xmlns:a16="http://schemas.microsoft.com/office/drawing/2014/main" id="{C2684719-C200-4C8D-AB08-21E82E49AB6C}"/>
                </a:ext>
              </a:extLst>
            </p:cNvPr>
            <p:cNvSpPr txBox="1"/>
            <p:nvPr/>
          </p:nvSpPr>
          <p:spPr>
            <a:xfrm>
              <a:off x="9871397" y="3999101"/>
              <a:ext cx="1159479"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等线 Light" panose="020F0302020204030204"/>
                  <a:ea typeface="+mn-ea"/>
                  <a:cs typeface="+mn-cs"/>
                </a:rPr>
                <a:t>Leaf</a:t>
              </a:r>
            </a:p>
          </p:txBody>
        </p:sp>
      </p:grpSp>
      <p:grpSp>
        <p:nvGrpSpPr>
          <p:cNvPr id="55" name="Group 69">
            <a:extLst>
              <a:ext uri="{FF2B5EF4-FFF2-40B4-BE49-F238E27FC236}">
                <a16:creationId xmlns:a16="http://schemas.microsoft.com/office/drawing/2014/main" id="{DA72A86B-F15B-4836-A124-0463BC8EA663}"/>
              </a:ext>
            </a:extLst>
          </p:cNvPr>
          <p:cNvGrpSpPr/>
          <p:nvPr/>
        </p:nvGrpSpPr>
        <p:grpSpPr>
          <a:xfrm>
            <a:off x="7459185" y="3088441"/>
            <a:ext cx="4032891" cy="574016"/>
            <a:chOff x="7459185" y="3088441"/>
            <a:chExt cx="4032890" cy="574016"/>
          </a:xfrm>
        </p:grpSpPr>
        <p:cxnSp>
          <p:nvCxnSpPr>
            <p:cNvPr id="56" name="Connector: Elbow 44">
              <a:extLst>
                <a:ext uri="{FF2B5EF4-FFF2-40B4-BE49-F238E27FC236}">
                  <a16:creationId xmlns:a16="http://schemas.microsoft.com/office/drawing/2014/main" id="{BCB234B7-64D2-43B6-8E44-2D1C49CE4EBC}"/>
                </a:ext>
              </a:extLst>
            </p:cNvPr>
            <p:cNvCxnSpPr>
              <a:cxnSpLocks/>
              <a:stCxn id="75" idx="6"/>
              <a:endCxn id="57" idx="1"/>
            </p:cNvCxnSpPr>
            <p:nvPr/>
          </p:nvCxnSpPr>
          <p:spPr>
            <a:xfrm flipV="1">
              <a:off x="7459185" y="3375449"/>
              <a:ext cx="2001697" cy="230968"/>
            </a:xfrm>
            <a:prstGeom prst="bentConnector3">
              <a:avLst>
                <a:gd name="adj1" fmla="val 50000"/>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57" name="Rectangle: Rounded Corners 107">
              <a:extLst>
                <a:ext uri="{FF2B5EF4-FFF2-40B4-BE49-F238E27FC236}">
                  <a16:creationId xmlns:a16="http://schemas.microsoft.com/office/drawing/2014/main" id="{8F12F21F-2307-45E1-9AC4-F45C3C64D395}"/>
                </a:ext>
              </a:extLst>
            </p:cNvPr>
            <p:cNvSpPr/>
            <p:nvPr/>
          </p:nvSpPr>
          <p:spPr>
            <a:xfrm>
              <a:off x="9460882" y="3088441"/>
              <a:ext cx="2031193" cy="574016"/>
            </a:xfrm>
            <a:prstGeom prst="roundRect">
              <a:avLst>
                <a:gd name="adj" fmla="val 5000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FFFFFF"/>
                </a:solidFill>
                <a:effectLst/>
                <a:uLnTx/>
                <a:uFillTx/>
                <a:latin typeface="等线" panose="020F0502020204030204"/>
                <a:ea typeface="+mn-ea"/>
                <a:cs typeface="+mn-cs"/>
              </a:endParaRPr>
            </a:p>
          </p:txBody>
        </p:sp>
        <p:sp>
          <p:nvSpPr>
            <p:cNvPr id="58" name="TextBox 108">
              <a:extLst>
                <a:ext uri="{FF2B5EF4-FFF2-40B4-BE49-F238E27FC236}">
                  <a16:creationId xmlns:a16="http://schemas.microsoft.com/office/drawing/2014/main" id="{26B3C4F1-2CD8-4AC0-8815-75188359DDF1}"/>
                </a:ext>
              </a:extLst>
            </p:cNvPr>
            <p:cNvSpPr txBox="1"/>
            <p:nvPr/>
          </p:nvSpPr>
          <p:spPr>
            <a:xfrm>
              <a:off x="9896739" y="3221561"/>
              <a:ext cx="1159478"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等线 Light" panose="020F0302020204030204"/>
                  <a:ea typeface="+mn-ea"/>
                  <a:cs typeface="+mn-cs"/>
                </a:rPr>
                <a:t>Stem</a:t>
              </a:r>
            </a:p>
          </p:txBody>
        </p:sp>
      </p:grpSp>
      <p:grpSp>
        <p:nvGrpSpPr>
          <p:cNvPr id="59" name="Group 123">
            <a:extLst>
              <a:ext uri="{FF2B5EF4-FFF2-40B4-BE49-F238E27FC236}">
                <a16:creationId xmlns:a16="http://schemas.microsoft.com/office/drawing/2014/main" id="{F79C4583-6EBA-418A-8C47-88FB4719D509}"/>
              </a:ext>
            </a:extLst>
          </p:cNvPr>
          <p:cNvGrpSpPr/>
          <p:nvPr/>
        </p:nvGrpSpPr>
        <p:grpSpPr>
          <a:xfrm>
            <a:off x="4268108" y="4774739"/>
            <a:ext cx="645821" cy="644532"/>
            <a:chOff x="4145003" y="4760128"/>
            <a:chExt cx="645821" cy="644532"/>
          </a:xfrm>
        </p:grpSpPr>
        <p:sp>
          <p:nvSpPr>
            <p:cNvPr id="60" name="Oval 36">
              <a:extLst>
                <a:ext uri="{FF2B5EF4-FFF2-40B4-BE49-F238E27FC236}">
                  <a16:creationId xmlns:a16="http://schemas.microsoft.com/office/drawing/2014/main" id="{B97EDFD7-0A3A-49C9-B5EF-1AF95F87EA4D}"/>
                </a:ext>
              </a:extLst>
            </p:cNvPr>
            <p:cNvSpPr>
              <a:spLocks noChangeArrowheads="1"/>
            </p:cNvSpPr>
            <p:nvPr/>
          </p:nvSpPr>
          <p:spPr bwMode="auto">
            <a:xfrm>
              <a:off x="4145003" y="4760128"/>
              <a:ext cx="645821" cy="644532"/>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61" name="TextBox 111">
              <a:extLst>
                <a:ext uri="{FF2B5EF4-FFF2-40B4-BE49-F238E27FC236}">
                  <a16:creationId xmlns:a16="http://schemas.microsoft.com/office/drawing/2014/main" id="{62C24399-CA83-43D6-8A2E-4FBBD79B63E4}"/>
                </a:ext>
              </a:extLst>
            </p:cNvPr>
            <p:cNvSpPr txBox="1"/>
            <p:nvPr/>
          </p:nvSpPr>
          <p:spPr>
            <a:xfrm>
              <a:off x="4202204" y="4928507"/>
              <a:ext cx="531418"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等线 Light" panose="020F0302020204030204"/>
                  <a:ea typeface="+mn-ea"/>
                  <a:cs typeface="+mn-cs"/>
                </a:rPr>
                <a:t>01</a:t>
              </a:r>
            </a:p>
          </p:txBody>
        </p:sp>
      </p:grpSp>
      <p:grpSp>
        <p:nvGrpSpPr>
          <p:cNvPr id="62" name="Group 79">
            <a:extLst>
              <a:ext uri="{FF2B5EF4-FFF2-40B4-BE49-F238E27FC236}">
                <a16:creationId xmlns:a16="http://schemas.microsoft.com/office/drawing/2014/main" id="{51095A00-6416-4A86-BD77-03AA20C951A5}"/>
              </a:ext>
            </a:extLst>
          </p:cNvPr>
          <p:cNvGrpSpPr/>
          <p:nvPr/>
        </p:nvGrpSpPr>
        <p:grpSpPr>
          <a:xfrm>
            <a:off x="4465981" y="4110445"/>
            <a:ext cx="730899" cy="729611"/>
            <a:chOff x="4465979" y="4110440"/>
            <a:chExt cx="730899" cy="729610"/>
          </a:xfrm>
        </p:grpSpPr>
        <p:sp>
          <p:nvSpPr>
            <p:cNvPr id="63" name="Freeform 37">
              <a:extLst>
                <a:ext uri="{FF2B5EF4-FFF2-40B4-BE49-F238E27FC236}">
                  <a16:creationId xmlns:a16="http://schemas.microsoft.com/office/drawing/2014/main" id="{EC9D0A69-47DD-4F3D-A09A-4F7E0A1B28B7}"/>
                </a:ext>
              </a:extLst>
            </p:cNvPr>
            <p:cNvSpPr>
              <a:spLocks/>
            </p:cNvSpPr>
            <p:nvPr/>
          </p:nvSpPr>
          <p:spPr bwMode="auto">
            <a:xfrm>
              <a:off x="4465979" y="4110440"/>
              <a:ext cx="730899" cy="729610"/>
            </a:xfrm>
            <a:custGeom>
              <a:avLst/>
              <a:gdLst>
                <a:gd name="T0" fmla="*/ 344 w 378"/>
                <a:gd name="T1" fmla="*/ 127 h 378"/>
                <a:gd name="T2" fmla="*/ 251 w 378"/>
                <a:gd name="T3" fmla="*/ 344 h 378"/>
                <a:gd name="T4" fmla="*/ 34 w 378"/>
                <a:gd name="T5" fmla="*/ 251 h 378"/>
                <a:gd name="T6" fmla="*/ 127 w 378"/>
                <a:gd name="T7" fmla="*/ 34 h 378"/>
                <a:gd name="T8" fmla="*/ 344 w 378"/>
                <a:gd name="T9" fmla="*/ 127 h 378"/>
              </a:gdLst>
              <a:ahLst/>
              <a:cxnLst>
                <a:cxn ang="0">
                  <a:pos x="T0" y="T1"/>
                </a:cxn>
                <a:cxn ang="0">
                  <a:pos x="T2" y="T3"/>
                </a:cxn>
                <a:cxn ang="0">
                  <a:pos x="T4" y="T5"/>
                </a:cxn>
                <a:cxn ang="0">
                  <a:pos x="T6" y="T7"/>
                </a:cxn>
                <a:cxn ang="0">
                  <a:pos x="T8" y="T9"/>
                </a:cxn>
              </a:cxnLst>
              <a:rect l="0" t="0" r="r" b="b"/>
              <a:pathLst>
                <a:path w="378" h="378">
                  <a:moveTo>
                    <a:pt x="344" y="127"/>
                  </a:moveTo>
                  <a:cubicBezTo>
                    <a:pt x="378" y="213"/>
                    <a:pt x="337" y="310"/>
                    <a:pt x="251" y="344"/>
                  </a:cubicBezTo>
                  <a:cubicBezTo>
                    <a:pt x="165" y="378"/>
                    <a:pt x="68" y="337"/>
                    <a:pt x="34" y="251"/>
                  </a:cubicBezTo>
                  <a:cubicBezTo>
                    <a:pt x="0" y="165"/>
                    <a:pt x="42" y="68"/>
                    <a:pt x="127" y="34"/>
                  </a:cubicBezTo>
                  <a:cubicBezTo>
                    <a:pt x="213" y="0"/>
                    <a:pt x="310" y="41"/>
                    <a:pt x="344" y="127"/>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64" name="TextBox 112">
              <a:extLst>
                <a:ext uri="{FF2B5EF4-FFF2-40B4-BE49-F238E27FC236}">
                  <a16:creationId xmlns:a16="http://schemas.microsoft.com/office/drawing/2014/main" id="{E40AD0D3-A492-4A4F-8A91-342B9E0DD437}"/>
                </a:ext>
              </a:extLst>
            </p:cNvPr>
            <p:cNvSpPr txBox="1"/>
            <p:nvPr/>
          </p:nvSpPr>
          <p:spPr>
            <a:xfrm>
              <a:off x="4561175" y="4321357"/>
              <a:ext cx="531418"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等线 Light" panose="020F0302020204030204"/>
                  <a:ea typeface="+mn-ea"/>
                  <a:cs typeface="+mn-cs"/>
                </a:rPr>
                <a:t>02</a:t>
              </a:r>
            </a:p>
          </p:txBody>
        </p:sp>
      </p:grpSp>
      <p:grpSp>
        <p:nvGrpSpPr>
          <p:cNvPr id="65" name="Group 82">
            <a:extLst>
              <a:ext uri="{FF2B5EF4-FFF2-40B4-BE49-F238E27FC236}">
                <a16:creationId xmlns:a16="http://schemas.microsoft.com/office/drawing/2014/main" id="{573C9032-28EB-4FF4-AFD9-258F87473A31}"/>
              </a:ext>
            </a:extLst>
          </p:cNvPr>
          <p:cNvGrpSpPr/>
          <p:nvPr/>
        </p:nvGrpSpPr>
        <p:grpSpPr>
          <a:xfrm>
            <a:off x="4790823" y="3349896"/>
            <a:ext cx="644532" cy="644533"/>
            <a:chOff x="4790823" y="3349893"/>
            <a:chExt cx="644532" cy="644532"/>
          </a:xfrm>
        </p:grpSpPr>
        <p:sp>
          <p:nvSpPr>
            <p:cNvPr id="66" name="Oval 38">
              <a:extLst>
                <a:ext uri="{FF2B5EF4-FFF2-40B4-BE49-F238E27FC236}">
                  <a16:creationId xmlns:a16="http://schemas.microsoft.com/office/drawing/2014/main" id="{60F7DE1D-2A2B-45F1-9028-3353F805A370}"/>
                </a:ext>
              </a:extLst>
            </p:cNvPr>
            <p:cNvSpPr>
              <a:spLocks noChangeArrowheads="1"/>
            </p:cNvSpPr>
            <p:nvPr/>
          </p:nvSpPr>
          <p:spPr bwMode="auto">
            <a:xfrm>
              <a:off x="4790823" y="3349893"/>
              <a:ext cx="644532" cy="644532"/>
            </a:xfrm>
            <a:prstGeom prst="ellipse">
              <a:avLst/>
            </a:pr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67" name="TextBox 125">
              <a:extLst>
                <a:ext uri="{FF2B5EF4-FFF2-40B4-BE49-F238E27FC236}">
                  <a16:creationId xmlns:a16="http://schemas.microsoft.com/office/drawing/2014/main" id="{FAEEA656-5396-4506-9FD1-B38698DC0F1F}"/>
                </a:ext>
              </a:extLst>
            </p:cNvPr>
            <p:cNvSpPr txBox="1"/>
            <p:nvPr/>
          </p:nvSpPr>
          <p:spPr>
            <a:xfrm>
              <a:off x="4842598" y="3518273"/>
              <a:ext cx="531419" cy="30777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等线 Light" panose="020F0302020204030204"/>
                  <a:ea typeface="+mn-ea"/>
                  <a:cs typeface="+mn-cs"/>
                </a:rPr>
                <a:t>02</a:t>
              </a:r>
            </a:p>
          </p:txBody>
        </p:sp>
      </p:grpSp>
      <p:grpSp>
        <p:nvGrpSpPr>
          <p:cNvPr id="68" name="Group 83">
            <a:extLst>
              <a:ext uri="{FF2B5EF4-FFF2-40B4-BE49-F238E27FC236}">
                <a16:creationId xmlns:a16="http://schemas.microsoft.com/office/drawing/2014/main" id="{55958138-4802-4764-968D-FACF354028DD}"/>
              </a:ext>
            </a:extLst>
          </p:cNvPr>
          <p:cNvGrpSpPr/>
          <p:nvPr/>
        </p:nvGrpSpPr>
        <p:grpSpPr>
          <a:xfrm>
            <a:off x="5365747" y="2825249"/>
            <a:ext cx="645821" cy="644533"/>
            <a:chOff x="5365745" y="2825245"/>
            <a:chExt cx="645821" cy="644532"/>
          </a:xfrm>
        </p:grpSpPr>
        <p:sp>
          <p:nvSpPr>
            <p:cNvPr id="69" name="Oval 39">
              <a:extLst>
                <a:ext uri="{FF2B5EF4-FFF2-40B4-BE49-F238E27FC236}">
                  <a16:creationId xmlns:a16="http://schemas.microsoft.com/office/drawing/2014/main" id="{96772D4E-C531-4C54-BE19-8029A9F16100}"/>
                </a:ext>
              </a:extLst>
            </p:cNvPr>
            <p:cNvSpPr>
              <a:spLocks noChangeArrowheads="1"/>
            </p:cNvSpPr>
            <p:nvPr/>
          </p:nvSpPr>
          <p:spPr bwMode="auto">
            <a:xfrm>
              <a:off x="5365745" y="2825245"/>
              <a:ext cx="645821" cy="644532"/>
            </a:xfrm>
            <a:prstGeom prst="ellipse">
              <a:avLst/>
            </a:prstGeom>
            <a:solidFill>
              <a:schemeClr val="accent4"/>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70" name="TextBox 126">
              <a:extLst>
                <a:ext uri="{FF2B5EF4-FFF2-40B4-BE49-F238E27FC236}">
                  <a16:creationId xmlns:a16="http://schemas.microsoft.com/office/drawing/2014/main" id="{072D78C4-CDAE-4ADE-BDC0-15B8BE788C52}"/>
                </a:ext>
              </a:extLst>
            </p:cNvPr>
            <p:cNvSpPr txBox="1"/>
            <p:nvPr/>
          </p:nvSpPr>
          <p:spPr>
            <a:xfrm>
              <a:off x="5422946" y="2993625"/>
              <a:ext cx="531418" cy="30777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等线 Light" panose="020F0302020204030204"/>
                  <a:ea typeface="+mn-ea"/>
                  <a:cs typeface="+mn-cs"/>
                </a:rPr>
                <a:t>02</a:t>
              </a:r>
            </a:p>
          </p:txBody>
        </p:sp>
      </p:grpSp>
      <p:grpSp>
        <p:nvGrpSpPr>
          <p:cNvPr id="71" name="Group 85">
            <a:extLst>
              <a:ext uri="{FF2B5EF4-FFF2-40B4-BE49-F238E27FC236}">
                <a16:creationId xmlns:a16="http://schemas.microsoft.com/office/drawing/2014/main" id="{09F8F9B0-2B86-4DF3-8422-8B82224FE908}"/>
              </a:ext>
            </a:extLst>
          </p:cNvPr>
          <p:cNvGrpSpPr/>
          <p:nvPr/>
        </p:nvGrpSpPr>
        <p:grpSpPr>
          <a:xfrm>
            <a:off x="7098248" y="2540361"/>
            <a:ext cx="645821" cy="643242"/>
            <a:chOff x="7098247" y="2540361"/>
            <a:chExt cx="645821" cy="643243"/>
          </a:xfrm>
        </p:grpSpPr>
        <p:sp>
          <p:nvSpPr>
            <p:cNvPr id="72" name="Oval 32">
              <a:extLst>
                <a:ext uri="{FF2B5EF4-FFF2-40B4-BE49-F238E27FC236}">
                  <a16:creationId xmlns:a16="http://schemas.microsoft.com/office/drawing/2014/main" id="{1E49210A-B4E3-4A2C-90A3-32417D31590D}"/>
                </a:ext>
              </a:extLst>
            </p:cNvPr>
            <p:cNvSpPr>
              <a:spLocks noChangeArrowheads="1"/>
            </p:cNvSpPr>
            <p:nvPr/>
          </p:nvSpPr>
          <p:spPr bwMode="auto">
            <a:xfrm>
              <a:off x="7098247" y="2540361"/>
              <a:ext cx="645821" cy="643243"/>
            </a:xfrm>
            <a:prstGeom prst="ellipse">
              <a:avLst/>
            </a:prstGeom>
            <a:solidFill>
              <a:schemeClr val="accent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73" name="TextBox 127">
              <a:extLst>
                <a:ext uri="{FF2B5EF4-FFF2-40B4-BE49-F238E27FC236}">
                  <a16:creationId xmlns:a16="http://schemas.microsoft.com/office/drawing/2014/main" id="{2B63D7E4-D317-4982-97C4-04AD9B03D7F4}"/>
                </a:ext>
              </a:extLst>
            </p:cNvPr>
            <p:cNvSpPr txBox="1"/>
            <p:nvPr/>
          </p:nvSpPr>
          <p:spPr>
            <a:xfrm>
              <a:off x="7154804" y="2711980"/>
              <a:ext cx="531418"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等线 Light" panose="020F0302020204030204"/>
                  <a:ea typeface="+mn-ea"/>
                  <a:cs typeface="+mn-cs"/>
                </a:rPr>
                <a:t>02</a:t>
              </a:r>
            </a:p>
          </p:txBody>
        </p:sp>
      </p:grpSp>
      <p:grpSp>
        <p:nvGrpSpPr>
          <p:cNvPr id="74" name="Group 86">
            <a:extLst>
              <a:ext uri="{FF2B5EF4-FFF2-40B4-BE49-F238E27FC236}">
                <a16:creationId xmlns:a16="http://schemas.microsoft.com/office/drawing/2014/main" id="{E6AEE1CD-8FD0-4D38-9E0F-45042DCA3A95}"/>
              </a:ext>
            </a:extLst>
          </p:cNvPr>
          <p:cNvGrpSpPr/>
          <p:nvPr/>
        </p:nvGrpSpPr>
        <p:grpSpPr>
          <a:xfrm>
            <a:off x="6813364" y="3284155"/>
            <a:ext cx="645821" cy="644533"/>
            <a:chOff x="6813364" y="3284151"/>
            <a:chExt cx="645821" cy="644532"/>
          </a:xfrm>
        </p:grpSpPr>
        <p:sp>
          <p:nvSpPr>
            <p:cNvPr id="75" name="Oval 33">
              <a:extLst>
                <a:ext uri="{FF2B5EF4-FFF2-40B4-BE49-F238E27FC236}">
                  <a16:creationId xmlns:a16="http://schemas.microsoft.com/office/drawing/2014/main" id="{58172D81-69CA-4DC9-AE9B-D0D05373AE05}"/>
                </a:ext>
              </a:extLst>
            </p:cNvPr>
            <p:cNvSpPr>
              <a:spLocks noChangeArrowheads="1"/>
            </p:cNvSpPr>
            <p:nvPr/>
          </p:nvSpPr>
          <p:spPr bwMode="auto">
            <a:xfrm>
              <a:off x="6813364" y="3284151"/>
              <a:ext cx="645821" cy="644532"/>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76" name="TextBox 128">
              <a:extLst>
                <a:ext uri="{FF2B5EF4-FFF2-40B4-BE49-F238E27FC236}">
                  <a16:creationId xmlns:a16="http://schemas.microsoft.com/office/drawing/2014/main" id="{F705C7FF-16B0-4ED5-8D13-913DECA08D1C}"/>
                </a:ext>
              </a:extLst>
            </p:cNvPr>
            <p:cNvSpPr txBox="1"/>
            <p:nvPr/>
          </p:nvSpPr>
          <p:spPr>
            <a:xfrm>
              <a:off x="6870567" y="3452531"/>
              <a:ext cx="531418" cy="30777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等线 Light" panose="020F0302020204030204"/>
                  <a:ea typeface="+mn-ea"/>
                  <a:cs typeface="+mn-cs"/>
                </a:rPr>
                <a:t>02</a:t>
              </a:r>
            </a:p>
          </p:txBody>
        </p:sp>
      </p:grpSp>
      <p:grpSp>
        <p:nvGrpSpPr>
          <p:cNvPr id="77" name="Group 88">
            <a:extLst>
              <a:ext uri="{FF2B5EF4-FFF2-40B4-BE49-F238E27FC236}">
                <a16:creationId xmlns:a16="http://schemas.microsoft.com/office/drawing/2014/main" id="{2042321A-EC40-4F30-A5C6-B4A77119C149}"/>
              </a:ext>
            </a:extLst>
          </p:cNvPr>
          <p:cNvGrpSpPr/>
          <p:nvPr/>
        </p:nvGrpSpPr>
        <p:grpSpPr>
          <a:xfrm>
            <a:off x="7183327" y="4094975"/>
            <a:ext cx="645821" cy="644533"/>
            <a:chOff x="7183325" y="4094972"/>
            <a:chExt cx="645821" cy="644532"/>
          </a:xfrm>
        </p:grpSpPr>
        <p:sp>
          <p:nvSpPr>
            <p:cNvPr id="78" name="Oval 34">
              <a:extLst>
                <a:ext uri="{FF2B5EF4-FFF2-40B4-BE49-F238E27FC236}">
                  <a16:creationId xmlns:a16="http://schemas.microsoft.com/office/drawing/2014/main" id="{5D7C1F8F-2AD7-4AD7-984D-B6BA04FA3173}"/>
                </a:ext>
              </a:extLst>
            </p:cNvPr>
            <p:cNvSpPr>
              <a:spLocks noChangeArrowheads="1"/>
            </p:cNvSpPr>
            <p:nvPr/>
          </p:nvSpPr>
          <p:spPr bwMode="auto">
            <a:xfrm>
              <a:off x="7183325" y="4094972"/>
              <a:ext cx="645821" cy="644532"/>
            </a:xfrm>
            <a:prstGeom prst="ellipse">
              <a:avLst/>
            </a:prstGeom>
            <a:solidFill>
              <a:schemeClr val="accent1">
                <a:lumMod val="60000"/>
                <a:lumOff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79" name="TextBox 129">
              <a:extLst>
                <a:ext uri="{FF2B5EF4-FFF2-40B4-BE49-F238E27FC236}">
                  <a16:creationId xmlns:a16="http://schemas.microsoft.com/office/drawing/2014/main" id="{84C10899-9852-4FC5-9503-27A9E297BD59}"/>
                </a:ext>
              </a:extLst>
            </p:cNvPr>
            <p:cNvSpPr txBox="1"/>
            <p:nvPr/>
          </p:nvSpPr>
          <p:spPr>
            <a:xfrm>
              <a:off x="7240706" y="4263352"/>
              <a:ext cx="531418" cy="30777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等线 Light" panose="020F0302020204030204"/>
                  <a:ea typeface="+mn-ea"/>
                  <a:cs typeface="+mn-cs"/>
                </a:rPr>
                <a:t>02</a:t>
              </a:r>
            </a:p>
          </p:txBody>
        </p:sp>
      </p:grpSp>
      <p:grpSp>
        <p:nvGrpSpPr>
          <p:cNvPr id="80" name="Group 91">
            <a:extLst>
              <a:ext uri="{FF2B5EF4-FFF2-40B4-BE49-F238E27FC236}">
                <a16:creationId xmlns:a16="http://schemas.microsoft.com/office/drawing/2014/main" id="{2C8A8C55-FB59-4401-8DF4-8E5BE4E654C3}"/>
              </a:ext>
            </a:extLst>
          </p:cNvPr>
          <p:cNvGrpSpPr/>
          <p:nvPr/>
        </p:nvGrpSpPr>
        <p:grpSpPr>
          <a:xfrm>
            <a:off x="7265696" y="4829961"/>
            <a:ext cx="645821" cy="644533"/>
            <a:chOff x="7420513" y="4814269"/>
            <a:chExt cx="645821" cy="644532"/>
          </a:xfrm>
        </p:grpSpPr>
        <p:sp>
          <p:nvSpPr>
            <p:cNvPr id="81" name="Oval 35">
              <a:extLst>
                <a:ext uri="{FF2B5EF4-FFF2-40B4-BE49-F238E27FC236}">
                  <a16:creationId xmlns:a16="http://schemas.microsoft.com/office/drawing/2014/main" id="{35D0F41C-B84A-465E-AF50-B2BEC5CD0254}"/>
                </a:ext>
              </a:extLst>
            </p:cNvPr>
            <p:cNvSpPr>
              <a:spLocks noChangeArrowheads="1"/>
            </p:cNvSpPr>
            <p:nvPr/>
          </p:nvSpPr>
          <p:spPr bwMode="auto">
            <a:xfrm>
              <a:off x="7420513" y="4814269"/>
              <a:ext cx="645821" cy="644532"/>
            </a:xfrm>
            <a:prstGeom prst="ellipse">
              <a:avLst/>
            </a:pr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82" name="TextBox 130">
              <a:extLst>
                <a:ext uri="{FF2B5EF4-FFF2-40B4-BE49-F238E27FC236}">
                  <a16:creationId xmlns:a16="http://schemas.microsoft.com/office/drawing/2014/main" id="{DA00AE83-C4E9-4AED-831F-D3BCCAB1F6CA}"/>
                </a:ext>
              </a:extLst>
            </p:cNvPr>
            <p:cNvSpPr txBox="1"/>
            <p:nvPr/>
          </p:nvSpPr>
          <p:spPr>
            <a:xfrm>
              <a:off x="7449442" y="4982649"/>
              <a:ext cx="531418" cy="30777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等线 Light" panose="020F0302020204030204"/>
                  <a:ea typeface="+mn-ea"/>
                  <a:cs typeface="+mn-cs"/>
                </a:rPr>
                <a:t>02</a:t>
              </a:r>
            </a:p>
          </p:txBody>
        </p:sp>
      </p:grpSp>
      <p:sp>
        <p:nvSpPr>
          <p:cNvPr id="83" name="TextBox 40">
            <a:extLst>
              <a:ext uri="{FF2B5EF4-FFF2-40B4-BE49-F238E27FC236}">
                <a16:creationId xmlns:a16="http://schemas.microsoft.com/office/drawing/2014/main" id="{93617855-0B8E-46AF-8610-A8FE9DA4E885}"/>
              </a:ext>
            </a:extLst>
          </p:cNvPr>
          <p:cNvSpPr txBox="1"/>
          <p:nvPr/>
        </p:nvSpPr>
        <p:spPr>
          <a:xfrm>
            <a:off x="3120983" y="1191986"/>
            <a:ext cx="5950039"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000000">
                    <a:lumMod val="85000"/>
                    <a:lumOff val="15000"/>
                  </a:srgbClr>
                </a:solidFill>
                <a:effectLst/>
                <a:uLnTx/>
                <a:uFillTx/>
                <a:latin typeface="等线 Light" panose="020F0302020204030204"/>
                <a:ea typeface="+mn-ea"/>
                <a:cs typeface="+mn-cs"/>
              </a:rPr>
              <a:t>INFOGRAPHIC</a:t>
            </a:r>
            <a:r>
              <a:rPr kumimoji="0" lang="en-US" sz="3200" b="1" i="0" u="none" strike="noStrike" kern="1200" cap="none" spc="0" normalizeH="0" baseline="0" noProof="0" dirty="0">
                <a:ln>
                  <a:noFill/>
                </a:ln>
                <a:solidFill>
                  <a:srgbClr val="000000">
                    <a:lumMod val="85000"/>
                    <a:lumOff val="15000"/>
                  </a:srgbClr>
                </a:solidFill>
                <a:effectLst/>
                <a:uLnTx/>
                <a:uFillTx/>
                <a:latin typeface="等线" panose="020F0502020204030204"/>
                <a:ea typeface="+mn-ea"/>
                <a:cs typeface="+mn-cs"/>
              </a:rPr>
              <a:t> </a:t>
            </a:r>
            <a:r>
              <a:rPr kumimoji="0" lang="en-US" sz="3200" b="1" i="0" u="none" strike="noStrike" kern="1200" cap="none" spc="0" normalizeH="0" baseline="0" noProof="0" dirty="0">
                <a:ln>
                  <a:noFill/>
                </a:ln>
                <a:solidFill>
                  <a:srgbClr val="000000">
                    <a:lumMod val="85000"/>
                    <a:lumOff val="15000"/>
                  </a:srgbClr>
                </a:solidFill>
                <a:effectLst/>
                <a:uLnTx/>
                <a:uFillTx/>
                <a:latin typeface="等线 Light" panose="020F0302020204030204"/>
                <a:ea typeface="+mn-ea"/>
                <a:cs typeface="+mn-cs"/>
              </a:rPr>
              <a:t>TREE</a:t>
            </a:r>
          </a:p>
        </p:txBody>
      </p:sp>
      <p:grpSp>
        <p:nvGrpSpPr>
          <p:cNvPr id="84" name="Group 67">
            <a:extLst>
              <a:ext uri="{FF2B5EF4-FFF2-40B4-BE49-F238E27FC236}">
                <a16:creationId xmlns:a16="http://schemas.microsoft.com/office/drawing/2014/main" id="{381047EC-CB5D-4F05-8B0D-FB9D2D6A9422}"/>
              </a:ext>
            </a:extLst>
          </p:cNvPr>
          <p:cNvGrpSpPr/>
          <p:nvPr/>
        </p:nvGrpSpPr>
        <p:grpSpPr>
          <a:xfrm>
            <a:off x="7421157" y="1880604"/>
            <a:ext cx="3551643" cy="659756"/>
            <a:chOff x="7421158" y="1880606"/>
            <a:chExt cx="3551642" cy="659756"/>
          </a:xfrm>
        </p:grpSpPr>
        <p:sp>
          <p:nvSpPr>
            <p:cNvPr id="85" name="Rectangle: Rounded Corners 106">
              <a:extLst>
                <a:ext uri="{FF2B5EF4-FFF2-40B4-BE49-F238E27FC236}">
                  <a16:creationId xmlns:a16="http://schemas.microsoft.com/office/drawing/2014/main" id="{87C9BC45-046E-4A95-AA83-7FDAB3281630}"/>
                </a:ext>
              </a:extLst>
            </p:cNvPr>
            <p:cNvSpPr/>
            <p:nvPr/>
          </p:nvSpPr>
          <p:spPr>
            <a:xfrm>
              <a:off x="8941607" y="1880606"/>
              <a:ext cx="2031193" cy="574016"/>
            </a:xfrm>
            <a:prstGeom prst="roundRect">
              <a:avLst>
                <a:gd name="adj" fmla="val 50000"/>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FFFFFF"/>
                </a:solidFill>
                <a:effectLst/>
                <a:uLnTx/>
                <a:uFillTx/>
                <a:latin typeface="等线" panose="020F0502020204030204"/>
                <a:ea typeface="+mn-ea"/>
                <a:cs typeface="+mn-cs"/>
              </a:endParaRPr>
            </a:p>
          </p:txBody>
        </p:sp>
        <p:cxnSp>
          <p:nvCxnSpPr>
            <p:cNvPr id="86" name="Connector: Elbow 3">
              <a:extLst>
                <a:ext uri="{FF2B5EF4-FFF2-40B4-BE49-F238E27FC236}">
                  <a16:creationId xmlns:a16="http://schemas.microsoft.com/office/drawing/2014/main" id="{A30C1682-5410-4E85-9FB0-E4363780933B}"/>
                </a:ext>
              </a:extLst>
            </p:cNvPr>
            <p:cNvCxnSpPr>
              <a:cxnSpLocks/>
              <a:stCxn id="72" idx="0"/>
              <a:endCxn id="85" idx="1"/>
            </p:cNvCxnSpPr>
            <p:nvPr/>
          </p:nvCxnSpPr>
          <p:spPr>
            <a:xfrm rot="5400000" flipH="1" flipV="1">
              <a:off x="7995009" y="1593764"/>
              <a:ext cx="372747" cy="1520449"/>
            </a:xfrm>
            <a:prstGeom prst="bentConnector2">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87" name="TextBox 43">
              <a:extLst>
                <a:ext uri="{FF2B5EF4-FFF2-40B4-BE49-F238E27FC236}">
                  <a16:creationId xmlns:a16="http://schemas.microsoft.com/office/drawing/2014/main" id="{ABA7A4B5-C667-4940-828A-15333CBEDC23}"/>
                </a:ext>
              </a:extLst>
            </p:cNvPr>
            <p:cNvSpPr txBox="1"/>
            <p:nvPr/>
          </p:nvSpPr>
          <p:spPr>
            <a:xfrm>
              <a:off x="9377464" y="2010702"/>
              <a:ext cx="1159478"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等线 Light" panose="020F0302020204030204"/>
                  <a:ea typeface="+mn-ea"/>
                  <a:cs typeface="+mn-cs"/>
                </a:rPr>
                <a:t>Stomata</a:t>
              </a:r>
            </a:p>
          </p:txBody>
        </p:sp>
      </p:grpSp>
    </p:spTree>
    <p:extLst>
      <p:ext uri="{BB962C8B-B14F-4D97-AF65-F5344CB8AC3E}">
        <p14:creationId xmlns:p14="http://schemas.microsoft.com/office/powerpoint/2010/main" val="1071126829"/>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37" fill="hold" grpId="0" nodeType="afterEffect">
                                  <p:stCondLst>
                                    <p:cond delay="0"/>
                                  </p:stCondLst>
                                  <p:childTnLst>
                                    <p:set>
                                      <p:cBhvr>
                                        <p:cTn id="6" dur="1" fill="hold">
                                          <p:stCondLst>
                                            <p:cond delay="0"/>
                                          </p:stCondLst>
                                        </p:cTn>
                                        <p:tgtEl>
                                          <p:spTgt spid="83"/>
                                        </p:tgtEl>
                                        <p:attrNameLst>
                                          <p:attrName>style.visibility</p:attrName>
                                        </p:attrNameLst>
                                      </p:cBhvr>
                                      <p:to>
                                        <p:strVal val="visible"/>
                                      </p:to>
                                    </p:set>
                                    <p:animEffect transition="in" filter="barn(outVertical)">
                                      <p:cBhvr>
                                        <p:cTn id="7" dur="500"/>
                                        <p:tgtEl>
                                          <p:spTgt spid="83"/>
                                        </p:tgtEl>
                                      </p:cBhvr>
                                    </p:animEffect>
                                  </p:childTnLst>
                                </p:cTn>
                              </p:par>
                            </p:childTnLst>
                          </p:cTn>
                        </p:par>
                        <p:par>
                          <p:cTn id="8" fill="hold">
                            <p:stCondLst>
                              <p:cond delay="500"/>
                            </p:stCondLst>
                            <p:childTnLst>
                              <p:par>
                                <p:cTn id="9" presetID="22" presetClass="entr" presetSubtype="4" fill="hold" grpId="0" nodeType="afterEffect">
                                  <p:stCondLst>
                                    <p:cond delay="0"/>
                                  </p:stCondLst>
                                  <p:childTnLst>
                                    <p:set>
                                      <p:cBhvr>
                                        <p:cTn id="10" dur="1" fill="hold">
                                          <p:stCondLst>
                                            <p:cond delay="0"/>
                                          </p:stCondLst>
                                        </p:cTn>
                                        <p:tgtEl>
                                          <p:spTgt spid="46"/>
                                        </p:tgtEl>
                                        <p:attrNameLst>
                                          <p:attrName>style.visibility</p:attrName>
                                        </p:attrNameLst>
                                      </p:cBhvr>
                                      <p:to>
                                        <p:strVal val="visible"/>
                                      </p:to>
                                    </p:set>
                                    <p:animEffect transition="in" filter="wipe(down)">
                                      <p:cBhvr>
                                        <p:cTn id="11" dur="500"/>
                                        <p:tgtEl>
                                          <p:spTgt spid="46"/>
                                        </p:tgtEl>
                                      </p:cBhvr>
                                    </p:animEffect>
                                  </p:childTnLst>
                                </p:cTn>
                              </p:par>
                            </p:childTnLst>
                          </p:cTn>
                        </p:par>
                        <p:par>
                          <p:cTn id="12" fill="hold">
                            <p:stCondLst>
                              <p:cond delay="1000"/>
                            </p:stCondLst>
                            <p:childTnLst>
                              <p:par>
                                <p:cTn id="13" presetID="22" presetClass="entr" presetSubtype="4" fill="hold" grpId="0" nodeType="afterEffect">
                                  <p:stCondLst>
                                    <p:cond delay="0"/>
                                  </p:stCondLst>
                                  <p:childTnLst>
                                    <p:set>
                                      <p:cBhvr>
                                        <p:cTn id="14" dur="1" fill="hold">
                                          <p:stCondLst>
                                            <p:cond delay="0"/>
                                          </p:stCondLst>
                                        </p:cTn>
                                        <p:tgtEl>
                                          <p:spTgt spid="45"/>
                                        </p:tgtEl>
                                        <p:attrNameLst>
                                          <p:attrName>style.visibility</p:attrName>
                                        </p:attrNameLst>
                                      </p:cBhvr>
                                      <p:to>
                                        <p:strVal val="visible"/>
                                      </p:to>
                                    </p:set>
                                    <p:animEffect transition="in" filter="wipe(down)">
                                      <p:cBhvr>
                                        <p:cTn id="15" dur="500"/>
                                        <p:tgtEl>
                                          <p:spTgt spid="45"/>
                                        </p:tgtEl>
                                      </p:cBhvr>
                                    </p:animEffect>
                                  </p:childTnLst>
                                </p:cTn>
                              </p:par>
                            </p:childTnLst>
                          </p:cTn>
                        </p:par>
                        <p:par>
                          <p:cTn id="16" fill="hold">
                            <p:stCondLst>
                              <p:cond delay="1500"/>
                            </p:stCondLst>
                            <p:childTnLst>
                              <p:par>
                                <p:cTn id="17" presetID="53" presetClass="entr" presetSubtype="16" fill="hold" nodeType="afterEffect">
                                  <p:stCondLst>
                                    <p:cond delay="0"/>
                                  </p:stCondLst>
                                  <p:childTnLst>
                                    <p:set>
                                      <p:cBhvr>
                                        <p:cTn id="18" dur="1" fill="hold">
                                          <p:stCondLst>
                                            <p:cond delay="0"/>
                                          </p:stCondLst>
                                        </p:cTn>
                                        <p:tgtEl>
                                          <p:spTgt spid="19"/>
                                        </p:tgtEl>
                                        <p:attrNameLst>
                                          <p:attrName>style.visibility</p:attrName>
                                        </p:attrNameLst>
                                      </p:cBhvr>
                                      <p:to>
                                        <p:strVal val="visible"/>
                                      </p:to>
                                    </p:set>
                                    <p:anim calcmode="lin" valueType="num">
                                      <p:cBhvr>
                                        <p:cTn id="19" dur="500" fill="hold"/>
                                        <p:tgtEl>
                                          <p:spTgt spid="19"/>
                                        </p:tgtEl>
                                        <p:attrNameLst>
                                          <p:attrName>ppt_w</p:attrName>
                                        </p:attrNameLst>
                                      </p:cBhvr>
                                      <p:tavLst>
                                        <p:tav tm="0">
                                          <p:val>
                                            <p:fltVal val="0"/>
                                          </p:val>
                                        </p:tav>
                                        <p:tav tm="100000">
                                          <p:val>
                                            <p:strVal val="#ppt_w"/>
                                          </p:val>
                                        </p:tav>
                                      </p:tavLst>
                                    </p:anim>
                                    <p:anim calcmode="lin" valueType="num">
                                      <p:cBhvr>
                                        <p:cTn id="20" dur="500" fill="hold"/>
                                        <p:tgtEl>
                                          <p:spTgt spid="19"/>
                                        </p:tgtEl>
                                        <p:attrNameLst>
                                          <p:attrName>ppt_h</p:attrName>
                                        </p:attrNameLst>
                                      </p:cBhvr>
                                      <p:tavLst>
                                        <p:tav tm="0">
                                          <p:val>
                                            <p:fltVal val="0"/>
                                          </p:val>
                                        </p:tav>
                                        <p:tav tm="100000">
                                          <p:val>
                                            <p:strVal val="#ppt_h"/>
                                          </p:val>
                                        </p:tav>
                                      </p:tavLst>
                                    </p:anim>
                                    <p:animEffect transition="in" filter="fade">
                                      <p:cBhvr>
                                        <p:cTn id="21" dur="500"/>
                                        <p:tgtEl>
                                          <p:spTgt spid="19"/>
                                        </p:tgtEl>
                                      </p:cBhvr>
                                    </p:animEffect>
                                  </p:childTnLst>
                                </p:cTn>
                              </p:par>
                            </p:childTnLst>
                          </p:cTn>
                        </p:par>
                        <p:par>
                          <p:cTn id="22" fill="hold">
                            <p:stCondLst>
                              <p:cond delay="2000"/>
                            </p:stCondLst>
                            <p:childTnLst>
                              <p:par>
                                <p:cTn id="23" presetID="53" presetClass="entr" presetSubtype="16" fill="hold" nodeType="afterEffect">
                                  <p:stCondLst>
                                    <p:cond delay="0"/>
                                  </p:stCondLst>
                                  <p:childTnLst>
                                    <p:set>
                                      <p:cBhvr>
                                        <p:cTn id="24" dur="1" fill="hold">
                                          <p:stCondLst>
                                            <p:cond delay="0"/>
                                          </p:stCondLst>
                                        </p:cTn>
                                        <p:tgtEl>
                                          <p:spTgt spid="59"/>
                                        </p:tgtEl>
                                        <p:attrNameLst>
                                          <p:attrName>style.visibility</p:attrName>
                                        </p:attrNameLst>
                                      </p:cBhvr>
                                      <p:to>
                                        <p:strVal val="visible"/>
                                      </p:to>
                                    </p:set>
                                    <p:anim calcmode="lin" valueType="num">
                                      <p:cBhvr>
                                        <p:cTn id="25" dur="500" fill="hold"/>
                                        <p:tgtEl>
                                          <p:spTgt spid="59"/>
                                        </p:tgtEl>
                                        <p:attrNameLst>
                                          <p:attrName>ppt_w</p:attrName>
                                        </p:attrNameLst>
                                      </p:cBhvr>
                                      <p:tavLst>
                                        <p:tav tm="0">
                                          <p:val>
                                            <p:fltVal val="0"/>
                                          </p:val>
                                        </p:tav>
                                        <p:tav tm="100000">
                                          <p:val>
                                            <p:strVal val="#ppt_w"/>
                                          </p:val>
                                        </p:tav>
                                      </p:tavLst>
                                    </p:anim>
                                    <p:anim calcmode="lin" valueType="num">
                                      <p:cBhvr>
                                        <p:cTn id="26" dur="500" fill="hold"/>
                                        <p:tgtEl>
                                          <p:spTgt spid="59"/>
                                        </p:tgtEl>
                                        <p:attrNameLst>
                                          <p:attrName>ppt_h</p:attrName>
                                        </p:attrNameLst>
                                      </p:cBhvr>
                                      <p:tavLst>
                                        <p:tav tm="0">
                                          <p:val>
                                            <p:fltVal val="0"/>
                                          </p:val>
                                        </p:tav>
                                        <p:tav tm="100000">
                                          <p:val>
                                            <p:strVal val="#ppt_h"/>
                                          </p:val>
                                        </p:tav>
                                      </p:tavLst>
                                    </p:anim>
                                    <p:animEffect transition="in" filter="fade">
                                      <p:cBhvr>
                                        <p:cTn id="27" dur="500"/>
                                        <p:tgtEl>
                                          <p:spTgt spid="59"/>
                                        </p:tgtEl>
                                      </p:cBhvr>
                                    </p:animEffect>
                                  </p:childTnLst>
                                </p:cTn>
                              </p:par>
                            </p:childTnLst>
                          </p:cTn>
                        </p:par>
                        <p:par>
                          <p:cTn id="28" fill="hold">
                            <p:stCondLst>
                              <p:cond delay="2500"/>
                            </p:stCondLst>
                            <p:childTnLst>
                              <p:par>
                                <p:cTn id="29" presetID="22" presetClass="entr" presetSubtype="2" fill="hold" nodeType="afterEffect">
                                  <p:stCondLst>
                                    <p:cond delay="0"/>
                                  </p:stCondLst>
                                  <p:childTnLst>
                                    <p:set>
                                      <p:cBhvr>
                                        <p:cTn id="30" dur="1" fill="hold">
                                          <p:stCondLst>
                                            <p:cond delay="0"/>
                                          </p:stCondLst>
                                        </p:cTn>
                                        <p:tgtEl>
                                          <p:spTgt spid="7"/>
                                        </p:tgtEl>
                                        <p:attrNameLst>
                                          <p:attrName>style.visibility</p:attrName>
                                        </p:attrNameLst>
                                      </p:cBhvr>
                                      <p:to>
                                        <p:strVal val="visible"/>
                                      </p:to>
                                    </p:set>
                                    <p:animEffect transition="in" filter="wipe(right)">
                                      <p:cBhvr>
                                        <p:cTn id="31" dur="500"/>
                                        <p:tgtEl>
                                          <p:spTgt spid="7"/>
                                        </p:tgtEl>
                                      </p:cBhvr>
                                    </p:animEffect>
                                  </p:childTnLst>
                                </p:cTn>
                              </p:par>
                            </p:childTnLst>
                          </p:cTn>
                        </p:par>
                        <p:par>
                          <p:cTn id="32" fill="hold">
                            <p:stCondLst>
                              <p:cond delay="3000"/>
                            </p:stCondLst>
                            <p:childTnLst>
                              <p:par>
                                <p:cTn id="33" presetID="53" presetClass="entr" presetSubtype="16" fill="hold" nodeType="afterEffect">
                                  <p:stCondLst>
                                    <p:cond delay="0"/>
                                  </p:stCondLst>
                                  <p:childTnLst>
                                    <p:set>
                                      <p:cBhvr>
                                        <p:cTn id="34" dur="1" fill="hold">
                                          <p:stCondLst>
                                            <p:cond delay="0"/>
                                          </p:stCondLst>
                                        </p:cTn>
                                        <p:tgtEl>
                                          <p:spTgt spid="62"/>
                                        </p:tgtEl>
                                        <p:attrNameLst>
                                          <p:attrName>style.visibility</p:attrName>
                                        </p:attrNameLst>
                                      </p:cBhvr>
                                      <p:to>
                                        <p:strVal val="visible"/>
                                      </p:to>
                                    </p:set>
                                    <p:anim calcmode="lin" valueType="num">
                                      <p:cBhvr>
                                        <p:cTn id="35" dur="500" fill="hold"/>
                                        <p:tgtEl>
                                          <p:spTgt spid="62"/>
                                        </p:tgtEl>
                                        <p:attrNameLst>
                                          <p:attrName>ppt_w</p:attrName>
                                        </p:attrNameLst>
                                      </p:cBhvr>
                                      <p:tavLst>
                                        <p:tav tm="0">
                                          <p:val>
                                            <p:fltVal val="0"/>
                                          </p:val>
                                        </p:tav>
                                        <p:tav tm="100000">
                                          <p:val>
                                            <p:strVal val="#ppt_w"/>
                                          </p:val>
                                        </p:tav>
                                      </p:tavLst>
                                    </p:anim>
                                    <p:anim calcmode="lin" valueType="num">
                                      <p:cBhvr>
                                        <p:cTn id="36" dur="500" fill="hold"/>
                                        <p:tgtEl>
                                          <p:spTgt spid="62"/>
                                        </p:tgtEl>
                                        <p:attrNameLst>
                                          <p:attrName>ppt_h</p:attrName>
                                        </p:attrNameLst>
                                      </p:cBhvr>
                                      <p:tavLst>
                                        <p:tav tm="0">
                                          <p:val>
                                            <p:fltVal val="0"/>
                                          </p:val>
                                        </p:tav>
                                        <p:tav tm="100000">
                                          <p:val>
                                            <p:strVal val="#ppt_h"/>
                                          </p:val>
                                        </p:tav>
                                      </p:tavLst>
                                    </p:anim>
                                    <p:animEffect transition="in" filter="fade">
                                      <p:cBhvr>
                                        <p:cTn id="37" dur="500"/>
                                        <p:tgtEl>
                                          <p:spTgt spid="62"/>
                                        </p:tgtEl>
                                      </p:cBhvr>
                                    </p:animEffect>
                                  </p:childTnLst>
                                </p:cTn>
                              </p:par>
                            </p:childTnLst>
                          </p:cTn>
                        </p:par>
                        <p:par>
                          <p:cTn id="38" fill="hold">
                            <p:stCondLst>
                              <p:cond delay="3500"/>
                            </p:stCondLst>
                            <p:childTnLst>
                              <p:par>
                                <p:cTn id="39" presetID="22" presetClass="entr" presetSubtype="2" fill="hold" nodeType="afterEffect">
                                  <p:stCondLst>
                                    <p:cond delay="0"/>
                                  </p:stCondLst>
                                  <p:childTnLst>
                                    <p:set>
                                      <p:cBhvr>
                                        <p:cTn id="40" dur="1" fill="hold">
                                          <p:stCondLst>
                                            <p:cond delay="0"/>
                                          </p:stCondLst>
                                        </p:cTn>
                                        <p:tgtEl>
                                          <p:spTgt spid="2"/>
                                        </p:tgtEl>
                                        <p:attrNameLst>
                                          <p:attrName>style.visibility</p:attrName>
                                        </p:attrNameLst>
                                      </p:cBhvr>
                                      <p:to>
                                        <p:strVal val="visible"/>
                                      </p:to>
                                    </p:set>
                                    <p:animEffect transition="in" filter="wipe(right)">
                                      <p:cBhvr>
                                        <p:cTn id="41" dur="500"/>
                                        <p:tgtEl>
                                          <p:spTgt spid="2"/>
                                        </p:tgtEl>
                                      </p:cBhvr>
                                    </p:animEffect>
                                  </p:childTnLst>
                                </p:cTn>
                              </p:par>
                            </p:childTnLst>
                          </p:cTn>
                        </p:par>
                        <p:par>
                          <p:cTn id="42" fill="hold">
                            <p:stCondLst>
                              <p:cond delay="4000"/>
                            </p:stCondLst>
                            <p:childTnLst>
                              <p:par>
                                <p:cTn id="43" presetID="53" presetClass="entr" presetSubtype="16" fill="hold" nodeType="afterEffect">
                                  <p:stCondLst>
                                    <p:cond delay="0"/>
                                  </p:stCondLst>
                                  <p:childTnLst>
                                    <p:set>
                                      <p:cBhvr>
                                        <p:cTn id="44" dur="1" fill="hold">
                                          <p:stCondLst>
                                            <p:cond delay="0"/>
                                          </p:stCondLst>
                                        </p:cTn>
                                        <p:tgtEl>
                                          <p:spTgt spid="65"/>
                                        </p:tgtEl>
                                        <p:attrNameLst>
                                          <p:attrName>style.visibility</p:attrName>
                                        </p:attrNameLst>
                                      </p:cBhvr>
                                      <p:to>
                                        <p:strVal val="visible"/>
                                      </p:to>
                                    </p:set>
                                    <p:anim calcmode="lin" valueType="num">
                                      <p:cBhvr>
                                        <p:cTn id="45" dur="500" fill="hold"/>
                                        <p:tgtEl>
                                          <p:spTgt spid="65"/>
                                        </p:tgtEl>
                                        <p:attrNameLst>
                                          <p:attrName>ppt_w</p:attrName>
                                        </p:attrNameLst>
                                      </p:cBhvr>
                                      <p:tavLst>
                                        <p:tav tm="0">
                                          <p:val>
                                            <p:fltVal val="0"/>
                                          </p:val>
                                        </p:tav>
                                        <p:tav tm="100000">
                                          <p:val>
                                            <p:strVal val="#ppt_w"/>
                                          </p:val>
                                        </p:tav>
                                      </p:tavLst>
                                    </p:anim>
                                    <p:anim calcmode="lin" valueType="num">
                                      <p:cBhvr>
                                        <p:cTn id="46" dur="500" fill="hold"/>
                                        <p:tgtEl>
                                          <p:spTgt spid="65"/>
                                        </p:tgtEl>
                                        <p:attrNameLst>
                                          <p:attrName>ppt_h</p:attrName>
                                        </p:attrNameLst>
                                      </p:cBhvr>
                                      <p:tavLst>
                                        <p:tav tm="0">
                                          <p:val>
                                            <p:fltVal val="0"/>
                                          </p:val>
                                        </p:tav>
                                        <p:tav tm="100000">
                                          <p:val>
                                            <p:strVal val="#ppt_h"/>
                                          </p:val>
                                        </p:tav>
                                      </p:tavLst>
                                    </p:anim>
                                    <p:animEffect transition="in" filter="fade">
                                      <p:cBhvr>
                                        <p:cTn id="47" dur="500"/>
                                        <p:tgtEl>
                                          <p:spTgt spid="65"/>
                                        </p:tgtEl>
                                      </p:cBhvr>
                                    </p:animEffect>
                                  </p:childTnLst>
                                </p:cTn>
                              </p:par>
                            </p:childTnLst>
                          </p:cTn>
                        </p:par>
                        <p:par>
                          <p:cTn id="48" fill="hold">
                            <p:stCondLst>
                              <p:cond delay="4500"/>
                            </p:stCondLst>
                            <p:childTnLst>
                              <p:par>
                                <p:cTn id="49" presetID="22" presetClass="entr" presetSubtype="2" fill="hold" nodeType="afterEffect">
                                  <p:stCondLst>
                                    <p:cond delay="0"/>
                                  </p:stCondLst>
                                  <p:childTnLst>
                                    <p:set>
                                      <p:cBhvr>
                                        <p:cTn id="50" dur="1" fill="hold">
                                          <p:stCondLst>
                                            <p:cond delay="0"/>
                                          </p:stCondLst>
                                        </p:cTn>
                                        <p:tgtEl>
                                          <p:spTgt spid="15"/>
                                        </p:tgtEl>
                                        <p:attrNameLst>
                                          <p:attrName>style.visibility</p:attrName>
                                        </p:attrNameLst>
                                      </p:cBhvr>
                                      <p:to>
                                        <p:strVal val="visible"/>
                                      </p:to>
                                    </p:set>
                                    <p:animEffect transition="in" filter="wipe(right)">
                                      <p:cBhvr>
                                        <p:cTn id="51" dur="500"/>
                                        <p:tgtEl>
                                          <p:spTgt spid="15"/>
                                        </p:tgtEl>
                                      </p:cBhvr>
                                    </p:animEffect>
                                  </p:childTnLst>
                                </p:cTn>
                              </p:par>
                            </p:childTnLst>
                          </p:cTn>
                        </p:par>
                        <p:par>
                          <p:cTn id="52" fill="hold">
                            <p:stCondLst>
                              <p:cond delay="5000"/>
                            </p:stCondLst>
                            <p:childTnLst>
                              <p:par>
                                <p:cTn id="53" presetID="53" presetClass="entr" presetSubtype="16" fill="hold" nodeType="afterEffect">
                                  <p:stCondLst>
                                    <p:cond delay="0"/>
                                  </p:stCondLst>
                                  <p:childTnLst>
                                    <p:set>
                                      <p:cBhvr>
                                        <p:cTn id="54" dur="1" fill="hold">
                                          <p:stCondLst>
                                            <p:cond delay="0"/>
                                          </p:stCondLst>
                                        </p:cTn>
                                        <p:tgtEl>
                                          <p:spTgt spid="68"/>
                                        </p:tgtEl>
                                        <p:attrNameLst>
                                          <p:attrName>style.visibility</p:attrName>
                                        </p:attrNameLst>
                                      </p:cBhvr>
                                      <p:to>
                                        <p:strVal val="visible"/>
                                      </p:to>
                                    </p:set>
                                    <p:anim calcmode="lin" valueType="num">
                                      <p:cBhvr>
                                        <p:cTn id="55" dur="500" fill="hold"/>
                                        <p:tgtEl>
                                          <p:spTgt spid="68"/>
                                        </p:tgtEl>
                                        <p:attrNameLst>
                                          <p:attrName>ppt_w</p:attrName>
                                        </p:attrNameLst>
                                      </p:cBhvr>
                                      <p:tavLst>
                                        <p:tav tm="0">
                                          <p:val>
                                            <p:fltVal val="0"/>
                                          </p:val>
                                        </p:tav>
                                        <p:tav tm="100000">
                                          <p:val>
                                            <p:strVal val="#ppt_w"/>
                                          </p:val>
                                        </p:tav>
                                      </p:tavLst>
                                    </p:anim>
                                    <p:anim calcmode="lin" valueType="num">
                                      <p:cBhvr>
                                        <p:cTn id="56" dur="500" fill="hold"/>
                                        <p:tgtEl>
                                          <p:spTgt spid="68"/>
                                        </p:tgtEl>
                                        <p:attrNameLst>
                                          <p:attrName>ppt_h</p:attrName>
                                        </p:attrNameLst>
                                      </p:cBhvr>
                                      <p:tavLst>
                                        <p:tav tm="0">
                                          <p:val>
                                            <p:fltVal val="0"/>
                                          </p:val>
                                        </p:tav>
                                        <p:tav tm="100000">
                                          <p:val>
                                            <p:strVal val="#ppt_h"/>
                                          </p:val>
                                        </p:tav>
                                      </p:tavLst>
                                    </p:anim>
                                    <p:animEffect transition="in" filter="fade">
                                      <p:cBhvr>
                                        <p:cTn id="57" dur="500"/>
                                        <p:tgtEl>
                                          <p:spTgt spid="68"/>
                                        </p:tgtEl>
                                      </p:cBhvr>
                                    </p:animEffect>
                                  </p:childTnLst>
                                </p:cTn>
                              </p:par>
                            </p:childTnLst>
                          </p:cTn>
                        </p:par>
                        <p:par>
                          <p:cTn id="58" fill="hold">
                            <p:stCondLst>
                              <p:cond delay="5500"/>
                            </p:stCondLst>
                            <p:childTnLst>
                              <p:par>
                                <p:cTn id="59" presetID="22" presetClass="entr" presetSubtype="2" fill="hold" nodeType="afterEffect">
                                  <p:stCondLst>
                                    <p:cond delay="0"/>
                                  </p:stCondLst>
                                  <p:childTnLst>
                                    <p:set>
                                      <p:cBhvr>
                                        <p:cTn id="60" dur="1" fill="hold">
                                          <p:stCondLst>
                                            <p:cond delay="0"/>
                                          </p:stCondLst>
                                        </p:cTn>
                                        <p:tgtEl>
                                          <p:spTgt spid="11"/>
                                        </p:tgtEl>
                                        <p:attrNameLst>
                                          <p:attrName>style.visibility</p:attrName>
                                        </p:attrNameLst>
                                      </p:cBhvr>
                                      <p:to>
                                        <p:strVal val="visible"/>
                                      </p:to>
                                    </p:set>
                                    <p:animEffect transition="in" filter="wipe(right)">
                                      <p:cBhvr>
                                        <p:cTn id="61" dur="500"/>
                                        <p:tgtEl>
                                          <p:spTgt spid="11"/>
                                        </p:tgtEl>
                                      </p:cBhvr>
                                    </p:animEffect>
                                  </p:childTnLst>
                                </p:cTn>
                              </p:par>
                            </p:childTnLst>
                          </p:cTn>
                        </p:par>
                        <p:par>
                          <p:cTn id="62" fill="hold">
                            <p:stCondLst>
                              <p:cond delay="6000"/>
                            </p:stCondLst>
                            <p:childTnLst>
                              <p:par>
                                <p:cTn id="63" presetID="53" presetClass="entr" presetSubtype="16" fill="hold" nodeType="afterEffect">
                                  <p:stCondLst>
                                    <p:cond delay="0"/>
                                  </p:stCondLst>
                                  <p:childTnLst>
                                    <p:set>
                                      <p:cBhvr>
                                        <p:cTn id="64" dur="1" fill="hold">
                                          <p:stCondLst>
                                            <p:cond delay="0"/>
                                          </p:stCondLst>
                                        </p:cTn>
                                        <p:tgtEl>
                                          <p:spTgt spid="71"/>
                                        </p:tgtEl>
                                        <p:attrNameLst>
                                          <p:attrName>style.visibility</p:attrName>
                                        </p:attrNameLst>
                                      </p:cBhvr>
                                      <p:to>
                                        <p:strVal val="visible"/>
                                      </p:to>
                                    </p:set>
                                    <p:anim calcmode="lin" valueType="num">
                                      <p:cBhvr>
                                        <p:cTn id="65" dur="500" fill="hold"/>
                                        <p:tgtEl>
                                          <p:spTgt spid="71"/>
                                        </p:tgtEl>
                                        <p:attrNameLst>
                                          <p:attrName>ppt_w</p:attrName>
                                        </p:attrNameLst>
                                      </p:cBhvr>
                                      <p:tavLst>
                                        <p:tav tm="0">
                                          <p:val>
                                            <p:fltVal val="0"/>
                                          </p:val>
                                        </p:tav>
                                        <p:tav tm="100000">
                                          <p:val>
                                            <p:strVal val="#ppt_w"/>
                                          </p:val>
                                        </p:tav>
                                      </p:tavLst>
                                    </p:anim>
                                    <p:anim calcmode="lin" valueType="num">
                                      <p:cBhvr>
                                        <p:cTn id="66" dur="500" fill="hold"/>
                                        <p:tgtEl>
                                          <p:spTgt spid="71"/>
                                        </p:tgtEl>
                                        <p:attrNameLst>
                                          <p:attrName>ppt_h</p:attrName>
                                        </p:attrNameLst>
                                      </p:cBhvr>
                                      <p:tavLst>
                                        <p:tav tm="0">
                                          <p:val>
                                            <p:fltVal val="0"/>
                                          </p:val>
                                        </p:tav>
                                        <p:tav tm="100000">
                                          <p:val>
                                            <p:strVal val="#ppt_h"/>
                                          </p:val>
                                        </p:tav>
                                      </p:tavLst>
                                    </p:anim>
                                    <p:animEffect transition="in" filter="fade">
                                      <p:cBhvr>
                                        <p:cTn id="67" dur="500"/>
                                        <p:tgtEl>
                                          <p:spTgt spid="71"/>
                                        </p:tgtEl>
                                      </p:cBhvr>
                                    </p:animEffect>
                                  </p:childTnLst>
                                </p:cTn>
                              </p:par>
                            </p:childTnLst>
                          </p:cTn>
                        </p:par>
                        <p:par>
                          <p:cTn id="68" fill="hold">
                            <p:stCondLst>
                              <p:cond delay="6500"/>
                            </p:stCondLst>
                            <p:childTnLst>
                              <p:par>
                                <p:cTn id="69" presetID="22" presetClass="entr" presetSubtype="8" fill="hold" nodeType="afterEffect">
                                  <p:stCondLst>
                                    <p:cond delay="0"/>
                                  </p:stCondLst>
                                  <p:childTnLst>
                                    <p:set>
                                      <p:cBhvr>
                                        <p:cTn id="70" dur="1" fill="hold">
                                          <p:stCondLst>
                                            <p:cond delay="0"/>
                                          </p:stCondLst>
                                        </p:cTn>
                                        <p:tgtEl>
                                          <p:spTgt spid="84"/>
                                        </p:tgtEl>
                                        <p:attrNameLst>
                                          <p:attrName>style.visibility</p:attrName>
                                        </p:attrNameLst>
                                      </p:cBhvr>
                                      <p:to>
                                        <p:strVal val="visible"/>
                                      </p:to>
                                    </p:set>
                                    <p:animEffect transition="in" filter="wipe(left)">
                                      <p:cBhvr>
                                        <p:cTn id="71" dur="500"/>
                                        <p:tgtEl>
                                          <p:spTgt spid="84"/>
                                        </p:tgtEl>
                                      </p:cBhvr>
                                    </p:animEffect>
                                  </p:childTnLst>
                                </p:cTn>
                              </p:par>
                            </p:childTnLst>
                          </p:cTn>
                        </p:par>
                        <p:par>
                          <p:cTn id="72" fill="hold">
                            <p:stCondLst>
                              <p:cond delay="7000"/>
                            </p:stCondLst>
                            <p:childTnLst>
                              <p:par>
                                <p:cTn id="73" presetID="53" presetClass="entr" presetSubtype="16" fill="hold" nodeType="afterEffect">
                                  <p:stCondLst>
                                    <p:cond delay="0"/>
                                  </p:stCondLst>
                                  <p:childTnLst>
                                    <p:set>
                                      <p:cBhvr>
                                        <p:cTn id="74" dur="1" fill="hold">
                                          <p:stCondLst>
                                            <p:cond delay="0"/>
                                          </p:stCondLst>
                                        </p:cTn>
                                        <p:tgtEl>
                                          <p:spTgt spid="74"/>
                                        </p:tgtEl>
                                        <p:attrNameLst>
                                          <p:attrName>style.visibility</p:attrName>
                                        </p:attrNameLst>
                                      </p:cBhvr>
                                      <p:to>
                                        <p:strVal val="visible"/>
                                      </p:to>
                                    </p:set>
                                    <p:anim calcmode="lin" valueType="num">
                                      <p:cBhvr>
                                        <p:cTn id="75" dur="500" fill="hold"/>
                                        <p:tgtEl>
                                          <p:spTgt spid="74"/>
                                        </p:tgtEl>
                                        <p:attrNameLst>
                                          <p:attrName>ppt_w</p:attrName>
                                        </p:attrNameLst>
                                      </p:cBhvr>
                                      <p:tavLst>
                                        <p:tav tm="0">
                                          <p:val>
                                            <p:fltVal val="0"/>
                                          </p:val>
                                        </p:tav>
                                        <p:tav tm="100000">
                                          <p:val>
                                            <p:strVal val="#ppt_w"/>
                                          </p:val>
                                        </p:tav>
                                      </p:tavLst>
                                    </p:anim>
                                    <p:anim calcmode="lin" valueType="num">
                                      <p:cBhvr>
                                        <p:cTn id="76" dur="500" fill="hold"/>
                                        <p:tgtEl>
                                          <p:spTgt spid="74"/>
                                        </p:tgtEl>
                                        <p:attrNameLst>
                                          <p:attrName>ppt_h</p:attrName>
                                        </p:attrNameLst>
                                      </p:cBhvr>
                                      <p:tavLst>
                                        <p:tav tm="0">
                                          <p:val>
                                            <p:fltVal val="0"/>
                                          </p:val>
                                        </p:tav>
                                        <p:tav tm="100000">
                                          <p:val>
                                            <p:strVal val="#ppt_h"/>
                                          </p:val>
                                        </p:tav>
                                      </p:tavLst>
                                    </p:anim>
                                    <p:animEffect transition="in" filter="fade">
                                      <p:cBhvr>
                                        <p:cTn id="77" dur="500"/>
                                        <p:tgtEl>
                                          <p:spTgt spid="74"/>
                                        </p:tgtEl>
                                      </p:cBhvr>
                                    </p:animEffect>
                                  </p:childTnLst>
                                </p:cTn>
                              </p:par>
                            </p:childTnLst>
                          </p:cTn>
                        </p:par>
                        <p:par>
                          <p:cTn id="78" fill="hold">
                            <p:stCondLst>
                              <p:cond delay="7500"/>
                            </p:stCondLst>
                            <p:childTnLst>
                              <p:par>
                                <p:cTn id="79" presetID="22" presetClass="entr" presetSubtype="8" fill="hold" nodeType="afterEffect">
                                  <p:stCondLst>
                                    <p:cond delay="0"/>
                                  </p:stCondLst>
                                  <p:childTnLst>
                                    <p:set>
                                      <p:cBhvr>
                                        <p:cTn id="80" dur="1" fill="hold">
                                          <p:stCondLst>
                                            <p:cond delay="0"/>
                                          </p:stCondLst>
                                        </p:cTn>
                                        <p:tgtEl>
                                          <p:spTgt spid="55"/>
                                        </p:tgtEl>
                                        <p:attrNameLst>
                                          <p:attrName>style.visibility</p:attrName>
                                        </p:attrNameLst>
                                      </p:cBhvr>
                                      <p:to>
                                        <p:strVal val="visible"/>
                                      </p:to>
                                    </p:set>
                                    <p:animEffect transition="in" filter="wipe(left)">
                                      <p:cBhvr>
                                        <p:cTn id="81" dur="500"/>
                                        <p:tgtEl>
                                          <p:spTgt spid="55"/>
                                        </p:tgtEl>
                                      </p:cBhvr>
                                    </p:animEffect>
                                  </p:childTnLst>
                                </p:cTn>
                              </p:par>
                            </p:childTnLst>
                          </p:cTn>
                        </p:par>
                        <p:par>
                          <p:cTn id="82" fill="hold">
                            <p:stCondLst>
                              <p:cond delay="8000"/>
                            </p:stCondLst>
                            <p:childTnLst>
                              <p:par>
                                <p:cTn id="83" presetID="53" presetClass="entr" presetSubtype="16" fill="hold" nodeType="afterEffect">
                                  <p:stCondLst>
                                    <p:cond delay="0"/>
                                  </p:stCondLst>
                                  <p:childTnLst>
                                    <p:set>
                                      <p:cBhvr>
                                        <p:cTn id="84" dur="1" fill="hold">
                                          <p:stCondLst>
                                            <p:cond delay="0"/>
                                          </p:stCondLst>
                                        </p:cTn>
                                        <p:tgtEl>
                                          <p:spTgt spid="77"/>
                                        </p:tgtEl>
                                        <p:attrNameLst>
                                          <p:attrName>style.visibility</p:attrName>
                                        </p:attrNameLst>
                                      </p:cBhvr>
                                      <p:to>
                                        <p:strVal val="visible"/>
                                      </p:to>
                                    </p:set>
                                    <p:anim calcmode="lin" valueType="num">
                                      <p:cBhvr>
                                        <p:cTn id="85" dur="500" fill="hold"/>
                                        <p:tgtEl>
                                          <p:spTgt spid="77"/>
                                        </p:tgtEl>
                                        <p:attrNameLst>
                                          <p:attrName>ppt_w</p:attrName>
                                        </p:attrNameLst>
                                      </p:cBhvr>
                                      <p:tavLst>
                                        <p:tav tm="0">
                                          <p:val>
                                            <p:fltVal val="0"/>
                                          </p:val>
                                        </p:tav>
                                        <p:tav tm="100000">
                                          <p:val>
                                            <p:strVal val="#ppt_w"/>
                                          </p:val>
                                        </p:tav>
                                      </p:tavLst>
                                    </p:anim>
                                    <p:anim calcmode="lin" valueType="num">
                                      <p:cBhvr>
                                        <p:cTn id="86" dur="500" fill="hold"/>
                                        <p:tgtEl>
                                          <p:spTgt spid="77"/>
                                        </p:tgtEl>
                                        <p:attrNameLst>
                                          <p:attrName>ppt_h</p:attrName>
                                        </p:attrNameLst>
                                      </p:cBhvr>
                                      <p:tavLst>
                                        <p:tav tm="0">
                                          <p:val>
                                            <p:fltVal val="0"/>
                                          </p:val>
                                        </p:tav>
                                        <p:tav tm="100000">
                                          <p:val>
                                            <p:strVal val="#ppt_h"/>
                                          </p:val>
                                        </p:tav>
                                      </p:tavLst>
                                    </p:anim>
                                    <p:animEffect transition="in" filter="fade">
                                      <p:cBhvr>
                                        <p:cTn id="87" dur="500"/>
                                        <p:tgtEl>
                                          <p:spTgt spid="77"/>
                                        </p:tgtEl>
                                      </p:cBhvr>
                                    </p:animEffect>
                                  </p:childTnLst>
                                </p:cTn>
                              </p:par>
                            </p:childTnLst>
                          </p:cTn>
                        </p:par>
                        <p:par>
                          <p:cTn id="88" fill="hold">
                            <p:stCondLst>
                              <p:cond delay="8500"/>
                            </p:stCondLst>
                            <p:childTnLst>
                              <p:par>
                                <p:cTn id="89" presetID="22" presetClass="entr" presetSubtype="8" fill="hold" nodeType="afterEffect">
                                  <p:stCondLst>
                                    <p:cond delay="0"/>
                                  </p:stCondLst>
                                  <p:childTnLst>
                                    <p:set>
                                      <p:cBhvr>
                                        <p:cTn id="90" dur="1" fill="hold">
                                          <p:stCondLst>
                                            <p:cond delay="0"/>
                                          </p:stCondLst>
                                        </p:cTn>
                                        <p:tgtEl>
                                          <p:spTgt spid="51"/>
                                        </p:tgtEl>
                                        <p:attrNameLst>
                                          <p:attrName>style.visibility</p:attrName>
                                        </p:attrNameLst>
                                      </p:cBhvr>
                                      <p:to>
                                        <p:strVal val="visible"/>
                                      </p:to>
                                    </p:set>
                                    <p:animEffect transition="in" filter="wipe(left)">
                                      <p:cBhvr>
                                        <p:cTn id="91" dur="500"/>
                                        <p:tgtEl>
                                          <p:spTgt spid="51"/>
                                        </p:tgtEl>
                                      </p:cBhvr>
                                    </p:animEffect>
                                  </p:childTnLst>
                                </p:cTn>
                              </p:par>
                            </p:childTnLst>
                          </p:cTn>
                        </p:par>
                        <p:par>
                          <p:cTn id="92" fill="hold">
                            <p:stCondLst>
                              <p:cond delay="9000"/>
                            </p:stCondLst>
                            <p:childTnLst>
                              <p:par>
                                <p:cTn id="93" presetID="53" presetClass="entr" presetSubtype="16" fill="hold" nodeType="afterEffect">
                                  <p:stCondLst>
                                    <p:cond delay="0"/>
                                  </p:stCondLst>
                                  <p:childTnLst>
                                    <p:set>
                                      <p:cBhvr>
                                        <p:cTn id="94" dur="1" fill="hold">
                                          <p:stCondLst>
                                            <p:cond delay="0"/>
                                          </p:stCondLst>
                                        </p:cTn>
                                        <p:tgtEl>
                                          <p:spTgt spid="80"/>
                                        </p:tgtEl>
                                        <p:attrNameLst>
                                          <p:attrName>style.visibility</p:attrName>
                                        </p:attrNameLst>
                                      </p:cBhvr>
                                      <p:to>
                                        <p:strVal val="visible"/>
                                      </p:to>
                                    </p:set>
                                    <p:anim calcmode="lin" valueType="num">
                                      <p:cBhvr>
                                        <p:cTn id="95" dur="500" fill="hold"/>
                                        <p:tgtEl>
                                          <p:spTgt spid="80"/>
                                        </p:tgtEl>
                                        <p:attrNameLst>
                                          <p:attrName>ppt_w</p:attrName>
                                        </p:attrNameLst>
                                      </p:cBhvr>
                                      <p:tavLst>
                                        <p:tav tm="0">
                                          <p:val>
                                            <p:fltVal val="0"/>
                                          </p:val>
                                        </p:tav>
                                        <p:tav tm="100000">
                                          <p:val>
                                            <p:strVal val="#ppt_w"/>
                                          </p:val>
                                        </p:tav>
                                      </p:tavLst>
                                    </p:anim>
                                    <p:anim calcmode="lin" valueType="num">
                                      <p:cBhvr>
                                        <p:cTn id="96" dur="500" fill="hold"/>
                                        <p:tgtEl>
                                          <p:spTgt spid="80"/>
                                        </p:tgtEl>
                                        <p:attrNameLst>
                                          <p:attrName>ppt_h</p:attrName>
                                        </p:attrNameLst>
                                      </p:cBhvr>
                                      <p:tavLst>
                                        <p:tav tm="0">
                                          <p:val>
                                            <p:fltVal val="0"/>
                                          </p:val>
                                        </p:tav>
                                        <p:tav tm="100000">
                                          <p:val>
                                            <p:strVal val="#ppt_h"/>
                                          </p:val>
                                        </p:tav>
                                      </p:tavLst>
                                    </p:anim>
                                    <p:animEffect transition="in" filter="fade">
                                      <p:cBhvr>
                                        <p:cTn id="97" dur="500"/>
                                        <p:tgtEl>
                                          <p:spTgt spid="80"/>
                                        </p:tgtEl>
                                      </p:cBhvr>
                                    </p:animEffect>
                                  </p:childTnLst>
                                </p:cTn>
                              </p:par>
                            </p:childTnLst>
                          </p:cTn>
                        </p:par>
                        <p:par>
                          <p:cTn id="98" fill="hold">
                            <p:stCondLst>
                              <p:cond delay="9500"/>
                            </p:stCondLst>
                            <p:childTnLst>
                              <p:par>
                                <p:cTn id="99" presetID="22" presetClass="entr" presetSubtype="8" fill="hold" nodeType="afterEffect">
                                  <p:stCondLst>
                                    <p:cond delay="0"/>
                                  </p:stCondLst>
                                  <p:childTnLst>
                                    <p:set>
                                      <p:cBhvr>
                                        <p:cTn id="100" dur="1" fill="hold">
                                          <p:stCondLst>
                                            <p:cond delay="0"/>
                                          </p:stCondLst>
                                        </p:cTn>
                                        <p:tgtEl>
                                          <p:spTgt spid="47"/>
                                        </p:tgtEl>
                                        <p:attrNameLst>
                                          <p:attrName>style.visibility</p:attrName>
                                        </p:attrNameLst>
                                      </p:cBhvr>
                                      <p:to>
                                        <p:strVal val="visible"/>
                                      </p:to>
                                    </p:set>
                                    <p:animEffect transition="in" filter="wipe(left)">
                                      <p:cBhvr>
                                        <p:cTn id="101" dur="500"/>
                                        <p:tgtEl>
                                          <p:spTgt spid="4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5" grpId="0" animBg="1"/>
      <p:bldP spid="46" grpId="0" animBg="1"/>
      <p:bldP spid="83" grpId="0"/>
    </p:bldLst>
  </p:timing>
</p:sld>
</file>

<file path=ppt/slides/slide6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Shape 20">
            <a:extLst>
              <a:ext uri="{FF2B5EF4-FFF2-40B4-BE49-F238E27FC236}">
                <a16:creationId xmlns:a16="http://schemas.microsoft.com/office/drawing/2014/main" id="{9740EC26-0C07-4E7D-B689-F0EC82548087}"/>
              </a:ext>
            </a:extLst>
          </p:cNvPr>
          <p:cNvSpPr/>
          <p:nvPr/>
        </p:nvSpPr>
        <p:spPr>
          <a:xfrm>
            <a:off x="6262712" y="3598405"/>
            <a:ext cx="1417303" cy="823363"/>
          </a:xfrm>
          <a:custGeom>
            <a:avLst/>
            <a:gdLst>
              <a:gd name="connsiteX0" fmla="*/ 303847 w 1159192"/>
              <a:gd name="connsiteY0" fmla="*/ 673418 h 673417"/>
              <a:gd name="connsiteX1" fmla="*/ 1159193 w 1159192"/>
              <a:gd name="connsiteY1" fmla="*/ 42863 h 673417"/>
              <a:gd name="connsiteX2" fmla="*/ 0 w 1159192"/>
              <a:gd name="connsiteY2" fmla="*/ 0 h 673417"/>
            </a:gdLst>
            <a:ahLst/>
            <a:cxnLst>
              <a:cxn ang="0">
                <a:pos x="connsiteX0" y="connsiteY0"/>
              </a:cxn>
              <a:cxn ang="0">
                <a:pos x="connsiteX1" y="connsiteY1"/>
              </a:cxn>
              <a:cxn ang="0">
                <a:pos x="connsiteX2" y="connsiteY2"/>
              </a:cxn>
            </a:cxnLst>
            <a:rect l="l" t="t" r="r" b="b"/>
            <a:pathLst>
              <a:path w="1159192" h="673417">
                <a:moveTo>
                  <a:pt x="303847" y="673418"/>
                </a:moveTo>
                <a:lnTo>
                  <a:pt x="1159193" y="42863"/>
                </a:lnTo>
                <a:lnTo>
                  <a:pt x="0" y="0"/>
                </a:lnTo>
                <a:close/>
              </a:path>
            </a:pathLst>
          </a:custGeom>
          <a:solidFill>
            <a:schemeClr val="accent3">
              <a:lumMod val="50000"/>
            </a:scheme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nvGrpSpPr>
          <p:cNvPr id="3" name="Group 3">
            <a:extLst>
              <a:ext uri="{FF2B5EF4-FFF2-40B4-BE49-F238E27FC236}">
                <a16:creationId xmlns:a16="http://schemas.microsoft.com/office/drawing/2014/main" id="{A19DDA81-3248-473F-A496-685822FD87EA}"/>
              </a:ext>
            </a:extLst>
          </p:cNvPr>
          <p:cNvGrpSpPr/>
          <p:nvPr/>
        </p:nvGrpSpPr>
        <p:grpSpPr>
          <a:xfrm>
            <a:off x="5115594" y="4124800"/>
            <a:ext cx="1261247" cy="2262793"/>
            <a:chOff x="5115594" y="4124800"/>
            <a:chExt cx="1261247" cy="2262793"/>
          </a:xfrm>
        </p:grpSpPr>
        <p:sp>
          <p:nvSpPr>
            <p:cNvPr id="4" name="Freeform: Shape 5">
              <a:extLst>
                <a:ext uri="{FF2B5EF4-FFF2-40B4-BE49-F238E27FC236}">
                  <a16:creationId xmlns:a16="http://schemas.microsoft.com/office/drawing/2014/main" id="{7BCA26A7-0C2A-4489-9E93-0D41AED7740F}"/>
                </a:ext>
              </a:extLst>
            </p:cNvPr>
            <p:cNvSpPr/>
            <p:nvPr/>
          </p:nvSpPr>
          <p:spPr>
            <a:xfrm>
              <a:off x="5915665" y="4547544"/>
              <a:ext cx="393630" cy="510090"/>
            </a:xfrm>
            <a:custGeom>
              <a:avLst/>
              <a:gdLst>
                <a:gd name="connsiteX0" fmla="*/ 259080 w 321945"/>
                <a:gd name="connsiteY0" fmla="*/ 0 h 417195"/>
                <a:gd name="connsiteX1" fmla="*/ 321945 w 321945"/>
                <a:gd name="connsiteY1" fmla="*/ 8572 h 417195"/>
                <a:gd name="connsiteX2" fmla="*/ 11430 w 321945"/>
                <a:gd name="connsiteY2" fmla="*/ 417195 h 417195"/>
                <a:gd name="connsiteX3" fmla="*/ 0 w 321945"/>
                <a:gd name="connsiteY3" fmla="*/ 276225 h 417195"/>
              </a:gdLst>
              <a:ahLst/>
              <a:cxnLst>
                <a:cxn ang="0">
                  <a:pos x="connsiteX0" y="connsiteY0"/>
                </a:cxn>
                <a:cxn ang="0">
                  <a:pos x="connsiteX1" y="connsiteY1"/>
                </a:cxn>
                <a:cxn ang="0">
                  <a:pos x="connsiteX2" y="connsiteY2"/>
                </a:cxn>
                <a:cxn ang="0">
                  <a:pos x="connsiteX3" y="connsiteY3"/>
                </a:cxn>
              </a:cxnLst>
              <a:rect l="l" t="t" r="r" b="b"/>
              <a:pathLst>
                <a:path w="321945" h="417195">
                  <a:moveTo>
                    <a:pt x="259080" y="0"/>
                  </a:moveTo>
                  <a:lnTo>
                    <a:pt x="321945" y="8572"/>
                  </a:lnTo>
                  <a:lnTo>
                    <a:pt x="11430" y="417195"/>
                  </a:lnTo>
                  <a:lnTo>
                    <a:pt x="0" y="276225"/>
                  </a:lnTo>
                  <a:close/>
                </a:path>
              </a:pathLst>
            </a:custGeom>
            <a:solidFill>
              <a:srgbClr val="754C2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5" name="Freeform: Shape 6">
              <a:extLst>
                <a:ext uri="{FF2B5EF4-FFF2-40B4-BE49-F238E27FC236}">
                  <a16:creationId xmlns:a16="http://schemas.microsoft.com/office/drawing/2014/main" id="{9C9F4485-454E-40DD-BFD7-FA27CC718876}"/>
                </a:ext>
              </a:extLst>
            </p:cNvPr>
            <p:cNvSpPr/>
            <p:nvPr/>
          </p:nvSpPr>
          <p:spPr>
            <a:xfrm>
              <a:off x="5929640" y="4558024"/>
              <a:ext cx="447201" cy="720880"/>
            </a:xfrm>
            <a:custGeom>
              <a:avLst/>
              <a:gdLst>
                <a:gd name="connsiteX0" fmla="*/ 310515 w 365760"/>
                <a:gd name="connsiteY0" fmla="*/ 0 h 589597"/>
                <a:gd name="connsiteX1" fmla="*/ 365760 w 365760"/>
                <a:gd name="connsiteY1" fmla="*/ 7620 h 589597"/>
                <a:gd name="connsiteX2" fmla="*/ 16192 w 365760"/>
                <a:gd name="connsiteY2" fmla="*/ 589598 h 589597"/>
                <a:gd name="connsiteX3" fmla="*/ 0 w 365760"/>
                <a:gd name="connsiteY3" fmla="*/ 408623 h 589597"/>
              </a:gdLst>
              <a:ahLst/>
              <a:cxnLst>
                <a:cxn ang="0">
                  <a:pos x="connsiteX0" y="connsiteY0"/>
                </a:cxn>
                <a:cxn ang="0">
                  <a:pos x="connsiteX1" y="connsiteY1"/>
                </a:cxn>
                <a:cxn ang="0">
                  <a:pos x="connsiteX2" y="connsiteY2"/>
                </a:cxn>
                <a:cxn ang="0">
                  <a:pos x="connsiteX3" y="connsiteY3"/>
                </a:cxn>
              </a:cxnLst>
              <a:rect l="l" t="t" r="r" b="b"/>
              <a:pathLst>
                <a:path w="365760" h="589597">
                  <a:moveTo>
                    <a:pt x="310515" y="0"/>
                  </a:moveTo>
                  <a:lnTo>
                    <a:pt x="365760" y="7620"/>
                  </a:lnTo>
                  <a:lnTo>
                    <a:pt x="16192" y="589598"/>
                  </a:lnTo>
                  <a:lnTo>
                    <a:pt x="0" y="408623"/>
                  </a:lnTo>
                  <a:close/>
                </a:path>
              </a:pathLst>
            </a:custGeom>
            <a:solidFill>
              <a:srgbClr val="8B5E3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6" name="Freeform: Shape 7">
              <a:extLst>
                <a:ext uri="{FF2B5EF4-FFF2-40B4-BE49-F238E27FC236}">
                  <a16:creationId xmlns:a16="http://schemas.microsoft.com/office/drawing/2014/main" id="{5D06986D-6E7A-4850-BB10-396B4C179DBB}"/>
                </a:ext>
              </a:extLst>
            </p:cNvPr>
            <p:cNvSpPr/>
            <p:nvPr/>
          </p:nvSpPr>
          <p:spPr>
            <a:xfrm>
              <a:off x="5860930" y="4178370"/>
              <a:ext cx="152560" cy="2209222"/>
            </a:xfrm>
            <a:custGeom>
              <a:avLst/>
              <a:gdLst>
                <a:gd name="connsiteX0" fmla="*/ 0 w 124777"/>
                <a:gd name="connsiteY0" fmla="*/ 0 h 1806892"/>
                <a:gd name="connsiteX1" fmla="*/ 59055 w 124777"/>
                <a:gd name="connsiteY1" fmla="*/ 165735 h 1806892"/>
                <a:gd name="connsiteX2" fmla="*/ 72390 w 124777"/>
                <a:gd name="connsiteY2" fmla="*/ 755332 h 1806892"/>
                <a:gd name="connsiteX3" fmla="*/ 124777 w 124777"/>
                <a:gd name="connsiteY3" fmla="*/ 1759267 h 1806892"/>
                <a:gd name="connsiteX4" fmla="*/ 0 w 124777"/>
                <a:gd name="connsiteY4" fmla="*/ 1806892 h 18068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777" h="1806892">
                  <a:moveTo>
                    <a:pt x="0" y="0"/>
                  </a:moveTo>
                  <a:lnTo>
                    <a:pt x="59055" y="165735"/>
                  </a:lnTo>
                  <a:lnTo>
                    <a:pt x="72390" y="755332"/>
                  </a:lnTo>
                  <a:lnTo>
                    <a:pt x="124777" y="1759267"/>
                  </a:lnTo>
                  <a:lnTo>
                    <a:pt x="0" y="1806892"/>
                  </a:lnTo>
                  <a:close/>
                </a:path>
              </a:pathLst>
            </a:custGeom>
            <a:solidFill>
              <a:srgbClr val="8B5E3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7" name="Freeform: Shape 8">
              <a:extLst>
                <a:ext uri="{FF2B5EF4-FFF2-40B4-BE49-F238E27FC236}">
                  <a16:creationId xmlns:a16="http://schemas.microsoft.com/office/drawing/2014/main" id="{72B882A2-BFA3-44B0-89CA-526913FAD3D6}"/>
                </a:ext>
              </a:extLst>
            </p:cNvPr>
            <p:cNvSpPr/>
            <p:nvPr/>
          </p:nvSpPr>
          <p:spPr>
            <a:xfrm>
              <a:off x="5690899" y="4124800"/>
              <a:ext cx="170030" cy="2262793"/>
            </a:xfrm>
            <a:custGeom>
              <a:avLst/>
              <a:gdLst>
                <a:gd name="connsiteX0" fmla="*/ 139065 w 139065"/>
                <a:gd name="connsiteY0" fmla="*/ 43815 h 1850707"/>
                <a:gd name="connsiteX1" fmla="*/ 0 w 139065"/>
                <a:gd name="connsiteY1" fmla="*/ 0 h 1850707"/>
                <a:gd name="connsiteX2" fmla="*/ 0 w 139065"/>
                <a:gd name="connsiteY2" fmla="*/ 1847850 h 1850707"/>
                <a:gd name="connsiteX3" fmla="*/ 139065 w 139065"/>
                <a:gd name="connsiteY3" fmla="*/ 1850707 h 1850707"/>
              </a:gdLst>
              <a:ahLst/>
              <a:cxnLst>
                <a:cxn ang="0">
                  <a:pos x="connsiteX0" y="connsiteY0"/>
                </a:cxn>
                <a:cxn ang="0">
                  <a:pos x="connsiteX1" y="connsiteY1"/>
                </a:cxn>
                <a:cxn ang="0">
                  <a:pos x="connsiteX2" y="connsiteY2"/>
                </a:cxn>
                <a:cxn ang="0">
                  <a:pos x="connsiteX3" y="connsiteY3"/>
                </a:cxn>
              </a:cxnLst>
              <a:rect l="l" t="t" r="r" b="b"/>
              <a:pathLst>
                <a:path w="139065" h="1850707">
                  <a:moveTo>
                    <a:pt x="139065" y="43815"/>
                  </a:moveTo>
                  <a:lnTo>
                    <a:pt x="0" y="0"/>
                  </a:lnTo>
                  <a:lnTo>
                    <a:pt x="0" y="1847850"/>
                  </a:lnTo>
                  <a:lnTo>
                    <a:pt x="139065" y="1850707"/>
                  </a:lnTo>
                  <a:close/>
                </a:path>
              </a:pathLst>
            </a:custGeom>
            <a:solidFill>
              <a:srgbClr val="A97C50"/>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8" name="Freeform: Shape 9">
              <a:extLst>
                <a:ext uri="{FF2B5EF4-FFF2-40B4-BE49-F238E27FC236}">
                  <a16:creationId xmlns:a16="http://schemas.microsoft.com/office/drawing/2014/main" id="{658CD425-E3DD-4378-9028-E048F696F75E}"/>
                </a:ext>
              </a:extLst>
            </p:cNvPr>
            <p:cNvSpPr/>
            <p:nvPr/>
          </p:nvSpPr>
          <p:spPr>
            <a:xfrm>
              <a:off x="5319397" y="4827045"/>
              <a:ext cx="434391" cy="409934"/>
            </a:xfrm>
            <a:custGeom>
              <a:avLst/>
              <a:gdLst>
                <a:gd name="connsiteX0" fmla="*/ 348615 w 355282"/>
                <a:gd name="connsiteY0" fmla="*/ 335280 h 335279"/>
                <a:gd name="connsiteX1" fmla="*/ 355283 w 355282"/>
                <a:gd name="connsiteY1" fmla="*/ 225742 h 335279"/>
                <a:gd name="connsiteX2" fmla="*/ 65722 w 355282"/>
                <a:gd name="connsiteY2" fmla="*/ 0 h 335279"/>
                <a:gd name="connsiteX3" fmla="*/ 0 w 355282"/>
                <a:gd name="connsiteY3" fmla="*/ 40005 h 335279"/>
              </a:gdLst>
              <a:ahLst/>
              <a:cxnLst>
                <a:cxn ang="0">
                  <a:pos x="connsiteX0" y="connsiteY0"/>
                </a:cxn>
                <a:cxn ang="0">
                  <a:pos x="connsiteX1" y="connsiteY1"/>
                </a:cxn>
                <a:cxn ang="0">
                  <a:pos x="connsiteX2" y="connsiteY2"/>
                </a:cxn>
                <a:cxn ang="0">
                  <a:pos x="connsiteX3" y="connsiteY3"/>
                </a:cxn>
              </a:cxnLst>
              <a:rect l="l" t="t" r="r" b="b"/>
              <a:pathLst>
                <a:path w="355282" h="335279">
                  <a:moveTo>
                    <a:pt x="348615" y="335280"/>
                  </a:moveTo>
                  <a:lnTo>
                    <a:pt x="355283" y="225742"/>
                  </a:lnTo>
                  <a:lnTo>
                    <a:pt x="65722" y="0"/>
                  </a:lnTo>
                  <a:lnTo>
                    <a:pt x="0" y="40005"/>
                  </a:lnTo>
                  <a:close/>
                </a:path>
              </a:pathLst>
            </a:custGeom>
            <a:solidFill>
              <a:srgbClr val="8B5E3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9" name="Freeform: Shape 10">
              <a:extLst>
                <a:ext uri="{FF2B5EF4-FFF2-40B4-BE49-F238E27FC236}">
                  <a16:creationId xmlns:a16="http://schemas.microsoft.com/office/drawing/2014/main" id="{4051DE94-39C1-4498-ABD5-15F7D135581C}"/>
                </a:ext>
              </a:extLst>
            </p:cNvPr>
            <p:cNvSpPr/>
            <p:nvPr/>
          </p:nvSpPr>
          <p:spPr>
            <a:xfrm>
              <a:off x="5319397" y="4875957"/>
              <a:ext cx="426238" cy="450695"/>
            </a:xfrm>
            <a:custGeom>
              <a:avLst/>
              <a:gdLst>
                <a:gd name="connsiteX0" fmla="*/ 348615 w 348614"/>
                <a:gd name="connsiteY0" fmla="*/ 295275 h 368617"/>
                <a:gd name="connsiteX1" fmla="*/ 301942 w 348614"/>
                <a:gd name="connsiteY1" fmla="*/ 368618 h 368617"/>
                <a:gd name="connsiteX2" fmla="*/ 0 w 348614"/>
                <a:gd name="connsiteY2" fmla="*/ 0 h 368617"/>
              </a:gdLst>
              <a:ahLst/>
              <a:cxnLst>
                <a:cxn ang="0">
                  <a:pos x="connsiteX0" y="connsiteY0"/>
                </a:cxn>
                <a:cxn ang="0">
                  <a:pos x="connsiteX1" y="connsiteY1"/>
                </a:cxn>
                <a:cxn ang="0">
                  <a:pos x="connsiteX2" y="connsiteY2"/>
                </a:cxn>
              </a:cxnLst>
              <a:rect l="l" t="t" r="r" b="b"/>
              <a:pathLst>
                <a:path w="348614" h="368617">
                  <a:moveTo>
                    <a:pt x="348615" y="295275"/>
                  </a:moveTo>
                  <a:lnTo>
                    <a:pt x="301942" y="368618"/>
                  </a:lnTo>
                  <a:lnTo>
                    <a:pt x="0" y="0"/>
                  </a:lnTo>
                  <a:close/>
                </a:path>
              </a:pathLst>
            </a:custGeom>
            <a:solidFill>
              <a:srgbClr val="754C2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0" name="Freeform: Shape 11">
              <a:extLst>
                <a:ext uri="{FF2B5EF4-FFF2-40B4-BE49-F238E27FC236}">
                  <a16:creationId xmlns:a16="http://schemas.microsoft.com/office/drawing/2014/main" id="{EC82F73B-A511-45AD-BCEE-E0D7A64F2A06}"/>
                </a:ext>
              </a:extLst>
            </p:cNvPr>
            <p:cNvSpPr/>
            <p:nvPr/>
          </p:nvSpPr>
          <p:spPr>
            <a:xfrm>
              <a:off x="5115594" y="4339082"/>
              <a:ext cx="284158" cy="536874"/>
            </a:xfrm>
            <a:custGeom>
              <a:avLst/>
              <a:gdLst>
                <a:gd name="connsiteX0" fmla="*/ 232410 w 232409"/>
                <a:gd name="connsiteY0" fmla="*/ 399098 h 439102"/>
                <a:gd name="connsiteX1" fmla="*/ 166688 w 232409"/>
                <a:gd name="connsiteY1" fmla="*/ 439103 h 439102"/>
                <a:gd name="connsiteX2" fmla="*/ 0 w 232409"/>
                <a:gd name="connsiteY2" fmla="*/ 0 h 439102"/>
                <a:gd name="connsiteX3" fmla="*/ 22860 w 232409"/>
                <a:gd name="connsiteY3" fmla="*/ 21908 h 439102"/>
                <a:gd name="connsiteX4" fmla="*/ 31432 w 232409"/>
                <a:gd name="connsiteY4" fmla="*/ 20003 h 4391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2409" h="439102">
                  <a:moveTo>
                    <a:pt x="232410" y="399098"/>
                  </a:moveTo>
                  <a:lnTo>
                    <a:pt x="166688" y="439103"/>
                  </a:lnTo>
                  <a:lnTo>
                    <a:pt x="0" y="0"/>
                  </a:lnTo>
                  <a:lnTo>
                    <a:pt x="22860" y="21908"/>
                  </a:lnTo>
                  <a:lnTo>
                    <a:pt x="31432" y="20003"/>
                  </a:lnTo>
                  <a:close/>
                </a:path>
              </a:pathLst>
            </a:custGeom>
            <a:solidFill>
              <a:srgbClr val="A97C50"/>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sp>
        <p:nvSpPr>
          <p:cNvPr id="11" name="Title 1">
            <a:extLst>
              <a:ext uri="{FF2B5EF4-FFF2-40B4-BE49-F238E27FC236}">
                <a16:creationId xmlns:a16="http://schemas.microsoft.com/office/drawing/2014/main" id="{8D1496E4-A9D4-4A91-B6D4-EAF12D46485A}"/>
              </a:ext>
            </a:extLst>
          </p:cNvPr>
          <p:cNvSpPr txBox="1">
            <a:spLocks/>
          </p:cNvSpPr>
          <p:nvPr/>
        </p:nvSpPr>
        <p:spPr>
          <a:xfrm>
            <a:off x="2043113" y="304800"/>
            <a:ext cx="8105775" cy="1105808"/>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4400" b="0" i="0" u="none" strike="noStrike" kern="1200" cap="none" spc="0" normalizeH="0" baseline="0" noProof="0">
                <a:ln>
                  <a:noFill/>
                </a:ln>
                <a:solidFill>
                  <a:srgbClr val="000000"/>
                </a:solidFill>
                <a:effectLst/>
                <a:uLnTx/>
                <a:uFillTx/>
                <a:latin typeface="等线 Light" panose="020F0302020204030204"/>
                <a:ea typeface="+mj-ea"/>
                <a:cs typeface="+mj-cs"/>
              </a:rPr>
              <a:t>Tree Infographic</a:t>
            </a:r>
            <a:endParaRPr kumimoji="0" lang="en-ID" sz="4400" b="0" i="0" u="none" strike="noStrike" kern="1200" cap="none" spc="0" normalizeH="0" baseline="0" noProof="0">
              <a:ln>
                <a:noFill/>
              </a:ln>
              <a:solidFill>
                <a:srgbClr val="000000"/>
              </a:solidFill>
              <a:effectLst/>
              <a:uLnTx/>
              <a:uFillTx/>
              <a:latin typeface="等线 Light" panose="020F0302020204030204"/>
              <a:ea typeface="+mj-ea"/>
              <a:cs typeface="+mj-cs"/>
            </a:endParaRPr>
          </a:p>
        </p:txBody>
      </p:sp>
      <p:grpSp>
        <p:nvGrpSpPr>
          <p:cNvPr id="12" name="Group 2">
            <a:extLst>
              <a:ext uri="{FF2B5EF4-FFF2-40B4-BE49-F238E27FC236}">
                <a16:creationId xmlns:a16="http://schemas.microsoft.com/office/drawing/2014/main" id="{BA8DBF35-5C36-4D9D-9D5E-C42432FE5C0D}"/>
              </a:ext>
            </a:extLst>
          </p:cNvPr>
          <p:cNvGrpSpPr/>
          <p:nvPr/>
        </p:nvGrpSpPr>
        <p:grpSpPr>
          <a:xfrm>
            <a:off x="0" y="6272787"/>
            <a:ext cx="12194683" cy="587348"/>
            <a:chOff x="0" y="6272787"/>
            <a:chExt cx="12194683" cy="587348"/>
          </a:xfrm>
        </p:grpSpPr>
        <p:sp>
          <p:nvSpPr>
            <p:cNvPr id="13" name="Freeform: Shape 40">
              <a:extLst>
                <a:ext uri="{FF2B5EF4-FFF2-40B4-BE49-F238E27FC236}">
                  <a16:creationId xmlns:a16="http://schemas.microsoft.com/office/drawing/2014/main" id="{072A1BA6-37C3-4761-8039-0EE07CF6C4CC}"/>
                </a:ext>
              </a:extLst>
            </p:cNvPr>
            <p:cNvSpPr/>
            <p:nvPr/>
          </p:nvSpPr>
          <p:spPr>
            <a:xfrm>
              <a:off x="0" y="6272787"/>
              <a:ext cx="12194683" cy="585213"/>
            </a:xfrm>
            <a:custGeom>
              <a:avLst/>
              <a:gdLst>
                <a:gd name="connsiteX0" fmla="*/ 0 w 3030855"/>
                <a:gd name="connsiteY0" fmla="*/ 0 h 199072"/>
                <a:gd name="connsiteX1" fmla="*/ 3030855 w 3030855"/>
                <a:gd name="connsiteY1" fmla="*/ 0 h 199072"/>
                <a:gd name="connsiteX2" fmla="*/ 3030855 w 3030855"/>
                <a:gd name="connsiteY2" fmla="*/ 199072 h 199072"/>
                <a:gd name="connsiteX3" fmla="*/ 0 w 3030855"/>
                <a:gd name="connsiteY3" fmla="*/ 199072 h 199072"/>
              </a:gdLst>
              <a:ahLst/>
              <a:cxnLst>
                <a:cxn ang="0">
                  <a:pos x="connsiteX0" y="connsiteY0"/>
                </a:cxn>
                <a:cxn ang="0">
                  <a:pos x="connsiteX1" y="connsiteY1"/>
                </a:cxn>
                <a:cxn ang="0">
                  <a:pos x="connsiteX2" y="connsiteY2"/>
                </a:cxn>
                <a:cxn ang="0">
                  <a:pos x="connsiteX3" y="connsiteY3"/>
                </a:cxn>
              </a:cxnLst>
              <a:rect l="l" t="t" r="r" b="b"/>
              <a:pathLst>
                <a:path w="3030855" h="199072">
                  <a:moveTo>
                    <a:pt x="0" y="0"/>
                  </a:moveTo>
                  <a:lnTo>
                    <a:pt x="3030855" y="0"/>
                  </a:lnTo>
                  <a:lnTo>
                    <a:pt x="3030855" y="199072"/>
                  </a:lnTo>
                  <a:lnTo>
                    <a:pt x="0" y="199072"/>
                  </a:lnTo>
                  <a:close/>
                </a:path>
              </a:pathLst>
            </a:custGeom>
            <a:solidFill>
              <a:srgbClr val="68BD48"/>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4" name="Freeform: Shape 41">
              <a:extLst>
                <a:ext uri="{FF2B5EF4-FFF2-40B4-BE49-F238E27FC236}">
                  <a16:creationId xmlns:a16="http://schemas.microsoft.com/office/drawing/2014/main" id="{BB999025-B617-446E-B784-B03936A7E047}"/>
                </a:ext>
              </a:extLst>
            </p:cNvPr>
            <p:cNvSpPr/>
            <p:nvPr/>
          </p:nvSpPr>
          <p:spPr>
            <a:xfrm>
              <a:off x="2683" y="6272787"/>
              <a:ext cx="12189317" cy="587348"/>
            </a:xfrm>
            <a:custGeom>
              <a:avLst/>
              <a:gdLst>
                <a:gd name="connsiteX0" fmla="*/ 3030855 w 3030855"/>
                <a:gd name="connsiteY0" fmla="*/ 0 h 199072"/>
                <a:gd name="connsiteX1" fmla="*/ 0 w 3030855"/>
                <a:gd name="connsiteY1" fmla="*/ 199072 h 199072"/>
                <a:gd name="connsiteX2" fmla="*/ 3030855 w 3030855"/>
                <a:gd name="connsiteY2" fmla="*/ 199072 h 199072"/>
              </a:gdLst>
              <a:ahLst/>
              <a:cxnLst>
                <a:cxn ang="0">
                  <a:pos x="connsiteX0" y="connsiteY0"/>
                </a:cxn>
                <a:cxn ang="0">
                  <a:pos x="connsiteX1" y="connsiteY1"/>
                </a:cxn>
                <a:cxn ang="0">
                  <a:pos x="connsiteX2" y="connsiteY2"/>
                </a:cxn>
              </a:cxnLst>
              <a:rect l="l" t="t" r="r" b="b"/>
              <a:pathLst>
                <a:path w="3030855" h="199072">
                  <a:moveTo>
                    <a:pt x="3030855" y="0"/>
                  </a:moveTo>
                  <a:lnTo>
                    <a:pt x="0" y="199072"/>
                  </a:lnTo>
                  <a:lnTo>
                    <a:pt x="3030855" y="199072"/>
                  </a:lnTo>
                  <a:close/>
                </a:path>
              </a:pathLst>
            </a:custGeom>
            <a:solidFill>
              <a:srgbClr val="359B47"/>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sp>
        <p:nvSpPr>
          <p:cNvPr id="15" name="Freeform: Shape 12">
            <a:extLst>
              <a:ext uri="{FF2B5EF4-FFF2-40B4-BE49-F238E27FC236}">
                <a16:creationId xmlns:a16="http://schemas.microsoft.com/office/drawing/2014/main" id="{A372D7A0-2615-408A-965D-D5120F5CAF6F}"/>
              </a:ext>
            </a:extLst>
          </p:cNvPr>
          <p:cNvSpPr/>
          <p:nvPr/>
        </p:nvSpPr>
        <p:spPr>
          <a:xfrm>
            <a:off x="4890827" y="2844917"/>
            <a:ext cx="848984" cy="734854"/>
          </a:xfrm>
          <a:custGeom>
            <a:avLst/>
            <a:gdLst>
              <a:gd name="connsiteX0" fmla="*/ 694372 w 694372"/>
              <a:gd name="connsiteY0" fmla="*/ 601028 h 601027"/>
              <a:gd name="connsiteX1" fmla="*/ 428625 w 694372"/>
              <a:gd name="connsiteY1" fmla="*/ 0 h 601027"/>
              <a:gd name="connsiteX2" fmla="*/ 0 w 694372"/>
              <a:gd name="connsiteY2" fmla="*/ 256223 h 601027"/>
            </a:gdLst>
            <a:ahLst/>
            <a:cxnLst>
              <a:cxn ang="0">
                <a:pos x="connsiteX0" y="connsiteY0"/>
              </a:cxn>
              <a:cxn ang="0">
                <a:pos x="connsiteX1" y="connsiteY1"/>
              </a:cxn>
              <a:cxn ang="0">
                <a:pos x="connsiteX2" y="connsiteY2"/>
              </a:cxn>
            </a:cxnLst>
            <a:rect l="l" t="t" r="r" b="b"/>
            <a:pathLst>
              <a:path w="694372" h="601027">
                <a:moveTo>
                  <a:pt x="694372" y="601028"/>
                </a:moveTo>
                <a:lnTo>
                  <a:pt x="428625" y="0"/>
                </a:lnTo>
                <a:lnTo>
                  <a:pt x="0" y="256223"/>
                </a:lnTo>
                <a:close/>
              </a:path>
            </a:pathLst>
          </a:custGeom>
          <a:solidFill>
            <a:schemeClr val="accent1">
              <a:lumMod val="60000"/>
              <a:lumOff val="40000"/>
            </a:scheme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6" name="Freeform: Shape 13">
            <a:extLst>
              <a:ext uri="{FF2B5EF4-FFF2-40B4-BE49-F238E27FC236}">
                <a16:creationId xmlns:a16="http://schemas.microsoft.com/office/drawing/2014/main" id="{DE14FD43-2BF2-447A-93C1-AEB772564022}"/>
              </a:ext>
            </a:extLst>
          </p:cNvPr>
          <p:cNvSpPr/>
          <p:nvPr/>
        </p:nvSpPr>
        <p:spPr>
          <a:xfrm>
            <a:off x="5405576" y="2757572"/>
            <a:ext cx="415757" cy="821034"/>
          </a:xfrm>
          <a:custGeom>
            <a:avLst/>
            <a:gdLst>
              <a:gd name="connsiteX0" fmla="*/ 0 w 340042"/>
              <a:gd name="connsiteY0" fmla="*/ 70485 h 671512"/>
              <a:gd name="connsiteX1" fmla="*/ 340042 w 340042"/>
              <a:gd name="connsiteY1" fmla="*/ 0 h 671512"/>
              <a:gd name="connsiteX2" fmla="*/ 266700 w 340042"/>
              <a:gd name="connsiteY2" fmla="*/ 671513 h 671512"/>
            </a:gdLst>
            <a:ahLst/>
            <a:cxnLst>
              <a:cxn ang="0">
                <a:pos x="connsiteX0" y="connsiteY0"/>
              </a:cxn>
              <a:cxn ang="0">
                <a:pos x="connsiteX1" y="connsiteY1"/>
              </a:cxn>
              <a:cxn ang="0">
                <a:pos x="connsiteX2" y="connsiteY2"/>
              </a:cxn>
            </a:cxnLst>
            <a:rect l="l" t="t" r="r" b="b"/>
            <a:pathLst>
              <a:path w="340042" h="671512">
                <a:moveTo>
                  <a:pt x="0" y="70485"/>
                </a:moveTo>
                <a:lnTo>
                  <a:pt x="340042" y="0"/>
                </a:lnTo>
                <a:lnTo>
                  <a:pt x="266700" y="671513"/>
                </a:lnTo>
                <a:close/>
              </a:path>
            </a:pathLst>
          </a:custGeom>
          <a:solidFill>
            <a:schemeClr val="accent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7" name="Freeform: Shape 14">
            <a:extLst>
              <a:ext uri="{FF2B5EF4-FFF2-40B4-BE49-F238E27FC236}">
                <a16:creationId xmlns:a16="http://schemas.microsoft.com/office/drawing/2014/main" id="{8A3C58B1-DE6B-4A00-B317-B8924CA31EFF}"/>
              </a:ext>
            </a:extLst>
          </p:cNvPr>
          <p:cNvSpPr/>
          <p:nvPr/>
        </p:nvSpPr>
        <p:spPr>
          <a:xfrm>
            <a:off x="5739812" y="2639950"/>
            <a:ext cx="623054" cy="939822"/>
          </a:xfrm>
          <a:custGeom>
            <a:avLst/>
            <a:gdLst>
              <a:gd name="connsiteX0" fmla="*/ 73343 w 509587"/>
              <a:gd name="connsiteY0" fmla="*/ 97155 h 768667"/>
              <a:gd name="connsiteX1" fmla="*/ 509588 w 509587"/>
              <a:gd name="connsiteY1" fmla="*/ 0 h 768667"/>
              <a:gd name="connsiteX2" fmla="*/ 0 w 509587"/>
              <a:gd name="connsiteY2" fmla="*/ 768668 h 768667"/>
              <a:gd name="connsiteX3" fmla="*/ 73343 w 509587"/>
              <a:gd name="connsiteY3" fmla="*/ 97155 h 768667"/>
            </a:gdLst>
            <a:ahLst/>
            <a:cxnLst>
              <a:cxn ang="0">
                <a:pos x="connsiteX0" y="connsiteY0"/>
              </a:cxn>
              <a:cxn ang="0">
                <a:pos x="connsiteX1" y="connsiteY1"/>
              </a:cxn>
              <a:cxn ang="0">
                <a:pos x="connsiteX2" y="connsiteY2"/>
              </a:cxn>
              <a:cxn ang="0">
                <a:pos x="connsiteX3" y="connsiteY3"/>
              </a:cxn>
            </a:cxnLst>
            <a:rect l="l" t="t" r="r" b="b"/>
            <a:pathLst>
              <a:path w="509587" h="768667">
                <a:moveTo>
                  <a:pt x="73343" y="97155"/>
                </a:moveTo>
                <a:lnTo>
                  <a:pt x="509588" y="0"/>
                </a:lnTo>
                <a:lnTo>
                  <a:pt x="0" y="768668"/>
                </a:lnTo>
                <a:lnTo>
                  <a:pt x="73343" y="97155"/>
                </a:lnTo>
              </a:path>
            </a:pathLst>
          </a:custGeom>
          <a:solidFill>
            <a:schemeClr val="accent1">
              <a:lumMod val="60000"/>
              <a:lumOff val="40000"/>
            </a:scheme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8" name="Freeform: Shape 15">
            <a:extLst>
              <a:ext uri="{FF2B5EF4-FFF2-40B4-BE49-F238E27FC236}">
                <a16:creationId xmlns:a16="http://schemas.microsoft.com/office/drawing/2014/main" id="{2A5E40BF-6B67-4810-A631-84EB3ECF447D}"/>
              </a:ext>
            </a:extLst>
          </p:cNvPr>
          <p:cNvSpPr/>
          <p:nvPr/>
        </p:nvSpPr>
        <p:spPr>
          <a:xfrm>
            <a:off x="5739812" y="2639950"/>
            <a:ext cx="1058610" cy="939822"/>
          </a:xfrm>
          <a:custGeom>
            <a:avLst/>
            <a:gdLst>
              <a:gd name="connsiteX0" fmla="*/ 509588 w 865822"/>
              <a:gd name="connsiteY0" fmla="*/ 0 h 768667"/>
              <a:gd name="connsiteX1" fmla="*/ 0 w 865822"/>
              <a:gd name="connsiteY1" fmla="*/ 768668 h 768667"/>
              <a:gd name="connsiteX2" fmla="*/ 865823 w 865822"/>
              <a:gd name="connsiteY2" fmla="*/ 401955 h 768667"/>
            </a:gdLst>
            <a:ahLst/>
            <a:cxnLst>
              <a:cxn ang="0">
                <a:pos x="connsiteX0" y="connsiteY0"/>
              </a:cxn>
              <a:cxn ang="0">
                <a:pos x="connsiteX1" y="connsiteY1"/>
              </a:cxn>
              <a:cxn ang="0">
                <a:pos x="connsiteX2" y="connsiteY2"/>
              </a:cxn>
            </a:cxnLst>
            <a:rect l="l" t="t" r="r" b="b"/>
            <a:pathLst>
              <a:path w="865822" h="768667">
                <a:moveTo>
                  <a:pt x="509588" y="0"/>
                </a:moveTo>
                <a:lnTo>
                  <a:pt x="0" y="768668"/>
                </a:lnTo>
                <a:lnTo>
                  <a:pt x="865823" y="401955"/>
                </a:lnTo>
                <a:close/>
              </a:path>
            </a:pathLst>
          </a:custGeom>
          <a:solidFill>
            <a:schemeClr val="accent2">
              <a:lumMod val="75000"/>
            </a:scheme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9" name="Freeform: Shape 16">
            <a:extLst>
              <a:ext uri="{FF2B5EF4-FFF2-40B4-BE49-F238E27FC236}">
                <a16:creationId xmlns:a16="http://schemas.microsoft.com/office/drawing/2014/main" id="{2414BF92-E732-45D4-BB6F-B583B62F1231}"/>
              </a:ext>
            </a:extLst>
          </p:cNvPr>
          <p:cNvSpPr/>
          <p:nvPr/>
        </p:nvSpPr>
        <p:spPr>
          <a:xfrm>
            <a:off x="6262712" y="3131405"/>
            <a:ext cx="1129649" cy="466999"/>
          </a:xfrm>
          <a:custGeom>
            <a:avLst/>
            <a:gdLst>
              <a:gd name="connsiteX0" fmla="*/ 0 w 923924"/>
              <a:gd name="connsiteY0" fmla="*/ 381953 h 381952"/>
              <a:gd name="connsiteX1" fmla="*/ 438150 w 923924"/>
              <a:gd name="connsiteY1" fmla="*/ 0 h 381952"/>
              <a:gd name="connsiteX2" fmla="*/ 923925 w 923924"/>
              <a:gd name="connsiteY2" fmla="*/ 83820 h 381952"/>
            </a:gdLst>
            <a:ahLst/>
            <a:cxnLst>
              <a:cxn ang="0">
                <a:pos x="connsiteX0" y="connsiteY0"/>
              </a:cxn>
              <a:cxn ang="0">
                <a:pos x="connsiteX1" y="connsiteY1"/>
              </a:cxn>
              <a:cxn ang="0">
                <a:pos x="connsiteX2" y="connsiteY2"/>
              </a:cxn>
            </a:cxnLst>
            <a:rect l="l" t="t" r="r" b="b"/>
            <a:pathLst>
              <a:path w="923924" h="381952">
                <a:moveTo>
                  <a:pt x="0" y="381953"/>
                </a:moveTo>
                <a:lnTo>
                  <a:pt x="438150" y="0"/>
                </a:lnTo>
                <a:lnTo>
                  <a:pt x="923925" y="83820"/>
                </a:lnTo>
                <a:close/>
              </a:path>
            </a:pathLst>
          </a:custGeom>
          <a:solidFill>
            <a:schemeClr val="accent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0" name="Freeform: Shape 17">
            <a:extLst>
              <a:ext uri="{FF2B5EF4-FFF2-40B4-BE49-F238E27FC236}">
                <a16:creationId xmlns:a16="http://schemas.microsoft.com/office/drawing/2014/main" id="{0526AE8E-2E86-4CA5-AE6E-41AC08AED2FB}"/>
              </a:ext>
            </a:extLst>
          </p:cNvPr>
          <p:cNvSpPr/>
          <p:nvPr/>
        </p:nvSpPr>
        <p:spPr>
          <a:xfrm>
            <a:off x="6262712" y="3233889"/>
            <a:ext cx="1417303" cy="416922"/>
          </a:xfrm>
          <a:custGeom>
            <a:avLst/>
            <a:gdLst>
              <a:gd name="connsiteX0" fmla="*/ 923925 w 1159192"/>
              <a:gd name="connsiteY0" fmla="*/ 0 h 340995"/>
              <a:gd name="connsiteX1" fmla="*/ 942975 w 1159192"/>
              <a:gd name="connsiteY1" fmla="*/ 27623 h 340995"/>
              <a:gd name="connsiteX2" fmla="*/ 1159193 w 1159192"/>
              <a:gd name="connsiteY2" fmla="*/ 340995 h 340995"/>
              <a:gd name="connsiteX3" fmla="*/ 0 w 1159192"/>
              <a:gd name="connsiteY3" fmla="*/ 298133 h 340995"/>
            </a:gdLst>
            <a:ahLst/>
            <a:cxnLst>
              <a:cxn ang="0">
                <a:pos x="connsiteX0" y="connsiteY0"/>
              </a:cxn>
              <a:cxn ang="0">
                <a:pos x="connsiteX1" y="connsiteY1"/>
              </a:cxn>
              <a:cxn ang="0">
                <a:pos x="connsiteX2" y="connsiteY2"/>
              </a:cxn>
              <a:cxn ang="0">
                <a:pos x="connsiteX3" y="connsiteY3"/>
              </a:cxn>
            </a:cxnLst>
            <a:rect l="l" t="t" r="r" b="b"/>
            <a:pathLst>
              <a:path w="1159192" h="340995">
                <a:moveTo>
                  <a:pt x="923925" y="0"/>
                </a:moveTo>
                <a:lnTo>
                  <a:pt x="942975" y="27623"/>
                </a:lnTo>
                <a:lnTo>
                  <a:pt x="1159193" y="340995"/>
                </a:lnTo>
                <a:lnTo>
                  <a:pt x="0" y="298133"/>
                </a:lnTo>
                <a:close/>
              </a:path>
            </a:pathLst>
          </a:custGeom>
          <a:solidFill>
            <a:schemeClr val="accent3">
              <a:lumMod val="75000"/>
            </a:scheme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1" name="Freeform: Shape 18">
            <a:extLst>
              <a:ext uri="{FF2B5EF4-FFF2-40B4-BE49-F238E27FC236}">
                <a16:creationId xmlns:a16="http://schemas.microsoft.com/office/drawing/2014/main" id="{1427DC03-36AE-449A-9921-FAACCA8CDEEA}"/>
              </a:ext>
            </a:extLst>
          </p:cNvPr>
          <p:cNvSpPr/>
          <p:nvPr/>
        </p:nvSpPr>
        <p:spPr>
          <a:xfrm>
            <a:off x="7476213" y="3650812"/>
            <a:ext cx="435555" cy="835009"/>
          </a:xfrm>
          <a:custGeom>
            <a:avLst/>
            <a:gdLst>
              <a:gd name="connsiteX0" fmla="*/ 166688 w 356234"/>
              <a:gd name="connsiteY0" fmla="*/ 0 h 682942"/>
              <a:gd name="connsiteX1" fmla="*/ 356235 w 356234"/>
              <a:gd name="connsiteY1" fmla="*/ 204788 h 682942"/>
              <a:gd name="connsiteX2" fmla="*/ 0 w 356234"/>
              <a:gd name="connsiteY2" fmla="*/ 682943 h 682942"/>
            </a:gdLst>
            <a:ahLst/>
            <a:cxnLst>
              <a:cxn ang="0">
                <a:pos x="connsiteX0" y="connsiteY0"/>
              </a:cxn>
              <a:cxn ang="0">
                <a:pos x="connsiteX1" y="connsiteY1"/>
              </a:cxn>
              <a:cxn ang="0">
                <a:pos x="connsiteX2" y="connsiteY2"/>
              </a:cxn>
            </a:cxnLst>
            <a:rect l="l" t="t" r="r" b="b"/>
            <a:pathLst>
              <a:path w="356234" h="682942">
                <a:moveTo>
                  <a:pt x="166688" y="0"/>
                </a:moveTo>
                <a:lnTo>
                  <a:pt x="356235" y="204788"/>
                </a:lnTo>
                <a:lnTo>
                  <a:pt x="0" y="682943"/>
                </a:lnTo>
                <a:close/>
              </a:path>
            </a:pathLst>
          </a:custGeom>
          <a:solidFill>
            <a:schemeClr val="accent6"/>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2" name="Freeform: Shape 21">
            <a:extLst>
              <a:ext uri="{FF2B5EF4-FFF2-40B4-BE49-F238E27FC236}">
                <a16:creationId xmlns:a16="http://schemas.microsoft.com/office/drawing/2014/main" id="{577747AE-2B86-4660-A140-B2EB1B1E9DB3}"/>
              </a:ext>
            </a:extLst>
          </p:cNvPr>
          <p:cNvSpPr/>
          <p:nvPr/>
        </p:nvSpPr>
        <p:spPr>
          <a:xfrm>
            <a:off x="4820953" y="3158191"/>
            <a:ext cx="918860" cy="421580"/>
          </a:xfrm>
          <a:custGeom>
            <a:avLst/>
            <a:gdLst>
              <a:gd name="connsiteX0" fmla="*/ 57150 w 751522"/>
              <a:gd name="connsiteY0" fmla="*/ 0 h 344804"/>
              <a:gd name="connsiteX1" fmla="*/ 751522 w 751522"/>
              <a:gd name="connsiteY1" fmla="*/ 344805 h 344804"/>
              <a:gd name="connsiteX2" fmla="*/ 0 w 751522"/>
              <a:gd name="connsiteY2" fmla="*/ 260985 h 344804"/>
            </a:gdLst>
            <a:ahLst/>
            <a:cxnLst>
              <a:cxn ang="0">
                <a:pos x="connsiteX0" y="connsiteY0"/>
              </a:cxn>
              <a:cxn ang="0">
                <a:pos x="connsiteX1" y="connsiteY1"/>
              </a:cxn>
              <a:cxn ang="0">
                <a:pos x="connsiteX2" y="connsiteY2"/>
              </a:cxn>
            </a:cxnLst>
            <a:rect l="l" t="t" r="r" b="b"/>
            <a:pathLst>
              <a:path w="751522" h="344804">
                <a:moveTo>
                  <a:pt x="57150" y="0"/>
                </a:moveTo>
                <a:lnTo>
                  <a:pt x="751522" y="344805"/>
                </a:lnTo>
                <a:lnTo>
                  <a:pt x="0" y="260985"/>
                </a:lnTo>
                <a:close/>
              </a:path>
            </a:pathLst>
          </a:custGeom>
          <a:solidFill>
            <a:schemeClr val="accent3">
              <a:lumMod val="50000"/>
            </a:scheme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3" name="Freeform: Shape 22">
            <a:extLst>
              <a:ext uri="{FF2B5EF4-FFF2-40B4-BE49-F238E27FC236}">
                <a16:creationId xmlns:a16="http://schemas.microsoft.com/office/drawing/2014/main" id="{BE85CF02-CABE-407F-9401-203E91007C1A}"/>
              </a:ext>
            </a:extLst>
          </p:cNvPr>
          <p:cNvSpPr/>
          <p:nvPr/>
        </p:nvSpPr>
        <p:spPr>
          <a:xfrm>
            <a:off x="6416438" y="3650812"/>
            <a:ext cx="1263577" cy="770956"/>
          </a:xfrm>
          <a:custGeom>
            <a:avLst/>
            <a:gdLst>
              <a:gd name="connsiteX0" fmla="*/ 178117 w 1033462"/>
              <a:gd name="connsiteY0" fmla="*/ 630555 h 630554"/>
              <a:gd name="connsiteX1" fmla="*/ 1033463 w 1033462"/>
              <a:gd name="connsiteY1" fmla="*/ 0 h 630554"/>
              <a:gd name="connsiteX2" fmla="*/ 0 w 1033462"/>
              <a:gd name="connsiteY2" fmla="*/ 235267 h 630554"/>
            </a:gdLst>
            <a:ahLst/>
            <a:cxnLst>
              <a:cxn ang="0">
                <a:pos x="connsiteX0" y="connsiteY0"/>
              </a:cxn>
              <a:cxn ang="0">
                <a:pos x="connsiteX1" y="connsiteY1"/>
              </a:cxn>
              <a:cxn ang="0">
                <a:pos x="connsiteX2" y="connsiteY2"/>
              </a:cxn>
            </a:cxnLst>
            <a:rect l="l" t="t" r="r" b="b"/>
            <a:pathLst>
              <a:path w="1033462" h="630554">
                <a:moveTo>
                  <a:pt x="178117" y="630555"/>
                </a:moveTo>
                <a:lnTo>
                  <a:pt x="1033463" y="0"/>
                </a:lnTo>
                <a:lnTo>
                  <a:pt x="0" y="235267"/>
                </a:lnTo>
                <a:close/>
              </a:path>
            </a:pathLst>
          </a:custGeom>
          <a:solidFill>
            <a:schemeClr val="accent6">
              <a:lumMod val="60000"/>
              <a:lumOff val="40000"/>
            </a:scheme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4" name="Freeform: Shape 24">
            <a:extLst>
              <a:ext uri="{FF2B5EF4-FFF2-40B4-BE49-F238E27FC236}">
                <a16:creationId xmlns:a16="http://schemas.microsoft.com/office/drawing/2014/main" id="{4543CA37-5C14-4940-A291-FD1E346E9422}"/>
              </a:ext>
            </a:extLst>
          </p:cNvPr>
          <p:cNvSpPr/>
          <p:nvPr/>
        </p:nvSpPr>
        <p:spPr>
          <a:xfrm>
            <a:off x="6159064" y="3598405"/>
            <a:ext cx="475152" cy="1109851"/>
          </a:xfrm>
          <a:custGeom>
            <a:avLst/>
            <a:gdLst>
              <a:gd name="connsiteX0" fmla="*/ 388620 w 388620"/>
              <a:gd name="connsiteY0" fmla="*/ 673418 h 907732"/>
              <a:gd name="connsiteX1" fmla="*/ 0 w 388620"/>
              <a:gd name="connsiteY1" fmla="*/ 907733 h 907732"/>
              <a:gd name="connsiteX2" fmla="*/ 84773 w 388620"/>
              <a:gd name="connsiteY2" fmla="*/ 0 h 907732"/>
            </a:gdLst>
            <a:ahLst/>
            <a:cxnLst>
              <a:cxn ang="0">
                <a:pos x="connsiteX0" y="connsiteY0"/>
              </a:cxn>
              <a:cxn ang="0">
                <a:pos x="connsiteX1" y="connsiteY1"/>
              </a:cxn>
              <a:cxn ang="0">
                <a:pos x="connsiteX2" y="connsiteY2"/>
              </a:cxn>
            </a:cxnLst>
            <a:rect l="l" t="t" r="r" b="b"/>
            <a:pathLst>
              <a:path w="388620" h="907732">
                <a:moveTo>
                  <a:pt x="388620" y="673418"/>
                </a:moveTo>
                <a:lnTo>
                  <a:pt x="0" y="907733"/>
                </a:lnTo>
                <a:lnTo>
                  <a:pt x="84773" y="0"/>
                </a:lnTo>
                <a:close/>
              </a:path>
            </a:pathLst>
          </a:custGeom>
          <a:solidFill>
            <a:schemeClr val="accent6"/>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5" name="Freeform: Shape 25">
            <a:extLst>
              <a:ext uri="{FF2B5EF4-FFF2-40B4-BE49-F238E27FC236}">
                <a16:creationId xmlns:a16="http://schemas.microsoft.com/office/drawing/2014/main" id="{91A339C2-A011-4A18-B213-BA51FFF444EB}"/>
              </a:ext>
            </a:extLst>
          </p:cNvPr>
          <p:cNvSpPr/>
          <p:nvPr/>
        </p:nvSpPr>
        <p:spPr>
          <a:xfrm>
            <a:off x="5614036" y="3598405"/>
            <a:ext cx="648675" cy="1109851"/>
          </a:xfrm>
          <a:custGeom>
            <a:avLst/>
            <a:gdLst>
              <a:gd name="connsiteX0" fmla="*/ 445770 w 530542"/>
              <a:gd name="connsiteY0" fmla="*/ 907733 h 907732"/>
              <a:gd name="connsiteX1" fmla="*/ 0 w 530542"/>
              <a:gd name="connsiteY1" fmla="*/ 693420 h 907732"/>
              <a:gd name="connsiteX2" fmla="*/ 530543 w 530542"/>
              <a:gd name="connsiteY2" fmla="*/ 0 h 907732"/>
            </a:gdLst>
            <a:ahLst/>
            <a:cxnLst>
              <a:cxn ang="0">
                <a:pos x="connsiteX0" y="connsiteY0"/>
              </a:cxn>
              <a:cxn ang="0">
                <a:pos x="connsiteX1" y="connsiteY1"/>
              </a:cxn>
              <a:cxn ang="0">
                <a:pos x="connsiteX2" y="connsiteY2"/>
              </a:cxn>
            </a:cxnLst>
            <a:rect l="l" t="t" r="r" b="b"/>
            <a:pathLst>
              <a:path w="530542" h="907732">
                <a:moveTo>
                  <a:pt x="445770" y="907733"/>
                </a:moveTo>
                <a:lnTo>
                  <a:pt x="0" y="693420"/>
                </a:lnTo>
                <a:lnTo>
                  <a:pt x="530543" y="0"/>
                </a:lnTo>
                <a:close/>
              </a:path>
            </a:pathLst>
          </a:custGeom>
          <a:solidFill>
            <a:schemeClr val="accent5"/>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6" name="Freeform: Shape 26">
            <a:extLst>
              <a:ext uri="{FF2B5EF4-FFF2-40B4-BE49-F238E27FC236}">
                <a16:creationId xmlns:a16="http://schemas.microsoft.com/office/drawing/2014/main" id="{F41DB9E7-3788-4B41-800A-74978BF38A7F}"/>
              </a:ext>
            </a:extLst>
          </p:cNvPr>
          <p:cNvSpPr/>
          <p:nvPr/>
        </p:nvSpPr>
        <p:spPr>
          <a:xfrm>
            <a:off x="5614036" y="3579771"/>
            <a:ext cx="648675" cy="866453"/>
          </a:xfrm>
          <a:custGeom>
            <a:avLst/>
            <a:gdLst>
              <a:gd name="connsiteX0" fmla="*/ 0 w 530542"/>
              <a:gd name="connsiteY0" fmla="*/ 708660 h 708660"/>
              <a:gd name="connsiteX1" fmla="*/ 102870 w 530542"/>
              <a:gd name="connsiteY1" fmla="*/ 0 h 708660"/>
              <a:gd name="connsiteX2" fmla="*/ 530543 w 530542"/>
              <a:gd name="connsiteY2" fmla="*/ 15240 h 708660"/>
            </a:gdLst>
            <a:ahLst/>
            <a:cxnLst>
              <a:cxn ang="0">
                <a:pos x="connsiteX0" y="connsiteY0"/>
              </a:cxn>
              <a:cxn ang="0">
                <a:pos x="connsiteX1" y="connsiteY1"/>
              </a:cxn>
              <a:cxn ang="0">
                <a:pos x="connsiteX2" y="connsiteY2"/>
              </a:cxn>
            </a:cxnLst>
            <a:rect l="l" t="t" r="r" b="b"/>
            <a:pathLst>
              <a:path w="530542" h="708660">
                <a:moveTo>
                  <a:pt x="0" y="708660"/>
                </a:moveTo>
                <a:lnTo>
                  <a:pt x="102870" y="0"/>
                </a:lnTo>
                <a:lnTo>
                  <a:pt x="530543" y="15240"/>
                </a:lnTo>
                <a:close/>
              </a:path>
            </a:pathLst>
          </a:custGeom>
          <a:solidFill>
            <a:schemeClr val="accent5">
              <a:lumMod val="50000"/>
            </a:scheme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7" name="Freeform: Shape 27">
            <a:extLst>
              <a:ext uri="{FF2B5EF4-FFF2-40B4-BE49-F238E27FC236}">
                <a16:creationId xmlns:a16="http://schemas.microsoft.com/office/drawing/2014/main" id="{2AE4438C-BA48-4DA4-9EED-C855007848F0}"/>
              </a:ext>
            </a:extLst>
          </p:cNvPr>
          <p:cNvSpPr/>
          <p:nvPr/>
        </p:nvSpPr>
        <p:spPr>
          <a:xfrm>
            <a:off x="5143543" y="3579771"/>
            <a:ext cx="596268" cy="943316"/>
          </a:xfrm>
          <a:custGeom>
            <a:avLst/>
            <a:gdLst>
              <a:gd name="connsiteX0" fmla="*/ 487680 w 487679"/>
              <a:gd name="connsiteY0" fmla="*/ 0 h 771525"/>
              <a:gd name="connsiteX1" fmla="*/ 384810 w 487679"/>
              <a:gd name="connsiteY1" fmla="*/ 708660 h 771525"/>
              <a:gd name="connsiteX2" fmla="*/ 8573 w 487679"/>
              <a:gd name="connsiteY2" fmla="*/ 770573 h 771525"/>
              <a:gd name="connsiteX3" fmla="*/ 0 w 487679"/>
              <a:gd name="connsiteY3" fmla="*/ 771525 h 771525"/>
              <a:gd name="connsiteX4" fmla="*/ 4763 w 487679"/>
              <a:gd name="connsiteY4" fmla="*/ 762953 h 771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7679" h="771525">
                <a:moveTo>
                  <a:pt x="487680" y="0"/>
                </a:moveTo>
                <a:lnTo>
                  <a:pt x="384810" y="708660"/>
                </a:lnTo>
                <a:lnTo>
                  <a:pt x="8573" y="770573"/>
                </a:lnTo>
                <a:lnTo>
                  <a:pt x="0" y="771525"/>
                </a:lnTo>
                <a:lnTo>
                  <a:pt x="4763" y="762953"/>
                </a:lnTo>
                <a:close/>
              </a:path>
            </a:pathLst>
          </a:custGeom>
          <a:solidFill>
            <a:schemeClr val="accent5">
              <a:lumMod val="75000"/>
            </a:scheme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8" name="Freeform: Shape 28">
            <a:extLst>
              <a:ext uri="{FF2B5EF4-FFF2-40B4-BE49-F238E27FC236}">
                <a16:creationId xmlns:a16="http://schemas.microsoft.com/office/drawing/2014/main" id="{ED74235C-1BBB-4FE0-91B7-9E8F2FFCC28C}"/>
              </a:ext>
            </a:extLst>
          </p:cNvPr>
          <p:cNvSpPr/>
          <p:nvPr/>
        </p:nvSpPr>
        <p:spPr>
          <a:xfrm>
            <a:off x="4725457" y="3759178"/>
            <a:ext cx="850148" cy="943316"/>
          </a:xfrm>
          <a:custGeom>
            <a:avLst/>
            <a:gdLst>
              <a:gd name="connsiteX0" fmla="*/ 695325 w 695324"/>
              <a:gd name="connsiteY0" fmla="*/ 0 h 771525"/>
              <a:gd name="connsiteX1" fmla="*/ 212407 w 695324"/>
              <a:gd name="connsiteY1" fmla="*/ 762953 h 771525"/>
              <a:gd name="connsiteX2" fmla="*/ 207645 w 695324"/>
              <a:gd name="connsiteY2" fmla="*/ 771525 h 771525"/>
              <a:gd name="connsiteX3" fmla="*/ 0 w 695324"/>
              <a:gd name="connsiteY3" fmla="*/ 564833 h 771525"/>
            </a:gdLst>
            <a:ahLst/>
            <a:cxnLst>
              <a:cxn ang="0">
                <a:pos x="connsiteX0" y="connsiteY0"/>
              </a:cxn>
              <a:cxn ang="0">
                <a:pos x="connsiteX1" y="connsiteY1"/>
              </a:cxn>
              <a:cxn ang="0">
                <a:pos x="connsiteX2" y="connsiteY2"/>
              </a:cxn>
              <a:cxn ang="0">
                <a:pos x="connsiteX3" y="connsiteY3"/>
              </a:cxn>
            </a:cxnLst>
            <a:rect l="l" t="t" r="r" b="b"/>
            <a:pathLst>
              <a:path w="695324" h="771525">
                <a:moveTo>
                  <a:pt x="695325" y="0"/>
                </a:moveTo>
                <a:lnTo>
                  <a:pt x="212407" y="762953"/>
                </a:lnTo>
                <a:lnTo>
                  <a:pt x="207645" y="771525"/>
                </a:lnTo>
                <a:lnTo>
                  <a:pt x="0" y="564833"/>
                </a:lnTo>
                <a:close/>
              </a:path>
            </a:pathLst>
          </a:custGeom>
          <a:solidFill>
            <a:schemeClr val="accent5"/>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9" name="Freeform: Shape 29">
            <a:extLst>
              <a:ext uri="{FF2B5EF4-FFF2-40B4-BE49-F238E27FC236}">
                <a16:creationId xmlns:a16="http://schemas.microsoft.com/office/drawing/2014/main" id="{BC46C166-7F99-4F2D-9C73-E02899D15C38}"/>
              </a:ext>
            </a:extLst>
          </p:cNvPr>
          <p:cNvSpPr/>
          <p:nvPr/>
        </p:nvSpPr>
        <p:spPr>
          <a:xfrm>
            <a:off x="4244482" y="2238167"/>
            <a:ext cx="11646" cy="11646"/>
          </a:xfrm>
          <a:custGeom>
            <a:avLst/>
            <a:gdLst/>
            <a:ahLst/>
            <a:cxnLst/>
            <a:rect l="l" t="t" r="r" b="b"/>
            <a:pathLst>
              <a:path w="9525" h="9525"/>
            </a:pathLst>
          </a:custGeom>
          <a:solidFill>
            <a:srgbClr val="009444"/>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0" name="Freeform: Shape 30">
            <a:extLst>
              <a:ext uri="{FF2B5EF4-FFF2-40B4-BE49-F238E27FC236}">
                <a16:creationId xmlns:a16="http://schemas.microsoft.com/office/drawing/2014/main" id="{AF44E393-284F-4BB8-BA0F-9FE67D4D5DE6}"/>
              </a:ext>
            </a:extLst>
          </p:cNvPr>
          <p:cNvSpPr/>
          <p:nvPr/>
        </p:nvSpPr>
        <p:spPr>
          <a:xfrm>
            <a:off x="4363268" y="3579771"/>
            <a:ext cx="1376542" cy="690600"/>
          </a:xfrm>
          <a:custGeom>
            <a:avLst/>
            <a:gdLst>
              <a:gd name="connsiteX0" fmla="*/ 1125855 w 1125854"/>
              <a:gd name="connsiteY0" fmla="*/ 0 h 564832"/>
              <a:gd name="connsiteX1" fmla="*/ 430530 w 1125854"/>
              <a:gd name="connsiteY1" fmla="*/ 564833 h 564832"/>
              <a:gd name="connsiteX2" fmla="*/ 0 w 1125854"/>
              <a:gd name="connsiteY2" fmla="*/ 367665 h 564832"/>
            </a:gdLst>
            <a:ahLst/>
            <a:cxnLst>
              <a:cxn ang="0">
                <a:pos x="connsiteX0" y="connsiteY0"/>
              </a:cxn>
              <a:cxn ang="0">
                <a:pos x="connsiteX1" y="connsiteY1"/>
              </a:cxn>
              <a:cxn ang="0">
                <a:pos x="connsiteX2" y="connsiteY2"/>
              </a:cxn>
            </a:cxnLst>
            <a:rect l="l" t="t" r="r" b="b"/>
            <a:pathLst>
              <a:path w="1125854" h="564832">
                <a:moveTo>
                  <a:pt x="1125855" y="0"/>
                </a:moveTo>
                <a:lnTo>
                  <a:pt x="430530" y="564833"/>
                </a:lnTo>
                <a:lnTo>
                  <a:pt x="0" y="367665"/>
                </a:lnTo>
                <a:close/>
              </a:path>
            </a:pathLst>
          </a:custGeom>
          <a:solidFill>
            <a:schemeClr val="accent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1" name="Freeform: Shape 31">
            <a:extLst>
              <a:ext uri="{FF2B5EF4-FFF2-40B4-BE49-F238E27FC236}">
                <a16:creationId xmlns:a16="http://schemas.microsoft.com/office/drawing/2014/main" id="{A40DDA11-5B73-49D1-8921-3DF1B73AF07A}"/>
              </a:ext>
            </a:extLst>
          </p:cNvPr>
          <p:cNvSpPr/>
          <p:nvPr/>
        </p:nvSpPr>
        <p:spPr>
          <a:xfrm>
            <a:off x="4363268" y="3477288"/>
            <a:ext cx="1376542" cy="552015"/>
          </a:xfrm>
          <a:custGeom>
            <a:avLst/>
            <a:gdLst>
              <a:gd name="connsiteX0" fmla="*/ 1125855 w 1125854"/>
              <a:gd name="connsiteY0" fmla="*/ 83820 h 451485"/>
              <a:gd name="connsiteX1" fmla="*/ 0 w 1125854"/>
              <a:gd name="connsiteY1" fmla="*/ 451485 h 451485"/>
              <a:gd name="connsiteX2" fmla="*/ 374333 w 1125854"/>
              <a:gd name="connsiteY2" fmla="*/ 0 h 451485"/>
            </a:gdLst>
            <a:ahLst/>
            <a:cxnLst>
              <a:cxn ang="0">
                <a:pos x="connsiteX0" y="connsiteY0"/>
              </a:cxn>
              <a:cxn ang="0">
                <a:pos x="connsiteX1" y="connsiteY1"/>
              </a:cxn>
              <a:cxn ang="0">
                <a:pos x="connsiteX2" y="connsiteY2"/>
              </a:cxn>
            </a:cxnLst>
            <a:rect l="l" t="t" r="r" b="b"/>
            <a:pathLst>
              <a:path w="1125854" h="451485">
                <a:moveTo>
                  <a:pt x="1125855" y="83820"/>
                </a:moveTo>
                <a:lnTo>
                  <a:pt x="0" y="451485"/>
                </a:lnTo>
                <a:lnTo>
                  <a:pt x="374333" y="0"/>
                </a:lnTo>
                <a:close/>
              </a:path>
            </a:pathLst>
          </a:custGeom>
          <a:solidFill>
            <a:schemeClr val="accent3">
              <a:lumMod val="75000"/>
            </a:scheme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2" name="Freeform: Shape 32">
            <a:extLst>
              <a:ext uri="{FF2B5EF4-FFF2-40B4-BE49-F238E27FC236}">
                <a16:creationId xmlns:a16="http://schemas.microsoft.com/office/drawing/2014/main" id="{A96AD70E-22D8-4A62-873E-9754D6C06D45}"/>
              </a:ext>
            </a:extLst>
          </p:cNvPr>
          <p:cNvSpPr/>
          <p:nvPr/>
        </p:nvSpPr>
        <p:spPr>
          <a:xfrm>
            <a:off x="5739812" y="3131405"/>
            <a:ext cx="1058610" cy="466999"/>
          </a:xfrm>
          <a:custGeom>
            <a:avLst/>
            <a:gdLst>
              <a:gd name="connsiteX0" fmla="*/ 0 w 865822"/>
              <a:gd name="connsiteY0" fmla="*/ 366713 h 381952"/>
              <a:gd name="connsiteX1" fmla="*/ 865823 w 865822"/>
              <a:gd name="connsiteY1" fmla="*/ 0 h 381952"/>
              <a:gd name="connsiteX2" fmla="*/ 427673 w 865822"/>
              <a:gd name="connsiteY2" fmla="*/ 381953 h 381952"/>
            </a:gdLst>
            <a:ahLst/>
            <a:cxnLst>
              <a:cxn ang="0">
                <a:pos x="connsiteX0" y="connsiteY0"/>
              </a:cxn>
              <a:cxn ang="0">
                <a:pos x="connsiteX1" y="connsiteY1"/>
              </a:cxn>
              <a:cxn ang="0">
                <a:pos x="connsiteX2" y="connsiteY2"/>
              </a:cxn>
            </a:cxnLst>
            <a:rect l="l" t="t" r="r" b="b"/>
            <a:pathLst>
              <a:path w="865822" h="381952">
                <a:moveTo>
                  <a:pt x="0" y="366713"/>
                </a:moveTo>
                <a:lnTo>
                  <a:pt x="865823" y="0"/>
                </a:lnTo>
                <a:lnTo>
                  <a:pt x="427673" y="381953"/>
                </a:lnTo>
                <a:close/>
              </a:path>
            </a:pathLst>
          </a:custGeom>
          <a:solidFill>
            <a:schemeClr val="accent2">
              <a:lumMod val="50000"/>
            </a:scheme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3" name="Freeform: Shape 33">
            <a:extLst>
              <a:ext uri="{FF2B5EF4-FFF2-40B4-BE49-F238E27FC236}">
                <a16:creationId xmlns:a16="http://schemas.microsoft.com/office/drawing/2014/main" id="{C19833AC-29B7-41AB-8EEB-CDCF2E8DE487}"/>
              </a:ext>
            </a:extLst>
          </p:cNvPr>
          <p:cNvSpPr/>
          <p:nvPr/>
        </p:nvSpPr>
        <p:spPr>
          <a:xfrm>
            <a:off x="4152100" y="3472506"/>
            <a:ext cx="545026" cy="604420"/>
          </a:xfrm>
          <a:custGeom>
            <a:avLst/>
            <a:gdLst>
              <a:gd name="connsiteX0" fmla="*/ 71438 w 445769"/>
              <a:gd name="connsiteY0" fmla="*/ 494348 h 494347"/>
              <a:gd name="connsiteX1" fmla="*/ 445770 w 445769"/>
              <a:gd name="connsiteY1" fmla="*/ 42863 h 494347"/>
              <a:gd name="connsiteX2" fmla="*/ 0 w 445769"/>
              <a:gd name="connsiteY2" fmla="*/ 0 h 494347"/>
            </a:gdLst>
            <a:ahLst/>
            <a:cxnLst>
              <a:cxn ang="0">
                <a:pos x="connsiteX0" y="connsiteY0"/>
              </a:cxn>
              <a:cxn ang="0">
                <a:pos x="connsiteX1" y="connsiteY1"/>
              </a:cxn>
              <a:cxn ang="0">
                <a:pos x="connsiteX2" y="connsiteY2"/>
              </a:cxn>
            </a:cxnLst>
            <a:rect l="l" t="t" r="r" b="b"/>
            <a:pathLst>
              <a:path w="445769" h="494347">
                <a:moveTo>
                  <a:pt x="71438" y="494348"/>
                </a:moveTo>
                <a:lnTo>
                  <a:pt x="445770" y="42863"/>
                </a:lnTo>
                <a:lnTo>
                  <a:pt x="0" y="0"/>
                </a:lnTo>
                <a:close/>
              </a:path>
            </a:pathLst>
          </a:custGeom>
          <a:solidFill>
            <a:schemeClr val="accent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4" name="Freeform: Shape 34">
            <a:extLst>
              <a:ext uri="{FF2B5EF4-FFF2-40B4-BE49-F238E27FC236}">
                <a16:creationId xmlns:a16="http://schemas.microsoft.com/office/drawing/2014/main" id="{4D3C41BF-27E5-4253-9060-8BDDA77D1BB5}"/>
              </a:ext>
            </a:extLst>
          </p:cNvPr>
          <p:cNvSpPr/>
          <p:nvPr/>
        </p:nvSpPr>
        <p:spPr>
          <a:xfrm>
            <a:off x="4275925" y="3158191"/>
            <a:ext cx="614901" cy="319097"/>
          </a:xfrm>
          <a:custGeom>
            <a:avLst/>
            <a:gdLst>
              <a:gd name="connsiteX0" fmla="*/ 0 w 502919"/>
              <a:gd name="connsiteY0" fmla="*/ 218123 h 260985"/>
              <a:gd name="connsiteX1" fmla="*/ 502920 w 502919"/>
              <a:gd name="connsiteY1" fmla="*/ 0 h 260985"/>
              <a:gd name="connsiteX2" fmla="*/ 445770 w 502919"/>
              <a:gd name="connsiteY2" fmla="*/ 260985 h 260985"/>
            </a:gdLst>
            <a:ahLst/>
            <a:cxnLst>
              <a:cxn ang="0">
                <a:pos x="connsiteX0" y="connsiteY0"/>
              </a:cxn>
              <a:cxn ang="0">
                <a:pos x="connsiteX1" y="connsiteY1"/>
              </a:cxn>
              <a:cxn ang="0">
                <a:pos x="connsiteX2" y="connsiteY2"/>
              </a:cxn>
            </a:cxnLst>
            <a:rect l="l" t="t" r="r" b="b"/>
            <a:pathLst>
              <a:path w="502919" h="260985">
                <a:moveTo>
                  <a:pt x="0" y="218123"/>
                </a:moveTo>
                <a:lnTo>
                  <a:pt x="502920" y="0"/>
                </a:lnTo>
                <a:lnTo>
                  <a:pt x="445770" y="260985"/>
                </a:lnTo>
                <a:close/>
              </a:path>
            </a:pathLst>
          </a:custGeom>
          <a:solidFill>
            <a:schemeClr val="accent3">
              <a:lumMod val="75000"/>
            </a:scheme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5" name="Freeform: Shape 35">
            <a:extLst>
              <a:ext uri="{FF2B5EF4-FFF2-40B4-BE49-F238E27FC236}">
                <a16:creationId xmlns:a16="http://schemas.microsoft.com/office/drawing/2014/main" id="{E0AC0B7E-B9DC-4E67-9DE8-B24D236FD454}"/>
              </a:ext>
            </a:extLst>
          </p:cNvPr>
          <p:cNvSpPr/>
          <p:nvPr/>
        </p:nvSpPr>
        <p:spPr>
          <a:xfrm>
            <a:off x="6159064" y="4421769"/>
            <a:ext cx="699917" cy="379656"/>
          </a:xfrm>
          <a:custGeom>
            <a:avLst/>
            <a:gdLst>
              <a:gd name="connsiteX0" fmla="*/ 0 w 572452"/>
              <a:gd name="connsiteY0" fmla="*/ 234315 h 310515"/>
              <a:gd name="connsiteX1" fmla="*/ 572453 w 572452"/>
              <a:gd name="connsiteY1" fmla="*/ 310515 h 310515"/>
              <a:gd name="connsiteX2" fmla="*/ 388620 w 572452"/>
              <a:gd name="connsiteY2" fmla="*/ 0 h 310515"/>
            </a:gdLst>
            <a:ahLst/>
            <a:cxnLst>
              <a:cxn ang="0">
                <a:pos x="connsiteX0" y="connsiteY0"/>
              </a:cxn>
              <a:cxn ang="0">
                <a:pos x="connsiteX1" y="connsiteY1"/>
              </a:cxn>
              <a:cxn ang="0">
                <a:pos x="connsiteX2" y="connsiteY2"/>
              </a:cxn>
            </a:cxnLst>
            <a:rect l="l" t="t" r="r" b="b"/>
            <a:pathLst>
              <a:path w="572452" h="310515">
                <a:moveTo>
                  <a:pt x="0" y="234315"/>
                </a:moveTo>
                <a:lnTo>
                  <a:pt x="572453" y="310515"/>
                </a:lnTo>
                <a:lnTo>
                  <a:pt x="388620" y="0"/>
                </a:lnTo>
                <a:close/>
              </a:path>
            </a:pathLst>
          </a:custGeom>
          <a:solidFill>
            <a:schemeClr val="accent6">
              <a:lumMod val="50000"/>
            </a:scheme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6" name="Freeform: Shape 36">
            <a:extLst>
              <a:ext uri="{FF2B5EF4-FFF2-40B4-BE49-F238E27FC236}">
                <a16:creationId xmlns:a16="http://schemas.microsoft.com/office/drawing/2014/main" id="{205168A4-669D-4334-9ECB-9C88A65DD1F0}"/>
              </a:ext>
            </a:extLst>
          </p:cNvPr>
          <p:cNvSpPr/>
          <p:nvPr/>
        </p:nvSpPr>
        <p:spPr>
          <a:xfrm>
            <a:off x="6759882" y="4498276"/>
            <a:ext cx="841997" cy="379656"/>
          </a:xfrm>
          <a:custGeom>
            <a:avLst/>
            <a:gdLst>
              <a:gd name="connsiteX0" fmla="*/ 0 w 688657"/>
              <a:gd name="connsiteY0" fmla="*/ 0 h 310515"/>
              <a:gd name="connsiteX1" fmla="*/ 688658 w 688657"/>
              <a:gd name="connsiteY1" fmla="*/ 52388 h 310515"/>
              <a:gd name="connsiteX2" fmla="*/ 183833 w 688657"/>
              <a:gd name="connsiteY2" fmla="*/ 310515 h 310515"/>
            </a:gdLst>
            <a:ahLst/>
            <a:cxnLst>
              <a:cxn ang="0">
                <a:pos x="connsiteX0" y="connsiteY0"/>
              </a:cxn>
              <a:cxn ang="0">
                <a:pos x="connsiteX1" y="connsiteY1"/>
              </a:cxn>
              <a:cxn ang="0">
                <a:pos x="connsiteX2" y="connsiteY2"/>
              </a:cxn>
            </a:cxnLst>
            <a:rect l="l" t="t" r="r" b="b"/>
            <a:pathLst>
              <a:path w="688657" h="310515">
                <a:moveTo>
                  <a:pt x="0" y="0"/>
                </a:moveTo>
                <a:lnTo>
                  <a:pt x="688658" y="52388"/>
                </a:lnTo>
                <a:lnTo>
                  <a:pt x="183833" y="310515"/>
                </a:lnTo>
                <a:close/>
              </a:path>
            </a:pathLst>
          </a:custGeom>
          <a:solidFill>
            <a:schemeClr val="accent6"/>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7" name="Freeform: Shape 37">
            <a:extLst>
              <a:ext uri="{FF2B5EF4-FFF2-40B4-BE49-F238E27FC236}">
                <a16:creationId xmlns:a16="http://schemas.microsoft.com/office/drawing/2014/main" id="{1069BA96-B805-405B-B27D-9AB6838FCC2F}"/>
              </a:ext>
            </a:extLst>
          </p:cNvPr>
          <p:cNvSpPr/>
          <p:nvPr/>
        </p:nvSpPr>
        <p:spPr>
          <a:xfrm>
            <a:off x="6362867" y="2587543"/>
            <a:ext cx="521736" cy="543862"/>
          </a:xfrm>
          <a:custGeom>
            <a:avLst/>
            <a:gdLst>
              <a:gd name="connsiteX0" fmla="*/ 0 w 426720"/>
              <a:gd name="connsiteY0" fmla="*/ 42863 h 444817"/>
              <a:gd name="connsiteX1" fmla="*/ 426720 w 426720"/>
              <a:gd name="connsiteY1" fmla="*/ 0 h 444817"/>
              <a:gd name="connsiteX2" fmla="*/ 356235 w 426720"/>
              <a:gd name="connsiteY2" fmla="*/ 444817 h 444817"/>
            </a:gdLst>
            <a:ahLst/>
            <a:cxnLst>
              <a:cxn ang="0">
                <a:pos x="connsiteX0" y="connsiteY0"/>
              </a:cxn>
              <a:cxn ang="0">
                <a:pos x="connsiteX1" y="connsiteY1"/>
              </a:cxn>
              <a:cxn ang="0">
                <a:pos x="connsiteX2" y="connsiteY2"/>
              </a:cxn>
            </a:cxnLst>
            <a:rect l="l" t="t" r="r" b="b"/>
            <a:pathLst>
              <a:path w="426720" h="444817">
                <a:moveTo>
                  <a:pt x="0" y="42863"/>
                </a:moveTo>
                <a:lnTo>
                  <a:pt x="426720" y="0"/>
                </a:lnTo>
                <a:lnTo>
                  <a:pt x="356235" y="444817"/>
                </a:lnTo>
                <a:close/>
              </a:path>
            </a:pathLst>
          </a:custGeom>
          <a:solidFill>
            <a:schemeClr val="accent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8" name="Freeform: Shape 38">
            <a:extLst>
              <a:ext uri="{FF2B5EF4-FFF2-40B4-BE49-F238E27FC236}">
                <a16:creationId xmlns:a16="http://schemas.microsoft.com/office/drawing/2014/main" id="{CEAFA12A-18E5-4167-A029-421BA7C97FEE}"/>
              </a:ext>
            </a:extLst>
          </p:cNvPr>
          <p:cNvSpPr/>
          <p:nvPr/>
        </p:nvSpPr>
        <p:spPr>
          <a:xfrm>
            <a:off x="6798423" y="2587543"/>
            <a:ext cx="593938" cy="646345"/>
          </a:xfrm>
          <a:custGeom>
            <a:avLst/>
            <a:gdLst>
              <a:gd name="connsiteX0" fmla="*/ 70485 w 485774"/>
              <a:gd name="connsiteY0" fmla="*/ 0 h 528637"/>
              <a:gd name="connsiteX1" fmla="*/ 485775 w 485774"/>
              <a:gd name="connsiteY1" fmla="*/ 528638 h 528637"/>
              <a:gd name="connsiteX2" fmla="*/ 0 w 485774"/>
              <a:gd name="connsiteY2" fmla="*/ 444817 h 528637"/>
            </a:gdLst>
            <a:ahLst/>
            <a:cxnLst>
              <a:cxn ang="0">
                <a:pos x="connsiteX0" y="connsiteY0"/>
              </a:cxn>
              <a:cxn ang="0">
                <a:pos x="connsiteX1" y="connsiteY1"/>
              </a:cxn>
              <a:cxn ang="0">
                <a:pos x="connsiteX2" y="connsiteY2"/>
              </a:cxn>
            </a:cxnLst>
            <a:rect l="l" t="t" r="r" b="b"/>
            <a:pathLst>
              <a:path w="485774" h="528637">
                <a:moveTo>
                  <a:pt x="70485" y="0"/>
                </a:moveTo>
                <a:lnTo>
                  <a:pt x="485775" y="528638"/>
                </a:lnTo>
                <a:lnTo>
                  <a:pt x="0" y="444817"/>
                </a:lnTo>
                <a:close/>
              </a:path>
            </a:pathLst>
          </a:custGeom>
          <a:solidFill>
            <a:schemeClr val="accent2">
              <a:lumMod val="60000"/>
              <a:lumOff val="40000"/>
            </a:scheme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9" name="Freeform: Shape 39">
            <a:extLst>
              <a:ext uri="{FF2B5EF4-FFF2-40B4-BE49-F238E27FC236}">
                <a16:creationId xmlns:a16="http://schemas.microsoft.com/office/drawing/2014/main" id="{FED0D5EA-89D7-4618-9986-B1BC90C63198}"/>
              </a:ext>
            </a:extLst>
          </p:cNvPr>
          <p:cNvSpPr/>
          <p:nvPr/>
        </p:nvSpPr>
        <p:spPr>
          <a:xfrm>
            <a:off x="7544763" y="3335489"/>
            <a:ext cx="557837" cy="667308"/>
          </a:xfrm>
          <a:custGeom>
            <a:avLst/>
            <a:gdLst>
              <a:gd name="connsiteX0" fmla="*/ 0 w 456247"/>
              <a:gd name="connsiteY0" fmla="*/ 0 h 545782"/>
              <a:gd name="connsiteX1" fmla="*/ 456248 w 456247"/>
              <a:gd name="connsiteY1" fmla="*/ 102870 h 545782"/>
              <a:gd name="connsiteX2" fmla="*/ 424815 w 456247"/>
              <a:gd name="connsiteY2" fmla="*/ 545783 h 545782"/>
              <a:gd name="connsiteX3" fmla="*/ 235268 w 456247"/>
              <a:gd name="connsiteY3" fmla="*/ 340995 h 545782"/>
            </a:gdLst>
            <a:ahLst/>
            <a:cxnLst>
              <a:cxn ang="0">
                <a:pos x="connsiteX0" y="connsiteY0"/>
              </a:cxn>
              <a:cxn ang="0">
                <a:pos x="connsiteX1" y="connsiteY1"/>
              </a:cxn>
              <a:cxn ang="0">
                <a:pos x="connsiteX2" y="connsiteY2"/>
              </a:cxn>
              <a:cxn ang="0">
                <a:pos x="connsiteX3" y="connsiteY3"/>
              </a:cxn>
            </a:cxnLst>
            <a:rect l="l" t="t" r="r" b="b"/>
            <a:pathLst>
              <a:path w="456247" h="545782">
                <a:moveTo>
                  <a:pt x="0" y="0"/>
                </a:moveTo>
                <a:lnTo>
                  <a:pt x="456248" y="102870"/>
                </a:lnTo>
                <a:lnTo>
                  <a:pt x="424815" y="545783"/>
                </a:lnTo>
                <a:lnTo>
                  <a:pt x="235268" y="340995"/>
                </a:lnTo>
                <a:close/>
              </a:path>
            </a:pathLst>
          </a:custGeom>
          <a:solidFill>
            <a:schemeClr val="accent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40" name="Freeform: Shape 42">
            <a:extLst>
              <a:ext uri="{FF2B5EF4-FFF2-40B4-BE49-F238E27FC236}">
                <a16:creationId xmlns:a16="http://schemas.microsoft.com/office/drawing/2014/main" id="{C8D6FB91-B41E-4AC2-8110-5D6F4C7AD470}"/>
              </a:ext>
            </a:extLst>
          </p:cNvPr>
          <p:cNvSpPr/>
          <p:nvPr/>
        </p:nvSpPr>
        <p:spPr>
          <a:xfrm>
            <a:off x="4825610" y="2600353"/>
            <a:ext cx="589281" cy="557837"/>
          </a:xfrm>
          <a:custGeom>
            <a:avLst/>
            <a:gdLst>
              <a:gd name="connsiteX0" fmla="*/ 481965 w 481964"/>
              <a:gd name="connsiteY0" fmla="*/ 200025 h 456247"/>
              <a:gd name="connsiteX1" fmla="*/ 0 w 481964"/>
              <a:gd name="connsiteY1" fmla="*/ 0 h 456247"/>
              <a:gd name="connsiteX2" fmla="*/ 53340 w 481964"/>
              <a:gd name="connsiteY2" fmla="*/ 456248 h 456247"/>
            </a:gdLst>
            <a:ahLst/>
            <a:cxnLst>
              <a:cxn ang="0">
                <a:pos x="connsiteX0" y="connsiteY0"/>
              </a:cxn>
              <a:cxn ang="0">
                <a:pos x="connsiteX1" y="connsiteY1"/>
              </a:cxn>
              <a:cxn ang="0">
                <a:pos x="connsiteX2" y="connsiteY2"/>
              </a:cxn>
            </a:cxnLst>
            <a:rect l="l" t="t" r="r" b="b"/>
            <a:pathLst>
              <a:path w="481964" h="456247">
                <a:moveTo>
                  <a:pt x="481965" y="200025"/>
                </a:moveTo>
                <a:lnTo>
                  <a:pt x="0" y="0"/>
                </a:lnTo>
                <a:lnTo>
                  <a:pt x="53340" y="456248"/>
                </a:lnTo>
                <a:close/>
              </a:path>
            </a:pathLst>
          </a:custGeom>
          <a:solidFill>
            <a:schemeClr val="accent1">
              <a:lumMod val="40000"/>
              <a:lumOff val="60000"/>
            </a:scheme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41" name="Freeform: Shape 43">
            <a:extLst>
              <a:ext uri="{FF2B5EF4-FFF2-40B4-BE49-F238E27FC236}">
                <a16:creationId xmlns:a16="http://schemas.microsoft.com/office/drawing/2014/main" id="{C78C9B30-8F73-4CE9-B5CA-B0408879D7EF}"/>
              </a:ext>
            </a:extLst>
          </p:cNvPr>
          <p:cNvSpPr/>
          <p:nvPr/>
        </p:nvSpPr>
        <p:spPr>
          <a:xfrm>
            <a:off x="4222600" y="2495578"/>
            <a:ext cx="572976" cy="557837"/>
          </a:xfrm>
          <a:custGeom>
            <a:avLst/>
            <a:gdLst>
              <a:gd name="connsiteX0" fmla="*/ 415290 w 468629"/>
              <a:gd name="connsiteY0" fmla="*/ 0 h 456247"/>
              <a:gd name="connsiteX1" fmla="*/ 0 w 468629"/>
              <a:gd name="connsiteY1" fmla="*/ 311468 h 456247"/>
              <a:gd name="connsiteX2" fmla="*/ 468630 w 468629"/>
              <a:gd name="connsiteY2" fmla="*/ 456248 h 456247"/>
            </a:gdLst>
            <a:ahLst/>
            <a:cxnLst>
              <a:cxn ang="0">
                <a:pos x="connsiteX0" y="connsiteY0"/>
              </a:cxn>
              <a:cxn ang="0">
                <a:pos x="connsiteX1" y="connsiteY1"/>
              </a:cxn>
              <a:cxn ang="0">
                <a:pos x="connsiteX2" y="connsiteY2"/>
              </a:cxn>
            </a:cxnLst>
            <a:rect l="l" t="t" r="r" b="b"/>
            <a:pathLst>
              <a:path w="468629" h="456247">
                <a:moveTo>
                  <a:pt x="415290" y="0"/>
                </a:moveTo>
                <a:lnTo>
                  <a:pt x="0" y="311468"/>
                </a:lnTo>
                <a:lnTo>
                  <a:pt x="468630" y="456248"/>
                </a:lnTo>
                <a:close/>
              </a:path>
            </a:pathLst>
          </a:custGeom>
          <a:solidFill>
            <a:schemeClr val="accent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42" name="Freeform: Shape 44">
            <a:extLst>
              <a:ext uri="{FF2B5EF4-FFF2-40B4-BE49-F238E27FC236}">
                <a16:creationId xmlns:a16="http://schemas.microsoft.com/office/drawing/2014/main" id="{E5E78DB3-87CC-43AE-BD01-69F419B86E20}"/>
              </a:ext>
            </a:extLst>
          </p:cNvPr>
          <p:cNvSpPr/>
          <p:nvPr/>
        </p:nvSpPr>
        <p:spPr>
          <a:xfrm>
            <a:off x="4275925" y="2981173"/>
            <a:ext cx="614901" cy="443708"/>
          </a:xfrm>
          <a:custGeom>
            <a:avLst/>
            <a:gdLst>
              <a:gd name="connsiteX0" fmla="*/ 34290 w 502919"/>
              <a:gd name="connsiteY0" fmla="*/ 0 h 362902"/>
              <a:gd name="connsiteX1" fmla="*/ 0 w 502919"/>
              <a:gd name="connsiteY1" fmla="*/ 362903 h 362902"/>
              <a:gd name="connsiteX2" fmla="*/ 502920 w 502919"/>
              <a:gd name="connsiteY2" fmla="*/ 144780 h 362902"/>
            </a:gdLst>
            <a:ahLst/>
            <a:cxnLst>
              <a:cxn ang="0">
                <a:pos x="connsiteX0" y="connsiteY0"/>
              </a:cxn>
              <a:cxn ang="0">
                <a:pos x="connsiteX1" y="connsiteY1"/>
              </a:cxn>
              <a:cxn ang="0">
                <a:pos x="connsiteX2" y="connsiteY2"/>
              </a:cxn>
            </a:cxnLst>
            <a:rect l="l" t="t" r="r" b="b"/>
            <a:pathLst>
              <a:path w="502919" h="362902">
                <a:moveTo>
                  <a:pt x="34290" y="0"/>
                </a:moveTo>
                <a:lnTo>
                  <a:pt x="0" y="362903"/>
                </a:lnTo>
                <a:lnTo>
                  <a:pt x="502920" y="144780"/>
                </a:lnTo>
                <a:close/>
              </a:path>
            </a:pathLst>
          </a:custGeom>
          <a:solidFill>
            <a:schemeClr val="accent1">
              <a:lumMod val="75000"/>
            </a:scheme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43" name="Freeform: Shape 45">
            <a:extLst>
              <a:ext uri="{FF2B5EF4-FFF2-40B4-BE49-F238E27FC236}">
                <a16:creationId xmlns:a16="http://schemas.microsoft.com/office/drawing/2014/main" id="{D317B4B0-51D3-4245-8F3A-80D9594C877A}"/>
              </a:ext>
            </a:extLst>
          </p:cNvPr>
          <p:cNvSpPr/>
          <p:nvPr/>
        </p:nvSpPr>
        <p:spPr>
          <a:xfrm>
            <a:off x="7392363" y="2862385"/>
            <a:ext cx="557837" cy="497278"/>
          </a:xfrm>
          <a:custGeom>
            <a:avLst/>
            <a:gdLst>
              <a:gd name="connsiteX0" fmla="*/ 333375 w 456247"/>
              <a:gd name="connsiteY0" fmla="*/ 0 h 406717"/>
              <a:gd name="connsiteX1" fmla="*/ 0 w 456247"/>
              <a:gd name="connsiteY1" fmla="*/ 303848 h 406717"/>
              <a:gd name="connsiteX2" fmla="*/ 456248 w 456247"/>
              <a:gd name="connsiteY2" fmla="*/ 406718 h 406717"/>
            </a:gdLst>
            <a:ahLst/>
            <a:cxnLst>
              <a:cxn ang="0">
                <a:pos x="connsiteX0" y="connsiteY0"/>
              </a:cxn>
              <a:cxn ang="0">
                <a:pos x="connsiteX1" y="connsiteY1"/>
              </a:cxn>
              <a:cxn ang="0">
                <a:pos x="connsiteX2" y="connsiteY2"/>
              </a:cxn>
            </a:cxnLst>
            <a:rect l="l" t="t" r="r" b="b"/>
            <a:pathLst>
              <a:path w="456247" h="406717">
                <a:moveTo>
                  <a:pt x="333375" y="0"/>
                </a:moveTo>
                <a:lnTo>
                  <a:pt x="0" y="303848"/>
                </a:lnTo>
                <a:lnTo>
                  <a:pt x="456248" y="406718"/>
                </a:lnTo>
                <a:close/>
              </a:path>
            </a:pathLst>
          </a:custGeom>
          <a:solidFill>
            <a:schemeClr val="accent3">
              <a:lumMod val="75000"/>
            </a:scheme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44" name="Freeform: Shape 46">
            <a:extLst>
              <a:ext uri="{FF2B5EF4-FFF2-40B4-BE49-F238E27FC236}">
                <a16:creationId xmlns:a16="http://schemas.microsoft.com/office/drawing/2014/main" id="{3A4F30B6-B7B8-485C-9371-4C46303230C4}"/>
              </a:ext>
            </a:extLst>
          </p:cNvPr>
          <p:cNvSpPr/>
          <p:nvPr/>
        </p:nvSpPr>
        <p:spPr>
          <a:xfrm>
            <a:off x="6884603" y="2238167"/>
            <a:ext cx="915365" cy="646345"/>
          </a:xfrm>
          <a:custGeom>
            <a:avLst/>
            <a:gdLst>
              <a:gd name="connsiteX0" fmla="*/ 748665 w 748664"/>
              <a:gd name="connsiteY0" fmla="*/ 224790 h 528637"/>
              <a:gd name="connsiteX1" fmla="*/ 0 w 748664"/>
              <a:gd name="connsiteY1" fmla="*/ 0 h 528637"/>
              <a:gd name="connsiteX2" fmla="*/ 415290 w 748664"/>
              <a:gd name="connsiteY2" fmla="*/ 528638 h 528637"/>
            </a:gdLst>
            <a:ahLst/>
            <a:cxnLst>
              <a:cxn ang="0">
                <a:pos x="connsiteX0" y="connsiteY0"/>
              </a:cxn>
              <a:cxn ang="0">
                <a:pos x="connsiteX1" y="connsiteY1"/>
              </a:cxn>
              <a:cxn ang="0">
                <a:pos x="connsiteX2" y="connsiteY2"/>
              </a:cxn>
            </a:cxnLst>
            <a:rect l="l" t="t" r="r" b="b"/>
            <a:pathLst>
              <a:path w="748664" h="528637">
                <a:moveTo>
                  <a:pt x="748665" y="224790"/>
                </a:moveTo>
                <a:lnTo>
                  <a:pt x="0" y="0"/>
                </a:lnTo>
                <a:lnTo>
                  <a:pt x="415290" y="528638"/>
                </a:lnTo>
                <a:close/>
              </a:path>
            </a:pathLst>
          </a:custGeom>
          <a:solidFill>
            <a:schemeClr val="accent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nvGrpSpPr>
          <p:cNvPr id="45" name="Group 48">
            <a:extLst>
              <a:ext uri="{FF2B5EF4-FFF2-40B4-BE49-F238E27FC236}">
                <a16:creationId xmlns:a16="http://schemas.microsoft.com/office/drawing/2014/main" id="{A747FA1C-0C55-4588-AFD8-2217F577F2FD}"/>
              </a:ext>
            </a:extLst>
          </p:cNvPr>
          <p:cNvGrpSpPr/>
          <p:nvPr/>
        </p:nvGrpSpPr>
        <p:grpSpPr>
          <a:xfrm flipH="1">
            <a:off x="7371762" y="2197163"/>
            <a:ext cx="749579" cy="237758"/>
            <a:chOff x="3398226" y="2100505"/>
            <a:chExt cx="749579" cy="237758"/>
          </a:xfrm>
        </p:grpSpPr>
        <p:cxnSp>
          <p:nvCxnSpPr>
            <p:cNvPr id="46" name="Straight Connector 50">
              <a:extLst>
                <a:ext uri="{FF2B5EF4-FFF2-40B4-BE49-F238E27FC236}">
                  <a16:creationId xmlns:a16="http://schemas.microsoft.com/office/drawing/2014/main" id="{1951ED48-2230-428E-9F08-F9EC99D68AEF}"/>
                </a:ext>
              </a:extLst>
            </p:cNvPr>
            <p:cNvCxnSpPr>
              <a:cxnSpLocks/>
            </p:cNvCxnSpPr>
            <p:nvPr/>
          </p:nvCxnSpPr>
          <p:spPr>
            <a:xfrm flipH="1" flipV="1">
              <a:off x="3910047" y="2100505"/>
              <a:ext cx="237758" cy="237758"/>
            </a:xfrm>
            <a:prstGeom prst="line">
              <a:avLst/>
            </a:prstGeom>
            <a:ln w="28575">
              <a:solidFill>
                <a:schemeClr val="accent2"/>
              </a:solidFill>
              <a:headEnd type="oval"/>
            </a:ln>
          </p:spPr>
          <p:style>
            <a:lnRef idx="1">
              <a:schemeClr val="accent1"/>
            </a:lnRef>
            <a:fillRef idx="0">
              <a:schemeClr val="accent1"/>
            </a:fillRef>
            <a:effectRef idx="0">
              <a:schemeClr val="accent1"/>
            </a:effectRef>
            <a:fontRef idx="minor">
              <a:schemeClr val="tx1"/>
            </a:fontRef>
          </p:style>
        </p:cxnSp>
        <p:cxnSp>
          <p:nvCxnSpPr>
            <p:cNvPr id="47" name="Straight Connector 51">
              <a:extLst>
                <a:ext uri="{FF2B5EF4-FFF2-40B4-BE49-F238E27FC236}">
                  <a16:creationId xmlns:a16="http://schemas.microsoft.com/office/drawing/2014/main" id="{92807555-C615-4D7A-93AD-D8C8862C3CEF}"/>
                </a:ext>
              </a:extLst>
            </p:cNvPr>
            <p:cNvCxnSpPr>
              <a:cxnSpLocks/>
            </p:cNvCxnSpPr>
            <p:nvPr/>
          </p:nvCxnSpPr>
          <p:spPr>
            <a:xfrm flipH="1">
              <a:off x="3398226" y="2105266"/>
              <a:ext cx="519885" cy="0"/>
            </a:xfrm>
            <a:prstGeom prst="line">
              <a:avLst/>
            </a:prstGeom>
            <a:ln w="28575">
              <a:solidFill>
                <a:schemeClr val="accent2"/>
              </a:solidFill>
              <a:tailEnd type="oval"/>
            </a:ln>
          </p:spPr>
          <p:style>
            <a:lnRef idx="1">
              <a:schemeClr val="accent1"/>
            </a:lnRef>
            <a:fillRef idx="0">
              <a:schemeClr val="accent1"/>
            </a:fillRef>
            <a:effectRef idx="0">
              <a:schemeClr val="accent1"/>
            </a:effectRef>
            <a:fontRef idx="minor">
              <a:schemeClr val="tx1"/>
            </a:fontRef>
          </p:style>
        </p:cxnSp>
      </p:grpSp>
      <p:grpSp>
        <p:nvGrpSpPr>
          <p:cNvPr id="48" name="Group 52">
            <a:extLst>
              <a:ext uri="{FF2B5EF4-FFF2-40B4-BE49-F238E27FC236}">
                <a16:creationId xmlns:a16="http://schemas.microsoft.com/office/drawing/2014/main" id="{9756B351-8351-439A-8A7A-31982C7B152A}"/>
              </a:ext>
            </a:extLst>
          </p:cNvPr>
          <p:cNvGrpSpPr/>
          <p:nvPr/>
        </p:nvGrpSpPr>
        <p:grpSpPr>
          <a:xfrm flipV="1">
            <a:off x="3586270" y="3671666"/>
            <a:ext cx="672848" cy="279816"/>
            <a:chOff x="3517015" y="2100504"/>
            <a:chExt cx="672848" cy="279816"/>
          </a:xfrm>
        </p:grpSpPr>
        <p:cxnSp>
          <p:nvCxnSpPr>
            <p:cNvPr id="49" name="Straight Connector 53">
              <a:extLst>
                <a:ext uri="{FF2B5EF4-FFF2-40B4-BE49-F238E27FC236}">
                  <a16:creationId xmlns:a16="http://schemas.microsoft.com/office/drawing/2014/main" id="{4A24B850-D64A-43F6-8D84-117A2EE70F54}"/>
                </a:ext>
              </a:extLst>
            </p:cNvPr>
            <p:cNvCxnSpPr>
              <a:cxnSpLocks/>
            </p:cNvCxnSpPr>
            <p:nvPr/>
          </p:nvCxnSpPr>
          <p:spPr>
            <a:xfrm flipH="1" flipV="1">
              <a:off x="3910050" y="2100504"/>
              <a:ext cx="279813" cy="279816"/>
            </a:xfrm>
            <a:prstGeom prst="line">
              <a:avLst/>
            </a:prstGeom>
            <a:ln w="28575">
              <a:solidFill>
                <a:schemeClr val="accent3"/>
              </a:solidFill>
              <a:headEnd type="oval"/>
            </a:ln>
          </p:spPr>
          <p:style>
            <a:lnRef idx="1">
              <a:schemeClr val="accent1"/>
            </a:lnRef>
            <a:fillRef idx="0">
              <a:schemeClr val="accent1"/>
            </a:fillRef>
            <a:effectRef idx="0">
              <a:schemeClr val="accent1"/>
            </a:effectRef>
            <a:fontRef idx="minor">
              <a:schemeClr val="tx1"/>
            </a:fontRef>
          </p:style>
        </p:cxnSp>
        <p:cxnSp>
          <p:nvCxnSpPr>
            <p:cNvPr id="50" name="Straight Connector 54">
              <a:extLst>
                <a:ext uri="{FF2B5EF4-FFF2-40B4-BE49-F238E27FC236}">
                  <a16:creationId xmlns:a16="http://schemas.microsoft.com/office/drawing/2014/main" id="{37C54DE3-6CBC-4A8E-9401-59F16122C507}"/>
                </a:ext>
              </a:extLst>
            </p:cNvPr>
            <p:cNvCxnSpPr>
              <a:cxnSpLocks/>
            </p:cNvCxnSpPr>
            <p:nvPr/>
          </p:nvCxnSpPr>
          <p:spPr>
            <a:xfrm flipH="1" flipV="1">
              <a:off x="3517015" y="2102885"/>
              <a:ext cx="403478" cy="0"/>
            </a:xfrm>
            <a:prstGeom prst="line">
              <a:avLst/>
            </a:prstGeom>
            <a:ln w="28575">
              <a:solidFill>
                <a:schemeClr val="accent3"/>
              </a:solidFill>
              <a:tailEnd type="oval"/>
            </a:ln>
          </p:spPr>
          <p:style>
            <a:lnRef idx="1">
              <a:schemeClr val="accent1"/>
            </a:lnRef>
            <a:fillRef idx="0">
              <a:schemeClr val="accent1"/>
            </a:fillRef>
            <a:effectRef idx="0">
              <a:schemeClr val="accent1"/>
            </a:effectRef>
            <a:fontRef idx="minor">
              <a:schemeClr val="tx1"/>
            </a:fontRef>
          </p:style>
        </p:cxnSp>
      </p:grpSp>
      <p:grpSp>
        <p:nvGrpSpPr>
          <p:cNvPr id="51" name="Group 55">
            <a:extLst>
              <a:ext uri="{FF2B5EF4-FFF2-40B4-BE49-F238E27FC236}">
                <a16:creationId xmlns:a16="http://schemas.microsoft.com/office/drawing/2014/main" id="{E5EA3755-27FE-41C7-90C9-19B6E137697D}"/>
              </a:ext>
            </a:extLst>
          </p:cNvPr>
          <p:cNvGrpSpPr/>
          <p:nvPr/>
        </p:nvGrpSpPr>
        <p:grpSpPr>
          <a:xfrm>
            <a:off x="3604847" y="2391837"/>
            <a:ext cx="909420" cy="375356"/>
            <a:chOff x="3375983" y="2100505"/>
            <a:chExt cx="909420" cy="375356"/>
          </a:xfrm>
        </p:grpSpPr>
        <p:cxnSp>
          <p:nvCxnSpPr>
            <p:cNvPr id="52" name="Straight Connector 56">
              <a:extLst>
                <a:ext uri="{FF2B5EF4-FFF2-40B4-BE49-F238E27FC236}">
                  <a16:creationId xmlns:a16="http://schemas.microsoft.com/office/drawing/2014/main" id="{87FE15AB-3B46-4DB8-8C0D-C67492F4D9FC}"/>
                </a:ext>
              </a:extLst>
            </p:cNvPr>
            <p:cNvCxnSpPr>
              <a:cxnSpLocks/>
            </p:cNvCxnSpPr>
            <p:nvPr/>
          </p:nvCxnSpPr>
          <p:spPr>
            <a:xfrm flipH="1" flipV="1">
              <a:off x="3910047" y="2100505"/>
              <a:ext cx="375356" cy="375356"/>
            </a:xfrm>
            <a:prstGeom prst="line">
              <a:avLst/>
            </a:prstGeom>
            <a:ln w="28575">
              <a:solidFill>
                <a:schemeClr val="accent1"/>
              </a:solidFill>
              <a:headEnd type="oval"/>
            </a:ln>
          </p:spPr>
          <p:style>
            <a:lnRef idx="1">
              <a:schemeClr val="accent1"/>
            </a:lnRef>
            <a:fillRef idx="0">
              <a:schemeClr val="accent1"/>
            </a:fillRef>
            <a:effectRef idx="0">
              <a:schemeClr val="accent1"/>
            </a:effectRef>
            <a:fontRef idx="minor">
              <a:schemeClr val="tx1"/>
            </a:fontRef>
          </p:style>
        </p:cxnSp>
        <p:cxnSp>
          <p:nvCxnSpPr>
            <p:cNvPr id="53" name="Straight Connector 57">
              <a:extLst>
                <a:ext uri="{FF2B5EF4-FFF2-40B4-BE49-F238E27FC236}">
                  <a16:creationId xmlns:a16="http://schemas.microsoft.com/office/drawing/2014/main" id="{5963465A-A070-4A5A-BFFD-F1DDD24C6C3A}"/>
                </a:ext>
              </a:extLst>
            </p:cNvPr>
            <p:cNvCxnSpPr>
              <a:cxnSpLocks/>
            </p:cNvCxnSpPr>
            <p:nvPr/>
          </p:nvCxnSpPr>
          <p:spPr>
            <a:xfrm flipH="1">
              <a:off x="3375983" y="2105266"/>
              <a:ext cx="542130" cy="0"/>
            </a:xfrm>
            <a:prstGeom prst="line">
              <a:avLst/>
            </a:prstGeom>
            <a:ln w="28575">
              <a:solidFill>
                <a:schemeClr val="accent1"/>
              </a:solidFill>
              <a:tailEnd type="oval"/>
            </a:ln>
          </p:spPr>
          <p:style>
            <a:lnRef idx="1">
              <a:schemeClr val="accent1"/>
            </a:lnRef>
            <a:fillRef idx="0">
              <a:schemeClr val="accent1"/>
            </a:fillRef>
            <a:effectRef idx="0">
              <a:schemeClr val="accent1"/>
            </a:effectRef>
            <a:fontRef idx="minor">
              <a:schemeClr val="tx1"/>
            </a:fontRef>
          </p:style>
        </p:cxnSp>
      </p:grpSp>
      <p:grpSp>
        <p:nvGrpSpPr>
          <p:cNvPr id="54" name="Group 58">
            <a:extLst>
              <a:ext uri="{FF2B5EF4-FFF2-40B4-BE49-F238E27FC236}">
                <a16:creationId xmlns:a16="http://schemas.microsoft.com/office/drawing/2014/main" id="{46B916B6-A13E-4BF6-9834-280539449816}"/>
              </a:ext>
            </a:extLst>
          </p:cNvPr>
          <p:cNvGrpSpPr/>
          <p:nvPr/>
        </p:nvGrpSpPr>
        <p:grpSpPr>
          <a:xfrm flipH="1" flipV="1">
            <a:off x="7158706" y="4715642"/>
            <a:ext cx="766929" cy="239290"/>
            <a:chOff x="3382408" y="2100504"/>
            <a:chExt cx="766929" cy="239290"/>
          </a:xfrm>
        </p:grpSpPr>
        <p:cxnSp>
          <p:nvCxnSpPr>
            <p:cNvPr id="55" name="Straight Connector 59">
              <a:extLst>
                <a:ext uri="{FF2B5EF4-FFF2-40B4-BE49-F238E27FC236}">
                  <a16:creationId xmlns:a16="http://schemas.microsoft.com/office/drawing/2014/main" id="{DD67DA96-9999-4AE8-B02F-B3AE1E51A117}"/>
                </a:ext>
              </a:extLst>
            </p:cNvPr>
            <p:cNvCxnSpPr>
              <a:cxnSpLocks/>
            </p:cNvCxnSpPr>
            <p:nvPr/>
          </p:nvCxnSpPr>
          <p:spPr>
            <a:xfrm flipH="1" flipV="1">
              <a:off x="3910048" y="2100504"/>
              <a:ext cx="239289" cy="239290"/>
            </a:xfrm>
            <a:prstGeom prst="line">
              <a:avLst/>
            </a:prstGeom>
            <a:ln w="28575">
              <a:solidFill>
                <a:schemeClr val="accent6"/>
              </a:solidFill>
              <a:headEnd type="oval"/>
            </a:ln>
          </p:spPr>
          <p:style>
            <a:lnRef idx="1">
              <a:schemeClr val="accent1"/>
            </a:lnRef>
            <a:fillRef idx="0">
              <a:schemeClr val="accent1"/>
            </a:fillRef>
            <a:effectRef idx="0">
              <a:schemeClr val="accent1"/>
            </a:effectRef>
            <a:fontRef idx="minor">
              <a:schemeClr val="tx1"/>
            </a:fontRef>
          </p:style>
        </p:cxnSp>
        <p:cxnSp>
          <p:nvCxnSpPr>
            <p:cNvPr id="56" name="Straight Connector 60">
              <a:extLst>
                <a:ext uri="{FF2B5EF4-FFF2-40B4-BE49-F238E27FC236}">
                  <a16:creationId xmlns:a16="http://schemas.microsoft.com/office/drawing/2014/main" id="{66A139CF-13F9-416F-89E4-FB2AF1EBB3E3}"/>
                </a:ext>
              </a:extLst>
            </p:cNvPr>
            <p:cNvCxnSpPr>
              <a:cxnSpLocks/>
            </p:cNvCxnSpPr>
            <p:nvPr/>
          </p:nvCxnSpPr>
          <p:spPr>
            <a:xfrm flipH="1" flipV="1">
              <a:off x="3382408" y="2105266"/>
              <a:ext cx="535703" cy="0"/>
            </a:xfrm>
            <a:prstGeom prst="line">
              <a:avLst/>
            </a:prstGeom>
            <a:ln w="28575">
              <a:solidFill>
                <a:schemeClr val="accent6"/>
              </a:solidFill>
              <a:tailEnd type="oval"/>
            </a:ln>
          </p:spPr>
          <p:style>
            <a:lnRef idx="1">
              <a:schemeClr val="accent1"/>
            </a:lnRef>
            <a:fillRef idx="0">
              <a:schemeClr val="accent1"/>
            </a:fillRef>
            <a:effectRef idx="0">
              <a:schemeClr val="accent1"/>
            </a:effectRef>
            <a:fontRef idx="minor">
              <a:schemeClr val="tx1"/>
            </a:fontRef>
          </p:style>
        </p:cxnSp>
      </p:grpSp>
      <p:grpSp>
        <p:nvGrpSpPr>
          <p:cNvPr id="57" name="Group 61">
            <a:extLst>
              <a:ext uri="{FF2B5EF4-FFF2-40B4-BE49-F238E27FC236}">
                <a16:creationId xmlns:a16="http://schemas.microsoft.com/office/drawing/2014/main" id="{57A3FF92-F4DB-49FE-88C2-3354D6E7B9D2}"/>
              </a:ext>
            </a:extLst>
          </p:cNvPr>
          <p:cNvGrpSpPr/>
          <p:nvPr/>
        </p:nvGrpSpPr>
        <p:grpSpPr>
          <a:xfrm flipH="1">
            <a:off x="8042566" y="3371329"/>
            <a:ext cx="654390" cy="142569"/>
            <a:chOff x="3398226" y="2100505"/>
            <a:chExt cx="654390" cy="142569"/>
          </a:xfrm>
        </p:grpSpPr>
        <p:cxnSp>
          <p:nvCxnSpPr>
            <p:cNvPr id="58" name="Straight Connector 62">
              <a:extLst>
                <a:ext uri="{FF2B5EF4-FFF2-40B4-BE49-F238E27FC236}">
                  <a16:creationId xmlns:a16="http://schemas.microsoft.com/office/drawing/2014/main" id="{9E00161B-5BA3-4897-B10A-9BEE20C60682}"/>
                </a:ext>
              </a:extLst>
            </p:cNvPr>
            <p:cNvCxnSpPr>
              <a:cxnSpLocks/>
            </p:cNvCxnSpPr>
            <p:nvPr/>
          </p:nvCxnSpPr>
          <p:spPr>
            <a:xfrm flipH="1" flipV="1">
              <a:off x="3910047" y="2100505"/>
              <a:ext cx="142569" cy="142569"/>
            </a:xfrm>
            <a:prstGeom prst="line">
              <a:avLst/>
            </a:prstGeom>
            <a:ln w="28575">
              <a:solidFill>
                <a:schemeClr val="accent3"/>
              </a:solidFill>
              <a:headEnd type="oval"/>
            </a:ln>
          </p:spPr>
          <p:style>
            <a:lnRef idx="1">
              <a:schemeClr val="accent1"/>
            </a:lnRef>
            <a:fillRef idx="0">
              <a:schemeClr val="accent1"/>
            </a:fillRef>
            <a:effectRef idx="0">
              <a:schemeClr val="accent1"/>
            </a:effectRef>
            <a:fontRef idx="minor">
              <a:schemeClr val="tx1"/>
            </a:fontRef>
          </p:style>
        </p:cxnSp>
        <p:cxnSp>
          <p:nvCxnSpPr>
            <p:cNvPr id="59" name="Straight Connector 63">
              <a:extLst>
                <a:ext uri="{FF2B5EF4-FFF2-40B4-BE49-F238E27FC236}">
                  <a16:creationId xmlns:a16="http://schemas.microsoft.com/office/drawing/2014/main" id="{A308D718-B8FC-4662-B1AB-520010E8CC8B}"/>
                </a:ext>
              </a:extLst>
            </p:cNvPr>
            <p:cNvCxnSpPr>
              <a:cxnSpLocks/>
            </p:cNvCxnSpPr>
            <p:nvPr/>
          </p:nvCxnSpPr>
          <p:spPr>
            <a:xfrm flipH="1">
              <a:off x="3398226" y="2105266"/>
              <a:ext cx="519885" cy="0"/>
            </a:xfrm>
            <a:prstGeom prst="line">
              <a:avLst/>
            </a:prstGeom>
            <a:ln w="28575">
              <a:solidFill>
                <a:schemeClr val="accent3"/>
              </a:solidFill>
              <a:tailEnd type="oval"/>
            </a:ln>
          </p:spPr>
          <p:style>
            <a:lnRef idx="1">
              <a:schemeClr val="accent1"/>
            </a:lnRef>
            <a:fillRef idx="0">
              <a:schemeClr val="accent1"/>
            </a:fillRef>
            <a:effectRef idx="0">
              <a:schemeClr val="accent1"/>
            </a:effectRef>
            <a:fontRef idx="minor">
              <a:schemeClr val="tx1"/>
            </a:fontRef>
          </p:style>
        </p:cxnSp>
      </p:grpSp>
      <p:grpSp>
        <p:nvGrpSpPr>
          <p:cNvPr id="60" name="Group 64">
            <a:extLst>
              <a:ext uri="{FF2B5EF4-FFF2-40B4-BE49-F238E27FC236}">
                <a16:creationId xmlns:a16="http://schemas.microsoft.com/office/drawing/2014/main" id="{A7EF5EE4-09C0-49DF-82DF-5FCF06FC0E1A}"/>
              </a:ext>
            </a:extLst>
          </p:cNvPr>
          <p:cNvGrpSpPr/>
          <p:nvPr/>
        </p:nvGrpSpPr>
        <p:grpSpPr>
          <a:xfrm flipV="1">
            <a:off x="3792518" y="4469531"/>
            <a:ext cx="1119970" cy="758667"/>
            <a:chOff x="3548737" y="2100504"/>
            <a:chExt cx="1119970" cy="758667"/>
          </a:xfrm>
        </p:grpSpPr>
        <p:cxnSp>
          <p:nvCxnSpPr>
            <p:cNvPr id="61" name="Straight Connector 65">
              <a:extLst>
                <a:ext uri="{FF2B5EF4-FFF2-40B4-BE49-F238E27FC236}">
                  <a16:creationId xmlns:a16="http://schemas.microsoft.com/office/drawing/2014/main" id="{8E8929CB-2935-465C-A07E-A0C2EDCD5CAC}"/>
                </a:ext>
              </a:extLst>
            </p:cNvPr>
            <p:cNvCxnSpPr>
              <a:cxnSpLocks/>
            </p:cNvCxnSpPr>
            <p:nvPr/>
          </p:nvCxnSpPr>
          <p:spPr>
            <a:xfrm flipH="1" flipV="1">
              <a:off x="3910053" y="2100504"/>
              <a:ext cx="758654" cy="758667"/>
            </a:xfrm>
            <a:prstGeom prst="line">
              <a:avLst/>
            </a:prstGeom>
            <a:ln w="28575">
              <a:solidFill>
                <a:schemeClr val="accent5"/>
              </a:solidFill>
              <a:headEnd type="oval"/>
            </a:ln>
          </p:spPr>
          <p:style>
            <a:lnRef idx="1">
              <a:schemeClr val="accent1"/>
            </a:lnRef>
            <a:fillRef idx="0">
              <a:schemeClr val="accent1"/>
            </a:fillRef>
            <a:effectRef idx="0">
              <a:schemeClr val="accent1"/>
            </a:effectRef>
            <a:fontRef idx="minor">
              <a:schemeClr val="tx1"/>
            </a:fontRef>
          </p:style>
        </p:cxnSp>
        <p:cxnSp>
          <p:nvCxnSpPr>
            <p:cNvPr id="62" name="Straight Connector 66">
              <a:extLst>
                <a:ext uri="{FF2B5EF4-FFF2-40B4-BE49-F238E27FC236}">
                  <a16:creationId xmlns:a16="http://schemas.microsoft.com/office/drawing/2014/main" id="{2151068A-65B5-41CF-852B-F5A570329719}"/>
                </a:ext>
              </a:extLst>
            </p:cNvPr>
            <p:cNvCxnSpPr>
              <a:cxnSpLocks/>
            </p:cNvCxnSpPr>
            <p:nvPr/>
          </p:nvCxnSpPr>
          <p:spPr>
            <a:xfrm flipH="1" flipV="1">
              <a:off x="3548737" y="2102885"/>
              <a:ext cx="371756" cy="0"/>
            </a:xfrm>
            <a:prstGeom prst="line">
              <a:avLst/>
            </a:prstGeom>
            <a:ln w="28575">
              <a:solidFill>
                <a:schemeClr val="accent5"/>
              </a:solidFill>
              <a:tailEnd type="oval"/>
            </a:ln>
          </p:spPr>
          <p:style>
            <a:lnRef idx="1">
              <a:schemeClr val="accent1"/>
            </a:lnRef>
            <a:fillRef idx="0">
              <a:schemeClr val="accent1"/>
            </a:fillRef>
            <a:effectRef idx="0">
              <a:schemeClr val="accent1"/>
            </a:effectRef>
            <a:fontRef idx="minor">
              <a:schemeClr val="tx1"/>
            </a:fontRef>
          </p:style>
        </p:cxnSp>
      </p:grpSp>
      <p:sp>
        <p:nvSpPr>
          <p:cNvPr id="63" name="Oval 69">
            <a:extLst>
              <a:ext uri="{FF2B5EF4-FFF2-40B4-BE49-F238E27FC236}">
                <a16:creationId xmlns:a16="http://schemas.microsoft.com/office/drawing/2014/main" id="{1C726819-650D-48F0-BA60-619A00001937}"/>
              </a:ext>
            </a:extLst>
          </p:cNvPr>
          <p:cNvSpPr>
            <a:spLocks noChangeArrowheads="1"/>
          </p:cNvSpPr>
          <p:nvPr/>
        </p:nvSpPr>
        <p:spPr bwMode="auto">
          <a:xfrm>
            <a:off x="2900143" y="1931092"/>
            <a:ext cx="938914" cy="938914"/>
          </a:xfrm>
          <a:prstGeom prst="ellipse">
            <a:avLst/>
          </a:pr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24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64" name="Oval 70">
            <a:extLst>
              <a:ext uri="{FF2B5EF4-FFF2-40B4-BE49-F238E27FC236}">
                <a16:creationId xmlns:a16="http://schemas.microsoft.com/office/drawing/2014/main" id="{75252638-B709-4751-BF0C-CD51B65BA3E5}"/>
              </a:ext>
            </a:extLst>
          </p:cNvPr>
          <p:cNvSpPr>
            <a:spLocks noChangeArrowheads="1"/>
          </p:cNvSpPr>
          <p:nvPr/>
        </p:nvSpPr>
        <p:spPr bwMode="auto">
          <a:xfrm>
            <a:off x="2966184" y="3453037"/>
            <a:ext cx="938914" cy="938914"/>
          </a:xfrm>
          <a:prstGeom prst="ellipse">
            <a:avLst/>
          </a:prstGeom>
          <a:solidFill>
            <a:schemeClr val="accent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24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65" name="Oval 71">
            <a:extLst>
              <a:ext uri="{FF2B5EF4-FFF2-40B4-BE49-F238E27FC236}">
                <a16:creationId xmlns:a16="http://schemas.microsoft.com/office/drawing/2014/main" id="{8D590EA5-BF6D-43D6-ABDF-18713D307855}"/>
              </a:ext>
            </a:extLst>
          </p:cNvPr>
          <p:cNvSpPr>
            <a:spLocks noChangeArrowheads="1"/>
          </p:cNvSpPr>
          <p:nvPr/>
        </p:nvSpPr>
        <p:spPr bwMode="auto">
          <a:xfrm>
            <a:off x="2967893" y="4751426"/>
            <a:ext cx="938914" cy="938914"/>
          </a:xfrm>
          <a:prstGeom prst="ellipse">
            <a:avLst/>
          </a:prstGeom>
          <a:solidFill>
            <a:schemeClr val="accent5"/>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24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66" name="Oval 74">
            <a:extLst>
              <a:ext uri="{FF2B5EF4-FFF2-40B4-BE49-F238E27FC236}">
                <a16:creationId xmlns:a16="http://schemas.microsoft.com/office/drawing/2014/main" id="{48948A1B-9098-4F54-85C4-D677BE106198}"/>
              </a:ext>
            </a:extLst>
          </p:cNvPr>
          <p:cNvSpPr>
            <a:spLocks noChangeArrowheads="1"/>
          </p:cNvSpPr>
          <p:nvPr/>
        </p:nvSpPr>
        <p:spPr bwMode="auto">
          <a:xfrm>
            <a:off x="7973961" y="1727706"/>
            <a:ext cx="938914" cy="938914"/>
          </a:xfrm>
          <a:prstGeom prst="ellipse">
            <a:avLst/>
          </a:prstGeom>
          <a:solidFill>
            <a:schemeClr val="accent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24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67" name="Oval 75">
            <a:extLst>
              <a:ext uri="{FF2B5EF4-FFF2-40B4-BE49-F238E27FC236}">
                <a16:creationId xmlns:a16="http://schemas.microsoft.com/office/drawing/2014/main" id="{01F7D08F-5AA0-4886-87E8-70632E9CA3CF}"/>
              </a:ext>
            </a:extLst>
          </p:cNvPr>
          <p:cNvSpPr>
            <a:spLocks noChangeArrowheads="1"/>
          </p:cNvSpPr>
          <p:nvPr/>
        </p:nvSpPr>
        <p:spPr bwMode="auto">
          <a:xfrm>
            <a:off x="8535366" y="2920809"/>
            <a:ext cx="938914" cy="938914"/>
          </a:xfrm>
          <a:prstGeom prst="ellipse">
            <a:avLst/>
          </a:prstGeom>
          <a:solidFill>
            <a:schemeClr val="accent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24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68" name="Oval 76">
            <a:extLst>
              <a:ext uri="{FF2B5EF4-FFF2-40B4-BE49-F238E27FC236}">
                <a16:creationId xmlns:a16="http://schemas.microsoft.com/office/drawing/2014/main" id="{C4FD17AF-02B4-402B-9613-5F8DFBB53ADF}"/>
              </a:ext>
            </a:extLst>
          </p:cNvPr>
          <p:cNvSpPr>
            <a:spLocks noChangeArrowheads="1"/>
          </p:cNvSpPr>
          <p:nvPr/>
        </p:nvSpPr>
        <p:spPr bwMode="auto">
          <a:xfrm>
            <a:off x="7708365" y="4475340"/>
            <a:ext cx="938914" cy="938914"/>
          </a:xfrm>
          <a:prstGeom prst="ellipse">
            <a:avLst/>
          </a:prstGeom>
          <a:solidFill>
            <a:schemeClr val="accent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24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69" name="TextBox 77">
            <a:extLst>
              <a:ext uri="{FF2B5EF4-FFF2-40B4-BE49-F238E27FC236}">
                <a16:creationId xmlns:a16="http://schemas.microsoft.com/office/drawing/2014/main" id="{A3BEED17-5B7D-4BC0-A249-32F47280CE12}"/>
              </a:ext>
            </a:extLst>
          </p:cNvPr>
          <p:cNvSpPr txBox="1"/>
          <p:nvPr/>
        </p:nvSpPr>
        <p:spPr>
          <a:xfrm>
            <a:off x="8958459" y="1716761"/>
            <a:ext cx="1279517"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D" sz="1600" b="1" i="0" u="none" strike="noStrike" kern="1200" cap="none" spc="0" normalizeH="0" baseline="0" noProof="0">
                <a:ln>
                  <a:noFill/>
                </a:ln>
                <a:solidFill>
                  <a:srgbClr val="000000"/>
                </a:solidFill>
                <a:effectLst/>
                <a:uLnTx/>
                <a:uFillTx/>
                <a:latin typeface="等线 Light" panose="020F0302020204030204"/>
                <a:ea typeface="+mn-ea"/>
                <a:cs typeface="+mn-cs"/>
              </a:rPr>
              <a:t>Description</a:t>
            </a:r>
            <a:endParaRPr kumimoji="0" lang="id-ID" sz="1600" b="1" i="0" u="none" strike="noStrike" kern="1200" cap="none" spc="0" normalizeH="0" baseline="0" noProof="0" dirty="0">
              <a:ln>
                <a:noFill/>
              </a:ln>
              <a:solidFill>
                <a:srgbClr val="000000"/>
              </a:solidFill>
              <a:effectLst/>
              <a:uLnTx/>
              <a:uFillTx/>
              <a:latin typeface="等线 Light" panose="020F0302020204030204"/>
              <a:ea typeface="+mn-ea"/>
              <a:cs typeface="+mn-cs"/>
            </a:endParaRPr>
          </a:p>
        </p:txBody>
      </p:sp>
      <p:sp>
        <p:nvSpPr>
          <p:cNvPr id="70" name="TextBox 78">
            <a:extLst>
              <a:ext uri="{FF2B5EF4-FFF2-40B4-BE49-F238E27FC236}">
                <a16:creationId xmlns:a16="http://schemas.microsoft.com/office/drawing/2014/main" id="{5A2764CA-8D1F-47C6-BECF-85661E440BDF}"/>
              </a:ext>
            </a:extLst>
          </p:cNvPr>
          <p:cNvSpPr txBox="1"/>
          <p:nvPr/>
        </p:nvSpPr>
        <p:spPr>
          <a:xfrm>
            <a:off x="8958461" y="1998550"/>
            <a:ext cx="2049070" cy="616836"/>
          </a:xfrm>
          <a:prstGeom prst="rect">
            <a:avLst/>
          </a:prstGeom>
          <a:noFill/>
        </p:spPr>
        <p:txBody>
          <a:bodyPr wrap="square" rtlCol="0">
            <a:spAutoFit/>
          </a:bodyPr>
          <a:lstStyle/>
          <a:p>
            <a:pPr marL="0" marR="0" lvl="0" indent="0" algn="just" defTabSz="914400" rtl="0" eaLnBrk="1" fontAlgn="auto" latinLnBrk="0" hangingPunct="1">
              <a:lnSpc>
                <a:spcPct val="15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等线" panose="020F0502020204030204"/>
                <a:ea typeface="+mn-ea"/>
                <a:cs typeface="+mn-cs"/>
              </a:rPr>
              <a:t>sweet mornings of spring which I enjoy with my whole</a:t>
            </a:r>
            <a:endParaRPr kumimoji="0" lang="en-US" sz="1200" b="1"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71" name="TextBox 79">
            <a:extLst>
              <a:ext uri="{FF2B5EF4-FFF2-40B4-BE49-F238E27FC236}">
                <a16:creationId xmlns:a16="http://schemas.microsoft.com/office/drawing/2014/main" id="{56276C9D-E7D6-4266-8EF2-819FE57E202C}"/>
              </a:ext>
            </a:extLst>
          </p:cNvPr>
          <p:cNvSpPr txBox="1"/>
          <p:nvPr/>
        </p:nvSpPr>
        <p:spPr>
          <a:xfrm>
            <a:off x="1497628" y="1921119"/>
            <a:ext cx="1313180" cy="338554"/>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ID" sz="1600" b="1" i="0" u="none" strike="noStrike" kern="1200" cap="none" spc="0" normalizeH="0" baseline="0" noProof="0">
                <a:ln>
                  <a:noFill/>
                </a:ln>
                <a:solidFill>
                  <a:srgbClr val="000000"/>
                </a:solidFill>
                <a:effectLst/>
                <a:uLnTx/>
                <a:uFillTx/>
                <a:latin typeface="等线 Light" panose="020F0302020204030204"/>
                <a:ea typeface="+mn-ea"/>
                <a:cs typeface="+mn-cs"/>
              </a:rPr>
              <a:t>Description</a:t>
            </a:r>
            <a:endParaRPr kumimoji="0" lang="id-ID" sz="1600" b="1" i="0" u="none" strike="noStrike" kern="1200" cap="none" spc="0" normalizeH="0" baseline="0" noProof="0" dirty="0">
              <a:ln>
                <a:noFill/>
              </a:ln>
              <a:solidFill>
                <a:srgbClr val="000000"/>
              </a:solidFill>
              <a:effectLst/>
              <a:uLnTx/>
              <a:uFillTx/>
              <a:latin typeface="等线 Light" panose="020F0302020204030204"/>
              <a:ea typeface="+mn-ea"/>
              <a:cs typeface="+mn-cs"/>
            </a:endParaRPr>
          </a:p>
        </p:txBody>
      </p:sp>
      <p:sp>
        <p:nvSpPr>
          <p:cNvPr id="72" name="TextBox 80">
            <a:extLst>
              <a:ext uri="{FF2B5EF4-FFF2-40B4-BE49-F238E27FC236}">
                <a16:creationId xmlns:a16="http://schemas.microsoft.com/office/drawing/2014/main" id="{286B018F-E9F6-499B-8201-0123A3707BFC}"/>
              </a:ext>
            </a:extLst>
          </p:cNvPr>
          <p:cNvSpPr txBox="1"/>
          <p:nvPr/>
        </p:nvSpPr>
        <p:spPr>
          <a:xfrm>
            <a:off x="761738" y="2202908"/>
            <a:ext cx="2049070" cy="616836"/>
          </a:xfrm>
          <a:prstGeom prst="rect">
            <a:avLst/>
          </a:prstGeom>
          <a:noFill/>
        </p:spPr>
        <p:txBody>
          <a:bodyPr wrap="square" rtlCol="0">
            <a:spAutoFit/>
          </a:bodyPr>
          <a:lstStyle/>
          <a:p>
            <a:pPr marL="0" marR="0" lvl="0" indent="0" algn="r" defTabSz="914400" rtl="0" eaLnBrk="1" fontAlgn="auto" latinLnBrk="0" hangingPunct="1">
              <a:lnSpc>
                <a:spcPct val="15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等线" panose="020F0502020204030204"/>
                <a:ea typeface="+mn-ea"/>
                <a:cs typeface="+mn-cs"/>
              </a:rPr>
              <a:t>sweet mornings of spring which I enjoy with my whole</a:t>
            </a:r>
            <a:endParaRPr kumimoji="0" lang="en-US" sz="1200" b="1"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73" name="TextBox 82">
            <a:extLst>
              <a:ext uri="{FF2B5EF4-FFF2-40B4-BE49-F238E27FC236}">
                <a16:creationId xmlns:a16="http://schemas.microsoft.com/office/drawing/2014/main" id="{66729054-6FB7-4915-90A1-AAE5891F7A4D}"/>
              </a:ext>
            </a:extLst>
          </p:cNvPr>
          <p:cNvSpPr txBox="1"/>
          <p:nvPr/>
        </p:nvSpPr>
        <p:spPr>
          <a:xfrm>
            <a:off x="9579444" y="2880449"/>
            <a:ext cx="1279517"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D" sz="1600" b="1" i="0" u="none" strike="noStrike" kern="1200" cap="none" spc="0" normalizeH="0" baseline="0" noProof="0">
                <a:ln>
                  <a:noFill/>
                </a:ln>
                <a:solidFill>
                  <a:srgbClr val="000000"/>
                </a:solidFill>
                <a:effectLst/>
                <a:uLnTx/>
                <a:uFillTx/>
                <a:latin typeface="等线 Light" panose="020F0302020204030204"/>
                <a:ea typeface="+mn-ea"/>
                <a:cs typeface="+mn-cs"/>
              </a:rPr>
              <a:t>Description</a:t>
            </a:r>
            <a:endParaRPr kumimoji="0" lang="id-ID" sz="1600" b="1" i="0" u="none" strike="noStrike" kern="1200" cap="none" spc="0" normalizeH="0" baseline="0" noProof="0" dirty="0">
              <a:ln>
                <a:noFill/>
              </a:ln>
              <a:solidFill>
                <a:srgbClr val="000000"/>
              </a:solidFill>
              <a:effectLst/>
              <a:uLnTx/>
              <a:uFillTx/>
              <a:latin typeface="等线 Light" panose="020F0302020204030204"/>
              <a:ea typeface="+mn-ea"/>
              <a:cs typeface="+mn-cs"/>
            </a:endParaRPr>
          </a:p>
        </p:txBody>
      </p:sp>
      <p:sp>
        <p:nvSpPr>
          <p:cNvPr id="74" name="TextBox 83">
            <a:extLst>
              <a:ext uri="{FF2B5EF4-FFF2-40B4-BE49-F238E27FC236}">
                <a16:creationId xmlns:a16="http://schemas.microsoft.com/office/drawing/2014/main" id="{1318F6B6-45DC-404E-B8EC-E407C8475EC0}"/>
              </a:ext>
            </a:extLst>
          </p:cNvPr>
          <p:cNvSpPr txBox="1"/>
          <p:nvPr/>
        </p:nvSpPr>
        <p:spPr>
          <a:xfrm>
            <a:off x="9579446" y="3162238"/>
            <a:ext cx="2049070" cy="616836"/>
          </a:xfrm>
          <a:prstGeom prst="rect">
            <a:avLst/>
          </a:prstGeom>
          <a:noFill/>
        </p:spPr>
        <p:txBody>
          <a:bodyPr wrap="square" rtlCol="0">
            <a:spAutoFit/>
          </a:bodyPr>
          <a:lstStyle/>
          <a:p>
            <a:pPr marL="0" marR="0" lvl="0" indent="0" algn="just" defTabSz="914400" rtl="0" eaLnBrk="1" fontAlgn="auto" latinLnBrk="0" hangingPunct="1">
              <a:lnSpc>
                <a:spcPct val="15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等线" panose="020F0502020204030204"/>
                <a:ea typeface="+mn-ea"/>
                <a:cs typeface="+mn-cs"/>
              </a:rPr>
              <a:t>sweet mornings of spring which I enjoy with my whole</a:t>
            </a:r>
            <a:endParaRPr kumimoji="0" lang="en-US" sz="1200" b="1"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75" name="TextBox 84">
            <a:extLst>
              <a:ext uri="{FF2B5EF4-FFF2-40B4-BE49-F238E27FC236}">
                <a16:creationId xmlns:a16="http://schemas.microsoft.com/office/drawing/2014/main" id="{70BC30B6-BA98-47BE-A20D-242758D8E340}"/>
              </a:ext>
            </a:extLst>
          </p:cNvPr>
          <p:cNvSpPr txBox="1"/>
          <p:nvPr/>
        </p:nvSpPr>
        <p:spPr>
          <a:xfrm>
            <a:off x="1635645" y="3445039"/>
            <a:ext cx="1313180" cy="338554"/>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ID" sz="1600" b="1" i="0" u="none" strike="noStrike" kern="1200" cap="none" spc="0" normalizeH="0" baseline="0" noProof="0">
                <a:ln>
                  <a:noFill/>
                </a:ln>
                <a:solidFill>
                  <a:srgbClr val="000000"/>
                </a:solidFill>
                <a:effectLst/>
                <a:uLnTx/>
                <a:uFillTx/>
                <a:latin typeface="等线 Light" panose="020F0302020204030204"/>
                <a:ea typeface="+mn-ea"/>
                <a:cs typeface="+mn-cs"/>
              </a:rPr>
              <a:t>Description</a:t>
            </a:r>
            <a:endParaRPr kumimoji="0" lang="id-ID" sz="1600" b="1" i="0" u="none" strike="noStrike" kern="1200" cap="none" spc="0" normalizeH="0" baseline="0" noProof="0" dirty="0">
              <a:ln>
                <a:noFill/>
              </a:ln>
              <a:solidFill>
                <a:srgbClr val="000000"/>
              </a:solidFill>
              <a:effectLst/>
              <a:uLnTx/>
              <a:uFillTx/>
              <a:latin typeface="等线 Light" panose="020F0302020204030204"/>
              <a:ea typeface="+mn-ea"/>
              <a:cs typeface="+mn-cs"/>
            </a:endParaRPr>
          </a:p>
        </p:txBody>
      </p:sp>
      <p:sp>
        <p:nvSpPr>
          <p:cNvPr id="76" name="TextBox 85">
            <a:extLst>
              <a:ext uri="{FF2B5EF4-FFF2-40B4-BE49-F238E27FC236}">
                <a16:creationId xmlns:a16="http://schemas.microsoft.com/office/drawing/2014/main" id="{3074634D-764E-4573-99C2-E6003F8C870A}"/>
              </a:ext>
            </a:extLst>
          </p:cNvPr>
          <p:cNvSpPr txBox="1"/>
          <p:nvPr/>
        </p:nvSpPr>
        <p:spPr>
          <a:xfrm>
            <a:off x="899755" y="3726828"/>
            <a:ext cx="2049070" cy="616836"/>
          </a:xfrm>
          <a:prstGeom prst="rect">
            <a:avLst/>
          </a:prstGeom>
          <a:noFill/>
        </p:spPr>
        <p:txBody>
          <a:bodyPr wrap="square" rtlCol="0">
            <a:spAutoFit/>
          </a:bodyPr>
          <a:lstStyle/>
          <a:p>
            <a:pPr marL="0" marR="0" lvl="0" indent="0" algn="r" defTabSz="914400" rtl="0" eaLnBrk="1" fontAlgn="auto" latinLnBrk="0" hangingPunct="1">
              <a:lnSpc>
                <a:spcPct val="15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等线" panose="020F0502020204030204"/>
                <a:ea typeface="+mn-ea"/>
                <a:cs typeface="+mn-cs"/>
              </a:rPr>
              <a:t>sweet mornings of spring which I enjoy with my whole</a:t>
            </a:r>
            <a:endParaRPr kumimoji="0" lang="en-US" sz="1200" b="1"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77" name="TextBox 86">
            <a:extLst>
              <a:ext uri="{FF2B5EF4-FFF2-40B4-BE49-F238E27FC236}">
                <a16:creationId xmlns:a16="http://schemas.microsoft.com/office/drawing/2014/main" id="{0CA3501B-1E4F-4233-9C47-2611A2FC241D}"/>
              </a:ext>
            </a:extLst>
          </p:cNvPr>
          <p:cNvSpPr txBox="1"/>
          <p:nvPr/>
        </p:nvSpPr>
        <p:spPr>
          <a:xfrm>
            <a:off x="1590675" y="4759805"/>
            <a:ext cx="1313180" cy="338554"/>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ID" sz="1600" b="1" i="0" u="none" strike="noStrike" kern="1200" cap="none" spc="0" normalizeH="0" baseline="0" noProof="0">
                <a:ln>
                  <a:noFill/>
                </a:ln>
                <a:solidFill>
                  <a:srgbClr val="000000"/>
                </a:solidFill>
                <a:effectLst/>
                <a:uLnTx/>
                <a:uFillTx/>
                <a:latin typeface="等线 Light" panose="020F0302020204030204"/>
                <a:ea typeface="+mn-ea"/>
                <a:cs typeface="+mn-cs"/>
              </a:rPr>
              <a:t>Description</a:t>
            </a:r>
            <a:endParaRPr kumimoji="0" lang="id-ID" sz="1600" b="1" i="0" u="none" strike="noStrike" kern="1200" cap="none" spc="0" normalizeH="0" baseline="0" noProof="0" dirty="0">
              <a:ln>
                <a:noFill/>
              </a:ln>
              <a:solidFill>
                <a:srgbClr val="000000"/>
              </a:solidFill>
              <a:effectLst/>
              <a:uLnTx/>
              <a:uFillTx/>
              <a:latin typeface="等线 Light" panose="020F0302020204030204"/>
              <a:ea typeface="+mn-ea"/>
              <a:cs typeface="+mn-cs"/>
            </a:endParaRPr>
          </a:p>
        </p:txBody>
      </p:sp>
      <p:sp>
        <p:nvSpPr>
          <p:cNvPr id="78" name="TextBox 87">
            <a:extLst>
              <a:ext uri="{FF2B5EF4-FFF2-40B4-BE49-F238E27FC236}">
                <a16:creationId xmlns:a16="http://schemas.microsoft.com/office/drawing/2014/main" id="{C77DAED4-24C7-4F6E-B5B4-2833C105AF41}"/>
              </a:ext>
            </a:extLst>
          </p:cNvPr>
          <p:cNvSpPr txBox="1"/>
          <p:nvPr/>
        </p:nvSpPr>
        <p:spPr>
          <a:xfrm>
            <a:off x="854785" y="5041594"/>
            <a:ext cx="2049070" cy="616836"/>
          </a:xfrm>
          <a:prstGeom prst="rect">
            <a:avLst/>
          </a:prstGeom>
          <a:noFill/>
        </p:spPr>
        <p:txBody>
          <a:bodyPr wrap="square" rtlCol="0">
            <a:spAutoFit/>
          </a:bodyPr>
          <a:lstStyle/>
          <a:p>
            <a:pPr marL="0" marR="0" lvl="0" indent="0" algn="r" defTabSz="914400" rtl="0" eaLnBrk="1" fontAlgn="auto" latinLnBrk="0" hangingPunct="1">
              <a:lnSpc>
                <a:spcPct val="15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等线" panose="020F0502020204030204"/>
                <a:ea typeface="+mn-ea"/>
                <a:cs typeface="+mn-cs"/>
              </a:rPr>
              <a:t>sweet mornings of spring which I enjoy with my whole</a:t>
            </a:r>
            <a:endParaRPr kumimoji="0" lang="en-US" sz="1200" b="1"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79" name="TextBox 89">
            <a:extLst>
              <a:ext uri="{FF2B5EF4-FFF2-40B4-BE49-F238E27FC236}">
                <a16:creationId xmlns:a16="http://schemas.microsoft.com/office/drawing/2014/main" id="{F8A60CFC-A0A5-4515-B095-A81009FC6FD7}"/>
              </a:ext>
            </a:extLst>
          </p:cNvPr>
          <p:cNvSpPr txBox="1"/>
          <p:nvPr/>
        </p:nvSpPr>
        <p:spPr>
          <a:xfrm>
            <a:off x="8755790" y="4513212"/>
            <a:ext cx="1279517"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D" sz="1600" b="1" i="0" u="none" strike="noStrike" kern="1200" cap="none" spc="0" normalizeH="0" baseline="0" noProof="0">
                <a:ln>
                  <a:noFill/>
                </a:ln>
                <a:solidFill>
                  <a:srgbClr val="000000"/>
                </a:solidFill>
                <a:effectLst/>
                <a:uLnTx/>
                <a:uFillTx/>
                <a:latin typeface="等线 Light" panose="020F0302020204030204"/>
                <a:ea typeface="+mn-ea"/>
                <a:cs typeface="+mn-cs"/>
              </a:rPr>
              <a:t>Description</a:t>
            </a:r>
            <a:endParaRPr kumimoji="0" lang="id-ID" sz="1600" b="1" i="0" u="none" strike="noStrike" kern="1200" cap="none" spc="0" normalizeH="0" baseline="0" noProof="0" dirty="0">
              <a:ln>
                <a:noFill/>
              </a:ln>
              <a:solidFill>
                <a:srgbClr val="000000"/>
              </a:solidFill>
              <a:effectLst/>
              <a:uLnTx/>
              <a:uFillTx/>
              <a:latin typeface="等线 Light" panose="020F0302020204030204"/>
              <a:ea typeface="+mn-ea"/>
              <a:cs typeface="+mn-cs"/>
            </a:endParaRPr>
          </a:p>
        </p:txBody>
      </p:sp>
      <p:sp>
        <p:nvSpPr>
          <p:cNvPr id="80" name="TextBox 90">
            <a:extLst>
              <a:ext uri="{FF2B5EF4-FFF2-40B4-BE49-F238E27FC236}">
                <a16:creationId xmlns:a16="http://schemas.microsoft.com/office/drawing/2014/main" id="{24A614EC-6DCA-4AC0-BCD8-183E040E5778}"/>
              </a:ext>
            </a:extLst>
          </p:cNvPr>
          <p:cNvSpPr txBox="1"/>
          <p:nvPr/>
        </p:nvSpPr>
        <p:spPr>
          <a:xfrm>
            <a:off x="8755792" y="4795001"/>
            <a:ext cx="2049070" cy="616836"/>
          </a:xfrm>
          <a:prstGeom prst="rect">
            <a:avLst/>
          </a:prstGeom>
          <a:noFill/>
        </p:spPr>
        <p:txBody>
          <a:bodyPr wrap="square" rtlCol="0">
            <a:spAutoFit/>
          </a:bodyPr>
          <a:lstStyle/>
          <a:p>
            <a:pPr marL="0" marR="0" lvl="0" indent="0" algn="just" defTabSz="914400" rtl="0" eaLnBrk="1" fontAlgn="auto" latinLnBrk="0" hangingPunct="1">
              <a:lnSpc>
                <a:spcPct val="15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等线" panose="020F0502020204030204"/>
                <a:ea typeface="+mn-ea"/>
                <a:cs typeface="+mn-cs"/>
              </a:rPr>
              <a:t>sweet mornings of spring which I enjoy with my whole</a:t>
            </a:r>
            <a:endParaRPr kumimoji="0" lang="en-US" sz="1200" b="1"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81" name="TextBox 88">
            <a:extLst>
              <a:ext uri="{FF2B5EF4-FFF2-40B4-BE49-F238E27FC236}">
                <a16:creationId xmlns:a16="http://schemas.microsoft.com/office/drawing/2014/main" id="{3E6549AD-E22B-4135-9F05-C99BA8843AE6}"/>
              </a:ext>
            </a:extLst>
          </p:cNvPr>
          <p:cNvSpPr txBox="1"/>
          <p:nvPr/>
        </p:nvSpPr>
        <p:spPr>
          <a:xfrm>
            <a:off x="2963154" y="2169717"/>
            <a:ext cx="812892" cy="46166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F0F0F0"/>
                </a:solidFill>
                <a:effectLst/>
                <a:uLnTx/>
                <a:uFillTx/>
                <a:latin typeface="等线 Light" panose="020F0302020204030204"/>
                <a:ea typeface="+mn-ea"/>
                <a:cs typeface="+mn-cs"/>
              </a:rPr>
              <a:t>20%</a:t>
            </a:r>
          </a:p>
        </p:txBody>
      </p:sp>
      <p:sp>
        <p:nvSpPr>
          <p:cNvPr id="82" name="TextBox 91">
            <a:extLst>
              <a:ext uri="{FF2B5EF4-FFF2-40B4-BE49-F238E27FC236}">
                <a16:creationId xmlns:a16="http://schemas.microsoft.com/office/drawing/2014/main" id="{82A44CA5-4201-47F3-96BE-A25333792FEB}"/>
              </a:ext>
            </a:extLst>
          </p:cNvPr>
          <p:cNvSpPr txBox="1"/>
          <p:nvPr/>
        </p:nvSpPr>
        <p:spPr>
          <a:xfrm>
            <a:off x="3029195" y="3691662"/>
            <a:ext cx="812892" cy="46166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F0F0F0"/>
                </a:solidFill>
                <a:effectLst/>
                <a:uLnTx/>
                <a:uFillTx/>
                <a:latin typeface="等线 Light" panose="020F0302020204030204"/>
                <a:ea typeface="+mn-ea"/>
                <a:cs typeface="+mn-cs"/>
              </a:rPr>
              <a:t>15%</a:t>
            </a:r>
          </a:p>
        </p:txBody>
      </p:sp>
      <p:sp>
        <p:nvSpPr>
          <p:cNvPr id="83" name="TextBox 92">
            <a:extLst>
              <a:ext uri="{FF2B5EF4-FFF2-40B4-BE49-F238E27FC236}">
                <a16:creationId xmlns:a16="http://schemas.microsoft.com/office/drawing/2014/main" id="{17A5FD22-4D78-4C44-A38F-BCD3FE70E141}"/>
              </a:ext>
            </a:extLst>
          </p:cNvPr>
          <p:cNvSpPr txBox="1"/>
          <p:nvPr/>
        </p:nvSpPr>
        <p:spPr>
          <a:xfrm>
            <a:off x="3030904" y="4990051"/>
            <a:ext cx="812892" cy="46166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F0F0F0"/>
                </a:solidFill>
                <a:effectLst/>
                <a:uLnTx/>
                <a:uFillTx/>
                <a:latin typeface="等线 Light" panose="020F0302020204030204"/>
                <a:ea typeface="+mn-ea"/>
                <a:cs typeface="+mn-cs"/>
              </a:rPr>
              <a:t>10%</a:t>
            </a:r>
          </a:p>
        </p:txBody>
      </p:sp>
      <p:sp>
        <p:nvSpPr>
          <p:cNvPr id="84" name="TextBox 93">
            <a:extLst>
              <a:ext uri="{FF2B5EF4-FFF2-40B4-BE49-F238E27FC236}">
                <a16:creationId xmlns:a16="http://schemas.microsoft.com/office/drawing/2014/main" id="{E79D83E4-7460-406E-91E6-47F1DF803A56}"/>
              </a:ext>
            </a:extLst>
          </p:cNvPr>
          <p:cNvSpPr txBox="1"/>
          <p:nvPr/>
        </p:nvSpPr>
        <p:spPr>
          <a:xfrm>
            <a:off x="7771376" y="4713965"/>
            <a:ext cx="812892" cy="46166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F0F0F0"/>
                </a:solidFill>
                <a:effectLst/>
                <a:uLnTx/>
                <a:uFillTx/>
                <a:latin typeface="等线 Light" panose="020F0302020204030204"/>
                <a:ea typeface="+mn-ea"/>
                <a:cs typeface="+mn-cs"/>
              </a:rPr>
              <a:t>10%</a:t>
            </a:r>
          </a:p>
        </p:txBody>
      </p:sp>
      <p:sp>
        <p:nvSpPr>
          <p:cNvPr id="85" name="TextBox 94">
            <a:extLst>
              <a:ext uri="{FF2B5EF4-FFF2-40B4-BE49-F238E27FC236}">
                <a16:creationId xmlns:a16="http://schemas.microsoft.com/office/drawing/2014/main" id="{4632FFFB-A734-4148-B3EA-CD059C27518D}"/>
              </a:ext>
            </a:extLst>
          </p:cNvPr>
          <p:cNvSpPr txBox="1"/>
          <p:nvPr/>
        </p:nvSpPr>
        <p:spPr>
          <a:xfrm>
            <a:off x="8598377" y="3159434"/>
            <a:ext cx="812892" cy="46166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F0F0F0"/>
                </a:solidFill>
                <a:effectLst/>
                <a:uLnTx/>
                <a:uFillTx/>
                <a:latin typeface="等线 Light" panose="020F0302020204030204"/>
                <a:ea typeface="+mn-ea"/>
                <a:cs typeface="+mn-cs"/>
              </a:rPr>
              <a:t>15%</a:t>
            </a:r>
          </a:p>
        </p:txBody>
      </p:sp>
      <p:sp>
        <p:nvSpPr>
          <p:cNvPr id="86" name="TextBox 95">
            <a:extLst>
              <a:ext uri="{FF2B5EF4-FFF2-40B4-BE49-F238E27FC236}">
                <a16:creationId xmlns:a16="http://schemas.microsoft.com/office/drawing/2014/main" id="{5CBF70F1-D7FD-4F34-BB3D-4F8512572453}"/>
              </a:ext>
            </a:extLst>
          </p:cNvPr>
          <p:cNvSpPr txBox="1"/>
          <p:nvPr/>
        </p:nvSpPr>
        <p:spPr>
          <a:xfrm>
            <a:off x="8036972" y="1966331"/>
            <a:ext cx="812892" cy="46166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F0F0F0"/>
                </a:solidFill>
                <a:effectLst/>
                <a:uLnTx/>
                <a:uFillTx/>
                <a:latin typeface="等线 Light" panose="020F0302020204030204"/>
                <a:ea typeface="+mn-ea"/>
                <a:cs typeface="+mn-cs"/>
              </a:rPr>
              <a:t>30%</a:t>
            </a:r>
          </a:p>
        </p:txBody>
      </p:sp>
      <p:sp>
        <p:nvSpPr>
          <p:cNvPr id="87" name="Freeform: Shape 23">
            <a:extLst>
              <a:ext uri="{FF2B5EF4-FFF2-40B4-BE49-F238E27FC236}">
                <a16:creationId xmlns:a16="http://schemas.microsoft.com/office/drawing/2014/main" id="{B961D1CA-7978-471C-A32B-839A9A992D13}"/>
              </a:ext>
            </a:extLst>
          </p:cNvPr>
          <p:cNvSpPr/>
          <p:nvPr/>
        </p:nvSpPr>
        <p:spPr>
          <a:xfrm>
            <a:off x="6634215" y="3650812"/>
            <a:ext cx="1045800" cy="835009"/>
          </a:xfrm>
          <a:custGeom>
            <a:avLst/>
            <a:gdLst>
              <a:gd name="connsiteX0" fmla="*/ 0 w 855345"/>
              <a:gd name="connsiteY0" fmla="*/ 630555 h 682942"/>
              <a:gd name="connsiteX1" fmla="*/ 855345 w 855345"/>
              <a:gd name="connsiteY1" fmla="*/ 0 h 682942"/>
              <a:gd name="connsiteX2" fmla="*/ 688658 w 855345"/>
              <a:gd name="connsiteY2" fmla="*/ 682943 h 682942"/>
            </a:gdLst>
            <a:ahLst/>
            <a:cxnLst>
              <a:cxn ang="0">
                <a:pos x="connsiteX0" y="connsiteY0"/>
              </a:cxn>
              <a:cxn ang="0">
                <a:pos x="connsiteX1" y="connsiteY1"/>
              </a:cxn>
              <a:cxn ang="0">
                <a:pos x="connsiteX2" y="connsiteY2"/>
              </a:cxn>
            </a:cxnLst>
            <a:rect l="l" t="t" r="r" b="b"/>
            <a:pathLst>
              <a:path w="855345" h="682942">
                <a:moveTo>
                  <a:pt x="0" y="630555"/>
                </a:moveTo>
                <a:lnTo>
                  <a:pt x="855345" y="0"/>
                </a:lnTo>
                <a:lnTo>
                  <a:pt x="688658" y="682943"/>
                </a:lnTo>
                <a:close/>
              </a:path>
            </a:pathLst>
          </a:custGeom>
          <a:solidFill>
            <a:schemeClr val="accent6">
              <a:lumMod val="75000"/>
            </a:scheme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Tree>
    <p:extLst>
      <p:ext uri="{BB962C8B-B14F-4D97-AF65-F5344CB8AC3E}">
        <p14:creationId xmlns:p14="http://schemas.microsoft.com/office/powerpoint/2010/main" val="3038609178"/>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2"/>
                                        </p:tgtEl>
                                        <p:attrNameLst>
                                          <p:attrName>style.visibility</p:attrName>
                                        </p:attrNameLst>
                                      </p:cBhvr>
                                      <p:to>
                                        <p:strVal val="visible"/>
                                      </p:to>
                                    </p:set>
                                    <p:animEffect transition="in" filter="fade">
                                      <p:cBhvr>
                                        <p:cTn id="11" dur="500"/>
                                        <p:tgtEl>
                                          <p:spTgt spid="12"/>
                                        </p:tgtEl>
                                      </p:cBhvr>
                                    </p:animEffect>
                                  </p:childTnLst>
                                </p:cTn>
                              </p:par>
                            </p:childTnLst>
                          </p:cTn>
                        </p:par>
                        <p:par>
                          <p:cTn id="12" fill="hold">
                            <p:stCondLst>
                              <p:cond delay="1000"/>
                            </p:stCondLst>
                            <p:childTnLst>
                              <p:par>
                                <p:cTn id="13" presetID="22" presetClass="entr" presetSubtype="4" fill="hold" nodeType="afterEffect">
                                  <p:stCondLst>
                                    <p:cond delay="0"/>
                                  </p:stCondLst>
                                  <p:childTnLst>
                                    <p:set>
                                      <p:cBhvr>
                                        <p:cTn id="14" dur="1" fill="hold">
                                          <p:stCondLst>
                                            <p:cond delay="0"/>
                                          </p:stCondLst>
                                        </p:cTn>
                                        <p:tgtEl>
                                          <p:spTgt spid="3"/>
                                        </p:tgtEl>
                                        <p:attrNameLst>
                                          <p:attrName>style.visibility</p:attrName>
                                        </p:attrNameLst>
                                      </p:cBhvr>
                                      <p:to>
                                        <p:strVal val="visible"/>
                                      </p:to>
                                    </p:set>
                                    <p:animEffect transition="in" filter="wipe(down)">
                                      <p:cBhvr>
                                        <p:cTn id="15" dur="500"/>
                                        <p:tgtEl>
                                          <p:spTgt spid="3"/>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28"/>
                                        </p:tgtEl>
                                        <p:attrNameLst>
                                          <p:attrName>style.visibility</p:attrName>
                                        </p:attrNameLst>
                                      </p:cBhvr>
                                      <p:to>
                                        <p:strVal val="visible"/>
                                      </p:to>
                                    </p:set>
                                    <p:animEffect transition="in" filter="fade">
                                      <p:cBhvr>
                                        <p:cTn id="19" dur="500"/>
                                        <p:tgtEl>
                                          <p:spTgt spid="28"/>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27"/>
                                        </p:tgtEl>
                                        <p:attrNameLst>
                                          <p:attrName>style.visibility</p:attrName>
                                        </p:attrNameLst>
                                      </p:cBhvr>
                                      <p:to>
                                        <p:strVal val="visible"/>
                                      </p:to>
                                    </p:set>
                                    <p:animEffect transition="in" filter="fade">
                                      <p:cBhvr>
                                        <p:cTn id="22" dur="500"/>
                                        <p:tgtEl>
                                          <p:spTgt spid="27"/>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26"/>
                                        </p:tgtEl>
                                        <p:attrNameLst>
                                          <p:attrName>style.visibility</p:attrName>
                                        </p:attrNameLst>
                                      </p:cBhvr>
                                      <p:to>
                                        <p:strVal val="visible"/>
                                      </p:to>
                                    </p:set>
                                    <p:animEffect transition="in" filter="fade">
                                      <p:cBhvr>
                                        <p:cTn id="25" dur="500"/>
                                        <p:tgtEl>
                                          <p:spTgt spid="26"/>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25"/>
                                        </p:tgtEl>
                                        <p:attrNameLst>
                                          <p:attrName>style.visibility</p:attrName>
                                        </p:attrNameLst>
                                      </p:cBhvr>
                                      <p:to>
                                        <p:strVal val="visible"/>
                                      </p:to>
                                    </p:set>
                                    <p:animEffect transition="in" filter="fade">
                                      <p:cBhvr>
                                        <p:cTn id="28" dur="500"/>
                                        <p:tgtEl>
                                          <p:spTgt spid="25"/>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35"/>
                                        </p:tgtEl>
                                        <p:attrNameLst>
                                          <p:attrName>style.visibility</p:attrName>
                                        </p:attrNameLst>
                                      </p:cBhvr>
                                      <p:to>
                                        <p:strVal val="visible"/>
                                      </p:to>
                                    </p:set>
                                    <p:animEffect transition="in" filter="fade">
                                      <p:cBhvr>
                                        <p:cTn id="31" dur="500"/>
                                        <p:tgtEl>
                                          <p:spTgt spid="35"/>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24"/>
                                        </p:tgtEl>
                                        <p:attrNameLst>
                                          <p:attrName>style.visibility</p:attrName>
                                        </p:attrNameLst>
                                      </p:cBhvr>
                                      <p:to>
                                        <p:strVal val="visible"/>
                                      </p:to>
                                    </p:set>
                                    <p:animEffect transition="in" filter="fade">
                                      <p:cBhvr>
                                        <p:cTn id="34" dur="500"/>
                                        <p:tgtEl>
                                          <p:spTgt spid="24"/>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23"/>
                                        </p:tgtEl>
                                        <p:attrNameLst>
                                          <p:attrName>style.visibility</p:attrName>
                                        </p:attrNameLst>
                                      </p:cBhvr>
                                      <p:to>
                                        <p:strVal val="visible"/>
                                      </p:to>
                                    </p:set>
                                    <p:animEffect transition="in" filter="fade">
                                      <p:cBhvr>
                                        <p:cTn id="37" dur="500"/>
                                        <p:tgtEl>
                                          <p:spTgt spid="23"/>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87"/>
                                        </p:tgtEl>
                                        <p:attrNameLst>
                                          <p:attrName>style.visibility</p:attrName>
                                        </p:attrNameLst>
                                      </p:cBhvr>
                                      <p:to>
                                        <p:strVal val="visible"/>
                                      </p:to>
                                    </p:set>
                                    <p:animEffect transition="in" filter="fade">
                                      <p:cBhvr>
                                        <p:cTn id="40" dur="500"/>
                                        <p:tgtEl>
                                          <p:spTgt spid="87"/>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36"/>
                                        </p:tgtEl>
                                        <p:attrNameLst>
                                          <p:attrName>style.visibility</p:attrName>
                                        </p:attrNameLst>
                                      </p:cBhvr>
                                      <p:to>
                                        <p:strVal val="visible"/>
                                      </p:to>
                                    </p:set>
                                    <p:animEffect transition="in" filter="fade">
                                      <p:cBhvr>
                                        <p:cTn id="43" dur="500"/>
                                        <p:tgtEl>
                                          <p:spTgt spid="36"/>
                                        </p:tgtEl>
                                      </p:cBhvr>
                                    </p:animEffect>
                                  </p:childTnLst>
                                </p:cTn>
                              </p:par>
                              <p:par>
                                <p:cTn id="44" presetID="10" presetClass="entr" presetSubtype="0" fill="hold" grpId="0" nodeType="withEffect">
                                  <p:stCondLst>
                                    <p:cond delay="0"/>
                                  </p:stCondLst>
                                  <p:childTnLst>
                                    <p:set>
                                      <p:cBhvr>
                                        <p:cTn id="45" dur="1" fill="hold">
                                          <p:stCondLst>
                                            <p:cond delay="0"/>
                                          </p:stCondLst>
                                        </p:cTn>
                                        <p:tgtEl>
                                          <p:spTgt spid="21"/>
                                        </p:tgtEl>
                                        <p:attrNameLst>
                                          <p:attrName>style.visibility</p:attrName>
                                        </p:attrNameLst>
                                      </p:cBhvr>
                                      <p:to>
                                        <p:strVal val="visible"/>
                                      </p:to>
                                    </p:set>
                                    <p:animEffect transition="in" filter="fade">
                                      <p:cBhvr>
                                        <p:cTn id="46" dur="500"/>
                                        <p:tgtEl>
                                          <p:spTgt spid="21"/>
                                        </p:tgtEl>
                                      </p:cBhvr>
                                    </p:animEffect>
                                  </p:childTnLst>
                                </p:cTn>
                              </p:par>
                            </p:childTnLst>
                          </p:cTn>
                        </p:par>
                        <p:par>
                          <p:cTn id="47" fill="hold">
                            <p:stCondLst>
                              <p:cond delay="2000"/>
                            </p:stCondLst>
                            <p:childTnLst>
                              <p:par>
                                <p:cTn id="48" presetID="10" presetClass="entr" presetSubtype="0" fill="hold" grpId="0" nodeType="afterEffect">
                                  <p:stCondLst>
                                    <p:cond delay="0"/>
                                  </p:stCondLst>
                                  <p:childTnLst>
                                    <p:set>
                                      <p:cBhvr>
                                        <p:cTn id="49" dur="1" fill="hold">
                                          <p:stCondLst>
                                            <p:cond delay="0"/>
                                          </p:stCondLst>
                                        </p:cTn>
                                        <p:tgtEl>
                                          <p:spTgt spid="30"/>
                                        </p:tgtEl>
                                        <p:attrNameLst>
                                          <p:attrName>style.visibility</p:attrName>
                                        </p:attrNameLst>
                                      </p:cBhvr>
                                      <p:to>
                                        <p:strVal val="visible"/>
                                      </p:to>
                                    </p:set>
                                    <p:animEffect transition="in" filter="fade">
                                      <p:cBhvr>
                                        <p:cTn id="50" dur="500"/>
                                        <p:tgtEl>
                                          <p:spTgt spid="30"/>
                                        </p:tgtEl>
                                      </p:cBhvr>
                                    </p:animEffect>
                                  </p:childTnLst>
                                </p:cTn>
                              </p:par>
                              <p:par>
                                <p:cTn id="51" presetID="10" presetClass="entr" presetSubtype="0" fill="hold" grpId="0" nodeType="withEffect">
                                  <p:stCondLst>
                                    <p:cond delay="0"/>
                                  </p:stCondLst>
                                  <p:childTnLst>
                                    <p:set>
                                      <p:cBhvr>
                                        <p:cTn id="52" dur="1" fill="hold">
                                          <p:stCondLst>
                                            <p:cond delay="0"/>
                                          </p:stCondLst>
                                        </p:cTn>
                                        <p:tgtEl>
                                          <p:spTgt spid="33"/>
                                        </p:tgtEl>
                                        <p:attrNameLst>
                                          <p:attrName>style.visibility</p:attrName>
                                        </p:attrNameLst>
                                      </p:cBhvr>
                                      <p:to>
                                        <p:strVal val="visible"/>
                                      </p:to>
                                    </p:set>
                                    <p:animEffect transition="in" filter="fade">
                                      <p:cBhvr>
                                        <p:cTn id="53" dur="500"/>
                                        <p:tgtEl>
                                          <p:spTgt spid="33"/>
                                        </p:tgtEl>
                                      </p:cBhvr>
                                    </p:animEffect>
                                  </p:childTnLst>
                                </p:cTn>
                              </p:par>
                              <p:par>
                                <p:cTn id="54" presetID="10" presetClass="entr" presetSubtype="0" fill="hold" grpId="0" nodeType="withEffect">
                                  <p:stCondLst>
                                    <p:cond delay="0"/>
                                  </p:stCondLst>
                                  <p:childTnLst>
                                    <p:set>
                                      <p:cBhvr>
                                        <p:cTn id="55" dur="1" fill="hold">
                                          <p:stCondLst>
                                            <p:cond delay="0"/>
                                          </p:stCondLst>
                                        </p:cTn>
                                        <p:tgtEl>
                                          <p:spTgt spid="34"/>
                                        </p:tgtEl>
                                        <p:attrNameLst>
                                          <p:attrName>style.visibility</p:attrName>
                                        </p:attrNameLst>
                                      </p:cBhvr>
                                      <p:to>
                                        <p:strVal val="visible"/>
                                      </p:to>
                                    </p:set>
                                    <p:animEffect transition="in" filter="fade">
                                      <p:cBhvr>
                                        <p:cTn id="56" dur="500"/>
                                        <p:tgtEl>
                                          <p:spTgt spid="34"/>
                                        </p:tgtEl>
                                      </p:cBhvr>
                                    </p:animEffect>
                                  </p:childTnLst>
                                </p:cTn>
                              </p:par>
                              <p:par>
                                <p:cTn id="57" presetID="10" presetClass="entr" presetSubtype="0" fill="hold" grpId="0" nodeType="withEffect">
                                  <p:stCondLst>
                                    <p:cond delay="0"/>
                                  </p:stCondLst>
                                  <p:childTnLst>
                                    <p:set>
                                      <p:cBhvr>
                                        <p:cTn id="58" dur="1" fill="hold">
                                          <p:stCondLst>
                                            <p:cond delay="0"/>
                                          </p:stCondLst>
                                        </p:cTn>
                                        <p:tgtEl>
                                          <p:spTgt spid="22"/>
                                        </p:tgtEl>
                                        <p:attrNameLst>
                                          <p:attrName>style.visibility</p:attrName>
                                        </p:attrNameLst>
                                      </p:cBhvr>
                                      <p:to>
                                        <p:strVal val="visible"/>
                                      </p:to>
                                    </p:set>
                                    <p:animEffect transition="in" filter="fade">
                                      <p:cBhvr>
                                        <p:cTn id="59" dur="500"/>
                                        <p:tgtEl>
                                          <p:spTgt spid="22"/>
                                        </p:tgtEl>
                                      </p:cBhvr>
                                    </p:animEffect>
                                  </p:childTnLst>
                                </p:cTn>
                              </p:par>
                              <p:par>
                                <p:cTn id="60" presetID="10" presetClass="entr" presetSubtype="0" fill="hold" grpId="0" nodeType="withEffect">
                                  <p:stCondLst>
                                    <p:cond delay="0"/>
                                  </p:stCondLst>
                                  <p:childTnLst>
                                    <p:set>
                                      <p:cBhvr>
                                        <p:cTn id="61" dur="1" fill="hold">
                                          <p:stCondLst>
                                            <p:cond delay="0"/>
                                          </p:stCondLst>
                                        </p:cTn>
                                        <p:tgtEl>
                                          <p:spTgt spid="31"/>
                                        </p:tgtEl>
                                        <p:attrNameLst>
                                          <p:attrName>style.visibility</p:attrName>
                                        </p:attrNameLst>
                                      </p:cBhvr>
                                      <p:to>
                                        <p:strVal val="visible"/>
                                      </p:to>
                                    </p:set>
                                    <p:animEffect transition="in" filter="fade">
                                      <p:cBhvr>
                                        <p:cTn id="62" dur="500"/>
                                        <p:tgtEl>
                                          <p:spTgt spid="31"/>
                                        </p:tgtEl>
                                      </p:cBhvr>
                                    </p:animEffect>
                                  </p:childTnLst>
                                </p:cTn>
                              </p:par>
                            </p:childTnLst>
                          </p:cTn>
                        </p:par>
                        <p:par>
                          <p:cTn id="63" fill="hold">
                            <p:stCondLst>
                              <p:cond delay="2500"/>
                            </p:stCondLst>
                            <p:childTnLst>
                              <p:par>
                                <p:cTn id="64" presetID="10" presetClass="entr" presetSubtype="0" fill="hold" grpId="0" nodeType="afterEffect">
                                  <p:stCondLst>
                                    <p:cond delay="0"/>
                                  </p:stCondLst>
                                  <p:childTnLst>
                                    <p:set>
                                      <p:cBhvr>
                                        <p:cTn id="65" dur="1" fill="hold">
                                          <p:stCondLst>
                                            <p:cond delay="0"/>
                                          </p:stCondLst>
                                        </p:cTn>
                                        <p:tgtEl>
                                          <p:spTgt spid="42"/>
                                        </p:tgtEl>
                                        <p:attrNameLst>
                                          <p:attrName>style.visibility</p:attrName>
                                        </p:attrNameLst>
                                      </p:cBhvr>
                                      <p:to>
                                        <p:strVal val="visible"/>
                                      </p:to>
                                    </p:set>
                                    <p:animEffect transition="in" filter="fade">
                                      <p:cBhvr>
                                        <p:cTn id="66" dur="500"/>
                                        <p:tgtEl>
                                          <p:spTgt spid="42"/>
                                        </p:tgtEl>
                                      </p:cBhvr>
                                    </p:animEffect>
                                  </p:childTnLst>
                                </p:cTn>
                              </p:par>
                              <p:par>
                                <p:cTn id="67" presetID="10" presetClass="entr" presetSubtype="0" fill="hold" grpId="0" nodeType="withEffect">
                                  <p:stCondLst>
                                    <p:cond delay="0"/>
                                  </p:stCondLst>
                                  <p:childTnLst>
                                    <p:set>
                                      <p:cBhvr>
                                        <p:cTn id="68" dur="1" fill="hold">
                                          <p:stCondLst>
                                            <p:cond delay="0"/>
                                          </p:stCondLst>
                                        </p:cTn>
                                        <p:tgtEl>
                                          <p:spTgt spid="41"/>
                                        </p:tgtEl>
                                        <p:attrNameLst>
                                          <p:attrName>style.visibility</p:attrName>
                                        </p:attrNameLst>
                                      </p:cBhvr>
                                      <p:to>
                                        <p:strVal val="visible"/>
                                      </p:to>
                                    </p:set>
                                    <p:animEffect transition="in" filter="fade">
                                      <p:cBhvr>
                                        <p:cTn id="69" dur="500"/>
                                        <p:tgtEl>
                                          <p:spTgt spid="41"/>
                                        </p:tgtEl>
                                      </p:cBhvr>
                                    </p:animEffect>
                                  </p:childTnLst>
                                </p:cTn>
                              </p:par>
                              <p:par>
                                <p:cTn id="70" presetID="10" presetClass="entr" presetSubtype="0" fill="hold" grpId="0" nodeType="withEffect">
                                  <p:stCondLst>
                                    <p:cond delay="0"/>
                                  </p:stCondLst>
                                  <p:childTnLst>
                                    <p:set>
                                      <p:cBhvr>
                                        <p:cTn id="71" dur="1" fill="hold">
                                          <p:stCondLst>
                                            <p:cond delay="0"/>
                                          </p:stCondLst>
                                        </p:cTn>
                                        <p:tgtEl>
                                          <p:spTgt spid="40"/>
                                        </p:tgtEl>
                                        <p:attrNameLst>
                                          <p:attrName>style.visibility</p:attrName>
                                        </p:attrNameLst>
                                      </p:cBhvr>
                                      <p:to>
                                        <p:strVal val="visible"/>
                                      </p:to>
                                    </p:set>
                                    <p:animEffect transition="in" filter="fade">
                                      <p:cBhvr>
                                        <p:cTn id="72" dur="500"/>
                                        <p:tgtEl>
                                          <p:spTgt spid="40"/>
                                        </p:tgtEl>
                                      </p:cBhvr>
                                    </p:animEffect>
                                  </p:childTnLst>
                                </p:cTn>
                              </p:par>
                              <p:par>
                                <p:cTn id="73" presetID="10" presetClass="entr" presetSubtype="0" fill="hold" grpId="0" nodeType="withEffect">
                                  <p:stCondLst>
                                    <p:cond delay="0"/>
                                  </p:stCondLst>
                                  <p:childTnLst>
                                    <p:set>
                                      <p:cBhvr>
                                        <p:cTn id="74" dur="1" fill="hold">
                                          <p:stCondLst>
                                            <p:cond delay="0"/>
                                          </p:stCondLst>
                                        </p:cTn>
                                        <p:tgtEl>
                                          <p:spTgt spid="15"/>
                                        </p:tgtEl>
                                        <p:attrNameLst>
                                          <p:attrName>style.visibility</p:attrName>
                                        </p:attrNameLst>
                                      </p:cBhvr>
                                      <p:to>
                                        <p:strVal val="visible"/>
                                      </p:to>
                                    </p:set>
                                    <p:animEffect transition="in" filter="fade">
                                      <p:cBhvr>
                                        <p:cTn id="75" dur="500"/>
                                        <p:tgtEl>
                                          <p:spTgt spid="15"/>
                                        </p:tgtEl>
                                      </p:cBhvr>
                                    </p:animEffect>
                                  </p:childTnLst>
                                </p:cTn>
                              </p:par>
                              <p:par>
                                <p:cTn id="76" presetID="10" presetClass="entr" presetSubtype="0" fill="hold" grpId="0" nodeType="withEffect">
                                  <p:stCondLst>
                                    <p:cond delay="0"/>
                                  </p:stCondLst>
                                  <p:childTnLst>
                                    <p:set>
                                      <p:cBhvr>
                                        <p:cTn id="77" dur="1" fill="hold">
                                          <p:stCondLst>
                                            <p:cond delay="0"/>
                                          </p:stCondLst>
                                        </p:cTn>
                                        <p:tgtEl>
                                          <p:spTgt spid="16"/>
                                        </p:tgtEl>
                                        <p:attrNameLst>
                                          <p:attrName>style.visibility</p:attrName>
                                        </p:attrNameLst>
                                      </p:cBhvr>
                                      <p:to>
                                        <p:strVal val="visible"/>
                                      </p:to>
                                    </p:set>
                                    <p:animEffect transition="in" filter="fade">
                                      <p:cBhvr>
                                        <p:cTn id="78" dur="500"/>
                                        <p:tgtEl>
                                          <p:spTgt spid="16"/>
                                        </p:tgtEl>
                                      </p:cBhvr>
                                    </p:animEffect>
                                  </p:childTnLst>
                                </p:cTn>
                              </p:par>
                              <p:par>
                                <p:cTn id="79" presetID="10" presetClass="entr" presetSubtype="0" fill="hold" grpId="0" nodeType="withEffect">
                                  <p:stCondLst>
                                    <p:cond delay="0"/>
                                  </p:stCondLst>
                                  <p:childTnLst>
                                    <p:set>
                                      <p:cBhvr>
                                        <p:cTn id="80" dur="1" fill="hold">
                                          <p:stCondLst>
                                            <p:cond delay="0"/>
                                          </p:stCondLst>
                                        </p:cTn>
                                        <p:tgtEl>
                                          <p:spTgt spid="17"/>
                                        </p:tgtEl>
                                        <p:attrNameLst>
                                          <p:attrName>style.visibility</p:attrName>
                                        </p:attrNameLst>
                                      </p:cBhvr>
                                      <p:to>
                                        <p:strVal val="visible"/>
                                      </p:to>
                                    </p:set>
                                    <p:animEffect transition="in" filter="fade">
                                      <p:cBhvr>
                                        <p:cTn id="81" dur="500"/>
                                        <p:tgtEl>
                                          <p:spTgt spid="17"/>
                                        </p:tgtEl>
                                      </p:cBhvr>
                                    </p:animEffect>
                                  </p:childTnLst>
                                </p:cTn>
                              </p:par>
                            </p:childTnLst>
                          </p:cTn>
                        </p:par>
                        <p:par>
                          <p:cTn id="82" fill="hold">
                            <p:stCondLst>
                              <p:cond delay="3000"/>
                            </p:stCondLst>
                            <p:childTnLst>
                              <p:par>
                                <p:cTn id="83" presetID="10" presetClass="entr" presetSubtype="0" fill="hold" grpId="0" nodeType="afterEffect">
                                  <p:stCondLst>
                                    <p:cond delay="0"/>
                                  </p:stCondLst>
                                  <p:childTnLst>
                                    <p:set>
                                      <p:cBhvr>
                                        <p:cTn id="84" dur="1" fill="hold">
                                          <p:stCondLst>
                                            <p:cond delay="0"/>
                                          </p:stCondLst>
                                        </p:cTn>
                                        <p:tgtEl>
                                          <p:spTgt spid="18"/>
                                        </p:tgtEl>
                                        <p:attrNameLst>
                                          <p:attrName>style.visibility</p:attrName>
                                        </p:attrNameLst>
                                      </p:cBhvr>
                                      <p:to>
                                        <p:strVal val="visible"/>
                                      </p:to>
                                    </p:set>
                                    <p:animEffect transition="in" filter="fade">
                                      <p:cBhvr>
                                        <p:cTn id="85" dur="500"/>
                                        <p:tgtEl>
                                          <p:spTgt spid="18"/>
                                        </p:tgtEl>
                                      </p:cBhvr>
                                    </p:animEffect>
                                  </p:childTnLst>
                                </p:cTn>
                              </p:par>
                              <p:par>
                                <p:cTn id="86" presetID="10" presetClass="entr" presetSubtype="0" fill="hold" grpId="0" nodeType="withEffect">
                                  <p:stCondLst>
                                    <p:cond delay="0"/>
                                  </p:stCondLst>
                                  <p:childTnLst>
                                    <p:set>
                                      <p:cBhvr>
                                        <p:cTn id="87" dur="1" fill="hold">
                                          <p:stCondLst>
                                            <p:cond delay="0"/>
                                          </p:stCondLst>
                                        </p:cTn>
                                        <p:tgtEl>
                                          <p:spTgt spid="32"/>
                                        </p:tgtEl>
                                        <p:attrNameLst>
                                          <p:attrName>style.visibility</p:attrName>
                                        </p:attrNameLst>
                                      </p:cBhvr>
                                      <p:to>
                                        <p:strVal val="visible"/>
                                      </p:to>
                                    </p:set>
                                    <p:animEffect transition="in" filter="fade">
                                      <p:cBhvr>
                                        <p:cTn id="88" dur="500"/>
                                        <p:tgtEl>
                                          <p:spTgt spid="32"/>
                                        </p:tgtEl>
                                      </p:cBhvr>
                                    </p:animEffect>
                                  </p:childTnLst>
                                </p:cTn>
                              </p:par>
                              <p:par>
                                <p:cTn id="89" presetID="10" presetClass="entr" presetSubtype="0" fill="hold" grpId="0" nodeType="withEffect">
                                  <p:stCondLst>
                                    <p:cond delay="0"/>
                                  </p:stCondLst>
                                  <p:childTnLst>
                                    <p:set>
                                      <p:cBhvr>
                                        <p:cTn id="90" dur="1" fill="hold">
                                          <p:stCondLst>
                                            <p:cond delay="0"/>
                                          </p:stCondLst>
                                        </p:cTn>
                                        <p:tgtEl>
                                          <p:spTgt spid="38"/>
                                        </p:tgtEl>
                                        <p:attrNameLst>
                                          <p:attrName>style.visibility</p:attrName>
                                        </p:attrNameLst>
                                      </p:cBhvr>
                                      <p:to>
                                        <p:strVal val="visible"/>
                                      </p:to>
                                    </p:set>
                                    <p:animEffect transition="in" filter="fade">
                                      <p:cBhvr>
                                        <p:cTn id="91" dur="500"/>
                                        <p:tgtEl>
                                          <p:spTgt spid="38"/>
                                        </p:tgtEl>
                                      </p:cBhvr>
                                    </p:animEffect>
                                  </p:childTnLst>
                                </p:cTn>
                              </p:par>
                              <p:par>
                                <p:cTn id="92" presetID="10" presetClass="entr" presetSubtype="0" fill="hold" grpId="0" nodeType="withEffect">
                                  <p:stCondLst>
                                    <p:cond delay="0"/>
                                  </p:stCondLst>
                                  <p:childTnLst>
                                    <p:set>
                                      <p:cBhvr>
                                        <p:cTn id="93" dur="1" fill="hold">
                                          <p:stCondLst>
                                            <p:cond delay="0"/>
                                          </p:stCondLst>
                                        </p:cTn>
                                        <p:tgtEl>
                                          <p:spTgt spid="19"/>
                                        </p:tgtEl>
                                        <p:attrNameLst>
                                          <p:attrName>style.visibility</p:attrName>
                                        </p:attrNameLst>
                                      </p:cBhvr>
                                      <p:to>
                                        <p:strVal val="visible"/>
                                      </p:to>
                                    </p:set>
                                    <p:animEffect transition="in" filter="fade">
                                      <p:cBhvr>
                                        <p:cTn id="94" dur="500"/>
                                        <p:tgtEl>
                                          <p:spTgt spid="19"/>
                                        </p:tgtEl>
                                      </p:cBhvr>
                                    </p:animEffect>
                                  </p:childTnLst>
                                </p:cTn>
                              </p:par>
                              <p:par>
                                <p:cTn id="95" presetID="10" presetClass="entr" presetSubtype="0" fill="hold" grpId="0" nodeType="withEffect">
                                  <p:stCondLst>
                                    <p:cond delay="0"/>
                                  </p:stCondLst>
                                  <p:childTnLst>
                                    <p:set>
                                      <p:cBhvr>
                                        <p:cTn id="96" dur="1" fill="hold">
                                          <p:stCondLst>
                                            <p:cond delay="0"/>
                                          </p:stCondLst>
                                        </p:cTn>
                                        <p:tgtEl>
                                          <p:spTgt spid="44"/>
                                        </p:tgtEl>
                                        <p:attrNameLst>
                                          <p:attrName>style.visibility</p:attrName>
                                        </p:attrNameLst>
                                      </p:cBhvr>
                                      <p:to>
                                        <p:strVal val="visible"/>
                                      </p:to>
                                    </p:set>
                                    <p:animEffect transition="in" filter="fade">
                                      <p:cBhvr>
                                        <p:cTn id="97" dur="500"/>
                                        <p:tgtEl>
                                          <p:spTgt spid="44"/>
                                        </p:tgtEl>
                                      </p:cBhvr>
                                    </p:animEffect>
                                  </p:childTnLst>
                                </p:cTn>
                              </p:par>
                              <p:par>
                                <p:cTn id="98" presetID="10" presetClass="entr" presetSubtype="0" fill="hold" grpId="0" nodeType="withEffect">
                                  <p:stCondLst>
                                    <p:cond delay="0"/>
                                  </p:stCondLst>
                                  <p:childTnLst>
                                    <p:set>
                                      <p:cBhvr>
                                        <p:cTn id="99" dur="1" fill="hold">
                                          <p:stCondLst>
                                            <p:cond delay="0"/>
                                          </p:stCondLst>
                                        </p:cTn>
                                        <p:tgtEl>
                                          <p:spTgt spid="37"/>
                                        </p:tgtEl>
                                        <p:attrNameLst>
                                          <p:attrName>style.visibility</p:attrName>
                                        </p:attrNameLst>
                                      </p:cBhvr>
                                      <p:to>
                                        <p:strVal val="visible"/>
                                      </p:to>
                                    </p:set>
                                    <p:animEffect transition="in" filter="fade">
                                      <p:cBhvr>
                                        <p:cTn id="100" dur="500"/>
                                        <p:tgtEl>
                                          <p:spTgt spid="37"/>
                                        </p:tgtEl>
                                      </p:cBhvr>
                                    </p:animEffect>
                                  </p:childTnLst>
                                </p:cTn>
                              </p:par>
                            </p:childTnLst>
                          </p:cTn>
                        </p:par>
                        <p:par>
                          <p:cTn id="101" fill="hold">
                            <p:stCondLst>
                              <p:cond delay="3500"/>
                            </p:stCondLst>
                            <p:childTnLst>
                              <p:par>
                                <p:cTn id="102" presetID="10" presetClass="entr" presetSubtype="0" fill="hold" grpId="0" nodeType="afterEffect">
                                  <p:stCondLst>
                                    <p:cond delay="0"/>
                                  </p:stCondLst>
                                  <p:childTnLst>
                                    <p:set>
                                      <p:cBhvr>
                                        <p:cTn id="103" dur="1" fill="hold">
                                          <p:stCondLst>
                                            <p:cond delay="0"/>
                                          </p:stCondLst>
                                        </p:cTn>
                                        <p:tgtEl>
                                          <p:spTgt spid="20"/>
                                        </p:tgtEl>
                                        <p:attrNameLst>
                                          <p:attrName>style.visibility</p:attrName>
                                        </p:attrNameLst>
                                      </p:cBhvr>
                                      <p:to>
                                        <p:strVal val="visible"/>
                                      </p:to>
                                    </p:set>
                                    <p:animEffect transition="in" filter="fade">
                                      <p:cBhvr>
                                        <p:cTn id="104" dur="500"/>
                                        <p:tgtEl>
                                          <p:spTgt spid="20"/>
                                        </p:tgtEl>
                                      </p:cBhvr>
                                    </p:animEffect>
                                  </p:childTnLst>
                                </p:cTn>
                              </p:par>
                              <p:par>
                                <p:cTn id="105" presetID="10" presetClass="entr" presetSubtype="0" fill="hold" grpId="0" nodeType="withEffect">
                                  <p:stCondLst>
                                    <p:cond delay="0"/>
                                  </p:stCondLst>
                                  <p:childTnLst>
                                    <p:set>
                                      <p:cBhvr>
                                        <p:cTn id="106" dur="1" fill="hold">
                                          <p:stCondLst>
                                            <p:cond delay="0"/>
                                          </p:stCondLst>
                                        </p:cTn>
                                        <p:tgtEl>
                                          <p:spTgt spid="43"/>
                                        </p:tgtEl>
                                        <p:attrNameLst>
                                          <p:attrName>style.visibility</p:attrName>
                                        </p:attrNameLst>
                                      </p:cBhvr>
                                      <p:to>
                                        <p:strVal val="visible"/>
                                      </p:to>
                                    </p:set>
                                    <p:animEffect transition="in" filter="fade">
                                      <p:cBhvr>
                                        <p:cTn id="107" dur="500"/>
                                        <p:tgtEl>
                                          <p:spTgt spid="43"/>
                                        </p:tgtEl>
                                      </p:cBhvr>
                                    </p:animEffect>
                                  </p:childTnLst>
                                </p:cTn>
                              </p:par>
                              <p:par>
                                <p:cTn id="108" presetID="10" presetClass="entr" presetSubtype="0" fill="hold" grpId="0" nodeType="withEffect">
                                  <p:stCondLst>
                                    <p:cond delay="0"/>
                                  </p:stCondLst>
                                  <p:childTnLst>
                                    <p:set>
                                      <p:cBhvr>
                                        <p:cTn id="109" dur="1" fill="hold">
                                          <p:stCondLst>
                                            <p:cond delay="0"/>
                                          </p:stCondLst>
                                        </p:cTn>
                                        <p:tgtEl>
                                          <p:spTgt spid="39"/>
                                        </p:tgtEl>
                                        <p:attrNameLst>
                                          <p:attrName>style.visibility</p:attrName>
                                        </p:attrNameLst>
                                      </p:cBhvr>
                                      <p:to>
                                        <p:strVal val="visible"/>
                                      </p:to>
                                    </p:set>
                                    <p:animEffect transition="in" filter="fade">
                                      <p:cBhvr>
                                        <p:cTn id="110" dur="500"/>
                                        <p:tgtEl>
                                          <p:spTgt spid="39"/>
                                        </p:tgtEl>
                                      </p:cBhvr>
                                    </p:animEffect>
                                  </p:childTnLst>
                                </p:cTn>
                              </p:par>
                              <p:par>
                                <p:cTn id="111" presetID="10" presetClass="entr" presetSubtype="0" fill="hold" grpId="0" nodeType="withEffect">
                                  <p:stCondLst>
                                    <p:cond delay="0"/>
                                  </p:stCondLst>
                                  <p:childTnLst>
                                    <p:set>
                                      <p:cBhvr>
                                        <p:cTn id="112" dur="1" fill="hold">
                                          <p:stCondLst>
                                            <p:cond delay="0"/>
                                          </p:stCondLst>
                                        </p:cTn>
                                        <p:tgtEl>
                                          <p:spTgt spid="2"/>
                                        </p:tgtEl>
                                        <p:attrNameLst>
                                          <p:attrName>style.visibility</p:attrName>
                                        </p:attrNameLst>
                                      </p:cBhvr>
                                      <p:to>
                                        <p:strVal val="visible"/>
                                      </p:to>
                                    </p:set>
                                    <p:animEffect transition="in" filter="fade">
                                      <p:cBhvr>
                                        <p:cTn id="113" dur="500"/>
                                        <p:tgtEl>
                                          <p:spTgt spid="2"/>
                                        </p:tgtEl>
                                      </p:cBhvr>
                                    </p:animEffect>
                                  </p:childTnLst>
                                </p:cTn>
                              </p:par>
                            </p:childTnLst>
                          </p:cTn>
                        </p:par>
                        <p:par>
                          <p:cTn id="114" fill="hold">
                            <p:stCondLst>
                              <p:cond delay="4000"/>
                            </p:stCondLst>
                            <p:childTnLst>
                              <p:par>
                                <p:cTn id="115" presetID="22" presetClass="entr" presetSubtype="2" fill="hold" nodeType="afterEffect">
                                  <p:stCondLst>
                                    <p:cond delay="0"/>
                                  </p:stCondLst>
                                  <p:childTnLst>
                                    <p:set>
                                      <p:cBhvr>
                                        <p:cTn id="116" dur="1" fill="hold">
                                          <p:stCondLst>
                                            <p:cond delay="0"/>
                                          </p:stCondLst>
                                        </p:cTn>
                                        <p:tgtEl>
                                          <p:spTgt spid="60"/>
                                        </p:tgtEl>
                                        <p:attrNameLst>
                                          <p:attrName>style.visibility</p:attrName>
                                        </p:attrNameLst>
                                      </p:cBhvr>
                                      <p:to>
                                        <p:strVal val="visible"/>
                                      </p:to>
                                    </p:set>
                                    <p:animEffect transition="in" filter="wipe(right)">
                                      <p:cBhvr>
                                        <p:cTn id="117" dur="500"/>
                                        <p:tgtEl>
                                          <p:spTgt spid="60"/>
                                        </p:tgtEl>
                                      </p:cBhvr>
                                    </p:animEffect>
                                  </p:childTnLst>
                                </p:cTn>
                              </p:par>
                            </p:childTnLst>
                          </p:cTn>
                        </p:par>
                        <p:par>
                          <p:cTn id="118" fill="hold">
                            <p:stCondLst>
                              <p:cond delay="4500"/>
                            </p:stCondLst>
                            <p:childTnLst>
                              <p:par>
                                <p:cTn id="119" presetID="10" presetClass="entr" presetSubtype="0" fill="hold" grpId="0" nodeType="afterEffect">
                                  <p:stCondLst>
                                    <p:cond delay="0"/>
                                  </p:stCondLst>
                                  <p:childTnLst>
                                    <p:set>
                                      <p:cBhvr>
                                        <p:cTn id="120" dur="1" fill="hold">
                                          <p:stCondLst>
                                            <p:cond delay="0"/>
                                          </p:stCondLst>
                                        </p:cTn>
                                        <p:tgtEl>
                                          <p:spTgt spid="65"/>
                                        </p:tgtEl>
                                        <p:attrNameLst>
                                          <p:attrName>style.visibility</p:attrName>
                                        </p:attrNameLst>
                                      </p:cBhvr>
                                      <p:to>
                                        <p:strVal val="visible"/>
                                      </p:to>
                                    </p:set>
                                    <p:animEffect transition="in" filter="fade">
                                      <p:cBhvr>
                                        <p:cTn id="121" dur="500"/>
                                        <p:tgtEl>
                                          <p:spTgt spid="65"/>
                                        </p:tgtEl>
                                      </p:cBhvr>
                                    </p:animEffect>
                                  </p:childTnLst>
                                </p:cTn>
                              </p:par>
                              <p:par>
                                <p:cTn id="122" presetID="10" presetClass="entr" presetSubtype="0" fill="hold" grpId="0" nodeType="withEffect">
                                  <p:stCondLst>
                                    <p:cond delay="0"/>
                                  </p:stCondLst>
                                  <p:childTnLst>
                                    <p:set>
                                      <p:cBhvr>
                                        <p:cTn id="123" dur="1" fill="hold">
                                          <p:stCondLst>
                                            <p:cond delay="0"/>
                                          </p:stCondLst>
                                        </p:cTn>
                                        <p:tgtEl>
                                          <p:spTgt spid="83"/>
                                        </p:tgtEl>
                                        <p:attrNameLst>
                                          <p:attrName>style.visibility</p:attrName>
                                        </p:attrNameLst>
                                      </p:cBhvr>
                                      <p:to>
                                        <p:strVal val="visible"/>
                                      </p:to>
                                    </p:set>
                                    <p:animEffect transition="in" filter="fade">
                                      <p:cBhvr>
                                        <p:cTn id="124" dur="500"/>
                                        <p:tgtEl>
                                          <p:spTgt spid="83"/>
                                        </p:tgtEl>
                                      </p:cBhvr>
                                    </p:animEffect>
                                  </p:childTnLst>
                                </p:cTn>
                              </p:par>
                            </p:childTnLst>
                          </p:cTn>
                        </p:par>
                        <p:par>
                          <p:cTn id="125" fill="hold">
                            <p:stCondLst>
                              <p:cond delay="5000"/>
                            </p:stCondLst>
                            <p:childTnLst>
                              <p:par>
                                <p:cTn id="126" presetID="22" presetClass="entr" presetSubtype="2" fill="hold" grpId="0" nodeType="afterEffect">
                                  <p:stCondLst>
                                    <p:cond delay="0"/>
                                  </p:stCondLst>
                                  <p:childTnLst>
                                    <p:set>
                                      <p:cBhvr>
                                        <p:cTn id="127" dur="1" fill="hold">
                                          <p:stCondLst>
                                            <p:cond delay="0"/>
                                          </p:stCondLst>
                                        </p:cTn>
                                        <p:tgtEl>
                                          <p:spTgt spid="77"/>
                                        </p:tgtEl>
                                        <p:attrNameLst>
                                          <p:attrName>style.visibility</p:attrName>
                                        </p:attrNameLst>
                                      </p:cBhvr>
                                      <p:to>
                                        <p:strVal val="visible"/>
                                      </p:to>
                                    </p:set>
                                    <p:animEffect transition="in" filter="wipe(right)">
                                      <p:cBhvr>
                                        <p:cTn id="128" dur="500"/>
                                        <p:tgtEl>
                                          <p:spTgt spid="77"/>
                                        </p:tgtEl>
                                      </p:cBhvr>
                                    </p:animEffect>
                                  </p:childTnLst>
                                </p:cTn>
                              </p:par>
                              <p:par>
                                <p:cTn id="129" presetID="22" presetClass="entr" presetSubtype="2" fill="hold" grpId="0" nodeType="withEffect">
                                  <p:stCondLst>
                                    <p:cond delay="0"/>
                                  </p:stCondLst>
                                  <p:childTnLst>
                                    <p:set>
                                      <p:cBhvr>
                                        <p:cTn id="130" dur="1" fill="hold">
                                          <p:stCondLst>
                                            <p:cond delay="0"/>
                                          </p:stCondLst>
                                        </p:cTn>
                                        <p:tgtEl>
                                          <p:spTgt spid="78"/>
                                        </p:tgtEl>
                                        <p:attrNameLst>
                                          <p:attrName>style.visibility</p:attrName>
                                        </p:attrNameLst>
                                      </p:cBhvr>
                                      <p:to>
                                        <p:strVal val="visible"/>
                                      </p:to>
                                    </p:set>
                                    <p:animEffect transition="in" filter="wipe(right)">
                                      <p:cBhvr>
                                        <p:cTn id="131" dur="500"/>
                                        <p:tgtEl>
                                          <p:spTgt spid="78"/>
                                        </p:tgtEl>
                                      </p:cBhvr>
                                    </p:animEffect>
                                  </p:childTnLst>
                                </p:cTn>
                              </p:par>
                            </p:childTnLst>
                          </p:cTn>
                        </p:par>
                        <p:par>
                          <p:cTn id="132" fill="hold">
                            <p:stCondLst>
                              <p:cond delay="5500"/>
                            </p:stCondLst>
                            <p:childTnLst>
                              <p:par>
                                <p:cTn id="133" presetID="22" presetClass="entr" presetSubtype="2" fill="hold" nodeType="afterEffect">
                                  <p:stCondLst>
                                    <p:cond delay="0"/>
                                  </p:stCondLst>
                                  <p:childTnLst>
                                    <p:set>
                                      <p:cBhvr>
                                        <p:cTn id="134" dur="1" fill="hold">
                                          <p:stCondLst>
                                            <p:cond delay="0"/>
                                          </p:stCondLst>
                                        </p:cTn>
                                        <p:tgtEl>
                                          <p:spTgt spid="48"/>
                                        </p:tgtEl>
                                        <p:attrNameLst>
                                          <p:attrName>style.visibility</p:attrName>
                                        </p:attrNameLst>
                                      </p:cBhvr>
                                      <p:to>
                                        <p:strVal val="visible"/>
                                      </p:to>
                                    </p:set>
                                    <p:animEffect transition="in" filter="wipe(right)">
                                      <p:cBhvr>
                                        <p:cTn id="135" dur="500"/>
                                        <p:tgtEl>
                                          <p:spTgt spid="48"/>
                                        </p:tgtEl>
                                      </p:cBhvr>
                                    </p:animEffect>
                                  </p:childTnLst>
                                </p:cTn>
                              </p:par>
                            </p:childTnLst>
                          </p:cTn>
                        </p:par>
                        <p:par>
                          <p:cTn id="136" fill="hold">
                            <p:stCondLst>
                              <p:cond delay="6000"/>
                            </p:stCondLst>
                            <p:childTnLst>
                              <p:par>
                                <p:cTn id="137" presetID="10" presetClass="entr" presetSubtype="0" fill="hold" grpId="0" nodeType="afterEffect">
                                  <p:stCondLst>
                                    <p:cond delay="0"/>
                                  </p:stCondLst>
                                  <p:childTnLst>
                                    <p:set>
                                      <p:cBhvr>
                                        <p:cTn id="138" dur="1" fill="hold">
                                          <p:stCondLst>
                                            <p:cond delay="0"/>
                                          </p:stCondLst>
                                        </p:cTn>
                                        <p:tgtEl>
                                          <p:spTgt spid="64"/>
                                        </p:tgtEl>
                                        <p:attrNameLst>
                                          <p:attrName>style.visibility</p:attrName>
                                        </p:attrNameLst>
                                      </p:cBhvr>
                                      <p:to>
                                        <p:strVal val="visible"/>
                                      </p:to>
                                    </p:set>
                                    <p:animEffect transition="in" filter="fade">
                                      <p:cBhvr>
                                        <p:cTn id="139" dur="500"/>
                                        <p:tgtEl>
                                          <p:spTgt spid="64"/>
                                        </p:tgtEl>
                                      </p:cBhvr>
                                    </p:animEffect>
                                  </p:childTnLst>
                                </p:cTn>
                              </p:par>
                              <p:par>
                                <p:cTn id="140" presetID="10" presetClass="entr" presetSubtype="0" fill="hold" grpId="0" nodeType="withEffect">
                                  <p:stCondLst>
                                    <p:cond delay="0"/>
                                  </p:stCondLst>
                                  <p:childTnLst>
                                    <p:set>
                                      <p:cBhvr>
                                        <p:cTn id="141" dur="1" fill="hold">
                                          <p:stCondLst>
                                            <p:cond delay="0"/>
                                          </p:stCondLst>
                                        </p:cTn>
                                        <p:tgtEl>
                                          <p:spTgt spid="82"/>
                                        </p:tgtEl>
                                        <p:attrNameLst>
                                          <p:attrName>style.visibility</p:attrName>
                                        </p:attrNameLst>
                                      </p:cBhvr>
                                      <p:to>
                                        <p:strVal val="visible"/>
                                      </p:to>
                                    </p:set>
                                    <p:animEffect transition="in" filter="fade">
                                      <p:cBhvr>
                                        <p:cTn id="142" dur="500"/>
                                        <p:tgtEl>
                                          <p:spTgt spid="82"/>
                                        </p:tgtEl>
                                      </p:cBhvr>
                                    </p:animEffect>
                                  </p:childTnLst>
                                </p:cTn>
                              </p:par>
                            </p:childTnLst>
                          </p:cTn>
                        </p:par>
                        <p:par>
                          <p:cTn id="143" fill="hold">
                            <p:stCondLst>
                              <p:cond delay="6500"/>
                            </p:stCondLst>
                            <p:childTnLst>
                              <p:par>
                                <p:cTn id="144" presetID="22" presetClass="entr" presetSubtype="2" fill="hold" grpId="0" nodeType="afterEffect">
                                  <p:stCondLst>
                                    <p:cond delay="0"/>
                                  </p:stCondLst>
                                  <p:childTnLst>
                                    <p:set>
                                      <p:cBhvr>
                                        <p:cTn id="145" dur="1" fill="hold">
                                          <p:stCondLst>
                                            <p:cond delay="0"/>
                                          </p:stCondLst>
                                        </p:cTn>
                                        <p:tgtEl>
                                          <p:spTgt spid="75"/>
                                        </p:tgtEl>
                                        <p:attrNameLst>
                                          <p:attrName>style.visibility</p:attrName>
                                        </p:attrNameLst>
                                      </p:cBhvr>
                                      <p:to>
                                        <p:strVal val="visible"/>
                                      </p:to>
                                    </p:set>
                                    <p:animEffect transition="in" filter="wipe(right)">
                                      <p:cBhvr>
                                        <p:cTn id="146" dur="500"/>
                                        <p:tgtEl>
                                          <p:spTgt spid="75"/>
                                        </p:tgtEl>
                                      </p:cBhvr>
                                    </p:animEffect>
                                  </p:childTnLst>
                                </p:cTn>
                              </p:par>
                              <p:par>
                                <p:cTn id="147" presetID="22" presetClass="entr" presetSubtype="2" fill="hold" grpId="0" nodeType="withEffect">
                                  <p:stCondLst>
                                    <p:cond delay="0"/>
                                  </p:stCondLst>
                                  <p:childTnLst>
                                    <p:set>
                                      <p:cBhvr>
                                        <p:cTn id="148" dur="1" fill="hold">
                                          <p:stCondLst>
                                            <p:cond delay="0"/>
                                          </p:stCondLst>
                                        </p:cTn>
                                        <p:tgtEl>
                                          <p:spTgt spid="76"/>
                                        </p:tgtEl>
                                        <p:attrNameLst>
                                          <p:attrName>style.visibility</p:attrName>
                                        </p:attrNameLst>
                                      </p:cBhvr>
                                      <p:to>
                                        <p:strVal val="visible"/>
                                      </p:to>
                                    </p:set>
                                    <p:animEffect transition="in" filter="wipe(right)">
                                      <p:cBhvr>
                                        <p:cTn id="149" dur="500"/>
                                        <p:tgtEl>
                                          <p:spTgt spid="76"/>
                                        </p:tgtEl>
                                      </p:cBhvr>
                                    </p:animEffect>
                                  </p:childTnLst>
                                </p:cTn>
                              </p:par>
                            </p:childTnLst>
                          </p:cTn>
                        </p:par>
                        <p:par>
                          <p:cTn id="150" fill="hold">
                            <p:stCondLst>
                              <p:cond delay="7000"/>
                            </p:stCondLst>
                            <p:childTnLst>
                              <p:par>
                                <p:cTn id="151" presetID="22" presetClass="entr" presetSubtype="2" fill="hold" nodeType="afterEffect">
                                  <p:stCondLst>
                                    <p:cond delay="0"/>
                                  </p:stCondLst>
                                  <p:childTnLst>
                                    <p:set>
                                      <p:cBhvr>
                                        <p:cTn id="152" dur="1" fill="hold">
                                          <p:stCondLst>
                                            <p:cond delay="0"/>
                                          </p:stCondLst>
                                        </p:cTn>
                                        <p:tgtEl>
                                          <p:spTgt spid="51"/>
                                        </p:tgtEl>
                                        <p:attrNameLst>
                                          <p:attrName>style.visibility</p:attrName>
                                        </p:attrNameLst>
                                      </p:cBhvr>
                                      <p:to>
                                        <p:strVal val="visible"/>
                                      </p:to>
                                    </p:set>
                                    <p:animEffect transition="in" filter="wipe(right)">
                                      <p:cBhvr>
                                        <p:cTn id="153" dur="500"/>
                                        <p:tgtEl>
                                          <p:spTgt spid="51"/>
                                        </p:tgtEl>
                                      </p:cBhvr>
                                    </p:animEffect>
                                  </p:childTnLst>
                                </p:cTn>
                              </p:par>
                            </p:childTnLst>
                          </p:cTn>
                        </p:par>
                        <p:par>
                          <p:cTn id="154" fill="hold">
                            <p:stCondLst>
                              <p:cond delay="7500"/>
                            </p:stCondLst>
                            <p:childTnLst>
                              <p:par>
                                <p:cTn id="155" presetID="10" presetClass="entr" presetSubtype="0" fill="hold" grpId="0" nodeType="afterEffect">
                                  <p:stCondLst>
                                    <p:cond delay="0"/>
                                  </p:stCondLst>
                                  <p:childTnLst>
                                    <p:set>
                                      <p:cBhvr>
                                        <p:cTn id="156" dur="1" fill="hold">
                                          <p:stCondLst>
                                            <p:cond delay="0"/>
                                          </p:stCondLst>
                                        </p:cTn>
                                        <p:tgtEl>
                                          <p:spTgt spid="63"/>
                                        </p:tgtEl>
                                        <p:attrNameLst>
                                          <p:attrName>style.visibility</p:attrName>
                                        </p:attrNameLst>
                                      </p:cBhvr>
                                      <p:to>
                                        <p:strVal val="visible"/>
                                      </p:to>
                                    </p:set>
                                    <p:animEffect transition="in" filter="fade">
                                      <p:cBhvr>
                                        <p:cTn id="157" dur="500"/>
                                        <p:tgtEl>
                                          <p:spTgt spid="63"/>
                                        </p:tgtEl>
                                      </p:cBhvr>
                                    </p:animEffect>
                                  </p:childTnLst>
                                </p:cTn>
                              </p:par>
                              <p:par>
                                <p:cTn id="158" presetID="10" presetClass="entr" presetSubtype="0" fill="hold" grpId="0" nodeType="withEffect">
                                  <p:stCondLst>
                                    <p:cond delay="0"/>
                                  </p:stCondLst>
                                  <p:childTnLst>
                                    <p:set>
                                      <p:cBhvr>
                                        <p:cTn id="159" dur="1" fill="hold">
                                          <p:stCondLst>
                                            <p:cond delay="0"/>
                                          </p:stCondLst>
                                        </p:cTn>
                                        <p:tgtEl>
                                          <p:spTgt spid="81"/>
                                        </p:tgtEl>
                                        <p:attrNameLst>
                                          <p:attrName>style.visibility</p:attrName>
                                        </p:attrNameLst>
                                      </p:cBhvr>
                                      <p:to>
                                        <p:strVal val="visible"/>
                                      </p:to>
                                    </p:set>
                                    <p:animEffect transition="in" filter="fade">
                                      <p:cBhvr>
                                        <p:cTn id="160" dur="500"/>
                                        <p:tgtEl>
                                          <p:spTgt spid="81"/>
                                        </p:tgtEl>
                                      </p:cBhvr>
                                    </p:animEffect>
                                  </p:childTnLst>
                                </p:cTn>
                              </p:par>
                            </p:childTnLst>
                          </p:cTn>
                        </p:par>
                        <p:par>
                          <p:cTn id="161" fill="hold">
                            <p:stCondLst>
                              <p:cond delay="8000"/>
                            </p:stCondLst>
                            <p:childTnLst>
                              <p:par>
                                <p:cTn id="162" presetID="22" presetClass="entr" presetSubtype="2" fill="hold" grpId="0" nodeType="afterEffect">
                                  <p:stCondLst>
                                    <p:cond delay="0"/>
                                  </p:stCondLst>
                                  <p:childTnLst>
                                    <p:set>
                                      <p:cBhvr>
                                        <p:cTn id="163" dur="1" fill="hold">
                                          <p:stCondLst>
                                            <p:cond delay="0"/>
                                          </p:stCondLst>
                                        </p:cTn>
                                        <p:tgtEl>
                                          <p:spTgt spid="71"/>
                                        </p:tgtEl>
                                        <p:attrNameLst>
                                          <p:attrName>style.visibility</p:attrName>
                                        </p:attrNameLst>
                                      </p:cBhvr>
                                      <p:to>
                                        <p:strVal val="visible"/>
                                      </p:to>
                                    </p:set>
                                    <p:animEffect transition="in" filter="wipe(right)">
                                      <p:cBhvr>
                                        <p:cTn id="164" dur="500"/>
                                        <p:tgtEl>
                                          <p:spTgt spid="71"/>
                                        </p:tgtEl>
                                      </p:cBhvr>
                                    </p:animEffect>
                                  </p:childTnLst>
                                </p:cTn>
                              </p:par>
                              <p:par>
                                <p:cTn id="165" presetID="22" presetClass="entr" presetSubtype="2" fill="hold" grpId="0" nodeType="withEffect">
                                  <p:stCondLst>
                                    <p:cond delay="0"/>
                                  </p:stCondLst>
                                  <p:childTnLst>
                                    <p:set>
                                      <p:cBhvr>
                                        <p:cTn id="166" dur="1" fill="hold">
                                          <p:stCondLst>
                                            <p:cond delay="0"/>
                                          </p:stCondLst>
                                        </p:cTn>
                                        <p:tgtEl>
                                          <p:spTgt spid="72"/>
                                        </p:tgtEl>
                                        <p:attrNameLst>
                                          <p:attrName>style.visibility</p:attrName>
                                        </p:attrNameLst>
                                      </p:cBhvr>
                                      <p:to>
                                        <p:strVal val="visible"/>
                                      </p:to>
                                    </p:set>
                                    <p:animEffect transition="in" filter="wipe(right)">
                                      <p:cBhvr>
                                        <p:cTn id="167" dur="500"/>
                                        <p:tgtEl>
                                          <p:spTgt spid="72"/>
                                        </p:tgtEl>
                                      </p:cBhvr>
                                    </p:animEffect>
                                  </p:childTnLst>
                                </p:cTn>
                              </p:par>
                            </p:childTnLst>
                          </p:cTn>
                        </p:par>
                        <p:par>
                          <p:cTn id="168" fill="hold">
                            <p:stCondLst>
                              <p:cond delay="8500"/>
                            </p:stCondLst>
                            <p:childTnLst>
                              <p:par>
                                <p:cTn id="169" presetID="22" presetClass="entr" presetSubtype="8" fill="hold" nodeType="afterEffect">
                                  <p:stCondLst>
                                    <p:cond delay="0"/>
                                  </p:stCondLst>
                                  <p:childTnLst>
                                    <p:set>
                                      <p:cBhvr>
                                        <p:cTn id="170" dur="1" fill="hold">
                                          <p:stCondLst>
                                            <p:cond delay="0"/>
                                          </p:stCondLst>
                                        </p:cTn>
                                        <p:tgtEl>
                                          <p:spTgt spid="45"/>
                                        </p:tgtEl>
                                        <p:attrNameLst>
                                          <p:attrName>style.visibility</p:attrName>
                                        </p:attrNameLst>
                                      </p:cBhvr>
                                      <p:to>
                                        <p:strVal val="visible"/>
                                      </p:to>
                                    </p:set>
                                    <p:animEffect transition="in" filter="wipe(left)">
                                      <p:cBhvr>
                                        <p:cTn id="171" dur="500"/>
                                        <p:tgtEl>
                                          <p:spTgt spid="45"/>
                                        </p:tgtEl>
                                      </p:cBhvr>
                                    </p:animEffect>
                                  </p:childTnLst>
                                </p:cTn>
                              </p:par>
                            </p:childTnLst>
                          </p:cTn>
                        </p:par>
                        <p:par>
                          <p:cTn id="172" fill="hold">
                            <p:stCondLst>
                              <p:cond delay="9000"/>
                            </p:stCondLst>
                            <p:childTnLst>
                              <p:par>
                                <p:cTn id="173" presetID="10" presetClass="entr" presetSubtype="0" fill="hold" grpId="0" nodeType="afterEffect">
                                  <p:stCondLst>
                                    <p:cond delay="0"/>
                                  </p:stCondLst>
                                  <p:childTnLst>
                                    <p:set>
                                      <p:cBhvr>
                                        <p:cTn id="174" dur="1" fill="hold">
                                          <p:stCondLst>
                                            <p:cond delay="0"/>
                                          </p:stCondLst>
                                        </p:cTn>
                                        <p:tgtEl>
                                          <p:spTgt spid="66"/>
                                        </p:tgtEl>
                                        <p:attrNameLst>
                                          <p:attrName>style.visibility</p:attrName>
                                        </p:attrNameLst>
                                      </p:cBhvr>
                                      <p:to>
                                        <p:strVal val="visible"/>
                                      </p:to>
                                    </p:set>
                                    <p:animEffect transition="in" filter="fade">
                                      <p:cBhvr>
                                        <p:cTn id="175" dur="500"/>
                                        <p:tgtEl>
                                          <p:spTgt spid="66"/>
                                        </p:tgtEl>
                                      </p:cBhvr>
                                    </p:animEffect>
                                  </p:childTnLst>
                                </p:cTn>
                              </p:par>
                              <p:par>
                                <p:cTn id="176" presetID="10" presetClass="entr" presetSubtype="0" fill="hold" grpId="0" nodeType="withEffect">
                                  <p:stCondLst>
                                    <p:cond delay="0"/>
                                  </p:stCondLst>
                                  <p:childTnLst>
                                    <p:set>
                                      <p:cBhvr>
                                        <p:cTn id="177" dur="1" fill="hold">
                                          <p:stCondLst>
                                            <p:cond delay="0"/>
                                          </p:stCondLst>
                                        </p:cTn>
                                        <p:tgtEl>
                                          <p:spTgt spid="86"/>
                                        </p:tgtEl>
                                        <p:attrNameLst>
                                          <p:attrName>style.visibility</p:attrName>
                                        </p:attrNameLst>
                                      </p:cBhvr>
                                      <p:to>
                                        <p:strVal val="visible"/>
                                      </p:to>
                                    </p:set>
                                    <p:animEffect transition="in" filter="fade">
                                      <p:cBhvr>
                                        <p:cTn id="178" dur="500"/>
                                        <p:tgtEl>
                                          <p:spTgt spid="86"/>
                                        </p:tgtEl>
                                      </p:cBhvr>
                                    </p:animEffect>
                                  </p:childTnLst>
                                </p:cTn>
                              </p:par>
                            </p:childTnLst>
                          </p:cTn>
                        </p:par>
                        <p:par>
                          <p:cTn id="179" fill="hold">
                            <p:stCondLst>
                              <p:cond delay="9500"/>
                            </p:stCondLst>
                            <p:childTnLst>
                              <p:par>
                                <p:cTn id="180" presetID="22" presetClass="entr" presetSubtype="8" fill="hold" grpId="0" nodeType="afterEffect">
                                  <p:stCondLst>
                                    <p:cond delay="0"/>
                                  </p:stCondLst>
                                  <p:childTnLst>
                                    <p:set>
                                      <p:cBhvr>
                                        <p:cTn id="181" dur="1" fill="hold">
                                          <p:stCondLst>
                                            <p:cond delay="0"/>
                                          </p:stCondLst>
                                        </p:cTn>
                                        <p:tgtEl>
                                          <p:spTgt spid="69"/>
                                        </p:tgtEl>
                                        <p:attrNameLst>
                                          <p:attrName>style.visibility</p:attrName>
                                        </p:attrNameLst>
                                      </p:cBhvr>
                                      <p:to>
                                        <p:strVal val="visible"/>
                                      </p:to>
                                    </p:set>
                                    <p:animEffect transition="in" filter="wipe(left)">
                                      <p:cBhvr>
                                        <p:cTn id="182" dur="500"/>
                                        <p:tgtEl>
                                          <p:spTgt spid="69"/>
                                        </p:tgtEl>
                                      </p:cBhvr>
                                    </p:animEffect>
                                  </p:childTnLst>
                                </p:cTn>
                              </p:par>
                              <p:par>
                                <p:cTn id="183" presetID="22" presetClass="entr" presetSubtype="8" fill="hold" grpId="0" nodeType="withEffect">
                                  <p:stCondLst>
                                    <p:cond delay="0"/>
                                  </p:stCondLst>
                                  <p:childTnLst>
                                    <p:set>
                                      <p:cBhvr>
                                        <p:cTn id="184" dur="1" fill="hold">
                                          <p:stCondLst>
                                            <p:cond delay="0"/>
                                          </p:stCondLst>
                                        </p:cTn>
                                        <p:tgtEl>
                                          <p:spTgt spid="70"/>
                                        </p:tgtEl>
                                        <p:attrNameLst>
                                          <p:attrName>style.visibility</p:attrName>
                                        </p:attrNameLst>
                                      </p:cBhvr>
                                      <p:to>
                                        <p:strVal val="visible"/>
                                      </p:to>
                                    </p:set>
                                    <p:animEffect transition="in" filter="wipe(left)">
                                      <p:cBhvr>
                                        <p:cTn id="185" dur="500"/>
                                        <p:tgtEl>
                                          <p:spTgt spid="70"/>
                                        </p:tgtEl>
                                      </p:cBhvr>
                                    </p:animEffect>
                                  </p:childTnLst>
                                </p:cTn>
                              </p:par>
                            </p:childTnLst>
                          </p:cTn>
                        </p:par>
                        <p:par>
                          <p:cTn id="186" fill="hold">
                            <p:stCondLst>
                              <p:cond delay="10000"/>
                            </p:stCondLst>
                            <p:childTnLst>
                              <p:par>
                                <p:cTn id="187" presetID="22" presetClass="entr" presetSubtype="8" fill="hold" nodeType="afterEffect">
                                  <p:stCondLst>
                                    <p:cond delay="0"/>
                                  </p:stCondLst>
                                  <p:childTnLst>
                                    <p:set>
                                      <p:cBhvr>
                                        <p:cTn id="188" dur="1" fill="hold">
                                          <p:stCondLst>
                                            <p:cond delay="0"/>
                                          </p:stCondLst>
                                        </p:cTn>
                                        <p:tgtEl>
                                          <p:spTgt spid="57"/>
                                        </p:tgtEl>
                                        <p:attrNameLst>
                                          <p:attrName>style.visibility</p:attrName>
                                        </p:attrNameLst>
                                      </p:cBhvr>
                                      <p:to>
                                        <p:strVal val="visible"/>
                                      </p:to>
                                    </p:set>
                                    <p:animEffect transition="in" filter="wipe(left)">
                                      <p:cBhvr>
                                        <p:cTn id="189" dur="500"/>
                                        <p:tgtEl>
                                          <p:spTgt spid="57"/>
                                        </p:tgtEl>
                                      </p:cBhvr>
                                    </p:animEffect>
                                  </p:childTnLst>
                                </p:cTn>
                              </p:par>
                            </p:childTnLst>
                          </p:cTn>
                        </p:par>
                        <p:par>
                          <p:cTn id="190" fill="hold">
                            <p:stCondLst>
                              <p:cond delay="10500"/>
                            </p:stCondLst>
                            <p:childTnLst>
                              <p:par>
                                <p:cTn id="191" presetID="10" presetClass="entr" presetSubtype="0" fill="hold" grpId="0" nodeType="afterEffect">
                                  <p:stCondLst>
                                    <p:cond delay="0"/>
                                  </p:stCondLst>
                                  <p:childTnLst>
                                    <p:set>
                                      <p:cBhvr>
                                        <p:cTn id="192" dur="1" fill="hold">
                                          <p:stCondLst>
                                            <p:cond delay="0"/>
                                          </p:stCondLst>
                                        </p:cTn>
                                        <p:tgtEl>
                                          <p:spTgt spid="67"/>
                                        </p:tgtEl>
                                        <p:attrNameLst>
                                          <p:attrName>style.visibility</p:attrName>
                                        </p:attrNameLst>
                                      </p:cBhvr>
                                      <p:to>
                                        <p:strVal val="visible"/>
                                      </p:to>
                                    </p:set>
                                    <p:animEffect transition="in" filter="fade">
                                      <p:cBhvr>
                                        <p:cTn id="193" dur="500"/>
                                        <p:tgtEl>
                                          <p:spTgt spid="67"/>
                                        </p:tgtEl>
                                      </p:cBhvr>
                                    </p:animEffect>
                                  </p:childTnLst>
                                </p:cTn>
                              </p:par>
                              <p:par>
                                <p:cTn id="194" presetID="10" presetClass="entr" presetSubtype="0" fill="hold" grpId="0" nodeType="withEffect">
                                  <p:stCondLst>
                                    <p:cond delay="0"/>
                                  </p:stCondLst>
                                  <p:childTnLst>
                                    <p:set>
                                      <p:cBhvr>
                                        <p:cTn id="195" dur="1" fill="hold">
                                          <p:stCondLst>
                                            <p:cond delay="0"/>
                                          </p:stCondLst>
                                        </p:cTn>
                                        <p:tgtEl>
                                          <p:spTgt spid="85"/>
                                        </p:tgtEl>
                                        <p:attrNameLst>
                                          <p:attrName>style.visibility</p:attrName>
                                        </p:attrNameLst>
                                      </p:cBhvr>
                                      <p:to>
                                        <p:strVal val="visible"/>
                                      </p:to>
                                    </p:set>
                                    <p:animEffect transition="in" filter="fade">
                                      <p:cBhvr>
                                        <p:cTn id="196" dur="500"/>
                                        <p:tgtEl>
                                          <p:spTgt spid="85"/>
                                        </p:tgtEl>
                                      </p:cBhvr>
                                    </p:animEffect>
                                  </p:childTnLst>
                                </p:cTn>
                              </p:par>
                            </p:childTnLst>
                          </p:cTn>
                        </p:par>
                        <p:par>
                          <p:cTn id="197" fill="hold">
                            <p:stCondLst>
                              <p:cond delay="11000"/>
                            </p:stCondLst>
                            <p:childTnLst>
                              <p:par>
                                <p:cTn id="198" presetID="22" presetClass="entr" presetSubtype="8" fill="hold" grpId="0" nodeType="afterEffect">
                                  <p:stCondLst>
                                    <p:cond delay="0"/>
                                  </p:stCondLst>
                                  <p:childTnLst>
                                    <p:set>
                                      <p:cBhvr>
                                        <p:cTn id="199" dur="1" fill="hold">
                                          <p:stCondLst>
                                            <p:cond delay="0"/>
                                          </p:stCondLst>
                                        </p:cTn>
                                        <p:tgtEl>
                                          <p:spTgt spid="73"/>
                                        </p:tgtEl>
                                        <p:attrNameLst>
                                          <p:attrName>style.visibility</p:attrName>
                                        </p:attrNameLst>
                                      </p:cBhvr>
                                      <p:to>
                                        <p:strVal val="visible"/>
                                      </p:to>
                                    </p:set>
                                    <p:animEffect transition="in" filter="wipe(left)">
                                      <p:cBhvr>
                                        <p:cTn id="200" dur="500"/>
                                        <p:tgtEl>
                                          <p:spTgt spid="73"/>
                                        </p:tgtEl>
                                      </p:cBhvr>
                                    </p:animEffect>
                                  </p:childTnLst>
                                </p:cTn>
                              </p:par>
                              <p:par>
                                <p:cTn id="201" presetID="22" presetClass="entr" presetSubtype="8" fill="hold" grpId="0" nodeType="withEffect">
                                  <p:stCondLst>
                                    <p:cond delay="0"/>
                                  </p:stCondLst>
                                  <p:childTnLst>
                                    <p:set>
                                      <p:cBhvr>
                                        <p:cTn id="202" dur="1" fill="hold">
                                          <p:stCondLst>
                                            <p:cond delay="0"/>
                                          </p:stCondLst>
                                        </p:cTn>
                                        <p:tgtEl>
                                          <p:spTgt spid="74"/>
                                        </p:tgtEl>
                                        <p:attrNameLst>
                                          <p:attrName>style.visibility</p:attrName>
                                        </p:attrNameLst>
                                      </p:cBhvr>
                                      <p:to>
                                        <p:strVal val="visible"/>
                                      </p:to>
                                    </p:set>
                                    <p:animEffect transition="in" filter="wipe(left)">
                                      <p:cBhvr>
                                        <p:cTn id="203" dur="500"/>
                                        <p:tgtEl>
                                          <p:spTgt spid="74"/>
                                        </p:tgtEl>
                                      </p:cBhvr>
                                    </p:animEffect>
                                  </p:childTnLst>
                                </p:cTn>
                              </p:par>
                            </p:childTnLst>
                          </p:cTn>
                        </p:par>
                        <p:par>
                          <p:cTn id="204" fill="hold">
                            <p:stCondLst>
                              <p:cond delay="11500"/>
                            </p:stCondLst>
                            <p:childTnLst>
                              <p:par>
                                <p:cTn id="205" presetID="22" presetClass="entr" presetSubtype="8" fill="hold" nodeType="afterEffect">
                                  <p:stCondLst>
                                    <p:cond delay="0"/>
                                  </p:stCondLst>
                                  <p:childTnLst>
                                    <p:set>
                                      <p:cBhvr>
                                        <p:cTn id="206" dur="1" fill="hold">
                                          <p:stCondLst>
                                            <p:cond delay="0"/>
                                          </p:stCondLst>
                                        </p:cTn>
                                        <p:tgtEl>
                                          <p:spTgt spid="54"/>
                                        </p:tgtEl>
                                        <p:attrNameLst>
                                          <p:attrName>style.visibility</p:attrName>
                                        </p:attrNameLst>
                                      </p:cBhvr>
                                      <p:to>
                                        <p:strVal val="visible"/>
                                      </p:to>
                                    </p:set>
                                    <p:animEffect transition="in" filter="wipe(left)">
                                      <p:cBhvr>
                                        <p:cTn id="207" dur="500"/>
                                        <p:tgtEl>
                                          <p:spTgt spid="54"/>
                                        </p:tgtEl>
                                      </p:cBhvr>
                                    </p:animEffect>
                                  </p:childTnLst>
                                </p:cTn>
                              </p:par>
                            </p:childTnLst>
                          </p:cTn>
                        </p:par>
                        <p:par>
                          <p:cTn id="208" fill="hold">
                            <p:stCondLst>
                              <p:cond delay="12000"/>
                            </p:stCondLst>
                            <p:childTnLst>
                              <p:par>
                                <p:cTn id="209" presetID="10" presetClass="entr" presetSubtype="0" fill="hold" grpId="0" nodeType="afterEffect">
                                  <p:stCondLst>
                                    <p:cond delay="0"/>
                                  </p:stCondLst>
                                  <p:childTnLst>
                                    <p:set>
                                      <p:cBhvr>
                                        <p:cTn id="210" dur="1" fill="hold">
                                          <p:stCondLst>
                                            <p:cond delay="0"/>
                                          </p:stCondLst>
                                        </p:cTn>
                                        <p:tgtEl>
                                          <p:spTgt spid="68"/>
                                        </p:tgtEl>
                                        <p:attrNameLst>
                                          <p:attrName>style.visibility</p:attrName>
                                        </p:attrNameLst>
                                      </p:cBhvr>
                                      <p:to>
                                        <p:strVal val="visible"/>
                                      </p:to>
                                    </p:set>
                                    <p:animEffect transition="in" filter="fade">
                                      <p:cBhvr>
                                        <p:cTn id="211" dur="500"/>
                                        <p:tgtEl>
                                          <p:spTgt spid="68"/>
                                        </p:tgtEl>
                                      </p:cBhvr>
                                    </p:animEffect>
                                  </p:childTnLst>
                                </p:cTn>
                              </p:par>
                              <p:par>
                                <p:cTn id="212" presetID="10" presetClass="entr" presetSubtype="0" fill="hold" grpId="0" nodeType="withEffect">
                                  <p:stCondLst>
                                    <p:cond delay="0"/>
                                  </p:stCondLst>
                                  <p:childTnLst>
                                    <p:set>
                                      <p:cBhvr>
                                        <p:cTn id="213" dur="1" fill="hold">
                                          <p:stCondLst>
                                            <p:cond delay="0"/>
                                          </p:stCondLst>
                                        </p:cTn>
                                        <p:tgtEl>
                                          <p:spTgt spid="84"/>
                                        </p:tgtEl>
                                        <p:attrNameLst>
                                          <p:attrName>style.visibility</p:attrName>
                                        </p:attrNameLst>
                                      </p:cBhvr>
                                      <p:to>
                                        <p:strVal val="visible"/>
                                      </p:to>
                                    </p:set>
                                    <p:animEffect transition="in" filter="fade">
                                      <p:cBhvr>
                                        <p:cTn id="214" dur="500"/>
                                        <p:tgtEl>
                                          <p:spTgt spid="84"/>
                                        </p:tgtEl>
                                      </p:cBhvr>
                                    </p:animEffect>
                                  </p:childTnLst>
                                </p:cTn>
                              </p:par>
                            </p:childTnLst>
                          </p:cTn>
                        </p:par>
                        <p:par>
                          <p:cTn id="215" fill="hold">
                            <p:stCondLst>
                              <p:cond delay="12500"/>
                            </p:stCondLst>
                            <p:childTnLst>
                              <p:par>
                                <p:cTn id="216" presetID="22" presetClass="entr" presetSubtype="8" fill="hold" grpId="0" nodeType="afterEffect">
                                  <p:stCondLst>
                                    <p:cond delay="0"/>
                                  </p:stCondLst>
                                  <p:childTnLst>
                                    <p:set>
                                      <p:cBhvr>
                                        <p:cTn id="217" dur="1" fill="hold">
                                          <p:stCondLst>
                                            <p:cond delay="0"/>
                                          </p:stCondLst>
                                        </p:cTn>
                                        <p:tgtEl>
                                          <p:spTgt spid="79"/>
                                        </p:tgtEl>
                                        <p:attrNameLst>
                                          <p:attrName>style.visibility</p:attrName>
                                        </p:attrNameLst>
                                      </p:cBhvr>
                                      <p:to>
                                        <p:strVal val="visible"/>
                                      </p:to>
                                    </p:set>
                                    <p:animEffect transition="in" filter="wipe(left)">
                                      <p:cBhvr>
                                        <p:cTn id="218" dur="500"/>
                                        <p:tgtEl>
                                          <p:spTgt spid="79"/>
                                        </p:tgtEl>
                                      </p:cBhvr>
                                    </p:animEffect>
                                  </p:childTnLst>
                                </p:cTn>
                              </p:par>
                              <p:par>
                                <p:cTn id="219" presetID="22" presetClass="entr" presetSubtype="8" fill="hold" grpId="0" nodeType="withEffect">
                                  <p:stCondLst>
                                    <p:cond delay="0"/>
                                  </p:stCondLst>
                                  <p:childTnLst>
                                    <p:set>
                                      <p:cBhvr>
                                        <p:cTn id="220" dur="1" fill="hold">
                                          <p:stCondLst>
                                            <p:cond delay="0"/>
                                          </p:stCondLst>
                                        </p:cTn>
                                        <p:tgtEl>
                                          <p:spTgt spid="80"/>
                                        </p:tgtEl>
                                        <p:attrNameLst>
                                          <p:attrName>style.visibility</p:attrName>
                                        </p:attrNameLst>
                                      </p:cBhvr>
                                      <p:to>
                                        <p:strVal val="visible"/>
                                      </p:to>
                                    </p:set>
                                    <p:animEffect transition="in" filter="wipe(left)">
                                      <p:cBhvr>
                                        <p:cTn id="221" dur="500"/>
                                        <p:tgtEl>
                                          <p:spTgt spid="8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11" grpId="0"/>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26" grpId="0" animBg="1"/>
      <p:bldP spid="27" grpId="0" animBg="1"/>
      <p:bldP spid="28" grpId="0" animBg="1"/>
      <p:bldP spid="30" grpId="0" animBg="1"/>
      <p:bldP spid="31" grpId="0" animBg="1"/>
      <p:bldP spid="32" grpId="0" animBg="1"/>
      <p:bldP spid="33" grpId="0" animBg="1"/>
      <p:bldP spid="34" grpId="0" animBg="1"/>
      <p:bldP spid="35" grpId="0" animBg="1"/>
      <p:bldP spid="36" grpId="0" animBg="1"/>
      <p:bldP spid="37" grpId="0" animBg="1"/>
      <p:bldP spid="38" grpId="0" animBg="1"/>
      <p:bldP spid="39" grpId="0" animBg="1"/>
      <p:bldP spid="40" grpId="0" animBg="1"/>
      <p:bldP spid="41" grpId="0" animBg="1"/>
      <p:bldP spid="42" grpId="0" animBg="1"/>
      <p:bldP spid="43" grpId="0" animBg="1"/>
      <p:bldP spid="44" grpId="0" animBg="1"/>
      <p:bldP spid="63" grpId="0" animBg="1"/>
      <p:bldP spid="64" grpId="0" animBg="1"/>
      <p:bldP spid="65" grpId="0" animBg="1"/>
      <p:bldP spid="66" grpId="0" animBg="1"/>
      <p:bldP spid="67" grpId="0" animBg="1"/>
      <p:bldP spid="68" grpId="0" animBg="1"/>
      <p:bldP spid="69" grpId="0"/>
      <p:bldP spid="70" grpId="0"/>
      <p:bldP spid="71" grpId="0"/>
      <p:bldP spid="72" grpId="0"/>
      <p:bldP spid="73" grpId="0"/>
      <p:bldP spid="74" grpId="0"/>
      <p:bldP spid="75" grpId="0"/>
      <p:bldP spid="76" grpId="0"/>
      <p:bldP spid="77" grpId="0"/>
      <p:bldP spid="78" grpId="0"/>
      <p:bldP spid="79" grpId="0"/>
      <p:bldP spid="80" grpId="0"/>
      <p:bldP spid="81" grpId="0"/>
      <p:bldP spid="82" grpId="0"/>
      <p:bldP spid="83" grpId="0"/>
      <p:bldP spid="84" grpId="0"/>
      <p:bldP spid="85" grpId="0"/>
      <p:bldP spid="86" grpId="0"/>
      <p:bldP spid="87" grpId="0" animBg="1"/>
    </p:bldLst>
  </p:timing>
</p:sld>
</file>

<file path=ppt/slides/slide6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51EE4F-C88F-49D4-99A6-6AA3A199BC14}"/>
              </a:ext>
            </a:extLst>
          </p:cNvPr>
          <p:cNvSpPr txBox="1">
            <a:spLocks/>
          </p:cNvSpPr>
          <p:nvPr/>
        </p:nvSpPr>
        <p:spPr>
          <a:xfrm>
            <a:off x="2043113" y="304800"/>
            <a:ext cx="8105775" cy="1105808"/>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4400" b="0" i="0" u="none" strike="noStrike" kern="1200" cap="none" spc="0" normalizeH="0" baseline="0" noProof="0">
                <a:ln>
                  <a:noFill/>
                </a:ln>
                <a:solidFill>
                  <a:srgbClr val="000000"/>
                </a:solidFill>
                <a:effectLst/>
                <a:uLnTx/>
                <a:uFillTx/>
                <a:latin typeface="等线 Light" panose="020F0302020204030204"/>
                <a:ea typeface="+mj-ea"/>
                <a:cs typeface="+mj-cs"/>
              </a:rPr>
              <a:t>Tree Infogparhic</a:t>
            </a:r>
            <a:endParaRPr kumimoji="0" lang="en-ID" sz="4400" b="0" i="0" u="none" strike="noStrike" kern="1200" cap="none" spc="0" normalizeH="0" baseline="0" noProof="0">
              <a:ln>
                <a:noFill/>
              </a:ln>
              <a:solidFill>
                <a:srgbClr val="000000"/>
              </a:solidFill>
              <a:effectLst/>
              <a:uLnTx/>
              <a:uFillTx/>
              <a:latin typeface="等线 Light" panose="020F0302020204030204"/>
              <a:ea typeface="+mj-ea"/>
              <a:cs typeface="+mj-cs"/>
            </a:endParaRPr>
          </a:p>
        </p:txBody>
      </p:sp>
      <p:sp>
        <p:nvSpPr>
          <p:cNvPr id="3" name="Freeform: Shape 63">
            <a:extLst>
              <a:ext uri="{FF2B5EF4-FFF2-40B4-BE49-F238E27FC236}">
                <a16:creationId xmlns:a16="http://schemas.microsoft.com/office/drawing/2014/main" id="{490C3683-59AA-402F-A993-ACE15D3F7A0E}"/>
              </a:ext>
            </a:extLst>
          </p:cNvPr>
          <p:cNvSpPr/>
          <p:nvPr/>
        </p:nvSpPr>
        <p:spPr>
          <a:xfrm>
            <a:off x="3530541" y="1812926"/>
            <a:ext cx="5218424" cy="5055312"/>
          </a:xfrm>
          <a:custGeom>
            <a:avLst/>
            <a:gdLst>
              <a:gd name="connsiteX0" fmla="*/ 4819417 w 4931709"/>
              <a:gd name="connsiteY0" fmla="*/ 2738931 h 4777560"/>
              <a:gd name="connsiteX1" fmla="*/ 4521329 w 4931709"/>
              <a:gd name="connsiteY1" fmla="*/ 2936975 h 4777560"/>
              <a:gd name="connsiteX2" fmla="*/ 4313077 w 4931709"/>
              <a:gd name="connsiteY2" fmla="*/ 3066622 h 4777560"/>
              <a:gd name="connsiteX3" fmla="*/ 4254888 w 4931709"/>
              <a:gd name="connsiteY3" fmla="*/ 3099289 h 4777560"/>
              <a:gd name="connsiteX4" fmla="*/ 4193637 w 4931709"/>
              <a:gd name="connsiteY4" fmla="*/ 3130935 h 4777560"/>
              <a:gd name="connsiteX5" fmla="*/ 4063990 w 4931709"/>
              <a:gd name="connsiteY5" fmla="*/ 3189123 h 4777560"/>
              <a:gd name="connsiteX6" fmla="*/ 3923113 w 4931709"/>
              <a:gd name="connsiteY6" fmla="*/ 3235062 h 4777560"/>
              <a:gd name="connsiteX7" fmla="*/ 3771007 w 4931709"/>
              <a:gd name="connsiteY7" fmla="*/ 3265687 h 4777560"/>
              <a:gd name="connsiteX8" fmla="*/ 3439232 w 4931709"/>
              <a:gd name="connsiteY8" fmla="*/ 3304479 h 4777560"/>
              <a:gd name="connsiteX9" fmla="*/ 3267730 w 4931709"/>
              <a:gd name="connsiteY9" fmla="*/ 3328980 h 4777560"/>
              <a:gd name="connsiteX10" fmla="*/ 3102353 w 4931709"/>
              <a:gd name="connsiteY10" fmla="*/ 3369813 h 4777560"/>
              <a:gd name="connsiteX11" fmla="*/ 2812432 w 4931709"/>
              <a:gd name="connsiteY11" fmla="*/ 3519878 h 4777560"/>
              <a:gd name="connsiteX12" fmla="*/ 2629701 w 4931709"/>
              <a:gd name="connsiteY12" fmla="*/ 3752631 h 4777560"/>
              <a:gd name="connsiteX13" fmla="*/ 2628680 w 4931709"/>
              <a:gd name="connsiteY13" fmla="*/ 3754672 h 4777560"/>
              <a:gd name="connsiteX14" fmla="*/ 2628680 w 4931709"/>
              <a:gd name="connsiteY14" fmla="*/ 3659734 h 4777560"/>
              <a:gd name="connsiteX15" fmla="*/ 2637867 w 4931709"/>
              <a:gd name="connsiteY15" fmla="*/ 3513753 h 4777560"/>
              <a:gd name="connsiteX16" fmla="*/ 2655222 w 4931709"/>
              <a:gd name="connsiteY16" fmla="*/ 3358584 h 4777560"/>
              <a:gd name="connsiteX17" fmla="*/ 2667472 w 4931709"/>
              <a:gd name="connsiteY17" fmla="*/ 3279979 h 4777560"/>
              <a:gd name="connsiteX18" fmla="*/ 2674618 w 4931709"/>
              <a:gd name="connsiteY18" fmla="*/ 3240166 h 4777560"/>
              <a:gd name="connsiteX19" fmla="*/ 2682785 w 4931709"/>
              <a:gd name="connsiteY19" fmla="*/ 3200353 h 4777560"/>
              <a:gd name="connsiteX20" fmla="*/ 2691972 w 4931709"/>
              <a:gd name="connsiteY20" fmla="*/ 3160540 h 4777560"/>
              <a:gd name="connsiteX21" fmla="*/ 2702181 w 4931709"/>
              <a:gd name="connsiteY21" fmla="*/ 3120727 h 4777560"/>
              <a:gd name="connsiteX22" fmla="*/ 2724639 w 4931709"/>
              <a:gd name="connsiteY22" fmla="*/ 3041101 h 4777560"/>
              <a:gd name="connsiteX23" fmla="*/ 2737910 w 4931709"/>
              <a:gd name="connsiteY23" fmla="*/ 3001288 h 4777560"/>
              <a:gd name="connsiteX24" fmla="*/ 2745056 w 4931709"/>
              <a:gd name="connsiteY24" fmla="*/ 2981892 h 4777560"/>
              <a:gd name="connsiteX25" fmla="*/ 2752202 w 4931709"/>
              <a:gd name="connsiteY25" fmla="*/ 2962496 h 4777560"/>
              <a:gd name="connsiteX26" fmla="*/ 2767515 w 4931709"/>
              <a:gd name="connsiteY26" fmla="*/ 2923703 h 4777560"/>
              <a:gd name="connsiteX27" fmla="*/ 2783848 w 4931709"/>
              <a:gd name="connsiteY27" fmla="*/ 2884911 h 4777560"/>
              <a:gd name="connsiteX28" fmla="*/ 2802224 w 4931709"/>
              <a:gd name="connsiteY28" fmla="*/ 2847140 h 4777560"/>
              <a:gd name="connsiteX29" fmla="*/ 2820599 w 4931709"/>
              <a:gd name="connsiteY29" fmla="*/ 2809369 h 4777560"/>
              <a:gd name="connsiteX30" fmla="*/ 2839995 w 4931709"/>
              <a:gd name="connsiteY30" fmla="*/ 2772618 h 4777560"/>
              <a:gd name="connsiteX31" fmla="*/ 2861433 w 4931709"/>
              <a:gd name="connsiteY31" fmla="*/ 2737910 h 4777560"/>
              <a:gd name="connsiteX32" fmla="*/ 2871641 w 4931709"/>
              <a:gd name="connsiteY32" fmla="*/ 2720555 h 4777560"/>
              <a:gd name="connsiteX33" fmla="*/ 2882871 w 4931709"/>
              <a:gd name="connsiteY33" fmla="*/ 2704222 h 4777560"/>
              <a:gd name="connsiteX34" fmla="*/ 2905329 w 4931709"/>
              <a:gd name="connsiteY34" fmla="*/ 2671555 h 4777560"/>
              <a:gd name="connsiteX35" fmla="*/ 2954330 w 4931709"/>
              <a:gd name="connsiteY35" fmla="*/ 2610304 h 4777560"/>
              <a:gd name="connsiteX36" fmla="*/ 3185041 w 4931709"/>
              <a:gd name="connsiteY36" fmla="*/ 2421447 h 4777560"/>
              <a:gd name="connsiteX37" fmla="*/ 3386148 w 4931709"/>
              <a:gd name="connsiteY37" fmla="*/ 2340801 h 4777560"/>
              <a:gd name="connsiteX38" fmla="*/ 3463732 w 4931709"/>
              <a:gd name="connsiteY38" fmla="*/ 2381634 h 4777560"/>
              <a:gd name="connsiteX39" fmla="*/ 3580109 w 4931709"/>
              <a:gd name="connsiteY39" fmla="*/ 2462281 h 4777560"/>
              <a:gd name="connsiteX40" fmla="*/ 3712819 w 4931709"/>
              <a:gd name="connsiteY40" fmla="*/ 2528636 h 4777560"/>
              <a:gd name="connsiteX41" fmla="*/ 3845529 w 4931709"/>
              <a:gd name="connsiteY41" fmla="*/ 2566407 h 4777560"/>
              <a:gd name="connsiteX42" fmla="*/ 3877175 w 4931709"/>
              <a:gd name="connsiteY42" fmla="*/ 2571512 h 4777560"/>
              <a:gd name="connsiteX43" fmla="*/ 3908821 w 4931709"/>
              <a:gd name="connsiteY43" fmla="*/ 2575595 h 4777560"/>
              <a:gd name="connsiteX44" fmla="*/ 3939447 w 4931709"/>
              <a:gd name="connsiteY44" fmla="*/ 2577637 h 4777560"/>
              <a:gd name="connsiteX45" fmla="*/ 3969051 w 4931709"/>
              <a:gd name="connsiteY45" fmla="*/ 2579678 h 4777560"/>
              <a:gd name="connsiteX46" fmla="*/ 4076240 w 4931709"/>
              <a:gd name="connsiteY46" fmla="*/ 2574574 h 4777560"/>
              <a:gd name="connsiteX47" fmla="*/ 4122178 w 4931709"/>
              <a:gd name="connsiteY47" fmla="*/ 2567428 h 4777560"/>
              <a:gd name="connsiteX48" fmla="*/ 4163012 w 4931709"/>
              <a:gd name="connsiteY48" fmla="*/ 2559262 h 4777560"/>
              <a:gd name="connsiteX49" fmla="*/ 4197721 w 4931709"/>
              <a:gd name="connsiteY49" fmla="*/ 2550074 h 4777560"/>
              <a:gd name="connsiteX50" fmla="*/ 4226305 w 4931709"/>
              <a:gd name="connsiteY50" fmla="*/ 2540886 h 4777560"/>
              <a:gd name="connsiteX51" fmla="*/ 4248763 w 4931709"/>
              <a:gd name="connsiteY51" fmla="*/ 2532719 h 4777560"/>
              <a:gd name="connsiteX52" fmla="*/ 4265097 w 4931709"/>
              <a:gd name="connsiteY52" fmla="*/ 2526594 h 4777560"/>
              <a:gd name="connsiteX53" fmla="*/ 4278368 w 4931709"/>
              <a:gd name="connsiteY53" fmla="*/ 2521490 h 4777560"/>
              <a:gd name="connsiteX54" fmla="*/ 4264076 w 4931709"/>
              <a:gd name="connsiteY54" fmla="*/ 2523532 h 4777560"/>
              <a:gd name="connsiteX55" fmla="*/ 4246722 w 4931709"/>
              <a:gd name="connsiteY55" fmla="*/ 2526594 h 4777560"/>
              <a:gd name="connsiteX56" fmla="*/ 4223242 w 4931709"/>
              <a:gd name="connsiteY56" fmla="*/ 2529657 h 4777560"/>
              <a:gd name="connsiteX57" fmla="*/ 4074199 w 4931709"/>
              <a:gd name="connsiteY57" fmla="*/ 2535782 h 4777560"/>
              <a:gd name="connsiteX58" fmla="*/ 3973135 w 4931709"/>
              <a:gd name="connsiteY58" fmla="*/ 2526594 h 4777560"/>
              <a:gd name="connsiteX59" fmla="*/ 3945572 w 4931709"/>
              <a:gd name="connsiteY59" fmla="*/ 2521490 h 4777560"/>
              <a:gd name="connsiteX60" fmla="*/ 3918009 w 4931709"/>
              <a:gd name="connsiteY60" fmla="*/ 2516386 h 4777560"/>
              <a:gd name="connsiteX61" fmla="*/ 3889425 w 4931709"/>
              <a:gd name="connsiteY61" fmla="*/ 2510261 h 4777560"/>
              <a:gd name="connsiteX62" fmla="*/ 3860841 w 4931709"/>
              <a:gd name="connsiteY62" fmla="*/ 2502094 h 4777560"/>
              <a:gd name="connsiteX63" fmla="*/ 3741403 w 4931709"/>
              <a:gd name="connsiteY63" fmla="*/ 2459218 h 4777560"/>
              <a:gd name="connsiteX64" fmla="*/ 3621963 w 4931709"/>
              <a:gd name="connsiteY64" fmla="*/ 2395926 h 4777560"/>
              <a:gd name="connsiteX65" fmla="*/ 3501504 w 4931709"/>
              <a:gd name="connsiteY65" fmla="*/ 2317321 h 4777560"/>
              <a:gd name="connsiteX66" fmla="*/ 3501504 w 4931709"/>
              <a:gd name="connsiteY66" fmla="*/ 2317321 h 4777560"/>
              <a:gd name="connsiteX67" fmla="*/ 3695464 w 4931709"/>
              <a:gd name="connsiteY67" fmla="*/ 2295883 h 4777560"/>
              <a:gd name="connsiteX68" fmla="*/ 3809799 w 4931709"/>
              <a:gd name="connsiteY68" fmla="*/ 2265258 h 4777560"/>
              <a:gd name="connsiteX69" fmla="*/ 3832258 w 4931709"/>
              <a:gd name="connsiteY69" fmla="*/ 2256070 h 4777560"/>
              <a:gd name="connsiteX70" fmla="*/ 3834300 w 4931709"/>
              <a:gd name="connsiteY70" fmla="*/ 2256070 h 4777560"/>
              <a:gd name="connsiteX71" fmla="*/ 4073178 w 4931709"/>
              <a:gd name="connsiteY71" fmla="*/ 2135610 h 4777560"/>
              <a:gd name="connsiteX72" fmla="*/ 4180367 w 4931709"/>
              <a:gd name="connsiteY72" fmla="*/ 2051901 h 4777560"/>
              <a:gd name="connsiteX73" fmla="*/ 4274284 w 4931709"/>
              <a:gd name="connsiteY73" fmla="*/ 1969212 h 4777560"/>
              <a:gd name="connsiteX74" fmla="*/ 4423328 w 4931709"/>
              <a:gd name="connsiteY74" fmla="*/ 1815065 h 4777560"/>
              <a:gd name="connsiteX75" fmla="*/ 4504996 w 4931709"/>
              <a:gd name="connsiteY75" fmla="*/ 1695626 h 4777560"/>
              <a:gd name="connsiteX76" fmla="*/ 4515204 w 4931709"/>
              <a:gd name="connsiteY76" fmla="*/ 1675209 h 4777560"/>
              <a:gd name="connsiteX77" fmla="*/ 4522350 w 4931709"/>
              <a:gd name="connsiteY77" fmla="*/ 1659896 h 4777560"/>
              <a:gd name="connsiteX78" fmla="*/ 4527455 w 4931709"/>
              <a:gd name="connsiteY78" fmla="*/ 1647646 h 4777560"/>
              <a:gd name="connsiteX79" fmla="*/ 4519288 w 4931709"/>
              <a:gd name="connsiteY79" fmla="*/ 1657854 h 4777560"/>
              <a:gd name="connsiteX80" fmla="*/ 4509079 w 4931709"/>
              <a:gd name="connsiteY80" fmla="*/ 1671125 h 4777560"/>
              <a:gd name="connsiteX81" fmla="*/ 4494787 w 4931709"/>
              <a:gd name="connsiteY81" fmla="*/ 1688480 h 4777560"/>
              <a:gd name="connsiteX82" fmla="*/ 4395765 w 4931709"/>
              <a:gd name="connsiteY82" fmla="*/ 1788523 h 4777560"/>
              <a:gd name="connsiteX83" fmla="*/ 4233451 w 4931709"/>
              <a:gd name="connsiteY83" fmla="*/ 1919191 h 4777560"/>
              <a:gd name="connsiteX84" fmla="*/ 4029281 w 4931709"/>
              <a:gd name="connsiteY84" fmla="*/ 2073339 h 4777560"/>
              <a:gd name="connsiteX85" fmla="*/ 3813883 w 4931709"/>
              <a:gd name="connsiteY85" fmla="*/ 2194819 h 4777560"/>
              <a:gd name="connsiteX86" fmla="*/ 3758757 w 4931709"/>
              <a:gd name="connsiteY86" fmla="*/ 2213195 h 4777560"/>
              <a:gd name="connsiteX87" fmla="*/ 3686277 w 4931709"/>
              <a:gd name="connsiteY87" fmla="*/ 2221361 h 4777560"/>
              <a:gd name="connsiteX88" fmla="*/ 3565817 w 4931709"/>
              <a:gd name="connsiteY88" fmla="*/ 2221361 h 4777560"/>
              <a:gd name="connsiteX89" fmla="*/ 3426982 w 4931709"/>
              <a:gd name="connsiteY89" fmla="*/ 2224424 h 4777560"/>
              <a:gd name="connsiteX90" fmla="*/ 3338168 w 4931709"/>
              <a:gd name="connsiteY90" fmla="*/ 2237695 h 4777560"/>
              <a:gd name="connsiteX91" fmla="*/ 3462711 w 4931709"/>
              <a:gd name="connsiteY91" fmla="*/ 2142756 h 4777560"/>
              <a:gd name="connsiteX92" fmla="*/ 3570921 w 4931709"/>
              <a:gd name="connsiteY92" fmla="*/ 2028421 h 4777560"/>
              <a:gd name="connsiteX93" fmla="*/ 3649526 w 4931709"/>
              <a:gd name="connsiteY93" fmla="*/ 1872232 h 4777560"/>
              <a:gd name="connsiteX94" fmla="*/ 3655652 w 4931709"/>
              <a:gd name="connsiteY94" fmla="*/ 1849773 h 4777560"/>
              <a:gd name="connsiteX95" fmla="*/ 3659735 w 4931709"/>
              <a:gd name="connsiteY95" fmla="*/ 1827315 h 4777560"/>
              <a:gd name="connsiteX96" fmla="*/ 3664839 w 4931709"/>
              <a:gd name="connsiteY96" fmla="*/ 1782397 h 4777560"/>
              <a:gd name="connsiteX97" fmla="*/ 3662797 w 4931709"/>
              <a:gd name="connsiteY97" fmla="*/ 1698688 h 4777560"/>
              <a:gd name="connsiteX98" fmla="*/ 3661776 w 4931709"/>
              <a:gd name="connsiteY98" fmla="*/ 1554749 h 4777560"/>
              <a:gd name="connsiteX99" fmla="*/ 3698527 w 4931709"/>
              <a:gd name="connsiteY99" fmla="*/ 1433268 h 4777560"/>
              <a:gd name="connsiteX100" fmla="*/ 3759778 w 4931709"/>
              <a:gd name="connsiteY100" fmla="*/ 1338329 h 4777560"/>
              <a:gd name="connsiteX101" fmla="*/ 3886363 w 4931709"/>
              <a:gd name="connsiteY101" fmla="*/ 1228078 h 4777560"/>
              <a:gd name="connsiteX102" fmla="*/ 3909842 w 4931709"/>
              <a:gd name="connsiteY102" fmla="*/ 1214807 h 4777560"/>
              <a:gd name="connsiteX103" fmla="*/ 3927196 w 4931709"/>
              <a:gd name="connsiteY103" fmla="*/ 1205619 h 4777560"/>
              <a:gd name="connsiteX104" fmla="*/ 3941489 w 4931709"/>
              <a:gd name="connsiteY104" fmla="*/ 1198473 h 4777560"/>
              <a:gd name="connsiteX105" fmla="*/ 3926176 w 4931709"/>
              <a:gd name="connsiteY105" fmla="*/ 1202557 h 4777560"/>
              <a:gd name="connsiteX106" fmla="*/ 3906780 w 4931709"/>
              <a:gd name="connsiteY106" fmla="*/ 1208682 h 4777560"/>
              <a:gd name="connsiteX107" fmla="*/ 3881258 w 4931709"/>
              <a:gd name="connsiteY107" fmla="*/ 1217870 h 4777560"/>
              <a:gd name="connsiteX108" fmla="*/ 3849612 w 4931709"/>
              <a:gd name="connsiteY108" fmla="*/ 1232161 h 4777560"/>
              <a:gd name="connsiteX109" fmla="*/ 3813883 w 4931709"/>
              <a:gd name="connsiteY109" fmla="*/ 1251557 h 4777560"/>
              <a:gd name="connsiteX110" fmla="*/ 3733236 w 4931709"/>
              <a:gd name="connsiteY110" fmla="*/ 1312808 h 4777560"/>
              <a:gd name="connsiteX111" fmla="*/ 3653610 w 4931709"/>
              <a:gd name="connsiteY111" fmla="*/ 1408768 h 4777560"/>
              <a:gd name="connsiteX112" fmla="*/ 3599505 w 4931709"/>
              <a:gd name="connsiteY112" fmla="*/ 1544540 h 4777560"/>
              <a:gd name="connsiteX113" fmla="*/ 3591338 w 4931709"/>
              <a:gd name="connsiteY113" fmla="*/ 1701751 h 4777560"/>
              <a:gd name="connsiteX114" fmla="*/ 3590317 w 4931709"/>
              <a:gd name="connsiteY114" fmla="*/ 1778314 h 4777560"/>
              <a:gd name="connsiteX115" fmla="*/ 3586234 w 4931709"/>
              <a:gd name="connsiteY115" fmla="*/ 1815065 h 4777560"/>
              <a:gd name="connsiteX116" fmla="*/ 3583171 w 4931709"/>
              <a:gd name="connsiteY116" fmla="*/ 1833440 h 4777560"/>
              <a:gd name="connsiteX117" fmla="*/ 3578067 w 4931709"/>
              <a:gd name="connsiteY117" fmla="*/ 1851815 h 4777560"/>
              <a:gd name="connsiteX118" fmla="*/ 3513754 w 4931709"/>
              <a:gd name="connsiteY118" fmla="*/ 1985546 h 4777560"/>
              <a:gd name="connsiteX119" fmla="*/ 3419836 w 4931709"/>
              <a:gd name="connsiteY119" fmla="*/ 2094776 h 4777560"/>
              <a:gd name="connsiteX120" fmla="*/ 3226896 w 4931709"/>
              <a:gd name="connsiteY120" fmla="*/ 2266279 h 4777560"/>
              <a:gd name="connsiteX121" fmla="*/ 3226896 w 4931709"/>
              <a:gd name="connsiteY121" fmla="*/ 2266279 h 4777560"/>
              <a:gd name="connsiteX122" fmla="*/ 3126853 w 4931709"/>
              <a:gd name="connsiteY122" fmla="*/ 2306092 h 4777560"/>
              <a:gd name="connsiteX123" fmla="*/ 2906350 w 4931709"/>
              <a:gd name="connsiteY123" fmla="*/ 2452073 h 4777560"/>
              <a:gd name="connsiteX124" fmla="*/ 2910434 w 4931709"/>
              <a:gd name="connsiteY124" fmla="*/ 2390822 h 4777560"/>
              <a:gd name="connsiteX125" fmla="*/ 2875725 w 4931709"/>
              <a:gd name="connsiteY125" fmla="*/ 2141735 h 4777560"/>
              <a:gd name="connsiteX126" fmla="*/ 2771598 w 4931709"/>
              <a:gd name="connsiteY126" fmla="*/ 1925316 h 4777560"/>
              <a:gd name="connsiteX127" fmla="*/ 2659305 w 4931709"/>
              <a:gd name="connsiteY127" fmla="*/ 1776272 h 4777560"/>
              <a:gd name="connsiteX128" fmla="*/ 2651138 w 4931709"/>
              <a:gd name="connsiteY128" fmla="*/ 1759939 h 4777560"/>
              <a:gd name="connsiteX129" fmla="*/ 2608263 w 4931709"/>
              <a:gd name="connsiteY129" fmla="*/ 1606812 h 4777560"/>
              <a:gd name="connsiteX130" fmla="*/ 2749140 w 4931709"/>
              <a:gd name="connsiteY130" fmla="*/ 1183161 h 4777560"/>
              <a:gd name="connsiteX131" fmla="*/ 3741403 w 4931709"/>
              <a:gd name="connsiteY131" fmla="*/ 624758 h 4777560"/>
              <a:gd name="connsiteX132" fmla="*/ 3813883 w 4931709"/>
              <a:gd name="connsiteY132" fmla="*/ 578820 h 4777560"/>
              <a:gd name="connsiteX133" fmla="*/ 3877175 w 4931709"/>
              <a:gd name="connsiteY133" fmla="*/ 525736 h 4777560"/>
              <a:gd name="connsiteX134" fmla="*/ 4139533 w 4931709"/>
              <a:gd name="connsiteY134" fmla="*/ 206211 h 4777560"/>
              <a:gd name="connsiteX135" fmla="*/ 4228346 w 4931709"/>
              <a:gd name="connsiteY135" fmla="*/ 56147 h 4777560"/>
              <a:gd name="connsiteX136" fmla="*/ 4258972 w 4931709"/>
              <a:gd name="connsiteY136" fmla="*/ 0 h 4777560"/>
              <a:gd name="connsiteX137" fmla="*/ 4251826 w 4931709"/>
              <a:gd name="connsiteY137" fmla="*/ 9188 h 4777560"/>
              <a:gd name="connsiteX138" fmla="*/ 4252847 w 4931709"/>
              <a:gd name="connsiteY138" fmla="*/ 7146 h 4777560"/>
              <a:gd name="connsiteX139" fmla="*/ 4245701 w 4931709"/>
              <a:gd name="connsiteY139" fmla="*/ 18375 h 4777560"/>
              <a:gd name="connsiteX140" fmla="*/ 4222221 w 4931709"/>
              <a:gd name="connsiteY140" fmla="*/ 52063 h 4777560"/>
              <a:gd name="connsiteX141" fmla="*/ 4178325 w 4931709"/>
              <a:gd name="connsiteY141" fmla="*/ 114335 h 4777560"/>
              <a:gd name="connsiteX142" fmla="*/ 3735277 w 4931709"/>
              <a:gd name="connsiteY142" fmla="*/ 547174 h 4777560"/>
              <a:gd name="connsiteX143" fmla="*/ 3657693 w 4931709"/>
              <a:gd name="connsiteY143" fmla="*/ 599237 h 4777560"/>
              <a:gd name="connsiteX144" fmla="*/ 2950247 w 4931709"/>
              <a:gd name="connsiteY144" fmla="*/ 961637 h 4777560"/>
              <a:gd name="connsiteX145" fmla="*/ 2659305 w 4931709"/>
              <a:gd name="connsiteY145" fmla="*/ 1162744 h 4777560"/>
              <a:gd name="connsiteX146" fmla="*/ 2659305 w 4931709"/>
              <a:gd name="connsiteY146" fmla="*/ 1162744 h 4777560"/>
              <a:gd name="connsiteX147" fmla="*/ 2659305 w 4931709"/>
              <a:gd name="connsiteY147" fmla="*/ 1026971 h 4777560"/>
              <a:gd name="connsiteX148" fmla="*/ 2661347 w 4931709"/>
              <a:gd name="connsiteY148" fmla="*/ 859552 h 4777560"/>
              <a:gd name="connsiteX149" fmla="*/ 2689931 w 4931709"/>
              <a:gd name="connsiteY149" fmla="*/ 710509 h 4777560"/>
              <a:gd name="connsiteX150" fmla="*/ 2815495 w 4931709"/>
              <a:gd name="connsiteY150" fmla="*/ 482860 h 4777560"/>
              <a:gd name="connsiteX151" fmla="*/ 2946163 w 4931709"/>
              <a:gd name="connsiteY151" fmla="*/ 360359 h 4777560"/>
              <a:gd name="connsiteX152" fmla="*/ 2969643 w 4931709"/>
              <a:gd name="connsiteY152" fmla="*/ 344025 h 4777560"/>
              <a:gd name="connsiteX153" fmla="*/ 2988018 w 4931709"/>
              <a:gd name="connsiteY153" fmla="*/ 332796 h 4777560"/>
              <a:gd name="connsiteX154" fmla="*/ 3003330 w 4931709"/>
              <a:gd name="connsiteY154" fmla="*/ 323608 h 4777560"/>
              <a:gd name="connsiteX155" fmla="*/ 2986997 w 4931709"/>
              <a:gd name="connsiteY155" fmla="*/ 329733 h 4777560"/>
              <a:gd name="connsiteX156" fmla="*/ 2967601 w 4931709"/>
              <a:gd name="connsiteY156" fmla="*/ 337900 h 4777560"/>
              <a:gd name="connsiteX157" fmla="*/ 2941059 w 4931709"/>
              <a:gd name="connsiteY157" fmla="*/ 350150 h 4777560"/>
              <a:gd name="connsiteX158" fmla="*/ 2909413 w 4931709"/>
              <a:gd name="connsiteY158" fmla="*/ 367505 h 4777560"/>
              <a:gd name="connsiteX159" fmla="*/ 2891037 w 4931709"/>
              <a:gd name="connsiteY159" fmla="*/ 377713 h 4777560"/>
              <a:gd name="connsiteX160" fmla="*/ 2871641 w 4931709"/>
              <a:gd name="connsiteY160" fmla="*/ 389963 h 4777560"/>
              <a:gd name="connsiteX161" fmla="*/ 2830807 w 4931709"/>
              <a:gd name="connsiteY161" fmla="*/ 419568 h 4777560"/>
              <a:gd name="connsiteX162" fmla="*/ 2809370 w 4931709"/>
              <a:gd name="connsiteY162" fmla="*/ 436922 h 4777560"/>
              <a:gd name="connsiteX163" fmla="*/ 2787932 w 4931709"/>
              <a:gd name="connsiteY163" fmla="*/ 456318 h 4777560"/>
              <a:gd name="connsiteX164" fmla="*/ 2766494 w 4931709"/>
              <a:gd name="connsiteY164" fmla="*/ 477756 h 4777560"/>
              <a:gd name="connsiteX165" fmla="*/ 2745056 w 4931709"/>
              <a:gd name="connsiteY165" fmla="*/ 501235 h 4777560"/>
              <a:gd name="connsiteX166" fmla="*/ 2723619 w 4931709"/>
              <a:gd name="connsiteY166" fmla="*/ 526757 h 4777560"/>
              <a:gd name="connsiteX167" fmla="*/ 2713410 w 4931709"/>
              <a:gd name="connsiteY167" fmla="*/ 540028 h 4777560"/>
              <a:gd name="connsiteX168" fmla="*/ 2703202 w 4931709"/>
              <a:gd name="connsiteY168" fmla="*/ 554319 h 4777560"/>
              <a:gd name="connsiteX169" fmla="*/ 2630721 w 4931709"/>
              <a:gd name="connsiteY169" fmla="*/ 687029 h 4777560"/>
              <a:gd name="connsiteX170" fmla="*/ 2589888 w 4931709"/>
              <a:gd name="connsiteY170" fmla="*/ 850365 h 4777560"/>
              <a:gd name="connsiteX171" fmla="*/ 2583763 w 4931709"/>
              <a:gd name="connsiteY171" fmla="*/ 1026971 h 4777560"/>
              <a:gd name="connsiteX172" fmla="*/ 2585804 w 4931709"/>
              <a:gd name="connsiteY172" fmla="*/ 1196432 h 4777560"/>
              <a:gd name="connsiteX173" fmla="*/ 2576617 w 4931709"/>
              <a:gd name="connsiteY173" fmla="*/ 1305662 h 4777560"/>
              <a:gd name="connsiteX174" fmla="*/ 2537825 w 4931709"/>
              <a:gd name="connsiteY174" fmla="*/ 1614979 h 4777560"/>
              <a:gd name="connsiteX175" fmla="*/ 2537825 w 4931709"/>
              <a:gd name="connsiteY175" fmla="*/ 1617020 h 4777560"/>
              <a:gd name="connsiteX176" fmla="*/ 2537825 w 4931709"/>
              <a:gd name="connsiteY176" fmla="*/ 1625187 h 4777560"/>
              <a:gd name="connsiteX177" fmla="*/ 2537825 w 4931709"/>
              <a:gd name="connsiteY177" fmla="*/ 1638458 h 4777560"/>
              <a:gd name="connsiteX178" fmla="*/ 2498011 w 4931709"/>
              <a:gd name="connsiteY178" fmla="*/ 1595583 h 4777560"/>
              <a:gd name="connsiteX179" fmla="*/ 2372447 w 4931709"/>
              <a:gd name="connsiteY179" fmla="*/ 1452664 h 4777560"/>
              <a:gd name="connsiteX180" fmla="*/ 2270363 w 4931709"/>
              <a:gd name="connsiteY180" fmla="*/ 1308725 h 4777560"/>
              <a:gd name="connsiteX181" fmla="*/ 2132548 w 4931709"/>
              <a:gd name="connsiteY181" fmla="*/ 1021867 h 4777560"/>
              <a:gd name="connsiteX182" fmla="*/ 2067214 w 4931709"/>
              <a:gd name="connsiteY182" fmla="*/ 763593 h 4777560"/>
              <a:gd name="connsiteX183" fmla="*/ 2051902 w 4931709"/>
              <a:gd name="connsiteY183" fmla="*/ 653342 h 4777560"/>
              <a:gd name="connsiteX184" fmla="*/ 2037610 w 4931709"/>
              <a:gd name="connsiteY184" fmla="*/ 559424 h 4777560"/>
              <a:gd name="connsiteX185" fmla="*/ 2019234 w 4931709"/>
              <a:gd name="connsiteY185" fmla="*/ 481839 h 4777560"/>
              <a:gd name="connsiteX186" fmla="*/ 1993713 w 4931709"/>
              <a:gd name="connsiteY186" fmla="*/ 401193 h 4777560"/>
              <a:gd name="connsiteX187" fmla="*/ 1920212 w 4931709"/>
              <a:gd name="connsiteY187" fmla="*/ 259295 h 4777560"/>
              <a:gd name="connsiteX188" fmla="*/ 1894691 w 4931709"/>
              <a:gd name="connsiteY188" fmla="*/ 224586 h 4777560"/>
              <a:gd name="connsiteX189" fmla="*/ 1885504 w 4931709"/>
              <a:gd name="connsiteY189" fmla="*/ 213357 h 4777560"/>
              <a:gd name="connsiteX190" fmla="*/ 1893670 w 4931709"/>
              <a:gd name="connsiteY190" fmla="*/ 225607 h 4777560"/>
              <a:gd name="connsiteX191" fmla="*/ 1915108 w 4931709"/>
              <a:gd name="connsiteY191" fmla="*/ 262357 h 4777560"/>
              <a:gd name="connsiteX192" fmla="*/ 1975338 w 4931709"/>
              <a:gd name="connsiteY192" fmla="*/ 407318 h 4777560"/>
              <a:gd name="connsiteX193" fmla="*/ 1998817 w 4931709"/>
              <a:gd name="connsiteY193" fmla="*/ 512465 h 4777560"/>
              <a:gd name="connsiteX194" fmla="*/ 2009026 w 4931709"/>
              <a:gd name="connsiteY194" fmla="*/ 635987 h 4777560"/>
              <a:gd name="connsiteX195" fmla="*/ 2016172 w 4931709"/>
              <a:gd name="connsiteY195" fmla="*/ 775843 h 4777560"/>
              <a:gd name="connsiteX196" fmla="*/ 2020255 w 4931709"/>
              <a:gd name="connsiteY196" fmla="*/ 812594 h 4777560"/>
              <a:gd name="connsiteX197" fmla="*/ 2025360 w 4931709"/>
              <a:gd name="connsiteY197" fmla="*/ 850365 h 4777560"/>
              <a:gd name="connsiteX198" fmla="*/ 2028422 w 4931709"/>
              <a:gd name="connsiteY198" fmla="*/ 870782 h 4777560"/>
              <a:gd name="connsiteX199" fmla="*/ 2060068 w 4931709"/>
              <a:gd name="connsiteY199" fmla="*/ 1042284 h 4777560"/>
              <a:gd name="connsiteX200" fmla="*/ 2109069 w 4931709"/>
              <a:gd name="connsiteY200" fmla="*/ 1198473 h 4777560"/>
              <a:gd name="connsiteX201" fmla="*/ 1990651 w 4931709"/>
              <a:gd name="connsiteY201" fmla="*/ 1104556 h 4777560"/>
              <a:gd name="connsiteX202" fmla="*/ 1718085 w 4931709"/>
              <a:gd name="connsiteY202" fmla="*/ 964700 h 4777560"/>
              <a:gd name="connsiteX203" fmla="*/ 1432248 w 4931709"/>
              <a:gd name="connsiteY203" fmla="*/ 874865 h 4777560"/>
              <a:gd name="connsiteX204" fmla="*/ 1169890 w 4931709"/>
              <a:gd name="connsiteY204" fmla="*/ 803406 h 4777560"/>
              <a:gd name="connsiteX205" fmla="*/ 757468 w 4931709"/>
              <a:gd name="connsiteY205" fmla="*/ 620674 h 4777560"/>
              <a:gd name="connsiteX206" fmla="*/ 537986 w 4931709"/>
              <a:gd name="connsiteY206" fmla="*/ 409359 h 4777560"/>
              <a:gd name="connsiteX207" fmla="*/ 496131 w 4931709"/>
              <a:gd name="connsiteY207" fmla="*/ 335858 h 4777560"/>
              <a:gd name="connsiteX208" fmla="*/ 482860 w 4931709"/>
              <a:gd name="connsiteY208" fmla="*/ 309316 h 4777560"/>
              <a:gd name="connsiteX209" fmla="*/ 491027 w 4931709"/>
              <a:gd name="connsiteY209" fmla="*/ 337900 h 4777560"/>
              <a:gd name="connsiteX210" fmla="*/ 522673 w 4931709"/>
              <a:gd name="connsiteY210" fmla="*/ 418547 h 4777560"/>
              <a:gd name="connsiteX211" fmla="*/ 536965 w 4931709"/>
              <a:gd name="connsiteY211" fmla="*/ 445089 h 4777560"/>
              <a:gd name="connsiteX212" fmla="*/ 544111 w 4931709"/>
              <a:gd name="connsiteY212" fmla="*/ 459381 h 4777560"/>
              <a:gd name="connsiteX213" fmla="*/ 553299 w 4931709"/>
              <a:gd name="connsiteY213" fmla="*/ 473673 h 4777560"/>
              <a:gd name="connsiteX214" fmla="*/ 572695 w 4931709"/>
              <a:gd name="connsiteY214" fmla="*/ 504298 h 4777560"/>
              <a:gd name="connsiteX215" fmla="*/ 596174 w 4931709"/>
              <a:gd name="connsiteY215" fmla="*/ 535944 h 4777560"/>
              <a:gd name="connsiteX216" fmla="*/ 723780 w 4931709"/>
              <a:gd name="connsiteY216" fmla="*/ 667633 h 4777560"/>
              <a:gd name="connsiteX217" fmla="*/ 1140286 w 4931709"/>
              <a:gd name="connsiteY217" fmla="*/ 896303 h 4777560"/>
              <a:gd name="connsiteX218" fmla="*/ 1402643 w 4931709"/>
              <a:gd name="connsiteY218" fmla="*/ 982054 h 4777560"/>
              <a:gd name="connsiteX219" fmla="*/ 1677251 w 4931709"/>
              <a:gd name="connsiteY219" fmla="*/ 1073930 h 4777560"/>
              <a:gd name="connsiteX220" fmla="*/ 1930421 w 4931709"/>
              <a:gd name="connsiteY220" fmla="*/ 1198473 h 4777560"/>
              <a:gd name="connsiteX221" fmla="*/ 2138674 w 4931709"/>
              <a:gd name="connsiteY221" fmla="*/ 1362830 h 4777560"/>
              <a:gd name="connsiteX222" fmla="*/ 2231571 w 4931709"/>
              <a:gd name="connsiteY222" fmla="*/ 1448581 h 4777560"/>
              <a:gd name="connsiteX223" fmla="*/ 2281592 w 4931709"/>
              <a:gd name="connsiteY223" fmla="*/ 1524123 h 4777560"/>
              <a:gd name="connsiteX224" fmla="*/ 2403073 w 4931709"/>
              <a:gd name="connsiteY224" fmla="*/ 1681334 h 4777560"/>
              <a:gd name="connsiteX225" fmla="*/ 2651138 w 4931709"/>
              <a:gd name="connsiteY225" fmla="*/ 2002900 h 4777560"/>
              <a:gd name="connsiteX226" fmla="*/ 2734848 w 4931709"/>
              <a:gd name="connsiteY226" fmla="*/ 2185632 h 4777560"/>
              <a:gd name="connsiteX227" fmla="*/ 2761390 w 4931709"/>
              <a:gd name="connsiteY227" fmla="*/ 2385718 h 4777560"/>
              <a:gd name="connsiteX228" fmla="*/ 2724639 w 4931709"/>
              <a:gd name="connsiteY228" fmla="*/ 2584783 h 4777560"/>
              <a:gd name="connsiteX229" fmla="*/ 2706264 w 4931709"/>
              <a:gd name="connsiteY229" fmla="*/ 2631742 h 4777560"/>
              <a:gd name="connsiteX230" fmla="*/ 2684826 w 4931709"/>
              <a:gd name="connsiteY230" fmla="*/ 2678700 h 4777560"/>
              <a:gd name="connsiteX231" fmla="*/ 2634805 w 4931709"/>
              <a:gd name="connsiteY231" fmla="*/ 2771597 h 4777560"/>
              <a:gd name="connsiteX232" fmla="*/ 2529658 w 4931709"/>
              <a:gd name="connsiteY232" fmla="*/ 2960454 h 4777560"/>
              <a:gd name="connsiteX233" fmla="*/ 2484740 w 4931709"/>
              <a:gd name="connsiteY233" fmla="*/ 3060497 h 4777560"/>
              <a:gd name="connsiteX234" fmla="*/ 2475553 w 4931709"/>
              <a:gd name="connsiteY234" fmla="*/ 3086018 h 4777560"/>
              <a:gd name="connsiteX235" fmla="*/ 2466365 w 4931709"/>
              <a:gd name="connsiteY235" fmla="*/ 3112560 h 4777560"/>
              <a:gd name="connsiteX236" fmla="*/ 2452073 w 4931709"/>
              <a:gd name="connsiteY236" fmla="*/ 3164623 h 4777560"/>
              <a:gd name="connsiteX237" fmla="*/ 2442886 w 4931709"/>
              <a:gd name="connsiteY237" fmla="*/ 3207499 h 4777560"/>
              <a:gd name="connsiteX238" fmla="*/ 2398989 w 4931709"/>
              <a:gd name="connsiteY238" fmla="*/ 3126852 h 4777560"/>
              <a:gd name="connsiteX239" fmla="*/ 2340801 w 4931709"/>
              <a:gd name="connsiteY239" fmla="*/ 3051309 h 4777560"/>
              <a:gd name="connsiteX240" fmla="*/ 2271384 w 4931709"/>
              <a:gd name="connsiteY240" fmla="*/ 2984954 h 4777560"/>
              <a:gd name="connsiteX241" fmla="*/ 2193799 w 4931709"/>
              <a:gd name="connsiteY241" fmla="*/ 2927787 h 4777560"/>
              <a:gd name="connsiteX242" fmla="*/ 2022297 w 4931709"/>
              <a:gd name="connsiteY242" fmla="*/ 2841015 h 4777560"/>
              <a:gd name="connsiteX243" fmla="*/ 1880399 w 4931709"/>
              <a:gd name="connsiteY243" fmla="*/ 2793035 h 4777560"/>
              <a:gd name="connsiteX244" fmla="*/ 1852837 w 4931709"/>
              <a:gd name="connsiteY244" fmla="*/ 2717493 h 4777560"/>
              <a:gd name="connsiteX245" fmla="*/ 1856920 w 4931709"/>
              <a:gd name="connsiteY245" fmla="*/ 2600095 h 4777560"/>
              <a:gd name="connsiteX246" fmla="*/ 1896733 w 4931709"/>
              <a:gd name="connsiteY246" fmla="*/ 2491886 h 4777560"/>
              <a:gd name="connsiteX247" fmla="*/ 2012088 w 4931709"/>
              <a:gd name="connsiteY247" fmla="*/ 2325488 h 4777560"/>
              <a:gd name="connsiteX248" fmla="*/ 2116215 w 4931709"/>
              <a:gd name="connsiteY248" fmla="*/ 2232591 h 4777560"/>
              <a:gd name="connsiteX249" fmla="*/ 2147861 w 4931709"/>
              <a:gd name="connsiteY249" fmla="*/ 2210132 h 4777560"/>
              <a:gd name="connsiteX250" fmla="*/ 2159091 w 4931709"/>
              <a:gd name="connsiteY250" fmla="*/ 2202986 h 4777560"/>
              <a:gd name="connsiteX251" fmla="*/ 2146840 w 4931709"/>
              <a:gd name="connsiteY251" fmla="*/ 2207070 h 4777560"/>
              <a:gd name="connsiteX252" fmla="*/ 2111111 w 4931709"/>
              <a:gd name="connsiteY252" fmla="*/ 2221361 h 4777560"/>
              <a:gd name="connsiteX253" fmla="*/ 1987588 w 4931709"/>
              <a:gd name="connsiteY253" fmla="*/ 2295883 h 4777560"/>
              <a:gd name="connsiteX254" fmla="*/ 1841607 w 4931709"/>
              <a:gd name="connsiteY254" fmla="*/ 2458198 h 4777560"/>
              <a:gd name="connsiteX255" fmla="*/ 1823232 w 4931709"/>
              <a:gd name="connsiteY255" fmla="*/ 2491886 h 4777560"/>
              <a:gd name="connsiteX256" fmla="*/ 1832420 w 4931709"/>
              <a:gd name="connsiteY256" fmla="*/ 2273425 h 4777560"/>
              <a:gd name="connsiteX257" fmla="*/ 1808940 w 4931709"/>
              <a:gd name="connsiteY257" fmla="*/ 2044755 h 4777560"/>
              <a:gd name="connsiteX258" fmla="*/ 1755856 w 4931709"/>
              <a:gd name="connsiteY258" fmla="*/ 1863044 h 4777560"/>
              <a:gd name="connsiteX259" fmla="*/ 1697668 w 4931709"/>
              <a:gd name="connsiteY259" fmla="*/ 1750751 h 4777560"/>
              <a:gd name="connsiteX260" fmla="*/ 1678272 w 4931709"/>
              <a:gd name="connsiteY260" fmla="*/ 1722168 h 4777560"/>
              <a:gd name="connsiteX261" fmla="*/ 1671126 w 4931709"/>
              <a:gd name="connsiteY261" fmla="*/ 1712980 h 4777560"/>
              <a:gd name="connsiteX262" fmla="*/ 1675209 w 4931709"/>
              <a:gd name="connsiteY262" fmla="*/ 1724209 h 4777560"/>
              <a:gd name="connsiteX263" fmla="*/ 1686439 w 4931709"/>
              <a:gd name="connsiteY263" fmla="*/ 1755855 h 4777560"/>
              <a:gd name="connsiteX264" fmla="*/ 1719106 w 4931709"/>
              <a:gd name="connsiteY264" fmla="*/ 1874274 h 4777560"/>
              <a:gd name="connsiteX265" fmla="*/ 1745648 w 4931709"/>
              <a:gd name="connsiteY265" fmla="*/ 2052922 h 4777560"/>
              <a:gd name="connsiteX266" fmla="*/ 1756877 w 4931709"/>
              <a:gd name="connsiteY266" fmla="*/ 2274446 h 4777560"/>
              <a:gd name="connsiteX267" fmla="*/ 1758919 w 4931709"/>
              <a:gd name="connsiteY267" fmla="*/ 2498011 h 4777560"/>
              <a:gd name="connsiteX268" fmla="*/ 1756877 w 4931709"/>
              <a:gd name="connsiteY268" fmla="*/ 2615408 h 4777560"/>
              <a:gd name="connsiteX269" fmla="*/ 1756877 w 4931709"/>
              <a:gd name="connsiteY269" fmla="*/ 2616429 h 4777560"/>
              <a:gd name="connsiteX270" fmla="*/ 1738502 w 4931709"/>
              <a:gd name="connsiteY270" fmla="*/ 2660325 h 4777560"/>
              <a:gd name="connsiteX271" fmla="*/ 1733397 w 4931709"/>
              <a:gd name="connsiteY271" fmla="*/ 2717493 h 4777560"/>
              <a:gd name="connsiteX272" fmla="*/ 1741564 w 4931709"/>
              <a:gd name="connsiteY272" fmla="*/ 2753222 h 4777560"/>
              <a:gd name="connsiteX273" fmla="*/ 1679293 w 4931709"/>
              <a:gd name="connsiteY273" fmla="*/ 2737910 h 4777560"/>
              <a:gd name="connsiteX274" fmla="*/ 1365893 w 4931709"/>
              <a:gd name="connsiteY274" fmla="*/ 2656242 h 4777560"/>
              <a:gd name="connsiteX275" fmla="*/ 1222974 w 4931709"/>
              <a:gd name="connsiteY275" fmla="*/ 2611325 h 4777560"/>
              <a:gd name="connsiteX276" fmla="*/ 1155598 w 4931709"/>
              <a:gd name="connsiteY276" fmla="*/ 2587845 h 4777560"/>
              <a:gd name="connsiteX277" fmla="*/ 1091285 w 4931709"/>
              <a:gd name="connsiteY277" fmla="*/ 2562324 h 4777560"/>
              <a:gd name="connsiteX278" fmla="*/ 971846 w 4931709"/>
              <a:gd name="connsiteY278" fmla="*/ 2508219 h 4777560"/>
              <a:gd name="connsiteX279" fmla="*/ 867720 w 4931709"/>
              <a:gd name="connsiteY279" fmla="*/ 2450031 h 4777560"/>
              <a:gd name="connsiteX280" fmla="*/ 778906 w 4931709"/>
              <a:gd name="connsiteY280" fmla="*/ 2386739 h 4777560"/>
              <a:gd name="connsiteX281" fmla="*/ 706426 w 4931709"/>
              <a:gd name="connsiteY281" fmla="*/ 2321404 h 4777560"/>
              <a:gd name="connsiteX282" fmla="*/ 612508 w 4931709"/>
              <a:gd name="connsiteY282" fmla="*/ 2196861 h 4777560"/>
              <a:gd name="connsiteX283" fmla="*/ 604341 w 4931709"/>
              <a:gd name="connsiteY283" fmla="*/ 2182569 h 4777560"/>
              <a:gd name="connsiteX284" fmla="*/ 598216 w 4931709"/>
              <a:gd name="connsiteY284" fmla="*/ 2169298 h 4777560"/>
              <a:gd name="connsiteX285" fmla="*/ 586987 w 4931709"/>
              <a:gd name="connsiteY285" fmla="*/ 2144798 h 4777560"/>
              <a:gd name="connsiteX286" fmla="*/ 572695 w 4931709"/>
              <a:gd name="connsiteY286" fmla="*/ 2104985 h 4777560"/>
              <a:gd name="connsiteX287" fmla="*/ 563507 w 4931709"/>
              <a:gd name="connsiteY287" fmla="*/ 2070276 h 4777560"/>
              <a:gd name="connsiteX288" fmla="*/ 566570 w 4931709"/>
              <a:gd name="connsiteY288" fmla="*/ 2106006 h 4777560"/>
              <a:gd name="connsiteX289" fmla="*/ 574737 w 4931709"/>
              <a:gd name="connsiteY289" fmla="*/ 2148881 h 4777560"/>
              <a:gd name="connsiteX290" fmla="*/ 581883 w 4931709"/>
              <a:gd name="connsiteY290" fmla="*/ 2176444 h 4777560"/>
              <a:gd name="connsiteX291" fmla="*/ 585966 w 4931709"/>
              <a:gd name="connsiteY291" fmla="*/ 2191757 h 4777560"/>
              <a:gd name="connsiteX292" fmla="*/ 592091 w 4931709"/>
              <a:gd name="connsiteY292" fmla="*/ 2207070 h 4777560"/>
              <a:gd name="connsiteX293" fmla="*/ 671717 w 4931709"/>
              <a:gd name="connsiteY293" fmla="*/ 2353051 h 4777560"/>
              <a:gd name="connsiteX294" fmla="*/ 739093 w 4931709"/>
              <a:gd name="connsiteY294" fmla="*/ 2432677 h 4777560"/>
              <a:gd name="connsiteX295" fmla="*/ 824844 w 4931709"/>
              <a:gd name="connsiteY295" fmla="*/ 2511282 h 4777560"/>
              <a:gd name="connsiteX296" fmla="*/ 928970 w 4931709"/>
              <a:gd name="connsiteY296" fmla="*/ 2586824 h 4777560"/>
              <a:gd name="connsiteX297" fmla="*/ 1048409 w 4931709"/>
              <a:gd name="connsiteY297" fmla="*/ 2656242 h 4777560"/>
              <a:gd name="connsiteX298" fmla="*/ 1113744 w 4931709"/>
              <a:gd name="connsiteY298" fmla="*/ 2688909 h 4777560"/>
              <a:gd name="connsiteX299" fmla="*/ 1182140 w 4931709"/>
              <a:gd name="connsiteY299" fmla="*/ 2719534 h 4777560"/>
              <a:gd name="connsiteX300" fmla="*/ 1327101 w 4931709"/>
              <a:gd name="connsiteY300" fmla="*/ 2776702 h 4777560"/>
              <a:gd name="connsiteX301" fmla="*/ 1391414 w 4931709"/>
              <a:gd name="connsiteY301" fmla="*/ 2799160 h 4777560"/>
              <a:gd name="connsiteX302" fmla="*/ 1257683 w 4931709"/>
              <a:gd name="connsiteY302" fmla="*/ 2808348 h 4777560"/>
              <a:gd name="connsiteX303" fmla="*/ 1041264 w 4931709"/>
              <a:gd name="connsiteY303" fmla="*/ 2851224 h 4777560"/>
              <a:gd name="connsiteX304" fmla="*/ 829948 w 4931709"/>
              <a:gd name="connsiteY304" fmla="*/ 2879807 h 4777560"/>
              <a:gd name="connsiteX305" fmla="*/ 630883 w 4931709"/>
              <a:gd name="connsiteY305" fmla="*/ 2879807 h 4777560"/>
              <a:gd name="connsiteX306" fmla="*/ 296045 w 4931709"/>
              <a:gd name="connsiteY306" fmla="*/ 2823661 h 4777560"/>
              <a:gd name="connsiteX307" fmla="*/ 170481 w 4931709"/>
              <a:gd name="connsiteY307" fmla="*/ 2783848 h 4777560"/>
              <a:gd name="connsiteX308" fmla="*/ 119439 w 4931709"/>
              <a:gd name="connsiteY308" fmla="*/ 2764452 h 4777560"/>
              <a:gd name="connsiteX309" fmla="*/ 77584 w 4931709"/>
              <a:gd name="connsiteY309" fmla="*/ 2746076 h 4777560"/>
              <a:gd name="connsiteX310" fmla="*/ 59209 w 4931709"/>
              <a:gd name="connsiteY310" fmla="*/ 2738931 h 4777560"/>
              <a:gd name="connsiteX311" fmla="*/ 43896 w 4931709"/>
              <a:gd name="connsiteY311" fmla="*/ 2731784 h 4777560"/>
              <a:gd name="connsiteX312" fmla="*/ 19396 w 4931709"/>
              <a:gd name="connsiteY312" fmla="*/ 2720555 h 4777560"/>
              <a:gd name="connsiteX313" fmla="*/ 0 w 4931709"/>
              <a:gd name="connsiteY313" fmla="*/ 2711368 h 4777560"/>
              <a:gd name="connsiteX314" fmla="*/ 18375 w 4931709"/>
              <a:gd name="connsiteY314" fmla="*/ 2723618 h 4777560"/>
              <a:gd name="connsiteX315" fmla="*/ 40834 w 4931709"/>
              <a:gd name="connsiteY315" fmla="*/ 2738931 h 4777560"/>
              <a:gd name="connsiteX316" fmla="*/ 55126 w 4931709"/>
              <a:gd name="connsiteY316" fmla="*/ 2748118 h 4777560"/>
              <a:gd name="connsiteX317" fmla="*/ 71459 w 4931709"/>
              <a:gd name="connsiteY317" fmla="*/ 2758327 h 4777560"/>
              <a:gd name="connsiteX318" fmla="*/ 111272 w 4931709"/>
              <a:gd name="connsiteY318" fmla="*/ 2781806 h 4777560"/>
              <a:gd name="connsiteX319" fmla="*/ 160273 w 4931709"/>
              <a:gd name="connsiteY319" fmla="*/ 2807327 h 4777560"/>
              <a:gd name="connsiteX320" fmla="*/ 282775 w 4931709"/>
              <a:gd name="connsiteY320" fmla="*/ 2861432 h 4777560"/>
              <a:gd name="connsiteX321" fmla="*/ 623737 w 4931709"/>
              <a:gd name="connsiteY321" fmla="*/ 2945141 h 4777560"/>
              <a:gd name="connsiteX322" fmla="*/ 831990 w 4931709"/>
              <a:gd name="connsiteY322" fmla="*/ 2953308 h 4777560"/>
              <a:gd name="connsiteX323" fmla="*/ 1054534 w 4931709"/>
              <a:gd name="connsiteY323" fmla="*/ 2926766 h 4777560"/>
              <a:gd name="connsiteX324" fmla="*/ 1266871 w 4931709"/>
              <a:gd name="connsiteY324" fmla="*/ 2880828 h 4777560"/>
              <a:gd name="connsiteX325" fmla="*/ 1463894 w 4931709"/>
              <a:gd name="connsiteY325" fmla="*/ 2866536 h 4777560"/>
              <a:gd name="connsiteX326" fmla="*/ 1644584 w 4931709"/>
              <a:gd name="connsiteY326" fmla="*/ 2879807 h 4777560"/>
              <a:gd name="connsiteX327" fmla="*/ 1661938 w 4931709"/>
              <a:gd name="connsiteY327" fmla="*/ 2882870 h 4777560"/>
              <a:gd name="connsiteX328" fmla="*/ 1969213 w 4931709"/>
              <a:gd name="connsiteY328" fmla="*/ 2978829 h 4777560"/>
              <a:gd name="connsiteX329" fmla="*/ 2116215 w 4931709"/>
              <a:gd name="connsiteY329" fmla="*/ 3051309 h 4777560"/>
              <a:gd name="connsiteX330" fmla="*/ 2180528 w 4931709"/>
              <a:gd name="connsiteY330" fmla="*/ 3096227 h 4777560"/>
              <a:gd name="connsiteX331" fmla="*/ 2237696 w 4931709"/>
              <a:gd name="connsiteY331" fmla="*/ 3147269 h 4777560"/>
              <a:gd name="connsiteX332" fmla="*/ 2285675 w 4931709"/>
              <a:gd name="connsiteY332" fmla="*/ 3203416 h 4777560"/>
              <a:gd name="connsiteX333" fmla="*/ 2322426 w 4931709"/>
              <a:gd name="connsiteY333" fmla="*/ 3263645 h 4777560"/>
              <a:gd name="connsiteX334" fmla="*/ 2347947 w 4931709"/>
              <a:gd name="connsiteY334" fmla="*/ 3327959 h 4777560"/>
              <a:gd name="connsiteX335" fmla="*/ 2363260 w 4931709"/>
              <a:gd name="connsiteY335" fmla="*/ 3396355 h 4777560"/>
              <a:gd name="connsiteX336" fmla="*/ 2372447 w 4931709"/>
              <a:gd name="connsiteY336" fmla="*/ 3538253 h 4777560"/>
              <a:gd name="connsiteX337" fmla="*/ 2368364 w 4931709"/>
              <a:gd name="connsiteY337" fmla="*/ 3680151 h 4777560"/>
              <a:gd name="connsiteX338" fmla="*/ 2362239 w 4931709"/>
              <a:gd name="connsiteY338" fmla="*/ 3851653 h 4777560"/>
              <a:gd name="connsiteX339" fmla="*/ 2339780 w 4931709"/>
              <a:gd name="connsiteY339" fmla="*/ 3842465 h 4777560"/>
              <a:gd name="connsiteX340" fmla="*/ 2291801 w 4931709"/>
              <a:gd name="connsiteY340" fmla="*/ 3825111 h 4777560"/>
              <a:gd name="connsiteX341" fmla="*/ 2242800 w 4931709"/>
              <a:gd name="connsiteY341" fmla="*/ 3808777 h 4777560"/>
              <a:gd name="connsiteX342" fmla="*/ 2137653 w 4931709"/>
              <a:gd name="connsiteY342" fmla="*/ 3779173 h 4777560"/>
              <a:gd name="connsiteX343" fmla="*/ 2020255 w 4931709"/>
              <a:gd name="connsiteY343" fmla="*/ 3761818 h 4777560"/>
              <a:gd name="connsiteX344" fmla="*/ 1957984 w 4931709"/>
              <a:gd name="connsiteY344" fmla="*/ 3761818 h 4777560"/>
              <a:gd name="connsiteX345" fmla="*/ 1896733 w 4931709"/>
              <a:gd name="connsiteY345" fmla="*/ 3768964 h 4777560"/>
              <a:gd name="connsiteX346" fmla="*/ 1781377 w 4931709"/>
              <a:gd name="connsiteY346" fmla="*/ 3789381 h 4777560"/>
              <a:gd name="connsiteX347" fmla="*/ 1676230 w 4931709"/>
              <a:gd name="connsiteY347" fmla="*/ 3795506 h 4777560"/>
              <a:gd name="connsiteX348" fmla="*/ 1576187 w 4931709"/>
              <a:gd name="connsiteY348" fmla="*/ 3779173 h 4777560"/>
              <a:gd name="connsiteX349" fmla="*/ 1485332 w 4931709"/>
              <a:gd name="connsiteY349" fmla="*/ 3743443 h 4777560"/>
              <a:gd name="connsiteX350" fmla="*/ 1403664 w 4931709"/>
              <a:gd name="connsiteY350" fmla="*/ 3690359 h 4777560"/>
              <a:gd name="connsiteX351" fmla="*/ 1325059 w 4931709"/>
              <a:gd name="connsiteY351" fmla="*/ 3629108 h 4777560"/>
              <a:gd name="connsiteX352" fmla="*/ 1285246 w 4931709"/>
              <a:gd name="connsiteY352" fmla="*/ 3599504 h 4777560"/>
              <a:gd name="connsiteX353" fmla="*/ 1244412 w 4931709"/>
              <a:gd name="connsiteY353" fmla="*/ 3572962 h 4777560"/>
              <a:gd name="connsiteX354" fmla="*/ 1084139 w 4931709"/>
              <a:gd name="connsiteY354" fmla="*/ 3498440 h 4777560"/>
              <a:gd name="connsiteX355" fmla="*/ 943262 w 4931709"/>
              <a:gd name="connsiteY355" fmla="*/ 3464752 h 4777560"/>
              <a:gd name="connsiteX356" fmla="*/ 885074 w 4931709"/>
              <a:gd name="connsiteY356" fmla="*/ 3458627 h 4777560"/>
              <a:gd name="connsiteX357" fmla="*/ 836073 w 4931709"/>
              <a:gd name="connsiteY357" fmla="*/ 3457606 h 4777560"/>
              <a:gd name="connsiteX358" fmla="*/ 815656 w 4931709"/>
              <a:gd name="connsiteY358" fmla="*/ 3457606 h 4777560"/>
              <a:gd name="connsiteX359" fmla="*/ 797281 w 4931709"/>
              <a:gd name="connsiteY359" fmla="*/ 3458627 h 4777560"/>
              <a:gd name="connsiteX360" fmla="*/ 768697 w 4931709"/>
              <a:gd name="connsiteY360" fmla="*/ 3460669 h 4777560"/>
              <a:gd name="connsiteX361" fmla="*/ 745218 w 4931709"/>
              <a:gd name="connsiteY361" fmla="*/ 3462710 h 4777560"/>
              <a:gd name="connsiteX362" fmla="*/ 768697 w 4931709"/>
              <a:gd name="connsiteY362" fmla="*/ 3464752 h 4777560"/>
              <a:gd name="connsiteX363" fmla="*/ 796260 w 4931709"/>
              <a:gd name="connsiteY363" fmla="*/ 3467815 h 4777560"/>
              <a:gd name="connsiteX364" fmla="*/ 813615 w 4931709"/>
              <a:gd name="connsiteY364" fmla="*/ 3469856 h 4777560"/>
              <a:gd name="connsiteX365" fmla="*/ 834032 w 4931709"/>
              <a:gd name="connsiteY365" fmla="*/ 3473940 h 4777560"/>
              <a:gd name="connsiteX366" fmla="*/ 880991 w 4931709"/>
              <a:gd name="connsiteY366" fmla="*/ 3484148 h 4777560"/>
              <a:gd name="connsiteX367" fmla="*/ 935095 w 4931709"/>
              <a:gd name="connsiteY367" fmla="*/ 3499461 h 4777560"/>
              <a:gd name="connsiteX368" fmla="*/ 1061680 w 4931709"/>
              <a:gd name="connsiteY368" fmla="*/ 3550503 h 4777560"/>
              <a:gd name="connsiteX369" fmla="*/ 1199495 w 4931709"/>
              <a:gd name="connsiteY369" fmla="*/ 3637275 h 4777560"/>
              <a:gd name="connsiteX370" fmla="*/ 1267891 w 4931709"/>
              <a:gd name="connsiteY370" fmla="*/ 3696484 h 4777560"/>
              <a:gd name="connsiteX371" fmla="*/ 1342413 w 4931709"/>
              <a:gd name="connsiteY371" fmla="*/ 3765902 h 4777560"/>
              <a:gd name="connsiteX372" fmla="*/ 1433269 w 4931709"/>
              <a:gd name="connsiteY372" fmla="*/ 3834298 h 4777560"/>
              <a:gd name="connsiteX373" fmla="*/ 1544541 w 4931709"/>
              <a:gd name="connsiteY373" fmla="*/ 3884320 h 4777560"/>
              <a:gd name="connsiteX374" fmla="*/ 1669084 w 4931709"/>
              <a:gd name="connsiteY374" fmla="*/ 3907799 h 4777560"/>
              <a:gd name="connsiteX375" fmla="*/ 1797711 w 4931709"/>
              <a:gd name="connsiteY375" fmla="*/ 3901674 h 4777560"/>
              <a:gd name="connsiteX376" fmla="*/ 1913066 w 4931709"/>
              <a:gd name="connsiteY376" fmla="*/ 3880236 h 4777560"/>
              <a:gd name="connsiteX377" fmla="*/ 2015151 w 4931709"/>
              <a:gd name="connsiteY377" fmla="*/ 3871049 h 4777560"/>
              <a:gd name="connsiteX378" fmla="*/ 2030464 w 4931709"/>
              <a:gd name="connsiteY378" fmla="*/ 3871049 h 4777560"/>
              <a:gd name="connsiteX379" fmla="*/ 2085589 w 4931709"/>
              <a:gd name="connsiteY379" fmla="*/ 3899632 h 4777560"/>
              <a:gd name="connsiteX380" fmla="*/ 2185632 w 4931709"/>
              <a:gd name="connsiteY380" fmla="*/ 3973134 h 4777560"/>
              <a:gd name="connsiteX381" fmla="*/ 2195841 w 4931709"/>
              <a:gd name="connsiteY381" fmla="*/ 3985383 h 4777560"/>
              <a:gd name="connsiteX382" fmla="*/ 2212175 w 4931709"/>
              <a:gd name="connsiteY382" fmla="*/ 4005800 h 4777560"/>
              <a:gd name="connsiteX383" fmla="*/ 2226466 w 4931709"/>
              <a:gd name="connsiteY383" fmla="*/ 4016009 h 4777560"/>
              <a:gd name="connsiteX384" fmla="*/ 2275467 w 4931709"/>
              <a:gd name="connsiteY384" fmla="*/ 4082364 h 4777560"/>
              <a:gd name="connsiteX385" fmla="*/ 2339780 w 4931709"/>
              <a:gd name="connsiteY385" fmla="*/ 4217116 h 4777560"/>
              <a:gd name="connsiteX386" fmla="*/ 2348968 w 4931709"/>
              <a:gd name="connsiteY386" fmla="*/ 4239575 h 4777560"/>
              <a:gd name="connsiteX387" fmla="*/ 2335697 w 4931709"/>
              <a:gd name="connsiteY387" fmla="*/ 4395764 h 4777560"/>
              <a:gd name="connsiteX388" fmla="*/ 2311197 w 4931709"/>
              <a:gd name="connsiteY388" fmla="*/ 4538682 h 4777560"/>
              <a:gd name="connsiteX389" fmla="*/ 2259133 w 4931709"/>
              <a:gd name="connsiteY389" fmla="*/ 4656080 h 4777560"/>
              <a:gd name="connsiteX390" fmla="*/ 2187674 w 4931709"/>
              <a:gd name="connsiteY390" fmla="*/ 4745914 h 4777560"/>
              <a:gd name="connsiteX391" fmla="*/ 2156028 w 4931709"/>
              <a:gd name="connsiteY391" fmla="*/ 4777560 h 4777560"/>
              <a:gd name="connsiteX392" fmla="*/ 2748119 w 4931709"/>
              <a:gd name="connsiteY392" fmla="*/ 4777560 h 4777560"/>
              <a:gd name="connsiteX393" fmla="*/ 2691972 w 4931709"/>
              <a:gd name="connsiteY393" fmla="*/ 4642809 h 4777560"/>
              <a:gd name="connsiteX394" fmla="*/ 2667472 w 4931709"/>
              <a:gd name="connsiteY394" fmla="*/ 4514182 h 4777560"/>
              <a:gd name="connsiteX395" fmla="*/ 2657263 w 4931709"/>
              <a:gd name="connsiteY395" fmla="*/ 4370243 h 4777560"/>
              <a:gd name="connsiteX396" fmla="*/ 2642972 w 4931709"/>
              <a:gd name="connsiteY396" fmla="*/ 4135448 h 4777560"/>
              <a:gd name="connsiteX397" fmla="*/ 2640930 w 4931709"/>
              <a:gd name="connsiteY397" fmla="*/ 4096656 h 4777560"/>
              <a:gd name="connsiteX398" fmla="*/ 2686868 w 4931709"/>
              <a:gd name="connsiteY398" fmla="*/ 3882278 h 4777560"/>
              <a:gd name="connsiteX399" fmla="*/ 2699118 w 4931709"/>
              <a:gd name="connsiteY399" fmla="*/ 3848590 h 4777560"/>
              <a:gd name="connsiteX400" fmla="*/ 2722598 w 4931709"/>
              <a:gd name="connsiteY400" fmla="*/ 3799590 h 4777560"/>
              <a:gd name="connsiteX401" fmla="*/ 2727702 w 4931709"/>
              <a:gd name="connsiteY401" fmla="*/ 3788360 h 4777560"/>
              <a:gd name="connsiteX402" fmla="*/ 2747098 w 4931709"/>
              <a:gd name="connsiteY402" fmla="*/ 3754672 h 4777560"/>
              <a:gd name="connsiteX403" fmla="*/ 2795078 w 4931709"/>
              <a:gd name="connsiteY403" fmla="*/ 3690359 h 4777560"/>
              <a:gd name="connsiteX404" fmla="*/ 2796099 w 4931709"/>
              <a:gd name="connsiteY404" fmla="*/ 3690359 h 4777560"/>
              <a:gd name="connsiteX405" fmla="*/ 2861433 w 4931709"/>
              <a:gd name="connsiteY405" fmla="*/ 3652588 h 4777560"/>
              <a:gd name="connsiteX406" fmla="*/ 2940038 w 4931709"/>
              <a:gd name="connsiteY406" fmla="*/ 3616858 h 4777560"/>
              <a:gd name="connsiteX407" fmla="*/ 3107457 w 4931709"/>
              <a:gd name="connsiteY407" fmla="*/ 3559691 h 4777560"/>
              <a:gd name="connsiteX408" fmla="*/ 3195250 w 4931709"/>
              <a:gd name="connsiteY408" fmla="*/ 3553566 h 4777560"/>
              <a:gd name="connsiteX409" fmla="*/ 3240167 w 4931709"/>
              <a:gd name="connsiteY409" fmla="*/ 3557649 h 4777560"/>
              <a:gd name="connsiteX410" fmla="*/ 3262626 w 4931709"/>
              <a:gd name="connsiteY410" fmla="*/ 3561732 h 4777560"/>
              <a:gd name="connsiteX411" fmla="*/ 3285084 w 4931709"/>
              <a:gd name="connsiteY411" fmla="*/ 3566837 h 4777560"/>
              <a:gd name="connsiteX412" fmla="*/ 3463732 w 4931709"/>
              <a:gd name="connsiteY412" fmla="*/ 3636254 h 4777560"/>
              <a:gd name="connsiteX413" fmla="*/ 3638297 w 4931709"/>
              <a:gd name="connsiteY413" fmla="*/ 3710776 h 4777560"/>
              <a:gd name="connsiteX414" fmla="*/ 3812862 w 4931709"/>
              <a:gd name="connsiteY414" fmla="*/ 3748547 h 4777560"/>
              <a:gd name="connsiteX415" fmla="*/ 3894530 w 4931709"/>
              <a:gd name="connsiteY415" fmla="*/ 3745485 h 4777560"/>
              <a:gd name="connsiteX416" fmla="*/ 3967010 w 4931709"/>
              <a:gd name="connsiteY416" fmla="*/ 3733235 h 4777560"/>
              <a:gd name="connsiteX417" fmla="*/ 4085428 w 4931709"/>
              <a:gd name="connsiteY417" fmla="*/ 3702609 h 4777560"/>
              <a:gd name="connsiteX418" fmla="*/ 4174241 w 4931709"/>
              <a:gd name="connsiteY418" fmla="*/ 3681171 h 4777560"/>
              <a:gd name="connsiteX419" fmla="*/ 4231409 w 4931709"/>
              <a:gd name="connsiteY419" fmla="*/ 3673005 h 4777560"/>
              <a:gd name="connsiteX420" fmla="*/ 4251826 w 4931709"/>
              <a:gd name="connsiteY420" fmla="*/ 3670963 h 4777560"/>
              <a:gd name="connsiteX421" fmla="*/ 4231409 w 4931709"/>
              <a:gd name="connsiteY421" fmla="*/ 3668921 h 4777560"/>
              <a:gd name="connsiteX422" fmla="*/ 4172200 w 4931709"/>
              <a:gd name="connsiteY422" fmla="*/ 3666880 h 4777560"/>
              <a:gd name="connsiteX423" fmla="*/ 4079303 w 4931709"/>
              <a:gd name="connsiteY423" fmla="*/ 3674025 h 4777560"/>
              <a:gd name="connsiteX424" fmla="*/ 3958843 w 4931709"/>
              <a:gd name="connsiteY424" fmla="*/ 3688317 h 4777560"/>
              <a:gd name="connsiteX425" fmla="*/ 3818987 w 4931709"/>
              <a:gd name="connsiteY425" fmla="*/ 3686276 h 4777560"/>
              <a:gd name="connsiteX426" fmla="*/ 3666881 w 4931709"/>
              <a:gd name="connsiteY426" fmla="*/ 3639317 h 4777560"/>
              <a:gd name="connsiteX427" fmla="*/ 3501504 w 4931709"/>
              <a:gd name="connsiteY427" fmla="*/ 3557649 h 4777560"/>
              <a:gd name="connsiteX428" fmla="*/ 3299376 w 4931709"/>
              <a:gd name="connsiteY428" fmla="*/ 3477002 h 4777560"/>
              <a:gd name="connsiteX429" fmla="*/ 3284063 w 4931709"/>
              <a:gd name="connsiteY429" fmla="*/ 3473940 h 4777560"/>
              <a:gd name="connsiteX430" fmla="*/ 3253438 w 4931709"/>
              <a:gd name="connsiteY430" fmla="*/ 3468836 h 4777560"/>
              <a:gd name="connsiteX431" fmla="*/ 3197291 w 4931709"/>
              <a:gd name="connsiteY431" fmla="*/ 3464752 h 4777560"/>
              <a:gd name="connsiteX432" fmla="*/ 3088061 w 4931709"/>
              <a:gd name="connsiteY432" fmla="*/ 3475981 h 4777560"/>
              <a:gd name="connsiteX433" fmla="*/ 3069685 w 4931709"/>
              <a:gd name="connsiteY433" fmla="*/ 3481086 h 4777560"/>
              <a:gd name="connsiteX434" fmla="*/ 3105415 w 4931709"/>
              <a:gd name="connsiteY434" fmla="*/ 3460669 h 4777560"/>
              <a:gd name="connsiteX435" fmla="*/ 3128895 w 4931709"/>
              <a:gd name="connsiteY435" fmla="*/ 3453523 h 4777560"/>
              <a:gd name="connsiteX436" fmla="*/ 3285084 w 4931709"/>
              <a:gd name="connsiteY436" fmla="*/ 3417793 h 4777560"/>
              <a:gd name="connsiteX437" fmla="*/ 3451482 w 4931709"/>
              <a:gd name="connsiteY437" fmla="*/ 3394314 h 4777560"/>
              <a:gd name="connsiteX438" fmla="*/ 3787341 w 4931709"/>
              <a:gd name="connsiteY438" fmla="*/ 3351438 h 4777560"/>
              <a:gd name="connsiteX439" fmla="*/ 3947613 w 4931709"/>
              <a:gd name="connsiteY439" fmla="*/ 3313667 h 4777560"/>
              <a:gd name="connsiteX440" fmla="*/ 4095636 w 4931709"/>
              <a:gd name="connsiteY440" fmla="*/ 3258541 h 4777560"/>
              <a:gd name="connsiteX441" fmla="*/ 4229367 w 4931709"/>
              <a:gd name="connsiteY441" fmla="*/ 3191165 h 4777560"/>
              <a:gd name="connsiteX442" fmla="*/ 4290618 w 4931709"/>
              <a:gd name="connsiteY442" fmla="*/ 3155436 h 4777560"/>
              <a:gd name="connsiteX443" fmla="*/ 4348806 w 4931709"/>
              <a:gd name="connsiteY443" fmla="*/ 3118685 h 4777560"/>
              <a:gd name="connsiteX444" fmla="*/ 4550934 w 4931709"/>
              <a:gd name="connsiteY444" fmla="*/ 2972704 h 4777560"/>
              <a:gd name="connsiteX445" fmla="*/ 4830646 w 4931709"/>
              <a:gd name="connsiteY445" fmla="*/ 2749139 h 4777560"/>
              <a:gd name="connsiteX446" fmla="*/ 4931710 w 4931709"/>
              <a:gd name="connsiteY446" fmla="*/ 2665429 h 4777560"/>
              <a:gd name="connsiteX447" fmla="*/ 4819417 w 4931709"/>
              <a:gd name="connsiteY447" fmla="*/ 2738931 h 4777560"/>
              <a:gd name="connsiteX448" fmla="*/ 2300988 w 4931709"/>
              <a:gd name="connsiteY448" fmla="*/ 3946591 h 4777560"/>
              <a:gd name="connsiteX449" fmla="*/ 2284655 w 4931709"/>
              <a:gd name="connsiteY449" fmla="*/ 3926175 h 4777560"/>
              <a:gd name="connsiteX450" fmla="*/ 2306092 w 4931709"/>
              <a:gd name="connsiteY450" fmla="*/ 3932300 h 4777560"/>
              <a:gd name="connsiteX451" fmla="*/ 2341822 w 4931709"/>
              <a:gd name="connsiteY451" fmla="*/ 3945571 h 4777560"/>
              <a:gd name="connsiteX452" fmla="*/ 2355093 w 4931709"/>
              <a:gd name="connsiteY452" fmla="*/ 3953738 h 4777560"/>
              <a:gd name="connsiteX453" fmla="*/ 2356114 w 4931709"/>
              <a:gd name="connsiteY453" fmla="*/ 4007842 h 4777560"/>
              <a:gd name="connsiteX454" fmla="*/ 2300988 w 4931709"/>
              <a:gd name="connsiteY454" fmla="*/ 3946591 h 47775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Lst>
            <a:rect l="l" t="t" r="r" b="b"/>
            <a:pathLst>
              <a:path w="4931709" h="4777560">
                <a:moveTo>
                  <a:pt x="4819417" y="2738931"/>
                </a:moveTo>
                <a:cubicBezTo>
                  <a:pt x="4748978" y="2784869"/>
                  <a:pt x="4646893" y="2853265"/>
                  <a:pt x="4521329" y="2936975"/>
                </a:cubicBezTo>
                <a:cubicBezTo>
                  <a:pt x="4458037" y="2978829"/>
                  <a:pt x="4389640" y="3022726"/>
                  <a:pt x="4313077" y="3066622"/>
                </a:cubicBezTo>
                <a:cubicBezTo>
                  <a:pt x="4294701" y="3077851"/>
                  <a:pt x="4274284" y="3088060"/>
                  <a:pt x="4254888" y="3099289"/>
                </a:cubicBezTo>
                <a:cubicBezTo>
                  <a:pt x="4234471" y="3109498"/>
                  <a:pt x="4215075" y="3120727"/>
                  <a:pt x="4193637" y="3130935"/>
                </a:cubicBezTo>
                <a:cubicBezTo>
                  <a:pt x="4151783" y="3151352"/>
                  <a:pt x="4108907" y="3170748"/>
                  <a:pt x="4063990" y="3189123"/>
                </a:cubicBezTo>
                <a:cubicBezTo>
                  <a:pt x="4019073" y="3207499"/>
                  <a:pt x="3972114" y="3221791"/>
                  <a:pt x="3923113" y="3235062"/>
                </a:cubicBezTo>
                <a:cubicBezTo>
                  <a:pt x="3874113" y="3248333"/>
                  <a:pt x="3823070" y="3257520"/>
                  <a:pt x="3771007" y="3265687"/>
                </a:cubicBezTo>
                <a:cubicBezTo>
                  <a:pt x="3665860" y="3282021"/>
                  <a:pt x="3554587" y="3291208"/>
                  <a:pt x="3439232" y="3304479"/>
                </a:cubicBezTo>
                <a:cubicBezTo>
                  <a:pt x="3382064" y="3311625"/>
                  <a:pt x="3323876" y="3318771"/>
                  <a:pt x="3267730" y="3328980"/>
                </a:cubicBezTo>
                <a:cubicBezTo>
                  <a:pt x="3211583" y="3339188"/>
                  <a:pt x="3155437" y="3352459"/>
                  <a:pt x="3102353" y="3369813"/>
                </a:cubicBezTo>
                <a:cubicBezTo>
                  <a:pt x="2995164" y="3403501"/>
                  <a:pt x="2894100" y="3452502"/>
                  <a:pt x="2812432" y="3519878"/>
                </a:cubicBezTo>
                <a:cubicBezTo>
                  <a:pt x="2730765" y="3587253"/>
                  <a:pt x="2670535" y="3669942"/>
                  <a:pt x="2629701" y="3752631"/>
                </a:cubicBezTo>
                <a:cubicBezTo>
                  <a:pt x="2629701" y="3753652"/>
                  <a:pt x="2628680" y="3754672"/>
                  <a:pt x="2628680" y="3754672"/>
                </a:cubicBezTo>
                <a:cubicBezTo>
                  <a:pt x="2628680" y="3723026"/>
                  <a:pt x="2627659" y="3690359"/>
                  <a:pt x="2628680" y="3659734"/>
                </a:cubicBezTo>
                <a:cubicBezTo>
                  <a:pt x="2630721" y="3611754"/>
                  <a:pt x="2633784" y="3562753"/>
                  <a:pt x="2637867" y="3513753"/>
                </a:cubicBezTo>
                <a:cubicBezTo>
                  <a:pt x="2642972" y="3462710"/>
                  <a:pt x="2647055" y="3411668"/>
                  <a:pt x="2655222" y="3358584"/>
                </a:cubicBezTo>
                <a:cubicBezTo>
                  <a:pt x="2658284" y="3332042"/>
                  <a:pt x="2663389" y="3306521"/>
                  <a:pt x="2667472" y="3279979"/>
                </a:cubicBezTo>
                <a:cubicBezTo>
                  <a:pt x="2669514" y="3266708"/>
                  <a:pt x="2672576" y="3253437"/>
                  <a:pt x="2674618" y="3240166"/>
                </a:cubicBezTo>
                <a:cubicBezTo>
                  <a:pt x="2676660" y="3226895"/>
                  <a:pt x="2679722" y="3213624"/>
                  <a:pt x="2682785" y="3200353"/>
                </a:cubicBezTo>
                <a:cubicBezTo>
                  <a:pt x="2685847" y="3187082"/>
                  <a:pt x="2688910" y="3173811"/>
                  <a:pt x="2691972" y="3160540"/>
                </a:cubicBezTo>
                <a:cubicBezTo>
                  <a:pt x="2695035" y="3147269"/>
                  <a:pt x="2699118" y="3133998"/>
                  <a:pt x="2702181" y="3120727"/>
                </a:cubicBezTo>
                <a:cubicBezTo>
                  <a:pt x="2708306" y="3094185"/>
                  <a:pt x="2717493" y="3067643"/>
                  <a:pt x="2724639" y="3041101"/>
                </a:cubicBezTo>
                <a:cubicBezTo>
                  <a:pt x="2728723" y="3027830"/>
                  <a:pt x="2733827" y="3014559"/>
                  <a:pt x="2737910" y="3001288"/>
                </a:cubicBezTo>
                <a:lnTo>
                  <a:pt x="2745056" y="2981892"/>
                </a:lnTo>
                <a:lnTo>
                  <a:pt x="2752202" y="2962496"/>
                </a:lnTo>
                <a:cubicBezTo>
                  <a:pt x="2757307" y="2949225"/>
                  <a:pt x="2762411" y="2935954"/>
                  <a:pt x="2767515" y="2923703"/>
                </a:cubicBezTo>
                <a:cubicBezTo>
                  <a:pt x="2772619" y="2910433"/>
                  <a:pt x="2778744" y="2898182"/>
                  <a:pt x="2783848" y="2884911"/>
                </a:cubicBezTo>
                <a:cubicBezTo>
                  <a:pt x="2788953" y="2871641"/>
                  <a:pt x="2796099" y="2859390"/>
                  <a:pt x="2802224" y="2847140"/>
                </a:cubicBezTo>
                <a:cubicBezTo>
                  <a:pt x="2808349" y="2834890"/>
                  <a:pt x="2814474" y="2821619"/>
                  <a:pt x="2820599" y="2809369"/>
                </a:cubicBezTo>
                <a:cubicBezTo>
                  <a:pt x="2826724" y="2797119"/>
                  <a:pt x="2833870" y="2784869"/>
                  <a:pt x="2839995" y="2772618"/>
                </a:cubicBezTo>
                <a:cubicBezTo>
                  <a:pt x="2847141" y="2761389"/>
                  <a:pt x="2854287" y="2749139"/>
                  <a:pt x="2861433" y="2737910"/>
                </a:cubicBezTo>
                <a:cubicBezTo>
                  <a:pt x="2865516" y="2731784"/>
                  <a:pt x="2868579" y="2725659"/>
                  <a:pt x="2871641" y="2720555"/>
                </a:cubicBezTo>
                <a:lnTo>
                  <a:pt x="2882871" y="2704222"/>
                </a:lnTo>
                <a:cubicBezTo>
                  <a:pt x="2891037" y="2692992"/>
                  <a:pt x="2898183" y="2681763"/>
                  <a:pt x="2905329" y="2671555"/>
                </a:cubicBezTo>
                <a:cubicBezTo>
                  <a:pt x="2921663" y="2650117"/>
                  <a:pt x="2936975" y="2628679"/>
                  <a:pt x="2954330" y="2610304"/>
                </a:cubicBezTo>
                <a:cubicBezTo>
                  <a:pt x="3022727" y="2530678"/>
                  <a:pt x="3101332" y="2467385"/>
                  <a:pt x="3185041" y="2421447"/>
                </a:cubicBezTo>
                <a:cubicBezTo>
                  <a:pt x="3250375" y="2384697"/>
                  <a:pt x="3318772" y="2358155"/>
                  <a:pt x="3386148" y="2340801"/>
                </a:cubicBezTo>
                <a:cubicBezTo>
                  <a:pt x="3411669" y="2349988"/>
                  <a:pt x="3438211" y="2364280"/>
                  <a:pt x="3463732" y="2381634"/>
                </a:cubicBezTo>
                <a:cubicBezTo>
                  <a:pt x="3500483" y="2405114"/>
                  <a:pt x="3537233" y="2434718"/>
                  <a:pt x="3580109" y="2462281"/>
                </a:cubicBezTo>
                <a:cubicBezTo>
                  <a:pt x="3622984" y="2489844"/>
                  <a:pt x="3667902" y="2511282"/>
                  <a:pt x="3712819" y="2528636"/>
                </a:cubicBezTo>
                <a:cubicBezTo>
                  <a:pt x="3757736" y="2545990"/>
                  <a:pt x="3802653" y="2558241"/>
                  <a:pt x="3845529" y="2566407"/>
                </a:cubicBezTo>
                <a:cubicBezTo>
                  <a:pt x="3856758" y="2568449"/>
                  <a:pt x="3866967" y="2570491"/>
                  <a:pt x="3877175" y="2571512"/>
                </a:cubicBezTo>
                <a:cubicBezTo>
                  <a:pt x="3887384" y="2572532"/>
                  <a:pt x="3898613" y="2573553"/>
                  <a:pt x="3908821" y="2575595"/>
                </a:cubicBezTo>
                <a:cubicBezTo>
                  <a:pt x="3919030" y="2576616"/>
                  <a:pt x="3929238" y="2577637"/>
                  <a:pt x="3939447" y="2577637"/>
                </a:cubicBezTo>
                <a:cubicBezTo>
                  <a:pt x="3949655" y="2578658"/>
                  <a:pt x="3958843" y="2578658"/>
                  <a:pt x="3969051" y="2579678"/>
                </a:cubicBezTo>
                <a:cubicBezTo>
                  <a:pt x="4007844" y="2579678"/>
                  <a:pt x="4043573" y="2578658"/>
                  <a:pt x="4076240" y="2574574"/>
                </a:cubicBezTo>
                <a:cubicBezTo>
                  <a:pt x="4092574" y="2572532"/>
                  <a:pt x="4107886" y="2570491"/>
                  <a:pt x="4122178" y="2567428"/>
                </a:cubicBezTo>
                <a:cubicBezTo>
                  <a:pt x="4136470" y="2564366"/>
                  <a:pt x="4149741" y="2562324"/>
                  <a:pt x="4163012" y="2559262"/>
                </a:cubicBezTo>
                <a:cubicBezTo>
                  <a:pt x="4175262" y="2556199"/>
                  <a:pt x="4187512" y="2553136"/>
                  <a:pt x="4197721" y="2550074"/>
                </a:cubicBezTo>
                <a:cubicBezTo>
                  <a:pt x="4207929" y="2547011"/>
                  <a:pt x="4218138" y="2543949"/>
                  <a:pt x="4226305" y="2540886"/>
                </a:cubicBezTo>
                <a:cubicBezTo>
                  <a:pt x="4234471" y="2537824"/>
                  <a:pt x="4242638" y="2535782"/>
                  <a:pt x="4248763" y="2532719"/>
                </a:cubicBezTo>
                <a:cubicBezTo>
                  <a:pt x="4254888" y="2530678"/>
                  <a:pt x="4261014" y="2527615"/>
                  <a:pt x="4265097" y="2526594"/>
                </a:cubicBezTo>
                <a:cubicBezTo>
                  <a:pt x="4273264" y="2523532"/>
                  <a:pt x="4277347" y="2521490"/>
                  <a:pt x="4278368" y="2521490"/>
                </a:cubicBezTo>
                <a:cubicBezTo>
                  <a:pt x="4277347" y="2521490"/>
                  <a:pt x="4272243" y="2522511"/>
                  <a:pt x="4264076" y="2523532"/>
                </a:cubicBezTo>
                <a:cubicBezTo>
                  <a:pt x="4258972" y="2524553"/>
                  <a:pt x="4253867" y="2525573"/>
                  <a:pt x="4246722" y="2526594"/>
                </a:cubicBezTo>
                <a:cubicBezTo>
                  <a:pt x="4239576" y="2527615"/>
                  <a:pt x="4232430" y="2528636"/>
                  <a:pt x="4223242" y="2529657"/>
                </a:cubicBezTo>
                <a:cubicBezTo>
                  <a:pt x="4188533" y="2534761"/>
                  <a:pt x="4136470" y="2538845"/>
                  <a:pt x="4074199" y="2535782"/>
                </a:cubicBezTo>
                <a:cubicBezTo>
                  <a:pt x="4042552" y="2534761"/>
                  <a:pt x="4008864" y="2531699"/>
                  <a:pt x="3973135" y="2526594"/>
                </a:cubicBezTo>
                <a:cubicBezTo>
                  <a:pt x="3963947" y="2525573"/>
                  <a:pt x="3954759" y="2523532"/>
                  <a:pt x="3945572" y="2521490"/>
                </a:cubicBezTo>
                <a:cubicBezTo>
                  <a:pt x="3936384" y="2520469"/>
                  <a:pt x="3927196" y="2518428"/>
                  <a:pt x="3918009" y="2516386"/>
                </a:cubicBezTo>
                <a:cubicBezTo>
                  <a:pt x="3908821" y="2514344"/>
                  <a:pt x="3898613" y="2512303"/>
                  <a:pt x="3889425" y="2510261"/>
                </a:cubicBezTo>
                <a:cubicBezTo>
                  <a:pt x="3880238" y="2508219"/>
                  <a:pt x="3870029" y="2505157"/>
                  <a:pt x="3860841" y="2502094"/>
                </a:cubicBezTo>
                <a:cubicBezTo>
                  <a:pt x="3822049" y="2490865"/>
                  <a:pt x="3781216" y="2477594"/>
                  <a:pt x="3741403" y="2459218"/>
                </a:cubicBezTo>
                <a:cubicBezTo>
                  <a:pt x="3701590" y="2441864"/>
                  <a:pt x="3660756" y="2420426"/>
                  <a:pt x="3621963" y="2395926"/>
                </a:cubicBezTo>
                <a:cubicBezTo>
                  <a:pt x="3582150" y="2370405"/>
                  <a:pt x="3543358" y="2341821"/>
                  <a:pt x="3501504" y="2317321"/>
                </a:cubicBezTo>
                <a:cubicBezTo>
                  <a:pt x="3501504" y="2317321"/>
                  <a:pt x="3501504" y="2317321"/>
                  <a:pt x="3501504" y="2317321"/>
                </a:cubicBezTo>
                <a:cubicBezTo>
                  <a:pt x="3566838" y="2309154"/>
                  <a:pt x="3633193" y="2306092"/>
                  <a:pt x="3695464" y="2295883"/>
                </a:cubicBezTo>
                <a:cubicBezTo>
                  <a:pt x="3736298" y="2288737"/>
                  <a:pt x="3775090" y="2278529"/>
                  <a:pt x="3809799" y="2265258"/>
                </a:cubicBezTo>
                <a:cubicBezTo>
                  <a:pt x="3817966" y="2262195"/>
                  <a:pt x="3825112" y="2259133"/>
                  <a:pt x="3832258" y="2256070"/>
                </a:cubicBezTo>
                <a:cubicBezTo>
                  <a:pt x="3833279" y="2256070"/>
                  <a:pt x="3833279" y="2256070"/>
                  <a:pt x="3834300" y="2256070"/>
                </a:cubicBezTo>
                <a:cubicBezTo>
                  <a:pt x="3914946" y="2233612"/>
                  <a:pt x="3996614" y="2190736"/>
                  <a:pt x="4073178" y="2135610"/>
                </a:cubicBezTo>
                <a:cubicBezTo>
                  <a:pt x="4111970" y="2108047"/>
                  <a:pt x="4146678" y="2079464"/>
                  <a:pt x="4180367" y="2051901"/>
                </a:cubicBezTo>
                <a:cubicBezTo>
                  <a:pt x="4214055" y="2023317"/>
                  <a:pt x="4244680" y="1995754"/>
                  <a:pt x="4274284" y="1969212"/>
                </a:cubicBezTo>
                <a:cubicBezTo>
                  <a:pt x="4333494" y="1915107"/>
                  <a:pt x="4384536" y="1863044"/>
                  <a:pt x="4423328" y="1815065"/>
                </a:cubicBezTo>
                <a:cubicBezTo>
                  <a:pt x="4462120" y="1767085"/>
                  <a:pt x="4488662" y="1725230"/>
                  <a:pt x="4504996" y="1695626"/>
                </a:cubicBezTo>
                <a:cubicBezTo>
                  <a:pt x="4509079" y="1688480"/>
                  <a:pt x="4512142" y="1681334"/>
                  <a:pt x="4515204" y="1675209"/>
                </a:cubicBezTo>
                <a:cubicBezTo>
                  <a:pt x="4518267" y="1669083"/>
                  <a:pt x="4520308" y="1663979"/>
                  <a:pt x="4522350" y="1659896"/>
                </a:cubicBezTo>
                <a:cubicBezTo>
                  <a:pt x="4525413" y="1652750"/>
                  <a:pt x="4527455" y="1648667"/>
                  <a:pt x="4527455" y="1647646"/>
                </a:cubicBezTo>
                <a:cubicBezTo>
                  <a:pt x="4526434" y="1648667"/>
                  <a:pt x="4524392" y="1651729"/>
                  <a:pt x="4519288" y="1657854"/>
                </a:cubicBezTo>
                <a:cubicBezTo>
                  <a:pt x="4516225" y="1660917"/>
                  <a:pt x="4513163" y="1666021"/>
                  <a:pt x="4509079" y="1671125"/>
                </a:cubicBezTo>
                <a:cubicBezTo>
                  <a:pt x="4504996" y="1676230"/>
                  <a:pt x="4499892" y="1681334"/>
                  <a:pt x="4494787" y="1688480"/>
                </a:cubicBezTo>
                <a:cubicBezTo>
                  <a:pt x="4473349" y="1714001"/>
                  <a:pt x="4439662" y="1749730"/>
                  <a:pt x="4395765" y="1788523"/>
                </a:cubicBezTo>
                <a:cubicBezTo>
                  <a:pt x="4351869" y="1828336"/>
                  <a:pt x="4295722" y="1871211"/>
                  <a:pt x="4233451" y="1919191"/>
                </a:cubicBezTo>
                <a:cubicBezTo>
                  <a:pt x="4170158" y="1967171"/>
                  <a:pt x="4101761" y="2021275"/>
                  <a:pt x="4029281" y="2073339"/>
                </a:cubicBezTo>
                <a:cubicBezTo>
                  <a:pt x="3956801" y="2125402"/>
                  <a:pt x="3884321" y="2168277"/>
                  <a:pt x="3813883" y="2194819"/>
                </a:cubicBezTo>
                <a:cubicBezTo>
                  <a:pt x="3795507" y="2201965"/>
                  <a:pt x="3777132" y="2208091"/>
                  <a:pt x="3758757" y="2213195"/>
                </a:cubicBezTo>
                <a:cubicBezTo>
                  <a:pt x="3735277" y="2217278"/>
                  <a:pt x="3711798" y="2220340"/>
                  <a:pt x="3686277" y="2221361"/>
                </a:cubicBezTo>
                <a:cubicBezTo>
                  <a:pt x="3649526" y="2223403"/>
                  <a:pt x="3609713" y="2222382"/>
                  <a:pt x="3565817" y="2221361"/>
                </a:cubicBezTo>
                <a:cubicBezTo>
                  <a:pt x="3522941" y="2220340"/>
                  <a:pt x="3475982" y="2220340"/>
                  <a:pt x="3426982" y="2224424"/>
                </a:cubicBezTo>
                <a:cubicBezTo>
                  <a:pt x="3398398" y="2227487"/>
                  <a:pt x="3367773" y="2231570"/>
                  <a:pt x="3338168" y="2237695"/>
                </a:cubicBezTo>
                <a:cubicBezTo>
                  <a:pt x="3377981" y="2210132"/>
                  <a:pt x="3419836" y="2179507"/>
                  <a:pt x="3462711" y="2142756"/>
                </a:cubicBezTo>
                <a:cubicBezTo>
                  <a:pt x="3500483" y="2110089"/>
                  <a:pt x="3538254" y="2073339"/>
                  <a:pt x="3570921" y="2028421"/>
                </a:cubicBezTo>
                <a:cubicBezTo>
                  <a:pt x="3604609" y="1984525"/>
                  <a:pt x="3633193" y="1931441"/>
                  <a:pt x="3649526" y="1872232"/>
                </a:cubicBezTo>
                <a:cubicBezTo>
                  <a:pt x="3651568" y="1865086"/>
                  <a:pt x="3653610" y="1857940"/>
                  <a:pt x="3655652" y="1849773"/>
                </a:cubicBezTo>
                <a:cubicBezTo>
                  <a:pt x="3656672" y="1842627"/>
                  <a:pt x="3658714" y="1834461"/>
                  <a:pt x="3659735" y="1827315"/>
                </a:cubicBezTo>
                <a:cubicBezTo>
                  <a:pt x="3662797" y="1812002"/>
                  <a:pt x="3663818" y="1797710"/>
                  <a:pt x="3664839" y="1782397"/>
                </a:cubicBezTo>
                <a:cubicBezTo>
                  <a:pt x="3665860" y="1752793"/>
                  <a:pt x="3664839" y="1725230"/>
                  <a:pt x="3662797" y="1698688"/>
                </a:cubicBezTo>
                <a:cubicBezTo>
                  <a:pt x="3659735" y="1645604"/>
                  <a:pt x="3655652" y="1597624"/>
                  <a:pt x="3661776" y="1554749"/>
                </a:cubicBezTo>
                <a:cubicBezTo>
                  <a:pt x="3666881" y="1510852"/>
                  <a:pt x="3680152" y="1470018"/>
                  <a:pt x="3698527" y="1433268"/>
                </a:cubicBezTo>
                <a:cubicBezTo>
                  <a:pt x="3715881" y="1396518"/>
                  <a:pt x="3737319" y="1364871"/>
                  <a:pt x="3759778" y="1338329"/>
                </a:cubicBezTo>
                <a:cubicBezTo>
                  <a:pt x="3804695" y="1284225"/>
                  <a:pt x="3851654" y="1249516"/>
                  <a:pt x="3886363" y="1228078"/>
                </a:cubicBezTo>
                <a:cubicBezTo>
                  <a:pt x="3895550" y="1222974"/>
                  <a:pt x="3902696" y="1218890"/>
                  <a:pt x="3909842" y="1214807"/>
                </a:cubicBezTo>
                <a:cubicBezTo>
                  <a:pt x="3916988" y="1210724"/>
                  <a:pt x="3923113" y="1208682"/>
                  <a:pt x="3927196" y="1205619"/>
                </a:cubicBezTo>
                <a:cubicBezTo>
                  <a:pt x="3935363" y="1201536"/>
                  <a:pt x="3940468" y="1198473"/>
                  <a:pt x="3941489" y="1198473"/>
                </a:cubicBezTo>
                <a:cubicBezTo>
                  <a:pt x="3940468" y="1198473"/>
                  <a:pt x="3935363" y="1200515"/>
                  <a:pt x="3926176" y="1202557"/>
                </a:cubicBezTo>
                <a:cubicBezTo>
                  <a:pt x="3921072" y="1203578"/>
                  <a:pt x="3914946" y="1205619"/>
                  <a:pt x="3906780" y="1208682"/>
                </a:cubicBezTo>
                <a:cubicBezTo>
                  <a:pt x="3899634" y="1211745"/>
                  <a:pt x="3890446" y="1214807"/>
                  <a:pt x="3881258" y="1217870"/>
                </a:cubicBezTo>
                <a:cubicBezTo>
                  <a:pt x="3872071" y="1221953"/>
                  <a:pt x="3861862" y="1227057"/>
                  <a:pt x="3849612" y="1232161"/>
                </a:cubicBezTo>
                <a:cubicBezTo>
                  <a:pt x="3838383" y="1238286"/>
                  <a:pt x="3826133" y="1244412"/>
                  <a:pt x="3813883" y="1251557"/>
                </a:cubicBezTo>
                <a:cubicBezTo>
                  <a:pt x="3788362" y="1266870"/>
                  <a:pt x="3760799" y="1287287"/>
                  <a:pt x="3733236" y="1312808"/>
                </a:cubicBezTo>
                <a:cubicBezTo>
                  <a:pt x="3705673" y="1338329"/>
                  <a:pt x="3677089" y="1369976"/>
                  <a:pt x="3653610" y="1408768"/>
                </a:cubicBezTo>
                <a:cubicBezTo>
                  <a:pt x="3630130" y="1447560"/>
                  <a:pt x="3609713" y="1493498"/>
                  <a:pt x="3599505" y="1544540"/>
                </a:cubicBezTo>
                <a:cubicBezTo>
                  <a:pt x="3588276" y="1596604"/>
                  <a:pt x="3590317" y="1650708"/>
                  <a:pt x="3591338" y="1701751"/>
                </a:cubicBezTo>
                <a:cubicBezTo>
                  <a:pt x="3592359" y="1727272"/>
                  <a:pt x="3592359" y="1752793"/>
                  <a:pt x="3590317" y="1778314"/>
                </a:cubicBezTo>
                <a:cubicBezTo>
                  <a:pt x="3589297" y="1790564"/>
                  <a:pt x="3588276" y="1802814"/>
                  <a:pt x="3586234" y="1815065"/>
                </a:cubicBezTo>
                <a:cubicBezTo>
                  <a:pt x="3585213" y="1821190"/>
                  <a:pt x="3584192" y="1827315"/>
                  <a:pt x="3583171" y="1833440"/>
                </a:cubicBezTo>
                <a:cubicBezTo>
                  <a:pt x="3582150" y="1839565"/>
                  <a:pt x="3580109" y="1845690"/>
                  <a:pt x="3578067" y="1851815"/>
                </a:cubicBezTo>
                <a:cubicBezTo>
                  <a:pt x="3564796" y="1899795"/>
                  <a:pt x="3542338" y="1944712"/>
                  <a:pt x="3513754" y="1985546"/>
                </a:cubicBezTo>
                <a:cubicBezTo>
                  <a:pt x="3485170" y="2025359"/>
                  <a:pt x="3453524" y="2062109"/>
                  <a:pt x="3419836" y="2094776"/>
                </a:cubicBezTo>
                <a:cubicBezTo>
                  <a:pt x="3352460" y="2162152"/>
                  <a:pt x="3283043" y="2218299"/>
                  <a:pt x="3226896" y="2266279"/>
                </a:cubicBezTo>
                <a:cubicBezTo>
                  <a:pt x="3226896" y="2266279"/>
                  <a:pt x="3226896" y="2266279"/>
                  <a:pt x="3226896" y="2266279"/>
                </a:cubicBezTo>
                <a:cubicBezTo>
                  <a:pt x="3193208" y="2277508"/>
                  <a:pt x="3159520" y="2290779"/>
                  <a:pt x="3126853" y="2306092"/>
                </a:cubicBezTo>
                <a:cubicBezTo>
                  <a:pt x="3050289" y="2341821"/>
                  <a:pt x="2974747" y="2390822"/>
                  <a:pt x="2906350" y="2452073"/>
                </a:cubicBezTo>
                <a:cubicBezTo>
                  <a:pt x="2908392" y="2431656"/>
                  <a:pt x="2909413" y="2411239"/>
                  <a:pt x="2910434" y="2390822"/>
                </a:cubicBezTo>
                <a:cubicBezTo>
                  <a:pt x="2912475" y="2306092"/>
                  <a:pt x="2901246" y="2221361"/>
                  <a:pt x="2875725" y="2141735"/>
                </a:cubicBezTo>
                <a:cubicBezTo>
                  <a:pt x="2850203" y="2062109"/>
                  <a:pt x="2813453" y="1990650"/>
                  <a:pt x="2771598" y="1925316"/>
                </a:cubicBezTo>
                <a:cubicBezTo>
                  <a:pt x="2736890" y="1871211"/>
                  <a:pt x="2698097" y="1822210"/>
                  <a:pt x="2659305" y="1776272"/>
                </a:cubicBezTo>
                <a:cubicBezTo>
                  <a:pt x="2656243" y="1771168"/>
                  <a:pt x="2654201" y="1765043"/>
                  <a:pt x="2651138" y="1759939"/>
                </a:cubicBezTo>
                <a:cubicBezTo>
                  <a:pt x="2629701" y="1711959"/>
                  <a:pt x="2614388" y="1660917"/>
                  <a:pt x="2608263" y="1606812"/>
                </a:cubicBezTo>
                <a:cubicBezTo>
                  <a:pt x="2594992" y="1498602"/>
                  <a:pt x="2654201" y="1259724"/>
                  <a:pt x="2749140" y="1183161"/>
                </a:cubicBezTo>
                <a:cubicBezTo>
                  <a:pt x="2864496" y="1089243"/>
                  <a:pt x="3650547" y="673759"/>
                  <a:pt x="3741403" y="624758"/>
                </a:cubicBezTo>
                <a:cubicBezTo>
                  <a:pt x="3765903" y="610466"/>
                  <a:pt x="3790403" y="595153"/>
                  <a:pt x="3813883" y="578820"/>
                </a:cubicBezTo>
                <a:cubicBezTo>
                  <a:pt x="3836341" y="562486"/>
                  <a:pt x="3857779" y="544111"/>
                  <a:pt x="3877175" y="525736"/>
                </a:cubicBezTo>
                <a:cubicBezTo>
                  <a:pt x="3916988" y="488985"/>
                  <a:pt x="4098699" y="268483"/>
                  <a:pt x="4139533" y="206211"/>
                </a:cubicBezTo>
                <a:cubicBezTo>
                  <a:pt x="4179346" y="143939"/>
                  <a:pt x="4208950" y="92897"/>
                  <a:pt x="4228346" y="56147"/>
                </a:cubicBezTo>
                <a:cubicBezTo>
                  <a:pt x="4248763" y="20417"/>
                  <a:pt x="4258972" y="0"/>
                  <a:pt x="4258972" y="0"/>
                </a:cubicBezTo>
                <a:cubicBezTo>
                  <a:pt x="4258972" y="0"/>
                  <a:pt x="4256930" y="3063"/>
                  <a:pt x="4251826" y="9188"/>
                </a:cubicBezTo>
                <a:cubicBezTo>
                  <a:pt x="4252847" y="8167"/>
                  <a:pt x="4252847" y="7146"/>
                  <a:pt x="4252847" y="7146"/>
                </a:cubicBezTo>
                <a:cubicBezTo>
                  <a:pt x="4252847" y="7146"/>
                  <a:pt x="4249784" y="11229"/>
                  <a:pt x="4245701" y="18375"/>
                </a:cubicBezTo>
                <a:cubicBezTo>
                  <a:pt x="4239576" y="26542"/>
                  <a:pt x="4232430" y="37771"/>
                  <a:pt x="4222221" y="52063"/>
                </a:cubicBezTo>
                <a:cubicBezTo>
                  <a:pt x="4209971" y="69418"/>
                  <a:pt x="4197721" y="91876"/>
                  <a:pt x="4178325" y="114335"/>
                </a:cubicBezTo>
                <a:cubicBezTo>
                  <a:pt x="3846550" y="492048"/>
                  <a:pt x="3794486" y="504298"/>
                  <a:pt x="3735277" y="547174"/>
                </a:cubicBezTo>
                <a:cubicBezTo>
                  <a:pt x="3710777" y="564528"/>
                  <a:pt x="3684235" y="581882"/>
                  <a:pt x="3657693" y="599237"/>
                </a:cubicBezTo>
                <a:cubicBezTo>
                  <a:pt x="3535191" y="661508"/>
                  <a:pt x="2994143" y="939178"/>
                  <a:pt x="2950247" y="961637"/>
                </a:cubicBezTo>
                <a:cubicBezTo>
                  <a:pt x="2844079" y="1013700"/>
                  <a:pt x="2746077" y="1082097"/>
                  <a:pt x="2659305" y="1162744"/>
                </a:cubicBezTo>
                <a:lnTo>
                  <a:pt x="2659305" y="1162744"/>
                </a:lnTo>
                <a:cubicBezTo>
                  <a:pt x="2660326" y="1117827"/>
                  <a:pt x="2659305" y="1071888"/>
                  <a:pt x="2659305" y="1026971"/>
                </a:cubicBezTo>
                <a:cubicBezTo>
                  <a:pt x="2658284" y="968783"/>
                  <a:pt x="2657263" y="911616"/>
                  <a:pt x="2661347" y="859552"/>
                </a:cubicBezTo>
                <a:cubicBezTo>
                  <a:pt x="2665430" y="806469"/>
                  <a:pt x="2675639" y="757468"/>
                  <a:pt x="2689931" y="710509"/>
                </a:cubicBezTo>
                <a:cubicBezTo>
                  <a:pt x="2719535" y="617612"/>
                  <a:pt x="2767515" y="541049"/>
                  <a:pt x="2815495" y="482860"/>
                </a:cubicBezTo>
                <a:cubicBezTo>
                  <a:pt x="2863475" y="424672"/>
                  <a:pt x="2911454" y="385880"/>
                  <a:pt x="2946163" y="360359"/>
                </a:cubicBezTo>
                <a:cubicBezTo>
                  <a:pt x="2955351" y="354234"/>
                  <a:pt x="2962497" y="348109"/>
                  <a:pt x="2969643" y="344025"/>
                </a:cubicBezTo>
                <a:cubicBezTo>
                  <a:pt x="2976789" y="339942"/>
                  <a:pt x="2982913" y="335858"/>
                  <a:pt x="2988018" y="332796"/>
                </a:cubicBezTo>
                <a:cubicBezTo>
                  <a:pt x="2997206" y="326671"/>
                  <a:pt x="3003330" y="323608"/>
                  <a:pt x="3003330" y="323608"/>
                </a:cubicBezTo>
                <a:cubicBezTo>
                  <a:pt x="3003330" y="323608"/>
                  <a:pt x="2997206" y="325650"/>
                  <a:pt x="2986997" y="329733"/>
                </a:cubicBezTo>
                <a:cubicBezTo>
                  <a:pt x="2981893" y="331775"/>
                  <a:pt x="2974747" y="334838"/>
                  <a:pt x="2967601" y="337900"/>
                </a:cubicBezTo>
                <a:cubicBezTo>
                  <a:pt x="2959434" y="340963"/>
                  <a:pt x="2951267" y="345046"/>
                  <a:pt x="2941059" y="350150"/>
                </a:cubicBezTo>
                <a:cubicBezTo>
                  <a:pt x="2930851" y="354234"/>
                  <a:pt x="2920642" y="360359"/>
                  <a:pt x="2909413" y="367505"/>
                </a:cubicBezTo>
                <a:cubicBezTo>
                  <a:pt x="2903288" y="370567"/>
                  <a:pt x="2897162" y="373630"/>
                  <a:pt x="2891037" y="377713"/>
                </a:cubicBezTo>
                <a:cubicBezTo>
                  <a:pt x="2884912" y="381797"/>
                  <a:pt x="2878787" y="385880"/>
                  <a:pt x="2871641" y="389963"/>
                </a:cubicBezTo>
                <a:cubicBezTo>
                  <a:pt x="2858370" y="398130"/>
                  <a:pt x="2845099" y="408338"/>
                  <a:pt x="2830807" y="419568"/>
                </a:cubicBezTo>
                <a:cubicBezTo>
                  <a:pt x="2823662" y="424672"/>
                  <a:pt x="2816516" y="430797"/>
                  <a:pt x="2809370" y="436922"/>
                </a:cubicBezTo>
                <a:cubicBezTo>
                  <a:pt x="2802224" y="443047"/>
                  <a:pt x="2795078" y="449172"/>
                  <a:pt x="2787932" y="456318"/>
                </a:cubicBezTo>
                <a:cubicBezTo>
                  <a:pt x="2780786" y="463464"/>
                  <a:pt x="2773640" y="470610"/>
                  <a:pt x="2766494" y="477756"/>
                </a:cubicBezTo>
                <a:cubicBezTo>
                  <a:pt x="2759348" y="485923"/>
                  <a:pt x="2752202" y="493069"/>
                  <a:pt x="2745056" y="501235"/>
                </a:cubicBezTo>
                <a:cubicBezTo>
                  <a:pt x="2737910" y="509402"/>
                  <a:pt x="2730765" y="518590"/>
                  <a:pt x="2723619" y="526757"/>
                </a:cubicBezTo>
                <a:cubicBezTo>
                  <a:pt x="2720556" y="530840"/>
                  <a:pt x="2716473" y="535944"/>
                  <a:pt x="2713410" y="540028"/>
                </a:cubicBezTo>
                <a:cubicBezTo>
                  <a:pt x="2710348" y="545132"/>
                  <a:pt x="2706264" y="549215"/>
                  <a:pt x="2703202" y="554319"/>
                </a:cubicBezTo>
                <a:cubicBezTo>
                  <a:pt x="2675639" y="593112"/>
                  <a:pt x="2651138" y="637008"/>
                  <a:pt x="2630721" y="687029"/>
                </a:cubicBezTo>
                <a:cubicBezTo>
                  <a:pt x="2610304" y="737051"/>
                  <a:pt x="2596013" y="792177"/>
                  <a:pt x="2589888" y="850365"/>
                </a:cubicBezTo>
                <a:cubicBezTo>
                  <a:pt x="2582742" y="908553"/>
                  <a:pt x="2582742" y="967762"/>
                  <a:pt x="2583763" y="1026971"/>
                </a:cubicBezTo>
                <a:cubicBezTo>
                  <a:pt x="2584783" y="1086180"/>
                  <a:pt x="2586825" y="1143348"/>
                  <a:pt x="2585804" y="1196432"/>
                </a:cubicBezTo>
                <a:cubicBezTo>
                  <a:pt x="2584783" y="1234203"/>
                  <a:pt x="2581721" y="1269933"/>
                  <a:pt x="2576617" y="1305662"/>
                </a:cubicBezTo>
                <a:cubicBezTo>
                  <a:pt x="2536804" y="1405705"/>
                  <a:pt x="2524553" y="1512894"/>
                  <a:pt x="2537825" y="1614979"/>
                </a:cubicBezTo>
                <a:cubicBezTo>
                  <a:pt x="2537825" y="1616000"/>
                  <a:pt x="2537825" y="1616000"/>
                  <a:pt x="2537825" y="1617020"/>
                </a:cubicBezTo>
                <a:cubicBezTo>
                  <a:pt x="2537825" y="1619062"/>
                  <a:pt x="2537825" y="1622125"/>
                  <a:pt x="2537825" y="1625187"/>
                </a:cubicBezTo>
                <a:cubicBezTo>
                  <a:pt x="2537825" y="1629271"/>
                  <a:pt x="2537825" y="1634375"/>
                  <a:pt x="2537825" y="1638458"/>
                </a:cubicBezTo>
                <a:cubicBezTo>
                  <a:pt x="2524553" y="1624166"/>
                  <a:pt x="2511283" y="1609875"/>
                  <a:pt x="2498011" y="1595583"/>
                </a:cubicBezTo>
                <a:cubicBezTo>
                  <a:pt x="2453094" y="1547603"/>
                  <a:pt x="2411239" y="1499623"/>
                  <a:pt x="2372447" y="1452664"/>
                </a:cubicBezTo>
                <a:cubicBezTo>
                  <a:pt x="2334676" y="1405705"/>
                  <a:pt x="2299967" y="1357725"/>
                  <a:pt x="2270363" y="1308725"/>
                </a:cubicBezTo>
                <a:cubicBezTo>
                  <a:pt x="2210133" y="1211745"/>
                  <a:pt x="2165216" y="1113743"/>
                  <a:pt x="2132548" y="1021867"/>
                </a:cubicBezTo>
                <a:cubicBezTo>
                  <a:pt x="2099881" y="928970"/>
                  <a:pt x="2079464" y="842198"/>
                  <a:pt x="2067214" y="763593"/>
                </a:cubicBezTo>
                <a:cubicBezTo>
                  <a:pt x="2061089" y="724801"/>
                  <a:pt x="2057006" y="688050"/>
                  <a:pt x="2051902" y="653342"/>
                </a:cubicBezTo>
                <a:cubicBezTo>
                  <a:pt x="2047818" y="619654"/>
                  <a:pt x="2042714" y="588007"/>
                  <a:pt x="2037610" y="559424"/>
                </a:cubicBezTo>
                <a:cubicBezTo>
                  <a:pt x="2031485" y="529819"/>
                  <a:pt x="2025360" y="503277"/>
                  <a:pt x="2019234" y="481839"/>
                </a:cubicBezTo>
                <a:cubicBezTo>
                  <a:pt x="2012088" y="452235"/>
                  <a:pt x="2002901" y="425693"/>
                  <a:pt x="1993713" y="401193"/>
                </a:cubicBezTo>
                <a:cubicBezTo>
                  <a:pt x="1969213" y="337900"/>
                  <a:pt x="1941650" y="289920"/>
                  <a:pt x="1920212" y="259295"/>
                </a:cubicBezTo>
                <a:cubicBezTo>
                  <a:pt x="1910004" y="243982"/>
                  <a:pt x="1900816" y="231732"/>
                  <a:pt x="1894691" y="224586"/>
                </a:cubicBezTo>
                <a:cubicBezTo>
                  <a:pt x="1889587" y="217440"/>
                  <a:pt x="1886524" y="213357"/>
                  <a:pt x="1885504" y="213357"/>
                </a:cubicBezTo>
                <a:cubicBezTo>
                  <a:pt x="1886524" y="214378"/>
                  <a:pt x="1888566" y="218461"/>
                  <a:pt x="1893670" y="225607"/>
                </a:cubicBezTo>
                <a:cubicBezTo>
                  <a:pt x="1898775" y="233774"/>
                  <a:pt x="1905921" y="246024"/>
                  <a:pt x="1915108" y="262357"/>
                </a:cubicBezTo>
                <a:cubicBezTo>
                  <a:pt x="1932462" y="295025"/>
                  <a:pt x="1956963" y="344025"/>
                  <a:pt x="1975338" y="407318"/>
                </a:cubicBezTo>
                <a:cubicBezTo>
                  <a:pt x="1984526" y="438964"/>
                  <a:pt x="1993713" y="474693"/>
                  <a:pt x="1998817" y="512465"/>
                </a:cubicBezTo>
                <a:cubicBezTo>
                  <a:pt x="2004943" y="551257"/>
                  <a:pt x="2006984" y="592091"/>
                  <a:pt x="2009026" y="635987"/>
                </a:cubicBezTo>
                <a:cubicBezTo>
                  <a:pt x="2011068" y="679884"/>
                  <a:pt x="2011068" y="726842"/>
                  <a:pt x="2016172" y="775843"/>
                </a:cubicBezTo>
                <a:cubicBezTo>
                  <a:pt x="2017193" y="788093"/>
                  <a:pt x="2018214" y="800343"/>
                  <a:pt x="2020255" y="812594"/>
                </a:cubicBezTo>
                <a:cubicBezTo>
                  <a:pt x="2021276" y="824844"/>
                  <a:pt x="2023318" y="837094"/>
                  <a:pt x="2025360" y="850365"/>
                </a:cubicBezTo>
                <a:cubicBezTo>
                  <a:pt x="2026380" y="857511"/>
                  <a:pt x="2027401" y="864657"/>
                  <a:pt x="2028422" y="870782"/>
                </a:cubicBezTo>
                <a:cubicBezTo>
                  <a:pt x="2034547" y="924887"/>
                  <a:pt x="2044756" y="982054"/>
                  <a:pt x="2060068" y="1042284"/>
                </a:cubicBezTo>
                <a:cubicBezTo>
                  <a:pt x="2072319" y="1092305"/>
                  <a:pt x="2088652" y="1144369"/>
                  <a:pt x="2109069" y="1198473"/>
                </a:cubicBezTo>
                <a:cubicBezTo>
                  <a:pt x="2072319" y="1165806"/>
                  <a:pt x="2033526" y="1134160"/>
                  <a:pt x="1990651" y="1104556"/>
                </a:cubicBezTo>
                <a:cubicBezTo>
                  <a:pt x="1907962" y="1048409"/>
                  <a:pt x="1815065" y="1001450"/>
                  <a:pt x="1718085" y="964700"/>
                </a:cubicBezTo>
                <a:cubicBezTo>
                  <a:pt x="1621104" y="926928"/>
                  <a:pt x="1525145" y="900386"/>
                  <a:pt x="1432248" y="874865"/>
                </a:cubicBezTo>
                <a:cubicBezTo>
                  <a:pt x="1340371" y="850365"/>
                  <a:pt x="1251558" y="826885"/>
                  <a:pt x="1169890" y="803406"/>
                </a:cubicBezTo>
                <a:cubicBezTo>
                  <a:pt x="1005534" y="755426"/>
                  <a:pt x="864657" y="692134"/>
                  <a:pt x="757468" y="620674"/>
                </a:cubicBezTo>
                <a:cubicBezTo>
                  <a:pt x="650279" y="549215"/>
                  <a:pt x="578820" y="469589"/>
                  <a:pt x="537986" y="409359"/>
                </a:cubicBezTo>
                <a:cubicBezTo>
                  <a:pt x="518590" y="378734"/>
                  <a:pt x="503277" y="354234"/>
                  <a:pt x="496131" y="335858"/>
                </a:cubicBezTo>
                <a:cubicBezTo>
                  <a:pt x="488985" y="320546"/>
                  <a:pt x="483881" y="311358"/>
                  <a:pt x="482860" y="309316"/>
                </a:cubicBezTo>
                <a:cubicBezTo>
                  <a:pt x="483881" y="311358"/>
                  <a:pt x="485923" y="321567"/>
                  <a:pt x="491027" y="337900"/>
                </a:cubicBezTo>
                <a:cubicBezTo>
                  <a:pt x="496131" y="357296"/>
                  <a:pt x="506340" y="383838"/>
                  <a:pt x="522673" y="418547"/>
                </a:cubicBezTo>
                <a:cubicBezTo>
                  <a:pt x="526757" y="426714"/>
                  <a:pt x="531861" y="435901"/>
                  <a:pt x="536965" y="445089"/>
                </a:cubicBezTo>
                <a:cubicBezTo>
                  <a:pt x="539007" y="450193"/>
                  <a:pt x="542070" y="454277"/>
                  <a:pt x="544111" y="459381"/>
                </a:cubicBezTo>
                <a:cubicBezTo>
                  <a:pt x="547174" y="464485"/>
                  <a:pt x="550236" y="468568"/>
                  <a:pt x="553299" y="473673"/>
                </a:cubicBezTo>
                <a:cubicBezTo>
                  <a:pt x="559424" y="483881"/>
                  <a:pt x="565549" y="493069"/>
                  <a:pt x="572695" y="504298"/>
                </a:cubicBezTo>
                <a:cubicBezTo>
                  <a:pt x="579841" y="514507"/>
                  <a:pt x="588008" y="524715"/>
                  <a:pt x="596174" y="535944"/>
                </a:cubicBezTo>
                <a:cubicBezTo>
                  <a:pt x="628841" y="578820"/>
                  <a:pt x="671717" y="624758"/>
                  <a:pt x="723780" y="667633"/>
                </a:cubicBezTo>
                <a:cubicBezTo>
                  <a:pt x="828927" y="754405"/>
                  <a:pt x="971846" y="835052"/>
                  <a:pt x="1140286" y="896303"/>
                </a:cubicBezTo>
                <a:cubicBezTo>
                  <a:pt x="1223995" y="926928"/>
                  <a:pt x="1312809" y="953470"/>
                  <a:pt x="1402643" y="982054"/>
                </a:cubicBezTo>
                <a:cubicBezTo>
                  <a:pt x="1493498" y="1009617"/>
                  <a:pt x="1586396" y="1038201"/>
                  <a:pt x="1677251" y="1073930"/>
                </a:cubicBezTo>
                <a:cubicBezTo>
                  <a:pt x="1769127" y="1108639"/>
                  <a:pt x="1853857" y="1149473"/>
                  <a:pt x="1930421" y="1198473"/>
                </a:cubicBezTo>
                <a:cubicBezTo>
                  <a:pt x="2005963" y="1247474"/>
                  <a:pt x="2074360" y="1304641"/>
                  <a:pt x="2138674" y="1362830"/>
                </a:cubicBezTo>
                <a:cubicBezTo>
                  <a:pt x="2170320" y="1392434"/>
                  <a:pt x="2200945" y="1421018"/>
                  <a:pt x="2231571" y="1448581"/>
                </a:cubicBezTo>
                <a:cubicBezTo>
                  <a:pt x="2246883" y="1474102"/>
                  <a:pt x="2264238" y="1499623"/>
                  <a:pt x="2281592" y="1524123"/>
                </a:cubicBezTo>
                <a:cubicBezTo>
                  <a:pt x="2319363" y="1577207"/>
                  <a:pt x="2361218" y="1629271"/>
                  <a:pt x="2403073" y="1681334"/>
                </a:cubicBezTo>
                <a:cubicBezTo>
                  <a:pt x="2488824" y="1784439"/>
                  <a:pt x="2580700" y="1887545"/>
                  <a:pt x="2651138" y="2002900"/>
                </a:cubicBezTo>
                <a:cubicBezTo>
                  <a:pt x="2686868" y="2060068"/>
                  <a:pt x="2715452" y="2121318"/>
                  <a:pt x="2734848" y="2185632"/>
                </a:cubicBezTo>
                <a:cubicBezTo>
                  <a:pt x="2754244" y="2249945"/>
                  <a:pt x="2762411" y="2317321"/>
                  <a:pt x="2761390" y="2385718"/>
                </a:cubicBezTo>
                <a:cubicBezTo>
                  <a:pt x="2759348" y="2454114"/>
                  <a:pt x="2747098" y="2521490"/>
                  <a:pt x="2724639" y="2584783"/>
                </a:cubicBezTo>
                <a:cubicBezTo>
                  <a:pt x="2719535" y="2601116"/>
                  <a:pt x="2712389" y="2616429"/>
                  <a:pt x="2706264" y="2631742"/>
                </a:cubicBezTo>
                <a:cubicBezTo>
                  <a:pt x="2699118" y="2647054"/>
                  <a:pt x="2691972" y="2663388"/>
                  <a:pt x="2684826" y="2678700"/>
                </a:cubicBezTo>
                <a:cubicBezTo>
                  <a:pt x="2669514" y="2709326"/>
                  <a:pt x="2653180" y="2740972"/>
                  <a:pt x="2634805" y="2771597"/>
                </a:cubicBezTo>
                <a:cubicBezTo>
                  <a:pt x="2600096" y="2832848"/>
                  <a:pt x="2562325" y="2895120"/>
                  <a:pt x="2529658" y="2960454"/>
                </a:cubicBezTo>
                <a:cubicBezTo>
                  <a:pt x="2513324" y="2993121"/>
                  <a:pt x="2498011" y="3026809"/>
                  <a:pt x="2484740" y="3060497"/>
                </a:cubicBezTo>
                <a:cubicBezTo>
                  <a:pt x="2481678" y="3068664"/>
                  <a:pt x="2478615" y="3077851"/>
                  <a:pt x="2475553" y="3086018"/>
                </a:cubicBezTo>
                <a:cubicBezTo>
                  <a:pt x="2472490" y="3095206"/>
                  <a:pt x="2469428" y="3103372"/>
                  <a:pt x="2466365" y="3112560"/>
                </a:cubicBezTo>
                <a:cubicBezTo>
                  <a:pt x="2461261" y="3129915"/>
                  <a:pt x="2456157" y="3147269"/>
                  <a:pt x="2452073" y="3164623"/>
                </a:cubicBezTo>
                <a:cubicBezTo>
                  <a:pt x="2449011" y="3178915"/>
                  <a:pt x="2445948" y="3193207"/>
                  <a:pt x="2442886" y="3207499"/>
                </a:cubicBezTo>
                <a:cubicBezTo>
                  <a:pt x="2430636" y="3179936"/>
                  <a:pt x="2415323" y="3152373"/>
                  <a:pt x="2398989" y="3126852"/>
                </a:cubicBezTo>
                <a:cubicBezTo>
                  <a:pt x="2381635" y="3100310"/>
                  <a:pt x="2361218" y="3075810"/>
                  <a:pt x="2340801" y="3051309"/>
                </a:cubicBezTo>
                <a:cubicBezTo>
                  <a:pt x="2319363" y="3027830"/>
                  <a:pt x="2295884" y="3005371"/>
                  <a:pt x="2271384" y="2984954"/>
                </a:cubicBezTo>
                <a:cubicBezTo>
                  <a:pt x="2246883" y="2964537"/>
                  <a:pt x="2221362" y="2945141"/>
                  <a:pt x="2193799" y="2927787"/>
                </a:cubicBezTo>
                <a:cubicBezTo>
                  <a:pt x="2139694" y="2893078"/>
                  <a:pt x="2081506" y="2864495"/>
                  <a:pt x="2022297" y="2841015"/>
                </a:cubicBezTo>
                <a:cubicBezTo>
                  <a:pt x="1974317" y="2822640"/>
                  <a:pt x="1927358" y="2806306"/>
                  <a:pt x="1880399" y="2793035"/>
                </a:cubicBezTo>
                <a:cubicBezTo>
                  <a:pt x="1867128" y="2770577"/>
                  <a:pt x="1857941" y="2745055"/>
                  <a:pt x="1852837" y="2717493"/>
                </a:cubicBezTo>
                <a:cubicBezTo>
                  <a:pt x="1845690" y="2678700"/>
                  <a:pt x="1847732" y="2638887"/>
                  <a:pt x="1856920" y="2600095"/>
                </a:cubicBezTo>
                <a:cubicBezTo>
                  <a:pt x="1865087" y="2562324"/>
                  <a:pt x="1879378" y="2525573"/>
                  <a:pt x="1896733" y="2491886"/>
                </a:cubicBezTo>
                <a:cubicBezTo>
                  <a:pt x="1930421" y="2424510"/>
                  <a:pt x="1972276" y="2368363"/>
                  <a:pt x="2012088" y="2325488"/>
                </a:cubicBezTo>
                <a:cubicBezTo>
                  <a:pt x="2051902" y="2282612"/>
                  <a:pt x="2089673" y="2251987"/>
                  <a:pt x="2116215" y="2232591"/>
                </a:cubicBezTo>
                <a:cubicBezTo>
                  <a:pt x="2129486" y="2222382"/>
                  <a:pt x="2140715" y="2215236"/>
                  <a:pt x="2147861" y="2210132"/>
                </a:cubicBezTo>
                <a:cubicBezTo>
                  <a:pt x="2153986" y="2206049"/>
                  <a:pt x="2158070" y="2202986"/>
                  <a:pt x="2159091" y="2202986"/>
                </a:cubicBezTo>
                <a:cubicBezTo>
                  <a:pt x="2158070" y="2202986"/>
                  <a:pt x="2153986" y="2205028"/>
                  <a:pt x="2146840" y="2207070"/>
                </a:cubicBezTo>
                <a:cubicBezTo>
                  <a:pt x="2138674" y="2210132"/>
                  <a:pt x="2126423" y="2215236"/>
                  <a:pt x="2111111" y="2221361"/>
                </a:cubicBezTo>
                <a:cubicBezTo>
                  <a:pt x="2080485" y="2235653"/>
                  <a:pt x="2035568" y="2258112"/>
                  <a:pt x="1987588" y="2295883"/>
                </a:cubicBezTo>
                <a:cubicBezTo>
                  <a:pt x="1938588" y="2333654"/>
                  <a:pt x="1885504" y="2387759"/>
                  <a:pt x="1841607" y="2458198"/>
                </a:cubicBezTo>
                <a:cubicBezTo>
                  <a:pt x="1835482" y="2468406"/>
                  <a:pt x="1828336" y="2479635"/>
                  <a:pt x="1823232" y="2491886"/>
                </a:cubicBezTo>
                <a:cubicBezTo>
                  <a:pt x="1830378" y="2424510"/>
                  <a:pt x="1834461" y="2351009"/>
                  <a:pt x="1832420" y="2273425"/>
                </a:cubicBezTo>
                <a:cubicBezTo>
                  <a:pt x="1830378" y="2191757"/>
                  <a:pt x="1822211" y="2114173"/>
                  <a:pt x="1808940" y="2044755"/>
                </a:cubicBezTo>
                <a:cubicBezTo>
                  <a:pt x="1795669" y="1975337"/>
                  <a:pt x="1776273" y="1913066"/>
                  <a:pt x="1755856" y="1863044"/>
                </a:cubicBezTo>
                <a:cubicBezTo>
                  <a:pt x="1735439" y="1813023"/>
                  <a:pt x="1714001" y="1775252"/>
                  <a:pt x="1697668" y="1750751"/>
                </a:cubicBezTo>
                <a:cubicBezTo>
                  <a:pt x="1689501" y="1737480"/>
                  <a:pt x="1682355" y="1728293"/>
                  <a:pt x="1678272" y="1722168"/>
                </a:cubicBezTo>
                <a:cubicBezTo>
                  <a:pt x="1674188" y="1717063"/>
                  <a:pt x="1672147" y="1712980"/>
                  <a:pt x="1671126" y="1712980"/>
                </a:cubicBezTo>
                <a:cubicBezTo>
                  <a:pt x="1671126" y="1714001"/>
                  <a:pt x="1673167" y="1718084"/>
                  <a:pt x="1675209" y="1724209"/>
                </a:cubicBezTo>
                <a:cubicBezTo>
                  <a:pt x="1677251" y="1731355"/>
                  <a:pt x="1682355" y="1741564"/>
                  <a:pt x="1686439" y="1755855"/>
                </a:cubicBezTo>
                <a:cubicBezTo>
                  <a:pt x="1695626" y="1783418"/>
                  <a:pt x="1707876" y="1824252"/>
                  <a:pt x="1719106" y="1874274"/>
                </a:cubicBezTo>
                <a:cubicBezTo>
                  <a:pt x="1729314" y="1925316"/>
                  <a:pt x="1739522" y="1985546"/>
                  <a:pt x="1745648" y="2052922"/>
                </a:cubicBezTo>
                <a:cubicBezTo>
                  <a:pt x="1751773" y="2120298"/>
                  <a:pt x="1754835" y="2195840"/>
                  <a:pt x="1756877" y="2274446"/>
                </a:cubicBezTo>
                <a:cubicBezTo>
                  <a:pt x="1758919" y="2353051"/>
                  <a:pt x="1758919" y="2428593"/>
                  <a:pt x="1758919" y="2498011"/>
                </a:cubicBezTo>
                <a:cubicBezTo>
                  <a:pt x="1758919" y="2539866"/>
                  <a:pt x="1757898" y="2578658"/>
                  <a:pt x="1756877" y="2615408"/>
                </a:cubicBezTo>
                <a:cubicBezTo>
                  <a:pt x="1756877" y="2615408"/>
                  <a:pt x="1756877" y="2615408"/>
                  <a:pt x="1756877" y="2616429"/>
                </a:cubicBezTo>
                <a:cubicBezTo>
                  <a:pt x="1749731" y="2628679"/>
                  <a:pt x="1743606" y="2642971"/>
                  <a:pt x="1738502" y="2660325"/>
                </a:cubicBezTo>
                <a:cubicBezTo>
                  <a:pt x="1734418" y="2677680"/>
                  <a:pt x="1731356" y="2697076"/>
                  <a:pt x="1733397" y="2717493"/>
                </a:cubicBezTo>
                <a:cubicBezTo>
                  <a:pt x="1734418" y="2729743"/>
                  <a:pt x="1737481" y="2741993"/>
                  <a:pt x="1741564" y="2753222"/>
                </a:cubicBezTo>
                <a:cubicBezTo>
                  <a:pt x="1721147" y="2748118"/>
                  <a:pt x="1699710" y="2743014"/>
                  <a:pt x="1679293" y="2737910"/>
                </a:cubicBezTo>
                <a:cubicBezTo>
                  <a:pt x="1569041" y="2711368"/>
                  <a:pt x="1463894" y="2684826"/>
                  <a:pt x="1365893" y="2656242"/>
                </a:cubicBezTo>
                <a:cubicBezTo>
                  <a:pt x="1316892" y="2641950"/>
                  <a:pt x="1268912" y="2627658"/>
                  <a:pt x="1222974" y="2611325"/>
                </a:cubicBezTo>
                <a:cubicBezTo>
                  <a:pt x="1200516" y="2604179"/>
                  <a:pt x="1178057" y="2594991"/>
                  <a:pt x="1155598" y="2587845"/>
                </a:cubicBezTo>
                <a:cubicBezTo>
                  <a:pt x="1134160" y="2579678"/>
                  <a:pt x="1111702" y="2571512"/>
                  <a:pt x="1091285" y="2562324"/>
                </a:cubicBezTo>
                <a:cubicBezTo>
                  <a:pt x="1049430" y="2545990"/>
                  <a:pt x="1009617" y="2526594"/>
                  <a:pt x="971846" y="2508219"/>
                </a:cubicBezTo>
                <a:cubicBezTo>
                  <a:pt x="934075" y="2489844"/>
                  <a:pt x="899366" y="2469427"/>
                  <a:pt x="867720" y="2450031"/>
                </a:cubicBezTo>
                <a:cubicBezTo>
                  <a:pt x="835052" y="2429614"/>
                  <a:pt x="806469" y="2408176"/>
                  <a:pt x="778906" y="2386739"/>
                </a:cubicBezTo>
                <a:cubicBezTo>
                  <a:pt x="752364" y="2365301"/>
                  <a:pt x="727864" y="2343863"/>
                  <a:pt x="706426" y="2321404"/>
                </a:cubicBezTo>
                <a:cubicBezTo>
                  <a:pt x="663550" y="2277508"/>
                  <a:pt x="632925" y="2234632"/>
                  <a:pt x="612508" y="2196861"/>
                </a:cubicBezTo>
                <a:cubicBezTo>
                  <a:pt x="609445" y="2191757"/>
                  <a:pt x="607404" y="2187674"/>
                  <a:pt x="604341" y="2182569"/>
                </a:cubicBezTo>
                <a:cubicBezTo>
                  <a:pt x="602299" y="2178486"/>
                  <a:pt x="600258" y="2173382"/>
                  <a:pt x="598216" y="2169298"/>
                </a:cubicBezTo>
                <a:cubicBezTo>
                  <a:pt x="594133" y="2160111"/>
                  <a:pt x="590049" y="2151944"/>
                  <a:pt x="586987" y="2144798"/>
                </a:cubicBezTo>
                <a:cubicBezTo>
                  <a:pt x="580862" y="2129485"/>
                  <a:pt x="575757" y="2115193"/>
                  <a:pt x="572695" y="2104985"/>
                </a:cubicBezTo>
                <a:cubicBezTo>
                  <a:pt x="566570" y="2082526"/>
                  <a:pt x="563507" y="2070276"/>
                  <a:pt x="563507" y="2070276"/>
                </a:cubicBezTo>
                <a:cubicBezTo>
                  <a:pt x="563507" y="2070276"/>
                  <a:pt x="564528" y="2082526"/>
                  <a:pt x="566570" y="2106006"/>
                </a:cubicBezTo>
                <a:cubicBezTo>
                  <a:pt x="567591" y="2117235"/>
                  <a:pt x="571674" y="2131527"/>
                  <a:pt x="574737" y="2148881"/>
                </a:cubicBezTo>
                <a:cubicBezTo>
                  <a:pt x="576778" y="2157048"/>
                  <a:pt x="579841" y="2166236"/>
                  <a:pt x="581883" y="2176444"/>
                </a:cubicBezTo>
                <a:cubicBezTo>
                  <a:pt x="582903" y="2181548"/>
                  <a:pt x="583924" y="2186653"/>
                  <a:pt x="585966" y="2191757"/>
                </a:cubicBezTo>
                <a:cubicBezTo>
                  <a:pt x="588008" y="2196861"/>
                  <a:pt x="590049" y="2201965"/>
                  <a:pt x="592091" y="2207070"/>
                </a:cubicBezTo>
                <a:cubicBezTo>
                  <a:pt x="607404" y="2249945"/>
                  <a:pt x="632925" y="2299967"/>
                  <a:pt x="671717" y="2353051"/>
                </a:cubicBezTo>
                <a:cubicBezTo>
                  <a:pt x="691113" y="2379593"/>
                  <a:pt x="713572" y="2406135"/>
                  <a:pt x="739093" y="2432677"/>
                </a:cubicBezTo>
                <a:cubicBezTo>
                  <a:pt x="764614" y="2459218"/>
                  <a:pt x="793198" y="2485761"/>
                  <a:pt x="824844" y="2511282"/>
                </a:cubicBezTo>
                <a:cubicBezTo>
                  <a:pt x="856490" y="2536803"/>
                  <a:pt x="891199" y="2562324"/>
                  <a:pt x="928970" y="2586824"/>
                </a:cubicBezTo>
                <a:cubicBezTo>
                  <a:pt x="966742" y="2610304"/>
                  <a:pt x="1006555" y="2634804"/>
                  <a:pt x="1048409" y="2656242"/>
                </a:cubicBezTo>
                <a:cubicBezTo>
                  <a:pt x="1069847" y="2667471"/>
                  <a:pt x="1091285" y="2677680"/>
                  <a:pt x="1113744" y="2688909"/>
                </a:cubicBezTo>
                <a:cubicBezTo>
                  <a:pt x="1136202" y="2699117"/>
                  <a:pt x="1158661" y="2710347"/>
                  <a:pt x="1182140" y="2719534"/>
                </a:cubicBezTo>
                <a:cubicBezTo>
                  <a:pt x="1229099" y="2739951"/>
                  <a:pt x="1277079" y="2759347"/>
                  <a:pt x="1327101" y="2776702"/>
                </a:cubicBezTo>
                <a:cubicBezTo>
                  <a:pt x="1348538" y="2783848"/>
                  <a:pt x="1369976" y="2792014"/>
                  <a:pt x="1391414" y="2799160"/>
                </a:cubicBezTo>
                <a:cubicBezTo>
                  <a:pt x="1347518" y="2799160"/>
                  <a:pt x="1302600" y="2802223"/>
                  <a:pt x="1257683" y="2808348"/>
                </a:cubicBezTo>
                <a:cubicBezTo>
                  <a:pt x="1185203" y="2818556"/>
                  <a:pt x="1112723" y="2836932"/>
                  <a:pt x="1041264" y="2851224"/>
                </a:cubicBezTo>
                <a:cubicBezTo>
                  <a:pt x="969804" y="2865515"/>
                  <a:pt x="898345" y="2874703"/>
                  <a:pt x="829948" y="2879807"/>
                </a:cubicBezTo>
                <a:cubicBezTo>
                  <a:pt x="760531" y="2883891"/>
                  <a:pt x="694176" y="2883891"/>
                  <a:pt x="630883" y="2879807"/>
                </a:cubicBezTo>
                <a:cubicBezTo>
                  <a:pt x="503277" y="2871641"/>
                  <a:pt x="389963" y="2850203"/>
                  <a:pt x="296045" y="2823661"/>
                </a:cubicBezTo>
                <a:cubicBezTo>
                  <a:pt x="249087" y="2810390"/>
                  <a:pt x="207232" y="2797119"/>
                  <a:pt x="170481" y="2783848"/>
                </a:cubicBezTo>
                <a:cubicBezTo>
                  <a:pt x="152106" y="2776702"/>
                  <a:pt x="135773" y="2770577"/>
                  <a:pt x="119439" y="2764452"/>
                </a:cubicBezTo>
                <a:cubicBezTo>
                  <a:pt x="104126" y="2758327"/>
                  <a:pt x="89835" y="2752201"/>
                  <a:pt x="77584" y="2746076"/>
                </a:cubicBezTo>
                <a:cubicBezTo>
                  <a:pt x="71459" y="2743014"/>
                  <a:pt x="65334" y="2740972"/>
                  <a:pt x="59209" y="2738931"/>
                </a:cubicBezTo>
                <a:cubicBezTo>
                  <a:pt x="54105" y="2735868"/>
                  <a:pt x="49001" y="2733826"/>
                  <a:pt x="43896" y="2731784"/>
                </a:cubicBezTo>
                <a:cubicBezTo>
                  <a:pt x="34709" y="2727701"/>
                  <a:pt x="26542" y="2723618"/>
                  <a:pt x="19396" y="2720555"/>
                </a:cubicBezTo>
                <a:cubicBezTo>
                  <a:pt x="8167" y="2715451"/>
                  <a:pt x="1021" y="2712388"/>
                  <a:pt x="0" y="2711368"/>
                </a:cubicBezTo>
                <a:cubicBezTo>
                  <a:pt x="1021" y="2712388"/>
                  <a:pt x="7146" y="2716472"/>
                  <a:pt x="18375" y="2723618"/>
                </a:cubicBezTo>
                <a:cubicBezTo>
                  <a:pt x="24500" y="2727701"/>
                  <a:pt x="31646" y="2732805"/>
                  <a:pt x="40834" y="2738931"/>
                </a:cubicBezTo>
                <a:cubicBezTo>
                  <a:pt x="44917" y="2741993"/>
                  <a:pt x="50021" y="2745055"/>
                  <a:pt x="55126" y="2748118"/>
                </a:cubicBezTo>
                <a:cubicBezTo>
                  <a:pt x="60230" y="2751181"/>
                  <a:pt x="66355" y="2754243"/>
                  <a:pt x="71459" y="2758327"/>
                </a:cubicBezTo>
                <a:cubicBezTo>
                  <a:pt x="83709" y="2765472"/>
                  <a:pt x="96980" y="2773639"/>
                  <a:pt x="111272" y="2781806"/>
                </a:cubicBezTo>
                <a:cubicBezTo>
                  <a:pt x="126585" y="2789973"/>
                  <a:pt x="142919" y="2798139"/>
                  <a:pt x="160273" y="2807327"/>
                </a:cubicBezTo>
                <a:cubicBezTo>
                  <a:pt x="196003" y="2824682"/>
                  <a:pt x="236836" y="2844078"/>
                  <a:pt x="282775" y="2861432"/>
                </a:cubicBezTo>
                <a:cubicBezTo>
                  <a:pt x="375672" y="2898182"/>
                  <a:pt x="492048" y="2928808"/>
                  <a:pt x="623737" y="2945141"/>
                </a:cubicBezTo>
                <a:cubicBezTo>
                  <a:pt x="690092" y="2952287"/>
                  <a:pt x="759510" y="2955350"/>
                  <a:pt x="831990" y="2953308"/>
                </a:cubicBezTo>
                <a:cubicBezTo>
                  <a:pt x="904470" y="2950246"/>
                  <a:pt x="978992" y="2942079"/>
                  <a:pt x="1054534" y="2926766"/>
                </a:cubicBezTo>
                <a:cubicBezTo>
                  <a:pt x="1129056" y="2911453"/>
                  <a:pt x="1199495" y="2893078"/>
                  <a:pt x="1266871" y="2880828"/>
                </a:cubicBezTo>
                <a:cubicBezTo>
                  <a:pt x="1334246" y="2869599"/>
                  <a:pt x="1400601" y="2865515"/>
                  <a:pt x="1463894" y="2866536"/>
                </a:cubicBezTo>
                <a:cubicBezTo>
                  <a:pt x="1527186" y="2867557"/>
                  <a:pt x="1587416" y="2872661"/>
                  <a:pt x="1644584" y="2879807"/>
                </a:cubicBezTo>
                <a:cubicBezTo>
                  <a:pt x="1650709" y="2880828"/>
                  <a:pt x="1656834" y="2881849"/>
                  <a:pt x="1661938" y="2882870"/>
                </a:cubicBezTo>
                <a:cubicBezTo>
                  <a:pt x="1765044" y="2912474"/>
                  <a:pt x="1870191" y="2940037"/>
                  <a:pt x="1969213" y="2978829"/>
                </a:cubicBezTo>
                <a:cubicBezTo>
                  <a:pt x="2022297" y="2999246"/>
                  <a:pt x="2071298" y="3023747"/>
                  <a:pt x="2116215" y="3051309"/>
                </a:cubicBezTo>
                <a:cubicBezTo>
                  <a:pt x="2138674" y="3065601"/>
                  <a:pt x="2160111" y="3080914"/>
                  <a:pt x="2180528" y="3096227"/>
                </a:cubicBezTo>
                <a:cubicBezTo>
                  <a:pt x="2200945" y="3112560"/>
                  <a:pt x="2220341" y="3128894"/>
                  <a:pt x="2237696" y="3147269"/>
                </a:cubicBezTo>
                <a:cubicBezTo>
                  <a:pt x="2255050" y="3165644"/>
                  <a:pt x="2271384" y="3184019"/>
                  <a:pt x="2285675" y="3203416"/>
                </a:cubicBezTo>
                <a:cubicBezTo>
                  <a:pt x="2299967" y="3222812"/>
                  <a:pt x="2312217" y="3243228"/>
                  <a:pt x="2322426" y="3263645"/>
                </a:cubicBezTo>
                <a:cubicBezTo>
                  <a:pt x="2332634" y="3284062"/>
                  <a:pt x="2340801" y="3306521"/>
                  <a:pt x="2347947" y="3327959"/>
                </a:cubicBezTo>
                <a:cubicBezTo>
                  <a:pt x="2355093" y="3350417"/>
                  <a:pt x="2359176" y="3372876"/>
                  <a:pt x="2363260" y="3396355"/>
                </a:cubicBezTo>
                <a:cubicBezTo>
                  <a:pt x="2370406" y="3443314"/>
                  <a:pt x="2373468" y="3491294"/>
                  <a:pt x="2372447" y="3538253"/>
                </a:cubicBezTo>
                <a:cubicBezTo>
                  <a:pt x="2372447" y="3586233"/>
                  <a:pt x="2370406" y="3633192"/>
                  <a:pt x="2368364" y="3680151"/>
                </a:cubicBezTo>
                <a:cubicBezTo>
                  <a:pt x="2365301" y="3739360"/>
                  <a:pt x="2363260" y="3796527"/>
                  <a:pt x="2362239" y="3851653"/>
                </a:cubicBezTo>
                <a:cubicBezTo>
                  <a:pt x="2355093" y="3848590"/>
                  <a:pt x="2346926" y="3844507"/>
                  <a:pt x="2339780" y="3842465"/>
                </a:cubicBezTo>
                <a:cubicBezTo>
                  <a:pt x="2322426" y="3836340"/>
                  <a:pt x="2308134" y="3831236"/>
                  <a:pt x="2291801" y="3825111"/>
                </a:cubicBezTo>
                <a:cubicBezTo>
                  <a:pt x="2275467" y="3818986"/>
                  <a:pt x="2259133" y="3813881"/>
                  <a:pt x="2242800" y="3808777"/>
                </a:cubicBezTo>
                <a:cubicBezTo>
                  <a:pt x="2209112" y="3797548"/>
                  <a:pt x="2174403" y="3787339"/>
                  <a:pt x="2137653" y="3779173"/>
                </a:cubicBezTo>
                <a:cubicBezTo>
                  <a:pt x="2100902" y="3771006"/>
                  <a:pt x="2061089" y="3763860"/>
                  <a:pt x="2020255" y="3761818"/>
                </a:cubicBezTo>
                <a:cubicBezTo>
                  <a:pt x="1999838" y="3760797"/>
                  <a:pt x="1978401" y="3760797"/>
                  <a:pt x="1957984" y="3761818"/>
                </a:cubicBezTo>
                <a:cubicBezTo>
                  <a:pt x="1936546" y="3762839"/>
                  <a:pt x="1916129" y="3765902"/>
                  <a:pt x="1896733" y="3768964"/>
                </a:cubicBezTo>
                <a:cubicBezTo>
                  <a:pt x="1856920" y="3775089"/>
                  <a:pt x="1818128" y="3783256"/>
                  <a:pt x="1781377" y="3789381"/>
                </a:cubicBezTo>
                <a:cubicBezTo>
                  <a:pt x="1744627" y="3795506"/>
                  <a:pt x="1710939" y="3797548"/>
                  <a:pt x="1676230" y="3795506"/>
                </a:cubicBezTo>
                <a:cubicBezTo>
                  <a:pt x="1642542" y="3793465"/>
                  <a:pt x="1608854" y="3788360"/>
                  <a:pt x="1576187" y="3779173"/>
                </a:cubicBezTo>
                <a:cubicBezTo>
                  <a:pt x="1544541" y="3769985"/>
                  <a:pt x="1513915" y="3758756"/>
                  <a:pt x="1485332" y="3743443"/>
                </a:cubicBezTo>
                <a:cubicBezTo>
                  <a:pt x="1456748" y="3729151"/>
                  <a:pt x="1430206" y="3710776"/>
                  <a:pt x="1403664" y="3690359"/>
                </a:cubicBezTo>
                <a:cubicBezTo>
                  <a:pt x="1377122" y="3670963"/>
                  <a:pt x="1351601" y="3649525"/>
                  <a:pt x="1325059" y="3629108"/>
                </a:cubicBezTo>
                <a:cubicBezTo>
                  <a:pt x="1311788" y="3618900"/>
                  <a:pt x="1298517" y="3608691"/>
                  <a:pt x="1285246" y="3599504"/>
                </a:cubicBezTo>
                <a:cubicBezTo>
                  <a:pt x="1270954" y="3590316"/>
                  <a:pt x="1257683" y="3581129"/>
                  <a:pt x="1244412" y="3572962"/>
                </a:cubicBezTo>
                <a:cubicBezTo>
                  <a:pt x="1189286" y="3539274"/>
                  <a:pt x="1135181" y="3514774"/>
                  <a:pt x="1084139" y="3498440"/>
                </a:cubicBezTo>
                <a:cubicBezTo>
                  <a:pt x="1033097" y="3481086"/>
                  <a:pt x="985117" y="3470877"/>
                  <a:pt x="943262" y="3464752"/>
                </a:cubicBezTo>
                <a:cubicBezTo>
                  <a:pt x="922845" y="3461690"/>
                  <a:pt x="902428" y="3459648"/>
                  <a:pt x="885074" y="3458627"/>
                </a:cubicBezTo>
                <a:cubicBezTo>
                  <a:pt x="866699" y="3457606"/>
                  <a:pt x="850365" y="3456585"/>
                  <a:pt x="836073" y="3457606"/>
                </a:cubicBezTo>
                <a:cubicBezTo>
                  <a:pt x="828927" y="3457606"/>
                  <a:pt x="821781" y="3457606"/>
                  <a:pt x="815656" y="3457606"/>
                </a:cubicBezTo>
                <a:cubicBezTo>
                  <a:pt x="809531" y="3457606"/>
                  <a:pt x="803406" y="3458627"/>
                  <a:pt x="797281" y="3458627"/>
                </a:cubicBezTo>
                <a:cubicBezTo>
                  <a:pt x="786052" y="3459648"/>
                  <a:pt x="776864" y="3459648"/>
                  <a:pt x="768697" y="3460669"/>
                </a:cubicBezTo>
                <a:cubicBezTo>
                  <a:pt x="753385" y="3462710"/>
                  <a:pt x="745218" y="3462710"/>
                  <a:pt x="745218" y="3462710"/>
                </a:cubicBezTo>
                <a:cubicBezTo>
                  <a:pt x="745218" y="3462710"/>
                  <a:pt x="753385" y="3463731"/>
                  <a:pt x="768697" y="3464752"/>
                </a:cubicBezTo>
                <a:cubicBezTo>
                  <a:pt x="775843" y="3465773"/>
                  <a:pt x="786052" y="3466794"/>
                  <a:pt x="796260" y="3467815"/>
                </a:cubicBezTo>
                <a:cubicBezTo>
                  <a:pt x="801365" y="3468836"/>
                  <a:pt x="807490" y="3469856"/>
                  <a:pt x="813615" y="3469856"/>
                </a:cubicBezTo>
                <a:cubicBezTo>
                  <a:pt x="819740" y="3470877"/>
                  <a:pt x="826886" y="3471898"/>
                  <a:pt x="834032" y="3473940"/>
                </a:cubicBezTo>
                <a:cubicBezTo>
                  <a:pt x="848323" y="3475981"/>
                  <a:pt x="863636" y="3480065"/>
                  <a:pt x="880991" y="3484148"/>
                </a:cubicBezTo>
                <a:cubicBezTo>
                  <a:pt x="898345" y="3488232"/>
                  <a:pt x="915699" y="3493336"/>
                  <a:pt x="935095" y="3499461"/>
                </a:cubicBezTo>
                <a:cubicBezTo>
                  <a:pt x="973888" y="3511711"/>
                  <a:pt x="1016763" y="3528045"/>
                  <a:pt x="1061680" y="3550503"/>
                </a:cubicBezTo>
                <a:cubicBezTo>
                  <a:pt x="1106598" y="3572962"/>
                  <a:pt x="1153557" y="3601546"/>
                  <a:pt x="1199495" y="3637275"/>
                </a:cubicBezTo>
                <a:cubicBezTo>
                  <a:pt x="1222974" y="3654629"/>
                  <a:pt x="1245433" y="3674025"/>
                  <a:pt x="1267891" y="3696484"/>
                </a:cubicBezTo>
                <a:cubicBezTo>
                  <a:pt x="1291371" y="3717922"/>
                  <a:pt x="1314850" y="3741401"/>
                  <a:pt x="1342413" y="3765902"/>
                </a:cubicBezTo>
                <a:cubicBezTo>
                  <a:pt x="1368955" y="3789381"/>
                  <a:pt x="1399581" y="3813881"/>
                  <a:pt x="1433269" y="3834298"/>
                </a:cubicBezTo>
                <a:cubicBezTo>
                  <a:pt x="1466957" y="3854715"/>
                  <a:pt x="1504728" y="3872070"/>
                  <a:pt x="1544541" y="3884320"/>
                </a:cubicBezTo>
                <a:cubicBezTo>
                  <a:pt x="1584354" y="3896570"/>
                  <a:pt x="1626208" y="3904737"/>
                  <a:pt x="1669084" y="3907799"/>
                </a:cubicBezTo>
                <a:cubicBezTo>
                  <a:pt x="1711960" y="3910862"/>
                  <a:pt x="1756877" y="3907799"/>
                  <a:pt x="1797711" y="3901674"/>
                </a:cubicBezTo>
                <a:cubicBezTo>
                  <a:pt x="1839565" y="3895549"/>
                  <a:pt x="1877337" y="3886362"/>
                  <a:pt x="1913066" y="3880236"/>
                </a:cubicBezTo>
                <a:cubicBezTo>
                  <a:pt x="1948796" y="3874111"/>
                  <a:pt x="1981463" y="3870028"/>
                  <a:pt x="2015151" y="3871049"/>
                </a:cubicBezTo>
                <a:cubicBezTo>
                  <a:pt x="2020255" y="3871049"/>
                  <a:pt x="2025360" y="3871049"/>
                  <a:pt x="2030464" y="3871049"/>
                </a:cubicBezTo>
                <a:cubicBezTo>
                  <a:pt x="2046797" y="3878195"/>
                  <a:pt x="2065172" y="3887383"/>
                  <a:pt x="2085589" y="3899632"/>
                </a:cubicBezTo>
                <a:cubicBezTo>
                  <a:pt x="2117236" y="3918008"/>
                  <a:pt x="2151944" y="3941487"/>
                  <a:pt x="2185632" y="3973134"/>
                </a:cubicBezTo>
                <a:cubicBezTo>
                  <a:pt x="2188695" y="3976196"/>
                  <a:pt x="2192778" y="3982321"/>
                  <a:pt x="2195841" y="3985383"/>
                </a:cubicBezTo>
                <a:cubicBezTo>
                  <a:pt x="2199924" y="3992530"/>
                  <a:pt x="2206049" y="3999676"/>
                  <a:pt x="2212175" y="4005800"/>
                </a:cubicBezTo>
                <a:cubicBezTo>
                  <a:pt x="2216258" y="4009884"/>
                  <a:pt x="2221362" y="4012946"/>
                  <a:pt x="2226466" y="4016009"/>
                </a:cubicBezTo>
                <a:cubicBezTo>
                  <a:pt x="2243821" y="4036426"/>
                  <a:pt x="2261175" y="4057864"/>
                  <a:pt x="2275467" y="4082364"/>
                </a:cubicBezTo>
                <a:cubicBezTo>
                  <a:pt x="2300988" y="4123198"/>
                  <a:pt x="2320384" y="4171178"/>
                  <a:pt x="2339780" y="4217116"/>
                </a:cubicBezTo>
                <a:cubicBezTo>
                  <a:pt x="2342843" y="4225282"/>
                  <a:pt x="2345905" y="4232429"/>
                  <a:pt x="2348968" y="4239575"/>
                </a:cubicBezTo>
                <a:cubicBezTo>
                  <a:pt x="2344884" y="4292658"/>
                  <a:pt x="2340801" y="4345743"/>
                  <a:pt x="2335697" y="4395764"/>
                </a:cubicBezTo>
                <a:cubicBezTo>
                  <a:pt x="2330593" y="4446806"/>
                  <a:pt x="2323447" y="4494786"/>
                  <a:pt x="2311197" y="4538682"/>
                </a:cubicBezTo>
                <a:cubicBezTo>
                  <a:pt x="2298946" y="4582579"/>
                  <a:pt x="2280571" y="4621371"/>
                  <a:pt x="2259133" y="4656080"/>
                </a:cubicBezTo>
                <a:cubicBezTo>
                  <a:pt x="2237696" y="4690788"/>
                  <a:pt x="2212175" y="4720393"/>
                  <a:pt x="2187674" y="4745914"/>
                </a:cubicBezTo>
                <a:cubicBezTo>
                  <a:pt x="2177466" y="4757143"/>
                  <a:pt x="2166236" y="4768373"/>
                  <a:pt x="2156028" y="4777560"/>
                </a:cubicBezTo>
                <a:lnTo>
                  <a:pt x="2748119" y="4777560"/>
                </a:lnTo>
                <a:cubicBezTo>
                  <a:pt x="2726681" y="4737747"/>
                  <a:pt x="2706264" y="4692830"/>
                  <a:pt x="2691972" y="4642809"/>
                </a:cubicBezTo>
                <a:cubicBezTo>
                  <a:pt x="2679722" y="4602996"/>
                  <a:pt x="2672576" y="4560120"/>
                  <a:pt x="2667472" y="4514182"/>
                </a:cubicBezTo>
                <a:cubicBezTo>
                  <a:pt x="2662368" y="4468244"/>
                  <a:pt x="2660326" y="4420264"/>
                  <a:pt x="2657263" y="4370243"/>
                </a:cubicBezTo>
                <a:cubicBezTo>
                  <a:pt x="2653180" y="4287554"/>
                  <a:pt x="2648076" y="4208949"/>
                  <a:pt x="2642972" y="4135448"/>
                </a:cubicBezTo>
                <a:cubicBezTo>
                  <a:pt x="2642972" y="4122177"/>
                  <a:pt x="2641951" y="4109927"/>
                  <a:pt x="2640930" y="4096656"/>
                </a:cubicBezTo>
                <a:cubicBezTo>
                  <a:pt x="2650118" y="4026217"/>
                  <a:pt x="2663389" y="3952717"/>
                  <a:pt x="2686868" y="3882278"/>
                </a:cubicBezTo>
                <a:cubicBezTo>
                  <a:pt x="2690952" y="3871049"/>
                  <a:pt x="2695035" y="3859820"/>
                  <a:pt x="2699118" y="3848590"/>
                </a:cubicBezTo>
                <a:cubicBezTo>
                  <a:pt x="2706264" y="3833277"/>
                  <a:pt x="2714431" y="3816944"/>
                  <a:pt x="2722598" y="3799590"/>
                </a:cubicBezTo>
                <a:cubicBezTo>
                  <a:pt x="2724639" y="3795506"/>
                  <a:pt x="2725660" y="3792444"/>
                  <a:pt x="2727702" y="3788360"/>
                </a:cubicBezTo>
                <a:cubicBezTo>
                  <a:pt x="2733827" y="3777131"/>
                  <a:pt x="2740973" y="3765902"/>
                  <a:pt x="2747098" y="3754672"/>
                </a:cubicBezTo>
                <a:cubicBezTo>
                  <a:pt x="2761390" y="3732214"/>
                  <a:pt x="2777724" y="3710776"/>
                  <a:pt x="2795078" y="3690359"/>
                </a:cubicBezTo>
                <a:cubicBezTo>
                  <a:pt x="2795078" y="3690359"/>
                  <a:pt x="2795078" y="3690359"/>
                  <a:pt x="2796099" y="3690359"/>
                </a:cubicBezTo>
                <a:cubicBezTo>
                  <a:pt x="2814474" y="3676067"/>
                  <a:pt x="2836933" y="3664838"/>
                  <a:pt x="2861433" y="3652588"/>
                </a:cubicBezTo>
                <a:cubicBezTo>
                  <a:pt x="2886954" y="3641359"/>
                  <a:pt x="2913496" y="3628087"/>
                  <a:pt x="2940038" y="3616858"/>
                </a:cubicBezTo>
                <a:cubicBezTo>
                  <a:pt x="2993122" y="3593379"/>
                  <a:pt x="3049268" y="3570920"/>
                  <a:pt x="3107457" y="3559691"/>
                </a:cubicBezTo>
                <a:cubicBezTo>
                  <a:pt x="3136040" y="3554587"/>
                  <a:pt x="3165645" y="3551524"/>
                  <a:pt x="3195250" y="3553566"/>
                </a:cubicBezTo>
                <a:cubicBezTo>
                  <a:pt x="3210562" y="3553566"/>
                  <a:pt x="3224854" y="3556628"/>
                  <a:pt x="3240167" y="3557649"/>
                </a:cubicBezTo>
                <a:cubicBezTo>
                  <a:pt x="3247313" y="3558670"/>
                  <a:pt x="3255480" y="3560712"/>
                  <a:pt x="3262626" y="3561732"/>
                </a:cubicBezTo>
                <a:cubicBezTo>
                  <a:pt x="3269771" y="3563774"/>
                  <a:pt x="3277938" y="3564795"/>
                  <a:pt x="3285084" y="3566837"/>
                </a:cubicBezTo>
                <a:cubicBezTo>
                  <a:pt x="3346335" y="3583170"/>
                  <a:pt x="3405544" y="3609712"/>
                  <a:pt x="3463732" y="3636254"/>
                </a:cubicBezTo>
                <a:cubicBezTo>
                  <a:pt x="3521921" y="3662796"/>
                  <a:pt x="3580109" y="3690359"/>
                  <a:pt x="3638297" y="3710776"/>
                </a:cubicBezTo>
                <a:cubicBezTo>
                  <a:pt x="3696485" y="3732214"/>
                  <a:pt x="3755694" y="3745485"/>
                  <a:pt x="3812862" y="3748547"/>
                </a:cubicBezTo>
                <a:cubicBezTo>
                  <a:pt x="3841445" y="3750589"/>
                  <a:pt x="3869008" y="3748547"/>
                  <a:pt x="3894530" y="3745485"/>
                </a:cubicBezTo>
                <a:cubicBezTo>
                  <a:pt x="3920051" y="3742422"/>
                  <a:pt x="3944551" y="3737318"/>
                  <a:pt x="3967010" y="3733235"/>
                </a:cubicBezTo>
                <a:cubicBezTo>
                  <a:pt x="4011927" y="3723026"/>
                  <a:pt x="4050719" y="3711797"/>
                  <a:pt x="4085428" y="3702609"/>
                </a:cubicBezTo>
                <a:cubicBezTo>
                  <a:pt x="4120137" y="3693422"/>
                  <a:pt x="4149741" y="3686276"/>
                  <a:pt x="4174241" y="3681171"/>
                </a:cubicBezTo>
                <a:cubicBezTo>
                  <a:pt x="4198742" y="3677088"/>
                  <a:pt x="4218138" y="3674025"/>
                  <a:pt x="4231409" y="3673005"/>
                </a:cubicBezTo>
                <a:cubicBezTo>
                  <a:pt x="4244680" y="3671984"/>
                  <a:pt x="4251826" y="3670963"/>
                  <a:pt x="4251826" y="3670963"/>
                </a:cubicBezTo>
                <a:cubicBezTo>
                  <a:pt x="4251826" y="3670963"/>
                  <a:pt x="4244680" y="3669942"/>
                  <a:pt x="4231409" y="3668921"/>
                </a:cubicBezTo>
                <a:cubicBezTo>
                  <a:pt x="4218138" y="3667901"/>
                  <a:pt x="4198742" y="3666880"/>
                  <a:pt x="4172200" y="3666880"/>
                </a:cubicBezTo>
                <a:cubicBezTo>
                  <a:pt x="4146678" y="3667901"/>
                  <a:pt x="4115032" y="3669942"/>
                  <a:pt x="4079303" y="3674025"/>
                </a:cubicBezTo>
                <a:cubicBezTo>
                  <a:pt x="4043573" y="3678109"/>
                  <a:pt x="4002739" y="3684234"/>
                  <a:pt x="3958843" y="3688317"/>
                </a:cubicBezTo>
                <a:cubicBezTo>
                  <a:pt x="3914946" y="3692401"/>
                  <a:pt x="3866967" y="3695463"/>
                  <a:pt x="3818987" y="3686276"/>
                </a:cubicBezTo>
                <a:cubicBezTo>
                  <a:pt x="3769986" y="3679130"/>
                  <a:pt x="3718944" y="3661775"/>
                  <a:pt x="3666881" y="3639317"/>
                </a:cubicBezTo>
                <a:cubicBezTo>
                  <a:pt x="3614818" y="3615837"/>
                  <a:pt x="3560713" y="3587253"/>
                  <a:pt x="3501504" y="3557649"/>
                </a:cubicBezTo>
                <a:cubicBezTo>
                  <a:pt x="3440253" y="3527024"/>
                  <a:pt x="3374919" y="3495377"/>
                  <a:pt x="3299376" y="3477002"/>
                </a:cubicBezTo>
                <a:cubicBezTo>
                  <a:pt x="3294272" y="3475981"/>
                  <a:pt x="3289167" y="3474960"/>
                  <a:pt x="3284063" y="3473940"/>
                </a:cubicBezTo>
                <a:cubicBezTo>
                  <a:pt x="3273855" y="3471898"/>
                  <a:pt x="3263646" y="3468836"/>
                  <a:pt x="3253438" y="3468836"/>
                </a:cubicBezTo>
                <a:cubicBezTo>
                  <a:pt x="3235063" y="3466794"/>
                  <a:pt x="3216688" y="3463731"/>
                  <a:pt x="3197291" y="3464752"/>
                </a:cubicBezTo>
                <a:cubicBezTo>
                  <a:pt x="3159520" y="3462710"/>
                  <a:pt x="3122770" y="3467815"/>
                  <a:pt x="3088061" y="3475981"/>
                </a:cubicBezTo>
                <a:cubicBezTo>
                  <a:pt x="3081936" y="3477002"/>
                  <a:pt x="3075811" y="3479044"/>
                  <a:pt x="3069685" y="3481086"/>
                </a:cubicBezTo>
                <a:cubicBezTo>
                  <a:pt x="3081936" y="3473940"/>
                  <a:pt x="3094186" y="3466794"/>
                  <a:pt x="3105415" y="3460669"/>
                </a:cubicBezTo>
                <a:cubicBezTo>
                  <a:pt x="3113582" y="3458627"/>
                  <a:pt x="3120728" y="3455564"/>
                  <a:pt x="3128895" y="3453523"/>
                </a:cubicBezTo>
                <a:cubicBezTo>
                  <a:pt x="3178916" y="3439231"/>
                  <a:pt x="3232000" y="3426981"/>
                  <a:pt x="3285084" y="3417793"/>
                </a:cubicBezTo>
                <a:cubicBezTo>
                  <a:pt x="3339189" y="3408605"/>
                  <a:pt x="3394315" y="3401460"/>
                  <a:pt x="3451482" y="3394314"/>
                </a:cubicBezTo>
                <a:cubicBezTo>
                  <a:pt x="3564796" y="3381043"/>
                  <a:pt x="3678110" y="3370834"/>
                  <a:pt x="3787341" y="3351438"/>
                </a:cubicBezTo>
                <a:cubicBezTo>
                  <a:pt x="3842466" y="3341230"/>
                  <a:pt x="3895550" y="3328980"/>
                  <a:pt x="3947613" y="3313667"/>
                </a:cubicBezTo>
                <a:cubicBezTo>
                  <a:pt x="3999677" y="3298354"/>
                  <a:pt x="4048677" y="3279979"/>
                  <a:pt x="4095636" y="3258541"/>
                </a:cubicBezTo>
                <a:cubicBezTo>
                  <a:pt x="4142595" y="3238124"/>
                  <a:pt x="4187512" y="3215666"/>
                  <a:pt x="4229367" y="3191165"/>
                </a:cubicBezTo>
                <a:cubicBezTo>
                  <a:pt x="4250805" y="3179936"/>
                  <a:pt x="4270201" y="3166665"/>
                  <a:pt x="4290618" y="3155436"/>
                </a:cubicBezTo>
                <a:cubicBezTo>
                  <a:pt x="4310014" y="3143185"/>
                  <a:pt x="4329410" y="3130935"/>
                  <a:pt x="4348806" y="3118685"/>
                </a:cubicBezTo>
                <a:cubicBezTo>
                  <a:pt x="4424349" y="3068664"/>
                  <a:pt x="4490704" y="3019663"/>
                  <a:pt x="4550934" y="2972704"/>
                </a:cubicBezTo>
                <a:cubicBezTo>
                  <a:pt x="4670373" y="2879807"/>
                  <a:pt x="4764291" y="2802223"/>
                  <a:pt x="4830646" y="2749139"/>
                </a:cubicBezTo>
                <a:cubicBezTo>
                  <a:pt x="4895980" y="2695034"/>
                  <a:pt x="4931710" y="2665429"/>
                  <a:pt x="4931710" y="2665429"/>
                </a:cubicBezTo>
                <a:cubicBezTo>
                  <a:pt x="4931710" y="2665429"/>
                  <a:pt x="4889855" y="2692992"/>
                  <a:pt x="4819417" y="2738931"/>
                </a:cubicBezTo>
                <a:close/>
                <a:moveTo>
                  <a:pt x="2300988" y="3946591"/>
                </a:moveTo>
                <a:cubicBezTo>
                  <a:pt x="2296905" y="3939445"/>
                  <a:pt x="2291801" y="3932300"/>
                  <a:pt x="2284655" y="3926175"/>
                </a:cubicBezTo>
                <a:cubicBezTo>
                  <a:pt x="2291801" y="3928216"/>
                  <a:pt x="2298946" y="3930258"/>
                  <a:pt x="2306092" y="3932300"/>
                </a:cubicBezTo>
                <a:cubicBezTo>
                  <a:pt x="2320384" y="3936383"/>
                  <a:pt x="2332634" y="3940466"/>
                  <a:pt x="2341822" y="3945571"/>
                </a:cubicBezTo>
                <a:cubicBezTo>
                  <a:pt x="2346926" y="3948633"/>
                  <a:pt x="2351010" y="3950675"/>
                  <a:pt x="2355093" y="3953738"/>
                </a:cubicBezTo>
                <a:cubicBezTo>
                  <a:pt x="2355093" y="3972113"/>
                  <a:pt x="2355093" y="3990488"/>
                  <a:pt x="2356114" y="4007842"/>
                </a:cubicBezTo>
                <a:cubicBezTo>
                  <a:pt x="2339780" y="3984363"/>
                  <a:pt x="2321405" y="3963946"/>
                  <a:pt x="2300988" y="3946591"/>
                </a:cubicBezTo>
                <a:close/>
              </a:path>
            </a:pathLst>
          </a:custGeom>
          <a:solidFill>
            <a:schemeClr val="bg2">
              <a:lumMod val="75000"/>
            </a:schemeClr>
          </a:solidFill>
          <a:ln w="1019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4" name="Freeform: Shape 79">
            <a:extLst>
              <a:ext uri="{FF2B5EF4-FFF2-40B4-BE49-F238E27FC236}">
                <a16:creationId xmlns:a16="http://schemas.microsoft.com/office/drawing/2014/main" id="{CEE9F6D7-4FC6-4F0F-BFE6-5A2DE8E46F4E}"/>
              </a:ext>
            </a:extLst>
          </p:cNvPr>
          <p:cNvSpPr/>
          <p:nvPr/>
        </p:nvSpPr>
        <p:spPr>
          <a:xfrm>
            <a:off x="4276441" y="4548951"/>
            <a:ext cx="289466" cy="289466"/>
          </a:xfrm>
          <a:custGeom>
            <a:avLst/>
            <a:gdLst>
              <a:gd name="connsiteX0" fmla="*/ 296046 w 296045"/>
              <a:gd name="connsiteY0" fmla="*/ 148023 h 296045"/>
              <a:gd name="connsiteX1" fmla="*/ 148023 w 296045"/>
              <a:gd name="connsiteY1" fmla="*/ 296046 h 296045"/>
              <a:gd name="connsiteX2" fmla="*/ 0 w 296045"/>
              <a:gd name="connsiteY2" fmla="*/ 148023 h 296045"/>
              <a:gd name="connsiteX3" fmla="*/ 148023 w 296045"/>
              <a:gd name="connsiteY3" fmla="*/ 0 h 296045"/>
              <a:gd name="connsiteX4" fmla="*/ 296046 w 296045"/>
              <a:gd name="connsiteY4" fmla="*/ 148023 h 2960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6045" h="296045">
                <a:moveTo>
                  <a:pt x="296046" y="148023"/>
                </a:moveTo>
                <a:cubicBezTo>
                  <a:pt x="296046" y="229773"/>
                  <a:pt x="229774" y="296046"/>
                  <a:pt x="148023" y="296046"/>
                </a:cubicBezTo>
                <a:cubicBezTo>
                  <a:pt x="66272" y="296046"/>
                  <a:pt x="0" y="229773"/>
                  <a:pt x="0" y="148023"/>
                </a:cubicBezTo>
                <a:cubicBezTo>
                  <a:pt x="0" y="66272"/>
                  <a:pt x="66272" y="0"/>
                  <a:pt x="148023" y="0"/>
                </a:cubicBezTo>
                <a:cubicBezTo>
                  <a:pt x="229774" y="0"/>
                  <a:pt x="296046" y="66272"/>
                  <a:pt x="296046" y="148023"/>
                </a:cubicBezTo>
                <a:close/>
              </a:path>
            </a:pathLst>
          </a:custGeom>
          <a:solidFill>
            <a:schemeClr val="accent3"/>
          </a:solidFill>
          <a:ln w="1019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5" name="Freeform: Shape 80">
            <a:extLst>
              <a:ext uri="{FF2B5EF4-FFF2-40B4-BE49-F238E27FC236}">
                <a16:creationId xmlns:a16="http://schemas.microsoft.com/office/drawing/2014/main" id="{05D09F40-5DFA-4357-A5D4-F856E1325539}"/>
              </a:ext>
            </a:extLst>
          </p:cNvPr>
          <p:cNvSpPr/>
          <p:nvPr/>
        </p:nvSpPr>
        <p:spPr>
          <a:xfrm>
            <a:off x="7636550" y="4656183"/>
            <a:ext cx="289466" cy="289466"/>
          </a:xfrm>
          <a:custGeom>
            <a:avLst/>
            <a:gdLst>
              <a:gd name="connsiteX0" fmla="*/ 296046 w 296045"/>
              <a:gd name="connsiteY0" fmla="*/ 148023 h 296045"/>
              <a:gd name="connsiteX1" fmla="*/ 148023 w 296045"/>
              <a:gd name="connsiteY1" fmla="*/ 296045 h 296045"/>
              <a:gd name="connsiteX2" fmla="*/ 0 w 296045"/>
              <a:gd name="connsiteY2" fmla="*/ 148023 h 296045"/>
              <a:gd name="connsiteX3" fmla="*/ 148023 w 296045"/>
              <a:gd name="connsiteY3" fmla="*/ 0 h 296045"/>
              <a:gd name="connsiteX4" fmla="*/ 296046 w 296045"/>
              <a:gd name="connsiteY4" fmla="*/ 148023 h 2960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6045" h="296045">
                <a:moveTo>
                  <a:pt x="296046" y="148023"/>
                </a:moveTo>
                <a:cubicBezTo>
                  <a:pt x="296046" y="229773"/>
                  <a:pt x="229773" y="296045"/>
                  <a:pt x="148023" y="296045"/>
                </a:cubicBezTo>
                <a:cubicBezTo>
                  <a:pt x="66272" y="296045"/>
                  <a:pt x="0" y="229773"/>
                  <a:pt x="0" y="148023"/>
                </a:cubicBezTo>
                <a:cubicBezTo>
                  <a:pt x="0" y="66272"/>
                  <a:pt x="66272" y="0"/>
                  <a:pt x="148023" y="0"/>
                </a:cubicBezTo>
                <a:cubicBezTo>
                  <a:pt x="229773" y="0"/>
                  <a:pt x="296046" y="66272"/>
                  <a:pt x="296046" y="148023"/>
                </a:cubicBezTo>
                <a:close/>
              </a:path>
            </a:pathLst>
          </a:custGeom>
          <a:solidFill>
            <a:schemeClr val="accent6"/>
          </a:solidFill>
          <a:ln w="1019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6" name="Freeform: Shape 82">
            <a:extLst>
              <a:ext uri="{FF2B5EF4-FFF2-40B4-BE49-F238E27FC236}">
                <a16:creationId xmlns:a16="http://schemas.microsoft.com/office/drawing/2014/main" id="{60C63289-6A58-4B5C-9AAB-DC0C23E68AE6}"/>
              </a:ext>
            </a:extLst>
          </p:cNvPr>
          <p:cNvSpPr/>
          <p:nvPr/>
        </p:nvSpPr>
        <p:spPr>
          <a:xfrm>
            <a:off x="6880838" y="2117301"/>
            <a:ext cx="215602" cy="215602"/>
          </a:xfrm>
          <a:custGeom>
            <a:avLst/>
            <a:gdLst>
              <a:gd name="connsiteX0" fmla="*/ 220503 w 220502"/>
              <a:gd name="connsiteY0" fmla="*/ 110251 h 220502"/>
              <a:gd name="connsiteX1" fmla="*/ 110251 w 220502"/>
              <a:gd name="connsiteY1" fmla="*/ 220503 h 220502"/>
              <a:gd name="connsiteX2" fmla="*/ 0 w 220502"/>
              <a:gd name="connsiteY2" fmla="*/ 110251 h 220502"/>
              <a:gd name="connsiteX3" fmla="*/ 110251 w 220502"/>
              <a:gd name="connsiteY3" fmla="*/ 0 h 220502"/>
              <a:gd name="connsiteX4" fmla="*/ 220503 w 220502"/>
              <a:gd name="connsiteY4" fmla="*/ 110251 h 220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0502" h="220502">
                <a:moveTo>
                  <a:pt x="220503" y="110251"/>
                </a:moveTo>
                <a:cubicBezTo>
                  <a:pt x="220503" y="171142"/>
                  <a:pt x="171141" y="220503"/>
                  <a:pt x="110251" y="220503"/>
                </a:cubicBezTo>
                <a:cubicBezTo>
                  <a:pt x="49361" y="220503"/>
                  <a:pt x="0" y="171142"/>
                  <a:pt x="0" y="110251"/>
                </a:cubicBezTo>
                <a:cubicBezTo>
                  <a:pt x="0" y="49361"/>
                  <a:pt x="49361" y="0"/>
                  <a:pt x="110251" y="0"/>
                </a:cubicBezTo>
                <a:cubicBezTo>
                  <a:pt x="171141" y="0"/>
                  <a:pt x="220503" y="49361"/>
                  <a:pt x="220503" y="110251"/>
                </a:cubicBezTo>
                <a:close/>
              </a:path>
            </a:pathLst>
          </a:custGeom>
          <a:solidFill>
            <a:schemeClr val="accent2"/>
          </a:solidFill>
          <a:ln w="1019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7" name="Freeform: Shape 83">
            <a:extLst>
              <a:ext uri="{FF2B5EF4-FFF2-40B4-BE49-F238E27FC236}">
                <a16:creationId xmlns:a16="http://schemas.microsoft.com/office/drawing/2014/main" id="{C457C7B0-4FEE-473E-BB49-ACAD6BF669CD}"/>
              </a:ext>
            </a:extLst>
          </p:cNvPr>
          <p:cNvSpPr/>
          <p:nvPr/>
        </p:nvSpPr>
        <p:spPr>
          <a:xfrm>
            <a:off x="6458540" y="5256177"/>
            <a:ext cx="141739" cy="141739"/>
          </a:xfrm>
          <a:custGeom>
            <a:avLst/>
            <a:gdLst>
              <a:gd name="connsiteX0" fmla="*/ 144960 w 144960"/>
              <a:gd name="connsiteY0" fmla="*/ 72480 h 144960"/>
              <a:gd name="connsiteX1" fmla="*/ 72481 w 144960"/>
              <a:gd name="connsiteY1" fmla="*/ 144960 h 144960"/>
              <a:gd name="connsiteX2" fmla="*/ 1 w 144960"/>
              <a:gd name="connsiteY2" fmla="*/ 72480 h 144960"/>
              <a:gd name="connsiteX3" fmla="*/ 72481 w 144960"/>
              <a:gd name="connsiteY3" fmla="*/ 0 h 144960"/>
              <a:gd name="connsiteX4" fmla="*/ 144960 w 144960"/>
              <a:gd name="connsiteY4" fmla="*/ 72480 h 1449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960" h="144960">
                <a:moveTo>
                  <a:pt x="144960" y="72480"/>
                </a:moveTo>
                <a:cubicBezTo>
                  <a:pt x="144960" y="112510"/>
                  <a:pt x="112510" y="144960"/>
                  <a:pt x="72481" y="144960"/>
                </a:cubicBezTo>
                <a:cubicBezTo>
                  <a:pt x="32451" y="144960"/>
                  <a:pt x="1" y="112510"/>
                  <a:pt x="1" y="72480"/>
                </a:cubicBezTo>
                <a:cubicBezTo>
                  <a:pt x="1" y="32450"/>
                  <a:pt x="32451" y="0"/>
                  <a:pt x="72481" y="0"/>
                </a:cubicBezTo>
                <a:cubicBezTo>
                  <a:pt x="112510" y="0"/>
                  <a:pt x="144960" y="32450"/>
                  <a:pt x="144960" y="72480"/>
                </a:cubicBezTo>
                <a:close/>
              </a:path>
            </a:pathLst>
          </a:custGeom>
          <a:solidFill>
            <a:schemeClr val="accent6"/>
          </a:solidFill>
          <a:ln w="1019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8" name="Freeform: Shape 84">
            <a:extLst>
              <a:ext uri="{FF2B5EF4-FFF2-40B4-BE49-F238E27FC236}">
                <a16:creationId xmlns:a16="http://schemas.microsoft.com/office/drawing/2014/main" id="{D243DFEB-BFC2-4DED-8B8C-65B094A2BC9D}"/>
              </a:ext>
            </a:extLst>
          </p:cNvPr>
          <p:cNvSpPr/>
          <p:nvPr/>
        </p:nvSpPr>
        <p:spPr>
          <a:xfrm>
            <a:off x="6856860" y="4489721"/>
            <a:ext cx="289466" cy="289466"/>
          </a:xfrm>
          <a:custGeom>
            <a:avLst/>
            <a:gdLst>
              <a:gd name="connsiteX0" fmla="*/ 296045 w 296045"/>
              <a:gd name="connsiteY0" fmla="*/ 148023 h 296045"/>
              <a:gd name="connsiteX1" fmla="*/ 148023 w 296045"/>
              <a:gd name="connsiteY1" fmla="*/ 296045 h 296045"/>
              <a:gd name="connsiteX2" fmla="*/ 0 w 296045"/>
              <a:gd name="connsiteY2" fmla="*/ 148023 h 296045"/>
              <a:gd name="connsiteX3" fmla="*/ 148023 w 296045"/>
              <a:gd name="connsiteY3" fmla="*/ 0 h 296045"/>
              <a:gd name="connsiteX4" fmla="*/ 296045 w 296045"/>
              <a:gd name="connsiteY4" fmla="*/ 148023 h 2960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6045" h="296045">
                <a:moveTo>
                  <a:pt x="296045" y="148023"/>
                </a:moveTo>
                <a:cubicBezTo>
                  <a:pt x="296045" y="229773"/>
                  <a:pt x="229773" y="296045"/>
                  <a:pt x="148023" y="296045"/>
                </a:cubicBezTo>
                <a:cubicBezTo>
                  <a:pt x="66272" y="296045"/>
                  <a:pt x="0" y="229773"/>
                  <a:pt x="0" y="148023"/>
                </a:cubicBezTo>
                <a:cubicBezTo>
                  <a:pt x="0" y="66272"/>
                  <a:pt x="66272" y="0"/>
                  <a:pt x="148023" y="0"/>
                </a:cubicBezTo>
                <a:cubicBezTo>
                  <a:pt x="229773" y="0"/>
                  <a:pt x="296045" y="66272"/>
                  <a:pt x="296045" y="148023"/>
                </a:cubicBezTo>
                <a:close/>
              </a:path>
            </a:pathLst>
          </a:custGeom>
          <a:solidFill>
            <a:schemeClr val="accent4"/>
          </a:solidFill>
          <a:ln w="1019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9" name="Freeform: Shape 85">
            <a:extLst>
              <a:ext uri="{FF2B5EF4-FFF2-40B4-BE49-F238E27FC236}">
                <a16:creationId xmlns:a16="http://schemas.microsoft.com/office/drawing/2014/main" id="{8F1310FA-C0D0-4CE5-8E45-8B324C44DD6D}"/>
              </a:ext>
            </a:extLst>
          </p:cNvPr>
          <p:cNvSpPr/>
          <p:nvPr/>
        </p:nvSpPr>
        <p:spPr>
          <a:xfrm>
            <a:off x="7077779" y="4932159"/>
            <a:ext cx="289466" cy="289466"/>
          </a:xfrm>
          <a:custGeom>
            <a:avLst/>
            <a:gdLst>
              <a:gd name="connsiteX0" fmla="*/ 296046 w 296045"/>
              <a:gd name="connsiteY0" fmla="*/ 148023 h 296045"/>
              <a:gd name="connsiteX1" fmla="*/ 148023 w 296045"/>
              <a:gd name="connsiteY1" fmla="*/ 296045 h 296045"/>
              <a:gd name="connsiteX2" fmla="*/ 0 w 296045"/>
              <a:gd name="connsiteY2" fmla="*/ 148023 h 296045"/>
              <a:gd name="connsiteX3" fmla="*/ 148023 w 296045"/>
              <a:gd name="connsiteY3" fmla="*/ 0 h 296045"/>
              <a:gd name="connsiteX4" fmla="*/ 296046 w 296045"/>
              <a:gd name="connsiteY4" fmla="*/ 148023 h 2960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6045" h="296045">
                <a:moveTo>
                  <a:pt x="296046" y="148023"/>
                </a:moveTo>
                <a:cubicBezTo>
                  <a:pt x="296046" y="229773"/>
                  <a:pt x="229774" y="296045"/>
                  <a:pt x="148023" y="296045"/>
                </a:cubicBezTo>
                <a:cubicBezTo>
                  <a:pt x="66272" y="296045"/>
                  <a:pt x="0" y="229773"/>
                  <a:pt x="0" y="148023"/>
                </a:cubicBezTo>
                <a:cubicBezTo>
                  <a:pt x="0" y="66272"/>
                  <a:pt x="66272" y="0"/>
                  <a:pt x="148023" y="0"/>
                </a:cubicBezTo>
                <a:cubicBezTo>
                  <a:pt x="229774" y="0"/>
                  <a:pt x="296046" y="66272"/>
                  <a:pt x="296046" y="148023"/>
                </a:cubicBezTo>
                <a:close/>
              </a:path>
            </a:pathLst>
          </a:custGeom>
          <a:solidFill>
            <a:schemeClr val="accent6"/>
          </a:solidFill>
          <a:ln w="1019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0" name="Freeform: Shape 86">
            <a:extLst>
              <a:ext uri="{FF2B5EF4-FFF2-40B4-BE49-F238E27FC236}">
                <a16:creationId xmlns:a16="http://schemas.microsoft.com/office/drawing/2014/main" id="{24A849D3-DAFA-484A-8F86-770D6BF8EDF8}"/>
              </a:ext>
            </a:extLst>
          </p:cNvPr>
          <p:cNvSpPr/>
          <p:nvPr/>
        </p:nvSpPr>
        <p:spPr>
          <a:xfrm>
            <a:off x="6963094" y="3639116"/>
            <a:ext cx="215602" cy="215602"/>
          </a:xfrm>
          <a:custGeom>
            <a:avLst/>
            <a:gdLst>
              <a:gd name="connsiteX0" fmla="*/ 220503 w 220502"/>
              <a:gd name="connsiteY0" fmla="*/ 110251 h 220502"/>
              <a:gd name="connsiteX1" fmla="*/ 110251 w 220502"/>
              <a:gd name="connsiteY1" fmla="*/ 220503 h 220502"/>
              <a:gd name="connsiteX2" fmla="*/ 0 w 220502"/>
              <a:gd name="connsiteY2" fmla="*/ 110251 h 220502"/>
              <a:gd name="connsiteX3" fmla="*/ 110251 w 220502"/>
              <a:gd name="connsiteY3" fmla="*/ 0 h 220502"/>
              <a:gd name="connsiteX4" fmla="*/ 220503 w 220502"/>
              <a:gd name="connsiteY4" fmla="*/ 110251 h 220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0502" h="220502">
                <a:moveTo>
                  <a:pt x="220503" y="110251"/>
                </a:moveTo>
                <a:cubicBezTo>
                  <a:pt x="220503" y="171142"/>
                  <a:pt x="171141" y="220503"/>
                  <a:pt x="110251" y="220503"/>
                </a:cubicBezTo>
                <a:cubicBezTo>
                  <a:pt x="49361" y="220503"/>
                  <a:pt x="0" y="171142"/>
                  <a:pt x="0" y="110251"/>
                </a:cubicBezTo>
                <a:cubicBezTo>
                  <a:pt x="0" y="49361"/>
                  <a:pt x="49361" y="0"/>
                  <a:pt x="110251" y="0"/>
                </a:cubicBezTo>
                <a:cubicBezTo>
                  <a:pt x="171141" y="0"/>
                  <a:pt x="220503" y="49361"/>
                  <a:pt x="220503" y="110251"/>
                </a:cubicBezTo>
                <a:close/>
              </a:path>
            </a:pathLst>
          </a:custGeom>
          <a:solidFill>
            <a:schemeClr val="accent4"/>
          </a:solidFill>
          <a:ln w="1019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1" name="Freeform: Shape 87">
            <a:extLst>
              <a:ext uri="{FF2B5EF4-FFF2-40B4-BE49-F238E27FC236}">
                <a16:creationId xmlns:a16="http://schemas.microsoft.com/office/drawing/2014/main" id="{D681593C-84D3-451A-9FC6-0FD16C2A242F}"/>
              </a:ext>
            </a:extLst>
          </p:cNvPr>
          <p:cNvSpPr/>
          <p:nvPr/>
        </p:nvSpPr>
        <p:spPr>
          <a:xfrm>
            <a:off x="5569683" y="5968844"/>
            <a:ext cx="141739" cy="141739"/>
          </a:xfrm>
          <a:custGeom>
            <a:avLst/>
            <a:gdLst>
              <a:gd name="connsiteX0" fmla="*/ 144960 w 144960"/>
              <a:gd name="connsiteY0" fmla="*/ 72480 h 144960"/>
              <a:gd name="connsiteX1" fmla="*/ 72480 w 144960"/>
              <a:gd name="connsiteY1" fmla="*/ 144960 h 144960"/>
              <a:gd name="connsiteX2" fmla="*/ 0 w 144960"/>
              <a:gd name="connsiteY2" fmla="*/ 72480 h 144960"/>
              <a:gd name="connsiteX3" fmla="*/ 72480 w 144960"/>
              <a:gd name="connsiteY3" fmla="*/ 0 h 144960"/>
              <a:gd name="connsiteX4" fmla="*/ 144960 w 144960"/>
              <a:gd name="connsiteY4" fmla="*/ 72480 h 1449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960" h="144960">
                <a:moveTo>
                  <a:pt x="144960" y="72480"/>
                </a:moveTo>
                <a:cubicBezTo>
                  <a:pt x="144960" y="112510"/>
                  <a:pt x="112510" y="144960"/>
                  <a:pt x="72480" y="144960"/>
                </a:cubicBezTo>
                <a:cubicBezTo>
                  <a:pt x="32450" y="144960"/>
                  <a:pt x="0" y="112510"/>
                  <a:pt x="0" y="72480"/>
                </a:cubicBezTo>
                <a:cubicBezTo>
                  <a:pt x="0" y="32450"/>
                  <a:pt x="32450" y="0"/>
                  <a:pt x="72480" y="0"/>
                </a:cubicBezTo>
                <a:cubicBezTo>
                  <a:pt x="112510" y="0"/>
                  <a:pt x="144960" y="32450"/>
                  <a:pt x="144960" y="72480"/>
                </a:cubicBezTo>
                <a:close/>
              </a:path>
            </a:pathLst>
          </a:custGeom>
          <a:solidFill>
            <a:schemeClr val="accent5"/>
          </a:solidFill>
          <a:ln w="1019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2" name="Freeform: Shape 88">
            <a:extLst>
              <a:ext uri="{FF2B5EF4-FFF2-40B4-BE49-F238E27FC236}">
                <a16:creationId xmlns:a16="http://schemas.microsoft.com/office/drawing/2014/main" id="{8BD2769D-546D-41EF-A507-1395BCCED4DF}"/>
              </a:ext>
            </a:extLst>
          </p:cNvPr>
          <p:cNvSpPr/>
          <p:nvPr/>
        </p:nvSpPr>
        <p:spPr>
          <a:xfrm>
            <a:off x="7357684" y="4723208"/>
            <a:ext cx="141739" cy="141739"/>
          </a:xfrm>
          <a:custGeom>
            <a:avLst/>
            <a:gdLst>
              <a:gd name="connsiteX0" fmla="*/ 144960 w 144960"/>
              <a:gd name="connsiteY0" fmla="*/ 72480 h 144960"/>
              <a:gd name="connsiteX1" fmla="*/ 72480 w 144960"/>
              <a:gd name="connsiteY1" fmla="*/ 144960 h 144960"/>
              <a:gd name="connsiteX2" fmla="*/ 0 w 144960"/>
              <a:gd name="connsiteY2" fmla="*/ 72480 h 144960"/>
              <a:gd name="connsiteX3" fmla="*/ 72480 w 144960"/>
              <a:gd name="connsiteY3" fmla="*/ 0 h 144960"/>
              <a:gd name="connsiteX4" fmla="*/ 144960 w 144960"/>
              <a:gd name="connsiteY4" fmla="*/ 72480 h 1449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960" h="144960">
                <a:moveTo>
                  <a:pt x="144960" y="72480"/>
                </a:moveTo>
                <a:cubicBezTo>
                  <a:pt x="144960" y="112510"/>
                  <a:pt x="112510" y="144960"/>
                  <a:pt x="72480" y="144960"/>
                </a:cubicBezTo>
                <a:cubicBezTo>
                  <a:pt x="32450" y="144960"/>
                  <a:pt x="0" y="112510"/>
                  <a:pt x="0" y="72480"/>
                </a:cubicBezTo>
                <a:cubicBezTo>
                  <a:pt x="0" y="32450"/>
                  <a:pt x="32450" y="0"/>
                  <a:pt x="72480" y="0"/>
                </a:cubicBezTo>
                <a:cubicBezTo>
                  <a:pt x="112510" y="0"/>
                  <a:pt x="144960" y="32450"/>
                  <a:pt x="144960" y="72480"/>
                </a:cubicBezTo>
                <a:close/>
              </a:path>
            </a:pathLst>
          </a:custGeom>
          <a:solidFill>
            <a:schemeClr val="accent6"/>
          </a:solidFill>
          <a:ln w="1019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3" name="Freeform: Shape 89">
            <a:extLst>
              <a:ext uri="{FF2B5EF4-FFF2-40B4-BE49-F238E27FC236}">
                <a16:creationId xmlns:a16="http://schemas.microsoft.com/office/drawing/2014/main" id="{377E79A0-A8A8-471C-907A-B8B1C834E085}"/>
              </a:ext>
            </a:extLst>
          </p:cNvPr>
          <p:cNvSpPr/>
          <p:nvPr/>
        </p:nvSpPr>
        <p:spPr>
          <a:xfrm>
            <a:off x="5714393" y="5498173"/>
            <a:ext cx="289466" cy="289466"/>
          </a:xfrm>
          <a:custGeom>
            <a:avLst/>
            <a:gdLst>
              <a:gd name="connsiteX0" fmla="*/ 296045 w 296045"/>
              <a:gd name="connsiteY0" fmla="*/ 148023 h 296045"/>
              <a:gd name="connsiteX1" fmla="*/ 148023 w 296045"/>
              <a:gd name="connsiteY1" fmla="*/ 296045 h 296045"/>
              <a:gd name="connsiteX2" fmla="*/ 0 w 296045"/>
              <a:gd name="connsiteY2" fmla="*/ 148023 h 296045"/>
              <a:gd name="connsiteX3" fmla="*/ 148023 w 296045"/>
              <a:gd name="connsiteY3" fmla="*/ 0 h 296045"/>
              <a:gd name="connsiteX4" fmla="*/ 296045 w 296045"/>
              <a:gd name="connsiteY4" fmla="*/ 148023 h 2960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6045" h="296045">
                <a:moveTo>
                  <a:pt x="296045" y="148023"/>
                </a:moveTo>
                <a:cubicBezTo>
                  <a:pt x="296045" y="229773"/>
                  <a:pt x="229773" y="296045"/>
                  <a:pt x="148023" y="296045"/>
                </a:cubicBezTo>
                <a:cubicBezTo>
                  <a:pt x="66272" y="296045"/>
                  <a:pt x="0" y="229773"/>
                  <a:pt x="0" y="148023"/>
                </a:cubicBezTo>
                <a:cubicBezTo>
                  <a:pt x="0" y="66272"/>
                  <a:pt x="66272" y="0"/>
                  <a:pt x="148023" y="0"/>
                </a:cubicBezTo>
                <a:cubicBezTo>
                  <a:pt x="229773" y="0"/>
                  <a:pt x="296045" y="66272"/>
                  <a:pt x="296045" y="148023"/>
                </a:cubicBezTo>
                <a:close/>
              </a:path>
            </a:pathLst>
          </a:custGeom>
          <a:solidFill>
            <a:schemeClr val="accent5"/>
          </a:solidFill>
          <a:ln w="1019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4" name="Freeform: Shape 91">
            <a:extLst>
              <a:ext uri="{FF2B5EF4-FFF2-40B4-BE49-F238E27FC236}">
                <a16:creationId xmlns:a16="http://schemas.microsoft.com/office/drawing/2014/main" id="{B50BCA77-8D12-4B6D-BFB8-B24051EEC81B}"/>
              </a:ext>
            </a:extLst>
          </p:cNvPr>
          <p:cNvSpPr/>
          <p:nvPr/>
        </p:nvSpPr>
        <p:spPr>
          <a:xfrm>
            <a:off x="4581096" y="3667355"/>
            <a:ext cx="289466" cy="289466"/>
          </a:xfrm>
          <a:custGeom>
            <a:avLst/>
            <a:gdLst>
              <a:gd name="connsiteX0" fmla="*/ 296045 w 296045"/>
              <a:gd name="connsiteY0" fmla="*/ 148023 h 296045"/>
              <a:gd name="connsiteX1" fmla="*/ 148023 w 296045"/>
              <a:gd name="connsiteY1" fmla="*/ 296045 h 296045"/>
              <a:gd name="connsiteX2" fmla="*/ 0 w 296045"/>
              <a:gd name="connsiteY2" fmla="*/ 148023 h 296045"/>
              <a:gd name="connsiteX3" fmla="*/ 148023 w 296045"/>
              <a:gd name="connsiteY3" fmla="*/ 0 h 296045"/>
              <a:gd name="connsiteX4" fmla="*/ 296045 w 296045"/>
              <a:gd name="connsiteY4" fmla="*/ 148023 h 2960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6045" h="296045">
                <a:moveTo>
                  <a:pt x="296045" y="148023"/>
                </a:moveTo>
                <a:cubicBezTo>
                  <a:pt x="296045" y="229773"/>
                  <a:pt x="229773" y="296045"/>
                  <a:pt x="148023" y="296045"/>
                </a:cubicBezTo>
                <a:cubicBezTo>
                  <a:pt x="66272" y="296045"/>
                  <a:pt x="0" y="229773"/>
                  <a:pt x="0" y="148023"/>
                </a:cubicBezTo>
                <a:cubicBezTo>
                  <a:pt x="0" y="66272"/>
                  <a:pt x="66272" y="0"/>
                  <a:pt x="148023" y="0"/>
                </a:cubicBezTo>
                <a:cubicBezTo>
                  <a:pt x="229773" y="0"/>
                  <a:pt x="296045" y="66272"/>
                  <a:pt x="296045" y="148023"/>
                </a:cubicBezTo>
                <a:close/>
              </a:path>
            </a:pathLst>
          </a:custGeom>
          <a:solidFill>
            <a:schemeClr val="accent3"/>
          </a:solidFill>
          <a:ln w="1019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5" name="Freeform: Shape 92">
            <a:extLst>
              <a:ext uri="{FF2B5EF4-FFF2-40B4-BE49-F238E27FC236}">
                <a16:creationId xmlns:a16="http://schemas.microsoft.com/office/drawing/2014/main" id="{0A5BB4AA-8C43-4013-9988-A08CF17952BE}"/>
              </a:ext>
            </a:extLst>
          </p:cNvPr>
          <p:cNvSpPr/>
          <p:nvPr/>
        </p:nvSpPr>
        <p:spPr>
          <a:xfrm>
            <a:off x="5421956" y="5063464"/>
            <a:ext cx="289466" cy="289466"/>
          </a:xfrm>
          <a:custGeom>
            <a:avLst/>
            <a:gdLst>
              <a:gd name="connsiteX0" fmla="*/ 296045 w 296045"/>
              <a:gd name="connsiteY0" fmla="*/ 148023 h 296045"/>
              <a:gd name="connsiteX1" fmla="*/ 148023 w 296045"/>
              <a:gd name="connsiteY1" fmla="*/ 296045 h 296045"/>
              <a:gd name="connsiteX2" fmla="*/ 0 w 296045"/>
              <a:gd name="connsiteY2" fmla="*/ 148023 h 296045"/>
              <a:gd name="connsiteX3" fmla="*/ 148023 w 296045"/>
              <a:gd name="connsiteY3" fmla="*/ 0 h 296045"/>
              <a:gd name="connsiteX4" fmla="*/ 296045 w 296045"/>
              <a:gd name="connsiteY4" fmla="*/ 148023 h 2960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6045" h="296045">
                <a:moveTo>
                  <a:pt x="296045" y="148023"/>
                </a:moveTo>
                <a:cubicBezTo>
                  <a:pt x="296045" y="229773"/>
                  <a:pt x="229773" y="296045"/>
                  <a:pt x="148023" y="296045"/>
                </a:cubicBezTo>
                <a:cubicBezTo>
                  <a:pt x="66272" y="296045"/>
                  <a:pt x="0" y="229773"/>
                  <a:pt x="0" y="148023"/>
                </a:cubicBezTo>
                <a:cubicBezTo>
                  <a:pt x="0" y="66272"/>
                  <a:pt x="66272" y="0"/>
                  <a:pt x="148023" y="0"/>
                </a:cubicBezTo>
                <a:cubicBezTo>
                  <a:pt x="229773" y="0"/>
                  <a:pt x="296045" y="66272"/>
                  <a:pt x="296045" y="148023"/>
                </a:cubicBezTo>
                <a:close/>
              </a:path>
            </a:pathLst>
          </a:custGeom>
          <a:solidFill>
            <a:schemeClr val="accent5"/>
          </a:solidFill>
          <a:ln w="1019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6" name="Freeform: Shape 93">
            <a:extLst>
              <a:ext uri="{FF2B5EF4-FFF2-40B4-BE49-F238E27FC236}">
                <a16:creationId xmlns:a16="http://schemas.microsoft.com/office/drawing/2014/main" id="{1B36F2A0-B0CA-4001-9318-6376E0803A7E}"/>
              </a:ext>
            </a:extLst>
          </p:cNvPr>
          <p:cNvSpPr/>
          <p:nvPr/>
        </p:nvSpPr>
        <p:spPr>
          <a:xfrm>
            <a:off x="6008905" y="4060283"/>
            <a:ext cx="289466" cy="289466"/>
          </a:xfrm>
          <a:custGeom>
            <a:avLst/>
            <a:gdLst>
              <a:gd name="connsiteX0" fmla="*/ 296045 w 296045"/>
              <a:gd name="connsiteY0" fmla="*/ 148023 h 296045"/>
              <a:gd name="connsiteX1" fmla="*/ 148023 w 296045"/>
              <a:gd name="connsiteY1" fmla="*/ 296045 h 296045"/>
              <a:gd name="connsiteX2" fmla="*/ 0 w 296045"/>
              <a:gd name="connsiteY2" fmla="*/ 148023 h 296045"/>
              <a:gd name="connsiteX3" fmla="*/ 148023 w 296045"/>
              <a:gd name="connsiteY3" fmla="*/ 0 h 296045"/>
              <a:gd name="connsiteX4" fmla="*/ 296045 w 296045"/>
              <a:gd name="connsiteY4" fmla="*/ 148023 h 2960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6045" h="296045">
                <a:moveTo>
                  <a:pt x="296045" y="148023"/>
                </a:moveTo>
                <a:cubicBezTo>
                  <a:pt x="296045" y="229773"/>
                  <a:pt x="229773" y="296045"/>
                  <a:pt x="148023" y="296045"/>
                </a:cubicBezTo>
                <a:cubicBezTo>
                  <a:pt x="66272" y="296045"/>
                  <a:pt x="0" y="229773"/>
                  <a:pt x="0" y="148023"/>
                </a:cubicBezTo>
                <a:cubicBezTo>
                  <a:pt x="0" y="66272"/>
                  <a:pt x="66272" y="0"/>
                  <a:pt x="148023" y="0"/>
                </a:cubicBezTo>
                <a:cubicBezTo>
                  <a:pt x="229773" y="0"/>
                  <a:pt x="296045" y="66272"/>
                  <a:pt x="296045" y="148023"/>
                </a:cubicBezTo>
                <a:close/>
              </a:path>
            </a:pathLst>
          </a:custGeom>
          <a:solidFill>
            <a:schemeClr val="accent1"/>
          </a:solidFill>
          <a:ln w="1019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7" name="Freeform: Shape 94">
            <a:extLst>
              <a:ext uri="{FF2B5EF4-FFF2-40B4-BE49-F238E27FC236}">
                <a16:creationId xmlns:a16="http://schemas.microsoft.com/office/drawing/2014/main" id="{1F247BE9-F585-4CC0-BAFB-1D196E59714C}"/>
              </a:ext>
            </a:extLst>
          </p:cNvPr>
          <p:cNvSpPr/>
          <p:nvPr/>
        </p:nvSpPr>
        <p:spPr>
          <a:xfrm>
            <a:off x="6017746" y="4820879"/>
            <a:ext cx="141739" cy="141739"/>
          </a:xfrm>
          <a:custGeom>
            <a:avLst/>
            <a:gdLst>
              <a:gd name="connsiteX0" fmla="*/ 144960 w 144960"/>
              <a:gd name="connsiteY0" fmla="*/ 72480 h 144960"/>
              <a:gd name="connsiteX1" fmla="*/ 72480 w 144960"/>
              <a:gd name="connsiteY1" fmla="*/ 144960 h 144960"/>
              <a:gd name="connsiteX2" fmla="*/ 0 w 144960"/>
              <a:gd name="connsiteY2" fmla="*/ 72480 h 144960"/>
              <a:gd name="connsiteX3" fmla="*/ 72480 w 144960"/>
              <a:gd name="connsiteY3" fmla="*/ 0 h 144960"/>
              <a:gd name="connsiteX4" fmla="*/ 144960 w 144960"/>
              <a:gd name="connsiteY4" fmla="*/ 72480 h 1449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960" h="144960">
                <a:moveTo>
                  <a:pt x="144960" y="72480"/>
                </a:moveTo>
                <a:cubicBezTo>
                  <a:pt x="144960" y="112510"/>
                  <a:pt x="112510" y="144960"/>
                  <a:pt x="72480" y="144960"/>
                </a:cubicBezTo>
                <a:cubicBezTo>
                  <a:pt x="32450" y="144960"/>
                  <a:pt x="0" y="112510"/>
                  <a:pt x="0" y="72480"/>
                </a:cubicBezTo>
                <a:cubicBezTo>
                  <a:pt x="0" y="32450"/>
                  <a:pt x="32450" y="0"/>
                  <a:pt x="72480" y="0"/>
                </a:cubicBezTo>
                <a:cubicBezTo>
                  <a:pt x="112510" y="0"/>
                  <a:pt x="144960" y="32450"/>
                  <a:pt x="144960" y="72480"/>
                </a:cubicBezTo>
                <a:close/>
              </a:path>
            </a:pathLst>
          </a:custGeom>
          <a:solidFill>
            <a:schemeClr val="accent5"/>
          </a:solidFill>
          <a:ln w="1019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8" name="Freeform: Shape 95">
            <a:extLst>
              <a:ext uri="{FF2B5EF4-FFF2-40B4-BE49-F238E27FC236}">
                <a16:creationId xmlns:a16="http://schemas.microsoft.com/office/drawing/2014/main" id="{78185F97-76BB-4DED-AD36-CA3BBBA21FB1}"/>
              </a:ext>
            </a:extLst>
          </p:cNvPr>
          <p:cNvSpPr/>
          <p:nvPr/>
        </p:nvSpPr>
        <p:spPr>
          <a:xfrm>
            <a:off x="7114694" y="3052571"/>
            <a:ext cx="289466" cy="289466"/>
          </a:xfrm>
          <a:custGeom>
            <a:avLst/>
            <a:gdLst>
              <a:gd name="connsiteX0" fmla="*/ 296046 w 296045"/>
              <a:gd name="connsiteY0" fmla="*/ 148023 h 296045"/>
              <a:gd name="connsiteX1" fmla="*/ 148023 w 296045"/>
              <a:gd name="connsiteY1" fmla="*/ 296045 h 296045"/>
              <a:gd name="connsiteX2" fmla="*/ 0 w 296045"/>
              <a:gd name="connsiteY2" fmla="*/ 148023 h 296045"/>
              <a:gd name="connsiteX3" fmla="*/ 148023 w 296045"/>
              <a:gd name="connsiteY3" fmla="*/ 0 h 296045"/>
              <a:gd name="connsiteX4" fmla="*/ 296046 w 296045"/>
              <a:gd name="connsiteY4" fmla="*/ 148023 h 2960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6045" h="296045">
                <a:moveTo>
                  <a:pt x="296046" y="148023"/>
                </a:moveTo>
                <a:cubicBezTo>
                  <a:pt x="296046" y="229773"/>
                  <a:pt x="229774" y="296045"/>
                  <a:pt x="148023" y="296045"/>
                </a:cubicBezTo>
                <a:cubicBezTo>
                  <a:pt x="66272" y="296045"/>
                  <a:pt x="0" y="229773"/>
                  <a:pt x="0" y="148023"/>
                </a:cubicBezTo>
                <a:cubicBezTo>
                  <a:pt x="0" y="66272"/>
                  <a:pt x="66272" y="0"/>
                  <a:pt x="148023" y="0"/>
                </a:cubicBezTo>
                <a:cubicBezTo>
                  <a:pt x="229774" y="0"/>
                  <a:pt x="296046" y="66272"/>
                  <a:pt x="296046" y="148023"/>
                </a:cubicBezTo>
                <a:close/>
              </a:path>
            </a:pathLst>
          </a:custGeom>
          <a:solidFill>
            <a:schemeClr val="accent2"/>
          </a:solidFill>
          <a:ln w="1019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9" name="Freeform: Shape 96">
            <a:extLst>
              <a:ext uri="{FF2B5EF4-FFF2-40B4-BE49-F238E27FC236}">
                <a16:creationId xmlns:a16="http://schemas.microsoft.com/office/drawing/2014/main" id="{EBBD927B-8B5E-488D-9605-A0E664BA92AE}"/>
              </a:ext>
            </a:extLst>
          </p:cNvPr>
          <p:cNvSpPr/>
          <p:nvPr/>
        </p:nvSpPr>
        <p:spPr>
          <a:xfrm>
            <a:off x="6522538" y="5805407"/>
            <a:ext cx="215602" cy="215602"/>
          </a:xfrm>
          <a:custGeom>
            <a:avLst/>
            <a:gdLst>
              <a:gd name="connsiteX0" fmla="*/ 220503 w 220502"/>
              <a:gd name="connsiteY0" fmla="*/ 110251 h 220502"/>
              <a:gd name="connsiteX1" fmla="*/ 110252 w 220502"/>
              <a:gd name="connsiteY1" fmla="*/ 220503 h 220502"/>
              <a:gd name="connsiteX2" fmla="*/ 0 w 220502"/>
              <a:gd name="connsiteY2" fmla="*/ 110251 h 220502"/>
              <a:gd name="connsiteX3" fmla="*/ 110252 w 220502"/>
              <a:gd name="connsiteY3" fmla="*/ 0 h 220502"/>
              <a:gd name="connsiteX4" fmla="*/ 220503 w 220502"/>
              <a:gd name="connsiteY4" fmla="*/ 110251 h 220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0502" h="220502">
                <a:moveTo>
                  <a:pt x="220503" y="110251"/>
                </a:moveTo>
                <a:cubicBezTo>
                  <a:pt x="220503" y="171142"/>
                  <a:pt x="171142" y="220503"/>
                  <a:pt x="110252" y="220503"/>
                </a:cubicBezTo>
                <a:cubicBezTo>
                  <a:pt x="49362" y="220503"/>
                  <a:pt x="0" y="171142"/>
                  <a:pt x="0" y="110251"/>
                </a:cubicBezTo>
                <a:cubicBezTo>
                  <a:pt x="0" y="49361"/>
                  <a:pt x="49361" y="0"/>
                  <a:pt x="110252" y="0"/>
                </a:cubicBezTo>
                <a:cubicBezTo>
                  <a:pt x="171142" y="0"/>
                  <a:pt x="220503" y="49361"/>
                  <a:pt x="220503" y="110251"/>
                </a:cubicBezTo>
                <a:close/>
              </a:path>
            </a:pathLst>
          </a:custGeom>
          <a:solidFill>
            <a:schemeClr val="accent6"/>
          </a:solidFill>
          <a:ln w="1019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0" name="Freeform: Shape 97">
            <a:extLst>
              <a:ext uri="{FF2B5EF4-FFF2-40B4-BE49-F238E27FC236}">
                <a16:creationId xmlns:a16="http://schemas.microsoft.com/office/drawing/2014/main" id="{2D1485C2-8808-4E22-820D-156BEAEF02D6}"/>
              </a:ext>
            </a:extLst>
          </p:cNvPr>
          <p:cNvSpPr/>
          <p:nvPr/>
        </p:nvSpPr>
        <p:spPr>
          <a:xfrm>
            <a:off x="5743884" y="3370822"/>
            <a:ext cx="141739" cy="141739"/>
          </a:xfrm>
          <a:custGeom>
            <a:avLst/>
            <a:gdLst>
              <a:gd name="connsiteX0" fmla="*/ 144960 w 144960"/>
              <a:gd name="connsiteY0" fmla="*/ 72480 h 144960"/>
              <a:gd name="connsiteX1" fmla="*/ 72480 w 144960"/>
              <a:gd name="connsiteY1" fmla="*/ 144960 h 144960"/>
              <a:gd name="connsiteX2" fmla="*/ 0 w 144960"/>
              <a:gd name="connsiteY2" fmla="*/ 72480 h 144960"/>
              <a:gd name="connsiteX3" fmla="*/ 72480 w 144960"/>
              <a:gd name="connsiteY3" fmla="*/ 0 h 144960"/>
              <a:gd name="connsiteX4" fmla="*/ 144960 w 144960"/>
              <a:gd name="connsiteY4" fmla="*/ 72480 h 1449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960" h="144960">
                <a:moveTo>
                  <a:pt x="144960" y="72480"/>
                </a:moveTo>
                <a:cubicBezTo>
                  <a:pt x="144960" y="112510"/>
                  <a:pt x="112510" y="144960"/>
                  <a:pt x="72480" y="144960"/>
                </a:cubicBezTo>
                <a:cubicBezTo>
                  <a:pt x="32450" y="144960"/>
                  <a:pt x="0" y="112510"/>
                  <a:pt x="0" y="72480"/>
                </a:cubicBezTo>
                <a:cubicBezTo>
                  <a:pt x="0" y="32450"/>
                  <a:pt x="32450" y="0"/>
                  <a:pt x="72480" y="0"/>
                </a:cubicBezTo>
                <a:cubicBezTo>
                  <a:pt x="112510" y="0"/>
                  <a:pt x="144960" y="32450"/>
                  <a:pt x="144960" y="72480"/>
                </a:cubicBezTo>
                <a:close/>
              </a:path>
            </a:pathLst>
          </a:custGeom>
          <a:solidFill>
            <a:schemeClr val="accent1"/>
          </a:solidFill>
          <a:ln w="1019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1" name="Freeform: Shape 98">
            <a:extLst>
              <a:ext uri="{FF2B5EF4-FFF2-40B4-BE49-F238E27FC236}">
                <a16:creationId xmlns:a16="http://schemas.microsoft.com/office/drawing/2014/main" id="{BEABBCCF-ABEC-4669-A0E7-CBF020EFCE3C}"/>
              </a:ext>
            </a:extLst>
          </p:cNvPr>
          <p:cNvSpPr/>
          <p:nvPr/>
        </p:nvSpPr>
        <p:spPr>
          <a:xfrm>
            <a:off x="6005413" y="3102642"/>
            <a:ext cx="141739" cy="141739"/>
          </a:xfrm>
          <a:custGeom>
            <a:avLst/>
            <a:gdLst>
              <a:gd name="connsiteX0" fmla="*/ 144960 w 144960"/>
              <a:gd name="connsiteY0" fmla="*/ 72480 h 144960"/>
              <a:gd name="connsiteX1" fmla="*/ 72480 w 144960"/>
              <a:gd name="connsiteY1" fmla="*/ 144960 h 144960"/>
              <a:gd name="connsiteX2" fmla="*/ 0 w 144960"/>
              <a:gd name="connsiteY2" fmla="*/ 72480 h 144960"/>
              <a:gd name="connsiteX3" fmla="*/ 72480 w 144960"/>
              <a:gd name="connsiteY3" fmla="*/ 0 h 144960"/>
              <a:gd name="connsiteX4" fmla="*/ 144960 w 144960"/>
              <a:gd name="connsiteY4" fmla="*/ 72480 h 1449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960" h="144960">
                <a:moveTo>
                  <a:pt x="144960" y="72480"/>
                </a:moveTo>
                <a:cubicBezTo>
                  <a:pt x="144960" y="112510"/>
                  <a:pt x="112510" y="144960"/>
                  <a:pt x="72480" y="144960"/>
                </a:cubicBezTo>
                <a:cubicBezTo>
                  <a:pt x="32450" y="144960"/>
                  <a:pt x="0" y="112510"/>
                  <a:pt x="0" y="72480"/>
                </a:cubicBezTo>
                <a:cubicBezTo>
                  <a:pt x="0" y="32450"/>
                  <a:pt x="32450" y="0"/>
                  <a:pt x="72480" y="0"/>
                </a:cubicBezTo>
                <a:cubicBezTo>
                  <a:pt x="112510" y="0"/>
                  <a:pt x="144960" y="32450"/>
                  <a:pt x="144960" y="72480"/>
                </a:cubicBezTo>
                <a:close/>
              </a:path>
            </a:pathLst>
          </a:custGeom>
          <a:solidFill>
            <a:schemeClr val="accent1"/>
          </a:solidFill>
          <a:ln w="1019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2" name="Freeform: Shape 99">
            <a:extLst>
              <a:ext uri="{FF2B5EF4-FFF2-40B4-BE49-F238E27FC236}">
                <a16:creationId xmlns:a16="http://schemas.microsoft.com/office/drawing/2014/main" id="{F3B63AF0-4C8A-4C72-8614-1E7746FFCCAB}"/>
              </a:ext>
            </a:extLst>
          </p:cNvPr>
          <p:cNvSpPr/>
          <p:nvPr/>
        </p:nvSpPr>
        <p:spPr>
          <a:xfrm>
            <a:off x="6425602" y="3578239"/>
            <a:ext cx="207617" cy="207617"/>
          </a:xfrm>
          <a:custGeom>
            <a:avLst/>
            <a:gdLst>
              <a:gd name="connsiteX0" fmla="*/ 212336 w 212336"/>
              <a:gd name="connsiteY0" fmla="*/ 106168 h 212336"/>
              <a:gd name="connsiteX1" fmla="*/ 106168 w 212336"/>
              <a:gd name="connsiteY1" fmla="*/ 212336 h 212336"/>
              <a:gd name="connsiteX2" fmla="*/ 0 w 212336"/>
              <a:gd name="connsiteY2" fmla="*/ 106168 h 212336"/>
              <a:gd name="connsiteX3" fmla="*/ 106168 w 212336"/>
              <a:gd name="connsiteY3" fmla="*/ 0 h 212336"/>
              <a:gd name="connsiteX4" fmla="*/ 212336 w 212336"/>
              <a:gd name="connsiteY4" fmla="*/ 106168 h 2123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2336" h="212336">
                <a:moveTo>
                  <a:pt x="212336" y="106168"/>
                </a:moveTo>
                <a:cubicBezTo>
                  <a:pt x="212336" y="164803"/>
                  <a:pt x="164803" y="212336"/>
                  <a:pt x="106168" y="212336"/>
                </a:cubicBezTo>
                <a:cubicBezTo>
                  <a:pt x="47533" y="212336"/>
                  <a:pt x="0" y="164803"/>
                  <a:pt x="0" y="106168"/>
                </a:cubicBezTo>
                <a:cubicBezTo>
                  <a:pt x="0" y="47533"/>
                  <a:pt x="47533" y="0"/>
                  <a:pt x="106168" y="0"/>
                </a:cubicBezTo>
                <a:cubicBezTo>
                  <a:pt x="164803" y="0"/>
                  <a:pt x="212336" y="47533"/>
                  <a:pt x="212336" y="106168"/>
                </a:cubicBezTo>
                <a:close/>
              </a:path>
            </a:pathLst>
          </a:custGeom>
          <a:solidFill>
            <a:schemeClr val="accent1"/>
          </a:solidFill>
          <a:ln w="1019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3" name="Freeform: Shape 100">
            <a:extLst>
              <a:ext uri="{FF2B5EF4-FFF2-40B4-BE49-F238E27FC236}">
                <a16:creationId xmlns:a16="http://schemas.microsoft.com/office/drawing/2014/main" id="{139E151C-CCA3-4BF7-AA80-FDD0D5076D3D}"/>
              </a:ext>
            </a:extLst>
          </p:cNvPr>
          <p:cNvSpPr/>
          <p:nvPr/>
        </p:nvSpPr>
        <p:spPr>
          <a:xfrm>
            <a:off x="5769674" y="4613262"/>
            <a:ext cx="207617" cy="207617"/>
          </a:xfrm>
          <a:custGeom>
            <a:avLst/>
            <a:gdLst>
              <a:gd name="connsiteX0" fmla="*/ 212336 w 212336"/>
              <a:gd name="connsiteY0" fmla="*/ 106168 h 212336"/>
              <a:gd name="connsiteX1" fmla="*/ 106168 w 212336"/>
              <a:gd name="connsiteY1" fmla="*/ 212336 h 212336"/>
              <a:gd name="connsiteX2" fmla="*/ 0 w 212336"/>
              <a:gd name="connsiteY2" fmla="*/ 106168 h 212336"/>
              <a:gd name="connsiteX3" fmla="*/ 106168 w 212336"/>
              <a:gd name="connsiteY3" fmla="*/ 0 h 212336"/>
              <a:gd name="connsiteX4" fmla="*/ 212336 w 212336"/>
              <a:gd name="connsiteY4" fmla="*/ 106168 h 2123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2336" h="212336">
                <a:moveTo>
                  <a:pt x="212336" y="106168"/>
                </a:moveTo>
                <a:cubicBezTo>
                  <a:pt x="212336" y="164803"/>
                  <a:pt x="164803" y="212336"/>
                  <a:pt x="106168" y="212336"/>
                </a:cubicBezTo>
                <a:cubicBezTo>
                  <a:pt x="47533" y="212336"/>
                  <a:pt x="0" y="164803"/>
                  <a:pt x="0" y="106168"/>
                </a:cubicBezTo>
                <a:cubicBezTo>
                  <a:pt x="0" y="47533"/>
                  <a:pt x="47533" y="0"/>
                  <a:pt x="106168" y="0"/>
                </a:cubicBezTo>
                <a:cubicBezTo>
                  <a:pt x="164803" y="0"/>
                  <a:pt x="212336" y="47533"/>
                  <a:pt x="212336" y="106168"/>
                </a:cubicBezTo>
                <a:close/>
              </a:path>
            </a:pathLst>
          </a:custGeom>
          <a:solidFill>
            <a:schemeClr val="accent5"/>
          </a:solidFill>
          <a:ln w="1019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4" name="Freeform: Shape 101">
            <a:extLst>
              <a:ext uri="{FF2B5EF4-FFF2-40B4-BE49-F238E27FC236}">
                <a16:creationId xmlns:a16="http://schemas.microsoft.com/office/drawing/2014/main" id="{14799A13-792D-4EF2-BF21-1ECBDE164AE0}"/>
              </a:ext>
            </a:extLst>
          </p:cNvPr>
          <p:cNvSpPr/>
          <p:nvPr/>
        </p:nvSpPr>
        <p:spPr>
          <a:xfrm>
            <a:off x="6969961" y="5642906"/>
            <a:ext cx="289466" cy="289466"/>
          </a:xfrm>
          <a:custGeom>
            <a:avLst/>
            <a:gdLst>
              <a:gd name="connsiteX0" fmla="*/ 296045 w 296045"/>
              <a:gd name="connsiteY0" fmla="*/ 148023 h 296045"/>
              <a:gd name="connsiteX1" fmla="*/ 148023 w 296045"/>
              <a:gd name="connsiteY1" fmla="*/ 296045 h 296045"/>
              <a:gd name="connsiteX2" fmla="*/ 0 w 296045"/>
              <a:gd name="connsiteY2" fmla="*/ 148023 h 296045"/>
              <a:gd name="connsiteX3" fmla="*/ 148023 w 296045"/>
              <a:gd name="connsiteY3" fmla="*/ 0 h 296045"/>
              <a:gd name="connsiteX4" fmla="*/ 296045 w 296045"/>
              <a:gd name="connsiteY4" fmla="*/ 148023 h 2960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6045" h="296045">
                <a:moveTo>
                  <a:pt x="296045" y="148023"/>
                </a:moveTo>
                <a:cubicBezTo>
                  <a:pt x="296045" y="229773"/>
                  <a:pt x="229773" y="296045"/>
                  <a:pt x="148023" y="296045"/>
                </a:cubicBezTo>
                <a:cubicBezTo>
                  <a:pt x="66272" y="296045"/>
                  <a:pt x="0" y="229773"/>
                  <a:pt x="0" y="148023"/>
                </a:cubicBezTo>
                <a:cubicBezTo>
                  <a:pt x="0" y="66272"/>
                  <a:pt x="66272" y="0"/>
                  <a:pt x="148023" y="0"/>
                </a:cubicBezTo>
                <a:cubicBezTo>
                  <a:pt x="229773" y="0"/>
                  <a:pt x="296045" y="66272"/>
                  <a:pt x="296045" y="148023"/>
                </a:cubicBezTo>
                <a:close/>
              </a:path>
            </a:pathLst>
          </a:custGeom>
          <a:solidFill>
            <a:schemeClr val="accent6"/>
          </a:solidFill>
          <a:ln w="1019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5" name="Freeform: Shape 102">
            <a:extLst>
              <a:ext uri="{FF2B5EF4-FFF2-40B4-BE49-F238E27FC236}">
                <a16:creationId xmlns:a16="http://schemas.microsoft.com/office/drawing/2014/main" id="{9916DD51-8DA7-4DF9-B5D8-C921DF1938C4}"/>
              </a:ext>
            </a:extLst>
          </p:cNvPr>
          <p:cNvSpPr/>
          <p:nvPr/>
        </p:nvSpPr>
        <p:spPr>
          <a:xfrm>
            <a:off x="6366450" y="3142676"/>
            <a:ext cx="215602" cy="215602"/>
          </a:xfrm>
          <a:custGeom>
            <a:avLst/>
            <a:gdLst>
              <a:gd name="connsiteX0" fmla="*/ 220503 w 220502"/>
              <a:gd name="connsiteY0" fmla="*/ 110251 h 220502"/>
              <a:gd name="connsiteX1" fmla="*/ 110251 w 220502"/>
              <a:gd name="connsiteY1" fmla="*/ 220503 h 220502"/>
              <a:gd name="connsiteX2" fmla="*/ 0 w 220502"/>
              <a:gd name="connsiteY2" fmla="*/ 110251 h 220502"/>
              <a:gd name="connsiteX3" fmla="*/ 110251 w 220502"/>
              <a:gd name="connsiteY3" fmla="*/ 0 h 220502"/>
              <a:gd name="connsiteX4" fmla="*/ 220503 w 220502"/>
              <a:gd name="connsiteY4" fmla="*/ 110251 h 220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0502" h="220502">
                <a:moveTo>
                  <a:pt x="220503" y="110251"/>
                </a:moveTo>
                <a:cubicBezTo>
                  <a:pt x="220503" y="171142"/>
                  <a:pt x="171142" y="220503"/>
                  <a:pt x="110251" y="220503"/>
                </a:cubicBezTo>
                <a:cubicBezTo>
                  <a:pt x="49361" y="220503"/>
                  <a:pt x="0" y="171142"/>
                  <a:pt x="0" y="110251"/>
                </a:cubicBezTo>
                <a:cubicBezTo>
                  <a:pt x="0" y="49361"/>
                  <a:pt x="49361" y="0"/>
                  <a:pt x="110251" y="0"/>
                </a:cubicBezTo>
                <a:cubicBezTo>
                  <a:pt x="171142" y="0"/>
                  <a:pt x="220503" y="49361"/>
                  <a:pt x="220503" y="110251"/>
                </a:cubicBezTo>
                <a:close/>
              </a:path>
            </a:pathLst>
          </a:custGeom>
          <a:solidFill>
            <a:schemeClr val="accent1"/>
          </a:solidFill>
          <a:ln w="1019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6" name="Freeform: Shape 103">
            <a:extLst>
              <a:ext uri="{FF2B5EF4-FFF2-40B4-BE49-F238E27FC236}">
                <a16:creationId xmlns:a16="http://schemas.microsoft.com/office/drawing/2014/main" id="{D1F7E9F9-4826-4F45-98EF-2D6E2CB6BC1B}"/>
              </a:ext>
            </a:extLst>
          </p:cNvPr>
          <p:cNvSpPr/>
          <p:nvPr/>
        </p:nvSpPr>
        <p:spPr>
          <a:xfrm>
            <a:off x="7478460" y="3543075"/>
            <a:ext cx="141739" cy="141739"/>
          </a:xfrm>
          <a:custGeom>
            <a:avLst/>
            <a:gdLst>
              <a:gd name="connsiteX0" fmla="*/ 144960 w 144960"/>
              <a:gd name="connsiteY0" fmla="*/ 72480 h 144960"/>
              <a:gd name="connsiteX1" fmla="*/ 72480 w 144960"/>
              <a:gd name="connsiteY1" fmla="*/ 144960 h 144960"/>
              <a:gd name="connsiteX2" fmla="*/ 0 w 144960"/>
              <a:gd name="connsiteY2" fmla="*/ 72480 h 144960"/>
              <a:gd name="connsiteX3" fmla="*/ 72480 w 144960"/>
              <a:gd name="connsiteY3" fmla="*/ 0 h 144960"/>
              <a:gd name="connsiteX4" fmla="*/ 144960 w 144960"/>
              <a:gd name="connsiteY4" fmla="*/ 72480 h 1449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960" h="144960">
                <a:moveTo>
                  <a:pt x="144960" y="72480"/>
                </a:moveTo>
                <a:cubicBezTo>
                  <a:pt x="144960" y="112510"/>
                  <a:pt x="112510" y="144960"/>
                  <a:pt x="72480" y="144960"/>
                </a:cubicBezTo>
                <a:cubicBezTo>
                  <a:pt x="32450" y="144960"/>
                  <a:pt x="0" y="112510"/>
                  <a:pt x="0" y="72480"/>
                </a:cubicBezTo>
                <a:cubicBezTo>
                  <a:pt x="0" y="32450"/>
                  <a:pt x="32450" y="0"/>
                  <a:pt x="72480" y="0"/>
                </a:cubicBezTo>
                <a:cubicBezTo>
                  <a:pt x="112510" y="0"/>
                  <a:pt x="144960" y="32450"/>
                  <a:pt x="144960" y="72480"/>
                </a:cubicBezTo>
                <a:close/>
              </a:path>
            </a:pathLst>
          </a:custGeom>
          <a:solidFill>
            <a:schemeClr val="accent4"/>
          </a:solidFill>
          <a:ln w="1019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7" name="Freeform: Shape 104">
            <a:extLst>
              <a:ext uri="{FF2B5EF4-FFF2-40B4-BE49-F238E27FC236}">
                <a16:creationId xmlns:a16="http://schemas.microsoft.com/office/drawing/2014/main" id="{6340B61F-86C6-4031-9FFB-A823C633035B}"/>
              </a:ext>
            </a:extLst>
          </p:cNvPr>
          <p:cNvSpPr/>
          <p:nvPr/>
        </p:nvSpPr>
        <p:spPr>
          <a:xfrm>
            <a:off x="6820531" y="3287261"/>
            <a:ext cx="141739" cy="141739"/>
          </a:xfrm>
          <a:custGeom>
            <a:avLst/>
            <a:gdLst>
              <a:gd name="connsiteX0" fmla="*/ 144960 w 144960"/>
              <a:gd name="connsiteY0" fmla="*/ 72480 h 144960"/>
              <a:gd name="connsiteX1" fmla="*/ 72480 w 144960"/>
              <a:gd name="connsiteY1" fmla="*/ 144960 h 144960"/>
              <a:gd name="connsiteX2" fmla="*/ 0 w 144960"/>
              <a:gd name="connsiteY2" fmla="*/ 72480 h 144960"/>
              <a:gd name="connsiteX3" fmla="*/ 72480 w 144960"/>
              <a:gd name="connsiteY3" fmla="*/ 0 h 144960"/>
              <a:gd name="connsiteX4" fmla="*/ 144960 w 144960"/>
              <a:gd name="connsiteY4" fmla="*/ 72480 h 1449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960" h="144960">
                <a:moveTo>
                  <a:pt x="144960" y="72480"/>
                </a:moveTo>
                <a:cubicBezTo>
                  <a:pt x="144960" y="112510"/>
                  <a:pt x="112510" y="144960"/>
                  <a:pt x="72480" y="144960"/>
                </a:cubicBezTo>
                <a:cubicBezTo>
                  <a:pt x="32450" y="144960"/>
                  <a:pt x="0" y="112510"/>
                  <a:pt x="0" y="72480"/>
                </a:cubicBezTo>
                <a:cubicBezTo>
                  <a:pt x="0" y="32450"/>
                  <a:pt x="32450" y="0"/>
                  <a:pt x="72480" y="0"/>
                </a:cubicBezTo>
                <a:cubicBezTo>
                  <a:pt x="112510" y="0"/>
                  <a:pt x="144960" y="32450"/>
                  <a:pt x="144960" y="72480"/>
                </a:cubicBezTo>
                <a:close/>
              </a:path>
            </a:pathLst>
          </a:custGeom>
          <a:solidFill>
            <a:schemeClr val="accent2"/>
          </a:solidFill>
          <a:ln w="1019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8" name="Freeform: Shape 105">
            <a:extLst>
              <a:ext uri="{FF2B5EF4-FFF2-40B4-BE49-F238E27FC236}">
                <a16:creationId xmlns:a16="http://schemas.microsoft.com/office/drawing/2014/main" id="{F0192DCD-75E7-428E-9D34-376FC7EB3425}"/>
              </a:ext>
            </a:extLst>
          </p:cNvPr>
          <p:cNvSpPr/>
          <p:nvPr/>
        </p:nvSpPr>
        <p:spPr>
          <a:xfrm>
            <a:off x="4689675" y="4165024"/>
            <a:ext cx="238100" cy="238100"/>
          </a:xfrm>
          <a:custGeom>
            <a:avLst/>
            <a:gdLst>
              <a:gd name="connsiteX0" fmla="*/ 296046 w 296045"/>
              <a:gd name="connsiteY0" fmla="*/ 148023 h 296045"/>
              <a:gd name="connsiteX1" fmla="*/ 148023 w 296045"/>
              <a:gd name="connsiteY1" fmla="*/ 296045 h 296045"/>
              <a:gd name="connsiteX2" fmla="*/ 0 w 296045"/>
              <a:gd name="connsiteY2" fmla="*/ 148023 h 296045"/>
              <a:gd name="connsiteX3" fmla="*/ 148023 w 296045"/>
              <a:gd name="connsiteY3" fmla="*/ 0 h 296045"/>
              <a:gd name="connsiteX4" fmla="*/ 296046 w 296045"/>
              <a:gd name="connsiteY4" fmla="*/ 148023 h 2960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6045" h="296045">
                <a:moveTo>
                  <a:pt x="296046" y="148023"/>
                </a:moveTo>
                <a:cubicBezTo>
                  <a:pt x="296046" y="229773"/>
                  <a:pt x="229773" y="296045"/>
                  <a:pt x="148023" y="296045"/>
                </a:cubicBezTo>
                <a:cubicBezTo>
                  <a:pt x="66272" y="296045"/>
                  <a:pt x="0" y="229773"/>
                  <a:pt x="0" y="148023"/>
                </a:cubicBezTo>
                <a:cubicBezTo>
                  <a:pt x="0" y="66272"/>
                  <a:pt x="66272" y="0"/>
                  <a:pt x="148023" y="0"/>
                </a:cubicBezTo>
                <a:cubicBezTo>
                  <a:pt x="229773" y="0"/>
                  <a:pt x="296046" y="66272"/>
                  <a:pt x="296046" y="148023"/>
                </a:cubicBezTo>
                <a:close/>
              </a:path>
            </a:pathLst>
          </a:custGeom>
          <a:solidFill>
            <a:schemeClr val="accent3"/>
          </a:solidFill>
          <a:ln w="1019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9" name="Freeform: Shape 106">
            <a:extLst>
              <a:ext uri="{FF2B5EF4-FFF2-40B4-BE49-F238E27FC236}">
                <a16:creationId xmlns:a16="http://schemas.microsoft.com/office/drawing/2014/main" id="{E90F7264-5EC2-4981-92BB-2D685DB59321}"/>
              </a:ext>
            </a:extLst>
          </p:cNvPr>
          <p:cNvSpPr/>
          <p:nvPr/>
        </p:nvSpPr>
        <p:spPr>
          <a:xfrm>
            <a:off x="5035241" y="3937245"/>
            <a:ext cx="141739" cy="141739"/>
          </a:xfrm>
          <a:custGeom>
            <a:avLst/>
            <a:gdLst>
              <a:gd name="connsiteX0" fmla="*/ 144960 w 144960"/>
              <a:gd name="connsiteY0" fmla="*/ 72480 h 144960"/>
              <a:gd name="connsiteX1" fmla="*/ 72480 w 144960"/>
              <a:gd name="connsiteY1" fmla="*/ 144960 h 144960"/>
              <a:gd name="connsiteX2" fmla="*/ 0 w 144960"/>
              <a:gd name="connsiteY2" fmla="*/ 72480 h 144960"/>
              <a:gd name="connsiteX3" fmla="*/ 72480 w 144960"/>
              <a:gd name="connsiteY3" fmla="*/ 0 h 144960"/>
              <a:gd name="connsiteX4" fmla="*/ 144960 w 144960"/>
              <a:gd name="connsiteY4" fmla="*/ 72480 h 1449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960" h="144960">
                <a:moveTo>
                  <a:pt x="144960" y="72480"/>
                </a:moveTo>
                <a:cubicBezTo>
                  <a:pt x="144960" y="112510"/>
                  <a:pt x="112510" y="144960"/>
                  <a:pt x="72480" y="144960"/>
                </a:cubicBezTo>
                <a:cubicBezTo>
                  <a:pt x="32450" y="144960"/>
                  <a:pt x="0" y="112510"/>
                  <a:pt x="0" y="72480"/>
                </a:cubicBezTo>
                <a:cubicBezTo>
                  <a:pt x="0" y="32450"/>
                  <a:pt x="32450" y="0"/>
                  <a:pt x="72480" y="0"/>
                </a:cubicBezTo>
                <a:cubicBezTo>
                  <a:pt x="112510" y="0"/>
                  <a:pt x="144960" y="32450"/>
                  <a:pt x="144960" y="72480"/>
                </a:cubicBezTo>
                <a:close/>
              </a:path>
            </a:pathLst>
          </a:custGeom>
          <a:solidFill>
            <a:schemeClr val="accent3"/>
          </a:solidFill>
          <a:ln w="1019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0" name="Freeform: Shape 107">
            <a:extLst>
              <a:ext uri="{FF2B5EF4-FFF2-40B4-BE49-F238E27FC236}">
                <a16:creationId xmlns:a16="http://schemas.microsoft.com/office/drawing/2014/main" id="{7B1783B3-B2ED-4B79-B63C-4DA2CD5DF36A}"/>
              </a:ext>
            </a:extLst>
          </p:cNvPr>
          <p:cNvSpPr/>
          <p:nvPr/>
        </p:nvSpPr>
        <p:spPr>
          <a:xfrm>
            <a:off x="5607103" y="4059139"/>
            <a:ext cx="207617" cy="207617"/>
          </a:xfrm>
          <a:custGeom>
            <a:avLst/>
            <a:gdLst>
              <a:gd name="connsiteX0" fmla="*/ 212336 w 212336"/>
              <a:gd name="connsiteY0" fmla="*/ 106168 h 212336"/>
              <a:gd name="connsiteX1" fmla="*/ 106168 w 212336"/>
              <a:gd name="connsiteY1" fmla="*/ 212336 h 212336"/>
              <a:gd name="connsiteX2" fmla="*/ 0 w 212336"/>
              <a:gd name="connsiteY2" fmla="*/ 106168 h 212336"/>
              <a:gd name="connsiteX3" fmla="*/ 106168 w 212336"/>
              <a:gd name="connsiteY3" fmla="*/ 0 h 212336"/>
              <a:gd name="connsiteX4" fmla="*/ 212336 w 212336"/>
              <a:gd name="connsiteY4" fmla="*/ 106168 h 2123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2336" h="212336">
                <a:moveTo>
                  <a:pt x="212336" y="106168"/>
                </a:moveTo>
                <a:cubicBezTo>
                  <a:pt x="212336" y="164803"/>
                  <a:pt x="164803" y="212336"/>
                  <a:pt x="106168" y="212336"/>
                </a:cubicBezTo>
                <a:cubicBezTo>
                  <a:pt x="47533" y="212336"/>
                  <a:pt x="0" y="164803"/>
                  <a:pt x="0" y="106168"/>
                </a:cubicBezTo>
                <a:cubicBezTo>
                  <a:pt x="0" y="47533"/>
                  <a:pt x="47533" y="0"/>
                  <a:pt x="106168" y="0"/>
                </a:cubicBezTo>
                <a:cubicBezTo>
                  <a:pt x="164803" y="0"/>
                  <a:pt x="212336" y="47533"/>
                  <a:pt x="212336" y="106168"/>
                </a:cubicBezTo>
                <a:close/>
              </a:path>
            </a:pathLst>
          </a:custGeom>
          <a:solidFill>
            <a:schemeClr val="accent3"/>
          </a:solidFill>
          <a:ln w="1019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1" name="Freeform: Shape 108">
            <a:extLst>
              <a:ext uri="{FF2B5EF4-FFF2-40B4-BE49-F238E27FC236}">
                <a16:creationId xmlns:a16="http://schemas.microsoft.com/office/drawing/2014/main" id="{21A7AE23-DFD7-401E-97E5-C836E1FCDEB4}"/>
              </a:ext>
            </a:extLst>
          </p:cNvPr>
          <p:cNvSpPr/>
          <p:nvPr/>
        </p:nvSpPr>
        <p:spPr>
          <a:xfrm>
            <a:off x="6834525" y="2601346"/>
            <a:ext cx="319411" cy="319410"/>
          </a:xfrm>
          <a:custGeom>
            <a:avLst/>
            <a:gdLst>
              <a:gd name="connsiteX0" fmla="*/ 326671 w 326670"/>
              <a:gd name="connsiteY0" fmla="*/ 163335 h 326670"/>
              <a:gd name="connsiteX1" fmla="*/ 163335 w 326670"/>
              <a:gd name="connsiteY1" fmla="*/ 326671 h 326670"/>
              <a:gd name="connsiteX2" fmla="*/ 0 w 326670"/>
              <a:gd name="connsiteY2" fmla="*/ 163335 h 326670"/>
              <a:gd name="connsiteX3" fmla="*/ 163335 w 326670"/>
              <a:gd name="connsiteY3" fmla="*/ 0 h 326670"/>
              <a:gd name="connsiteX4" fmla="*/ 326671 w 326670"/>
              <a:gd name="connsiteY4" fmla="*/ 163335 h 3266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6670" h="326670">
                <a:moveTo>
                  <a:pt x="326671" y="163335"/>
                </a:moveTo>
                <a:cubicBezTo>
                  <a:pt x="326671" y="253543"/>
                  <a:pt x="253543" y="326671"/>
                  <a:pt x="163335" y="326671"/>
                </a:cubicBezTo>
                <a:cubicBezTo>
                  <a:pt x="73128" y="326671"/>
                  <a:pt x="0" y="253543"/>
                  <a:pt x="0" y="163335"/>
                </a:cubicBezTo>
                <a:cubicBezTo>
                  <a:pt x="0" y="73128"/>
                  <a:pt x="73128" y="0"/>
                  <a:pt x="163335" y="0"/>
                </a:cubicBezTo>
                <a:cubicBezTo>
                  <a:pt x="253543" y="0"/>
                  <a:pt x="326671" y="73128"/>
                  <a:pt x="326671" y="163335"/>
                </a:cubicBezTo>
                <a:close/>
              </a:path>
            </a:pathLst>
          </a:custGeom>
          <a:solidFill>
            <a:schemeClr val="accent2"/>
          </a:solidFill>
          <a:ln w="1019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2" name="Freeform: Shape 109">
            <a:extLst>
              <a:ext uri="{FF2B5EF4-FFF2-40B4-BE49-F238E27FC236}">
                <a16:creationId xmlns:a16="http://schemas.microsoft.com/office/drawing/2014/main" id="{C61318D6-5E3E-4A7B-B642-344574A7E4EE}"/>
              </a:ext>
            </a:extLst>
          </p:cNvPr>
          <p:cNvSpPr/>
          <p:nvPr/>
        </p:nvSpPr>
        <p:spPr>
          <a:xfrm>
            <a:off x="6476082" y="4835857"/>
            <a:ext cx="289466" cy="289466"/>
          </a:xfrm>
          <a:custGeom>
            <a:avLst/>
            <a:gdLst>
              <a:gd name="connsiteX0" fmla="*/ 296045 w 296045"/>
              <a:gd name="connsiteY0" fmla="*/ 148023 h 296045"/>
              <a:gd name="connsiteX1" fmla="*/ 148023 w 296045"/>
              <a:gd name="connsiteY1" fmla="*/ 296045 h 296045"/>
              <a:gd name="connsiteX2" fmla="*/ 0 w 296045"/>
              <a:gd name="connsiteY2" fmla="*/ 148023 h 296045"/>
              <a:gd name="connsiteX3" fmla="*/ 148023 w 296045"/>
              <a:gd name="connsiteY3" fmla="*/ 0 h 296045"/>
              <a:gd name="connsiteX4" fmla="*/ 296045 w 296045"/>
              <a:gd name="connsiteY4" fmla="*/ 148023 h 2960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6045" h="296045">
                <a:moveTo>
                  <a:pt x="296045" y="148023"/>
                </a:moveTo>
                <a:cubicBezTo>
                  <a:pt x="296045" y="229773"/>
                  <a:pt x="229773" y="296045"/>
                  <a:pt x="148023" y="296045"/>
                </a:cubicBezTo>
                <a:cubicBezTo>
                  <a:pt x="66272" y="296045"/>
                  <a:pt x="0" y="229773"/>
                  <a:pt x="0" y="148023"/>
                </a:cubicBezTo>
                <a:cubicBezTo>
                  <a:pt x="0" y="66272"/>
                  <a:pt x="66272" y="0"/>
                  <a:pt x="148023" y="0"/>
                </a:cubicBezTo>
                <a:cubicBezTo>
                  <a:pt x="229773" y="0"/>
                  <a:pt x="296045" y="66272"/>
                  <a:pt x="296045" y="148023"/>
                </a:cubicBezTo>
                <a:close/>
              </a:path>
            </a:pathLst>
          </a:custGeom>
          <a:solidFill>
            <a:schemeClr val="accent6"/>
          </a:solidFill>
          <a:ln w="1019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3" name="Freeform: Shape 110">
            <a:extLst>
              <a:ext uri="{FF2B5EF4-FFF2-40B4-BE49-F238E27FC236}">
                <a16:creationId xmlns:a16="http://schemas.microsoft.com/office/drawing/2014/main" id="{0792CEF0-39DF-4A89-855D-495AF0D3B893}"/>
              </a:ext>
            </a:extLst>
          </p:cNvPr>
          <p:cNvSpPr/>
          <p:nvPr/>
        </p:nvSpPr>
        <p:spPr>
          <a:xfrm>
            <a:off x="6433676" y="2143979"/>
            <a:ext cx="289466" cy="289466"/>
          </a:xfrm>
          <a:custGeom>
            <a:avLst/>
            <a:gdLst>
              <a:gd name="connsiteX0" fmla="*/ 296046 w 296045"/>
              <a:gd name="connsiteY0" fmla="*/ 148023 h 296045"/>
              <a:gd name="connsiteX1" fmla="*/ 148023 w 296045"/>
              <a:gd name="connsiteY1" fmla="*/ 296045 h 296045"/>
              <a:gd name="connsiteX2" fmla="*/ 0 w 296045"/>
              <a:gd name="connsiteY2" fmla="*/ 148023 h 296045"/>
              <a:gd name="connsiteX3" fmla="*/ 148023 w 296045"/>
              <a:gd name="connsiteY3" fmla="*/ 0 h 296045"/>
              <a:gd name="connsiteX4" fmla="*/ 296046 w 296045"/>
              <a:gd name="connsiteY4" fmla="*/ 148023 h 2960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6045" h="296045">
                <a:moveTo>
                  <a:pt x="296046" y="148023"/>
                </a:moveTo>
                <a:cubicBezTo>
                  <a:pt x="296046" y="229773"/>
                  <a:pt x="229773" y="296045"/>
                  <a:pt x="148023" y="296045"/>
                </a:cubicBezTo>
                <a:cubicBezTo>
                  <a:pt x="66272" y="296045"/>
                  <a:pt x="0" y="229773"/>
                  <a:pt x="0" y="148023"/>
                </a:cubicBezTo>
                <a:cubicBezTo>
                  <a:pt x="0" y="66272"/>
                  <a:pt x="66272" y="0"/>
                  <a:pt x="148023" y="0"/>
                </a:cubicBezTo>
                <a:cubicBezTo>
                  <a:pt x="229773" y="0"/>
                  <a:pt x="296046" y="66272"/>
                  <a:pt x="296046" y="148023"/>
                </a:cubicBezTo>
                <a:close/>
              </a:path>
            </a:pathLst>
          </a:custGeom>
          <a:solidFill>
            <a:schemeClr val="accent1"/>
          </a:solidFill>
          <a:ln w="1019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4" name="Freeform: Shape 111">
            <a:extLst>
              <a:ext uri="{FF2B5EF4-FFF2-40B4-BE49-F238E27FC236}">
                <a16:creationId xmlns:a16="http://schemas.microsoft.com/office/drawing/2014/main" id="{AC880CD1-5D2D-45E6-8050-2692F3D2872E}"/>
              </a:ext>
            </a:extLst>
          </p:cNvPr>
          <p:cNvSpPr/>
          <p:nvPr/>
        </p:nvSpPr>
        <p:spPr>
          <a:xfrm>
            <a:off x="6817063" y="5114603"/>
            <a:ext cx="141739" cy="141739"/>
          </a:xfrm>
          <a:custGeom>
            <a:avLst/>
            <a:gdLst>
              <a:gd name="connsiteX0" fmla="*/ 144960 w 144960"/>
              <a:gd name="connsiteY0" fmla="*/ 72480 h 144960"/>
              <a:gd name="connsiteX1" fmla="*/ 72480 w 144960"/>
              <a:gd name="connsiteY1" fmla="*/ 144960 h 144960"/>
              <a:gd name="connsiteX2" fmla="*/ 0 w 144960"/>
              <a:gd name="connsiteY2" fmla="*/ 72480 h 144960"/>
              <a:gd name="connsiteX3" fmla="*/ 72480 w 144960"/>
              <a:gd name="connsiteY3" fmla="*/ 0 h 144960"/>
              <a:gd name="connsiteX4" fmla="*/ 144960 w 144960"/>
              <a:gd name="connsiteY4" fmla="*/ 72480 h 1449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960" h="144960">
                <a:moveTo>
                  <a:pt x="144960" y="72480"/>
                </a:moveTo>
                <a:cubicBezTo>
                  <a:pt x="144960" y="112510"/>
                  <a:pt x="112510" y="144960"/>
                  <a:pt x="72480" y="144960"/>
                </a:cubicBezTo>
                <a:cubicBezTo>
                  <a:pt x="32450" y="144960"/>
                  <a:pt x="0" y="112510"/>
                  <a:pt x="0" y="72480"/>
                </a:cubicBezTo>
                <a:cubicBezTo>
                  <a:pt x="0" y="32450"/>
                  <a:pt x="32450" y="0"/>
                  <a:pt x="72480" y="0"/>
                </a:cubicBezTo>
                <a:cubicBezTo>
                  <a:pt x="112510" y="0"/>
                  <a:pt x="144960" y="32450"/>
                  <a:pt x="144960" y="72480"/>
                </a:cubicBezTo>
                <a:close/>
              </a:path>
            </a:pathLst>
          </a:custGeom>
          <a:solidFill>
            <a:schemeClr val="accent6"/>
          </a:solidFill>
          <a:ln w="1019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5" name="Freeform: Shape 112">
            <a:extLst>
              <a:ext uri="{FF2B5EF4-FFF2-40B4-BE49-F238E27FC236}">
                <a16:creationId xmlns:a16="http://schemas.microsoft.com/office/drawing/2014/main" id="{CA15B766-6673-4E12-994C-197916CD12C2}"/>
              </a:ext>
            </a:extLst>
          </p:cNvPr>
          <p:cNvSpPr/>
          <p:nvPr/>
        </p:nvSpPr>
        <p:spPr>
          <a:xfrm>
            <a:off x="5013310" y="4407212"/>
            <a:ext cx="141739" cy="141739"/>
          </a:xfrm>
          <a:custGeom>
            <a:avLst/>
            <a:gdLst>
              <a:gd name="connsiteX0" fmla="*/ 144960 w 144960"/>
              <a:gd name="connsiteY0" fmla="*/ 72480 h 144960"/>
              <a:gd name="connsiteX1" fmla="*/ 72480 w 144960"/>
              <a:gd name="connsiteY1" fmla="*/ 144960 h 144960"/>
              <a:gd name="connsiteX2" fmla="*/ 0 w 144960"/>
              <a:gd name="connsiteY2" fmla="*/ 72480 h 144960"/>
              <a:gd name="connsiteX3" fmla="*/ 72480 w 144960"/>
              <a:gd name="connsiteY3" fmla="*/ 0 h 144960"/>
              <a:gd name="connsiteX4" fmla="*/ 144960 w 144960"/>
              <a:gd name="connsiteY4" fmla="*/ 72480 h 1449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960" h="144960">
                <a:moveTo>
                  <a:pt x="144960" y="72480"/>
                </a:moveTo>
                <a:cubicBezTo>
                  <a:pt x="144960" y="112510"/>
                  <a:pt x="112510" y="144960"/>
                  <a:pt x="72480" y="144960"/>
                </a:cubicBezTo>
                <a:cubicBezTo>
                  <a:pt x="32450" y="144960"/>
                  <a:pt x="0" y="112510"/>
                  <a:pt x="0" y="72480"/>
                </a:cubicBezTo>
                <a:cubicBezTo>
                  <a:pt x="0" y="32450"/>
                  <a:pt x="32450" y="0"/>
                  <a:pt x="72480" y="0"/>
                </a:cubicBezTo>
                <a:cubicBezTo>
                  <a:pt x="112510" y="0"/>
                  <a:pt x="144960" y="32450"/>
                  <a:pt x="144960" y="72480"/>
                </a:cubicBezTo>
                <a:close/>
              </a:path>
            </a:pathLst>
          </a:custGeom>
          <a:solidFill>
            <a:schemeClr val="accent3"/>
          </a:solidFill>
          <a:ln w="1019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6" name="Freeform: Shape 113">
            <a:extLst>
              <a:ext uri="{FF2B5EF4-FFF2-40B4-BE49-F238E27FC236}">
                <a16:creationId xmlns:a16="http://schemas.microsoft.com/office/drawing/2014/main" id="{149CC13B-D15B-4D1E-93A1-81C1DCA8C8B2}"/>
              </a:ext>
            </a:extLst>
          </p:cNvPr>
          <p:cNvSpPr/>
          <p:nvPr/>
        </p:nvSpPr>
        <p:spPr>
          <a:xfrm>
            <a:off x="6644584" y="3937245"/>
            <a:ext cx="289466" cy="289466"/>
          </a:xfrm>
          <a:custGeom>
            <a:avLst/>
            <a:gdLst>
              <a:gd name="connsiteX0" fmla="*/ 296045 w 296045"/>
              <a:gd name="connsiteY0" fmla="*/ 148023 h 296045"/>
              <a:gd name="connsiteX1" fmla="*/ 148023 w 296045"/>
              <a:gd name="connsiteY1" fmla="*/ 296045 h 296045"/>
              <a:gd name="connsiteX2" fmla="*/ 0 w 296045"/>
              <a:gd name="connsiteY2" fmla="*/ 148023 h 296045"/>
              <a:gd name="connsiteX3" fmla="*/ 148023 w 296045"/>
              <a:gd name="connsiteY3" fmla="*/ 0 h 296045"/>
              <a:gd name="connsiteX4" fmla="*/ 296045 w 296045"/>
              <a:gd name="connsiteY4" fmla="*/ 148023 h 2960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6045" h="296045">
                <a:moveTo>
                  <a:pt x="296045" y="148023"/>
                </a:moveTo>
                <a:cubicBezTo>
                  <a:pt x="296045" y="229773"/>
                  <a:pt x="229773" y="296045"/>
                  <a:pt x="148023" y="296045"/>
                </a:cubicBezTo>
                <a:cubicBezTo>
                  <a:pt x="66272" y="296045"/>
                  <a:pt x="0" y="229773"/>
                  <a:pt x="0" y="148023"/>
                </a:cubicBezTo>
                <a:cubicBezTo>
                  <a:pt x="0" y="66272"/>
                  <a:pt x="66272" y="0"/>
                  <a:pt x="148023" y="0"/>
                </a:cubicBezTo>
                <a:cubicBezTo>
                  <a:pt x="229773" y="0"/>
                  <a:pt x="296045" y="66272"/>
                  <a:pt x="296045" y="148023"/>
                </a:cubicBezTo>
                <a:close/>
              </a:path>
            </a:pathLst>
          </a:custGeom>
          <a:solidFill>
            <a:schemeClr val="accent4"/>
          </a:solidFill>
          <a:ln w="1019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7" name="Freeform: Shape 114">
            <a:extLst>
              <a:ext uri="{FF2B5EF4-FFF2-40B4-BE49-F238E27FC236}">
                <a16:creationId xmlns:a16="http://schemas.microsoft.com/office/drawing/2014/main" id="{F5D06835-4077-4307-9A1C-1D79F90E5437}"/>
              </a:ext>
            </a:extLst>
          </p:cNvPr>
          <p:cNvSpPr/>
          <p:nvPr/>
        </p:nvSpPr>
        <p:spPr>
          <a:xfrm>
            <a:off x="6439367" y="2690181"/>
            <a:ext cx="141739" cy="141739"/>
          </a:xfrm>
          <a:custGeom>
            <a:avLst/>
            <a:gdLst>
              <a:gd name="connsiteX0" fmla="*/ 144960 w 144960"/>
              <a:gd name="connsiteY0" fmla="*/ 72480 h 144960"/>
              <a:gd name="connsiteX1" fmla="*/ 72480 w 144960"/>
              <a:gd name="connsiteY1" fmla="*/ 144960 h 144960"/>
              <a:gd name="connsiteX2" fmla="*/ 0 w 144960"/>
              <a:gd name="connsiteY2" fmla="*/ 72480 h 144960"/>
              <a:gd name="connsiteX3" fmla="*/ 72480 w 144960"/>
              <a:gd name="connsiteY3" fmla="*/ 0 h 144960"/>
              <a:gd name="connsiteX4" fmla="*/ 144960 w 144960"/>
              <a:gd name="connsiteY4" fmla="*/ 72480 h 1449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960" h="144960">
                <a:moveTo>
                  <a:pt x="144960" y="72480"/>
                </a:moveTo>
                <a:cubicBezTo>
                  <a:pt x="144960" y="112510"/>
                  <a:pt x="112510" y="144960"/>
                  <a:pt x="72480" y="144960"/>
                </a:cubicBezTo>
                <a:cubicBezTo>
                  <a:pt x="32451" y="144960"/>
                  <a:pt x="0" y="112510"/>
                  <a:pt x="0" y="72480"/>
                </a:cubicBezTo>
                <a:cubicBezTo>
                  <a:pt x="0" y="32450"/>
                  <a:pt x="32451" y="0"/>
                  <a:pt x="72480" y="0"/>
                </a:cubicBezTo>
                <a:cubicBezTo>
                  <a:pt x="112510" y="0"/>
                  <a:pt x="144960" y="32450"/>
                  <a:pt x="144960" y="72480"/>
                </a:cubicBezTo>
                <a:close/>
              </a:path>
            </a:pathLst>
          </a:custGeom>
          <a:solidFill>
            <a:schemeClr val="accent1"/>
          </a:solidFill>
          <a:ln w="1019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8" name="Freeform: Shape 152">
            <a:extLst>
              <a:ext uri="{FF2B5EF4-FFF2-40B4-BE49-F238E27FC236}">
                <a16:creationId xmlns:a16="http://schemas.microsoft.com/office/drawing/2014/main" id="{6768BB03-5236-4AB4-A62E-2ECDCAEEC4A8}"/>
              </a:ext>
            </a:extLst>
          </p:cNvPr>
          <p:cNvSpPr/>
          <p:nvPr/>
        </p:nvSpPr>
        <p:spPr>
          <a:xfrm>
            <a:off x="5302065" y="3173511"/>
            <a:ext cx="289466" cy="289466"/>
          </a:xfrm>
          <a:custGeom>
            <a:avLst/>
            <a:gdLst>
              <a:gd name="connsiteX0" fmla="*/ 296045 w 296045"/>
              <a:gd name="connsiteY0" fmla="*/ 148023 h 296045"/>
              <a:gd name="connsiteX1" fmla="*/ 148023 w 296045"/>
              <a:gd name="connsiteY1" fmla="*/ 296045 h 296045"/>
              <a:gd name="connsiteX2" fmla="*/ 0 w 296045"/>
              <a:gd name="connsiteY2" fmla="*/ 148023 h 296045"/>
              <a:gd name="connsiteX3" fmla="*/ 148023 w 296045"/>
              <a:gd name="connsiteY3" fmla="*/ 0 h 296045"/>
              <a:gd name="connsiteX4" fmla="*/ 296045 w 296045"/>
              <a:gd name="connsiteY4" fmla="*/ 148023 h 2960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6045" h="296045">
                <a:moveTo>
                  <a:pt x="296045" y="148023"/>
                </a:moveTo>
                <a:cubicBezTo>
                  <a:pt x="296045" y="229773"/>
                  <a:pt x="229773" y="296045"/>
                  <a:pt x="148023" y="296045"/>
                </a:cubicBezTo>
                <a:cubicBezTo>
                  <a:pt x="66272" y="296045"/>
                  <a:pt x="0" y="229773"/>
                  <a:pt x="0" y="148023"/>
                </a:cubicBezTo>
                <a:cubicBezTo>
                  <a:pt x="0" y="66272"/>
                  <a:pt x="66272" y="0"/>
                  <a:pt x="148023" y="0"/>
                </a:cubicBezTo>
                <a:cubicBezTo>
                  <a:pt x="229773" y="0"/>
                  <a:pt x="296045" y="66272"/>
                  <a:pt x="296045" y="148023"/>
                </a:cubicBezTo>
                <a:close/>
              </a:path>
            </a:pathLst>
          </a:custGeom>
          <a:solidFill>
            <a:schemeClr val="accent1"/>
          </a:solidFill>
          <a:ln w="1019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9" name="Freeform: Shape 116">
            <a:extLst>
              <a:ext uri="{FF2B5EF4-FFF2-40B4-BE49-F238E27FC236}">
                <a16:creationId xmlns:a16="http://schemas.microsoft.com/office/drawing/2014/main" id="{5AD2C1AB-3A08-4875-8280-8ED907AAA1E2}"/>
              </a:ext>
            </a:extLst>
          </p:cNvPr>
          <p:cNvSpPr/>
          <p:nvPr/>
        </p:nvSpPr>
        <p:spPr>
          <a:xfrm flipH="1">
            <a:off x="7765638" y="3314273"/>
            <a:ext cx="2286126" cy="1452270"/>
          </a:xfrm>
          <a:custGeom>
            <a:avLst/>
            <a:gdLst>
              <a:gd name="connsiteX0" fmla="*/ 2105157 w 2105156"/>
              <a:gd name="connsiteY0" fmla="*/ 0 h 1507999"/>
              <a:gd name="connsiteX1" fmla="*/ 2105157 w 2105156"/>
              <a:gd name="connsiteY1" fmla="*/ 753999 h 1507999"/>
              <a:gd name="connsiteX2" fmla="*/ 1351157 w 2105156"/>
              <a:gd name="connsiteY2" fmla="*/ 1508000 h 1507999"/>
              <a:gd name="connsiteX3" fmla="*/ 0 w 2105156"/>
              <a:gd name="connsiteY3" fmla="*/ 1508000 h 1507999"/>
              <a:gd name="connsiteX4" fmla="*/ 0 w 2105156"/>
              <a:gd name="connsiteY4" fmla="*/ 753999 h 1507999"/>
              <a:gd name="connsiteX5" fmla="*/ 705076 w 2105156"/>
              <a:gd name="connsiteY5" fmla="*/ 1439 h 1507999"/>
              <a:gd name="connsiteX6" fmla="*/ 2105157 w 2105156"/>
              <a:gd name="connsiteY6" fmla="*/ 0 h 150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05156" h="1507999">
                <a:moveTo>
                  <a:pt x="2105157" y="0"/>
                </a:moveTo>
                <a:lnTo>
                  <a:pt x="2105157" y="753999"/>
                </a:lnTo>
                <a:cubicBezTo>
                  <a:pt x="2105157" y="1168411"/>
                  <a:pt x="1765569" y="1508000"/>
                  <a:pt x="1351157" y="1508000"/>
                </a:cubicBezTo>
                <a:cubicBezTo>
                  <a:pt x="900772" y="1508000"/>
                  <a:pt x="450385" y="1508000"/>
                  <a:pt x="0" y="1508000"/>
                </a:cubicBezTo>
                <a:lnTo>
                  <a:pt x="0" y="753999"/>
                </a:lnTo>
                <a:cubicBezTo>
                  <a:pt x="0" y="358293"/>
                  <a:pt x="310810" y="27339"/>
                  <a:pt x="705076" y="1439"/>
                </a:cubicBezTo>
                <a:lnTo>
                  <a:pt x="2105157" y="0"/>
                </a:lnTo>
                <a:close/>
              </a:path>
            </a:pathLst>
          </a:custGeom>
          <a:solidFill>
            <a:schemeClr val="accent4"/>
          </a:solidFill>
          <a:ln w="1438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40" name="Freeform: Shape 119">
            <a:extLst>
              <a:ext uri="{FF2B5EF4-FFF2-40B4-BE49-F238E27FC236}">
                <a16:creationId xmlns:a16="http://schemas.microsoft.com/office/drawing/2014/main" id="{C972D761-34CF-4679-80C7-9ABF1C340C49}"/>
              </a:ext>
            </a:extLst>
          </p:cNvPr>
          <p:cNvSpPr/>
          <p:nvPr/>
        </p:nvSpPr>
        <p:spPr>
          <a:xfrm>
            <a:off x="3821373" y="1656473"/>
            <a:ext cx="2286126" cy="1452270"/>
          </a:xfrm>
          <a:custGeom>
            <a:avLst/>
            <a:gdLst>
              <a:gd name="connsiteX0" fmla="*/ 2105157 w 2105156"/>
              <a:gd name="connsiteY0" fmla="*/ 0 h 1507999"/>
              <a:gd name="connsiteX1" fmla="*/ 2105157 w 2105156"/>
              <a:gd name="connsiteY1" fmla="*/ 753999 h 1507999"/>
              <a:gd name="connsiteX2" fmla="*/ 1351157 w 2105156"/>
              <a:gd name="connsiteY2" fmla="*/ 1508000 h 1507999"/>
              <a:gd name="connsiteX3" fmla="*/ 0 w 2105156"/>
              <a:gd name="connsiteY3" fmla="*/ 1508000 h 1507999"/>
              <a:gd name="connsiteX4" fmla="*/ 0 w 2105156"/>
              <a:gd name="connsiteY4" fmla="*/ 753999 h 1507999"/>
              <a:gd name="connsiteX5" fmla="*/ 705076 w 2105156"/>
              <a:gd name="connsiteY5" fmla="*/ 1439 h 1507999"/>
              <a:gd name="connsiteX6" fmla="*/ 2105157 w 2105156"/>
              <a:gd name="connsiteY6" fmla="*/ 0 h 150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05156" h="1507999">
                <a:moveTo>
                  <a:pt x="2105157" y="0"/>
                </a:moveTo>
                <a:lnTo>
                  <a:pt x="2105157" y="753999"/>
                </a:lnTo>
                <a:cubicBezTo>
                  <a:pt x="2105157" y="1168411"/>
                  <a:pt x="1765569" y="1508000"/>
                  <a:pt x="1351157" y="1508000"/>
                </a:cubicBezTo>
                <a:cubicBezTo>
                  <a:pt x="900772" y="1508000"/>
                  <a:pt x="450385" y="1508000"/>
                  <a:pt x="0" y="1508000"/>
                </a:cubicBezTo>
                <a:lnTo>
                  <a:pt x="0" y="753999"/>
                </a:lnTo>
                <a:cubicBezTo>
                  <a:pt x="0" y="358293"/>
                  <a:pt x="310810" y="27339"/>
                  <a:pt x="705076" y="1439"/>
                </a:cubicBezTo>
                <a:lnTo>
                  <a:pt x="2105157" y="0"/>
                </a:lnTo>
                <a:close/>
              </a:path>
            </a:pathLst>
          </a:custGeom>
          <a:solidFill>
            <a:schemeClr val="accent1"/>
          </a:solidFill>
          <a:ln w="1438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41" name="Freeform: Shape 120">
            <a:extLst>
              <a:ext uri="{FF2B5EF4-FFF2-40B4-BE49-F238E27FC236}">
                <a16:creationId xmlns:a16="http://schemas.microsoft.com/office/drawing/2014/main" id="{00A046CE-BDCE-4150-81C6-5EA925E246DF}"/>
              </a:ext>
            </a:extLst>
          </p:cNvPr>
          <p:cNvSpPr/>
          <p:nvPr/>
        </p:nvSpPr>
        <p:spPr>
          <a:xfrm>
            <a:off x="2140237" y="3333004"/>
            <a:ext cx="2286126" cy="1452270"/>
          </a:xfrm>
          <a:custGeom>
            <a:avLst/>
            <a:gdLst>
              <a:gd name="connsiteX0" fmla="*/ 2105157 w 2105156"/>
              <a:gd name="connsiteY0" fmla="*/ 0 h 1507999"/>
              <a:gd name="connsiteX1" fmla="*/ 2105157 w 2105156"/>
              <a:gd name="connsiteY1" fmla="*/ 753999 h 1507999"/>
              <a:gd name="connsiteX2" fmla="*/ 1351157 w 2105156"/>
              <a:gd name="connsiteY2" fmla="*/ 1508000 h 1507999"/>
              <a:gd name="connsiteX3" fmla="*/ 0 w 2105156"/>
              <a:gd name="connsiteY3" fmla="*/ 1508000 h 1507999"/>
              <a:gd name="connsiteX4" fmla="*/ 0 w 2105156"/>
              <a:gd name="connsiteY4" fmla="*/ 753999 h 1507999"/>
              <a:gd name="connsiteX5" fmla="*/ 705076 w 2105156"/>
              <a:gd name="connsiteY5" fmla="*/ 1439 h 1507999"/>
              <a:gd name="connsiteX6" fmla="*/ 2105157 w 2105156"/>
              <a:gd name="connsiteY6" fmla="*/ 0 h 150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05156" h="1507999">
                <a:moveTo>
                  <a:pt x="2105157" y="0"/>
                </a:moveTo>
                <a:lnTo>
                  <a:pt x="2105157" y="753999"/>
                </a:lnTo>
                <a:cubicBezTo>
                  <a:pt x="2105157" y="1168411"/>
                  <a:pt x="1765569" y="1508000"/>
                  <a:pt x="1351157" y="1508000"/>
                </a:cubicBezTo>
                <a:cubicBezTo>
                  <a:pt x="900772" y="1508000"/>
                  <a:pt x="450385" y="1508000"/>
                  <a:pt x="0" y="1508000"/>
                </a:cubicBezTo>
                <a:lnTo>
                  <a:pt x="0" y="753999"/>
                </a:lnTo>
                <a:cubicBezTo>
                  <a:pt x="0" y="358293"/>
                  <a:pt x="310810" y="27339"/>
                  <a:pt x="705076" y="1439"/>
                </a:cubicBezTo>
                <a:lnTo>
                  <a:pt x="2105157" y="0"/>
                </a:lnTo>
                <a:close/>
              </a:path>
            </a:pathLst>
          </a:custGeom>
          <a:solidFill>
            <a:schemeClr val="accent3"/>
          </a:solidFill>
          <a:ln w="1438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42" name="Freeform: Shape 121">
            <a:extLst>
              <a:ext uri="{FF2B5EF4-FFF2-40B4-BE49-F238E27FC236}">
                <a16:creationId xmlns:a16="http://schemas.microsoft.com/office/drawing/2014/main" id="{81534FDE-23FF-492E-AC00-069D04DEE192}"/>
              </a:ext>
            </a:extLst>
          </p:cNvPr>
          <p:cNvSpPr/>
          <p:nvPr/>
        </p:nvSpPr>
        <p:spPr>
          <a:xfrm>
            <a:off x="3072825" y="5032694"/>
            <a:ext cx="2286126" cy="1452270"/>
          </a:xfrm>
          <a:custGeom>
            <a:avLst/>
            <a:gdLst>
              <a:gd name="connsiteX0" fmla="*/ 2105157 w 2105156"/>
              <a:gd name="connsiteY0" fmla="*/ 0 h 1507999"/>
              <a:gd name="connsiteX1" fmla="*/ 2105157 w 2105156"/>
              <a:gd name="connsiteY1" fmla="*/ 753999 h 1507999"/>
              <a:gd name="connsiteX2" fmla="*/ 1351157 w 2105156"/>
              <a:gd name="connsiteY2" fmla="*/ 1508000 h 1507999"/>
              <a:gd name="connsiteX3" fmla="*/ 0 w 2105156"/>
              <a:gd name="connsiteY3" fmla="*/ 1508000 h 1507999"/>
              <a:gd name="connsiteX4" fmla="*/ 0 w 2105156"/>
              <a:gd name="connsiteY4" fmla="*/ 753999 h 1507999"/>
              <a:gd name="connsiteX5" fmla="*/ 705076 w 2105156"/>
              <a:gd name="connsiteY5" fmla="*/ 1439 h 1507999"/>
              <a:gd name="connsiteX6" fmla="*/ 2105157 w 2105156"/>
              <a:gd name="connsiteY6" fmla="*/ 0 h 150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05156" h="1507999">
                <a:moveTo>
                  <a:pt x="2105157" y="0"/>
                </a:moveTo>
                <a:lnTo>
                  <a:pt x="2105157" y="753999"/>
                </a:lnTo>
                <a:cubicBezTo>
                  <a:pt x="2105157" y="1168411"/>
                  <a:pt x="1765569" y="1508000"/>
                  <a:pt x="1351157" y="1508000"/>
                </a:cubicBezTo>
                <a:cubicBezTo>
                  <a:pt x="900772" y="1508000"/>
                  <a:pt x="450385" y="1508000"/>
                  <a:pt x="0" y="1508000"/>
                </a:cubicBezTo>
                <a:lnTo>
                  <a:pt x="0" y="753999"/>
                </a:lnTo>
                <a:cubicBezTo>
                  <a:pt x="0" y="358293"/>
                  <a:pt x="310810" y="27339"/>
                  <a:pt x="705076" y="1439"/>
                </a:cubicBezTo>
                <a:lnTo>
                  <a:pt x="2105157" y="0"/>
                </a:lnTo>
                <a:close/>
              </a:path>
            </a:pathLst>
          </a:custGeom>
          <a:solidFill>
            <a:schemeClr val="accent5"/>
          </a:solidFill>
          <a:ln w="1438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43" name="TextBox 122">
            <a:extLst>
              <a:ext uri="{FF2B5EF4-FFF2-40B4-BE49-F238E27FC236}">
                <a16:creationId xmlns:a16="http://schemas.microsoft.com/office/drawing/2014/main" id="{A8B1F8A6-DF77-4C73-9027-619615791886}"/>
              </a:ext>
            </a:extLst>
          </p:cNvPr>
          <p:cNvSpPr txBox="1"/>
          <p:nvPr/>
        </p:nvSpPr>
        <p:spPr>
          <a:xfrm>
            <a:off x="4377577" y="1933296"/>
            <a:ext cx="1173719" cy="30777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D" sz="1400" b="1" i="0" u="none" strike="noStrike" kern="1200" cap="none" spc="0" normalizeH="0" baseline="0" noProof="0">
                <a:ln>
                  <a:noFill/>
                </a:ln>
                <a:solidFill>
                  <a:srgbClr val="F0F0F0"/>
                </a:solidFill>
                <a:effectLst/>
                <a:uLnTx/>
                <a:uFillTx/>
                <a:latin typeface="等线 Light" panose="020F0302020204030204"/>
                <a:ea typeface="+mn-ea"/>
                <a:cs typeface="+mn-cs"/>
              </a:rPr>
              <a:t>Description</a:t>
            </a:r>
            <a:endParaRPr kumimoji="0" lang="id-ID" sz="1400" b="1" i="0" u="none" strike="noStrike" kern="1200" cap="none" spc="0" normalizeH="0" baseline="0" noProof="0" dirty="0">
              <a:ln>
                <a:noFill/>
              </a:ln>
              <a:solidFill>
                <a:srgbClr val="F0F0F0"/>
              </a:solidFill>
              <a:effectLst/>
              <a:uLnTx/>
              <a:uFillTx/>
              <a:latin typeface="等线 Light" panose="020F0302020204030204"/>
              <a:ea typeface="+mn-ea"/>
              <a:cs typeface="+mn-cs"/>
            </a:endParaRPr>
          </a:p>
        </p:txBody>
      </p:sp>
      <p:sp>
        <p:nvSpPr>
          <p:cNvPr id="44" name="TextBox 123">
            <a:extLst>
              <a:ext uri="{FF2B5EF4-FFF2-40B4-BE49-F238E27FC236}">
                <a16:creationId xmlns:a16="http://schemas.microsoft.com/office/drawing/2014/main" id="{F620CD78-4517-4C16-8CC4-666443CBC3A7}"/>
              </a:ext>
            </a:extLst>
          </p:cNvPr>
          <p:cNvSpPr txBox="1"/>
          <p:nvPr/>
        </p:nvSpPr>
        <p:spPr>
          <a:xfrm>
            <a:off x="3939901" y="2215085"/>
            <a:ext cx="2049070" cy="616836"/>
          </a:xfrm>
          <a:prstGeom prst="rect">
            <a:avLst/>
          </a:prstGeom>
          <a:noFill/>
        </p:spPr>
        <p:txBody>
          <a:bodyPr wrap="square" rtlCol="0">
            <a:sp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0F0F0"/>
                </a:solidFill>
                <a:effectLst/>
                <a:uLnTx/>
                <a:uFillTx/>
                <a:latin typeface="等线" panose="020F0502020204030204"/>
                <a:ea typeface="+mn-ea"/>
                <a:cs typeface="+mn-cs"/>
              </a:rPr>
              <a:t>sweet mornings of spring which I enjoy with my whole </a:t>
            </a:r>
            <a:endParaRPr kumimoji="0" lang="en-US" sz="1200" b="1" i="0" u="none" strike="noStrike" kern="1200" cap="none" spc="0" normalizeH="0" baseline="0" noProof="0" dirty="0">
              <a:ln>
                <a:noFill/>
              </a:ln>
              <a:solidFill>
                <a:srgbClr val="F0F0F0"/>
              </a:solidFill>
              <a:effectLst/>
              <a:uLnTx/>
              <a:uFillTx/>
              <a:latin typeface="等线" panose="020F0502020204030204"/>
              <a:ea typeface="+mn-ea"/>
              <a:cs typeface="+mn-cs"/>
            </a:endParaRPr>
          </a:p>
        </p:txBody>
      </p:sp>
      <p:sp>
        <p:nvSpPr>
          <p:cNvPr id="45" name="Freeform: Shape 124">
            <a:extLst>
              <a:ext uri="{FF2B5EF4-FFF2-40B4-BE49-F238E27FC236}">
                <a16:creationId xmlns:a16="http://schemas.microsoft.com/office/drawing/2014/main" id="{99098D2C-7BD0-4EAC-837E-A0966A5780BD}"/>
              </a:ext>
            </a:extLst>
          </p:cNvPr>
          <p:cNvSpPr/>
          <p:nvPr/>
        </p:nvSpPr>
        <p:spPr>
          <a:xfrm flipH="1">
            <a:off x="7248717" y="1674047"/>
            <a:ext cx="2286126" cy="1452270"/>
          </a:xfrm>
          <a:custGeom>
            <a:avLst/>
            <a:gdLst>
              <a:gd name="connsiteX0" fmla="*/ 2105157 w 2105156"/>
              <a:gd name="connsiteY0" fmla="*/ 0 h 1507999"/>
              <a:gd name="connsiteX1" fmla="*/ 2105157 w 2105156"/>
              <a:gd name="connsiteY1" fmla="*/ 753999 h 1507999"/>
              <a:gd name="connsiteX2" fmla="*/ 1351157 w 2105156"/>
              <a:gd name="connsiteY2" fmla="*/ 1508000 h 1507999"/>
              <a:gd name="connsiteX3" fmla="*/ 0 w 2105156"/>
              <a:gd name="connsiteY3" fmla="*/ 1508000 h 1507999"/>
              <a:gd name="connsiteX4" fmla="*/ 0 w 2105156"/>
              <a:gd name="connsiteY4" fmla="*/ 753999 h 1507999"/>
              <a:gd name="connsiteX5" fmla="*/ 705076 w 2105156"/>
              <a:gd name="connsiteY5" fmla="*/ 1439 h 1507999"/>
              <a:gd name="connsiteX6" fmla="*/ 2105157 w 2105156"/>
              <a:gd name="connsiteY6" fmla="*/ 0 h 150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05156" h="1507999">
                <a:moveTo>
                  <a:pt x="2105157" y="0"/>
                </a:moveTo>
                <a:lnTo>
                  <a:pt x="2105157" y="753999"/>
                </a:lnTo>
                <a:cubicBezTo>
                  <a:pt x="2105157" y="1168411"/>
                  <a:pt x="1765569" y="1508000"/>
                  <a:pt x="1351157" y="1508000"/>
                </a:cubicBezTo>
                <a:cubicBezTo>
                  <a:pt x="900772" y="1508000"/>
                  <a:pt x="450385" y="1508000"/>
                  <a:pt x="0" y="1508000"/>
                </a:cubicBezTo>
                <a:lnTo>
                  <a:pt x="0" y="753999"/>
                </a:lnTo>
                <a:cubicBezTo>
                  <a:pt x="0" y="358293"/>
                  <a:pt x="310810" y="27339"/>
                  <a:pt x="705076" y="1439"/>
                </a:cubicBezTo>
                <a:lnTo>
                  <a:pt x="2105157" y="0"/>
                </a:lnTo>
                <a:close/>
              </a:path>
            </a:pathLst>
          </a:custGeom>
          <a:solidFill>
            <a:schemeClr val="accent2"/>
          </a:solidFill>
          <a:ln w="1438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46" name="TextBox 134">
            <a:extLst>
              <a:ext uri="{FF2B5EF4-FFF2-40B4-BE49-F238E27FC236}">
                <a16:creationId xmlns:a16="http://schemas.microsoft.com/office/drawing/2014/main" id="{1E22365F-A7AF-4D8A-A152-99406F8CBCAE}"/>
              </a:ext>
            </a:extLst>
          </p:cNvPr>
          <p:cNvSpPr txBox="1"/>
          <p:nvPr/>
        </p:nvSpPr>
        <p:spPr>
          <a:xfrm>
            <a:off x="2696441" y="3609827"/>
            <a:ext cx="1173719" cy="30777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D" sz="1400" b="1" i="0" u="none" strike="noStrike" kern="1200" cap="none" spc="0" normalizeH="0" baseline="0" noProof="0">
                <a:ln>
                  <a:noFill/>
                </a:ln>
                <a:solidFill>
                  <a:srgbClr val="F0F0F0"/>
                </a:solidFill>
                <a:effectLst/>
                <a:uLnTx/>
                <a:uFillTx/>
                <a:latin typeface="等线 Light" panose="020F0302020204030204"/>
                <a:ea typeface="+mn-ea"/>
                <a:cs typeface="+mn-cs"/>
              </a:rPr>
              <a:t>Description</a:t>
            </a:r>
            <a:endParaRPr kumimoji="0" lang="id-ID" sz="1400" b="1" i="0" u="none" strike="noStrike" kern="1200" cap="none" spc="0" normalizeH="0" baseline="0" noProof="0" dirty="0">
              <a:ln>
                <a:noFill/>
              </a:ln>
              <a:solidFill>
                <a:srgbClr val="F0F0F0"/>
              </a:solidFill>
              <a:effectLst/>
              <a:uLnTx/>
              <a:uFillTx/>
              <a:latin typeface="等线 Light" panose="020F0302020204030204"/>
              <a:ea typeface="+mn-ea"/>
              <a:cs typeface="+mn-cs"/>
            </a:endParaRPr>
          </a:p>
        </p:txBody>
      </p:sp>
      <p:sp>
        <p:nvSpPr>
          <p:cNvPr id="47" name="TextBox 135">
            <a:extLst>
              <a:ext uri="{FF2B5EF4-FFF2-40B4-BE49-F238E27FC236}">
                <a16:creationId xmlns:a16="http://schemas.microsoft.com/office/drawing/2014/main" id="{0ED11445-64B0-485E-A699-0B0E440001E2}"/>
              </a:ext>
            </a:extLst>
          </p:cNvPr>
          <p:cNvSpPr txBox="1"/>
          <p:nvPr/>
        </p:nvSpPr>
        <p:spPr>
          <a:xfrm>
            <a:off x="2258765" y="3891616"/>
            <a:ext cx="2049070" cy="616836"/>
          </a:xfrm>
          <a:prstGeom prst="rect">
            <a:avLst/>
          </a:prstGeom>
          <a:noFill/>
        </p:spPr>
        <p:txBody>
          <a:bodyPr wrap="square" rtlCol="0">
            <a:sp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0F0F0"/>
                </a:solidFill>
                <a:effectLst/>
                <a:uLnTx/>
                <a:uFillTx/>
                <a:latin typeface="等线" panose="020F0502020204030204"/>
                <a:ea typeface="+mn-ea"/>
                <a:cs typeface="+mn-cs"/>
              </a:rPr>
              <a:t>sweet mornings of spring which I enjoy with my whole </a:t>
            </a:r>
            <a:endParaRPr kumimoji="0" lang="en-US" sz="1200" b="1" i="0" u="none" strike="noStrike" kern="1200" cap="none" spc="0" normalizeH="0" baseline="0" noProof="0" dirty="0">
              <a:ln>
                <a:noFill/>
              </a:ln>
              <a:solidFill>
                <a:srgbClr val="F0F0F0"/>
              </a:solidFill>
              <a:effectLst/>
              <a:uLnTx/>
              <a:uFillTx/>
              <a:latin typeface="等线" panose="020F0502020204030204"/>
              <a:ea typeface="+mn-ea"/>
              <a:cs typeface="+mn-cs"/>
            </a:endParaRPr>
          </a:p>
        </p:txBody>
      </p:sp>
      <p:sp>
        <p:nvSpPr>
          <p:cNvPr id="48" name="TextBox 137">
            <a:extLst>
              <a:ext uri="{FF2B5EF4-FFF2-40B4-BE49-F238E27FC236}">
                <a16:creationId xmlns:a16="http://schemas.microsoft.com/office/drawing/2014/main" id="{723AB4D4-743C-48D7-8C96-0544B3C0DBBE}"/>
              </a:ext>
            </a:extLst>
          </p:cNvPr>
          <p:cNvSpPr txBox="1"/>
          <p:nvPr/>
        </p:nvSpPr>
        <p:spPr>
          <a:xfrm>
            <a:off x="3629029" y="5309517"/>
            <a:ext cx="1173719" cy="30777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D" sz="1400" b="1" i="0" u="none" strike="noStrike" kern="1200" cap="none" spc="0" normalizeH="0" baseline="0" noProof="0">
                <a:ln>
                  <a:noFill/>
                </a:ln>
                <a:solidFill>
                  <a:srgbClr val="F0F0F0"/>
                </a:solidFill>
                <a:effectLst/>
                <a:uLnTx/>
                <a:uFillTx/>
                <a:latin typeface="等线 Light" panose="020F0302020204030204"/>
                <a:ea typeface="+mn-ea"/>
                <a:cs typeface="+mn-cs"/>
              </a:rPr>
              <a:t>Description</a:t>
            </a:r>
            <a:endParaRPr kumimoji="0" lang="id-ID" sz="1400" b="1" i="0" u="none" strike="noStrike" kern="1200" cap="none" spc="0" normalizeH="0" baseline="0" noProof="0" dirty="0">
              <a:ln>
                <a:noFill/>
              </a:ln>
              <a:solidFill>
                <a:srgbClr val="F0F0F0"/>
              </a:solidFill>
              <a:effectLst/>
              <a:uLnTx/>
              <a:uFillTx/>
              <a:latin typeface="等线 Light" panose="020F0302020204030204"/>
              <a:ea typeface="+mn-ea"/>
              <a:cs typeface="+mn-cs"/>
            </a:endParaRPr>
          </a:p>
        </p:txBody>
      </p:sp>
      <p:sp>
        <p:nvSpPr>
          <p:cNvPr id="49" name="TextBox 138">
            <a:extLst>
              <a:ext uri="{FF2B5EF4-FFF2-40B4-BE49-F238E27FC236}">
                <a16:creationId xmlns:a16="http://schemas.microsoft.com/office/drawing/2014/main" id="{CFDD8BCF-8CBC-4AEE-8E8F-56635E491EFB}"/>
              </a:ext>
            </a:extLst>
          </p:cNvPr>
          <p:cNvSpPr txBox="1"/>
          <p:nvPr/>
        </p:nvSpPr>
        <p:spPr>
          <a:xfrm>
            <a:off x="3191353" y="5591306"/>
            <a:ext cx="2049070" cy="616836"/>
          </a:xfrm>
          <a:prstGeom prst="rect">
            <a:avLst/>
          </a:prstGeom>
          <a:noFill/>
        </p:spPr>
        <p:txBody>
          <a:bodyPr wrap="square" rtlCol="0">
            <a:sp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0F0F0"/>
                </a:solidFill>
                <a:effectLst/>
                <a:uLnTx/>
                <a:uFillTx/>
                <a:latin typeface="等线" panose="020F0502020204030204"/>
                <a:ea typeface="+mn-ea"/>
                <a:cs typeface="+mn-cs"/>
              </a:rPr>
              <a:t>sweet mornings of spring which I enjoy with my whole </a:t>
            </a:r>
            <a:endParaRPr kumimoji="0" lang="en-US" sz="1200" b="1" i="0" u="none" strike="noStrike" kern="1200" cap="none" spc="0" normalizeH="0" baseline="0" noProof="0" dirty="0">
              <a:ln>
                <a:noFill/>
              </a:ln>
              <a:solidFill>
                <a:srgbClr val="F0F0F0"/>
              </a:solidFill>
              <a:effectLst/>
              <a:uLnTx/>
              <a:uFillTx/>
              <a:latin typeface="等线" panose="020F0502020204030204"/>
              <a:ea typeface="+mn-ea"/>
              <a:cs typeface="+mn-cs"/>
            </a:endParaRPr>
          </a:p>
        </p:txBody>
      </p:sp>
      <p:sp>
        <p:nvSpPr>
          <p:cNvPr id="50" name="TextBox 147">
            <a:extLst>
              <a:ext uri="{FF2B5EF4-FFF2-40B4-BE49-F238E27FC236}">
                <a16:creationId xmlns:a16="http://schemas.microsoft.com/office/drawing/2014/main" id="{39215BC2-EF13-4006-B910-EDB05109916D}"/>
              </a:ext>
            </a:extLst>
          </p:cNvPr>
          <p:cNvSpPr txBox="1"/>
          <p:nvPr/>
        </p:nvSpPr>
        <p:spPr>
          <a:xfrm>
            <a:off x="8321842" y="3591096"/>
            <a:ext cx="1173719" cy="30777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D" sz="1400" b="1" i="0" u="none" strike="noStrike" kern="1200" cap="none" spc="0" normalizeH="0" baseline="0" noProof="0">
                <a:ln>
                  <a:noFill/>
                </a:ln>
                <a:solidFill>
                  <a:srgbClr val="F0F0F0"/>
                </a:solidFill>
                <a:effectLst/>
                <a:uLnTx/>
                <a:uFillTx/>
                <a:latin typeface="等线 Light" panose="020F0302020204030204"/>
                <a:ea typeface="+mn-ea"/>
                <a:cs typeface="+mn-cs"/>
              </a:rPr>
              <a:t>Description</a:t>
            </a:r>
            <a:endParaRPr kumimoji="0" lang="id-ID" sz="1400" b="1" i="0" u="none" strike="noStrike" kern="1200" cap="none" spc="0" normalizeH="0" baseline="0" noProof="0" dirty="0">
              <a:ln>
                <a:noFill/>
              </a:ln>
              <a:solidFill>
                <a:srgbClr val="F0F0F0"/>
              </a:solidFill>
              <a:effectLst/>
              <a:uLnTx/>
              <a:uFillTx/>
              <a:latin typeface="等线 Light" panose="020F0302020204030204"/>
              <a:ea typeface="+mn-ea"/>
              <a:cs typeface="+mn-cs"/>
            </a:endParaRPr>
          </a:p>
        </p:txBody>
      </p:sp>
      <p:sp>
        <p:nvSpPr>
          <p:cNvPr id="51" name="TextBox 148">
            <a:extLst>
              <a:ext uri="{FF2B5EF4-FFF2-40B4-BE49-F238E27FC236}">
                <a16:creationId xmlns:a16="http://schemas.microsoft.com/office/drawing/2014/main" id="{5568EAB8-D148-4F5C-B559-BD4C49EC9BDF}"/>
              </a:ext>
            </a:extLst>
          </p:cNvPr>
          <p:cNvSpPr txBox="1"/>
          <p:nvPr/>
        </p:nvSpPr>
        <p:spPr>
          <a:xfrm>
            <a:off x="7884166" y="3872885"/>
            <a:ext cx="2049070" cy="616836"/>
          </a:xfrm>
          <a:prstGeom prst="rect">
            <a:avLst/>
          </a:prstGeom>
          <a:noFill/>
        </p:spPr>
        <p:txBody>
          <a:bodyPr wrap="square" rtlCol="0">
            <a:sp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0F0F0"/>
                </a:solidFill>
                <a:effectLst/>
                <a:uLnTx/>
                <a:uFillTx/>
                <a:latin typeface="等线" panose="020F0502020204030204"/>
                <a:ea typeface="+mn-ea"/>
                <a:cs typeface="+mn-cs"/>
              </a:rPr>
              <a:t>sweet mornings of spring which I enjoy with my whole </a:t>
            </a:r>
            <a:endParaRPr kumimoji="0" lang="en-US" sz="1200" b="1" i="0" u="none" strike="noStrike" kern="1200" cap="none" spc="0" normalizeH="0" baseline="0" noProof="0" dirty="0">
              <a:ln>
                <a:noFill/>
              </a:ln>
              <a:solidFill>
                <a:srgbClr val="F0F0F0"/>
              </a:solidFill>
              <a:effectLst/>
              <a:uLnTx/>
              <a:uFillTx/>
              <a:latin typeface="等线" panose="020F0502020204030204"/>
              <a:ea typeface="+mn-ea"/>
              <a:cs typeface="+mn-cs"/>
            </a:endParaRPr>
          </a:p>
        </p:txBody>
      </p:sp>
      <p:sp>
        <p:nvSpPr>
          <p:cNvPr id="52" name="TextBox 150">
            <a:extLst>
              <a:ext uri="{FF2B5EF4-FFF2-40B4-BE49-F238E27FC236}">
                <a16:creationId xmlns:a16="http://schemas.microsoft.com/office/drawing/2014/main" id="{B9087315-E030-4D61-A55D-01B64677C8DF}"/>
              </a:ext>
            </a:extLst>
          </p:cNvPr>
          <p:cNvSpPr txBox="1"/>
          <p:nvPr/>
        </p:nvSpPr>
        <p:spPr>
          <a:xfrm>
            <a:off x="7804921" y="1950870"/>
            <a:ext cx="1173719" cy="30777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D" sz="1400" b="1" i="0" u="none" strike="noStrike" kern="1200" cap="none" spc="0" normalizeH="0" baseline="0" noProof="0">
                <a:ln>
                  <a:noFill/>
                </a:ln>
                <a:solidFill>
                  <a:srgbClr val="F0F0F0"/>
                </a:solidFill>
                <a:effectLst/>
                <a:uLnTx/>
                <a:uFillTx/>
                <a:latin typeface="等线 Light" panose="020F0302020204030204"/>
                <a:ea typeface="+mn-ea"/>
                <a:cs typeface="+mn-cs"/>
              </a:rPr>
              <a:t>Description</a:t>
            </a:r>
            <a:endParaRPr kumimoji="0" lang="id-ID" sz="1400" b="1" i="0" u="none" strike="noStrike" kern="1200" cap="none" spc="0" normalizeH="0" baseline="0" noProof="0" dirty="0">
              <a:ln>
                <a:noFill/>
              </a:ln>
              <a:solidFill>
                <a:srgbClr val="F0F0F0"/>
              </a:solidFill>
              <a:effectLst/>
              <a:uLnTx/>
              <a:uFillTx/>
              <a:latin typeface="等线 Light" panose="020F0302020204030204"/>
              <a:ea typeface="+mn-ea"/>
              <a:cs typeface="+mn-cs"/>
            </a:endParaRPr>
          </a:p>
        </p:txBody>
      </p:sp>
      <p:sp>
        <p:nvSpPr>
          <p:cNvPr id="53" name="TextBox 151">
            <a:extLst>
              <a:ext uri="{FF2B5EF4-FFF2-40B4-BE49-F238E27FC236}">
                <a16:creationId xmlns:a16="http://schemas.microsoft.com/office/drawing/2014/main" id="{778141FF-6636-4058-8EDC-841C4D03FD07}"/>
              </a:ext>
            </a:extLst>
          </p:cNvPr>
          <p:cNvSpPr txBox="1"/>
          <p:nvPr/>
        </p:nvSpPr>
        <p:spPr>
          <a:xfrm>
            <a:off x="7367245" y="2232659"/>
            <a:ext cx="2049070" cy="616836"/>
          </a:xfrm>
          <a:prstGeom prst="rect">
            <a:avLst/>
          </a:prstGeom>
          <a:noFill/>
        </p:spPr>
        <p:txBody>
          <a:bodyPr wrap="square" rtlCol="0">
            <a:sp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0F0F0"/>
                </a:solidFill>
                <a:effectLst/>
                <a:uLnTx/>
                <a:uFillTx/>
                <a:latin typeface="等线" panose="020F0502020204030204"/>
                <a:ea typeface="+mn-ea"/>
                <a:cs typeface="+mn-cs"/>
              </a:rPr>
              <a:t>sweet mornings of spring which I enjoy with my whole </a:t>
            </a:r>
            <a:endParaRPr kumimoji="0" lang="en-US" sz="1200" b="1" i="0" u="none" strike="noStrike" kern="1200" cap="none" spc="0" normalizeH="0" baseline="0" noProof="0" dirty="0">
              <a:ln>
                <a:noFill/>
              </a:ln>
              <a:solidFill>
                <a:srgbClr val="F0F0F0"/>
              </a:solidFill>
              <a:effectLst/>
              <a:uLnTx/>
              <a:uFillTx/>
              <a:latin typeface="等线" panose="020F0502020204030204"/>
              <a:ea typeface="+mn-ea"/>
              <a:cs typeface="+mn-cs"/>
            </a:endParaRPr>
          </a:p>
        </p:txBody>
      </p:sp>
      <p:sp>
        <p:nvSpPr>
          <p:cNvPr id="54" name="Freeform: Shape 153">
            <a:extLst>
              <a:ext uri="{FF2B5EF4-FFF2-40B4-BE49-F238E27FC236}">
                <a16:creationId xmlns:a16="http://schemas.microsoft.com/office/drawing/2014/main" id="{DC4D5B41-A9D8-464B-8343-EF4DCEA87928}"/>
              </a:ext>
            </a:extLst>
          </p:cNvPr>
          <p:cNvSpPr/>
          <p:nvPr/>
        </p:nvSpPr>
        <p:spPr>
          <a:xfrm flipH="1">
            <a:off x="7499423" y="5003477"/>
            <a:ext cx="2286126" cy="1452270"/>
          </a:xfrm>
          <a:custGeom>
            <a:avLst/>
            <a:gdLst>
              <a:gd name="connsiteX0" fmla="*/ 2105157 w 2105156"/>
              <a:gd name="connsiteY0" fmla="*/ 0 h 1507999"/>
              <a:gd name="connsiteX1" fmla="*/ 2105157 w 2105156"/>
              <a:gd name="connsiteY1" fmla="*/ 753999 h 1507999"/>
              <a:gd name="connsiteX2" fmla="*/ 1351157 w 2105156"/>
              <a:gd name="connsiteY2" fmla="*/ 1508000 h 1507999"/>
              <a:gd name="connsiteX3" fmla="*/ 0 w 2105156"/>
              <a:gd name="connsiteY3" fmla="*/ 1508000 h 1507999"/>
              <a:gd name="connsiteX4" fmla="*/ 0 w 2105156"/>
              <a:gd name="connsiteY4" fmla="*/ 753999 h 1507999"/>
              <a:gd name="connsiteX5" fmla="*/ 705076 w 2105156"/>
              <a:gd name="connsiteY5" fmla="*/ 1439 h 1507999"/>
              <a:gd name="connsiteX6" fmla="*/ 2105157 w 2105156"/>
              <a:gd name="connsiteY6" fmla="*/ 0 h 150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05156" h="1507999">
                <a:moveTo>
                  <a:pt x="2105157" y="0"/>
                </a:moveTo>
                <a:lnTo>
                  <a:pt x="2105157" y="753999"/>
                </a:lnTo>
                <a:cubicBezTo>
                  <a:pt x="2105157" y="1168411"/>
                  <a:pt x="1765569" y="1508000"/>
                  <a:pt x="1351157" y="1508000"/>
                </a:cubicBezTo>
                <a:cubicBezTo>
                  <a:pt x="900772" y="1508000"/>
                  <a:pt x="450385" y="1508000"/>
                  <a:pt x="0" y="1508000"/>
                </a:cubicBezTo>
                <a:lnTo>
                  <a:pt x="0" y="753999"/>
                </a:lnTo>
                <a:cubicBezTo>
                  <a:pt x="0" y="358293"/>
                  <a:pt x="310810" y="27339"/>
                  <a:pt x="705076" y="1439"/>
                </a:cubicBezTo>
                <a:lnTo>
                  <a:pt x="2105157" y="0"/>
                </a:lnTo>
                <a:close/>
              </a:path>
            </a:pathLst>
          </a:custGeom>
          <a:solidFill>
            <a:schemeClr val="accent6"/>
          </a:solidFill>
          <a:ln w="1438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55" name="TextBox 154">
            <a:extLst>
              <a:ext uri="{FF2B5EF4-FFF2-40B4-BE49-F238E27FC236}">
                <a16:creationId xmlns:a16="http://schemas.microsoft.com/office/drawing/2014/main" id="{CEEC13C2-8544-4423-BD20-A051D9F76AA3}"/>
              </a:ext>
            </a:extLst>
          </p:cNvPr>
          <p:cNvSpPr txBox="1"/>
          <p:nvPr/>
        </p:nvSpPr>
        <p:spPr>
          <a:xfrm>
            <a:off x="8055627" y="5280300"/>
            <a:ext cx="1173719" cy="30777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D" sz="1400" b="1" i="0" u="none" strike="noStrike" kern="1200" cap="none" spc="0" normalizeH="0" baseline="0" noProof="0">
                <a:ln>
                  <a:noFill/>
                </a:ln>
                <a:solidFill>
                  <a:srgbClr val="F0F0F0"/>
                </a:solidFill>
                <a:effectLst/>
                <a:uLnTx/>
                <a:uFillTx/>
                <a:latin typeface="等线 Light" panose="020F0302020204030204"/>
                <a:ea typeface="+mn-ea"/>
                <a:cs typeface="+mn-cs"/>
              </a:rPr>
              <a:t>Description</a:t>
            </a:r>
            <a:endParaRPr kumimoji="0" lang="id-ID" sz="1400" b="1" i="0" u="none" strike="noStrike" kern="1200" cap="none" spc="0" normalizeH="0" baseline="0" noProof="0" dirty="0">
              <a:ln>
                <a:noFill/>
              </a:ln>
              <a:solidFill>
                <a:srgbClr val="F0F0F0"/>
              </a:solidFill>
              <a:effectLst/>
              <a:uLnTx/>
              <a:uFillTx/>
              <a:latin typeface="等线 Light" panose="020F0302020204030204"/>
              <a:ea typeface="+mn-ea"/>
              <a:cs typeface="+mn-cs"/>
            </a:endParaRPr>
          </a:p>
        </p:txBody>
      </p:sp>
      <p:sp>
        <p:nvSpPr>
          <p:cNvPr id="56" name="TextBox 155">
            <a:extLst>
              <a:ext uri="{FF2B5EF4-FFF2-40B4-BE49-F238E27FC236}">
                <a16:creationId xmlns:a16="http://schemas.microsoft.com/office/drawing/2014/main" id="{EF2BB028-E066-45BE-8632-9B239763C247}"/>
              </a:ext>
            </a:extLst>
          </p:cNvPr>
          <p:cNvSpPr txBox="1"/>
          <p:nvPr/>
        </p:nvSpPr>
        <p:spPr>
          <a:xfrm>
            <a:off x="7617951" y="5562089"/>
            <a:ext cx="2049070" cy="616836"/>
          </a:xfrm>
          <a:prstGeom prst="rect">
            <a:avLst/>
          </a:prstGeom>
          <a:noFill/>
        </p:spPr>
        <p:txBody>
          <a:bodyPr wrap="square" rtlCol="0">
            <a:sp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0F0F0"/>
                </a:solidFill>
                <a:effectLst/>
                <a:uLnTx/>
                <a:uFillTx/>
                <a:latin typeface="等线" panose="020F0502020204030204"/>
                <a:ea typeface="+mn-ea"/>
                <a:cs typeface="+mn-cs"/>
              </a:rPr>
              <a:t>sweet mornings of spring which I enjoy with my whole </a:t>
            </a:r>
            <a:endParaRPr kumimoji="0" lang="en-US" sz="1200" b="1" i="0" u="none" strike="noStrike" kern="1200" cap="none" spc="0" normalizeH="0" baseline="0" noProof="0" dirty="0">
              <a:ln>
                <a:noFill/>
              </a:ln>
              <a:solidFill>
                <a:srgbClr val="F0F0F0"/>
              </a:solidFill>
              <a:effectLst/>
              <a:uLnTx/>
              <a:uFillTx/>
              <a:latin typeface="等线" panose="020F0502020204030204"/>
              <a:ea typeface="+mn-ea"/>
              <a:cs typeface="+mn-cs"/>
            </a:endParaRPr>
          </a:p>
        </p:txBody>
      </p:sp>
      <p:sp>
        <p:nvSpPr>
          <p:cNvPr id="57" name="Freeform: Shape 156">
            <a:extLst>
              <a:ext uri="{FF2B5EF4-FFF2-40B4-BE49-F238E27FC236}">
                <a16:creationId xmlns:a16="http://schemas.microsoft.com/office/drawing/2014/main" id="{AC67CCD6-E91F-4D21-A7DC-70ED28B7ED46}"/>
              </a:ext>
            </a:extLst>
          </p:cNvPr>
          <p:cNvSpPr/>
          <p:nvPr/>
        </p:nvSpPr>
        <p:spPr>
          <a:xfrm>
            <a:off x="7514030" y="4232365"/>
            <a:ext cx="141739" cy="141739"/>
          </a:xfrm>
          <a:custGeom>
            <a:avLst/>
            <a:gdLst>
              <a:gd name="connsiteX0" fmla="*/ 144960 w 144960"/>
              <a:gd name="connsiteY0" fmla="*/ 72480 h 144960"/>
              <a:gd name="connsiteX1" fmla="*/ 72480 w 144960"/>
              <a:gd name="connsiteY1" fmla="*/ 144960 h 144960"/>
              <a:gd name="connsiteX2" fmla="*/ 0 w 144960"/>
              <a:gd name="connsiteY2" fmla="*/ 72480 h 144960"/>
              <a:gd name="connsiteX3" fmla="*/ 72480 w 144960"/>
              <a:gd name="connsiteY3" fmla="*/ 0 h 144960"/>
              <a:gd name="connsiteX4" fmla="*/ 144960 w 144960"/>
              <a:gd name="connsiteY4" fmla="*/ 72480 h 1449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960" h="144960">
                <a:moveTo>
                  <a:pt x="144960" y="72480"/>
                </a:moveTo>
                <a:cubicBezTo>
                  <a:pt x="144960" y="112510"/>
                  <a:pt x="112510" y="144960"/>
                  <a:pt x="72480" y="144960"/>
                </a:cubicBezTo>
                <a:cubicBezTo>
                  <a:pt x="32450" y="144960"/>
                  <a:pt x="0" y="112510"/>
                  <a:pt x="0" y="72480"/>
                </a:cubicBezTo>
                <a:cubicBezTo>
                  <a:pt x="0" y="32450"/>
                  <a:pt x="32450" y="0"/>
                  <a:pt x="72480" y="0"/>
                </a:cubicBezTo>
                <a:cubicBezTo>
                  <a:pt x="112510" y="0"/>
                  <a:pt x="144960" y="32450"/>
                  <a:pt x="144960" y="72480"/>
                </a:cubicBezTo>
                <a:close/>
              </a:path>
            </a:pathLst>
          </a:custGeom>
          <a:solidFill>
            <a:schemeClr val="accent4"/>
          </a:solidFill>
          <a:ln w="1019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58" name="Freeform: Shape 159">
            <a:extLst>
              <a:ext uri="{FF2B5EF4-FFF2-40B4-BE49-F238E27FC236}">
                <a16:creationId xmlns:a16="http://schemas.microsoft.com/office/drawing/2014/main" id="{E2AEDDDF-8DFA-41C0-9EC9-D9BBAFC73AA8}"/>
              </a:ext>
            </a:extLst>
          </p:cNvPr>
          <p:cNvSpPr/>
          <p:nvPr/>
        </p:nvSpPr>
        <p:spPr>
          <a:xfrm>
            <a:off x="7373229" y="3869651"/>
            <a:ext cx="215602" cy="215602"/>
          </a:xfrm>
          <a:custGeom>
            <a:avLst/>
            <a:gdLst>
              <a:gd name="connsiteX0" fmla="*/ 220503 w 220502"/>
              <a:gd name="connsiteY0" fmla="*/ 110251 h 220502"/>
              <a:gd name="connsiteX1" fmla="*/ 110251 w 220502"/>
              <a:gd name="connsiteY1" fmla="*/ 220503 h 220502"/>
              <a:gd name="connsiteX2" fmla="*/ 0 w 220502"/>
              <a:gd name="connsiteY2" fmla="*/ 110251 h 220502"/>
              <a:gd name="connsiteX3" fmla="*/ 110251 w 220502"/>
              <a:gd name="connsiteY3" fmla="*/ 0 h 220502"/>
              <a:gd name="connsiteX4" fmla="*/ 220503 w 220502"/>
              <a:gd name="connsiteY4" fmla="*/ 110251 h 220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0502" h="220502">
                <a:moveTo>
                  <a:pt x="220503" y="110251"/>
                </a:moveTo>
                <a:cubicBezTo>
                  <a:pt x="220503" y="171142"/>
                  <a:pt x="171141" y="220503"/>
                  <a:pt x="110251" y="220503"/>
                </a:cubicBezTo>
                <a:cubicBezTo>
                  <a:pt x="49361" y="220503"/>
                  <a:pt x="0" y="171142"/>
                  <a:pt x="0" y="110251"/>
                </a:cubicBezTo>
                <a:cubicBezTo>
                  <a:pt x="0" y="49361"/>
                  <a:pt x="49361" y="0"/>
                  <a:pt x="110251" y="0"/>
                </a:cubicBezTo>
                <a:cubicBezTo>
                  <a:pt x="171141" y="0"/>
                  <a:pt x="220503" y="49361"/>
                  <a:pt x="220503" y="110251"/>
                </a:cubicBezTo>
                <a:close/>
              </a:path>
            </a:pathLst>
          </a:custGeom>
          <a:solidFill>
            <a:schemeClr val="accent4"/>
          </a:solidFill>
          <a:ln w="1019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59" name="Freeform: Shape 160">
            <a:extLst>
              <a:ext uri="{FF2B5EF4-FFF2-40B4-BE49-F238E27FC236}">
                <a16:creationId xmlns:a16="http://schemas.microsoft.com/office/drawing/2014/main" id="{2081B26F-22F9-41A8-8DF9-35C3FDB36445}"/>
              </a:ext>
            </a:extLst>
          </p:cNvPr>
          <p:cNvSpPr/>
          <p:nvPr/>
        </p:nvSpPr>
        <p:spPr>
          <a:xfrm>
            <a:off x="5394702" y="5545226"/>
            <a:ext cx="141739" cy="141739"/>
          </a:xfrm>
          <a:custGeom>
            <a:avLst/>
            <a:gdLst>
              <a:gd name="connsiteX0" fmla="*/ 144960 w 144960"/>
              <a:gd name="connsiteY0" fmla="*/ 72480 h 144960"/>
              <a:gd name="connsiteX1" fmla="*/ 72481 w 144960"/>
              <a:gd name="connsiteY1" fmla="*/ 144960 h 144960"/>
              <a:gd name="connsiteX2" fmla="*/ 1 w 144960"/>
              <a:gd name="connsiteY2" fmla="*/ 72480 h 144960"/>
              <a:gd name="connsiteX3" fmla="*/ 72481 w 144960"/>
              <a:gd name="connsiteY3" fmla="*/ 0 h 144960"/>
              <a:gd name="connsiteX4" fmla="*/ 144960 w 144960"/>
              <a:gd name="connsiteY4" fmla="*/ 72480 h 1449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960" h="144960">
                <a:moveTo>
                  <a:pt x="144960" y="72480"/>
                </a:moveTo>
                <a:cubicBezTo>
                  <a:pt x="144960" y="112510"/>
                  <a:pt x="112510" y="144960"/>
                  <a:pt x="72481" y="144960"/>
                </a:cubicBezTo>
                <a:cubicBezTo>
                  <a:pt x="32451" y="144960"/>
                  <a:pt x="1" y="112510"/>
                  <a:pt x="1" y="72480"/>
                </a:cubicBezTo>
                <a:cubicBezTo>
                  <a:pt x="1" y="32450"/>
                  <a:pt x="32451" y="0"/>
                  <a:pt x="72481" y="0"/>
                </a:cubicBezTo>
                <a:cubicBezTo>
                  <a:pt x="112510" y="0"/>
                  <a:pt x="144960" y="32450"/>
                  <a:pt x="144960" y="72480"/>
                </a:cubicBezTo>
                <a:close/>
              </a:path>
            </a:pathLst>
          </a:custGeom>
          <a:solidFill>
            <a:schemeClr val="accent5"/>
          </a:solidFill>
          <a:ln w="1019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60" name="Freeform: Shape 161">
            <a:extLst>
              <a:ext uri="{FF2B5EF4-FFF2-40B4-BE49-F238E27FC236}">
                <a16:creationId xmlns:a16="http://schemas.microsoft.com/office/drawing/2014/main" id="{6F266C0D-7B3A-4ED5-BD58-D2F9C74F1F80}"/>
              </a:ext>
            </a:extLst>
          </p:cNvPr>
          <p:cNvSpPr/>
          <p:nvPr/>
        </p:nvSpPr>
        <p:spPr>
          <a:xfrm>
            <a:off x="5347346" y="6017347"/>
            <a:ext cx="141739" cy="141739"/>
          </a:xfrm>
          <a:custGeom>
            <a:avLst/>
            <a:gdLst>
              <a:gd name="connsiteX0" fmla="*/ 144960 w 144960"/>
              <a:gd name="connsiteY0" fmla="*/ 72480 h 144960"/>
              <a:gd name="connsiteX1" fmla="*/ 72481 w 144960"/>
              <a:gd name="connsiteY1" fmla="*/ 144960 h 144960"/>
              <a:gd name="connsiteX2" fmla="*/ 1 w 144960"/>
              <a:gd name="connsiteY2" fmla="*/ 72480 h 144960"/>
              <a:gd name="connsiteX3" fmla="*/ 72481 w 144960"/>
              <a:gd name="connsiteY3" fmla="*/ 0 h 144960"/>
              <a:gd name="connsiteX4" fmla="*/ 144960 w 144960"/>
              <a:gd name="connsiteY4" fmla="*/ 72480 h 1449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960" h="144960">
                <a:moveTo>
                  <a:pt x="144960" y="72480"/>
                </a:moveTo>
                <a:cubicBezTo>
                  <a:pt x="144960" y="112510"/>
                  <a:pt x="112510" y="144960"/>
                  <a:pt x="72481" y="144960"/>
                </a:cubicBezTo>
                <a:cubicBezTo>
                  <a:pt x="32451" y="144960"/>
                  <a:pt x="1" y="112510"/>
                  <a:pt x="1" y="72480"/>
                </a:cubicBezTo>
                <a:cubicBezTo>
                  <a:pt x="1" y="32450"/>
                  <a:pt x="32451" y="0"/>
                  <a:pt x="72481" y="0"/>
                </a:cubicBezTo>
                <a:cubicBezTo>
                  <a:pt x="112510" y="0"/>
                  <a:pt x="144960" y="32450"/>
                  <a:pt x="144960" y="72480"/>
                </a:cubicBezTo>
                <a:close/>
              </a:path>
            </a:pathLst>
          </a:custGeom>
          <a:solidFill>
            <a:schemeClr val="accent5"/>
          </a:solidFill>
          <a:ln w="1019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61" name="Freeform: Shape 162">
            <a:extLst>
              <a:ext uri="{FF2B5EF4-FFF2-40B4-BE49-F238E27FC236}">
                <a16:creationId xmlns:a16="http://schemas.microsoft.com/office/drawing/2014/main" id="{D37C0123-6113-416F-BBB1-E513D23FC6F6}"/>
              </a:ext>
            </a:extLst>
          </p:cNvPr>
          <p:cNvSpPr/>
          <p:nvPr/>
        </p:nvSpPr>
        <p:spPr>
          <a:xfrm>
            <a:off x="4937192" y="3602007"/>
            <a:ext cx="238100" cy="238100"/>
          </a:xfrm>
          <a:custGeom>
            <a:avLst/>
            <a:gdLst>
              <a:gd name="connsiteX0" fmla="*/ 296046 w 296045"/>
              <a:gd name="connsiteY0" fmla="*/ 148023 h 296045"/>
              <a:gd name="connsiteX1" fmla="*/ 148023 w 296045"/>
              <a:gd name="connsiteY1" fmla="*/ 296045 h 296045"/>
              <a:gd name="connsiteX2" fmla="*/ 0 w 296045"/>
              <a:gd name="connsiteY2" fmla="*/ 148023 h 296045"/>
              <a:gd name="connsiteX3" fmla="*/ 148023 w 296045"/>
              <a:gd name="connsiteY3" fmla="*/ 0 h 296045"/>
              <a:gd name="connsiteX4" fmla="*/ 296046 w 296045"/>
              <a:gd name="connsiteY4" fmla="*/ 148023 h 2960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6045" h="296045">
                <a:moveTo>
                  <a:pt x="296046" y="148023"/>
                </a:moveTo>
                <a:cubicBezTo>
                  <a:pt x="296046" y="229773"/>
                  <a:pt x="229773" y="296045"/>
                  <a:pt x="148023" y="296045"/>
                </a:cubicBezTo>
                <a:cubicBezTo>
                  <a:pt x="66272" y="296045"/>
                  <a:pt x="0" y="229773"/>
                  <a:pt x="0" y="148023"/>
                </a:cubicBezTo>
                <a:cubicBezTo>
                  <a:pt x="0" y="66272"/>
                  <a:pt x="66272" y="0"/>
                  <a:pt x="148023" y="0"/>
                </a:cubicBezTo>
                <a:cubicBezTo>
                  <a:pt x="229773" y="0"/>
                  <a:pt x="296046" y="66272"/>
                  <a:pt x="296046" y="148023"/>
                </a:cubicBezTo>
                <a:close/>
              </a:path>
            </a:pathLst>
          </a:custGeom>
          <a:solidFill>
            <a:schemeClr val="accent3"/>
          </a:solidFill>
          <a:ln w="1019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62" name="Freeform: Shape 163">
            <a:extLst>
              <a:ext uri="{FF2B5EF4-FFF2-40B4-BE49-F238E27FC236}">
                <a16:creationId xmlns:a16="http://schemas.microsoft.com/office/drawing/2014/main" id="{B89E177F-EB29-4753-8AEF-C1C8541015D0}"/>
              </a:ext>
            </a:extLst>
          </p:cNvPr>
          <p:cNvSpPr/>
          <p:nvPr/>
        </p:nvSpPr>
        <p:spPr>
          <a:xfrm>
            <a:off x="5285209" y="3583415"/>
            <a:ext cx="207617" cy="207617"/>
          </a:xfrm>
          <a:custGeom>
            <a:avLst/>
            <a:gdLst>
              <a:gd name="connsiteX0" fmla="*/ 212336 w 212336"/>
              <a:gd name="connsiteY0" fmla="*/ 106168 h 212336"/>
              <a:gd name="connsiteX1" fmla="*/ 106168 w 212336"/>
              <a:gd name="connsiteY1" fmla="*/ 212336 h 212336"/>
              <a:gd name="connsiteX2" fmla="*/ 0 w 212336"/>
              <a:gd name="connsiteY2" fmla="*/ 106168 h 212336"/>
              <a:gd name="connsiteX3" fmla="*/ 106168 w 212336"/>
              <a:gd name="connsiteY3" fmla="*/ 0 h 212336"/>
              <a:gd name="connsiteX4" fmla="*/ 212336 w 212336"/>
              <a:gd name="connsiteY4" fmla="*/ 106168 h 2123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2336" h="212336">
                <a:moveTo>
                  <a:pt x="212336" y="106168"/>
                </a:moveTo>
                <a:cubicBezTo>
                  <a:pt x="212336" y="164803"/>
                  <a:pt x="164803" y="212336"/>
                  <a:pt x="106168" y="212336"/>
                </a:cubicBezTo>
                <a:cubicBezTo>
                  <a:pt x="47533" y="212336"/>
                  <a:pt x="0" y="164803"/>
                  <a:pt x="0" y="106168"/>
                </a:cubicBezTo>
                <a:cubicBezTo>
                  <a:pt x="0" y="47533"/>
                  <a:pt x="47533" y="0"/>
                  <a:pt x="106168" y="0"/>
                </a:cubicBezTo>
                <a:cubicBezTo>
                  <a:pt x="164803" y="0"/>
                  <a:pt x="212336" y="47533"/>
                  <a:pt x="212336" y="106168"/>
                </a:cubicBezTo>
                <a:close/>
              </a:path>
            </a:pathLst>
          </a:custGeom>
          <a:solidFill>
            <a:schemeClr val="accent3"/>
          </a:solidFill>
          <a:ln w="1019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63" name="Freeform: Shape 164">
            <a:extLst>
              <a:ext uri="{FF2B5EF4-FFF2-40B4-BE49-F238E27FC236}">
                <a16:creationId xmlns:a16="http://schemas.microsoft.com/office/drawing/2014/main" id="{09A95113-269F-4EED-A5E3-EEAF63146E93}"/>
              </a:ext>
            </a:extLst>
          </p:cNvPr>
          <p:cNvSpPr/>
          <p:nvPr/>
        </p:nvSpPr>
        <p:spPr>
          <a:xfrm>
            <a:off x="5818520" y="3614710"/>
            <a:ext cx="289466" cy="289466"/>
          </a:xfrm>
          <a:custGeom>
            <a:avLst/>
            <a:gdLst>
              <a:gd name="connsiteX0" fmla="*/ 296045 w 296045"/>
              <a:gd name="connsiteY0" fmla="*/ 148023 h 296045"/>
              <a:gd name="connsiteX1" fmla="*/ 148023 w 296045"/>
              <a:gd name="connsiteY1" fmla="*/ 296045 h 296045"/>
              <a:gd name="connsiteX2" fmla="*/ 0 w 296045"/>
              <a:gd name="connsiteY2" fmla="*/ 148023 h 296045"/>
              <a:gd name="connsiteX3" fmla="*/ 148023 w 296045"/>
              <a:gd name="connsiteY3" fmla="*/ 0 h 296045"/>
              <a:gd name="connsiteX4" fmla="*/ 296045 w 296045"/>
              <a:gd name="connsiteY4" fmla="*/ 148023 h 2960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6045" h="296045">
                <a:moveTo>
                  <a:pt x="296045" y="148023"/>
                </a:moveTo>
                <a:cubicBezTo>
                  <a:pt x="296045" y="229773"/>
                  <a:pt x="229773" y="296045"/>
                  <a:pt x="148023" y="296045"/>
                </a:cubicBezTo>
                <a:cubicBezTo>
                  <a:pt x="66272" y="296045"/>
                  <a:pt x="0" y="229773"/>
                  <a:pt x="0" y="148023"/>
                </a:cubicBezTo>
                <a:cubicBezTo>
                  <a:pt x="0" y="66272"/>
                  <a:pt x="66272" y="0"/>
                  <a:pt x="148023" y="0"/>
                </a:cubicBezTo>
                <a:cubicBezTo>
                  <a:pt x="229773" y="0"/>
                  <a:pt x="296045" y="66272"/>
                  <a:pt x="296045" y="148023"/>
                </a:cubicBezTo>
                <a:close/>
              </a:path>
            </a:pathLst>
          </a:custGeom>
          <a:solidFill>
            <a:schemeClr val="accent1"/>
          </a:solidFill>
          <a:ln w="1019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64" name="Freeform: Shape 166">
            <a:extLst>
              <a:ext uri="{FF2B5EF4-FFF2-40B4-BE49-F238E27FC236}">
                <a16:creationId xmlns:a16="http://schemas.microsoft.com/office/drawing/2014/main" id="{40DD8B79-38D1-4575-B1DD-A2F0CA0DD99B}"/>
              </a:ext>
            </a:extLst>
          </p:cNvPr>
          <p:cNvSpPr/>
          <p:nvPr/>
        </p:nvSpPr>
        <p:spPr>
          <a:xfrm>
            <a:off x="5558253" y="3757977"/>
            <a:ext cx="141739" cy="141739"/>
          </a:xfrm>
          <a:custGeom>
            <a:avLst/>
            <a:gdLst>
              <a:gd name="connsiteX0" fmla="*/ 144960 w 144960"/>
              <a:gd name="connsiteY0" fmla="*/ 72480 h 144960"/>
              <a:gd name="connsiteX1" fmla="*/ 72480 w 144960"/>
              <a:gd name="connsiteY1" fmla="*/ 144960 h 144960"/>
              <a:gd name="connsiteX2" fmla="*/ 0 w 144960"/>
              <a:gd name="connsiteY2" fmla="*/ 72480 h 144960"/>
              <a:gd name="connsiteX3" fmla="*/ 72480 w 144960"/>
              <a:gd name="connsiteY3" fmla="*/ 0 h 144960"/>
              <a:gd name="connsiteX4" fmla="*/ 144960 w 144960"/>
              <a:gd name="connsiteY4" fmla="*/ 72480 h 1449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960" h="144960">
                <a:moveTo>
                  <a:pt x="144960" y="72480"/>
                </a:moveTo>
                <a:cubicBezTo>
                  <a:pt x="144960" y="112510"/>
                  <a:pt x="112510" y="144960"/>
                  <a:pt x="72480" y="144960"/>
                </a:cubicBezTo>
                <a:cubicBezTo>
                  <a:pt x="32450" y="144960"/>
                  <a:pt x="0" y="112510"/>
                  <a:pt x="0" y="72480"/>
                </a:cubicBezTo>
                <a:cubicBezTo>
                  <a:pt x="0" y="32450"/>
                  <a:pt x="32450" y="0"/>
                  <a:pt x="72480" y="0"/>
                </a:cubicBezTo>
                <a:cubicBezTo>
                  <a:pt x="112510" y="0"/>
                  <a:pt x="144960" y="32450"/>
                  <a:pt x="144960" y="72480"/>
                </a:cubicBezTo>
                <a:close/>
              </a:path>
            </a:pathLst>
          </a:custGeom>
          <a:solidFill>
            <a:schemeClr val="accent3"/>
          </a:solidFill>
          <a:ln w="1019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65" name="Freeform: Shape 167">
            <a:extLst>
              <a:ext uri="{FF2B5EF4-FFF2-40B4-BE49-F238E27FC236}">
                <a16:creationId xmlns:a16="http://schemas.microsoft.com/office/drawing/2014/main" id="{0FF45DF3-0A96-4317-ABFF-5ABF37F9E5C5}"/>
              </a:ext>
            </a:extLst>
          </p:cNvPr>
          <p:cNvSpPr/>
          <p:nvPr/>
        </p:nvSpPr>
        <p:spPr>
          <a:xfrm>
            <a:off x="6155157" y="2354426"/>
            <a:ext cx="141739" cy="141739"/>
          </a:xfrm>
          <a:custGeom>
            <a:avLst/>
            <a:gdLst>
              <a:gd name="connsiteX0" fmla="*/ 144960 w 144960"/>
              <a:gd name="connsiteY0" fmla="*/ 72480 h 144960"/>
              <a:gd name="connsiteX1" fmla="*/ 72480 w 144960"/>
              <a:gd name="connsiteY1" fmla="*/ 144960 h 144960"/>
              <a:gd name="connsiteX2" fmla="*/ 0 w 144960"/>
              <a:gd name="connsiteY2" fmla="*/ 72480 h 144960"/>
              <a:gd name="connsiteX3" fmla="*/ 72480 w 144960"/>
              <a:gd name="connsiteY3" fmla="*/ 0 h 144960"/>
              <a:gd name="connsiteX4" fmla="*/ 144960 w 144960"/>
              <a:gd name="connsiteY4" fmla="*/ 72480 h 1449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960" h="144960">
                <a:moveTo>
                  <a:pt x="144960" y="72480"/>
                </a:moveTo>
                <a:cubicBezTo>
                  <a:pt x="144960" y="112510"/>
                  <a:pt x="112510" y="144960"/>
                  <a:pt x="72480" y="144960"/>
                </a:cubicBezTo>
                <a:cubicBezTo>
                  <a:pt x="32450" y="144960"/>
                  <a:pt x="0" y="112510"/>
                  <a:pt x="0" y="72480"/>
                </a:cubicBezTo>
                <a:cubicBezTo>
                  <a:pt x="0" y="32450"/>
                  <a:pt x="32450" y="0"/>
                  <a:pt x="72480" y="0"/>
                </a:cubicBezTo>
                <a:cubicBezTo>
                  <a:pt x="112510" y="0"/>
                  <a:pt x="144960" y="32450"/>
                  <a:pt x="144960" y="72480"/>
                </a:cubicBezTo>
                <a:close/>
              </a:path>
            </a:pathLst>
          </a:custGeom>
          <a:solidFill>
            <a:schemeClr val="accent1"/>
          </a:solidFill>
          <a:ln w="1019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66" name="Freeform: Shape 168">
            <a:extLst>
              <a:ext uri="{FF2B5EF4-FFF2-40B4-BE49-F238E27FC236}">
                <a16:creationId xmlns:a16="http://schemas.microsoft.com/office/drawing/2014/main" id="{7D55E323-19FF-48E5-9529-9BCC7642D286}"/>
              </a:ext>
            </a:extLst>
          </p:cNvPr>
          <p:cNvSpPr/>
          <p:nvPr/>
        </p:nvSpPr>
        <p:spPr>
          <a:xfrm>
            <a:off x="5988971" y="2805594"/>
            <a:ext cx="207617" cy="207617"/>
          </a:xfrm>
          <a:custGeom>
            <a:avLst/>
            <a:gdLst>
              <a:gd name="connsiteX0" fmla="*/ 212336 w 212336"/>
              <a:gd name="connsiteY0" fmla="*/ 106168 h 212336"/>
              <a:gd name="connsiteX1" fmla="*/ 106168 w 212336"/>
              <a:gd name="connsiteY1" fmla="*/ 212336 h 212336"/>
              <a:gd name="connsiteX2" fmla="*/ 0 w 212336"/>
              <a:gd name="connsiteY2" fmla="*/ 106168 h 212336"/>
              <a:gd name="connsiteX3" fmla="*/ 106168 w 212336"/>
              <a:gd name="connsiteY3" fmla="*/ 0 h 212336"/>
              <a:gd name="connsiteX4" fmla="*/ 212336 w 212336"/>
              <a:gd name="connsiteY4" fmla="*/ 106168 h 2123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2336" h="212336">
                <a:moveTo>
                  <a:pt x="212336" y="106168"/>
                </a:moveTo>
                <a:cubicBezTo>
                  <a:pt x="212336" y="164803"/>
                  <a:pt x="164803" y="212336"/>
                  <a:pt x="106168" y="212336"/>
                </a:cubicBezTo>
                <a:cubicBezTo>
                  <a:pt x="47533" y="212336"/>
                  <a:pt x="0" y="164803"/>
                  <a:pt x="0" y="106168"/>
                </a:cubicBezTo>
                <a:cubicBezTo>
                  <a:pt x="0" y="47533"/>
                  <a:pt x="47533" y="0"/>
                  <a:pt x="106168" y="0"/>
                </a:cubicBezTo>
                <a:cubicBezTo>
                  <a:pt x="164803" y="0"/>
                  <a:pt x="212336" y="47533"/>
                  <a:pt x="212336" y="106168"/>
                </a:cubicBezTo>
                <a:close/>
              </a:path>
            </a:pathLst>
          </a:custGeom>
          <a:solidFill>
            <a:schemeClr val="accent1"/>
          </a:solidFill>
          <a:ln w="1019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67" name="Freeform: Shape 170">
            <a:extLst>
              <a:ext uri="{FF2B5EF4-FFF2-40B4-BE49-F238E27FC236}">
                <a16:creationId xmlns:a16="http://schemas.microsoft.com/office/drawing/2014/main" id="{C2909D50-DDC2-4702-90A5-E805B44D46D8}"/>
              </a:ext>
            </a:extLst>
          </p:cNvPr>
          <p:cNvSpPr/>
          <p:nvPr/>
        </p:nvSpPr>
        <p:spPr>
          <a:xfrm>
            <a:off x="6217985" y="1974128"/>
            <a:ext cx="207617" cy="207617"/>
          </a:xfrm>
          <a:custGeom>
            <a:avLst/>
            <a:gdLst>
              <a:gd name="connsiteX0" fmla="*/ 212336 w 212336"/>
              <a:gd name="connsiteY0" fmla="*/ 106168 h 212336"/>
              <a:gd name="connsiteX1" fmla="*/ 106168 w 212336"/>
              <a:gd name="connsiteY1" fmla="*/ 212336 h 212336"/>
              <a:gd name="connsiteX2" fmla="*/ 0 w 212336"/>
              <a:gd name="connsiteY2" fmla="*/ 106168 h 212336"/>
              <a:gd name="connsiteX3" fmla="*/ 106168 w 212336"/>
              <a:gd name="connsiteY3" fmla="*/ 0 h 212336"/>
              <a:gd name="connsiteX4" fmla="*/ 212336 w 212336"/>
              <a:gd name="connsiteY4" fmla="*/ 106168 h 2123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2336" h="212336">
                <a:moveTo>
                  <a:pt x="212336" y="106168"/>
                </a:moveTo>
                <a:cubicBezTo>
                  <a:pt x="212336" y="164803"/>
                  <a:pt x="164803" y="212336"/>
                  <a:pt x="106168" y="212336"/>
                </a:cubicBezTo>
                <a:cubicBezTo>
                  <a:pt x="47533" y="212336"/>
                  <a:pt x="0" y="164803"/>
                  <a:pt x="0" y="106168"/>
                </a:cubicBezTo>
                <a:cubicBezTo>
                  <a:pt x="0" y="47533"/>
                  <a:pt x="47533" y="0"/>
                  <a:pt x="106168" y="0"/>
                </a:cubicBezTo>
                <a:cubicBezTo>
                  <a:pt x="164803" y="0"/>
                  <a:pt x="212336" y="47533"/>
                  <a:pt x="212336" y="106168"/>
                </a:cubicBezTo>
                <a:close/>
              </a:path>
            </a:pathLst>
          </a:custGeom>
          <a:solidFill>
            <a:schemeClr val="accent1"/>
          </a:solidFill>
          <a:ln w="1019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68" name="Freeform: Shape 171">
            <a:extLst>
              <a:ext uri="{FF2B5EF4-FFF2-40B4-BE49-F238E27FC236}">
                <a16:creationId xmlns:a16="http://schemas.microsoft.com/office/drawing/2014/main" id="{5B208B69-4D4C-465F-9230-E910081497E4}"/>
              </a:ext>
            </a:extLst>
          </p:cNvPr>
          <p:cNvSpPr/>
          <p:nvPr/>
        </p:nvSpPr>
        <p:spPr>
          <a:xfrm>
            <a:off x="5799005" y="5185307"/>
            <a:ext cx="141739" cy="141739"/>
          </a:xfrm>
          <a:custGeom>
            <a:avLst/>
            <a:gdLst>
              <a:gd name="connsiteX0" fmla="*/ 144960 w 144960"/>
              <a:gd name="connsiteY0" fmla="*/ 72480 h 144960"/>
              <a:gd name="connsiteX1" fmla="*/ 72480 w 144960"/>
              <a:gd name="connsiteY1" fmla="*/ 144960 h 144960"/>
              <a:gd name="connsiteX2" fmla="*/ 0 w 144960"/>
              <a:gd name="connsiteY2" fmla="*/ 72480 h 144960"/>
              <a:gd name="connsiteX3" fmla="*/ 72480 w 144960"/>
              <a:gd name="connsiteY3" fmla="*/ 0 h 144960"/>
              <a:gd name="connsiteX4" fmla="*/ 144960 w 144960"/>
              <a:gd name="connsiteY4" fmla="*/ 72480 h 1449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960" h="144960">
                <a:moveTo>
                  <a:pt x="144960" y="72480"/>
                </a:moveTo>
                <a:cubicBezTo>
                  <a:pt x="144960" y="112510"/>
                  <a:pt x="112510" y="144960"/>
                  <a:pt x="72480" y="144960"/>
                </a:cubicBezTo>
                <a:cubicBezTo>
                  <a:pt x="32450" y="144960"/>
                  <a:pt x="0" y="112510"/>
                  <a:pt x="0" y="72480"/>
                </a:cubicBezTo>
                <a:cubicBezTo>
                  <a:pt x="0" y="32450"/>
                  <a:pt x="32450" y="0"/>
                  <a:pt x="72480" y="0"/>
                </a:cubicBezTo>
                <a:cubicBezTo>
                  <a:pt x="112510" y="0"/>
                  <a:pt x="144960" y="32450"/>
                  <a:pt x="144960" y="72480"/>
                </a:cubicBezTo>
                <a:close/>
              </a:path>
            </a:pathLst>
          </a:custGeom>
          <a:solidFill>
            <a:schemeClr val="accent5"/>
          </a:solidFill>
          <a:ln w="1019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Tree>
    <p:extLst>
      <p:ext uri="{BB962C8B-B14F-4D97-AF65-F5344CB8AC3E}">
        <p14:creationId xmlns:p14="http://schemas.microsoft.com/office/powerpoint/2010/main" val="3587050195"/>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par>
                          <p:cTn id="8" fill="hold">
                            <p:stCondLst>
                              <p:cond delay="500"/>
                            </p:stCondLst>
                            <p:childTnLst>
                              <p:par>
                                <p:cTn id="9" presetID="22" presetClass="entr" presetSubtype="4" fill="hold" grpId="0" nodeType="afterEffect">
                                  <p:stCondLst>
                                    <p:cond delay="0"/>
                                  </p:stCondLst>
                                  <p:childTnLst>
                                    <p:set>
                                      <p:cBhvr>
                                        <p:cTn id="10" dur="1" fill="hold">
                                          <p:stCondLst>
                                            <p:cond delay="0"/>
                                          </p:stCondLst>
                                        </p:cTn>
                                        <p:tgtEl>
                                          <p:spTgt spid="3"/>
                                        </p:tgtEl>
                                        <p:attrNameLst>
                                          <p:attrName>style.visibility</p:attrName>
                                        </p:attrNameLst>
                                      </p:cBhvr>
                                      <p:to>
                                        <p:strVal val="visible"/>
                                      </p:to>
                                    </p:set>
                                    <p:animEffect transition="in" filter="wipe(down)">
                                      <p:cBhvr>
                                        <p:cTn id="11" dur="500"/>
                                        <p:tgtEl>
                                          <p:spTgt spid="3"/>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4"/>
                                        </p:tgtEl>
                                        <p:attrNameLst>
                                          <p:attrName>style.visibility</p:attrName>
                                        </p:attrNameLst>
                                      </p:cBhvr>
                                      <p:to>
                                        <p:strVal val="visible"/>
                                      </p:to>
                                    </p:set>
                                    <p:animEffect transition="in" filter="fade">
                                      <p:cBhvr>
                                        <p:cTn id="15" dur="500"/>
                                        <p:tgtEl>
                                          <p:spTgt spid="4"/>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5"/>
                                        </p:tgtEl>
                                        <p:attrNameLst>
                                          <p:attrName>style.visibility</p:attrName>
                                        </p:attrNameLst>
                                      </p:cBhvr>
                                      <p:to>
                                        <p:strVal val="visible"/>
                                      </p:to>
                                    </p:set>
                                    <p:animEffect transition="in" filter="fade">
                                      <p:cBhvr>
                                        <p:cTn id="18" dur="500"/>
                                        <p:tgtEl>
                                          <p:spTgt spid="5"/>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6"/>
                                        </p:tgtEl>
                                        <p:attrNameLst>
                                          <p:attrName>style.visibility</p:attrName>
                                        </p:attrNameLst>
                                      </p:cBhvr>
                                      <p:to>
                                        <p:strVal val="visible"/>
                                      </p:to>
                                    </p:set>
                                    <p:animEffect transition="in" filter="fade">
                                      <p:cBhvr>
                                        <p:cTn id="21" dur="500"/>
                                        <p:tgtEl>
                                          <p:spTgt spid="6"/>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7"/>
                                        </p:tgtEl>
                                        <p:attrNameLst>
                                          <p:attrName>style.visibility</p:attrName>
                                        </p:attrNameLst>
                                      </p:cBhvr>
                                      <p:to>
                                        <p:strVal val="visible"/>
                                      </p:to>
                                    </p:set>
                                    <p:animEffect transition="in" filter="fade">
                                      <p:cBhvr>
                                        <p:cTn id="24" dur="500"/>
                                        <p:tgtEl>
                                          <p:spTgt spid="7"/>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8"/>
                                        </p:tgtEl>
                                        <p:attrNameLst>
                                          <p:attrName>style.visibility</p:attrName>
                                        </p:attrNameLst>
                                      </p:cBhvr>
                                      <p:to>
                                        <p:strVal val="visible"/>
                                      </p:to>
                                    </p:set>
                                    <p:animEffect transition="in" filter="fade">
                                      <p:cBhvr>
                                        <p:cTn id="27" dur="500"/>
                                        <p:tgtEl>
                                          <p:spTgt spid="8"/>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9"/>
                                        </p:tgtEl>
                                        <p:attrNameLst>
                                          <p:attrName>style.visibility</p:attrName>
                                        </p:attrNameLst>
                                      </p:cBhvr>
                                      <p:to>
                                        <p:strVal val="visible"/>
                                      </p:to>
                                    </p:set>
                                    <p:animEffect transition="in" filter="fade">
                                      <p:cBhvr>
                                        <p:cTn id="30" dur="500"/>
                                        <p:tgtEl>
                                          <p:spTgt spid="9"/>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10"/>
                                        </p:tgtEl>
                                        <p:attrNameLst>
                                          <p:attrName>style.visibility</p:attrName>
                                        </p:attrNameLst>
                                      </p:cBhvr>
                                      <p:to>
                                        <p:strVal val="visible"/>
                                      </p:to>
                                    </p:set>
                                    <p:animEffect transition="in" filter="fade">
                                      <p:cBhvr>
                                        <p:cTn id="33" dur="500"/>
                                        <p:tgtEl>
                                          <p:spTgt spid="10"/>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11"/>
                                        </p:tgtEl>
                                        <p:attrNameLst>
                                          <p:attrName>style.visibility</p:attrName>
                                        </p:attrNameLst>
                                      </p:cBhvr>
                                      <p:to>
                                        <p:strVal val="visible"/>
                                      </p:to>
                                    </p:set>
                                    <p:animEffect transition="in" filter="fade">
                                      <p:cBhvr>
                                        <p:cTn id="36" dur="500"/>
                                        <p:tgtEl>
                                          <p:spTgt spid="11"/>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12"/>
                                        </p:tgtEl>
                                        <p:attrNameLst>
                                          <p:attrName>style.visibility</p:attrName>
                                        </p:attrNameLst>
                                      </p:cBhvr>
                                      <p:to>
                                        <p:strVal val="visible"/>
                                      </p:to>
                                    </p:set>
                                    <p:animEffect transition="in" filter="fade">
                                      <p:cBhvr>
                                        <p:cTn id="39" dur="500"/>
                                        <p:tgtEl>
                                          <p:spTgt spid="12"/>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13"/>
                                        </p:tgtEl>
                                        <p:attrNameLst>
                                          <p:attrName>style.visibility</p:attrName>
                                        </p:attrNameLst>
                                      </p:cBhvr>
                                      <p:to>
                                        <p:strVal val="visible"/>
                                      </p:to>
                                    </p:set>
                                    <p:animEffect transition="in" filter="fade">
                                      <p:cBhvr>
                                        <p:cTn id="42" dur="500"/>
                                        <p:tgtEl>
                                          <p:spTgt spid="13"/>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14"/>
                                        </p:tgtEl>
                                        <p:attrNameLst>
                                          <p:attrName>style.visibility</p:attrName>
                                        </p:attrNameLst>
                                      </p:cBhvr>
                                      <p:to>
                                        <p:strVal val="visible"/>
                                      </p:to>
                                    </p:set>
                                    <p:animEffect transition="in" filter="fade">
                                      <p:cBhvr>
                                        <p:cTn id="45" dur="500"/>
                                        <p:tgtEl>
                                          <p:spTgt spid="14"/>
                                        </p:tgtEl>
                                      </p:cBhvr>
                                    </p:animEffect>
                                  </p:childTnLst>
                                </p:cTn>
                              </p:par>
                              <p:par>
                                <p:cTn id="46" presetID="10" presetClass="entr" presetSubtype="0" fill="hold" grpId="0" nodeType="withEffect">
                                  <p:stCondLst>
                                    <p:cond delay="0"/>
                                  </p:stCondLst>
                                  <p:childTnLst>
                                    <p:set>
                                      <p:cBhvr>
                                        <p:cTn id="47" dur="1" fill="hold">
                                          <p:stCondLst>
                                            <p:cond delay="0"/>
                                          </p:stCondLst>
                                        </p:cTn>
                                        <p:tgtEl>
                                          <p:spTgt spid="15"/>
                                        </p:tgtEl>
                                        <p:attrNameLst>
                                          <p:attrName>style.visibility</p:attrName>
                                        </p:attrNameLst>
                                      </p:cBhvr>
                                      <p:to>
                                        <p:strVal val="visible"/>
                                      </p:to>
                                    </p:set>
                                    <p:animEffect transition="in" filter="fade">
                                      <p:cBhvr>
                                        <p:cTn id="48" dur="500"/>
                                        <p:tgtEl>
                                          <p:spTgt spid="15"/>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16"/>
                                        </p:tgtEl>
                                        <p:attrNameLst>
                                          <p:attrName>style.visibility</p:attrName>
                                        </p:attrNameLst>
                                      </p:cBhvr>
                                      <p:to>
                                        <p:strVal val="visible"/>
                                      </p:to>
                                    </p:set>
                                    <p:animEffect transition="in" filter="fade">
                                      <p:cBhvr>
                                        <p:cTn id="51" dur="500"/>
                                        <p:tgtEl>
                                          <p:spTgt spid="16"/>
                                        </p:tgtEl>
                                      </p:cBhvr>
                                    </p:animEffect>
                                  </p:childTnLst>
                                </p:cTn>
                              </p:par>
                              <p:par>
                                <p:cTn id="52" presetID="10" presetClass="entr" presetSubtype="0" fill="hold" grpId="0" nodeType="withEffect">
                                  <p:stCondLst>
                                    <p:cond delay="0"/>
                                  </p:stCondLst>
                                  <p:childTnLst>
                                    <p:set>
                                      <p:cBhvr>
                                        <p:cTn id="53" dur="1" fill="hold">
                                          <p:stCondLst>
                                            <p:cond delay="0"/>
                                          </p:stCondLst>
                                        </p:cTn>
                                        <p:tgtEl>
                                          <p:spTgt spid="17"/>
                                        </p:tgtEl>
                                        <p:attrNameLst>
                                          <p:attrName>style.visibility</p:attrName>
                                        </p:attrNameLst>
                                      </p:cBhvr>
                                      <p:to>
                                        <p:strVal val="visible"/>
                                      </p:to>
                                    </p:set>
                                    <p:animEffect transition="in" filter="fade">
                                      <p:cBhvr>
                                        <p:cTn id="54" dur="500"/>
                                        <p:tgtEl>
                                          <p:spTgt spid="17"/>
                                        </p:tgtEl>
                                      </p:cBhvr>
                                    </p:animEffect>
                                  </p:childTnLst>
                                </p:cTn>
                              </p:par>
                              <p:par>
                                <p:cTn id="55" presetID="10" presetClass="entr" presetSubtype="0" fill="hold" grpId="0" nodeType="withEffect">
                                  <p:stCondLst>
                                    <p:cond delay="0"/>
                                  </p:stCondLst>
                                  <p:childTnLst>
                                    <p:set>
                                      <p:cBhvr>
                                        <p:cTn id="56" dur="1" fill="hold">
                                          <p:stCondLst>
                                            <p:cond delay="0"/>
                                          </p:stCondLst>
                                        </p:cTn>
                                        <p:tgtEl>
                                          <p:spTgt spid="18"/>
                                        </p:tgtEl>
                                        <p:attrNameLst>
                                          <p:attrName>style.visibility</p:attrName>
                                        </p:attrNameLst>
                                      </p:cBhvr>
                                      <p:to>
                                        <p:strVal val="visible"/>
                                      </p:to>
                                    </p:set>
                                    <p:animEffect transition="in" filter="fade">
                                      <p:cBhvr>
                                        <p:cTn id="57" dur="500"/>
                                        <p:tgtEl>
                                          <p:spTgt spid="18"/>
                                        </p:tgtEl>
                                      </p:cBhvr>
                                    </p:animEffect>
                                  </p:childTnLst>
                                </p:cTn>
                              </p:par>
                              <p:par>
                                <p:cTn id="58" presetID="10" presetClass="entr" presetSubtype="0" fill="hold" grpId="0" nodeType="withEffect">
                                  <p:stCondLst>
                                    <p:cond delay="0"/>
                                  </p:stCondLst>
                                  <p:childTnLst>
                                    <p:set>
                                      <p:cBhvr>
                                        <p:cTn id="59" dur="1" fill="hold">
                                          <p:stCondLst>
                                            <p:cond delay="0"/>
                                          </p:stCondLst>
                                        </p:cTn>
                                        <p:tgtEl>
                                          <p:spTgt spid="19"/>
                                        </p:tgtEl>
                                        <p:attrNameLst>
                                          <p:attrName>style.visibility</p:attrName>
                                        </p:attrNameLst>
                                      </p:cBhvr>
                                      <p:to>
                                        <p:strVal val="visible"/>
                                      </p:to>
                                    </p:set>
                                    <p:animEffect transition="in" filter="fade">
                                      <p:cBhvr>
                                        <p:cTn id="60" dur="500"/>
                                        <p:tgtEl>
                                          <p:spTgt spid="19"/>
                                        </p:tgtEl>
                                      </p:cBhvr>
                                    </p:animEffect>
                                  </p:childTnLst>
                                </p:cTn>
                              </p:par>
                              <p:par>
                                <p:cTn id="61" presetID="10" presetClass="entr" presetSubtype="0" fill="hold" grpId="0" nodeType="withEffect">
                                  <p:stCondLst>
                                    <p:cond delay="0"/>
                                  </p:stCondLst>
                                  <p:childTnLst>
                                    <p:set>
                                      <p:cBhvr>
                                        <p:cTn id="62" dur="1" fill="hold">
                                          <p:stCondLst>
                                            <p:cond delay="0"/>
                                          </p:stCondLst>
                                        </p:cTn>
                                        <p:tgtEl>
                                          <p:spTgt spid="20"/>
                                        </p:tgtEl>
                                        <p:attrNameLst>
                                          <p:attrName>style.visibility</p:attrName>
                                        </p:attrNameLst>
                                      </p:cBhvr>
                                      <p:to>
                                        <p:strVal val="visible"/>
                                      </p:to>
                                    </p:set>
                                    <p:animEffect transition="in" filter="fade">
                                      <p:cBhvr>
                                        <p:cTn id="63" dur="500"/>
                                        <p:tgtEl>
                                          <p:spTgt spid="20"/>
                                        </p:tgtEl>
                                      </p:cBhvr>
                                    </p:animEffect>
                                  </p:childTnLst>
                                </p:cTn>
                              </p:par>
                              <p:par>
                                <p:cTn id="64" presetID="10" presetClass="entr" presetSubtype="0" fill="hold" grpId="0" nodeType="withEffect">
                                  <p:stCondLst>
                                    <p:cond delay="0"/>
                                  </p:stCondLst>
                                  <p:childTnLst>
                                    <p:set>
                                      <p:cBhvr>
                                        <p:cTn id="65" dur="1" fill="hold">
                                          <p:stCondLst>
                                            <p:cond delay="0"/>
                                          </p:stCondLst>
                                        </p:cTn>
                                        <p:tgtEl>
                                          <p:spTgt spid="21"/>
                                        </p:tgtEl>
                                        <p:attrNameLst>
                                          <p:attrName>style.visibility</p:attrName>
                                        </p:attrNameLst>
                                      </p:cBhvr>
                                      <p:to>
                                        <p:strVal val="visible"/>
                                      </p:to>
                                    </p:set>
                                    <p:animEffect transition="in" filter="fade">
                                      <p:cBhvr>
                                        <p:cTn id="66" dur="500"/>
                                        <p:tgtEl>
                                          <p:spTgt spid="21"/>
                                        </p:tgtEl>
                                      </p:cBhvr>
                                    </p:animEffect>
                                  </p:childTnLst>
                                </p:cTn>
                              </p:par>
                              <p:par>
                                <p:cTn id="67" presetID="10" presetClass="entr" presetSubtype="0" fill="hold" grpId="0" nodeType="withEffect">
                                  <p:stCondLst>
                                    <p:cond delay="0"/>
                                  </p:stCondLst>
                                  <p:childTnLst>
                                    <p:set>
                                      <p:cBhvr>
                                        <p:cTn id="68" dur="1" fill="hold">
                                          <p:stCondLst>
                                            <p:cond delay="0"/>
                                          </p:stCondLst>
                                        </p:cTn>
                                        <p:tgtEl>
                                          <p:spTgt spid="22"/>
                                        </p:tgtEl>
                                        <p:attrNameLst>
                                          <p:attrName>style.visibility</p:attrName>
                                        </p:attrNameLst>
                                      </p:cBhvr>
                                      <p:to>
                                        <p:strVal val="visible"/>
                                      </p:to>
                                    </p:set>
                                    <p:animEffect transition="in" filter="fade">
                                      <p:cBhvr>
                                        <p:cTn id="69" dur="500"/>
                                        <p:tgtEl>
                                          <p:spTgt spid="22"/>
                                        </p:tgtEl>
                                      </p:cBhvr>
                                    </p:animEffect>
                                  </p:childTnLst>
                                </p:cTn>
                              </p:par>
                              <p:par>
                                <p:cTn id="70" presetID="10" presetClass="entr" presetSubtype="0" fill="hold" grpId="0" nodeType="withEffect">
                                  <p:stCondLst>
                                    <p:cond delay="0"/>
                                  </p:stCondLst>
                                  <p:childTnLst>
                                    <p:set>
                                      <p:cBhvr>
                                        <p:cTn id="71" dur="1" fill="hold">
                                          <p:stCondLst>
                                            <p:cond delay="0"/>
                                          </p:stCondLst>
                                        </p:cTn>
                                        <p:tgtEl>
                                          <p:spTgt spid="23"/>
                                        </p:tgtEl>
                                        <p:attrNameLst>
                                          <p:attrName>style.visibility</p:attrName>
                                        </p:attrNameLst>
                                      </p:cBhvr>
                                      <p:to>
                                        <p:strVal val="visible"/>
                                      </p:to>
                                    </p:set>
                                    <p:animEffect transition="in" filter="fade">
                                      <p:cBhvr>
                                        <p:cTn id="72" dur="500"/>
                                        <p:tgtEl>
                                          <p:spTgt spid="23"/>
                                        </p:tgtEl>
                                      </p:cBhvr>
                                    </p:animEffect>
                                  </p:childTnLst>
                                </p:cTn>
                              </p:par>
                              <p:par>
                                <p:cTn id="73" presetID="10" presetClass="entr" presetSubtype="0" fill="hold" grpId="0" nodeType="withEffect">
                                  <p:stCondLst>
                                    <p:cond delay="0"/>
                                  </p:stCondLst>
                                  <p:childTnLst>
                                    <p:set>
                                      <p:cBhvr>
                                        <p:cTn id="74" dur="1" fill="hold">
                                          <p:stCondLst>
                                            <p:cond delay="0"/>
                                          </p:stCondLst>
                                        </p:cTn>
                                        <p:tgtEl>
                                          <p:spTgt spid="24"/>
                                        </p:tgtEl>
                                        <p:attrNameLst>
                                          <p:attrName>style.visibility</p:attrName>
                                        </p:attrNameLst>
                                      </p:cBhvr>
                                      <p:to>
                                        <p:strVal val="visible"/>
                                      </p:to>
                                    </p:set>
                                    <p:animEffect transition="in" filter="fade">
                                      <p:cBhvr>
                                        <p:cTn id="75" dur="500"/>
                                        <p:tgtEl>
                                          <p:spTgt spid="24"/>
                                        </p:tgtEl>
                                      </p:cBhvr>
                                    </p:animEffect>
                                  </p:childTnLst>
                                </p:cTn>
                              </p:par>
                              <p:par>
                                <p:cTn id="76" presetID="10" presetClass="entr" presetSubtype="0" fill="hold" grpId="0" nodeType="withEffect">
                                  <p:stCondLst>
                                    <p:cond delay="0"/>
                                  </p:stCondLst>
                                  <p:childTnLst>
                                    <p:set>
                                      <p:cBhvr>
                                        <p:cTn id="77" dur="1" fill="hold">
                                          <p:stCondLst>
                                            <p:cond delay="0"/>
                                          </p:stCondLst>
                                        </p:cTn>
                                        <p:tgtEl>
                                          <p:spTgt spid="25"/>
                                        </p:tgtEl>
                                        <p:attrNameLst>
                                          <p:attrName>style.visibility</p:attrName>
                                        </p:attrNameLst>
                                      </p:cBhvr>
                                      <p:to>
                                        <p:strVal val="visible"/>
                                      </p:to>
                                    </p:set>
                                    <p:animEffect transition="in" filter="fade">
                                      <p:cBhvr>
                                        <p:cTn id="78" dur="500"/>
                                        <p:tgtEl>
                                          <p:spTgt spid="25"/>
                                        </p:tgtEl>
                                      </p:cBhvr>
                                    </p:animEffect>
                                  </p:childTnLst>
                                </p:cTn>
                              </p:par>
                              <p:par>
                                <p:cTn id="79" presetID="10" presetClass="entr" presetSubtype="0" fill="hold" grpId="0" nodeType="withEffect">
                                  <p:stCondLst>
                                    <p:cond delay="0"/>
                                  </p:stCondLst>
                                  <p:childTnLst>
                                    <p:set>
                                      <p:cBhvr>
                                        <p:cTn id="80" dur="1" fill="hold">
                                          <p:stCondLst>
                                            <p:cond delay="0"/>
                                          </p:stCondLst>
                                        </p:cTn>
                                        <p:tgtEl>
                                          <p:spTgt spid="26"/>
                                        </p:tgtEl>
                                        <p:attrNameLst>
                                          <p:attrName>style.visibility</p:attrName>
                                        </p:attrNameLst>
                                      </p:cBhvr>
                                      <p:to>
                                        <p:strVal val="visible"/>
                                      </p:to>
                                    </p:set>
                                    <p:animEffect transition="in" filter="fade">
                                      <p:cBhvr>
                                        <p:cTn id="81" dur="500"/>
                                        <p:tgtEl>
                                          <p:spTgt spid="26"/>
                                        </p:tgtEl>
                                      </p:cBhvr>
                                    </p:animEffect>
                                  </p:childTnLst>
                                </p:cTn>
                              </p:par>
                              <p:par>
                                <p:cTn id="82" presetID="10" presetClass="entr" presetSubtype="0" fill="hold" grpId="0" nodeType="withEffect">
                                  <p:stCondLst>
                                    <p:cond delay="0"/>
                                  </p:stCondLst>
                                  <p:childTnLst>
                                    <p:set>
                                      <p:cBhvr>
                                        <p:cTn id="83" dur="1" fill="hold">
                                          <p:stCondLst>
                                            <p:cond delay="0"/>
                                          </p:stCondLst>
                                        </p:cTn>
                                        <p:tgtEl>
                                          <p:spTgt spid="27"/>
                                        </p:tgtEl>
                                        <p:attrNameLst>
                                          <p:attrName>style.visibility</p:attrName>
                                        </p:attrNameLst>
                                      </p:cBhvr>
                                      <p:to>
                                        <p:strVal val="visible"/>
                                      </p:to>
                                    </p:set>
                                    <p:animEffect transition="in" filter="fade">
                                      <p:cBhvr>
                                        <p:cTn id="84" dur="500"/>
                                        <p:tgtEl>
                                          <p:spTgt spid="27"/>
                                        </p:tgtEl>
                                      </p:cBhvr>
                                    </p:animEffect>
                                  </p:childTnLst>
                                </p:cTn>
                              </p:par>
                              <p:par>
                                <p:cTn id="85" presetID="10" presetClass="entr" presetSubtype="0" fill="hold" grpId="0" nodeType="withEffect">
                                  <p:stCondLst>
                                    <p:cond delay="0"/>
                                  </p:stCondLst>
                                  <p:childTnLst>
                                    <p:set>
                                      <p:cBhvr>
                                        <p:cTn id="86" dur="1" fill="hold">
                                          <p:stCondLst>
                                            <p:cond delay="0"/>
                                          </p:stCondLst>
                                        </p:cTn>
                                        <p:tgtEl>
                                          <p:spTgt spid="28"/>
                                        </p:tgtEl>
                                        <p:attrNameLst>
                                          <p:attrName>style.visibility</p:attrName>
                                        </p:attrNameLst>
                                      </p:cBhvr>
                                      <p:to>
                                        <p:strVal val="visible"/>
                                      </p:to>
                                    </p:set>
                                    <p:animEffect transition="in" filter="fade">
                                      <p:cBhvr>
                                        <p:cTn id="87" dur="500"/>
                                        <p:tgtEl>
                                          <p:spTgt spid="28"/>
                                        </p:tgtEl>
                                      </p:cBhvr>
                                    </p:animEffect>
                                  </p:childTnLst>
                                </p:cTn>
                              </p:par>
                              <p:par>
                                <p:cTn id="88" presetID="10" presetClass="entr" presetSubtype="0" fill="hold" grpId="0" nodeType="withEffect">
                                  <p:stCondLst>
                                    <p:cond delay="0"/>
                                  </p:stCondLst>
                                  <p:childTnLst>
                                    <p:set>
                                      <p:cBhvr>
                                        <p:cTn id="89" dur="1" fill="hold">
                                          <p:stCondLst>
                                            <p:cond delay="0"/>
                                          </p:stCondLst>
                                        </p:cTn>
                                        <p:tgtEl>
                                          <p:spTgt spid="29"/>
                                        </p:tgtEl>
                                        <p:attrNameLst>
                                          <p:attrName>style.visibility</p:attrName>
                                        </p:attrNameLst>
                                      </p:cBhvr>
                                      <p:to>
                                        <p:strVal val="visible"/>
                                      </p:to>
                                    </p:set>
                                    <p:animEffect transition="in" filter="fade">
                                      <p:cBhvr>
                                        <p:cTn id="90" dur="500"/>
                                        <p:tgtEl>
                                          <p:spTgt spid="29"/>
                                        </p:tgtEl>
                                      </p:cBhvr>
                                    </p:animEffect>
                                  </p:childTnLst>
                                </p:cTn>
                              </p:par>
                              <p:par>
                                <p:cTn id="91" presetID="10" presetClass="entr" presetSubtype="0" fill="hold" grpId="0" nodeType="withEffect">
                                  <p:stCondLst>
                                    <p:cond delay="0"/>
                                  </p:stCondLst>
                                  <p:childTnLst>
                                    <p:set>
                                      <p:cBhvr>
                                        <p:cTn id="92" dur="1" fill="hold">
                                          <p:stCondLst>
                                            <p:cond delay="0"/>
                                          </p:stCondLst>
                                        </p:cTn>
                                        <p:tgtEl>
                                          <p:spTgt spid="30"/>
                                        </p:tgtEl>
                                        <p:attrNameLst>
                                          <p:attrName>style.visibility</p:attrName>
                                        </p:attrNameLst>
                                      </p:cBhvr>
                                      <p:to>
                                        <p:strVal val="visible"/>
                                      </p:to>
                                    </p:set>
                                    <p:animEffect transition="in" filter="fade">
                                      <p:cBhvr>
                                        <p:cTn id="93" dur="500"/>
                                        <p:tgtEl>
                                          <p:spTgt spid="30"/>
                                        </p:tgtEl>
                                      </p:cBhvr>
                                    </p:animEffect>
                                  </p:childTnLst>
                                </p:cTn>
                              </p:par>
                              <p:par>
                                <p:cTn id="94" presetID="10" presetClass="entr" presetSubtype="0" fill="hold" grpId="0" nodeType="withEffect">
                                  <p:stCondLst>
                                    <p:cond delay="0"/>
                                  </p:stCondLst>
                                  <p:childTnLst>
                                    <p:set>
                                      <p:cBhvr>
                                        <p:cTn id="95" dur="1" fill="hold">
                                          <p:stCondLst>
                                            <p:cond delay="0"/>
                                          </p:stCondLst>
                                        </p:cTn>
                                        <p:tgtEl>
                                          <p:spTgt spid="31"/>
                                        </p:tgtEl>
                                        <p:attrNameLst>
                                          <p:attrName>style.visibility</p:attrName>
                                        </p:attrNameLst>
                                      </p:cBhvr>
                                      <p:to>
                                        <p:strVal val="visible"/>
                                      </p:to>
                                    </p:set>
                                    <p:animEffect transition="in" filter="fade">
                                      <p:cBhvr>
                                        <p:cTn id="96" dur="500"/>
                                        <p:tgtEl>
                                          <p:spTgt spid="31"/>
                                        </p:tgtEl>
                                      </p:cBhvr>
                                    </p:animEffect>
                                  </p:childTnLst>
                                </p:cTn>
                              </p:par>
                              <p:par>
                                <p:cTn id="97" presetID="10" presetClass="entr" presetSubtype="0" fill="hold" grpId="0" nodeType="withEffect">
                                  <p:stCondLst>
                                    <p:cond delay="0"/>
                                  </p:stCondLst>
                                  <p:childTnLst>
                                    <p:set>
                                      <p:cBhvr>
                                        <p:cTn id="98" dur="1" fill="hold">
                                          <p:stCondLst>
                                            <p:cond delay="0"/>
                                          </p:stCondLst>
                                        </p:cTn>
                                        <p:tgtEl>
                                          <p:spTgt spid="32"/>
                                        </p:tgtEl>
                                        <p:attrNameLst>
                                          <p:attrName>style.visibility</p:attrName>
                                        </p:attrNameLst>
                                      </p:cBhvr>
                                      <p:to>
                                        <p:strVal val="visible"/>
                                      </p:to>
                                    </p:set>
                                    <p:animEffect transition="in" filter="fade">
                                      <p:cBhvr>
                                        <p:cTn id="99" dur="500"/>
                                        <p:tgtEl>
                                          <p:spTgt spid="32"/>
                                        </p:tgtEl>
                                      </p:cBhvr>
                                    </p:animEffect>
                                  </p:childTnLst>
                                </p:cTn>
                              </p:par>
                              <p:par>
                                <p:cTn id="100" presetID="10" presetClass="entr" presetSubtype="0" fill="hold" grpId="0" nodeType="withEffect">
                                  <p:stCondLst>
                                    <p:cond delay="0"/>
                                  </p:stCondLst>
                                  <p:childTnLst>
                                    <p:set>
                                      <p:cBhvr>
                                        <p:cTn id="101" dur="1" fill="hold">
                                          <p:stCondLst>
                                            <p:cond delay="0"/>
                                          </p:stCondLst>
                                        </p:cTn>
                                        <p:tgtEl>
                                          <p:spTgt spid="33"/>
                                        </p:tgtEl>
                                        <p:attrNameLst>
                                          <p:attrName>style.visibility</p:attrName>
                                        </p:attrNameLst>
                                      </p:cBhvr>
                                      <p:to>
                                        <p:strVal val="visible"/>
                                      </p:to>
                                    </p:set>
                                    <p:animEffect transition="in" filter="fade">
                                      <p:cBhvr>
                                        <p:cTn id="102" dur="500"/>
                                        <p:tgtEl>
                                          <p:spTgt spid="33"/>
                                        </p:tgtEl>
                                      </p:cBhvr>
                                    </p:animEffect>
                                  </p:childTnLst>
                                </p:cTn>
                              </p:par>
                              <p:par>
                                <p:cTn id="103" presetID="10" presetClass="entr" presetSubtype="0" fill="hold" grpId="0" nodeType="withEffect">
                                  <p:stCondLst>
                                    <p:cond delay="0"/>
                                  </p:stCondLst>
                                  <p:childTnLst>
                                    <p:set>
                                      <p:cBhvr>
                                        <p:cTn id="104" dur="1" fill="hold">
                                          <p:stCondLst>
                                            <p:cond delay="0"/>
                                          </p:stCondLst>
                                        </p:cTn>
                                        <p:tgtEl>
                                          <p:spTgt spid="34"/>
                                        </p:tgtEl>
                                        <p:attrNameLst>
                                          <p:attrName>style.visibility</p:attrName>
                                        </p:attrNameLst>
                                      </p:cBhvr>
                                      <p:to>
                                        <p:strVal val="visible"/>
                                      </p:to>
                                    </p:set>
                                    <p:animEffect transition="in" filter="fade">
                                      <p:cBhvr>
                                        <p:cTn id="105" dur="500"/>
                                        <p:tgtEl>
                                          <p:spTgt spid="34"/>
                                        </p:tgtEl>
                                      </p:cBhvr>
                                    </p:animEffect>
                                  </p:childTnLst>
                                </p:cTn>
                              </p:par>
                              <p:par>
                                <p:cTn id="106" presetID="10" presetClass="entr" presetSubtype="0" fill="hold" grpId="0" nodeType="withEffect">
                                  <p:stCondLst>
                                    <p:cond delay="0"/>
                                  </p:stCondLst>
                                  <p:childTnLst>
                                    <p:set>
                                      <p:cBhvr>
                                        <p:cTn id="107" dur="1" fill="hold">
                                          <p:stCondLst>
                                            <p:cond delay="0"/>
                                          </p:stCondLst>
                                        </p:cTn>
                                        <p:tgtEl>
                                          <p:spTgt spid="35"/>
                                        </p:tgtEl>
                                        <p:attrNameLst>
                                          <p:attrName>style.visibility</p:attrName>
                                        </p:attrNameLst>
                                      </p:cBhvr>
                                      <p:to>
                                        <p:strVal val="visible"/>
                                      </p:to>
                                    </p:set>
                                    <p:animEffect transition="in" filter="fade">
                                      <p:cBhvr>
                                        <p:cTn id="108" dur="500"/>
                                        <p:tgtEl>
                                          <p:spTgt spid="35"/>
                                        </p:tgtEl>
                                      </p:cBhvr>
                                    </p:animEffect>
                                  </p:childTnLst>
                                </p:cTn>
                              </p:par>
                              <p:par>
                                <p:cTn id="109" presetID="10" presetClass="entr" presetSubtype="0" fill="hold" grpId="0" nodeType="withEffect">
                                  <p:stCondLst>
                                    <p:cond delay="0"/>
                                  </p:stCondLst>
                                  <p:childTnLst>
                                    <p:set>
                                      <p:cBhvr>
                                        <p:cTn id="110" dur="1" fill="hold">
                                          <p:stCondLst>
                                            <p:cond delay="0"/>
                                          </p:stCondLst>
                                        </p:cTn>
                                        <p:tgtEl>
                                          <p:spTgt spid="36"/>
                                        </p:tgtEl>
                                        <p:attrNameLst>
                                          <p:attrName>style.visibility</p:attrName>
                                        </p:attrNameLst>
                                      </p:cBhvr>
                                      <p:to>
                                        <p:strVal val="visible"/>
                                      </p:to>
                                    </p:set>
                                    <p:animEffect transition="in" filter="fade">
                                      <p:cBhvr>
                                        <p:cTn id="111" dur="500"/>
                                        <p:tgtEl>
                                          <p:spTgt spid="36"/>
                                        </p:tgtEl>
                                      </p:cBhvr>
                                    </p:animEffect>
                                  </p:childTnLst>
                                </p:cTn>
                              </p:par>
                              <p:par>
                                <p:cTn id="112" presetID="10" presetClass="entr" presetSubtype="0" fill="hold" grpId="0" nodeType="withEffect">
                                  <p:stCondLst>
                                    <p:cond delay="0"/>
                                  </p:stCondLst>
                                  <p:childTnLst>
                                    <p:set>
                                      <p:cBhvr>
                                        <p:cTn id="113" dur="1" fill="hold">
                                          <p:stCondLst>
                                            <p:cond delay="0"/>
                                          </p:stCondLst>
                                        </p:cTn>
                                        <p:tgtEl>
                                          <p:spTgt spid="37"/>
                                        </p:tgtEl>
                                        <p:attrNameLst>
                                          <p:attrName>style.visibility</p:attrName>
                                        </p:attrNameLst>
                                      </p:cBhvr>
                                      <p:to>
                                        <p:strVal val="visible"/>
                                      </p:to>
                                    </p:set>
                                    <p:animEffect transition="in" filter="fade">
                                      <p:cBhvr>
                                        <p:cTn id="114" dur="500"/>
                                        <p:tgtEl>
                                          <p:spTgt spid="37"/>
                                        </p:tgtEl>
                                      </p:cBhvr>
                                    </p:animEffect>
                                  </p:childTnLst>
                                </p:cTn>
                              </p:par>
                              <p:par>
                                <p:cTn id="115" presetID="10" presetClass="entr" presetSubtype="0" fill="hold" grpId="0" nodeType="withEffect">
                                  <p:stCondLst>
                                    <p:cond delay="0"/>
                                  </p:stCondLst>
                                  <p:childTnLst>
                                    <p:set>
                                      <p:cBhvr>
                                        <p:cTn id="116" dur="1" fill="hold">
                                          <p:stCondLst>
                                            <p:cond delay="0"/>
                                          </p:stCondLst>
                                        </p:cTn>
                                        <p:tgtEl>
                                          <p:spTgt spid="38"/>
                                        </p:tgtEl>
                                        <p:attrNameLst>
                                          <p:attrName>style.visibility</p:attrName>
                                        </p:attrNameLst>
                                      </p:cBhvr>
                                      <p:to>
                                        <p:strVal val="visible"/>
                                      </p:to>
                                    </p:set>
                                    <p:animEffect transition="in" filter="fade">
                                      <p:cBhvr>
                                        <p:cTn id="117" dur="500"/>
                                        <p:tgtEl>
                                          <p:spTgt spid="38"/>
                                        </p:tgtEl>
                                      </p:cBhvr>
                                    </p:animEffect>
                                  </p:childTnLst>
                                </p:cTn>
                              </p:par>
                              <p:par>
                                <p:cTn id="118" presetID="10" presetClass="entr" presetSubtype="0" fill="hold" grpId="0" nodeType="withEffect">
                                  <p:stCondLst>
                                    <p:cond delay="0"/>
                                  </p:stCondLst>
                                  <p:childTnLst>
                                    <p:set>
                                      <p:cBhvr>
                                        <p:cTn id="119" dur="1" fill="hold">
                                          <p:stCondLst>
                                            <p:cond delay="0"/>
                                          </p:stCondLst>
                                        </p:cTn>
                                        <p:tgtEl>
                                          <p:spTgt spid="57"/>
                                        </p:tgtEl>
                                        <p:attrNameLst>
                                          <p:attrName>style.visibility</p:attrName>
                                        </p:attrNameLst>
                                      </p:cBhvr>
                                      <p:to>
                                        <p:strVal val="visible"/>
                                      </p:to>
                                    </p:set>
                                    <p:animEffect transition="in" filter="fade">
                                      <p:cBhvr>
                                        <p:cTn id="120" dur="500"/>
                                        <p:tgtEl>
                                          <p:spTgt spid="57"/>
                                        </p:tgtEl>
                                      </p:cBhvr>
                                    </p:animEffect>
                                  </p:childTnLst>
                                </p:cTn>
                              </p:par>
                              <p:par>
                                <p:cTn id="121" presetID="10" presetClass="entr" presetSubtype="0" fill="hold" grpId="0" nodeType="withEffect">
                                  <p:stCondLst>
                                    <p:cond delay="0"/>
                                  </p:stCondLst>
                                  <p:childTnLst>
                                    <p:set>
                                      <p:cBhvr>
                                        <p:cTn id="122" dur="1" fill="hold">
                                          <p:stCondLst>
                                            <p:cond delay="0"/>
                                          </p:stCondLst>
                                        </p:cTn>
                                        <p:tgtEl>
                                          <p:spTgt spid="58"/>
                                        </p:tgtEl>
                                        <p:attrNameLst>
                                          <p:attrName>style.visibility</p:attrName>
                                        </p:attrNameLst>
                                      </p:cBhvr>
                                      <p:to>
                                        <p:strVal val="visible"/>
                                      </p:to>
                                    </p:set>
                                    <p:animEffect transition="in" filter="fade">
                                      <p:cBhvr>
                                        <p:cTn id="123" dur="500"/>
                                        <p:tgtEl>
                                          <p:spTgt spid="58"/>
                                        </p:tgtEl>
                                      </p:cBhvr>
                                    </p:animEffect>
                                  </p:childTnLst>
                                </p:cTn>
                              </p:par>
                              <p:par>
                                <p:cTn id="124" presetID="10" presetClass="entr" presetSubtype="0" fill="hold" grpId="0" nodeType="withEffect">
                                  <p:stCondLst>
                                    <p:cond delay="0"/>
                                  </p:stCondLst>
                                  <p:childTnLst>
                                    <p:set>
                                      <p:cBhvr>
                                        <p:cTn id="125" dur="1" fill="hold">
                                          <p:stCondLst>
                                            <p:cond delay="0"/>
                                          </p:stCondLst>
                                        </p:cTn>
                                        <p:tgtEl>
                                          <p:spTgt spid="59"/>
                                        </p:tgtEl>
                                        <p:attrNameLst>
                                          <p:attrName>style.visibility</p:attrName>
                                        </p:attrNameLst>
                                      </p:cBhvr>
                                      <p:to>
                                        <p:strVal val="visible"/>
                                      </p:to>
                                    </p:set>
                                    <p:animEffect transition="in" filter="fade">
                                      <p:cBhvr>
                                        <p:cTn id="126" dur="500"/>
                                        <p:tgtEl>
                                          <p:spTgt spid="59"/>
                                        </p:tgtEl>
                                      </p:cBhvr>
                                    </p:animEffect>
                                  </p:childTnLst>
                                </p:cTn>
                              </p:par>
                              <p:par>
                                <p:cTn id="127" presetID="10" presetClass="entr" presetSubtype="0" fill="hold" grpId="0" nodeType="withEffect">
                                  <p:stCondLst>
                                    <p:cond delay="0"/>
                                  </p:stCondLst>
                                  <p:childTnLst>
                                    <p:set>
                                      <p:cBhvr>
                                        <p:cTn id="128" dur="1" fill="hold">
                                          <p:stCondLst>
                                            <p:cond delay="0"/>
                                          </p:stCondLst>
                                        </p:cTn>
                                        <p:tgtEl>
                                          <p:spTgt spid="60"/>
                                        </p:tgtEl>
                                        <p:attrNameLst>
                                          <p:attrName>style.visibility</p:attrName>
                                        </p:attrNameLst>
                                      </p:cBhvr>
                                      <p:to>
                                        <p:strVal val="visible"/>
                                      </p:to>
                                    </p:set>
                                    <p:animEffect transition="in" filter="fade">
                                      <p:cBhvr>
                                        <p:cTn id="129" dur="500"/>
                                        <p:tgtEl>
                                          <p:spTgt spid="60"/>
                                        </p:tgtEl>
                                      </p:cBhvr>
                                    </p:animEffect>
                                  </p:childTnLst>
                                </p:cTn>
                              </p:par>
                              <p:par>
                                <p:cTn id="130" presetID="10" presetClass="entr" presetSubtype="0" fill="hold" grpId="0" nodeType="withEffect">
                                  <p:stCondLst>
                                    <p:cond delay="0"/>
                                  </p:stCondLst>
                                  <p:childTnLst>
                                    <p:set>
                                      <p:cBhvr>
                                        <p:cTn id="131" dur="1" fill="hold">
                                          <p:stCondLst>
                                            <p:cond delay="0"/>
                                          </p:stCondLst>
                                        </p:cTn>
                                        <p:tgtEl>
                                          <p:spTgt spid="61"/>
                                        </p:tgtEl>
                                        <p:attrNameLst>
                                          <p:attrName>style.visibility</p:attrName>
                                        </p:attrNameLst>
                                      </p:cBhvr>
                                      <p:to>
                                        <p:strVal val="visible"/>
                                      </p:to>
                                    </p:set>
                                    <p:animEffect transition="in" filter="fade">
                                      <p:cBhvr>
                                        <p:cTn id="132" dur="500"/>
                                        <p:tgtEl>
                                          <p:spTgt spid="61"/>
                                        </p:tgtEl>
                                      </p:cBhvr>
                                    </p:animEffect>
                                  </p:childTnLst>
                                </p:cTn>
                              </p:par>
                              <p:par>
                                <p:cTn id="133" presetID="10" presetClass="entr" presetSubtype="0" fill="hold" grpId="0" nodeType="withEffect">
                                  <p:stCondLst>
                                    <p:cond delay="0"/>
                                  </p:stCondLst>
                                  <p:childTnLst>
                                    <p:set>
                                      <p:cBhvr>
                                        <p:cTn id="134" dur="1" fill="hold">
                                          <p:stCondLst>
                                            <p:cond delay="0"/>
                                          </p:stCondLst>
                                        </p:cTn>
                                        <p:tgtEl>
                                          <p:spTgt spid="62"/>
                                        </p:tgtEl>
                                        <p:attrNameLst>
                                          <p:attrName>style.visibility</p:attrName>
                                        </p:attrNameLst>
                                      </p:cBhvr>
                                      <p:to>
                                        <p:strVal val="visible"/>
                                      </p:to>
                                    </p:set>
                                    <p:animEffect transition="in" filter="fade">
                                      <p:cBhvr>
                                        <p:cTn id="135" dur="500"/>
                                        <p:tgtEl>
                                          <p:spTgt spid="62"/>
                                        </p:tgtEl>
                                      </p:cBhvr>
                                    </p:animEffect>
                                  </p:childTnLst>
                                </p:cTn>
                              </p:par>
                              <p:par>
                                <p:cTn id="136" presetID="10" presetClass="entr" presetSubtype="0" fill="hold" grpId="0" nodeType="withEffect">
                                  <p:stCondLst>
                                    <p:cond delay="0"/>
                                  </p:stCondLst>
                                  <p:childTnLst>
                                    <p:set>
                                      <p:cBhvr>
                                        <p:cTn id="137" dur="1" fill="hold">
                                          <p:stCondLst>
                                            <p:cond delay="0"/>
                                          </p:stCondLst>
                                        </p:cTn>
                                        <p:tgtEl>
                                          <p:spTgt spid="63"/>
                                        </p:tgtEl>
                                        <p:attrNameLst>
                                          <p:attrName>style.visibility</p:attrName>
                                        </p:attrNameLst>
                                      </p:cBhvr>
                                      <p:to>
                                        <p:strVal val="visible"/>
                                      </p:to>
                                    </p:set>
                                    <p:animEffect transition="in" filter="fade">
                                      <p:cBhvr>
                                        <p:cTn id="138" dur="500"/>
                                        <p:tgtEl>
                                          <p:spTgt spid="63"/>
                                        </p:tgtEl>
                                      </p:cBhvr>
                                    </p:animEffect>
                                  </p:childTnLst>
                                </p:cTn>
                              </p:par>
                              <p:par>
                                <p:cTn id="139" presetID="10" presetClass="entr" presetSubtype="0" fill="hold" grpId="0" nodeType="withEffect">
                                  <p:stCondLst>
                                    <p:cond delay="0"/>
                                  </p:stCondLst>
                                  <p:childTnLst>
                                    <p:set>
                                      <p:cBhvr>
                                        <p:cTn id="140" dur="1" fill="hold">
                                          <p:stCondLst>
                                            <p:cond delay="0"/>
                                          </p:stCondLst>
                                        </p:cTn>
                                        <p:tgtEl>
                                          <p:spTgt spid="64"/>
                                        </p:tgtEl>
                                        <p:attrNameLst>
                                          <p:attrName>style.visibility</p:attrName>
                                        </p:attrNameLst>
                                      </p:cBhvr>
                                      <p:to>
                                        <p:strVal val="visible"/>
                                      </p:to>
                                    </p:set>
                                    <p:animEffect transition="in" filter="fade">
                                      <p:cBhvr>
                                        <p:cTn id="141" dur="500"/>
                                        <p:tgtEl>
                                          <p:spTgt spid="64"/>
                                        </p:tgtEl>
                                      </p:cBhvr>
                                    </p:animEffect>
                                  </p:childTnLst>
                                </p:cTn>
                              </p:par>
                              <p:par>
                                <p:cTn id="142" presetID="10" presetClass="entr" presetSubtype="0" fill="hold" grpId="0" nodeType="withEffect">
                                  <p:stCondLst>
                                    <p:cond delay="0"/>
                                  </p:stCondLst>
                                  <p:childTnLst>
                                    <p:set>
                                      <p:cBhvr>
                                        <p:cTn id="143" dur="1" fill="hold">
                                          <p:stCondLst>
                                            <p:cond delay="0"/>
                                          </p:stCondLst>
                                        </p:cTn>
                                        <p:tgtEl>
                                          <p:spTgt spid="65"/>
                                        </p:tgtEl>
                                        <p:attrNameLst>
                                          <p:attrName>style.visibility</p:attrName>
                                        </p:attrNameLst>
                                      </p:cBhvr>
                                      <p:to>
                                        <p:strVal val="visible"/>
                                      </p:to>
                                    </p:set>
                                    <p:animEffect transition="in" filter="fade">
                                      <p:cBhvr>
                                        <p:cTn id="144" dur="500"/>
                                        <p:tgtEl>
                                          <p:spTgt spid="65"/>
                                        </p:tgtEl>
                                      </p:cBhvr>
                                    </p:animEffect>
                                  </p:childTnLst>
                                </p:cTn>
                              </p:par>
                              <p:par>
                                <p:cTn id="145" presetID="10" presetClass="entr" presetSubtype="0" fill="hold" grpId="0" nodeType="withEffect">
                                  <p:stCondLst>
                                    <p:cond delay="0"/>
                                  </p:stCondLst>
                                  <p:childTnLst>
                                    <p:set>
                                      <p:cBhvr>
                                        <p:cTn id="146" dur="1" fill="hold">
                                          <p:stCondLst>
                                            <p:cond delay="0"/>
                                          </p:stCondLst>
                                        </p:cTn>
                                        <p:tgtEl>
                                          <p:spTgt spid="66"/>
                                        </p:tgtEl>
                                        <p:attrNameLst>
                                          <p:attrName>style.visibility</p:attrName>
                                        </p:attrNameLst>
                                      </p:cBhvr>
                                      <p:to>
                                        <p:strVal val="visible"/>
                                      </p:to>
                                    </p:set>
                                    <p:animEffect transition="in" filter="fade">
                                      <p:cBhvr>
                                        <p:cTn id="147" dur="500"/>
                                        <p:tgtEl>
                                          <p:spTgt spid="66"/>
                                        </p:tgtEl>
                                      </p:cBhvr>
                                    </p:animEffect>
                                  </p:childTnLst>
                                </p:cTn>
                              </p:par>
                              <p:par>
                                <p:cTn id="148" presetID="10" presetClass="entr" presetSubtype="0" fill="hold" grpId="0" nodeType="withEffect">
                                  <p:stCondLst>
                                    <p:cond delay="0"/>
                                  </p:stCondLst>
                                  <p:childTnLst>
                                    <p:set>
                                      <p:cBhvr>
                                        <p:cTn id="149" dur="1" fill="hold">
                                          <p:stCondLst>
                                            <p:cond delay="0"/>
                                          </p:stCondLst>
                                        </p:cTn>
                                        <p:tgtEl>
                                          <p:spTgt spid="67"/>
                                        </p:tgtEl>
                                        <p:attrNameLst>
                                          <p:attrName>style.visibility</p:attrName>
                                        </p:attrNameLst>
                                      </p:cBhvr>
                                      <p:to>
                                        <p:strVal val="visible"/>
                                      </p:to>
                                    </p:set>
                                    <p:animEffect transition="in" filter="fade">
                                      <p:cBhvr>
                                        <p:cTn id="150" dur="500"/>
                                        <p:tgtEl>
                                          <p:spTgt spid="67"/>
                                        </p:tgtEl>
                                      </p:cBhvr>
                                    </p:animEffect>
                                  </p:childTnLst>
                                </p:cTn>
                              </p:par>
                              <p:par>
                                <p:cTn id="151" presetID="10" presetClass="entr" presetSubtype="0" fill="hold" grpId="0" nodeType="withEffect">
                                  <p:stCondLst>
                                    <p:cond delay="0"/>
                                  </p:stCondLst>
                                  <p:childTnLst>
                                    <p:set>
                                      <p:cBhvr>
                                        <p:cTn id="152" dur="1" fill="hold">
                                          <p:stCondLst>
                                            <p:cond delay="0"/>
                                          </p:stCondLst>
                                        </p:cTn>
                                        <p:tgtEl>
                                          <p:spTgt spid="68"/>
                                        </p:tgtEl>
                                        <p:attrNameLst>
                                          <p:attrName>style.visibility</p:attrName>
                                        </p:attrNameLst>
                                      </p:cBhvr>
                                      <p:to>
                                        <p:strVal val="visible"/>
                                      </p:to>
                                    </p:set>
                                    <p:animEffect transition="in" filter="fade">
                                      <p:cBhvr>
                                        <p:cTn id="153" dur="500"/>
                                        <p:tgtEl>
                                          <p:spTgt spid="68"/>
                                        </p:tgtEl>
                                      </p:cBhvr>
                                    </p:animEffect>
                                  </p:childTnLst>
                                </p:cTn>
                              </p:par>
                            </p:childTnLst>
                          </p:cTn>
                        </p:par>
                        <p:par>
                          <p:cTn id="154" fill="hold">
                            <p:stCondLst>
                              <p:cond delay="1500"/>
                            </p:stCondLst>
                            <p:childTnLst>
                              <p:par>
                                <p:cTn id="155" presetID="10" presetClass="entr" presetSubtype="0" fill="hold" grpId="0" nodeType="afterEffect">
                                  <p:stCondLst>
                                    <p:cond delay="0"/>
                                  </p:stCondLst>
                                  <p:childTnLst>
                                    <p:set>
                                      <p:cBhvr>
                                        <p:cTn id="156" dur="1" fill="hold">
                                          <p:stCondLst>
                                            <p:cond delay="0"/>
                                          </p:stCondLst>
                                        </p:cTn>
                                        <p:tgtEl>
                                          <p:spTgt spid="42"/>
                                        </p:tgtEl>
                                        <p:attrNameLst>
                                          <p:attrName>style.visibility</p:attrName>
                                        </p:attrNameLst>
                                      </p:cBhvr>
                                      <p:to>
                                        <p:strVal val="visible"/>
                                      </p:to>
                                    </p:set>
                                    <p:animEffect transition="in" filter="fade">
                                      <p:cBhvr>
                                        <p:cTn id="157" dur="500"/>
                                        <p:tgtEl>
                                          <p:spTgt spid="42"/>
                                        </p:tgtEl>
                                      </p:cBhvr>
                                    </p:animEffect>
                                  </p:childTnLst>
                                </p:cTn>
                              </p:par>
                              <p:par>
                                <p:cTn id="158" presetID="10" presetClass="entr" presetSubtype="0" fill="hold" grpId="0" nodeType="withEffect">
                                  <p:stCondLst>
                                    <p:cond delay="0"/>
                                  </p:stCondLst>
                                  <p:childTnLst>
                                    <p:set>
                                      <p:cBhvr>
                                        <p:cTn id="159" dur="1" fill="hold">
                                          <p:stCondLst>
                                            <p:cond delay="0"/>
                                          </p:stCondLst>
                                        </p:cTn>
                                        <p:tgtEl>
                                          <p:spTgt spid="48"/>
                                        </p:tgtEl>
                                        <p:attrNameLst>
                                          <p:attrName>style.visibility</p:attrName>
                                        </p:attrNameLst>
                                      </p:cBhvr>
                                      <p:to>
                                        <p:strVal val="visible"/>
                                      </p:to>
                                    </p:set>
                                    <p:animEffect transition="in" filter="fade">
                                      <p:cBhvr>
                                        <p:cTn id="160" dur="500"/>
                                        <p:tgtEl>
                                          <p:spTgt spid="48"/>
                                        </p:tgtEl>
                                      </p:cBhvr>
                                    </p:animEffect>
                                  </p:childTnLst>
                                </p:cTn>
                              </p:par>
                              <p:par>
                                <p:cTn id="161" presetID="10" presetClass="entr" presetSubtype="0" fill="hold" grpId="0" nodeType="withEffect">
                                  <p:stCondLst>
                                    <p:cond delay="0"/>
                                  </p:stCondLst>
                                  <p:childTnLst>
                                    <p:set>
                                      <p:cBhvr>
                                        <p:cTn id="162" dur="1" fill="hold">
                                          <p:stCondLst>
                                            <p:cond delay="0"/>
                                          </p:stCondLst>
                                        </p:cTn>
                                        <p:tgtEl>
                                          <p:spTgt spid="49"/>
                                        </p:tgtEl>
                                        <p:attrNameLst>
                                          <p:attrName>style.visibility</p:attrName>
                                        </p:attrNameLst>
                                      </p:cBhvr>
                                      <p:to>
                                        <p:strVal val="visible"/>
                                      </p:to>
                                    </p:set>
                                    <p:animEffect transition="in" filter="fade">
                                      <p:cBhvr>
                                        <p:cTn id="163" dur="500"/>
                                        <p:tgtEl>
                                          <p:spTgt spid="49"/>
                                        </p:tgtEl>
                                      </p:cBhvr>
                                    </p:animEffect>
                                  </p:childTnLst>
                                </p:cTn>
                              </p:par>
                            </p:childTnLst>
                          </p:cTn>
                        </p:par>
                        <p:par>
                          <p:cTn id="164" fill="hold">
                            <p:stCondLst>
                              <p:cond delay="2000"/>
                            </p:stCondLst>
                            <p:childTnLst>
                              <p:par>
                                <p:cTn id="165" presetID="10" presetClass="entr" presetSubtype="0" fill="hold" grpId="0" nodeType="afterEffect">
                                  <p:stCondLst>
                                    <p:cond delay="0"/>
                                  </p:stCondLst>
                                  <p:childTnLst>
                                    <p:set>
                                      <p:cBhvr>
                                        <p:cTn id="166" dur="1" fill="hold">
                                          <p:stCondLst>
                                            <p:cond delay="0"/>
                                          </p:stCondLst>
                                        </p:cTn>
                                        <p:tgtEl>
                                          <p:spTgt spid="41"/>
                                        </p:tgtEl>
                                        <p:attrNameLst>
                                          <p:attrName>style.visibility</p:attrName>
                                        </p:attrNameLst>
                                      </p:cBhvr>
                                      <p:to>
                                        <p:strVal val="visible"/>
                                      </p:to>
                                    </p:set>
                                    <p:animEffect transition="in" filter="fade">
                                      <p:cBhvr>
                                        <p:cTn id="167" dur="500"/>
                                        <p:tgtEl>
                                          <p:spTgt spid="41"/>
                                        </p:tgtEl>
                                      </p:cBhvr>
                                    </p:animEffect>
                                  </p:childTnLst>
                                </p:cTn>
                              </p:par>
                              <p:par>
                                <p:cTn id="168" presetID="10" presetClass="entr" presetSubtype="0" fill="hold" grpId="0" nodeType="withEffect">
                                  <p:stCondLst>
                                    <p:cond delay="0"/>
                                  </p:stCondLst>
                                  <p:childTnLst>
                                    <p:set>
                                      <p:cBhvr>
                                        <p:cTn id="169" dur="1" fill="hold">
                                          <p:stCondLst>
                                            <p:cond delay="0"/>
                                          </p:stCondLst>
                                        </p:cTn>
                                        <p:tgtEl>
                                          <p:spTgt spid="47"/>
                                        </p:tgtEl>
                                        <p:attrNameLst>
                                          <p:attrName>style.visibility</p:attrName>
                                        </p:attrNameLst>
                                      </p:cBhvr>
                                      <p:to>
                                        <p:strVal val="visible"/>
                                      </p:to>
                                    </p:set>
                                    <p:animEffect transition="in" filter="fade">
                                      <p:cBhvr>
                                        <p:cTn id="170" dur="500"/>
                                        <p:tgtEl>
                                          <p:spTgt spid="47"/>
                                        </p:tgtEl>
                                      </p:cBhvr>
                                    </p:animEffect>
                                  </p:childTnLst>
                                </p:cTn>
                              </p:par>
                              <p:par>
                                <p:cTn id="171" presetID="10" presetClass="entr" presetSubtype="0" fill="hold" grpId="0" nodeType="withEffect">
                                  <p:stCondLst>
                                    <p:cond delay="0"/>
                                  </p:stCondLst>
                                  <p:childTnLst>
                                    <p:set>
                                      <p:cBhvr>
                                        <p:cTn id="172" dur="1" fill="hold">
                                          <p:stCondLst>
                                            <p:cond delay="0"/>
                                          </p:stCondLst>
                                        </p:cTn>
                                        <p:tgtEl>
                                          <p:spTgt spid="46"/>
                                        </p:tgtEl>
                                        <p:attrNameLst>
                                          <p:attrName>style.visibility</p:attrName>
                                        </p:attrNameLst>
                                      </p:cBhvr>
                                      <p:to>
                                        <p:strVal val="visible"/>
                                      </p:to>
                                    </p:set>
                                    <p:animEffect transition="in" filter="fade">
                                      <p:cBhvr>
                                        <p:cTn id="173" dur="500"/>
                                        <p:tgtEl>
                                          <p:spTgt spid="46"/>
                                        </p:tgtEl>
                                      </p:cBhvr>
                                    </p:animEffect>
                                  </p:childTnLst>
                                </p:cTn>
                              </p:par>
                            </p:childTnLst>
                          </p:cTn>
                        </p:par>
                        <p:par>
                          <p:cTn id="174" fill="hold">
                            <p:stCondLst>
                              <p:cond delay="2500"/>
                            </p:stCondLst>
                            <p:childTnLst>
                              <p:par>
                                <p:cTn id="175" presetID="10" presetClass="entr" presetSubtype="0" fill="hold" grpId="0" nodeType="afterEffect">
                                  <p:stCondLst>
                                    <p:cond delay="0"/>
                                  </p:stCondLst>
                                  <p:childTnLst>
                                    <p:set>
                                      <p:cBhvr>
                                        <p:cTn id="176" dur="1" fill="hold">
                                          <p:stCondLst>
                                            <p:cond delay="0"/>
                                          </p:stCondLst>
                                        </p:cTn>
                                        <p:tgtEl>
                                          <p:spTgt spid="43"/>
                                        </p:tgtEl>
                                        <p:attrNameLst>
                                          <p:attrName>style.visibility</p:attrName>
                                        </p:attrNameLst>
                                      </p:cBhvr>
                                      <p:to>
                                        <p:strVal val="visible"/>
                                      </p:to>
                                    </p:set>
                                    <p:animEffect transition="in" filter="fade">
                                      <p:cBhvr>
                                        <p:cTn id="177" dur="500"/>
                                        <p:tgtEl>
                                          <p:spTgt spid="43"/>
                                        </p:tgtEl>
                                      </p:cBhvr>
                                    </p:animEffect>
                                  </p:childTnLst>
                                </p:cTn>
                              </p:par>
                              <p:par>
                                <p:cTn id="178" presetID="10" presetClass="entr" presetSubtype="0" fill="hold" grpId="0" nodeType="withEffect">
                                  <p:stCondLst>
                                    <p:cond delay="0"/>
                                  </p:stCondLst>
                                  <p:childTnLst>
                                    <p:set>
                                      <p:cBhvr>
                                        <p:cTn id="179" dur="1" fill="hold">
                                          <p:stCondLst>
                                            <p:cond delay="0"/>
                                          </p:stCondLst>
                                        </p:cTn>
                                        <p:tgtEl>
                                          <p:spTgt spid="40"/>
                                        </p:tgtEl>
                                        <p:attrNameLst>
                                          <p:attrName>style.visibility</p:attrName>
                                        </p:attrNameLst>
                                      </p:cBhvr>
                                      <p:to>
                                        <p:strVal val="visible"/>
                                      </p:to>
                                    </p:set>
                                    <p:animEffect transition="in" filter="fade">
                                      <p:cBhvr>
                                        <p:cTn id="180" dur="500"/>
                                        <p:tgtEl>
                                          <p:spTgt spid="40"/>
                                        </p:tgtEl>
                                      </p:cBhvr>
                                    </p:animEffect>
                                  </p:childTnLst>
                                </p:cTn>
                              </p:par>
                              <p:par>
                                <p:cTn id="181" presetID="10" presetClass="entr" presetSubtype="0" fill="hold" grpId="0" nodeType="withEffect">
                                  <p:stCondLst>
                                    <p:cond delay="0"/>
                                  </p:stCondLst>
                                  <p:childTnLst>
                                    <p:set>
                                      <p:cBhvr>
                                        <p:cTn id="182" dur="1" fill="hold">
                                          <p:stCondLst>
                                            <p:cond delay="0"/>
                                          </p:stCondLst>
                                        </p:cTn>
                                        <p:tgtEl>
                                          <p:spTgt spid="44"/>
                                        </p:tgtEl>
                                        <p:attrNameLst>
                                          <p:attrName>style.visibility</p:attrName>
                                        </p:attrNameLst>
                                      </p:cBhvr>
                                      <p:to>
                                        <p:strVal val="visible"/>
                                      </p:to>
                                    </p:set>
                                    <p:animEffect transition="in" filter="fade">
                                      <p:cBhvr>
                                        <p:cTn id="183" dur="500"/>
                                        <p:tgtEl>
                                          <p:spTgt spid="44"/>
                                        </p:tgtEl>
                                      </p:cBhvr>
                                    </p:animEffect>
                                  </p:childTnLst>
                                </p:cTn>
                              </p:par>
                            </p:childTnLst>
                          </p:cTn>
                        </p:par>
                        <p:par>
                          <p:cTn id="184" fill="hold">
                            <p:stCondLst>
                              <p:cond delay="3000"/>
                            </p:stCondLst>
                            <p:childTnLst>
                              <p:par>
                                <p:cTn id="185" presetID="10" presetClass="entr" presetSubtype="0" fill="hold" grpId="0" nodeType="afterEffect">
                                  <p:stCondLst>
                                    <p:cond delay="0"/>
                                  </p:stCondLst>
                                  <p:childTnLst>
                                    <p:set>
                                      <p:cBhvr>
                                        <p:cTn id="186" dur="1" fill="hold">
                                          <p:stCondLst>
                                            <p:cond delay="0"/>
                                          </p:stCondLst>
                                        </p:cTn>
                                        <p:tgtEl>
                                          <p:spTgt spid="45"/>
                                        </p:tgtEl>
                                        <p:attrNameLst>
                                          <p:attrName>style.visibility</p:attrName>
                                        </p:attrNameLst>
                                      </p:cBhvr>
                                      <p:to>
                                        <p:strVal val="visible"/>
                                      </p:to>
                                    </p:set>
                                    <p:animEffect transition="in" filter="fade">
                                      <p:cBhvr>
                                        <p:cTn id="187" dur="500"/>
                                        <p:tgtEl>
                                          <p:spTgt spid="45"/>
                                        </p:tgtEl>
                                      </p:cBhvr>
                                    </p:animEffect>
                                  </p:childTnLst>
                                </p:cTn>
                              </p:par>
                              <p:par>
                                <p:cTn id="188" presetID="10" presetClass="entr" presetSubtype="0" fill="hold" grpId="0" nodeType="withEffect">
                                  <p:stCondLst>
                                    <p:cond delay="0"/>
                                  </p:stCondLst>
                                  <p:childTnLst>
                                    <p:set>
                                      <p:cBhvr>
                                        <p:cTn id="189" dur="1" fill="hold">
                                          <p:stCondLst>
                                            <p:cond delay="0"/>
                                          </p:stCondLst>
                                        </p:cTn>
                                        <p:tgtEl>
                                          <p:spTgt spid="52"/>
                                        </p:tgtEl>
                                        <p:attrNameLst>
                                          <p:attrName>style.visibility</p:attrName>
                                        </p:attrNameLst>
                                      </p:cBhvr>
                                      <p:to>
                                        <p:strVal val="visible"/>
                                      </p:to>
                                    </p:set>
                                    <p:animEffect transition="in" filter="fade">
                                      <p:cBhvr>
                                        <p:cTn id="190" dur="500"/>
                                        <p:tgtEl>
                                          <p:spTgt spid="52"/>
                                        </p:tgtEl>
                                      </p:cBhvr>
                                    </p:animEffect>
                                  </p:childTnLst>
                                </p:cTn>
                              </p:par>
                              <p:par>
                                <p:cTn id="191" presetID="10" presetClass="entr" presetSubtype="0" fill="hold" grpId="0" nodeType="withEffect">
                                  <p:stCondLst>
                                    <p:cond delay="0"/>
                                  </p:stCondLst>
                                  <p:childTnLst>
                                    <p:set>
                                      <p:cBhvr>
                                        <p:cTn id="192" dur="1" fill="hold">
                                          <p:stCondLst>
                                            <p:cond delay="0"/>
                                          </p:stCondLst>
                                        </p:cTn>
                                        <p:tgtEl>
                                          <p:spTgt spid="53"/>
                                        </p:tgtEl>
                                        <p:attrNameLst>
                                          <p:attrName>style.visibility</p:attrName>
                                        </p:attrNameLst>
                                      </p:cBhvr>
                                      <p:to>
                                        <p:strVal val="visible"/>
                                      </p:to>
                                    </p:set>
                                    <p:animEffect transition="in" filter="fade">
                                      <p:cBhvr>
                                        <p:cTn id="193" dur="500"/>
                                        <p:tgtEl>
                                          <p:spTgt spid="53"/>
                                        </p:tgtEl>
                                      </p:cBhvr>
                                    </p:animEffect>
                                  </p:childTnLst>
                                </p:cTn>
                              </p:par>
                            </p:childTnLst>
                          </p:cTn>
                        </p:par>
                        <p:par>
                          <p:cTn id="194" fill="hold">
                            <p:stCondLst>
                              <p:cond delay="3500"/>
                            </p:stCondLst>
                            <p:childTnLst>
                              <p:par>
                                <p:cTn id="195" presetID="10" presetClass="entr" presetSubtype="0" fill="hold" grpId="0" nodeType="afterEffect">
                                  <p:stCondLst>
                                    <p:cond delay="0"/>
                                  </p:stCondLst>
                                  <p:childTnLst>
                                    <p:set>
                                      <p:cBhvr>
                                        <p:cTn id="196" dur="1" fill="hold">
                                          <p:stCondLst>
                                            <p:cond delay="0"/>
                                          </p:stCondLst>
                                        </p:cTn>
                                        <p:tgtEl>
                                          <p:spTgt spid="39"/>
                                        </p:tgtEl>
                                        <p:attrNameLst>
                                          <p:attrName>style.visibility</p:attrName>
                                        </p:attrNameLst>
                                      </p:cBhvr>
                                      <p:to>
                                        <p:strVal val="visible"/>
                                      </p:to>
                                    </p:set>
                                    <p:animEffect transition="in" filter="fade">
                                      <p:cBhvr>
                                        <p:cTn id="197" dur="500"/>
                                        <p:tgtEl>
                                          <p:spTgt spid="39"/>
                                        </p:tgtEl>
                                      </p:cBhvr>
                                    </p:animEffect>
                                  </p:childTnLst>
                                </p:cTn>
                              </p:par>
                              <p:par>
                                <p:cTn id="198" presetID="10" presetClass="entr" presetSubtype="0" fill="hold" grpId="0" nodeType="withEffect">
                                  <p:stCondLst>
                                    <p:cond delay="0"/>
                                  </p:stCondLst>
                                  <p:childTnLst>
                                    <p:set>
                                      <p:cBhvr>
                                        <p:cTn id="199" dur="1" fill="hold">
                                          <p:stCondLst>
                                            <p:cond delay="0"/>
                                          </p:stCondLst>
                                        </p:cTn>
                                        <p:tgtEl>
                                          <p:spTgt spid="50"/>
                                        </p:tgtEl>
                                        <p:attrNameLst>
                                          <p:attrName>style.visibility</p:attrName>
                                        </p:attrNameLst>
                                      </p:cBhvr>
                                      <p:to>
                                        <p:strVal val="visible"/>
                                      </p:to>
                                    </p:set>
                                    <p:animEffect transition="in" filter="fade">
                                      <p:cBhvr>
                                        <p:cTn id="200" dur="500"/>
                                        <p:tgtEl>
                                          <p:spTgt spid="50"/>
                                        </p:tgtEl>
                                      </p:cBhvr>
                                    </p:animEffect>
                                  </p:childTnLst>
                                </p:cTn>
                              </p:par>
                              <p:par>
                                <p:cTn id="201" presetID="10" presetClass="entr" presetSubtype="0" fill="hold" grpId="0" nodeType="withEffect">
                                  <p:stCondLst>
                                    <p:cond delay="0"/>
                                  </p:stCondLst>
                                  <p:childTnLst>
                                    <p:set>
                                      <p:cBhvr>
                                        <p:cTn id="202" dur="1" fill="hold">
                                          <p:stCondLst>
                                            <p:cond delay="0"/>
                                          </p:stCondLst>
                                        </p:cTn>
                                        <p:tgtEl>
                                          <p:spTgt spid="51"/>
                                        </p:tgtEl>
                                        <p:attrNameLst>
                                          <p:attrName>style.visibility</p:attrName>
                                        </p:attrNameLst>
                                      </p:cBhvr>
                                      <p:to>
                                        <p:strVal val="visible"/>
                                      </p:to>
                                    </p:set>
                                    <p:animEffect transition="in" filter="fade">
                                      <p:cBhvr>
                                        <p:cTn id="203" dur="500"/>
                                        <p:tgtEl>
                                          <p:spTgt spid="51"/>
                                        </p:tgtEl>
                                      </p:cBhvr>
                                    </p:animEffect>
                                  </p:childTnLst>
                                </p:cTn>
                              </p:par>
                            </p:childTnLst>
                          </p:cTn>
                        </p:par>
                        <p:par>
                          <p:cTn id="204" fill="hold">
                            <p:stCondLst>
                              <p:cond delay="4000"/>
                            </p:stCondLst>
                            <p:childTnLst>
                              <p:par>
                                <p:cTn id="205" presetID="10" presetClass="entr" presetSubtype="0" fill="hold" grpId="0" nodeType="afterEffect">
                                  <p:stCondLst>
                                    <p:cond delay="0"/>
                                  </p:stCondLst>
                                  <p:childTnLst>
                                    <p:set>
                                      <p:cBhvr>
                                        <p:cTn id="206" dur="1" fill="hold">
                                          <p:stCondLst>
                                            <p:cond delay="0"/>
                                          </p:stCondLst>
                                        </p:cTn>
                                        <p:tgtEl>
                                          <p:spTgt spid="54"/>
                                        </p:tgtEl>
                                        <p:attrNameLst>
                                          <p:attrName>style.visibility</p:attrName>
                                        </p:attrNameLst>
                                      </p:cBhvr>
                                      <p:to>
                                        <p:strVal val="visible"/>
                                      </p:to>
                                    </p:set>
                                    <p:animEffect transition="in" filter="fade">
                                      <p:cBhvr>
                                        <p:cTn id="207" dur="500"/>
                                        <p:tgtEl>
                                          <p:spTgt spid="54"/>
                                        </p:tgtEl>
                                      </p:cBhvr>
                                    </p:animEffect>
                                  </p:childTnLst>
                                </p:cTn>
                              </p:par>
                              <p:par>
                                <p:cTn id="208" presetID="10" presetClass="entr" presetSubtype="0" fill="hold" grpId="0" nodeType="withEffect">
                                  <p:stCondLst>
                                    <p:cond delay="0"/>
                                  </p:stCondLst>
                                  <p:childTnLst>
                                    <p:set>
                                      <p:cBhvr>
                                        <p:cTn id="209" dur="1" fill="hold">
                                          <p:stCondLst>
                                            <p:cond delay="0"/>
                                          </p:stCondLst>
                                        </p:cTn>
                                        <p:tgtEl>
                                          <p:spTgt spid="55"/>
                                        </p:tgtEl>
                                        <p:attrNameLst>
                                          <p:attrName>style.visibility</p:attrName>
                                        </p:attrNameLst>
                                      </p:cBhvr>
                                      <p:to>
                                        <p:strVal val="visible"/>
                                      </p:to>
                                    </p:set>
                                    <p:animEffect transition="in" filter="fade">
                                      <p:cBhvr>
                                        <p:cTn id="210" dur="500"/>
                                        <p:tgtEl>
                                          <p:spTgt spid="55"/>
                                        </p:tgtEl>
                                      </p:cBhvr>
                                    </p:animEffect>
                                  </p:childTnLst>
                                </p:cTn>
                              </p:par>
                              <p:par>
                                <p:cTn id="211" presetID="10" presetClass="entr" presetSubtype="0" fill="hold" grpId="0" nodeType="withEffect">
                                  <p:stCondLst>
                                    <p:cond delay="0"/>
                                  </p:stCondLst>
                                  <p:childTnLst>
                                    <p:set>
                                      <p:cBhvr>
                                        <p:cTn id="212" dur="1" fill="hold">
                                          <p:stCondLst>
                                            <p:cond delay="0"/>
                                          </p:stCondLst>
                                        </p:cTn>
                                        <p:tgtEl>
                                          <p:spTgt spid="56"/>
                                        </p:tgtEl>
                                        <p:attrNameLst>
                                          <p:attrName>style.visibility</p:attrName>
                                        </p:attrNameLst>
                                      </p:cBhvr>
                                      <p:to>
                                        <p:strVal val="visible"/>
                                      </p:to>
                                    </p:set>
                                    <p:animEffect transition="in" filter="fade">
                                      <p:cBhvr>
                                        <p:cTn id="213" dur="500"/>
                                        <p:tgtEl>
                                          <p:spTgt spid="5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animBg="1"/>
      <p:bldP spid="4" grpId="0" animBg="1"/>
      <p:bldP spid="5" grpId="0" animBg="1"/>
      <p:bldP spid="6" grpId="0" animBg="1"/>
      <p:bldP spid="7" grpId="0" animBg="1"/>
      <p:bldP spid="8" grpId="0" animBg="1"/>
      <p:bldP spid="9" grpId="0" animBg="1"/>
      <p:bldP spid="10"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26" grpId="0" animBg="1"/>
      <p:bldP spid="27" grpId="0" animBg="1"/>
      <p:bldP spid="28" grpId="0" animBg="1"/>
      <p:bldP spid="29" grpId="0" animBg="1"/>
      <p:bldP spid="30" grpId="0" animBg="1"/>
      <p:bldP spid="31" grpId="0" animBg="1"/>
      <p:bldP spid="32" grpId="0" animBg="1"/>
      <p:bldP spid="33" grpId="0" animBg="1"/>
      <p:bldP spid="34" grpId="0" animBg="1"/>
      <p:bldP spid="35" grpId="0" animBg="1"/>
      <p:bldP spid="36" grpId="0" animBg="1"/>
      <p:bldP spid="37" grpId="0" animBg="1"/>
      <p:bldP spid="38" grpId="0" animBg="1"/>
      <p:bldP spid="39" grpId="0" animBg="1"/>
      <p:bldP spid="40" grpId="0" animBg="1"/>
      <p:bldP spid="41" grpId="0" animBg="1"/>
      <p:bldP spid="42" grpId="0" animBg="1"/>
      <p:bldP spid="43" grpId="0"/>
      <p:bldP spid="44" grpId="0"/>
      <p:bldP spid="45" grpId="0" animBg="1"/>
      <p:bldP spid="46" grpId="0"/>
      <p:bldP spid="47" grpId="0"/>
      <p:bldP spid="48" grpId="0"/>
      <p:bldP spid="49" grpId="0"/>
      <p:bldP spid="50" grpId="0"/>
      <p:bldP spid="51" grpId="0"/>
      <p:bldP spid="52" grpId="0"/>
      <p:bldP spid="53" grpId="0"/>
      <p:bldP spid="54" grpId="0" animBg="1"/>
      <p:bldP spid="55" grpId="0"/>
      <p:bldP spid="56" grpId="0"/>
      <p:bldP spid="57" grpId="0" animBg="1"/>
      <p:bldP spid="58" grpId="0" animBg="1"/>
      <p:bldP spid="59" grpId="0" animBg="1"/>
      <p:bldP spid="60" grpId="0" animBg="1"/>
      <p:bldP spid="61" grpId="0" animBg="1"/>
      <p:bldP spid="62" grpId="0" animBg="1"/>
      <p:bldP spid="63" grpId="0" animBg="1"/>
      <p:bldP spid="64" grpId="0" animBg="1"/>
      <p:bldP spid="65" grpId="0" animBg="1"/>
      <p:bldP spid="66" grpId="0" animBg="1"/>
      <p:bldP spid="67" grpId="0" animBg="1"/>
      <p:bldP spid="68" grpId="0" animBg="1"/>
    </p:bldLst>
  </p:timing>
</p:sld>
</file>

<file path=ppt/slides/slide6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57">
            <a:extLst>
              <a:ext uri="{FF2B5EF4-FFF2-40B4-BE49-F238E27FC236}">
                <a16:creationId xmlns:a16="http://schemas.microsoft.com/office/drawing/2014/main" id="{1B2B0305-171B-49E4-A9A6-433DEDB67CC8}"/>
              </a:ext>
            </a:extLst>
          </p:cNvPr>
          <p:cNvGrpSpPr/>
          <p:nvPr/>
        </p:nvGrpSpPr>
        <p:grpSpPr>
          <a:xfrm>
            <a:off x="958818" y="531084"/>
            <a:ext cx="10845873" cy="5597397"/>
            <a:chOff x="615918" y="454884"/>
            <a:chExt cx="10845873" cy="5597397"/>
          </a:xfrm>
        </p:grpSpPr>
        <p:grpSp>
          <p:nvGrpSpPr>
            <p:cNvPr id="3" name="Group 55">
              <a:extLst>
                <a:ext uri="{FF2B5EF4-FFF2-40B4-BE49-F238E27FC236}">
                  <a16:creationId xmlns:a16="http://schemas.microsoft.com/office/drawing/2014/main" id="{364BC73F-6FCA-4A8E-A432-BC372827744E}"/>
                </a:ext>
              </a:extLst>
            </p:cNvPr>
            <p:cNvGrpSpPr/>
            <p:nvPr/>
          </p:nvGrpSpPr>
          <p:grpSpPr>
            <a:xfrm>
              <a:off x="1925941" y="454884"/>
              <a:ext cx="9535850" cy="5597397"/>
              <a:chOff x="1917621" y="518384"/>
              <a:chExt cx="9535850" cy="5597397"/>
            </a:xfrm>
          </p:grpSpPr>
          <p:grpSp>
            <p:nvGrpSpPr>
              <p:cNvPr id="5" name="Group 85">
                <a:extLst>
                  <a:ext uri="{FF2B5EF4-FFF2-40B4-BE49-F238E27FC236}">
                    <a16:creationId xmlns:a16="http://schemas.microsoft.com/office/drawing/2014/main" id="{9B9FEB67-0472-484D-9943-ED2599237EBD}"/>
                  </a:ext>
                </a:extLst>
              </p:cNvPr>
              <p:cNvGrpSpPr/>
              <p:nvPr/>
            </p:nvGrpSpPr>
            <p:grpSpPr>
              <a:xfrm>
                <a:off x="3250035" y="518384"/>
                <a:ext cx="6251997" cy="5597397"/>
                <a:chOff x="5165002" y="871525"/>
                <a:chExt cx="6251997" cy="5597397"/>
              </a:xfrm>
            </p:grpSpPr>
            <p:sp>
              <p:nvSpPr>
                <p:cNvPr id="30" name="Freeform: Shape 1">
                  <a:extLst>
                    <a:ext uri="{FF2B5EF4-FFF2-40B4-BE49-F238E27FC236}">
                      <a16:creationId xmlns:a16="http://schemas.microsoft.com/office/drawing/2014/main" id="{3BC76C59-BCB4-4C16-83CE-C1A7B2922223}"/>
                    </a:ext>
                  </a:extLst>
                </p:cNvPr>
                <p:cNvSpPr/>
                <p:nvPr/>
              </p:nvSpPr>
              <p:spPr>
                <a:xfrm>
                  <a:off x="5897675" y="1009005"/>
                  <a:ext cx="4915086" cy="2717755"/>
                </a:xfrm>
                <a:custGeom>
                  <a:avLst/>
                  <a:gdLst>
                    <a:gd name="connsiteX0" fmla="*/ 3242310 w 3238500"/>
                    <a:gd name="connsiteY0" fmla="*/ 1034415 h 1790700"/>
                    <a:gd name="connsiteX1" fmla="*/ 3242310 w 3238500"/>
                    <a:gd name="connsiteY1" fmla="*/ 1159193 h 1790700"/>
                    <a:gd name="connsiteX2" fmla="*/ 3076575 w 3238500"/>
                    <a:gd name="connsiteY2" fmla="*/ 1374458 h 1790700"/>
                    <a:gd name="connsiteX3" fmla="*/ 2966085 w 3238500"/>
                    <a:gd name="connsiteY3" fmla="*/ 1374458 h 1790700"/>
                    <a:gd name="connsiteX4" fmla="*/ 2971800 w 3238500"/>
                    <a:gd name="connsiteY4" fmla="*/ 1432560 h 1790700"/>
                    <a:gd name="connsiteX5" fmla="*/ 2971800 w 3238500"/>
                    <a:gd name="connsiteY5" fmla="*/ 1575435 h 1790700"/>
                    <a:gd name="connsiteX6" fmla="*/ 2806065 w 3238500"/>
                    <a:gd name="connsiteY6" fmla="*/ 1790700 h 1790700"/>
                    <a:gd name="connsiteX7" fmla="*/ 2378393 w 3238500"/>
                    <a:gd name="connsiteY7" fmla="*/ 1790700 h 1790700"/>
                    <a:gd name="connsiteX8" fmla="*/ 2218373 w 3238500"/>
                    <a:gd name="connsiteY8" fmla="*/ 1630680 h 1790700"/>
                    <a:gd name="connsiteX9" fmla="*/ 1858328 w 3238500"/>
                    <a:gd name="connsiteY9" fmla="*/ 1630680 h 1790700"/>
                    <a:gd name="connsiteX10" fmla="*/ 1692593 w 3238500"/>
                    <a:gd name="connsiteY10" fmla="*/ 1443038 h 1790700"/>
                    <a:gd name="connsiteX11" fmla="*/ 1692593 w 3238500"/>
                    <a:gd name="connsiteY11" fmla="*/ 1417320 h 1790700"/>
                    <a:gd name="connsiteX12" fmla="*/ 1544003 w 3238500"/>
                    <a:gd name="connsiteY12" fmla="*/ 1417320 h 1790700"/>
                    <a:gd name="connsiteX13" fmla="*/ 1537335 w 3238500"/>
                    <a:gd name="connsiteY13" fmla="*/ 1442085 h 1790700"/>
                    <a:gd name="connsiteX14" fmla="*/ 1532573 w 3238500"/>
                    <a:gd name="connsiteY14" fmla="*/ 1455420 h 1790700"/>
                    <a:gd name="connsiteX15" fmla="*/ 1531620 w 3238500"/>
                    <a:gd name="connsiteY15" fmla="*/ 1457325 h 1790700"/>
                    <a:gd name="connsiteX16" fmla="*/ 1382078 w 3238500"/>
                    <a:gd name="connsiteY16" fmla="*/ 1551623 h 1790700"/>
                    <a:gd name="connsiteX17" fmla="*/ 1022985 w 3238500"/>
                    <a:gd name="connsiteY17" fmla="*/ 1551623 h 1790700"/>
                    <a:gd name="connsiteX18" fmla="*/ 862965 w 3238500"/>
                    <a:gd name="connsiteY18" fmla="*/ 1711643 h 1790700"/>
                    <a:gd name="connsiteX19" fmla="*/ 435293 w 3238500"/>
                    <a:gd name="connsiteY19" fmla="*/ 1711643 h 1790700"/>
                    <a:gd name="connsiteX20" fmla="*/ 269558 w 3238500"/>
                    <a:gd name="connsiteY20" fmla="*/ 1496378 h 1790700"/>
                    <a:gd name="connsiteX21" fmla="*/ 269558 w 3238500"/>
                    <a:gd name="connsiteY21" fmla="*/ 1353503 h 1790700"/>
                    <a:gd name="connsiteX22" fmla="*/ 276225 w 3238500"/>
                    <a:gd name="connsiteY22" fmla="*/ 1295400 h 1790700"/>
                    <a:gd name="connsiteX23" fmla="*/ 165735 w 3238500"/>
                    <a:gd name="connsiteY23" fmla="*/ 1295400 h 1790700"/>
                    <a:gd name="connsiteX24" fmla="*/ 0 w 3238500"/>
                    <a:gd name="connsiteY24" fmla="*/ 1080135 h 1790700"/>
                    <a:gd name="connsiteX25" fmla="*/ 0 w 3238500"/>
                    <a:gd name="connsiteY25" fmla="*/ 955358 h 1790700"/>
                    <a:gd name="connsiteX26" fmla="*/ 165735 w 3238500"/>
                    <a:gd name="connsiteY26" fmla="*/ 740093 h 1790700"/>
                    <a:gd name="connsiteX27" fmla="*/ 384810 w 3238500"/>
                    <a:gd name="connsiteY27" fmla="*/ 740093 h 1790700"/>
                    <a:gd name="connsiteX28" fmla="*/ 379095 w 3238500"/>
                    <a:gd name="connsiteY28" fmla="*/ 684848 h 1790700"/>
                    <a:gd name="connsiteX29" fmla="*/ 379095 w 3238500"/>
                    <a:gd name="connsiteY29" fmla="*/ 515303 h 1790700"/>
                    <a:gd name="connsiteX30" fmla="*/ 544830 w 3238500"/>
                    <a:gd name="connsiteY30" fmla="*/ 300038 h 1790700"/>
                    <a:gd name="connsiteX31" fmla="*/ 803910 w 3238500"/>
                    <a:gd name="connsiteY31" fmla="*/ 300038 h 1790700"/>
                    <a:gd name="connsiteX32" fmla="*/ 803910 w 3238500"/>
                    <a:gd name="connsiteY32" fmla="*/ 220028 h 1790700"/>
                    <a:gd name="connsiteX33" fmla="*/ 973455 w 3238500"/>
                    <a:gd name="connsiteY33" fmla="*/ 0 h 1790700"/>
                    <a:gd name="connsiteX34" fmla="*/ 1394460 w 3238500"/>
                    <a:gd name="connsiteY34" fmla="*/ 0 h 1790700"/>
                    <a:gd name="connsiteX35" fmla="*/ 1555433 w 3238500"/>
                    <a:gd name="connsiteY35" fmla="*/ 151448 h 1790700"/>
                    <a:gd name="connsiteX36" fmla="*/ 1564005 w 3238500"/>
                    <a:gd name="connsiteY36" fmla="*/ 219075 h 1790700"/>
                    <a:gd name="connsiteX37" fmla="*/ 1564005 w 3238500"/>
                    <a:gd name="connsiteY37" fmla="*/ 273368 h 1790700"/>
                    <a:gd name="connsiteX38" fmla="*/ 1588770 w 3238500"/>
                    <a:gd name="connsiteY38" fmla="*/ 170498 h 1790700"/>
                    <a:gd name="connsiteX39" fmla="*/ 1622108 w 3238500"/>
                    <a:gd name="connsiteY39" fmla="*/ 120968 h 1790700"/>
                    <a:gd name="connsiteX40" fmla="*/ 1747838 w 3238500"/>
                    <a:gd name="connsiteY40" fmla="*/ 58103 h 1790700"/>
                    <a:gd name="connsiteX41" fmla="*/ 2266950 w 3238500"/>
                    <a:gd name="connsiteY41" fmla="*/ 60960 h 1790700"/>
                    <a:gd name="connsiteX42" fmla="*/ 2438400 w 3238500"/>
                    <a:gd name="connsiteY42" fmla="*/ 297180 h 1790700"/>
                    <a:gd name="connsiteX43" fmla="*/ 2438400 w 3238500"/>
                    <a:gd name="connsiteY43" fmla="*/ 377190 h 1790700"/>
                    <a:gd name="connsiteX44" fmla="*/ 2697480 w 3238500"/>
                    <a:gd name="connsiteY44" fmla="*/ 377190 h 1790700"/>
                    <a:gd name="connsiteX45" fmla="*/ 2863215 w 3238500"/>
                    <a:gd name="connsiteY45" fmla="*/ 592455 h 1790700"/>
                    <a:gd name="connsiteX46" fmla="*/ 2863215 w 3238500"/>
                    <a:gd name="connsiteY46" fmla="*/ 762953 h 1790700"/>
                    <a:gd name="connsiteX47" fmla="*/ 2857500 w 3238500"/>
                    <a:gd name="connsiteY47" fmla="*/ 818198 h 1790700"/>
                    <a:gd name="connsiteX48" fmla="*/ 3076575 w 3238500"/>
                    <a:gd name="connsiteY48" fmla="*/ 818198 h 1790700"/>
                    <a:gd name="connsiteX49" fmla="*/ 3242310 w 3238500"/>
                    <a:gd name="connsiteY49" fmla="*/ 1034415 h 1790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3238500" h="1790700">
                      <a:moveTo>
                        <a:pt x="3242310" y="1034415"/>
                      </a:moveTo>
                      <a:lnTo>
                        <a:pt x="3242310" y="1159193"/>
                      </a:lnTo>
                      <a:cubicBezTo>
                        <a:pt x="3242310" y="1277303"/>
                        <a:pt x="3168015" y="1374458"/>
                        <a:pt x="3076575" y="1374458"/>
                      </a:cubicBezTo>
                      <a:lnTo>
                        <a:pt x="2966085" y="1374458"/>
                      </a:lnTo>
                      <a:cubicBezTo>
                        <a:pt x="2969895" y="1392555"/>
                        <a:pt x="2971800" y="1412558"/>
                        <a:pt x="2971800" y="1432560"/>
                      </a:cubicBezTo>
                      <a:lnTo>
                        <a:pt x="2971800" y="1575435"/>
                      </a:lnTo>
                      <a:cubicBezTo>
                        <a:pt x="2971800" y="1693545"/>
                        <a:pt x="2897505" y="1790700"/>
                        <a:pt x="2806065" y="1790700"/>
                      </a:cubicBezTo>
                      <a:lnTo>
                        <a:pt x="2378393" y="1790700"/>
                      </a:lnTo>
                      <a:cubicBezTo>
                        <a:pt x="2302193" y="1790700"/>
                        <a:pt x="2236470" y="1722120"/>
                        <a:pt x="2218373" y="1630680"/>
                      </a:cubicBezTo>
                      <a:lnTo>
                        <a:pt x="1858328" y="1630680"/>
                      </a:lnTo>
                      <a:cubicBezTo>
                        <a:pt x="1766888" y="1630680"/>
                        <a:pt x="1692593" y="1561148"/>
                        <a:pt x="1692593" y="1443038"/>
                      </a:cubicBezTo>
                      <a:lnTo>
                        <a:pt x="1692593" y="1417320"/>
                      </a:lnTo>
                      <a:lnTo>
                        <a:pt x="1544003" y="1417320"/>
                      </a:lnTo>
                      <a:cubicBezTo>
                        <a:pt x="1542098" y="1425893"/>
                        <a:pt x="1540193" y="1434465"/>
                        <a:pt x="1537335" y="1442085"/>
                      </a:cubicBezTo>
                      <a:cubicBezTo>
                        <a:pt x="1536383" y="1446848"/>
                        <a:pt x="1534478" y="1451610"/>
                        <a:pt x="1532573" y="1455420"/>
                      </a:cubicBezTo>
                      <a:cubicBezTo>
                        <a:pt x="1532573" y="1456373"/>
                        <a:pt x="1531620" y="1457325"/>
                        <a:pt x="1531620" y="1457325"/>
                      </a:cubicBezTo>
                      <a:cubicBezTo>
                        <a:pt x="1504950" y="1528763"/>
                        <a:pt x="1447800" y="1551623"/>
                        <a:pt x="1382078" y="1551623"/>
                      </a:cubicBezTo>
                      <a:lnTo>
                        <a:pt x="1022985" y="1551623"/>
                      </a:lnTo>
                      <a:cubicBezTo>
                        <a:pt x="1003935" y="1643063"/>
                        <a:pt x="939165" y="1711643"/>
                        <a:pt x="862965" y="1711643"/>
                      </a:cubicBezTo>
                      <a:lnTo>
                        <a:pt x="435293" y="1711643"/>
                      </a:lnTo>
                      <a:cubicBezTo>
                        <a:pt x="343853" y="1711643"/>
                        <a:pt x="269558" y="1614488"/>
                        <a:pt x="269558" y="1496378"/>
                      </a:cubicBezTo>
                      <a:lnTo>
                        <a:pt x="269558" y="1353503"/>
                      </a:lnTo>
                      <a:cubicBezTo>
                        <a:pt x="269558" y="1333500"/>
                        <a:pt x="271462" y="1314450"/>
                        <a:pt x="276225" y="1295400"/>
                      </a:cubicBezTo>
                      <a:lnTo>
                        <a:pt x="165735" y="1295400"/>
                      </a:lnTo>
                      <a:cubicBezTo>
                        <a:pt x="74295" y="1295400"/>
                        <a:pt x="0" y="1198245"/>
                        <a:pt x="0" y="1080135"/>
                      </a:cubicBezTo>
                      <a:lnTo>
                        <a:pt x="0" y="955358"/>
                      </a:lnTo>
                      <a:cubicBezTo>
                        <a:pt x="0" y="837248"/>
                        <a:pt x="74295" y="740093"/>
                        <a:pt x="165735" y="740093"/>
                      </a:cubicBezTo>
                      <a:lnTo>
                        <a:pt x="384810" y="740093"/>
                      </a:lnTo>
                      <a:cubicBezTo>
                        <a:pt x="381000" y="722948"/>
                        <a:pt x="379095" y="703898"/>
                        <a:pt x="379095" y="684848"/>
                      </a:cubicBezTo>
                      <a:lnTo>
                        <a:pt x="379095" y="515303"/>
                      </a:lnTo>
                      <a:cubicBezTo>
                        <a:pt x="379095" y="397193"/>
                        <a:pt x="453390" y="300038"/>
                        <a:pt x="544830" y="300038"/>
                      </a:cubicBezTo>
                      <a:lnTo>
                        <a:pt x="803910" y="300038"/>
                      </a:lnTo>
                      <a:lnTo>
                        <a:pt x="803910" y="220028"/>
                      </a:lnTo>
                      <a:cubicBezTo>
                        <a:pt x="803910" y="99060"/>
                        <a:pt x="880110" y="0"/>
                        <a:pt x="973455" y="0"/>
                      </a:cubicBezTo>
                      <a:lnTo>
                        <a:pt x="1394460" y="0"/>
                      </a:lnTo>
                      <a:cubicBezTo>
                        <a:pt x="1469708" y="0"/>
                        <a:pt x="1533525" y="63818"/>
                        <a:pt x="1555433" y="151448"/>
                      </a:cubicBezTo>
                      <a:cubicBezTo>
                        <a:pt x="1561148" y="173355"/>
                        <a:pt x="1564005" y="195263"/>
                        <a:pt x="1564005" y="219075"/>
                      </a:cubicBezTo>
                      <a:lnTo>
                        <a:pt x="1564005" y="273368"/>
                      </a:lnTo>
                      <a:cubicBezTo>
                        <a:pt x="1564005" y="236220"/>
                        <a:pt x="1573530" y="200978"/>
                        <a:pt x="1588770" y="170498"/>
                      </a:cubicBezTo>
                      <a:cubicBezTo>
                        <a:pt x="1598295" y="152400"/>
                        <a:pt x="1608773" y="135255"/>
                        <a:pt x="1622108" y="120968"/>
                      </a:cubicBezTo>
                      <a:cubicBezTo>
                        <a:pt x="1656398" y="81915"/>
                        <a:pt x="1702118" y="58103"/>
                        <a:pt x="1747838" y="58103"/>
                      </a:cubicBezTo>
                      <a:lnTo>
                        <a:pt x="2266950" y="60960"/>
                      </a:lnTo>
                      <a:cubicBezTo>
                        <a:pt x="2360295" y="60960"/>
                        <a:pt x="2438400" y="176213"/>
                        <a:pt x="2438400" y="297180"/>
                      </a:cubicBezTo>
                      <a:lnTo>
                        <a:pt x="2438400" y="377190"/>
                      </a:lnTo>
                      <a:lnTo>
                        <a:pt x="2697480" y="377190"/>
                      </a:lnTo>
                      <a:cubicBezTo>
                        <a:pt x="2788920" y="377190"/>
                        <a:pt x="2863215" y="474345"/>
                        <a:pt x="2863215" y="592455"/>
                      </a:cubicBezTo>
                      <a:lnTo>
                        <a:pt x="2863215" y="762953"/>
                      </a:lnTo>
                      <a:cubicBezTo>
                        <a:pt x="2863215" y="782003"/>
                        <a:pt x="2861310" y="800100"/>
                        <a:pt x="2857500" y="818198"/>
                      </a:cubicBezTo>
                      <a:lnTo>
                        <a:pt x="3076575" y="818198"/>
                      </a:lnTo>
                      <a:cubicBezTo>
                        <a:pt x="3167063" y="819150"/>
                        <a:pt x="3242310" y="916305"/>
                        <a:pt x="3242310" y="1034415"/>
                      </a:cubicBezTo>
                      <a:close/>
                    </a:path>
                  </a:pathLst>
                </a:custGeom>
                <a:solidFill>
                  <a:srgbClr val="8BC144">
                    <a:alpha val="23000"/>
                  </a:srgb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nvGrpSpPr>
                <p:cNvPr id="31" name="Graphic 3">
                  <a:extLst>
                    <a:ext uri="{FF2B5EF4-FFF2-40B4-BE49-F238E27FC236}">
                      <a16:creationId xmlns:a16="http://schemas.microsoft.com/office/drawing/2014/main" id="{709C2A3F-E8A2-46CA-B54D-5086AF6778BE}"/>
                    </a:ext>
                  </a:extLst>
                </p:cNvPr>
                <p:cNvGrpSpPr/>
                <p:nvPr/>
              </p:nvGrpSpPr>
              <p:grpSpPr>
                <a:xfrm>
                  <a:off x="8038628" y="2312945"/>
                  <a:ext cx="1951578" cy="3657404"/>
                  <a:chOff x="5930265" y="2554604"/>
                  <a:chExt cx="1285875" cy="2409825"/>
                </a:xfrm>
                <a:solidFill>
                  <a:schemeClr val="accent4"/>
                </a:solidFill>
              </p:grpSpPr>
              <p:sp>
                <p:nvSpPr>
                  <p:cNvPr id="99" name="Freeform: Shape 3">
                    <a:extLst>
                      <a:ext uri="{FF2B5EF4-FFF2-40B4-BE49-F238E27FC236}">
                        <a16:creationId xmlns:a16="http://schemas.microsoft.com/office/drawing/2014/main" id="{B8F4F9E4-48AE-468C-BDAF-F3EB3E37E907}"/>
                      </a:ext>
                    </a:extLst>
                  </p:cNvPr>
                  <p:cNvSpPr/>
                  <p:nvPr/>
                </p:nvSpPr>
                <p:spPr>
                  <a:xfrm>
                    <a:off x="5930265" y="4339590"/>
                    <a:ext cx="247650" cy="457200"/>
                  </a:xfrm>
                  <a:custGeom>
                    <a:avLst/>
                    <a:gdLst>
                      <a:gd name="connsiteX0" fmla="*/ 250507 w 247650"/>
                      <a:gd name="connsiteY0" fmla="*/ 0 h 457200"/>
                      <a:gd name="connsiteX1" fmla="*/ 97155 w 247650"/>
                      <a:gd name="connsiteY1" fmla="*/ 130492 h 457200"/>
                      <a:gd name="connsiteX2" fmla="*/ 95250 w 247650"/>
                      <a:gd name="connsiteY2" fmla="*/ 417195 h 457200"/>
                      <a:gd name="connsiteX3" fmla="*/ 47625 w 247650"/>
                      <a:gd name="connsiteY3" fmla="*/ 464820 h 457200"/>
                      <a:gd name="connsiteX4" fmla="*/ 0 w 247650"/>
                      <a:gd name="connsiteY4" fmla="*/ 417195 h 457200"/>
                      <a:gd name="connsiteX5" fmla="*/ 952 w 247650"/>
                      <a:gd name="connsiteY5" fmla="*/ 129540 h 457200"/>
                      <a:gd name="connsiteX6" fmla="*/ 53340 w 247650"/>
                      <a:gd name="connsiteY6" fmla="*/ 0 h 457200"/>
                      <a:gd name="connsiteX7" fmla="*/ 250507 w 247650"/>
                      <a:gd name="connsiteY7" fmla="*/ 0 h 45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7650" h="457200">
                        <a:moveTo>
                          <a:pt x="250507" y="0"/>
                        </a:moveTo>
                        <a:cubicBezTo>
                          <a:pt x="173355" y="0"/>
                          <a:pt x="109538" y="56197"/>
                          <a:pt x="97155" y="130492"/>
                        </a:cubicBezTo>
                        <a:cubicBezTo>
                          <a:pt x="96202" y="138113"/>
                          <a:pt x="95250" y="409575"/>
                          <a:pt x="95250" y="417195"/>
                        </a:cubicBezTo>
                        <a:cubicBezTo>
                          <a:pt x="95250" y="443865"/>
                          <a:pt x="74295" y="464820"/>
                          <a:pt x="47625" y="464820"/>
                        </a:cubicBezTo>
                        <a:cubicBezTo>
                          <a:pt x="20955" y="464820"/>
                          <a:pt x="0" y="443865"/>
                          <a:pt x="0" y="417195"/>
                        </a:cubicBezTo>
                        <a:cubicBezTo>
                          <a:pt x="0" y="408622"/>
                          <a:pt x="0" y="138113"/>
                          <a:pt x="952" y="129540"/>
                        </a:cubicBezTo>
                        <a:cubicBezTo>
                          <a:pt x="5715" y="80963"/>
                          <a:pt x="24765" y="36195"/>
                          <a:pt x="53340" y="0"/>
                        </a:cubicBezTo>
                        <a:lnTo>
                          <a:pt x="250507" y="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00" name="Freeform: Shape 4">
                    <a:extLst>
                      <a:ext uri="{FF2B5EF4-FFF2-40B4-BE49-F238E27FC236}">
                        <a16:creationId xmlns:a16="http://schemas.microsoft.com/office/drawing/2014/main" id="{515729BD-A08E-4053-BECD-0230EC0D8F0F}"/>
                      </a:ext>
                    </a:extLst>
                  </p:cNvPr>
                  <p:cNvSpPr/>
                  <p:nvPr/>
                </p:nvSpPr>
                <p:spPr>
                  <a:xfrm>
                    <a:off x="5982653" y="2554604"/>
                    <a:ext cx="1238250" cy="2409825"/>
                  </a:xfrm>
                  <a:custGeom>
                    <a:avLst/>
                    <a:gdLst>
                      <a:gd name="connsiteX0" fmla="*/ 1239203 w 1238250"/>
                      <a:gd name="connsiteY0" fmla="*/ 448628 h 2409825"/>
                      <a:gd name="connsiteX1" fmla="*/ 1239203 w 1238250"/>
                      <a:gd name="connsiteY1" fmla="*/ 496253 h 2409825"/>
                      <a:gd name="connsiteX2" fmla="*/ 1197292 w 1238250"/>
                      <a:gd name="connsiteY2" fmla="*/ 627698 h 2409825"/>
                      <a:gd name="connsiteX3" fmla="*/ 1036320 w 1238250"/>
                      <a:gd name="connsiteY3" fmla="*/ 721995 h 2409825"/>
                      <a:gd name="connsiteX4" fmla="*/ 1013460 w 1238250"/>
                      <a:gd name="connsiteY4" fmla="*/ 722948 h 2409825"/>
                      <a:gd name="connsiteX5" fmla="*/ 731520 w 1238250"/>
                      <a:gd name="connsiteY5" fmla="*/ 722948 h 2409825"/>
                      <a:gd name="connsiteX6" fmla="*/ 535305 w 1238250"/>
                      <a:gd name="connsiteY6" fmla="*/ 782955 h 2409825"/>
                      <a:gd name="connsiteX7" fmla="*/ 532447 w 1238250"/>
                      <a:gd name="connsiteY7" fmla="*/ 783908 h 2409825"/>
                      <a:gd name="connsiteX8" fmla="*/ 424815 w 1238250"/>
                      <a:gd name="connsiteY8" fmla="*/ 902018 h 2409825"/>
                      <a:gd name="connsiteX9" fmla="*/ 408622 w 1238250"/>
                      <a:gd name="connsiteY9" fmla="*/ 936308 h 2409825"/>
                      <a:gd name="connsiteX10" fmla="*/ 354330 w 1238250"/>
                      <a:gd name="connsiteY10" fmla="*/ 1215390 h 2409825"/>
                      <a:gd name="connsiteX11" fmla="*/ 362902 w 1238250"/>
                      <a:gd name="connsiteY11" fmla="*/ 1294448 h 2409825"/>
                      <a:gd name="connsiteX12" fmla="*/ 435292 w 1238250"/>
                      <a:gd name="connsiteY12" fmla="*/ 1525905 h 2409825"/>
                      <a:gd name="connsiteX13" fmla="*/ 728663 w 1238250"/>
                      <a:gd name="connsiteY13" fmla="*/ 1678305 h 2409825"/>
                      <a:gd name="connsiteX14" fmla="*/ 1095375 w 1238250"/>
                      <a:gd name="connsiteY14" fmla="*/ 1784985 h 2409825"/>
                      <a:gd name="connsiteX15" fmla="*/ 1147763 w 1238250"/>
                      <a:gd name="connsiteY15" fmla="*/ 1914525 h 2409825"/>
                      <a:gd name="connsiteX16" fmla="*/ 1148715 w 1238250"/>
                      <a:gd name="connsiteY16" fmla="*/ 2366963 h 2409825"/>
                      <a:gd name="connsiteX17" fmla="*/ 1101090 w 1238250"/>
                      <a:gd name="connsiteY17" fmla="*/ 2414588 h 2409825"/>
                      <a:gd name="connsiteX18" fmla="*/ 1053465 w 1238250"/>
                      <a:gd name="connsiteY18" fmla="*/ 2366963 h 2409825"/>
                      <a:gd name="connsiteX19" fmla="*/ 1051560 w 1238250"/>
                      <a:gd name="connsiteY19" fmla="*/ 1918335 h 2409825"/>
                      <a:gd name="connsiteX20" fmla="*/ 737235 w 1238250"/>
                      <a:gd name="connsiteY20" fmla="*/ 1784985 h 2409825"/>
                      <a:gd name="connsiteX21" fmla="*/ 0 w 1238250"/>
                      <a:gd name="connsiteY21" fmla="*/ 1784985 h 2409825"/>
                      <a:gd name="connsiteX22" fmla="*/ 146685 w 1238250"/>
                      <a:gd name="connsiteY22" fmla="*/ 1294448 h 2409825"/>
                      <a:gd name="connsiteX23" fmla="*/ 253365 w 1238250"/>
                      <a:gd name="connsiteY23" fmla="*/ 997268 h 2409825"/>
                      <a:gd name="connsiteX24" fmla="*/ 287655 w 1238250"/>
                      <a:gd name="connsiteY24" fmla="*/ 935355 h 2409825"/>
                      <a:gd name="connsiteX25" fmla="*/ 342900 w 1238250"/>
                      <a:gd name="connsiteY25" fmla="*/ 850583 h 2409825"/>
                      <a:gd name="connsiteX26" fmla="*/ 453390 w 1238250"/>
                      <a:gd name="connsiteY26" fmla="*/ 721995 h 2409825"/>
                      <a:gd name="connsiteX27" fmla="*/ 453390 w 1238250"/>
                      <a:gd name="connsiteY27" fmla="*/ 269558 h 2409825"/>
                      <a:gd name="connsiteX28" fmla="*/ 244792 w 1238250"/>
                      <a:gd name="connsiteY28" fmla="*/ 47625 h 2409825"/>
                      <a:gd name="connsiteX29" fmla="*/ 292417 w 1238250"/>
                      <a:gd name="connsiteY29" fmla="*/ 0 h 2409825"/>
                      <a:gd name="connsiteX30" fmla="*/ 340042 w 1238250"/>
                      <a:gd name="connsiteY30" fmla="*/ 47625 h 2409825"/>
                      <a:gd name="connsiteX31" fmla="*/ 467677 w 1238250"/>
                      <a:gd name="connsiteY31" fmla="*/ 175260 h 2409825"/>
                      <a:gd name="connsiteX32" fmla="*/ 535305 w 1238250"/>
                      <a:gd name="connsiteY32" fmla="*/ 175260 h 2409825"/>
                      <a:gd name="connsiteX33" fmla="*/ 662940 w 1238250"/>
                      <a:gd name="connsiteY33" fmla="*/ 47625 h 2409825"/>
                      <a:gd name="connsiteX34" fmla="*/ 710565 w 1238250"/>
                      <a:gd name="connsiteY34" fmla="*/ 0 h 2409825"/>
                      <a:gd name="connsiteX35" fmla="*/ 758190 w 1238250"/>
                      <a:gd name="connsiteY35" fmla="*/ 47625 h 2409825"/>
                      <a:gd name="connsiteX36" fmla="*/ 549593 w 1238250"/>
                      <a:gd name="connsiteY36" fmla="*/ 269558 h 2409825"/>
                      <a:gd name="connsiteX37" fmla="*/ 549593 w 1238250"/>
                      <a:gd name="connsiteY37" fmla="*/ 664845 h 2409825"/>
                      <a:gd name="connsiteX38" fmla="*/ 728663 w 1238250"/>
                      <a:gd name="connsiteY38" fmla="*/ 627698 h 2409825"/>
                      <a:gd name="connsiteX39" fmla="*/ 1010603 w 1238250"/>
                      <a:gd name="connsiteY39" fmla="*/ 627698 h 2409825"/>
                      <a:gd name="connsiteX40" fmla="*/ 1023938 w 1238250"/>
                      <a:gd name="connsiteY40" fmla="*/ 626745 h 2409825"/>
                      <a:gd name="connsiteX41" fmla="*/ 1142048 w 1238250"/>
                      <a:gd name="connsiteY41" fmla="*/ 496253 h 2409825"/>
                      <a:gd name="connsiteX42" fmla="*/ 1142048 w 1238250"/>
                      <a:gd name="connsiteY42" fmla="*/ 448628 h 2409825"/>
                      <a:gd name="connsiteX43" fmla="*/ 1189673 w 1238250"/>
                      <a:gd name="connsiteY43" fmla="*/ 401003 h 2409825"/>
                      <a:gd name="connsiteX44" fmla="*/ 1239203 w 1238250"/>
                      <a:gd name="connsiteY44" fmla="*/ 448628 h 2409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1238250" h="2409825">
                        <a:moveTo>
                          <a:pt x="1239203" y="448628"/>
                        </a:moveTo>
                        <a:lnTo>
                          <a:pt x="1239203" y="496253"/>
                        </a:lnTo>
                        <a:cubicBezTo>
                          <a:pt x="1239203" y="544830"/>
                          <a:pt x="1223963" y="590550"/>
                          <a:pt x="1197292" y="627698"/>
                        </a:cubicBezTo>
                        <a:cubicBezTo>
                          <a:pt x="1160145" y="679133"/>
                          <a:pt x="1102042" y="715328"/>
                          <a:pt x="1036320" y="721995"/>
                        </a:cubicBezTo>
                        <a:cubicBezTo>
                          <a:pt x="1028700" y="722948"/>
                          <a:pt x="1021080" y="722948"/>
                          <a:pt x="1013460" y="722948"/>
                        </a:cubicBezTo>
                        <a:lnTo>
                          <a:pt x="731520" y="722948"/>
                        </a:lnTo>
                        <a:cubicBezTo>
                          <a:pt x="660082" y="722948"/>
                          <a:pt x="591502" y="744855"/>
                          <a:pt x="535305" y="782955"/>
                        </a:cubicBezTo>
                        <a:lnTo>
                          <a:pt x="532447" y="783908"/>
                        </a:lnTo>
                        <a:cubicBezTo>
                          <a:pt x="531495" y="783908"/>
                          <a:pt x="483870" y="822008"/>
                          <a:pt x="424815" y="902018"/>
                        </a:cubicBezTo>
                        <a:cubicBezTo>
                          <a:pt x="419100" y="913448"/>
                          <a:pt x="413385" y="924878"/>
                          <a:pt x="408622" y="936308"/>
                        </a:cubicBezTo>
                        <a:cubicBezTo>
                          <a:pt x="372427" y="1022033"/>
                          <a:pt x="354330" y="1116330"/>
                          <a:pt x="354330" y="1215390"/>
                        </a:cubicBezTo>
                        <a:cubicBezTo>
                          <a:pt x="354330" y="1243965"/>
                          <a:pt x="357188" y="1269683"/>
                          <a:pt x="362902" y="1294448"/>
                        </a:cubicBezTo>
                        <a:cubicBezTo>
                          <a:pt x="376238" y="1350645"/>
                          <a:pt x="401955" y="1487805"/>
                          <a:pt x="435292" y="1525905"/>
                        </a:cubicBezTo>
                        <a:cubicBezTo>
                          <a:pt x="541972" y="1647825"/>
                          <a:pt x="702945" y="1673543"/>
                          <a:pt x="728663" y="1678305"/>
                        </a:cubicBezTo>
                        <a:cubicBezTo>
                          <a:pt x="806768" y="1690688"/>
                          <a:pt x="1029653" y="1723073"/>
                          <a:pt x="1095375" y="1784985"/>
                        </a:cubicBezTo>
                        <a:cubicBezTo>
                          <a:pt x="1128713" y="1817370"/>
                          <a:pt x="1143000" y="1865948"/>
                          <a:pt x="1147763" y="1914525"/>
                        </a:cubicBezTo>
                        <a:cubicBezTo>
                          <a:pt x="1148715" y="1923098"/>
                          <a:pt x="1148715" y="2358390"/>
                          <a:pt x="1148715" y="2366963"/>
                        </a:cubicBezTo>
                        <a:cubicBezTo>
                          <a:pt x="1148715" y="2393633"/>
                          <a:pt x="1127760" y="2414588"/>
                          <a:pt x="1101090" y="2414588"/>
                        </a:cubicBezTo>
                        <a:cubicBezTo>
                          <a:pt x="1074420" y="2414588"/>
                          <a:pt x="1053465" y="2393633"/>
                          <a:pt x="1053465" y="2366963"/>
                        </a:cubicBezTo>
                        <a:cubicBezTo>
                          <a:pt x="1053465" y="2359343"/>
                          <a:pt x="1052513" y="1925002"/>
                          <a:pt x="1051560" y="1918335"/>
                        </a:cubicBezTo>
                        <a:cubicBezTo>
                          <a:pt x="1042035" y="1814513"/>
                          <a:pt x="815340" y="1784985"/>
                          <a:pt x="737235" y="1784985"/>
                        </a:cubicBezTo>
                        <a:lnTo>
                          <a:pt x="0" y="1784985"/>
                        </a:lnTo>
                        <a:cubicBezTo>
                          <a:pt x="66675" y="1559243"/>
                          <a:pt x="132397" y="1360170"/>
                          <a:pt x="146685" y="1294448"/>
                        </a:cubicBezTo>
                        <a:cubicBezTo>
                          <a:pt x="174307" y="1173480"/>
                          <a:pt x="214313" y="1074420"/>
                          <a:pt x="253365" y="997268"/>
                        </a:cubicBezTo>
                        <a:cubicBezTo>
                          <a:pt x="264795" y="974408"/>
                          <a:pt x="276225" y="954405"/>
                          <a:pt x="287655" y="935355"/>
                        </a:cubicBezTo>
                        <a:cubicBezTo>
                          <a:pt x="306705" y="903923"/>
                          <a:pt x="324802" y="875348"/>
                          <a:pt x="342900" y="850583"/>
                        </a:cubicBezTo>
                        <a:cubicBezTo>
                          <a:pt x="371475" y="800100"/>
                          <a:pt x="409575" y="756285"/>
                          <a:pt x="453390" y="721995"/>
                        </a:cubicBezTo>
                        <a:lnTo>
                          <a:pt x="453390" y="269558"/>
                        </a:lnTo>
                        <a:cubicBezTo>
                          <a:pt x="337185" y="261938"/>
                          <a:pt x="244792" y="165735"/>
                          <a:pt x="244792" y="47625"/>
                        </a:cubicBezTo>
                        <a:cubicBezTo>
                          <a:pt x="244792" y="20955"/>
                          <a:pt x="265747" y="0"/>
                          <a:pt x="292417" y="0"/>
                        </a:cubicBezTo>
                        <a:cubicBezTo>
                          <a:pt x="319088" y="0"/>
                          <a:pt x="340042" y="20955"/>
                          <a:pt x="340042" y="47625"/>
                        </a:cubicBezTo>
                        <a:cubicBezTo>
                          <a:pt x="340042" y="118110"/>
                          <a:pt x="397192" y="175260"/>
                          <a:pt x="467677" y="175260"/>
                        </a:cubicBezTo>
                        <a:lnTo>
                          <a:pt x="535305" y="175260"/>
                        </a:lnTo>
                        <a:cubicBezTo>
                          <a:pt x="605790" y="175260"/>
                          <a:pt x="662940" y="118110"/>
                          <a:pt x="662940" y="47625"/>
                        </a:cubicBezTo>
                        <a:cubicBezTo>
                          <a:pt x="662940" y="20955"/>
                          <a:pt x="683895" y="0"/>
                          <a:pt x="710565" y="0"/>
                        </a:cubicBezTo>
                        <a:cubicBezTo>
                          <a:pt x="737235" y="0"/>
                          <a:pt x="758190" y="20955"/>
                          <a:pt x="758190" y="47625"/>
                        </a:cubicBezTo>
                        <a:cubicBezTo>
                          <a:pt x="758190" y="165735"/>
                          <a:pt x="665797" y="261938"/>
                          <a:pt x="549593" y="269558"/>
                        </a:cubicBezTo>
                        <a:lnTo>
                          <a:pt x="549593" y="664845"/>
                        </a:lnTo>
                        <a:cubicBezTo>
                          <a:pt x="604838" y="640080"/>
                          <a:pt x="665797" y="627698"/>
                          <a:pt x="728663" y="627698"/>
                        </a:cubicBezTo>
                        <a:lnTo>
                          <a:pt x="1010603" y="627698"/>
                        </a:lnTo>
                        <a:cubicBezTo>
                          <a:pt x="1015365" y="627698"/>
                          <a:pt x="1019175" y="627698"/>
                          <a:pt x="1023938" y="626745"/>
                        </a:cubicBezTo>
                        <a:cubicBezTo>
                          <a:pt x="1089660" y="620078"/>
                          <a:pt x="1142048" y="563880"/>
                          <a:pt x="1142048" y="496253"/>
                        </a:cubicBezTo>
                        <a:lnTo>
                          <a:pt x="1142048" y="448628"/>
                        </a:lnTo>
                        <a:cubicBezTo>
                          <a:pt x="1142048" y="421958"/>
                          <a:pt x="1163003" y="401003"/>
                          <a:pt x="1189673" y="401003"/>
                        </a:cubicBezTo>
                        <a:cubicBezTo>
                          <a:pt x="1217295" y="401003"/>
                          <a:pt x="1239203" y="421958"/>
                          <a:pt x="1239203" y="44862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sp>
              <p:nvSpPr>
                <p:cNvPr id="32" name="Freeform: Shape 5">
                  <a:extLst>
                    <a:ext uri="{FF2B5EF4-FFF2-40B4-BE49-F238E27FC236}">
                      <a16:creationId xmlns:a16="http://schemas.microsoft.com/office/drawing/2014/main" id="{302A3BBC-DC4D-4EEE-AD7E-77399E84CC75}"/>
                    </a:ext>
                  </a:extLst>
                </p:cNvPr>
                <p:cNvSpPr/>
                <p:nvPr/>
              </p:nvSpPr>
              <p:spPr>
                <a:xfrm>
                  <a:off x="7010798" y="2346149"/>
                  <a:ext cx="2009403" cy="2977966"/>
                </a:xfrm>
                <a:custGeom>
                  <a:avLst/>
                  <a:gdLst>
                    <a:gd name="connsiteX0" fmla="*/ 1332548 w 1323975"/>
                    <a:gd name="connsiteY0" fmla="*/ 1917412 h 1962150"/>
                    <a:gd name="connsiteX1" fmla="*/ 1281113 w 1323975"/>
                    <a:gd name="connsiteY1" fmla="*/ 1965037 h 1962150"/>
                    <a:gd name="connsiteX2" fmla="*/ 1237298 w 1323975"/>
                    <a:gd name="connsiteY2" fmla="*/ 1917412 h 1962150"/>
                    <a:gd name="connsiteX3" fmla="*/ 1042035 w 1323975"/>
                    <a:gd name="connsiteY3" fmla="*/ 1763108 h 1962150"/>
                    <a:gd name="connsiteX4" fmla="*/ 420053 w 1323975"/>
                    <a:gd name="connsiteY4" fmla="*/ 1763108 h 1962150"/>
                    <a:gd name="connsiteX5" fmla="*/ 240983 w 1323975"/>
                    <a:gd name="connsiteY5" fmla="*/ 1917412 h 1962150"/>
                    <a:gd name="connsiteX6" fmla="*/ 197167 w 1323975"/>
                    <a:gd name="connsiteY6" fmla="*/ 1965037 h 1962150"/>
                    <a:gd name="connsiteX7" fmla="*/ 145733 w 1323975"/>
                    <a:gd name="connsiteY7" fmla="*/ 1917412 h 1962150"/>
                    <a:gd name="connsiteX8" fmla="*/ 377190 w 1323975"/>
                    <a:gd name="connsiteY8" fmla="*/ 1670715 h 1962150"/>
                    <a:gd name="connsiteX9" fmla="*/ 490538 w 1323975"/>
                    <a:gd name="connsiteY9" fmla="*/ 1637377 h 1962150"/>
                    <a:gd name="connsiteX10" fmla="*/ 876300 w 1323975"/>
                    <a:gd name="connsiteY10" fmla="*/ 1271617 h 1962150"/>
                    <a:gd name="connsiteX11" fmla="*/ 884872 w 1323975"/>
                    <a:gd name="connsiteY11" fmla="*/ 1192560 h 1962150"/>
                    <a:gd name="connsiteX12" fmla="*/ 830580 w 1323975"/>
                    <a:gd name="connsiteY12" fmla="*/ 913477 h 1962150"/>
                    <a:gd name="connsiteX13" fmla="*/ 814388 w 1323975"/>
                    <a:gd name="connsiteY13" fmla="*/ 879187 h 1962150"/>
                    <a:gd name="connsiteX14" fmla="*/ 706755 w 1323975"/>
                    <a:gd name="connsiteY14" fmla="*/ 761077 h 1962150"/>
                    <a:gd name="connsiteX15" fmla="*/ 704850 w 1323975"/>
                    <a:gd name="connsiteY15" fmla="*/ 760125 h 1962150"/>
                    <a:gd name="connsiteX16" fmla="*/ 508635 w 1323975"/>
                    <a:gd name="connsiteY16" fmla="*/ 700117 h 1962150"/>
                    <a:gd name="connsiteX17" fmla="*/ 226695 w 1323975"/>
                    <a:gd name="connsiteY17" fmla="*/ 700117 h 1962150"/>
                    <a:gd name="connsiteX18" fmla="*/ 0 w 1323975"/>
                    <a:gd name="connsiteY18" fmla="*/ 473422 h 1962150"/>
                    <a:gd name="connsiteX19" fmla="*/ 0 w 1323975"/>
                    <a:gd name="connsiteY19" fmla="*/ 428655 h 1962150"/>
                    <a:gd name="connsiteX20" fmla="*/ 44767 w 1323975"/>
                    <a:gd name="connsiteY20" fmla="*/ 379125 h 1962150"/>
                    <a:gd name="connsiteX21" fmla="*/ 95250 w 1323975"/>
                    <a:gd name="connsiteY21" fmla="*/ 426750 h 1962150"/>
                    <a:gd name="connsiteX22" fmla="*/ 95250 w 1323975"/>
                    <a:gd name="connsiteY22" fmla="*/ 474375 h 1962150"/>
                    <a:gd name="connsiteX23" fmla="*/ 226695 w 1323975"/>
                    <a:gd name="connsiteY23" fmla="*/ 605820 h 1962150"/>
                    <a:gd name="connsiteX24" fmla="*/ 509588 w 1323975"/>
                    <a:gd name="connsiteY24" fmla="*/ 605820 h 1962150"/>
                    <a:gd name="connsiteX25" fmla="*/ 688658 w 1323975"/>
                    <a:gd name="connsiteY25" fmla="*/ 642967 h 1962150"/>
                    <a:gd name="connsiteX26" fmla="*/ 688658 w 1323975"/>
                    <a:gd name="connsiteY26" fmla="*/ 269587 h 1962150"/>
                    <a:gd name="connsiteX27" fmla="*/ 480060 w 1323975"/>
                    <a:gd name="connsiteY27" fmla="*/ 49560 h 1962150"/>
                    <a:gd name="connsiteX28" fmla="*/ 525780 w 1323975"/>
                    <a:gd name="connsiteY28" fmla="*/ 30 h 1962150"/>
                    <a:gd name="connsiteX29" fmla="*/ 575310 w 1323975"/>
                    <a:gd name="connsiteY29" fmla="*/ 47655 h 1962150"/>
                    <a:gd name="connsiteX30" fmla="*/ 702945 w 1323975"/>
                    <a:gd name="connsiteY30" fmla="*/ 175290 h 1962150"/>
                    <a:gd name="connsiteX31" fmla="*/ 708660 w 1323975"/>
                    <a:gd name="connsiteY31" fmla="*/ 175290 h 1962150"/>
                    <a:gd name="connsiteX32" fmla="*/ 783908 w 1323975"/>
                    <a:gd name="connsiteY32" fmla="*/ 250537 h 1962150"/>
                    <a:gd name="connsiteX33" fmla="*/ 783908 w 1323975"/>
                    <a:gd name="connsiteY33" fmla="*/ 700117 h 1962150"/>
                    <a:gd name="connsiteX34" fmla="*/ 894397 w 1323975"/>
                    <a:gd name="connsiteY34" fmla="*/ 828705 h 1962150"/>
                    <a:gd name="connsiteX35" fmla="*/ 949643 w 1323975"/>
                    <a:gd name="connsiteY35" fmla="*/ 913477 h 1962150"/>
                    <a:gd name="connsiteX36" fmla="*/ 983933 w 1323975"/>
                    <a:gd name="connsiteY36" fmla="*/ 975390 h 1962150"/>
                    <a:gd name="connsiteX37" fmla="*/ 1090613 w 1323975"/>
                    <a:gd name="connsiteY37" fmla="*/ 1272570 h 1962150"/>
                    <a:gd name="connsiteX38" fmla="*/ 1278255 w 1323975"/>
                    <a:gd name="connsiteY38" fmla="*/ 1763108 h 1962150"/>
                    <a:gd name="connsiteX39" fmla="*/ 1332548 w 1323975"/>
                    <a:gd name="connsiteY39" fmla="*/ 1917412 h 1962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323975" h="1962150">
                      <a:moveTo>
                        <a:pt x="1332548" y="1917412"/>
                      </a:moveTo>
                      <a:cubicBezTo>
                        <a:pt x="1332548" y="1945035"/>
                        <a:pt x="1308735" y="1966942"/>
                        <a:pt x="1281113" y="1965037"/>
                      </a:cubicBezTo>
                      <a:cubicBezTo>
                        <a:pt x="1256348" y="1963133"/>
                        <a:pt x="1238250" y="1941225"/>
                        <a:pt x="1237298" y="1917412"/>
                      </a:cubicBezTo>
                      <a:cubicBezTo>
                        <a:pt x="1237298" y="1832640"/>
                        <a:pt x="1127760" y="1763108"/>
                        <a:pt x="1042035" y="1763108"/>
                      </a:cubicBezTo>
                      <a:lnTo>
                        <a:pt x="420053" y="1763108"/>
                      </a:lnTo>
                      <a:cubicBezTo>
                        <a:pt x="335280" y="1763108"/>
                        <a:pt x="240983" y="1832640"/>
                        <a:pt x="240983" y="1917412"/>
                      </a:cubicBezTo>
                      <a:cubicBezTo>
                        <a:pt x="240983" y="1942177"/>
                        <a:pt x="221933" y="1963133"/>
                        <a:pt x="197167" y="1965037"/>
                      </a:cubicBezTo>
                      <a:cubicBezTo>
                        <a:pt x="168592" y="1966942"/>
                        <a:pt x="145733" y="1945035"/>
                        <a:pt x="145733" y="1917412"/>
                      </a:cubicBezTo>
                      <a:cubicBezTo>
                        <a:pt x="145733" y="1793587"/>
                        <a:pt x="255270" y="1690717"/>
                        <a:pt x="377190" y="1670715"/>
                      </a:cubicBezTo>
                      <a:cubicBezTo>
                        <a:pt x="416242" y="1664048"/>
                        <a:pt x="454342" y="1654523"/>
                        <a:pt x="490538" y="1637377"/>
                      </a:cubicBezTo>
                      <a:cubicBezTo>
                        <a:pt x="611505" y="1581180"/>
                        <a:pt x="834390" y="1450688"/>
                        <a:pt x="876300" y="1271617"/>
                      </a:cubicBezTo>
                      <a:cubicBezTo>
                        <a:pt x="882015" y="1246852"/>
                        <a:pt x="884872" y="1221135"/>
                        <a:pt x="884872" y="1192560"/>
                      </a:cubicBezTo>
                      <a:cubicBezTo>
                        <a:pt x="884872" y="1093500"/>
                        <a:pt x="866775" y="1000155"/>
                        <a:pt x="830580" y="913477"/>
                      </a:cubicBezTo>
                      <a:cubicBezTo>
                        <a:pt x="825818" y="902047"/>
                        <a:pt x="820103" y="890617"/>
                        <a:pt x="814388" y="879187"/>
                      </a:cubicBezTo>
                      <a:cubicBezTo>
                        <a:pt x="755333" y="799177"/>
                        <a:pt x="707708" y="761077"/>
                        <a:pt x="706755" y="761077"/>
                      </a:cubicBezTo>
                      <a:lnTo>
                        <a:pt x="704850" y="760125"/>
                      </a:lnTo>
                      <a:cubicBezTo>
                        <a:pt x="648653" y="722025"/>
                        <a:pt x="580072" y="700117"/>
                        <a:pt x="508635" y="700117"/>
                      </a:cubicBezTo>
                      <a:lnTo>
                        <a:pt x="226695" y="700117"/>
                      </a:lnTo>
                      <a:cubicBezTo>
                        <a:pt x="101917" y="700117"/>
                        <a:pt x="0" y="599152"/>
                        <a:pt x="0" y="473422"/>
                      </a:cubicBezTo>
                      <a:lnTo>
                        <a:pt x="0" y="428655"/>
                      </a:lnTo>
                      <a:cubicBezTo>
                        <a:pt x="0" y="402937"/>
                        <a:pt x="19050" y="381030"/>
                        <a:pt x="44767" y="379125"/>
                      </a:cubicBezTo>
                      <a:cubicBezTo>
                        <a:pt x="72390" y="377220"/>
                        <a:pt x="95250" y="399127"/>
                        <a:pt x="95250" y="426750"/>
                      </a:cubicBezTo>
                      <a:lnTo>
                        <a:pt x="95250" y="474375"/>
                      </a:lnTo>
                      <a:cubicBezTo>
                        <a:pt x="95250" y="546765"/>
                        <a:pt x="154305" y="605820"/>
                        <a:pt x="226695" y="605820"/>
                      </a:cubicBezTo>
                      <a:lnTo>
                        <a:pt x="509588" y="605820"/>
                      </a:lnTo>
                      <a:cubicBezTo>
                        <a:pt x="572453" y="605820"/>
                        <a:pt x="633413" y="619155"/>
                        <a:pt x="688658" y="642967"/>
                      </a:cubicBezTo>
                      <a:lnTo>
                        <a:pt x="688658" y="269587"/>
                      </a:lnTo>
                      <a:cubicBezTo>
                        <a:pt x="573405" y="262920"/>
                        <a:pt x="481013" y="166717"/>
                        <a:pt x="480060" y="49560"/>
                      </a:cubicBezTo>
                      <a:cubicBezTo>
                        <a:pt x="480060" y="23842"/>
                        <a:pt x="499110" y="982"/>
                        <a:pt x="525780" y="30"/>
                      </a:cubicBezTo>
                      <a:cubicBezTo>
                        <a:pt x="553403" y="-923"/>
                        <a:pt x="575310" y="20985"/>
                        <a:pt x="575310" y="47655"/>
                      </a:cubicBezTo>
                      <a:cubicBezTo>
                        <a:pt x="575310" y="118140"/>
                        <a:pt x="632460" y="175290"/>
                        <a:pt x="702945" y="175290"/>
                      </a:cubicBezTo>
                      <a:cubicBezTo>
                        <a:pt x="702945" y="175290"/>
                        <a:pt x="704850" y="175290"/>
                        <a:pt x="708660" y="175290"/>
                      </a:cubicBezTo>
                      <a:cubicBezTo>
                        <a:pt x="750570" y="175290"/>
                        <a:pt x="783908" y="208627"/>
                        <a:pt x="783908" y="250537"/>
                      </a:cubicBezTo>
                      <a:lnTo>
                        <a:pt x="783908" y="700117"/>
                      </a:lnTo>
                      <a:cubicBezTo>
                        <a:pt x="828675" y="734408"/>
                        <a:pt x="865822" y="778222"/>
                        <a:pt x="894397" y="828705"/>
                      </a:cubicBezTo>
                      <a:cubicBezTo>
                        <a:pt x="912495" y="853470"/>
                        <a:pt x="931545" y="881092"/>
                        <a:pt x="949643" y="913477"/>
                      </a:cubicBezTo>
                      <a:cubicBezTo>
                        <a:pt x="961072" y="932527"/>
                        <a:pt x="972503" y="953483"/>
                        <a:pt x="983933" y="975390"/>
                      </a:cubicBezTo>
                      <a:cubicBezTo>
                        <a:pt x="1022985" y="1052542"/>
                        <a:pt x="1050608" y="1155413"/>
                        <a:pt x="1090613" y="1272570"/>
                      </a:cubicBezTo>
                      <a:cubicBezTo>
                        <a:pt x="1134428" y="1401158"/>
                        <a:pt x="1252538" y="1737390"/>
                        <a:pt x="1278255" y="1763108"/>
                      </a:cubicBezTo>
                      <a:cubicBezTo>
                        <a:pt x="1317308" y="1802160"/>
                        <a:pt x="1332548" y="1859310"/>
                        <a:pt x="1332548" y="1917412"/>
                      </a:cubicBezTo>
                      <a:close/>
                    </a:path>
                  </a:pathLst>
                </a:custGeom>
                <a:solidFill>
                  <a:schemeClr val="accent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3" name="Freeform: Shape 6">
                  <a:extLst>
                    <a:ext uri="{FF2B5EF4-FFF2-40B4-BE49-F238E27FC236}">
                      <a16:creationId xmlns:a16="http://schemas.microsoft.com/office/drawing/2014/main" id="{788FEA9F-E261-43C5-97CC-11AF3B6D9F1E}"/>
                    </a:ext>
                  </a:extLst>
                </p:cNvPr>
                <p:cNvSpPr/>
                <p:nvPr/>
              </p:nvSpPr>
              <p:spPr>
                <a:xfrm>
                  <a:off x="5320661" y="2087206"/>
                  <a:ext cx="2094306" cy="1341747"/>
                </a:xfrm>
                <a:custGeom>
                  <a:avLst/>
                  <a:gdLst>
                    <a:gd name="connsiteX0" fmla="*/ 1211580 w 1209675"/>
                    <a:gd name="connsiteY0" fmla="*/ 361950 h 704850"/>
                    <a:gd name="connsiteX1" fmla="*/ 1211580 w 1209675"/>
                    <a:gd name="connsiteY1" fmla="*/ 442913 h 704850"/>
                    <a:gd name="connsiteX2" fmla="*/ 1047750 w 1209675"/>
                    <a:gd name="connsiteY2" fmla="*/ 606743 h 704850"/>
                    <a:gd name="connsiteX3" fmla="*/ 661988 w 1209675"/>
                    <a:gd name="connsiteY3" fmla="*/ 606743 h 704850"/>
                    <a:gd name="connsiteX4" fmla="*/ 511493 w 1209675"/>
                    <a:gd name="connsiteY4" fmla="*/ 705803 h 704850"/>
                    <a:gd name="connsiteX5" fmla="*/ 163830 w 1209675"/>
                    <a:gd name="connsiteY5" fmla="*/ 705803 h 704850"/>
                    <a:gd name="connsiteX6" fmla="*/ 0 w 1209675"/>
                    <a:gd name="connsiteY6" fmla="*/ 541972 h 704850"/>
                    <a:gd name="connsiteX7" fmla="*/ 0 w 1209675"/>
                    <a:gd name="connsiteY7" fmla="*/ 435292 h 704850"/>
                    <a:gd name="connsiteX8" fmla="*/ 163830 w 1209675"/>
                    <a:gd name="connsiteY8" fmla="*/ 271463 h 704850"/>
                    <a:gd name="connsiteX9" fmla="*/ 336233 w 1209675"/>
                    <a:gd name="connsiteY9" fmla="*/ 271463 h 704850"/>
                    <a:gd name="connsiteX10" fmla="*/ 337185 w 1209675"/>
                    <a:gd name="connsiteY10" fmla="*/ 163830 h 704850"/>
                    <a:gd name="connsiteX11" fmla="*/ 501015 w 1209675"/>
                    <a:gd name="connsiteY11" fmla="*/ 0 h 704850"/>
                    <a:gd name="connsiteX12" fmla="*/ 760095 w 1209675"/>
                    <a:gd name="connsiteY12" fmla="*/ 0 h 704850"/>
                    <a:gd name="connsiteX13" fmla="*/ 923925 w 1209675"/>
                    <a:gd name="connsiteY13" fmla="*/ 163830 h 704850"/>
                    <a:gd name="connsiteX14" fmla="*/ 923925 w 1209675"/>
                    <a:gd name="connsiteY14" fmla="*/ 198120 h 704850"/>
                    <a:gd name="connsiteX15" fmla="*/ 1048703 w 1209675"/>
                    <a:gd name="connsiteY15" fmla="*/ 198120 h 704850"/>
                    <a:gd name="connsiteX16" fmla="*/ 1211580 w 1209675"/>
                    <a:gd name="connsiteY16" fmla="*/ 361950 h 70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09675" h="704850">
                      <a:moveTo>
                        <a:pt x="1211580" y="361950"/>
                      </a:moveTo>
                      <a:lnTo>
                        <a:pt x="1211580" y="442913"/>
                      </a:lnTo>
                      <a:cubicBezTo>
                        <a:pt x="1211580" y="532447"/>
                        <a:pt x="1138238" y="606743"/>
                        <a:pt x="1047750" y="606743"/>
                      </a:cubicBezTo>
                      <a:lnTo>
                        <a:pt x="661988" y="606743"/>
                      </a:lnTo>
                      <a:cubicBezTo>
                        <a:pt x="636270" y="664845"/>
                        <a:pt x="579120" y="705803"/>
                        <a:pt x="511493" y="705803"/>
                      </a:cubicBezTo>
                      <a:lnTo>
                        <a:pt x="163830" y="705803"/>
                      </a:lnTo>
                      <a:cubicBezTo>
                        <a:pt x="73343" y="705803"/>
                        <a:pt x="0" y="632460"/>
                        <a:pt x="0" y="541972"/>
                      </a:cubicBezTo>
                      <a:lnTo>
                        <a:pt x="0" y="435292"/>
                      </a:lnTo>
                      <a:cubicBezTo>
                        <a:pt x="0" y="344805"/>
                        <a:pt x="73343" y="271463"/>
                        <a:pt x="163830" y="271463"/>
                      </a:cubicBezTo>
                      <a:lnTo>
                        <a:pt x="336233" y="271463"/>
                      </a:lnTo>
                      <a:lnTo>
                        <a:pt x="337185" y="163830"/>
                      </a:lnTo>
                      <a:cubicBezTo>
                        <a:pt x="337185" y="73342"/>
                        <a:pt x="410528" y="0"/>
                        <a:pt x="501015" y="0"/>
                      </a:cubicBezTo>
                      <a:lnTo>
                        <a:pt x="760095" y="0"/>
                      </a:lnTo>
                      <a:cubicBezTo>
                        <a:pt x="850583" y="0"/>
                        <a:pt x="923925" y="73342"/>
                        <a:pt x="923925" y="163830"/>
                      </a:cubicBezTo>
                      <a:lnTo>
                        <a:pt x="923925" y="198120"/>
                      </a:lnTo>
                      <a:lnTo>
                        <a:pt x="1048703" y="198120"/>
                      </a:lnTo>
                      <a:cubicBezTo>
                        <a:pt x="1138238" y="198120"/>
                        <a:pt x="1211580" y="272415"/>
                        <a:pt x="1211580" y="361950"/>
                      </a:cubicBezTo>
                      <a:close/>
                    </a:path>
                  </a:pathLst>
                </a:custGeom>
                <a:solidFill>
                  <a:schemeClr val="accent1"/>
                </a:solidFill>
                <a:ln w="9525" cap="flat">
                  <a:noFill/>
                  <a:prstDash val="solid"/>
                  <a:miter/>
                </a:ln>
                <a:effectLst>
                  <a:outerShdw blurRad="215900" dist="114300" dir="2700000" sx="96000" sy="96000" algn="tl" rotWithShape="0">
                    <a:prstClr val="black">
                      <a:alpha val="30000"/>
                    </a:prstClr>
                  </a:outerShdw>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4" name="Freeform: Shape 7">
                  <a:extLst>
                    <a:ext uri="{FF2B5EF4-FFF2-40B4-BE49-F238E27FC236}">
                      <a16:creationId xmlns:a16="http://schemas.microsoft.com/office/drawing/2014/main" id="{F328BEF0-499C-4684-9D38-4ECACA421BF0}"/>
                    </a:ext>
                  </a:extLst>
                </p:cNvPr>
                <p:cNvSpPr/>
                <p:nvPr/>
              </p:nvSpPr>
              <p:spPr>
                <a:xfrm>
                  <a:off x="8073723" y="1194852"/>
                  <a:ext cx="1963575" cy="1260145"/>
                </a:xfrm>
                <a:custGeom>
                  <a:avLst/>
                  <a:gdLst>
                    <a:gd name="connsiteX0" fmla="*/ 1057275 w 1057275"/>
                    <a:gd name="connsiteY0" fmla="*/ 312420 h 723900"/>
                    <a:gd name="connsiteX1" fmla="*/ 1057275 w 1057275"/>
                    <a:gd name="connsiteY1" fmla="*/ 591503 h 723900"/>
                    <a:gd name="connsiteX2" fmla="*/ 921068 w 1057275"/>
                    <a:gd name="connsiteY2" fmla="*/ 727710 h 723900"/>
                    <a:gd name="connsiteX3" fmla="*/ 136208 w 1057275"/>
                    <a:gd name="connsiteY3" fmla="*/ 727710 h 723900"/>
                    <a:gd name="connsiteX4" fmla="*/ 0 w 1057275"/>
                    <a:gd name="connsiteY4" fmla="*/ 591503 h 723900"/>
                    <a:gd name="connsiteX5" fmla="*/ 0 w 1057275"/>
                    <a:gd name="connsiteY5" fmla="*/ 312420 h 723900"/>
                    <a:gd name="connsiteX6" fmla="*/ 136208 w 1057275"/>
                    <a:gd name="connsiteY6" fmla="*/ 176213 h 723900"/>
                    <a:gd name="connsiteX7" fmla="*/ 231458 w 1057275"/>
                    <a:gd name="connsiteY7" fmla="*/ 176213 h 723900"/>
                    <a:gd name="connsiteX8" fmla="*/ 231458 w 1057275"/>
                    <a:gd name="connsiteY8" fmla="*/ 96203 h 723900"/>
                    <a:gd name="connsiteX9" fmla="*/ 327660 w 1057275"/>
                    <a:gd name="connsiteY9" fmla="*/ 0 h 723900"/>
                    <a:gd name="connsiteX10" fmla="*/ 729615 w 1057275"/>
                    <a:gd name="connsiteY10" fmla="*/ 0 h 723900"/>
                    <a:gd name="connsiteX11" fmla="*/ 825818 w 1057275"/>
                    <a:gd name="connsiteY11" fmla="*/ 96203 h 723900"/>
                    <a:gd name="connsiteX12" fmla="*/ 825818 w 1057275"/>
                    <a:gd name="connsiteY12" fmla="*/ 176213 h 723900"/>
                    <a:gd name="connsiteX13" fmla="*/ 921068 w 1057275"/>
                    <a:gd name="connsiteY13" fmla="*/ 176213 h 723900"/>
                    <a:gd name="connsiteX14" fmla="*/ 1057275 w 1057275"/>
                    <a:gd name="connsiteY14" fmla="*/ 312420 h 723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057275" h="723900">
                      <a:moveTo>
                        <a:pt x="1057275" y="312420"/>
                      </a:moveTo>
                      <a:lnTo>
                        <a:pt x="1057275" y="591503"/>
                      </a:lnTo>
                      <a:cubicBezTo>
                        <a:pt x="1057275" y="666750"/>
                        <a:pt x="996315" y="727710"/>
                        <a:pt x="921068" y="727710"/>
                      </a:cubicBezTo>
                      <a:lnTo>
                        <a:pt x="136208" y="727710"/>
                      </a:lnTo>
                      <a:cubicBezTo>
                        <a:pt x="60960" y="727710"/>
                        <a:pt x="0" y="666750"/>
                        <a:pt x="0" y="591503"/>
                      </a:cubicBezTo>
                      <a:lnTo>
                        <a:pt x="0" y="312420"/>
                      </a:lnTo>
                      <a:cubicBezTo>
                        <a:pt x="0" y="237173"/>
                        <a:pt x="60960" y="176213"/>
                        <a:pt x="136208" y="176213"/>
                      </a:cubicBezTo>
                      <a:lnTo>
                        <a:pt x="231458" y="176213"/>
                      </a:lnTo>
                      <a:lnTo>
                        <a:pt x="231458" y="96203"/>
                      </a:lnTo>
                      <a:cubicBezTo>
                        <a:pt x="231458" y="42863"/>
                        <a:pt x="275272" y="0"/>
                        <a:pt x="327660" y="0"/>
                      </a:cubicBezTo>
                      <a:lnTo>
                        <a:pt x="729615" y="0"/>
                      </a:lnTo>
                      <a:cubicBezTo>
                        <a:pt x="782955" y="0"/>
                        <a:pt x="825818" y="43815"/>
                        <a:pt x="825818" y="96203"/>
                      </a:cubicBezTo>
                      <a:lnTo>
                        <a:pt x="825818" y="176213"/>
                      </a:lnTo>
                      <a:lnTo>
                        <a:pt x="921068" y="176213"/>
                      </a:lnTo>
                      <a:cubicBezTo>
                        <a:pt x="996315" y="176213"/>
                        <a:pt x="1057275" y="237173"/>
                        <a:pt x="1057275" y="312420"/>
                      </a:cubicBezTo>
                      <a:close/>
                    </a:path>
                  </a:pathLst>
                </a:custGeom>
                <a:solidFill>
                  <a:schemeClr val="accent3"/>
                </a:solidFill>
                <a:ln w="9525" cap="flat">
                  <a:noFill/>
                  <a:prstDash val="solid"/>
                  <a:miter/>
                </a:ln>
                <a:effectLst>
                  <a:outerShdw blurRad="215900" dist="114300" dir="2700000" sx="96000" sy="96000" algn="tl" rotWithShape="0">
                    <a:prstClr val="black">
                      <a:alpha val="30000"/>
                    </a:prstClr>
                  </a:outerShdw>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5" name="Freeform: Shape 8">
                  <a:extLst>
                    <a:ext uri="{FF2B5EF4-FFF2-40B4-BE49-F238E27FC236}">
                      <a16:creationId xmlns:a16="http://schemas.microsoft.com/office/drawing/2014/main" id="{124273EB-651D-4BB5-A80B-D1807C68FDCB}"/>
                    </a:ext>
                  </a:extLst>
                </p:cNvPr>
                <p:cNvSpPr/>
                <p:nvPr/>
              </p:nvSpPr>
              <p:spPr>
                <a:xfrm>
                  <a:off x="10419401" y="1531445"/>
                  <a:ext cx="495316" cy="464265"/>
                </a:xfrm>
                <a:custGeom>
                  <a:avLst/>
                  <a:gdLst>
                    <a:gd name="connsiteX0" fmla="*/ 0 w 266700"/>
                    <a:gd name="connsiteY0" fmla="*/ 169545 h 266700"/>
                    <a:gd name="connsiteX1" fmla="*/ 0 w 266700"/>
                    <a:gd name="connsiteY1" fmla="*/ 271462 h 266700"/>
                    <a:gd name="connsiteX2" fmla="*/ 100965 w 266700"/>
                    <a:gd name="connsiteY2" fmla="*/ 271462 h 266700"/>
                    <a:gd name="connsiteX3" fmla="*/ 271463 w 266700"/>
                    <a:gd name="connsiteY3" fmla="*/ 100965 h 266700"/>
                    <a:gd name="connsiteX4" fmla="*/ 271463 w 266700"/>
                    <a:gd name="connsiteY4" fmla="*/ 0 h 266700"/>
                    <a:gd name="connsiteX5" fmla="*/ 169545 w 266700"/>
                    <a:gd name="connsiteY5" fmla="*/ 0 h 266700"/>
                    <a:gd name="connsiteX6" fmla="*/ 0 w 266700"/>
                    <a:gd name="connsiteY6" fmla="*/ 169545 h 266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6700" h="266700">
                      <a:moveTo>
                        <a:pt x="0" y="169545"/>
                      </a:moveTo>
                      <a:lnTo>
                        <a:pt x="0" y="271462"/>
                      </a:lnTo>
                      <a:lnTo>
                        <a:pt x="100965" y="271462"/>
                      </a:lnTo>
                      <a:cubicBezTo>
                        <a:pt x="195263" y="271462"/>
                        <a:pt x="271463" y="195263"/>
                        <a:pt x="271463" y="100965"/>
                      </a:cubicBezTo>
                      <a:lnTo>
                        <a:pt x="271463" y="0"/>
                      </a:lnTo>
                      <a:lnTo>
                        <a:pt x="169545" y="0"/>
                      </a:lnTo>
                      <a:cubicBezTo>
                        <a:pt x="75247" y="0"/>
                        <a:pt x="0" y="76200"/>
                        <a:pt x="0" y="169545"/>
                      </a:cubicBezTo>
                      <a:close/>
                    </a:path>
                  </a:pathLst>
                </a:custGeom>
                <a:solidFill>
                  <a:schemeClr val="accent4"/>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6" name="Freeform: Shape 9">
                  <a:extLst>
                    <a:ext uri="{FF2B5EF4-FFF2-40B4-BE49-F238E27FC236}">
                      <a16:creationId xmlns:a16="http://schemas.microsoft.com/office/drawing/2014/main" id="{0C4C5A11-3AE8-4DF3-B0AD-7892736884DF}"/>
                    </a:ext>
                  </a:extLst>
                </p:cNvPr>
                <p:cNvSpPr/>
                <p:nvPr/>
              </p:nvSpPr>
              <p:spPr>
                <a:xfrm>
                  <a:off x="10115134" y="1738705"/>
                  <a:ext cx="265348" cy="248714"/>
                </a:xfrm>
                <a:custGeom>
                  <a:avLst/>
                  <a:gdLst>
                    <a:gd name="connsiteX0" fmla="*/ 147638 w 142875"/>
                    <a:gd name="connsiteY0" fmla="*/ 92393 h 142875"/>
                    <a:gd name="connsiteX1" fmla="*/ 147638 w 142875"/>
                    <a:gd name="connsiteY1" fmla="*/ 147637 h 142875"/>
                    <a:gd name="connsiteX2" fmla="*/ 92393 w 142875"/>
                    <a:gd name="connsiteY2" fmla="*/ 147637 h 142875"/>
                    <a:gd name="connsiteX3" fmla="*/ 0 w 142875"/>
                    <a:gd name="connsiteY3" fmla="*/ 55245 h 142875"/>
                    <a:gd name="connsiteX4" fmla="*/ 0 w 142875"/>
                    <a:gd name="connsiteY4" fmla="*/ 0 h 142875"/>
                    <a:gd name="connsiteX5" fmla="*/ 55245 w 142875"/>
                    <a:gd name="connsiteY5" fmla="*/ 0 h 142875"/>
                    <a:gd name="connsiteX6" fmla="*/ 147638 w 142875"/>
                    <a:gd name="connsiteY6" fmla="*/ 92393 h 14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5" h="142875">
                      <a:moveTo>
                        <a:pt x="147638" y="92393"/>
                      </a:moveTo>
                      <a:lnTo>
                        <a:pt x="147638" y="147637"/>
                      </a:lnTo>
                      <a:lnTo>
                        <a:pt x="92393" y="147637"/>
                      </a:lnTo>
                      <a:cubicBezTo>
                        <a:pt x="41910" y="147637"/>
                        <a:pt x="0" y="106680"/>
                        <a:pt x="0" y="55245"/>
                      </a:cubicBezTo>
                      <a:lnTo>
                        <a:pt x="0" y="0"/>
                      </a:lnTo>
                      <a:lnTo>
                        <a:pt x="55245" y="0"/>
                      </a:lnTo>
                      <a:cubicBezTo>
                        <a:pt x="106680" y="952"/>
                        <a:pt x="147638" y="41910"/>
                        <a:pt x="147638" y="92393"/>
                      </a:cubicBezTo>
                      <a:close/>
                    </a:path>
                  </a:pathLst>
                </a:custGeom>
                <a:solidFill>
                  <a:schemeClr val="accent4"/>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7" name="Freeform: Shape 10">
                  <a:extLst>
                    <a:ext uri="{FF2B5EF4-FFF2-40B4-BE49-F238E27FC236}">
                      <a16:creationId xmlns:a16="http://schemas.microsoft.com/office/drawing/2014/main" id="{556FB2DB-2120-4C3D-8A6D-6F09516C732F}"/>
                    </a:ext>
                  </a:extLst>
                </p:cNvPr>
                <p:cNvSpPr/>
                <p:nvPr/>
              </p:nvSpPr>
              <p:spPr>
                <a:xfrm>
                  <a:off x="7965815" y="971011"/>
                  <a:ext cx="495316" cy="464265"/>
                </a:xfrm>
                <a:custGeom>
                  <a:avLst/>
                  <a:gdLst>
                    <a:gd name="connsiteX0" fmla="*/ 271463 w 266700"/>
                    <a:gd name="connsiteY0" fmla="*/ 169545 h 266700"/>
                    <a:gd name="connsiteX1" fmla="*/ 271463 w 266700"/>
                    <a:gd name="connsiteY1" fmla="*/ 271463 h 266700"/>
                    <a:gd name="connsiteX2" fmla="*/ 170498 w 266700"/>
                    <a:gd name="connsiteY2" fmla="*/ 271463 h 266700"/>
                    <a:gd name="connsiteX3" fmla="*/ 0 w 266700"/>
                    <a:gd name="connsiteY3" fmla="*/ 100965 h 266700"/>
                    <a:gd name="connsiteX4" fmla="*/ 0 w 266700"/>
                    <a:gd name="connsiteY4" fmla="*/ 0 h 266700"/>
                    <a:gd name="connsiteX5" fmla="*/ 101918 w 266700"/>
                    <a:gd name="connsiteY5" fmla="*/ 0 h 266700"/>
                    <a:gd name="connsiteX6" fmla="*/ 271463 w 266700"/>
                    <a:gd name="connsiteY6" fmla="*/ 169545 h 266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6700" h="266700">
                      <a:moveTo>
                        <a:pt x="271463" y="169545"/>
                      </a:moveTo>
                      <a:lnTo>
                        <a:pt x="271463" y="271463"/>
                      </a:lnTo>
                      <a:lnTo>
                        <a:pt x="170498" y="271463"/>
                      </a:lnTo>
                      <a:cubicBezTo>
                        <a:pt x="76200" y="271463"/>
                        <a:pt x="0" y="195263"/>
                        <a:pt x="0" y="100965"/>
                      </a:cubicBezTo>
                      <a:lnTo>
                        <a:pt x="0" y="0"/>
                      </a:lnTo>
                      <a:lnTo>
                        <a:pt x="101918" y="0"/>
                      </a:lnTo>
                      <a:cubicBezTo>
                        <a:pt x="195263" y="0"/>
                        <a:pt x="271463" y="76200"/>
                        <a:pt x="271463" y="169545"/>
                      </a:cubicBezTo>
                      <a:close/>
                    </a:path>
                  </a:pathLst>
                </a:custGeom>
                <a:solidFill>
                  <a:schemeClr val="accent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8" name="Freeform: Shape 11">
                  <a:extLst>
                    <a:ext uri="{FF2B5EF4-FFF2-40B4-BE49-F238E27FC236}">
                      <a16:creationId xmlns:a16="http://schemas.microsoft.com/office/drawing/2014/main" id="{FB701364-0BB4-43C4-BA70-B62D2FBFFD6E}"/>
                    </a:ext>
                  </a:extLst>
                </p:cNvPr>
                <p:cNvSpPr/>
                <p:nvPr/>
              </p:nvSpPr>
              <p:spPr>
                <a:xfrm>
                  <a:off x="8442699" y="871525"/>
                  <a:ext cx="247658" cy="331617"/>
                </a:xfrm>
                <a:custGeom>
                  <a:avLst/>
                  <a:gdLst>
                    <a:gd name="connsiteX0" fmla="*/ 11829 w 133350"/>
                    <a:gd name="connsiteY0" fmla="*/ 152400 h 190500"/>
                    <a:gd name="connsiteX1" fmla="*/ 39452 w 133350"/>
                    <a:gd name="connsiteY1" fmla="*/ 200025 h 190500"/>
                    <a:gd name="connsiteX2" fmla="*/ 87077 w 133350"/>
                    <a:gd name="connsiteY2" fmla="*/ 173355 h 190500"/>
                    <a:gd name="connsiteX3" fmla="*/ 121367 w 133350"/>
                    <a:gd name="connsiteY3" fmla="*/ 47625 h 190500"/>
                    <a:gd name="connsiteX4" fmla="*/ 94697 w 133350"/>
                    <a:gd name="connsiteY4" fmla="*/ 0 h 190500"/>
                    <a:gd name="connsiteX5" fmla="*/ 47072 w 133350"/>
                    <a:gd name="connsiteY5" fmla="*/ 27623 h 190500"/>
                    <a:gd name="connsiteX6" fmla="*/ 11829 w 133350"/>
                    <a:gd name="connsiteY6" fmla="*/ 152400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3350" h="190500">
                      <a:moveTo>
                        <a:pt x="11829" y="152400"/>
                      </a:moveTo>
                      <a:lnTo>
                        <a:pt x="39452" y="200025"/>
                      </a:lnTo>
                      <a:lnTo>
                        <a:pt x="87077" y="173355"/>
                      </a:lnTo>
                      <a:cubicBezTo>
                        <a:pt x="130892" y="148590"/>
                        <a:pt x="147084" y="92393"/>
                        <a:pt x="121367" y="47625"/>
                      </a:cubicBezTo>
                      <a:lnTo>
                        <a:pt x="94697" y="0"/>
                      </a:lnTo>
                      <a:lnTo>
                        <a:pt x="47072" y="27623"/>
                      </a:lnTo>
                      <a:cubicBezTo>
                        <a:pt x="2304" y="52388"/>
                        <a:pt x="-12936" y="108585"/>
                        <a:pt x="11829" y="152400"/>
                      </a:cubicBezTo>
                      <a:close/>
                    </a:path>
                  </a:pathLst>
                </a:custGeom>
                <a:solidFill>
                  <a:schemeClr val="accent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9" name="Freeform: Shape 12">
                  <a:extLst>
                    <a:ext uri="{FF2B5EF4-FFF2-40B4-BE49-F238E27FC236}">
                      <a16:creationId xmlns:a16="http://schemas.microsoft.com/office/drawing/2014/main" id="{E87086CB-C75F-460F-A5FF-CD18266EE583}"/>
                    </a:ext>
                  </a:extLst>
                </p:cNvPr>
                <p:cNvSpPr/>
                <p:nvPr/>
              </p:nvSpPr>
              <p:spPr>
                <a:xfrm>
                  <a:off x="7852714" y="5390080"/>
                  <a:ext cx="563568" cy="563568"/>
                </a:xfrm>
                <a:custGeom>
                  <a:avLst/>
                  <a:gdLst>
                    <a:gd name="connsiteX0" fmla="*/ 206692 w 409575"/>
                    <a:gd name="connsiteY0" fmla="*/ 0 h 409575"/>
                    <a:gd name="connsiteX1" fmla="*/ 0 w 409575"/>
                    <a:gd name="connsiteY1" fmla="*/ 206692 h 409575"/>
                    <a:gd name="connsiteX2" fmla="*/ 206692 w 409575"/>
                    <a:gd name="connsiteY2" fmla="*/ 413385 h 409575"/>
                    <a:gd name="connsiteX3" fmla="*/ 413385 w 409575"/>
                    <a:gd name="connsiteY3" fmla="*/ 206692 h 409575"/>
                    <a:gd name="connsiteX4" fmla="*/ 206692 w 409575"/>
                    <a:gd name="connsiteY4" fmla="*/ 0 h 409575"/>
                    <a:gd name="connsiteX5" fmla="*/ 206692 w 409575"/>
                    <a:gd name="connsiteY5" fmla="*/ 381000 h 409575"/>
                    <a:gd name="connsiteX6" fmla="*/ 32385 w 409575"/>
                    <a:gd name="connsiteY6" fmla="*/ 206692 h 409575"/>
                    <a:gd name="connsiteX7" fmla="*/ 206692 w 409575"/>
                    <a:gd name="connsiteY7" fmla="*/ 32385 h 409575"/>
                    <a:gd name="connsiteX8" fmla="*/ 381000 w 409575"/>
                    <a:gd name="connsiteY8" fmla="*/ 206692 h 409575"/>
                    <a:gd name="connsiteX9" fmla="*/ 206692 w 409575"/>
                    <a:gd name="connsiteY9" fmla="*/ 381000 h 409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09575" h="409575">
                      <a:moveTo>
                        <a:pt x="206692" y="0"/>
                      </a:moveTo>
                      <a:cubicBezTo>
                        <a:pt x="92392" y="0"/>
                        <a:pt x="0" y="92392"/>
                        <a:pt x="0" y="206692"/>
                      </a:cubicBezTo>
                      <a:cubicBezTo>
                        <a:pt x="0" y="320992"/>
                        <a:pt x="92392" y="413385"/>
                        <a:pt x="206692" y="413385"/>
                      </a:cubicBezTo>
                      <a:cubicBezTo>
                        <a:pt x="320992" y="413385"/>
                        <a:pt x="413385" y="320992"/>
                        <a:pt x="413385" y="206692"/>
                      </a:cubicBezTo>
                      <a:cubicBezTo>
                        <a:pt x="413385" y="92392"/>
                        <a:pt x="320992" y="0"/>
                        <a:pt x="206692" y="0"/>
                      </a:cubicBezTo>
                      <a:close/>
                      <a:moveTo>
                        <a:pt x="206692" y="381000"/>
                      </a:moveTo>
                      <a:cubicBezTo>
                        <a:pt x="110490" y="381000"/>
                        <a:pt x="32385" y="302895"/>
                        <a:pt x="32385" y="206692"/>
                      </a:cubicBezTo>
                      <a:cubicBezTo>
                        <a:pt x="32385" y="110490"/>
                        <a:pt x="110490" y="32385"/>
                        <a:pt x="206692" y="32385"/>
                      </a:cubicBezTo>
                      <a:cubicBezTo>
                        <a:pt x="302895" y="32385"/>
                        <a:pt x="381000" y="110490"/>
                        <a:pt x="381000" y="206692"/>
                      </a:cubicBezTo>
                      <a:cubicBezTo>
                        <a:pt x="381953" y="302895"/>
                        <a:pt x="302895" y="381000"/>
                        <a:pt x="206692" y="381000"/>
                      </a:cubicBezTo>
                      <a:close/>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40" name="Freeform: Shape 13">
                  <a:extLst>
                    <a:ext uri="{FF2B5EF4-FFF2-40B4-BE49-F238E27FC236}">
                      <a16:creationId xmlns:a16="http://schemas.microsoft.com/office/drawing/2014/main" id="{584F69C2-2DCB-4384-AED0-8C2CE0ED3572}"/>
                    </a:ext>
                  </a:extLst>
                </p:cNvPr>
                <p:cNvSpPr/>
                <p:nvPr/>
              </p:nvSpPr>
              <p:spPr>
                <a:xfrm>
                  <a:off x="7808154" y="5345518"/>
                  <a:ext cx="655311" cy="655312"/>
                </a:xfrm>
                <a:custGeom>
                  <a:avLst/>
                  <a:gdLst>
                    <a:gd name="connsiteX0" fmla="*/ 239077 w 476250"/>
                    <a:gd name="connsiteY0" fmla="*/ 0 h 476250"/>
                    <a:gd name="connsiteX1" fmla="*/ 0 w 476250"/>
                    <a:gd name="connsiteY1" fmla="*/ 239077 h 476250"/>
                    <a:gd name="connsiteX2" fmla="*/ 239077 w 476250"/>
                    <a:gd name="connsiteY2" fmla="*/ 478155 h 476250"/>
                    <a:gd name="connsiteX3" fmla="*/ 478155 w 476250"/>
                    <a:gd name="connsiteY3" fmla="*/ 239077 h 476250"/>
                    <a:gd name="connsiteX4" fmla="*/ 239077 w 476250"/>
                    <a:gd name="connsiteY4" fmla="*/ 0 h 476250"/>
                    <a:gd name="connsiteX5" fmla="*/ 239077 w 476250"/>
                    <a:gd name="connsiteY5" fmla="*/ 413385 h 476250"/>
                    <a:gd name="connsiteX6" fmla="*/ 64770 w 476250"/>
                    <a:gd name="connsiteY6" fmla="*/ 239077 h 476250"/>
                    <a:gd name="connsiteX7" fmla="*/ 239077 w 476250"/>
                    <a:gd name="connsiteY7" fmla="*/ 64770 h 476250"/>
                    <a:gd name="connsiteX8" fmla="*/ 413385 w 476250"/>
                    <a:gd name="connsiteY8" fmla="*/ 239077 h 476250"/>
                    <a:gd name="connsiteX9" fmla="*/ 239077 w 476250"/>
                    <a:gd name="connsiteY9" fmla="*/ 413385 h 476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76250" h="476250">
                      <a:moveTo>
                        <a:pt x="239077" y="0"/>
                      </a:moveTo>
                      <a:cubicBezTo>
                        <a:pt x="107633" y="0"/>
                        <a:pt x="0" y="107632"/>
                        <a:pt x="0" y="239077"/>
                      </a:cubicBezTo>
                      <a:cubicBezTo>
                        <a:pt x="0" y="370522"/>
                        <a:pt x="106680" y="478155"/>
                        <a:pt x="239077" y="478155"/>
                      </a:cubicBezTo>
                      <a:cubicBezTo>
                        <a:pt x="370522" y="478155"/>
                        <a:pt x="478155" y="370522"/>
                        <a:pt x="478155" y="239077"/>
                      </a:cubicBezTo>
                      <a:cubicBezTo>
                        <a:pt x="478155" y="107632"/>
                        <a:pt x="371475" y="0"/>
                        <a:pt x="239077" y="0"/>
                      </a:cubicBezTo>
                      <a:close/>
                      <a:moveTo>
                        <a:pt x="239077" y="413385"/>
                      </a:moveTo>
                      <a:cubicBezTo>
                        <a:pt x="142875" y="413385"/>
                        <a:pt x="64770" y="335280"/>
                        <a:pt x="64770" y="239077"/>
                      </a:cubicBezTo>
                      <a:cubicBezTo>
                        <a:pt x="64770" y="142875"/>
                        <a:pt x="142875" y="64770"/>
                        <a:pt x="239077" y="64770"/>
                      </a:cubicBezTo>
                      <a:cubicBezTo>
                        <a:pt x="335280" y="64770"/>
                        <a:pt x="413385" y="142875"/>
                        <a:pt x="413385" y="239077"/>
                      </a:cubicBezTo>
                      <a:cubicBezTo>
                        <a:pt x="414338" y="335280"/>
                        <a:pt x="335280" y="413385"/>
                        <a:pt x="239077" y="413385"/>
                      </a:cubicBezTo>
                      <a:close/>
                    </a:path>
                  </a:pathLst>
                </a:custGeom>
                <a:solidFill>
                  <a:schemeClr val="accent4"/>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41" name="Freeform: Shape 14">
                  <a:extLst>
                    <a:ext uri="{FF2B5EF4-FFF2-40B4-BE49-F238E27FC236}">
                      <a16:creationId xmlns:a16="http://schemas.microsoft.com/office/drawing/2014/main" id="{185D833A-D9A8-42A0-9C1D-0C9B7AF36D64}"/>
                    </a:ext>
                  </a:extLst>
                </p:cNvPr>
                <p:cNvSpPr/>
                <p:nvPr/>
              </p:nvSpPr>
              <p:spPr>
                <a:xfrm>
                  <a:off x="7898587" y="5434641"/>
                  <a:ext cx="471824" cy="471824"/>
                </a:xfrm>
                <a:custGeom>
                  <a:avLst/>
                  <a:gdLst>
                    <a:gd name="connsiteX0" fmla="*/ 348615 w 342900"/>
                    <a:gd name="connsiteY0" fmla="*/ 174307 h 342900"/>
                    <a:gd name="connsiteX1" fmla="*/ 174308 w 342900"/>
                    <a:gd name="connsiteY1" fmla="*/ 348615 h 342900"/>
                    <a:gd name="connsiteX2" fmla="*/ 0 w 342900"/>
                    <a:gd name="connsiteY2" fmla="*/ 174307 h 342900"/>
                    <a:gd name="connsiteX3" fmla="*/ 174308 w 342900"/>
                    <a:gd name="connsiteY3" fmla="*/ 0 h 342900"/>
                    <a:gd name="connsiteX4" fmla="*/ 348615 w 342900"/>
                    <a:gd name="connsiteY4" fmla="*/ 174307 h 342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900" h="342900">
                      <a:moveTo>
                        <a:pt x="348615" y="174307"/>
                      </a:moveTo>
                      <a:cubicBezTo>
                        <a:pt x="348615" y="270510"/>
                        <a:pt x="270510" y="348615"/>
                        <a:pt x="174308" y="348615"/>
                      </a:cubicBezTo>
                      <a:cubicBezTo>
                        <a:pt x="78105" y="348615"/>
                        <a:pt x="0" y="270510"/>
                        <a:pt x="0" y="174307"/>
                      </a:cubicBezTo>
                      <a:cubicBezTo>
                        <a:pt x="0" y="78105"/>
                        <a:pt x="78105" y="0"/>
                        <a:pt x="174308" y="0"/>
                      </a:cubicBezTo>
                      <a:cubicBezTo>
                        <a:pt x="269558" y="0"/>
                        <a:pt x="348615" y="78105"/>
                        <a:pt x="348615" y="174307"/>
                      </a:cubicBezTo>
                      <a:close/>
                    </a:path>
                  </a:pathLst>
                </a:custGeom>
                <a:solidFill>
                  <a:srgbClr val="FFFFFF"/>
                </a:solidFill>
                <a:ln w="9525" cap="flat">
                  <a:noFill/>
                  <a:prstDash val="solid"/>
                  <a:miter/>
                </a:ln>
                <a:effectLst>
                  <a:outerShdw blurRad="215900" dist="114300" dir="2700000" sx="96000" sy="96000" algn="tl" rotWithShape="0">
                    <a:prstClr val="black">
                      <a:alpha val="30000"/>
                    </a:prstClr>
                  </a:outerShdw>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nvGrpSpPr>
                <p:cNvPr id="42" name="Group 15">
                  <a:extLst>
                    <a:ext uri="{FF2B5EF4-FFF2-40B4-BE49-F238E27FC236}">
                      <a16:creationId xmlns:a16="http://schemas.microsoft.com/office/drawing/2014/main" id="{25D069F1-115F-4166-97CB-BE9FD123561F}"/>
                    </a:ext>
                  </a:extLst>
                </p:cNvPr>
                <p:cNvGrpSpPr/>
                <p:nvPr/>
              </p:nvGrpSpPr>
              <p:grpSpPr>
                <a:xfrm>
                  <a:off x="8031904" y="5522126"/>
                  <a:ext cx="240898" cy="319248"/>
                  <a:chOff x="8103801" y="5455459"/>
                  <a:chExt cx="281857" cy="373527"/>
                </a:xfrm>
              </p:grpSpPr>
              <p:sp>
                <p:nvSpPr>
                  <p:cNvPr id="91" name="Freeform: Shape 16">
                    <a:extLst>
                      <a:ext uri="{FF2B5EF4-FFF2-40B4-BE49-F238E27FC236}">
                        <a16:creationId xmlns:a16="http://schemas.microsoft.com/office/drawing/2014/main" id="{E501B739-6F44-4E27-B22E-70A04C3974AA}"/>
                      </a:ext>
                    </a:extLst>
                  </p:cNvPr>
                  <p:cNvSpPr/>
                  <p:nvPr/>
                </p:nvSpPr>
                <p:spPr>
                  <a:xfrm>
                    <a:off x="8103801" y="5455459"/>
                    <a:ext cx="222806" cy="288337"/>
                  </a:xfrm>
                  <a:custGeom>
                    <a:avLst/>
                    <a:gdLst>
                      <a:gd name="connsiteX0" fmla="*/ 144833 w 161925"/>
                      <a:gd name="connsiteY0" fmla="*/ 132397 h 209550"/>
                      <a:gd name="connsiteX1" fmla="*/ 144833 w 161925"/>
                      <a:gd name="connsiteY1" fmla="*/ 132397 h 209550"/>
                      <a:gd name="connsiteX2" fmla="*/ 143880 w 161925"/>
                      <a:gd name="connsiteY2" fmla="*/ 134302 h 209550"/>
                      <a:gd name="connsiteX3" fmla="*/ 114353 w 161925"/>
                      <a:gd name="connsiteY3" fmla="*/ 209550 h 209550"/>
                      <a:gd name="connsiteX4" fmla="*/ 105780 w 161925"/>
                      <a:gd name="connsiteY4" fmla="*/ 209550 h 209550"/>
                      <a:gd name="connsiteX5" fmla="*/ 123878 w 161925"/>
                      <a:gd name="connsiteY5" fmla="*/ 113347 h 209550"/>
                      <a:gd name="connsiteX6" fmla="*/ 121020 w 161925"/>
                      <a:gd name="connsiteY6" fmla="*/ 108585 h 209550"/>
                      <a:gd name="connsiteX7" fmla="*/ 116258 w 161925"/>
                      <a:gd name="connsiteY7" fmla="*/ 111442 h 209550"/>
                      <a:gd name="connsiteX8" fmla="*/ 112448 w 161925"/>
                      <a:gd name="connsiteY8" fmla="*/ 132397 h 209550"/>
                      <a:gd name="connsiteX9" fmla="*/ 97208 w 161925"/>
                      <a:gd name="connsiteY9" fmla="*/ 149542 h 209550"/>
                      <a:gd name="connsiteX10" fmla="*/ 97208 w 161925"/>
                      <a:gd name="connsiteY10" fmla="*/ 149542 h 209550"/>
                      <a:gd name="connsiteX11" fmla="*/ 86730 w 161925"/>
                      <a:gd name="connsiteY11" fmla="*/ 142875 h 209550"/>
                      <a:gd name="connsiteX12" fmla="*/ 90540 w 161925"/>
                      <a:gd name="connsiteY12" fmla="*/ 137160 h 209550"/>
                      <a:gd name="connsiteX13" fmla="*/ 93398 w 161925"/>
                      <a:gd name="connsiteY13" fmla="*/ 117157 h 209550"/>
                      <a:gd name="connsiteX14" fmla="*/ 81968 w 161925"/>
                      <a:gd name="connsiteY14" fmla="*/ 111442 h 209550"/>
                      <a:gd name="connsiteX15" fmla="*/ 81968 w 161925"/>
                      <a:gd name="connsiteY15" fmla="*/ 111442 h 209550"/>
                      <a:gd name="connsiteX16" fmla="*/ 70538 w 161925"/>
                      <a:gd name="connsiteY16" fmla="*/ 117157 h 209550"/>
                      <a:gd name="connsiteX17" fmla="*/ 73395 w 161925"/>
                      <a:gd name="connsiteY17" fmla="*/ 137160 h 209550"/>
                      <a:gd name="connsiteX18" fmla="*/ 77205 w 161925"/>
                      <a:gd name="connsiteY18" fmla="*/ 142875 h 209550"/>
                      <a:gd name="connsiteX19" fmla="*/ 66728 w 161925"/>
                      <a:gd name="connsiteY19" fmla="*/ 149542 h 209550"/>
                      <a:gd name="connsiteX20" fmla="*/ 51488 w 161925"/>
                      <a:gd name="connsiteY20" fmla="*/ 132397 h 209550"/>
                      <a:gd name="connsiteX21" fmla="*/ 51488 w 161925"/>
                      <a:gd name="connsiteY21" fmla="*/ 132397 h 209550"/>
                      <a:gd name="connsiteX22" fmla="*/ 47678 w 161925"/>
                      <a:gd name="connsiteY22" fmla="*/ 111442 h 209550"/>
                      <a:gd name="connsiteX23" fmla="*/ 42915 w 161925"/>
                      <a:gd name="connsiteY23" fmla="*/ 108585 h 209550"/>
                      <a:gd name="connsiteX24" fmla="*/ 40058 w 161925"/>
                      <a:gd name="connsiteY24" fmla="*/ 113347 h 209550"/>
                      <a:gd name="connsiteX25" fmla="*/ 43868 w 161925"/>
                      <a:gd name="connsiteY25" fmla="*/ 134302 h 209550"/>
                      <a:gd name="connsiteX26" fmla="*/ 43868 w 161925"/>
                      <a:gd name="connsiteY26" fmla="*/ 135255 h 209550"/>
                      <a:gd name="connsiteX27" fmla="*/ 43868 w 161925"/>
                      <a:gd name="connsiteY27" fmla="*/ 135255 h 209550"/>
                      <a:gd name="connsiteX28" fmla="*/ 57203 w 161925"/>
                      <a:gd name="connsiteY28" fmla="*/ 209550 h 209550"/>
                      <a:gd name="connsiteX29" fmla="*/ 48630 w 161925"/>
                      <a:gd name="connsiteY29" fmla="*/ 209550 h 209550"/>
                      <a:gd name="connsiteX30" fmla="*/ 19103 w 161925"/>
                      <a:gd name="connsiteY30" fmla="*/ 134302 h 209550"/>
                      <a:gd name="connsiteX31" fmla="*/ 18151 w 161925"/>
                      <a:gd name="connsiteY31" fmla="*/ 133350 h 209550"/>
                      <a:gd name="connsiteX32" fmla="*/ 17198 w 161925"/>
                      <a:gd name="connsiteY32" fmla="*/ 132397 h 209550"/>
                      <a:gd name="connsiteX33" fmla="*/ 53 w 161925"/>
                      <a:gd name="connsiteY33" fmla="*/ 81915 h 209550"/>
                      <a:gd name="connsiteX34" fmla="*/ 81968 w 161925"/>
                      <a:gd name="connsiteY34" fmla="*/ 0 h 209550"/>
                      <a:gd name="connsiteX35" fmla="*/ 163883 w 161925"/>
                      <a:gd name="connsiteY35" fmla="*/ 81915 h 209550"/>
                      <a:gd name="connsiteX36" fmla="*/ 144833 w 161925"/>
                      <a:gd name="connsiteY36" fmla="*/ 132397 h 209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61925" h="209550">
                        <a:moveTo>
                          <a:pt x="144833" y="132397"/>
                        </a:moveTo>
                        <a:cubicBezTo>
                          <a:pt x="144833" y="133350"/>
                          <a:pt x="144833" y="133350"/>
                          <a:pt x="144833" y="132397"/>
                        </a:cubicBezTo>
                        <a:cubicBezTo>
                          <a:pt x="143880" y="133350"/>
                          <a:pt x="143880" y="133350"/>
                          <a:pt x="143880" y="134302"/>
                        </a:cubicBezTo>
                        <a:cubicBezTo>
                          <a:pt x="124830" y="158115"/>
                          <a:pt x="114353" y="209550"/>
                          <a:pt x="114353" y="209550"/>
                        </a:cubicBezTo>
                        <a:lnTo>
                          <a:pt x="105780" y="209550"/>
                        </a:lnTo>
                        <a:lnTo>
                          <a:pt x="123878" y="113347"/>
                        </a:lnTo>
                        <a:cubicBezTo>
                          <a:pt x="123878" y="111442"/>
                          <a:pt x="122926" y="109538"/>
                          <a:pt x="121020" y="108585"/>
                        </a:cubicBezTo>
                        <a:cubicBezTo>
                          <a:pt x="119115" y="108585"/>
                          <a:pt x="117210" y="109538"/>
                          <a:pt x="116258" y="111442"/>
                        </a:cubicBezTo>
                        <a:lnTo>
                          <a:pt x="112448" y="132397"/>
                        </a:lnTo>
                        <a:cubicBezTo>
                          <a:pt x="112448" y="133350"/>
                          <a:pt x="107685" y="149542"/>
                          <a:pt x="97208" y="149542"/>
                        </a:cubicBezTo>
                        <a:cubicBezTo>
                          <a:pt x="97208" y="149542"/>
                          <a:pt x="97208" y="149542"/>
                          <a:pt x="97208" y="149542"/>
                        </a:cubicBezTo>
                        <a:cubicBezTo>
                          <a:pt x="94351" y="149542"/>
                          <a:pt x="90540" y="146685"/>
                          <a:pt x="86730" y="142875"/>
                        </a:cubicBezTo>
                        <a:cubicBezTo>
                          <a:pt x="87683" y="140970"/>
                          <a:pt x="89588" y="139065"/>
                          <a:pt x="90540" y="137160"/>
                        </a:cubicBezTo>
                        <a:cubicBezTo>
                          <a:pt x="95303" y="129540"/>
                          <a:pt x="96255" y="121920"/>
                          <a:pt x="93398" y="117157"/>
                        </a:cubicBezTo>
                        <a:cubicBezTo>
                          <a:pt x="91493" y="114300"/>
                          <a:pt x="88635" y="111442"/>
                          <a:pt x="81968" y="111442"/>
                        </a:cubicBezTo>
                        <a:lnTo>
                          <a:pt x="81968" y="111442"/>
                        </a:lnTo>
                        <a:cubicBezTo>
                          <a:pt x="74348" y="111442"/>
                          <a:pt x="71490" y="114300"/>
                          <a:pt x="70538" y="117157"/>
                        </a:cubicBezTo>
                        <a:cubicBezTo>
                          <a:pt x="67680" y="121920"/>
                          <a:pt x="68633" y="128588"/>
                          <a:pt x="73395" y="137160"/>
                        </a:cubicBezTo>
                        <a:cubicBezTo>
                          <a:pt x="74348" y="139065"/>
                          <a:pt x="75301" y="140970"/>
                          <a:pt x="77205" y="142875"/>
                        </a:cubicBezTo>
                        <a:cubicBezTo>
                          <a:pt x="73395" y="146685"/>
                          <a:pt x="68633" y="149542"/>
                          <a:pt x="66728" y="149542"/>
                        </a:cubicBezTo>
                        <a:cubicBezTo>
                          <a:pt x="56251" y="149542"/>
                          <a:pt x="52440" y="134302"/>
                          <a:pt x="51488" y="132397"/>
                        </a:cubicBezTo>
                        <a:cubicBezTo>
                          <a:pt x="51488" y="132397"/>
                          <a:pt x="51488" y="132397"/>
                          <a:pt x="51488" y="132397"/>
                        </a:cubicBezTo>
                        <a:lnTo>
                          <a:pt x="47678" y="111442"/>
                        </a:lnTo>
                        <a:cubicBezTo>
                          <a:pt x="47678" y="109538"/>
                          <a:pt x="44820" y="107632"/>
                          <a:pt x="42915" y="108585"/>
                        </a:cubicBezTo>
                        <a:cubicBezTo>
                          <a:pt x="41010" y="108585"/>
                          <a:pt x="39105" y="111442"/>
                          <a:pt x="40058" y="113347"/>
                        </a:cubicBezTo>
                        <a:lnTo>
                          <a:pt x="43868" y="134302"/>
                        </a:lnTo>
                        <a:cubicBezTo>
                          <a:pt x="43868" y="134302"/>
                          <a:pt x="43868" y="134302"/>
                          <a:pt x="43868" y="135255"/>
                        </a:cubicBezTo>
                        <a:cubicBezTo>
                          <a:pt x="43868" y="135255"/>
                          <a:pt x="43868" y="135255"/>
                          <a:pt x="43868" y="135255"/>
                        </a:cubicBezTo>
                        <a:lnTo>
                          <a:pt x="57203" y="209550"/>
                        </a:lnTo>
                        <a:lnTo>
                          <a:pt x="48630" y="209550"/>
                        </a:lnTo>
                        <a:cubicBezTo>
                          <a:pt x="48630" y="209550"/>
                          <a:pt x="38153" y="158115"/>
                          <a:pt x="19103" y="134302"/>
                        </a:cubicBezTo>
                        <a:cubicBezTo>
                          <a:pt x="19103" y="134302"/>
                          <a:pt x="19103" y="134302"/>
                          <a:pt x="18151" y="133350"/>
                        </a:cubicBezTo>
                        <a:cubicBezTo>
                          <a:pt x="18151" y="133350"/>
                          <a:pt x="17198" y="132397"/>
                          <a:pt x="17198" y="132397"/>
                        </a:cubicBezTo>
                        <a:cubicBezTo>
                          <a:pt x="-1852" y="109538"/>
                          <a:pt x="53" y="81915"/>
                          <a:pt x="53" y="81915"/>
                        </a:cubicBezTo>
                        <a:cubicBezTo>
                          <a:pt x="53" y="37147"/>
                          <a:pt x="36248" y="0"/>
                          <a:pt x="81968" y="0"/>
                        </a:cubicBezTo>
                        <a:cubicBezTo>
                          <a:pt x="126735" y="0"/>
                          <a:pt x="163883" y="36195"/>
                          <a:pt x="163883" y="81915"/>
                        </a:cubicBezTo>
                        <a:cubicBezTo>
                          <a:pt x="161978" y="81915"/>
                          <a:pt x="163883" y="109538"/>
                          <a:pt x="144833" y="132397"/>
                        </a:cubicBezTo>
                        <a:close/>
                      </a:path>
                    </a:pathLst>
                  </a:custGeom>
                  <a:solidFill>
                    <a:schemeClr val="accent4"/>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92" name="Freeform: Shape 17">
                    <a:extLst>
                      <a:ext uri="{FF2B5EF4-FFF2-40B4-BE49-F238E27FC236}">
                        <a16:creationId xmlns:a16="http://schemas.microsoft.com/office/drawing/2014/main" id="{4177F84E-256A-4BE3-88CE-B4E704E4B9B1}"/>
                      </a:ext>
                    </a:extLst>
                  </p:cNvPr>
                  <p:cNvSpPr/>
                  <p:nvPr/>
                </p:nvSpPr>
                <p:spPr>
                  <a:xfrm>
                    <a:off x="8175958" y="5661226"/>
                    <a:ext cx="65531" cy="78637"/>
                  </a:xfrm>
                  <a:custGeom>
                    <a:avLst/>
                    <a:gdLst>
                      <a:gd name="connsiteX0" fmla="*/ 55245 w 47625"/>
                      <a:gd name="connsiteY0" fmla="*/ 4763 h 57150"/>
                      <a:gd name="connsiteX1" fmla="*/ 44767 w 47625"/>
                      <a:gd name="connsiteY1" fmla="*/ 60008 h 57150"/>
                      <a:gd name="connsiteX2" fmla="*/ 44767 w 47625"/>
                      <a:gd name="connsiteY2" fmla="*/ 60960 h 57150"/>
                      <a:gd name="connsiteX3" fmla="*/ 10478 w 47625"/>
                      <a:gd name="connsiteY3" fmla="*/ 60960 h 57150"/>
                      <a:gd name="connsiteX4" fmla="*/ 10478 w 47625"/>
                      <a:gd name="connsiteY4" fmla="*/ 60008 h 57150"/>
                      <a:gd name="connsiteX5" fmla="*/ 0 w 47625"/>
                      <a:gd name="connsiteY5" fmla="*/ 4763 h 57150"/>
                      <a:gd name="connsiteX6" fmla="*/ 11430 w 47625"/>
                      <a:gd name="connsiteY6" fmla="*/ 8572 h 57150"/>
                      <a:gd name="connsiteX7" fmla="*/ 27623 w 47625"/>
                      <a:gd name="connsiteY7" fmla="*/ 0 h 57150"/>
                      <a:gd name="connsiteX8" fmla="*/ 43815 w 47625"/>
                      <a:gd name="connsiteY8" fmla="*/ 8572 h 57150"/>
                      <a:gd name="connsiteX9" fmla="*/ 55245 w 47625"/>
                      <a:gd name="connsiteY9" fmla="*/ 4763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7625" h="57150">
                        <a:moveTo>
                          <a:pt x="55245" y="4763"/>
                        </a:moveTo>
                        <a:lnTo>
                          <a:pt x="44767" y="60008"/>
                        </a:lnTo>
                        <a:cubicBezTo>
                          <a:pt x="44767" y="60008"/>
                          <a:pt x="44767" y="60008"/>
                          <a:pt x="44767" y="60960"/>
                        </a:cubicBezTo>
                        <a:lnTo>
                          <a:pt x="10478" y="60960"/>
                        </a:lnTo>
                        <a:cubicBezTo>
                          <a:pt x="10478" y="60960"/>
                          <a:pt x="10478" y="60960"/>
                          <a:pt x="10478" y="60008"/>
                        </a:cubicBezTo>
                        <a:lnTo>
                          <a:pt x="0" y="4763"/>
                        </a:lnTo>
                        <a:cubicBezTo>
                          <a:pt x="2858" y="6668"/>
                          <a:pt x="6667" y="8572"/>
                          <a:pt x="11430" y="8572"/>
                        </a:cubicBezTo>
                        <a:cubicBezTo>
                          <a:pt x="17145" y="8572"/>
                          <a:pt x="22860" y="4763"/>
                          <a:pt x="27623" y="0"/>
                        </a:cubicBezTo>
                        <a:cubicBezTo>
                          <a:pt x="32385" y="4763"/>
                          <a:pt x="39053" y="8572"/>
                          <a:pt x="43815" y="8572"/>
                        </a:cubicBezTo>
                        <a:cubicBezTo>
                          <a:pt x="48578" y="8572"/>
                          <a:pt x="52388" y="6668"/>
                          <a:pt x="55245" y="4763"/>
                        </a:cubicBezTo>
                        <a:close/>
                      </a:path>
                    </a:pathLst>
                  </a:custGeom>
                  <a:solidFill>
                    <a:schemeClr val="accent4"/>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93" name="Freeform: Shape 18">
                    <a:extLst>
                      <a:ext uri="{FF2B5EF4-FFF2-40B4-BE49-F238E27FC236}">
                        <a16:creationId xmlns:a16="http://schemas.microsoft.com/office/drawing/2014/main" id="{E649D964-6A3E-4EEC-B684-09E73BD5ECD5}"/>
                      </a:ext>
                    </a:extLst>
                  </p:cNvPr>
                  <p:cNvSpPr/>
                  <p:nvPr/>
                </p:nvSpPr>
                <p:spPr>
                  <a:xfrm>
                    <a:off x="8207996" y="5620596"/>
                    <a:ext cx="13106" cy="13106"/>
                  </a:xfrm>
                  <a:custGeom>
                    <a:avLst/>
                    <a:gdLst>
                      <a:gd name="connsiteX0" fmla="*/ 5292 w 9525"/>
                      <a:gd name="connsiteY0" fmla="*/ 17145 h 9525"/>
                      <a:gd name="connsiteX1" fmla="*/ 3387 w 9525"/>
                      <a:gd name="connsiteY1" fmla="*/ 14288 h 9525"/>
                      <a:gd name="connsiteX2" fmla="*/ 529 w 9525"/>
                      <a:gd name="connsiteY2" fmla="*/ 1905 h 9525"/>
                      <a:gd name="connsiteX3" fmla="*/ 5292 w 9525"/>
                      <a:gd name="connsiteY3" fmla="*/ 0 h 9525"/>
                      <a:gd name="connsiteX4" fmla="*/ 10054 w 9525"/>
                      <a:gd name="connsiteY4" fmla="*/ 1905 h 9525"/>
                      <a:gd name="connsiteX5" fmla="*/ 7197 w 9525"/>
                      <a:gd name="connsiteY5" fmla="*/ 14288 h 9525"/>
                      <a:gd name="connsiteX6" fmla="*/ 5292 w 9525"/>
                      <a:gd name="connsiteY6" fmla="*/ 17145 h 9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25" h="9525">
                        <a:moveTo>
                          <a:pt x="5292" y="17145"/>
                        </a:moveTo>
                        <a:cubicBezTo>
                          <a:pt x="4339" y="16193"/>
                          <a:pt x="4339" y="15240"/>
                          <a:pt x="3387" y="14288"/>
                        </a:cubicBezTo>
                        <a:cubicBezTo>
                          <a:pt x="-423" y="8573"/>
                          <a:pt x="-423" y="3810"/>
                          <a:pt x="529" y="1905"/>
                        </a:cubicBezTo>
                        <a:cubicBezTo>
                          <a:pt x="1482" y="953"/>
                          <a:pt x="3387" y="0"/>
                          <a:pt x="5292" y="0"/>
                        </a:cubicBezTo>
                        <a:cubicBezTo>
                          <a:pt x="7197" y="0"/>
                          <a:pt x="10054" y="0"/>
                          <a:pt x="10054" y="1905"/>
                        </a:cubicBezTo>
                        <a:cubicBezTo>
                          <a:pt x="11007" y="3810"/>
                          <a:pt x="10054" y="7620"/>
                          <a:pt x="7197" y="14288"/>
                        </a:cubicBezTo>
                        <a:cubicBezTo>
                          <a:pt x="6244" y="15240"/>
                          <a:pt x="5292" y="16193"/>
                          <a:pt x="5292" y="17145"/>
                        </a:cubicBezTo>
                        <a:close/>
                      </a:path>
                    </a:pathLst>
                  </a:custGeom>
                  <a:solidFill>
                    <a:schemeClr val="accent4"/>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94" name="Freeform: Shape 19">
                    <a:extLst>
                      <a:ext uri="{FF2B5EF4-FFF2-40B4-BE49-F238E27FC236}">
                        <a16:creationId xmlns:a16="http://schemas.microsoft.com/office/drawing/2014/main" id="{ACADF59A-8F6B-45E5-B62E-E5719AA71646}"/>
                      </a:ext>
                    </a:extLst>
                  </p:cNvPr>
                  <p:cNvSpPr/>
                  <p:nvPr/>
                </p:nvSpPr>
                <p:spPr>
                  <a:xfrm>
                    <a:off x="8181202" y="5815880"/>
                    <a:ext cx="65531" cy="13106"/>
                  </a:xfrm>
                  <a:custGeom>
                    <a:avLst/>
                    <a:gdLst>
                      <a:gd name="connsiteX0" fmla="*/ 49530 w 47625"/>
                      <a:gd name="connsiteY0" fmla="*/ 0 h 9525"/>
                      <a:gd name="connsiteX1" fmla="*/ 24765 w 47625"/>
                      <a:gd name="connsiteY1" fmla="*/ 13335 h 9525"/>
                      <a:gd name="connsiteX2" fmla="*/ 0 w 47625"/>
                      <a:gd name="connsiteY2" fmla="*/ 0 h 9525"/>
                      <a:gd name="connsiteX3" fmla="*/ 49530 w 47625"/>
                      <a:gd name="connsiteY3" fmla="*/ 0 h 9525"/>
                    </a:gdLst>
                    <a:ahLst/>
                    <a:cxnLst>
                      <a:cxn ang="0">
                        <a:pos x="connsiteX0" y="connsiteY0"/>
                      </a:cxn>
                      <a:cxn ang="0">
                        <a:pos x="connsiteX1" y="connsiteY1"/>
                      </a:cxn>
                      <a:cxn ang="0">
                        <a:pos x="connsiteX2" y="connsiteY2"/>
                      </a:cxn>
                      <a:cxn ang="0">
                        <a:pos x="connsiteX3" y="connsiteY3"/>
                      </a:cxn>
                    </a:cxnLst>
                    <a:rect l="l" t="t" r="r" b="b"/>
                    <a:pathLst>
                      <a:path w="47625" h="9525">
                        <a:moveTo>
                          <a:pt x="49530" y="0"/>
                        </a:moveTo>
                        <a:cubicBezTo>
                          <a:pt x="49530" y="0"/>
                          <a:pt x="44767" y="13335"/>
                          <a:pt x="24765" y="13335"/>
                        </a:cubicBezTo>
                        <a:cubicBezTo>
                          <a:pt x="4763" y="13335"/>
                          <a:pt x="0" y="0"/>
                          <a:pt x="0" y="0"/>
                        </a:cubicBezTo>
                        <a:lnTo>
                          <a:pt x="49530" y="0"/>
                        </a:lnTo>
                        <a:close/>
                      </a:path>
                    </a:pathLst>
                  </a:custGeom>
                  <a:solidFill>
                    <a:schemeClr val="accent4"/>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95" name="Freeform: Shape 20">
                    <a:extLst>
                      <a:ext uri="{FF2B5EF4-FFF2-40B4-BE49-F238E27FC236}">
                        <a16:creationId xmlns:a16="http://schemas.microsoft.com/office/drawing/2014/main" id="{100392D3-194B-4DAB-87D8-5D86B339F8D8}"/>
                      </a:ext>
                    </a:extLst>
                  </p:cNvPr>
                  <p:cNvSpPr/>
                  <p:nvPr/>
                </p:nvSpPr>
                <p:spPr>
                  <a:xfrm>
                    <a:off x="8172027" y="5798842"/>
                    <a:ext cx="78637" cy="13106"/>
                  </a:xfrm>
                  <a:custGeom>
                    <a:avLst/>
                    <a:gdLst>
                      <a:gd name="connsiteX0" fmla="*/ 0 w 57150"/>
                      <a:gd name="connsiteY0" fmla="*/ 0 h 0"/>
                      <a:gd name="connsiteX1" fmla="*/ 63817 w 57150"/>
                      <a:gd name="connsiteY1" fmla="*/ 0 h 0"/>
                      <a:gd name="connsiteX2" fmla="*/ 63817 w 57150"/>
                      <a:gd name="connsiteY2" fmla="*/ 8572 h 0"/>
                      <a:gd name="connsiteX3" fmla="*/ 0 w 57150"/>
                      <a:gd name="connsiteY3" fmla="*/ 8572 h 0"/>
                    </a:gdLst>
                    <a:ahLst/>
                    <a:cxnLst>
                      <a:cxn ang="0">
                        <a:pos x="connsiteX0" y="connsiteY0"/>
                      </a:cxn>
                      <a:cxn ang="0">
                        <a:pos x="connsiteX1" y="connsiteY1"/>
                      </a:cxn>
                      <a:cxn ang="0">
                        <a:pos x="connsiteX2" y="connsiteY2"/>
                      </a:cxn>
                      <a:cxn ang="0">
                        <a:pos x="connsiteX3" y="connsiteY3"/>
                      </a:cxn>
                    </a:cxnLst>
                    <a:rect l="l" t="t" r="r" b="b"/>
                    <a:pathLst>
                      <a:path w="57150">
                        <a:moveTo>
                          <a:pt x="0" y="0"/>
                        </a:moveTo>
                        <a:lnTo>
                          <a:pt x="63817" y="0"/>
                        </a:lnTo>
                        <a:lnTo>
                          <a:pt x="63817" y="8572"/>
                        </a:lnTo>
                        <a:lnTo>
                          <a:pt x="0" y="8572"/>
                        </a:lnTo>
                        <a:close/>
                      </a:path>
                    </a:pathLst>
                  </a:custGeom>
                  <a:solidFill>
                    <a:schemeClr val="accent4"/>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96" name="Freeform: Shape 21">
                    <a:extLst>
                      <a:ext uri="{FF2B5EF4-FFF2-40B4-BE49-F238E27FC236}">
                        <a16:creationId xmlns:a16="http://schemas.microsoft.com/office/drawing/2014/main" id="{8ACFAE9E-C8D8-4020-91F3-20C882C324A6}"/>
                      </a:ext>
                    </a:extLst>
                  </p:cNvPr>
                  <p:cNvSpPr/>
                  <p:nvPr/>
                </p:nvSpPr>
                <p:spPr>
                  <a:xfrm>
                    <a:off x="8161542" y="5750348"/>
                    <a:ext cx="104850" cy="26212"/>
                  </a:xfrm>
                  <a:custGeom>
                    <a:avLst/>
                    <a:gdLst>
                      <a:gd name="connsiteX0" fmla="*/ 0 w 76200"/>
                      <a:gd name="connsiteY0" fmla="*/ 0 h 19050"/>
                      <a:gd name="connsiteX1" fmla="*/ 79058 w 76200"/>
                      <a:gd name="connsiteY1" fmla="*/ 0 h 19050"/>
                      <a:gd name="connsiteX2" fmla="*/ 79058 w 76200"/>
                      <a:gd name="connsiteY2" fmla="*/ 21908 h 19050"/>
                      <a:gd name="connsiteX3" fmla="*/ 0 w 76200"/>
                      <a:gd name="connsiteY3" fmla="*/ 21908 h 19050"/>
                    </a:gdLst>
                    <a:ahLst/>
                    <a:cxnLst>
                      <a:cxn ang="0">
                        <a:pos x="connsiteX0" y="connsiteY0"/>
                      </a:cxn>
                      <a:cxn ang="0">
                        <a:pos x="connsiteX1" y="connsiteY1"/>
                      </a:cxn>
                      <a:cxn ang="0">
                        <a:pos x="connsiteX2" y="connsiteY2"/>
                      </a:cxn>
                      <a:cxn ang="0">
                        <a:pos x="connsiteX3" y="connsiteY3"/>
                      </a:cxn>
                    </a:cxnLst>
                    <a:rect l="l" t="t" r="r" b="b"/>
                    <a:pathLst>
                      <a:path w="76200" h="19050">
                        <a:moveTo>
                          <a:pt x="0" y="0"/>
                        </a:moveTo>
                        <a:lnTo>
                          <a:pt x="79058" y="0"/>
                        </a:lnTo>
                        <a:lnTo>
                          <a:pt x="79058" y="21908"/>
                        </a:lnTo>
                        <a:lnTo>
                          <a:pt x="0" y="21908"/>
                        </a:lnTo>
                        <a:close/>
                      </a:path>
                    </a:pathLst>
                  </a:custGeom>
                  <a:solidFill>
                    <a:schemeClr val="accent4"/>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97" name="Freeform: Shape 22">
                    <a:extLst>
                      <a:ext uri="{FF2B5EF4-FFF2-40B4-BE49-F238E27FC236}">
                        <a16:creationId xmlns:a16="http://schemas.microsoft.com/office/drawing/2014/main" id="{07F35706-3A88-48AD-93D8-8A71109F95BA}"/>
                      </a:ext>
                    </a:extLst>
                  </p:cNvPr>
                  <p:cNvSpPr/>
                  <p:nvPr/>
                </p:nvSpPr>
                <p:spPr>
                  <a:xfrm>
                    <a:off x="8170717" y="5783115"/>
                    <a:ext cx="78637" cy="13106"/>
                  </a:xfrm>
                  <a:custGeom>
                    <a:avLst/>
                    <a:gdLst>
                      <a:gd name="connsiteX0" fmla="*/ 0 w 57150"/>
                      <a:gd name="connsiteY0" fmla="*/ 0 h 0"/>
                      <a:gd name="connsiteX1" fmla="*/ 63818 w 57150"/>
                      <a:gd name="connsiteY1" fmla="*/ 0 h 0"/>
                      <a:gd name="connsiteX2" fmla="*/ 63818 w 57150"/>
                      <a:gd name="connsiteY2" fmla="*/ 8573 h 0"/>
                      <a:gd name="connsiteX3" fmla="*/ 0 w 57150"/>
                      <a:gd name="connsiteY3" fmla="*/ 8573 h 0"/>
                    </a:gdLst>
                    <a:ahLst/>
                    <a:cxnLst>
                      <a:cxn ang="0">
                        <a:pos x="connsiteX0" y="connsiteY0"/>
                      </a:cxn>
                      <a:cxn ang="0">
                        <a:pos x="connsiteX1" y="connsiteY1"/>
                      </a:cxn>
                      <a:cxn ang="0">
                        <a:pos x="connsiteX2" y="connsiteY2"/>
                      </a:cxn>
                      <a:cxn ang="0">
                        <a:pos x="connsiteX3" y="connsiteY3"/>
                      </a:cxn>
                    </a:cxnLst>
                    <a:rect l="l" t="t" r="r" b="b"/>
                    <a:pathLst>
                      <a:path w="57150">
                        <a:moveTo>
                          <a:pt x="0" y="0"/>
                        </a:moveTo>
                        <a:lnTo>
                          <a:pt x="63818" y="0"/>
                        </a:lnTo>
                        <a:lnTo>
                          <a:pt x="63818" y="8573"/>
                        </a:lnTo>
                        <a:lnTo>
                          <a:pt x="0" y="8573"/>
                        </a:lnTo>
                        <a:close/>
                      </a:path>
                    </a:pathLst>
                  </a:custGeom>
                  <a:solidFill>
                    <a:schemeClr val="accent4"/>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98" name="Freeform: Shape 23">
                    <a:extLst>
                      <a:ext uri="{FF2B5EF4-FFF2-40B4-BE49-F238E27FC236}">
                        <a16:creationId xmlns:a16="http://schemas.microsoft.com/office/drawing/2014/main" id="{36DB7C51-47FA-494D-B304-D95C33DF01E4}"/>
                      </a:ext>
                    </a:extLst>
                  </p:cNvPr>
                  <p:cNvSpPr/>
                  <p:nvPr/>
                </p:nvSpPr>
                <p:spPr>
                  <a:xfrm>
                    <a:off x="8280808" y="5467254"/>
                    <a:ext cx="104850" cy="235912"/>
                  </a:xfrm>
                  <a:custGeom>
                    <a:avLst/>
                    <a:gdLst>
                      <a:gd name="connsiteX0" fmla="*/ 17145 w 76200"/>
                      <a:gd name="connsiteY0" fmla="*/ 0 h 171450"/>
                      <a:gd name="connsiteX1" fmla="*/ 83820 w 76200"/>
                      <a:gd name="connsiteY1" fmla="*/ 0 h 171450"/>
                      <a:gd name="connsiteX2" fmla="*/ 48578 w 76200"/>
                      <a:gd name="connsiteY2" fmla="*/ 77153 h 171450"/>
                      <a:gd name="connsiteX3" fmla="*/ 83820 w 76200"/>
                      <a:gd name="connsiteY3" fmla="*/ 77153 h 171450"/>
                      <a:gd name="connsiteX4" fmla="*/ 6667 w 76200"/>
                      <a:gd name="connsiteY4" fmla="*/ 179070 h 171450"/>
                      <a:gd name="connsiteX5" fmla="*/ 30480 w 76200"/>
                      <a:gd name="connsiteY5" fmla="*/ 95250 h 171450"/>
                      <a:gd name="connsiteX6" fmla="*/ 0 w 76200"/>
                      <a:gd name="connsiteY6" fmla="*/ 95250 h 17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6200" h="171450">
                        <a:moveTo>
                          <a:pt x="17145" y="0"/>
                        </a:moveTo>
                        <a:lnTo>
                          <a:pt x="83820" y="0"/>
                        </a:lnTo>
                        <a:lnTo>
                          <a:pt x="48578" y="77153"/>
                        </a:lnTo>
                        <a:lnTo>
                          <a:pt x="83820" y="77153"/>
                        </a:lnTo>
                        <a:lnTo>
                          <a:pt x="6667" y="179070"/>
                        </a:lnTo>
                        <a:lnTo>
                          <a:pt x="30480" y="95250"/>
                        </a:lnTo>
                        <a:lnTo>
                          <a:pt x="0" y="95250"/>
                        </a:lnTo>
                        <a:close/>
                      </a:path>
                    </a:pathLst>
                  </a:custGeom>
                  <a:solidFill>
                    <a:schemeClr val="accent4"/>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grpSp>
              <p:nvGrpSpPr>
                <p:cNvPr id="43" name="Group 24">
                  <a:extLst>
                    <a:ext uri="{FF2B5EF4-FFF2-40B4-BE49-F238E27FC236}">
                      <a16:creationId xmlns:a16="http://schemas.microsoft.com/office/drawing/2014/main" id="{FA5646F9-6C29-4F8B-85DC-635997DB397B}"/>
                    </a:ext>
                  </a:extLst>
                </p:cNvPr>
                <p:cNvGrpSpPr/>
                <p:nvPr/>
              </p:nvGrpSpPr>
              <p:grpSpPr>
                <a:xfrm>
                  <a:off x="9436052" y="5353380"/>
                  <a:ext cx="655311" cy="655312"/>
                  <a:chOff x="9442019" y="5252312"/>
                  <a:chExt cx="655311" cy="655312"/>
                </a:xfrm>
              </p:grpSpPr>
              <p:sp>
                <p:nvSpPr>
                  <p:cNvPr id="85" name="Freeform: Shape 25">
                    <a:extLst>
                      <a:ext uri="{FF2B5EF4-FFF2-40B4-BE49-F238E27FC236}">
                        <a16:creationId xmlns:a16="http://schemas.microsoft.com/office/drawing/2014/main" id="{A117D10D-818C-4AD6-BD74-C030C6B3582F}"/>
                      </a:ext>
                    </a:extLst>
                  </p:cNvPr>
                  <p:cNvSpPr/>
                  <p:nvPr/>
                </p:nvSpPr>
                <p:spPr>
                  <a:xfrm>
                    <a:off x="9486582" y="5295563"/>
                    <a:ext cx="563568" cy="563568"/>
                  </a:xfrm>
                  <a:custGeom>
                    <a:avLst/>
                    <a:gdLst>
                      <a:gd name="connsiteX0" fmla="*/ 206692 w 409575"/>
                      <a:gd name="connsiteY0" fmla="*/ 0 h 409575"/>
                      <a:gd name="connsiteX1" fmla="*/ 0 w 409575"/>
                      <a:gd name="connsiteY1" fmla="*/ 206693 h 409575"/>
                      <a:gd name="connsiteX2" fmla="*/ 206692 w 409575"/>
                      <a:gd name="connsiteY2" fmla="*/ 413385 h 409575"/>
                      <a:gd name="connsiteX3" fmla="*/ 413385 w 409575"/>
                      <a:gd name="connsiteY3" fmla="*/ 206693 h 409575"/>
                      <a:gd name="connsiteX4" fmla="*/ 206692 w 409575"/>
                      <a:gd name="connsiteY4" fmla="*/ 0 h 409575"/>
                      <a:gd name="connsiteX5" fmla="*/ 206692 w 409575"/>
                      <a:gd name="connsiteY5" fmla="*/ 381953 h 409575"/>
                      <a:gd name="connsiteX6" fmla="*/ 32385 w 409575"/>
                      <a:gd name="connsiteY6" fmla="*/ 207645 h 409575"/>
                      <a:gd name="connsiteX7" fmla="*/ 206692 w 409575"/>
                      <a:gd name="connsiteY7" fmla="*/ 33338 h 409575"/>
                      <a:gd name="connsiteX8" fmla="*/ 381000 w 409575"/>
                      <a:gd name="connsiteY8" fmla="*/ 207645 h 409575"/>
                      <a:gd name="connsiteX9" fmla="*/ 206692 w 409575"/>
                      <a:gd name="connsiteY9" fmla="*/ 381953 h 409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09575" h="409575">
                        <a:moveTo>
                          <a:pt x="206692" y="0"/>
                        </a:moveTo>
                        <a:cubicBezTo>
                          <a:pt x="92392" y="0"/>
                          <a:pt x="0" y="92393"/>
                          <a:pt x="0" y="206693"/>
                        </a:cubicBezTo>
                        <a:cubicBezTo>
                          <a:pt x="0" y="320993"/>
                          <a:pt x="92392" y="413385"/>
                          <a:pt x="206692" y="413385"/>
                        </a:cubicBezTo>
                        <a:cubicBezTo>
                          <a:pt x="320992" y="413385"/>
                          <a:pt x="413385" y="320993"/>
                          <a:pt x="413385" y="206693"/>
                        </a:cubicBezTo>
                        <a:cubicBezTo>
                          <a:pt x="413385" y="92393"/>
                          <a:pt x="320992" y="0"/>
                          <a:pt x="206692" y="0"/>
                        </a:cubicBezTo>
                        <a:close/>
                        <a:moveTo>
                          <a:pt x="206692" y="381953"/>
                        </a:moveTo>
                        <a:cubicBezTo>
                          <a:pt x="110490" y="381953"/>
                          <a:pt x="32385" y="303847"/>
                          <a:pt x="32385" y="207645"/>
                        </a:cubicBezTo>
                        <a:cubicBezTo>
                          <a:pt x="32385" y="111443"/>
                          <a:pt x="110490" y="33338"/>
                          <a:pt x="206692" y="33338"/>
                        </a:cubicBezTo>
                        <a:cubicBezTo>
                          <a:pt x="302895" y="33338"/>
                          <a:pt x="381000" y="111443"/>
                          <a:pt x="381000" y="207645"/>
                        </a:cubicBezTo>
                        <a:cubicBezTo>
                          <a:pt x="381000" y="302895"/>
                          <a:pt x="302895" y="381953"/>
                          <a:pt x="206692" y="381953"/>
                        </a:cubicBezTo>
                        <a:close/>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86" name="Freeform: Shape 26">
                    <a:extLst>
                      <a:ext uri="{FF2B5EF4-FFF2-40B4-BE49-F238E27FC236}">
                        <a16:creationId xmlns:a16="http://schemas.microsoft.com/office/drawing/2014/main" id="{D85478D3-775F-4E83-BF23-1A2CE120DAEE}"/>
                      </a:ext>
                    </a:extLst>
                  </p:cNvPr>
                  <p:cNvSpPr/>
                  <p:nvPr/>
                </p:nvSpPr>
                <p:spPr>
                  <a:xfrm>
                    <a:off x="9442019" y="5252312"/>
                    <a:ext cx="655311" cy="655312"/>
                  </a:xfrm>
                  <a:custGeom>
                    <a:avLst/>
                    <a:gdLst>
                      <a:gd name="connsiteX0" fmla="*/ 239078 w 476250"/>
                      <a:gd name="connsiteY0" fmla="*/ 0 h 476250"/>
                      <a:gd name="connsiteX1" fmla="*/ 0 w 476250"/>
                      <a:gd name="connsiteY1" fmla="*/ 239077 h 476250"/>
                      <a:gd name="connsiteX2" fmla="*/ 239078 w 476250"/>
                      <a:gd name="connsiteY2" fmla="*/ 478155 h 476250"/>
                      <a:gd name="connsiteX3" fmla="*/ 478155 w 476250"/>
                      <a:gd name="connsiteY3" fmla="*/ 239077 h 476250"/>
                      <a:gd name="connsiteX4" fmla="*/ 239078 w 476250"/>
                      <a:gd name="connsiteY4" fmla="*/ 0 h 476250"/>
                      <a:gd name="connsiteX5" fmla="*/ 239078 w 476250"/>
                      <a:gd name="connsiteY5" fmla="*/ 413385 h 476250"/>
                      <a:gd name="connsiteX6" fmla="*/ 64770 w 476250"/>
                      <a:gd name="connsiteY6" fmla="*/ 239077 h 476250"/>
                      <a:gd name="connsiteX7" fmla="*/ 239078 w 476250"/>
                      <a:gd name="connsiteY7" fmla="*/ 64770 h 476250"/>
                      <a:gd name="connsiteX8" fmla="*/ 413385 w 476250"/>
                      <a:gd name="connsiteY8" fmla="*/ 239077 h 476250"/>
                      <a:gd name="connsiteX9" fmla="*/ 239078 w 476250"/>
                      <a:gd name="connsiteY9" fmla="*/ 413385 h 476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76250" h="476250">
                        <a:moveTo>
                          <a:pt x="239078" y="0"/>
                        </a:moveTo>
                        <a:cubicBezTo>
                          <a:pt x="107633" y="0"/>
                          <a:pt x="0" y="107632"/>
                          <a:pt x="0" y="239077"/>
                        </a:cubicBezTo>
                        <a:cubicBezTo>
                          <a:pt x="0" y="370522"/>
                          <a:pt x="107633" y="478155"/>
                          <a:pt x="239078" y="478155"/>
                        </a:cubicBezTo>
                        <a:cubicBezTo>
                          <a:pt x="370523" y="478155"/>
                          <a:pt x="478155" y="370522"/>
                          <a:pt x="478155" y="239077"/>
                        </a:cubicBezTo>
                        <a:cubicBezTo>
                          <a:pt x="477203" y="106680"/>
                          <a:pt x="370523" y="0"/>
                          <a:pt x="239078" y="0"/>
                        </a:cubicBezTo>
                        <a:close/>
                        <a:moveTo>
                          <a:pt x="239078" y="413385"/>
                        </a:moveTo>
                        <a:cubicBezTo>
                          <a:pt x="142875" y="413385"/>
                          <a:pt x="64770" y="335280"/>
                          <a:pt x="64770" y="239077"/>
                        </a:cubicBezTo>
                        <a:cubicBezTo>
                          <a:pt x="64770" y="142875"/>
                          <a:pt x="142875" y="64770"/>
                          <a:pt x="239078" y="64770"/>
                        </a:cubicBezTo>
                        <a:cubicBezTo>
                          <a:pt x="335280" y="64770"/>
                          <a:pt x="413385" y="142875"/>
                          <a:pt x="413385" y="239077"/>
                        </a:cubicBezTo>
                        <a:cubicBezTo>
                          <a:pt x="413385" y="334327"/>
                          <a:pt x="335280" y="413385"/>
                          <a:pt x="239078" y="413385"/>
                        </a:cubicBezTo>
                        <a:close/>
                      </a:path>
                    </a:pathLst>
                  </a:custGeom>
                  <a:solidFill>
                    <a:schemeClr val="accent4"/>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87" name="Freeform: Shape 27">
                    <a:extLst>
                      <a:ext uri="{FF2B5EF4-FFF2-40B4-BE49-F238E27FC236}">
                        <a16:creationId xmlns:a16="http://schemas.microsoft.com/office/drawing/2014/main" id="{42DCF0CF-FADD-40F0-9CD6-A2A3CEF2CDFF}"/>
                      </a:ext>
                    </a:extLst>
                  </p:cNvPr>
                  <p:cNvSpPr/>
                  <p:nvPr/>
                </p:nvSpPr>
                <p:spPr>
                  <a:xfrm>
                    <a:off x="9531143" y="5340123"/>
                    <a:ext cx="471824" cy="471824"/>
                  </a:xfrm>
                  <a:custGeom>
                    <a:avLst/>
                    <a:gdLst>
                      <a:gd name="connsiteX0" fmla="*/ 348615 w 342900"/>
                      <a:gd name="connsiteY0" fmla="*/ 174308 h 342900"/>
                      <a:gd name="connsiteX1" fmla="*/ 174307 w 342900"/>
                      <a:gd name="connsiteY1" fmla="*/ 348615 h 342900"/>
                      <a:gd name="connsiteX2" fmla="*/ 0 w 342900"/>
                      <a:gd name="connsiteY2" fmla="*/ 174308 h 342900"/>
                      <a:gd name="connsiteX3" fmla="*/ 174307 w 342900"/>
                      <a:gd name="connsiteY3" fmla="*/ 0 h 342900"/>
                      <a:gd name="connsiteX4" fmla="*/ 348615 w 342900"/>
                      <a:gd name="connsiteY4" fmla="*/ 174308 h 342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900" h="342900">
                        <a:moveTo>
                          <a:pt x="348615" y="174308"/>
                        </a:moveTo>
                        <a:cubicBezTo>
                          <a:pt x="348615" y="270510"/>
                          <a:pt x="270510" y="348615"/>
                          <a:pt x="174307" y="348615"/>
                        </a:cubicBezTo>
                        <a:cubicBezTo>
                          <a:pt x="78105" y="348615"/>
                          <a:pt x="0" y="270510"/>
                          <a:pt x="0" y="174308"/>
                        </a:cubicBezTo>
                        <a:cubicBezTo>
                          <a:pt x="0" y="78105"/>
                          <a:pt x="78105" y="0"/>
                          <a:pt x="174307" y="0"/>
                        </a:cubicBezTo>
                        <a:cubicBezTo>
                          <a:pt x="270510" y="0"/>
                          <a:pt x="348615" y="78105"/>
                          <a:pt x="348615" y="174308"/>
                        </a:cubicBezTo>
                        <a:close/>
                      </a:path>
                    </a:pathLst>
                  </a:custGeom>
                  <a:solidFill>
                    <a:srgbClr val="FFFFFF"/>
                  </a:solidFill>
                  <a:ln w="9525" cap="flat">
                    <a:noFill/>
                    <a:prstDash val="solid"/>
                    <a:miter/>
                  </a:ln>
                  <a:effectLst>
                    <a:outerShdw blurRad="215900" dist="114300" dir="2700000" sx="96000" sy="96000" algn="tl" rotWithShape="0">
                      <a:prstClr val="black">
                        <a:alpha val="30000"/>
                      </a:prstClr>
                    </a:outerShdw>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nvGrpSpPr>
                  <p:cNvPr id="88" name="Graphic 3">
                    <a:extLst>
                      <a:ext uri="{FF2B5EF4-FFF2-40B4-BE49-F238E27FC236}">
                        <a16:creationId xmlns:a16="http://schemas.microsoft.com/office/drawing/2014/main" id="{DA3B27BB-B40E-4B7A-A2B8-C94174953A9C}"/>
                      </a:ext>
                    </a:extLst>
                  </p:cNvPr>
                  <p:cNvGrpSpPr/>
                  <p:nvPr/>
                </p:nvGrpSpPr>
                <p:grpSpPr>
                  <a:xfrm>
                    <a:off x="9578325" y="5410896"/>
                    <a:ext cx="340762" cy="327656"/>
                    <a:chOff x="6950393" y="4751069"/>
                    <a:chExt cx="247650" cy="238125"/>
                  </a:xfrm>
                  <a:solidFill>
                    <a:schemeClr val="accent4"/>
                  </a:solidFill>
                </p:grpSpPr>
                <p:sp>
                  <p:nvSpPr>
                    <p:cNvPr id="89" name="Freeform: Shape 29">
                      <a:extLst>
                        <a:ext uri="{FF2B5EF4-FFF2-40B4-BE49-F238E27FC236}">
                          <a16:creationId xmlns:a16="http://schemas.microsoft.com/office/drawing/2014/main" id="{E8F9F2CF-3828-4C11-AAA3-D6AC103FBC2D}"/>
                        </a:ext>
                      </a:extLst>
                    </p:cNvPr>
                    <p:cNvSpPr/>
                    <p:nvPr/>
                  </p:nvSpPr>
                  <p:spPr>
                    <a:xfrm>
                      <a:off x="6950393" y="4826317"/>
                      <a:ext cx="209550" cy="171450"/>
                    </a:xfrm>
                    <a:custGeom>
                      <a:avLst/>
                      <a:gdLst>
                        <a:gd name="connsiteX0" fmla="*/ 180022 w 209550"/>
                        <a:gd name="connsiteY0" fmla="*/ 131445 h 171450"/>
                        <a:gd name="connsiteX1" fmla="*/ 185738 w 209550"/>
                        <a:gd name="connsiteY1" fmla="*/ 85725 h 171450"/>
                        <a:gd name="connsiteX2" fmla="*/ 180022 w 209550"/>
                        <a:gd name="connsiteY2" fmla="*/ 64770 h 171450"/>
                        <a:gd name="connsiteX3" fmla="*/ 176213 w 209550"/>
                        <a:gd name="connsiteY3" fmla="*/ 57150 h 171450"/>
                        <a:gd name="connsiteX4" fmla="*/ 156210 w 209550"/>
                        <a:gd name="connsiteY4" fmla="*/ 34290 h 171450"/>
                        <a:gd name="connsiteX5" fmla="*/ 142875 w 209550"/>
                        <a:gd name="connsiteY5" fmla="*/ 24765 h 171450"/>
                        <a:gd name="connsiteX6" fmla="*/ 142875 w 209550"/>
                        <a:gd name="connsiteY6" fmla="*/ 24765 h 171450"/>
                        <a:gd name="connsiteX7" fmla="*/ 130492 w 209550"/>
                        <a:gd name="connsiteY7" fmla="*/ 20002 h 171450"/>
                        <a:gd name="connsiteX8" fmla="*/ 70485 w 209550"/>
                        <a:gd name="connsiteY8" fmla="*/ 15240 h 171450"/>
                        <a:gd name="connsiteX9" fmla="*/ 70485 w 209550"/>
                        <a:gd name="connsiteY9" fmla="*/ 15240 h 171450"/>
                        <a:gd name="connsiteX10" fmla="*/ 0 w 209550"/>
                        <a:gd name="connsiteY10" fmla="*/ 0 h 171450"/>
                        <a:gd name="connsiteX11" fmla="*/ 5715 w 209550"/>
                        <a:gd name="connsiteY11" fmla="*/ 19050 h 171450"/>
                        <a:gd name="connsiteX12" fmla="*/ 21907 w 209550"/>
                        <a:gd name="connsiteY12" fmla="*/ 63817 h 171450"/>
                        <a:gd name="connsiteX13" fmla="*/ 172402 w 209550"/>
                        <a:gd name="connsiteY13" fmla="*/ 139065 h 171450"/>
                        <a:gd name="connsiteX14" fmla="*/ 196215 w 209550"/>
                        <a:gd name="connsiteY14" fmla="*/ 171450 h 171450"/>
                        <a:gd name="connsiteX15" fmla="*/ 214313 w 209550"/>
                        <a:gd name="connsiteY15" fmla="*/ 156210 h 171450"/>
                        <a:gd name="connsiteX16" fmla="*/ 180022 w 209550"/>
                        <a:gd name="connsiteY16" fmla="*/ 131445 h 171450"/>
                        <a:gd name="connsiteX17" fmla="*/ 143827 w 209550"/>
                        <a:gd name="connsiteY17" fmla="*/ 122872 h 171450"/>
                        <a:gd name="connsiteX18" fmla="*/ 102870 w 209550"/>
                        <a:gd name="connsiteY18" fmla="*/ 141922 h 171450"/>
                        <a:gd name="connsiteX19" fmla="*/ 135255 w 209550"/>
                        <a:gd name="connsiteY19" fmla="*/ 119063 h 171450"/>
                        <a:gd name="connsiteX20" fmla="*/ 124777 w 209550"/>
                        <a:gd name="connsiteY20" fmla="*/ 114300 h 171450"/>
                        <a:gd name="connsiteX21" fmla="*/ 100013 w 209550"/>
                        <a:gd name="connsiteY21" fmla="*/ 100013 h 171450"/>
                        <a:gd name="connsiteX22" fmla="*/ 49530 w 209550"/>
                        <a:gd name="connsiteY22" fmla="*/ 95250 h 171450"/>
                        <a:gd name="connsiteX23" fmla="*/ 89535 w 209550"/>
                        <a:gd name="connsiteY23" fmla="*/ 92392 h 171450"/>
                        <a:gd name="connsiteX24" fmla="*/ 82867 w 209550"/>
                        <a:gd name="connsiteY24" fmla="*/ 87630 h 171450"/>
                        <a:gd name="connsiteX25" fmla="*/ 72390 w 209550"/>
                        <a:gd name="connsiteY25" fmla="*/ 79057 h 171450"/>
                        <a:gd name="connsiteX26" fmla="*/ 46672 w 209550"/>
                        <a:gd name="connsiteY26" fmla="*/ 56197 h 171450"/>
                        <a:gd name="connsiteX27" fmla="*/ 14288 w 209550"/>
                        <a:gd name="connsiteY27" fmla="*/ 20002 h 171450"/>
                        <a:gd name="connsiteX28" fmla="*/ 51435 w 209550"/>
                        <a:gd name="connsiteY28" fmla="*/ 51435 h 171450"/>
                        <a:gd name="connsiteX29" fmla="*/ 70485 w 209550"/>
                        <a:gd name="connsiteY29" fmla="*/ 66675 h 171450"/>
                        <a:gd name="connsiteX30" fmla="*/ 72390 w 209550"/>
                        <a:gd name="connsiteY30" fmla="*/ 68580 h 171450"/>
                        <a:gd name="connsiteX31" fmla="*/ 67627 w 209550"/>
                        <a:gd name="connsiteY31" fmla="*/ 37147 h 171450"/>
                        <a:gd name="connsiteX32" fmla="*/ 81915 w 209550"/>
                        <a:gd name="connsiteY32" fmla="*/ 75247 h 171450"/>
                        <a:gd name="connsiteX33" fmla="*/ 89535 w 209550"/>
                        <a:gd name="connsiteY33" fmla="*/ 80963 h 171450"/>
                        <a:gd name="connsiteX34" fmla="*/ 99060 w 209550"/>
                        <a:gd name="connsiteY34" fmla="*/ 88582 h 171450"/>
                        <a:gd name="connsiteX35" fmla="*/ 108585 w 209550"/>
                        <a:gd name="connsiteY35" fmla="*/ 95250 h 171450"/>
                        <a:gd name="connsiteX36" fmla="*/ 118110 w 209550"/>
                        <a:gd name="connsiteY36" fmla="*/ 101917 h 171450"/>
                        <a:gd name="connsiteX37" fmla="*/ 123825 w 209550"/>
                        <a:gd name="connsiteY37" fmla="*/ 105727 h 171450"/>
                        <a:gd name="connsiteX38" fmla="*/ 125730 w 209550"/>
                        <a:gd name="connsiteY38" fmla="*/ 54292 h 171450"/>
                        <a:gd name="connsiteX39" fmla="*/ 131445 w 209550"/>
                        <a:gd name="connsiteY39" fmla="*/ 110490 h 171450"/>
                        <a:gd name="connsiteX40" fmla="*/ 134302 w 209550"/>
                        <a:gd name="connsiteY40" fmla="*/ 112395 h 171450"/>
                        <a:gd name="connsiteX41" fmla="*/ 144780 w 209550"/>
                        <a:gd name="connsiteY41" fmla="*/ 118110 h 171450"/>
                        <a:gd name="connsiteX42" fmla="*/ 171450 w 209550"/>
                        <a:gd name="connsiteY42" fmla="*/ 131445 h 171450"/>
                        <a:gd name="connsiteX43" fmla="*/ 143827 w 209550"/>
                        <a:gd name="connsiteY43" fmla="*/ 122872 h 171450"/>
                        <a:gd name="connsiteX44" fmla="*/ 143827 w 209550"/>
                        <a:gd name="connsiteY44" fmla="*/ 122872 h 17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209550" h="171450">
                          <a:moveTo>
                            <a:pt x="180022" y="131445"/>
                          </a:moveTo>
                          <a:cubicBezTo>
                            <a:pt x="185738" y="114300"/>
                            <a:pt x="186690" y="99060"/>
                            <a:pt x="185738" y="85725"/>
                          </a:cubicBezTo>
                          <a:cubicBezTo>
                            <a:pt x="184785" y="78105"/>
                            <a:pt x="182880" y="70485"/>
                            <a:pt x="180022" y="64770"/>
                          </a:cubicBezTo>
                          <a:cubicBezTo>
                            <a:pt x="179070" y="61913"/>
                            <a:pt x="177165" y="59055"/>
                            <a:pt x="176213" y="57150"/>
                          </a:cubicBezTo>
                          <a:cubicBezTo>
                            <a:pt x="171450" y="48577"/>
                            <a:pt x="163830" y="40957"/>
                            <a:pt x="156210" y="34290"/>
                          </a:cubicBezTo>
                          <a:cubicBezTo>
                            <a:pt x="152400" y="30480"/>
                            <a:pt x="147638" y="27622"/>
                            <a:pt x="142875" y="24765"/>
                          </a:cubicBezTo>
                          <a:cubicBezTo>
                            <a:pt x="142875" y="24765"/>
                            <a:pt x="142875" y="24765"/>
                            <a:pt x="142875" y="24765"/>
                          </a:cubicBezTo>
                          <a:cubicBezTo>
                            <a:pt x="139065" y="22860"/>
                            <a:pt x="135255" y="20955"/>
                            <a:pt x="130492" y="20002"/>
                          </a:cubicBezTo>
                          <a:cubicBezTo>
                            <a:pt x="117157" y="16192"/>
                            <a:pt x="97155" y="13335"/>
                            <a:pt x="70485" y="15240"/>
                          </a:cubicBezTo>
                          <a:cubicBezTo>
                            <a:pt x="70485" y="15240"/>
                            <a:pt x="70485" y="15240"/>
                            <a:pt x="70485" y="15240"/>
                          </a:cubicBezTo>
                          <a:cubicBezTo>
                            <a:pt x="18097" y="19050"/>
                            <a:pt x="952" y="952"/>
                            <a:pt x="0" y="0"/>
                          </a:cubicBezTo>
                          <a:cubicBezTo>
                            <a:pt x="0" y="952"/>
                            <a:pt x="2857" y="8572"/>
                            <a:pt x="5715" y="19050"/>
                          </a:cubicBezTo>
                          <a:cubicBezTo>
                            <a:pt x="9525" y="31432"/>
                            <a:pt x="15240" y="47625"/>
                            <a:pt x="21907" y="63817"/>
                          </a:cubicBezTo>
                          <a:cubicBezTo>
                            <a:pt x="36195" y="100013"/>
                            <a:pt x="80963" y="192405"/>
                            <a:pt x="172402" y="139065"/>
                          </a:cubicBezTo>
                          <a:cubicBezTo>
                            <a:pt x="172402" y="139065"/>
                            <a:pt x="189547" y="156210"/>
                            <a:pt x="196215" y="171450"/>
                          </a:cubicBezTo>
                          <a:cubicBezTo>
                            <a:pt x="196215" y="171450"/>
                            <a:pt x="212407" y="164782"/>
                            <a:pt x="214313" y="156210"/>
                          </a:cubicBezTo>
                          <a:cubicBezTo>
                            <a:pt x="214313" y="157163"/>
                            <a:pt x="197167" y="138113"/>
                            <a:pt x="180022" y="131445"/>
                          </a:cubicBezTo>
                          <a:close/>
                          <a:moveTo>
                            <a:pt x="143827" y="122872"/>
                          </a:moveTo>
                          <a:lnTo>
                            <a:pt x="102870" y="141922"/>
                          </a:lnTo>
                          <a:lnTo>
                            <a:pt x="135255" y="119063"/>
                          </a:lnTo>
                          <a:cubicBezTo>
                            <a:pt x="131445" y="117157"/>
                            <a:pt x="128588" y="116205"/>
                            <a:pt x="124777" y="114300"/>
                          </a:cubicBezTo>
                          <a:cubicBezTo>
                            <a:pt x="116205" y="109538"/>
                            <a:pt x="108585" y="104775"/>
                            <a:pt x="100013" y="100013"/>
                          </a:cubicBezTo>
                          <a:lnTo>
                            <a:pt x="49530" y="95250"/>
                          </a:lnTo>
                          <a:lnTo>
                            <a:pt x="89535" y="92392"/>
                          </a:lnTo>
                          <a:cubicBezTo>
                            <a:pt x="87630" y="90488"/>
                            <a:pt x="85725" y="89535"/>
                            <a:pt x="82867" y="87630"/>
                          </a:cubicBezTo>
                          <a:cubicBezTo>
                            <a:pt x="79057" y="84772"/>
                            <a:pt x="75247" y="81915"/>
                            <a:pt x="72390" y="79057"/>
                          </a:cubicBezTo>
                          <a:cubicBezTo>
                            <a:pt x="62865" y="71438"/>
                            <a:pt x="54292" y="63817"/>
                            <a:pt x="46672" y="56197"/>
                          </a:cubicBezTo>
                          <a:cubicBezTo>
                            <a:pt x="35242" y="44767"/>
                            <a:pt x="23813" y="33338"/>
                            <a:pt x="14288" y="20002"/>
                          </a:cubicBezTo>
                          <a:cubicBezTo>
                            <a:pt x="26670" y="30480"/>
                            <a:pt x="39052" y="40957"/>
                            <a:pt x="51435" y="51435"/>
                          </a:cubicBezTo>
                          <a:cubicBezTo>
                            <a:pt x="58102" y="56197"/>
                            <a:pt x="63817" y="61913"/>
                            <a:pt x="70485" y="66675"/>
                          </a:cubicBezTo>
                          <a:lnTo>
                            <a:pt x="72390" y="68580"/>
                          </a:lnTo>
                          <a:lnTo>
                            <a:pt x="67627" y="37147"/>
                          </a:lnTo>
                          <a:lnTo>
                            <a:pt x="81915" y="75247"/>
                          </a:lnTo>
                          <a:lnTo>
                            <a:pt x="89535" y="80963"/>
                          </a:lnTo>
                          <a:cubicBezTo>
                            <a:pt x="92392" y="83820"/>
                            <a:pt x="96202" y="85725"/>
                            <a:pt x="99060" y="88582"/>
                          </a:cubicBezTo>
                          <a:cubicBezTo>
                            <a:pt x="101917" y="91440"/>
                            <a:pt x="105727" y="93345"/>
                            <a:pt x="108585" y="95250"/>
                          </a:cubicBezTo>
                          <a:lnTo>
                            <a:pt x="118110" y="101917"/>
                          </a:lnTo>
                          <a:cubicBezTo>
                            <a:pt x="120015" y="102870"/>
                            <a:pt x="121920" y="103822"/>
                            <a:pt x="123825" y="105727"/>
                          </a:cubicBezTo>
                          <a:lnTo>
                            <a:pt x="125730" y="54292"/>
                          </a:lnTo>
                          <a:lnTo>
                            <a:pt x="131445" y="110490"/>
                          </a:lnTo>
                          <a:cubicBezTo>
                            <a:pt x="132397" y="111442"/>
                            <a:pt x="133350" y="111442"/>
                            <a:pt x="134302" y="112395"/>
                          </a:cubicBezTo>
                          <a:cubicBezTo>
                            <a:pt x="138113" y="114300"/>
                            <a:pt x="140970" y="116205"/>
                            <a:pt x="144780" y="118110"/>
                          </a:cubicBezTo>
                          <a:cubicBezTo>
                            <a:pt x="153352" y="122872"/>
                            <a:pt x="161925" y="127635"/>
                            <a:pt x="171450" y="131445"/>
                          </a:cubicBezTo>
                          <a:cubicBezTo>
                            <a:pt x="161925" y="128588"/>
                            <a:pt x="152400" y="125730"/>
                            <a:pt x="143827" y="122872"/>
                          </a:cubicBezTo>
                          <a:lnTo>
                            <a:pt x="143827" y="122872"/>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90" name="Freeform: Shape 30">
                      <a:extLst>
                        <a:ext uri="{FF2B5EF4-FFF2-40B4-BE49-F238E27FC236}">
                          <a16:creationId xmlns:a16="http://schemas.microsoft.com/office/drawing/2014/main" id="{7FBAAD86-687C-4132-B82B-6044297643D0}"/>
                        </a:ext>
                      </a:extLst>
                    </p:cNvPr>
                    <p:cNvSpPr/>
                    <p:nvPr/>
                  </p:nvSpPr>
                  <p:spPr>
                    <a:xfrm>
                      <a:off x="7085647" y="4751069"/>
                      <a:ext cx="114300" cy="152400"/>
                    </a:xfrm>
                    <a:custGeom>
                      <a:avLst/>
                      <a:gdLst>
                        <a:gd name="connsiteX0" fmla="*/ 53340 w 114300"/>
                        <a:gd name="connsiteY0" fmla="*/ 158115 h 152400"/>
                        <a:gd name="connsiteX1" fmla="*/ 47625 w 114300"/>
                        <a:gd name="connsiteY1" fmla="*/ 137160 h 152400"/>
                        <a:gd name="connsiteX2" fmla="*/ 79058 w 114300"/>
                        <a:gd name="connsiteY2" fmla="*/ 138113 h 152400"/>
                        <a:gd name="connsiteX3" fmla="*/ 48578 w 114300"/>
                        <a:gd name="connsiteY3" fmla="*/ 130493 h 152400"/>
                        <a:gd name="connsiteX4" fmla="*/ 54293 w 114300"/>
                        <a:gd name="connsiteY4" fmla="*/ 123825 h 152400"/>
                        <a:gd name="connsiteX5" fmla="*/ 67628 w 114300"/>
                        <a:gd name="connsiteY5" fmla="*/ 104775 h 152400"/>
                        <a:gd name="connsiteX6" fmla="*/ 103822 w 114300"/>
                        <a:gd name="connsiteY6" fmla="*/ 84773 h 152400"/>
                        <a:gd name="connsiteX7" fmla="*/ 73343 w 114300"/>
                        <a:gd name="connsiteY7" fmla="*/ 96203 h 152400"/>
                        <a:gd name="connsiteX8" fmla="*/ 76200 w 114300"/>
                        <a:gd name="connsiteY8" fmla="*/ 90488 h 152400"/>
                        <a:gd name="connsiteX9" fmla="*/ 81915 w 114300"/>
                        <a:gd name="connsiteY9" fmla="*/ 80963 h 152400"/>
                        <a:gd name="connsiteX10" fmla="*/ 93345 w 114300"/>
                        <a:gd name="connsiteY10" fmla="*/ 55245 h 152400"/>
                        <a:gd name="connsiteX11" fmla="*/ 105728 w 114300"/>
                        <a:gd name="connsiteY11" fmla="*/ 18098 h 152400"/>
                        <a:gd name="connsiteX12" fmla="*/ 88583 w 114300"/>
                        <a:gd name="connsiteY12" fmla="*/ 53340 h 152400"/>
                        <a:gd name="connsiteX13" fmla="*/ 80010 w 114300"/>
                        <a:gd name="connsiteY13" fmla="*/ 70485 h 152400"/>
                        <a:gd name="connsiteX14" fmla="*/ 79058 w 114300"/>
                        <a:gd name="connsiteY14" fmla="*/ 72390 h 152400"/>
                        <a:gd name="connsiteX15" fmla="*/ 72390 w 114300"/>
                        <a:gd name="connsiteY15" fmla="*/ 47625 h 152400"/>
                        <a:gd name="connsiteX16" fmla="*/ 74295 w 114300"/>
                        <a:gd name="connsiteY16" fmla="*/ 80963 h 152400"/>
                        <a:gd name="connsiteX17" fmla="*/ 70485 w 114300"/>
                        <a:gd name="connsiteY17" fmla="*/ 87630 h 152400"/>
                        <a:gd name="connsiteX18" fmla="*/ 65722 w 114300"/>
                        <a:gd name="connsiteY18" fmla="*/ 96203 h 152400"/>
                        <a:gd name="connsiteX19" fmla="*/ 60960 w 114300"/>
                        <a:gd name="connsiteY19" fmla="*/ 104775 h 152400"/>
                        <a:gd name="connsiteX20" fmla="*/ 56197 w 114300"/>
                        <a:gd name="connsiteY20" fmla="*/ 113348 h 152400"/>
                        <a:gd name="connsiteX21" fmla="*/ 53340 w 114300"/>
                        <a:gd name="connsiteY21" fmla="*/ 118110 h 152400"/>
                        <a:gd name="connsiteX22" fmla="*/ 35243 w 114300"/>
                        <a:gd name="connsiteY22" fmla="*/ 80963 h 152400"/>
                        <a:gd name="connsiteX23" fmla="*/ 49530 w 114300"/>
                        <a:gd name="connsiteY23" fmla="*/ 124778 h 152400"/>
                        <a:gd name="connsiteX24" fmla="*/ 45720 w 114300"/>
                        <a:gd name="connsiteY24" fmla="*/ 130493 h 152400"/>
                        <a:gd name="connsiteX25" fmla="*/ 25718 w 114300"/>
                        <a:gd name="connsiteY25" fmla="*/ 107633 h 152400"/>
                        <a:gd name="connsiteX26" fmla="*/ 12383 w 114300"/>
                        <a:gd name="connsiteY26" fmla="*/ 98108 h 152400"/>
                        <a:gd name="connsiteX27" fmla="*/ 12383 w 114300"/>
                        <a:gd name="connsiteY27" fmla="*/ 98108 h 152400"/>
                        <a:gd name="connsiteX28" fmla="*/ 0 w 114300"/>
                        <a:gd name="connsiteY28" fmla="*/ 93345 h 152400"/>
                        <a:gd name="connsiteX29" fmla="*/ 6668 w 114300"/>
                        <a:gd name="connsiteY29" fmla="*/ 76200 h 152400"/>
                        <a:gd name="connsiteX30" fmla="*/ 13335 w 114300"/>
                        <a:gd name="connsiteY30" fmla="*/ 64770 h 152400"/>
                        <a:gd name="connsiteX31" fmla="*/ 13335 w 114300"/>
                        <a:gd name="connsiteY31" fmla="*/ 64770 h 152400"/>
                        <a:gd name="connsiteX32" fmla="*/ 64770 w 114300"/>
                        <a:gd name="connsiteY32" fmla="*/ 34290 h 152400"/>
                        <a:gd name="connsiteX33" fmla="*/ 64770 w 114300"/>
                        <a:gd name="connsiteY33" fmla="*/ 34290 h 152400"/>
                        <a:gd name="connsiteX34" fmla="*/ 112395 w 114300"/>
                        <a:gd name="connsiteY34" fmla="*/ 0 h 152400"/>
                        <a:gd name="connsiteX35" fmla="*/ 114300 w 114300"/>
                        <a:gd name="connsiteY35" fmla="*/ 16193 h 152400"/>
                        <a:gd name="connsiteX36" fmla="*/ 114300 w 114300"/>
                        <a:gd name="connsiteY36" fmla="*/ 18098 h 152400"/>
                        <a:gd name="connsiteX37" fmla="*/ 116205 w 114300"/>
                        <a:gd name="connsiteY37" fmla="*/ 54293 h 152400"/>
                        <a:gd name="connsiteX38" fmla="*/ 53340 w 114300"/>
                        <a:gd name="connsiteY38" fmla="*/ 158115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14300" h="152400">
                          <a:moveTo>
                            <a:pt x="53340" y="158115"/>
                          </a:moveTo>
                          <a:cubicBezTo>
                            <a:pt x="52388" y="150495"/>
                            <a:pt x="50483" y="142875"/>
                            <a:pt x="47625" y="137160"/>
                          </a:cubicBezTo>
                          <a:lnTo>
                            <a:pt x="79058" y="138113"/>
                          </a:lnTo>
                          <a:lnTo>
                            <a:pt x="48578" y="130493"/>
                          </a:lnTo>
                          <a:cubicBezTo>
                            <a:pt x="50483" y="128588"/>
                            <a:pt x="52388" y="125730"/>
                            <a:pt x="54293" y="123825"/>
                          </a:cubicBezTo>
                          <a:cubicBezTo>
                            <a:pt x="59055" y="118110"/>
                            <a:pt x="63818" y="111443"/>
                            <a:pt x="67628" y="104775"/>
                          </a:cubicBezTo>
                          <a:lnTo>
                            <a:pt x="103822" y="84773"/>
                          </a:lnTo>
                          <a:lnTo>
                            <a:pt x="73343" y="96203"/>
                          </a:lnTo>
                          <a:cubicBezTo>
                            <a:pt x="74295" y="94298"/>
                            <a:pt x="75247" y="92393"/>
                            <a:pt x="76200" y="90488"/>
                          </a:cubicBezTo>
                          <a:cubicBezTo>
                            <a:pt x="78105" y="87630"/>
                            <a:pt x="80010" y="83820"/>
                            <a:pt x="81915" y="80963"/>
                          </a:cubicBezTo>
                          <a:cubicBezTo>
                            <a:pt x="86678" y="72390"/>
                            <a:pt x="90488" y="63818"/>
                            <a:pt x="93345" y="55245"/>
                          </a:cubicBezTo>
                          <a:cubicBezTo>
                            <a:pt x="98108" y="42863"/>
                            <a:pt x="102870" y="30480"/>
                            <a:pt x="105728" y="18098"/>
                          </a:cubicBezTo>
                          <a:cubicBezTo>
                            <a:pt x="100013" y="29528"/>
                            <a:pt x="94297" y="41910"/>
                            <a:pt x="88583" y="53340"/>
                          </a:cubicBezTo>
                          <a:cubicBezTo>
                            <a:pt x="85725" y="59055"/>
                            <a:pt x="82868" y="64770"/>
                            <a:pt x="80010" y="70485"/>
                          </a:cubicBezTo>
                          <a:lnTo>
                            <a:pt x="79058" y="72390"/>
                          </a:lnTo>
                          <a:lnTo>
                            <a:pt x="72390" y="47625"/>
                          </a:lnTo>
                          <a:lnTo>
                            <a:pt x="74295" y="80963"/>
                          </a:lnTo>
                          <a:lnTo>
                            <a:pt x="70485" y="87630"/>
                          </a:lnTo>
                          <a:cubicBezTo>
                            <a:pt x="68580" y="90488"/>
                            <a:pt x="67628" y="93345"/>
                            <a:pt x="65722" y="96203"/>
                          </a:cubicBezTo>
                          <a:cubicBezTo>
                            <a:pt x="63818" y="99060"/>
                            <a:pt x="62865" y="101918"/>
                            <a:pt x="60960" y="104775"/>
                          </a:cubicBezTo>
                          <a:lnTo>
                            <a:pt x="56197" y="113348"/>
                          </a:lnTo>
                          <a:cubicBezTo>
                            <a:pt x="55245" y="114300"/>
                            <a:pt x="54293" y="116205"/>
                            <a:pt x="53340" y="118110"/>
                          </a:cubicBezTo>
                          <a:lnTo>
                            <a:pt x="35243" y="80963"/>
                          </a:lnTo>
                          <a:lnTo>
                            <a:pt x="49530" y="124778"/>
                          </a:lnTo>
                          <a:cubicBezTo>
                            <a:pt x="48578" y="126683"/>
                            <a:pt x="46672" y="128588"/>
                            <a:pt x="45720" y="130493"/>
                          </a:cubicBezTo>
                          <a:cubicBezTo>
                            <a:pt x="40958" y="121920"/>
                            <a:pt x="33338" y="114300"/>
                            <a:pt x="25718" y="107633"/>
                          </a:cubicBezTo>
                          <a:cubicBezTo>
                            <a:pt x="21908" y="103823"/>
                            <a:pt x="17145" y="100965"/>
                            <a:pt x="12383" y="98108"/>
                          </a:cubicBezTo>
                          <a:cubicBezTo>
                            <a:pt x="12383" y="98108"/>
                            <a:pt x="12383" y="98108"/>
                            <a:pt x="12383" y="98108"/>
                          </a:cubicBezTo>
                          <a:cubicBezTo>
                            <a:pt x="8572" y="96203"/>
                            <a:pt x="4763" y="94298"/>
                            <a:pt x="0" y="93345"/>
                          </a:cubicBezTo>
                          <a:cubicBezTo>
                            <a:pt x="953" y="87630"/>
                            <a:pt x="3810" y="81915"/>
                            <a:pt x="6668" y="76200"/>
                          </a:cubicBezTo>
                          <a:cubicBezTo>
                            <a:pt x="8572" y="72390"/>
                            <a:pt x="11430" y="68580"/>
                            <a:pt x="13335" y="64770"/>
                          </a:cubicBezTo>
                          <a:cubicBezTo>
                            <a:pt x="13335" y="64770"/>
                            <a:pt x="13335" y="64770"/>
                            <a:pt x="13335" y="64770"/>
                          </a:cubicBezTo>
                          <a:cubicBezTo>
                            <a:pt x="20955" y="55245"/>
                            <a:pt x="36195" y="43815"/>
                            <a:pt x="64770" y="34290"/>
                          </a:cubicBezTo>
                          <a:cubicBezTo>
                            <a:pt x="64770" y="34290"/>
                            <a:pt x="64770" y="34290"/>
                            <a:pt x="64770" y="34290"/>
                          </a:cubicBezTo>
                          <a:cubicBezTo>
                            <a:pt x="104775" y="20003"/>
                            <a:pt x="111443" y="1905"/>
                            <a:pt x="112395" y="0"/>
                          </a:cubicBezTo>
                          <a:cubicBezTo>
                            <a:pt x="112395" y="953"/>
                            <a:pt x="113347" y="6668"/>
                            <a:pt x="114300" y="16193"/>
                          </a:cubicBezTo>
                          <a:cubicBezTo>
                            <a:pt x="114300" y="17145"/>
                            <a:pt x="114300" y="17145"/>
                            <a:pt x="114300" y="18098"/>
                          </a:cubicBezTo>
                          <a:cubicBezTo>
                            <a:pt x="115253" y="28575"/>
                            <a:pt x="116205" y="40958"/>
                            <a:pt x="116205" y="54293"/>
                          </a:cubicBezTo>
                          <a:cubicBezTo>
                            <a:pt x="115253" y="81915"/>
                            <a:pt x="113347" y="149543"/>
                            <a:pt x="53340" y="158115"/>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grpSp>
            <p:sp>
              <p:nvSpPr>
                <p:cNvPr id="44" name="Freeform: Shape 31">
                  <a:extLst>
                    <a:ext uri="{FF2B5EF4-FFF2-40B4-BE49-F238E27FC236}">
                      <a16:creationId xmlns:a16="http://schemas.microsoft.com/office/drawing/2014/main" id="{0D0C1530-BE2B-4986-B82B-E281FEDBE947}"/>
                    </a:ext>
                  </a:extLst>
                </p:cNvPr>
                <p:cNvSpPr/>
                <p:nvPr/>
              </p:nvSpPr>
              <p:spPr>
                <a:xfrm>
                  <a:off x="7121388" y="5051937"/>
                  <a:ext cx="563568" cy="563568"/>
                </a:xfrm>
                <a:custGeom>
                  <a:avLst/>
                  <a:gdLst>
                    <a:gd name="connsiteX0" fmla="*/ 206692 w 409575"/>
                    <a:gd name="connsiteY0" fmla="*/ 0 h 409575"/>
                    <a:gd name="connsiteX1" fmla="*/ 0 w 409575"/>
                    <a:gd name="connsiteY1" fmla="*/ 206693 h 409575"/>
                    <a:gd name="connsiteX2" fmla="*/ 206692 w 409575"/>
                    <a:gd name="connsiteY2" fmla="*/ 413385 h 409575"/>
                    <a:gd name="connsiteX3" fmla="*/ 413385 w 409575"/>
                    <a:gd name="connsiteY3" fmla="*/ 206693 h 409575"/>
                    <a:gd name="connsiteX4" fmla="*/ 206692 w 409575"/>
                    <a:gd name="connsiteY4" fmla="*/ 0 h 409575"/>
                    <a:gd name="connsiteX5" fmla="*/ 206692 w 409575"/>
                    <a:gd name="connsiteY5" fmla="*/ 381953 h 409575"/>
                    <a:gd name="connsiteX6" fmla="*/ 32385 w 409575"/>
                    <a:gd name="connsiteY6" fmla="*/ 207645 h 409575"/>
                    <a:gd name="connsiteX7" fmla="*/ 206692 w 409575"/>
                    <a:gd name="connsiteY7" fmla="*/ 33338 h 409575"/>
                    <a:gd name="connsiteX8" fmla="*/ 381000 w 409575"/>
                    <a:gd name="connsiteY8" fmla="*/ 207645 h 409575"/>
                    <a:gd name="connsiteX9" fmla="*/ 206692 w 409575"/>
                    <a:gd name="connsiteY9" fmla="*/ 381953 h 409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09575" h="409575">
                      <a:moveTo>
                        <a:pt x="206692" y="0"/>
                      </a:moveTo>
                      <a:cubicBezTo>
                        <a:pt x="92392" y="0"/>
                        <a:pt x="0" y="92393"/>
                        <a:pt x="0" y="206693"/>
                      </a:cubicBezTo>
                      <a:cubicBezTo>
                        <a:pt x="0" y="320993"/>
                        <a:pt x="92392" y="413385"/>
                        <a:pt x="206692" y="413385"/>
                      </a:cubicBezTo>
                      <a:cubicBezTo>
                        <a:pt x="320992" y="413385"/>
                        <a:pt x="413385" y="320993"/>
                        <a:pt x="413385" y="206693"/>
                      </a:cubicBezTo>
                      <a:cubicBezTo>
                        <a:pt x="413385" y="93345"/>
                        <a:pt x="320992" y="0"/>
                        <a:pt x="206692" y="0"/>
                      </a:cubicBezTo>
                      <a:close/>
                      <a:moveTo>
                        <a:pt x="206692" y="381953"/>
                      </a:moveTo>
                      <a:cubicBezTo>
                        <a:pt x="110490" y="381953"/>
                        <a:pt x="32385" y="303848"/>
                        <a:pt x="32385" y="207645"/>
                      </a:cubicBezTo>
                      <a:cubicBezTo>
                        <a:pt x="32385" y="111443"/>
                        <a:pt x="110490" y="33338"/>
                        <a:pt x="206692" y="33338"/>
                      </a:cubicBezTo>
                      <a:cubicBezTo>
                        <a:pt x="302895" y="33338"/>
                        <a:pt x="381000" y="111443"/>
                        <a:pt x="381000" y="207645"/>
                      </a:cubicBezTo>
                      <a:cubicBezTo>
                        <a:pt x="381000" y="302895"/>
                        <a:pt x="302895" y="381953"/>
                        <a:pt x="206692" y="381953"/>
                      </a:cubicBezTo>
                      <a:close/>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45" name="Freeform: Shape 32">
                  <a:extLst>
                    <a:ext uri="{FF2B5EF4-FFF2-40B4-BE49-F238E27FC236}">
                      <a16:creationId xmlns:a16="http://schemas.microsoft.com/office/drawing/2014/main" id="{26052CFD-4EB7-4F3D-A288-0448BBB06B2F}"/>
                    </a:ext>
                  </a:extLst>
                </p:cNvPr>
                <p:cNvSpPr/>
                <p:nvPr/>
              </p:nvSpPr>
              <p:spPr>
                <a:xfrm>
                  <a:off x="7076827" y="5008687"/>
                  <a:ext cx="655311" cy="655312"/>
                </a:xfrm>
                <a:custGeom>
                  <a:avLst/>
                  <a:gdLst>
                    <a:gd name="connsiteX0" fmla="*/ 239077 w 476250"/>
                    <a:gd name="connsiteY0" fmla="*/ 0 h 476250"/>
                    <a:gd name="connsiteX1" fmla="*/ 0 w 476250"/>
                    <a:gd name="connsiteY1" fmla="*/ 239078 h 476250"/>
                    <a:gd name="connsiteX2" fmla="*/ 239077 w 476250"/>
                    <a:gd name="connsiteY2" fmla="*/ 478155 h 476250"/>
                    <a:gd name="connsiteX3" fmla="*/ 478155 w 476250"/>
                    <a:gd name="connsiteY3" fmla="*/ 239078 h 476250"/>
                    <a:gd name="connsiteX4" fmla="*/ 239077 w 476250"/>
                    <a:gd name="connsiteY4" fmla="*/ 0 h 476250"/>
                    <a:gd name="connsiteX5" fmla="*/ 239077 w 476250"/>
                    <a:gd name="connsiteY5" fmla="*/ 413385 h 476250"/>
                    <a:gd name="connsiteX6" fmla="*/ 64770 w 476250"/>
                    <a:gd name="connsiteY6" fmla="*/ 239078 h 476250"/>
                    <a:gd name="connsiteX7" fmla="*/ 239077 w 476250"/>
                    <a:gd name="connsiteY7" fmla="*/ 64770 h 476250"/>
                    <a:gd name="connsiteX8" fmla="*/ 413385 w 476250"/>
                    <a:gd name="connsiteY8" fmla="*/ 239078 h 476250"/>
                    <a:gd name="connsiteX9" fmla="*/ 239077 w 476250"/>
                    <a:gd name="connsiteY9" fmla="*/ 413385 h 476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76250" h="476250">
                      <a:moveTo>
                        <a:pt x="239077" y="0"/>
                      </a:moveTo>
                      <a:cubicBezTo>
                        <a:pt x="107633" y="0"/>
                        <a:pt x="0" y="107632"/>
                        <a:pt x="0" y="239078"/>
                      </a:cubicBezTo>
                      <a:cubicBezTo>
                        <a:pt x="0" y="370522"/>
                        <a:pt x="107633" y="478155"/>
                        <a:pt x="239077" y="478155"/>
                      </a:cubicBezTo>
                      <a:cubicBezTo>
                        <a:pt x="370523" y="478155"/>
                        <a:pt x="478155" y="371475"/>
                        <a:pt x="478155" y="239078"/>
                      </a:cubicBezTo>
                      <a:cubicBezTo>
                        <a:pt x="478155" y="106680"/>
                        <a:pt x="370523" y="0"/>
                        <a:pt x="239077" y="0"/>
                      </a:cubicBezTo>
                      <a:close/>
                      <a:moveTo>
                        <a:pt x="239077" y="413385"/>
                      </a:moveTo>
                      <a:cubicBezTo>
                        <a:pt x="142875" y="413385"/>
                        <a:pt x="64770" y="335280"/>
                        <a:pt x="64770" y="239078"/>
                      </a:cubicBezTo>
                      <a:cubicBezTo>
                        <a:pt x="64770" y="142875"/>
                        <a:pt x="142875" y="64770"/>
                        <a:pt x="239077" y="64770"/>
                      </a:cubicBezTo>
                      <a:cubicBezTo>
                        <a:pt x="335280" y="64770"/>
                        <a:pt x="413385" y="142875"/>
                        <a:pt x="413385" y="239078"/>
                      </a:cubicBezTo>
                      <a:cubicBezTo>
                        <a:pt x="413385" y="334328"/>
                        <a:pt x="335280" y="413385"/>
                        <a:pt x="239077" y="413385"/>
                      </a:cubicBezTo>
                      <a:close/>
                    </a:path>
                  </a:pathLst>
                </a:custGeom>
                <a:solidFill>
                  <a:schemeClr val="accent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46" name="Freeform: Shape 33">
                  <a:extLst>
                    <a:ext uri="{FF2B5EF4-FFF2-40B4-BE49-F238E27FC236}">
                      <a16:creationId xmlns:a16="http://schemas.microsoft.com/office/drawing/2014/main" id="{99C96B4B-7F56-4810-8009-EE2F1E2EF206}"/>
                    </a:ext>
                  </a:extLst>
                </p:cNvPr>
                <p:cNvSpPr/>
                <p:nvPr/>
              </p:nvSpPr>
              <p:spPr>
                <a:xfrm>
                  <a:off x="7165949" y="5096500"/>
                  <a:ext cx="471824" cy="471824"/>
                </a:xfrm>
                <a:custGeom>
                  <a:avLst/>
                  <a:gdLst>
                    <a:gd name="connsiteX0" fmla="*/ 348615 w 342900"/>
                    <a:gd name="connsiteY0" fmla="*/ 174307 h 342900"/>
                    <a:gd name="connsiteX1" fmla="*/ 174307 w 342900"/>
                    <a:gd name="connsiteY1" fmla="*/ 348615 h 342900"/>
                    <a:gd name="connsiteX2" fmla="*/ 0 w 342900"/>
                    <a:gd name="connsiteY2" fmla="*/ 174307 h 342900"/>
                    <a:gd name="connsiteX3" fmla="*/ 174307 w 342900"/>
                    <a:gd name="connsiteY3" fmla="*/ 0 h 342900"/>
                    <a:gd name="connsiteX4" fmla="*/ 348615 w 342900"/>
                    <a:gd name="connsiteY4" fmla="*/ 174307 h 342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900" h="342900">
                      <a:moveTo>
                        <a:pt x="348615" y="174307"/>
                      </a:moveTo>
                      <a:cubicBezTo>
                        <a:pt x="348615" y="270510"/>
                        <a:pt x="270510" y="348615"/>
                        <a:pt x="174307" y="348615"/>
                      </a:cubicBezTo>
                      <a:cubicBezTo>
                        <a:pt x="78105" y="348615"/>
                        <a:pt x="0" y="270510"/>
                        <a:pt x="0" y="174307"/>
                      </a:cubicBezTo>
                      <a:cubicBezTo>
                        <a:pt x="0" y="78105"/>
                        <a:pt x="78105" y="0"/>
                        <a:pt x="174307" y="0"/>
                      </a:cubicBezTo>
                      <a:cubicBezTo>
                        <a:pt x="270510" y="0"/>
                        <a:pt x="348615" y="78105"/>
                        <a:pt x="348615" y="174307"/>
                      </a:cubicBezTo>
                      <a:close/>
                    </a:path>
                  </a:pathLst>
                </a:custGeom>
                <a:solidFill>
                  <a:srgbClr val="FFFFFF"/>
                </a:solidFill>
                <a:ln w="9525" cap="flat">
                  <a:noFill/>
                  <a:prstDash val="solid"/>
                  <a:miter/>
                </a:ln>
                <a:effectLst>
                  <a:outerShdw blurRad="215900" dist="114300" dir="2700000" sx="96000" sy="96000" algn="tl" rotWithShape="0">
                    <a:prstClr val="black">
                      <a:alpha val="30000"/>
                    </a:prstClr>
                  </a:outerShdw>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grpSp>
              <p:nvGrpSpPr>
                <p:cNvPr id="47" name="Graphic 3">
                  <a:extLst>
                    <a:ext uri="{FF2B5EF4-FFF2-40B4-BE49-F238E27FC236}">
                      <a16:creationId xmlns:a16="http://schemas.microsoft.com/office/drawing/2014/main" id="{99013CA4-37BA-47D8-998F-867EE1587E9A}"/>
                    </a:ext>
                  </a:extLst>
                </p:cNvPr>
                <p:cNvGrpSpPr/>
                <p:nvPr/>
              </p:nvGrpSpPr>
              <p:grpSpPr>
                <a:xfrm>
                  <a:off x="7243911" y="5179068"/>
                  <a:ext cx="314549" cy="314550"/>
                  <a:chOff x="5336367" y="4557712"/>
                  <a:chExt cx="228600" cy="228600"/>
                </a:xfrm>
                <a:solidFill>
                  <a:schemeClr val="accent1"/>
                </a:solidFill>
              </p:grpSpPr>
              <p:sp>
                <p:nvSpPr>
                  <p:cNvPr id="79" name="Freeform: Shape 35">
                    <a:extLst>
                      <a:ext uri="{FF2B5EF4-FFF2-40B4-BE49-F238E27FC236}">
                        <a16:creationId xmlns:a16="http://schemas.microsoft.com/office/drawing/2014/main" id="{F94441D6-514A-4A11-80CE-71B889307069}"/>
                      </a:ext>
                    </a:extLst>
                  </p:cNvPr>
                  <p:cNvSpPr/>
                  <p:nvPr/>
                </p:nvSpPr>
                <p:spPr>
                  <a:xfrm>
                    <a:off x="5436870" y="4557712"/>
                    <a:ext cx="104775" cy="66675"/>
                  </a:xfrm>
                  <a:custGeom>
                    <a:avLst/>
                    <a:gdLst>
                      <a:gd name="connsiteX0" fmla="*/ 104775 w 104775"/>
                      <a:gd name="connsiteY0" fmla="*/ 22860 h 66675"/>
                      <a:gd name="connsiteX1" fmla="*/ 77152 w 104775"/>
                      <a:gd name="connsiteY1" fmla="*/ 70485 h 66675"/>
                      <a:gd name="connsiteX2" fmla="*/ 22860 w 104775"/>
                      <a:gd name="connsiteY2" fmla="*/ 70485 h 66675"/>
                      <a:gd name="connsiteX3" fmla="*/ 40005 w 104775"/>
                      <a:gd name="connsiteY3" fmla="*/ 60960 h 66675"/>
                      <a:gd name="connsiteX4" fmla="*/ 10477 w 104775"/>
                      <a:gd name="connsiteY4" fmla="*/ 10478 h 66675"/>
                      <a:gd name="connsiteX5" fmla="*/ 0 w 104775"/>
                      <a:gd name="connsiteY5" fmla="*/ 0 h 66675"/>
                      <a:gd name="connsiteX6" fmla="*/ 60960 w 104775"/>
                      <a:gd name="connsiteY6" fmla="*/ 0 h 66675"/>
                      <a:gd name="connsiteX7" fmla="*/ 71438 w 104775"/>
                      <a:gd name="connsiteY7" fmla="*/ 4763 h 66675"/>
                      <a:gd name="connsiteX8" fmla="*/ 88582 w 104775"/>
                      <a:gd name="connsiteY8" fmla="*/ 33338 h 66675"/>
                      <a:gd name="connsiteX9" fmla="*/ 104775 w 104775"/>
                      <a:gd name="connsiteY9" fmla="*/ 22860 h 66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4775" h="66675">
                        <a:moveTo>
                          <a:pt x="104775" y="22860"/>
                        </a:moveTo>
                        <a:lnTo>
                          <a:pt x="77152" y="70485"/>
                        </a:lnTo>
                        <a:lnTo>
                          <a:pt x="22860" y="70485"/>
                        </a:lnTo>
                        <a:lnTo>
                          <a:pt x="40005" y="60960"/>
                        </a:lnTo>
                        <a:cubicBezTo>
                          <a:pt x="40005" y="60960"/>
                          <a:pt x="17145" y="22860"/>
                          <a:pt x="10477" y="10478"/>
                        </a:cubicBezTo>
                        <a:cubicBezTo>
                          <a:pt x="5715" y="2857"/>
                          <a:pt x="2857" y="0"/>
                          <a:pt x="0" y="0"/>
                        </a:cubicBezTo>
                        <a:cubicBezTo>
                          <a:pt x="9525" y="0"/>
                          <a:pt x="52388" y="0"/>
                          <a:pt x="60960" y="0"/>
                        </a:cubicBezTo>
                        <a:cubicBezTo>
                          <a:pt x="70485" y="0"/>
                          <a:pt x="71438" y="4763"/>
                          <a:pt x="71438" y="4763"/>
                        </a:cubicBezTo>
                        <a:lnTo>
                          <a:pt x="88582" y="33338"/>
                        </a:lnTo>
                        <a:lnTo>
                          <a:pt x="104775" y="2286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80" name="Freeform: Shape 36">
                    <a:extLst>
                      <a:ext uri="{FF2B5EF4-FFF2-40B4-BE49-F238E27FC236}">
                        <a16:creationId xmlns:a16="http://schemas.microsoft.com/office/drawing/2014/main" id="{75D15E8C-D0F1-4B6C-B882-EB8AE4654985}"/>
                      </a:ext>
                    </a:extLst>
                  </p:cNvPr>
                  <p:cNvSpPr/>
                  <p:nvPr/>
                </p:nvSpPr>
                <p:spPr>
                  <a:xfrm>
                    <a:off x="5374958" y="4558783"/>
                    <a:ext cx="76200" cy="76200"/>
                  </a:xfrm>
                  <a:custGeom>
                    <a:avLst/>
                    <a:gdLst>
                      <a:gd name="connsiteX0" fmla="*/ 65722 w 76200"/>
                      <a:gd name="connsiteY0" fmla="*/ 7502 h 76200"/>
                      <a:gd name="connsiteX1" fmla="*/ 78105 w 76200"/>
                      <a:gd name="connsiteY1" fmla="*/ 28457 h 76200"/>
                      <a:gd name="connsiteX2" fmla="*/ 47625 w 76200"/>
                      <a:gd name="connsiteY2" fmla="*/ 80844 h 76200"/>
                      <a:gd name="connsiteX3" fmla="*/ 0 w 76200"/>
                      <a:gd name="connsiteY3" fmla="*/ 53222 h 76200"/>
                      <a:gd name="connsiteX4" fmla="*/ 20002 w 76200"/>
                      <a:gd name="connsiteY4" fmla="*/ 18932 h 76200"/>
                      <a:gd name="connsiteX5" fmla="*/ 42863 w 76200"/>
                      <a:gd name="connsiteY5" fmla="*/ 834 h 76200"/>
                      <a:gd name="connsiteX6" fmla="*/ 65722 w 76200"/>
                      <a:gd name="connsiteY6" fmla="*/ 7502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6200" h="76200">
                        <a:moveTo>
                          <a:pt x="65722" y="7502"/>
                        </a:moveTo>
                        <a:lnTo>
                          <a:pt x="78105" y="28457"/>
                        </a:lnTo>
                        <a:lnTo>
                          <a:pt x="47625" y="80844"/>
                        </a:lnTo>
                        <a:lnTo>
                          <a:pt x="0" y="53222"/>
                        </a:lnTo>
                        <a:cubicBezTo>
                          <a:pt x="0" y="53222"/>
                          <a:pt x="16192" y="25599"/>
                          <a:pt x="20002" y="18932"/>
                        </a:cubicBezTo>
                        <a:cubicBezTo>
                          <a:pt x="23813" y="12264"/>
                          <a:pt x="28575" y="3692"/>
                          <a:pt x="42863" y="834"/>
                        </a:cubicBezTo>
                        <a:cubicBezTo>
                          <a:pt x="56197" y="-2976"/>
                          <a:pt x="65722" y="7502"/>
                          <a:pt x="65722" y="7502"/>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81" name="Freeform: Shape 37">
                    <a:extLst>
                      <a:ext uri="{FF2B5EF4-FFF2-40B4-BE49-F238E27FC236}">
                        <a16:creationId xmlns:a16="http://schemas.microsoft.com/office/drawing/2014/main" id="{AADAF67B-CE40-4278-AAEA-FA34CE1C9E32}"/>
                      </a:ext>
                    </a:extLst>
                  </p:cNvPr>
                  <p:cNvSpPr/>
                  <p:nvPr/>
                </p:nvSpPr>
                <p:spPr>
                  <a:xfrm>
                    <a:off x="5460683" y="4693919"/>
                    <a:ext cx="95250" cy="85725"/>
                  </a:xfrm>
                  <a:custGeom>
                    <a:avLst/>
                    <a:gdLst>
                      <a:gd name="connsiteX0" fmla="*/ 26670 w 95250"/>
                      <a:gd name="connsiteY0" fmla="*/ 94298 h 85725"/>
                      <a:gd name="connsiteX1" fmla="*/ 0 w 95250"/>
                      <a:gd name="connsiteY1" fmla="*/ 46673 h 85725"/>
                      <a:gd name="connsiteX2" fmla="*/ 27622 w 95250"/>
                      <a:gd name="connsiteY2" fmla="*/ 0 h 85725"/>
                      <a:gd name="connsiteX3" fmla="*/ 27622 w 95250"/>
                      <a:gd name="connsiteY3" fmla="*/ 19050 h 85725"/>
                      <a:gd name="connsiteX4" fmla="*/ 86677 w 95250"/>
                      <a:gd name="connsiteY4" fmla="*/ 20003 h 85725"/>
                      <a:gd name="connsiteX5" fmla="*/ 100965 w 95250"/>
                      <a:gd name="connsiteY5" fmla="*/ 16193 h 85725"/>
                      <a:gd name="connsiteX6" fmla="*/ 70485 w 95250"/>
                      <a:gd name="connsiteY6" fmla="*/ 68580 h 85725"/>
                      <a:gd name="connsiteX7" fmla="*/ 60960 w 95250"/>
                      <a:gd name="connsiteY7" fmla="*/ 75248 h 85725"/>
                      <a:gd name="connsiteX8" fmla="*/ 27622 w 95250"/>
                      <a:gd name="connsiteY8" fmla="*/ 75248 h 85725"/>
                      <a:gd name="connsiteX9" fmla="*/ 26670 w 95250"/>
                      <a:gd name="connsiteY9" fmla="*/ 94298 h 85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5250" h="85725">
                        <a:moveTo>
                          <a:pt x="26670" y="94298"/>
                        </a:moveTo>
                        <a:lnTo>
                          <a:pt x="0" y="46673"/>
                        </a:lnTo>
                        <a:lnTo>
                          <a:pt x="27622" y="0"/>
                        </a:lnTo>
                        <a:lnTo>
                          <a:pt x="27622" y="19050"/>
                        </a:lnTo>
                        <a:cubicBezTo>
                          <a:pt x="27622" y="19050"/>
                          <a:pt x="72390" y="19050"/>
                          <a:pt x="86677" y="20003"/>
                        </a:cubicBezTo>
                        <a:cubicBezTo>
                          <a:pt x="96202" y="20003"/>
                          <a:pt x="99060" y="18098"/>
                          <a:pt x="100965" y="16193"/>
                        </a:cubicBezTo>
                        <a:cubicBezTo>
                          <a:pt x="96202" y="24765"/>
                          <a:pt x="74295" y="60960"/>
                          <a:pt x="70485" y="68580"/>
                        </a:cubicBezTo>
                        <a:cubicBezTo>
                          <a:pt x="65722" y="76200"/>
                          <a:pt x="60960" y="75248"/>
                          <a:pt x="60960" y="75248"/>
                        </a:cubicBezTo>
                        <a:lnTo>
                          <a:pt x="27622" y="75248"/>
                        </a:lnTo>
                        <a:lnTo>
                          <a:pt x="26670" y="94298"/>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82" name="Freeform: Shape 38">
                    <a:extLst>
                      <a:ext uri="{FF2B5EF4-FFF2-40B4-BE49-F238E27FC236}">
                        <a16:creationId xmlns:a16="http://schemas.microsoft.com/office/drawing/2014/main" id="{3DB806F3-C2C1-4DBC-87C9-DCBFA896FCCF}"/>
                      </a:ext>
                    </a:extLst>
                  </p:cNvPr>
                  <p:cNvSpPr/>
                  <p:nvPr/>
                </p:nvSpPr>
                <p:spPr>
                  <a:xfrm>
                    <a:off x="5497830" y="4627244"/>
                    <a:ext cx="66675" cy="76200"/>
                  </a:xfrm>
                  <a:custGeom>
                    <a:avLst/>
                    <a:gdLst>
                      <a:gd name="connsiteX0" fmla="*/ 54293 w 66675"/>
                      <a:gd name="connsiteY0" fmla="*/ 80963 h 76200"/>
                      <a:gd name="connsiteX1" fmla="*/ 29528 w 66675"/>
                      <a:gd name="connsiteY1" fmla="*/ 80963 h 76200"/>
                      <a:gd name="connsiteX2" fmla="*/ 0 w 66675"/>
                      <a:gd name="connsiteY2" fmla="*/ 27623 h 76200"/>
                      <a:gd name="connsiteX3" fmla="*/ 48578 w 66675"/>
                      <a:gd name="connsiteY3" fmla="*/ 0 h 76200"/>
                      <a:gd name="connsiteX4" fmla="*/ 67628 w 66675"/>
                      <a:gd name="connsiteY4" fmla="*/ 35243 h 76200"/>
                      <a:gd name="connsiteX5" fmla="*/ 72390 w 66675"/>
                      <a:gd name="connsiteY5" fmla="*/ 63818 h 76200"/>
                      <a:gd name="connsiteX6" fmla="*/ 54293 w 66675"/>
                      <a:gd name="connsiteY6" fmla="*/ 80963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6675" h="76200">
                        <a:moveTo>
                          <a:pt x="54293" y="80963"/>
                        </a:moveTo>
                        <a:lnTo>
                          <a:pt x="29528" y="80963"/>
                        </a:lnTo>
                        <a:lnTo>
                          <a:pt x="0" y="27623"/>
                        </a:lnTo>
                        <a:lnTo>
                          <a:pt x="48578" y="0"/>
                        </a:lnTo>
                        <a:cubicBezTo>
                          <a:pt x="48578" y="0"/>
                          <a:pt x="63818" y="28575"/>
                          <a:pt x="67628" y="35243"/>
                        </a:cubicBezTo>
                        <a:cubicBezTo>
                          <a:pt x="71438" y="41910"/>
                          <a:pt x="77153" y="50483"/>
                          <a:pt x="72390" y="63818"/>
                        </a:cubicBezTo>
                        <a:cubicBezTo>
                          <a:pt x="67628" y="78105"/>
                          <a:pt x="54293" y="80963"/>
                          <a:pt x="54293" y="80963"/>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83" name="Freeform: Shape 39">
                    <a:extLst>
                      <a:ext uri="{FF2B5EF4-FFF2-40B4-BE49-F238E27FC236}">
                        <a16:creationId xmlns:a16="http://schemas.microsoft.com/office/drawing/2014/main" id="{3686E380-CC48-48B5-8D0F-D6BEDDBAACF8}"/>
                      </a:ext>
                    </a:extLst>
                  </p:cNvPr>
                  <p:cNvSpPr/>
                  <p:nvPr/>
                </p:nvSpPr>
                <p:spPr>
                  <a:xfrm>
                    <a:off x="5336367" y="4636769"/>
                    <a:ext cx="76200" cy="95250"/>
                  </a:xfrm>
                  <a:custGeom>
                    <a:avLst/>
                    <a:gdLst>
                      <a:gd name="connsiteX0" fmla="*/ 490 w 76200"/>
                      <a:gd name="connsiteY0" fmla="*/ 953 h 95250"/>
                      <a:gd name="connsiteX1" fmla="*/ 54783 w 76200"/>
                      <a:gd name="connsiteY1" fmla="*/ 0 h 95250"/>
                      <a:gd name="connsiteX2" fmla="*/ 82405 w 76200"/>
                      <a:gd name="connsiteY2" fmla="*/ 46673 h 95250"/>
                      <a:gd name="connsiteX3" fmla="*/ 65260 w 76200"/>
                      <a:gd name="connsiteY3" fmla="*/ 37148 h 95250"/>
                      <a:gd name="connsiteX4" fmla="*/ 36685 w 76200"/>
                      <a:gd name="connsiteY4" fmla="*/ 88583 h 95250"/>
                      <a:gd name="connsiteX5" fmla="*/ 32875 w 76200"/>
                      <a:gd name="connsiteY5" fmla="*/ 102870 h 95250"/>
                      <a:gd name="connsiteX6" fmla="*/ 2395 w 76200"/>
                      <a:gd name="connsiteY6" fmla="*/ 50483 h 95250"/>
                      <a:gd name="connsiteX7" fmla="*/ 1443 w 76200"/>
                      <a:gd name="connsiteY7" fmla="*/ 39053 h 95250"/>
                      <a:gd name="connsiteX8" fmla="*/ 17635 w 76200"/>
                      <a:gd name="connsiteY8" fmla="*/ 9525 h 95250"/>
                      <a:gd name="connsiteX9" fmla="*/ 490 w 76200"/>
                      <a:gd name="connsiteY9" fmla="*/ 953 h 9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 h="95250">
                        <a:moveTo>
                          <a:pt x="490" y="953"/>
                        </a:moveTo>
                        <a:lnTo>
                          <a:pt x="54783" y="0"/>
                        </a:lnTo>
                        <a:lnTo>
                          <a:pt x="82405" y="46673"/>
                        </a:lnTo>
                        <a:lnTo>
                          <a:pt x="65260" y="37148"/>
                        </a:lnTo>
                        <a:cubicBezTo>
                          <a:pt x="65260" y="37148"/>
                          <a:pt x="43353" y="76200"/>
                          <a:pt x="36685" y="88583"/>
                        </a:cubicBezTo>
                        <a:cubicBezTo>
                          <a:pt x="31923" y="96203"/>
                          <a:pt x="31923" y="100965"/>
                          <a:pt x="32875" y="102870"/>
                        </a:cubicBezTo>
                        <a:cubicBezTo>
                          <a:pt x="28113" y="94298"/>
                          <a:pt x="6205" y="58103"/>
                          <a:pt x="2395" y="50483"/>
                        </a:cubicBezTo>
                        <a:cubicBezTo>
                          <a:pt x="-2367" y="42863"/>
                          <a:pt x="1443" y="39053"/>
                          <a:pt x="1443" y="39053"/>
                        </a:cubicBezTo>
                        <a:lnTo>
                          <a:pt x="17635" y="9525"/>
                        </a:lnTo>
                        <a:lnTo>
                          <a:pt x="490" y="953"/>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84" name="Freeform: Shape 40">
                    <a:extLst>
                      <a:ext uri="{FF2B5EF4-FFF2-40B4-BE49-F238E27FC236}">
                        <a16:creationId xmlns:a16="http://schemas.microsoft.com/office/drawing/2014/main" id="{6BEE5B38-2277-4E73-AF42-CA4737E18BEE}"/>
                      </a:ext>
                    </a:extLst>
                  </p:cNvPr>
                  <p:cNvSpPr/>
                  <p:nvPr/>
                </p:nvSpPr>
                <p:spPr>
                  <a:xfrm>
                    <a:off x="5374830" y="4711065"/>
                    <a:ext cx="66675" cy="47625"/>
                  </a:xfrm>
                  <a:custGeom>
                    <a:avLst/>
                    <a:gdLst>
                      <a:gd name="connsiteX0" fmla="*/ 1080 w 66675"/>
                      <a:gd name="connsiteY0" fmla="*/ 21907 h 47625"/>
                      <a:gd name="connsiteX1" fmla="*/ 12510 w 66675"/>
                      <a:gd name="connsiteY1" fmla="*/ 0 h 47625"/>
                      <a:gd name="connsiteX2" fmla="*/ 73470 w 66675"/>
                      <a:gd name="connsiteY2" fmla="*/ 0 h 47625"/>
                      <a:gd name="connsiteX3" fmla="*/ 74422 w 66675"/>
                      <a:gd name="connsiteY3" fmla="*/ 55245 h 47625"/>
                      <a:gd name="connsiteX4" fmla="*/ 34417 w 66675"/>
                      <a:gd name="connsiteY4" fmla="*/ 55245 h 47625"/>
                      <a:gd name="connsiteX5" fmla="*/ 6795 w 66675"/>
                      <a:gd name="connsiteY5" fmla="*/ 44767 h 47625"/>
                      <a:gd name="connsiteX6" fmla="*/ 1080 w 66675"/>
                      <a:gd name="connsiteY6" fmla="*/ 21907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6675" h="47625">
                        <a:moveTo>
                          <a:pt x="1080" y="21907"/>
                        </a:moveTo>
                        <a:lnTo>
                          <a:pt x="12510" y="0"/>
                        </a:lnTo>
                        <a:lnTo>
                          <a:pt x="73470" y="0"/>
                        </a:lnTo>
                        <a:lnTo>
                          <a:pt x="74422" y="55245"/>
                        </a:lnTo>
                        <a:cubicBezTo>
                          <a:pt x="74422" y="55245"/>
                          <a:pt x="42037" y="55245"/>
                          <a:pt x="34417" y="55245"/>
                        </a:cubicBezTo>
                        <a:cubicBezTo>
                          <a:pt x="26797" y="55245"/>
                          <a:pt x="17272" y="56197"/>
                          <a:pt x="6795" y="44767"/>
                        </a:cubicBezTo>
                        <a:cubicBezTo>
                          <a:pt x="-3683" y="34290"/>
                          <a:pt x="1080" y="21907"/>
                          <a:pt x="1080" y="21907"/>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sp>
              <p:nvSpPr>
                <p:cNvPr id="48" name="Freeform: Shape 41">
                  <a:extLst>
                    <a:ext uri="{FF2B5EF4-FFF2-40B4-BE49-F238E27FC236}">
                      <a16:creationId xmlns:a16="http://schemas.microsoft.com/office/drawing/2014/main" id="{3E366A7E-5376-44AC-9BDC-193ADFF5E96D}"/>
                    </a:ext>
                  </a:extLst>
                </p:cNvPr>
                <p:cNvSpPr/>
                <p:nvPr/>
              </p:nvSpPr>
              <p:spPr>
                <a:xfrm>
                  <a:off x="8130566" y="3654813"/>
                  <a:ext cx="720843" cy="720843"/>
                </a:xfrm>
                <a:custGeom>
                  <a:avLst/>
                  <a:gdLst>
                    <a:gd name="connsiteX0" fmla="*/ 261938 w 523875"/>
                    <a:gd name="connsiteY0" fmla="*/ 0 h 523875"/>
                    <a:gd name="connsiteX1" fmla="*/ 0 w 523875"/>
                    <a:gd name="connsiteY1" fmla="*/ 261938 h 523875"/>
                    <a:gd name="connsiteX2" fmla="*/ 261938 w 523875"/>
                    <a:gd name="connsiteY2" fmla="*/ 523875 h 523875"/>
                    <a:gd name="connsiteX3" fmla="*/ 523875 w 523875"/>
                    <a:gd name="connsiteY3" fmla="*/ 261938 h 523875"/>
                    <a:gd name="connsiteX4" fmla="*/ 261938 w 523875"/>
                    <a:gd name="connsiteY4" fmla="*/ 0 h 523875"/>
                    <a:gd name="connsiteX5" fmla="*/ 261938 w 523875"/>
                    <a:gd name="connsiteY5" fmla="*/ 482917 h 523875"/>
                    <a:gd name="connsiteX6" fmla="*/ 40958 w 523875"/>
                    <a:gd name="connsiteY6" fmla="*/ 261938 h 523875"/>
                    <a:gd name="connsiteX7" fmla="*/ 261938 w 523875"/>
                    <a:gd name="connsiteY7" fmla="*/ 40958 h 523875"/>
                    <a:gd name="connsiteX8" fmla="*/ 482918 w 523875"/>
                    <a:gd name="connsiteY8" fmla="*/ 261938 h 523875"/>
                    <a:gd name="connsiteX9" fmla="*/ 261938 w 523875"/>
                    <a:gd name="connsiteY9" fmla="*/ 482917 h 523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23875" h="523875">
                      <a:moveTo>
                        <a:pt x="261938" y="0"/>
                      </a:moveTo>
                      <a:cubicBezTo>
                        <a:pt x="117158" y="0"/>
                        <a:pt x="0" y="117158"/>
                        <a:pt x="0" y="261938"/>
                      </a:cubicBezTo>
                      <a:cubicBezTo>
                        <a:pt x="0" y="406717"/>
                        <a:pt x="117158" y="523875"/>
                        <a:pt x="261938" y="523875"/>
                      </a:cubicBezTo>
                      <a:cubicBezTo>
                        <a:pt x="406718" y="523875"/>
                        <a:pt x="523875" y="406717"/>
                        <a:pt x="523875" y="261938"/>
                      </a:cubicBezTo>
                      <a:cubicBezTo>
                        <a:pt x="523875" y="117158"/>
                        <a:pt x="406718" y="0"/>
                        <a:pt x="261938" y="0"/>
                      </a:cubicBezTo>
                      <a:close/>
                      <a:moveTo>
                        <a:pt x="261938" y="482917"/>
                      </a:moveTo>
                      <a:cubicBezTo>
                        <a:pt x="140018" y="482917"/>
                        <a:pt x="40958" y="383858"/>
                        <a:pt x="40958" y="261938"/>
                      </a:cubicBezTo>
                      <a:cubicBezTo>
                        <a:pt x="40958" y="140017"/>
                        <a:pt x="140018" y="40958"/>
                        <a:pt x="261938" y="40958"/>
                      </a:cubicBezTo>
                      <a:cubicBezTo>
                        <a:pt x="383858" y="40958"/>
                        <a:pt x="482918" y="140017"/>
                        <a:pt x="482918" y="261938"/>
                      </a:cubicBezTo>
                      <a:cubicBezTo>
                        <a:pt x="483870" y="383858"/>
                        <a:pt x="383858" y="482917"/>
                        <a:pt x="261938" y="482917"/>
                      </a:cubicBezTo>
                      <a:close/>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nvGrpSpPr>
                <p:cNvPr id="49" name="Group 42">
                  <a:extLst>
                    <a:ext uri="{FF2B5EF4-FFF2-40B4-BE49-F238E27FC236}">
                      <a16:creationId xmlns:a16="http://schemas.microsoft.com/office/drawing/2014/main" id="{49073232-9401-474B-B3B0-032E0F6B50BD}"/>
                    </a:ext>
                  </a:extLst>
                </p:cNvPr>
                <p:cNvGrpSpPr/>
                <p:nvPr/>
              </p:nvGrpSpPr>
              <p:grpSpPr>
                <a:xfrm>
                  <a:off x="8718934" y="5092022"/>
                  <a:ext cx="655311" cy="655312"/>
                  <a:chOff x="8708072" y="4974459"/>
                  <a:chExt cx="655311" cy="655312"/>
                </a:xfrm>
              </p:grpSpPr>
              <p:sp>
                <p:nvSpPr>
                  <p:cNvPr id="73" name="Freeform: Shape 43">
                    <a:extLst>
                      <a:ext uri="{FF2B5EF4-FFF2-40B4-BE49-F238E27FC236}">
                        <a16:creationId xmlns:a16="http://schemas.microsoft.com/office/drawing/2014/main" id="{43C71C40-7551-45F7-9707-1A70FCD6C403}"/>
                      </a:ext>
                    </a:extLst>
                  </p:cNvPr>
                  <p:cNvSpPr/>
                  <p:nvPr/>
                </p:nvSpPr>
                <p:spPr>
                  <a:xfrm>
                    <a:off x="8752632" y="5017709"/>
                    <a:ext cx="563568" cy="563568"/>
                  </a:xfrm>
                  <a:custGeom>
                    <a:avLst/>
                    <a:gdLst>
                      <a:gd name="connsiteX0" fmla="*/ 206692 w 409575"/>
                      <a:gd name="connsiteY0" fmla="*/ 0 h 409575"/>
                      <a:gd name="connsiteX1" fmla="*/ 0 w 409575"/>
                      <a:gd name="connsiteY1" fmla="*/ 206693 h 409575"/>
                      <a:gd name="connsiteX2" fmla="*/ 206692 w 409575"/>
                      <a:gd name="connsiteY2" fmla="*/ 413385 h 409575"/>
                      <a:gd name="connsiteX3" fmla="*/ 413385 w 409575"/>
                      <a:gd name="connsiteY3" fmla="*/ 206693 h 409575"/>
                      <a:gd name="connsiteX4" fmla="*/ 206692 w 409575"/>
                      <a:gd name="connsiteY4" fmla="*/ 0 h 409575"/>
                      <a:gd name="connsiteX5" fmla="*/ 206692 w 409575"/>
                      <a:gd name="connsiteY5" fmla="*/ 381953 h 409575"/>
                      <a:gd name="connsiteX6" fmla="*/ 32385 w 409575"/>
                      <a:gd name="connsiteY6" fmla="*/ 207645 h 409575"/>
                      <a:gd name="connsiteX7" fmla="*/ 206692 w 409575"/>
                      <a:gd name="connsiteY7" fmla="*/ 33338 h 409575"/>
                      <a:gd name="connsiteX8" fmla="*/ 381000 w 409575"/>
                      <a:gd name="connsiteY8" fmla="*/ 207645 h 409575"/>
                      <a:gd name="connsiteX9" fmla="*/ 206692 w 409575"/>
                      <a:gd name="connsiteY9" fmla="*/ 381953 h 409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09575" h="409575">
                        <a:moveTo>
                          <a:pt x="206692" y="0"/>
                        </a:moveTo>
                        <a:cubicBezTo>
                          <a:pt x="92392" y="0"/>
                          <a:pt x="0" y="92393"/>
                          <a:pt x="0" y="206693"/>
                        </a:cubicBezTo>
                        <a:cubicBezTo>
                          <a:pt x="0" y="320993"/>
                          <a:pt x="92392" y="413385"/>
                          <a:pt x="206692" y="413385"/>
                        </a:cubicBezTo>
                        <a:cubicBezTo>
                          <a:pt x="320992" y="413385"/>
                          <a:pt x="413385" y="320993"/>
                          <a:pt x="413385" y="206693"/>
                        </a:cubicBezTo>
                        <a:cubicBezTo>
                          <a:pt x="413385" y="93345"/>
                          <a:pt x="320992" y="0"/>
                          <a:pt x="206692" y="0"/>
                        </a:cubicBezTo>
                        <a:close/>
                        <a:moveTo>
                          <a:pt x="206692" y="381953"/>
                        </a:moveTo>
                        <a:cubicBezTo>
                          <a:pt x="110490" y="381953"/>
                          <a:pt x="32385" y="303848"/>
                          <a:pt x="32385" y="207645"/>
                        </a:cubicBezTo>
                        <a:cubicBezTo>
                          <a:pt x="32385" y="111443"/>
                          <a:pt x="110490" y="33338"/>
                          <a:pt x="206692" y="33338"/>
                        </a:cubicBezTo>
                        <a:cubicBezTo>
                          <a:pt x="302895" y="33338"/>
                          <a:pt x="381000" y="111443"/>
                          <a:pt x="381000" y="207645"/>
                        </a:cubicBezTo>
                        <a:cubicBezTo>
                          <a:pt x="381000" y="302895"/>
                          <a:pt x="302895" y="381953"/>
                          <a:pt x="206692" y="381953"/>
                        </a:cubicBezTo>
                        <a:close/>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74" name="Freeform: Shape 44">
                    <a:extLst>
                      <a:ext uri="{FF2B5EF4-FFF2-40B4-BE49-F238E27FC236}">
                        <a16:creationId xmlns:a16="http://schemas.microsoft.com/office/drawing/2014/main" id="{A908FFD6-75D0-48EC-820F-6002B50A34B1}"/>
                      </a:ext>
                    </a:extLst>
                  </p:cNvPr>
                  <p:cNvSpPr/>
                  <p:nvPr/>
                </p:nvSpPr>
                <p:spPr>
                  <a:xfrm>
                    <a:off x="8798504" y="5059965"/>
                    <a:ext cx="471824" cy="471824"/>
                  </a:xfrm>
                  <a:custGeom>
                    <a:avLst/>
                    <a:gdLst>
                      <a:gd name="connsiteX0" fmla="*/ 348615 w 342900"/>
                      <a:gd name="connsiteY0" fmla="*/ 174308 h 342900"/>
                      <a:gd name="connsiteX1" fmla="*/ 174307 w 342900"/>
                      <a:gd name="connsiteY1" fmla="*/ 348615 h 342900"/>
                      <a:gd name="connsiteX2" fmla="*/ 0 w 342900"/>
                      <a:gd name="connsiteY2" fmla="*/ 174308 h 342900"/>
                      <a:gd name="connsiteX3" fmla="*/ 174307 w 342900"/>
                      <a:gd name="connsiteY3" fmla="*/ 0 h 342900"/>
                      <a:gd name="connsiteX4" fmla="*/ 348615 w 342900"/>
                      <a:gd name="connsiteY4" fmla="*/ 174308 h 342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900" h="342900">
                        <a:moveTo>
                          <a:pt x="348615" y="174308"/>
                        </a:moveTo>
                        <a:cubicBezTo>
                          <a:pt x="348615" y="270510"/>
                          <a:pt x="270510" y="348615"/>
                          <a:pt x="174307" y="348615"/>
                        </a:cubicBezTo>
                        <a:cubicBezTo>
                          <a:pt x="78105" y="348615"/>
                          <a:pt x="0" y="270510"/>
                          <a:pt x="0" y="174308"/>
                        </a:cubicBezTo>
                        <a:cubicBezTo>
                          <a:pt x="0" y="78105"/>
                          <a:pt x="78105" y="0"/>
                          <a:pt x="174307" y="0"/>
                        </a:cubicBezTo>
                        <a:cubicBezTo>
                          <a:pt x="270510" y="0"/>
                          <a:pt x="348615" y="78105"/>
                          <a:pt x="348615" y="174308"/>
                        </a:cubicBezTo>
                        <a:close/>
                      </a:path>
                    </a:pathLst>
                  </a:custGeom>
                  <a:solidFill>
                    <a:srgbClr val="FFFFFF"/>
                  </a:solidFill>
                  <a:ln w="9525" cap="flat">
                    <a:noFill/>
                    <a:prstDash val="solid"/>
                    <a:miter/>
                  </a:ln>
                  <a:effectLst>
                    <a:outerShdw blurRad="215900" dist="114300" dir="2700000" sx="96000" sy="96000" algn="tl" rotWithShape="0">
                      <a:prstClr val="black">
                        <a:alpha val="30000"/>
                      </a:prstClr>
                    </a:outerShdw>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nvGrpSpPr>
                  <p:cNvPr id="75" name="Group 45">
                    <a:extLst>
                      <a:ext uri="{FF2B5EF4-FFF2-40B4-BE49-F238E27FC236}">
                        <a16:creationId xmlns:a16="http://schemas.microsoft.com/office/drawing/2014/main" id="{961790BE-6E48-475F-BCC9-601FE461D2A4}"/>
                      </a:ext>
                    </a:extLst>
                  </p:cNvPr>
                  <p:cNvGrpSpPr/>
                  <p:nvPr/>
                </p:nvGrpSpPr>
                <p:grpSpPr>
                  <a:xfrm>
                    <a:off x="8708072" y="4974459"/>
                    <a:ext cx="655311" cy="655312"/>
                    <a:chOff x="8708072" y="4974459"/>
                    <a:chExt cx="655311" cy="655312"/>
                  </a:xfrm>
                </p:grpSpPr>
                <p:sp>
                  <p:nvSpPr>
                    <p:cNvPr id="76" name="Freeform: Shape 46">
                      <a:extLst>
                        <a:ext uri="{FF2B5EF4-FFF2-40B4-BE49-F238E27FC236}">
                          <a16:creationId xmlns:a16="http://schemas.microsoft.com/office/drawing/2014/main" id="{B8CBC21C-93A1-4D85-B948-6916CED4E173}"/>
                        </a:ext>
                      </a:extLst>
                    </p:cNvPr>
                    <p:cNvSpPr/>
                    <p:nvPr/>
                  </p:nvSpPr>
                  <p:spPr>
                    <a:xfrm>
                      <a:off x="8708072" y="4974459"/>
                      <a:ext cx="655311" cy="655312"/>
                    </a:xfrm>
                    <a:custGeom>
                      <a:avLst/>
                      <a:gdLst>
                        <a:gd name="connsiteX0" fmla="*/ 239077 w 476250"/>
                        <a:gd name="connsiteY0" fmla="*/ 0 h 476250"/>
                        <a:gd name="connsiteX1" fmla="*/ 0 w 476250"/>
                        <a:gd name="connsiteY1" fmla="*/ 239078 h 476250"/>
                        <a:gd name="connsiteX2" fmla="*/ 239077 w 476250"/>
                        <a:gd name="connsiteY2" fmla="*/ 478155 h 476250"/>
                        <a:gd name="connsiteX3" fmla="*/ 478155 w 476250"/>
                        <a:gd name="connsiteY3" fmla="*/ 239078 h 476250"/>
                        <a:gd name="connsiteX4" fmla="*/ 239077 w 476250"/>
                        <a:gd name="connsiteY4" fmla="*/ 0 h 476250"/>
                        <a:gd name="connsiteX5" fmla="*/ 239077 w 476250"/>
                        <a:gd name="connsiteY5" fmla="*/ 413385 h 476250"/>
                        <a:gd name="connsiteX6" fmla="*/ 64770 w 476250"/>
                        <a:gd name="connsiteY6" fmla="*/ 239078 h 476250"/>
                        <a:gd name="connsiteX7" fmla="*/ 239077 w 476250"/>
                        <a:gd name="connsiteY7" fmla="*/ 64770 h 476250"/>
                        <a:gd name="connsiteX8" fmla="*/ 413385 w 476250"/>
                        <a:gd name="connsiteY8" fmla="*/ 239078 h 476250"/>
                        <a:gd name="connsiteX9" fmla="*/ 239077 w 476250"/>
                        <a:gd name="connsiteY9" fmla="*/ 413385 h 476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76250" h="476250">
                          <a:moveTo>
                            <a:pt x="239077" y="0"/>
                          </a:moveTo>
                          <a:cubicBezTo>
                            <a:pt x="107633" y="0"/>
                            <a:pt x="0" y="107632"/>
                            <a:pt x="0" y="239078"/>
                          </a:cubicBezTo>
                          <a:cubicBezTo>
                            <a:pt x="0" y="370522"/>
                            <a:pt x="107633" y="478155"/>
                            <a:pt x="239077" y="478155"/>
                          </a:cubicBezTo>
                          <a:cubicBezTo>
                            <a:pt x="370522" y="478155"/>
                            <a:pt x="478155" y="371475"/>
                            <a:pt x="478155" y="239078"/>
                          </a:cubicBezTo>
                          <a:cubicBezTo>
                            <a:pt x="478155" y="106680"/>
                            <a:pt x="370522" y="0"/>
                            <a:pt x="239077" y="0"/>
                          </a:cubicBezTo>
                          <a:close/>
                          <a:moveTo>
                            <a:pt x="239077" y="413385"/>
                          </a:moveTo>
                          <a:cubicBezTo>
                            <a:pt x="142875" y="413385"/>
                            <a:pt x="64770" y="335280"/>
                            <a:pt x="64770" y="239078"/>
                          </a:cubicBezTo>
                          <a:cubicBezTo>
                            <a:pt x="64770" y="142875"/>
                            <a:pt x="142875" y="64770"/>
                            <a:pt x="239077" y="64770"/>
                          </a:cubicBezTo>
                          <a:cubicBezTo>
                            <a:pt x="335280" y="64770"/>
                            <a:pt x="413385" y="142875"/>
                            <a:pt x="413385" y="239078"/>
                          </a:cubicBezTo>
                          <a:cubicBezTo>
                            <a:pt x="413385" y="334328"/>
                            <a:pt x="335280" y="413385"/>
                            <a:pt x="239077" y="413385"/>
                          </a:cubicBezTo>
                          <a:close/>
                        </a:path>
                      </a:pathLst>
                    </a:custGeom>
                    <a:solidFill>
                      <a:schemeClr val="accent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77" name="Freeform: Shape 47">
                      <a:extLst>
                        <a:ext uri="{FF2B5EF4-FFF2-40B4-BE49-F238E27FC236}">
                          <a16:creationId xmlns:a16="http://schemas.microsoft.com/office/drawing/2014/main" id="{BB5453D1-9FBD-4524-92CA-0EDE1C6541D2}"/>
                        </a:ext>
                      </a:extLst>
                    </p:cNvPr>
                    <p:cNvSpPr/>
                    <p:nvPr/>
                  </p:nvSpPr>
                  <p:spPr>
                    <a:xfrm>
                      <a:off x="8913547" y="5123871"/>
                      <a:ext cx="196593" cy="353868"/>
                    </a:xfrm>
                    <a:custGeom>
                      <a:avLst/>
                      <a:gdLst>
                        <a:gd name="connsiteX0" fmla="*/ 74507 w 142875"/>
                        <a:gd name="connsiteY0" fmla="*/ 0 h 257175"/>
                        <a:gd name="connsiteX1" fmla="*/ 74507 w 142875"/>
                        <a:gd name="connsiteY1" fmla="*/ 260033 h 257175"/>
                        <a:gd name="connsiteX2" fmla="*/ 74507 w 142875"/>
                        <a:gd name="connsiteY2" fmla="*/ 0 h 257175"/>
                        <a:gd name="connsiteX3" fmla="*/ 13547 w 142875"/>
                        <a:gd name="connsiteY3" fmla="*/ 201930 h 257175"/>
                        <a:gd name="connsiteX4" fmla="*/ 40217 w 142875"/>
                        <a:gd name="connsiteY4" fmla="*/ 97155 h 257175"/>
                        <a:gd name="connsiteX5" fmla="*/ 68792 w 142875"/>
                        <a:gd name="connsiteY5" fmla="*/ 245745 h 257175"/>
                        <a:gd name="connsiteX6" fmla="*/ 13547 w 142875"/>
                        <a:gd name="connsiteY6" fmla="*/ 201930 h 257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875" h="257175">
                          <a:moveTo>
                            <a:pt x="74507" y="0"/>
                          </a:moveTo>
                          <a:cubicBezTo>
                            <a:pt x="74507" y="0"/>
                            <a:pt x="-93133" y="260033"/>
                            <a:pt x="74507" y="260033"/>
                          </a:cubicBezTo>
                          <a:cubicBezTo>
                            <a:pt x="242147" y="260033"/>
                            <a:pt x="74507" y="0"/>
                            <a:pt x="74507" y="0"/>
                          </a:cubicBezTo>
                          <a:close/>
                          <a:moveTo>
                            <a:pt x="13547" y="201930"/>
                          </a:moveTo>
                          <a:cubicBezTo>
                            <a:pt x="11642" y="161925"/>
                            <a:pt x="38312" y="102870"/>
                            <a:pt x="40217" y="97155"/>
                          </a:cubicBezTo>
                          <a:cubicBezTo>
                            <a:pt x="38312" y="103822"/>
                            <a:pt x="10689" y="208597"/>
                            <a:pt x="68792" y="245745"/>
                          </a:cubicBezTo>
                          <a:cubicBezTo>
                            <a:pt x="68792" y="245745"/>
                            <a:pt x="15452" y="243840"/>
                            <a:pt x="13547" y="201930"/>
                          </a:cubicBezTo>
                          <a:close/>
                        </a:path>
                      </a:pathLst>
                    </a:custGeom>
                    <a:solidFill>
                      <a:schemeClr val="accent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78" name="Freeform: Shape 48">
                      <a:extLst>
                        <a:ext uri="{FF2B5EF4-FFF2-40B4-BE49-F238E27FC236}">
                          <a16:creationId xmlns:a16="http://schemas.microsoft.com/office/drawing/2014/main" id="{231DF6F2-D319-4EC1-A6A8-C8803E1CA57E}"/>
                        </a:ext>
                      </a:extLst>
                    </p:cNvPr>
                    <p:cNvSpPr/>
                    <p:nvPr/>
                  </p:nvSpPr>
                  <p:spPr>
                    <a:xfrm>
                      <a:off x="9042280" y="5172364"/>
                      <a:ext cx="170381" cy="275231"/>
                    </a:xfrm>
                    <a:custGeom>
                      <a:avLst/>
                      <a:gdLst>
                        <a:gd name="connsiteX0" fmla="*/ 125730 w 123825"/>
                        <a:gd name="connsiteY0" fmla="*/ 81915 h 200025"/>
                        <a:gd name="connsiteX1" fmla="*/ 91440 w 123825"/>
                        <a:gd name="connsiteY1" fmla="*/ 81915 h 200025"/>
                        <a:gd name="connsiteX2" fmla="*/ 91440 w 123825"/>
                        <a:gd name="connsiteY2" fmla="*/ 202882 h 200025"/>
                        <a:gd name="connsiteX3" fmla="*/ 39052 w 123825"/>
                        <a:gd name="connsiteY3" fmla="*/ 202882 h 200025"/>
                        <a:gd name="connsiteX4" fmla="*/ 39052 w 123825"/>
                        <a:gd name="connsiteY4" fmla="*/ 81915 h 200025"/>
                        <a:gd name="connsiteX5" fmla="*/ 0 w 123825"/>
                        <a:gd name="connsiteY5" fmla="*/ 81915 h 200025"/>
                        <a:gd name="connsiteX6" fmla="*/ 65722 w 123825"/>
                        <a:gd name="connsiteY6" fmla="*/ 0 h 200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3825" h="200025">
                          <a:moveTo>
                            <a:pt x="125730" y="81915"/>
                          </a:moveTo>
                          <a:lnTo>
                            <a:pt x="91440" y="81915"/>
                          </a:lnTo>
                          <a:lnTo>
                            <a:pt x="91440" y="202882"/>
                          </a:lnTo>
                          <a:lnTo>
                            <a:pt x="39052" y="202882"/>
                          </a:lnTo>
                          <a:lnTo>
                            <a:pt x="39052" y="81915"/>
                          </a:lnTo>
                          <a:lnTo>
                            <a:pt x="0" y="81915"/>
                          </a:lnTo>
                          <a:lnTo>
                            <a:pt x="65722" y="0"/>
                          </a:lnTo>
                          <a:close/>
                        </a:path>
                      </a:pathLst>
                    </a:custGeom>
                    <a:solidFill>
                      <a:schemeClr val="accent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grpSp>
            <p:sp>
              <p:nvSpPr>
                <p:cNvPr id="50" name="Freeform: Shape 49">
                  <a:extLst>
                    <a:ext uri="{FF2B5EF4-FFF2-40B4-BE49-F238E27FC236}">
                      <a16:creationId xmlns:a16="http://schemas.microsoft.com/office/drawing/2014/main" id="{F9FD9FCD-36ED-43FB-A8B3-36FFD4C4D8A3}"/>
                    </a:ext>
                  </a:extLst>
                </p:cNvPr>
                <p:cNvSpPr/>
                <p:nvPr/>
              </p:nvSpPr>
              <p:spPr>
                <a:xfrm>
                  <a:off x="9333898" y="2045506"/>
                  <a:ext cx="2083101" cy="1055532"/>
                </a:xfrm>
                <a:custGeom>
                  <a:avLst/>
                  <a:gdLst>
                    <a:gd name="connsiteX0" fmla="*/ 926783 w 923925"/>
                    <a:gd name="connsiteY0" fmla="*/ 355283 h 628650"/>
                    <a:gd name="connsiteX1" fmla="*/ 926783 w 923925"/>
                    <a:gd name="connsiteY1" fmla="*/ 501968 h 628650"/>
                    <a:gd name="connsiteX2" fmla="*/ 799148 w 923925"/>
                    <a:gd name="connsiteY2" fmla="*/ 629603 h 628650"/>
                    <a:gd name="connsiteX3" fmla="*/ 127635 w 923925"/>
                    <a:gd name="connsiteY3" fmla="*/ 629603 h 628650"/>
                    <a:gd name="connsiteX4" fmla="*/ 0 w 923925"/>
                    <a:gd name="connsiteY4" fmla="*/ 501968 h 628650"/>
                    <a:gd name="connsiteX5" fmla="*/ 0 w 923925"/>
                    <a:gd name="connsiteY5" fmla="*/ 355283 h 628650"/>
                    <a:gd name="connsiteX6" fmla="*/ 127635 w 923925"/>
                    <a:gd name="connsiteY6" fmla="*/ 227648 h 628650"/>
                    <a:gd name="connsiteX7" fmla="*/ 156210 w 923925"/>
                    <a:gd name="connsiteY7" fmla="*/ 227648 h 628650"/>
                    <a:gd name="connsiteX8" fmla="*/ 156210 w 923925"/>
                    <a:gd name="connsiteY8" fmla="*/ 127635 h 628650"/>
                    <a:gd name="connsiteX9" fmla="*/ 283845 w 923925"/>
                    <a:gd name="connsiteY9" fmla="*/ 0 h 628650"/>
                    <a:gd name="connsiteX10" fmla="*/ 642938 w 923925"/>
                    <a:gd name="connsiteY10" fmla="*/ 0 h 628650"/>
                    <a:gd name="connsiteX11" fmla="*/ 770573 w 923925"/>
                    <a:gd name="connsiteY11" fmla="*/ 127635 h 628650"/>
                    <a:gd name="connsiteX12" fmla="*/ 770573 w 923925"/>
                    <a:gd name="connsiteY12" fmla="*/ 226695 h 628650"/>
                    <a:gd name="connsiteX13" fmla="*/ 799148 w 923925"/>
                    <a:gd name="connsiteY13" fmla="*/ 226695 h 628650"/>
                    <a:gd name="connsiteX14" fmla="*/ 926783 w 923925"/>
                    <a:gd name="connsiteY14" fmla="*/ 355283 h 628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23925" h="628650">
                      <a:moveTo>
                        <a:pt x="926783" y="355283"/>
                      </a:moveTo>
                      <a:lnTo>
                        <a:pt x="926783" y="501968"/>
                      </a:lnTo>
                      <a:cubicBezTo>
                        <a:pt x="926783" y="572453"/>
                        <a:pt x="869633" y="629603"/>
                        <a:pt x="799148" y="629603"/>
                      </a:cubicBezTo>
                      <a:lnTo>
                        <a:pt x="127635" y="629603"/>
                      </a:lnTo>
                      <a:cubicBezTo>
                        <a:pt x="57150" y="629603"/>
                        <a:pt x="0" y="572453"/>
                        <a:pt x="0" y="501968"/>
                      </a:cubicBezTo>
                      <a:lnTo>
                        <a:pt x="0" y="355283"/>
                      </a:lnTo>
                      <a:cubicBezTo>
                        <a:pt x="0" y="284798"/>
                        <a:pt x="57150" y="227648"/>
                        <a:pt x="127635" y="227648"/>
                      </a:cubicBezTo>
                      <a:lnTo>
                        <a:pt x="156210" y="227648"/>
                      </a:lnTo>
                      <a:lnTo>
                        <a:pt x="156210" y="127635"/>
                      </a:lnTo>
                      <a:cubicBezTo>
                        <a:pt x="156210" y="57150"/>
                        <a:pt x="213360" y="0"/>
                        <a:pt x="283845" y="0"/>
                      </a:cubicBezTo>
                      <a:lnTo>
                        <a:pt x="642938" y="0"/>
                      </a:lnTo>
                      <a:cubicBezTo>
                        <a:pt x="713423" y="0"/>
                        <a:pt x="770573" y="57150"/>
                        <a:pt x="770573" y="127635"/>
                      </a:cubicBezTo>
                      <a:lnTo>
                        <a:pt x="770573" y="226695"/>
                      </a:lnTo>
                      <a:lnTo>
                        <a:pt x="799148" y="226695"/>
                      </a:lnTo>
                      <a:cubicBezTo>
                        <a:pt x="868680" y="226695"/>
                        <a:pt x="926783" y="284798"/>
                        <a:pt x="926783" y="355283"/>
                      </a:cubicBezTo>
                      <a:close/>
                    </a:path>
                  </a:pathLst>
                </a:custGeom>
                <a:solidFill>
                  <a:schemeClr val="accent4"/>
                </a:solidFill>
                <a:ln w="9525" cap="flat">
                  <a:noFill/>
                  <a:prstDash val="solid"/>
                  <a:miter/>
                </a:ln>
                <a:effectLst>
                  <a:outerShdw blurRad="215900" dist="114300" dir="2700000" sx="96000" sy="96000" algn="tl" rotWithShape="0">
                    <a:prstClr val="black">
                      <a:alpha val="30000"/>
                    </a:prstClr>
                  </a:outerShdw>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nvGrpSpPr>
                <p:cNvPr id="51" name="Group 50">
                  <a:extLst>
                    <a:ext uri="{FF2B5EF4-FFF2-40B4-BE49-F238E27FC236}">
                      <a16:creationId xmlns:a16="http://schemas.microsoft.com/office/drawing/2014/main" id="{F8EF5357-A7BA-421C-97C2-E0E4E1B9D246}"/>
                    </a:ext>
                  </a:extLst>
                </p:cNvPr>
                <p:cNvGrpSpPr/>
                <p:nvPr/>
              </p:nvGrpSpPr>
              <p:grpSpPr>
                <a:xfrm>
                  <a:off x="6106279" y="1009005"/>
                  <a:ext cx="2303583" cy="1392128"/>
                  <a:chOff x="6834034" y="1261463"/>
                  <a:chExt cx="1627641" cy="1262131"/>
                </a:xfrm>
                <a:solidFill>
                  <a:schemeClr val="accent2"/>
                </a:solidFill>
              </p:grpSpPr>
              <p:sp>
                <p:nvSpPr>
                  <p:cNvPr id="69" name="Freeform: Shape 51">
                    <a:extLst>
                      <a:ext uri="{FF2B5EF4-FFF2-40B4-BE49-F238E27FC236}">
                        <a16:creationId xmlns:a16="http://schemas.microsoft.com/office/drawing/2014/main" id="{5FC115A9-8391-4595-9589-AE42D0D875DD}"/>
                      </a:ext>
                    </a:extLst>
                  </p:cNvPr>
                  <p:cNvSpPr/>
                  <p:nvPr/>
                </p:nvSpPr>
                <p:spPr>
                  <a:xfrm>
                    <a:off x="7112798" y="1473054"/>
                    <a:ext cx="1348877" cy="1050540"/>
                  </a:xfrm>
                  <a:custGeom>
                    <a:avLst/>
                    <a:gdLst>
                      <a:gd name="connsiteX0" fmla="*/ 1028700 w 1028700"/>
                      <a:gd name="connsiteY0" fmla="*/ 307658 h 742950"/>
                      <a:gd name="connsiteX1" fmla="*/ 1028700 w 1028700"/>
                      <a:gd name="connsiteY1" fmla="*/ 438150 h 742950"/>
                      <a:gd name="connsiteX2" fmla="*/ 886778 w 1028700"/>
                      <a:gd name="connsiteY2" fmla="*/ 549593 h 742950"/>
                      <a:gd name="connsiteX3" fmla="*/ 855345 w 1028700"/>
                      <a:gd name="connsiteY3" fmla="*/ 549593 h 742950"/>
                      <a:gd name="connsiteX4" fmla="*/ 855345 w 1028700"/>
                      <a:gd name="connsiteY4" fmla="*/ 634365 h 742950"/>
                      <a:gd name="connsiteX5" fmla="*/ 713422 w 1028700"/>
                      <a:gd name="connsiteY5" fmla="*/ 745808 h 742950"/>
                      <a:gd name="connsiteX6" fmla="*/ 315278 w 1028700"/>
                      <a:gd name="connsiteY6" fmla="*/ 745808 h 742950"/>
                      <a:gd name="connsiteX7" fmla="*/ 173355 w 1028700"/>
                      <a:gd name="connsiteY7" fmla="*/ 634365 h 742950"/>
                      <a:gd name="connsiteX8" fmla="*/ 173355 w 1028700"/>
                      <a:gd name="connsiteY8" fmla="*/ 549593 h 742950"/>
                      <a:gd name="connsiteX9" fmla="*/ 141923 w 1028700"/>
                      <a:gd name="connsiteY9" fmla="*/ 549593 h 742950"/>
                      <a:gd name="connsiteX10" fmla="*/ 0 w 1028700"/>
                      <a:gd name="connsiteY10" fmla="*/ 438150 h 742950"/>
                      <a:gd name="connsiteX11" fmla="*/ 0 w 1028700"/>
                      <a:gd name="connsiteY11" fmla="*/ 307658 h 742950"/>
                      <a:gd name="connsiteX12" fmla="*/ 141923 w 1028700"/>
                      <a:gd name="connsiteY12" fmla="*/ 196215 h 742950"/>
                      <a:gd name="connsiteX13" fmla="*/ 173355 w 1028700"/>
                      <a:gd name="connsiteY13" fmla="*/ 196215 h 742950"/>
                      <a:gd name="connsiteX14" fmla="*/ 173355 w 1028700"/>
                      <a:gd name="connsiteY14" fmla="*/ 111443 h 742950"/>
                      <a:gd name="connsiteX15" fmla="*/ 315278 w 1028700"/>
                      <a:gd name="connsiteY15" fmla="*/ 0 h 742950"/>
                      <a:gd name="connsiteX16" fmla="*/ 713422 w 1028700"/>
                      <a:gd name="connsiteY16" fmla="*/ 0 h 742950"/>
                      <a:gd name="connsiteX17" fmla="*/ 855345 w 1028700"/>
                      <a:gd name="connsiteY17" fmla="*/ 111443 h 742950"/>
                      <a:gd name="connsiteX18" fmla="*/ 855345 w 1028700"/>
                      <a:gd name="connsiteY18" fmla="*/ 196215 h 742950"/>
                      <a:gd name="connsiteX19" fmla="*/ 886778 w 1028700"/>
                      <a:gd name="connsiteY19" fmla="*/ 196215 h 742950"/>
                      <a:gd name="connsiteX20" fmla="*/ 1028700 w 1028700"/>
                      <a:gd name="connsiteY20" fmla="*/ 307658 h 742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028700" h="742950">
                        <a:moveTo>
                          <a:pt x="1028700" y="307658"/>
                        </a:moveTo>
                        <a:lnTo>
                          <a:pt x="1028700" y="438150"/>
                        </a:lnTo>
                        <a:cubicBezTo>
                          <a:pt x="1028700" y="500063"/>
                          <a:pt x="964883" y="549593"/>
                          <a:pt x="886778" y="549593"/>
                        </a:cubicBezTo>
                        <a:lnTo>
                          <a:pt x="855345" y="549593"/>
                        </a:lnTo>
                        <a:lnTo>
                          <a:pt x="855345" y="634365"/>
                        </a:lnTo>
                        <a:cubicBezTo>
                          <a:pt x="855345" y="696278"/>
                          <a:pt x="791528" y="745808"/>
                          <a:pt x="713422" y="745808"/>
                        </a:cubicBezTo>
                        <a:lnTo>
                          <a:pt x="315278" y="745808"/>
                        </a:lnTo>
                        <a:cubicBezTo>
                          <a:pt x="237173" y="745808"/>
                          <a:pt x="173355" y="695325"/>
                          <a:pt x="173355" y="634365"/>
                        </a:cubicBezTo>
                        <a:lnTo>
                          <a:pt x="173355" y="549593"/>
                        </a:lnTo>
                        <a:lnTo>
                          <a:pt x="141923" y="549593"/>
                        </a:lnTo>
                        <a:cubicBezTo>
                          <a:pt x="63817" y="549593"/>
                          <a:pt x="0" y="499110"/>
                          <a:pt x="0" y="438150"/>
                        </a:cubicBezTo>
                        <a:lnTo>
                          <a:pt x="0" y="307658"/>
                        </a:lnTo>
                        <a:cubicBezTo>
                          <a:pt x="0" y="245745"/>
                          <a:pt x="63817" y="196215"/>
                          <a:pt x="141923" y="196215"/>
                        </a:cubicBezTo>
                        <a:lnTo>
                          <a:pt x="173355" y="196215"/>
                        </a:lnTo>
                        <a:lnTo>
                          <a:pt x="173355" y="111443"/>
                        </a:lnTo>
                        <a:cubicBezTo>
                          <a:pt x="173355" y="49530"/>
                          <a:pt x="237173" y="0"/>
                          <a:pt x="315278" y="0"/>
                        </a:cubicBezTo>
                        <a:lnTo>
                          <a:pt x="713422" y="0"/>
                        </a:lnTo>
                        <a:cubicBezTo>
                          <a:pt x="791528" y="0"/>
                          <a:pt x="855345" y="50482"/>
                          <a:pt x="855345" y="111443"/>
                        </a:cubicBezTo>
                        <a:lnTo>
                          <a:pt x="855345" y="196215"/>
                        </a:lnTo>
                        <a:lnTo>
                          <a:pt x="886778" y="196215"/>
                        </a:lnTo>
                        <a:cubicBezTo>
                          <a:pt x="964883" y="195263"/>
                          <a:pt x="1028700" y="245745"/>
                          <a:pt x="1028700" y="307658"/>
                        </a:cubicBezTo>
                        <a:close/>
                      </a:path>
                    </a:pathLst>
                  </a:custGeom>
                  <a:grpFill/>
                  <a:ln w="9525" cap="flat">
                    <a:noFill/>
                    <a:prstDash val="solid"/>
                    <a:miter/>
                  </a:ln>
                  <a:effectLst>
                    <a:outerShdw blurRad="215900" dist="114300" dir="2700000" sx="96000" sy="96000" algn="tl" rotWithShape="0">
                      <a:prstClr val="black">
                        <a:alpha val="30000"/>
                      </a:prstClr>
                    </a:outerShdw>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70" name="Freeform: Shape 52">
                    <a:extLst>
                      <a:ext uri="{FF2B5EF4-FFF2-40B4-BE49-F238E27FC236}">
                        <a16:creationId xmlns:a16="http://schemas.microsoft.com/office/drawing/2014/main" id="{DF46B60F-3AC7-4793-BE0C-FE92C4DFD002}"/>
                      </a:ext>
                    </a:extLst>
                  </p:cNvPr>
                  <p:cNvSpPr/>
                  <p:nvPr/>
                </p:nvSpPr>
                <p:spPr>
                  <a:xfrm>
                    <a:off x="6890237" y="1384664"/>
                    <a:ext cx="319708" cy="342882"/>
                  </a:xfrm>
                  <a:custGeom>
                    <a:avLst/>
                    <a:gdLst>
                      <a:gd name="connsiteX0" fmla="*/ 272415 w 266700"/>
                      <a:gd name="connsiteY0" fmla="*/ 169545 h 266700"/>
                      <a:gd name="connsiteX1" fmla="*/ 272415 w 266700"/>
                      <a:gd name="connsiteY1" fmla="*/ 271462 h 266700"/>
                      <a:gd name="connsiteX2" fmla="*/ 170498 w 266700"/>
                      <a:gd name="connsiteY2" fmla="*/ 271462 h 266700"/>
                      <a:gd name="connsiteX3" fmla="*/ 0 w 266700"/>
                      <a:gd name="connsiteY3" fmla="*/ 100965 h 266700"/>
                      <a:gd name="connsiteX4" fmla="*/ 0 w 266700"/>
                      <a:gd name="connsiteY4" fmla="*/ 0 h 266700"/>
                      <a:gd name="connsiteX5" fmla="*/ 101918 w 266700"/>
                      <a:gd name="connsiteY5" fmla="*/ 0 h 266700"/>
                      <a:gd name="connsiteX6" fmla="*/ 272415 w 266700"/>
                      <a:gd name="connsiteY6" fmla="*/ 169545 h 266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6700" h="266700">
                        <a:moveTo>
                          <a:pt x="272415" y="169545"/>
                        </a:moveTo>
                        <a:lnTo>
                          <a:pt x="272415" y="271462"/>
                        </a:lnTo>
                        <a:lnTo>
                          <a:pt x="170498" y="271462"/>
                        </a:lnTo>
                        <a:cubicBezTo>
                          <a:pt x="76200" y="271462"/>
                          <a:pt x="0" y="195262"/>
                          <a:pt x="0" y="100965"/>
                        </a:cubicBezTo>
                        <a:lnTo>
                          <a:pt x="0" y="0"/>
                        </a:lnTo>
                        <a:lnTo>
                          <a:pt x="101918" y="0"/>
                        </a:lnTo>
                        <a:cubicBezTo>
                          <a:pt x="196215" y="0"/>
                          <a:pt x="272415" y="76200"/>
                          <a:pt x="272415" y="169545"/>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71" name="Freeform: Shape 53">
                    <a:extLst>
                      <a:ext uri="{FF2B5EF4-FFF2-40B4-BE49-F238E27FC236}">
                        <a16:creationId xmlns:a16="http://schemas.microsoft.com/office/drawing/2014/main" id="{33D91D13-5EF5-4AF4-ADFC-778EE75908F7}"/>
                      </a:ext>
                    </a:extLst>
                  </p:cNvPr>
                  <p:cNvSpPr/>
                  <p:nvPr/>
                </p:nvSpPr>
                <p:spPr>
                  <a:xfrm>
                    <a:off x="6834034" y="1730618"/>
                    <a:ext cx="229207" cy="120128"/>
                  </a:xfrm>
                  <a:custGeom>
                    <a:avLst/>
                    <a:gdLst>
                      <a:gd name="connsiteX0" fmla="*/ 32385 w 200025"/>
                      <a:gd name="connsiteY0" fmla="*/ 38136 h 123825"/>
                      <a:gd name="connsiteX1" fmla="*/ 0 w 200025"/>
                      <a:gd name="connsiteY1" fmla="*/ 82903 h 123825"/>
                      <a:gd name="connsiteX2" fmla="*/ 44768 w 200025"/>
                      <a:gd name="connsiteY2" fmla="*/ 115288 h 123825"/>
                      <a:gd name="connsiteX3" fmla="*/ 173355 w 200025"/>
                      <a:gd name="connsiteY3" fmla="*/ 94333 h 123825"/>
                      <a:gd name="connsiteX4" fmla="*/ 205740 w 200025"/>
                      <a:gd name="connsiteY4" fmla="*/ 49566 h 123825"/>
                      <a:gd name="connsiteX5" fmla="*/ 160972 w 200025"/>
                      <a:gd name="connsiteY5" fmla="*/ 17181 h 123825"/>
                      <a:gd name="connsiteX6" fmla="*/ 32385 w 200025"/>
                      <a:gd name="connsiteY6" fmla="*/ 38136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0025" h="123825">
                        <a:moveTo>
                          <a:pt x="32385" y="38136"/>
                        </a:moveTo>
                        <a:lnTo>
                          <a:pt x="0" y="82903"/>
                        </a:lnTo>
                        <a:lnTo>
                          <a:pt x="44768" y="115288"/>
                        </a:lnTo>
                        <a:cubicBezTo>
                          <a:pt x="85725" y="144816"/>
                          <a:pt x="143828" y="135291"/>
                          <a:pt x="173355" y="94333"/>
                        </a:cubicBezTo>
                        <a:lnTo>
                          <a:pt x="205740" y="49566"/>
                        </a:lnTo>
                        <a:lnTo>
                          <a:pt x="160972" y="17181"/>
                        </a:lnTo>
                        <a:cubicBezTo>
                          <a:pt x="120015" y="-12347"/>
                          <a:pt x="62865" y="-2822"/>
                          <a:pt x="32385" y="38136"/>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72" name="Freeform: Shape 54">
                    <a:extLst>
                      <a:ext uri="{FF2B5EF4-FFF2-40B4-BE49-F238E27FC236}">
                        <a16:creationId xmlns:a16="http://schemas.microsoft.com/office/drawing/2014/main" id="{E622819F-FD61-40DA-A9F6-8DCB73DB343D}"/>
                      </a:ext>
                    </a:extLst>
                  </p:cNvPr>
                  <p:cNvSpPr/>
                  <p:nvPr/>
                </p:nvSpPr>
                <p:spPr>
                  <a:xfrm>
                    <a:off x="7233117" y="1261463"/>
                    <a:ext cx="132593" cy="275231"/>
                  </a:xfrm>
                  <a:custGeom>
                    <a:avLst/>
                    <a:gdLst>
                      <a:gd name="connsiteX0" fmla="*/ 113713 w 123825"/>
                      <a:gd name="connsiteY0" fmla="*/ 44768 h 200025"/>
                      <a:gd name="connsiteX1" fmla="*/ 81328 w 123825"/>
                      <a:gd name="connsiteY1" fmla="*/ 0 h 200025"/>
                      <a:gd name="connsiteX2" fmla="*/ 37513 w 123825"/>
                      <a:gd name="connsiteY2" fmla="*/ 32385 h 200025"/>
                      <a:gd name="connsiteX3" fmla="*/ 17511 w 123825"/>
                      <a:gd name="connsiteY3" fmla="*/ 160973 h 200025"/>
                      <a:gd name="connsiteX4" fmla="*/ 49896 w 123825"/>
                      <a:gd name="connsiteY4" fmla="*/ 204788 h 200025"/>
                      <a:gd name="connsiteX5" fmla="*/ 94663 w 123825"/>
                      <a:gd name="connsiteY5" fmla="*/ 172403 h 200025"/>
                      <a:gd name="connsiteX6" fmla="*/ 113713 w 123825"/>
                      <a:gd name="connsiteY6" fmla="*/ 44768 h 200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3825" h="200025">
                        <a:moveTo>
                          <a:pt x="113713" y="44768"/>
                        </a:moveTo>
                        <a:lnTo>
                          <a:pt x="81328" y="0"/>
                        </a:lnTo>
                        <a:lnTo>
                          <a:pt x="37513" y="32385"/>
                        </a:lnTo>
                        <a:cubicBezTo>
                          <a:pt x="-3444" y="61913"/>
                          <a:pt x="-12017" y="120015"/>
                          <a:pt x="17511" y="160973"/>
                        </a:cubicBezTo>
                        <a:lnTo>
                          <a:pt x="49896" y="204788"/>
                        </a:lnTo>
                        <a:lnTo>
                          <a:pt x="94663" y="172403"/>
                        </a:lnTo>
                        <a:cubicBezTo>
                          <a:pt x="134668" y="142875"/>
                          <a:pt x="144193" y="85725"/>
                          <a:pt x="113713" y="4476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sp>
              <p:nvSpPr>
                <p:cNvPr id="52" name="Freeform: Shape 63">
                  <a:extLst>
                    <a:ext uri="{FF2B5EF4-FFF2-40B4-BE49-F238E27FC236}">
                      <a16:creationId xmlns:a16="http://schemas.microsoft.com/office/drawing/2014/main" id="{47D5BE42-D580-44BA-9930-530E1843A47C}"/>
                    </a:ext>
                  </a:extLst>
                </p:cNvPr>
                <p:cNvSpPr/>
                <p:nvPr/>
              </p:nvSpPr>
              <p:spPr>
                <a:xfrm>
                  <a:off x="7980545" y="3512539"/>
                  <a:ext cx="997532" cy="997530"/>
                </a:xfrm>
                <a:custGeom>
                  <a:avLst/>
                  <a:gdLst>
                    <a:gd name="connsiteX0" fmla="*/ 302895 w 600075"/>
                    <a:gd name="connsiteY0" fmla="*/ 0 h 600075"/>
                    <a:gd name="connsiteX1" fmla="*/ 0 w 600075"/>
                    <a:gd name="connsiteY1" fmla="*/ 302895 h 600075"/>
                    <a:gd name="connsiteX2" fmla="*/ 302895 w 600075"/>
                    <a:gd name="connsiteY2" fmla="*/ 605790 h 600075"/>
                    <a:gd name="connsiteX3" fmla="*/ 605790 w 600075"/>
                    <a:gd name="connsiteY3" fmla="*/ 302895 h 600075"/>
                    <a:gd name="connsiteX4" fmla="*/ 302895 w 600075"/>
                    <a:gd name="connsiteY4" fmla="*/ 0 h 600075"/>
                    <a:gd name="connsiteX5" fmla="*/ 302895 w 600075"/>
                    <a:gd name="connsiteY5" fmla="*/ 523875 h 600075"/>
                    <a:gd name="connsiteX6" fmla="*/ 81915 w 600075"/>
                    <a:gd name="connsiteY6" fmla="*/ 302895 h 600075"/>
                    <a:gd name="connsiteX7" fmla="*/ 302895 w 600075"/>
                    <a:gd name="connsiteY7" fmla="*/ 81915 h 600075"/>
                    <a:gd name="connsiteX8" fmla="*/ 523875 w 600075"/>
                    <a:gd name="connsiteY8" fmla="*/ 302895 h 600075"/>
                    <a:gd name="connsiteX9" fmla="*/ 302895 w 600075"/>
                    <a:gd name="connsiteY9" fmla="*/ 523875 h 600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00075" h="600075">
                      <a:moveTo>
                        <a:pt x="302895" y="0"/>
                      </a:moveTo>
                      <a:cubicBezTo>
                        <a:pt x="136207" y="0"/>
                        <a:pt x="0" y="136208"/>
                        <a:pt x="0" y="302895"/>
                      </a:cubicBezTo>
                      <a:cubicBezTo>
                        <a:pt x="0" y="469583"/>
                        <a:pt x="136207" y="605790"/>
                        <a:pt x="302895" y="605790"/>
                      </a:cubicBezTo>
                      <a:cubicBezTo>
                        <a:pt x="469582" y="605790"/>
                        <a:pt x="605790" y="469583"/>
                        <a:pt x="605790" y="302895"/>
                      </a:cubicBezTo>
                      <a:cubicBezTo>
                        <a:pt x="605790" y="136208"/>
                        <a:pt x="470535" y="0"/>
                        <a:pt x="302895" y="0"/>
                      </a:cubicBezTo>
                      <a:close/>
                      <a:moveTo>
                        <a:pt x="302895" y="523875"/>
                      </a:moveTo>
                      <a:cubicBezTo>
                        <a:pt x="180975" y="523875"/>
                        <a:pt x="81915" y="424815"/>
                        <a:pt x="81915" y="302895"/>
                      </a:cubicBezTo>
                      <a:cubicBezTo>
                        <a:pt x="81915" y="180975"/>
                        <a:pt x="180975" y="81915"/>
                        <a:pt x="302895" y="81915"/>
                      </a:cubicBezTo>
                      <a:cubicBezTo>
                        <a:pt x="424815" y="81915"/>
                        <a:pt x="523875" y="180975"/>
                        <a:pt x="523875" y="302895"/>
                      </a:cubicBezTo>
                      <a:cubicBezTo>
                        <a:pt x="524827" y="424815"/>
                        <a:pt x="424815" y="523875"/>
                        <a:pt x="302895" y="523875"/>
                      </a:cubicBezTo>
                      <a:close/>
                    </a:path>
                  </a:pathLst>
                </a:custGeom>
                <a:solidFill>
                  <a:schemeClr val="accent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53" name="Freeform: Shape 64">
                  <a:extLst>
                    <a:ext uri="{FF2B5EF4-FFF2-40B4-BE49-F238E27FC236}">
                      <a16:creationId xmlns:a16="http://schemas.microsoft.com/office/drawing/2014/main" id="{F0A0B05D-4A96-4747-A379-B19CDD5F158D}"/>
                    </a:ext>
                  </a:extLst>
                </p:cNvPr>
                <p:cNvSpPr/>
                <p:nvPr/>
              </p:nvSpPr>
              <p:spPr>
                <a:xfrm>
                  <a:off x="8118300" y="3648709"/>
                  <a:ext cx="728356" cy="728355"/>
                </a:xfrm>
                <a:custGeom>
                  <a:avLst/>
                  <a:gdLst>
                    <a:gd name="connsiteX0" fmla="*/ 441960 w 438150"/>
                    <a:gd name="connsiteY0" fmla="*/ 220980 h 438150"/>
                    <a:gd name="connsiteX1" fmla="*/ 220980 w 438150"/>
                    <a:gd name="connsiteY1" fmla="*/ 441960 h 438150"/>
                    <a:gd name="connsiteX2" fmla="*/ 0 w 438150"/>
                    <a:gd name="connsiteY2" fmla="*/ 220980 h 438150"/>
                    <a:gd name="connsiteX3" fmla="*/ 220980 w 438150"/>
                    <a:gd name="connsiteY3" fmla="*/ 0 h 438150"/>
                    <a:gd name="connsiteX4" fmla="*/ 441960 w 438150"/>
                    <a:gd name="connsiteY4" fmla="*/ 220980 h 438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8150" h="438150">
                      <a:moveTo>
                        <a:pt x="441960" y="220980"/>
                      </a:moveTo>
                      <a:cubicBezTo>
                        <a:pt x="441960" y="342900"/>
                        <a:pt x="342900" y="441960"/>
                        <a:pt x="220980" y="441960"/>
                      </a:cubicBezTo>
                      <a:cubicBezTo>
                        <a:pt x="99060" y="441960"/>
                        <a:pt x="0" y="342900"/>
                        <a:pt x="0" y="220980"/>
                      </a:cubicBezTo>
                      <a:cubicBezTo>
                        <a:pt x="0" y="99060"/>
                        <a:pt x="99060" y="0"/>
                        <a:pt x="220980" y="0"/>
                      </a:cubicBezTo>
                      <a:cubicBezTo>
                        <a:pt x="341947" y="0"/>
                        <a:pt x="441960" y="99060"/>
                        <a:pt x="441960" y="220980"/>
                      </a:cubicBezTo>
                      <a:close/>
                    </a:path>
                  </a:pathLst>
                </a:custGeom>
                <a:solidFill>
                  <a:srgbClr val="FFFFFF"/>
                </a:solidFill>
                <a:ln w="9525" cap="flat">
                  <a:noFill/>
                  <a:prstDash val="solid"/>
                  <a:miter/>
                </a:ln>
                <a:effectLst>
                  <a:outerShdw blurRad="215900" dist="114300" dir="2700000" sx="96000" sy="96000" algn="tl" rotWithShape="0">
                    <a:prstClr val="black">
                      <a:alpha val="30000"/>
                    </a:prstClr>
                  </a:outerShdw>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54" name="Freeform: Shape 67">
                  <a:extLst>
                    <a:ext uri="{FF2B5EF4-FFF2-40B4-BE49-F238E27FC236}">
                      <a16:creationId xmlns:a16="http://schemas.microsoft.com/office/drawing/2014/main" id="{75F352A6-B598-432E-BC2C-047C055F16A2}"/>
                    </a:ext>
                  </a:extLst>
                </p:cNvPr>
                <p:cNvSpPr/>
                <p:nvPr/>
              </p:nvSpPr>
              <p:spPr>
                <a:xfrm>
                  <a:off x="5165002" y="2009223"/>
                  <a:ext cx="495316" cy="464265"/>
                </a:xfrm>
                <a:custGeom>
                  <a:avLst/>
                  <a:gdLst>
                    <a:gd name="connsiteX0" fmla="*/ 271463 w 266700"/>
                    <a:gd name="connsiteY0" fmla="*/ 169545 h 266700"/>
                    <a:gd name="connsiteX1" fmla="*/ 271463 w 266700"/>
                    <a:gd name="connsiteY1" fmla="*/ 271463 h 266700"/>
                    <a:gd name="connsiteX2" fmla="*/ 170498 w 266700"/>
                    <a:gd name="connsiteY2" fmla="*/ 271463 h 266700"/>
                    <a:gd name="connsiteX3" fmla="*/ 0 w 266700"/>
                    <a:gd name="connsiteY3" fmla="*/ 100965 h 266700"/>
                    <a:gd name="connsiteX4" fmla="*/ 0 w 266700"/>
                    <a:gd name="connsiteY4" fmla="*/ 0 h 266700"/>
                    <a:gd name="connsiteX5" fmla="*/ 101918 w 266700"/>
                    <a:gd name="connsiteY5" fmla="*/ 0 h 266700"/>
                    <a:gd name="connsiteX6" fmla="*/ 271463 w 266700"/>
                    <a:gd name="connsiteY6" fmla="*/ 169545 h 266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6700" h="266700">
                      <a:moveTo>
                        <a:pt x="271463" y="169545"/>
                      </a:moveTo>
                      <a:lnTo>
                        <a:pt x="271463" y="271463"/>
                      </a:lnTo>
                      <a:lnTo>
                        <a:pt x="170498" y="271463"/>
                      </a:lnTo>
                      <a:cubicBezTo>
                        <a:pt x="76200" y="271463"/>
                        <a:pt x="0" y="195263"/>
                        <a:pt x="0" y="100965"/>
                      </a:cubicBezTo>
                      <a:lnTo>
                        <a:pt x="0" y="0"/>
                      </a:lnTo>
                      <a:lnTo>
                        <a:pt x="101918" y="0"/>
                      </a:lnTo>
                      <a:cubicBezTo>
                        <a:pt x="195263" y="0"/>
                        <a:pt x="271463" y="76200"/>
                        <a:pt x="271463" y="169545"/>
                      </a:cubicBezTo>
                      <a:close/>
                    </a:path>
                  </a:pathLst>
                </a:custGeom>
                <a:solidFill>
                  <a:schemeClr val="accent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55" name="Freeform: Shape 68">
                  <a:extLst>
                    <a:ext uri="{FF2B5EF4-FFF2-40B4-BE49-F238E27FC236}">
                      <a16:creationId xmlns:a16="http://schemas.microsoft.com/office/drawing/2014/main" id="{69BEB8D9-2DD9-4147-90DD-43C2FAB42DC4}"/>
                    </a:ext>
                  </a:extLst>
                </p:cNvPr>
                <p:cNvSpPr/>
                <p:nvPr/>
              </p:nvSpPr>
              <p:spPr>
                <a:xfrm>
                  <a:off x="5641886" y="1909737"/>
                  <a:ext cx="247658" cy="331617"/>
                </a:xfrm>
                <a:custGeom>
                  <a:avLst/>
                  <a:gdLst>
                    <a:gd name="connsiteX0" fmla="*/ 11829 w 133350"/>
                    <a:gd name="connsiteY0" fmla="*/ 152400 h 190500"/>
                    <a:gd name="connsiteX1" fmla="*/ 39452 w 133350"/>
                    <a:gd name="connsiteY1" fmla="*/ 200025 h 190500"/>
                    <a:gd name="connsiteX2" fmla="*/ 87077 w 133350"/>
                    <a:gd name="connsiteY2" fmla="*/ 173355 h 190500"/>
                    <a:gd name="connsiteX3" fmla="*/ 121367 w 133350"/>
                    <a:gd name="connsiteY3" fmla="*/ 47625 h 190500"/>
                    <a:gd name="connsiteX4" fmla="*/ 94697 w 133350"/>
                    <a:gd name="connsiteY4" fmla="*/ 0 h 190500"/>
                    <a:gd name="connsiteX5" fmla="*/ 47072 w 133350"/>
                    <a:gd name="connsiteY5" fmla="*/ 27623 h 190500"/>
                    <a:gd name="connsiteX6" fmla="*/ 11829 w 133350"/>
                    <a:gd name="connsiteY6" fmla="*/ 152400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3350" h="190500">
                      <a:moveTo>
                        <a:pt x="11829" y="152400"/>
                      </a:moveTo>
                      <a:lnTo>
                        <a:pt x="39452" y="200025"/>
                      </a:lnTo>
                      <a:lnTo>
                        <a:pt x="87077" y="173355"/>
                      </a:lnTo>
                      <a:cubicBezTo>
                        <a:pt x="130892" y="148590"/>
                        <a:pt x="147084" y="92393"/>
                        <a:pt x="121367" y="47625"/>
                      </a:cubicBezTo>
                      <a:lnTo>
                        <a:pt x="94697" y="0"/>
                      </a:lnTo>
                      <a:lnTo>
                        <a:pt x="47072" y="27623"/>
                      </a:lnTo>
                      <a:cubicBezTo>
                        <a:pt x="2304" y="52388"/>
                        <a:pt x="-12936" y="108585"/>
                        <a:pt x="11829" y="152400"/>
                      </a:cubicBezTo>
                      <a:close/>
                    </a:path>
                  </a:pathLst>
                </a:custGeom>
                <a:solidFill>
                  <a:schemeClr val="accent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56" name="TextBox 69">
                  <a:extLst>
                    <a:ext uri="{FF2B5EF4-FFF2-40B4-BE49-F238E27FC236}">
                      <a16:creationId xmlns:a16="http://schemas.microsoft.com/office/drawing/2014/main" id="{C202381F-75AA-4906-BA7D-E0BE1EF34968}"/>
                    </a:ext>
                  </a:extLst>
                </p:cNvPr>
                <p:cNvSpPr txBox="1"/>
                <p:nvPr/>
              </p:nvSpPr>
              <p:spPr>
                <a:xfrm rot="20823315">
                  <a:off x="5196938" y="2103831"/>
                  <a:ext cx="428550" cy="286232"/>
                </a:xfrm>
                <a:prstGeom prst="rect">
                  <a:avLst/>
                </a:prstGeom>
                <a:noFill/>
              </p:spPr>
              <p:txBody>
                <a:bodyPr wrap="square" rtlCol="0" anchor="ctr">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400" b="1" i="0" u="none" strike="noStrike" kern="1200" cap="none" spc="100" normalizeH="0" baseline="0" noProof="0" dirty="0">
                      <a:ln>
                        <a:noFill/>
                      </a:ln>
                      <a:solidFill>
                        <a:srgbClr val="FFFFFF"/>
                      </a:solidFill>
                      <a:effectLst/>
                      <a:uLnTx/>
                      <a:uFillTx/>
                      <a:latin typeface="Segoe UI" panose="020B0502040204020203" pitchFamily="34" charset="0"/>
                      <a:ea typeface="Roboto Light" panose="02000000000000000000" pitchFamily="2" charset="0"/>
                      <a:cs typeface="Segoe UI" panose="020B0502040204020203" pitchFamily="34" charset="0"/>
                    </a:rPr>
                    <a:t>01</a:t>
                  </a:r>
                </a:p>
              </p:txBody>
            </p:sp>
            <p:sp>
              <p:nvSpPr>
                <p:cNvPr id="57" name="TextBox 70">
                  <a:extLst>
                    <a:ext uri="{FF2B5EF4-FFF2-40B4-BE49-F238E27FC236}">
                      <a16:creationId xmlns:a16="http://schemas.microsoft.com/office/drawing/2014/main" id="{5F99BC1B-12A3-48B5-B389-8A592C605F07}"/>
                    </a:ext>
                  </a:extLst>
                </p:cNvPr>
                <p:cNvSpPr txBox="1"/>
                <p:nvPr/>
              </p:nvSpPr>
              <p:spPr>
                <a:xfrm rot="20823315">
                  <a:off x="6203133" y="1194852"/>
                  <a:ext cx="428550" cy="286232"/>
                </a:xfrm>
                <a:prstGeom prst="rect">
                  <a:avLst/>
                </a:prstGeom>
                <a:noFill/>
              </p:spPr>
              <p:txBody>
                <a:bodyPr wrap="square" rtlCol="0" anchor="ctr">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400" b="1" i="0" u="none" strike="noStrike" kern="1200" cap="none" spc="100" normalizeH="0" baseline="0" noProof="0" dirty="0">
                      <a:ln>
                        <a:noFill/>
                      </a:ln>
                      <a:solidFill>
                        <a:srgbClr val="FFFFFF"/>
                      </a:solidFill>
                      <a:effectLst/>
                      <a:uLnTx/>
                      <a:uFillTx/>
                      <a:latin typeface="Segoe UI" panose="020B0502040204020203" pitchFamily="34" charset="0"/>
                      <a:ea typeface="Roboto Light" panose="02000000000000000000" pitchFamily="2" charset="0"/>
                      <a:cs typeface="Segoe UI" panose="020B0502040204020203" pitchFamily="34" charset="0"/>
                    </a:rPr>
                    <a:t>02</a:t>
                  </a:r>
                </a:p>
              </p:txBody>
            </p:sp>
            <p:sp>
              <p:nvSpPr>
                <p:cNvPr id="58" name="TextBox 71">
                  <a:extLst>
                    <a:ext uri="{FF2B5EF4-FFF2-40B4-BE49-F238E27FC236}">
                      <a16:creationId xmlns:a16="http://schemas.microsoft.com/office/drawing/2014/main" id="{520816F7-767F-4C40-9811-104D56B4D31F}"/>
                    </a:ext>
                  </a:extLst>
                </p:cNvPr>
                <p:cNvSpPr txBox="1"/>
                <p:nvPr/>
              </p:nvSpPr>
              <p:spPr>
                <a:xfrm rot="20823315">
                  <a:off x="8021809" y="1063302"/>
                  <a:ext cx="428550" cy="286232"/>
                </a:xfrm>
                <a:prstGeom prst="rect">
                  <a:avLst/>
                </a:prstGeom>
                <a:noFill/>
              </p:spPr>
              <p:txBody>
                <a:bodyPr wrap="square" rtlCol="0" anchor="ctr">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400" b="1" i="0" u="none" strike="noStrike" kern="1200" cap="none" spc="100" normalizeH="0" baseline="0" noProof="0" dirty="0">
                      <a:ln>
                        <a:noFill/>
                      </a:ln>
                      <a:solidFill>
                        <a:srgbClr val="FFFFFF"/>
                      </a:solidFill>
                      <a:effectLst/>
                      <a:uLnTx/>
                      <a:uFillTx/>
                      <a:latin typeface="Segoe UI" panose="020B0502040204020203" pitchFamily="34" charset="0"/>
                      <a:ea typeface="Roboto Light" panose="02000000000000000000" pitchFamily="2" charset="0"/>
                      <a:cs typeface="Segoe UI" panose="020B0502040204020203" pitchFamily="34" charset="0"/>
                    </a:rPr>
                    <a:t>03</a:t>
                  </a:r>
                </a:p>
              </p:txBody>
            </p:sp>
            <p:sp>
              <p:nvSpPr>
                <p:cNvPr id="59" name="TextBox 72">
                  <a:extLst>
                    <a:ext uri="{FF2B5EF4-FFF2-40B4-BE49-F238E27FC236}">
                      <a16:creationId xmlns:a16="http://schemas.microsoft.com/office/drawing/2014/main" id="{D5BF7D56-4E4D-4D7F-A24B-89F6EC34928C}"/>
                    </a:ext>
                  </a:extLst>
                </p:cNvPr>
                <p:cNvSpPr txBox="1"/>
                <p:nvPr/>
              </p:nvSpPr>
              <p:spPr>
                <a:xfrm rot="20823315">
                  <a:off x="10454263" y="1630424"/>
                  <a:ext cx="428550" cy="286232"/>
                </a:xfrm>
                <a:prstGeom prst="rect">
                  <a:avLst/>
                </a:prstGeom>
                <a:noFill/>
              </p:spPr>
              <p:txBody>
                <a:bodyPr wrap="square" rtlCol="0" anchor="ctr">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400" b="1" i="0" u="none" strike="noStrike" kern="1200" cap="none" spc="100" normalizeH="0" baseline="0" noProof="0" dirty="0">
                      <a:ln>
                        <a:noFill/>
                      </a:ln>
                      <a:solidFill>
                        <a:srgbClr val="FFFFFF"/>
                      </a:solidFill>
                      <a:effectLst/>
                      <a:uLnTx/>
                      <a:uFillTx/>
                      <a:latin typeface="Segoe UI" panose="020B0502040204020203" pitchFamily="34" charset="0"/>
                      <a:ea typeface="Roboto Light" panose="02000000000000000000" pitchFamily="2" charset="0"/>
                      <a:cs typeface="Segoe UI" panose="020B0502040204020203" pitchFamily="34" charset="0"/>
                    </a:rPr>
                    <a:t>04</a:t>
                  </a:r>
                </a:p>
              </p:txBody>
            </p:sp>
            <p:sp>
              <p:nvSpPr>
                <p:cNvPr id="60" name="TextBox 76">
                  <a:extLst>
                    <a:ext uri="{FF2B5EF4-FFF2-40B4-BE49-F238E27FC236}">
                      <a16:creationId xmlns:a16="http://schemas.microsoft.com/office/drawing/2014/main" id="{5925CD43-0834-44E1-AFCB-4470FAC102A7}"/>
                    </a:ext>
                  </a:extLst>
                </p:cNvPr>
                <p:cNvSpPr txBox="1"/>
                <p:nvPr/>
              </p:nvSpPr>
              <p:spPr>
                <a:xfrm>
                  <a:off x="9693344" y="2296998"/>
                  <a:ext cx="1384840" cy="585417"/>
                </a:xfrm>
                <a:prstGeom prst="rect">
                  <a:avLst/>
                </a:prstGeom>
                <a:noFill/>
              </p:spPr>
              <p:txBody>
                <a:bodyPr wrap="square" rtlCol="0">
                  <a:spAutoFit/>
                </a:bodyPr>
                <a:lstStyle/>
                <a:p>
                  <a:pPr marL="0" marR="0" lvl="0" indent="0" algn="ctr" defTabSz="914400" rtl="0" eaLnBrk="1" fontAlgn="auto" latinLnBrk="0" hangingPunct="1">
                    <a:lnSpc>
                      <a:spcPct val="14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等线 Light" panose="020F0302020204030204"/>
                      <a:ea typeface="+mn-ea"/>
                      <a:cs typeface="+mn-cs"/>
                    </a:rPr>
                    <a:t>Lorem ipsum dolor sit </a:t>
                  </a:r>
                  <a:r>
                    <a:rPr kumimoji="0" lang="en-US" sz="1200" b="0" i="0" u="none" strike="noStrike" kern="1200" cap="none" spc="0" normalizeH="0" baseline="0" noProof="0" dirty="0" err="1">
                      <a:ln>
                        <a:noFill/>
                      </a:ln>
                      <a:solidFill>
                        <a:srgbClr val="FFFFFF"/>
                      </a:solidFill>
                      <a:effectLst/>
                      <a:uLnTx/>
                      <a:uFillTx/>
                      <a:latin typeface="等线 Light" panose="020F0302020204030204"/>
                      <a:ea typeface="+mn-ea"/>
                      <a:cs typeface="+mn-cs"/>
                    </a:rPr>
                    <a:t>amet</a:t>
                  </a:r>
                  <a:r>
                    <a:rPr kumimoji="0" lang="en-US" sz="1200" b="0" i="0" u="none" strike="noStrike" kern="1200" cap="none" spc="0" normalizeH="0" baseline="0" noProof="0" dirty="0">
                      <a:ln>
                        <a:noFill/>
                      </a:ln>
                      <a:solidFill>
                        <a:srgbClr val="FFFFFF"/>
                      </a:solidFill>
                      <a:effectLst/>
                      <a:uLnTx/>
                      <a:uFillTx/>
                      <a:latin typeface="等线 Light" panose="020F0302020204030204"/>
                      <a:ea typeface="+mn-ea"/>
                      <a:cs typeface="+mn-cs"/>
                    </a:rPr>
                    <a:t>, </a:t>
                  </a:r>
                </a:p>
              </p:txBody>
            </p:sp>
            <p:sp>
              <p:nvSpPr>
                <p:cNvPr id="61" name="TextBox 77">
                  <a:extLst>
                    <a:ext uri="{FF2B5EF4-FFF2-40B4-BE49-F238E27FC236}">
                      <a16:creationId xmlns:a16="http://schemas.microsoft.com/office/drawing/2014/main" id="{EFBA149D-0E30-4611-9B47-E9934893B5AE}"/>
                    </a:ext>
                  </a:extLst>
                </p:cNvPr>
                <p:cNvSpPr txBox="1"/>
                <p:nvPr/>
              </p:nvSpPr>
              <p:spPr>
                <a:xfrm>
                  <a:off x="8376198" y="1610989"/>
                  <a:ext cx="1384840" cy="585417"/>
                </a:xfrm>
                <a:prstGeom prst="rect">
                  <a:avLst/>
                </a:prstGeom>
                <a:noFill/>
              </p:spPr>
              <p:txBody>
                <a:bodyPr wrap="square" rtlCol="0">
                  <a:spAutoFit/>
                </a:bodyPr>
                <a:lstStyle/>
                <a:p>
                  <a:pPr marL="0" marR="0" lvl="0" indent="0" algn="ctr" defTabSz="914400" rtl="0" eaLnBrk="1" fontAlgn="auto" latinLnBrk="0" hangingPunct="1">
                    <a:lnSpc>
                      <a:spcPct val="14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等线 Light" panose="020F0302020204030204"/>
                      <a:ea typeface="+mn-ea"/>
                      <a:cs typeface="+mn-cs"/>
                    </a:rPr>
                    <a:t>Lorem ipsum dolor sit </a:t>
                  </a:r>
                  <a:r>
                    <a:rPr kumimoji="0" lang="en-US" sz="1200" b="0" i="0" u="none" strike="noStrike" kern="1200" cap="none" spc="0" normalizeH="0" baseline="0" noProof="0" dirty="0" err="1">
                      <a:ln>
                        <a:noFill/>
                      </a:ln>
                      <a:solidFill>
                        <a:srgbClr val="FFFFFF"/>
                      </a:solidFill>
                      <a:effectLst/>
                      <a:uLnTx/>
                      <a:uFillTx/>
                      <a:latin typeface="等线 Light" panose="020F0302020204030204"/>
                      <a:ea typeface="+mn-ea"/>
                      <a:cs typeface="+mn-cs"/>
                    </a:rPr>
                    <a:t>amet</a:t>
                  </a:r>
                  <a:r>
                    <a:rPr kumimoji="0" lang="en-US" sz="1200" b="0" i="0" u="none" strike="noStrike" kern="1200" cap="none" spc="0" normalizeH="0" baseline="0" noProof="0" dirty="0">
                      <a:ln>
                        <a:noFill/>
                      </a:ln>
                      <a:solidFill>
                        <a:srgbClr val="FFFFFF"/>
                      </a:solidFill>
                      <a:effectLst/>
                      <a:uLnTx/>
                      <a:uFillTx/>
                      <a:latin typeface="等线 Light" panose="020F0302020204030204"/>
                      <a:ea typeface="+mn-ea"/>
                      <a:cs typeface="+mn-cs"/>
                    </a:rPr>
                    <a:t>, </a:t>
                  </a:r>
                </a:p>
              </p:txBody>
            </p:sp>
            <p:sp>
              <p:nvSpPr>
                <p:cNvPr id="62" name="TextBox 78">
                  <a:extLst>
                    <a:ext uri="{FF2B5EF4-FFF2-40B4-BE49-F238E27FC236}">
                      <a16:creationId xmlns:a16="http://schemas.microsoft.com/office/drawing/2014/main" id="{5F14A279-9920-48C5-AFDE-12D0DD1A56EB}"/>
                    </a:ext>
                  </a:extLst>
                </p:cNvPr>
                <p:cNvSpPr txBox="1"/>
                <p:nvPr/>
              </p:nvSpPr>
              <p:spPr>
                <a:xfrm>
                  <a:off x="6784609" y="1547687"/>
                  <a:ext cx="1384840" cy="585417"/>
                </a:xfrm>
                <a:prstGeom prst="rect">
                  <a:avLst/>
                </a:prstGeom>
                <a:noFill/>
              </p:spPr>
              <p:txBody>
                <a:bodyPr wrap="square" rtlCol="0">
                  <a:spAutoFit/>
                </a:bodyPr>
                <a:lstStyle/>
                <a:p>
                  <a:pPr marL="0" marR="0" lvl="0" indent="0" algn="ctr" defTabSz="914400" rtl="0" eaLnBrk="1" fontAlgn="auto" latinLnBrk="0" hangingPunct="1">
                    <a:lnSpc>
                      <a:spcPct val="14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等线 Light" panose="020F0302020204030204"/>
                      <a:ea typeface="+mn-ea"/>
                      <a:cs typeface="+mn-cs"/>
                    </a:rPr>
                    <a:t>Lorem ipsum dolor sit </a:t>
                  </a:r>
                  <a:r>
                    <a:rPr kumimoji="0" lang="en-US" sz="1200" b="0" i="0" u="none" strike="noStrike" kern="1200" cap="none" spc="0" normalizeH="0" baseline="0" noProof="0" dirty="0" err="1">
                      <a:ln>
                        <a:noFill/>
                      </a:ln>
                      <a:solidFill>
                        <a:srgbClr val="FFFFFF"/>
                      </a:solidFill>
                      <a:effectLst/>
                      <a:uLnTx/>
                      <a:uFillTx/>
                      <a:latin typeface="等线 Light" panose="020F0302020204030204"/>
                      <a:ea typeface="+mn-ea"/>
                      <a:cs typeface="+mn-cs"/>
                    </a:rPr>
                    <a:t>amet</a:t>
                  </a:r>
                  <a:r>
                    <a:rPr kumimoji="0" lang="en-US" sz="1200" b="0" i="0" u="none" strike="noStrike" kern="1200" cap="none" spc="0" normalizeH="0" baseline="0" noProof="0" dirty="0">
                      <a:ln>
                        <a:noFill/>
                      </a:ln>
                      <a:solidFill>
                        <a:srgbClr val="FFFFFF"/>
                      </a:solidFill>
                      <a:effectLst/>
                      <a:uLnTx/>
                      <a:uFillTx/>
                      <a:latin typeface="等线 Light" panose="020F0302020204030204"/>
                      <a:ea typeface="+mn-ea"/>
                      <a:cs typeface="+mn-cs"/>
                    </a:rPr>
                    <a:t>, </a:t>
                  </a:r>
                </a:p>
              </p:txBody>
            </p:sp>
            <p:sp>
              <p:nvSpPr>
                <p:cNvPr id="63" name="TextBox 79">
                  <a:extLst>
                    <a:ext uri="{FF2B5EF4-FFF2-40B4-BE49-F238E27FC236}">
                      <a16:creationId xmlns:a16="http://schemas.microsoft.com/office/drawing/2014/main" id="{89182447-2A77-4FC1-9AC0-6B79DD12323F}"/>
                    </a:ext>
                  </a:extLst>
                </p:cNvPr>
                <p:cNvSpPr txBox="1"/>
                <p:nvPr/>
              </p:nvSpPr>
              <p:spPr>
                <a:xfrm>
                  <a:off x="5761817" y="2566514"/>
                  <a:ext cx="1384840" cy="585417"/>
                </a:xfrm>
                <a:prstGeom prst="rect">
                  <a:avLst/>
                </a:prstGeom>
                <a:noFill/>
              </p:spPr>
              <p:txBody>
                <a:bodyPr wrap="square" rtlCol="0">
                  <a:spAutoFit/>
                </a:bodyPr>
                <a:lstStyle/>
                <a:p>
                  <a:pPr marL="0" marR="0" lvl="0" indent="0" algn="ctr" defTabSz="914400" rtl="0" eaLnBrk="1" fontAlgn="auto" latinLnBrk="0" hangingPunct="1">
                    <a:lnSpc>
                      <a:spcPct val="14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等线 Light" panose="020F0302020204030204"/>
                      <a:ea typeface="+mn-ea"/>
                      <a:cs typeface="+mn-cs"/>
                    </a:rPr>
                    <a:t>Lorem ipsum dolor sit </a:t>
                  </a:r>
                  <a:r>
                    <a:rPr kumimoji="0" lang="en-US" sz="1200" b="0" i="0" u="none" strike="noStrike" kern="1200" cap="none" spc="0" normalizeH="0" baseline="0" noProof="0" dirty="0" err="1">
                      <a:ln>
                        <a:noFill/>
                      </a:ln>
                      <a:solidFill>
                        <a:srgbClr val="FFFFFF"/>
                      </a:solidFill>
                      <a:effectLst/>
                      <a:uLnTx/>
                      <a:uFillTx/>
                      <a:latin typeface="等线 Light" panose="020F0302020204030204"/>
                      <a:ea typeface="+mn-ea"/>
                      <a:cs typeface="+mn-cs"/>
                    </a:rPr>
                    <a:t>amet</a:t>
                  </a:r>
                  <a:r>
                    <a:rPr kumimoji="0" lang="en-US" sz="1200" b="0" i="0" u="none" strike="noStrike" kern="1200" cap="none" spc="0" normalizeH="0" baseline="0" noProof="0" dirty="0">
                      <a:ln>
                        <a:noFill/>
                      </a:ln>
                      <a:solidFill>
                        <a:srgbClr val="FFFFFF"/>
                      </a:solidFill>
                      <a:effectLst/>
                      <a:uLnTx/>
                      <a:uFillTx/>
                      <a:latin typeface="等线 Light" panose="020F0302020204030204"/>
                      <a:ea typeface="+mn-ea"/>
                      <a:cs typeface="+mn-cs"/>
                    </a:rPr>
                    <a:t>, </a:t>
                  </a:r>
                </a:p>
              </p:txBody>
            </p:sp>
            <p:sp>
              <p:nvSpPr>
                <p:cNvPr id="64" name="TextBox 80">
                  <a:extLst>
                    <a:ext uri="{FF2B5EF4-FFF2-40B4-BE49-F238E27FC236}">
                      <a16:creationId xmlns:a16="http://schemas.microsoft.com/office/drawing/2014/main" id="{EE2048DC-C1CB-4C0D-8C0C-FA41C39C895E}"/>
                    </a:ext>
                  </a:extLst>
                </p:cNvPr>
                <p:cNvSpPr txBox="1"/>
                <p:nvPr/>
              </p:nvSpPr>
              <p:spPr>
                <a:xfrm>
                  <a:off x="8126579" y="3710885"/>
                  <a:ext cx="720078" cy="585417"/>
                </a:xfrm>
                <a:prstGeom prst="rect">
                  <a:avLst/>
                </a:prstGeom>
                <a:noFill/>
              </p:spPr>
              <p:txBody>
                <a:bodyPr wrap="square" rtlCol="0">
                  <a:spAutoFit/>
                </a:bodyPr>
                <a:lstStyle/>
                <a:p>
                  <a:pPr marL="0" marR="0" lvl="0" indent="0" algn="ctr" defTabSz="914400" rtl="0" eaLnBrk="1" fontAlgn="auto" latinLnBrk="0" hangingPunct="1">
                    <a:lnSpc>
                      <a:spcPct val="14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lumMod val="65000"/>
                          <a:lumOff val="35000"/>
                        </a:srgbClr>
                      </a:solidFill>
                      <a:effectLst/>
                      <a:uLnTx/>
                      <a:uFillTx/>
                      <a:latin typeface="等线 Light" panose="020F0302020204030204"/>
                      <a:ea typeface="+mn-ea"/>
                      <a:cs typeface="+mn-cs"/>
                    </a:rPr>
                    <a:t>Lorem ipsum</a:t>
                  </a:r>
                </a:p>
              </p:txBody>
            </p:sp>
            <p:sp>
              <p:nvSpPr>
                <p:cNvPr id="65" name="TextBox 81">
                  <a:extLst>
                    <a:ext uri="{FF2B5EF4-FFF2-40B4-BE49-F238E27FC236}">
                      <a16:creationId xmlns:a16="http://schemas.microsoft.com/office/drawing/2014/main" id="{0AA87203-1CE9-4AE6-9AED-F92913F3FC04}"/>
                    </a:ext>
                  </a:extLst>
                </p:cNvPr>
                <p:cNvSpPr txBox="1"/>
                <p:nvPr/>
              </p:nvSpPr>
              <p:spPr>
                <a:xfrm>
                  <a:off x="6579266" y="5725955"/>
                  <a:ext cx="1431624" cy="365934"/>
                </a:xfrm>
                <a:prstGeom prst="rect">
                  <a:avLst/>
                </a:prstGeom>
                <a:noFill/>
              </p:spPr>
              <p:txBody>
                <a:bodyPr wrap="square" rtlCol="0">
                  <a:spAutoFit/>
                </a:bodyPr>
                <a:lstStyle/>
                <a:p>
                  <a:pPr marL="0" marR="0" lvl="0" indent="0" algn="ctr" defTabSz="914400" rtl="0" eaLnBrk="1" fontAlgn="auto" latinLnBrk="0" hangingPunct="1">
                    <a:lnSpc>
                      <a:spcPct val="14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lumMod val="65000"/>
                          <a:lumOff val="35000"/>
                        </a:srgbClr>
                      </a:solidFill>
                      <a:effectLst/>
                      <a:uLnTx/>
                      <a:uFillTx/>
                      <a:latin typeface="等线 Light" panose="020F0302020204030204"/>
                      <a:ea typeface="+mn-ea"/>
                      <a:cs typeface="+mn-cs"/>
                    </a:rPr>
                    <a:t>Lorem ipsum</a:t>
                  </a:r>
                </a:p>
              </p:txBody>
            </p:sp>
            <p:sp>
              <p:nvSpPr>
                <p:cNvPr id="66" name="TextBox 82">
                  <a:extLst>
                    <a:ext uri="{FF2B5EF4-FFF2-40B4-BE49-F238E27FC236}">
                      <a16:creationId xmlns:a16="http://schemas.microsoft.com/office/drawing/2014/main" id="{35D2E247-AD2D-4734-B24A-1CAC4D767231}"/>
                    </a:ext>
                  </a:extLst>
                </p:cNvPr>
                <p:cNvSpPr txBox="1"/>
                <p:nvPr/>
              </p:nvSpPr>
              <p:spPr>
                <a:xfrm>
                  <a:off x="7414967" y="6102988"/>
                  <a:ext cx="1431624" cy="365934"/>
                </a:xfrm>
                <a:prstGeom prst="rect">
                  <a:avLst/>
                </a:prstGeom>
                <a:noFill/>
              </p:spPr>
              <p:txBody>
                <a:bodyPr wrap="square" rtlCol="0">
                  <a:spAutoFit/>
                </a:bodyPr>
                <a:lstStyle/>
                <a:p>
                  <a:pPr marL="0" marR="0" lvl="0" indent="0" algn="ctr" defTabSz="914400" rtl="0" eaLnBrk="1" fontAlgn="auto" latinLnBrk="0" hangingPunct="1">
                    <a:lnSpc>
                      <a:spcPct val="14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lumMod val="65000"/>
                          <a:lumOff val="35000"/>
                        </a:srgbClr>
                      </a:solidFill>
                      <a:effectLst/>
                      <a:uLnTx/>
                      <a:uFillTx/>
                      <a:latin typeface="等线 Light" panose="020F0302020204030204"/>
                      <a:ea typeface="+mn-ea"/>
                      <a:cs typeface="+mn-cs"/>
                    </a:rPr>
                    <a:t>Lorem ipsum</a:t>
                  </a:r>
                </a:p>
              </p:txBody>
            </p:sp>
            <p:sp>
              <p:nvSpPr>
                <p:cNvPr id="67" name="TextBox 83">
                  <a:extLst>
                    <a:ext uri="{FF2B5EF4-FFF2-40B4-BE49-F238E27FC236}">
                      <a16:creationId xmlns:a16="http://schemas.microsoft.com/office/drawing/2014/main" id="{C5E6E7E9-E974-448A-B6F9-9A356FCF9B8C}"/>
                    </a:ext>
                  </a:extLst>
                </p:cNvPr>
                <p:cNvSpPr txBox="1"/>
                <p:nvPr/>
              </p:nvSpPr>
              <p:spPr>
                <a:xfrm>
                  <a:off x="8289566" y="5725955"/>
                  <a:ext cx="1431624" cy="365934"/>
                </a:xfrm>
                <a:prstGeom prst="rect">
                  <a:avLst/>
                </a:prstGeom>
                <a:noFill/>
              </p:spPr>
              <p:txBody>
                <a:bodyPr wrap="square" rtlCol="0">
                  <a:spAutoFit/>
                </a:bodyPr>
                <a:lstStyle/>
                <a:p>
                  <a:pPr marL="0" marR="0" lvl="0" indent="0" algn="ctr" defTabSz="914400" rtl="0" eaLnBrk="1" fontAlgn="auto" latinLnBrk="0" hangingPunct="1">
                    <a:lnSpc>
                      <a:spcPct val="14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lumMod val="65000"/>
                          <a:lumOff val="35000"/>
                        </a:srgbClr>
                      </a:solidFill>
                      <a:effectLst/>
                      <a:uLnTx/>
                      <a:uFillTx/>
                      <a:latin typeface="等线 Light" panose="020F0302020204030204"/>
                      <a:ea typeface="+mn-ea"/>
                      <a:cs typeface="+mn-cs"/>
                    </a:rPr>
                    <a:t>Lorem ipsum</a:t>
                  </a:r>
                </a:p>
              </p:txBody>
            </p:sp>
            <p:sp>
              <p:nvSpPr>
                <p:cNvPr id="68" name="TextBox 84">
                  <a:extLst>
                    <a:ext uri="{FF2B5EF4-FFF2-40B4-BE49-F238E27FC236}">
                      <a16:creationId xmlns:a16="http://schemas.microsoft.com/office/drawing/2014/main" id="{C77F212F-CB52-4BA8-A524-B7A3391ADDC9}"/>
                    </a:ext>
                  </a:extLst>
                </p:cNvPr>
                <p:cNvSpPr txBox="1"/>
                <p:nvPr/>
              </p:nvSpPr>
              <p:spPr>
                <a:xfrm>
                  <a:off x="9238265" y="6101404"/>
                  <a:ext cx="1431624" cy="365934"/>
                </a:xfrm>
                <a:prstGeom prst="rect">
                  <a:avLst/>
                </a:prstGeom>
                <a:noFill/>
              </p:spPr>
              <p:txBody>
                <a:bodyPr wrap="square" rtlCol="0">
                  <a:spAutoFit/>
                </a:bodyPr>
                <a:lstStyle/>
                <a:p>
                  <a:pPr marL="0" marR="0" lvl="0" indent="0" algn="ctr" defTabSz="914400" rtl="0" eaLnBrk="1" fontAlgn="auto" latinLnBrk="0" hangingPunct="1">
                    <a:lnSpc>
                      <a:spcPct val="14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lumMod val="65000"/>
                          <a:lumOff val="35000"/>
                        </a:srgbClr>
                      </a:solidFill>
                      <a:effectLst/>
                      <a:uLnTx/>
                      <a:uFillTx/>
                      <a:latin typeface="等线 Light" panose="020F0302020204030204"/>
                      <a:ea typeface="+mn-ea"/>
                      <a:cs typeface="+mn-cs"/>
                    </a:rPr>
                    <a:t>Lorem ipsum</a:t>
                  </a:r>
                </a:p>
              </p:txBody>
            </p:sp>
          </p:grpSp>
          <p:grpSp>
            <p:nvGrpSpPr>
              <p:cNvPr id="6" name="Group 86">
                <a:extLst>
                  <a:ext uri="{FF2B5EF4-FFF2-40B4-BE49-F238E27FC236}">
                    <a16:creationId xmlns:a16="http://schemas.microsoft.com/office/drawing/2014/main" id="{16F1B4EA-9D3E-4DF8-87C5-6085F4B3AFAD}"/>
                  </a:ext>
                </a:extLst>
              </p:cNvPr>
              <p:cNvGrpSpPr/>
              <p:nvPr/>
            </p:nvGrpSpPr>
            <p:grpSpPr>
              <a:xfrm>
                <a:off x="2350668" y="3370074"/>
                <a:ext cx="2721781" cy="1196240"/>
                <a:chOff x="4826702" y="764665"/>
                <a:chExt cx="2721781" cy="1196240"/>
              </a:xfrm>
            </p:grpSpPr>
            <p:sp>
              <p:nvSpPr>
                <p:cNvPr id="25" name="Speech Bubble: Rectangle with Corners Rounded 87">
                  <a:extLst>
                    <a:ext uri="{FF2B5EF4-FFF2-40B4-BE49-F238E27FC236}">
                      <a16:creationId xmlns:a16="http://schemas.microsoft.com/office/drawing/2014/main" id="{5DA3BE27-2A90-4471-8BE0-AE11227B8242}"/>
                    </a:ext>
                  </a:extLst>
                </p:cNvPr>
                <p:cNvSpPr/>
                <p:nvPr/>
              </p:nvSpPr>
              <p:spPr>
                <a:xfrm rot="16200000">
                  <a:off x="5557038" y="34329"/>
                  <a:ext cx="1196240" cy="2656912"/>
                </a:xfrm>
                <a:prstGeom prst="wedgeRoundRectCallout">
                  <a:avLst>
                    <a:gd name="adj1" fmla="val 13132"/>
                    <a:gd name="adj2" fmla="val -15927"/>
                    <a:gd name="adj3" fmla="val 16667"/>
                  </a:avLst>
                </a:prstGeom>
                <a:solidFill>
                  <a:schemeClr val="bg1"/>
                </a:solidFill>
                <a:ln>
                  <a:noFill/>
                </a:ln>
                <a:effectLst>
                  <a:outerShdw blurRad="266700" dist="228600" dir="2700000" algn="tl" rotWithShape="0">
                    <a:schemeClr val="accent1">
                      <a:alpha val="1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等线" panose="020F0502020204030204"/>
                    <a:ea typeface="+mn-ea"/>
                    <a:cs typeface="+mn-cs"/>
                  </a:endParaRPr>
                </a:p>
              </p:txBody>
            </p:sp>
            <p:sp>
              <p:nvSpPr>
                <p:cNvPr id="26" name="Isosceles Triangle 88">
                  <a:extLst>
                    <a:ext uri="{FF2B5EF4-FFF2-40B4-BE49-F238E27FC236}">
                      <a16:creationId xmlns:a16="http://schemas.microsoft.com/office/drawing/2014/main" id="{E2A910A5-3167-4E56-B3D4-31A0DF209679}"/>
                    </a:ext>
                  </a:extLst>
                </p:cNvPr>
                <p:cNvSpPr/>
                <p:nvPr/>
              </p:nvSpPr>
              <p:spPr>
                <a:xfrm flipV="1">
                  <a:off x="5285917" y="1076736"/>
                  <a:ext cx="132186" cy="191962"/>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lumMod val="85000"/>
                        <a:lumOff val="15000"/>
                      </a:srgbClr>
                    </a:solidFill>
                    <a:effectLst/>
                    <a:uLnTx/>
                    <a:uFillTx/>
                    <a:latin typeface="Nexa Bold" panose="02000000000000000000" pitchFamily="50" charset="0"/>
                    <a:ea typeface="+mn-ea"/>
                    <a:cs typeface="+mn-cs"/>
                  </a:endParaRPr>
                </a:p>
              </p:txBody>
            </p:sp>
            <p:sp>
              <p:nvSpPr>
                <p:cNvPr id="27" name="Rectangle 89">
                  <a:extLst>
                    <a:ext uri="{FF2B5EF4-FFF2-40B4-BE49-F238E27FC236}">
                      <a16:creationId xmlns:a16="http://schemas.microsoft.com/office/drawing/2014/main" id="{45D7F6E7-E2D9-4E07-A3DB-DE141D4AF0DE}"/>
                    </a:ext>
                  </a:extLst>
                </p:cNvPr>
                <p:cNvSpPr/>
                <p:nvPr/>
              </p:nvSpPr>
              <p:spPr>
                <a:xfrm>
                  <a:off x="5621981" y="940231"/>
                  <a:ext cx="1416344" cy="333617"/>
                </a:xfrm>
                <a:prstGeom prst="rect">
                  <a:avLst/>
                </a:prstGeom>
              </p:spPr>
              <p:txBody>
                <a:bodyPr wrap="square">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1400" b="1" i="0" u="none" strike="noStrike" kern="1200" cap="none" spc="0" normalizeH="0" baseline="0" noProof="0" dirty="0">
                      <a:ln>
                        <a:noFill/>
                      </a:ln>
                      <a:gradFill>
                        <a:gsLst>
                          <a:gs pos="0">
                            <a:srgbClr val="FFD229">
                              <a:lumMod val="75000"/>
                            </a:srgbClr>
                          </a:gs>
                          <a:gs pos="100000">
                            <a:srgbClr val="FFD229"/>
                          </a:gs>
                        </a:gsLst>
                        <a:lin ang="5400000" scaled="1"/>
                      </a:gradFill>
                      <a:effectLst/>
                      <a:uLnTx/>
                      <a:uFillTx/>
                      <a:latin typeface="等线" panose="020F0502020204030204"/>
                      <a:ea typeface="+mn-ea"/>
                      <a:cs typeface="Segoe UI" panose="020B0502040204020203" pitchFamily="34" charset="0"/>
                    </a:rPr>
                    <a:t>Your Text Here</a:t>
                  </a:r>
                </a:p>
              </p:txBody>
            </p:sp>
            <p:sp>
              <p:nvSpPr>
                <p:cNvPr id="28" name="Rectangle 90">
                  <a:extLst>
                    <a:ext uri="{FF2B5EF4-FFF2-40B4-BE49-F238E27FC236}">
                      <a16:creationId xmlns:a16="http://schemas.microsoft.com/office/drawing/2014/main" id="{72CD9983-7008-428C-A4D0-393F2B208496}"/>
                    </a:ext>
                  </a:extLst>
                </p:cNvPr>
                <p:cNvSpPr/>
                <p:nvPr/>
              </p:nvSpPr>
              <p:spPr>
                <a:xfrm>
                  <a:off x="5621980" y="1226300"/>
                  <a:ext cx="1926503" cy="592150"/>
                </a:xfrm>
                <a:prstGeom prst="rect">
                  <a:avLst/>
                </a:prstGeom>
              </p:spPr>
              <p:txBody>
                <a:bodyPr wrap="square">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lumMod val="65000"/>
                          <a:lumOff val="35000"/>
                        </a:srgbClr>
                      </a:solidFill>
                      <a:effectLst/>
                      <a:uLnTx/>
                      <a:uFillTx/>
                      <a:latin typeface="等线 Light" panose="020F0302020204030204"/>
                      <a:ea typeface="+mn-ea"/>
                      <a:cs typeface="Segoe UI Light" panose="020B0502040204020203" pitchFamily="34" charset="0"/>
                    </a:rPr>
                    <a:t>A wonderful serenity has taken possession</a:t>
                  </a:r>
                </a:p>
              </p:txBody>
            </p:sp>
            <p:sp>
              <p:nvSpPr>
                <p:cNvPr id="29" name="Rectangle 91">
                  <a:extLst>
                    <a:ext uri="{FF2B5EF4-FFF2-40B4-BE49-F238E27FC236}">
                      <a16:creationId xmlns:a16="http://schemas.microsoft.com/office/drawing/2014/main" id="{5DF97564-E36F-45BE-9BDD-0E2FB5F0F87C}"/>
                    </a:ext>
                  </a:extLst>
                </p:cNvPr>
                <p:cNvSpPr/>
                <p:nvPr/>
              </p:nvSpPr>
              <p:spPr>
                <a:xfrm rot="20666922">
                  <a:off x="4991830" y="1252424"/>
                  <a:ext cx="720360" cy="427425"/>
                </a:xfrm>
                <a:prstGeom prst="rect">
                  <a:avLst/>
                </a:prstGeom>
              </p:spPr>
              <p:txBody>
                <a:bodyPr wrap="square">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2000" b="1" i="0" u="none" strike="noStrike" kern="1200" cap="none" spc="0" normalizeH="0" baseline="0" noProof="0" dirty="0">
                      <a:ln>
                        <a:noFill/>
                      </a:ln>
                      <a:gradFill>
                        <a:gsLst>
                          <a:gs pos="0">
                            <a:srgbClr val="FFD229">
                              <a:lumMod val="75000"/>
                            </a:srgbClr>
                          </a:gs>
                          <a:gs pos="100000">
                            <a:srgbClr val="FFD229"/>
                          </a:gs>
                        </a:gsLst>
                        <a:lin ang="5400000" scaled="1"/>
                      </a:gradFill>
                      <a:effectLst/>
                      <a:uLnTx/>
                      <a:uFillTx/>
                      <a:latin typeface="Segoe UI" panose="020B0502040204020203" pitchFamily="34" charset="0"/>
                      <a:ea typeface="+mn-ea"/>
                      <a:cs typeface="Segoe UI" panose="020B0502040204020203" pitchFamily="34" charset="0"/>
                    </a:rPr>
                    <a:t>45%</a:t>
                  </a:r>
                </a:p>
              </p:txBody>
            </p:sp>
          </p:grpSp>
          <p:grpSp>
            <p:nvGrpSpPr>
              <p:cNvPr id="7" name="Group 92">
                <a:extLst>
                  <a:ext uri="{FF2B5EF4-FFF2-40B4-BE49-F238E27FC236}">
                    <a16:creationId xmlns:a16="http://schemas.microsoft.com/office/drawing/2014/main" id="{E5AE2C6B-E3A2-4702-AFB6-34B10F620402}"/>
                  </a:ext>
                </a:extLst>
              </p:cNvPr>
              <p:cNvGrpSpPr/>
              <p:nvPr/>
            </p:nvGrpSpPr>
            <p:grpSpPr>
              <a:xfrm>
                <a:off x="8347890" y="3370074"/>
                <a:ext cx="2721781" cy="1196240"/>
                <a:chOff x="4826702" y="764665"/>
                <a:chExt cx="2721781" cy="1196240"/>
              </a:xfrm>
            </p:grpSpPr>
            <p:sp>
              <p:nvSpPr>
                <p:cNvPr id="20" name="Speech Bubble: Rectangle with Corners Rounded 93">
                  <a:extLst>
                    <a:ext uri="{FF2B5EF4-FFF2-40B4-BE49-F238E27FC236}">
                      <a16:creationId xmlns:a16="http://schemas.microsoft.com/office/drawing/2014/main" id="{A7772319-C74E-4554-BA71-B92C1BCB7FC1}"/>
                    </a:ext>
                  </a:extLst>
                </p:cNvPr>
                <p:cNvSpPr/>
                <p:nvPr/>
              </p:nvSpPr>
              <p:spPr>
                <a:xfrm rot="16200000">
                  <a:off x="5557038" y="34329"/>
                  <a:ext cx="1196240" cy="2656912"/>
                </a:xfrm>
                <a:prstGeom prst="wedgeRoundRectCallout">
                  <a:avLst>
                    <a:gd name="adj1" fmla="val 13132"/>
                    <a:gd name="adj2" fmla="val -15927"/>
                    <a:gd name="adj3" fmla="val 16667"/>
                  </a:avLst>
                </a:prstGeom>
                <a:solidFill>
                  <a:schemeClr val="bg1"/>
                </a:solidFill>
                <a:ln>
                  <a:noFill/>
                </a:ln>
                <a:effectLst>
                  <a:outerShdw blurRad="266700" dist="228600" dir="2700000" algn="tl" rotWithShape="0">
                    <a:schemeClr val="accent2">
                      <a:alpha val="1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等线" panose="020F0502020204030204"/>
                    <a:ea typeface="+mn-ea"/>
                    <a:cs typeface="+mn-cs"/>
                  </a:endParaRPr>
                </a:p>
              </p:txBody>
            </p:sp>
            <p:sp>
              <p:nvSpPr>
                <p:cNvPr id="21" name="Isosceles Triangle 94">
                  <a:extLst>
                    <a:ext uri="{FF2B5EF4-FFF2-40B4-BE49-F238E27FC236}">
                      <a16:creationId xmlns:a16="http://schemas.microsoft.com/office/drawing/2014/main" id="{6ECB68BD-08E2-4BE8-8434-176636350E20}"/>
                    </a:ext>
                  </a:extLst>
                </p:cNvPr>
                <p:cNvSpPr/>
                <p:nvPr/>
              </p:nvSpPr>
              <p:spPr>
                <a:xfrm flipV="1">
                  <a:off x="5285917" y="1076736"/>
                  <a:ext cx="132186" cy="191962"/>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lumMod val="85000"/>
                        <a:lumOff val="15000"/>
                      </a:srgbClr>
                    </a:solidFill>
                    <a:effectLst/>
                    <a:uLnTx/>
                    <a:uFillTx/>
                    <a:latin typeface="Nexa Bold" panose="02000000000000000000" pitchFamily="50" charset="0"/>
                    <a:ea typeface="+mn-ea"/>
                    <a:cs typeface="+mn-cs"/>
                  </a:endParaRPr>
                </a:p>
              </p:txBody>
            </p:sp>
            <p:sp>
              <p:nvSpPr>
                <p:cNvPr id="22" name="Rectangle 95">
                  <a:extLst>
                    <a:ext uri="{FF2B5EF4-FFF2-40B4-BE49-F238E27FC236}">
                      <a16:creationId xmlns:a16="http://schemas.microsoft.com/office/drawing/2014/main" id="{04716474-4DF8-4840-9088-B7F13C4103B8}"/>
                    </a:ext>
                  </a:extLst>
                </p:cNvPr>
                <p:cNvSpPr/>
                <p:nvPr/>
              </p:nvSpPr>
              <p:spPr>
                <a:xfrm>
                  <a:off x="5621981" y="940231"/>
                  <a:ext cx="1416344" cy="333617"/>
                </a:xfrm>
                <a:prstGeom prst="rect">
                  <a:avLst/>
                </a:prstGeom>
              </p:spPr>
              <p:txBody>
                <a:bodyPr wrap="square">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4C38"/>
                      </a:solidFill>
                      <a:effectLst/>
                      <a:uLnTx/>
                      <a:uFillTx/>
                      <a:latin typeface="等线" panose="020F0502020204030204"/>
                      <a:ea typeface="+mn-ea"/>
                      <a:cs typeface="Segoe UI" panose="020B0502040204020203" pitchFamily="34" charset="0"/>
                    </a:rPr>
                    <a:t>Your Text Here</a:t>
                  </a:r>
                </a:p>
              </p:txBody>
            </p:sp>
            <p:sp>
              <p:nvSpPr>
                <p:cNvPr id="23" name="Rectangle 96">
                  <a:extLst>
                    <a:ext uri="{FF2B5EF4-FFF2-40B4-BE49-F238E27FC236}">
                      <a16:creationId xmlns:a16="http://schemas.microsoft.com/office/drawing/2014/main" id="{5C69AB80-9807-49A1-AF32-5A893611CE9C}"/>
                    </a:ext>
                  </a:extLst>
                </p:cNvPr>
                <p:cNvSpPr/>
                <p:nvPr/>
              </p:nvSpPr>
              <p:spPr>
                <a:xfrm>
                  <a:off x="5621980" y="1226300"/>
                  <a:ext cx="1926503" cy="592150"/>
                </a:xfrm>
                <a:prstGeom prst="rect">
                  <a:avLst/>
                </a:prstGeom>
              </p:spPr>
              <p:txBody>
                <a:bodyPr wrap="square">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lumMod val="65000"/>
                          <a:lumOff val="35000"/>
                        </a:srgbClr>
                      </a:solidFill>
                      <a:effectLst/>
                      <a:uLnTx/>
                      <a:uFillTx/>
                      <a:latin typeface="等线 Light" panose="020F0302020204030204"/>
                      <a:ea typeface="+mn-ea"/>
                      <a:cs typeface="Segoe UI Light" panose="020B0502040204020203" pitchFamily="34" charset="0"/>
                    </a:rPr>
                    <a:t>A wonderful serenity has taken possession</a:t>
                  </a:r>
                </a:p>
              </p:txBody>
            </p:sp>
            <p:sp>
              <p:nvSpPr>
                <p:cNvPr id="24" name="Rectangle 97">
                  <a:extLst>
                    <a:ext uri="{FF2B5EF4-FFF2-40B4-BE49-F238E27FC236}">
                      <a16:creationId xmlns:a16="http://schemas.microsoft.com/office/drawing/2014/main" id="{C6EA9A33-23EB-4B02-A986-3789C46EC793}"/>
                    </a:ext>
                  </a:extLst>
                </p:cNvPr>
                <p:cNvSpPr/>
                <p:nvPr/>
              </p:nvSpPr>
              <p:spPr>
                <a:xfrm rot="20666922">
                  <a:off x="4991830" y="1252424"/>
                  <a:ext cx="720360" cy="427425"/>
                </a:xfrm>
                <a:prstGeom prst="rect">
                  <a:avLst/>
                </a:prstGeom>
              </p:spPr>
              <p:txBody>
                <a:bodyPr wrap="square">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FF4C38"/>
                      </a:solidFill>
                      <a:effectLst/>
                      <a:uLnTx/>
                      <a:uFillTx/>
                      <a:latin typeface="Segoe UI" panose="020B0502040204020203" pitchFamily="34" charset="0"/>
                      <a:ea typeface="+mn-ea"/>
                      <a:cs typeface="Segoe UI" panose="020B0502040204020203" pitchFamily="34" charset="0"/>
                    </a:rPr>
                    <a:t>45%</a:t>
                  </a:r>
                </a:p>
              </p:txBody>
            </p:sp>
          </p:grpSp>
          <p:grpSp>
            <p:nvGrpSpPr>
              <p:cNvPr id="8" name="Group 98">
                <a:extLst>
                  <a:ext uri="{FF2B5EF4-FFF2-40B4-BE49-F238E27FC236}">
                    <a16:creationId xmlns:a16="http://schemas.microsoft.com/office/drawing/2014/main" id="{C21DCA20-4D2B-49FD-A7AB-51D0E772C852}"/>
                  </a:ext>
                </a:extLst>
              </p:cNvPr>
              <p:cNvGrpSpPr/>
              <p:nvPr/>
            </p:nvGrpSpPr>
            <p:grpSpPr>
              <a:xfrm>
                <a:off x="8731690" y="4789762"/>
                <a:ext cx="2721781" cy="1196240"/>
                <a:chOff x="4826702" y="764665"/>
                <a:chExt cx="2721781" cy="1196240"/>
              </a:xfrm>
            </p:grpSpPr>
            <p:sp>
              <p:nvSpPr>
                <p:cNvPr id="15" name="Speech Bubble: Rectangle with Corners Rounded 99">
                  <a:extLst>
                    <a:ext uri="{FF2B5EF4-FFF2-40B4-BE49-F238E27FC236}">
                      <a16:creationId xmlns:a16="http://schemas.microsoft.com/office/drawing/2014/main" id="{19FC75D1-3D6D-4A3F-82B5-F858D53192B6}"/>
                    </a:ext>
                  </a:extLst>
                </p:cNvPr>
                <p:cNvSpPr/>
                <p:nvPr/>
              </p:nvSpPr>
              <p:spPr>
                <a:xfrm rot="16200000">
                  <a:off x="5557038" y="34329"/>
                  <a:ext cx="1196240" cy="2656912"/>
                </a:xfrm>
                <a:prstGeom prst="wedgeRoundRectCallout">
                  <a:avLst>
                    <a:gd name="adj1" fmla="val 13132"/>
                    <a:gd name="adj2" fmla="val -15927"/>
                    <a:gd name="adj3" fmla="val 16667"/>
                  </a:avLst>
                </a:prstGeom>
                <a:solidFill>
                  <a:schemeClr val="bg1"/>
                </a:solidFill>
                <a:ln>
                  <a:noFill/>
                </a:ln>
                <a:effectLst>
                  <a:outerShdw blurRad="266700" dist="228600" dir="2700000" algn="tl" rotWithShape="0">
                    <a:schemeClr val="accent3">
                      <a:alpha val="1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等线" panose="020F0502020204030204"/>
                    <a:ea typeface="+mn-ea"/>
                    <a:cs typeface="+mn-cs"/>
                  </a:endParaRPr>
                </a:p>
              </p:txBody>
            </p:sp>
            <p:sp>
              <p:nvSpPr>
                <p:cNvPr id="16" name="Isosceles Triangle 100">
                  <a:extLst>
                    <a:ext uri="{FF2B5EF4-FFF2-40B4-BE49-F238E27FC236}">
                      <a16:creationId xmlns:a16="http://schemas.microsoft.com/office/drawing/2014/main" id="{D830CB70-3A10-4C48-9678-7D4284944337}"/>
                    </a:ext>
                  </a:extLst>
                </p:cNvPr>
                <p:cNvSpPr/>
                <p:nvPr/>
              </p:nvSpPr>
              <p:spPr>
                <a:xfrm flipV="1">
                  <a:off x="5285917" y="1076736"/>
                  <a:ext cx="132186" cy="191962"/>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lumMod val="85000"/>
                        <a:lumOff val="15000"/>
                      </a:srgbClr>
                    </a:solidFill>
                    <a:effectLst/>
                    <a:uLnTx/>
                    <a:uFillTx/>
                    <a:latin typeface="Nexa Bold" panose="02000000000000000000" pitchFamily="50" charset="0"/>
                    <a:ea typeface="+mn-ea"/>
                    <a:cs typeface="+mn-cs"/>
                  </a:endParaRPr>
                </a:p>
              </p:txBody>
            </p:sp>
            <p:sp>
              <p:nvSpPr>
                <p:cNvPr id="17" name="Rectangle 101">
                  <a:extLst>
                    <a:ext uri="{FF2B5EF4-FFF2-40B4-BE49-F238E27FC236}">
                      <a16:creationId xmlns:a16="http://schemas.microsoft.com/office/drawing/2014/main" id="{9BA3EB5B-96E7-46C2-96D4-6D475D8CD370}"/>
                    </a:ext>
                  </a:extLst>
                </p:cNvPr>
                <p:cNvSpPr/>
                <p:nvPr/>
              </p:nvSpPr>
              <p:spPr>
                <a:xfrm>
                  <a:off x="5621981" y="940231"/>
                  <a:ext cx="1416344" cy="333617"/>
                </a:xfrm>
                <a:prstGeom prst="rect">
                  <a:avLst/>
                </a:prstGeom>
              </p:spPr>
              <p:txBody>
                <a:bodyPr wrap="square">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388A"/>
                      </a:solidFill>
                      <a:effectLst/>
                      <a:uLnTx/>
                      <a:uFillTx/>
                      <a:latin typeface="等线" panose="020F0502020204030204"/>
                      <a:ea typeface="+mn-ea"/>
                      <a:cs typeface="Segoe UI" panose="020B0502040204020203" pitchFamily="34" charset="0"/>
                    </a:rPr>
                    <a:t>Your Text Here</a:t>
                  </a:r>
                </a:p>
              </p:txBody>
            </p:sp>
            <p:sp>
              <p:nvSpPr>
                <p:cNvPr id="18" name="Rectangle 102">
                  <a:extLst>
                    <a:ext uri="{FF2B5EF4-FFF2-40B4-BE49-F238E27FC236}">
                      <a16:creationId xmlns:a16="http://schemas.microsoft.com/office/drawing/2014/main" id="{52A68A8B-40A8-4B05-9D95-6DE2D2796878}"/>
                    </a:ext>
                  </a:extLst>
                </p:cNvPr>
                <p:cNvSpPr/>
                <p:nvPr/>
              </p:nvSpPr>
              <p:spPr>
                <a:xfrm>
                  <a:off x="5621980" y="1226300"/>
                  <a:ext cx="1926503" cy="592150"/>
                </a:xfrm>
                <a:prstGeom prst="rect">
                  <a:avLst/>
                </a:prstGeom>
              </p:spPr>
              <p:txBody>
                <a:bodyPr wrap="square">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lumMod val="65000"/>
                          <a:lumOff val="35000"/>
                        </a:srgbClr>
                      </a:solidFill>
                      <a:effectLst/>
                      <a:uLnTx/>
                      <a:uFillTx/>
                      <a:latin typeface="等线 Light" panose="020F0302020204030204"/>
                      <a:ea typeface="+mn-ea"/>
                      <a:cs typeface="Segoe UI Light" panose="020B0502040204020203" pitchFamily="34" charset="0"/>
                    </a:rPr>
                    <a:t>A wonderful serenity has taken possession</a:t>
                  </a:r>
                </a:p>
              </p:txBody>
            </p:sp>
            <p:sp>
              <p:nvSpPr>
                <p:cNvPr id="19" name="Rectangle 103">
                  <a:extLst>
                    <a:ext uri="{FF2B5EF4-FFF2-40B4-BE49-F238E27FC236}">
                      <a16:creationId xmlns:a16="http://schemas.microsoft.com/office/drawing/2014/main" id="{972FBCB7-3D03-40CA-BA58-D1F544568A43}"/>
                    </a:ext>
                  </a:extLst>
                </p:cNvPr>
                <p:cNvSpPr/>
                <p:nvPr/>
              </p:nvSpPr>
              <p:spPr>
                <a:xfrm rot="20666922">
                  <a:off x="4991830" y="1252424"/>
                  <a:ext cx="720360" cy="427425"/>
                </a:xfrm>
                <a:prstGeom prst="rect">
                  <a:avLst/>
                </a:prstGeom>
              </p:spPr>
              <p:txBody>
                <a:bodyPr wrap="square">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FF388A"/>
                      </a:solidFill>
                      <a:effectLst/>
                      <a:uLnTx/>
                      <a:uFillTx/>
                      <a:latin typeface="Segoe UI" panose="020B0502040204020203" pitchFamily="34" charset="0"/>
                      <a:ea typeface="+mn-ea"/>
                      <a:cs typeface="Segoe UI" panose="020B0502040204020203" pitchFamily="34" charset="0"/>
                    </a:rPr>
                    <a:t>45%</a:t>
                  </a:r>
                </a:p>
              </p:txBody>
            </p:sp>
          </p:grpSp>
          <p:grpSp>
            <p:nvGrpSpPr>
              <p:cNvPr id="9" name="Group 104">
                <a:extLst>
                  <a:ext uri="{FF2B5EF4-FFF2-40B4-BE49-F238E27FC236}">
                    <a16:creationId xmlns:a16="http://schemas.microsoft.com/office/drawing/2014/main" id="{33084E15-8A88-4856-BC35-3E1A7B11D597}"/>
                  </a:ext>
                </a:extLst>
              </p:cNvPr>
              <p:cNvGrpSpPr/>
              <p:nvPr/>
            </p:nvGrpSpPr>
            <p:grpSpPr>
              <a:xfrm>
                <a:off x="1917621" y="4789762"/>
                <a:ext cx="2721781" cy="1196240"/>
                <a:chOff x="4826702" y="764665"/>
                <a:chExt cx="2721781" cy="1196240"/>
              </a:xfrm>
            </p:grpSpPr>
            <p:sp>
              <p:nvSpPr>
                <p:cNvPr id="10" name="Speech Bubble: Rectangle with Corners Rounded 105">
                  <a:extLst>
                    <a:ext uri="{FF2B5EF4-FFF2-40B4-BE49-F238E27FC236}">
                      <a16:creationId xmlns:a16="http://schemas.microsoft.com/office/drawing/2014/main" id="{FE113FA0-629B-4F6F-8A71-1D06A28002F3}"/>
                    </a:ext>
                  </a:extLst>
                </p:cNvPr>
                <p:cNvSpPr/>
                <p:nvPr/>
              </p:nvSpPr>
              <p:spPr>
                <a:xfrm rot="16200000">
                  <a:off x="5557038" y="34329"/>
                  <a:ext cx="1196240" cy="2656912"/>
                </a:xfrm>
                <a:prstGeom prst="wedgeRoundRectCallout">
                  <a:avLst>
                    <a:gd name="adj1" fmla="val 13132"/>
                    <a:gd name="adj2" fmla="val -15927"/>
                    <a:gd name="adj3" fmla="val 16667"/>
                  </a:avLst>
                </a:prstGeom>
                <a:solidFill>
                  <a:schemeClr val="bg1"/>
                </a:solidFill>
                <a:ln>
                  <a:noFill/>
                </a:ln>
                <a:effectLst>
                  <a:outerShdw blurRad="266700" dist="228600" dir="2700000" algn="tl" rotWithShape="0">
                    <a:schemeClr val="accent4">
                      <a:alpha val="1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等线" panose="020F0502020204030204"/>
                    <a:ea typeface="+mn-ea"/>
                    <a:cs typeface="+mn-cs"/>
                  </a:endParaRPr>
                </a:p>
              </p:txBody>
            </p:sp>
            <p:sp>
              <p:nvSpPr>
                <p:cNvPr id="11" name="Isosceles Triangle 106">
                  <a:extLst>
                    <a:ext uri="{FF2B5EF4-FFF2-40B4-BE49-F238E27FC236}">
                      <a16:creationId xmlns:a16="http://schemas.microsoft.com/office/drawing/2014/main" id="{335CB77A-D354-4DF0-AEBE-8B14EF71A4E3}"/>
                    </a:ext>
                  </a:extLst>
                </p:cNvPr>
                <p:cNvSpPr/>
                <p:nvPr/>
              </p:nvSpPr>
              <p:spPr>
                <a:xfrm flipV="1">
                  <a:off x="5285917" y="1076736"/>
                  <a:ext cx="132186" cy="191962"/>
                </a:xfrm>
                <a:prstGeom prst="triangl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lumMod val="85000"/>
                        <a:lumOff val="15000"/>
                      </a:srgbClr>
                    </a:solidFill>
                    <a:effectLst/>
                    <a:uLnTx/>
                    <a:uFillTx/>
                    <a:latin typeface="Nexa Bold" panose="02000000000000000000" pitchFamily="50" charset="0"/>
                    <a:ea typeface="+mn-ea"/>
                    <a:cs typeface="+mn-cs"/>
                  </a:endParaRPr>
                </a:p>
              </p:txBody>
            </p:sp>
            <p:sp>
              <p:nvSpPr>
                <p:cNvPr id="12" name="Rectangle 107">
                  <a:extLst>
                    <a:ext uri="{FF2B5EF4-FFF2-40B4-BE49-F238E27FC236}">
                      <a16:creationId xmlns:a16="http://schemas.microsoft.com/office/drawing/2014/main" id="{6618FD74-B58F-4960-8B38-78BBD6268794}"/>
                    </a:ext>
                  </a:extLst>
                </p:cNvPr>
                <p:cNvSpPr/>
                <p:nvPr/>
              </p:nvSpPr>
              <p:spPr>
                <a:xfrm>
                  <a:off x="5621981" y="940231"/>
                  <a:ext cx="1416344" cy="333617"/>
                </a:xfrm>
                <a:prstGeom prst="rect">
                  <a:avLst/>
                </a:prstGeom>
              </p:spPr>
              <p:txBody>
                <a:bodyPr wrap="square">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8F38FF"/>
                      </a:solidFill>
                      <a:effectLst/>
                      <a:uLnTx/>
                      <a:uFillTx/>
                      <a:latin typeface="等线" panose="020F0502020204030204"/>
                      <a:ea typeface="+mn-ea"/>
                      <a:cs typeface="Segoe UI" panose="020B0502040204020203" pitchFamily="34" charset="0"/>
                    </a:rPr>
                    <a:t>Your Text Here</a:t>
                  </a:r>
                </a:p>
              </p:txBody>
            </p:sp>
            <p:sp>
              <p:nvSpPr>
                <p:cNvPr id="13" name="Rectangle 108">
                  <a:extLst>
                    <a:ext uri="{FF2B5EF4-FFF2-40B4-BE49-F238E27FC236}">
                      <a16:creationId xmlns:a16="http://schemas.microsoft.com/office/drawing/2014/main" id="{F82BF5D7-CF25-48B0-A298-85FC71802C23}"/>
                    </a:ext>
                  </a:extLst>
                </p:cNvPr>
                <p:cNvSpPr/>
                <p:nvPr/>
              </p:nvSpPr>
              <p:spPr>
                <a:xfrm>
                  <a:off x="5621980" y="1226300"/>
                  <a:ext cx="1926503" cy="592150"/>
                </a:xfrm>
                <a:prstGeom prst="rect">
                  <a:avLst/>
                </a:prstGeom>
              </p:spPr>
              <p:txBody>
                <a:bodyPr wrap="square">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lumMod val="65000"/>
                          <a:lumOff val="35000"/>
                        </a:srgbClr>
                      </a:solidFill>
                      <a:effectLst/>
                      <a:uLnTx/>
                      <a:uFillTx/>
                      <a:latin typeface="等线 Light" panose="020F0302020204030204"/>
                      <a:ea typeface="+mn-ea"/>
                      <a:cs typeface="Segoe UI Light" panose="020B0502040204020203" pitchFamily="34" charset="0"/>
                    </a:rPr>
                    <a:t>A wonderful serenity has taken possession</a:t>
                  </a:r>
                </a:p>
              </p:txBody>
            </p:sp>
            <p:sp>
              <p:nvSpPr>
                <p:cNvPr id="14" name="Rectangle 109">
                  <a:extLst>
                    <a:ext uri="{FF2B5EF4-FFF2-40B4-BE49-F238E27FC236}">
                      <a16:creationId xmlns:a16="http://schemas.microsoft.com/office/drawing/2014/main" id="{0AAB1A6F-B61F-4FCC-B7EE-DBAAC7053C5B}"/>
                    </a:ext>
                  </a:extLst>
                </p:cNvPr>
                <p:cNvSpPr/>
                <p:nvPr/>
              </p:nvSpPr>
              <p:spPr>
                <a:xfrm rot="20666922">
                  <a:off x="4991830" y="1252424"/>
                  <a:ext cx="720360" cy="427425"/>
                </a:xfrm>
                <a:prstGeom prst="rect">
                  <a:avLst/>
                </a:prstGeom>
              </p:spPr>
              <p:txBody>
                <a:bodyPr wrap="square">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8F38FF"/>
                      </a:solidFill>
                      <a:effectLst/>
                      <a:uLnTx/>
                      <a:uFillTx/>
                      <a:latin typeface="Segoe UI" panose="020B0502040204020203" pitchFamily="34" charset="0"/>
                      <a:ea typeface="+mn-ea"/>
                      <a:cs typeface="Segoe UI" panose="020B0502040204020203" pitchFamily="34" charset="0"/>
                    </a:rPr>
                    <a:t>45%</a:t>
                  </a:r>
                </a:p>
              </p:txBody>
            </p:sp>
          </p:grpSp>
        </p:grpSp>
        <p:sp>
          <p:nvSpPr>
            <p:cNvPr id="4" name="Rectangle 110">
              <a:extLst>
                <a:ext uri="{FF2B5EF4-FFF2-40B4-BE49-F238E27FC236}">
                  <a16:creationId xmlns:a16="http://schemas.microsoft.com/office/drawing/2014/main" id="{4B8A5C63-B84D-411E-BDD9-139B40980A34}"/>
                </a:ext>
              </a:extLst>
            </p:cNvPr>
            <p:cNvSpPr/>
            <p:nvPr/>
          </p:nvSpPr>
          <p:spPr>
            <a:xfrm>
              <a:off x="615918" y="1207985"/>
              <a:ext cx="2777835" cy="1920526"/>
            </a:xfrm>
            <a:prstGeom prst="rect">
              <a:avLst/>
            </a:prstGeom>
          </p:spPr>
          <p:txBody>
            <a:bodyPr wrap="square">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4400" b="1" i="0" u="none" strike="noStrike" kern="1200" cap="none" spc="0" normalizeH="0" baseline="0" noProof="0" dirty="0">
                  <a:ln>
                    <a:noFill/>
                  </a:ln>
                  <a:solidFill>
                    <a:srgbClr val="000000">
                      <a:lumMod val="75000"/>
                      <a:lumOff val="25000"/>
                    </a:srgbClr>
                  </a:solidFill>
                  <a:effectLst/>
                  <a:uLnTx/>
                  <a:uFillTx/>
                  <a:latin typeface="Segoe UI" panose="020B0502040204020203" pitchFamily="34" charset="0"/>
                  <a:ea typeface="+mn-ea"/>
                  <a:cs typeface="Segoe UI" panose="020B0502040204020203" pitchFamily="34" charset="0"/>
                </a:rPr>
                <a:t>Visual Decision Tree </a:t>
              </a:r>
            </a:p>
          </p:txBody>
        </p:sp>
      </p:grpSp>
    </p:spTree>
    <p:extLst>
      <p:ext uri="{BB962C8B-B14F-4D97-AF65-F5344CB8AC3E}">
        <p14:creationId xmlns:p14="http://schemas.microsoft.com/office/powerpoint/2010/main" val="3207625732"/>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6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14">
            <a:extLst>
              <a:ext uri="{FF2B5EF4-FFF2-40B4-BE49-F238E27FC236}">
                <a16:creationId xmlns:a16="http://schemas.microsoft.com/office/drawing/2014/main" id="{0E3C7810-85E2-429B-A46D-774C68DE58A9}"/>
              </a:ext>
            </a:extLst>
          </p:cNvPr>
          <p:cNvSpPr txBox="1"/>
          <p:nvPr/>
        </p:nvSpPr>
        <p:spPr>
          <a:xfrm>
            <a:off x="927438" y="658563"/>
            <a:ext cx="5548428" cy="76944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400" b="1" i="0" u="none" strike="noStrike" kern="1200" cap="none" spc="0" normalizeH="0" baseline="0" noProof="0" dirty="0">
                <a:ln>
                  <a:noFill/>
                </a:ln>
                <a:solidFill>
                  <a:srgbClr val="000000">
                    <a:lumMod val="75000"/>
                    <a:lumOff val="25000"/>
                  </a:srgbClr>
                </a:solidFill>
                <a:effectLst/>
                <a:uLnTx/>
                <a:uFillTx/>
                <a:latin typeface="Segoe UI" panose="020B0502040204020203" pitchFamily="34" charset="0"/>
                <a:ea typeface="+mn-ea"/>
                <a:cs typeface="Segoe UI" panose="020B0502040204020203" pitchFamily="34" charset="0"/>
              </a:rPr>
              <a:t>4 Step Tree Diagram</a:t>
            </a:r>
          </a:p>
        </p:txBody>
      </p:sp>
      <p:grpSp>
        <p:nvGrpSpPr>
          <p:cNvPr id="3" name="Group 32">
            <a:extLst>
              <a:ext uri="{FF2B5EF4-FFF2-40B4-BE49-F238E27FC236}">
                <a16:creationId xmlns:a16="http://schemas.microsoft.com/office/drawing/2014/main" id="{77E2BF17-7284-4B98-B741-CC7733613BB4}"/>
              </a:ext>
            </a:extLst>
          </p:cNvPr>
          <p:cNvGrpSpPr/>
          <p:nvPr/>
        </p:nvGrpSpPr>
        <p:grpSpPr>
          <a:xfrm>
            <a:off x="1084038" y="1421962"/>
            <a:ext cx="10023924" cy="5459885"/>
            <a:chOff x="1084038" y="951698"/>
            <a:chExt cx="10023924" cy="5459885"/>
          </a:xfrm>
        </p:grpSpPr>
        <p:sp>
          <p:nvSpPr>
            <p:cNvPr id="4" name="Freeform 1">
              <a:extLst>
                <a:ext uri="{FF2B5EF4-FFF2-40B4-BE49-F238E27FC236}">
                  <a16:creationId xmlns:a16="http://schemas.microsoft.com/office/drawing/2014/main" id="{78869ED9-5D69-4B7C-9C92-30D3FCF2C4EA}"/>
                </a:ext>
              </a:extLst>
            </p:cNvPr>
            <p:cNvSpPr>
              <a:spLocks/>
            </p:cNvSpPr>
            <p:nvPr/>
          </p:nvSpPr>
          <p:spPr bwMode="auto">
            <a:xfrm>
              <a:off x="4862432" y="3498412"/>
              <a:ext cx="2499966" cy="2913171"/>
            </a:xfrm>
            <a:custGeom>
              <a:avLst/>
              <a:gdLst>
                <a:gd name="T0" fmla="*/ 197 w 454"/>
                <a:gd name="T1" fmla="*/ 254 h 569"/>
                <a:gd name="T2" fmla="*/ 200 w 454"/>
                <a:gd name="T3" fmla="*/ 449 h 569"/>
                <a:gd name="T4" fmla="*/ 148 w 454"/>
                <a:gd name="T5" fmla="*/ 559 h 569"/>
                <a:gd name="T6" fmla="*/ 122 w 454"/>
                <a:gd name="T7" fmla="*/ 569 h 569"/>
                <a:gd name="T8" fmla="*/ 339 w 454"/>
                <a:gd name="T9" fmla="*/ 569 h 569"/>
                <a:gd name="T10" fmla="*/ 304 w 454"/>
                <a:gd name="T11" fmla="*/ 557 h 569"/>
                <a:gd name="T12" fmla="*/ 277 w 454"/>
                <a:gd name="T13" fmla="*/ 354 h 569"/>
                <a:gd name="T14" fmla="*/ 282 w 454"/>
                <a:gd name="T15" fmla="*/ 261 h 569"/>
                <a:gd name="T16" fmla="*/ 315 w 454"/>
                <a:gd name="T17" fmla="*/ 247 h 569"/>
                <a:gd name="T18" fmla="*/ 454 w 454"/>
                <a:gd name="T19" fmla="*/ 120 h 569"/>
                <a:gd name="T20" fmla="*/ 451 w 454"/>
                <a:gd name="T21" fmla="*/ 117 h 569"/>
                <a:gd name="T22" fmla="*/ 451 w 454"/>
                <a:gd name="T23" fmla="*/ 117 h 569"/>
                <a:gd name="T24" fmla="*/ 389 w 454"/>
                <a:gd name="T25" fmla="*/ 164 h 569"/>
                <a:gd name="T26" fmla="*/ 400 w 454"/>
                <a:gd name="T27" fmla="*/ 82 h 569"/>
                <a:gd name="T28" fmla="*/ 399 w 454"/>
                <a:gd name="T29" fmla="*/ 82 h 569"/>
                <a:gd name="T30" fmla="*/ 398 w 454"/>
                <a:gd name="T31" fmla="*/ 82 h 569"/>
                <a:gd name="T32" fmla="*/ 362 w 454"/>
                <a:gd name="T33" fmla="*/ 182 h 569"/>
                <a:gd name="T34" fmla="*/ 257 w 454"/>
                <a:gd name="T35" fmla="*/ 234 h 569"/>
                <a:gd name="T36" fmla="*/ 241 w 454"/>
                <a:gd name="T37" fmla="*/ 146 h 569"/>
                <a:gd name="T38" fmla="*/ 296 w 454"/>
                <a:gd name="T39" fmla="*/ 54 h 569"/>
                <a:gd name="T40" fmla="*/ 295 w 454"/>
                <a:gd name="T41" fmla="*/ 54 h 569"/>
                <a:gd name="T42" fmla="*/ 294 w 454"/>
                <a:gd name="T43" fmla="*/ 52 h 569"/>
                <a:gd name="T44" fmla="*/ 238 w 454"/>
                <a:gd name="T45" fmla="*/ 113 h 569"/>
                <a:gd name="T46" fmla="*/ 235 w 454"/>
                <a:gd name="T47" fmla="*/ 35 h 569"/>
                <a:gd name="T48" fmla="*/ 235 w 454"/>
                <a:gd name="T49" fmla="*/ 35 h 569"/>
                <a:gd name="T50" fmla="*/ 230 w 454"/>
                <a:gd name="T51" fmla="*/ 35 h 569"/>
                <a:gd name="T52" fmla="*/ 219 w 454"/>
                <a:gd name="T53" fmla="*/ 223 h 569"/>
                <a:gd name="T54" fmla="*/ 122 w 454"/>
                <a:gd name="T55" fmla="*/ 132 h 569"/>
                <a:gd name="T56" fmla="*/ 137 w 454"/>
                <a:gd name="T57" fmla="*/ 64 h 569"/>
                <a:gd name="T58" fmla="*/ 135 w 454"/>
                <a:gd name="T59" fmla="*/ 63 h 569"/>
                <a:gd name="T60" fmla="*/ 135 w 454"/>
                <a:gd name="T61" fmla="*/ 63 h 569"/>
                <a:gd name="T62" fmla="*/ 113 w 454"/>
                <a:gd name="T63" fmla="*/ 118 h 569"/>
                <a:gd name="T64" fmla="*/ 52 w 454"/>
                <a:gd name="T65" fmla="*/ 1 h 569"/>
                <a:gd name="T66" fmla="*/ 50 w 454"/>
                <a:gd name="T67" fmla="*/ 0 h 569"/>
                <a:gd name="T68" fmla="*/ 46 w 454"/>
                <a:gd name="T69" fmla="*/ 1 h 569"/>
                <a:gd name="T70" fmla="*/ 74 w 454"/>
                <a:gd name="T71" fmla="*/ 91 h 569"/>
                <a:gd name="T72" fmla="*/ 74 w 454"/>
                <a:gd name="T73" fmla="*/ 91 h 569"/>
                <a:gd name="T74" fmla="*/ 149 w 454"/>
                <a:gd name="T75" fmla="*/ 208 h 569"/>
                <a:gd name="T76" fmla="*/ 3 w 454"/>
                <a:gd name="T77" fmla="*/ 195 h 569"/>
                <a:gd name="T78" fmla="*/ 3 w 454"/>
                <a:gd name="T79" fmla="*/ 196 h 569"/>
                <a:gd name="T80" fmla="*/ 0 w 454"/>
                <a:gd name="T81" fmla="*/ 201 h 569"/>
                <a:gd name="T82" fmla="*/ 172 w 454"/>
                <a:gd name="T83" fmla="*/ 237 h 569"/>
                <a:gd name="T84" fmla="*/ 197 w 454"/>
                <a:gd name="T85" fmla="*/ 254 h 5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54" h="569">
                  <a:moveTo>
                    <a:pt x="197" y="254"/>
                  </a:moveTo>
                  <a:cubicBezTo>
                    <a:pt x="209" y="304"/>
                    <a:pt x="213" y="368"/>
                    <a:pt x="200" y="449"/>
                  </a:cubicBezTo>
                  <a:cubicBezTo>
                    <a:pt x="191" y="518"/>
                    <a:pt x="199" y="559"/>
                    <a:pt x="148" y="559"/>
                  </a:cubicBezTo>
                  <a:cubicBezTo>
                    <a:pt x="148" y="559"/>
                    <a:pt x="138" y="555"/>
                    <a:pt x="122" y="569"/>
                  </a:cubicBezTo>
                  <a:cubicBezTo>
                    <a:pt x="339" y="569"/>
                    <a:pt x="339" y="569"/>
                    <a:pt x="339" y="569"/>
                  </a:cubicBezTo>
                  <a:cubicBezTo>
                    <a:pt x="328" y="564"/>
                    <a:pt x="315" y="559"/>
                    <a:pt x="304" y="557"/>
                  </a:cubicBezTo>
                  <a:cubicBezTo>
                    <a:pt x="292" y="529"/>
                    <a:pt x="279" y="475"/>
                    <a:pt x="277" y="354"/>
                  </a:cubicBezTo>
                  <a:cubicBezTo>
                    <a:pt x="276" y="318"/>
                    <a:pt x="278" y="287"/>
                    <a:pt x="282" y="261"/>
                  </a:cubicBezTo>
                  <a:cubicBezTo>
                    <a:pt x="315" y="247"/>
                    <a:pt x="315" y="247"/>
                    <a:pt x="315" y="247"/>
                  </a:cubicBezTo>
                  <a:cubicBezTo>
                    <a:pt x="404" y="194"/>
                    <a:pt x="433" y="147"/>
                    <a:pt x="454" y="120"/>
                  </a:cubicBezTo>
                  <a:cubicBezTo>
                    <a:pt x="451" y="117"/>
                    <a:pt x="451" y="117"/>
                    <a:pt x="451" y="117"/>
                  </a:cubicBezTo>
                  <a:cubicBezTo>
                    <a:pt x="451" y="117"/>
                    <a:pt x="451" y="117"/>
                    <a:pt x="451" y="117"/>
                  </a:cubicBezTo>
                  <a:cubicBezTo>
                    <a:pt x="428" y="135"/>
                    <a:pt x="407" y="151"/>
                    <a:pt x="389" y="164"/>
                  </a:cubicBezTo>
                  <a:cubicBezTo>
                    <a:pt x="396" y="133"/>
                    <a:pt x="398" y="121"/>
                    <a:pt x="400" y="82"/>
                  </a:cubicBezTo>
                  <a:cubicBezTo>
                    <a:pt x="399" y="82"/>
                    <a:pt x="399" y="82"/>
                    <a:pt x="399" y="82"/>
                  </a:cubicBezTo>
                  <a:cubicBezTo>
                    <a:pt x="399" y="82"/>
                    <a:pt x="398" y="82"/>
                    <a:pt x="398" y="82"/>
                  </a:cubicBezTo>
                  <a:cubicBezTo>
                    <a:pt x="393" y="101"/>
                    <a:pt x="379" y="147"/>
                    <a:pt x="362" y="182"/>
                  </a:cubicBezTo>
                  <a:cubicBezTo>
                    <a:pt x="312" y="215"/>
                    <a:pt x="278" y="228"/>
                    <a:pt x="257" y="234"/>
                  </a:cubicBezTo>
                  <a:cubicBezTo>
                    <a:pt x="251" y="213"/>
                    <a:pt x="245" y="185"/>
                    <a:pt x="241" y="146"/>
                  </a:cubicBezTo>
                  <a:cubicBezTo>
                    <a:pt x="257" y="110"/>
                    <a:pt x="284" y="70"/>
                    <a:pt x="296" y="54"/>
                  </a:cubicBezTo>
                  <a:cubicBezTo>
                    <a:pt x="295" y="54"/>
                    <a:pt x="295" y="54"/>
                    <a:pt x="295" y="54"/>
                  </a:cubicBezTo>
                  <a:cubicBezTo>
                    <a:pt x="294" y="52"/>
                    <a:pt x="294" y="52"/>
                    <a:pt x="294" y="52"/>
                  </a:cubicBezTo>
                  <a:cubicBezTo>
                    <a:pt x="265" y="79"/>
                    <a:pt x="258" y="88"/>
                    <a:pt x="238" y="113"/>
                  </a:cubicBezTo>
                  <a:cubicBezTo>
                    <a:pt x="236" y="91"/>
                    <a:pt x="235" y="64"/>
                    <a:pt x="235" y="35"/>
                  </a:cubicBezTo>
                  <a:cubicBezTo>
                    <a:pt x="235" y="35"/>
                    <a:pt x="235" y="35"/>
                    <a:pt x="235" y="35"/>
                  </a:cubicBezTo>
                  <a:cubicBezTo>
                    <a:pt x="230" y="35"/>
                    <a:pt x="230" y="35"/>
                    <a:pt x="230" y="35"/>
                  </a:cubicBezTo>
                  <a:cubicBezTo>
                    <a:pt x="223" y="69"/>
                    <a:pt x="210" y="143"/>
                    <a:pt x="219" y="223"/>
                  </a:cubicBezTo>
                  <a:cubicBezTo>
                    <a:pt x="219" y="223"/>
                    <a:pt x="175" y="205"/>
                    <a:pt x="122" y="132"/>
                  </a:cubicBezTo>
                  <a:cubicBezTo>
                    <a:pt x="123" y="120"/>
                    <a:pt x="125" y="90"/>
                    <a:pt x="137" y="64"/>
                  </a:cubicBezTo>
                  <a:cubicBezTo>
                    <a:pt x="135" y="63"/>
                    <a:pt x="135" y="63"/>
                    <a:pt x="135" y="63"/>
                  </a:cubicBezTo>
                  <a:cubicBezTo>
                    <a:pt x="135" y="63"/>
                    <a:pt x="135" y="63"/>
                    <a:pt x="135" y="63"/>
                  </a:cubicBezTo>
                  <a:cubicBezTo>
                    <a:pt x="127" y="75"/>
                    <a:pt x="118" y="94"/>
                    <a:pt x="113" y="118"/>
                  </a:cubicBezTo>
                  <a:cubicBezTo>
                    <a:pt x="93" y="88"/>
                    <a:pt x="72" y="50"/>
                    <a:pt x="52" y="1"/>
                  </a:cubicBezTo>
                  <a:cubicBezTo>
                    <a:pt x="51" y="1"/>
                    <a:pt x="51" y="1"/>
                    <a:pt x="50" y="0"/>
                  </a:cubicBezTo>
                  <a:cubicBezTo>
                    <a:pt x="46" y="1"/>
                    <a:pt x="46" y="1"/>
                    <a:pt x="46" y="1"/>
                  </a:cubicBezTo>
                  <a:cubicBezTo>
                    <a:pt x="49" y="17"/>
                    <a:pt x="74" y="91"/>
                    <a:pt x="74" y="91"/>
                  </a:cubicBezTo>
                  <a:cubicBezTo>
                    <a:pt x="74" y="91"/>
                    <a:pt x="74" y="91"/>
                    <a:pt x="74" y="91"/>
                  </a:cubicBezTo>
                  <a:cubicBezTo>
                    <a:pt x="91" y="132"/>
                    <a:pt x="115" y="175"/>
                    <a:pt x="149" y="208"/>
                  </a:cubicBezTo>
                  <a:cubicBezTo>
                    <a:pt x="149" y="208"/>
                    <a:pt x="89" y="222"/>
                    <a:pt x="3" y="195"/>
                  </a:cubicBezTo>
                  <a:cubicBezTo>
                    <a:pt x="3" y="196"/>
                    <a:pt x="3" y="196"/>
                    <a:pt x="3" y="196"/>
                  </a:cubicBezTo>
                  <a:cubicBezTo>
                    <a:pt x="0" y="201"/>
                    <a:pt x="0" y="201"/>
                    <a:pt x="0" y="201"/>
                  </a:cubicBezTo>
                  <a:cubicBezTo>
                    <a:pt x="37" y="218"/>
                    <a:pt x="97" y="238"/>
                    <a:pt x="172" y="237"/>
                  </a:cubicBezTo>
                  <a:cubicBezTo>
                    <a:pt x="178" y="238"/>
                    <a:pt x="187" y="243"/>
                    <a:pt x="197" y="254"/>
                  </a:cubicBezTo>
                  <a:close/>
                </a:path>
              </a:pathLst>
            </a:custGeom>
            <a:solidFill>
              <a:schemeClr val="bg2">
                <a:lumMod val="85000"/>
                <a:lumOff val="1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5" name="Freeform 7">
              <a:extLst>
                <a:ext uri="{FF2B5EF4-FFF2-40B4-BE49-F238E27FC236}">
                  <a16:creationId xmlns:a16="http://schemas.microsoft.com/office/drawing/2014/main" id="{215E8B96-2F24-4CC9-AA66-67A59EAAE1E0}"/>
                </a:ext>
              </a:extLst>
            </p:cNvPr>
            <p:cNvSpPr>
              <a:spLocks/>
            </p:cNvSpPr>
            <p:nvPr/>
          </p:nvSpPr>
          <p:spPr bwMode="auto">
            <a:xfrm rot="7742864">
              <a:off x="4504659" y="2093892"/>
              <a:ext cx="1679943" cy="1823861"/>
            </a:xfrm>
            <a:custGeom>
              <a:avLst/>
              <a:gdLst>
                <a:gd name="T0" fmla="*/ 1068 w 1069"/>
                <a:gd name="T1" fmla="*/ 123 h 1161"/>
                <a:gd name="T2" fmla="*/ 1066 w 1069"/>
                <a:gd name="T3" fmla="*/ 46 h 1161"/>
                <a:gd name="T4" fmla="*/ 250 w 1069"/>
                <a:gd name="T5" fmla="*/ 295 h 1161"/>
                <a:gd name="T6" fmla="*/ 0 w 1069"/>
                <a:gd name="T7" fmla="*/ 1026 h 1161"/>
                <a:gd name="T8" fmla="*/ 2 w 1069"/>
                <a:gd name="T9" fmla="*/ 1114 h 1161"/>
                <a:gd name="T10" fmla="*/ 818 w 1069"/>
                <a:gd name="T11" fmla="*/ 866 h 1161"/>
                <a:gd name="T12" fmla="*/ 944 w 1069"/>
                <a:gd name="T13" fmla="*/ 692 h 1161"/>
                <a:gd name="T14" fmla="*/ 994 w 1069"/>
                <a:gd name="T15" fmla="*/ 579 h 1161"/>
                <a:gd name="T16" fmla="*/ 1068 w 1069"/>
                <a:gd name="T17" fmla="*/ 123 h 1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69" h="1161">
                  <a:moveTo>
                    <a:pt x="1068" y="123"/>
                  </a:moveTo>
                  <a:cubicBezTo>
                    <a:pt x="1068" y="75"/>
                    <a:pt x="1066" y="46"/>
                    <a:pt x="1066" y="46"/>
                  </a:cubicBezTo>
                  <a:cubicBezTo>
                    <a:pt x="1066" y="46"/>
                    <a:pt x="544" y="0"/>
                    <a:pt x="250" y="295"/>
                  </a:cubicBezTo>
                  <a:cubicBezTo>
                    <a:pt x="31" y="516"/>
                    <a:pt x="1" y="864"/>
                    <a:pt x="0" y="1026"/>
                  </a:cubicBezTo>
                  <a:cubicBezTo>
                    <a:pt x="0" y="1081"/>
                    <a:pt x="2" y="1114"/>
                    <a:pt x="2" y="1114"/>
                  </a:cubicBezTo>
                  <a:cubicBezTo>
                    <a:pt x="2" y="1114"/>
                    <a:pt x="525" y="1161"/>
                    <a:pt x="818" y="866"/>
                  </a:cubicBezTo>
                  <a:cubicBezTo>
                    <a:pt x="870" y="814"/>
                    <a:pt x="911" y="754"/>
                    <a:pt x="944" y="692"/>
                  </a:cubicBezTo>
                  <a:cubicBezTo>
                    <a:pt x="963" y="655"/>
                    <a:pt x="980" y="617"/>
                    <a:pt x="994" y="579"/>
                  </a:cubicBezTo>
                  <a:cubicBezTo>
                    <a:pt x="1058" y="402"/>
                    <a:pt x="1069" y="222"/>
                    <a:pt x="1068" y="123"/>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6" name="Freeform 15">
              <a:extLst>
                <a:ext uri="{FF2B5EF4-FFF2-40B4-BE49-F238E27FC236}">
                  <a16:creationId xmlns:a16="http://schemas.microsoft.com/office/drawing/2014/main" id="{18B04D60-FECC-404D-95FE-DA38B62E352E}"/>
                </a:ext>
              </a:extLst>
            </p:cNvPr>
            <p:cNvSpPr>
              <a:spLocks/>
            </p:cNvSpPr>
            <p:nvPr/>
          </p:nvSpPr>
          <p:spPr bwMode="auto">
            <a:xfrm rot="9355996">
              <a:off x="5875485" y="2131885"/>
              <a:ext cx="1679943" cy="1823861"/>
            </a:xfrm>
            <a:custGeom>
              <a:avLst/>
              <a:gdLst>
                <a:gd name="T0" fmla="*/ 1068 w 1069"/>
                <a:gd name="T1" fmla="*/ 123 h 1161"/>
                <a:gd name="T2" fmla="*/ 1066 w 1069"/>
                <a:gd name="T3" fmla="*/ 46 h 1161"/>
                <a:gd name="T4" fmla="*/ 250 w 1069"/>
                <a:gd name="T5" fmla="*/ 295 h 1161"/>
                <a:gd name="T6" fmla="*/ 0 w 1069"/>
                <a:gd name="T7" fmla="*/ 1026 h 1161"/>
                <a:gd name="T8" fmla="*/ 2 w 1069"/>
                <a:gd name="T9" fmla="*/ 1114 h 1161"/>
                <a:gd name="T10" fmla="*/ 818 w 1069"/>
                <a:gd name="T11" fmla="*/ 866 h 1161"/>
                <a:gd name="T12" fmla="*/ 944 w 1069"/>
                <a:gd name="T13" fmla="*/ 692 h 1161"/>
                <a:gd name="T14" fmla="*/ 994 w 1069"/>
                <a:gd name="T15" fmla="*/ 579 h 1161"/>
                <a:gd name="T16" fmla="*/ 1068 w 1069"/>
                <a:gd name="T17" fmla="*/ 123 h 1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69" h="1161">
                  <a:moveTo>
                    <a:pt x="1068" y="123"/>
                  </a:moveTo>
                  <a:cubicBezTo>
                    <a:pt x="1068" y="75"/>
                    <a:pt x="1066" y="46"/>
                    <a:pt x="1066" y="46"/>
                  </a:cubicBezTo>
                  <a:cubicBezTo>
                    <a:pt x="1066" y="46"/>
                    <a:pt x="544" y="0"/>
                    <a:pt x="250" y="295"/>
                  </a:cubicBezTo>
                  <a:cubicBezTo>
                    <a:pt x="31" y="516"/>
                    <a:pt x="1" y="864"/>
                    <a:pt x="0" y="1026"/>
                  </a:cubicBezTo>
                  <a:cubicBezTo>
                    <a:pt x="0" y="1081"/>
                    <a:pt x="2" y="1114"/>
                    <a:pt x="2" y="1114"/>
                  </a:cubicBezTo>
                  <a:cubicBezTo>
                    <a:pt x="2" y="1114"/>
                    <a:pt x="525" y="1161"/>
                    <a:pt x="818" y="866"/>
                  </a:cubicBezTo>
                  <a:cubicBezTo>
                    <a:pt x="870" y="814"/>
                    <a:pt x="911" y="754"/>
                    <a:pt x="944" y="692"/>
                  </a:cubicBezTo>
                  <a:cubicBezTo>
                    <a:pt x="963" y="655"/>
                    <a:pt x="980" y="617"/>
                    <a:pt x="994" y="579"/>
                  </a:cubicBezTo>
                  <a:cubicBezTo>
                    <a:pt x="1058" y="402"/>
                    <a:pt x="1069" y="222"/>
                    <a:pt x="1068" y="123"/>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7" name="Freeform 21">
              <a:extLst>
                <a:ext uri="{FF2B5EF4-FFF2-40B4-BE49-F238E27FC236}">
                  <a16:creationId xmlns:a16="http://schemas.microsoft.com/office/drawing/2014/main" id="{DA87131C-063A-4195-88DC-75A6CEA278F2}"/>
                </a:ext>
              </a:extLst>
            </p:cNvPr>
            <p:cNvSpPr>
              <a:spLocks/>
            </p:cNvSpPr>
            <p:nvPr/>
          </p:nvSpPr>
          <p:spPr bwMode="auto">
            <a:xfrm rot="10800000">
              <a:off x="7152176" y="2589833"/>
              <a:ext cx="1679943" cy="1823861"/>
            </a:xfrm>
            <a:custGeom>
              <a:avLst/>
              <a:gdLst>
                <a:gd name="T0" fmla="*/ 1068 w 1069"/>
                <a:gd name="T1" fmla="*/ 123 h 1161"/>
                <a:gd name="T2" fmla="*/ 1066 w 1069"/>
                <a:gd name="T3" fmla="*/ 46 h 1161"/>
                <a:gd name="T4" fmla="*/ 250 w 1069"/>
                <a:gd name="T5" fmla="*/ 295 h 1161"/>
                <a:gd name="T6" fmla="*/ 0 w 1069"/>
                <a:gd name="T7" fmla="*/ 1026 h 1161"/>
                <a:gd name="T8" fmla="*/ 2 w 1069"/>
                <a:gd name="T9" fmla="*/ 1114 h 1161"/>
                <a:gd name="T10" fmla="*/ 818 w 1069"/>
                <a:gd name="T11" fmla="*/ 866 h 1161"/>
                <a:gd name="T12" fmla="*/ 944 w 1069"/>
                <a:gd name="T13" fmla="*/ 692 h 1161"/>
                <a:gd name="T14" fmla="*/ 994 w 1069"/>
                <a:gd name="T15" fmla="*/ 579 h 1161"/>
                <a:gd name="T16" fmla="*/ 1068 w 1069"/>
                <a:gd name="T17" fmla="*/ 123 h 1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69" h="1161">
                  <a:moveTo>
                    <a:pt x="1068" y="123"/>
                  </a:moveTo>
                  <a:cubicBezTo>
                    <a:pt x="1068" y="75"/>
                    <a:pt x="1066" y="46"/>
                    <a:pt x="1066" y="46"/>
                  </a:cubicBezTo>
                  <a:cubicBezTo>
                    <a:pt x="1066" y="46"/>
                    <a:pt x="544" y="0"/>
                    <a:pt x="250" y="295"/>
                  </a:cubicBezTo>
                  <a:cubicBezTo>
                    <a:pt x="31" y="516"/>
                    <a:pt x="1" y="864"/>
                    <a:pt x="0" y="1026"/>
                  </a:cubicBezTo>
                  <a:cubicBezTo>
                    <a:pt x="0" y="1081"/>
                    <a:pt x="2" y="1114"/>
                    <a:pt x="2" y="1114"/>
                  </a:cubicBezTo>
                  <a:cubicBezTo>
                    <a:pt x="2" y="1114"/>
                    <a:pt x="525" y="1161"/>
                    <a:pt x="818" y="866"/>
                  </a:cubicBezTo>
                  <a:cubicBezTo>
                    <a:pt x="870" y="814"/>
                    <a:pt x="911" y="754"/>
                    <a:pt x="944" y="692"/>
                  </a:cubicBezTo>
                  <a:cubicBezTo>
                    <a:pt x="963" y="655"/>
                    <a:pt x="980" y="617"/>
                    <a:pt x="994" y="579"/>
                  </a:cubicBezTo>
                  <a:cubicBezTo>
                    <a:pt x="1058" y="402"/>
                    <a:pt x="1069" y="222"/>
                    <a:pt x="1068" y="123"/>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8" name="Freeform 27">
              <a:extLst>
                <a:ext uri="{FF2B5EF4-FFF2-40B4-BE49-F238E27FC236}">
                  <a16:creationId xmlns:a16="http://schemas.microsoft.com/office/drawing/2014/main" id="{418CD81B-EF58-404C-9BC6-CF333CEDC0C4}"/>
                </a:ext>
              </a:extLst>
            </p:cNvPr>
            <p:cNvSpPr>
              <a:spLocks/>
            </p:cNvSpPr>
            <p:nvPr/>
          </p:nvSpPr>
          <p:spPr bwMode="auto">
            <a:xfrm rot="5696320">
              <a:off x="4728738" y="3528287"/>
              <a:ext cx="1003563" cy="1089537"/>
            </a:xfrm>
            <a:custGeom>
              <a:avLst/>
              <a:gdLst>
                <a:gd name="T0" fmla="*/ 1068 w 1069"/>
                <a:gd name="T1" fmla="*/ 123 h 1161"/>
                <a:gd name="T2" fmla="*/ 1066 w 1069"/>
                <a:gd name="T3" fmla="*/ 46 h 1161"/>
                <a:gd name="T4" fmla="*/ 250 w 1069"/>
                <a:gd name="T5" fmla="*/ 295 h 1161"/>
                <a:gd name="T6" fmla="*/ 0 w 1069"/>
                <a:gd name="T7" fmla="*/ 1026 h 1161"/>
                <a:gd name="T8" fmla="*/ 2 w 1069"/>
                <a:gd name="T9" fmla="*/ 1114 h 1161"/>
                <a:gd name="T10" fmla="*/ 818 w 1069"/>
                <a:gd name="T11" fmla="*/ 866 h 1161"/>
                <a:gd name="T12" fmla="*/ 944 w 1069"/>
                <a:gd name="T13" fmla="*/ 692 h 1161"/>
                <a:gd name="T14" fmla="*/ 994 w 1069"/>
                <a:gd name="T15" fmla="*/ 579 h 1161"/>
                <a:gd name="T16" fmla="*/ 1068 w 1069"/>
                <a:gd name="T17" fmla="*/ 123 h 1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69" h="1161">
                  <a:moveTo>
                    <a:pt x="1068" y="123"/>
                  </a:moveTo>
                  <a:cubicBezTo>
                    <a:pt x="1068" y="75"/>
                    <a:pt x="1066" y="46"/>
                    <a:pt x="1066" y="46"/>
                  </a:cubicBezTo>
                  <a:cubicBezTo>
                    <a:pt x="1066" y="46"/>
                    <a:pt x="544" y="0"/>
                    <a:pt x="250" y="295"/>
                  </a:cubicBezTo>
                  <a:cubicBezTo>
                    <a:pt x="31" y="516"/>
                    <a:pt x="1" y="864"/>
                    <a:pt x="0" y="1026"/>
                  </a:cubicBezTo>
                  <a:cubicBezTo>
                    <a:pt x="0" y="1081"/>
                    <a:pt x="2" y="1114"/>
                    <a:pt x="2" y="1114"/>
                  </a:cubicBezTo>
                  <a:cubicBezTo>
                    <a:pt x="2" y="1114"/>
                    <a:pt x="525" y="1161"/>
                    <a:pt x="818" y="866"/>
                  </a:cubicBezTo>
                  <a:cubicBezTo>
                    <a:pt x="870" y="814"/>
                    <a:pt x="911" y="754"/>
                    <a:pt x="944" y="692"/>
                  </a:cubicBezTo>
                  <a:cubicBezTo>
                    <a:pt x="963" y="655"/>
                    <a:pt x="980" y="617"/>
                    <a:pt x="994" y="579"/>
                  </a:cubicBezTo>
                  <a:cubicBezTo>
                    <a:pt x="1058" y="402"/>
                    <a:pt x="1069" y="222"/>
                    <a:pt x="1068" y="123"/>
                  </a:cubicBezTo>
                  <a:close/>
                </a:path>
              </a:pathLst>
            </a:custGeom>
            <a:solidFill>
              <a:schemeClr val="accent1">
                <a:alpha val="6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9" name="Freeform 28">
              <a:extLst>
                <a:ext uri="{FF2B5EF4-FFF2-40B4-BE49-F238E27FC236}">
                  <a16:creationId xmlns:a16="http://schemas.microsoft.com/office/drawing/2014/main" id="{4B2CECAD-DFE1-4801-955C-5DA3093EC332}"/>
                </a:ext>
              </a:extLst>
            </p:cNvPr>
            <p:cNvSpPr>
              <a:spLocks/>
            </p:cNvSpPr>
            <p:nvPr/>
          </p:nvSpPr>
          <p:spPr bwMode="auto">
            <a:xfrm rot="8492870">
              <a:off x="5786734" y="2212256"/>
              <a:ext cx="706559" cy="767088"/>
            </a:xfrm>
            <a:custGeom>
              <a:avLst/>
              <a:gdLst>
                <a:gd name="T0" fmla="*/ 1068 w 1069"/>
                <a:gd name="T1" fmla="*/ 123 h 1161"/>
                <a:gd name="T2" fmla="*/ 1066 w 1069"/>
                <a:gd name="T3" fmla="*/ 46 h 1161"/>
                <a:gd name="T4" fmla="*/ 250 w 1069"/>
                <a:gd name="T5" fmla="*/ 295 h 1161"/>
                <a:gd name="T6" fmla="*/ 0 w 1069"/>
                <a:gd name="T7" fmla="*/ 1026 h 1161"/>
                <a:gd name="T8" fmla="*/ 2 w 1069"/>
                <a:gd name="T9" fmla="*/ 1114 h 1161"/>
                <a:gd name="T10" fmla="*/ 818 w 1069"/>
                <a:gd name="T11" fmla="*/ 866 h 1161"/>
                <a:gd name="T12" fmla="*/ 944 w 1069"/>
                <a:gd name="T13" fmla="*/ 692 h 1161"/>
                <a:gd name="T14" fmla="*/ 994 w 1069"/>
                <a:gd name="T15" fmla="*/ 579 h 1161"/>
                <a:gd name="T16" fmla="*/ 1068 w 1069"/>
                <a:gd name="T17" fmla="*/ 123 h 1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69" h="1161">
                  <a:moveTo>
                    <a:pt x="1068" y="123"/>
                  </a:moveTo>
                  <a:cubicBezTo>
                    <a:pt x="1068" y="75"/>
                    <a:pt x="1066" y="46"/>
                    <a:pt x="1066" y="46"/>
                  </a:cubicBezTo>
                  <a:cubicBezTo>
                    <a:pt x="1066" y="46"/>
                    <a:pt x="544" y="0"/>
                    <a:pt x="250" y="295"/>
                  </a:cubicBezTo>
                  <a:cubicBezTo>
                    <a:pt x="31" y="516"/>
                    <a:pt x="1" y="864"/>
                    <a:pt x="0" y="1026"/>
                  </a:cubicBezTo>
                  <a:cubicBezTo>
                    <a:pt x="0" y="1081"/>
                    <a:pt x="2" y="1114"/>
                    <a:pt x="2" y="1114"/>
                  </a:cubicBezTo>
                  <a:cubicBezTo>
                    <a:pt x="2" y="1114"/>
                    <a:pt x="525" y="1161"/>
                    <a:pt x="818" y="866"/>
                  </a:cubicBezTo>
                  <a:cubicBezTo>
                    <a:pt x="870" y="814"/>
                    <a:pt x="911" y="754"/>
                    <a:pt x="944" y="692"/>
                  </a:cubicBezTo>
                  <a:cubicBezTo>
                    <a:pt x="963" y="655"/>
                    <a:pt x="980" y="617"/>
                    <a:pt x="994" y="579"/>
                  </a:cubicBezTo>
                  <a:cubicBezTo>
                    <a:pt x="1058" y="402"/>
                    <a:pt x="1069" y="222"/>
                    <a:pt x="1068" y="123"/>
                  </a:cubicBezTo>
                  <a:close/>
                </a:path>
              </a:pathLst>
            </a:custGeom>
            <a:solidFill>
              <a:schemeClr val="accent2">
                <a:alpha val="6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0" name="Freeform 29">
              <a:extLst>
                <a:ext uri="{FF2B5EF4-FFF2-40B4-BE49-F238E27FC236}">
                  <a16:creationId xmlns:a16="http://schemas.microsoft.com/office/drawing/2014/main" id="{30E105A1-469B-4C4D-9F68-3667E03D1250}"/>
                </a:ext>
              </a:extLst>
            </p:cNvPr>
            <p:cNvSpPr>
              <a:spLocks/>
            </p:cNvSpPr>
            <p:nvPr/>
          </p:nvSpPr>
          <p:spPr bwMode="auto">
            <a:xfrm rot="10051992">
              <a:off x="7203586" y="2438302"/>
              <a:ext cx="706559" cy="767088"/>
            </a:xfrm>
            <a:custGeom>
              <a:avLst/>
              <a:gdLst>
                <a:gd name="T0" fmla="*/ 1068 w 1069"/>
                <a:gd name="T1" fmla="*/ 123 h 1161"/>
                <a:gd name="T2" fmla="*/ 1066 w 1069"/>
                <a:gd name="T3" fmla="*/ 46 h 1161"/>
                <a:gd name="T4" fmla="*/ 250 w 1069"/>
                <a:gd name="T5" fmla="*/ 295 h 1161"/>
                <a:gd name="T6" fmla="*/ 0 w 1069"/>
                <a:gd name="T7" fmla="*/ 1026 h 1161"/>
                <a:gd name="T8" fmla="*/ 2 w 1069"/>
                <a:gd name="T9" fmla="*/ 1114 h 1161"/>
                <a:gd name="T10" fmla="*/ 818 w 1069"/>
                <a:gd name="T11" fmla="*/ 866 h 1161"/>
                <a:gd name="T12" fmla="*/ 944 w 1069"/>
                <a:gd name="T13" fmla="*/ 692 h 1161"/>
                <a:gd name="T14" fmla="*/ 994 w 1069"/>
                <a:gd name="T15" fmla="*/ 579 h 1161"/>
                <a:gd name="T16" fmla="*/ 1068 w 1069"/>
                <a:gd name="T17" fmla="*/ 123 h 1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69" h="1161">
                  <a:moveTo>
                    <a:pt x="1068" y="123"/>
                  </a:moveTo>
                  <a:cubicBezTo>
                    <a:pt x="1068" y="75"/>
                    <a:pt x="1066" y="46"/>
                    <a:pt x="1066" y="46"/>
                  </a:cubicBezTo>
                  <a:cubicBezTo>
                    <a:pt x="1066" y="46"/>
                    <a:pt x="544" y="0"/>
                    <a:pt x="250" y="295"/>
                  </a:cubicBezTo>
                  <a:cubicBezTo>
                    <a:pt x="31" y="516"/>
                    <a:pt x="1" y="864"/>
                    <a:pt x="0" y="1026"/>
                  </a:cubicBezTo>
                  <a:cubicBezTo>
                    <a:pt x="0" y="1081"/>
                    <a:pt x="2" y="1114"/>
                    <a:pt x="2" y="1114"/>
                  </a:cubicBezTo>
                  <a:cubicBezTo>
                    <a:pt x="2" y="1114"/>
                    <a:pt x="525" y="1161"/>
                    <a:pt x="818" y="866"/>
                  </a:cubicBezTo>
                  <a:cubicBezTo>
                    <a:pt x="870" y="814"/>
                    <a:pt x="911" y="754"/>
                    <a:pt x="944" y="692"/>
                  </a:cubicBezTo>
                  <a:cubicBezTo>
                    <a:pt x="963" y="655"/>
                    <a:pt x="980" y="617"/>
                    <a:pt x="994" y="579"/>
                  </a:cubicBezTo>
                  <a:cubicBezTo>
                    <a:pt x="1058" y="402"/>
                    <a:pt x="1069" y="222"/>
                    <a:pt x="1068" y="123"/>
                  </a:cubicBezTo>
                  <a:close/>
                </a:path>
              </a:pathLst>
            </a:custGeom>
            <a:solidFill>
              <a:schemeClr val="accent3">
                <a:alpha val="6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1" name="Freeform 30">
              <a:extLst>
                <a:ext uri="{FF2B5EF4-FFF2-40B4-BE49-F238E27FC236}">
                  <a16:creationId xmlns:a16="http://schemas.microsoft.com/office/drawing/2014/main" id="{5B46ED37-5843-4B15-ACE6-7C65BE7B3BEA}"/>
                </a:ext>
              </a:extLst>
            </p:cNvPr>
            <p:cNvSpPr>
              <a:spLocks/>
            </p:cNvSpPr>
            <p:nvPr/>
          </p:nvSpPr>
          <p:spPr bwMode="auto">
            <a:xfrm rot="13144547">
              <a:off x="7204357" y="3972216"/>
              <a:ext cx="1003563" cy="1089538"/>
            </a:xfrm>
            <a:custGeom>
              <a:avLst/>
              <a:gdLst>
                <a:gd name="T0" fmla="*/ 1068 w 1069"/>
                <a:gd name="T1" fmla="*/ 123 h 1161"/>
                <a:gd name="T2" fmla="*/ 1066 w 1069"/>
                <a:gd name="T3" fmla="*/ 46 h 1161"/>
                <a:gd name="T4" fmla="*/ 250 w 1069"/>
                <a:gd name="T5" fmla="*/ 295 h 1161"/>
                <a:gd name="T6" fmla="*/ 0 w 1069"/>
                <a:gd name="T7" fmla="*/ 1026 h 1161"/>
                <a:gd name="T8" fmla="*/ 2 w 1069"/>
                <a:gd name="T9" fmla="*/ 1114 h 1161"/>
                <a:gd name="T10" fmla="*/ 818 w 1069"/>
                <a:gd name="T11" fmla="*/ 866 h 1161"/>
                <a:gd name="T12" fmla="*/ 944 w 1069"/>
                <a:gd name="T13" fmla="*/ 692 h 1161"/>
                <a:gd name="T14" fmla="*/ 994 w 1069"/>
                <a:gd name="T15" fmla="*/ 579 h 1161"/>
                <a:gd name="T16" fmla="*/ 1068 w 1069"/>
                <a:gd name="T17" fmla="*/ 123 h 1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69" h="1161">
                  <a:moveTo>
                    <a:pt x="1068" y="123"/>
                  </a:moveTo>
                  <a:cubicBezTo>
                    <a:pt x="1068" y="75"/>
                    <a:pt x="1066" y="46"/>
                    <a:pt x="1066" y="46"/>
                  </a:cubicBezTo>
                  <a:cubicBezTo>
                    <a:pt x="1066" y="46"/>
                    <a:pt x="544" y="0"/>
                    <a:pt x="250" y="295"/>
                  </a:cubicBezTo>
                  <a:cubicBezTo>
                    <a:pt x="31" y="516"/>
                    <a:pt x="1" y="864"/>
                    <a:pt x="0" y="1026"/>
                  </a:cubicBezTo>
                  <a:cubicBezTo>
                    <a:pt x="0" y="1081"/>
                    <a:pt x="2" y="1114"/>
                    <a:pt x="2" y="1114"/>
                  </a:cubicBezTo>
                  <a:cubicBezTo>
                    <a:pt x="2" y="1114"/>
                    <a:pt x="525" y="1161"/>
                    <a:pt x="818" y="866"/>
                  </a:cubicBezTo>
                  <a:cubicBezTo>
                    <a:pt x="870" y="814"/>
                    <a:pt x="911" y="754"/>
                    <a:pt x="944" y="692"/>
                  </a:cubicBezTo>
                  <a:cubicBezTo>
                    <a:pt x="963" y="655"/>
                    <a:pt x="980" y="617"/>
                    <a:pt x="994" y="579"/>
                  </a:cubicBezTo>
                  <a:cubicBezTo>
                    <a:pt x="1058" y="402"/>
                    <a:pt x="1069" y="222"/>
                    <a:pt x="1068" y="123"/>
                  </a:cubicBezTo>
                  <a:close/>
                </a:path>
              </a:pathLst>
            </a:custGeom>
            <a:solidFill>
              <a:schemeClr val="accent4">
                <a:alpha val="6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12" name="Freeform 31">
              <a:extLst>
                <a:ext uri="{FF2B5EF4-FFF2-40B4-BE49-F238E27FC236}">
                  <a16:creationId xmlns:a16="http://schemas.microsoft.com/office/drawing/2014/main" id="{788961BB-330C-4E9D-9F7A-43FB73908A32}"/>
                </a:ext>
              </a:extLst>
            </p:cNvPr>
            <p:cNvSpPr>
              <a:spLocks/>
            </p:cNvSpPr>
            <p:nvPr/>
          </p:nvSpPr>
          <p:spPr bwMode="auto">
            <a:xfrm rot="5080426">
              <a:off x="3800265" y="3035108"/>
              <a:ext cx="764604" cy="830107"/>
            </a:xfrm>
            <a:custGeom>
              <a:avLst/>
              <a:gdLst>
                <a:gd name="T0" fmla="*/ 1068 w 1069"/>
                <a:gd name="T1" fmla="*/ 123 h 1161"/>
                <a:gd name="T2" fmla="*/ 1066 w 1069"/>
                <a:gd name="T3" fmla="*/ 46 h 1161"/>
                <a:gd name="T4" fmla="*/ 250 w 1069"/>
                <a:gd name="T5" fmla="*/ 295 h 1161"/>
                <a:gd name="T6" fmla="*/ 0 w 1069"/>
                <a:gd name="T7" fmla="*/ 1026 h 1161"/>
                <a:gd name="T8" fmla="*/ 2 w 1069"/>
                <a:gd name="T9" fmla="*/ 1114 h 1161"/>
                <a:gd name="T10" fmla="*/ 818 w 1069"/>
                <a:gd name="T11" fmla="*/ 866 h 1161"/>
                <a:gd name="T12" fmla="*/ 944 w 1069"/>
                <a:gd name="T13" fmla="*/ 692 h 1161"/>
                <a:gd name="T14" fmla="*/ 994 w 1069"/>
                <a:gd name="T15" fmla="*/ 579 h 1161"/>
                <a:gd name="T16" fmla="*/ 1068 w 1069"/>
                <a:gd name="T17" fmla="*/ 123 h 1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69" h="1161">
                  <a:moveTo>
                    <a:pt x="1068" y="123"/>
                  </a:moveTo>
                  <a:cubicBezTo>
                    <a:pt x="1068" y="75"/>
                    <a:pt x="1066" y="46"/>
                    <a:pt x="1066" y="46"/>
                  </a:cubicBezTo>
                  <a:cubicBezTo>
                    <a:pt x="1066" y="46"/>
                    <a:pt x="544" y="0"/>
                    <a:pt x="250" y="295"/>
                  </a:cubicBezTo>
                  <a:cubicBezTo>
                    <a:pt x="31" y="516"/>
                    <a:pt x="1" y="864"/>
                    <a:pt x="0" y="1026"/>
                  </a:cubicBezTo>
                  <a:cubicBezTo>
                    <a:pt x="0" y="1081"/>
                    <a:pt x="2" y="1114"/>
                    <a:pt x="2" y="1114"/>
                  </a:cubicBezTo>
                  <a:cubicBezTo>
                    <a:pt x="2" y="1114"/>
                    <a:pt x="525" y="1161"/>
                    <a:pt x="818" y="866"/>
                  </a:cubicBezTo>
                  <a:cubicBezTo>
                    <a:pt x="870" y="814"/>
                    <a:pt x="911" y="754"/>
                    <a:pt x="944" y="692"/>
                  </a:cubicBezTo>
                  <a:cubicBezTo>
                    <a:pt x="963" y="655"/>
                    <a:pt x="980" y="617"/>
                    <a:pt x="994" y="579"/>
                  </a:cubicBezTo>
                  <a:cubicBezTo>
                    <a:pt x="1058" y="402"/>
                    <a:pt x="1069" y="222"/>
                    <a:pt x="1068" y="123"/>
                  </a:cubicBezTo>
                  <a:close/>
                </a:path>
              </a:pathLst>
            </a:custGeom>
            <a:solidFill>
              <a:schemeClr val="accent1">
                <a:alpha val="6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3" name="Freeform 32">
              <a:extLst>
                <a:ext uri="{FF2B5EF4-FFF2-40B4-BE49-F238E27FC236}">
                  <a16:creationId xmlns:a16="http://schemas.microsoft.com/office/drawing/2014/main" id="{F0CC60E8-D277-4794-8CE8-B97477A12A72}"/>
                </a:ext>
              </a:extLst>
            </p:cNvPr>
            <p:cNvSpPr>
              <a:spLocks/>
            </p:cNvSpPr>
            <p:nvPr/>
          </p:nvSpPr>
          <p:spPr bwMode="auto">
            <a:xfrm rot="8176420">
              <a:off x="4269676" y="2449808"/>
              <a:ext cx="738364" cy="830107"/>
            </a:xfrm>
            <a:custGeom>
              <a:avLst/>
              <a:gdLst>
                <a:gd name="T0" fmla="*/ 1068 w 1069"/>
                <a:gd name="T1" fmla="*/ 123 h 1161"/>
                <a:gd name="T2" fmla="*/ 1066 w 1069"/>
                <a:gd name="T3" fmla="*/ 46 h 1161"/>
                <a:gd name="T4" fmla="*/ 250 w 1069"/>
                <a:gd name="T5" fmla="*/ 295 h 1161"/>
                <a:gd name="T6" fmla="*/ 0 w 1069"/>
                <a:gd name="T7" fmla="*/ 1026 h 1161"/>
                <a:gd name="T8" fmla="*/ 2 w 1069"/>
                <a:gd name="T9" fmla="*/ 1114 h 1161"/>
                <a:gd name="T10" fmla="*/ 818 w 1069"/>
                <a:gd name="T11" fmla="*/ 866 h 1161"/>
                <a:gd name="T12" fmla="*/ 944 w 1069"/>
                <a:gd name="T13" fmla="*/ 692 h 1161"/>
                <a:gd name="T14" fmla="*/ 994 w 1069"/>
                <a:gd name="T15" fmla="*/ 579 h 1161"/>
                <a:gd name="T16" fmla="*/ 1068 w 1069"/>
                <a:gd name="T17" fmla="*/ 123 h 1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69" h="1161">
                  <a:moveTo>
                    <a:pt x="1068" y="123"/>
                  </a:moveTo>
                  <a:cubicBezTo>
                    <a:pt x="1068" y="75"/>
                    <a:pt x="1066" y="46"/>
                    <a:pt x="1066" y="46"/>
                  </a:cubicBezTo>
                  <a:cubicBezTo>
                    <a:pt x="1066" y="46"/>
                    <a:pt x="544" y="0"/>
                    <a:pt x="250" y="295"/>
                  </a:cubicBezTo>
                  <a:cubicBezTo>
                    <a:pt x="31" y="516"/>
                    <a:pt x="1" y="864"/>
                    <a:pt x="0" y="1026"/>
                  </a:cubicBezTo>
                  <a:cubicBezTo>
                    <a:pt x="0" y="1081"/>
                    <a:pt x="2" y="1114"/>
                    <a:pt x="2" y="1114"/>
                  </a:cubicBezTo>
                  <a:cubicBezTo>
                    <a:pt x="2" y="1114"/>
                    <a:pt x="525" y="1161"/>
                    <a:pt x="818" y="866"/>
                  </a:cubicBezTo>
                  <a:cubicBezTo>
                    <a:pt x="870" y="814"/>
                    <a:pt x="911" y="754"/>
                    <a:pt x="944" y="692"/>
                  </a:cubicBezTo>
                  <a:cubicBezTo>
                    <a:pt x="963" y="655"/>
                    <a:pt x="980" y="617"/>
                    <a:pt x="994" y="579"/>
                  </a:cubicBezTo>
                  <a:cubicBezTo>
                    <a:pt x="1058" y="402"/>
                    <a:pt x="1069" y="222"/>
                    <a:pt x="1068" y="123"/>
                  </a:cubicBezTo>
                  <a:close/>
                </a:path>
              </a:pathLst>
            </a:custGeom>
            <a:solidFill>
              <a:schemeClr val="accent2">
                <a:alpha val="6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4" name="Freeform 33">
              <a:extLst>
                <a:ext uri="{FF2B5EF4-FFF2-40B4-BE49-F238E27FC236}">
                  <a16:creationId xmlns:a16="http://schemas.microsoft.com/office/drawing/2014/main" id="{F2E75CD0-4B2C-48B7-AF20-4DEF635B9206}"/>
                </a:ext>
              </a:extLst>
            </p:cNvPr>
            <p:cNvSpPr>
              <a:spLocks/>
            </p:cNvSpPr>
            <p:nvPr/>
          </p:nvSpPr>
          <p:spPr bwMode="auto">
            <a:xfrm rot="8492870">
              <a:off x="5698608" y="3277950"/>
              <a:ext cx="706559" cy="767088"/>
            </a:xfrm>
            <a:custGeom>
              <a:avLst/>
              <a:gdLst>
                <a:gd name="T0" fmla="*/ 1068 w 1069"/>
                <a:gd name="T1" fmla="*/ 123 h 1161"/>
                <a:gd name="T2" fmla="*/ 1066 w 1069"/>
                <a:gd name="T3" fmla="*/ 46 h 1161"/>
                <a:gd name="T4" fmla="*/ 250 w 1069"/>
                <a:gd name="T5" fmla="*/ 295 h 1161"/>
                <a:gd name="T6" fmla="*/ 0 w 1069"/>
                <a:gd name="T7" fmla="*/ 1026 h 1161"/>
                <a:gd name="T8" fmla="*/ 2 w 1069"/>
                <a:gd name="T9" fmla="*/ 1114 h 1161"/>
                <a:gd name="T10" fmla="*/ 818 w 1069"/>
                <a:gd name="T11" fmla="*/ 866 h 1161"/>
                <a:gd name="T12" fmla="*/ 944 w 1069"/>
                <a:gd name="T13" fmla="*/ 692 h 1161"/>
                <a:gd name="T14" fmla="*/ 994 w 1069"/>
                <a:gd name="T15" fmla="*/ 579 h 1161"/>
                <a:gd name="T16" fmla="*/ 1068 w 1069"/>
                <a:gd name="T17" fmla="*/ 123 h 1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69" h="1161">
                  <a:moveTo>
                    <a:pt x="1068" y="123"/>
                  </a:moveTo>
                  <a:cubicBezTo>
                    <a:pt x="1068" y="75"/>
                    <a:pt x="1066" y="46"/>
                    <a:pt x="1066" y="46"/>
                  </a:cubicBezTo>
                  <a:cubicBezTo>
                    <a:pt x="1066" y="46"/>
                    <a:pt x="544" y="0"/>
                    <a:pt x="250" y="295"/>
                  </a:cubicBezTo>
                  <a:cubicBezTo>
                    <a:pt x="31" y="516"/>
                    <a:pt x="1" y="864"/>
                    <a:pt x="0" y="1026"/>
                  </a:cubicBezTo>
                  <a:cubicBezTo>
                    <a:pt x="0" y="1081"/>
                    <a:pt x="2" y="1114"/>
                    <a:pt x="2" y="1114"/>
                  </a:cubicBezTo>
                  <a:cubicBezTo>
                    <a:pt x="2" y="1114"/>
                    <a:pt x="525" y="1161"/>
                    <a:pt x="818" y="866"/>
                  </a:cubicBezTo>
                  <a:cubicBezTo>
                    <a:pt x="870" y="814"/>
                    <a:pt x="911" y="754"/>
                    <a:pt x="944" y="692"/>
                  </a:cubicBezTo>
                  <a:cubicBezTo>
                    <a:pt x="963" y="655"/>
                    <a:pt x="980" y="617"/>
                    <a:pt x="994" y="579"/>
                  </a:cubicBezTo>
                  <a:cubicBezTo>
                    <a:pt x="1058" y="402"/>
                    <a:pt x="1069" y="222"/>
                    <a:pt x="1068" y="123"/>
                  </a:cubicBezTo>
                  <a:close/>
                </a:path>
              </a:pathLst>
            </a:custGeom>
            <a:solidFill>
              <a:schemeClr val="accent2">
                <a:alpha val="6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5" name="Freeform 34">
              <a:extLst>
                <a:ext uri="{FF2B5EF4-FFF2-40B4-BE49-F238E27FC236}">
                  <a16:creationId xmlns:a16="http://schemas.microsoft.com/office/drawing/2014/main" id="{B96AD56B-588E-440E-BC7E-F1DFF8143965}"/>
                </a:ext>
              </a:extLst>
            </p:cNvPr>
            <p:cNvSpPr>
              <a:spLocks/>
            </p:cNvSpPr>
            <p:nvPr/>
          </p:nvSpPr>
          <p:spPr bwMode="auto">
            <a:xfrm rot="10051992">
              <a:off x="6550334" y="3770296"/>
              <a:ext cx="706559" cy="767088"/>
            </a:xfrm>
            <a:custGeom>
              <a:avLst/>
              <a:gdLst>
                <a:gd name="T0" fmla="*/ 1068 w 1069"/>
                <a:gd name="T1" fmla="*/ 123 h 1161"/>
                <a:gd name="T2" fmla="*/ 1066 w 1069"/>
                <a:gd name="T3" fmla="*/ 46 h 1161"/>
                <a:gd name="T4" fmla="*/ 250 w 1069"/>
                <a:gd name="T5" fmla="*/ 295 h 1161"/>
                <a:gd name="T6" fmla="*/ 0 w 1069"/>
                <a:gd name="T7" fmla="*/ 1026 h 1161"/>
                <a:gd name="T8" fmla="*/ 2 w 1069"/>
                <a:gd name="T9" fmla="*/ 1114 h 1161"/>
                <a:gd name="T10" fmla="*/ 818 w 1069"/>
                <a:gd name="T11" fmla="*/ 866 h 1161"/>
                <a:gd name="T12" fmla="*/ 944 w 1069"/>
                <a:gd name="T13" fmla="*/ 692 h 1161"/>
                <a:gd name="T14" fmla="*/ 994 w 1069"/>
                <a:gd name="T15" fmla="*/ 579 h 1161"/>
                <a:gd name="T16" fmla="*/ 1068 w 1069"/>
                <a:gd name="T17" fmla="*/ 123 h 1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69" h="1161">
                  <a:moveTo>
                    <a:pt x="1068" y="123"/>
                  </a:moveTo>
                  <a:cubicBezTo>
                    <a:pt x="1068" y="75"/>
                    <a:pt x="1066" y="46"/>
                    <a:pt x="1066" y="46"/>
                  </a:cubicBezTo>
                  <a:cubicBezTo>
                    <a:pt x="1066" y="46"/>
                    <a:pt x="544" y="0"/>
                    <a:pt x="250" y="295"/>
                  </a:cubicBezTo>
                  <a:cubicBezTo>
                    <a:pt x="31" y="516"/>
                    <a:pt x="1" y="864"/>
                    <a:pt x="0" y="1026"/>
                  </a:cubicBezTo>
                  <a:cubicBezTo>
                    <a:pt x="0" y="1081"/>
                    <a:pt x="2" y="1114"/>
                    <a:pt x="2" y="1114"/>
                  </a:cubicBezTo>
                  <a:cubicBezTo>
                    <a:pt x="2" y="1114"/>
                    <a:pt x="525" y="1161"/>
                    <a:pt x="818" y="866"/>
                  </a:cubicBezTo>
                  <a:cubicBezTo>
                    <a:pt x="870" y="814"/>
                    <a:pt x="911" y="754"/>
                    <a:pt x="944" y="692"/>
                  </a:cubicBezTo>
                  <a:cubicBezTo>
                    <a:pt x="963" y="655"/>
                    <a:pt x="980" y="617"/>
                    <a:pt x="994" y="579"/>
                  </a:cubicBezTo>
                  <a:cubicBezTo>
                    <a:pt x="1058" y="402"/>
                    <a:pt x="1069" y="222"/>
                    <a:pt x="1068" y="123"/>
                  </a:cubicBezTo>
                  <a:close/>
                </a:path>
              </a:pathLst>
            </a:custGeom>
            <a:solidFill>
              <a:schemeClr val="accent3">
                <a:alpha val="6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6" name="Freeform 35">
              <a:extLst>
                <a:ext uri="{FF2B5EF4-FFF2-40B4-BE49-F238E27FC236}">
                  <a16:creationId xmlns:a16="http://schemas.microsoft.com/office/drawing/2014/main" id="{4FD967B2-D3EE-454D-B03F-36585BF0B8B1}"/>
                </a:ext>
              </a:extLst>
            </p:cNvPr>
            <p:cNvSpPr>
              <a:spLocks/>
            </p:cNvSpPr>
            <p:nvPr/>
          </p:nvSpPr>
          <p:spPr bwMode="auto">
            <a:xfrm rot="11618841">
              <a:off x="8121850" y="3669536"/>
              <a:ext cx="706559" cy="767088"/>
            </a:xfrm>
            <a:custGeom>
              <a:avLst/>
              <a:gdLst>
                <a:gd name="T0" fmla="*/ 1068 w 1069"/>
                <a:gd name="T1" fmla="*/ 123 h 1161"/>
                <a:gd name="T2" fmla="*/ 1066 w 1069"/>
                <a:gd name="T3" fmla="*/ 46 h 1161"/>
                <a:gd name="T4" fmla="*/ 250 w 1069"/>
                <a:gd name="T5" fmla="*/ 295 h 1161"/>
                <a:gd name="T6" fmla="*/ 0 w 1069"/>
                <a:gd name="T7" fmla="*/ 1026 h 1161"/>
                <a:gd name="T8" fmla="*/ 2 w 1069"/>
                <a:gd name="T9" fmla="*/ 1114 h 1161"/>
                <a:gd name="T10" fmla="*/ 818 w 1069"/>
                <a:gd name="T11" fmla="*/ 866 h 1161"/>
                <a:gd name="T12" fmla="*/ 944 w 1069"/>
                <a:gd name="T13" fmla="*/ 692 h 1161"/>
                <a:gd name="T14" fmla="*/ 994 w 1069"/>
                <a:gd name="T15" fmla="*/ 579 h 1161"/>
                <a:gd name="T16" fmla="*/ 1068 w 1069"/>
                <a:gd name="T17" fmla="*/ 123 h 1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69" h="1161">
                  <a:moveTo>
                    <a:pt x="1068" y="123"/>
                  </a:moveTo>
                  <a:cubicBezTo>
                    <a:pt x="1068" y="75"/>
                    <a:pt x="1066" y="46"/>
                    <a:pt x="1066" y="46"/>
                  </a:cubicBezTo>
                  <a:cubicBezTo>
                    <a:pt x="1066" y="46"/>
                    <a:pt x="544" y="0"/>
                    <a:pt x="250" y="295"/>
                  </a:cubicBezTo>
                  <a:cubicBezTo>
                    <a:pt x="31" y="516"/>
                    <a:pt x="1" y="864"/>
                    <a:pt x="0" y="1026"/>
                  </a:cubicBezTo>
                  <a:cubicBezTo>
                    <a:pt x="0" y="1081"/>
                    <a:pt x="2" y="1114"/>
                    <a:pt x="2" y="1114"/>
                  </a:cubicBezTo>
                  <a:cubicBezTo>
                    <a:pt x="2" y="1114"/>
                    <a:pt x="525" y="1161"/>
                    <a:pt x="818" y="866"/>
                  </a:cubicBezTo>
                  <a:cubicBezTo>
                    <a:pt x="870" y="814"/>
                    <a:pt x="911" y="754"/>
                    <a:pt x="944" y="692"/>
                  </a:cubicBezTo>
                  <a:cubicBezTo>
                    <a:pt x="963" y="655"/>
                    <a:pt x="980" y="617"/>
                    <a:pt x="994" y="579"/>
                  </a:cubicBezTo>
                  <a:cubicBezTo>
                    <a:pt x="1058" y="402"/>
                    <a:pt x="1069" y="222"/>
                    <a:pt x="1068" y="123"/>
                  </a:cubicBezTo>
                  <a:close/>
                </a:path>
              </a:pathLst>
            </a:custGeom>
            <a:solidFill>
              <a:schemeClr val="accent4">
                <a:alpha val="6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nvGrpSpPr>
            <p:cNvPr id="17" name="Group 112">
              <a:extLst>
                <a:ext uri="{FF2B5EF4-FFF2-40B4-BE49-F238E27FC236}">
                  <a16:creationId xmlns:a16="http://schemas.microsoft.com/office/drawing/2014/main" id="{A3F45F77-4E55-44D2-B2AE-46596BE02CE4}"/>
                </a:ext>
              </a:extLst>
            </p:cNvPr>
            <p:cNvGrpSpPr/>
            <p:nvPr/>
          </p:nvGrpSpPr>
          <p:grpSpPr>
            <a:xfrm>
              <a:off x="1084038" y="3469350"/>
              <a:ext cx="1650559" cy="1567155"/>
              <a:chOff x="-2627617" y="667287"/>
              <a:chExt cx="1699273" cy="1613408"/>
            </a:xfrm>
          </p:grpSpPr>
          <p:sp>
            <p:nvSpPr>
              <p:cNvPr id="68" name="Rectangle: Rounded Corners 50">
                <a:extLst>
                  <a:ext uri="{FF2B5EF4-FFF2-40B4-BE49-F238E27FC236}">
                    <a16:creationId xmlns:a16="http://schemas.microsoft.com/office/drawing/2014/main" id="{4C8082E7-BDAF-4A8A-855E-8FFE864DC9F3}"/>
                  </a:ext>
                </a:extLst>
              </p:cNvPr>
              <p:cNvSpPr/>
              <p:nvPr/>
            </p:nvSpPr>
            <p:spPr>
              <a:xfrm>
                <a:off x="-2572387" y="667287"/>
                <a:ext cx="1613408" cy="1613408"/>
              </a:xfrm>
              <a:prstGeom prst="roundRect">
                <a:avLst/>
              </a:prstGeom>
              <a:solidFill>
                <a:schemeClr val="accent1"/>
              </a:solidFill>
              <a:ln>
                <a:noFill/>
              </a:ln>
              <a:effectLst>
                <a:outerShdw blurRad="1168400" dir="2700000" sx="90000" sy="90000" algn="tl" rotWithShape="0">
                  <a:prstClr val="black">
                    <a:alpha val="1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FFFFFF"/>
                  </a:solidFill>
                  <a:effectLst/>
                  <a:uLnTx/>
                  <a:uFillTx/>
                  <a:latin typeface="等线" panose="020F0502020204030204"/>
                  <a:ea typeface="+mn-ea"/>
                  <a:cs typeface="+mn-cs"/>
                </a:endParaRPr>
              </a:p>
            </p:txBody>
          </p:sp>
          <p:sp>
            <p:nvSpPr>
              <p:cNvPr id="69" name="TextBox 51">
                <a:extLst>
                  <a:ext uri="{FF2B5EF4-FFF2-40B4-BE49-F238E27FC236}">
                    <a16:creationId xmlns:a16="http://schemas.microsoft.com/office/drawing/2014/main" id="{BF6FB960-1843-438A-92D5-175B74CB8C85}"/>
                  </a:ext>
                </a:extLst>
              </p:cNvPr>
              <p:cNvSpPr txBox="1"/>
              <p:nvPr/>
            </p:nvSpPr>
            <p:spPr>
              <a:xfrm>
                <a:off x="-2338259" y="1236892"/>
                <a:ext cx="1120557" cy="626069"/>
              </a:xfrm>
              <a:prstGeom prst="rect">
                <a:avLst/>
              </a:prstGeom>
              <a:noFill/>
            </p:spPr>
            <p:txBody>
              <a:bodyPr wrap="square" rtlCol="0">
                <a:spAutoFit/>
              </a:bodyPr>
              <a:lstStyle/>
              <a:p>
                <a:pPr marL="0" marR="0" lvl="0" indent="0" algn="ctr" defTabSz="914400" rtl="0" eaLnBrk="1" fontAlgn="auto" latinLnBrk="0" hangingPunct="1">
                  <a:lnSpc>
                    <a:spcPct val="14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51%</a:t>
                </a:r>
              </a:p>
            </p:txBody>
          </p:sp>
          <p:sp>
            <p:nvSpPr>
              <p:cNvPr id="70" name="TextBox 52">
                <a:extLst>
                  <a:ext uri="{FF2B5EF4-FFF2-40B4-BE49-F238E27FC236}">
                    <a16:creationId xmlns:a16="http://schemas.microsoft.com/office/drawing/2014/main" id="{E5589EF2-115E-470C-A680-E07CDA288E71}"/>
                  </a:ext>
                </a:extLst>
              </p:cNvPr>
              <p:cNvSpPr txBox="1"/>
              <p:nvPr/>
            </p:nvSpPr>
            <p:spPr>
              <a:xfrm>
                <a:off x="-2627617" y="1767912"/>
                <a:ext cx="1699273" cy="326884"/>
              </a:xfrm>
              <a:prstGeom prst="rect">
                <a:avLst/>
              </a:prstGeom>
              <a:noFill/>
            </p:spPr>
            <p:txBody>
              <a:bodyPr wrap="square" rtlCol="0">
                <a:spAutoFit/>
              </a:bodyPr>
              <a:lstStyle/>
              <a:p>
                <a:pPr marL="0" marR="0" lvl="0" indent="0" algn="ctr" defTabSz="914400" rtl="0" eaLnBrk="1" fontAlgn="auto" latinLnBrk="0" hangingPunct="1">
                  <a:lnSpc>
                    <a:spcPct val="14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等线 Light" panose="020F0302020204030204"/>
                    <a:ea typeface="+mn-ea"/>
                    <a:cs typeface="+mn-cs"/>
                  </a:rPr>
                  <a:t>Lorem ipsum dolor</a:t>
                </a:r>
              </a:p>
            </p:txBody>
          </p:sp>
          <p:sp>
            <p:nvSpPr>
              <p:cNvPr id="71" name="Rectangle: Rounded Corners 53">
                <a:extLst>
                  <a:ext uri="{FF2B5EF4-FFF2-40B4-BE49-F238E27FC236}">
                    <a16:creationId xmlns:a16="http://schemas.microsoft.com/office/drawing/2014/main" id="{2A751360-F7F9-4297-A04F-D5F74A7E5A56}"/>
                  </a:ext>
                </a:extLst>
              </p:cNvPr>
              <p:cNvSpPr/>
              <p:nvPr/>
            </p:nvSpPr>
            <p:spPr>
              <a:xfrm>
                <a:off x="-2020014" y="843422"/>
                <a:ext cx="484067" cy="495189"/>
              </a:xfrm>
              <a:prstGeom prst="roundRect">
                <a:avLst>
                  <a:gd name="adj" fmla="val 27982"/>
                </a:avLst>
              </a:prstGeom>
              <a:solidFill>
                <a:schemeClr val="bg1"/>
              </a:solidFill>
              <a:ln w="25400" cap="flat" cmpd="sng" algn="ctr">
                <a:noFill/>
                <a:prstDash val="solid"/>
              </a:ln>
              <a:effectLst>
                <a:outerShdw blurRad="228600" dist="38100" dir="2700000" algn="tl" rotWithShape="0">
                  <a:prstClr val="black">
                    <a:alpha val="25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宋体"/>
                  <a:cs typeface="+mn-cs"/>
                </a:endParaRPr>
              </a:p>
            </p:txBody>
          </p:sp>
          <p:sp>
            <p:nvSpPr>
              <p:cNvPr id="72" name="Graphic 14">
                <a:extLst>
                  <a:ext uri="{FF2B5EF4-FFF2-40B4-BE49-F238E27FC236}">
                    <a16:creationId xmlns:a16="http://schemas.microsoft.com/office/drawing/2014/main" id="{2CD1EBA6-81A1-49D1-9BEE-0EBA3287FBCF}"/>
                  </a:ext>
                </a:extLst>
              </p:cNvPr>
              <p:cNvSpPr/>
              <p:nvPr/>
            </p:nvSpPr>
            <p:spPr>
              <a:xfrm>
                <a:off x="-1879128" y="989869"/>
                <a:ext cx="202294" cy="202294"/>
              </a:xfrm>
              <a:custGeom>
                <a:avLst/>
                <a:gdLst>
                  <a:gd name="connsiteX0" fmla="*/ 266895 w 419725"/>
                  <a:gd name="connsiteY0" fmla="*/ 0 h 419725"/>
                  <a:gd name="connsiteX1" fmla="*/ 114065 w 419725"/>
                  <a:gd name="connsiteY1" fmla="*/ 152823 h 419725"/>
                  <a:gd name="connsiteX2" fmla="*/ 150487 w 419725"/>
                  <a:gd name="connsiteY2" fmla="*/ 251851 h 419725"/>
                  <a:gd name="connsiteX3" fmla="*/ 126369 w 419725"/>
                  <a:gd name="connsiteY3" fmla="*/ 275977 h 419725"/>
                  <a:gd name="connsiteX4" fmla="*/ 117672 w 419725"/>
                  <a:gd name="connsiteY4" fmla="*/ 267271 h 419725"/>
                  <a:gd name="connsiteX5" fmla="*/ 100284 w 419725"/>
                  <a:gd name="connsiteY5" fmla="*/ 267271 h 419725"/>
                  <a:gd name="connsiteX6" fmla="*/ 3600 w 419725"/>
                  <a:gd name="connsiteY6" fmla="*/ 363956 h 419725"/>
                  <a:gd name="connsiteX7" fmla="*/ 3600 w 419725"/>
                  <a:gd name="connsiteY7" fmla="*/ 381343 h 419725"/>
                  <a:gd name="connsiteX8" fmla="*/ 38383 w 419725"/>
                  <a:gd name="connsiteY8" fmla="*/ 416126 h 419725"/>
                  <a:gd name="connsiteX9" fmla="*/ 55770 w 419725"/>
                  <a:gd name="connsiteY9" fmla="*/ 416126 h 419725"/>
                  <a:gd name="connsiteX10" fmla="*/ 152446 w 419725"/>
                  <a:gd name="connsiteY10" fmla="*/ 319442 h 419725"/>
                  <a:gd name="connsiteX11" fmla="*/ 152446 w 419725"/>
                  <a:gd name="connsiteY11" fmla="*/ 302054 h 419725"/>
                  <a:gd name="connsiteX12" fmla="*/ 143757 w 419725"/>
                  <a:gd name="connsiteY12" fmla="*/ 293365 h 419725"/>
                  <a:gd name="connsiteX13" fmla="*/ 167875 w 419725"/>
                  <a:gd name="connsiteY13" fmla="*/ 269239 h 419725"/>
                  <a:gd name="connsiteX14" fmla="*/ 266895 w 419725"/>
                  <a:gd name="connsiteY14" fmla="*/ 305661 h 419725"/>
                  <a:gd name="connsiteX15" fmla="*/ 419726 w 419725"/>
                  <a:gd name="connsiteY15" fmla="*/ 152823 h 419725"/>
                  <a:gd name="connsiteX16" fmla="*/ 266895 w 419725"/>
                  <a:gd name="connsiteY16" fmla="*/ 0 h 419725"/>
                  <a:gd name="connsiteX17" fmla="*/ 266895 w 419725"/>
                  <a:gd name="connsiteY17" fmla="*/ 73780 h 419725"/>
                  <a:gd name="connsiteX18" fmla="*/ 187844 w 419725"/>
                  <a:gd name="connsiteY18" fmla="*/ 152831 h 419725"/>
                  <a:gd name="connsiteX19" fmla="*/ 175548 w 419725"/>
                  <a:gd name="connsiteY19" fmla="*/ 165127 h 419725"/>
                  <a:gd name="connsiteX20" fmla="*/ 163251 w 419725"/>
                  <a:gd name="connsiteY20" fmla="*/ 152831 h 419725"/>
                  <a:gd name="connsiteX21" fmla="*/ 266895 w 419725"/>
                  <a:gd name="connsiteY21" fmla="*/ 49187 h 419725"/>
                  <a:gd name="connsiteX22" fmla="*/ 279192 w 419725"/>
                  <a:gd name="connsiteY22" fmla="*/ 61483 h 419725"/>
                  <a:gd name="connsiteX23" fmla="*/ 266895 w 419725"/>
                  <a:gd name="connsiteY23" fmla="*/ 73780 h 419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19725" h="419725">
                    <a:moveTo>
                      <a:pt x="266895" y="0"/>
                    </a:moveTo>
                    <a:cubicBezTo>
                      <a:pt x="182622" y="0"/>
                      <a:pt x="114065" y="68558"/>
                      <a:pt x="114065" y="152823"/>
                    </a:cubicBezTo>
                    <a:cubicBezTo>
                      <a:pt x="114065" y="189614"/>
                      <a:pt x="127066" y="224299"/>
                      <a:pt x="150487" y="251851"/>
                    </a:cubicBezTo>
                    <a:lnTo>
                      <a:pt x="126369" y="275977"/>
                    </a:lnTo>
                    <a:lnTo>
                      <a:pt x="117672" y="267271"/>
                    </a:lnTo>
                    <a:cubicBezTo>
                      <a:pt x="112868" y="262476"/>
                      <a:pt x="105080" y="262476"/>
                      <a:pt x="100284" y="267271"/>
                    </a:cubicBezTo>
                    <a:lnTo>
                      <a:pt x="3600" y="363956"/>
                    </a:lnTo>
                    <a:cubicBezTo>
                      <a:pt x="-1196" y="368751"/>
                      <a:pt x="-1204" y="376539"/>
                      <a:pt x="3600" y="381343"/>
                    </a:cubicBezTo>
                    <a:lnTo>
                      <a:pt x="38383" y="416126"/>
                    </a:lnTo>
                    <a:cubicBezTo>
                      <a:pt x="43187" y="420922"/>
                      <a:pt x="50966" y="420930"/>
                      <a:pt x="55770" y="416126"/>
                    </a:cubicBezTo>
                    <a:lnTo>
                      <a:pt x="152446" y="319442"/>
                    </a:lnTo>
                    <a:cubicBezTo>
                      <a:pt x="157250" y="314646"/>
                      <a:pt x="157250" y="306858"/>
                      <a:pt x="152446" y="302054"/>
                    </a:cubicBezTo>
                    <a:lnTo>
                      <a:pt x="143757" y="293365"/>
                    </a:lnTo>
                    <a:lnTo>
                      <a:pt x="167875" y="269239"/>
                    </a:lnTo>
                    <a:cubicBezTo>
                      <a:pt x="195493" y="292717"/>
                      <a:pt x="230202" y="305661"/>
                      <a:pt x="266895" y="305661"/>
                    </a:cubicBezTo>
                    <a:cubicBezTo>
                      <a:pt x="351168" y="305661"/>
                      <a:pt x="419726" y="237104"/>
                      <a:pt x="419726" y="152823"/>
                    </a:cubicBezTo>
                    <a:cubicBezTo>
                      <a:pt x="419726" y="68558"/>
                      <a:pt x="351168" y="0"/>
                      <a:pt x="266895" y="0"/>
                    </a:cubicBezTo>
                    <a:close/>
                    <a:moveTo>
                      <a:pt x="266895" y="73780"/>
                    </a:moveTo>
                    <a:cubicBezTo>
                      <a:pt x="223308" y="73780"/>
                      <a:pt x="187844" y="109243"/>
                      <a:pt x="187844" y="152831"/>
                    </a:cubicBezTo>
                    <a:cubicBezTo>
                      <a:pt x="187844" y="159618"/>
                      <a:pt x="182335" y="165127"/>
                      <a:pt x="175548" y="165127"/>
                    </a:cubicBezTo>
                    <a:cubicBezTo>
                      <a:pt x="168752" y="165127"/>
                      <a:pt x="163251" y="159618"/>
                      <a:pt x="163251" y="152831"/>
                    </a:cubicBezTo>
                    <a:cubicBezTo>
                      <a:pt x="163251" y="95684"/>
                      <a:pt x="209749" y="49187"/>
                      <a:pt x="266895" y="49187"/>
                    </a:cubicBezTo>
                    <a:cubicBezTo>
                      <a:pt x="273683" y="49187"/>
                      <a:pt x="279192" y="54695"/>
                      <a:pt x="279192" y="61483"/>
                    </a:cubicBezTo>
                    <a:cubicBezTo>
                      <a:pt x="279192" y="68271"/>
                      <a:pt x="273683" y="73780"/>
                      <a:pt x="266895" y="73780"/>
                    </a:cubicBezTo>
                    <a:close/>
                  </a:path>
                </a:pathLst>
              </a:custGeom>
              <a:solidFill>
                <a:schemeClr val="accent1"/>
              </a:solidFill>
              <a:ln w="81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grpSp>
          <p:nvGrpSpPr>
            <p:cNvPr id="18" name="Group 24">
              <a:extLst>
                <a:ext uri="{FF2B5EF4-FFF2-40B4-BE49-F238E27FC236}">
                  <a16:creationId xmlns:a16="http://schemas.microsoft.com/office/drawing/2014/main" id="{13F81F0E-3D53-4C1A-B407-5256E62E15A8}"/>
                </a:ext>
              </a:extLst>
            </p:cNvPr>
            <p:cNvGrpSpPr/>
            <p:nvPr/>
          </p:nvGrpSpPr>
          <p:grpSpPr>
            <a:xfrm>
              <a:off x="2608921" y="4022037"/>
              <a:ext cx="964076" cy="147589"/>
              <a:chOff x="2416554" y="3444225"/>
              <a:chExt cx="992529" cy="151945"/>
            </a:xfrm>
          </p:grpSpPr>
          <p:cxnSp>
            <p:nvCxnSpPr>
              <p:cNvPr id="66" name="Straight Connector 22">
                <a:extLst>
                  <a:ext uri="{FF2B5EF4-FFF2-40B4-BE49-F238E27FC236}">
                    <a16:creationId xmlns:a16="http://schemas.microsoft.com/office/drawing/2014/main" id="{AFE65FB4-4932-4195-A34C-F7A4EE239E0D}"/>
                  </a:ext>
                </a:extLst>
              </p:cNvPr>
              <p:cNvCxnSpPr>
                <a:cxnSpLocks/>
              </p:cNvCxnSpPr>
              <p:nvPr/>
            </p:nvCxnSpPr>
            <p:spPr>
              <a:xfrm>
                <a:off x="2528859" y="3520198"/>
                <a:ext cx="880224" cy="0"/>
              </a:xfrm>
              <a:prstGeom prst="line">
                <a:avLst/>
              </a:prstGeom>
              <a:ln w="12700">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sp>
            <p:nvSpPr>
              <p:cNvPr id="67" name="Oval 23">
                <a:extLst>
                  <a:ext uri="{FF2B5EF4-FFF2-40B4-BE49-F238E27FC236}">
                    <a16:creationId xmlns:a16="http://schemas.microsoft.com/office/drawing/2014/main" id="{4125AEC7-859C-4380-8A17-BF539738C56B}"/>
                  </a:ext>
                </a:extLst>
              </p:cNvPr>
              <p:cNvSpPr/>
              <p:nvPr/>
            </p:nvSpPr>
            <p:spPr>
              <a:xfrm>
                <a:off x="2416554" y="3444225"/>
                <a:ext cx="151945" cy="151945"/>
              </a:xfrm>
              <a:prstGeom prst="ellipse">
                <a:avLst/>
              </a:prstGeom>
              <a:gradFill>
                <a:gsLst>
                  <a:gs pos="100000">
                    <a:schemeClr val="accent1"/>
                  </a:gs>
                  <a:gs pos="0">
                    <a:schemeClr val="accent1">
                      <a:lumMod val="75000"/>
                    </a:schemeClr>
                  </a:gs>
                </a:gsLst>
                <a:lin ang="2700000" scaled="1"/>
              </a:gradFill>
              <a:ln w="25400" cap="flat" cmpd="sng" algn="ctr">
                <a:noFill/>
                <a:prstDash val="solid"/>
              </a:ln>
              <a:effectLst>
                <a:outerShdw blurRad="228600" dist="38100" dir="2700000" algn="tl" rotWithShape="0">
                  <a:prstClr val="black">
                    <a:alpha val="25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宋体"/>
                  <a:cs typeface="+mn-cs"/>
                </a:endParaRPr>
              </a:p>
            </p:txBody>
          </p:sp>
        </p:grpSp>
        <p:grpSp>
          <p:nvGrpSpPr>
            <p:cNvPr id="19" name="Group 110">
              <a:extLst>
                <a:ext uri="{FF2B5EF4-FFF2-40B4-BE49-F238E27FC236}">
                  <a16:creationId xmlns:a16="http://schemas.microsoft.com/office/drawing/2014/main" id="{57D4B4F8-6488-4AB6-8F3E-2122F1FF6A7F}"/>
                </a:ext>
              </a:extLst>
            </p:cNvPr>
            <p:cNvGrpSpPr/>
            <p:nvPr/>
          </p:nvGrpSpPr>
          <p:grpSpPr>
            <a:xfrm>
              <a:off x="8008346" y="951698"/>
              <a:ext cx="1650559" cy="1567155"/>
              <a:chOff x="-5710244" y="2548124"/>
              <a:chExt cx="1699273" cy="1613408"/>
            </a:xfrm>
          </p:grpSpPr>
          <p:sp>
            <p:nvSpPr>
              <p:cNvPr id="53" name="Rectangle: Rounded Corners 40">
                <a:extLst>
                  <a:ext uri="{FF2B5EF4-FFF2-40B4-BE49-F238E27FC236}">
                    <a16:creationId xmlns:a16="http://schemas.microsoft.com/office/drawing/2014/main" id="{CED721F7-E108-48CF-8E22-19955DB4D311}"/>
                  </a:ext>
                </a:extLst>
              </p:cNvPr>
              <p:cNvSpPr/>
              <p:nvPr/>
            </p:nvSpPr>
            <p:spPr>
              <a:xfrm>
                <a:off x="-5655014" y="2548124"/>
                <a:ext cx="1613408" cy="1613408"/>
              </a:xfrm>
              <a:prstGeom prst="roundRect">
                <a:avLst/>
              </a:prstGeom>
              <a:solidFill>
                <a:schemeClr val="accent3"/>
              </a:solidFill>
              <a:ln>
                <a:noFill/>
              </a:ln>
              <a:effectLst>
                <a:outerShdw blurRad="1168400" dir="2700000" sx="90000" sy="90000" algn="tl" rotWithShape="0">
                  <a:prstClr val="black">
                    <a:alpha val="1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FFFFFF"/>
                  </a:solidFill>
                  <a:effectLst/>
                  <a:uLnTx/>
                  <a:uFillTx/>
                  <a:latin typeface="等线" panose="020F0502020204030204"/>
                  <a:ea typeface="+mn-ea"/>
                  <a:cs typeface="+mn-cs"/>
                </a:endParaRPr>
              </a:p>
            </p:txBody>
          </p:sp>
          <p:sp>
            <p:nvSpPr>
              <p:cNvPr id="54" name="TextBox 41">
                <a:extLst>
                  <a:ext uri="{FF2B5EF4-FFF2-40B4-BE49-F238E27FC236}">
                    <a16:creationId xmlns:a16="http://schemas.microsoft.com/office/drawing/2014/main" id="{B9C10F0F-CE1A-48C5-87E0-C6116E0A4B57}"/>
                  </a:ext>
                </a:extLst>
              </p:cNvPr>
              <p:cNvSpPr txBox="1"/>
              <p:nvPr/>
            </p:nvSpPr>
            <p:spPr>
              <a:xfrm>
                <a:off x="-5420886" y="3117729"/>
                <a:ext cx="1120557" cy="626069"/>
              </a:xfrm>
              <a:prstGeom prst="rect">
                <a:avLst/>
              </a:prstGeom>
              <a:noFill/>
            </p:spPr>
            <p:txBody>
              <a:bodyPr wrap="square" rtlCol="0">
                <a:spAutoFit/>
              </a:bodyPr>
              <a:lstStyle/>
              <a:p>
                <a:pPr marL="0" marR="0" lvl="0" indent="0" algn="ctr" defTabSz="914400" rtl="0" eaLnBrk="1" fontAlgn="auto" latinLnBrk="0" hangingPunct="1">
                  <a:lnSpc>
                    <a:spcPct val="14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40%</a:t>
                </a:r>
              </a:p>
            </p:txBody>
          </p:sp>
          <p:sp>
            <p:nvSpPr>
              <p:cNvPr id="55" name="TextBox 42">
                <a:extLst>
                  <a:ext uri="{FF2B5EF4-FFF2-40B4-BE49-F238E27FC236}">
                    <a16:creationId xmlns:a16="http://schemas.microsoft.com/office/drawing/2014/main" id="{56866665-EC8E-4C92-969B-F8EE61223095}"/>
                  </a:ext>
                </a:extLst>
              </p:cNvPr>
              <p:cNvSpPr txBox="1"/>
              <p:nvPr/>
            </p:nvSpPr>
            <p:spPr>
              <a:xfrm>
                <a:off x="-5710244" y="3648749"/>
                <a:ext cx="1699273" cy="326884"/>
              </a:xfrm>
              <a:prstGeom prst="rect">
                <a:avLst/>
              </a:prstGeom>
              <a:noFill/>
            </p:spPr>
            <p:txBody>
              <a:bodyPr wrap="square" rtlCol="0">
                <a:spAutoFit/>
              </a:bodyPr>
              <a:lstStyle/>
              <a:p>
                <a:pPr marL="0" marR="0" lvl="0" indent="0" algn="ctr" defTabSz="914400" rtl="0" eaLnBrk="1" fontAlgn="auto" latinLnBrk="0" hangingPunct="1">
                  <a:lnSpc>
                    <a:spcPct val="14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等线 Light" panose="020F0302020204030204"/>
                    <a:ea typeface="+mn-ea"/>
                    <a:cs typeface="+mn-cs"/>
                  </a:rPr>
                  <a:t>Lorem ipsum dolor</a:t>
                </a:r>
              </a:p>
            </p:txBody>
          </p:sp>
          <p:sp>
            <p:nvSpPr>
              <p:cNvPr id="56" name="Rectangle: Rounded Corners 43">
                <a:extLst>
                  <a:ext uri="{FF2B5EF4-FFF2-40B4-BE49-F238E27FC236}">
                    <a16:creationId xmlns:a16="http://schemas.microsoft.com/office/drawing/2014/main" id="{39BD6FA0-3EFC-4935-889E-5BC083F4B765}"/>
                  </a:ext>
                </a:extLst>
              </p:cNvPr>
              <p:cNvSpPr/>
              <p:nvPr/>
            </p:nvSpPr>
            <p:spPr>
              <a:xfrm>
                <a:off x="-5102641" y="2724259"/>
                <a:ext cx="484067" cy="495189"/>
              </a:xfrm>
              <a:prstGeom prst="roundRect">
                <a:avLst>
                  <a:gd name="adj" fmla="val 27982"/>
                </a:avLst>
              </a:prstGeom>
              <a:solidFill>
                <a:schemeClr val="bg1"/>
              </a:solidFill>
              <a:ln w="25400" cap="flat" cmpd="sng" algn="ctr">
                <a:noFill/>
                <a:prstDash val="solid"/>
              </a:ln>
              <a:effectLst>
                <a:outerShdw blurRad="228600" dist="38100" dir="2700000" algn="tl" rotWithShape="0">
                  <a:prstClr val="black">
                    <a:alpha val="25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a:ea typeface="宋体"/>
                  <a:cs typeface="+mn-cs"/>
                </a:endParaRPr>
              </a:p>
            </p:txBody>
          </p:sp>
          <p:grpSp>
            <p:nvGrpSpPr>
              <p:cNvPr id="57" name="Graphic 44">
                <a:extLst>
                  <a:ext uri="{FF2B5EF4-FFF2-40B4-BE49-F238E27FC236}">
                    <a16:creationId xmlns:a16="http://schemas.microsoft.com/office/drawing/2014/main" id="{2A688A6B-94C0-424B-BF28-82062B42550D}"/>
                  </a:ext>
                </a:extLst>
              </p:cNvPr>
              <p:cNvGrpSpPr/>
              <p:nvPr/>
            </p:nvGrpSpPr>
            <p:grpSpPr>
              <a:xfrm>
                <a:off x="-4961557" y="2870904"/>
                <a:ext cx="201898" cy="201898"/>
                <a:chOff x="9158990" y="272944"/>
                <a:chExt cx="418905" cy="418905"/>
              </a:xfrm>
              <a:solidFill>
                <a:schemeClr val="accent3"/>
              </a:solidFill>
            </p:grpSpPr>
            <p:sp>
              <p:nvSpPr>
                <p:cNvPr id="58" name="Freeform: Shape 59">
                  <a:extLst>
                    <a:ext uri="{FF2B5EF4-FFF2-40B4-BE49-F238E27FC236}">
                      <a16:creationId xmlns:a16="http://schemas.microsoft.com/office/drawing/2014/main" id="{6E58FE55-4421-4706-B0B5-6AB8A74BD98B}"/>
                    </a:ext>
                  </a:extLst>
                </p:cNvPr>
                <p:cNvSpPr/>
                <p:nvPr/>
              </p:nvSpPr>
              <p:spPr>
                <a:xfrm>
                  <a:off x="9303800" y="272944"/>
                  <a:ext cx="129525" cy="129525"/>
                </a:xfrm>
                <a:custGeom>
                  <a:avLst/>
                  <a:gdLst>
                    <a:gd name="connsiteX0" fmla="*/ 111073 w 129524"/>
                    <a:gd name="connsiteY0" fmla="*/ 111096 h 129524"/>
                    <a:gd name="connsiteX1" fmla="*/ 19029 w 129524"/>
                    <a:gd name="connsiteY1" fmla="*/ 111096 h 129524"/>
                    <a:gd name="connsiteX2" fmla="*/ 19029 w 129524"/>
                    <a:gd name="connsiteY2" fmla="*/ 19035 h 129524"/>
                    <a:gd name="connsiteX3" fmla="*/ 111073 w 129524"/>
                    <a:gd name="connsiteY3" fmla="*/ 19035 h 129524"/>
                    <a:gd name="connsiteX4" fmla="*/ 111073 w 129524"/>
                    <a:gd name="connsiteY4" fmla="*/ 111096 h 1295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9524" h="129524">
                      <a:moveTo>
                        <a:pt x="111073" y="111096"/>
                      </a:moveTo>
                      <a:cubicBezTo>
                        <a:pt x="85693" y="136476"/>
                        <a:pt x="44409" y="136468"/>
                        <a:pt x="19029" y="111096"/>
                      </a:cubicBezTo>
                      <a:cubicBezTo>
                        <a:pt x="-6343" y="85716"/>
                        <a:pt x="-6343" y="44415"/>
                        <a:pt x="19029" y="19035"/>
                      </a:cubicBezTo>
                      <a:cubicBezTo>
                        <a:pt x="44409" y="-6345"/>
                        <a:pt x="85693" y="-6345"/>
                        <a:pt x="111073" y="19035"/>
                      </a:cubicBezTo>
                      <a:cubicBezTo>
                        <a:pt x="136445" y="44415"/>
                        <a:pt x="136445" y="85716"/>
                        <a:pt x="111073" y="111096"/>
                      </a:cubicBezTo>
                      <a:close/>
                    </a:path>
                  </a:pathLst>
                </a:custGeom>
                <a:grpFill/>
                <a:ln w="81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59" name="Freeform: Shape 60">
                  <a:extLst>
                    <a:ext uri="{FF2B5EF4-FFF2-40B4-BE49-F238E27FC236}">
                      <a16:creationId xmlns:a16="http://schemas.microsoft.com/office/drawing/2014/main" id="{CE73EA0D-5C08-465E-AC2E-AD2566EF8602}"/>
                    </a:ext>
                  </a:extLst>
                </p:cNvPr>
                <p:cNvSpPr/>
                <p:nvPr/>
              </p:nvSpPr>
              <p:spPr>
                <a:xfrm>
                  <a:off x="9158990" y="417741"/>
                  <a:ext cx="129525" cy="129525"/>
                </a:xfrm>
                <a:custGeom>
                  <a:avLst/>
                  <a:gdLst>
                    <a:gd name="connsiteX0" fmla="*/ 111111 w 129524"/>
                    <a:gd name="connsiteY0" fmla="*/ 111096 h 129524"/>
                    <a:gd name="connsiteX1" fmla="*/ 19075 w 129524"/>
                    <a:gd name="connsiteY1" fmla="*/ 111096 h 129524"/>
                    <a:gd name="connsiteX2" fmla="*/ 19075 w 129524"/>
                    <a:gd name="connsiteY2" fmla="*/ 19035 h 129524"/>
                    <a:gd name="connsiteX3" fmla="*/ 111111 w 129524"/>
                    <a:gd name="connsiteY3" fmla="*/ 19035 h 129524"/>
                    <a:gd name="connsiteX4" fmla="*/ 111111 w 129524"/>
                    <a:gd name="connsiteY4" fmla="*/ 111096 h 1295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9524" h="129524">
                      <a:moveTo>
                        <a:pt x="111111" y="111096"/>
                      </a:moveTo>
                      <a:cubicBezTo>
                        <a:pt x="85739" y="136476"/>
                        <a:pt x="44447" y="136476"/>
                        <a:pt x="19075" y="111096"/>
                      </a:cubicBezTo>
                      <a:cubicBezTo>
                        <a:pt x="-6362" y="85650"/>
                        <a:pt x="-6354" y="44473"/>
                        <a:pt x="19075" y="19035"/>
                      </a:cubicBezTo>
                      <a:cubicBezTo>
                        <a:pt x="44447" y="-6345"/>
                        <a:pt x="85739" y="-6345"/>
                        <a:pt x="111111" y="19035"/>
                      </a:cubicBezTo>
                      <a:cubicBezTo>
                        <a:pt x="136549" y="44481"/>
                        <a:pt x="136549" y="85658"/>
                        <a:pt x="111111" y="111096"/>
                      </a:cubicBezTo>
                      <a:close/>
                    </a:path>
                  </a:pathLst>
                </a:custGeom>
                <a:grpFill/>
                <a:ln w="81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60" name="Freeform: Shape 61">
                  <a:extLst>
                    <a:ext uri="{FF2B5EF4-FFF2-40B4-BE49-F238E27FC236}">
                      <a16:creationId xmlns:a16="http://schemas.microsoft.com/office/drawing/2014/main" id="{3341508B-FBCB-4843-BBB1-757DFABE68FD}"/>
                    </a:ext>
                  </a:extLst>
                </p:cNvPr>
                <p:cNvSpPr/>
                <p:nvPr/>
              </p:nvSpPr>
              <p:spPr>
                <a:xfrm>
                  <a:off x="9448523" y="417741"/>
                  <a:ext cx="129525" cy="129525"/>
                </a:xfrm>
                <a:custGeom>
                  <a:avLst/>
                  <a:gdLst>
                    <a:gd name="connsiteX0" fmla="*/ 111114 w 129524"/>
                    <a:gd name="connsiteY0" fmla="*/ 111096 h 129524"/>
                    <a:gd name="connsiteX1" fmla="*/ 19078 w 129524"/>
                    <a:gd name="connsiteY1" fmla="*/ 111096 h 129524"/>
                    <a:gd name="connsiteX2" fmla="*/ 19078 w 129524"/>
                    <a:gd name="connsiteY2" fmla="*/ 19035 h 129524"/>
                    <a:gd name="connsiteX3" fmla="*/ 111114 w 129524"/>
                    <a:gd name="connsiteY3" fmla="*/ 19035 h 129524"/>
                    <a:gd name="connsiteX4" fmla="*/ 111114 w 129524"/>
                    <a:gd name="connsiteY4" fmla="*/ 111096 h 1295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9524" h="129524">
                      <a:moveTo>
                        <a:pt x="111114" y="111096"/>
                      </a:moveTo>
                      <a:cubicBezTo>
                        <a:pt x="85742" y="136476"/>
                        <a:pt x="44450" y="136476"/>
                        <a:pt x="19078" y="111096"/>
                      </a:cubicBezTo>
                      <a:cubicBezTo>
                        <a:pt x="-6359" y="85650"/>
                        <a:pt x="-6359" y="44473"/>
                        <a:pt x="19078" y="19035"/>
                      </a:cubicBezTo>
                      <a:cubicBezTo>
                        <a:pt x="44450" y="-6345"/>
                        <a:pt x="85742" y="-6345"/>
                        <a:pt x="111114" y="19035"/>
                      </a:cubicBezTo>
                      <a:cubicBezTo>
                        <a:pt x="136552" y="44481"/>
                        <a:pt x="136544" y="85658"/>
                        <a:pt x="111114" y="111096"/>
                      </a:cubicBezTo>
                      <a:close/>
                    </a:path>
                  </a:pathLst>
                </a:custGeom>
                <a:grpFill/>
                <a:ln w="81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61" name="Freeform: Shape 62">
                  <a:extLst>
                    <a:ext uri="{FF2B5EF4-FFF2-40B4-BE49-F238E27FC236}">
                      <a16:creationId xmlns:a16="http://schemas.microsoft.com/office/drawing/2014/main" id="{614DF1EC-AA08-4536-8256-CB51DEB56EA3}"/>
                    </a:ext>
                  </a:extLst>
                </p:cNvPr>
                <p:cNvSpPr/>
                <p:nvPr/>
              </p:nvSpPr>
              <p:spPr>
                <a:xfrm>
                  <a:off x="9303800" y="562538"/>
                  <a:ext cx="129525" cy="129525"/>
                </a:xfrm>
                <a:custGeom>
                  <a:avLst/>
                  <a:gdLst>
                    <a:gd name="connsiteX0" fmla="*/ 130100 w 129524"/>
                    <a:gd name="connsiteY0" fmla="*/ 65066 h 129524"/>
                    <a:gd name="connsiteX1" fmla="*/ 111073 w 129524"/>
                    <a:gd name="connsiteY1" fmla="*/ 111096 h 129524"/>
                    <a:gd name="connsiteX2" fmla="*/ 19029 w 129524"/>
                    <a:gd name="connsiteY2" fmla="*/ 111096 h 129524"/>
                    <a:gd name="connsiteX3" fmla="*/ 19029 w 129524"/>
                    <a:gd name="connsiteY3" fmla="*/ 19035 h 129524"/>
                    <a:gd name="connsiteX4" fmla="*/ 111073 w 129524"/>
                    <a:gd name="connsiteY4" fmla="*/ 19035 h 129524"/>
                    <a:gd name="connsiteX5" fmla="*/ 130100 w 129524"/>
                    <a:gd name="connsiteY5" fmla="*/ 65066 h 1295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9524" h="129524">
                      <a:moveTo>
                        <a:pt x="130100" y="65066"/>
                      </a:moveTo>
                      <a:cubicBezTo>
                        <a:pt x="130100" y="81732"/>
                        <a:pt x="123764" y="98406"/>
                        <a:pt x="111073" y="111096"/>
                      </a:cubicBezTo>
                      <a:cubicBezTo>
                        <a:pt x="85693" y="136476"/>
                        <a:pt x="44409" y="136476"/>
                        <a:pt x="19029" y="111096"/>
                      </a:cubicBezTo>
                      <a:cubicBezTo>
                        <a:pt x="-6343" y="85716"/>
                        <a:pt x="-6343" y="44415"/>
                        <a:pt x="19029" y="19035"/>
                      </a:cubicBezTo>
                      <a:cubicBezTo>
                        <a:pt x="44409" y="-6345"/>
                        <a:pt x="85693" y="-6345"/>
                        <a:pt x="111073" y="19035"/>
                      </a:cubicBezTo>
                      <a:cubicBezTo>
                        <a:pt x="123764" y="31725"/>
                        <a:pt x="130100" y="48400"/>
                        <a:pt x="130100" y="65066"/>
                      </a:cubicBezTo>
                      <a:close/>
                    </a:path>
                  </a:pathLst>
                </a:custGeom>
                <a:grpFill/>
                <a:ln w="81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62" name="Freeform: Shape 63">
                  <a:extLst>
                    <a:ext uri="{FF2B5EF4-FFF2-40B4-BE49-F238E27FC236}">
                      <a16:creationId xmlns:a16="http://schemas.microsoft.com/office/drawing/2014/main" id="{9EC60713-C896-4E7E-99BD-6C6DA9F4E620}"/>
                    </a:ext>
                  </a:extLst>
                </p:cNvPr>
                <p:cNvSpPr/>
                <p:nvPr/>
              </p:nvSpPr>
              <p:spPr>
                <a:xfrm>
                  <a:off x="9231219" y="345145"/>
                  <a:ext cx="62303" cy="62303"/>
                </a:xfrm>
                <a:custGeom>
                  <a:avLst/>
                  <a:gdLst>
                    <a:gd name="connsiteX0" fmla="*/ 60150 w 62302"/>
                    <a:gd name="connsiteY0" fmla="*/ 5245 h 62302"/>
                    <a:gd name="connsiteX1" fmla="*/ 43025 w 62302"/>
                    <a:gd name="connsiteY1" fmla="*/ 2225 h 62302"/>
                    <a:gd name="connsiteX2" fmla="*/ 2226 w 62302"/>
                    <a:gd name="connsiteY2" fmla="*/ 43033 h 62302"/>
                    <a:gd name="connsiteX3" fmla="*/ 5243 w 62302"/>
                    <a:gd name="connsiteY3" fmla="*/ 60161 h 62302"/>
                    <a:gd name="connsiteX4" fmla="*/ 22368 w 62302"/>
                    <a:gd name="connsiteY4" fmla="*/ 57143 h 62302"/>
                    <a:gd name="connsiteX5" fmla="*/ 57131 w 62302"/>
                    <a:gd name="connsiteY5" fmla="*/ 22373 h 62302"/>
                    <a:gd name="connsiteX6" fmla="*/ 60150 w 62302"/>
                    <a:gd name="connsiteY6" fmla="*/ 5245 h 62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302" h="62302">
                      <a:moveTo>
                        <a:pt x="60150" y="5245"/>
                      </a:moveTo>
                      <a:cubicBezTo>
                        <a:pt x="56254" y="-319"/>
                        <a:pt x="48587" y="-1670"/>
                        <a:pt x="43025" y="2225"/>
                      </a:cubicBezTo>
                      <a:cubicBezTo>
                        <a:pt x="27105" y="13377"/>
                        <a:pt x="13378" y="27106"/>
                        <a:pt x="2226" y="43033"/>
                      </a:cubicBezTo>
                      <a:cubicBezTo>
                        <a:pt x="-1671" y="48597"/>
                        <a:pt x="-319" y="56265"/>
                        <a:pt x="5243" y="60161"/>
                      </a:cubicBezTo>
                      <a:cubicBezTo>
                        <a:pt x="10806" y="64059"/>
                        <a:pt x="18472" y="62707"/>
                        <a:pt x="22368" y="57143"/>
                      </a:cubicBezTo>
                      <a:cubicBezTo>
                        <a:pt x="31871" y="43572"/>
                        <a:pt x="43566" y="31874"/>
                        <a:pt x="57131" y="22373"/>
                      </a:cubicBezTo>
                      <a:cubicBezTo>
                        <a:pt x="62695" y="18477"/>
                        <a:pt x="64046" y="10808"/>
                        <a:pt x="60150" y="5245"/>
                      </a:cubicBezTo>
                      <a:close/>
                    </a:path>
                  </a:pathLst>
                </a:custGeom>
                <a:grpFill/>
                <a:ln w="81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63" name="Freeform: Shape 64">
                  <a:extLst>
                    <a:ext uri="{FF2B5EF4-FFF2-40B4-BE49-F238E27FC236}">
                      <a16:creationId xmlns:a16="http://schemas.microsoft.com/office/drawing/2014/main" id="{466D6F4D-DD95-4DDF-8EEA-B10761DB3552}"/>
                    </a:ext>
                  </a:extLst>
                </p:cNvPr>
                <p:cNvSpPr/>
                <p:nvPr/>
              </p:nvSpPr>
              <p:spPr>
                <a:xfrm>
                  <a:off x="9444108" y="558080"/>
                  <a:ext cx="62303" cy="62303"/>
                </a:xfrm>
                <a:custGeom>
                  <a:avLst/>
                  <a:gdLst>
                    <a:gd name="connsiteX0" fmla="*/ 2225 w 62302"/>
                    <a:gd name="connsiteY0" fmla="*/ 57143 h 62302"/>
                    <a:gd name="connsiteX1" fmla="*/ 19350 w 62302"/>
                    <a:gd name="connsiteY1" fmla="*/ 60163 h 62302"/>
                    <a:gd name="connsiteX2" fmla="*/ 60150 w 62302"/>
                    <a:gd name="connsiteY2" fmla="*/ 19355 h 62302"/>
                    <a:gd name="connsiteX3" fmla="*/ 57133 w 62302"/>
                    <a:gd name="connsiteY3" fmla="*/ 2227 h 62302"/>
                    <a:gd name="connsiteX4" fmla="*/ 40008 w 62302"/>
                    <a:gd name="connsiteY4" fmla="*/ 5245 h 62302"/>
                    <a:gd name="connsiteX5" fmla="*/ 5245 w 62302"/>
                    <a:gd name="connsiteY5" fmla="*/ 40015 h 62302"/>
                    <a:gd name="connsiteX6" fmla="*/ 2225 w 62302"/>
                    <a:gd name="connsiteY6" fmla="*/ 57143 h 62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302" h="62302">
                      <a:moveTo>
                        <a:pt x="2225" y="57143"/>
                      </a:moveTo>
                      <a:cubicBezTo>
                        <a:pt x="6125" y="62711"/>
                        <a:pt x="13793" y="64056"/>
                        <a:pt x="19350" y="60163"/>
                      </a:cubicBezTo>
                      <a:cubicBezTo>
                        <a:pt x="35271" y="49011"/>
                        <a:pt x="48998" y="35282"/>
                        <a:pt x="60150" y="19355"/>
                      </a:cubicBezTo>
                      <a:cubicBezTo>
                        <a:pt x="64046" y="13791"/>
                        <a:pt x="62694" y="6123"/>
                        <a:pt x="57133" y="2227"/>
                      </a:cubicBezTo>
                      <a:cubicBezTo>
                        <a:pt x="51571" y="-1671"/>
                        <a:pt x="43904" y="-320"/>
                        <a:pt x="40008" y="5245"/>
                      </a:cubicBezTo>
                      <a:cubicBezTo>
                        <a:pt x="30505" y="18816"/>
                        <a:pt x="18809" y="30514"/>
                        <a:pt x="5245" y="40015"/>
                      </a:cubicBezTo>
                      <a:cubicBezTo>
                        <a:pt x="-319" y="43911"/>
                        <a:pt x="-1670" y="51580"/>
                        <a:pt x="2225" y="57143"/>
                      </a:cubicBezTo>
                      <a:close/>
                    </a:path>
                  </a:pathLst>
                </a:custGeom>
                <a:grpFill/>
                <a:ln w="81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64" name="Freeform: Shape 65">
                  <a:extLst>
                    <a:ext uri="{FF2B5EF4-FFF2-40B4-BE49-F238E27FC236}">
                      <a16:creationId xmlns:a16="http://schemas.microsoft.com/office/drawing/2014/main" id="{0A060550-B7D0-4EA4-B18A-0CF4E8802A7A}"/>
                    </a:ext>
                  </a:extLst>
                </p:cNvPr>
                <p:cNvSpPr/>
                <p:nvPr/>
              </p:nvSpPr>
              <p:spPr>
                <a:xfrm>
                  <a:off x="9231220" y="558081"/>
                  <a:ext cx="62303" cy="62303"/>
                </a:xfrm>
                <a:custGeom>
                  <a:avLst/>
                  <a:gdLst>
                    <a:gd name="connsiteX0" fmla="*/ 57131 w 62302"/>
                    <a:gd name="connsiteY0" fmla="*/ 40014 h 62302"/>
                    <a:gd name="connsiteX1" fmla="*/ 22368 w 62302"/>
                    <a:gd name="connsiteY1" fmla="*/ 5244 h 62302"/>
                    <a:gd name="connsiteX2" fmla="*/ 5243 w 62302"/>
                    <a:gd name="connsiteY2" fmla="*/ 2225 h 62302"/>
                    <a:gd name="connsiteX3" fmla="*/ 2226 w 62302"/>
                    <a:gd name="connsiteY3" fmla="*/ 19354 h 62302"/>
                    <a:gd name="connsiteX4" fmla="*/ 43026 w 62302"/>
                    <a:gd name="connsiteY4" fmla="*/ 60161 h 62302"/>
                    <a:gd name="connsiteX5" fmla="*/ 60151 w 62302"/>
                    <a:gd name="connsiteY5" fmla="*/ 57142 h 62302"/>
                    <a:gd name="connsiteX6" fmla="*/ 57131 w 62302"/>
                    <a:gd name="connsiteY6" fmla="*/ 40014 h 62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302" h="62302">
                      <a:moveTo>
                        <a:pt x="57131" y="40014"/>
                      </a:moveTo>
                      <a:cubicBezTo>
                        <a:pt x="43567" y="30512"/>
                        <a:pt x="31871" y="18813"/>
                        <a:pt x="22368" y="5244"/>
                      </a:cubicBezTo>
                      <a:cubicBezTo>
                        <a:pt x="18472" y="-320"/>
                        <a:pt x="10807" y="-1669"/>
                        <a:pt x="5243" y="2225"/>
                      </a:cubicBezTo>
                      <a:cubicBezTo>
                        <a:pt x="-319" y="6122"/>
                        <a:pt x="-1670" y="13791"/>
                        <a:pt x="2226" y="19354"/>
                      </a:cubicBezTo>
                      <a:cubicBezTo>
                        <a:pt x="13378" y="35280"/>
                        <a:pt x="27105" y="49010"/>
                        <a:pt x="43026" y="60161"/>
                      </a:cubicBezTo>
                      <a:cubicBezTo>
                        <a:pt x="48592" y="64059"/>
                        <a:pt x="56257" y="62703"/>
                        <a:pt x="60151" y="57142"/>
                      </a:cubicBezTo>
                      <a:cubicBezTo>
                        <a:pt x="64045" y="51578"/>
                        <a:pt x="62694" y="43910"/>
                        <a:pt x="57131" y="40014"/>
                      </a:cubicBezTo>
                      <a:close/>
                    </a:path>
                  </a:pathLst>
                </a:custGeom>
                <a:grpFill/>
                <a:ln w="81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65" name="Freeform: Shape 66">
                  <a:extLst>
                    <a:ext uri="{FF2B5EF4-FFF2-40B4-BE49-F238E27FC236}">
                      <a16:creationId xmlns:a16="http://schemas.microsoft.com/office/drawing/2014/main" id="{1B186E0D-03D2-4DE2-8FEB-06676BBA5C91}"/>
                    </a:ext>
                  </a:extLst>
                </p:cNvPr>
                <p:cNvSpPr/>
                <p:nvPr/>
              </p:nvSpPr>
              <p:spPr>
                <a:xfrm>
                  <a:off x="9444107" y="345145"/>
                  <a:ext cx="62303" cy="62303"/>
                </a:xfrm>
                <a:custGeom>
                  <a:avLst/>
                  <a:gdLst>
                    <a:gd name="connsiteX0" fmla="*/ 40008 w 62302"/>
                    <a:gd name="connsiteY0" fmla="*/ 57144 h 62302"/>
                    <a:gd name="connsiteX1" fmla="*/ 57133 w 62302"/>
                    <a:gd name="connsiteY1" fmla="*/ 60162 h 62302"/>
                    <a:gd name="connsiteX2" fmla="*/ 60150 w 62302"/>
                    <a:gd name="connsiteY2" fmla="*/ 43034 h 62302"/>
                    <a:gd name="connsiteX3" fmla="*/ 19350 w 62302"/>
                    <a:gd name="connsiteY3" fmla="*/ 2226 h 62302"/>
                    <a:gd name="connsiteX4" fmla="*/ 2225 w 62302"/>
                    <a:gd name="connsiteY4" fmla="*/ 5245 h 62302"/>
                    <a:gd name="connsiteX5" fmla="*/ 5244 w 62302"/>
                    <a:gd name="connsiteY5" fmla="*/ 22374 h 62302"/>
                    <a:gd name="connsiteX6" fmla="*/ 40008 w 62302"/>
                    <a:gd name="connsiteY6" fmla="*/ 57144 h 62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302" h="62302">
                      <a:moveTo>
                        <a:pt x="40008" y="57144"/>
                      </a:moveTo>
                      <a:cubicBezTo>
                        <a:pt x="43902" y="62706"/>
                        <a:pt x="51567" y="64059"/>
                        <a:pt x="57133" y="60162"/>
                      </a:cubicBezTo>
                      <a:cubicBezTo>
                        <a:pt x="62695" y="56266"/>
                        <a:pt x="64046" y="48597"/>
                        <a:pt x="60150" y="43034"/>
                      </a:cubicBezTo>
                      <a:cubicBezTo>
                        <a:pt x="48997" y="27107"/>
                        <a:pt x="35271" y="13377"/>
                        <a:pt x="19350" y="2226"/>
                      </a:cubicBezTo>
                      <a:cubicBezTo>
                        <a:pt x="13788" y="-1670"/>
                        <a:pt x="6121" y="-319"/>
                        <a:pt x="2225" y="5245"/>
                      </a:cubicBezTo>
                      <a:cubicBezTo>
                        <a:pt x="-1670" y="10809"/>
                        <a:pt x="-319" y="18478"/>
                        <a:pt x="5244" y="22374"/>
                      </a:cubicBezTo>
                      <a:cubicBezTo>
                        <a:pt x="18809" y="31875"/>
                        <a:pt x="30505" y="43574"/>
                        <a:pt x="40008" y="57144"/>
                      </a:cubicBezTo>
                      <a:close/>
                    </a:path>
                  </a:pathLst>
                </a:custGeom>
                <a:grpFill/>
                <a:ln w="81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grpSp>
        <p:grpSp>
          <p:nvGrpSpPr>
            <p:cNvPr id="20" name="Group 109">
              <a:extLst>
                <a:ext uri="{FF2B5EF4-FFF2-40B4-BE49-F238E27FC236}">
                  <a16:creationId xmlns:a16="http://schemas.microsoft.com/office/drawing/2014/main" id="{D3FD426F-A79D-4F70-962E-C46CA077FE9A}"/>
                </a:ext>
              </a:extLst>
            </p:cNvPr>
            <p:cNvGrpSpPr/>
            <p:nvPr/>
          </p:nvGrpSpPr>
          <p:grpSpPr>
            <a:xfrm>
              <a:off x="9457403" y="3102980"/>
              <a:ext cx="1650559" cy="1567155"/>
              <a:chOff x="-2076146" y="4977892"/>
              <a:chExt cx="1699273" cy="1613408"/>
            </a:xfrm>
          </p:grpSpPr>
          <p:sp>
            <p:nvSpPr>
              <p:cNvPr id="44" name="Rectangle: Rounded Corners 45">
                <a:extLst>
                  <a:ext uri="{FF2B5EF4-FFF2-40B4-BE49-F238E27FC236}">
                    <a16:creationId xmlns:a16="http://schemas.microsoft.com/office/drawing/2014/main" id="{57F8DF3E-468C-484F-A00A-19C0CBA40F7A}"/>
                  </a:ext>
                </a:extLst>
              </p:cNvPr>
              <p:cNvSpPr/>
              <p:nvPr/>
            </p:nvSpPr>
            <p:spPr>
              <a:xfrm>
                <a:off x="-2020916" y="4977892"/>
                <a:ext cx="1613408" cy="1613408"/>
              </a:xfrm>
              <a:prstGeom prst="roundRect">
                <a:avLst/>
              </a:prstGeom>
              <a:solidFill>
                <a:schemeClr val="accent4"/>
              </a:solidFill>
              <a:ln>
                <a:noFill/>
              </a:ln>
              <a:effectLst>
                <a:outerShdw blurRad="1168400" dir="2700000" sx="90000" sy="90000" algn="tl" rotWithShape="0">
                  <a:prstClr val="black">
                    <a:alpha val="1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FFFFFF"/>
                  </a:solidFill>
                  <a:effectLst/>
                  <a:uLnTx/>
                  <a:uFillTx/>
                  <a:latin typeface="等线" panose="020F0502020204030204"/>
                  <a:ea typeface="+mn-ea"/>
                  <a:cs typeface="+mn-cs"/>
                </a:endParaRPr>
              </a:p>
            </p:txBody>
          </p:sp>
          <p:sp>
            <p:nvSpPr>
              <p:cNvPr id="45" name="TextBox 46">
                <a:extLst>
                  <a:ext uri="{FF2B5EF4-FFF2-40B4-BE49-F238E27FC236}">
                    <a16:creationId xmlns:a16="http://schemas.microsoft.com/office/drawing/2014/main" id="{F4A3DD81-828E-437C-866E-2ADC1A7B06EE}"/>
                  </a:ext>
                </a:extLst>
              </p:cNvPr>
              <p:cNvSpPr txBox="1"/>
              <p:nvPr/>
            </p:nvSpPr>
            <p:spPr>
              <a:xfrm>
                <a:off x="-1786788" y="5547497"/>
                <a:ext cx="1120557" cy="626069"/>
              </a:xfrm>
              <a:prstGeom prst="rect">
                <a:avLst/>
              </a:prstGeom>
              <a:noFill/>
            </p:spPr>
            <p:txBody>
              <a:bodyPr wrap="square" rtlCol="0">
                <a:spAutoFit/>
              </a:bodyPr>
              <a:lstStyle/>
              <a:p>
                <a:pPr marL="0" marR="0" lvl="0" indent="0" algn="ctr" defTabSz="914400" rtl="0" eaLnBrk="1" fontAlgn="auto" latinLnBrk="0" hangingPunct="1">
                  <a:lnSpc>
                    <a:spcPct val="14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64%</a:t>
                </a:r>
              </a:p>
            </p:txBody>
          </p:sp>
          <p:sp>
            <p:nvSpPr>
              <p:cNvPr id="46" name="TextBox 47">
                <a:extLst>
                  <a:ext uri="{FF2B5EF4-FFF2-40B4-BE49-F238E27FC236}">
                    <a16:creationId xmlns:a16="http://schemas.microsoft.com/office/drawing/2014/main" id="{A3419080-585C-4DCB-BDD9-415D5A47537D}"/>
                  </a:ext>
                </a:extLst>
              </p:cNvPr>
              <p:cNvSpPr txBox="1"/>
              <p:nvPr/>
            </p:nvSpPr>
            <p:spPr>
              <a:xfrm>
                <a:off x="-2076146" y="6078517"/>
                <a:ext cx="1699273" cy="326884"/>
              </a:xfrm>
              <a:prstGeom prst="rect">
                <a:avLst/>
              </a:prstGeom>
              <a:noFill/>
            </p:spPr>
            <p:txBody>
              <a:bodyPr wrap="square" rtlCol="0">
                <a:spAutoFit/>
              </a:bodyPr>
              <a:lstStyle/>
              <a:p>
                <a:pPr marL="0" marR="0" lvl="0" indent="0" algn="ctr" defTabSz="914400" rtl="0" eaLnBrk="1" fontAlgn="auto" latinLnBrk="0" hangingPunct="1">
                  <a:lnSpc>
                    <a:spcPct val="14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等线 Light" panose="020F0302020204030204"/>
                    <a:ea typeface="+mn-ea"/>
                    <a:cs typeface="+mn-cs"/>
                  </a:rPr>
                  <a:t>Lorem ipsum dolor</a:t>
                </a:r>
              </a:p>
            </p:txBody>
          </p:sp>
          <p:sp>
            <p:nvSpPr>
              <p:cNvPr id="47" name="Rectangle: Rounded Corners 48">
                <a:extLst>
                  <a:ext uri="{FF2B5EF4-FFF2-40B4-BE49-F238E27FC236}">
                    <a16:creationId xmlns:a16="http://schemas.microsoft.com/office/drawing/2014/main" id="{DBE7BBB2-E083-4543-A438-59FEA21984EC}"/>
                  </a:ext>
                </a:extLst>
              </p:cNvPr>
              <p:cNvSpPr/>
              <p:nvPr/>
            </p:nvSpPr>
            <p:spPr>
              <a:xfrm>
                <a:off x="-1468543" y="5154027"/>
                <a:ext cx="484067" cy="495189"/>
              </a:xfrm>
              <a:prstGeom prst="roundRect">
                <a:avLst>
                  <a:gd name="adj" fmla="val 27982"/>
                </a:avLst>
              </a:prstGeom>
              <a:solidFill>
                <a:schemeClr val="bg1"/>
              </a:solidFill>
              <a:ln w="25400" cap="flat" cmpd="sng" algn="ctr">
                <a:noFill/>
                <a:prstDash val="solid"/>
              </a:ln>
              <a:effectLst>
                <a:outerShdw blurRad="228600" dist="38100" dir="2700000" algn="tl" rotWithShape="0">
                  <a:prstClr val="black">
                    <a:alpha val="25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宋体"/>
                  <a:cs typeface="+mn-cs"/>
                </a:endParaRPr>
              </a:p>
            </p:txBody>
          </p:sp>
          <p:grpSp>
            <p:nvGrpSpPr>
              <p:cNvPr id="48" name="Graphic 2">
                <a:extLst>
                  <a:ext uri="{FF2B5EF4-FFF2-40B4-BE49-F238E27FC236}">
                    <a16:creationId xmlns:a16="http://schemas.microsoft.com/office/drawing/2014/main" id="{6F3E94DF-7984-4E39-BF28-5CAB1749576A}"/>
                  </a:ext>
                </a:extLst>
              </p:cNvPr>
              <p:cNvGrpSpPr/>
              <p:nvPr/>
            </p:nvGrpSpPr>
            <p:grpSpPr>
              <a:xfrm>
                <a:off x="-1327657" y="5308574"/>
                <a:ext cx="202294" cy="186095"/>
                <a:chOff x="9803562" y="1740892"/>
                <a:chExt cx="419725" cy="386114"/>
              </a:xfrm>
              <a:solidFill>
                <a:schemeClr val="accent4"/>
              </a:solidFill>
            </p:grpSpPr>
            <p:sp>
              <p:nvSpPr>
                <p:cNvPr id="49" name="Freeform: Shape 55">
                  <a:extLst>
                    <a:ext uri="{FF2B5EF4-FFF2-40B4-BE49-F238E27FC236}">
                      <a16:creationId xmlns:a16="http://schemas.microsoft.com/office/drawing/2014/main" id="{93D784E4-DC2A-445A-AED0-C9D8DEE387F0}"/>
                    </a:ext>
                  </a:extLst>
                </p:cNvPr>
                <p:cNvSpPr/>
                <p:nvPr/>
              </p:nvSpPr>
              <p:spPr>
                <a:xfrm>
                  <a:off x="9901181" y="1823910"/>
                  <a:ext cx="26233" cy="26233"/>
                </a:xfrm>
                <a:custGeom>
                  <a:avLst/>
                  <a:gdLst>
                    <a:gd name="connsiteX0" fmla="*/ 13461 w 26232"/>
                    <a:gd name="connsiteY0" fmla="*/ 26913 h 26232"/>
                    <a:gd name="connsiteX1" fmla="*/ 26921 w 26232"/>
                    <a:gd name="connsiteY1" fmla="*/ 13453 h 26232"/>
                    <a:gd name="connsiteX2" fmla="*/ 13461 w 26232"/>
                    <a:gd name="connsiteY2" fmla="*/ 0 h 26232"/>
                    <a:gd name="connsiteX3" fmla="*/ 0 w 26232"/>
                    <a:gd name="connsiteY3" fmla="*/ 13453 h 26232"/>
                    <a:gd name="connsiteX4" fmla="*/ 13461 w 26232"/>
                    <a:gd name="connsiteY4" fmla="*/ 26913 h 262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32" h="26232">
                      <a:moveTo>
                        <a:pt x="13461" y="26913"/>
                      </a:moveTo>
                      <a:cubicBezTo>
                        <a:pt x="20880" y="26913"/>
                        <a:pt x="26921" y="20880"/>
                        <a:pt x="26921" y="13453"/>
                      </a:cubicBezTo>
                      <a:cubicBezTo>
                        <a:pt x="26921" y="6034"/>
                        <a:pt x="20880" y="0"/>
                        <a:pt x="13461" y="0"/>
                      </a:cubicBezTo>
                      <a:cubicBezTo>
                        <a:pt x="6042" y="0"/>
                        <a:pt x="0" y="6034"/>
                        <a:pt x="0" y="13453"/>
                      </a:cubicBezTo>
                      <a:cubicBezTo>
                        <a:pt x="0" y="20880"/>
                        <a:pt x="6042" y="26913"/>
                        <a:pt x="13461" y="26913"/>
                      </a:cubicBezTo>
                      <a:close/>
                    </a:path>
                  </a:pathLst>
                </a:custGeom>
                <a:grpFill/>
                <a:ln w="81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50" name="Freeform: Shape 56">
                  <a:extLst>
                    <a:ext uri="{FF2B5EF4-FFF2-40B4-BE49-F238E27FC236}">
                      <a16:creationId xmlns:a16="http://schemas.microsoft.com/office/drawing/2014/main" id="{79FEBCE8-53E3-4032-9224-3FCE01A5D308}"/>
                    </a:ext>
                  </a:extLst>
                </p:cNvPr>
                <p:cNvSpPr/>
                <p:nvPr/>
              </p:nvSpPr>
              <p:spPr>
                <a:xfrm>
                  <a:off x="9883252" y="1875417"/>
                  <a:ext cx="62303" cy="28692"/>
                </a:xfrm>
                <a:custGeom>
                  <a:avLst/>
                  <a:gdLst>
                    <a:gd name="connsiteX0" fmla="*/ 31389 w 62302"/>
                    <a:gd name="connsiteY0" fmla="*/ 0 h 28692"/>
                    <a:gd name="connsiteX1" fmla="*/ 0 w 62302"/>
                    <a:gd name="connsiteY1" fmla="*/ 28774 h 28692"/>
                    <a:gd name="connsiteX2" fmla="*/ 62778 w 62302"/>
                    <a:gd name="connsiteY2" fmla="*/ 28774 h 28692"/>
                    <a:gd name="connsiteX3" fmla="*/ 31389 w 62302"/>
                    <a:gd name="connsiteY3" fmla="*/ 0 h 28692"/>
                  </a:gdLst>
                  <a:ahLst/>
                  <a:cxnLst>
                    <a:cxn ang="0">
                      <a:pos x="connsiteX0" y="connsiteY0"/>
                    </a:cxn>
                    <a:cxn ang="0">
                      <a:pos x="connsiteX1" y="connsiteY1"/>
                    </a:cxn>
                    <a:cxn ang="0">
                      <a:pos x="connsiteX2" y="connsiteY2"/>
                    </a:cxn>
                    <a:cxn ang="0">
                      <a:pos x="connsiteX3" y="connsiteY3"/>
                    </a:cxn>
                  </a:cxnLst>
                  <a:rect l="l" t="t" r="r" b="b"/>
                  <a:pathLst>
                    <a:path w="62302" h="28692">
                      <a:moveTo>
                        <a:pt x="31389" y="0"/>
                      </a:moveTo>
                      <a:cubicBezTo>
                        <a:pt x="14936" y="0"/>
                        <a:pt x="1394" y="12674"/>
                        <a:pt x="0" y="28774"/>
                      </a:cubicBezTo>
                      <a:lnTo>
                        <a:pt x="62778" y="28774"/>
                      </a:lnTo>
                      <a:cubicBezTo>
                        <a:pt x="61385" y="12674"/>
                        <a:pt x="47842" y="0"/>
                        <a:pt x="31389" y="0"/>
                      </a:cubicBezTo>
                      <a:close/>
                    </a:path>
                  </a:pathLst>
                </a:custGeom>
                <a:grpFill/>
                <a:ln w="81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51" name="Freeform: Shape 57">
                  <a:extLst>
                    <a:ext uri="{FF2B5EF4-FFF2-40B4-BE49-F238E27FC236}">
                      <a16:creationId xmlns:a16="http://schemas.microsoft.com/office/drawing/2014/main" id="{611A144F-FDA2-4A79-B349-79E5C9202C5F}"/>
                    </a:ext>
                  </a:extLst>
                </p:cNvPr>
                <p:cNvSpPr/>
                <p:nvPr/>
              </p:nvSpPr>
              <p:spPr>
                <a:xfrm>
                  <a:off x="9803562" y="1740892"/>
                  <a:ext cx="419725" cy="220520"/>
                </a:xfrm>
                <a:custGeom>
                  <a:avLst/>
                  <a:gdLst>
                    <a:gd name="connsiteX0" fmla="*/ 407428 w 419725"/>
                    <a:gd name="connsiteY0" fmla="*/ 0 h 220519"/>
                    <a:gd name="connsiteX1" fmla="*/ 12297 w 419725"/>
                    <a:gd name="connsiteY1" fmla="*/ 0 h 220519"/>
                    <a:gd name="connsiteX2" fmla="*/ 0 w 419725"/>
                    <a:gd name="connsiteY2" fmla="*/ 12297 h 220519"/>
                    <a:gd name="connsiteX3" fmla="*/ 0 w 419725"/>
                    <a:gd name="connsiteY3" fmla="*/ 220938 h 220519"/>
                    <a:gd name="connsiteX4" fmla="*/ 419725 w 419725"/>
                    <a:gd name="connsiteY4" fmla="*/ 220938 h 220519"/>
                    <a:gd name="connsiteX5" fmla="*/ 419725 w 419725"/>
                    <a:gd name="connsiteY5" fmla="*/ 12297 h 220519"/>
                    <a:gd name="connsiteX6" fmla="*/ 407428 w 419725"/>
                    <a:gd name="connsiteY6" fmla="*/ 0 h 220519"/>
                    <a:gd name="connsiteX7" fmla="*/ 167177 w 419725"/>
                    <a:gd name="connsiteY7" fmla="*/ 175596 h 220519"/>
                    <a:gd name="connsiteX8" fmla="*/ 154880 w 419725"/>
                    <a:gd name="connsiteY8" fmla="*/ 187893 h 220519"/>
                    <a:gd name="connsiteX9" fmla="*/ 67279 w 419725"/>
                    <a:gd name="connsiteY9" fmla="*/ 187893 h 220519"/>
                    <a:gd name="connsiteX10" fmla="*/ 54982 w 419725"/>
                    <a:gd name="connsiteY10" fmla="*/ 175596 h 220519"/>
                    <a:gd name="connsiteX11" fmla="*/ 54982 w 419725"/>
                    <a:gd name="connsiteY11" fmla="*/ 166029 h 220519"/>
                    <a:gd name="connsiteX12" fmla="*/ 80469 w 419725"/>
                    <a:gd name="connsiteY12" fmla="*/ 119056 h 220519"/>
                    <a:gd name="connsiteX13" fmla="*/ 73026 w 419725"/>
                    <a:gd name="connsiteY13" fmla="*/ 96471 h 220519"/>
                    <a:gd name="connsiteX14" fmla="*/ 111080 w 419725"/>
                    <a:gd name="connsiteY14" fmla="*/ 58425 h 220519"/>
                    <a:gd name="connsiteX15" fmla="*/ 149134 w 419725"/>
                    <a:gd name="connsiteY15" fmla="*/ 96471 h 220519"/>
                    <a:gd name="connsiteX16" fmla="*/ 141690 w 419725"/>
                    <a:gd name="connsiteY16" fmla="*/ 119056 h 220519"/>
                    <a:gd name="connsiteX17" fmla="*/ 167177 w 419725"/>
                    <a:gd name="connsiteY17" fmla="*/ 166029 h 220519"/>
                    <a:gd name="connsiteX18" fmla="*/ 358242 w 419725"/>
                    <a:gd name="connsiteY18" fmla="*/ 183302 h 220519"/>
                    <a:gd name="connsiteX19" fmla="*/ 247474 w 419725"/>
                    <a:gd name="connsiteY19" fmla="*/ 183302 h 220519"/>
                    <a:gd name="connsiteX20" fmla="*/ 235177 w 419725"/>
                    <a:gd name="connsiteY20" fmla="*/ 171005 h 220519"/>
                    <a:gd name="connsiteX21" fmla="*/ 247474 w 419725"/>
                    <a:gd name="connsiteY21" fmla="*/ 158709 h 220519"/>
                    <a:gd name="connsiteX22" fmla="*/ 358242 w 419725"/>
                    <a:gd name="connsiteY22" fmla="*/ 158709 h 220519"/>
                    <a:gd name="connsiteX23" fmla="*/ 370538 w 419725"/>
                    <a:gd name="connsiteY23" fmla="*/ 171005 h 220519"/>
                    <a:gd name="connsiteX24" fmla="*/ 358242 w 419725"/>
                    <a:gd name="connsiteY24" fmla="*/ 183302 h 220519"/>
                    <a:gd name="connsiteX25" fmla="*/ 358242 w 419725"/>
                    <a:gd name="connsiteY25" fmla="*/ 134115 h 220519"/>
                    <a:gd name="connsiteX26" fmla="*/ 247474 w 419725"/>
                    <a:gd name="connsiteY26" fmla="*/ 134115 h 220519"/>
                    <a:gd name="connsiteX27" fmla="*/ 235177 w 419725"/>
                    <a:gd name="connsiteY27" fmla="*/ 121819 h 220519"/>
                    <a:gd name="connsiteX28" fmla="*/ 247474 w 419725"/>
                    <a:gd name="connsiteY28" fmla="*/ 109522 h 220519"/>
                    <a:gd name="connsiteX29" fmla="*/ 358242 w 419725"/>
                    <a:gd name="connsiteY29" fmla="*/ 109522 h 220519"/>
                    <a:gd name="connsiteX30" fmla="*/ 370538 w 419725"/>
                    <a:gd name="connsiteY30" fmla="*/ 121819 h 220519"/>
                    <a:gd name="connsiteX31" fmla="*/ 358242 w 419725"/>
                    <a:gd name="connsiteY31" fmla="*/ 134115 h 220519"/>
                    <a:gd name="connsiteX32" fmla="*/ 358242 w 419725"/>
                    <a:gd name="connsiteY32" fmla="*/ 84929 h 220519"/>
                    <a:gd name="connsiteX33" fmla="*/ 247474 w 419725"/>
                    <a:gd name="connsiteY33" fmla="*/ 84929 h 220519"/>
                    <a:gd name="connsiteX34" fmla="*/ 235177 w 419725"/>
                    <a:gd name="connsiteY34" fmla="*/ 72632 h 220519"/>
                    <a:gd name="connsiteX35" fmla="*/ 247474 w 419725"/>
                    <a:gd name="connsiteY35" fmla="*/ 60335 h 220519"/>
                    <a:gd name="connsiteX36" fmla="*/ 358242 w 419725"/>
                    <a:gd name="connsiteY36" fmla="*/ 60335 h 220519"/>
                    <a:gd name="connsiteX37" fmla="*/ 370538 w 419725"/>
                    <a:gd name="connsiteY37" fmla="*/ 72632 h 220519"/>
                    <a:gd name="connsiteX38" fmla="*/ 358242 w 419725"/>
                    <a:gd name="connsiteY38" fmla="*/ 84929 h 2205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19725" h="220519">
                      <a:moveTo>
                        <a:pt x="407428" y="0"/>
                      </a:moveTo>
                      <a:lnTo>
                        <a:pt x="12297" y="0"/>
                      </a:lnTo>
                      <a:cubicBezTo>
                        <a:pt x="5509" y="0"/>
                        <a:pt x="0" y="5509"/>
                        <a:pt x="0" y="12297"/>
                      </a:cubicBezTo>
                      <a:lnTo>
                        <a:pt x="0" y="220938"/>
                      </a:lnTo>
                      <a:lnTo>
                        <a:pt x="419725" y="220938"/>
                      </a:lnTo>
                      <a:lnTo>
                        <a:pt x="419725" y="12297"/>
                      </a:lnTo>
                      <a:cubicBezTo>
                        <a:pt x="419725" y="5509"/>
                        <a:pt x="414216" y="0"/>
                        <a:pt x="407428" y="0"/>
                      </a:cubicBezTo>
                      <a:close/>
                      <a:moveTo>
                        <a:pt x="167177" y="175596"/>
                      </a:moveTo>
                      <a:cubicBezTo>
                        <a:pt x="167177" y="182384"/>
                        <a:pt x="161676" y="187893"/>
                        <a:pt x="154880" y="187893"/>
                      </a:cubicBezTo>
                      <a:lnTo>
                        <a:pt x="67279" y="187893"/>
                      </a:lnTo>
                      <a:cubicBezTo>
                        <a:pt x="60483" y="187893"/>
                        <a:pt x="54982" y="182384"/>
                        <a:pt x="54982" y="175596"/>
                      </a:cubicBezTo>
                      <a:lnTo>
                        <a:pt x="54982" y="166029"/>
                      </a:lnTo>
                      <a:cubicBezTo>
                        <a:pt x="54982" y="146387"/>
                        <a:pt x="65131" y="129065"/>
                        <a:pt x="80469" y="119056"/>
                      </a:cubicBezTo>
                      <a:cubicBezTo>
                        <a:pt x="75796" y="112736"/>
                        <a:pt x="73026" y="104923"/>
                        <a:pt x="73026" y="96471"/>
                      </a:cubicBezTo>
                      <a:cubicBezTo>
                        <a:pt x="73026" y="75493"/>
                        <a:pt x="90102" y="58425"/>
                        <a:pt x="111080" y="58425"/>
                      </a:cubicBezTo>
                      <a:cubicBezTo>
                        <a:pt x="132058" y="58425"/>
                        <a:pt x="149134" y="75493"/>
                        <a:pt x="149134" y="96471"/>
                      </a:cubicBezTo>
                      <a:cubicBezTo>
                        <a:pt x="149134" y="104923"/>
                        <a:pt x="146363" y="112736"/>
                        <a:pt x="141690" y="119056"/>
                      </a:cubicBezTo>
                      <a:cubicBezTo>
                        <a:pt x="157028" y="129065"/>
                        <a:pt x="167177" y="146387"/>
                        <a:pt x="167177" y="166029"/>
                      </a:cubicBezTo>
                      <a:close/>
                      <a:moveTo>
                        <a:pt x="358242" y="183302"/>
                      </a:moveTo>
                      <a:lnTo>
                        <a:pt x="247474" y="183302"/>
                      </a:lnTo>
                      <a:cubicBezTo>
                        <a:pt x="240678" y="183302"/>
                        <a:pt x="235177" y="177793"/>
                        <a:pt x="235177" y="171005"/>
                      </a:cubicBezTo>
                      <a:cubicBezTo>
                        <a:pt x="235177" y="164209"/>
                        <a:pt x="240678" y="158709"/>
                        <a:pt x="247474" y="158709"/>
                      </a:cubicBezTo>
                      <a:lnTo>
                        <a:pt x="358242" y="158709"/>
                      </a:lnTo>
                      <a:cubicBezTo>
                        <a:pt x="365030" y="158709"/>
                        <a:pt x="370538" y="164209"/>
                        <a:pt x="370538" y="171005"/>
                      </a:cubicBezTo>
                      <a:cubicBezTo>
                        <a:pt x="370538" y="177793"/>
                        <a:pt x="365030" y="183302"/>
                        <a:pt x="358242" y="183302"/>
                      </a:cubicBezTo>
                      <a:close/>
                      <a:moveTo>
                        <a:pt x="358242" y="134115"/>
                      </a:moveTo>
                      <a:lnTo>
                        <a:pt x="247474" y="134115"/>
                      </a:lnTo>
                      <a:cubicBezTo>
                        <a:pt x="240678" y="134115"/>
                        <a:pt x="235177" y="128606"/>
                        <a:pt x="235177" y="121819"/>
                      </a:cubicBezTo>
                      <a:cubicBezTo>
                        <a:pt x="235177" y="115023"/>
                        <a:pt x="240678" y="109522"/>
                        <a:pt x="247474" y="109522"/>
                      </a:cubicBezTo>
                      <a:lnTo>
                        <a:pt x="358242" y="109522"/>
                      </a:lnTo>
                      <a:cubicBezTo>
                        <a:pt x="365030" y="109522"/>
                        <a:pt x="370538" y="115023"/>
                        <a:pt x="370538" y="121819"/>
                      </a:cubicBezTo>
                      <a:cubicBezTo>
                        <a:pt x="370538" y="128606"/>
                        <a:pt x="365030" y="134115"/>
                        <a:pt x="358242" y="134115"/>
                      </a:cubicBezTo>
                      <a:close/>
                      <a:moveTo>
                        <a:pt x="358242" y="84929"/>
                      </a:moveTo>
                      <a:lnTo>
                        <a:pt x="247474" y="84929"/>
                      </a:lnTo>
                      <a:cubicBezTo>
                        <a:pt x="240678" y="84929"/>
                        <a:pt x="235177" y="79420"/>
                        <a:pt x="235177" y="72632"/>
                      </a:cubicBezTo>
                      <a:cubicBezTo>
                        <a:pt x="235177" y="65836"/>
                        <a:pt x="240678" y="60335"/>
                        <a:pt x="247474" y="60335"/>
                      </a:cubicBezTo>
                      <a:lnTo>
                        <a:pt x="358242" y="60335"/>
                      </a:lnTo>
                      <a:cubicBezTo>
                        <a:pt x="365030" y="60335"/>
                        <a:pt x="370538" y="65836"/>
                        <a:pt x="370538" y="72632"/>
                      </a:cubicBezTo>
                      <a:cubicBezTo>
                        <a:pt x="370538" y="79420"/>
                        <a:pt x="365030" y="84929"/>
                        <a:pt x="358242" y="84929"/>
                      </a:cubicBezTo>
                      <a:close/>
                    </a:path>
                  </a:pathLst>
                </a:custGeom>
                <a:grpFill/>
                <a:ln w="81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52" name="Freeform: Shape 58">
                  <a:extLst>
                    <a:ext uri="{FF2B5EF4-FFF2-40B4-BE49-F238E27FC236}">
                      <a16:creationId xmlns:a16="http://schemas.microsoft.com/office/drawing/2014/main" id="{3F64E560-AA5E-40A4-BEE6-91CD91036CD1}"/>
                    </a:ext>
                  </a:extLst>
                </p:cNvPr>
                <p:cNvSpPr/>
                <p:nvPr/>
              </p:nvSpPr>
              <p:spPr>
                <a:xfrm>
                  <a:off x="9803562" y="1986423"/>
                  <a:ext cx="419725" cy="141001"/>
                </a:xfrm>
                <a:custGeom>
                  <a:avLst/>
                  <a:gdLst>
                    <a:gd name="connsiteX0" fmla="*/ 0 w 419725"/>
                    <a:gd name="connsiteY0" fmla="*/ 30717 h 141001"/>
                    <a:gd name="connsiteX1" fmla="*/ 12297 w 419725"/>
                    <a:gd name="connsiteY1" fmla="*/ 43014 h 141001"/>
                    <a:gd name="connsiteX2" fmla="*/ 180019 w 419725"/>
                    <a:gd name="connsiteY2" fmla="*/ 43014 h 141001"/>
                    <a:gd name="connsiteX3" fmla="*/ 180019 w 419725"/>
                    <a:gd name="connsiteY3" fmla="*/ 92200 h 141001"/>
                    <a:gd name="connsiteX4" fmla="*/ 156331 w 419725"/>
                    <a:gd name="connsiteY4" fmla="*/ 92200 h 141001"/>
                    <a:gd name="connsiteX5" fmla="*/ 115039 w 419725"/>
                    <a:gd name="connsiteY5" fmla="*/ 133500 h 141001"/>
                    <a:gd name="connsiteX6" fmla="*/ 117351 w 419725"/>
                    <a:gd name="connsiteY6" fmla="*/ 139075 h 141001"/>
                    <a:gd name="connsiteX7" fmla="*/ 122925 w 419725"/>
                    <a:gd name="connsiteY7" fmla="*/ 141387 h 141001"/>
                    <a:gd name="connsiteX8" fmla="*/ 296800 w 419725"/>
                    <a:gd name="connsiteY8" fmla="*/ 141387 h 141001"/>
                    <a:gd name="connsiteX9" fmla="*/ 304686 w 419725"/>
                    <a:gd name="connsiteY9" fmla="*/ 133500 h 141001"/>
                    <a:gd name="connsiteX10" fmla="*/ 292594 w 419725"/>
                    <a:gd name="connsiteY10" fmla="*/ 104292 h 141001"/>
                    <a:gd name="connsiteX11" fmla="*/ 263394 w 419725"/>
                    <a:gd name="connsiteY11" fmla="*/ 92200 h 141001"/>
                    <a:gd name="connsiteX12" fmla="*/ 239706 w 419725"/>
                    <a:gd name="connsiteY12" fmla="*/ 92200 h 141001"/>
                    <a:gd name="connsiteX13" fmla="*/ 239706 w 419725"/>
                    <a:gd name="connsiteY13" fmla="*/ 43014 h 141001"/>
                    <a:gd name="connsiteX14" fmla="*/ 407428 w 419725"/>
                    <a:gd name="connsiteY14" fmla="*/ 43014 h 141001"/>
                    <a:gd name="connsiteX15" fmla="*/ 419725 w 419725"/>
                    <a:gd name="connsiteY15" fmla="*/ 30717 h 141001"/>
                    <a:gd name="connsiteX16" fmla="*/ 419725 w 419725"/>
                    <a:gd name="connsiteY16" fmla="*/ 0 h 141001"/>
                    <a:gd name="connsiteX17" fmla="*/ 0 w 419725"/>
                    <a:gd name="connsiteY17" fmla="*/ 0 h 141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19725" h="141001">
                      <a:moveTo>
                        <a:pt x="0" y="30717"/>
                      </a:moveTo>
                      <a:cubicBezTo>
                        <a:pt x="0" y="37505"/>
                        <a:pt x="5509" y="43014"/>
                        <a:pt x="12297" y="43014"/>
                      </a:cubicBezTo>
                      <a:lnTo>
                        <a:pt x="180019" y="43014"/>
                      </a:lnTo>
                      <a:lnTo>
                        <a:pt x="180019" y="92200"/>
                      </a:lnTo>
                      <a:lnTo>
                        <a:pt x="156331" y="92200"/>
                      </a:lnTo>
                      <a:cubicBezTo>
                        <a:pt x="133525" y="92200"/>
                        <a:pt x="115039" y="110686"/>
                        <a:pt x="115039" y="133500"/>
                      </a:cubicBezTo>
                      <a:cubicBezTo>
                        <a:pt x="115039" y="135681"/>
                        <a:pt x="115924" y="137648"/>
                        <a:pt x="117351" y="139075"/>
                      </a:cubicBezTo>
                      <a:cubicBezTo>
                        <a:pt x="118777" y="140501"/>
                        <a:pt x="120753" y="141387"/>
                        <a:pt x="122925" y="141387"/>
                      </a:cubicBezTo>
                      <a:lnTo>
                        <a:pt x="296800" y="141387"/>
                      </a:lnTo>
                      <a:cubicBezTo>
                        <a:pt x="301153" y="141387"/>
                        <a:pt x="304686" y="137853"/>
                        <a:pt x="304686" y="133500"/>
                      </a:cubicBezTo>
                      <a:cubicBezTo>
                        <a:pt x="304686" y="122089"/>
                        <a:pt x="300062" y="111768"/>
                        <a:pt x="292594" y="104292"/>
                      </a:cubicBezTo>
                      <a:cubicBezTo>
                        <a:pt x="285118" y="96824"/>
                        <a:pt x="274797" y="92200"/>
                        <a:pt x="263394" y="92200"/>
                      </a:cubicBezTo>
                      <a:lnTo>
                        <a:pt x="239706" y="92200"/>
                      </a:lnTo>
                      <a:lnTo>
                        <a:pt x="239706" y="43014"/>
                      </a:lnTo>
                      <a:lnTo>
                        <a:pt x="407428" y="43014"/>
                      </a:lnTo>
                      <a:cubicBezTo>
                        <a:pt x="414216" y="43014"/>
                        <a:pt x="419725" y="37505"/>
                        <a:pt x="419725" y="30717"/>
                      </a:cubicBezTo>
                      <a:lnTo>
                        <a:pt x="419725" y="0"/>
                      </a:lnTo>
                      <a:lnTo>
                        <a:pt x="0" y="0"/>
                      </a:lnTo>
                      <a:close/>
                    </a:path>
                  </a:pathLst>
                </a:custGeom>
                <a:grpFill/>
                <a:ln w="81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grpSp>
        <p:grpSp>
          <p:nvGrpSpPr>
            <p:cNvPr id="21" name="Group 28">
              <a:extLst>
                <a:ext uri="{FF2B5EF4-FFF2-40B4-BE49-F238E27FC236}">
                  <a16:creationId xmlns:a16="http://schemas.microsoft.com/office/drawing/2014/main" id="{DC3027C6-5654-4C39-B8C3-A6974172350B}"/>
                </a:ext>
              </a:extLst>
            </p:cNvPr>
            <p:cNvGrpSpPr/>
            <p:nvPr/>
          </p:nvGrpSpPr>
          <p:grpSpPr>
            <a:xfrm>
              <a:off x="8670484" y="3551640"/>
              <a:ext cx="928786" cy="147589"/>
              <a:chOff x="8622721" y="3324431"/>
              <a:chExt cx="956198" cy="151945"/>
            </a:xfrm>
          </p:grpSpPr>
          <p:cxnSp>
            <p:nvCxnSpPr>
              <p:cNvPr id="42" name="Straight Connector 16">
                <a:extLst>
                  <a:ext uri="{FF2B5EF4-FFF2-40B4-BE49-F238E27FC236}">
                    <a16:creationId xmlns:a16="http://schemas.microsoft.com/office/drawing/2014/main" id="{83B638B1-A857-47BD-ACE4-2EEC95CC87FB}"/>
                  </a:ext>
                </a:extLst>
              </p:cNvPr>
              <p:cNvCxnSpPr>
                <a:cxnSpLocks/>
              </p:cNvCxnSpPr>
              <p:nvPr/>
            </p:nvCxnSpPr>
            <p:spPr>
              <a:xfrm>
                <a:off x="8622721" y="3400406"/>
                <a:ext cx="880224" cy="0"/>
              </a:xfrm>
              <a:prstGeom prst="line">
                <a:avLst/>
              </a:prstGeom>
              <a:ln w="12700">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sp>
            <p:nvSpPr>
              <p:cNvPr id="43" name="Oval 17">
                <a:extLst>
                  <a:ext uri="{FF2B5EF4-FFF2-40B4-BE49-F238E27FC236}">
                    <a16:creationId xmlns:a16="http://schemas.microsoft.com/office/drawing/2014/main" id="{DF4B9E57-1048-4BA1-AC3E-725C8D40D0C3}"/>
                  </a:ext>
                </a:extLst>
              </p:cNvPr>
              <p:cNvSpPr/>
              <p:nvPr/>
            </p:nvSpPr>
            <p:spPr>
              <a:xfrm>
                <a:off x="9426974" y="3324431"/>
                <a:ext cx="151945" cy="151945"/>
              </a:xfrm>
              <a:prstGeom prst="ellipse">
                <a:avLst/>
              </a:prstGeom>
              <a:gradFill>
                <a:gsLst>
                  <a:gs pos="0">
                    <a:schemeClr val="accent4"/>
                  </a:gs>
                  <a:gs pos="99000">
                    <a:schemeClr val="accent4">
                      <a:lumMod val="75000"/>
                    </a:schemeClr>
                  </a:gs>
                </a:gsLst>
                <a:lin ang="2700000" scaled="1"/>
              </a:gradFill>
              <a:ln w="25400" cap="flat" cmpd="sng" algn="ctr">
                <a:noFill/>
                <a:prstDash val="solid"/>
              </a:ln>
              <a:effectLst>
                <a:outerShdw blurRad="228600" dist="38100" dir="2700000" algn="tl" rotWithShape="0">
                  <a:prstClr val="black">
                    <a:alpha val="25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宋体"/>
                  <a:cs typeface="+mn-cs"/>
                </a:endParaRPr>
              </a:p>
            </p:txBody>
          </p:sp>
        </p:grpSp>
        <p:sp>
          <p:nvSpPr>
            <p:cNvPr id="22" name="TextBox 18">
              <a:extLst>
                <a:ext uri="{FF2B5EF4-FFF2-40B4-BE49-F238E27FC236}">
                  <a16:creationId xmlns:a16="http://schemas.microsoft.com/office/drawing/2014/main" id="{51E3CBFC-0AFE-428B-BE16-FD45107D0AE3}"/>
                </a:ext>
              </a:extLst>
            </p:cNvPr>
            <p:cNvSpPr txBox="1"/>
            <p:nvPr/>
          </p:nvSpPr>
          <p:spPr>
            <a:xfrm rot="20700000" flipH="1">
              <a:off x="4793775" y="2611840"/>
              <a:ext cx="1097157" cy="682174"/>
            </a:xfrm>
            <a:prstGeom prst="rect">
              <a:avLst/>
            </a:prstGeom>
            <a:noFill/>
          </p:spPr>
          <p:txBody>
            <a:bodyPr wrap="square" rtlCol="0">
              <a:spAutoFit/>
            </a:bodyPr>
            <a:lstStyle/>
            <a:p>
              <a:pPr marL="0" marR="0" lvl="0" indent="0" algn="ctr" defTabSz="914400" rtl="0" eaLnBrk="1" fontAlgn="auto" latinLnBrk="0" hangingPunct="1">
                <a:lnSpc>
                  <a:spcPct val="140000"/>
                </a:lnSpc>
                <a:spcBef>
                  <a:spcPts val="0"/>
                </a:spcBef>
                <a:spcAft>
                  <a:spcPts val="0"/>
                </a:spcAft>
                <a:buClrTx/>
                <a:buSzTx/>
                <a:buFontTx/>
                <a:buNone/>
                <a:tabLst/>
                <a:defRPr/>
              </a:pPr>
              <a:r>
                <a:rPr kumimoji="0" lang="en-US" sz="3200" b="1" i="0" u="none" strike="noStrike" kern="1200" cap="none" spc="-15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224K</a:t>
              </a:r>
            </a:p>
          </p:txBody>
        </p:sp>
        <p:sp>
          <p:nvSpPr>
            <p:cNvPr id="23" name="TextBox 19">
              <a:extLst>
                <a:ext uri="{FF2B5EF4-FFF2-40B4-BE49-F238E27FC236}">
                  <a16:creationId xmlns:a16="http://schemas.microsoft.com/office/drawing/2014/main" id="{B41A0F61-25E4-4216-A833-CA3F4C8E0E82}"/>
                </a:ext>
              </a:extLst>
            </p:cNvPr>
            <p:cNvSpPr txBox="1"/>
            <p:nvPr/>
          </p:nvSpPr>
          <p:spPr>
            <a:xfrm rot="20700000" flipH="1">
              <a:off x="6128979" y="2678454"/>
              <a:ext cx="1097157" cy="682174"/>
            </a:xfrm>
            <a:prstGeom prst="rect">
              <a:avLst/>
            </a:prstGeom>
            <a:noFill/>
          </p:spPr>
          <p:txBody>
            <a:bodyPr wrap="square" rtlCol="0">
              <a:spAutoFit/>
            </a:bodyPr>
            <a:lstStyle/>
            <a:p>
              <a:pPr marL="0" marR="0" lvl="0" indent="0" algn="ctr" defTabSz="914400" rtl="0" eaLnBrk="1" fontAlgn="auto" latinLnBrk="0" hangingPunct="1">
                <a:lnSpc>
                  <a:spcPct val="140000"/>
                </a:lnSpc>
                <a:spcBef>
                  <a:spcPts val="0"/>
                </a:spcBef>
                <a:spcAft>
                  <a:spcPts val="0"/>
                </a:spcAft>
                <a:buClrTx/>
                <a:buSzTx/>
                <a:buFontTx/>
                <a:buNone/>
                <a:tabLst/>
                <a:defRPr/>
              </a:pPr>
              <a:r>
                <a:rPr kumimoji="0" lang="en-US" sz="3200" b="1" i="0" u="none" strike="noStrike" kern="1200" cap="none" spc="-15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324K</a:t>
              </a:r>
            </a:p>
          </p:txBody>
        </p:sp>
        <p:sp>
          <p:nvSpPr>
            <p:cNvPr id="24" name="TextBox 21">
              <a:extLst>
                <a:ext uri="{FF2B5EF4-FFF2-40B4-BE49-F238E27FC236}">
                  <a16:creationId xmlns:a16="http://schemas.microsoft.com/office/drawing/2014/main" id="{FDA9E91C-F663-493E-8412-C3E1AA126A30}"/>
                </a:ext>
              </a:extLst>
            </p:cNvPr>
            <p:cNvSpPr txBox="1"/>
            <p:nvPr/>
          </p:nvSpPr>
          <p:spPr>
            <a:xfrm rot="20700000" flipH="1">
              <a:off x="7387222" y="3196563"/>
              <a:ext cx="1097157" cy="682174"/>
            </a:xfrm>
            <a:prstGeom prst="rect">
              <a:avLst/>
            </a:prstGeom>
            <a:noFill/>
          </p:spPr>
          <p:txBody>
            <a:bodyPr wrap="square" rtlCol="0">
              <a:spAutoFit/>
            </a:bodyPr>
            <a:lstStyle/>
            <a:p>
              <a:pPr marL="0" marR="0" lvl="0" indent="0" algn="ctr" defTabSz="914400" rtl="0" eaLnBrk="1" fontAlgn="auto" latinLnBrk="0" hangingPunct="1">
                <a:lnSpc>
                  <a:spcPct val="140000"/>
                </a:lnSpc>
                <a:spcBef>
                  <a:spcPts val="0"/>
                </a:spcBef>
                <a:spcAft>
                  <a:spcPts val="0"/>
                </a:spcAft>
                <a:buClrTx/>
                <a:buSzTx/>
                <a:buFontTx/>
                <a:buNone/>
                <a:tabLst/>
                <a:defRPr/>
              </a:pPr>
              <a:r>
                <a:rPr kumimoji="0" lang="en-US" sz="3200" b="1" i="0" u="none" strike="noStrike" kern="1200" cap="none" spc="-15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445K</a:t>
              </a:r>
            </a:p>
          </p:txBody>
        </p:sp>
        <p:grpSp>
          <p:nvGrpSpPr>
            <p:cNvPr id="25" name="Group 29">
              <a:extLst>
                <a:ext uri="{FF2B5EF4-FFF2-40B4-BE49-F238E27FC236}">
                  <a16:creationId xmlns:a16="http://schemas.microsoft.com/office/drawing/2014/main" id="{63AAFCCF-C907-448B-BDAF-12E19DD140B4}"/>
                </a:ext>
              </a:extLst>
            </p:cNvPr>
            <p:cNvGrpSpPr/>
            <p:nvPr/>
          </p:nvGrpSpPr>
          <p:grpSpPr>
            <a:xfrm>
              <a:off x="7237245" y="2026166"/>
              <a:ext cx="928784" cy="147589"/>
              <a:chOff x="8622721" y="3324433"/>
              <a:chExt cx="956196" cy="151945"/>
            </a:xfrm>
          </p:grpSpPr>
          <p:cxnSp>
            <p:nvCxnSpPr>
              <p:cNvPr id="40" name="Straight Connector 30">
                <a:extLst>
                  <a:ext uri="{FF2B5EF4-FFF2-40B4-BE49-F238E27FC236}">
                    <a16:creationId xmlns:a16="http://schemas.microsoft.com/office/drawing/2014/main" id="{5044AC8E-FBEB-4DD7-BF6B-6769431F814B}"/>
                  </a:ext>
                </a:extLst>
              </p:cNvPr>
              <p:cNvCxnSpPr>
                <a:cxnSpLocks/>
              </p:cNvCxnSpPr>
              <p:nvPr/>
            </p:nvCxnSpPr>
            <p:spPr>
              <a:xfrm>
                <a:off x="8622721" y="3400406"/>
                <a:ext cx="880224" cy="0"/>
              </a:xfrm>
              <a:prstGeom prst="line">
                <a:avLst/>
              </a:prstGeom>
              <a:ln w="12700">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sp>
            <p:nvSpPr>
              <p:cNvPr id="41" name="Oval 31">
                <a:extLst>
                  <a:ext uri="{FF2B5EF4-FFF2-40B4-BE49-F238E27FC236}">
                    <a16:creationId xmlns:a16="http://schemas.microsoft.com/office/drawing/2014/main" id="{5D4A925A-9257-41B8-9E3D-8B465178C835}"/>
                  </a:ext>
                </a:extLst>
              </p:cNvPr>
              <p:cNvSpPr/>
              <p:nvPr/>
            </p:nvSpPr>
            <p:spPr>
              <a:xfrm>
                <a:off x="9426972" y="3324433"/>
                <a:ext cx="151945" cy="151945"/>
              </a:xfrm>
              <a:prstGeom prst="ellipse">
                <a:avLst/>
              </a:prstGeom>
              <a:gradFill>
                <a:gsLst>
                  <a:gs pos="0">
                    <a:schemeClr val="accent3"/>
                  </a:gs>
                  <a:gs pos="99000">
                    <a:schemeClr val="accent3">
                      <a:lumMod val="75000"/>
                    </a:schemeClr>
                  </a:gs>
                </a:gsLst>
                <a:lin ang="2700000" scaled="1"/>
              </a:gradFill>
              <a:ln w="25400" cap="flat" cmpd="sng" algn="ctr">
                <a:noFill/>
                <a:prstDash val="solid"/>
              </a:ln>
              <a:effectLst>
                <a:outerShdw blurRad="228600" dist="38100" dir="2700000" algn="tl" rotWithShape="0">
                  <a:prstClr val="black">
                    <a:alpha val="25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宋体"/>
                  <a:cs typeface="+mn-cs"/>
                </a:endParaRPr>
              </a:p>
            </p:txBody>
          </p:sp>
        </p:grpSp>
        <p:grpSp>
          <p:nvGrpSpPr>
            <p:cNvPr id="26" name="Group 111">
              <a:extLst>
                <a:ext uri="{FF2B5EF4-FFF2-40B4-BE49-F238E27FC236}">
                  <a16:creationId xmlns:a16="http://schemas.microsoft.com/office/drawing/2014/main" id="{DC221F00-97E0-466A-9EB3-D82FBB87E41D}"/>
                </a:ext>
              </a:extLst>
            </p:cNvPr>
            <p:cNvGrpSpPr/>
            <p:nvPr/>
          </p:nvGrpSpPr>
          <p:grpSpPr>
            <a:xfrm>
              <a:off x="2438340" y="1398669"/>
              <a:ext cx="1650559" cy="1567155"/>
              <a:chOff x="-1971297" y="2897465"/>
              <a:chExt cx="1699273" cy="1613408"/>
            </a:xfrm>
          </p:grpSpPr>
          <p:sp>
            <p:nvSpPr>
              <p:cNvPr id="32" name="Rectangle: Rounded Corners 35">
                <a:extLst>
                  <a:ext uri="{FF2B5EF4-FFF2-40B4-BE49-F238E27FC236}">
                    <a16:creationId xmlns:a16="http://schemas.microsoft.com/office/drawing/2014/main" id="{220EE933-F0EB-499B-AB30-91C60B8E22DF}"/>
                  </a:ext>
                </a:extLst>
              </p:cNvPr>
              <p:cNvSpPr/>
              <p:nvPr/>
            </p:nvSpPr>
            <p:spPr>
              <a:xfrm>
                <a:off x="-1916067" y="2897465"/>
                <a:ext cx="1613408" cy="1613408"/>
              </a:xfrm>
              <a:prstGeom prst="roundRect">
                <a:avLst/>
              </a:prstGeom>
              <a:solidFill>
                <a:schemeClr val="accent2"/>
              </a:solidFill>
              <a:ln>
                <a:noFill/>
              </a:ln>
              <a:effectLst>
                <a:outerShdw blurRad="1168400" dir="2700000" sx="90000" sy="90000" algn="tl" rotWithShape="0">
                  <a:prstClr val="black">
                    <a:alpha val="1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FFFFFF"/>
                  </a:solidFill>
                  <a:effectLst/>
                  <a:uLnTx/>
                  <a:uFillTx/>
                  <a:latin typeface="等线" panose="020F0502020204030204"/>
                  <a:ea typeface="+mn-ea"/>
                  <a:cs typeface="+mn-cs"/>
                </a:endParaRPr>
              </a:p>
            </p:txBody>
          </p:sp>
          <p:sp>
            <p:nvSpPr>
              <p:cNvPr id="33" name="TextBox 36">
                <a:extLst>
                  <a:ext uri="{FF2B5EF4-FFF2-40B4-BE49-F238E27FC236}">
                    <a16:creationId xmlns:a16="http://schemas.microsoft.com/office/drawing/2014/main" id="{F4C35E36-C638-4A2A-879B-045AC66DBE62}"/>
                  </a:ext>
                </a:extLst>
              </p:cNvPr>
              <p:cNvSpPr txBox="1"/>
              <p:nvPr/>
            </p:nvSpPr>
            <p:spPr>
              <a:xfrm>
                <a:off x="-1681939" y="3467070"/>
                <a:ext cx="1120557" cy="626069"/>
              </a:xfrm>
              <a:prstGeom prst="rect">
                <a:avLst/>
              </a:prstGeom>
              <a:noFill/>
            </p:spPr>
            <p:txBody>
              <a:bodyPr wrap="square" rtlCol="0">
                <a:spAutoFit/>
              </a:bodyPr>
              <a:lstStyle/>
              <a:p>
                <a:pPr marL="0" marR="0" lvl="0" indent="0" algn="ctr" defTabSz="914400" rtl="0" eaLnBrk="1" fontAlgn="auto" latinLnBrk="0" hangingPunct="1">
                  <a:lnSpc>
                    <a:spcPct val="14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80%</a:t>
                </a:r>
              </a:p>
            </p:txBody>
          </p:sp>
          <p:sp>
            <p:nvSpPr>
              <p:cNvPr id="34" name="TextBox 37">
                <a:extLst>
                  <a:ext uri="{FF2B5EF4-FFF2-40B4-BE49-F238E27FC236}">
                    <a16:creationId xmlns:a16="http://schemas.microsoft.com/office/drawing/2014/main" id="{47909299-441F-4AA7-8929-518054FC67DE}"/>
                  </a:ext>
                </a:extLst>
              </p:cNvPr>
              <p:cNvSpPr txBox="1"/>
              <p:nvPr/>
            </p:nvSpPr>
            <p:spPr>
              <a:xfrm>
                <a:off x="-1971297" y="3998090"/>
                <a:ext cx="1699273" cy="326884"/>
              </a:xfrm>
              <a:prstGeom prst="rect">
                <a:avLst/>
              </a:prstGeom>
              <a:noFill/>
            </p:spPr>
            <p:txBody>
              <a:bodyPr wrap="square" rtlCol="0">
                <a:spAutoFit/>
              </a:bodyPr>
              <a:lstStyle/>
              <a:p>
                <a:pPr marL="0" marR="0" lvl="0" indent="0" algn="ctr" defTabSz="914400" rtl="0" eaLnBrk="1" fontAlgn="auto" latinLnBrk="0" hangingPunct="1">
                  <a:lnSpc>
                    <a:spcPct val="14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等线 Light" panose="020F0302020204030204"/>
                    <a:ea typeface="+mn-ea"/>
                    <a:cs typeface="+mn-cs"/>
                  </a:rPr>
                  <a:t>Lorem ipsum dolor</a:t>
                </a:r>
              </a:p>
            </p:txBody>
          </p:sp>
          <p:sp>
            <p:nvSpPr>
              <p:cNvPr id="35" name="Rectangle: Rounded Corners 38">
                <a:extLst>
                  <a:ext uri="{FF2B5EF4-FFF2-40B4-BE49-F238E27FC236}">
                    <a16:creationId xmlns:a16="http://schemas.microsoft.com/office/drawing/2014/main" id="{97CE7E49-6476-4804-B0C1-FE6B883F2DAF}"/>
                  </a:ext>
                </a:extLst>
              </p:cNvPr>
              <p:cNvSpPr/>
              <p:nvPr/>
            </p:nvSpPr>
            <p:spPr>
              <a:xfrm>
                <a:off x="-1363694" y="3073600"/>
                <a:ext cx="484067" cy="495189"/>
              </a:xfrm>
              <a:prstGeom prst="roundRect">
                <a:avLst>
                  <a:gd name="adj" fmla="val 27982"/>
                </a:avLst>
              </a:prstGeom>
              <a:solidFill>
                <a:schemeClr val="bg1"/>
              </a:solidFill>
              <a:ln w="25400" cap="flat" cmpd="sng" algn="ctr">
                <a:noFill/>
                <a:prstDash val="solid"/>
              </a:ln>
              <a:effectLst>
                <a:outerShdw blurRad="228600" dist="38100" dir="2700000" algn="tl" rotWithShape="0">
                  <a:prstClr val="black">
                    <a:alpha val="25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宋体"/>
                  <a:cs typeface="+mn-cs"/>
                </a:endParaRPr>
              </a:p>
            </p:txBody>
          </p:sp>
          <p:grpSp>
            <p:nvGrpSpPr>
              <p:cNvPr id="36" name="Graphic 12">
                <a:extLst>
                  <a:ext uri="{FF2B5EF4-FFF2-40B4-BE49-F238E27FC236}">
                    <a16:creationId xmlns:a16="http://schemas.microsoft.com/office/drawing/2014/main" id="{4655243A-72C4-43E2-AC6D-EB73EA9771EC}"/>
                  </a:ext>
                </a:extLst>
              </p:cNvPr>
              <p:cNvGrpSpPr/>
              <p:nvPr/>
            </p:nvGrpSpPr>
            <p:grpSpPr>
              <a:xfrm>
                <a:off x="-1222610" y="3220245"/>
                <a:ext cx="201898" cy="201898"/>
                <a:chOff x="6640645" y="1724489"/>
                <a:chExt cx="418905" cy="418905"/>
              </a:xfrm>
              <a:solidFill>
                <a:schemeClr val="accent2"/>
              </a:solidFill>
            </p:grpSpPr>
            <p:sp>
              <p:nvSpPr>
                <p:cNvPr id="37" name="Freeform: Shape 67">
                  <a:extLst>
                    <a:ext uri="{FF2B5EF4-FFF2-40B4-BE49-F238E27FC236}">
                      <a16:creationId xmlns:a16="http://schemas.microsoft.com/office/drawing/2014/main" id="{A1276B0C-24F8-4E98-8868-D01406DD765A}"/>
                    </a:ext>
                  </a:extLst>
                </p:cNvPr>
                <p:cNvSpPr/>
                <p:nvPr/>
              </p:nvSpPr>
              <p:spPr>
                <a:xfrm>
                  <a:off x="6811107" y="1724489"/>
                  <a:ext cx="249212" cy="249212"/>
                </a:xfrm>
                <a:custGeom>
                  <a:avLst/>
                  <a:gdLst>
                    <a:gd name="connsiteX0" fmla="*/ 245654 w 249211"/>
                    <a:gd name="connsiteY0" fmla="*/ 176761 h 249211"/>
                    <a:gd name="connsiteX1" fmla="*/ 223446 w 249211"/>
                    <a:gd name="connsiteY1" fmla="*/ 198985 h 249211"/>
                    <a:gd name="connsiteX2" fmla="*/ 133779 w 249211"/>
                    <a:gd name="connsiteY2" fmla="*/ 211716 h 249211"/>
                    <a:gd name="connsiteX3" fmla="*/ 96250 w 249211"/>
                    <a:gd name="connsiteY3" fmla="*/ 249246 h 249211"/>
                    <a:gd name="connsiteX4" fmla="*/ 95963 w 249211"/>
                    <a:gd name="connsiteY4" fmla="*/ 248672 h 249211"/>
                    <a:gd name="connsiteX5" fmla="*/ 42358 w 249211"/>
                    <a:gd name="connsiteY5" fmla="*/ 183418 h 249211"/>
                    <a:gd name="connsiteX6" fmla="*/ 0 w 249211"/>
                    <a:gd name="connsiteY6" fmla="*/ 153020 h 249211"/>
                    <a:gd name="connsiteX7" fmla="*/ 37546 w 249211"/>
                    <a:gd name="connsiteY7" fmla="*/ 115475 h 249211"/>
                    <a:gd name="connsiteX8" fmla="*/ 50269 w 249211"/>
                    <a:gd name="connsiteY8" fmla="*/ 25816 h 249211"/>
                    <a:gd name="connsiteX9" fmla="*/ 72493 w 249211"/>
                    <a:gd name="connsiteY9" fmla="*/ 3600 h 249211"/>
                    <a:gd name="connsiteX10" fmla="*/ 89880 w 249211"/>
                    <a:gd name="connsiteY10" fmla="*/ 3600 h 249211"/>
                    <a:gd name="connsiteX11" fmla="*/ 245654 w 249211"/>
                    <a:gd name="connsiteY11" fmla="*/ 159374 h 249211"/>
                    <a:gd name="connsiteX12" fmla="*/ 245654 w 249211"/>
                    <a:gd name="connsiteY12" fmla="*/ 176761 h 249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49211" h="249211">
                      <a:moveTo>
                        <a:pt x="245654" y="176761"/>
                      </a:moveTo>
                      <a:lnTo>
                        <a:pt x="223446" y="198985"/>
                      </a:lnTo>
                      <a:cubicBezTo>
                        <a:pt x="199779" y="222636"/>
                        <a:pt x="162996" y="227833"/>
                        <a:pt x="133779" y="211716"/>
                      </a:cubicBezTo>
                      <a:lnTo>
                        <a:pt x="96250" y="249246"/>
                      </a:lnTo>
                      <a:cubicBezTo>
                        <a:pt x="96151" y="249057"/>
                        <a:pt x="96061" y="248860"/>
                        <a:pt x="95963" y="248672"/>
                      </a:cubicBezTo>
                      <a:cubicBezTo>
                        <a:pt x="82073" y="220862"/>
                        <a:pt x="66849" y="207909"/>
                        <a:pt x="42358" y="183418"/>
                      </a:cubicBezTo>
                      <a:cubicBezTo>
                        <a:pt x="26907" y="167966"/>
                        <a:pt x="7916" y="156317"/>
                        <a:pt x="0" y="153020"/>
                      </a:cubicBezTo>
                      <a:lnTo>
                        <a:pt x="37546" y="115475"/>
                      </a:lnTo>
                      <a:cubicBezTo>
                        <a:pt x="21421" y="86291"/>
                        <a:pt x="26610" y="49483"/>
                        <a:pt x="50269" y="25816"/>
                      </a:cubicBezTo>
                      <a:lnTo>
                        <a:pt x="72493" y="3600"/>
                      </a:lnTo>
                      <a:cubicBezTo>
                        <a:pt x="77297" y="-1204"/>
                        <a:pt x="85084" y="-1196"/>
                        <a:pt x="89880" y="3600"/>
                      </a:cubicBezTo>
                      <a:lnTo>
                        <a:pt x="245654" y="159374"/>
                      </a:lnTo>
                      <a:cubicBezTo>
                        <a:pt x="250458" y="164177"/>
                        <a:pt x="250458" y="171965"/>
                        <a:pt x="245654" y="176761"/>
                      </a:cubicBezTo>
                      <a:close/>
                    </a:path>
                  </a:pathLst>
                </a:custGeom>
                <a:grpFill/>
                <a:ln w="81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等线" panose="020F0502020204030204"/>
                    <a:ea typeface="+mn-ea"/>
                    <a:cs typeface="+mn-cs"/>
                  </a:endParaRPr>
                </a:p>
              </p:txBody>
            </p:sp>
            <p:sp>
              <p:nvSpPr>
                <p:cNvPr id="38" name="Freeform: Shape 68">
                  <a:extLst>
                    <a:ext uri="{FF2B5EF4-FFF2-40B4-BE49-F238E27FC236}">
                      <a16:creationId xmlns:a16="http://schemas.microsoft.com/office/drawing/2014/main" id="{8B544330-5285-4B52-94E5-17310AD690FB}"/>
                    </a:ext>
                  </a:extLst>
                </p:cNvPr>
                <p:cNvSpPr/>
                <p:nvPr/>
              </p:nvSpPr>
              <p:spPr>
                <a:xfrm>
                  <a:off x="6644861" y="2050351"/>
                  <a:ext cx="89356" cy="89356"/>
                </a:xfrm>
                <a:custGeom>
                  <a:avLst/>
                  <a:gdLst>
                    <a:gd name="connsiteX0" fmla="*/ 89647 w 89355"/>
                    <a:gd name="connsiteY0" fmla="*/ 17387 h 89355"/>
                    <a:gd name="connsiteX1" fmla="*/ 20999 w 89355"/>
                    <a:gd name="connsiteY1" fmla="*/ 86035 h 89355"/>
                    <a:gd name="connsiteX2" fmla="*/ 12301 w 89355"/>
                    <a:gd name="connsiteY2" fmla="*/ 89642 h 89355"/>
                    <a:gd name="connsiteX3" fmla="*/ 3603 w 89355"/>
                    <a:gd name="connsiteY3" fmla="*/ 86035 h 89355"/>
                    <a:gd name="connsiteX4" fmla="*/ 3603 w 89355"/>
                    <a:gd name="connsiteY4" fmla="*/ 68648 h 89355"/>
                    <a:gd name="connsiteX5" fmla="*/ 72259 w 89355"/>
                    <a:gd name="connsiteY5" fmla="*/ 0 h 89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9355" h="89355">
                      <a:moveTo>
                        <a:pt x="89647" y="17387"/>
                      </a:moveTo>
                      <a:lnTo>
                        <a:pt x="20999" y="86035"/>
                      </a:lnTo>
                      <a:cubicBezTo>
                        <a:pt x="18597" y="88437"/>
                        <a:pt x="15449" y="89642"/>
                        <a:pt x="12301" y="89642"/>
                      </a:cubicBezTo>
                      <a:cubicBezTo>
                        <a:pt x="9153" y="89642"/>
                        <a:pt x="6005" y="88437"/>
                        <a:pt x="3603" y="86035"/>
                      </a:cubicBezTo>
                      <a:cubicBezTo>
                        <a:pt x="-1201" y="81232"/>
                        <a:pt x="-1201" y="73452"/>
                        <a:pt x="3603" y="68648"/>
                      </a:cubicBezTo>
                      <a:lnTo>
                        <a:pt x="72259" y="0"/>
                      </a:lnTo>
                      <a:close/>
                    </a:path>
                  </a:pathLst>
                </a:custGeom>
                <a:grpFill/>
                <a:ln w="81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等线" panose="020F0502020204030204"/>
                    <a:ea typeface="+mn-ea"/>
                    <a:cs typeface="+mn-cs"/>
                  </a:endParaRPr>
                </a:p>
              </p:txBody>
            </p:sp>
            <p:sp>
              <p:nvSpPr>
                <p:cNvPr id="39" name="Freeform: Shape 69">
                  <a:extLst>
                    <a:ext uri="{FF2B5EF4-FFF2-40B4-BE49-F238E27FC236}">
                      <a16:creationId xmlns:a16="http://schemas.microsoft.com/office/drawing/2014/main" id="{7484E3B9-963F-47A4-8E88-145E9DF9C40C}"/>
                    </a:ext>
                  </a:extLst>
                </p:cNvPr>
                <p:cNvSpPr/>
                <p:nvPr/>
              </p:nvSpPr>
              <p:spPr>
                <a:xfrm>
                  <a:off x="6640645" y="1885506"/>
                  <a:ext cx="258229" cy="258229"/>
                </a:xfrm>
                <a:custGeom>
                  <a:avLst/>
                  <a:gdLst>
                    <a:gd name="connsiteX0" fmla="*/ 258646 w 258229"/>
                    <a:gd name="connsiteY0" fmla="*/ 159188 h 258229"/>
                    <a:gd name="connsiteX1" fmla="*/ 218911 w 258229"/>
                    <a:gd name="connsiteY1" fmla="*/ 255110 h 258229"/>
                    <a:gd name="connsiteX2" fmla="*/ 201515 w 258229"/>
                    <a:gd name="connsiteY2" fmla="*/ 255110 h 258229"/>
                    <a:gd name="connsiteX3" fmla="*/ 3597 w 258229"/>
                    <a:gd name="connsiteY3" fmla="*/ 57183 h 258229"/>
                    <a:gd name="connsiteX4" fmla="*/ 3597 w 258229"/>
                    <a:gd name="connsiteY4" fmla="*/ 39796 h 258229"/>
                    <a:gd name="connsiteX5" fmla="*/ 160059 w 258229"/>
                    <a:gd name="connsiteY5" fmla="*/ 14284 h 258229"/>
                    <a:gd name="connsiteX6" fmla="*/ 218911 w 258229"/>
                    <a:gd name="connsiteY6" fmla="*/ 63266 h 258229"/>
                    <a:gd name="connsiteX7" fmla="*/ 258646 w 258229"/>
                    <a:gd name="connsiteY7" fmla="*/ 159188 h 258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8229" h="258229">
                      <a:moveTo>
                        <a:pt x="258646" y="159188"/>
                      </a:moveTo>
                      <a:cubicBezTo>
                        <a:pt x="258629" y="194751"/>
                        <a:pt x="245023" y="228980"/>
                        <a:pt x="218911" y="255110"/>
                      </a:cubicBezTo>
                      <a:cubicBezTo>
                        <a:pt x="214137" y="259884"/>
                        <a:pt x="206351" y="259928"/>
                        <a:pt x="201515" y="255110"/>
                      </a:cubicBezTo>
                      <a:lnTo>
                        <a:pt x="3597" y="57183"/>
                      </a:lnTo>
                      <a:cubicBezTo>
                        <a:pt x="-1189" y="52397"/>
                        <a:pt x="-1209" y="44602"/>
                        <a:pt x="3597" y="39796"/>
                      </a:cubicBezTo>
                      <a:cubicBezTo>
                        <a:pt x="44922" y="-1529"/>
                        <a:pt x="107799" y="-11784"/>
                        <a:pt x="160059" y="14284"/>
                      </a:cubicBezTo>
                      <a:cubicBezTo>
                        <a:pt x="183785" y="26133"/>
                        <a:pt x="194326" y="38689"/>
                        <a:pt x="218911" y="63266"/>
                      </a:cubicBezTo>
                      <a:cubicBezTo>
                        <a:pt x="244534" y="88889"/>
                        <a:pt x="258646" y="123226"/>
                        <a:pt x="258646" y="159188"/>
                      </a:cubicBezTo>
                      <a:close/>
                    </a:path>
                  </a:pathLst>
                </a:custGeom>
                <a:grpFill/>
                <a:ln w="81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等线" panose="020F0502020204030204"/>
                    <a:ea typeface="+mn-ea"/>
                    <a:cs typeface="+mn-cs"/>
                  </a:endParaRPr>
                </a:p>
              </p:txBody>
            </p:sp>
          </p:grpSp>
        </p:grpSp>
        <p:grpSp>
          <p:nvGrpSpPr>
            <p:cNvPr id="27" name="Group 25">
              <a:extLst>
                <a:ext uri="{FF2B5EF4-FFF2-40B4-BE49-F238E27FC236}">
                  <a16:creationId xmlns:a16="http://schemas.microsoft.com/office/drawing/2014/main" id="{51F47117-70B7-4EA7-843C-28256E081078}"/>
                </a:ext>
              </a:extLst>
            </p:cNvPr>
            <p:cNvGrpSpPr/>
            <p:nvPr/>
          </p:nvGrpSpPr>
          <p:grpSpPr>
            <a:xfrm>
              <a:off x="3974789" y="2106636"/>
              <a:ext cx="964076" cy="147589"/>
              <a:chOff x="2416554" y="3444225"/>
              <a:chExt cx="992529" cy="151945"/>
            </a:xfrm>
          </p:grpSpPr>
          <p:cxnSp>
            <p:nvCxnSpPr>
              <p:cNvPr id="30" name="Straight Connector 26">
                <a:extLst>
                  <a:ext uri="{FF2B5EF4-FFF2-40B4-BE49-F238E27FC236}">
                    <a16:creationId xmlns:a16="http://schemas.microsoft.com/office/drawing/2014/main" id="{F43C3DC5-1C5F-4D59-B579-CD50B85042DF}"/>
                  </a:ext>
                </a:extLst>
              </p:cNvPr>
              <p:cNvCxnSpPr>
                <a:cxnSpLocks/>
              </p:cNvCxnSpPr>
              <p:nvPr/>
            </p:nvCxnSpPr>
            <p:spPr>
              <a:xfrm>
                <a:off x="2528859" y="3520198"/>
                <a:ext cx="880224" cy="0"/>
              </a:xfrm>
              <a:prstGeom prst="line">
                <a:avLst/>
              </a:prstGeom>
              <a:ln w="12700">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sp>
            <p:nvSpPr>
              <p:cNvPr id="31" name="Oval 27">
                <a:extLst>
                  <a:ext uri="{FF2B5EF4-FFF2-40B4-BE49-F238E27FC236}">
                    <a16:creationId xmlns:a16="http://schemas.microsoft.com/office/drawing/2014/main" id="{13EC2BCB-42D4-4E1C-ADEF-2EDD730F6514}"/>
                  </a:ext>
                </a:extLst>
              </p:cNvPr>
              <p:cNvSpPr/>
              <p:nvPr/>
            </p:nvSpPr>
            <p:spPr>
              <a:xfrm>
                <a:off x="2416554" y="3444225"/>
                <a:ext cx="151945" cy="151945"/>
              </a:xfrm>
              <a:prstGeom prst="ellipse">
                <a:avLst/>
              </a:prstGeom>
              <a:gradFill>
                <a:gsLst>
                  <a:gs pos="0">
                    <a:schemeClr val="accent2"/>
                  </a:gs>
                  <a:gs pos="99000">
                    <a:schemeClr val="accent2">
                      <a:lumMod val="75000"/>
                    </a:schemeClr>
                  </a:gs>
                </a:gsLst>
                <a:lin ang="2700000" scaled="1"/>
              </a:gradFill>
              <a:ln w="25400" cap="flat" cmpd="sng" algn="ctr">
                <a:noFill/>
                <a:prstDash val="solid"/>
              </a:ln>
              <a:effectLst>
                <a:outerShdw blurRad="228600" dist="38100" dir="2700000" algn="tl" rotWithShape="0">
                  <a:prstClr val="black">
                    <a:alpha val="25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宋体"/>
                  <a:cs typeface="+mn-cs"/>
                </a:endParaRPr>
              </a:p>
            </p:txBody>
          </p:sp>
        </p:grpSp>
        <p:sp>
          <p:nvSpPr>
            <p:cNvPr id="28" name="Freeform 3">
              <a:extLst>
                <a:ext uri="{FF2B5EF4-FFF2-40B4-BE49-F238E27FC236}">
                  <a16:creationId xmlns:a16="http://schemas.microsoft.com/office/drawing/2014/main" id="{09AACA86-FEEE-46EE-990F-6408004473A1}"/>
                </a:ext>
              </a:extLst>
            </p:cNvPr>
            <p:cNvSpPr>
              <a:spLocks/>
            </p:cNvSpPr>
            <p:nvPr/>
          </p:nvSpPr>
          <p:spPr bwMode="auto">
            <a:xfrm rot="4567797">
              <a:off x="3291793" y="3086639"/>
              <a:ext cx="1679943" cy="1823861"/>
            </a:xfrm>
            <a:custGeom>
              <a:avLst/>
              <a:gdLst>
                <a:gd name="T0" fmla="*/ 1068 w 1069"/>
                <a:gd name="T1" fmla="*/ 123 h 1161"/>
                <a:gd name="T2" fmla="*/ 1066 w 1069"/>
                <a:gd name="T3" fmla="*/ 46 h 1161"/>
                <a:gd name="T4" fmla="*/ 250 w 1069"/>
                <a:gd name="T5" fmla="*/ 295 h 1161"/>
                <a:gd name="T6" fmla="*/ 0 w 1069"/>
                <a:gd name="T7" fmla="*/ 1026 h 1161"/>
                <a:gd name="T8" fmla="*/ 2 w 1069"/>
                <a:gd name="T9" fmla="*/ 1114 h 1161"/>
                <a:gd name="T10" fmla="*/ 818 w 1069"/>
                <a:gd name="T11" fmla="*/ 866 h 1161"/>
                <a:gd name="T12" fmla="*/ 944 w 1069"/>
                <a:gd name="T13" fmla="*/ 692 h 1161"/>
                <a:gd name="T14" fmla="*/ 994 w 1069"/>
                <a:gd name="T15" fmla="*/ 579 h 1161"/>
                <a:gd name="T16" fmla="*/ 1068 w 1069"/>
                <a:gd name="T17" fmla="*/ 123 h 1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69" h="1161">
                  <a:moveTo>
                    <a:pt x="1068" y="123"/>
                  </a:moveTo>
                  <a:cubicBezTo>
                    <a:pt x="1068" y="75"/>
                    <a:pt x="1066" y="46"/>
                    <a:pt x="1066" y="46"/>
                  </a:cubicBezTo>
                  <a:cubicBezTo>
                    <a:pt x="1066" y="46"/>
                    <a:pt x="544" y="0"/>
                    <a:pt x="250" y="295"/>
                  </a:cubicBezTo>
                  <a:cubicBezTo>
                    <a:pt x="31" y="516"/>
                    <a:pt x="1" y="864"/>
                    <a:pt x="0" y="1026"/>
                  </a:cubicBezTo>
                  <a:cubicBezTo>
                    <a:pt x="0" y="1081"/>
                    <a:pt x="2" y="1114"/>
                    <a:pt x="2" y="1114"/>
                  </a:cubicBezTo>
                  <a:cubicBezTo>
                    <a:pt x="2" y="1114"/>
                    <a:pt x="525" y="1161"/>
                    <a:pt x="818" y="866"/>
                  </a:cubicBezTo>
                  <a:cubicBezTo>
                    <a:pt x="870" y="814"/>
                    <a:pt x="911" y="754"/>
                    <a:pt x="944" y="692"/>
                  </a:cubicBezTo>
                  <a:cubicBezTo>
                    <a:pt x="963" y="655"/>
                    <a:pt x="980" y="617"/>
                    <a:pt x="994" y="579"/>
                  </a:cubicBezTo>
                  <a:cubicBezTo>
                    <a:pt x="1058" y="402"/>
                    <a:pt x="1069" y="222"/>
                    <a:pt x="1068" y="123"/>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9" name="TextBox 20">
              <a:extLst>
                <a:ext uri="{FF2B5EF4-FFF2-40B4-BE49-F238E27FC236}">
                  <a16:creationId xmlns:a16="http://schemas.microsoft.com/office/drawing/2014/main" id="{5FACFEEB-9983-4A61-8783-79E3B2276F47}"/>
                </a:ext>
              </a:extLst>
            </p:cNvPr>
            <p:cNvSpPr txBox="1"/>
            <p:nvPr/>
          </p:nvSpPr>
          <p:spPr>
            <a:xfrm rot="20700000" flipH="1">
              <a:off x="3544914" y="3638188"/>
              <a:ext cx="1097157" cy="682174"/>
            </a:xfrm>
            <a:prstGeom prst="rect">
              <a:avLst/>
            </a:prstGeom>
            <a:noFill/>
          </p:spPr>
          <p:txBody>
            <a:bodyPr wrap="square" rtlCol="0">
              <a:spAutoFit/>
            </a:bodyPr>
            <a:lstStyle/>
            <a:p>
              <a:pPr marL="0" marR="0" lvl="0" indent="0" algn="ctr" defTabSz="914400" rtl="0" eaLnBrk="1" fontAlgn="auto" latinLnBrk="0" hangingPunct="1">
                <a:lnSpc>
                  <a:spcPct val="140000"/>
                </a:lnSpc>
                <a:spcBef>
                  <a:spcPts val="0"/>
                </a:spcBef>
                <a:spcAft>
                  <a:spcPts val="0"/>
                </a:spcAft>
                <a:buClrTx/>
                <a:buSzTx/>
                <a:buFontTx/>
                <a:buNone/>
                <a:tabLst/>
                <a:defRPr/>
              </a:pPr>
              <a:r>
                <a:rPr kumimoji="0" lang="en-US" sz="3200" b="1" i="0" u="none" strike="noStrike" kern="1200" cap="none" spc="-15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380K</a:t>
              </a:r>
            </a:p>
          </p:txBody>
        </p:sp>
      </p:grpSp>
    </p:spTree>
    <p:extLst>
      <p:ext uri="{BB962C8B-B14F-4D97-AF65-F5344CB8AC3E}">
        <p14:creationId xmlns:p14="http://schemas.microsoft.com/office/powerpoint/2010/main" val="2017345754"/>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6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Shape 33">
            <a:extLst>
              <a:ext uri="{FF2B5EF4-FFF2-40B4-BE49-F238E27FC236}">
                <a16:creationId xmlns:a16="http://schemas.microsoft.com/office/drawing/2014/main" id="{FFF17AE2-E421-4BCF-9F3C-CABC9BE44BF2}"/>
              </a:ext>
            </a:extLst>
          </p:cNvPr>
          <p:cNvSpPr/>
          <p:nvPr/>
        </p:nvSpPr>
        <p:spPr>
          <a:xfrm>
            <a:off x="3534948" y="1608421"/>
            <a:ext cx="5410875" cy="3387983"/>
          </a:xfrm>
          <a:custGeom>
            <a:avLst/>
            <a:gdLst>
              <a:gd name="connsiteX0" fmla="*/ 722343 w 1477782"/>
              <a:gd name="connsiteY0" fmla="*/ 777023 h 925304"/>
              <a:gd name="connsiteX1" fmla="*/ 706515 w 1477782"/>
              <a:gd name="connsiteY1" fmla="*/ 781340 h 925304"/>
              <a:gd name="connsiteX2" fmla="*/ 594279 w 1477782"/>
              <a:gd name="connsiteY2" fmla="*/ 861920 h 925304"/>
              <a:gd name="connsiteX3" fmla="*/ 533843 w 1477782"/>
              <a:gd name="connsiteY3" fmla="*/ 844653 h 925304"/>
              <a:gd name="connsiteX4" fmla="*/ 400023 w 1477782"/>
              <a:gd name="connsiteY4" fmla="*/ 906527 h 925304"/>
              <a:gd name="connsiteX5" fmla="*/ 266202 w 1477782"/>
              <a:gd name="connsiteY5" fmla="*/ 844653 h 925304"/>
              <a:gd name="connsiteX6" fmla="*/ 205767 w 1477782"/>
              <a:gd name="connsiteY6" fmla="*/ 861920 h 925304"/>
              <a:gd name="connsiteX7" fmla="*/ 93531 w 1477782"/>
              <a:gd name="connsiteY7" fmla="*/ 781340 h 925304"/>
              <a:gd name="connsiteX8" fmla="*/ 0 w 1477782"/>
              <a:gd name="connsiteY8" fmla="*/ 661908 h 925304"/>
              <a:gd name="connsiteX9" fmla="*/ 99286 w 1477782"/>
              <a:gd name="connsiteY9" fmla="*/ 542477 h 925304"/>
              <a:gd name="connsiteX10" fmla="*/ 115115 w 1477782"/>
              <a:gd name="connsiteY10" fmla="*/ 506504 h 925304"/>
              <a:gd name="connsiteX11" fmla="*/ 90653 w 1477782"/>
              <a:gd name="connsiteY11" fmla="*/ 428802 h 925304"/>
              <a:gd name="connsiteX12" fmla="*/ 247496 w 1477782"/>
              <a:gd name="connsiteY12" fmla="*/ 277714 h 925304"/>
              <a:gd name="connsiteX13" fmla="*/ 447507 w 1477782"/>
              <a:gd name="connsiteY13" fmla="*/ 149649 h 925304"/>
              <a:gd name="connsiteX14" fmla="*/ 447507 w 1477782"/>
              <a:gd name="connsiteY14" fmla="*/ 149649 h 925304"/>
              <a:gd name="connsiteX15" fmla="*/ 725221 w 1477782"/>
              <a:gd name="connsiteY15" fmla="*/ 0 h 925304"/>
              <a:gd name="connsiteX16" fmla="*/ 1002935 w 1477782"/>
              <a:gd name="connsiteY16" fmla="*/ 149649 h 925304"/>
              <a:gd name="connsiteX17" fmla="*/ 1002935 w 1477782"/>
              <a:gd name="connsiteY17" fmla="*/ 149649 h 925304"/>
              <a:gd name="connsiteX18" fmla="*/ 1202946 w 1477782"/>
              <a:gd name="connsiteY18" fmla="*/ 277714 h 925304"/>
              <a:gd name="connsiteX19" fmla="*/ 1359790 w 1477782"/>
              <a:gd name="connsiteY19" fmla="*/ 428802 h 925304"/>
              <a:gd name="connsiteX20" fmla="*/ 1341084 w 1477782"/>
              <a:gd name="connsiteY20" fmla="*/ 497870 h 925304"/>
              <a:gd name="connsiteX21" fmla="*/ 1378496 w 1477782"/>
              <a:gd name="connsiteY21" fmla="*/ 561183 h 925304"/>
              <a:gd name="connsiteX22" fmla="*/ 1477782 w 1477782"/>
              <a:gd name="connsiteY22" fmla="*/ 680615 h 925304"/>
              <a:gd name="connsiteX23" fmla="*/ 1384252 w 1477782"/>
              <a:gd name="connsiteY23" fmla="*/ 800046 h 925304"/>
              <a:gd name="connsiteX24" fmla="*/ 1272015 w 1477782"/>
              <a:gd name="connsiteY24" fmla="*/ 880626 h 925304"/>
              <a:gd name="connsiteX25" fmla="*/ 1211580 w 1477782"/>
              <a:gd name="connsiteY25" fmla="*/ 863359 h 925304"/>
              <a:gd name="connsiteX26" fmla="*/ 1077760 w 1477782"/>
              <a:gd name="connsiteY26" fmla="*/ 925233 h 925304"/>
              <a:gd name="connsiteX27" fmla="*/ 943939 w 1477782"/>
              <a:gd name="connsiteY27" fmla="*/ 863359 h 925304"/>
              <a:gd name="connsiteX28" fmla="*/ 883504 w 1477782"/>
              <a:gd name="connsiteY28" fmla="*/ 880626 h 925304"/>
              <a:gd name="connsiteX29" fmla="*/ 771267 w 1477782"/>
              <a:gd name="connsiteY29" fmla="*/ 800046 h 925304"/>
              <a:gd name="connsiteX30" fmla="*/ 722343 w 1477782"/>
              <a:gd name="connsiteY30" fmla="*/ 777023 h 925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477782" h="925304">
                <a:moveTo>
                  <a:pt x="722343" y="777023"/>
                </a:moveTo>
                <a:cubicBezTo>
                  <a:pt x="716588" y="778462"/>
                  <a:pt x="712271" y="779901"/>
                  <a:pt x="706515" y="781340"/>
                </a:cubicBezTo>
                <a:cubicBezTo>
                  <a:pt x="686370" y="828824"/>
                  <a:pt x="644641" y="861920"/>
                  <a:pt x="594279" y="861920"/>
                </a:cubicBezTo>
                <a:cubicBezTo>
                  <a:pt x="572695" y="861920"/>
                  <a:pt x="551111" y="854725"/>
                  <a:pt x="533843" y="844653"/>
                </a:cubicBezTo>
                <a:cubicBezTo>
                  <a:pt x="507943" y="887821"/>
                  <a:pt x="454702" y="906527"/>
                  <a:pt x="400023" y="906527"/>
                </a:cubicBezTo>
                <a:cubicBezTo>
                  <a:pt x="345344" y="907965"/>
                  <a:pt x="292103" y="887821"/>
                  <a:pt x="266202" y="844653"/>
                </a:cubicBezTo>
                <a:cubicBezTo>
                  <a:pt x="248935" y="856164"/>
                  <a:pt x="227351" y="861920"/>
                  <a:pt x="205767" y="861920"/>
                </a:cubicBezTo>
                <a:cubicBezTo>
                  <a:pt x="155404" y="861920"/>
                  <a:pt x="112236" y="828824"/>
                  <a:pt x="93531" y="781340"/>
                </a:cubicBezTo>
                <a:cubicBezTo>
                  <a:pt x="41729" y="774145"/>
                  <a:pt x="0" y="722343"/>
                  <a:pt x="0" y="661908"/>
                </a:cubicBezTo>
                <a:cubicBezTo>
                  <a:pt x="0" y="598595"/>
                  <a:pt x="43168" y="546794"/>
                  <a:pt x="99286" y="542477"/>
                </a:cubicBezTo>
                <a:cubicBezTo>
                  <a:pt x="103603" y="529527"/>
                  <a:pt x="109358" y="516576"/>
                  <a:pt x="115115" y="506504"/>
                </a:cubicBezTo>
                <a:cubicBezTo>
                  <a:pt x="99286" y="483481"/>
                  <a:pt x="90653" y="457580"/>
                  <a:pt x="90653" y="428802"/>
                </a:cubicBezTo>
                <a:cubicBezTo>
                  <a:pt x="90653" y="349660"/>
                  <a:pt x="159721" y="283469"/>
                  <a:pt x="247496" y="277714"/>
                </a:cubicBezTo>
                <a:cubicBezTo>
                  <a:pt x="276275" y="202889"/>
                  <a:pt x="353977" y="149649"/>
                  <a:pt x="447507" y="149649"/>
                </a:cubicBezTo>
                <a:lnTo>
                  <a:pt x="447507" y="149649"/>
                </a:lnTo>
                <a:cubicBezTo>
                  <a:pt x="500748" y="60435"/>
                  <a:pt x="604351" y="1439"/>
                  <a:pt x="725221" y="0"/>
                </a:cubicBezTo>
                <a:cubicBezTo>
                  <a:pt x="844652" y="0"/>
                  <a:pt x="949695" y="60435"/>
                  <a:pt x="1002935" y="149649"/>
                </a:cubicBezTo>
                <a:lnTo>
                  <a:pt x="1002935" y="149649"/>
                </a:lnTo>
                <a:cubicBezTo>
                  <a:pt x="1096465" y="149649"/>
                  <a:pt x="1174168" y="202889"/>
                  <a:pt x="1202946" y="277714"/>
                </a:cubicBezTo>
                <a:cubicBezTo>
                  <a:pt x="1290721" y="283469"/>
                  <a:pt x="1359790" y="349660"/>
                  <a:pt x="1359790" y="428802"/>
                </a:cubicBezTo>
                <a:cubicBezTo>
                  <a:pt x="1359790" y="453263"/>
                  <a:pt x="1352596" y="476286"/>
                  <a:pt x="1341084" y="497870"/>
                </a:cubicBezTo>
                <a:cubicBezTo>
                  <a:pt x="1358351" y="515137"/>
                  <a:pt x="1371301" y="536721"/>
                  <a:pt x="1378496" y="561183"/>
                </a:cubicBezTo>
                <a:cubicBezTo>
                  <a:pt x="1433175" y="565500"/>
                  <a:pt x="1477782" y="617301"/>
                  <a:pt x="1477782" y="680615"/>
                </a:cubicBezTo>
                <a:cubicBezTo>
                  <a:pt x="1477782" y="741050"/>
                  <a:pt x="1437492" y="792851"/>
                  <a:pt x="1384252" y="800046"/>
                </a:cubicBezTo>
                <a:cubicBezTo>
                  <a:pt x="1364107" y="847530"/>
                  <a:pt x="1322378" y="880626"/>
                  <a:pt x="1272015" y="880626"/>
                </a:cubicBezTo>
                <a:cubicBezTo>
                  <a:pt x="1250431" y="880626"/>
                  <a:pt x="1228847" y="873431"/>
                  <a:pt x="1211580" y="863359"/>
                </a:cubicBezTo>
                <a:cubicBezTo>
                  <a:pt x="1185679" y="906527"/>
                  <a:pt x="1132439" y="925233"/>
                  <a:pt x="1077760" y="925233"/>
                </a:cubicBezTo>
                <a:cubicBezTo>
                  <a:pt x="1023080" y="926672"/>
                  <a:pt x="969840" y="906527"/>
                  <a:pt x="943939" y="863359"/>
                </a:cubicBezTo>
                <a:cubicBezTo>
                  <a:pt x="926672" y="874870"/>
                  <a:pt x="905088" y="880626"/>
                  <a:pt x="883504" y="880626"/>
                </a:cubicBezTo>
                <a:cubicBezTo>
                  <a:pt x="833141" y="880626"/>
                  <a:pt x="789973" y="847530"/>
                  <a:pt x="771267" y="800046"/>
                </a:cubicBezTo>
                <a:cubicBezTo>
                  <a:pt x="754000" y="795729"/>
                  <a:pt x="736733" y="787095"/>
                  <a:pt x="722343" y="777023"/>
                </a:cubicBezTo>
                <a:close/>
              </a:path>
            </a:pathLst>
          </a:custGeom>
          <a:solidFill>
            <a:schemeClr val="accent2">
              <a:lumMod val="50000"/>
            </a:schemeClr>
          </a:solidFill>
          <a:ln w="1438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D" sz="1800" b="0" i="0" u="none" strike="noStrike" kern="1200" cap="none" spc="0" normalizeH="0" baseline="0" noProof="0">
                <a:ln>
                  <a:noFill/>
                </a:ln>
                <a:solidFill>
                  <a:srgbClr val="000000"/>
                </a:solidFill>
                <a:effectLst/>
                <a:uLnTx/>
                <a:uFillTx/>
                <a:latin typeface="等线" panose="020F0502020204030204"/>
                <a:ea typeface="+mn-ea"/>
                <a:cs typeface="+mn-cs"/>
              </a:rPr>
              <a:t>  </a:t>
            </a:r>
          </a:p>
        </p:txBody>
      </p:sp>
      <p:sp>
        <p:nvSpPr>
          <p:cNvPr id="3" name="Freeform: Shape 32">
            <a:extLst>
              <a:ext uri="{FF2B5EF4-FFF2-40B4-BE49-F238E27FC236}">
                <a16:creationId xmlns:a16="http://schemas.microsoft.com/office/drawing/2014/main" id="{82060860-5E95-4ACA-91B2-F98DEAFA2698}"/>
              </a:ext>
            </a:extLst>
          </p:cNvPr>
          <p:cNvSpPr/>
          <p:nvPr/>
        </p:nvSpPr>
        <p:spPr>
          <a:xfrm>
            <a:off x="6084273" y="3942736"/>
            <a:ext cx="307002" cy="4449585"/>
          </a:xfrm>
          <a:custGeom>
            <a:avLst/>
            <a:gdLst>
              <a:gd name="connsiteX0" fmla="*/ 293542 w 293541"/>
              <a:gd name="connsiteY0" fmla="*/ 8633 h 3883675"/>
              <a:gd name="connsiteX1" fmla="*/ 260447 w 293541"/>
              <a:gd name="connsiteY1" fmla="*/ 3883675 h 3883675"/>
              <a:gd name="connsiteX2" fmla="*/ 0 w 293541"/>
              <a:gd name="connsiteY2" fmla="*/ 3883675 h 3883675"/>
              <a:gd name="connsiteX3" fmla="*/ 23023 w 293541"/>
              <a:gd name="connsiteY3" fmla="*/ 0 h 3883675"/>
              <a:gd name="connsiteX4" fmla="*/ 97848 w 293541"/>
              <a:gd name="connsiteY4" fmla="*/ 0 h 3883675"/>
              <a:gd name="connsiteX5" fmla="*/ 293542 w 293541"/>
              <a:gd name="connsiteY5" fmla="*/ 8633 h 3883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3541" h="3883675">
                <a:moveTo>
                  <a:pt x="293542" y="8633"/>
                </a:moveTo>
                <a:cubicBezTo>
                  <a:pt x="270519" y="825947"/>
                  <a:pt x="256130" y="2095084"/>
                  <a:pt x="260447" y="3883675"/>
                </a:cubicBezTo>
                <a:lnTo>
                  <a:pt x="0" y="3883675"/>
                </a:lnTo>
                <a:cubicBezTo>
                  <a:pt x="12950" y="2358408"/>
                  <a:pt x="23023" y="1351157"/>
                  <a:pt x="23023" y="0"/>
                </a:cubicBezTo>
                <a:lnTo>
                  <a:pt x="97848" y="0"/>
                </a:lnTo>
                <a:lnTo>
                  <a:pt x="293542" y="8633"/>
                </a:lnTo>
                <a:close/>
              </a:path>
            </a:pathLst>
          </a:custGeom>
          <a:solidFill>
            <a:srgbClr val="965F26"/>
          </a:solidFill>
          <a:ln w="1438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4" name="Freeform: Shape 34">
            <a:extLst>
              <a:ext uri="{FF2B5EF4-FFF2-40B4-BE49-F238E27FC236}">
                <a16:creationId xmlns:a16="http://schemas.microsoft.com/office/drawing/2014/main" id="{276CE9B1-32F3-4548-8595-68810DA108C7}"/>
              </a:ext>
            </a:extLst>
          </p:cNvPr>
          <p:cNvSpPr/>
          <p:nvPr/>
        </p:nvSpPr>
        <p:spPr>
          <a:xfrm>
            <a:off x="3442286" y="1451193"/>
            <a:ext cx="5578544" cy="3347398"/>
          </a:xfrm>
          <a:custGeom>
            <a:avLst/>
            <a:gdLst>
              <a:gd name="connsiteX0" fmla="*/ 719466 w 1474904"/>
              <a:gd name="connsiteY0" fmla="*/ 736733 h 885014"/>
              <a:gd name="connsiteX1" fmla="*/ 703637 w 1474904"/>
              <a:gd name="connsiteY1" fmla="*/ 741050 h 885014"/>
              <a:gd name="connsiteX2" fmla="*/ 591401 w 1474904"/>
              <a:gd name="connsiteY2" fmla="*/ 821630 h 885014"/>
              <a:gd name="connsiteX3" fmla="*/ 530966 w 1474904"/>
              <a:gd name="connsiteY3" fmla="*/ 804363 h 885014"/>
              <a:gd name="connsiteX4" fmla="*/ 397145 w 1474904"/>
              <a:gd name="connsiteY4" fmla="*/ 866237 h 885014"/>
              <a:gd name="connsiteX5" fmla="*/ 263325 w 1474904"/>
              <a:gd name="connsiteY5" fmla="*/ 804363 h 885014"/>
              <a:gd name="connsiteX6" fmla="*/ 202889 w 1474904"/>
              <a:gd name="connsiteY6" fmla="*/ 821630 h 885014"/>
              <a:gd name="connsiteX7" fmla="*/ 90653 w 1474904"/>
              <a:gd name="connsiteY7" fmla="*/ 741050 h 885014"/>
              <a:gd name="connsiteX8" fmla="*/ 0 w 1474904"/>
              <a:gd name="connsiteY8" fmla="*/ 644641 h 885014"/>
              <a:gd name="connsiteX9" fmla="*/ 97848 w 1474904"/>
              <a:gd name="connsiteY9" fmla="*/ 542477 h 885014"/>
              <a:gd name="connsiteX10" fmla="*/ 113675 w 1474904"/>
              <a:gd name="connsiteY10" fmla="*/ 506504 h 885014"/>
              <a:gd name="connsiteX11" fmla="*/ 102164 w 1474904"/>
              <a:gd name="connsiteY11" fmla="*/ 486359 h 885014"/>
              <a:gd name="connsiteX12" fmla="*/ 112237 w 1474904"/>
              <a:gd name="connsiteY12" fmla="*/ 466214 h 885014"/>
              <a:gd name="connsiteX13" fmla="*/ 90653 w 1474904"/>
              <a:gd name="connsiteY13" fmla="*/ 411534 h 885014"/>
              <a:gd name="connsiteX14" fmla="*/ 246057 w 1474904"/>
              <a:gd name="connsiteY14" fmla="*/ 277714 h 885014"/>
              <a:gd name="connsiteX15" fmla="*/ 446069 w 1474904"/>
              <a:gd name="connsiteY15" fmla="*/ 149649 h 885014"/>
              <a:gd name="connsiteX16" fmla="*/ 446069 w 1474904"/>
              <a:gd name="connsiteY16" fmla="*/ 149649 h 885014"/>
              <a:gd name="connsiteX17" fmla="*/ 723783 w 1474904"/>
              <a:gd name="connsiteY17" fmla="*/ 0 h 885014"/>
              <a:gd name="connsiteX18" fmla="*/ 1001496 w 1474904"/>
              <a:gd name="connsiteY18" fmla="*/ 149649 h 885014"/>
              <a:gd name="connsiteX19" fmla="*/ 1001496 w 1474904"/>
              <a:gd name="connsiteY19" fmla="*/ 149649 h 885014"/>
              <a:gd name="connsiteX20" fmla="*/ 1201508 w 1474904"/>
              <a:gd name="connsiteY20" fmla="*/ 277714 h 885014"/>
              <a:gd name="connsiteX21" fmla="*/ 1356913 w 1474904"/>
              <a:gd name="connsiteY21" fmla="*/ 405779 h 885014"/>
              <a:gd name="connsiteX22" fmla="*/ 1339645 w 1474904"/>
              <a:gd name="connsiteY22" fmla="*/ 456141 h 885014"/>
              <a:gd name="connsiteX23" fmla="*/ 1352596 w 1474904"/>
              <a:gd name="connsiteY23" fmla="*/ 470530 h 885014"/>
              <a:gd name="connsiteX24" fmla="*/ 1341084 w 1474904"/>
              <a:gd name="connsiteY24" fmla="*/ 497870 h 885014"/>
              <a:gd name="connsiteX25" fmla="*/ 1378497 w 1474904"/>
              <a:gd name="connsiteY25" fmla="*/ 561183 h 885014"/>
              <a:gd name="connsiteX26" fmla="*/ 1474905 w 1474904"/>
              <a:gd name="connsiteY26" fmla="*/ 657592 h 885014"/>
              <a:gd name="connsiteX27" fmla="*/ 1382813 w 1474904"/>
              <a:gd name="connsiteY27" fmla="*/ 759756 h 885014"/>
              <a:gd name="connsiteX28" fmla="*/ 1270577 w 1474904"/>
              <a:gd name="connsiteY28" fmla="*/ 840336 h 885014"/>
              <a:gd name="connsiteX29" fmla="*/ 1210141 w 1474904"/>
              <a:gd name="connsiteY29" fmla="*/ 823069 h 885014"/>
              <a:gd name="connsiteX30" fmla="*/ 1076321 w 1474904"/>
              <a:gd name="connsiteY30" fmla="*/ 884943 h 885014"/>
              <a:gd name="connsiteX31" fmla="*/ 942500 w 1474904"/>
              <a:gd name="connsiteY31" fmla="*/ 823069 h 885014"/>
              <a:gd name="connsiteX32" fmla="*/ 882065 w 1474904"/>
              <a:gd name="connsiteY32" fmla="*/ 840336 h 885014"/>
              <a:gd name="connsiteX33" fmla="*/ 769828 w 1474904"/>
              <a:gd name="connsiteY33" fmla="*/ 759756 h 885014"/>
              <a:gd name="connsiteX34" fmla="*/ 719466 w 1474904"/>
              <a:gd name="connsiteY34" fmla="*/ 736733 h 885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1474904" h="885014">
                <a:moveTo>
                  <a:pt x="719466" y="736733"/>
                </a:moveTo>
                <a:cubicBezTo>
                  <a:pt x="713710" y="738172"/>
                  <a:pt x="709393" y="739611"/>
                  <a:pt x="703637" y="741050"/>
                </a:cubicBezTo>
                <a:cubicBezTo>
                  <a:pt x="683492" y="788534"/>
                  <a:pt x="641764" y="821630"/>
                  <a:pt x="591401" y="821630"/>
                </a:cubicBezTo>
                <a:cubicBezTo>
                  <a:pt x="569817" y="821630"/>
                  <a:pt x="548233" y="814435"/>
                  <a:pt x="530966" y="804363"/>
                </a:cubicBezTo>
                <a:cubicBezTo>
                  <a:pt x="505065" y="847531"/>
                  <a:pt x="451824" y="866237"/>
                  <a:pt x="397145" y="866237"/>
                </a:cubicBezTo>
                <a:cubicBezTo>
                  <a:pt x="342466" y="867676"/>
                  <a:pt x="289225" y="847531"/>
                  <a:pt x="263325" y="804363"/>
                </a:cubicBezTo>
                <a:cubicBezTo>
                  <a:pt x="246057" y="815874"/>
                  <a:pt x="224473" y="821630"/>
                  <a:pt x="202889" y="821630"/>
                </a:cubicBezTo>
                <a:cubicBezTo>
                  <a:pt x="152527" y="821630"/>
                  <a:pt x="109359" y="788534"/>
                  <a:pt x="90653" y="741050"/>
                </a:cubicBezTo>
                <a:cubicBezTo>
                  <a:pt x="44607" y="733855"/>
                  <a:pt x="8634" y="695004"/>
                  <a:pt x="0" y="644641"/>
                </a:cubicBezTo>
                <a:cubicBezTo>
                  <a:pt x="7195" y="589962"/>
                  <a:pt x="47485" y="546794"/>
                  <a:pt x="97848" y="542477"/>
                </a:cubicBezTo>
                <a:cubicBezTo>
                  <a:pt x="102164" y="529527"/>
                  <a:pt x="107920" y="516576"/>
                  <a:pt x="113675" y="506504"/>
                </a:cubicBezTo>
                <a:cubicBezTo>
                  <a:pt x="109359" y="500748"/>
                  <a:pt x="105042" y="493553"/>
                  <a:pt x="102164" y="486359"/>
                </a:cubicBezTo>
                <a:cubicBezTo>
                  <a:pt x="105042" y="479164"/>
                  <a:pt x="109359" y="471969"/>
                  <a:pt x="112237" y="466214"/>
                </a:cubicBezTo>
                <a:cubicBezTo>
                  <a:pt x="100725" y="450386"/>
                  <a:pt x="93531" y="431679"/>
                  <a:pt x="90653" y="411534"/>
                </a:cubicBezTo>
                <a:cubicBezTo>
                  <a:pt x="100725" y="339588"/>
                  <a:pt x="165477" y="283469"/>
                  <a:pt x="246057" y="277714"/>
                </a:cubicBezTo>
                <a:cubicBezTo>
                  <a:pt x="274836" y="202889"/>
                  <a:pt x="352538" y="149649"/>
                  <a:pt x="446069" y="149649"/>
                </a:cubicBezTo>
                <a:lnTo>
                  <a:pt x="446069" y="149649"/>
                </a:lnTo>
                <a:cubicBezTo>
                  <a:pt x="499309" y="60435"/>
                  <a:pt x="602912" y="1439"/>
                  <a:pt x="723783" y="0"/>
                </a:cubicBezTo>
                <a:cubicBezTo>
                  <a:pt x="843214" y="0"/>
                  <a:pt x="948256" y="60435"/>
                  <a:pt x="1001496" y="149649"/>
                </a:cubicBezTo>
                <a:lnTo>
                  <a:pt x="1001496" y="149649"/>
                </a:lnTo>
                <a:cubicBezTo>
                  <a:pt x="1095027" y="149649"/>
                  <a:pt x="1172729" y="202889"/>
                  <a:pt x="1201508" y="277714"/>
                </a:cubicBezTo>
                <a:cubicBezTo>
                  <a:pt x="1280649" y="283469"/>
                  <a:pt x="1343962" y="336710"/>
                  <a:pt x="1356913" y="405779"/>
                </a:cubicBezTo>
                <a:cubicBezTo>
                  <a:pt x="1354035" y="424485"/>
                  <a:pt x="1348279" y="440313"/>
                  <a:pt x="1339645" y="456141"/>
                </a:cubicBezTo>
                <a:cubicBezTo>
                  <a:pt x="1343962" y="460458"/>
                  <a:pt x="1348279" y="464775"/>
                  <a:pt x="1352596" y="470530"/>
                </a:cubicBezTo>
                <a:cubicBezTo>
                  <a:pt x="1349718" y="479164"/>
                  <a:pt x="1345401" y="489237"/>
                  <a:pt x="1341084" y="497870"/>
                </a:cubicBezTo>
                <a:cubicBezTo>
                  <a:pt x="1358351" y="515137"/>
                  <a:pt x="1371302" y="536721"/>
                  <a:pt x="1378497" y="561183"/>
                </a:cubicBezTo>
                <a:cubicBezTo>
                  <a:pt x="1427420" y="565500"/>
                  <a:pt x="1466271" y="605790"/>
                  <a:pt x="1474905" y="657592"/>
                </a:cubicBezTo>
                <a:cubicBezTo>
                  <a:pt x="1467710" y="710832"/>
                  <a:pt x="1430298" y="752561"/>
                  <a:pt x="1382813" y="759756"/>
                </a:cubicBezTo>
                <a:cubicBezTo>
                  <a:pt x="1362668" y="807240"/>
                  <a:pt x="1320939" y="840336"/>
                  <a:pt x="1270577" y="840336"/>
                </a:cubicBezTo>
                <a:cubicBezTo>
                  <a:pt x="1248993" y="840336"/>
                  <a:pt x="1227409" y="833141"/>
                  <a:pt x="1210141" y="823069"/>
                </a:cubicBezTo>
                <a:cubicBezTo>
                  <a:pt x="1184241" y="866237"/>
                  <a:pt x="1131000" y="884943"/>
                  <a:pt x="1076321" y="884943"/>
                </a:cubicBezTo>
                <a:cubicBezTo>
                  <a:pt x="1021641" y="886382"/>
                  <a:pt x="968401" y="866237"/>
                  <a:pt x="942500" y="823069"/>
                </a:cubicBezTo>
                <a:cubicBezTo>
                  <a:pt x="925233" y="834580"/>
                  <a:pt x="903649" y="840336"/>
                  <a:pt x="882065" y="840336"/>
                </a:cubicBezTo>
                <a:cubicBezTo>
                  <a:pt x="831703" y="840336"/>
                  <a:pt x="788535" y="807240"/>
                  <a:pt x="769828" y="759756"/>
                </a:cubicBezTo>
                <a:cubicBezTo>
                  <a:pt x="749683" y="755439"/>
                  <a:pt x="733855" y="748244"/>
                  <a:pt x="719466" y="736733"/>
                </a:cubicBezTo>
                <a:close/>
              </a:path>
            </a:pathLst>
          </a:custGeom>
          <a:solidFill>
            <a:schemeClr val="accent2">
              <a:lumMod val="75000"/>
            </a:schemeClr>
          </a:solidFill>
          <a:ln w="1438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5" name="Freeform: Shape 38">
            <a:extLst>
              <a:ext uri="{FF2B5EF4-FFF2-40B4-BE49-F238E27FC236}">
                <a16:creationId xmlns:a16="http://schemas.microsoft.com/office/drawing/2014/main" id="{EC17F327-5B8E-4455-8482-F8048D3828B8}"/>
              </a:ext>
            </a:extLst>
          </p:cNvPr>
          <p:cNvSpPr/>
          <p:nvPr/>
        </p:nvSpPr>
        <p:spPr>
          <a:xfrm>
            <a:off x="3978126" y="5372210"/>
            <a:ext cx="2378374" cy="2993368"/>
          </a:xfrm>
          <a:custGeom>
            <a:avLst/>
            <a:gdLst>
              <a:gd name="connsiteX0" fmla="*/ 2403015 w 2403015"/>
              <a:gd name="connsiteY0" fmla="*/ 2833255 h 2965637"/>
              <a:gd name="connsiteX1" fmla="*/ 2230344 w 2403015"/>
              <a:gd name="connsiteY1" fmla="*/ 1558362 h 2965637"/>
              <a:gd name="connsiteX2" fmla="*/ 997179 w 2403015"/>
              <a:gd name="connsiteY2" fmla="*/ 725221 h 2965637"/>
              <a:gd name="connsiteX3" fmla="*/ 123748 w 2403015"/>
              <a:gd name="connsiteY3" fmla="*/ 151088 h 2965637"/>
              <a:gd name="connsiteX4" fmla="*/ 0 w 2403015"/>
              <a:gd name="connsiteY4" fmla="*/ 0 h 2965637"/>
              <a:gd name="connsiteX5" fmla="*/ 31656 w 2403015"/>
              <a:gd name="connsiteY5" fmla="*/ 99286 h 2965637"/>
              <a:gd name="connsiteX6" fmla="*/ 945378 w 2403015"/>
              <a:gd name="connsiteY6" fmla="*/ 863359 h 2965637"/>
              <a:gd name="connsiteX7" fmla="*/ 2037527 w 2403015"/>
              <a:gd name="connsiteY7" fmla="*/ 1656210 h 2965637"/>
              <a:gd name="connsiteX8" fmla="*/ 2142569 w 2403015"/>
              <a:gd name="connsiteY8" fmla="*/ 2836134 h 2965637"/>
              <a:gd name="connsiteX9" fmla="*/ 2274951 w 2403015"/>
              <a:gd name="connsiteY9" fmla="*/ 2965637 h 2965637"/>
              <a:gd name="connsiteX10" fmla="*/ 2403015 w 2403015"/>
              <a:gd name="connsiteY10" fmla="*/ 2833255 h 29656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03015" h="2965637">
                <a:moveTo>
                  <a:pt x="2403015" y="2833255"/>
                </a:moveTo>
                <a:cubicBezTo>
                  <a:pt x="2391504" y="2454817"/>
                  <a:pt x="2404455" y="1893634"/>
                  <a:pt x="2230344" y="1558362"/>
                </a:cubicBezTo>
                <a:cubicBezTo>
                  <a:pt x="1958386" y="1037469"/>
                  <a:pt x="1510878" y="900771"/>
                  <a:pt x="997179" y="725221"/>
                </a:cubicBezTo>
                <a:cubicBezTo>
                  <a:pt x="670542" y="612985"/>
                  <a:pt x="342466" y="423046"/>
                  <a:pt x="123748" y="151088"/>
                </a:cubicBezTo>
                <a:cubicBezTo>
                  <a:pt x="-1439" y="-4317"/>
                  <a:pt x="139576" y="161160"/>
                  <a:pt x="0" y="0"/>
                </a:cubicBezTo>
                <a:lnTo>
                  <a:pt x="31656" y="99286"/>
                </a:lnTo>
                <a:cubicBezTo>
                  <a:pt x="176988" y="444630"/>
                  <a:pt x="608668" y="726660"/>
                  <a:pt x="945378" y="863359"/>
                </a:cubicBezTo>
                <a:cubicBezTo>
                  <a:pt x="1392885" y="1046103"/>
                  <a:pt x="1813054" y="1181363"/>
                  <a:pt x="2037527" y="1656210"/>
                </a:cubicBezTo>
                <a:cubicBezTo>
                  <a:pt x="2174225" y="1946874"/>
                  <a:pt x="2144008" y="2509496"/>
                  <a:pt x="2142569" y="2836134"/>
                </a:cubicBezTo>
                <a:cubicBezTo>
                  <a:pt x="2144008" y="2908080"/>
                  <a:pt x="2203004" y="2965637"/>
                  <a:pt x="2274951" y="2965637"/>
                </a:cubicBezTo>
                <a:cubicBezTo>
                  <a:pt x="2345458" y="2964198"/>
                  <a:pt x="2403015" y="2905202"/>
                  <a:pt x="2403015" y="2833255"/>
                </a:cubicBezTo>
                <a:close/>
              </a:path>
            </a:pathLst>
          </a:custGeom>
          <a:solidFill>
            <a:srgbClr val="965F26"/>
          </a:solidFill>
          <a:ln w="1438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6" name="Freeform: Shape 37">
            <a:extLst>
              <a:ext uri="{FF2B5EF4-FFF2-40B4-BE49-F238E27FC236}">
                <a16:creationId xmlns:a16="http://schemas.microsoft.com/office/drawing/2014/main" id="{AB0756FE-F867-438B-AE6E-55A64E67667A}"/>
              </a:ext>
            </a:extLst>
          </p:cNvPr>
          <p:cNvSpPr/>
          <p:nvPr/>
        </p:nvSpPr>
        <p:spPr>
          <a:xfrm>
            <a:off x="6095999" y="4841456"/>
            <a:ext cx="2411697" cy="2662225"/>
          </a:xfrm>
          <a:custGeom>
            <a:avLst/>
            <a:gdLst>
              <a:gd name="connsiteX0" fmla="*/ 0 w 2398698"/>
              <a:gd name="connsiteY0" fmla="*/ 2637561 h 2637561"/>
              <a:gd name="connsiteX1" fmla="*/ 168355 w 2398698"/>
              <a:gd name="connsiteY1" fmla="*/ 1559802 h 2637561"/>
              <a:gd name="connsiteX2" fmla="*/ 1401519 w 2398698"/>
              <a:gd name="connsiteY2" fmla="*/ 725222 h 2637561"/>
              <a:gd name="connsiteX3" fmla="*/ 2274951 w 2398698"/>
              <a:gd name="connsiteY3" fmla="*/ 151088 h 2637561"/>
              <a:gd name="connsiteX4" fmla="*/ 2398698 w 2398698"/>
              <a:gd name="connsiteY4" fmla="*/ 0 h 2637561"/>
              <a:gd name="connsiteX5" fmla="*/ 2367043 w 2398698"/>
              <a:gd name="connsiteY5" fmla="*/ 99287 h 2637561"/>
              <a:gd name="connsiteX6" fmla="*/ 1453321 w 2398698"/>
              <a:gd name="connsiteY6" fmla="*/ 863359 h 2637561"/>
              <a:gd name="connsiteX7" fmla="*/ 361172 w 2398698"/>
              <a:gd name="connsiteY7" fmla="*/ 1656210 h 2637561"/>
              <a:gd name="connsiteX8" fmla="*/ 253252 w 2398698"/>
              <a:gd name="connsiteY8" fmla="*/ 2637561 h 2637561"/>
              <a:gd name="connsiteX9" fmla="*/ 0 w 2398698"/>
              <a:gd name="connsiteY9" fmla="*/ 2637561 h 26375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98698" h="2637561">
                <a:moveTo>
                  <a:pt x="0" y="2637561"/>
                </a:moveTo>
                <a:cubicBezTo>
                  <a:pt x="7195" y="2279267"/>
                  <a:pt x="21584" y="1840393"/>
                  <a:pt x="168355" y="1559802"/>
                </a:cubicBezTo>
                <a:cubicBezTo>
                  <a:pt x="440313" y="1038908"/>
                  <a:pt x="887821" y="902210"/>
                  <a:pt x="1401519" y="725222"/>
                </a:cubicBezTo>
                <a:cubicBezTo>
                  <a:pt x="1728157" y="612985"/>
                  <a:pt x="2056233" y="423046"/>
                  <a:pt x="2274951" y="151088"/>
                </a:cubicBezTo>
                <a:cubicBezTo>
                  <a:pt x="2400138" y="-4317"/>
                  <a:pt x="2259123" y="161160"/>
                  <a:pt x="2398698" y="0"/>
                </a:cubicBezTo>
                <a:lnTo>
                  <a:pt x="2367043" y="99287"/>
                </a:lnTo>
                <a:cubicBezTo>
                  <a:pt x="2221710" y="444630"/>
                  <a:pt x="1790031" y="726660"/>
                  <a:pt x="1453321" y="863359"/>
                </a:cubicBezTo>
                <a:cubicBezTo>
                  <a:pt x="1005813" y="1046103"/>
                  <a:pt x="585645" y="1181363"/>
                  <a:pt x="361172" y="1656210"/>
                </a:cubicBezTo>
                <a:cubicBezTo>
                  <a:pt x="248935" y="1893634"/>
                  <a:pt x="248935" y="2313802"/>
                  <a:pt x="253252" y="2637561"/>
                </a:cubicBezTo>
                <a:lnTo>
                  <a:pt x="0" y="2637561"/>
                </a:lnTo>
                <a:close/>
              </a:path>
            </a:pathLst>
          </a:custGeom>
          <a:solidFill>
            <a:srgbClr val="965F26"/>
          </a:solidFill>
          <a:ln w="1438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7" name="Title 1">
            <a:extLst>
              <a:ext uri="{FF2B5EF4-FFF2-40B4-BE49-F238E27FC236}">
                <a16:creationId xmlns:a16="http://schemas.microsoft.com/office/drawing/2014/main" id="{D98CB200-8401-4B83-BC0D-2E9E9E0A696B}"/>
              </a:ext>
            </a:extLst>
          </p:cNvPr>
          <p:cNvSpPr txBox="1">
            <a:spLocks/>
          </p:cNvSpPr>
          <p:nvPr/>
        </p:nvSpPr>
        <p:spPr>
          <a:xfrm>
            <a:off x="2043113" y="304800"/>
            <a:ext cx="8105775" cy="1105808"/>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ID" sz="4400" b="0" i="0" u="none" strike="noStrike" kern="1200" cap="none" spc="0" normalizeH="0" baseline="0" noProof="0">
                <a:ln>
                  <a:noFill/>
                </a:ln>
                <a:solidFill>
                  <a:srgbClr val="000000"/>
                </a:solidFill>
                <a:effectLst/>
                <a:uLnTx/>
                <a:uFillTx/>
                <a:latin typeface="等线 Light" panose="020F0302020204030204"/>
                <a:ea typeface="+mj-ea"/>
                <a:cs typeface="+mj-cs"/>
              </a:rPr>
              <a:t>Tree Infographic</a:t>
            </a:r>
          </a:p>
        </p:txBody>
      </p:sp>
      <p:sp>
        <p:nvSpPr>
          <p:cNvPr id="8" name="Freeform: Shape 19">
            <a:extLst>
              <a:ext uri="{FF2B5EF4-FFF2-40B4-BE49-F238E27FC236}">
                <a16:creationId xmlns:a16="http://schemas.microsoft.com/office/drawing/2014/main" id="{CCB769F5-10EB-44AB-8301-A1C4C9E203CE}"/>
              </a:ext>
            </a:extLst>
          </p:cNvPr>
          <p:cNvSpPr/>
          <p:nvPr/>
        </p:nvSpPr>
        <p:spPr>
          <a:xfrm>
            <a:off x="7351582" y="3714145"/>
            <a:ext cx="2828738" cy="2026330"/>
          </a:xfrm>
          <a:custGeom>
            <a:avLst/>
            <a:gdLst>
              <a:gd name="connsiteX0" fmla="*/ 2105157 w 2105156"/>
              <a:gd name="connsiteY0" fmla="*/ 0 h 1508000"/>
              <a:gd name="connsiteX1" fmla="*/ 2105157 w 2105156"/>
              <a:gd name="connsiteY1" fmla="*/ 754000 h 1508000"/>
              <a:gd name="connsiteX2" fmla="*/ 1351157 w 2105156"/>
              <a:gd name="connsiteY2" fmla="*/ 1508000 h 1508000"/>
              <a:gd name="connsiteX3" fmla="*/ 0 w 2105156"/>
              <a:gd name="connsiteY3" fmla="*/ 1508000 h 1508000"/>
              <a:gd name="connsiteX4" fmla="*/ 0 w 2105156"/>
              <a:gd name="connsiteY4" fmla="*/ 754000 h 1508000"/>
              <a:gd name="connsiteX5" fmla="*/ 705076 w 2105156"/>
              <a:gd name="connsiteY5" fmla="*/ 1439 h 1508000"/>
              <a:gd name="connsiteX6" fmla="*/ 2105157 w 2105156"/>
              <a:gd name="connsiteY6" fmla="*/ 0 h 150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05156" h="1508000">
                <a:moveTo>
                  <a:pt x="2105157" y="0"/>
                </a:moveTo>
                <a:lnTo>
                  <a:pt x="2105157" y="754000"/>
                </a:lnTo>
                <a:cubicBezTo>
                  <a:pt x="2105157" y="1168412"/>
                  <a:pt x="1765569" y="1508000"/>
                  <a:pt x="1351157" y="1508000"/>
                </a:cubicBezTo>
                <a:cubicBezTo>
                  <a:pt x="900772" y="1508000"/>
                  <a:pt x="450385" y="1508000"/>
                  <a:pt x="0" y="1508000"/>
                </a:cubicBezTo>
                <a:lnTo>
                  <a:pt x="0" y="754000"/>
                </a:lnTo>
                <a:cubicBezTo>
                  <a:pt x="0" y="358294"/>
                  <a:pt x="310810" y="27340"/>
                  <a:pt x="705076" y="1439"/>
                </a:cubicBezTo>
                <a:lnTo>
                  <a:pt x="2105157" y="0"/>
                </a:lnTo>
                <a:close/>
              </a:path>
            </a:pathLst>
          </a:custGeom>
          <a:solidFill>
            <a:schemeClr val="accent2"/>
          </a:solidFill>
          <a:ln w="14389" cap="flat">
            <a:no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F0F0F0"/>
              </a:solidFill>
              <a:effectLst/>
              <a:uLnTx/>
              <a:uFillTx/>
              <a:latin typeface="等线" panose="020F0502020204030204"/>
              <a:ea typeface="+mn-ea"/>
              <a:cs typeface="+mn-cs"/>
            </a:endParaRPr>
          </a:p>
        </p:txBody>
      </p:sp>
      <p:sp>
        <p:nvSpPr>
          <p:cNvPr id="9" name="TextBox 45">
            <a:extLst>
              <a:ext uri="{FF2B5EF4-FFF2-40B4-BE49-F238E27FC236}">
                <a16:creationId xmlns:a16="http://schemas.microsoft.com/office/drawing/2014/main" id="{DD99E722-C85E-4BF7-AA7B-CF186C40B32C}"/>
              </a:ext>
            </a:extLst>
          </p:cNvPr>
          <p:cNvSpPr txBox="1"/>
          <p:nvPr/>
        </p:nvSpPr>
        <p:spPr>
          <a:xfrm>
            <a:off x="7604024" y="4672594"/>
            <a:ext cx="2323854" cy="894156"/>
          </a:xfrm>
          <a:prstGeom prst="rect">
            <a:avLst/>
          </a:prstGeom>
          <a:noFill/>
        </p:spPr>
        <p:txBody>
          <a:bodyPr wrap="square" rtlCol="0">
            <a:sp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0F0F0"/>
                </a:solidFill>
                <a:effectLst/>
                <a:uLnTx/>
                <a:uFillTx/>
                <a:latin typeface="等线" panose="020F0502020204030204"/>
                <a:ea typeface="Times New Roman" panose="02020603050405020304" pitchFamily="18" charset="0"/>
                <a:cs typeface="Raleway" panose="020B0503030101060003" pitchFamily="34" charset="0"/>
              </a:rPr>
              <a:t>Lorem ipsum dolor sit amet, consectetur adipiscing elit. Aenean sit amet</a:t>
            </a:r>
            <a:endParaRPr kumimoji="0" lang="en-US" altLang="en-US" sz="1200" b="0" i="0" u="none" strike="noStrike" kern="1200" cap="none" spc="0" normalizeH="0" baseline="0" noProof="0">
              <a:ln>
                <a:noFill/>
              </a:ln>
              <a:solidFill>
                <a:srgbClr val="F0F0F0"/>
              </a:solidFill>
              <a:effectLst/>
              <a:uLnTx/>
              <a:uFillTx/>
              <a:latin typeface="等线" panose="020F0502020204030204"/>
              <a:ea typeface="Raleway"/>
              <a:cs typeface="Raleway"/>
            </a:endParaRPr>
          </a:p>
        </p:txBody>
      </p:sp>
      <p:grpSp>
        <p:nvGrpSpPr>
          <p:cNvPr id="10" name="Graphic 1">
            <a:extLst>
              <a:ext uri="{FF2B5EF4-FFF2-40B4-BE49-F238E27FC236}">
                <a16:creationId xmlns:a16="http://schemas.microsoft.com/office/drawing/2014/main" id="{690FD2EF-418C-43BB-8700-EC81AB7DDDC5}"/>
              </a:ext>
            </a:extLst>
          </p:cNvPr>
          <p:cNvGrpSpPr/>
          <p:nvPr/>
        </p:nvGrpSpPr>
        <p:grpSpPr>
          <a:xfrm>
            <a:off x="8578459" y="3972036"/>
            <a:ext cx="374984" cy="374549"/>
            <a:chOff x="3634739" y="2474595"/>
            <a:chExt cx="822007" cy="821054"/>
          </a:xfrm>
          <a:solidFill>
            <a:schemeClr val="bg2"/>
          </a:solidFill>
        </p:grpSpPr>
        <p:sp>
          <p:nvSpPr>
            <p:cNvPr id="11" name="Freeform: Shape 52">
              <a:extLst>
                <a:ext uri="{FF2B5EF4-FFF2-40B4-BE49-F238E27FC236}">
                  <a16:creationId xmlns:a16="http://schemas.microsoft.com/office/drawing/2014/main" id="{65467F7B-BDFC-4EA6-B3B6-D85B0861CE44}"/>
                </a:ext>
              </a:extLst>
            </p:cNvPr>
            <p:cNvSpPr/>
            <p:nvPr/>
          </p:nvSpPr>
          <p:spPr>
            <a:xfrm>
              <a:off x="3672702" y="2474595"/>
              <a:ext cx="784044" cy="784044"/>
            </a:xfrm>
            <a:custGeom>
              <a:avLst/>
              <a:gdLst>
                <a:gd name="connsiteX0" fmla="*/ 784045 w 784044"/>
                <a:gd name="connsiteY0" fmla="*/ 0 h 784044"/>
                <a:gd name="connsiteX1" fmla="*/ 584020 w 784044"/>
                <a:gd name="connsiteY1" fmla="*/ 683895 h 784044"/>
                <a:gd name="connsiteX2" fmla="*/ 115390 w 784044"/>
                <a:gd name="connsiteY2" fmla="*/ 698183 h 784044"/>
                <a:gd name="connsiteX3" fmla="*/ 180160 w 784044"/>
                <a:gd name="connsiteY3" fmla="*/ 633413 h 784044"/>
                <a:gd name="connsiteX4" fmla="*/ 387805 w 784044"/>
                <a:gd name="connsiteY4" fmla="*/ 609600 h 784044"/>
                <a:gd name="connsiteX5" fmla="*/ 383042 w 784044"/>
                <a:gd name="connsiteY5" fmla="*/ 568643 h 784044"/>
                <a:gd name="connsiteX6" fmla="*/ 226832 w 784044"/>
                <a:gd name="connsiteY6" fmla="*/ 586740 h 784044"/>
                <a:gd name="connsiteX7" fmla="*/ 302080 w 784044"/>
                <a:gd name="connsiteY7" fmla="*/ 511492 h 784044"/>
                <a:gd name="connsiteX8" fmla="*/ 509725 w 784044"/>
                <a:gd name="connsiteY8" fmla="*/ 487680 h 784044"/>
                <a:gd name="connsiteX9" fmla="*/ 504962 w 784044"/>
                <a:gd name="connsiteY9" fmla="*/ 446722 h 784044"/>
                <a:gd name="connsiteX10" fmla="*/ 348752 w 784044"/>
                <a:gd name="connsiteY10" fmla="*/ 464820 h 784044"/>
                <a:gd name="connsiteX11" fmla="*/ 504962 w 784044"/>
                <a:gd name="connsiteY11" fmla="*/ 308610 h 784044"/>
                <a:gd name="connsiteX12" fmla="*/ 475435 w 784044"/>
                <a:gd name="connsiteY12" fmla="*/ 279083 h 784044"/>
                <a:gd name="connsiteX13" fmla="*/ 323035 w 784044"/>
                <a:gd name="connsiteY13" fmla="*/ 431483 h 784044"/>
                <a:gd name="connsiteX14" fmla="*/ 344942 w 784044"/>
                <a:gd name="connsiteY14" fmla="*/ 293370 h 784044"/>
                <a:gd name="connsiteX15" fmla="*/ 303985 w 784044"/>
                <a:gd name="connsiteY15" fmla="*/ 286702 h 784044"/>
                <a:gd name="connsiteX16" fmla="*/ 273505 w 784044"/>
                <a:gd name="connsiteY16" fmla="*/ 481013 h 784044"/>
                <a:gd name="connsiteX17" fmla="*/ 201115 w 784044"/>
                <a:gd name="connsiteY17" fmla="*/ 553402 h 784044"/>
                <a:gd name="connsiteX18" fmla="*/ 223022 w 784044"/>
                <a:gd name="connsiteY18" fmla="*/ 415290 h 784044"/>
                <a:gd name="connsiteX19" fmla="*/ 182065 w 784044"/>
                <a:gd name="connsiteY19" fmla="*/ 408622 h 784044"/>
                <a:gd name="connsiteX20" fmla="*/ 151585 w 784044"/>
                <a:gd name="connsiteY20" fmla="*/ 602933 h 784044"/>
                <a:gd name="connsiteX21" fmla="*/ 85862 w 784044"/>
                <a:gd name="connsiteY21" fmla="*/ 668655 h 784044"/>
                <a:gd name="connsiteX22" fmla="*/ 100150 w 784044"/>
                <a:gd name="connsiteY22" fmla="*/ 200025 h 784044"/>
                <a:gd name="connsiteX23" fmla="*/ 784045 w 784044"/>
                <a:gd name="connsiteY23" fmla="*/ 0 h 784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784044" h="784044">
                  <a:moveTo>
                    <a:pt x="784045" y="0"/>
                  </a:moveTo>
                  <a:cubicBezTo>
                    <a:pt x="784045" y="0"/>
                    <a:pt x="717370" y="549593"/>
                    <a:pt x="584020" y="683895"/>
                  </a:cubicBezTo>
                  <a:cubicBezTo>
                    <a:pt x="455432" y="812483"/>
                    <a:pt x="249692" y="817245"/>
                    <a:pt x="115390" y="698183"/>
                  </a:cubicBezTo>
                  <a:lnTo>
                    <a:pt x="180160" y="633413"/>
                  </a:lnTo>
                  <a:lnTo>
                    <a:pt x="387805" y="609600"/>
                  </a:lnTo>
                  <a:lnTo>
                    <a:pt x="383042" y="568643"/>
                  </a:lnTo>
                  <a:lnTo>
                    <a:pt x="226832" y="586740"/>
                  </a:lnTo>
                  <a:lnTo>
                    <a:pt x="302080" y="511492"/>
                  </a:lnTo>
                  <a:lnTo>
                    <a:pt x="509725" y="487680"/>
                  </a:lnTo>
                  <a:lnTo>
                    <a:pt x="504962" y="446722"/>
                  </a:lnTo>
                  <a:lnTo>
                    <a:pt x="348752" y="464820"/>
                  </a:lnTo>
                  <a:lnTo>
                    <a:pt x="504962" y="308610"/>
                  </a:lnTo>
                  <a:lnTo>
                    <a:pt x="475435" y="279083"/>
                  </a:lnTo>
                  <a:lnTo>
                    <a:pt x="323035" y="431483"/>
                  </a:lnTo>
                  <a:lnTo>
                    <a:pt x="344942" y="293370"/>
                  </a:lnTo>
                  <a:lnTo>
                    <a:pt x="303985" y="286702"/>
                  </a:lnTo>
                  <a:lnTo>
                    <a:pt x="273505" y="481013"/>
                  </a:lnTo>
                  <a:lnTo>
                    <a:pt x="201115" y="553402"/>
                  </a:lnTo>
                  <a:lnTo>
                    <a:pt x="223022" y="415290"/>
                  </a:lnTo>
                  <a:lnTo>
                    <a:pt x="182065" y="408622"/>
                  </a:lnTo>
                  <a:lnTo>
                    <a:pt x="151585" y="602933"/>
                  </a:lnTo>
                  <a:lnTo>
                    <a:pt x="85862" y="668655"/>
                  </a:lnTo>
                  <a:cubicBezTo>
                    <a:pt x="-33200" y="534352"/>
                    <a:pt x="-28438" y="328613"/>
                    <a:pt x="100150" y="200025"/>
                  </a:cubicBezTo>
                  <a:cubicBezTo>
                    <a:pt x="233500" y="66675"/>
                    <a:pt x="784045" y="0"/>
                    <a:pt x="784045" y="0"/>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2" name="Freeform: Shape 53">
              <a:extLst>
                <a:ext uri="{FF2B5EF4-FFF2-40B4-BE49-F238E27FC236}">
                  <a16:creationId xmlns:a16="http://schemas.microsoft.com/office/drawing/2014/main" id="{54575435-93C6-4E02-9C2F-EEA84D44C6B2}"/>
                </a:ext>
              </a:extLst>
            </p:cNvPr>
            <p:cNvSpPr/>
            <p:nvPr/>
          </p:nvSpPr>
          <p:spPr>
            <a:xfrm>
              <a:off x="3634739" y="3143250"/>
              <a:ext cx="153352" cy="152400"/>
            </a:xfrm>
            <a:custGeom>
              <a:avLst/>
              <a:gdLst>
                <a:gd name="connsiteX0" fmla="*/ 153353 w 153352"/>
                <a:gd name="connsiteY0" fmla="*/ 29528 h 152400"/>
                <a:gd name="connsiteX1" fmla="*/ 29527 w 153352"/>
                <a:gd name="connsiteY1" fmla="*/ 152400 h 152400"/>
                <a:gd name="connsiteX2" fmla="*/ 0 w 153352"/>
                <a:gd name="connsiteY2" fmla="*/ 122872 h 152400"/>
                <a:gd name="connsiteX3" fmla="*/ 122872 w 153352"/>
                <a:gd name="connsiteY3" fmla="*/ 0 h 152400"/>
                <a:gd name="connsiteX4" fmla="*/ 137160 w 153352"/>
                <a:gd name="connsiteY4" fmla="*/ 15240 h 152400"/>
                <a:gd name="connsiteX5" fmla="*/ 153353 w 153352"/>
                <a:gd name="connsiteY5" fmla="*/ 29528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3352" h="152400">
                  <a:moveTo>
                    <a:pt x="153353" y="29528"/>
                  </a:moveTo>
                  <a:lnTo>
                    <a:pt x="29527" y="152400"/>
                  </a:lnTo>
                  <a:lnTo>
                    <a:pt x="0" y="122872"/>
                  </a:lnTo>
                  <a:lnTo>
                    <a:pt x="122872" y="0"/>
                  </a:lnTo>
                  <a:cubicBezTo>
                    <a:pt x="127635" y="4763"/>
                    <a:pt x="132397" y="10478"/>
                    <a:pt x="137160" y="15240"/>
                  </a:cubicBezTo>
                  <a:cubicBezTo>
                    <a:pt x="142875" y="20003"/>
                    <a:pt x="147638" y="24765"/>
                    <a:pt x="153353" y="2952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sp>
        <p:nvSpPr>
          <p:cNvPr id="13" name="TextBox 31">
            <a:extLst>
              <a:ext uri="{FF2B5EF4-FFF2-40B4-BE49-F238E27FC236}">
                <a16:creationId xmlns:a16="http://schemas.microsoft.com/office/drawing/2014/main" id="{6A5D9D1A-F9D1-4E5F-96F1-77C30705B0E9}"/>
              </a:ext>
            </a:extLst>
          </p:cNvPr>
          <p:cNvSpPr txBox="1"/>
          <p:nvPr/>
        </p:nvSpPr>
        <p:spPr>
          <a:xfrm>
            <a:off x="8064978" y="4389178"/>
            <a:ext cx="1401946" cy="33855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F0F0F0"/>
                </a:solidFill>
                <a:effectLst/>
                <a:uLnTx/>
                <a:uFillTx/>
                <a:latin typeface="等线 Light" panose="020F0302020204030204"/>
                <a:ea typeface="+mn-ea"/>
                <a:cs typeface="+mn-cs"/>
              </a:rPr>
              <a:t>Description</a:t>
            </a:r>
          </a:p>
        </p:txBody>
      </p:sp>
      <p:sp>
        <p:nvSpPr>
          <p:cNvPr id="14" name="TextBox 36">
            <a:extLst>
              <a:ext uri="{FF2B5EF4-FFF2-40B4-BE49-F238E27FC236}">
                <a16:creationId xmlns:a16="http://schemas.microsoft.com/office/drawing/2014/main" id="{FB974CDA-2BD1-4C6D-BFF0-E669C8656E43}"/>
              </a:ext>
            </a:extLst>
          </p:cNvPr>
          <p:cNvSpPr txBox="1"/>
          <p:nvPr/>
        </p:nvSpPr>
        <p:spPr>
          <a:xfrm>
            <a:off x="5530585" y="2522679"/>
            <a:ext cx="1401946" cy="33855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F0F0F0"/>
                </a:solidFill>
                <a:effectLst/>
                <a:uLnTx/>
                <a:uFillTx/>
                <a:latin typeface="等线 Light" panose="020F0302020204030204"/>
                <a:ea typeface="+mn-ea"/>
                <a:cs typeface="+mn-cs"/>
              </a:rPr>
              <a:t>Description</a:t>
            </a:r>
          </a:p>
        </p:txBody>
      </p:sp>
      <p:grpSp>
        <p:nvGrpSpPr>
          <p:cNvPr id="15" name="Graphic 1">
            <a:extLst>
              <a:ext uri="{FF2B5EF4-FFF2-40B4-BE49-F238E27FC236}">
                <a16:creationId xmlns:a16="http://schemas.microsoft.com/office/drawing/2014/main" id="{6FF6FC5E-0E9A-41AA-A583-2F2F2896C29A}"/>
              </a:ext>
            </a:extLst>
          </p:cNvPr>
          <p:cNvGrpSpPr/>
          <p:nvPr/>
        </p:nvGrpSpPr>
        <p:grpSpPr>
          <a:xfrm>
            <a:off x="5993490" y="2011763"/>
            <a:ext cx="476136" cy="388624"/>
            <a:chOff x="1403984" y="4770119"/>
            <a:chExt cx="917257" cy="748665"/>
          </a:xfrm>
          <a:solidFill>
            <a:schemeClr val="bg2"/>
          </a:solidFill>
        </p:grpSpPr>
        <p:sp>
          <p:nvSpPr>
            <p:cNvPr id="16" name="Freeform: Shape 40">
              <a:extLst>
                <a:ext uri="{FF2B5EF4-FFF2-40B4-BE49-F238E27FC236}">
                  <a16:creationId xmlns:a16="http://schemas.microsoft.com/office/drawing/2014/main" id="{2707913B-4CBA-47FD-B70B-1A9E4B6A6934}"/>
                </a:ext>
              </a:extLst>
            </p:cNvPr>
            <p:cNvSpPr/>
            <p:nvPr/>
          </p:nvSpPr>
          <p:spPr>
            <a:xfrm>
              <a:off x="1957387" y="4770119"/>
              <a:ext cx="363854" cy="734377"/>
            </a:xfrm>
            <a:custGeom>
              <a:avLst/>
              <a:gdLst>
                <a:gd name="connsiteX0" fmla="*/ 103823 w 363854"/>
                <a:gd name="connsiteY0" fmla="*/ 374333 h 734377"/>
                <a:gd name="connsiteX1" fmla="*/ 0 w 363854"/>
                <a:gd name="connsiteY1" fmla="*/ 734378 h 734377"/>
                <a:gd name="connsiteX2" fmla="*/ 363855 w 363854"/>
                <a:gd name="connsiteY2" fmla="*/ 643890 h 734377"/>
                <a:gd name="connsiteX3" fmla="*/ 286703 w 363854"/>
                <a:gd name="connsiteY3" fmla="*/ 563880 h 734377"/>
                <a:gd name="connsiteX4" fmla="*/ 321945 w 363854"/>
                <a:gd name="connsiteY4" fmla="*/ 392430 h 734377"/>
                <a:gd name="connsiteX5" fmla="*/ 75248 w 363854"/>
                <a:gd name="connsiteY5" fmla="*/ 0 h 734377"/>
                <a:gd name="connsiteX6" fmla="*/ 9525 w 363854"/>
                <a:gd name="connsiteY6" fmla="*/ 135255 h 734377"/>
                <a:gd name="connsiteX7" fmla="*/ 171450 w 363854"/>
                <a:gd name="connsiteY7" fmla="*/ 392430 h 734377"/>
                <a:gd name="connsiteX8" fmla="*/ 167640 w 363854"/>
                <a:gd name="connsiteY8" fmla="*/ 440055 h 734377"/>
                <a:gd name="connsiteX9" fmla="*/ 103823 w 363854"/>
                <a:gd name="connsiteY9" fmla="*/ 374333 h 734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3854" h="734377">
                  <a:moveTo>
                    <a:pt x="103823" y="374333"/>
                  </a:moveTo>
                  <a:lnTo>
                    <a:pt x="0" y="734378"/>
                  </a:lnTo>
                  <a:lnTo>
                    <a:pt x="363855" y="643890"/>
                  </a:lnTo>
                  <a:lnTo>
                    <a:pt x="286703" y="563880"/>
                  </a:lnTo>
                  <a:cubicBezTo>
                    <a:pt x="309563" y="509588"/>
                    <a:pt x="321945" y="451485"/>
                    <a:pt x="321945" y="392430"/>
                  </a:cubicBezTo>
                  <a:cubicBezTo>
                    <a:pt x="321945" y="225743"/>
                    <a:pt x="224790" y="72390"/>
                    <a:pt x="75248" y="0"/>
                  </a:cubicBezTo>
                  <a:lnTo>
                    <a:pt x="9525" y="135255"/>
                  </a:lnTo>
                  <a:cubicBezTo>
                    <a:pt x="107633" y="182880"/>
                    <a:pt x="171450" y="283845"/>
                    <a:pt x="171450" y="392430"/>
                  </a:cubicBezTo>
                  <a:cubicBezTo>
                    <a:pt x="171450" y="408623"/>
                    <a:pt x="170498" y="424815"/>
                    <a:pt x="167640" y="440055"/>
                  </a:cubicBezTo>
                  <a:lnTo>
                    <a:pt x="103823" y="374333"/>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7" name="Freeform: Shape 41">
              <a:extLst>
                <a:ext uri="{FF2B5EF4-FFF2-40B4-BE49-F238E27FC236}">
                  <a16:creationId xmlns:a16="http://schemas.microsoft.com/office/drawing/2014/main" id="{D8273DEC-5F09-4A5E-9C8E-0D2974F36E77}"/>
                </a:ext>
              </a:extLst>
            </p:cNvPr>
            <p:cNvSpPr/>
            <p:nvPr/>
          </p:nvSpPr>
          <p:spPr>
            <a:xfrm>
              <a:off x="1403984" y="4784407"/>
              <a:ext cx="363854" cy="734377"/>
            </a:xfrm>
            <a:custGeom>
              <a:avLst/>
              <a:gdLst>
                <a:gd name="connsiteX0" fmla="*/ 260985 w 363854"/>
                <a:gd name="connsiteY0" fmla="*/ 360045 h 734377"/>
                <a:gd name="connsiteX1" fmla="*/ 363855 w 363854"/>
                <a:gd name="connsiteY1" fmla="*/ 0 h 734377"/>
                <a:gd name="connsiteX2" fmla="*/ 0 w 363854"/>
                <a:gd name="connsiteY2" fmla="*/ 90488 h 734377"/>
                <a:gd name="connsiteX3" fmla="*/ 77153 w 363854"/>
                <a:gd name="connsiteY3" fmla="*/ 170498 h 734377"/>
                <a:gd name="connsiteX4" fmla="*/ 41910 w 363854"/>
                <a:gd name="connsiteY4" fmla="*/ 341948 h 734377"/>
                <a:gd name="connsiteX5" fmla="*/ 288608 w 363854"/>
                <a:gd name="connsiteY5" fmla="*/ 734378 h 734377"/>
                <a:gd name="connsiteX6" fmla="*/ 354330 w 363854"/>
                <a:gd name="connsiteY6" fmla="*/ 599123 h 734377"/>
                <a:gd name="connsiteX7" fmla="*/ 192405 w 363854"/>
                <a:gd name="connsiteY7" fmla="*/ 341948 h 734377"/>
                <a:gd name="connsiteX8" fmla="*/ 196215 w 363854"/>
                <a:gd name="connsiteY8" fmla="*/ 294323 h 734377"/>
                <a:gd name="connsiteX9" fmla="*/ 260985 w 363854"/>
                <a:gd name="connsiteY9" fmla="*/ 360045 h 734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3854" h="734377">
                  <a:moveTo>
                    <a:pt x="260985" y="360045"/>
                  </a:moveTo>
                  <a:lnTo>
                    <a:pt x="363855" y="0"/>
                  </a:lnTo>
                  <a:lnTo>
                    <a:pt x="0" y="90488"/>
                  </a:lnTo>
                  <a:lnTo>
                    <a:pt x="77153" y="170498"/>
                  </a:lnTo>
                  <a:cubicBezTo>
                    <a:pt x="54293" y="224790"/>
                    <a:pt x="41910" y="282893"/>
                    <a:pt x="41910" y="341948"/>
                  </a:cubicBezTo>
                  <a:cubicBezTo>
                    <a:pt x="41910" y="508635"/>
                    <a:pt x="139065" y="661988"/>
                    <a:pt x="288608" y="734378"/>
                  </a:cubicBezTo>
                  <a:lnTo>
                    <a:pt x="354330" y="599123"/>
                  </a:lnTo>
                  <a:cubicBezTo>
                    <a:pt x="256222" y="551498"/>
                    <a:pt x="192405" y="450533"/>
                    <a:pt x="192405" y="341948"/>
                  </a:cubicBezTo>
                  <a:cubicBezTo>
                    <a:pt x="192405" y="325755"/>
                    <a:pt x="193358" y="309563"/>
                    <a:pt x="196215" y="294323"/>
                  </a:cubicBezTo>
                  <a:lnTo>
                    <a:pt x="260985" y="360045"/>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sp>
        <p:nvSpPr>
          <p:cNvPr id="18" name="Rectangle 42">
            <a:extLst>
              <a:ext uri="{FF2B5EF4-FFF2-40B4-BE49-F238E27FC236}">
                <a16:creationId xmlns:a16="http://schemas.microsoft.com/office/drawing/2014/main" id="{E265DEC2-72FE-4DFB-9C39-15C13B81D3DC}"/>
              </a:ext>
            </a:extLst>
          </p:cNvPr>
          <p:cNvSpPr/>
          <p:nvPr/>
        </p:nvSpPr>
        <p:spPr>
          <a:xfrm>
            <a:off x="4312174" y="2850766"/>
            <a:ext cx="3838768" cy="894156"/>
          </a:xfrm>
          <a:prstGeom prst="rect">
            <a:avLst/>
          </a:prstGeom>
        </p:spPr>
        <p:txBody>
          <a:bodyPr wrap="square">
            <a:sp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0F0F0"/>
                </a:solidFill>
                <a:effectLst/>
                <a:uLnTx/>
                <a:uFillTx/>
                <a:latin typeface="等线" panose="020F0502020204030204"/>
                <a:ea typeface="+mn-ea"/>
                <a:cs typeface="+mn-cs"/>
              </a:rPr>
              <a:t>A wonderful serenity has taken possession of my entire soul, like these sweet mornings of spring which I enjoy with my whole heart. I am alone, in this amet</a:t>
            </a:r>
            <a:endParaRPr kumimoji="0" lang="en-US" sz="1200" b="0" i="0" u="none" strike="noStrike" kern="1200" cap="none" spc="0" normalizeH="0" baseline="0" noProof="0" dirty="0">
              <a:ln>
                <a:noFill/>
              </a:ln>
              <a:solidFill>
                <a:srgbClr val="F0F0F0"/>
              </a:solidFill>
              <a:effectLst/>
              <a:uLnTx/>
              <a:uFillTx/>
              <a:latin typeface="等线" panose="020F0502020204030204"/>
              <a:ea typeface="+mn-ea"/>
              <a:cs typeface="+mn-cs"/>
            </a:endParaRPr>
          </a:p>
        </p:txBody>
      </p:sp>
      <p:sp>
        <p:nvSpPr>
          <p:cNvPr id="19" name="Freeform: Shape 22">
            <a:extLst>
              <a:ext uri="{FF2B5EF4-FFF2-40B4-BE49-F238E27FC236}">
                <a16:creationId xmlns:a16="http://schemas.microsoft.com/office/drawing/2014/main" id="{16EDA505-2B63-486A-9ED3-16689E0AB87E}"/>
              </a:ext>
            </a:extLst>
          </p:cNvPr>
          <p:cNvSpPr/>
          <p:nvPr/>
        </p:nvSpPr>
        <p:spPr>
          <a:xfrm>
            <a:off x="1457627" y="3727526"/>
            <a:ext cx="3311561" cy="2372190"/>
          </a:xfrm>
          <a:custGeom>
            <a:avLst/>
            <a:gdLst>
              <a:gd name="connsiteX0" fmla="*/ 0 w 2105156"/>
              <a:gd name="connsiteY0" fmla="*/ 0 h 1507999"/>
              <a:gd name="connsiteX1" fmla="*/ 0 w 2105156"/>
              <a:gd name="connsiteY1" fmla="*/ 754000 h 1507999"/>
              <a:gd name="connsiteX2" fmla="*/ 754000 w 2105156"/>
              <a:gd name="connsiteY2" fmla="*/ 1508000 h 1507999"/>
              <a:gd name="connsiteX3" fmla="*/ 2105157 w 2105156"/>
              <a:gd name="connsiteY3" fmla="*/ 1508000 h 1507999"/>
              <a:gd name="connsiteX4" fmla="*/ 2105157 w 2105156"/>
              <a:gd name="connsiteY4" fmla="*/ 754000 h 1507999"/>
              <a:gd name="connsiteX5" fmla="*/ 1400081 w 2105156"/>
              <a:gd name="connsiteY5" fmla="*/ 1439 h 1507999"/>
              <a:gd name="connsiteX6" fmla="*/ 0 w 2105156"/>
              <a:gd name="connsiteY6" fmla="*/ 0 h 150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05156" h="1507999">
                <a:moveTo>
                  <a:pt x="0" y="0"/>
                </a:moveTo>
                <a:lnTo>
                  <a:pt x="0" y="754000"/>
                </a:lnTo>
                <a:cubicBezTo>
                  <a:pt x="0" y="1168412"/>
                  <a:pt x="339588" y="1508000"/>
                  <a:pt x="754000" y="1508000"/>
                </a:cubicBezTo>
                <a:cubicBezTo>
                  <a:pt x="1204386" y="1508000"/>
                  <a:pt x="1654771" y="1508000"/>
                  <a:pt x="2105157" y="1508000"/>
                </a:cubicBezTo>
                <a:lnTo>
                  <a:pt x="2105157" y="754000"/>
                </a:lnTo>
                <a:cubicBezTo>
                  <a:pt x="2105157" y="358294"/>
                  <a:pt x="1794348" y="27340"/>
                  <a:pt x="1400081" y="1439"/>
                </a:cubicBezTo>
                <a:lnTo>
                  <a:pt x="0" y="0"/>
                </a:lnTo>
                <a:close/>
              </a:path>
            </a:pathLst>
          </a:custGeom>
          <a:solidFill>
            <a:schemeClr val="accent2"/>
          </a:solidFill>
          <a:ln w="1438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0" name="TextBox 30">
            <a:extLst>
              <a:ext uri="{FF2B5EF4-FFF2-40B4-BE49-F238E27FC236}">
                <a16:creationId xmlns:a16="http://schemas.microsoft.com/office/drawing/2014/main" id="{296B40F9-15A8-488A-85AB-B4F2C7179D6B}"/>
              </a:ext>
            </a:extLst>
          </p:cNvPr>
          <p:cNvSpPr txBox="1"/>
          <p:nvPr/>
        </p:nvSpPr>
        <p:spPr>
          <a:xfrm>
            <a:off x="1715195" y="4763978"/>
            <a:ext cx="2796424" cy="894156"/>
          </a:xfrm>
          <a:prstGeom prst="rect">
            <a:avLst/>
          </a:prstGeom>
          <a:noFill/>
        </p:spPr>
        <p:txBody>
          <a:bodyPr wrap="square" rtlCol="0">
            <a:sp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0F0F0"/>
                </a:solidFill>
                <a:effectLst/>
                <a:uLnTx/>
                <a:uFillTx/>
                <a:latin typeface="等线" panose="020F0502020204030204"/>
                <a:ea typeface="Times New Roman" panose="02020603050405020304" pitchFamily="18" charset="0"/>
                <a:cs typeface="Raleway" panose="020B0503030101060003" pitchFamily="34" charset="0"/>
              </a:rPr>
              <a:t>Lorem ipsum dolor sit amet, consectetur adipiscing elit. Aenean sit amet ultrices sem. Donec non elit eu tellus lacinia</a:t>
            </a:r>
            <a:endParaRPr kumimoji="0" lang="en-US" altLang="en-US" sz="1200" b="0" i="0" u="none" strike="noStrike" kern="1200" cap="none" spc="0" normalizeH="0" baseline="0" noProof="0">
              <a:ln>
                <a:noFill/>
              </a:ln>
              <a:solidFill>
                <a:srgbClr val="F0F0F0"/>
              </a:solidFill>
              <a:effectLst/>
              <a:uLnTx/>
              <a:uFillTx/>
              <a:latin typeface="等线" panose="020F0502020204030204"/>
              <a:ea typeface="Raleway"/>
              <a:cs typeface="Raleway"/>
            </a:endParaRPr>
          </a:p>
        </p:txBody>
      </p:sp>
      <p:sp>
        <p:nvSpPr>
          <p:cNvPr id="21" name="TextBox 35">
            <a:extLst>
              <a:ext uri="{FF2B5EF4-FFF2-40B4-BE49-F238E27FC236}">
                <a16:creationId xmlns:a16="http://schemas.microsoft.com/office/drawing/2014/main" id="{EDA9A01B-1111-4190-BAD3-0AF680C1134E}"/>
              </a:ext>
            </a:extLst>
          </p:cNvPr>
          <p:cNvSpPr txBox="1"/>
          <p:nvPr/>
        </p:nvSpPr>
        <p:spPr>
          <a:xfrm>
            <a:off x="2412434" y="4480562"/>
            <a:ext cx="1401946" cy="33855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F0F0F0"/>
                </a:solidFill>
                <a:effectLst/>
                <a:uLnTx/>
                <a:uFillTx/>
                <a:latin typeface="等线 Light" panose="020F0302020204030204"/>
                <a:ea typeface="+mn-ea"/>
                <a:cs typeface="+mn-cs"/>
              </a:rPr>
              <a:t>Description</a:t>
            </a:r>
          </a:p>
        </p:txBody>
      </p:sp>
      <p:sp>
        <p:nvSpPr>
          <p:cNvPr id="22" name="Freeform: Shape 50">
            <a:extLst>
              <a:ext uri="{FF2B5EF4-FFF2-40B4-BE49-F238E27FC236}">
                <a16:creationId xmlns:a16="http://schemas.microsoft.com/office/drawing/2014/main" id="{DCA72FE5-1D1C-45E2-BCD6-826C0CA25239}"/>
              </a:ext>
            </a:extLst>
          </p:cNvPr>
          <p:cNvSpPr/>
          <p:nvPr/>
        </p:nvSpPr>
        <p:spPr>
          <a:xfrm>
            <a:off x="2862204" y="4105196"/>
            <a:ext cx="517646" cy="280548"/>
          </a:xfrm>
          <a:custGeom>
            <a:avLst/>
            <a:gdLst>
              <a:gd name="connsiteX0" fmla="*/ 714375 w 952622"/>
              <a:gd name="connsiteY0" fmla="*/ 269590 h 516287"/>
              <a:gd name="connsiteX1" fmla="*/ 476250 w 952622"/>
              <a:gd name="connsiteY1" fmla="*/ 33 h 516287"/>
              <a:gd name="connsiteX2" fmla="*/ 307658 w 952622"/>
              <a:gd name="connsiteY2" fmla="*/ 209583 h 516287"/>
              <a:gd name="connsiteX3" fmla="*/ 139065 w 952622"/>
              <a:gd name="connsiteY3" fmla="*/ 359125 h 516287"/>
              <a:gd name="connsiteX4" fmla="*/ 0 w 952622"/>
              <a:gd name="connsiteY4" fmla="*/ 516288 h 516287"/>
              <a:gd name="connsiteX5" fmla="*/ 952500 w 952622"/>
              <a:gd name="connsiteY5" fmla="*/ 516288 h 516287"/>
              <a:gd name="connsiteX6" fmla="*/ 714375 w 952622"/>
              <a:gd name="connsiteY6" fmla="*/ 269590 h 516287"/>
              <a:gd name="connsiteX7" fmla="*/ 590550 w 952622"/>
              <a:gd name="connsiteY7" fmla="*/ 229585 h 516287"/>
              <a:gd name="connsiteX8" fmla="*/ 504825 w 952622"/>
              <a:gd name="connsiteY8" fmla="*/ 112428 h 516287"/>
              <a:gd name="connsiteX9" fmla="*/ 525780 w 952622"/>
              <a:gd name="connsiteY9" fmla="*/ 69565 h 516287"/>
              <a:gd name="connsiteX10" fmla="*/ 638175 w 952622"/>
              <a:gd name="connsiteY10" fmla="*/ 221013 h 516287"/>
              <a:gd name="connsiteX11" fmla="*/ 590550 w 952622"/>
              <a:gd name="connsiteY11" fmla="*/ 229585 h 516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52622" h="516287">
                <a:moveTo>
                  <a:pt x="714375" y="269590"/>
                </a:moveTo>
                <a:cubicBezTo>
                  <a:pt x="714375" y="269590"/>
                  <a:pt x="720090" y="33"/>
                  <a:pt x="476250" y="33"/>
                </a:cubicBezTo>
                <a:cubicBezTo>
                  <a:pt x="476250" y="33"/>
                  <a:pt x="307658" y="-7587"/>
                  <a:pt x="307658" y="209583"/>
                </a:cubicBezTo>
                <a:cubicBezTo>
                  <a:pt x="307658" y="209583"/>
                  <a:pt x="139065" y="179103"/>
                  <a:pt x="139065" y="359125"/>
                </a:cubicBezTo>
                <a:cubicBezTo>
                  <a:pt x="139065" y="359125"/>
                  <a:pt x="0" y="308643"/>
                  <a:pt x="0" y="516288"/>
                </a:cubicBezTo>
                <a:lnTo>
                  <a:pt x="952500" y="516288"/>
                </a:lnTo>
                <a:cubicBezTo>
                  <a:pt x="952500" y="516288"/>
                  <a:pt x="965835" y="269590"/>
                  <a:pt x="714375" y="269590"/>
                </a:cubicBezTo>
                <a:close/>
                <a:moveTo>
                  <a:pt x="590550" y="229585"/>
                </a:moveTo>
                <a:cubicBezTo>
                  <a:pt x="579120" y="174340"/>
                  <a:pt x="550545" y="134335"/>
                  <a:pt x="504825" y="112428"/>
                </a:cubicBezTo>
                <a:lnTo>
                  <a:pt x="525780" y="69565"/>
                </a:lnTo>
                <a:cubicBezTo>
                  <a:pt x="566738" y="89568"/>
                  <a:pt x="620078" y="132430"/>
                  <a:pt x="638175" y="221013"/>
                </a:cubicBezTo>
                <a:lnTo>
                  <a:pt x="590550" y="229585"/>
                </a:lnTo>
                <a:close/>
              </a:path>
            </a:pathLst>
          </a:custGeom>
          <a:solidFill>
            <a:schemeClr val="bg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Tree>
    <p:extLst>
      <p:ext uri="{BB962C8B-B14F-4D97-AF65-F5344CB8AC3E}">
        <p14:creationId xmlns:p14="http://schemas.microsoft.com/office/powerpoint/2010/main" val="2469145982"/>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20"/>
                                        </p:tgtEl>
                                        <p:attrNameLst>
                                          <p:attrName>style.visibility</p:attrName>
                                        </p:attrNameLst>
                                      </p:cBhvr>
                                      <p:to>
                                        <p:strVal val="visible"/>
                                      </p:to>
                                    </p:set>
                                    <p:animEffect transition="in" filter="fade">
                                      <p:cBhvr>
                                        <p:cTn id="11" dur="500"/>
                                        <p:tgtEl>
                                          <p:spTgt spid="20"/>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21"/>
                                        </p:tgtEl>
                                        <p:attrNameLst>
                                          <p:attrName>style.visibility</p:attrName>
                                        </p:attrNameLst>
                                      </p:cBhvr>
                                      <p:to>
                                        <p:strVal val="visible"/>
                                      </p:to>
                                    </p:set>
                                    <p:animEffect transition="in" filter="fade">
                                      <p:cBhvr>
                                        <p:cTn id="14" dur="500"/>
                                        <p:tgtEl>
                                          <p:spTgt spid="21"/>
                                        </p:tgtEl>
                                      </p:cBhvr>
                                    </p:animEffect>
                                  </p:childTnLst>
                                </p:cTn>
                              </p:par>
                            </p:childTnLst>
                          </p:cTn>
                        </p:par>
                        <p:par>
                          <p:cTn id="15" fill="hold">
                            <p:stCondLst>
                              <p:cond delay="1000"/>
                            </p:stCondLst>
                            <p:childTnLst>
                              <p:par>
                                <p:cTn id="16" presetID="22" presetClass="entr" presetSubtype="2" fill="hold" grpId="0" nodeType="afterEffect">
                                  <p:stCondLst>
                                    <p:cond delay="0"/>
                                  </p:stCondLst>
                                  <p:childTnLst>
                                    <p:set>
                                      <p:cBhvr>
                                        <p:cTn id="17" dur="1" fill="hold">
                                          <p:stCondLst>
                                            <p:cond delay="0"/>
                                          </p:stCondLst>
                                        </p:cTn>
                                        <p:tgtEl>
                                          <p:spTgt spid="5"/>
                                        </p:tgtEl>
                                        <p:attrNameLst>
                                          <p:attrName>style.visibility</p:attrName>
                                        </p:attrNameLst>
                                      </p:cBhvr>
                                      <p:to>
                                        <p:strVal val="visible"/>
                                      </p:to>
                                    </p:set>
                                    <p:animEffect transition="in" filter="wipe(right)">
                                      <p:cBhvr>
                                        <p:cTn id="18" dur="500"/>
                                        <p:tgtEl>
                                          <p:spTgt spid="5"/>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19"/>
                                        </p:tgtEl>
                                        <p:attrNameLst>
                                          <p:attrName>style.visibility</p:attrName>
                                        </p:attrNameLst>
                                      </p:cBhvr>
                                      <p:to>
                                        <p:strVal val="visible"/>
                                      </p:to>
                                    </p:set>
                                    <p:animEffect transition="in" filter="fade">
                                      <p:cBhvr>
                                        <p:cTn id="21" dur="500"/>
                                        <p:tgtEl>
                                          <p:spTgt spid="19"/>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22"/>
                                        </p:tgtEl>
                                        <p:attrNameLst>
                                          <p:attrName>style.visibility</p:attrName>
                                        </p:attrNameLst>
                                      </p:cBhvr>
                                      <p:to>
                                        <p:strVal val="visible"/>
                                      </p:to>
                                    </p:set>
                                    <p:animEffect transition="in" filter="fade">
                                      <p:cBhvr>
                                        <p:cTn id="24" dur="500"/>
                                        <p:tgtEl>
                                          <p:spTgt spid="22"/>
                                        </p:tgtEl>
                                      </p:cBhvr>
                                    </p:animEffect>
                                  </p:childTnLst>
                                </p:cTn>
                              </p:par>
                            </p:childTnLst>
                          </p:cTn>
                        </p:par>
                        <p:par>
                          <p:cTn id="25" fill="hold">
                            <p:stCondLst>
                              <p:cond delay="1500"/>
                            </p:stCondLst>
                            <p:childTnLst>
                              <p:par>
                                <p:cTn id="26" presetID="22" presetClass="entr" presetSubtype="8" fill="hold" grpId="0" nodeType="afterEffect">
                                  <p:stCondLst>
                                    <p:cond delay="0"/>
                                  </p:stCondLst>
                                  <p:childTnLst>
                                    <p:set>
                                      <p:cBhvr>
                                        <p:cTn id="27" dur="1" fill="hold">
                                          <p:stCondLst>
                                            <p:cond delay="0"/>
                                          </p:stCondLst>
                                        </p:cTn>
                                        <p:tgtEl>
                                          <p:spTgt spid="6"/>
                                        </p:tgtEl>
                                        <p:attrNameLst>
                                          <p:attrName>style.visibility</p:attrName>
                                        </p:attrNameLst>
                                      </p:cBhvr>
                                      <p:to>
                                        <p:strVal val="visible"/>
                                      </p:to>
                                    </p:set>
                                    <p:animEffect transition="in" filter="wipe(left)">
                                      <p:cBhvr>
                                        <p:cTn id="28" dur="500"/>
                                        <p:tgtEl>
                                          <p:spTgt spid="6"/>
                                        </p:tgtEl>
                                      </p:cBhvr>
                                    </p:animEffect>
                                  </p:childTnLst>
                                </p:cTn>
                              </p:par>
                            </p:childTnLst>
                          </p:cTn>
                        </p:par>
                        <p:par>
                          <p:cTn id="29" fill="hold">
                            <p:stCondLst>
                              <p:cond delay="2000"/>
                            </p:stCondLst>
                            <p:childTnLst>
                              <p:par>
                                <p:cTn id="30" presetID="10" presetClass="entr" presetSubtype="0" fill="hold" grpId="0" nodeType="afterEffect">
                                  <p:stCondLst>
                                    <p:cond delay="0"/>
                                  </p:stCondLst>
                                  <p:childTnLst>
                                    <p:set>
                                      <p:cBhvr>
                                        <p:cTn id="31" dur="1" fill="hold">
                                          <p:stCondLst>
                                            <p:cond delay="0"/>
                                          </p:stCondLst>
                                        </p:cTn>
                                        <p:tgtEl>
                                          <p:spTgt spid="8"/>
                                        </p:tgtEl>
                                        <p:attrNameLst>
                                          <p:attrName>style.visibility</p:attrName>
                                        </p:attrNameLst>
                                      </p:cBhvr>
                                      <p:to>
                                        <p:strVal val="visible"/>
                                      </p:to>
                                    </p:set>
                                    <p:animEffect transition="in" filter="fade">
                                      <p:cBhvr>
                                        <p:cTn id="32" dur="500"/>
                                        <p:tgtEl>
                                          <p:spTgt spid="8"/>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9"/>
                                        </p:tgtEl>
                                        <p:attrNameLst>
                                          <p:attrName>style.visibility</p:attrName>
                                        </p:attrNameLst>
                                      </p:cBhvr>
                                      <p:to>
                                        <p:strVal val="visible"/>
                                      </p:to>
                                    </p:set>
                                    <p:animEffect transition="in" filter="fade">
                                      <p:cBhvr>
                                        <p:cTn id="35" dur="500"/>
                                        <p:tgtEl>
                                          <p:spTgt spid="9"/>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13"/>
                                        </p:tgtEl>
                                        <p:attrNameLst>
                                          <p:attrName>style.visibility</p:attrName>
                                        </p:attrNameLst>
                                      </p:cBhvr>
                                      <p:to>
                                        <p:strVal val="visible"/>
                                      </p:to>
                                    </p:set>
                                    <p:animEffect transition="in" filter="fade">
                                      <p:cBhvr>
                                        <p:cTn id="38" dur="500"/>
                                        <p:tgtEl>
                                          <p:spTgt spid="13"/>
                                        </p:tgtEl>
                                      </p:cBhvr>
                                    </p:animEffect>
                                  </p:childTnLst>
                                </p:cTn>
                              </p:par>
                              <p:par>
                                <p:cTn id="39" presetID="10" presetClass="entr" presetSubtype="0" fill="hold" nodeType="withEffect">
                                  <p:stCondLst>
                                    <p:cond delay="0"/>
                                  </p:stCondLst>
                                  <p:childTnLst>
                                    <p:set>
                                      <p:cBhvr>
                                        <p:cTn id="40" dur="1" fill="hold">
                                          <p:stCondLst>
                                            <p:cond delay="0"/>
                                          </p:stCondLst>
                                        </p:cTn>
                                        <p:tgtEl>
                                          <p:spTgt spid="10"/>
                                        </p:tgtEl>
                                        <p:attrNameLst>
                                          <p:attrName>style.visibility</p:attrName>
                                        </p:attrNameLst>
                                      </p:cBhvr>
                                      <p:to>
                                        <p:strVal val="visible"/>
                                      </p:to>
                                    </p:set>
                                    <p:animEffect transition="in" filter="fade">
                                      <p:cBhvr>
                                        <p:cTn id="41" dur="500"/>
                                        <p:tgtEl>
                                          <p:spTgt spid="10"/>
                                        </p:tgtEl>
                                      </p:cBhvr>
                                    </p:animEffect>
                                  </p:childTnLst>
                                </p:cTn>
                              </p:par>
                            </p:childTnLst>
                          </p:cTn>
                        </p:par>
                        <p:par>
                          <p:cTn id="42" fill="hold">
                            <p:stCondLst>
                              <p:cond delay="2500"/>
                            </p:stCondLst>
                            <p:childTnLst>
                              <p:par>
                                <p:cTn id="43" presetID="10" presetClass="entr" presetSubtype="0" fill="hold" nodeType="afterEffect">
                                  <p:stCondLst>
                                    <p:cond delay="0"/>
                                  </p:stCondLst>
                                  <p:childTnLst>
                                    <p:set>
                                      <p:cBhvr>
                                        <p:cTn id="44" dur="1" fill="hold">
                                          <p:stCondLst>
                                            <p:cond delay="0"/>
                                          </p:stCondLst>
                                        </p:cTn>
                                        <p:tgtEl>
                                          <p:spTgt spid="15"/>
                                        </p:tgtEl>
                                        <p:attrNameLst>
                                          <p:attrName>style.visibility</p:attrName>
                                        </p:attrNameLst>
                                      </p:cBhvr>
                                      <p:to>
                                        <p:strVal val="visible"/>
                                      </p:to>
                                    </p:set>
                                    <p:animEffect transition="in" filter="fade">
                                      <p:cBhvr>
                                        <p:cTn id="45" dur="500"/>
                                        <p:tgtEl>
                                          <p:spTgt spid="15"/>
                                        </p:tgtEl>
                                      </p:cBhvr>
                                    </p:animEffect>
                                  </p:childTnLst>
                                </p:cTn>
                              </p:par>
                              <p:par>
                                <p:cTn id="46" presetID="10" presetClass="entr" presetSubtype="0" fill="hold" grpId="0" nodeType="withEffect">
                                  <p:stCondLst>
                                    <p:cond delay="0"/>
                                  </p:stCondLst>
                                  <p:childTnLst>
                                    <p:set>
                                      <p:cBhvr>
                                        <p:cTn id="47" dur="1" fill="hold">
                                          <p:stCondLst>
                                            <p:cond delay="0"/>
                                          </p:stCondLst>
                                        </p:cTn>
                                        <p:tgtEl>
                                          <p:spTgt spid="14"/>
                                        </p:tgtEl>
                                        <p:attrNameLst>
                                          <p:attrName>style.visibility</p:attrName>
                                        </p:attrNameLst>
                                      </p:cBhvr>
                                      <p:to>
                                        <p:strVal val="visible"/>
                                      </p:to>
                                    </p:set>
                                    <p:animEffect transition="in" filter="fade">
                                      <p:cBhvr>
                                        <p:cTn id="48" dur="500"/>
                                        <p:tgtEl>
                                          <p:spTgt spid="14"/>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18"/>
                                        </p:tgtEl>
                                        <p:attrNameLst>
                                          <p:attrName>style.visibility</p:attrName>
                                        </p:attrNameLst>
                                      </p:cBhvr>
                                      <p:to>
                                        <p:strVal val="visible"/>
                                      </p:to>
                                    </p:set>
                                    <p:animEffect transition="in" filter="fade">
                                      <p:cBhvr>
                                        <p:cTn id="51"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7" grpId="0"/>
      <p:bldP spid="8" grpId="0" animBg="1"/>
      <p:bldP spid="9" grpId="0"/>
      <p:bldP spid="13" grpId="0"/>
      <p:bldP spid="14" grpId="0"/>
      <p:bldP spid="18" grpId="0"/>
      <p:bldP spid="19" grpId="0" animBg="1"/>
      <p:bldP spid="20" grpId="0"/>
      <p:bldP spid="21" grpId="0"/>
      <p:bldP spid="22" grpId="0" animBg="1"/>
    </p:bldLst>
  </p:timing>
</p:sld>
</file>

<file path=ppt/slides/slide6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Shape 10">
            <a:extLst>
              <a:ext uri="{FF2B5EF4-FFF2-40B4-BE49-F238E27FC236}">
                <a16:creationId xmlns:a16="http://schemas.microsoft.com/office/drawing/2014/main" id="{F81BF204-D0AA-49E4-BF38-AC7FCCE86AC5}"/>
              </a:ext>
            </a:extLst>
          </p:cNvPr>
          <p:cNvSpPr/>
          <p:nvPr/>
        </p:nvSpPr>
        <p:spPr>
          <a:xfrm>
            <a:off x="6125724" y="1628369"/>
            <a:ext cx="2426937" cy="2996271"/>
          </a:xfrm>
          <a:custGeom>
            <a:avLst/>
            <a:gdLst>
              <a:gd name="connsiteX0" fmla="*/ 0 w 2404453"/>
              <a:gd name="connsiteY0" fmla="*/ 2834694 h 2968514"/>
              <a:gd name="connsiteX1" fmla="*/ 172672 w 2404453"/>
              <a:gd name="connsiteY1" fmla="*/ 1559802 h 2968514"/>
              <a:gd name="connsiteX2" fmla="*/ 1407275 w 2404453"/>
              <a:gd name="connsiteY2" fmla="*/ 725222 h 2968514"/>
              <a:gd name="connsiteX3" fmla="*/ 2280706 w 2404453"/>
              <a:gd name="connsiteY3" fmla="*/ 151088 h 2968514"/>
              <a:gd name="connsiteX4" fmla="*/ 2404454 w 2404453"/>
              <a:gd name="connsiteY4" fmla="*/ 0 h 2968514"/>
              <a:gd name="connsiteX5" fmla="*/ 2372798 w 2404453"/>
              <a:gd name="connsiteY5" fmla="*/ 99287 h 2968514"/>
              <a:gd name="connsiteX6" fmla="*/ 1459077 w 2404453"/>
              <a:gd name="connsiteY6" fmla="*/ 864797 h 2968514"/>
              <a:gd name="connsiteX7" fmla="*/ 365488 w 2404453"/>
              <a:gd name="connsiteY7" fmla="*/ 1657649 h 2968514"/>
              <a:gd name="connsiteX8" fmla="*/ 260447 w 2404453"/>
              <a:gd name="connsiteY8" fmla="*/ 2839011 h 2968514"/>
              <a:gd name="connsiteX9" fmla="*/ 128065 w 2404453"/>
              <a:gd name="connsiteY9" fmla="*/ 2968515 h 2968514"/>
              <a:gd name="connsiteX10" fmla="*/ 0 w 2404453"/>
              <a:gd name="connsiteY10" fmla="*/ 2834694 h 2968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04453" h="2968514">
                <a:moveTo>
                  <a:pt x="0" y="2834694"/>
                </a:moveTo>
                <a:cubicBezTo>
                  <a:pt x="11511" y="2454816"/>
                  <a:pt x="-1439" y="1895073"/>
                  <a:pt x="172672" y="1559802"/>
                </a:cubicBezTo>
                <a:cubicBezTo>
                  <a:pt x="444630" y="1037469"/>
                  <a:pt x="893576" y="900771"/>
                  <a:pt x="1407275" y="725222"/>
                </a:cubicBezTo>
                <a:cubicBezTo>
                  <a:pt x="1733912" y="612984"/>
                  <a:pt x="2061989" y="423046"/>
                  <a:pt x="2280706" y="151088"/>
                </a:cubicBezTo>
                <a:cubicBezTo>
                  <a:pt x="2405894" y="-4317"/>
                  <a:pt x="2264878" y="161160"/>
                  <a:pt x="2404454" y="0"/>
                </a:cubicBezTo>
                <a:lnTo>
                  <a:pt x="2372798" y="99287"/>
                </a:lnTo>
                <a:cubicBezTo>
                  <a:pt x="2227466" y="444630"/>
                  <a:pt x="1795786" y="726660"/>
                  <a:pt x="1459077" y="864797"/>
                </a:cubicBezTo>
                <a:cubicBezTo>
                  <a:pt x="1010130" y="1047542"/>
                  <a:pt x="589962" y="1182802"/>
                  <a:pt x="365488" y="1657649"/>
                </a:cubicBezTo>
                <a:cubicBezTo>
                  <a:pt x="228790" y="1948313"/>
                  <a:pt x="259008" y="2512374"/>
                  <a:pt x="260447" y="2839011"/>
                </a:cubicBezTo>
                <a:cubicBezTo>
                  <a:pt x="259008" y="2910958"/>
                  <a:pt x="200011" y="2968515"/>
                  <a:pt x="128065" y="2968515"/>
                </a:cubicBezTo>
                <a:cubicBezTo>
                  <a:pt x="57557" y="2965637"/>
                  <a:pt x="0" y="2906641"/>
                  <a:pt x="0" y="2834694"/>
                </a:cubicBezTo>
                <a:close/>
              </a:path>
            </a:pathLst>
          </a:custGeom>
          <a:solidFill>
            <a:srgbClr val="965F26"/>
          </a:solidFill>
          <a:ln w="1438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 name="Freeform: Shape 64">
            <a:extLst>
              <a:ext uri="{FF2B5EF4-FFF2-40B4-BE49-F238E27FC236}">
                <a16:creationId xmlns:a16="http://schemas.microsoft.com/office/drawing/2014/main" id="{A0C9B5CC-7408-4F27-9E4E-1E52C7D9A393}"/>
              </a:ext>
            </a:extLst>
          </p:cNvPr>
          <p:cNvSpPr/>
          <p:nvPr/>
        </p:nvSpPr>
        <p:spPr>
          <a:xfrm flipH="1">
            <a:off x="7133233" y="264785"/>
            <a:ext cx="3311561" cy="2372190"/>
          </a:xfrm>
          <a:custGeom>
            <a:avLst/>
            <a:gdLst>
              <a:gd name="connsiteX0" fmla="*/ 0 w 2105156"/>
              <a:gd name="connsiteY0" fmla="*/ 0 h 1507999"/>
              <a:gd name="connsiteX1" fmla="*/ 0 w 2105156"/>
              <a:gd name="connsiteY1" fmla="*/ 754000 h 1507999"/>
              <a:gd name="connsiteX2" fmla="*/ 754000 w 2105156"/>
              <a:gd name="connsiteY2" fmla="*/ 1508000 h 1507999"/>
              <a:gd name="connsiteX3" fmla="*/ 2105157 w 2105156"/>
              <a:gd name="connsiteY3" fmla="*/ 1508000 h 1507999"/>
              <a:gd name="connsiteX4" fmla="*/ 2105157 w 2105156"/>
              <a:gd name="connsiteY4" fmla="*/ 754000 h 1507999"/>
              <a:gd name="connsiteX5" fmla="*/ 1400081 w 2105156"/>
              <a:gd name="connsiteY5" fmla="*/ 1439 h 1507999"/>
              <a:gd name="connsiteX6" fmla="*/ 0 w 2105156"/>
              <a:gd name="connsiteY6" fmla="*/ 0 h 150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05156" h="1507999">
                <a:moveTo>
                  <a:pt x="0" y="0"/>
                </a:moveTo>
                <a:lnTo>
                  <a:pt x="0" y="754000"/>
                </a:lnTo>
                <a:cubicBezTo>
                  <a:pt x="0" y="1168412"/>
                  <a:pt x="339588" y="1508000"/>
                  <a:pt x="754000" y="1508000"/>
                </a:cubicBezTo>
                <a:cubicBezTo>
                  <a:pt x="1204386" y="1508000"/>
                  <a:pt x="1654771" y="1508000"/>
                  <a:pt x="2105157" y="1508000"/>
                </a:cubicBezTo>
                <a:lnTo>
                  <a:pt x="2105157" y="754000"/>
                </a:lnTo>
                <a:cubicBezTo>
                  <a:pt x="2105157" y="358294"/>
                  <a:pt x="1794348" y="27340"/>
                  <a:pt x="1400081" y="1439"/>
                </a:cubicBezTo>
                <a:lnTo>
                  <a:pt x="0" y="0"/>
                </a:lnTo>
                <a:close/>
              </a:path>
            </a:pathLst>
          </a:custGeom>
          <a:solidFill>
            <a:schemeClr val="accent2"/>
          </a:solidFill>
          <a:ln w="1438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4" name="Freeform: Shape 13">
            <a:extLst>
              <a:ext uri="{FF2B5EF4-FFF2-40B4-BE49-F238E27FC236}">
                <a16:creationId xmlns:a16="http://schemas.microsoft.com/office/drawing/2014/main" id="{E6380057-6A1B-4883-8209-7E7F63A50A8E}"/>
              </a:ext>
            </a:extLst>
          </p:cNvPr>
          <p:cNvSpPr/>
          <p:nvPr/>
        </p:nvSpPr>
        <p:spPr>
          <a:xfrm>
            <a:off x="4061421" y="4728194"/>
            <a:ext cx="2428417" cy="2996272"/>
          </a:xfrm>
          <a:custGeom>
            <a:avLst/>
            <a:gdLst>
              <a:gd name="connsiteX0" fmla="*/ 2405894 w 2405919"/>
              <a:gd name="connsiteY0" fmla="*/ 2836134 h 2968515"/>
              <a:gd name="connsiteX1" fmla="*/ 2233222 w 2405919"/>
              <a:gd name="connsiteY1" fmla="*/ 1559802 h 2968515"/>
              <a:gd name="connsiteX2" fmla="*/ 998619 w 2405919"/>
              <a:gd name="connsiteY2" fmla="*/ 725222 h 2968515"/>
              <a:gd name="connsiteX3" fmla="*/ 125187 w 2405919"/>
              <a:gd name="connsiteY3" fmla="*/ 151088 h 2968515"/>
              <a:gd name="connsiteX4" fmla="*/ 0 w 2405919"/>
              <a:gd name="connsiteY4" fmla="*/ 0 h 2968515"/>
              <a:gd name="connsiteX5" fmla="*/ 31657 w 2405919"/>
              <a:gd name="connsiteY5" fmla="*/ 99287 h 2968515"/>
              <a:gd name="connsiteX6" fmla="*/ 945378 w 2405919"/>
              <a:gd name="connsiteY6" fmla="*/ 864798 h 2968515"/>
              <a:gd name="connsiteX7" fmla="*/ 2038966 w 2405919"/>
              <a:gd name="connsiteY7" fmla="*/ 1657649 h 2968515"/>
              <a:gd name="connsiteX8" fmla="*/ 2144008 w 2405919"/>
              <a:gd name="connsiteY8" fmla="*/ 2839012 h 2968515"/>
              <a:gd name="connsiteX9" fmla="*/ 2276390 w 2405919"/>
              <a:gd name="connsiteY9" fmla="*/ 2968516 h 2968515"/>
              <a:gd name="connsiteX10" fmla="*/ 2405894 w 2405919"/>
              <a:gd name="connsiteY10" fmla="*/ 2836134 h 29685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05919" h="2968515">
                <a:moveTo>
                  <a:pt x="2405894" y="2836134"/>
                </a:moveTo>
                <a:cubicBezTo>
                  <a:pt x="2394382" y="2456256"/>
                  <a:pt x="2407333" y="1896512"/>
                  <a:pt x="2233222" y="1559802"/>
                </a:cubicBezTo>
                <a:cubicBezTo>
                  <a:pt x="1961264" y="1037470"/>
                  <a:pt x="1512317" y="900771"/>
                  <a:pt x="998619" y="725222"/>
                </a:cubicBezTo>
                <a:cubicBezTo>
                  <a:pt x="671981" y="612985"/>
                  <a:pt x="343905" y="423046"/>
                  <a:pt x="125187" y="151088"/>
                </a:cubicBezTo>
                <a:cubicBezTo>
                  <a:pt x="0" y="-4317"/>
                  <a:pt x="141016" y="161160"/>
                  <a:pt x="0" y="0"/>
                </a:cubicBezTo>
                <a:lnTo>
                  <a:pt x="31657" y="99287"/>
                </a:lnTo>
                <a:cubicBezTo>
                  <a:pt x="176989" y="444630"/>
                  <a:pt x="608668" y="726660"/>
                  <a:pt x="945378" y="864798"/>
                </a:cubicBezTo>
                <a:cubicBezTo>
                  <a:pt x="1394325" y="1047543"/>
                  <a:pt x="1814493" y="1182802"/>
                  <a:pt x="2038966" y="1657649"/>
                </a:cubicBezTo>
                <a:cubicBezTo>
                  <a:pt x="2175665" y="1948313"/>
                  <a:pt x="2145447" y="2512374"/>
                  <a:pt x="2144008" y="2839012"/>
                </a:cubicBezTo>
                <a:cubicBezTo>
                  <a:pt x="2145447" y="2910959"/>
                  <a:pt x="2204443" y="2968516"/>
                  <a:pt x="2276390" y="2968516"/>
                </a:cubicBezTo>
                <a:cubicBezTo>
                  <a:pt x="2349775" y="2967076"/>
                  <a:pt x="2407333" y="2908081"/>
                  <a:pt x="2405894" y="2836134"/>
                </a:cubicBezTo>
                <a:close/>
              </a:path>
            </a:pathLst>
          </a:custGeom>
          <a:solidFill>
            <a:srgbClr val="965F26"/>
          </a:solidFill>
          <a:ln w="1438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5" name="Freeform: Shape 62">
            <a:extLst>
              <a:ext uri="{FF2B5EF4-FFF2-40B4-BE49-F238E27FC236}">
                <a16:creationId xmlns:a16="http://schemas.microsoft.com/office/drawing/2014/main" id="{581E6624-3A1F-4F08-9BF9-654BCDDD6752}"/>
              </a:ext>
            </a:extLst>
          </p:cNvPr>
          <p:cNvSpPr/>
          <p:nvPr/>
        </p:nvSpPr>
        <p:spPr>
          <a:xfrm>
            <a:off x="1941754" y="3268360"/>
            <a:ext cx="3311561" cy="2372190"/>
          </a:xfrm>
          <a:custGeom>
            <a:avLst/>
            <a:gdLst>
              <a:gd name="connsiteX0" fmla="*/ 0 w 2105156"/>
              <a:gd name="connsiteY0" fmla="*/ 0 h 1507999"/>
              <a:gd name="connsiteX1" fmla="*/ 0 w 2105156"/>
              <a:gd name="connsiteY1" fmla="*/ 754000 h 1507999"/>
              <a:gd name="connsiteX2" fmla="*/ 754000 w 2105156"/>
              <a:gd name="connsiteY2" fmla="*/ 1508000 h 1507999"/>
              <a:gd name="connsiteX3" fmla="*/ 2105157 w 2105156"/>
              <a:gd name="connsiteY3" fmla="*/ 1508000 h 1507999"/>
              <a:gd name="connsiteX4" fmla="*/ 2105157 w 2105156"/>
              <a:gd name="connsiteY4" fmla="*/ 754000 h 1507999"/>
              <a:gd name="connsiteX5" fmla="*/ 1400081 w 2105156"/>
              <a:gd name="connsiteY5" fmla="*/ 1439 h 1507999"/>
              <a:gd name="connsiteX6" fmla="*/ 0 w 2105156"/>
              <a:gd name="connsiteY6" fmla="*/ 0 h 150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05156" h="1507999">
                <a:moveTo>
                  <a:pt x="0" y="0"/>
                </a:moveTo>
                <a:lnTo>
                  <a:pt x="0" y="754000"/>
                </a:lnTo>
                <a:cubicBezTo>
                  <a:pt x="0" y="1168412"/>
                  <a:pt x="339588" y="1508000"/>
                  <a:pt x="754000" y="1508000"/>
                </a:cubicBezTo>
                <a:cubicBezTo>
                  <a:pt x="1204386" y="1508000"/>
                  <a:pt x="1654771" y="1508000"/>
                  <a:pt x="2105157" y="1508000"/>
                </a:cubicBezTo>
                <a:lnTo>
                  <a:pt x="2105157" y="754000"/>
                </a:lnTo>
                <a:cubicBezTo>
                  <a:pt x="2105157" y="358294"/>
                  <a:pt x="1794348" y="27340"/>
                  <a:pt x="1400081" y="1439"/>
                </a:cubicBezTo>
                <a:lnTo>
                  <a:pt x="0" y="0"/>
                </a:lnTo>
                <a:close/>
              </a:path>
            </a:pathLst>
          </a:custGeom>
          <a:solidFill>
            <a:schemeClr val="accent2"/>
          </a:solidFill>
          <a:ln w="1438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6" name="Freeform: Shape 12">
            <a:extLst>
              <a:ext uri="{FF2B5EF4-FFF2-40B4-BE49-F238E27FC236}">
                <a16:creationId xmlns:a16="http://schemas.microsoft.com/office/drawing/2014/main" id="{9454CCE0-6611-43FB-AEC2-FD6DC024376C}"/>
              </a:ext>
            </a:extLst>
          </p:cNvPr>
          <p:cNvSpPr/>
          <p:nvPr/>
        </p:nvSpPr>
        <p:spPr>
          <a:xfrm>
            <a:off x="3969894" y="1951533"/>
            <a:ext cx="2428417" cy="2996271"/>
          </a:xfrm>
          <a:custGeom>
            <a:avLst/>
            <a:gdLst>
              <a:gd name="connsiteX0" fmla="*/ 2405894 w 2405919"/>
              <a:gd name="connsiteY0" fmla="*/ 2834694 h 2968514"/>
              <a:gd name="connsiteX1" fmla="*/ 2233222 w 2405919"/>
              <a:gd name="connsiteY1" fmla="*/ 1559801 h 2968514"/>
              <a:gd name="connsiteX2" fmla="*/ 998619 w 2405919"/>
              <a:gd name="connsiteY2" fmla="*/ 725221 h 2968514"/>
              <a:gd name="connsiteX3" fmla="*/ 125187 w 2405919"/>
              <a:gd name="connsiteY3" fmla="*/ 151088 h 2968514"/>
              <a:gd name="connsiteX4" fmla="*/ 0 w 2405919"/>
              <a:gd name="connsiteY4" fmla="*/ 0 h 2968514"/>
              <a:gd name="connsiteX5" fmla="*/ 31657 w 2405919"/>
              <a:gd name="connsiteY5" fmla="*/ 99286 h 2968514"/>
              <a:gd name="connsiteX6" fmla="*/ 945378 w 2405919"/>
              <a:gd name="connsiteY6" fmla="*/ 864797 h 2968514"/>
              <a:gd name="connsiteX7" fmla="*/ 2038966 w 2405919"/>
              <a:gd name="connsiteY7" fmla="*/ 1657648 h 2968514"/>
              <a:gd name="connsiteX8" fmla="*/ 2144008 w 2405919"/>
              <a:gd name="connsiteY8" fmla="*/ 2839011 h 2968514"/>
              <a:gd name="connsiteX9" fmla="*/ 2276390 w 2405919"/>
              <a:gd name="connsiteY9" fmla="*/ 2968515 h 2968514"/>
              <a:gd name="connsiteX10" fmla="*/ 2405894 w 2405919"/>
              <a:gd name="connsiteY10" fmla="*/ 2834694 h 2968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05919" h="2968514">
                <a:moveTo>
                  <a:pt x="2405894" y="2834694"/>
                </a:moveTo>
                <a:cubicBezTo>
                  <a:pt x="2394382" y="2454816"/>
                  <a:pt x="2407333" y="1895072"/>
                  <a:pt x="2233222" y="1559801"/>
                </a:cubicBezTo>
                <a:cubicBezTo>
                  <a:pt x="1961264" y="1037469"/>
                  <a:pt x="1512317" y="900771"/>
                  <a:pt x="998619" y="725221"/>
                </a:cubicBezTo>
                <a:cubicBezTo>
                  <a:pt x="671981" y="612984"/>
                  <a:pt x="343905" y="423045"/>
                  <a:pt x="125187" y="151088"/>
                </a:cubicBezTo>
                <a:cubicBezTo>
                  <a:pt x="0" y="-4317"/>
                  <a:pt x="141016" y="161160"/>
                  <a:pt x="0" y="0"/>
                </a:cubicBezTo>
                <a:lnTo>
                  <a:pt x="31657" y="99286"/>
                </a:lnTo>
                <a:cubicBezTo>
                  <a:pt x="176989" y="444629"/>
                  <a:pt x="608668" y="726660"/>
                  <a:pt x="945378" y="864797"/>
                </a:cubicBezTo>
                <a:cubicBezTo>
                  <a:pt x="1394325" y="1047542"/>
                  <a:pt x="1814493" y="1182801"/>
                  <a:pt x="2038966" y="1657648"/>
                </a:cubicBezTo>
                <a:cubicBezTo>
                  <a:pt x="2175665" y="1948312"/>
                  <a:pt x="2145447" y="2512374"/>
                  <a:pt x="2144008" y="2839011"/>
                </a:cubicBezTo>
                <a:cubicBezTo>
                  <a:pt x="2145447" y="2910958"/>
                  <a:pt x="2204443" y="2968515"/>
                  <a:pt x="2276390" y="2968515"/>
                </a:cubicBezTo>
                <a:cubicBezTo>
                  <a:pt x="2349775" y="2965637"/>
                  <a:pt x="2407333" y="2906641"/>
                  <a:pt x="2405894" y="2834694"/>
                </a:cubicBezTo>
                <a:close/>
              </a:path>
            </a:pathLst>
          </a:custGeom>
          <a:solidFill>
            <a:srgbClr val="965F26"/>
          </a:solidFill>
          <a:ln w="1438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7" name="Freeform: Shape 96">
            <a:extLst>
              <a:ext uri="{FF2B5EF4-FFF2-40B4-BE49-F238E27FC236}">
                <a16:creationId xmlns:a16="http://schemas.microsoft.com/office/drawing/2014/main" id="{62EE05FE-A81D-4496-B1AB-2A86DCFC88B2}"/>
              </a:ext>
            </a:extLst>
          </p:cNvPr>
          <p:cNvSpPr/>
          <p:nvPr/>
        </p:nvSpPr>
        <p:spPr>
          <a:xfrm flipH="1">
            <a:off x="2035727" y="722805"/>
            <a:ext cx="2828738" cy="2026330"/>
          </a:xfrm>
          <a:custGeom>
            <a:avLst/>
            <a:gdLst>
              <a:gd name="connsiteX0" fmla="*/ 2105157 w 2105156"/>
              <a:gd name="connsiteY0" fmla="*/ 0 h 1508000"/>
              <a:gd name="connsiteX1" fmla="*/ 2105157 w 2105156"/>
              <a:gd name="connsiteY1" fmla="*/ 754000 h 1508000"/>
              <a:gd name="connsiteX2" fmla="*/ 1351157 w 2105156"/>
              <a:gd name="connsiteY2" fmla="*/ 1508000 h 1508000"/>
              <a:gd name="connsiteX3" fmla="*/ 0 w 2105156"/>
              <a:gd name="connsiteY3" fmla="*/ 1508000 h 1508000"/>
              <a:gd name="connsiteX4" fmla="*/ 0 w 2105156"/>
              <a:gd name="connsiteY4" fmla="*/ 754000 h 1508000"/>
              <a:gd name="connsiteX5" fmla="*/ 705076 w 2105156"/>
              <a:gd name="connsiteY5" fmla="*/ 1439 h 1508000"/>
              <a:gd name="connsiteX6" fmla="*/ 2105157 w 2105156"/>
              <a:gd name="connsiteY6" fmla="*/ 0 h 150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05156" h="1508000">
                <a:moveTo>
                  <a:pt x="2105157" y="0"/>
                </a:moveTo>
                <a:lnTo>
                  <a:pt x="2105157" y="754000"/>
                </a:lnTo>
                <a:cubicBezTo>
                  <a:pt x="2105157" y="1168412"/>
                  <a:pt x="1765569" y="1508000"/>
                  <a:pt x="1351157" y="1508000"/>
                </a:cubicBezTo>
                <a:cubicBezTo>
                  <a:pt x="900772" y="1508000"/>
                  <a:pt x="450385" y="1508000"/>
                  <a:pt x="0" y="1508000"/>
                </a:cubicBezTo>
                <a:lnTo>
                  <a:pt x="0" y="754000"/>
                </a:lnTo>
                <a:cubicBezTo>
                  <a:pt x="0" y="358294"/>
                  <a:pt x="310810" y="27340"/>
                  <a:pt x="705076" y="1439"/>
                </a:cubicBezTo>
                <a:lnTo>
                  <a:pt x="2105157" y="0"/>
                </a:lnTo>
                <a:close/>
              </a:path>
            </a:pathLst>
          </a:custGeom>
          <a:solidFill>
            <a:schemeClr val="accent2"/>
          </a:solidFill>
          <a:ln w="14389" cap="flat">
            <a:no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F0F0F0"/>
              </a:solidFill>
              <a:effectLst/>
              <a:uLnTx/>
              <a:uFillTx/>
              <a:latin typeface="等线" panose="020F0502020204030204"/>
              <a:ea typeface="+mn-ea"/>
              <a:cs typeface="+mn-cs"/>
            </a:endParaRPr>
          </a:p>
        </p:txBody>
      </p:sp>
      <p:sp>
        <p:nvSpPr>
          <p:cNvPr id="8" name="Freeform: Shape 11">
            <a:extLst>
              <a:ext uri="{FF2B5EF4-FFF2-40B4-BE49-F238E27FC236}">
                <a16:creationId xmlns:a16="http://schemas.microsoft.com/office/drawing/2014/main" id="{A05B31BD-4414-40C1-A6E7-460B5E9E0466}"/>
              </a:ext>
            </a:extLst>
          </p:cNvPr>
          <p:cNvSpPr/>
          <p:nvPr/>
        </p:nvSpPr>
        <p:spPr>
          <a:xfrm>
            <a:off x="6044939" y="4221025"/>
            <a:ext cx="2426937" cy="2996271"/>
          </a:xfrm>
          <a:custGeom>
            <a:avLst/>
            <a:gdLst>
              <a:gd name="connsiteX0" fmla="*/ 0 w 2404453"/>
              <a:gd name="connsiteY0" fmla="*/ 2836133 h 2968514"/>
              <a:gd name="connsiteX1" fmla="*/ 172672 w 2404453"/>
              <a:gd name="connsiteY1" fmla="*/ 1559801 h 2968514"/>
              <a:gd name="connsiteX2" fmla="*/ 1407275 w 2404453"/>
              <a:gd name="connsiteY2" fmla="*/ 725221 h 2968514"/>
              <a:gd name="connsiteX3" fmla="*/ 2280706 w 2404453"/>
              <a:gd name="connsiteY3" fmla="*/ 151088 h 2968514"/>
              <a:gd name="connsiteX4" fmla="*/ 2404454 w 2404453"/>
              <a:gd name="connsiteY4" fmla="*/ 0 h 2968514"/>
              <a:gd name="connsiteX5" fmla="*/ 2372798 w 2404453"/>
              <a:gd name="connsiteY5" fmla="*/ 99286 h 2968514"/>
              <a:gd name="connsiteX6" fmla="*/ 1459077 w 2404453"/>
              <a:gd name="connsiteY6" fmla="*/ 864797 h 2968514"/>
              <a:gd name="connsiteX7" fmla="*/ 365488 w 2404453"/>
              <a:gd name="connsiteY7" fmla="*/ 1657649 h 2968514"/>
              <a:gd name="connsiteX8" fmla="*/ 260447 w 2404453"/>
              <a:gd name="connsiteY8" fmla="*/ 2839011 h 2968514"/>
              <a:gd name="connsiteX9" fmla="*/ 128065 w 2404453"/>
              <a:gd name="connsiteY9" fmla="*/ 2968515 h 2968514"/>
              <a:gd name="connsiteX10" fmla="*/ 0 w 2404453"/>
              <a:gd name="connsiteY10" fmla="*/ 2836133 h 2968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04453" h="2968514">
                <a:moveTo>
                  <a:pt x="0" y="2836133"/>
                </a:moveTo>
                <a:cubicBezTo>
                  <a:pt x="11511" y="2456256"/>
                  <a:pt x="-1439" y="1896511"/>
                  <a:pt x="172672" y="1559801"/>
                </a:cubicBezTo>
                <a:cubicBezTo>
                  <a:pt x="444630" y="1037469"/>
                  <a:pt x="893576" y="900771"/>
                  <a:pt x="1407275" y="725221"/>
                </a:cubicBezTo>
                <a:cubicBezTo>
                  <a:pt x="1733912" y="612984"/>
                  <a:pt x="2061989" y="423045"/>
                  <a:pt x="2280706" y="151088"/>
                </a:cubicBezTo>
                <a:cubicBezTo>
                  <a:pt x="2405894" y="-4317"/>
                  <a:pt x="2264878" y="161160"/>
                  <a:pt x="2404454" y="0"/>
                </a:cubicBezTo>
                <a:lnTo>
                  <a:pt x="2372798" y="99286"/>
                </a:lnTo>
                <a:cubicBezTo>
                  <a:pt x="2227466" y="444629"/>
                  <a:pt x="1795786" y="726660"/>
                  <a:pt x="1459077" y="864797"/>
                </a:cubicBezTo>
                <a:cubicBezTo>
                  <a:pt x="1010130" y="1047542"/>
                  <a:pt x="589962" y="1182802"/>
                  <a:pt x="365488" y="1657649"/>
                </a:cubicBezTo>
                <a:cubicBezTo>
                  <a:pt x="228790" y="1948312"/>
                  <a:pt x="259008" y="2512374"/>
                  <a:pt x="260447" y="2839011"/>
                </a:cubicBezTo>
                <a:cubicBezTo>
                  <a:pt x="259008" y="2910958"/>
                  <a:pt x="200011" y="2968515"/>
                  <a:pt x="128065" y="2968515"/>
                </a:cubicBezTo>
                <a:cubicBezTo>
                  <a:pt x="57557" y="2968515"/>
                  <a:pt x="0" y="2908080"/>
                  <a:pt x="0" y="2836133"/>
                </a:cubicBezTo>
                <a:close/>
              </a:path>
            </a:pathLst>
          </a:custGeom>
          <a:solidFill>
            <a:srgbClr val="965F26"/>
          </a:solidFill>
          <a:ln w="1438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9" name="Freeform: Shape 81">
            <a:extLst>
              <a:ext uri="{FF2B5EF4-FFF2-40B4-BE49-F238E27FC236}">
                <a16:creationId xmlns:a16="http://schemas.microsoft.com/office/drawing/2014/main" id="{058E9582-513B-47D4-8650-9A19D14D943D}"/>
              </a:ext>
            </a:extLst>
          </p:cNvPr>
          <p:cNvSpPr/>
          <p:nvPr/>
        </p:nvSpPr>
        <p:spPr>
          <a:xfrm>
            <a:off x="7537362" y="3008230"/>
            <a:ext cx="2828738" cy="2026330"/>
          </a:xfrm>
          <a:custGeom>
            <a:avLst/>
            <a:gdLst>
              <a:gd name="connsiteX0" fmla="*/ 2105157 w 2105156"/>
              <a:gd name="connsiteY0" fmla="*/ 0 h 1508000"/>
              <a:gd name="connsiteX1" fmla="*/ 2105157 w 2105156"/>
              <a:gd name="connsiteY1" fmla="*/ 754000 h 1508000"/>
              <a:gd name="connsiteX2" fmla="*/ 1351157 w 2105156"/>
              <a:gd name="connsiteY2" fmla="*/ 1508000 h 1508000"/>
              <a:gd name="connsiteX3" fmla="*/ 0 w 2105156"/>
              <a:gd name="connsiteY3" fmla="*/ 1508000 h 1508000"/>
              <a:gd name="connsiteX4" fmla="*/ 0 w 2105156"/>
              <a:gd name="connsiteY4" fmla="*/ 754000 h 1508000"/>
              <a:gd name="connsiteX5" fmla="*/ 705076 w 2105156"/>
              <a:gd name="connsiteY5" fmla="*/ 1439 h 1508000"/>
              <a:gd name="connsiteX6" fmla="*/ 2105157 w 2105156"/>
              <a:gd name="connsiteY6" fmla="*/ 0 h 150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05156" h="1508000">
                <a:moveTo>
                  <a:pt x="2105157" y="0"/>
                </a:moveTo>
                <a:lnTo>
                  <a:pt x="2105157" y="754000"/>
                </a:lnTo>
                <a:cubicBezTo>
                  <a:pt x="2105157" y="1168412"/>
                  <a:pt x="1765569" y="1508000"/>
                  <a:pt x="1351157" y="1508000"/>
                </a:cubicBezTo>
                <a:cubicBezTo>
                  <a:pt x="900772" y="1508000"/>
                  <a:pt x="450385" y="1508000"/>
                  <a:pt x="0" y="1508000"/>
                </a:cubicBezTo>
                <a:lnTo>
                  <a:pt x="0" y="754000"/>
                </a:lnTo>
                <a:cubicBezTo>
                  <a:pt x="0" y="358294"/>
                  <a:pt x="310810" y="27340"/>
                  <a:pt x="705076" y="1439"/>
                </a:cubicBezTo>
                <a:lnTo>
                  <a:pt x="2105157" y="0"/>
                </a:lnTo>
                <a:close/>
              </a:path>
            </a:pathLst>
          </a:custGeom>
          <a:solidFill>
            <a:schemeClr val="accent2"/>
          </a:solidFill>
          <a:ln w="14389" cap="flat">
            <a:no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F0F0F0"/>
              </a:solidFill>
              <a:effectLst/>
              <a:uLnTx/>
              <a:uFillTx/>
              <a:latin typeface="等线" panose="020F0502020204030204"/>
              <a:ea typeface="+mn-ea"/>
              <a:cs typeface="+mn-cs"/>
            </a:endParaRPr>
          </a:p>
        </p:txBody>
      </p:sp>
      <p:sp>
        <p:nvSpPr>
          <p:cNvPr id="10" name="Freeform: Shape 39">
            <a:extLst>
              <a:ext uri="{FF2B5EF4-FFF2-40B4-BE49-F238E27FC236}">
                <a16:creationId xmlns:a16="http://schemas.microsoft.com/office/drawing/2014/main" id="{EA730987-1DF3-4F51-A984-EEF770477CE0}"/>
              </a:ext>
            </a:extLst>
          </p:cNvPr>
          <p:cNvSpPr/>
          <p:nvPr/>
        </p:nvSpPr>
        <p:spPr>
          <a:xfrm>
            <a:off x="3288088" y="925171"/>
            <a:ext cx="324016" cy="457650"/>
          </a:xfrm>
          <a:custGeom>
            <a:avLst/>
            <a:gdLst>
              <a:gd name="connsiteX0" fmla="*/ 337185 w 674370"/>
              <a:gd name="connsiteY0" fmla="*/ 0 h 952500"/>
              <a:gd name="connsiteX1" fmla="*/ 0 w 674370"/>
              <a:gd name="connsiteY1" fmla="*/ 615315 h 952500"/>
              <a:gd name="connsiteX2" fmla="*/ 337185 w 674370"/>
              <a:gd name="connsiteY2" fmla="*/ 952500 h 952500"/>
              <a:gd name="connsiteX3" fmla="*/ 674370 w 674370"/>
              <a:gd name="connsiteY3" fmla="*/ 615315 h 952500"/>
              <a:gd name="connsiteX4" fmla="*/ 337185 w 674370"/>
              <a:gd name="connsiteY4" fmla="*/ 0 h 952500"/>
              <a:gd name="connsiteX5" fmla="*/ 332423 w 674370"/>
              <a:gd name="connsiteY5" fmla="*/ 876300 h 952500"/>
              <a:gd name="connsiteX6" fmla="*/ 76200 w 674370"/>
              <a:gd name="connsiteY6" fmla="*/ 654368 h 952500"/>
              <a:gd name="connsiteX7" fmla="*/ 121920 w 674370"/>
              <a:gd name="connsiteY7" fmla="*/ 641985 h 952500"/>
              <a:gd name="connsiteX8" fmla="*/ 341948 w 674370"/>
              <a:gd name="connsiteY8" fmla="*/ 830580 h 952500"/>
              <a:gd name="connsiteX9" fmla="*/ 332423 w 674370"/>
              <a:gd name="connsiteY9" fmla="*/ 876300 h 952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74370" h="952500">
                <a:moveTo>
                  <a:pt x="337185" y="0"/>
                </a:moveTo>
                <a:cubicBezTo>
                  <a:pt x="337185" y="0"/>
                  <a:pt x="0" y="429578"/>
                  <a:pt x="0" y="615315"/>
                </a:cubicBezTo>
                <a:cubicBezTo>
                  <a:pt x="0" y="801053"/>
                  <a:pt x="150495" y="952500"/>
                  <a:pt x="337185" y="952500"/>
                </a:cubicBezTo>
                <a:cubicBezTo>
                  <a:pt x="522923" y="952500"/>
                  <a:pt x="674370" y="802005"/>
                  <a:pt x="674370" y="615315"/>
                </a:cubicBezTo>
                <a:cubicBezTo>
                  <a:pt x="674370" y="429578"/>
                  <a:pt x="337185" y="0"/>
                  <a:pt x="337185" y="0"/>
                </a:cubicBezTo>
                <a:close/>
                <a:moveTo>
                  <a:pt x="332423" y="876300"/>
                </a:moveTo>
                <a:cubicBezTo>
                  <a:pt x="128588" y="834390"/>
                  <a:pt x="78105" y="661988"/>
                  <a:pt x="76200" y="654368"/>
                </a:cubicBezTo>
                <a:lnTo>
                  <a:pt x="121920" y="641985"/>
                </a:lnTo>
                <a:cubicBezTo>
                  <a:pt x="123825" y="648653"/>
                  <a:pt x="167640" y="794385"/>
                  <a:pt x="341948" y="830580"/>
                </a:cubicBezTo>
                <a:lnTo>
                  <a:pt x="332423" y="876300"/>
                </a:lnTo>
                <a:close/>
              </a:path>
            </a:pathLst>
          </a:custGeom>
          <a:solidFill>
            <a:schemeClr val="bg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nvGrpSpPr>
          <p:cNvPr id="11" name="Graphic 1">
            <a:extLst>
              <a:ext uri="{FF2B5EF4-FFF2-40B4-BE49-F238E27FC236}">
                <a16:creationId xmlns:a16="http://schemas.microsoft.com/office/drawing/2014/main" id="{9D07798A-7115-4BE7-B837-A5147865FBFF}"/>
              </a:ext>
            </a:extLst>
          </p:cNvPr>
          <p:cNvGrpSpPr/>
          <p:nvPr/>
        </p:nvGrpSpPr>
        <p:grpSpPr>
          <a:xfrm>
            <a:off x="8560417" y="597113"/>
            <a:ext cx="457192" cy="457650"/>
            <a:chOff x="3504247" y="1264920"/>
            <a:chExt cx="951547" cy="952500"/>
          </a:xfrm>
          <a:solidFill>
            <a:schemeClr val="bg2"/>
          </a:solidFill>
        </p:grpSpPr>
        <p:sp>
          <p:nvSpPr>
            <p:cNvPr id="12" name="Freeform: Shape 41">
              <a:extLst>
                <a:ext uri="{FF2B5EF4-FFF2-40B4-BE49-F238E27FC236}">
                  <a16:creationId xmlns:a16="http://schemas.microsoft.com/office/drawing/2014/main" id="{96EAC357-A4A7-477C-83DD-0DA04504B2FC}"/>
                </a:ext>
              </a:extLst>
            </p:cNvPr>
            <p:cNvSpPr/>
            <p:nvPr/>
          </p:nvSpPr>
          <p:spPr>
            <a:xfrm>
              <a:off x="3643311" y="1403985"/>
              <a:ext cx="674369" cy="674369"/>
            </a:xfrm>
            <a:custGeom>
              <a:avLst/>
              <a:gdLst>
                <a:gd name="connsiteX0" fmla="*/ 674370 w 674369"/>
                <a:gd name="connsiteY0" fmla="*/ 337185 h 674369"/>
                <a:gd name="connsiteX1" fmla="*/ 337185 w 674369"/>
                <a:gd name="connsiteY1" fmla="*/ 674370 h 674369"/>
                <a:gd name="connsiteX2" fmla="*/ 0 w 674369"/>
                <a:gd name="connsiteY2" fmla="*/ 337185 h 674369"/>
                <a:gd name="connsiteX3" fmla="*/ 337185 w 674369"/>
                <a:gd name="connsiteY3" fmla="*/ 0 h 674369"/>
                <a:gd name="connsiteX4" fmla="*/ 674370 w 674369"/>
                <a:gd name="connsiteY4" fmla="*/ 337185 h 6743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4369" h="674369">
                  <a:moveTo>
                    <a:pt x="674370" y="337185"/>
                  </a:moveTo>
                  <a:cubicBezTo>
                    <a:pt x="674370" y="523407"/>
                    <a:pt x="523407" y="674370"/>
                    <a:pt x="337185" y="674370"/>
                  </a:cubicBezTo>
                  <a:cubicBezTo>
                    <a:pt x="150963" y="674370"/>
                    <a:pt x="0" y="523407"/>
                    <a:pt x="0" y="337185"/>
                  </a:cubicBezTo>
                  <a:cubicBezTo>
                    <a:pt x="0" y="150963"/>
                    <a:pt x="150963" y="0"/>
                    <a:pt x="337185" y="0"/>
                  </a:cubicBezTo>
                  <a:cubicBezTo>
                    <a:pt x="523407" y="0"/>
                    <a:pt x="674370" y="150963"/>
                    <a:pt x="674370" y="337185"/>
                  </a:cubicBezTo>
                  <a:close/>
                </a:path>
              </a:pathLst>
            </a:custGeom>
            <a:grpFill/>
            <a:ln w="9525" cap="flat">
              <a:no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F0F0F0"/>
                </a:solidFill>
                <a:effectLst/>
                <a:uLnTx/>
                <a:uFillTx/>
                <a:latin typeface="等线" panose="020F0502020204030204"/>
                <a:ea typeface="+mn-ea"/>
                <a:cs typeface="+mn-cs"/>
              </a:endParaRPr>
            </a:p>
          </p:txBody>
        </p:sp>
        <p:sp>
          <p:nvSpPr>
            <p:cNvPr id="13" name="Freeform: Shape 42">
              <a:extLst>
                <a:ext uri="{FF2B5EF4-FFF2-40B4-BE49-F238E27FC236}">
                  <a16:creationId xmlns:a16="http://schemas.microsoft.com/office/drawing/2014/main" id="{762CB91B-4A90-46BA-9397-9B618466BA71}"/>
                </a:ext>
              </a:extLst>
            </p:cNvPr>
            <p:cNvSpPr/>
            <p:nvPr/>
          </p:nvSpPr>
          <p:spPr>
            <a:xfrm>
              <a:off x="3956684" y="1264920"/>
              <a:ext cx="47625" cy="75247"/>
            </a:xfrm>
            <a:custGeom>
              <a:avLst/>
              <a:gdLst>
                <a:gd name="connsiteX0" fmla="*/ 0 w 47625"/>
                <a:gd name="connsiteY0" fmla="*/ 0 h 75247"/>
                <a:gd name="connsiteX1" fmla="*/ 47625 w 47625"/>
                <a:gd name="connsiteY1" fmla="*/ 0 h 75247"/>
                <a:gd name="connsiteX2" fmla="*/ 47625 w 47625"/>
                <a:gd name="connsiteY2" fmla="*/ 75248 h 75247"/>
                <a:gd name="connsiteX3" fmla="*/ 0 w 47625"/>
                <a:gd name="connsiteY3" fmla="*/ 75248 h 75247"/>
              </a:gdLst>
              <a:ahLst/>
              <a:cxnLst>
                <a:cxn ang="0">
                  <a:pos x="connsiteX0" y="connsiteY0"/>
                </a:cxn>
                <a:cxn ang="0">
                  <a:pos x="connsiteX1" y="connsiteY1"/>
                </a:cxn>
                <a:cxn ang="0">
                  <a:pos x="connsiteX2" y="connsiteY2"/>
                </a:cxn>
                <a:cxn ang="0">
                  <a:pos x="connsiteX3" y="connsiteY3"/>
                </a:cxn>
              </a:cxnLst>
              <a:rect l="l" t="t" r="r" b="b"/>
              <a:pathLst>
                <a:path w="47625" h="75247">
                  <a:moveTo>
                    <a:pt x="0" y="0"/>
                  </a:moveTo>
                  <a:lnTo>
                    <a:pt x="47625" y="0"/>
                  </a:lnTo>
                  <a:lnTo>
                    <a:pt x="47625" y="75248"/>
                  </a:lnTo>
                  <a:lnTo>
                    <a:pt x="0" y="75248"/>
                  </a:lnTo>
                  <a:close/>
                </a:path>
              </a:pathLst>
            </a:custGeom>
            <a:grpFill/>
            <a:ln w="9525" cap="flat">
              <a:no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F0F0F0"/>
                </a:solidFill>
                <a:effectLst/>
                <a:uLnTx/>
                <a:uFillTx/>
                <a:latin typeface="等线" panose="020F0502020204030204"/>
                <a:ea typeface="+mn-ea"/>
                <a:cs typeface="+mn-cs"/>
              </a:endParaRPr>
            </a:p>
          </p:txBody>
        </p:sp>
        <p:sp>
          <p:nvSpPr>
            <p:cNvPr id="14" name="Freeform: Shape 43">
              <a:extLst>
                <a:ext uri="{FF2B5EF4-FFF2-40B4-BE49-F238E27FC236}">
                  <a16:creationId xmlns:a16="http://schemas.microsoft.com/office/drawing/2014/main" id="{87AA6F52-E457-4BCC-937D-1C67ACEECAE2}"/>
                </a:ext>
              </a:extLst>
            </p:cNvPr>
            <p:cNvSpPr/>
            <p:nvPr/>
          </p:nvSpPr>
          <p:spPr>
            <a:xfrm rot="-2700000">
              <a:off x="3646166" y="1393671"/>
              <a:ext cx="47624" cy="75246"/>
            </a:xfrm>
            <a:custGeom>
              <a:avLst/>
              <a:gdLst>
                <a:gd name="connsiteX0" fmla="*/ 0 w 47624"/>
                <a:gd name="connsiteY0" fmla="*/ 0 h 75246"/>
                <a:gd name="connsiteX1" fmla="*/ 47625 w 47624"/>
                <a:gd name="connsiteY1" fmla="*/ 0 h 75246"/>
                <a:gd name="connsiteX2" fmla="*/ 47625 w 47624"/>
                <a:gd name="connsiteY2" fmla="*/ 75247 h 75246"/>
                <a:gd name="connsiteX3" fmla="*/ 0 w 47624"/>
                <a:gd name="connsiteY3" fmla="*/ 75247 h 75246"/>
              </a:gdLst>
              <a:ahLst/>
              <a:cxnLst>
                <a:cxn ang="0">
                  <a:pos x="connsiteX0" y="connsiteY0"/>
                </a:cxn>
                <a:cxn ang="0">
                  <a:pos x="connsiteX1" y="connsiteY1"/>
                </a:cxn>
                <a:cxn ang="0">
                  <a:pos x="connsiteX2" y="connsiteY2"/>
                </a:cxn>
                <a:cxn ang="0">
                  <a:pos x="connsiteX3" y="connsiteY3"/>
                </a:cxn>
              </a:cxnLst>
              <a:rect l="l" t="t" r="r" b="b"/>
              <a:pathLst>
                <a:path w="47624" h="75246">
                  <a:moveTo>
                    <a:pt x="0" y="0"/>
                  </a:moveTo>
                  <a:lnTo>
                    <a:pt x="47625" y="0"/>
                  </a:lnTo>
                  <a:lnTo>
                    <a:pt x="47625" y="75247"/>
                  </a:lnTo>
                  <a:lnTo>
                    <a:pt x="0" y="75247"/>
                  </a:lnTo>
                  <a:close/>
                </a:path>
              </a:pathLst>
            </a:custGeom>
            <a:grpFill/>
            <a:ln w="9525" cap="flat">
              <a:no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F0F0F0"/>
                </a:solidFill>
                <a:effectLst/>
                <a:uLnTx/>
                <a:uFillTx/>
                <a:latin typeface="等线" panose="020F0502020204030204"/>
                <a:ea typeface="+mn-ea"/>
                <a:cs typeface="+mn-cs"/>
              </a:endParaRPr>
            </a:p>
          </p:txBody>
        </p:sp>
        <p:sp>
          <p:nvSpPr>
            <p:cNvPr id="15" name="Freeform: Shape 44">
              <a:extLst>
                <a:ext uri="{FF2B5EF4-FFF2-40B4-BE49-F238E27FC236}">
                  <a16:creationId xmlns:a16="http://schemas.microsoft.com/office/drawing/2014/main" id="{C98E5263-C4FD-441D-9EEF-3FEB07735FCD}"/>
                </a:ext>
              </a:extLst>
            </p:cNvPr>
            <p:cNvSpPr/>
            <p:nvPr/>
          </p:nvSpPr>
          <p:spPr>
            <a:xfrm>
              <a:off x="3504247" y="1717357"/>
              <a:ext cx="75247" cy="47625"/>
            </a:xfrm>
            <a:custGeom>
              <a:avLst/>
              <a:gdLst>
                <a:gd name="connsiteX0" fmla="*/ 0 w 75247"/>
                <a:gd name="connsiteY0" fmla="*/ 0 h 47625"/>
                <a:gd name="connsiteX1" fmla="*/ 75247 w 75247"/>
                <a:gd name="connsiteY1" fmla="*/ 0 h 47625"/>
                <a:gd name="connsiteX2" fmla="*/ 75247 w 75247"/>
                <a:gd name="connsiteY2" fmla="*/ 47625 h 47625"/>
                <a:gd name="connsiteX3" fmla="*/ 0 w 75247"/>
                <a:gd name="connsiteY3" fmla="*/ 47625 h 47625"/>
              </a:gdLst>
              <a:ahLst/>
              <a:cxnLst>
                <a:cxn ang="0">
                  <a:pos x="connsiteX0" y="connsiteY0"/>
                </a:cxn>
                <a:cxn ang="0">
                  <a:pos x="connsiteX1" y="connsiteY1"/>
                </a:cxn>
                <a:cxn ang="0">
                  <a:pos x="connsiteX2" y="connsiteY2"/>
                </a:cxn>
                <a:cxn ang="0">
                  <a:pos x="connsiteX3" y="connsiteY3"/>
                </a:cxn>
              </a:cxnLst>
              <a:rect l="l" t="t" r="r" b="b"/>
              <a:pathLst>
                <a:path w="75247" h="47625">
                  <a:moveTo>
                    <a:pt x="0" y="0"/>
                  </a:moveTo>
                  <a:lnTo>
                    <a:pt x="75247" y="0"/>
                  </a:lnTo>
                  <a:lnTo>
                    <a:pt x="75247" y="47625"/>
                  </a:lnTo>
                  <a:lnTo>
                    <a:pt x="0" y="47625"/>
                  </a:lnTo>
                  <a:close/>
                </a:path>
              </a:pathLst>
            </a:custGeom>
            <a:grpFill/>
            <a:ln w="9525" cap="flat">
              <a:no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F0F0F0"/>
                </a:solidFill>
                <a:effectLst/>
                <a:uLnTx/>
                <a:uFillTx/>
                <a:latin typeface="等线" panose="020F0502020204030204"/>
                <a:ea typeface="+mn-ea"/>
                <a:cs typeface="+mn-cs"/>
              </a:endParaRPr>
            </a:p>
          </p:txBody>
        </p:sp>
        <p:sp>
          <p:nvSpPr>
            <p:cNvPr id="16" name="Freeform: Shape 45">
              <a:extLst>
                <a:ext uri="{FF2B5EF4-FFF2-40B4-BE49-F238E27FC236}">
                  <a16:creationId xmlns:a16="http://schemas.microsoft.com/office/drawing/2014/main" id="{BA14AADB-0284-44DC-BCF2-2B7C1B5DEBD0}"/>
                </a:ext>
              </a:extLst>
            </p:cNvPr>
            <p:cNvSpPr/>
            <p:nvPr/>
          </p:nvSpPr>
          <p:spPr>
            <a:xfrm rot="-2700000">
              <a:off x="3632314" y="2028140"/>
              <a:ext cx="75246" cy="47624"/>
            </a:xfrm>
            <a:custGeom>
              <a:avLst/>
              <a:gdLst>
                <a:gd name="connsiteX0" fmla="*/ 0 w 75246"/>
                <a:gd name="connsiteY0" fmla="*/ 0 h 47624"/>
                <a:gd name="connsiteX1" fmla="*/ 75247 w 75246"/>
                <a:gd name="connsiteY1" fmla="*/ 0 h 47624"/>
                <a:gd name="connsiteX2" fmla="*/ 75247 w 75246"/>
                <a:gd name="connsiteY2" fmla="*/ 47625 h 47624"/>
                <a:gd name="connsiteX3" fmla="*/ 0 w 75246"/>
                <a:gd name="connsiteY3" fmla="*/ 47625 h 47624"/>
              </a:gdLst>
              <a:ahLst/>
              <a:cxnLst>
                <a:cxn ang="0">
                  <a:pos x="connsiteX0" y="connsiteY0"/>
                </a:cxn>
                <a:cxn ang="0">
                  <a:pos x="connsiteX1" y="connsiteY1"/>
                </a:cxn>
                <a:cxn ang="0">
                  <a:pos x="connsiteX2" y="connsiteY2"/>
                </a:cxn>
                <a:cxn ang="0">
                  <a:pos x="connsiteX3" y="connsiteY3"/>
                </a:cxn>
              </a:cxnLst>
              <a:rect l="l" t="t" r="r" b="b"/>
              <a:pathLst>
                <a:path w="75246" h="47624">
                  <a:moveTo>
                    <a:pt x="0" y="0"/>
                  </a:moveTo>
                  <a:lnTo>
                    <a:pt x="75247" y="0"/>
                  </a:lnTo>
                  <a:lnTo>
                    <a:pt x="75247" y="47625"/>
                  </a:lnTo>
                  <a:lnTo>
                    <a:pt x="0" y="47625"/>
                  </a:lnTo>
                  <a:close/>
                </a:path>
              </a:pathLst>
            </a:custGeom>
            <a:grpFill/>
            <a:ln w="9525" cap="flat">
              <a:no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F0F0F0"/>
                </a:solidFill>
                <a:effectLst/>
                <a:uLnTx/>
                <a:uFillTx/>
                <a:latin typeface="等线" panose="020F0502020204030204"/>
                <a:ea typeface="+mn-ea"/>
                <a:cs typeface="+mn-cs"/>
              </a:endParaRPr>
            </a:p>
          </p:txBody>
        </p:sp>
        <p:sp>
          <p:nvSpPr>
            <p:cNvPr id="17" name="Freeform: Shape 46">
              <a:extLst>
                <a:ext uri="{FF2B5EF4-FFF2-40B4-BE49-F238E27FC236}">
                  <a16:creationId xmlns:a16="http://schemas.microsoft.com/office/drawing/2014/main" id="{29A36058-B959-439B-82AE-785CFC953118}"/>
                </a:ext>
              </a:extLst>
            </p:cNvPr>
            <p:cNvSpPr/>
            <p:nvPr/>
          </p:nvSpPr>
          <p:spPr>
            <a:xfrm>
              <a:off x="3956684" y="2142172"/>
              <a:ext cx="47625" cy="75247"/>
            </a:xfrm>
            <a:custGeom>
              <a:avLst/>
              <a:gdLst>
                <a:gd name="connsiteX0" fmla="*/ 0 w 47625"/>
                <a:gd name="connsiteY0" fmla="*/ 0 h 75247"/>
                <a:gd name="connsiteX1" fmla="*/ 47625 w 47625"/>
                <a:gd name="connsiteY1" fmla="*/ 0 h 75247"/>
                <a:gd name="connsiteX2" fmla="*/ 47625 w 47625"/>
                <a:gd name="connsiteY2" fmla="*/ 75248 h 75247"/>
                <a:gd name="connsiteX3" fmla="*/ 0 w 47625"/>
                <a:gd name="connsiteY3" fmla="*/ 75248 h 75247"/>
              </a:gdLst>
              <a:ahLst/>
              <a:cxnLst>
                <a:cxn ang="0">
                  <a:pos x="connsiteX0" y="connsiteY0"/>
                </a:cxn>
                <a:cxn ang="0">
                  <a:pos x="connsiteX1" y="connsiteY1"/>
                </a:cxn>
                <a:cxn ang="0">
                  <a:pos x="connsiteX2" y="connsiteY2"/>
                </a:cxn>
                <a:cxn ang="0">
                  <a:pos x="connsiteX3" y="connsiteY3"/>
                </a:cxn>
              </a:cxnLst>
              <a:rect l="l" t="t" r="r" b="b"/>
              <a:pathLst>
                <a:path w="47625" h="75247">
                  <a:moveTo>
                    <a:pt x="0" y="0"/>
                  </a:moveTo>
                  <a:lnTo>
                    <a:pt x="47625" y="0"/>
                  </a:lnTo>
                  <a:lnTo>
                    <a:pt x="47625" y="75248"/>
                  </a:lnTo>
                  <a:lnTo>
                    <a:pt x="0" y="75248"/>
                  </a:lnTo>
                  <a:close/>
                </a:path>
              </a:pathLst>
            </a:custGeom>
            <a:grpFill/>
            <a:ln w="9525" cap="flat">
              <a:no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F0F0F0"/>
                </a:solidFill>
                <a:effectLst/>
                <a:uLnTx/>
                <a:uFillTx/>
                <a:latin typeface="等线" panose="020F0502020204030204"/>
                <a:ea typeface="+mn-ea"/>
                <a:cs typeface="+mn-cs"/>
              </a:endParaRPr>
            </a:p>
          </p:txBody>
        </p:sp>
        <p:sp>
          <p:nvSpPr>
            <p:cNvPr id="18" name="Freeform: Shape 47">
              <a:extLst>
                <a:ext uri="{FF2B5EF4-FFF2-40B4-BE49-F238E27FC236}">
                  <a16:creationId xmlns:a16="http://schemas.microsoft.com/office/drawing/2014/main" id="{F510385A-F50B-4689-ACC7-37BB7872F481}"/>
                </a:ext>
              </a:extLst>
            </p:cNvPr>
            <p:cNvSpPr/>
            <p:nvPr/>
          </p:nvSpPr>
          <p:spPr>
            <a:xfrm rot="-2699514">
              <a:off x="4266268" y="2013785"/>
              <a:ext cx="47624" cy="75246"/>
            </a:xfrm>
            <a:custGeom>
              <a:avLst/>
              <a:gdLst>
                <a:gd name="connsiteX0" fmla="*/ 0 w 47624"/>
                <a:gd name="connsiteY0" fmla="*/ 0 h 75246"/>
                <a:gd name="connsiteX1" fmla="*/ 47624 w 47624"/>
                <a:gd name="connsiteY1" fmla="*/ 0 h 75246"/>
                <a:gd name="connsiteX2" fmla="*/ 47624 w 47624"/>
                <a:gd name="connsiteY2" fmla="*/ 75247 h 75246"/>
                <a:gd name="connsiteX3" fmla="*/ 0 w 47624"/>
                <a:gd name="connsiteY3" fmla="*/ 75247 h 75246"/>
              </a:gdLst>
              <a:ahLst/>
              <a:cxnLst>
                <a:cxn ang="0">
                  <a:pos x="connsiteX0" y="connsiteY0"/>
                </a:cxn>
                <a:cxn ang="0">
                  <a:pos x="connsiteX1" y="connsiteY1"/>
                </a:cxn>
                <a:cxn ang="0">
                  <a:pos x="connsiteX2" y="connsiteY2"/>
                </a:cxn>
                <a:cxn ang="0">
                  <a:pos x="connsiteX3" y="connsiteY3"/>
                </a:cxn>
              </a:cxnLst>
              <a:rect l="l" t="t" r="r" b="b"/>
              <a:pathLst>
                <a:path w="47624" h="75246">
                  <a:moveTo>
                    <a:pt x="0" y="0"/>
                  </a:moveTo>
                  <a:lnTo>
                    <a:pt x="47624" y="0"/>
                  </a:lnTo>
                  <a:lnTo>
                    <a:pt x="47624" y="75247"/>
                  </a:lnTo>
                  <a:lnTo>
                    <a:pt x="0" y="75247"/>
                  </a:lnTo>
                  <a:close/>
                </a:path>
              </a:pathLst>
            </a:custGeom>
            <a:grpFill/>
            <a:ln w="9525" cap="flat">
              <a:no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F0F0F0"/>
                </a:solidFill>
                <a:effectLst/>
                <a:uLnTx/>
                <a:uFillTx/>
                <a:latin typeface="等线" panose="020F0502020204030204"/>
                <a:ea typeface="+mn-ea"/>
                <a:cs typeface="+mn-cs"/>
              </a:endParaRPr>
            </a:p>
          </p:txBody>
        </p:sp>
        <p:sp>
          <p:nvSpPr>
            <p:cNvPr id="19" name="Freeform: Shape 48">
              <a:extLst>
                <a:ext uri="{FF2B5EF4-FFF2-40B4-BE49-F238E27FC236}">
                  <a16:creationId xmlns:a16="http://schemas.microsoft.com/office/drawing/2014/main" id="{A7E06750-59EF-4EC2-AA93-C55A58A0DE5B}"/>
                </a:ext>
              </a:extLst>
            </p:cNvPr>
            <p:cNvSpPr/>
            <p:nvPr/>
          </p:nvSpPr>
          <p:spPr>
            <a:xfrm>
              <a:off x="4380547" y="1717357"/>
              <a:ext cx="75247" cy="47625"/>
            </a:xfrm>
            <a:custGeom>
              <a:avLst/>
              <a:gdLst>
                <a:gd name="connsiteX0" fmla="*/ 0 w 75247"/>
                <a:gd name="connsiteY0" fmla="*/ 0 h 47625"/>
                <a:gd name="connsiteX1" fmla="*/ 75247 w 75247"/>
                <a:gd name="connsiteY1" fmla="*/ 0 h 47625"/>
                <a:gd name="connsiteX2" fmla="*/ 75247 w 75247"/>
                <a:gd name="connsiteY2" fmla="*/ 47625 h 47625"/>
                <a:gd name="connsiteX3" fmla="*/ 0 w 75247"/>
                <a:gd name="connsiteY3" fmla="*/ 47625 h 47625"/>
              </a:gdLst>
              <a:ahLst/>
              <a:cxnLst>
                <a:cxn ang="0">
                  <a:pos x="connsiteX0" y="connsiteY0"/>
                </a:cxn>
                <a:cxn ang="0">
                  <a:pos x="connsiteX1" y="connsiteY1"/>
                </a:cxn>
                <a:cxn ang="0">
                  <a:pos x="connsiteX2" y="connsiteY2"/>
                </a:cxn>
                <a:cxn ang="0">
                  <a:pos x="connsiteX3" y="connsiteY3"/>
                </a:cxn>
              </a:cxnLst>
              <a:rect l="l" t="t" r="r" b="b"/>
              <a:pathLst>
                <a:path w="75247" h="47625">
                  <a:moveTo>
                    <a:pt x="0" y="0"/>
                  </a:moveTo>
                  <a:lnTo>
                    <a:pt x="75247" y="0"/>
                  </a:lnTo>
                  <a:lnTo>
                    <a:pt x="75247" y="47625"/>
                  </a:lnTo>
                  <a:lnTo>
                    <a:pt x="0" y="47625"/>
                  </a:lnTo>
                  <a:close/>
                </a:path>
              </a:pathLst>
            </a:custGeom>
            <a:grpFill/>
            <a:ln w="9525" cap="flat">
              <a:no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F0F0F0"/>
                </a:solidFill>
                <a:effectLst/>
                <a:uLnTx/>
                <a:uFillTx/>
                <a:latin typeface="等线" panose="020F0502020204030204"/>
                <a:ea typeface="+mn-ea"/>
                <a:cs typeface="+mn-cs"/>
              </a:endParaRPr>
            </a:p>
          </p:txBody>
        </p:sp>
        <p:sp>
          <p:nvSpPr>
            <p:cNvPr id="20" name="Freeform: Shape 49">
              <a:extLst>
                <a:ext uri="{FF2B5EF4-FFF2-40B4-BE49-F238E27FC236}">
                  <a16:creationId xmlns:a16="http://schemas.microsoft.com/office/drawing/2014/main" id="{4543DFF3-8F76-44C5-864A-19166BB5353E}"/>
                </a:ext>
              </a:extLst>
            </p:cNvPr>
            <p:cNvSpPr/>
            <p:nvPr/>
          </p:nvSpPr>
          <p:spPr>
            <a:xfrm rot="-2700000">
              <a:off x="4252353" y="1408059"/>
              <a:ext cx="75246" cy="47624"/>
            </a:xfrm>
            <a:custGeom>
              <a:avLst/>
              <a:gdLst>
                <a:gd name="connsiteX0" fmla="*/ 0 w 75246"/>
                <a:gd name="connsiteY0" fmla="*/ 0 h 47624"/>
                <a:gd name="connsiteX1" fmla="*/ 75247 w 75246"/>
                <a:gd name="connsiteY1" fmla="*/ 0 h 47624"/>
                <a:gd name="connsiteX2" fmla="*/ 75247 w 75246"/>
                <a:gd name="connsiteY2" fmla="*/ 47625 h 47624"/>
                <a:gd name="connsiteX3" fmla="*/ 0 w 75246"/>
                <a:gd name="connsiteY3" fmla="*/ 47625 h 47624"/>
              </a:gdLst>
              <a:ahLst/>
              <a:cxnLst>
                <a:cxn ang="0">
                  <a:pos x="connsiteX0" y="connsiteY0"/>
                </a:cxn>
                <a:cxn ang="0">
                  <a:pos x="connsiteX1" y="connsiteY1"/>
                </a:cxn>
                <a:cxn ang="0">
                  <a:pos x="connsiteX2" y="connsiteY2"/>
                </a:cxn>
                <a:cxn ang="0">
                  <a:pos x="connsiteX3" y="connsiteY3"/>
                </a:cxn>
              </a:cxnLst>
              <a:rect l="l" t="t" r="r" b="b"/>
              <a:pathLst>
                <a:path w="75246" h="47624">
                  <a:moveTo>
                    <a:pt x="0" y="0"/>
                  </a:moveTo>
                  <a:lnTo>
                    <a:pt x="75247" y="0"/>
                  </a:lnTo>
                  <a:lnTo>
                    <a:pt x="75247" y="47625"/>
                  </a:lnTo>
                  <a:lnTo>
                    <a:pt x="0" y="47625"/>
                  </a:lnTo>
                  <a:close/>
                </a:path>
              </a:pathLst>
            </a:custGeom>
            <a:grpFill/>
            <a:ln w="9525" cap="flat">
              <a:noFill/>
              <a:prstDash val="solid"/>
              <a:miter/>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F0F0F0"/>
                </a:solidFill>
                <a:effectLst/>
                <a:uLnTx/>
                <a:uFillTx/>
                <a:latin typeface="等线" panose="020F0502020204030204"/>
                <a:ea typeface="+mn-ea"/>
                <a:cs typeface="+mn-cs"/>
              </a:endParaRPr>
            </a:p>
          </p:txBody>
        </p:sp>
      </p:grpSp>
      <p:grpSp>
        <p:nvGrpSpPr>
          <p:cNvPr id="21" name="Graphic 1">
            <a:extLst>
              <a:ext uri="{FF2B5EF4-FFF2-40B4-BE49-F238E27FC236}">
                <a16:creationId xmlns:a16="http://schemas.microsoft.com/office/drawing/2014/main" id="{217E5E6B-D88D-4D0E-9D4A-1A6CA8566806}"/>
              </a:ext>
            </a:extLst>
          </p:cNvPr>
          <p:cNvGrpSpPr/>
          <p:nvPr/>
        </p:nvGrpSpPr>
        <p:grpSpPr>
          <a:xfrm>
            <a:off x="3337818" y="3604476"/>
            <a:ext cx="519432" cy="416920"/>
            <a:chOff x="6348412" y="2426970"/>
            <a:chExt cx="1081087" cy="867727"/>
          </a:xfrm>
          <a:solidFill>
            <a:schemeClr val="bg2"/>
          </a:solidFill>
        </p:grpSpPr>
        <p:grpSp>
          <p:nvGrpSpPr>
            <p:cNvPr id="22" name="Graphic 1">
              <a:extLst>
                <a:ext uri="{FF2B5EF4-FFF2-40B4-BE49-F238E27FC236}">
                  <a16:creationId xmlns:a16="http://schemas.microsoft.com/office/drawing/2014/main" id="{150ECC47-658D-4E71-AF9D-3A5F790D3046}"/>
                </a:ext>
              </a:extLst>
            </p:cNvPr>
            <p:cNvGrpSpPr/>
            <p:nvPr/>
          </p:nvGrpSpPr>
          <p:grpSpPr>
            <a:xfrm>
              <a:off x="6348412" y="2426970"/>
              <a:ext cx="1081087" cy="529589"/>
              <a:chOff x="6348412" y="2426970"/>
              <a:chExt cx="1081087" cy="529589"/>
            </a:xfrm>
            <a:grpFill/>
          </p:grpSpPr>
          <p:sp>
            <p:nvSpPr>
              <p:cNvPr id="24" name="Freeform: Shape 53">
                <a:extLst>
                  <a:ext uri="{FF2B5EF4-FFF2-40B4-BE49-F238E27FC236}">
                    <a16:creationId xmlns:a16="http://schemas.microsoft.com/office/drawing/2014/main" id="{F255F447-C14A-48D8-B358-CB333EDB1C71}"/>
                  </a:ext>
                </a:extLst>
              </p:cNvPr>
              <p:cNvSpPr/>
              <p:nvPr/>
            </p:nvSpPr>
            <p:spPr>
              <a:xfrm>
                <a:off x="6348412" y="2426970"/>
                <a:ext cx="463867" cy="333375"/>
              </a:xfrm>
              <a:custGeom>
                <a:avLst/>
                <a:gdLst>
                  <a:gd name="connsiteX0" fmla="*/ 442913 w 463867"/>
                  <a:gd name="connsiteY0" fmla="*/ 189547 h 333375"/>
                  <a:gd name="connsiteX1" fmla="*/ 462915 w 463867"/>
                  <a:gd name="connsiteY1" fmla="*/ 194310 h 333375"/>
                  <a:gd name="connsiteX2" fmla="*/ 299085 w 463867"/>
                  <a:gd name="connsiteY2" fmla="*/ 333375 h 333375"/>
                  <a:gd name="connsiteX3" fmla="*/ 22860 w 463867"/>
                  <a:gd name="connsiteY3" fmla="*/ 184785 h 333375"/>
                  <a:gd name="connsiteX4" fmla="*/ 0 w 463867"/>
                  <a:gd name="connsiteY4" fmla="*/ 166688 h 333375"/>
                  <a:gd name="connsiteX5" fmla="*/ 22860 w 463867"/>
                  <a:gd name="connsiteY5" fmla="*/ 148590 h 333375"/>
                  <a:gd name="connsiteX6" fmla="*/ 299085 w 463867"/>
                  <a:gd name="connsiteY6" fmla="*/ 0 h 333375"/>
                  <a:gd name="connsiteX7" fmla="*/ 463868 w 463867"/>
                  <a:gd name="connsiteY7" fmla="*/ 146685 h 333375"/>
                  <a:gd name="connsiteX8" fmla="*/ 442913 w 463867"/>
                  <a:gd name="connsiteY8" fmla="*/ 143827 h 333375"/>
                  <a:gd name="connsiteX9" fmla="*/ 293370 w 463867"/>
                  <a:gd name="connsiteY9" fmla="*/ 143827 h 333375"/>
                  <a:gd name="connsiteX10" fmla="*/ 293370 w 463867"/>
                  <a:gd name="connsiteY10" fmla="*/ 189547 h 333375"/>
                  <a:gd name="connsiteX11" fmla="*/ 442913 w 463867"/>
                  <a:gd name="connsiteY11" fmla="*/ 189547 h 333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63867" h="333375">
                    <a:moveTo>
                      <a:pt x="442913" y="189547"/>
                    </a:moveTo>
                    <a:cubicBezTo>
                      <a:pt x="450532" y="189547"/>
                      <a:pt x="457200" y="191452"/>
                      <a:pt x="462915" y="194310"/>
                    </a:cubicBezTo>
                    <a:cubicBezTo>
                      <a:pt x="449580" y="273367"/>
                      <a:pt x="381000" y="333375"/>
                      <a:pt x="299085" y="333375"/>
                    </a:cubicBezTo>
                    <a:cubicBezTo>
                      <a:pt x="214313" y="333375"/>
                      <a:pt x="41910" y="200025"/>
                      <a:pt x="22860" y="184785"/>
                    </a:cubicBezTo>
                    <a:lnTo>
                      <a:pt x="0" y="166688"/>
                    </a:lnTo>
                    <a:lnTo>
                      <a:pt x="22860" y="148590"/>
                    </a:lnTo>
                    <a:cubicBezTo>
                      <a:pt x="41910" y="133350"/>
                      <a:pt x="215265" y="0"/>
                      <a:pt x="299085" y="0"/>
                    </a:cubicBezTo>
                    <a:cubicBezTo>
                      <a:pt x="383857" y="0"/>
                      <a:pt x="454343" y="63817"/>
                      <a:pt x="463868" y="146685"/>
                    </a:cubicBezTo>
                    <a:cubicBezTo>
                      <a:pt x="457200" y="144780"/>
                      <a:pt x="449580" y="143827"/>
                      <a:pt x="442913" y="143827"/>
                    </a:cubicBezTo>
                    <a:lnTo>
                      <a:pt x="293370" y="143827"/>
                    </a:lnTo>
                    <a:lnTo>
                      <a:pt x="293370" y="189547"/>
                    </a:lnTo>
                    <a:lnTo>
                      <a:pt x="442913" y="189547"/>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5" name="Freeform: Shape 54">
                <a:extLst>
                  <a:ext uri="{FF2B5EF4-FFF2-40B4-BE49-F238E27FC236}">
                    <a16:creationId xmlns:a16="http://schemas.microsoft.com/office/drawing/2014/main" id="{B4B2A649-627B-4C2E-82B5-8A83F3D3D071}"/>
                  </a:ext>
                </a:extLst>
              </p:cNvPr>
              <p:cNvSpPr/>
              <p:nvPr/>
            </p:nvSpPr>
            <p:spPr>
              <a:xfrm>
                <a:off x="7052309" y="2685097"/>
                <a:ext cx="377189" cy="271462"/>
              </a:xfrm>
              <a:custGeom>
                <a:avLst/>
                <a:gdLst>
                  <a:gd name="connsiteX0" fmla="*/ 377190 w 377189"/>
                  <a:gd name="connsiteY0" fmla="*/ 135255 h 271462"/>
                  <a:gd name="connsiteX1" fmla="*/ 354330 w 377189"/>
                  <a:gd name="connsiteY1" fmla="*/ 153353 h 271462"/>
                  <a:gd name="connsiteX2" fmla="*/ 133350 w 377189"/>
                  <a:gd name="connsiteY2" fmla="*/ 271463 h 271462"/>
                  <a:gd name="connsiteX3" fmla="*/ 0 w 377189"/>
                  <a:gd name="connsiteY3" fmla="*/ 160973 h 271462"/>
                  <a:gd name="connsiteX4" fmla="*/ 28575 w 377189"/>
                  <a:gd name="connsiteY4" fmla="*/ 158115 h 271462"/>
                  <a:gd name="connsiteX5" fmla="*/ 155257 w 377189"/>
                  <a:gd name="connsiteY5" fmla="*/ 158115 h 271462"/>
                  <a:gd name="connsiteX6" fmla="*/ 155257 w 377189"/>
                  <a:gd name="connsiteY6" fmla="*/ 112395 h 271462"/>
                  <a:gd name="connsiteX7" fmla="*/ 29527 w 377189"/>
                  <a:gd name="connsiteY7" fmla="*/ 112395 h 271462"/>
                  <a:gd name="connsiteX8" fmla="*/ 0 w 377189"/>
                  <a:gd name="connsiteY8" fmla="*/ 115253 h 271462"/>
                  <a:gd name="connsiteX9" fmla="*/ 134302 w 377189"/>
                  <a:gd name="connsiteY9" fmla="*/ 0 h 271462"/>
                  <a:gd name="connsiteX10" fmla="*/ 355282 w 377189"/>
                  <a:gd name="connsiteY10" fmla="*/ 118110 h 271462"/>
                  <a:gd name="connsiteX11" fmla="*/ 377190 w 377189"/>
                  <a:gd name="connsiteY11" fmla="*/ 135255 h 2714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77189" h="271462">
                    <a:moveTo>
                      <a:pt x="377190" y="135255"/>
                    </a:moveTo>
                    <a:lnTo>
                      <a:pt x="354330" y="153353"/>
                    </a:lnTo>
                    <a:cubicBezTo>
                      <a:pt x="339090" y="165735"/>
                      <a:pt x="201930" y="271463"/>
                      <a:pt x="133350" y="271463"/>
                    </a:cubicBezTo>
                    <a:cubicBezTo>
                      <a:pt x="67627" y="271463"/>
                      <a:pt x="12382" y="223838"/>
                      <a:pt x="0" y="160973"/>
                    </a:cubicBezTo>
                    <a:cubicBezTo>
                      <a:pt x="8572" y="159068"/>
                      <a:pt x="18097" y="158115"/>
                      <a:pt x="28575" y="158115"/>
                    </a:cubicBezTo>
                    <a:lnTo>
                      <a:pt x="155257" y="158115"/>
                    </a:lnTo>
                    <a:lnTo>
                      <a:pt x="155257" y="112395"/>
                    </a:lnTo>
                    <a:lnTo>
                      <a:pt x="29527" y="112395"/>
                    </a:lnTo>
                    <a:cubicBezTo>
                      <a:pt x="19050" y="112395"/>
                      <a:pt x="9525" y="113348"/>
                      <a:pt x="0" y="115253"/>
                    </a:cubicBezTo>
                    <a:cubicBezTo>
                      <a:pt x="9525" y="49530"/>
                      <a:pt x="66675" y="0"/>
                      <a:pt x="134302" y="0"/>
                    </a:cubicBezTo>
                    <a:cubicBezTo>
                      <a:pt x="202882" y="0"/>
                      <a:pt x="340042" y="105728"/>
                      <a:pt x="355282" y="118110"/>
                    </a:cubicBezTo>
                    <a:lnTo>
                      <a:pt x="377190" y="135255"/>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sp>
          <p:nvSpPr>
            <p:cNvPr id="23" name="Freeform: Shape 52">
              <a:extLst>
                <a:ext uri="{FF2B5EF4-FFF2-40B4-BE49-F238E27FC236}">
                  <a16:creationId xmlns:a16="http://schemas.microsoft.com/office/drawing/2014/main" id="{62753C27-0A90-4DF9-8383-557ADEFA59F8}"/>
                </a:ext>
              </a:extLst>
            </p:cNvPr>
            <p:cNvSpPr/>
            <p:nvPr/>
          </p:nvSpPr>
          <p:spPr>
            <a:xfrm>
              <a:off x="6679881" y="2572702"/>
              <a:ext cx="498157" cy="721994"/>
            </a:xfrm>
            <a:custGeom>
              <a:avLst/>
              <a:gdLst>
                <a:gd name="connsiteX0" fmla="*/ 272415 w 498157"/>
                <a:gd name="connsiteY0" fmla="*/ 452438 h 721994"/>
                <a:gd name="connsiteX1" fmla="*/ 324803 w 498157"/>
                <a:gd name="connsiteY1" fmla="*/ 300990 h 721994"/>
                <a:gd name="connsiteX2" fmla="*/ 373380 w 498157"/>
                <a:gd name="connsiteY2" fmla="*/ 273367 h 721994"/>
                <a:gd name="connsiteX3" fmla="*/ 370523 w 498157"/>
                <a:gd name="connsiteY3" fmla="*/ 247650 h 721994"/>
                <a:gd name="connsiteX4" fmla="*/ 372428 w 498157"/>
                <a:gd name="connsiteY4" fmla="*/ 227647 h 721994"/>
                <a:gd name="connsiteX5" fmla="*/ 292418 w 498157"/>
                <a:gd name="connsiteY5" fmla="*/ 269557 h 721994"/>
                <a:gd name="connsiteX6" fmla="*/ 265748 w 498157"/>
                <a:gd name="connsiteY6" fmla="*/ 304800 h 721994"/>
                <a:gd name="connsiteX7" fmla="*/ 181928 w 498157"/>
                <a:gd name="connsiteY7" fmla="*/ 29527 h 721994"/>
                <a:gd name="connsiteX8" fmla="*/ 132398 w 498157"/>
                <a:gd name="connsiteY8" fmla="*/ 0 h 721994"/>
                <a:gd name="connsiteX9" fmla="*/ 133350 w 498157"/>
                <a:gd name="connsiteY9" fmla="*/ 20002 h 721994"/>
                <a:gd name="connsiteX10" fmla="*/ 131445 w 498157"/>
                <a:gd name="connsiteY10" fmla="*/ 47625 h 721994"/>
                <a:gd name="connsiteX11" fmla="*/ 149543 w 498157"/>
                <a:gd name="connsiteY11" fmla="*/ 60960 h 721994"/>
                <a:gd name="connsiteX12" fmla="*/ 226695 w 498157"/>
                <a:gd name="connsiteY12" fmla="*/ 451485 h 721994"/>
                <a:gd name="connsiteX13" fmla="*/ 0 w 498157"/>
                <a:gd name="connsiteY13" fmla="*/ 699135 h 721994"/>
                <a:gd name="connsiteX14" fmla="*/ 0 w 498157"/>
                <a:gd name="connsiteY14" fmla="*/ 721995 h 721994"/>
                <a:gd name="connsiteX15" fmla="*/ 498157 w 498157"/>
                <a:gd name="connsiteY15" fmla="*/ 721995 h 721994"/>
                <a:gd name="connsiteX16" fmla="*/ 498157 w 498157"/>
                <a:gd name="connsiteY16" fmla="*/ 699135 h 721994"/>
                <a:gd name="connsiteX17" fmla="*/ 272415 w 498157"/>
                <a:gd name="connsiteY17" fmla="*/ 452438 h 721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98157" h="721994">
                  <a:moveTo>
                    <a:pt x="272415" y="452438"/>
                  </a:moveTo>
                  <a:cubicBezTo>
                    <a:pt x="274320" y="416242"/>
                    <a:pt x="283845" y="342900"/>
                    <a:pt x="324803" y="300990"/>
                  </a:cubicBezTo>
                  <a:cubicBezTo>
                    <a:pt x="339090" y="286702"/>
                    <a:pt x="354330" y="277177"/>
                    <a:pt x="373380" y="273367"/>
                  </a:cubicBezTo>
                  <a:cubicBezTo>
                    <a:pt x="371475" y="264795"/>
                    <a:pt x="370523" y="256222"/>
                    <a:pt x="370523" y="247650"/>
                  </a:cubicBezTo>
                  <a:cubicBezTo>
                    <a:pt x="370523" y="240982"/>
                    <a:pt x="371475" y="234315"/>
                    <a:pt x="372428" y="227647"/>
                  </a:cubicBezTo>
                  <a:cubicBezTo>
                    <a:pt x="340995" y="233363"/>
                    <a:pt x="314325" y="247650"/>
                    <a:pt x="292418" y="269557"/>
                  </a:cubicBezTo>
                  <a:cubicBezTo>
                    <a:pt x="281940" y="280035"/>
                    <a:pt x="273368" y="292417"/>
                    <a:pt x="265748" y="304800"/>
                  </a:cubicBezTo>
                  <a:cubicBezTo>
                    <a:pt x="256223" y="202882"/>
                    <a:pt x="234315" y="83820"/>
                    <a:pt x="181928" y="29527"/>
                  </a:cubicBezTo>
                  <a:cubicBezTo>
                    <a:pt x="167640" y="14288"/>
                    <a:pt x="150495" y="4763"/>
                    <a:pt x="132398" y="0"/>
                  </a:cubicBezTo>
                  <a:cubicBezTo>
                    <a:pt x="133350" y="6667"/>
                    <a:pt x="133350" y="13335"/>
                    <a:pt x="133350" y="20002"/>
                  </a:cubicBezTo>
                  <a:cubicBezTo>
                    <a:pt x="133350" y="29527"/>
                    <a:pt x="132398" y="38100"/>
                    <a:pt x="131445" y="47625"/>
                  </a:cubicBezTo>
                  <a:cubicBezTo>
                    <a:pt x="137160" y="50482"/>
                    <a:pt x="143828" y="55245"/>
                    <a:pt x="149543" y="60960"/>
                  </a:cubicBezTo>
                  <a:cubicBezTo>
                    <a:pt x="214313" y="127635"/>
                    <a:pt x="227648" y="348615"/>
                    <a:pt x="226695" y="451485"/>
                  </a:cubicBezTo>
                  <a:cubicBezTo>
                    <a:pt x="100013" y="462915"/>
                    <a:pt x="0" y="569595"/>
                    <a:pt x="0" y="699135"/>
                  </a:cubicBezTo>
                  <a:lnTo>
                    <a:pt x="0" y="721995"/>
                  </a:lnTo>
                  <a:lnTo>
                    <a:pt x="498157" y="721995"/>
                  </a:lnTo>
                  <a:lnTo>
                    <a:pt x="498157" y="699135"/>
                  </a:lnTo>
                  <a:cubicBezTo>
                    <a:pt x="498157" y="571500"/>
                    <a:pt x="398145" y="464820"/>
                    <a:pt x="272415" y="45243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grpSp>
        <p:nvGrpSpPr>
          <p:cNvPr id="26" name="Graphic 1">
            <a:extLst>
              <a:ext uri="{FF2B5EF4-FFF2-40B4-BE49-F238E27FC236}">
                <a16:creationId xmlns:a16="http://schemas.microsoft.com/office/drawing/2014/main" id="{7929F397-A77E-4D88-A348-E5A6B2EBA12D}"/>
              </a:ext>
            </a:extLst>
          </p:cNvPr>
          <p:cNvGrpSpPr/>
          <p:nvPr/>
        </p:nvGrpSpPr>
        <p:grpSpPr>
          <a:xfrm>
            <a:off x="8761669" y="3247636"/>
            <a:ext cx="349644" cy="350558"/>
            <a:chOff x="8959214" y="2548890"/>
            <a:chExt cx="727710" cy="729614"/>
          </a:xfrm>
          <a:solidFill>
            <a:schemeClr val="bg2"/>
          </a:solidFill>
        </p:grpSpPr>
        <p:sp>
          <p:nvSpPr>
            <p:cNvPr id="27" name="Freeform: Shape 56">
              <a:extLst>
                <a:ext uri="{FF2B5EF4-FFF2-40B4-BE49-F238E27FC236}">
                  <a16:creationId xmlns:a16="http://schemas.microsoft.com/office/drawing/2014/main" id="{1AD7280D-FCE7-4124-B1FE-2670EE6B60DA}"/>
                </a:ext>
              </a:extLst>
            </p:cNvPr>
            <p:cNvSpPr/>
            <p:nvPr/>
          </p:nvSpPr>
          <p:spPr>
            <a:xfrm>
              <a:off x="8959214" y="3156584"/>
              <a:ext cx="120967" cy="121920"/>
            </a:xfrm>
            <a:custGeom>
              <a:avLst/>
              <a:gdLst>
                <a:gd name="connsiteX0" fmla="*/ 120968 w 120967"/>
                <a:gd name="connsiteY0" fmla="*/ 33338 h 121920"/>
                <a:gd name="connsiteX1" fmla="*/ 33338 w 120967"/>
                <a:gd name="connsiteY1" fmla="*/ 121920 h 121920"/>
                <a:gd name="connsiteX2" fmla="*/ 0 w 120967"/>
                <a:gd name="connsiteY2" fmla="*/ 88583 h 121920"/>
                <a:gd name="connsiteX3" fmla="*/ 87630 w 120967"/>
                <a:gd name="connsiteY3" fmla="*/ 0 h 121920"/>
                <a:gd name="connsiteX4" fmla="*/ 103823 w 120967"/>
                <a:gd name="connsiteY4" fmla="*/ 18098 h 121920"/>
                <a:gd name="connsiteX5" fmla="*/ 120968 w 120967"/>
                <a:gd name="connsiteY5" fmla="*/ 33338 h 121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0967" h="121920">
                  <a:moveTo>
                    <a:pt x="120968" y="33338"/>
                  </a:moveTo>
                  <a:lnTo>
                    <a:pt x="33338" y="121920"/>
                  </a:lnTo>
                  <a:lnTo>
                    <a:pt x="0" y="88583"/>
                  </a:lnTo>
                  <a:lnTo>
                    <a:pt x="87630" y="0"/>
                  </a:lnTo>
                  <a:cubicBezTo>
                    <a:pt x="92393" y="5715"/>
                    <a:pt x="98108" y="12383"/>
                    <a:pt x="103823" y="18098"/>
                  </a:cubicBezTo>
                  <a:cubicBezTo>
                    <a:pt x="109538" y="22860"/>
                    <a:pt x="115253" y="27623"/>
                    <a:pt x="120968" y="3333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nvGrpSpPr>
            <p:cNvPr id="28" name="Graphic 1">
              <a:extLst>
                <a:ext uri="{FF2B5EF4-FFF2-40B4-BE49-F238E27FC236}">
                  <a16:creationId xmlns:a16="http://schemas.microsoft.com/office/drawing/2014/main" id="{2444DA2E-D79C-450A-A6A3-3CF91ED45F21}"/>
                </a:ext>
              </a:extLst>
            </p:cNvPr>
            <p:cNvGrpSpPr/>
            <p:nvPr/>
          </p:nvGrpSpPr>
          <p:grpSpPr>
            <a:xfrm>
              <a:off x="8971174" y="2548890"/>
              <a:ext cx="715750" cy="716279"/>
              <a:chOff x="8971174" y="2548890"/>
              <a:chExt cx="715750" cy="716279"/>
            </a:xfrm>
            <a:grpFill/>
          </p:grpSpPr>
          <p:sp>
            <p:nvSpPr>
              <p:cNvPr id="29" name="Freeform: Shape 58">
                <a:extLst>
                  <a:ext uri="{FF2B5EF4-FFF2-40B4-BE49-F238E27FC236}">
                    <a16:creationId xmlns:a16="http://schemas.microsoft.com/office/drawing/2014/main" id="{3235401F-A0E7-40A4-8B65-381C5E391DD6}"/>
                  </a:ext>
                </a:extLst>
              </p:cNvPr>
              <p:cNvSpPr/>
              <p:nvPr/>
            </p:nvSpPr>
            <p:spPr>
              <a:xfrm>
                <a:off x="8971174" y="2548890"/>
                <a:ext cx="715750" cy="716279"/>
              </a:xfrm>
              <a:custGeom>
                <a:avLst/>
                <a:gdLst>
                  <a:gd name="connsiteX0" fmla="*/ 686223 w 715750"/>
                  <a:gd name="connsiteY0" fmla="*/ 3810 h 716279"/>
                  <a:gd name="connsiteX1" fmla="*/ 91863 w 715750"/>
                  <a:gd name="connsiteY1" fmla="*/ 180975 h 716279"/>
                  <a:gd name="connsiteX2" fmla="*/ 75670 w 715750"/>
                  <a:gd name="connsiteY2" fmla="*/ 606743 h 716279"/>
                  <a:gd name="connsiteX3" fmla="*/ 149965 w 715750"/>
                  <a:gd name="connsiteY3" fmla="*/ 532447 h 716279"/>
                  <a:gd name="connsiteX4" fmla="*/ 183303 w 715750"/>
                  <a:gd name="connsiteY4" fmla="*/ 565785 h 716279"/>
                  <a:gd name="connsiteX5" fmla="*/ 109008 w 715750"/>
                  <a:gd name="connsiteY5" fmla="*/ 640080 h 716279"/>
                  <a:gd name="connsiteX6" fmla="*/ 313795 w 715750"/>
                  <a:gd name="connsiteY6" fmla="*/ 716280 h 716279"/>
                  <a:gd name="connsiteX7" fmla="*/ 535728 w 715750"/>
                  <a:gd name="connsiteY7" fmla="*/ 624840 h 716279"/>
                  <a:gd name="connsiteX8" fmla="*/ 711940 w 715750"/>
                  <a:gd name="connsiteY8" fmla="*/ 30480 h 716279"/>
                  <a:gd name="connsiteX9" fmla="*/ 715750 w 715750"/>
                  <a:gd name="connsiteY9" fmla="*/ 0 h 716279"/>
                  <a:gd name="connsiteX10" fmla="*/ 686223 w 715750"/>
                  <a:gd name="connsiteY10" fmla="*/ 3810 h 716279"/>
                  <a:gd name="connsiteX11" fmla="*/ 390948 w 715750"/>
                  <a:gd name="connsiteY11" fmla="*/ 454342 h 716279"/>
                  <a:gd name="connsiteX12" fmla="*/ 303318 w 715750"/>
                  <a:gd name="connsiteY12" fmla="*/ 488632 h 716279"/>
                  <a:gd name="connsiteX13" fmla="*/ 215688 w 715750"/>
                  <a:gd name="connsiteY13" fmla="*/ 455295 h 716279"/>
                  <a:gd name="connsiteX14" fmla="*/ 183303 w 715750"/>
                  <a:gd name="connsiteY14" fmla="*/ 362902 h 716279"/>
                  <a:gd name="connsiteX15" fmla="*/ 194733 w 715750"/>
                  <a:gd name="connsiteY15" fmla="*/ 299085 h 716279"/>
                  <a:gd name="connsiteX16" fmla="*/ 217593 w 715750"/>
                  <a:gd name="connsiteY16" fmla="*/ 264795 h 716279"/>
                  <a:gd name="connsiteX17" fmla="*/ 249978 w 715750"/>
                  <a:gd name="connsiteY17" fmla="*/ 242888 h 716279"/>
                  <a:gd name="connsiteX18" fmla="*/ 303318 w 715750"/>
                  <a:gd name="connsiteY18" fmla="*/ 233363 h 716279"/>
                  <a:gd name="connsiteX19" fmla="*/ 390948 w 715750"/>
                  <a:gd name="connsiteY19" fmla="*/ 267652 h 716279"/>
                  <a:gd name="connsiteX20" fmla="*/ 424286 w 715750"/>
                  <a:gd name="connsiteY20" fmla="*/ 361950 h 716279"/>
                  <a:gd name="connsiteX21" fmla="*/ 390948 w 715750"/>
                  <a:gd name="connsiteY21" fmla="*/ 454342 h 716279"/>
                  <a:gd name="connsiteX22" fmla="*/ 500486 w 715750"/>
                  <a:gd name="connsiteY22" fmla="*/ 500063 h 716279"/>
                  <a:gd name="connsiteX23" fmla="*/ 500486 w 715750"/>
                  <a:gd name="connsiteY23" fmla="*/ 516255 h 716279"/>
                  <a:gd name="connsiteX24" fmla="*/ 439525 w 715750"/>
                  <a:gd name="connsiteY24" fmla="*/ 516255 h 716279"/>
                  <a:gd name="connsiteX25" fmla="*/ 445240 w 715750"/>
                  <a:gd name="connsiteY25" fmla="*/ 499110 h 716279"/>
                  <a:gd name="connsiteX26" fmla="*/ 465243 w 715750"/>
                  <a:gd name="connsiteY26" fmla="*/ 477202 h 716279"/>
                  <a:gd name="connsiteX27" fmla="*/ 479530 w 715750"/>
                  <a:gd name="connsiteY27" fmla="*/ 461963 h 716279"/>
                  <a:gd name="connsiteX28" fmla="*/ 483340 w 715750"/>
                  <a:gd name="connsiteY28" fmla="*/ 451485 h 716279"/>
                  <a:gd name="connsiteX29" fmla="*/ 480483 w 715750"/>
                  <a:gd name="connsiteY29" fmla="*/ 442913 h 716279"/>
                  <a:gd name="connsiteX30" fmla="*/ 471911 w 715750"/>
                  <a:gd name="connsiteY30" fmla="*/ 440055 h 716279"/>
                  <a:gd name="connsiteX31" fmla="*/ 463338 w 715750"/>
                  <a:gd name="connsiteY31" fmla="*/ 442913 h 716279"/>
                  <a:gd name="connsiteX32" fmla="*/ 459528 w 715750"/>
                  <a:gd name="connsiteY32" fmla="*/ 454342 h 716279"/>
                  <a:gd name="connsiteX33" fmla="*/ 442383 w 715750"/>
                  <a:gd name="connsiteY33" fmla="*/ 452438 h 716279"/>
                  <a:gd name="connsiteX34" fmla="*/ 451908 w 715750"/>
                  <a:gd name="connsiteY34" fmla="*/ 431482 h 716279"/>
                  <a:gd name="connsiteX35" fmla="*/ 472863 w 715750"/>
                  <a:gd name="connsiteY35" fmla="*/ 424815 h 716279"/>
                  <a:gd name="connsiteX36" fmla="*/ 493818 w 715750"/>
                  <a:gd name="connsiteY36" fmla="*/ 432435 h 716279"/>
                  <a:gd name="connsiteX37" fmla="*/ 501438 w 715750"/>
                  <a:gd name="connsiteY37" fmla="*/ 450532 h 716279"/>
                  <a:gd name="connsiteX38" fmla="*/ 499533 w 715750"/>
                  <a:gd name="connsiteY38" fmla="*/ 461963 h 716279"/>
                  <a:gd name="connsiteX39" fmla="*/ 492865 w 715750"/>
                  <a:gd name="connsiteY39" fmla="*/ 473392 h 716279"/>
                  <a:gd name="connsiteX40" fmla="*/ 481436 w 715750"/>
                  <a:gd name="connsiteY40" fmla="*/ 484822 h 716279"/>
                  <a:gd name="connsiteX41" fmla="*/ 470958 w 715750"/>
                  <a:gd name="connsiteY41" fmla="*/ 495300 h 716279"/>
                  <a:gd name="connsiteX42" fmla="*/ 467148 w 715750"/>
                  <a:gd name="connsiteY42" fmla="*/ 500063 h 716279"/>
                  <a:gd name="connsiteX43" fmla="*/ 500486 w 715750"/>
                  <a:gd name="connsiteY43" fmla="*/ 500063 h 716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715750" h="716279">
                    <a:moveTo>
                      <a:pt x="686223" y="3810"/>
                    </a:moveTo>
                    <a:cubicBezTo>
                      <a:pt x="667173" y="6667"/>
                      <a:pt x="209973" y="62865"/>
                      <a:pt x="91863" y="180975"/>
                    </a:cubicBezTo>
                    <a:cubicBezTo>
                      <a:pt x="-25295" y="297180"/>
                      <a:pt x="-30057" y="483870"/>
                      <a:pt x="75670" y="606743"/>
                    </a:cubicBezTo>
                    <a:lnTo>
                      <a:pt x="149965" y="532447"/>
                    </a:lnTo>
                    <a:lnTo>
                      <a:pt x="183303" y="565785"/>
                    </a:lnTo>
                    <a:lnTo>
                      <a:pt x="109008" y="640080"/>
                    </a:lnTo>
                    <a:cubicBezTo>
                      <a:pt x="168063" y="690563"/>
                      <a:pt x="240453" y="716280"/>
                      <a:pt x="313795" y="716280"/>
                    </a:cubicBezTo>
                    <a:cubicBezTo>
                      <a:pt x="393805" y="716280"/>
                      <a:pt x="474768" y="685800"/>
                      <a:pt x="535728" y="624840"/>
                    </a:cubicBezTo>
                    <a:cubicBezTo>
                      <a:pt x="653838" y="506730"/>
                      <a:pt x="710036" y="50482"/>
                      <a:pt x="711940" y="30480"/>
                    </a:cubicBezTo>
                    <a:lnTo>
                      <a:pt x="715750" y="0"/>
                    </a:lnTo>
                    <a:lnTo>
                      <a:pt x="686223" y="3810"/>
                    </a:lnTo>
                    <a:close/>
                    <a:moveTo>
                      <a:pt x="390948" y="454342"/>
                    </a:moveTo>
                    <a:cubicBezTo>
                      <a:pt x="369040" y="477202"/>
                      <a:pt x="340465" y="488632"/>
                      <a:pt x="303318" y="488632"/>
                    </a:cubicBezTo>
                    <a:cubicBezTo>
                      <a:pt x="266170" y="488632"/>
                      <a:pt x="237595" y="477202"/>
                      <a:pt x="215688" y="455295"/>
                    </a:cubicBezTo>
                    <a:cubicBezTo>
                      <a:pt x="193780" y="432435"/>
                      <a:pt x="183303" y="401955"/>
                      <a:pt x="183303" y="362902"/>
                    </a:cubicBezTo>
                    <a:cubicBezTo>
                      <a:pt x="183303" y="338138"/>
                      <a:pt x="187113" y="316230"/>
                      <a:pt x="194733" y="299085"/>
                    </a:cubicBezTo>
                    <a:cubicBezTo>
                      <a:pt x="200448" y="286702"/>
                      <a:pt x="208068" y="275272"/>
                      <a:pt x="217593" y="264795"/>
                    </a:cubicBezTo>
                    <a:cubicBezTo>
                      <a:pt x="227118" y="254317"/>
                      <a:pt x="237595" y="247650"/>
                      <a:pt x="249978" y="242888"/>
                    </a:cubicBezTo>
                    <a:cubicBezTo>
                      <a:pt x="265218" y="236220"/>
                      <a:pt x="283315" y="233363"/>
                      <a:pt x="303318" y="233363"/>
                    </a:cubicBezTo>
                    <a:cubicBezTo>
                      <a:pt x="339513" y="233363"/>
                      <a:pt x="369040" y="244792"/>
                      <a:pt x="390948" y="267652"/>
                    </a:cubicBezTo>
                    <a:cubicBezTo>
                      <a:pt x="412855" y="290513"/>
                      <a:pt x="424286" y="321945"/>
                      <a:pt x="424286" y="361950"/>
                    </a:cubicBezTo>
                    <a:cubicBezTo>
                      <a:pt x="423333" y="400050"/>
                      <a:pt x="412855" y="431482"/>
                      <a:pt x="390948" y="454342"/>
                    </a:cubicBezTo>
                    <a:close/>
                    <a:moveTo>
                      <a:pt x="500486" y="500063"/>
                    </a:moveTo>
                    <a:lnTo>
                      <a:pt x="500486" y="516255"/>
                    </a:lnTo>
                    <a:lnTo>
                      <a:pt x="439525" y="516255"/>
                    </a:lnTo>
                    <a:cubicBezTo>
                      <a:pt x="440478" y="510540"/>
                      <a:pt x="442383" y="503872"/>
                      <a:pt x="445240" y="499110"/>
                    </a:cubicBezTo>
                    <a:cubicBezTo>
                      <a:pt x="448098" y="493395"/>
                      <a:pt x="454765" y="486727"/>
                      <a:pt x="465243" y="477202"/>
                    </a:cubicBezTo>
                    <a:cubicBezTo>
                      <a:pt x="472863" y="469582"/>
                      <a:pt x="477625" y="464820"/>
                      <a:pt x="479530" y="461963"/>
                    </a:cubicBezTo>
                    <a:cubicBezTo>
                      <a:pt x="482388" y="458152"/>
                      <a:pt x="483340" y="454342"/>
                      <a:pt x="483340" y="451485"/>
                    </a:cubicBezTo>
                    <a:cubicBezTo>
                      <a:pt x="483340" y="447675"/>
                      <a:pt x="482388" y="444817"/>
                      <a:pt x="480483" y="442913"/>
                    </a:cubicBezTo>
                    <a:cubicBezTo>
                      <a:pt x="478578" y="441007"/>
                      <a:pt x="475720" y="440055"/>
                      <a:pt x="471911" y="440055"/>
                    </a:cubicBezTo>
                    <a:cubicBezTo>
                      <a:pt x="468100" y="440055"/>
                      <a:pt x="465243" y="441007"/>
                      <a:pt x="463338" y="442913"/>
                    </a:cubicBezTo>
                    <a:cubicBezTo>
                      <a:pt x="461433" y="444817"/>
                      <a:pt x="459528" y="448627"/>
                      <a:pt x="459528" y="454342"/>
                    </a:cubicBezTo>
                    <a:lnTo>
                      <a:pt x="442383" y="452438"/>
                    </a:lnTo>
                    <a:cubicBezTo>
                      <a:pt x="443336" y="442913"/>
                      <a:pt x="447145" y="436245"/>
                      <a:pt x="451908" y="431482"/>
                    </a:cubicBezTo>
                    <a:cubicBezTo>
                      <a:pt x="456670" y="426720"/>
                      <a:pt x="464290" y="424815"/>
                      <a:pt x="472863" y="424815"/>
                    </a:cubicBezTo>
                    <a:cubicBezTo>
                      <a:pt x="481436" y="424815"/>
                      <a:pt x="489055" y="427672"/>
                      <a:pt x="493818" y="432435"/>
                    </a:cubicBezTo>
                    <a:cubicBezTo>
                      <a:pt x="498580" y="437197"/>
                      <a:pt x="501438" y="442913"/>
                      <a:pt x="501438" y="450532"/>
                    </a:cubicBezTo>
                    <a:cubicBezTo>
                      <a:pt x="501438" y="454342"/>
                      <a:pt x="500486" y="458152"/>
                      <a:pt x="499533" y="461963"/>
                    </a:cubicBezTo>
                    <a:cubicBezTo>
                      <a:pt x="497628" y="465772"/>
                      <a:pt x="495723" y="469582"/>
                      <a:pt x="492865" y="473392"/>
                    </a:cubicBezTo>
                    <a:cubicBezTo>
                      <a:pt x="490961" y="476250"/>
                      <a:pt x="487150" y="480060"/>
                      <a:pt x="481436" y="484822"/>
                    </a:cubicBezTo>
                    <a:cubicBezTo>
                      <a:pt x="475720" y="489585"/>
                      <a:pt x="472863" y="493395"/>
                      <a:pt x="470958" y="495300"/>
                    </a:cubicBezTo>
                    <a:cubicBezTo>
                      <a:pt x="469053" y="497205"/>
                      <a:pt x="468100" y="498157"/>
                      <a:pt x="467148" y="500063"/>
                    </a:cubicBezTo>
                    <a:lnTo>
                      <a:pt x="500486" y="500063"/>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0" name="Freeform: Shape 59">
                <a:extLst>
                  <a:ext uri="{FF2B5EF4-FFF2-40B4-BE49-F238E27FC236}">
                    <a16:creationId xmlns:a16="http://schemas.microsoft.com/office/drawing/2014/main" id="{8CA55E35-EF10-456F-BE7D-B285909AC472}"/>
                  </a:ext>
                </a:extLst>
              </p:cNvPr>
              <p:cNvSpPr/>
              <p:nvPr/>
            </p:nvSpPr>
            <p:spPr>
              <a:xfrm>
                <a:off x="9205912" y="2824162"/>
                <a:ext cx="137160" cy="170497"/>
              </a:xfrm>
              <a:custGeom>
                <a:avLst/>
                <a:gdLst>
                  <a:gd name="connsiteX0" fmla="*/ 68580 w 137160"/>
                  <a:gd name="connsiteY0" fmla="*/ 0 h 170497"/>
                  <a:gd name="connsiteX1" fmla="*/ 19050 w 137160"/>
                  <a:gd name="connsiteY1" fmla="*/ 20955 h 170497"/>
                  <a:gd name="connsiteX2" fmla="*/ 0 w 137160"/>
                  <a:gd name="connsiteY2" fmla="*/ 84772 h 170497"/>
                  <a:gd name="connsiteX3" fmla="*/ 19050 w 137160"/>
                  <a:gd name="connsiteY3" fmla="*/ 148590 h 170497"/>
                  <a:gd name="connsiteX4" fmla="*/ 68580 w 137160"/>
                  <a:gd name="connsiteY4" fmla="*/ 170497 h 170497"/>
                  <a:gd name="connsiteX5" fmla="*/ 118110 w 137160"/>
                  <a:gd name="connsiteY5" fmla="*/ 148590 h 170497"/>
                  <a:gd name="connsiteX6" fmla="*/ 137160 w 137160"/>
                  <a:gd name="connsiteY6" fmla="*/ 83820 h 170497"/>
                  <a:gd name="connsiteX7" fmla="*/ 118110 w 137160"/>
                  <a:gd name="connsiteY7" fmla="*/ 20003 h 170497"/>
                  <a:gd name="connsiteX8" fmla="*/ 68580 w 137160"/>
                  <a:gd name="connsiteY8" fmla="*/ 0 h 1704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7160" h="170497">
                    <a:moveTo>
                      <a:pt x="68580" y="0"/>
                    </a:moveTo>
                    <a:cubicBezTo>
                      <a:pt x="47625" y="0"/>
                      <a:pt x="31432" y="6667"/>
                      <a:pt x="19050" y="20955"/>
                    </a:cubicBezTo>
                    <a:cubicBezTo>
                      <a:pt x="6668" y="35242"/>
                      <a:pt x="0" y="56197"/>
                      <a:pt x="0" y="84772"/>
                    </a:cubicBezTo>
                    <a:cubicBezTo>
                      <a:pt x="0" y="112395"/>
                      <a:pt x="6668" y="134303"/>
                      <a:pt x="19050" y="148590"/>
                    </a:cubicBezTo>
                    <a:cubicBezTo>
                      <a:pt x="32385" y="162878"/>
                      <a:pt x="48577" y="170497"/>
                      <a:pt x="68580" y="170497"/>
                    </a:cubicBezTo>
                    <a:cubicBezTo>
                      <a:pt x="88582" y="170497"/>
                      <a:pt x="104775" y="162878"/>
                      <a:pt x="118110" y="148590"/>
                    </a:cubicBezTo>
                    <a:cubicBezTo>
                      <a:pt x="130493" y="134303"/>
                      <a:pt x="137160" y="112395"/>
                      <a:pt x="137160" y="83820"/>
                    </a:cubicBezTo>
                    <a:cubicBezTo>
                      <a:pt x="137160" y="55245"/>
                      <a:pt x="130493" y="34290"/>
                      <a:pt x="118110" y="20003"/>
                    </a:cubicBezTo>
                    <a:cubicBezTo>
                      <a:pt x="105727" y="6667"/>
                      <a:pt x="89535" y="0"/>
                      <a:pt x="68580" y="0"/>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grpSp>
      <p:sp>
        <p:nvSpPr>
          <p:cNvPr id="31" name="Freeform: Shape 60">
            <a:extLst>
              <a:ext uri="{FF2B5EF4-FFF2-40B4-BE49-F238E27FC236}">
                <a16:creationId xmlns:a16="http://schemas.microsoft.com/office/drawing/2014/main" id="{A3902F51-B998-45BD-AE36-859975C8E7FF}"/>
              </a:ext>
            </a:extLst>
          </p:cNvPr>
          <p:cNvSpPr/>
          <p:nvPr/>
        </p:nvSpPr>
        <p:spPr>
          <a:xfrm>
            <a:off x="5891213" y="-356417"/>
            <a:ext cx="735047" cy="7259726"/>
          </a:xfrm>
          <a:custGeom>
            <a:avLst/>
            <a:gdLst>
              <a:gd name="connsiteX0" fmla="*/ 209070 w 735047"/>
              <a:gd name="connsiteY0" fmla="*/ 0 h 7259726"/>
              <a:gd name="connsiteX1" fmla="*/ 465538 w 735047"/>
              <a:gd name="connsiteY1" fmla="*/ 0 h 7259726"/>
              <a:gd name="connsiteX2" fmla="*/ 465532 w 735047"/>
              <a:gd name="connsiteY2" fmla="*/ 8552 h 7259726"/>
              <a:gd name="connsiteX3" fmla="*/ 465809 w 735047"/>
              <a:gd name="connsiteY3" fmla="*/ 295974 h 7259726"/>
              <a:gd name="connsiteX4" fmla="*/ 466217 w 735047"/>
              <a:gd name="connsiteY4" fmla="*/ 295974 h 7259726"/>
              <a:gd name="connsiteX5" fmla="*/ 466217 w 735047"/>
              <a:gd name="connsiteY5" fmla="*/ 294503 h 7259726"/>
              <a:gd name="connsiteX6" fmla="*/ 544645 w 735047"/>
              <a:gd name="connsiteY6" fmla="*/ 4837487 h 7259726"/>
              <a:gd name="connsiteX7" fmla="*/ 734908 w 735047"/>
              <a:gd name="connsiteY7" fmla="*/ 7259726 h 7259726"/>
              <a:gd name="connsiteX8" fmla="*/ 0 w 735047"/>
              <a:gd name="connsiteY8" fmla="*/ 7259726 h 7259726"/>
              <a:gd name="connsiteX9" fmla="*/ 171382 w 735047"/>
              <a:gd name="connsiteY9" fmla="*/ 5653724 h 7259726"/>
              <a:gd name="connsiteX10" fmla="*/ 201881 w 735047"/>
              <a:gd name="connsiteY10" fmla="*/ 295974 h 7259726"/>
              <a:gd name="connsiteX11" fmla="*/ 206999 w 735047"/>
              <a:gd name="connsiteY11" fmla="*/ 295974 h 7259726"/>
              <a:gd name="connsiteX12" fmla="*/ 208169 w 735047"/>
              <a:gd name="connsiteY12" fmla="*/ 128630 h 7259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35047" h="7259726">
                <a:moveTo>
                  <a:pt x="209070" y="0"/>
                </a:moveTo>
                <a:lnTo>
                  <a:pt x="465538" y="0"/>
                </a:lnTo>
                <a:lnTo>
                  <a:pt x="465532" y="8552"/>
                </a:lnTo>
                <a:lnTo>
                  <a:pt x="465809" y="295974"/>
                </a:lnTo>
                <a:lnTo>
                  <a:pt x="466217" y="295974"/>
                </a:lnTo>
                <a:lnTo>
                  <a:pt x="466217" y="294503"/>
                </a:lnTo>
                <a:cubicBezTo>
                  <a:pt x="470574" y="2109344"/>
                  <a:pt x="493812" y="3938892"/>
                  <a:pt x="544645" y="4837487"/>
                </a:cubicBezTo>
                <a:cubicBezTo>
                  <a:pt x="563527" y="5177219"/>
                  <a:pt x="740718" y="7252373"/>
                  <a:pt x="734908" y="7259726"/>
                </a:cubicBezTo>
                <a:lnTo>
                  <a:pt x="0" y="7259726"/>
                </a:lnTo>
                <a:cubicBezTo>
                  <a:pt x="66810" y="7062653"/>
                  <a:pt x="171382" y="5877271"/>
                  <a:pt x="171382" y="5653724"/>
                </a:cubicBezTo>
                <a:cubicBezTo>
                  <a:pt x="171382" y="4019780"/>
                  <a:pt x="187358" y="2149052"/>
                  <a:pt x="201881" y="295974"/>
                </a:cubicBezTo>
                <a:lnTo>
                  <a:pt x="206999" y="295974"/>
                </a:lnTo>
                <a:lnTo>
                  <a:pt x="208169" y="128630"/>
                </a:lnTo>
                <a:close/>
              </a:path>
            </a:pathLst>
          </a:custGeom>
          <a:solidFill>
            <a:srgbClr val="965F2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FFFFFF"/>
              </a:solidFill>
              <a:effectLst/>
              <a:uLnTx/>
              <a:uFillTx/>
              <a:latin typeface="等线" panose="020F0502020204030204"/>
              <a:ea typeface="+mn-ea"/>
              <a:cs typeface="+mn-cs"/>
            </a:endParaRPr>
          </a:p>
        </p:txBody>
      </p:sp>
      <p:sp>
        <p:nvSpPr>
          <p:cNvPr id="32" name="TextBox 84">
            <a:extLst>
              <a:ext uri="{FF2B5EF4-FFF2-40B4-BE49-F238E27FC236}">
                <a16:creationId xmlns:a16="http://schemas.microsoft.com/office/drawing/2014/main" id="{8CD02FE4-D51A-4676-A012-36E9A5C8CECF}"/>
              </a:ext>
            </a:extLst>
          </p:cNvPr>
          <p:cNvSpPr txBox="1"/>
          <p:nvPr/>
        </p:nvSpPr>
        <p:spPr>
          <a:xfrm>
            <a:off x="7774564" y="3936199"/>
            <a:ext cx="2323854" cy="894156"/>
          </a:xfrm>
          <a:prstGeom prst="rect">
            <a:avLst/>
          </a:prstGeom>
          <a:noFill/>
        </p:spPr>
        <p:txBody>
          <a:bodyPr wrap="square" rtlCol="0">
            <a:sp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0F0F0"/>
                </a:solidFill>
                <a:effectLst/>
                <a:uLnTx/>
                <a:uFillTx/>
                <a:latin typeface="等线" panose="020F0502020204030204"/>
                <a:ea typeface="Times New Roman" panose="02020603050405020304" pitchFamily="18" charset="0"/>
                <a:cs typeface="Raleway" panose="020B0503030101060003" pitchFamily="34" charset="0"/>
              </a:rPr>
              <a:t>Lorem ipsum dolor sit amet, consectetur adipiscing elit. Aenean sit amet</a:t>
            </a:r>
            <a:endParaRPr kumimoji="0" lang="en-US" altLang="en-US" sz="1200" b="0" i="0" u="none" strike="noStrike" kern="1200" cap="none" spc="0" normalizeH="0" baseline="0" noProof="0">
              <a:ln>
                <a:noFill/>
              </a:ln>
              <a:solidFill>
                <a:srgbClr val="F0F0F0"/>
              </a:solidFill>
              <a:effectLst/>
              <a:uLnTx/>
              <a:uFillTx/>
              <a:latin typeface="等线" panose="020F0502020204030204"/>
              <a:ea typeface="Raleway"/>
              <a:cs typeface="Raleway"/>
            </a:endParaRPr>
          </a:p>
        </p:txBody>
      </p:sp>
      <p:sp>
        <p:nvSpPr>
          <p:cNvPr id="33" name="TextBox 85">
            <a:extLst>
              <a:ext uri="{FF2B5EF4-FFF2-40B4-BE49-F238E27FC236}">
                <a16:creationId xmlns:a16="http://schemas.microsoft.com/office/drawing/2014/main" id="{3DE3C72E-70D5-48CE-8DDC-01FBEC0FC0CF}"/>
              </a:ext>
            </a:extLst>
          </p:cNvPr>
          <p:cNvSpPr txBox="1"/>
          <p:nvPr/>
        </p:nvSpPr>
        <p:spPr>
          <a:xfrm>
            <a:off x="8235518" y="3652783"/>
            <a:ext cx="1401946" cy="33855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F0F0F0"/>
                </a:solidFill>
                <a:effectLst/>
                <a:uLnTx/>
                <a:uFillTx/>
                <a:latin typeface="等线 Light" panose="020F0302020204030204"/>
                <a:ea typeface="+mn-ea"/>
                <a:cs typeface="+mn-cs"/>
              </a:rPr>
              <a:t>Description</a:t>
            </a:r>
          </a:p>
        </p:txBody>
      </p:sp>
      <p:sp>
        <p:nvSpPr>
          <p:cNvPr id="34" name="TextBox 93">
            <a:extLst>
              <a:ext uri="{FF2B5EF4-FFF2-40B4-BE49-F238E27FC236}">
                <a16:creationId xmlns:a16="http://schemas.microsoft.com/office/drawing/2014/main" id="{EDFAF3E4-7EE3-4706-82EA-8C280D8C7186}"/>
              </a:ext>
            </a:extLst>
          </p:cNvPr>
          <p:cNvSpPr txBox="1"/>
          <p:nvPr/>
        </p:nvSpPr>
        <p:spPr>
          <a:xfrm>
            <a:off x="7322754" y="1335118"/>
            <a:ext cx="2932518" cy="894156"/>
          </a:xfrm>
          <a:prstGeom prst="rect">
            <a:avLst/>
          </a:prstGeom>
          <a:noFill/>
        </p:spPr>
        <p:txBody>
          <a:bodyPr wrap="square" rtlCol="0">
            <a:sp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0F0F0"/>
                </a:solidFill>
                <a:effectLst/>
                <a:uLnTx/>
                <a:uFillTx/>
                <a:latin typeface="等线" panose="020F0502020204030204"/>
                <a:ea typeface="Times New Roman" panose="02020603050405020304" pitchFamily="18" charset="0"/>
                <a:cs typeface="Raleway" panose="020B0503030101060003" pitchFamily="34" charset="0"/>
              </a:rPr>
              <a:t>Lorem ipsum dolor sit amet, consectetur adipiscing elit. Aenean sit amet ultrices sem. Donec non elit eu tellus lacinia</a:t>
            </a:r>
            <a:endParaRPr kumimoji="0" lang="en-US" altLang="en-US" sz="1200" b="0" i="0" u="none" strike="noStrike" kern="1200" cap="none" spc="0" normalizeH="0" baseline="0" noProof="0">
              <a:ln>
                <a:noFill/>
              </a:ln>
              <a:solidFill>
                <a:srgbClr val="F0F0F0"/>
              </a:solidFill>
              <a:effectLst/>
              <a:uLnTx/>
              <a:uFillTx/>
              <a:latin typeface="等线" panose="020F0502020204030204"/>
              <a:ea typeface="Raleway"/>
              <a:cs typeface="Raleway"/>
            </a:endParaRPr>
          </a:p>
        </p:txBody>
      </p:sp>
      <p:sp>
        <p:nvSpPr>
          <p:cNvPr id="35" name="TextBox 94">
            <a:extLst>
              <a:ext uri="{FF2B5EF4-FFF2-40B4-BE49-F238E27FC236}">
                <a16:creationId xmlns:a16="http://schemas.microsoft.com/office/drawing/2014/main" id="{A7127105-E4F0-4FD7-9A57-EC489359A0C8}"/>
              </a:ext>
            </a:extLst>
          </p:cNvPr>
          <p:cNvSpPr txBox="1"/>
          <p:nvPr/>
        </p:nvSpPr>
        <p:spPr>
          <a:xfrm>
            <a:off x="8088040" y="1051702"/>
            <a:ext cx="1401946" cy="33855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F0F0F0"/>
                </a:solidFill>
                <a:effectLst/>
                <a:uLnTx/>
                <a:uFillTx/>
                <a:latin typeface="等线 Light" panose="020F0302020204030204"/>
                <a:ea typeface="+mn-ea"/>
                <a:cs typeface="+mn-cs"/>
              </a:rPr>
              <a:t>Description</a:t>
            </a:r>
          </a:p>
        </p:txBody>
      </p:sp>
      <p:sp>
        <p:nvSpPr>
          <p:cNvPr id="36" name="TextBox 97">
            <a:extLst>
              <a:ext uri="{FF2B5EF4-FFF2-40B4-BE49-F238E27FC236}">
                <a16:creationId xmlns:a16="http://schemas.microsoft.com/office/drawing/2014/main" id="{D5D241EA-8493-4AA4-9722-C302843F8BA4}"/>
              </a:ext>
            </a:extLst>
          </p:cNvPr>
          <p:cNvSpPr txBox="1"/>
          <p:nvPr/>
        </p:nvSpPr>
        <p:spPr>
          <a:xfrm>
            <a:off x="2288169" y="1681254"/>
            <a:ext cx="2323854" cy="894156"/>
          </a:xfrm>
          <a:prstGeom prst="rect">
            <a:avLst/>
          </a:prstGeom>
          <a:noFill/>
        </p:spPr>
        <p:txBody>
          <a:bodyPr wrap="square" rtlCol="0">
            <a:sp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0F0F0"/>
                </a:solidFill>
                <a:effectLst/>
                <a:uLnTx/>
                <a:uFillTx/>
                <a:latin typeface="等线" panose="020F0502020204030204"/>
                <a:ea typeface="Times New Roman" panose="02020603050405020304" pitchFamily="18" charset="0"/>
                <a:cs typeface="Raleway" panose="020B0503030101060003" pitchFamily="34" charset="0"/>
              </a:rPr>
              <a:t>Lorem ipsum dolor sit amet, consectetur adipiscing elit. Aenean sit amet</a:t>
            </a:r>
            <a:endParaRPr kumimoji="0" lang="en-US" altLang="en-US" sz="1200" b="0" i="0" u="none" strike="noStrike" kern="1200" cap="none" spc="0" normalizeH="0" baseline="0" noProof="0">
              <a:ln>
                <a:noFill/>
              </a:ln>
              <a:solidFill>
                <a:srgbClr val="F0F0F0"/>
              </a:solidFill>
              <a:effectLst/>
              <a:uLnTx/>
              <a:uFillTx/>
              <a:latin typeface="等线" panose="020F0502020204030204"/>
              <a:ea typeface="Raleway"/>
              <a:cs typeface="Raleway"/>
            </a:endParaRPr>
          </a:p>
        </p:txBody>
      </p:sp>
      <p:sp>
        <p:nvSpPr>
          <p:cNvPr id="37" name="TextBox 98">
            <a:extLst>
              <a:ext uri="{FF2B5EF4-FFF2-40B4-BE49-F238E27FC236}">
                <a16:creationId xmlns:a16="http://schemas.microsoft.com/office/drawing/2014/main" id="{73E65014-73CF-4133-910F-C320B0D589B1}"/>
              </a:ext>
            </a:extLst>
          </p:cNvPr>
          <p:cNvSpPr txBox="1"/>
          <p:nvPr/>
        </p:nvSpPr>
        <p:spPr>
          <a:xfrm>
            <a:off x="2749123" y="1397838"/>
            <a:ext cx="1401946" cy="33855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F0F0F0"/>
                </a:solidFill>
                <a:effectLst/>
                <a:uLnTx/>
                <a:uFillTx/>
                <a:latin typeface="等线 Light" panose="020F0302020204030204"/>
                <a:ea typeface="+mn-ea"/>
                <a:cs typeface="+mn-cs"/>
              </a:rPr>
              <a:t>Description</a:t>
            </a:r>
          </a:p>
        </p:txBody>
      </p:sp>
      <p:sp>
        <p:nvSpPr>
          <p:cNvPr id="38" name="TextBox 99">
            <a:extLst>
              <a:ext uri="{FF2B5EF4-FFF2-40B4-BE49-F238E27FC236}">
                <a16:creationId xmlns:a16="http://schemas.microsoft.com/office/drawing/2014/main" id="{4154AE1C-9D3F-480D-BE61-9D314B505FDB}"/>
              </a:ext>
            </a:extLst>
          </p:cNvPr>
          <p:cNvSpPr txBox="1"/>
          <p:nvPr/>
        </p:nvSpPr>
        <p:spPr>
          <a:xfrm>
            <a:off x="2199322" y="4304812"/>
            <a:ext cx="2796424" cy="894156"/>
          </a:xfrm>
          <a:prstGeom prst="rect">
            <a:avLst/>
          </a:prstGeom>
          <a:noFill/>
        </p:spPr>
        <p:txBody>
          <a:bodyPr wrap="square" rtlCol="0">
            <a:sp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0F0F0"/>
                </a:solidFill>
                <a:effectLst/>
                <a:uLnTx/>
                <a:uFillTx/>
                <a:latin typeface="等线" panose="020F0502020204030204"/>
                <a:ea typeface="Times New Roman" panose="02020603050405020304" pitchFamily="18" charset="0"/>
                <a:cs typeface="Raleway" panose="020B0503030101060003" pitchFamily="34" charset="0"/>
              </a:rPr>
              <a:t>Lorem ipsum dolor sit amet, consectetur adipiscing elit. Aenean sit amet ultrices sem. Donec non elit eu tellus lacinia</a:t>
            </a:r>
            <a:endParaRPr kumimoji="0" lang="en-US" altLang="en-US" sz="1200" b="0" i="0" u="none" strike="noStrike" kern="1200" cap="none" spc="0" normalizeH="0" baseline="0" noProof="0">
              <a:ln>
                <a:noFill/>
              </a:ln>
              <a:solidFill>
                <a:srgbClr val="F0F0F0"/>
              </a:solidFill>
              <a:effectLst/>
              <a:uLnTx/>
              <a:uFillTx/>
              <a:latin typeface="等线" panose="020F0502020204030204"/>
              <a:ea typeface="Raleway"/>
              <a:cs typeface="Raleway"/>
            </a:endParaRPr>
          </a:p>
        </p:txBody>
      </p:sp>
      <p:sp>
        <p:nvSpPr>
          <p:cNvPr id="39" name="TextBox 100">
            <a:extLst>
              <a:ext uri="{FF2B5EF4-FFF2-40B4-BE49-F238E27FC236}">
                <a16:creationId xmlns:a16="http://schemas.microsoft.com/office/drawing/2014/main" id="{BE2B576E-B18E-47FA-AADD-4D9AA6C08F01}"/>
              </a:ext>
            </a:extLst>
          </p:cNvPr>
          <p:cNvSpPr txBox="1"/>
          <p:nvPr/>
        </p:nvSpPr>
        <p:spPr>
          <a:xfrm>
            <a:off x="2896561" y="4021396"/>
            <a:ext cx="1401946" cy="33855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F0F0F0"/>
                </a:solidFill>
                <a:effectLst/>
                <a:uLnTx/>
                <a:uFillTx/>
                <a:latin typeface="等线 Light" panose="020F0302020204030204"/>
                <a:ea typeface="+mn-ea"/>
                <a:cs typeface="+mn-cs"/>
              </a:rPr>
              <a:t>Description</a:t>
            </a:r>
          </a:p>
        </p:txBody>
      </p:sp>
    </p:spTree>
    <p:extLst>
      <p:ext uri="{BB962C8B-B14F-4D97-AF65-F5344CB8AC3E}">
        <p14:creationId xmlns:p14="http://schemas.microsoft.com/office/powerpoint/2010/main" val="1540789620"/>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afterEffect">
                                  <p:stCondLst>
                                    <p:cond delay="0"/>
                                  </p:stCondLst>
                                  <p:childTnLst>
                                    <p:set>
                                      <p:cBhvr>
                                        <p:cTn id="6" dur="1" fill="hold">
                                          <p:stCondLst>
                                            <p:cond delay="0"/>
                                          </p:stCondLst>
                                        </p:cTn>
                                        <p:tgtEl>
                                          <p:spTgt spid="31"/>
                                        </p:tgtEl>
                                        <p:attrNameLst>
                                          <p:attrName>style.visibility</p:attrName>
                                        </p:attrNameLst>
                                      </p:cBhvr>
                                      <p:to>
                                        <p:strVal val="visible"/>
                                      </p:to>
                                    </p:set>
                                    <p:animEffect transition="in" filter="wipe(down)">
                                      <p:cBhvr>
                                        <p:cTn id="7" dur="500"/>
                                        <p:tgtEl>
                                          <p:spTgt spid="31"/>
                                        </p:tgtEl>
                                      </p:cBhvr>
                                    </p:animEffect>
                                  </p:childTnLst>
                                </p:cTn>
                              </p:par>
                            </p:childTnLst>
                          </p:cTn>
                        </p:par>
                        <p:par>
                          <p:cTn id="8" fill="hold">
                            <p:stCondLst>
                              <p:cond delay="500"/>
                            </p:stCondLst>
                            <p:childTnLst>
                              <p:par>
                                <p:cTn id="9" presetID="22" presetClass="entr" presetSubtype="2" fill="hold" grpId="0" nodeType="afterEffect">
                                  <p:stCondLst>
                                    <p:cond delay="0"/>
                                  </p:stCondLst>
                                  <p:childTnLst>
                                    <p:set>
                                      <p:cBhvr>
                                        <p:cTn id="10" dur="1" fill="hold">
                                          <p:stCondLst>
                                            <p:cond delay="0"/>
                                          </p:stCondLst>
                                        </p:cTn>
                                        <p:tgtEl>
                                          <p:spTgt spid="4"/>
                                        </p:tgtEl>
                                        <p:attrNameLst>
                                          <p:attrName>style.visibility</p:attrName>
                                        </p:attrNameLst>
                                      </p:cBhvr>
                                      <p:to>
                                        <p:strVal val="visible"/>
                                      </p:to>
                                    </p:set>
                                    <p:animEffect transition="in" filter="wipe(right)">
                                      <p:cBhvr>
                                        <p:cTn id="11" dur="500"/>
                                        <p:tgtEl>
                                          <p:spTgt spid="4"/>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fade">
                                      <p:cBhvr>
                                        <p:cTn id="15" dur="500"/>
                                        <p:tgtEl>
                                          <p:spTgt spid="5"/>
                                        </p:tgtEl>
                                      </p:cBhvr>
                                    </p:animEffect>
                                  </p:childTnLst>
                                </p:cTn>
                              </p:par>
                              <p:par>
                                <p:cTn id="16" presetID="10" presetClass="entr" presetSubtype="0" fill="hold" nodeType="withEffect">
                                  <p:stCondLst>
                                    <p:cond delay="0"/>
                                  </p:stCondLst>
                                  <p:childTnLst>
                                    <p:set>
                                      <p:cBhvr>
                                        <p:cTn id="17" dur="1" fill="hold">
                                          <p:stCondLst>
                                            <p:cond delay="0"/>
                                          </p:stCondLst>
                                        </p:cTn>
                                        <p:tgtEl>
                                          <p:spTgt spid="21"/>
                                        </p:tgtEl>
                                        <p:attrNameLst>
                                          <p:attrName>style.visibility</p:attrName>
                                        </p:attrNameLst>
                                      </p:cBhvr>
                                      <p:to>
                                        <p:strVal val="visible"/>
                                      </p:to>
                                    </p:set>
                                    <p:animEffect transition="in" filter="fade">
                                      <p:cBhvr>
                                        <p:cTn id="18" dur="500"/>
                                        <p:tgtEl>
                                          <p:spTgt spid="21"/>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39"/>
                                        </p:tgtEl>
                                        <p:attrNameLst>
                                          <p:attrName>style.visibility</p:attrName>
                                        </p:attrNameLst>
                                      </p:cBhvr>
                                      <p:to>
                                        <p:strVal val="visible"/>
                                      </p:to>
                                    </p:set>
                                    <p:animEffect transition="in" filter="fade">
                                      <p:cBhvr>
                                        <p:cTn id="21" dur="500"/>
                                        <p:tgtEl>
                                          <p:spTgt spid="39"/>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38"/>
                                        </p:tgtEl>
                                        <p:attrNameLst>
                                          <p:attrName>style.visibility</p:attrName>
                                        </p:attrNameLst>
                                      </p:cBhvr>
                                      <p:to>
                                        <p:strVal val="visible"/>
                                      </p:to>
                                    </p:set>
                                    <p:animEffect transition="in" filter="fade">
                                      <p:cBhvr>
                                        <p:cTn id="24" dur="500"/>
                                        <p:tgtEl>
                                          <p:spTgt spid="38"/>
                                        </p:tgtEl>
                                      </p:cBhvr>
                                    </p:animEffect>
                                  </p:childTnLst>
                                </p:cTn>
                              </p:par>
                            </p:childTnLst>
                          </p:cTn>
                        </p:par>
                        <p:par>
                          <p:cTn id="25" fill="hold">
                            <p:stCondLst>
                              <p:cond delay="1500"/>
                            </p:stCondLst>
                            <p:childTnLst>
                              <p:par>
                                <p:cTn id="26" presetID="22" presetClass="entr" presetSubtype="8" fill="hold" grpId="0" nodeType="afterEffect">
                                  <p:stCondLst>
                                    <p:cond delay="0"/>
                                  </p:stCondLst>
                                  <p:childTnLst>
                                    <p:set>
                                      <p:cBhvr>
                                        <p:cTn id="27" dur="1" fill="hold">
                                          <p:stCondLst>
                                            <p:cond delay="0"/>
                                          </p:stCondLst>
                                        </p:cTn>
                                        <p:tgtEl>
                                          <p:spTgt spid="8"/>
                                        </p:tgtEl>
                                        <p:attrNameLst>
                                          <p:attrName>style.visibility</p:attrName>
                                        </p:attrNameLst>
                                      </p:cBhvr>
                                      <p:to>
                                        <p:strVal val="visible"/>
                                      </p:to>
                                    </p:set>
                                    <p:animEffect transition="in" filter="wipe(left)">
                                      <p:cBhvr>
                                        <p:cTn id="28" dur="500"/>
                                        <p:tgtEl>
                                          <p:spTgt spid="8"/>
                                        </p:tgtEl>
                                      </p:cBhvr>
                                    </p:animEffect>
                                  </p:childTnLst>
                                </p:cTn>
                              </p:par>
                            </p:childTnLst>
                          </p:cTn>
                        </p:par>
                        <p:par>
                          <p:cTn id="29" fill="hold">
                            <p:stCondLst>
                              <p:cond delay="2000"/>
                            </p:stCondLst>
                            <p:childTnLst>
                              <p:par>
                                <p:cTn id="30" presetID="10" presetClass="entr" presetSubtype="0" fill="hold" grpId="0" nodeType="afterEffect">
                                  <p:stCondLst>
                                    <p:cond delay="0"/>
                                  </p:stCondLst>
                                  <p:childTnLst>
                                    <p:set>
                                      <p:cBhvr>
                                        <p:cTn id="31" dur="1" fill="hold">
                                          <p:stCondLst>
                                            <p:cond delay="0"/>
                                          </p:stCondLst>
                                        </p:cTn>
                                        <p:tgtEl>
                                          <p:spTgt spid="9"/>
                                        </p:tgtEl>
                                        <p:attrNameLst>
                                          <p:attrName>style.visibility</p:attrName>
                                        </p:attrNameLst>
                                      </p:cBhvr>
                                      <p:to>
                                        <p:strVal val="visible"/>
                                      </p:to>
                                    </p:set>
                                    <p:animEffect transition="in" filter="fade">
                                      <p:cBhvr>
                                        <p:cTn id="32" dur="500"/>
                                        <p:tgtEl>
                                          <p:spTgt spid="9"/>
                                        </p:tgtEl>
                                      </p:cBhvr>
                                    </p:animEffect>
                                  </p:childTnLst>
                                </p:cTn>
                              </p:par>
                              <p:par>
                                <p:cTn id="33" presetID="10" presetClass="entr" presetSubtype="0" fill="hold" nodeType="withEffect">
                                  <p:stCondLst>
                                    <p:cond delay="0"/>
                                  </p:stCondLst>
                                  <p:childTnLst>
                                    <p:set>
                                      <p:cBhvr>
                                        <p:cTn id="34" dur="1" fill="hold">
                                          <p:stCondLst>
                                            <p:cond delay="0"/>
                                          </p:stCondLst>
                                        </p:cTn>
                                        <p:tgtEl>
                                          <p:spTgt spid="26"/>
                                        </p:tgtEl>
                                        <p:attrNameLst>
                                          <p:attrName>style.visibility</p:attrName>
                                        </p:attrNameLst>
                                      </p:cBhvr>
                                      <p:to>
                                        <p:strVal val="visible"/>
                                      </p:to>
                                    </p:set>
                                    <p:animEffect transition="in" filter="fade">
                                      <p:cBhvr>
                                        <p:cTn id="35" dur="500"/>
                                        <p:tgtEl>
                                          <p:spTgt spid="26"/>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33"/>
                                        </p:tgtEl>
                                        <p:attrNameLst>
                                          <p:attrName>style.visibility</p:attrName>
                                        </p:attrNameLst>
                                      </p:cBhvr>
                                      <p:to>
                                        <p:strVal val="visible"/>
                                      </p:to>
                                    </p:set>
                                    <p:animEffect transition="in" filter="fade">
                                      <p:cBhvr>
                                        <p:cTn id="38" dur="500"/>
                                        <p:tgtEl>
                                          <p:spTgt spid="33"/>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32"/>
                                        </p:tgtEl>
                                        <p:attrNameLst>
                                          <p:attrName>style.visibility</p:attrName>
                                        </p:attrNameLst>
                                      </p:cBhvr>
                                      <p:to>
                                        <p:strVal val="visible"/>
                                      </p:to>
                                    </p:set>
                                    <p:animEffect transition="in" filter="fade">
                                      <p:cBhvr>
                                        <p:cTn id="41" dur="500"/>
                                        <p:tgtEl>
                                          <p:spTgt spid="32"/>
                                        </p:tgtEl>
                                      </p:cBhvr>
                                    </p:animEffect>
                                  </p:childTnLst>
                                </p:cTn>
                              </p:par>
                            </p:childTnLst>
                          </p:cTn>
                        </p:par>
                        <p:par>
                          <p:cTn id="42" fill="hold">
                            <p:stCondLst>
                              <p:cond delay="2500"/>
                            </p:stCondLst>
                            <p:childTnLst>
                              <p:par>
                                <p:cTn id="43" presetID="22" presetClass="entr" presetSubtype="2" fill="hold" grpId="0" nodeType="afterEffect">
                                  <p:stCondLst>
                                    <p:cond delay="0"/>
                                  </p:stCondLst>
                                  <p:childTnLst>
                                    <p:set>
                                      <p:cBhvr>
                                        <p:cTn id="44" dur="1" fill="hold">
                                          <p:stCondLst>
                                            <p:cond delay="0"/>
                                          </p:stCondLst>
                                        </p:cTn>
                                        <p:tgtEl>
                                          <p:spTgt spid="6"/>
                                        </p:tgtEl>
                                        <p:attrNameLst>
                                          <p:attrName>style.visibility</p:attrName>
                                        </p:attrNameLst>
                                      </p:cBhvr>
                                      <p:to>
                                        <p:strVal val="visible"/>
                                      </p:to>
                                    </p:set>
                                    <p:animEffect transition="in" filter="wipe(right)">
                                      <p:cBhvr>
                                        <p:cTn id="45" dur="500"/>
                                        <p:tgtEl>
                                          <p:spTgt spid="6"/>
                                        </p:tgtEl>
                                      </p:cBhvr>
                                    </p:animEffect>
                                  </p:childTnLst>
                                </p:cTn>
                              </p:par>
                            </p:childTnLst>
                          </p:cTn>
                        </p:par>
                        <p:par>
                          <p:cTn id="46" fill="hold">
                            <p:stCondLst>
                              <p:cond delay="3000"/>
                            </p:stCondLst>
                            <p:childTnLst>
                              <p:par>
                                <p:cTn id="47" presetID="10" presetClass="entr" presetSubtype="0" fill="hold" grpId="0" nodeType="afterEffect">
                                  <p:stCondLst>
                                    <p:cond delay="0"/>
                                  </p:stCondLst>
                                  <p:childTnLst>
                                    <p:set>
                                      <p:cBhvr>
                                        <p:cTn id="48" dur="1" fill="hold">
                                          <p:stCondLst>
                                            <p:cond delay="0"/>
                                          </p:stCondLst>
                                        </p:cTn>
                                        <p:tgtEl>
                                          <p:spTgt spid="36"/>
                                        </p:tgtEl>
                                        <p:attrNameLst>
                                          <p:attrName>style.visibility</p:attrName>
                                        </p:attrNameLst>
                                      </p:cBhvr>
                                      <p:to>
                                        <p:strVal val="visible"/>
                                      </p:to>
                                    </p:set>
                                    <p:animEffect transition="in" filter="fade">
                                      <p:cBhvr>
                                        <p:cTn id="49" dur="500"/>
                                        <p:tgtEl>
                                          <p:spTgt spid="36"/>
                                        </p:tgtEl>
                                      </p:cBhvr>
                                    </p:animEffect>
                                  </p:childTnLst>
                                </p:cTn>
                              </p:par>
                              <p:par>
                                <p:cTn id="50" presetID="10" presetClass="entr" presetSubtype="0" fill="hold" grpId="0" nodeType="withEffect">
                                  <p:stCondLst>
                                    <p:cond delay="0"/>
                                  </p:stCondLst>
                                  <p:childTnLst>
                                    <p:set>
                                      <p:cBhvr>
                                        <p:cTn id="51" dur="1" fill="hold">
                                          <p:stCondLst>
                                            <p:cond delay="0"/>
                                          </p:stCondLst>
                                        </p:cTn>
                                        <p:tgtEl>
                                          <p:spTgt spid="7"/>
                                        </p:tgtEl>
                                        <p:attrNameLst>
                                          <p:attrName>style.visibility</p:attrName>
                                        </p:attrNameLst>
                                      </p:cBhvr>
                                      <p:to>
                                        <p:strVal val="visible"/>
                                      </p:to>
                                    </p:set>
                                    <p:animEffect transition="in" filter="fade">
                                      <p:cBhvr>
                                        <p:cTn id="52" dur="500"/>
                                        <p:tgtEl>
                                          <p:spTgt spid="7"/>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37"/>
                                        </p:tgtEl>
                                        <p:attrNameLst>
                                          <p:attrName>style.visibility</p:attrName>
                                        </p:attrNameLst>
                                      </p:cBhvr>
                                      <p:to>
                                        <p:strVal val="visible"/>
                                      </p:to>
                                    </p:set>
                                    <p:animEffect transition="in" filter="fade">
                                      <p:cBhvr>
                                        <p:cTn id="55" dur="500"/>
                                        <p:tgtEl>
                                          <p:spTgt spid="37"/>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10"/>
                                        </p:tgtEl>
                                        <p:attrNameLst>
                                          <p:attrName>style.visibility</p:attrName>
                                        </p:attrNameLst>
                                      </p:cBhvr>
                                      <p:to>
                                        <p:strVal val="visible"/>
                                      </p:to>
                                    </p:set>
                                    <p:animEffect transition="in" filter="fade">
                                      <p:cBhvr>
                                        <p:cTn id="58" dur="500"/>
                                        <p:tgtEl>
                                          <p:spTgt spid="10"/>
                                        </p:tgtEl>
                                      </p:cBhvr>
                                    </p:animEffect>
                                  </p:childTnLst>
                                </p:cTn>
                              </p:par>
                            </p:childTnLst>
                          </p:cTn>
                        </p:par>
                        <p:par>
                          <p:cTn id="59" fill="hold">
                            <p:stCondLst>
                              <p:cond delay="3500"/>
                            </p:stCondLst>
                            <p:childTnLst>
                              <p:par>
                                <p:cTn id="60" presetID="22" presetClass="entr" presetSubtype="8" fill="hold" grpId="0" nodeType="afterEffect">
                                  <p:stCondLst>
                                    <p:cond delay="0"/>
                                  </p:stCondLst>
                                  <p:childTnLst>
                                    <p:set>
                                      <p:cBhvr>
                                        <p:cTn id="61" dur="1" fill="hold">
                                          <p:stCondLst>
                                            <p:cond delay="0"/>
                                          </p:stCondLst>
                                        </p:cTn>
                                        <p:tgtEl>
                                          <p:spTgt spid="2"/>
                                        </p:tgtEl>
                                        <p:attrNameLst>
                                          <p:attrName>style.visibility</p:attrName>
                                        </p:attrNameLst>
                                      </p:cBhvr>
                                      <p:to>
                                        <p:strVal val="visible"/>
                                      </p:to>
                                    </p:set>
                                    <p:animEffect transition="in" filter="wipe(left)">
                                      <p:cBhvr>
                                        <p:cTn id="62" dur="500"/>
                                        <p:tgtEl>
                                          <p:spTgt spid="2"/>
                                        </p:tgtEl>
                                      </p:cBhvr>
                                    </p:animEffect>
                                  </p:childTnLst>
                                </p:cTn>
                              </p:par>
                            </p:childTnLst>
                          </p:cTn>
                        </p:par>
                        <p:par>
                          <p:cTn id="63" fill="hold">
                            <p:stCondLst>
                              <p:cond delay="4000"/>
                            </p:stCondLst>
                            <p:childTnLst>
                              <p:par>
                                <p:cTn id="64" presetID="10" presetClass="entr" presetSubtype="0" fill="hold" grpId="0" nodeType="afterEffect">
                                  <p:stCondLst>
                                    <p:cond delay="0"/>
                                  </p:stCondLst>
                                  <p:childTnLst>
                                    <p:set>
                                      <p:cBhvr>
                                        <p:cTn id="65" dur="1" fill="hold">
                                          <p:stCondLst>
                                            <p:cond delay="0"/>
                                          </p:stCondLst>
                                        </p:cTn>
                                        <p:tgtEl>
                                          <p:spTgt spid="3"/>
                                        </p:tgtEl>
                                        <p:attrNameLst>
                                          <p:attrName>style.visibility</p:attrName>
                                        </p:attrNameLst>
                                      </p:cBhvr>
                                      <p:to>
                                        <p:strVal val="visible"/>
                                      </p:to>
                                    </p:set>
                                    <p:animEffect transition="in" filter="fade">
                                      <p:cBhvr>
                                        <p:cTn id="66" dur="500"/>
                                        <p:tgtEl>
                                          <p:spTgt spid="3"/>
                                        </p:tgtEl>
                                      </p:cBhvr>
                                    </p:animEffect>
                                  </p:childTnLst>
                                </p:cTn>
                              </p:par>
                              <p:par>
                                <p:cTn id="67" presetID="10" presetClass="entr" presetSubtype="0" fill="hold" grpId="0" nodeType="withEffect">
                                  <p:stCondLst>
                                    <p:cond delay="0"/>
                                  </p:stCondLst>
                                  <p:childTnLst>
                                    <p:set>
                                      <p:cBhvr>
                                        <p:cTn id="68" dur="1" fill="hold">
                                          <p:stCondLst>
                                            <p:cond delay="0"/>
                                          </p:stCondLst>
                                        </p:cTn>
                                        <p:tgtEl>
                                          <p:spTgt spid="34"/>
                                        </p:tgtEl>
                                        <p:attrNameLst>
                                          <p:attrName>style.visibility</p:attrName>
                                        </p:attrNameLst>
                                      </p:cBhvr>
                                      <p:to>
                                        <p:strVal val="visible"/>
                                      </p:to>
                                    </p:set>
                                    <p:animEffect transition="in" filter="fade">
                                      <p:cBhvr>
                                        <p:cTn id="69" dur="500"/>
                                        <p:tgtEl>
                                          <p:spTgt spid="34"/>
                                        </p:tgtEl>
                                      </p:cBhvr>
                                    </p:animEffect>
                                  </p:childTnLst>
                                </p:cTn>
                              </p:par>
                              <p:par>
                                <p:cTn id="70" presetID="10" presetClass="entr" presetSubtype="0" fill="hold" grpId="0" nodeType="withEffect">
                                  <p:stCondLst>
                                    <p:cond delay="0"/>
                                  </p:stCondLst>
                                  <p:childTnLst>
                                    <p:set>
                                      <p:cBhvr>
                                        <p:cTn id="71" dur="1" fill="hold">
                                          <p:stCondLst>
                                            <p:cond delay="0"/>
                                          </p:stCondLst>
                                        </p:cTn>
                                        <p:tgtEl>
                                          <p:spTgt spid="35"/>
                                        </p:tgtEl>
                                        <p:attrNameLst>
                                          <p:attrName>style.visibility</p:attrName>
                                        </p:attrNameLst>
                                      </p:cBhvr>
                                      <p:to>
                                        <p:strVal val="visible"/>
                                      </p:to>
                                    </p:set>
                                    <p:animEffect transition="in" filter="fade">
                                      <p:cBhvr>
                                        <p:cTn id="72" dur="500"/>
                                        <p:tgtEl>
                                          <p:spTgt spid="35"/>
                                        </p:tgtEl>
                                      </p:cBhvr>
                                    </p:animEffect>
                                  </p:childTnLst>
                                </p:cTn>
                              </p:par>
                              <p:par>
                                <p:cTn id="73" presetID="10" presetClass="entr" presetSubtype="0" fill="hold" nodeType="withEffect">
                                  <p:stCondLst>
                                    <p:cond delay="0"/>
                                  </p:stCondLst>
                                  <p:childTnLst>
                                    <p:set>
                                      <p:cBhvr>
                                        <p:cTn id="74" dur="1" fill="hold">
                                          <p:stCondLst>
                                            <p:cond delay="0"/>
                                          </p:stCondLst>
                                        </p:cTn>
                                        <p:tgtEl>
                                          <p:spTgt spid="11"/>
                                        </p:tgtEl>
                                        <p:attrNameLst>
                                          <p:attrName>style.visibility</p:attrName>
                                        </p:attrNameLst>
                                      </p:cBhvr>
                                      <p:to>
                                        <p:strVal val="visible"/>
                                      </p:to>
                                    </p:set>
                                    <p:animEffect transition="in" filter="fade">
                                      <p:cBhvr>
                                        <p:cTn id="75"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3" grpId="0" animBg="1"/>
      <p:bldP spid="4" grpId="0" animBg="1"/>
      <p:bldP spid="5" grpId="0" animBg="1"/>
      <p:bldP spid="6" grpId="0" animBg="1"/>
      <p:bldP spid="7" grpId="0" animBg="1"/>
      <p:bldP spid="8" grpId="0" animBg="1"/>
      <p:bldP spid="9" grpId="0" animBg="1"/>
      <p:bldP spid="10" grpId="0" animBg="1"/>
      <p:bldP spid="31" grpId="0" animBg="1"/>
      <p:bldP spid="32" grpId="0"/>
      <p:bldP spid="33" grpId="0"/>
      <p:bldP spid="34" grpId="0"/>
      <p:bldP spid="35" grpId="0"/>
      <p:bldP spid="36" grpId="0"/>
      <p:bldP spid="37" grpId="0"/>
      <p:bldP spid="38" grpId="0"/>
      <p:bldP spid="39" grpId="0"/>
    </p:bldLst>
  </p:timing>
</p:sld>
</file>

<file path=ppt/slides/slide6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26">
            <a:extLst>
              <a:ext uri="{FF2B5EF4-FFF2-40B4-BE49-F238E27FC236}">
                <a16:creationId xmlns:a16="http://schemas.microsoft.com/office/drawing/2014/main" id="{FF3C2B0F-AD74-4060-9B63-4CE1DD9A699A}"/>
              </a:ext>
            </a:extLst>
          </p:cNvPr>
          <p:cNvSpPr txBox="1"/>
          <p:nvPr/>
        </p:nvSpPr>
        <p:spPr>
          <a:xfrm>
            <a:off x="3251200" y="4617740"/>
            <a:ext cx="5689603"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000000">
                    <a:lumMod val="85000"/>
                    <a:lumOff val="15000"/>
                  </a:srgbClr>
                </a:solidFill>
                <a:effectLst/>
                <a:uLnTx/>
                <a:uFillTx/>
                <a:latin typeface="等线 Light" panose="020F0302020204030204"/>
                <a:ea typeface="+mn-ea"/>
                <a:cs typeface="+mn-cs"/>
              </a:rPr>
              <a:t>INFOGRAPHIC</a:t>
            </a:r>
            <a:r>
              <a:rPr kumimoji="0" lang="en-US" sz="3200" b="1" i="0" u="none" strike="noStrike" kern="1200" cap="none" spc="0" normalizeH="0" baseline="0" noProof="0" dirty="0">
                <a:ln>
                  <a:noFill/>
                </a:ln>
                <a:solidFill>
                  <a:srgbClr val="000000">
                    <a:lumMod val="85000"/>
                    <a:lumOff val="15000"/>
                  </a:srgbClr>
                </a:solidFill>
                <a:effectLst/>
                <a:uLnTx/>
                <a:uFillTx/>
                <a:latin typeface="等线" panose="020F0502020204030204"/>
                <a:ea typeface="+mn-ea"/>
                <a:cs typeface="+mn-cs"/>
              </a:rPr>
              <a:t> </a:t>
            </a:r>
            <a:r>
              <a:rPr kumimoji="0" lang="en-US" sz="3200" b="1" i="0" u="none" strike="noStrike" kern="1200" cap="none" spc="0" normalizeH="0" baseline="0" noProof="0" dirty="0">
                <a:ln>
                  <a:noFill/>
                </a:ln>
                <a:solidFill>
                  <a:srgbClr val="000000">
                    <a:lumMod val="85000"/>
                    <a:lumOff val="15000"/>
                  </a:srgbClr>
                </a:solidFill>
                <a:effectLst/>
                <a:uLnTx/>
                <a:uFillTx/>
                <a:latin typeface="等线 Light" panose="020F0302020204030204"/>
                <a:ea typeface="+mn-ea"/>
                <a:cs typeface="+mn-cs"/>
              </a:rPr>
              <a:t>THREE</a:t>
            </a:r>
          </a:p>
        </p:txBody>
      </p:sp>
      <p:grpSp>
        <p:nvGrpSpPr>
          <p:cNvPr id="3" name="Group 1">
            <a:extLst>
              <a:ext uri="{FF2B5EF4-FFF2-40B4-BE49-F238E27FC236}">
                <a16:creationId xmlns:a16="http://schemas.microsoft.com/office/drawing/2014/main" id="{6A3227AC-9001-4197-AEEB-737EF824A24B}"/>
              </a:ext>
            </a:extLst>
          </p:cNvPr>
          <p:cNvGrpSpPr/>
          <p:nvPr/>
        </p:nvGrpSpPr>
        <p:grpSpPr>
          <a:xfrm>
            <a:off x="-1586" y="1216026"/>
            <a:ext cx="12193588" cy="3097213"/>
            <a:chOff x="-1587" y="1216026"/>
            <a:chExt cx="12193588" cy="3097212"/>
          </a:xfrm>
        </p:grpSpPr>
        <p:sp>
          <p:nvSpPr>
            <p:cNvPr id="4" name="Freeform 5">
              <a:extLst>
                <a:ext uri="{FF2B5EF4-FFF2-40B4-BE49-F238E27FC236}">
                  <a16:creationId xmlns:a16="http://schemas.microsoft.com/office/drawing/2014/main" id="{65FFA5F5-89AD-4451-97C0-27023099FA42}"/>
                </a:ext>
              </a:extLst>
            </p:cNvPr>
            <p:cNvSpPr>
              <a:spLocks/>
            </p:cNvSpPr>
            <p:nvPr/>
          </p:nvSpPr>
          <p:spPr bwMode="auto">
            <a:xfrm>
              <a:off x="-1587" y="1216026"/>
              <a:ext cx="12193588" cy="2540000"/>
            </a:xfrm>
            <a:custGeom>
              <a:avLst/>
              <a:gdLst>
                <a:gd name="T0" fmla="*/ 5120 w 5120"/>
                <a:gd name="T1" fmla="*/ 78 h 1418"/>
                <a:gd name="T2" fmla="*/ 0 w 5120"/>
                <a:gd name="T3" fmla="*/ 78 h 1418"/>
                <a:gd name="T4" fmla="*/ 2277 w 5120"/>
                <a:gd name="T5" fmla="*/ 745 h 1418"/>
                <a:gd name="T6" fmla="*/ 2095 w 5120"/>
                <a:gd name="T7" fmla="*/ 742 h 1418"/>
                <a:gd name="T8" fmla="*/ 1999 w 5120"/>
                <a:gd name="T9" fmla="*/ 819 h 1418"/>
                <a:gd name="T10" fmla="*/ 2157 w 5120"/>
                <a:gd name="T11" fmla="*/ 801 h 1418"/>
                <a:gd name="T12" fmla="*/ 2152 w 5120"/>
                <a:gd name="T13" fmla="*/ 878 h 1418"/>
                <a:gd name="T14" fmla="*/ 1896 w 5120"/>
                <a:gd name="T15" fmla="*/ 794 h 1418"/>
                <a:gd name="T16" fmla="*/ 1836 w 5120"/>
                <a:gd name="T17" fmla="*/ 749 h 1418"/>
                <a:gd name="T18" fmla="*/ 2023 w 5120"/>
                <a:gd name="T19" fmla="*/ 998 h 1418"/>
                <a:gd name="T20" fmla="*/ 1719 w 5120"/>
                <a:gd name="T21" fmla="*/ 1034 h 1418"/>
                <a:gd name="T22" fmla="*/ 1843 w 5120"/>
                <a:gd name="T23" fmla="*/ 1039 h 1418"/>
                <a:gd name="T24" fmla="*/ 2243 w 5120"/>
                <a:gd name="T25" fmla="*/ 1009 h 1418"/>
                <a:gd name="T26" fmla="*/ 1939 w 5120"/>
                <a:gd name="T27" fmla="*/ 1213 h 1418"/>
                <a:gd name="T28" fmla="*/ 1967 w 5120"/>
                <a:gd name="T29" fmla="*/ 1238 h 1418"/>
                <a:gd name="T30" fmla="*/ 2299 w 5120"/>
                <a:gd name="T31" fmla="*/ 1033 h 1418"/>
                <a:gd name="T32" fmla="*/ 2386 w 5120"/>
                <a:gd name="T33" fmla="*/ 940 h 1418"/>
                <a:gd name="T34" fmla="*/ 2424 w 5120"/>
                <a:gd name="T35" fmla="*/ 1044 h 1418"/>
                <a:gd name="T36" fmla="*/ 2464 w 5120"/>
                <a:gd name="T37" fmla="*/ 1254 h 1418"/>
                <a:gd name="T38" fmla="*/ 2483 w 5120"/>
                <a:gd name="T39" fmla="*/ 1098 h 1418"/>
                <a:gd name="T40" fmla="*/ 2598 w 5120"/>
                <a:gd name="T41" fmla="*/ 1089 h 1418"/>
                <a:gd name="T42" fmla="*/ 2775 w 5120"/>
                <a:gd name="T43" fmla="*/ 1329 h 1418"/>
                <a:gd name="T44" fmla="*/ 2803 w 5120"/>
                <a:gd name="T45" fmla="*/ 1375 h 1418"/>
                <a:gd name="T46" fmla="*/ 2819 w 5120"/>
                <a:gd name="T47" fmla="*/ 1308 h 1418"/>
                <a:gd name="T48" fmla="*/ 2873 w 5120"/>
                <a:gd name="T49" fmla="*/ 1230 h 1418"/>
                <a:gd name="T50" fmla="*/ 2846 w 5120"/>
                <a:gd name="T51" fmla="*/ 1144 h 1418"/>
                <a:gd name="T52" fmla="*/ 2723 w 5120"/>
                <a:gd name="T53" fmla="*/ 1071 h 1418"/>
                <a:gd name="T54" fmla="*/ 2575 w 5120"/>
                <a:gd name="T55" fmla="*/ 850 h 1418"/>
                <a:gd name="T56" fmla="*/ 2881 w 5120"/>
                <a:gd name="T57" fmla="*/ 1044 h 1418"/>
                <a:gd name="T58" fmla="*/ 3170 w 5120"/>
                <a:gd name="T59" fmla="*/ 1285 h 1418"/>
                <a:gd name="T60" fmla="*/ 3222 w 5120"/>
                <a:gd name="T61" fmla="*/ 1277 h 1418"/>
                <a:gd name="T62" fmla="*/ 2988 w 5120"/>
                <a:gd name="T63" fmla="*/ 1020 h 1418"/>
                <a:gd name="T64" fmla="*/ 3207 w 5120"/>
                <a:gd name="T65" fmla="*/ 941 h 1418"/>
                <a:gd name="T66" fmla="*/ 3314 w 5120"/>
                <a:gd name="T67" fmla="*/ 952 h 1418"/>
                <a:gd name="T68" fmla="*/ 3174 w 5120"/>
                <a:gd name="T69" fmla="*/ 883 h 1418"/>
                <a:gd name="T70" fmla="*/ 2812 w 5120"/>
                <a:gd name="T71" fmla="*/ 843 h 1418"/>
                <a:gd name="T72" fmla="*/ 3153 w 5120"/>
                <a:gd name="T73" fmla="*/ 738 h 1418"/>
                <a:gd name="T74" fmla="*/ 3203 w 5120"/>
                <a:gd name="T75" fmla="*/ 694 h 1418"/>
                <a:gd name="T76" fmla="*/ 3008 w 5120"/>
                <a:gd name="T77" fmla="*/ 586 h 1418"/>
                <a:gd name="T78" fmla="*/ 3157 w 5120"/>
                <a:gd name="T79" fmla="*/ 487 h 1418"/>
                <a:gd name="T80" fmla="*/ 2994 w 5120"/>
                <a:gd name="T81" fmla="*/ 516 h 1418"/>
                <a:gd name="T82" fmla="*/ 2761 w 5120"/>
                <a:gd name="T83" fmla="*/ 638 h 1418"/>
                <a:gd name="T84" fmla="*/ 2668 w 5120"/>
                <a:gd name="T85" fmla="*/ 217 h 14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120" h="1418">
                  <a:moveTo>
                    <a:pt x="2674" y="119"/>
                  </a:moveTo>
                  <a:cubicBezTo>
                    <a:pt x="2675" y="108"/>
                    <a:pt x="2678" y="93"/>
                    <a:pt x="2680" y="78"/>
                  </a:cubicBezTo>
                  <a:cubicBezTo>
                    <a:pt x="5120" y="78"/>
                    <a:pt x="5120" y="78"/>
                    <a:pt x="5120" y="78"/>
                  </a:cubicBezTo>
                  <a:cubicBezTo>
                    <a:pt x="5120" y="0"/>
                    <a:pt x="5120" y="0"/>
                    <a:pt x="5120" y="0"/>
                  </a:cubicBezTo>
                  <a:cubicBezTo>
                    <a:pt x="0" y="0"/>
                    <a:pt x="0" y="0"/>
                    <a:pt x="0" y="0"/>
                  </a:cubicBezTo>
                  <a:cubicBezTo>
                    <a:pt x="0" y="78"/>
                    <a:pt x="0" y="78"/>
                    <a:pt x="0" y="78"/>
                  </a:cubicBezTo>
                  <a:cubicBezTo>
                    <a:pt x="2331" y="78"/>
                    <a:pt x="2331" y="78"/>
                    <a:pt x="2331" y="78"/>
                  </a:cubicBezTo>
                  <a:cubicBezTo>
                    <a:pt x="2348" y="225"/>
                    <a:pt x="2351" y="377"/>
                    <a:pt x="2329" y="523"/>
                  </a:cubicBezTo>
                  <a:cubicBezTo>
                    <a:pt x="2318" y="598"/>
                    <a:pt x="2301" y="673"/>
                    <a:pt x="2277" y="745"/>
                  </a:cubicBezTo>
                  <a:cubicBezTo>
                    <a:pt x="2276" y="747"/>
                    <a:pt x="2275" y="749"/>
                    <a:pt x="2275" y="751"/>
                  </a:cubicBezTo>
                  <a:cubicBezTo>
                    <a:pt x="2247" y="770"/>
                    <a:pt x="2218" y="785"/>
                    <a:pt x="2183" y="768"/>
                  </a:cubicBezTo>
                  <a:cubicBezTo>
                    <a:pt x="2155" y="754"/>
                    <a:pt x="2127" y="736"/>
                    <a:pt x="2095" y="742"/>
                  </a:cubicBezTo>
                  <a:cubicBezTo>
                    <a:pt x="2076" y="746"/>
                    <a:pt x="2058" y="758"/>
                    <a:pt x="2042" y="768"/>
                  </a:cubicBezTo>
                  <a:cubicBezTo>
                    <a:pt x="2024" y="779"/>
                    <a:pt x="2007" y="789"/>
                    <a:pt x="1993" y="806"/>
                  </a:cubicBezTo>
                  <a:cubicBezTo>
                    <a:pt x="1990" y="810"/>
                    <a:pt x="1991" y="820"/>
                    <a:pt x="1999" y="819"/>
                  </a:cubicBezTo>
                  <a:cubicBezTo>
                    <a:pt x="2019" y="816"/>
                    <a:pt x="2035" y="809"/>
                    <a:pt x="2053" y="801"/>
                  </a:cubicBezTo>
                  <a:cubicBezTo>
                    <a:pt x="2070" y="793"/>
                    <a:pt x="2091" y="777"/>
                    <a:pt x="2111" y="779"/>
                  </a:cubicBezTo>
                  <a:cubicBezTo>
                    <a:pt x="2128" y="780"/>
                    <a:pt x="2143" y="792"/>
                    <a:pt x="2157" y="801"/>
                  </a:cubicBezTo>
                  <a:cubicBezTo>
                    <a:pt x="2172" y="809"/>
                    <a:pt x="2188" y="817"/>
                    <a:pt x="2206" y="820"/>
                  </a:cubicBezTo>
                  <a:cubicBezTo>
                    <a:pt x="2214" y="822"/>
                    <a:pt x="2222" y="822"/>
                    <a:pt x="2230" y="821"/>
                  </a:cubicBezTo>
                  <a:cubicBezTo>
                    <a:pt x="2209" y="844"/>
                    <a:pt x="2183" y="864"/>
                    <a:pt x="2152" y="878"/>
                  </a:cubicBezTo>
                  <a:cubicBezTo>
                    <a:pt x="2125" y="890"/>
                    <a:pt x="2093" y="898"/>
                    <a:pt x="2061" y="900"/>
                  </a:cubicBezTo>
                  <a:cubicBezTo>
                    <a:pt x="2032" y="892"/>
                    <a:pt x="2004" y="883"/>
                    <a:pt x="1978" y="870"/>
                  </a:cubicBezTo>
                  <a:cubicBezTo>
                    <a:pt x="1942" y="853"/>
                    <a:pt x="1915" y="831"/>
                    <a:pt x="1896" y="794"/>
                  </a:cubicBezTo>
                  <a:cubicBezTo>
                    <a:pt x="1875" y="751"/>
                    <a:pt x="1852" y="701"/>
                    <a:pt x="1864" y="653"/>
                  </a:cubicBezTo>
                  <a:cubicBezTo>
                    <a:pt x="1866" y="644"/>
                    <a:pt x="1855" y="640"/>
                    <a:pt x="1850" y="647"/>
                  </a:cubicBezTo>
                  <a:cubicBezTo>
                    <a:pt x="1831" y="675"/>
                    <a:pt x="1830" y="713"/>
                    <a:pt x="1836" y="749"/>
                  </a:cubicBezTo>
                  <a:cubicBezTo>
                    <a:pt x="1837" y="861"/>
                    <a:pt x="1930" y="965"/>
                    <a:pt x="2034" y="996"/>
                  </a:cubicBezTo>
                  <a:cubicBezTo>
                    <a:pt x="2035" y="996"/>
                    <a:pt x="2036" y="997"/>
                    <a:pt x="2037" y="997"/>
                  </a:cubicBezTo>
                  <a:cubicBezTo>
                    <a:pt x="2033" y="997"/>
                    <a:pt x="2028" y="997"/>
                    <a:pt x="2023" y="998"/>
                  </a:cubicBezTo>
                  <a:cubicBezTo>
                    <a:pt x="1989" y="999"/>
                    <a:pt x="1955" y="999"/>
                    <a:pt x="1922" y="996"/>
                  </a:cubicBezTo>
                  <a:cubicBezTo>
                    <a:pt x="1884" y="992"/>
                    <a:pt x="1848" y="988"/>
                    <a:pt x="1811" y="994"/>
                  </a:cubicBezTo>
                  <a:cubicBezTo>
                    <a:pt x="1778" y="1000"/>
                    <a:pt x="1745" y="1014"/>
                    <a:pt x="1719" y="1034"/>
                  </a:cubicBezTo>
                  <a:cubicBezTo>
                    <a:pt x="1692" y="1056"/>
                    <a:pt x="1676" y="1081"/>
                    <a:pt x="1664" y="1112"/>
                  </a:cubicBezTo>
                  <a:cubicBezTo>
                    <a:pt x="1660" y="1122"/>
                    <a:pt x="1675" y="1131"/>
                    <a:pt x="1682" y="1123"/>
                  </a:cubicBezTo>
                  <a:cubicBezTo>
                    <a:pt x="1720" y="1073"/>
                    <a:pt x="1779" y="1038"/>
                    <a:pt x="1843" y="1039"/>
                  </a:cubicBezTo>
                  <a:cubicBezTo>
                    <a:pt x="1880" y="1039"/>
                    <a:pt x="1917" y="1047"/>
                    <a:pt x="1954" y="1050"/>
                  </a:cubicBezTo>
                  <a:cubicBezTo>
                    <a:pt x="1990" y="1053"/>
                    <a:pt x="2026" y="1053"/>
                    <a:pt x="2062" y="1050"/>
                  </a:cubicBezTo>
                  <a:cubicBezTo>
                    <a:pt x="2122" y="1044"/>
                    <a:pt x="2184" y="1030"/>
                    <a:pt x="2243" y="1009"/>
                  </a:cubicBezTo>
                  <a:cubicBezTo>
                    <a:pt x="2209" y="1068"/>
                    <a:pt x="2174" y="1136"/>
                    <a:pt x="2106" y="1156"/>
                  </a:cubicBezTo>
                  <a:cubicBezTo>
                    <a:pt x="2075" y="1165"/>
                    <a:pt x="2043" y="1166"/>
                    <a:pt x="2012" y="1176"/>
                  </a:cubicBezTo>
                  <a:cubicBezTo>
                    <a:pt x="1986" y="1185"/>
                    <a:pt x="1961" y="1197"/>
                    <a:pt x="1939" y="1213"/>
                  </a:cubicBezTo>
                  <a:cubicBezTo>
                    <a:pt x="1896" y="1242"/>
                    <a:pt x="1859" y="1285"/>
                    <a:pt x="1843" y="1335"/>
                  </a:cubicBezTo>
                  <a:cubicBezTo>
                    <a:pt x="1839" y="1346"/>
                    <a:pt x="1855" y="1352"/>
                    <a:pt x="1861" y="1343"/>
                  </a:cubicBezTo>
                  <a:cubicBezTo>
                    <a:pt x="1889" y="1300"/>
                    <a:pt x="1922" y="1263"/>
                    <a:pt x="1967" y="1238"/>
                  </a:cubicBezTo>
                  <a:cubicBezTo>
                    <a:pt x="1988" y="1227"/>
                    <a:pt x="2011" y="1219"/>
                    <a:pt x="2034" y="1214"/>
                  </a:cubicBezTo>
                  <a:cubicBezTo>
                    <a:pt x="2065" y="1207"/>
                    <a:pt x="2096" y="1209"/>
                    <a:pt x="2126" y="1201"/>
                  </a:cubicBezTo>
                  <a:cubicBezTo>
                    <a:pt x="2211" y="1180"/>
                    <a:pt x="2255" y="1101"/>
                    <a:pt x="2299" y="1033"/>
                  </a:cubicBezTo>
                  <a:cubicBezTo>
                    <a:pt x="2319" y="1001"/>
                    <a:pt x="2341" y="968"/>
                    <a:pt x="2372" y="945"/>
                  </a:cubicBezTo>
                  <a:cubicBezTo>
                    <a:pt x="2373" y="944"/>
                    <a:pt x="2375" y="943"/>
                    <a:pt x="2376" y="942"/>
                  </a:cubicBezTo>
                  <a:cubicBezTo>
                    <a:pt x="2379" y="942"/>
                    <a:pt x="2383" y="941"/>
                    <a:pt x="2386" y="940"/>
                  </a:cubicBezTo>
                  <a:cubicBezTo>
                    <a:pt x="2386" y="943"/>
                    <a:pt x="2387" y="945"/>
                    <a:pt x="2388" y="948"/>
                  </a:cubicBezTo>
                  <a:cubicBezTo>
                    <a:pt x="2394" y="972"/>
                    <a:pt x="2408" y="994"/>
                    <a:pt x="2416" y="1017"/>
                  </a:cubicBezTo>
                  <a:cubicBezTo>
                    <a:pt x="2419" y="1026"/>
                    <a:pt x="2422" y="1035"/>
                    <a:pt x="2424" y="1044"/>
                  </a:cubicBezTo>
                  <a:cubicBezTo>
                    <a:pt x="2423" y="1072"/>
                    <a:pt x="2422" y="1099"/>
                    <a:pt x="2423" y="1126"/>
                  </a:cubicBezTo>
                  <a:cubicBezTo>
                    <a:pt x="2425" y="1172"/>
                    <a:pt x="2429" y="1216"/>
                    <a:pt x="2449" y="1258"/>
                  </a:cubicBezTo>
                  <a:cubicBezTo>
                    <a:pt x="2453" y="1265"/>
                    <a:pt x="2463" y="1261"/>
                    <a:pt x="2464" y="1254"/>
                  </a:cubicBezTo>
                  <a:cubicBezTo>
                    <a:pt x="2464" y="1253"/>
                    <a:pt x="2464" y="1251"/>
                    <a:pt x="2464" y="1250"/>
                  </a:cubicBezTo>
                  <a:cubicBezTo>
                    <a:pt x="2467" y="1249"/>
                    <a:pt x="2471" y="1247"/>
                    <a:pt x="2472" y="1244"/>
                  </a:cubicBezTo>
                  <a:cubicBezTo>
                    <a:pt x="2487" y="1199"/>
                    <a:pt x="2483" y="1145"/>
                    <a:pt x="2483" y="1098"/>
                  </a:cubicBezTo>
                  <a:cubicBezTo>
                    <a:pt x="2483" y="1098"/>
                    <a:pt x="2483" y="1098"/>
                    <a:pt x="2483" y="1098"/>
                  </a:cubicBezTo>
                  <a:cubicBezTo>
                    <a:pt x="2487" y="1067"/>
                    <a:pt x="2492" y="1036"/>
                    <a:pt x="2495" y="1005"/>
                  </a:cubicBezTo>
                  <a:cubicBezTo>
                    <a:pt x="2525" y="1038"/>
                    <a:pt x="2560" y="1066"/>
                    <a:pt x="2598" y="1089"/>
                  </a:cubicBezTo>
                  <a:cubicBezTo>
                    <a:pt x="2624" y="1105"/>
                    <a:pt x="2658" y="1115"/>
                    <a:pt x="2676" y="1141"/>
                  </a:cubicBezTo>
                  <a:cubicBezTo>
                    <a:pt x="2695" y="1169"/>
                    <a:pt x="2707" y="1202"/>
                    <a:pt x="2722" y="1232"/>
                  </a:cubicBezTo>
                  <a:cubicBezTo>
                    <a:pt x="2739" y="1265"/>
                    <a:pt x="2756" y="1297"/>
                    <a:pt x="2775" y="1329"/>
                  </a:cubicBezTo>
                  <a:cubicBezTo>
                    <a:pt x="2781" y="1340"/>
                    <a:pt x="2788" y="1352"/>
                    <a:pt x="2795" y="1363"/>
                  </a:cubicBezTo>
                  <a:cubicBezTo>
                    <a:pt x="2796" y="1365"/>
                    <a:pt x="2796" y="1367"/>
                    <a:pt x="2797" y="1369"/>
                  </a:cubicBezTo>
                  <a:cubicBezTo>
                    <a:pt x="2799" y="1371"/>
                    <a:pt x="2801" y="1373"/>
                    <a:pt x="2803" y="1375"/>
                  </a:cubicBezTo>
                  <a:cubicBezTo>
                    <a:pt x="2814" y="1390"/>
                    <a:pt x="2826" y="1404"/>
                    <a:pt x="2841" y="1413"/>
                  </a:cubicBezTo>
                  <a:cubicBezTo>
                    <a:pt x="2849" y="1418"/>
                    <a:pt x="2861" y="1412"/>
                    <a:pt x="2860" y="1402"/>
                  </a:cubicBezTo>
                  <a:cubicBezTo>
                    <a:pt x="2856" y="1368"/>
                    <a:pt x="2836" y="1338"/>
                    <a:pt x="2819" y="1308"/>
                  </a:cubicBezTo>
                  <a:cubicBezTo>
                    <a:pt x="2802" y="1275"/>
                    <a:pt x="2785" y="1242"/>
                    <a:pt x="2770" y="1209"/>
                  </a:cubicBezTo>
                  <a:cubicBezTo>
                    <a:pt x="2764" y="1196"/>
                    <a:pt x="2758" y="1183"/>
                    <a:pt x="2753" y="1171"/>
                  </a:cubicBezTo>
                  <a:cubicBezTo>
                    <a:pt x="2794" y="1188"/>
                    <a:pt x="2836" y="1206"/>
                    <a:pt x="2873" y="1230"/>
                  </a:cubicBezTo>
                  <a:cubicBezTo>
                    <a:pt x="2909" y="1254"/>
                    <a:pt x="2936" y="1287"/>
                    <a:pt x="2963" y="1319"/>
                  </a:cubicBezTo>
                  <a:cubicBezTo>
                    <a:pt x="2971" y="1328"/>
                    <a:pt x="2984" y="1318"/>
                    <a:pt x="2982" y="1308"/>
                  </a:cubicBezTo>
                  <a:cubicBezTo>
                    <a:pt x="2966" y="1237"/>
                    <a:pt x="2909" y="1178"/>
                    <a:pt x="2846" y="1144"/>
                  </a:cubicBezTo>
                  <a:cubicBezTo>
                    <a:pt x="2823" y="1132"/>
                    <a:pt x="2801" y="1121"/>
                    <a:pt x="2778" y="1109"/>
                  </a:cubicBezTo>
                  <a:cubicBezTo>
                    <a:pt x="2776" y="1108"/>
                    <a:pt x="2775" y="1107"/>
                    <a:pt x="2773" y="1106"/>
                  </a:cubicBezTo>
                  <a:cubicBezTo>
                    <a:pt x="2756" y="1095"/>
                    <a:pt x="2739" y="1084"/>
                    <a:pt x="2723" y="1071"/>
                  </a:cubicBezTo>
                  <a:cubicBezTo>
                    <a:pt x="2723" y="1071"/>
                    <a:pt x="2723" y="1071"/>
                    <a:pt x="2723" y="1071"/>
                  </a:cubicBezTo>
                  <a:cubicBezTo>
                    <a:pt x="2687" y="1041"/>
                    <a:pt x="2652" y="1017"/>
                    <a:pt x="2626" y="977"/>
                  </a:cubicBezTo>
                  <a:cubicBezTo>
                    <a:pt x="2601" y="939"/>
                    <a:pt x="2584" y="896"/>
                    <a:pt x="2575" y="850"/>
                  </a:cubicBezTo>
                  <a:cubicBezTo>
                    <a:pt x="2572" y="832"/>
                    <a:pt x="2569" y="814"/>
                    <a:pt x="2568" y="795"/>
                  </a:cubicBezTo>
                  <a:cubicBezTo>
                    <a:pt x="2601" y="848"/>
                    <a:pt x="2648" y="890"/>
                    <a:pt x="2698" y="926"/>
                  </a:cubicBezTo>
                  <a:cubicBezTo>
                    <a:pt x="2756" y="968"/>
                    <a:pt x="2820" y="1005"/>
                    <a:pt x="2881" y="1044"/>
                  </a:cubicBezTo>
                  <a:cubicBezTo>
                    <a:pt x="2941" y="1082"/>
                    <a:pt x="3003" y="1117"/>
                    <a:pt x="3058" y="1163"/>
                  </a:cubicBezTo>
                  <a:cubicBezTo>
                    <a:pt x="3087" y="1187"/>
                    <a:pt x="3113" y="1215"/>
                    <a:pt x="3138" y="1244"/>
                  </a:cubicBezTo>
                  <a:cubicBezTo>
                    <a:pt x="3149" y="1257"/>
                    <a:pt x="3160" y="1271"/>
                    <a:pt x="3170" y="1285"/>
                  </a:cubicBezTo>
                  <a:cubicBezTo>
                    <a:pt x="3182" y="1300"/>
                    <a:pt x="3195" y="1314"/>
                    <a:pt x="3207" y="1328"/>
                  </a:cubicBezTo>
                  <a:cubicBezTo>
                    <a:pt x="3213" y="1336"/>
                    <a:pt x="3228" y="1330"/>
                    <a:pt x="3227" y="1320"/>
                  </a:cubicBezTo>
                  <a:cubicBezTo>
                    <a:pt x="3226" y="1306"/>
                    <a:pt x="3226" y="1291"/>
                    <a:pt x="3222" y="1277"/>
                  </a:cubicBezTo>
                  <a:cubicBezTo>
                    <a:pt x="3217" y="1262"/>
                    <a:pt x="3210" y="1246"/>
                    <a:pt x="3203" y="1231"/>
                  </a:cubicBezTo>
                  <a:cubicBezTo>
                    <a:pt x="3188" y="1202"/>
                    <a:pt x="3169" y="1175"/>
                    <a:pt x="3148" y="1149"/>
                  </a:cubicBezTo>
                  <a:cubicBezTo>
                    <a:pt x="3103" y="1097"/>
                    <a:pt x="3046" y="1057"/>
                    <a:pt x="2988" y="1020"/>
                  </a:cubicBezTo>
                  <a:cubicBezTo>
                    <a:pt x="2970" y="1008"/>
                    <a:pt x="2952" y="997"/>
                    <a:pt x="2934" y="985"/>
                  </a:cubicBezTo>
                  <a:cubicBezTo>
                    <a:pt x="2995" y="988"/>
                    <a:pt x="3054" y="969"/>
                    <a:pt x="3113" y="955"/>
                  </a:cubicBezTo>
                  <a:cubicBezTo>
                    <a:pt x="3143" y="947"/>
                    <a:pt x="3175" y="941"/>
                    <a:pt x="3207" y="941"/>
                  </a:cubicBezTo>
                  <a:cubicBezTo>
                    <a:pt x="3222" y="941"/>
                    <a:pt x="3237" y="941"/>
                    <a:pt x="3251" y="945"/>
                  </a:cubicBezTo>
                  <a:cubicBezTo>
                    <a:pt x="3266" y="948"/>
                    <a:pt x="3290" y="954"/>
                    <a:pt x="3301" y="964"/>
                  </a:cubicBezTo>
                  <a:cubicBezTo>
                    <a:pt x="3310" y="971"/>
                    <a:pt x="3321" y="961"/>
                    <a:pt x="3314" y="952"/>
                  </a:cubicBezTo>
                  <a:cubicBezTo>
                    <a:pt x="3305" y="941"/>
                    <a:pt x="3301" y="931"/>
                    <a:pt x="3289" y="921"/>
                  </a:cubicBezTo>
                  <a:cubicBezTo>
                    <a:pt x="3279" y="913"/>
                    <a:pt x="3267" y="906"/>
                    <a:pt x="3254" y="901"/>
                  </a:cubicBezTo>
                  <a:cubicBezTo>
                    <a:pt x="3229" y="890"/>
                    <a:pt x="3202" y="885"/>
                    <a:pt x="3174" y="883"/>
                  </a:cubicBezTo>
                  <a:cubicBezTo>
                    <a:pt x="3110" y="879"/>
                    <a:pt x="3048" y="902"/>
                    <a:pt x="2984" y="907"/>
                  </a:cubicBezTo>
                  <a:cubicBezTo>
                    <a:pt x="2951" y="909"/>
                    <a:pt x="2918" y="908"/>
                    <a:pt x="2888" y="895"/>
                  </a:cubicBezTo>
                  <a:cubicBezTo>
                    <a:pt x="2860" y="882"/>
                    <a:pt x="2835" y="863"/>
                    <a:pt x="2812" y="843"/>
                  </a:cubicBezTo>
                  <a:cubicBezTo>
                    <a:pt x="2791" y="825"/>
                    <a:pt x="2770" y="807"/>
                    <a:pt x="2750" y="788"/>
                  </a:cubicBezTo>
                  <a:cubicBezTo>
                    <a:pt x="2816" y="790"/>
                    <a:pt x="2881" y="771"/>
                    <a:pt x="2945" y="757"/>
                  </a:cubicBezTo>
                  <a:cubicBezTo>
                    <a:pt x="3012" y="741"/>
                    <a:pt x="3084" y="727"/>
                    <a:pt x="3153" y="738"/>
                  </a:cubicBezTo>
                  <a:cubicBezTo>
                    <a:pt x="3213" y="748"/>
                    <a:pt x="3265" y="776"/>
                    <a:pt x="3312" y="814"/>
                  </a:cubicBezTo>
                  <a:cubicBezTo>
                    <a:pt x="3320" y="819"/>
                    <a:pt x="3333" y="814"/>
                    <a:pt x="3329" y="804"/>
                  </a:cubicBezTo>
                  <a:cubicBezTo>
                    <a:pt x="3310" y="746"/>
                    <a:pt x="3258" y="713"/>
                    <a:pt x="3203" y="694"/>
                  </a:cubicBezTo>
                  <a:cubicBezTo>
                    <a:pt x="3140" y="673"/>
                    <a:pt x="3073" y="673"/>
                    <a:pt x="3008" y="681"/>
                  </a:cubicBezTo>
                  <a:cubicBezTo>
                    <a:pt x="2970" y="685"/>
                    <a:pt x="2932" y="693"/>
                    <a:pt x="2894" y="700"/>
                  </a:cubicBezTo>
                  <a:cubicBezTo>
                    <a:pt x="2938" y="671"/>
                    <a:pt x="2976" y="628"/>
                    <a:pt x="3008" y="586"/>
                  </a:cubicBezTo>
                  <a:cubicBezTo>
                    <a:pt x="3027" y="561"/>
                    <a:pt x="3047" y="534"/>
                    <a:pt x="3073" y="516"/>
                  </a:cubicBezTo>
                  <a:cubicBezTo>
                    <a:pt x="3086" y="508"/>
                    <a:pt x="3099" y="500"/>
                    <a:pt x="3114" y="496"/>
                  </a:cubicBezTo>
                  <a:cubicBezTo>
                    <a:pt x="3128" y="491"/>
                    <a:pt x="3144" y="492"/>
                    <a:pt x="3157" y="487"/>
                  </a:cubicBezTo>
                  <a:cubicBezTo>
                    <a:pt x="3164" y="484"/>
                    <a:pt x="3166" y="477"/>
                    <a:pt x="3161" y="471"/>
                  </a:cubicBezTo>
                  <a:cubicBezTo>
                    <a:pt x="3141" y="448"/>
                    <a:pt x="3101" y="455"/>
                    <a:pt x="3075" y="463"/>
                  </a:cubicBezTo>
                  <a:cubicBezTo>
                    <a:pt x="3044" y="473"/>
                    <a:pt x="3017" y="493"/>
                    <a:pt x="2994" y="516"/>
                  </a:cubicBezTo>
                  <a:cubicBezTo>
                    <a:pt x="2949" y="561"/>
                    <a:pt x="2912" y="620"/>
                    <a:pt x="2851" y="646"/>
                  </a:cubicBezTo>
                  <a:cubicBezTo>
                    <a:pt x="2837" y="652"/>
                    <a:pt x="2822" y="656"/>
                    <a:pt x="2806" y="658"/>
                  </a:cubicBezTo>
                  <a:cubicBezTo>
                    <a:pt x="2790" y="655"/>
                    <a:pt x="2776" y="649"/>
                    <a:pt x="2761" y="638"/>
                  </a:cubicBezTo>
                  <a:cubicBezTo>
                    <a:pt x="2741" y="623"/>
                    <a:pt x="2727" y="602"/>
                    <a:pt x="2717" y="579"/>
                  </a:cubicBezTo>
                  <a:cubicBezTo>
                    <a:pt x="2693" y="526"/>
                    <a:pt x="2685" y="463"/>
                    <a:pt x="2677" y="405"/>
                  </a:cubicBezTo>
                  <a:cubicBezTo>
                    <a:pt x="2669" y="343"/>
                    <a:pt x="2666" y="280"/>
                    <a:pt x="2668" y="217"/>
                  </a:cubicBezTo>
                  <a:cubicBezTo>
                    <a:pt x="2669" y="184"/>
                    <a:pt x="2670" y="152"/>
                    <a:pt x="2674" y="119"/>
                  </a:cubicBezTo>
                  <a:close/>
                </a:path>
              </a:pathLst>
            </a:custGeom>
            <a:solidFill>
              <a:schemeClr val="accent3">
                <a:lumMod val="5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grpSp>
          <p:nvGrpSpPr>
            <p:cNvPr id="7" name="Group 21">
              <a:extLst>
                <a:ext uri="{FF2B5EF4-FFF2-40B4-BE49-F238E27FC236}">
                  <a16:creationId xmlns:a16="http://schemas.microsoft.com/office/drawing/2014/main" id="{18880F81-8845-4A20-A24E-6E6082E7C661}"/>
                </a:ext>
              </a:extLst>
            </p:cNvPr>
            <p:cNvGrpSpPr/>
            <p:nvPr/>
          </p:nvGrpSpPr>
          <p:grpSpPr>
            <a:xfrm>
              <a:off x="3803650" y="1790701"/>
              <a:ext cx="889000" cy="889000"/>
              <a:chOff x="3511550" y="1765301"/>
              <a:chExt cx="889000" cy="889000"/>
            </a:xfrm>
          </p:grpSpPr>
          <p:sp>
            <p:nvSpPr>
              <p:cNvPr id="77" name="Oval 8">
                <a:extLst>
                  <a:ext uri="{FF2B5EF4-FFF2-40B4-BE49-F238E27FC236}">
                    <a16:creationId xmlns:a16="http://schemas.microsoft.com/office/drawing/2014/main" id="{B4B1D82E-7117-44DB-A1D5-80C5F64D6D95}"/>
                  </a:ext>
                </a:extLst>
              </p:cNvPr>
              <p:cNvSpPr>
                <a:spLocks noChangeArrowheads="1"/>
              </p:cNvSpPr>
              <p:nvPr/>
            </p:nvSpPr>
            <p:spPr bwMode="auto">
              <a:xfrm>
                <a:off x="3511550" y="1765301"/>
                <a:ext cx="889000" cy="889000"/>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78" name="Oval 9">
                <a:extLst>
                  <a:ext uri="{FF2B5EF4-FFF2-40B4-BE49-F238E27FC236}">
                    <a16:creationId xmlns:a16="http://schemas.microsoft.com/office/drawing/2014/main" id="{524E2738-B517-4634-9439-10F98D8D5F1F}"/>
                  </a:ext>
                </a:extLst>
              </p:cNvPr>
              <p:cNvSpPr>
                <a:spLocks noChangeArrowheads="1"/>
              </p:cNvSpPr>
              <p:nvPr/>
            </p:nvSpPr>
            <p:spPr bwMode="auto">
              <a:xfrm>
                <a:off x="3624263" y="1878013"/>
                <a:ext cx="663575" cy="66357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grpSp>
        <p:grpSp>
          <p:nvGrpSpPr>
            <p:cNvPr id="8" name="Group 22">
              <a:extLst>
                <a:ext uri="{FF2B5EF4-FFF2-40B4-BE49-F238E27FC236}">
                  <a16:creationId xmlns:a16="http://schemas.microsoft.com/office/drawing/2014/main" id="{61A225AC-C076-4DA4-8DED-66C307D34460}"/>
                </a:ext>
              </a:extLst>
            </p:cNvPr>
            <p:cNvGrpSpPr/>
            <p:nvPr/>
          </p:nvGrpSpPr>
          <p:grpSpPr>
            <a:xfrm>
              <a:off x="3460750" y="2862263"/>
              <a:ext cx="890588" cy="889000"/>
              <a:chOff x="3460750" y="2862263"/>
              <a:chExt cx="890588" cy="889000"/>
            </a:xfrm>
          </p:grpSpPr>
          <p:sp>
            <p:nvSpPr>
              <p:cNvPr id="75" name="Oval 10">
                <a:extLst>
                  <a:ext uri="{FF2B5EF4-FFF2-40B4-BE49-F238E27FC236}">
                    <a16:creationId xmlns:a16="http://schemas.microsoft.com/office/drawing/2014/main" id="{E9FD1395-4AFA-4DE1-99D7-3048FA591B3A}"/>
                  </a:ext>
                </a:extLst>
              </p:cNvPr>
              <p:cNvSpPr>
                <a:spLocks noChangeArrowheads="1"/>
              </p:cNvSpPr>
              <p:nvPr/>
            </p:nvSpPr>
            <p:spPr bwMode="auto">
              <a:xfrm>
                <a:off x="3460750" y="2862263"/>
                <a:ext cx="890588" cy="889000"/>
              </a:xfrm>
              <a:prstGeom prst="ellipse">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76" name="Oval 11">
                <a:extLst>
                  <a:ext uri="{FF2B5EF4-FFF2-40B4-BE49-F238E27FC236}">
                    <a16:creationId xmlns:a16="http://schemas.microsoft.com/office/drawing/2014/main" id="{CF89B9AB-22D3-4C6E-93A1-428D6652C66A}"/>
                  </a:ext>
                </a:extLst>
              </p:cNvPr>
              <p:cNvSpPr>
                <a:spLocks noChangeArrowheads="1"/>
              </p:cNvSpPr>
              <p:nvPr/>
            </p:nvSpPr>
            <p:spPr bwMode="auto">
              <a:xfrm>
                <a:off x="3573463" y="2974976"/>
                <a:ext cx="665163" cy="66198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grpSp>
        <p:grpSp>
          <p:nvGrpSpPr>
            <p:cNvPr id="9" name="Group 23">
              <a:extLst>
                <a:ext uri="{FF2B5EF4-FFF2-40B4-BE49-F238E27FC236}">
                  <a16:creationId xmlns:a16="http://schemas.microsoft.com/office/drawing/2014/main" id="{A4D141ED-2B73-4ED9-8A04-12CF759C7872}"/>
                </a:ext>
              </a:extLst>
            </p:cNvPr>
            <p:cNvGrpSpPr/>
            <p:nvPr/>
          </p:nvGrpSpPr>
          <p:grpSpPr>
            <a:xfrm>
              <a:off x="4266604" y="3366182"/>
              <a:ext cx="890588" cy="889000"/>
              <a:chOff x="4135438" y="3830638"/>
              <a:chExt cx="890588" cy="889000"/>
            </a:xfrm>
          </p:grpSpPr>
          <p:sp>
            <p:nvSpPr>
              <p:cNvPr id="73" name="Oval 12">
                <a:extLst>
                  <a:ext uri="{FF2B5EF4-FFF2-40B4-BE49-F238E27FC236}">
                    <a16:creationId xmlns:a16="http://schemas.microsoft.com/office/drawing/2014/main" id="{1B7DDA29-3615-4C58-8F15-83F0A9D839A3}"/>
                  </a:ext>
                </a:extLst>
              </p:cNvPr>
              <p:cNvSpPr>
                <a:spLocks noChangeArrowheads="1"/>
              </p:cNvSpPr>
              <p:nvPr/>
            </p:nvSpPr>
            <p:spPr bwMode="auto">
              <a:xfrm>
                <a:off x="4135438" y="3830638"/>
                <a:ext cx="890588" cy="889000"/>
              </a:xfrm>
              <a:prstGeom prst="ellipse">
                <a:avLst/>
              </a:pr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74" name="Oval 13">
                <a:extLst>
                  <a:ext uri="{FF2B5EF4-FFF2-40B4-BE49-F238E27FC236}">
                    <a16:creationId xmlns:a16="http://schemas.microsoft.com/office/drawing/2014/main" id="{C5C297CB-2550-4221-B1C4-E07FCC3E0E55}"/>
                  </a:ext>
                </a:extLst>
              </p:cNvPr>
              <p:cNvSpPr>
                <a:spLocks noChangeArrowheads="1"/>
              </p:cNvSpPr>
              <p:nvPr/>
            </p:nvSpPr>
            <p:spPr bwMode="auto">
              <a:xfrm>
                <a:off x="4248150" y="3943351"/>
                <a:ext cx="665163" cy="66198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grpSp>
        <p:grpSp>
          <p:nvGrpSpPr>
            <p:cNvPr id="10" name="Group 24">
              <a:extLst>
                <a:ext uri="{FF2B5EF4-FFF2-40B4-BE49-F238E27FC236}">
                  <a16:creationId xmlns:a16="http://schemas.microsoft.com/office/drawing/2014/main" id="{41E67F10-34A4-4AEF-A22D-664297C983B6}"/>
                </a:ext>
              </a:extLst>
            </p:cNvPr>
            <p:cNvGrpSpPr/>
            <p:nvPr/>
          </p:nvGrpSpPr>
          <p:grpSpPr>
            <a:xfrm>
              <a:off x="5256610" y="3305970"/>
              <a:ext cx="889000" cy="889000"/>
              <a:chOff x="5507038" y="3494088"/>
              <a:chExt cx="889000" cy="889000"/>
            </a:xfrm>
          </p:grpSpPr>
          <p:sp>
            <p:nvSpPr>
              <p:cNvPr id="71" name="Oval 14">
                <a:extLst>
                  <a:ext uri="{FF2B5EF4-FFF2-40B4-BE49-F238E27FC236}">
                    <a16:creationId xmlns:a16="http://schemas.microsoft.com/office/drawing/2014/main" id="{4274242B-C4EF-4401-A0AA-9F1E42CCD50C}"/>
                  </a:ext>
                </a:extLst>
              </p:cNvPr>
              <p:cNvSpPr>
                <a:spLocks noChangeArrowheads="1"/>
              </p:cNvSpPr>
              <p:nvPr/>
            </p:nvSpPr>
            <p:spPr bwMode="auto">
              <a:xfrm>
                <a:off x="5507038" y="3494088"/>
                <a:ext cx="889000" cy="889000"/>
              </a:xfrm>
              <a:prstGeom prst="ellipse">
                <a:avLst/>
              </a:pr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72" name="Oval 15">
                <a:extLst>
                  <a:ext uri="{FF2B5EF4-FFF2-40B4-BE49-F238E27FC236}">
                    <a16:creationId xmlns:a16="http://schemas.microsoft.com/office/drawing/2014/main" id="{DADBB504-221F-4372-914B-50DF9B29C0DB}"/>
                  </a:ext>
                </a:extLst>
              </p:cNvPr>
              <p:cNvSpPr>
                <a:spLocks noChangeArrowheads="1"/>
              </p:cNvSpPr>
              <p:nvPr/>
            </p:nvSpPr>
            <p:spPr bwMode="auto">
              <a:xfrm>
                <a:off x="5619750" y="3606801"/>
                <a:ext cx="663575" cy="66198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grpSp>
        <p:grpSp>
          <p:nvGrpSpPr>
            <p:cNvPr id="11" name="Group 25">
              <a:extLst>
                <a:ext uri="{FF2B5EF4-FFF2-40B4-BE49-F238E27FC236}">
                  <a16:creationId xmlns:a16="http://schemas.microsoft.com/office/drawing/2014/main" id="{80DC835B-522D-40F1-A7C3-A020168DD65E}"/>
                </a:ext>
              </a:extLst>
            </p:cNvPr>
            <p:cNvGrpSpPr/>
            <p:nvPr/>
          </p:nvGrpSpPr>
          <p:grpSpPr>
            <a:xfrm>
              <a:off x="6569870" y="3424238"/>
              <a:ext cx="890588" cy="889000"/>
              <a:chOff x="6669088" y="3644901"/>
              <a:chExt cx="890588" cy="889000"/>
            </a:xfrm>
          </p:grpSpPr>
          <p:sp>
            <p:nvSpPr>
              <p:cNvPr id="69" name="Oval 16">
                <a:extLst>
                  <a:ext uri="{FF2B5EF4-FFF2-40B4-BE49-F238E27FC236}">
                    <a16:creationId xmlns:a16="http://schemas.microsoft.com/office/drawing/2014/main" id="{7BBE912D-1D1C-4031-A234-D550AF474FE9}"/>
                  </a:ext>
                </a:extLst>
              </p:cNvPr>
              <p:cNvSpPr>
                <a:spLocks noChangeArrowheads="1"/>
              </p:cNvSpPr>
              <p:nvPr/>
            </p:nvSpPr>
            <p:spPr bwMode="auto">
              <a:xfrm>
                <a:off x="6669088" y="3644901"/>
                <a:ext cx="890588" cy="889000"/>
              </a:xfrm>
              <a:prstGeom prst="ellipse">
                <a:avLst/>
              </a:pr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70" name="Oval 17">
                <a:extLst>
                  <a:ext uri="{FF2B5EF4-FFF2-40B4-BE49-F238E27FC236}">
                    <a16:creationId xmlns:a16="http://schemas.microsoft.com/office/drawing/2014/main" id="{D5C1DB20-0301-45F0-9B8F-0A6E9E6DACA0}"/>
                  </a:ext>
                </a:extLst>
              </p:cNvPr>
              <p:cNvSpPr>
                <a:spLocks noChangeArrowheads="1"/>
              </p:cNvSpPr>
              <p:nvPr/>
            </p:nvSpPr>
            <p:spPr bwMode="auto">
              <a:xfrm>
                <a:off x="6781800" y="3757613"/>
                <a:ext cx="663575" cy="66040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grpSp>
        <p:grpSp>
          <p:nvGrpSpPr>
            <p:cNvPr id="12" name="Group 27">
              <a:extLst>
                <a:ext uri="{FF2B5EF4-FFF2-40B4-BE49-F238E27FC236}">
                  <a16:creationId xmlns:a16="http://schemas.microsoft.com/office/drawing/2014/main" id="{E33D3914-0BD7-430B-8BB6-112BEA190176}"/>
                </a:ext>
              </a:extLst>
            </p:cNvPr>
            <p:cNvGrpSpPr/>
            <p:nvPr/>
          </p:nvGrpSpPr>
          <p:grpSpPr>
            <a:xfrm>
              <a:off x="7598569" y="2655436"/>
              <a:ext cx="890588" cy="889000"/>
              <a:chOff x="7631113" y="2862263"/>
              <a:chExt cx="890588" cy="889000"/>
            </a:xfrm>
          </p:grpSpPr>
          <p:sp>
            <p:nvSpPr>
              <p:cNvPr id="67" name="Oval 18">
                <a:extLst>
                  <a:ext uri="{FF2B5EF4-FFF2-40B4-BE49-F238E27FC236}">
                    <a16:creationId xmlns:a16="http://schemas.microsoft.com/office/drawing/2014/main" id="{A8DE1406-1D7F-4890-B50E-C46B0C343801}"/>
                  </a:ext>
                </a:extLst>
              </p:cNvPr>
              <p:cNvSpPr>
                <a:spLocks noChangeArrowheads="1"/>
              </p:cNvSpPr>
              <p:nvPr/>
            </p:nvSpPr>
            <p:spPr bwMode="auto">
              <a:xfrm>
                <a:off x="7631113" y="2862263"/>
                <a:ext cx="890588" cy="889000"/>
              </a:xfrm>
              <a:prstGeom prst="ellipse">
                <a:avLst/>
              </a:pr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68" name="Oval 19">
                <a:extLst>
                  <a:ext uri="{FF2B5EF4-FFF2-40B4-BE49-F238E27FC236}">
                    <a16:creationId xmlns:a16="http://schemas.microsoft.com/office/drawing/2014/main" id="{E12250C7-24D2-4F21-BCFF-67EEFAB85932}"/>
                  </a:ext>
                </a:extLst>
              </p:cNvPr>
              <p:cNvSpPr>
                <a:spLocks noChangeArrowheads="1"/>
              </p:cNvSpPr>
              <p:nvPr/>
            </p:nvSpPr>
            <p:spPr bwMode="auto">
              <a:xfrm>
                <a:off x="7743825" y="2974976"/>
                <a:ext cx="663575" cy="66198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grpSp>
        <p:grpSp>
          <p:nvGrpSpPr>
            <p:cNvPr id="13" name="Group 28">
              <a:extLst>
                <a:ext uri="{FF2B5EF4-FFF2-40B4-BE49-F238E27FC236}">
                  <a16:creationId xmlns:a16="http://schemas.microsoft.com/office/drawing/2014/main" id="{8AD0FA5E-166E-4D3C-866F-C6AFA14CBC57}"/>
                </a:ext>
              </a:extLst>
            </p:cNvPr>
            <p:cNvGrpSpPr/>
            <p:nvPr/>
          </p:nvGrpSpPr>
          <p:grpSpPr>
            <a:xfrm>
              <a:off x="7346158" y="1527970"/>
              <a:ext cx="890588" cy="889000"/>
              <a:chOff x="7429500" y="1765301"/>
              <a:chExt cx="890588" cy="889000"/>
            </a:xfrm>
          </p:grpSpPr>
          <p:sp>
            <p:nvSpPr>
              <p:cNvPr id="65" name="Oval 20">
                <a:extLst>
                  <a:ext uri="{FF2B5EF4-FFF2-40B4-BE49-F238E27FC236}">
                    <a16:creationId xmlns:a16="http://schemas.microsoft.com/office/drawing/2014/main" id="{AE84D4C8-1A03-4E2F-BDFC-7396E5F09666}"/>
                  </a:ext>
                </a:extLst>
              </p:cNvPr>
              <p:cNvSpPr>
                <a:spLocks noChangeArrowheads="1"/>
              </p:cNvSpPr>
              <p:nvPr/>
            </p:nvSpPr>
            <p:spPr bwMode="auto">
              <a:xfrm>
                <a:off x="7429500" y="1765301"/>
                <a:ext cx="890588" cy="889000"/>
              </a:xfrm>
              <a:prstGeom prst="ellipse">
                <a:avLst/>
              </a:pr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66" name="Oval 21">
                <a:extLst>
                  <a:ext uri="{FF2B5EF4-FFF2-40B4-BE49-F238E27FC236}">
                    <a16:creationId xmlns:a16="http://schemas.microsoft.com/office/drawing/2014/main" id="{3E4B8332-E309-460F-903F-C6DC769FFF09}"/>
                  </a:ext>
                </a:extLst>
              </p:cNvPr>
              <p:cNvSpPr>
                <a:spLocks noChangeArrowheads="1"/>
              </p:cNvSpPr>
              <p:nvPr/>
            </p:nvSpPr>
            <p:spPr bwMode="auto">
              <a:xfrm>
                <a:off x="7543800" y="1878013"/>
                <a:ext cx="663575" cy="66357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grpSp>
        <p:grpSp>
          <p:nvGrpSpPr>
            <p:cNvPr id="15" name="Group 30">
              <a:extLst>
                <a:ext uri="{FF2B5EF4-FFF2-40B4-BE49-F238E27FC236}">
                  <a16:creationId xmlns:a16="http://schemas.microsoft.com/office/drawing/2014/main" id="{B2056ACA-8EB2-48B7-A65C-3F95A3FE826B}"/>
                </a:ext>
              </a:extLst>
            </p:cNvPr>
            <p:cNvGrpSpPr/>
            <p:nvPr/>
          </p:nvGrpSpPr>
          <p:grpSpPr>
            <a:xfrm flipH="1">
              <a:off x="4083184" y="2071323"/>
              <a:ext cx="329932" cy="327754"/>
              <a:chOff x="5978525" y="5013326"/>
              <a:chExt cx="481013" cy="477838"/>
            </a:xfrm>
            <a:solidFill>
              <a:schemeClr val="tx1">
                <a:lumMod val="85000"/>
                <a:lumOff val="15000"/>
              </a:schemeClr>
            </a:solidFill>
          </p:grpSpPr>
          <p:sp>
            <p:nvSpPr>
              <p:cNvPr id="58" name="Freeform 121">
                <a:extLst>
                  <a:ext uri="{FF2B5EF4-FFF2-40B4-BE49-F238E27FC236}">
                    <a16:creationId xmlns:a16="http://schemas.microsoft.com/office/drawing/2014/main" id="{BACC932F-6823-4EA0-8555-62F0EE2FF215}"/>
                  </a:ext>
                </a:extLst>
              </p:cNvPr>
              <p:cNvSpPr>
                <a:spLocks/>
              </p:cNvSpPr>
              <p:nvPr/>
            </p:nvSpPr>
            <p:spPr bwMode="auto">
              <a:xfrm>
                <a:off x="5978525" y="5208588"/>
                <a:ext cx="96838" cy="282575"/>
              </a:xfrm>
              <a:custGeom>
                <a:avLst/>
                <a:gdLst>
                  <a:gd name="T0" fmla="*/ 152 w 674"/>
                  <a:gd name="T1" fmla="*/ 0 h 1956"/>
                  <a:gd name="T2" fmla="*/ 522 w 674"/>
                  <a:gd name="T3" fmla="*/ 0 h 1956"/>
                  <a:gd name="T4" fmla="*/ 553 w 674"/>
                  <a:gd name="T5" fmla="*/ 4 h 1956"/>
                  <a:gd name="T6" fmla="*/ 582 w 674"/>
                  <a:gd name="T7" fmla="*/ 13 h 1956"/>
                  <a:gd name="T8" fmla="*/ 607 w 674"/>
                  <a:gd name="T9" fmla="*/ 26 h 1956"/>
                  <a:gd name="T10" fmla="*/ 629 w 674"/>
                  <a:gd name="T11" fmla="*/ 45 h 1956"/>
                  <a:gd name="T12" fmla="*/ 648 w 674"/>
                  <a:gd name="T13" fmla="*/ 67 h 1956"/>
                  <a:gd name="T14" fmla="*/ 662 w 674"/>
                  <a:gd name="T15" fmla="*/ 93 h 1956"/>
                  <a:gd name="T16" fmla="*/ 671 w 674"/>
                  <a:gd name="T17" fmla="*/ 121 h 1956"/>
                  <a:gd name="T18" fmla="*/ 674 w 674"/>
                  <a:gd name="T19" fmla="*/ 151 h 1956"/>
                  <a:gd name="T20" fmla="*/ 674 w 674"/>
                  <a:gd name="T21" fmla="*/ 1806 h 1956"/>
                  <a:gd name="T22" fmla="*/ 671 w 674"/>
                  <a:gd name="T23" fmla="*/ 1836 h 1956"/>
                  <a:gd name="T24" fmla="*/ 662 w 674"/>
                  <a:gd name="T25" fmla="*/ 1864 h 1956"/>
                  <a:gd name="T26" fmla="*/ 648 w 674"/>
                  <a:gd name="T27" fmla="*/ 1890 h 1956"/>
                  <a:gd name="T28" fmla="*/ 629 w 674"/>
                  <a:gd name="T29" fmla="*/ 1912 h 1956"/>
                  <a:gd name="T30" fmla="*/ 607 w 674"/>
                  <a:gd name="T31" fmla="*/ 1931 h 1956"/>
                  <a:gd name="T32" fmla="*/ 582 w 674"/>
                  <a:gd name="T33" fmla="*/ 1944 h 1956"/>
                  <a:gd name="T34" fmla="*/ 553 w 674"/>
                  <a:gd name="T35" fmla="*/ 1952 h 1956"/>
                  <a:gd name="T36" fmla="*/ 522 w 674"/>
                  <a:gd name="T37" fmla="*/ 1956 h 1956"/>
                  <a:gd name="T38" fmla="*/ 152 w 674"/>
                  <a:gd name="T39" fmla="*/ 1956 h 1956"/>
                  <a:gd name="T40" fmla="*/ 121 w 674"/>
                  <a:gd name="T41" fmla="*/ 1952 h 1956"/>
                  <a:gd name="T42" fmla="*/ 93 w 674"/>
                  <a:gd name="T43" fmla="*/ 1944 h 1956"/>
                  <a:gd name="T44" fmla="*/ 67 w 674"/>
                  <a:gd name="T45" fmla="*/ 1931 h 1956"/>
                  <a:gd name="T46" fmla="*/ 45 w 674"/>
                  <a:gd name="T47" fmla="*/ 1912 h 1956"/>
                  <a:gd name="T48" fmla="*/ 26 w 674"/>
                  <a:gd name="T49" fmla="*/ 1890 h 1956"/>
                  <a:gd name="T50" fmla="*/ 13 w 674"/>
                  <a:gd name="T51" fmla="*/ 1864 h 1956"/>
                  <a:gd name="T52" fmla="*/ 3 w 674"/>
                  <a:gd name="T53" fmla="*/ 1836 h 1956"/>
                  <a:gd name="T54" fmla="*/ 0 w 674"/>
                  <a:gd name="T55" fmla="*/ 1806 h 1956"/>
                  <a:gd name="T56" fmla="*/ 0 w 674"/>
                  <a:gd name="T57" fmla="*/ 151 h 1956"/>
                  <a:gd name="T58" fmla="*/ 3 w 674"/>
                  <a:gd name="T59" fmla="*/ 121 h 1956"/>
                  <a:gd name="T60" fmla="*/ 13 w 674"/>
                  <a:gd name="T61" fmla="*/ 93 h 1956"/>
                  <a:gd name="T62" fmla="*/ 26 w 674"/>
                  <a:gd name="T63" fmla="*/ 67 h 1956"/>
                  <a:gd name="T64" fmla="*/ 45 w 674"/>
                  <a:gd name="T65" fmla="*/ 45 h 1956"/>
                  <a:gd name="T66" fmla="*/ 67 w 674"/>
                  <a:gd name="T67" fmla="*/ 26 h 1956"/>
                  <a:gd name="T68" fmla="*/ 93 w 674"/>
                  <a:gd name="T69" fmla="*/ 13 h 1956"/>
                  <a:gd name="T70" fmla="*/ 121 w 674"/>
                  <a:gd name="T71" fmla="*/ 4 h 1956"/>
                  <a:gd name="T72" fmla="*/ 152 w 674"/>
                  <a:gd name="T73" fmla="*/ 0 h 19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74" h="1956">
                    <a:moveTo>
                      <a:pt x="152" y="0"/>
                    </a:moveTo>
                    <a:lnTo>
                      <a:pt x="522" y="0"/>
                    </a:lnTo>
                    <a:lnTo>
                      <a:pt x="553" y="4"/>
                    </a:lnTo>
                    <a:lnTo>
                      <a:pt x="582" y="13"/>
                    </a:lnTo>
                    <a:lnTo>
                      <a:pt x="607" y="26"/>
                    </a:lnTo>
                    <a:lnTo>
                      <a:pt x="629" y="45"/>
                    </a:lnTo>
                    <a:lnTo>
                      <a:pt x="648" y="67"/>
                    </a:lnTo>
                    <a:lnTo>
                      <a:pt x="662" y="93"/>
                    </a:lnTo>
                    <a:lnTo>
                      <a:pt x="671" y="121"/>
                    </a:lnTo>
                    <a:lnTo>
                      <a:pt x="674" y="151"/>
                    </a:lnTo>
                    <a:lnTo>
                      <a:pt x="674" y="1806"/>
                    </a:lnTo>
                    <a:lnTo>
                      <a:pt x="671" y="1836"/>
                    </a:lnTo>
                    <a:lnTo>
                      <a:pt x="662" y="1864"/>
                    </a:lnTo>
                    <a:lnTo>
                      <a:pt x="648" y="1890"/>
                    </a:lnTo>
                    <a:lnTo>
                      <a:pt x="629" y="1912"/>
                    </a:lnTo>
                    <a:lnTo>
                      <a:pt x="607" y="1931"/>
                    </a:lnTo>
                    <a:lnTo>
                      <a:pt x="582" y="1944"/>
                    </a:lnTo>
                    <a:lnTo>
                      <a:pt x="553" y="1952"/>
                    </a:lnTo>
                    <a:lnTo>
                      <a:pt x="522" y="1956"/>
                    </a:lnTo>
                    <a:lnTo>
                      <a:pt x="152" y="1956"/>
                    </a:lnTo>
                    <a:lnTo>
                      <a:pt x="121" y="1952"/>
                    </a:lnTo>
                    <a:lnTo>
                      <a:pt x="93" y="1944"/>
                    </a:lnTo>
                    <a:lnTo>
                      <a:pt x="67" y="1931"/>
                    </a:lnTo>
                    <a:lnTo>
                      <a:pt x="45" y="1912"/>
                    </a:lnTo>
                    <a:lnTo>
                      <a:pt x="26" y="1890"/>
                    </a:lnTo>
                    <a:lnTo>
                      <a:pt x="13" y="1864"/>
                    </a:lnTo>
                    <a:lnTo>
                      <a:pt x="3" y="1836"/>
                    </a:lnTo>
                    <a:lnTo>
                      <a:pt x="0" y="1806"/>
                    </a:lnTo>
                    <a:lnTo>
                      <a:pt x="0" y="151"/>
                    </a:lnTo>
                    <a:lnTo>
                      <a:pt x="3" y="121"/>
                    </a:lnTo>
                    <a:lnTo>
                      <a:pt x="13" y="93"/>
                    </a:lnTo>
                    <a:lnTo>
                      <a:pt x="26" y="67"/>
                    </a:lnTo>
                    <a:lnTo>
                      <a:pt x="45" y="45"/>
                    </a:lnTo>
                    <a:lnTo>
                      <a:pt x="67" y="26"/>
                    </a:lnTo>
                    <a:lnTo>
                      <a:pt x="93" y="13"/>
                    </a:lnTo>
                    <a:lnTo>
                      <a:pt x="121" y="4"/>
                    </a:lnTo>
                    <a:lnTo>
                      <a:pt x="15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59" name="Freeform 122">
                <a:extLst>
                  <a:ext uri="{FF2B5EF4-FFF2-40B4-BE49-F238E27FC236}">
                    <a16:creationId xmlns:a16="http://schemas.microsoft.com/office/drawing/2014/main" id="{37ACEDAD-C9D2-4614-91AD-E3A0F4CECAC2}"/>
                  </a:ext>
                </a:extLst>
              </p:cNvPr>
              <p:cNvSpPr>
                <a:spLocks/>
              </p:cNvSpPr>
              <p:nvPr/>
            </p:nvSpPr>
            <p:spPr bwMode="auto">
              <a:xfrm>
                <a:off x="6105525" y="5273676"/>
                <a:ext cx="98425" cy="217488"/>
              </a:xfrm>
              <a:custGeom>
                <a:avLst/>
                <a:gdLst>
                  <a:gd name="T0" fmla="*/ 151 w 674"/>
                  <a:gd name="T1" fmla="*/ 0 h 1504"/>
                  <a:gd name="T2" fmla="*/ 522 w 674"/>
                  <a:gd name="T3" fmla="*/ 0 h 1504"/>
                  <a:gd name="T4" fmla="*/ 552 w 674"/>
                  <a:gd name="T5" fmla="*/ 3 h 1504"/>
                  <a:gd name="T6" fmla="*/ 582 w 674"/>
                  <a:gd name="T7" fmla="*/ 12 h 1504"/>
                  <a:gd name="T8" fmla="*/ 607 w 674"/>
                  <a:gd name="T9" fmla="*/ 26 h 1504"/>
                  <a:gd name="T10" fmla="*/ 630 w 674"/>
                  <a:gd name="T11" fmla="*/ 44 h 1504"/>
                  <a:gd name="T12" fmla="*/ 648 w 674"/>
                  <a:gd name="T13" fmla="*/ 66 h 1504"/>
                  <a:gd name="T14" fmla="*/ 662 w 674"/>
                  <a:gd name="T15" fmla="*/ 92 h 1504"/>
                  <a:gd name="T16" fmla="*/ 671 w 674"/>
                  <a:gd name="T17" fmla="*/ 120 h 1504"/>
                  <a:gd name="T18" fmla="*/ 674 w 674"/>
                  <a:gd name="T19" fmla="*/ 151 h 1504"/>
                  <a:gd name="T20" fmla="*/ 674 w 674"/>
                  <a:gd name="T21" fmla="*/ 1354 h 1504"/>
                  <a:gd name="T22" fmla="*/ 671 w 674"/>
                  <a:gd name="T23" fmla="*/ 1384 h 1504"/>
                  <a:gd name="T24" fmla="*/ 662 w 674"/>
                  <a:gd name="T25" fmla="*/ 1412 h 1504"/>
                  <a:gd name="T26" fmla="*/ 648 w 674"/>
                  <a:gd name="T27" fmla="*/ 1438 h 1504"/>
                  <a:gd name="T28" fmla="*/ 630 w 674"/>
                  <a:gd name="T29" fmla="*/ 1460 h 1504"/>
                  <a:gd name="T30" fmla="*/ 607 w 674"/>
                  <a:gd name="T31" fmla="*/ 1479 h 1504"/>
                  <a:gd name="T32" fmla="*/ 582 w 674"/>
                  <a:gd name="T33" fmla="*/ 1492 h 1504"/>
                  <a:gd name="T34" fmla="*/ 552 w 674"/>
                  <a:gd name="T35" fmla="*/ 1500 h 1504"/>
                  <a:gd name="T36" fmla="*/ 522 w 674"/>
                  <a:gd name="T37" fmla="*/ 1504 h 1504"/>
                  <a:gd name="T38" fmla="*/ 151 w 674"/>
                  <a:gd name="T39" fmla="*/ 1504 h 1504"/>
                  <a:gd name="T40" fmla="*/ 121 w 674"/>
                  <a:gd name="T41" fmla="*/ 1500 h 1504"/>
                  <a:gd name="T42" fmla="*/ 93 w 674"/>
                  <a:gd name="T43" fmla="*/ 1492 h 1504"/>
                  <a:gd name="T44" fmla="*/ 67 w 674"/>
                  <a:gd name="T45" fmla="*/ 1479 h 1504"/>
                  <a:gd name="T46" fmla="*/ 45 w 674"/>
                  <a:gd name="T47" fmla="*/ 1460 h 1504"/>
                  <a:gd name="T48" fmla="*/ 26 w 674"/>
                  <a:gd name="T49" fmla="*/ 1438 h 1504"/>
                  <a:gd name="T50" fmla="*/ 12 w 674"/>
                  <a:gd name="T51" fmla="*/ 1412 h 1504"/>
                  <a:gd name="T52" fmla="*/ 3 w 674"/>
                  <a:gd name="T53" fmla="*/ 1384 h 1504"/>
                  <a:gd name="T54" fmla="*/ 0 w 674"/>
                  <a:gd name="T55" fmla="*/ 1354 h 1504"/>
                  <a:gd name="T56" fmla="*/ 0 w 674"/>
                  <a:gd name="T57" fmla="*/ 151 h 1504"/>
                  <a:gd name="T58" fmla="*/ 3 w 674"/>
                  <a:gd name="T59" fmla="*/ 120 h 1504"/>
                  <a:gd name="T60" fmla="*/ 12 w 674"/>
                  <a:gd name="T61" fmla="*/ 92 h 1504"/>
                  <a:gd name="T62" fmla="*/ 26 w 674"/>
                  <a:gd name="T63" fmla="*/ 66 h 1504"/>
                  <a:gd name="T64" fmla="*/ 45 w 674"/>
                  <a:gd name="T65" fmla="*/ 44 h 1504"/>
                  <a:gd name="T66" fmla="*/ 67 w 674"/>
                  <a:gd name="T67" fmla="*/ 26 h 1504"/>
                  <a:gd name="T68" fmla="*/ 93 w 674"/>
                  <a:gd name="T69" fmla="*/ 12 h 1504"/>
                  <a:gd name="T70" fmla="*/ 121 w 674"/>
                  <a:gd name="T71" fmla="*/ 3 h 1504"/>
                  <a:gd name="T72" fmla="*/ 151 w 674"/>
                  <a:gd name="T73" fmla="*/ 0 h 1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74" h="1504">
                    <a:moveTo>
                      <a:pt x="151" y="0"/>
                    </a:moveTo>
                    <a:lnTo>
                      <a:pt x="522" y="0"/>
                    </a:lnTo>
                    <a:lnTo>
                      <a:pt x="552" y="3"/>
                    </a:lnTo>
                    <a:lnTo>
                      <a:pt x="582" y="12"/>
                    </a:lnTo>
                    <a:lnTo>
                      <a:pt x="607" y="26"/>
                    </a:lnTo>
                    <a:lnTo>
                      <a:pt x="630" y="44"/>
                    </a:lnTo>
                    <a:lnTo>
                      <a:pt x="648" y="66"/>
                    </a:lnTo>
                    <a:lnTo>
                      <a:pt x="662" y="92"/>
                    </a:lnTo>
                    <a:lnTo>
                      <a:pt x="671" y="120"/>
                    </a:lnTo>
                    <a:lnTo>
                      <a:pt x="674" y="151"/>
                    </a:lnTo>
                    <a:lnTo>
                      <a:pt x="674" y="1354"/>
                    </a:lnTo>
                    <a:lnTo>
                      <a:pt x="671" y="1384"/>
                    </a:lnTo>
                    <a:lnTo>
                      <a:pt x="662" y="1412"/>
                    </a:lnTo>
                    <a:lnTo>
                      <a:pt x="648" y="1438"/>
                    </a:lnTo>
                    <a:lnTo>
                      <a:pt x="630" y="1460"/>
                    </a:lnTo>
                    <a:lnTo>
                      <a:pt x="607" y="1479"/>
                    </a:lnTo>
                    <a:lnTo>
                      <a:pt x="582" y="1492"/>
                    </a:lnTo>
                    <a:lnTo>
                      <a:pt x="552" y="1500"/>
                    </a:lnTo>
                    <a:lnTo>
                      <a:pt x="522" y="1504"/>
                    </a:lnTo>
                    <a:lnTo>
                      <a:pt x="151" y="1504"/>
                    </a:lnTo>
                    <a:lnTo>
                      <a:pt x="121" y="1500"/>
                    </a:lnTo>
                    <a:lnTo>
                      <a:pt x="93" y="1492"/>
                    </a:lnTo>
                    <a:lnTo>
                      <a:pt x="67" y="1479"/>
                    </a:lnTo>
                    <a:lnTo>
                      <a:pt x="45" y="1460"/>
                    </a:lnTo>
                    <a:lnTo>
                      <a:pt x="26" y="1438"/>
                    </a:lnTo>
                    <a:lnTo>
                      <a:pt x="12" y="1412"/>
                    </a:lnTo>
                    <a:lnTo>
                      <a:pt x="3" y="1384"/>
                    </a:lnTo>
                    <a:lnTo>
                      <a:pt x="0" y="1354"/>
                    </a:lnTo>
                    <a:lnTo>
                      <a:pt x="0" y="151"/>
                    </a:lnTo>
                    <a:lnTo>
                      <a:pt x="3" y="120"/>
                    </a:lnTo>
                    <a:lnTo>
                      <a:pt x="12" y="92"/>
                    </a:lnTo>
                    <a:lnTo>
                      <a:pt x="26" y="66"/>
                    </a:lnTo>
                    <a:lnTo>
                      <a:pt x="45" y="44"/>
                    </a:lnTo>
                    <a:lnTo>
                      <a:pt x="67" y="26"/>
                    </a:lnTo>
                    <a:lnTo>
                      <a:pt x="93" y="12"/>
                    </a:lnTo>
                    <a:lnTo>
                      <a:pt x="121" y="3"/>
                    </a:lnTo>
                    <a:lnTo>
                      <a:pt x="15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60" name="Freeform 123">
                <a:extLst>
                  <a:ext uri="{FF2B5EF4-FFF2-40B4-BE49-F238E27FC236}">
                    <a16:creationId xmlns:a16="http://schemas.microsoft.com/office/drawing/2014/main" id="{C23EBDF0-50C2-41E4-AF30-DBB7CB40E3C8}"/>
                  </a:ext>
                </a:extLst>
              </p:cNvPr>
              <p:cNvSpPr>
                <a:spLocks/>
              </p:cNvSpPr>
              <p:nvPr/>
            </p:nvSpPr>
            <p:spPr bwMode="auto">
              <a:xfrm>
                <a:off x="6234113" y="5273676"/>
                <a:ext cx="96838" cy="217488"/>
              </a:xfrm>
              <a:custGeom>
                <a:avLst/>
                <a:gdLst>
                  <a:gd name="T0" fmla="*/ 152 w 675"/>
                  <a:gd name="T1" fmla="*/ 0 h 1504"/>
                  <a:gd name="T2" fmla="*/ 523 w 675"/>
                  <a:gd name="T3" fmla="*/ 0 h 1504"/>
                  <a:gd name="T4" fmla="*/ 553 w 675"/>
                  <a:gd name="T5" fmla="*/ 3 h 1504"/>
                  <a:gd name="T6" fmla="*/ 581 w 675"/>
                  <a:gd name="T7" fmla="*/ 12 h 1504"/>
                  <a:gd name="T8" fmla="*/ 608 w 675"/>
                  <a:gd name="T9" fmla="*/ 26 h 1504"/>
                  <a:gd name="T10" fmla="*/ 630 w 675"/>
                  <a:gd name="T11" fmla="*/ 44 h 1504"/>
                  <a:gd name="T12" fmla="*/ 648 w 675"/>
                  <a:gd name="T13" fmla="*/ 66 h 1504"/>
                  <a:gd name="T14" fmla="*/ 662 w 675"/>
                  <a:gd name="T15" fmla="*/ 92 h 1504"/>
                  <a:gd name="T16" fmla="*/ 672 w 675"/>
                  <a:gd name="T17" fmla="*/ 120 h 1504"/>
                  <a:gd name="T18" fmla="*/ 675 w 675"/>
                  <a:gd name="T19" fmla="*/ 151 h 1504"/>
                  <a:gd name="T20" fmla="*/ 675 w 675"/>
                  <a:gd name="T21" fmla="*/ 1354 h 1504"/>
                  <a:gd name="T22" fmla="*/ 672 w 675"/>
                  <a:gd name="T23" fmla="*/ 1384 h 1504"/>
                  <a:gd name="T24" fmla="*/ 662 w 675"/>
                  <a:gd name="T25" fmla="*/ 1412 h 1504"/>
                  <a:gd name="T26" fmla="*/ 648 w 675"/>
                  <a:gd name="T27" fmla="*/ 1438 h 1504"/>
                  <a:gd name="T28" fmla="*/ 630 w 675"/>
                  <a:gd name="T29" fmla="*/ 1460 h 1504"/>
                  <a:gd name="T30" fmla="*/ 608 w 675"/>
                  <a:gd name="T31" fmla="*/ 1479 h 1504"/>
                  <a:gd name="T32" fmla="*/ 581 w 675"/>
                  <a:gd name="T33" fmla="*/ 1492 h 1504"/>
                  <a:gd name="T34" fmla="*/ 553 w 675"/>
                  <a:gd name="T35" fmla="*/ 1500 h 1504"/>
                  <a:gd name="T36" fmla="*/ 523 w 675"/>
                  <a:gd name="T37" fmla="*/ 1504 h 1504"/>
                  <a:gd name="T38" fmla="*/ 152 w 675"/>
                  <a:gd name="T39" fmla="*/ 1504 h 1504"/>
                  <a:gd name="T40" fmla="*/ 122 w 675"/>
                  <a:gd name="T41" fmla="*/ 1500 h 1504"/>
                  <a:gd name="T42" fmla="*/ 94 w 675"/>
                  <a:gd name="T43" fmla="*/ 1492 h 1504"/>
                  <a:gd name="T44" fmla="*/ 67 w 675"/>
                  <a:gd name="T45" fmla="*/ 1479 h 1504"/>
                  <a:gd name="T46" fmla="*/ 45 w 675"/>
                  <a:gd name="T47" fmla="*/ 1460 h 1504"/>
                  <a:gd name="T48" fmla="*/ 27 w 675"/>
                  <a:gd name="T49" fmla="*/ 1438 h 1504"/>
                  <a:gd name="T50" fmla="*/ 13 w 675"/>
                  <a:gd name="T51" fmla="*/ 1412 h 1504"/>
                  <a:gd name="T52" fmla="*/ 4 w 675"/>
                  <a:gd name="T53" fmla="*/ 1384 h 1504"/>
                  <a:gd name="T54" fmla="*/ 0 w 675"/>
                  <a:gd name="T55" fmla="*/ 1354 h 1504"/>
                  <a:gd name="T56" fmla="*/ 0 w 675"/>
                  <a:gd name="T57" fmla="*/ 151 h 1504"/>
                  <a:gd name="T58" fmla="*/ 4 w 675"/>
                  <a:gd name="T59" fmla="*/ 120 h 1504"/>
                  <a:gd name="T60" fmla="*/ 13 w 675"/>
                  <a:gd name="T61" fmla="*/ 92 h 1504"/>
                  <a:gd name="T62" fmla="*/ 27 w 675"/>
                  <a:gd name="T63" fmla="*/ 66 h 1504"/>
                  <a:gd name="T64" fmla="*/ 45 w 675"/>
                  <a:gd name="T65" fmla="*/ 44 h 1504"/>
                  <a:gd name="T66" fmla="*/ 67 w 675"/>
                  <a:gd name="T67" fmla="*/ 26 h 1504"/>
                  <a:gd name="T68" fmla="*/ 94 w 675"/>
                  <a:gd name="T69" fmla="*/ 12 h 1504"/>
                  <a:gd name="T70" fmla="*/ 122 w 675"/>
                  <a:gd name="T71" fmla="*/ 3 h 1504"/>
                  <a:gd name="T72" fmla="*/ 152 w 675"/>
                  <a:gd name="T73" fmla="*/ 0 h 1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75" h="1504">
                    <a:moveTo>
                      <a:pt x="152" y="0"/>
                    </a:moveTo>
                    <a:lnTo>
                      <a:pt x="523" y="0"/>
                    </a:lnTo>
                    <a:lnTo>
                      <a:pt x="553" y="3"/>
                    </a:lnTo>
                    <a:lnTo>
                      <a:pt x="581" y="12"/>
                    </a:lnTo>
                    <a:lnTo>
                      <a:pt x="608" y="26"/>
                    </a:lnTo>
                    <a:lnTo>
                      <a:pt x="630" y="44"/>
                    </a:lnTo>
                    <a:lnTo>
                      <a:pt x="648" y="66"/>
                    </a:lnTo>
                    <a:lnTo>
                      <a:pt x="662" y="92"/>
                    </a:lnTo>
                    <a:lnTo>
                      <a:pt x="672" y="120"/>
                    </a:lnTo>
                    <a:lnTo>
                      <a:pt x="675" y="151"/>
                    </a:lnTo>
                    <a:lnTo>
                      <a:pt x="675" y="1354"/>
                    </a:lnTo>
                    <a:lnTo>
                      <a:pt x="672" y="1384"/>
                    </a:lnTo>
                    <a:lnTo>
                      <a:pt x="662" y="1412"/>
                    </a:lnTo>
                    <a:lnTo>
                      <a:pt x="648" y="1438"/>
                    </a:lnTo>
                    <a:lnTo>
                      <a:pt x="630" y="1460"/>
                    </a:lnTo>
                    <a:lnTo>
                      <a:pt x="608" y="1479"/>
                    </a:lnTo>
                    <a:lnTo>
                      <a:pt x="581" y="1492"/>
                    </a:lnTo>
                    <a:lnTo>
                      <a:pt x="553" y="1500"/>
                    </a:lnTo>
                    <a:lnTo>
                      <a:pt x="523" y="1504"/>
                    </a:lnTo>
                    <a:lnTo>
                      <a:pt x="152" y="1504"/>
                    </a:lnTo>
                    <a:lnTo>
                      <a:pt x="122" y="1500"/>
                    </a:lnTo>
                    <a:lnTo>
                      <a:pt x="94" y="1492"/>
                    </a:lnTo>
                    <a:lnTo>
                      <a:pt x="67" y="1479"/>
                    </a:lnTo>
                    <a:lnTo>
                      <a:pt x="45" y="1460"/>
                    </a:lnTo>
                    <a:lnTo>
                      <a:pt x="27" y="1438"/>
                    </a:lnTo>
                    <a:lnTo>
                      <a:pt x="13" y="1412"/>
                    </a:lnTo>
                    <a:lnTo>
                      <a:pt x="4" y="1384"/>
                    </a:lnTo>
                    <a:lnTo>
                      <a:pt x="0" y="1354"/>
                    </a:lnTo>
                    <a:lnTo>
                      <a:pt x="0" y="151"/>
                    </a:lnTo>
                    <a:lnTo>
                      <a:pt x="4" y="120"/>
                    </a:lnTo>
                    <a:lnTo>
                      <a:pt x="13" y="92"/>
                    </a:lnTo>
                    <a:lnTo>
                      <a:pt x="27" y="66"/>
                    </a:lnTo>
                    <a:lnTo>
                      <a:pt x="45" y="44"/>
                    </a:lnTo>
                    <a:lnTo>
                      <a:pt x="67" y="26"/>
                    </a:lnTo>
                    <a:lnTo>
                      <a:pt x="94" y="12"/>
                    </a:lnTo>
                    <a:lnTo>
                      <a:pt x="122" y="3"/>
                    </a:lnTo>
                    <a:lnTo>
                      <a:pt x="15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61" name="Freeform 124">
                <a:extLst>
                  <a:ext uri="{FF2B5EF4-FFF2-40B4-BE49-F238E27FC236}">
                    <a16:creationId xmlns:a16="http://schemas.microsoft.com/office/drawing/2014/main" id="{6B5F60E9-42C9-4804-8E1B-BF52FE32DEB6}"/>
                  </a:ext>
                </a:extLst>
              </p:cNvPr>
              <p:cNvSpPr>
                <a:spLocks/>
              </p:cNvSpPr>
              <p:nvPr/>
            </p:nvSpPr>
            <p:spPr bwMode="auto">
              <a:xfrm>
                <a:off x="6361113" y="5208588"/>
                <a:ext cx="98425" cy="282575"/>
              </a:xfrm>
              <a:custGeom>
                <a:avLst/>
                <a:gdLst>
                  <a:gd name="T0" fmla="*/ 152 w 674"/>
                  <a:gd name="T1" fmla="*/ 0 h 1956"/>
                  <a:gd name="T2" fmla="*/ 523 w 674"/>
                  <a:gd name="T3" fmla="*/ 0 h 1956"/>
                  <a:gd name="T4" fmla="*/ 553 w 674"/>
                  <a:gd name="T5" fmla="*/ 4 h 1956"/>
                  <a:gd name="T6" fmla="*/ 582 w 674"/>
                  <a:gd name="T7" fmla="*/ 13 h 1956"/>
                  <a:gd name="T8" fmla="*/ 607 w 674"/>
                  <a:gd name="T9" fmla="*/ 26 h 1956"/>
                  <a:gd name="T10" fmla="*/ 630 w 674"/>
                  <a:gd name="T11" fmla="*/ 45 h 1956"/>
                  <a:gd name="T12" fmla="*/ 648 w 674"/>
                  <a:gd name="T13" fmla="*/ 67 h 1956"/>
                  <a:gd name="T14" fmla="*/ 663 w 674"/>
                  <a:gd name="T15" fmla="*/ 93 h 1956"/>
                  <a:gd name="T16" fmla="*/ 671 w 674"/>
                  <a:gd name="T17" fmla="*/ 121 h 1956"/>
                  <a:gd name="T18" fmla="*/ 674 w 674"/>
                  <a:gd name="T19" fmla="*/ 151 h 1956"/>
                  <a:gd name="T20" fmla="*/ 674 w 674"/>
                  <a:gd name="T21" fmla="*/ 1806 h 1956"/>
                  <a:gd name="T22" fmla="*/ 671 w 674"/>
                  <a:gd name="T23" fmla="*/ 1836 h 1956"/>
                  <a:gd name="T24" fmla="*/ 663 w 674"/>
                  <a:gd name="T25" fmla="*/ 1864 h 1956"/>
                  <a:gd name="T26" fmla="*/ 648 w 674"/>
                  <a:gd name="T27" fmla="*/ 1890 h 1956"/>
                  <a:gd name="T28" fmla="*/ 630 w 674"/>
                  <a:gd name="T29" fmla="*/ 1912 h 1956"/>
                  <a:gd name="T30" fmla="*/ 607 w 674"/>
                  <a:gd name="T31" fmla="*/ 1931 h 1956"/>
                  <a:gd name="T32" fmla="*/ 582 w 674"/>
                  <a:gd name="T33" fmla="*/ 1944 h 1956"/>
                  <a:gd name="T34" fmla="*/ 553 w 674"/>
                  <a:gd name="T35" fmla="*/ 1952 h 1956"/>
                  <a:gd name="T36" fmla="*/ 523 w 674"/>
                  <a:gd name="T37" fmla="*/ 1956 h 1956"/>
                  <a:gd name="T38" fmla="*/ 152 w 674"/>
                  <a:gd name="T39" fmla="*/ 1956 h 1956"/>
                  <a:gd name="T40" fmla="*/ 122 w 674"/>
                  <a:gd name="T41" fmla="*/ 1952 h 1956"/>
                  <a:gd name="T42" fmla="*/ 93 w 674"/>
                  <a:gd name="T43" fmla="*/ 1944 h 1956"/>
                  <a:gd name="T44" fmla="*/ 67 w 674"/>
                  <a:gd name="T45" fmla="*/ 1931 h 1956"/>
                  <a:gd name="T46" fmla="*/ 45 w 674"/>
                  <a:gd name="T47" fmla="*/ 1912 h 1956"/>
                  <a:gd name="T48" fmla="*/ 26 w 674"/>
                  <a:gd name="T49" fmla="*/ 1890 h 1956"/>
                  <a:gd name="T50" fmla="*/ 13 w 674"/>
                  <a:gd name="T51" fmla="*/ 1864 h 1956"/>
                  <a:gd name="T52" fmla="*/ 3 w 674"/>
                  <a:gd name="T53" fmla="*/ 1836 h 1956"/>
                  <a:gd name="T54" fmla="*/ 0 w 674"/>
                  <a:gd name="T55" fmla="*/ 1806 h 1956"/>
                  <a:gd name="T56" fmla="*/ 0 w 674"/>
                  <a:gd name="T57" fmla="*/ 151 h 1956"/>
                  <a:gd name="T58" fmla="*/ 3 w 674"/>
                  <a:gd name="T59" fmla="*/ 121 h 1956"/>
                  <a:gd name="T60" fmla="*/ 13 w 674"/>
                  <a:gd name="T61" fmla="*/ 93 h 1956"/>
                  <a:gd name="T62" fmla="*/ 26 w 674"/>
                  <a:gd name="T63" fmla="*/ 67 h 1956"/>
                  <a:gd name="T64" fmla="*/ 45 w 674"/>
                  <a:gd name="T65" fmla="*/ 45 h 1956"/>
                  <a:gd name="T66" fmla="*/ 67 w 674"/>
                  <a:gd name="T67" fmla="*/ 26 h 1956"/>
                  <a:gd name="T68" fmla="*/ 93 w 674"/>
                  <a:gd name="T69" fmla="*/ 13 h 1956"/>
                  <a:gd name="T70" fmla="*/ 122 w 674"/>
                  <a:gd name="T71" fmla="*/ 4 h 1956"/>
                  <a:gd name="T72" fmla="*/ 152 w 674"/>
                  <a:gd name="T73" fmla="*/ 0 h 19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74" h="1956">
                    <a:moveTo>
                      <a:pt x="152" y="0"/>
                    </a:moveTo>
                    <a:lnTo>
                      <a:pt x="523" y="0"/>
                    </a:lnTo>
                    <a:lnTo>
                      <a:pt x="553" y="4"/>
                    </a:lnTo>
                    <a:lnTo>
                      <a:pt x="582" y="13"/>
                    </a:lnTo>
                    <a:lnTo>
                      <a:pt x="607" y="26"/>
                    </a:lnTo>
                    <a:lnTo>
                      <a:pt x="630" y="45"/>
                    </a:lnTo>
                    <a:lnTo>
                      <a:pt x="648" y="67"/>
                    </a:lnTo>
                    <a:lnTo>
                      <a:pt x="663" y="93"/>
                    </a:lnTo>
                    <a:lnTo>
                      <a:pt x="671" y="121"/>
                    </a:lnTo>
                    <a:lnTo>
                      <a:pt x="674" y="151"/>
                    </a:lnTo>
                    <a:lnTo>
                      <a:pt x="674" y="1806"/>
                    </a:lnTo>
                    <a:lnTo>
                      <a:pt x="671" y="1836"/>
                    </a:lnTo>
                    <a:lnTo>
                      <a:pt x="663" y="1864"/>
                    </a:lnTo>
                    <a:lnTo>
                      <a:pt x="648" y="1890"/>
                    </a:lnTo>
                    <a:lnTo>
                      <a:pt x="630" y="1912"/>
                    </a:lnTo>
                    <a:lnTo>
                      <a:pt x="607" y="1931"/>
                    </a:lnTo>
                    <a:lnTo>
                      <a:pt x="582" y="1944"/>
                    </a:lnTo>
                    <a:lnTo>
                      <a:pt x="553" y="1952"/>
                    </a:lnTo>
                    <a:lnTo>
                      <a:pt x="523" y="1956"/>
                    </a:lnTo>
                    <a:lnTo>
                      <a:pt x="152" y="1956"/>
                    </a:lnTo>
                    <a:lnTo>
                      <a:pt x="122" y="1952"/>
                    </a:lnTo>
                    <a:lnTo>
                      <a:pt x="93" y="1944"/>
                    </a:lnTo>
                    <a:lnTo>
                      <a:pt x="67" y="1931"/>
                    </a:lnTo>
                    <a:lnTo>
                      <a:pt x="45" y="1912"/>
                    </a:lnTo>
                    <a:lnTo>
                      <a:pt x="26" y="1890"/>
                    </a:lnTo>
                    <a:lnTo>
                      <a:pt x="13" y="1864"/>
                    </a:lnTo>
                    <a:lnTo>
                      <a:pt x="3" y="1836"/>
                    </a:lnTo>
                    <a:lnTo>
                      <a:pt x="0" y="1806"/>
                    </a:lnTo>
                    <a:lnTo>
                      <a:pt x="0" y="151"/>
                    </a:lnTo>
                    <a:lnTo>
                      <a:pt x="3" y="121"/>
                    </a:lnTo>
                    <a:lnTo>
                      <a:pt x="13" y="93"/>
                    </a:lnTo>
                    <a:lnTo>
                      <a:pt x="26" y="67"/>
                    </a:lnTo>
                    <a:lnTo>
                      <a:pt x="45" y="45"/>
                    </a:lnTo>
                    <a:lnTo>
                      <a:pt x="67" y="26"/>
                    </a:lnTo>
                    <a:lnTo>
                      <a:pt x="93" y="13"/>
                    </a:lnTo>
                    <a:lnTo>
                      <a:pt x="122" y="4"/>
                    </a:lnTo>
                    <a:lnTo>
                      <a:pt x="15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62" name="Freeform 125">
                <a:extLst>
                  <a:ext uri="{FF2B5EF4-FFF2-40B4-BE49-F238E27FC236}">
                    <a16:creationId xmlns:a16="http://schemas.microsoft.com/office/drawing/2014/main" id="{901F0C9A-2265-4603-8791-BC1FBAE98370}"/>
                  </a:ext>
                </a:extLst>
              </p:cNvPr>
              <p:cNvSpPr>
                <a:spLocks/>
              </p:cNvSpPr>
              <p:nvPr/>
            </p:nvSpPr>
            <p:spPr bwMode="auto">
              <a:xfrm>
                <a:off x="6224588" y="5145088"/>
                <a:ext cx="25400" cy="38100"/>
              </a:xfrm>
              <a:custGeom>
                <a:avLst/>
                <a:gdLst>
                  <a:gd name="T0" fmla="*/ 0 w 169"/>
                  <a:gd name="T1" fmla="*/ 0 h 271"/>
                  <a:gd name="T2" fmla="*/ 21 w 169"/>
                  <a:gd name="T3" fmla="*/ 5 h 271"/>
                  <a:gd name="T4" fmla="*/ 42 w 169"/>
                  <a:gd name="T5" fmla="*/ 11 h 271"/>
                  <a:gd name="T6" fmla="*/ 62 w 169"/>
                  <a:gd name="T7" fmla="*/ 17 h 271"/>
                  <a:gd name="T8" fmla="*/ 83 w 169"/>
                  <a:gd name="T9" fmla="*/ 25 h 271"/>
                  <a:gd name="T10" fmla="*/ 103 w 169"/>
                  <a:gd name="T11" fmla="*/ 35 h 271"/>
                  <a:gd name="T12" fmla="*/ 121 w 169"/>
                  <a:gd name="T13" fmla="*/ 46 h 271"/>
                  <a:gd name="T14" fmla="*/ 137 w 169"/>
                  <a:gd name="T15" fmla="*/ 58 h 271"/>
                  <a:gd name="T16" fmla="*/ 150 w 169"/>
                  <a:gd name="T17" fmla="*/ 74 h 271"/>
                  <a:gd name="T18" fmla="*/ 161 w 169"/>
                  <a:gd name="T19" fmla="*/ 93 h 271"/>
                  <a:gd name="T20" fmla="*/ 167 w 169"/>
                  <a:gd name="T21" fmla="*/ 114 h 271"/>
                  <a:gd name="T22" fmla="*/ 169 w 169"/>
                  <a:gd name="T23" fmla="*/ 136 h 271"/>
                  <a:gd name="T24" fmla="*/ 167 w 169"/>
                  <a:gd name="T25" fmla="*/ 160 h 271"/>
                  <a:gd name="T26" fmla="*/ 161 w 169"/>
                  <a:gd name="T27" fmla="*/ 181 h 271"/>
                  <a:gd name="T28" fmla="*/ 151 w 169"/>
                  <a:gd name="T29" fmla="*/ 200 h 271"/>
                  <a:gd name="T30" fmla="*/ 139 w 169"/>
                  <a:gd name="T31" fmla="*/ 215 h 271"/>
                  <a:gd name="T32" fmla="*/ 124 w 169"/>
                  <a:gd name="T33" fmla="*/ 230 h 271"/>
                  <a:gd name="T34" fmla="*/ 106 w 169"/>
                  <a:gd name="T35" fmla="*/ 241 h 271"/>
                  <a:gd name="T36" fmla="*/ 88 w 169"/>
                  <a:gd name="T37" fmla="*/ 251 h 271"/>
                  <a:gd name="T38" fmla="*/ 67 w 169"/>
                  <a:gd name="T39" fmla="*/ 259 h 271"/>
                  <a:gd name="T40" fmla="*/ 45 w 169"/>
                  <a:gd name="T41" fmla="*/ 264 h 271"/>
                  <a:gd name="T42" fmla="*/ 23 w 169"/>
                  <a:gd name="T43" fmla="*/ 269 h 271"/>
                  <a:gd name="T44" fmla="*/ 0 w 169"/>
                  <a:gd name="T45" fmla="*/ 271 h 271"/>
                  <a:gd name="T46" fmla="*/ 0 w 169"/>
                  <a:gd name="T47" fmla="*/ 0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9" h="271">
                    <a:moveTo>
                      <a:pt x="0" y="0"/>
                    </a:moveTo>
                    <a:lnTo>
                      <a:pt x="21" y="5"/>
                    </a:lnTo>
                    <a:lnTo>
                      <a:pt x="42" y="11"/>
                    </a:lnTo>
                    <a:lnTo>
                      <a:pt x="62" y="17"/>
                    </a:lnTo>
                    <a:lnTo>
                      <a:pt x="83" y="25"/>
                    </a:lnTo>
                    <a:lnTo>
                      <a:pt x="103" y="35"/>
                    </a:lnTo>
                    <a:lnTo>
                      <a:pt x="121" y="46"/>
                    </a:lnTo>
                    <a:lnTo>
                      <a:pt x="137" y="58"/>
                    </a:lnTo>
                    <a:lnTo>
                      <a:pt x="150" y="74"/>
                    </a:lnTo>
                    <a:lnTo>
                      <a:pt x="161" y="93"/>
                    </a:lnTo>
                    <a:lnTo>
                      <a:pt x="167" y="114"/>
                    </a:lnTo>
                    <a:lnTo>
                      <a:pt x="169" y="136"/>
                    </a:lnTo>
                    <a:lnTo>
                      <a:pt x="167" y="160"/>
                    </a:lnTo>
                    <a:lnTo>
                      <a:pt x="161" y="181"/>
                    </a:lnTo>
                    <a:lnTo>
                      <a:pt x="151" y="200"/>
                    </a:lnTo>
                    <a:lnTo>
                      <a:pt x="139" y="215"/>
                    </a:lnTo>
                    <a:lnTo>
                      <a:pt x="124" y="230"/>
                    </a:lnTo>
                    <a:lnTo>
                      <a:pt x="106" y="241"/>
                    </a:lnTo>
                    <a:lnTo>
                      <a:pt x="88" y="251"/>
                    </a:lnTo>
                    <a:lnTo>
                      <a:pt x="67" y="259"/>
                    </a:lnTo>
                    <a:lnTo>
                      <a:pt x="45" y="264"/>
                    </a:lnTo>
                    <a:lnTo>
                      <a:pt x="23" y="269"/>
                    </a:lnTo>
                    <a:lnTo>
                      <a:pt x="0" y="271"/>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63" name="Freeform 126">
                <a:extLst>
                  <a:ext uri="{FF2B5EF4-FFF2-40B4-BE49-F238E27FC236}">
                    <a16:creationId xmlns:a16="http://schemas.microsoft.com/office/drawing/2014/main" id="{E4275C74-652E-4AE7-B6D1-E44B1424AD7D}"/>
                  </a:ext>
                </a:extLst>
              </p:cNvPr>
              <p:cNvSpPr>
                <a:spLocks/>
              </p:cNvSpPr>
              <p:nvPr/>
            </p:nvSpPr>
            <p:spPr bwMode="auto">
              <a:xfrm>
                <a:off x="6191250" y="5080001"/>
                <a:ext cx="22225" cy="36513"/>
              </a:xfrm>
              <a:custGeom>
                <a:avLst/>
                <a:gdLst>
                  <a:gd name="T0" fmla="*/ 154 w 154"/>
                  <a:gd name="T1" fmla="*/ 0 h 246"/>
                  <a:gd name="T2" fmla="*/ 154 w 154"/>
                  <a:gd name="T3" fmla="*/ 246 h 246"/>
                  <a:gd name="T4" fmla="*/ 118 w 154"/>
                  <a:gd name="T5" fmla="*/ 237 h 246"/>
                  <a:gd name="T6" fmla="*/ 87 w 154"/>
                  <a:gd name="T7" fmla="*/ 227 h 246"/>
                  <a:gd name="T8" fmla="*/ 60 w 154"/>
                  <a:gd name="T9" fmla="*/ 214 h 246"/>
                  <a:gd name="T10" fmla="*/ 39 w 154"/>
                  <a:gd name="T11" fmla="*/ 200 h 246"/>
                  <a:gd name="T12" fmla="*/ 21 w 154"/>
                  <a:gd name="T13" fmla="*/ 182 h 246"/>
                  <a:gd name="T14" fmla="*/ 9 w 154"/>
                  <a:gd name="T15" fmla="*/ 164 h 246"/>
                  <a:gd name="T16" fmla="*/ 2 w 154"/>
                  <a:gd name="T17" fmla="*/ 142 h 246"/>
                  <a:gd name="T18" fmla="*/ 0 w 154"/>
                  <a:gd name="T19" fmla="*/ 117 h 246"/>
                  <a:gd name="T20" fmla="*/ 2 w 154"/>
                  <a:gd name="T21" fmla="*/ 96 h 246"/>
                  <a:gd name="T22" fmla="*/ 11 w 154"/>
                  <a:gd name="T23" fmla="*/ 75 h 246"/>
                  <a:gd name="T24" fmla="*/ 24 w 154"/>
                  <a:gd name="T25" fmla="*/ 55 h 246"/>
                  <a:gd name="T26" fmla="*/ 42 w 154"/>
                  <a:gd name="T27" fmla="*/ 38 h 246"/>
                  <a:gd name="T28" fmla="*/ 64 w 154"/>
                  <a:gd name="T29" fmla="*/ 23 h 246"/>
                  <a:gd name="T30" fmla="*/ 91 w 154"/>
                  <a:gd name="T31" fmla="*/ 12 h 246"/>
                  <a:gd name="T32" fmla="*/ 120 w 154"/>
                  <a:gd name="T33" fmla="*/ 4 h 246"/>
                  <a:gd name="T34" fmla="*/ 154 w 154"/>
                  <a:gd name="T35" fmla="*/ 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4" h="246">
                    <a:moveTo>
                      <a:pt x="154" y="0"/>
                    </a:moveTo>
                    <a:lnTo>
                      <a:pt x="154" y="246"/>
                    </a:lnTo>
                    <a:lnTo>
                      <a:pt x="118" y="237"/>
                    </a:lnTo>
                    <a:lnTo>
                      <a:pt x="87" y="227"/>
                    </a:lnTo>
                    <a:lnTo>
                      <a:pt x="60" y="214"/>
                    </a:lnTo>
                    <a:lnTo>
                      <a:pt x="39" y="200"/>
                    </a:lnTo>
                    <a:lnTo>
                      <a:pt x="21" y="182"/>
                    </a:lnTo>
                    <a:lnTo>
                      <a:pt x="9" y="164"/>
                    </a:lnTo>
                    <a:lnTo>
                      <a:pt x="2" y="142"/>
                    </a:lnTo>
                    <a:lnTo>
                      <a:pt x="0" y="117"/>
                    </a:lnTo>
                    <a:lnTo>
                      <a:pt x="2" y="96"/>
                    </a:lnTo>
                    <a:lnTo>
                      <a:pt x="11" y="75"/>
                    </a:lnTo>
                    <a:lnTo>
                      <a:pt x="24" y="55"/>
                    </a:lnTo>
                    <a:lnTo>
                      <a:pt x="42" y="38"/>
                    </a:lnTo>
                    <a:lnTo>
                      <a:pt x="64" y="23"/>
                    </a:lnTo>
                    <a:lnTo>
                      <a:pt x="91" y="12"/>
                    </a:lnTo>
                    <a:lnTo>
                      <a:pt x="120" y="4"/>
                    </a:lnTo>
                    <a:lnTo>
                      <a:pt x="15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64" name="Freeform 127">
                <a:extLst>
                  <a:ext uri="{FF2B5EF4-FFF2-40B4-BE49-F238E27FC236}">
                    <a16:creationId xmlns:a16="http://schemas.microsoft.com/office/drawing/2014/main" id="{A5C2DB03-0904-4716-A852-44CA039C5459}"/>
                  </a:ext>
                </a:extLst>
              </p:cNvPr>
              <p:cNvSpPr>
                <a:spLocks noEditPoints="1"/>
              </p:cNvSpPr>
              <p:nvPr/>
            </p:nvSpPr>
            <p:spPr bwMode="auto">
              <a:xfrm>
                <a:off x="6099175" y="5013326"/>
                <a:ext cx="239713" cy="239713"/>
              </a:xfrm>
              <a:custGeom>
                <a:avLst/>
                <a:gdLst>
                  <a:gd name="T0" fmla="*/ 802 w 1665"/>
                  <a:gd name="T1" fmla="*/ 227 h 1654"/>
                  <a:gd name="T2" fmla="*/ 758 w 1665"/>
                  <a:gd name="T3" fmla="*/ 329 h 1654"/>
                  <a:gd name="T4" fmla="*/ 622 w 1665"/>
                  <a:gd name="T5" fmla="*/ 366 h 1654"/>
                  <a:gd name="T6" fmla="*/ 520 w 1665"/>
                  <a:gd name="T7" fmla="*/ 449 h 1654"/>
                  <a:gd name="T8" fmla="*/ 469 w 1665"/>
                  <a:gd name="T9" fmla="*/ 575 h 1654"/>
                  <a:gd name="T10" fmla="*/ 489 w 1665"/>
                  <a:gd name="T11" fmla="*/ 716 h 1654"/>
                  <a:gd name="T12" fmla="*/ 585 w 1665"/>
                  <a:gd name="T13" fmla="*/ 817 h 1654"/>
                  <a:gd name="T14" fmla="*/ 745 w 1665"/>
                  <a:gd name="T15" fmla="*/ 881 h 1654"/>
                  <a:gd name="T16" fmla="*/ 735 w 1665"/>
                  <a:gd name="T17" fmla="*/ 1169 h 1654"/>
                  <a:gd name="T18" fmla="*/ 665 w 1665"/>
                  <a:gd name="T19" fmla="*/ 1130 h 1654"/>
                  <a:gd name="T20" fmla="*/ 635 w 1665"/>
                  <a:gd name="T21" fmla="*/ 1075 h 1654"/>
                  <a:gd name="T22" fmla="*/ 613 w 1665"/>
                  <a:gd name="T23" fmla="*/ 1020 h 1654"/>
                  <a:gd name="T24" fmla="*/ 570 w 1665"/>
                  <a:gd name="T25" fmla="*/ 984 h 1654"/>
                  <a:gd name="T26" fmla="*/ 491 w 1665"/>
                  <a:gd name="T27" fmla="*/ 986 h 1654"/>
                  <a:gd name="T28" fmla="*/ 448 w 1665"/>
                  <a:gd name="T29" fmla="*/ 1042 h 1654"/>
                  <a:gd name="T30" fmla="*/ 462 w 1665"/>
                  <a:gd name="T31" fmla="*/ 1137 h 1654"/>
                  <a:gd name="T32" fmla="*/ 533 w 1665"/>
                  <a:gd name="T33" fmla="*/ 1229 h 1654"/>
                  <a:gd name="T34" fmla="*/ 661 w 1665"/>
                  <a:gd name="T35" fmla="*/ 1296 h 1654"/>
                  <a:gd name="T36" fmla="*/ 794 w 1665"/>
                  <a:gd name="T37" fmla="*/ 1401 h 1654"/>
                  <a:gd name="T38" fmla="*/ 822 w 1665"/>
                  <a:gd name="T39" fmla="*/ 1445 h 1654"/>
                  <a:gd name="T40" fmla="*/ 869 w 1665"/>
                  <a:gd name="T41" fmla="*/ 1428 h 1654"/>
                  <a:gd name="T42" fmla="*/ 923 w 1665"/>
                  <a:gd name="T43" fmla="*/ 1312 h 1654"/>
                  <a:gd name="T44" fmla="*/ 1080 w 1665"/>
                  <a:gd name="T45" fmla="*/ 1266 h 1654"/>
                  <a:gd name="T46" fmla="*/ 1182 w 1665"/>
                  <a:gd name="T47" fmla="*/ 1171 h 1654"/>
                  <a:gd name="T48" fmla="*/ 1220 w 1665"/>
                  <a:gd name="T49" fmla="*/ 1028 h 1654"/>
                  <a:gd name="T50" fmla="*/ 1192 w 1665"/>
                  <a:gd name="T51" fmla="*/ 897 h 1654"/>
                  <a:gd name="T52" fmla="*/ 1116 w 1665"/>
                  <a:gd name="T53" fmla="*/ 813 h 1654"/>
                  <a:gd name="T54" fmla="*/ 1008 w 1665"/>
                  <a:gd name="T55" fmla="*/ 760 h 1654"/>
                  <a:gd name="T56" fmla="*/ 877 w 1665"/>
                  <a:gd name="T57" fmla="*/ 725 h 1654"/>
                  <a:gd name="T58" fmla="*/ 952 w 1665"/>
                  <a:gd name="T59" fmla="*/ 483 h 1654"/>
                  <a:gd name="T60" fmla="*/ 1015 w 1665"/>
                  <a:gd name="T61" fmla="*/ 534 h 1654"/>
                  <a:gd name="T62" fmla="*/ 1061 w 1665"/>
                  <a:gd name="T63" fmla="*/ 589 h 1654"/>
                  <a:gd name="T64" fmla="*/ 1117 w 1665"/>
                  <a:gd name="T65" fmla="*/ 615 h 1654"/>
                  <a:gd name="T66" fmla="*/ 1186 w 1665"/>
                  <a:gd name="T67" fmla="*/ 586 h 1654"/>
                  <a:gd name="T68" fmla="*/ 1201 w 1665"/>
                  <a:gd name="T69" fmla="*/ 505 h 1654"/>
                  <a:gd name="T70" fmla="*/ 1144 w 1665"/>
                  <a:gd name="T71" fmla="*/ 418 h 1654"/>
                  <a:gd name="T72" fmla="*/ 1039 w 1665"/>
                  <a:gd name="T73" fmla="*/ 361 h 1654"/>
                  <a:gd name="T74" fmla="*/ 925 w 1665"/>
                  <a:gd name="T75" fmla="*/ 331 h 1654"/>
                  <a:gd name="T76" fmla="*/ 875 w 1665"/>
                  <a:gd name="T77" fmla="*/ 240 h 1654"/>
                  <a:gd name="T78" fmla="*/ 835 w 1665"/>
                  <a:gd name="T79" fmla="*/ 207 h 1654"/>
                  <a:gd name="T80" fmla="*/ 1043 w 1665"/>
                  <a:gd name="T81" fmla="*/ 27 h 1654"/>
                  <a:gd name="T82" fmla="*/ 1291 w 1665"/>
                  <a:gd name="T83" fmla="*/ 138 h 1654"/>
                  <a:gd name="T84" fmla="*/ 1488 w 1665"/>
                  <a:gd name="T85" fmla="*/ 318 h 1654"/>
                  <a:gd name="T86" fmla="*/ 1619 w 1665"/>
                  <a:gd name="T87" fmla="*/ 554 h 1654"/>
                  <a:gd name="T88" fmla="*/ 1665 w 1665"/>
                  <a:gd name="T89" fmla="*/ 827 h 1654"/>
                  <a:gd name="T90" fmla="*/ 1619 w 1665"/>
                  <a:gd name="T91" fmla="*/ 1102 h 1654"/>
                  <a:gd name="T92" fmla="*/ 1488 w 1665"/>
                  <a:gd name="T93" fmla="*/ 1337 h 1654"/>
                  <a:gd name="T94" fmla="*/ 1291 w 1665"/>
                  <a:gd name="T95" fmla="*/ 1518 h 1654"/>
                  <a:gd name="T96" fmla="*/ 1043 w 1665"/>
                  <a:gd name="T97" fmla="*/ 1628 h 1654"/>
                  <a:gd name="T98" fmla="*/ 761 w 1665"/>
                  <a:gd name="T99" fmla="*/ 1652 h 1654"/>
                  <a:gd name="T100" fmla="*/ 493 w 1665"/>
                  <a:gd name="T101" fmla="*/ 1582 h 1654"/>
                  <a:gd name="T102" fmla="*/ 268 w 1665"/>
                  <a:gd name="T103" fmla="*/ 1435 h 1654"/>
                  <a:gd name="T104" fmla="*/ 103 w 1665"/>
                  <a:gd name="T105" fmla="*/ 1224 h 1654"/>
                  <a:gd name="T106" fmla="*/ 12 w 1665"/>
                  <a:gd name="T107" fmla="*/ 969 h 1654"/>
                  <a:gd name="T108" fmla="*/ 12 w 1665"/>
                  <a:gd name="T109" fmla="*/ 687 h 1654"/>
                  <a:gd name="T110" fmla="*/ 103 w 1665"/>
                  <a:gd name="T111" fmla="*/ 430 h 1654"/>
                  <a:gd name="T112" fmla="*/ 268 w 1665"/>
                  <a:gd name="T113" fmla="*/ 220 h 1654"/>
                  <a:gd name="T114" fmla="*/ 493 w 1665"/>
                  <a:gd name="T115" fmla="*/ 72 h 1654"/>
                  <a:gd name="T116" fmla="*/ 761 w 1665"/>
                  <a:gd name="T117" fmla="*/ 3 h 16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665" h="1654">
                    <a:moveTo>
                      <a:pt x="835" y="207"/>
                    </a:moveTo>
                    <a:lnTo>
                      <a:pt x="822" y="209"/>
                    </a:lnTo>
                    <a:lnTo>
                      <a:pt x="811" y="217"/>
                    </a:lnTo>
                    <a:lnTo>
                      <a:pt x="802" y="227"/>
                    </a:lnTo>
                    <a:lnTo>
                      <a:pt x="796" y="240"/>
                    </a:lnTo>
                    <a:lnTo>
                      <a:pt x="794" y="254"/>
                    </a:lnTo>
                    <a:lnTo>
                      <a:pt x="794" y="327"/>
                    </a:lnTo>
                    <a:lnTo>
                      <a:pt x="758" y="329"/>
                    </a:lnTo>
                    <a:lnTo>
                      <a:pt x="722" y="334"/>
                    </a:lnTo>
                    <a:lnTo>
                      <a:pt x="687" y="343"/>
                    </a:lnTo>
                    <a:lnTo>
                      <a:pt x="655" y="353"/>
                    </a:lnTo>
                    <a:lnTo>
                      <a:pt x="622" y="366"/>
                    </a:lnTo>
                    <a:lnTo>
                      <a:pt x="593" y="383"/>
                    </a:lnTo>
                    <a:lnTo>
                      <a:pt x="566" y="402"/>
                    </a:lnTo>
                    <a:lnTo>
                      <a:pt x="542" y="424"/>
                    </a:lnTo>
                    <a:lnTo>
                      <a:pt x="520" y="449"/>
                    </a:lnTo>
                    <a:lnTo>
                      <a:pt x="502" y="477"/>
                    </a:lnTo>
                    <a:lnTo>
                      <a:pt x="487" y="507"/>
                    </a:lnTo>
                    <a:lnTo>
                      <a:pt x="476" y="539"/>
                    </a:lnTo>
                    <a:lnTo>
                      <a:pt x="469" y="575"/>
                    </a:lnTo>
                    <a:lnTo>
                      <a:pt x="466" y="614"/>
                    </a:lnTo>
                    <a:lnTo>
                      <a:pt x="469" y="650"/>
                    </a:lnTo>
                    <a:lnTo>
                      <a:pt x="477" y="685"/>
                    </a:lnTo>
                    <a:lnTo>
                      <a:pt x="489" y="716"/>
                    </a:lnTo>
                    <a:lnTo>
                      <a:pt x="506" y="745"/>
                    </a:lnTo>
                    <a:lnTo>
                      <a:pt x="528" y="771"/>
                    </a:lnTo>
                    <a:lnTo>
                      <a:pt x="554" y="796"/>
                    </a:lnTo>
                    <a:lnTo>
                      <a:pt x="585" y="817"/>
                    </a:lnTo>
                    <a:lnTo>
                      <a:pt x="619" y="837"/>
                    </a:lnTo>
                    <a:lnTo>
                      <a:pt x="657" y="853"/>
                    </a:lnTo>
                    <a:lnTo>
                      <a:pt x="700" y="869"/>
                    </a:lnTo>
                    <a:lnTo>
                      <a:pt x="745" y="881"/>
                    </a:lnTo>
                    <a:lnTo>
                      <a:pt x="794" y="892"/>
                    </a:lnTo>
                    <a:lnTo>
                      <a:pt x="794" y="1177"/>
                    </a:lnTo>
                    <a:lnTo>
                      <a:pt x="763" y="1175"/>
                    </a:lnTo>
                    <a:lnTo>
                      <a:pt x="735" y="1169"/>
                    </a:lnTo>
                    <a:lnTo>
                      <a:pt x="712" y="1162"/>
                    </a:lnTo>
                    <a:lnTo>
                      <a:pt x="693" y="1153"/>
                    </a:lnTo>
                    <a:lnTo>
                      <a:pt x="679" y="1142"/>
                    </a:lnTo>
                    <a:lnTo>
                      <a:pt x="665" y="1130"/>
                    </a:lnTo>
                    <a:lnTo>
                      <a:pt x="656" y="1116"/>
                    </a:lnTo>
                    <a:lnTo>
                      <a:pt x="647" y="1103"/>
                    </a:lnTo>
                    <a:lnTo>
                      <a:pt x="640" y="1088"/>
                    </a:lnTo>
                    <a:lnTo>
                      <a:pt x="635" y="1075"/>
                    </a:lnTo>
                    <a:lnTo>
                      <a:pt x="630" y="1060"/>
                    </a:lnTo>
                    <a:lnTo>
                      <a:pt x="624" y="1046"/>
                    </a:lnTo>
                    <a:lnTo>
                      <a:pt x="619" y="1032"/>
                    </a:lnTo>
                    <a:lnTo>
                      <a:pt x="613" y="1020"/>
                    </a:lnTo>
                    <a:lnTo>
                      <a:pt x="605" y="1008"/>
                    </a:lnTo>
                    <a:lnTo>
                      <a:pt x="596" y="999"/>
                    </a:lnTo>
                    <a:lnTo>
                      <a:pt x="585" y="990"/>
                    </a:lnTo>
                    <a:lnTo>
                      <a:pt x="570" y="984"/>
                    </a:lnTo>
                    <a:lnTo>
                      <a:pt x="552" y="980"/>
                    </a:lnTo>
                    <a:lnTo>
                      <a:pt x="531" y="979"/>
                    </a:lnTo>
                    <a:lnTo>
                      <a:pt x="510" y="980"/>
                    </a:lnTo>
                    <a:lnTo>
                      <a:pt x="491" y="986"/>
                    </a:lnTo>
                    <a:lnTo>
                      <a:pt x="476" y="996"/>
                    </a:lnTo>
                    <a:lnTo>
                      <a:pt x="463" y="1008"/>
                    </a:lnTo>
                    <a:lnTo>
                      <a:pt x="454" y="1024"/>
                    </a:lnTo>
                    <a:lnTo>
                      <a:pt x="448" y="1042"/>
                    </a:lnTo>
                    <a:lnTo>
                      <a:pt x="446" y="1065"/>
                    </a:lnTo>
                    <a:lnTo>
                      <a:pt x="447" y="1088"/>
                    </a:lnTo>
                    <a:lnTo>
                      <a:pt x="453" y="1112"/>
                    </a:lnTo>
                    <a:lnTo>
                      <a:pt x="462" y="1137"/>
                    </a:lnTo>
                    <a:lnTo>
                      <a:pt x="475" y="1161"/>
                    </a:lnTo>
                    <a:lnTo>
                      <a:pt x="490" y="1185"/>
                    </a:lnTo>
                    <a:lnTo>
                      <a:pt x="510" y="1208"/>
                    </a:lnTo>
                    <a:lnTo>
                      <a:pt x="533" y="1229"/>
                    </a:lnTo>
                    <a:lnTo>
                      <a:pt x="559" y="1249"/>
                    </a:lnTo>
                    <a:lnTo>
                      <a:pt x="590" y="1267"/>
                    </a:lnTo>
                    <a:lnTo>
                      <a:pt x="623" y="1283"/>
                    </a:lnTo>
                    <a:lnTo>
                      <a:pt x="661" y="1296"/>
                    </a:lnTo>
                    <a:lnTo>
                      <a:pt x="702" y="1307"/>
                    </a:lnTo>
                    <a:lnTo>
                      <a:pt x="746" y="1313"/>
                    </a:lnTo>
                    <a:lnTo>
                      <a:pt x="794" y="1317"/>
                    </a:lnTo>
                    <a:lnTo>
                      <a:pt x="794" y="1401"/>
                    </a:lnTo>
                    <a:lnTo>
                      <a:pt x="796" y="1415"/>
                    </a:lnTo>
                    <a:lnTo>
                      <a:pt x="802" y="1428"/>
                    </a:lnTo>
                    <a:lnTo>
                      <a:pt x="811" y="1439"/>
                    </a:lnTo>
                    <a:lnTo>
                      <a:pt x="822" y="1445"/>
                    </a:lnTo>
                    <a:lnTo>
                      <a:pt x="835" y="1448"/>
                    </a:lnTo>
                    <a:lnTo>
                      <a:pt x="848" y="1445"/>
                    </a:lnTo>
                    <a:lnTo>
                      <a:pt x="860" y="1439"/>
                    </a:lnTo>
                    <a:lnTo>
                      <a:pt x="869" y="1428"/>
                    </a:lnTo>
                    <a:lnTo>
                      <a:pt x="875" y="1415"/>
                    </a:lnTo>
                    <a:lnTo>
                      <a:pt x="877" y="1401"/>
                    </a:lnTo>
                    <a:lnTo>
                      <a:pt x="877" y="1317"/>
                    </a:lnTo>
                    <a:lnTo>
                      <a:pt x="923" y="1312"/>
                    </a:lnTo>
                    <a:lnTo>
                      <a:pt x="967" y="1305"/>
                    </a:lnTo>
                    <a:lnTo>
                      <a:pt x="1008" y="1295"/>
                    </a:lnTo>
                    <a:lnTo>
                      <a:pt x="1045" y="1282"/>
                    </a:lnTo>
                    <a:lnTo>
                      <a:pt x="1080" y="1266"/>
                    </a:lnTo>
                    <a:lnTo>
                      <a:pt x="1111" y="1247"/>
                    </a:lnTo>
                    <a:lnTo>
                      <a:pt x="1138" y="1225"/>
                    </a:lnTo>
                    <a:lnTo>
                      <a:pt x="1162" y="1199"/>
                    </a:lnTo>
                    <a:lnTo>
                      <a:pt x="1182" y="1171"/>
                    </a:lnTo>
                    <a:lnTo>
                      <a:pt x="1198" y="1140"/>
                    </a:lnTo>
                    <a:lnTo>
                      <a:pt x="1211" y="1106"/>
                    </a:lnTo>
                    <a:lnTo>
                      <a:pt x="1217" y="1068"/>
                    </a:lnTo>
                    <a:lnTo>
                      <a:pt x="1220" y="1028"/>
                    </a:lnTo>
                    <a:lnTo>
                      <a:pt x="1218" y="990"/>
                    </a:lnTo>
                    <a:lnTo>
                      <a:pt x="1213" y="956"/>
                    </a:lnTo>
                    <a:lnTo>
                      <a:pt x="1203" y="925"/>
                    </a:lnTo>
                    <a:lnTo>
                      <a:pt x="1192" y="897"/>
                    </a:lnTo>
                    <a:lnTo>
                      <a:pt x="1177" y="872"/>
                    </a:lnTo>
                    <a:lnTo>
                      <a:pt x="1159" y="850"/>
                    </a:lnTo>
                    <a:lnTo>
                      <a:pt x="1139" y="830"/>
                    </a:lnTo>
                    <a:lnTo>
                      <a:pt x="1116" y="813"/>
                    </a:lnTo>
                    <a:lnTo>
                      <a:pt x="1091" y="797"/>
                    </a:lnTo>
                    <a:lnTo>
                      <a:pt x="1065" y="782"/>
                    </a:lnTo>
                    <a:lnTo>
                      <a:pt x="1037" y="770"/>
                    </a:lnTo>
                    <a:lnTo>
                      <a:pt x="1008" y="760"/>
                    </a:lnTo>
                    <a:lnTo>
                      <a:pt x="976" y="750"/>
                    </a:lnTo>
                    <a:lnTo>
                      <a:pt x="944" y="741"/>
                    </a:lnTo>
                    <a:lnTo>
                      <a:pt x="910" y="733"/>
                    </a:lnTo>
                    <a:lnTo>
                      <a:pt x="877" y="725"/>
                    </a:lnTo>
                    <a:lnTo>
                      <a:pt x="877" y="466"/>
                    </a:lnTo>
                    <a:lnTo>
                      <a:pt x="905" y="468"/>
                    </a:lnTo>
                    <a:lnTo>
                      <a:pt x="930" y="475"/>
                    </a:lnTo>
                    <a:lnTo>
                      <a:pt x="952" y="483"/>
                    </a:lnTo>
                    <a:lnTo>
                      <a:pt x="971" y="493"/>
                    </a:lnTo>
                    <a:lnTo>
                      <a:pt x="988" y="506"/>
                    </a:lnTo>
                    <a:lnTo>
                      <a:pt x="1001" y="519"/>
                    </a:lnTo>
                    <a:lnTo>
                      <a:pt x="1015" y="534"/>
                    </a:lnTo>
                    <a:lnTo>
                      <a:pt x="1026" y="548"/>
                    </a:lnTo>
                    <a:lnTo>
                      <a:pt x="1038" y="563"/>
                    </a:lnTo>
                    <a:lnTo>
                      <a:pt x="1049" y="577"/>
                    </a:lnTo>
                    <a:lnTo>
                      <a:pt x="1061" y="589"/>
                    </a:lnTo>
                    <a:lnTo>
                      <a:pt x="1072" y="599"/>
                    </a:lnTo>
                    <a:lnTo>
                      <a:pt x="1086" y="608"/>
                    </a:lnTo>
                    <a:lnTo>
                      <a:pt x="1101" y="613"/>
                    </a:lnTo>
                    <a:lnTo>
                      <a:pt x="1117" y="615"/>
                    </a:lnTo>
                    <a:lnTo>
                      <a:pt x="1137" y="613"/>
                    </a:lnTo>
                    <a:lnTo>
                      <a:pt x="1155" y="608"/>
                    </a:lnTo>
                    <a:lnTo>
                      <a:pt x="1172" y="598"/>
                    </a:lnTo>
                    <a:lnTo>
                      <a:pt x="1186" y="586"/>
                    </a:lnTo>
                    <a:lnTo>
                      <a:pt x="1195" y="570"/>
                    </a:lnTo>
                    <a:lnTo>
                      <a:pt x="1202" y="552"/>
                    </a:lnTo>
                    <a:lnTo>
                      <a:pt x="1204" y="531"/>
                    </a:lnTo>
                    <a:lnTo>
                      <a:pt x="1201" y="505"/>
                    </a:lnTo>
                    <a:lnTo>
                      <a:pt x="1194" y="480"/>
                    </a:lnTo>
                    <a:lnTo>
                      <a:pt x="1180" y="458"/>
                    </a:lnTo>
                    <a:lnTo>
                      <a:pt x="1164" y="437"/>
                    </a:lnTo>
                    <a:lnTo>
                      <a:pt x="1144" y="418"/>
                    </a:lnTo>
                    <a:lnTo>
                      <a:pt x="1120" y="402"/>
                    </a:lnTo>
                    <a:lnTo>
                      <a:pt x="1094" y="386"/>
                    </a:lnTo>
                    <a:lnTo>
                      <a:pt x="1067" y="373"/>
                    </a:lnTo>
                    <a:lnTo>
                      <a:pt x="1039" y="361"/>
                    </a:lnTo>
                    <a:lnTo>
                      <a:pt x="1010" y="351"/>
                    </a:lnTo>
                    <a:lnTo>
                      <a:pt x="980" y="343"/>
                    </a:lnTo>
                    <a:lnTo>
                      <a:pt x="952" y="336"/>
                    </a:lnTo>
                    <a:lnTo>
                      <a:pt x="925" y="331"/>
                    </a:lnTo>
                    <a:lnTo>
                      <a:pt x="900" y="328"/>
                    </a:lnTo>
                    <a:lnTo>
                      <a:pt x="877" y="327"/>
                    </a:lnTo>
                    <a:lnTo>
                      <a:pt x="877" y="254"/>
                    </a:lnTo>
                    <a:lnTo>
                      <a:pt x="875" y="240"/>
                    </a:lnTo>
                    <a:lnTo>
                      <a:pt x="869" y="227"/>
                    </a:lnTo>
                    <a:lnTo>
                      <a:pt x="860" y="217"/>
                    </a:lnTo>
                    <a:lnTo>
                      <a:pt x="848" y="209"/>
                    </a:lnTo>
                    <a:lnTo>
                      <a:pt x="835" y="207"/>
                    </a:lnTo>
                    <a:close/>
                    <a:moveTo>
                      <a:pt x="833" y="0"/>
                    </a:moveTo>
                    <a:lnTo>
                      <a:pt x="905" y="3"/>
                    </a:lnTo>
                    <a:lnTo>
                      <a:pt x="975" y="12"/>
                    </a:lnTo>
                    <a:lnTo>
                      <a:pt x="1043" y="27"/>
                    </a:lnTo>
                    <a:lnTo>
                      <a:pt x="1109" y="47"/>
                    </a:lnTo>
                    <a:lnTo>
                      <a:pt x="1172" y="72"/>
                    </a:lnTo>
                    <a:lnTo>
                      <a:pt x="1233" y="102"/>
                    </a:lnTo>
                    <a:lnTo>
                      <a:pt x="1291" y="138"/>
                    </a:lnTo>
                    <a:lnTo>
                      <a:pt x="1346" y="176"/>
                    </a:lnTo>
                    <a:lnTo>
                      <a:pt x="1397" y="220"/>
                    </a:lnTo>
                    <a:lnTo>
                      <a:pt x="1445" y="267"/>
                    </a:lnTo>
                    <a:lnTo>
                      <a:pt x="1488" y="318"/>
                    </a:lnTo>
                    <a:lnTo>
                      <a:pt x="1528" y="373"/>
                    </a:lnTo>
                    <a:lnTo>
                      <a:pt x="1562" y="430"/>
                    </a:lnTo>
                    <a:lnTo>
                      <a:pt x="1593" y="490"/>
                    </a:lnTo>
                    <a:lnTo>
                      <a:pt x="1619" y="554"/>
                    </a:lnTo>
                    <a:lnTo>
                      <a:pt x="1639" y="619"/>
                    </a:lnTo>
                    <a:lnTo>
                      <a:pt x="1654" y="687"/>
                    </a:lnTo>
                    <a:lnTo>
                      <a:pt x="1662" y="756"/>
                    </a:lnTo>
                    <a:lnTo>
                      <a:pt x="1665" y="827"/>
                    </a:lnTo>
                    <a:lnTo>
                      <a:pt x="1662" y="899"/>
                    </a:lnTo>
                    <a:lnTo>
                      <a:pt x="1654" y="969"/>
                    </a:lnTo>
                    <a:lnTo>
                      <a:pt x="1639" y="1036"/>
                    </a:lnTo>
                    <a:lnTo>
                      <a:pt x="1619" y="1102"/>
                    </a:lnTo>
                    <a:lnTo>
                      <a:pt x="1593" y="1164"/>
                    </a:lnTo>
                    <a:lnTo>
                      <a:pt x="1562" y="1224"/>
                    </a:lnTo>
                    <a:lnTo>
                      <a:pt x="1528" y="1283"/>
                    </a:lnTo>
                    <a:lnTo>
                      <a:pt x="1488" y="1337"/>
                    </a:lnTo>
                    <a:lnTo>
                      <a:pt x="1445" y="1388"/>
                    </a:lnTo>
                    <a:lnTo>
                      <a:pt x="1397" y="1435"/>
                    </a:lnTo>
                    <a:lnTo>
                      <a:pt x="1346" y="1478"/>
                    </a:lnTo>
                    <a:lnTo>
                      <a:pt x="1291" y="1518"/>
                    </a:lnTo>
                    <a:lnTo>
                      <a:pt x="1233" y="1552"/>
                    </a:lnTo>
                    <a:lnTo>
                      <a:pt x="1172" y="1582"/>
                    </a:lnTo>
                    <a:lnTo>
                      <a:pt x="1109" y="1608"/>
                    </a:lnTo>
                    <a:lnTo>
                      <a:pt x="1043" y="1628"/>
                    </a:lnTo>
                    <a:lnTo>
                      <a:pt x="975" y="1643"/>
                    </a:lnTo>
                    <a:lnTo>
                      <a:pt x="905" y="1652"/>
                    </a:lnTo>
                    <a:lnTo>
                      <a:pt x="833" y="1654"/>
                    </a:lnTo>
                    <a:lnTo>
                      <a:pt x="761" y="1652"/>
                    </a:lnTo>
                    <a:lnTo>
                      <a:pt x="691" y="1643"/>
                    </a:lnTo>
                    <a:lnTo>
                      <a:pt x="623" y="1628"/>
                    </a:lnTo>
                    <a:lnTo>
                      <a:pt x="557" y="1608"/>
                    </a:lnTo>
                    <a:lnTo>
                      <a:pt x="493" y="1582"/>
                    </a:lnTo>
                    <a:lnTo>
                      <a:pt x="433" y="1552"/>
                    </a:lnTo>
                    <a:lnTo>
                      <a:pt x="374" y="1518"/>
                    </a:lnTo>
                    <a:lnTo>
                      <a:pt x="320" y="1478"/>
                    </a:lnTo>
                    <a:lnTo>
                      <a:pt x="268" y="1435"/>
                    </a:lnTo>
                    <a:lnTo>
                      <a:pt x="221" y="1388"/>
                    </a:lnTo>
                    <a:lnTo>
                      <a:pt x="177" y="1337"/>
                    </a:lnTo>
                    <a:lnTo>
                      <a:pt x="137" y="1283"/>
                    </a:lnTo>
                    <a:lnTo>
                      <a:pt x="103" y="1224"/>
                    </a:lnTo>
                    <a:lnTo>
                      <a:pt x="73" y="1164"/>
                    </a:lnTo>
                    <a:lnTo>
                      <a:pt x="46" y="1102"/>
                    </a:lnTo>
                    <a:lnTo>
                      <a:pt x="27" y="1036"/>
                    </a:lnTo>
                    <a:lnTo>
                      <a:pt x="12" y="969"/>
                    </a:lnTo>
                    <a:lnTo>
                      <a:pt x="2" y="899"/>
                    </a:lnTo>
                    <a:lnTo>
                      <a:pt x="0" y="827"/>
                    </a:lnTo>
                    <a:lnTo>
                      <a:pt x="2" y="756"/>
                    </a:lnTo>
                    <a:lnTo>
                      <a:pt x="12" y="687"/>
                    </a:lnTo>
                    <a:lnTo>
                      <a:pt x="27" y="619"/>
                    </a:lnTo>
                    <a:lnTo>
                      <a:pt x="46" y="554"/>
                    </a:lnTo>
                    <a:lnTo>
                      <a:pt x="73" y="490"/>
                    </a:lnTo>
                    <a:lnTo>
                      <a:pt x="103" y="430"/>
                    </a:lnTo>
                    <a:lnTo>
                      <a:pt x="137" y="373"/>
                    </a:lnTo>
                    <a:lnTo>
                      <a:pt x="177" y="318"/>
                    </a:lnTo>
                    <a:lnTo>
                      <a:pt x="221" y="267"/>
                    </a:lnTo>
                    <a:lnTo>
                      <a:pt x="268" y="220"/>
                    </a:lnTo>
                    <a:lnTo>
                      <a:pt x="320" y="176"/>
                    </a:lnTo>
                    <a:lnTo>
                      <a:pt x="374" y="138"/>
                    </a:lnTo>
                    <a:lnTo>
                      <a:pt x="433" y="102"/>
                    </a:lnTo>
                    <a:lnTo>
                      <a:pt x="493" y="72"/>
                    </a:lnTo>
                    <a:lnTo>
                      <a:pt x="557" y="47"/>
                    </a:lnTo>
                    <a:lnTo>
                      <a:pt x="623" y="27"/>
                    </a:lnTo>
                    <a:lnTo>
                      <a:pt x="691" y="12"/>
                    </a:lnTo>
                    <a:lnTo>
                      <a:pt x="761" y="3"/>
                    </a:lnTo>
                    <a:lnTo>
                      <a:pt x="83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grpSp>
        <p:grpSp>
          <p:nvGrpSpPr>
            <p:cNvPr id="16" name="Group 38">
              <a:extLst>
                <a:ext uri="{FF2B5EF4-FFF2-40B4-BE49-F238E27FC236}">
                  <a16:creationId xmlns:a16="http://schemas.microsoft.com/office/drawing/2014/main" id="{08C1785A-0B64-4FAA-B371-6084527CE318}"/>
                </a:ext>
              </a:extLst>
            </p:cNvPr>
            <p:cNvGrpSpPr/>
            <p:nvPr/>
          </p:nvGrpSpPr>
          <p:grpSpPr>
            <a:xfrm flipH="1">
              <a:off x="3751397" y="3136166"/>
              <a:ext cx="329932" cy="327754"/>
              <a:chOff x="5783263" y="3970338"/>
              <a:chExt cx="481013" cy="477838"/>
            </a:xfrm>
            <a:solidFill>
              <a:schemeClr val="tx1">
                <a:lumMod val="85000"/>
                <a:lumOff val="15000"/>
              </a:schemeClr>
            </a:solidFill>
          </p:grpSpPr>
          <p:sp>
            <p:nvSpPr>
              <p:cNvPr id="42" name="Freeform 132">
                <a:extLst>
                  <a:ext uri="{FF2B5EF4-FFF2-40B4-BE49-F238E27FC236}">
                    <a16:creationId xmlns:a16="http://schemas.microsoft.com/office/drawing/2014/main" id="{E80A6AE3-974C-4E4B-B45D-D5928CA457B4}"/>
                  </a:ext>
                </a:extLst>
              </p:cNvPr>
              <p:cNvSpPr>
                <a:spLocks/>
              </p:cNvSpPr>
              <p:nvPr/>
            </p:nvSpPr>
            <p:spPr bwMode="auto">
              <a:xfrm>
                <a:off x="6140451" y="4079875"/>
                <a:ext cx="123825" cy="42863"/>
              </a:xfrm>
              <a:custGeom>
                <a:avLst/>
                <a:gdLst>
                  <a:gd name="T0" fmla="*/ 0 w 860"/>
                  <a:gd name="T1" fmla="*/ 0 h 300"/>
                  <a:gd name="T2" fmla="*/ 709 w 860"/>
                  <a:gd name="T3" fmla="*/ 0 h 300"/>
                  <a:gd name="T4" fmla="*/ 739 w 860"/>
                  <a:gd name="T5" fmla="*/ 3 h 300"/>
                  <a:gd name="T6" fmla="*/ 768 w 860"/>
                  <a:gd name="T7" fmla="*/ 11 h 300"/>
                  <a:gd name="T8" fmla="*/ 793 w 860"/>
                  <a:gd name="T9" fmla="*/ 26 h 300"/>
                  <a:gd name="T10" fmla="*/ 816 w 860"/>
                  <a:gd name="T11" fmla="*/ 43 h 300"/>
                  <a:gd name="T12" fmla="*/ 834 w 860"/>
                  <a:gd name="T13" fmla="*/ 66 h 300"/>
                  <a:gd name="T14" fmla="*/ 849 w 860"/>
                  <a:gd name="T15" fmla="*/ 91 h 300"/>
                  <a:gd name="T16" fmla="*/ 857 w 860"/>
                  <a:gd name="T17" fmla="*/ 119 h 300"/>
                  <a:gd name="T18" fmla="*/ 860 w 860"/>
                  <a:gd name="T19" fmla="*/ 149 h 300"/>
                  <a:gd name="T20" fmla="*/ 857 w 860"/>
                  <a:gd name="T21" fmla="*/ 180 h 300"/>
                  <a:gd name="T22" fmla="*/ 849 w 860"/>
                  <a:gd name="T23" fmla="*/ 209 h 300"/>
                  <a:gd name="T24" fmla="*/ 834 w 860"/>
                  <a:gd name="T25" fmla="*/ 234 h 300"/>
                  <a:gd name="T26" fmla="*/ 816 w 860"/>
                  <a:gd name="T27" fmla="*/ 256 h 300"/>
                  <a:gd name="T28" fmla="*/ 793 w 860"/>
                  <a:gd name="T29" fmla="*/ 274 h 300"/>
                  <a:gd name="T30" fmla="*/ 768 w 860"/>
                  <a:gd name="T31" fmla="*/ 289 h 300"/>
                  <a:gd name="T32" fmla="*/ 739 w 860"/>
                  <a:gd name="T33" fmla="*/ 297 h 300"/>
                  <a:gd name="T34" fmla="*/ 709 w 860"/>
                  <a:gd name="T35" fmla="*/ 300 h 300"/>
                  <a:gd name="T36" fmla="*/ 246 w 860"/>
                  <a:gd name="T37" fmla="*/ 300 h 300"/>
                  <a:gd name="T38" fmla="*/ 205 w 860"/>
                  <a:gd name="T39" fmla="*/ 234 h 300"/>
                  <a:gd name="T40" fmla="*/ 159 w 860"/>
                  <a:gd name="T41" fmla="*/ 170 h 300"/>
                  <a:gd name="T42" fmla="*/ 110 w 860"/>
                  <a:gd name="T43" fmla="*/ 110 h 300"/>
                  <a:gd name="T44" fmla="*/ 57 w 860"/>
                  <a:gd name="T45" fmla="*/ 53 h 300"/>
                  <a:gd name="T46" fmla="*/ 0 w 860"/>
                  <a:gd name="T47" fmla="*/ 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0" h="300">
                    <a:moveTo>
                      <a:pt x="0" y="0"/>
                    </a:moveTo>
                    <a:lnTo>
                      <a:pt x="709" y="0"/>
                    </a:lnTo>
                    <a:lnTo>
                      <a:pt x="739" y="3"/>
                    </a:lnTo>
                    <a:lnTo>
                      <a:pt x="768" y="11"/>
                    </a:lnTo>
                    <a:lnTo>
                      <a:pt x="793" y="26"/>
                    </a:lnTo>
                    <a:lnTo>
                      <a:pt x="816" y="43"/>
                    </a:lnTo>
                    <a:lnTo>
                      <a:pt x="834" y="66"/>
                    </a:lnTo>
                    <a:lnTo>
                      <a:pt x="849" y="91"/>
                    </a:lnTo>
                    <a:lnTo>
                      <a:pt x="857" y="119"/>
                    </a:lnTo>
                    <a:lnTo>
                      <a:pt x="860" y="149"/>
                    </a:lnTo>
                    <a:lnTo>
                      <a:pt x="857" y="180"/>
                    </a:lnTo>
                    <a:lnTo>
                      <a:pt x="849" y="209"/>
                    </a:lnTo>
                    <a:lnTo>
                      <a:pt x="834" y="234"/>
                    </a:lnTo>
                    <a:lnTo>
                      <a:pt x="816" y="256"/>
                    </a:lnTo>
                    <a:lnTo>
                      <a:pt x="793" y="274"/>
                    </a:lnTo>
                    <a:lnTo>
                      <a:pt x="768" y="289"/>
                    </a:lnTo>
                    <a:lnTo>
                      <a:pt x="739" y="297"/>
                    </a:lnTo>
                    <a:lnTo>
                      <a:pt x="709" y="300"/>
                    </a:lnTo>
                    <a:lnTo>
                      <a:pt x="246" y="300"/>
                    </a:lnTo>
                    <a:lnTo>
                      <a:pt x="205" y="234"/>
                    </a:lnTo>
                    <a:lnTo>
                      <a:pt x="159" y="170"/>
                    </a:lnTo>
                    <a:lnTo>
                      <a:pt x="110" y="110"/>
                    </a:lnTo>
                    <a:lnTo>
                      <a:pt x="57" y="53"/>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43" name="Freeform 133">
                <a:extLst>
                  <a:ext uri="{FF2B5EF4-FFF2-40B4-BE49-F238E27FC236}">
                    <a16:creationId xmlns:a16="http://schemas.microsoft.com/office/drawing/2014/main" id="{EB92CCA6-C150-409A-9CB0-FE5A09EC713E}"/>
                  </a:ext>
                </a:extLst>
              </p:cNvPr>
              <p:cNvSpPr>
                <a:spLocks/>
              </p:cNvSpPr>
              <p:nvPr/>
            </p:nvSpPr>
            <p:spPr bwMode="auto">
              <a:xfrm>
                <a:off x="6181726" y="4135438"/>
                <a:ext cx="82550" cy="42863"/>
              </a:xfrm>
              <a:custGeom>
                <a:avLst/>
                <a:gdLst>
                  <a:gd name="T0" fmla="*/ 0 w 573"/>
                  <a:gd name="T1" fmla="*/ 0 h 301"/>
                  <a:gd name="T2" fmla="*/ 422 w 573"/>
                  <a:gd name="T3" fmla="*/ 0 h 301"/>
                  <a:gd name="T4" fmla="*/ 452 w 573"/>
                  <a:gd name="T5" fmla="*/ 3 h 301"/>
                  <a:gd name="T6" fmla="*/ 481 w 573"/>
                  <a:gd name="T7" fmla="*/ 12 h 301"/>
                  <a:gd name="T8" fmla="*/ 506 w 573"/>
                  <a:gd name="T9" fmla="*/ 25 h 301"/>
                  <a:gd name="T10" fmla="*/ 529 w 573"/>
                  <a:gd name="T11" fmla="*/ 44 h 301"/>
                  <a:gd name="T12" fmla="*/ 547 w 573"/>
                  <a:gd name="T13" fmla="*/ 66 h 301"/>
                  <a:gd name="T14" fmla="*/ 562 w 573"/>
                  <a:gd name="T15" fmla="*/ 92 h 301"/>
                  <a:gd name="T16" fmla="*/ 570 w 573"/>
                  <a:gd name="T17" fmla="*/ 120 h 301"/>
                  <a:gd name="T18" fmla="*/ 573 w 573"/>
                  <a:gd name="T19" fmla="*/ 150 h 301"/>
                  <a:gd name="T20" fmla="*/ 570 w 573"/>
                  <a:gd name="T21" fmla="*/ 180 h 301"/>
                  <a:gd name="T22" fmla="*/ 562 w 573"/>
                  <a:gd name="T23" fmla="*/ 208 h 301"/>
                  <a:gd name="T24" fmla="*/ 547 w 573"/>
                  <a:gd name="T25" fmla="*/ 234 h 301"/>
                  <a:gd name="T26" fmla="*/ 529 w 573"/>
                  <a:gd name="T27" fmla="*/ 256 h 301"/>
                  <a:gd name="T28" fmla="*/ 506 w 573"/>
                  <a:gd name="T29" fmla="*/ 275 h 301"/>
                  <a:gd name="T30" fmla="*/ 481 w 573"/>
                  <a:gd name="T31" fmla="*/ 288 h 301"/>
                  <a:gd name="T32" fmla="*/ 452 w 573"/>
                  <a:gd name="T33" fmla="*/ 298 h 301"/>
                  <a:gd name="T34" fmla="*/ 422 w 573"/>
                  <a:gd name="T35" fmla="*/ 301 h 301"/>
                  <a:gd name="T36" fmla="*/ 98 w 573"/>
                  <a:gd name="T37" fmla="*/ 301 h 301"/>
                  <a:gd name="T38" fmla="*/ 81 w 573"/>
                  <a:gd name="T39" fmla="*/ 222 h 301"/>
                  <a:gd name="T40" fmla="*/ 59 w 573"/>
                  <a:gd name="T41" fmla="*/ 146 h 301"/>
                  <a:gd name="T42" fmla="*/ 32 w 573"/>
                  <a:gd name="T43" fmla="*/ 72 h 301"/>
                  <a:gd name="T44" fmla="*/ 0 w 573"/>
                  <a:gd name="T45" fmla="*/ 0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73" h="301">
                    <a:moveTo>
                      <a:pt x="0" y="0"/>
                    </a:moveTo>
                    <a:lnTo>
                      <a:pt x="422" y="0"/>
                    </a:lnTo>
                    <a:lnTo>
                      <a:pt x="452" y="3"/>
                    </a:lnTo>
                    <a:lnTo>
                      <a:pt x="481" y="12"/>
                    </a:lnTo>
                    <a:lnTo>
                      <a:pt x="506" y="25"/>
                    </a:lnTo>
                    <a:lnTo>
                      <a:pt x="529" y="44"/>
                    </a:lnTo>
                    <a:lnTo>
                      <a:pt x="547" y="66"/>
                    </a:lnTo>
                    <a:lnTo>
                      <a:pt x="562" y="92"/>
                    </a:lnTo>
                    <a:lnTo>
                      <a:pt x="570" y="120"/>
                    </a:lnTo>
                    <a:lnTo>
                      <a:pt x="573" y="150"/>
                    </a:lnTo>
                    <a:lnTo>
                      <a:pt x="570" y="180"/>
                    </a:lnTo>
                    <a:lnTo>
                      <a:pt x="562" y="208"/>
                    </a:lnTo>
                    <a:lnTo>
                      <a:pt x="547" y="234"/>
                    </a:lnTo>
                    <a:lnTo>
                      <a:pt x="529" y="256"/>
                    </a:lnTo>
                    <a:lnTo>
                      <a:pt x="506" y="275"/>
                    </a:lnTo>
                    <a:lnTo>
                      <a:pt x="481" y="288"/>
                    </a:lnTo>
                    <a:lnTo>
                      <a:pt x="452" y="298"/>
                    </a:lnTo>
                    <a:lnTo>
                      <a:pt x="422" y="301"/>
                    </a:lnTo>
                    <a:lnTo>
                      <a:pt x="98" y="301"/>
                    </a:lnTo>
                    <a:lnTo>
                      <a:pt x="81" y="222"/>
                    </a:lnTo>
                    <a:lnTo>
                      <a:pt x="59" y="146"/>
                    </a:lnTo>
                    <a:lnTo>
                      <a:pt x="32" y="72"/>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44" name="Freeform 134">
                <a:extLst>
                  <a:ext uri="{FF2B5EF4-FFF2-40B4-BE49-F238E27FC236}">
                    <a16:creationId xmlns:a16="http://schemas.microsoft.com/office/drawing/2014/main" id="{3DFD34AA-E058-4560-AEAD-80C797885EEC}"/>
                  </a:ext>
                </a:extLst>
              </p:cNvPr>
              <p:cNvSpPr>
                <a:spLocks/>
              </p:cNvSpPr>
              <p:nvPr/>
            </p:nvSpPr>
            <p:spPr bwMode="auto">
              <a:xfrm>
                <a:off x="6059488" y="4025900"/>
                <a:ext cx="204788" cy="42863"/>
              </a:xfrm>
              <a:custGeom>
                <a:avLst/>
                <a:gdLst>
                  <a:gd name="T0" fmla="*/ 142 w 1414"/>
                  <a:gd name="T1" fmla="*/ 0 h 302"/>
                  <a:gd name="T2" fmla="*/ 1263 w 1414"/>
                  <a:gd name="T3" fmla="*/ 0 h 302"/>
                  <a:gd name="T4" fmla="*/ 1293 w 1414"/>
                  <a:gd name="T5" fmla="*/ 3 h 302"/>
                  <a:gd name="T6" fmla="*/ 1322 w 1414"/>
                  <a:gd name="T7" fmla="*/ 12 h 302"/>
                  <a:gd name="T8" fmla="*/ 1347 w 1414"/>
                  <a:gd name="T9" fmla="*/ 26 h 302"/>
                  <a:gd name="T10" fmla="*/ 1370 w 1414"/>
                  <a:gd name="T11" fmla="*/ 45 h 302"/>
                  <a:gd name="T12" fmla="*/ 1388 w 1414"/>
                  <a:gd name="T13" fmla="*/ 66 h 302"/>
                  <a:gd name="T14" fmla="*/ 1403 w 1414"/>
                  <a:gd name="T15" fmla="*/ 92 h 302"/>
                  <a:gd name="T16" fmla="*/ 1411 w 1414"/>
                  <a:gd name="T17" fmla="*/ 121 h 302"/>
                  <a:gd name="T18" fmla="*/ 1414 w 1414"/>
                  <a:gd name="T19" fmla="*/ 151 h 302"/>
                  <a:gd name="T20" fmla="*/ 1411 w 1414"/>
                  <a:gd name="T21" fmla="*/ 181 h 302"/>
                  <a:gd name="T22" fmla="*/ 1403 w 1414"/>
                  <a:gd name="T23" fmla="*/ 209 h 302"/>
                  <a:gd name="T24" fmla="*/ 1388 w 1414"/>
                  <a:gd name="T25" fmla="*/ 235 h 302"/>
                  <a:gd name="T26" fmla="*/ 1370 w 1414"/>
                  <a:gd name="T27" fmla="*/ 257 h 302"/>
                  <a:gd name="T28" fmla="*/ 1347 w 1414"/>
                  <a:gd name="T29" fmla="*/ 276 h 302"/>
                  <a:gd name="T30" fmla="*/ 1322 w 1414"/>
                  <a:gd name="T31" fmla="*/ 289 h 302"/>
                  <a:gd name="T32" fmla="*/ 1293 w 1414"/>
                  <a:gd name="T33" fmla="*/ 298 h 302"/>
                  <a:gd name="T34" fmla="*/ 1263 w 1414"/>
                  <a:gd name="T35" fmla="*/ 302 h 302"/>
                  <a:gd name="T36" fmla="*/ 456 w 1414"/>
                  <a:gd name="T37" fmla="*/ 302 h 302"/>
                  <a:gd name="T38" fmla="*/ 387 w 1414"/>
                  <a:gd name="T39" fmla="*/ 255 h 302"/>
                  <a:gd name="T40" fmla="*/ 316 w 1414"/>
                  <a:gd name="T41" fmla="*/ 213 h 302"/>
                  <a:gd name="T42" fmla="*/ 241 w 1414"/>
                  <a:gd name="T43" fmla="*/ 177 h 302"/>
                  <a:gd name="T44" fmla="*/ 163 w 1414"/>
                  <a:gd name="T45" fmla="*/ 146 h 302"/>
                  <a:gd name="T46" fmla="*/ 83 w 1414"/>
                  <a:gd name="T47" fmla="*/ 120 h 302"/>
                  <a:gd name="T48" fmla="*/ 0 w 1414"/>
                  <a:gd name="T49" fmla="*/ 99 h 302"/>
                  <a:gd name="T50" fmla="*/ 11 w 1414"/>
                  <a:gd name="T51" fmla="*/ 75 h 302"/>
                  <a:gd name="T52" fmla="*/ 26 w 1414"/>
                  <a:gd name="T53" fmla="*/ 54 h 302"/>
                  <a:gd name="T54" fmla="*/ 44 w 1414"/>
                  <a:gd name="T55" fmla="*/ 36 h 302"/>
                  <a:gd name="T56" fmla="*/ 66 w 1414"/>
                  <a:gd name="T57" fmla="*/ 21 h 302"/>
                  <a:gd name="T58" fmla="*/ 89 w 1414"/>
                  <a:gd name="T59" fmla="*/ 10 h 302"/>
                  <a:gd name="T60" fmla="*/ 115 w 1414"/>
                  <a:gd name="T61" fmla="*/ 3 h 302"/>
                  <a:gd name="T62" fmla="*/ 142 w 1414"/>
                  <a:gd name="T63" fmla="*/ 0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414" h="302">
                    <a:moveTo>
                      <a:pt x="142" y="0"/>
                    </a:moveTo>
                    <a:lnTo>
                      <a:pt x="1263" y="0"/>
                    </a:lnTo>
                    <a:lnTo>
                      <a:pt x="1293" y="3"/>
                    </a:lnTo>
                    <a:lnTo>
                      <a:pt x="1322" y="12"/>
                    </a:lnTo>
                    <a:lnTo>
                      <a:pt x="1347" y="26"/>
                    </a:lnTo>
                    <a:lnTo>
                      <a:pt x="1370" y="45"/>
                    </a:lnTo>
                    <a:lnTo>
                      <a:pt x="1388" y="66"/>
                    </a:lnTo>
                    <a:lnTo>
                      <a:pt x="1403" y="92"/>
                    </a:lnTo>
                    <a:lnTo>
                      <a:pt x="1411" y="121"/>
                    </a:lnTo>
                    <a:lnTo>
                      <a:pt x="1414" y="151"/>
                    </a:lnTo>
                    <a:lnTo>
                      <a:pt x="1411" y="181"/>
                    </a:lnTo>
                    <a:lnTo>
                      <a:pt x="1403" y="209"/>
                    </a:lnTo>
                    <a:lnTo>
                      <a:pt x="1388" y="235"/>
                    </a:lnTo>
                    <a:lnTo>
                      <a:pt x="1370" y="257"/>
                    </a:lnTo>
                    <a:lnTo>
                      <a:pt x="1347" y="276"/>
                    </a:lnTo>
                    <a:lnTo>
                      <a:pt x="1322" y="289"/>
                    </a:lnTo>
                    <a:lnTo>
                      <a:pt x="1293" y="298"/>
                    </a:lnTo>
                    <a:lnTo>
                      <a:pt x="1263" y="302"/>
                    </a:lnTo>
                    <a:lnTo>
                      <a:pt x="456" y="302"/>
                    </a:lnTo>
                    <a:lnTo>
                      <a:pt x="387" y="255"/>
                    </a:lnTo>
                    <a:lnTo>
                      <a:pt x="316" y="213"/>
                    </a:lnTo>
                    <a:lnTo>
                      <a:pt x="241" y="177"/>
                    </a:lnTo>
                    <a:lnTo>
                      <a:pt x="163" y="146"/>
                    </a:lnTo>
                    <a:lnTo>
                      <a:pt x="83" y="120"/>
                    </a:lnTo>
                    <a:lnTo>
                      <a:pt x="0" y="99"/>
                    </a:lnTo>
                    <a:lnTo>
                      <a:pt x="11" y="75"/>
                    </a:lnTo>
                    <a:lnTo>
                      <a:pt x="26" y="54"/>
                    </a:lnTo>
                    <a:lnTo>
                      <a:pt x="44" y="36"/>
                    </a:lnTo>
                    <a:lnTo>
                      <a:pt x="66" y="21"/>
                    </a:lnTo>
                    <a:lnTo>
                      <a:pt x="89" y="10"/>
                    </a:lnTo>
                    <a:lnTo>
                      <a:pt x="115" y="3"/>
                    </a:lnTo>
                    <a:lnTo>
                      <a:pt x="14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45" name="Freeform 135">
                <a:extLst>
                  <a:ext uri="{FF2B5EF4-FFF2-40B4-BE49-F238E27FC236}">
                    <a16:creationId xmlns:a16="http://schemas.microsoft.com/office/drawing/2014/main" id="{045A8493-E37C-4D51-9EF4-36EE21248E0A}"/>
                  </a:ext>
                </a:extLst>
              </p:cNvPr>
              <p:cNvSpPr>
                <a:spLocks/>
              </p:cNvSpPr>
              <p:nvPr/>
            </p:nvSpPr>
            <p:spPr bwMode="auto">
              <a:xfrm>
                <a:off x="6057901" y="3970338"/>
                <a:ext cx="206375" cy="44450"/>
              </a:xfrm>
              <a:custGeom>
                <a:avLst/>
                <a:gdLst>
                  <a:gd name="T0" fmla="*/ 151 w 1423"/>
                  <a:gd name="T1" fmla="*/ 0 h 301"/>
                  <a:gd name="T2" fmla="*/ 1272 w 1423"/>
                  <a:gd name="T3" fmla="*/ 0 h 301"/>
                  <a:gd name="T4" fmla="*/ 1302 w 1423"/>
                  <a:gd name="T5" fmla="*/ 3 h 301"/>
                  <a:gd name="T6" fmla="*/ 1331 w 1423"/>
                  <a:gd name="T7" fmla="*/ 12 h 301"/>
                  <a:gd name="T8" fmla="*/ 1356 w 1423"/>
                  <a:gd name="T9" fmla="*/ 26 h 301"/>
                  <a:gd name="T10" fmla="*/ 1379 w 1423"/>
                  <a:gd name="T11" fmla="*/ 44 h 301"/>
                  <a:gd name="T12" fmla="*/ 1397 w 1423"/>
                  <a:gd name="T13" fmla="*/ 67 h 301"/>
                  <a:gd name="T14" fmla="*/ 1412 w 1423"/>
                  <a:gd name="T15" fmla="*/ 92 h 301"/>
                  <a:gd name="T16" fmla="*/ 1420 w 1423"/>
                  <a:gd name="T17" fmla="*/ 120 h 301"/>
                  <a:gd name="T18" fmla="*/ 1423 w 1423"/>
                  <a:gd name="T19" fmla="*/ 150 h 301"/>
                  <a:gd name="T20" fmla="*/ 1420 w 1423"/>
                  <a:gd name="T21" fmla="*/ 180 h 301"/>
                  <a:gd name="T22" fmla="*/ 1412 w 1423"/>
                  <a:gd name="T23" fmla="*/ 209 h 301"/>
                  <a:gd name="T24" fmla="*/ 1397 w 1423"/>
                  <a:gd name="T25" fmla="*/ 234 h 301"/>
                  <a:gd name="T26" fmla="*/ 1379 w 1423"/>
                  <a:gd name="T27" fmla="*/ 257 h 301"/>
                  <a:gd name="T28" fmla="*/ 1356 w 1423"/>
                  <a:gd name="T29" fmla="*/ 275 h 301"/>
                  <a:gd name="T30" fmla="*/ 1331 w 1423"/>
                  <a:gd name="T31" fmla="*/ 289 h 301"/>
                  <a:gd name="T32" fmla="*/ 1302 w 1423"/>
                  <a:gd name="T33" fmla="*/ 298 h 301"/>
                  <a:gd name="T34" fmla="*/ 1272 w 1423"/>
                  <a:gd name="T35" fmla="*/ 301 h 301"/>
                  <a:gd name="T36" fmla="*/ 151 w 1423"/>
                  <a:gd name="T37" fmla="*/ 301 h 301"/>
                  <a:gd name="T38" fmla="*/ 120 w 1423"/>
                  <a:gd name="T39" fmla="*/ 298 h 301"/>
                  <a:gd name="T40" fmla="*/ 92 w 1423"/>
                  <a:gd name="T41" fmla="*/ 289 h 301"/>
                  <a:gd name="T42" fmla="*/ 67 w 1423"/>
                  <a:gd name="T43" fmla="*/ 275 h 301"/>
                  <a:gd name="T44" fmla="*/ 44 w 1423"/>
                  <a:gd name="T45" fmla="*/ 257 h 301"/>
                  <a:gd name="T46" fmla="*/ 26 w 1423"/>
                  <a:gd name="T47" fmla="*/ 234 h 301"/>
                  <a:gd name="T48" fmla="*/ 11 w 1423"/>
                  <a:gd name="T49" fmla="*/ 209 h 301"/>
                  <a:gd name="T50" fmla="*/ 3 w 1423"/>
                  <a:gd name="T51" fmla="*/ 181 h 301"/>
                  <a:gd name="T52" fmla="*/ 0 w 1423"/>
                  <a:gd name="T53" fmla="*/ 151 h 301"/>
                  <a:gd name="T54" fmla="*/ 3 w 1423"/>
                  <a:gd name="T55" fmla="*/ 120 h 301"/>
                  <a:gd name="T56" fmla="*/ 11 w 1423"/>
                  <a:gd name="T57" fmla="*/ 92 h 301"/>
                  <a:gd name="T58" fmla="*/ 26 w 1423"/>
                  <a:gd name="T59" fmla="*/ 67 h 301"/>
                  <a:gd name="T60" fmla="*/ 44 w 1423"/>
                  <a:gd name="T61" fmla="*/ 44 h 301"/>
                  <a:gd name="T62" fmla="*/ 67 w 1423"/>
                  <a:gd name="T63" fmla="*/ 26 h 301"/>
                  <a:gd name="T64" fmla="*/ 92 w 1423"/>
                  <a:gd name="T65" fmla="*/ 12 h 301"/>
                  <a:gd name="T66" fmla="*/ 120 w 1423"/>
                  <a:gd name="T67" fmla="*/ 3 h 301"/>
                  <a:gd name="T68" fmla="*/ 151 w 1423"/>
                  <a:gd name="T69" fmla="*/ 0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423" h="301">
                    <a:moveTo>
                      <a:pt x="151" y="0"/>
                    </a:moveTo>
                    <a:lnTo>
                      <a:pt x="1272" y="0"/>
                    </a:lnTo>
                    <a:lnTo>
                      <a:pt x="1302" y="3"/>
                    </a:lnTo>
                    <a:lnTo>
                      <a:pt x="1331" y="12"/>
                    </a:lnTo>
                    <a:lnTo>
                      <a:pt x="1356" y="26"/>
                    </a:lnTo>
                    <a:lnTo>
                      <a:pt x="1379" y="44"/>
                    </a:lnTo>
                    <a:lnTo>
                      <a:pt x="1397" y="67"/>
                    </a:lnTo>
                    <a:lnTo>
                      <a:pt x="1412" y="92"/>
                    </a:lnTo>
                    <a:lnTo>
                      <a:pt x="1420" y="120"/>
                    </a:lnTo>
                    <a:lnTo>
                      <a:pt x="1423" y="150"/>
                    </a:lnTo>
                    <a:lnTo>
                      <a:pt x="1420" y="180"/>
                    </a:lnTo>
                    <a:lnTo>
                      <a:pt x="1412" y="209"/>
                    </a:lnTo>
                    <a:lnTo>
                      <a:pt x="1397" y="234"/>
                    </a:lnTo>
                    <a:lnTo>
                      <a:pt x="1379" y="257"/>
                    </a:lnTo>
                    <a:lnTo>
                      <a:pt x="1356" y="275"/>
                    </a:lnTo>
                    <a:lnTo>
                      <a:pt x="1331" y="289"/>
                    </a:lnTo>
                    <a:lnTo>
                      <a:pt x="1302" y="298"/>
                    </a:lnTo>
                    <a:lnTo>
                      <a:pt x="1272" y="301"/>
                    </a:lnTo>
                    <a:lnTo>
                      <a:pt x="151" y="301"/>
                    </a:lnTo>
                    <a:lnTo>
                      <a:pt x="120" y="298"/>
                    </a:lnTo>
                    <a:lnTo>
                      <a:pt x="92" y="289"/>
                    </a:lnTo>
                    <a:lnTo>
                      <a:pt x="67" y="275"/>
                    </a:lnTo>
                    <a:lnTo>
                      <a:pt x="44" y="257"/>
                    </a:lnTo>
                    <a:lnTo>
                      <a:pt x="26" y="234"/>
                    </a:lnTo>
                    <a:lnTo>
                      <a:pt x="11" y="209"/>
                    </a:lnTo>
                    <a:lnTo>
                      <a:pt x="3" y="181"/>
                    </a:lnTo>
                    <a:lnTo>
                      <a:pt x="0" y="151"/>
                    </a:lnTo>
                    <a:lnTo>
                      <a:pt x="3" y="120"/>
                    </a:lnTo>
                    <a:lnTo>
                      <a:pt x="11" y="92"/>
                    </a:lnTo>
                    <a:lnTo>
                      <a:pt x="26" y="67"/>
                    </a:lnTo>
                    <a:lnTo>
                      <a:pt x="44" y="44"/>
                    </a:lnTo>
                    <a:lnTo>
                      <a:pt x="67" y="26"/>
                    </a:lnTo>
                    <a:lnTo>
                      <a:pt x="92" y="12"/>
                    </a:lnTo>
                    <a:lnTo>
                      <a:pt x="120" y="3"/>
                    </a:lnTo>
                    <a:lnTo>
                      <a:pt x="15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46" name="Freeform 136">
                <a:extLst>
                  <a:ext uri="{FF2B5EF4-FFF2-40B4-BE49-F238E27FC236}">
                    <a16:creationId xmlns:a16="http://schemas.microsoft.com/office/drawing/2014/main" id="{629B6B13-82E2-43B0-A7FB-10D2FCA51363}"/>
                  </a:ext>
                </a:extLst>
              </p:cNvPr>
              <p:cNvSpPr>
                <a:spLocks/>
              </p:cNvSpPr>
              <p:nvPr/>
            </p:nvSpPr>
            <p:spPr bwMode="auto">
              <a:xfrm>
                <a:off x="6196013" y="4189413"/>
                <a:ext cx="68263" cy="42863"/>
              </a:xfrm>
              <a:custGeom>
                <a:avLst/>
                <a:gdLst>
                  <a:gd name="T0" fmla="*/ 5 w 467"/>
                  <a:gd name="T1" fmla="*/ 0 h 300"/>
                  <a:gd name="T2" fmla="*/ 316 w 467"/>
                  <a:gd name="T3" fmla="*/ 0 h 300"/>
                  <a:gd name="T4" fmla="*/ 346 w 467"/>
                  <a:gd name="T5" fmla="*/ 3 h 300"/>
                  <a:gd name="T6" fmla="*/ 375 w 467"/>
                  <a:gd name="T7" fmla="*/ 11 h 300"/>
                  <a:gd name="T8" fmla="*/ 400 w 467"/>
                  <a:gd name="T9" fmla="*/ 26 h 300"/>
                  <a:gd name="T10" fmla="*/ 423 w 467"/>
                  <a:gd name="T11" fmla="*/ 43 h 300"/>
                  <a:gd name="T12" fmla="*/ 441 w 467"/>
                  <a:gd name="T13" fmla="*/ 66 h 300"/>
                  <a:gd name="T14" fmla="*/ 456 w 467"/>
                  <a:gd name="T15" fmla="*/ 91 h 300"/>
                  <a:gd name="T16" fmla="*/ 464 w 467"/>
                  <a:gd name="T17" fmla="*/ 119 h 300"/>
                  <a:gd name="T18" fmla="*/ 467 w 467"/>
                  <a:gd name="T19" fmla="*/ 150 h 300"/>
                  <a:gd name="T20" fmla="*/ 464 w 467"/>
                  <a:gd name="T21" fmla="*/ 181 h 300"/>
                  <a:gd name="T22" fmla="*/ 456 w 467"/>
                  <a:gd name="T23" fmla="*/ 209 h 300"/>
                  <a:gd name="T24" fmla="*/ 441 w 467"/>
                  <a:gd name="T25" fmla="*/ 235 h 300"/>
                  <a:gd name="T26" fmla="*/ 423 w 467"/>
                  <a:gd name="T27" fmla="*/ 257 h 300"/>
                  <a:gd name="T28" fmla="*/ 400 w 467"/>
                  <a:gd name="T29" fmla="*/ 275 h 300"/>
                  <a:gd name="T30" fmla="*/ 375 w 467"/>
                  <a:gd name="T31" fmla="*/ 289 h 300"/>
                  <a:gd name="T32" fmla="*/ 346 w 467"/>
                  <a:gd name="T33" fmla="*/ 297 h 300"/>
                  <a:gd name="T34" fmla="*/ 316 w 467"/>
                  <a:gd name="T35" fmla="*/ 300 h 300"/>
                  <a:gd name="T36" fmla="*/ 0 w 467"/>
                  <a:gd name="T37" fmla="*/ 300 h 300"/>
                  <a:gd name="T38" fmla="*/ 7 w 467"/>
                  <a:gd name="T39" fmla="*/ 247 h 300"/>
                  <a:gd name="T40" fmla="*/ 11 w 467"/>
                  <a:gd name="T41" fmla="*/ 193 h 300"/>
                  <a:gd name="T42" fmla="*/ 13 w 467"/>
                  <a:gd name="T43" fmla="*/ 138 h 300"/>
                  <a:gd name="T44" fmla="*/ 11 w 467"/>
                  <a:gd name="T45" fmla="*/ 68 h 300"/>
                  <a:gd name="T46" fmla="*/ 5 w 467"/>
                  <a:gd name="T47" fmla="*/ 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67" h="300">
                    <a:moveTo>
                      <a:pt x="5" y="0"/>
                    </a:moveTo>
                    <a:lnTo>
                      <a:pt x="316" y="0"/>
                    </a:lnTo>
                    <a:lnTo>
                      <a:pt x="346" y="3"/>
                    </a:lnTo>
                    <a:lnTo>
                      <a:pt x="375" y="11"/>
                    </a:lnTo>
                    <a:lnTo>
                      <a:pt x="400" y="26"/>
                    </a:lnTo>
                    <a:lnTo>
                      <a:pt x="423" y="43"/>
                    </a:lnTo>
                    <a:lnTo>
                      <a:pt x="441" y="66"/>
                    </a:lnTo>
                    <a:lnTo>
                      <a:pt x="456" y="91"/>
                    </a:lnTo>
                    <a:lnTo>
                      <a:pt x="464" y="119"/>
                    </a:lnTo>
                    <a:lnTo>
                      <a:pt x="467" y="150"/>
                    </a:lnTo>
                    <a:lnTo>
                      <a:pt x="464" y="181"/>
                    </a:lnTo>
                    <a:lnTo>
                      <a:pt x="456" y="209"/>
                    </a:lnTo>
                    <a:lnTo>
                      <a:pt x="441" y="235"/>
                    </a:lnTo>
                    <a:lnTo>
                      <a:pt x="423" y="257"/>
                    </a:lnTo>
                    <a:lnTo>
                      <a:pt x="400" y="275"/>
                    </a:lnTo>
                    <a:lnTo>
                      <a:pt x="375" y="289"/>
                    </a:lnTo>
                    <a:lnTo>
                      <a:pt x="346" y="297"/>
                    </a:lnTo>
                    <a:lnTo>
                      <a:pt x="316" y="300"/>
                    </a:lnTo>
                    <a:lnTo>
                      <a:pt x="0" y="300"/>
                    </a:lnTo>
                    <a:lnTo>
                      <a:pt x="7" y="247"/>
                    </a:lnTo>
                    <a:lnTo>
                      <a:pt x="11" y="193"/>
                    </a:lnTo>
                    <a:lnTo>
                      <a:pt x="13" y="138"/>
                    </a:lnTo>
                    <a:lnTo>
                      <a:pt x="11" y="68"/>
                    </a:lnTo>
                    <a:lnTo>
                      <a:pt x="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47" name="Freeform 137">
                <a:extLst>
                  <a:ext uri="{FF2B5EF4-FFF2-40B4-BE49-F238E27FC236}">
                    <a16:creationId xmlns:a16="http://schemas.microsoft.com/office/drawing/2014/main" id="{87E7D650-629B-4F1E-AA8E-92D264AEA966}"/>
                  </a:ext>
                </a:extLst>
              </p:cNvPr>
              <p:cNvSpPr>
                <a:spLocks/>
              </p:cNvSpPr>
              <p:nvPr/>
            </p:nvSpPr>
            <p:spPr bwMode="auto">
              <a:xfrm>
                <a:off x="6178551" y="4244975"/>
                <a:ext cx="85725" cy="42863"/>
              </a:xfrm>
              <a:custGeom>
                <a:avLst/>
                <a:gdLst>
                  <a:gd name="T0" fmla="*/ 108 w 586"/>
                  <a:gd name="T1" fmla="*/ 0 h 301"/>
                  <a:gd name="T2" fmla="*/ 435 w 586"/>
                  <a:gd name="T3" fmla="*/ 0 h 301"/>
                  <a:gd name="T4" fmla="*/ 465 w 586"/>
                  <a:gd name="T5" fmla="*/ 3 h 301"/>
                  <a:gd name="T6" fmla="*/ 494 w 586"/>
                  <a:gd name="T7" fmla="*/ 12 h 301"/>
                  <a:gd name="T8" fmla="*/ 519 w 586"/>
                  <a:gd name="T9" fmla="*/ 25 h 301"/>
                  <a:gd name="T10" fmla="*/ 542 w 586"/>
                  <a:gd name="T11" fmla="*/ 44 h 301"/>
                  <a:gd name="T12" fmla="*/ 560 w 586"/>
                  <a:gd name="T13" fmla="*/ 66 h 301"/>
                  <a:gd name="T14" fmla="*/ 575 w 586"/>
                  <a:gd name="T15" fmla="*/ 92 h 301"/>
                  <a:gd name="T16" fmla="*/ 583 w 586"/>
                  <a:gd name="T17" fmla="*/ 120 h 301"/>
                  <a:gd name="T18" fmla="*/ 586 w 586"/>
                  <a:gd name="T19" fmla="*/ 150 h 301"/>
                  <a:gd name="T20" fmla="*/ 583 w 586"/>
                  <a:gd name="T21" fmla="*/ 180 h 301"/>
                  <a:gd name="T22" fmla="*/ 575 w 586"/>
                  <a:gd name="T23" fmla="*/ 209 h 301"/>
                  <a:gd name="T24" fmla="*/ 560 w 586"/>
                  <a:gd name="T25" fmla="*/ 234 h 301"/>
                  <a:gd name="T26" fmla="*/ 542 w 586"/>
                  <a:gd name="T27" fmla="*/ 257 h 301"/>
                  <a:gd name="T28" fmla="*/ 519 w 586"/>
                  <a:gd name="T29" fmla="*/ 275 h 301"/>
                  <a:gd name="T30" fmla="*/ 494 w 586"/>
                  <a:gd name="T31" fmla="*/ 289 h 301"/>
                  <a:gd name="T32" fmla="*/ 465 w 586"/>
                  <a:gd name="T33" fmla="*/ 298 h 301"/>
                  <a:gd name="T34" fmla="*/ 435 w 586"/>
                  <a:gd name="T35" fmla="*/ 301 h 301"/>
                  <a:gd name="T36" fmla="*/ 0 w 586"/>
                  <a:gd name="T37" fmla="*/ 301 h 301"/>
                  <a:gd name="T38" fmla="*/ 35 w 586"/>
                  <a:gd name="T39" fmla="*/ 229 h 301"/>
                  <a:gd name="T40" fmla="*/ 64 w 586"/>
                  <a:gd name="T41" fmla="*/ 155 h 301"/>
                  <a:gd name="T42" fmla="*/ 88 w 586"/>
                  <a:gd name="T43" fmla="*/ 78 h 301"/>
                  <a:gd name="T44" fmla="*/ 108 w 586"/>
                  <a:gd name="T45" fmla="*/ 0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86" h="301">
                    <a:moveTo>
                      <a:pt x="108" y="0"/>
                    </a:moveTo>
                    <a:lnTo>
                      <a:pt x="435" y="0"/>
                    </a:lnTo>
                    <a:lnTo>
                      <a:pt x="465" y="3"/>
                    </a:lnTo>
                    <a:lnTo>
                      <a:pt x="494" y="12"/>
                    </a:lnTo>
                    <a:lnTo>
                      <a:pt x="519" y="25"/>
                    </a:lnTo>
                    <a:lnTo>
                      <a:pt x="542" y="44"/>
                    </a:lnTo>
                    <a:lnTo>
                      <a:pt x="560" y="66"/>
                    </a:lnTo>
                    <a:lnTo>
                      <a:pt x="575" y="92"/>
                    </a:lnTo>
                    <a:lnTo>
                      <a:pt x="583" y="120"/>
                    </a:lnTo>
                    <a:lnTo>
                      <a:pt x="586" y="150"/>
                    </a:lnTo>
                    <a:lnTo>
                      <a:pt x="583" y="180"/>
                    </a:lnTo>
                    <a:lnTo>
                      <a:pt x="575" y="209"/>
                    </a:lnTo>
                    <a:lnTo>
                      <a:pt x="560" y="234"/>
                    </a:lnTo>
                    <a:lnTo>
                      <a:pt x="542" y="257"/>
                    </a:lnTo>
                    <a:lnTo>
                      <a:pt x="519" y="275"/>
                    </a:lnTo>
                    <a:lnTo>
                      <a:pt x="494" y="289"/>
                    </a:lnTo>
                    <a:lnTo>
                      <a:pt x="465" y="298"/>
                    </a:lnTo>
                    <a:lnTo>
                      <a:pt x="435" y="301"/>
                    </a:lnTo>
                    <a:lnTo>
                      <a:pt x="0" y="301"/>
                    </a:lnTo>
                    <a:lnTo>
                      <a:pt x="35" y="229"/>
                    </a:lnTo>
                    <a:lnTo>
                      <a:pt x="64" y="155"/>
                    </a:lnTo>
                    <a:lnTo>
                      <a:pt x="88" y="78"/>
                    </a:lnTo>
                    <a:lnTo>
                      <a:pt x="10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48" name="Freeform 138">
                <a:extLst>
                  <a:ext uri="{FF2B5EF4-FFF2-40B4-BE49-F238E27FC236}">
                    <a16:creationId xmlns:a16="http://schemas.microsoft.com/office/drawing/2014/main" id="{28A6AE4E-954D-4C04-BC32-AD1CDC282CF6}"/>
                  </a:ext>
                </a:extLst>
              </p:cNvPr>
              <p:cNvSpPr>
                <a:spLocks/>
              </p:cNvSpPr>
              <p:nvPr/>
            </p:nvSpPr>
            <p:spPr bwMode="auto">
              <a:xfrm>
                <a:off x="6135688" y="4298950"/>
                <a:ext cx="128588" cy="42863"/>
              </a:xfrm>
              <a:custGeom>
                <a:avLst/>
                <a:gdLst>
                  <a:gd name="T0" fmla="*/ 257 w 887"/>
                  <a:gd name="T1" fmla="*/ 0 h 301"/>
                  <a:gd name="T2" fmla="*/ 736 w 887"/>
                  <a:gd name="T3" fmla="*/ 0 h 301"/>
                  <a:gd name="T4" fmla="*/ 766 w 887"/>
                  <a:gd name="T5" fmla="*/ 3 h 301"/>
                  <a:gd name="T6" fmla="*/ 795 w 887"/>
                  <a:gd name="T7" fmla="*/ 12 h 301"/>
                  <a:gd name="T8" fmla="*/ 820 w 887"/>
                  <a:gd name="T9" fmla="*/ 26 h 301"/>
                  <a:gd name="T10" fmla="*/ 843 w 887"/>
                  <a:gd name="T11" fmla="*/ 45 h 301"/>
                  <a:gd name="T12" fmla="*/ 861 w 887"/>
                  <a:gd name="T13" fmla="*/ 66 h 301"/>
                  <a:gd name="T14" fmla="*/ 876 w 887"/>
                  <a:gd name="T15" fmla="*/ 91 h 301"/>
                  <a:gd name="T16" fmla="*/ 884 w 887"/>
                  <a:gd name="T17" fmla="*/ 120 h 301"/>
                  <a:gd name="T18" fmla="*/ 887 w 887"/>
                  <a:gd name="T19" fmla="*/ 151 h 301"/>
                  <a:gd name="T20" fmla="*/ 884 w 887"/>
                  <a:gd name="T21" fmla="*/ 181 h 301"/>
                  <a:gd name="T22" fmla="*/ 876 w 887"/>
                  <a:gd name="T23" fmla="*/ 209 h 301"/>
                  <a:gd name="T24" fmla="*/ 861 w 887"/>
                  <a:gd name="T25" fmla="*/ 235 h 301"/>
                  <a:gd name="T26" fmla="*/ 843 w 887"/>
                  <a:gd name="T27" fmla="*/ 257 h 301"/>
                  <a:gd name="T28" fmla="*/ 820 w 887"/>
                  <a:gd name="T29" fmla="*/ 275 h 301"/>
                  <a:gd name="T30" fmla="*/ 795 w 887"/>
                  <a:gd name="T31" fmla="*/ 289 h 301"/>
                  <a:gd name="T32" fmla="*/ 766 w 887"/>
                  <a:gd name="T33" fmla="*/ 298 h 301"/>
                  <a:gd name="T34" fmla="*/ 736 w 887"/>
                  <a:gd name="T35" fmla="*/ 301 h 301"/>
                  <a:gd name="T36" fmla="*/ 0 w 887"/>
                  <a:gd name="T37" fmla="*/ 301 h 301"/>
                  <a:gd name="T38" fmla="*/ 59 w 887"/>
                  <a:gd name="T39" fmla="*/ 247 h 301"/>
                  <a:gd name="T40" fmla="*/ 115 w 887"/>
                  <a:gd name="T41" fmla="*/ 191 h 301"/>
                  <a:gd name="T42" fmla="*/ 166 w 887"/>
                  <a:gd name="T43" fmla="*/ 131 h 301"/>
                  <a:gd name="T44" fmla="*/ 214 w 887"/>
                  <a:gd name="T45" fmla="*/ 67 h 301"/>
                  <a:gd name="T46" fmla="*/ 257 w 887"/>
                  <a:gd name="T47" fmla="*/ 0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87" h="301">
                    <a:moveTo>
                      <a:pt x="257" y="0"/>
                    </a:moveTo>
                    <a:lnTo>
                      <a:pt x="736" y="0"/>
                    </a:lnTo>
                    <a:lnTo>
                      <a:pt x="766" y="3"/>
                    </a:lnTo>
                    <a:lnTo>
                      <a:pt x="795" y="12"/>
                    </a:lnTo>
                    <a:lnTo>
                      <a:pt x="820" y="26"/>
                    </a:lnTo>
                    <a:lnTo>
                      <a:pt x="843" y="45"/>
                    </a:lnTo>
                    <a:lnTo>
                      <a:pt x="861" y="66"/>
                    </a:lnTo>
                    <a:lnTo>
                      <a:pt x="876" y="91"/>
                    </a:lnTo>
                    <a:lnTo>
                      <a:pt x="884" y="120"/>
                    </a:lnTo>
                    <a:lnTo>
                      <a:pt x="887" y="151"/>
                    </a:lnTo>
                    <a:lnTo>
                      <a:pt x="884" y="181"/>
                    </a:lnTo>
                    <a:lnTo>
                      <a:pt x="876" y="209"/>
                    </a:lnTo>
                    <a:lnTo>
                      <a:pt x="861" y="235"/>
                    </a:lnTo>
                    <a:lnTo>
                      <a:pt x="843" y="257"/>
                    </a:lnTo>
                    <a:lnTo>
                      <a:pt x="820" y="275"/>
                    </a:lnTo>
                    <a:lnTo>
                      <a:pt x="795" y="289"/>
                    </a:lnTo>
                    <a:lnTo>
                      <a:pt x="766" y="298"/>
                    </a:lnTo>
                    <a:lnTo>
                      <a:pt x="736" y="301"/>
                    </a:lnTo>
                    <a:lnTo>
                      <a:pt x="0" y="301"/>
                    </a:lnTo>
                    <a:lnTo>
                      <a:pt x="59" y="247"/>
                    </a:lnTo>
                    <a:lnTo>
                      <a:pt x="115" y="191"/>
                    </a:lnTo>
                    <a:lnTo>
                      <a:pt x="166" y="131"/>
                    </a:lnTo>
                    <a:lnTo>
                      <a:pt x="214" y="67"/>
                    </a:lnTo>
                    <a:lnTo>
                      <a:pt x="25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49" name="Freeform 139">
                <a:extLst>
                  <a:ext uri="{FF2B5EF4-FFF2-40B4-BE49-F238E27FC236}">
                    <a16:creationId xmlns:a16="http://schemas.microsoft.com/office/drawing/2014/main" id="{58AB6B7E-BDBD-45B8-8850-8BBB9CC3F22D}"/>
                  </a:ext>
                </a:extLst>
              </p:cNvPr>
              <p:cNvSpPr>
                <a:spLocks/>
              </p:cNvSpPr>
              <p:nvPr/>
            </p:nvSpPr>
            <p:spPr bwMode="auto">
              <a:xfrm>
                <a:off x="5783263" y="4186238"/>
                <a:ext cx="66675" cy="42863"/>
              </a:xfrm>
              <a:custGeom>
                <a:avLst/>
                <a:gdLst>
                  <a:gd name="T0" fmla="*/ 152 w 467"/>
                  <a:gd name="T1" fmla="*/ 0 h 300"/>
                  <a:gd name="T2" fmla="*/ 467 w 467"/>
                  <a:gd name="T3" fmla="*/ 0 h 300"/>
                  <a:gd name="T4" fmla="*/ 461 w 467"/>
                  <a:gd name="T5" fmla="*/ 54 h 300"/>
                  <a:gd name="T6" fmla="*/ 456 w 467"/>
                  <a:gd name="T7" fmla="*/ 108 h 300"/>
                  <a:gd name="T8" fmla="*/ 454 w 467"/>
                  <a:gd name="T9" fmla="*/ 163 h 300"/>
                  <a:gd name="T10" fmla="*/ 456 w 467"/>
                  <a:gd name="T11" fmla="*/ 232 h 300"/>
                  <a:gd name="T12" fmla="*/ 463 w 467"/>
                  <a:gd name="T13" fmla="*/ 300 h 300"/>
                  <a:gd name="T14" fmla="*/ 152 w 467"/>
                  <a:gd name="T15" fmla="*/ 300 h 300"/>
                  <a:gd name="T16" fmla="*/ 121 w 467"/>
                  <a:gd name="T17" fmla="*/ 297 h 300"/>
                  <a:gd name="T18" fmla="*/ 93 w 467"/>
                  <a:gd name="T19" fmla="*/ 289 h 300"/>
                  <a:gd name="T20" fmla="*/ 67 w 467"/>
                  <a:gd name="T21" fmla="*/ 275 h 300"/>
                  <a:gd name="T22" fmla="*/ 45 w 467"/>
                  <a:gd name="T23" fmla="*/ 257 h 300"/>
                  <a:gd name="T24" fmla="*/ 26 w 467"/>
                  <a:gd name="T25" fmla="*/ 234 h 300"/>
                  <a:gd name="T26" fmla="*/ 13 w 467"/>
                  <a:gd name="T27" fmla="*/ 209 h 300"/>
                  <a:gd name="T28" fmla="*/ 3 w 467"/>
                  <a:gd name="T29" fmla="*/ 181 h 300"/>
                  <a:gd name="T30" fmla="*/ 0 w 467"/>
                  <a:gd name="T31" fmla="*/ 149 h 300"/>
                  <a:gd name="T32" fmla="*/ 3 w 467"/>
                  <a:gd name="T33" fmla="*/ 119 h 300"/>
                  <a:gd name="T34" fmla="*/ 13 w 467"/>
                  <a:gd name="T35" fmla="*/ 91 h 300"/>
                  <a:gd name="T36" fmla="*/ 26 w 467"/>
                  <a:gd name="T37" fmla="*/ 66 h 300"/>
                  <a:gd name="T38" fmla="*/ 45 w 467"/>
                  <a:gd name="T39" fmla="*/ 43 h 300"/>
                  <a:gd name="T40" fmla="*/ 67 w 467"/>
                  <a:gd name="T41" fmla="*/ 26 h 300"/>
                  <a:gd name="T42" fmla="*/ 93 w 467"/>
                  <a:gd name="T43" fmla="*/ 11 h 300"/>
                  <a:gd name="T44" fmla="*/ 121 w 467"/>
                  <a:gd name="T45" fmla="*/ 3 h 300"/>
                  <a:gd name="T46" fmla="*/ 152 w 467"/>
                  <a:gd name="T47" fmla="*/ 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67" h="300">
                    <a:moveTo>
                      <a:pt x="152" y="0"/>
                    </a:moveTo>
                    <a:lnTo>
                      <a:pt x="467" y="0"/>
                    </a:lnTo>
                    <a:lnTo>
                      <a:pt x="461" y="54"/>
                    </a:lnTo>
                    <a:lnTo>
                      <a:pt x="456" y="108"/>
                    </a:lnTo>
                    <a:lnTo>
                      <a:pt x="454" y="163"/>
                    </a:lnTo>
                    <a:lnTo>
                      <a:pt x="456" y="232"/>
                    </a:lnTo>
                    <a:lnTo>
                      <a:pt x="463" y="300"/>
                    </a:lnTo>
                    <a:lnTo>
                      <a:pt x="152" y="300"/>
                    </a:lnTo>
                    <a:lnTo>
                      <a:pt x="121" y="297"/>
                    </a:lnTo>
                    <a:lnTo>
                      <a:pt x="93" y="289"/>
                    </a:lnTo>
                    <a:lnTo>
                      <a:pt x="67" y="275"/>
                    </a:lnTo>
                    <a:lnTo>
                      <a:pt x="45" y="257"/>
                    </a:lnTo>
                    <a:lnTo>
                      <a:pt x="26" y="234"/>
                    </a:lnTo>
                    <a:lnTo>
                      <a:pt x="13" y="209"/>
                    </a:lnTo>
                    <a:lnTo>
                      <a:pt x="3" y="181"/>
                    </a:lnTo>
                    <a:lnTo>
                      <a:pt x="0" y="149"/>
                    </a:lnTo>
                    <a:lnTo>
                      <a:pt x="3" y="119"/>
                    </a:lnTo>
                    <a:lnTo>
                      <a:pt x="13" y="91"/>
                    </a:lnTo>
                    <a:lnTo>
                      <a:pt x="26" y="66"/>
                    </a:lnTo>
                    <a:lnTo>
                      <a:pt x="45" y="43"/>
                    </a:lnTo>
                    <a:lnTo>
                      <a:pt x="67" y="26"/>
                    </a:lnTo>
                    <a:lnTo>
                      <a:pt x="93" y="11"/>
                    </a:lnTo>
                    <a:lnTo>
                      <a:pt x="121" y="3"/>
                    </a:lnTo>
                    <a:lnTo>
                      <a:pt x="15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50" name="Freeform 140">
                <a:extLst>
                  <a:ext uri="{FF2B5EF4-FFF2-40B4-BE49-F238E27FC236}">
                    <a16:creationId xmlns:a16="http://schemas.microsoft.com/office/drawing/2014/main" id="{98CDCE23-CDFE-41E5-906E-66EAF6FD33C1}"/>
                  </a:ext>
                </a:extLst>
              </p:cNvPr>
              <p:cNvSpPr>
                <a:spLocks/>
              </p:cNvSpPr>
              <p:nvPr/>
            </p:nvSpPr>
            <p:spPr bwMode="auto">
              <a:xfrm>
                <a:off x="5783263" y="4240213"/>
                <a:ext cx="82550" cy="44450"/>
              </a:xfrm>
              <a:custGeom>
                <a:avLst/>
                <a:gdLst>
                  <a:gd name="T0" fmla="*/ 152 w 574"/>
                  <a:gd name="T1" fmla="*/ 0 h 301"/>
                  <a:gd name="T2" fmla="*/ 475 w 574"/>
                  <a:gd name="T3" fmla="*/ 0 h 301"/>
                  <a:gd name="T4" fmla="*/ 492 w 574"/>
                  <a:gd name="T5" fmla="*/ 78 h 301"/>
                  <a:gd name="T6" fmla="*/ 515 w 574"/>
                  <a:gd name="T7" fmla="*/ 154 h 301"/>
                  <a:gd name="T8" fmla="*/ 542 w 574"/>
                  <a:gd name="T9" fmla="*/ 229 h 301"/>
                  <a:gd name="T10" fmla="*/ 574 w 574"/>
                  <a:gd name="T11" fmla="*/ 301 h 301"/>
                  <a:gd name="T12" fmla="*/ 152 w 574"/>
                  <a:gd name="T13" fmla="*/ 301 h 301"/>
                  <a:gd name="T14" fmla="*/ 121 w 574"/>
                  <a:gd name="T15" fmla="*/ 298 h 301"/>
                  <a:gd name="T16" fmla="*/ 93 w 574"/>
                  <a:gd name="T17" fmla="*/ 288 h 301"/>
                  <a:gd name="T18" fmla="*/ 67 w 574"/>
                  <a:gd name="T19" fmla="*/ 275 h 301"/>
                  <a:gd name="T20" fmla="*/ 45 w 574"/>
                  <a:gd name="T21" fmla="*/ 256 h 301"/>
                  <a:gd name="T22" fmla="*/ 26 w 574"/>
                  <a:gd name="T23" fmla="*/ 234 h 301"/>
                  <a:gd name="T24" fmla="*/ 13 w 574"/>
                  <a:gd name="T25" fmla="*/ 208 h 301"/>
                  <a:gd name="T26" fmla="*/ 3 w 574"/>
                  <a:gd name="T27" fmla="*/ 180 h 301"/>
                  <a:gd name="T28" fmla="*/ 0 w 574"/>
                  <a:gd name="T29" fmla="*/ 150 h 301"/>
                  <a:gd name="T30" fmla="*/ 3 w 574"/>
                  <a:gd name="T31" fmla="*/ 120 h 301"/>
                  <a:gd name="T32" fmla="*/ 13 w 574"/>
                  <a:gd name="T33" fmla="*/ 92 h 301"/>
                  <a:gd name="T34" fmla="*/ 26 w 574"/>
                  <a:gd name="T35" fmla="*/ 66 h 301"/>
                  <a:gd name="T36" fmla="*/ 45 w 574"/>
                  <a:gd name="T37" fmla="*/ 44 h 301"/>
                  <a:gd name="T38" fmla="*/ 67 w 574"/>
                  <a:gd name="T39" fmla="*/ 25 h 301"/>
                  <a:gd name="T40" fmla="*/ 93 w 574"/>
                  <a:gd name="T41" fmla="*/ 12 h 301"/>
                  <a:gd name="T42" fmla="*/ 121 w 574"/>
                  <a:gd name="T43" fmla="*/ 3 h 301"/>
                  <a:gd name="T44" fmla="*/ 152 w 574"/>
                  <a:gd name="T45" fmla="*/ 0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74" h="301">
                    <a:moveTo>
                      <a:pt x="152" y="0"/>
                    </a:moveTo>
                    <a:lnTo>
                      <a:pt x="475" y="0"/>
                    </a:lnTo>
                    <a:lnTo>
                      <a:pt x="492" y="78"/>
                    </a:lnTo>
                    <a:lnTo>
                      <a:pt x="515" y="154"/>
                    </a:lnTo>
                    <a:lnTo>
                      <a:pt x="542" y="229"/>
                    </a:lnTo>
                    <a:lnTo>
                      <a:pt x="574" y="301"/>
                    </a:lnTo>
                    <a:lnTo>
                      <a:pt x="152" y="301"/>
                    </a:lnTo>
                    <a:lnTo>
                      <a:pt x="121" y="298"/>
                    </a:lnTo>
                    <a:lnTo>
                      <a:pt x="93" y="288"/>
                    </a:lnTo>
                    <a:lnTo>
                      <a:pt x="67" y="275"/>
                    </a:lnTo>
                    <a:lnTo>
                      <a:pt x="45" y="256"/>
                    </a:lnTo>
                    <a:lnTo>
                      <a:pt x="26" y="234"/>
                    </a:lnTo>
                    <a:lnTo>
                      <a:pt x="13" y="208"/>
                    </a:lnTo>
                    <a:lnTo>
                      <a:pt x="3" y="180"/>
                    </a:lnTo>
                    <a:lnTo>
                      <a:pt x="0" y="150"/>
                    </a:lnTo>
                    <a:lnTo>
                      <a:pt x="3" y="120"/>
                    </a:lnTo>
                    <a:lnTo>
                      <a:pt x="13" y="92"/>
                    </a:lnTo>
                    <a:lnTo>
                      <a:pt x="26" y="66"/>
                    </a:lnTo>
                    <a:lnTo>
                      <a:pt x="45" y="44"/>
                    </a:lnTo>
                    <a:lnTo>
                      <a:pt x="67" y="25"/>
                    </a:lnTo>
                    <a:lnTo>
                      <a:pt x="93" y="12"/>
                    </a:lnTo>
                    <a:lnTo>
                      <a:pt x="121" y="3"/>
                    </a:lnTo>
                    <a:lnTo>
                      <a:pt x="15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51" name="Freeform 141">
                <a:extLst>
                  <a:ext uri="{FF2B5EF4-FFF2-40B4-BE49-F238E27FC236}">
                    <a16:creationId xmlns:a16="http://schemas.microsoft.com/office/drawing/2014/main" id="{D5E334BA-EFB5-42F0-A5B1-D5E6BF520EDD}"/>
                  </a:ext>
                </a:extLst>
              </p:cNvPr>
              <p:cNvSpPr>
                <a:spLocks/>
              </p:cNvSpPr>
              <p:nvPr/>
            </p:nvSpPr>
            <p:spPr bwMode="auto">
              <a:xfrm>
                <a:off x="5783263" y="4130675"/>
                <a:ext cx="84138" cy="44450"/>
              </a:xfrm>
              <a:custGeom>
                <a:avLst/>
                <a:gdLst>
                  <a:gd name="T0" fmla="*/ 152 w 586"/>
                  <a:gd name="T1" fmla="*/ 0 h 302"/>
                  <a:gd name="T2" fmla="*/ 586 w 586"/>
                  <a:gd name="T3" fmla="*/ 0 h 302"/>
                  <a:gd name="T4" fmla="*/ 552 w 586"/>
                  <a:gd name="T5" fmla="*/ 72 h 302"/>
                  <a:gd name="T6" fmla="*/ 522 w 586"/>
                  <a:gd name="T7" fmla="*/ 147 h 302"/>
                  <a:gd name="T8" fmla="*/ 498 w 586"/>
                  <a:gd name="T9" fmla="*/ 223 h 302"/>
                  <a:gd name="T10" fmla="*/ 479 w 586"/>
                  <a:gd name="T11" fmla="*/ 302 h 302"/>
                  <a:gd name="T12" fmla="*/ 152 w 586"/>
                  <a:gd name="T13" fmla="*/ 302 h 302"/>
                  <a:gd name="T14" fmla="*/ 121 w 586"/>
                  <a:gd name="T15" fmla="*/ 299 h 302"/>
                  <a:gd name="T16" fmla="*/ 93 w 586"/>
                  <a:gd name="T17" fmla="*/ 289 h 302"/>
                  <a:gd name="T18" fmla="*/ 67 w 586"/>
                  <a:gd name="T19" fmla="*/ 276 h 302"/>
                  <a:gd name="T20" fmla="*/ 45 w 586"/>
                  <a:gd name="T21" fmla="*/ 257 h 302"/>
                  <a:gd name="T22" fmla="*/ 26 w 586"/>
                  <a:gd name="T23" fmla="*/ 235 h 302"/>
                  <a:gd name="T24" fmla="*/ 13 w 586"/>
                  <a:gd name="T25" fmla="*/ 209 h 302"/>
                  <a:gd name="T26" fmla="*/ 3 w 586"/>
                  <a:gd name="T27" fmla="*/ 181 h 302"/>
                  <a:gd name="T28" fmla="*/ 0 w 586"/>
                  <a:gd name="T29" fmla="*/ 151 h 302"/>
                  <a:gd name="T30" fmla="*/ 3 w 586"/>
                  <a:gd name="T31" fmla="*/ 121 h 302"/>
                  <a:gd name="T32" fmla="*/ 13 w 586"/>
                  <a:gd name="T33" fmla="*/ 93 h 302"/>
                  <a:gd name="T34" fmla="*/ 26 w 586"/>
                  <a:gd name="T35" fmla="*/ 67 h 302"/>
                  <a:gd name="T36" fmla="*/ 45 w 586"/>
                  <a:gd name="T37" fmla="*/ 45 h 302"/>
                  <a:gd name="T38" fmla="*/ 67 w 586"/>
                  <a:gd name="T39" fmla="*/ 26 h 302"/>
                  <a:gd name="T40" fmla="*/ 93 w 586"/>
                  <a:gd name="T41" fmla="*/ 13 h 302"/>
                  <a:gd name="T42" fmla="*/ 121 w 586"/>
                  <a:gd name="T43" fmla="*/ 3 h 302"/>
                  <a:gd name="T44" fmla="*/ 152 w 586"/>
                  <a:gd name="T45" fmla="*/ 0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86" h="302">
                    <a:moveTo>
                      <a:pt x="152" y="0"/>
                    </a:moveTo>
                    <a:lnTo>
                      <a:pt x="586" y="0"/>
                    </a:lnTo>
                    <a:lnTo>
                      <a:pt x="552" y="72"/>
                    </a:lnTo>
                    <a:lnTo>
                      <a:pt x="522" y="147"/>
                    </a:lnTo>
                    <a:lnTo>
                      <a:pt x="498" y="223"/>
                    </a:lnTo>
                    <a:lnTo>
                      <a:pt x="479" y="302"/>
                    </a:lnTo>
                    <a:lnTo>
                      <a:pt x="152" y="302"/>
                    </a:lnTo>
                    <a:lnTo>
                      <a:pt x="121" y="299"/>
                    </a:lnTo>
                    <a:lnTo>
                      <a:pt x="93" y="289"/>
                    </a:lnTo>
                    <a:lnTo>
                      <a:pt x="67" y="276"/>
                    </a:lnTo>
                    <a:lnTo>
                      <a:pt x="45" y="257"/>
                    </a:lnTo>
                    <a:lnTo>
                      <a:pt x="26" y="235"/>
                    </a:lnTo>
                    <a:lnTo>
                      <a:pt x="13" y="209"/>
                    </a:lnTo>
                    <a:lnTo>
                      <a:pt x="3" y="181"/>
                    </a:lnTo>
                    <a:lnTo>
                      <a:pt x="0" y="151"/>
                    </a:lnTo>
                    <a:lnTo>
                      <a:pt x="3" y="121"/>
                    </a:lnTo>
                    <a:lnTo>
                      <a:pt x="13" y="93"/>
                    </a:lnTo>
                    <a:lnTo>
                      <a:pt x="26" y="67"/>
                    </a:lnTo>
                    <a:lnTo>
                      <a:pt x="45" y="45"/>
                    </a:lnTo>
                    <a:lnTo>
                      <a:pt x="67" y="26"/>
                    </a:lnTo>
                    <a:lnTo>
                      <a:pt x="93" y="13"/>
                    </a:lnTo>
                    <a:lnTo>
                      <a:pt x="121" y="3"/>
                    </a:lnTo>
                    <a:lnTo>
                      <a:pt x="15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52" name="Freeform 142">
                <a:extLst>
                  <a:ext uri="{FF2B5EF4-FFF2-40B4-BE49-F238E27FC236}">
                    <a16:creationId xmlns:a16="http://schemas.microsoft.com/office/drawing/2014/main" id="{EB3E2E8C-E083-4D41-8045-07036261BB43}"/>
                  </a:ext>
                </a:extLst>
              </p:cNvPr>
              <p:cNvSpPr>
                <a:spLocks/>
              </p:cNvSpPr>
              <p:nvPr/>
            </p:nvSpPr>
            <p:spPr bwMode="auto">
              <a:xfrm>
                <a:off x="5783263" y="4076700"/>
                <a:ext cx="128588" cy="42863"/>
              </a:xfrm>
              <a:custGeom>
                <a:avLst/>
                <a:gdLst>
                  <a:gd name="T0" fmla="*/ 152 w 888"/>
                  <a:gd name="T1" fmla="*/ 0 h 300"/>
                  <a:gd name="T2" fmla="*/ 888 w 888"/>
                  <a:gd name="T3" fmla="*/ 0 h 300"/>
                  <a:gd name="T4" fmla="*/ 829 w 888"/>
                  <a:gd name="T5" fmla="*/ 53 h 300"/>
                  <a:gd name="T6" fmla="*/ 774 w 888"/>
                  <a:gd name="T7" fmla="*/ 110 h 300"/>
                  <a:gd name="T8" fmla="*/ 721 w 888"/>
                  <a:gd name="T9" fmla="*/ 170 h 300"/>
                  <a:gd name="T10" fmla="*/ 674 w 888"/>
                  <a:gd name="T11" fmla="*/ 234 h 300"/>
                  <a:gd name="T12" fmla="*/ 630 w 888"/>
                  <a:gd name="T13" fmla="*/ 300 h 300"/>
                  <a:gd name="T14" fmla="*/ 152 w 888"/>
                  <a:gd name="T15" fmla="*/ 300 h 300"/>
                  <a:gd name="T16" fmla="*/ 121 w 888"/>
                  <a:gd name="T17" fmla="*/ 297 h 300"/>
                  <a:gd name="T18" fmla="*/ 93 w 888"/>
                  <a:gd name="T19" fmla="*/ 289 h 300"/>
                  <a:gd name="T20" fmla="*/ 67 w 888"/>
                  <a:gd name="T21" fmla="*/ 274 h 300"/>
                  <a:gd name="T22" fmla="*/ 45 w 888"/>
                  <a:gd name="T23" fmla="*/ 256 h 300"/>
                  <a:gd name="T24" fmla="*/ 26 w 888"/>
                  <a:gd name="T25" fmla="*/ 234 h 300"/>
                  <a:gd name="T26" fmla="*/ 13 w 888"/>
                  <a:gd name="T27" fmla="*/ 209 h 300"/>
                  <a:gd name="T28" fmla="*/ 3 w 888"/>
                  <a:gd name="T29" fmla="*/ 179 h 300"/>
                  <a:gd name="T30" fmla="*/ 0 w 888"/>
                  <a:gd name="T31" fmla="*/ 149 h 300"/>
                  <a:gd name="T32" fmla="*/ 3 w 888"/>
                  <a:gd name="T33" fmla="*/ 119 h 300"/>
                  <a:gd name="T34" fmla="*/ 13 w 888"/>
                  <a:gd name="T35" fmla="*/ 91 h 300"/>
                  <a:gd name="T36" fmla="*/ 26 w 888"/>
                  <a:gd name="T37" fmla="*/ 66 h 300"/>
                  <a:gd name="T38" fmla="*/ 45 w 888"/>
                  <a:gd name="T39" fmla="*/ 43 h 300"/>
                  <a:gd name="T40" fmla="*/ 67 w 888"/>
                  <a:gd name="T41" fmla="*/ 26 h 300"/>
                  <a:gd name="T42" fmla="*/ 93 w 888"/>
                  <a:gd name="T43" fmla="*/ 11 h 300"/>
                  <a:gd name="T44" fmla="*/ 121 w 888"/>
                  <a:gd name="T45" fmla="*/ 3 h 300"/>
                  <a:gd name="T46" fmla="*/ 152 w 888"/>
                  <a:gd name="T47" fmla="*/ 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88" h="300">
                    <a:moveTo>
                      <a:pt x="152" y="0"/>
                    </a:moveTo>
                    <a:lnTo>
                      <a:pt x="888" y="0"/>
                    </a:lnTo>
                    <a:lnTo>
                      <a:pt x="829" y="53"/>
                    </a:lnTo>
                    <a:lnTo>
                      <a:pt x="774" y="110"/>
                    </a:lnTo>
                    <a:lnTo>
                      <a:pt x="721" y="170"/>
                    </a:lnTo>
                    <a:lnTo>
                      <a:pt x="674" y="234"/>
                    </a:lnTo>
                    <a:lnTo>
                      <a:pt x="630" y="300"/>
                    </a:lnTo>
                    <a:lnTo>
                      <a:pt x="152" y="300"/>
                    </a:lnTo>
                    <a:lnTo>
                      <a:pt x="121" y="297"/>
                    </a:lnTo>
                    <a:lnTo>
                      <a:pt x="93" y="289"/>
                    </a:lnTo>
                    <a:lnTo>
                      <a:pt x="67" y="274"/>
                    </a:lnTo>
                    <a:lnTo>
                      <a:pt x="45" y="256"/>
                    </a:lnTo>
                    <a:lnTo>
                      <a:pt x="26" y="234"/>
                    </a:lnTo>
                    <a:lnTo>
                      <a:pt x="13" y="209"/>
                    </a:lnTo>
                    <a:lnTo>
                      <a:pt x="3" y="179"/>
                    </a:lnTo>
                    <a:lnTo>
                      <a:pt x="0" y="149"/>
                    </a:lnTo>
                    <a:lnTo>
                      <a:pt x="3" y="119"/>
                    </a:lnTo>
                    <a:lnTo>
                      <a:pt x="13" y="91"/>
                    </a:lnTo>
                    <a:lnTo>
                      <a:pt x="26" y="66"/>
                    </a:lnTo>
                    <a:lnTo>
                      <a:pt x="45" y="43"/>
                    </a:lnTo>
                    <a:lnTo>
                      <a:pt x="67" y="26"/>
                    </a:lnTo>
                    <a:lnTo>
                      <a:pt x="93" y="11"/>
                    </a:lnTo>
                    <a:lnTo>
                      <a:pt x="121" y="3"/>
                    </a:lnTo>
                    <a:lnTo>
                      <a:pt x="15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53" name="Freeform 143">
                <a:extLst>
                  <a:ext uri="{FF2B5EF4-FFF2-40B4-BE49-F238E27FC236}">
                    <a16:creationId xmlns:a16="http://schemas.microsoft.com/office/drawing/2014/main" id="{62B4F11D-42C9-49B4-A52B-2164A9A3BEB3}"/>
                  </a:ext>
                </a:extLst>
              </p:cNvPr>
              <p:cNvSpPr>
                <a:spLocks/>
              </p:cNvSpPr>
              <p:nvPr/>
            </p:nvSpPr>
            <p:spPr bwMode="auto">
              <a:xfrm>
                <a:off x="5783263" y="4295775"/>
                <a:ext cx="123825" cy="42863"/>
              </a:xfrm>
              <a:custGeom>
                <a:avLst/>
                <a:gdLst>
                  <a:gd name="T0" fmla="*/ 152 w 861"/>
                  <a:gd name="T1" fmla="*/ 0 h 300"/>
                  <a:gd name="T2" fmla="*/ 615 w 861"/>
                  <a:gd name="T3" fmla="*/ 0 h 300"/>
                  <a:gd name="T4" fmla="*/ 655 w 861"/>
                  <a:gd name="T5" fmla="*/ 66 h 300"/>
                  <a:gd name="T6" fmla="*/ 701 w 861"/>
                  <a:gd name="T7" fmla="*/ 130 h 300"/>
                  <a:gd name="T8" fmla="*/ 751 w 861"/>
                  <a:gd name="T9" fmla="*/ 190 h 300"/>
                  <a:gd name="T10" fmla="*/ 804 w 861"/>
                  <a:gd name="T11" fmla="*/ 247 h 300"/>
                  <a:gd name="T12" fmla="*/ 861 w 861"/>
                  <a:gd name="T13" fmla="*/ 300 h 300"/>
                  <a:gd name="T14" fmla="*/ 152 w 861"/>
                  <a:gd name="T15" fmla="*/ 300 h 300"/>
                  <a:gd name="T16" fmla="*/ 121 w 861"/>
                  <a:gd name="T17" fmla="*/ 297 h 300"/>
                  <a:gd name="T18" fmla="*/ 93 w 861"/>
                  <a:gd name="T19" fmla="*/ 289 h 300"/>
                  <a:gd name="T20" fmla="*/ 67 w 861"/>
                  <a:gd name="T21" fmla="*/ 275 h 300"/>
                  <a:gd name="T22" fmla="*/ 45 w 861"/>
                  <a:gd name="T23" fmla="*/ 257 h 300"/>
                  <a:gd name="T24" fmla="*/ 26 w 861"/>
                  <a:gd name="T25" fmla="*/ 235 h 300"/>
                  <a:gd name="T26" fmla="*/ 13 w 861"/>
                  <a:gd name="T27" fmla="*/ 209 h 300"/>
                  <a:gd name="T28" fmla="*/ 3 w 861"/>
                  <a:gd name="T29" fmla="*/ 181 h 300"/>
                  <a:gd name="T30" fmla="*/ 0 w 861"/>
                  <a:gd name="T31" fmla="*/ 151 h 300"/>
                  <a:gd name="T32" fmla="*/ 3 w 861"/>
                  <a:gd name="T33" fmla="*/ 119 h 300"/>
                  <a:gd name="T34" fmla="*/ 13 w 861"/>
                  <a:gd name="T35" fmla="*/ 91 h 300"/>
                  <a:gd name="T36" fmla="*/ 26 w 861"/>
                  <a:gd name="T37" fmla="*/ 66 h 300"/>
                  <a:gd name="T38" fmla="*/ 45 w 861"/>
                  <a:gd name="T39" fmla="*/ 44 h 300"/>
                  <a:gd name="T40" fmla="*/ 67 w 861"/>
                  <a:gd name="T41" fmla="*/ 26 h 300"/>
                  <a:gd name="T42" fmla="*/ 93 w 861"/>
                  <a:gd name="T43" fmla="*/ 11 h 300"/>
                  <a:gd name="T44" fmla="*/ 121 w 861"/>
                  <a:gd name="T45" fmla="*/ 3 h 300"/>
                  <a:gd name="T46" fmla="*/ 152 w 861"/>
                  <a:gd name="T47" fmla="*/ 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1" h="300">
                    <a:moveTo>
                      <a:pt x="152" y="0"/>
                    </a:moveTo>
                    <a:lnTo>
                      <a:pt x="615" y="0"/>
                    </a:lnTo>
                    <a:lnTo>
                      <a:pt x="655" y="66"/>
                    </a:lnTo>
                    <a:lnTo>
                      <a:pt x="701" y="130"/>
                    </a:lnTo>
                    <a:lnTo>
                      <a:pt x="751" y="190"/>
                    </a:lnTo>
                    <a:lnTo>
                      <a:pt x="804" y="247"/>
                    </a:lnTo>
                    <a:lnTo>
                      <a:pt x="861" y="300"/>
                    </a:lnTo>
                    <a:lnTo>
                      <a:pt x="152" y="300"/>
                    </a:lnTo>
                    <a:lnTo>
                      <a:pt x="121" y="297"/>
                    </a:lnTo>
                    <a:lnTo>
                      <a:pt x="93" y="289"/>
                    </a:lnTo>
                    <a:lnTo>
                      <a:pt x="67" y="275"/>
                    </a:lnTo>
                    <a:lnTo>
                      <a:pt x="45" y="257"/>
                    </a:lnTo>
                    <a:lnTo>
                      <a:pt x="26" y="235"/>
                    </a:lnTo>
                    <a:lnTo>
                      <a:pt x="13" y="209"/>
                    </a:lnTo>
                    <a:lnTo>
                      <a:pt x="3" y="181"/>
                    </a:lnTo>
                    <a:lnTo>
                      <a:pt x="0" y="151"/>
                    </a:lnTo>
                    <a:lnTo>
                      <a:pt x="3" y="119"/>
                    </a:lnTo>
                    <a:lnTo>
                      <a:pt x="13" y="91"/>
                    </a:lnTo>
                    <a:lnTo>
                      <a:pt x="26" y="66"/>
                    </a:lnTo>
                    <a:lnTo>
                      <a:pt x="45" y="44"/>
                    </a:lnTo>
                    <a:lnTo>
                      <a:pt x="67" y="26"/>
                    </a:lnTo>
                    <a:lnTo>
                      <a:pt x="93" y="11"/>
                    </a:lnTo>
                    <a:lnTo>
                      <a:pt x="121" y="3"/>
                    </a:lnTo>
                    <a:lnTo>
                      <a:pt x="15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54" name="Freeform 144">
                <a:extLst>
                  <a:ext uri="{FF2B5EF4-FFF2-40B4-BE49-F238E27FC236}">
                    <a16:creationId xmlns:a16="http://schemas.microsoft.com/office/drawing/2014/main" id="{09842BF1-2C66-4318-B6C7-BA9F3AA7BD75}"/>
                  </a:ext>
                </a:extLst>
              </p:cNvPr>
              <p:cNvSpPr>
                <a:spLocks/>
              </p:cNvSpPr>
              <p:nvPr/>
            </p:nvSpPr>
            <p:spPr bwMode="auto">
              <a:xfrm>
                <a:off x="5783263" y="4349750"/>
                <a:ext cx="203200" cy="44450"/>
              </a:xfrm>
              <a:custGeom>
                <a:avLst/>
                <a:gdLst>
                  <a:gd name="T0" fmla="*/ 152 w 1414"/>
                  <a:gd name="T1" fmla="*/ 0 h 301"/>
                  <a:gd name="T2" fmla="*/ 958 w 1414"/>
                  <a:gd name="T3" fmla="*/ 0 h 301"/>
                  <a:gd name="T4" fmla="*/ 1027 w 1414"/>
                  <a:gd name="T5" fmla="*/ 46 h 301"/>
                  <a:gd name="T6" fmla="*/ 1099 w 1414"/>
                  <a:gd name="T7" fmla="*/ 88 h 301"/>
                  <a:gd name="T8" fmla="*/ 1174 w 1414"/>
                  <a:gd name="T9" fmla="*/ 124 h 301"/>
                  <a:gd name="T10" fmla="*/ 1251 w 1414"/>
                  <a:gd name="T11" fmla="*/ 155 h 301"/>
                  <a:gd name="T12" fmla="*/ 1332 w 1414"/>
                  <a:gd name="T13" fmla="*/ 181 h 301"/>
                  <a:gd name="T14" fmla="*/ 1414 w 1414"/>
                  <a:gd name="T15" fmla="*/ 202 h 301"/>
                  <a:gd name="T16" fmla="*/ 1403 w 1414"/>
                  <a:gd name="T17" fmla="*/ 226 h 301"/>
                  <a:gd name="T18" fmla="*/ 1388 w 1414"/>
                  <a:gd name="T19" fmla="*/ 247 h 301"/>
                  <a:gd name="T20" fmla="*/ 1370 w 1414"/>
                  <a:gd name="T21" fmla="*/ 266 h 301"/>
                  <a:gd name="T22" fmla="*/ 1349 w 1414"/>
                  <a:gd name="T23" fmla="*/ 280 h 301"/>
                  <a:gd name="T24" fmla="*/ 1325 w 1414"/>
                  <a:gd name="T25" fmla="*/ 292 h 301"/>
                  <a:gd name="T26" fmla="*/ 1300 w 1414"/>
                  <a:gd name="T27" fmla="*/ 299 h 301"/>
                  <a:gd name="T28" fmla="*/ 1273 w 1414"/>
                  <a:gd name="T29" fmla="*/ 301 h 301"/>
                  <a:gd name="T30" fmla="*/ 152 w 1414"/>
                  <a:gd name="T31" fmla="*/ 301 h 301"/>
                  <a:gd name="T32" fmla="*/ 121 w 1414"/>
                  <a:gd name="T33" fmla="*/ 298 h 301"/>
                  <a:gd name="T34" fmla="*/ 93 w 1414"/>
                  <a:gd name="T35" fmla="*/ 290 h 301"/>
                  <a:gd name="T36" fmla="*/ 67 w 1414"/>
                  <a:gd name="T37" fmla="*/ 275 h 301"/>
                  <a:gd name="T38" fmla="*/ 45 w 1414"/>
                  <a:gd name="T39" fmla="*/ 257 h 301"/>
                  <a:gd name="T40" fmla="*/ 26 w 1414"/>
                  <a:gd name="T41" fmla="*/ 234 h 301"/>
                  <a:gd name="T42" fmla="*/ 13 w 1414"/>
                  <a:gd name="T43" fmla="*/ 210 h 301"/>
                  <a:gd name="T44" fmla="*/ 3 w 1414"/>
                  <a:gd name="T45" fmla="*/ 180 h 301"/>
                  <a:gd name="T46" fmla="*/ 0 w 1414"/>
                  <a:gd name="T47" fmla="*/ 150 h 301"/>
                  <a:gd name="T48" fmla="*/ 3 w 1414"/>
                  <a:gd name="T49" fmla="*/ 120 h 301"/>
                  <a:gd name="T50" fmla="*/ 13 w 1414"/>
                  <a:gd name="T51" fmla="*/ 92 h 301"/>
                  <a:gd name="T52" fmla="*/ 26 w 1414"/>
                  <a:gd name="T53" fmla="*/ 66 h 301"/>
                  <a:gd name="T54" fmla="*/ 45 w 1414"/>
                  <a:gd name="T55" fmla="*/ 44 h 301"/>
                  <a:gd name="T56" fmla="*/ 67 w 1414"/>
                  <a:gd name="T57" fmla="*/ 25 h 301"/>
                  <a:gd name="T58" fmla="*/ 93 w 1414"/>
                  <a:gd name="T59" fmla="*/ 12 h 301"/>
                  <a:gd name="T60" fmla="*/ 121 w 1414"/>
                  <a:gd name="T61" fmla="*/ 4 h 301"/>
                  <a:gd name="T62" fmla="*/ 152 w 1414"/>
                  <a:gd name="T63" fmla="*/ 0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414" h="301">
                    <a:moveTo>
                      <a:pt x="152" y="0"/>
                    </a:moveTo>
                    <a:lnTo>
                      <a:pt x="958" y="0"/>
                    </a:lnTo>
                    <a:lnTo>
                      <a:pt x="1027" y="46"/>
                    </a:lnTo>
                    <a:lnTo>
                      <a:pt x="1099" y="88"/>
                    </a:lnTo>
                    <a:lnTo>
                      <a:pt x="1174" y="124"/>
                    </a:lnTo>
                    <a:lnTo>
                      <a:pt x="1251" y="155"/>
                    </a:lnTo>
                    <a:lnTo>
                      <a:pt x="1332" y="181"/>
                    </a:lnTo>
                    <a:lnTo>
                      <a:pt x="1414" y="202"/>
                    </a:lnTo>
                    <a:lnTo>
                      <a:pt x="1403" y="226"/>
                    </a:lnTo>
                    <a:lnTo>
                      <a:pt x="1388" y="247"/>
                    </a:lnTo>
                    <a:lnTo>
                      <a:pt x="1370" y="266"/>
                    </a:lnTo>
                    <a:lnTo>
                      <a:pt x="1349" y="280"/>
                    </a:lnTo>
                    <a:lnTo>
                      <a:pt x="1325" y="292"/>
                    </a:lnTo>
                    <a:lnTo>
                      <a:pt x="1300" y="299"/>
                    </a:lnTo>
                    <a:lnTo>
                      <a:pt x="1273" y="301"/>
                    </a:lnTo>
                    <a:lnTo>
                      <a:pt x="152" y="301"/>
                    </a:lnTo>
                    <a:lnTo>
                      <a:pt x="121" y="298"/>
                    </a:lnTo>
                    <a:lnTo>
                      <a:pt x="93" y="290"/>
                    </a:lnTo>
                    <a:lnTo>
                      <a:pt x="67" y="275"/>
                    </a:lnTo>
                    <a:lnTo>
                      <a:pt x="45" y="257"/>
                    </a:lnTo>
                    <a:lnTo>
                      <a:pt x="26" y="234"/>
                    </a:lnTo>
                    <a:lnTo>
                      <a:pt x="13" y="210"/>
                    </a:lnTo>
                    <a:lnTo>
                      <a:pt x="3" y="180"/>
                    </a:lnTo>
                    <a:lnTo>
                      <a:pt x="0" y="150"/>
                    </a:lnTo>
                    <a:lnTo>
                      <a:pt x="3" y="120"/>
                    </a:lnTo>
                    <a:lnTo>
                      <a:pt x="13" y="92"/>
                    </a:lnTo>
                    <a:lnTo>
                      <a:pt x="26" y="66"/>
                    </a:lnTo>
                    <a:lnTo>
                      <a:pt x="45" y="44"/>
                    </a:lnTo>
                    <a:lnTo>
                      <a:pt x="67" y="25"/>
                    </a:lnTo>
                    <a:lnTo>
                      <a:pt x="93" y="12"/>
                    </a:lnTo>
                    <a:lnTo>
                      <a:pt x="121" y="4"/>
                    </a:lnTo>
                    <a:lnTo>
                      <a:pt x="15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55" name="Freeform 145">
                <a:extLst>
                  <a:ext uri="{FF2B5EF4-FFF2-40B4-BE49-F238E27FC236}">
                    <a16:creationId xmlns:a16="http://schemas.microsoft.com/office/drawing/2014/main" id="{98ABC5FC-0383-4455-A55A-2A3423C0401A}"/>
                  </a:ext>
                </a:extLst>
              </p:cNvPr>
              <p:cNvSpPr>
                <a:spLocks/>
              </p:cNvSpPr>
              <p:nvPr/>
            </p:nvSpPr>
            <p:spPr bwMode="auto">
              <a:xfrm>
                <a:off x="5783263" y="4405313"/>
                <a:ext cx="204788" cy="42863"/>
              </a:xfrm>
              <a:custGeom>
                <a:avLst/>
                <a:gdLst>
                  <a:gd name="T0" fmla="*/ 152 w 1424"/>
                  <a:gd name="T1" fmla="*/ 0 h 302"/>
                  <a:gd name="T2" fmla="*/ 1273 w 1424"/>
                  <a:gd name="T3" fmla="*/ 0 h 302"/>
                  <a:gd name="T4" fmla="*/ 1303 w 1424"/>
                  <a:gd name="T5" fmla="*/ 3 h 302"/>
                  <a:gd name="T6" fmla="*/ 1332 w 1424"/>
                  <a:gd name="T7" fmla="*/ 13 h 302"/>
                  <a:gd name="T8" fmla="*/ 1357 w 1424"/>
                  <a:gd name="T9" fmla="*/ 26 h 302"/>
                  <a:gd name="T10" fmla="*/ 1380 w 1424"/>
                  <a:gd name="T11" fmla="*/ 45 h 302"/>
                  <a:gd name="T12" fmla="*/ 1398 w 1424"/>
                  <a:gd name="T13" fmla="*/ 67 h 302"/>
                  <a:gd name="T14" fmla="*/ 1412 w 1424"/>
                  <a:gd name="T15" fmla="*/ 92 h 302"/>
                  <a:gd name="T16" fmla="*/ 1421 w 1424"/>
                  <a:gd name="T17" fmla="*/ 121 h 302"/>
                  <a:gd name="T18" fmla="*/ 1424 w 1424"/>
                  <a:gd name="T19" fmla="*/ 151 h 302"/>
                  <a:gd name="T20" fmla="*/ 1421 w 1424"/>
                  <a:gd name="T21" fmla="*/ 181 h 302"/>
                  <a:gd name="T22" fmla="*/ 1412 w 1424"/>
                  <a:gd name="T23" fmla="*/ 209 h 302"/>
                  <a:gd name="T24" fmla="*/ 1398 w 1424"/>
                  <a:gd name="T25" fmla="*/ 235 h 302"/>
                  <a:gd name="T26" fmla="*/ 1380 w 1424"/>
                  <a:gd name="T27" fmla="*/ 257 h 302"/>
                  <a:gd name="T28" fmla="*/ 1357 w 1424"/>
                  <a:gd name="T29" fmla="*/ 276 h 302"/>
                  <a:gd name="T30" fmla="*/ 1332 w 1424"/>
                  <a:gd name="T31" fmla="*/ 289 h 302"/>
                  <a:gd name="T32" fmla="*/ 1303 w 1424"/>
                  <a:gd name="T33" fmla="*/ 299 h 302"/>
                  <a:gd name="T34" fmla="*/ 1273 w 1424"/>
                  <a:gd name="T35" fmla="*/ 302 h 302"/>
                  <a:gd name="T36" fmla="*/ 152 w 1424"/>
                  <a:gd name="T37" fmla="*/ 302 h 302"/>
                  <a:gd name="T38" fmla="*/ 121 w 1424"/>
                  <a:gd name="T39" fmla="*/ 299 h 302"/>
                  <a:gd name="T40" fmla="*/ 93 w 1424"/>
                  <a:gd name="T41" fmla="*/ 289 h 302"/>
                  <a:gd name="T42" fmla="*/ 67 w 1424"/>
                  <a:gd name="T43" fmla="*/ 276 h 302"/>
                  <a:gd name="T44" fmla="*/ 45 w 1424"/>
                  <a:gd name="T45" fmla="*/ 257 h 302"/>
                  <a:gd name="T46" fmla="*/ 26 w 1424"/>
                  <a:gd name="T47" fmla="*/ 235 h 302"/>
                  <a:gd name="T48" fmla="*/ 13 w 1424"/>
                  <a:gd name="T49" fmla="*/ 209 h 302"/>
                  <a:gd name="T50" fmla="*/ 3 w 1424"/>
                  <a:gd name="T51" fmla="*/ 181 h 302"/>
                  <a:gd name="T52" fmla="*/ 0 w 1424"/>
                  <a:gd name="T53" fmla="*/ 151 h 302"/>
                  <a:gd name="T54" fmla="*/ 3 w 1424"/>
                  <a:gd name="T55" fmla="*/ 121 h 302"/>
                  <a:gd name="T56" fmla="*/ 13 w 1424"/>
                  <a:gd name="T57" fmla="*/ 92 h 302"/>
                  <a:gd name="T58" fmla="*/ 26 w 1424"/>
                  <a:gd name="T59" fmla="*/ 67 h 302"/>
                  <a:gd name="T60" fmla="*/ 45 w 1424"/>
                  <a:gd name="T61" fmla="*/ 45 h 302"/>
                  <a:gd name="T62" fmla="*/ 67 w 1424"/>
                  <a:gd name="T63" fmla="*/ 26 h 302"/>
                  <a:gd name="T64" fmla="*/ 93 w 1424"/>
                  <a:gd name="T65" fmla="*/ 13 h 302"/>
                  <a:gd name="T66" fmla="*/ 121 w 1424"/>
                  <a:gd name="T67" fmla="*/ 3 h 302"/>
                  <a:gd name="T68" fmla="*/ 152 w 1424"/>
                  <a:gd name="T69" fmla="*/ 0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424" h="302">
                    <a:moveTo>
                      <a:pt x="152" y="0"/>
                    </a:moveTo>
                    <a:lnTo>
                      <a:pt x="1273" y="0"/>
                    </a:lnTo>
                    <a:lnTo>
                      <a:pt x="1303" y="3"/>
                    </a:lnTo>
                    <a:lnTo>
                      <a:pt x="1332" y="13"/>
                    </a:lnTo>
                    <a:lnTo>
                      <a:pt x="1357" y="26"/>
                    </a:lnTo>
                    <a:lnTo>
                      <a:pt x="1380" y="45"/>
                    </a:lnTo>
                    <a:lnTo>
                      <a:pt x="1398" y="67"/>
                    </a:lnTo>
                    <a:lnTo>
                      <a:pt x="1412" y="92"/>
                    </a:lnTo>
                    <a:lnTo>
                      <a:pt x="1421" y="121"/>
                    </a:lnTo>
                    <a:lnTo>
                      <a:pt x="1424" y="151"/>
                    </a:lnTo>
                    <a:lnTo>
                      <a:pt x="1421" y="181"/>
                    </a:lnTo>
                    <a:lnTo>
                      <a:pt x="1412" y="209"/>
                    </a:lnTo>
                    <a:lnTo>
                      <a:pt x="1398" y="235"/>
                    </a:lnTo>
                    <a:lnTo>
                      <a:pt x="1380" y="257"/>
                    </a:lnTo>
                    <a:lnTo>
                      <a:pt x="1357" y="276"/>
                    </a:lnTo>
                    <a:lnTo>
                      <a:pt x="1332" y="289"/>
                    </a:lnTo>
                    <a:lnTo>
                      <a:pt x="1303" y="299"/>
                    </a:lnTo>
                    <a:lnTo>
                      <a:pt x="1273" y="302"/>
                    </a:lnTo>
                    <a:lnTo>
                      <a:pt x="152" y="302"/>
                    </a:lnTo>
                    <a:lnTo>
                      <a:pt x="121" y="299"/>
                    </a:lnTo>
                    <a:lnTo>
                      <a:pt x="93" y="289"/>
                    </a:lnTo>
                    <a:lnTo>
                      <a:pt x="67" y="276"/>
                    </a:lnTo>
                    <a:lnTo>
                      <a:pt x="45" y="257"/>
                    </a:lnTo>
                    <a:lnTo>
                      <a:pt x="26" y="235"/>
                    </a:lnTo>
                    <a:lnTo>
                      <a:pt x="13" y="209"/>
                    </a:lnTo>
                    <a:lnTo>
                      <a:pt x="3" y="181"/>
                    </a:lnTo>
                    <a:lnTo>
                      <a:pt x="0" y="151"/>
                    </a:lnTo>
                    <a:lnTo>
                      <a:pt x="3" y="121"/>
                    </a:lnTo>
                    <a:lnTo>
                      <a:pt x="13" y="92"/>
                    </a:lnTo>
                    <a:lnTo>
                      <a:pt x="26" y="67"/>
                    </a:lnTo>
                    <a:lnTo>
                      <a:pt x="45" y="45"/>
                    </a:lnTo>
                    <a:lnTo>
                      <a:pt x="67" y="26"/>
                    </a:lnTo>
                    <a:lnTo>
                      <a:pt x="93" y="13"/>
                    </a:lnTo>
                    <a:lnTo>
                      <a:pt x="121" y="3"/>
                    </a:lnTo>
                    <a:lnTo>
                      <a:pt x="15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56" name="Freeform 146">
                <a:extLst>
                  <a:ext uri="{FF2B5EF4-FFF2-40B4-BE49-F238E27FC236}">
                    <a16:creationId xmlns:a16="http://schemas.microsoft.com/office/drawing/2014/main" id="{2F26B689-BF30-44D8-A779-359D30C72C50}"/>
                  </a:ext>
                </a:extLst>
              </p:cNvPr>
              <p:cNvSpPr>
                <a:spLocks noEditPoints="1"/>
              </p:cNvSpPr>
              <p:nvPr/>
            </p:nvSpPr>
            <p:spPr bwMode="auto">
              <a:xfrm>
                <a:off x="5870576" y="4057650"/>
                <a:ext cx="306388" cy="303213"/>
              </a:xfrm>
              <a:custGeom>
                <a:avLst/>
                <a:gdLst>
                  <a:gd name="T0" fmla="*/ 924 w 2119"/>
                  <a:gd name="T1" fmla="*/ 314 h 2106"/>
                  <a:gd name="T2" fmla="*/ 735 w 2119"/>
                  <a:gd name="T3" fmla="*/ 374 h 2106"/>
                  <a:gd name="T4" fmla="*/ 573 w 2119"/>
                  <a:gd name="T5" fmla="*/ 479 h 2106"/>
                  <a:gd name="T6" fmla="*/ 441 w 2119"/>
                  <a:gd name="T7" fmla="*/ 620 h 2106"/>
                  <a:gd name="T8" fmla="*/ 350 w 2119"/>
                  <a:gd name="T9" fmla="*/ 792 h 2106"/>
                  <a:gd name="T10" fmla="*/ 306 w 2119"/>
                  <a:gd name="T11" fmla="*/ 985 h 2106"/>
                  <a:gd name="T12" fmla="*/ 315 w 2119"/>
                  <a:gd name="T13" fmla="*/ 1188 h 2106"/>
                  <a:gd name="T14" fmla="*/ 376 w 2119"/>
                  <a:gd name="T15" fmla="*/ 1375 h 2106"/>
                  <a:gd name="T16" fmla="*/ 481 w 2119"/>
                  <a:gd name="T17" fmla="*/ 1538 h 2106"/>
                  <a:gd name="T18" fmla="*/ 623 w 2119"/>
                  <a:gd name="T19" fmla="*/ 1668 h 2106"/>
                  <a:gd name="T20" fmla="*/ 796 w 2119"/>
                  <a:gd name="T21" fmla="*/ 1758 h 2106"/>
                  <a:gd name="T22" fmla="*/ 991 w 2119"/>
                  <a:gd name="T23" fmla="*/ 1803 h 2106"/>
                  <a:gd name="T24" fmla="*/ 1196 w 2119"/>
                  <a:gd name="T25" fmla="*/ 1793 h 2106"/>
                  <a:gd name="T26" fmla="*/ 1384 w 2119"/>
                  <a:gd name="T27" fmla="*/ 1733 h 2106"/>
                  <a:gd name="T28" fmla="*/ 1548 w 2119"/>
                  <a:gd name="T29" fmla="*/ 1628 h 2106"/>
                  <a:gd name="T30" fmla="*/ 1678 w 2119"/>
                  <a:gd name="T31" fmla="*/ 1487 h 2106"/>
                  <a:gd name="T32" fmla="*/ 1770 w 2119"/>
                  <a:gd name="T33" fmla="*/ 1316 h 2106"/>
                  <a:gd name="T34" fmla="*/ 1813 w 2119"/>
                  <a:gd name="T35" fmla="*/ 1122 h 2106"/>
                  <a:gd name="T36" fmla="*/ 1804 w 2119"/>
                  <a:gd name="T37" fmla="*/ 919 h 2106"/>
                  <a:gd name="T38" fmla="*/ 1743 w 2119"/>
                  <a:gd name="T39" fmla="*/ 732 h 2106"/>
                  <a:gd name="T40" fmla="*/ 1639 w 2119"/>
                  <a:gd name="T41" fmla="*/ 569 h 2106"/>
                  <a:gd name="T42" fmla="*/ 1496 w 2119"/>
                  <a:gd name="T43" fmla="*/ 439 h 2106"/>
                  <a:gd name="T44" fmla="*/ 1324 w 2119"/>
                  <a:gd name="T45" fmla="*/ 349 h 2106"/>
                  <a:gd name="T46" fmla="*/ 1129 w 2119"/>
                  <a:gd name="T47" fmla="*/ 304 h 2106"/>
                  <a:gd name="T48" fmla="*/ 1142 w 2119"/>
                  <a:gd name="T49" fmla="*/ 4 h 2106"/>
                  <a:gd name="T50" fmla="*/ 1379 w 2119"/>
                  <a:gd name="T51" fmla="*/ 49 h 2106"/>
                  <a:gd name="T52" fmla="*/ 1595 w 2119"/>
                  <a:gd name="T53" fmla="*/ 145 h 2106"/>
                  <a:gd name="T54" fmla="*/ 1781 w 2119"/>
                  <a:gd name="T55" fmla="*/ 282 h 2106"/>
                  <a:gd name="T56" fmla="*/ 1933 w 2119"/>
                  <a:gd name="T57" fmla="*/ 457 h 2106"/>
                  <a:gd name="T58" fmla="*/ 2044 w 2119"/>
                  <a:gd name="T59" fmla="*/ 662 h 2106"/>
                  <a:gd name="T60" fmla="*/ 2107 w 2119"/>
                  <a:gd name="T61" fmla="*/ 891 h 2106"/>
                  <a:gd name="T62" fmla="*/ 2116 w 2119"/>
                  <a:gd name="T63" fmla="*/ 1136 h 2106"/>
                  <a:gd name="T64" fmla="*/ 2070 w 2119"/>
                  <a:gd name="T65" fmla="*/ 1371 h 2106"/>
                  <a:gd name="T66" fmla="*/ 1975 w 2119"/>
                  <a:gd name="T67" fmla="*/ 1584 h 2106"/>
                  <a:gd name="T68" fmla="*/ 1835 w 2119"/>
                  <a:gd name="T69" fmla="*/ 1770 h 2106"/>
                  <a:gd name="T70" fmla="*/ 1660 w 2119"/>
                  <a:gd name="T71" fmla="*/ 1921 h 2106"/>
                  <a:gd name="T72" fmla="*/ 1453 w 2119"/>
                  <a:gd name="T73" fmla="*/ 2031 h 2106"/>
                  <a:gd name="T74" fmla="*/ 1224 w 2119"/>
                  <a:gd name="T75" fmla="*/ 2094 h 2106"/>
                  <a:gd name="T76" fmla="*/ 977 w 2119"/>
                  <a:gd name="T77" fmla="*/ 2103 h 2106"/>
                  <a:gd name="T78" fmla="*/ 740 w 2119"/>
                  <a:gd name="T79" fmla="*/ 2058 h 2106"/>
                  <a:gd name="T80" fmla="*/ 526 w 2119"/>
                  <a:gd name="T81" fmla="*/ 1962 h 2106"/>
                  <a:gd name="T82" fmla="*/ 338 w 2119"/>
                  <a:gd name="T83" fmla="*/ 1825 h 2106"/>
                  <a:gd name="T84" fmla="*/ 187 w 2119"/>
                  <a:gd name="T85" fmla="*/ 1650 h 2106"/>
                  <a:gd name="T86" fmla="*/ 76 w 2119"/>
                  <a:gd name="T87" fmla="*/ 1445 h 2106"/>
                  <a:gd name="T88" fmla="*/ 13 w 2119"/>
                  <a:gd name="T89" fmla="*/ 1216 h 2106"/>
                  <a:gd name="T90" fmla="*/ 3 w 2119"/>
                  <a:gd name="T91" fmla="*/ 972 h 2106"/>
                  <a:gd name="T92" fmla="*/ 49 w 2119"/>
                  <a:gd name="T93" fmla="*/ 736 h 2106"/>
                  <a:gd name="T94" fmla="*/ 145 w 2119"/>
                  <a:gd name="T95" fmla="*/ 523 h 2106"/>
                  <a:gd name="T96" fmla="*/ 284 w 2119"/>
                  <a:gd name="T97" fmla="*/ 337 h 2106"/>
                  <a:gd name="T98" fmla="*/ 460 w 2119"/>
                  <a:gd name="T99" fmla="*/ 187 h 2106"/>
                  <a:gd name="T100" fmla="*/ 666 w 2119"/>
                  <a:gd name="T101" fmla="*/ 76 h 2106"/>
                  <a:gd name="T102" fmla="*/ 896 w 2119"/>
                  <a:gd name="T103" fmla="*/ 13 h 2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119" h="2106">
                    <a:moveTo>
                      <a:pt x="1060" y="301"/>
                    </a:moveTo>
                    <a:lnTo>
                      <a:pt x="991" y="304"/>
                    </a:lnTo>
                    <a:lnTo>
                      <a:pt x="924" y="314"/>
                    </a:lnTo>
                    <a:lnTo>
                      <a:pt x="859" y="328"/>
                    </a:lnTo>
                    <a:lnTo>
                      <a:pt x="796" y="349"/>
                    </a:lnTo>
                    <a:lnTo>
                      <a:pt x="735" y="374"/>
                    </a:lnTo>
                    <a:lnTo>
                      <a:pt x="678" y="404"/>
                    </a:lnTo>
                    <a:lnTo>
                      <a:pt x="623" y="439"/>
                    </a:lnTo>
                    <a:lnTo>
                      <a:pt x="573" y="479"/>
                    </a:lnTo>
                    <a:lnTo>
                      <a:pt x="525" y="523"/>
                    </a:lnTo>
                    <a:lnTo>
                      <a:pt x="481" y="569"/>
                    </a:lnTo>
                    <a:lnTo>
                      <a:pt x="441" y="620"/>
                    </a:lnTo>
                    <a:lnTo>
                      <a:pt x="406" y="674"/>
                    </a:lnTo>
                    <a:lnTo>
                      <a:pt x="376" y="732"/>
                    </a:lnTo>
                    <a:lnTo>
                      <a:pt x="350" y="792"/>
                    </a:lnTo>
                    <a:lnTo>
                      <a:pt x="330" y="854"/>
                    </a:lnTo>
                    <a:lnTo>
                      <a:pt x="315" y="919"/>
                    </a:lnTo>
                    <a:lnTo>
                      <a:pt x="306" y="985"/>
                    </a:lnTo>
                    <a:lnTo>
                      <a:pt x="303" y="1054"/>
                    </a:lnTo>
                    <a:lnTo>
                      <a:pt x="306" y="1122"/>
                    </a:lnTo>
                    <a:lnTo>
                      <a:pt x="315" y="1188"/>
                    </a:lnTo>
                    <a:lnTo>
                      <a:pt x="330" y="1254"/>
                    </a:lnTo>
                    <a:lnTo>
                      <a:pt x="350" y="1316"/>
                    </a:lnTo>
                    <a:lnTo>
                      <a:pt x="376" y="1375"/>
                    </a:lnTo>
                    <a:lnTo>
                      <a:pt x="406" y="1433"/>
                    </a:lnTo>
                    <a:lnTo>
                      <a:pt x="441" y="1487"/>
                    </a:lnTo>
                    <a:lnTo>
                      <a:pt x="481" y="1538"/>
                    </a:lnTo>
                    <a:lnTo>
                      <a:pt x="525" y="1585"/>
                    </a:lnTo>
                    <a:lnTo>
                      <a:pt x="573" y="1628"/>
                    </a:lnTo>
                    <a:lnTo>
                      <a:pt x="623" y="1668"/>
                    </a:lnTo>
                    <a:lnTo>
                      <a:pt x="678" y="1703"/>
                    </a:lnTo>
                    <a:lnTo>
                      <a:pt x="735" y="1733"/>
                    </a:lnTo>
                    <a:lnTo>
                      <a:pt x="796" y="1758"/>
                    </a:lnTo>
                    <a:lnTo>
                      <a:pt x="859" y="1779"/>
                    </a:lnTo>
                    <a:lnTo>
                      <a:pt x="924" y="1793"/>
                    </a:lnTo>
                    <a:lnTo>
                      <a:pt x="991" y="1803"/>
                    </a:lnTo>
                    <a:lnTo>
                      <a:pt x="1060" y="1806"/>
                    </a:lnTo>
                    <a:lnTo>
                      <a:pt x="1129" y="1803"/>
                    </a:lnTo>
                    <a:lnTo>
                      <a:pt x="1196" y="1793"/>
                    </a:lnTo>
                    <a:lnTo>
                      <a:pt x="1261" y="1779"/>
                    </a:lnTo>
                    <a:lnTo>
                      <a:pt x="1324" y="1758"/>
                    </a:lnTo>
                    <a:lnTo>
                      <a:pt x="1384" y="1733"/>
                    </a:lnTo>
                    <a:lnTo>
                      <a:pt x="1442" y="1703"/>
                    </a:lnTo>
                    <a:lnTo>
                      <a:pt x="1496" y="1668"/>
                    </a:lnTo>
                    <a:lnTo>
                      <a:pt x="1548" y="1628"/>
                    </a:lnTo>
                    <a:lnTo>
                      <a:pt x="1595" y="1585"/>
                    </a:lnTo>
                    <a:lnTo>
                      <a:pt x="1639" y="1538"/>
                    </a:lnTo>
                    <a:lnTo>
                      <a:pt x="1678" y="1487"/>
                    </a:lnTo>
                    <a:lnTo>
                      <a:pt x="1713" y="1433"/>
                    </a:lnTo>
                    <a:lnTo>
                      <a:pt x="1743" y="1375"/>
                    </a:lnTo>
                    <a:lnTo>
                      <a:pt x="1770" y="1316"/>
                    </a:lnTo>
                    <a:lnTo>
                      <a:pt x="1789" y="1254"/>
                    </a:lnTo>
                    <a:lnTo>
                      <a:pt x="1804" y="1188"/>
                    </a:lnTo>
                    <a:lnTo>
                      <a:pt x="1813" y="1122"/>
                    </a:lnTo>
                    <a:lnTo>
                      <a:pt x="1817" y="1054"/>
                    </a:lnTo>
                    <a:lnTo>
                      <a:pt x="1813" y="985"/>
                    </a:lnTo>
                    <a:lnTo>
                      <a:pt x="1804" y="919"/>
                    </a:lnTo>
                    <a:lnTo>
                      <a:pt x="1789" y="854"/>
                    </a:lnTo>
                    <a:lnTo>
                      <a:pt x="1770" y="792"/>
                    </a:lnTo>
                    <a:lnTo>
                      <a:pt x="1743" y="732"/>
                    </a:lnTo>
                    <a:lnTo>
                      <a:pt x="1713" y="674"/>
                    </a:lnTo>
                    <a:lnTo>
                      <a:pt x="1678" y="620"/>
                    </a:lnTo>
                    <a:lnTo>
                      <a:pt x="1639" y="569"/>
                    </a:lnTo>
                    <a:lnTo>
                      <a:pt x="1595" y="523"/>
                    </a:lnTo>
                    <a:lnTo>
                      <a:pt x="1548" y="479"/>
                    </a:lnTo>
                    <a:lnTo>
                      <a:pt x="1496" y="439"/>
                    </a:lnTo>
                    <a:lnTo>
                      <a:pt x="1442" y="404"/>
                    </a:lnTo>
                    <a:lnTo>
                      <a:pt x="1384" y="374"/>
                    </a:lnTo>
                    <a:lnTo>
                      <a:pt x="1324" y="349"/>
                    </a:lnTo>
                    <a:lnTo>
                      <a:pt x="1261" y="328"/>
                    </a:lnTo>
                    <a:lnTo>
                      <a:pt x="1196" y="314"/>
                    </a:lnTo>
                    <a:lnTo>
                      <a:pt x="1129" y="304"/>
                    </a:lnTo>
                    <a:lnTo>
                      <a:pt x="1060" y="301"/>
                    </a:lnTo>
                    <a:close/>
                    <a:moveTo>
                      <a:pt x="1060" y="0"/>
                    </a:moveTo>
                    <a:lnTo>
                      <a:pt x="1142" y="4"/>
                    </a:lnTo>
                    <a:lnTo>
                      <a:pt x="1224" y="13"/>
                    </a:lnTo>
                    <a:lnTo>
                      <a:pt x="1303" y="29"/>
                    </a:lnTo>
                    <a:lnTo>
                      <a:pt x="1379" y="49"/>
                    </a:lnTo>
                    <a:lnTo>
                      <a:pt x="1453" y="76"/>
                    </a:lnTo>
                    <a:lnTo>
                      <a:pt x="1526" y="108"/>
                    </a:lnTo>
                    <a:lnTo>
                      <a:pt x="1595" y="145"/>
                    </a:lnTo>
                    <a:lnTo>
                      <a:pt x="1660" y="187"/>
                    </a:lnTo>
                    <a:lnTo>
                      <a:pt x="1722" y="232"/>
                    </a:lnTo>
                    <a:lnTo>
                      <a:pt x="1781" y="282"/>
                    </a:lnTo>
                    <a:lnTo>
                      <a:pt x="1835" y="337"/>
                    </a:lnTo>
                    <a:lnTo>
                      <a:pt x="1887" y="396"/>
                    </a:lnTo>
                    <a:lnTo>
                      <a:pt x="1933" y="457"/>
                    </a:lnTo>
                    <a:lnTo>
                      <a:pt x="1975" y="523"/>
                    </a:lnTo>
                    <a:lnTo>
                      <a:pt x="2011" y="591"/>
                    </a:lnTo>
                    <a:lnTo>
                      <a:pt x="2044" y="662"/>
                    </a:lnTo>
                    <a:lnTo>
                      <a:pt x="2070" y="736"/>
                    </a:lnTo>
                    <a:lnTo>
                      <a:pt x="2091" y="813"/>
                    </a:lnTo>
                    <a:lnTo>
                      <a:pt x="2107" y="891"/>
                    </a:lnTo>
                    <a:lnTo>
                      <a:pt x="2116" y="972"/>
                    </a:lnTo>
                    <a:lnTo>
                      <a:pt x="2119" y="1054"/>
                    </a:lnTo>
                    <a:lnTo>
                      <a:pt x="2116" y="1136"/>
                    </a:lnTo>
                    <a:lnTo>
                      <a:pt x="2107" y="1216"/>
                    </a:lnTo>
                    <a:lnTo>
                      <a:pt x="2091" y="1295"/>
                    </a:lnTo>
                    <a:lnTo>
                      <a:pt x="2070" y="1371"/>
                    </a:lnTo>
                    <a:lnTo>
                      <a:pt x="2044" y="1445"/>
                    </a:lnTo>
                    <a:lnTo>
                      <a:pt x="2011" y="1516"/>
                    </a:lnTo>
                    <a:lnTo>
                      <a:pt x="1975" y="1584"/>
                    </a:lnTo>
                    <a:lnTo>
                      <a:pt x="1933" y="1650"/>
                    </a:lnTo>
                    <a:lnTo>
                      <a:pt x="1887" y="1711"/>
                    </a:lnTo>
                    <a:lnTo>
                      <a:pt x="1835" y="1770"/>
                    </a:lnTo>
                    <a:lnTo>
                      <a:pt x="1781" y="1825"/>
                    </a:lnTo>
                    <a:lnTo>
                      <a:pt x="1722" y="1875"/>
                    </a:lnTo>
                    <a:lnTo>
                      <a:pt x="1660" y="1921"/>
                    </a:lnTo>
                    <a:lnTo>
                      <a:pt x="1595" y="1962"/>
                    </a:lnTo>
                    <a:lnTo>
                      <a:pt x="1526" y="1999"/>
                    </a:lnTo>
                    <a:lnTo>
                      <a:pt x="1453" y="2031"/>
                    </a:lnTo>
                    <a:lnTo>
                      <a:pt x="1379" y="2058"/>
                    </a:lnTo>
                    <a:lnTo>
                      <a:pt x="1303" y="2078"/>
                    </a:lnTo>
                    <a:lnTo>
                      <a:pt x="1224" y="2094"/>
                    </a:lnTo>
                    <a:lnTo>
                      <a:pt x="1142" y="2103"/>
                    </a:lnTo>
                    <a:lnTo>
                      <a:pt x="1060" y="2106"/>
                    </a:lnTo>
                    <a:lnTo>
                      <a:pt x="977" y="2103"/>
                    </a:lnTo>
                    <a:lnTo>
                      <a:pt x="896" y="2094"/>
                    </a:lnTo>
                    <a:lnTo>
                      <a:pt x="817" y="2078"/>
                    </a:lnTo>
                    <a:lnTo>
                      <a:pt x="740" y="2058"/>
                    </a:lnTo>
                    <a:lnTo>
                      <a:pt x="666" y="2031"/>
                    </a:lnTo>
                    <a:lnTo>
                      <a:pt x="594" y="1999"/>
                    </a:lnTo>
                    <a:lnTo>
                      <a:pt x="526" y="1962"/>
                    </a:lnTo>
                    <a:lnTo>
                      <a:pt x="460" y="1921"/>
                    </a:lnTo>
                    <a:lnTo>
                      <a:pt x="397" y="1875"/>
                    </a:lnTo>
                    <a:lnTo>
                      <a:pt x="338" y="1825"/>
                    </a:lnTo>
                    <a:lnTo>
                      <a:pt x="284" y="1770"/>
                    </a:lnTo>
                    <a:lnTo>
                      <a:pt x="233" y="1711"/>
                    </a:lnTo>
                    <a:lnTo>
                      <a:pt x="187" y="1650"/>
                    </a:lnTo>
                    <a:lnTo>
                      <a:pt x="145" y="1584"/>
                    </a:lnTo>
                    <a:lnTo>
                      <a:pt x="108" y="1516"/>
                    </a:lnTo>
                    <a:lnTo>
                      <a:pt x="76" y="1445"/>
                    </a:lnTo>
                    <a:lnTo>
                      <a:pt x="49" y="1371"/>
                    </a:lnTo>
                    <a:lnTo>
                      <a:pt x="28" y="1295"/>
                    </a:lnTo>
                    <a:lnTo>
                      <a:pt x="13" y="1216"/>
                    </a:lnTo>
                    <a:lnTo>
                      <a:pt x="3" y="1136"/>
                    </a:lnTo>
                    <a:lnTo>
                      <a:pt x="0" y="1054"/>
                    </a:lnTo>
                    <a:lnTo>
                      <a:pt x="3" y="972"/>
                    </a:lnTo>
                    <a:lnTo>
                      <a:pt x="13" y="891"/>
                    </a:lnTo>
                    <a:lnTo>
                      <a:pt x="28" y="813"/>
                    </a:lnTo>
                    <a:lnTo>
                      <a:pt x="49" y="736"/>
                    </a:lnTo>
                    <a:lnTo>
                      <a:pt x="76" y="662"/>
                    </a:lnTo>
                    <a:lnTo>
                      <a:pt x="108" y="591"/>
                    </a:lnTo>
                    <a:lnTo>
                      <a:pt x="145" y="523"/>
                    </a:lnTo>
                    <a:lnTo>
                      <a:pt x="187" y="457"/>
                    </a:lnTo>
                    <a:lnTo>
                      <a:pt x="233" y="396"/>
                    </a:lnTo>
                    <a:lnTo>
                      <a:pt x="284" y="337"/>
                    </a:lnTo>
                    <a:lnTo>
                      <a:pt x="338" y="282"/>
                    </a:lnTo>
                    <a:lnTo>
                      <a:pt x="397" y="232"/>
                    </a:lnTo>
                    <a:lnTo>
                      <a:pt x="460" y="187"/>
                    </a:lnTo>
                    <a:lnTo>
                      <a:pt x="526" y="145"/>
                    </a:lnTo>
                    <a:lnTo>
                      <a:pt x="594" y="108"/>
                    </a:lnTo>
                    <a:lnTo>
                      <a:pt x="666" y="76"/>
                    </a:lnTo>
                    <a:lnTo>
                      <a:pt x="740" y="49"/>
                    </a:lnTo>
                    <a:lnTo>
                      <a:pt x="817" y="29"/>
                    </a:lnTo>
                    <a:lnTo>
                      <a:pt x="896" y="13"/>
                    </a:lnTo>
                    <a:lnTo>
                      <a:pt x="977" y="4"/>
                    </a:lnTo>
                    <a:lnTo>
                      <a:pt x="106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57" name="Freeform 147">
                <a:extLst>
                  <a:ext uri="{FF2B5EF4-FFF2-40B4-BE49-F238E27FC236}">
                    <a16:creationId xmlns:a16="http://schemas.microsoft.com/office/drawing/2014/main" id="{17491C0E-A240-42FA-BF8C-00CBF1CE939D}"/>
                  </a:ext>
                </a:extLst>
              </p:cNvPr>
              <p:cNvSpPr>
                <a:spLocks noEditPoints="1"/>
              </p:cNvSpPr>
              <p:nvPr/>
            </p:nvSpPr>
            <p:spPr bwMode="auto">
              <a:xfrm>
                <a:off x="5967413" y="4119563"/>
                <a:ext cx="112713" cy="179388"/>
              </a:xfrm>
              <a:custGeom>
                <a:avLst/>
                <a:gdLst>
                  <a:gd name="T0" fmla="*/ 480 w 774"/>
                  <a:gd name="T1" fmla="*/ 963 h 1241"/>
                  <a:gd name="T2" fmla="*/ 565 w 774"/>
                  <a:gd name="T3" fmla="*/ 921 h 1241"/>
                  <a:gd name="T4" fmla="*/ 600 w 774"/>
                  <a:gd name="T5" fmla="*/ 836 h 1241"/>
                  <a:gd name="T6" fmla="*/ 568 w 774"/>
                  <a:gd name="T7" fmla="*/ 758 h 1241"/>
                  <a:gd name="T8" fmla="*/ 493 w 774"/>
                  <a:gd name="T9" fmla="*/ 717 h 1241"/>
                  <a:gd name="T10" fmla="*/ 348 w 774"/>
                  <a:gd name="T11" fmla="*/ 259 h 1241"/>
                  <a:gd name="T12" fmla="*/ 236 w 774"/>
                  <a:gd name="T13" fmla="*/ 297 h 1241"/>
                  <a:gd name="T14" fmla="*/ 194 w 774"/>
                  <a:gd name="T15" fmla="*/ 376 h 1241"/>
                  <a:gd name="T16" fmla="*/ 233 w 774"/>
                  <a:gd name="T17" fmla="*/ 458 h 1241"/>
                  <a:gd name="T18" fmla="*/ 348 w 774"/>
                  <a:gd name="T19" fmla="*/ 505 h 1241"/>
                  <a:gd name="T20" fmla="*/ 414 w 774"/>
                  <a:gd name="T21" fmla="*/ 9 h 1241"/>
                  <a:gd name="T22" fmla="*/ 431 w 774"/>
                  <a:gd name="T23" fmla="*/ 120 h 1241"/>
                  <a:gd name="T24" fmla="*/ 534 w 774"/>
                  <a:gd name="T25" fmla="*/ 135 h 1241"/>
                  <a:gd name="T26" fmla="*/ 648 w 774"/>
                  <a:gd name="T27" fmla="*/ 179 h 1241"/>
                  <a:gd name="T28" fmla="*/ 734 w 774"/>
                  <a:gd name="T29" fmla="*/ 251 h 1241"/>
                  <a:gd name="T30" fmla="*/ 756 w 774"/>
                  <a:gd name="T31" fmla="*/ 345 h 1241"/>
                  <a:gd name="T32" fmla="*/ 709 w 774"/>
                  <a:gd name="T33" fmla="*/ 401 h 1241"/>
                  <a:gd name="T34" fmla="*/ 640 w 774"/>
                  <a:gd name="T35" fmla="*/ 402 h 1241"/>
                  <a:gd name="T36" fmla="*/ 592 w 774"/>
                  <a:gd name="T37" fmla="*/ 357 h 1241"/>
                  <a:gd name="T38" fmla="*/ 542 w 774"/>
                  <a:gd name="T39" fmla="*/ 299 h 1241"/>
                  <a:gd name="T40" fmla="*/ 459 w 774"/>
                  <a:gd name="T41" fmla="*/ 261 h 1241"/>
                  <a:gd name="T42" fmla="*/ 498 w 774"/>
                  <a:gd name="T43" fmla="*/ 535 h 1241"/>
                  <a:gd name="T44" fmla="*/ 619 w 774"/>
                  <a:gd name="T45" fmla="*/ 576 h 1241"/>
                  <a:gd name="T46" fmla="*/ 713 w 774"/>
                  <a:gd name="T47" fmla="*/ 643 h 1241"/>
                  <a:gd name="T48" fmla="*/ 767 w 774"/>
                  <a:gd name="T49" fmla="*/ 749 h 1241"/>
                  <a:gd name="T50" fmla="*/ 765 w 774"/>
                  <a:gd name="T51" fmla="*/ 900 h 1241"/>
                  <a:gd name="T52" fmla="*/ 692 w 774"/>
                  <a:gd name="T53" fmla="*/ 1018 h 1241"/>
                  <a:gd name="T54" fmla="*/ 562 w 774"/>
                  <a:gd name="T55" fmla="*/ 1088 h 1241"/>
                  <a:gd name="T56" fmla="*/ 431 w 774"/>
                  <a:gd name="T57" fmla="*/ 1194 h 1241"/>
                  <a:gd name="T58" fmla="*/ 402 w 774"/>
                  <a:gd name="T59" fmla="*/ 1239 h 1241"/>
                  <a:gd name="T60" fmla="*/ 356 w 774"/>
                  <a:gd name="T61" fmla="*/ 1221 h 1241"/>
                  <a:gd name="T62" fmla="*/ 300 w 774"/>
                  <a:gd name="T63" fmla="*/ 1107 h 1241"/>
                  <a:gd name="T64" fmla="*/ 144 w 774"/>
                  <a:gd name="T65" fmla="*/ 1061 h 1241"/>
                  <a:gd name="T66" fmla="*/ 44 w 774"/>
                  <a:gd name="T67" fmla="*/ 978 h 1241"/>
                  <a:gd name="T68" fmla="*/ 1 w 774"/>
                  <a:gd name="T69" fmla="*/ 881 h 1241"/>
                  <a:gd name="T70" fmla="*/ 17 w 774"/>
                  <a:gd name="T71" fmla="*/ 801 h 1241"/>
                  <a:gd name="T72" fmla="*/ 85 w 774"/>
                  <a:gd name="T73" fmla="*/ 772 h 1241"/>
                  <a:gd name="T74" fmla="*/ 150 w 774"/>
                  <a:gd name="T75" fmla="*/ 792 h 1241"/>
                  <a:gd name="T76" fmla="*/ 178 w 774"/>
                  <a:gd name="T77" fmla="*/ 839 h 1241"/>
                  <a:gd name="T78" fmla="*/ 201 w 774"/>
                  <a:gd name="T79" fmla="*/ 897 h 1241"/>
                  <a:gd name="T80" fmla="*/ 247 w 774"/>
                  <a:gd name="T81" fmla="*/ 945 h 1241"/>
                  <a:gd name="T82" fmla="*/ 348 w 774"/>
                  <a:gd name="T83" fmla="*/ 970 h 1241"/>
                  <a:gd name="T84" fmla="*/ 211 w 774"/>
                  <a:gd name="T85" fmla="*/ 646 h 1241"/>
                  <a:gd name="T86" fmla="*/ 82 w 774"/>
                  <a:gd name="T87" fmla="*/ 565 h 1241"/>
                  <a:gd name="T88" fmla="*/ 23 w 774"/>
                  <a:gd name="T89" fmla="*/ 443 h 1241"/>
                  <a:gd name="T90" fmla="*/ 41 w 774"/>
                  <a:gd name="T91" fmla="*/ 300 h 1241"/>
                  <a:gd name="T92" fmla="*/ 120 w 774"/>
                  <a:gd name="T93" fmla="*/ 196 h 1241"/>
                  <a:gd name="T94" fmla="*/ 241 w 774"/>
                  <a:gd name="T95" fmla="*/ 135 h 1241"/>
                  <a:gd name="T96" fmla="*/ 348 w 774"/>
                  <a:gd name="T97" fmla="*/ 47 h 1241"/>
                  <a:gd name="T98" fmla="*/ 376 w 774"/>
                  <a:gd name="T99" fmla="*/ 3 h 1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74" h="1241">
                    <a:moveTo>
                      <a:pt x="431" y="699"/>
                    </a:moveTo>
                    <a:lnTo>
                      <a:pt x="431" y="970"/>
                    </a:lnTo>
                    <a:lnTo>
                      <a:pt x="456" y="967"/>
                    </a:lnTo>
                    <a:lnTo>
                      <a:pt x="480" y="963"/>
                    </a:lnTo>
                    <a:lnTo>
                      <a:pt x="504" y="956"/>
                    </a:lnTo>
                    <a:lnTo>
                      <a:pt x="526" y="947"/>
                    </a:lnTo>
                    <a:lnTo>
                      <a:pt x="547" y="935"/>
                    </a:lnTo>
                    <a:lnTo>
                      <a:pt x="565" y="921"/>
                    </a:lnTo>
                    <a:lnTo>
                      <a:pt x="579" y="904"/>
                    </a:lnTo>
                    <a:lnTo>
                      <a:pt x="591" y="884"/>
                    </a:lnTo>
                    <a:lnTo>
                      <a:pt x="598" y="861"/>
                    </a:lnTo>
                    <a:lnTo>
                      <a:pt x="600" y="836"/>
                    </a:lnTo>
                    <a:lnTo>
                      <a:pt x="598" y="812"/>
                    </a:lnTo>
                    <a:lnTo>
                      <a:pt x="592" y="792"/>
                    </a:lnTo>
                    <a:lnTo>
                      <a:pt x="581" y="774"/>
                    </a:lnTo>
                    <a:lnTo>
                      <a:pt x="568" y="758"/>
                    </a:lnTo>
                    <a:lnTo>
                      <a:pt x="552" y="745"/>
                    </a:lnTo>
                    <a:lnTo>
                      <a:pt x="534" y="733"/>
                    </a:lnTo>
                    <a:lnTo>
                      <a:pt x="514" y="724"/>
                    </a:lnTo>
                    <a:lnTo>
                      <a:pt x="493" y="717"/>
                    </a:lnTo>
                    <a:lnTo>
                      <a:pt x="473" y="709"/>
                    </a:lnTo>
                    <a:lnTo>
                      <a:pt x="452" y="704"/>
                    </a:lnTo>
                    <a:lnTo>
                      <a:pt x="431" y="699"/>
                    </a:lnTo>
                    <a:close/>
                    <a:moveTo>
                      <a:pt x="348" y="259"/>
                    </a:moveTo>
                    <a:lnTo>
                      <a:pt x="314" y="262"/>
                    </a:lnTo>
                    <a:lnTo>
                      <a:pt x="284" y="271"/>
                    </a:lnTo>
                    <a:lnTo>
                      <a:pt x="258" y="282"/>
                    </a:lnTo>
                    <a:lnTo>
                      <a:pt x="236" y="297"/>
                    </a:lnTo>
                    <a:lnTo>
                      <a:pt x="218" y="313"/>
                    </a:lnTo>
                    <a:lnTo>
                      <a:pt x="205" y="333"/>
                    </a:lnTo>
                    <a:lnTo>
                      <a:pt x="196" y="354"/>
                    </a:lnTo>
                    <a:lnTo>
                      <a:pt x="194" y="376"/>
                    </a:lnTo>
                    <a:lnTo>
                      <a:pt x="196" y="399"/>
                    </a:lnTo>
                    <a:lnTo>
                      <a:pt x="203" y="421"/>
                    </a:lnTo>
                    <a:lnTo>
                      <a:pt x="215" y="441"/>
                    </a:lnTo>
                    <a:lnTo>
                      <a:pt x="233" y="458"/>
                    </a:lnTo>
                    <a:lnTo>
                      <a:pt x="254" y="472"/>
                    </a:lnTo>
                    <a:lnTo>
                      <a:pt x="281" y="485"/>
                    </a:lnTo>
                    <a:lnTo>
                      <a:pt x="312" y="495"/>
                    </a:lnTo>
                    <a:lnTo>
                      <a:pt x="348" y="505"/>
                    </a:lnTo>
                    <a:lnTo>
                      <a:pt x="348" y="259"/>
                    </a:lnTo>
                    <a:close/>
                    <a:moveTo>
                      <a:pt x="389" y="0"/>
                    </a:moveTo>
                    <a:lnTo>
                      <a:pt x="402" y="3"/>
                    </a:lnTo>
                    <a:lnTo>
                      <a:pt x="414" y="9"/>
                    </a:lnTo>
                    <a:lnTo>
                      <a:pt x="423" y="20"/>
                    </a:lnTo>
                    <a:lnTo>
                      <a:pt x="429" y="33"/>
                    </a:lnTo>
                    <a:lnTo>
                      <a:pt x="431" y="47"/>
                    </a:lnTo>
                    <a:lnTo>
                      <a:pt x="431" y="120"/>
                    </a:lnTo>
                    <a:lnTo>
                      <a:pt x="454" y="121"/>
                    </a:lnTo>
                    <a:lnTo>
                      <a:pt x="479" y="124"/>
                    </a:lnTo>
                    <a:lnTo>
                      <a:pt x="506" y="129"/>
                    </a:lnTo>
                    <a:lnTo>
                      <a:pt x="534" y="135"/>
                    </a:lnTo>
                    <a:lnTo>
                      <a:pt x="564" y="144"/>
                    </a:lnTo>
                    <a:lnTo>
                      <a:pt x="593" y="154"/>
                    </a:lnTo>
                    <a:lnTo>
                      <a:pt x="621" y="165"/>
                    </a:lnTo>
                    <a:lnTo>
                      <a:pt x="648" y="179"/>
                    </a:lnTo>
                    <a:lnTo>
                      <a:pt x="674" y="195"/>
                    </a:lnTo>
                    <a:lnTo>
                      <a:pt x="698" y="211"/>
                    </a:lnTo>
                    <a:lnTo>
                      <a:pt x="718" y="230"/>
                    </a:lnTo>
                    <a:lnTo>
                      <a:pt x="734" y="251"/>
                    </a:lnTo>
                    <a:lnTo>
                      <a:pt x="748" y="274"/>
                    </a:lnTo>
                    <a:lnTo>
                      <a:pt x="755" y="298"/>
                    </a:lnTo>
                    <a:lnTo>
                      <a:pt x="758" y="324"/>
                    </a:lnTo>
                    <a:lnTo>
                      <a:pt x="756" y="345"/>
                    </a:lnTo>
                    <a:lnTo>
                      <a:pt x="749" y="364"/>
                    </a:lnTo>
                    <a:lnTo>
                      <a:pt x="740" y="380"/>
                    </a:lnTo>
                    <a:lnTo>
                      <a:pt x="726" y="392"/>
                    </a:lnTo>
                    <a:lnTo>
                      <a:pt x="709" y="401"/>
                    </a:lnTo>
                    <a:lnTo>
                      <a:pt x="691" y="407"/>
                    </a:lnTo>
                    <a:lnTo>
                      <a:pt x="671" y="408"/>
                    </a:lnTo>
                    <a:lnTo>
                      <a:pt x="655" y="407"/>
                    </a:lnTo>
                    <a:lnTo>
                      <a:pt x="640" y="402"/>
                    </a:lnTo>
                    <a:lnTo>
                      <a:pt x="626" y="393"/>
                    </a:lnTo>
                    <a:lnTo>
                      <a:pt x="615" y="383"/>
                    </a:lnTo>
                    <a:lnTo>
                      <a:pt x="603" y="370"/>
                    </a:lnTo>
                    <a:lnTo>
                      <a:pt x="592" y="357"/>
                    </a:lnTo>
                    <a:lnTo>
                      <a:pt x="580" y="342"/>
                    </a:lnTo>
                    <a:lnTo>
                      <a:pt x="569" y="328"/>
                    </a:lnTo>
                    <a:lnTo>
                      <a:pt x="555" y="313"/>
                    </a:lnTo>
                    <a:lnTo>
                      <a:pt x="542" y="299"/>
                    </a:lnTo>
                    <a:lnTo>
                      <a:pt x="525" y="286"/>
                    </a:lnTo>
                    <a:lnTo>
                      <a:pt x="506" y="276"/>
                    </a:lnTo>
                    <a:lnTo>
                      <a:pt x="484" y="267"/>
                    </a:lnTo>
                    <a:lnTo>
                      <a:pt x="459" y="261"/>
                    </a:lnTo>
                    <a:lnTo>
                      <a:pt x="431" y="259"/>
                    </a:lnTo>
                    <a:lnTo>
                      <a:pt x="431" y="519"/>
                    </a:lnTo>
                    <a:lnTo>
                      <a:pt x="464" y="526"/>
                    </a:lnTo>
                    <a:lnTo>
                      <a:pt x="498" y="535"/>
                    </a:lnTo>
                    <a:lnTo>
                      <a:pt x="530" y="543"/>
                    </a:lnTo>
                    <a:lnTo>
                      <a:pt x="562" y="552"/>
                    </a:lnTo>
                    <a:lnTo>
                      <a:pt x="591" y="564"/>
                    </a:lnTo>
                    <a:lnTo>
                      <a:pt x="619" y="576"/>
                    </a:lnTo>
                    <a:lnTo>
                      <a:pt x="646" y="590"/>
                    </a:lnTo>
                    <a:lnTo>
                      <a:pt x="670" y="605"/>
                    </a:lnTo>
                    <a:lnTo>
                      <a:pt x="693" y="623"/>
                    </a:lnTo>
                    <a:lnTo>
                      <a:pt x="713" y="643"/>
                    </a:lnTo>
                    <a:lnTo>
                      <a:pt x="731" y="666"/>
                    </a:lnTo>
                    <a:lnTo>
                      <a:pt x="746" y="691"/>
                    </a:lnTo>
                    <a:lnTo>
                      <a:pt x="757" y="719"/>
                    </a:lnTo>
                    <a:lnTo>
                      <a:pt x="767" y="749"/>
                    </a:lnTo>
                    <a:lnTo>
                      <a:pt x="772" y="783"/>
                    </a:lnTo>
                    <a:lnTo>
                      <a:pt x="774" y="821"/>
                    </a:lnTo>
                    <a:lnTo>
                      <a:pt x="771" y="861"/>
                    </a:lnTo>
                    <a:lnTo>
                      <a:pt x="765" y="900"/>
                    </a:lnTo>
                    <a:lnTo>
                      <a:pt x="752" y="934"/>
                    </a:lnTo>
                    <a:lnTo>
                      <a:pt x="736" y="965"/>
                    </a:lnTo>
                    <a:lnTo>
                      <a:pt x="716" y="993"/>
                    </a:lnTo>
                    <a:lnTo>
                      <a:pt x="692" y="1018"/>
                    </a:lnTo>
                    <a:lnTo>
                      <a:pt x="665" y="1040"/>
                    </a:lnTo>
                    <a:lnTo>
                      <a:pt x="634" y="1059"/>
                    </a:lnTo>
                    <a:lnTo>
                      <a:pt x="599" y="1075"/>
                    </a:lnTo>
                    <a:lnTo>
                      <a:pt x="562" y="1088"/>
                    </a:lnTo>
                    <a:lnTo>
                      <a:pt x="521" y="1098"/>
                    </a:lnTo>
                    <a:lnTo>
                      <a:pt x="477" y="1106"/>
                    </a:lnTo>
                    <a:lnTo>
                      <a:pt x="431" y="1110"/>
                    </a:lnTo>
                    <a:lnTo>
                      <a:pt x="431" y="1194"/>
                    </a:lnTo>
                    <a:lnTo>
                      <a:pt x="429" y="1209"/>
                    </a:lnTo>
                    <a:lnTo>
                      <a:pt x="423" y="1221"/>
                    </a:lnTo>
                    <a:lnTo>
                      <a:pt x="414" y="1231"/>
                    </a:lnTo>
                    <a:lnTo>
                      <a:pt x="402" y="1239"/>
                    </a:lnTo>
                    <a:lnTo>
                      <a:pt x="389" y="1241"/>
                    </a:lnTo>
                    <a:lnTo>
                      <a:pt x="376" y="1239"/>
                    </a:lnTo>
                    <a:lnTo>
                      <a:pt x="365" y="1231"/>
                    </a:lnTo>
                    <a:lnTo>
                      <a:pt x="356" y="1221"/>
                    </a:lnTo>
                    <a:lnTo>
                      <a:pt x="350" y="1209"/>
                    </a:lnTo>
                    <a:lnTo>
                      <a:pt x="348" y="1194"/>
                    </a:lnTo>
                    <a:lnTo>
                      <a:pt x="348" y="1110"/>
                    </a:lnTo>
                    <a:lnTo>
                      <a:pt x="300" y="1107"/>
                    </a:lnTo>
                    <a:lnTo>
                      <a:pt x="256" y="1099"/>
                    </a:lnTo>
                    <a:lnTo>
                      <a:pt x="215" y="1090"/>
                    </a:lnTo>
                    <a:lnTo>
                      <a:pt x="177" y="1077"/>
                    </a:lnTo>
                    <a:lnTo>
                      <a:pt x="144" y="1061"/>
                    </a:lnTo>
                    <a:lnTo>
                      <a:pt x="113" y="1042"/>
                    </a:lnTo>
                    <a:lnTo>
                      <a:pt x="87" y="1022"/>
                    </a:lnTo>
                    <a:lnTo>
                      <a:pt x="64" y="1001"/>
                    </a:lnTo>
                    <a:lnTo>
                      <a:pt x="44" y="978"/>
                    </a:lnTo>
                    <a:lnTo>
                      <a:pt x="29" y="954"/>
                    </a:lnTo>
                    <a:lnTo>
                      <a:pt x="16" y="930"/>
                    </a:lnTo>
                    <a:lnTo>
                      <a:pt x="7" y="906"/>
                    </a:lnTo>
                    <a:lnTo>
                      <a:pt x="1" y="881"/>
                    </a:lnTo>
                    <a:lnTo>
                      <a:pt x="0" y="858"/>
                    </a:lnTo>
                    <a:lnTo>
                      <a:pt x="2" y="836"/>
                    </a:lnTo>
                    <a:lnTo>
                      <a:pt x="8" y="818"/>
                    </a:lnTo>
                    <a:lnTo>
                      <a:pt x="17" y="801"/>
                    </a:lnTo>
                    <a:lnTo>
                      <a:pt x="30" y="788"/>
                    </a:lnTo>
                    <a:lnTo>
                      <a:pt x="45" y="779"/>
                    </a:lnTo>
                    <a:lnTo>
                      <a:pt x="64" y="774"/>
                    </a:lnTo>
                    <a:lnTo>
                      <a:pt x="85" y="772"/>
                    </a:lnTo>
                    <a:lnTo>
                      <a:pt x="106" y="773"/>
                    </a:lnTo>
                    <a:lnTo>
                      <a:pt x="124" y="777"/>
                    </a:lnTo>
                    <a:lnTo>
                      <a:pt x="139" y="783"/>
                    </a:lnTo>
                    <a:lnTo>
                      <a:pt x="150" y="792"/>
                    </a:lnTo>
                    <a:lnTo>
                      <a:pt x="159" y="802"/>
                    </a:lnTo>
                    <a:lnTo>
                      <a:pt x="167" y="813"/>
                    </a:lnTo>
                    <a:lnTo>
                      <a:pt x="173" y="826"/>
                    </a:lnTo>
                    <a:lnTo>
                      <a:pt x="178" y="839"/>
                    </a:lnTo>
                    <a:lnTo>
                      <a:pt x="184" y="853"/>
                    </a:lnTo>
                    <a:lnTo>
                      <a:pt x="189" y="867"/>
                    </a:lnTo>
                    <a:lnTo>
                      <a:pt x="194" y="882"/>
                    </a:lnTo>
                    <a:lnTo>
                      <a:pt x="201" y="897"/>
                    </a:lnTo>
                    <a:lnTo>
                      <a:pt x="210" y="910"/>
                    </a:lnTo>
                    <a:lnTo>
                      <a:pt x="219" y="924"/>
                    </a:lnTo>
                    <a:lnTo>
                      <a:pt x="233" y="935"/>
                    </a:lnTo>
                    <a:lnTo>
                      <a:pt x="247" y="945"/>
                    </a:lnTo>
                    <a:lnTo>
                      <a:pt x="266" y="955"/>
                    </a:lnTo>
                    <a:lnTo>
                      <a:pt x="289" y="962"/>
                    </a:lnTo>
                    <a:lnTo>
                      <a:pt x="317" y="967"/>
                    </a:lnTo>
                    <a:lnTo>
                      <a:pt x="348" y="970"/>
                    </a:lnTo>
                    <a:lnTo>
                      <a:pt x="348" y="684"/>
                    </a:lnTo>
                    <a:lnTo>
                      <a:pt x="299" y="674"/>
                    </a:lnTo>
                    <a:lnTo>
                      <a:pt x="254" y="662"/>
                    </a:lnTo>
                    <a:lnTo>
                      <a:pt x="211" y="646"/>
                    </a:lnTo>
                    <a:lnTo>
                      <a:pt x="173" y="629"/>
                    </a:lnTo>
                    <a:lnTo>
                      <a:pt x="139" y="611"/>
                    </a:lnTo>
                    <a:lnTo>
                      <a:pt x="108" y="589"/>
                    </a:lnTo>
                    <a:lnTo>
                      <a:pt x="82" y="565"/>
                    </a:lnTo>
                    <a:lnTo>
                      <a:pt x="60" y="538"/>
                    </a:lnTo>
                    <a:lnTo>
                      <a:pt x="43" y="509"/>
                    </a:lnTo>
                    <a:lnTo>
                      <a:pt x="31" y="477"/>
                    </a:lnTo>
                    <a:lnTo>
                      <a:pt x="23" y="443"/>
                    </a:lnTo>
                    <a:lnTo>
                      <a:pt x="20" y="407"/>
                    </a:lnTo>
                    <a:lnTo>
                      <a:pt x="23" y="368"/>
                    </a:lnTo>
                    <a:lnTo>
                      <a:pt x="30" y="333"/>
                    </a:lnTo>
                    <a:lnTo>
                      <a:pt x="41" y="300"/>
                    </a:lnTo>
                    <a:lnTo>
                      <a:pt x="56" y="269"/>
                    </a:lnTo>
                    <a:lnTo>
                      <a:pt x="74" y="242"/>
                    </a:lnTo>
                    <a:lnTo>
                      <a:pt x="96" y="217"/>
                    </a:lnTo>
                    <a:lnTo>
                      <a:pt x="120" y="196"/>
                    </a:lnTo>
                    <a:lnTo>
                      <a:pt x="147" y="176"/>
                    </a:lnTo>
                    <a:lnTo>
                      <a:pt x="176" y="160"/>
                    </a:lnTo>
                    <a:lnTo>
                      <a:pt x="209" y="147"/>
                    </a:lnTo>
                    <a:lnTo>
                      <a:pt x="241" y="135"/>
                    </a:lnTo>
                    <a:lnTo>
                      <a:pt x="276" y="127"/>
                    </a:lnTo>
                    <a:lnTo>
                      <a:pt x="312" y="122"/>
                    </a:lnTo>
                    <a:lnTo>
                      <a:pt x="348" y="120"/>
                    </a:lnTo>
                    <a:lnTo>
                      <a:pt x="348" y="47"/>
                    </a:lnTo>
                    <a:lnTo>
                      <a:pt x="350" y="33"/>
                    </a:lnTo>
                    <a:lnTo>
                      <a:pt x="356" y="20"/>
                    </a:lnTo>
                    <a:lnTo>
                      <a:pt x="365" y="9"/>
                    </a:lnTo>
                    <a:lnTo>
                      <a:pt x="376" y="3"/>
                    </a:lnTo>
                    <a:lnTo>
                      <a:pt x="38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grpSp>
        <p:grpSp>
          <p:nvGrpSpPr>
            <p:cNvPr id="17" name="Group 55">
              <a:extLst>
                <a:ext uri="{FF2B5EF4-FFF2-40B4-BE49-F238E27FC236}">
                  <a16:creationId xmlns:a16="http://schemas.microsoft.com/office/drawing/2014/main" id="{78752F12-F6FD-4BFA-8229-9B5B08554EBD}"/>
                </a:ext>
              </a:extLst>
            </p:cNvPr>
            <p:cNvGrpSpPr/>
            <p:nvPr/>
          </p:nvGrpSpPr>
          <p:grpSpPr>
            <a:xfrm flipH="1">
              <a:off x="4549582" y="3652194"/>
              <a:ext cx="329932" cy="327754"/>
              <a:chOff x="4311650" y="3267076"/>
              <a:chExt cx="481013" cy="477838"/>
            </a:xfrm>
            <a:solidFill>
              <a:schemeClr val="tx1">
                <a:lumMod val="85000"/>
                <a:lumOff val="15000"/>
              </a:schemeClr>
            </a:solidFill>
          </p:grpSpPr>
          <p:sp>
            <p:nvSpPr>
              <p:cNvPr id="40" name="Freeform 368">
                <a:extLst>
                  <a:ext uri="{FF2B5EF4-FFF2-40B4-BE49-F238E27FC236}">
                    <a16:creationId xmlns:a16="http://schemas.microsoft.com/office/drawing/2014/main" id="{3FD5D0B7-9788-4CEC-8BD2-EFF3666619A9}"/>
                  </a:ext>
                </a:extLst>
              </p:cNvPr>
              <p:cNvSpPr>
                <a:spLocks/>
              </p:cNvSpPr>
              <p:nvPr/>
            </p:nvSpPr>
            <p:spPr bwMode="auto">
              <a:xfrm>
                <a:off x="4311650" y="3267076"/>
                <a:ext cx="481013" cy="477838"/>
              </a:xfrm>
              <a:custGeom>
                <a:avLst/>
                <a:gdLst>
                  <a:gd name="T0" fmla="*/ 1666 w 3331"/>
                  <a:gd name="T1" fmla="*/ 0 h 3310"/>
                  <a:gd name="T2" fmla="*/ 1874 w 3331"/>
                  <a:gd name="T3" fmla="*/ 13 h 3310"/>
                  <a:gd name="T4" fmla="*/ 2075 w 3331"/>
                  <a:gd name="T5" fmla="*/ 51 h 3310"/>
                  <a:gd name="T6" fmla="*/ 2268 w 3331"/>
                  <a:gd name="T7" fmla="*/ 112 h 3310"/>
                  <a:gd name="T8" fmla="*/ 2448 w 3331"/>
                  <a:gd name="T9" fmla="*/ 195 h 3310"/>
                  <a:gd name="T10" fmla="*/ 2616 w 3331"/>
                  <a:gd name="T11" fmla="*/ 297 h 3310"/>
                  <a:gd name="T12" fmla="*/ 2771 w 3331"/>
                  <a:gd name="T13" fmla="*/ 418 h 3310"/>
                  <a:gd name="T14" fmla="*/ 2911 w 3331"/>
                  <a:gd name="T15" fmla="*/ 557 h 3310"/>
                  <a:gd name="T16" fmla="*/ 3033 w 3331"/>
                  <a:gd name="T17" fmla="*/ 710 h 3310"/>
                  <a:gd name="T18" fmla="*/ 3136 w 3331"/>
                  <a:gd name="T19" fmla="*/ 877 h 3310"/>
                  <a:gd name="T20" fmla="*/ 3219 w 3331"/>
                  <a:gd name="T21" fmla="*/ 1057 h 3310"/>
                  <a:gd name="T22" fmla="*/ 3280 w 3331"/>
                  <a:gd name="T23" fmla="*/ 1247 h 3310"/>
                  <a:gd name="T24" fmla="*/ 3319 w 3331"/>
                  <a:gd name="T25" fmla="*/ 1447 h 3310"/>
                  <a:gd name="T26" fmla="*/ 3331 w 3331"/>
                  <a:gd name="T27" fmla="*/ 1655 h 3310"/>
                  <a:gd name="T28" fmla="*/ 3320 w 3331"/>
                  <a:gd name="T29" fmla="*/ 1713 h 3310"/>
                  <a:gd name="T30" fmla="*/ 3287 w 3331"/>
                  <a:gd name="T31" fmla="*/ 1761 h 3310"/>
                  <a:gd name="T32" fmla="*/ 3239 w 3331"/>
                  <a:gd name="T33" fmla="*/ 1793 h 3310"/>
                  <a:gd name="T34" fmla="*/ 3180 w 3331"/>
                  <a:gd name="T35" fmla="*/ 1805 h 3310"/>
                  <a:gd name="T36" fmla="*/ 1817 w 3331"/>
                  <a:gd name="T37" fmla="*/ 3159 h 3310"/>
                  <a:gd name="T38" fmla="*/ 1805 w 3331"/>
                  <a:gd name="T39" fmla="*/ 3217 h 3310"/>
                  <a:gd name="T40" fmla="*/ 1772 w 3331"/>
                  <a:gd name="T41" fmla="*/ 3265 h 3310"/>
                  <a:gd name="T42" fmla="*/ 1724 w 3331"/>
                  <a:gd name="T43" fmla="*/ 3297 h 3310"/>
                  <a:gd name="T44" fmla="*/ 1666 w 3331"/>
                  <a:gd name="T45" fmla="*/ 3310 h 3310"/>
                  <a:gd name="T46" fmla="*/ 1457 w 3331"/>
                  <a:gd name="T47" fmla="*/ 3296 h 3310"/>
                  <a:gd name="T48" fmla="*/ 1256 w 3331"/>
                  <a:gd name="T49" fmla="*/ 3259 h 3310"/>
                  <a:gd name="T50" fmla="*/ 1065 w 3331"/>
                  <a:gd name="T51" fmla="*/ 3197 h 3310"/>
                  <a:gd name="T52" fmla="*/ 884 w 3331"/>
                  <a:gd name="T53" fmla="*/ 3115 h 3310"/>
                  <a:gd name="T54" fmla="*/ 715 w 3331"/>
                  <a:gd name="T55" fmla="*/ 3012 h 3310"/>
                  <a:gd name="T56" fmla="*/ 560 w 3331"/>
                  <a:gd name="T57" fmla="*/ 2892 h 3310"/>
                  <a:gd name="T58" fmla="*/ 421 w 3331"/>
                  <a:gd name="T59" fmla="*/ 2753 h 3310"/>
                  <a:gd name="T60" fmla="*/ 299 w 3331"/>
                  <a:gd name="T61" fmla="*/ 2599 h 3310"/>
                  <a:gd name="T62" fmla="*/ 196 w 3331"/>
                  <a:gd name="T63" fmla="*/ 2432 h 3310"/>
                  <a:gd name="T64" fmla="*/ 113 w 3331"/>
                  <a:gd name="T65" fmla="*/ 2252 h 3310"/>
                  <a:gd name="T66" fmla="*/ 51 w 3331"/>
                  <a:gd name="T67" fmla="*/ 2062 h 3310"/>
                  <a:gd name="T68" fmla="*/ 14 w 3331"/>
                  <a:gd name="T69" fmla="*/ 1862 h 3310"/>
                  <a:gd name="T70" fmla="*/ 0 w 3331"/>
                  <a:gd name="T71" fmla="*/ 1655 h 3310"/>
                  <a:gd name="T72" fmla="*/ 14 w 3331"/>
                  <a:gd name="T73" fmla="*/ 1447 h 3310"/>
                  <a:gd name="T74" fmla="*/ 51 w 3331"/>
                  <a:gd name="T75" fmla="*/ 1247 h 3310"/>
                  <a:gd name="T76" fmla="*/ 113 w 3331"/>
                  <a:gd name="T77" fmla="*/ 1057 h 3310"/>
                  <a:gd name="T78" fmla="*/ 196 w 3331"/>
                  <a:gd name="T79" fmla="*/ 877 h 3310"/>
                  <a:gd name="T80" fmla="*/ 299 w 3331"/>
                  <a:gd name="T81" fmla="*/ 710 h 3310"/>
                  <a:gd name="T82" fmla="*/ 421 w 3331"/>
                  <a:gd name="T83" fmla="*/ 557 h 3310"/>
                  <a:gd name="T84" fmla="*/ 560 w 3331"/>
                  <a:gd name="T85" fmla="*/ 418 h 3310"/>
                  <a:gd name="T86" fmla="*/ 715 w 3331"/>
                  <a:gd name="T87" fmla="*/ 297 h 3310"/>
                  <a:gd name="T88" fmla="*/ 884 w 3331"/>
                  <a:gd name="T89" fmla="*/ 195 h 3310"/>
                  <a:gd name="T90" fmla="*/ 1065 w 3331"/>
                  <a:gd name="T91" fmla="*/ 112 h 3310"/>
                  <a:gd name="T92" fmla="*/ 1256 w 3331"/>
                  <a:gd name="T93" fmla="*/ 51 h 3310"/>
                  <a:gd name="T94" fmla="*/ 1457 w 3331"/>
                  <a:gd name="T95" fmla="*/ 13 h 3310"/>
                  <a:gd name="T96" fmla="*/ 1666 w 3331"/>
                  <a:gd name="T97" fmla="*/ 0 h 3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31" h="3310">
                    <a:moveTo>
                      <a:pt x="1666" y="0"/>
                    </a:moveTo>
                    <a:lnTo>
                      <a:pt x="1666" y="0"/>
                    </a:lnTo>
                    <a:lnTo>
                      <a:pt x="1771" y="3"/>
                    </a:lnTo>
                    <a:lnTo>
                      <a:pt x="1874" y="13"/>
                    </a:lnTo>
                    <a:lnTo>
                      <a:pt x="1976" y="29"/>
                    </a:lnTo>
                    <a:lnTo>
                      <a:pt x="2075" y="51"/>
                    </a:lnTo>
                    <a:lnTo>
                      <a:pt x="2172" y="78"/>
                    </a:lnTo>
                    <a:lnTo>
                      <a:pt x="2268" y="112"/>
                    </a:lnTo>
                    <a:lnTo>
                      <a:pt x="2359" y="150"/>
                    </a:lnTo>
                    <a:lnTo>
                      <a:pt x="2448" y="195"/>
                    </a:lnTo>
                    <a:lnTo>
                      <a:pt x="2534" y="244"/>
                    </a:lnTo>
                    <a:lnTo>
                      <a:pt x="2616" y="297"/>
                    </a:lnTo>
                    <a:lnTo>
                      <a:pt x="2696" y="355"/>
                    </a:lnTo>
                    <a:lnTo>
                      <a:pt x="2771" y="418"/>
                    </a:lnTo>
                    <a:lnTo>
                      <a:pt x="2844" y="485"/>
                    </a:lnTo>
                    <a:lnTo>
                      <a:pt x="2911" y="557"/>
                    </a:lnTo>
                    <a:lnTo>
                      <a:pt x="2973" y="632"/>
                    </a:lnTo>
                    <a:lnTo>
                      <a:pt x="3033" y="710"/>
                    </a:lnTo>
                    <a:lnTo>
                      <a:pt x="3086" y="792"/>
                    </a:lnTo>
                    <a:lnTo>
                      <a:pt x="3136" y="877"/>
                    </a:lnTo>
                    <a:lnTo>
                      <a:pt x="3181" y="965"/>
                    </a:lnTo>
                    <a:lnTo>
                      <a:pt x="3219" y="1057"/>
                    </a:lnTo>
                    <a:lnTo>
                      <a:pt x="3253" y="1152"/>
                    </a:lnTo>
                    <a:lnTo>
                      <a:pt x="3280" y="1247"/>
                    </a:lnTo>
                    <a:lnTo>
                      <a:pt x="3302" y="1346"/>
                    </a:lnTo>
                    <a:lnTo>
                      <a:pt x="3319" y="1447"/>
                    </a:lnTo>
                    <a:lnTo>
                      <a:pt x="3328" y="1550"/>
                    </a:lnTo>
                    <a:lnTo>
                      <a:pt x="3331" y="1655"/>
                    </a:lnTo>
                    <a:lnTo>
                      <a:pt x="3328" y="1685"/>
                    </a:lnTo>
                    <a:lnTo>
                      <a:pt x="3320" y="1713"/>
                    </a:lnTo>
                    <a:lnTo>
                      <a:pt x="3305" y="1738"/>
                    </a:lnTo>
                    <a:lnTo>
                      <a:pt x="3287" y="1761"/>
                    </a:lnTo>
                    <a:lnTo>
                      <a:pt x="3264" y="1779"/>
                    </a:lnTo>
                    <a:lnTo>
                      <a:pt x="3239" y="1793"/>
                    </a:lnTo>
                    <a:lnTo>
                      <a:pt x="3210" y="1802"/>
                    </a:lnTo>
                    <a:lnTo>
                      <a:pt x="3180" y="1805"/>
                    </a:lnTo>
                    <a:lnTo>
                      <a:pt x="1817" y="1805"/>
                    </a:lnTo>
                    <a:lnTo>
                      <a:pt x="1817" y="3159"/>
                    </a:lnTo>
                    <a:lnTo>
                      <a:pt x="1814" y="3189"/>
                    </a:lnTo>
                    <a:lnTo>
                      <a:pt x="1805" y="3217"/>
                    </a:lnTo>
                    <a:lnTo>
                      <a:pt x="1791" y="3243"/>
                    </a:lnTo>
                    <a:lnTo>
                      <a:pt x="1772" y="3265"/>
                    </a:lnTo>
                    <a:lnTo>
                      <a:pt x="1750" y="3284"/>
                    </a:lnTo>
                    <a:lnTo>
                      <a:pt x="1724" y="3297"/>
                    </a:lnTo>
                    <a:lnTo>
                      <a:pt x="1696" y="3307"/>
                    </a:lnTo>
                    <a:lnTo>
                      <a:pt x="1666" y="3310"/>
                    </a:lnTo>
                    <a:lnTo>
                      <a:pt x="1561" y="3305"/>
                    </a:lnTo>
                    <a:lnTo>
                      <a:pt x="1457" y="3296"/>
                    </a:lnTo>
                    <a:lnTo>
                      <a:pt x="1356" y="3281"/>
                    </a:lnTo>
                    <a:lnTo>
                      <a:pt x="1256" y="3259"/>
                    </a:lnTo>
                    <a:lnTo>
                      <a:pt x="1159" y="3231"/>
                    </a:lnTo>
                    <a:lnTo>
                      <a:pt x="1065" y="3197"/>
                    </a:lnTo>
                    <a:lnTo>
                      <a:pt x="973" y="3159"/>
                    </a:lnTo>
                    <a:lnTo>
                      <a:pt x="884" y="3115"/>
                    </a:lnTo>
                    <a:lnTo>
                      <a:pt x="798" y="3066"/>
                    </a:lnTo>
                    <a:lnTo>
                      <a:pt x="715" y="3012"/>
                    </a:lnTo>
                    <a:lnTo>
                      <a:pt x="635" y="2954"/>
                    </a:lnTo>
                    <a:lnTo>
                      <a:pt x="560" y="2892"/>
                    </a:lnTo>
                    <a:lnTo>
                      <a:pt x="489" y="2824"/>
                    </a:lnTo>
                    <a:lnTo>
                      <a:pt x="421" y="2753"/>
                    </a:lnTo>
                    <a:lnTo>
                      <a:pt x="358" y="2678"/>
                    </a:lnTo>
                    <a:lnTo>
                      <a:pt x="299" y="2599"/>
                    </a:lnTo>
                    <a:lnTo>
                      <a:pt x="245" y="2517"/>
                    </a:lnTo>
                    <a:lnTo>
                      <a:pt x="196" y="2432"/>
                    </a:lnTo>
                    <a:lnTo>
                      <a:pt x="152" y="2343"/>
                    </a:lnTo>
                    <a:lnTo>
                      <a:pt x="113" y="2252"/>
                    </a:lnTo>
                    <a:lnTo>
                      <a:pt x="80" y="2158"/>
                    </a:lnTo>
                    <a:lnTo>
                      <a:pt x="51" y="2062"/>
                    </a:lnTo>
                    <a:lnTo>
                      <a:pt x="29" y="1963"/>
                    </a:lnTo>
                    <a:lnTo>
                      <a:pt x="14" y="1862"/>
                    </a:lnTo>
                    <a:lnTo>
                      <a:pt x="3" y="1759"/>
                    </a:lnTo>
                    <a:lnTo>
                      <a:pt x="0" y="1655"/>
                    </a:lnTo>
                    <a:lnTo>
                      <a:pt x="3" y="1550"/>
                    </a:lnTo>
                    <a:lnTo>
                      <a:pt x="14" y="1447"/>
                    </a:lnTo>
                    <a:lnTo>
                      <a:pt x="29" y="1346"/>
                    </a:lnTo>
                    <a:lnTo>
                      <a:pt x="51" y="1247"/>
                    </a:lnTo>
                    <a:lnTo>
                      <a:pt x="80" y="1152"/>
                    </a:lnTo>
                    <a:lnTo>
                      <a:pt x="113" y="1057"/>
                    </a:lnTo>
                    <a:lnTo>
                      <a:pt x="152" y="965"/>
                    </a:lnTo>
                    <a:lnTo>
                      <a:pt x="196" y="877"/>
                    </a:lnTo>
                    <a:lnTo>
                      <a:pt x="245" y="792"/>
                    </a:lnTo>
                    <a:lnTo>
                      <a:pt x="299" y="710"/>
                    </a:lnTo>
                    <a:lnTo>
                      <a:pt x="358" y="632"/>
                    </a:lnTo>
                    <a:lnTo>
                      <a:pt x="421" y="557"/>
                    </a:lnTo>
                    <a:lnTo>
                      <a:pt x="489" y="485"/>
                    </a:lnTo>
                    <a:lnTo>
                      <a:pt x="560" y="418"/>
                    </a:lnTo>
                    <a:lnTo>
                      <a:pt x="635" y="355"/>
                    </a:lnTo>
                    <a:lnTo>
                      <a:pt x="715" y="297"/>
                    </a:lnTo>
                    <a:lnTo>
                      <a:pt x="798" y="244"/>
                    </a:lnTo>
                    <a:lnTo>
                      <a:pt x="884" y="195"/>
                    </a:lnTo>
                    <a:lnTo>
                      <a:pt x="973" y="150"/>
                    </a:lnTo>
                    <a:lnTo>
                      <a:pt x="1065" y="112"/>
                    </a:lnTo>
                    <a:lnTo>
                      <a:pt x="1159" y="78"/>
                    </a:lnTo>
                    <a:lnTo>
                      <a:pt x="1256" y="51"/>
                    </a:lnTo>
                    <a:lnTo>
                      <a:pt x="1356" y="29"/>
                    </a:lnTo>
                    <a:lnTo>
                      <a:pt x="1457" y="13"/>
                    </a:lnTo>
                    <a:lnTo>
                      <a:pt x="1561" y="3"/>
                    </a:lnTo>
                    <a:lnTo>
                      <a:pt x="166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41" name="Freeform 369">
                <a:extLst>
                  <a:ext uri="{FF2B5EF4-FFF2-40B4-BE49-F238E27FC236}">
                    <a16:creationId xmlns:a16="http://schemas.microsoft.com/office/drawing/2014/main" id="{D76139B3-896D-46FF-A52A-09B0D1FD7925}"/>
                  </a:ext>
                </a:extLst>
              </p:cNvPr>
              <p:cNvSpPr>
                <a:spLocks noEditPoints="1"/>
              </p:cNvSpPr>
              <p:nvPr/>
            </p:nvSpPr>
            <p:spPr bwMode="auto">
              <a:xfrm>
                <a:off x="4595813" y="3549651"/>
                <a:ext cx="195263" cy="193675"/>
              </a:xfrm>
              <a:custGeom>
                <a:avLst/>
                <a:gdLst>
                  <a:gd name="T0" fmla="*/ 152 w 1354"/>
                  <a:gd name="T1" fmla="*/ 1183 h 1344"/>
                  <a:gd name="T2" fmla="*/ 323 w 1354"/>
                  <a:gd name="T3" fmla="*/ 1139 h 1344"/>
                  <a:gd name="T4" fmla="*/ 484 w 1354"/>
                  <a:gd name="T5" fmla="*/ 1075 h 1344"/>
                  <a:gd name="T6" fmla="*/ 634 w 1354"/>
                  <a:gd name="T7" fmla="*/ 990 h 1344"/>
                  <a:gd name="T8" fmla="*/ 771 w 1354"/>
                  <a:gd name="T9" fmla="*/ 886 h 1344"/>
                  <a:gd name="T10" fmla="*/ 892 w 1354"/>
                  <a:gd name="T11" fmla="*/ 764 h 1344"/>
                  <a:gd name="T12" fmla="*/ 997 w 1354"/>
                  <a:gd name="T13" fmla="*/ 629 h 1344"/>
                  <a:gd name="T14" fmla="*/ 1083 w 1354"/>
                  <a:gd name="T15" fmla="*/ 480 h 1344"/>
                  <a:gd name="T16" fmla="*/ 1149 w 1354"/>
                  <a:gd name="T17" fmla="*/ 320 h 1344"/>
                  <a:gd name="T18" fmla="*/ 1192 w 1354"/>
                  <a:gd name="T19" fmla="*/ 149 h 1344"/>
                  <a:gd name="T20" fmla="*/ 77 w 1354"/>
                  <a:gd name="T21" fmla="*/ 0 h 1344"/>
                  <a:gd name="T22" fmla="*/ 1295 w 1354"/>
                  <a:gd name="T23" fmla="*/ 1 h 1344"/>
                  <a:gd name="T24" fmla="*/ 1324 w 1354"/>
                  <a:gd name="T25" fmla="*/ 14 h 1344"/>
                  <a:gd name="T26" fmla="*/ 1345 w 1354"/>
                  <a:gd name="T27" fmla="*/ 37 h 1344"/>
                  <a:gd name="T28" fmla="*/ 1354 w 1354"/>
                  <a:gd name="T29" fmla="*/ 67 h 1344"/>
                  <a:gd name="T30" fmla="*/ 1340 w 1354"/>
                  <a:gd name="T31" fmla="*/ 176 h 1344"/>
                  <a:gd name="T32" fmla="*/ 1295 w 1354"/>
                  <a:gd name="T33" fmla="*/ 356 h 1344"/>
                  <a:gd name="T34" fmla="*/ 1228 w 1354"/>
                  <a:gd name="T35" fmla="*/ 527 h 1344"/>
                  <a:gd name="T36" fmla="*/ 1139 w 1354"/>
                  <a:gd name="T37" fmla="*/ 686 h 1344"/>
                  <a:gd name="T38" fmla="*/ 1033 w 1354"/>
                  <a:gd name="T39" fmla="*/ 833 h 1344"/>
                  <a:gd name="T40" fmla="*/ 908 w 1354"/>
                  <a:gd name="T41" fmla="*/ 965 h 1344"/>
                  <a:gd name="T42" fmla="*/ 768 w 1354"/>
                  <a:gd name="T43" fmla="*/ 1080 h 1344"/>
                  <a:gd name="T44" fmla="*/ 614 w 1354"/>
                  <a:gd name="T45" fmla="*/ 1177 h 1344"/>
                  <a:gd name="T46" fmla="*/ 447 w 1354"/>
                  <a:gd name="T47" fmla="*/ 1255 h 1344"/>
                  <a:gd name="T48" fmla="*/ 270 w 1354"/>
                  <a:gd name="T49" fmla="*/ 1311 h 1344"/>
                  <a:gd name="T50" fmla="*/ 85 w 1354"/>
                  <a:gd name="T51" fmla="*/ 1344 h 1344"/>
                  <a:gd name="T52" fmla="*/ 77 w 1354"/>
                  <a:gd name="T53" fmla="*/ 1344 h 1344"/>
                  <a:gd name="T54" fmla="*/ 41 w 1354"/>
                  <a:gd name="T55" fmla="*/ 1336 h 1344"/>
                  <a:gd name="T56" fmla="*/ 12 w 1354"/>
                  <a:gd name="T57" fmla="*/ 1309 h 1344"/>
                  <a:gd name="T58" fmla="*/ 0 w 1354"/>
                  <a:gd name="T59" fmla="*/ 1269 h 1344"/>
                  <a:gd name="T60" fmla="*/ 3 w 1354"/>
                  <a:gd name="T61" fmla="*/ 55 h 1344"/>
                  <a:gd name="T62" fmla="*/ 23 w 1354"/>
                  <a:gd name="T63" fmla="*/ 21 h 1344"/>
                  <a:gd name="T64" fmla="*/ 56 w 1354"/>
                  <a:gd name="T65" fmla="*/ 2 h 1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54" h="1344">
                    <a:moveTo>
                      <a:pt x="152" y="149"/>
                    </a:moveTo>
                    <a:lnTo>
                      <a:pt x="152" y="1183"/>
                    </a:lnTo>
                    <a:lnTo>
                      <a:pt x="239" y="1164"/>
                    </a:lnTo>
                    <a:lnTo>
                      <a:pt x="323" y="1139"/>
                    </a:lnTo>
                    <a:lnTo>
                      <a:pt x="404" y="1110"/>
                    </a:lnTo>
                    <a:lnTo>
                      <a:pt x="484" y="1075"/>
                    </a:lnTo>
                    <a:lnTo>
                      <a:pt x="560" y="1034"/>
                    </a:lnTo>
                    <a:lnTo>
                      <a:pt x="634" y="990"/>
                    </a:lnTo>
                    <a:lnTo>
                      <a:pt x="704" y="940"/>
                    </a:lnTo>
                    <a:lnTo>
                      <a:pt x="771" y="886"/>
                    </a:lnTo>
                    <a:lnTo>
                      <a:pt x="834" y="826"/>
                    </a:lnTo>
                    <a:lnTo>
                      <a:pt x="892" y="764"/>
                    </a:lnTo>
                    <a:lnTo>
                      <a:pt x="947" y="698"/>
                    </a:lnTo>
                    <a:lnTo>
                      <a:pt x="997" y="629"/>
                    </a:lnTo>
                    <a:lnTo>
                      <a:pt x="1042" y="556"/>
                    </a:lnTo>
                    <a:lnTo>
                      <a:pt x="1083" y="480"/>
                    </a:lnTo>
                    <a:lnTo>
                      <a:pt x="1118" y="401"/>
                    </a:lnTo>
                    <a:lnTo>
                      <a:pt x="1149" y="320"/>
                    </a:lnTo>
                    <a:lnTo>
                      <a:pt x="1173" y="236"/>
                    </a:lnTo>
                    <a:lnTo>
                      <a:pt x="1192" y="149"/>
                    </a:lnTo>
                    <a:lnTo>
                      <a:pt x="152" y="149"/>
                    </a:lnTo>
                    <a:close/>
                    <a:moveTo>
                      <a:pt x="77" y="0"/>
                    </a:moveTo>
                    <a:lnTo>
                      <a:pt x="1280" y="0"/>
                    </a:lnTo>
                    <a:lnTo>
                      <a:pt x="1295" y="1"/>
                    </a:lnTo>
                    <a:lnTo>
                      <a:pt x="1310" y="6"/>
                    </a:lnTo>
                    <a:lnTo>
                      <a:pt x="1324" y="14"/>
                    </a:lnTo>
                    <a:lnTo>
                      <a:pt x="1336" y="25"/>
                    </a:lnTo>
                    <a:lnTo>
                      <a:pt x="1345" y="37"/>
                    </a:lnTo>
                    <a:lnTo>
                      <a:pt x="1351" y="52"/>
                    </a:lnTo>
                    <a:lnTo>
                      <a:pt x="1354" y="67"/>
                    </a:lnTo>
                    <a:lnTo>
                      <a:pt x="1354" y="83"/>
                    </a:lnTo>
                    <a:lnTo>
                      <a:pt x="1340" y="176"/>
                    </a:lnTo>
                    <a:lnTo>
                      <a:pt x="1322" y="267"/>
                    </a:lnTo>
                    <a:lnTo>
                      <a:pt x="1295" y="356"/>
                    </a:lnTo>
                    <a:lnTo>
                      <a:pt x="1265" y="443"/>
                    </a:lnTo>
                    <a:lnTo>
                      <a:pt x="1228" y="527"/>
                    </a:lnTo>
                    <a:lnTo>
                      <a:pt x="1186" y="608"/>
                    </a:lnTo>
                    <a:lnTo>
                      <a:pt x="1139" y="686"/>
                    </a:lnTo>
                    <a:lnTo>
                      <a:pt x="1088" y="761"/>
                    </a:lnTo>
                    <a:lnTo>
                      <a:pt x="1033" y="833"/>
                    </a:lnTo>
                    <a:lnTo>
                      <a:pt x="972" y="900"/>
                    </a:lnTo>
                    <a:lnTo>
                      <a:pt x="908" y="965"/>
                    </a:lnTo>
                    <a:lnTo>
                      <a:pt x="840" y="1024"/>
                    </a:lnTo>
                    <a:lnTo>
                      <a:pt x="768" y="1080"/>
                    </a:lnTo>
                    <a:lnTo>
                      <a:pt x="692" y="1131"/>
                    </a:lnTo>
                    <a:lnTo>
                      <a:pt x="614" y="1177"/>
                    </a:lnTo>
                    <a:lnTo>
                      <a:pt x="531" y="1218"/>
                    </a:lnTo>
                    <a:lnTo>
                      <a:pt x="447" y="1255"/>
                    </a:lnTo>
                    <a:lnTo>
                      <a:pt x="359" y="1286"/>
                    </a:lnTo>
                    <a:lnTo>
                      <a:pt x="270" y="1311"/>
                    </a:lnTo>
                    <a:lnTo>
                      <a:pt x="178" y="1331"/>
                    </a:lnTo>
                    <a:lnTo>
                      <a:pt x="85" y="1344"/>
                    </a:lnTo>
                    <a:lnTo>
                      <a:pt x="81" y="1344"/>
                    </a:lnTo>
                    <a:lnTo>
                      <a:pt x="77" y="1344"/>
                    </a:lnTo>
                    <a:lnTo>
                      <a:pt x="58" y="1342"/>
                    </a:lnTo>
                    <a:lnTo>
                      <a:pt x="41" y="1336"/>
                    </a:lnTo>
                    <a:lnTo>
                      <a:pt x="25" y="1326"/>
                    </a:lnTo>
                    <a:lnTo>
                      <a:pt x="12" y="1309"/>
                    </a:lnTo>
                    <a:lnTo>
                      <a:pt x="3" y="1290"/>
                    </a:lnTo>
                    <a:lnTo>
                      <a:pt x="0" y="1269"/>
                    </a:lnTo>
                    <a:lnTo>
                      <a:pt x="0" y="74"/>
                    </a:lnTo>
                    <a:lnTo>
                      <a:pt x="3" y="55"/>
                    </a:lnTo>
                    <a:lnTo>
                      <a:pt x="11" y="37"/>
                    </a:lnTo>
                    <a:lnTo>
                      <a:pt x="23" y="21"/>
                    </a:lnTo>
                    <a:lnTo>
                      <a:pt x="38" y="10"/>
                    </a:lnTo>
                    <a:lnTo>
                      <a:pt x="56" y="2"/>
                    </a:lnTo>
                    <a:lnTo>
                      <a:pt x="7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grpSp>
        <p:grpSp>
          <p:nvGrpSpPr>
            <p:cNvPr id="18" name="Group 58">
              <a:extLst>
                <a:ext uri="{FF2B5EF4-FFF2-40B4-BE49-F238E27FC236}">
                  <a16:creationId xmlns:a16="http://schemas.microsoft.com/office/drawing/2014/main" id="{37AE566C-3641-4D46-86F3-E690F38CA19F}"/>
                </a:ext>
              </a:extLst>
            </p:cNvPr>
            <p:cNvGrpSpPr/>
            <p:nvPr/>
          </p:nvGrpSpPr>
          <p:grpSpPr>
            <a:xfrm flipH="1">
              <a:off x="5534687" y="3579689"/>
              <a:ext cx="328843" cy="327754"/>
              <a:chOff x="6521450" y="4037013"/>
              <a:chExt cx="479425" cy="477838"/>
            </a:xfrm>
            <a:solidFill>
              <a:schemeClr val="tx1">
                <a:lumMod val="85000"/>
                <a:lumOff val="15000"/>
              </a:schemeClr>
            </a:solidFill>
          </p:grpSpPr>
          <p:sp>
            <p:nvSpPr>
              <p:cNvPr id="34" name="Freeform 311">
                <a:extLst>
                  <a:ext uri="{FF2B5EF4-FFF2-40B4-BE49-F238E27FC236}">
                    <a16:creationId xmlns:a16="http://schemas.microsoft.com/office/drawing/2014/main" id="{4D2D6BBB-1EF3-4B3F-9A5F-F2A9D4370FC0}"/>
                  </a:ext>
                </a:extLst>
              </p:cNvPr>
              <p:cNvSpPr>
                <a:spLocks/>
              </p:cNvSpPr>
              <p:nvPr/>
            </p:nvSpPr>
            <p:spPr bwMode="auto">
              <a:xfrm>
                <a:off x="6604000" y="4122738"/>
                <a:ext cx="206375" cy="42863"/>
              </a:xfrm>
              <a:custGeom>
                <a:avLst/>
                <a:gdLst>
                  <a:gd name="T0" fmla="*/ 151 w 1438"/>
                  <a:gd name="T1" fmla="*/ 0 h 302"/>
                  <a:gd name="T2" fmla="*/ 1287 w 1438"/>
                  <a:gd name="T3" fmla="*/ 0 h 302"/>
                  <a:gd name="T4" fmla="*/ 1318 w 1438"/>
                  <a:gd name="T5" fmla="*/ 3 h 302"/>
                  <a:gd name="T6" fmla="*/ 1346 w 1438"/>
                  <a:gd name="T7" fmla="*/ 12 h 302"/>
                  <a:gd name="T8" fmla="*/ 1372 w 1438"/>
                  <a:gd name="T9" fmla="*/ 26 h 302"/>
                  <a:gd name="T10" fmla="*/ 1394 w 1438"/>
                  <a:gd name="T11" fmla="*/ 45 h 302"/>
                  <a:gd name="T12" fmla="*/ 1413 w 1438"/>
                  <a:gd name="T13" fmla="*/ 67 h 302"/>
                  <a:gd name="T14" fmla="*/ 1426 w 1438"/>
                  <a:gd name="T15" fmla="*/ 93 h 302"/>
                  <a:gd name="T16" fmla="*/ 1435 w 1438"/>
                  <a:gd name="T17" fmla="*/ 121 h 302"/>
                  <a:gd name="T18" fmla="*/ 1438 w 1438"/>
                  <a:gd name="T19" fmla="*/ 151 h 302"/>
                  <a:gd name="T20" fmla="*/ 1435 w 1438"/>
                  <a:gd name="T21" fmla="*/ 181 h 302"/>
                  <a:gd name="T22" fmla="*/ 1426 w 1438"/>
                  <a:gd name="T23" fmla="*/ 209 h 302"/>
                  <a:gd name="T24" fmla="*/ 1413 w 1438"/>
                  <a:gd name="T25" fmla="*/ 235 h 302"/>
                  <a:gd name="T26" fmla="*/ 1394 w 1438"/>
                  <a:gd name="T27" fmla="*/ 257 h 302"/>
                  <a:gd name="T28" fmla="*/ 1372 w 1438"/>
                  <a:gd name="T29" fmla="*/ 276 h 302"/>
                  <a:gd name="T30" fmla="*/ 1346 w 1438"/>
                  <a:gd name="T31" fmla="*/ 289 h 302"/>
                  <a:gd name="T32" fmla="*/ 1318 w 1438"/>
                  <a:gd name="T33" fmla="*/ 298 h 302"/>
                  <a:gd name="T34" fmla="*/ 1287 w 1438"/>
                  <a:gd name="T35" fmla="*/ 302 h 302"/>
                  <a:gd name="T36" fmla="*/ 151 w 1438"/>
                  <a:gd name="T37" fmla="*/ 302 h 302"/>
                  <a:gd name="T38" fmla="*/ 121 w 1438"/>
                  <a:gd name="T39" fmla="*/ 298 h 302"/>
                  <a:gd name="T40" fmla="*/ 93 w 1438"/>
                  <a:gd name="T41" fmla="*/ 289 h 302"/>
                  <a:gd name="T42" fmla="*/ 66 w 1438"/>
                  <a:gd name="T43" fmla="*/ 276 h 302"/>
                  <a:gd name="T44" fmla="*/ 44 w 1438"/>
                  <a:gd name="T45" fmla="*/ 257 h 302"/>
                  <a:gd name="T46" fmla="*/ 26 w 1438"/>
                  <a:gd name="T47" fmla="*/ 235 h 302"/>
                  <a:gd name="T48" fmla="*/ 12 w 1438"/>
                  <a:gd name="T49" fmla="*/ 209 h 302"/>
                  <a:gd name="T50" fmla="*/ 4 w 1438"/>
                  <a:gd name="T51" fmla="*/ 181 h 302"/>
                  <a:gd name="T52" fmla="*/ 0 w 1438"/>
                  <a:gd name="T53" fmla="*/ 151 h 302"/>
                  <a:gd name="T54" fmla="*/ 4 w 1438"/>
                  <a:gd name="T55" fmla="*/ 121 h 302"/>
                  <a:gd name="T56" fmla="*/ 12 w 1438"/>
                  <a:gd name="T57" fmla="*/ 93 h 302"/>
                  <a:gd name="T58" fmla="*/ 26 w 1438"/>
                  <a:gd name="T59" fmla="*/ 67 h 302"/>
                  <a:gd name="T60" fmla="*/ 44 w 1438"/>
                  <a:gd name="T61" fmla="*/ 45 h 302"/>
                  <a:gd name="T62" fmla="*/ 66 w 1438"/>
                  <a:gd name="T63" fmla="*/ 26 h 302"/>
                  <a:gd name="T64" fmla="*/ 93 w 1438"/>
                  <a:gd name="T65" fmla="*/ 12 h 302"/>
                  <a:gd name="T66" fmla="*/ 121 w 1438"/>
                  <a:gd name="T67" fmla="*/ 3 h 302"/>
                  <a:gd name="T68" fmla="*/ 151 w 1438"/>
                  <a:gd name="T69" fmla="*/ 0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438" h="302">
                    <a:moveTo>
                      <a:pt x="151" y="0"/>
                    </a:moveTo>
                    <a:lnTo>
                      <a:pt x="1287" y="0"/>
                    </a:lnTo>
                    <a:lnTo>
                      <a:pt x="1318" y="3"/>
                    </a:lnTo>
                    <a:lnTo>
                      <a:pt x="1346" y="12"/>
                    </a:lnTo>
                    <a:lnTo>
                      <a:pt x="1372" y="26"/>
                    </a:lnTo>
                    <a:lnTo>
                      <a:pt x="1394" y="45"/>
                    </a:lnTo>
                    <a:lnTo>
                      <a:pt x="1413" y="67"/>
                    </a:lnTo>
                    <a:lnTo>
                      <a:pt x="1426" y="93"/>
                    </a:lnTo>
                    <a:lnTo>
                      <a:pt x="1435" y="121"/>
                    </a:lnTo>
                    <a:lnTo>
                      <a:pt x="1438" y="151"/>
                    </a:lnTo>
                    <a:lnTo>
                      <a:pt x="1435" y="181"/>
                    </a:lnTo>
                    <a:lnTo>
                      <a:pt x="1426" y="209"/>
                    </a:lnTo>
                    <a:lnTo>
                      <a:pt x="1413" y="235"/>
                    </a:lnTo>
                    <a:lnTo>
                      <a:pt x="1394" y="257"/>
                    </a:lnTo>
                    <a:lnTo>
                      <a:pt x="1372" y="276"/>
                    </a:lnTo>
                    <a:lnTo>
                      <a:pt x="1346" y="289"/>
                    </a:lnTo>
                    <a:lnTo>
                      <a:pt x="1318" y="298"/>
                    </a:lnTo>
                    <a:lnTo>
                      <a:pt x="1287" y="302"/>
                    </a:lnTo>
                    <a:lnTo>
                      <a:pt x="151" y="302"/>
                    </a:lnTo>
                    <a:lnTo>
                      <a:pt x="121" y="298"/>
                    </a:lnTo>
                    <a:lnTo>
                      <a:pt x="93" y="289"/>
                    </a:lnTo>
                    <a:lnTo>
                      <a:pt x="66" y="276"/>
                    </a:lnTo>
                    <a:lnTo>
                      <a:pt x="44" y="257"/>
                    </a:lnTo>
                    <a:lnTo>
                      <a:pt x="26" y="235"/>
                    </a:lnTo>
                    <a:lnTo>
                      <a:pt x="12" y="209"/>
                    </a:lnTo>
                    <a:lnTo>
                      <a:pt x="4" y="181"/>
                    </a:lnTo>
                    <a:lnTo>
                      <a:pt x="0" y="151"/>
                    </a:lnTo>
                    <a:lnTo>
                      <a:pt x="4" y="121"/>
                    </a:lnTo>
                    <a:lnTo>
                      <a:pt x="12" y="93"/>
                    </a:lnTo>
                    <a:lnTo>
                      <a:pt x="26" y="67"/>
                    </a:lnTo>
                    <a:lnTo>
                      <a:pt x="44" y="45"/>
                    </a:lnTo>
                    <a:lnTo>
                      <a:pt x="66" y="26"/>
                    </a:lnTo>
                    <a:lnTo>
                      <a:pt x="93" y="12"/>
                    </a:lnTo>
                    <a:lnTo>
                      <a:pt x="121" y="3"/>
                    </a:lnTo>
                    <a:lnTo>
                      <a:pt x="15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35" name="Freeform 312">
                <a:extLst>
                  <a:ext uri="{FF2B5EF4-FFF2-40B4-BE49-F238E27FC236}">
                    <a16:creationId xmlns:a16="http://schemas.microsoft.com/office/drawing/2014/main" id="{7C1056AC-B095-4109-8725-10FC8D0C0003}"/>
                  </a:ext>
                </a:extLst>
              </p:cNvPr>
              <p:cNvSpPr>
                <a:spLocks/>
              </p:cNvSpPr>
              <p:nvPr/>
            </p:nvSpPr>
            <p:spPr bwMode="auto">
              <a:xfrm>
                <a:off x="6604000" y="4203700"/>
                <a:ext cx="206375" cy="42863"/>
              </a:xfrm>
              <a:custGeom>
                <a:avLst/>
                <a:gdLst>
                  <a:gd name="T0" fmla="*/ 151 w 1438"/>
                  <a:gd name="T1" fmla="*/ 0 h 301"/>
                  <a:gd name="T2" fmla="*/ 1287 w 1438"/>
                  <a:gd name="T3" fmla="*/ 0 h 301"/>
                  <a:gd name="T4" fmla="*/ 1318 w 1438"/>
                  <a:gd name="T5" fmla="*/ 3 h 301"/>
                  <a:gd name="T6" fmla="*/ 1346 w 1438"/>
                  <a:gd name="T7" fmla="*/ 12 h 301"/>
                  <a:gd name="T8" fmla="*/ 1372 w 1438"/>
                  <a:gd name="T9" fmla="*/ 26 h 301"/>
                  <a:gd name="T10" fmla="*/ 1394 w 1438"/>
                  <a:gd name="T11" fmla="*/ 44 h 301"/>
                  <a:gd name="T12" fmla="*/ 1413 w 1438"/>
                  <a:gd name="T13" fmla="*/ 66 h 301"/>
                  <a:gd name="T14" fmla="*/ 1426 w 1438"/>
                  <a:gd name="T15" fmla="*/ 92 h 301"/>
                  <a:gd name="T16" fmla="*/ 1435 w 1438"/>
                  <a:gd name="T17" fmla="*/ 120 h 301"/>
                  <a:gd name="T18" fmla="*/ 1438 w 1438"/>
                  <a:gd name="T19" fmla="*/ 150 h 301"/>
                  <a:gd name="T20" fmla="*/ 1435 w 1438"/>
                  <a:gd name="T21" fmla="*/ 181 h 301"/>
                  <a:gd name="T22" fmla="*/ 1426 w 1438"/>
                  <a:gd name="T23" fmla="*/ 210 h 301"/>
                  <a:gd name="T24" fmla="*/ 1413 w 1438"/>
                  <a:gd name="T25" fmla="*/ 235 h 301"/>
                  <a:gd name="T26" fmla="*/ 1394 w 1438"/>
                  <a:gd name="T27" fmla="*/ 258 h 301"/>
                  <a:gd name="T28" fmla="*/ 1372 w 1438"/>
                  <a:gd name="T29" fmla="*/ 275 h 301"/>
                  <a:gd name="T30" fmla="*/ 1346 w 1438"/>
                  <a:gd name="T31" fmla="*/ 290 h 301"/>
                  <a:gd name="T32" fmla="*/ 1318 w 1438"/>
                  <a:gd name="T33" fmla="*/ 298 h 301"/>
                  <a:gd name="T34" fmla="*/ 1287 w 1438"/>
                  <a:gd name="T35" fmla="*/ 301 h 301"/>
                  <a:gd name="T36" fmla="*/ 151 w 1438"/>
                  <a:gd name="T37" fmla="*/ 301 h 301"/>
                  <a:gd name="T38" fmla="*/ 121 w 1438"/>
                  <a:gd name="T39" fmla="*/ 298 h 301"/>
                  <a:gd name="T40" fmla="*/ 93 w 1438"/>
                  <a:gd name="T41" fmla="*/ 290 h 301"/>
                  <a:gd name="T42" fmla="*/ 66 w 1438"/>
                  <a:gd name="T43" fmla="*/ 275 h 301"/>
                  <a:gd name="T44" fmla="*/ 44 w 1438"/>
                  <a:gd name="T45" fmla="*/ 258 h 301"/>
                  <a:gd name="T46" fmla="*/ 26 w 1438"/>
                  <a:gd name="T47" fmla="*/ 235 h 301"/>
                  <a:gd name="T48" fmla="*/ 12 w 1438"/>
                  <a:gd name="T49" fmla="*/ 210 h 301"/>
                  <a:gd name="T50" fmla="*/ 4 w 1438"/>
                  <a:gd name="T51" fmla="*/ 181 h 301"/>
                  <a:gd name="T52" fmla="*/ 0 w 1438"/>
                  <a:gd name="T53" fmla="*/ 150 h 301"/>
                  <a:gd name="T54" fmla="*/ 4 w 1438"/>
                  <a:gd name="T55" fmla="*/ 120 h 301"/>
                  <a:gd name="T56" fmla="*/ 12 w 1438"/>
                  <a:gd name="T57" fmla="*/ 92 h 301"/>
                  <a:gd name="T58" fmla="*/ 26 w 1438"/>
                  <a:gd name="T59" fmla="*/ 66 h 301"/>
                  <a:gd name="T60" fmla="*/ 44 w 1438"/>
                  <a:gd name="T61" fmla="*/ 44 h 301"/>
                  <a:gd name="T62" fmla="*/ 66 w 1438"/>
                  <a:gd name="T63" fmla="*/ 26 h 301"/>
                  <a:gd name="T64" fmla="*/ 93 w 1438"/>
                  <a:gd name="T65" fmla="*/ 12 h 301"/>
                  <a:gd name="T66" fmla="*/ 121 w 1438"/>
                  <a:gd name="T67" fmla="*/ 3 h 301"/>
                  <a:gd name="T68" fmla="*/ 151 w 1438"/>
                  <a:gd name="T69" fmla="*/ 0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438" h="301">
                    <a:moveTo>
                      <a:pt x="151" y="0"/>
                    </a:moveTo>
                    <a:lnTo>
                      <a:pt x="1287" y="0"/>
                    </a:lnTo>
                    <a:lnTo>
                      <a:pt x="1318" y="3"/>
                    </a:lnTo>
                    <a:lnTo>
                      <a:pt x="1346" y="12"/>
                    </a:lnTo>
                    <a:lnTo>
                      <a:pt x="1372" y="26"/>
                    </a:lnTo>
                    <a:lnTo>
                      <a:pt x="1394" y="44"/>
                    </a:lnTo>
                    <a:lnTo>
                      <a:pt x="1413" y="66"/>
                    </a:lnTo>
                    <a:lnTo>
                      <a:pt x="1426" y="92"/>
                    </a:lnTo>
                    <a:lnTo>
                      <a:pt x="1435" y="120"/>
                    </a:lnTo>
                    <a:lnTo>
                      <a:pt x="1438" y="150"/>
                    </a:lnTo>
                    <a:lnTo>
                      <a:pt x="1435" y="181"/>
                    </a:lnTo>
                    <a:lnTo>
                      <a:pt x="1426" y="210"/>
                    </a:lnTo>
                    <a:lnTo>
                      <a:pt x="1413" y="235"/>
                    </a:lnTo>
                    <a:lnTo>
                      <a:pt x="1394" y="258"/>
                    </a:lnTo>
                    <a:lnTo>
                      <a:pt x="1372" y="275"/>
                    </a:lnTo>
                    <a:lnTo>
                      <a:pt x="1346" y="290"/>
                    </a:lnTo>
                    <a:lnTo>
                      <a:pt x="1318" y="298"/>
                    </a:lnTo>
                    <a:lnTo>
                      <a:pt x="1287" y="301"/>
                    </a:lnTo>
                    <a:lnTo>
                      <a:pt x="151" y="301"/>
                    </a:lnTo>
                    <a:lnTo>
                      <a:pt x="121" y="298"/>
                    </a:lnTo>
                    <a:lnTo>
                      <a:pt x="93" y="290"/>
                    </a:lnTo>
                    <a:lnTo>
                      <a:pt x="66" y="275"/>
                    </a:lnTo>
                    <a:lnTo>
                      <a:pt x="44" y="258"/>
                    </a:lnTo>
                    <a:lnTo>
                      <a:pt x="26" y="235"/>
                    </a:lnTo>
                    <a:lnTo>
                      <a:pt x="12" y="210"/>
                    </a:lnTo>
                    <a:lnTo>
                      <a:pt x="4" y="181"/>
                    </a:lnTo>
                    <a:lnTo>
                      <a:pt x="0" y="150"/>
                    </a:lnTo>
                    <a:lnTo>
                      <a:pt x="4" y="120"/>
                    </a:lnTo>
                    <a:lnTo>
                      <a:pt x="12" y="92"/>
                    </a:lnTo>
                    <a:lnTo>
                      <a:pt x="26" y="66"/>
                    </a:lnTo>
                    <a:lnTo>
                      <a:pt x="44" y="44"/>
                    </a:lnTo>
                    <a:lnTo>
                      <a:pt x="66" y="26"/>
                    </a:lnTo>
                    <a:lnTo>
                      <a:pt x="93" y="12"/>
                    </a:lnTo>
                    <a:lnTo>
                      <a:pt x="121" y="3"/>
                    </a:lnTo>
                    <a:lnTo>
                      <a:pt x="15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36" name="Freeform 313">
                <a:extLst>
                  <a:ext uri="{FF2B5EF4-FFF2-40B4-BE49-F238E27FC236}">
                    <a16:creationId xmlns:a16="http://schemas.microsoft.com/office/drawing/2014/main" id="{040551B8-226D-466A-BD47-20A8CFA15C8F}"/>
                  </a:ext>
                </a:extLst>
              </p:cNvPr>
              <p:cNvSpPr>
                <a:spLocks/>
              </p:cNvSpPr>
              <p:nvPr/>
            </p:nvSpPr>
            <p:spPr bwMode="auto">
              <a:xfrm>
                <a:off x="6604000" y="4284663"/>
                <a:ext cx="125413" cy="44450"/>
              </a:xfrm>
              <a:custGeom>
                <a:avLst/>
                <a:gdLst>
                  <a:gd name="T0" fmla="*/ 151 w 870"/>
                  <a:gd name="T1" fmla="*/ 0 h 301"/>
                  <a:gd name="T2" fmla="*/ 720 w 870"/>
                  <a:gd name="T3" fmla="*/ 0 h 301"/>
                  <a:gd name="T4" fmla="*/ 750 w 870"/>
                  <a:gd name="T5" fmla="*/ 4 h 301"/>
                  <a:gd name="T6" fmla="*/ 778 w 870"/>
                  <a:gd name="T7" fmla="*/ 12 h 301"/>
                  <a:gd name="T8" fmla="*/ 805 w 870"/>
                  <a:gd name="T9" fmla="*/ 26 h 301"/>
                  <a:gd name="T10" fmla="*/ 827 w 870"/>
                  <a:gd name="T11" fmla="*/ 44 h 301"/>
                  <a:gd name="T12" fmla="*/ 845 w 870"/>
                  <a:gd name="T13" fmla="*/ 67 h 301"/>
                  <a:gd name="T14" fmla="*/ 859 w 870"/>
                  <a:gd name="T15" fmla="*/ 92 h 301"/>
                  <a:gd name="T16" fmla="*/ 867 w 870"/>
                  <a:gd name="T17" fmla="*/ 120 h 301"/>
                  <a:gd name="T18" fmla="*/ 870 w 870"/>
                  <a:gd name="T19" fmla="*/ 151 h 301"/>
                  <a:gd name="T20" fmla="*/ 867 w 870"/>
                  <a:gd name="T21" fmla="*/ 181 h 301"/>
                  <a:gd name="T22" fmla="*/ 859 w 870"/>
                  <a:gd name="T23" fmla="*/ 209 h 301"/>
                  <a:gd name="T24" fmla="*/ 845 w 870"/>
                  <a:gd name="T25" fmla="*/ 234 h 301"/>
                  <a:gd name="T26" fmla="*/ 827 w 870"/>
                  <a:gd name="T27" fmla="*/ 257 h 301"/>
                  <a:gd name="T28" fmla="*/ 805 w 870"/>
                  <a:gd name="T29" fmla="*/ 275 h 301"/>
                  <a:gd name="T30" fmla="*/ 778 w 870"/>
                  <a:gd name="T31" fmla="*/ 290 h 301"/>
                  <a:gd name="T32" fmla="*/ 750 w 870"/>
                  <a:gd name="T33" fmla="*/ 298 h 301"/>
                  <a:gd name="T34" fmla="*/ 720 w 870"/>
                  <a:gd name="T35" fmla="*/ 301 h 301"/>
                  <a:gd name="T36" fmla="*/ 151 w 870"/>
                  <a:gd name="T37" fmla="*/ 301 h 301"/>
                  <a:gd name="T38" fmla="*/ 121 w 870"/>
                  <a:gd name="T39" fmla="*/ 298 h 301"/>
                  <a:gd name="T40" fmla="*/ 93 w 870"/>
                  <a:gd name="T41" fmla="*/ 290 h 301"/>
                  <a:gd name="T42" fmla="*/ 66 w 870"/>
                  <a:gd name="T43" fmla="*/ 275 h 301"/>
                  <a:gd name="T44" fmla="*/ 44 w 870"/>
                  <a:gd name="T45" fmla="*/ 257 h 301"/>
                  <a:gd name="T46" fmla="*/ 26 w 870"/>
                  <a:gd name="T47" fmla="*/ 234 h 301"/>
                  <a:gd name="T48" fmla="*/ 12 w 870"/>
                  <a:gd name="T49" fmla="*/ 209 h 301"/>
                  <a:gd name="T50" fmla="*/ 4 w 870"/>
                  <a:gd name="T51" fmla="*/ 181 h 301"/>
                  <a:gd name="T52" fmla="*/ 0 w 870"/>
                  <a:gd name="T53" fmla="*/ 151 h 301"/>
                  <a:gd name="T54" fmla="*/ 4 w 870"/>
                  <a:gd name="T55" fmla="*/ 120 h 301"/>
                  <a:gd name="T56" fmla="*/ 12 w 870"/>
                  <a:gd name="T57" fmla="*/ 92 h 301"/>
                  <a:gd name="T58" fmla="*/ 26 w 870"/>
                  <a:gd name="T59" fmla="*/ 67 h 301"/>
                  <a:gd name="T60" fmla="*/ 44 w 870"/>
                  <a:gd name="T61" fmla="*/ 44 h 301"/>
                  <a:gd name="T62" fmla="*/ 66 w 870"/>
                  <a:gd name="T63" fmla="*/ 26 h 301"/>
                  <a:gd name="T64" fmla="*/ 93 w 870"/>
                  <a:gd name="T65" fmla="*/ 12 h 301"/>
                  <a:gd name="T66" fmla="*/ 121 w 870"/>
                  <a:gd name="T67" fmla="*/ 4 h 301"/>
                  <a:gd name="T68" fmla="*/ 151 w 870"/>
                  <a:gd name="T69" fmla="*/ 0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70" h="301">
                    <a:moveTo>
                      <a:pt x="151" y="0"/>
                    </a:moveTo>
                    <a:lnTo>
                      <a:pt x="720" y="0"/>
                    </a:lnTo>
                    <a:lnTo>
                      <a:pt x="750" y="4"/>
                    </a:lnTo>
                    <a:lnTo>
                      <a:pt x="778" y="12"/>
                    </a:lnTo>
                    <a:lnTo>
                      <a:pt x="805" y="26"/>
                    </a:lnTo>
                    <a:lnTo>
                      <a:pt x="827" y="44"/>
                    </a:lnTo>
                    <a:lnTo>
                      <a:pt x="845" y="67"/>
                    </a:lnTo>
                    <a:lnTo>
                      <a:pt x="859" y="92"/>
                    </a:lnTo>
                    <a:lnTo>
                      <a:pt x="867" y="120"/>
                    </a:lnTo>
                    <a:lnTo>
                      <a:pt x="870" y="151"/>
                    </a:lnTo>
                    <a:lnTo>
                      <a:pt x="867" y="181"/>
                    </a:lnTo>
                    <a:lnTo>
                      <a:pt x="859" y="209"/>
                    </a:lnTo>
                    <a:lnTo>
                      <a:pt x="845" y="234"/>
                    </a:lnTo>
                    <a:lnTo>
                      <a:pt x="827" y="257"/>
                    </a:lnTo>
                    <a:lnTo>
                      <a:pt x="805" y="275"/>
                    </a:lnTo>
                    <a:lnTo>
                      <a:pt x="778" y="290"/>
                    </a:lnTo>
                    <a:lnTo>
                      <a:pt x="750" y="298"/>
                    </a:lnTo>
                    <a:lnTo>
                      <a:pt x="720" y="301"/>
                    </a:lnTo>
                    <a:lnTo>
                      <a:pt x="151" y="301"/>
                    </a:lnTo>
                    <a:lnTo>
                      <a:pt x="121" y="298"/>
                    </a:lnTo>
                    <a:lnTo>
                      <a:pt x="93" y="290"/>
                    </a:lnTo>
                    <a:lnTo>
                      <a:pt x="66" y="275"/>
                    </a:lnTo>
                    <a:lnTo>
                      <a:pt x="44" y="257"/>
                    </a:lnTo>
                    <a:lnTo>
                      <a:pt x="26" y="234"/>
                    </a:lnTo>
                    <a:lnTo>
                      <a:pt x="12" y="209"/>
                    </a:lnTo>
                    <a:lnTo>
                      <a:pt x="4" y="181"/>
                    </a:lnTo>
                    <a:lnTo>
                      <a:pt x="0" y="151"/>
                    </a:lnTo>
                    <a:lnTo>
                      <a:pt x="4" y="120"/>
                    </a:lnTo>
                    <a:lnTo>
                      <a:pt x="12" y="92"/>
                    </a:lnTo>
                    <a:lnTo>
                      <a:pt x="26" y="67"/>
                    </a:lnTo>
                    <a:lnTo>
                      <a:pt x="44" y="44"/>
                    </a:lnTo>
                    <a:lnTo>
                      <a:pt x="66" y="26"/>
                    </a:lnTo>
                    <a:lnTo>
                      <a:pt x="93" y="12"/>
                    </a:lnTo>
                    <a:lnTo>
                      <a:pt x="121" y="4"/>
                    </a:lnTo>
                    <a:lnTo>
                      <a:pt x="15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37" name="Freeform 314">
                <a:extLst>
                  <a:ext uri="{FF2B5EF4-FFF2-40B4-BE49-F238E27FC236}">
                    <a16:creationId xmlns:a16="http://schemas.microsoft.com/office/drawing/2014/main" id="{AB8814C8-C1DA-4255-BD2D-8B025E74A819}"/>
                  </a:ext>
                </a:extLst>
              </p:cNvPr>
              <p:cNvSpPr>
                <a:spLocks/>
              </p:cNvSpPr>
              <p:nvPr/>
            </p:nvSpPr>
            <p:spPr bwMode="auto">
              <a:xfrm>
                <a:off x="6521450" y="4037013"/>
                <a:ext cx="371475" cy="477838"/>
              </a:xfrm>
              <a:custGeom>
                <a:avLst/>
                <a:gdLst>
                  <a:gd name="T0" fmla="*/ 152 w 2574"/>
                  <a:gd name="T1" fmla="*/ 0 h 3310"/>
                  <a:gd name="T2" fmla="*/ 2423 w 2574"/>
                  <a:gd name="T3" fmla="*/ 0 h 3310"/>
                  <a:gd name="T4" fmla="*/ 2453 w 2574"/>
                  <a:gd name="T5" fmla="*/ 3 h 3310"/>
                  <a:gd name="T6" fmla="*/ 2481 w 2574"/>
                  <a:gd name="T7" fmla="*/ 12 h 3310"/>
                  <a:gd name="T8" fmla="*/ 2507 w 2574"/>
                  <a:gd name="T9" fmla="*/ 26 h 3310"/>
                  <a:gd name="T10" fmla="*/ 2529 w 2574"/>
                  <a:gd name="T11" fmla="*/ 44 h 3310"/>
                  <a:gd name="T12" fmla="*/ 2548 w 2574"/>
                  <a:gd name="T13" fmla="*/ 67 h 3310"/>
                  <a:gd name="T14" fmla="*/ 2562 w 2574"/>
                  <a:gd name="T15" fmla="*/ 92 h 3310"/>
                  <a:gd name="T16" fmla="*/ 2571 w 2574"/>
                  <a:gd name="T17" fmla="*/ 120 h 3310"/>
                  <a:gd name="T18" fmla="*/ 2574 w 2574"/>
                  <a:gd name="T19" fmla="*/ 150 h 3310"/>
                  <a:gd name="T20" fmla="*/ 2574 w 2574"/>
                  <a:gd name="T21" fmla="*/ 374 h 3310"/>
                  <a:gd name="T22" fmla="*/ 2272 w 2574"/>
                  <a:gd name="T23" fmla="*/ 896 h 3310"/>
                  <a:gd name="T24" fmla="*/ 2272 w 2574"/>
                  <a:gd name="T25" fmla="*/ 301 h 3310"/>
                  <a:gd name="T26" fmla="*/ 304 w 2574"/>
                  <a:gd name="T27" fmla="*/ 301 h 3310"/>
                  <a:gd name="T28" fmla="*/ 304 w 2574"/>
                  <a:gd name="T29" fmla="*/ 3008 h 3310"/>
                  <a:gd name="T30" fmla="*/ 2272 w 2574"/>
                  <a:gd name="T31" fmla="*/ 3008 h 3310"/>
                  <a:gd name="T32" fmla="*/ 2272 w 2574"/>
                  <a:gd name="T33" fmla="*/ 2634 h 3310"/>
                  <a:gd name="T34" fmla="*/ 2430 w 2574"/>
                  <a:gd name="T35" fmla="*/ 2530 h 3310"/>
                  <a:gd name="T36" fmla="*/ 2458 w 2574"/>
                  <a:gd name="T37" fmla="*/ 2508 h 3310"/>
                  <a:gd name="T38" fmla="*/ 2482 w 2574"/>
                  <a:gd name="T39" fmla="*/ 2483 h 3310"/>
                  <a:gd name="T40" fmla="*/ 2502 w 2574"/>
                  <a:gd name="T41" fmla="*/ 2454 h 3310"/>
                  <a:gd name="T42" fmla="*/ 2574 w 2574"/>
                  <a:gd name="T43" fmla="*/ 2330 h 3310"/>
                  <a:gd name="T44" fmla="*/ 2574 w 2574"/>
                  <a:gd name="T45" fmla="*/ 3159 h 3310"/>
                  <a:gd name="T46" fmla="*/ 2571 w 2574"/>
                  <a:gd name="T47" fmla="*/ 3189 h 3310"/>
                  <a:gd name="T48" fmla="*/ 2562 w 2574"/>
                  <a:gd name="T49" fmla="*/ 3217 h 3310"/>
                  <a:gd name="T50" fmla="*/ 2548 w 2574"/>
                  <a:gd name="T51" fmla="*/ 3243 h 3310"/>
                  <a:gd name="T52" fmla="*/ 2529 w 2574"/>
                  <a:gd name="T53" fmla="*/ 3265 h 3310"/>
                  <a:gd name="T54" fmla="*/ 2507 w 2574"/>
                  <a:gd name="T55" fmla="*/ 3284 h 3310"/>
                  <a:gd name="T56" fmla="*/ 2481 w 2574"/>
                  <a:gd name="T57" fmla="*/ 3297 h 3310"/>
                  <a:gd name="T58" fmla="*/ 2453 w 2574"/>
                  <a:gd name="T59" fmla="*/ 3307 h 3310"/>
                  <a:gd name="T60" fmla="*/ 2423 w 2574"/>
                  <a:gd name="T61" fmla="*/ 3310 h 3310"/>
                  <a:gd name="T62" fmla="*/ 152 w 2574"/>
                  <a:gd name="T63" fmla="*/ 3310 h 3310"/>
                  <a:gd name="T64" fmla="*/ 121 w 2574"/>
                  <a:gd name="T65" fmla="*/ 3307 h 3310"/>
                  <a:gd name="T66" fmla="*/ 93 w 2574"/>
                  <a:gd name="T67" fmla="*/ 3297 h 3310"/>
                  <a:gd name="T68" fmla="*/ 67 w 2574"/>
                  <a:gd name="T69" fmla="*/ 3284 h 3310"/>
                  <a:gd name="T70" fmla="*/ 45 w 2574"/>
                  <a:gd name="T71" fmla="*/ 3265 h 3310"/>
                  <a:gd name="T72" fmla="*/ 26 w 2574"/>
                  <a:gd name="T73" fmla="*/ 3243 h 3310"/>
                  <a:gd name="T74" fmla="*/ 13 w 2574"/>
                  <a:gd name="T75" fmla="*/ 3217 h 3310"/>
                  <a:gd name="T76" fmla="*/ 3 w 2574"/>
                  <a:gd name="T77" fmla="*/ 3189 h 3310"/>
                  <a:gd name="T78" fmla="*/ 0 w 2574"/>
                  <a:gd name="T79" fmla="*/ 3159 h 3310"/>
                  <a:gd name="T80" fmla="*/ 0 w 2574"/>
                  <a:gd name="T81" fmla="*/ 150 h 3310"/>
                  <a:gd name="T82" fmla="*/ 3 w 2574"/>
                  <a:gd name="T83" fmla="*/ 120 h 3310"/>
                  <a:gd name="T84" fmla="*/ 13 w 2574"/>
                  <a:gd name="T85" fmla="*/ 92 h 3310"/>
                  <a:gd name="T86" fmla="*/ 26 w 2574"/>
                  <a:gd name="T87" fmla="*/ 67 h 3310"/>
                  <a:gd name="T88" fmla="*/ 45 w 2574"/>
                  <a:gd name="T89" fmla="*/ 44 h 3310"/>
                  <a:gd name="T90" fmla="*/ 67 w 2574"/>
                  <a:gd name="T91" fmla="*/ 26 h 3310"/>
                  <a:gd name="T92" fmla="*/ 93 w 2574"/>
                  <a:gd name="T93" fmla="*/ 12 h 3310"/>
                  <a:gd name="T94" fmla="*/ 121 w 2574"/>
                  <a:gd name="T95" fmla="*/ 3 h 3310"/>
                  <a:gd name="T96" fmla="*/ 152 w 2574"/>
                  <a:gd name="T97" fmla="*/ 0 h 3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574" h="3310">
                    <a:moveTo>
                      <a:pt x="152" y="0"/>
                    </a:moveTo>
                    <a:lnTo>
                      <a:pt x="2423" y="0"/>
                    </a:lnTo>
                    <a:lnTo>
                      <a:pt x="2453" y="3"/>
                    </a:lnTo>
                    <a:lnTo>
                      <a:pt x="2481" y="12"/>
                    </a:lnTo>
                    <a:lnTo>
                      <a:pt x="2507" y="26"/>
                    </a:lnTo>
                    <a:lnTo>
                      <a:pt x="2529" y="44"/>
                    </a:lnTo>
                    <a:lnTo>
                      <a:pt x="2548" y="67"/>
                    </a:lnTo>
                    <a:lnTo>
                      <a:pt x="2562" y="92"/>
                    </a:lnTo>
                    <a:lnTo>
                      <a:pt x="2571" y="120"/>
                    </a:lnTo>
                    <a:lnTo>
                      <a:pt x="2574" y="150"/>
                    </a:lnTo>
                    <a:lnTo>
                      <a:pt x="2574" y="374"/>
                    </a:lnTo>
                    <a:lnTo>
                      <a:pt x="2272" y="896"/>
                    </a:lnTo>
                    <a:lnTo>
                      <a:pt x="2272" y="301"/>
                    </a:lnTo>
                    <a:lnTo>
                      <a:pt x="304" y="301"/>
                    </a:lnTo>
                    <a:lnTo>
                      <a:pt x="304" y="3008"/>
                    </a:lnTo>
                    <a:lnTo>
                      <a:pt x="2272" y="3008"/>
                    </a:lnTo>
                    <a:lnTo>
                      <a:pt x="2272" y="2634"/>
                    </a:lnTo>
                    <a:lnTo>
                      <a:pt x="2430" y="2530"/>
                    </a:lnTo>
                    <a:lnTo>
                      <a:pt x="2458" y="2508"/>
                    </a:lnTo>
                    <a:lnTo>
                      <a:pt x="2482" y="2483"/>
                    </a:lnTo>
                    <a:lnTo>
                      <a:pt x="2502" y="2454"/>
                    </a:lnTo>
                    <a:lnTo>
                      <a:pt x="2574" y="2330"/>
                    </a:lnTo>
                    <a:lnTo>
                      <a:pt x="2574" y="3159"/>
                    </a:lnTo>
                    <a:lnTo>
                      <a:pt x="2571" y="3189"/>
                    </a:lnTo>
                    <a:lnTo>
                      <a:pt x="2562" y="3217"/>
                    </a:lnTo>
                    <a:lnTo>
                      <a:pt x="2548" y="3243"/>
                    </a:lnTo>
                    <a:lnTo>
                      <a:pt x="2529" y="3265"/>
                    </a:lnTo>
                    <a:lnTo>
                      <a:pt x="2507" y="3284"/>
                    </a:lnTo>
                    <a:lnTo>
                      <a:pt x="2481" y="3297"/>
                    </a:lnTo>
                    <a:lnTo>
                      <a:pt x="2453" y="3307"/>
                    </a:lnTo>
                    <a:lnTo>
                      <a:pt x="2423" y="3310"/>
                    </a:lnTo>
                    <a:lnTo>
                      <a:pt x="152" y="3310"/>
                    </a:lnTo>
                    <a:lnTo>
                      <a:pt x="121" y="3307"/>
                    </a:lnTo>
                    <a:lnTo>
                      <a:pt x="93" y="3297"/>
                    </a:lnTo>
                    <a:lnTo>
                      <a:pt x="67" y="3284"/>
                    </a:lnTo>
                    <a:lnTo>
                      <a:pt x="45" y="3265"/>
                    </a:lnTo>
                    <a:lnTo>
                      <a:pt x="26" y="3243"/>
                    </a:lnTo>
                    <a:lnTo>
                      <a:pt x="13" y="3217"/>
                    </a:lnTo>
                    <a:lnTo>
                      <a:pt x="3" y="3189"/>
                    </a:lnTo>
                    <a:lnTo>
                      <a:pt x="0" y="3159"/>
                    </a:lnTo>
                    <a:lnTo>
                      <a:pt x="0" y="150"/>
                    </a:lnTo>
                    <a:lnTo>
                      <a:pt x="3" y="120"/>
                    </a:lnTo>
                    <a:lnTo>
                      <a:pt x="13" y="92"/>
                    </a:lnTo>
                    <a:lnTo>
                      <a:pt x="26" y="67"/>
                    </a:lnTo>
                    <a:lnTo>
                      <a:pt x="45" y="44"/>
                    </a:lnTo>
                    <a:lnTo>
                      <a:pt x="67" y="26"/>
                    </a:lnTo>
                    <a:lnTo>
                      <a:pt x="93" y="12"/>
                    </a:lnTo>
                    <a:lnTo>
                      <a:pt x="121" y="3"/>
                    </a:lnTo>
                    <a:lnTo>
                      <a:pt x="15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38" name="Freeform 315">
                <a:extLst>
                  <a:ext uri="{FF2B5EF4-FFF2-40B4-BE49-F238E27FC236}">
                    <a16:creationId xmlns:a16="http://schemas.microsoft.com/office/drawing/2014/main" id="{F76005D6-5F4E-44C1-B329-DA62723F13B7}"/>
                  </a:ext>
                </a:extLst>
              </p:cNvPr>
              <p:cNvSpPr>
                <a:spLocks noEditPoints="1"/>
              </p:cNvSpPr>
              <p:nvPr/>
            </p:nvSpPr>
            <p:spPr bwMode="auto">
              <a:xfrm>
                <a:off x="6772275" y="4090988"/>
                <a:ext cx="228600" cy="341313"/>
              </a:xfrm>
              <a:custGeom>
                <a:avLst/>
                <a:gdLst>
                  <a:gd name="T0" fmla="*/ 131 w 1591"/>
                  <a:gd name="T1" fmla="*/ 1996 h 2370"/>
                  <a:gd name="T2" fmla="*/ 223 w 1591"/>
                  <a:gd name="T3" fmla="*/ 2040 h 2370"/>
                  <a:gd name="T4" fmla="*/ 308 w 1591"/>
                  <a:gd name="T5" fmla="*/ 2097 h 2370"/>
                  <a:gd name="T6" fmla="*/ 439 w 1591"/>
                  <a:gd name="T7" fmla="*/ 1980 h 2370"/>
                  <a:gd name="T8" fmla="*/ 389 w 1591"/>
                  <a:gd name="T9" fmla="*/ 1934 h 2370"/>
                  <a:gd name="T10" fmla="*/ 314 w 1591"/>
                  <a:gd name="T11" fmla="*/ 1883 h 2370"/>
                  <a:gd name="T12" fmla="*/ 245 w 1591"/>
                  <a:gd name="T13" fmla="*/ 1849 h 2370"/>
                  <a:gd name="T14" fmla="*/ 187 w 1591"/>
                  <a:gd name="T15" fmla="*/ 1829 h 2370"/>
                  <a:gd name="T16" fmla="*/ 141 w 1591"/>
                  <a:gd name="T17" fmla="*/ 1820 h 2370"/>
                  <a:gd name="T18" fmla="*/ 1118 w 1591"/>
                  <a:gd name="T19" fmla="*/ 0 h 2370"/>
                  <a:gd name="T20" fmla="*/ 1173 w 1591"/>
                  <a:gd name="T21" fmla="*/ 7 h 2370"/>
                  <a:gd name="T22" fmla="*/ 1240 w 1591"/>
                  <a:gd name="T23" fmla="*/ 25 h 2370"/>
                  <a:gd name="T24" fmla="*/ 1319 w 1591"/>
                  <a:gd name="T25" fmla="*/ 57 h 2370"/>
                  <a:gd name="T26" fmla="*/ 1407 w 1591"/>
                  <a:gd name="T27" fmla="*/ 108 h 2370"/>
                  <a:gd name="T28" fmla="*/ 1478 w 1591"/>
                  <a:gd name="T29" fmla="*/ 163 h 2370"/>
                  <a:gd name="T30" fmla="*/ 1528 w 1591"/>
                  <a:gd name="T31" fmla="*/ 215 h 2370"/>
                  <a:gd name="T32" fmla="*/ 1561 w 1591"/>
                  <a:gd name="T33" fmla="*/ 261 h 2370"/>
                  <a:gd name="T34" fmla="*/ 1580 w 1591"/>
                  <a:gd name="T35" fmla="*/ 297 h 2370"/>
                  <a:gd name="T36" fmla="*/ 1588 w 1591"/>
                  <a:gd name="T37" fmla="*/ 320 h 2370"/>
                  <a:gd name="T38" fmla="*/ 1591 w 1591"/>
                  <a:gd name="T39" fmla="*/ 344 h 2370"/>
                  <a:gd name="T40" fmla="*/ 1581 w 1591"/>
                  <a:gd name="T41" fmla="*/ 379 h 2370"/>
                  <a:gd name="T42" fmla="*/ 625 w 1591"/>
                  <a:gd name="T43" fmla="*/ 2021 h 2370"/>
                  <a:gd name="T44" fmla="*/ 116 w 1591"/>
                  <a:gd name="T45" fmla="*/ 2357 h 2370"/>
                  <a:gd name="T46" fmla="*/ 77 w 1591"/>
                  <a:gd name="T47" fmla="*/ 2370 h 2370"/>
                  <a:gd name="T48" fmla="*/ 36 w 1591"/>
                  <a:gd name="T49" fmla="*/ 2359 h 2370"/>
                  <a:gd name="T50" fmla="*/ 12 w 1591"/>
                  <a:gd name="T51" fmla="*/ 2338 h 2370"/>
                  <a:gd name="T52" fmla="*/ 0 w 1591"/>
                  <a:gd name="T53" fmla="*/ 2306 h 2370"/>
                  <a:gd name="T54" fmla="*/ 34 w 1591"/>
                  <a:gd name="T55" fmla="*/ 1702 h 2370"/>
                  <a:gd name="T56" fmla="*/ 45 w 1591"/>
                  <a:gd name="T57" fmla="*/ 1670 h 2370"/>
                  <a:gd name="T58" fmla="*/ 1002 w 1591"/>
                  <a:gd name="T59" fmla="*/ 27 h 2370"/>
                  <a:gd name="T60" fmla="*/ 1034 w 1591"/>
                  <a:gd name="T61" fmla="*/ 7 h 2370"/>
                  <a:gd name="T62" fmla="*/ 1048 w 1591"/>
                  <a:gd name="T63" fmla="*/ 4 h 2370"/>
                  <a:gd name="T64" fmla="*/ 1076 w 1591"/>
                  <a:gd name="T65" fmla="*/ 0 h 2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591" h="2370">
                    <a:moveTo>
                      <a:pt x="141" y="1820"/>
                    </a:moveTo>
                    <a:lnTo>
                      <a:pt x="131" y="1996"/>
                    </a:lnTo>
                    <a:lnTo>
                      <a:pt x="177" y="2016"/>
                    </a:lnTo>
                    <a:lnTo>
                      <a:pt x="223" y="2040"/>
                    </a:lnTo>
                    <a:lnTo>
                      <a:pt x="267" y="2067"/>
                    </a:lnTo>
                    <a:lnTo>
                      <a:pt x="308" y="2097"/>
                    </a:lnTo>
                    <a:lnTo>
                      <a:pt x="455" y="2000"/>
                    </a:lnTo>
                    <a:lnTo>
                      <a:pt x="439" y="1980"/>
                    </a:lnTo>
                    <a:lnTo>
                      <a:pt x="417" y="1958"/>
                    </a:lnTo>
                    <a:lnTo>
                      <a:pt x="389" y="1934"/>
                    </a:lnTo>
                    <a:lnTo>
                      <a:pt x="355" y="1909"/>
                    </a:lnTo>
                    <a:lnTo>
                      <a:pt x="314" y="1883"/>
                    </a:lnTo>
                    <a:lnTo>
                      <a:pt x="278" y="1864"/>
                    </a:lnTo>
                    <a:lnTo>
                      <a:pt x="245" y="1849"/>
                    </a:lnTo>
                    <a:lnTo>
                      <a:pt x="214" y="1837"/>
                    </a:lnTo>
                    <a:lnTo>
                      <a:pt x="187" y="1829"/>
                    </a:lnTo>
                    <a:lnTo>
                      <a:pt x="163" y="1824"/>
                    </a:lnTo>
                    <a:lnTo>
                      <a:pt x="141" y="1820"/>
                    </a:lnTo>
                    <a:close/>
                    <a:moveTo>
                      <a:pt x="1095" y="0"/>
                    </a:moveTo>
                    <a:lnTo>
                      <a:pt x="1118" y="0"/>
                    </a:lnTo>
                    <a:lnTo>
                      <a:pt x="1144" y="2"/>
                    </a:lnTo>
                    <a:lnTo>
                      <a:pt x="1173" y="7"/>
                    </a:lnTo>
                    <a:lnTo>
                      <a:pt x="1205" y="14"/>
                    </a:lnTo>
                    <a:lnTo>
                      <a:pt x="1240" y="25"/>
                    </a:lnTo>
                    <a:lnTo>
                      <a:pt x="1278" y="39"/>
                    </a:lnTo>
                    <a:lnTo>
                      <a:pt x="1319" y="57"/>
                    </a:lnTo>
                    <a:lnTo>
                      <a:pt x="1362" y="81"/>
                    </a:lnTo>
                    <a:lnTo>
                      <a:pt x="1407" y="108"/>
                    </a:lnTo>
                    <a:lnTo>
                      <a:pt x="1446" y="136"/>
                    </a:lnTo>
                    <a:lnTo>
                      <a:pt x="1478" y="163"/>
                    </a:lnTo>
                    <a:lnTo>
                      <a:pt x="1505" y="190"/>
                    </a:lnTo>
                    <a:lnTo>
                      <a:pt x="1528" y="215"/>
                    </a:lnTo>
                    <a:lnTo>
                      <a:pt x="1546" y="239"/>
                    </a:lnTo>
                    <a:lnTo>
                      <a:pt x="1561" y="261"/>
                    </a:lnTo>
                    <a:lnTo>
                      <a:pt x="1571" y="280"/>
                    </a:lnTo>
                    <a:lnTo>
                      <a:pt x="1580" y="297"/>
                    </a:lnTo>
                    <a:lnTo>
                      <a:pt x="1585" y="311"/>
                    </a:lnTo>
                    <a:lnTo>
                      <a:pt x="1588" y="320"/>
                    </a:lnTo>
                    <a:lnTo>
                      <a:pt x="1589" y="325"/>
                    </a:lnTo>
                    <a:lnTo>
                      <a:pt x="1591" y="344"/>
                    </a:lnTo>
                    <a:lnTo>
                      <a:pt x="1588" y="363"/>
                    </a:lnTo>
                    <a:lnTo>
                      <a:pt x="1581" y="379"/>
                    </a:lnTo>
                    <a:lnTo>
                      <a:pt x="634" y="2008"/>
                    </a:lnTo>
                    <a:lnTo>
                      <a:pt x="625" y="2021"/>
                    </a:lnTo>
                    <a:lnTo>
                      <a:pt x="611" y="2033"/>
                    </a:lnTo>
                    <a:lnTo>
                      <a:pt x="116" y="2357"/>
                    </a:lnTo>
                    <a:lnTo>
                      <a:pt x="97" y="2367"/>
                    </a:lnTo>
                    <a:lnTo>
                      <a:pt x="77" y="2370"/>
                    </a:lnTo>
                    <a:lnTo>
                      <a:pt x="56" y="2368"/>
                    </a:lnTo>
                    <a:lnTo>
                      <a:pt x="36" y="2359"/>
                    </a:lnTo>
                    <a:lnTo>
                      <a:pt x="23" y="2350"/>
                    </a:lnTo>
                    <a:lnTo>
                      <a:pt x="12" y="2338"/>
                    </a:lnTo>
                    <a:lnTo>
                      <a:pt x="5" y="2323"/>
                    </a:lnTo>
                    <a:lnTo>
                      <a:pt x="0" y="2306"/>
                    </a:lnTo>
                    <a:lnTo>
                      <a:pt x="0" y="2290"/>
                    </a:lnTo>
                    <a:lnTo>
                      <a:pt x="34" y="1702"/>
                    </a:lnTo>
                    <a:lnTo>
                      <a:pt x="38" y="1685"/>
                    </a:lnTo>
                    <a:lnTo>
                      <a:pt x="45" y="1670"/>
                    </a:lnTo>
                    <a:lnTo>
                      <a:pt x="991" y="41"/>
                    </a:lnTo>
                    <a:lnTo>
                      <a:pt x="1002" y="27"/>
                    </a:lnTo>
                    <a:lnTo>
                      <a:pt x="1016" y="15"/>
                    </a:lnTo>
                    <a:lnTo>
                      <a:pt x="1034" y="7"/>
                    </a:lnTo>
                    <a:lnTo>
                      <a:pt x="1038" y="6"/>
                    </a:lnTo>
                    <a:lnTo>
                      <a:pt x="1048" y="4"/>
                    </a:lnTo>
                    <a:lnTo>
                      <a:pt x="1060" y="2"/>
                    </a:lnTo>
                    <a:lnTo>
                      <a:pt x="1076" y="0"/>
                    </a:lnTo>
                    <a:lnTo>
                      <a:pt x="109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39" name="Freeform 316">
                <a:extLst>
                  <a:ext uri="{FF2B5EF4-FFF2-40B4-BE49-F238E27FC236}">
                    <a16:creationId xmlns:a16="http://schemas.microsoft.com/office/drawing/2014/main" id="{53CCCADB-9CFA-43DE-B59B-3932550C6FDD}"/>
                  </a:ext>
                </a:extLst>
              </p:cNvPr>
              <p:cNvSpPr>
                <a:spLocks/>
              </p:cNvSpPr>
              <p:nvPr/>
            </p:nvSpPr>
            <p:spPr bwMode="auto">
              <a:xfrm>
                <a:off x="6591300" y="4365625"/>
                <a:ext cx="166688" cy="84138"/>
              </a:xfrm>
              <a:custGeom>
                <a:avLst/>
                <a:gdLst>
                  <a:gd name="T0" fmla="*/ 557 w 1155"/>
                  <a:gd name="T1" fmla="*/ 5 h 591"/>
                  <a:gd name="T2" fmla="*/ 583 w 1155"/>
                  <a:gd name="T3" fmla="*/ 28 h 591"/>
                  <a:gd name="T4" fmla="*/ 591 w 1155"/>
                  <a:gd name="T5" fmla="*/ 111 h 591"/>
                  <a:gd name="T6" fmla="*/ 560 w 1155"/>
                  <a:gd name="T7" fmla="*/ 199 h 591"/>
                  <a:gd name="T8" fmla="*/ 569 w 1155"/>
                  <a:gd name="T9" fmla="*/ 242 h 591"/>
                  <a:gd name="T10" fmla="*/ 587 w 1155"/>
                  <a:gd name="T11" fmla="*/ 270 h 591"/>
                  <a:gd name="T12" fmla="*/ 637 w 1155"/>
                  <a:gd name="T13" fmla="*/ 278 h 591"/>
                  <a:gd name="T14" fmla="*/ 681 w 1155"/>
                  <a:gd name="T15" fmla="*/ 323 h 591"/>
                  <a:gd name="T16" fmla="*/ 693 w 1155"/>
                  <a:gd name="T17" fmla="*/ 357 h 591"/>
                  <a:gd name="T18" fmla="*/ 847 w 1155"/>
                  <a:gd name="T19" fmla="*/ 351 h 591"/>
                  <a:gd name="T20" fmla="*/ 996 w 1155"/>
                  <a:gd name="T21" fmla="*/ 366 h 591"/>
                  <a:gd name="T22" fmla="*/ 1118 w 1155"/>
                  <a:gd name="T23" fmla="*/ 373 h 591"/>
                  <a:gd name="T24" fmla="*/ 1149 w 1155"/>
                  <a:gd name="T25" fmla="*/ 400 h 591"/>
                  <a:gd name="T26" fmla="*/ 1154 w 1155"/>
                  <a:gd name="T27" fmla="*/ 441 h 591"/>
                  <a:gd name="T28" fmla="*/ 1131 w 1155"/>
                  <a:gd name="T29" fmla="*/ 475 h 591"/>
                  <a:gd name="T30" fmla="*/ 1066 w 1155"/>
                  <a:gd name="T31" fmla="*/ 482 h 591"/>
                  <a:gd name="T32" fmla="*/ 957 w 1155"/>
                  <a:gd name="T33" fmla="*/ 467 h 591"/>
                  <a:gd name="T34" fmla="*/ 843 w 1155"/>
                  <a:gd name="T35" fmla="*/ 452 h 591"/>
                  <a:gd name="T36" fmla="*/ 738 w 1155"/>
                  <a:gd name="T37" fmla="*/ 461 h 591"/>
                  <a:gd name="T38" fmla="*/ 679 w 1155"/>
                  <a:gd name="T39" fmla="*/ 486 h 591"/>
                  <a:gd name="T40" fmla="*/ 636 w 1155"/>
                  <a:gd name="T41" fmla="*/ 492 h 591"/>
                  <a:gd name="T42" fmla="*/ 603 w 1155"/>
                  <a:gd name="T43" fmla="*/ 477 h 591"/>
                  <a:gd name="T44" fmla="*/ 576 w 1155"/>
                  <a:gd name="T45" fmla="*/ 454 h 591"/>
                  <a:gd name="T46" fmla="*/ 571 w 1155"/>
                  <a:gd name="T47" fmla="*/ 407 h 591"/>
                  <a:gd name="T48" fmla="*/ 537 w 1155"/>
                  <a:gd name="T49" fmla="*/ 457 h 591"/>
                  <a:gd name="T50" fmla="*/ 495 w 1155"/>
                  <a:gd name="T51" fmla="*/ 471 h 591"/>
                  <a:gd name="T52" fmla="*/ 455 w 1155"/>
                  <a:gd name="T53" fmla="*/ 456 h 591"/>
                  <a:gd name="T54" fmla="*/ 439 w 1155"/>
                  <a:gd name="T55" fmla="*/ 419 h 591"/>
                  <a:gd name="T56" fmla="*/ 450 w 1155"/>
                  <a:gd name="T57" fmla="*/ 390 h 591"/>
                  <a:gd name="T58" fmla="*/ 458 w 1155"/>
                  <a:gd name="T59" fmla="*/ 369 h 591"/>
                  <a:gd name="T60" fmla="*/ 422 w 1155"/>
                  <a:gd name="T61" fmla="*/ 404 h 591"/>
                  <a:gd name="T62" fmla="*/ 379 w 1155"/>
                  <a:gd name="T63" fmla="*/ 428 h 591"/>
                  <a:gd name="T64" fmla="*/ 335 w 1155"/>
                  <a:gd name="T65" fmla="*/ 417 h 591"/>
                  <a:gd name="T66" fmla="*/ 314 w 1155"/>
                  <a:gd name="T67" fmla="*/ 379 h 591"/>
                  <a:gd name="T68" fmla="*/ 364 w 1155"/>
                  <a:gd name="T69" fmla="*/ 288 h 591"/>
                  <a:gd name="T70" fmla="*/ 252 w 1155"/>
                  <a:gd name="T71" fmla="*/ 393 h 591"/>
                  <a:gd name="T72" fmla="*/ 96 w 1155"/>
                  <a:gd name="T73" fmla="*/ 581 h 591"/>
                  <a:gd name="T74" fmla="*/ 49 w 1155"/>
                  <a:gd name="T75" fmla="*/ 590 h 591"/>
                  <a:gd name="T76" fmla="*/ 9 w 1155"/>
                  <a:gd name="T77" fmla="*/ 569 h 591"/>
                  <a:gd name="T78" fmla="*/ 2 w 1155"/>
                  <a:gd name="T79" fmla="*/ 527 h 591"/>
                  <a:gd name="T80" fmla="*/ 138 w 1155"/>
                  <a:gd name="T81" fmla="*/ 351 h 591"/>
                  <a:gd name="T82" fmla="*/ 344 w 1155"/>
                  <a:gd name="T83" fmla="*/ 123 h 591"/>
                  <a:gd name="T84" fmla="*/ 398 w 1155"/>
                  <a:gd name="T85" fmla="*/ 70 h 591"/>
                  <a:gd name="T86" fmla="*/ 462 w 1155"/>
                  <a:gd name="T87" fmla="*/ 20 h 591"/>
                  <a:gd name="T88" fmla="*/ 534 w 1155"/>
                  <a:gd name="T89" fmla="*/ 0 h 5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155" h="591">
                    <a:moveTo>
                      <a:pt x="534" y="0"/>
                    </a:moveTo>
                    <a:lnTo>
                      <a:pt x="545" y="2"/>
                    </a:lnTo>
                    <a:lnTo>
                      <a:pt x="557" y="5"/>
                    </a:lnTo>
                    <a:lnTo>
                      <a:pt x="567" y="10"/>
                    </a:lnTo>
                    <a:lnTo>
                      <a:pt x="576" y="18"/>
                    </a:lnTo>
                    <a:lnTo>
                      <a:pt x="583" y="28"/>
                    </a:lnTo>
                    <a:lnTo>
                      <a:pt x="591" y="54"/>
                    </a:lnTo>
                    <a:lnTo>
                      <a:pt x="593" y="82"/>
                    </a:lnTo>
                    <a:lnTo>
                      <a:pt x="591" y="111"/>
                    </a:lnTo>
                    <a:lnTo>
                      <a:pt x="584" y="140"/>
                    </a:lnTo>
                    <a:lnTo>
                      <a:pt x="573" y="170"/>
                    </a:lnTo>
                    <a:lnTo>
                      <a:pt x="560" y="199"/>
                    </a:lnTo>
                    <a:lnTo>
                      <a:pt x="543" y="230"/>
                    </a:lnTo>
                    <a:lnTo>
                      <a:pt x="557" y="235"/>
                    </a:lnTo>
                    <a:lnTo>
                      <a:pt x="569" y="242"/>
                    </a:lnTo>
                    <a:lnTo>
                      <a:pt x="579" y="254"/>
                    </a:lnTo>
                    <a:lnTo>
                      <a:pt x="583" y="263"/>
                    </a:lnTo>
                    <a:lnTo>
                      <a:pt x="587" y="270"/>
                    </a:lnTo>
                    <a:lnTo>
                      <a:pt x="604" y="269"/>
                    </a:lnTo>
                    <a:lnTo>
                      <a:pt x="620" y="272"/>
                    </a:lnTo>
                    <a:lnTo>
                      <a:pt x="637" y="278"/>
                    </a:lnTo>
                    <a:lnTo>
                      <a:pt x="653" y="289"/>
                    </a:lnTo>
                    <a:lnTo>
                      <a:pt x="668" y="303"/>
                    </a:lnTo>
                    <a:lnTo>
                      <a:pt x="681" y="323"/>
                    </a:lnTo>
                    <a:lnTo>
                      <a:pt x="689" y="338"/>
                    </a:lnTo>
                    <a:lnTo>
                      <a:pt x="692" y="349"/>
                    </a:lnTo>
                    <a:lnTo>
                      <a:pt x="693" y="357"/>
                    </a:lnTo>
                    <a:lnTo>
                      <a:pt x="746" y="351"/>
                    </a:lnTo>
                    <a:lnTo>
                      <a:pt x="797" y="350"/>
                    </a:lnTo>
                    <a:lnTo>
                      <a:pt x="847" y="351"/>
                    </a:lnTo>
                    <a:lnTo>
                      <a:pt x="897" y="355"/>
                    </a:lnTo>
                    <a:lnTo>
                      <a:pt x="946" y="361"/>
                    </a:lnTo>
                    <a:lnTo>
                      <a:pt x="996" y="366"/>
                    </a:lnTo>
                    <a:lnTo>
                      <a:pt x="1048" y="369"/>
                    </a:lnTo>
                    <a:lnTo>
                      <a:pt x="1101" y="371"/>
                    </a:lnTo>
                    <a:lnTo>
                      <a:pt x="1118" y="373"/>
                    </a:lnTo>
                    <a:lnTo>
                      <a:pt x="1131" y="379"/>
                    </a:lnTo>
                    <a:lnTo>
                      <a:pt x="1142" y="389"/>
                    </a:lnTo>
                    <a:lnTo>
                      <a:pt x="1149" y="400"/>
                    </a:lnTo>
                    <a:lnTo>
                      <a:pt x="1154" y="413"/>
                    </a:lnTo>
                    <a:lnTo>
                      <a:pt x="1155" y="427"/>
                    </a:lnTo>
                    <a:lnTo>
                      <a:pt x="1154" y="441"/>
                    </a:lnTo>
                    <a:lnTo>
                      <a:pt x="1149" y="454"/>
                    </a:lnTo>
                    <a:lnTo>
                      <a:pt x="1142" y="466"/>
                    </a:lnTo>
                    <a:lnTo>
                      <a:pt x="1131" y="475"/>
                    </a:lnTo>
                    <a:lnTo>
                      <a:pt x="1118" y="481"/>
                    </a:lnTo>
                    <a:lnTo>
                      <a:pt x="1101" y="483"/>
                    </a:lnTo>
                    <a:lnTo>
                      <a:pt x="1066" y="482"/>
                    </a:lnTo>
                    <a:lnTo>
                      <a:pt x="1031" y="478"/>
                    </a:lnTo>
                    <a:lnTo>
                      <a:pt x="993" y="473"/>
                    </a:lnTo>
                    <a:lnTo>
                      <a:pt x="957" y="467"/>
                    </a:lnTo>
                    <a:lnTo>
                      <a:pt x="919" y="460"/>
                    </a:lnTo>
                    <a:lnTo>
                      <a:pt x="881" y="455"/>
                    </a:lnTo>
                    <a:lnTo>
                      <a:pt x="843" y="452"/>
                    </a:lnTo>
                    <a:lnTo>
                      <a:pt x="807" y="451"/>
                    </a:lnTo>
                    <a:lnTo>
                      <a:pt x="771" y="454"/>
                    </a:lnTo>
                    <a:lnTo>
                      <a:pt x="738" y="461"/>
                    </a:lnTo>
                    <a:lnTo>
                      <a:pt x="705" y="474"/>
                    </a:lnTo>
                    <a:lnTo>
                      <a:pt x="693" y="480"/>
                    </a:lnTo>
                    <a:lnTo>
                      <a:pt x="679" y="486"/>
                    </a:lnTo>
                    <a:lnTo>
                      <a:pt x="664" y="492"/>
                    </a:lnTo>
                    <a:lnTo>
                      <a:pt x="651" y="494"/>
                    </a:lnTo>
                    <a:lnTo>
                      <a:pt x="636" y="492"/>
                    </a:lnTo>
                    <a:lnTo>
                      <a:pt x="626" y="487"/>
                    </a:lnTo>
                    <a:lnTo>
                      <a:pt x="614" y="482"/>
                    </a:lnTo>
                    <a:lnTo>
                      <a:pt x="603" y="477"/>
                    </a:lnTo>
                    <a:lnTo>
                      <a:pt x="592" y="471"/>
                    </a:lnTo>
                    <a:lnTo>
                      <a:pt x="584" y="464"/>
                    </a:lnTo>
                    <a:lnTo>
                      <a:pt x="576" y="454"/>
                    </a:lnTo>
                    <a:lnTo>
                      <a:pt x="572" y="442"/>
                    </a:lnTo>
                    <a:lnTo>
                      <a:pt x="571" y="423"/>
                    </a:lnTo>
                    <a:lnTo>
                      <a:pt x="571" y="407"/>
                    </a:lnTo>
                    <a:lnTo>
                      <a:pt x="560" y="427"/>
                    </a:lnTo>
                    <a:lnTo>
                      <a:pt x="547" y="446"/>
                    </a:lnTo>
                    <a:lnTo>
                      <a:pt x="537" y="457"/>
                    </a:lnTo>
                    <a:lnTo>
                      <a:pt x="524" y="466"/>
                    </a:lnTo>
                    <a:lnTo>
                      <a:pt x="509" y="470"/>
                    </a:lnTo>
                    <a:lnTo>
                      <a:pt x="495" y="471"/>
                    </a:lnTo>
                    <a:lnTo>
                      <a:pt x="480" y="469"/>
                    </a:lnTo>
                    <a:lnTo>
                      <a:pt x="467" y="464"/>
                    </a:lnTo>
                    <a:lnTo>
                      <a:pt x="455" y="456"/>
                    </a:lnTo>
                    <a:lnTo>
                      <a:pt x="446" y="446"/>
                    </a:lnTo>
                    <a:lnTo>
                      <a:pt x="440" y="433"/>
                    </a:lnTo>
                    <a:lnTo>
                      <a:pt x="439" y="419"/>
                    </a:lnTo>
                    <a:lnTo>
                      <a:pt x="444" y="402"/>
                    </a:lnTo>
                    <a:lnTo>
                      <a:pt x="447" y="396"/>
                    </a:lnTo>
                    <a:lnTo>
                      <a:pt x="450" y="390"/>
                    </a:lnTo>
                    <a:lnTo>
                      <a:pt x="450" y="390"/>
                    </a:lnTo>
                    <a:lnTo>
                      <a:pt x="449" y="390"/>
                    </a:lnTo>
                    <a:lnTo>
                      <a:pt x="458" y="369"/>
                    </a:lnTo>
                    <a:lnTo>
                      <a:pt x="445" y="378"/>
                    </a:lnTo>
                    <a:lnTo>
                      <a:pt x="432" y="390"/>
                    </a:lnTo>
                    <a:lnTo>
                      <a:pt x="422" y="404"/>
                    </a:lnTo>
                    <a:lnTo>
                      <a:pt x="409" y="417"/>
                    </a:lnTo>
                    <a:lnTo>
                      <a:pt x="394" y="425"/>
                    </a:lnTo>
                    <a:lnTo>
                      <a:pt x="379" y="428"/>
                    </a:lnTo>
                    <a:lnTo>
                      <a:pt x="363" y="428"/>
                    </a:lnTo>
                    <a:lnTo>
                      <a:pt x="348" y="424"/>
                    </a:lnTo>
                    <a:lnTo>
                      <a:pt x="335" y="417"/>
                    </a:lnTo>
                    <a:lnTo>
                      <a:pt x="324" y="406"/>
                    </a:lnTo>
                    <a:lnTo>
                      <a:pt x="317" y="394"/>
                    </a:lnTo>
                    <a:lnTo>
                      <a:pt x="314" y="379"/>
                    </a:lnTo>
                    <a:lnTo>
                      <a:pt x="316" y="364"/>
                    </a:lnTo>
                    <a:lnTo>
                      <a:pt x="323" y="347"/>
                    </a:lnTo>
                    <a:lnTo>
                      <a:pt x="364" y="288"/>
                    </a:lnTo>
                    <a:lnTo>
                      <a:pt x="404" y="226"/>
                    </a:lnTo>
                    <a:lnTo>
                      <a:pt x="326" y="309"/>
                    </a:lnTo>
                    <a:lnTo>
                      <a:pt x="252" y="393"/>
                    </a:lnTo>
                    <a:lnTo>
                      <a:pt x="179" y="480"/>
                    </a:lnTo>
                    <a:lnTo>
                      <a:pt x="108" y="569"/>
                    </a:lnTo>
                    <a:lnTo>
                      <a:pt x="96" y="581"/>
                    </a:lnTo>
                    <a:lnTo>
                      <a:pt x="80" y="588"/>
                    </a:lnTo>
                    <a:lnTo>
                      <a:pt x="65" y="591"/>
                    </a:lnTo>
                    <a:lnTo>
                      <a:pt x="49" y="590"/>
                    </a:lnTo>
                    <a:lnTo>
                      <a:pt x="33" y="586"/>
                    </a:lnTo>
                    <a:lnTo>
                      <a:pt x="21" y="579"/>
                    </a:lnTo>
                    <a:lnTo>
                      <a:pt x="9" y="569"/>
                    </a:lnTo>
                    <a:lnTo>
                      <a:pt x="2" y="556"/>
                    </a:lnTo>
                    <a:lnTo>
                      <a:pt x="0" y="542"/>
                    </a:lnTo>
                    <a:lnTo>
                      <a:pt x="2" y="527"/>
                    </a:lnTo>
                    <a:lnTo>
                      <a:pt x="11" y="511"/>
                    </a:lnTo>
                    <a:lnTo>
                      <a:pt x="74" y="431"/>
                    </a:lnTo>
                    <a:lnTo>
                      <a:pt x="138" y="351"/>
                    </a:lnTo>
                    <a:lnTo>
                      <a:pt x="204" y="273"/>
                    </a:lnTo>
                    <a:lnTo>
                      <a:pt x="273" y="196"/>
                    </a:lnTo>
                    <a:lnTo>
                      <a:pt x="344" y="123"/>
                    </a:lnTo>
                    <a:lnTo>
                      <a:pt x="361" y="107"/>
                    </a:lnTo>
                    <a:lnTo>
                      <a:pt x="380" y="89"/>
                    </a:lnTo>
                    <a:lnTo>
                      <a:pt x="398" y="70"/>
                    </a:lnTo>
                    <a:lnTo>
                      <a:pt x="418" y="52"/>
                    </a:lnTo>
                    <a:lnTo>
                      <a:pt x="439" y="35"/>
                    </a:lnTo>
                    <a:lnTo>
                      <a:pt x="462" y="20"/>
                    </a:lnTo>
                    <a:lnTo>
                      <a:pt x="485" y="9"/>
                    </a:lnTo>
                    <a:lnTo>
                      <a:pt x="509" y="2"/>
                    </a:lnTo>
                    <a:lnTo>
                      <a:pt x="53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grpSp>
        <p:grpSp>
          <p:nvGrpSpPr>
            <p:cNvPr id="19" name="Group 65">
              <a:extLst>
                <a:ext uri="{FF2B5EF4-FFF2-40B4-BE49-F238E27FC236}">
                  <a16:creationId xmlns:a16="http://schemas.microsoft.com/office/drawing/2014/main" id="{2D0B6AA1-3DEA-40C1-9B60-3001AFAFFF18}"/>
                </a:ext>
              </a:extLst>
            </p:cNvPr>
            <p:cNvGrpSpPr/>
            <p:nvPr/>
          </p:nvGrpSpPr>
          <p:grpSpPr>
            <a:xfrm>
              <a:off x="6851547" y="3708721"/>
              <a:ext cx="325643" cy="304701"/>
              <a:chOff x="6167438" y="2114550"/>
              <a:chExt cx="493713" cy="461963"/>
            </a:xfrm>
            <a:solidFill>
              <a:schemeClr val="tx1">
                <a:lumMod val="85000"/>
                <a:lumOff val="15000"/>
              </a:schemeClr>
            </a:solidFill>
          </p:grpSpPr>
          <p:sp>
            <p:nvSpPr>
              <p:cNvPr id="27" name="Freeform 190">
                <a:extLst>
                  <a:ext uri="{FF2B5EF4-FFF2-40B4-BE49-F238E27FC236}">
                    <a16:creationId xmlns:a16="http://schemas.microsoft.com/office/drawing/2014/main" id="{2B2699C8-3082-4CC5-A2C5-49BE67AF3051}"/>
                  </a:ext>
                </a:extLst>
              </p:cNvPr>
              <p:cNvSpPr>
                <a:spLocks/>
              </p:cNvSpPr>
              <p:nvPr/>
            </p:nvSpPr>
            <p:spPr bwMode="auto">
              <a:xfrm>
                <a:off x="6457951" y="2146300"/>
                <a:ext cx="127000" cy="179388"/>
              </a:xfrm>
              <a:custGeom>
                <a:avLst/>
                <a:gdLst>
                  <a:gd name="T0" fmla="*/ 87 w 880"/>
                  <a:gd name="T1" fmla="*/ 0 h 1234"/>
                  <a:gd name="T2" fmla="*/ 181 w 880"/>
                  <a:gd name="T3" fmla="*/ 14 h 1234"/>
                  <a:gd name="T4" fmla="*/ 272 w 880"/>
                  <a:gd name="T5" fmla="*/ 33 h 1234"/>
                  <a:gd name="T6" fmla="*/ 362 w 880"/>
                  <a:gd name="T7" fmla="*/ 58 h 1234"/>
                  <a:gd name="T8" fmla="*/ 450 w 880"/>
                  <a:gd name="T9" fmla="*/ 89 h 1234"/>
                  <a:gd name="T10" fmla="*/ 535 w 880"/>
                  <a:gd name="T11" fmla="*/ 124 h 1234"/>
                  <a:gd name="T12" fmla="*/ 618 w 880"/>
                  <a:gd name="T13" fmla="*/ 166 h 1234"/>
                  <a:gd name="T14" fmla="*/ 700 w 880"/>
                  <a:gd name="T15" fmla="*/ 212 h 1234"/>
                  <a:gd name="T16" fmla="*/ 778 w 880"/>
                  <a:gd name="T17" fmla="*/ 263 h 1234"/>
                  <a:gd name="T18" fmla="*/ 852 w 880"/>
                  <a:gd name="T19" fmla="*/ 320 h 1234"/>
                  <a:gd name="T20" fmla="*/ 866 w 880"/>
                  <a:gd name="T21" fmla="*/ 335 h 1234"/>
                  <a:gd name="T22" fmla="*/ 875 w 880"/>
                  <a:gd name="T23" fmla="*/ 350 h 1234"/>
                  <a:gd name="T24" fmla="*/ 880 w 880"/>
                  <a:gd name="T25" fmla="*/ 368 h 1234"/>
                  <a:gd name="T26" fmla="*/ 880 w 880"/>
                  <a:gd name="T27" fmla="*/ 387 h 1234"/>
                  <a:gd name="T28" fmla="*/ 877 w 880"/>
                  <a:gd name="T29" fmla="*/ 404 h 1234"/>
                  <a:gd name="T30" fmla="*/ 870 w 880"/>
                  <a:gd name="T31" fmla="*/ 422 h 1234"/>
                  <a:gd name="T32" fmla="*/ 858 w 880"/>
                  <a:gd name="T33" fmla="*/ 437 h 1234"/>
                  <a:gd name="T34" fmla="*/ 72 w 880"/>
                  <a:gd name="T35" fmla="*/ 1222 h 1234"/>
                  <a:gd name="T36" fmla="*/ 61 w 880"/>
                  <a:gd name="T37" fmla="*/ 1230 h 1234"/>
                  <a:gd name="T38" fmla="*/ 51 w 880"/>
                  <a:gd name="T39" fmla="*/ 1233 h 1234"/>
                  <a:gd name="T40" fmla="*/ 40 w 880"/>
                  <a:gd name="T41" fmla="*/ 1234 h 1234"/>
                  <a:gd name="T42" fmla="*/ 32 w 880"/>
                  <a:gd name="T43" fmla="*/ 1233 h 1234"/>
                  <a:gd name="T44" fmla="*/ 26 w 880"/>
                  <a:gd name="T45" fmla="*/ 1231 h 1234"/>
                  <a:gd name="T46" fmla="*/ 20 w 880"/>
                  <a:gd name="T47" fmla="*/ 1228 h 1234"/>
                  <a:gd name="T48" fmla="*/ 13 w 880"/>
                  <a:gd name="T49" fmla="*/ 1223 h 1234"/>
                  <a:gd name="T50" fmla="*/ 7 w 880"/>
                  <a:gd name="T51" fmla="*/ 1216 h 1234"/>
                  <a:gd name="T52" fmla="*/ 2 w 880"/>
                  <a:gd name="T53" fmla="*/ 1205 h 1234"/>
                  <a:gd name="T54" fmla="*/ 0 w 880"/>
                  <a:gd name="T55" fmla="*/ 1192 h 1234"/>
                  <a:gd name="T56" fmla="*/ 0 w 880"/>
                  <a:gd name="T57" fmla="*/ 78 h 1234"/>
                  <a:gd name="T58" fmla="*/ 2 w 880"/>
                  <a:gd name="T59" fmla="*/ 59 h 1234"/>
                  <a:gd name="T60" fmla="*/ 9 w 880"/>
                  <a:gd name="T61" fmla="*/ 41 h 1234"/>
                  <a:gd name="T62" fmla="*/ 19 w 880"/>
                  <a:gd name="T63" fmla="*/ 26 h 1234"/>
                  <a:gd name="T64" fmla="*/ 33 w 880"/>
                  <a:gd name="T65" fmla="*/ 14 h 1234"/>
                  <a:gd name="T66" fmla="*/ 50 w 880"/>
                  <a:gd name="T67" fmla="*/ 5 h 1234"/>
                  <a:gd name="T68" fmla="*/ 67 w 880"/>
                  <a:gd name="T69" fmla="*/ 0 h 1234"/>
                  <a:gd name="T70" fmla="*/ 87 w 880"/>
                  <a:gd name="T71" fmla="*/ 0 h 1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80" h="1234">
                    <a:moveTo>
                      <a:pt x="87" y="0"/>
                    </a:moveTo>
                    <a:lnTo>
                      <a:pt x="181" y="14"/>
                    </a:lnTo>
                    <a:lnTo>
                      <a:pt x="272" y="33"/>
                    </a:lnTo>
                    <a:lnTo>
                      <a:pt x="362" y="58"/>
                    </a:lnTo>
                    <a:lnTo>
                      <a:pt x="450" y="89"/>
                    </a:lnTo>
                    <a:lnTo>
                      <a:pt x="535" y="124"/>
                    </a:lnTo>
                    <a:lnTo>
                      <a:pt x="618" y="166"/>
                    </a:lnTo>
                    <a:lnTo>
                      <a:pt x="700" y="212"/>
                    </a:lnTo>
                    <a:lnTo>
                      <a:pt x="778" y="263"/>
                    </a:lnTo>
                    <a:lnTo>
                      <a:pt x="852" y="320"/>
                    </a:lnTo>
                    <a:lnTo>
                      <a:pt x="866" y="335"/>
                    </a:lnTo>
                    <a:lnTo>
                      <a:pt x="875" y="350"/>
                    </a:lnTo>
                    <a:lnTo>
                      <a:pt x="880" y="368"/>
                    </a:lnTo>
                    <a:lnTo>
                      <a:pt x="880" y="387"/>
                    </a:lnTo>
                    <a:lnTo>
                      <a:pt x="877" y="404"/>
                    </a:lnTo>
                    <a:lnTo>
                      <a:pt x="870" y="422"/>
                    </a:lnTo>
                    <a:lnTo>
                      <a:pt x="858" y="437"/>
                    </a:lnTo>
                    <a:lnTo>
                      <a:pt x="72" y="1222"/>
                    </a:lnTo>
                    <a:lnTo>
                      <a:pt x="61" y="1230"/>
                    </a:lnTo>
                    <a:lnTo>
                      <a:pt x="51" y="1233"/>
                    </a:lnTo>
                    <a:lnTo>
                      <a:pt x="40" y="1234"/>
                    </a:lnTo>
                    <a:lnTo>
                      <a:pt x="32" y="1233"/>
                    </a:lnTo>
                    <a:lnTo>
                      <a:pt x="26" y="1231"/>
                    </a:lnTo>
                    <a:lnTo>
                      <a:pt x="20" y="1228"/>
                    </a:lnTo>
                    <a:lnTo>
                      <a:pt x="13" y="1223"/>
                    </a:lnTo>
                    <a:lnTo>
                      <a:pt x="7" y="1216"/>
                    </a:lnTo>
                    <a:lnTo>
                      <a:pt x="2" y="1205"/>
                    </a:lnTo>
                    <a:lnTo>
                      <a:pt x="0" y="1192"/>
                    </a:lnTo>
                    <a:lnTo>
                      <a:pt x="0" y="78"/>
                    </a:lnTo>
                    <a:lnTo>
                      <a:pt x="2" y="59"/>
                    </a:lnTo>
                    <a:lnTo>
                      <a:pt x="9" y="41"/>
                    </a:lnTo>
                    <a:lnTo>
                      <a:pt x="19" y="26"/>
                    </a:lnTo>
                    <a:lnTo>
                      <a:pt x="33" y="14"/>
                    </a:lnTo>
                    <a:lnTo>
                      <a:pt x="50" y="5"/>
                    </a:lnTo>
                    <a:lnTo>
                      <a:pt x="67" y="0"/>
                    </a:lnTo>
                    <a:lnTo>
                      <a:pt x="8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28" name="Freeform 191">
                <a:extLst>
                  <a:ext uri="{FF2B5EF4-FFF2-40B4-BE49-F238E27FC236}">
                    <a16:creationId xmlns:a16="http://schemas.microsoft.com/office/drawing/2014/main" id="{BA5E63A1-E942-4BF9-8641-B3884E50006C}"/>
                  </a:ext>
                </a:extLst>
              </p:cNvPr>
              <p:cNvSpPr>
                <a:spLocks/>
              </p:cNvSpPr>
              <p:nvPr/>
            </p:nvSpPr>
            <p:spPr bwMode="auto">
              <a:xfrm>
                <a:off x="6310313" y="2225675"/>
                <a:ext cx="350838" cy="350838"/>
              </a:xfrm>
              <a:custGeom>
                <a:avLst/>
                <a:gdLst>
                  <a:gd name="T0" fmla="*/ 2077 w 2434"/>
                  <a:gd name="T1" fmla="*/ 1 h 2430"/>
                  <a:gd name="T2" fmla="*/ 2111 w 2434"/>
                  <a:gd name="T3" fmla="*/ 16 h 2430"/>
                  <a:gd name="T4" fmla="*/ 2177 w 2434"/>
                  <a:gd name="T5" fmla="*/ 102 h 2430"/>
                  <a:gd name="T6" fmla="*/ 2268 w 2434"/>
                  <a:gd name="T7" fmla="*/ 254 h 2430"/>
                  <a:gd name="T8" fmla="*/ 2340 w 2434"/>
                  <a:gd name="T9" fmla="*/ 415 h 2430"/>
                  <a:gd name="T10" fmla="*/ 2392 w 2434"/>
                  <a:gd name="T11" fmla="*/ 584 h 2430"/>
                  <a:gd name="T12" fmla="*/ 2423 w 2434"/>
                  <a:gd name="T13" fmla="*/ 759 h 2430"/>
                  <a:gd name="T14" fmla="*/ 2434 w 2434"/>
                  <a:gd name="T15" fmla="*/ 939 h 2430"/>
                  <a:gd name="T16" fmla="*/ 2421 w 2434"/>
                  <a:gd name="T17" fmla="*/ 1133 h 2430"/>
                  <a:gd name="T18" fmla="*/ 2385 w 2434"/>
                  <a:gd name="T19" fmla="*/ 1320 h 2430"/>
                  <a:gd name="T20" fmla="*/ 2326 w 2434"/>
                  <a:gd name="T21" fmla="*/ 1498 h 2430"/>
                  <a:gd name="T22" fmla="*/ 2246 w 2434"/>
                  <a:gd name="T23" fmla="*/ 1665 h 2430"/>
                  <a:gd name="T24" fmla="*/ 2146 w 2434"/>
                  <a:gd name="T25" fmla="*/ 1820 h 2430"/>
                  <a:gd name="T26" fmla="*/ 2028 w 2434"/>
                  <a:gd name="T27" fmla="*/ 1960 h 2430"/>
                  <a:gd name="T28" fmla="*/ 1895 w 2434"/>
                  <a:gd name="T29" fmla="*/ 2086 h 2430"/>
                  <a:gd name="T30" fmla="*/ 1746 w 2434"/>
                  <a:gd name="T31" fmla="*/ 2195 h 2430"/>
                  <a:gd name="T32" fmla="*/ 1585 w 2434"/>
                  <a:gd name="T33" fmla="*/ 2285 h 2430"/>
                  <a:gd name="T34" fmla="*/ 1412 w 2434"/>
                  <a:gd name="T35" fmla="*/ 2355 h 2430"/>
                  <a:gd name="T36" fmla="*/ 1229 w 2434"/>
                  <a:gd name="T37" fmla="*/ 2402 h 2430"/>
                  <a:gd name="T38" fmla="*/ 1038 w 2434"/>
                  <a:gd name="T39" fmla="*/ 2427 h 2430"/>
                  <a:gd name="T40" fmla="*/ 936 w 2434"/>
                  <a:gd name="T41" fmla="*/ 2430 h 2430"/>
                  <a:gd name="T42" fmla="*/ 757 w 2434"/>
                  <a:gd name="T43" fmla="*/ 2419 h 2430"/>
                  <a:gd name="T44" fmla="*/ 584 w 2434"/>
                  <a:gd name="T45" fmla="*/ 2388 h 2430"/>
                  <a:gd name="T46" fmla="*/ 415 w 2434"/>
                  <a:gd name="T47" fmla="*/ 2336 h 2430"/>
                  <a:gd name="T48" fmla="*/ 254 w 2434"/>
                  <a:gd name="T49" fmla="*/ 2264 h 2430"/>
                  <a:gd name="T50" fmla="*/ 103 w 2434"/>
                  <a:gd name="T51" fmla="*/ 2174 h 2430"/>
                  <a:gd name="T52" fmla="*/ 17 w 2434"/>
                  <a:gd name="T53" fmla="*/ 2107 h 2430"/>
                  <a:gd name="T54" fmla="*/ 1 w 2434"/>
                  <a:gd name="T55" fmla="*/ 2074 h 2430"/>
                  <a:gd name="T56" fmla="*/ 3 w 2434"/>
                  <a:gd name="T57" fmla="*/ 2037 h 2430"/>
                  <a:gd name="T58" fmla="*/ 23 w 2434"/>
                  <a:gd name="T59" fmla="*/ 2004 h 2430"/>
                  <a:gd name="T60" fmla="*/ 2023 w 2434"/>
                  <a:gd name="T61" fmla="*/ 10 h 2430"/>
                  <a:gd name="T62" fmla="*/ 2058 w 2434"/>
                  <a:gd name="T63" fmla="*/ 0 h 24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434" h="2430">
                    <a:moveTo>
                      <a:pt x="2058" y="0"/>
                    </a:moveTo>
                    <a:lnTo>
                      <a:pt x="2077" y="1"/>
                    </a:lnTo>
                    <a:lnTo>
                      <a:pt x="2095" y="6"/>
                    </a:lnTo>
                    <a:lnTo>
                      <a:pt x="2111" y="16"/>
                    </a:lnTo>
                    <a:lnTo>
                      <a:pt x="2125" y="30"/>
                    </a:lnTo>
                    <a:lnTo>
                      <a:pt x="2177" y="102"/>
                    </a:lnTo>
                    <a:lnTo>
                      <a:pt x="2225" y="177"/>
                    </a:lnTo>
                    <a:lnTo>
                      <a:pt x="2268" y="254"/>
                    </a:lnTo>
                    <a:lnTo>
                      <a:pt x="2307" y="334"/>
                    </a:lnTo>
                    <a:lnTo>
                      <a:pt x="2340" y="415"/>
                    </a:lnTo>
                    <a:lnTo>
                      <a:pt x="2368" y="499"/>
                    </a:lnTo>
                    <a:lnTo>
                      <a:pt x="2392" y="584"/>
                    </a:lnTo>
                    <a:lnTo>
                      <a:pt x="2410" y="672"/>
                    </a:lnTo>
                    <a:lnTo>
                      <a:pt x="2423" y="759"/>
                    </a:lnTo>
                    <a:lnTo>
                      <a:pt x="2432" y="848"/>
                    </a:lnTo>
                    <a:lnTo>
                      <a:pt x="2434" y="939"/>
                    </a:lnTo>
                    <a:lnTo>
                      <a:pt x="2431" y="1037"/>
                    </a:lnTo>
                    <a:lnTo>
                      <a:pt x="2421" y="1133"/>
                    </a:lnTo>
                    <a:lnTo>
                      <a:pt x="2407" y="1228"/>
                    </a:lnTo>
                    <a:lnTo>
                      <a:pt x="2385" y="1320"/>
                    </a:lnTo>
                    <a:lnTo>
                      <a:pt x="2358" y="1410"/>
                    </a:lnTo>
                    <a:lnTo>
                      <a:pt x="2326" y="1498"/>
                    </a:lnTo>
                    <a:lnTo>
                      <a:pt x="2288" y="1583"/>
                    </a:lnTo>
                    <a:lnTo>
                      <a:pt x="2246" y="1665"/>
                    </a:lnTo>
                    <a:lnTo>
                      <a:pt x="2198" y="1744"/>
                    </a:lnTo>
                    <a:lnTo>
                      <a:pt x="2146" y="1820"/>
                    </a:lnTo>
                    <a:lnTo>
                      <a:pt x="2090" y="1891"/>
                    </a:lnTo>
                    <a:lnTo>
                      <a:pt x="2028" y="1960"/>
                    </a:lnTo>
                    <a:lnTo>
                      <a:pt x="1964" y="2025"/>
                    </a:lnTo>
                    <a:lnTo>
                      <a:pt x="1895" y="2086"/>
                    </a:lnTo>
                    <a:lnTo>
                      <a:pt x="1822" y="2143"/>
                    </a:lnTo>
                    <a:lnTo>
                      <a:pt x="1746" y="2195"/>
                    </a:lnTo>
                    <a:lnTo>
                      <a:pt x="1667" y="2242"/>
                    </a:lnTo>
                    <a:lnTo>
                      <a:pt x="1585" y="2285"/>
                    </a:lnTo>
                    <a:lnTo>
                      <a:pt x="1500" y="2322"/>
                    </a:lnTo>
                    <a:lnTo>
                      <a:pt x="1412" y="2355"/>
                    </a:lnTo>
                    <a:lnTo>
                      <a:pt x="1322" y="2382"/>
                    </a:lnTo>
                    <a:lnTo>
                      <a:pt x="1229" y="2402"/>
                    </a:lnTo>
                    <a:lnTo>
                      <a:pt x="1135" y="2418"/>
                    </a:lnTo>
                    <a:lnTo>
                      <a:pt x="1038" y="2427"/>
                    </a:lnTo>
                    <a:lnTo>
                      <a:pt x="940" y="2430"/>
                    </a:lnTo>
                    <a:lnTo>
                      <a:pt x="936" y="2430"/>
                    </a:lnTo>
                    <a:lnTo>
                      <a:pt x="847" y="2427"/>
                    </a:lnTo>
                    <a:lnTo>
                      <a:pt x="757" y="2419"/>
                    </a:lnTo>
                    <a:lnTo>
                      <a:pt x="670" y="2407"/>
                    </a:lnTo>
                    <a:lnTo>
                      <a:pt x="584" y="2388"/>
                    </a:lnTo>
                    <a:lnTo>
                      <a:pt x="498" y="2364"/>
                    </a:lnTo>
                    <a:lnTo>
                      <a:pt x="415" y="2336"/>
                    </a:lnTo>
                    <a:lnTo>
                      <a:pt x="334" y="2303"/>
                    </a:lnTo>
                    <a:lnTo>
                      <a:pt x="254" y="2264"/>
                    </a:lnTo>
                    <a:lnTo>
                      <a:pt x="177" y="2222"/>
                    </a:lnTo>
                    <a:lnTo>
                      <a:pt x="103" y="2174"/>
                    </a:lnTo>
                    <a:lnTo>
                      <a:pt x="30" y="2122"/>
                    </a:lnTo>
                    <a:lnTo>
                      <a:pt x="17" y="2107"/>
                    </a:lnTo>
                    <a:lnTo>
                      <a:pt x="7" y="2092"/>
                    </a:lnTo>
                    <a:lnTo>
                      <a:pt x="1" y="2074"/>
                    </a:lnTo>
                    <a:lnTo>
                      <a:pt x="0" y="2055"/>
                    </a:lnTo>
                    <a:lnTo>
                      <a:pt x="3" y="2037"/>
                    </a:lnTo>
                    <a:lnTo>
                      <a:pt x="12" y="2019"/>
                    </a:lnTo>
                    <a:lnTo>
                      <a:pt x="23" y="2004"/>
                    </a:lnTo>
                    <a:lnTo>
                      <a:pt x="2007" y="22"/>
                    </a:lnTo>
                    <a:lnTo>
                      <a:pt x="2023" y="10"/>
                    </a:lnTo>
                    <a:lnTo>
                      <a:pt x="2040" y="3"/>
                    </a:lnTo>
                    <a:lnTo>
                      <a:pt x="205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29" name="Freeform 192">
                <a:extLst>
                  <a:ext uri="{FF2B5EF4-FFF2-40B4-BE49-F238E27FC236}">
                    <a16:creationId xmlns:a16="http://schemas.microsoft.com/office/drawing/2014/main" id="{3F65D5E3-51C2-481E-B643-AB07BBC636C0}"/>
                  </a:ext>
                </a:extLst>
              </p:cNvPr>
              <p:cNvSpPr>
                <a:spLocks/>
              </p:cNvSpPr>
              <p:nvPr/>
            </p:nvSpPr>
            <p:spPr bwMode="auto">
              <a:xfrm>
                <a:off x="6178551" y="2395538"/>
                <a:ext cx="60325" cy="74613"/>
              </a:xfrm>
              <a:custGeom>
                <a:avLst/>
                <a:gdLst>
                  <a:gd name="T0" fmla="*/ 0 w 416"/>
                  <a:gd name="T1" fmla="*/ 0 h 519"/>
                  <a:gd name="T2" fmla="*/ 416 w 416"/>
                  <a:gd name="T3" fmla="*/ 410 h 519"/>
                  <a:gd name="T4" fmla="*/ 307 w 416"/>
                  <a:gd name="T5" fmla="*/ 519 h 519"/>
                  <a:gd name="T6" fmla="*/ 250 w 416"/>
                  <a:gd name="T7" fmla="*/ 453 h 519"/>
                  <a:gd name="T8" fmla="*/ 196 w 416"/>
                  <a:gd name="T9" fmla="*/ 383 h 519"/>
                  <a:gd name="T10" fmla="*/ 148 w 416"/>
                  <a:gd name="T11" fmla="*/ 310 h 519"/>
                  <a:gd name="T12" fmla="*/ 104 w 416"/>
                  <a:gd name="T13" fmla="*/ 237 h 519"/>
                  <a:gd name="T14" fmla="*/ 64 w 416"/>
                  <a:gd name="T15" fmla="*/ 160 h 519"/>
                  <a:gd name="T16" fmla="*/ 30 w 416"/>
                  <a:gd name="T17" fmla="*/ 80 h 519"/>
                  <a:gd name="T18" fmla="*/ 0 w 416"/>
                  <a:gd name="T19" fmla="*/ 0 h 5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6" h="519">
                    <a:moveTo>
                      <a:pt x="0" y="0"/>
                    </a:moveTo>
                    <a:lnTo>
                      <a:pt x="416" y="410"/>
                    </a:lnTo>
                    <a:lnTo>
                      <a:pt x="307" y="519"/>
                    </a:lnTo>
                    <a:lnTo>
                      <a:pt x="250" y="453"/>
                    </a:lnTo>
                    <a:lnTo>
                      <a:pt x="196" y="383"/>
                    </a:lnTo>
                    <a:lnTo>
                      <a:pt x="148" y="310"/>
                    </a:lnTo>
                    <a:lnTo>
                      <a:pt x="104" y="237"/>
                    </a:lnTo>
                    <a:lnTo>
                      <a:pt x="64" y="160"/>
                    </a:lnTo>
                    <a:lnTo>
                      <a:pt x="30" y="80"/>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30" name="Freeform 193">
                <a:extLst>
                  <a:ext uri="{FF2B5EF4-FFF2-40B4-BE49-F238E27FC236}">
                    <a16:creationId xmlns:a16="http://schemas.microsoft.com/office/drawing/2014/main" id="{65D07CB4-AEDD-40D1-9377-E1830A41C7A5}"/>
                  </a:ext>
                </a:extLst>
              </p:cNvPr>
              <p:cNvSpPr>
                <a:spLocks/>
              </p:cNvSpPr>
              <p:nvPr/>
            </p:nvSpPr>
            <p:spPr bwMode="auto">
              <a:xfrm>
                <a:off x="6167438" y="2257425"/>
                <a:ext cx="141288" cy="174625"/>
              </a:xfrm>
              <a:custGeom>
                <a:avLst/>
                <a:gdLst>
                  <a:gd name="T0" fmla="*/ 84 w 979"/>
                  <a:gd name="T1" fmla="*/ 0 h 1208"/>
                  <a:gd name="T2" fmla="*/ 979 w 979"/>
                  <a:gd name="T3" fmla="*/ 886 h 1208"/>
                  <a:gd name="T4" fmla="*/ 656 w 979"/>
                  <a:gd name="T5" fmla="*/ 1208 h 1208"/>
                  <a:gd name="T6" fmla="*/ 2 w 979"/>
                  <a:gd name="T7" fmla="*/ 560 h 1208"/>
                  <a:gd name="T8" fmla="*/ 0 w 979"/>
                  <a:gd name="T9" fmla="*/ 491 h 1208"/>
                  <a:gd name="T10" fmla="*/ 2 w 979"/>
                  <a:gd name="T11" fmla="*/ 406 h 1208"/>
                  <a:gd name="T12" fmla="*/ 9 w 979"/>
                  <a:gd name="T13" fmla="*/ 321 h 1208"/>
                  <a:gd name="T14" fmla="*/ 22 w 979"/>
                  <a:gd name="T15" fmla="*/ 239 h 1208"/>
                  <a:gd name="T16" fmla="*/ 38 w 979"/>
                  <a:gd name="T17" fmla="*/ 157 h 1208"/>
                  <a:gd name="T18" fmla="*/ 59 w 979"/>
                  <a:gd name="T19" fmla="*/ 78 h 1208"/>
                  <a:gd name="T20" fmla="*/ 84 w 979"/>
                  <a:gd name="T21" fmla="*/ 0 h 1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79" h="1208">
                    <a:moveTo>
                      <a:pt x="84" y="0"/>
                    </a:moveTo>
                    <a:lnTo>
                      <a:pt x="979" y="886"/>
                    </a:lnTo>
                    <a:lnTo>
                      <a:pt x="656" y="1208"/>
                    </a:lnTo>
                    <a:lnTo>
                      <a:pt x="2" y="560"/>
                    </a:lnTo>
                    <a:lnTo>
                      <a:pt x="0" y="491"/>
                    </a:lnTo>
                    <a:lnTo>
                      <a:pt x="2" y="406"/>
                    </a:lnTo>
                    <a:lnTo>
                      <a:pt x="9" y="321"/>
                    </a:lnTo>
                    <a:lnTo>
                      <a:pt x="22" y="239"/>
                    </a:lnTo>
                    <a:lnTo>
                      <a:pt x="38" y="157"/>
                    </a:lnTo>
                    <a:lnTo>
                      <a:pt x="59" y="78"/>
                    </a:lnTo>
                    <a:lnTo>
                      <a:pt x="8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31" name="Freeform 194">
                <a:extLst>
                  <a:ext uri="{FF2B5EF4-FFF2-40B4-BE49-F238E27FC236}">
                    <a16:creationId xmlns:a16="http://schemas.microsoft.com/office/drawing/2014/main" id="{BC3B4A7E-5B33-4DA2-BF7E-7651D2CE5728}"/>
                  </a:ext>
                </a:extLst>
              </p:cNvPr>
              <p:cNvSpPr>
                <a:spLocks/>
              </p:cNvSpPr>
              <p:nvPr/>
            </p:nvSpPr>
            <p:spPr bwMode="auto">
              <a:xfrm>
                <a:off x="6338888" y="2114550"/>
                <a:ext cx="28575" cy="31750"/>
              </a:xfrm>
              <a:custGeom>
                <a:avLst/>
                <a:gdLst>
                  <a:gd name="T0" fmla="*/ 194 w 194"/>
                  <a:gd name="T1" fmla="*/ 0 h 220"/>
                  <a:gd name="T2" fmla="*/ 194 w 194"/>
                  <a:gd name="T3" fmla="*/ 220 h 220"/>
                  <a:gd name="T4" fmla="*/ 0 w 194"/>
                  <a:gd name="T5" fmla="*/ 26 h 220"/>
                  <a:gd name="T6" fmla="*/ 64 w 194"/>
                  <a:gd name="T7" fmla="*/ 15 h 220"/>
                  <a:gd name="T8" fmla="*/ 129 w 194"/>
                  <a:gd name="T9" fmla="*/ 6 h 220"/>
                  <a:gd name="T10" fmla="*/ 194 w 194"/>
                  <a:gd name="T11" fmla="*/ 0 h 220"/>
                </a:gdLst>
                <a:ahLst/>
                <a:cxnLst>
                  <a:cxn ang="0">
                    <a:pos x="T0" y="T1"/>
                  </a:cxn>
                  <a:cxn ang="0">
                    <a:pos x="T2" y="T3"/>
                  </a:cxn>
                  <a:cxn ang="0">
                    <a:pos x="T4" y="T5"/>
                  </a:cxn>
                  <a:cxn ang="0">
                    <a:pos x="T6" y="T7"/>
                  </a:cxn>
                  <a:cxn ang="0">
                    <a:pos x="T8" y="T9"/>
                  </a:cxn>
                  <a:cxn ang="0">
                    <a:pos x="T10" y="T11"/>
                  </a:cxn>
                </a:cxnLst>
                <a:rect l="0" t="0" r="r" b="b"/>
                <a:pathLst>
                  <a:path w="194" h="220">
                    <a:moveTo>
                      <a:pt x="194" y="0"/>
                    </a:moveTo>
                    <a:lnTo>
                      <a:pt x="194" y="220"/>
                    </a:lnTo>
                    <a:lnTo>
                      <a:pt x="0" y="26"/>
                    </a:lnTo>
                    <a:lnTo>
                      <a:pt x="64" y="15"/>
                    </a:lnTo>
                    <a:lnTo>
                      <a:pt x="129" y="6"/>
                    </a:lnTo>
                    <a:lnTo>
                      <a:pt x="19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32" name="Freeform 195">
                <a:extLst>
                  <a:ext uri="{FF2B5EF4-FFF2-40B4-BE49-F238E27FC236}">
                    <a16:creationId xmlns:a16="http://schemas.microsoft.com/office/drawing/2014/main" id="{66625743-3108-45C3-9B66-A952D8D1D33A}"/>
                  </a:ext>
                </a:extLst>
              </p:cNvPr>
              <p:cNvSpPr>
                <a:spLocks/>
              </p:cNvSpPr>
              <p:nvPr/>
            </p:nvSpPr>
            <p:spPr bwMode="auto">
              <a:xfrm>
                <a:off x="6254751" y="2130425"/>
                <a:ext cx="112713" cy="138113"/>
              </a:xfrm>
              <a:custGeom>
                <a:avLst/>
                <a:gdLst>
                  <a:gd name="T0" fmla="*/ 331 w 779"/>
                  <a:gd name="T1" fmla="*/ 0 h 956"/>
                  <a:gd name="T2" fmla="*/ 779 w 779"/>
                  <a:gd name="T3" fmla="*/ 449 h 956"/>
                  <a:gd name="T4" fmla="*/ 779 w 779"/>
                  <a:gd name="T5" fmla="*/ 956 h 956"/>
                  <a:gd name="T6" fmla="*/ 0 w 779"/>
                  <a:gd name="T7" fmla="*/ 183 h 956"/>
                  <a:gd name="T8" fmla="*/ 63 w 779"/>
                  <a:gd name="T9" fmla="*/ 139 h 956"/>
                  <a:gd name="T10" fmla="*/ 126 w 779"/>
                  <a:gd name="T11" fmla="*/ 100 h 956"/>
                  <a:gd name="T12" fmla="*/ 193 w 779"/>
                  <a:gd name="T13" fmla="*/ 63 h 956"/>
                  <a:gd name="T14" fmla="*/ 260 w 779"/>
                  <a:gd name="T15" fmla="*/ 30 h 956"/>
                  <a:gd name="T16" fmla="*/ 331 w 779"/>
                  <a:gd name="T17" fmla="*/ 0 h 9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9" h="956">
                    <a:moveTo>
                      <a:pt x="331" y="0"/>
                    </a:moveTo>
                    <a:lnTo>
                      <a:pt x="779" y="449"/>
                    </a:lnTo>
                    <a:lnTo>
                      <a:pt x="779" y="956"/>
                    </a:lnTo>
                    <a:lnTo>
                      <a:pt x="0" y="183"/>
                    </a:lnTo>
                    <a:lnTo>
                      <a:pt x="63" y="139"/>
                    </a:lnTo>
                    <a:lnTo>
                      <a:pt x="126" y="100"/>
                    </a:lnTo>
                    <a:lnTo>
                      <a:pt x="193" y="63"/>
                    </a:lnTo>
                    <a:lnTo>
                      <a:pt x="260" y="30"/>
                    </a:lnTo>
                    <a:lnTo>
                      <a:pt x="33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33" name="Freeform 196">
                <a:extLst>
                  <a:ext uri="{FF2B5EF4-FFF2-40B4-BE49-F238E27FC236}">
                    <a16:creationId xmlns:a16="http://schemas.microsoft.com/office/drawing/2014/main" id="{01A2BE26-B51F-4A2B-967E-4CA0C4709E37}"/>
                  </a:ext>
                </a:extLst>
              </p:cNvPr>
              <p:cNvSpPr>
                <a:spLocks/>
              </p:cNvSpPr>
              <p:nvPr/>
            </p:nvSpPr>
            <p:spPr bwMode="auto">
              <a:xfrm>
                <a:off x="6194426" y="2178050"/>
                <a:ext cx="173038" cy="182563"/>
              </a:xfrm>
              <a:custGeom>
                <a:avLst/>
                <a:gdLst>
                  <a:gd name="T0" fmla="*/ 240 w 1196"/>
                  <a:gd name="T1" fmla="*/ 0 h 1268"/>
                  <a:gd name="T2" fmla="*/ 1196 w 1196"/>
                  <a:gd name="T3" fmla="*/ 947 h 1268"/>
                  <a:gd name="T4" fmla="*/ 1191 w 1196"/>
                  <a:gd name="T5" fmla="*/ 981 h 1268"/>
                  <a:gd name="T6" fmla="*/ 1181 w 1196"/>
                  <a:gd name="T7" fmla="*/ 1013 h 1268"/>
                  <a:gd name="T8" fmla="*/ 1167 w 1196"/>
                  <a:gd name="T9" fmla="*/ 1043 h 1268"/>
                  <a:gd name="T10" fmla="*/ 1148 w 1196"/>
                  <a:gd name="T11" fmla="*/ 1073 h 1268"/>
                  <a:gd name="T12" fmla="*/ 1125 w 1196"/>
                  <a:gd name="T13" fmla="*/ 1099 h 1268"/>
                  <a:gd name="T14" fmla="*/ 956 w 1196"/>
                  <a:gd name="T15" fmla="*/ 1268 h 1268"/>
                  <a:gd name="T16" fmla="*/ 0 w 1196"/>
                  <a:gd name="T17" fmla="*/ 319 h 1268"/>
                  <a:gd name="T18" fmla="*/ 41 w 1196"/>
                  <a:gd name="T19" fmla="*/ 251 h 1268"/>
                  <a:gd name="T20" fmla="*/ 87 w 1196"/>
                  <a:gd name="T21" fmla="*/ 184 h 1268"/>
                  <a:gd name="T22" fmla="*/ 134 w 1196"/>
                  <a:gd name="T23" fmla="*/ 120 h 1268"/>
                  <a:gd name="T24" fmla="*/ 186 w 1196"/>
                  <a:gd name="T25" fmla="*/ 59 h 1268"/>
                  <a:gd name="T26" fmla="*/ 240 w 1196"/>
                  <a:gd name="T27" fmla="*/ 0 h 1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96" h="1268">
                    <a:moveTo>
                      <a:pt x="240" y="0"/>
                    </a:moveTo>
                    <a:lnTo>
                      <a:pt x="1196" y="947"/>
                    </a:lnTo>
                    <a:lnTo>
                      <a:pt x="1191" y="981"/>
                    </a:lnTo>
                    <a:lnTo>
                      <a:pt x="1181" y="1013"/>
                    </a:lnTo>
                    <a:lnTo>
                      <a:pt x="1167" y="1043"/>
                    </a:lnTo>
                    <a:lnTo>
                      <a:pt x="1148" y="1073"/>
                    </a:lnTo>
                    <a:lnTo>
                      <a:pt x="1125" y="1099"/>
                    </a:lnTo>
                    <a:lnTo>
                      <a:pt x="956" y="1268"/>
                    </a:lnTo>
                    <a:lnTo>
                      <a:pt x="0" y="319"/>
                    </a:lnTo>
                    <a:lnTo>
                      <a:pt x="41" y="251"/>
                    </a:lnTo>
                    <a:lnTo>
                      <a:pt x="87" y="184"/>
                    </a:lnTo>
                    <a:lnTo>
                      <a:pt x="134" y="120"/>
                    </a:lnTo>
                    <a:lnTo>
                      <a:pt x="186" y="59"/>
                    </a:lnTo>
                    <a:lnTo>
                      <a:pt x="24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grpSp>
        <p:grpSp>
          <p:nvGrpSpPr>
            <p:cNvPr id="20" name="Group 73">
              <a:extLst>
                <a:ext uri="{FF2B5EF4-FFF2-40B4-BE49-F238E27FC236}">
                  <a16:creationId xmlns:a16="http://schemas.microsoft.com/office/drawing/2014/main" id="{8BD359FF-9DEC-4294-9C64-471736E8BCF4}"/>
                </a:ext>
              </a:extLst>
            </p:cNvPr>
            <p:cNvGrpSpPr/>
            <p:nvPr/>
          </p:nvGrpSpPr>
          <p:grpSpPr>
            <a:xfrm flipH="1">
              <a:off x="7878102" y="2958775"/>
              <a:ext cx="329931" cy="297265"/>
              <a:chOff x="8453438" y="4062413"/>
              <a:chExt cx="481013" cy="433388"/>
            </a:xfrm>
            <a:solidFill>
              <a:schemeClr val="tx1">
                <a:lumMod val="85000"/>
                <a:lumOff val="15000"/>
              </a:schemeClr>
            </a:solidFill>
          </p:grpSpPr>
          <p:sp>
            <p:nvSpPr>
              <p:cNvPr id="22" name="Freeform 273">
                <a:extLst>
                  <a:ext uri="{FF2B5EF4-FFF2-40B4-BE49-F238E27FC236}">
                    <a16:creationId xmlns:a16="http://schemas.microsoft.com/office/drawing/2014/main" id="{690933A7-A953-4AC7-A81F-09E17FE3E3CE}"/>
                  </a:ext>
                </a:extLst>
              </p:cNvPr>
              <p:cNvSpPr>
                <a:spLocks/>
              </p:cNvSpPr>
              <p:nvPr/>
            </p:nvSpPr>
            <p:spPr bwMode="auto">
              <a:xfrm>
                <a:off x="8620126" y="4062413"/>
                <a:ext cx="95250" cy="96838"/>
              </a:xfrm>
              <a:custGeom>
                <a:avLst/>
                <a:gdLst>
                  <a:gd name="T0" fmla="*/ 511 w 662"/>
                  <a:gd name="T1" fmla="*/ 0 h 677"/>
                  <a:gd name="T2" fmla="*/ 541 w 662"/>
                  <a:gd name="T3" fmla="*/ 3 h 677"/>
                  <a:gd name="T4" fmla="*/ 569 w 662"/>
                  <a:gd name="T5" fmla="*/ 12 h 677"/>
                  <a:gd name="T6" fmla="*/ 595 w 662"/>
                  <a:gd name="T7" fmla="*/ 25 h 677"/>
                  <a:gd name="T8" fmla="*/ 617 w 662"/>
                  <a:gd name="T9" fmla="*/ 44 h 677"/>
                  <a:gd name="T10" fmla="*/ 636 w 662"/>
                  <a:gd name="T11" fmla="*/ 66 h 677"/>
                  <a:gd name="T12" fmla="*/ 649 w 662"/>
                  <a:gd name="T13" fmla="*/ 92 h 677"/>
                  <a:gd name="T14" fmla="*/ 659 w 662"/>
                  <a:gd name="T15" fmla="*/ 120 h 677"/>
                  <a:gd name="T16" fmla="*/ 662 w 662"/>
                  <a:gd name="T17" fmla="*/ 150 h 677"/>
                  <a:gd name="T18" fmla="*/ 662 w 662"/>
                  <a:gd name="T19" fmla="*/ 526 h 677"/>
                  <a:gd name="T20" fmla="*/ 659 w 662"/>
                  <a:gd name="T21" fmla="*/ 556 h 677"/>
                  <a:gd name="T22" fmla="*/ 649 w 662"/>
                  <a:gd name="T23" fmla="*/ 585 h 677"/>
                  <a:gd name="T24" fmla="*/ 636 w 662"/>
                  <a:gd name="T25" fmla="*/ 610 h 677"/>
                  <a:gd name="T26" fmla="*/ 617 w 662"/>
                  <a:gd name="T27" fmla="*/ 632 h 677"/>
                  <a:gd name="T28" fmla="*/ 595 w 662"/>
                  <a:gd name="T29" fmla="*/ 651 h 677"/>
                  <a:gd name="T30" fmla="*/ 569 w 662"/>
                  <a:gd name="T31" fmla="*/ 665 h 677"/>
                  <a:gd name="T32" fmla="*/ 541 w 662"/>
                  <a:gd name="T33" fmla="*/ 674 h 677"/>
                  <a:gd name="T34" fmla="*/ 511 w 662"/>
                  <a:gd name="T35" fmla="*/ 677 h 677"/>
                  <a:gd name="T36" fmla="*/ 480 w 662"/>
                  <a:gd name="T37" fmla="*/ 674 h 677"/>
                  <a:gd name="T38" fmla="*/ 452 w 662"/>
                  <a:gd name="T39" fmla="*/ 665 h 677"/>
                  <a:gd name="T40" fmla="*/ 426 w 662"/>
                  <a:gd name="T41" fmla="*/ 651 h 677"/>
                  <a:gd name="T42" fmla="*/ 404 w 662"/>
                  <a:gd name="T43" fmla="*/ 632 h 677"/>
                  <a:gd name="T44" fmla="*/ 384 w 662"/>
                  <a:gd name="T45" fmla="*/ 610 h 677"/>
                  <a:gd name="T46" fmla="*/ 371 w 662"/>
                  <a:gd name="T47" fmla="*/ 585 h 677"/>
                  <a:gd name="T48" fmla="*/ 362 w 662"/>
                  <a:gd name="T49" fmla="*/ 556 h 677"/>
                  <a:gd name="T50" fmla="*/ 359 w 662"/>
                  <a:gd name="T51" fmla="*/ 526 h 677"/>
                  <a:gd name="T52" fmla="*/ 0 w 662"/>
                  <a:gd name="T53" fmla="*/ 526 h 677"/>
                  <a:gd name="T54" fmla="*/ 0 w 662"/>
                  <a:gd name="T55" fmla="*/ 225 h 677"/>
                  <a:gd name="T56" fmla="*/ 359 w 662"/>
                  <a:gd name="T57" fmla="*/ 225 h 677"/>
                  <a:gd name="T58" fmla="*/ 359 w 662"/>
                  <a:gd name="T59" fmla="*/ 150 h 677"/>
                  <a:gd name="T60" fmla="*/ 362 w 662"/>
                  <a:gd name="T61" fmla="*/ 120 h 677"/>
                  <a:gd name="T62" fmla="*/ 371 w 662"/>
                  <a:gd name="T63" fmla="*/ 92 h 677"/>
                  <a:gd name="T64" fmla="*/ 384 w 662"/>
                  <a:gd name="T65" fmla="*/ 66 h 677"/>
                  <a:gd name="T66" fmla="*/ 404 w 662"/>
                  <a:gd name="T67" fmla="*/ 44 h 677"/>
                  <a:gd name="T68" fmla="*/ 426 w 662"/>
                  <a:gd name="T69" fmla="*/ 25 h 677"/>
                  <a:gd name="T70" fmla="*/ 452 w 662"/>
                  <a:gd name="T71" fmla="*/ 12 h 677"/>
                  <a:gd name="T72" fmla="*/ 480 w 662"/>
                  <a:gd name="T73" fmla="*/ 3 h 677"/>
                  <a:gd name="T74" fmla="*/ 511 w 662"/>
                  <a:gd name="T75" fmla="*/ 0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62" h="677">
                    <a:moveTo>
                      <a:pt x="511" y="0"/>
                    </a:moveTo>
                    <a:lnTo>
                      <a:pt x="541" y="3"/>
                    </a:lnTo>
                    <a:lnTo>
                      <a:pt x="569" y="12"/>
                    </a:lnTo>
                    <a:lnTo>
                      <a:pt x="595" y="25"/>
                    </a:lnTo>
                    <a:lnTo>
                      <a:pt x="617" y="44"/>
                    </a:lnTo>
                    <a:lnTo>
                      <a:pt x="636" y="66"/>
                    </a:lnTo>
                    <a:lnTo>
                      <a:pt x="649" y="92"/>
                    </a:lnTo>
                    <a:lnTo>
                      <a:pt x="659" y="120"/>
                    </a:lnTo>
                    <a:lnTo>
                      <a:pt x="662" y="150"/>
                    </a:lnTo>
                    <a:lnTo>
                      <a:pt x="662" y="526"/>
                    </a:lnTo>
                    <a:lnTo>
                      <a:pt x="659" y="556"/>
                    </a:lnTo>
                    <a:lnTo>
                      <a:pt x="649" y="585"/>
                    </a:lnTo>
                    <a:lnTo>
                      <a:pt x="636" y="610"/>
                    </a:lnTo>
                    <a:lnTo>
                      <a:pt x="617" y="632"/>
                    </a:lnTo>
                    <a:lnTo>
                      <a:pt x="595" y="651"/>
                    </a:lnTo>
                    <a:lnTo>
                      <a:pt x="569" y="665"/>
                    </a:lnTo>
                    <a:lnTo>
                      <a:pt x="541" y="674"/>
                    </a:lnTo>
                    <a:lnTo>
                      <a:pt x="511" y="677"/>
                    </a:lnTo>
                    <a:lnTo>
                      <a:pt x="480" y="674"/>
                    </a:lnTo>
                    <a:lnTo>
                      <a:pt x="452" y="665"/>
                    </a:lnTo>
                    <a:lnTo>
                      <a:pt x="426" y="651"/>
                    </a:lnTo>
                    <a:lnTo>
                      <a:pt x="404" y="632"/>
                    </a:lnTo>
                    <a:lnTo>
                      <a:pt x="384" y="610"/>
                    </a:lnTo>
                    <a:lnTo>
                      <a:pt x="371" y="585"/>
                    </a:lnTo>
                    <a:lnTo>
                      <a:pt x="362" y="556"/>
                    </a:lnTo>
                    <a:lnTo>
                      <a:pt x="359" y="526"/>
                    </a:lnTo>
                    <a:lnTo>
                      <a:pt x="0" y="526"/>
                    </a:lnTo>
                    <a:lnTo>
                      <a:pt x="0" y="225"/>
                    </a:lnTo>
                    <a:lnTo>
                      <a:pt x="359" y="225"/>
                    </a:lnTo>
                    <a:lnTo>
                      <a:pt x="359" y="150"/>
                    </a:lnTo>
                    <a:lnTo>
                      <a:pt x="362" y="120"/>
                    </a:lnTo>
                    <a:lnTo>
                      <a:pt x="371" y="92"/>
                    </a:lnTo>
                    <a:lnTo>
                      <a:pt x="384" y="66"/>
                    </a:lnTo>
                    <a:lnTo>
                      <a:pt x="404" y="44"/>
                    </a:lnTo>
                    <a:lnTo>
                      <a:pt x="426" y="25"/>
                    </a:lnTo>
                    <a:lnTo>
                      <a:pt x="452" y="12"/>
                    </a:lnTo>
                    <a:lnTo>
                      <a:pt x="480" y="3"/>
                    </a:lnTo>
                    <a:lnTo>
                      <a:pt x="51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23" name="Freeform 274">
                <a:extLst>
                  <a:ext uri="{FF2B5EF4-FFF2-40B4-BE49-F238E27FC236}">
                    <a16:creationId xmlns:a16="http://schemas.microsoft.com/office/drawing/2014/main" id="{48A1ADA2-85B3-4FB4-9FB2-DEBB59BC0A71}"/>
                  </a:ext>
                </a:extLst>
              </p:cNvPr>
              <p:cNvSpPr>
                <a:spLocks/>
              </p:cNvSpPr>
              <p:nvPr/>
            </p:nvSpPr>
            <p:spPr bwMode="auto">
              <a:xfrm>
                <a:off x="8737601" y="4062413"/>
                <a:ext cx="95250" cy="96838"/>
              </a:xfrm>
              <a:custGeom>
                <a:avLst/>
                <a:gdLst>
                  <a:gd name="T0" fmla="*/ 511 w 662"/>
                  <a:gd name="T1" fmla="*/ 0 h 677"/>
                  <a:gd name="T2" fmla="*/ 540 w 662"/>
                  <a:gd name="T3" fmla="*/ 3 h 677"/>
                  <a:gd name="T4" fmla="*/ 569 w 662"/>
                  <a:gd name="T5" fmla="*/ 12 h 677"/>
                  <a:gd name="T6" fmla="*/ 594 w 662"/>
                  <a:gd name="T7" fmla="*/ 25 h 677"/>
                  <a:gd name="T8" fmla="*/ 617 w 662"/>
                  <a:gd name="T9" fmla="*/ 44 h 677"/>
                  <a:gd name="T10" fmla="*/ 635 w 662"/>
                  <a:gd name="T11" fmla="*/ 66 h 677"/>
                  <a:gd name="T12" fmla="*/ 649 w 662"/>
                  <a:gd name="T13" fmla="*/ 92 h 677"/>
                  <a:gd name="T14" fmla="*/ 659 w 662"/>
                  <a:gd name="T15" fmla="*/ 120 h 677"/>
                  <a:gd name="T16" fmla="*/ 662 w 662"/>
                  <a:gd name="T17" fmla="*/ 150 h 677"/>
                  <a:gd name="T18" fmla="*/ 662 w 662"/>
                  <a:gd name="T19" fmla="*/ 526 h 677"/>
                  <a:gd name="T20" fmla="*/ 659 w 662"/>
                  <a:gd name="T21" fmla="*/ 556 h 677"/>
                  <a:gd name="T22" fmla="*/ 649 w 662"/>
                  <a:gd name="T23" fmla="*/ 585 h 677"/>
                  <a:gd name="T24" fmla="*/ 635 w 662"/>
                  <a:gd name="T25" fmla="*/ 610 h 677"/>
                  <a:gd name="T26" fmla="*/ 617 w 662"/>
                  <a:gd name="T27" fmla="*/ 632 h 677"/>
                  <a:gd name="T28" fmla="*/ 594 w 662"/>
                  <a:gd name="T29" fmla="*/ 651 h 677"/>
                  <a:gd name="T30" fmla="*/ 569 w 662"/>
                  <a:gd name="T31" fmla="*/ 665 h 677"/>
                  <a:gd name="T32" fmla="*/ 540 w 662"/>
                  <a:gd name="T33" fmla="*/ 674 h 677"/>
                  <a:gd name="T34" fmla="*/ 511 w 662"/>
                  <a:gd name="T35" fmla="*/ 677 h 677"/>
                  <a:gd name="T36" fmla="*/ 480 w 662"/>
                  <a:gd name="T37" fmla="*/ 674 h 677"/>
                  <a:gd name="T38" fmla="*/ 451 w 662"/>
                  <a:gd name="T39" fmla="*/ 665 h 677"/>
                  <a:gd name="T40" fmla="*/ 425 w 662"/>
                  <a:gd name="T41" fmla="*/ 651 h 677"/>
                  <a:gd name="T42" fmla="*/ 403 w 662"/>
                  <a:gd name="T43" fmla="*/ 632 h 677"/>
                  <a:gd name="T44" fmla="*/ 384 w 662"/>
                  <a:gd name="T45" fmla="*/ 610 h 677"/>
                  <a:gd name="T46" fmla="*/ 371 w 662"/>
                  <a:gd name="T47" fmla="*/ 585 h 677"/>
                  <a:gd name="T48" fmla="*/ 362 w 662"/>
                  <a:gd name="T49" fmla="*/ 556 h 677"/>
                  <a:gd name="T50" fmla="*/ 359 w 662"/>
                  <a:gd name="T51" fmla="*/ 526 h 677"/>
                  <a:gd name="T52" fmla="*/ 0 w 662"/>
                  <a:gd name="T53" fmla="*/ 526 h 677"/>
                  <a:gd name="T54" fmla="*/ 0 w 662"/>
                  <a:gd name="T55" fmla="*/ 225 h 677"/>
                  <a:gd name="T56" fmla="*/ 359 w 662"/>
                  <a:gd name="T57" fmla="*/ 225 h 677"/>
                  <a:gd name="T58" fmla="*/ 359 w 662"/>
                  <a:gd name="T59" fmla="*/ 150 h 677"/>
                  <a:gd name="T60" fmla="*/ 362 w 662"/>
                  <a:gd name="T61" fmla="*/ 120 h 677"/>
                  <a:gd name="T62" fmla="*/ 371 w 662"/>
                  <a:gd name="T63" fmla="*/ 92 h 677"/>
                  <a:gd name="T64" fmla="*/ 384 w 662"/>
                  <a:gd name="T65" fmla="*/ 66 h 677"/>
                  <a:gd name="T66" fmla="*/ 403 w 662"/>
                  <a:gd name="T67" fmla="*/ 44 h 677"/>
                  <a:gd name="T68" fmla="*/ 425 w 662"/>
                  <a:gd name="T69" fmla="*/ 25 h 677"/>
                  <a:gd name="T70" fmla="*/ 451 w 662"/>
                  <a:gd name="T71" fmla="*/ 12 h 677"/>
                  <a:gd name="T72" fmla="*/ 480 w 662"/>
                  <a:gd name="T73" fmla="*/ 3 h 677"/>
                  <a:gd name="T74" fmla="*/ 511 w 662"/>
                  <a:gd name="T75" fmla="*/ 0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62" h="677">
                    <a:moveTo>
                      <a:pt x="511" y="0"/>
                    </a:moveTo>
                    <a:lnTo>
                      <a:pt x="540" y="3"/>
                    </a:lnTo>
                    <a:lnTo>
                      <a:pt x="569" y="12"/>
                    </a:lnTo>
                    <a:lnTo>
                      <a:pt x="594" y="25"/>
                    </a:lnTo>
                    <a:lnTo>
                      <a:pt x="617" y="44"/>
                    </a:lnTo>
                    <a:lnTo>
                      <a:pt x="635" y="66"/>
                    </a:lnTo>
                    <a:lnTo>
                      <a:pt x="649" y="92"/>
                    </a:lnTo>
                    <a:lnTo>
                      <a:pt x="659" y="120"/>
                    </a:lnTo>
                    <a:lnTo>
                      <a:pt x="662" y="150"/>
                    </a:lnTo>
                    <a:lnTo>
                      <a:pt x="662" y="526"/>
                    </a:lnTo>
                    <a:lnTo>
                      <a:pt x="659" y="556"/>
                    </a:lnTo>
                    <a:lnTo>
                      <a:pt x="649" y="585"/>
                    </a:lnTo>
                    <a:lnTo>
                      <a:pt x="635" y="610"/>
                    </a:lnTo>
                    <a:lnTo>
                      <a:pt x="617" y="632"/>
                    </a:lnTo>
                    <a:lnTo>
                      <a:pt x="594" y="651"/>
                    </a:lnTo>
                    <a:lnTo>
                      <a:pt x="569" y="665"/>
                    </a:lnTo>
                    <a:lnTo>
                      <a:pt x="540" y="674"/>
                    </a:lnTo>
                    <a:lnTo>
                      <a:pt x="511" y="677"/>
                    </a:lnTo>
                    <a:lnTo>
                      <a:pt x="480" y="674"/>
                    </a:lnTo>
                    <a:lnTo>
                      <a:pt x="451" y="665"/>
                    </a:lnTo>
                    <a:lnTo>
                      <a:pt x="425" y="651"/>
                    </a:lnTo>
                    <a:lnTo>
                      <a:pt x="403" y="632"/>
                    </a:lnTo>
                    <a:lnTo>
                      <a:pt x="384" y="610"/>
                    </a:lnTo>
                    <a:lnTo>
                      <a:pt x="371" y="585"/>
                    </a:lnTo>
                    <a:lnTo>
                      <a:pt x="362" y="556"/>
                    </a:lnTo>
                    <a:lnTo>
                      <a:pt x="359" y="526"/>
                    </a:lnTo>
                    <a:lnTo>
                      <a:pt x="0" y="526"/>
                    </a:lnTo>
                    <a:lnTo>
                      <a:pt x="0" y="225"/>
                    </a:lnTo>
                    <a:lnTo>
                      <a:pt x="359" y="225"/>
                    </a:lnTo>
                    <a:lnTo>
                      <a:pt x="359" y="150"/>
                    </a:lnTo>
                    <a:lnTo>
                      <a:pt x="362" y="120"/>
                    </a:lnTo>
                    <a:lnTo>
                      <a:pt x="371" y="92"/>
                    </a:lnTo>
                    <a:lnTo>
                      <a:pt x="384" y="66"/>
                    </a:lnTo>
                    <a:lnTo>
                      <a:pt x="403" y="44"/>
                    </a:lnTo>
                    <a:lnTo>
                      <a:pt x="425" y="25"/>
                    </a:lnTo>
                    <a:lnTo>
                      <a:pt x="451" y="12"/>
                    </a:lnTo>
                    <a:lnTo>
                      <a:pt x="480" y="3"/>
                    </a:lnTo>
                    <a:lnTo>
                      <a:pt x="51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24" name="Freeform 275">
                <a:extLst>
                  <a:ext uri="{FF2B5EF4-FFF2-40B4-BE49-F238E27FC236}">
                    <a16:creationId xmlns:a16="http://schemas.microsoft.com/office/drawing/2014/main" id="{2302B26E-1C36-4E18-AE74-36448EB129E2}"/>
                  </a:ext>
                </a:extLst>
              </p:cNvPr>
              <p:cNvSpPr>
                <a:spLocks/>
              </p:cNvSpPr>
              <p:nvPr/>
            </p:nvSpPr>
            <p:spPr bwMode="auto">
              <a:xfrm>
                <a:off x="8453438" y="4062413"/>
                <a:ext cx="481013" cy="401638"/>
              </a:xfrm>
              <a:custGeom>
                <a:avLst/>
                <a:gdLst>
                  <a:gd name="T0" fmla="*/ 882 w 3330"/>
                  <a:gd name="T1" fmla="*/ 3 h 2783"/>
                  <a:gd name="T2" fmla="*/ 936 w 3330"/>
                  <a:gd name="T3" fmla="*/ 25 h 2783"/>
                  <a:gd name="T4" fmla="*/ 977 w 3330"/>
                  <a:gd name="T5" fmla="*/ 66 h 2783"/>
                  <a:gd name="T6" fmla="*/ 1000 w 3330"/>
                  <a:gd name="T7" fmla="*/ 120 h 2783"/>
                  <a:gd name="T8" fmla="*/ 1003 w 3330"/>
                  <a:gd name="T9" fmla="*/ 526 h 2783"/>
                  <a:gd name="T10" fmla="*/ 991 w 3330"/>
                  <a:gd name="T11" fmla="*/ 585 h 2783"/>
                  <a:gd name="T12" fmla="*/ 959 w 3330"/>
                  <a:gd name="T13" fmla="*/ 632 h 2783"/>
                  <a:gd name="T14" fmla="*/ 911 w 3330"/>
                  <a:gd name="T15" fmla="*/ 665 h 2783"/>
                  <a:gd name="T16" fmla="*/ 852 w 3330"/>
                  <a:gd name="T17" fmla="*/ 677 h 2783"/>
                  <a:gd name="T18" fmla="*/ 793 w 3330"/>
                  <a:gd name="T19" fmla="*/ 665 h 2783"/>
                  <a:gd name="T20" fmla="*/ 745 w 3330"/>
                  <a:gd name="T21" fmla="*/ 632 h 2783"/>
                  <a:gd name="T22" fmla="*/ 712 w 3330"/>
                  <a:gd name="T23" fmla="*/ 585 h 2783"/>
                  <a:gd name="T24" fmla="*/ 701 w 3330"/>
                  <a:gd name="T25" fmla="*/ 526 h 2783"/>
                  <a:gd name="T26" fmla="*/ 303 w 3330"/>
                  <a:gd name="T27" fmla="*/ 978 h 2783"/>
                  <a:gd name="T28" fmla="*/ 3027 w 3330"/>
                  <a:gd name="T29" fmla="*/ 526 h 2783"/>
                  <a:gd name="T30" fmla="*/ 2782 w 3330"/>
                  <a:gd name="T31" fmla="*/ 225 h 2783"/>
                  <a:gd name="T32" fmla="*/ 3210 w 3330"/>
                  <a:gd name="T33" fmla="*/ 228 h 2783"/>
                  <a:gd name="T34" fmla="*/ 3264 w 3330"/>
                  <a:gd name="T35" fmla="*/ 251 h 2783"/>
                  <a:gd name="T36" fmla="*/ 3305 w 3330"/>
                  <a:gd name="T37" fmla="*/ 292 h 2783"/>
                  <a:gd name="T38" fmla="*/ 3327 w 3330"/>
                  <a:gd name="T39" fmla="*/ 346 h 2783"/>
                  <a:gd name="T40" fmla="*/ 3330 w 3330"/>
                  <a:gd name="T41" fmla="*/ 2632 h 2783"/>
                  <a:gd name="T42" fmla="*/ 3319 w 3330"/>
                  <a:gd name="T43" fmla="*/ 2691 h 2783"/>
                  <a:gd name="T44" fmla="*/ 3286 w 3330"/>
                  <a:gd name="T45" fmla="*/ 2738 h 2783"/>
                  <a:gd name="T46" fmla="*/ 3239 w 3330"/>
                  <a:gd name="T47" fmla="*/ 2771 h 2783"/>
                  <a:gd name="T48" fmla="*/ 3179 w 3330"/>
                  <a:gd name="T49" fmla="*/ 2783 h 2783"/>
                  <a:gd name="T50" fmla="*/ 2439 w 3330"/>
                  <a:gd name="T51" fmla="*/ 2727 h 2783"/>
                  <a:gd name="T52" fmla="*/ 2500 w 3330"/>
                  <a:gd name="T53" fmla="*/ 2610 h 2783"/>
                  <a:gd name="T54" fmla="*/ 2544 w 3330"/>
                  <a:gd name="T55" fmla="*/ 2482 h 2783"/>
                  <a:gd name="T56" fmla="*/ 3027 w 3330"/>
                  <a:gd name="T57" fmla="*/ 1128 h 2783"/>
                  <a:gd name="T58" fmla="*/ 303 w 3330"/>
                  <a:gd name="T59" fmla="*/ 2482 h 2783"/>
                  <a:gd name="T60" fmla="*/ 806 w 3330"/>
                  <a:gd name="T61" fmla="*/ 2547 h 2783"/>
                  <a:gd name="T62" fmla="*/ 859 w 3330"/>
                  <a:gd name="T63" fmla="*/ 2669 h 2783"/>
                  <a:gd name="T64" fmla="*/ 929 w 3330"/>
                  <a:gd name="T65" fmla="*/ 2783 h 2783"/>
                  <a:gd name="T66" fmla="*/ 120 w 3330"/>
                  <a:gd name="T67" fmla="*/ 2780 h 2783"/>
                  <a:gd name="T68" fmla="*/ 66 w 3330"/>
                  <a:gd name="T69" fmla="*/ 2756 h 2783"/>
                  <a:gd name="T70" fmla="*/ 26 w 3330"/>
                  <a:gd name="T71" fmla="*/ 2716 h 2783"/>
                  <a:gd name="T72" fmla="*/ 3 w 3330"/>
                  <a:gd name="T73" fmla="*/ 2662 h 2783"/>
                  <a:gd name="T74" fmla="*/ 0 w 3330"/>
                  <a:gd name="T75" fmla="*/ 376 h 2783"/>
                  <a:gd name="T76" fmla="*/ 12 w 3330"/>
                  <a:gd name="T77" fmla="*/ 317 h 2783"/>
                  <a:gd name="T78" fmla="*/ 44 w 3330"/>
                  <a:gd name="T79" fmla="*/ 270 h 2783"/>
                  <a:gd name="T80" fmla="*/ 93 w 3330"/>
                  <a:gd name="T81" fmla="*/ 237 h 2783"/>
                  <a:gd name="T82" fmla="*/ 151 w 3330"/>
                  <a:gd name="T83" fmla="*/ 225 h 2783"/>
                  <a:gd name="T84" fmla="*/ 701 w 3330"/>
                  <a:gd name="T85" fmla="*/ 150 h 2783"/>
                  <a:gd name="T86" fmla="*/ 712 w 3330"/>
                  <a:gd name="T87" fmla="*/ 92 h 2783"/>
                  <a:gd name="T88" fmla="*/ 745 w 3330"/>
                  <a:gd name="T89" fmla="*/ 44 h 2783"/>
                  <a:gd name="T90" fmla="*/ 793 w 3330"/>
                  <a:gd name="T91" fmla="*/ 12 h 2783"/>
                  <a:gd name="T92" fmla="*/ 852 w 3330"/>
                  <a:gd name="T93" fmla="*/ 0 h 27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330" h="2783">
                    <a:moveTo>
                      <a:pt x="852" y="0"/>
                    </a:moveTo>
                    <a:lnTo>
                      <a:pt x="882" y="3"/>
                    </a:lnTo>
                    <a:lnTo>
                      <a:pt x="911" y="12"/>
                    </a:lnTo>
                    <a:lnTo>
                      <a:pt x="936" y="25"/>
                    </a:lnTo>
                    <a:lnTo>
                      <a:pt x="959" y="44"/>
                    </a:lnTo>
                    <a:lnTo>
                      <a:pt x="977" y="66"/>
                    </a:lnTo>
                    <a:lnTo>
                      <a:pt x="991" y="92"/>
                    </a:lnTo>
                    <a:lnTo>
                      <a:pt x="1000" y="120"/>
                    </a:lnTo>
                    <a:lnTo>
                      <a:pt x="1003" y="150"/>
                    </a:lnTo>
                    <a:lnTo>
                      <a:pt x="1003" y="526"/>
                    </a:lnTo>
                    <a:lnTo>
                      <a:pt x="1000" y="556"/>
                    </a:lnTo>
                    <a:lnTo>
                      <a:pt x="991" y="585"/>
                    </a:lnTo>
                    <a:lnTo>
                      <a:pt x="977" y="610"/>
                    </a:lnTo>
                    <a:lnTo>
                      <a:pt x="959" y="632"/>
                    </a:lnTo>
                    <a:lnTo>
                      <a:pt x="936" y="651"/>
                    </a:lnTo>
                    <a:lnTo>
                      <a:pt x="911" y="665"/>
                    </a:lnTo>
                    <a:lnTo>
                      <a:pt x="882" y="674"/>
                    </a:lnTo>
                    <a:lnTo>
                      <a:pt x="852" y="677"/>
                    </a:lnTo>
                    <a:lnTo>
                      <a:pt x="821" y="674"/>
                    </a:lnTo>
                    <a:lnTo>
                      <a:pt x="793" y="665"/>
                    </a:lnTo>
                    <a:lnTo>
                      <a:pt x="767" y="651"/>
                    </a:lnTo>
                    <a:lnTo>
                      <a:pt x="745" y="632"/>
                    </a:lnTo>
                    <a:lnTo>
                      <a:pt x="726" y="610"/>
                    </a:lnTo>
                    <a:lnTo>
                      <a:pt x="712" y="585"/>
                    </a:lnTo>
                    <a:lnTo>
                      <a:pt x="704" y="556"/>
                    </a:lnTo>
                    <a:lnTo>
                      <a:pt x="701" y="526"/>
                    </a:lnTo>
                    <a:lnTo>
                      <a:pt x="303" y="526"/>
                    </a:lnTo>
                    <a:lnTo>
                      <a:pt x="303" y="978"/>
                    </a:lnTo>
                    <a:lnTo>
                      <a:pt x="3027" y="978"/>
                    </a:lnTo>
                    <a:lnTo>
                      <a:pt x="3027" y="526"/>
                    </a:lnTo>
                    <a:lnTo>
                      <a:pt x="2782" y="526"/>
                    </a:lnTo>
                    <a:lnTo>
                      <a:pt x="2782" y="225"/>
                    </a:lnTo>
                    <a:lnTo>
                      <a:pt x="3179" y="225"/>
                    </a:lnTo>
                    <a:lnTo>
                      <a:pt x="3210" y="228"/>
                    </a:lnTo>
                    <a:lnTo>
                      <a:pt x="3239" y="237"/>
                    </a:lnTo>
                    <a:lnTo>
                      <a:pt x="3264" y="251"/>
                    </a:lnTo>
                    <a:lnTo>
                      <a:pt x="3286" y="270"/>
                    </a:lnTo>
                    <a:lnTo>
                      <a:pt x="3305" y="292"/>
                    </a:lnTo>
                    <a:lnTo>
                      <a:pt x="3319" y="317"/>
                    </a:lnTo>
                    <a:lnTo>
                      <a:pt x="3327" y="346"/>
                    </a:lnTo>
                    <a:lnTo>
                      <a:pt x="3330" y="376"/>
                    </a:lnTo>
                    <a:lnTo>
                      <a:pt x="3330" y="2632"/>
                    </a:lnTo>
                    <a:lnTo>
                      <a:pt x="3327" y="2662"/>
                    </a:lnTo>
                    <a:lnTo>
                      <a:pt x="3319" y="2691"/>
                    </a:lnTo>
                    <a:lnTo>
                      <a:pt x="3305" y="2716"/>
                    </a:lnTo>
                    <a:lnTo>
                      <a:pt x="3286" y="2738"/>
                    </a:lnTo>
                    <a:lnTo>
                      <a:pt x="3264" y="2756"/>
                    </a:lnTo>
                    <a:lnTo>
                      <a:pt x="3239" y="2771"/>
                    </a:lnTo>
                    <a:lnTo>
                      <a:pt x="3210" y="2780"/>
                    </a:lnTo>
                    <a:lnTo>
                      <a:pt x="3179" y="2783"/>
                    </a:lnTo>
                    <a:lnTo>
                      <a:pt x="2402" y="2783"/>
                    </a:lnTo>
                    <a:lnTo>
                      <a:pt x="2439" y="2727"/>
                    </a:lnTo>
                    <a:lnTo>
                      <a:pt x="2471" y="2669"/>
                    </a:lnTo>
                    <a:lnTo>
                      <a:pt x="2500" y="2610"/>
                    </a:lnTo>
                    <a:lnTo>
                      <a:pt x="2525" y="2547"/>
                    </a:lnTo>
                    <a:lnTo>
                      <a:pt x="2544" y="2482"/>
                    </a:lnTo>
                    <a:lnTo>
                      <a:pt x="3027" y="2482"/>
                    </a:lnTo>
                    <a:lnTo>
                      <a:pt x="3027" y="1128"/>
                    </a:lnTo>
                    <a:lnTo>
                      <a:pt x="303" y="1128"/>
                    </a:lnTo>
                    <a:lnTo>
                      <a:pt x="303" y="2482"/>
                    </a:lnTo>
                    <a:lnTo>
                      <a:pt x="786" y="2482"/>
                    </a:lnTo>
                    <a:lnTo>
                      <a:pt x="806" y="2547"/>
                    </a:lnTo>
                    <a:lnTo>
                      <a:pt x="830" y="2610"/>
                    </a:lnTo>
                    <a:lnTo>
                      <a:pt x="859" y="2669"/>
                    </a:lnTo>
                    <a:lnTo>
                      <a:pt x="891" y="2727"/>
                    </a:lnTo>
                    <a:lnTo>
                      <a:pt x="929" y="2783"/>
                    </a:lnTo>
                    <a:lnTo>
                      <a:pt x="151" y="2783"/>
                    </a:lnTo>
                    <a:lnTo>
                      <a:pt x="120" y="2780"/>
                    </a:lnTo>
                    <a:lnTo>
                      <a:pt x="93" y="2771"/>
                    </a:lnTo>
                    <a:lnTo>
                      <a:pt x="66" y="2756"/>
                    </a:lnTo>
                    <a:lnTo>
                      <a:pt x="44" y="2738"/>
                    </a:lnTo>
                    <a:lnTo>
                      <a:pt x="26" y="2716"/>
                    </a:lnTo>
                    <a:lnTo>
                      <a:pt x="12" y="2691"/>
                    </a:lnTo>
                    <a:lnTo>
                      <a:pt x="3" y="2662"/>
                    </a:lnTo>
                    <a:lnTo>
                      <a:pt x="0" y="2632"/>
                    </a:lnTo>
                    <a:lnTo>
                      <a:pt x="0" y="376"/>
                    </a:lnTo>
                    <a:lnTo>
                      <a:pt x="3" y="346"/>
                    </a:lnTo>
                    <a:lnTo>
                      <a:pt x="12" y="317"/>
                    </a:lnTo>
                    <a:lnTo>
                      <a:pt x="26" y="292"/>
                    </a:lnTo>
                    <a:lnTo>
                      <a:pt x="44" y="270"/>
                    </a:lnTo>
                    <a:lnTo>
                      <a:pt x="66" y="251"/>
                    </a:lnTo>
                    <a:lnTo>
                      <a:pt x="93" y="237"/>
                    </a:lnTo>
                    <a:lnTo>
                      <a:pt x="120" y="228"/>
                    </a:lnTo>
                    <a:lnTo>
                      <a:pt x="151" y="225"/>
                    </a:lnTo>
                    <a:lnTo>
                      <a:pt x="701" y="225"/>
                    </a:lnTo>
                    <a:lnTo>
                      <a:pt x="701" y="150"/>
                    </a:lnTo>
                    <a:lnTo>
                      <a:pt x="704" y="120"/>
                    </a:lnTo>
                    <a:lnTo>
                      <a:pt x="712" y="92"/>
                    </a:lnTo>
                    <a:lnTo>
                      <a:pt x="726" y="66"/>
                    </a:lnTo>
                    <a:lnTo>
                      <a:pt x="745" y="44"/>
                    </a:lnTo>
                    <a:lnTo>
                      <a:pt x="767" y="25"/>
                    </a:lnTo>
                    <a:lnTo>
                      <a:pt x="793" y="12"/>
                    </a:lnTo>
                    <a:lnTo>
                      <a:pt x="821" y="3"/>
                    </a:lnTo>
                    <a:lnTo>
                      <a:pt x="85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25" name="Freeform 276">
                <a:extLst>
                  <a:ext uri="{FF2B5EF4-FFF2-40B4-BE49-F238E27FC236}">
                    <a16:creationId xmlns:a16="http://schemas.microsoft.com/office/drawing/2014/main" id="{126BFE45-1DA8-40B6-9D0F-7A1F9974065F}"/>
                  </a:ext>
                </a:extLst>
              </p:cNvPr>
              <p:cNvSpPr>
                <a:spLocks noEditPoints="1"/>
              </p:cNvSpPr>
              <p:nvPr/>
            </p:nvSpPr>
            <p:spPr bwMode="auto">
              <a:xfrm>
                <a:off x="8675688" y="4303713"/>
                <a:ext cx="74613" cy="120650"/>
              </a:xfrm>
              <a:custGeom>
                <a:avLst/>
                <a:gdLst>
                  <a:gd name="T0" fmla="*/ 104 w 513"/>
                  <a:gd name="T1" fmla="*/ 532 h 835"/>
                  <a:gd name="T2" fmla="*/ 79 w 513"/>
                  <a:gd name="T3" fmla="*/ 550 h 835"/>
                  <a:gd name="T4" fmla="*/ 69 w 513"/>
                  <a:gd name="T5" fmla="*/ 581 h 835"/>
                  <a:gd name="T6" fmla="*/ 79 w 513"/>
                  <a:gd name="T7" fmla="*/ 611 h 835"/>
                  <a:gd name="T8" fmla="*/ 104 w 513"/>
                  <a:gd name="T9" fmla="*/ 630 h 835"/>
                  <a:gd name="T10" fmla="*/ 137 w 513"/>
                  <a:gd name="T11" fmla="*/ 630 h 835"/>
                  <a:gd name="T12" fmla="*/ 161 w 513"/>
                  <a:gd name="T13" fmla="*/ 611 h 835"/>
                  <a:gd name="T14" fmla="*/ 172 w 513"/>
                  <a:gd name="T15" fmla="*/ 581 h 835"/>
                  <a:gd name="T16" fmla="*/ 161 w 513"/>
                  <a:gd name="T17" fmla="*/ 550 h 835"/>
                  <a:gd name="T18" fmla="*/ 137 w 513"/>
                  <a:gd name="T19" fmla="*/ 532 h 835"/>
                  <a:gd name="T20" fmla="*/ 121 w 513"/>
                  <a:gd name="T21" fmla="*/ 0 h 835"/>
                  <a:gd name="T22" fmla="*/ 155 w 513"/>
                  <a:gd name="T23" fmla="*/ 9 h 835"/>
                  <a:gd name="T24" fmla="*/ 180 w 513"/>
                  <a:gd name="T25" fmla="*/ 34 h 835"/>
                  <a:gd name="T26" fmla="*/ 189 w 513"/>
                  <a:gd name="T27" fmla="*/ 68 h 835"/>
                  <a:gd name="T28" fmla="*/ 208 w 513"/>
                  <a:gd name="T29" fmla="*/ 500 h 835"/>
                  <a:gd name="T30" fmla="*/ 234 w 513"/>
                  <a:gd name="T31" fmla="*/ 544 h 835"/>
                  <a:gd name="T32" fmla="*/ 480 w 513"/>
                  <a:gd name="T33" fmla="*/ 708 h 835"/>
                  <a:gd name="T34" fmla="*/ 504 w 513"/>
                  <a:gd name="T35" fmla="*/ 733 h 835"/>
                  <a:gd name="T36" fmla="*/ 513 w 513"/>
                  <a:gd name="T37" fmla="*/ 767 h 835"/>
                  <a:gd name="T38" fmla="*/ 504 w 513"/>
                  <a:gd name="T39" fmla="*/ 802 h 835"/>
                  <a:gd name="T40" fmla="*/ 479 w 513"/>
                  <a:gd name="T41" fmla="*/ 827 h 835"/>
                  <a:gd name="T42" fmla="*/ 445 w 513"/>
                  <a:gd name="T43" fmla="*/ 835 h 835"/>
                  <a:gd name="T44" fmla="*/ 410 w 513"/>
                  <a:gd name="T45" fmla="*/ 826 h 835"/>
                  <a:gd name="T46" fmla="*/ 147 w 513"/>
                  <a:gd name="T47" fmla="*/ 697 h 835"/>
                  <a:gd name="T48" fmla="*/ 93 w 513"/>
                  <a:gd name="T49" fmla="*/ 697 h 835"/>
                  <a:gd name="T50" fmla="*/ 45 w 513"/>
                  <a:gd name="T51" fmla="*/ 674 h 835"/>
                  <a:gd name="T52" fmla="*/ 13 w 513"/>
                  <a:gd name="T53" fmla="*/ 634 h 835"/>
                  <a:gd name="T54" fmla="*/ 0 w 513"/>
                  <a:gd name="T55" fmla="*/ 581 h 835"/>
                  <a:gd name="T56" fmla="*/ 9 w 513"/>
                  <a:gd name="T57" fmla="*/ 535 h 835"/>
                  <a:gd name="T58" fmla="*/ 34 w 513"/>
                  <a:gd name="T59" fmla="*/ 498 h 835"/>
                  <a:gd name="T60" fmla="*/ 51 w 513"/>
                  <a:gd name="T61" fmla="*/ 68 h 835"/>
                  <a:gd name="T62" fmla="*/ 60 w 513"/>
                  <a:gd name="T63" fmla="*/ 34 h 835"/>
                  <a:gd name="T64" fmla="*/ 86 w 513"/>
                  <a:gd name="T65" fmla="*/ 9 h 835"/>
                  <a:gd name="T66" fmla="*/ 121 w 513"/>
                  <a:gd name="T67" fmla="*/ 0 h 8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3" h="835">
                    <a:moveTo>
                      <a:pt x="121" y="530"/>
                    </a:moveTo>
                    <a:lnTo>
                      <a:pt x="104" y="532"/>
                    </a:lnTo>
                    <a:lnTo>
                      <a:pt x="90" y="539"/>
                    </a:lnTo>
                    <a:lnTo>
                      <a:pt x="79" y="550"/>
                    </a:lnTo>
                    <a:lnTo>
                      <a:pt x="72" y="565"/>
                    </a:lnTo>
                    <a:lnTo>
                      <a:pt x="69" y="581"/>
                    </a:lnTo>
                    <a:lnTo>
                      <a:pt x="72" y="597"/>
                    </a:lnTo>
                    <a:lnTo>
                      <a:pt x="79" y="611"/>
                    </a:lnTo>
                    <a:lnTo>
                      <a:pt x="90" y="622"/>
                    </a:lnTo>
                    <a:lnTo>
                      <a:pt x="104" y="630"/>
                    </a:lnTo>
                    <a:lnTo>
                      <a:pt x="121" y="633"/>
                    </a:lnTo>
                    <a:lnTo>
                      <a:pt x="137" y="630"/>
                    </a:lnTo>
                    <a:lnTo>
                      <a:pt x="151" y="622"/>
                    </a:lnTo>
                    <a:lnTo>
                      <a:pt x="161" y="611"/>
                    </a:lnTo>
                    <a:lnTo>
                      <a:pt x="170" y="597"/>
                    </a:lnTo>
                    <a:lnTo>
                      <a:pt x="172" y="581"/>
                    </a:lnTo>
                    <a:lnTo>
                      <a:pt x="170" y="565"/>
                    </a:lnTo>
                    <a:lnTo>
                      <a:pt x="161" y="550"/>
                    </a:lnTo>
                    <a:lnTo>
                      <a:pt x="151" y="539"/>
                    </a:lnTo>
                    <a:lnTo>
                      <a:pt x="137" y="532"/>
                    </a:lnTo>
                    <a:lnTo>
                      <a:pt x="121" y="530"/>
                    </a:lnTo>
                    <a:close/>
                    <a:moveTo>
                      <a:pt x="121" y="0"/>
                    </a:moveTo>
                    <a:lnTo>
                      <a:pt x="139" y="2"/>
                    </a:lnTo>
                    <a:lnTo>
                      <a:pt x="155" y="9"/>
                    </a:lnTo>
                    <a:lnTo>
                      <a:pt x="169" y="20"/>
                    </a:lnTo>
                    <a:lnTo>
                      <a:pt x="180" y="34"/>
                    </a:lnTo>
                    <a:lnTo>
                      <a:pt x="187" y="50"/>
                    </a:lnTo>
                    <a:lnTo>
                      <a:pt x="189" y="68"/>
                    </a:lnTo>
                    <a:lnTo>
                      <a:pt x="189" y="484"/>
                    </a:lnTo>
                    <a:lnTo>
                      <a:pt x="208" y="500"/>
                    </a:lnTo>
                    <a:lnTo>
                      <a:pt x="224" y="521"/>
                    </a:lnTo>
                    <a:lnTo>
                      <a:pt x="234" y="544"/>
                    </a:lnTo>
                    <a:lnTo>
                      <a:pt x="240" y="571"/>
                    </a:lnTo>
                    <a:lnTo>
                      <a:pt x="480" y="708"/>
                    </a:lnTo>
                    <a:lnTo>
                      <a:pt x="494" y="719"/>
                    </a:lnTo>
                    <a:lnTo>
                      <a:pt x="504" y="733"/>
                    </a:lnTo>
                    <a:lnTo>
                      <a:pt x="511" y="749"/>
                    </a:lnTo>
                    <a:lnTo>
                      <a:pt x="513" y="767"/>
                    </a:lnTo>
                    <a:lnTo>
                      <a:pt x="511" y="785"/>
                    </a:lnTo>
                    <a:lnTo>
                      <a:pt x="504" y="802"/>
                    </a:lnTo>
                    <a:lnTo>
                      <a:pt x="493" y="816"/>
                    </a:lnTo>
                    <a:lnTo>
                      <a:pt x="479" y="827"/>
                    </a:lnTo>
                    <a:lnTo>
                      <a:pt x="462" y="833"/>
                    </a:lnTo>
                    <a:lnTo>
                      <a:pt x="445" y="835"/>
                    </a:lnTo>
                    <a:lnTo>
                      <a:pt x="428" y="833"/>
                    </a:lnTo>
                    <a:lnTo>
                      <a:pt x="410" y="826"/>
                    </a:lnTo>
                    <a:lnTo>
                      <a:pt x="172" y="689"/>
                    </a:lnTo>
                    <a:lnTo>
                      <a:pt x="147" y="697"/>
                    </a:lnTo>
                    <a:lnTo>
                      <a:pt x="121" y="700"/>
                    </a:lnTo>
                    <a:lnTo>
                      <a:pt x="93" y="697"/>
                    </a:lnTo>
                    <a:lnTo>
                      <a:pt x="68" y="688"/>
                    </a:lnTo>
                    <a:lnTo>
                      <a:pt x="45" y="674"/>
                    </a:lnTo>
                    <a:lnTo>
                      <a:pt x="27" y="656"/>
                    </a:lnTo>
                    <a:lnTo>
                      <a:pt x="13" y="634"/>
                    </a:lnTo>
                    <a:lnTo>
                      <a:pt x="3" y="608"/>
                    </a:lnTo>
                    <a:lnTo>
                      <a:pt x="0" y="581"/>
                    </a:lnTo>
                    <a:lnTo>
                      <a:pt x="2" y="558"/>
                    </a:lnTo>
                    <a:lnTo>
                      <a:pt x="9" y="535"/>
                    </a:lnTo>
                    <a:lnTo>
                      <a:pt x="20" y="515"/>
                    </a:lnTo>
                    <a:lnTo>
                      <a:pt x="34" y="498"/>
                    </a:lnTo>
                    <a:lnTo>
                      <a:pt x="51" y="484"/>
                    </a:lnTo>
                    <a:lnTo>
                      <a:pt x="51" y="68"/>
                    </a:lnTo>
                    <a:lnTo>
                      <a:pt x="54" y="50"/>
                    </a:lnTo>
                    <a:lnTo>
                      <a:pt x="60" y="34"/>
                    </a:lnTo>
                    <a:lnTo>
                      <a:pt x="72" y="20"/>
                    </a:lnTo>
                    <a:lnTo>
                      <a:pt x="86" y="9"/>
                    </a:lnTo>
                    <a:lnTo>
                      <a:pt x="102" y="2"/>
                    </a:lnTo>
                    <a:lnTo>
                      <a:pt x="12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26" name="Freeform 277">
                <a:extLst>
                  <a:ext uri="{FF2B5EF4-FFF2-40B4-BE49-F238E27FC236}">
                    <a16:creationId xmlns:a16="http://schemas.microsoft.com/office/drawing/2014/main" id="{BDFD1D0A-278E-48BF-92DF-1688E7A8EB29}"/>
                  </a:ext>
                </a:extLst>
              </p:cNvPr>
              <p:cNvSpPr>
                <a:spLocks noEditPoints="1"/>
              </p:cNvSpPr>
              <p:nvPr/>
            </p:nvSpPr>
            <p:spPr bwMode="auto">
              <a:xfrm>
                <a:off x="8585201" y="4278313"/>
                <a:ext cx="217488" cy="217488"/>
              </a:xfrm>
              <a:custGeom>
                <a:avLst/>
                <a:gdLst>
                  <a:gd name="T0" fmla="*/ 632 w 1515"/>
                  <a:gd name="T1" fmla="*/ 149 h 1504"/>
                  <a:gd name="T2" fmla="*/ 463 w 1515"/>
                  <a:gd name="T3" fmla="*/ 211 h 1504"/>
                  <a:gd name="T4" fmla="*/ 320 w 1515"/>
                  <a:gd name="T5" fmla="*/ 317 h 1504"/>
                  <a:gd name="T6" fmla="*/ 213 w 1515"/>
                  <a:gd name="T7" fmla="*/ 459 h 1504"/>
                  <a:gd name="T8" fmla="*/ 151 w 1515"/>
                  <a:gd name="T9" fmla="*/ 628 h 1504"/>
                  <a:gd name="T10" fmla="*/ 142 w 1515"/>
                  <a:gd name="T11" fmla="*/ 815 h 1504"/>
                  <a:gd name="T12" fmla="*/ 186 w 1515"/>
                  <a:gd name="T13" fmla="*/ 991 h 1504"/>
                  <a:gd name="T14" fmla="*/ 279 w 1515"/>
                  <a:gd name="T15" fmla="*/ 1143 h 1504"/>
                  <a:gd name="T16" fmla="*/ 411 w 1515"/>
                  <a:gd name="T17" fmla="*/ 1263 h 1504"/>
                  <a:gd name="T18" fmla="*/ 573 w 1515"/>
                  <a:gd name="T19" fmla="*/ 1340 h 1504"/>
                  <a:gd name="T20" fmla="*/ 758 w 1515"/>
                  <a:gd name="T21" fmla="*/ 1367 h 1504"/>
                  <a:gd name="T22" fmla="*/ 941 w 1515"/>
                  <a:gd name="T23" fmla="*/ 1340 h 1504"/>
                  <a:gd name="T24" fmla="*/ 1103 w 1515"/>
                  <a:gd name="T25" fmla="*/ 1263 h 1504"/>
                  <a:gd name="T26" fmla="*/ 1235 w 1515"/>
                  <a:gd name="T27" fmla="*/ 1143 h 1504"/>
                  <a:gd name="T28" fmla="*/ 1328 w 1515"/>
                  <a:gd name="T29" fmla="*/ 991 h 1504"/>
                  <a:gd name="T30" fmla="*/ 1374 w 1515"/>
                  <a:gd name="T31" fmla="*/ 815 h 1504"/>
                  <a:gd name="T32" fmla="*/ 1365 w 1515"/>
                  <a:gd name="T33" fmla="*/ 628 h 1504"/>
                  <a:gd name="T34" fmla="*/ 1302 w 1515"/>
                  <a:gd name="T35" fmla="*/ 459 h 1504"/>
                  <a:gd name="T36" fmla="*/ 1195 w 1515"/>
                  <a:gd name="T37" fmla="*/ 317 h 1504"/>
                  <a:gd name="T38" fmla="*/ 1052 w 1515"/>
                  <a:gd name="T39" fmla="*/ 211 h 1504"/>
                  <a:gd name="T40" fmla="*/ 882 w 1515"/>
                  <a:gd name="T41" fmla="*/ 149 h 1504"/>
                  <a:gd name="T42" fmla="*/ 758 w 1515"/>
                  <a:gd name="T43" fmla="*/ 0 h 1504"/>
                  <a:gd name="T44" fmla="*/ 959 w 1515"/>
                  <a:gd name="T45" fmla="*/ 26 h 1504"/>
                  <a:gd name="T46" fmla="*/ 1139 w 1515"/>
                  <a:gd name="T47" fmla="*/ 102 h 1504"/>
                  <a:gd name="T48" fmla="*/ 1292 w 1515"/>
                  <a:gd name="T49" fmla="*/ 221 h 1504"/>
                  <a:gd name="T50" fmla="*/ 1410 w 1515"/>
                  <a:gd name="T51" fmla="*/ 373 h 1504"/>
                  <a:gd name="T52" fmla="*/ 1487 w 1515"/>
                  <a:gd name="T53" fmla="*/ 552 h 1504"/>
                  <a:gd name="T54" fmla="*/ 1515 w 1515"/>
                  <a:gd name="T55" fmla="*/ 752 h 1504"/>
                  <a:gd name="T56" fmla="*/ 1487 w 1515"/>
                  <a:gd name="T57" fmla="*/ 952 h 1504"/>
                  <a:gd name="T58" fmla="*/ 1410 w 1515"/>
                  <a:gd name="T59" fmla="*/ 1131 h 1504"/>
                  <a:gd name="T60" fmla="*/ 1292 w 1515"/>
                  <a:gd name="T61" fmla="*/ 1284 h 1504"/>
                  <a:gd name="T62" fmla="*/ 1139 w 1515"/>
                  <a:gd name="T63" fmla="*/ 1401 h 1504"/>
                  <a:gd name="T64" fmla="*/ 959 w 1515"/>
                  <a:gd name="T65" fmla="*/ 1477 h 1504"/>
                  <a:gd name="T66" fmla="*/ 758 w 1515"/>
                  <a:gd name="T67" fmla="*/ 1504 h 1504"/>
                  <a:gd name="T68" fmla="*/ 557 w 1515"/>
                  <a:gd name="T69" fmla="*/ 1477 h 1504"/>
                  <a:gd name="T70" fmla="*/ 375 w 1515"/>
                  <a:gd name="T71" fmla="*/ 1401 h 1504"/>
                  <a:gd name="T72" fmla="*/ 222 w 1515"/>
                  <a:gd name="T73" fmla="*/ 1284 h 1504"/>
                  <a:gd name="T74" fmla="*/ 104 w 1515"/>
                  <a:gd name="T75" fmla="*/ 1131 h 1504"/>
                  <a:gd name="T76" fmla="*/ 27 w 1515"/>
                  <a:gd name="T77" fmla="*/ 952 h 1504"/>
                  <a:gd name="T78" fmla="*/ 0 w 1515"/>
                  <a:gd name="T79" fmla="*/ 752 h 1504"/>
                  <a:gd name="T80" fmla="*/ 27 w 1515"/>
                  <a:gd name="T81" fmla="*/ 552 h 1504"/>
                  <a:gd name="T82" fmla="*/ 104 w 1515"/>
                  <a:gd name="T83" fmla="*/ 373 h 1504"/>
                  <a:gd name="T84" fmla="*/ 222 w 1515"/>
                  <a:gd name="T85" fmla="*/ 221 h 1504"/>
                  <a:gd name="T86" fmla="*/ 375 w 1515"/>
                  <a:gd name="T87" fmla="*/ 102 h 1504"/>
                  <a:gd name="T88" fmla="*/ 557 w 1515"/>
                  <a:gd name="T89" fmla="*/ 26 h 1504"/>
                  <a:gd name="T90" fmla="*/ 758 w 1515"/>
                  <a:gd name="T91" fmla="*/ 0 h 1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515" h="1504">
                    <a:moveTo>
                      <a:pt x="758" y="137"/>
                    </a:moveTo>
                    <a:lnTo>
                      <a:pt x="694" y="140"/>
                    </a:lnTo>
                    <a:lnTo>
                      <a:pt x="632" y="149"/>
                    </a:lnTo>
                    <a:lnTo>
                      <a:pt x="573" y="164"/>
                    </a:lnTo>
                    <a:lnTo>
                      <a:pt x="517" y="185"/>
                    </a:lnTo>
                    <a:lnTo>
                      <a:pt x="463" y="211"/>
                    </a:lnTo>
                    <a:lnTo>
                      <a:pt x="411" y="242"/>
                    </a:lnTo>
                    <a:lnTo>
                      <a:pt x="364" y="278"/>
                    </a:lnTo>
                    <a:lnTo>
                      <a:pt x="320" y="317"/>
                    </a:lnTo>
                    <a:lnTo>
                      <a:pt x="279" y="361"/>
                    </a:lnTo>
                    <a:lnTo>
                      <a:pt x="244" y="408"/>
                    </a:lnTo>
                    <a:lnTo>
                      <a:pt x="213" y="459"/>
                    </a:lnTo>
                    <a:lnTo>
                      <a:pt x="186" y="513"/>
                    </a:lnTo>
                    <a:lnTo>
                      <a:pt x="166" y="569"/>
                    </a:lnTo>
                    <a:lnTo>
                      <a:pt x="151" y="628"/>
                    </a:lnTo>
                    <a:lnTo>
                      <a:pt x="142" y="689"/>
                    </a:lnTo>
                    <a:lnTo>
                      <a:pt x="139" y="752"/>
                    </a:lnTo>
                    <a:lnTo>
                      <a:pt x="142" y="815"/>
                    </a:lnTo>
                    <a:lnTo>
                      <a:pt x="151" y="876"/>
                    </a:lnTo>
                    <a:lnTo>
                      <a:pt x="166" y="935"/>
                    </a:lnTo>
                    <a:lnTo>
                      <a:pt x="186" y="991"/>
                    </a:lnTo>
                    <a:lnTo>
                      <a:pt x="213" y="1045"/>
                    </a:lnTo>
                    <a:lnTo>
                      <a:pt x="244" y="1095"/>
                    </a:lnTo>
                    <a:lnTo>
                      <a:pt x="279" y="1143"/>
                    </a:lnTo>
                    <a:lnTo>
                      <a:pt x="320" y="1187"/>
                    </a:lnTo>
                    <a:lnTo>
                      <a:pt x="364" y="1227"/>
                    </a:lnTo>
                    <a:lnTo>
                      <a:pt x="411" y="1263"/>
                    </a:lnTo>
                    <a:lnTo>
                      <a:pt x="463" y="1293"/>
                    </a:lnTo>
                    <a:lnTo>
                      <a:pt x="517" y="1319"/>
                    </a:lnTo>
                    <a:lnTo>
                      <a:pt x="573" y="1340"/>
                    </a:lnTo>
                    <a:lnTo>
                      <a:pt x="632" y="1355"/>
                    </a:lnTo>
                    <a:lnTo>
                      <a:pt x="694" y="1364"/>
                    </a:lnTo>
                    <a:lnTo>
                      <a:pt x="758" y="1367"/>
                    </a:lnTo>
                    <a:lnTo>
                      <a:pt x="821" y="1364"/>
                    </a:lnTo>
                    <a:lnTo>
                      <a:pt x="882" y="1355"/>
                    </a:lnTo>
                    <a:lnTo>
                      <a:pt x="941" y="1340"/>
                    </a:lnTo>
                    <a:lnTo>
                      <a:pt x="998" y="1319"/>
                    </a:lnTo>
                    <a:lnTo>
                      <a:pt x="1052" y="1293"/>
                    </a:lnTo>
                    <a:lnTo>
                      <a:pt x="1103" y="1263"/>
                    </a:lnTo>
                    <a:lnTo>
                      <a:pt x="1151" y="1227"/>
                    </a:lnTo>
                    <a:lnTo>
                      <a:pt x="1195" y="1187"/>
                    </a:lnTo>
                    <a:lnTo>
                      <a:pt x="1235" y="1143"/>
                    </a:lnTo>
                    <a:lnTo>
                      <a:pt x="1271" y="1095"/>
                    </a:lnTo>
                    <a:lnTo>
                      <a:pt x="1302" y="1045"/>
                    </a:lnTo>
                    <a:lnTo>
                      <a:pt x="1328" y="991"/>
                    </a:lnTo>
                    <a:lnTo>
                      <a:pt x="1349" y="935"/>
                    </a:lnTo>
                    <a:lnTo>
                      <a:pt x="1365" y="876"/>
                    </a:lnTo>
                    <a:lnTo>
                      <a:pt x="1374" y="815"/>
                    </a:lnTo>
                    <a:lnTo>
                      <a:pt x="1377" y="752"/>
                    </a:lnTo>
                    <a:lnTo>
                      <a:pt x="1374" y="689"/>
                    </a:lnTo>
                    <a:lnTo>
                      <a:pt x="1365" y="628"/>
                    </a:lnTo>
                    <a:lnTo>
                      <a:pt x="1349" y="569"/>
                    </a:lnTo>
                    <a:lnTo>
                      <a:pt x="1328" y="513"/>
                    </a:lnTo>
                    <a:lnTo>
                      <a:pt x="1302" y="459"/>
                    </a:lnTo>
                    <a:lnTo>
                      <a:pt x="1271" y="408"/>
                    </a:lnTo>
                    <a:lnTo>
                      <a:pt x="1235" y="361"/>
                    </a:lnTo>
                    <a:lnTo>
                      <a:pt x="1195" y="317"/>
                    </a:lnTo>
                    <a:lnTo>
                      <a:pt x="1151" y="278"/>
                    </a:lnTo>
                    <a:lnTo>
                      <a:pt x="1103" y="242"/>
                    </a:lnTo>
                    <a:lnTo>
                      <a:pt x="1052" y="211"/>
                    </a:lnTo>
                    <a:lnTo>
                      <a:pt x="998" y="185"/>
                    </a:lnTo>
                    <a:lnTo>
                      <a:pt x="941" y="164"/>
                    </a:lnTo>
                    <a:lnTo>
                      <a:pt x="882" y="149"/>
                    </a:lnTo>
                    <a:lnTo>
                      <a:pt x="821" y="140"/>
                    </a:lnTo>
                    <a:lnTo>
                      <a:pt x="758" y="137"/>
                    </a:lnTo>
                    <a:close/>
                    <a:moveTo>
                      <a:pt x="758" y="0"/>
                    </a:moveTo>
                    <a:lnTo>
                      <a:pt x="826" y="3"/>
                    </a:lnTo>
                    <a:lnTo>
                      <a:pt x="893" y="12"/>
                    </a:lnTo>
                    <a:lnTo>
                      <a:pt x="959" y="26"/>
                    </a:lnTo>
                    <a:lnTo>
                      <a:pt x="1021" y="47"/>
                    </a:lnTo>
                    <a:lnTo>
                      <a:pt x="1081" y="73"/>
                    </a:lnTo>
                    <a:lnTo>
                      <a:pt x="1139" y="102"/>
                    </a:lnTo>
                    <a:lnTo>
                      <a:pt x="1193" y="138"/>
                    </a:lnTo>
                    <a:lnTo>
                      <a:pt x="1244" y="177"/>
                    </a:lnTo>
                    <a:lnTo>
                      <a:pt x="1292" y="221"/>
                    </a:lnTo>
                    <a:lnTo>
                      <a:pt x="1336" y="267"/>
                    </a:lnTo>
                    <a:lnTo>
                      <a:pt x="1376" y="318"/>
                    </a:lnTo>
                    <a:lnTo>
                      <a:pt x="1410" y="373"/>
                    </a:lnTo>
                    <a:lnTo>
                      <a:pt x="1441" y="430"/>
                    </a:lnTo>
                    <a:lnTo>
                      <a:pt x="1467" y="490"/>
                    </a:lnTo>
                    <a:lnTo>
                      <a:pt x="1487" y="552"/>
                    </a:lnTo>
                    <a:lnTo>
                      <a:pt x="1502" y="617"/>
                    </a:lnTo>
                    <a:lnTo>
                      <a:pt x="1511" y="684"/>
                    </a:lnTo>
                    <a:lnTo>
                      <a:pt x="1515" y="752"/>
                    </a:lnTo>
                    <a:lnTo>
                      <a:pt x="1511" y="821"/>
                    </a:lnTo>
                    <a:lnTo>
                      <a:pt x="1502" y="887"/>
                    </a:lnTo>
                    <a:lnTo>
                      <a:pt x="1487" y="952"/>
                    </a:lnTo>
                    <a:lnTo>
                      <a:pt x="1467" y="1014"/>
                    </a:lnTo>
                    <a:lnTo>
                      <a:pt x="1441" y="1074"/>
                    </a:lnTo>
                    <a:lnTo>
                      <a:pt x="1410" y="1131"/>
                    </a:lnTo>
                    <a:lnTo>
                      <a:pt x="1376" y="1186"/>
                    </a:lnTo>
                    <a:lnTo>
                      <a:pt x="1336" y="1236"/>
                    </a:lnTo>
                    <a:lnTo>
                      <a:pt x="1292" y="1284"/>
                    </a:lnTo>
                    <a:lnTo>
                      <a:pt x="1244" y="1327"/>
                    </a:lnTo>
                    <a:lnTo>
                      <a:pt x="1193" y="1366"/>
                    </a:lnTo>
                    <a:lnTo>
                      <a:pt x="1139" y="1401"/>
                    </a:lnTo>
                    <a:lnTo>
                      <a:pt x="1081" y="1432"/>
                    </a:lnTo>
                    <a:lnTo>
                      <a:pt x="1021" y="1457"/>
                    </a:lnTo>
                    <a:lnTo>
                      <a:pt x="959" y="1477"/>
                    </a:lnTo>
                    <a:lnTo>
                      <a:pt x="893" y="1492"/>
                    </a:lnTo>
                    <a:lnTo>
                      <a:pt x="826" y="1501"/>
                    </a:lnTo>
                    <a:lnTo>
                      <a:pt x="758" y="1504"/>
                    </a:lnTo>
                    <a:lnTo>
                      <a:pt x="688" y="1501"/>
                    </a:lnTo>
                    <a:lnTo>
                      <a:pt x="622" y="1492"/>
                    </a:lnTo>
                    <a:lnTo>
                      <a:pt x="557" y="1477"/>
                    </a:lnTo>
                    <a:lnTo>
                      <a:pt x="493" y="1457"/>
                    </a:lnTo>
                    <a:lnTo>
                      <a:pt x="433" y="1432"/>
                    </a:lnTo>
                    <a:lnTo>
                      <a:pt x="375" y="1401"/>
                    </a:lnTo>
                    <a:lnTo>
                      <a:pt x="321" y="1366"/>
                    </a:lnTo>
                    <a:lnTo>
                      <a:pt x="270" y="1327"/>
                    </a:lnTo>
                    <a:lnTo>
                      <a:pt x="222" y="1284"/>
                    </a:lnTo>
                    <a:lnTo>
                      <a:pt x="178" y="1236"/>
                    </a:lnTo>
                    <a:lnTo>
                      <a:pt x="139" y="1186"/>
                    </a:lnTo>
                    <a:lnTo>
                      <a:pt x="104" y="1131"/>
                    </a:lnTo>
                    <a:lnTo>
                      <a:pt x="73" y="1074"/>
                    </a:lnTo>
                    <a:lnTo>
                      <a:pt x="48" y="1014"/>
                    </a:lnTo>
                    <a:lnTo>
                      <a:pt x="27" y="952"/>
                    </a:lnTo>
                    <a:lnTo>
                      <a:pt x="12" y="887"/>
                    </a:lnTo>
                    <a:lnTo>
                      <a:pt x="4" y="821"/>
                    </a:lnTo>
                    <a:lnTo>
                      <a:pt x="0" y="752"/>
                    </a:lnTo>
                    <a:lnTo>
                      <a:pt x="4" y="684"/>
                    </a:lnTo>
                    <a:lnTo>
                      <a:pt x="12" y="617"/>
                    </a:lnTo>
                    <a:lnTo>
                      <a:pt x="27" y="552"/>
                    </a:lnTo>
                    <a:lnTo>
                      <a:pt x="48" y="490"/>
                    </a:lnTo>
                    <a:lnTo>
                      <a:pt x="73" y="430"/>
                    </a:lnTo>
                    <a:lnTo>
                      <a:pt x="104" y="373"/>
                    </a:lnTo>
                    <a:lnTo>
                      <a:pt x="139" y="318"/>
                    </a:lnTo>
                    <a:lnTo>
                      <a:pt x="178" y="267"/>
                    </a:lnTo>
                    <a:lnTo>
                      <a:pt x="222" y="221"/>
                    </a:lnTo>
                    <a:lnTo>
                      <a:pt x="270" y="177"/>
                    </a:lnTo>
                    <a:lnTo>
                      <a:pt x="321" y="138"/>
                    </a:lnTo>
                    <a:lnTo>
                      <a:pt x="375" y="102"/>
                    </a:lnTo>
                    <a:lnTo>
                      <a:pt x="433" y="73"/>
                    </a:lnTo>
                    <a:lnTo>
                      <a:pt x="493" y="47"/>
                    </a:lnTo>
                    <a:lnTo>
                      <a:pt x="557" y="26"/>
                    </a:lnTo>
                    <a:lnTo>
                      <a:pt x="622" y="12"/>
                    </a:lnTo>
                    <a:lnTo>
                      <a:pt x="688" y="3"/>
                    </a:lnTo>
                    <a:lnTo>
                      <a:pt x="75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grpSp>
        <p:sp>
          <p:nvSpPr>
            <p:cNvPr id="21" name="Freeform 530">
              <a:extLst>
                <a:ext uri="{FF2B5EF4-FFF2-40B4-BE49-F238E27FC236}">
                  <a16:creationId xmlns:a16="http://schemas.microsoft.com/office/drawing/2014/main" id="{CC0B7981-9CBA-47C2-97D0-7F3078A7E968}"/>
                </a:ext>
              </a:extLst>
            </p:cNvPr>
            <p:cNvSpPr>
              <a:spLocks noEditPoints="1"/>
            </p:cNvSpPr>
            <p:nvPr/>
          </p:nvSpPr>
          <p:spPr bwMode="auto">
            <a:xfrm>
              <a:off x="7673189" y="1853101"/>
              <a:ext cx="236525" cy="238736"/>
            </a:xfrm>
            <a:custGeom>
              <a:avLst/>
              <a:gdLst>
                <a:gd name="T0" fmla="*/ 0 w 170"/>
                <a:gd name="T1" fmla="*/ 85 h 170"/>
                <a:gd name="T2" fmla="*/ 170 w 170"/>
                <a:gd name="T3" fmla="*/ 85 h 170"/>
                <a:gd name="T4" fmla="*/ 90 w 170"/>
                <a:gd name="T5" fmla="*/ 125 h 170"/>
                <a:gd name="T6" fmla="*/ 79 w 170"/>
                <a:gd name="T7" fmla="*/ 117 h 170"/>
                <a:gd name="T8" fmla="*/ 67 w 170"/>
                <a:gd name="T9" fmla="*/ 113 h 170"/>
                <a:gd name="T10" fmla="*/ 60 w 170"/>
                <a:gd name="T11" fmla="*/ 103 h 170"/>
                <a:gd name="T12" fmla="*/ 51 w 170"/>
                <a:gd name="T13" fmla="*/ 92 h 170"/>
                <a:gd name="T14" fmla="*/ 47 w 170"/>
                <a:gd name="T15" fmla="*/ 87 h 170"/>
                <a:gd name="T16" fmla="*/ 51 w 170"/>
                <a:gd name="T17" fmla="*/ 99 h 170"/>
                <a:gd name="T18" fmla="*/ 47 w 170"/>
                <a:gd name="T19" fmla="*/ 92 h 170"/>
                <a:gd name="T20" fmla="*/ 39 w 170"/>
                <a:gd name="T21" fmla="*/ 82 h 170"/>
                <a:gd name="T22" fmla="*/ 33 w 170"/>
                <a:gd name="T23" fmla="*/ 67 h 170"/>
                <a:gd name="T24" fmla="*/ 35 w 170"/>
                <a:gd name="T25" fmla="*/ 60 h 170"/>
                <a:gd name="T26" fmla="*/ 27 w 170"/>
                <a:gd name="T27" fmla="*/ 49 h 170"/>
                <a:gd name="T28" fmla="*/ 57 w 170"/>
                <a:gd name="T29" fmla="*/ 25 h 170"/>
                <a:gd name="T30" fmla="*/ 61 w 170"/>
                <a:gd name="T31" fmla="*/ 20 h 170"/>
                <a:gd name="T32" fmla="*/ 64 w 170"/>
                <a:gd name="T33" fmla="*/ 19 h 170"/>
                <a:gd name="T34" fmla="*/ 70 w 170"/>
                <a:gd name="T35" fmla="*/ 23 h 170"/>
                <a:gd name="T36" fmla="*/ 76 w 170"/>
                <a:gd name="T37" fmla="*/ 23 h 170"/>
                <a:gd name="T38" fmla="*/ 76 w 170"/>
                <a:gd name="T39" fmla="*/ 19 h 170"/>
                <a:gd name="T40" fmla="*/ 80 w 170"/>
                <a:gd name="T41" fmla="*/ 20 h 170"/>
                <a:gd name="T42" fmla="*/ 89 w 170"/>
                <a:gd name="T43" fmla="*/ 24 h 170"/>
                <a:gd name="T44" fmla="*/ 95 w 170"/>
                <a:gd name="T45" fmla="*/ 23 h 170"/>
                <a:gd name="T46" fmla="*/ 88 w 170"/>
                <a:gd name="T47" fmla="*/ 27 h 170"/>
                <a:gd name="T48" fmla="*/ 78 w 170"/>
                <a:gd name="T49" fmla="*/ 36 h 170"/>
                <a:gd name="T50" fmla="*/ 91 w 170"/>
                <a:gd name="T51" fmla="*/ 46 h 170"/>
                <a:gd name="T52" fmla="*/ 100 w 170"/>
                <a:gd name="T53" fmla="*/ 52 h 170"/>
                <a:gd name="T54" fmla="*/ 102 w 170"/>
                <a:gd name="T55" fmla="*/ 45 h 170"/>
                <a:gd name="T56" fmla="*/ 102 w 170"/>
                <a:gd name="T57" fmla="*/ 35 h 170"/>
                <a:gd name="T58" fmla="*/ 113 w 170"/>
                <a:gd name="T59" fmla="*/ 35 h 170"/>
                <a:gd name="T60" fmla="*/ 115 w 170"/>
                <a:gd name="T61" fmla="*/ 41 h 170"/>
                <a:gd name="T62" fmla="*/ 119 w 170"/>
                <a:gd name="T63" fmla="*/ 39 h 170"/>
                <a:gd name="T64" fmla="*/ 123 w 170"/>
                <a:gd name="T65" fmla="*/ 39 h 170"/>
                <a:gd name="T66" fmla="*/ 128 w 170"/>
                <a:gd name="T67" fmla="*/ 46 h 170"/>
                <a:gd name="T68" fmla="*/ 134 w 170"/>
                <a:gd name="T69" fmla="*/ 49 h 170"/>
                <a:gd name="T70" fmla="*/ 123 w 170"/>
                <a:gd name="T71" fmla="*/ 54 h 170"/>
                <a:gd name="T72" fmla="*/ 114 w 170"/>
                <a:gd name="T73" fmla="*/ 59 h 170"/>
                <a:gd name="T74" fmla="*/ 120 w 170"/>
                <a:gd name="T75" fmla="*/ 59 h 170"/>
                <a:gd name="T76" fmla="*/ 114 w 170"/>
                <a:gd name="T77" fmla="*/ 66 h 170"/>
                <a:gd name="T78" fmla="*/ 107 w 170"/>
                <a:gd name="T79" fmla="*/ 72 h 170"/>
                <a:gd name="T80" fmla="*/ 103 w 170"/>
                <a:gd name="T81" fmla="*/ 78 h 170"/>
                <a:gd name="T82" fmla="*/ 99 w 170"/>
                <a:gd name="T83" fmla="*/ 85 h 170"/>
                <a:gd name="T84" fmla="*/ 98 w 170"/>
                <a:gd name="T85" fmla="*/ 94 h 170"/>
                <a:gd name="T86" fmla="*/ 95 w 170"/>
                <a:gd name="T87" fmla="*/ 93 h 170"/>
                <a:gd name="T88" fmla="*/ 89 w 170"/>
                <a:gd name="T89" fmla="*/ 90 h 170"/>
                <a:gd name="T90" fmla="*/ 78 w 170"/>
                <a:gd name="T91" fmla="*/ 91 h 170"/>
                <a:gd name="T92" fmla="*/ 75 w 170"/>
                <a:gd name="T93" fmla="*/ 93 h 170"/>
                <a:gd name="T94" fmla="*/ 72 w 170"/>
                <a:gd name="T95" fmla="*/ 103 h 170"/>
                <a:gd name="T96" fmla="*/ 83 w 170"/>
                <a:gd name="T97" fmla="*/ 109 h 170"/>
                <a:gd name="T98" fmla="*/ 87 w 170"/>
                <a:gd name="T99" fmla="*/ 110 h 170"/>
                <a:gd name="T100" fmla="*/ 88 w 170"/>
                <a:gd name="T101" fmla="*/ 115 h 170"/>
                <a:gd name="T102" fmla="*/ 95 w 170"/>
                <a:gd name="T103" fmla="*/ 121 h 170"/>
                <a:gd name="T104" fmla="*/ 94 w 170"/>
                <a:gd name="T105" fmla="*/ 125 h 170"/>
                <a:gd name="T106" fmla="*/ 98 w 170"/>
                <a:gd name="T107" fmla="*/ 151 h 170"/>
                <a:gd name="T108" fmla="*/ 101 w 170"/>
                <a:gd name="T109" fmla="*/ 128 h 170"/>
                <a:gd name="T110" fmla="*/ 107 w 170"/>
                <a:gd name="T111" fmla="*/ 125 h 170"/>
                <a:gd name="T112" fmla="*/ 111 w 170"/>
                <a:gd name="T113" fmla="*/ 127 h 170"/>
                <a:gd name="T114" fmla="*/ 117 w 170"/>
                <a:gd name="T115" fmla="*/ 125 h 170"/>
                <a:gd name="T116" fmla="*/ 123 w 170"/>
                <a:gd name="T117" fmla="*/ 126 h 170"/>
                <a:gd name="T118" fmla="*/ 128 w 170"/>
                <a:gd name="T119" fmla="*/ 129 h 170"/>
                <a:gd name="T120" fmla="*/ 136 w 170"/>
                <a:gd name="T121" fmla="*/ 134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70" h="170">
                  <a:moveTo>
                    <a:pt x="159" y="42"/>
                  </a:moveTo>
                  <a:cubicBezTo>
                    <a:pt x="151" y="29"/>
                    <a:pt x="141" y="19"/>
                    <a:pt x="128" y="11"/>
                  </a:cubicBezTo>
                  <a:cubicBezTo>
                    <a:pt x="115" y="4"/>
                    <a:pt x="101" y="0"/>
                    <a:pt x="85" y="0"/>
                  </a:cubicBezTo>
                  <a:cubicBezTo>
                    <a:pt x="70" y="0"/>
                    <a:pt x="56" y="4"/>
                    <a:pt x="43" y="11"/>
                  </a:cubicBezTo>
                  <a:cubicBezTo>
                    <a:pt x="29" y="19"/>
                    <a:pt x="19" y="29"/>
                    <a:pt x="12" y="42"/>
                  </a:cubicBezTo>
                  <a:cubicBezTo>
                    <a:pt x="4" y="55"/>
                    <a:pt x="0" y="70"/>
                    <a:pt x="0" y="85"/>
                  </a:cubicBezTo>
                  <a:cubicBezTo>
                    <a:pt x="0" y="100"/>
                    <a:pt x="4" y="115"/>
                    <a:pt x="12" y="128"/>
                  </a:cubicBezTo>
                  <a:cubicBezTo>
                    <a:pt x="19" y="141"/>
                    <a:pt x="29" y="151"/>
                    <a:pt x="43" y="159"/>
                  </a:cubicBezTo>
                  <a:cubicBezTo>
                    <a:pt x="56" y="166"/>
                    <a:pt x="70" y="170"/>
                    <a:pt x="85" y="170"/>
                  </a:cubicBezTo>
                  <a:cubicBezTo>
                    <a:pt x="101" y="170"/>
                    <a:pt x="115" y="166"/>
                    <a:pt x="128" y="159"/>
                  </a:cubicBezTo>
                  <a:cubicBezTo>
                    <a:pt x="141" y="151"/>
                    <a:pt x="151" y="141"/>
                    <a:pt x="159" y="128"/>
                  </a:cubicBezTo>
                  <a:cubicBezTo>
                    <a:pt x="166" y="115"/>
                    <a:pt x="170" y="100"/>
                    <a:pt x="170" y="85"/>
                  </a:cubicBezTo>
                  <a:cubicBezTo>
                    <a:pt x="170" y="70"/>
                    <a:pt x="166" y="55"/>
                    <a:pt x="159" y="42"/>
                  </a:cubicBezTo>
                  <a:close/>
                  <a:moveTo>
                    <a:pt x="96" y="130"/>
                  </a:moveTo>
                  <a:cubicBezTo>
                    <a:pt x="95" y="129"/>
                    <a:pt x="95" y="128"/>
                    <a:pt x="95" y="128"/>
                  </a:cubicBezTo>
                  <a:cubicBezTo>
                    <a:pt x="95" y="128"/>
                    <a:pt x="95" y="128"/>
                    <a:pt x="94" y="129"/>
                  </a:cubicBezTo>
                  <a:cubicBezTo>
                    <a:pt x="94" y="128"/>
                    <a:pt x="93" y="128"/>
                    <a:pt x="92" y="127"/>
                  </a:cubicBezTo>
                  <a:cubicBezTo>
                    <a:pt x="91" y="126"/>
                    <a:pt x="91" y="126"/>
                    <a:pt x="90" y="125"/>
                  </a:cubicBezTo>
                  <a:cubicBezTo>
                    <a:pt x="90" y="125"/>
                    <a:pt x="90" y="125"/>
                    <a:pt x="90" y="124"/>
                  </a:cubicBezTo>
                  <a:cubicBezTo>
                    <a:pt x="89" y="124"/>
                    <a:pt x="89" y="123"/>
                    <a:pt x="89" y="123"/>
                  </a:cubicBezTo>
                  <a:cubicBezTo>
                    <a:pt x="88" y="122"/>
                    <a:pt x="88" y="121"/>
                    <a:pt x="88" y="121"/>
                  </a:cubicBezTo>
                  <a:cubicBezTo>
                    <a:pt x="88" y="120"/>
                    <a:pt x="88" y="120"/>
                    <a:pt x="88" y="120"/>
                  </a:cubicBezTo>
                  <a:cubicBezTo>
                    <a:pt x="86" y="121"/>
                    <a:pt x="84" y="120"/>
                    <a:pt x="82" y="119"/>
                  </a:cubicBezTo>
                  <a:cubicBezTo>
                    <a:pt x="81" y="119"/>
                    <a:pt x="80" y="118"/>
                    <a:pt x="79" y="117"/>
                  </a:cubicBezTo>
                  <a:cubicBezTo>
                    <a:pt x="78" y="115"/>
                    <a:pt x="77" y="115"/>
                    <a:pt x="76" y="115"/>
                  </a:cubicBezTo>
                  <a:cubicBezTo>
                    <a:pt x="76" y="115"/>
                    <a:pt x="75" y="115"/>
                    <a:pt x="75" y="115"/>
                  </a:cubicBezTo>
                  <a:cubicBezTo>
                    <a:pt x="74" y="116"/>
                    <a:pt x="73" y="116"/>
                    <a:pt x="73" y="116"/>
                  </a:cubicBezTo>
                  <a:cubicBezTo>
                    <a:pt x="73" y="116"/>
                    <a:pt x="72" y="115"/>
                    <a:pt x="71" y="115"/>
                  </a:cubicBezTo>
                  <a:cubicBezTo>
                    <a:pt x="71" y="115"/>
                    <a:pt x="70" y="115"/>
                    <a:pt x="69" y="114"/>
                  </a:cubicBezTo>
                  <a:cubicBezTo>
                    <a:pt x="68" y="113"/>
                    <a:pt x="67" y="113"/>
                    <a:pt x="67" y="113"/>
                  </a:cubicBezTo>
                  <a:cubicBezTo>
                    <a:pt x="65" y="112"/>
                    <a:pt x="65" y="112"/>
                    <a:pt x="65" y="112"/>
                  </a:cubicBezTo>
                  <a:cubicBezTo>
                    <a:pt x="64" y="111"/>
                    <a:pt x="64" y="111"/>
                    <a:pt x="64" y="111"/>
                  </a:cubicBezTo>
                  <a:cubicBezTo>
                    <a:pt x="63" y="111"/>
                    <a:pt x="63" y="110"/>
                    <a:pt x="62" y="110"/>
                  </a:cubicBezTo>
                  <a:cubicBezTo>
                    <a:pt x="62" y="110"/>
                    <a:pt x="61" y="109"/>
                    <a:pt x="61" y="109"/>
                  </a:cubicBezTo>
                  <a:cubicBezTo>
                    <a:pt x="61" y="108"/>
                    <a:pt x="61" y="107"/>
                    <a:pt x="61" y="106"/>
                  </a:cubicBezTo>
                  <a:cubicBezTo>
                    <a:pt x="60" y="105"/>
                    <a:pt x="60" y="104"/>
                    <a:pt x="60" y="103"/>
                  </a:cubicBezTo>
                  <a:cubicBezTo>
                    <a:pt x="59" y="102"/>
                    <a:pt x="59" y="102"/>
                    <a:pt x="58" y="101"/>
                  </a:cubicBezTo>
                  <a:cubicBezTo>
                    <a:pt x="57" y="100"/>
                    <a:pt x="56" y="100"/>
                    <a:pt x="56" y="100"/>
                  </a:cubicBezTo>
                  <a:cubicBezTo>
                    <a:pt x="56" y="100"/>
                    <a:pt x="56" y="99"/>
                    <a:pt x="56" y="98"/>
                  </a:cubicBezTo>
                  <a:cubicBezTo>
                    <a:pt x="55" y="97"/>
                    <a:pt x="55" y="96"/>
                    <a:pt x="54" y="96"/>
                  </a:cubicBezTo>
                  <a:cubicBezTo>
                    <a:pt x="54" y="96"/>
                    <a:pt x="54" y="95"/>
                    <a:pt x="53" y="95"/>
                  </a:cubicBezTo>
                  <a:cubicBezTo>
                    <a:pt x="52" y="94"/>
                    <a:pt x="52" y="93"/>
                    <a:pt x="51" y="92"/>
                  </a:cubicBezTo>
                  <a:cubicBezTo>
                    <a:pt x="50" y="92"/>
                    <a:pt x="50" y="91"/>
                    <a:pt x="50" y="90"/>
                  </a:cubicBezTo>
                  <a:cubicBezTo>
                    <a:pt x="49" y="90"/>
                    <a:pt x="49" y="89"/>
                    <a:pt x="49" y="88"/>
                  </a:cubicBezTo>
                  <a:cubicBezTo>
                    <a:pt x="50" y="88"/>
                    <a:pt x="49" y="88"/>
                    <a:pt x="49" y="88"/>
                  </a:cubicBezTo>
                  <a:cubicBezTo>
                    <a:pt x="49" y="88"/>
                    <a:pt x="49" y="88"/>
                    <a:pt x="48" y="88"/>
                  </a:cubicBezTo>
                  <a:cubicBezTo>
                    <a:pt x="48" y="88"/>
                    <a:pt x="48" y="87"/>
                    <a:pt x="47" y="87"/>
                  </a:cubicBezTo>
                  <a:cubicBezTo>
                    <a:pt x="47" y="87"/>
                    <a:pt x="47" y="87"/>
                    <a:pt x="47" y="87"/>
                  </a:cubicBezTo>
                  <a:cubicBezTo>
                    <a:pt x="47" y="87"/>
                    <a:pt x="47" y="88"/>
                    <a:pt x="47" y="89"/>
                  </a:cubicBezTo>
                  <a:cubicBezTo>
                    <a:pt x="47" y="90"/>
                    <a:pt x="48" y="90"/>
                    <a:pt x="48" y="90"/>
                  </a:cubicBezTo>
                  <a:cubicBezTo>
                    <a:pt x="48" y="91"/>
                    <a:pt x="49" y="92"/>
                    <a:pt x="50" y="94"/>
                  </a:cubicBezTo>
                  <a:cubicBezTo>
                    <a:pt x="52" y="97"/>
                    <a:pt x="53" y="99"/>
                    <a:pt x="52" y="101"/>
                  </a:cubicBezTo>
                  <a:cubicBezTo>
                    <a:pt x="52" y="101"/>
                    <a:pt x="52" y="101"/>
                    <a:pt x="52" y="100"/>
                  </a:cubicBezTo>
                  <a:cubicBezTo>
                    <a:pt x="51" y="100"/>
                    <a:pt x="51" y="100"/>
                    <a:pt x="51" y="99"/>
                  </a:cubicBezTo>
                  <a:cubicBezTo>
                    <a:pt x="51" y="99"/>
                    <a:pt x="51" y="98"/>
                    <a:pt x="51" y="98"/>
                  </a:cubicBezTo>
                  <a:cubicBezTo>
                    <a:pt x="51" y="98"/>
                    <a:pt x="50" y="97"/>
                    <a:pt x="49" y="97"/>
                  </a:cubicBezTo>
                  <a:cubicBezTo>
                    <a:pt x="48" y="96"/>
                    <a:pt x="48" y="96"/>
                    <a:pt x="48" y="95"/>
                  </a:cubicBezTo>
                  <a:cubicBezTo>
                    <a:pt x="48" y="95"/>
                    <a:pt x="48" y="95"/>
                    <a:pt x="48" y="95"/>
                  </a:cubicBezTo>
                  <a:cubicBezTo>
                    <a:pt x="48" y="95"/>
                    <a:pt x="48" y="95"/>
                    <a:pt x="48" y="95"/>
                  </a:cubicBezTo>
                  <a:cubicBezTo>
                    <a:pt x="48" y="94"/>
                    <a:pt x="48" y="93"/>
                    <a:pt x="47" y="92"/>
                  </a:cubicBezTo>
                  <a:cubicBezTo>
                    <a:pt x="46" y="91"/>
                    <a:pt x="46" y="90"/>
                    <a:pt x="46" y="90"/>
                  </a:cubicBezTo>
                  <a:cubicBezTo>
                    <a:pt x="45" y="90"/>
                    <a:pt x="45" y="89"/>
                    <a:pt x="44" y="87"/>
                  </a:cubicBezTo>
                  <a:cubicBezTo>
                    <a:pt x="44" y="86"/>
                    <a:pt x="44" y="85"/>
                    <a:pt x="43" y="85"/>
                  </a:cubicBezTo>
                  <a:cubicBezTo>
                    <a:pt x="43" y="85"/>
                    <a:pt x="43" y="84"/>
                    <a:pt x="42" y="84"/>
                  </a:cubicBezTo>
                  <a:cubicBezTo>
                    <a:pt x="42" y="83"/>
                    <a:pt x="41" y="83"/>
                    <a:pt x="40" y="83"/>
                  </a:cubicBezTo>
                  <a:cubicBezTo>
                    <a:pt x="40" y="82"/>
                    <a:pt x="39" y="82"/>
                    <a:pt x="39" y="82"/>
                  </a:cubicBezTo>
                  <a:cubicBezTo>
                    <a:pt x="39" y="82"/>
                    <a:pt x="39" y="81"/>
                    <a:pt x="38" y="81"/>
                  </a:cubicBezTo>
                  <a:cubicBezTo>
                    <a:pt x="36" y="78"/>
                    <a:pt x="35" y="76"/>
                    <a:pt x="36" y="76"/>
                  </a:cubicBezTo>
                  <a:cubicBezTo>
                    <a:pt x="35" y="76"/>
                    <a:pt x="34" y="76"/>
                    <a:pt x="34" y="74"/>
                  </a:cubicBezTo>
                  <a:cubicBezTo>
                    <a:pt x="33" y="72"/>
                    <a:pt x="33" y="71"/>
                    <a:pt x="33" y="70"/>
                  </a:cubicBezTo>
                  <a:cubicBezTo>
                    <a:pt x="33" y="70"/>
                    <a:pt x="33" y="70"/>
                    <a:pt x="33" y="70"/>
                  </a:cubicBezTo>
                  <a:cubicBezTo>
                    <a:pt x="33" y="70"/>
                    <a:pt x="33" y="69"/>
                    <a:pt x="33" y="67"/>
                  </a:cubicBezTo>
                  <a:cubicBezTo>
                    <a:pt x="33" y="66"/>
                    <a:pt x="33" y="65"/>
                    <a:pt x="33" y="63"/>
                  </a:cubicBezTo>
                  <a:cubicBezTo>
                    <a:pt x="33" y="62"/>
                    <a:pt x="34" y="62"/>
                    <a:pt x="34" y="62"/>
                  </a:cubicBezTo>
                  <a:cubicBezTo>
                    <a:pt x="34" y="62"/>
                    <a:pt x="33" y="61"/>
                    <a:pt x="33" y="60"/>
                  </a:cubicBezTo>
                  <a:cubicBezTo>
                    <a:pt x="33" y="59"/>
                    <a:pt x="33" y="59"/>
                    <a:pt x="33" y="58"/>
                  </a:cubicBezTo>
                  <a:cubicBezTo>
                    <a:pt x="33" y="58"/>
                    <a:pt x="33" y="58"/>
                    <a:pt x="34" y="59"/>
                  </a:cubicBezTo>
                  <a:cubicBezTo>
                    <a:pt x="35" y="59"/>
                    <a:pt x="35" y="60"/>
                    <a:pt x="35" y="60"/>
                  </a:cubicBezTo>
                  <a:cubicBezTo>
                    <a:pt x="36" y="59"/>
                    <a:pt x="36" y="59"/>
                    <a:pt x="36" y="58"/>
                  </a:cubicBezTo>
                  <a:cubicBezTo>
                    <a:pt x="36" y="57"/>
                    <a:pt x="35" y="57"/>
                    <a:pt x="34" y="55"/>
                  </a:cubicBezTo>
                  <a:cubicBezTo>
                    <a:pt x="31" y="53"/>
                    <a:pt x="29" y="52"/>
                    <a:pt x="29" y="52"/>
                  </a:cubicBezTo>
                  <a:cubicBezTo>
                    <a:pt x="29" y="52"/>
                    <a:pt x="29" y="51"/>
                    <a:pt x="29" y="50"/>
                  </a:cubicBezTo>
                  <a:cubicBezTo>
                    <a:pt x="28" y="51"/>
                    <a:pt x="27" y="51"/>
                    <a:pt x="27" y="51"/>
                  </a:cubicBezTo>
                  <a:cubicBezTo>
                    <a:pt x="27" y="50"/>
                    <a:pt x="27" y="50"/>
                    <a:pt x="27" y="49"/>
                  </a:cubicBezTo>
                  <a:cubicBezTo>
                    <a:pt x="27" y="49"/>
                    <a:pt x="27" y="49"/>
                    <a:pt x="27" y="48"/>
                  </a:cubicBezTo>
                  <a:cubicBezTo>
                    <a:pt x="26" y="48"/>
                    <a:pt x="26" y="48"/>
                    <a:pt x="25" y="48"/>
                  </a:cubicBezTo>
                  <a:cubicBezTo>
                    <a:pt x="32" y="37"/>
                    <a:pt x="40" y="29"/>
                    <a:pt x="51" y="23"/>
                  </a:cubicBezTo>
                  <a:cubicBezTo>
                    <a:pt x="52" y="23"/>
                    <a:pt x="52" y="23"/>
                    <a:pt x="54" y="23"/>
                  </a:cubicBezTo>
                  <a:cubicBezTo>
                    <a:pt x="54" y="23"/>
                    <a:pt x="55" y="23"/>
                    <a:pt x="55" y="23"/>
                  </a:cubicBezTo>
                  <a:cubicBezTo>
                    <a:pt x="56" y="24"/>
                    <a:pt x="56" y="24"/>
                    <a:pt x="57" y="25"/>
                  </a:cubicBezTo>
                  <a:cubicBezTo>
                    <a:pt x="57" y="25"/>
                    <a:pt x="58" y="26"/>
                    <a:pt x="58" y="26"/>
                  </a:cubicBezTo>
                  <a:cubicBezTo>
                    <a:pt x="58" y="25"/>
                    <a:pt x="58" y="25"/>
                    <a:pt x="58" y="24"/>
                  </a:cubicBezTo>
                  <a:cubicBezTo>
                    <a:pt x="58" y="23"/>
                    <a:pt x="59" y="23"/>
                    <a:pt x="60" y="22"/>
                  </a:cubicBezTo>
                  <a:cubicBezTo>
                    <a:pt x="62" y="22"/>
                    <a:pt x="63" y="22"/>
                    <a:pt x="63" y="23"/>
                  </a:cubicBezTo>
                  <a:cubicBezTo>
                    <a:pt x="63" y="22"/>
                    <a:pt x="62" y="21"/>
                    <a:pt x="61" y="20"/>
                  </a:cubicBezTo>
                  <a:cubicBezTo>
                    <a:pt x="61" y="20"/>
                    <a:pt x="61" y="20"/>
                    <a:pt x="61" y="20"/>
                  </a:cubicBezTo>
                  <a:cubicBezTo>
                    <a:pt x="60" y="20"/>
                    <a:pt x="58" y="20"/>
                    <a:pt x="56" y="21"/>
                  </a:cubicBezTo>
                  <a:cubicBezTo>
                    <a:pt x="56" y="21"/>
                    <a:pt x="55" y="21"/>
                    <a:pt x="55" y="22"/>
                  </a:cubicBezTo>
                  <a:cubicBezTo>
                    <a:pt x="54" y="22"/>
                    <a:pt x="54" y="22"/>
                    <a:pt x="53" y="22"/>
                  </a:cubicBezTo>
                  <a:cubicBezTo>
                    <a:pt x="53" y="23"/>
                    <a:pt x="53" y="23"/>
                    <a:pt x="52" y="23"/>
                  </a:cubicBezTo>
                  <a:cubicBezTo>
                    <a:pt x="56" y="21"/>
                    <a:pt x="59" y="19"/>
                    <a:pt x="62" y="18"/>
                  </a:cubicBezTo>
                  <a:cubicBezTo>
                    <a:pt x="63" y="18"/>
                    <a:pt x="63" y="18"/>
                    <a:pt x="64" y="19"/>
                  </a:cubicBezTo>
                  <a:cubicBezTo>
                    <a:pt x="64" y="19"/>
                    <a:pt x="65" y="20"/>
                    <a:pt x="65" y="20"/>
                  </a:cubicBezTo>
                  <a:cubicBezTo>
                    <a:pt x="65" y="20"/>
                    <a:pt x="64" y="20"/>
                    <a:pt x="64" y="20"/>
                  </a:cubicBezTo>
                  <a:cubicBezTo>
                    <a:pt x="64" y="21"/>
                    <a:pt x="64" y="22"/>
                    <a:pt x="64" y="22"/>
                  </a:cubicBezTo>
                  <a:cubicBezTo>
                    <a:pt x="65" y="23"/>
                    <a:pt x="65" y="23"/>
                    <a:pt x="66" y="23"/>
                  </a:cubicBezTo>
                  <a:cubicBezTo>
                    <a:pt x="66" y="23"/>
                    <a:pt x="67" y="23"/>
                    <a:pt x="68" y="23"/>
                  </a:cubicBezTo>
                  <a:cubicBezTo>
                    <a:pt x="69" y="23"/>
                    <a:pt x="70" y="23"/>
                    <a:pt x="70" y="23"/>
                  </a:cubicBezTo>
                  <a:cubicBezTo>
                    <a:pt x="71" y="23"/>
                    <a:pt x="71" y="23"/>
                    <a:pt x="71" y="23"/>
                  </a:cubicBezTo>
                  <a:cubicBezTo>
                    <a:pt x="73" y="23"/>
                    <a:pt x="74" y="23"/>
                    <a:pt x="74" y="22"/>
                  </a:cubicBezTo>
                  <a:cubicBezTo>
                    <a:pt x="74" y="23"/>
                    <a:pt x="74" y="23"/>
                    <a:pt x="75" y="24"/>
                  </a:cubicBezTo>
                  <a:cubicBezTo>
                    <a:pt x="75" y="25"/>
                    <a:pt x="75" y="26"/>
                    <a:pt x="76" y="26"/>
                  </a:cubicBezTo>
                  <a:cubicBezTo>
                    <a:pt x="76" y="26"/>
                    <a:pt x="76" y="25"/>
                    <a:pt x="76" y="25"/>
                  </a:cubicBezTo>
                  <a:cubicBezTo>
                    <a:pt x="76" y="24"/>
                    <a:pt x="76" y="23"/>
                    <a:pt x="76" y="23"/>
                  </a:cubicBezTo>
                  <a:cubicBezTo>
                    <a:pt x="76" y="23"/>
                    <a:pt x="76" y="23"/>
                    <a:pt x="76" y="23"/>
                  </a:cubicBezTo>
                  <a:cubicBezTo>
                    <a:pt x="77" y="22"/>
                    <a:pt x="77" y="22"/>
                    <a:pt x="78" y="22"/>
                  </a:cubicBezTo>
                  <a:cubicBezTo>
                    <a:pt x="78" y="22"/>
                    <a:pt x="78" y="22"/>
                    <a:pt x="79" y="22"/>
                  </a:cubicBezTo>
                  <a:cubicBezTo>
                    <a:pt x="79" y="21"/>
                    <a:pt x="79" y="21"/>
                    <a:pt x="78" y="20"/>
                  </a:cubicBezTo>
                  <a:cubicBezTo>
                    <a:pt x="78" y="20"/>
                    <a:pt x="77" y="20"/>
                    <a:pt x="77" y="20"/>
                  </a:cubicBezTo>
                  <a:cubicBezTo>
                    <a:pt x="76" y="20"/>
                    <a:pt x="76" y="20"/>
                    <a:pt x="76" y="19"/>
                  </a:cubicBezTo>
                  <a:cubicBezTo>
                    <a:pt x="75" y="19"/>
                    <a:pt x="75" y="19"/>
                    <a:pt x="74" y="19"/>
                  </a:cubicBezTo>
                  <a:cubicBezTo>
                    <a:pt x="74" y="19"/>
                    <a:pt x="74" y="18"/>
                    <a:pt x="74" y="18"/>
                  </a:cubicBezTo>
                  <a:cubicBezTo>
                    <a:pt x="74" y="18"/>
                    <a:pt x="74" y="17"/>
                    <a:pt x="74" y="17"/>
                  </a:cubicBezTo>
                  <a:cubicBezTo>
                    <a:pt x="75" y="16"/>
                    <a:pt x="76" y="16"/>
                    <a:pt x="77" y="16"/>
                  </a:cubicBezTo>
                  <a:cubicBezTo>
                    <a:pt x="78" y="16"/>
                    <a:pt x="78" y="16"/>
                    <a:pt x="79" y="17"/>
                  </a:cubicBezTo>
                  <a:cubicBezTo>
                    <a:pt x="81" y="18"/>
                    <a:pt x="81" y="19"/>
                    <a:pt x="80" y="20"/>
                  </a:cubicBezTo>
                  <a:cubicBezTo>
                    <a:pt x="80" y="20"/>
                    <a:pt x="81" y="20"/>
                    <a:pt x="82" y="21"/>
                  </a:cubicBezTo>
                  <a:cubicBezTo>
                    <a:pt x="83" y="21"/>
                    <a:pt x="84" y="22"/>
                    <a:pt x="84" y="22"/>
                  </a:cubicBezTo>
                  <a:cubicBezTo>
                    <a:pt x="84" y="21"/>
                    <a:pt x="85" y="21"/>
                    <a:pt x="85" y="21"/>
                  </a:cubicBezTo>
                  <a:cubicBezTo>
                    <a:pt x="86" y="21"/>
                    <a:pt x="86" y="21"/>
                    <a:pt x="86" y="22"/>
                  </a:cubicBezTo>
                  <a:cubicBezTo>
                    <a:pt x="87" y="23"/>
                    <a:pt x="87" y="24"/>
                    <a:pt x="87" y="24"/>
                  </a:cubicBezTo>
                  <a:cubicBezTo>
                    <a:pt x="88" y="24"/>
                    <a:pt x="88" y="25"/>
                    <a:pt x="89" y="24"/>
                  </a:cubicBezTo>
                  <a:cubicBezTo>
                    <a:pt x="89" y="24"/>
                    <a:pt x="90" y="23"/>
                    <a:pt x="91" y="22"/>
                  </a:cubicBezTo>
                  <a:cubicBezTo>
                    <a:pt x="91" y="21"/>
                    <a:pt x="92" y="21"/>
                    <a:pt x="92" y="21"/>
                  </a:cubicBezTo>
                  <a:cubicBezTo>
                    <a:pt x="91" y="21"/>
                    <a:pt x="91" y="21"/>
                    <a:pt x="91" y="20"/>
                  </a:cubicBezTo>
                  <a:cubicBezTo>
                    <a:pt x="93" y="20"/>
                    <a:pt x="94" y="19"/>
                    <a:pt x="94" y="20"/>
                  </a:cubicBezTo>
                  <a:cubicBezTo>
                    <a:pt x="95" y="20"/>
                    <a:pt x="95" y="20"/>
                    <a:pt x="95" y="21"/>
                  </a:cubicBezTo>
                  <a:cubicBezTo>
                    <a:pt x="96" y="22"/>
                    <a:pt x="96" y="23"/>
                    <a:pt x="95" y="23"/>
                  </a:cubicBezTo>
                  <a:cubicBezTo>
                    <a:pt x="96" y="23"/>
                    <a:pt x="96" y="24"/>
                    <a:pt x="96" y="25"/>
                  </a:cubicBezTo>
                  <a:cubicBezTo>
                    <a:pt x="96" y="26"/>
                    <a:pt x="95" y="26"/>
                    <a:pt x="94" y="26"/>
                  </a:cubicBezTo>
                  <a:cubicBezTo>
                    <a:pt x="94" y="26"/>
                    <a:pt x="93" y="26"/>
                    <a:pt x="93" y="25"/>
                  </a:cubicBezTo>
                  <a:cubicBezTo>
                    <a:pt x="92" y="25"/>
                    <a:pt x="91" y="25"/>
                    <a:pt x="91" y="25"/>
                  </a:cubicBezTo>
                  <a:cubicBezTo>
                    <a:pt x="91" y="25"/>
                    <a:pt x="90" y="25"/>
                    <a:pt x="89" y="25"/>
                  </a:cubicBezTo>
                  <a:cubicBezTo>
                    <a:pt x="89" y="26"/>
                    <a:pt x="89" y="26"/>
                    <a:pt x="88" y="27"/>
                  </a:cubicBezTo>
                  <a:cubicBezTo>
                    <a:pt x="88" y="28"/>
                    <a:pt x="87" y="29"/>
                    <a:pt x="87" y="29"/>
                  </a:cubicBezTo>
                  <a:cubicBezTo>
                    <a:pt x="86" y="30"/>
                    <a:pt x="84" y="31"/>
                    <a:pt x="81" y="30"/>
                  </a:cubicBezTo>
                  <a:cubicBezTo>
                    <a:pt x="82" y="30"/>
                    <a:pt x="82" y="31"/>
                    <a:pt x="81" y="31"/>
                  </a:cubicBezTo>
                  <a:cubicBezTo>
                    <a:pt x="81" y="31"/>
                    <a:pt x="81" y="32"/>
                    <a:pt x="80" y="33"/>
                  </a:cubicBezTo>
                  <a:cubicBezTo>
                    <a:pt x="80" y="33"/>
                    <a:pt x="80" y="33"/>
                    <a:pt x="80" y="33"/>
                  </a:cubicBezTo>
                  <a:cubicBezTo>
                    <a:pt x="79" y="34"/>
                    <a:pt x="78" y="35"/>
                    <a:pt x="78" y="36"/>
                  </a:cubicBezTo>
                  <a:cubicBezTo>
                    <a:pt x="78" y="36"/>
                    <a:pt x="78" y="37"/>
                    <a:pt x="78" y="38"/>
                  </a:cubicBezTo>
                  <a:cubicBezTo>
                    <a:pt x="78" y="38"/>
                    <a:pt x="78" y="39"/>
                    <a:pt x="78" y="39"/>
                  </a:cubicBezTo>
                  <a:cubicBezTo>
                    <a:pt x="79" y="39"/>
                    <a:pt x="79" y="40"/>
                    <a:pt x="80" y="41"/>
                  </a:cubicBezTo>
                  <a:cubicBezTo>
                    <a:pt x="80" y="42"/>
                    <a:pt x="80" y="42"/>
                    <a:pt x="80" y="42"/>
                  </a:cubicBezTo>
                  <a:cubicBezTo>
                    <a:pt x="82" y="42"/>
                    <a:pt x="84" y="42"/>
                    <a:pt x="86" y="43"/>
                  </a:cubicBezTo>
                  <a:cubicBezTo>
                    <a:pt x="89" y="44"/>
                    <a:pt x="90" y="45"/>
                    <a:pt x="91" y="46"/>
                  </a:cubicBezTo>
                  <a:cubicBezTo>
                    <a:pt x="91" y="45"/>
                    <a:pt x="92" y="45"/>
                    <a:pt x="94" y="46"/>
                  </a:cubicBezTo>
                  <a:cubicBezTo>
                    <a:pt x="95" y="46"/>
                    <a:pt x="95" y="47"/>
                    <a:pt x="96" y="49"/>
                  </a:cubicBezTo>
                  <a:cubicBezTo>
                    <a:pt x="96" y="50"/>
                    <a:pt x="96" y="51"/>
                    <a:pt x="97" y="52"/>
                  </a:cubicBezTo>
                  <a:cubicBezTo>
                    <a:pt x="98" y="53"/>
                    <a:pt x="99" y="53"/>
                    <a:pt x="99" y="53"/>
                  </a:cubicBezTo>
                  <a:cubicBezTo>
                    <a:pt x="100" y="52"/>
                    <a:pt x="100" y="52"/>
                    <a:pt x="100" y="52"/>
                  </a:cubicBezTo>
                  <a:cubicBezTo>
                    <a:pt x="100" y="52"/>
                    <a:pt x="100" y="52"/>
                    <a:pt x="100" y="52"/>
                  </a:cubicBezTo>
                  <a:cubicBezTo>
                    <a:pt x="101" y="52"/>
                    <a:pt x="101" y="52"/>
                    <a:pt x="101" y="51"/>
                  </a:cubicBezTo>
                  <a:cubicBezTo>
                    <a:pt x="101" y="51"/>
                    <a:pt x="101" y="51"/>
                    <a:pt x="101" y="51"/>
                  </a:cubicBezTo>
                  <a:cubicBezTo>
                    <a:pt x="102" y="51"/>
                    <a:pt x="101" y="51"/>
                    <a:pt x="101" y="51"/>
                  </a:cubicBezTo>
                  <a:cubicBezTo>
                    <a:pt x="101" y="50"/>
                    <a:pt x="100" y="49"/>
                    <a:pt x="100" y="49"/>
                  </a:cubicBezTo>
                  <a:cubicBezTo>
                    <a:pt x="100" y="48"/>
                    <a:pt x="100" y="47"/>
                    <a:pt x="100" y="47"/>
                  </a:cubicBezTo>
                  <a:cubicBezTo>
                    <a:pt x="101" y="46"/>
                    <a:pt x="101" y="46"/>
                    <a:pt x="102" y="45"/>
                  </a:cubicBezTo>
                  <a:cubicBezTo>
                    <a:pt x="103" y="45"/>
                    <a:pt x="104" y="44"/>
                    <a:pt x="104" y="44"/>
                  </a:cubicBezTo>
                  <a:cubicBezTo>
                    <a:pt x="104" y="43"/>
                    <a:pt x="104" y="42"/>
                    <a:pt x="103" y="41"/>
                  </a:cubicBezTo>
                  <a:cubicBezTo>
                    <a:pt x="102" y="41"/>
                    <a:pt x="101" y="40"/>
                    <a:pt x="101" y="39"/>
                  </a:cubicBezTo>
                  <a:cubicBezTo>
                    <a:pt x="101" y="39"/>
                    <a:pt x="101" y="39"/>
                    <a:pt x="102" y="38"/>
                  </a:cubicBezTo>
                  <a:cubicBezTo>
                    <a:pt x="102" y="38"/>
                    <a:pt x="103" y="37"/>
                    <a:pt x="103" y="37"/>
                  </a:cubicBezTo>
                  <a:cubicBezTo>
                    <a:pt x="103" y="36"/>
                    <a:pt x="102" y="36"/>
                    <a:pt x="102" y="35"/>
                  </a:cubicBezTo>
                  <a:cubicBezTo>
                    <a:pt x="102" y="35"/>
                    <a:pt x="102" y="34"/>
                    <a:pt x="102" y="34"/>
                  </a:cubicBezTo>
                  <a:cubicBezTo>
                    <a:pt x="102" y="33"/>
                    <a:pt x="102" y="33"/>
                    <a:pt x="102" y="33"/>
                  </a:cubicBezTo>
                  <a:cubicBezTo>
                    <a:pt x="103" y="32"/>
                    <a:pt x="104" y="32"/>
                    <a:pt x="106" y="33"/>
                  </a:cubicBezTo>
                  <a:cubicBezTo>
                    <a:pt x="108" y="33"/>
                    <a:pt x="109" y="33"/>
                    <a:pt x="110" y="34"/>
                  </a:cubicBezTo>
                  <a:cubicBezTo>
                    <a:pt x="110" y="34"/>
                    <a:pt x="110" y="34"/>
                    <a:pt x="111" y="34"/>
                  </a:cubicBezTo>
                  <a:cubicBezTo>
                    <a:pt x="112" y="35"/>
                    <a:pt x="112" y="35"/>
                    <a:pt x="113" y="35"/>
                  </a:cubicBezTo>
                  <a:cubicBezTo>
                    <a:pt x="114" y="36"/>
                    <a:pt x="114" y="36"/>
                    <a:pt x="114" y="36"/>
                  </a:cubicBezTo>
                  <a:cubicBezTo>
                    <a:pt x="113" y="36"/>
                    <a:pt x="113" y="36"/>
                    <a:pt x="113" y="36"/>
                  </a:cubicBezTo>
                  <a:cubicBezTo>
                    <a:pt x="114" y="37"/>
                    <a:pt x="114" y="37"/>
                    <a:pt x="114" y="38"/>
                  </a:cubicBezTo>
                  <a:cubicBezTo>
                    <a:pt x="114" y="38"/>
                    <a:pt x="114" y="39"/>
                    <a:pt x="113" y="39"/>
                  </a:cubicBezTo>
                  <a:cubicBezTo>
                    <a:pt x="114" y="39"/>
                    <a:pt x="115" y="39"/>
                    <a:pt x="115" y="39"/>
                  </a:cubicBezTo>
                  <a:cubicBezTo>
                    <a:pt x="116" y="40"/>
                    <a:pt x="116" y="40"/>
                    <a:pt x="115" y="41"/>
                  </a:cubicBezTo>
                  <a:cubicBezTo>
                    <a:pt x="116" y="41"/>
                    <a:pt x="116" y="41"/>
                    <a:pt x="116" y="40"/>
                  </a:cubicBezTo>
                  <a:cubicBezTo>
                    <a:pt x="117" y="40"/>
                    <a:pt x="117" y="40"/>
                    <a:pt x="117" y="40"/>
                  </a:cubicBezTo>
                  <a:cubicBezTo>
                    <a:pt x="117" y="40"/>
                    <a:pt x="118" y="40"/>
                    <a:pt x="118" y="40"/>
                  </a:cubicBezTo>
                  <a:cubicBezTo>
                    <a:pt x="118" y="40"/>
                    <a:pt x="118" y="39"/>
                    <a:pt x="118" y="39"/>
                  </a:cubicBezTo>
                  <a:cubicBezTo>
                    <a:pt x="118" y="39"/>
                    <a:pt x="119" y="39"/>
                    <a:pt x="119" y="39"/>
                  </a:cubicBezTo>
                  <a:cubicBezTo>
                    <a:pt x="119" y="39"/>
                    <a:pt x="119" y="39"/>
                    <a:pt x="119" y="39"/>
                  </a:cubicBezTo>
                  <a:cubicBezTo>
                    <a:pt x="120" y="39"/>
                    <a:pt x="120" y="39"/>
                    <a:pt x="120" y="39"/>
                  </a:cubicBezTo>
                  <a:cubicBezTo>
                    <a:pt x="120" y="39"/>
                    <a:pt x="121" y="38"/>
                    <a:pt x="121" y="38"/>
                  </a:cubicBezTo>
                  <a:cubicBezTo>
                    <a:pt x="121" y="37"/>
                    <a:pt x="121" y="37"/>
                    <a:pt x="122" y="37"/>
                  </a:cubicBezTo>
                  <a:cubicBezTo>
                    <a:pt x="122" y="37"/>
                    <a:pt x="122" y="37"/>
                    <a:pt x="122" y="38"/>
                  </a:cubicBezTo>
                  <a:cubicBezTo>
                    <a:pt x="122" y="38"/>
                    <a:pt x="123" y="38"/>
                    <a:pt x="123" y="38"/>
                  </a:cubicBezTo>
                  <a:cubicBezTo>
                    <a:pt x="123" y="38"/>
                    <a:pt x="123" y="39"/>
                    <a:pt x="123" y="39"/>
                  </a:cubicBezTo>
                  <a:cubicBezTo>
                    <a:pt x="123" y="39"/>
                    <a:pt x="123" y="39"/>
                    <a:pt x="123" y="39"/>
                  </a:cubicBezTo>
                  <a:cubicBezTo>
                    <a:pt x="123" y="40"/>
                    <a:pt x="124" y="40"/>
                    <a:pt x="124" y="41"/>
                  </a:cubicBezTo>
                  <a:cubicBezTo>
                    <a:pt x="125" y="41"/>
                    <a:pt x="125" y="41"/>
                    <a:pt x="125" y="42"/>
                  </a:cubicBezTo>
                  <a:cubicBezTo>
                    <a:pt x="125" y="42"/>
                    <a:pt x="126" y="43"/>
                    <a:pt x="126" y="43"/>
                  </a:cubicBezTo>
                  <a:cubicBezTo>
                    <a:pt x="126" y="44"/>
                    <a:pt x="126" y="45"/>
                    <a:pt x="127" y="45"/>
                  </a:cubicBezTo>
                  <a:cubicBezTo>
                    <a:pt x="127" y="46"/>
                    <a:pt x="128" y="46"/>
                    <a:pt x="128" y="46"/>
                  </a:cubicBezTo>
                  <a:cubicBezTo>
                    <a:pt x="128" y="46"/>
                    <a:pt x="129" y="46"/>
                    <a:pt x="129" y="46"/>
                  </a:cubicBezTo>
                  <a:cubicBezTo>
                    <a:pt x="130" y="46"/>
                    <a:pt x="130" y="46"/>
                    <a:pt x="131" y="46"/>
                  </a:cubicBezTo>
                  <a:cubicBezTo>
                    <a:pt x="131" y="46"/>
                    <a:pt x="131" y="46"/>
                    <a:pt x="131" y="47"/>
                  </a:cubicBezTo>
                  <a:cubicBezTo>
                    <a:pt x="132" y="46"/>
                    <a:pt x="132" y="46"/>
                    <a:pt x="132" y="46"/>
                  </a:cubicBezTo>
                  <a:cubicBezTo>
                    <a:pt x="132" y="47"/>
                    <a:pt x="132" y="48"/>
                    <a:pt x="132" y="48"/>
                  </a:cubicBezTo>
                  <a:cubicBezTo>
                    <a:pt x="133" y="49"/>
                    <a:pt x="134" y="49"/>
                    <a:pt x="134" y="49"/>
                  </a:cubicBezTo>
                  <a:cubicBezTo>
                    <a:pt x="134" y="51"/>
                    <a:pt x="134" y="51"/>
                    <a:pt x="134" y="51"/>
                  </a:cubicBezTo>
                  <a:cubicBezTo>
                    <a:pt x="134" y="52"/>
                    <a:pt x="133" y="52"/>
                    <a:pt x="133" y="52"/>
                  </a:cubicBezTo>
                  <a:cubicBezTo>
                    <a:pt x="132" y="52"/>
                    <a:pt x="131" y="53"/>
                    <a:pt x="131" y="53"/>
                  </a:cubicBezTo>
                  <a:cubicBezTo>
                    <a:pt x="131" y="53"/>
                    <a:pt x="130" y="53"/>
                    <a:pt x="129" y="54"/>
                  </a:cubicBezTo>
                  <a:cubicBezTo>
                    <a:pt x="128" y="55"/>
                    <a:pt x="128" y="55"/>
                    <a:pt x="128" y="56"/>
                  </a:cubicBezTo>
                  <a:cubicBezTo>
                    <a:pt x="127" y="54"/>
                    <a:pt x="125" y="54"/>
                    <a:pt x="123" y="54"/>
                  </a:cubicBezTo>
                  <a:cubicBezTo>
                    <a:pt x="120" y="55"/>
                    <a:pt x="118" y="55"/>
                    <a:pt x="117" y="56"/>
                  </a:cubicBezTo>
                  <a:cubicBezTo>
                    <a:pt x="116" y="56"/>
                    <a:pt x="115" y="57"/>
                    <a:pt x="114" y="57"/>
                  </a:cubicBezTo>
                  <a:cubicBezTo>
                    <a:pt x="114" y="57"/>
                    <a:pt x="114" y="58"/>
                    <a:pt x="114" y="58"/>
                  </a:cubicBezTo>
                  <a:cubicBezTo>
                    <a:pt x="114" y="58"/>
                    <a:pt x="114" y="59"/>
                    <a:pt x="113" y="59"/>
                  </a:cubicBezTo>
                  <a:cubicBezTo>
                    <a:pt x="113" y="60"/>
                    <a:pt x="113" y="60"/>
                    <a:pt x="113" y="60"/>
                  </a:cubicBezTo>
                  <a:cubicBezTo>
                    <a:pt x="113" y="60"/>
                    <a:pt x="114" y="59"/>
                    <a:pt x="114" y="59"/>
                  </a:cubicBezTo>
                  <a:cubicBezTo>
                    <a:pt x="115" y="58"/>
                    <a:pt x="115" y="58"/>
                    <a:pt x="115" y="58"/>
                  </a:cubicBezTo>
                  <a:cubicBezTo>
                    <a:pt x="117" y="56"/>
                    <a:pt x="119" y="56"/>
                    <a:pt x="120" y="56"/>
                  </a:cubicBezTo>
                  <a:cubicBezTo>
                    <a:pt x="122" y="57"/>
                    <a:pt x="122" y="57"/>
                    <a:pt x="121" y="58"/>
                  </a:cubicBezTo>
                  <a:cubicBezTo>
                    <a:pt x="121" y="58"/>
                    <a:pt x="120" y="58"/>
                    <a:pt x="120" y="58"/>
                  </a:cubicBezTo>
                  <a:cubicBezTo>
                    <a:pt x="119" y="58"/>
                    <a:pt x="119" y="58"/>
                    <a:pt x="119" y="58"/>
                  </a:cubicBezTo>
                  <a:cubicBezTo>
                    <a:pt x="119" y="59"/>
                    <a:pt x="120" y="59"/>
                    <a:pt x="120" y="59"/>
                  </a:cubicBezTo>
                  <a:cubicBezTo>
                    <a:pt x="121" y="59"/>
                    <a:pt x="121" y="60"/>
                    <a:pt x="121" y="60"/>
                  </a:cubicBezTo>
                  <a:cubicBezTo>
                    <a:pt x="122" y="61"/>
                    <a:pt x="122" y="61"/>
                    <a:pt x="121" y="62"/>
                  </a:cubicBezTo>
                  <a:cubicBezTo>
                    <a:pt x="120" y="63"/>
                    <a:pt x="119" y="64"/>
                    <a:pt x="118" y="63"/>
                  </a:cubicBezTo>
                  <a:cubicBezTo>
                    <a:pt x="118" y="63"/>
                    <a:pt x="118" y="64"/>
                    <a:pt x="118" y="64"/>
                  </a:cubicBezTo>
                  <a:cubicBezTo>
                    <a:pt x="116" y="65"/>
                    <a:pt x="116" y="65"/>
                    <a:pt x="116" y="65"/>
                  </a:cubicBezTo>
                  <a:cubicBezTo>
                    <a:pt x="116" y="65"/>
                    <a:pt x="115" y="65"/>
                    <a:pt x="114" y="66"/>
                  </a:cubicBezTo>
                  <a:cubicBezTo>
                    <a:pt x="114" y="66"/>
                    <a:pt x="113" y="66"/>
                    <a:pt x="113" y="67"/>
                  </a:cubicBezTo>
                  <a:cubicBezTo>
                    <a:pt x="113" y="67"/>
                    <a:pt x="112" y="67"/>
                    <a:pt x="112" y="68"/>
                  </a:cubicBezTo>
                  <a:cubicBezTo>
                    <a:pt x="112" y="69"/>
                    <a:pt x="112" y="69"/>
                    <a:pt x="112" y="69"/>
                  </a:cubicBezTo>
                  <a:cubicBezTo>
                    <a:pt x="112" y="70"/>
                    <a:pt x="112" y="70"/>
                    <a:pt x="112" y="70"/>
                  </a:cubicBezTo>
                  <a:cubicBezTo>
                    <a:pt x="111" y="70"/>
                    <a:pt x="111" y="70"/>
                    <a:pt x="109" y="71"/>
                  </a:cubicBezTo>
                  <a:cubicBezTo>
                    <a:pt x="108" y="71"/>
                    <a:pt x="108" y="71"/>
                    <a:pt x="107" y="72"/>
                  </a:cubicBezTo>
                  <a:cubicBezTo>
                    <a:pt x="108" y="72"/>
                    <a:pt x="108" y="73"/>
                    <a:pt x="107" y="74"/>
                  </a:cubicBezTo>
                  <a:cubicBezTo>
                    <a:pt x="106" y="74"/>
                    <a:pt x="105" y="74"/>
                    <a:pt x="105" y="73"/>
                  </a:cubicBezTo>
                  <a:cubicBezTo>
                    <a:pt x="104" y="73"/>
                    <a:pt x="104" y="74"/>
                    <a:pt x="104" y="74"/>
                  </a:cubicBezTo>
                  <a:cubicBezTo>
                    <a:pt x="104" y="75"/>
                    <a:pt x="103" y="75"/>
                    <a:pt x="103" y="76"/>
                  </a:cubicBezTo>
                  <a:cubicBezTo>
                    <a:pt x="104" y="76"/>
                    <a:pt x="104" y="77"/>
                    <a:pt x="103" y="77"/>
                  </a:cubicBezTo>
                  <a:cubicBezTo>
                    <a:pt x="103" y="77"/>
                    <a:pt x="103" y="78"/>
                    <a:pt x="103" y="78"/>
                  </a:cubicBezTo>
                  <a:cubicBezTo>
                    <a:pt x="104" y="78"/>
                    <a:pt x="104" y="78"/>
                    <a:pt x="104" y="78"/>
                  </a:cubicBezTo>
                  <a:cubicBezTo>
                    <a:pt x="104" y="78"/>
                    <a:pt x="105" y="79"/>
                    <a:pt x="105" y="79"/>
                  </a:cubicBezTo>
                  <a:cubicBezTo>
                    <a:pt x="104" y="79"/>
                    <a:pt x="104" y="80"/>
                    <a:pt x="104" y="80"/>
                  </a:cubicBezTo>
                  <a:cubicBezTo>
                    <a:pt x="104" y="81"/>
                    <a:pt x="103" y="82"/>
                    <a:pt x="102" y="83"/>
                  </a:cubicBezTo>
                  <a:cubicBezTo>
                    <a:pt x="102" y="84"/>
                    <a:pt x="101" y="84"/>
                    <a:pt x="100" y="84"/>
                  </a:cubicBezTo>
                  <a:cubicBezTo>
                    <a:pt x="100" y="85"/>
                    <a:pt x="99" y="85"/>
                    <a:pt x="99" y="85"/>
                  </a:cubicBezTo>
                  <a:cubicBezTo>
                    <a:pt x="98" y="85"/>
                    <a:pt x="98" y="85"/>
                    <a:pt x="98" y="85"/>
                  </a:cubicBezTo>
                  <a:cubicBezTo>
                    <a:pt x="97" y="86"/>
                    <a:pt x="97" y="87"/>
                    <a:pt x="96" y="87"/>
                  </a:cubicBezTo>
                  <a:cubicBezTo>
                    <a:pt x="96" y="88"/>
                    <a:pt x="96" y="89"/>
                    <a:pt x="96" y="89"/>
                  </a:cubicBezTo>
                  <a:cubicBezTo>
                    <a:pt x="96" y="90"/>
                    <a:pt x="97" y="91"/>
                    <a:pt x="98" y="91"/>
                  </a:cubicBezTo>
                  <a:cubicBezTo>
                    <a:pt x="98" y="92"/>
                    <a:pt x="98" y="92"/>
                    <a:pt x="98" y="92"/>
                  </a:cubicBezTo>
                  <a:cubicBezTo>
                    <a:pt x="98" y="94"/>
                    <a:pt x="98" y="94"/>
                    <a:pt x="98" y="94"/>
                  </a:cubicBezTo>
                  <a:cubicBezTo>
                    <a:pt x="98" y="95"/>
                    <a:pt x="98" y="95"/>
                    <a:pt x="98" y="95"/>
                  </a:cubicBezTo>
                  <a:cubicBezTo>
                    <a:pt x="98" y="95"/>
                    <a:pt x="98" y="96"/>
                    <a:pt x="98" y="96"/>
                  </a:cubicBezTo>
                  <a:cubicBezTo>
                    <a:pt x="99" y="96"/>
                    <a:pt x="99" y="97"/>
                    <a:pt x="98" y="98"/>
                  </a:cubicBezTo>
                  <a:cubicBezTo>
                    <a:pt x="98" y="98"/>
                    <a:pt x="98" y="98"/>
                    <a:pt x="98" y="99"/>
                  </a:cubicBezTo>
                  <a:cubicBezTo>
                    <a:pt x="98" y="99"/>
                    <a:pt x="97" y="99"/>
                    <a:pt x="97" y="98"/>
                  </a:cubicBezTo>
                  <a:cubicBezTo>
                    <a:pt x="96" y="98"/>
                    <a:pt x="95" y="96"/>
                    <a:pt x="95" y="93"/>
                  </a:cubicBezTo>
                  <a:cubicBezTo>
                    <a:pt x="95" y="93"/>
                    <a:pt x="94" y="92"/>
                    <a:pt x="93" y="91"/>
                  </a:cubicBezTo>
                  <a:cubicBezTo>
                    <a:pt x="93" y="91"/>
                    <a:pt x="93" y="91"/>
                    <a:pt x="92" y="92"/>
                  </a:cubicBezTo>
                  <a:cubicBezTo>
                    <a:pt x="92" y="92"/>
                    <a:pt x="92" y="92"/>
                    <a:pt x="92" y="92"/>
                  </a:cubicBezTo>
                  <a:cubicBezTo>
                    <a:pt x="92" y="92"/>
                    <a:pt x="92" y="91"/>
                    <a:pt x="91" y="91"/>
                  </a:cubicBezTo>
                  <a:cubicBezTo>
                    <a:pt x="91" y="91"/>
                    <a:pt x="91" y="91"/>
                    <a:pt x="90" y="90"/>
                  </a:cubicBezTo>
                  <a:cubicBezTo>
                    <a:pt x="90" y="90"/>
                    <a:pt x="89" y="90"/>
                    <a:pt x="89" y="90"/>
                  </a:cubicBezTo>
                  <a:cubicBezTo>
                    <a:pt x="88" y="90"/>
                    <a:pt x="87" y="90"/>
                    <a:pt x="87" y="89"/>
                  </a:cubicBezTo>
                  <a:cubicBezTo>
                    <a:pt x="85" y="91"/>
                    <a:pt x="84" y="90"/>
                    <a:pt x="84" y="88"/>
                  </a:cubicBezTo>
                  <a:cubicBezTo>
                    <a:pt x="83" y="89"/>
                    <a:pt x="83" y="89"/>
                    <a:pt x="84" y="90"/>
                  </a:cubicBezTo>
                  <a:cubicBezTo>
                    <a:pt x="84" y="91"/>
                    <a:pt x="84" y="91"/>
                    <a:pt x="84" y="91"/>
                  </a:cubicBezTo>
                  <a:cubicBezTo>
                    <a:pt x="83" y="92"/>
                    <a:pt x="83" y="92"/>
                    <a:pt x="82" y="91"/>
                  </a:cubicBezTo>
                  <a:cubicBezTo>
                    <a:pt x="81" y="91"/>
                    <a:pt x="80" y="91"/>
                    <a:pt x="78" y="91"/>
                  </a:cubicBezTo>
                  <a:cubicBezTo>
                    <a:pt x="77" y="91"/>
                    <a:pt x="76" y="91"/>
                    <a:pt x="75" y="91"/>
                  </a:cubicBezTo>
                  <a:cubicBezTo>
                    <a:pt x="75" y="91"/>
                    <a:pt x="76" y="91"/>
                    <a:pt x="76" y="91"/>
                  </a:cubicBezTo>
                  <a:cubicBezTo>
                    <a:pt x="76" y="92"/>
                    <a:pt x="76" y="92"/>
                    <a:pt x="76" y="92"/>
                  </a:cubicBezTo>
                  <a:cubicBezTo>
                    <a:pt x="76" y="92"/>
                    <a:pt x="76" y="92"/>
                    <a:pt x="76" y="92"/>
                  </a:cubicBezTo>
                  <a:cubicBezTo>
                    <a:pt x="76" y="93"/>
                    <a:pt x="76" y="93"/>
                    <a:pt x="75" y="93"/>
                  </a:cubicBezTo>
                  <a:cubicBezTo>
                    <a:pt x="75" y="93"/>
                    <a:pt x="75" y="93"/>
                    <a:pt x="75" y="93"/>
                  </a:cubicBezTo>
                  <a:cubicBezTo>
                    <a:pt x="75" y="93"/>
                    <a:pt x="75" y="93"/>
                    <a:pt x="74" y="93"/>
                  </a:cubicBezTo>
                  <a:cubicBezTo>
                    <a:pt x="74" y="93"/>
                    <a:pt x="74" y="93"/>
                    <a:pt x="73" y="94"/>
                  </a:cubicBezTo>
                  <a:cubicBezTo>
                    <a:pt x="73" y="95"/>
                    <a:pt x="73" y="95"/>
                    <a:pt x="72" y="95"/>
                  </a:cubicBezTo>
                  <a:cubicBezTo>
                    <a:pt x="73" y="96"/>
                    <a:pt x="73" y="97"/>
                    <a:pt x="73" y="98"/>
                  </a:cubicBezTo>
                  <a:cubicBezTo>
                    <a:pt x="73" y="98"/>
                    <a:pt x="73" y="99"/>
                    <a:pt x="73" y="100"/>
                  </a:cubicBezTo>
                  <a:cubicBezTo>
                    <a:pt x="72" y="102"/>
                    <a:pt x="72" y="103"/>
                    <a:pt x="72" y="103"/>
                  </a:cubicBezTo>
                  <a:cubicBezTo>
                    <a:pt x="72" y="105"/>
                    <a:pt x="73" y="106"/>
                    <a:pt x="73" y="108"/>
                  </a:cubicBezTo>
                  <a:cubicBezTo>
                    <a:pt x="74" y="109"/>
                    <a:pt x="75" y="110"/>
                    <a:pt x="76" y="111"/>
                  </a:cubicBezTo>
                  <a:cubicBezTo>
                    <a:pt x="76" y="111"/>
                    <a:pt x="77" y="111"/>
                    <a:pt x="79" y="111"/>
                  </a:cubicBezTo>
                  <a:cubicBezTo>
                    <a:pt x="80" y="111"/>
                    <a:pt x="81" y="111"/>
                    <a:pt x="81" y="111"/>
                  </a:cubicBezTo>
                  <a:cubicBezTo>
                    <a:pt x="82" y="111"/>
                    <a:pt x="82" y="111"/>
                    <a:pt x="82" y="110"/>
                  </a:cubicBezTo>
                  <a:cubicBezTo>
                    <a:pt x="82" y="110"/>
                    <a:pt x="83" y="110"/>
                    <a:pt x="83" y="109"/>
                  </a:cubicBezTo>
                  <a:cubicBezTo>
                    <a:pt x="83" y="108"/>
                    <a:pt x="83" y="108"/>
                    <a:pt x="83" y="108"/>
                  </a:cubicBezTo>
                  <a:cubicBezTo>
                    <a:pt x="84" y="106"/>
                    <a:pt x="85" y="106"/>
                    <a:pt x="86" y="106"/>
                  </a:cubicBezTo>
                  <a:cubicBezTo>
                    <a:pt x="87" y="106"/>
                    <a:pt x="87" y="106"/>
                    <a:pt x="88" y="106"/>
                  </a:cubicBezTo>
                  <a:cubicBezTo>
                    <a:pt x="88" y="106"/>
                    <a:pt x="88" y="107"/>
                    <a:pt x="88" y="107"/>
                  </a:cubicBezTo>
                  <a:cubicBezTo>
                    <a:pt x="88" y="107"/>
                    <a:pt x="88" y="108"/>
                    <a:pt x="88" y="108"/>
                  </a:cubicBezTo>
                  <a:cubicBezTo>
                    <a:pt x="88" y="109"/>
                    <a:pt x="87" y="109"/>
                    <a:pt x="87" y="110"/>
                  </a:cubicBezTo>
                  <a:cubicBezTo>
                    <a:pt x="87" y="111"/>
                    <a:pt x="87" y="111"/>
                    <a:pt x="86" y="111"/>
                  </a:cubicBezTo>
                  <a:cubicBezTo>
                    <a:pt x="86" y="112"/>
                    <a:pt x="86" y="113"/>
                    <a:pt x="86" y="114"/>
                  </a:cubicBezTo>
                  <a:cubicBezTo>
                    <a:pt x="86" y="115"/>
                    <a:pt x="86" y="115"/>
                    <a:pt x="86" y="116"/>
                  </a:cubicBezTo>
                  <a:cubicBezTo>
                    <a:pt x="86" y="116"/>
                    <a:pt x="87" y="116"/>
                    <a:pt x="87" y="116"/>
                  </a:cubicBezTo>
                  <a:cubicBezTo>
                    <a:pt x="87" y="116"/>
                    <a:pt x="88" y="115"/>
                    <a:pt x="88" y="115"/>
                  </a:cubicBezTo>
                  <a:cubicBezTo>
                    <a:pt x="88" y="115"/>
                    <a:pt x="88" y="115"/>
                    <a:pt x="88" y="115"/>
                  </a:cubicBezTo>
                  <a:cubicBezTo>
                    <a:pt x="88" y="115"/>
                    <a:pt x="89" y="115"/>
                    <a:pt x="90" y="115"/>
                  </a:cubicBezTo>
                  <a:cubicBezTo>
                    <a:pt x="90" y="116"/>
                    <a:pt x="91" y="115"/>
                    <a:pt x="91" y="115"/>
                  </a:cubicBezTo>
                  <a:cubicBezTo>
                    <a:pt x="92" y="115"/>
                    <a:pt x="92" y="115"/>
                    <a:pt x="93" y="116"/>
                  </a:cubicBezTo>
                  <a:cubicBezTo>
                    <a:pt x="93" y="117"/>
                    <a:pt x="94" y="118"/>
                    <a:pt x="94" y="118"/>
                  </a:cubicBezTo>
                  <a:cubicBezTo>
                    <a:pt x="94" y="119"/>
                    <a:pt x="94" y="119"/>
                    <a:pt x="94" y="120"/>
                  </a:cubicBezTo>
                  <a:cubicBezTo>
                    <a:pt x="95" y="121"/>
                    <a:pt x="95" y="121"/>
                    <a:pt x="95" y="121"/>
                  </a:cubicBezTo>
                  <a:cubicBezTo>
                    <a:pt x="95" y="122"/>
                    <a:pt x="94" y="122"/>
                    <a:pt x="93" y="122"/>
                  </a:cubicBezTo>
                  <a:cubicBezTo>
                    <a:pt x="93" y="122"/>
                    <a:pt x="93" y="122"/>
                    <a:pt x="93" y="122"/>
                  </a:cubicBezTo>
                  <a:cubicBezTo>
                    <a:pt x="93" y="122"/>
                    <a:pt x="93" y="123"/>
                    <a:pt x="93" y="123"/>
                  </a:cubicBezTo>
                  <a:cubicBezTo>
                    <a:pt x="93" y="123"/>
                    <a:pt x="93" y="124"/>
                    <a:pt x="93" y="124"/>
                  </a:cubicBezTo>
                  <a:cubicBezTo>
                    <a:pt x="93" y="124"/>
                    <a:pt x="93" y="124"/>
                    <a:pt x="94" y="125"/>
                  </a:cubicBezTo>
                  <a:cubicBezTo>
                    <a:pt x="94" y="125"/>
                    <a:pt x="94" y="125"/>
                    <a:pt x="94" y="125"/>
                  </a:cubicBezTo>
                  <a:cubicBezTo>
                    <a:pt x="95" y="128"/>
                    <a:pt x="97" y="128"/>
                    <a:pt x="99" y="127"/>
                  </a:cubicBezTo>
                  <a:cubicBezTo>
                    <a:pt x="99" y="129"/>
                    <a:pt x="99" y="131"/>
                    <a:pt x="98" y="131"/>
                  </a:cubicBezTo>
                  <a:cubicBezTo>
                    <a:pt x="97" y="131"/>
                    <a:pt x="97" y="131"/>
                    <a:pt x="96" y="130"/>
                  </a:cubicBezTo>
                  <a:close/>
                  <a:moveTo>
                    <a:pt x="97" y="155"/>
                  </a:moveTo>
                  <a:cubicBezTo>
                    <a:pt x="97" y="154"/>
                    <a:pt x="97" y="153"/>
                    <a:pt x="97" y="153"/>
                  </a:cubicBezTo>
                  <a:cubicBezTo>
                    <a:pt x="97" y="152"/>
                    <a:pt x="97" y="152"/>
                    <a:pt x="98" y="151"/>
                  </a:cubicBezTo>
                  <a:cubicBezTo>
                    <a:pt x="99" y="150"/>
                    <a:pt x="99" y="149"/>
                    <a:pt x="99" y="148"/>
                  </a:cubicBezTo>
                  <a:cubicBezTo>
                    <a:pt x="98" y="148"/>
                    <a:pt x="97" y="147"/>
                    <a:pt x="98" y="145"/>
                  </a:cubicBezTo>
                  <a:cubicBezTo>
                    <a:pt x="98" y="144"/>
                    <a:pt x="99" y="143"/>
                    <a:pt x="101" y="141"/>
                  </a:cubicBezTo>
                  <a:cubicBezTo>
                    <a:pt x="102" y="140"/>
                    <a:pt x="103" y="138"/>
                    <a:pt x="102" y="136"/>
                  </a:cubicBezTo>
                  <a:cubicBezTo>
                    <a:pt x="102" y="135"/>
                    <a:pt x="102" y="133"/>
                    <a:pt x="102" y="132"/>
                  </a:cubicBezTo>
                  <a:cubicBezTo>
                    <a:pt x="101" y="130"/>
                    <a:pt x="101" y="128"/>
                    <a:pt x="101" y="128"/>
                  </a:cubicBezTo>
                  <a:cubicBezTo>
                    <a:pt x="101" y="128"/>
                    <a:pt x="101" y="128"/>
                    <a:pt x="102" y="128"/>
                  </a:cubicBezTo>
                  <a:cubicBezTo>
                    <a:pt x="103" y="128"/>
                    <a:pt x="103" y="129"/>
                    <a:pt x="103" y="129"/>
                  </a:cubicBezTo>
                  <a:cubicBezTo>
                    <a:pt x="104" y="129"/>
                    <a:pt x="104" y="128"/>
                    <a:pt x="104" y="128"/>
                  </a:cubicBezTo>
                  <a:cubicBezTo>
                    <a:pt x="104" y="127"/>
                    <a:pt x="104" y="127"/>
                    <a:pt x="105" y="126"/>
                  </a:cubicBezTo>
                  <a:cubicBezTo>
                    <a:pt x="105" y="126"/>
                    <a:pt x="105" y="126"/>
                    <a:pt x="106" y="126"/>
                  </a:cubicBezTo>
                  <a:cubicBezTo>
                    <a:pt x="106" y="125"/>
                    <a:pt x="106" y="125"/>
                    <a:pt x="107" y="125"/>
                  </a:cubicBezTo>
                  <a:cubicBezTo>
                    <a:pt x="107" y="125"/>
                    <a:pt x="107" y="125"/>
                    <a:pt x="108" y="124"/>
                  </a:cubicBezTo>
                  <a:cubicBezTo>
                    <a:pt x="108" y="124"/>
                    <a:pt x="108" y="124"/>
                    <a:pt x="109" y="123"/>
                  </a:cubicBezTo>
                  <a:cubicBezTo>
                    <a:pt x="109" y="123"/>
                    <a:pt x="110" y="123"/>
                    <a:pt x="110" y="123"/>
                  </a:cubicBezTo>
                  <a:cubicBezTo>
                    <a:pt x="111" y="123"/>
                    <a:pt x="111" y="123"/>
                    <a:pt x="111" y="123"/>
                  </a:cubicBezTo>
                  <a:cubicBezTo>
                    <a:pt x="112" y="124"/>
                    <a:pt x="112" y="124"/>
                    <a:pt x="111" y="125"/>
                  </a:cubicBezTo>
                  <a:cubicBezTo>
                    <a:pt x="111" y="126"/>
                    <a:pt x="111" y="127"/>
                    <a:pt x="111" y="127"/>
                  </a:cubicBezTo>
                  <a:cubicBezTo>
                    <a:pt x="111" y="127"/>
                    <a:pt x="111" y="127"/>
                    <a:pt x="111" y="126"/>
                  </a:cubicBezTo>
                  <a:cubicBezTo>
                    <a:pt x="111" y="125"/>
                    <a:pt x="112" y="125"/>
                    <a:pt x="112" y="124"/>
                  </a:cubicBezTo>
                  <a:cubicBezTo>
                    <a:pt x="112" y="124"/>
                    <a:pt x="113" y="124"/>
                    <a:pt x="113" y="123"/>
                  </a:cubicBezTo>
                  <a:cubicBezTo>
                    <a:pt x="114" y="123"/>
                    <a:pt x="114" y="123"/>
                    <a:pt x="114" y="124"/>
                  </a:cubicBezTo>
                  <a:cubicBezTo>
                    <a:pt x="115" y="124"/>
                    <a:pt x="115" y="124"/>
                    <a:pt x="115" y="124"/>
                  </a:cubicBezTo>
                  <a:cubicBezTo>
                    <a:pt x="116" y="125"/>
                    <a:pt x="116" y="125"/>
                    <a:pt x="117" y="125"/>
                  </a:cubicBezTo>
                  <a:cubicBezTo>
                    <a:pt x="118" y="125"/>
                    <a:pt x="119" y="126"/>
                    <a:pt x="121" y="127"/>
                  </a:cubicBezTo>
                  <a:cubicBezTo>
                    <a:pt x="121" y="127"/>
                    <a:pt x="121" y="127"/>
                    <a:pt x="121" y="127"/>
                  </a:cubicBezTo>
                  <a:cubicBezTo>
                    <a:pt x="121" y="127"/>
                    <a:pt x="121" y="127"/>
                    <a:pt x="121" y="127"/>
                  </a:cubicBezTo>
                  <a:cubicBezTo>
                    <a:pt x="121" y="127"/>
                    <a:pt x="122" y="127"/>
                    <a:pt x="122" y="126"/>
                  </a:cubicBezTo>
                  <a:cubicBezTo>
                    <a:pt x="122" y="126"/>
                    <a:pt x="122" y="126"/>
                    <a:pt x="122" y="126"/>
                  </a:cubicBezTo>
                  <a:cubicBezTo>
                    <a:pt x="123" y="126"/>
                    <a:pt x="123" y="126"/>
                    <a:pt x="123" y="126"/>
                  </a:cubicBezTo>
                  <a:cubicBezTo>
                    <a:pt x="123" y="126"/>
                    <a:pt x="124" y="126"/>
                    <a:pt x="124" y="126"/>
                  </a:cubicBezTo>
                  <a:cubicBezTo>
                    <a:pt x="124" y="126"/>
                    <a:pt x="124" y="126"/>
                    <a:pt x="125" y="126"/>
                  </a:cubicBezTo>
                  <a:cubicBezTo>
                    <a:pt x="125" y="126"/>
                    <a:pt x="125" y="127"/>
                    <a:pt x="126" y="127"/>
                  </a:cubicBezTo>
                  <a:cubicBezTo>
                    <a:pt x="126" y="127"/>
                    <a:pt x="126" y="127"/>
                    <a:pt x="126" y="127"/>
                  </a:cubicBezTo>
                  <a:cubicBezTo>
                    <a:pt x="127" y="128"/>
                    <a:pt x="127" y="128"/>
                    <a:pt x="127" y="128"/>
                  </a:cubicBezTo>
                  <a:cubicBezTo>
                    <a:pt x="127" y="128"/>
                    <a:pt x="128" y="128"/>
                    <a:pt x="128" y="129"/>
                  </a:cubicBezTo>
                  <a:cubicBezTo>
                    <a:pt x="129" y="129"/>
                    <a:pt x="129" y="129"/>
                    <a:pt x="130" y="130"/>
                  </a:cubicBezTo>
                  <a:cubicBezTo>
                    <a:pt x="130" y="130"/>
                    <a:pt x="130" y="130"/>
                    <a:pt x="131" y="131"/>
                  </a:cubicBezTo>
                  <a:cubicBezTo>
                    <a:pt x="131" y="131"/>
                    <a:pt x="131" y="132"/>
                    <a:pt x="131" y="132"/>
                  </a:cubicBezTo>
                  <a:cubicBezTo>
                    <a:pt x="131" y="132"/>
                    <a:pt x="132" y="132"/>
                    <a:pt x="134" y="133"/>
                  </a:cubicBezTo>
                  <a:cubicBezTo>
                    <a:pt x="134" y="133"/>
                    <a:pt x="134" y="133"/>
                    <a:pt x="135" y="133"/>
                  </a:cubicBezTo>
                  <a:cubicBezTo>
                    <a:pt x="136" y="133"/>
                    <a:pt x="136" y="134"/>
                    <a:pt x="136" y="134"/>
                  </a:cubicBezTo>
                  <a:cubicBezTo>
                    <a:pt x="126" y="145"/>
                    <a:pt x="113" y="152"/>
                    <a:pt x="97" y="155"/>
                  </a:cubicBezTo>
                  <a:close/>
                  <a:moveTo>
                    <a:pt x="97" y="155"/>
                  </a:moveTo>
                  <a:cubicBezTo>
                    <a:pt x="97" y="155"/>
                    <a:pt x="97" y="155"/>
                    <a:pt x="97" y="155"/>
                  </a:cubicBezTo>
                </a:path>
              </a:pathLst>
            </a:custGeom>
            <a:solidFill>
              <a:schemeClr val="tx1">
                <a:lumMod val="85000"/>
                <a:lumOff val="15000"/>
              </a:schemeClr>
            </a:solidFill>
            <a:ln>
              <a:noFill/>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grpSp>
      <p:sp>
        <p:nvSpPr>
          <p:cNvPr id="79" name="Rectangle 80">
            <a:extLst>
              <a:ext uri="{FF2B5EF4-FFF2-40B4-BE49-F238E27FC236}">
                <a16:creationId xmlns:a16="http://schemas.microsoft.com/office/drawing/2014/main" id="{1524F912-4899-4252-AE05-2F0F4676B377}"/>
              </a:ext>
            </a:extLst>
          </p:cNvPr>
          <p:cNvSpPr/>
          <p:nvPr/>
        </p:nvSpPr>
        <p:spPr>
          <a:xfrm>
            <a:off x="1088572" y="5313400"/>
            <a:ext cx="10014859" cy="827021"/>
          </a:xfrm>
          <a:prstGeom prst="rect">
            <a:avLst/>
          </a:prstGeom>
        </p:spPr>
        <p:txBody>
          <a:bodyPr wrap="square">
            <a:sp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lumMod val="50000"/>
                    <a:lumOff val="50000"/>
                  </a:srgbClr>
                </a:solidFill>
                <a:effectLst/>
                <a:uLnTx/>
                <a:uFillTx/>
                <a:latin typeface="等线" panose="020F0502020204030204"/>
                <a:ea typeface="+mn-ea"/>
                <a:cs typeface="+mn-cs"/>
              </a:rPr>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p:txBody>
      </p:sp>
    </p:spTree>
    <p:extLst>
      <p:ext uri="{BB962C8B-B14F-4D97-AF65-F5344CB8AC3E}">
        <p14:creationId xmlns:p14="http://schemas.microsoft.com/office/powerpoint/2010/main" val="2847844815"/>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up)">
                                      <p:cBhvr>
                                        <p:cTn id="7" dur="500"/>
                                        <p:tgtEl>
                                          <p:spTgt spid="3"/>
                                        </p:tgtEl>
                                      </p:cBhvr>
                                    </p:animEffect>
                                  </p:childTnLst>
                                </p:cTn>
                              </p:par>
                            </p:childTnLst>
                          </p:cTn>
                        </p:par>
                        <p:par>
                          <p:cTn id="8" fill="hold">
                            <p:stCondLst>
                              <p:cond delay="500"/>
                            </p:stCondLst>
                            <p:childTnLst>
                              <p:par>
                                <p:cTn id="9" presetID="42" presetClass="entr" presetSubtype="0" fill="hold" grpId="0" nodeType="afterEffect">
                                  <p:stCondLst>
                                    <p:cond delay="0"/>
                                  </p:stCondLst>
                                  <p:childTnLst>
                                    <p:set>
                                      <p:cBhvr>
                                        <p:cTn id="10" dur="1" fill="hold">
                                          <p:stCondLst>
                                            <p:cond delay="0"/>
                                          </p:stCondLst>
                                        </p:cTn>
                                        <p:tgtEl>
                                          <p:spTgt spid="79"/>
                                        </p:tgtEl>
                                        <p:attrNameLst>
                                          <p:attrName>style.visibility</p:attrName>
                                        </p:attrNameLst>
                                      </p:cBhvr>
                                      <p:to>
                                        <p:strVal val="visible"/>
                                      </p:to>
                                    </p:set>
                                    <p:animEffect transition="in" filter="fade">
                                      <p:cBhvr>
                                        <p:cTn id="11" dur="500"/>
                                        <p:tgtEl>
                                          <p:spTgt spid="79"/>
                                        </p:tgtEl>
                                      </p:cBhvr>
                                    </p:animEffect>
                                    <p:anim calcmode="lin" valueType="num">
                                      <p:cBhvr>
                                        <p:cTn id="12" dur="500" fill="hold"/>
                                        <p:tgtEl>
                                          <p:spTgt spid="79"/>
                                        </p:tgtEl>
                                        <p:attrNameLst>
                                          <p:attrName>ppt_x</p:attrName>
                                        </p:attrNameLst>
                                      </p:cBhvr>
                                      <p:tavLst>
                                        <p:tav tm="0">
                                          <p:val>
                                            <p:strVal val="#ppt_x"/>
                                          </p:val>
                                        </p:tav>
                                        <p:tav tm="100000">
                                          <p:val>
                                            <p:strVal val="#ppt_x"/>
                                          </p:val>
                                        </p:tav>
                                      </p:tavLst>
                                    </p:anim>
                                    <p:anim calcmode="lin" valueType="num">
                                      <p:cBhvr>
                                        <p:cTn id="13" dur="500" fill="hold"/>
                                        <p:tgtEl>
                                          <p:spTgt spid="79"/>
                                        </p:tgtEl>
                                        <p:attrNameLst>
                                          <p:attrName>ppt_y</p:attrName>
                                        </p:attrNameLst>
                                      </p:cBhvr>
                                      <p:tavLst>
                                        <p:tav tm="0">
                                          <p:val>
                                            <p:strVal val="#ppt_y+.1"/>
                                          </p:val>
                                        </p:tav>
                                        <p:tav tm="100000">
                                          <p:val>
                                            <p:strVal val="#ppt_y"/>
                                          </p:val>
                                        </p:tav>
                                      </p:tavLst>
                                    </p:anim>
                                  </p:childTnLst>
                                </p:cTn>
                              </p:par>
                            </p:childTnLst>
                          </p:cTn>
                        </p:par>
                        <p:par>
                          <p:cTn id="14" fill="hold">
                            <p:stCondLst>
                              <p:cond delay="1000"/>
                            </p:stCondLst>
                            <p:childTnLst>
                              <p:par>
                                <p:cTn id="15" presetID="16" presetClass="entr" presetSubtype="37" fill="hold" grpId="0" nodeType="afterEffect">
                                  <p:stCondLst>
                                    <p:cond delay="0"/>
                                  </p:stCondLst>
                                  <p:childTnLst>
                                    <p:set>
                                      <p:cBhvr>
                                        <p:cTn id="16" dur="1" fill="hold">
                                          <p:stCondLst>
                                            <p:cond delay="0"/>
                                          </p:stCondLst>
                                        </p:cTn>
                                        <p:tgtEl>
                                          <p:spTgt spid="2"/>
                                        </p:tgtEl>
                                        <p:attrNameLst>
                                          <p:attrName>style.visibility</p:attrName>
                                        </p:attrNameLst>
                                      </p:cBhvr>
                                      <p:to>
                                        <p:strVal val="visible"/>
                                      </p:to>
                                    </p:set>
                                    <p:animEffect transition="in" filter="barn(outVertical)">
                                      <p:cBhvr>
                                        <p:cTn id="1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79" grpId="0"/>
    </p:bld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a:extLst>
              <a:ext uri="{FF2B5EF4-FFF2-40B4-BE49-F238E27FC236}">
                <a16:creationId xmlns:a16="http://schemas.microsoft.com/office/drawing/2014/main" id="{53FBD903-39EF-4D60-B27D-25E57A52D85A}"/>
              </a:ext>
            </a:extLst>
          </p:cNvPr>
          <p:cNvSpPr/>
          <p:nvPr/>
        </p:nvSpPr>
        <p:spPr>
          <a:xfrm>
            <a:off x="-1" y="0"/>
            <a:ext cx="12192001" cy="405993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p>
        </p:txBody>
      </p:sp>
      <p:sp>
        <p:nvSpPr>
          <p:cNvPr id="3" name="文本框 2">
            <a:extLst>
              <a:ext uri="{FF2B5EF4-FFF2-40B4-BE49-F238E27FC236}">
                <a16:creationId xmlns:a16="http://schemas.microsoft.com/office/drawing/2014/main" id="{56A670B2-CA81-4818-A1D8-31BF030A05AB}"/>
              </a:ext>
            </a:extLst>
          </p:cNvPr>
          <p:cNvSpPr txBox="1"/>
          <p:nvPr/>
        </p:nvSpPr>
        <p:spPr>
          <a:xfrm>
            <a:off x="4525987" y="438520"/>
            <a:ext cx="2949525" cy="1769715"/>
          </a:xfrm>
          <a:prstGeom prst="rect">
            <a:avLst/>
          </a:prstGeom>
          <a:noFill/>
        </p:spPr>
        <p:txBody>
          <a:bodyPr wrap="none" lIns="0" tIns="0" rIns="0" bIns="0" rtlCol="0" anchor="t">
            <a:spAutoFit/>
          </a:bodyPr>
          <a:lstStyle/>
          <a:p>
            <a:pPr algn="l"/>
            <a:r>
              <a:rPr lang="zh-CN" altLang="en-US" sz="11500" dirty="0">
                <a:solidFill>
                  <a:schemeClr val="bg1"/>
                </a:solidFill>
                <a:latin typeface="+mj-ea"/>
                <a:ea typeface="+mj-ea"/>
              </a:rPr>
              <a:t>目录</a:t>
            </a:r>
          </a:p>
        </p:txBody>
      </p:sp>
      <p:sp>
        <p:nvSpPr>
          <p:cNvPr id="17" name="文本框 16">
            <a:extLst>
              <a:ext uri="{FF2B5EF4-FFF2-40B4-BE49-F238E27FC236}">
                <a16:creationId xmlns:a16="http://schemas.microsoft.com/office/drawing/2014/main" id="{4FB963FB-0304-40B7-BDDD-D0DDC45CB261}"/>
              </a:ext>
            </a:extLst>
          </p:cNvPr>
          <p:cNvSpPr txBox="1"/>
          <p:nvPr/>
        </p:nvSpPr>
        <p:spPr>
          <a:xfrm>
            <a:off x="4727447" y="2127714"/>
            <a:ext cx="2699839" cy="430887"/>
          </a:xfrm>
          <a:prstGeom prst="rect">
            <a:avLst/>
          </a:prstGeom>
          <a:noFill/>
        </p:spPr>
        <p:txBody>
          <a:bodyPr wrap="square" lIns="0" tIns="0" rIns="0" bIns="0" rtlCol="0" anchor="t">
            <a:spAutoFit/>
          </a:bodyPr>
          <a:lstStyle/>
          <a:p>
            <a:pPr algn="dist"/>
            <a:r>
              <a:rPr lang="en-US" altLang="zh-CN" sz="2800" dirty="0">
                <a:solidFill>
                  <a:schemeClr val="bg1"/>
                </a:solidFill>
              </a:rPr>
              <a:t>CONTENTS</a:t>
            </a:r>
            <a:endParaRPr lang="zh-CN" altLang="en-US" sz="2800" dirty="0">
              <a:solidFill>
                <a:schemeClr val="bg1"/>
              </a:solidFill>
            </a:endParaRPr>
          </a:p>
        </p:txBody>
      </p:sp>
      <p:grpSp>
        <p:nvGrpSpPr>
          <p:cNvPr id="6" name="组合 5">
            <a:extLst>
              <a:ext uri="{FF2B5EF4-FFF2-40B4-BE49-F238E27FC236}">
                <a16:creationId xmlns:a16="http://schemas.microsoft.com/office/drawing/2014/main" id="{B3FF867B-6B7F-4EC6-8C4E-7134313A02E2}"/>
              </a:ext>
            </a:extLst>
          </p:cNvPr>
          <p:cNvGrpSpPr/>
          <p:nvPr/>
        </p:nvGrpSpPr>
        <p:grpSpPr>
          <a:xfrm>
            <a:off x="584199" y="3046673"/>
            <a:ext cx="2362200" cy="2650236"/>
            <a:chOff x="584199" y="3046673"/>
            <a:chExt cx="2362200" cy="2650236"/>
          </a:xfrm>
        </p:grpSpPr>
        <p:sp>
          <p:nvSpPr>
            <p:cNvPr id="19" name="矩形: 圆角 18">
              <a:extLst>
                <a:ext uri="{FF2B5EF4-FFF2-40B4-BE49-F238E27FC236}">
                  <a16:creationId xmlns:a16="http://schemas.microsoft.com/office/drawing/2014/main" id="{F739AEF7-2B01-428F-9725-5AF32364346C}"/>
                </a:ext>
              </a:extLst>
            </p:cNvPr>
            <p:cNvSpPr/>
            <p:nvPr/>
          </p:nvSpPr>
          <p:spPr>
            <a:xfrm>
              <a:off x="584199" y="3046673"/>
              <a:ext cx="2362200" cy="2650236"/>
            </a:xfrm>
            <a:prstGeom prst="roundRect">
              <a:avLst>
                <a:gd name="adj" fmla="val 3979"/>
              </a:avLst>
            </a:prstGeom>
            <a:solidFill>
              <a:schemeClr val="bg1"/>
            </a:solidFill>
            <a:ln w="19050">
              <a:noFill/>
            </a:ln>
            <a:effectLst>
              <a:outerShdw blurRad="2286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solidFill>
                  <a:schemeClr val="accent1"/>
                </a:solidFill>
              </a:endParaRPr>
            </a:p>
          </p:txBody>
        </p:sp>
        <p:sp>
          <p:nvSpPr>
            <p:cNvPr id="20" name="文本框 19">
              <a:extLst>
                <a:ext uri="{FF2B5EF4-FFF2-40B4-BE49-F238E27FC236}">
                  <a16:creationId xmlns:a16="http://schemas.microsoft.com/office/drawing/2014/main" id="{CD44CE2C-EE43-4043-9BF5-4097A0A67C52}"/>
                </a:ext>
              </a:extLst>
            </p:cNvPr>
            <p:cNvSpPr txBox="1"/>
            <p:nvPr/>
          </p:nvSpPr>
          <p:spPr>
            <a:xfrm>
              <a:off x="1473553" y="3508460"/>
              <a:ext cx="583493" cy="615553"/>
            </a:xfrm>
            <a:prstGeom prst="rect">
              <a:avLst/>
            </a:prstGeom>
            <a:noFill/>
          </p:spPr>
          <p:txBody>
            <a:bodyPr wrap="none" lIns="0" tIns="0" rIns="0" bIns="0" rtlCol="0" anchor="t">
              <a:spAutoFit/>
            </a:bodyPr>
            <a:lstStyle/>
            <a:p>
              <a:pPr algn="ctr"/>
              <a:r>
                <a:rPr lang="en-US" altLang="zh-CN" sz="4000" dirty="0">
                  <a:solidFill>
                    <a:schemeClr val="accent1"/>
                  </a:solidFill>
                  <a:latin typeface="+mj-ea"/>
                  <a:ea typeface="+mj-ea"/>
                </a:rPr>
                <a:t>01</a:t>
              </a:r>
              <a:endParaRPr lang="zh-CN" altLang="en-US" sz="4000" dirty="0">
                <a:solidFill>
                  <a:schemeClr val="accent1"/>
                </a:solidFill>
                <a:latin typeface="+mj-ea"/>
                <a:ea typeface="+mj-ea"/>
              </a:endParaRPr>
            </a:p>
          </p:txBody>
        </p:sp>
        <p:sp>
          <p:nvSpPr>
            <p:cNvPr id="21" name="文本框 20">
              <a:extLst>
                <a:ext uri="{FF2B5EF4-FFF2-40B4-BE49-F238E27FC236}">
                  <a16:creationId xmlns:a16="http://schemas.microsoft.com/office/drawing/2014/main" id="{3EA0B0B2-D0E6-4E65-ACE2-B3462CD8FAFE}"/>
                </a:ext>
              </a:extLst>
            </p:cNvPr>
            <p:cNvSpPr txBox="1"/>
            <p:nvPr/>
          </p:nvSpPr>
          <p:spPr>
            <a:xfrm>
              <a:off x="841970" y="4270460"/>
              <a:ext cx="1846659" cy="369332"/>
            </a:xfrm>
            <a:prstGeom prst="rect">
              <a:avLst/>
            </a:prstGeom>
            <a:noFill/>
          </p:spPr>
          <p:txBody>
            <a:bodyPr wrap="none" lIns="0" tIns="0" rIns="0" bIns="0" rtlCol="0" anchor="t">
              <a:spAutoFit/>
            </a:bodyPr>
            <a:lstStyle/>
            <a:p>
              <a:pPr algn="ctr"/>
              <a:r>
                <a:rPr lang="zh-CN" altLang="en-US" sz="2400" dirty="0">
                  <a:solidFill>
                    <a:schemeClr val="accent1"/>
                  </a:solidFill>
                  <a:latin typeface="+mj-ea"/>
                  <a:ea typeface="+mj-ea"/>
                </a:rPr>
                <a:t>输入目录标题</a:t>
              </a:r>
            </a:p>
          </p:txBody>
        </p:sp>
        <p:sp>
          <p:nvSpPr>
            <p:cNvPr id="34" name="文本框 33">
              <a:extLst>
                <a:ext uri="{FF2B5EF4-FFF2-40B4-BE49-F238E27FC236}">
                  <a16:creationId xmlns:a16="http://schemas.microsoft.com/office/drawing/2014/main" id="{8B87A358-DF44-4B9C-A496-15B12ED92D4C}"/>
                </a:ext>
              </a:extLst>
            </p:cNvPr>
            <p:cNvSpPr txBox="1"/>
            <p:nvPr/>
          </p:nvSpPr>
          <p:spPr>
            <a:xfrm>
              <a:off x="841969" y="4731642"/>
              <a:ext cx="1846660" cy="215444"/>
            </a:xfrm>
            <a:prstGeom prst="rect">
              <a:avLst/>
            </a:prstGeom>
            <a:noFill/>
          </p:spPr>
          <p:txBody>
            <a:bodyPr wrap="square" lIns="0" tIns="0" rIns="0" bIns="0" rtlCol="0" anchor="t">
              <a:spAutoFit/>
            </a:bodyPr>
            <a:lstStyle/>
            <a:p>
              <a:pPr algn="dist"/>
              <a:r>
                <a:rPr lang="en-US" altLang="zh-CN" sz="1400" dirty="0">
                  <a:solidFill>
                    <a:schemeClr val="accent1"/>
                  </a:solidFill>
                </a:rPr>
                <a:t>Contents Title Here</a:t>
              </a:r>
              <a:endParaRPr lang="zh-CN" altLang="en-US" sz="1400" dirty="0">
                <a:solidFill>
                  <a:schemeClr val="accent1"/>
                </a:solidFill>
              </a:endParaRPr>
            </a:p>
          </p:txBody>
        </p:sp>
        <p:sp>
          <p:nvSpPr>
            <p:cNvPr id="4" name="矩形: 圆顶角 3">
              <a:extLst>
                <a:ext uri="{FF2B5EF4-FFF2-40B4-BE49-F238E27FC236}">
                  <a16:creationId xmlns:a16="http://schemas.microsoft.com/office/drawing/2014/main" id="{185438AA-729B-467F-B3B0-37DF9FEA48DA}"/>
                </a:ext>
              </a:extLst>
            </p:cNvPr>
            <p:cNvSpPr/>
            <p:nvPr/>
          </p:nvSpPr>
          <p:spPr>
            <a:xfrm rot="10800000">
              <a:off x="584200" y="5481461"/>
              <a:ext cx="2362198" cy="215446"/>
            </a:xfrm>
            <a:prstGeom prst="round2SameRect">
              <a:avLst>
                <a:gd name="adj1" fmla="val 50000"/>
                <a:gd name="adj2"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solidFill>
                  <a:schemeClr val="accent1"/>
                </a:solidFill>
              </a:endParaRPr>
            </a:p>
          </p:txBody>
        </p:sp>
      </p:grpSp>
      <p:grpSp>
        <p:nvGrpSpPr>
          <p:cNvPr id="68" name="组合 67">
            <a:extLst>
              <a:ext uri="{FF2B5EF4-FFF2-40B4-BE49-F238E27FC236}">
                <a16:creationId xmlns:a16="http://schemas.microsoft.com/office/drawing/2014/main" id="{FA6BF063-29E7-4FB9-8830-17B09B6AE3F9}"/>
              </a:ext>
            </a:extLst>
          </p:cNvPr>
          <p:cNvGrpSpPr/>
          <p:nvPr/>
        </p:nvGrpSpPr>
        <p:grpSpPr>
          <a:xfrm>
            <a:off x="3344887" y="3046673"/>
            <a:ext cx="2362200" cy="2650236"/>
            <a:chOff x="584199" y="3046673"/>
            <a:chExt cx="2362200" cy="2650236"/>
          </a:xfrm>
        </p:grpSpPr>
        <p:sp>
          <p:nvSpPr>
            <p:cNvPr id="69" name="矩形: 圆角 68">
              <a:extLst>
                <a:ext uri="{FF2B5EF4-FFF2-40B4-BE49-F238E27FC236}">
                  <a16:creationId xmlns:a16="http://schemas.microsoft.com/office/drawing/2014/main" id="{9ED10BEE-A4BC-42D4-BCCE-CCE5D8C9EDA9}"/>
                </a:ext>
              </a:extLst>
            </p:cNvPr>
            <p:cNvSpPr/>
            <p:nvPr/>
          </p:nvSpPr>
          <p:spPr>
            <a:xfrm>
              <a:off x="584199" y="3046673"/>
              <a:ext cx="2362200" cy="2650236"/>
            </a:xfrm>
            <a:prstGeom prst="roundRect">
              <a:avLst>
                <a:gd name="adj" fmla="val 3979"/>
              </a:avLst>
            </a:prstGeom>
            <a:solidFill>
              <a:schemeClr val="bg1"/>
            </a:solidFill>
            <a:ln w="19050">
              <a:noFill/>
            </a:ln>
            <a:effectLst>
              <a:outerShdw blurRad="2286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solidFill>
                  <a:schemeClr val="accent1"/>
                </a:solidFill>
              </a:endParaRPr>
            </a:p>
          </p:txBody>
        </p:sp>
        <p:sp>
          <p:nvSpPr>
            <p:cNvPr id="70" name="文本框 69">
              <a:extLst>
                <a:ext uri="{FF2B5EF4-FFF2-40B4-BE49-F238E27FC236}">
                  <a16:creationId xmlns:a16="http://schemas.microsoft.com/office/drawing/2014/main" id="{32B0AD66-652D-4FFC-9B10-C22E89ED005C}"/>
                </a:ext>
              </a:extLst>
            </p:cNvPr>
            <p:cNvSpPr txBox="1"/>
            <p:nvPr/>
          </p:nvSpPr>
          <p:spPr>
            <a:xfrm>
              <a:off x="1427066" y="3508460"/>
              <a:ext cx="676467" cy="615553"/>
            </a:xfrm>
            <a:prstGeom prst="rect">
              <a:avLst/>
            </a:prstGeom>
            <a:noFill/>
          </p:spPr>
          <p:txBody>
            <a:bodyPr wrap="none" lIns="0" tIns="0" rIns="0" bIns="0" rtlCol="0" anchor="t">
              <a:spAutoFit/>
            </a:bodyPr>
            <a:lstStyle/>
            <a:p>
              <a:pPr algn="ctr"/>
              <a:r>
                <a:rPr lang="en-US" altLang="zh-CN" sz="4000" dirty="0">
                  <a:solidFill>
                    <a:schemeClr val="accent1"/>
                  </a:solidFill>
                  <a:latin typeface="+mj-ea"/>
                  <a:ea typeface="+mj-ea"/>
                </a:rPr>
                <a:t>02</a:t>
              </a:r>
              <a:endParaRPr lang="zh-CN" altLang="en-US" sz="4000" dirty="0">
                <a:solidFill>
                  <a:schemeClr val="accent1"/>
                </a:solidFill>
                <a:latin typeface="+mj-ea"/>
                <a:ea typeface="+mj-ea"/>
              </a:endParaRPr>
            </a:p>
          </p:txBody>
        </p:sp>
        <p:sp>
          <p:nvSpPr>
            <p:cNvPr id="71" name="文本框 70">
              <a:extLst>
                <a:ext uri="{FF2B5EF4-FFF2-40B4-BE49-F238E27FC236}">
                  <a16:creationId xmlns:a16="http://schemas.microsoft.com/office/drawing/2014/main" id="{3CBEEBC3-B474-409F-98CB-9865CF5A577E}"/>
                </a:ext>
              </a:extLst>
            </p:cNvPr>
            <p:cNvSpPr txBox="1"/>
            <p:nvPr/>
          </p:nvSpPr>
          <p:spPr>
            <a:xfrm>
              <a:off x="841970" y="4270460"/>
              <a:ext cx="1846659" cy="369332"/>
            </a:xfrm>
            <a:prstGeom prst="rect">
              <a:avLst/>
            </a:prstGeom>
            <a:noFill/>
          </p:spPr>
          <p:txBody>
            <a:bodyPr wrap="none" lIns="0" tIns="0" rIns="0" bIns="0" rtlCol="0" anchor="t">
              <a:spAutoFit/>
            </a:bodyPr>
            <a:lstStyle/>
            <a:p>
              <a:pPr algn="ctr"/>
              <a:r>
                <a:rPr lang="zh-CN" altLang="en-US" sz="2400" dirty="0">
                  <a:solidFill>
                    <a:schemeClr val="accent1"/>
                  </a:solidFill>
                  <a:latin typeface="+mj-ea"/>
                  <a:ea typeface="+mj-ea"/>
                </a:rPr>
                <a:t>输入目录标题</a:t>
              </a:r>
            </a:p>
          </p:txBody>
        </p:sp>
        <p:sp>
          <p:nvSpPr>
            <p:cNvPr id="72" name="文本框 71">
              <a:extLst>
                <a:ext uri="{FF2B5EF4-FFF2-40B4-BE49-F238E27FC236}">
                  <a16:creationId xmlns:a16="http://schemas.microsoft.com/office/drawing/2014/main" id="{84B52621-5C6D-4048-B542-6309F7966282}"/>
                </a:ext>
              </a:extLst>
            </p:cNvPr>
            <p:cNvSpPr txBox="1"/>
            <p:nvPr/>
          </p:nvSpPr>
          <p:spPr>
            <a:xfrm>
              <a:off x="841969" y="4731642"/>
              <a:ext cx="1846660" cy="215444"/>
            </a:xfrm>
            <a:prstGeom prst="rect">
              <a:avLst/>
            </a:prstGeom>
            <a:noFill/>
          </p:spPr>
          <p:txBody>
            <a:bodyPr wrap="square" lIns="0" tIns="0" rIns="0" bIns="0" rtlCol="0" anchor="t">
              <a:spAutoFit/>
            </a:bodyPr>
            <a:lstStyle/>
            <a:p>
              <a:pPr algn="dist"/>
              <a:r>
                <a:rPr lang="en-US" altLang="zh-CN" sz="1400" dirty="0">
                  <a:solidFill>
                    <a:schemeClr val="accent1"/>
                  </a:solidFill>
                </a:rPr>
                <a:t>Contents Title Here</a:t>
              </a:r>
              <a:endParaRPr lang="zh-CN" altLang="en-US" sz="1400" dirty="0">
                <a:solidFill>
                  <a:schemeClr val="accent1"/>
                </a:solidFill>
              </a:endParaRPr>
            </a:p>
          </p:txBody>
        </p:sp>
        <p:sp>
          <p:nvSpPr>
            <p:cNvPr id="73" name="矩形: 圆顶角 72">
              <a:extLst>
                <a:ext uri="{FF2B5EF4-FFF2-40B4-BE49-F238E27FC236}">
                  <a16:creationId xmlns:a16="http://schemas.microsoft.com/office/drawing/2014/main" id="{9B412ADB-2742-4449-B1C7-F468334DDBB1}"/>
                </a:ext>
              </a:extLst>
            </p:cNvPr>
            <p:cNvSpPr/>
            <p:nvPr/>
          </p:nvSpPr>
          <p:spPr>
            <a:xfrm rot="10800000">
              <a:off x="584200" y="5481461"/>
              <a:ext cx="2362198" cy="215446"/>
            </a:xfrm>
            <a:prstGeom prst="round2SameRect">
              <a:avLst>
                <a:gd name="adj1" fmla="val 50000"/>
                <a:gd name="adj2"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solidFill>
                  <a:schemeClr val="accent1"/>
                </a:solidFill>
              </a:endParaRPr>
            </a:p>
          </p:txBody>
        </p:sp>
      </p:grpSp>
      <p:grpSp>
        <p:nvGrpSpPr>
          <p:cNvPr id="74" name="组合 73">
            <a:extLst>
              <a:ext uri="{FF2B5EF4-FFF2-40B4-BE49-F238E27FC236}">
                <a16:creationId xmlns:a16="http://schemas.microsoft.com/office/drawing/2014/main" id="{604E1EE5-5655-41E4-8B7B-A80D5938E241}"/>
              </a:ext>
            </a:extLst>
          </p:cNvPr>
          <p:cNvGrpSpPr/>
          <p:nvPr/>
        </p:nvGrpSpPr>
        <p:grpSpPr>
          <a:xfrm>
            <a:off x="6105575" y="3046673"/>
            <a:ext cx="2362200" cy="2650236"/>
            <a:chOff x="584199" y="3046673"/>
            <a:chExt cx="2362200" cy="2650236"/>
          </a:xfrm>
        </p:grpSpPr>
        <p:sp>
          <p:nvSpPr>
            <p:cNvPr id="75" name="矩形: 圆角 74">
              <a:extLst>
                <a:ext uri="{FF2B5EF4-FFF2-40B4-BE49-F238E27FC236}">
                  <a16:creationId xmlns:a16="http://schemas.microsoft.com/office/drawing/2014/main" id="{BD7074E6-1969-4976-983C-49A3AD6E80E7}"/>
                </a:ext>
              </a:extLst>
            </p:cNvPr>
            <p:cNvSpPr/>
            <p:nvPr/>
          </p:nvSpPr>
          <p:spPr>
            <a:xfrm>
              <a:off x="584199" y="3046673"/>
              <a:ext cx="2362200" cy="2650236"/>
            </a:xfrm>
            <a:prstGeom prst="roundRect">
              <a:avLst>
                <a:gd name="adj" fmla="val 3979"/>
              </a:avLst>
            </a:prstGeom>
            <a:solidFill>
              <a:schemeClr val="bg1"/>
            </a:solidFill>
            <a:ln w="19050">
              <a:noFill/>
            </a:ln>
            <a:effectLst>
              <a:outerShdw blurRad="2286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solidFill>
                  <a:schemeClr val="accent1"/>
                </a:solidFill>
              </a:endParaRPr>
            </a:p>
          </p:txBody>
        </p:sp>
        <p:sp>
          <p:nvSpPr>
            <p:cNvPr id="76" name="文本框 75">
              <a:extLst>
                <a:ext uri="{FF2B5EF4-FFF2-40B4-BE49-F238E27FC236}">
                  <a16:creationId xmlns:a16="http://schemas.microsoft.com/office/drawing/2014/main" id="{7327D5E2-08C3-4AB5-A600-D4448C29C726}"/>
                </a:ext>
              </a:extLst>
            </p:cNvPr>
            <p:cNvSpPr txBox="1"/>
            <p:nvPr/>
          </p:nvSpPr>
          <p:spPr>
            <a:xfrm>
              <a:off x="1427066" y="3508460"/>
              <a:ext cx="676467" cy="615553"/>
            </a:xfrm>
            <a:prstGeom prst="rect">
              <a:avLst/>
            </a:prstGeom>
            <a:noFill/>
          </p:spPr>
          <p:txBody>
            <a:bodyPr wrap="none" lIns="0" tIns="0" rIns="0" bIns="0" rtlCol="0" anchor="t">
              <a:spAutoFit/>
            </a:bodyPr>
            <a:lstStyle/>
            <a:p>
              <a:pPr algn="ctr"/>
              <a:r>
                <a:rPr lang="en-US" altLang="zh-CN" sz="4000" dirty="0">
                  <a:solidFill>
                    <a:schemeClr val="accent1"/>
                  </a:solidFill>
                  <a:latin typeface="+mj-ea"/>
                  <a:ea typeface="+mj-ea"/>
                </a:rPr>
                <a:t>03</a:t>
              </a:r>
              <a:endParaRPr lang="zh-CN" altLang="en-US" sz="4000" dirty="0">
                <a:solidFill>
                  <a:schemeClr val="accent1"/>
                </a:solidFill>
                <a:latin typeface="+mj-ea"/>
                <a:ea typeface="+mj-ea"/>
              </a:endParaRPr>
            </a:p>
          </p:txBody>
        </p:sp>
        <p:sp>
          <p:nvSpPr>
            <p:cNvPr id="77" name="文本框 76">
              <a:extLst>
                <a:ext uri="{FF2B5EF4-FFF2-40B4-BE49-F238E27FC236}">
                  <a16:creationId xmlns:a16="http://schemas.microsoft.com/office/drawing/2014/main" id="{F5EC613E-959A-44B8-ABF8-844201C146A0}"/>
                </a:ext>
              </a:extLst>
            </p:cNvPr>
            <p:cNvSpPr txBox="1"/>
            <p:nvPr/>
          </p:nvSpPr>
          <p:spPr>
            <a:xfrm>
              <a:off x="841970" y="4270460"/>
              <a:ext cx="1846659" cy="369332"/>
            </a:xfrm>
            <a:prstGeom prst="rect">
              <a:avLst/>
            </a:prstGeom>
            <a:noFill/>
          </p:spPr>
          <p:txBody>
            <a:bodyPr wrap="none" lIns="0" tIns="0" rIns="0" bIns="0" rtlCol="0" anchor="t">
              <a:spAutoFit/>
            </a:bodyPr>
            <a:lstStyle/>
            <a:p>
              <a:pPr algn="ctr"/>
              <a:r>
                <a:rPr lang="zh-CN" altLang="en-US" sz="2400" dirty="0">
                  <a:solidFill>
                    <a:schemeClr val="accent1"/>
                  </a:solidFill>
                  <a:latin typeface="+mj-ea"/>
                  <a:ea typeface="+mj-ea"/>
                </a:rPr>
                <a:t>输入目录标题</a:t>
              </a:r>
            </a:p>
          </p:txBody>
        </p:sp>
        <p:sp>
          <p:nvSpPr>
            <p:cNvPr id="78" name="文本框 77">
              <a:extLst>
                <a:ext uri="{FF2B5EF4-FFF2-40B4-BE49-F238E27FC236}">
                  <a16:creationId xmlns:a16="http://schemas.microsoft.com/office/drawing/2014/main" id="{98365AD9-137C-42FB-B168-70C88430A443}"/>
                </a:ext>
              </a:extLst>
            </p:cNvPr>
            <p:cNvSpPr txBox="1"/>
            <p:nvPr/>
          </p:nvSpPr>
          <p:spPr>
            <a:xfrm>
              <a:off x="841969" y="4731642"/>
              <a:ext cx="1846660" cy="215444"/>
            </a:xfrm>
            <a:prstGeom prst="rect">
              <a:avLst/>
            </a:prstGeom>
            <a:noFill/>
          </p:spPr>
          <p:txBody>
            <a:bodyPr wrap="square" lIns="0" tIns="0" rIns="0" bIns="0" rtlCol="0" anchor="t">
              <a:spAutoFit/>
            </a:bodyPr>
            <a:lstStyle/>
            <a:p>
              <a:pPr algn="dist"/>
              <a:r>
                <a:rPr lang="en-US" altLang="zh-CN" sz="1400" dirty="0">
                  <a:solidFill>
                    <a:schemeClr val="accent1"/>
                  </a:solidFill>
                </a:rPr>
                <a:t>Contents Title Here</a:t>
              </a:r>
              <a:endParaRPr lang="zh-CN" altLang="en-US" sz="1400" dirty="0">
                <a:solidFill>
                  <a:schemeClr val="accent1"/>
                </a:solidFill>
              </a:endParaRPr>
            </a:p>
          </p:txBody>
        </p:sp>
        <p:sp>
          <p:nvSpPr>
            <p:cNvPr id="79" name="矩形: 圆顶角 78">
              <a:extLst>
                <a:ext uri="{FF2B5EF4-FFF2-40B4-BE49-F238E27FC236}">
                  <a16:creationId xmlns:a16="http://schemas.microsoft.com/office/drawing/2014/main" id="{1D0E374D-F675-4E3E-93B5-66D57B40415E}"/>
                </a:ext>
              </a:extLst>
            </p:cNvPr>
            <p:cNvSpPr/>
            <p:nvPr/>
          </p:nvSpPr>
          <p:spPr>
            <a:xfrm rot="10800000">
              <a:off x="584200" y="5481461"/>
              <a:ext cx="2362198" cy="215446"/>
            </a:xfrm>
            <a:prstGeom prst="round2SameRect">
              <a:avLst>
                <a:gd name="adj1" fmla="val 50000"/>
                <a:gd name="adj2"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solidFill>
                  <a:schemeClr val="accent1"/>
                </a:solidFill>
              </a:endParaRPr>
            </a:p>
          </p:txBody>
        </p:sp>
      </p:grpSp>
      <p:grpSp>
        <p:nvGrpSpPr>
          <p:cNvPr id="80" name="组合 79">
            <a:extLst>
              <a:ext uri="{FF2B5EF4-FFF2-40B4-BE49-F238E27FC236}">
                <a16:creationId xmlns:a16="http://schemas.microsoft.com/office/drawing/2014/main" id="{2A147D87-0772-4D57-A2F5-BF6FAAA6B8CC}"/>
              </a:ext>
            </a:extLst>
          </p:cNvPr>
          <p:cNvGrpSpPr/>
          <p:nvPr/>
        </p:nvGrpSpPr>
        <p:grpSpPr>
          <a:xfrm>
            <a:off x="8866263" y="3046673"/>
            <a:ext cx="2362200" cy="2650236"/>
            <a:chOff x="584199" y="3046673"/>
            <a:chExt cx="2362200" cy="2650236"/>
          </a:xfrm>
        </p:grpSpPr>
        <p:sp>
          <p:nvSpPr>
            <p:cNvPr id="81" name="矩形: 圆角 80">
              <a:extLst>
                <a:ext uri="{FF2B5EF4-FFF2-40B4-BE49-F238E27FC236}">
                  <a16:creationId xmlns:a16="http://schemas.microsoft.com/office/drawing/2014/main" id="{5C4B55ED-F50B-40BA-8902-9D0ACE1D953B}"/>
                </a:ext>
              </a:extLst>
            </p:cNvPr>
            <p:cNvSpPr/>
            <p:nvPr/>
          </p:nvSpPr>
          <p:spPr>
            <a:xfrm>
              <a:off x="584199" y="3046673"/>
              <a:ext cx="2362200" cy="2650236"/>
            </a:xfrm>
            <a:prstGeom prst="roundRect">
              <a:avLst>
                <a:gd name="adj" fmla="val 3979"/>
              </a:avLst>
            </a:prstGeom>
            <a:solidFill>
              <a:schemeClr val="bg1"/>
            </a:solidFill>
            <a:ln w="19050">
              <a:noFill/>
            </a:ln>
            <a:effectLst>
              <a:outerShdw blurRad="2286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solidFill>
                  <a:schemeClr val="accent1"/>
                </a:solidFill>
              </a:endParaRPr>
            </a:p>
          </p:txBody>
        </p:sp>
        <p:sp>
          <p:nvSpPr>
            <p:cNvPr id="82" name="文本框 81">
              <a:extLst>
                <a:ext uri="{FF2B5EF4-FFF2-40B4-BE49-F238E27FC236}">
                  <a16:creationId xmlns:a16="http://schemas.microsoft.com/office/drawing/2014/main" id="{026807E2-DEA2-4586-8787-2C77954DDBEE}"/>
                </a:ext>
              </a:extLst>
            </p:cNvPr>
            <p:cNvSpPr txBox="1"/>
            <p:nvPr/>
          </p:nvSpPr>
          <p:spPr>
            <a:xfrm>
              <a:off x="1427066" y="3508460"/>
              <a:ext cx="676467" cy="615553"/>
            </a:xfrm>
            <a:prstGeom prst="rect">
              <a:avLst/>
            </a:prstGeom>
            <a:noFill/>
          </p:spPr>
          <p:txBody>
            <a:bodyPr wrap="none" lIns="0" tIns="0" rIns="0" bIns="0" rtlCol="0" anchor="t">
              <a:spAutoFit/>
            </a:bodyPr>
            <a:lstStyle/>
            <a:p>
              <a:pPr algn="ctr"/>
              <a:r>
                <a:rPr lang="en-US" altLang="zh-CN" sz="4000" dirty="0">
                  <a:solidFill>
                    <a:schemeClr val="accent1"/>
                  </a:solidFill>
                  <a:latin typeface="+mj-ea"/>
                  <a:ea typeface="+mj-ea"/>
                </a:rPr>
                <a:t>04</a:t>
              </a:r>
              <a:endParaRPr lang="zh-CN" altLang="en-US" sz="4000" dirty="0">
                <a:solidFill>
                  <a:schemeClr val="accent1"/>
                </a:solidFill>
                <a:latin typeface="+mj-ea"/>
                <a:ea typeface="+mj-ea"/>
              </a:endParaRPr>
            </a:p>
          </p:txBody>
        </p:sp>
        <p:sp>
          <p:nvSpPr>
            <p:cNvPr id="83" name="文本框 82">
              <a:extLst>
                <a:ext uri="{FF2B5EF4-FFF2-40B4-BE49-F238E27FC236}">
                  <a16:creationId xmlns:a16="http://schemas.microsoft.com/office/drawing/2014/main" id="{6B306CA8-267C-4DBA-8145-696A0AD18849}"/>
                </a:ext>
              </a:extLst>
            </p:cNvPr>
            <p:cNvSpPr txBox="1"/>
            <p:nvPr/>
          </p:nvSpPr>
          <p:spPr>
            <a:xfrm>
              <a:off x="841970" y="4270460"/>
              <a:ext cx="1846659" cy="369332"/>
            </a:xfrm>
            <a:prstGeom prst="rect">
              <a:avLst/>
            </a:prstGeom>
            <a:noFill/>
          </p:spPr>
          <p:txBody>
            <a:bodyPr wrap="none" lIns="0" tIns="0" rIns="0" bIns="0" rtlCol="0" anchor="t">
              <a:spAutoFit/>
            </a:bodyPr>
            <a:lstStyle/>
            <a:p>
              <a:pPr algn="ctr"/>
              <a:r>
                <a:rPr lang="zh-CN" altLang="en-US" sz="2400" dirty="0">
                  <a:solidFill>
                    <a:schemeClr val="accent1"/>
                  </a:solidFill>
                  <a:latin typeface="+mj-ea"/>
                  <a:ea typeface="+mj-ea"/>
                </a:rPr>
                <a:t>输入目录标题</a:t>
              </a:r>
            </a:p>
          </p:txBody>
        </p:sp>
        <p:sp>
          <p:nvSpPr>
            <p:cNvPr id="84" name="文本框 83">
              <a:extLst>
                <a:ext uri="{FF2B5EF4-FFF2-40B4-BE49-F238E27FC236}">
                  <a16:creationId xmlns:a16="http://schemas.microsoft.com/office/drawing/2014/main" id="{4BA34F95-2894-47DC-B132-D9F8AACD21B5}"/>
                </a:ext>
              </a:extLst>
            </p:cNvPr>
            <p:cNvSpPr txBox="1"/>
            <p:nvPr/>
          </p:nvSpPr>
          <p:spPr>
            <a:xfrm>
              <a:off x="841969" y="4731642"/>
              <a:ext cx="1846660" cy="215444"/>
            </a:xfrm>
            <a:prstGeom prst="rect">
              <a:avLst/>
            </a:prstGeom>
            <a:noFill/>
          </p:spPr>
          <p:txBody>
            <a:bodyPr wrap="square" lIns="0" tIns="0" rIns="0" bIns="0" rtlCol="0" anchor="t">
              <a:spAutoFit/>
            </a:bodyPr>
            <a:lstStyle/>
            <a:p>
              <a:pPr algn="dist"/>
              <a:r>
                <a:rPr lang="en-US" altLang="zh-CN" sz="1400" dirty="0">
                  <a:solidFill>
                    <a:schemeClr val="accent1"/>
                  </a:solidFill>
                </a:rPr>
                <a:t>Contents Title Here</a:t>
              </a:r>
              <a:endParaRPr lang="zh-CN" altLang="en-US" sz="1400" dirty="0">
                <a:solidFill>
                  <a:schemeClr val="accent1"/>
                </a:solidFill>
              </a:endParaRPr>
            </a:p>
          </p:txBody>
        </p:sp>
        <p:sp>
          <p:nvSpPr>
            <p:cNvPr id="85" name="矩形: 圆顶角 84">
              <a:extLst>
                <a:ext uri="{FF2B5EF4-FFF2-40B4-BE49-F238E27FC236}">
                  <a16:creationId xmlns:a16="http://schemas.microsoft.com/office/drawing/2014/main" id="{16D75EE1-501A-4DAC-84F6-72567F3B4FDA}"/>
                </a:ext>
              </a:extLst>
            </p:cNvPr>
            <p:cNvSpPr/>
            <p:nvPr/>
          </p:nvSpPr>
          <p:spPr>
            <a:xfrm rot="10800000">
              <a:off x="584200" y="5481461"/>
              <a:ext cx="2362198" cy="215446"/>
            </a:xfrm>
            <a:prstGeom prst="round2SameRect">
              <a:avLst>
                <a:gd name="adj1" fmla="val 50000"/>
                <a:gd name="adj2"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solidFill>
                  <a:schemeClr val="accent1"/>
                </a:solidFill>
              </a:endParaRPr>
            </a:p>
          </p:txBody>
        </p:sp>
      </p:grpSp>
    </p:spTree>
    <p:extLst>
      <p:ext uri="{BB962C8B-B14F-4D97-AF65-F5344CB8AC3E}">
        <p14:creationId xmlns:p14="http://schemas.microsoft.com/office/powerpoint/2010/main" val="2657518201"/>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6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Shape 1">
            <a:extLst>
              <a:ext uri="{FF2B5EF4-FFF2-40B4-BE49-F238E27FC236}">
                <a16:creationId xmlns:a16="http://schemas.microsoft.com/office/drawing/2014/main" id="{458E8D37-5599-40AA-A05C-EDECB7248F07}"/>
              </a:ext>
            </a:extLst>
          </p:cNvPr>
          <p:cNvSpPr/>
          <p:nvPr/>
        </p:nvSpPr>
        <p:spPr>
          <a:xfrm rot="16200000">
            <a:off x="5265159" y="-68841"/>
            <a:ext cx="1661682" cy="12192000"/>
          </a:xfrm>
          <a:custGeom>
            <a:avLst/>
            <a:gdLst>
              <a:gd name="connsiteX0" fmla="*/ 1661682 w 1661682"/>
              <a:gd name="connsiteY0" fmla="*/ 6095999 h 12192000"/>
              <a:gd name="connsiteX1" fmla="*/ 1287262 w 1661682"/>
              <a:gd name="connsiteY1" fmla="*/ 11998726 h 12192000"/>
              <a:gd name="connsiteX2" fmla="*/ 1252497 w 1661682"/>
              <a:gd name="connsiteY2" fmla="*/ 12192000 h 12192000"/>
              <a:gd name="connsiteX3" fmla="*/ 0 w 1661682"/>
              <a:gd name="connsiteY3" fmla="*/ 12192000 h 12192000"/>
              <a:gd name="connsiteX4" fmla="*/ 0 w 1661682"/>
              <a:gd name="connsiteY4" fmla="*/ 0 h 12192000"/>
              <a:gd name="connsiteX5" fmla="*/ 1252497 w 1661682"/>
              <a:gd name="connsiteY5" fmla="*/ 0 h 12192000"/>
              <a:gd name="connsiteX6" fmla="*/ 1287262 w 1661682"/>
              <a:gd name="connsiteY6" fmla="*/ 193273 h 12192000"/>
              <a:gd name="connsiteX7" fmla="*/ 1661682 w 1661682"/>
              <a:gd name="connsiteY7" fmla="*/ 6095999 h 1219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61682" h="12192000">
                <a:moveTo>
                  <a:pt x="1661682" y="6095999"/>
                </a:moveTo>
                <a:cubicBezTo>
                  <a:pt x="1661682" y="8472395"/>
                  <a:pt x="1515930" y="10595695"/>
                  <a:pt x="1287262" y="11998726"/>
                </a:cubicBezTo>
                <a:lnTo>
                  <a:pt x="1252497" y="12192000"/>
                </a:lnTo>
                <a:lnTo>
                  <a:pt x="0" y="12192000"/>
                </a:lnTo>
                <a:lnTo>
                  <a:pt x="0" y="0"/>
                </a:lnTo>
                <a:lnTo>
                  <a:pt x="1252497" y="0"/>
                </a:lnTo>
                <a:lnTo>
                  <a:pt x="1287262" y="193273"/>
                </a:lnTo>
                <a:cubicBezTo>
                  <a:pt x="1515930" y="1596304"/>
                  <a:pt x="1661682" y="3719604"/>
                  <a:pt x="1661682" y="6095999"/>
                </a:cubicBezTo>
                <a:close/>
              </a:path>
            </a:pathLst>
          </a:custGeom>
          <a:solidFill>
            <a:srgbClr val="764C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等线" panose="020F0502020204030204"/>
              <a:ea typeface="+mn-ea"/>
              <a:cs typeface="+mn-cs"/>
            </a:endParaRPr>
          </a:p>
        </p:txBody>
      </p:sp>
      <p:sp>
        <p:nvSpPr>
          <p:cNvPr id="3" name="TextBox 60">
            <a:extLst>
              <a:ext uri="{FF2B5EF4-FFF2-40B4-BE49-F238E27FC236}">
                <a16:creationId xmlns:a16="http://schemas.microsoft.com/office/drawing/2014/main" id="{6A97AE7A-E606-4FBE-8448-97BEF1171F4B}"/>
              </a:ext>
            </a:extLst>
          </p:cNvPr>
          <p:cNvSpPr txBox="1"/>
          <p:nvPr/>
        </p:nvSpPr>
        <p:spPr>
          <a:xfrm>
            <a:off x="1165008" y="726033"/>
            <a:ext cx="10089391" cy="76944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400" b="1" i="0" u="none" strike="noStrike" kern="1200" cap="none" spc="0" normalizeH="0" baseline="0" noProof="0" dirty="0">
                <a:ln>
                  <a:noFill/>
                </a:ln>
                <a:solidFill>
                  <a:srgbClr val="000000">
                    <a:lumMod val="75000"/>
                    <a:lumOff val="25000"/>
                  </a:srgbClr>
                </a:solidFill>
                <a:effectLst/>
                <a:uLnTx/>
                <a:uFillTx/>
                <a:latin typeface="Segoe UI" panose="020B0502040204020203" pitchFamily="34" charset="0"/>
                <a:ea typeface="+mn-ea"/>
                <a:cs typeface="Segoe UI" panose="020B0502040204020203" pitchFamily="34" charset="0"/>
              </a:rPr>
              <a:t>2 Stage Photosynthesis Infographic</a:t>
            </a:r>
            <a:endParaRPr kumimoji="0" lang="en-ID" sz="4400"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grpSp>
        <p:nvGrpSpPr>
          <p:cNvPr id="4" name="Group 3">
            <a:extLst>
              <a:ext uri="{FF2B5EF4-FFF2-40B4-BE49-F238E27FC236}">
                <a16:creationId xmlns:a16="http://schemas.microsoft.com/office/drawing/2014/main" id="{15506467-865A-46AB-AD37-ED954BC54967}"/>
              </a:ext>
            </a:extLst>
          </p:cNvPr>
          <p:cNvGrpSpPr/>
          <p:nvPr/>
        </p:nvGrpSpPr>
        <p:grpSpPr>
          <a:xfrm>
            <a:off x="5341480" y="2153264"/>
            <a:ext cx="1963169" cy="4441823"/>
            <a:chOff x="5188909" y="2059285"/>
            <a:chExt cx="1649186" cy="3731413"/>
          </a:xfrm>
        </p:grpSpPr>
        <p:sp>
          <p:nvSpPr>
            <p:cNvPr id="5" name="Freeform 1068">
              <a:extLst>
                <a:ext uri="{FF2B5EF4-FFF2-40B4-BE49-F238E27FC236}">
                  <a16:creationId xmlns:a16="http://schemas.microsoft.com/office/drawing/2014/main" id="{445A192B-3D3A-483B-B9C4-22B0168939DD}"/>
                </a:ext>
              </a:extLst>
            </p:cNvPr>
            <p:cNvSpPr>
              <a:spLocks noEditPoints="1"/>
            </p:cNvSpPr>
            <p:nvPr/>
          </p:nvSpPr>
          <p:spPr bwMode="auto">
            <a:xfrm>
              <a:off x="5440601" y="4086234"/>
              <a:ext cx="1276917" cy="1704464"/>
            </a:xfrm>
            <a:custGeom>
              <a:avLst/>
              <a:gdLst>
                <a:gd name="T0" fmla="*/ 585 w 720"/>
                <a:gd name="T1" fmla="*/ 704 h 1110"/>
                <a:gd name="T2" fmla="*/ 473 w 720"/>
                <a:gd name="T3" fmla="*/ 622 h 1110"/>
                <a:gd name="T4" fmla="*/ 409 w 720"/>
                <a:gd name="T5" fmla="*/ 519 h 1110"/>
                <a:gd name="T6" fmla="*/ 391 w 720"/>
                <a:gd name="T7" fmla="*/ 126 h 1110"/>
                <a:gd name="T8" fmla="*/ 357 w 720"/>
                <a:gd name="T9" fmla="*/ 427 h 1110"/>
                <a:gd name="T10" fmla="*/ 350 w 720"/>
                <a:gd name="T11" fmla="*/ 553 h 1110"/>
                <a:gd name="T12" fmla="*/ 275 w 720"/>
                <a:gd name="T13" fmla="*/ 603 h 1110"/>
                <a:gd name="T14" fmla="*/ 191 w 720"/>
                <a:gd name="T15" fmla="*/ 588 h 1110"/>
                <a:gd name="T16" fmla="*/ 30 w 720"/>
                <a:gd name="T17" fmla="*/ 617 h 1110"/>
                <a:gd name="T18" fmla="*/ 142 w 720"/>
                <a:gd name="T19" fmla="*/ 614 h 1110"/>
                <a:gd name="T20" fmla="*/ 241 w 720"/>
                <a:gd name="T21" fmla="*/ 636 h 1110"/>
                <a:gd name="T22" fmla="*/ 291 w 720"/>
                <a:gd name="T23" fmla="*/ 662 h 1110"/>
                <a:gd name="T24" fmla="*/ 187 w 720"/>
                <a:gd name="T25" fmla="*/ 712 h 1110"/>
                <a:gd name="T26" fmla="*/ 123 w 720"/>
                <a:gd name="T27" fmla="*/ 709 h 1110"/>
                <a:gd name="T28" fmla="*/ 68 w 720"/>
                <a:gd name="T29" fmla="*/ 685 h 1110"/>
                <a:gd name="T30" fmla="*/ 63 w 720"/>
                <a:gd name="T31" fmla="*/ 697 h 1110"/>
                <a:gd name="T32" fmla="*/ 116 w 720"/>
                <a:gd name="T33" fmla="*/ 730 h 1110"/>
                <a:gd name="T34" fmla="*/ 18 w 720"/>
                <a:gd name="T35" fmla="*/ 816 h 1110"/>
                <a:gd name="T36" fmla="*/ 134 w 720"/>
                <a:gd name="T37" fmla="*/ 773 h 1110"/>
                <a:gd name="T38" fmla="*/ 185 w 720"/>
                <a:gd name="T39" fmla="*/ 794 h 1110"/>
                <a:gd name="T40" fmla="*/ 170 w 720"/>
                <a:gd name="T41" fmla="*/ 859 h 1110"/>
                <a:gd name="T42" fmla="*/ 198 w 720"/>
                <a:gd name="T43" fmla="*/ 802 h 1110"/>
                <a:gd name="T44" fmla="*/ 237 w 720"/>
                <a:gd name="T45" fmla="*/ 742 h 1110"/>
                <a:gd name="T46" fmla="*/ 320 w 720"/>
                <a:gd name="T47" fmla="*/ 704 h 1110"/>
                <a:gd name="T48" fmla="*/ 341 w 720"/>
                <a:gd name="T49" fmla="*/ 757 h 1110"/>
                <a:gd name="T50" fmla="*/ 345 w 720"/>
                <a:gd name="T51" fmla="*/ 825 h 1110"/>
                <a:gd name="T52" fmla="*/ 341 w 720"/>
                <a:gd name="T53" fmla="*/ 885 h 1110"/>
                <a:gd name="T54" fmla="*/ 341 w 720"/>
                <a:gd name="T55" fmla="*/ 896 h 1110"/>
                <a:gd name="T56" fmla="*/ 355 w 720"/>
                <a:gd name="T57" fmla="*/ 844 h 1110"/>
                <a:gd name="T58" fmla="*/ 379 w 720"/>
                <a:gd name="T59" fmla="*/ 821 h 1110"/>
                <a:gd name="T60" fmla="*/ 383 w 720"/>
                <a:gd name="T61" fmla="*/ 942 h 1110"/>
                <a:gd name="T62" fmla="*/ 410 w 720"/>
                <a:gd name="T63" fmla="*/ 911 h 1110"/>
                <a:gd name="T64" fmla="*/ 403 w 720"/>
                <a:gd name="T65" fmla="*/ 806 h 1110"/>
                <a:gd name="T66" fmla="*/ 391 w 720"/>
                <a:gd name="T67" fmla="*/ 709 h 1110"/>
                <a:gd name="T68" fmla="*/ 414 w 720"/>
                <a:gd name="T69" fmla="*/ 747 h 1110"/>
                <a:gd name="T70" fmla="*/ 483 w 720"/>
                <a:gd name="T71" fmla="*/ 849 h 1110"/>
                <a:gd name="T72" fmla="*/ 509 w 720"/>
                <a:gd name="T73" fmla="*/ 927 h 1110"/>
                <a:gd name="T74" fmla="*/ 486 w 720"/>
                <a:gd name="T75" fmla="*/ 989 h 1110"/>
                <a:gd name="T76" fmla="*/ 433 w 720"/>
                <a:gd name="T77" fmla="*/ 1003 h 1110"/>
                <a:gd name="T78" fmla="*/ 376 w 720"/>
                <a:gd name="T79" fmla="*/ 1008 h 1110"/>
                <a:gd name="T80" fmla="*/ 388 w 720"/>
                <a:gd name="T81" fmla="*/ 1015 h 1110"/>
                <a:gd name="T82" fmla="*/ 467 w 720"/>
                <a:gd name="T83" fmla="*/ 1013 h 1110"/>
                <a:gd name="T84" fmla="*/ 455 w 720"/>
                <a:gd name="T85" fmla="*/ 1110 h 1110"/>
                <a:gd name="T86" fmla="*/ 521 w 720"/>
                <a:gd name="T87" fmla="*/ 986 h 1110"/>
                <a:gd name="T88" fmla="*/ 550 w 720"/>
                <a:gd name="T89" fmla="*/ 953 h 1110"/>
                <a:gd name="T90" fmla="*/ 564 w 720"/>
                <a:gd name="T91" fmla="*/ 1003 h 1110"/>
                <a:gd name="T92" fmla="*/ 621 w 720"/>
                <a:gd name="T93" fmla="*/ 1048 h 1110"/>
                <a:gd name="T94" fmla="*/ 583 w 720"/>
                <a:gd name="T95" fmla="*/ 1001 h 1110"/>
                <a:gd name="T96" fmla="*/ 540 w 720"/>
                <a:gd name="T97" fmla="*/ 913 h 1110"/>
                <a:gd name="T98" fmla="*/ 504 w 720"/>
                <a:gd name="T99" fmla="*/ 839 h 1110"/>
                <a:gd name="T100" fmla="*/ 441 w 720"/>
                <a:gd name="T101" fmla="*/ 695 h 1110"/>
                <a:gd name="T102" fmla="*/ 495 w 720"/>
                <a:gd name="T103" fmla="*/ 700 h 1110"/>
                <a:gd name="T104" fmla="*/ 601 w 720"/>
                <a:gd name="T105" fmla="*/ 754 h 1110"/>
                <a:gd name="T106" fmla="*/ 576 w 720"/>
                <a:gd name="T107" fmla="*/ 797 h 1110"/>
                <a:gd name="T108" fmla="*/ 545 w 720"/>
                <a:gd name="T109" fmla="*/ 827 h 1110"/>
                <a:gd name="T110" fmla="*/ 592 w 720"/>
                <a:gd name="T111" fmla="*/ 811 h 1110"/>
                <a:gd name="T112" fmla="*/ 616 w 720"/>
                <a:gd name="T113" fmla="*/ 768 h 1110"/>
                <a:gd name="T114" fmla="*/ 654 w 720"/>
                <a:gd name="T115" fmla="*/ 797 h 1110"/>
                <a:gd name="T116" fmla="*/ 665 w 720"/>
                <a:gd name="T117" fmla="*/ 716 h 1110"/>
                <a:gd name="T118" fmla="*/ 720 w 720"/>
                <a:gd name="T119" fmla="*/ 731 h 1110"/>
                <a:gd name="T120" fmla="*/ 659 w 720"/>
                <a:gd name="T121" fmla="*/ 704 h 1110"/>
                <a:gd name="T122" fmla="*/ 393 w 720"/>
                <a:gd name="T123" fmla="*/ 614 h 1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20" h="1110">
                  <a:moveTo>
                    <a:pt x="659" y="704"/>
                  </a:moveTo>
                  <a:lnTo>
                    <a:pt x="659" y="704"/>
                  </a:lnTo>
                  <a:lnTo>
                    <a:pt x="644" y="707"/>
                  </a:lnTo>
                  <a:lnTo>
                    <a:pt x="628" y="707"/>
                  </a:lnTo>
                  <a:lnTo>
                    <a:pt x="616" y="707"/>
                  </a:lnTo>
                  <a:lnTo>
                    <a:pt x="604" y="707"/>
                  </a:lnTo>
                  <a:lnTo>
                    <a:pt x="585" y="704"/>
                  </a:lnTo>
                  <a:lnTo>
                    <a:pt x="580" y="702"/>
                  </a:lnTo>
                  <a:lnTo>
                    <a:pt x="580" y="702"/>
                  </a:lnTo>
                  <a:lnTo>
                    <a:pt x="580" y="702"/>
                  </a:lnTo>
                  <a:lnTo>
                    <a:pt x="564" y="690"/>
                  </a:lnTo>
                  <a:lnTo>
                    <a:pt x="564" y="690"/>
                  </a:lnTo>
                  <a:lnTo>
                    <a:pt x="500" y="645"/>
                  </a:lnTo>
                  <a:lnTo>
                    <a:pt x="473" y="622"/>
                  </a:lnTo>
                  <a:lnTo>
                    <a:pt x="448" y="602"/>
                  </a:lnTo>
                  <a:lnTo>
                    <a:pt x="440" y="590"/>
                  </a:lnTo>
                  <a:lnTo>
                    <a:pt x="431" y="577"/>
                  </a:lnTo>
                  <a:lnTo>
                    <a:pt x="422" y="565"/>
                  </a:lnTo>
                  <a:lnTo>
                    <a:pt x="417" y="550"/>
                  </a:lnTo>
                  <a:lnTo>
                    <a:pt x="412" y="534"/>
                  </a:lnTo>
                  <a:lnTo>
                    <a:pt x="409" y="519"/>
                  </a:lnTo>
                  <a:lnTo>
                    <a:pt x="407" y="500"/>
                  </a:lnTo>
                  <a:lnTo>
                    <a:pt x="407" y="479"/>
                  </a:lnTo>
                  <a:lnTo>
                    <a:pt x="407" y="479"/>
                  </a:lnTo>
                  <a:lnTo>
                    <a:pt x="407" y="432"/>
                  </a:lnTo>
                  <a:lnTo>
                    <a:pt x="405" y="377"/>
                  </a:lnTo>
                  <a:lnTo>
                    <a:pt x="400" y="259"/>
                  </a:lnTo>
                  <a:lnTo>
                    <a:pt x="391" y="126"/>
                  </a:lnTo>
                  <a:lnTo>
                    <a:pt x="327" y="0"/>
                  </a:lnTo>
                  <a:lnTo>
                    <a:pt x="327" y="0"/>
                  </a:lnTo>
                  <a:lnTo>
                    <a:pt x="331" y="45"/>
                  </a:lnTo>
                  <a:lnTo>
                    <a:pt x="341" y="154"/>
                  </a:lnTo>
                  <a:lnTo>
                    <a:pt x="351" y="294"/>
                  </a:lnTo>
                  <a:lnTo>
                    <a:pt x="355" y="365"/>
                  </a:lnTo>
                  <a:lnTo>
                    <a:pt x="357" y="427"/>
                  </a:lnTo>
                  <a:lnTo>
                    <a:pt x="357" y="427"/>
                  </a:lnTo>
                  <a:lnTo>
                    <a:pt x="358" y="462"/>
                  </a:lnTo>
                  <a:lnTo>
                    <a:pt x="358" y="494"/>
                  </a:lnTo>
                  <a:lnTo>
                    <a:pt x="357" y="526"/>
                  </a:lnTo>
                  <a:lnTo>
                    <a:pt x="353" y="539"/>
                  </a:lnTo>
                  <a:lnTo>
                    <a:pt x="350" y="553"/>
                  </a:lnTo>
                  <a:lnTo>
                    <a:pt x="350" y="553"/>
                  </a:lnTo>
                  <a:lnTo>
                    <a:pt x="341" y="565"/>
                  </a:lnTo>
                  <a:lnTo>
                    <a:pt x="331" y="576"/>
                  </a:lnTo>
                  <a:lnTo>
                    <a:pt x="315" y="588"/>
                  </a:lnTo>
                  <a:lnTo>
                    <a:pt x="307" y="593"/>
                  </a:lnTo>
                  <a:lnTo>
                    <a:pt x="296" y="598"/>
                  </a:lnTo>
                  <a:lnTo>
                    <a:pt x="286" y="602"/>
                  </a:lnTo>
                  <a:lnTo>
                    <a:pt x="275" y="603"/>
                  </a:lnTo>
                  <a:lnTo>
                    <a:pt x="263" y="605"/>
                  </a:lnTo>
                  <a:lnTo>
                    <a:pt x="249" y="603"/>
                  </a:lnTo>
                  <a:lnTo>
                    <a:pt x="236" y="602"/>
                  </a:lnTo>
                  <a:lnTo>
                    <a:pt x="222" y="596"/>
                  </a:lnTo>
                  <a:lnTo>
                    <a:pt x="222" y="596"/>
                  </a:lnTo>
                  <a:lnTo>
                    <a:pt x="206" y="591"/>
                  </a:lnTo>
                  <a:lnTo>
                    <a:pt x="191" y="588"/>
                  </a:lnTo>
                  <a:lnTo>
                    <a:pt x="173" y="586"/>
                  </a:lnTo>
                  <a:lnTo>
                    <a:pt x="156" y="586"/>
                  </a:lnTo>
                  <a:lnTo>
                    <a:pt x="137" y="588"/>
                  </a:lnTo>
                  <a:lnTo>
                    <a:pt x="120" y="591"/>
                  </a:lnTo>
                  <a:lnTo>
                    <a:pt x="85" y="598"/>
                  </a:lnTo>
                  <a:lnTo>
                    <a:pt x="54" y="609"/>
                  </a:lnTo>
                  <a:lnTo>
                    <a:pt x="30" y="617"/>
                  </a:lnTo>
                  <a:lnTo>
                    <a:pt x="6" y="628"/>
                  </a:lnTo>
                  <a:lnTo>
                    <a:pt x="6" y="628"/>
                  </a:lnTo>
                  <a:lnTo>
                    <a:pt x="26" y="622"/>
                  </a:lnTo>
                  <a:lnTo>
                    <a:pt x="49" y="619"/>
                  </a:lnTo>
                  <a:lnTo>
                    <a:pt x="76" y="616"/>
                  </a:lnTo>
                  <a:lnTo>
                    <a:pt x="108" y="614"/>
                  </a:lnTo>
                  <a:lnTo>
                    <a:pt x="142" y="614"/>
                  </a:lnTo>
                  <a:lnTo>
                    <a:pt x="159" y="616"/>
                  </a:lnTo>
                  <a:lnTo>
                    <a:pt x="177" y="617"/>
                  </a:lnTo>
                  <a:lnTo>
                    <a:pt x="192" y="621"/>
                  </a:lnTo>
                  <a:lnTo>
                    <a:pt x="210" y="626"/>
                  </a:lnTo>
                  <a:lnTo>
                    <a:pt x="210" y="626"/>
                  </a:lnTo>
                  <a:lnTo>
                    <a:pt x="225" y="631"/>
                  </a:lnTo>
                  <a:lnTo>
                    <a:pt x="241" y="636"/>
                  </a:lnTo>
                  <a:lnTo>
                    <a:pt x="256" y="638"/>
                  </a:lnTo>
                  <a:lnTo>
                    <a:pt x="270" y="638"/>
                  </a:lnTo>
                  <a:lnTo>
                    <a:pt x="296" y="636"/>
                  </a:lnTo>
                  <a:lnTo>
                    <a:pt x="317" y="633"/>
                  </a:lnTo>
                  <a:lnTo>
                    <a:pt x="317" y="633"/>
                  </a:lnTo>
                  <a:lnTo>
                    <a:pt x="305" y="648"/>
                  </a:lnTo>
                  <a:lnTo>
                    <a:pt x="291" y="662"/>
                  </a:lnTo>
                  <a:lnTo>
                    <a:pt x="277" y="674"/>
                  </a:lnTo>
                  <a:lnTo>
                    <a:pt x="262" y="685"/>
                  </a:lnTo>
                  <a:lnTo>
                    <a:pt x="244" y="693"/>
                  </a:lnTo>
                  <a:lnTo>
                    <a:pt x="227" y="702"/>
                  </a:lnTo>
                  <a:lnTo>
                    <a:pt x="208" y="707"/>
                  </a:lnTo>
                  <a:lnTo>
                    <a:pt x="187" y="712"/>
                  </a:lnTo>
                  <a:lnTo>
                    <a:pt x="187" y="712"/>
                  </a:lnTo>
                  <a:lnTo>
                    <a:pt x="175" y="716"/>
                  </a:lnTo>
                  <a:lnTo>
                    <a:pt x="175" y="716"/>
                  </a:lnTo>
                  <a:lnTo>
                    <a:pt x="175" y="716"/>
                  </a:lnTo>
                  <a:lnTo>
                    <a:pt x="166" y="716"/>
                  </a:lnTo>
                  <a:lnTo>
                    <a:pt x="147" y="714"/>
                  </a:lnTo>
                  <a:lnTo>
                    <a:pt x="135" y="712"/>
                  </a:lnTo>
                  <a:lnTo>
                    <a:pt x="123" y="709"/>
                  </a:lnTo>
                  <a:lnTo>
                    <a:pt x="113" y="704"/>
                  </a:lnTo>
                  <a:lnTo>
                    <a:pt x="102" y="697"/>
                  </a:lnTo>
                  <a:lnTo>
                    <a:pt x="102" y="697"/>
                  </a:lnTo>
                  <a:lnTo>
                    <a:pt x="97" y="693"/>
                  </a:lnTo>
                  <a:lnTo>
                    <a:pt x="92" y="690"/>
                  </a:lnTo>
                  <a:lnTo>
                    <a:pt x="82" y="686"/>
                  </a:lnTo>
                  <a:lnTo>
                    <a:pt x="68" y="685"/>
                  </a:lnTo>
                  <a:lnTo>
                    <a:pt x="56" y="686"/>
                  </a:lnTo>
                  <a:lnTo>
                    <a:pt x="35" y="692"/>
                  </a:lnTo>
                  <a:lnTo>
                    <a:pt x="26" y="695"/>
                  </a:lnTo>
                  <a:lnTo>
                    <a:pt x="26" y="695"/>
                  </a:lnTo>
                  <a:lnTo>
                    <a:pt x="33" y="693"/>
                  </a:lnTo>
                  <a:lnTo>
                    <a:pt x="52" y="695"/>
                  </a:lnTo>
                  <a:lnTo>
                    <a:pt x="63" y="697"/>
                  </a:lnTo>
                  <a:lnTo>
                    <a:pt x="75" y="700"/>
                  </a:lnTo>
                  <a:lnTo>
                    <a:pt x="85" y="705"/>
                  </a:lnTo>
                  <a:lnTo>
                    <a:pt x="94" y="714"/>
                  </a:lnTo>
                  <a:lnTo>
                    <a:pt x="94" y="714"/>
                  </a:lnTo>
                  <a:lnTo>
                    <a:pt x="101" y="721"/>
                  </a:lnTo>
                  <a:lnTo>
                    <a:pt x="108" y="726"/>
                  </a:lnTo>
                  <a:lnTo>
                    <a:pt x="116" y="730"/>
                  </a:lnTo>
                  <a:lnTo>
                    <a:pt x="123" y="733"/>
                  </a:lnTo>
                  <a:lnTo>
                    <a:pt x="123" y="733"/>
                  </a:lnTo>
                  <a:lnTo>
                    <a:pt x="95" y="749"/>
                  </a:lnTo>
                  <a:lnTo>
                    <a:pt x="70" y="766"/>
                  </a:lnTo>
                  <a:lnTo>
                    <a:pt x="49" y="783"/>
                  </a:lnTo>
                  <a:lnTo>
                    <a:pt x="32" y="801"/>
                  </a:lnTo>
                  <a:lnTo>
                    <a:pt x="18" y="816"/>
                  </a:lnTo>
                  <a:lnTo>
                    <a:pt x="7" y="828"/>
                  </a:lnTo>
                  <a:lnTo>
                    <a:pt x="0" y="839"/>
                  </a:lnTo>
                  <a:lnTo>
                    <a:pt x="0" y="839"/>
                  </a:lnTo>
                  <a:lnTo>
                    <a:pt x="19" y="828"/>
                  </a:lnTo>
                  <a:lnTo>
                    <a:pt x="70" y="802"/>
                  </a:lnTo>
                  <a:lnTo>
                    <a:pt x="101" y="787"/>
                  </a:lnTo>
                  <a:lnTo>
                    <a:pt x="134" y="773"/>
                  </a:lnTo>
                  <a:lnTo>
                    <a:pt x="168" y="759"/>
                  </a:lnTo>
                  <a:lnTo>
                    <a:pt x="201" y="749"/>
                  </a:lnTo>
                  <a:lnTo>
                    <a:pt x="201" y="749"/>
                  </a:lnTo>
                  <a:lnTo>
                    <a:pt x="196" y="759"/>
                  </a:lnTo>
                  <a:lnTo>
                    <a:pt x="189" y="773"/>
                  </a:lnTo>
                  <a:lnTo>
                    <a:pt x="185" y="787"/>
                  </a:lnTo>
                  <a:lnTo>
                    <a:pt x="185" y="794"/>
                  </a:lnTo>
                  <a:lnTo>
                    <a:pt x="185" y="801"/>
                  </a:lnTo>
                  <a:lnTo>
                    <a:pt x="185" y="801"/>
                  </a:lnTo>
                  <a:lnTo>
                    <a:pt x="187" y="809"/>
                  </a:lnTo>
                  <a:lnTo>
                    <a:pt x="185" y="820"/>
                  </a:lnTo>
                  <a:lnTo>
                    <a:pt x="180" y="839"/>
                  </a:lnTo>
                  <a:lnTo>
                    <a:pt x="173" y="853"/>
                  </a:lnTo>
                  <a:lnTo>
                    <a:pt x="170" y="859"/>
                  </a:lnTo>
                  <a:lnTo>
                    <a:pt x="170" y="859"/>
                  </a:lnTo>
                  <a:lnTo>
                    <a:pt x="175" y="856"/>
                  </a:lnTo>
                  <a:lnTo>
                    <a:pt x="184" y="846"/>
                  </a:lnTo>
                  <a:lnTo>
                    <a:pt x="189" y="837"/>
                  </a:lnTo>
                  <a:lnTo>
                    <a:pt x="194" y="828"/>
                  </a:lnTo>
                  <a:lnTo>
                    <a:pt x="196" y="816"/>
                  </a:lnTo>
                  <a:lnTo>
                    <a:pt x="198" y="802"/>
                  </a:lnTo>
                  <a:lnTo>
                    <a:pt x="198" y="802"/>
                  </a:lnTo>
                  <a:lnTo>
                    <a:pt x="199" y="790"/>
                  </a:lnTo>
                  <a:lnTo>
                    <a:pt x="203" y="778"/>
                  </a:lnTo>
                  <a:lnTo>
                    <a:pt x="210" y="768"/>
                  </a:lnTo>
                  <a:lnTo>
                    <a:pt x="217" y="757"/>
                  </a:lnTo>
                  <a:lnTo>
                    <a:pt x="230" y="747"/>
                  </a:lnTo>
                  <a:lnTo>
                    <a:pt x="237" y="742"/>
                  </a:lnTo>
                  <a:lnTo>
                    <a:pt x="237" y="742"/>
                  </a:lnTo>
                  <a:lnTo>
                    <a:pt x="237" y="742"/>
                  </a:lnTo>
                  <a:lnTo>
                    <a:pt x="251" y="738"/>
                  </a:lnTo>
                  <a:lnTo>
                    <a:pt x="267" y="733"/>
                  </a:lnTo>
                  <a:lnTo>
                    <a:pt x="281" y="728"/>
                  </a:lnTo>
                  <a:lnTo>
                    <a:pt x="294" y="721"/>
                  </a:lnTo>
                  <a:lnTo>
                    <a:pt x="320" y="704"/>
                  </a:lnTo>
                  <a:lnTo>
                    <a:pt x="345" y="685"/>
                  </a:lnTo>
                  <a:lnTo>
                    <a:pt x="345" y="685"/>
                  </a:lnTo>
                  <a:lnTo>
                    <a:pt x="341" y="699"/>
                  </a:lnTo>
                  <a:lnTo>
                    <a:pt x="338" y="714"/>
                  </a:lnTo>
                  <a:lnTo>
                    <a:pt x="338" y="728"/>
                  </a:lnTo>
                  <a:lnTo>
                    <a:pt x="338" y="744"/>
                  </a:lnTo>
                  <a:lnTo>
                    <a:pt x="341" y="757"/>
                  </a:lnTo>
                  <a:lnTo>
                    <a:pt x="345" y="771"/>
                  </a:lnTo>
                  <a:lnTo>
                    <a:pt x="351" y="785"/>
                  </a:lnTo>
                  <a:lnTo>
                    <a:pt x="362" y="795"/>
                  </a:lnTo>
                  <a:lnTo>
                    <a:pt x="362" y="795"/>
                  </a:lnTo>
                  <a:lnTo>
                    <a:pt x="353" y="806"/>
                  </a:lnTo>
                  <a:lnTo>
                    <a:pt x="346" y="818"/>
                  </a:lnTo>
                  <a:lnTo>
                    <a:pt x="345" y="825"/>
                  </a:lnTo>
                  <a:lnTo>
                    <a:pt x="343" y="832"/>
                  </a:lnTo>
                  <a:lnTo>
                    <a:pt x="343" y="840"/>
                  </a:lnTo>
                  <a:lnTo>
                    <a:pt x="345" y="849"/>
                  </a:lnTo>
                  <a:lnTo>
                    <a:pt x="345" y="849"/>
                  </a:lnTo>
                  <a:lnTo>
                    <a:pt x="346" y="861"/>
                  </a:lnTo>
                  <a:lnTo>
                    <a:pt x="345" y="873"/>
                  </a:lnTo>
                  <a:lnTo>
                    <a:pt x="341" y="885"/>
                  </a:lnTo>
                  <a:lnTo>
                    <a:pt x="334" y="894"/>
                  </a:lnTo>
                  <a:lnTo>
                    <a:pt x="324" y="908"/>
                  </a:lnTo>
                  <a:lnTo>
                    <a:pt x="317" y="915"/>
                  </a:lnTo>
                  <a:lnTo>
                    <a:pt x="317" y="915"/>
                  </a:lnTo>
                  <a:lnTo>
                    <a:pt x="326" y="910"/>
                  </a:lnTo>
                  <a:lnTo>
                    <a:pt x="332" y="904"/>
                  </a:lnTo>
                  <a:lnTo>
                    <a:pt x="341" y="896"/>
                  </a:lnTo>
                  <a:lnTo>
                    <a:pt x="348" y="887"/>
                  </a:lnTo>
                  <a:lnTo>
                    <a:pt x="353" y="877"/>
                  </a:lnTo>
                  <a:lnTo>
                    <a:pt x="357" y="865"/>
                  </a:lnTo>
                  <a:lnTo>
                    <a:pt x="357" y="859"/>
                  </a:lnTo>
                  <a:lnTo>
                    <a:pt x="357" y="853"/>
                  </a:lnTo>
                  <a:lnTo>
                    <a:pt x="357" y="853"/>
                  </a:lnTo>
                  <a:lnTo>
                    <a:pt x="355" y="844"/>
                  </a:lnTo>
                  <a:lnTo>
                    <a:pt x="355" y="835"/>
                  </a:lnTo>
                  <a:lnTo>
                    <a:pt x="357" y="830"/>
                  </a:lnTo>
                  <a:lnTo>
                    <a:pt x="358" y="823"/>
                  </a:lnTo>
                  <a:lnTo>
                    <a:pt x="365" y="814"/>
                  </a:lnTo>
                  <a:lnTo>
                    <a:pt x="372" y="809"/>
                  </a:lnTo>
                  <a:lnTo>
                    <a:pt x="372" y="809"/>
                  </a:lnTo>
                  <a:lnTo>
                    <a:pt x="379" y="821"/>
                  </a:lnTo>
                  <a:lnTo>
                    <a:pt x="386" y="835"/>
                  </a:lnTo>
                  <a:lnTo>
                    <a:pt x="390" y="849"/>
                  </a:lnTo>
                  <a:lnTo>
                    <a:pt x="391" y="863"/>
                  </a:lnTo>
                  <a:lnTo>
                    <a:pt x="393" y="878"/>
                  </a:lnTo>
                  <a:lnTo>
                    <a:pt x="391" y="892"/>
                  </a:lnTo>
                  <a:lnTo>
                    <a:pt x="388" y="918"/>
                  </a:lnTo>
                  <a:lnTo>
                    <a:pt x="383" y="942"/>
                  </a:lnTo>
                  <a:lnTo>
                    <a:pt x="376" y="960"/>
                  </a:lnTo>
                  <a:lnTo>
                    <a:pt x="367" y="977"/>
                  </a:lnTo>
                  <a:lnTo>
                    <a:pt x="367" y="977"/>
                  </a:lnTo>
                  <a:lnTo>
                    <a:pt x="381" y="963"/>
                  </a:lnTo>
                  <a:lnTo>
                    <a:pt x="391" y="946"/>
                  </a:lnTo>
                  <a:lnTo>
                    <a:pt x="403" y="925"/>
                  </a:lnTo>
                  <a:lnTo>
                    <a:pt x="410" y="911"/>
                  </a:lnTo>
                  <a:lnTo>
                    <a:pt x="414" y="898"/>
                  </a:lnTo>
                  <a:lnTo>
                    <a:pt x="417" y="884"/>
                  </a:lnTo>
                  <a:lnTo>
                    <a:pt x="419" y="870"/>
                  </a:lnTo>
                  <a:lnTo>
                    <a:pt x="419" y="854"/>
                  </a:lnTo>
                  <a:lnTo>
                    <a:pt x="417" y="837"/>
                  </a:lnTo>
                  <a:lnTo>
                    <a:pt x="412" y="821"/>
                  </a:lnTo>
                  <a:lnTo>
                    <a:pt x="403" y="806"/>
                  </a:lnTo>
                  <a:lnTo>
                    <a:pt x="403" y="806"/>
                  </a:lnTo>
                  <a:lnTo>
                    <a:pt x="396" y="789"/>
                  </a:lnTo>
                  <a:lnTo>
                    <a:pt x="391" y="771"/>
                  </a:lnTo>
                  <a:lnTo>
                    <a:pt x="388" y="756"/>
                  </a:lnTo>
                  <a:lnTo>
                    <a:pt x="388" y="738"/>
                  </a:lnTo>
                  <a:lnTo>
                    <a:pt x="388" y="725"/>
                  </a:lnTo>
                  <a:lnTo>
                    <a:pt x="391" y="709"/>
                  </a:lnTo>
                  <a:lnTo>
                    <a:pt x="395" y="697"/>
                  </a:lnTo>
                  <a:lnTo>
                    <a:pt x="398" y="683"/>
                  </a:lnTo>
                  <a:lnTo>
                    <a:pt x="398" y="683"/>
                  </a:lnTo>
                  <a:lnTo>
                    <a:pt x="398" y="683"/>
                  </a:lnTo>
                  <a:lnTo>
                    <a:pt x="402" y="702"/>
                  </a:lnTo>
                  <a:lnTo>
                    <a:pt x="407" y="723"/>
                  </a:lnTo>
                  <a:lnTo>
                    <a:pt x="414" y="747"/>
                  </a:lnTo>
                  <a:lnTo>
                    <a:pt x="424" y="775"/>
                  </a:lnTo>
                  <a:lnTo>
                    <a:pt x="431" y="789"/>
                  </a:lnTo>
                  <a:lnTo>
                    <a:pt x="440" y="801"/>
                  </a:lnTo>
                  <a:lnTo>
                    <a:pt x="448" y="814"/>
                  </a:lnTo>
                  <a:lnTo>
                    <a:pt x="459" y="827"/>
                  </a:lnTo>
                  <a:lnTo>
                    <a:pt x="471" y="839"/>
                  </a:lnTo>
                  <a:lnTo>
                    <a:pt x="483" y="849"/>
                  </a:lnTo>
                  <a:lnTo>
                    <a:pt x="483" y="849"/>
                  </a:lnTo>
                  <a:lnTo>
                    <a:pt x="492" y="858"/>
                  </a:lnTo>
                  <a:lnTo>
                    <a:pt x="499" y="868"/>
                  </a:lnTo>
                  <a:lnTo>
                    <a:pt x="504" y="880"/>
                  </a:lnTo>
                  <a:lnTo>
                    <a:pt x="507" y="894"/>
                  </a:lnTo>
                  <a:lnTo>
                    <a:pt x="509" y="910"/>
                  </a:lnTo>
                  <a:lnTo>
                    <a:pt x="509" y="927"/>
                  </a:lnTo>
                  <a:lnTo>
                    <a:pt x="507" y="944"/>
                  </a:lnTo>
                  <a:lnTo>
                    <a:pt x="504" y="962"/>
                  </a:lnTo>
                  <a:lnTo>
                    <a:pt x="504" y="962"/>
                  </a:lnTo>
                  <a:lnTo>
                    <a:pt x="504" y="962"/>
                  </a:lnTo>
                  <a:lnTo>
                    <a:pt x="500" y="970"/>
                  </a:lnTo>
                  <a:lnTo>
                    <a:pt x="493" y="979"/>
                  </a:lnTo>
                  <a:lnTo>
                    <a:pt x="486" y="989"/>
                  </a:lnTo>
                  <a:lnTo>
                    <a:pt x="476" y="998"/>
                  </a:lnTo>
                  <a:lnTo>
                    <a:pt x="471" y="1001"/>
                  </a:lnTo>
                  <a:lnTo>
                    <a:pt x="464" y="1005"/>
                  </a:lnTo>
                  <a:lnTo>
                    <a:pt x="457" y="1007"/>
                  </a:lnTo>
                  <a:lnTo>
                    <a:pt x="450" y="1007"/>
                  </a:lnTo>
                  <a:lnTo>
                    <a:pt x="441" y="1007"/>
                  </a:lnTo>
                  <a:lnTo>
                    <a:pt x="433" y="1003"/>
                  </a:lnTo>
                  <a:lnTo>
                    <a:pt x="433" y="1003"/>
                  </a:lnTo>
                  <a:lnTo>
                    <a:pt x="424" y="1000"/>
                  </a:lnTo>
                  <a:lnTo>
                    <a:pt x="417" y="998"/>
                  </a:lnTo>
                  <a:lnTo>
                    <a:pt x="409" y="998"/>
                  </a:lnTo>
                  <a:lnTo>
                    <a:pt x="402" y="1000"/>
                  </a:lnTo>
                  <a:lnTo>
                    <a:pt x="388" y="1003"/>
                  </a:lnTo>
                  <a:lnTo>
                    <a:pt x="376" y="1008"/>
                  </a:lnTo>
                  <a:lnTo>
                    <a:pt x="365" y="1015"/>
                  </a:lnTo>
                  <a:lnTo>
                    <a:pt x="358" y="1022"/>
                  </a:lnTo>
                  <a:lnTo>
                    <a:pt x="351" y="1029"/>
                  </a:lnTo>
                  <a:lnTo>
                    <a:pt x="351" y="1029"/>
                  </a:lnTo>
                  <a:lnTo>
                    <a:pt x="358" y="1026"/>
                  </a:lnTo>
                  <a:lnTo>
                    <a:pt x="376" y="1019"/>
                  </a:lnTo>
                  <a:lnTo>
                    <a:pt x="388" y="1015"/>
                  </a:lnTo>
                  <a:lnTo>
                    <a:pt x="400" y="1013"/>
                  </a:lnTo>
                  <a:lnTo>
                    <a:pt x="414" y="1012"/>
                  </a:lnTo>
                  <a:lnTo>
                    <a:pt x="429" y="1013"/>
                  </a:lnTo>
                  <a:lnTo>
                    <a:pt x="429" y="1013"/>
                  </a:lnTo>
                  <a:lnTo>
                    <a:pt x="443" y="1015"/>
                  </a:lnTo>
                  <a:lnTo>
                    <a:pt x="455" y="1015"/>
                  </a:lnTo>
                  <a:lnTo>
                    <a:pt x="467" y="1013"/>
                  </a:lnTo>
                  <a:lnTo>
                    <a:pt x="478" y="1010"/>
                  </a:lnTo>
                  <a:lnTo>
                    <a:pt x="492" y="1003"/>
                  </a:lnTo>
                  <a:lnTo>
                    <a:pt x="495" y="1000"/>
                  </a:lnTo>
                  <a:lnTo>
                    <a:pt x="495" y="1000"/>
                  </a:lnTo>
                  <a:lnTo>
                    <a:pt x="483" y="1041"/>
                  </a:lnTo>
                  <a:lnTo>
                    <a:pt x="469" y="1077"/>
                  </a:lnTo>
                  <a:lnTo>
                    <a:pt x="455" y="1110"/>
                  </a:lnTo>
                  <a:lnTo>
                    <a:pt x="455" y="1110"/>
                  </a:lnTo>
                  <a:lnTo>
                    <a:pt x="466" y="1096"/>
                  </a:lnTo>
                  <a:lnTo>
                    <a:pt x="478" y="1079"/>
                  </a:lnTo>
                  <a:lnTo>
                    <a:pt x="490" y="1057"/>
                  </a:lnTo>
                  <a:lnTo>
                    <a:pt x="504" y="1031"/>
                  </a:lnTo>
                  <a:lnTo>
                    <a:pt x="516" y="1001"/>
                  </a:lnTo>
                  <a:lnTo>
                    <a:pt x="521" y="986"/>
                  </a:lnTo>
                  <a:lnTo>
                    <a:pt x="524" y="970"/>
                  </a:lnTo>
                  <a:lnTo>
                    <a:pt x="528" y="953"/>
                  </a:lnTo>
                  <a:lnTo>
                    <a:pt x="530" y="936"/>
                  </a:lnTo>
                  <a:lnTo>
                    <a:pt x="530" y="936"/>
                  </a:lnTo>
                  <a:lnTo>
                    <a:pt x="540" y="942"/>
                  </a:lnTo>
                  <a:lnTo>
                    <a:pt x="545" y="946"/>
                  </a:lnTo>
                  <a:lnTo>
                    <a:pt x="550" y="953"/>
                  </a:lnTo>
                  <a:lnTo>
                    <a:pt x="556" y="958"/>
                  </a:lnTo>
                  <a:lnTo>
                    <a:pt x="559" y="967"/>
                  </a:lnTo>
                  <a:lnTo>
                    <a:pt x="561" y="975"/>
                  </a:lnTo>
                  <a:lnTo>
                    <a:pt x="563" y="987"/>
                  </a:lnTo>
                  <a:lnTo>
                    <a:pt x="563" y="987"/>
                  </a:lnTo>
                  <a:lnTo>
                    <a:pt x="563" y="996"/>
                  </a:lnTo>
                  <a:lnTo>
                    <a:pt x="564" y="1003"/>
                  </a:lnTo>
                  <a:lnTo>
                    <a:pt x="568" y="1010"/>
                  </a:lnTo>
                  <a:lnTo>
                    <a:pt x="571" y="1017"/>
                  </a:lnTo>
                  <a:lnTo>
                    <a:pt x="582" y="1027"/>
                  </a:lnTo>
                  <a:lnTo>
                    <a:pt x="592" y="1036"/>
                  </a:lnTo>
                  <a:lnTo>
                    <a:pt x="602" y="1041"/>
                  </a:lnTo>
                  <a:lnTo>
                    <a:pt x="611" y="1046"/>
                  </a:lnTo>
                  <a:lnTo>
                    <a:pt x="621" y="1048"/>
                  </a:lnTo>
                  <a:lnTo>
                    <a:pt x="621" y="1048"/>
                  </a:lnTo>
                  <a:lnTo>
                    <a:pt x="614" y="1046"/>
                  </a:lnTo>
                  <a:lnTo>
                    <a:pt x="609" y="1043"/>
                  </a:lnTo>
                  <a:lnTo>
                    <a:pt x="602" y="1036"/>
                  </a:lnTo>
                  <a:lnTo>
                    <a:pt x="595" y="1029"/>
                  </a:lnTo>
                  <a:lnTo>
                    <a:pt x="588" y="1017"/>
                  </a:lnTo>
                  <a:lnTo>
                    <a:pt x="583" y="1001"/>
                  </a:lnTo>
                  <a:lnTo>
                    <a:pt x="578" y="982"/>
                  </a:lnTo>
                  <a:lnTo>
                    <a:pt x="578" y="982"/>
                  </a:lnTo>
                  <a:lnTo>
                    <a:pt x="575" y="967"/>
                  </a:lnTo>
                  <a:lnTo>
                    <a:pt x="569" y="953"/>
                  </a:lnTo>
                  <a:lnTo>
                    <a:pt x="563" y="941"/>
                  </a:lnTo>
                  <a:lnTo>
                    <a:pt x="556" y="929"/>
                  </a:lnTo>
                  <a:lnTo>
                    <a:pt x="540" y="913"/>
                  </a:lnTo>
                  <a:lnTo>
                    <a:pt x="530" y="903"/>
                  </a:lnTo>
                  <a:lnTo>
                    <a:pt x="530" y="903"/>
                  </a:lnTo>
                  <a:lnTo>
                    <a:pt x="526" y="887"/>
                  </a:lnTo>
                  <a:lnTo>
                    <a:pt x="521" y="870"/>
                  </a:lnTo>
                  <a:lnTo>
                    <a:pt x="512" y="854"/>
                  </a:lnTo>
                  <a:lnTo>
                    <a:pt x="504" y="839"/>
                  </a:lnTo>
                  <a:lnTo>
                    <a:pt x="504" y="839"/>
                  </a:lnTo>
                  <a:lnTo>
                    <a:pt x="486" y="813"/>
                  </a:lnTo>
                  <a:lnTo>
                    <a:pt x="473" y="790"/>
                  </a:lnTo>
                  <a:lnTo>
                    <a:pt x="462" y="768"/>
                  </a:lnTo>
                  <a:lnTo>
                    <a:pt x="454" y="747"/>
                  </a:lnTo>
                  <a:lnTo>
                    <a:pt x="448" y="728"/>
                  </a:lnTo>
                  <a:lnTo>
                    <a:pt x="443" y="711"/>
                  </a:lnTo>
                  <a:lnTo>
                    <a:pt x="441" y="695"/>
                  </a:lnTo>
                  <a:lnTo>
                    <a:pt x="441" y="683"/>
                  </a:lnTo>
                  <a:lnTo>
                    <a:pt x="441" y="683"/>
                  </a:lnTo>
                  <a:lnTo>
                    <a:pt x="452" y="688"/>
                  </a:lnTo>
                  <a:lnTo>
                    <a:pt x="464" y="693"/>
                  </a:lnTo>
                  <a:lnTo>
                    <a:pt x="479" y="697"/>
                  </a:lnTo>
                  <a:lnTo>
                    <a:pt x="495" y="700"/>
                  </a:lnTo>
                  <a:lnTo>
                    <a:pt x="495" y="700"/>
                  </a:lnTo>
                  <a:lnTo>
                    <a:pt x="511" y="704"/>
                  </a:lnTo>
                  <a:lnTo>
                    <a:pt x="526" y="709"/>
                  </a:lnTo>
                  <a:lnTo>
                    <a:pt x="540" y="714"/>
                  </a:lnTo>
                  <a:lnTo>
                    <a:pt x="554" y="721"/>
                  </a:lnTo>
                  <a:lnTo>
                    <a:pt x="578" y="737"/>
                  </a:lnTo>
                  <a:lnTo>
                    <a:pt x="601" y="754"/>
                  </a:lnTo>
                  <a:lnTo>
                    <a:pt x="601" y="754"/>
                  </a:lnTo>
                  <a:lnTo>
                    <a:pt x="601" y="759"/>
                  </a:lnTo>
                  <a:lnTo>
                    <a:pt x="597" y="771"/>
                  </a:lnTo>
                  <a:lnTo>
                    <a:pt x="595" y="780"/>
                  </a:lnTo>
                  <a:lnTo>
                    <a:pt x="590" y="787"/>
                  </a:lnTo>
                  <a:lnTo>
                    <a:pt x="585" y="792"/>
                  </a:lnTo>
                  <a:lnTo>
                    <a:pt x="576" y="797"/>
                  </a:lnTo>
                  <a:lnTo>
                    <a:pt x="576" y="797"/>
                  </a:lnTo>
                  <a:lnTo>
                    <a:pt x="568" y="801"/>
                  </a:lnTo>
                  <a:lnTo>
                    <a:pt x="561" y="806"/>
                  </a:lnTo>
                  <a:lnTo>
                    <a:pt x="556" y="811"/>
                  </a:lnTo>
                  <a:lnTo>
                    <a:pt x="552" y="814"/>
                  </a:lnTo>
                  <a:lnTo>
                    <a:pt x="547" y="823"/>
                  </a:lnTo>
                  <a:lnTo>
                    <a:pt x="545" y="827"/>
                  </a:lnTo>
                  <a:lnTo>
                    <a:pt x="545" y="827"/>
                  </a:lnTo>
                  <a:lnTo>
                    <a:pt x="547" y="825"/>
                  </a:lnTo>
                  <a:lnTo>
                    <a:pt x="554" y="820"/>
                  </a:lnTo>
                  <a:lnTo>
                    <a:pt x="566" y="814"/>
                  </a:lnTo>
                  <a:lnTo>
                    <a:pt x="573" y="813"/>
                  </a:lnTo>
                  <a:lnTo>
                    <a:pt x="583" y="813"/>
                  </a:lnTo>
                  <a:lnTo>
                    <a:pt x="583" y="813"/>
                  </a:lnTo>
                  <a:lnTo>
                    <a:pt x="592" y="811"/>
                  </a:lnTo>
                  <a:lnTo>
                    <a:pt x="599" y="806"/>
                  </a:lnTo>
                  <a:lnTo>
                    <a:pt x="604" y="799"/>
                  </a:lnTo>
                  <a:lnTo>
                    <a:pt x="609" y="790"/>
                  </a:lnTo>
                  <a:lnTo>
                    <a:pt x="614" y="775"/>
                  </a:lnTo>
                  <a:lnTo>
                    <a:pt x="616" y="768"/>
                  </a:lnTo>
                  <a:lnTo>
                    <a:pt x="616" y="768"/>
                  </a:lnTo>
                  <a:lnTo>
                    <a:pt x="616" y="768"/>
                  </a:lnTo>
                  <a:lnTo>
                    <a:pt x="635" y="790"/>
                  </a:lnTo>
                  <a:lnTo>
                    <a:pt x="649" y="809"/>
                  </a:lnTo>
                  <a:lnTo>
                    <a:pt x="661" y="828"/>
                  </a:lnTo>
                  <a:lnTo>
                    <a:pt x="661" y="828"/>
                  </a:lnTo>
                  <a:lnTo>
                    <a:pt x="659" y="820"/>
                  </a:lnTo>
                  <a:lnTo>
                    <a:pt x="658" y="809"/>
                  </a:lnTo>
                  <a:lnTo>
                    <a:pt x="654" y="797"/>
                  </a:lnTo>
                  <a:lnTo>
                    <a:pt x="647" y="782"/>
                  </a:lnTo>
                  <a:lnTo>
                    <a:pt x="637" y="764"/>
                  </a:lnTo>
                  <a:lnTo>
                    <a:pt x="623" y="745"/>
                  </a:lnTo>
                  <a:lnTo>
                    <a:pt x="606" y="725"/>
                  </a:lnTo>
                  <a:lnTo>
                    <a:pt x="606" y="725"/>
                  </a:lnTo>
                  <a:lnTo>
                    <a:pt x="665" y="716"/>
                  </a:lnTo>
                  <a:lnTo>
                    <a:pt x="665" y="716"/>
                  </a:lnTo>
                  <a:lnTo>
                    <a:pt x="675" y="714"/>
                  </a:lnTo>
                  <a:lnTo>
                    <a:pt x="685" y="716"/>
                  </a:lnTo>
                  <a:lnTo>
                    <a:pt x="696" y="718"/>
                  </a:lnTo>
                  <a:lnTo>
                    <a:pt x="704" y="721"/>
                  </a:lnTo>
                  <a:lnTo>
                    <a:pt x="716" y="728"/>
                  </a:lnTo>
                  <a:lnTo>
                    <a:pt x="720" y="731"/>
                  </a:lnTo>
                  <a:lnTo>
                    <a:pt x="720" y="731"/>
                  </a:lnTo>
                  <a:lnTo>
                    <a:pt x="716" y="726"/>
                  </a:lnTo>
                  <a:lnTo>
                    <a:pt x="711" y="719"/>
                  </a:lnTo>
                  <a:lnTo>
                    <a:pt x="706" y="714"/>
                  </a:lnTo>
                  <a:lnTo>
                    <a:pt x="697" y="707"/>
                  </a:lnTo>
                  <a:lnTo>
                    <a:pt x="687" y="704"/>
                  </a:lnTo>
                  <a:lnTo>
                    <a:pt x="673" y="702"/>
                  </a:lnTo>
                  <a:lnTo>
                    <a:pt x="659" y="704"/>
                  </a:lnTo>
                  <a:lnTo>
                    <a:pt x="659" y="704"/>
                  </a:lnTo>
                  <a:close/>
                  <a:moveTo>
                    <a:pt x="391" y="614"/>
                  </a:moveTo>
                  <a:lnTo>
                    <a:pt x="391" y="614"/>
                  </a:lnTo>
                  <a:lnTo>
                    <a:pt x="393" y="609"/>
                  </a:lnTo>
                  <a:lnTo>
                    <a:pt x="393" y="609"/>
                  </a:lnTo>
                  <a:lnTo>
                    <a:pt x="393" y="614"/>
                  </a:lnTo>
                  <a:lnTo>
                    <a:pt x="393" y="614"/>
                  </a:lnTo>
                  <a:lnTo>
                    <a:pt x="391" y="614"/>
                  </a:lnTo>
                  <a:lnTo>
                    <a:pt x="391" y="614"/>
                  </a:lnTo>
                  <a:close/>
                </a:path>
              </a:pathLst>
            </a:custGeom>
            <a:solidFill>
              <a:srgbClr val="AE8A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nvGrpSpPr>
            <p:cNvPr id="6" name="Group 5">
              <a:extLst>
                <a:ext uri="{FF2B5EF4-FFF2-40B4-BE49-F238E27FC236}">
                  <a16:creationId xmlns:a16="http://schemas.microsoft.com/office/drawing/2014/main" id="{ABB9D89D-7B21-4C58-A5C0-FDD2559A112D}"/>
                </a:ext>
              </a:extLst>
            </p:cNvPr>
            <p:cNvGrpSpPr/>
            <p:nvPr/>
          </p:nvGrpSpPr>
          <p:grpSpPr>
            <a:xfrm rot="21395785">
              <a:off x="5188909" y="2059285"/>
              <a:ext cx="1649186" cy="2739429"/>
              <a:chOff x="5271406" y="1791612"/>
              <a:chExt cx="1649186" cy="2739429"/>
            </a:xfrm>
          </p:grpSpPr>
          <p:sp>
            <p:nvSpPr>
              <p:cNvPr id="7" name="Freeform 1067">
                <a:extLst>
                  <a:ext uri="{FF2B5EF4-FFF2-40B4-BE49-F238E27FC236}">
                    <a16:creationId xmlns:a16="http://schemas.microsoft.com/office/drawing/2014/main" id="{0ADD12D7-66AC-46AC-96AD-FC3AA57525E6}"/>
                  </a:ext>
                </a:extLst>
              </p:cNvPr>
              <p:cNvSpPr>
                <a:spLocks/>
              </p:cNvSpPr>
              <p:nvPr/>
            </p:nvSpPr>
            <p:spPr bwMode="auto">
              <a:xfrm>
                <a:off x="6029971" y="2418118"/>
                <a:ext cx="141271" cy="2112923"/>
              </a:xfrm>
              <a:custGeom>
                <a:avLst/>
                <a:gdLst>
                  <a:gd name="T0" fmla="*/ 27 w 91"/>
                  <a:gd name="T1" fmla="*/ 1250 h 1376"/>
                  <a:gd name="T2" fmla="*/ 27 w 91"/>
                  <a:gd name="T3" fmla="*/ 1250 h 1376"/>
                  <a:gd name="T4" fmla="*/ 19 w 91"/>
                  <a:gd name="T5" fmla="*/ 824 h 1376"/>
                  <a:gd name="T6" fmla="*/ 10 w 91"/>
                  <a:gd name="T7" fmla="*/ 419 h 1376"/>
                  <a:gd name="T8" fmla="*/ 0 w 91"/>
                  <a:gd name="T9" fmla="*/ 0 h 1376"/>
                  <a:gd name="T10" fmla="*/ 0 w 91"/>
                  <a:gd name="T11" fmla="*/ 0 h 1376"/>
                  <a:gd name="T12" fmla="*/ 15 w 91"/>
                  <a:gd name="T13" fmla="*/ 128 h 1376"/>
                  <a:gd name="T14" fmla="*/ 29 w 91"/>
                  <a:gd name="T15" fmla="*/ 272 h 1376"/>
                  <a:gd name="T16" fmla="*/ 46 w 91"/>
                  <a:gd name="T17" fmla="*/ 455 h 1376"/>
                  <a:gd name="T18" fmla="*/ 64 w 91"/>
                  <a:gd name="T19" fmla="*/ 668 h 1376"/>
                  <a:gd name="T20" fmla="*/ 72 w 91"/>
                  <a:gd name="T21" fmla="*/ 782 h 1376"/>
                  <a:gd name="T22" fmla="*/ 79 w 91"/>
                  <a:gd name="T23" fmla="*/ 900 h 1376"/>
                  <a:gd name="T24" fmla="*/ 84 w 91"/>
                  <a:gd name="T25" fmla="*/ 1019 h 1376"/>
                  <a:gd name="T26" fmla="*/ 90 w 91"/>
                  <a:gd name="T27" fmla="*/ 1139 h 1376"/>
                  <a:gd name="T28" fmla="*/ 91 w 91"/>
                  <a:gd name="T29" fmla="*/ 1258 h 1376"/>
                  <a:gd name="T30" fmla="*/ 91 w 91"/>
                  <a:gd name="T31" fmla="*/ 1376 h 1376"/>
                  <a:gd name="T32" fmla="*/ 91 w 91"/>
                  <a:gd name="T33" fmla="*/ 1376 h 1376"/>
                  <a:gd name="T34" fmla="*/ 81 w 91"/>
                  <a:gd name="T35" fmla="*/ 1362 h 1376"/>
                  <a:gd name="T36" fmla="*/ 60 w 91"/>
                  <a:gd name="T37" fmla="*/ 1329 h 1376"/>
                  <a:gd name="T38" fmla="*/ 48 w 91"/>
                  <a:gd name="T39" fmla="*/ 1308 h 1376"/>
                  <a:gd name="T40" fmla="*/ 38 w 91"/>
                  <a:gd name="T41" fmla="*/ 1288 h 1376"/>
                  <a:gd name="T42" fmla="*/ 29 w 91"/>
                  <a:gd name="T43" fmla="*/ 1267 h 1376"/>
                  <a:gd name="T44" fmla="*/ 27 w 91"/>
                  <a:gd name="T45" fmla="*/ 1258 h 1376"/>
                  <a:gd name="T46" fmla="*/ 27 w 91"/>
                  <a:gd name="T47" fmla="*/ 1250 h 1376"/>
                  <a:gd name="T48" fmla="*/ 27 w 91"/>
                  <a:gd name="T49" fmla="*/ 1250 h 1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1" h="1376">
                    <a:moveTo>
                      <a:pt x="27" y="1250"/>
                    </a:moveTo>
                    <a:lnTo>
                      <a:pt x="27" y="1250"/>
                    </a:lnTo>
                    <a:lnTo>
                      <a:pt x="19" y="824"/>
                    </a:lnTo>
                    <a:lnTo>
                      <a:pt x="10" y="419"/>
                    </a:lnTo>
                    <a:lnTo>
                      <a:pt x="0" y="0"/>
                    </a:lnTo>
                    <a:lnTo>
                      <a:pt x="0" y="0"/>
                    </a:lnTo>
                    <a:lnTo>
                      <a:pt x="15" y="128"/>
                    </a:lnTo>
                    <a:lnTo>
                      <a:pt x="29" y="272"/>
                    </a:lnTo>
                    <a:lnTo>
                      <a:pt x="46" y="455"/>
                    </a:lnTo>
                    <a:lnTo>
                      <a:pt x="64" y="668"/>
                    </a:lnTo>
                    <a:lnTo>
                      <a:pt x="72" y="782"/>
                    </a:lnTo>
                    <a:lnTo>
                      <a:pt x="79" y="900"/>
                    </a:lnTo>
                    <a:lnTo>
                      <a:pt x="84" y="1019"/>
                    </a:lnTo>
                    <a:lnTo>
                      <a:pt x="90" y="1139"/>
                    </a:lnTo>
                    <a:lnTo>
                      <a:pt x="91" y="1258"/>
                    </a:lnTo>
                    <a:lnTo>
                      <a:pt x="91" y="1376"/>
                    </a:lnTo>
                    <a:lnTo>
                      <a:pt x="91" y="1376"/>
                    </a:lnTo>
                    <a:lnTo>
                      <a:pt x="81" y="1362"/>
                    </a:lnTo>
                    <a:lnTo>
                      <a:pt x="60" y="1329"/>
                    </a:lnTo>
                    <a:lnTo>
                      <a:pt x="48" y="1308"/>
                    </a:lnTo>
                    <a:lnTo>
                      <a:pt x="38" y="1288"/>
                    </a:lnTo>
                    <a:lnTo>
                      <a:pt x="29" y="1267"/>
                    </a:lnTo>
                    <a:lnTo>
                      <a:pt x="27" y="1258"/>
                    </a:lnTo>
                    <a:lnTo>
                      <a:pt x="27" y="1250"/>
                    </a:lnTo>
                    <a:lnTo>
                      <a:pt x="27" y="1250"/>
                    </a:lnTo>
                    <a:close/>
                  </a:path>
                </a:pathLst>
              </a:custGeom>
              <a:solidFill>
                <a:srgbClr val="A0CD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8" name="Freeform 1069">
                <a:extLst>
                  <a:ext uri="{FF2B5EF4-FFF2-40B4-BE49-F238E27FC236}">
                    <a16:creationId xmlns:a16="http://schemas.microsoft.com/office/drawing/2014/main" id="{DC31AB39-264F-41C4-A005-1E62573E41A1}"/>
                  </a:ext>
                </a:extLst>
              </p:cNvPr>
              <p:cNvSpPr>
                <a:spLocks/>
              </p:cNvSpPr>
              <p:nvPr/>
            </p:nvSpPr>
            <p:spPr bwMode="auto">
              <a:xfrm>
                <a:off x="6158957" y="3652704"/>
                <a:ext cx="488307" cy="347034"/>
              </a:xfrm>
              <a:custGeom>
                <a:avLst/>
                <a:gdLst>
                  <a:gd name="T0" fmla="*/ 0 w 319"/>
                  <a:gd name="T1" fmla="*/ 189 h 225"/>
                  <a:gd name="T2" fmla="*/ 0 w 319"/>
                  <a:gd name="T3" fmla="*/ 189 h 225"/>
                  <a:gd name="T4" fmla="*/ 7 w 319"/>
                  <a:gd name="T5" fmla="*/ 161 h 225"/>
                  <a:gd name="T6" fmla="*/ 14 w 319"/>
                  <a:gd name="T7" fmla="*/ 135 h 225"/>
                  <a:gd name="T8" fmla="*/ 26 w 319"/>
                  <a:gd name="T9" fmla="*/ 104 h 225"/>
                  <a:gd name="T10" fmla="*/ 35 w 319"/>
                  <a:gd name="T11" fmla="*/ 88 h 225"/>
                  <a:gd name="T12" fmla="*/ 42 w 319"/>
                  <a:gd name="T13" fmla="*/ 73 h 225"/>
                  <a:gd name="T14" fmla="*/ 52 w 319"/>
                  <a:gd name="T15" fmla="*/ 59 h 225"/>
                  <a:gd name="T16" fmla="*/ 63 w 319"/>
                  <a:gd name="T17" fmla="*/ 47 h 225"/>
                  <a:gd name="T18" fmla="*/ 75 w 319"/>
                  <a:gd name="T19" fmla="*/ 38 h 225"/>
                  <a:gd name="T20" fmla="*/ 89 w 319"/>
                  <a:gd name="T21" fmla="*/ 29 h 225"/>
                  <a:gd name="T22" fmla="*/ 102 w 319"/>
                  <a:gd name="T23" fmla="*/ 26 h 225"/>
                  <a:gd name="T24" fmla="*/ 120 w 319"/>
                  <a:gd name="T25" fmla="*/ 26 h 225"/>
                  <a:gd name="T26" fmla="*/ 120 w 319"/>
                  <a:gd name="T27" fmla="*/ 26 h 225"/>
                  <a:gd name="T28" fmla="*/ 154 w 319"/>
                  <a:gd name="T29" fmla="*/ 29 h 225"/>
                  <a:gd name="T30" fmla="*/ 189 w 319"/>
                  <a:gd name="T31" fmla="*/ 31 h 225"/>
                  <a:gd name="T32" fmla="*/ 222 w 319"/>
                  <a:gd name="T33" fmla="*/ 31 h 225"/>
                  <a:gd name="T34" fmla="*/ 249 w 319"/>
                  <a:gd name="T35" fmla="*/ 28 h 225"/>
                  <a:gd name="T36" fmla="*/ 275 w 319"/>
                  <a:gd name="T37" fmla="*/ 24 h 225"/>
                  <a:gd name="T38" fmla="*/ 296 w 319"/>
                  <a:gd name="T39" fmla="*/ 17 h 225"/>
                  <a:gd name="T40" fmla="*/ 303 w 319"/>
                  <a:gd name="T41" fmla="*/ 14 h 225"/>
                  <a:gd name="T42" fmla="*/ 310 w 319"/>
                  <a:gd name="T43" fmla="*/ 10 h 225"/>
                  <a:gd name="T44" fmla="*/ 315 w 319"/>
                  <a:gd name="T45" fmla="*/ 5 h 225"/>
                  <a:gd name="T46" fmla="*/ 319 w 319"/>
                  <a:gd name="T47" fmla="*/ 0 h 225"/>
                  <a:gd name="T48" fmla="*/ 319 w 319"/>
                  <a:gd name="T49" fmla="*/ 0 h 225"/>
                  <a:gd name="T50" fmla="*/ 313 w 319"/>
                  <a:gd name="T51" fmla="*/ 24 h 225"/>
                  <a:gd name="T52" fmla="*/ 306 w 319"/>
                  <a:gd name="T53" fmla="*/ 50 h 225"/>
                  <a:gd name="T54" fmla="*/ 296 w 319"/>
                  <a:gd name="T55" fmla="*/ 81 h 225"/>
                  <a:gd name="T56" fmla="*/ 282 w 319"/>
                  <a:gd name="T57" fmla="*/ 114 h 225"/>
                  <a:gd name="T58" fmla="*/ 272 w 319"/>
                  <a:gd name="T59" fmla="*/ 131 h 225"/>
                  <a:gd name="T60" fmla="*/ 262 w 319"/>
                  <a:gd name="T61" fmla="*/ 149 h 225"/>
                  <a:gd name="T62" fmla="*/ 249 w 319"/>
                  <a:gd name="T63" fmla="*/ 164 h 225"/>
                  <a:gd name="T64" fmla="*/ 237 w 319"/>
                  <a:gd name="T65" fmla="*/ 178 h 225"/>
                  <a:gd name="T66" fmla="*/ 222 w 319"/>
                  <a:gd name="T67" fmla="*/ 192 h 225"/>
                  <a:gd name="T68" fmla="*/ 204 w 319"/>
                  <a:gd name="T69" fmla="*/ 202 h 225"/>
                  <a:gd name="T70" fmla="*/ 204 w 319"/>
                  <a:gd name="T71" fmla="*/ 202 h 225"/>
                  <a:gd name="T72" fmla="*/ 185 w 319"/>
                  <a:gd name="T73" fmla="*/ 213 h 225"/>
                  <a:gd name="T74" fmla="*/ 166 w 319"/>
                  <a:gd name="T75" fmla="*/ 220 h 225"/>
                  <a:gd name="T76" fmla="*/ 149 w 319"/>
                  <a:gd name="T77" fmla="*/ 223 h 225"/>
                  <a:gd name="T78" fmla="*/ 130 w 319"/>
                  <a:gd name="T79" fmla="*/ 225 h 225"/>
                  <a:gd name="T80" fmla="*/ 113 w 319"/>
                  <a:gd name="T81" fmla="*/ 225 h 225"/>
                  <a:gd name="T82" fmla="*/ 95 w 319"/>
                  <a:gd name="T83" fmla="*/ 225 h 225"/>
                  <a:gd name="T84" fmla="*/ 80 w 319"/>
                  <a:gd name="T85" fmla="*/ 221 h 225"/>
                  <a:gd name="T86" fmla="*/ 64 w 319"/>
                  <a:gd name="T87" fmla="*/ 218 h 225"/>
                  <a:gd name="T88" fmla="*/ 38 w 319"/>
                  <a:gd name="T89" fmla="*/ 209 h 225"/>
                  <a:gd name="T90" fmla="*/ 19 w 319"/>
                  <a:gd name="T91" fmla="*/ 199 h 225"/>
                  <a:gd name="T92" fmla="*/ 0 w 319"/>
                  <a:gd name="T93" fmla="*/ 189 h 225"/>
                  <a:gd name="T94" fmla="*/ 0 w 319"/>
                  <a:gd name="T95" fmla="*/ 189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19" h="225">
                    <a:moveTo>
                      <a:pt x="0" y="189"/>
                    </a:moveTo>
                    <a:lnTo>
                      <a:pt x="0" y="189"/>
                    </a:lnTo>
                    <a:lnTo>
                      <a:pt x="7" y="161"/>
                    </a:lnTo>
                    <a:lnTo>
                      <a:pt x="14" y="135"/>
                    </a:lnTo>
                    <a:lnTo>
                      <a:pt x="26" y="104"/>
                    </a:lnTo>
                    <a:lnTo>
                      <a:pt x="35" y="88"/>
                    </a:lnTo>
                    <a:lnTo>
                      <a:pt x="42" y="73"/>
                    </a:lnTo>
                    <a:lnTo>
                      <a:pt x="52" y="59"/>
                    </a:lnTo>
                    <a:lnTo>
                      <a:pt x="63" y="47"/>
                    </a:lnTo>
                    <a:lnTo>
                      <a:pt x="75" y="38"/>
                    </a:lnTo>
                    <a:lnTo>
                      <a:pt x="89" y="29"/>
                    </a:lnTo>
                    <a:lnTo>
                      <a:pt x="102" y="26"/>
                    </a:lnTo>
                    <a:lnTo>
                      <a:pt x="120" y="26"/>
                    </a:lnTo>
                    <a:lnTo>
                      <a:pt x="120" y="26"/>
                    </a:lnTo>
                    <a:lnTo>
                      <a:pt x="154" y="29"/>
                    </a:lnTo>
                    <a:lnTo>
                      <a:pt x="189" y="31"/>
                    </a:lnTo>
                    <a:lnTo>
                      <a:pt x="222" y="31"/>
                    </a:lnTo>
                    <a:lnTo>
                      <a:pt x="249" y="28"/>
                    </a:lnTo>
                    <a:lnTo>
                      <a:pt x="275" y="24"/>
                    </a:lnTo>
                    <a:lnTo>
                      <a:pt x="296" y="17"/>
                    </a:lnTo>
                    <a:lnTo>
                      <a:pt x="303" y="14"/>
                    </a:lnTo>
                    <a:lnTo>
                      <a:pt x="310" y="10"/>
                    </a:lnTo>
                    <a:lnTo>
                      <a:pt x="315" y="5"/>
                    </a:lnTo>
                    <a:lnTo>
                      <a:pt x="319" y="0"/>
                    </a:lnTo>
                    <a:lnTo>
                      <a:pt x="319" y="0"/>
                    </a:lnTo>
                    <a:lnTo>
                      <a:pt x="313" y="24"/>
                    </a:lnTo>
                    <a:lnTo>
                      <a:pt x="306" y="50"/>
                    </a:lnTo>
                    <a:lnTo>
                      <a:pt x="296" y="81"/>
                    </a:lnTo>
                    <a:lnTo>
                      <a:pt x="282" y="114"/>
                    </a:lnTo>
                    <a:lnTo>
                      <a:pt x="272" y="131"/>
                    </a:lnTo>
                    <a:lnTo>
                      <a:pt x="262" y="149"/>
                    </a:lnTo>
                    <a:lnTo>
                      <a:pt x="249" y="164"/>
                    </a:lnTo>
                    <a:lnTo>
                      <a:pt x="237" y="178"/>
                    </a:lnTo>
                    <a:lnTo>
                      <a:pt x="222" y="192"/>
                    </a:lnTo>
                    <a:lnTo>
                      <a:pt x="204" y="202"/>
                    </a:lnTo>
                    <a:lnTo>
                      <a:pt x="204" y="202"/>
                    </a:lnTo>
                    <a:lnTo>
                      <a:pt x="185" y="213"/>
                    </a:lnTo>
                    <a:lnTo>
                      <a:pt x="166" y="220"/>
                    </a:lnTo>
                    <a:lnTo>
                      <a:pt x="149" y="223"/>
                    </a:lnTo>
                    <a:lnTo>
                      <a:pt x="130" y="225"/>
                    </a:lnTo>
                    <a:lnTo>
                      <a:pt x="113" y="225"/>
                    </a:lnTo>
                    <a:lnTo>
                      <a:pt x="95" y="225"/>
                    </a:lnTo>
                    <a:lnTo>
                      <a:pt x="80" y="221"/>
                    </a:lnTo>
                    <a:lnTo>
                      <a:pt x="64" y="218"/>
                    </a:lnTo>
                    <a:lnTo>
                      <a:pt x="38" y="209"/>
                    </a:lnTo>
                    <a:lnTo>
                      <a:pt x="19" y="199"/>
                    </a:lnTo>
                    <a:lnTo>
                      <a:pt x="0" y="189"/>
                    </a:lnTo>
                    <a:lnTo>
                      <a:pt x="0" y="189"/>
                    </a:lnTo>
                    <a:close/>
                  </a:path>
                </a:pathLst>
              </a:custGeom>
              <a:solidFill>
                <a:srgbClr val="A0CD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9" name="Freeform 1070">
                <a:extLst>
                  <a:ext uri="{FF2B5EF4-FFF2-40B4-BE49-F238E27FC236}">
                    <a16:creationId xmlns:a16="http://schemas.microsoft.com/office/drawing/2014/main" id="{8AB837B1-5B72-4DD5-84A8-07A13A05ED76}"/>
                  </a:ext>
                </a:extLst>
              </p:cNvPr>
              <p:cNvSpPr>
                <a:spLocks noEditPoints="1"/>
              </p:cNvSpPr>
              <p:nvPr/>
            </p:nvSpPr>
            <p:spPr bwMode="auto">
              <a:xfrm>
                <a:off x="6158957" y="3732552"/>
                <a:ext cx="426885" cy="236474"/>
              </a:xfrm>
              <a:custGeom>
                <a:avLst/>
                <a:gdLst>
                  <a:gd name="T0" fmla="*/ 277 w 277"/>
                  <a:gd name="T1" fmla="*/ 2 h 156"/>
                  <a:gd name="T2" fmla="*/ 256 w 277"/>
                  <a:gd name="T3" fmla="*/ 19 h 156"/>
                  <a:gd name="T4" fmla="*/ 232 w 277"/>
                  <a:gd name="T5" fmla="*/ 35 h 156"/>
                  <a:gd name="T6" fmla="*/ 198 w 277"/>
                  <a:gd name="T7" fmla="*/ 50 h 156"/>
                  <a:gd name="T8" fmla="*/ 203 w 277"/>
                  <a:gd name="T9" fmla="*/ 40 h 156"/>
                  <a:gd name="T10" fmla="*/ 206 w 277"/>
                  <a:gd name="T11" fmla="*/ 16 h 156"/>
                  <a:gd name="T12" fmla="*/ 204 w 277"/>
                  <a:gd name="T13" fmla="*/ 0 h 156"/>
                  <a:gd name="T14" fmla="*/ 204 w 277"/>
                  <a:gd name="T15" fmla="*/ 12 h 156"/>
                  <a:gd name="T16" fmla="*/ 199 w 277"/>
                  <a:gd name="T17" fmla="*/ 33 h 156"/>
                  <a:gd name="T18" fmla="*/ 187 w 277"/>
                  <a:gd name="T19" fmla="*/ 50 h 156"/>
                  <a:gd name="T20" fmla="*/ 184 w 277"/>
                  <a:gd name="T21" fmla="*/ 54 h 156"/>
                  <a:gd name="T22" fmla="*/ 132 w 277"/>
                  <a:gd name="T23" fmla="*/ 61 h 156"/>
                  <a:gd name="T24" fmla="*/ 113 w 277"/>
                  <a:gd name="T25" fmla="*/ 62 h 156"/>
                  <a:gd name="T26" fmla="*/ 113 w 277"/>
                  <a:gd name="T27" fmla="*/ 59 h 156"/>
                  <a:gd name="T28" fmla="*/ 116 w 277"/>
                  <a:gd name="T29" fmla="*/ 49 h 156"/>
                  <a:gd name="T30" fmla="*/ 118 w 277"/>
                  <a:gd name="T31" fmla="*/ 30 h 156"/>
                  <a:gd name="T32" fmla="*/ 115 w 277"/>
                  <a:gd name="T33" fmla="*/ 7 h 156"/>
                  <a:gd name="T34" fmla="*/ 111 w 277"/>
                  <a:gd name="T35" fmla="*/ 4 h 156"/>
                  <a:gd name="T36" fmla="*/ 115 w 277"/>
                  <a:gd name="T37" fmla="*/ 31 h 156"/>
                  <a:gd name="T38" fmla="*/ 109 w 277"/>
                  <a:gd name="T39" fmla="*/ 50 h 156"/>
                  <a:gd name="T40" fmla="*/ 101 w 277"/>
                  <a:gd name="T41" fmla="*/ 64 h 156"/>
                  <a:gd name="T42" fmla="*/ 101 w 277"/>
                  <a:gd name="T43" fmla="*/ 64 h 156"/>
                  <a:gd name="T44" fmla="*/ 87 w 277"/>
                  <a:gd name="T45" fmla="*/ 68 h 156"/>
                  <a:gd name="T46" fmla="*/ 54 w 277"/>
                  <a:gd name="T47" fmla="*/ 81 h 156"/>
                  <a:gd name="T48" fmla="*/ 23 w 277"/>
                  <a:gd name="T49" fmla="*/ 107 h 156"/>
                  <a:gd name="T50" fmla="*/ 6 w 277"/>
                  <a:gd name="T51" fmla="*/ 128 h 156"/>
                  <a:gd name="T52" fmla="*/ 0 w 277"/>
                  <a:gd name="T53" fmla="*/ 139 h 156"/>
                  <a:gd name="T54" fmla="*/ 12 w 277"/>
                  <a:gd name="T55" fmla="*/ 123 h 156"/>
                  <a:gd name="T56" fmla="*/ 38 w 277"/>
                  <a:gd name="T57" fmla="*/ 100 h 156"/>
                  <a:gd name="T58" fmla="*/ 51 w 277"/>
                  <a:gd name="T59" fmla="*/ 94 h 156"/>
                  <a:gd name="T60" fmla="*/ 61 w 277"/>
                  <a:gd name="T61" fmla="*/ 92 h 156"/>
                  <a:gd name="T62" fmla="*/ 83 w 277"/>
                  <a:gd name="T63" fmla="*/ 95 h 156"/>
                  <a:gd name="T64" fmla="*/ 108 w 277"/>
                  <a:gd name="T65" fmla="*/ 107 h 156"/>
                  <a:gd name="T66" fmla="*/ 123 w 277"/>
                  <a:gd name="T67" fmla="*/ 121 h 156"/>
                  <a:gd name="T68" fmla="*/ 139 w 277"/>
                  <a:gd name="T69" fmla="*/ 142 h 156"/>
                  <a:gd name="T70" fmla="*/ 147 w 277"/>
                  <a:gd name="T71" fmla="*/ 156 h 156"/>
                  <a:gd name="T72" fmla="*/ 139 w 277"/>
                  <a:gd name="T73" fmla="*/ 137 h 156"/>
                  <a:gd name="T74" fmla="*/ 121 w 277"/>
                  <a:gd name="T75" fmla="*/ 113 h 156"/>
                  <a:gd name="T76" fmla="*/ 99 w 277"/>
                  <a:gd name="T77" fmla="*/ 95 h 156"/>
                  <a:gd name="T78" fmla="*/ 80 w 277"/>
                  <a:gd name="T79" fmla="*/ 88 h 156"/>
                  <a:gd name="T80" fmla="*/ 68 w 277"/>
                  <a:gd name="T81" fmla="*/ 85 h 156"/>
                  <a:gd name="T82" fmla="*/ 82 w 277"/>
                  <a:gd name="T83" fmla="*/ 80 h 156"/>
                  <a:gd name="T84" fmla="*/ 115 w 277"/>
                  <a:gd name="T85" fmla="*/ 73 h 156"/>
                  <a:gd name="T86" fmla="*/ 134 w 277"/>
                  <a:gd name="T87" fmla="*/ 71 h 156"/>
                  <a:gd name="T88" fmla="*/ 149 w 277"/>
                  <a:gd name="T89" fmla="*/ 69 h 156"/>
                  <a:gd name="T90" fmla="*/ 149 w 277"/>
                  <a:gd name="T91" fmla="*/ 69 h 156"/>
                  <a:gd name="T92" fmla="*/ 168 w 277"/>
                  <a:gd name="T93" fmla="*/ 69 h 156"/>
                  <a:gd name="T94" fmla="*/ 194 w 277"/>
                  <a:gd name="T95" fmla="*/ 76 h 156"/>
                  <a:gd name="T96" fmla="*/ 222 w 277"/>
                  <a:gd name="T97" fmla="*/ 95 h 156"/>
                  <a:gd name="T98" fmla="*/ 236 w 277"/>
                  <a:gd name="T99" fmla="*/ 111 h 156"/>
                  <a:gd name="T100" fmla="*/ 230 w 277"/>
                  <a:gd name="T101" fmla="*/ 99 h 156"/>
                  <a:gd name="T102" fmla="*/ 218 w 277"/>
                  <a:gd name="T103" fmla="*/ 85 h 156"/>
                  <a:gd name="T104" fmla="*/ 194 w 277"/>
                  <a:gd name="T105" fmla="*/ 69 h 156"/>
                  <a:gd name="T106" fmla="*/ 177 w 277"/>
                  <a:gd name="T107" fmla="*/ 64 h 156"/>
                  <a:gd name="T108" fmla="*/ 177 w 277"/>
                  <a:gd name="T109" fmla="*/ 64 h 156"/>
                  <a:gd name="T110" fmla="*/ 222 w 277"/>
                  <a:gd name="T111" fmla="*/ 47 h 156"/>
                  <a:gd name="T112" fmla="*/ 253 w 277"/>
                  <a:gd name="T113" fmla="*/ 26 h 156"/>
                  <a:gd name="T114" fmla="*/ 270 w 277"/>
                  <a:gd name="T115" fmla="*/ 9 h 156"/>
                  <a:gd name="T116" fmla="*/ 277 w 277"/>
                  <a:gd name="T117" fmla="*/ 2 h 156"/>
                  <a:gd name="T118" fmla="*/ 198 w 277"/>
                  <a:gd name="T119" fmla="*/ 50 h 156"/>
                  <a:gd name="T120" fmla="*/ 196 w 277"/>
                  <a:gd name="T121" fmla="*/ 50 h 156"/>
                  <a:gd name="T122" fmla="*/ 198 w 277"/>
                  <a:gd name="T123" fmla="*/ 50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77" h="156">
                    <a:moveTo>
                      <a:pt x="277" y="2"/>
                    </a:moveTo>
                    <a:lnTo>
                      <a:pt x="277" y="2"/>
                    </a:lnTo>
                    <a:lnTo>
                      <a:pt x="272" y="7"/>
                    </a:lnTo>
                    <a:lnTo>
                      <a:pt x="256" y="19"/>
                    </a:lnTo>
                    <a:lnTo>
                      <a:pt x="246" y="28"/>
                    </a:lnTo>
                    <a:lnTo>
                      <a:pt x="232" y="35"/>
                    </a:lnTo>
                    <a:lnTo>
                      <a:pt x="217" y="43"/>
                    </a:lnTo>
                    <a:lnTo>
                      <a:pt x="198" y="50"/>
                    </a:lnTo>
                    <a:lnTo>
                      <a:pt x="198" y="50"/>
                    </a:lnTo>
                    <a:lnTo>
                      <a:pt x="203" y="40"/>
                    </a:lnTo>
                    <a:lnTo>
                      <a:pt x="204" y="31"/>
                    </a:lnTo>
                    <a:lnTo>
                      <a:pt x="206" y="16"/>
                    </a:lnTo>
                    <a:lnTo>
                      <a:pt x="204" y="5"/>
                    </a:lnTo>
                    <a:lnTo>
                      <a:pt x="204" y="0"/>
                    </a:lnTo>
                    <a:lnTo>
                      <a:pt x="204" y="0"/>
                    </a:lnTo>
                    <a:lnTo>
                      <a:pt x="204" y="12"/>
                    </a:lnTo>
                    <a:lnTo>
                      <a:pt x="203" y="24"/>
                    </a:lnTo>
                    <a:lnTo>
                      <a:pt x="199" y="33"/>
                    </a:lnTo>
                    <a:lnTo>
                      <a:pt x="196" y="40"/>
                    </a:lnTo>
                    <a:lnTo>
                      <a:pt x="187" y="50"/>
                    </a:lnTo>
                    <a:lnTo>
                      <a:pt x="184" y="54"/>
                    </a:lnTo>
                    <a:lnTo>
                      <a:pt x="184" y="54"/>
                    </a:lnTo>
                    <a:lnTo>
                      <a:pt x="159" y="59"/>
                    </a:lnTo>
                    <a:lnTo>
                      <a:pt x="132" y="61"/>
                    </a:lnTo>
                    <a:lnTo>
                      <a:pt x="132" y="61"/>
                    </a:lnTo>
                    <a:lnTo>
                      <a:pt x="113" y="62"/>
                    </a:lnTo>
                    <a:lnTo>
                      <a:pt x="113" y="62"/>
                    </a:lnTo>
                    <a:lnTo>
                      <a:pt x="113" y="59"/>
                    </a:lnTo>
                    <a:lnTo>
                      <a:pt x="113" y="59"/>
                    </a:lnTo>
                    <a:lnTo>
                      <a:pt x="116" y="49"/>
                    </a:lnTo>
                    <a:lnTo>
                      <a:pt x="118" y="38"/>
                    </a:lnTo>
                    <a:lnTo>
                      <a:pt x="118" y="30"/>
                    </a:lnTo>
                    <a:lnTo>
                      <a:pt x="118" y="21"/>
                    </a:lnTo>
                    <a:lnTo>
                      <a:pt x="115" y="7"/>
                    </a:lnTo>
                    <a:lnTo>
                      <a:pt x="111" y="4"/>
                    </a:lnTo>
                    <a:lnTo>
                      <a:pt x="111" y="4"/>
                    </a:lnTo>
                    <a:lnTo>
                      <a:pt x="115" y="17"/>
                    </a:lnTo>
                    <a:lnTo>
                      <a:pt x="115" y="31"/>
                    </a:lnTo>
                    <a:lnTo>
                      <a:pt x="113" y="42"/>
                    </a:lnTo>
                    <a:lnTo>
                      <a:pt x="109" y="50"/>
                    </a:lnTo>
                    <a:lnTo>
                      <a:pt x="104" y="61"/>
                    </a:lnTo>
                    <a:lnTo>
                      <a:pt x="101" y="64"/>
                    </a:lnTo>
                    <a:lnTo>
                      <a:pt x="101" y="64"/>
                    </a:lnTo>
                    <a:lnTo>
                      <a:pt x="101" y="64"/>
                    </a:lnTo>
                    <a:lnTo>
                      <a:pt x="101" y="64"/>
                    </a:lnTo>
                    <a:lnTo>
                      <a:pt x="87" y="68"/>
                    </a:lnTo>
                    <a:lnTo>
                      <a:pt x="75" y="71"/>
                    </a:lnTo>
                    <a:lnTo>
                      <a:pt x="54" y="81"/>
                    </a:lnTo>
                    <a:lnTo>
                      <a:pt x="37" y="94"/>
                    </a:lnTo>
                    <a:lnTo>
                      <a:pt x="23" y="107"/>
                    </a:lnTo>
                    <a:lnTo>
                      <a:pt x="12" y="120"/>
                    </a:lnTo>
                    <a:lnTo>
                      <a:pt x="6" y="128"/>
                    </a:lnTo>
                    <a:lnTo>
                      <a:pt x="0" y="139"/>
                    </a:lnTo>
                    <a:lnTo>
                      <a:pt x="0" y="139"/>
                    </a:lnTo>
                    <a:lnTo>
                      <a:pt x="4" y="133"/>
                    </a:lnTo>
                    <a:lnTo>
                      <a:pt x="12" y="123"/>
                    </a:lnTo>
                    <a:lnTo>
                      <a:pt x="28" y="109"/>
                    </a:lnTo>
                    <a:lnTo>
                      <a:pt x="38" y="100"/>
                    </a:lnTo>
                    <a:lnTo>
                      <a:pt x="51" y="94"/>
                    </a:lnTo>
                    <a:lnTo>
                      <a:pt x="51" y="94"/>
                    </a:lnTo>
                    <a:lnTo>
                      <a:pt x="51" y="94"/>
                    </a:lnTo>
                    <a:lnTo>
                      <a:pt x="61" y="92"/>
                    </a:lnTo>
                    <a:lnTo>
                      <a:pt x="71" y="92"/>
                    </a:lnTo>
                    <a:lnTo>
                      <a:pt x="83" y="95"/>
                    </a:lnTo>
                    <a:lnTo>
                      <a:pt x="99" y="102"/>
                    </a:lnTo>
                    <a:lnTo>
                      <a:pt x="108" y="107"/>
                    </a:lnTo>
                    <a:lnTo>
                      <a:pt x="115" y="114"/>
                    </a:lnTo>
                    <a:lnTo>
                      <a:pt x="123" y="121"/>
                    </a:lnTo>
                    <a:lnTo>
                      <a:pt x="132" y="132"/>
                    </a:lnTo>
                    <a:lnTo>
                      <a:pt x="139" y="142"/>
                    </a:lnTo>
                    <a:lnTo>
                      <a:pt x="147" y="156"/>
                    </a:lnTo>
                    <a:lnTo>
                      <a:pt x="147" y="156"/>
                    </a:lnTo>
                    <a:lnTo>
                      <a:pt x="144" y="145"/>
                    </a:lnTo>
                    <a:lnTo>
                      <a:pt x="139" y="137"/>
                    </a:lnTo>
                    <a:lnTo>
                      <a:pt x="132" y="125"/>
                    </a:lnTo>
                    <a:lnTo>
                      <a:pt x="121" y="113"/>
                    </a:lnTo>
                    <a:lnTo>
                      <a:pt x="108" y="100"/>
                    </a:lnTo>
                    <a:lnTo>
                      <a:pt x="99" y="95"/>
                    </a:lnTo>
                    <a:lnTo>
                      <a:pt x="90" y="92"/>
                    </a:lnTo>
                    <a:lnTo>
                      <a:pt x="80" y="88"/>
                    </a:lnTo>
                    <a:lnTo>
                      <a:pt x="68" y="85"/>
                    </a:lnTo>
                    <a:lnTo>
                      <a:pt x="68" y="85"/>
                    </a:lnTo>
                    <a:lnTo>
                      <a:pt x="68" y="85"/>
                    </a:lnTo>
                    <a:lnTo>
                      <a:pt x="82" y="80"/>
                    </a:lnTo>
                    <a:lnTo>
                      <a:pt x="97" y="76"/>
                    </a:lnTo>
                    <a:lnTo>
                      <a:pt x="115" y="73"/>
                    </a:lnTo>
                    <a:lnTo>
                      <a:pt x="134" y="71"/>
                    </a:lnTo>
                    <a:lnTo>
                      <a:pt x="134" y="71"/>
                    </a:lnTo>
                    <a:lnTo>
                      <a:pt x="149" y="69"/>
                    </a:lnTo>
                    <a:lnTo>
                      <a:pt x="149" y="69"/>
                    </a:lnTo>
                    <a:lnTo>
                      <a:pt x="149" y="69"/>
                    </a:lnTo>
                    <a:lnTo>
                      <a:pt x="149" y="69"/>
                    </a:lnTo>
                    <a:lnTo>
                      <a:pt x="158" y="69"/>
                    </a:lnTo>
                    <a:lnTo>
                      <a:pt x="168" y="69"/>
                    </a:lnTo>
                    <a:lnTo>
                      <a:pt x="180" y="73"/>
                    </a:lnTo>
                    <a:lnTo>
                      <a:pt x="194" y="76"/>
                    </a:lnTo>
                    <a:lnTo>
                      <a:pt x="208" y="85"/>
                    </a:lnTo>
                    <a:lnTo>
                      <a:pt x="222" y="95"/>
                    </a:lnTo>
                    <a:lnTo>
                      <a:pt x="236" y="111"/>
                    </a:lnTo>
                    <a:lnTo>
                      <a:pt x="236" y="111"/>
                    </a:lnTo>
                    <a:lnTo>
                      <a:pt x="234" y="106"/>
                    </a:lnTo>
                    <a:lnTo>
                      <a:pt x="230" y="99"/>
                    </a:lnTo>
                    <a:lnTo>
                      <a:pt x="225" y="92"/>
                    </a:lnTo>
                    <a:lnTo>
                      <a:pt x="218" y="85"/>
                    </a:lnTo>
                    <a:lnTo>
                      <a:pt x="208" y="76"/>
                    </a:lnTo>
                    <a:lnTo>
                      <a:pt x="194" y="69"/>
                    </a:lnTo>
                    <a:lnTo>
                      <a:pt x="177" y="64"/>
                    </a:lnTo>
                    <a:lnTo>
                      <a:pt x="177" y="64"/>
                    </a:lnTo>
                    <a:lnTo>
                      <a:pt x="177" y="64"/>
                    </a:lnTo>
                    <a:lnTo>
                      <a:pt x="177" y="64"/>
                    </a:lnTo>
                    <a:lnTo>
                      <a:pt x="201" y="55"/>
                    </a:lnTo>
                    <a:lnTo>
                      <a:pt x="222" y="47"/>
                    </a:lnTo>
                    <a:lnTo>
                      <a:pt x="239" y="36"/>
                    </a:lnTo>
                    <a:lnTo>
                      <a:pt x="253" y="26"/>
                    </a:lnTo>
                    <a:lnTo>
                      <a:pt x="263" y="17"/>
                    </a:lnTo>
                    <a:lnTo>
                      <a:pt x="270" y="9"/>
                    </a:lnTo>
                    <a:lnTo>
                      <a:pt x="277" y="2"/>
                    </a:lnTo>
                    <a:lnTo>
                      <a:pt x="277" y="2"/>
                    </a:lnTo>
                    <a:close/>
                    <a:moveTo>
                      <a:pt x="198" y="50"/>
                    </a:moveTo>
                    <a:lnTo>
                      <a:pt x="198" y="50"/>
                    </a:lnTo>
                    <a:lnTo>
                      <a:pt x="196" y="50"/>
                    </a:lnTo>
                    <a:lnTo>
                      <a:pt x="196" y="50"/>
                    </a:lnTo>
                    <a:lnTo>
                      <a:pt x="198" y="50"/>
                    </a:lnTo>
                    <a:lnTo>
                      <a:pt x="198" y="50"/>
                    </a:lnTo>
                    <a:close/>
                  </a:path>
                </a:pathLst>
              </a:custGeom>
              <a:solidFill>
                <a:srgbClr val="8AB3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0" name="Freeform 1071">
                <a:extLst>
                  <a:ext uri="{FF2B5EF4-FFF2-40B4-BE49-F238E27FC236}">
                    <a16:creationId xmlns:a16="http://schemas.microsoft.com/office/drawing/2014/main" id="{C3FBEB8E-7788-4572-888E-D6FBF8C910CC}"/>
                  </a:ext>
                </a:extLst>
              </p:cNvPr>
              <p:cNvSpPr>
                <a:spLocks/>
              </p:cNvSpPr>
              <p:nvPr/>
            </p:nvSpPr>
            <p:spPr bwMode="auto">
              <a:xfrm>
                <a:off x="5606158" y="3480722"/>
                <a:ext cx="469881" cy="365461"/>
              </a:xfrm>
              <a:custGeom>
                <a:avLst/>
                <a:gdLst>
                  <a:gd name="T0" fmla="*/ 304 w 304"/>
                  <a:gd name="T1" fmla="*/ 205 h 237"/>
                  <a:gd name="T2" fmla="*/ 304 w 304"/>
                  <a:gd name="T3" fmla="*/ 205 h 237"/>
                  <a:gd name="T4" fmla="*/ 301 w 304"/>
                  <a:gd name="T5" fmla="*/ 179 h 237"/>
                  <a:gd name="T6" fmla="*/ 294 w 304"/>
                  <a:gd name="T7" fmla="*/ 152 h 237"/>
                  <a:gd name="T8" fmla="*/ 285 w 304"/>
                  <a:gd name="T9" fmla="*/ 119 h 237"/>
                  <a:gd name="T10" fmla="*/ 278 w 304"/>
                  <a:gd name="T11" fmla="*/ 103 h 237"/>
                  <a:gd name="T12" fmla="*/ 271 w 304"/>
                  <a:gd name="T13" fmla="*/ 88 h 237"/>
                  <a:gd name="T14" fmla="*/ 262 w 304"/>
                  <a:gd name="T15" fmla="*/ 74 h 237"/>
                  <a:gd name="T16" fmla="*/ 252 w 304"/>
                  <a:gd name="T17" fmla="*/ 62 h 237"/>
                  <a:gd name="T18" fmla="*/ 240 w 304"/>
                  <a:gd name="T19" fmla="*/ 51 h 237"/>
                  <a:gd name="T20" fmla="*/ 228 w 304"/>
                  <a:gd name="T21" fmla="*/ 43 h 237"/>
                  <a:gd name="T22" fmla="*/ 212 w 304"/>
                  <a:gd name="T23" fmla="*/ 38 h 237"/>
                  <a:gd name="T24" fmla="*/ 197 w 304"/>
                  <a:gd name="T25" fmla="*/ 38 h 237"/>
                  <a:gd name="T26" fmla="*/ 197 w 304"/>
                  <a:gd name="T27" fmla="*/ 38 h 237"/>
                  <a:gd name="T28" fmla="*/ 160 w 304"/>
                  <a:gd name="T29" fmla="*/ 38 h 237"/>
                  <a:gd name="T30" fmla="*/ 128 w 304"/>
                  <a:gd name="T31" fmla="*/ 38 h 237"/>
                  <a:gd name="T32" fmla="*/ 95 w 304"/>
                  <a:gd name="T33" fmla="*/ 36 h 237"/>
                  <a:gd name="T34" fmla="*/ 67 w 304"/>
                  <a:gd name="T35" fmla="*/ 31 h 237"/>
                  <a:gd name="T36" fmla="*/ 41 w 304"/>
                  <a:gd name="T37" fmla="*/ 25 h 237"/>
                  <a:gd name="T38" fmla="*/ 22 w 304"/>
                  <a:gd name="T39" fmla="*/ 17 h 237"/>
                  <a:gd name="T40" fmla="*/ 13 w 304"/>
                  <a:gd name="T41" fmla="*/ 13 h 237"/>
                  <a:gd name="T42" fmla="*/ 8 w 304"/>
                  <a:gd name="T43" fmla="*/ 8 h 237"/>
                  <a:gd name="T44" fmla="*/ 3 w 304"/>
                  <a:gd name="T45" fmla="*/ 5 h 237"/>
                  <a:gd name="T46" fmla="*/ 0 w 304"/>
                  <a:gd name="T47" fmla="*/ 0 h 237"/>
                  <a:gd name="T48" fmla="*/ 0 w 304"/>
                  <a:gd name="T49" fmla="*/ 0 h 237"/>
                  <a:gd name="T50" fmla="*/ 3 w 304"/>
                  <a:gd name="T51" fmla="*/ 24 h 237"/>
                  <a:gd name="T52" fmla="*/ 8 w 304"/>
                  <a:gd name="T53" fmla="*/ 50 h 237"/>
                  <a:gd name="T54" fmla="*/ 17 w 304"/>
                  <a:gd name="T55" fmla="*/ 81 h 237"/>
                  <a:gd name="T56" fmla="*/ 29 w 304"/>
                  <a:gd name="T57" fmla="*/ 115 h 237"/>
                  <a:gd name="T58" fmla="*/ 38 w 304"/>
                  <a:gd name="T59" fmla="*/ 133 h 237"/>
                  <a:gd name="T60" fmla="*/ 46 w 304"/>
                  <a:gd name="T61" fmla="*/ 150 h 237"/>
                  <a:gd name="T62" fmla="*/ 58 w 304"/>
                  <a:gd name="T63" fmla="*/ 166 h 237"/>
                  <a:gd name="T64" fmla="*/ 70 w 304"/>
                  <a:gd name="T65" fmla="*/ 181 h 237"/>
                  <a:gd name="T66" fmla="*/ 84 w 304"/>
                  <a:gd name="T67" fmla="*/ 195 h 237"/>
                  <a:gd name="T68" fmla="*/ 100 w 304"/>
                  <a:gd name="T69" fmla="*/ 207 h 237"/>
                  <a:gd name="T70" fmla="*/ 100 w 304"/>
                  <a:gd name="T71" fmla="*/ 207 h 237"/>
                  <a:gd name="T72" fmla="*/ 119 w 304"/>
                  <a:gd name="T73" fmla="*/ 219 h 237"/>
                  <a:gd name="T74" fmla="*/ 136 w 304"/>
                  <a:gd name="T75" fmla="*/ 226 h 237"/>
                  <a:gd name="T76" fmla="*/ 155 w 304"/>
                  <a:gd name="T77" fmla="*/ 231 h 237"/>
                  <a:gd name="T78" fmla="*/ 173 w 304"/>
                  <a:gd name="T79" fmla="*/ 235 h 237"/>
                  <a:gd name="T80" fmla="*/ 192 w 304"/>
                  <a:gd name="T81" fmla="*/ 237 h 237"/>
                  <a:gd name="T82" fmla="*/ 207 w 304"/>
                  <a:gd name="T83" fmla="*/ 237 h 237"/>
                  <a:gd name="T84" fmla="*/ 224 w 304"/>
                  <a:gd name="T85" fmla="*/ 235 h 237"/>
                  <a:gd name="T86" fmla="*/ 238 w 304"/>
                  <a:gd name="T87" fmla="*/ 231 h 237"/>
                  <a:gd name="T88" fmla="*/ 266 w 304"/>
                  <a:gd name="T89" fmla="*/ 224 h 237"/>
                  <a:gd name="T90" fmla="*/ 287 w 304"/>
                  <a:gd name="T91" fmla="*/ 216 h 237"/>
                  <a:gd name="T92" fmla="*/ 304 w 304"/>
                  <a:gd name="T93" fmla="*/ 205 h 237"/>
                  <a:gd name="T94" fmla="*/ 304 w 304"/>
                  <a:gd name="T95" fmla="*/ 205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04" h="237">
                    <a:moveTo>
                      <a:pt x="304" y="205"/>
                    </a:moveTo>
                    <a:lnTo>
                      <a:pt x="304" y="205"/>
                    </a:lnTo>
                    <a:lnTo>
                      <a:pt x="301" y="179"/>
                    </a:lnTo>
                    <a:lnTo>
                      <a:pt x="294" y="152"/>
                    </a:lnTo>
                    <a:lnTo>
                      <a:pt x="285" y="119"/>
                    </a:lnTo>
                    <a:lnTo>
                      <a:pt x="278" y="103"/>
                    </a:lnTo>
                    <a:lnTo>
                      <a:pt x="271" y="88"/>
                    </a:lnTo>
                    <a:lnTo>
                      <a:pt x="262" y="74"/>
                    </a:lnTo>
                    <a:lnTo>
                      <a:pt x="252" y="62"/>
                    </a:lnTo>
                    <a:lnTo>
                      <a:pt x="240" y="51"/>
                    </a:lnTo>
                    <a:lnTo>
                      <a:pt x="228" y="43"/>
                    </a:lnTo>
                    <a:lnTo>
                      <a:pt x="212" y="38"/>
                    </a:lnTo>
                    <a:lnTo>
                      <a:pt x="197" y="38"/>
                    </a:lnTo>
                    <a:lnTo>
                      <a:pt x="197" y="38"/>
                    </a:lnTo>
                    <a:lnTo>
                      <a:pt x="160" y="38"/>
                    </a:lnTo>
                    <a:lnTo>
                      <a:pt x="128" y="38"/>
                    </a:lnTo>
                    <a:lnTo>
                      <a:pt x="95" y="36"/>
                    </a:lnTo>
                    <a:lnTo>
                      <a:pt x="67" y="31"/>
                    </a:lnTo>
                    <a:lnTo>
                      <a:pt x="41" y="25"/>
                    </a:lnTo>
                    <a:lnTo>
                      <a:pt x="22" y="17"/>
                    </a:lnTo>
                    <a:lnTo>
                      <a:pt x="13" y="13"/>
                    </a:lnTo>
                    <a:lnTo>
                      <a:pt x="8" y="8"/>
                    </a:lnTo>
                    <a:lnTo>
                      <a:pt x="3" y="5"/>
                    </a:lnTo>
                    <a:lnTo>
                      <a:pt x="0" y="0"/>
                    </a:lnTo>
                    <a:lnTo>
                      <a:pt x="0" y="0"/>
                    </a:lnTo>
                    <a:lnTo>
                      <a:pt x="3" y="24"/>
                    </a:lnTo>
                    <a:lnTo>
                      <a:pt x="8" y="50"/>
                    </a:lnTo>
                    <a:lnTo>
                      <a:pt x="17" y="81"/>
                    </a:lnTo>
                    <a:lnTo>
                      <a:pt x="29" y="115"/>
                    </a:lnTo>
                    <a:lnTo>
                      <a:pt x="38" y="133"/>
                    </a:lnTo>
                    <a:lnTo>
                      <a:pt x="46" y="150"/>
                    </a:lnTo>
                    <a:lnTo>
                      <a:pt x="58" y="166"/>
                    </a:lnTo>
                    <a:lnTo>
                      <a:pt x="70" y="181"/>
                    </a:lnTo>
                    <a:lnTo>
                      <a:pt x="84" y="195"/>
                    </a:lnTo>
                    <a:lnTo>
                      <a:pt x="100" y="207"/>
                    </a:lnTo>
                    <a:lnTo>
                      <a:pt x="100" y="207"/>
                    </a:lnTo>
                    <a:lnTo>
                      <a:pt x="119" y="219"/>
                    </a:lnTo>
                    <a:lnTo>
                      <a:pt x="136" y="226"/>
                    </a:lnTo>
                    <a:lnTo>
                      <a:pt x="155" y="231"/>
                    </a:lnTo>
                    <a:lnTo>
                      <a:pt x="173" y="235"/>
                    </a:lnTo>
                    <a:lnTo>
                      <a:pt x="192" y="237"/>
                    </a:lnTo>
                    <a:lnTo>
                      <a:pt x="207" y="237"/>
                    </a:lnTo>
                    <a:lnTo>
                      <a:pt x="224" y="235"/>
                    </a:lnTo>
                    <a:lnTo>
                      <a:pt x="238" y="231"/>
                    </a:lnTo>
                    <a:lnTo>
                      <a:pt x="266" y="224"/>
                    </a:lnTo>
                    <a:lnTo>
                      <a:pt x="287" y="216"/>
                    </a:lnTo>
                    <a:lnTo>
                      <a:pt x="304" y="205"/>
                    </a:lnTo>
                    <a:lnTo>
                      <a:pt x="304" y="205"/>
                    </a:lnTo>
                    <a:close/>
                  </a:path>
                </a:pathLst>
              </a:custGeom>
              <a:solidFill>
                <a:srgbClr val="A0CD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1" name="Freeform 1072">
                <a:extLst>
                  <a:ext uri="{FF2B5EF4-FFF2-40B4-BE49-F238E27FC236}">
                    <a16:creationId xmlns:a16="http://schemas.microsoft.com/office/drawing/2014/main" id="{A7002F02-B9BD-4DAD-99BE-C16F45B3FA73}"/>
                  </a:ext>
                </a:extLst>
              </p:cNvPr>
              <p:cNvSpPr>
                <a:spLocks noEditPoints="1"/>
              </p:cNvSpPr>
              <p:nvPr/>
            </p:nvSpPr>
            <p:spPr bwMode="auto">
              <a:xfrm>
                <a:off x="5664508" y="3563643"/>
                <a:ext cx="411528" cy="248759"/>
              </a:xfrm>
              <a:custGeom>
                <a:avLst/>
                <a:gdLst>
                  <a:gd name="T0" fmla="*/ 96 w 266"/>
                  <a:gd name="T1" fmla="*/ 68 h 161"/>
                  <a:gd name="T2" fmla="*/ 96 w 266"/>
                  <a:gd name="T3" fmla="*/ 68 h 161"/>
                  <a:gd name="T4" fmla="*/ 64 w 266"/>
                  <a:gd name="T5" fmla="*/ 80 h 161"/>
                  <a:gd name="T6" fmla="*/ 45 w 266"/>
                  <a:gd name="T7" fmla="*/ 94 h 161"/>
                  <a:gd name="T8" fmla="*/ 36 w 266"/>
                  <a:gd name="T9" fmla="*/ 106 h 161"/>
                  <a:gd name="T10" fmla="*/ 34 w 266"/>
                  <a:gd name="T11" fmla="*/ 111 h 161"/>
                  <a:gd name="T12" fmla="*/ 64 w 266"/>
                  <a:gd name="T13" fmla="*/ 87 h 161"/>
                  <a:gd name="T14" fmla="*/ 91 w 266"/>
                  <a:gd name="T15" fmla="*/ 76 h 161"/>
                  <a:gd name="T16" fmla="*/ 114 w 266"/>
                  <a:gd name="T17" fmla="*/ 75 h 161"/>
                  <a:gd name="T18" fmla="*/ 122 w 266"/>
                  <a:gd name="T19" fmla="*/ 75 h 161"/>
                  <a:gd name="T20" fmla="*/ 122 w 266"/>
                  <a:gd name="T21" fmla="*/ 75 h 161"/>
                  <a:gd name="T22" fmla="*/ 138 w 266"/>
                  <a:gd name="T23" fmla="*/ 76 h 161"/>
                  <a:gd name="T24" fmla="*/ 174 w 266"/>
                  <a:gd name="T25" fmla="*/ 85 h 161"/>
                  <a:gd name="T26" fmla="*/ 202 w 266"/>
                  <a:gd name="T27" fmla="*/ 95 h 161"/>
                  <a:gd name="T28" fmla="*/ 202 w 266"/>
                  <a:gd name="T29" fmla="*/ 95 h 161"/>
                  <a:gd name="T30" fmla="*/ 181 w 266"/>
                  <a:gd name="T31" fmla="*/ 100 h 161"/>
                  <a:gd name="T32" fmla="*/ 162 w 266"/>
                  <a:gd name="T33" fmla="*/ 109 h 161"/>
                  <a:gd name="T34" fmla="*/ 138 w 266"/>
                  <a:gd name="T35" fmla="*/ 132 h 161"/>
                  <a:gd name="T36" fmla="*/ 124 w 266"/>
                  <a:gd name="T37" fmla="*/ 152 h 161"/>
                  <a:gd name="T38" fmla="*/ 121 w 266"/>
                  <a:gd name="T39" fmla="*/ 161 h 161"/>
                  <a:gd name="T40" fmla="*/ 136 w 266"/>
                  <a:gd name="T41" fmla="*/ 137 h 161"/>
                  <a:gd name="T42" fmla="*/ 154 w 266"/>
                  <a:gd name="T43" fmla="*/ 121 h 161"/>
                  <a:gd name="T44" fmla="*/ 171 w 266"/>
                  <a:gd name="T45" fmla="*/ 111 h 161"/>
                  <a:gd name="T46" fmla="*/ 200 w 266"/>
                  <a:gd name="T47" fmla="*/ 104 h 161"/>
                  <a:gd name="T48" fmla="*/ 219 w 266"/>
                  <a:gd name="T49" fmla="*/ 104 h 161"/>
                  <a:gd name="T50" fmla="*/ 219 w 266"/>
                  <a:gd name="T51" fmla="*/ 104 h 161"/>
                  <a:gd name="T52" fmla="*/ 242 w 266"/>
                  <a:gd name="T53" fmla="*/ 121 h 161"/>
                  <a:gd name="T54" fmla="*/ 264 w 266"/>
                  <a:gd name="T55" fmla="*/ 149 h 161"/>
                  <a:gd name="T56" fmla="*/ 266 w 266"/>
                  <a:gd name="T57" fmla="*/ 152 h 161"/>
                  <a:gd name="T58" fmla="*/ 256 w 266"/>
                  <a:gd name="T59" fmla="*/ 133 h 161"/>
                  <a:gd name="T60" fmla="*/ 233 w 266"/>
                  <a:gd name="T61" fmla="*/ 107 h 161"/>
                  <a:gd name="T62" fmla="*/ 197 w 266"/>
                  <a:gd name="T63" fmla="*/ 81 h 161"/>
                  <a:gd name="T64" fmla="*/ 171 w 266"/>
                  <a:gd name="T65" fmla="*/ 73 h 161"/>
                  <a:gd name="T66" fmla="*/ 171 w 266"/>
                  <a:gd name="T67" fmla="*/ 73 h 161"/>
                  <a:gd name="T68" fmla="*/ 169 w 266"/>
                  <a:gd name="T69" fmla="*/ 69 h 161"/>
                  <a:gd name="T70" fmla="*/ 162 w 266"/>
                  <a:gd name="T71" fmla="*/ 49 h 161"/>
                  <a:gd name="T72" fmla="*/ 162 w 266"/>
                  <a:gd name="T73" fmla="*/ 26 h 161"/>
                  <a:gd name="T74" fmla="*/ 164 w 266"/>
                  <a:gd name="T75" fmla="*/ 11 h 161"/>
                  <a:gd name="T76" fmla="*/ 159 w 266"/>
                  <a:gd name="T77" fmla="*/ 28 h 161"/>
                  <a:gd name="T78" fmla="*/ 155 w 266"/>
                  <a:gd name="T79" fmla="*/ 47 h 161"/>
                  <a:gd name="T80" fmla="*/ 160 w 266"/>
                  <a:gd name="T81" fmla="*/ 68 h 161"/>
                  <a:gd name="T82" fmla="*/ 160 w 266"/>
                  <a:gd name="T83" fmla="*/ 69 h 161"/>
                  <a:gd name="T84" fmla="*/ 141 w 266"/>
                  <a:gd name="T85" fmla="*/ 68 h 161"/>
                  <a:gd name="T86" fmla="*/ 114 w 266"/>
                  <a:gd name="T87" fmla="*/ 62 h 161"/>
                  <a:gd name="T88" fmla="*/ 90 w 266"/>
                  <a:gd name="T89" fmla="*/ 57 h 161"/>
                  <a:gd name="T90" fmla="*/ 79 w 266"/>
                  <a:gd name="T91" fmla="*/ 43 h 161"/>
                  <a:gd name="T92" fmla="*/ 74 w 266"/>
                  <a:gd name="T93" fmla="*/ 26 h 161"/>
                  <a:gd name="T94" fmla="*/ 72 w 266"/>
                  <a:gd name="T95" fmla="*/ 2 h 161"/>
                  <a:gd name="T96" fmla="*/ 71 w 266"/>
                  <a:gd name="T97" fmla="*/ 7 h 161"/>
                  <a:gd name="T98" fmla="*/ 71 w 266"/>
                  <a:gd name="T99" fmla="*/ 35 h 161"/>
                  <a:gd name="T100" fmla="*/ 76 w 266"/>
                  <a:gd name="T101" fmla="*/ 52 h 161"/>
                  <a:gd name="T102" fmla="*/ 57 w 266"/>
                  <a:gd name="T103" fmla="*/ 43 h 161"/>
                  <a:gd name="T104" fmla="*/ 29 w 266"/>
                  <a:gd name="T105" fmla="*/ 28 h 161"/>
                  <a:gd name="T106" fmla="*/ 5 w 266"/>
                  <a:gd name="T107" fmla="*/ 5 h 161"/>
                  <a:gd name="T108" fmla="*/ 0 w 266"/>
                  <a:gd name="T109" fmla="*/ 0 h 161"/>
                  <a:gd name="T110" fmla="*/ 12 w 266"/>
                  <a:gd name="T111" fmla="*/ 16 h 161"/>
                  <a:gd name="T112" fmla="*/ 36 w 266"/>
                  <a:gd name="T113" fmla="*/ 36 h 161"/>
                  <a:gd name="T114" fmla="*/ 72 w 266"/>
                  <a:gd name="T115" fmla="*/ 59 h 161"/>
                  <a:gd name="T116" fmla="*/ 96 w 266"/>
                  <a:gd name="T117" fmla="*/ 68 h 161"/>
                  <a:gd name="T118" fmla="*/ 77 w 266"/>
                  <a:gd name="T119" fmla="*/ 54 h 161"/>
                  <a:gd name="T120" fmla="*/ 77 w 266"/>
                  <a:gd name="T121" fmla="*/ 52 h 161"/>
                  <a:gd name="T122" fmla="*/ 77 w 266"/>
                  <a:gd name="T123" fmla="*/ 54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66" h="161">
                    <a:moveTo>
                      <a:pt x="96" y="68"/>
                    </a:moveTo>
                    <a:lnTo>
                      <a:pt x="96" y="68"/>
                    </a:lnTo>
                    <a:lnTo>
                      <a:pt x="96" y="68"/>
                    </a:lnTo>
                    <a:lnTo>
                      <a:pt x="96" y="68"/>
                    </a:lnTo>
                    <a:lnTo>
                      <a:pt x="77" y="73"/>
                    </a:lnTo>
                    <a:lnTo>
                      <a:pt x="64" y="80"/>
                    </a:lnTo>
                    <a:lnTo>
                      <a:pt x="53" y="87"/>
                    </a:lnTo>
                    <a:lnTo>
                      <a:pt x="45" y="94"/>
                    </a:lnTo>
                    <a:lnTo>
                      <a:pt x="39" y="100"/>
                    </a:lnTo>
                    <a:lnTo>
                      <a:pt x="36" y="106"/>
                    </a:lnTo>
                    <a:lnTo>
                      <a:pt x="34" y="111"/>
                    </a:lnTo>
                    <a:lnTo>
                      <a:pt x="34" y="111"/>
                    </a:lnTo>
                    <a:lnTo>
                      <a:pt x="48" y="97"/>
                    </a:lnTo>
                    <a:lnTo>
                      <a:pt x="64" y="87"/>
                    </a:lnTo>
                    <a:lnTo>
                      <a:pt x="77" y="80"/>
                    </a:lnTo>
                    <a:lnTo>
                      <a:pt x="91" y="76"/>
                    </a:lnTo>
                    <a:lnTo>
                      <a:pt x="103" y="75"/>
                    </a:lnTo>
                    <a:lnTo>
                      <a:pt x="114" y="75"/>
                    </a:lnTo>
                    <a:lnTo>
                      <a:pt x="122" y="75"/>
                    </a:lnTo>
                    <a:lnTo>
                      <a:pt x="122" y="75"/>
                    </a:lnTo>
                    <a:lnTo>
                      <a:pt x="122" y="75"/>
                    </a:lnTo>
                    <a:lnTo>
                      <a:pt x="122" y="75"/>
                    </a:lnTo>
                    <a:lnTo>
                      <a:pt x="138" y="76"/>
                    </a:lnTo>
                    <a:lnTo>
                      <a:pt x="138" y="76"/>
                    </a:lnTo>
                    <a:lnTo>
                      <a:pt x="157" y="80"/>
                    </a:lnTo>
                    <a:lnTo>
                      <a:pt x="174" y="85"/>
                    </a:lnTo>
                    <a:lnTo>
                      <a:pt x="190" y="90"/>
                    </a:lnTo>
                    <a:lnTo>
                      <a:pt x="202" y="95"/>
                    </a:lnTo>
                    <a:lnTo>
                      <a:pt x="202" y="95"/>
                    </a:lnTo>
                    <a:lnTo>
                      <a:pt x="202" y="95"/>
                    </a:lnTo>
                    <a:lnTo>
                      <a:pt x="192" y="97"/>
                    </a:lnTo>
                    <a:lnTo>
                      <a:pt x="181" y="100"/>
                    </a:lnTo>
                    <a:lnTo>
                      <a:pt x="171" y="104"/>
                    </a:lnTo>
                    <a:lnTo>
                      <a:pt x="162" y="109"/>
                    </a:lnTo>
                    <a:lnTo>
                      <a:pt x="148" y="120"/>
                    </a:lnTo>
                    <a:lnTo>
                      <a:pt x="138" y="132"/>
                    </a:lnTo>
                    <a:lnTo>
                      <a:pt x="129" y="142"/>
                    </a:lnTo>
                    <a:lnTo>
                      <a:pt x="124" y="152"/>
                    </a:lnTo>
                    <a:lnTo>
                      <a:pt x="121" y="161"/>
                    </a:lnTo>
                    <a:lnTo>
                      <a:pt x="121" y="161"/>
                    </a:lnTo>
                    <a:lnTo>
                      <a:pt x="128" y="149"/>
                    </a:lnTo>
                    <a:lnTo>
                      <a:pt x="136" y="137"/>
                    </a:lnTo>
                    <a:lnTo>
                      <a:pt x="145" y="128"/>
                    </a:lnTo>
                    <a:lnTo>
                      <a:pt x="154" y="121"/>
                    </a:lnTo>
                    <a:lnTo>
                      <a:pt x="162" y="116"/>
                    </a:lnTo>
                    <a:lnTo>
                      <a:pt x="171" y="111"/>
                    </a:lnTo>
                    <a:lnTo>
                      <a:pt x="186" y="106"/>
                    </a:lnTo>
                    <a:lnTo>
                      <a:pt x="200" y="104"/>
                    </a:lnTo>
                    <a:lnTo>
                      <a:pt x="211" y="104"/>
                    </a:lnTo>
                    <a:lnTo>
                      <a:pt x="219" y="104"/>
                    </a:lnTo>
                    <a:lnTo>
                      <a:pt x="219" y="104"/>
                    </a:lnTo>
                    <a:lnTo>
                      <a:pt x="219" y="104"/>
                    </a:lnTo>
                    <a:lnTo>
                      <a:pt x="231" y="113"/>
                    </a:lnTo>
                    <a:lnTo>
                      <a:pt x="242" y="121"/>
                    </a:lnTo>
                    <a:lnTo>
                      <a:pt x="256" y="137"/>
                    </a:lnTo>
                    <a:lnTo>
                      <a:pt x="264" y="149"/>
                    </a:lnTo>
                    <a:lnTo>
                      <a:pt x="266" y="152"/>
                    </a:lnTo>
                    <a:lnTo>
                      <a:pt x="266" y="152"/>
                    </a:lnTo>
                    <a:lnTo>
                      <a:pt x="263" y="144"/>
                    </a:lnTo>
                    <a:lnTo>
                      <a:pt x="256" y="133"/>
                    </a:lnTo>
                    <a:lnTo>
                      <a:pt x="247" y="121"/>
                    </a:lnTo>
                    <a:lnTo>
                      <a:pt x="233" y="107"/>
                    </a:lnTo>
                    <a:lnTo>
                      <a:pt x="218" y="94"/>
                    </a:lnTo>
                    <a:lnTo>
                      <a:pt x="197" y="81"/>
                    </a:lnTo>
                    <a:lnTo>
                      <a:pt x="185" y="76"/>
                    </a:lnTo>
                    <a:lnTo>
                      <a:pt x="171" y="73"/>
                    </a:lnTo>
                    <a:lnTo>
                      <a:pt x="171" y="73"/>
                    </a:lnTo>
                    <a:lnTo>
                      <a:pt x="171" y="73"/>
                    </a:lnTo>
                    <a:lnTo>
                      <a:pt x="171" y="73"/>
                    </a:lnTo>
                    <a:lnTo>
                      <a:pt x="169" y="69"/>
                    </a:lnTo>
                    <a:lnTo>
                      <a:pt x="164" y="57"/>
                    </a:lnTo>
                    <a:lnTo>
                      <a:pt x="162" y="49"/>
                    </a:lnTo>
                    <a:lnTo>
                      <a:pt x="160" y="38"/>
                    </a:lnTo>
                    <a:lnTo>
                      <a:pt x="162" y="26"/>
                    </a:lnTo>
                    <a:lnTo>
                      <a:pt x="164" y="11"/>
                    </a:lnTo>
                    <a:lnTo>
                      <a:pt x="164" y="11"/>
                    </a:lnTo>
                    <a:lnTo>
                      <a:pt x="162" y="16"/>
                    </a:lnTo>
                    <a:lnTo>
                      <a:pt x="159" y="28"/>
                    </a:lnTo>
                    <a:lnTo>
                      <a:pt x="157" y="36"/>
                    </a:lnTo>
                    <a:lnTo>
                      <a:pt x="155" y="47"/>
                    </a:lnTo>
                    <a:lnTo>
                      <a:pt x="157" y="57"/>
                    </a:lnTo>
                    <a:lnTo>
                      <a:pt x="160" y="68"/>
                    </a:lnTo>
                    <a:lnTo>
                      <a:pt x="160" y="68"/>
                    </a:lnTo>
                    <a:lnTo>
                      <a:pt x="160" y="69"/>
                    </a:lnTo>
                    <a:lnTo>
                      <a:pt x="160" y="69"/>
                    </a:lnTo>
                    <a:lnTo>
                      <a:pt x="141" y="68"/>
                    </a:lnTo>
                    <a:lnTo>
                      <a:pt x="141" y="68"/>
                    </a:lnTo>
                    <a:lnTo>
                      <a:pt x="114" y="62"/>
                    </a:lnTo>
                    <a:lnTo>
                      <a:pt x="90" y="57"/>
                    </a:lnTo>
                    <a:lnTo>
                      <a:pt x="90" y="57"/>
                    </a:lnTo>
                    <a:lnTo>
                      <a:pt x="86" y="54"/>
                    </a:lnTo>
                    <a:lnTo>
                      <a:pt x="79" y="43"/>
                    </a:lnTo>
                    <a:lnTo>
                      <a:pt x="76" y="36"/>
                    </a:lnTo>
                    <a:lnTo>
                      <a:pt x="74" y="26"/>
                    </a:lnTo>
                    <a:lnTo>
                      <a:pt x="72" y="16"/>
                    </a:lnTo>
                    <a:lnTo>
                      <a:pt x="72" y="2"/>
                    </a:lnTo>
                    <a:lnTo>
                      <a:pt x="72" y="2"/>
                    </a:lnTo>
                    <a:lnTo>
                      <a:pt x="71" y="7"/>
                    </a:lnTo>
                    <a:lnTo>
                      <a:pt x="69" y="17"/>
                    </a:lnTo>
                    <a:lnTo>
                      <a:pt x="71" y="35"/>
                    </a:lnTo>
                    <a:lnTo>
                      <a:pt x="72" y="43"/>
                    </a:lnTo>
                    <a:lnTo>
                      <a:pt x="76" y="52"/>
                    </a:lnTo>
                    <a:lnTo>
                      <a:pt x="76" y="52"/>
                    </a:lnTo>
                    <a:lnTo>
                      <a:pt x="57" y="43"/>
                    </a:lnTo>
                    <a:lnTo>
                      <a:pt x="43" y="36"/>
                    </a:lnTo>
                    <a:lnTo>
                      <a:pt x="29" y="28"/>
                    </a:lnTo>
                    <a:lnTo>
                      <a:pt x="19" y="19"/>
                    </a:lnTo>
                    <a:lnTo>
                      <a:pt x="5" y="5"/>
                    </a:lnTo>
                    <a:lnTo>
                      <a:pt x="0" y="0"/>
                    </a:lnTo>
                    <a:lnTo>
                      <a:pt x="0" y="0"/>
                    </a:lnTo>
                    <a:lnTo>
                      <a:pt x="5" y="7"/>
                    </a:lnTo>
                    <a:lnTo>
                      <a:pt x="12" y="16"/>
                    </a:lnTo>
                    <a:lnTo>
                      <a:pt x="22" y="26"/>
                    </a:lnTo>
                    <a:lnTo>
                      <a:pt x="36" y="36"/>
                    </a:lnTo>
                    <a:lnTo>
                      <a:pt x="52" y="49"/>
                    </a:lnTo>
                    <a:lnTo>
                      <a:pt x="72" y="59"/>
                    </a:lnTo>
                    <a:lnTo>
                      <a:pt x="96" y="68"/>
                    </a:lnTo>
                    <a:lnTo>
                      <a:pt x="96" y="68"/>
                    </a:lnTo>
                    <a:close/>
                    <a:moveTo>
                      <a:pt x="77" y="54"/>
                    </a:moveTo>
                    <a:lnTo>
                      <a:pt x="77" y="54"/>
                    </a:lnTo>
                    <a:lnTo>
                      <a:pt x="77" y="52"/>
                    </a:lnTo>
                    <a:lnTo>
                      <a:pt x="77" y="52"/>
                    </a:lnTo>
                    <a:lnTo>
                      <a:pt x="77" y="54"/>
                    </a:lnTo>
                    <a:lnTo>
                      <a:pt x="77" y="54"/>
                    </a:lnTo>
                    <a:close/>
                  </a:path>
                </a:pathLst>
              </a:custGeom>
              <a:solidFill>
                <a:srgbClr val="8AB3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2" name="Freeform 1073">
                <a:extLst>
                  <a:ext uri="{FF2B5EF4-FFF2-40B4-BE49-F238E27FC236}">
                    <a16:creationId xmlns:a16="http://schemas.microsoft.com/office/drawing/2014/main" id="{D38DB92F-92F3-4717-96C1-54382812AC16}"/>
                  </a:ext>
                </a:extLst>
              </p:cNvPr>
              <p:cNvSpPr>
                <a:spLocks/>
              </p:cNvSpPr>
              <p:nvPr/>
            </p:nvSpPr>
            <p:spPr bwMode="auto">
              <a:xfrm>
                <a:off x="5707503" y="1791612"/>
                <a:ext cx="506734" cy="893692"/>
              </a:xfrm>
              <a:custGeom>
                <a:avLst/>
                <a:gdLst>
                  <a:gd name="T0" fmla="*/ 85 w 331"/>
                  <a:gd name="T1" fmla="*/ 0 h 581"/>
                  <a:gd name="T2" fmla="*/ 85 w 331"/>
                  <a:gd name="T3" fmla="*/ 0 h 581"/>
                  <a:gd name="T4" fmla="*/ 108 w 331"/>
                  <a:gd name="T5" fmla="*/ 17 h 581"/>
                  <a:gd name="T6" fmla="*/ 130 w 331"/>
                  <a:gd name="T7" fmla="*/ 33 h 581"/>
                  <a:gd name="T8" fmla="*/ 151 w 331"/>
                  <a:gd name="T9" fmla="*/ 50 h 581"/>
                  <a:gd name="T10" fmla="*/ 172 w 331"/>
                  <a:gd name="T11" fmla="*/ 69 h 581"/>
                  <a:gd name="T12" fmla="*/ 191 w 331"/>
                  <a:gd name="T13" fmla="*/ 88 h 581"/>
                  <a:gd name="T14" fmla="*/ 210 w 331"/>
                  <a:gd name="T15" fmla="*/ 109 h 581"/>
                  <a:gd name="T16" fmla="*/ 229 w 331"/>
                  <a:gd name="T17" fmla="*/ 130 h 581"/>
                  <a:gd name="T18" fmla="*/ 244 w 331"/>
                  <a:gd name="T19" fmla="*/ 151 h 581"/>
                  <a:gd name="T20" fmla="*/ 260 w 331"/>
                  <a:gd name="T21" fmla="*/ 173 h 581"/>
                  <a:gd name="T22" fmla="*/ 275 w 331"/>
                  <a:gd name="T23" fmla="*/ 196 h 581"/>
                  <a:gd name="T24" fmla="*/ 287 w 331"/>
                  <a:gd name="T25" fmla="*/ 220 h 581"/>
                  <a:gd name="T26" fmla="*/ 300 w 331"/>
                  <a:gd name="T27" fmla="*/ 244 h 581"/>
                  <a:gd name="T28" fmla="*/ 308 w 331"/>
                  <a:gd name="T29" fmla="*/ 270 h 581"/>
                  <a:gd name="T30" fmla="*/ 317 w 331"/>
                  <a:gd name="T31" fmla="*/ 296 h 581"/>
                  <a:gd name="T32" fmla="*/ 324 w 331"/>
                  <a:gd name="T33" fmla="*/ 322 h 581"/>
                  <a:gd name="T34" fmla="*/ 329 w 331"/>
                  <a:gd name="T35" fmla="*/ 350 h 581"/>
                  <a:gd name="T36" fmla="*/ 329 w 331"/>
                  <a:gd name="T37" fmla="*/ 350 h 581"/>
                  <a:gd name="T38" fmla="*/ 331 w 331"/>
                  <a:gd name="T39" fmla="*/ 377 h 581"/>
                  <a:gd name="T40" fmla="*/ 329 w 331"/>
                  <a:gd name="T41" fmla="*/ 402 h 581"/>
                  <a:gd name="T42" fmla="*/ 325 w 331"/>
                  <a:gd name="T43" fmla="*/ 426 h 581"/>
                  <a:gd name="T44" fmla="*/ 320 w 331"/>
                  <a:gd name="T45" fmla="*/ 448 h 581"/>
                  <a:gd name="T46" fmla="*/ 312 w 331"/>
                  <a:gd name="T47" fmla="*/ 469 h 581"/>
                  <a:gd name="T48" fmla="*/ 303 w 331"/>
                  <a:gd name="T49" fmla="*/ 488 h 581"/>
                  <a:gd name="T50" fmla="*/ 293 w 331"/>
                  <a:gd name="T51" fmla="*/ 505 h 581"/>
                  <a:gd name="T52" fmla="*/ 282 w 331"/>
                  <a:gd name="T53" fmla="*/ 521 h 581"/>
                  <a:gd name="T54" fmla="*/ 272 w 331"/>
                  <a:gd name="T55" fmla="*/ 535 h 581"/>
                  <a:gd name="T56" fmla="*/ 260 w 331"/>
                  <a:gd name="T57" fmla="*/ 547 h 581"/>
                  <a:gd name="T58" fmla="*/ 241 w 331"/>
                  <a:gd name="T59" fmla="*/ 566 h 581"/>
                  <a:gd name="T60" fmla="*/ 227 w 331"/>
                  <a:gd name="T61" fmla="*/ 578 h 581"/>
                  <a:gd name="T62" fmla="*/ 222 w 331"/>
                  <a:gd name="T63" fmla="*/ 581 h 581"/>
                  <a:gd name="T64" fmla="*/ 222 w 331"/>
                  <a:gd name="T65" fmla="*/ 581 h 581"/>
                  <a:gd name="T66" fmla="*/ 215 w 331"/>
                  <a:gd name="T67" fmla="*/ 580 h 581"/>
                  <a:gd name="T68" fmla="*/ 197 w 331"/>
                  <a:gd name="T69" fmla="*/ 576 h 581"/>
                  <a:gd name="T70" fmla="*/ 172 w 331"/>
                  <a:gd name="T71" fmla="*/ 568 h 581"/>
                  <a:gd name="T72" fmla="*/ 156 w 331"/>
                  <a:gd name="T73" fmla="*/ 562 h 581"/>
                  <a:gd name="T74" fmla="*/ 140 w 331"/>
                  <a:gd name="T75" fmla="*/ 554 h 581"/>
                  <a:gd name="T76" fmla="*/ 123 w 331"/>
                  <a:gd name="T77" fmla="*/ 545 h 581"/>
                  <a:gd name="T78" fmla="*/ 106 w 331"/>
                  <a:gd name="T79" fmla="*/ 535 h 581"/>
                  <a:gd name="T80" fmla="*/ 90 w 331"/>
                  <a:gd name="T81" fmla="*/ 521 h 581"/>
                  <a:gd name="T82" fmla="*/ 73 w 331"/>
                  <a:gd name="T83" fmla="*/ 505 h 581"/>
                  <a:gd name="T84" fmla="*/ 59 w 331"/>
                  <a:gd name="T85" fmla="*/ 488 h 581"/>
                  <a:gd name="T86" fmla="*/ 45 w 331"/>
                  <a:gd name="T87" fmla="*/ 469 h 581"/>
                  <a:gd name="T88" fmla="*/ 33 w 331"/>
                  <a:gd name="T89" fmla="*/ 447 h 581"/>
                  <a:gd name="T90" fmla="*/ 23 w 331"/>
                  <a:gd name="T91" fmla="*/ 422 h 581"/>
                  <a:gd name="T92" fmla="*/ 23 w 331"/>
                  <a:gd name="T93" fmla="*/ 422 h 581"/>
                  <a:gd name="T94" fmla="*/ 14 w 331"/>
                  <a:gd name="T95" fmla="*/ 395 h 581"/>
                  <a:gd name="T96" fmla="*/ 9 w 331"/>
                  <a:gd name="T97" fmla="*/ 369 h 581"/>
                  <a:gd name="T98" fmla="*/ 4 w 331"/>
                  <a:gd name="T99" fmla="*/ 343 h 581"/>
                  <a:gd name="T100" fmla="*/ 2 w 331"/>
                  <a:gd name="T101" fmla="*/ 315 h 581"/>
                  <a:gd name="T102" fmla="*/ 0 w 331"/>
                  <a:gd name="T103" fmla="*/ 289 h 581"/>
                  <a:gd name="T104" fmla="*/ 2 w 331"/>
                  <a:gd name="T105" fmla="*/ 261 h 581"/>
                  <a:gd name="T106" fmla="*/ 4 w 331"/>
                  <a:gd name="T107" fmla="*/ 235 h 581"/>
                  <a:gd name="T108" fmla="*/ 9 w 331"/>
                  <a:gd name="T109" fmla="*/ 208 h 581"/>
                  <a:gd name="T110" fmla="*/ 14 w 331"/>
                  <a:gd name="T111" fmla="*/ 182 h 581"/>
                  <a:gd name="T112" fmla="*/ 21 w 331"/>
                  <a:gd name="T113" fmla="*/ 156 h 581"/>
                  <a:gd name="T114" fmla="*/ 28 w 331"/>
                  <a:gd name="T115" fmla="*/ 128 h 581"/>
                  <a:gd name="T116" fmla="*/ 37 w 331"/>
                  <a:gd name="T117" fmla="*/ 102 h 581"/>
                  <a:gd name="T118" fmla="*/ 47 w 331"/>
                  <a:gd name="T119" fmla="*/ 76 h 581"/>
                  <a:gd name="T120" fmla="*/ 59 w 331"/>
                  <a:gd name="T121" fmla="*/ 52 h 581"/>
                  <a:gd name="T122" fmla="*/ 85 w 331"/>
                  <a:gd name="T123" fmla="*/ 0 h 581"/>
                  <a:gd name="T124" fmla="*/ 85 w 331"/>
                  <a:gd name="T125" fmla="*/ 0 h 5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31" h="581">
                    <a:moveTo>
                      <a:pt x="85" y="0"/>
                    </a:moveTo>
                    <a:lnTo>
                      <a:pt x="85" y="0"/>
                    </a:lnTo>
                    <a:lnTo>
                      <a:pt x="108" y="17"/>
                    </a:lnTo>
                    <a:lnTo>
                      <a:pt x="130" y="33"/>
                    </a:lnTo>
                    <a:lnTo>
                      <a:pt x="151" y="50"/>
                    </a:lnTo>
                    <a:lnTo>
                      <a:pt x="172" y="69"/>
                    </a:lnTo>
                    <a:lnTo>
                      <a:pt x="191" y="88"/>
                    </a:lnTo>
                    <a:lnTo>
                      <a:pt x="210" y="109"/>
                    </a:lnTo>
                    <a:lnTo>
                      <a:pt x="229" y="130"/>
                    </a:lnTo>
                    <a:lnTo>
                      <a:pt x="244" y="151"/>
                    </a:lnTo>
                    <a:lnTo>
                      <a:pt x="260" y="173"/>
                    </a:lnTo>
                    <a:lnTo>
                      <a:pt x="275" y="196"/>
                    </a:lnTo>
                    <a:lnTo>
                      <a:pt x="287" y="220"/>
                    </a:lnTo>
                    <a:lnTo>
                      <a:pt x="300" y="244"/>
                    </a:lnTo>
                    <a:lnTo>
                      <a:pt x="308" y="270"/>
                    </a:lnTo>
                    <a:lnTo>
                      <a:pt x="317" y="296"/>
                    </a:lnTo>
                    <a:lnTo>
                      <a:pt x="324" y="322"/>
                    </a:lnTo>
                    <a:lnTo>
                      <a:pt x="329" y="350"/>
                    </a:lnTo>
                    <a:lnTo>
                      <a:pt x="329" y="350"/>
                    </a:lnTo>
                    <a:lnTo>
                      <a:pt x="331" y="377"/>
                    </a:lnTo>
                    <a:lnTo>
                      <a:pt x="329" y="402"/>
                    </a:lnTo>
                    <a:lnTo>
                      <a:pt x="325" y="426"/>
                    </a:lnTo>
                    <a:lnTo>
                      <a:pt x="320" y="448"/>
                    </a:lnTo>
                    <a:lnTo>
                      <a:pt x="312" y="469"/>
                    </a:lnTo>
                    <a:lnTo>
                      <a:pt x="303" y="488"/>
                    </a:lnTo>
                    <a:lnTo>
                      <a:pt x="293" y="505"/>
                    </a:lnTo>
                    <a:lnTo>
                      <a:pt x="282" y="521"/>
                    </a:lnTo>
                    <a:lnTo>
                      <a:pt x="272" y="535"/>
                    </a:lnTo>
                    <a:lnTo>
                      <a:pt x="260" y="547"/>
                    </a:lnTo>
                    <a:lnTo>
                      <a:pt x="241" y="566"/>
                    </a:lnTo>
                    <a:lnTo>
                      <a:pt x="227" y="578"/>
                    </a:lnTo>
                    <a:lnTo>
                      <a:pt x="222" y="581"/>
                    </a:lnTo>
                    <a:lnTo>
                      <a:pt x="222" y="581"/>
                    </a:lnTo>
                    <a:lnTo>
                      <a:pt x="215" y="580"/>
                    </a:lnTo>
                    <a:lnTo>
                      <a:pt x="197" y="576"/>
                    </a:lnTo>
                    <a:lnTo>
                      <a:pt x="172" y="568"/>
                    </a:lnTo>
                    <a:lnTo>
                      <a:pt x="156" y="562"/>
                    </a:lnTo>
                    <a:lnTo>
                      <a:pt x="140" y="554"/>
                    </a:lnTo>
                    <a:lnTo>
                      <a:pt x="123" y="545"/>
                    </a:lnTo>
                    <a:lnTo>
                      <a:pt x="106" y="535"/>
                    </a:lnTo>
                    <a:lnTo>
                      <a:pt x="90" y="521"/>
                    </a:lnTo>
                    <a:lnTo>
                      <a:pt x="73" y="505"/>
                    </a:lnTo>
                    <a:lnTo>
                      <a:pt x="59" y="488"/>
                    </a:lnTo>
                    <a:lnTo>
                      <a:pt x="45" y="469"/>
                    </a:lnTo>
                    <a:lnTo>
                      <a:pt x="33" y="447"/>
                    </a:lnTo>
                    <a:lnTo>
                      <a:pt x="23" y="422"/>
                    </a:lnTo>
                    <a:lnTo>
                      <a:pt x="23" y="422"/>
                    </a:lnTo>
                    <a:lnTo>
                      <a:pt x="14" y="395"/>
                    </a:lnTo>
                    <a:lnTo>
                      <a:pt x="9" y="369"/>
                    </a:lnTo>
                    <a:lnTo>
                      <a:pt x="4" y="343"/>
                    </a:lnTo>
                    <a:lnTo>
                      <a:pt x="2" y="315"/>
                    </a:lnTo>
                    <a:lnTo>
                      <a:pt x="0" y="289"/>
                    </a:lnTo>
                    <a:lnTo>
                      <a:pt x="2" y="261"/>
                    </a:lnTo>
                    <a:lnTo>
                      <a:pt x="4" y="235"/>
                    </a:lnTo>
                    <a:lnTo>
                      <a:pt x="9" y="208"/>
                    </a:lnTo>
                    <a:lnTo>
                      <a:pt x="14" y="182"/>
                    </a:lnTo>
                    <a:lnTo>
                      <a:pt x="21" y="156"/>
                    </a:lnTo>
                    <a:lnTo>
                      <a:pt x="28" y="128"/>
                    </a:lnTo>
                    <a:lnTo>
                      <a:pt x="37" y="102"/>
                    </a:lnTo>
                    <a:lnTo>
                      <a:pt x="47" y="76"/>
                    </a:lnTo>
                    <a:lnTo>
                      <a:pt x="59" y="52"/>
                    </a:lnTo>
                    <a:lnTo>
                      <a:pt x="85" y="0"/>
                    </a:lnTo>
                    <a:lnTo>
                      <a:pt x="85" y="0"/>
                    </a:lnTo>
                    <a:close/>
                  </a:path>
                </a:pathLst>
              </a:custGeom>
              <a:solidFill>
                <a:srgbClr val="A0CD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3" name="Freeform 1074">
                <a:extLst>
                  <a:ext uri="{FF2B5EF4-FFF2-40B4-BE49-F238E27FC236}">
                    <a16:creationId xmlns:a16="http://schemas.microsoft.com/office/drawing/2014/main" id="{06CFF1F7-6236-444F-B3BA-DE55E25EB320}"/>
                  </a:ext>
                </a:extLst>
              </p:cNvPr>
              <p:cNvSpPr>
                <a:spLocks/>
              </p:cNvSpPr>
              <p:nvPr/>
            </p:nvSpPr>
            <p:spPr bwMode="auto">
              <a:xfrm>
                <a:off x="5861059" y="1902172"/>
                <a:ext cx="175054" cy="743208"/>
              </a:xfrm>
              <a:custGeom>
                <a:avLst/>
                <a:gdLst>
                  <a:gd name="T0" fmla="*/ 114 w 114"/>
                  <a:gd name="T1" fmla="*/ 485 h 485"/>
                  <a:gd name="T2" fmla="*/ 114 w 114"/>
                  <a:gd name="T3" fmla="*/ 485 h 485"/>
                  <a:gd name="T4" fmla="*/ 114 w 114"/>
                  <a:gd name="T5" fmla="*/ 481 h 485"/>
                  <a:gd name="T6" fmla="*/ 114 w 114"/>
                  <a:gd name="T7" fmla="*/ 471 h 485"/>
                  <a:gd name="T8" fmla="*/ 112 w 114"/>
                  <a:gd name="T9" fmla="*/ 446 h 485"/>
                  <a:gd name="T10" fmla="*/ 105 w 114"/>
                  <a:gd name="T11" fmla="*/ 407 h 485"/>
                  <a:gd name="T12" fmla="*/ 93 w 114"/>
                  <a:gd name="T13" fmla="*/ 346 h 485"/>
                  <a:gd name="T14" fmla="*/ 72 w 114"/>
                  <a:gd name="T15" fmla="*/ 261 h 485"/>
                  <a:gd name="T16" fmla="*/ 41 w 114"/>
                  <a:gd name="T17" fmla="*/ 147 h 485"/>
                  <a:gd name="T18" fmla="*/ 0 w 114"/>
                  <a:gd name="T19" fmla="*/ 0 h 485"/>
                  <a:gd name="T20" fmla="*/ 0 w 114"/>
                  <a:gd name="T21" fmla="*/ 0 h 485"/>
                  <a:gd name="T22" fmla="*/ 10 w 114"/>
                  <a:gd name="T23" fmla="*/ 54 h 485"/>
                  <a:gd name="T24" fmla="*/ 20 w 114"/>
                  <a:gd name="T25" fmla="*/ 113 h 485"/>
                  <a:gd name="T26" fmla="*/ 34 w 114"/>
                  <a:gd name="T27" fmla="*/ 185 h 485"/>
                  <a:gd name="T28" fmla="*/ 50 w 114"/>
                  <a:gd name="T29" fmla="*/ 263 h 485"/>
                  <a:gd name="T30" fmla="*/ 71 w 114"/>
                  <a:gd name="T31" fmla="*/ 344 h 485"/>
                  <a:gd name="T32" fmla="*/ 91 w 114"/>
                  <a:gd name="T33" fmla="*/ 421 h 485"/>
                  <a:gd name="T34" fmla="*/ 102 w 114"/>
                  <a:gd name="T35" fmla="*/ 453 h 485"/>
                  <a:gd name="T36" fmla="*/ 114 w 114"/>
                  <a:gd name="T37" fmla="*/ 485 h 485"/>
                  <a:gd name="T38" fmla="*/ 114 w 114"/>
                  <a:gd name="T39" fmla="*/ 485 h 4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4" h="485">
                    <a:moveTo>
                      <a:pt x="114" y="485"/>
                    </a:moveTo>
                    <a:lnTo>
                      <a:pt x="114" y="485"/>
                    </a:lnTo>
                    <a:lnTo>
                      <a:pt x="114" y="481"/>
                    </a:lnTo>
                    <a:lnTo>
                      <a:pt x="114" y="471"/>
                    </a:lnTo>
                    <a:lnTo>
                      <a:pt x="112" y="446"/>
                    </a:lnTo>
                    <a:lnTo>
                      <a:pt x="105" y="407"/>
                    </a:lnTo>
                    <a:lnTo>
                      <a:pt x="93" y="346"/>
                    </a:lnTo>
                    <a:lnTo>
                      <a:pt x="72" y="261"/>
                    </a:lnTo>
                    <a:lnTo>
                      <a:pt x="41" y="147"/>
                    </a:lnTo>
                    <a:lnTo>
                      <a:pt x="0" y="0"/>
                    </a:lnTo>
                    <a:lnTo>
                      <a:pt x="0" y="0"/>
                    </a:lnTo>
                    <a:lnTo>
                      <a:pt x="10" y="54"/>
                    </a:lnTo>
                    <a:lnTo>
                      <a:pt x="20" y="113"/>
                    </a:lnTo>
                    <a:lnTo>
                      <a:pt x="34" y="185"/>
                    </a:lnTo>
                    <a:lnTo>
                      <a:pt x="50" y="263"/>
                    </a:lnTo>
                    <a:lnTo>
                      <a:pt x="71" y="344"/>
                    </a:lnTo>
                    <a:lnTo>
                      <a:pt x="91" y="421"/>
                    </a:lnTo>
                    <a:lnTo>
                      <a:pt x="102" y="453"/>
                    </a:lnTo>
                    <a:lnTo>
                      <a:pt x="114" y="485"/>
                    </a:lnTo>
                    <a:lnTo>
                      <a:pt x="114" y="485"/>
                    </a:lnTo>
                    <a:close/>
                  </a:path>
                </a:pathLst>
              </a:custGeom>
              <a:solidFill>
                <a:srgbClr val="8AB3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4" name="Freeform 1075">
                <a:extLst>
                  <a:ext uri="{FF2B5EF4-FFF2-40B4-BE49-F238E27FC236}">
                    <a16:creationId xmlns:a16="http://schemas.microsoft.com/office/drawing/2014/main" id="{2CDC8348-8349-421B-BA72-E76B9F3D1828}"/>
                  </a:ext>
                </a:extLst>
              </p:cNvPr>
              <p:cNvSpPr>
                <a:spLocks/>
              </p:cNvSpPr>
              <p:nvPr/>
            </p:nvSpPr>
            <p:spPr bwMode="auto">
              <a:xfrm>
                <a:off x="5796566" y="2390479"/>
                <a:ext cx="211907" cy="128987"/>
              </a:xfrm>
              <a:custGeom>
                <a:avLst/>
                <a:gdLst>
                  <a:gd name="T0" fmla="*/ 134 w 139"/>
                  <a:gd name="T1" fmla="*/ 64 h 85"/>
                  <a:gd name="T2" fmla="*/ 134 w 139"/>
                  <a:gd name="T3" fmla="*/ 64 h 85"/>
                  <a:gd name="T4" fmla="*/ 121 w 139"/>
                  <a:gd name="T5" fmla="*/ 56 h 85"/>
                  <a:gd name="T6" fmla="*/ 89 w 139"/>
                  <a:gd name="T7" fmla="*/ 37 h 85"/>
                  <a:gd name="T8" fmla="*/ 68 w 139"/>
                  <a:gd name="T9" fmla="*/ 25 h 85"/>
                  <a:gd name="T10" fmla="*/ 45 w 139"/>
                  <a:gd name="T11" fmla="*/ 14 h 85"/>
                  <a:gd name="T12" fmla="*/ 23 w 139"/>
                  <a:gd name="T13" fmla="*/ 6 h 85"/>
                  <a:gd name="T14" fmla="*/ 0 w 139"/>
                  <a:gd name="T15" fmla="*/ 0 h 85"/>
                  <a:gd name="T16" fmla="*/ 139 w 139"/>
                  <a:gd name="T17" fmla="*/ 85 h 85"/>
                  <a:gd name="T18" fmla="*/ 134 w 139"/>
                  <a:gd name="T19" fmla="*/ 64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9" h="85">
                    <a:moveTo>
                      <a:pt x="134" y="64"/>
                    </a:moveTo>
                    <a:lnTo>
                      <a:pt x="134" y="64"/>
                    </a:lnTo>
                    <a:lnTo>
                      <a:pt x="121" y="56"/>
                    </a:lnTo>
                    <a:lnTo>
                      <a:pt x="89" y="37"/>
                    </a:lnTo>
                    <a:lnTo>
                      <a:pt x="68" y="25"/>
                    </a:lnTo>
                    <a:lnTo>
                      <a:pt x="45" y="14"/>
                    </a:lnTo>
                    <a:lnTo>
                      <a:pt x="23" y="6"/>
                    </a:lnTo>
                    <a:lnTo>
                      <a:pt x="0" y="0"/>
                    </a:lnTo>
                    <a:lnTo>
                      <a:pt x="139" y="85"/>
                    </a:lnTo>
                    <a:lnTo>
                      <a:pt x="134" y="64"/>
                    </a:lnTo>
                    <a:close/>
                  </a:path>
                </a:pathLst>
              </a:custGeom>
              <a:solidFill>
                <a:srgbClr val="8AB3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5" name="Freeform 1076">
                <a:extLst>
                  <a:ext uri="{FF2B5EF4-FFF2-40B4-BE49-F238E27FC236}">
                    <a16:creationId xmlns:a16="http://schemas.microsoft.com/office/drawing/2014/main" id="{3EBF3A49-422D-47E1-8466-246A1B2C6F67}"/>
                  </a:ext>
                </a:extLst>
              </p:cNvPr>
              <p:cNvSpPr>
                <a:spLocks/>
              </p:cNvSpPr>
              <p:nvPr/>
            </p:nvSpPr>
            <p:spPr bwMode="auto">
              <a:xfrm>
                <a:off x="5747429" y="2178572"/>
                <a:ext cx="211907" cy="132057"/>
              </a:xfrm>
              <a:custGeom>
                <a:avLst/>
                <a:gdLst>
                  <a:gd name="T0" fmla="*/ 133 w 139"/>
                  <a:gd name="T1" fmla="*/ 64 h 87"/>
                  <a:gd name="T2" fmla="*/ 133 w 139"/>
                  <a:gd name="T3" fmla="*/ 64 h 87"/>
                  <a:gd name="T4" fmla="*/ 120 w 139"/>
                  <a:gd name="T5" fmla="*/ 55 h 87"/>
                  <a:gd name="T6" fmla="*/ 87 w 139"/>
                  <a:gd name="T7" fmla="*/ 36 h 87"/>
                  <a:gd name="T8" fmla="*/ 66 w 139"/>
                  <a:gd name="T9" fmla="*/ 26 h 87"/>
                  <a:gd name="T10" fmla="*/ 43 w 139"/>
                  <a:gd name="T11" fmla="*/ 16 h 87"/>
                  <a:gd name="T12" fmla="*/ 21 w 139"/>
                  <a:gd name="T13" fmla="*/ 7 h 87"/>
                  <a:gd name="T14" fmla="*/ 0 w 139"/>
                  <a:gd name="T15" fmla="*/ 0 h 87"/>
                  <a:gd name="T16" fmla="*/ 139 w 139"/>
                  <a:gd name="T17" fmla="*/ 87 h 87"/>
                  <a:gd name="T18" fmla="*/ 133 w 139"/>
                  <a:gd name="T19" fmla="*/ 64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9" h="87">
                    <a:moveTo>
                      <a:pt x="133" y="64"/>
                    </a:moveTo>
                    <a:lnTo>
                      <a:pt x="133" y="64"/>
                    </a:lnTo>
                    <a:lnTo>
                      <a:pt x="120" y="55"/>
                    </a:lnTo>
                    <a:lnTo>
                      <a:pt x="87" y="36"/>
                    </a:lnTo>
                    <a:lnTo>
                      <a:pt x="66" y="26"/>
                    </a:lnTo>
                    <a:lnTo>
                      <a:pt x="43" y="16"/>
                    </a:lnTo>
                    <a:lnTo>
                      <a:pt x="21" y="7"/>
                    </a:lnTo>
                    <a:lnTo>
                      <a:pt x="0" y="0"/>
                    </a:lnTo>
                    <a:lnTo>
                      <a:pt x="139" y="87"/>
                    </a:lnTo>
                    <a:lnTo>
                      <a:pt x="133" y="64"/>
                    </a:lnTo>
                    <a:close/>
                  </a:path>
                </a:pathLst>
              </a:custGeom>
              <a:solidFill>
                <a:srgbClr val="8AB3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6" name="Freeform 1077">
                <a:extLst>
                  <a:ext uri="{FF2B5EF4-FFF2-40B4-BE49-F238E27FC236}">
                    <a16:creationId xmlns:a16="http://schemas.microsoft.com/office/drawing/2014/main" id="{38C13284-FBE7-4F2C-A11F-D52F8BB2356D}"/>
                  </a:ext>
                </a:extLst>
              </p:cNvPr>
              <p:cNvSpPr>
                <a:spLocks/>
              </p:cNvSpPr>
              <p:nvPr/>
            </p:nvSpPr>
            <p:spPr bwMode="auto">
              <a:xfrm>
                <a:off x="5971619" y="2181644"/>
                <a:ext cx="141271" cy="211906"/>
              </a:xfrm>
              <a:custGeom>
                <a:avLst/>
                <a:gdLst>
                  <a:gd name="T0" fmla="*/ 0 w 91"/>
                  <a:gd name="T1" fmla="*/ 118 h 139"/>
                  <a:gd name="T2" fmla="*/ 0 w 91"/>
                  <a:gd name="T3" fmla="*/ 118 h 139"/>
                  <a:gd name="T4" fmla="*/ 8 w 91"/>
                  <a:gd name="T5" fmla="*/ 104 h 139"/>
                  <a:gd name="T6" fmla="*/ 29 w 91"/>
                  <a:gd name="T7" fmla="*/ 71 h 139"/>
                  <a:gd name="T8" fmla="*/ 43 w 91"/>
                  <a:gd name="T9" fmla="*/ 52 h 139"/>
                  <a:gd name="T10" fmla="*/ 57 w 91"/>
                  <a:gd name="T11" fmla="*/ 33 h 139"/>
                  <a:gd name="T12" fmla="*/ 74 w 91"/>
                  <a:gd name="T13" fmla="*/ 16 h 139"/>
                  <a:gd name="T14" fmla="*/ 91 w 91"/>
                  <a:gd name="T15" fmla="*/ 0 h 139"/>
                  <a:gd name="T16" fmla="*/ 5 w 91"/>
                  <a:gd name="T17" fmla="*/ 139 h 139"/>
                  <a:gd name="T18" fmla="*/ 0 w 91"/>
                  <a:gd name="T19" fmla="*/ 118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1" h="139">
                    <a:moveTo>
                      <a:pt x="0" y="118"/>
                    </a:moveTo>
                    <a:lnTo>
                      <a:pt x="0" y="118"/>
                    </a:lnTo>
                    <a:lnTo>
                      <a:pt x="8" y="104"/>
                    </a:lnTo>
                    <a:lnTo>
                      <a:pt x="29" y="71"/>
                    </a:lnTo>
                    <a:lnTo>
                      <a:pt x="43" y="52"/>
                    </a:lnTo>
                    <a:lnTo>
                      <a:pt x="57" y="33"/>
                    </a:lnTo>
                    <a:lnTo>
                      <a:pt x="74" y="16"/>
                    </a:lnTo>
                    <a:lnTo>
                      <a:pt x="91" y="0"/>
                    </a:lnTo>
                    <a:lnTo>
                      <a:pt x="5" y="139"/>
                    </a:lnTo>
                    <a:lnTo>
                      <a:pt x="0" y="118"/>
                    </a:lnTo>
                    <a:close/>
                  </a:path>
                </a:pathLst>
              </a:custGeom>
              <a:solidFill>
                <a:srgbClr val="8AB3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7" name="Freeform 1078">
                <a:extLst>
                  <a:ext uri="{FF2B5EF4-FFF2-40B4-BE49-F238E27FC236}">
                    <a16:creationId xmlns:a16="http://schemas.microsoft.com/office/drawing/2014/main" id="{DC104E8F-C8F3-4A4E-8B97-2F52D2CC9E04}"/>
                  </a:ext>
                </a:extLst>
              </p:cNvPr>
              <p:cNvSpPr>
                <a:spLocks/>
              </p:cNvSpPr>
              <p:nvPr/>
            </p:nvSpPr>
            <p:spPr bwMode="auto">
              <a:xfrm>
                <a:off x="6014614" y="2344412"/>
                <a:ext cx="178124" cy="245689"/>
              </a:xfrm>
              <a:custGeom>
                <a:avLst/>
                <a:gdLst>
                  <a:gd name="T0" fmla="*/ 0 w 116"/>
                  <a:gd name="T1" fmla="*/ 137 h 161"/>
                  <a:gd name="T2" fmla="*/ 0 w 116"/>
                  <a:gd name="T3" fmla="*/ 137 h 161"/>
                  <a:gd name="T4" fmla="*/ 10 w 116"/>
                  <a:gd name="T5" fmla="*/ 121 h 161"/>
                  <a:gd name="T6" fmla="*/ 36 w 116"/>
                  <a:gd name="T7" fmla="*/ 83 h 161"/>
                  <a:gd name="T8" fmla="*/ 54 w 116"/>
                  <a:gd name="T9" fmla="*/ 61 h 161"/>
                  <a:gd name="T10" fmla="*/ 74 w 116"/>
                  <a:gd name="T11" fmla="*/ 38 h 161"/>
                  <a:gd name="T12" fmla="*/ 95 w 116"/>
                  <a:gd name="T13" fmla="*/ 17 h 161"/>
                  <a:gd name="T14" fmla="*/ 116 w 116"/>
                  <a:gd name="T15" fmla="*/ 0 h 161"/>
                  <a:gd name="T16" fmla="*/ 7 w 116"/>
                  <a:gd name="T17" fmla="*/ 161 h 161"/>
                  <a:gd name="T18" fmla="*/ 0 w 116"/>
                  <a:gd name="T19" fmla="*/ 137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6" h="161">
                    <a:moveTo>
                      <a:pt x="0" y="137"/>
                    </a:moveTo>
                    <a:lnTo>
                      <a:pt x="0" y="137"/>
                    </a:lnTo>
                    <a:lnTo>
                      <a:pt x="10" y="121"/>
                    </a:lnTo>
                    <a:lnTo>
                      <a:pt x="36" y="83"/>
                    </a:lnTo>
                    <a:lnTo>
                      <a:pt x="54" y="61"/>
                    </a:lnTo>
                    <a:lnTo>
                      <a:pt x="74" y="38"/>
                    </a:lnTo>
                    <a:lnTo>
                      <a:pt x="95" y="17"/>
                    </a:lnTo>
                    <a:lnTo>
                      <a:pt x="116" y="0"/>
                    </a:lnTo>
                    <a:lnTo>
                      <a:pt x="7" y="161"/>
                    </a:lnTo>
                    <a:lnTo>
                      <a:pt x="0" y="137"/>
                    </a:lnTo>
                    <a:close/>
                  </a:path>
                </a:pathLst>
              </a:custGeom>
              <a:solidFill>
                <a:srgbClr val="8AB3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8" name="Freeform 1079">
                <a:extLst>
                  <a:ext uri="{FF2B5EF4-FFF2-40B4-BE49-F238E27FC236}">
                    <a16:creationId xmlns:a16="http://schemas.microsoft.com/office/drawing/2014/main" id="{32F958A5-2EA9-417D-8B9D-003E662AD63D}"/>
                  </a:ext>
                </a:extLst>
              </p:cNvPr>
              <p:cNvSpPr>
                <a:spLocks/>
              </p:cNvSpPr>
              <p:nvPr/>
            </p:nvSpPr>
            <p:spPr bwMode="auto">
              <a:xfrm>
                <a:off x="5756641" y="2034231"/>
                <a:ext cx="159698" cy="85991"/>
              </a:xfrm>
              <a:custGeom>
                <a:avLst/>
                <a:gdLst>
                  <a:gd name="T0" fmla="*/ 101 w 104"/>
                  <a:gd name="T1" fmla="*/ 41 h 57"/>
                  <a:gd name="T2" fmla="*/ 101 w 104"/>
                  <a:gd name="T3" fmla="*/ 41 h 57"/>
                  <a:gd name="T4" fmla="*/ 90 w 104"/>
                  <a:gd name="T5" fmla="*/ 36 h 57"/>
                  <a:gd name="T6" fmla="*/ 66 w 104"/>
                  <a:gd name="T7" fmla="*/ 24 h 57"/>
                  <a:gd name="T8" fmla="*/ 35 w 104"/>
                  <a:gd name="T9" fmla="*/ 8 h 57"/>
                  <a:gd name="T10" fmla="*/ 18 w 104"/>
                  <a:gd name="T11" fmla="*/ 3 h 57"/>
                  <a:gd name="T12" fmla="*/ 0 w 104"/>
                  <a:gd name="T13" fmla="*/ 0 h 57"/>
                  <a:gd name="T14" fmla="*/ 104 w 104"/>
                  <a:gd name="T15" fmla="*/ 57 h 57"/>
                  <a:gd name="T16" fmla="*/ 101 w 104"/>
                  <a:gd name="T17" fmla="*/ 41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4" h="57">
                    <a:moveTo>
                      <a:pt x="101" y="41"/>
                    </a:moveTo>
                    <a:lnTo>
                      <a:pt x="101" y="41"/>
                    </a:lnTo>
                    <a:lnTo>
                      <a:pt x="90" y="36"/>
                    </a:lnTo>
                    <a:lnTo>
                      <a:pt x="66" y="24"/>
                    </a:lnTo>
                    <a:lnTo>
                      <a:pt x="35" y="8"/>
                    </a:lnTo>
                    <a:lnTo>
                      <a:pt x="18" y="3"/>
                    </a:lnTo>
                    <a:lnTo>
                      <a:pt x="0" y="0"/>
                    </a:lnTo>
                    <a:lnTo>
                      <a:pt x="104" y="57"/>
                    </a:lnTo>
                    <a:lnTo>
                      <a:pt x="101" y="41"/>
                    </a:lnTo>
                    <a:close/>
                  </a:path>
                </a:pathLst>
              </a:custGeom>
              <a:solidFill>
                <a:srgbClr val="8AB3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9" name="Freeform 1080">
                <a:extLst>
                  <a:ext uri="{FF2B5EF4-FFF2-40B4-BE49-F238E27FC236}">
                    <a16:creationId xmlns:a16="http://schemas.microsoft.com/office/drawing/2014/main" id="{F72DB594-E712-4124-A3B0-5F84090ED15C}"/>
                  </a:ext>
                </a:extLst>
              </p:cNvPr>
              <p:cNvSpPr>
                <a:spLocks/>
              </p:cNvSpPr>
              <p:nvPr/>
            </p:nvSpPr>
            <p:spPr bwMode="auto">
              <a:xfrm>
                <a:off x="5922481" y="2031158"/>
                <a:ext cx="110560" cy="147413"/>
              </a:xfrm>
              <a:custGeom>
                <a:avLst/>
                <a:gdLst>
                  <a:gd name="T0" fmla="*/ 0 w 71"/>
                  <a:gd name="T1" fmla="*/ 83 h 97"/>
                  <a:gd name="T2" fmla="*/ 0 w 71"/>
                  <a:gd name="T3" fmla="*/ 83 h 97"/>
                  <a:gd name="T4" fmla="*/ 6 w 71"/>
                  <a:gd name="T5" fmla="*/ 73 h 97"/>
                  <a:gd name="T6" fmla="*/ 23 w 71"/>
                  <a:gd name="T7" fmla="*/ 50 h 97"/>
                  <a:gd name="T8" fmla="*/ 45 w 71"/>
                  <a:gd name="T9" fmla="*/ 24 h 97"/>
                  <a:gd name="T10" fmla="*/ 57 w 71"/>
                  <a:gd name="T11" fmla="*/ 10 h 97"/>
                  <a:gd name="T12" fmla="*/ 71 w 71"/>
                  <a:gd name="T13" fmla="*/ 0 h 97"/>
                  <a:gd name="T14" fmla="*/ 4 w 71"/>
                  <a:gd name="T15" fmla="*/ 97 h 97"/>
                  <a:gd name="T16" fmla="*/ 0 w 71"/>
                  <a:gd name="T17" fmla="*/ 83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1" h="97">
                    <a:moveTo>
                      <a:pt x="0" y="83"/>
                    </a:moveTo>
                    <a:lnTo>
                      <a:pt x="0" y="83"/>
                    </a:lnTo>
                    <a:lnTo>
                      <a:pt x="6" y="73"/>
                    </a:lnTo>
                    <a:lnTo>
                      <a:pt x="23" y="50"/>
                    </a:lnTo>
                    <a:lnTo>
                      <a:pt x="45" y="24"/>
                    </a:lnTo>
                    <a:lnTo>
                      <a:pt x="57" y="10"/>
                    </a:lnTo>
                    <a:lnTo>
                      <a:pt x="71" y="0"/>
                    </a:lnTo>
                    <a:lnTo>
                      <a:pt x="4" y="97"/>
                    </a:lnTo>
                    <a:lnTo>
                      <a:pt x="0" y="83"/>
                    </a:lnTo>
                    <a:close/>
                  </a:path>
                </a:pathLst>
              </a:custGeom>
              <a:solidFill>
                <a:srgbClr val="8AB3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0" name="Freeform 1081">
                <a:extLst>
                  <a:ext uri="{FF2B5EF4-FFF2-40B4-BE49-F238E27FC236}">
                    <a16:creationId xmlns:a16="http://schemas.microsoft.com/office/drawing/2014/main" id="{88594B9D-6232-4AD6-96DA-87234E9B089B}"/>
                  </a:ext>
                </a:extLst>
              </p:cNvPr>
              <p:cNvSpPr>
                <a:spLocks/>
              </p:cNvSpPr>
              <p:nvPr/>
            </p:nvSpPr>
            <p:spPr bwMode="auto">
              <a:xfrm>
                <a:off x="5885628" y="1908314"/>
                <a:ext cx="79849" cy="110560"/>
              </a:xfrm>
              <a:custGeom>
                <a:avLst/>
                <a:gdLst>
                  <a:gd name="T0" fmla="*/ 0 w 52"/>
                  <a:gd name="T1" fmla="*/ 61 h 71"/>
                  <a:gd name="T2" fmla="*/ 0 w 52"/>
                  <a:gd name="T3" fmla="*/ 61 h 71"/>
                  <a:gd name="T4" fmla="*/ 16 w 52"/>
                  <a:gd name="T5" fmla="*/ 37 h 71"/>
                  <a:gd name="T6" fmla="*/ 33 w 52"/>
                  <a:gd name="T7" fmla="*/ 18 h 71"/>
                  <a:gd name="T8" fmla="*/ 43 w 52"/>
                  <a:gd name="T9" fmla="*/ 7 h 71"/>
                  <a:gd name="T10" fmla="*/ 52 w 52"/>
                  <a:gd name="T11" fmla="*/ 0 h 71"/>
                  <a:gd name="T12" fmla="*/ 2 w 52"/>
                  <a:gd name="T13" fmla="*/ 71 h 71"/>
                  <a:gd name="T14" fmla="*/ 0 w 52"/>
                  <a:gd name="T15" fmla="*/ 61 h 7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 h="71">
                    <a:moveTo>
                      <a:pt x="0" y="61"/>
                    </a:moveTo>
                    <a:lnTo>
                      <a:pt x="0" y="61"/>
                    </a:lnTo>
                    <a:lnTo>
                      <a:pt x="16" y="37"/>
                    </a:lnTo>
                    <a:lnTo>
                      <a:pt x="33" y="18"/>
                    </a:lnTo>
                    <a:lnTo>
                      <a:pt x="43" y="7"/>
                    </a:lnTo>
                    <a:lnTo>
                      <a:pt x="52" y="0"/>
                    </a:lnTo>
                    <a:lnTo>
                      <a:pt x="2" y="71"/>
                    </a:lnTo>
                    <a:lnTo>
                      <a:pt x="0" y="61"/>
                    </a:lnTo>
                    <a:close/>
                  </a:path>
                </a:pathLst>
              </a:custGeom>
              <a:solidFill>
                <a:srgbClr val="8AB3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1" name="Freeform 1082">
                <a:extLst>
                  <a:ext uri="{FF2B5EF4-FFF2-40B4-BE49-F238E27FC236}">
                    <a16:creationId xmlns:a16="http://schemas.microsoft.com/office/drawing/2014/main" id="{541ED08E-A230-43A5-B61D-65A752715534}"/>
                  </a:ext>
                </a:extLst>
              </p:cNvPr>
              <p:cNvSpPr>
                <a:spLocks/>
              </p:cNvSpPr>
              <p:nvPr/>
            </p:nvSpPr>
            <p:spPr bwMode="auto">
              <a:xfrm>
                <a:off x="5271406" y="2703732"/>
                <a:ext cx="776991" cy="586581"/>
              </a:xfrm>
              <a:custGeom>
                <a:avLst/>
                <a:gdLst>
                  <a:gd name="T0" fmla="*/ 0 w 505"/>
                  <a:gd name="T1" fmla="*/ 12 h 382"/>
                  <a:gd name="T2" fmla="*/ 0 w 505"/>
                  <a:gd name="T3" fmla="*/ 12 h 382"/>
                  <a:gd name="T4" fmla="*/ 27 w 505"/>
                  <a:gd name="T5" fmla="*/ 7 h 382"/>
                  <a:gd name="T6" fmla="*/ 55 w 505"/>
                  <a:gd name="T7" fmla="*/ 3 h 382"/>
                  <a:gd name="T8" fmla="*/ 83 w 505"/>
                  <a:gd name="T9" fmla="*/ 1 h 382"/>
                  <a:gd name="T10" fmla="*/ 110 w 505"/>
                  <a:gd name="T11" fmla="*/ 0 h 382"/>
                  <a:gd name="T12" fmla="*/ 136 w 505"/>
                  <a:gd name="T13" fmla="*/ 0 h 382"/>
                  <a:gd name="T14" fmla="*/ 164 w 505"/>
                  <a:gd name="T15" fmla="*/ 1 h 382"/>
                  <a:gd name="T16" fmla="*/ 192 w 505"/>
                  <a:gd name="T17" fmla="*/ 5 h 382"/>
                  <a:gd name="T18" fmla="*/ 219 w 505"/>
                  <a:gd name="T19" fmla="*/ 8 h 382"/>
                  <a:gd name="T20" fmla="*/ 245 w 505"/>
                  <a:gd name="T21" fmla="*/ 13 h 382"/>
                  <a:gd name="T22" fmla="*/ 271 w 505"/>
                  <a:gd name="T23" fmla="*/ 20 h 382"/>
                  <a:gd name="T24" fmla="*/ 297 w 505"/>
                  <a:gd name="T25" fmla="*/ 29 h 382"/>
                  <a:gd name="T26" fmla="*/ 323 w 505"/>
                  <a:gd name="T27" fmla="*/ 38 h 382"/>
                  <a:gd name="T28" fmla="*/ 347 w 505"/>
                  <a:gd name="T29" fmla="*/ 50 h 382"/>
                  <a:gd name="T30" fmla="*/ 372 w 505"/>
                  <a:gd name="T31" fmla="*/ 62 h 382"/>
                  <a:gd name="T32" fmla="*/ 396 w 505"/>
                  <a:gd name="T33" fmla="*/ 77 h 382"/>
                  <a:gd name="T34" fmla="*/ 418 w 505"/>
                  <a:gd name="T35" fmla="*/ 93 h 382"/>
                  <a:gd name="T36" fmla="*/ 418 w 505"/>
                  <a:gd name="T37" fmla="*/ 93 h 382"/>
                  <a:gd name="T38" fmla="*/ 437 w 505"/>
                  <a:gd name="T39" fmla="*/ 110 h 382"/>
                  <a:gd name="T40" fmla="*/ 455 w 505"/>
                  <a:gd name="T41" fmla="*/ 129 h 382"/>
                  <a:gd name="T42" fmla="*/ 468 w 505"/>
                  <a:gd name="T43" fmla="*/ 150 h 382"/>
                  <a:gd name="T44" fmla="*/ 480 w 505"/>
                  <a:gd name="T45" fmla="*/ 169 h 382"/>
                  <a:gd name="T46" fmla="*/ 489 w 505"/>
                  <a:gd name="T47" fmla="*/ 190 h 382"/>
                  <a:gd name="T48" fmla="*/ 496 w 505"/>
                  <a:gd name="T49" fmla="*/ 211 h 382"/>
                  <a:gd name="T50" fmla="*/ 500 w 505"/>
                  <a:gd name="T51" fmla="*/ 230 h 382"/>
                  <a:gd name="T52" fmla="*/ 503 w 505"/>
                  <a:gd name="T53" fmla="*/ 249 h 382"/>
                  <a:gd name="T54" fmla="*/ 505 w 505"/>
                  <a:gd name="T55" fmla="*/ 266 h 382"/>
                  <a:gd name="T56" fmla="*/ 505 w 505"/>
                  <a:gd name="T57" fmla="*/ 282 h 382"/>
                  <a:gd name="T58" fmla="*/ 505 w 505"/>
                  <a:gd name="T59" fmla="*/ 309 h 382"/>
                  <a:gd name="T60" fmla="*/ 503 w 505"/>
                  <a:gd name="T61" fmla="*/ 328 h 382"/>
                  <a:gd name="T62" fmla="*/ 501 w 505"/>
                  <a:gd name="T63" fmla="*/ 333 h 382"/>
                  <a:gd name="T64" fmla="*/ 501 w 505"/>
                  <a:gd name="T65" fmla="*/ 333 h 382"/>
                  <a:gd name="T66" fmla="*/ 496 w 505"/>
                  <a:gd name="T67" fmla="*/ 339 h 382"/>
                  <a:gd name="T68" fmla="*/ 480 w 505"/>
                  <a:gd name="T69" fmla="*/ 347 h 382"/>
                  <a:gd name="T70" fmla="*/ 456 w 505"/>
                  <a:gd name="T71" fmla="*/ 359 h 382"/>
                  <a:gd name="T72" fmla="*/ 441 w 505"/>
                  <a:gd name="T73" fmla="*/ 366 h 382"/>
                  <a:gd name="T74" fmla="*/ 423 w 505"/>
                  <a:gd name="T75" fmla="*/ 372 h 382"/>
                  <a:gd name="T76" fmla="*/ 406 w 505"/>
                  <a:gd name="T77" fmla="*/ 377 h 382"/>
                  <a:gd name="T78" fmla="*/ 385 w 505"/>
                  <a:gd name="T79" fmla="*/ 380 h 382"/>
                  <a:gd name="T80" fmla="*/ 365 w 505"/>
                  <a:gd name="T81" fmla="*/ 382 h 382"/>
                  <a:gd name="T82" fmla="*/ 342 w 505"/>
                  <a:gd name="T83" fmla="*/ 382 h 382"/>
                  <a:gd name="T84" fmla="*/ 320 w 505"/>
                  <a:gd name="T85" fmla="*/ 380 h 382"/>
                  <a:gd name="T86" fmla="*/ 295 w 505"/>
                  <a:gd name="T87" fmla="*/ 377 h 382"/>
                  <a:gd name="T88" fmla="*/ 271 w 505"/>
                  <a:gd name="T89" fmla="*/ 368 h 382"/>
                  <a:gd name="T90" fmla="*/ 247 w 505"/>
                  <a:gd name="T91" fmla="*/ 358 h 382"/>
                  <a:gd name="T92" fmla="*/ 247 w 505"/>
                  <a:gd name="T93" fmla="*/ 358 h 382"/>
                  <a:gd name="T94" fmla="*/ 223 w 505"/>
                  <a:gd name="T95" fmla="*/ 344 h 382"/>
                  <a:gd name="T96" fmla="*/ 200 w 505"/>
                  <a:gd name="T97" fmla="*/ 328 h 382"/>
                  <a:gd name="T98" fmla="*/ 180 w 505"/>
                  <a:gd name="T99" fmla="*/ 313 h 382"/>
                  <a:gd name="T100" fmla="*/ 159 w 505"/>
                  <a:gd name="T101" fmla="*/ 295 h 382"/>
                  <a:gd name="T102" fmla="*/ 140 w 505"/>
                  <a:gd name="T103" fmla="*/ 276 h 382"/>
                  <a:gd name="T104" fmla="*/ 121 w 505"/>
                  <a:gd name="T105" fmla="*/ 257 h 382"/>
                  <a:gd name="T106" fmla="*/ 105 w 505"/>
                  <a:gd name="T107" fmla="*/ 235 h 382"/>
                  <a:gd name="T108" fmla="*/ 90 w 505"/>
                  <a:gd name="T109" fmla="*/ 214 h 382"/>
                  <a:gd name="T110" fmla="*/ 74 w 505"/>
                  <a:gd name="T111" fmla="*/ 192 h 382"/>
                  <a:gd name="T112" fmla="*/ 60 w 505"/>
                  <a:gd name="T113" fmla="*/ 167 h 382"/>
                  <a:gd name="T114" fmla="*/ 48 w 505"/>
                  <a:gd name="T115" fmla="*/ 143 h 382"/>
                  <a:gd name="T116" fmla="*/ 36 w 505"/>
                  <a:gd name="T117" fmla="*/ 117 h 382"/>
                  <a:gd name="T118" fmla="*/ 26 w 505"/>
                  <a:gd name="T119" fmla="*/ 91 h 382"/>
                  <a:gd name="T120" fmla="*/ 17 w 505"/>
                  <a:gd name="T121" fmla="*/ 65 h 382"/>
                  <a:gd name="T122" fmla="*/ 0 w 505"/>
                  <a:gd name="T123" fmla="*/ 12 h 382"/>
                  <a:gd name="T124" fmla="*/ 0 w 505"/>
                  <a:gd name="T125" fmla="*/ 12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05" h="382">
                    <a:moveTo>
                      <a:pt x="0" y="12"/>
                    </a:moveTo>
                    <a:lnTo>
                      <a:pt x="0" y="12"/>
                    </a:lnTo>
                    <a:lnTo>
                      <a:pt x="27" y="7"/>
                    </a:lnTo>
                    <a:lnTo>
                      <a:pt x="55" y="3"/>
                    </a:lnTo>
                    <a:lnTo>
                      <a:pt x="83" y="1"/>
                    </a:lnTo>
                    <a:lnTo>
                      <a:pt x="110" y="0"/>
                    </a:lnTo>
                    <a:lnTo>
                      <a:pt x="136" y="0"/>
                    </a:lnTo>
                    <a:lnTo>
                      <a:pt x="164" y="1"/>
                    </a:lnTo>
                    <a:lnTo>
                      <a:pt x="192" y="5"/>
                    </a:lnTo>
                    <a:lnTo>
                      <a:pt x="219" y="8"/>
                    </a:lnTo>
                    <a:lnTo>
                      <a:pt x="245" y="13"/>
                    </a:lnTo>
                    <a:lnTo>
                      <a:pt x="271" y="20"/>
                    </a:lnTo>
                    <a:lnTo>
                      <a:pt x="297" y="29"/>
                    </a:lnTo>
                    <a:lnTo>
                      <a:pt x="323" y="38"/>
                    </a:lnTo>
                    <a:lnTo>
                      <a:pt x="347" y="50"/>
                    </a:lnTo>
                    <a:lnTo>
                      <a:pt x="372" y="62"/>
                    </a:lnTo>
                    <a:lnTo>
                      <a:pt x="396" y="77"/>
                    </a:lnTo>
                    <a:lnTo>
                      <a:pt x="418" y="93"/>
                    </a:lnTo>
                    <a:lnTo>
                      <a:pt x="418" y="93"/>
                    </a:lnTo>
                    <a:lnTo>
                      <a:pt x="437" y="110"/>
                    </a:lnTo>
                    <a:lnTo>
                      <a:pt x="455" y="129"/>
                    </a:lnTo>
                    <a:lnTo>
                      <a:pt x="468" y="150"/>
                    </a:lnTo>
                    <a:lnTo>
                      <a:pt x="480" y="169"/>
                    </a:lnTo>
                    <a:lnTo>
                      <a:pt x="489" y="190"/>
                    </a:lnTo>
                    <a:lnTo>
                      <a:pt x="496" y="211"/>
                    </a:lnTo>
                    <a:lnTo>
                      <a:pt x="500" y="230"/>
                    </a:lnTo>
                    <a:lnTo>
                      <a:pt x="503" y="249"/>
                    </a:lnTo>
                    <a:lnTo>
                      <a:pt x="505" y="266"/>
                    </a:lnTo>
                    <a:lnTo>
                      <a:pt x="505" y="282"/>
                    </a:lnTo>
                    <a:lnTo>
                      <a:pt x="505" y="309"/>
                    </a:lnTo>
                    <a:lnTo>
                      <a:pt x="503" y="328"/>
                    </a:lnTo>
                    <a:lnTo>
                      <a:pt x="501" y="333"/>
                    </a:lnTo>
                    <a:lnTo>
                      <a:pt x="501" y="333"/>
                    </a:lnTo>
                    <a:lnTo>
                      <a:pt x="496" y="339"/>
                    </a:lnTo>
                    <a:lnTo>
                      <a:pt x="480" y="347"/>
                    </a:lnTo>
                    <a:lnTo>
                      <a:pt x="456" y="359"/>
                    </a:lnTo>
                    <a:lnTo>
                      <a:pt x="441" y="366"/>
                    </a:lnTo>
                    <a:lnTo>
                      <a:pt x="423" y="372"/>
                    </a:lnTo>
                    <a:lnTo>
                      <a:pt x="406" y="377"/>
                    </a:lnTo>
                    <a:lnTo>
                      <a:pt x="385" y="380"/>
                    </a:lnTo>
                    <a:lnTo>
                      <a:pt x="365" y="382"/>
                    </a:lnTo>
                    <a:lnTo>
                      <a:pt x="342" y="382"/>
                    </a:lnTo>
                    <a:lnTo>
                      <a:pt x="320" y="380"/>
                    </a:lnTo>
                    <a:lnTo>
                      <a:pt x="295" y="377"/>
                    </a:lnTo>
                    <a:lnTo>
                      <a:pt x="271" y="368"/>
                    </a:lnTo>
                    <a:lnTo>
                      <a:pt x="247" y="358"/>
                    </a:lnTo>
                    <a:lnTo>
                      <a:pt x="247" y="358"/>
                    </a:lnTo>
                    <a:lnTo>
                      <a:pt x="223" y="344"/>
                    </a:lnTo>
                    <a:lnTo>
                      <a:pt x="200" y="328"/>
                    </a:lnTo>
                    <a:lnTo>
                      <a:pt x="180" y="313"/>
                    </a:lnTo>
                    <a:lnTo>
                      <a:pt x="159" y="295"/>
                    </a:lnTo>
                    <a:lnTo>
                      <a:pt x="140" y="276"/>
                    </a:lnTo>
                    <a:lnTo>
                      <a:pt x="121" y="257"/>
                    </a:lnTo>
                    <a:lnTo>
                      <a:pt x="105" y="235"/>
                    </a:lnTo>
                    <a:lnTo>
                      <a:pt x="90" y="214"/>
                    </a:lnTo>
                    <a:lnTo>
                      <a:pt x="74" y="192"/>
                    </a:lnTo>
                    <a:lnTo>
                      <a:pt x="60" y="167"/>
                    </a:lnTo>
                    <a:lnTo>
                      <a:pt x="48" y="143"/>
                    </a:lnTo>
                    <a:lnTo>
                      <a:pt x="36" y="117"/>
                    </a:lnTo>
                    <a:lnTo>
                      <a:pt x="26" y="91"/>
                    </a:lnTo>
                    <a:lnTo>
                      <a:pt x="17" y="65"/>
                    </a:lnTo>
                    <a:lnTo>
                      <a:pt x="0" y="12"/>
                    </a:lnTo>
                    <a:lnTo>
                      <a:pt x="0" y="12"/>
                    </a:lnTo>
                    <a:close/>
                  </a:path>
                </a:pathLst>
              </a:custGeom>
              <a:solidFill>
                <a:srgbClr val="A0CD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2" name="Freeform 1083">
                <a:extLst>
                  <a:ext uri="{FF2B5EF4-FFF2-40B4-BE49-F238E27FC236}">
                    <a16:creationId xmlns:a16="http://schemas.microsoft.com/office/drawing/2014/main" id="{C1543E63-D98B-4751-AA0D-1582D90DD55B}"/>
                  </a:ext>
                </a:extLst>
              </p:cNvPr>
              <p:cNvSpPr>
                <a:spLocks/>
              </p:cNvSpPr>
              <p:nvPr/>
            </p:nvSpPr>
            <p:spPr bwMode="auto">
              <a:xfrm>
                <a:off x="5366611" y="2780509"/>
                <a:ext cx="641863" cy="414599"/>
              </a:xfrm>
              <a:custGeom>
                <a:avLst/>
                <a:gdLst>
                  <a:gd name="T0" fmla="*/ 419 w 419"/>
                  <a:gd name="T1" fmla="*/ 270 h 270"/>
                  <a:gd name="T2" fmla="*/ 419 w 419"/>
                  <a:gd name="T3" fmla="*/ 270 h 270"/>
                  <a:gd name="T4" fmla="*/ 417 w 419"/>
                  <a:gd name="T5" fmla="*/ 268 h 270"/>
                  <a:gd name="T6" fmla="*/ 410 w 419"/>
                  <a:gd name="T7" fmla="*/ 259 h 270"/>
                  <a:gd name="T8" fmla="*/ 391 w 419"/>
                  <a:gd name="T9" fmla="*/ 244 h 270"/>
                  <a:gd name="T10" fmla="*/ 358 w 419"/>
                  <a:gd name="T11" fmla="*/ 221 h 270"/>
                  <a:gd name="T12" fmla="*/ 308 w 419"/>
                  <a:gd name="T13" fmla="*/ 185 h 270"/>
                  <a:gd name="T14" fmla="*/ 234 w 419"/>
                  <a:gd name="T15" fmla="*/ 138 h 270"/>
                  <a:gd name="T16" fmla="*/ 132 w 419"/>
                  <a:gd name="T17" fmla="*/ 78 h 270"/>
                  <a:gd name="T18" fmla="*/ 0 w 419"/>
                  <a:gd name="T19" fmla="*/ 0 h 270"/>
                  <a:gd name="T20" fmla="*/ 0 w 419"/>
                  <a:gd name="T21" fmla="*/ 0 h 270"/>
                  <a:gd name="T22" fmla="*/ 43 w 419"/>
                  <a:gd name="T23" fmla="*/ 33 h 270"/>
                  <a:gd name="T24" fmla="*/ 92 w 419"/>
                  <a:gd name="T25" fmla="*/ 67 h 270"/>
                  <a:gd name="T26" fmla="*/ 152 w 419"/>
                  <a:gd name="T27" fmla="*/ 110 h 270"/>
                  <a:gd name="T28" fmla="*/ 220 w 419"/>
                  <a:gd name="T29" fmla="*/ 155 h 270"/>
                  <a:gd name="T30" fmla="*/ 289 w 419"/>
                  <a:gd name="T31" fmla="*/ 200 h 270"/>
                  <a:gd name="T32" fmla="*/ 356 w 419"/>
                  <a:gd name="T33" fmla="*/ 239 h 270"/>
                  <a:gd name="T34" fmla="*/ 389 w 419"/>
                  <a:gd name="T35" fmla="*/ 256 h 270"/>
                  <a:gd name="T36" fmla="*/ 419 w 419"/>
                  <a:gd name="T37" fmla="*/ 270 h 270"/>
                  <a:gd name="T38" fmla="*/ 419 w 419"/>
                  <a:gd name="T39" fmla="*/ 270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19" h="270">
                    <a:moveTo>
                      <a:pt x="419" y="270"/>
                    </a:moveTo>
                    <a:lnTo>
                      <a:pt x="419" y="270"/>
                    </a:lnTo>
                    <a:lnTo>
                      <a:pt x="417" y="268"/>
                    </a:lnTo>
                    <a:lnTo>
                      <a:pt x="410" y="259"/>
                    </a:lnTo>
                    <a:lnTo>
                      <a:pt x="391" y="244"/>
                    </a:lnTo>
                    <a:lnTo>
                      <a:pt x="358" y="221"/>
                    </a:lnTo>
                    <a:lnTo>
                      <a:pt x="308" y="185"/>
                    </a:lnTo>
                    <a:lnTo>
                      <a:pt x="234" y="138"/>
                    </a:lnTo>
                    <a:lnTo>
                      <a:pt x="132" y="78"/>
                    </a:lnTo>
                    <a:lnTo>
                      <a:pt x="0" y="0"/>
                    </a:lnTo>
                    <a:lnTo>
                      <a:pt x="0" y="0"/>
                    </a:lnTo>
                    <a:lnTo>
                      <a:pt x="43" y="33"/>
                    </a:lnTo>
                    <a:lnTo>
                      <a:pt x="92" y="67"/>
                    </a:lnTo>
                    <a:lnTo>
                      <a:pt x="152" y="110"/>
                    </a:lnTo>
                    <a:lnTo>
                      <a:pt x="220" y="155"/>
                    </a:lnTo>
                    <a:lnTo>
                      <a:pt x="289" y="200"/>
                    </a:lnTo>
                    <a:lnTo>
                      <a:pt x="356" y="239"/>
                    </a:lnTo>
                    <a:lnTo>
                      <a:pt x="389" y="256"/>
                    </a:lnTo>
                    <a:lnTo>
                      <a:pt x="419" y="270"/>
                    </a:lnTo>
                    <a:lnTo>
                      <a:pt x="419" y="270"/>
                    </a:lnTo>
                    <a:close/>
                  </a:path>
                </a:pathLst>
              </a:custGeom>
              <a:solidFill>
                <a:srgbClr val="8AB3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3" name="Freeform 1084">
                <a:extLst>
                  <a:ext uri="{FF2B5EF4-FFF2-40B4-BE49-F238E27FC236}">
                    <a16:creationId xmlns:a16="http://schemas.microsoft.com/office/drawing/2014/main" id="{3533F504-6298-4507-9038-1486A29B44CA}"/>
                  </a:ext>
                </a:extLst>
              </p:cNvPr>
              <p:cNvSpPr>
                <a:spLocks/>
              </p:cNvSpPr>
              <p:nvPr/>
            </p:nvSpPr>
            <p:spPr bwMode="auto">
              <a:xfrm>
                <a:off x="5658366" y="3106046"/>
                <a:ext cx="242619" cy="73707"/>
              </a:xfrm>
              <a:custGeom>
                <a:avLst/>
                <a:gdLst>
                  <a:gd name="T0" fmla="*/ 141 w 160"/>
                  <a:gd name="T1" fmla="*/ 0 h 46"/>
                  <a:gd name="T2" fmla="*/ 141 w 160"/>
                  <a:gd name="T3" fmla="*/ 0 h 46"/>
                  <a:gd name="T4" fmla="*/ 125 w 160"/>
                  <a:gd name="T5" fmla="*/ 3 h 46"/>
                  <a:gd name="T6" fmla="*/ 89 w 160"/>
                  <a:gd name="T7" fmla="*/ 12 h 46"/>
                  <a:gd name="T8" fmla="*/ 66 w 160"/>
                  <a:gd name="T9" fmla="*/ 19 h 46"/>
                  <a:gd name="T10" fmla="*/ 42 w 160"/>
                  <a:gd name="T11" fmla="*/ 26 h 46"/>
                  <a:gd name="T12" fmla="*/ 19 w 160"/>
                  <a:gd name="T13" fmla="*/ 36 h 46"/>
                  <a:gd name="T14" fmla="*/ 0 w 160"/>
                  <a:gd name="T15" fmla="*/ 46 h 46"/>
                  <a:gd name="T16" fmla="*/ 160 w 160"/>
                  <a:gd name="T17" fmla="*/ 12 h 46"/>
                  <a:gd name="T18" fmla="*/ 141 w 160"/>
                  <a:gd name="T19"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0" h="46">
                    <a:moveTo>
                      <a:pt x="141" y="0"/>
                    </a:moveTo>
                    <a:lnTo>
                      <a:pt x="141" y="0"/>
                    </a:lnTo>
                    <a:lnTo>
                      <a:pt x="125" y="3"/>
                    </a:lnTo>
                    <a:lnTo>
                      <a:pt x="89" y="12"/>
                    </a:lnTo>
                    <a:lnTo>
                      <a:pt x="66" y="19"/>
                    </a:lnTo>
                    <a:lnTo>
                      <a:pt x="42" y="26"/>
                    </a:lnTo>
                    <a:lnTo>
                      <a:pt x="19" y="36"/>
                    </a:lnTo>
                    <a:lnTo>
                      <a:pt x="0" y="46"/>
                    </a:lnTo>
                    <a:lnTo>
                      <a:pt x="160" y="12"/>
                    </a:lnTo>
                    <a:lnTo>
                      <a:pt x="141" y="0"/>
                    </a:lnTo>
                    <a:close/>
                  </a:path>
                </a:pathLst>
              </a:custGeom>
              <a:solidFill>
                <a:srgbClr val="8AB3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4" name="Freeform 1085">
                <a:extLst>
                  <a:ext uri="{FF2B5EF4-FFF2-40B4-BE49-F238E27FC236}">
                    <a16:creationId xmlns:a16="http://schemas.microsoft.com/office/drawing/2014/main" id="{14E7F4A9-D997-4CE8-99F6-49A9E889B3D7}"/>
                  </a:ext>
                </a:extLst>
              </p:cNvPr>
              <p:cNvSpPr>
                <a:spLocks/>
              </p:cNvSpPr>
              <p:nvPr/>
            </p:nvSpPr>
            <p:spPr bwMode="auto">
              <a:xfrm>
                <a:off x="5474099" y="2989344"/>
                <a:ext cx="245689" cy="73707"/>
              </a:xfrm>
              <a:custGeom>
                <a:avLst/>
                <a:gdLst>
                  <a:gd name="T0" fmla="*/ 140 w 159"/>
                  <a:gd name="T1" fmla="*/ 0 h 47"/>
                  <a:gd name="T2" fmla="*/ 140 w 159"/>
                  <a:gd name="T3" fmla="*/ 0 h 47"/>
                  <a:gd name="T4" fmla="*/ 125 w 159"/>
                  <a:gd name="T5" fmla="*/ 4 h 47"/>
                  <a:gd name="T6" fmla="*/ 88 w 159"/>
                  <a:gd name="T7" fmla="*/ 13 h 47"/>
                  <a:gd name="T8" fmla="*/ 66 w 159"/>
                  <a:gd name="T9" fmla="*/ 18 h 47"/>
                  <a:gd name="T10" fmla="*/ 43 w 159"/>
                  <a:gd name="T11" fmla="*/ 26 h 47"/>
                  <a:gd name="T12" fmla="*/ 21 w 159"/>
                  <a:gd name="T13" fmla="*/ 35 h 47"/>
                  <a:gd name="T14" fmla="*/ 0 w 159"/>
                  <a:gd name="T15" fmla="*/ 47 h 47"/>
                  <a:gd name="T16" fmla="*/ 159 w 159"/>
                  <a:gd name="T17" fmla="*/ 13 h 47"/>
                  <a:gd name="T18" fmla="*/ 140 w 159"/>
                  <a:gd name="T19"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9" h="47">
                    <a:moveTo>
                      <a:pt x="140" y="0"/>
                    </a:moveTo>
                    <a:lnTo>
                      <a:pt x="140" y="0"/>
                    </a:lnTo>
                    <a:lnTo>
                      <a:pt x="125" y="4"/>
                    </a:lnTo>
                    <a:lnTo>
                      <a:pt x="88" y="13"/>
                    </a:lnTo>
                    <a:lnTo>
                      <a:pt x="66" y="18"/>
                    </a:lnTo>
                    <a:lnTo>
                      <a:pt x="43" y="26"/>
                    </a:lnTo>
                    <a:lnTo>
                      <a:pt x="21" y="35"/>
                    </a:lnTo>
                    <a:lnTo>
                      <a:pt x="0" y="47"/>
                    </a:lnTo>
                    <a:lnTo>
                      <a:pt x="159" y="13"/>
                    </a:lnTo>
                    <a:lnTo>
                      <a:pt x="140" y="0"/>
                    </a:lnTo>
                    <a:close/>
                  </a:path>
                </a:pathLst>
              </a:custGeom>
              <a:solidFill>
                <a:srgbClr val="8AB3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5" name="Freeform 1086">
                <a:extLst>
                  <a:ext uri="{FF2B5EF4-FFF2-40B4-BE49-F238E27FC236}">
                    <a16:creationId xmlns:a16="http://schemas.microsoft.com/office/drawing/2014/main" id="{D7002550-AF0C-4AEA-9932-9F8EAEBDD271}"/>
                  </a:ext>
                </a:extLst>
              </p:cNvPr>
              <p:cNvSpPr>
                <a:spLocks/>
              </p:cNvSpPr>
              <p:nvPr/>
            </p:nvSpPr>
            <p:spPr bwMode="auto">
              <a:xfrm>
                <a:off x="5738214" y="2811220"/>
                <a:ext cx="55280" cy="245689"/>
              </a:xfrm>
              <a:custGeom>
                <a:avLst/>
                <a:gdLst>
                  <a:gd name="T0" fmla="*/ 18 w 37"/>
                  <a:gd name="T1" fmla="*/ 147 h 159"/>
                  <a:gd name="T2" fmla="*/ 18 w 37"/>
                  <a:gd name="T3" fmla="*/ 147 h 159"/>
                  <a:gd name="T4" fmla="*/ 14 w 37"/>
                  <a:gd name="T5" fmla="*/ 131 h 159"/>
                  <a:gd name="T6" fmla="*/ 7 w 37"/>
                  <a:gd name="T7" fmla="*/ 95 h 159"/>
                  <a:gd name="T8" fmla="*/ 4 w 37"/>
                  <a:gd name="T9" fmla="*/ 70 h 159"/>
                  <a:gd name="T10" fmla="*/ 0 w 37"/>
                  <a:gd name="T11" fmla="*/ 46 h 159"/>
                  <a:gd name="T12" fmla="*/ 0 w 37"/>
                  <a:gd name="T13" fmla="*/ 22 h 159"/>
                  <a:gd name="T14" fmla="*/ 2 w 37"/>
                  <a:gd name="T15" fmla="*/ 0 h 159"/>
                  <a:gd name="T16" fmla="*/ 37 w 37"/>
                  <a:gd name="T17" fmla="*/ 159 h 159"/>
                  <a:gd name="T18" fmla="*/ 18 w 37"/>
                  <a:gd name="T19" fmla="*/ 147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7" h="159">
                    <a:moveTo>
                      <a:pt x="18" y="147"/>
                    </a:moveTo>
                    <a:lnTo>
                      <a:pt x="18" y="147"/>
                    </a:lnTo>
                    <a:lnTo>
                      <a:pt x="14" y="131"/>
                    </a:lnTo>
                    <a:lnTo>
                      <a:pt x="7" y="95"/>
                    </a:lnTo>
                    <a:lnTo>
                      <a:pt x="4" y="70"/>
                    </a:lnTo>
                    <a:lnTo>
                      <a:pt x="0" y="46"/>
                    </a:lnTo>
                    <a:lnTo>
                      <a:pt x="0" y="22"/>
                    </a:lnTo>
                    <a:lnTo>
                      <a:pt x="2" y="0"/>
                    </a:lnTo>
                    <a:lnTo>
                      <a:pt x="37" y="159"/>
                    </a:lnTo>
                    <a:lnTo>
                      <a:pt x="18" y="147"/>
                    </a:lnTo>
                    <a:close/>
                  </a:path>
                </a:pathLst>
              </a:custGeom>
              <a:solidFill>
                <a:srgbClr val="8AB3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6" name="Freeform 1087">
                <a:extLst>
                  <a:ext uri="{FF2B5EF4-FFF2-40B4-BE49-F238E27FC236}">
                    <a16:creationId xmlns:a16="http://schemas.microsoft.com/office/drawing/2014/main" id="{8AEEA2AD-73A0-4CDB-B5DD-844B6E5D1E37}"/>
                  </a:ext>
                </a:extLst>
              </p:cNvPr>
              <p:cNvSpPr>
                <a:spLocks/>
              </p:cNvSpPr>
              <p:nvPr/>
            </p:nvSpPr>
            <p:spPr bwMode="auto">
              <a:xfrm>
                <a:off x="5907126" y="2869572"/>
                <a:ext cx="55280" cy="294826"/>
              </a:xfrm>
              <a:custGeom>
                <a:avLst/>
                <a:gdLst>
                  <a:gd name="T0" fmla="*/ 16 w 36"/>
                  <a:gd name="T1" fmla="*/ 178 h 192"/>
                  <a:gd name="T2" fmla="*/ 16 w 36"/>
                  <a:gd name="T3" fmla="*/ 178 h 192"/>
                  <a:gd name="T4" fmla="*/ 12 w 36"/>
                  <a:gd name="T5" fmla="*/ 160 h 192"/>
                  <a:gd name="T6" fmla="*/ 5 w 36"/>
                  <a:gd name="T7" fmla="*/ 115 h 192"/>
                  <a:gd name="T8" fmla="*/ 2 w 36"/>
                  <a:gd name="T9" fmla="*/ 86 h 192"/>
                  <a:gd name="T10" fmla="*/ 0 w 36"/>
                  <a:gd name="T11" fmla="*/ 57 h 192"/>
                  <a:gd name="T12" fmla="*/ 0 w 36"/>
                  <a:gd name="T13" fmla="*/ 27 h 192"/>
                  <a:gd name="T14" fmla="*/ 3 w 36"/>
                  <a:gd name="T15" fmla="*/ 0 h 192"/>
                  <a:gd name="T16" fmla="*/ 36 w 36"/>
                  <a:gd name="T17" fmla="*/ 192 h 192"/>
                  <a:gd name="T18" fmla="*/ 16 w 36"/>
                  <a:gd name="T19" fmla="*/ 178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192">
                    <a:moveTo>
                      <a:pt x="16" y="178"/>
                    </a:moveTo>
                    <a:lnTo>
                      <a:pt x="16" y="178"/>
                    </a:lnTo>
                    <a:lnTo>
                      <a:pt x="12" y="160"/>
                    </a:lnTo>
                    <a:lnTo>
                      <a:pt x="5" y="115"/>
                    </a:lnTo>
                    <a:lnTo>
                      <a:pt x="2" y="86"/>
                    </a:lnTo>
                    <a:lnTo>
                      <a:pt x="0" y="57"/>
                    </a:lnTo>
                    <a:lnTo>
                      <a:pt x="0" y="27"/>
                    </a:lnTo>
                    <a:lnTo>
                      <a:pt x="3" y="0"/>
                    </a:lnTo>
                    <a:lnTo>
                      <a:pt x="36" y="192"/>
                    </a:lnTo>
                    <a:lnTo>
                      <a:pt x="16" y="178"/>
                    </a:lnTo>
                    <a:close/>
                  </a:path>
                </a:pathLst>
              </a:custGeom>
              <a:solidFill>
                <a:srgbClr val="8AB3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7" name="Freeform 1088">
                <a:extLst>
                  <a:ext uri="{FF2B5EF4-FFF2-40B4-BE49-F238E27FC236}">
                    <a16:creationId xmlns:a16="http://schemas.microsoft.com/office/drawing/2014/main" id="{BF07AD19-C569-4F1A-B929-97D59FDB8301}"/>
                  </a:ext>
                </a:extLst>
              </p:cNvPr>
              <p:cNvSpPr>
                <a:spLocks/>
              </p:cNvSpPr>
              <p:nvPr/>
            </p:nvSpPr>
            <p:spPr bwMode="auto">
              <a:xfrm>
                <a:off x="5381966" y="2891069"/>
                <a:ext cx="175054" cy="58350"/>
              </a:xfrm>
              <a:custGeom>
                <a:avLst/>
                <a:gdLst>
                  <a:gd name="T0" fmla="*/ 100 w 114"/>
                  <a:gd name="T1" fmla="*/ 0 h 38"/>
                  <a:gd name="T2" fmla="*/ 100 w 114"/>
                  <a:gd name="T3" fmla="*/ 0 h 38"/>
                  <a:gd name="T4" fmla="*/ 90 w 114"/>
                  <a:gd name="T5" fmla="*/ 2 h 38"/>
                  <a:gd name="T6" fmla="*/ 64 w 114"/>
                  <a:gd name="T7" fmla="*/ 11 h 38"/>
                  <a:gd name="T8" fmla="*/ 31 w 114"/>
                  <a:gd name="T9" fmla="*/ 23 h 38"/>
                  <a:gd name="T10" fmla="*/ 13 w 114"/>
                  <a:gd name="T11" fmla="*/ 30 h 38"/>
                  <a:gd name="T12" fmla="*/ 0 w 114"/>
                  <a:gd name="T13" fmla="*/ 38 h 38"/>
                  <a:gd name="T14" fmla="*/ 114 w 114"/>
                  <a:gd name="T15" fmla="*/ 7 h 38"/>
                  <a:gd name="T16" fmla="*/ 100 w 114"/>
                  <a:gd name="T17"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4" h="38">
                    <a:moveTo>
                      <a:pt x="100" y="0"/>
                    </a:moveTo>
                    <a:lnTo>
                      <a:pt x="100" y="0"/>
                    </a:lnTo>
                    <a:lnTo>
                      <a:pt x="90" y="2"/>
                    </a:lnTo>
                    <a:lnTo>
                      <a:pt x="64" y="11"/>
                    </a:lnTo>
                    <a:lnTo>
                      <a:pt x="31" y="23"/>
                    </a:lnTo>
                    <a:lnTo>
                      <a:pt x="13" y="30"/>
                    </a:lnTo>
                    <a:lnTo>
                      <a:pt x="0" y="38"/>
                    </a:lnTo>
                    <a:lnTo>
                      <a:pt x="114" y="7"/>
                    </a:lnTo>
                    <a:lnTo>
                      <a:pt x="100" y="0"/>
                    </a:lnTo>
                    <a:close/>
                  </a:path>
                </a:pathLst>
              </a:custGeom>
              <a:solidFill>
                <a:srgbClr val="8AB3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8" name="Freeform 1089">
                <a:extLst>
                  <a:ext uri="{FF2B5EF4-FFF2-40B4-BE49-F238E27FC236}">
                    <a16:creationId xmlns:a16="http://schemas.microsoft.com/office/drawing/2014/main" id="{550670AD-0E0A-4147-8CAE-DD50286304EB}"/>
                  </a:ext>
                </a:extLst>
              </p:cNvPr>
              <p:cNvSpPr>
                <a:spLocks/>
              </p:cNvSpPr>
              <p:nvPr/>
            </p:nvSpPr>
            <p:spPr bwMode="auto">
              <a:xfrm>
                <a:off x="5572375" y="2759012"/>
                <a:ext cx="33783" cy="178124"/>
              </a:xfrm>
              <a:custGeom>
                <a:avLst/>
                <a:gdLst>
                  <a:gd name="T0" fmla="*/ 9 w 23"/>
                  <a:gd name="T1" fmla="*/ 107 h 116"/>
                  <a:gd name="T2" fmla="*/ 9 w 23"/>
                  <a:gd name="T3" fmla="*/ 107 h 116"/>
                  <a:gd name="T4" fmla="*/ 7 w 23"/>
                  <a:gd name="T5" fmla="*/ 97 h 116"/>
                  <a:gd name="T6" fmla="*/ 4 w 23"/>
                  <a:gd name="T7" fmla="*/ 69 h 116"/>
                  <a:gd name="T8" fmla="*/ 0 w 23"/>
                  <a:gd name="T9" fmla="*/ 35 h 116"/>
                  <a:gd name="T10" fmla="*/ 2 w 23"/>
                  <a:gd name="T11" fmla="*/ 15 h 116"/>
                  <a:gd name="T12" fmla="*/ 4 w 23"/>
                  <a:gd name="T13" fmla="*/ 0 h 116"/>
                  <a:gd name="T14" fmla="*/ 23 w 23"/>
                  <a:gd name="T15" fmla="*/ 116 h 116"/>
                  <a:gd name="T16" fmla="*/ 9 w 23"/>
                  <a:gd name="T17" fmla="*/ 107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 h="116">
                    <a:moveTo>
                      <a:pt x="9" y="107"/>
                    </a:moveTo>
                    <a:lnTo>
                      <a:pt x="9" y="107"/>
                    </a:lnTo>
                    <a:lnTo>
                      <a:pt x="7" y="97"/>
                    </a:lnTo>
                    <a:lnTo>
                      <a:pt x="4" y="69"/>
                    </a:lnTo>
                    <a:lnTo>
                      <a:pt x="0" y="35"/>
                    </a:lnTo>
                    <a:lnTo>
                      <a:pt x="2" y="15"/>
                    </a:lnTo>
                    <a:lnTo>
                      <a:pt x="4" y="0"/>
                    </a:lnTo>
                    <a:lnTo>
                      <a:pt x="23" y="116"/>
                    </a:lnTo>
                    <a:lnTo>
                      <a:pt x="9" y="107"/>
                    </a:lnTo>
                    <a:close/>
                  </a:path>
                </a:pathLst>
              </a:custGeom>
              <a:solidFill>
                <a:srgbClr val="8AB3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9" name="Freeform 1090">
                <a:extLst>
                  <a:ext uri="{FF2B5EF4-FFF2-40B4-BE49-F238E27FC236}">
                    <a16:creationId xmlns:a16="http://schemas.microsoft.com/office/drawing/2014/main" id="{8D6EFDBC-068A-493B-94FC-C353838F246A}"/>
                  </a:ext>
                </a:extLst>
              </p:cNvPr>
              <p:cNvSpPr>
                <a:spLocks/>
              </p:cNvSpPr>
              <p:nvPr/>
            </p:nvSpPr>
            <p:spPr bwMode="auto">
              <a:xfrm>
                <a:off x="5443388" y="2716017"/>
                <a:ext cx="21499" cy="132057"/>
              </a:xfrm>
              <a:custGeom>
                <a:avLst/>
                <a:gdLst>
                  <a:gd name="T0" fmla="*/ 7 w 16"/>
                  <a:gd name="T1" fmla="*/ 80 h 85"/>
                  <a:gd name="T2" fmla="*/ 7 w 16"/>
                  <a:gd name="T3" fmla="*/ 80 h 85"/>
                  <a:gd name="T4" fmla="*/ 2 w 16"/>
                  <a:gd name="T5" fmla="*/ 50 h 85"/>
                  <a:gd name="T6" fmla="*/ 0 w 16"/>
                  <a:gd name="T7" fmla="*/ 24 h 85"/>
                  <a:gd name="T8" fmla="*/ 0 w 16"/>
                  <a:gd name="T9" fmla="*/ 12 h 85"/>
                  <a:gd name="T10" fmla="*/ 2 w 16"/>
                  <a:gd name="T11" fmla="*/ 0 h 85"/>
                  <a:gd name="T12" fmla="*/ 16 w 16"/>
                  <a:gd name="T13" fmla="*/ 85 h 85"/>
                  <a:gd name="T14" fmla="*/ 7 w 16"/>
                  <a:gd name="T15" fmla="*/ 80 h 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85">
                    <a:moveTo>
                      <a:pt x="7" y="80"/>
                    </a:moveTo>
                    <a:lnTo>
                      <a:pt x="7" y="80"/>
                    </a:lnTo>
                    <a:lnTo>
                      <a:pt x="2" y="50"/>
                    </a:lnTo>
                    <a:lnTo>
                      <a:pt x="0" y="24"/>
                    </a:lnTo>
                    <a:lnTo>
                      <a:pt x="0" y="12"/>
                    </a:lnTo>
                    <a:lnTo>
                      <a:pt x="2" y="0"/>
                    </a:lnTo>
                    <a:lnTo>
                      <a:pt x="16" y="85"/>
                    </a:lnTo>
                    <a:lnTo>
                      <a:pt x="7" y="80"/>
                    </a:lnTo>
                    <a:close/>
                  </a:path>
                </a:pathLst>
              </a:custGeom>
              <a:solidFill>
                <a:srgbClr val="8AB3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0" name="Freeform 1091">
                <a:extLst>
                  <a:ext uri="{FF2B5EF4-FFF2-40B4-BE49-F238E27FC236}">
                    <a16:creationId xmlns:a16="http://schemas.microsoft.com/office/drawing/2014/main" id="{B5CF6826-AB9F-4B0F-B659-D8042A111526}"/>
                  </a:ext>
                </a:extLst>
              </p:cNvPr>
              <p:cNvSpPr>
                <a:spLocks/>
              </p:cNvSpPr>
              <p:nvPr/>
            </p:nvSpPr>
            <p:spPr bwMode="auto">
              <a:xfrm>
                <a:off x="6119032" y="2924852"/>
                <a:ext cx="801560" cy="565084"/>
              </a:xfrm>
              <a:custGeom>
                <a:avLst/>
                <a:gdLst>
                  <a:gd name="T0" fmla="*/ 523 w 523"/>
                  <a:gd name="T1" fmla="*/ 19 h 369"/>
                  <a:gd name="T2" fmla="*/ 523 w 523"/>
                  <a:gd name="T3" fmla="*/ 19 h 369"/>
                  <a:gd name="T4" fmla="*/ 495 w 523"/>
                  <a:gd name="T5" fmla="*/ 14 h 369"/>
                  <a:gd name="T6" fmla="*/ 469 w 523"/>
                  <a:gd name="T7" fmla="*/ 9 h 369"/>
                  <a:gd name="T8" fmla="*/ 441 w 523"/>
                  <a:gd name="T9" fmla="*/ 4 h 369"/>
                  <a:gd name="T10" fmla="*/ 414 w 523"/>
                  <a:gd name="T11" fmla="*/ 2 h 369"/>
                  <a:gd name="T12" fmla="*/ 386 w 523"/>
                  <a:gd name="T13" fmla="*/ 0 h 369"/>
                  <a:gd name="T14" fmla="*/ 358 w 523"/>
                  <a:gd name="T15" fmla="*/ 0 h 369"/>
                  <a:gd name="T16" fmla="*/ 331 w 523"/>
                  <a:gd name="T17" fmla="*/ 0 h 369"/>
                  <a:gd name="T18" fmla="*/ 305 w 523"/>
                  <a:gd name="T19" fmla="*/ 2 h 369"/>
                  <a:gd name="T20" fmla="*/ 277 w 523"/>
                  <a:gd name="T21" fmla="*/ 5 h 369"/>
                  <a:gd name="T22" fmla="*/ 251 w 523"/>
                  <a:gd name="T23" fmla="*/ 11 h 369"/>
                  <a:gd name="T24" fmla="*/ 224 w 523"/>
                  <a:gd name="T25" fmla="*/ 17 h 369"/>
                  <a:gd name="T26" fmla="*/ 198 w 523"/>
                  <a:gd name="T27" fmla="*/ 26 h 369"/>
                  <a:gd name="T28" fmla="*/ 173 w 523"/>
                  <a:gd name="T29" fmla="*/ 35 h 369"/>
                  <a:gd name="T30" fmla="*/ 147 w 523"/>
                  <a:gd name="T31" fmla="*/ 47 h 369"/>
                  <a:gd name="T32" fmla="*/ 123 w 523"/>
                  <a:gd name="T33" fmla="*/ 61 h 369"/>
                  <a:gd name="T34" fmla="*/ 101 w 523"/>
                  <a:gd name="T35" fmla="*/ 75 h 369"/>
                  <a:gd name="T36" fmla="*/ 101 w 523"/>
                  <a:gd name="T37" fmla="*/ 75 h 369"/>
                  <a:gd name="T38" fmla="*/ 80 w 523"/>
                  <a:gd name="T39" fmla="*/ 92 h 369"/>
                  <a:gd name="T40" fmla="*/ 61 w 523"/>
                  <a:gd name="T41" fmla="*/ 109 h 369"/>
                  <a:gd name="T42" fmla="*/ 45 w 523"/>
                  <a:gd name="T43" fmla="*/ 128 h 369"/>
                  <a:gd name="T44" fmla="*/ 33 w 523"/>
                  <a:gd name="T45" fmla="*/ 147 h 369"/>
                  <a:gd name="T46" fmla="*/ 23 w 523"/>
                  <a:gd name="T47" fmla="*/ 166 h 369"/>
                  <a:gd name="T48" fmla="*/ 16 w 523"/>
                  <a:gd name="T49" fmla="*/ 187 h 369"/>
                  <a:gd name="T50" fmla="*/ 9 w 523"/>
                  <a:gd name="T51" fmla="*/ 206 h 369"/>
                  <a:gd name="T52" fmla="*/ 6 w 523"/>
                  <a:gd name="T53" fmla="*/ 225 h 369"/>
                  <a:gd name="T54" fmla="*/ 2 w 523"/>
                  <a:gd name="T55" fmla="*/ 242 h 369"/>
                  <a:gd name="T56" fmla="*/ 0 w 523"/>
                  <a:gd name="T57" fmla="*/ 258 h 369"/>
                  <a:gd name="T58" fmla="*/ 0 w 523"/>
                  <a:gd name="T59" fmla="*/ 286 h 369"/>
                  <a:gd name="T60" fmla="*/ 0 w 523"/>
                  <a:gd name="T61" fmla="*/ 303 h 369"/>
                  <a:gd name="T62" fmla="*/ 2 w 523"/>
                  <a:gd name="T63" fmla="*/ 310 h 369"/>
                  <a:gd name="T64" fmla="*/ 2 w 523"/>
                  <a:gd name="T65" fmla="*/ 310 h 369"/>
                  <a:gd name="T66" fmla="*/ 7 w 523"/>
                  <a:gd name="T67" fmla="*/ 315 h 369"/>
                  <a:gd name="T68" fmla="*/ 23 w 523"/>
                  <a:gd name="T69" fmla="*/ 325 h 369"/>
                  <a:gd name="T70" fmla="*/ 45 w 523"/>
                  <a:gd name="T71" fmla="*/ 338 h 369"/>
                  <a:gd name="T72" fmla="*/ 61 w 523"/>
                  <a:gd name="T73" fmla="*/ 346 h 369"/>
                  <a:gd name="T74" fmla="*/ 77 w 523"/>
                  <a:gd name="T75" fmla="*/ 351 h 369"/>
                  <a:gd name="T76" fmla="*/ 96 w 523"/>
                  <a:gd name="T77" fmla="*/ 358 h 369"/>
                  <a:gd name="T78" fmla="*/ 115 w 523"/>
                  <a:gd name="T79" fmla="*/ 364 h 369"/>
                  <a:gd name="T80" fmla="*/ 135 w 523"/>
                  <a:gd name="T81" fmla="*/ 367 h 369"/>
                  <a:gd name="T82" fmla="*/ 158 w 523"/>
                  <a:gd name="T83" fmla="*/ 369 h 369"/>
                  <a:gd name="T84" fmla="*/ 180 w 523"/>
                  <a:gd name="T85" fmla="*/ 369 h 369"/>
                  <a:gd name="T86" fmla="*/ 205 w 523"/>
                  <a:gd name="T87" fmla="*/ 365 h 369"/>
                  <a:gd name="T88" fmla="*/ 229 w 523"/>
                  <a:gd name="T89" fmla="*/ 358 h 369"/>
                  <a:gd name="T90" fmla="*/ 255 w 523"/>
                  <a:gd name="T91" fmla="*/ 350 h 369"/>
                  <a:gd name="T92" fmla="*/ 255 w 523"/>
                  <a:gd name="T93" fmla="*/ 350 h 369"/>
                  <a:gd name="T94" fmla="*/ 279 w 523"/>
                  <a:gd name="T95" fmla="*/ 338 h 369"/>
                  <a:gd name="T96" fmla="*/ 303 w 523"/>
                  <a:gd name="T97" fmla="*/ 324 h 369"/>
                  <a:gd name="T98" fmla="*/ 326 w 523"/>
                  <a:gd name="T99" fmla="*/ 308 h 369"/>
                  <a:gd name="T100" fmla="*/ 346 w 523"/>
                  <a:gd name="T101" fmla="*/ 293 h 369"/>
                  <a:gd name="T102" fmla="*/ 367 w 523"/>
                  <a:gd name="T103" fmla="*/ 275 h 369"/>
                  <a:gd name="T104" fmla="*/ 386 w 523"/>
                  <a:gd name="T105" fmla="*/ 256 h 369"/>
                  <a:gd name="T106" fmla="*/ 403 w 523"/>
                  <a:gd name="T107" fmla="*/ 237 h 369"/>
                  <a:gd name="T108" fmla="*/ 421 w 523"/>
                  <a:gd name="T109" fmla="*/ 216 h 369"/>
                  <a:gd name="T110" fmla="*/ 438 w 523"/>
                  <a:gd name="T111" fmla="*/ 194 h 369"/>
                  <a:gd name="T112" fmla="*/ 452 w 523"/>
                  <a:gd name="T113" fmla="*/ 171 h 369"/>
                  <a:gd name="T114" fmla="*/ 466 w 523"/>
                  <a:gd name="T115" fmla="*/ 147 h 369"/>
                  <a:gd name="T116" fmla="*/ 480 w 523"/>
                  <a:gd name="T117" fmla="*/ 123 h 369"/>
                  <a:gd name="T118" fmla="*/ 492 w 523"/>
                  <a:gd name="T119" fmla="*/ 99 h 369"/>
                  <a:gd name="T120" fmla="*/ 502 w 523"/>
                  <a:gd name="T121" fmla="*/ 73 h 369"/>
                  <a:gd name="T122" fmla="*/ 523 w 523"/>
                  <a:gd name="T123" fmla="*/ 19 h 369"/>
                  <a:gd name="T124" fmla="*/ 523 w 523"/>
                  <a:gd name="T125" fmla="*/ 19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23" h="369">
                    <a:moveTo>
                      <a:pt x="523" y="19"/>
                    </a:moveTo>
                    <a:lnTo>
                      <a:pt x="523" y="19"/>
                    </a:lnTo>
                    <a:lnTo>
                      <a:pt x="495" y="14"/>
                    </a:lnTo>
                    <a:lnTo>
                      <a:pt x="469" y="9"/>
                    </a:lnTo>
                    <a:lnTo>
                      <a:pt x="441" y="4"/>
                    </a:lnTo>
                    <a:lnTo>
                      <a:pt x="414" y="2"/>
                    </a:lnTo>
                    <a:lnTo>
                      <a:pt x="386" y="0"/>
                    </a:lnTo>
                    <a:lnTo>
                      <a:pt x="358" y="0"/>
                    </a:lnTo>
                    <a:lnTo>
                      <a:pt x="331" y="0"/>
                    </a:lnTo>
                    <a:lnTo>
                      <a:pt x="305" y="2"/>
                    </a:lnTo>
                    <a:lnTo>
                      <a:pt x="277" y="5"/>
                    </a:lnTo>
                    <a:lnTo>
                      <a:pt x="251" y="11"/>
                    </a:lnTo>
                    <a:lnTo>
                      <a:pt x="224" y="17"/>
                    </a:lnTo>
                    <a:lnTo>
                      <a:pt x="198" y="26"/>
                    </a:lnTo>
                    <a:lnTo>
                      <a:pt x="173" y="35"/>
                    </a:lnTo>
                    <a:lnTo>
                      <a:pt x="147" y="47"/>
                    </a:lnTo>
                    <a:lnTo>
                      <a:pt x="123" y="61"/>
                    </a:lnTo>
                    <a:lnTo>
                      <a:pt x="101" y="75"/>
                    </a:lnTo>
                    <a:lnTo>
                      <a:pt x="101" y="75"/>
                    </a:lnTo>
                    <a:lnTo>
                      <a:pt x="80" y="92"/>
                    </a:lnTo>
                    <a:lnTo>
                      <a:pt x="61" y="109"/>
                    </a:lnTo>
                    <a:lnTo>
                      <a:pt x="45" y="128"/>
                    </a:lnTo>
                    <a:lnTo>
                      <a:pt x="33" y="147"/>
                    </a:lnTo>
                    <a:lnTo>
                      <a:pt x="23" y="166"/>
                    </a:lnTo>
                    <a:lnTo>
                      <a:pt x="16" y="187"/>
                    </a:lnTo>
                    <a:lnTo>
                      <a:pt x="9" y="206"/>
                    </a:lnTo>
                    <a:lnTo>
                      <a:pt x="6" y="225"/>
                    </a:lnTo>
                    <a:lnTo>
                      <a:pt x="2" y="242"/>
                    </a:lnTo>
                    <a:lnTo>
                      <a:pt x="0" y="258"/>
                    </a:lnTo>
                    <a:lnTo>
                      <a:pt x="0" y="286"/>
                    </a:lnTo>
                    <a:lnTo>
                      <a:pt x="0" y="303"/>
                    </a:lnTo>
                    <a:lnTo>
                      <a:pt x="2" y="310"/>
                    </a:lnTo>
                    <a:lnTo>
                      <a:pt x="2" y="310"/>
                    </a:lnTo>
                    <a:lnTo>
                      <a:pt x="7" y="315"/>
                    </a:lnTo>
                    <a:lnTo>
                      <a:pt x="23" y="325"/>
                    </a:lnTo>
                    <a:lnTo>
                      <a:pt x="45" y="338"/>
                    </a:lnTo>
                    <a:lnTo>
                      <a:pt x="61" y="346"/>
                    </a:lnTo>
                    <a:lnTo>
                      <a:pt x="77" y="351"/>
                    </a:lnTo>
                    <a:lnTo>
                      <a:pt x="96" y="358"/>
                    </a:lnTo>
                    <a:lnTo>
                      <a:pt x="115" y="364"/>
                    </a:lnTo>
                    <a:lnTo>
                      <a:pt x="135" y="367"/>
                    </a:lnTo>
                    <a:lnTo>
                      <a:pt x="158" y="369"/>
                    </a:lnTo>
                    <a:lnTo>
                      <a:pt x="180" y="369"/>
                    </a:lnTo>
                    <a:lnTo>
                      <a:pt x="205" y="365"/>
                    </a:lnTo>
                    <a:lnTo>
                      <a:pt x="229" y="358"/>
                    </a:lnTo>
                    <a:lnTo>
                      <a:pt x="255" y="350"/>
                    </a:lnTo>
                    <a:lnTo>
                      <a:pt x="255" y="350"/>
                    </a:lnTo>
                    <a:lnTo>
                      <a:pt x="279" y="338"/>
                    </a:lnTo>
                    <a:lnTo>
                      <a:pt x="303" y="324"/>
                    </a:lnTo>
                    <a:lnTo>
                      <a:pt x="326" y="308"/>
                    </a:lnTo>
                    <a:lnTo>
                      <a:pt x="346" y="293"/>
                    </a:lnTo>
                    <a:lnTo>
                      <a:pt x="367" y="275"/>
                    </a:lnTo>
                    <a:lnTo>
                      <a:pt x="386" y="256"/>
                    </a:lnTo>
                    <a:lnTo>
                      <a:pt x="403" y="237"/>
                    </a:lnTo>
                    <a:lnTo>
                      <a:pt x="421" y="216"/>
                    </a:lnTo>
                    <a:lnTo>
                      <a:pt x="438" y="194"/>
                    </a:lnTo>
                    <a:lnTo>
                      <a:pt x="452" y="171"/>
                    </a:lnTo>
                    <a:lnTo>
                      <a:pt x="466" y="147"/>
                    </a:lnTo>
                    <a:lnTo>
                      <a:pt x="480" y="123"/>
                    </a:lnTo>
                    <a:lnTo>
                      <a:pt x="492" y="99"/>
                    </a:lnTo>
                    <a:lnTo>
                      <a:pt x="502" y="73"/>
                    </a:lnTo>
                    <a:lnTo>
                      <a:pt x="523" y="19"/>
                    </a:lnTo>
                    <a:lnTo>
                      <a:pt x="523" y="19"/>
                    </a:lnTo>
                    <a:close/>
                  </a:path>
                </a:pathLst>
              </a:custGeom>
              <a:solidFill>
                <a:srgbClr val="A0CD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1" name="Freeform 1092">
                <a:extLst>
                  <a:ext uri="{FF2B5EF4-FFF2-40B4-BE49-F238E27FC236}">
                    <a16:creationId xmlns:a16="http://schemas.microsoft.com/office/drawing/2014/main" id="{D9612B85-C3B8-4071-A1F3-81A4BA42BB5D}"/>
                  </a:ext>
                </a:extLst>
              </p:cNvPr>
              <p:cNvSpPr>
                <a:spLocks/>
              </p:cNvSpPr>
              <p:nvPr/>
            </p:nvSpPr>
            <p:spPr bwMode="auto">
              <a:xfrm>
                <a:off x="6155885" y="3004701"/>
                <a:ext cx="669502" cy="374675"/>
              </a:xfrm>
              <a:custGeom>
                <a:avLst/>
                <a:gdLst>
                  <a:gd name="T0" fmla="*/ 0 w 435"/>
                  <a:gd name="T1" fmla="*/ 244 h 244"/>
                  <a:gd name="T2" fmla="*/ 0 w 435"/>
                  <a:gd name="T3" fmla="*/ 244 h 244"/>
                  <a:gd name="T4" fmla="*/ 1 w 435"/>
                  <a:gd name="T5" fmla="*/ 240 h 244"/>
                  <a:gd name="T6" fmla="*/ 10 w 435"/>
                  <a:gd name="T7" fmla="*/ 233 h 244"/>
                  <a:gd name="T8" fmla="*/ 29 w 435"/>
                  <a:gd name="T9" fmla="*/ 220 h 244"/>
                  <a:gd name="T10" fmla="*/ 64 w 435"/>
                  <a:gd name="T11" fmla="*/ 197 h 244"/>
                  <a:gd name="T12" fmla="*/ 117 w 435"/>
                  <a:gd name="T13" fmla="*/ 166 h 244"/>
                  <a:gd name="T14" fmla="*/ 193 w 435"/>
                  <a:gd name="T15" fmla="*/ 124 h 244"/>
                  <a:gd name="T16" fmla="*/ 299 w 435"/>
                  <a:gd name="T17" fmla="*/ 69 h 244"/>
                  <a:gd name="T18" fmla="*/ 435 w 435"/>
                  <a:gd name="T19" fmla="*/ 0 h 244"/>
                  <a:gd name="T20" fmla="*/ 435 w 435"/>
                  <a:gd name="T21" fmla="*/ 0 h 244"/>
                  <a:gd name="T22" fmla="*/ 389 w 435"/>
                  <a:gd name="T23" fmla="*/ 29 h 244"/>
                  <a:gd name="T24" fmla="*/ 339 w 435"/>
                  <a:gd name="T25" fmla="*/ 62 h 244"/>
                  <a:gd name="T26" fmla="*/ 276 w 435"/>
                  <a:gd name="T27" fmla="*/ 100 h 244"/>
                  <a:gd name="T28" fmla="*/ 205 w 435"/>
                  <a:gd name="T29" fmla="*/ 142 h 244"/>
                  <a:gd name="T30" fmla="*/ 135 w 435"/>
                  <a:gd name="T31" fmla="*/ 181 h 244"/>
                  <a:gd name="T32" fmla="*/ 64 w 435"/>
                  <a:gd name="T33" fmla="*/ 216 h 244"/>
                  <a:gd name="T34" fmla="*/ 31 w 435"/>
                  <a:gd name="T35" fmla="*/ 232 h 244"/>
                  <a:gd name="T36" fmla="*/ 0 w 435"/>
                  <a:gd name="T37" fmla="*/ 244 h 244"/>
                  <a:gd name="T38" fmla="*/ 0 w 435"/>
                  <a:gd name="T39" fmla="*/ 244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35" h="244">
                    <a:moveTo>
                      <a:pt x="0" y="244"/>
                    </a:moveTo>
                    <a:lnTo>
                      <a:pt x="0" y="244"/>
                    </a:lnTo>
                    <a:lnTo>
                      <a:pt x="1" y="240"/>
                    </a:lnTo>
                    <a:lnTo>
                      <a:pt x="10" y="233"/>
                    </a:lnTo>
                    <a:lnTo>
                      <a:pt x="29" y="220"/>
                    </a:lnTo>
                    <a:lnTo>
                      <a:pt x="64" y="197"/>
                    </a:lnTo>
                    <a:lnTo>
                      <a:pt x="117" y="166"/>
                    </a:lnTo>
                    <a:lnTo>
                      <a:pt x="193" y="124"/>
                    </a:lnTo>
                    <a:lnTo>
                      <a:pt x="299" y="69"/>
                    </a:lnTo>
                    <a:lnTo>
                      <a:pt x="435" y="0"/>
                    </a:lnTo>
                    <a:lnTo>
                      <a:pt x="435" y="0"/>
                    </a:lnTo>
                    <a:lnTo>
                      <a:pt x="389" y="29"/>
                    </a:lnTo>
                    <a:lnTo>
                      <a:pt x="339" y="62"/>
                    </a:lnTo>
                    <a:lnTo>
                      <a:pt x="276" y="100"/>
                    </a:lnTo>
                    <a:lnTo>
                      <a:pt x="205" y="142"/>
                    </a:lnTo>
                    <a:lnTo>
                      <a:pt x="135" y="181"/>
                    </a:lnTo>
                    <a:lnTo>
                      <a:pt x="64" y="216"/>
                    </a:lnTo>
                    <a:lnTo>
                      <a:pt x="31" y="232"/>
                    </a:lnTo>
                    <a:lnTo>
                      <a:pt x="0" y="244"/>
                    </a:lnTo>
                    <a:lnTo>
                      <a:pt x="0" y="244"/>
                    </a:lnTo>
                    <a:close/>
                  </a:path>
                </a:pathLst>
              </a:custGeom>
              <a:solidFill>
                <a:srgbClr val="8AB3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2" name="Freeform 1093">
                <a:extLst>
                  <a:ext uri="{FF2B5EF4-FFF2-40B4-BE49-F238E27FC236}">
                    <a16:creationId xmlns:a16="http://schemas.microsoft.com/office/drawing/2014/main" id="{03C0CD1A-9EAC-419B-B2E8-9740443F9E67}"/>
                  </a:ext>
                </a:extLst>
              </p:cNvPr>
              <p:cNvSpPr>
                <a:spLocks/>
              </p:cNvSpPr>
              <p:nvPr/>
            </p:nvSpPr>
            <p:spPr bwMode="auto">
              <a:xfrm>
                <a:off x="6269517" y="3299527"/>
                <a:ext cx="239546" cy="85991"/>
              </a:xfrm>
              <a:custGeom>
                <a:avLst/>
                <a:gdLst>
                  <a:gd name="T0" fmla="*/ 19 w 158"/>
                  <a:gd name="T1" fmla="*/ 0 h 55"/>
                  <a:gd name="T2" fmla="*/ 19 w 158"/>
                  <a:gd name="T3" fmla="*/ 0 h 55"/>
                  <a:gd name="T4" fmla="*/ 35 w 158"/>
                  <a:gd name="T5" fmla="*/ 3 h 55"/>
                  <a:gd name="T6" fmla="*/ 71 w 158"/>
                  <a:gd name="T7" fmla="*/ 15 h 55"/>
                  <a:gd name="T8" fmla="*/ 94 w 158"/>
                  <a:gd name="T9" fmla="*/ 22 h 55"/>
                  <a:gd name="T10" fmla="*/ 116 w 158"/>
                  <a:gd name="T11" fmla="*/ 33 h 55"/>
                  <a:gd name="T12" fmla="*/ 137 w 158"/>
                  <a:gd name="T13" fmla="*/ 43 h 55"/>
                  <a:gd name="T14" fmla="*/ 158 w 158"/>
                  <a:gd name="T15" fmla="*/ 55 h 55"/>
                  <a:gd name="T16" fmla="*/ 0 w 158"/>
                  <a:gd name="T17" fmla="*/ 10 h 55"/>
                  <a:gd name="T18" fmla="*/ 19 w 158"/>
                  <a:gd name="T19" fmla="*/ 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8" h="55">
                    <a:moveTo>
                      <a:pt x="19" y="0"/>
                    </a:moveTo>
                    <a:lnTo>
                      <a:pt x="19" y="0"/>
                    </a:lnTo>
                    <a:lnTo>
                      <a:pt x="35" y="3"/>
                    </a:lnTo>
                    <a:lnTo>
                      <a:pt x="71" y="15"/>
                    </a:lnTo>
                    <a:lnTo>
                      <a:pt x="94" y="22"/>
                    </a:lnTo>
                    <a:lnTo>
                      <a:pt x="116" y="33"/>
                    </a:lnTo>
                    <a:lnTo>
                      <a:pt x="137" y="43"/>
                    </a:lnTo>
                    <a:lnTo>
                      <a:pt x="158" y="55"/>
                    </a:lnTo>
                    <a:lnTo>
                      <a:pt x="0" y="10"/>
                    </a:lnTo>
                    <a:lnTo>
                      <a:pt x="19" y="0"/>
                    </a:lnTo>
                    <a:close/>
                  </a:path>
                </a:pathLst>
              </a:custGeom>
              <a:solidFill>
                <a:srgbClr val="8AB3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3" name="Freeform 1094">
                <a:extLst>
                  <a:ext uri="{FF2B5EF4-FFF2-40B4-BE49-F238E27FC236}">
                    <a16:creationId xmlns:a16="http://schemas.microsoft.com/office/drawing/2014/main" id="{0E928465-F2F2-47A3-BF2C-2C6DA7254608}"/>
                  </a:ext>
                </a:extLst>
              </p:cNvPr>
              <p:cNvSpPr>
                <a:spLocks/>
              </p:cNvSpPr>
              <p:nvPr/>
            </p:nvSpPr>
            <p:spPr bwMode="auto">
              <a:xfrm>
                <a:off x="6459926" y="3195109"/>
                <a:ext cx="239546" cy="85991"/>
              </a:xfrm>
              <a:custGeom>
                <a:avLst/>
                <a:gdLst>
                  <a:gd name="T0" fmla="*/ 19 w 155"/>
                  <a:gd name="T1" fmla="*/ 0 h 55"/>
                  <a:gd name="T2" fmla="*/ 19 w 155"/>
                  <a:gd name="T3" fmla="*/ 0 h 55"/>
                  <a:gd name="T4" fmla="*/ 33 w 155"/>
                  <a:gd name="T5" fmla="*/ 3 h 55"/>
                  <a:gd name="T6" fmla="*/ 69 w 155"/>
                  <a:gd name="T7" fmla="*/ 15 h 55"/>
                  <a:gd name="T8" fmla="*/ 91 w 155"/>
                  <a:gd name="T9" fmla="*/ 22 h 55"/>
                  <a:gd name="T10" fmla="*/ 114 w 155"/>
                  <a:gd name="T11" fmla="*/ 33 h 55"/>
                  <a:gd name="T12" fmla="*/ 136 w 155"/>
                  <a:gd name="T13" fmla="*/ 43 h 55"/>
                  <a:gd name="T14" fmla="*/ 155 w 155"/>
                  <a:gd name="T15" fmla="*/ 55 h 55"/>
                  <a:gd name="T16" fmla="*/ 0 w 155"/>
                  <a:gd name="T17" fmla="*/ 10 h 55"/>
                  <a:gd name="T18" fmla="*/ 19 w 155"/>
                  <a:gd name="T19" fmla="*/ 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5" h="55">
                    <a:moveTo>
                      <a:pt x="19" y="0"/>
                    </a:moveTo>
                    <a:lnTo>
                      <a:pt x="19" y="0"/>
                    </a:lnTo>
                    <a:lnTo>
                      <a:pt x="33" y="3"/>
                    </a:lnTo>
                    <a:lnTo>
                      <a:pt x="69" y="15"/>
                    </a:lnTo>
                    <a:lnTo>
                      <a:pt x="91" y="22"/>
                    </a:lnTo>
                    <a:lnTo>
                      <a:pt x="114" y="33"/>
                    </a:lnTo>
                    <a:lnTo>
                      <a:pt x="136" y="43"/>
                    </a:lnTo>
                    <a:lnTo>
                      <a:pt x="155" y="55"/>
                    </a:lnTo>
                    <a:lnTo>
                      <a:pt x="0" y="10"/>
                    </a:lnTo>
                    <a:lnTo>
                      <a:pt x="19" y="0"/>
                    </a:lnTo>
                    <a:close/>
                  </a:path>
                </a:pathLst>
              </a:custGeom>
              <a:solidFill>
                <a:srgbClr val="8AB3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4" name="Freeform 1095">
                <a:extLst>
                  <a:ext uri="{FF2B5EF4-FFF2-40B4-BE49-F238E27FC236}">
                    <a16:creationId xmlns:a16="http://schemas.microsoft.com/office/drawing/2014/main" id="{9F34C8E2-0C45-4F6F-A02A-1681546D6539}"/>
                  </a:ext>
                </a:extLst>
              </p:cNvPr>
              <p:cNvSpPr>
                <a:spLocks/>
              </p:cNvSpPr>
              <p:nvPr/>
            </p:nvSpPr>
            <p:spPr bwMode="auto">
              <a:xfrm>
                <a:off x="6383147" y="3013913"/>
                <a:ext cx="64494" cy="242617"/>
              </a:xfrm>
              <a:custGeom>
                <a:avLst/>
                <a:gdLst>
                  <a:gd name="T0" fmla="*/ 19 w 43"/>
                  <a:gd name="T1" fmla="*/ 145 h 157"/>
                  <a:gd name="T2" fmla="*/ 19 w 43"/>
                  <a:gd name="T3" fmla="*/ 145 h 157"/>
                  <a:gd name="T4" fmla="*/ 22 w 43"/>
                  <a:gd name="T5" fmla="*/ 131 h 157"/>
                  <a:gd name="T6" fmla="*/ 33 w 43"/>
                  <a:gd name="T7" fmla="*/ 95 h 157"/>
                  <a:gd name="T8" fmla="*/ 38 w 43"/>
                  <a:gd name="T9" fmla="*/ 71 h 157"/>
                  <a:gd name="T10" fmla="*/ 41 w 43"/>
                  <a:gd name="T11" fmla="*/ 47 h 157"/>
                  <a:gd name="T12" fmla="*/ 43 w 43"/>
                  <a:gd name="T13" fmla="*/ 22 h 157"/>
                  <a:gd name="T14" fmla="*/ 43 w 43"/>
                  <a:gd name="T15" fmla="*/ 0 h 157"/>
                  <a:gd name="T16" fmla="*/ 0 w 43"/>
                  <a:gd name="T17" fmla="*/ 157 h 157"/>
                  <a:gd name="T18" fmla="*/ 19 w 43"/>
                  <a:gd name="T19" fmla="*/ 145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3" h="157">
                    <a:moveTo>
                      <a:pt x="19" y="145"/>
                    </a:moveTo>
                    <a:lnTo>
                      <a:pt x="19" y="145"/>
                    </a:lnTo>
                    <a:lnTo>
                      <a:pt x="22" y="131"/>
                    </a:lnTo>
                    <a:lnTo>
                      <a:pt x="33" y="95"/>
                    </a:lnTo>
                    <a:lnTo>
                      <a:pt x="38" y="71"/>
                    </a:lnTo>
                    <a:lnTo>
                      <a:pt x="41" y="47"/>
                    </a:lnTo>
                    <a:lnTo>
                      <a:pt x="43" y="22"/>
                    </a:lnTo>
                    <a:lnTo>
                      <a:pt x="43" y="0"/>
                    </a:lnTo>
                    <a:lnTo>
                      <a:pt x="0" y="157"/>
                    </a:lnTo>
                    <a:lnTo>
                      <a:pt x="19" y="145"/>
                    </a:lnTo>
                    <a:close/>
                  </a:path>
                </a:pathLst>
              </a:custGeom>
              <a:solidFill>
                <a:srgbClr val="8AB3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5" name="Freeform 1096">
                <a:extLst>
                  <a:ext uri="{FF2B5EF4-FFF2-40B4-BE49-F238E27FC236}">
                    <a16:creationId xmlns:a16="http://schemas.microsoft.com/office/drawing/2014/main" id="{C10C8152-8244-4921-9E91-692DDDAAC25E}"/>
                  </a:ext>
                </a:extLst>
              </p:cNvPr>
              <p:cNvSpPr>
                <a:spLocks/>
              </p:cNvSpPr>
              <p:nvPr/>
            </p:nvSpPr>
            <p:spPr bwMode="auto">
              <a:xfrm>
                <a:off x="6205023" y="3063051"/>
                <a:ext cx="70636" cy="291754"/>
              </a:xfrm>
              <a:custGeom>
                <a:avLst/>
                <a:gdLst>
                  <a:gd name="T0" fmla="*/ 22 w 46"/>
                  <a:gd name="T1" fmla="*/ 178 h 190"/>
                  <a:gd name="T2" fmla="*/ 22 w 46"/>
                  <a:gd name="T3" fmla="*/ 178 h 190"/>
                  <a:gd name="T4" fmla="*/ 27 w 46"/>
                  <a:gd name="T5" fmla="*/ 159 h 190"/>
                  <a:gd name="T6" fmla="*/ 36 w 46"/>
                  <a:gd name="T7" fmla="*/ 116 h 190"/>
                  <a:gd name="T8" fmla="*/ 41 w 46"/>
                  <a:gd name="T9" fmla="*/ 87 h 190"/>
                  <a:gd name="T10" fmla="*/ 45 w 46"/>
                  <a:gd name="T11" fmla="*/ 57 h 190"/>
                  <a:gd name="T12" fmla="*/ 46 w 46"/>
                  <a:gd name="T13" fmla="*/ 28 h 190"/>
                  <a:gd name="T14" fmla="*/ 45 w 46"/>
                  <a:gd name="T15" fmla="*/ 0 h 190"/>
                  <a:gd name="T16" fmla="*/ 0 w 46"/>
                  <a:gd name="T17" fmla="*/ 190 h 190"/>
                  <a:gd name="T18" fmla="*/ 22 w 46"/>
                  <a:gd name="T19" fmla="*/ 178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6" h="190">
                    <a:moveTo>
                      <a:pt x="22" y="178"/>
                    </a:moveTo>
                    <a:lnTo>
                      <a:pt x="22" y="178"/>
                    </a:lnTo>
                    <a:lnTo>
                      <a:pt x="27" y="159"/>
                    </a:lnTo>
                    <a:lnTo>
                      <a:pt x="36" y="116"/>
                    </a:lnTo>
                    <a:lnTo>
                      <a:pt x="41" y="87"/>
                    </a:lnTo>
                    <a:lnTo>
                      <a:pt x="45" y="57"/>
                    </a:lnTo>
                    <a:lnTo>
                      <a:pt x="46" y="28"/>
                    </a:lnTo>
                    <a:lnTo>
                      <a:pt x="45" y="0"/>
                    </a:lnTo>
                    <a:lnTo>
                      <a:pt x="0" y="190"/>
                    </a:lnTo>
                    <a:lnTo>
                      <a:pt x="22" y="178"/>
                    </a:lnTo>
                    <a:close/>
                  </a:path>
                </a:pathLst>
              </a:custGeom>
              <a:solidFill>
                <a:srgbClr val="8AB3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6" name="Freeform 1097">
                <a:extLst>
                  <a:ext uri="{FF2B5EF4-FFF2-40B4-BE49-F238E27FC236}">
                    <a16:creationId xmlns:a16="http://schemas.microsoft.com/office/drawing/2014/main" id="{EE8DE151-090A-468C-8321-C1904CABF73B}"/>
                  </a:ext>
                </a:extLst>
              </p:cNvPr>
              <p:cNvSpPr>
                <a:spLocks/>
              </p:cNvSpPr>
              <p:nvPr/>
            </p:nvSpPr>
            <p:spPr bwMode="auto">
              <a:xfrm>
                <a:off x="6625766" y="3106046"/>
                <a:ext cx="175054" cy="70635"/>
              </a:xfrm>
              <a:custGeom>
                <a:avLst/>
                <a:gdLst>
                  <a:gd name="T0" fmla="*/ 14 w 112"/>
                  <a:gd name="T1" fmla="*/ 0 h 45"/>
                  <a:gd name="T2" fmla="*/ 14 w 112"/>
                  <a:gd name="T3" fmla="*/ 0 h 45"/>
                  <a:gd name="T4" fmla="*/ 24 w 112"/>
                  <a:gd name="T5" fmla="*/ 1 h 45"/>
                  <a:gd name="T6" fmla="*/ 50 w 112"/>
                  <a:gd name="T7" fmla="*/ 12 h 45"/>
                  <a:gd name="T8" fmla="*/ 83 w 112"/>
                  <a:gd name="T9" fmla="*/ 26 h 45"/>
                  <a:gd name="T10" fmla="*/ 98 w 112"/>
                  <a:gd name="T11" fmla="*/ 34 h 45"/>
                  <a:gd name="T12" fmla="*/ 112 w 112"/>
                  <a:gd name="T13" fmla="*/ 45 h 45"/>
                  <a:gd name="T14" fmla="*/ 0 w 112"/>
                  <a:gd name="T15" fmla="*/ 6 h 45"/>
                  <a:gd name="T16" fmla="*/ 14 w 112"/>
                  <a:gd name="T17"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45">
                    <a:moveTo>
                      <a:pt x="14" y="0"/>
                    </a:moveTo>
                    <a:lnTo>
                      <a:pt x="14" y="0"/>
                    </a:lnTo>
                    <a:lnTo>
                      <a:pt x="24" y="1"/>
                    </a:lnTo>
                    <a:lnTo>
                      <a:pt x="50" y="12"/>
                    </a:lnTo>
                    <a:lnTo>
                      <a:pt x="83" y="26"/>
                    </a:lnTo>
                    <a:lnTo>
                      <a:pt x="98" y="34"/>
                    </a:lnTo>
                    <a:lnTo>
                      <a:pt x="112" y="45"/>
                    </a:lnTo>
                    <a:lnTo>
                      <a:pt x="0" y="6"/>
                    </a:lnTo>
                    <a:lnTo>
                      <a:pt x="14" y="0"/>
                    </a:lnTo>
                    <a:close/>
                  </a:path>
                </a:pathLst>
              </a:custGeom>
              <a:solidFill>
                <a:srgbClr val="8AB3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7" name="Freeform 1098">
                <a:extLst>
                  <a:ext uri="{FF2B5EF4-FFF2-40B4-BE49-F238E27FC236}">
                    <a16:creationId xmlns:a16="http://schemas.microsoft.com/office/drawing/2014/main" id="{E1FE7E1B-D155-4F78-B2AB-AAD2F686FB58}"/>
                  </a:ext>
                </a:extLst>
              </p:cNvPr>
              <p:cNvSpPr>
                <a:spLocks/>
              </p:cNvSpPr>
              <p:nvPr/>
            </p:nvSpPr>
            <p:spPr bwMode="auto">
              <a:xfrm>
                <a:off x="6573556" y="2970918"/>
                <a:ext cx="42996" cy="175052"/>
              </a:xfrm>
              <a:custGeom>
                <a:avLst/>
                <a:gdLst>
                  <a:gd name="T0" fmla="*/ 14 w 28"/>
                  <a:gd name="T1" fmla="*/ 108 h 115"/>
                  <a:gd name="T2" fmla="*/ 14 w 28"/>
                  <a:gd name="T3" fmla="*/ 108 h 115"/>
                  <a:gd name="T4" fmla="*/ 17 w 28"/>
                  <a:gd name="T5" fmla="*/ 97 h 115"/>
                  <a:gd name="T6" fmla="*/ 23 w 28"/>
                  <a:gd name="T7" fmla="*/ 70 h 115"/>
                  <a:gd name="T8" fmla="*/ 28 w 28"/>
                  <a:gd name="T9" fmla="*/ 35 h 115"/>
                  <a:gd name="T10" fmla="*/ 28 w 28"/>
                  <a:gd name="T11" fmla="*/ 18 h 115"/>
                  <a:gd name="T12" fmla="*/ 28 w 28"/>
                  <a:gd name="T13" fmla="*/ 0 h 115"/>
                  <a:gd name="T14" fmla="*/ 0 w 28"/>
                  <a:gd name="T15" fmla="*/ 115 h 115"/>
                  <a:gd name="T16" fmla="*/ 14 w 28"/>
                  <a:gd name="T17" fmla="*/ 108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 h="115">
                    <a:moveTo>
                      <a:pt x="14" y="108"/>
                    </a:moveTo>
                    <a:lnTo>
                      <a:pt x="14" y="108"/>
                    </a:lnTo>
                    <a:lnTo>
                      <a:pt x="17" y="97"/>
                    </a:lnTo>
                    <a:lnTo>
                      <a:pt x="23" y="70"/>
                    </a:lnTo>
                    <a:lnTo>
                      <a:pt x="28" y="35"/>
                    </a:lnTo>
                    <a:lnTo>
                      <a:pt x="28" y="18"/>
                    </a:lnTo>
                    <a:lnTo>
                      <a:pt x="28" y="0"/>
                    </a:lnTo>
                    <a:lnTo>
                      <a:pt x="0" y="115"/>
                    </a:lnTo>
                    <a:lnTo>
                      <a:pt x="14" y="108"/>
                    </a:lnTo>
                    <a:close/>
                  </a:path>
                </a:pathLst>
              </a:custGeom>
              <a:solidFill>
                <a:srgbClr val="8AB3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8" name="Freeform 1099">
                <a:extLst>
                  <a:ext uri="{FF2B5EF4-FFF2-40B4-BE49-F238E27FC236}">
                    <a16:creationId xmlns:a16="http://schemas.microsoft.com/office/drawing/2014/main" id="{A4369866-6D6A-40D1-AEB5-A6FA0D5C52D6}"/>
                  </a:ext>
                </a:extLst>
              </p:cNvPr>
              <p:cNvSpPr>
                <a:spLocks/>
              </p:cNvSpPr>
              <p:nvPr/>
            </p:nvSpPr>
            <p:spPr bwMode="auto">
              <a:xfrm>
                <a:off x="6720969" y="2937136"/>
                <a:ext cx="30711" cy="128987"/>
              </a:xfrm>
              <a:custGeom>
                <a:avLst/>
                <a:gdLst>
                  <a:gd name="T0" fmla="*/ 11 w 21"/>
                  <a:gd name="T1" fmla="*/ 79 h 85"/>
                  <a:gd name="T2" fmla="*/ 11 w 21"/>
                  <a:gd name="T3" fmla="*/ 79 h 85"/>
                  <a:gd name="T4" fmla="*/ 16 w 21"/>
                  <a:gd name="T5" fmla="*/ 50 h 85"/>
                  <a:gd name="T6" fmla="*/ 19 w 21"/>
                  <a:gd name="T7" fmla="*/ 26 h 85"/>
                  <a:gd name="T8" fmla="*/ 21 w 21"/>
                  <a:gd name="T9" fmla="*/ 12 h 85"/>
                  <a:gd name="T10" fmla="*/ 19 w 21"/>
                  <a:gd name="T11" fmla="*/ 0 h 85"/>
                  <a:gd name="T12" fmla="*/ 0 w 21"/>
                  <a:gd name="T13" fmla="*/ 85 h 85"/>
                  <a:gd name="T14" fmla="*/ 11 w 21"/>
                  <a:gd name="T15" fmla="*/ 79 h 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 h="85">
                    <a:moveTo>
                      <a:pt x="11" y="79"/>
                    </a:moveTo>
                    <a:lnTo>
                      <a:pt x="11" y="79"/>
                    </a:lnTo>
                    <a:lnTo>
                      <a:pt x="16" y="50"/>
                    </a:lnTo>
                    <a:lnTo>
                      <a:pt x="19" y="26"/>
                    </a:lnTo>
                    <a:lnTo>
                      <a:pt x="21" y="12"/>
                    </a:lnTo>
                    <a:lnTo>
                      <a:pt x="19" y="0"/>
                    </a:lnTo>
                    <a:lnTo>
                      <a:pt x="0" y="85"/>
                    </a:lnTo>
                    <a:lnTo>
                      <a:pt x="11" y="79"/>
                    </a:lnTo>
                    <a:close/>
                  </a:path>
                </a:pathLst>
              </a:custGeom>
              <a:solidFill>
                <a:srgbClr val="8AB3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grpSp>
      <p:sp>
        <p:nvSpPr>
          <p:cNvPr id="39" name="Oval 38">
            <a:extLst>
              <a:ext uri="{FF2B5EF4-FFF2-40B4-BE49-F238E27FC236}">
                <a16:creationId xmlns:a16="http://schemas.microsoft.com/office/drawing/2014/main" id="{CB238937-3344-4222-B6DB-478AF902EB59}"/>
              </a:ext>
            </a:extLst>
          </p:cNvPr>
          <p:cNvSpPr/>
          <p:nvPr/>
        </p:nvSpPr>
        <p:spPr>
          <a:xfrm>
            <a:off x="2021238" y="1963882"/>
            <a:ext cx="1541378" cy="1541378"/>
          </a:xfrm>
          <a:prstGeom prst="ellipse">
            <a:avLst/>
          </a:prstGeom>
          <a:gradFill flip="none" rotWithShape="1">
            <a:gsLst>
              <a:gs pos="13000">
                <a:srgbClr val="FFCB25"/>
              </a:gs>
              <a:gs pos="76000">
                <a:srgbClr val="FFFF00"/>
              </a:gs>
              <a:gs pos="100000">
                <a:srgbClr val="FFFF00"/>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等线" panose="020F0502020204030204"/>
              <a:ea typeface="+mn-ea"/>
              <a:cs typeface="+mn-cs"/>
            </a:endParaRPr>
          </a:p>
        </p:txBody>
      </p:sp>
      <p:sp>
        <p:nvSpPr>
          <p:cNvPr id="40" name="TextBox 39">
            <a:extLst>
              <a:ext uri="{FF2B5EF4-FFF2-40B4-BE49-F238E27FC236}">
                <a16:creationId xmlns:a16="http://schemas.microsoft.com/office/drawing/2014/main" id="{AB981D79-A557-4D6E-8C44-B656C0F6D890}"/>
              </a:ext>
            </a:extLst>
          </p:cNvPr>
          <p:cNvSpPr txBox="1"/>
          <p:nvPr/>
        </p:nvSpPr>
        <p:spPr>
          <a:xfrm>
            <a:off x="3600248" y="2010048"/>
            <a:ext cx="1092992" cy="307777"/>
          </a:xfrm>
          <a:prstGeom prst="rect">
            <a:avLst/>
          </a:prstGeom>
          <a:noFill/>
        </p:spPr>
        <p:txBody>
          <a:bodyPr wrap="non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D229"/>
                </a:solidFill>
                <a:effectLst/>
                <a:uLnTx/>
                <a:uFillTx/>
                <a:latin typeface="等线" panose="020F0502020204030204"/>
                <a:ea typeface="+mn-ea"/>
                <a:cs typeface="Segoe UI Semibold" panose="020B0702040204020203" pitchFamily="34" charset="0"/>
              </a:rPr>
              <a:t>Light Energy</a:t>
            </a:r>
          </a:p>
        </p:txBody>
      </p:sp>
      <p:cxnSp>
        <p:nvCxnSpPr>
          <p:cNvPr id="41" name="Straight Arrow Connector 40">
            <a:extLst>
              <a:ext uri="{FF2B5EF4-FFF2-40B4-BE49-F238E27FC236}">
                <a16:creationId xmlns:a16="http://schemas.microsoft.com/office/drawing/2014/main" id="{F5073512-6120-4004-9DD5-B2C275C6CB45}"/>
              </a:ext>
            </a:extLst>
          </p:cNvPr>
          <p:cNvCxnSpPr/>
          <p:nvPr/>
        </p:nvCxnSpPr>
        <p:spPr>
          <a:xfrm>
            <a:off x="3810849" y="2725443"/>
            <a:ext cx="767442" cy="269674"/>
          </a:xfrm>
          <a:prstGeom prst="straightConnector1">
            <a:avLst/>
          </a:prstGeom>
          <a:ln w="50800" cap="rnd">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42" name="Straight Arrow Connector 41">
            <a:extLst>
              <a:ext uri="{FF2B5EF4-FFF2-40B4-BE49-F238E27FC236}">
                <a16:creationId xmlns:a16="http://schemas.microsoft.com/office/drawing/2014/main" id="{66D66FE2-93F3-4263-9EF8-40F91AFDC57E}"/>
              </a:ext>
            </a:extLst>
          </p:cNvPr>
          <p:cNvCxnSpPr/>
          <p:nvPr/>
        </p:nvCxnSpPr>
        <p:spPr>
          <a:xfrm>
            <a:off x="3595026" y="3312735"/>
            <a:ext cx="767442" cy="269674"/>
          </a:xfrm>
          <a:prstGeom prst="straightConnector1">
            <a:avLst/>
          </a:prstGeom>
          <a:ln w="50800" cap="rnd">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43" name="Straight Arrow Connector 42">
            <a:extLst>
              <a:ext uri="{FF2B5EF4-FFF2-40B4-BE49-F238E27FC236}">
                <a16:creationId xmlns:a16="http://schemas.microsoft.com/office/drawing/2014/main" id="{261E22F5-546E-4609-AB64-0CB6A2D08EC1}"/>
              </a:ext>
            </a:extLst>
          </p:cNvPr>
          <p:cNvCxnSpPr/>
          <p:nvPr/>
        </p:nvCxnSpPr>
        <p:spPr>
          <a:xfrm>
            <a:off x="3834199" y="3054014"/>
            <a:ext cx="767442" cy="269674"/>
          </a:xfrm>
          <a:prstGeom prst="straightConnector1">
            <a:avLst/>
          </a:prstGeom>
          <a:ln w="50800" cap="rnd">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44" name="TextBox 43">
            <a:extLst>
              <a:ext uri="{FF2B5EF4-FFF2-40B4-BE49-F238E27FC236}">
                <a16:creationId xmlns:a16="http://schemas.microsoft.com/office/drawing/2014/main" id="{ED13BC1E-8535-425D-AE76-19A746888B6F}"/>
              </a:ext>
            </a:extLst>
          </p:cNvPr>
          <p:cNvSpPr txBox="1"/>
          <p:nvPr/>
        </p:nvSpPr>
        <p:spPr>
          <a:xfrm>
            <a:off x="3724087" y="3841413"/>
            <a:ext cx="1324017" cy="307777"/>
          </a:xfrm>
          <a:prstGeom prst="rect">
            <a:avLst/>
          </a:prstGeom>
          <a:noFill/>
        </p:spPr>
        <p:txBody>
          <a:bodyPr wrap="none"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4C38"/>
                </a:solidFill>
                <a:effectLst/>
                <a:uLnTx/>
                <a:uFillTx/>
                <a:latin typeface="等线" panose="020F0502020204030204"/>
                <a:ea typeface="+mn-ea"/>
                <a:cs typeface="Segoe UI Semibold" panose="020B0702040204020203" pitchFamily="34" charset="0"/>
              </a:rPr>
              <a:t>Carbon Dioxide</a:t>
            </a:r>
          </a:p>
        </p:txBody>
      </p:sp>
      <p:sp>
        <p:nvSpPr>
          <p:cNvPr id="45" name="Arc 44">
            <a:extLst>
              <a:ext uri="{FF2B5EF4-FFF2-40B4-BE49-F238E27FC236}">
                <a16:creationId xmlns:a16="http://schemas.microsoft.com/office/drawing/2014/main" id="{83F039F3-D06A-4E4C-ABE8-B9439253BAB8}"/>
              </a:ext>
            </a:extLst>
          </p:cNvPr>
          <p:cNvSpPr/>
          <p:nvPr/>
        </p:nvSpPr>
        <p:spPr>
          <a:xfrm>
            <a:off x="4673558" y="3931194"/>
            <a:ext cx="864504" cy="864504"/>
          </a:xfrm>
          <a:prstGeom prst="arc">
            <a:avLst>
              <a:gd name="adj1" fmla="val 21569256"/>
              <a:gd name="adj2" fmla="val 11736781"/>
            </a:avLst>
          </a:prstGeom>
          <a:ln w="50800" cap="rnd">
            <a:solidFill>
              <a:schemeClr val="accent2"/>
            </a:solidFill>
            <a:headEnd type="triangl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46" name="TextBox 45">
            <a:extLst>
              <a:ext uri="{FF2B5EF4-FFF2-40B4-BE49-F238E27FC236}">
                <a16:creationId xmlns:a16="http://schemas.microsoft.com/office/drawing/2014/main" id="{AC473C16-9DEE-401F-A1F0-DD8C67A35719}"/>
              </a:ext>
            </a:extLst>
          </p:cNvPr>
          <p:cNvSpPr txBox="1"/>
          <p:nvPr/>
        </p:nvSpPr>
        <p:spPr>
          <a:xfrm>
            <a:off x="6353934" y="2998632"/>
            <a:ext cx="993542" cy="307777"/>
          </a:xfrm>
          <a:prstGeom prst="rect">
            <a:avLst/>
          </a:prstGeom>
          <a:noFill/>
        </p:spPr>
        <p:txBody>
          <a:bodyPr wrap="non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err="1">
                <a:ln>
                  <a:noFill/>
                </a:ln>
                <a:solidFill>
                  <a:srgbClr val="FF388A"/>
                </a:solidFill>
                <a:effectLst/>
                <a:uLnTx/>
                <a:uFillTx/>
                <a:latin typeface="等线" panose="020F0502020204030204"/>
                <a:ea typeface="+mn-ea"/>
                <a:cs typeface="Segoe UI Semibold" panose="020B0702040204020203" pitchFamily="34" charset="0"/>
              </a:rPr>
              <a:t>Chlorophyl</a:t>
            </a:r>
            <a:endParaRPr kumimoji="0" lang="en-US" sz="1400" b="1" i="0" u="none" strike="noStrike" kern="1200" cap="none" spc="0" normalizeH="0" baseline="0" noProof="0" dirty="0">
              <a:ln>
                <a:noFill/>
              </a:ln>
              <a:solidFill>
                <a:srgbClr val="FF388A"/>
              </a:solidFill>
              <a:effectLst/>
              <a:uLnTx/>
              <a:uFillTx/>
              <a:latin typeface="等线" panose="020F0502020204030204"/>
              <a:ea typeface="+mn-ea"/>
              <a:cs typeface="Segoe UI Semibold" panose="020B0702040204020203" pitchFamily="34" charset="0"/>
            </a:endParaRPr>
          </a:p>
        </p:txBody>
      </p:sp>
      <p:sp>
        <p:nvSpPr>
          <p:cNvPr id="47" name="TextBox 46">
            <a:extLst>
              <a:ext uri="{FF2B5EF4-FFF2-40B4-BE49-F238E27FC236}">
                <a16:creationId xmlns:a16="http://schemas.microsoft.com/office/drawing/2014/main" id="{7E322465-600F-44EA-B285-105E50D616FE}"/>
              </a:ext>
            </a:extLst>
          </p:cNvPr>
          <p:cNvSpPr txBox="1"/>
          <p:nvPr/>
        </p:nvSpPr>
        <p:spPr>
          <a:xfrm>
            <a:off x="7891560" y="2026389"/>
            <a:ext cx="739241" cy="307777"/>
          </a:xfrm>
          <a:prstGeom prst="rect">
            <a:avLst/>
          </a:prstGeom>
          <a:noFill/>
        </p:spPr>
        <p:txBody>
          <a:bodyPr wrap="non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8F38FF"/>
                </a:solidFill>
                <a:effectLst/>
                <a:uLnTx/>
                <a:uFillTx/>
                <a:latin typeface="等线" panose="020F0502020204030204"/>
                <a:ea typeface="+mn-ea"/>
                <a:cs typeface="Segoe UI Semibold" panose="020B0702040204020203" pitchFamily="34" charset="0"/>
              </a:rPr>
              <a:t>Oxygen</a:t>
            </a:r>
          </a:p>
        </p:txBody>
      </p:sp>
      <p:sp>
        <p:nvSpPr>
          <p:cNvPr id="48" name="TextBox 47">
            <a:extLst>
              <a:ext uri="{FF2B5EF4-FFF2-40B4-BE49-F238E27FC236}">
                <a16:creationId xmlns:a16="http://schemas.microsoft.com/office/drawing/2014/main" id="{A75D7A75-79C4-4A6C-8BF2-4909EC840826}"/>
              </a:ext>
            </a:extLst>
          </p:cNvPr>
          <p:cNvSpPr txBox="1"/>
          <p:nvPr/>
        </p:nvSpPr>
        <p:spPr>
          <a:xfrm>
            <a:off x="8108480" y="3632155"/>
            <a:ext cx="757067" cy="523220"/>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D99B"/>
                </a:solidFill>
                <a:effectLst/>
                <a:uLnTx/>
                <a:uFillTx/>
                <a:latin typeface="等线" panose="020F0502020204030204"/>
                <a:ea typeface="+mn-ea"/>
                <a:cs typeface="Segoe UI Semibold" panose="020B0702040204020203" pitchFamily="34" charset="0"/>
              </a:rPr>
              <a:t>Sugar i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D99B"/>
                </a:solidFill>
                <a:effectLst/>
                <a:uLnTx/>
                <a:uFillTx/>
                <a:latin typeface="等线" panose="020F0502020204030204"/>
                <a:ea typeface="+mn-ea"/>
                <a:cs typeface="Segoe UI Semibold" panose="020B0702040204020203" pitchFamily="34" charset="0"/>
              </a:rPr>
              <a:t>formed</a:t>
            </a:r>
          </a:p>
        </p:txBody>
      </p:sp>
      <p:sp>
        <p:nvSpPr>
          <p:cNvPr id="49" name="Arc 48">
            <a:extLst>
              <a:ext uri="{FF2B5EF4-FFF2-40B4-BE49-F238E27FC236}">
                <a16:creationId xmlns:a16="http://schemas.microsoft.com/office/drawing/2014/main" id="{99606300-89CD-4EC7-BEEC-13C69F1BB759}"/>
              </a:ext>
            </a:extLst>
          </p:cNvPr>
          <p:cNvSpPr/>
          <p:nvPr/>
        </p:nvSpPr>
        <p:spPr>
          <a:xfrm>
            <a:off x="7020719" y="1768442"/>
            <a:ext cx="1086664" cy="1086664"/>
          </a:xfrm>
          <a:prstGeom prst="arc">
            <a:avLst>
              <a:gd name="adj1" fmla="val 7998041"/>
              <a:gd name="adj2" fmla="val 19563011"/>
            </a:avLst>
          </a:prstGeom>
          <a:ln w="50800" cap="rnd">
            <a:solidFill>
              <a:schemeClr val="accent3"/>
            </a:solidFill>
            <a:headEnd type="non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50" name="Arc 49">
            <a:extLst>
              <a:ext uri="{FF2B5EF4-FFF2-40B4-BE49-F238E27FC236}">
                <a16:creationId xmlns:a16="http://schemas.microsoft.com/office/drawing/2014/main" id="{463F298C-C5AC-4BF1-B0F8-C3FE49D4FF05}"/>
              </a:ext>
            </a:extLst>
          </p:cNvPr>
          <p:cNvSpPr/>
          <p:nvPr/>
        </p:nvSpPr>
        <p:spPr>
          <a:xfrm>
            <a:off x="7226178" y="3462949"/>
            <a:ext cx="1086664" cy="1086664"/>
          </a:xfrm>
          <a:prstGeom prst="arc">
            <a:avLst>
              <a:gd name="adj1" fmla="val 2299390"/>
              <a:gd name="adj2" fmla="val 10912732"/>
            </a:avLst>
          </a:prstGeom>
          <a:ln w="50800" cap="rnd">
            <a:solidFill>
              <a:schemeClr val="accent4"/>
            </a:solid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51" name="TextBox 50">
            <a:extLst>
              <a:ext uri="{FF2B5EF4-FFF2-40B4-BE49-F238E27FC236}">
                <a16:creationId xmlns:a16="http://schemas.microsoft.com/office/drawing/2014/main" id="{05CA3AAD-950B-4FD0-AF5B-B86E7FDA5D21}"/>
              </a:ext>
            </a:extLst>
          </p:cNvPr>
          <p:cNvSpPr txBox="1"/>
          <p:nvPr/>
        </p:nvSpPr>
        <p:spPr>
          <a:xfrm>
            <a:off x="3864392" y="5840030"/>
            <a:ext cx="642420" cy="307777"/>
          </a:xfrm>
          <a:prstGeom prst="rect">
            <a:avLst/>
          </a:prstGeom>
          <a:noFill/>
        </p:spPr>
        <p:txBody>
          <a:bodyPr wrap="none"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385FFF"/>
                </a:solidFill>
                <a:effectLst/>
                <a:uLnTx/>
                <a:uFillTx/>
                <a:latin typeface="等线" panose="020F0502020204030204"/>
                <a:ea typeface="+mn-ea"/>
                <a:cs typeface="Segoe UI Semibold" panose="020B0702040204020203" pitchFamily="34" charset="0"/>
              </a:rPr>
              <a:t>Water</a:t>
            </a:r>
          </a:p>
        </p:txBody>
      </p:sp>
      <p:cxnSp>
        <p:nvCxnSpPr>
          <p:cNvPr id="52" name="Straight Arrow Connector 51">
            <a:extLst>
              <a:ext uri="{FF2B5EF4-FFF2-40B4-BE49-F238E27FC236}">
                <a16:creationId xmlns:a16="http://schemas.microsoft.com/office/drawing/2014/main" id="{ADA78BFA-E416-43AC-B167-A763EE328A19}"/>
              </a:ext>
            </a:extLst>
          </p:cNvPr>
          <p:cNvCxnSpPr>
            <a:cxnSpLocks/>
          </p:cNvCxnSpPr>
          <p:nvPr/>
        </p:nvCxnSpPr>
        <p:spPr>
          <a:xfrm>
            <a:off x="4589334" y="5993919"/>
            <a:ext cx="825886" cy="0"/>
          </a:xfrm>
          <a:prstGeom prst="straightConnector1">
            <a:avLst/>
          </a:prstGeom>
          <a:ln w="50800" cap="rnd">
            <a:solidFill>
              <a:schemeClr val="accent5">
                <a:alpha val="27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53" name="Teardrop 52">
            <a:extLst>
              <a:ext uri="{FF2B5EF4-FFF2-40B4-BE49-F238E27FC236}">
                <a16:creationId xmlns:a16="http://schemas.microsoft.com/office/drawing/2014/main" id="{75A0CFE4-A5CB-4D9F-B386-68046D4BDCA9}"/>
              </a:ext>
            </a:extLst>
          </p:cNvPr>
          <p:cNvSpPr/>
          <p:nvPr/>
        </p:nvSpPr>
        <p:spPr>
          <a:xfrm rot="18900000">
            <a:off x="5835816" y="5615887"/>
            <a:ext cx="133828" cy="133828"/>
          </a:xfrm>
          <a:prstGeom prst="teardrop">
            <a:avLst>
              <a:gd name="adj" fmla="val 131661"/>
            </a:avLst>
          </a:prstGeom>
          <a:solidFill>
            <a:srgbClr val="15C2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等线" panose="020F0502020204030204"/>
              <a:ea typeface="+mn-ea"/>
              <a:cs typeface="+mn-cs"/>
            </a:endParaRPr>
          </a:p>
        </p:txBody>
      </p:sp>
      <p:sp>
        <p:nvSpPr>
          <p:cNvPr id="54" name="Teardrop 53">
            <a:extLst>
              <a:ext uri="{FF2B5EF4-FFF2-40B4-BE49-F238E27FC236}">
                <a16:creationId xmlns:a16="http://schemas.microsoft.com/office/drawing/2014/main" id="{3A5984FA-008D-49DF-B3D8-2AC4A771DF77}"/>
              </a:ext>
            </a:extLst>
          </p:cNvPr>
          <p:cNvSpPr/>
          <p:nvPr/>
        </p:nvSpPr>
        <p:spPr>
          <a:xfrm rot="18900000">
            <a:off x="6106782" y="5920318"/>
            <a:ext cx="133828" cy="133828"/>
          </a:xfrm>
          <a:prstGeom prst="teardrop">
            <a:avLst>
              <a:gd name="adj" fmla="val 131661"/>
            </a:avLst>
          </a:prstGeom>
          <a:solidFill>
            <a:srgbClr val="15C2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等线" panose="020F0502020204030204"/>
              <a:ea typeface="+mn-ea"/>
              <a:cs typeface="+mn-cs"/>
            </a:endParaRPr>
          </a:p>
        </p:txBody>
      </p:sp>
      <p:sp>
        <p:nvSpPr>
          <p:cNvPr id="55" name="Teardrop 54">
            <a:extLst>
              <a:ext uri="{FF2B5EF4-FFF2-40B4-BE49-F238E27FC236}">
                <a16:creationId xmlns:a16="http://schemas.microsoft.com/office/drawing/2014/main" id="{59B9C023-1A59-4728-96F8-BB74572F480C}"/>
              </a:ext>
            </a:extLst>
          </p:cNvPr>
          <p:cNvSpPr/>
          <p:nvPr/>
        </p:nvSpPr>
        <p:spPr>
          <a:xfrm rot="18900000">
            <a:off x="6303332" y="5530347"/>
            <a:ext cx="133828" cy="133828"/>
          </a:xfrm>
          <a:prstGeom prst="teardrop">
            <a:avLst>
              <a:gd name="adj" fmla="val 131661"/>
            </a:avLst>
          </a:prstGeom>
          <a:solidFill>
            <a:srgbClr val="15C2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等线" panose="020F0502020204030204"/>
              <a:ea typeface="+mn-ea"/>
              <a:cs typeface="+mn-cs"/>
            </a:endParaRPr>
          </a:p>
        </p:txBody>
      </p:sp>
      <p:sp>
        <p:nvSpPr>
          <p:cNvPr id="56" name="Teardrop 55">
            <a:extLst>
              <a:ext uri="{FF2B5EF4-FFF2-40B4-BE49-F238E27FC236}">
                <a16:creationId xmlns:a16="http://schemas.microsoft.com/office/drawing/2014/main" id="{20BA8AB4-1943-470C-A9DA-A1998651585F}"/>
              </a:ext>
            </a:extLst>
          </p:cNvPr>
          <p:cNvSpPr/>
          <p:nvPr/>
        </p:nvSpPr>
        <p:spPr>
          <a:xfrm rot="18900000">
            <a:off x="6613526" y="5834158"/>
            <a:ext cx="133828" cy="133828"/>
          </a:xfrm>
          <a:prstGeom prst="teardrop">
            <a:avLst>
              <a:gd name="adj" fmla="val 131661"/>
            </a:avLst>
          </a:prstGeom>
          <a:solidFill>
            <a:srgbClr val="15C2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等线" panose="020F0502020204030204"/>
              <a:ea typeface="+mn-ea"/>
              <a:cs typeface="+mn-cs"/>
            </a:endParaRPr>
          </a:p>
        </p:txBody>
      </p:sp>
      <p:sp>
        <p:nvSpPr>
          <p:cNvPr id="57" name="Teardrop 56">
            <a:extLst>
              <a:ext uri="{FF2B5EF4-FFF2-40B4-BE49-F238E27FC236}">
                <a16:creationId xmlns:a16="http://schemas.microsoft.com/office/drawing/2014/main" id="{69A8827A-3042-4D59-8E68-82161FEE130A}"/>
              </a:ext>
            </a:extLst>
          </p:cNvPr>
          <p:cNvSpPr/>
          <p:nvPr/>
        </p:nvSpPr>
        <p:spPr>
          <a:xfrm rot="18900000">
            <a:off x="6380279" y="6300408"/>
            <a:ext cx="133828" cy="133828"/>
          </a:xfrm>
          <a:prstGeom prst="teardrop">
            <a:avLst>
              <a:gd name="adj" fmla="val 131661"/>
            </a:avLst>
          </a:prstGeom>
          <a:solidFill>
            <a:srgbClr val="15C2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等线" panose="020F0502020204030204"/>
              <a:ea typeface="+mn-ea"/>
              <a:cs typeface="+mn-cs"/>
            </a:endParaRPr>
          </a:p>
        </p:txBody>
      </p:sp>
      <p:sp>
        <p:nvSpPr>
          <p:cNvPr id="58" name="Teardrop 57">
            <a:extLst>
              <a:ext uri="{FF2B5EF4-FFF2-40B4-BE49-F238E27FC236}">
                <a16:creationId xmlns:a16="http://schemas.microsoft.com/office/drawing/2014/main" id="{3EE20B1F-901A-416F-BB66-49D0F46B33C9}"/>
              </a:ext>
            </a:extLst>
          </p:cNvPr>
          <p:cNvSpPr/>
          <p:nvPr/>
        </p:nvSpPr>
        <p:spPr>
          <a:xfrm rot="18900000">
            <a:off x="5653579" y="6055726"/>
            <a:ext cx="133828" cy="133828"/>
          </a:xfrm>
          <a:prstGeom prst="teardrop">
            <a:avLst>
              <a:gd name="adj" fmla="val 131661"/>
            </a:avLst>
          </a:prstGeom>
          <a:solidFill>
            <a:srgbClr val="15C2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等线" panose="020F0502020204030204"/>
              <a:ea typeface="+mn-ea"/>
              <a:cs typeface="+mn-cs"/>
            </a:endParaRPr>
          </a:p>
        </p:txBody>
      </p:sp>
      <p:sp>
        <p:nvSpPr>
          <p:cNvPr id="59" name="Teardrop 58">
            <a:extLst>
              <a:ext uri="{FF2B5EF4-FFF2-40B4-BE49-F238E27FC236}">
                <a16:creationId xmlns:a16="http://schemas.microsoft.com/office/drawing/2014/main" id="{B92221C2-04D7-4351-8804-DFCCE76A4FD2}"/>
              </a:ext>
            </a:extLst>
          </p:cNvPr>
          <p:cNvSpPr/>
          <p:nvPr/>
        </p:nvSpPr>
        <p:spPr>
          <a:xfrm rot="18900000">
            <a:off x="6937841" y="5593002"/>
            <a:ext cx="133828" cy="133828"/>
          </a:xfrm>
          <a:prstGeom prst="teardrop">
            <a:avLst>
              <a:gd name="adj" fmla="val 131661"/>
            </a:avLst>
          </a:prstGeom>
          <a:solidFill>
            <a:srgbClr val="15C2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等线" panose="020F0502020204030204"/>
              <a:ea typeface="+mn-ea"/>
              <a:cs typeface="+mn-cs"/>
            </a:endParaRPr>
          </a:p>
        </p:txBody>
      </p:sp>
      <p:sp>
        <p:nvSpPr>
          <p:cNvPr id="60" name="Teardrop 59">
            <a:extLst>
              <a:ext uri="{FF2B5EF4-FFF2-40B4-BE49-F238E27FC236}">
                <a16:creationId xmlns:a16="http://schemas.microsoft.com/office/drawing/2014/main" id="{B5418DBA-3723-4B75-89A2-29F89124F587}"/>
              </a:ext>
            </a:extLst>
          </p:cNvPr>
          <p:cNvSpPr/>
          <p:nvPr/>
        </p:nvSpPr>
        <p:spPr>
          <a:xfrm rot="18900000">
            <a:off x="6910382" y="6296038"/>
            <a:ext cx="133828" cy="133828"/>
          </a:xfrm>
          <a:prstGeom prst="teardrop">
            <a:avLst>
              <a:gd name="adj" fmla="val 131661"/>
            </a:avLst>
          </a:prstGeom>
          <a:solidFill>
            <a:srgbClr val="15C2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等线" panose="020F0502020204030204"/>
              <a:ea typeface="+mn-ea"/>
              <a:cs typeface="+mn-cs"/>
            </a:endParaRPr>
          </a:p>
        </p:txBody>
      </p:sp>
      <p:grpSp>
        <p:nvGrpSpPr>
          <p:cNvPr id="61" name="Group 2">
            <a:extLst>
              <a:ext uri="{FF2B5EF4-FFF2-40B4-BE49-F238E27FC236}">
                <a16:creationId xmlns:a16="http://schemas.microsoft.com/office/drawing/2014/main" id="{50FD9AB0-2D6C-4974-8288-05D05ADADFAB}"/>
              </a:ext>
            </a:extLst>
          </p:cNvPr>
          <p:cNvGrpSpPr/>
          <p:nvPr/>
        </p:nvGrpSpPr>
        <p:grpSpPr>
          <a:xfrm>
            <a:off x="1804121" y="3848691"/>
            <a:ext cx="1585536" cy="2094874"/>
            <a:chOff x="923913" y="3584741"/>
            <a:chExt cx="1585536" cy="2094874"/>
          </a:xfrm>
          <a:effectLst>
            <a:outerShdw blurRad="1181100" dist="685800" dir="8100000" algn="tr" rotWithShape="0">
              <a:prstClr val="black">
                <a:alpha val="36000"/>
              </a:prstClr>
            </a:outerShdw>
          </a:effectLst>
        </p:grpSpPr>
        <p:sp>
          <p:nvSpPr>
            <p:cNvPr id="62" name="Rectangle: Rounded Corners 61">
              <a:extLst>
                <a:ext uri="{FF2B5EF4-FFF2-40B4-BE49-F238E27FC236}">
                  <a16:creationId xmlns:a16="http://schemas.microsoft.com/office/drawing/2014/main" id="{101495CB-03A5-480A-AE20-CFECAA982241}"/>
                </a:ext>
              </a:extLst>
            </p:cNvPr>
            <p:cNvSpPr/>
            <p:nvPr/>
          </p:nvSpPr>
          <p:spPr>
            <a:xfrm>
              <a:off x="923913" y="3584741"/>
              <a:ext cx="1585536" cy="2094874"/>
            </a:xfrm>
            <a:prstGeom prst="roundRect">
              <a:avLst>
                <a:gd name="adj" fmla="val 3589"/>
              </a:avLst>
            </a:prstGeom>
            <a:solidFill>
              <a:schemeClr val="accent1"/>
            </a:solidFill>
            <a:ln>
              <a:noFill/>
            </a:ln>
            <a:effectLst>
              <a:outerShdw blurRad="825500" dist="508000" dir="5400000" sx="85000" sy="85000" algn="t" rotWithShape="0">
                <a:prstClr val="black">
                  <a:alpha val="1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等线 Light" panose="020F0302020204030204"/>
                <a:ea typeface="+mn-ea"/>
                <a:cs typeface="+mn-cs"/>
              </a:endParaRPr>
            </a:p>
          </p:txBody>
        </p:sp>
        <p:grpSp>
          <p:nvGrpSpPr>
            <p:cNvPr id="63" name="Group 62">
              <a:extLst>
                <a:ext uri="{FF2B5EF4-FFF2-40B4-BE49-F238E27FC236}">
                  <a16:creationId xmlns:a16="http://schemas.microsoft.com/office/drawing/2014/main" id="{C4636CD9-4423-4CD6-962F-A9207D6CC2C0}"/>
                </a:ext>
              </a:extLst>
            </p:cNvPr>
            <p:cNvGrpSpPr/>
            <p:nvPr/>
          </p:nvGrpSpPr>
          <p:grpSpPr>
            <a:xfrm>
              <a:off x="1142561" y="3797610"/>
              <a:ext cx="1148239" cy="1148239"/>
              <a:chOff x="6360732" y="3457404"/>
              <a:chExt cx="1148239" cy="1148239"/>
            </a:xfrm>
          </p:grpSpPr>
          <p:grpSp>
            <p:nvGrpSpPr>
              <p:cNvPr id="67" name="Group 63">
                <a:extLst>
                  <a:ext uri="{FF2B5EF4-FFF2-40B4-BE49-F238E27FC236}">
                    <a16:creationId xmlns:a16="http://schemas.microsoft.com/office/drawing/2014/main" id="{B539C7C1-9B1F-44A7-A839-B3B298FD9AFE}"/>
                  </a:ext>
                </a:extLst>
              </p:cNvPr>
              <p:cNvGrpSpPr/>
              <p:nvPr/>
            </p:nvGrpSpPr>
            <p:grpSpPr>
              <a:xfrm>
                <a:off x="6360732" y="3457404"/>
                <a:ext cx="1148239" cy="1148239"/>
                <a:chOff x="5937168" y="883672"/>
                <a:chExt cx="1899282" cy="1899282"/>
              </a:xfrm>
            </p:grpSpPr>
            <p:sp>
              <p:nvSpPr>
                <p:cNvPr id="71" name="Oval 67">
                  <a:extLst>
                    <a:ext uri="{FF2B5EF4-FFF2-40B4-BE49-F238E27FC236}">
                      <a16:creationId xmlns:a16="http://schemas.microsoft.com/office/drawing/2014/main" id="{436BB3B6-18BB-46F6-B19D-E92C5657FBCE}"/>
                    </a:ext>
                  </a:extLst>
                </p:cNvPr>
                <p:cNvSpPr/>
                <p:nvPr/>
              </p:nvSpPr>
              <p:spPr>
                <a:xfrm>
                  <a:off x="5937168" y="883672"/>
                  <a:ext cx="1899282" cy="1899282"/>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等线 Light" panose="020F0302020204030204"/>
                    <a:ea typeface="+mn-ea"/>
                    <a:cs typeface="+mn-cs"/>
                  </a:endParaRPr>
                </a:p>
              </p:txBody>
            </p:sp>
            <p:sp>
              <p:nvSpPr>
                <p:cNvPr id="72" name="Partial Circle 68">
                  <a:extLst>
                    <a:ext uri="{FF2B5EF4-FFF2-40B4-BE49-F238E27FC236}">
                      <a16:creationId xmlns:a16="http://schemas.microsoft.com/office/drawing/2014/main" id="{0CAD2249-0D4C-4DC6-81B0-D27FDFEDD2B5}"/>
                    </a:ext>
                  </a:extLst>
                </p:cNvPr>
                <p:cNvSpPr/>
                <p:nvPr/>
              </p:nvSpPr>
              <p:spPr>
                <a:xfrm>
                  <a:off x="5937168" y="883672"/>
                  <a:ext cx="1899282" cy="1899282"/>
                </a:xfrm>
                <a:prstGeom prst="pie">
                  <a:avLst>
                    <a:gd name="adj1" fmla="val 1956993"/>
                    <a:gd name="adj2" fmla="val 16200000"/>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等线 Light" panose="020F0302020204030204"/>
                    <a:ea typeface="+mn-ea"/>
                    <a:cs typeface="+mn-cs"/>
                  </a:endParaRPr>
                </a:p>
              </p:txBody>
            </p:sp>
            <p:sp>
              <p:nvSpPr>
                <p:cNvPr id="73" name="Oval 69">
                  <a:extLst>
                    <a:ext uri="{FF2B5EF4-FFF2-40B4-BE49-F238E27FC236}">
                      <a16:creationId xmlns:a16="http://schemas.microsoft.com/office/drawing/2014/main" id="{B7C5B62C-427F-4C39-96A8-12D5791CAB61}"/>
                    </a:ext>
                  </a:extLst>
                </p:cNvPr>
                <p:cNvSpPr/>
                <p:nvPr/>
              </p:nvSpPr>
              <p:spPr>
                <a:xfrm>
                  <a:off x="6044080" y="990584"/>
                  <a:ext cx="1685458" cy="168545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等线 Light" panose="020F0302020204030204"/>
                    <a:ea typeface="+mn-ea"/>
                    <a:cs typeface="+mn-cs"/>
                  </a:endParaRPr>
                </a:p>
              </p:txBody>
            </p:sp>
          </p:grpSp>
          <p:grpSp>
            <p:nvGrpSpPr>
              <p:cNvPr id="68" name="Group 64">
                <a:extLst>
                  <a:ext uri="{FF2B5EF4-FFF2-40B4-BE49-F238E27FC236}">
                    <a16:creationId xmlns:a16="http://schemas.microsoft.com/office/drawing/2014/main" id="{77763977-071D-450E-B9FB-E63AC9F14ED1}"/>
                  </a:ext>
                </a:extLst>
              </p:cNvPr>
              <p:cNvGrpSpPr/>
              <p:nvPr/>
            </p:nvGrpSpPr>
            <p:grpSpPr>
              <a:xfrm>
                <a:off x="6482522" y="3660845"/>
                <a:ext cx="927196" cy="695497"/>
                <a:chOff x="6488872" y="3671308"/>
                <a:chExt cx="927196" cy="695497"/>
              </a:xfrm>
            </p:grpSpPr>
            <p:sp>
              <p:nvSpPr>
                <p:cNvPr id="69" name="TextBox 65">
                  <a:extLst>
                    <a:ext uri="{FF2B5EF4-FFF2-40B4-BE49-F238E27FC236}">
                      <a16:creationId xmlns:a16="http://schemas.microsoft.com/office/drawing/2014/main" id="{CF06FDA6-2CB5-463C-BE1E-6D354B08A13E}"/>
                    </a:ext>
                  </a:extLst>
                </p:cNvPr>
                <p:cNvSpPr txBox="1"/>
                <p:nvPr/>
              </p:nvSpPr>
              <p:spPr>
                <a:xfrm>
                  <a:off x="6488872" y="3671308"/>
                  <a:ext cx="927196" cy="549831"/>
                </a:xfrm>
                <a:prstGeom prst="rect">
                  <a:avLst/>
                </a:prstGeom>
                <a:noFill/>
              </p:spPr>
              <p:txBody>
                <a:bodyPr wrap="square" rtlCol="0">
                  <a:spAutoFit/>
                </a:bodyPr>
                <a:lstStyle/>
                <a:p>
                  <a:pPr marL="0" marR="0" lvl="0" indent="0" algn="ctr" defTabSz="914400" rtl="0" eaLnBrk="1" fontAlgn="auto" latinLnBrk="0" hangingPunct="1">
                    <a:lnSpc>
                      <a:spcPct val="14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000000">
                          <a:lumMod val="75000"/>
                          <a:lumOff val="25000"/>
                        </a:srgbClr>
                      </a:solidFill>
                      <a:effectLst/>
                      <a:uLnTx/>
                      <a:uFillTx/>
                      <a:latin typeface="Segoe UI" panose="020B0502040204020203" pitchFamily="34" charset="0"/>
                      <a:ea typeface="+mn-ea"/>
                      <a:cs typeface="Segoe UI" panose="020B0502040204020203" pitchFamily="34" charset="0"/>
                    </a:rPr>
                    <a:t>65%</a:t>
                  </a:r>
                </a:p>
              </p:txBody>
            </p:sp>
            <p:sp>
              <p:nvSpPr>
                <p:cNvPr id="70" name="TextBox 66">
                  <a:extLst>
                    <a:ext uri="{FF2B5EF4-FFF2-40B4-BE49-F238E27FC236}">
                      <a16:creationId xmlns:a16="http://schemas.microsoft.com/office/drawing/2014/main" id="{746621BB-A099-4F31-8EE1-4AA90237AB06}"/>
                    </a:ext>
                  </a:extLst>
                </p:cNvPr>
                <p:cNvSpPr txBox="1"/>
                <p:nvPr/>
              </p:nvSpPr>
              <p:spPr>
                <a:xfrm>
                  <a:off x="6488872" y="4079034"/>
                  <a:ext cx="927196" cy="287771"/>
                </a:xfrm>
                <a:prstGeom prst="rect">
                  <a:avLst/>
                </a:prstGeom>
                <a:noFill/>
              </p:spPr>
              <p:txBody>
                <a:bodyPr wrap="square" rtlCol="0">
                  <a:spAutoFit/>
                </a:bodyPr>
                <a:lstStyle/>
                <a:p>
                  <a:pPr marL="0" marR="0" lvl="0" indent="0" algn="ctr" defTabSz="914400" rtl="0" eaLnBrk="1" fontAlgn="auto" latinLnBrk="0" hangingPunct="1">
                    <a:lnSpc>
                      <a:spcPct val="14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D229"/>
                      </a:solidFill>
                      <a:effectLst/>
                      <a:uLnTx/>
                      <a:uFillTx/>
                      <a:latin typeface="等线 Light" panose="020F0302020204030204"/>
                      <a:ea typeface="+mn-ea"/>
                      <a:cs typeface="+mn-cs"/>
                    </a:rPr>
                    <a:t>Optimizing</a:t>
                  </a:r>
                </a:p>
              </p:txBody>
            </p:sp>
          </p:grpSp>
        </p:grpSp>
        <p:grpSp>
          <p:nvGrpSpPr>
            <p:cNvPr id="64" name="Group 70">
              <a:extLst>
                <a:ext uri="{FF2B5EF4-FFF2-40B4-BE49-F238E27FC236}">
                  <a16:creationId xmlns:a16="http://schemas.microsoft.com/office/drawing/2014/main" id="{72073DDA-DA76-49D5-A2DC-75FF188CE2C7}"/>
                </a:ext>
              </a:extLst>
            </p:cNvPr>
            <p:cNvGrpSpPr/>
            <p:nvPr/>
          </p:nvGrpSpPr>
          <p:grpSpPr>
            <a:xfrm>
              <a:off x="1186598" y="5125181"/>
              <a:ext cx="1060164" cy="326884"/>
              <a:chOff x="6399858" y="4812235"/>
              <a:chExt cx="1060164" cy="326884"/>
            </a:xfrm>
          </p:grpSpPr>
          <p:sp>
            <p:nvSpPr>
              <p:cNvPr id="65" name="Rectangle: Rounded Corners 71">
                <a:extLst>
                  <a:ext uri="{FF2B5EF4-FFF2-40B4-BE49-F238E27FC236}">
                    <a16:creationId xmlns:a16="http://schemas.microsoft.com/office/drawing/2014/main" id="{E0DBD27D-4762-46D4-90F2-9DB018A3E52E}"/>
                  </a:ext>
                </a:extLst>
              </p:cNvPr>
              <p:cNvSpPr/>
              <p:nvPr/>
            </p:nvSpPr>
            <p:spPr>
              <a:xfrm>
                <a:off x="6399858" y="4845944"/>
                <a:ext cx="1060164" cy="293175"/>
              </a:xfrm>
              <a:prstGeom prst="roundRect">
                <a:avLst>
                  <a:gd name="adj" fmla="val 50000"/>
                </a:avLst>
              </a:prstGeom>
              <a:solidFill>
                <a:schemeClr val="bg1"/>
              </a:solidFill>
              <a:ln>
                <a:noFill/>
              </a:ln>
              <a:effectLst>
                <a:outerShdw blurRad="152400" dir="13020000" sx="110000" sy="11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FFFFFF"/>
                  </a:solidFill>
                  <a:effectLst/>
                  <a:uLnTx/>
                  <a:uFillTx/>
                  <a:latin typeface="等线 Light" panose="020F0302020204030204"/>
                  <a:ea typeface="+mn-ea"/>
                  <a:cs typeface="+mn-cs"/>
                </a:endParaRPr>
              </a:p>
            </p:txBody>
          </p:sp>
          <p:sp>
            <p:nvSpPr>
              <p:cNvPr id="66" name="TextBox 72">
                <a:extLst>
                  <a:ext uri="{FF2B5EF4-FFF2-40B4-BE49-F238E27FC236}">
                    <a16:creationId xmlns:a16="http://schemas.microsoft.com/office/drawing/2014/main" id="{2D464518-FFFF-4590-A5E2-09BFD4680FA4}"/>
                  </a:ext>
                </a:extLst>
              </p:cNvPr>
              <p:cNvSpPr txBox="1"/>
              <p:nvPr/>
            </p:nvSpPr>
            <p:spPr>
              <a:xfrm>
                <a:off x="6545275" y="4812235"/>
                <a:ext cx="769330" cy="326884"/>
              </a:xfrm>
              <a:prstGeom prst="rect">
                <a:avLst/>
              </a:prstGeom>
              <a:noFill/>
            </p:spPr>
            <p:txBody>
              <a:bodyPr wrap="square" rtlCol="0">
                <a:spAutoFit/>
              </a:bodyPr>
              <a:lstStyle/>
              <a:p>
                <a:pPr marL="0" marR="0" lvl="0" indent="0" algn="ctr" defTabSz="914400" rtl="0" eaLnBrk="1" fontAlgn="auto" latinLnBrk="0" hangingPunct="1">
                  <a:lnSpc>
                    <a:spcPct val="14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D229"/>
                    </a:solidFill>
                    <a:effectLst/>
                    <a:uLnTx/>
                    <a:uFillTx/>
                    <a:latin typeface="等线" panose="020F0502020204030204"/>
                    <a:ea typeface="+mn-ea"/>
                    <a:cs typeface="+mn-cs"/>
                  </a:rPr>
                  <a:t>Jan 2021</a:t>
                </a:r>
              </a:p>
            </p:txBody>
          </p:sp>
        </p:grpSp>
      </p:grpSp>
      <p:grpSp>
        <p:nvGrpSpPr>
          <p:cNvPr id="74" name="Group 86">
            <a:extLst>
              <a:ext uri="{FF2B5EF4-FFF2-40B4-BE49-F238E27FC236}">
                <a16:creationId xmlns:a16="http://schemas.microsoft.com/office/drawing/2014/main" id="{DF9FB65E-96D3-43CC-8707-AA7095987F52}"/>
              </a:ext>
            </a:extLst>
          </p:cNvPr>
          <p:cNvGrpSpPr/>
          <p:nvPr/>
        </p:nvGrpSpPr>
        <p:grpSpPr>
          <a:xfrm>
            <a:off x="9163925" y="3457699"/>
            <a:ext cx="1585536" cy="2094874"/>
            <a:chOff x="2787580" y="3584741"/>
            <a:chExt cx="1585536" cy="2094874"/>
          </a:xfrm>
          <a:effectLst>
            <a:outerShdw blurRad="1181100" dist="685800" dir="8100000" algn="tr" rotWithShape="0">
              <a:prstClr val="black">
                <a:alpha val="36000"/>
              </a:prstClr>
            </a:outerShdw>
          </a:effectLst>
        </p:grpSpPr>
        <p:sp>
          <p:nvSpPr>
            <p:cNvPr id="75" name="Rectangle: Rounded Corners 73">
              <a:extLst>
                <a:ext uri="{FF2B5EF4-FFF2-40B4-BE49-F238E27FC236}">
                  <a16:creationId xmlns:a16="http://schemas.microsoft.com/office/drawing/2014/main" id="{C1A946BD-06A7-4132-8F2C-93E225C507E6}"/>
                </a:ext>
              </a:extLst>
            </p:cNvPr>
            <p:cNvSpPr/>
            <p:nvPr/>
          </p:nvSpPr>
          <p:spPr>
            <a:xfrm>
              <a:off x="2787580" y="3584741"/>
              <a:ext cx="1585536" cy="2094874"/>
            </a:xfrm>
            <a:prstGeom prst="roundRect">
              <a:avLst>
                <a:gd name="adj" fmla="val 3589"/>
              </a:avLst>
            </a:prstGeom>
            <a:solidFill>
              <a:schemeClr val="accent2"/>
            </a:solidFill>
            <a:ln>
              <a:noFill/>
            </a:ln>
            <a:effectLst>
              <a:outerShdw blurRad="825500" dist="508000" dir="5400000" sx="85000" sy="85000" algn="t" rotWithShape="0">
                <a:prstClr val="black">
                  <a:alpha val="1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等线 Light" panose="020F0302020204030204"/>
                <a:ea typeface="+mn-ea"/>
                <a:cs typeface="+mn-cs"/>
              </a:endParaRPr>
            </a:p>
          </p:txBody>
        </p:sp>
        <p:grpSp>
          <p:nvGrpSpPr>
            <p:cNvPr id="76" name="Group 74">
              <a:extLst>
                <a:ext uri="{FF2B5EF4-FFF2-40B4-BE49-F238E27FC236}">
                  <a16:creationId xmlns:a16="http://schemas.microsoft.com/office/drawing/2014/main" id="{1CD99EA8-B421-408A-AE7A-AEF2E105005D}"/>
                </a:ext>
              </a:extLst>
            </p:cNvPr>
            <p:cNvGrpSpPr/>
            <p:nvPr/>
          </p:nvGrpSpPr>
          <p:grpSpPr>
            <a:xfrm>
              <a:off x="3006228" y="3797610"/>
              <a:ext cx="1148239" cy="1148239"/>
              <a:chOff x="6360732" y="3457404"/>
              <a:chExt cx="1148239" cy="1148239"/>
            </a:xfrm>
          </p:grpSpPr>
          <p:grpSp>
            <p:nvGrpSpPr>
              <p:cNvPr id="80" name="Group 75">
                <a:extLst>
                  <a:ext uri="{FF2B5EF4-FFF2-40B4-BE49-F238E27FC236}">
                    <a16:creationId xmlns:a16="http://schemas.microsoft.com/office/drawing/2014/main" id="{55001D66-611C-4FA3-8F7D-4DDD41D57A48}"/>
                  </a:ext>
                </a:extLst>
              </p:cNvPr>
              <p:cNvGrpSpPr/>
              <p:nvPr/>
            </p:nvGrpSpPr>
            <p:grpSpPr>
              <a:xfrm>
                <a:off x="6360732" y="3457404"/>
                <a:ext cx="1148239" cy="1148239"/>
                <a:chOff x="5937168" y="883672"/>
                <a:chExt cx="1899282" cy="1899282"/>
              </a:xfrm>
            </p:grpSpPr>
            <p:sp>
              <p:nvSpPr>
                <p:cNvPr id="84" name="Oval 79">
                  <a:extLst>
                    <a:ext uri="{FF2B5EF4-FFF2-40B4-BE49-F238E27FC236}">
                      <a16:creationId xmlns:a16="http://schemas.microsoft.com/office/drawing/2014/main" id="{1F177487-D58D-4B04-8DF3-549D059C66C3}"/>
                    </a:ext>
                  </a:extLst>
                </p:cNvPr>
                <p:cNvSpPr/>
                <p:nvPr/>
              </p:nvSpPr>
              <p:spPr>
                <a:xfrm>
                  <a:off x="5937168" y="883672"/>
                  <a:ext cx="1899282" cy="1899282"/>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等线 Light" panose="020F0302020204030204"/>
                    <a:ea typeface="+mn-ea"/>
                    <a:cs typeface="+mn-cs"/>
                  </a:endParaRPr>
                </a:p>
              </p:txBody>
            </p:sp>
            <p:sp>
              <p:nvSpPr>
                <p:cNvPr id="85" name="Partial Circle 80">
                  <a:extLst>
                    <a:ext uri="{FF2B5EF4-FFF2-40B4-BE49-F238E27FC236}">
                      <a16:creationId xmlns:a16="http://schemas.microsoft.com/office/drawing/2014/main" id="{39A37AE9-1193-4AFE-AA00-369B49E66E72}"/>
                    </a:ext>
                  </a:extLst>
                </p:cNvPr>
                <p:cNvSpPr/>
                <p:nvPr/>
              </p:nvSpPr>
              <p:spPr>
                <a:xfrm>
                  <a:off x="5937168" y="883672"/>
                  <a:ext cx="1899282" cy="1899282"/>
                </a:xfrm>
                <a:prstGeom prst="pie">
                  <a:avLst>
                    <a:gd name="adj1" fmla="val 6730299"/>
                    <a:gd name="adj2" fmla="val 16200000"/>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等线 Light" panose="020F0302020204030204"/>
                    <a:ea typeface="+mn-ea"/>
                    <a:cs typeface="+mn-cs"/>
                  </a:endParaRPr>
                </a:p>
              </p:txBody>
            </p:sp>
            <p:sp>
              <p:nvSpPr>
                <p:cNvPr id="86" name="Oval 81">
                  <a:extLst>
                    <a:ext uri="{FF2B5EF4-FFF2-40B4-BE49-F238E27FC236}">
                      <a16:creationId xmlns:a16="http://schemas.microsoft.com/office/drawing/2014/main" id="{9D4DDABF-360D-4269-976A-91E12E2C46CA}"/>
                    </a:ext>
                  </a:extLst>
                </p:cNvPr>
                <p:cNvSpPr/>
                <p:nvPr/>
              </p:nvSpPr>
              <p:spPr>
                <a:xfrm>
                  <a:off x="6044080" y="990584"/>
                  <a:ext cx="1685458" cy="168545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等线 Light" panose="020F0302020204030204"/>
                    <a:ea typeface="+mn-ea"/>
                    <a:cs typeface="+mn-cs"/>
                  </a:endParaRPr>
                </a:p>
              </p:txBody>
            </p:sp>
          </p:grpSp>
          <p:grpSp>
            <p:nvGrpSpPr>
              <p:cNvPr id="81" name="Group 76">
                <a:extLst>
                  <a:ext uri="{FF2B5EF4-FFF2-40B4-BE49-F238E27FC236}">
                    <a16:creationId xmlns:a16="http://schemas.microsoft.com/office/drawing/2014/main" id="{0A01DF7D-503E-4F6A-AE30-2E79DD441602}"/>
                  </a:ext>
                </a:extLst>
              </p:cNvPr>
              <p:cNvGrpSpPr/>
              <p:nvPr/>
            </p:nvGrpSpPr>
            <p:grpSpPr>
              <a:xfrm>
                <a:off x="6482522" y="3660845"/>
                <a:ext cx="927196" cy="695497"/>
                <a:chOff x="6488872" y="3671308"/>
                <a:chExt cx="927196" cy="695497"/>
              </a:xfrm>
            </p:grpSpPr>
            <p:sp>
              <p:nvSpPr>
                <p:cNvPr id="82" name="TextBox 77">
                  <a:extLst>
                    <a:ext uri="{FF2B5EF4-FFF2-40B4-BE49-F238E27FC236}">
                      <a16:creationId xmlns:a16="http://schemas.microsoft.com/office/drawing/2014/main" id="{E729C3D1-88BB-43AA-AE06-942E881D47A3}"/>
                    </a:ext>
                  </a:extLst>
                </p:cNvPr>
                <p:cNvSpPr txBox="1"/>
                <p:nvPr/>
              </p:nvSpPr>
              <p:spPr>
                <a:xfrm>
                  <a:off x="6488872" y="3671308"/>
                  <a:ext cx="927196" cy="549831"/>
                </a:xfrm>
                <a:prstGeom prst="rect">
                  <a:avLst/>
                </a:prstGeom>
                <a:noFill/>
              </p:spPr>
              <p:txBody>
                <a:bodyPr wrap="square" rtlCol="0">
                  <a:spAutoFit/>
                </a:bodyPr>
                <a:lstStyle/>
                <a:p>
                  <a:pPr marL="0" marR="0" lvl="0" indent="0" algn="ctr" defTabSz="914400" rtl="0" eaLnBrk="1" fontAlgn="auto" latinLnBrk="0" hangingPunct="1">
                    <a:lnSpc>
                      <a:spcPct val="14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000000">
                          <a:lumMod val="75000"/>
                          <a:lumOff val="25000"/>
                        </a:srgbClr>
                      </a:solidFill>
                      <a:effectLst/>
                      <a:uLnTx/>
                      <a:uFillTx/>
                      <a:latin typeface="Segoe UI" panose="020B0502040204020203" pitchFamily="34" charset="0"/>
                      <a:ea typeface="+mn-ea"/>
                      <a:cs typeface="Segoe UI" panose="020B0502040204020203" pitchFamily="34" charset="0"/>
                    </a:rPr>
                    <a:t>40%</a:t>
                  </a:r>
                </a:p>
              </p:txBody>
            </p:sp>
            <p:sp>
              <p:nvSpPr>
                <p:cNvPr id="83" name="TextBox 78">
                  <a:extLst>
                    <a:ext uri="{FF2B5EF4-FFF2-40B4-BE49-F238E27FC236}">
                      <a16:creationId xmlns:a16="http://schemas.microsoft.com/office/drawing/2014/main" id="{AFF504FA-6C34-462B-8B12-2DF552B92FAC}"/>
                    </a:ext>
                  </a:extLst>
                </p:cNvPr>
                <p:cNvSpPr txBox="1"/>
                <p:nvPr/>
              </p:nvSpPr>
              <p:spPr>
                <a:xfrm>
                  <a:off x="6488872" y="4079034"/>
                  <a:ext cx="927196" cy="287771"/>
                </a:xfrm>
                <a:prstGeom prst="rect">
                  <a:avLst/>
                </a:prstGeom>
                <a:noFill/>
              </p:spPr>
              <p:txBody>
                <a:bodyPr wrap="square" rtlCol="0">
                  <a:spAutoFit/>
                </a:bodyPr>
                <a:lstStyle/>
                <a:p>
                  <a:pPr marL="0" marR="0" lvl="0" indent="0" algn="ctr" defTabSz="914400" rtl="0" eaLnBrk="1" fontAlgn="auto" latinLnBrk="0" hangingPunct="1">
                    <a:lnSpc>
                      <a:spcPct val="14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4C38"/>
                      </a:solidFill>
                      <a:effectLst/>
                      <a:uLnTx/>
                      <a:uFillTx/>
                      <a:latin typeface="等线 Light" panose="020F0302020204030204"/>
                      <a:ea typeface="+mn-ea"/>
                      <a:cs typeface="+mn-cs"/>
                    </a:rPr>
                    <a:t>Optimizing</a:t>
                  </a:r>
                </a:p>
              </p:txBody>
            </p:sp>
          </p:grpSp>
        </p:grpSp>
        <p:grpSp>
          <p:nvGrpSpPr>
            <p:cNvPr id="77" name="Group 82">
              <a:extLst>
                <a:ext uri="{FF2B5EF4-FFF2-40B4-BE49-F238E27FC236}">
                  <a16:creationId xmlns:a16="http://schemas.microsoft.com/office/drawing/2014/main" id="{9AB1FDDD-0B48-482F-A8B2-7567F56D1860}"/>
                </a:ext>
              </a:extLst>
            </p:cNvPr>
            <p:cNvGrpSpPr/>
            <p:nvPr/>
          </p:nvGrpSpPr>
          <p:grpSpPr>
            <a:xfrm>
              <a:off x="3050265" y="5125181"/>
              <a:ext cx="1060164" cy="326884"/>
              <a:chOff x="6399858" y="4812235"/>
              <a:chExt cx="1060164" cy="326884"/>
            </a:xfrm>
          </p:grpSpPr>
          <p:sp>
            <p:nvSpPr>
              <p:cNvPr id="78" name="Rectangle: Rounded Corners 83">
                <a:extLst>
                  <a:ext uri="{FF2B5EF4-FFF2-40B4-BE49-F238E27FC236}">
                    <a16:creationId xmlns:a16="http://schemas.microsoft.com/office/drawing/2014/main" id="{CF9DD518-6A6D-461A-A457-3E4B9F55F31F}"/>
                  </a:ext>
                </a:extLst>
              </p:cNvPr>
              <p:cNvSpPr/>
              <p:nvPr/>
            </p:nvSpPr>
            <p:spPr>
              <a:xfrm>
                <a:off x="6399858" y="4845944"/>
                <a:ext cx="1060164" cy="293175"/>
              </a:xfrm>
              <a:prstGeom prst="roundRect">
                <a:avLst>
                  <a:gd name="adj" fmla="val 50000"/>
                </a:avLst>
              </a:prstGeom>
              <a:solidFill>
                <a:schemeClr val="bg1"/>
              </a:solidFill>
              <a:ln>
                <a:noFill/>
              </a:ln>
              <a:effectLst>
                <a:outerShdw blurRad="152400" dir="13020000" sx="110000" sy="11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FFFFFF"/>
                  </a:solidFill>
                  <a:effectLst/>
                  <a:uLnTx/>
                  <a:uFillTx/>
                  <a:latin typeface="等线 Light" panose="020F0302020204030204"/>
                  <a:ea typeface="+mn-ea"/>
                  <a:cs typeface="+mn-cs"/>
                </a:endParaRPr>
              </a:p>
            </p:txBody>
          </p:sp>
          <p:sp>
            <p:nvSpPr>
              <p:cNvPr id="79" name="TextBox 84">
                <a:extLst>
                  <a:ext uri="{FF2B5EF4-FFF2-40B4-BE49-F238E27FC236}">
                    <a16:creationId xmlns:a16="http://schemas.microsoft.com/office/drawing/2014/main" id="{41C4398F-AE79-4A38-9633-C241AA50FA7E}"/>
                  </a:ext>
                </a:extLst>
              </p:cNvPr>
              <p:cNvSpPr txBox="1"/>
              <p:nvPr/>
            </p:nvSpPr>
            <p:spPr>
              <a:xfrm>
                <a:off x="6545275" y="4812235"/>
                <a:ext cx="769330" cy="326884"/>
              </a:xfrm>
              <a:prstGeom prst="rect">
                <a:avLst/>
              </a:prstGeom>
              <a:noFill/>
            </p:spPr>
            <p:txBody>
              <a:bodyPr wrap="square" rtlCol="0">
                <a:spAutoFit/>
              </a:bodyPr>
              <a:lstStyle/>
              <a:p>
                <a:pPr marL="0" marR="0" lvl="0" indent="0" algn="ctr" defTabSz="914400" rtl="0" eaLnBrk="1" fontAlgn="auto" latinLnBrk="0" hangingPunct="1">
                  <a:lnSpc>
                    <a:spcPct val="14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4C38"/>
                    </a:solidFill>
                    <a:effectLst/>
                    <a:uLnTx/>
                    <a:uFillTx/>
                    <a:latin typeface="等线" panose="020F0502020204030204"/>
                    <a:ea typeface="+mn-ea"/>
                    <a:cs typeface="+mn-cs"/>
                  </a:rPr>
                  <a:t>Feb 2021</a:t>
                </a:r>
              </a:p>
            </p:txBody>
          </p:sp>
        </p:grpSp>
      </p:grpSp>
    </p:spTree>
    <p:extLst>
      <p:ext uri="{BB962C8B-B14F-4D97-AF65-F5344CB8AC3E}">
        <p14:creationId xmlns:p14="http://schemas.microsoft.com/office/powerpoint/2010/main" val="4017482255"/>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6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E0619D5-7EF5-4E7E-B790-A2ECDD228CDE}"/>
              </a:ext>
            </a:extLst>
          </p:cNvPr>
          <p:cNvSpPr/>
          <p:nvPr/>
        </p:nvSpPr>
        <p:spPr>
          <a:xfrm>
            <a:off x="0" y="4848330"/>
            <a:ext cx="12192000" cy="2009670"/>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等线" panose="020F0502020204030204"/>
              <a:ea typeface="+mn-ea"/>
              <a:cs typeface="+mn-cs"/>
            </a:endParaRPr>
          </a:p>
        </p:txBody>
      </p:sp>
      <p:grpSp>
        <p:nvGrpSpPr>
          <p:cNvPr id="3" name="Group 2">
            <a:extLst>
              <a:ext uri="{FF2B5EF4-FFF2-40B4-BE49-F238E27FC236}">
                <a16:creationId xmlns:a16="http://schemas.microsoft.com/office/drawing/2014/main" id="{BEC582CE-3CC7-42C9-A076-EB1B3F65916B}"/>
              </a:ext>
            </a:extLst>
          </p:cNvPr>
          <p:cNvGrpSpPr/>
          <p:nvPr/>
        </p:nvGrpSpPr>
        <p:grpSpPr>
          <a:xfrm>
            <a:off x="4091576" y="1964747"/>
            <a:ext cx="4008848" cy="4502528"/>
            <a:chOff x="3926849" y="3636597"/>
            <a:chExt cx="5829600" cy="6547501"/>
          </a:xfrm>
        </p:grpSpPr>
        <p:sp>
          <p:nvSpPr>
            <p:cNvPr id="4" name="Freeform 5">
              <a:extLst>
                <a:ext uri="{FF2B5EF4-FFF2-40B4-BE49-F238E27FC236}">
                  <a16:creationId xmlns:a16="http://schemas.microsoft.com/office/drawing/2014/main" id="{0F8F9689-881E-4CEB-AC83-0BFF874DF34F}"/>
                </a:ext>
              </a:extLst>
            </p:cNvPr>
            <p:cNvSpPr>
              <a:spLocks/>
            </p:cNvSpPr>
            <p:nvPr/>
          </p:nvSpPr>
          <p:spPr bwMode="auto">
            <a:xfrm>
              <a:off x="6485399" y="5835070"/>
              <a:ext cx="676753" cy="2045859"/>
            </a:xfrm>
            <a:custGeom>
              <a:avLst/>
              <a:gdLst>
                <a:gd name="T0" fmla="*/ 183 w 278"/>
                <a:gd name="T1" fmla="*/ 249 h 757"/>
                <a:gd name="T2" fmla="*/ 156 w 278"/>
                <a:gd name="T3" fmla="*/ 0 h 757"/>
                <a:gd name="T4" fmla="*/ 143 w 278"/>
                <a:gd name="T5" fmla="*/ 2 h 757"/>
                <a:gd name="T6" fmla="*/ 122 w 278"/>
                <a:gd name="T7" fmla="*/ 257 h 757"/>
                <a:gd name="T8" fmla="*/ 14 w 278"/>
                <a:gd name="T9" fmla="*/ 198 h 757"/>
                <a:gd name="T10" fmla="*/ 0 w 278"/>
                <a:gd name="T11" fmla="*/ 231 h 757"/>
                <a:gd name="T12" fmla="*/ 111 w 278"/>
                <a:gd name="T13" fmla="*/ 352 h 757"/>
                <a:gd name="T14" fmla="*/ 82 w 278"/>
                <a:gd name="T15" fmla="*/ 753 h 757"/>
                <a:gd name="T16" fmla="*/ 239 w 278"/>
                <a:gd name="T17" fmla="*/ 757 h 757"/>
                <a:gd name="T18" fmla="*/ 194 w 278"/>
                <a:gd name="T19" fmla="*/ 351 h 757"/>
                <a:gd name="T20" fmla="*/ 278 w 278"/>
                <a:gd name="T21" fmla="*/ 238 h 757"/>
                <a:gd name="T22" fmla="*/ 259 w 278"/>
                <a:gd name="T23" fmla="*/ 195 h 757"/>
                <a:gd name="T24" fmla="*/ 183 w 278"/>
                <a:gd name="T25" fmla="*/ 249 h 7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8" h="757">
                  <a:moveTo>
                    <a:pt x="183" y="249"/>
                  </a:moveTo>
                  <a:cubicBezTo>
                    <a:pt x="183" y="249"/>
                    <a:pt x="178" y="167"/>
                    <a:pt x="156" y="0"/>
                  </a:cubicBezTo>
                  <a:cubicBezTo>
                    <a:pt x="152" y="1"/>
                    <a:pt x="148" y="2"/>
                    <a:pt x="143" y="2"/>
                  </a:cubicBezTo>
                  <a:cubicBezTo>
                    <a:pt x="136" y="75"/>
                    <a:pt x="124" y="201"/>
                    <a:pt x="122" y="257"/>
                  </a:cubicBezTo>
                  <a:cubicBezTo>
                    <a:pt x="121" y="263"/>
                    <a:pt x="85" y="221"/>
                    <a:pt x="14" y="198"/>
                  </a:cubicBezTo>
                  <a:cubicBezTo>
                    <a:pt x="10" y="209"/>
                    <a:pt x="5" y="220"/>
                    <a:pt x="0" y="231"/>
                  </a:cubicBezTo>
                  <a:cubicBezTo>
                    <a:pt x="46" y="263"/>
                    <a:pt x="98" y="308"/>
                    <a:pt x="111" y="352"/>
                  </a:cubicBezTo>
                  <a:cubicBezTo>
                    <a:pt x="111" y="352"/>
                    <a:pt x="110" y="624"/>
                    <a:pt x="82" y="753"/>
                  </a:cubicBezTo>
                  <a:cubicBezTo>
                    <a:pt x="82" y="753"/>
                    <a:pt x="179" y="727"/>
                    <a:pt x="239" y="757"/>
                  </a:cubicBezTo>
                  <a:cubicBezTo>
                    <a:pt x="203" y="698"/>
                    <a:pt x="194" y="351"/>
                    <a:pt x="194" y="351"/>
                  </a:cubicBezTo>
                  <a:cubicBezTo>
                    <a:pt x="207" y="304"/>
                    <a:pt x="241" y="266"/>
                    <a:pt x="278" y="238"/>
                  </a:cubicBezTo>
                  <a:cubicBezTo>
                    <a:pt x="271" y="224"/>
                    <a:pt x="264" y="209"/>
                    <a:pt x="259" y="195"/>
                  </a:cubicBezTo>
                  <a:cubicBezTo>
                    <a:pt x="231" y="206"/>
                    <a:pt x="203" y="223"/>
                    <a:pt x="183" y="249"/>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5" name="Freeform 15">
              <a:extLst>
                <a:ext uri="{FF2B5EF4-FFF2-40B4-BE49-F238E27FC236}">
                  <a16:creationId xmlns:a16="http://schemas.microsoft.com/office/drawing/2014/main" id="{6722B85C-070B-4A85-893B-FCB60EA3638F}"/>
                </a:ext>
              </a:extLst>
            </p:cNvPr>
            <p:cNvSpPr>
              <a:spLocks/>
            </p:cNvSpPr>
            <p:nvPr/>
          </p:nvSpPr>
          <p:spPr bwMode="auto">
            <a:xfrm>
              <a:off x="9242233" y="6269540"/>
              <a:ext cx="416597" cy="284606"/>
            </a:xfrm>
            <a:custGeom>
              <a:avLst/>
              <a:gdLst>
                <a:gd name="T0" fmla="*/ 88 w 154"/>
                <a:gd name="T1" fmla="*/ 12 h 105"/>
                <a:gd name="T2" fmla="*/ 0 w 154"/>
                <a:gd name="T3" fmla="*/ 32 h 105"/>
                <a:gd name="T4" fmla="*/ 66 w 154"/>
                <a:gd name="T5" fmla="*/ 94 h 105"/>
                <a:gd name="T6" fmla="*/ 154 w 154"/>
                <a:gd name="T7" fmla="*/ 73 h 105"/>
                <a:gd name="T8" fmla="*/ 88 w 154"/>
                <a:gd name="T9" fmla="*/ 12 h 105"/>
              </a:gdLst>
              <a:ahLst/>
              <a:cxnLst>
                <a:cxn ang="0">
                  <a:pos x="T0" y="T1"/>
                </a:cxn>
                <a:cxn ang="0">
                  <a:pos x="T2" y="T3"/>
                </a:cxn>
                <a:cxn ang="0">
                  <a:pos x="T4" y="T5"/>
                </a:cxn>
                <a:cxn ang="0">
                  <a:pos x="T6" y="T7"/>
                </a:cxn>
                <a:cxn ang="0">
                  <a:pos x="T8" y="T9"/>
                </a:cxn>
              </a:cxnLst>
              <a:rect l="0" t="0" r="r" b="b"/>
              <a:pathLst>
                <a:path w="154" h="105">
                  <a:moveTo>
                    <a:pt x="88" y="12"/>
                  </a:moveTo>
                  <a:cubicBezTo>
                    <a:pt x="45" y="0"/>
                    <a:pt x="0" y="32"/>
                    <a:pt x="0" y="32"/>
                  </a:cubicBezTo>
                  <a:cubicBezTo>
                    <a:pt x="0" y="32"/>
                    <a:pt x="23" y="82"/>
                    <a:pt x="66" y="94"/>
                  </a:cubicBezTo>
                  <a:cubicBezTo>
                    <a:pt x="108" y="105"/>
                    <a:pt x="154" y="73"/>
                    <a:pt x="154" y="73"/>
                  </a:cubicBezTo>
                  <a:cubicBezTo>
                    <a:pt x="154" y="73"/>
                    <a:pt x="130" y="23"/>
                    <a:pt x="88" y="12"/>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6" name="Oval 6">
              <a:extLst>
                <a:ext uri="{FF2B5EF4-FFF2-40B4-BE49-F238E27FC236}">
                  <a16:creationId xmlns:a16="http://schemas.microsoft.com/office/drawing/2014/main" id="{0F46C93C-9219-4BA1-A82A-C8000D171D60}"/>
                </a:ext>
              </a:extLst>
            </p:cNvPr>
            <p:cNvSpPr>
              <a:spLocks noChangeArrowheads="1"/>
            </p:cNvSpPr>
            <p:nvPr/>
          </p:nvSpPr>
          <p:spPr bwMode="auto">
            <a:xfrm>
              <a:off x="9326103" y="5599962"/>
              <a:ext cx="430346" cy="229610"/>
            </a:xfrm>
            <a:prstGeom prst="ellipse">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7" name="Freeform 17">
              <a:extLst>
                <a:ext uri="{FF2B5EF4-FFF2-40B4-BE49-F238E27FC236}">
                  <a16:creationId xmlns:a16="http://schemas.microsoft.com/office/drawing/2014/main" id="{2B14CD2D-8146-4E93-B092-A8C202457EE5}"/>
                </a:ext>
              </a:extLst>
            </p:cNvPr>
            <p:cNvSpPr>
              <a:spLocks/>
            </p:cNvSpPr>
            <p:nvPr/>
          </p:nvSpPr>
          <p:spPr bwMode="auto">
            <a:xfrm>
              <a:off x="9242233" y="4872636"/>
              <a:ext cx="416597" cy="283230"/>
            </a:xfrm>
            <a:custGeom>
              <a:avLst/>
              <a:gdLst>
                <a:gd name="T0" fmla="*/ 0 w 154"/>
                <a:gd name="T1" fmla="*/ 73 h 105"/>
                <a:gd name="T2" fmla="*/ 88 w 154"/>
                <a:gd name="T3" fmla="*/ 94 h 105"/>
                <a:gd name="T4" fmla="*/ 154 w 154"/>
                <a:gd name="T5" fmla="*/ 32 h 105"/>
                <a:gd name="T6" fmla="*/ 66 w 154"/>
                <a:gd name="T7" fmla="*/ 12 h 105"/>
                <a:gd name="T8" fmla="*/ 0 w 154"/>
                <a:gd name="T9" fmla="*/ 73 h 105"/>
              </a:gdLst>
              <a:ahLst/>
              <a:cxnLst>
                <a:cxn ang="0">
                  <a:pos x="T0" y="T1"/>
                </a:cxn>
                <a:cxn ang="0">
                  <a:pos x="T2" y="T3"/>
                </a:cxn>
                <a:cxn ang="0">
                  <a:pos x="T4" y="T5"/>
                </a:cxn>
                <a:cxn ang="0">
                  <a:pos x="T6" y="T7"/>
                </a:cxn>
                <a:cxn ang="0">
                  <a:pos x="T8" y="T9"/>
                </a:cxn>
              </a:cxnLst>
              <a:rect l="0" t="0" r="r" b="b"/>
              <a:pathLst>
                <a:path w="154" h="105">
                  <a:moveTo>
                    <a:pt x="0" y="73"/>
                  </a:moveTo>
                  <a:cubicBezTo>
                    <a:pt x="0" y="73"/>
                    <a:pt x="45" y="105"/>
                    <a:pt x="88" y="94"/>
                  </a:cubicBezTo>
                  <a:cubicBezTo>
                    <a:pt x="130" y="82"/>
                    <a:pt x="154" y="32"/>
                    <a:pt x="154" y="32"/>
                  </a:cubicBezTo>
                  <a:cubicBezTo>
                    <a:pt x="154" y="32"/>
                    <a:pt x="108" y="0"/>
                    <a:pt x="66" y="12"/>
                  </a:cubicBezTo>
                  <a:cubicBezTo>
                    <a:pt x="23" y="23"/>
                    <a:pt x="0" y="73"/>
                    <a:pt x="0" y="7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8" name="Freeform 18">
              <a:extLst>
                <a:ext uri="{FF2B5EF4-FFF2-40B4-BE49-F238E27FC236}">
                  <a16:creationId xmlns:a16="http://schemas.microsoft.com/office/drawing/2014/main" id="{506674F3-243F-489E-B2C5-382E35C72498}"/>
                </a:ext>
              </a:extLst>
            </p:cNvPr>
            <p:cNvSpPr>
              <a:spLocks/>
            </p:cNvSpPr>
            <p:nvPr/>
          </p:nvSpPr>
          <p:spPr bwMode="auto">
            <a:xfrm>
              <a:off x="8994751" y="4204432"/>
              <a:ext cx="372600" cy="318978"/>
            </a:xfrm>
            <a:custGeom>
              <a:avLst/>
              <a:gdLst>
                <a:gd name="T0" fmla="*/ 90 w 138"/>
                <a:gd name="T1" fmla="*/ 96 h 118"/>
                <a:gd name="T2" fmla="*/ 138 w 138"/>
                <a:gd name="T3" fmla="*/ 19 h 118"/>
                <a:gd name="T4" fmla="*/ 48 w 138"/>
                <a:gd name="T5" fmla="*/ 22 h 118"/>
                <a:gd name="T6" fmla="*/ 0 w 138"/>
                <a:gd name="T7" fmla="*/ 99 h 118"/>
                <a:gd name="T8" fmla="*/ 90 w 138"/>
                <a:gd name="T9" fmla="*/ 96 h 118"/>
              </a:gdLst>
              <a:ahLst/>
              <a:cxnLst>
                <a:cxn ang="0">
                  <a:pos x="T0" y="T1"/>
                </a:cxn>
                <a:cxn ang="0">
                  <a:pos x="T2" y="T3"/>
                </a:cxn>
                <a:cxn ang="0">
                  <a:pos x="T4" y="T5"/>
                </a:cxn>
                <a:cxn ang="0">
                  <a:pos x="T6" y="T7"/>
                </a:cxn>
                <a:cxn ang="0">
                  <a:pos x="T8" y="T9"/>
                </a:cxn>
              </a:cxnLst>
              <a:rect l="0" t="0" r="r" b="b"/>
              <a:pathLst>
                <a:path w="138" h="118">
                  <a:moveTo>
                    <a:pt x="90" y="96"/>
                  </a:moveTo>
                  <a:cubicBezTo>
                    <a:pt x="128" y="74"/>
                    <a:pt x="138" y="19"/>
                    <a:pt x="138" y="19"/>
                  </a:cubicBezTo>
                  <a:cubicBezTo>
                    <a:pt x="138" y="19"/>
                    <a:pt x="86" y="0"/>
                    <a:pt x="48" y="22"/>
                  </a:cubicBezTo>
                  <a:cubicBezTo>
                    <a:pt x="9" y="44"/>
                    <a:pt x="0" y="99"/>
                    <a:pt x="0" y="99"/>
                  </a:cubicBezTo>
                  <a:cubicBezTo>
                    <a:pt x="0" y="99"/>
                    <a:pt x="52" y="118"/>
                    <a:pt x="90" y="96"/>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9" name="Freeform 19">
              <a:extLst>
                <a:ext uri="{FF2B5EF4-FFF2-40B4-BE49-F238E27FC236}">
                  <a16:creationId xmlns:a16="http://schemas.microsoft.com/office/drawing/2014/main" id="{F3AA1AC4-F948-4551-AD6B-EF7D5980BAF4}"/>
                </a:ext>
              </a:extLst>
            </p:cNvPr>
            <p:cNvSpPr>
              <a:spLocks/>
            </p:cNvSpPr>
            <p:nvPr/>
          </p:nvSpPr>
          <p:spPr bwMode="auto">
            <a:xfrm>
              <a:off x="8586404" y="3639347"/>
              <a:ext cx="329977" cy="329977"/>
            </a:xfrm>
            <a:custGeom>
              <a:avLst/>
              <a:gdLst>
                <a:gd name="T0" fmla="*/ 91 w 122"/>
                <a:gd name="T1" fmla="*/ 91 h 122"/>
                <a:gd name="T2" fmla="*/ 117 w 122"/>
                <a:gd name="T3" fmla="*/ 5 h 122"/>
                <a:gd name="T4" fmla="*/ 31 w 122"/>
                <a:gd name="T5" fmla="*/ 31 h 122"/>
                <a:gd name="T6" fmla="*/ 5 w 122"/>
                <a:gd name="T7" fmla="*/ 117 h 122"/>
                <a:gd name="T8" fmla="*/ 91 w 122"/>
                <a:gd name="T9" fmla="*/ 91 h 122"/>
              </a:gdLst>
              <a:ahLst/>
              <a:cxnLst>
                <a:cxn ang="0">
                  <a:pos x="T0" y="T1"/>
                </a:cxn>
                <a:cxn ang="0">
                  <a:pos x="T2" y="T3"/>
                </a:cxn>
                <a:cxn ang="0">
                  <a:pos x="T4" y="T5"/>
                </a:cxn>
                <a:cxn ang="0">
                  <a:pos x="T6" y="T7"/>
                </a:cxn>
                <a:cxn ang="0">
                  <a:pos x="T8" y="T9"/>
                </a:cxn>
              </a:cxnLst>
              <a:rect l="0" t="0" r="r" b="b"/>
              <a:pathLst>
                <a:path w="122" h="122">
                  <a:moveTo>
                    <a:pt x="91" y="91"/>
                  </a:moveTo>
                  <a:cubicBezTo>
                    <a:pt x="122" y="60"/>
                    <a:pt x="117" y="5"/>
                    <a:pt x="117" y="5"/>
                  </a:cubicBezTo>
                  <a:cubicBezTo>
                    <a:pt x="117" y="5"/>
                    <a:pt x="62" y="0"/>
                    <a:pt x="31" y="31"/>
                  </a:cubicBezTo>
                  <a:cubicBezTo>
                    <a:pt x="0" y="62"/>
                    <a:pt x="5" y="117"/>
                    <a:pt x="5" y="117"/>
                  </a:cubicBezTo>
                  <a:cubicBezTo>
                    <a:pt x="5" y="117"/>
                    <a:pt x="60" y="122"/>
                    <a:pt x="91" y="91"/>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0" name="Freeform 26">
              <a:extLst>
                <a:ext uri="{FF2B5EF4-FFF2-40B4-BE49-F238E27FC236}">
                  <a16:creationId xmlns:a16="http://schemas.microsoft.com/office/drawing/2014/main" id="{36554CE9-C840-435C-8930-3CD2E826B6D4}"/>
                </a:ext>
              </a:extLst>
            </p:cNvPr>
            <p:cNvSpPr>
              <a:spLocks/>
            </p:cNvSpPr>
            <p:nvPr/>
          </p:nvSpPr>
          <p:spPr bwMode="auto">
            <a:xfrm>
              <a:off x="8010318" y="6037181"/>
              <a:ext cx="811194" cy="600834"/>
            </a:xfrm>
            <a:custGeom>
              <a:avLst/>
              <a:gdLst>
                <a:gd name="T0" fmla="*/ 180 w 300"/>
                <a:gd name="T1" fmla="*/ 31 h 222"/>
                <a:gd name="T2" fmla="*/ 0 w 300"/>
                <a:gd name="T3" fmla="*/ 55 h 222"/>
                <a:gd name="T4" fmla="*/ 120 w 300"/>
                <a:gd name="T5" fmla="*/ 191 h 222"/>
                <a:gd name="T6" fmla="*/ 300 w 300"/>
                <a:gd name="T7" fmla="*/ 167 h 222"/>
                <a:gd name="T8" fmla="*/ 180 w 300"/>
                <a:gd name="T9" fmla="*/ 31 h 222"/>
              </a:gdLst>
              <a:ahLst/>
              <a:cxnLst>
                <a:cxn ang="0">
                  <a:pos x="T0" y="T1"/>
                </a:cxn>
                <a:cxn ang="0">
                  <a:pos x="T2" y="T3"/>
                </a:cxn>
                <a:cxn ang="0">
                  <a:pos x="T4" y="T5"/>
                </a:cxn>
                <a:cxn ang="0">
                  <a:pos x="T6" y="T7"/>
                </a:cxn>
                <a:cxn ang="0">
                  <a:pos x="T8" y="T9"/>
                </a:cxn>
              </a:cxnLst>
              <a:rect l="0" t="0" r="r" b="b"/>
              <a:pathLst>
                <a:path w="300" h="222">
                  <a:moveTo>
                    <a:pt x="180" y="31"/>
                  </a:moveTo>
                  <a:cubicBezTo>
                    <a:pt x="97" y="0"/>
                    <a:pt x="0" y="55"/>
                    <a:pt x="0" y="55"/>
                  </a:cubicBezTo>
                  <a:cubicBezTo>
                    <a:pt x="0" y="55"/>
                    <a:pt x="37" y="160"/>
                    <a:pt x="120" y="191"/>
                  </a:cubicBezTo>
                  <a:cubicBezTo>
                    <a:pt x="202" y="222"/>
                    <a:pt x="300" y="167"/>
                    <a:pt x="300" y="167"/>
                  </a:cubicBezTo>
                  <a:cubicBezTo>
                    <a:pt x="300" y="167"/>
                    <a:pt x="263" y="62"/>
                    <a:pt x="180" y="31"/>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1" name="Freeform 27">
              <a:extLst>
                <a:ext uri="{FF2B5EF4-FFF2-40B4-BE49-F238E27FC236}">
                  <a16:creationId xmlns:a16="http://schemas.microsoft.com/office/drawing/2014/main" id="{790BE1B3-1085-4480-BBB7-2FB58ACFA677}"/>
                </a:ext>
              </a:extLst>
            </p:cNvPr>
            <p:cNvSpPr>
              <a:spLocks/>
            </p:cNvSpPr>
            <p:nvPr/>
          </p:nvSpPr>
          <p:spPr bwMode="auto">
            <a:xfrm>
              <a:off x="8021317" y="4726896"/>
              <a:ext cx="786446" cy="618707"/>
            </a:xfrm>
            <a:custGeom>
              <a:avLst/>
              <a:gdLst>
                <a:gd name="T0" fmla="*/ 181 w 291"/>
                <a:gd name="T1" fmla="*/ 192 h 229"/>
                <a:gd name="T2" fmla="*/ 291 w 291"/>
                <a:gd name="T3" fmla="*/ 48 h 229"/>
                <a:gd name="T4" fmla="*/ 110 w 291"/>
                <a:gd name="T5" fmla="*/ 36 h 229"/>
                <a:gd name="T6" fmla="*/ 0 w 291"/>
                <a:gd name="T7" fmla="*/ 180 h 229"/>
                <a:gd name="T8" fmla="*/ 181 w 291"/>
                <a:gd name="T9" fmla="*/ 192 h 229"/>
              </a:gdLst>
              <a:ahLst/>
              <a:cxnLst>
                <a:cxn ang="0">
                  <a:pos x="T0" y="T1"/>
                </a:cxn>
                <a:cxn ang="0">
                  <a:pos x="T2" y="T3"/>
                </a:cxn>
                <a:cxn ang="0">
                  <a:pos x="T4" y="T5"/>
                </a:cxn>
                <a:cxn ang="0">
                  <a:pos x="T6" y="T7"/>
                </a:cxn>
                <a:cxn ang="0">
                  <a:pos x="T8" y="T9"/>
                </a:cxn>
              </a:cxnLst>
              <a:rect l="0" t="0" r="r" b="b"/>
              <a:pathLst>
                <a:path w="291" h="229">
                  <a:moveTo>
                    <a:pt x="181" y="192"/>
                  </a:moveTo>
                  <a:cubicBezTo>
                    <a:pt x="261" y="156"/>
                    <a:pt x="291" y="48"/>
                    <a:pt x="291" y="48"/>
                  </a:cubicBezTo>
                  <a:cubicBezTo>
                    <a:pt x="291" y="48"/>
                    <a:pt x="191" y="0"/>
                    <a:pt x="110" y="36"/>
                  </a:cubicBezTo>
                  <a:cubicBezTo>
                    <a:pt x="30" y="73"/>
                    <a:pt x="0" y="180"/>
                    <a:pt x="0" y="180"/>
                  </a:cubicBezTo>
                  <a:cubicBezTo>
                    <a:pt x="0" y="180"/>
                    <a:pt x="100" y="229"/>
                    <a:pt x="181" y="192"/>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2" name="Freeform 28">
              <a:extLst>
                <a:ext uri="{FF2B5EF4-FFF2-40B4-BE49-F238E27FC236}">
                  <a16:creationId xmlns:a16="http://schemas.microsoft.com/office/drawing/2014/main" id="{D65CCDF0-4444-46FF-9105-C077BB399AF5}"/>
                </a:ext>
              </a:extLst>
            </p:cNvPr>
            <p:cNvSpPr>
              <a:spLocks/>
            </p:cNvSpPr>
            <p:nvPr/>
          </p:nvSpPr>
          <p:spPr bwMode="auto">
            <a:xfrm>
              <a:off x="7192250" y="3709466"/>
              <a:ext cx="602209" cy="808444"/>
            </a:xfrm>
            <a:custGeom>
              <a:avLst/>
              <a:gdLst>
                <a:gd name="T0" fmla="*/ 55 w 223"/>
                <a:gd name="T1" fmla="*/ 299 h 299"/>
                <a:gd name="T2" fmla="*/ 191 w 223"/>
                <a:gd name="T3" fmla="*/ 180 h 299"/>
                <a:gd name="T4" fmla="*/ 168 w 223"/>
                <a:gd name="T5" fmla="*/ 0 h 299"/>
                <a:gd name="T6" fmla="*/ 31 w 223"/>
                <a:gd name="T7" fmla="*/ 120 h 299"/>
                <a:gd name="T8" fmla="*/ 55 w 223"/>
                <a:gd name="T9" fmla="*/ 299 h 299"/>
              </a:gdLst>
              <a:ahLst/>
              <a:cxnLst>
                <a:cxn ang="0">
                  <a:pos x="T0" y="T1"/>
                </a:cxn>
                <a:cxn ang="0">
                  <a:pos x="T2" y="T3"/>
                </a:cxn>
                <a:cxn ang="0">
                  <a:pos x="T4" y="T5"/>
                </a:cxn>
                <a:cxn ang="0">
                  <a:pos x="T6" y="T7"/>
                </a:cxn>
                <a:cxn ang="0">
                  <a:pos x="T8" y="T9"/>
                </a:cxn>
              </a:cxnLst>
              <a:rect l="0" t="0" r="r" b="b"/>
              <a:pathLst>
                <a:path w="223" h="299">
                  <a:moveTo>
                    <a:pt x="55" y="299"/>
                  </a:moveTo>
                  <a:cubicBezTo>
                    <a:pt x="55" y="299"/>
                    <a:pt x="160" y="262"/>
                    <a:pt x="191" y="180"/>
                  </a:cubicBezTo>
                  <a:cubicBezTo>
                    <a:pt x="223" y="97"/>
                    <a:pt x="168" y="0"/>
                    <a:pt x="168" y="0"/>
                  </a:cubicBezTo>
                  <a:cubicBezTo>
                    <a:pt x="168" y="0"/>
                    <a:pt x="62" y="37"/>
                    <a:pt x="31" y="120"/>
                  </a:cubicBezTo>
                  <a:cubicBezTo>
                    <a:pt x="0" y="202"/>
                    <a:pt x="55" y="299"/>
                    <a:pt x="55" y="299"/>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3" name="Freeform 32">
              <a:extLst>
                <a:ext uri="{FF2B5EF4-FFF2-40B4-BE49-F238E27FC236}">
                  <a16:creationId xmlns:a16="http://schemas.microsoft.com/office/drawing/2014/main" id="{89EBF980-64C5-43D3-8AE7-352ED6867D2A}"/>
                </a:ext>
              </a:extLst>
            </p:cNvPr>
            <p:cNvSpPr>
              <a:spLocks/>
            </p:cNvSpPr>
            <p:nvPr/>
          </p:nvSpPr>
          <p:spPr bwMode="auto">
            <a:xfrm>
              <a:off x="7080882" y="5927189"/>
              <a:ext cx="886814" cy="904688"/>
            </a:xfrm>
            <a:custGeom>
              <a:avLst/>
              <a:gdLst>
                <a:gd name="T0" fmla="*/ 7 w 328"/>
                <a:gd name="T1" fmla="*/ 13 h 335"/>
                <a:gd name="T2" fmla="*/ 25 w 328"/>
                <a:gd name="T3" fmla="*/ 161 h 335"/>
                <a:gd name="T4" fmla="*/ 44 w 328"/>
                <a:gd name="T5" fmla="*/ 204 h 335"/>
                <a:gd name="T6" fmla="*/ 79 w 328"/>
                <a:gd name="T7" fmla="*/ 250 h 335"/>
                <a:gd name="T8" fmla="*/ 315 w 328"/>
                <a:gd name="T9" fmla="*/ 321 h 335"/>
                <a:gd name="T10" fmla="*/ 243 w 328"/>
                <a:gd name="T11" fmla="*/ 85 h 335"/>
                <a:gd name="T12" fmla="*/ 7 w 328"/>
                <a:gd name="T13" fmla="*/ 13 h 335"/>
              </a:gdLst>
              <a:ahLst/>
              <a:cxnLst>
                <a:cxn ang="0">
                  <a:pos x="T0" y="T1"/>
                </a:cxn>
                <a:cxn ang="0">
                  <a:pos x="T2" y="T3"/>
                </a:cxn>
                <a:cxn ang="0">
                  <a:pos x="T4" y="T5"/>
                </a:cxn>
                <a:cxn ang="0">
                  <a:pos x="T6" y="T7"/>
                </a:cxn>
                <a:cxn ang="0">
                  <a:pos x="T8" y="T9"/>
                </a:cxn>
                <a:cxn ang="0">
                  <a:pos x="T10" y="T11"/>
                </a:cxn>
                <a:cxn ang="0">
                  <a:pos x="T12" y="T13"/>
                </a:cxn>
              </a:cxnLst>
              <a:rect l="0" t="0" r="r" b="b"/>
              <a:pathLst>
                <a:path w="328" h="335">
                  <a:moveTo>
                    <a:pt x="7" y="13"/>
                  </a:moveTo>
                  <a:cubicBezTo>
                    <a:pt x="7" y="13"/>
                    <a:pt x="0" y="87"/>
                    <a:pt x="25" y="161"/>
                  </a:cubicBezTo>
                  <a:cubicBezTo>
                    <a:pt x="30" y="175"/>
                    <a:pt x="37" y="190"/>
                    <a:pt x="44" y="204"/>
                  </a:cubicBezTo>
                  <a:cubicBezTo>
                    <a:pt x="54" y="220"/>
                    <a:pt x="65" y="236"/>
                    <a:pt x="79" y="250"/>
                  </a:cubicBezTo>
                  <a:cubicBezTo>
                    <a:pt x="164" y="335"/>
                    <a:pt x="315" y="321"/>
                    <a:pt x="315" y="321"/>
                  </a:cubicBezTo>
                  <a:cubicBezTo>
                    <a:pt x="315" y="321"/>
                    <a:pt x="328" y="170"/>
                    <a:pt x="243" y="85"/>
                  </a:cubicBezTo>
                  <a:cubicBezTo>
                    <a:pt x="158" y="0"/>
                    <a:pt x="7" y="13"/>
                    <a:pt x="7" y="1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4" name="Oval 33">
              <a:extLst>
                <a:ext uri="{FF2B5EF4-FFF2-40B4-BE49-F238E27FC236}">
                  <a16:creationId xmlns:a16="http://schemas.microsoft.com/office/drawing/2014/main" id="{A07FE81F-36D8-4B7F-AF84-4110654519AC}"/>
                </a:ext>
              </a:extLst>
            </p:cNvPr>
            <p:cNvSpPr>
              <a:spLocks noChangeArrowheads="1"/>
            </p:cNvSpPr>
            <p:nvPr/>
          </p:nvSpPr>
          <p:spPr bwMode="auto">
            <a:xfrm>
              <a:off x="7223872" y="5373102"/>
              <a:ext cx="1178294" cy="629707"/>
            </a:xfrm>
            <a:prstGeom prst="ellipse">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5" name="Freeform 34">
              <a:extLst>
                <a:ext uri="{FF2B5EF4-FFF2-40B4-BE49-F238E27FC236}">
                  <a16:creationId xmlns:a16="http://schemas.microsoft.com/office/drawing/2014/main" id="{89509260-2652-4173-B2B8-8CD99B9D8E37}"/>
                </a:ext>
              </a:extLst>
            </p:cNvPr>
            <p:cNvSpPr>
              <a:spLocks/>
            </p:cNvSpPr>
            <p:nvPr/>
          </p:nvSpPr>
          <p:spPr bwMode="auto">
            <a:xfrm>
              <a:off x="7080882" y="4537159"/>
              <a:ext cx="904688" cy="906063"/>
            </a:xfrm>
            <a:custGeom>
              <a:avLst/>
              <a:gdLst>
                <a:gd name="T0" fmla="*/ 13 w 335"/>
                <a:gd name="T1" fmla="*/ 321 h 335"/>
                <a:gd name="T2" fmla="*/ 250 w 335"/>
                <a:gd name="T3" fmla="*/ 249 h 335"/>
                <a:gd name="T4" fmla="*/ 322 w 335"/>
                <a:gd name="T5" fmla="*/ 13 h 335"/>
                <a:gd name="T6" fmla="*/ 85 w 335"/>
                <a:gd name="T7" fmla="*/ 85 h 335"/>
                <a:gd name="T8" fmla="*/ 13 w 335"/>
                <a:gd name="T9" fmla="*/ 321 h 335"/>
              </a:gdLst>
              <a:ahLst/>
              <a:cxnLst>
                <a:cxn ang="0">
                  <a:pos x="T0" y="T1"/>
                </a:cxn>
                <a:cxn ang="0">
                  <a:pos x="T2" y="T3"/>
                </a:cxn>
                <a:cxn ang="0">
                  <a:pos x="T4" y="T5"/>
                </a:cxn>
                <a:cxn ang="0">
                  <a:pos x="T6" y="T7"/>
                </a:cxn>
                <a:cxn ang="0">
                  <a:pos x="T8" y="T9"/>
                </a:cxn>
              </a:cxnLst>
              <a:rect l="0" t="0" r="r" b="b"/>
              <a:pathLst>
                <a:path w="335" h="335">
                  <a:moveTo>
                    <a:pt x="13" y="321"/>
                  </a:moveTo>
                  <a:cubicBezTo>
                    <a:pt x="13" y="321"/>
                    <a:pt x="165" y="335"/>
                    <a:pt x="250" y="249"/>
                  </a:cubicBezTo>
                  <a:cubicBezTo>
                    <a:pt x="335" y="164"/>
                    <a:pt x="322" y="13"/>
                    <a:pt x="322" y="13"/>
                  </a:cubicBezTo>
                  <a:cubicBezTo>
                    <a:pt x="322" y="13"/>
                    <a:pt x="170" y="0"/>
                    <a:pt x="85" y="85"/>
                  </a:cubicBezTo>
                  <a:cubicBezTo>
                    <a:pt x="0" y="170"/>
                    <a:pt x="13" y="321"/>
                    <a:pt x="13" y="321"/>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6" name="Oval 39">
              <a:extLst>
                <a:ext uri="{FF2B5EF4-FFF2-40B4-BE49-F238E27FC236}">
                  <a16:creationId xmlns:a16="http://schemas.microsoft.com/office/drawing/2014/main" id="{95AEE374-0AA4-40C7-B2C0-5418AB223B12}"/>
                </a:ext>
              </a:extLst>
            </p:cNvPr>
            <p:cNvSpPr>
              <a:spLocks noChangeArrowheads="1"/>
            </p:cNvSpPr>
            <p:nvPr/>
          </p:nvSpPr>
          <p:spPr bwMode="auto">
            <a:xfrm>
              <a:off x="8645525" y="5407475"/>
              <a:ext cx="559587" cy="559587"/>
            </a:xfrm>
            <a:prstGeom prst="ellipse">
              <a:avLst/>
            </a:pr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7" name="Freeform 40">
              <a:extLst>
                <a:ext uri="{FF2B5EF4-FFF2-40B4-BE49-F238E27FC236}">
                  <a16:creationId xmlns:a16="http://schemas.microsoft.com/office/drawing/2014/main" id="{7DC80880-E03E-4FA0-A976-733A6E5EB41A}"/>
                </a:ext>
              </a:extLst>
            </p:cNvPr>
            <p:cNvSpPr>
              <a:spLocks/>
            </p:cNvSpPr>
            <p:nvPr/>
          </p:nvSpPr>
          <p:spPr bwMode="auto">
            <a:xfrm>
              <a:off x="8007568" y="3907453"/>
              <a:ext cx="613208" cy="613208"/>
            </a:xfrm>
            <a:custGeom>
              <a:avLst/>
              <a:gdLst>
                <a:gd name="T0" fmla="*/ 40 w 227"/>
                <a:gd name="T1" fmla="*/ 187 h 227"/>
                <a:gd name="T2" fmla="*/ 187 w 227"/>
                <a:gd name="T3" fmla="*/ 187 h 227"/>
                <a:gd name="T4" fmla="*/ 187 w 227"/>
                <a:gd name="T5" fmla="*/ 41 h 227"/>
                <a:gd name="T6" fmla="*/ 40 w 227"/>
                <a:gd name="T7" fmla="*/ 41 h 227"/>
                <a:gd name="T8" fmla="*/ 40 w 227"/>
                <a:gd name="T9" fmla="*/ 187 h 227"/>
              </a:gdLst>
              <a:ahLst/>
              <a:cxnLst>
                <a:cxn ang="0">
                  <a:pos x="T0" y="T1"/>
                </a:cxn>
                <a:cxn ang="0">
                  <a:pos x="T2" y="T3"/>
                </a:cxn>
                <a:cxn ang="0">
                  <a:pos x="T4" y="T5"/>
                </a:cxn>
                <a:cxn ang="0">
                  <a:pos x="T6" y="T7"/>
                </a:cxn>
                <a:cxn ang="0">
                  <a:pos x="T8" y="T9"/>
                </a:cxn>
              </a:cxnLst>
              <a:rect l="0" t="0" r="r" b="b"/>
              <a:pathLst>
                <a:path w="227" h="227">
                  <a:moveTo>
                    <a:pt x="40" y="187"/>
                  </a:moveTo>
                  <a:cubicBezTo>
                    <a:pt x="81" y="227"/>
                    <a:pt x="146" y="227"/>
                    <a:pt x="187" y="187"/>
                  </a:cubicBezTo>
                  <a:cubicBezTo>
                    <a:pt x="227" y="147"/>
                    <a:pt x="227" y="81"/>
                    <a:pt x="187" y="41"/>
                  </a:cubicBezTo>
                  <a:cubicBezTo>
                    <a:pt x="146" y="0"/>
                    <a:pt x="81" y="0"/>
                    <a:pt x="40" y="41"/>
                  </a:cubicBezTo>
                  <a:cubicBezTo>
                    <a:pt x="0" y="81"/>
                    <a:pt x="0" y="147"/>
                    <a:pt x="40" y="187"/>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nvGrpSpPr>
            <p:cNvPr id="18" name="Group 18">
              <a:extLst>
                <a:ext uri="{FF2B5EF4-FFF2-40B4-BE49-F238E27FC236}">
                  <a16:creationId xmlns:a16="http://schemas.microsoft.com/office/drawing/2014/main" id="{05B589AA-73A0-4823-A369-ADC569FD41A2}"/>
                </a:ext>
              </a:extLst>
            </p:cNvPr>
            <p:cNvGrpSpPr/>
            <p:nvPr/>
          </p:nvGrpSpPr>
          <p:grpSpPr>
            <a:xfrm>
              <a:off x="6502047" y="4101316"/>
              <a:ext cx="646206" cy="1179669"/>
              <a:chOff x="9398918" y="4268925"/>
              <a:chExt cx="646206" cy="1179669"/>
            </a:xfrm>
            <a:solidFill>
              <a:schemeClr val="accent1"/>
            </a:solidFill>
          </p:grpSpPr>
          <p:sp>
            <p:nvSpPr>
              <p:cNvPr id="42" name="Freeform 6">
                <a:extLst>
                  <a:ext uri="{FF2B5EF4-FFF2-40B4-BE49-F238E27FC236}">
                    <a16:creationId xmlns:a16="http://schemas.microsoft.com/office/drawing/2014/main" id="{87E5A05E-2034-48D8-8BCA-35519C0D6EC0}"/>
                  </a:ext>
                </a:extLst>
              </p:cNvPr>
              <p:cNvSpPr>
                <a:spLocks/>
              </p:cNvSpPr>
              <p:nvPr/>
            </p:nvSpPr>
            <p:spPr bwMode="auto">
              <a:xfrm>
                <a:off x="9407168" y="4268925"/>
                <a:ext cx="637956" cy="1179669"/>
              </a:xfrm>
              <a:custGeom>
                <a:avLst/>
                <a:gdLst>
                  <a:gd name="T0" fmla="*/ 123 w 236"/>
                  <a:gd name="T1" fmla="*/ 0 h 436"/>
                  <a:gd name="T2" fmla="*/ 6 w 236"/>
                  <a:gd name="T3" fmla="*/ 218 h 436"/>
                  <a:gd name="T4" fmla="*/ 0 w 236"/>
                  <a:gd name="T5" fmla="*/ 219 h 436"/>
                  <a:gd name="T6" fmla="*/ 105 w 236"/>
                  <a:gd name="T7" fmla="*/ 5 h 436"/>
                  <a:gd name="T8" fmla="*/ 105 w 236"/>
                  <a:gd name="T9" fmla="*/ 432 h 436"/>
                  <a:gd name="T10" fmla="*/ 116 w 236"/>
                  <a:gd name="T11" fmla="*/ 436 h 436"/>
                  <a:gd name="T12" fmla="*/ 236 w 236"/>
                  <a:gd name="T13" fmla="*/ 218 h 436"/>
                  <a:gd name="T14" fmla="*/ 123 w 236"/>
                  <a:gd name="T15" fmla="*/ 0 h 43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6" h="436">
                    <a:moveTo>
                      <a:pt x="123" y="0"/>
                    </a:moveTo>
                    <a:cubicBezTo>
                      <a:pt x="123" y="0"/>
                      <a:pt x="6" y="98"/>
                      <a:pt x="6" y="218"/>
                    </a:cubicBezTo>
                    <a:cubicBezTo>
                      <a:pt x="6" y="219"/>
                      <a:pt x="0" y="219"/>
                      <a:pt x="0" y="219"/>
                    </a:cubicBezTo>
                    <a:cubicBezTo>
                      <a:pt x="0" y="113"/>
                      <a:pt x="85" y="25"/>
                      <a:pt x="105" y="5"/>
                    </a:cubicBezTo>
                    <a:cubicBezTo>
                      <a:pt x="105" y="432"/>
                      <a:pt x="105" y="432"/>
                      <a:pt x="105" y="432"/>
                    </a:cubicBezTo>
                    <a:cubicBezTo>
                      <a:pt x="121" y="435"/>
                      <a:pt x="116" y="436"/>
                      <a:pt x="116" y="436"/>
                    </a:cubicBezTo>
                    <a:cubicBezTo>
                      <a:pt x="116" y="436"/>
                      <a:pt x="236" y="339"/>
                      <a:pt x="236" y="218"/>
                    </a:cubicBezTo>
                    <a:cubicBezTo>
                      <a:pt x="236" y="98"/>
                      <a:pt x="123" y="0"/>
                      <a:pt x="123" y="0"/>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43" name="Freeform 42">
                <a:extLst>
                  <a:ext uri="{FF2B5EF4-FFF2-40B4-BE49-F238E27FC236}">
                    <a16:creationId xmlns:a16="http://schemas.microsoft.com/office/drawing/2014/main" id="{96650567-979F-4A32-A65D-8BAE9AAEECF7}"/>
                  </a:ext>
                </a:extLst>
              </p:cNvPr>
              <p:cNvSpPr>
                <a:spLocks/>
              </p:cNvSpPr>
              <p:nvPr/>
            </p:nvSpPr>
            <p:spPr bwMode="auto">
              <a:xfrm>
                <a:off x="9398918" y="4282673"/>
                <a:ext cx="292855" cy="1160420"/>
              </a:xfrm>
              <a:custGeom>
                <a:avLst/>
                <a:gdLst>
                  <a:gd name="T0" fmla="*/ 3 w 108"/>
                  <a:gd name="T1" fmla="*/ 214 h 429"/>
                  <a:gd name="T2" fmla="*/ 0 w 108"/>
                  <a:gd name="T3" fmla="*/ 214 h 429"/>
                  <a:gd name="T4" fmla="*/ 108 w 108"/>
                  <a:gd name="T5" fmla="*/ 429 h 429"/>
                  <a:gd name="T6" fmla="*/ 108 w 108"/>
                  <a:gd name="T7" fmla="*/ 427 h 429"/>
                  <a:gd name="T8" fmla="*/ 108 w 108"/>
                  <a:gd name="T9" fmla="*/ 0 h 429"/>
                  <a:gd name="T10" fmla="*/ 3 w 108"/>
                  <a:gd name="T11" fmla="*/ 214 h 429"/>
                </a:gdLst>
                <a:ahLst/>
                <a:cxnLst>
                  <a:cxn ang="0">
                    <a:pos x="T0" y="T1"/>
                  </a:cxn>
                  <a:cxn ang="0">
                    <a:pos x="T2" y="T3"/>
                  </a:cxn>
                  <a:cxn ang="0">
                    <a:pos x="T4" y="T5"/>
                  </a:cxn>
                  <a:cxn ang="0">
                    <a:pos x="T6" y="T7"/>
                  </a:cxn>
                  <a:cxn ang="0">
                    <a:pos x="T8" y="T9"/>
                  </a:cxn>
                  <a:cxn ang="0">
                    <a:pos x="T10" y="T11"/>
                  </a:cxn>
                </a:cxnLst>
                <a:rect l="0" t="0" r="r" b="b"/>
                <a:pathLst>
                  <a:path w="108" h="429">
                    <a:moveTo>
                      <a:pt x="3" y="214"/>
                    </a:moveTo>
                    <a:cubicBezTo>
                      <a:pt x="3" y="214"/>
                      <a:pt x="0" y="214"/>
                      <a:pt x="0" y="214"/>
                    </a:cubicBezTo>
                    <a:cubicBezTo>
                      <a:pt x="0" y="321"/>
                      <a:pt x="88" y="409"/>
                      <a:pt x="108" y="429"/>
                    </a:cubicBezTo>
                    <a:cubicBezTo>
                      <a:pt x="108" y="427"/>
                      <a:pt x="108" y="427"/>
                      <a:pt x="108" y="427"/>
                    </a:cubicBezTo>
                    <a:cubicBezTo>
                      <a:pt x="108" y="0"/>
                      <a:pt x="108" y="0"/>
                      <a:pt x="108" y="0"/>
                    </a:cubicBezTo>
                    <a:cubicBezTo>
                      <a:pt x="88" y="20"/>
                      <a:pt x="3" y="108"/>
                      <a:pt x="3" y="214"/>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sp>
          <p:nvSpPr>
            <p:cNvPr id="19" name="Freeform 46">
              <a:extLst>
                <a:ext uri="{FF2B5EF4-FFF2-40B4-BE49-F238E27FC236}">
                  <a16:creationId xmlns:a16="http://schemas.microsoft.com/office/drawing/2014/main" id="{4BD9BDA5-DE14-42D5-B551-68C384B00D80}"/>
                </a:ext>
              </a:extLst>
            </p:cNvPr>
            <p:cNvSpPr>
              <a:spLocks/>
            </p:cNvSpPr>
            <p:nvPr/>
          </p:nvSpPr>
          <p:spPr bwMode="auto">
            <a:xfrm>
              <a:off x="4780666" y="3636597"/>
              <a:ext cx="305229" cy="332727"/>
            </a:xfrm>
            <a:custGeom>
              <a:avLst/>
              <a:gdLst>
                <a:gd name="T0" fmla="*/ 113 w 113"/>
                <a:gd name="T1" fmla="*/ 118 h 123"/>
                <a:gd name="T2" fmla="*/ 113 w 113"/>
                <a:gd name="T3" fmla="*/ 109 h 123"/>
                <a:gd name="T4" fmla="*/ 87 w 113"/>
                <a:gd name="T5" fmla="*/ 31 h 123"/>
                <a:gd name="T6" fmla="*/ 0 w 113"/>
                <a:gd name="T7" fmla="*/ 5 h 123"/>
                <a:gd name="T8" fmla="*/ 0 w 113"/>
                <a:gd name="T9" fmla="*/ 14 h 123"/>
                <a:gd name="T10" fmla="*/ 26 w 113"/>
                <a:gd name="T11" fmla="*/ 92 h 123"/>
                <a:gd name="T12" fmla="*/ 113 w 113"/>
                <a:gd name="T13" fmla="*/ 118 h 123"/>
              </a:gdLst>
              <a:ahLst/>
              <a:cxnLst>
                <a:cxn ang="0">
                  <a:pos x="T0" y="T1"/>
                </a:cxn>
                <a:cxn ang="0">
                  <a:pos x="T2" y="T3"/>
                </a:cxn>
                <a:cxn ang="0">
                  <a:pos x="T4" y="T5"/>
                </a:cxn>
                <a:cxn ang="0">
                  <a:pos x="T6" y="T7"/>
                </a:cxn>
                <a:cxn ang="0">
                  <a:pos x="T8" y="T9"/>
                </a:cxn>
                <a:cxn ang="0">
                  <a:pos x="T10" y="T11"/>
                </a:cxn>
                <a:cxn ang="0">
                  <a:pos x="T12" y="T13"/>
                </a:cxn>
              </a:cxnLst>
              <a:rect l="0" t="0" r="r" b="b"/>
              <a:pathLst>
                <a:path w="113" h="123">
                  <a:moveTo>
                    <a:pt x="113" y="118"/>
                  </a:moveTo>
                  <a:cubicBezTo>
                    <a:pt x="113" y="118"/>
                    <a:pt x="113" y="115"/>
                    <a:pt x="113" y="109"/>
                  </a:cubicBezTo>
                  <a:cubicBezTo>
                    <a:pt x="113" y="92"/>
                    <a:pt x="110" y="55"/>
                    <a:pt x="87" y="31"/>
                  </a:cubicBezTo>
                  <a:cubicBezTo>
                    <a:pt x="55" y="0"/>
                    <a:pt x="0" y="5"/>
                    <a:pt x="0" y="5"/>
                  </a:cubicBezTo>
                  <a:cubicBezTo>
                    <a:pt x="0" y="5"/>
                    <a:pt x="0" y="8"/>
                    <a:pt x="0" y="14"/>
                  </a:cubicBezTo>
                  <a:cubicBezTo>
                    <a:pt x="0" y="31"/>
                    <a:pt x="3" y="68"/>
                    <a:pt x="26" y="92"/>
                  </a:cubicBezTo>
                  <a:cubicBezTo>
                    <a:pt x="57" y="123"/>
                    <a:pt x="113" y="118"/>
                    <a:pt x="113" y="118"/>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0" name="Freeform 47">
              <a:extLst>
                <a:ext uri="{FF2B5EF4-FFF2-40B4-BE49-F238E27FC236}">
                  <a16:creationId xmlns:a16="http://schemas.microsoft.com/office/drawing/2014/main" id="{D7F9C275-836D-413D-B1EC-AF2583F19772}"/>
                </a:ext>
              </a:extLst>
            </p:cNvPr>
            <p:cNvSpPr>
              <a:spLocks/>
            </p:cNvSpPr>
            <p:nvPr/>
          </p:nvSpPr>
          <p:spPr bwMode="auto">
            <a:xfrm>
              <a:off x="4318697" y="4212682"/>
              <a:ext cx="372600" cy="318978"/>
            </a:xfrm>
            <a:custGeom>
              <a:avLst/>
              <a:gdLst>
                <a:gd name="T0" fmla="*/ 138 w 138"/>
                <a:gd name="T1" fmla="*/ 96 h 118"/>
                <a:gd name="T2" fmla="*/ 138 w 138"/>
                <a:gd name="T3" fmla="*/ 96 h 118"/>
                <a:gd name="T4" fmla="*/ 90 w 138"/>
                <a:gd name="T5" fmla="*/ 22 h 118"/>
                <a:gd name="T6" fmla="*/ 0 w 138"/>
                <a:gd name="T7" fmla="*/ 22 h 118"/>
                <a:gd name="T8" fmla="*/ 0 w 138"/>
                <a:gd name="T9" fmla="*/ 22 h 118"/>
                <a:gd name="T10" fmla="*/ 47 w 138"/>
                <a:gd name="T11" fmla="*/ 96 h 118"/>
                <a:gd name="T12" fmla="*/ 138 w 138"/>
                <a:gd name="T13" fmla="*/ 96 h 118"/>
              </a:gdLst>
              <a:ahLst/>
              <a:cxnLst>
                <a:cxn ang="0">
                  <a:pos x="T0" y="T1"/>
                </a:cxn>
                <a:cxn ang="0">
                  <a:pos x="T2" y="T3"/>
                </a:cxn>
                <a:cxn ang="0">
                  <a:pos x="T4" y="T5"/>
                </a:cxn>
                <a:cxn ang="0">
                  <a:pos x="T6" y="T7"/>
                </a:cxn>
                <a:cxn ang="0">
                  <a:pos x="T8" y="T9"/>
                </a:cxn>
                <a:cxn ang="0">
                  <a:pos x="T10" y="T11"/>
                </a:cxn>
                <a:cxn ang="0">
                  <a:pos x="T12" y="T13"/>
                </a:cxn>
              </a:cxnLst>
              <a:rect l="0" t="0" r="r" b="b"/>
              <a:pathLst>
                <a:path w="138" h="118">
                  <a:moveTo>
                    <a:pt x="138" y="96"/>
                  </a:moveTo>
                  <a:cubicBezTo>
                    <a:pt x="138" y="96"/>
                    <a:pt x="138" y="96"/>
                    <a:pt x="138" y="96"/>
                  </a:cubicBezTo>
                  <a:cubicBezTo>
                    <a:pt x="137" y="90"/>
                    <a:pt x="126" y="43"/>
                    <a:pt x="90" y="22"/>
                  </a:cubicBezTo>
                  <a:cubicBezTo>
                    <a:pt x="52" y="0"/>
                    <a:pt x="0" y="22"/>
                    <a:pt x="0" y="22"/>
                  </a:cubicBezTo>
                  <a:cubicBezTo>
                    <a:pt x="0" y="22"/>
                    <a:pt x="0" y="22"/>
                    <a:pt x="0" y="22"/>
                  </a:cubicBezTo>
                  <a:cubicBezTo>
                    <a:pt x="0" y="22"/>
                    <a:pt x="9" y="74"/>
                    <a:pt x="47" y="96"/>
                  </a:cubicBezTo>
                  <a:cubicBezTo>
                    <a:pt x="86" y="118"/>
                    <a:pt x="138" y="96"/>
                    <a:pt x="138" y="96"/>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1" name="Freeform 48">
              <a:extLst>
                <a:ext uri="{FF2B5EF4-FFF2-40B4-BE49-F238E27FC236}">
                  <a16:creationId xmlns:a16="http://schemas.microsoft.com/office/drawing/2014/main" id="{E26E1B37-01D1-40F0-92C0-AFB1007573AA}"/>
                </a:ext>
              </a:extLst>
            </p:cNvPr>
            <p:cNvSpPr>
              <a:spLocks/>
            </p:cNvSpPr>
            <p:nvPr/>
          </p:nvSpPr>
          <p:spPr bwMode="auto">
            <a:xfrm>
              <a:off x="4027218" y="4878136"/>
              <a:ext cx="415221" cy="283230"/>
            </a:xfrm>
            <a:custGeom>
              <a:avLst/>
              <a:gdLst>
                <a:gd name="T0" fmla="*/ 88 w 154"/>
                <a:gd name="T1" fmla="*/ 11 h 105"/>
                <a:gd name="T2" fmla="*/ 0 w 154"/>
                <a:gd name="T3" fmla="*/ 31 h 105"/>
                <a:gd name="T4" fmla="*/ 0 w 154"/>
                <a:gd name="T5" fmla="*/ 31 h 105"/>
                <a:gd name="T6" fmla="*/ 66 w 154"/>
                <a:gd name="T7" fmla="*/ 93 h 105"/>
                <a:gd name="T8" fmla="*/ 154 w 154"/>
                <a:gd name="T9" fmla="*/ 73 h 105"/>
                <a:gd name="T10" fmla="*/ 153 w 154"/>
                <a:gd name="T11" fmla="*/ 72 h 105"/>
                <a:gd name="T12" fmla="*/ 88 w 154"/>
                <a:gd name="T13" fmla="*/ 11 h 105"/>
              </a:gdLst>
              <a:ahLst/>
              <a:cxnLst>
                <a:cxn ang="0">
                  <a:pos x="T0" y="T1"/>
                </a:cxn>
                <a:cxn ang="0">
                  <a:pos x="T2" y="T3"/>
                </a:cxn>
                <a:cxn ang="0">
                  <a:pos x="T4" y="T5"/>
                </a:cxn>
                <a:cxn ang="0">
                  <a:pos x="T6" y="T7"/>
                </a:cxn>
                <a:cxn ang="0">
                  <a:pos x="T8" y="T9"/>
                </a:cxn>
                <a:cxn ang="0">
                  <a:pos x="T10" y="T11"/>
                </a:cxn>
                <a:cxn ang="0">
                  <a:pos x="T12" y="T13"/>
                </a:cxn>
              </a:cxnLst>
              <a:rect l="0" t="0" r="r" b="b"/>
              <a:pathLst>
                <a:path w="154" h="105">
                  <a:moveTo>
                    <a:pt x="88" y="11"/>
                  </a:moveTo>
                  <a:cubicBezTo>
                    <a:pt x="48" y="0"/>
                    <a:pt x="6" y="28"/>
                    <a:pt x="0" y="31"/>
                  </a:cubicBezTo>
                  <a:cubicBezTo>
                    <a:pt x="0" y="31"/>
                    <a:pt x="0" y="31"/>
                    <a:pt x="0" y="31"/>
                  </a:cubicBezTo>
                  <a:cubicBezTo>
                    <a:pt x="0" y="31"/>
                    <a:pt x="23" y="82"/>
                    <a:pt x="66" y="93"/>
                  </a:cubicBezTo>
                  <a:cubicBezTo>
                    <a:pt x="108" y="105"/>
                    <a:pt x="154" y="73"/>
                    <a:pt x="154" y="73"/>
                  </a:cubicBezTo>
                  <a:cubicBezTo>
                    <a:pt x="154" y="73"/>
                    <a:pt x="154" y="72"/>
                    <a:pt x="153" y="72"/>
                  </a:cubicBezTo>
                  <a:cubicBezTo>
                    <a:pt x="150" y="64"/>
                    <a:pt x="127" y="21"/>
                    <a:pt x="88" y="11"/>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2" name="Freeform 49">
              <a:extLst>
                <a:ext uri="{FF2B5EF4-FFF2-40B4-BE49-F238E27FC236}">
                  <a16:creationId xmlns:a16="http://schemas.microsoft.com/office/drawing/2014/main" id="{04F7FFDC-7E68-452F-AE4B-A4A1E736D4FD}"/>
                </a:ext>
              </a:extLst>
            </p:cNvPr>
            <p:cNvSpPr>
              <a:spLocks/>
            </p:cNvSpPr>
            <p:nvPr/>
          </p:nvSpPr>
          <p:spPr bwMode="auto">
            <a:xfrm>
              <a:off x="3926849" y="5605461"/>
              <a:ext cx="433096" cy="232359"/>
            </a:xfrm>
            <a:custGeom>
              <a:avLst/>
              <a:gdLst>
                <a:gd name="T0" fmla="*/ 80 w 160"/>
                <a:gd name="T1" fmla="*/ 86 h 86"/>
                <a:gd name="T2" fmla="*/ 160 w 160"/>
                <a:gd name="T3" fmla="*/ 43 h 86"/>
                <a:gd name="T4" fmla="*/ 158 w 160"/>
                <a:gd name="T5" fmla="*/ 42 h 86"/>
                <a:gd name="T6" fmla="*/ 80 w 160"/>
                <a:gd name="T7" fmla="*/ 0 h 86"/>
                <a:gd name="T8" fmla="*/ 1 w 160"/>
                <a:gd name="T9" fmla="*/ 42 h 86"/>
                <a:gd name="T10" fmla="*/ 0 w 160"/>
                <a:gd name="T11" fmla="*/ 43 h 86"/>
                <a:gd name="T12" fmla="*/ 80 w 160"/>
                <a:gd name="T13" fmla="*/ 86 h 86"/>
              </a:gdLst>
              <a:ahLst/>
              <a:cxnLst>
                <a:cxn ang="0">
                  <a:pos x="T0" y="T1"/>
                </a:cxn>
                <a:cxn ang="0">
                  <a:pos x="T2" y="T3"/>
                </a:cxn>
                <a:cxn ang="0">
                  <a:pos x="T4" y="T5"/>
                </a:cxn>
                <a:cxn ang="0">
                  <a:pos x="T6" y="T7"/>
                </a:cxn>
                <a:cxn ang="0">
                  <a:pos x="T8" y="T9"/>
                </a:cxn>
                <a:cxn ang="0">
                  <a:pos x="T10" y="T11"/>
                </a:cxn>
                <a:cxn ang="0">
                  <a:pos x="T12" y="T13"/>
                </a:cxn>
              </a:cxnLst>
              <a:rect l="0" t="0" r="r" b="b"/>
              <a:pathLst>
                <a:path w="160" h="86">
                  <a:moveTo>
                    <a:pt x="80" y="86"/>
                  </a:moveTo>
                  <a:cubicBezTo>
                    <a:pt x="124" y="86"/>
                    <a:pt x="160" y="43"/>
                    <a:pt x="160" y="43"/>
                  </a:cubicBezTo>
                  <a:cubicBezTo>
                    <a:pt x="160" y="43"/>
                    <a:pt x="159" y="42"/>
                    <a:pt x="158" y="42"/>
                  </a:cubicBezTo>
                  <a:cubicBezTo>
                    <a:pt x="152" y="35"/>
                    <a:pt x="119" y="0"/>
                    <a:pt x="80" y="0"/>
                  </a:cubicBezTo>
                  <a:cubicBezTo>
                    <a:pt x="40" y="0"/>
                    <a:pt x="8" y="35"/>
                    <a:pt x="1" y="42"/>
                  </a:cubicBezTo>
                  <a:cubicBezTo>
                    <a:pt x="1" y="42"/>
                    <a:pt x="0" y="43"/>
                    <a:pt x="0" y="43"/>
                  </a:cubicBezTo>
                  <a:cubicBezTo>
                    <a:pt x="0" y="43"/>
                    <a:pt x="36" y="86"/>
                    <a:pt x="80" y="86"/>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3" name="Freeform 50">
              <a:extLst>
                <a:ext uri="{FF2B5EF4-FFF2-40B4-BE49-F238E27FC236}">
                  <a16:creationId xmlns:a16="http://schemas.microsoft.com/office/drawing/2014/main" id="{A6F9C75A-6BD6-48EA-8F39-FEAC10E0DFD3}"/>
                </a:ext>
              </a:extLst>
            </p:cNvPr>
            <p:cNvSpPr>
              <a:spLocks/>
            </p:cNvSpPr>
            <p:nvPr/>
          </p:nvSpPr>
          <p:spPr bwMode="auto">
            <a:xfrm>
              <a:off x="4027218" y="6283289"/>
              <a:ext cx="415221" cy="281856"/>
            </a:xfrm>
            <a:custGeom>
              <a:avLst/>
              <a:gdLst>
                <a:gd name="T0" fmla="*/ 66 w 154"/>
                <a:gd name="T1" fmla="*/ 10 h 104"/>
                <a:gd name="T2" fmla="*/ 1 w 154"/>
                <a:gd name="T3" fmla="*/ 69 h 104"/>
                <a:gd name="T4" fmla="*/ 0 w 154"/>
                <a:gd name="T5" fmla="*/ 72 h 104"/>
                <a:gd name="T6" fmla="*/ 88 w 154"/>
                <a:gd name="T7" fmla="*/ 93 h 104"/>
                <a:gd name="T8" fmla="*/ 154 w 154"/>
                <a:gd name="T9" fmla="*/ 31 h 104"/>
                <a:gd name="T10" fmla="*/ 152 w 154"/>
                <a:gd name="T11" fmla="*/ 30 h 104"/>
                <a:gd name="T12" fmla="*/ 66 w 154"/>
                <a:gd name="T13" fmla="*/ 10 h 104"/>
              </a:gdLst>
              <a:ahLst/>
              <a:cxnLst>
                <a:cxn ang="0">
                  <a:pos x="T0" y="T1"/>
                </a:cxn>
                <a:cxn ang="0">
                  <a:pos x="T2" y="T3"/>
                </a:cxn>
                <a:cxn ang="0">
                  <a:pos x="T4" y="T5"/>
                </a:cxn>
                <a:cxn ang="0">
                  <a:pos x="T6" y="T7"/>
                </a:cxn>
                <a:cxn ang="0">
                  <a:pos x="T8" y="T9"/>
                </a:cxn>
                <a:cxn ang="0">
                  <a:pos x="T10" y="T11"/>
                </a:cxn>
                <a:cxn ang="0">
                  <a:pos x="T12" y="T13"/>
                </a:cxn>
              </a:cxnLst>
              <a:rect l="0" t="0" r="r" b="b"/>
              <a:pathLst>
                <a:path w="154" h="104">
                  <a:moveTo>
                    <a:pt x="66" y="10"/>
                  </a:moveTo>
                  <a:cubicBezTo>
                    <a:pt x="29" y="20"/>
                    <a:pt x="7" y="59"/>
                    <a:pt x="1" y="69"/>
                  </a:cubicBezTo>
                  <a:cubicBezTo>
                    <a:pt x="0" y="71"/>
                    <a:pt x="0" y="72"/>
                    <a:pt x="0" y="72"/>
                  </a:cubicBezTo>
                  <a:cubicBezTo>
                    <a:pt x="0" y="72"/>
                    <a:pt x="45" y="104"/>
                    <a:pt x="88" y="93"/>
                  </a:cubicBezTo>
                  <a:cubicBezTo>
                    <a:pt x="130" y="81"/>
                    <a:pt x="154" y="31"/>
                    <a:pt x="154" y="31"/>
                  </a:cubicBezTo>
                  <a:cubicBezTo>
                    <a:pt x="154" y="31"/>
                    <a:pt x="153" y="30"/>
                    <a:pt x="152" y="30"/>
                  </a:cubicBezTo>
                  <a:cubicBezTo>
                    <a:pt x="145" y="25"/>
                    <a:pt x="104" y="0"/>
                    <a:pt x="66" y="1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4" name="Freeform 51">
              <a:extLst>
                <a:ext uri="{FF2B5EF4-FFF2-40B4-BE49-F238E27FC236}">
                  <a16:creationId xmlns:a16="http://schemas.microsoft.com/office/drawing/2014/main" id="{6FEEFB88-3D7A-4EB7-80FB-570494A898E3}"/>
                </a:ext>
              </a:extLst>
            </p:cNvPr>
            <p:cNvSpPr>
              <a:spLocks/>
            </p:cNvSpPr>
            <p:nvPr/>
          </p:nvSpPr>
          <p:spPr bwMode="auto">
            <a:xfrm>
              <a:off x="5936961" y="3720466"/>
              <a:ext cx="505965" cy="789196"/>
            </a:xfrm>
            <a:custGeom>
              <a:avLst/>
              <a:gdLst>
                <a:gd name="T0" fmla="*/ 171 w 187"/>
                <a:gd name="T1" fmla="*/ 110 h 292"/>
                <a:gd name="T2" fmla="*/ 27 w 187"/>
                <a:gd name="T3" fmla="*/ 0 h 292"/>
                <a:gd name="T4" fmla="*/ 2 w 187"/>
                <a:gd name="T5" fmla="*/ 119 h 292"/>
                <a:gd name="T6" fmla="*/ 4 w 187"/>
                <a:gd name="T7" fmla="*/ 142 h 292"/>
                <a:gd name="T8" fmla="*/ 16 w 187"/>
                <a:gd name="T9" fmla="*/ 181 h 292"/>
                <a:gd name="T10" fmla="*/ 160 w 187"/>
                <a:gd name="T11" fmla="*/ 292 h 292"/>
                <a:gd name="T12" fmla="*/ 185 w 187"/>
                <a:gd name="T13" fmla="*/ 173 h 292"/>
                <a:gd name="T14" fmla="*/ 182 w 187"/>
                <a:gd name="T15" fmla="*/ 144 h 292"/>
                <a:gd name="T16" fmla="*/ 171 w 187"/>
                <a:gd name="T17" fmla="*/ 110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7" h="292">
                  <a:moveTo>
                    <a:pt x="171" y="110"/>
                  </a:moveTo>
                  <a:cubicBezTo>
                    <a:pt x="135" y="30"/>
                    <a:pt x="27" y="0"/>
                    <a:pt x="27" y="0"/>
                  </a:cubicBezTo>
                  <a:cubicBezTo>
                    <a:pt x="27" y="0"/>
                    <a:pt x="0" y="56"/>
                    <a:pt x="2" y="119"/>
                  </a:cubicBezTo>
                  <a:cubicBezTo>
                    <a:pt x="2" y="127"/>
                    <a:pt x="3" y="135"/>
                    <a:pt x="4" y="142"/>
                  </a:cubicBezTo>
                  <a:cubicBezTo>
                    <a:pt x="6" y="156"/>
                    <a:pt x="10" y="169"/>
                    <a:pt x="16" y="181"/>
                  </a:cubicBezTo>
                  <a:cubicBezTo>
                    <a:pt x="52" y="262"/>
                    <a:pt x="160" y="292"/>
                    <a:pt x="160" y="292"/>
                  </a:cubicBezTo>
                  <a:cubicBezTo>
                    <a:pt x="160" y="292"/>
                    <a:pt x="187" y="235"/>
                    <a:pt x="185" y="173"/>
                  </a:cubicBezTo>
                  <a:cubicBezTo>
                    <a:pt x="185" y="163"/>
                    <a:pt x="183" y="153"/>
                    <a:pt x="182" y="144"/>
                  </a:cubicBezTo>
                  <a:cubicBezTo>
                    <a:pt x="179" y="132"/>
                    <a:pt x="176" y="121"/>
                    <a:pt x="171" y="110"/>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5" name="Freeform 52">
              <a:extLst>
                <a:ext uri="{FF2B5EF4-FFF2-40B4-BE49-F238E27FC236}">
                  <a16:creationId xmlns:a16="http://schemas.microsoft.com/office/drawing/2014/main" id="{0C31A9A3-383D-42DD-8EEE-348D181D5E42}"/>
                </a:ext>
              </a:extLst>
            </p:cNvPr>
            <p:cNvSpPr>
              <a:spLocks/>
            </p:cNvSpPr>
            <p:nvPr/>
          </p:nvSpPr>
          <p:spPr bwMode="auto">
            <a:xfrm>
              <a:off x="4864535" y="4742021"/>
              <a:ext cx="811194" cy="600834"/>
            </a:xfrm>
            <a:custGeom>
              <a:avLst/>
              <a:gdLst>
                <a:gd name="T0" fmla="*/ 180 w 300"/>
                <a:gd name="T1" fmla="*/ 30 h 222"/>
                <a:gd name="T2" fmla="*/ 0 w 300"/>
                <a:gd name="T3" fmla="*/ 54 h 222"/>
                <a:gd name="T4" fmla="*/ 0 w 300"/>
                <a:gd name="T5" fmla="*/ 54 h 222"/>
                <a:gd name="T6" fmla="*/ 120 w 300"/>
                <a:gd name="T7" fmla="*/ 191 h 222"/>
                <a:gd name="T8" fmla="*/ 300 w 300"/>
                <a:gd name="T9" fmla="*/ 167 h 222"/>
                <a:gd name="T10" fmla="*/ 299 w 300"/>
                <a:gd name="T11" fmla="*/ 165 h 222"/>
                <a:gd name="T12" fmla="*/ 180 w 300"/>
                <a:gd name="T13" fmla="*/ 30 h 222"/>
              </a:gdLst>
              <a:ahLst/>
              <a:cxnLst>
                <a:cxn ang="0">
                  <a:pos x="T0" y="T1"/>
                </a:cxn>
                <a:cxn ang="0">
                  <a:pos x="T2" y="T3"/>
                </a:cxn>
                <a:cxn ang="0">
                  <a:pos x="T4" y="T5"/>
                </a:cxn>
                <a:cxn ang="0">
                  <a:pos x="T6" y="T7"/>
                </a:cxn>
                <a:cxn ang="0">
                  <a:pos x="T8" y="T9"/>
                </a:cxn>
                <a:cxn ang="0">
                  <a:pos x="T10" y="T11"/>
                </a:cxn>
                <a:cxn ang="0">
                  <a:pos x="T12" y="T13"/>
                </a:cxn>
              </a:cxnLst>
              <a:rect l="0" t="0" r="r" b="b"/>
              <a:pathLst>
                <a:path w="300" h="222">
                  <a:moveTo>
                    <a:pt x="180" y="30"/>
                  </a:moveTo>
                  <a:cubicBezTo>
                    <a:pt x="99" y="0"/>
                    <a:pt x="5" y="51"/>
                    <a:pt x="0" y="54"/>
                  </a:cubicBezTo>
                  <a:cubicBezTo>
                    <a:pt x="0" y="54"/>
                    <a:pt x="0" y="54"/>
                    <a:pt x="0" y="54"/>
                  </a:cubicBezTo>
                  <a:cubicBezTo>
                    <a:pt x="0" y="54"/>
                    <a:pt x="37" y="160"/>
                    <a:pt x="120" y="191"/>
                  </a:cubicBezTo>
                  <a:cubicBezTo>
                    <a:pt x="203" y="222"/>
                    <a:pt x="300" y="167"/>
                    <a:pt x="300" y="167"/>
                  </a:cubicBezTo>
                  <a:cubicBezTo>
                    <a:pt x="300" y="167"/>
                    <a:pt x="299" y="166"/>
                    <a:pt x="299" y="165"/>
                  </a:cubicBezTo>
                  <a:cubicBezTo>
                    <a:pt x="294" y="153"/>
                    <a:pt x="257" y="59"/>
                    <a:pt x="180" y="30"/>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6" name="Freeform 53">
              <a:extLst>
                <a:ext uri="{FF2B5EF4-FFF2-40B4-BE49-F238E27FC236}">
                  <a16:creationId xmlns:a16="http://schemas.microsoft.com/office/drawing/2014/main" id="{C05E54D8-925F-49E1-AC08-FA346ED6B1B9}"/>
                </a:ext>
              </a:extLst>
            </p:cNvPr>
            <p:cNvSpPr>
              <a:spLocks/>
            </p:cNvSpPr>
            <p:nvPr/>
          </p:nvSpPr>
          <p:spPr bwMode="auto">
            <a:xfrm>
              <a:off x="4875534" y="6042681"/>
              <a:ext cx="789196" cy="615958"/>
            </a:xfrm>
            <a:custGeom>
              <a:avLst/>
              <a:gdLst>
                <a:gd name="T0" fmla="*/ 111 w 292"/>
                <a:gd name="T1" fmla="*/ 35 h 228"/>
                <a:gd name="T2" fmla="*/ 1 w 292"/>
                <a:gd name="T3" fmla="*/ 177 h 228"/>
                <a:gd name="T4" fmla="*/ 0 w 292"/>
                <a:gd name="T5" fmla="*/ 180 h 228"/>
                <a:gd name="T6" fmla="*/ 181 w 292"/>
                <a:gd name="T7" fmla="*/ 192 h 228"/>
                <a:gd name="T8" fmla="*/ 292 w 292"/>
                <a:gd name="T9" fmla="*/ 47 h 228"/>
                <a:gd name="T10" fmla="*/ 291 w 292"/>
                <a:gd name="T11" fmla="*/ 47 h 228"/>
                <a:gd name="T12" fmla="*/ 111 w 292"/>
                <a:gd name="T13" fmla="*/ 35 h 228"/>
              </a:gdLst>
              <a:ahLst/>
              <a:cxnLst>
                <a:cxn ang="0">
                  <a:pos x="T0" y="T1"/>
                </a:cxn>
                <a:cxn ang="0">
                  <a:pos x="T2" y="T3"/>
                </a:cxn>
                <a:cxn ang="0">
                  <a:pos x="T4" y="T5"/>
                </a:cxn>
                <a:cxn ang="0">
                  <a:pos x="T6" y="T7"/>
                </a:cxn>
                <a:cxn ang="0">
                  <a:pos x="T8" y="T9"/>
                </a:cxn>
                <a:cxn ang="0">
                  <a:pos x="T10" y="T11"/>
                </a:cxn>
                <a:cxn ang="0">
                  <a:pos x="T12" y="T13"/>
                </a:cxn>
              </a:cxnLst>
              <a:rect l="0" t="0" r="r" b="b"/>
              <a:pathLst>
                <a:path w="292" h="228">
                  <a:moveTo>
                    <a:pt x="111" y="35"/>
                  </a:moveTo>
                  <a:cubicBezTo>
                    <a:pt x="39" y="68"/>
                    <a:pt x="7" y="158"/>
                    <a:pt x="1" y="177"/>
                  </a:cubicBezTo>
                  <a:cubicBezTo>
                    <a:pt x="1" y="179"/>
                    <a:pt x="0" y="180"/>
                    <a:pt x="0" y="180"/>
                  </a:cubicBezTo>
                  <a:cubicBezTo>
                    <a:pt x="0" y="180"/>
                    <a:pt x="101" y="228"/>
                    <a:pt x="181" y="192"/>
                  </a:cubicBezTo>
                  <a:cubicBezTo>
                    <a:pt x="262" y="155"/>
                    <a:pt x="292" y="47"/>
                    <a:pt x="292" y="47"/>
                  </a:cubicBezTo>
                  <a:cubicBezTo>
                    <a:pt x="292" y="47"/>
                    <a:pt x="291" y="47"/>
                    <a:pt x="291" y="47"/>
                  </a:cubicBezTo>
                  <a:cubicBezTo>
                    <a:pt x="282" y="43"/>
                    <a:pt x="187" y="0"/>
                    <a:pt x="111" y="35"/>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7" name="Freeform 54">
              <a:extLst>
                <a:ext uri="{FF2B5EF4-FFF2-40B4-BE49-F238E27FC236}">
                  <a16:creationId xmlns:a16="http://schemas.microsoft.com/office/drawing/2014/main" id="{76F6AC17-B23F-4036-9376-EFC227C4B1D3}"/>
                </a:ext>
              </a:extLst>
            </p:cNvPr>
            <p:cNvSpPr>
              <a:spLocks/>
            </p:cNvSpPr>
            <p:nvPr/>
          </p:nvSpPr>
          <p:spPr bwMode="auto">
            <a:xfrm>
              <a:off x="5723851" y="4520661"/>
              <a:ext cx="838692" cy="908813"/>
            </a:xfrm>
            <a:custGeom>
              <a:avLst/>
              <a:gdLst>
                <a:gd name="T0" fmla="*/ 1 w 310"/>
                <a:gd name="T1" fmla="*/ 13 h 336"/>
                <a:gd name="T2" fmla="*/ 0 w 310"/>
                <a:gd name="T3" fmla="*/ 38 h 336"/>
                <a:gd name="T4" fmla="*/ 73 w 310"/>
                <a:gd name="T5" fmla="*/ 251 h 336"/>
                <a:gd name="T6" fmla="*/ 310 w 310"/>
                <a:gd name="T7" fmla="*/ 323 h 336"/>
                <a:gd name="T8" fmla="*/ 310 w 310"/>
                <a:gd name="T9" fmla="*/ 298 h 336"/>
                <a:gd name="T10" fmla="*/ 238 w 310"/>
                <a:gd name="T11" fmla="*/ 85 h 336"/>
                <a:gd name="T12" fmla="*/ 1 w 310"/>
                <a:gd name="T13" fmla="*/ 13 h 336"/>
              </a:gdLst>
              <a:ahLst/>
              <a:cxnLst>
                <a:cxn ang="0">
                  <a:pos x="T0" y="T1"/>
                </a:cxn>
                <a:cxn ang="0">
                  <a:pos x="T2" y="T3"/>
                </a:cxn>
                <a:cxn ang="0">
                  <a:pos x="T4" y="T5"/>
                </a:cxn>
                <a:cxn ang="0">
                  <a:pos x="T6" y="T7"/>
                </a:cxn>
                <a:cxn ang="0">
                  <a:pos x="T8" y="T9"/>
                </a:cxn>
                <a:cxn ang="0">
                  <a:pos x="T10" y="T11"/>
                </a:cxn>
                <a:cxn ang="0">
                  <a:pos x="T12" y="T13"/>
                </a:cxn>
              </a:cxnLst>
              <a:rect l="0" t="0" r="r" b="b"/>
              <a:pathLst>
                <a:path w="310" h="336">
                  <a:moveTo>
                    <a:pt x="1" y="13"/>
                  </a:moveTo>
                  <a:cubicBezTo>
                    <a:pt x="1" y="13"/>
                    <a:pt x="0" y="22"/>
                    <a:pt x="0" y="38"/>
                  </a:cubicBezTo>
                  <a:cubicBezTo>
                    <a:pt x="1" y="84"/>
                    <a:pt x="9" y="186"/>
                    <a:pt x="73" y="251"/>
                  </a:cubicBezTo>
                  <a:cubicBezTo>
                    <a:pt x="158" y="336"/>
                    <a:pt x="310" y="323"/>
                    <a:pt x="310" y="323"/>
                  </a:cubicBezTo>
                  <a:cubicBezTo>
                    <a:pt x="310" y="323"/>
                    <a:pt x="310" y="313"/>
                    <a:pt x="310" y="298"/>
                  </a:cubicBezTo>
                  <a:cubicBezTo>
                    <a:pt x="310" y="251"/>
                    <a:pt x="301" y="149"/>
                    <a:pt x="238" y="85"/>
                  </a:cubicBezTo>
                  <a:cubicBezTo>
                    <a:pt x="153" y="0"/>
                    <a:pt x="1" y="13"/>
                    <a:pt x="1" y="13"/>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8" name="Freeform 55">
              <a:extLst>
                <a:ext uri="{FF2B5EF4-FFF2-40B4-BE49-F238E27FC236}">
                  <a16:creationId xmlns:a16="http://schemas.microsoft.com/office/drawing/2014/main" id="{4DA91ED1-8902-4E32-90C1-81C462A7A038}"/>
                </a:ext>
              </a:extLst>
            </p:cNvPr>
            <p:cNvSpPr>
              <a:spLocks/>
            </p:cNvSpPr>
            <p:nvPr/>
          </p:nvSpPr>
          <p:spPr bwMode="auto">
            <a:xfrm>
              <a:off x="5259133" y="5353853"/>
              <a:ext cx="1178294" cy="632456"/>
            </a:xfrm>
            <a:custGeom>
              <a:avLst/>
              <a:gdLst>
                <a:gd name="T0" fmla="*/ 218 w 436"/>
                <a:gd name="T1" fmla="*/ 0 h 234"/>
                <a:gd name="T2" fmla="*/ 1 w 436"/>
                <a:gd name="T3" fmla="*/ 116 h 234"/>
                <a:gd name="T4" fmla="*/ 0 w 436"/>
                <a:gd name="T5" fmla="*/ 117 h 234"/>
                <a:gd name="T6" fmla="*/ 218 w 436"/>
                <a:gd name="T7" fmla="*/ 234 h 234"/>
                <a:gd name="T8" fmla="*/ 436 w 436"/>
                <a:gd name="T9" fmla="*/ 117 h 234"/>
                <a:gd name="T10" fmla="*/ 434 w 436"/>
                <a:gd name="T11" fmla="*/ 116 h 234"/>
                <a:gd name="T12" fmla="*/ 218 w 436"/>
                <a:gd name="T13" fmla="*/ 0 h 234"/>
              </a:gdLst>
              <a:ahLst/>
              <a:cxnLst>
                <a:cxn ang="0">
                  <a:pos x="T0" y="T1"/>
                </a:cxn>
                <a:cxn ang="0">
                  <a:pos x="T2" y="T3"/>
                </a:cxn>
                <a:cxn ang="0">
                  <a:pos x="T4" y="T5"/>
                </a:cxn>
                <a:cxn ang="0">
                  <a:pos x="T6" y="T7"/>
                </a:cxn>
                <a:cxn ang="0">
                  <a:pos x="T8" y="T9"/>
                </a:cxn>
                <a:cxn ang="0">
                  <a:pos x="T10" y="T11"/>
                </a:cxn>
                <a:cxn ang="0">
                  <a:pos x="T12" y="T13"/>
                </a:cxn>
              </a:cxnLst>
              <a:rect l="0" t="0" r="r" b="b"/>
              <a:pathLst>
                <a:path w="436" h="234">
                  <a:moveTo>
                    <a:pt x="218" y="0"/>
                  </a:moveTo>
                  <a:cubicBezTo>
                    <a:pt x="104" y="0"/>
                    <a:pt x="12" y="103"/>
                    <a:pt x="1" y="116"/>
                  </a:cubicBezTo>
                  <a:cubicBezTo>
                    <a:pt x="0" y="116"/>
                    <a:pt x="0" y="117"/>
                    <a:pt x="0" y="117"/>
                  </a:cubicBezTo>
                  <a:cubicBezTo>
                    <a:pt x="0" y="117"/>
                    <a:pt x="97" y="234"/>
                    <a:pt x="218" y="234"/>
                  </a:cubicBezTo>
                  <a:cubicBezTo>
                    <a:pt x="338" y="234"/>
                    <a:pt x="436" y="117"/>
                    <a:pt x="436" y="117"/>
                  </a:cubicBezTo>
                  <a:cubicBezTo>
                    <a:pt x="436" y="117"/>
                    <a:pt x="435" y="116"/>
                    <a:pt x="434" y="116"/>
                  </a:cubicBezTo>
                  <a:cubicBezTo>
                    <a:pt x="424" y="103"/>
                    <a:pt x="331" y="0"/>
                    <a:pt x="218" y="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9" name="Freeform 56">
              <a:extLst>
                <a:ext uri="{FF2B5EF4-FFF2-40B4-BE49-F238E27FC236}">
                  <a16:creationId xmlns:a16="http://schemas.microsoft.com/office/drawing/2014/main" id="{C0A1C5F3-C748-4753-9711-58B6D88041FF}"/>
                </a:ext>
              </a:extLst>
            </p:cNvPr>
            <p:cNvSpPr>
              <a:spLocks/>
            </p:cNvSpPr>
            <p:nvPr/>
          </p:nvSpPr>
          <p:spPr bwMode="auto">
            <a:xfrm>
              <a:off x="5707352" y="5916190"/>
              <a:ext cx="838692" cy="910187"/>
            </a:xfrm>
            <a:custGeom>
              <a:avLst/>
              <a:gdLst>
                <a:gd name="T0" fmla="*/ 310 w 310"/>
                <a:gd name="T1" fmla="*/ 36 h 337"/>
                <a:gd name="T2" fmla="*/ 309 w 310"/>
                <a:gd name="T3" fmla="*/ 14 h 337"/>
                <a:gd name="T4" fmla="*/ 72 w 310"/>
                <a:gd name="T5" fmla="*/ 86 h 337"/>
                <a:gd name="T6" fmla="*/ 0 w 310"/>
                <a:gd name="T7" fmla="*/ 298 h 337"/>
                <a:gd name="T8" fmla="*/ 1 w 310"/>
                <a:gd name="T9" fmla="*/ 323 h 337"/>
                <a:gd name="T10" fmla="*/ 237 w 310"/>
                <a:gd name="T11" fmla="*/ 251 h 337"/>
                <a:gd name="T12" fmla="*/ 274 w 310"/>
                <a:gd name="T13" fmla="*/ 201 h 337"/>
                <a:gd name="T14" fmla="*/ 288 w 310"/>
                <a:gd name="T15" fmla="*/ 168 h 337"/>
                <a:gd name="T16" fmla="*/ 310 w 310"/>
                <a:gd name="T17" fmla="*/ 36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0" h="337">
                  <a:moveTo>
                    <a:pt x="310" y="36"/>
                  </a:moveTo>
                  <a:cubicBezTo>
                    <a:pt x="310" y="22"/>
                    <a:pt x="309" y="14"/>
                    <a:pt x="309" y="14"/>
                  </a:cubicBezTo>
                  <a:cubicBezTo>
                    <a:pt x="309" y="14"/>
                    <a:pt x="158" y="0"/>
                    <a:pt x="72" y="86"/>
                  </a:cubicBezTo>
                  <a:cubicBezTo>
                    <a:pt x="9" y="150"/>
                    <a:pt x="0" y="251"/>
                    <a:pt x="0" y="298"/>
                  </a:cubicBezTo>
                  <a:cubicBezTo>
                    <a:pt x="0" y="313"/>
                    <a:pt x="1" y="323"/>
                    <a:pt x="1" y="323"/>
                  </a:cubicBezTo>
                  <a:cubicBezTo>
                    <a:pt x="1" y="323"/>
                    <a:pt x="152" y="337"/>
                    <a:pt x="237" y="251"/>
                  </a:cubicBezTo>
                  <a:cubicBezTo>
                    <a:pt x="252" y="236"/>
                    <a:pt x="264" y="219"/>
                    <a:pt x="274" y="201"/>
                  </a:cubicBezTo>
                  <a:cubicBezTo>
                    <a:pt x="279" y="190"/>
                    <a:pt x="284" y="179"/>
                    <a:pt x="288" y="168"/>
                  </a:cubicBezTo>
                  <a:cubicBezTo>
                    <a:pt x="307" y="117"/>
                    <a:pt x="310" y="65"/>
                    <a:pt x="310" y="36"/>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0" name="Freeform 58">
              <a:extLst>
                <a:ext uri="{FF2B5EF4-FFF2-40B4-BE49-F238E27FC236}">
                  <a16:creationId xmlns:a16="http://schemas.microsoft.com/office/drawing/2014/main" id="{9775C215-7C8E-4AA5-A1DD-37F0666596D1}"/>
                </a:ext>
              </a:extLst>
            </p:cNvPr>
            <p:cNvSpPr>
              <a:spLocks/>
            </p:cNvSpPr>
            <p:nvPr/>
          </p:nvSpPr>
          <p:spPr bwMode="auto">
            <a:xfrm>
              <a:off x="5088645" y="3907453"/>
              <a:ext cx="562337" cy="615958"/>
            </a:xfrm>
            <a:custGeom>
              <a:avLst/>
              <a:gdLst>
                <a:gd name="T0" fmla="*/ 31 w 208"/>
                <a:gd name="T1" fmla="*/ 188 h 228"/>
                <a:gd name="T2" fmla="*/ 177 w 208"/>
                <a:gd name="T3" fmla="*/ 188 h 228"/>
                <a:gd name="T4" fmla="*/ 208 w 208"/>
                <a:gd name="T5" fmla="*/ 114 h 228"/>
                <a:gd name="T6" fmla="*/ 199 w 208"/>
                <a:gd name="T7" fmla="*/ 73 h 228"/>
                <a:gd name="T8" fmla="*/ 177 w 208"/>
                <a:gd name="T9" fmla="*/ 40 h 228"/>
                <a:gd name="T10" fmla="*/ 31 w 208"/>
                <a:gd name="T11" fmla="*/ 40 h 228"/>
                <a:gd name="T12" fmla="*/ 9 w 208"/>
                <a:gd name="T13" fmla="*/ 73 h 228"/>
                <a:gd name="T14" fmla="*/ 0 w 208"/>
                <a:gd name="T15" fmla="*/ 114 h 228"/>
                <a:gd name="T16" fmla="*/ 31 w 208"/>
                <a:gd name="T17" fmla="*/ 188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8" h="228">
                  <a:moveTo>
                    <a:pt x="31" y="188"/>
                  </a:moveTo>
                  <a:cubicBezTo>
                    <a:pt x="71" y="228"/>
                    <a:pt x="137" y="228"/>
                    <a:pt x="177" y="188"/>
                  </a:cubicBezTo>
                  <a:cubicBezTo>
                    <a:pt x="197" y="167"/>
                    <a:pt x="208" y="141"/>
                    <a:pt x="208" y="114"/>
                  </a:cubicBezTo>
                  <a:cubicBezTo>
                    <a:pt x="208" y="100"/>
                    <a:pt x="205" y="86"/>
                    <a:pt x="199" y="73"/>
                  </a:cubicBezTo>
                  <a:cubicBezTo>
                    <a:pt x="194" y="61"/>
                    <a:pt x="187" y="50"/>
                    <a:pt x="177" y="40"/>
                  </a:cubicBezTo>
                  <a:cubicBezTo>
                    <a:pt x="137" y="0"/>
                    <a:pt x="71" y="0"/>
                    <a:pt x="31" y="40"/>
                  </a:cubicBezTo>
                  <a:cubicBezTo>
                    <a:pt x="21" y="50"/>
                    <a:pt x="14" y="61"/>
                    <a:pt x="9" y="73"/>
                  </a:cubicBezTo>
                  <a:cubicBezTo>
                    <a:pt x="3" y="86"/>
                    <a:pt x="0" y="100"/>
                    <a:pt x="0" y="114"/>
                  </a:cubicBezTo>
                  <a:cubicBezTo>
                    <a:pt x="0" y="141"/>
                    <a:pt x="11" y="167"/>
                    <a:pt x="31" y="188"/>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1" name="Freeform 59">
              <a:extLst>
                <a:ext uri="{FF2B5EF4-FFF2-40B4-BE49-F238E27FC236}">
                  <a16:creationId xmlns:a16="http://schemas.microsoft.com/office/drawing/2014/main" id="{7C52F807-D965-410D-8CD1-5121462A5068}"/>
                </a:ext>
              </a:extLst>
            </p:cNvPr>
            <p:cNvSpPr>
              <a:spLocks/>
            </p:cNvSpPr>
            <p:nvPr/>
          </p:nvSpPr>
          <p:spPr bwMode="auto">
            <a:xfrm>
              <a:off x="4480936" y="5412975"/>
              <a:ext cx="559587" cy="562337"/>
            </a:xfrm>
            <a:custGeom>
              <a:avLst/>
              <a:gdLst>
                <a:gd name="T0" fmla="*/ 103 w 207"/>
                <a:gd name="T1" fmla="*/ 0 h 208"/>
                <a:gd name="T2" fmla="*/ 0 w 207"/>
                <a:gd name="T3" fmla="*/ 103 h 208"/>
                <a:gd name="T4" fmla="*/ 0 w 207"/>
                <a:gd name="T5" fmla="*/ 104 h 208"/>
                <a:gd name="T6" fmla="*/ 103 w 207"/>
                <a:gd name="T7" fmla="*/ 208 h 208"/>
                <a:gd name="T8" fmla="*/ 207 w 207"/>
                <a:gd name="T9" fmla="*/ 104 h 208"/>
                <a:gd name="T10" fmla="*/ 207 w 207"/>
                <a:gd name="T11" fmla="*/ 103 h 208"/>
                <a:gd name="T12" fmla="*/ 103 w 207"/>
                <a:gd name="T13" fmla="*/ 0 h 208"/>
              </a:gdLst>
              <a:ahLst/>
              <a:cxnLst>
                <a:cxn ang="0">
                  <a:pos x="T0" y="T1"/>
                </a:cxn>
                <a:cxn ang="0">
                  <a:pos x="T2" y="T3"/>
                </a:cxn>
                <a:cxn ang="0">
                  <a:pos x="T4" y="T5"/>
                </a:cxn>
                <a:cxn ang="0">
                  <a:pos x="T6" y="T7"/>
                </a:cxn>
                <a:cxn ang="0">
                  <a:pos x="T8" y="T9"/>
                </a:cxn>
                <a:cxn ang="0">
                  <a:pos x="T10" y="T11"/>
                </a:cxn>
                <a:cxn ang="0">
                  <a:pos x="T12" y="T13"/>
                </a:cxn>
              </a:cxnLst>
              <a:rect l="0" t="0" r="r" b="b"/>
              <a:pathLst>
                <a:path w="207" h="208">
                  <a:moveTo>
                    <a:pt x="103" y="0"/>
                  </a:moveTo>
                  <a:cubicBezTo>
                    <a:pt x="47" y="0"/>
                    <a:pt x="1" y="46"/>
                    <a:pt x="0" y="103"/>
                  </a:cubicBezTo>
                  <a:cubicBezTo>
                    <a:pt x="0" y="103"/>
                    <a:pt x="0" y="104"/>
                    <a:pt x="0" y="104"/>
                  </a:cubicBezTo>
                  <a:cubicBezTo>
                    <a:pt x="0" y="162"/>
                    <a:pt x="46" y="208"/>
                    <a:pt x="103" y="208"/>
                  </a:cubicBezTo>
                  <a:cubicBezTo>
                    <a:pt x="161" y="208"/>
                    <a:pt x="207" y="162"/>
                    <a:pt x="207" y="104"/>
                  </a:cubicBezTo>
                  <a:cubicBezTo>
                    <a:pt x="207" y="104"/>
                    <a:pt x="207" y="103"/>
                    <a:pt x="207" y="103"/>
                  </a:cubicBezTo>
                  <a:cubicBezTo>
                    <a:pt x="206" y="46"/>
                    <a:pt x="160" y="0"/>
                    <a:pt x="103" y="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nvGrpSpPr>
            <p:cNvPr id="32" name="Group 32">
              <a:extLst>
                <a:ext uri="{FF2B5EF4-FFF2-40B4-BE49-F238E27FC236}">
                  <a16:creationId xmlns:a16="http://schemas.microsoft.com/office/drawing/2014/main" id="{298575D9-2B5F-47A0-8338-EF703BC77F42}"/>
                </a:ext>
              </a:extLst>
            </p:cNvPr>
            <p:cNvGrpSpPr/>
            <p:nvPr/>
          </p:nvGrpSpPr>
          <p:grpSpPr>
            <a:xfrm>
              <a:off x="5003129" y="7807441"/>
              <a:ext cx="4155505" cy="2376657"/>
              <a:chOff x="3975767" y="251613"/>
              <a:chExt cx="4798049" cy="2744148"/>
            </a:xfrm>
            <a:solidFill>
              <a:schemeClr val="tx1">
                <a:lumMod val="75000"/>
                <a:lumOff val="25000"/>
              </a:schemeClr>
            </a:solidFill>
          </p:grpSpPr>
          <p:sp>
            <p:nvSpPr>
              <p:cNvPr id="34" name="Freeform 62">
                <a:extLst>
                  <a:ext uri="{FF2B5EF4-FFF2-40B4-BE49-F238E27FC236}">
                    <a16:creationId xmlns:a16="http://schemas.microsoft.com/office/drawing/2014/main" id="{DF12F77C-76DF-49EE-97E4-71190FCBD5DA}"/>
                  </a:ext>
                </a:extLst>
              </p:cNvPr>
              <p:cNvSpPr/>
              <p:nvPr/>
            </p:nvSpPr>
            <p:spPr>
              <a:xfrm>
                <a:off x="5897644" y="266700"/>
                <a:ext cx="489509" cy="196436"/>
              </a:xfrm>
              <a:custGeom>
                <a:avLst/>
                <a:gdLst>
                  <a:gd name="connsiteX0" fmla="*/ 30591 w 489509"/>
                  <a:gd name="connsiteY0" fmla="*/ 0 h 196436"/>
                  <a:gd name="connsiteX1" fmla="*/ 433072 w 489509"/>
                  <a:gd name="connsiteY1" fmla="*/ 0 h 196436"/>
                  <a:gd name="connsiteX2" fmla="*/ 434880 w 489509"/>
                  <a:gd name="connsiteY2" fmla="*/ 11152 h 196436"/>
                  <a:gd name="connsiteX3" fmla="*/ 489509 w 489509"/>
                  <a:gd name="connsiteY3" fmla="*/ 196436 h 196436"/>
                  <a:gd name="connsiteX4" fmla="*/ 0 w 489509"/>
                  <a:gd name="connsiteY4" fmla="*/ 183954 h 196436"/>
                  <a:gd name="connsiteX5" fmla="*/ 28950 w 489509"/>
                  <a:gd name="connsiteY5" fmla="*/ 14613 h 196436"/>
                  <a:gd name="connsiteX6" fmla="*/ 30591 w 489509"/>
                  <a:gd name="connsiteY6" fmla="*/ 0 h 1964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89509" h="196436">
                    <a:moveTo>
                      <a:pt x="30591" y="0"/>
                    </a:moveTo>
                    <a:lnTo>
                      <a:pt x="433072" y="0"/>
                    </a:lnTo>
                    <a:lnTo>
                      <a:pt x="434880" y="11152"/>
                    </a:lnTo>
                    <a:cubicBezTo>
                      <a:pt x="450377" y="95801"/>
                      <a:pt x="468463" y="161916"/>
                      <a:pt x="489509" y="196436"/>
                    </a:cubicBezTo>
                    <a:cubicBezTo>
                      <a:pt x="302436" y="102822"/>
                      <a:pt x="0" y="183954"/>
                      <a:pt x="0" y="183954"/>
                    </a:cubicBezTo>
                    <a:cubicBezTo>
                      <a:pt x="10913" y="133637"/>
                      <a:pt x="20510" y="76347"/>
                      <a:pt x="28950" y="14613"/>
                    </a:cubicBezTo>
                    <a:lnTo>
                      <a:pt x="30591"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FFFFFF"/>
                  </a:solidFill>
                  <a:effectLst/>
                  <a:uLnTx/>
                  <a:uFillTx/>
                  <a:latin typeface="等线" panose="020F0502020204030204"/>
                  <a:ea typeface="+mn-ea"/>
                  <a:cs typeface="+mn-cs"/>
                </a:endParaRPr>
              </a:p>
            </p:txBody>
          </p:sp>
          <p:sp>
            <p:nvSpPr>
              <p:cNvPr id="35" name="Freeform 15">
                <a:extLst>
                  <a:ext uri="{FF2B5EF4-FFF2-40B4-BE49-F238E27FC236}">
                    <a16:creationId xmlns:a16="http://schemas.microsoft.com/office/drawing/2014/main" id="{E16F3342-46BB-4A2D-B526-E2147EE4933C}"/>
                  </a:ext>
                </a:extLst>
              </p:cNvPr>
              <p:cNvSpPr>
                <a:spLocks/>
              </p:cNvSpPr>
              <p:nvPr/>
            </p:nvSpPr>
            <p:spPr bwMode="auto">
              <a:xfrm>
                <a:off x="6051314" y="286085"/>
                <a:ext cx="226073" cy="1404542"/>
              </a:xfrm>
              <a:custGeom>
                <a:avLst/>
                <a:gdLst>
                  <a:gd name="T0" fmla="*/ 84 w 119"/>
                  <a:gd name="T1" fmla="*/ 18 h 740"/>
                  <a:gd name="T2" fmla="*/ 82 w 119"/>
                  <a:gd name="T3" fmla="*/ 24 h 740"/>
                  <a:gd name="T4" fmla="*/ 81 w 119"/>
                  <a:gd name="T5" fmla="*/ 28 h 740"/>
                  <a:gd name="T6" fmla="*/ 79 w 119"/>
                  <a:gd name="T7" fmla="*/ 38 h 740"/>
                  <a:gd name="T8" fmla="*/ 76 w 119"/>
                  <a:gd name="T9" fmla="*/ 61 h 740"/>
                  <a:gd name="T10" fmla="*/ 73 w 119"/>
                  <a:gd name="T11" fmla="*/ 85 h 740"/>
                  <a:gd name="T12" fmla="*/ 71 w 119"/>
                  <a:gd name="T13" fmla="*/ 108 h 740"/>
                  <a:gd name="T14" fmla="*/ 70 w 119"/>
                  <a:gd name="T15" fmla="*/ 157 h 740"/>
                  <a:gd name="T16" fmla="*/ 71 w 119"/>
                  <a:gd name="T17" fmla="*/ 181 h 740"/>
                  <a:gd name="T18" fmla="*/ 72 w 119"/>
                  <a:gd name="T19" fmla="*/ 205 h 740"/>
                  <a:gd name="T20" fmla="*/ 73 w 119"/>
                  <a:gd name="T21" fmla="*/ 230 h 740"/>
                  <a:gd name="T22" fmla="*/ 75 w 119"/>
                  <a:gd name="T23" fmla="*/ 254 h 740"/>
                  <a:gd name="T24" fmla="*/ 79 w 119"/>
                  <a:gd name="T25" fmla="*/ 304 h 740"/>
                  <a:gd name="T26" fmla="*/ 83 w 119"/>
                  <a:gd name="T27" fmla="*/ 328 h 740"/>
                  <a:gd name="T28" fmla="*/ 87 w 119"/>
                  <a:gd name="T29" fmla="*/ 353 h 740"/>
                  <a:gd name="T30" fmla="*/ 94 w 119"/>
                  <a:gd name="T31" fmla="*/ 402 h 740"/>
                  <a:gd name="T32" fmla="*/ 93 w 119"/>
                  <a:gd name="T33" fmla="*/ 400 h 740"/>
                  <a:gd name="T34" fmla="*/ 99 w 119"/>
                  <a:gd name="T35" fmla="*/ 421 h 740"/>
                  <a:gd name="T36" fmla="*/ 103 w 119"/>
                  <a:gd name="T37" fmla="*/ 443 h 740"/>
                  <a:gd name="T38" fmla="*/ 107 w 119"/>
                  <a:gd name="T39" fmla="*/ 464 h 740"/>
                  <a:gd name="T40" fmla="*/ 110 w 119"/>
                  <a:gd name="T41" fmla="*/ 485 h 740"/>
                  <a:gd name="T42" fmla="*/ 112 w 119"/>
                  <a:gd name="T43" fmla="*/ 506 h 740"/>
                  <a:gd name="T44" fmla="*/ 114 w 119"/>
                  <a:gd name="T45" fmla="*/ 528 h 740"/>
                  <a:gd name="T46" fmla="*/ 116 w 119"/>
                  <a:gd name="T47" fmla="*/ 549 h 740"/>
                  <a:gd name="T48" fmla="*/ 117 w 119"/>
                  <a:gd name="T49" fmla="*/ 570 h 740"/>
                  <a:gd name="T50" fmla="*/ 118 w 119"/>
                  <a:gd name="T51" fmla="*/ 592 h 740"/>
                  <a:gd name="T52" fmla="*/ 119 w 119"/>
                  <a:gd name="T53" fmla="*/ 613 h 740"/>
                  <a:gd name="T54" fmla="*/ 118 w 119"/>
                  <a:gd name="T55" fmla="*/ 655 h 740"/>
                  <a:gd name="T56" fmla="*/ 117 w 119"/>
                  <a:gd name="T57" fmla="*/ 677 h 740"/>
                  <a:gd name="T58" fmla="*/ 115 w 119"/>
                  <a:gd name="T59" fmla="*/ 698 h 740"/>
                  <a:gd name="T60" fmla="*/ 112 w 119"/>
                  <a:gd name="T61" fmla="*/ 740 h 740"/>
                  <a:gd name="T62" fmla="*/ 111 w 119"/>
                  <a:gd name="T63" fmla="*/ 698 h 740"/>
                  <a:gd name="T64" fmla="*/ 110 w 119"/>
                  <a:gd name="T65" fmla="*/ 677 h 740"/>
                  <a:gd name="T66" fmla="*/ 109 w 119"/>
                  <a:gd name="T67" fmla="*/ 656 h 740"/>
                  <a:gd name="T68" fmla="*/ 105 w 119"/>
                  <a:gd name="T69" fmla="*/ 614 h 740"/>
                  <a:gd name="T70" fmla="*/ 102 w 119"/>
                  <a:gd name="T71" fmla="*/ 593 h 740"/>
                  <a:gd name="T72" fmla="*/ 99 w 119"/>
                  <a:gd name="T73" fmla="*/ 572 h 740"/>
                  <a:gd name="T74" fmla="*/ 96 w 119"/>
                  <a:gd name="T75" fmla="*/ 552 h 740"/>
                  <a:gd name="T76" fmla="*/ 92 w 119"/>
                  <a:gd name="T77" fmla="*/ 531 h 740"/>
                  <a:gd name="T78" fmla="*/ 87 w 119"/>
                  <a:gd name="T79" fmla="*/ 511 h 740"/>
                  <a:gd name="T80" fmla="*/ 83 w 119"/>
                  <a:gd name="T81" fmla="*/ 490 h 740"/>
                  <a:gd name="T82" fmla="*/ 77 w 119"/>
                  <a:gd name="T83" fmla="*/ 470 h 740"/>
                  <a:gd name="T84" fmla="*/ 72 w 119"/>
                  <a:gd name="T85" fmla="*/ 450 h 740"/>
                  <a:gd name="T86" fmla="*/ 65 w 119"/>
                  <a:gd name="T87" fmla="*/ 431 h 740"/>
                  <a:gd name="T88" fmla="*/ 59 w 119"/>
                  <a:gd name="T89" fmla="*/ 412 h 740"/>
                  <a:gd name="T90" fmla="*/ 58 w 119"/>
                  <a:gd name="T91" fmla="*/ 412 h 740"/>
                  <a:gd name="T92" fmla="*/ 58 w 119"/>
                  <a:gd name="T93" fmla="*/ 410 h 740"/>
                  <a:gd name="T94" fmla="*/ 45 w 119"/>
                  <a:gd name="T95" fmla="*/ 361 h 740"/>
                  <a:gd name="T96" fmla="*/ 39 w 119"/>
                  <a:gd name="T97" fmla="*/ 336 h 740"/>
                  <a:gd name="T98" fmla="*/ 32 w 119"/>
                  <a:gd name="T99" fmla="*/ 312 h 740"/>
                  <a:gd name="T100" fmla="*/ 22 w 119"/>
                  <a:gd name="T101" fmla="*/ 262 h 740"/>
                  <a:gd name="T102" fmla="*/ 17 w 119"/>
                  <a:gd name="T103" fmla="*/ 237 h 740"/>
                  <a:gd name="T104" fmla="*/ 13 w 119"/>
                  <a:gd name="T105" fmla="*/ 211 h 740"/>
                  <a:gd name="T106" fmla="*/ 9 w 119"/>
                  <a:gd name="T107" fmla="*/ 186 h 740"/>
                  <a:gd name="T108" fmla="*/ 6 w 119"/>
                  <a:gd name="T109" fmla="*/ 160 h 740"/>
                  <a:gd name="T110" fmla="*/ 1 w 119"/>
                  <a:gd name="T111" fmla="*/ 108 h 740"/>
                  <a:gd name="T112" fmla="*/ 1 w 119"/>
                  <a:gd name="T113" fmla="*/ 82 h 740"/>
                  <a:gd name="T114" fmla="*/ 1 w 119"/>
                  <a:gd name="T115" fmla="*/ 56 h 740"/>
                  <a:gd name="T116" fmla="*/ 2 w 119"/>
                  <a:gd name="T117" fmla="*/ 29 h 740"/>
                  <a:gd name="T118" fmla="*/ 3 w 119"/>
                  <a:gd name="T119" fmla="*/ 14 h 740"/>
                  <a:gd name="T120" fmla="*/ 4 w 119"/>
                  <a:gd name="T121" fmla="*/ 6 h 740"/>
                  <a:gd name="T122" fmla="*/ 5 w 119"/>
                  <a:gd name="T123" fmla="*/ 0 h 740"/>
                  <a:gd name="T124" fmla="*/ 84 w 119"/>
                  <a:gd name="T125" fmla="*/ 18 h 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19" h="740">
                    <a:moveTo>
                      <a:pt x="84" y="18"/>
                    </a:moveTo>
                    <a:cubicBezTo>
                      <a:pt x="82" y="24"/>
                      <a:pt x="82" y="24"/>
                      <a:pt x="82" y="24"/>
                    </a:cubicBezTo>
                    <a:cubicBezTo>
                      <a:pt x="81" y="28"/>
                      <a:pt x="81" y="28"/>
                      <a:pt x="81" y="28"/>
                    </a:cubicBezTo>
                    <a:cubicBezTo>
                      <a:pt x="79" y="38"/>
                      <a:pt x="79" y="38"/>
                      <a:pt x="79" y="38"/>
                    </a:cubicBezTo>
                    <a:cubicBezTo>
                      <a:pt x="76" y="61"/>
                      <a:pt x="76" y="61"/>
                      <a:pt x="76" y="61"/>
                    </a:cubicBezTo>
                    <a:cubicBezTo>
                      <a:pt x="74" y="69"/>
                      <a:pt x="74" y="77"/>
                      <a:pt x="73" y="85"/>
                    </a:cubicBezTo>
                    <a:cubicBezTo>
                      <a:pt x="73" y="93"/>
                      <a:pt x="72" y="100"/>
                      <a:pt x="71" y="108"/>
                    </a:cubicBezTo>
                    <a:cubicBezTo>
                      <a:pt x="70" y="157"/>
                      <a:pt x="70" y="157"/>
                      <a:pt x="70" y="157"/>
                    </a:cubicBezTo>
                    <a:cubicBezTo>
                      <a:pt x="70" y="165"/>
                      <a:pt x="70" y="173"/>
                      <a:pt x="71" y="181"/>
                    </a:cubicBezTo>
                    <a:cubicBezTo>
                      <a:pt x="72" y="205"/>
                      <a:pt x="72" y="205"/>
                      <a:pt x="72" y="205"/>
                    </a:cubicBezTo>
                    <a:cubicBezTo>
                      <a:pt x="72" y="214"/>
                      <a:pt x="72" y="222"/>
                      <a:pt x="73" y="230"/>
                    </a:cubicBezTo>
                    <a:cubicBezTo>
                      <a:pt x="75" y="254"/>
                      <a:pt x="75" y="254"/>
                      <a:pt x="75" y="254"/>
                    </a:cubicBezTo>
                    <a:cubicBezTo>
                      <a:pt x="79" y="304"/>
                      <a:pt x="79" y="304"/>
                      <a:pt x="79" y="304"/>
                    </a:cubicBezTo>
                    <a:cubicBezTo>
                      <a:pt x="80" y="312"/>
                      <a:pt x="82" y="320"/>
                      <a:pt x="83" y="328"/>
                    </a:cubicBezTo>
                    <a:cubicBezTo>
                      <a:pt x="87" y="353"/>
                      <a:pt x="87" y="353"/>
                      <a:pt x="87" y="353"/>
                    </a:cubicBezTo>
                    <a:cubicBezTo>
                      <a:pt x="94" y="402"/>
                      <a:pt x="94" y="402"/>
                      <a:pt x="94" y="402"/>
                    </a:cubicBezTo>
                    <a:cubicBezTo>
                      <a:pt x="93" y="400"/>
                      <a:pt x="93" y="400"/>
                      <a:pt x="93" y="400"/>
                    </a:cubicBezTo>
                    <a:cubicBezTo>
                      <a:pt x="96" y="407"/>
                      <a:pt x="97" y="414"/>
                      <a:pt x="99" y="421"/>
                    </a:cubicBezTo>
                    <a:cubicBezTo>
                      <a:pt x="100" y="429"/>
                      <a:pt x="101" y="436"/>
                      <a:pt x="103" y="443"/>
                    </a:cubicBezTo>
                    <a:cubicBezTo>
                      <a:pt x="104" y="450"/>
                      <a:pt x="106" y="457"/>
                      <a:pt x="107" y="464"/>
                    </a:cubicBezTo>
                    <a:cubicBezTo>
                      <a:pt x="110" y="485"/>
                      <a:pt x="110" y="485"/>
                      <a:pt x="110" y="485"/>
                    </a:cubicBezTo>
                    <a:cubicBezTo>
                      <a:pt x="111" y="492"/>
                      <a:pt x="112" y="499"/>
                      <a:pt x="112" y="506"/>
                    </a:cubicBezTo>
                    <a:cubicBezTo>
                      <a:pt x="114" y="528"/>
                      <a:pt x="114" y="528"/>
                      <a:pt x="114" y="528"/>
                    </a:cubicBezTo>
                    <a:cubicBezTo>
                      <a:pt x="116" y="549"/>
                      <a:pt x="116" y="549"/>
                      <a:pt x="116" y="549"/>
                    </a:cubicBezTo>
                    <a:cubicBezTo>
                      <a:pt x="117" y="570"/>
                      <a:pt x="117" y="570"/>
                      <a:pt x="117" y="570"/>
                    </a:cubicBezTo>
                    <a:cubicBezTo>
                      <a:pt x="118" y="592"/>
                      <a:pt x="118" y="592"/>
                      <a:pt x="118" y="592"/>
                    </a:cubicBezTo>
                    <a:cubicBezTo>
                      <a:pt x="119" y="599"/>
                      <a:pt x="119" y="606"/>
                      <a:pt x="119" y="613"/>
                    </a:cubicBezTo>
                    <a:cubicBezTo>
                      <a:pt x="118" y="655"/>
                      <a:pt x="118" y="655"/>
                      <a:pt x="118" y="655"/>
                    </a:cubicBezTo>
                    <a:cubicBezTo>
                      <a:pt x="118" y="662"/>
                      <a:pt x="118" y="669"/>
                      <a:pt x="117" y="677"/>
                    </a:cubicBezTo>
                    <a:cubicBezTo>
                      <a:pt x="115" y="698"/>
                      <a:pt x="115" y="698"/>
                      <a:pt x="115" y="698"/>
                    </a:cubicBezTo>
                    <a:cubicBezTo>
                      <a:pt x="112" y="740"/>
                      <a:pt x="112" y="740"/>
                      <a:pt x="112" y="740"/>
                    </a:cubicBezTo>
                    <a:cubicBezTo>
                      <a:pt x="111" y="698"/>
                      <a:pt x="111" y="698"/>
                      <a:pt x="111" y="698"/>
                    </a:cubicBezTo>
                    <a:cubicBezTo>
                      <a:pt x="110" y="677"/>
                      <a:pt x="110" y="677"/>
                      <a:pt x="110" y="677"/>
                    </a:cubicBezTo>
                    <a:cubicBezTo>
                      <a:pt x="110" y="670"/>
                      <a:pt x="109" y="663"/>
                      <a:pt x="109" y="656"/>
                    </a:cubicBezTo>
                    <a:cubicBezTo>
                      <a:pt x="105" y="614"/>
                      <a:pt x="105" y="614"/>
                      <a:pt x="105" y="614"/>
                    </a:cubicBezTo>
                    <a:cubicBezTo>
                      <a:pt x="104" y="607"/>
                      <a:pt x="103" y="600"/>
                      <a:pt x="102" y="593"/>
                    </a:cubicBezTo>
                    <a:cubicBezTo>
                      <a:pt x="99" y="572"/>
                      <a:pt x="99" y="572"/>
                      <a:pt x="99" y="572"/>
                    </a:cubicBezTo>
                    <a:cubicBezTo>
                      <a:pt x="96" y="552"/>
                      <a:pt x="96" y="552"/>
                      <a:pt x="96" y="552"/>
                    </a:cubicBezTo>
                    <a:cubicBezTo>
                      <a:pt x="92" y="531"/>
                      <a:pt x="92" y="531"/>
                      <a:pt x="92" y="531"/>
                    </a:cubicBezTo>
                    <a:cubicBezTo>
                      <a:pt x="87" y="511"/>
                      <a:pt x="87" y="511"/>
                      <a:pt x="87" y="511"/>
                    </a:cubicBezTo>
                    <a:cubicBezTo>
                      <a:pt x="86" y="504"/>
                      <a:pt x="84" y="497"/>
                      <a:pt x="83" y="490"/>
                    </a:cubicBezTo>
                    <a:cubicBezTo>
                      <a:pt x="77" y="470"/>
                      <a:pt x="77" y="470"/>
                      <a:pt x="77" y="470"/>
                    </a:cubicBezTo>
                    <a:cubicBezTo>
                      <a:pt x="76" y="464"/>
                      <a:pt x="74" y="457"/>
                      <a:pt x="72" y="450"/>
                    </a:cubicBezTo>
                    <a:cubicBezTo>
                      <a:pt x="69" y="444"/>
                      <a:pt x="68" y="437"/>
                      <a:pt x="65" y="431"/>
                    </a:cubicBezTo>
                    <a:cubicBezTo>
                      <a:pt x="63" y="424"/>
                      <a:pt x="61" y="418"/>
                      <a:pt x="59" y="412"/>
                    </a:cubicBezTo>
                    <a:cubicBezTo>
                      <a:pt x="58" y="412"/>
                      <a:pt x="58" y="412"/>
                      <a:pt x="58" y="412"/>
                    </a:cubicBezTo>
                    <a:cubicBezTo>
                      <a:pt x="58" y="410"/>
                      <a:pt x="58" y="410"/>
                      <a:pt x="58" y="410"/>
                    </a:cubicBezTo>
                    <a:cubicBezTo>
                      <a:pt x="45" y="361"/>
                      <a:pt x="45" y="361"/>
                      <a:pt x="45" y="361"/>
                    </a:cubicBezTo>
                    <a:cubicBezTo>
                      <a:pt x="39" y="336"/>
                      <a:pt x="39" y="336"/>
                      <a:pt x="39" y="336"/>
                    </a:cubicBezTo>
                    <a:cubicBezTo>
                      <a:pt x="37" y="328"/>
                      <a:pt x="34" y="320"/>
                      <a:pt x="32" y="312"/>
                    </a:cubicBezTo>
                    <a:cubicBezTo>
                      <a:pt x="22" y="262"/>
                      <a:pt x="22" y="262"/>
                      <a:pt x="22" y="262"/>
                    </a:cubicBezTo>
                    <a:cubicBezTo>
                      <a:pt x="17" y="237"/>
                      <a:pt x="17" y="237"/>
                      <a:pt x="17" y="237"/>
                    </a:cubicBezTo>
                    <a:cubicBezTo>
                      <a:pt x="15" y="228"/>
                      <a:pt x="14" y="220"/>
                      <a:pt x="13" y="211"/>
                    </a:cubicBezTo>
                    <a:cubicBezTo>
                      <a:pt x="9" y="186"/>
                      <a:pt x="9" y="186"/>
                      <a:pt x="9" y="186"/>
                    </a:cubicBezTo>
                    <a:cubicBezTo>
                      <a:pt x="8" y="177"/>
                      <a:pt x="7" y="169"/>
                      <a:pt x="6" y="160"/>
                    </a:cubicBezTo>
                    <a:cubicBezTo>
                      <a:pt x="1" y="108"/>
                      <a:pt x="1" y="108"/>
                      <a:pt x="1" y="108"/>
                    </a:cubicBezTo>
                    <a:cubicBezTo>
                      <a:pt x="1" y="100"/>
                      <a:pt x="1" y="91"/>
                      <a:pt x="1" y="82"/>
                    </a:cubicBezTo>
                    <a:cubicBezTo>
                      <a:pt x="1" y="73"/>
                      <a:pt x="0" y="65"/>
                      <a:pt x="1" y="56"/>
                    </a:cubicBezTo>
                    <a:cubicBezTo>
                      <a:pt x="2" y="29"/>
                      <a:pt x="2" y="29"/>
                      <a:pt x="2" y="29"/>
                    </a:cubicBezTo>
                    <a:cubicBezTo>
                      <a:pt x="2" y="24"/>
                      <a:pt x="3" y="19"/>
                      <a:pt x="3" y="14"/>
                    </a:cubicBezTo>
                    <a:cubicBezTo>
                      <a:pt x="4" y="6"/>
                      <a:pt x="4" y="6"/>
                      <a:pt x="4" y="6"/>
                    </a:cubicBezTo>
                    <a:cubicBezTo>
                      <a:pt x="5" y="0"/>
                      <a:pt x="5" y="0"/>
                      <a:pt x="5" y="0"/>
                    </a:cubicBezTo>
                    <a:lnTo>
                      <a:pt x="84" y="1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6" name="Freeform 16">
                <a:extLst>
                  <a:ext uri="{FF2B5EF4-FFF2-40B4-BE49-F238E27FC236}">
                    <a16:creationId xmlns:a16="http://schemas.microsoft.com/office/drawing/2014/main" id="{0A2B8CCF-5CE7-46F6-B6D2-EA6F9DCE3D7D}"/>
                  </a:ext>
                </a:extLst>
              </p:cNvPr>
              <p:cNvSpPr>
                <a:spLocks/>
              </p:cNvSpPr>
              <p:nvPr/>
            </p:nvSpPr>
            <p:spPr bwMode="auto">
              <a:xfrm>
                <a:off x="3975767" y="323764"/>
                <a:ext cx="2093184" cy="1026951"/>
              </a:xfrm>
              <a:custGeom>
                <a:avLst/>
                <a:gdLst>
                  <a:gd name="T0" fmla="*/ 1104 w 1104"/>
                  <a:gd name="T1" fmla="*/ 12 h 541"/>
                  <a:gd name="T2" fmla="*/ 1100 w 1104"/>
                  <a:gd name="T3" fmla="*/ 28 h 541"/>
                  <a:gd name="T4" fmla="*/ 1096 w 1104"/>
                  <a:gd name="T5" fmla="*/ 43 h 541"/>
                  <a:gd name="T6" fmla="*/ 1085 w 1104"/>
                  <a:gd name="T7" fmla="*/ 70 h 541"/>
                  <a:gd name="T8" fmla="*/ 1071 w 1104"/>
                  <a:gd name="T9" fmla="*/ 97 h 541"/>
                  <a:gd name="T10" fmla="*/ 1055 w 1104"/>
                  <a:gd name="T11" fmla="*/ 122 h 541"/>
                  <a:gd name="T12" fmla="*/ 1037 w 1104"/>
                  <a:gd name="T13" fmla="*/ 145 h 541"/>
                  <a:gd name="T14" fmla="*/ 1027 w 1104"/>
                  <a:gd name="T15" fmla="*/ 156 h 541"/>
                  <a:gd name="T16" fmla="*/ 1017 w 1104"/>
                  <a:gd name="T17" fmla="*/ 166 h 541"/>
                  <a:gd name="T18" fmla="*/ 995 w 1104"/>
                  <a:gd name="T19" fmla="*/ 186 h 541"/>
                  <a:gd name="T20" fmla="*/ 984 w 1104"/>
                  <a:gd name="T21" fmla="*/ 195 h 541"/>
                  <a:gd name="T22" fmla="*/ 972 w 1104"/>
                  <a:gd name="T23" fmla="*/ 203 h 541"/>
                  <a:gd name="T24" fmla="*/ 960 w 1104"/>
                  <a:gd name="T25" fmla="*/ 211 h 541"/>
                  <a:gd name="T26" fmla="*/ 947 w 1104"/>
                  <a:gd name="T27" fmla="*/ 218 h 541"/>
                  <a:gd name="T28" fmla="*/ 922 w 1104"/>
                  <a:gd name="T29" fmla="*/ 230 h 541"/>
                  <a:gd name="T30" fmla="*/ 895 w 1104"/>
                  <a:gd name="T31" fmla="*/ 241 h 541"/>
                  <a:gd name="T32" fmla="*/ 868 w 1104"/>
                  <a:gd name="T33" fmla="*/ 249 h 541"/>
                  <a:gd name="T34" fmla="*/ 841 w 1104"/>
                  <a:gd name="T35" fmla="*/ 256 h 541"/>
                  <a:gd name="T36" fmla="*/ 813 w 1104"/>
                  <a:gd name="T37" fmla="*/ 260 h 541"/>
                  <a:gd name="T38" fmla="*/ 786 w 1104"/>
                  <a:gd name="T39" fmla="*/ 263 h 541"/>
                  <a:gd name="T40" fmla="*/ 759 w 1104"/>
                  <a:gd name="T41" fmla="*/ 265 h 541"/>
                  <a:gd name="T42" fmla="*/ 757 w 1104"/>
                  <a:gd name="T43" fmla="*/ 265 h 541"/>
                  <a:gd name="T44" fmla="*/ 756 w 1104"/>
                  <a:gd name="T45" fmla="*/ 265 h 541"/>
                  <a:gd name="T46" fmla="*/ 704 w 1104"/>
                  <a:gd name="T47" fmla="*/ 263 h 541"/>
                  <a:gd name="T48" fmla="*/ 652 w 1104"/>
                  <a:gd name="T49" fmla="*/ 264 h 541"/>
                  <a:gd name="T50" fmla="*/ 547 w 1104"/>
                  <a:gd name="T51" fmla="*/ 271 h 541"/>
                  <a:gd name="T52" fmla="*/ 339 w 1104"/>
                  <a:gd name="T53" fmla="*/ 308 h 541"/>
                  <a:gd name="T54" fmla="*/ 146 w 1104"/>
                  <a:gd name="T55" fmla="*/ 391 h 541"/>
                  <a:gd name="T56" fmla="*/ 103 w 1104"/>
                  <a:gd name="T57" fmla="*/ 421 h 541"/>
                  <a:gd name="T58" fmla="*/ 64 w 1104"/>
                  <a:gd name="T59" fmla="*/ 457 h 541"/>
                  <a:gd name="T60" fmla="*/ 29 w 1104"/>
                  <a:gd name="T61" fmla="*/ 497 h 541"/>
                  <a:gd name="T62" fmla="*/ 0 w 1104"/>
                  <a:gd name="T63" fmla="*/ 541 h 541"/>
                  <a:gd name="T64" fmla="*/ 26 w 1104"/>
                  <a:gd name="T65" fmla="*/ 495 h 541"/>
                  <a:gd name="T66" fmla="*/ 59 w 1104"/>
                  <a:gd name="T67" fmla="*/ 452 h 541"/>
                  <a:gd name="T68" fmla="*/ 97 w 1104"/>
                  <a:gd name="T69" fmla="*/ 414 h 541"/>
                  <a:gd name="T70" fmla="*/ 139 w 1104"/>
                  <a:gd name="T71" fmla="*/ 380 h 541"/>
                  <a:gd name="T72" fmla="*/ 332 w 1104"/>
                  <a:gd name="T73" fmla="*/ 284 h 541"/>
                  <a:gd name="T74" fmla="*/ 542 w 1104"/>
                  <a:gd name="T75" fmla="*/ 233 h 541"/>
                  <a:gd name="T76" fmla="*/ 649 w 1104"/>
                  <a:gd name="T77" fmla="*/ 220 h 541"/>
                  <a:gd name="T78" fmla="*/ 703 w 1104"/>
                  <a:gd name="T79" fmla="*/ 216 h 541"/>
                  <a:gd name="T80" fmla="*/ 758 w 1104"/>
                  <a:gd name="T81" fmla="*/ 214 h 541"/>
                  <a:gd name="T82" fmla="*/ 756 w 1104"/>
                  <a:gd name="T83" fmla="*/ 214 h 541"/>
                  <a:gd name="T84" fmla="*/ 780 w 1104"/>
                  <a:gd name="T85" fmla="*/ 211 h 541"/>
                  <a:gd name="T86" fmla="*/ 804 w 1104"/>
                  <a:gd name="T87" fmla="*/ 207 h 541"/>
                  <a:gd name="T88" fmla="*/ 828 w 1104"/>
                  <a:gd name="T89" fmla="*/ 201 h 541"/>
                  <a:gd name="T90" fmla="*/ 851 w 1104"/>
                  <a:gd name="T91" fmla="*/ 194 h 541"/>
                  <a:gd name="T92" fmla="*/ 873 w 1104"/>
                  <a:gd name="T93" fmla="*/ 185 h 541"/>
                  <a:gd name="T94" fmla="*/ 895 w 1104"/>
                  <a:gd name="T95" fmla="*/ 175 h 541"/>
                  <a:gd name="T96" fmla="*/ 915 w 1104"/>
                  <a:gd name="T97" fmla="*/ 163 h 541"/>
                  <a:gd name="T98" fmla="*/ 924 w 1104"/>
                  <a:gd name="T99" fmla="*/ 156 h 541"/>
                  <a:gd name="T100" fmla="*/ 934 w 1104"/>
                  <a:gd name="T101" fmla="*/ 150 h 541"/>
                  <a:gd name="T102" fmla="*/ 943 w 1104"/>
                  <a:gd name="T103" fmla="*/ 142 h 541"/>
                  <a:gd name="T104" fmla="*/ 951 w 1104"/>
                  <a:gd name="T105" fmla="*/ 135 h 541"/>
                  <a:gd name="T106" fmla="*/ 967 w 1104"/>
                  <a:gd name="T107" fmla="*/ 118 h 541"/>
                  <a:gd name="T108" fmla="*/ 975 w 1104"/>
                  <a:gd name="T109" fmla="*/ 109 h 541"/>
                  <a:gd name="T110" fmla="*/ 982 w 1104"/>
                  <a:gd name="T111" fmla="*/ 100 h 541"/>
                  <a:gd name="T112" fmla="*/ 994 w 1104"/>
                  <a:gd name="T113" fmla="*/ 81 h 541"/>
                  <a:gd name="T114" fmla="*/ 1005 w 1104"/>
                  <a:gd name="T115" fmla="*/ 61 h 541"/>
                  <a:gd name="T116" fmla="*/ 1014 w 1104"/>
                  <a:gd name="T117" fmla="*/ 41 h 541"/>
                  <a:gd name="T118" fmla="*/ 1021 w 1104"/>
                  <a:gd name="T119" fmla="*/ 19 h 541"/>
                  <a:gd name="T120" fmla="*/ 1023 w 1104"/>
                  <a:gd name="T121" fmla="*/ 9 h 541"/>
                  <a:gd name="T122" fmla="*/ 1025 w 1104"/>
                  <a:gd name="T123" fmla="*/ 0 h 541"/>
                  <a:gd name="T124" fmla="*/ 1104 w 1104"/>
                  <a:gd name="T125" fmla="*/ 12 h 5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104" h="541">
                    <a:moveTo>
                      <a:pt x="1104" y="12"/>
                    </a:moveTo>
                    <a:cubicBezTo>
                      <a:pt x="1103" y="19"/>
                      <a:pt x="1102" y="23"/>
                      <a:pt x="1100" y="28"/>
                    </a:cubicBezTo>
                    <a:cubicBezTo>
                      <a:pt x="1099" y="33"/>
                      <a:pt x="1097" y="38"/>
                      <a:pt x="1096" y="43"/>
                    </a:cubicBezTo>
                    <a:cubicBezTo>
                      <a:pt x="1093" y="52"/>
                      <a:pt x="1089" y="62"/>
                      <a:pt x="1085" y="70"/>
                    </a:cubicBezTo>
                    <a:cubicBezTo>
                      <a:pt x="1080" y="79"/>
                      <a:pt x="1076" y="88"/>
                      <a:pt x="1071" y="97"/>
                    </a:cubicBezTo>
                    <a:cubicBezTo>
                      <a:pt x="1066" y="105"/>
                      <a:pt x="1061" y="114"/>
                      <a:pt x="1055" y="122"/>
                    </a:cubicBezTo>
                    <a:cubicBezTo>
                      <a:pt x="1050" y="130"/>
                      <a:pt x="1044" y="137"/>
                      <a:pt x="1037" y="145"/>
                    </a:cubicBezTo>
                    <a:cubicBezTo>
                      <a:pt x="1034" y="149"/>
                      <a:pt x="1031" y="152"/>
                      <a:pt x="1027" y="156"/>
                    </a:cubicBezTo>
                    <a:cubicBezTo>
                      <a:pt x="1024" y="159"/>
                      <a:pt x="1021" y="163"/>
                      <a:pt x="1017" y="166"/>
                    </a:cubicBezTo>
                    <a:cubicBezTo>
                      <a:pt x="1010" y="173"/>
                      <a:pt x="1003" y="179"/>
                      <a:pt x="995" y="186"/>
                    </a:cubicBezTo>
                    <a:cubicBezTo>
                      <a:pt x="984" y="195"/>
                      <a:pt x="984" y="195"/>
                      <a:pt x="984" y="195"/>
                    </a:cubicBezTo>
                    <a:cubicBezTo>
                      <a:pt x="972" y="203"/>
                      <a:pt x="972" y="203"/>
                      <a:pt x="972" y="203"/>
                    </a:cubicBezTo>
                    <a:cubicBezTo>
                      <a:pt x="968" y="206"/>
                      <a:pt x="964" y="208"/>
                      <a:pt x="960" y="211"/>
                    </a:cubicBezTo>
                    <a:cubicBezTo>
                      <a:pt x="956" y="213"/>
                      <a:pt x="952" y="216"/>
                      <a:pt x="947" y="218"/>
                    </a:cubicBezTo>
                    <a:cubicBezTo>
                      <a:pt x="939" y="222"/>
                      <a:pt x="930" y="227"/>
                      <a:pt x="922" y="230"/>
                    </a:cubicBezTo>
                    <a:cubicBezTo>
                      <a:pt x="913" y="234"/>
                      <a:pt x="904" y="238"/>
                      <a:pt x="895" y="241"/>
                    </a:cubicBezTo>
                    <a:cubicBezTo>
                      <a:pt x="886" y="244"/>
                      <a:pt x="877" y="247"/>
                      <a:pt x="868" y="249"/>
                    </a:cubicBezTo>
                    <a:cubicBezTo>
                      <a:pt x="859" y="252"/>
                      <a:pt x="850" y="254"/>
                      <a:pt x="841" y="256"/>
                    </a:cubicBezTo>
                    <a:cubicBezTo>
                      <a:pt x="832" y="258"/>
                      <a:pt x="823" y="259"/>
                      <a:pt x="813" y="260"/>
                    </a:cubicBezTo>
                    <a:cubicBezTo>
                      <a:pt x="804" y="261"/>
                      <a:pt x="795" y="262"/>
                      <a:pt x="786" y="263"/>
                    </a:cubicBezTo>
                    <a:cubicBezTo>
                      <a:pt x="759" y="265"/>
                      <a:pt x="759" y="265"/>
                      <a:pt x="759" y="265"/>
                    </a:cubicBezTo>
                    <a:cubicBezTo>
                      <a:pt x="757" y="265"/>
                      <a:pt x="757" y="265"/>
                      <a:pt x="757" y="265"/>
                    </a:cubicBezTo>
                    <a:cubicBezTo>
                      <a:pt x="756" y="265"/>
                      <a:pt x="756" y="265"/>
                      <a:pt x="756" y="265"/>
                    </a:cubicBezTo>
                    <a:cubicBezTo>
                      <a:pt x="740" y="264"/>
                      <a:pt x="722" y="263"/>
                      <a:pt x="704" y="263"/>
                    </a:cubicBezTo>
                    <a:cubicBezTo>
                      <a:pt x="687" y="263"/>
                      <a:pt x="669" y="263"/>
                      <a:pt x="652" y="264"/>
                    </a:cubicBezTo>
                    <a:cubicBezTo>
                      <a:pt x="617" y="265"/>
                      <a:pt x="582" y="267"/>
                      <a:pt x="547" y="271"/>
                    </a:cubicBezTo>
                    <a:cubicBezTo>
                      <a:pt x="477" y="278"/>
                      <a:pt x="407" y="289"/>
                      <a:pt x="339" y="308"/>
                    </a:cubicBezTo>
                    <a:cubicBezTo>
                      <a:pt x="272" y="327"/>
                      <a:pt x="206" y="353"/>
                      <a:pt x="146" y="391"/>
                    </a:cubicBezTo>
                    <a:cubicBezTo>
                      <a:pt x="131" y="400"/>
                      <a:pt x="117" y="410"/>
                      <a:pt x="103" y="421"/>
                    </a:cubicBezTo>
                    <a:cubicBezTo>
                      <a:pt x="89" y="432"/>
                      <a:pt x="76" y="444"/>
                      <a:pt x="64" y="457"/>
                    </a:cubicBezTo>
                    <a:cubicBezTo>
                      <a:pt x="51" y="469"/>
                      <a:pt x="39" y="482"/>
                      <a:pt x="29" y="497"/>
                    </a:cubicBezTo>
                    <a:cubicBezTo>
                      <a:pt x="18" y="511"/>
                      <a:pt x="9" y="526"/>
                      <a:pt x="0" y="541"/>
                    </a:cubicBezTo>
                    <a:cubicBezTo>
                      <a:pt x="8" y="525"/>
                      <a:pt x="17" y="510"/>
                      <a:pt x="26" y="495"/>
                    </a:cubicBezTo>
                    <a:cubicBezTo>
                      <a:pt x="36" y="480"/>
                      <a:pt x="47" y="466"/>
                      <a:pt x="59" y="452"/>
                    </a:cubicBezTo>
                    <a:cubicBezTo>
                      <a:pt x="71" y="439"/>
                      <a:pt x="84" y="426"/>
                      <a:pt x="97" y="414"/>
                    </a:cubicBezTo>
                    <a:cubicBezTo>
                      <a:pt x="110" y="402"/>
                      <a:pt x="124" y="391"/>
                      <a:pt x="139" y="380"/>
                    </a:cubicBezTo>
                    <a:cubicBezTo>
                      <a:pt x="198" y="338"/>
                      <a:pt x="264" y="308"/>
                      <a:pt x="332" y="284"/>
                    </a:cubicBezTo>
                    <a:cubicBezTo>
                      <a:pt x="400" y="261"/>
                      <a:pt x="471" y="244"/>
                      <a:pt x="542" y="233"/>
                    </a:cubicBezTo>
                    <a:cubicBezTo>
                      <a:pt x="577" y="227"/>
                      <a:pt x="613" y="223"/>
                      <a:pt x="649" y="220"/>
                    </a:cubicBezTo>
                    <a:cubicBezTo>
                      <a:pt x="667" y="218"/>
                      <a:pt x="685" y="217"/>
                      <a:pt x="703" y="216"/>
                    </a:cubicBezTo>
                    <a:cubicBezTo>
                      <a:pt x="721" y="215"/>
                      <a:pt x="739" y="214"/>
                      <a:pt x="758" y="214"/>
                    </a:cubicBezTo>
                    <a:cubicBezTo>
                      <a:pt x="756" y="214"/>
                      <a:pt x="756" y="214"/>
                      <a:pt x="756" y="214"/>
                    </a:cubicBezTo>
                    <a:cubicBezTo>
                      <a:pt x="780" y="211"/>
                      <a:pt x="780" y="211"/>
                      <a:pt x="780" y="211"/>
                    </a:cubicBezTo>
                    <a:cubicBezTo>
                      <a:pt x="788" y="210"/>
                      <a:pt x="796" y="208"/>
                      <a:pt x="804" y="207"/>
                    </a:cubicBezTo>
                    <a:cubicBezTo>
                      <a:pt x="812" y="205"/>
                      <a:pt x="820" y="203"/>
                      <a:pt x="828" y="201"/>
                    </a:cubicBezTo>
                    <a:cubicBezTo>
                      <a:pt x="836" y="199"/>
                      <a:pt x="844" y="197"/>
                      <a:pt x="851" y="194"/>
                    </a:cubicBezTo>
                    <a:cubicBezTo>
                      <a:pt x="859" y="191"/>
                      <a:pt x="866" y="188"/>
                      <a:pt x="873" y="185"/>
                    </a:cubicBezTo>
                    <a:cubicBezTo>
                      <a:pt x="881" y="182"/>
                      <a:pt x="888" y="178"/>
                      <a:pt x="895" y="175"/>
                    </a:cubicBezTo>
                    <a:cubicBezTo>
                      <a:pt x="902" y="171"/>
                      <a:pt x="908" y="167"/>
                      <a:pt x="915" y="163"/>
                    </a:cubicBezTo>
                    <a:cubicBezTo>
                      <a:pt x="918" y="161"/>
                      <a:pt x="921" y="159"/>
                      <a:pt x="924" y="156"/>
                    </a:cubicBezTo>
                    <a:cubicBezTo>
                      <a:pt x="928" y="154"/>
                      <a:pt x="931" y="152"/>
                      <a:pt x="934" y="150"/>
                    </a:cubicBezTo>
                    <a:cubicBezTo>
                      <a:pt x="943" y="142"/>
                      <a:pt x="943" y="142"/>
                      <a:pt x="943" y="142"/>
                    </a:cubicBezTo>
                    <a:cubicBezTo>
                      <a:pt x="951" y="135"/>
                      <a:pt x="951" y="135"/>
                      <a:pt x="951" y="135"/>
                    </a:cubicBezTo>
                    <a:cubicBezTo>
                      <a:pt x="957" y="129"/>
                      <a:pt x="962" y="124"/>
                      <a:pt x="967" y="118"/>
                    </a:cubicBezTo>
                    <a:cubicBezTo>
                      <a:pt x="970" y="115"/>
                      <a:pt x="972" y="112"/>
                      <a:pt x="975" y="109"/>
                    </a:cubicBezTo>
                    <a:cubicBezTo>
                      <a:pt x="977" y="106"/>
                      <a:pt x="979" y="103"/>
                      <a:pt x="982" y="100"/>
                    </a:cubicBezTo>
                    <a:cubicBezTo>
                      <a:pt x="986" y="94"/>
                      <a:pt x="990" y="88"/>
                      <a:pt x="994" y="81"/>
                    </a:cubicBezTo>
                    <a:cubicBezTo>
                      <a:pt x="998" y="75"/>
                      <a:pt x="1002" y="68"/>
                      <a:pt x="1005" y="61"/>
                    </a:cubicBezTo>
                    <a:cubicBezTo>
                      <a:pt x="1008" y="55"/>
                      <a:pt x="1011" y="48"/>
                      <a:pt x="1014" y="41"/>
                    </a:cubicBezTo>
                    <a:cubicBezTo>
                      <a:pt x="1016" y="34"/>
                      <a:pt x="1019" y="26"/>
                      <a:pt x="1021" y="19"/>
                    </a:cubicBezTo>
                    <a:cubicBezTo>
                      <a:pt x="1021" y="16"/>
                      <a:pt x="1022" y="12"/>
                      <a:pt x="1023" y="9"/>
                    </a:cubicBezTo>
                    <a:cubicBezTo>
                      <a:pt x="1024" y="5"/>
                      <a:pt x="1024" y="2"/>
                      <a:pt x="1025" y="0"/>
                    </a:cubicBezTo>
                    <a:lnTo>
                      <a:pt x="1104"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7" name="Freeform 17">
                <a:extLst>
                  <a:ext uri="{FF2B5EF4-FFF2-40B4-BE49-F238E27FC236}">
                    <a16:creationId xmlns:a16="http://schemas.microsoft.com/office/drawing/2014/main" id="{F9C33BC6-5EAD-4BAD-A56D-CCA45F2A7C30}"/>
                  </a:ext>
                </a:extLst>
              </p:cNvPr>
              <p:cNvSpPr>
                <a:spLocks/>
              </p:cNvSpPr>
              <p:nvPr/>
            </p:nvSpPr>
            <p:spPr bwMode="auto">
              <a:xfrm>
                <a:off x="5276090" y="638824"/>
                <a:ext cx="536323" cy="964420"/>
              </a:xfrm>
              <a:custGeom>
                <a:avLst/>
                <a:gdLst>
                  <a:gd name="T0" fmla="*/ 283 w 283"/>
                  <a:gd name="T1" fmla="*/ 54 h 508"/>
                  <a:gd name="T2" fmla="*/ 282 w 283"/>
                  <a:gd name="T3" fmla="*/ 54 h 508"/>
                  <a:gd name="T4" fmla="*/ 278 w 283"/>
                  <a:gd name="T5" fmla="*/ 54 h 508"/>
                  <a:gd name="T6" fmla="*/ 261 w 283"/>
                  <a:gd name="T7" fmla="*/ 57 h 508"/>
                  <a:gd name="T8" fmla="*/ 204 w 283"/>
                  <a:gd name="T9" fmla="*/ 80 h 508"/>
                  <a:gd name="T10" fmla="*/ 142 w 283"/>
                  <a:gd name="T11" fmla="*/ 141 h 508"/>
                  <a:gd name="T12" fmla="*/ 120 w 283"/>
                  <a:gd name="T13" fmla="*/ 187 h 508"/>
                  <a:gd name="T14" fmla="*/ 107 w 283"/>
                  <a:gd name="T15" fmla="*/ 239 h 508"/>
                  <a:gd name="T16" fmla="*/ 103 w 283"/>
                  <a:gd name="T17" fmla="*/ 267 h 508"/>
                  <a:gd name="T18" fmla="*/ 102 w 283"/>
                  <a:gd name="T19" fmla="*/ 294 h 508"/>
                  <a:gd name="T20" fmla="*/ 103 w 283"/>
                  <a:gd name="T21" fmla="*/ 349 h 508"/>
                  <a:gd name="T22" fmla="*/ 94 w 283"/>
                  <a:gd name="T23" fmla="*/ 402 h 508"/>
                  <a:gd name="T24" fmla="*/ 71 w 283"/>
                  <a:gd name="T25" fmla="*/ 444 h 508"/>
                  <a:gd name="T26" fmla="*/ 64 w 283"/>
                  <a:gd name="T27" fmla="*/ 452 h 508"/>
                  <a:gd name="T28" fmla="*/ 57 w 283"/>
                  <a:gd name="T29" fmla="*/ 460 h 508"/>
                  <a:gd name="T30" fmla="*/ 44 w 283"/>
                  <a:gd name="T31" fmla="*/ 473 h 508"/>
                  <a:gd name="T32" fmla="*/ 21 w 283"/>
                  <a:gd name="T33" fmla="*/ 492 h 508"/>
                  <a:gd name="T34" fmla="*/ 5 w 283"/>
                  <a:gd name="T35" fmla="*/ 504 h 508"/>
                  <a:gd name="T36" fmla="*/ 0 w 283"/>
                  <a:gd name="T37" fmla="*/ 508 h 508"/>
                  <a:gd name="T38" fmla="*/ 5 w 283"/>
                  <a:gd name="T39" fmla="*/ 503 h 508"/>
                  <a:gd name="T40" fmla="*/ 19 w 283"/>
                  <a:gd name="T41" fmla="*/ 490 h 508"/>
                  <a:gd name="T42" fmla="*/ 40 w 283"/>
                  <a:gd name="T43" fmla="*/ 469 h 508"/>
                  <a:gd name="T44" fmla="*/ 52 w 283"/>
                  <a:gd name="T45" fmla="*/ 455 h 508"/>
                  <a:gd name="T46" fmla="*/ 58 w 283"/>
                  <a:gd name="T47" fmla="*/ 447 h 508"/>
                  <a:gd name="T48" fmla="*/ 64 w 283"/>
                  <a:gd name="T49" fmla="*/ 439 h 508"/>
                  <a:gd name="T50" fmla="*/ 82 w 283"/>
                  <a:gd name="T51" fmla="*/ 398 h 508"/>
                  <a:gd name="T52" fmla="*/ 86 w 283"/>
                  <a:gd name="T53" fmla="*/ 350 h 508"/>
                  <a:gd name="T54" fmla="*/ 80 w 283"/>
                  <a:gd name="T55" fmla="*/ 295 h 508"/>
                  <a:gd name="T56" fmla="*/ 79 w 283"/>
                  <a:gd name="T57" fmla="*/ 266 h 508"/>
                  <a:gd name="T58" fmla="*/ 80 w 283"/>
                  <a:gd name="T59" fmla="*/ 236 h 508"/>
                  <a:gd name="T60" fmla="*/ 89 w 283"/>
                  <a:gd name="T61" fmla="*/ 177 h 508"/>
                  <a:gd name="T62" fmla="*/ 110 w 283"/>
                  <a:gd name="T63" fmla="*/ 122 h 508"/>
                  <a:gd name="T64" fmla="*/ 142 w 283"/>
                  <a:gd name="T65" fmla="*/ 76 h 508"/>
                  <a:gd name="T66" fmla="*/ 179 w 283"/>
                  <a:gd name="T67" fmla="*/ 42 h 508"/>
                  <a:gd name="T68" fmla="*/ 248 w 283"/>
                  <a:gd name="T69" fmla="*/ 8 h 508"/>
                  <a:gd name="T70" fmla="*/ 269 w 283"/>
                  <a:gd name="T71" fmla="*/ 2 h 508"/>
                  <a:gd name="T72" fmla="*/ 275 w 283"/>
                  <a:gd name="T73" fmla="*/ 1 h 508"/>
                  <a:gd name="T74" fmla="*/ 278 w 283"/>
                  <a:gd name="T75" fmla="*/ 0 h 508"/>
                  <a:gd name="T76" fmla="*/ 283 w 283"/>
                  <a:gd name="T77" fmla="*/ 54 h 5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83" h="508">
                    <a:moveTo>
                      <a:pt x="283" y="54"/>
                    </a:moveTo>
                    <a:cubicBezTo>
                      <a:pt x="283" y="54"/>
                      <a:pt x="282" y="54"/>
                      <a:pt x="282" y="54"/>
                    </a:cubicBezTo>
                    <a:cubicBezTo>
                      <a:pt x="281" y="54"/>
                      <a:pt x="280" y="54"/>
                      <a:pt x="278" y="54"/>
                    </a:cubicBezTo>
                    <a:cubicBezTo>
                      <a:pt x="274" y="55"/>
                      <a:pt x="269" y="56"/>
                      <a:pt x="261" y="57"/>
                    </a:cubicBezTo>
                    <a:cubicBezTo>
                      <a:pt x="247" y="60"/>
                      <a:pt x="226" y="67"/>
                      <a:pt x="204" y="80"/>
                    </a:cubicBezTo>
                    <a:cubicBezTo>
                      <a:pt x="182" y="93"/>
                      <a:pt x="160" y="113"/>
                      <a:pt x="142" y="141"/>
                    </a:cubicBezTo>
                    <a:cubicBezTo>
                      <a:pt x="133" y="154"/>
                      <a:pt x="125" y="170"/>
                      <a:pt x="120" y="187"/>
                    </a:cubicBezTo>
                    <a:cubicBezTo>
                      <a:pt x="114" y="203"/>
                      <a:pt x="109" y="221"/>
                      <a:pt x="107" y="239"/>
                    </a:cubicBezTo>
                    <a:cubicBezTo>
                      <a:pt x="105" y="248"/>
                      <a:pt x="104" y="257"/>
                      <a:pt x="103" y="267"/>
                    </a:cubicBezTo>
                    <a:cubicBezTo>
                      <a:pt x="103" y="276"/>
                      <a:pt x="102" y="285"/>
                      <a:pt x="102" y="294"/>
                    </a:cubicBezTo>
                    <a:cubicBezTo>
                      <a:pt x="101" y="312"/>
                      <a:pt x="103" y="331"/>
                      <a:pt x="103" y="349"/>
                    </a:cubicBezTo>
                    <a:cubicBezTo>
                      <a:pt x="102" y="368"/>
                      <a:pt x="100" y="386"/>
                      <a:pt x="94" y="402"/>
                    </a:cubicBezTo>
                    <a:cubicBezTo>
                      <a:pt x="88" y="418"/>
                      <a:pt x="80" y="432"/>
                      <a:pt x="71" y="444"/>
                    </a:cubicBezTo>
                    <a:cubicBezTo>
                      <a:pt x="68" y="446"/>
                      <a:pt x="66" y="449"/>
                      <a:pt x="64" y="452"/>
                    </a:cubicBezTo>
                    <a:cubicBezTo>
                      <a:pt x="62" y="455"/>
                      <a:pt x="59" y="457"/>
                      <a:pt x="57" y="460"/>
                    </a:cubicBezTo>
                    <a:cubicBezTo>
                      <a:pt x="53" y="465"/>
                      <a:pt x="48" y="469"/>
                      <a:pt x="44" y="473"/>
                    </a:cubicBezTo>
                    <a:cubicBezTo>
                      <a:pt x="36" y="481"/>
                      <a:pt x="27" y="487"/>
                      <a:pt x="21" y="492"/>
                    </a:cubicBezTo>
                    <a:cubicBezTo>
                      <a:pt x="14" y="497"/>
                      <a:pt x="9" y="501"/>
                      <a:pt x="5" y="504"/>
                    </a:cubicBezTo>
                    <a:cubicBezTo>
                      <a:pt x="2" y="506"/>
                      <a:pt x="0" y="508"/>
                      <a:pt x="0" y="508"/>
                    </a:cubicBezTo>
                    <a:cubicBezTo>
                      <a:pt x="0" y="508"/>
                      <a:pt x="1" y="506"/>
                      <a:pt x="5" y="503"/>
                    </a:cubicBezTo>
                    <a:cubicBezTo>
                      <a:pt x="8" y="500"/>
                      <a:pt x="13" y="496"/>
                      <a:pt x="19" y="490"/>
                    </a:cubicBezTo>
                    <a:cubicBezTo>
                      <a:pt x="25" y="485"/>
                      <a:pt x="33" y="478"/>
                      <a:pt x="40" y="469"/>
                    </a:cubicBezTo>
                    <a:cubicBezTo>
                      <a:pt x="44" y="465"/>
                      <a:pt x="48" y="460"/>
                      <a:pt x="52" y="455"/>
                    </a:cubicBezTo>
                    <a:cubicBezTo>
                      <a:pt x="54" y="453"/>
                      <a:pt x="56" y="450"/>
                      <a:pt x="58" y="447"/>
                    </a:cubicBezTo>
                    <a:cubicBezTo>
                      <a:pt x="60" y="445"/>
                      <a:pt x="62" y="442"/>
                      <a:pt x="64" y="439"/>
                    </a:cubicBezTo>
                    <a:cubicBezTo>
                      <a:pt x="71" y="427"/>
                      <a:pt x="78" y="414"/>
                      <a:pt x="82" y="398"/>
                    </a:cubicBezTo>
                    <a:cubicBezTo>
                      <a:pt x="86" y="383"/>
                      <a:pt x="87" y="367"/>
                      <a:pt x="86" y="350"/>
                    </a:cubicBezTo>
                    <a:cubicBezTo>
                      <a:pt x="84" y="332"/>
                      <a:pt x="81" y="314"/>
                      <a:pt x="80" y="295"/>
                    </a:cubicBezTo>
                    <a:cubicBezTo>
                      <a:pt x="79" y="285"/>
                      <a:pt x="79" y="275"/>
                      <a:pt x="79" y="266"/>
                    </a:cubicBezTo>
                    <a:cubicBezTo>
                      <a:pt x="79" y="256"/>
                      <a:pt x="79" y="246"/>
                      <a:pt x="80" y="236"/>
                    </a:cubicBezTo>
                    <a:cubicBezTo>
                      <a:pt x="81" y="216"/>
                      <a:pt x="84" y="197"/>
                      <a:pt x="89" y="177"/>
                    </a:cubicBezTo>
                    <a:cubicBezTo>
                      <a:pt x="94" y="158"/>
                      <a:pt x="101" y="139"/>
                      <a:pt x="110" y="122"/>
                    </a:cubicBezTo>
                    <a:cubicBezTo>
                      <a:pt x="119" y="105"/>
                      <a:pt x="130" y="90"/>
                      <a:pt x="142" y="76"/>
                    </a:cubicBezTo>
                    <a:cubicBezTo>
                      <a:pt x="154" y="63"/>
                      <a:pt x="167" y="51"/>
                      <a:pt x="179" y="42"/>
                    </a:cubicBezTo>
                    <a:cubicBezTo>
                      <a:pt x="205" y="23"/>
                      <a:pt x="230" y="13"/>
                      <a:pt x="248" y="8"/>
                    </a:cubicBezTo>
                    <a:cubicBezTo>
                      <a:pt x="257" y="5"/>
                      <a:pt x="264" y="3"/>
                      <a:pt x="269" y="2"/>
                    </a:cubicBezTo>
                    <a:cubicBezTo>
                      <a:pt x="272" y="1"/>
                      <a:pt x="274" y="1"/>
                      <a:pt x="275" y="1"/>
                    </a:cubicBezTo>
                    <a:cubicBezTo>
                      <a:pt x="277" y="1"/>
                      <a:pt x="278" y="0"/>
                      <a:pt x="278" y="0"/>
                    </a:cubicBezTo>
                    <a:lnTo>
                      <a:pt x="28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8" name="Freeform 18">
                <a:extLst>
                  <a:ext uri="{FF2B5EF4-FFF2-40B4-BE49-F238E27FC236}">
                    <a16:creationId xmlns:a16="http://schemas.microsoft.com/office/drawing/2014/main" id="{F6D557B1-6B0F-4E19-90D3-62502D34C5A1}"/>
                  </a:ext>
                </a:extLst>
              </p:cNvPr>
              <p:cNvSpPr>
                <a:spLocks/>
              </p:cNvSpPr>
              <p:nvPr/>
            </p:nvSpPr>
            <p:spPr bwMode="auto">
              <a:xfrm>
                <a:off x="4045513" y="251613"/>
                <a:ext cx="2163732" cy="2744148"/>
              </a:xfrm>
              <a:custGeom>
                <a:avLst/>
                <a:gdLst>
                  <a:gd name="T0" fmla="*/ 1124 w 1141"/>
                  <a:gd name="T1" fmla="*/ 90 h 1446"/>
                  <a:gd name="T2" fmla="*/ 1108 w 1141"/>
                  <a:gd name="T3" fmla="*/ 109 h 1446"/>
                  <a:gd name="T4" fmla="*/ 1087 w 1141"/>
                  <a:gd name="T5" fmla="*/ 136 h 1446"/>
                  <a:gd name="T6" fmla="*/ 1003 w 1141"/>
                  <a:gd name="T7" fmla="*/ 339 h 1446"/>
                  <a:gd name="T8" fmla="*/ 994 w 1141"/>
                  <a:gd name="T9" fmla="*/ 449 h 1446"/>
                  <a:gd name="T10" fmla="*/ 994 w 1141"/>
                  <a:gd name="T11" fmla="*/ 458 h 1446"/>
                  <a:gd name="T12" fmla="*/ 994 w 1141"/>
                  <a:gd name="T13" fmla="*/ 458 h 1446"/>
                  <a:gd name="T14" fmla="*/ 995 w 1141"/>
                  <a:gd name="T15" fmla="*/ 465 h 1446"/>
                  <a:gd name="T16" fmla="*/ 1015 w 1141"/>
                  <a:gd name="T17" fmla="*/ 669 h 1446"/>
                  <a:gd name="T18" fmla="*/ 999 w 1141"/>
                  <a:gd name="T19" fmla="*/ 969 h 1446"/>
                  <a:gd name="T20" fmla="*/ 894 w 1141"/>
                  <a:gd name="T21" fmla="*/ 1155 h 1446"/>
                  <a:gd name="T22" fmla="*/ 599 w 1141"/>
                  <a:gd name="T23" fmla="*/ 1210 h 1446"/>
                  <a:gd name="T24" fmla="*/ 421 w 1141"/>
                  <a:gd name="T25" fmla="*/ 1225 h 1446"/>
                  <a:gd name="T26" fmla="*/ 140 w 1141"/>
                  <a:gd name="T27" fmla="*/ 1313 h 1446"/>
                  <a:gd name="T28" fmla="*/ 56 w 1141"/>
                  <a:gd name="T29" fmla="*/ 1374 h 1446"/>
                  <a:gd name="T30" fmla="*/ 12 w 1141"/>
                  <a:gd name="T31" fmla="*/ 1425 h 1446"/>
                  <a:gd name="T32" fmla="*/ 11 w 1141"/>
                  <a:gd name="T33" fmla="*/ 1425 h 1446"/>
                  <a:gd name="T34" fmla="*/ 53 w 1141"/>
                  <a:gd name="T35" fmla="*/ 1371 h 1446"/>
                  <a:gd name="T36" fmla="*/ 136 w 1141"/>
                  <a:gd name="T37" fmla="*/ 1305 h 1446"/>
                  <a:gd name="T38" fmla="*/ 417 w 1141"/>
                  <a:gd name="T39" fmla="*/ 1202 h 1446"/>
                  <a:gd name="T40" fmla="*/ 597 w 1141"/>
                  <a:gd name="T41" fmla="*/ 1178 h 1446"/>
                  <a:gd name="T42" fmla="*/ 785 w 1141"/>
                  <a:gd name="T43" fmla="*/ 1158 h 1446"/>
                  <a:gd name="T44" fmla="*/ 917 w 1141"/>
                  <a:gd name="T45" fmla="*/ 1047 h 1446"/>
                  <a:gd name="T46" fmla="*/ 952 w 1141"/>
                  <a:gd name="T47" fmla="*/ 863 h 1446"/>
                  <a:gd name="T48" fmla="*/ 917 w 1141"/>
                  <a:gd name="T49" fmla="*/ 500 h 1446"/>
                  <a:gd name="T50" fmla="*/ 912 w 1141"/>
                  <a:gd name="T51" fmla="*/ 473 h 1446"/>
                  <a:gd name="T52" fmla="*/ 911 w 1141"/>
                  <a:gd name="T53" fmla="*/ 469 h 1446"/>
                  <a:gd name="T54" fmla="*/ 911 w 1141"/>
                  <a:gd name="T55" fmla="*/ 466 h 1446"/>
                  <a:gd name="T56" fmla="*/ 908 w 1141"/>
                  <a:gd name="T57" fmla="*/ 409 h 1446"/>
                  <a:gd name="T58" fmla="*/ 950 w 1141"/>
                  <a:gd name="T59" fmla="*/ 182 h 1446"/>
                  <a:gd name="T60" fmla="*/ 1014 w 1141"/>
                  <a:gd name="T61" fmla="*/ 60 h 1446"/>
                  <a:gd name="T62" fmla="*/ 1037 w 1141"/>
                  <a:gd name="T63" fmla="*/ 30 h 1446"/>
                  <a:gd name="T64" fmla="*/ 1062 w 1141"/>
                  <a:gd name="T65" fmla="*/ 0 h 1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41" h="1446">
                    <a:moveTo>
                      <a:pt x="1141" y="73"/>
                    </a:moveTo>
                    <a:cubicBezTo>
                      <a:pt x="1141" y="73"/>
                      <a:pt x="1135" y="79"/>
                      <a:pt x="1124" y="90"/>
                    </a:cubicBezTo>
                    <a:cubicBezTo>
                      <a:pt x="1122" y="93"/>
                      <a:pt x="1120" y="96"/>
                      <a:pt x="1117" y="99"/>
                    </a:cubicBezTo>
                    <a:cubicBezTo>
                      <a:pt x="1114" y="102"/>
                      <a:pt x="1111" y="105"/>
                      <a:pt x="1108" y="109"/>
                    </a:cubicBezTo>
                    <a:cubicBezTo>
                      <a:pt x="1105" y="113"/>
                      <a:pt x="1101" y="117"/>
                      <a:pt x="1098" y="122"/>
                    </a:cubicBezTo>
                    <a:cubicBezTo>
                      <a:pt x="1094" y="126"/>
                      <a:pt x="1091" y="131"/>
                      <a:pt x="1087" y="136"/>
                    </a:cubicBezTo>
                    <a:cubicBezTo>
                      <a:pt x="1072" y="158"/>
                      <a:pt x="1055" y="185"/>
                      <a:pt x="1040" y="219"/>
                    </a:cubicBezTo>
                    <a:cubicBezTo>
                      <a:pt x="1025" y="253"/>
                      <a:pt x="1012" y="294"/>
                      <a:pt x="1003" y="339"/>
                    </a:cubicBezTo>
                    <a:cubicBezTo>
                      <a:pt x="999" y="362"/>
                      <a:pt x="996" y="386"/>
                      <a:pt x="994" y="411"/>
                    </a:cubicBezTo>
                    <a:cubicBezTo>
                      <a:pt x="994" y="424"/>
                      <a:pt x="993" y="436"/>
                      <a:pt x="994" y="449"/>
                    </a:cubicBezTo>
                    <a:cubicBezTo>
                      <a:pt x="994" y="457"/>
                      <a:pt x="994" y="457"/>
                      <a:pt x="994" y="457"/>
                    </a:cubicBezTo>
                    <a:cubicBezTo>
                      <a:pt x="994" y="458"/>
                      <a:pt x="994" y="458"/>
                      <a:pt x="994" y="458"/>
                    </a:cubicBezTo>
                    <a:cubicBezTo>
                      <a:pt x="994" y="458"/>
                      <a:pt x="993" y="454"/>
                      <a:pt x="994" y="456"/>
                    </a:cubicBezTo>
                    <a:cubicBezTo>
                      <a:pt x="994" y="458"/>
                      <a:pt x="994" y="458"/>
                      <a:pt x="994" y="458"/>
                    </a:cubicBezTo>
                    <a:cubicBezTo>
                      <a:pt x="994" y="460"/>
                      <a:pt x="994" y="460"/>
                      <a:pt x="994" y="460"/>
                    </a:cubicBezTo>
                    <a:cubicBezTo>
                      <a:pt x="995" y="465"/>
                      <a:pt x="995" y="465"/>
                      <a:pt x="995" y="465"/>
                    </a:cubicBezTo>
                    <a:cubicBezTo>
                      <a:pt x="996" y="472"/>
                      <a:pt x="997" y="480"/>
                      <a:pt x="998" y="487"/>
                    </a:cubicBezTo>
                    <a:cubicBezTo>
                      <a:pt x="1005" y="545"/>
                      <a:pt x="1012" y="605"/>
                      <a:pt x="1015" y="669"/>
                    </a:cubicBezTo>
                    <a:cubicBezTo>
                      <a:pt x="1019" y="733"/>
                      <a:pt x="1020" y="799"/>
                      <a:pt x="1015" y="867"/>
                    </a:cubicBezTo>
                    <a:cubicBezTo>
                      <a:pt x="1012" y="901"/>
                      <a:pt x="1007" y="935"/>
                      <a:pt x="999" y="969"/>
                    </a:cubicBezTo>
                    <a:cubicBezTo>
                      <a:pt x="992" y="1003"/>
                      <a:pt x="981" y="1037"/>
                      <a:pt x="964" y="1070"/>
                    </a:cubicBezTo>
                    <a:cubicBezTo>
                      <a:pt x="947" y="1102"/>
                      <a:pt x="924" y="1133"/>
                      <a:pt x="894" y="1155"/>
                    </a:cubicBezTo>
                    <a:cubicBezTo>
                      <a:pt x="864" y="1178"/>
                      <a:pt x="829" y="1191"/>
                      <a:pt x="795" y="1199"/>
                    </a:cubicBezTo>
                    <a:cubicBezTo>
                      <a:pt x="726" y="1213"/>
                      <a:pt x="660" y="1207"/>
                      <a:pt x="599" y="1210"/>
                    </a:cubicBezTo>
                    <a:cubicBezTo>
                      <a:pt x="568" y="1211"/>
                      <a:pt x="538" y="1213"/>
                      <a:pt x="508" y="1215"/>
                    </a:cubicBezTo>
                    <a:cubicBezTo>
                      <a:pt x="478" y="1218"/>
                      <a:pt x="449" y="1221"/>
                      <a:pt x="421" y="1225"/>
                    </a:cubicBezTo>
                    <a:cubicBezTo>
                      <a:pt x="365" y="1234"/>
                      <a:pt x="312" y="1245"/>
                      <a:pt x="265" y="1260"/>
                    </a:cubicBezTo>
                    <a:cubicBezTo>
                      <a:pt x="218" y="1276"/>
                      <a:pt x="176" y="1293"/>
                      <a:pt x="140" y="1313"/>
                    </a:cubicBezTo>
                    <a:cubicBezTo>
                      <a:pt x="123" y="1323"/>
                      <a:pt x="107" y="1334"/>
                      <a:pt x="93" y="1344"/>
                    </a:cubicBezTo>
                    <a:cubicBezTo>
                      <a:pt x="79" y="1354"/>
                      <a:pt x="66" y="1364"/>
                      <a:pt x="56" y="1374"/>
                    </a:cubicBezTo>
                    <a:cubicBezTo>
                      <a:pt x="45" y="1384"/>
                      <a:pt x="36" y="1394"/>
                      <a:pt x="29" y="1402"/>
                    </a:cubicBezTo>
                    <a:cubicBezTo>
                      <a:pt x="22" y="1411"/>
                      <a:pt x="16" y="1419"/>
                      <a:pt x="12" y="1425"/>
                    </a:cubicBezTo>
                    <a:cubicBezTo>
                      <a:pt x="3" y="1438"/>
                      <a:pt x="0" y="1446"/>
                      <a:pt x="0" y="1446"/>
                    </a:cubicBezTo>
                    <a:cubicBezTo>
                      <a:pt x="0" y="1446"/>
                      <a:pt x="3" y="1438"/>
                      <a:pt x="11" y="1425"/>
                    </a:cubicBezTo>
                    <a:cubicBezTo>
                      <a:pt x="15" y="1418"/>
                      <a:pt x="20" y="1410"/>
                      <a:pt x="27" y="1401"/>
                    </a:cubicBezTo>
                    <a:cubicBezTo>
                      <a:pt x="34" y="1392"/>
                      <a:pt x="42" y="1382"/>
                      <a:pt x="53" y="1371"/>
                    </a:cubicBezTo>
                    <a:cubicBezTo>
                      <a:pt x="63" y="1361"/>
                      <a:pt x="75" y="1350"/>
                      <a:pt x="89" y="1338"/>
                    </a:cubicBezTo>
                    <a:cubicBezTo>
                      <a:pt x="103" y="1328"/>
                      <a:pt x="118" y="1316"/>
                      <a:pt x="136" y="1305"/>
                    </a:cubicBezTo>
                    <a:cubicBezTo>
                      <a:pt x="170" y="1283"/>
                      <a:pt x="212" y="1263"/>
                      <a:pt x="260" y="1245"/>
                    </a:cubicBezTo>
                    <a:cubicBezTo>
                      <a:pt x="307" y="1228"/>
                      <a:pt x="360" y="1213"/>
                      <a:pt x="417" y="1202"/>
                    </a:cubicBezTo>
                    <a:cubicBezTo>
                      <a:pt x="445" y="1196"/>
                      <a:pt x="475" y="1192"/>
                      <a:pt x="505" y="1188"/>
                    </a:cubicBezTo>
                    <a:cubicBezTo>
                      <a:pt x="535" y="1183"/>
                      <a:pt x="566" y="1180"/>
                      <a:pt x="597" y="1178"/>
                    </a:cubicBezTo>
                    <a:cubicBezTo>
                      <a:pt x="629" y="1175"/>
                      <a:pt x="661" y="1174"/>
                      <a:pt x="693" y="1172"/>
                    </a:cubicBezTo>
                    <a:cubicBezTo>
                      <a:pt x="724" y="1170"/>
                      <a:pt x="756" y="1166"/>
                      <a:pt x="785" y="1158"/>
                    </a:cubicBezTo>
                    <a:cubicBezTo>
                      <a:pt x="815" y="1150"/>
                      <a:pt x="842" y="1137"/>
                      <a:pt x="865" y="1118"/>
                    </a:cubicBezTo>
                    <a:cubicBezTo>
                      <a:pt x="887" y="1099"/>
                      <a:pt x="904" y="1074"/>
                      <a:pt x="917" y="1047"/>
                    </a:cubicBezTo>
                    <a:cubicBezTo>
                      <a:pt x="930" y="1019"/>
                      <a:pt x="938" y="989"/>
                      <a:pt x="943" y="958"/>
                    </a:cubicBezTo>
                    <a:cubicBezTo>
                      <a:pt x="949" y="927"/>
                      <a:pt x="951" y="895"/>
                      <a:pt x="952" y="863"/>
                    </a:cubicBezTo>
                    <a:cubicBezTo>
                      <a:pt x="954" y="800"/>
                      <a:pt x="950" y="736"/>
                      <a:pt x="943" y="675"/>
                    </a:cubicBezTo>
                    <a:cubicBezTo>
                      <a:pt x="936" y="614"/>
                      <a:pt x="927" y="555"/>
                      <a:pt x="917" y="500"/>
                    </a:cubicBezTo>
                    <a:cubicBezTo>
                      <a:pt x="915" y="492"/>
                      <a:pt x="914" y="485"/>
                      <a:pt x="913" y="479"/>
                    </a:cubicBezTo>
                    <a:cubicBezTo>
                      <a:pt x="912" y="473"/>
                      <a:pt x="912" y="473"/>
                      <a:pt x="912" y="473"/>
                    </a:cubicBezTo>
                    <a:cubicBezTo>
                      <a:pt x="911" y="471"/>
                      <a:pt x="911" y="471"/>
                      <a:pt x="911" y="471"/>
                    </a:cubicBezTo>
                    <a:cubicBezTo>
                      <a:pt x="911" y="469"/>
                      <a:pt x="911" y="469"/>
                      <a:pt x="911" y="469"/>
                    </a:cubicBezTo>
                    <a:cubicBezTo>
                      <a:pt x="911" y="471"/>
                      <a:pt x="911" y="467"/>
                      <a:pt x="911" y="467"/>
                    </a:cubicBezTo>
                    <a:cubicBezTo>
                      <a:pt x="911" y="466"/>
                      <a:pt x="911" y="466"/>
                      <a:pt x="911" y="466"/>
                    </a:cubicBezTo>
                    <a:cubicBezTo>
                      <a:pt x="910" y="461"/>
                      <a:pt x="910" y="457"/>
                      <a:pt x="909" y="453"/>
                    </a:cubicBezTo>
                    <a:cubicBezTo>
                      <a:pt x="908" y="438"/>
                      <a:pt x="908" y="423"/>
                      <a:pt x="908" y="409"/>
                    </a:cubicBezTo>
                    <a:cubicBezTo>
                      <a:pt x="908" y="380"/>
                      <a:pt x="910" y="352"/>
                      <a:pt x="914" y="325"/>
                    </a:cubicBezTo>
                    <a:cubicBezTo>
                      <a:pt x="921" y="272"/>
                      <a:pt x="934" y="224"/>
                      <a:pt x="950" y="182"/>
                    </a:cubicBezTo>
                    <a:cubicBezTo>
                      <a:pt x="966" y="141"/>
                      <a:pt x="984" y="106"/>
                      <a:pt x="1001" y="79"/>
                    </a:cubicBezTo>
                    <a:cubicBezTo>
                      <a:pt x="1006" y="73"/>
                      <a:pt x="1010" y="66"/>
                      <a:pt x="1014" y="60"/>
                    </a:cubicBezTo>
                    <a:cubicBezTo>
                      <a:pt x="1018" y="54"/>
                      <a:pt x="1022" y="49"/>
                      <a:pt x="1026" y="44"/>
                    </a:cubicBezTo>
                    <a:cubicBezTo>
                      <a:pt x="1029" y="39"/>
                      <a:pt x="1033" y="34"/>
                      <a:pt x="1037" y="30"/>
                    </a:cubicBezTo>
                    <a:cubicBezTo>
                      <a:pt x="1040" y="25"/>
                      <a:pt x="1043" y="22"/>
                      <a:pt x="1046" y="18"/>
                    </a:cubicBezTo>
                    <a:cubicBezTo>
                      <a:pt x="1057" y="6"/>
                      <a:pt x="1062" y="0"/>
                      <a:pt x="1062" y="0"/>
                    </a:cubicBezTo>
                    <a:lnTo>
                      <a:pt x="1141" y="7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9" name="Freeform 19">
                <a:extLst>
                  <a:ext uri="{FF2B5EF4-FFF2-40B4-BE49-F238E27FC236}">
                    <a16:creationId xmlns:a16="http://schemas.microsoft.com/office/drawing/2014/main" id="{5BB2D8F1-425F-45E3-81CB-3481098EE335}"/>
                  </a:ext>
                </a:extLst>
              </p:cNvPr>
              <p:cNvSpPr>
                <a:spLocks/>
              </p:cNvSpPr>
              <p:nvPr/>
            </p:nvSpPr>
            <p:spPr bwMode="auto">
              <a:xfrm>
                <a:off x="5599969" y="1381179"/>
                <a:ext cx="319068" cy="464974"/>
              </a:xfrm>
              <a:custGeom>
                <a:avLst/>
                <a:gdLst>
                  <a:gd name="T0" fmla="*/ 168 w 168"/>
                  <a:gd name="T1" fmla="*/ 0 h 245"/>
                  <a:gd name="T2" fmla="*/ 168 w 168"/>
                  <a:gd name="T3" fmla="*/ 4 h 245"/>
                  <a:gd name="T4" fmla="*/ 166 w 168"/>
                  <a:gd name="T5" fmla="*/ 15 h 245"/>
                  <a:gd name="T6" fmla="*/ 159 w 168"/>
                  <a:gd name="T7" fmla="*/ 50 h 245"/>
                  <a:gd name="T8" fmla="*/ 116 w 168"/>
                  <a:gd name="T9" fmla="*/ 149 h 245"/>
                  <a:gd name="T10" fmla="*/ 99 w 168"/>
                  <a:gd name="T11" fmla="*/ 172 h 245"/>
                  <a:gd name="T12" fmla="*/ 89 w 168"/>
                  <a:gd name="T13" fmla="*/ 183 h 245"/>
                  <a:gd name="T14" fmla="*/ 80 w 168"/>
                  <a:gd name="T15" fmla="*/ 193 h 245"/>
                  <a:gd name="T16" fmla="*/ 70 w 168"/>
                  <a:gd name="T17" fmla="*/ 202 h 245"/>
                  <a:gd name="T18" fmla="*/ 61 w 168"/>
                  <a:gd name="T19" fmla="*/ 210 h 245"/>
                  <a:gd name="T20" fmla="*/ 51 w 168"/>
                  <a:gd name="T21" fmla="*/ 217 h 245"/>
                  <a:gd name="T22" fmla="*/ 42 w 168"/>
                  <a:gd name="T23" fmla="*/ 223 h 245"/>
                  <a:gd name="T24" fmla="*/ 25 w 168"/>
                  <a:gd name="T25" fmla="*/ 233 h 245"/>
                  <a:gd name="T26" fmla="*/ 12 w 168"/>
                  <a:gd name="T27" fmla="*/ 240 h 245"/>
                  <a:gd name="T28" fmla="*/ 0 w 168"/>
                  <a:gd name="T29" fmla="*/ 245 h 245"/>
                  <a:gd name="T30" fmla="*/ 11 w 168"/>
                  <a:gd name="T31" fmla="*/ 238 h 245"/>
                  <a:gd name="T32" fmla="*/ 23 w 168"/>
                  <a:gd name="T33" fmla="*/ 229 h 245"/>
                  <a:gd name="T34" fmla="*/ 37 w 168"/>
                  <a:gd name="T35" fmla="*/ 217 h 245"/>
                  <a:gd name="T36" fmla="*/ 44 w 168"/>
                  <a:gd name="T37" fmla="*/ 209 h 245"/>
                  <a:gd name="T38" fmla="*/ 52 w 168"/>
                  <a:gd name="T39" fmla="*/ 201 h 245"/>
                  <a:gd name="T40" fmla="*/ 60 w 168"/>
                  <a:gd name="T41" fmla="*/ 192 h 245"/>
                  <a:gd name="T42" fmla="*/ 67 w 168"/>
                  <a:gd name="T43" fmla="*/ 182 h 245"/>
                  <a:gd name="T44" fmla="*/ 74 w 168"/>
                  <a:gd name="T45" fmla="*/ 171 h 245"/>
                  <a:gd name="T46" fmla="*/ 81 w 168"/>
                  <a:gd name="T47" fmla="*/ 160 h 245"/>
                  <a:gd name="T48" fmla="*/ 92 w 168"/>
                  <a:gd name="T49" fmla="*/ 136 h 245"/>
                  <a:gd name="T50" fmla="*/ 114 w 168"/>
                  <a:gd name="T51" fmla="*/ 42 h 245"/>
                  <a:gd name="T52" fmla="*/ 115 w 168"/>
                  <a:gd name="T53" fmla="*/ 11 h 245"/>
                  <a:gd name="T54" fmla="*/ 114 w 168"/>
                  <a:gd name="T55" fmla="*/ 3 h 245"/>
                  <a:gd name="T56" fmla="*/ 114 w 168"/>
                  <a:gd name="T57" fmla="*/ 0 h 245"/>
                  <a:gd name="T58" fmla="*/ 168 w 168"/>
                  <a:gd name="T59" fmla="*/ 0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68" h="245">
                    <a:moveTo>
                      <a:pt x="168" y="0"/>
                    </a:moveTo>
                    <a:cubicBezTo>
                      <a:pt x="168" y="0"/>
                      <a:pt x="168" y="2"/>
                      <a:pt x="168" y="4"/>
                    </a:cubicBezTo>
                    <a:cubicBezTo>
                      <a:pt x="167" y="7"/>
                      <a:pt x="167" y="10"/>
                      <a:pt x="166" y="15"/>
                    </a:cubicBezTo>
                    <a:cubicBezTo>
                      <a:pt x="165" y="24"/>
                      <a:pt x="162" y="36"/>
                      <a:pt x="159" y="50"/>
                    </a:cubicBezTo>
                    <a:cubicBezTo>
                      <a:pt x="151" y="79"/>
                      <a:pt x="137" y="116"/>
                      <a:pt x="116" y="149"/>
                    </a:cubicBezTo>
                    <a:cubicBezTo>
                      <a:pt x="110" y="157"/>
                      <a:pt x="105" y="165"/>
                      <a:pt x="99" y="172"/>
                    </a:cubicBezTo>
                    <a:cubicBezTo>
                      <a:pt x="96" y="176"/>
                      <a:pt x="92" y="179"/>
                      <a:pt x="89" y="183"/>
                    </a:cubicBezTo>
                    <a:cubicBezTo>
                      <a:pt x="86" y="186"/>
                      <a:pt x="83" y="190"/>
                      <a:pt x="80" y="193"/>
                    </a:cubicBezTo>
                    <a:cubicBezTo>
                      <a:pt x="77" y="196"/>
                      <a:pt x="74" y="199"/>
                      <a:pt x="70" y="202"/>
                    </a:cubicBezTo>
                    <a:cubicBezTo>
                      <a:pt x="67" y="205"/>
                      <a:pt x="64" y="207"/>
                      <a:pt x="61" y="210"/>
                    </a:cubicBezTo>
                    <a:cubicBezTo>
                      <a:pt x="57" y="212"/>
                      <a:pt x="54" y="215"/>
                      <a:pt x="51" y="217"/>
                    </a:cubicBezTo>
                    <a:cubicBezTo>
                      <a:pt x="48" y="219"/>
                      <a:pt x="45" y="221"/>
                      <a:pt x="42" y="223"/>
                    </a:cubicBezTo>
                    <a:cubicBezTo>
                      <a:pt x="36" y="227"/>
                      <a:pt x="30" y="230"/>
                      <a:pt x="25" y="233"/>
                    </a:cubicBezTo>
                    <a:cubicBezTo>
                      <a:pt x="20" y="236"/>
                      <a:pt x="16" y="238"/>
                      <a:pt x="12" y="240"/>
                    </a:cubicBezTo>
                    <a:cubicBezTo>
                      <a:pt x="4" y="243"/>
                      <a:pt x="0" y="245"/>
                      <a:pt x="0" y="245"/>
                    </a:cubicBezTo>
                    <a:cubicBezTo>
                      <a:pt x="0" y="245"/>
                      <a:pt x="4" y="242"/>
                      <a:pt x="11" y="238"/>
                    </a:cubicBezTo>
                    <a:cubicBezTo>
                      <a:pt x="14" y="235"/>
                      <a:pt x="18" y="232"/>
                      <a:pt x="23" y="229"/>
                    </a:cubicBezTo>
                    <a:cubicBezTo>
                      <a:pt x="27" y="225"/>
                      <a:pt x="32" y="222"/>
                      <a:pt x="37" y="217"/>
                    </a:cubicBezTo>
                    <a:cubicBezTo>
                      <a:pt x="39" y="214"/>
                      <a:pt x="42" y="212"/>
                      <a:pt x="44" y="209"/>
                    </a:cubicBezTo>
                    <a:cubicBezTo>
                      <a:pt x="47" y="207"/>
                      <a:pt x="49" y="204"/>
                      <a:pt x="52" y="201"/>
                    </a:cubicBezTo>
                    <a:cubicBezTo>
                      <a:pt x="54" y="198"/>
                      <a:pt x="57" y="195"/>
                      <a:pt x="60" y="192"/>
                    </a:cubicBezTo>
                    <a:cubicBezTo>
                      <a:pt x="62" y="189"/>
                      <a:pt x="64" y="185"/>
                      <a:pt x="67" y="182"/>
                    </a:cubicBezTo>
                    <a:cubicBezTo>
                      <a:pt x="69" y="178"/>
                      <a:pt x="72" y="175"/>
                      <a:pt x="74" y="171"/>
                    </a:cubicBezTo>
                    <a:cubicBezTo>
                      <a:pt x="76" y="167"/>
                      <a:pt x="78" y="164"/>
                      <a:pt x="81" y="160"/>
                    </a:cubicBezTo>
                    <a:cubicBezTo>
                      <a:pt x="85" y="152"/>
                      <a:pt x="89" y="144"/>
                      <a:pt x="92" y="136"/>
                    </a:cubicBezTo>
                    <a:cubicBezTo>
                      <a:pt x="106" y="103"/>
                      <a:pt x="112" y="68"/>
                      <a:pt x="114" y="42"/>
                    </a:cubicBezTo>
                    <a:cubicBezTo>
                      <a:pt x="115" y="29"/>
                      <a:pt x="115" y="18"/>
                      <a:pt x="115" y="11"/>
                    </a:cubicBezTo>
                    <a:cubicBezTo>
                      <a:pt x="115" y="7"/>
                      <a:pt x="115" y="4"/>
                      <a:pt x="114" y="3"/>
                    </a:cubicBezTo>
                    <a:cubicBezTo>
                      <a:pt x="114" y="1"/>
                      <a:pt x="114" y="0"/>
                      <a:pt x="114" y="0"/>
                    </a:cubicBezTo>
                    <a:lnTo>
                      <a:pt x="168"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40" name="Freeform 20">
                <a:extLst>
                  <a:ext uri="{FF2B5EF4-FFF2-40B4-BE49-F238E27FC236}">
                    <a16:creationId xmlns:a16="http://schemas.microsoft.com/office/drawing/2014/main" id="{127AF14B-9793-4438-9C20-1B016DD092C3}"/>
                  </a:ext>
                </a:extLst>
              </p:cNvPr>
              <p:cNvSpPr>
                <a:spLocks/>
              </p:cNvSpPr>
              <p:nvPr/>
            </p:nvSpPr>
            <p:spPr bwMode="auto">
              <a:xfrm>
                <a:off x="5778743" y="2151593"/>
                <a:ext cx="269364" cy="698262"/>
              </a:xfrm>
              <a:custGeom>
                <a:avLst/>
                <a:gdLst>
                  <a:gd name="T0" fmla="*/ 68 w 142"/>
                  <a:gd name="T1" fmla="*/ 29 h 368"/>
                  <a:gd name="T2" fmla="*/ 60 w 142"/>
                  <a:gd name="T3" fmla="*/ 44 h 368"/>
                  <a:gd name="T4" fmla="*/ 51 w 142"/>
                  <a:gd name="T5" fmla="*/ 67 h 368"/>
                  <a:gd name="T6" fmla="*/ 44 w 142"/>
                  <a:gd name="T7" fmla="*/ 89 h 368"/>
                  <a:gd name="T8" fmla="*/ 40 w 142"/>
                  <a:gd name="T9" fmla="*/ 112 h 368"/>
                  <a:gd name="T10" fmla="*/ 39 w 142"/>
                  <a:gd name="T11" fmla="*/ 135 h 368"/>
                  <a:gd name="T12" fmla="*/ 41 w 142"/>
                  <a:gd name="T13" fmla="*/ 158 h 368"/>
                  <a:gd name="T14" fmla="*/ 47 w 142"/>
                  <a:gd name="T15" fmla="*/ 180 h 368"/>
                  <a:gd name="T16" fmla="*/ 52 w 142"/>
                  <a:gd name="T17" fmla="*/ 190 h 368"/>
                  <a:gd name="T18" fmla="*/ 55 w 142"/>
                  <a:gd name="T19" fmla="*/ 199 h 368"/>
                  <a:gd name="T20" fmla="*/ 72 w 142"/>
                  <a:gd name="T21" fmla="*/ 217 h 368"/>
                  <a:gd name="T22" fmla="*/ 94 w 142"/>
                  <a:gd name="T23" fmla="*/ 247 h 368"/>
                  <a:gd name="T24" fmla="*/ 113 w 142"/>
                  <a:gd name="T25" fmla="*/ 277 h 368"/>
                  <a:gd name="T26" fmla="*/ 124 w 142"/>
                  <a:gd name="T27" fmla="*/ 299 h 368"/>
                  <a:gd name="T28" fmla="*/ 133 w 142"/>
                  <a:gd name="T29" fmla="*/ 321 h 368"/>
                  <a:gd name="T30" fmla="*/ 139 w 142"/>
                  <a:gd name="T31" fmla="*/ 345 h 368"/>
                  <a:gd name="T32" fmla="*/ 142 w 142"/>
                  <a:gd name="T33" fmla="*/ 368 h 368"/>
                  <a:gd name="T34" fmla="*/ 136 w 142"/>
                  <a:gd name="T35" fmla="*/ 345 h 368"/>
                  <a:gd name="T36" fmla="*/ 127 w 142"/>
                  <a:gd name="T37" fmla="*/ 324 h 368"/>
                  <a:gd name="T38" fmla="*/ 115 w 142"/>
                  <a:gd name="T39" fmla="*/ 304 h 368"/>
                  <a:gd name="T40" fmla="*/ 102 w 142"/>
                  <a:gd name="T41" fmla="*/ 284 h 368"/>
                  <a:gd name="T42" fmla="*/ 80 w 142"/>
                  <a:gd name="T43" fmla="*/ 258 h 368"/>
                  <a:gd name="T44" fmla="*/ 55 w 142"/>
                  <a:gd name="T45" fmla="*/ 233 h 368"/>
                  <a:gd name="T46" fmla="*/ 38 w 142"/>
                  <a:gd name="T47" fmla="*/ 218 h 368"/>
                  <a:gd name="T48" fmla="*/ 37 w 142"/>
                  <a:gd name="T49" fmla="*/ 216 h 368"/>
                  <a:gd name="T50" fmla="*/ 24 w 142"/>
                  <a:gd name="T51" fmla="*/ 199 h 368"/>
                  <a:gd name="T52" fmla="*/ 14 w 142"/>
                  <a:gd name="T53" fmla="*/ 180 h 368"/>
                  <a:gd name="T54" fmla="*/ 5 w 142"/>
                  <a:gd name="T55" fmla="*/ 152 h 368"/>
                  <a:gd name="T56" fmla="*/ 1 w 142"/>
                  <a:gd name="T57" fmla="*/ 124 h 368"/>
                  <a:gd name="T58" fmla="*/ 1 w 142"/>
                  <a:gd name="T59" fmla="*/ 96 h 368"/>
                  <a:gd name="T60" fmla="*/ 4 w 142"/>
                  <a:gd name="T61" fmla="*/ 68 h 368"/>
                  <a:gd name="T62" fmla="*/ 9 w 142"/>
                  <a:gd name="T63" fmla="*/ 41 h 368"/>
                  <a:gd name="T64" fmla="*/ 17 w 142"/>
                  <a:gd name="T65" fmla="*/ 14 h 368"/>
                  <a:gd name="T66" fmla="*/ 22 w 142"/>
                  <a:gd name="T67" fmla="*/ 0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42" h="368">
                    <a:moveTo>
                      <a:pt x="70" y="24"/>
                    </a:moveTo>
                    <a:cubicBezTo>
                      <a:pt x="68" y="29"/>
                      <a:pt x="68" y="29"/>
                      <a:pt x="68" y="29"/>
                    </a:cubicBezTo>
                    <a:cubicBezTo>
                      <a:pt x="65" y="34"/>
                      <a:pt x="65" y="34"/>
                      <a:pt x="65" y="34"/>
                    </a:cubicBezTo>
                    <a:cubicBezTo>
                      <a:pt x="63" y="37"/>
                      <a:pt x="61" y="41"/>
                      <a:pt x="60" y="44"/>
                    </a:cubicBezTo>
                    <a:cubicBezTo>
                      <a:pt x="58" y="48"/>
                      <a:pt x="57" y="52"/>
                      <a:pt x="55" y="55"/>
                    </a:cubicBezTo>
                    <a:cubicBezTo>
                      <a:pt x="54" y="59"/>
                      <a:pt x="52" y="63"/>
                      <a:pt x="51" y="67"/>
                    </a:cubicBezTo>
                    <a:cubicBezTo>
                      <a:pt x="50" y="70"/>
                      <a:pt x="49" y="74"/>
                      <a:pt x="48" y="78"/>
                    </a:cubicBezTo>
                    <a:cubicBezTo>
                      <a:pt x="46" y="82"/>
                      <a:pt x="45" y="85"/>
                      <a:pt x="44" y="89"/>
                    </a:cubicBezTo>
                    <a:cubicBezTo>
                      <a:pt x="44" y="93"/>
                      <a:pt x="43" y="97"/>
                      <a:pt x="42" y="101"/>
                    </a:cubicBezTo>
                    <a:cubicBezTo>
                      <a:pt x="40" y="112"/>
                      <a:pt x="40" y="112"/>
                      <a:pt x="40" y="112"/>
                    </a:cubicBezTo>
                    <a:cubicBezTo>
                      <a:pt x="39" y="124"/>
                      <a:pt x="39" y="124"/>
                      <a:pt x="39" y="124"/>
                    </a:cubicBezTo>
                    <a:cubicBezTo>
                      <a:pt x="39" y="128"/>
                      <a:pt x="39" y="131"/>
                      <a:pt x="39" y="135"/>
                    </a:cubicBezTo>
                    <a:cubicBezTo>
                      <a:pt x="39" y="139"/>
                      <a:pt x="39" y="143"/>
                      <a:pt x="39" y="147"/>
                    </a:cubicBezTo>
                    <a:cubicBezTo>
                      <a:pt x="40" y="151"/>
                      <a:pt x="40" y="154"/>
                      <a:pt x="41" y="158"/>
                    </a:cubicBezTo>
                    <a:cubicBezTo>
                      <a:pt x="43" y="169"/>
                      <a:pt x="43" y="169"/>
                      <a:pt x="43" y="169"/>
                    </a:cubicBezTo>
                    <a:cubicBezTo>
                      <a:pt x="44" y="173"/>
                      <a:pt x="46" y="176"/>
                      <a:pt x="47" y="180"/>
                    </a:cubicBezTo>
                    <a:cubicBezTo>
                      <a:pt x="49" y="185"/>
                      <a:pt x="49" y="185"/>
                      <a:pt x="49" y="185"/>
                    </a:cubicBezTo>
                    <a:cubicBezTo>
                      <a:pt x="50" y="187"/>
                      <a:pt x="51" y="189"/>
                      <a:pt x="52" y="190"/>
                    </a:cubicBezTo>
                    <a:cubicBezTo>
                      <a:pt x="57" y="201"/>
                      <a:pt x="57" y="201"/>
                      <a:pt x="57" y="201"/>
                    </a:cubicBezTo>
                    <a:cubicBezTo>
                      <a:pt x="55" y="199"/>
                      <a:pt x="55" y="199"/>
                      <a:pt x="55" y="199"/>
                    </a:cubicBezTo>
                    <a:cubicBezTo>
                      <a:pt x="59" y="202"/>
                      <a:pt x="61" y="205"/>
                      <a:pt x="64" y="208"/>
                    </a:cubicBezTo>
                    <a:cubicBezTo>
                      <a:pt x="67" y="211"/>
                      <a:pt x="69" y="214"/>
                      <a:pt x="72" y="217"/>
                    </a:cubicBezTo>
                    <a:cubicBezTo>
                      <a:pt x="77" y="224"/>
                      <a:pt x="82" y="230"/>
                      <a:pt x="87" y="237"/>
                    </a:cubicBezTo>
                    <a:cubicBezTo>
                      <a:pt x="89" y="240"/>
                      <a:pt x="91" y="243"/>
                      <a:pt x="94" y="247"/>
                    </a:cubicBezTo>
                    <a:cubicBezTo>
                      <a:pt x="96" y="250"/>
                      <a:pt x="98" y="253"/>
                      <a:pt x="100" y="257"/>
                    </a:cubicBezTo>
                    <a:cubicBezTo>
                      <a:pt x="105" y="263"/>
                      <a:pt x="109" y="270"/>
                      <a:pt x="113" y="277"/>
                    </a:cubicBezTo>
                    <a:cubicBezTo>
                      <a:pt x="115" y="281"/>
                      <a:pt x="117" y="285"/>
                      <a:pt x="118" y="288"/>
                    </a:cubicBezTo>
                    <a:cubicBezTo>
                      <a:pt x="120" y="292"/>
                      <a:pt x="122" y="295"/>
                      <a:pt x="124" y="299"/>
                    </a:cubicBezTo>
                    <a:cubicBezTo>
                      <a:pt x="125" y="303"/>
                      <a:pt x="127" y="306"/>
                      <a:pt x="129" y="310"/>
                    </a:cubicBezTo>
                    <a:cubicBezTo>
                      <a:pt x="133" y="321"/>
                      <a:pt x="133" y="321"/>
                      <a:pt x="133" y="321"/>
                    </a:cubicBezTo>
                    <a:cubicBezTo>
                      <a:pt x="134" y="325"/>
                      <a:pt x="135" y="329"/>
                      <a:pt x="136" y="333"/>
                    </a:cubicBezTo>
                    <a:cubicBezTo>
                      <a:pt x="137" y="337"/>
                      <a:pt x="138" y="341"/>
                      <a:pt x="139" y="345"/>
                    </a:cubicBezTo>
                    <a:cubicBezTo>
                      <a:pt x="140" y="349"/>
                      <a:pt x="141" y="352"/>
                      <a:pt x="141" y="356"/>
                    </a:cubicBezTo>
                    <a:cubicBezTo>
                      <a:pt x="142" y="368"/>
                      <a:pt x="142" y="368"/>
                      <a:pt x="142" y="368"/>
                    </a:cubicBezTo>
                    <a:cubicBezTo>
                      <a:pt x="139" y="357"/>
                      <a:pt x="139" y="357"/>
                      <a:pt x="139" y="357"/>
                    </a:cubicBezTo>
                    <a:cubicBezTo>
                      <a:pt x="139" y="353"/>
                      <a:pt x="137" y="349"/>
                      <a:pt x="136" y="345"/>
                    </a:cubicBezTo>
                    <a:cubicBezTo>
                      <a:pt x="135" y="342"/>
                      <a:pt x="133" y="338"/>
                      <a:pt x="132" y="335"/>
                    </a:cubicBezTo>
                    <a:cubicBezTo>
                      <a:pt x="130" y="331"/>
                      <a:pt x="129" y="327"/>
                      <a:pt x="127" y="324"/>
                    </a:cubicBezTo>
                    <a:cubicBezTo>
                      <a:pt x="121" y="314"/>
                      <a:pt x="121" y="314"/>
                      <a:pt x="121" y="314"/>
                    </a:cubicBezTo>
                    <a:cubicBezTo>
                      <a:pt x="119" y="310"/>
                      <a:pt x="117" y="307"/>
                      <a:pt x="115" y="304"/>
                    </a:cubicBezTo>
                    <a:cubicBezTo>
                      <a:pt x="113" y="300"/>
                      <a:pt x="111" y="297"/>
                      <a:pt x="109" y="294"/>
                    </a:cubicBezTo>
                    <a:cubicBezTo>
                      <a:pt x="107" y="291"/>
                      <a:pt x="104" y="288"/>
                      <a:pt x="102" y="284"/>
                    </a:cubicBezTo>
                    <a:cubicBezTo>
                      <a:pt x="97" y="278"/>
                      <a:pt x="93" y="272"/>
                      <a:pt x="87" y="266"/>
                    </a:cubicBezTo>
                    <a:cubicBezTo>
                      <a:pt x="85" y="263"/>
                      <a:pt x="82" y="260"/>
                      <a:pt x="80" y="258"/>
                    </a:cubicBezTo>
                    <a:cubicBezTo>
                      <a:pt x="77" y="255"/>
                      <a:pt x="74" y="252"/>
                      <a:pt x="72" y="249"/>
                    </a:cubicBezTo>
                    <a:cubicBezTo>
                      <a:pt x="66" y="244"/>
                      <a:pt x="61" y="238"/>
                      <a:pt x="55" y="233"/>
                    </a:cubicBezTo>
                    <a:cubicBezTo>
                      <a:pt x="52" y="230"/>
                      <a:pt x="50" y="228"/>
                      <a:pt x="47" y="225"/>
                    </a:cubicBezTo>
                    <a:cubicBezTo>
                      <a:pt x="44" y="223"/>
                      <a:pt x="41" y="220"/>
                      <a:pt x="38" y="218"/>
                    </a:cubicBezTo>
                    <a:cubicBezTo>
                      <a:pt x="37" y="217"/>
                      <a:pt x="37" y="217"/>
                      <a:pt x="37" y="217"/>
                    </a:cubicBezTo>
                    <a:cubicBezTo>
                      <a:pt x="37" y="216"/>
                      <a:pt x="37" y="216"/>
                      <a:pt x="37" y="216"/>
                    </a:cubicBezTo>
                    <a:cubicBezTo>
                      <a:pt x="28" y="205"/>
                      <a:pt x="28" y="205"/>
                      <a:pt x="28" y="205"/>
                    </a:cubicBezTo>
                    <a:cubicBezTo>
                      <a:pt x="27" y="203"/>
                      <a:pt x="25" y="201"/>
                      <a:pt x="24" y="199"/>
                    </a:cubicBezTo>
                    <a:cubicBezTo>
                      <a:pt x="20" y="193"/>
                      <a:pt x="20" y="193"/>
                      <a:pt x="20" y="193"/>
                    </a:cubicBezTo>
                    <a:cubicBezTo>
                      <a:pt x="18" y="188"/>
                      <a:pt x="15" y="184"/>
                      <a:pt x="14" y="180"/>
                    </a:cubicBezTo>
                    <a:cubicBezTo>
                      <a:pt x="9" y="166"/>
                      <a:pt x="9" y="166"/>
                      <a:pt x="9" y="166"/>
                    </a:cubicBezTo>
                    <a:cubicBezTo>
                      <a:pt x="7" y="162"/>
                      <a:pt x="6" y="157"/>
                      <a:pt x="5" y="152"/>
                    </a:cubicBezTo>
                    <a:cubicBezTo>
                      <a:pt x="4" y="148"/>
                      <a:pt x="3" y="143"/>
                      <a:pt x="3" y="138"/>
                    </a:cubicBezTo>
                    <a:cubicBezTo>
                      <a:pt x="2" y="134"/>
                      <a:pt x="1" y="129"/>
                      <a:pt x="1" y="124"/>
                    </a:cubicBezTo>
                    <a:cubicBezTo>
                      <a:pt x="0" y="110"/>
                      <a:pt x="0" y="110"/>
                      <a:pt x="0" y="110"/>
                    </a:cubicBezTo>
                    <a:cubicBezTo>
                      <a:pt x="1" y="96"/>
                      <a:pt x="1" y="96"/>
                      <a:pt x="1" y="96"/>
                    </a:cubicBezTo>
                    <a:cubicBezTo>
                      <a:pt x="1" y="91"/>
                      <a:pt x="1" y="87"/>
                      <a:pt x="2" y="82"/>
                    </a:cubicBezTo>
                    <a:cubicBezTo>
                      <a:pt x="2" y="77"/>
                      <a:pt x="3" y="73"/>
                      <a:pt x="4" y="68"/>
                    </a:cubicBezTo>
                    <a:cubicBezTo>
                      <a:pt x="4" y="64"/>
                      <a:pt x="5" y="59"/>
                      <a:pt x="6" y="54"/>
                    </a:cubicBezTo>
                    <a:cubicBezTo>
                      <a:pt x="7" y="50"/>
                      <a:pt x="8" y="45"/>
                      <a:pt x="9" y="41"/>
                    </a:cubicBezTo>
                    <a:cubicBezTo>
                      <a:pt x="10" y="36"/>
                      <a:pt x="11" y="32"/>
                      <a:pt x="13" y="27"/>
                    </a:cubicBezTo>
                    <a:cubicBezTo>
                      <a:pt x="14" y="23"/>
                      <a:pt x="15" y="18"/>
                      <a:pt x="17" y="14"/>
                    </a:cubicBezTo>
                    <a:cubicBezTo>
                      <a:pt x="19" y="7"/>
                      <a:pt x="19" y="7"/>
                      <a:pt x="19" y="7"/>
                    </a:cubicBezTo>
                    <a:cubicBezTo>
                      <a:pt x="22" y="0"/>
                      <a:pt x="22" y="0"/>
                      <a:pt x="22" y="0"/>
                    </a:cubicBezTo>
                    <a:lnTo>
                      <a:pt x="70" y="2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41" name="Freeform 21">
                <a:extLst>
                  <a:ext uri="{FF2B5EF4-FFF2-40B4-BE49-F238E27FC236}">
                    <a16:creationId xmlns:a16="http://schemas.microsoft.com/office/drawing/2014/main" id="{81C5D892-CD0E-47EF-A177-1FDC36F6F0A4}"/>
                  </a:ext>
                </a:extLst>
              </p:cNvPr>
              <p:cNvSpPr>
                <a:spLocks/>
              </p:cNvSpPr>
              <p:nvPr/>
            </p:nvSpPr>
            <p:spPr bwMode="auto">
              <a:xfrm>
                <a:off x="5983171" y="286085"/>
                <a:ext cx="2790645" cy="2091581"/>
              </a:xfrm>
              <a:custGeom>
                <a:avLst/>
                <a:gdLst>
                  <a:gd name="T0" fmla="*/ 1401 w 1472"/>
                  <a:gd name="T1" fmla="*/ 1044 h 1102"/>
                  <a:gd name="T2" fmla="*/ 1167 w 1472"/>
                  <a:gd name="T3" fmla="*/ 980 h 1102"/>
                  <a:gd name="T4" fmla="*/ 824 w 1472"/>
                  <a:gd name="T5" fmla="*/ 1007 h 1102"/>
                  <a:gd name="T6" fmla="*/ 550 w 1472"/>
                  <a:gd name="T7" fmla="*/ 1022 h 1102"/>
                  <a:gd name="T8" fmla="*/ 397 w 1472"/>
                  <a:gd name="T9" fmla="*/ 800 h 1102"/>
                  <a:gd name="T10" fmla="*/ 330 w 1472"/>
                  <a:gd name="T11" fmla="*/ 420 h 1102"/>
                  <a:gd name="T12" fmla="*/ 329 w 1472"/>
                  <a:gd name="T13" fmla="*/ 410 h 1102"/>
                  <a:gd name="T14" fmla="*/ 326 w 1472"/>
                  <a:gd name="T15" fmla="*/ 395 h 1102"/>
                  <a:gd name="T16" fmla="*/ 275 w 1472"/>
                  <a:gd name="T17" fmla="*/ 246 h 1102"/>
                  <a:gd name="T18" fmla="*/ 406 w 1472"/>
                  <a:gd name="T19" fmla="*/ 373 h 1102"/>
                  <a:gd name="T20" fmla="*/ 424 w 1472"/>
                  <a:gd name="T21" fmla="*/ 480 h 1102"/>
                  <a:gd name="T22" fmla="*/ 455 w 1472"/>
                  <a:gd name="T23" fmla="*/ 630 h 1102"/>
                  <a:gd name="T24" fmla="*/ 482 w 1472"/>
                  <a:gd name="T25" fmla="*/ 659 h 1102"/>
                  <a:gd name="T26" fmla="*/ 526 w 1472"/>
                  <a:gd name="T27" fmla="*/ 694 h 1102"/>
                  <a:gd name="T28" fmla="*/ 486 w 1472"/>
                  <a:gd name="T29" fmla="*/ 655 h 1102"/>
                  <a:gd name="T30" fmla="*/ 462 w 1472"/>
                  <a:gd name="T31" fmla="*/ 625 h 1102"/>
                  <a:gd name="T32" fmla="*/ 446 w 1472"/>
                  <a:gd name="T33" fmla="*/ 481 h 1102"/>
                  <a:gd name="T34" fmla="*/ 443 w 1472"/>
                  <a:gd name="T35" fmla="*/ 393 h 1102"/>
                  <a:gd name="T36" fmla="*/ 437 w 1472"/>
                  <a:gd name="T37" fmla="*/ 363 h 1102"/>
                  <a:gd name="T38" fmla="*/ 384 w 1472"/>
                  <a:gd name="T39" fmla="*/ 257 h 1102"/>
                  <a:gd name="T40" fmla="*/ 354 w 1472"/>
                  <a:gd name="T41" fmla="*/ 223 h 1102"/>
                  <a:gd name="T42" fmla="*/ 316 w 1472"/>
                  <a:gd name="T43" fmla="*/ 194 h 1102"/>
                  <a:gd name="T44" fmla="*/ 304 w 1472"/>
                  <a:gd name="T45" fmla="*/ 187 h 1102"/>
                  <a:gd name="T46" fmla="*/ 303 w 1472"/>
                  <a:gd name="T47" fmla="*/ 186 h 1102"/>
                  <a:gd name="T48" fmla="*/ 278 w 1472"/>
                  <a:gd name="T49" fmla="*/ 170 h 1102"/>
                  <a:gd name="T50" fmla="*/ 245 w 1472"/>
                  <a:gd name="T51" fmla="*/ 138 h 1102"/>
                  <a:gd name="T52" fmla="*/ 218 w 1472"/>
                  <a:gd name="T53" fmla="*/ 101 h 1102"/>
                  <a:gd name="T54" fmla="*/ 191 w 1472"/>
                  <a:gd name="T55" fmla="*/ 39 h 1102"/>
                  <a:gd name="T56" fmla="*/ 108 w 1472"/>
                  <a:gd name="T57" fmla="*/ 32 h 1102"/>
                  <a:gd name="T58" fmla="*/ 88 w 1472"/>
                  <a:gd name="T59" fmla="*/ 22 h 1102"/>
                  <a:gd name="T60" fmla="*/ 0 w 1472"/>
                  <a:gd name="T61" fmla="*/ 92 h 1102"/>
                  <a:gd name="T62" fmla="*/ 41 w 1472"/>
                  <a:gd name="T63" fmla="*/ 117 h 1102"/>
                  <a:gd name="T64" fmla="*/ 137 w 1472"/>
                  <a:gd name="T65" fmla="*/ 205 h 1102"/>
                  <a:gd name="T66" fmla="*/ 244 w 1472"/>
                  <a:gd name="T67" fmla="*/ 413 h 1102"/>
                  <a:gd name="T68" fmla="*/ 246 w 1472"/>
                  <a:gd name="T69" fmla="*/ 420 h 1102"/>
                  <a:gd name="T70" fmla="*/ 247 w 1472"/>
                  <a:gd name="T71" fmla="*/ 429 h 1102"/>
                  <a:gd name="T72" fmla="*/ 284 w 1472"/>
                  <a:gd name="T73" fmla="*/ 634 h 1102"/>
                  <a:gd name="T74" fmla="*/ 273 w 1472"/>
                  <a:gd name="T75" fmla="*/ 749 h 1102"/>
                  <a:gd name="T76" fmla="*/ 259 w 1472"/>
                  <a:gd name="T77" fmla="*/ 783 h 1102"/>
                  <a:gd name="T78" fmla="*/ 237 w 1472"/>
                  <a:gd name="T79" fmla="*/ 818 h 1102"/>
                  <a:gd name="T80" fmla="*/ 230 w 1472"/>
                  <a:gd name="T81" fmla="*/ 831 h 1102"/>
                  <a:gd name="T82" fmla="*/ 262 w 1472"/>
                  <a:gd name="T83" fmla="*/ 799 h 1102"/>
                  <a:gd name="T84" fmla="*/ 284 w 1472"/>
                  <a:gd name="T85" fmla="*/ 769 h 1102"/>
                  <a:gd name="T86" fmla="*/ 306 w 1472"/>
                  <a:gd name="T87" fmla="*/ 724 h 1102"/>
                  <a:gd name="T88" fmla="*/ 442 w 1472"/>
                  <a:gd name="T89" fmla="*/ 1003 h 1102"/>
                  <a:gd name="T90" fmla="*/ 831 w 1472"/>
                  <a:gd name="T91" fmla="*/ 1038 h 1102"/>
                  <a:gd name="T92" fmla="*/ 1166 w 1472"/>
                  <a:gd name="T93" fmla="*/ 995 h 1102"/>
                  <a:gd name="T94" fmla="*/ 1398 w 1472"/>
                  <a:gd name="T95" fmla="*/ 1048 h 1102"/>
                  <a:gd name="T96" fmla="*/ 1472 w 1472"/>
                  <a:gd name="T97" fmla="*/ 1102 h 1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472" h="1102">
                    <a:moveTo>
                      <a:pt x="1455" y="1084"/>
                    </a:moveTo>
                    <a:cubicBezTo>
                      <a:pt x="1450" y="1079"/>
                      <a:pt x="1442" y="1072"/>
                      <a:pt x="1433" y="1066"/>
                    </a:cubicBezTo>
                    <a:cubicBezTo>
                      <a:pt x="1424" y="1059"/>
                      <a:pt x="1413" y="1051"/>
                      <a:pt x="1401" y="1044"/>
                    </a:cubicBezTo>
                    <a:cubicBezTo>
                      <a:pt x="1388" y="1037"/>
                      <a:pt x="1373" y="1029"/>
                      <a:pt x="1357" y="1022"/>
                    </a:cubicBezTo>
                    <a:cubicBezTo>
                      <a:pt x="1340" y="1016"/>
                      <a:pt x="1322" y="1009"/>
                      <a:pt x="1303" y="1003"/>
                    </a:cubicBezTo>
                    <a:cubicBezTo>
                      <a:pt x="1263" y="992"/>
                      <a:pt x="1217" y="984"/>
                      <a:pt x="1167" y="980"/>
                    </a:cubicBezTo>
                    <a:cubicBezTo>
                      <a:pt x="1117" y="976"/>
                      <a:pt x="1062" y="976"/>
                      <a:pt x="1004" y="981"/>
                    </a:cubicBezTo>
                    <a:cubicBezTo>
                      <a:pt x="975" y="983"/>
                      <a:pt x="945" y="986"/>
                      <a:pt x="915" y="991"/>
                    </a:cubicBezTo>
                    <a:cubicBezTo>
                      <a:pt x="885" y="995"/>
                      <a:pt x="854" y="1000"/>
                      <a:pt x="824" y="1007"/>
                    </a:cubicBezTo>
                    <a:cubicBezTo>
                      <a:pt x="792" y="1012"/>
                      <a:pt x="761" y="1020"/>
                      <a:pt x="730" y="1027"/>
                    </a:cubicBezTo>
                    <a:cubicBezTo>
                      <a:pt x="699" y="1033"/>
                      <a:pt x="668" y="1038"/>
                      <a:pt x="637" y="1039"/>
                    </a:cubicBezTo>
                    <a:cubicBezTo>
                      <a:pt x="607" y="1039"/>
                      <a:pt x="577" y="1034"/>
                      <a:pt x="550" y="1022"/>
                    </a:cubicBezTo>
                    <a:cubicBezTo>
                      <a:pt x="523" y="1010"/>
                      <a:pt x="500" y="991"/>
                      <a:pt x="480" y="968"/>
                    </a:cubicBezTo>
                    <a:cubicBezTo>
                      <a:pt x="461" y="944"/>
                      <a:pt x="445" y="917"/>
                      <a:pt x="431" y="889"/>
                    </a:cubicBezTo>
                    <a:cubicBezTo>
                      <a:pt x="417" y="861"/>
                      <a:pt x="406" y="831"/>
                      <a:pt x="397" y="800"/>
                    </a:cubicBezTo>
                    <a:cubicBezTo>
                      <a:pt x="377" y="740"/>
                      <a:pt x="364" y="678"/>
                      <a:pt x="354" y="617"/>
                    </a:cubicBezTo>
                    <a:cubicBezTo>
                      <a:pt x="344" y="557"/>
                      <a:pt x="337" y="497"/>
                      <a:pt x="332" y="441"/>
                    </a:cubicBezTo>
                    <a:cubicBezTo>
                      <a:pt x="331" y="434"/>
                      <a:pt x="330" y="427"/>
                      <a:pt x="330" y="420"/>
                    </a:cubicBezTo>
                    <a:cubicBezTo>
                      <a:pt x="329" y="414"/>
                      <a:pt x="329" y="414"/>
                      <a:pt x="329" y="414"/>
                    </a:cubicBezTo>
                    <a:cubicBezTo>
                      <a:pt x="329" y="412"/>
                      <a:pt x="329" y="412"/>
                      <a:pt x="329" y="412"/>
                    </a:cubicBezTo>
                    <a:cubicBezTo>
                      <a:pt x="329" y="410"/>
                      <a:pt x="329" y="410"/>
                      <a:pt x="329" y="410"/>
                    </a:cubicBezTo>
                    <a:cubicBezTo>
                      <a:pt x="329" y="412"/>
                      <a:pt x="328" y="408"/>
                      <a:pt x="328" y="408"/>
                    </a:cubicBezTo>
                    <a:cubicBezTo>
                      <a:pt x="328" y="407"/>
                      <a:pt x="328" y="407"/>
                      <a:pt x="328" y="407"/>
                    </a:cubicBezTo>
                    <a:cubicBezTo>
                      <a:pt x="328" y="402"/>
                      <a:pt x="327" y="398"/>
                      <a:pt x="326" y="395"/>
                    </a:cubicBezTo>
                    <a:cubicBezTo>
                      <a:pt x="323" y="379"/>
                      <a:pt x="319" y="365"/>
                      <a:pt x="315" y="351"/>
                    </a:cubicBezTo>
                    <a:cubicBezTo>
                      <a:pt x="307" y="323"/>
                      <a:pt x="298" y="297"/>
                      <a:pt x="287" y="272"/>
                    </a:cubicBezTo>
                    <a:cubicBezTo>
                      <a:pt x="283" y="263"/>
                      <a:pt x="279" y="254"/>
                      <a:pt x="275" y="246"/>
                    </a:cubicBezTo>
                    <a:cubicBezTo>
                      <a:pt x="288" y="250"/>
                      <a:pt x="304" y="256"/>
                      <a:pt x="322" y="266"/>
                    </a:cubicBezTo>
                    <a:cubicBezTo>
                      <a:pt x="344" y="279"/>
                      <a:pt x="367" y="299"/>
                      <a:pt x="384" y="327"/>
                    </a:cubicBezTo>
                    <a:cubicBezTo>
                      <a:pt x="393" y="340"/>
                      <a:pt x="401" y="356"/>
                      <a:pt x="406" y="373"/>
                    </a:cubicBezTo>
                    <a:cubicBezTo>
                      <a:pt x="412" y="389"/>
                      <a:pt x="417" y="407"/>
                      <a:pt x="419" y="425"/>
                    </a:cubicBezTo>
                    <a:cubicBezTo>
                      <a:pt x="421" y="434"/>
                      <a:pt x="422" y="443"/>
                      <a:pt x="423" y="453"/>
                    </a:cubicBezTo>
                    <a:cubicBezTo>
                      <a:pt x="423" y="462"/>
                      <a:pt x="424" y="471"/>
                      <a:pt x="424" y="480"/>
                    </a:cubicBezTo>
                    <a:cubicBezTo>
                      <a:pt x="425" y="498"/>
                      <a:pt x="423" y="517"/>
                      <a:pt x="423" y="535"/>
                    </a:cubicBezTo>
                    <a:cubicBezTo>
                      <a:pt x="424" y="554"/>
                      <a:pt x="426" y="572"/>
                      <a:pt x="432" y="588"/>
                    </a:cubicBezTo>
                    <a:cubicBezTo>
                      <a:pt x="438" y="604"/>
                      <a:pt x="446" y="618"/>
                      <a:pt x="455" y="630"/>
                    </a:cubicBezTo>
                    <a:cubicBezTo>
                      <a:pt x="458" y="632"/>
                      <a:pt x="460" y="635"/>
                      <a:pt x="462" y="638"/>
                    </a:cubicBezTo>
                    <a:cubicBezTo>
                      <a:pt x="464" y="641"/>
                      <a:pt x="467" y="643"/>
                      <a:pt x="469" y="646"/>
                    </a:cubicBezTo>
                    <a:cubicBezTo>
                      <a:pt x="473" y="651"/>
                      <a:pt x="478" y="655"/>
                      <a:pt x="482" y="659"/>
                    </a:cubicBezTo>
                    <a:cubicBezTo>
                      <a:pt x="490" y="667"/>
                      <a:pt x="499" y="673"/>
                      <a:pt x="505" y="678"/>
                    </a:cubicBezTo>
                    <a:cubicBezTo>
                      <a:pt x="512" y="683"/>
                      <a:pt x="517" y="687"/>
                      <a:pt x="521" y="690"/>
                    </a:cubicBezTo>
                    <a:cubicBezTo>
                      <a:pt x="524" y="692"/>
                      <a:pt x="526" y="694"/>
                      <a:pt x="526" y="694"/>
                    </a:cubicBezTo>
                    <a:cubicBezTo>
                      <a:pt x="526" y="694"/>
                      <a:pt x="525" y="692"/>
                      <a:pt x="521" y="689"/>
                    </a:cubicBezTo>
                    <a:cubicBezTo>
                      <a:pt x="518" y="686"/>
                      <a:pt x="513" y="682"/>
                      <a:pt x="507" y="676"/>
                    </a:cubicBezTo>
                    <a:cubicBezTo>
                      <a:pt x="501" y="671"/>
                      <a:pt x="493" y="664"/>
                      <a:pt x="486" y="655"/>
                    </a:cubicBezTo>
                    <a:cubicBezTo>
                      <a:pt x="482" y="651"/>
                      <a:pt x="478" y="646"/>
                      <a:pt x="474" y="641"/>
                    </a:cubicBezTo>
                    <a:cubicBezTo>
                      <a:pt x="472" y="639"/>
                      <a:pt x="470" y="636"/>
                      <a:pt x="468" y="633"/>
                    </a:cubicBezTo>
                    <a:cubicBezTo>
                      <a:pt x="466" y="631"/>
                      <a:pt x="464" y="628"/>
                      <a:pt x="462" y="625"/>
                    </a:cubicBezTo>
                    <a:cubicBezTo>
                      <a:pt x="455" y="613"/>
                      <a:pt x="448" y="600"/>
                      <a:pt x="444" y="584"/>
                    </a:cubicBezTo>
                    <a:cubicBezTo>
                      <a:pt x="440" y="569"/>
                      <a:pt x="439" y="553"/>
                      <a:pt x="440" y="536"/>
                    </a:cubicBezTo>
                    <a:cubicBezTo>
                      <a:pt x="442" y="518"/>
                      <a:pt x="445" y="500"/>
                      <a:pt x="446" y="481"/>
                    </a:cubicBezTo>
                    <a:cubicBezTo>
                      <a:pt x="447" y="471"/>
                      <a:pt x="447" y="461"/>
                      <a:pt x="447" y="452"/>
                    </a:cubicBezTo>
                    <a:cubicBezTo>
                      <a:pt x="447" y="442"/>
                      <a:pt x="447" y="432"/>
                      <a:pt x="446" y="422"/>
                    </a:cubicBezTo>
                    <a:cubicBezTo>
                      <a:pt x="446" y="412"/>
                      <a:pt x="445" y="403"/>
                      <a:pt x="443" y="393"/>
                    </a:cubicBezTo>
                    <a:cubicBezTo>
                      <a:pt x="443" y="393"/>
                      <a:pt x="443" y="393"/>
                      <a:pt x="443" y="393"/>
                    </a:cubicBezTo>
                    <a:cubicBezTo>
                      <a:pt x="443" y="393"/>
                      <a:pt x="443" y="393"/>
                      <a:pt x="443" y="393"/>
                    </a:cubicBezTo>
                    <a:cubicBezTo>
                      <a:pt x="441" y="383"/>
                      <a:pt x="439" y="373"/>
                      <a:pt x="437" y="363"/>
                    </a:cubicBezTo>
                    <a:cubicBezTo>
                      <a:pt x="432" y="344"/>
                      <a:pt x="425" y="325"/>
                      <a:pt x="416" y="308"/>
                    </a:cubicBezTo>
                    <a:cubicBezTo>
                      <a:pt x="412" y="301"/>
                      <a:pt x="407" y="293"/>
                      <a:pt x="403" y="286"/>
                    </a:cubicBezTo>
                    <a:cubicBezTo>
                      <a:pt x="397" y="276"/>
                      <a:pt x="391" y="267"/>
                      <a:pt x="384" y="257"/>
                    </a:cubicBezTo>
                    <a:cubicBezTo>
                      <a:pt x="384" y="257"/>
                      <a:pt x="384" y="257"/>
                      <a:pt x="383" y="256"/>
                    </a:cubicBezTo>
                    <a:cubicBezTo>
                      <a:pt x="375" y="245"/>
                      <a:pt x="365" y="234"/>
                      <a:pt x="354" y="224"/>
                    </a:cubicBezTo>
                    <a:cubicBezTo>
                      <a:pt x="354" y="223"/>
                      <a:pt x="354" y="223"/>
                      <a:pt x="354" y="223"/>
                    </a:cubicBezTo>
                    <a:cubicBezTo>
                      <a:pt x="346" y="216"/>
                      <a:pt x="339" y="210"/>
                      <a:pt x="330" y="203"/>
                    </a:cubicBezTo>
                    <a:cubicBezTo>
                      <a:pt x="330" y="203"/>
                      <a:pt x="330" y="203"/>
                      <a:pt x="330" y="203"/>
                    </a:cubicBezTo>
                    <a:cubicBezTo>
                      <a:pt x="326" y="200"/>
                      <a:pt x="321" y="197"/>
                      <a:pt x="316" y="194"/>
                    </a:cubicBezTo>
                    <a:cubicBezTo>
                      <a:pt x="316" y="194"/>
                      <a:pt x="316" y="194"/>
                      <a:pt x="316" y="194"/>
                    </a:cubicBezTo>
                    <a:cubicBezTo>
                      <a:pt x="316" y="194"/>
                      <a:pt x="316" y="194"/>
                      <a:pt x="316" y="194"/>
                    </a:cubicBezTo>
                    <a:cubicBezTo>
                      <a:pt x="312" y="192"/>
                      <a:pt x="308" y="190"/>
                      <a:pt x="304" y="187"/>
                    </a:cubicBezTo>
                    <a:cubicBezTo>
                      <a:pt x="304" y="187"/>
                      <a:pt x="304" y="187"/>
                      <a:pt x="304" y="187"/>
                    </a:cubicBezTo>
                    <a:cubicBezTo>
                      <a:pt x="304" y="187"/>
                      <a:pt x="303" y="187"/>
                      <a:pt x="303" y="186"/>
                    </a:cubicBezTo>
                    <a:cubicBezTo>
                      <a:pt x="303" y="186"/>
                      <a:pt x="303" y="186"/>
                      <a:pt x="303" y="186"/>
                    </a:cubicBezTo>
                    <a:cubicBezTo>
                      <a:pt x="301" y="185"/>
                      <a:pt x="299" y="184"/>
                      <a:pt x="297" y="183"/>
                    </a:cubicBezTo>
                    <a:cubicBezTo>
                      <a:pt x="294" y="181"/>
                      <a:pt x="291" y="179"/>
                      <a:pt x="288" y="176"/>
                    </a:cubicBezTo>
                    <a:cubicBezTo>
                      <a:pt x="284" y="174"/>
                      <a:pt x="281" y="172"/>
                      <a:pt x="278" y="170"/>
                    </a:cubicBezTo>
                    <a:cubicBezTo>
                      <a:pt x="269" y="162"/>
                      <a:pt x="269" y="162"/>
                      <a:pt x="269" y="162"/>
                    </a:cubicBezTo>
                    <a:cubicBezTo>
                      <a:pt x="261" y="155"/>
                      <a:pt x="261" y="155"/>
                      <a:pt x="261" y="155"/>
                    </a:cubicBezTo>
                    <a:cubicBezTo>
                      <a:pt x="255" y="149"/>
                      <a:pt x="250" y="144"/>
                      <a:pt x="245" y="138"/>
                    </a:cubicBezTo>
                    <a:cubicBezTo>
                      <a:pt x="242" y="135"/>
                      <a:pt x="240" y="132"/>
                      <a:pt x="237" y="129"/>
                    </a:cubicBezTo>
                    <a:cubicBezTo>
                      <a:pt x="235" y="126"/>
                      <a:pt x="233" y="123"/>
                      <a:pt x="230" y="120"/>
                    </a:cubicBezTo>
                    <a:cubicBezTo>
                      <a:pt x="226" y="114"/>
                      <a:pt x="222" y="108"/>
                      <a:pt x="218" y="101"/>
                    </a:cubicBezTo>
                    <a:cubicBezTo>
                      <a:pt x="214" y="95"/>
                      <a:pt x="210" y="88"/>
                      <a:pt x="207" y="81"/>
                    </a:cubicBezTo>
                    <a:cubicBezTo>
                      <a:pt x="204" y="75"/>
                      <a:pt x="201" y="68"/>
                      <a:pt x="198" y="61"/>
                    </a:cubicBezTo>
                    <a:cubicBezTo>
                      <a:pt x="196" y="54"/>
                      <a:pt x="193" y="46"/>
                      <a:pt x="191" y="39"/>
                    </a:cubicBezTo>
                    <a:cubicBezTo>
                      <a:pt x="191" y="36"/>
                      <a:pt x="190" y="32"/>
                      <a:pt x="189" y="29"/>
                    </a:cubicBezTo>
                    <a:cubicBezTo>
                      <a:pt x="188" y="25"/>
                      <a:pt x="188" y="22"/>
                      <a:pt x="187" y="20"/>
                    </a:cubicBezTo>
                    <a:cubicBezTo>
                      <a:pt x="108" y="32"/>
                      <a:pt x="108" y="32"/>
                      <a:pt x="108" y="32"/>
                    </a:cubicBezTo>
                    <a:cubicBezTo>
                      <a:pt x="108" y="34"/>
                      <a:pt x="108" y="35"/>
                      <a:pt x="109" y="37"/>
                    </a:cubicBezTo>
                    <a:cubicBezTo>
                      <a:pt x="107" y="35"/>
                      <a:pt x="105" y="34"/>
                      <a:pt x="103" y="32"/>
                    </a:cubicBezTo>
                    <a:cubicBezTo>
                      <a:pt x="98" y="28"/>
                      <a:pt x="93" y="25"/>
                      <a:pt x="88" y="22"/>
                    </a:cubicBezTo>
                    <a:cubicBezTo>
                      <a:pt x="84" y="18"/>
                      <a:pt x="79" y="16"/>
                      <a:pt x="76" y="13"/>
                    </a:cubicBezTo>
                    <a:cubicBezTo>
                      <a:pt x="62" y="4"/>
                      <a:pt x="55" y="0"/>
                      <a:pt x="55" y="0"/>
                    </a:cubicBezTo>
                    <a:cubicBezTo>
                      <a:pt x="0" y="92"/>
                      <a:pt x="0" y="92"/>
                      <a:pt x="0" y="92"/>
                    </a:cubicBezTo>
                    <a:cubicBezTo>
                      <a:pt x="0" y="92"/>
                      <a:pt x="7" y="96"/>
                      <a:pt x="20" y="104"/>
                    </a:cubicBezTo>
                    <a:cubicBezTo>
                      <a:pt x="23" y="106"/>
                      <a:pt x="26" y="108"/>
                      <a:pt x="30" y="110"/>
                    </a:cubicBezTo>
                    <a:cubicBezTo>
                      <a:pt x="33" y="112"/>
                      <a:pt x="37" y="114"/>
                      <a:pt x="41" y="117"/>
                    </a:cubicBezTo>
                    <a:cubicBezTo>
                      <a:pt x="45" y="120"/>
                      <a:pt x="50" y="123"/>
                      <a:pt x="54" y="127"/>
                    </a:cubicBezTo>
                    <a:cubicBezTo>
                      <a:pt x="59" y="130"/>
                      <a:pt x="64" y="134"/>
                      <a:pt x="69" y="138"/>
                    </a:cubicBezTo>
                    <a:cubicBezTo>
                      <a:pt x="90" y="154"/>
                      <a:pt x="113" y="176"/>
                      <a:pt x="137" y="205"/>
                    </a:cubicBezTo>
                    <a:cubicBezTo>
                      <a:pt x="161" y="233"/>
                      <a:pt x="184" y="269"/>
                      <a:pt x="205" y="310"/>
                    </a:cubicBezTo>
                    <a:cubicBezTo>
                      <a:pt x="215" y="331"/>
                      <a:pt x="225" y="353"/>
                      <a:pt x="233" y="377"/>
                    </a:cubicBezTo>
                    <a:cubicBezTo>
                      <a:pt x="237" y="389"/>
                      <a:pt x="241" y="401"/>
                      <a:pt x="244" y="413"/>
                    </a:cubicBezTo>
                    <a:cubicBezTo>
                      <a:pt x="246" y="421"/>
                      <a:pt x="246" y="421"/>
                      <a:pt x="246" y="421"/>
                    </a:cubicBezTo>
                    <a:cubicBezTo>
                      <a:pt x="246" y="422"/>
                      <a:pt x="246" y="422"/>
                      <a:pt x="246" y="422"/>
                    </a:cubicBezTo>
                    <a:cubicBezTo>
                      <a:pt x="246" y="422"/>
                      <a:pt x="245" y="418"/>
                      <a:pt x="246" y="420"/>
                    </a:cubicBezTo>
                    <a:cubicBezTo>
                      <a:pt x="246" y="422"/>
                      <a:pt x="246" y="422"/>
                      <a:pt x="246" y="422"/>
                    </a:cubicBezTo>
                    <a:cubicBezTo>
                      <a:pt x="246" y="424"/>
                      <a:pt x="246" y="424"/>
                      <a:pt x="246" y="424"/>
                    </a:cubicBezTo>
                    <a:cubicBezTo>
                      <a:pt x="247" y="429"/>
                      <a:pt x="247" y="429"/>
                      <a:pt x="247" y="429"/>
                    </a:cubicBezTo>
                    <a:cubicBezTo>
                      <a:pt x="248" y="436"/>
                      <a:pt x="249" y="443"/>
                      <a:pt x="250" y="451"/>
                    </a:cubicBezTo>
                    <a:cubicBezTo>
                      <a:pt x="259" y="508"/>
                      <a:pt x="269" y="569"/>
                      <a:pt x="283" y="631"/>
                    </a:cubicBezTo>
                    <a:cubicBezTo>
                      <a:pt x="283" y="632"/>
                      <a:pt x="283" y="633"/>
                      <a:pt x="284" y="634"/>
                    </a:cubicBezTo>
                    <a:cubicBezTo>
                      <a:pt x="286" y="657"/>
                      <a:pt x="286" y="684"/>
                      <a:pt x="282" y="711"/>
                    </a:cubicBezTo>
                    <a:cubicBezTo>
                      <a:pt x="281" y="719"/>
                      <a:pt x="279" y="728"/>
                      <a:pt x="277" y="736"/>
                    </a:cubicBezTo>
                    <a:cubicBezTo>
                      <a:pt x="276" y="741"/>
                      <a:pt x="275" y="745"/>
                      <a:pt x="273" y="749"/>
                    </a:cubicBezTo>
                    <a:cubicBezTo>
                      <a:pt x="272" y="753"/>
                      <a:pt x="271" y="757"/>
                      <a:pt x="269" y="761"/>
                    </a:cubicBezTo>
                    <a:cubicBezTo>
                      <a:pt x="268" y="765"/>
                      <a:pt x="266" y="769"/>
                      <a:pt x="264" y="773"/>
                    </a:cubicBezTo>
                    <a:cubicBezTo>
                      <a:pt x="263" y="776"/>
                      <a:pt x="261" y="780"/>
                      <a:pt x="259" y="783"/>
                    </a:cubicBezTo>
                    <a:cubicBezTo>
                      <a:pt x="257" y="787"/>
                      <a:pt x="256" y="790"/>
                      <a:pt x="254" y="793"/>
                    </a:cubicBezTo>
                    <a:cubicBezTo>
                      <a:pt x="252" y="796"/>
                      <a:pt x="250" y="799"/>
                      <a:pt x="248" y="802"/>
                    </a:cubicBezTo>
                    <a:cubicBezTo>
                      <a:pt x="245" y="808"/>
                      <a:pt x="241" y="813"/>
                      <a:pt x="237" y="818"/>
                    </a:cubicBezTo>
                    <a:cubicBezTo>
                      <a:pt x="234" y="822"/>
                      <a:pt x="231" y="826"/>
                      <a:pt x="228" y="829"/>
                    </a:cubicBezTo>
                    <a:cubicBezTo>
                      <a:pt x="223" y="835"/>
                      <a:pt x="220" y="838"/>
                      <a:pt x="220" y="838"/>
                    </a:cubicBezTo>
                    <a:cubicBezTo>
                      <a:pt x="220" y="838"/>
                      <a:pt x="223" y="835"/>
                      <a:pt x="230" y="831"/>
                    </a:cubicBezTo>
                    <a:cubicBezTo>
                      <a:pt x="233" y="828"/>
                      <a:pt x="237" y="825"/>
                      <a:pt x="241" y="821"/>
                    </a:cubicBezTo>
                    <a:cubicBezTo>
                      <a:pt x="245" y="817"/>
                      <a:pt x="250" y="813"/>
                      <a:pt x="255" y="808"/>
                    </a:cubicBezTo>
                    <a:cubicBezTo>
                      <a:pt x="257" y="805"/>
                      <a:pt x="260" y="802"/>
                      <a:pt x="262" y="799"/>
                    </a:cubicBezTo>
                    <a:cubicBezTo>
                      <a:pt x="265" y="796"/>
                      <a:pt x="267" y="793"/>
                      <a:pt x="270" y="790"/>
                    </a:cubicBezTo>
                    <a:cubicBezTo>
                      <a:pt x="272" y="787"/>
                      <a:pt x="275" y="783"/>
                      <a:pt x="277" y="780"/>
                    </a:cubicBezTo>
                    <a:cubicBezTo>
                      <a:pt x="280" y="776"/>
                      <a:pt x="282" y="772"/>
                      <a:pt x="284" y="769"/>
                    </a:cubicBezTo>
                    <a:cubicBezTo>
                      <a:pt x="287" y="765"/>
                      <a:pt x="289" y="761"/>
                      <a:pt x="291" y="757"/>
                    </a:cubicBezTo>
                    <a:cubicBezTo>
                      <a:pt x="293" y="753"/>
                      <a:pt x="296" y="748"/>
                      <a:pt x="298" y="744"/>
                    </a:cubicBezTo>
                    <a:cubicBezTo>
                      <a:pt x="301" y="737"/>
                      <a:pt x="303" y="731"/>
                      <a:pt x="306" y="724"/>
                    </a:cubicBezTo>
                    <a:cubicBezTo>
                      <a:pt x="315" y="756"/>
                      <a:pt x="325" y="789"/>
                      <a:pt x="337" y="821"/>
                    </a:cubicBezTo>
                    <a:cubicBezTo>
                      <a:pt x="349" y="853"/>
                      <a:pt x="363" y="885"/>
                      <a:pt x="380" y="915"/>
                    </a:cubicBezTo>
                    <a:cubicBezTo>
                      <a:pt x="397" y="946"/>
                      <a:pt x="417" y="976"/>
                      <a:pt x="442" y="1003"/>
                    </a:cubicBezTo>
                    <a:cubicBezTo>
                      <a:pt x="466" y="1029"/>
                      <a:pt x="497" y="1052"/>
                      <a:pt x="532" y="1065"/>
                    </a:cubicBezTo>
                    <a:cubicBezTo>
                      <a:pt x="567" y="1079"/>
                      <a:pt x="604" y="1083"/>
                      <a:pt x="639" y="1080"/>
                    </a:cubicBezTo>
                    <a:cubicBezTo>
                      <a:pt x="709" y="1076"/>
                      <a:pt x="771" y="1052"/>
                      <a:pt x="831" y="1038"/>
                    </a:cubicBezTo>
                    <a:cubicBezTo>
                      <a:pt x="861" y="1030"/>
                      <a:pt x="891" y="1024"/>
                      <a:pt x="920" y="1018"/>
                    </a:cubicBezTo>
                    <a:cubicBezTo>
                      <a:pt x="949" y="1012"/>
                      <a:pt x="978" y="1008"/>
                      <a:pt x="1006" y="1004"/>
                    </a:cubicBezTo>
                    <a:cubicBezTo>
                      <a:pt x="1063" y="997"/>
                      <a:pt x="1117" y="994"/>
                      <a:pt x="1166" y="995"/>
                    </a:cubicBezTo>
                    <a:cubicBezTo>
                      <a:pt x="1216" y="997"/>
                      <a:pt x="1261" y="1003"/>
                      <a:pt x="1300" y="1012"/>
                    </a:cubicBezTo>
                    <a:cubicBezTo>
                      <a:pt x="1320" y="1017"/>
                      <a:pt x="1338" y="1023"/>
                      <a:pt x="1354" y="1029"/>
                    </a:cubicBezTo>
                    <a:cubicBezTo>
                      <a:pt x="1371" y="1035"/>
                      <a:pt x="1386" y="1041"/>
                      <a:pt x="1398" y="1048"/>
                    </a:cubicBezTo>
                    <a:cubicBezTo>
                      <a:pt x="1411" y="1055"/>
                      <a:pt x="1422" y="1061"/>
                      <a:pt x="1432" y="1068"/>
                    </a:cubicBezTo>
                    <a:cubicBezTo>
                      <a:pt x="1441" y="1074"/>
                      <a:pt x="1449" y="1080"/>
                      <a:pt x="1455" y="1085"/>
                    </a:cubicBezTo>
                    <a:cubicBezTo>
                      <a:pt x="1466" y="1095"/>
                      <a:pt x="1472" y="1102"/>
                      <a:pt x="1472" y="1102"/>
                    </a:cubicBezTo>
                    <a:cubicBezTo>
                      <a:pt x="1472" y="1102"/>
                      <a:pt x="1467" y="1095"/>
                      <a:pt x="1455" y="108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sp>
          <p:nvSpPr>
            <p:cNvPr id="33" name="Oval 3">
              <a:extLst>
                <a:ext uri="{FF2B5EF4-FFF2-40B4-BE49-F238E27FC236}">
                  <a16:creationId xmlns:a16="http://schemas.microsoft.com/office/drawing/2014/main" id="{8DCCB961-082A-4A06-B599-4126DE26359E}"/>
                </a:ext>
              </a:extLst>
            </p:cNvPr>
            <p:cNvSpPr/>
            <p:nvPr/>
          </p:nvSpPr>
          <p:spPr>
            <a:xfrm>
              <a:off x="6727114" y="5627531"/>
              <a:ext cx="241295" cy="241295"/>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FFFFFF"/>
                </a:solidFill>
                <a:effectLst/>
                <a:uLnTx/>
                <a:uFillTx/>
                <a:latin typeface="等线" panose="020F0502020204030204"/>
                <a:ea typeface="+mn-ea"/>
                <a:cs typeface="+mn-cs"/>
              </a:endParaRPr>
            </a:p>
          </p:txBody>
        </p:sp>
      </p:grpSp>
      <p:sp>
        <p:nvSpPr>
          <p:cNvPr id="44" name="TextBox 67">
            <a:extLst>
              <a:ext uri="{FF2B5EF4-FFF2-40B4-BE49-F238E27FC236}">
                <a16:creationId xmlns:a16="http://schemas.microsoft.com/office/drawing/2014/main" id="{B3A94798-8CEA-4B86-BF04-5F1D0AF65558}"/>
              </a:ext>
            </a:extLst>
          </p:cNvPr>
          <p:cNvSpPr txBox="1"/>
          <p:nvPr/>
        </p:nvSpPr>
        <p:spPr>
          <a:xfrm>
            <a:off x="2657474" y="731469"/>
            <a:ext cx="6877050"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1" i="0" u="none" strike="noStrike" kern="1200" cap="none" spc="0" normalizeH="0" baseline="0" noProof="0" dirty="0">
                <a:ln>
                  <a:noFill/>
                </a:ln>
                <a:solidFill>
                  <a:srgbClr val="000000">
                    <a:lumMod val="85000"/>
                    <a:lumOff val="15000"/>
                  </a:srgbClr>
                </a:solidFill>
                <a:effectLst/>
                <a:uLnTx/>
                <a:uFillTx/>
                <a:latin typeface="等线 Light" panose="020F0302020204030204"/>
                <a:ea typeface="+mn-ea"/>
                <a:cs typeface="Arial" panose="020B0604020202020204" pitchFamily="34" charset="0"/>
              </a:rPr>
              <a:t>Your Title Text Goes Here</a:t>
            </a:r>
          </a:p>
        </p:txBody>
      </p:sp>
      <p:grpSp>
        <p:nvGrpSpPr>
          <p:cNvPr id="45" name="Group 43">
            <a:extLst>
              <a:ext uri="{FF2B5EF4-FFF2-40B4-BE49-F238E27FC236}">
                <a16:creationId xmlns:a16="http://schemas.microsoft.com/office/drawing/2014/main" id="{DC4A8871-E2DD-4443-9FAB-88F7929FCB12}"/>
              </a:ext>
            </a:extLst>
          </p:cNvPr>
          <p:cNvGrpSpPr/>
          <p:nvPr/>
        </p:nvGrpSpPr>
        <p:grpSpPr>
          <a:xfrm>
            <a:off x="816409" y="4175287"/>
            <a:ext cx="3723903" cy="1569661"/>
            <a:chOff x="6828617" y="4068259"/>
            <a:chExt cx="4542198" cy="1914580"/>
          </a:xfrm>
        </p:grpSpPr>
        <p:sp>
          <p:nvSpPr>
            <p:cNvPr id="46" name="Rectangle: Rounded Corners 5">
              <a:extLst>
                <a:ext uri="{FF2B5EF4-FFF2-40B4-BE49-F238E27FC236}">
                  <a16:creationId xmlns:a16="http://schemas.microsoft.com/office/drawing/2014/main" id="{6350732A-7B4B-4812-BE15-9A98CA485089}"/>
                </a:ext>
              </a:extLst>
            </p:cNvPr>
            <p:cNvSpPr/>
            <p:nvPr/>
          </p:nvSpPr>
          <p:spPr>
            <a:xfrm>
              <a:off x="6828617" y="4130199"/>
              <a:ext cx="4510450" cy="1790702"/>
            </a:xfrm>
            <a:prstGeom prst="roundRect">
              <a:avLst>
                <a:gd name="adj" fmla="val 13635"/>
              </a:avLst>
            </a:prstGeom>
            <a:solidFill>
              <a:schemeClr val="bg1"/>
            </a:solidFill>
            <a:ln>
              <a:noFill/>
            </a:ln>
            <a:effectLst>
              <a:outerShdw blurRad="838200" dist="381000" dir="5400000" sx="95000" sy="95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等线" panose="020F0502020204030204"/>
                <a:ea typeface="+mn-ea"/>
                <a:cs typeface="+mn-cs"/>
              </a:endParaRPr>
            </a:p>
          </p:txBody>
        </p:sp>
        <p:grpSp>
          <p:nvGrpSpPr>
            <p:cNvPr id="47" name="Group 45">
              <a:extLst>
                <a:ext uri="{FF2B5EF4-FFF2-40B4-BE49-F238E27FC236}">
                  <a16:creationId xmlns:a16="http://schemas.microsoft.com/office/drawing/2014/main" id="{CD716AB0-03B2-494F-BC11-C7BB5F4CC9E7}"/>
                </a:ext>
              </a:extLst>
            </p:cNvPr>
            <p:cNvGrpSpPr/>
            <p:nvPr/>
          </p:nvGrpSpPr>
          <p:grpSpPr>
            <a:xfrm>
              <a:off x="7006173" y="4068259"/>
              <a:ext cx="1565518" cy="1914580"/>
              <a:chOff x="7083182" y="2471710"/>
              <a:chExt cx="1565518" cy="1914580"/>
            </a:xfrm>
          </p:grpSpPr>
          <p:graphicFrame>
            <p:nvGraphicFramePr>
              <p:cNvPr id="51" name="Chart 49">
                <a:extLst>
                  <a:ext uri="{FF2B5EF4-FFF2-40B4-BE49-F238E27FC236}">
                    <a16:creationId xmlns:a16="http://schemas.microsoft.com/office/drawing/2014/main" id="{B06919D0-3ED9-4F3E-95B7-B5E58CE319FE}"/>
                  </a:ext>
                </a:extLst>
              </p:cNvPr>
              <p:cNvGraphicFramePr/>
              <p:nvPr/>
            </p:nvGraphicFramePr>
            <p:xfrm>
              <a:off x="7083182" y="2471710"/>
              <a:ext cx="1565518" cy="1914580"/>
            </p:xfrm>
            <a:graphic>
              <a:graphicData uri="http://schemas.openxmlformats.org/drawingml/2006/chart">
                <c:chart xmlns:c="http://schemas.openxmlformats.org/drawingml/2006/chart" xmlns:r="http://schemas.openxmlformats.org/officeDocument/2006/relationships" r:id="rId4"/>
              </a:graphicData>
            </a:graphic>
          </p:graphicFrame>
          <p:sp>
            <p:nvSpPr>
              <p:cNvPr id="52" name="TextBox 50">
                <a:extLst>
                  <a:ext uri="{FF2B5EF4-FFF2-40B4-BE49-F238E27FC236}">
                    <a16:creationId xmlns:a16="http://schemas.microsoft.com/office/drawing/2014/main" id="{95F013EA-D279-45E5-A0CE-61B230C420FB}"/>
                  </a:ext>
                </a:extLst>
              </p:cNvPr>
              <p:cNvSpPr txBox="1"/>
              <p:nvPr/>
            </p:nvSpPr>
            <p:spPr>
              <a:xfrm>
                <a:off x="7215591" y="3184984"/>
                <a:ext cx="1300700" cy="4880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lumMod val="85000"/>
                        <a:lumOff val="15000"/>
                      </a:srgbClr>
                    </a:solidFill>
                    <a:effectLst/>
                    <a:uLnTx/>
                    <a:uFillTx/>
                    <a:latin typeface="等线" panose="020F0502020204030204"/>
                    <a:ea typeface="+mn-ea"/>
                    <a:cs typeface="Arial" panose="020B0604020202020204" pitchFamily="34" charset="0"/>
                  </a:rPr>
                  <a:t>78</a:t>
                </a:r>
                <a:r>
                  <a:rPr kumimoji="0" lang="en-US" sz="1800" b="0" i="0" u="none" strike="noStrike" kern="1200" cap="none" spc="0" normalizeH="0" baseline="30000" noProof="0" dirty="0">
                    <a:ln>
                      <a:noFill/>
                    </a:ln>
                    <a:solidFill>
                      <a:srgbClr val="000000">
                        <a:lumMod val="85000"/>
                        <a:lumOff val="15000"/>
                      </a:srgbClr>
                    </a:solidFill>
                    <a:effectLst/>
                    <a:uLnTx/>
                    <a:uFillTx/>
                    <a:latin typeface="等线" panose="020F0502020204030204"/>
                    <a:ea typeface="+mn-ea"/>
                    <a:cs typeface="Arial" panose="020B0604020202020204" pitchFamily="34" charset="0"/>
                  </a:rPr>
                  <a:t>%</a:t>
                </a:r>
                <a:endParaRPr kumimoji="0" lang="en-US" sz="2000" b="0" i="0" u="none" strike="noStrike" kern="1200" cap="none" spc="0" normalizeH="0" baseline="30000" noProof="0" dirty="0">
                  <a:ln>
                    <a:noFill/>
                  </a:ln>
                  <a:solidFill>
                    <a:srgbClr val="000000">
                      <a:lumMod val="85000"/>
                      <a:lumOff val="15000"/>
                    </a:srgbClr>
                  </a:solidFill>
                  <a:effectLst/>
                  <a:uLnTx/>
                  <a:uFillTx/>
                  <a:latin typeface="等线" panose="020F0502020204030204"/>
                  <a:ea typeface="+mn-ea"/>
                  <a:cs typeface="Arial" panose="020B0604020202020204" pitchFamily="34" charset="0"/>
                </a:endParaRPr>
              </a:p>
            </p:txBody>
          </p:sp>
        </p:grpSp>
        <p:grpSp>
          <p:nvGrpSpPr>
            <p:cNvPr id="48" name="Group 46">
              <a:extLst>
                <a:ext uri="{FF2B5EF4-FFF2-40B4-BE49-F238E27FC236}">
                  <a16:creationId xmlns:a16="http://schemas.microsoft.com/office/drawing/2014/main" id="{7686A2F7-CA65-4514-B73E-40FB9810FDBD}"/>
                </a:ext>
              </a:extLst>
            </p:cNvPr>
            <p:cNvGrpSpPr/>
            <p:nvPr/>
          </p:nvGrpSpPr>
          <p:grpSpPr>
            <a:xfrm>
              <a:off x="8740966" y="4470231"/>
              <a:ext cx="2629849" cy="1157340"/>
              <a:chOff x="7678371" y="1910085"/>
              <a:chExt cx="2629849" cy="1157340"/>
            </a:xfrm>
          </p:grpSpPr>
          <p:sp>
            <p:nvSpPr>
              <p:cNvPr id="49" name="TextBox 47">
                <a:extLst>
                  <a:ext uri="{FF2B5EF4-FFF2-40B4-BE49-F238E27FC236}">
                    <a16:creationId xmlns:a16="http://schemas.microsoft.com/office/drawing/2014/main" id="{D03E5497-7327-48D9-8AA6-337DC14D2764}"/>
                  </a:ext>
                </a:extLst>
              </p:cNvPr>
              <p:cNvSpPr txBox="1"/>
              <p:nvPr/>
            </p:nvSpPr>
            <p:spPr>
              <a:xfrm>
                <a:off x="7678372" y="2320754"/>
                <a:ext cx="2629848" cy="746671"/>
              </a:xfrm>
              <a:prstGeom prst="rect">
                <a:avLst/>
              </a:prstGeom>
              <a:noFill/>
            </p:spPr>
            <p:txBody>
              <a:bodyPr wrap="square" rtlCol="0">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A0A1A3"/>
                    </a:solidFill>
                    <a:effectLst/>
                    <a:uLnTx/>
                    <a:uFillTx/>
                    <a:latin typeface="等线" panose="020F0502020204030204"/>
                    <a:ea typeface="+mn-ea"/>
                    <a:cs typeface="Arial" panose="020B0604020202020204" pitchFamily="34" charset="0"/>
                  </a:rPr>
                  <a:t>A wonderful serenity has taken possession of my</a:t>
                </a:r>
              </a:p>
            </p:txBody>
          </p:sp>
          <p:sp>
            <p:nvSpPr>
              <p:cNvPr id="50" name="TextBox 48">
                <a:extLst>
                  <a:ext uri="{FF2B5EF4-FFF2-40B4-BE49-F238E27FC236}">
                    <a16:creationId xmlns:a16="http://schemas.microsoft.com/office/drawing/2014/main" id="{C9FD164F-0863-46BA-AB57-E1966542A1C4}"/>
                  </a:ext>
                </a:extLst>
              </p:cNvPr>
              <p:cNvSpPr txBox="1"/>
              <p:nvPr/>
            </p:nvSpPr>
            <p:spPr>
              <a:xfrm>
                <a:off x="7678371" y="1910085"/>
                <a:ext cx="2629849" cy="458076"/>
              </a:xfrm>
              <a:prstGeom prst="rect">
                <a:avLst/>
              </a:prstGeom>
              <a:noFill/>
            </p:spPr>
            <p:txBody>
              <a:bodyPr wrap="square" rtlCol="0">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lumMod val="85000"/>
                        <a:lumOff val="15000"/>
                      </a:srgbClr>
                    </a:solidFill>
                    <a:effectLst/>
                    <a:uLnTx/>
                    <a:uFillTx/>
                    <a:latin typeface="等线" panose="020F0502020204030204"/>
                    <a:ea typeface="+mn-ea"/>
                    <a:cs typeface="Arial" panose="020B0604020202020204" pitchFamily="34" charset="0"/>
                  </a:rPr>
                  <a:t>A wonderful serenity</a:t>
                </a:r>
              </a:p>
            </p:txBody>
          </p:sp>
        </p:grpSp>
      </p:grpSp>
      <p:grpSp>
        <p:nvGrpSpPr>
          <p:cNvPr id="53" name="Group 68">
            <a:extLst>
              <a:ext uri="{FF2B5EF4-FFF2-40B4-BE49-F238E27FC236}">
                <a16:creationId xmlns:a16="http://schemas.microsoft.com/office/drawing/2014/main" id="{A00DB280-809D-49C9-AB82-5F4B079D9505}"/>
              </a:ext>
            </a:extLst>
          </p:cNvPr>
          <p:cNvGrpSpPr/>
          <p:nvPr/>
        </p:nvGrpSpPr>
        <p:grpSpPr>
          <a:xfrm>
            <a:off x="7651689" y="4175287"/>
            <a:ext cx="3723903" cy="1569661"/>
            <a:chOff x="6828617" y="4068259"/>
            <a:chExt cx="4542198" cy="1914580"/>
          </a:xfrm>
        </p:grpSpPr>
        <p:sp>
          <p:nvSpPr>
            <p:cNvPr id="54" name="Rectangle: Rounded Corners 5">
              <a:extLst>
                <a:ext uri="{FF2B5EF4-FFF2-40B4-BE49-F238E27FC236}">
                  <a16:creationId xmlns:a16="http://schemas.microsoft.com/office/drawing/2014/main" id="{CAC7B186-7A3A-49D3-B786-01E47E3E1D82}"/>
                </a:ext>
              </a:extLst>
            </p:cNvPr>
            <p:cNvSpPr/>
            <p:nvPr/>
          </p:nvSpPr>
          <p:spPr>
            <a:xfrm>
              <a:off x="6828617" y="4130199"/>
              <a:ext cx="4510450" cy="1790702"/>
            </a:xfrm>
            <a:prstGeom prst="roundRect">
              <a:avLst>
                <a:gd name="adj" fmla="val 13635"/>
              </a:avLst>
            </a:prstGeom>
            <a:solidFill>
              <a:schemeClr val="bg1"/>
            </a:solidFill>
            <a:ln>
              <a:noFill/>
            </a:ln>
            <a:effectLst>
              <a:outerShdw blurRad="838200" dist="381000" dir="5400000" sx="95000" sy="95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等线" panose="020F0502020204030204"/>
                <a:ea typeface="+mn-ea"/>
                <a:cs typeface="+mn-cs"/>
              </a:endParaRPr>
            </a:p>
          </p:txBody>
        </p:sp>
        <p:grpSp>
          <p:nvGrpSpPr>
            <p:cNvPr id="55" name="Group 70">
              <a:extLst>
                <a:ext uri="{FF2B5EF4-FFF2-40B4-BE49-F238E27FC236}">
                  <a16:creationId xmlns:a16="http://schemas.microsoft.com/office/drawing/2014/main" id="{B360A51E-F4F4-4CC4-B832-10028D2B3D32}"/>
                </a:ext>
              </a:extLst>
            </p:cNvPr>
            <p:cNvGrpSpPr/>
            <p:nvPr/>
          </p:nvGrpSpPr>
          <p:grpSpPr>
            <a:xfrm>
              <a:off x="7006173" y="4068259"/>
              <a:ext cx="1565518" cy="1914580"/>
              <a:chOff x="7083182" y="2471710"/>
              <a:chExt cx="1565518" cy="1914580"/>
            </a:xfrm>
          </p:grpSpPr>
          <p:graphicFrame>
            <p:nvGraphicFramePr>
              <p:cNvPr id="59" name="Chart 74">
                <a:extLst>
                  <a:ext uri="{FF2B5EF4-FFF2-40B4-BE49-F238E27FC236}">
                    <a16:creationId xmlns:a16="http://schemas.microsoft.com/office/drawing/2014/main" id="{3729C40B-E396-4026-943C-4EE145874155}"/>
                  </a:ext>
                </a:extLst>
              </p:cNvPr>
              <p:cNvGraphicFramePr/>
              <p:nvPr/>
            </p:nvGraphicFramePr>
            <p:xfrm>
              <a:off x="7083182" y="2471710"/>
              <a:ext cx="1565518" cy="1914580"/>
            </p:xfrm>
            <a:graphic>
              <a:graphicData uri="http://schemas.openxmlformats.org/drawingml/2006/chart">
                <c:chart xmlns:c="http://schemas.openxmlformats.org/drawingml/2006/chart" xmlns:r="http://schemas.openxmlformats.org/officeDocument/2006/relationships" r:id="rId5"/>
              </a:graphicData>
            </a:graphic>
          </p:graphicFrame>
          <p:sp>
            <p:nvSpPr>
              <p:cNvPr id="60" name="TextBox 75">
                <a:extLst>
                  <a:ext uri="{FF2B5EF4-FFF2-40B4-BE49-F238E27FC236}">
                    <a16:creationId xmlns:a16="http://schemas.microsoft.com/office/drawing/2014/main" id="{5FB917CE-0222-4D85-BD21-2076111ED2B2}"/>
                  </a:ext>
                </a:extLst>
              </p:cNvPr>
              <p:cNvSpPr txBox="1"/>
              <p:nvPr/>
            </p:nvSpPr>
            <p:spPr>
              <a:xfrm>
                <a:off x="7215591" y="3184984"/>
                <a:ext cx="1300700" cy="4880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lumMod val="85000"/>
                        <a:lumOff val="15000"/>
                      </a:srgbClr>
                    </a:solidFill>
                    <a:effectLst/>
                    <a:uLnTx/>
                    <a:uFillTx/>
                    <a:latin typeface="等线" panose="020F0502020204030204"/>
                    <a:ea typeface="+mn-ea"/>
                    <a:cs typeface="Arial" panose="020B0604020202020204" pitchFamily="34" charset="0"/>
                  </a:rPr>
                  <a:t>78</a:t>
                </a:r>
                <a:r>
                  <a:rPr kumimoji="0" lang="en-US" sz="1800" b="0" i="0" u="none" strike="noStrike" kern="1200" cap="none" spc="0" normalizeH="0" baseline="30000" noProof="0" dirty="0">
                    <a:ln>
                      <a:noFill/>
                    </a:ln>
                    <a:solidFill>
                      <a:srgbClr val="000000">
                        <a:lumMod val="85000"/>
                        <a:lumOff val="15000"/>
                      </a:srgbClr>
                    </a:solidFill>
                    <a:effectLst/>
                    <a:uLnTx/>
                    <a:uFillTx/>
                    <a:latin typeface="等线" panose="020F0502020204030204"/>
                    <a:ea typeface="+mn-ea"/>
                    <a:cs typeface="Arial" panose="020B0604020202020204" pitchFamily="34" charset="0"/>
                  </a:rPr>
                  <a:t>%</a:t>
                </a:r>
                <a:endParaRPr kumimoji="0" lang="en-US" sz="2000" b="0" i="0" u="none" strike="noStrike" kern="1200" cap="none" spc="0" normalizeH="0" baseline="30000" noProof="0" dirty="0">
                  <a:ln>
                    <a:noFill/>
                  </a:ln>
                  <a:solidFill>
                    <a:srgbClr val="000000">
                      <a:lumMod val="85000"/>
                      <a:lumOff val="15000"/>
                    </a:srgbClr>
                  </a:solidFill>
                  <a:effectLst/>
                  <a:uLnTx/>
                  <a:uFillTx/>
                  <a:latin typeface="等线" panose="020F0502020204030204"/>
                  <a:ea typeface="+mn-ea"/>
                  <a:cs typeface="Arial" panose="020B0604020202020204" pitchFamily="34" charset="0"/>
                </a:endParaRPr>
              </a:p>
            </p:txBody>
          </p:sp>
        </p:grpSp>
        <p:grpSp>
          <p:nvGrpSpPr>
            <p:cNvPr id="56" name="Group 71">
              <a:extLst>
                <a:ext uri="{FF2B5EF4-FFF2-40B4-BE49-F238E27FC236}">
                  <a16:creationId xmlns:a16="http://schemas.microsoft.com/office/drawing/2014/main" id="{CD151386-71B9-43C9-B957-559142F6031F}"/>
                </a:ext>
              </a:extLst>
            </p:cNvPr>
            <p:cNvGrpSpPr/>
            <p:nvPr/>
          </p:nvGrpSpPr>
          <p:grpSpPr>
            <a:xfrm>
              <a:off x="8740966" y="4470231"/>
              <a:ext cx="2629849" cy="1157340"/>
              <a:chOff x="7678371" y="1910085"/>
              <a:chExt cx="2629849" cy="1157340"/>
            </a:xfrm>
          </p:grpSpPr>
          <p:sp>
            <p:nvSpPr>
              <p:cNvPr id="57" name="TextBox 72">
                <a:extLst>
                  <a:ext uri="{FF2B5EF4-FFF2-40B4-BE49-F238E27FC236}">
                    <a16:creationId xmlns:a16="http://schemas.microsoft.com/office/drawing/2014/main" id="{C44A051C-2CCE-409D-BC6C-8EA5D4A49279}"/>
                  </a:ext>
                </a:extLst>
              </p:cNvPr>
              <p:cNvSpPr txBox="1"/>
              <p:nvPr/>
            </p:nvSpPr>
            <p:spPr>
              <a:xfrm>
                <a:off x="7678372" y="2320754"/>
                <a:ext cx="2629848" cy="746671"/>
              </a:xfrm>
              <a:prstGeom prst="rect">
                <a:avLst/>
              </a:prstGeom>
              <a:noFill/>
            </p:spPr>
            <p:txBody>
              <a:bodyPr wrap="square" rtlCol="0">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A0A1A3"/>
                    </a:solidFill>
                    <a:effectLst/>
                    <a:uLnTx/>
                    <a:uFillTx/>
                    <a:latin typeface="等线" panose="020F0502020204030204"/>
                    <a:ea typeface="+mn-ea"/>
                    <a:cs typeface="Arial" panose="020B0604020202020204" pitchFamily="34" charset="0"/>
                  </a:rPr>
                  <a:t>A wonderful serenity has taken possession of my</a:t>
                </a:r>
              </a:p>
            </p:txBody>
          </p:sp>
          <p:sp>
            <p:nvSpPr>
              <p:cNvPr id="58" name="TextBox 73">
                <a:extLst>
                  <a:ext uri="{FF2B5EF4-FFF2-40B4-BE49-F238E27FC236}">
                    <a16:creationId xmlns:a16="http://schemas.microsoft.com/office/drawing/2014/main" id="{8E0ECD5E-9830-47BB-B3B1-5AE5004E2923}"/>
                  </a:ext>
                </a:extLst>
              </p:cNvPr>
              <p:cNvSpPr txBox="1"/>
              <p:nvPr/>
            </p:nvSpPr>
            <p:spPr>
              <a:xfrm>
                <a:off x="7678371" y="1910085"/>
                <a:ext cx="2629849" cy="458076"/>
              </a:xfrm>
              <a:prstGeom prst="rect">
                <a:avLst/>
              </a:prstGeom>
              <a:noFill/>
            </p:spPr>
            <p:txBody>
              <a:bodyPr wrap="square" rtlCol="0">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lumMod val="85000"/>
                        <a:lumOff val="15000"/>
                      </a:srgbClr>
                    </a:solidFill>
                    <a:effectLst/>
                    <a:uLnTx/>
                    <a:uFillTx/>
                    <a:latin typeface="等线" panose="020F0502020204030204"/>
                    <a:ea typeface="+mn-ea"/>
                    <a:cs typeface="Arial" panose="020B0604020202020204" pitchFamily="34" charset="0"/>
                  </a:rPr>
                  <a:t>A wonderful serenity</a:t>
                </a:r>
              </a:p>
            </p:txBody>
          </p:sp>
        </p:grpSp>
      </p:grpSp>
      <p:grpSp>
        <p:nvGrpSpPr>
          <p:cNvPr id="61" name="Group 77">
            <a:extLst>
              <a:ext uri="{FF2B5EF4-FFF2-40B4-BE49-F238E27FC236}">
                <a16:creationId xmlns:a16="http://schemas.microsoft.com/office/drawing/2014/main" id="{1A70296F-866D-4C12-9E0F-E5E2378C8F4D}"/>
              </a:ext>
            </a:extLst>
          </p:cNvPr>
          <p:cNvGrpSpPr/>
          <p:nvPr/>
        </p:nvGrpSpPr>
        <p:grpSpPr>
          <a:xfrm>
            <a:off x="1330276" y="2144467"/>
            <a:ext cx="2289505" cy="1375329"/>
            <a:chOff x="1509711" y="6372141"/>
            <a:chExt cx="3041935" cy="2200527"/>
          </a:xfrm>
        </p:grpSpPr>
        <p:sp>
          <p:nvSpPr>
            <p:cNvPr id="62" name="TextBox 78">
              <a:extLst>
                <a:ext uri="{FF2B5EF4-FFF2-40B4-BE49-F238E27FC236}">
                  <a16:creationId xmlns:a16="http://schemas.microsoft.com/office/drawing/2014/main" id="{CF549EDD-7D3A-4282-B5ED-276C6BD52D7A}"/>
                </a:ext>
              </a:extLst>
            </p:cNvPr>
            <p:cNvSpPr txBox="1"/>
            <p:nvPr/>
          </p:nvSpPr>
          <p:spPr>
            <a:xfrm>
              <a:off x="1509711" y="7696633"/>
              <a:ext cx="3041935" cy="876035"/>
            </a:xfrm>
            <a:prstGeom prst="rect">
              <a:avLst/>
            </a:prstGeom>
            <a:noFill/>
          </p:spPr>
          <p:txBody>
            <a:bodyPr wrap="square" rtlCol="0">
              <a:spAutoFit/>
            </a:bodyPr>
            <a:lstStyle/>
            <a:p>
              <a:pPr marL="0" marR="0" lvl="0" indent="0" algn="r" defTabSz="914400" rtl="0" eaLnBrk="1" fontAlgn="auto" latinLnBrk="0" hangingPunct="1">
                <a:lnSpc>
                  <a:spcPct val="130000"/>
                </a:lnSpc>
                <a:spcBef>
                  <a:spcPts val="750"/>
                </a:spcBef>
                <a:spcAft>
                  <a:spcPts val="0"/>
                </a:spcAft>
                <a:buClrTx/>
                <a:buSzTx/>
                <a:buFontTx/>
                <a:buNone/>
                <a:tabLst/>
                <a:defRPr/>
              </a:pPr>
              <a:r>
                <a:rPr kumimoji="0" lang="en-US" sz="1200" b="0" i="0" u="none" strike="noStrike" kern="1200" cap="none" spc="0" normalizeH="0" baseline="0" noProof="0" dirty="0">
                  <a:ln>
                    <a:noFill/>
                  </a:ln>
                  <a:solidFill>
                    <a:srgbClr val="000000">
                      <a:lumMod val="65000"/>
                      <a:lumOff val="35000"/>
                    </a:srgbClr>
                  </a:solidFill>
                  <a:effectLst/>
                  <a:uLnTx/>
                  <a:uFillTx/>
                  <a:latin typeface="等线" panose="020F0502020204030204"/>
                  <a:ea typeface="Open Sans" panose="020B0606030504020204" pitchFamily="34" charset="0"/>
                  <a:cs typeface="Segoe UI" panose="020B0502040204020203" pitchFamily="34" charset="0"/>
                </a:rPr>
                <a:t>The European languages are members of the same family. </a:t>
              </a:r>
            </a:p>
          </p:txBody>
        </p:sp>
        <p:sp>
          <p:nvSpPr>
            <p:cNvPr id="63" name="TextBox 79">
              <a:extLst>
                <a:ext uri="{FF2B5EF4-FFF2-40B4-BE49-F238E27FC236}">
                  <a16:creationId xmlns:a16="http://schemas.microsoft.com/office/drawing/2014/main" id="{B467A0F2-B0EE-4FDC-ABF7-C97938F94AA7}"/>
                </a:ext>
              </a:extLst>
            </p:cNvPr>
            <p:cNvSpPr txBox="1"/>
            <p:nvPr/>
          </p:nvSpPr>
          <p:spPr>
            <a:xfrm>
              <a:off x="1754054" y="6372141"/>
              <a:ext cx="2797592" cy="1346935"/>
            </a:xfrm>
            <a:prstGeom prst="rect">
              <a:avLst/>
            </a:prstGeom>
            <a:noFill/>
          </p:spPr>
          <p:txBody>
            <a:bodyPr wrap="square" rtlCol="0">
              <a:spAutoFit/>
            </a:bodyPr>
            <a:lstStyle/>
            <a:p>
              <a:pPr marL="0" marR="0" lvl="0" indent="0" algn="r" defTabSz="914400" rtl="0" eaLnBrk="1" fontAlgn="auto" latinLnBrk="0" hangingPunct="1">
                <a:lnSpc>
                  <a:spcPct val="110000"/>
                </a:lnSpc>
                <a:spcBef>
                  <a:spcPts val="0"/>
                </a:spcBef>
                <a:spcAft>
                  <a:spcPts val="0"/>
                </a:spcAft>
                <a:buClrTx/>
                <a:buSzTx/>
                <a:buFontTx/>
                <a:buNone/>
                <a:tabLst/>
                <a:defRPr/>
              </a:pPr>
              <a:r>
                <a:rPr kumimoji="0" lang="en-US" sz="4800" b="0" i="0" u="none" strike="noStrike" kern="1200" cap="none" spc="0" normalizeH="0" baseline="0" noProof="0" dirty="0">
                  <a:ln>
                    <a:noFill/>
                  </a:ln>
                  <a:solidFill>
                    <a:srgbClr val="FFD229"/>
                  </a:solidFill>
                  <a:effectLst/>
                  <a:uLnTx/>
                  <a:uFillTx/>
                  <a:latin typeface="等线 Light" panose="020F0302020204030204"/>
                  <a:ea typeface="+mn-ea"/>
                  <a:cs typeface="+mn-cs"/>
                </a:rPr>
                <a:t>2.8</a:t>
              </a:r>
              <a:r>
                <a:rPr kumimoji="0" lang="en-US" sz="4800" b="0" i="0" u="none" strike="noStrike" kern="1200" cap="none" spc="0" normalizeH="0" baseline="30000" noProof="0" dirty="0">
                  <a:ln>
                    <a:noFill/>
                  </a:ln>
                  <a:solidFill>
                    <a:srgbClr val="FFD229"/>
                  </a:solidFill>
                  <a:effectLst/>
                  <a:uLnTx/>
                  <a:uFillTx/>
                  <a:latin typeface="等线 Light" panose="020F0302020204030204"/>
                  <a:ea typeface="+mn-ea"/>
                  <a:cs typeface="+mn-cs"/>
                </a:rPr>
                <a:t>%</a:t>
              </a:r>
            </a:p>
          </p:txBody>
        </p:sp>
      </p:grpSp>
      <p:cxnSp>
        <p:nvCxnSpPr>
          <p:cNvPr id="64" name="Straight Connector 84">
            <a:extLst>
              <a:ext uri="{FF2B5EF4-FFF2-40B4-BE49-F238E27FC236}">
                <a16:creationId xmlns:a16="http://schemas.microsoft.com/office/drawing/2014/main" id="{582E026F-2F8F-485C-9D53-70D03AE6AB76}"/>
              </a:ext>
            </a:extLst>
          </p:cNvPr>
          <p:cNvCxnSpPr>
            <a:cxnSpLocks/>
          </p:cNvCxnSpPr>
          <p:nvPr/>
        </p:nvCxnSpPr>
        <p:spPr>
          <a:xfrm>
            <a:off x="1405194" y="3594409"/>
            <a:ext cx="2610463"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grpSp>
        <p:nvGrpSpPr>
          <p:cNvPr id="65" name="Group 86">
            <a:extLst>
              <a:ext uri="{FF2B5EF4-FFF2-40B4-BE49-F238E27FC236}">
                <a16:creationId xmlns:a16="http://schemas.microsoft.com/office/drawing/2014/main" id="{CC831331-6C52-49E4-B681-FD90DD5D4651}"/>
              </a:ext>
            </a:extLst>
          </p:cNvPr>
          <p:cNvGrpSpPr/>
          <p:nvPr/>
        </p:nvGrpSpPr>
        <p:grpSpPr>
          <a:xfrm>
            <a:off x="8432774" y="2144467"/>
            <a:ext cx="2289505" cy="1375329"/>
            <a:chOff x="1509711" y="6372141"/>
            <a:chExt cx="3041935" cy="2200527"/>
          </a:xfrm>
        </p:grpSpPr>
        <p:sp>
          <p:nvSpPr>
            <p:cNvPr id="66" name="TextBox 87">
              <a:extLst>
                <a:ext uri="{FF2B5EF4-FFF2-40B4-BE49-F238E27FC236}">
                  <a16:creationId xmlns:a16="http://schemas.microsoft.com/office/drawing/2014/main" id="{E3D82408-2421-488D-B908-0943ABF907B8}"/>
                </a:ext>
              </a:extLst>
            </p:cNvPr>
            <p:cNvSpPr txBox="1"/>
            <p:nvPr/>
          </p:nvSpPr>
          <p:spPr>
            <a:xfrm>
              <a:off x="1509711" y="7696633"/>
              <a:ext cx="3041935" cy="876035"/>
            </a:xfrm>
            <a:prstGeom prst="rect">
              <a:avLst/>
            </a:prstGeom>
            <a:noFill/>
          </p:spPr>
          <p:txBody>
            <a:bodyPr wrap="square" rtlCol="0">
              <a:spAutoFit/>
            </a:bodyPr>
            <a:lstStyle/>
            <a:p>
              <a:pPr marL="0" marR="0" lvl="0" indent="0" algn="l" defTabSz="914400" rtl="0" eaLnBrk="1" fontAlgn="auto" latinLnBrk="0" hangingPunct="1">
                <a:lnSpc>
                  <a:spcPct val="130000"/>
                </a:lnSpc>
                <a:spcBef>
                  <a:spcPts val="750"/>
                </a:spcBef>
                <a:spcAft>
                  <a:spcPts val="0"/>
                </a:spcAft>
                <a:buClrTx/>
                <a:buSzTx/>
                <a:buFontTx/>
                <a:buNone/>
                <a:tabLst/>
                <a:defRPr/>
              </a:pPr>
              <a:r>
                <a:rPr kumimoji="0" lang="en-US" sz="1200" b="0" i="0" u="none" strike="noStrike" kern="1200" cap="none" spc="0" normalizeH="0" baseline="0" noProof="0" dirty="0">
                  <a:ln>
                    <a:noFill/>
                  </a:ln>
                  <a:solidFill>
                    <a:srgbClr val="000000">
                      <a:lumMod val="65000"/>
                      <a:lumOff val="35000"/>
                    </a:srgbClr>
                  </a:solidFill>
                  <a:effectLst/>
                  <a:uLnTx/>
                  <a:uFillTx/>
                  <a:latin typeface="等线" panose="020F0502020204030204"/>
                  <a:ea typeface="Open Sans" panose="020B0606030504020204" pitchFamily="34" charset="0"/>
                  <a:cs typeface="Segoe UI" panose="020B0502040204020203" pitchFamily="34" charset="0"/>
                </a:rPr>
                <a:t>The European languages are members of the same family. </a:t>
              </a:r>
            </a:p>
          </p:txBody>
        </p:sp>
        <p:sp>
          <p:nvSpPr>
            <p:cNvPr id="67" name="TextBox 88">
              <a:extLst>
                <a:ext uri="{FF2B5EF4-FFF2-40B4-BE49-F238E27FC236}">
                  <a16:creationId xmlns:a16="http://schemas.microsoft.com/office/drawing/2014/main" id="{4DC6FCEC-766F-431C-B928-D43FB43834F0}"/>
                </a:ext>
              </a:extLst>
            </p:cNvPr>
            <p:cNvSpPr txBox="1"/>
            <p:nvPr/>
          </p:nvSpPr>
          <p:spPr>
            <a:xfrm>
              <a:off x="1509711" y="6372141"/>
              <a:ext cx="2797592" cy="1346935"/>
            </a:xfrm>
            <a:prstGeom prst="rect">
              <a:avLst/>
            </a:prstGeom>
            <a:noFill/>
          </p:spPr>
          <p:txBody>
            <a:bodyPr wrap="square" rtlCol="0">
              <a:sp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US" sz="4800" b="0" i="0" u="none" strike="noStrike" kern="1200" cap="none" spc="0" normalizeH="0" baseline="0" noProof="0" dirty="0">
                  <a:ln>
                    <a:noFill/>
                  </a:ln>
                  <a:solidFill>
                    <a:srgbClr val="FF4C38"/>
                  </a:solidFill>
                  <a:effectLst/>
                  <a:uLnTx/>
                  <a:uFillTx/>
                  <a:latin typeface="等线 Light" panose="020F0302020204030204"/>
                  <a:ea typeface="+mn-ea"/>
                  <a:cs typeface="+mn-cs"/>
                </a:rPr>
                <a:t>12.7</a:t>
              </a:r>
              <a:r>
                <a:rPr kumimoji="0" lang="en-US" sz="4800" b="0" i="0" u="none" strike="noStrike" kern="1200" cap="none" spc="0" normalizeH="0" baseline="30000" noProof="0" dirty="0">
                  <a:ln>
                    <a:noFill/>
                  </a:ln>
                  <a:solidFill>
                    <a:srgbClr val="FF4C38"/>
                  </a:solidFill>
                  <a:effectLst/>
                  <a:uLnTx/>
                  <a:uFillTx/>
                  <a:latin typeface="等线 Light" panose="020F0302020204030204"/>
                  <a:ea typeface="+mn-ea"/>
                  <a:cs typeface="+mn-cs"/>
                </a:rPr>
                <a:t>%</a:t>
              </a:r>
            </a:p>
          </p:txBody>
        </p:sp>
      </p:grpSp>
      <p:cxnSp>
        <p:nvCxnSpPr>
          <p:cNvPr id="68" name="Straight Connector 89">
            <a:extLst>
              <a:ext uri="{FF2B5EF4-FFF2-40B4-BE49-F238E27FC236}">
                <a16:creationId xmlns:a16="http://schemas.microsoft.com/office/drawing/2014/main" id="{FA4DDB80-C51F-4EDB-8FD8-4784FAEF1B23}"/>
              </a:ext>
            </a:extLst>
          </p:cNvPr>
          <p:cNvCxnSpPr>
            <a:cxnSpLocks/>
          </p:cNvCxnSpPr>
          <p:nvPr/>
        </p:nvCxnSpPr>
        <p:spPr>
          <a:xfrm>
            <a:off x="8264920" y="3594409"/>
            <a:ext cx="2610463"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44203510"/>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nodeType="withEffect">
                                  <p:stCondLst>
                                    <p:cond delay="25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1000" fill="hold"/>
                                        <p:tgtEl>
                                          <p:spTgt spid="3"/>
                                        </p:tgtEl>
                                        <p:attrNameLst>
                                          <p:attrName>ppt_x</p:attrName>
                                        </p:attrNameLst>
                                      </p:cBhvr>
                                      <p:tavLst>
                                        <p:tav tm="0">
                                          <p:val>
                                            <p:strVal val="#ppt_x"/>
                                          </p:val>
                                        </p:tav>
                                        <p:tav tm="100000">
                                          <p:val>
                                            <p:strVal val="#ppt_x"/>
                                          </p:val>
                                        </p:tav>
                                      </p:tavLst>
                                    </p:anim>
                                    <p:anim calcmode="lin" valueType="num">
                                      <p:cBhvr additive="base">
                                        <p:cTn id="8" dur="1000" fill="hold"/>
                                        <p:tgtEl>
                                          <p:spTgt spid="3"/>
                                        </p:tgtEl>
                                        <p:attrNameLst>
                                          <p:attrName>ppt_y</p:attrName>
                                        </p:attrNameLst>
                                      </p:cBhvr>
                                      <p:tavLst>
                                        <p:tav tm="0">
                                          <p:val>
                                            <p:strVal val="1+#ppt_h/2"/>
                                          </p:val>
                                        </p:tav>
                                        <p:tav tm="100000">
                                          <p:val>
                                            <p:strVal val="#ppt_y"/>
                                          </p:val>
                                        </p:tav>
                                      </p:tavLst>
                                    </p:anim>
                                  </p:childTnLst>
                                </p:cTn>
                              </p:par>
                              <p:par>
                                <p:cTn id="9" presetID="2" presetClass="entr" presetSubtype="4" decel="100000" fill="hold" grpId="0" nodeType="withEffect">
                                  <p:stCondLst>
                                    <p:cond delay="250"/>
                                  </p:stCondLst>
                                  <p:childTnLst>
                                    <p:set>
                                      <p:cBhvr>
                                        <p:cTn id="10" dur="1" fill="hold">
                                          <p:stCondLst>
                                            <p:cond delay="0"/>
                                          </p:stCondLst>
                                        </p:cTn>
                                        <p:tgtEl>
                                          <p:spTgt spid="2"/>
                                        </p:tgtEl>
                                        <p:attrNameLst>
                                          <p:attrName>style.visibility</p:attrName>
                                        </p:attrNameLst>
                                      </p:cBhvr>
                                      <p:to>
                                        <p:strVal val="visible"/>
                                      </p:to>
                                    </p:set>
                                    <p:anim calcmode="lin" valueType="num">
                                      <p:cBhvr additive="base">
                                        <p:cTn id="11" dur="1250" fill="hold"/>
                                        <p:tgtEl>
                                          <p:spTgt spid="2"/>
                                        </p:tgtEl>
                                        <p:attrNameLst>
                                          <p:attrName>ppt_x</p:attrName>
                                        </p:attrNameLst>
                                      </p:cBhvr>
                                      <p:tavLst>
                                        <p:tav tm="0">
                                          <p:val>
                                            <p:strVal val="#ppt_x"/>
                                          </p:val>
                                        </p:tav>
                                        <p:tav tm="100000">
                                          <p:val>
                                            <p:strVal val="#ppt_x"/>
                                          </p:val>
                                        </p:tav>
                                      </p:tavLst>
                                    </p:anim>
                                    <p:anim calcmode="lin" valueType="num">
                                      <p:cBhvr additive="base">
                                        <p:cTn id="12" dur="1250" fill="hold"/>
                                        <p:tgtEl>
                                          <p:spTgt spid="2"/>
                                        </p:tgtEl>
                                        <p:attrNameLst>
                                          <p:attrName>ppt_y</p:attrName>
                                        </p:attrNameLst>
                                      </p:cBhvr>
                                      <p:tavLst>
                                        <p:tav tm="0">
                                          <p:val>
                                            <p:strVal val="1+#ppt_h/2"/>
                                          </p:val>
                                        </p:tav>
                                        <p:tav tm="100000">
                                          <p:val>
                                            <p:strVal val="#ppt_y"/>
                                          </p:val>
                                        </p:tav>
                                      </p:tavLst>
                                    </p:anim>
                                  </p:childTnLst>
                                </p:cTn>
                              </p:par>
                              <p:par>
                                <p:cTn id="13" presetID="18" presetClass="entr" presetSubtype="3" fill="hold" grpId="0" nodeType="withEffect">
                                  <p:stCondLst>
                                    <p:cond delay="0"/>
                                  </p:stCondLst>
                                  <p:childTnLst>
                                    <p:set>
                                      <p:cBhvr>
                                        <p:cTn id="14" dur="1" fill="hold">
                                          <p:stCondLst>
                                            <p:cond delay="0"/>
                                          </p:stCondLst>
                                        </p:cTn>
                                        <p:tgtEl>
                                          <p:spTgt spid="44"/>
                                        </p:tgtEl>
                                        <p:attrNameLst>
                                          <p:attrName>style.visibility</p:attrName>
                                        </p:attrNameLst>
                                      </p:cBhvr>
                                      <p:to>
                                        <p:strVal val="visible"/>
                                      </p:to>
                                    </p:set>
                                    <p:animEffect transition="in" filter="strips(upRight)">
                                      <p:cBhvr>
                                        <p:cTn id="15" dur="500"/>
                                        <p:tgtEl>
                                          <p:spTgt spid="44"/>
                                        </p:tgtEl>
                                      </p:cBhvr>
                                    </p:animEffect>
                                  </p:childTnLst>
                                </p:cTn>
                              </p:par>
                              <p:par>
                                <p:cTn id="16" presetID="6" presetClass="emph" presetSubtype="0" accel="52000" decel="48000" autoRev="1" fill="hold" grpId="1" nodeType="withEffect">
                                  <p:stCondLst>
                                    <p:cond delay="0"/>
                                  </p:stCondLst>
                                  <p:childTnLst>
                                    <p:animScale>
                                      <p:cBhvr>
                                        <p:cTn id="17" dur="350" fill="hold"/>
                                        <p:tgtEl>
                                          <p:spTgt spid="44"/>
                                        </p:tgtEl>
                                      </p:cBhvr>
                                      <p:by x="110000" y="110000"/>
                                    </p:animScale>
                                  </p:childTnLst>
                                </p:cTn>
                              </p:par>
                              <p:par>
                                <p:cTn id="18" presetID="10" presetClass="entr" presetSubtype="0" fill="hold" nodeType="withEffect">
                                  <p:stCondLst>
                                    <p:cond delay="1250"/>
                                  </p:stCondLst>
                                  <p:childTnLst>
                                    <p:set>
                                      <p:cBhvr>
                                        <p:cTn id="19" dur="1" fill="hold">
                                          <p:stCondLst>
                                            <p:cond delay="0"/>
                                          </p:stCondLst>
                                        </p:cTn>
                                        <p:tgtEl>
                                          <p:spTgt spid="61"/>
                                        </p:tgtEl>
                                        <p:attrNameLst>
                                          <p:attrName>style.visibility</p:attrName>
                                        </p:attrNameLst>
                                      </p:cBhvr>
                                      <p:to>
                                        <p:strVal val="visible"/>
                                      </p:to>
                                    </p:set>
                                    <p:animEffect transition="in" filter="fade">
                                      <p:cBhvr>
                                        <p:cTn id="20" dur="500"/>
                                        <p:tgtEl>
                                          <p:spTgt spid="61"/>
                                        </p:tgtEl>
                                      </p:cBhvr>
                                    </p:animEffect>
                                  </p:childTnLst>
                                </p:cTn>
                              </p:par>
                              <p:par>
                                <p:cTn id="21" presetID="10" presetClass="entr" presetSubtype="0" fill="hold" nodeType="withEffect">
                                  <p:stCondLst>
                                    <p:cond delay="1500"/>
                                  </p:stCondLst>
                                  <p:childTnLst>
                                    <p:set>
                                      <p:cBhvr>
                                        <p:cTn id="22" dur="1" fill="hold">
                                          <p:stCondLst>
                                            <p:cond delay="0"/>
                                          </p:stCondLst>
                                        </p:cTn>
                                        <p:tgtEl>
                                          <p:spTgt spid="65"/>
                                        </p:tgtEl>
                                        <p:attrNameLst>
                                          <p:attrName>style.visibility</p:attrName>
                                        </p:attrNameLst>
                                      </p:cBhvr>
                                      <p:to>
                                        <p:strVal val="visible"/>
                                      </p:to>
                                    </p:set>
                                    <p:animEffect transition="in" filter="fade">
                                      <p:cBhvr>
                                        <p:cTn id="23" dur="500"/>
                                        <p:tgtEl>
                                          <p:spTgt spid="65"/>
                                        </p:tgtEl>
                                      </p:cBhvr>
                                    </p:animEffect>
                                  </p:childTnLst>
                                </p:cTn>
                              </p:par>
                              <p:par>
                                <p:cTn id="24" presetID="18" presetClass="entr" presetSubtype="3" fill="hold" nodeType="withEffect">
                                  <p:stCondLst>
                                    <p:cond delay="750"/>
                                  </p:stCondLst>
                                  <p:childTnLst>
                                    <p:set>
                                      <p:cBhvr>
                                        <p:cTn id="25" dur="1" fill="hold">
                                          <p:stCondLst>
                                            <p:cond delay="0"/>
                                          </p:stCondLst>
                                        </p:cTn>
                                        <p:tgtEl>
                                          <p:spTgt spid="45"/>
                                        </p:tgtEl>
                                        <p:attrNameLst>
                                          <p:attrName>style.visibility</p:attrName>
                                        </p:attrNameLst>
                                      </p:cBhvr>
                                      <p:to>
                                        <p:strVal val="visible"/>
                                      </p:to>
                                    </p:set>
                                    <p:animEffect transition="in" filter="strips(upRight)">
                                      <p:cBhvr>
                                        <p:cTn id="26" dur="500"/>
                                        <p:tgtEl>
                                          <p:spTgt spid="45"/>
                                        </p:tgtEl>
                                      </p:cBhvr>
                                    </p:animEffect>
                                  </p:childTnLst>
                                </p:cTn>
                              </p:par>
                              <p:par>
                                <p:cTn id="27" presetID="6" presetClass="emph" presetSubtype="0" accel="52000" decel="48000" autoRev="1" fill="hold" nodeType="withEffect">
                                  <p:stCondLst>
                                    <p:cond delay="750"/>
                                  </p:stCondLst>
                                  <p:childTnLst>
                                    <p:animScale>
                                      <p:cBhvr>
                                        <p:cTn id="28" dur="350" fill="hold"/>
                                        <p:tgtEl>
                                          <p:spTgt spid="45"/>
                                        </p:tgtEl>
                                      </p:cBhvr>
                                      <p:by x="110000" y="110000"/>
                                    </p:animScale>
                                  </p:childTnLst>
                                </p:cTn>
                              </p:par>
                              <p:par>
                                <p:cTn id="29" presetID="18" presetClass="entr" presetSubtype="3" fill="hold" nodeType="withEffect">
                                  <p:stCondLst>
                                    <p:cond delay="1000"/>
                                  </p:stCondLst>
                                  <p:childTnLst>
                                    <p:set>
                                      <p:cBhvr>
                                        <p:cTn id="30" dur="1" fill="hold">
                                          <p:stCondLst>
                                            <p:cond delay="0"/>
                                          </p:stCondLst>
                                        </p:cTn>
                                        <p:tgtEl>
                                          <p:spTgt spid="53"/>
                                        </p:tgtEl>
                                        <p:attrNameLst>
                                          <p:attrName>style.visibility</p:attrName>
                                        </p:attrNameLst>
                                      </p:cBhvr>
                                      <p:to>
                                        <p:strVal val="visible"/>
                                      </p:to>
                                    </p:set>
                                    <p:animEffect transition="in" filter="strips(upRight)">
                                      <p:cBhvr>
                                        <p:cTn id="31" dur="500"/>
                                        <p:tgtEl>
                                          <p:spTgt spid="53"/>
                                        </p:tgtEl>
                                      </p:cBhvr>
                                    </p:animEffect>
                                  </p:childTnLst>
                                </p:cTn>
                              </p:par>
                              <p:par>
                                <p:cTn id="32" presetID="6" presetClass="emph" presetSubtype="0" accel="52000" decel="48000" autoRev="1" fill="hold" nodeType="withEffect">
                                  <p:stCondLst>
                                    <p:cond delay="1000"/>
                                  </p:stCondLst>
                                  <p:childTnLst>
                                    <p:animScale>
                                      <p:cBhvr>
                                        <p:cTn id="33" dur="350" fill="hold"/>
                                        <p:tgtEl>
                                          <p:spTgt spid="53"/>
                                        </p:tgtEl>
                                      </p:cBhvr>
                                      <p:by x="110000" y="110000"/>
                                    </p:animScale>
                                  </p:childTnLst>
                                </p:cTn>
                              </p:par>
                              <p:par>
                                <p:cTn id="34" presetID="22" presetClass="entr" presetSubtype="8" fill="hold" nodeType="withEffect">
                                  <p:stCondLst>
                                    <p:cond delay="1500"/>
                                  </p:stCondLst>
                                  <p:childTnLst>
                                    <p:set>
                                      <p:cBhvr>
                                        <p:cTn id="35" dur="1" fill="hold">
                                          <p:stCondLst>
                                            <p:cond delay="0"/>
                                          </p:stCondLst>
                                        </p:cTn>
                                        <p:tgtEl>
                                          <p:spTgt spid="68"/>
                                        </p:tgtEl>
                                        <p:attrNameLst>
                                          <p:attrName>style.visibility</p:attrName>
                                        </p:attrNameLst>
                                      </p:cBhvr>
                                      <p:to>
                                        <p:strVal val="visible"/>
                                      </p:to>
                                    </p:set>
                                    <p:animEffect transition="in" filter="wipe(left)">
                                      <p:cBhvr>
                                        <p:cTn id="36" dur="500"/>
                                        <p:tgtEl>
                                          <p:spTgt spid="68"/>
                                        </p:tgtEl>
                                      </p:cBhvr>
                                    </p:animEffect>
                                  </p:childTnLst>
                                </p:cTn>
                              </p:par>
                              <p:par>
                                <p:cTn id="37" presetID="22" presetClass="entr" presetSubtype="2" fill="hold" nodeType="withEffect">
                                  <p:stCondLst>
                                    <p:cond delay="1250"/>
                                  </p:stCondLst>
                                  <p:childTnLst>
                                    <p:set>
                                      <p:cBhvr>
                                        <p:cTn id="38" dur="1" fill="hold">
                                          <p:stCondLst>
                                            <p:cond delay="0"/>
                                          </p:stCondLst>
                                        </p:cTn>
                                        <p:tgtEl>
                                          <p:spTgt spid="64"/>
                                        </p:tgtEl>
                                        <p:attrNameLst>
                                          <p:attrName>style.visibility</p:attrName>
                                        </p:attrNameLst>
                                      </p:cBhvr>
                                      <p:to>
                                        <p:strVal val="visible"/>
                                      </p:to>
                                    </p:set>
                                    <p:animEffect transition="in" filter="wipe(right)">
                                      <p:cBhvr>
                                        <p:cTn id="39" dur="500"/>
                                        <p:tgtEl>
                                          <p:spTgt spid="6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44" grpId="0"/>
      <p:bldP spid="44" grpId="1"/>
    </p:bldLst>
  </p:timing>
</p:sld>
</file>

<file path=ppt/slides/slide6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34">
            <a:extLst>
              <a:ext uri="{FF2B5EF4-FFF2-40B4-BE49-F238E27FC236}">
                <a16:creationId xmlns:a16="http://schemas.microsoft.com/office/drawing/2014/main" id="{EAD6BF15-A6A0-43B0-8625-B358841613B0}"/>
              </a:ext>
            </a:extLst>
          </p:cNvPr>
          <p:cNvGrpSpPr/>
          <p:nvPr/>
        </p:nvGrpSpPr>
        <p:grpSpPr>
          <a:xfrm>
            <a:off x="6482762" y="4057725"/>
            <a:ext cx="674188" cy="843595"/>
            <a:chOff x="3558323" y="1170802"/>
            <a:chExt cx="674188" cy="843594"/>
          </a:xfrm>
        </p:grpSpPr>
        <p:sp>
          <p:nvSpPr>
            <p:cNvPr id="3" name="Freeform 109">
              <a:extLst>
                <a:ext uri="{FF2B5EF4-FFF2-40B4-BE49-F238E27FC236}">
                  <a16:creationId xmlns:a16="http://schemas.microsoft.com/office/drawing/2014/main" id="{0EABC33F-8FB8-4919-8135-CB991F0F027A}"/>
                </a:ext>
              </a:extLst>
            </p:cNvPr>
            <p:cNvSpPr>
              <a:spLocks/>
            </p:cNvSpPr>
            <p:nvPr/>
          </p:nvSpPr>
          <p:spPr bwMode="auto">
            <a:xfrm>
              <a:off x="3558323" y="1170802"/>
              <a:ext cx="674188" cy="768780"/>
            </a:xfrm>
            <a:custGeom>
              <a:avLst/>
              <a:gdLst>
                <a:gd name="T0" fmla="*/ 6 w 342"/>
                <a:gd name="T1" fmla="*/ 200 h 392"/>
                <a:gd name="T2" fmla="*/ 78 w 342"/>
                <a:gd name="T3" fmla="*/ 48 h 392"/>
                <a:gd name="T4" fmla="*/ 221 w 342"/>
                <a:gd name="T5" fmla="*/ 12 h 392"/>
                <a:gd name="T6" fmla="*/ 325 w 342"/>
                <a:gd name="T7" fmla="*/ 114 h 392"/>
                <a:gd name="T8" fmla="*/ 337 w 342"/>
                <a:gd name="T9" fmla="*/ 196 h 392"/>
                <a:gd name="T10" fmla="*/ 337 w 342"/>
                <a:gd name="T11" fmla="*/ 231 h 392"/>
                <a:gd name="T12" fmla="*/ 331 w 342"/>
                <a:gd name="T13" fmla="*/ 271 h 392"/>
                <a:gd name="T14" fmla="*/ 213 w 342"/>
                <a:gd name="T15" fmla="*/ 381 h 392"/>
                <a:gd name="T16" fmla="*/ 43 w 342"/>
                <a:gd name="T17" fmla="*/ 339 h 392"/>
                <a:gd name="T18" fmla="*/ 6 w 342"/>
                <a:gd name="T19" fmla="*/ 200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2" h="392">
                  <a:moveTo>
                    <a:pt x="6" y="200"/>
                  </a:moveTo>
                  <a:cubicBezTo>
                    <a:pt x="13" y="143"/>
                    <a:pt x="30" y="88"/>
                    <a:pt x="78" y="48"/>
                  </a:cubicBezTo>
                  <a:cubicBezTo>
                    <a:pt x="115" y="17"/>
                    <a:pt x="171" y="0"/>
                    <a:pt x="221" y="12"/>
                  </a:cubicBezTo>
                  <a:cubicBezTo>
                    <a:pt x="276" y="26"/>
                    <a:pt x="307" y="70"/>
                    <a:pt x="325" y="114"/>
                  </a:cubicBezTo>
                  <a:cubicBezTo>
                    <a:pt x="335" y="140"/>
                    <a:pt x="338" y="168"/>
                    <a:pt x="337" y="196"/>
                  </a:cubicBezTo>
                  <a:cubicBezTo>
                    <a:pt x="336" y="208"/>
                    <a:pt x="342" y="220"/>
                    <a:pt x="337" y="231"/>
                  </a:cubicBezTo>
                  <a:cubicBezTo>
                    <a:pt x="336" y="244"/>
                    <a:pt x="334" y="258"/>
                    <a:pt x="331" y="271"/>
                  </a:cubicBezTo>
                  <a:cubicBezTo>
                    <a:pt x="318" y="326"/>
                    <a:pt x="277" y="369"/>
                    <a:pt x="213" y="381"/>
                  </a:cubicBezTo>
                  <a:cubicBezTo>
                    <a:pt x="154" y="392"/>
                    <a:pt x="85" y="378"/>
                    <a:pt x="43" y="339"/>
                  </a:cubicBezTo>
                  <a:cubicBezTo>
                    <a:pt x="1" y="301"/>
                    <a:pt x="0" y="249"/>
                    <a:pt x="6" y="200"/>
                  </a:cubicBezTo>
                  <a:close/>
                </a:path>
              </a:pathLst>
            </a:custGeom>
            <a:solidFill>
              <a:srgbClr val="8C1A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4" name="Freeform 110">
              <a:extLst>
                <a:ext uri="{FF2B5EF4-FFF2-40B4-BE49-F238E27FC236}">
                  <a16:creationId xmlns:a16="http://schemas.microsoft.com/office/drawing/2014/main" id="{943A0473-04C9-47FD-8D0B-38E777776D77}"/>
                </a:ext>
              </a:extLst>
            </p:cNvPr>
            <p:cNvSpPr>
              <a:spLocks/>
            </p:cNvSpPr>
            <p:nvPr/>
          </p:nvSpPr>
          <p:spPr bwMode="auto">
            <a:xfrm>
              <a:off x="3844681" y="1221538"/>
              <a:ext cx="128130" cy="62775"/>
            </a:xfrm>
            <a:custGeom>
              <a:avLst/>
              <a:gdLst>
                <a:gd name="T0" fmla="*/ 19 w 65"/>
                <a:gd name="T1" fmla="*/ 6 h 32"/>
                <a:gd name="T2" fmla="*/ 28 w 65"/>
                <a:gd name="T3" fmla="*/ 2 h 32"/>
                <a:gd name="T4" fmla="*/ 36 w 65"/>
                <a:gd name="T5" fmla="*/ 3 h 32"/>
                <a:gd name="T6" fmla="*/ 40 w 65"/>
                <a:gd name="T7" fmla="*/ 3 h 32"/>
                <a:gd name="T8" fmla="*/ 58 w 65"/>
                <a:gd name="T9" fmla="*/ 6 h 32"/>
                <a:gd name="T10" fmla="*/ 63 w 65"/>
                <a:gd name="T11" fmla="*/ 13 h 32"/>
                <a:gd name="T12" fmla="*/ 63 w 65"/>
                <a:gd name="T13" fmla="*/ 21 h 32"/>
                <a:gd name="T14" fmla="*/ 61 w 65"/>
                <a:gd name="T15" fmla="*/ 25 h 32"/>
                <a:gd name="T16" fmla="*/ 41 w 65"/>
                <a:gd name="T17" fmla="*/ 28 h 32"/>
                <a:gd name="T18" fmla="*/ 36 w 65"/>
                <a:gd name="T19" fmla="*/ 29 h 32"/>
                <a:gd name="T20" fmla="*/ 30 w 65"/>
                <a:gd name="T21" fmla="*/ 30 h 32"/>
                <a:gd name="T22" fmla="*/ 10 w 65"/>
                <a:gd name="T23" fmla="*/ 28 h 32"/>
                <a:gd name="T24" fmla="*/ 15 w 65"/>
                <a:gd name="T25" fmla="*/ 9 h 32"/>
                <a:gd name="T26" fmla="*/ 19 w 65"/>
                <a:gd name="T27"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5" h="32">
                  <a:moveTo>
                    <a:pt x="19" y="6"/>
                  </a:moveTo>
                  <a:cubicBezTo>
                    <a:pt x="22" y="5"/>
                    <a:pt x="26" y="3"/>
                    <a:pt x="28" y="2"/>
                  </a:cubicBezTo>
                  <a:cubicBezTo>
                    <a:pt x="31" y="0"/>
                    <a:pt x="34" y="1"/>
                    <a:pt x="36" y="3"/>
                  </a:cubicBezTo>
                  <a:cubicBezTo>
                    <a:pt x="37" y="3"/>
                    <a:pt x="39" y="3"/>
                    <a:pt x="40" y="3"/>
                  </a:cubicBezTo>
                  <a:cubicBezTo>
                    <a:pt x="46" y="4"/>
                    <a:pt x="52" y="5"/>
                    <a:pt x="58" y="6"/>
                  </a:cubicBezTo>
                  <a:cubicBezTo>
                    <a:pt x="62" y="7"/>
                    <a:pt x="63" y="10"/>
                    <a:pt x="63" y="13"/>
                  </a:cubicBezTo>
                  <a:cubicBezTo>
                    <a:pt x="65" y="16"/>
                    <a:pt x="65" y="19"/>
                    <a:pt x="63" y="21"/>
                  </a:cubicBezTo>
                  <a:cubicBezTo>
                    <a:pt x="63" y="23"/>
                    <a:pt x="63" y="24"/>
                    <a:pt x="61" y="25"/>
                  </a:cubicBezTo>
                  <a:cubicBezTo>
                    <a:pt x="55" y="27"/>
                    <a:pt x="48" y="28"/>
                    <a:pt x="41" y="28"/>
                  </a:cubicBezTo>
                  <a:cubicBezTo>
                    <a:pt x="39" y="29"/>
                    <a:pt x="38" y="29"/>
                    <a:pt x="36" y="29"/>
                  </a:cubicBezTo>
                  <a:cubicBezTo>
                    <a:pt x="34" y="29"/>
                    <a:pt x="32" y="30"/>
                    <a:pt x="30" y="30"/>
                  </a:cubicBezTo>
                  <a:cubicBezTo>
                    <a:pt x="23" y="32"/>
                    <a:pt x="15" y="32"/>
                    <a:pt x="10" y="28"/>
                  </a:cubicBezTo>
                  <a:cubicBezTo>
                    <a:pt x="0" y="20"/>
                    <a:pt x="6" y="13"/>
                    <a:pt x="15" y="9"/>
                  </a:cubicBezTo>
                  <a:cubicBezTo>
                    <a:pt x="16" y="7"/>
                    <a:pt x="17" y="7"/>
                    <a:pt x="19" y="6"/>
                  </a:cubicBezTo>
                  <a:close/>
                </a:path>
              </a:pathLst>
            </a:custGeom>
            <a:solidFill>
              <a:srgbClr val="3B0F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5" name="Freeform 111">
              <a:extLst>
                <a:ext uri="{FF2B5EF4-FFF2-40B4-BE49-F238E27FC236}">
                  <a16:creationId xmlns:a16="http://schemas.microsoft.com/office/drawing/2014/main" id="{CEB080CB-A160-4430-B190-8698D3672AE9}"/>
                </a:ext>
              </a:extLst>
            </p:cNvPr>
            <p:cNvSpPr>
              <a:spLocks/>
            </p:cNvSpPr>
            <p:nvPr/>
          </p:nvSpPr>
          <p:spPr bwMode="auto">
            <a:xfrm>
              <a:off x="4064824" y="1323870"/>
              <a:ext cx="92873" cy="243361"/>
            </a:xfrm>
            <a:custGeom>
              <a:avLst/>
              <a:gdLst>
                <a:gd name="T0" fmla="*/ 20 w 47"/>
                <a:gd name="T1" fmla="*/ 5 h 124"/>
                <a:gd name="T2" fmla="*/ 42 w 47"/>
                <a:gd name="T3" fmla="*/ 46 h 124"/>
                <a:gd name="T4" fmla="*/ 44 w 47"/>
                <a:gd name="T5" fmla="*/ 119 h 124"/>
                <a:gd name="T6" fmla="*/ 35 w 47"/>
                <a:gd name="T7" fmla="*/ 120 h 124"/>
                <a:gd name="T8" fmla="*/ 30 w 47"/>
                <a:gd name="T9" fmla="*/ 70 h 124"/>
                <a:gd name="T10" fmla="*/ 8 w 47"/>
                <a:gd name="T11" fmla="*/ 14 h 124"/>
                <a:gd name="T12" fmla="*/ 20 w 47"/>
                <a:gd name="T13" fmla="*/ 5 h 124"/>
              </a:gdLst>
              <a:ahLst/>
              <a:cxnLst>
                <a:cxn ang="0">
                  <a:pos x="T0" y="T1"/>
                </a:cxn>
                <a:cxn ang="0">
                  <a:pos x="T2" y="T3"/>
                </a:cxn>
                <a:cxn ang="0">
                  <a:pos x="T4" y="T5"/>
                </a:cxn>
                <a:cxn ang="0">
                  <a:pos x="T6" y="T7"/>
                </a:cxn>
                <a:cxn ang="0">
                  <a:pos x="T8" y="T9"/>
                </a:cxn>
                <a:cxn ang="0">
                  <a:pos x="T10" y="T11"/>
                </a:cxn>
                <a:cxn ang="0">
                  <a:pos x="T12" y="T13"/>
                </a:cxn>
              </a:cxnLst>
              <a:rect l="0" t="0" r="r" b="b"/>
              <a:pathLst>
                <a:path w="47" h="124">
                  <a:moveTo>
                    <a:pt x="20" y="5"/>
                  </a:moveTo>
                  <a:cubicBezTo>
                    <a:pt x="36" y="16"/>
                    <a:pt x="39" y="30"/>
                    <a:pt x="42" y="46"/>
                  </a:cubicBezTo>
                  <a:cubicBezTo>
                    <a:pt x="47" y="70"/>
                    <a:pt x="47" y="95"/>
                    <a:pt x="44" y="119"/>
                  </a:cubicBezTo>
                  <a:cubicBezTo>
                    <a:pt x="44" y="123"/>
                    <a:pt x="35" y="124"/>
                    <a:pt x="35" y="120"/>
                  </a:cubicBezTo>
                  <a:cubicBezTo>
                    <a:pt x="34" y="103"/>
                    <a:pt x="33" y="87"/>
                    <a:pt x="30" y="70"/>
                  </a:cubicBezTo>
                  <a:cubicBezTo>
                    <a:pt x="27" y="52"/>
                    <a:pt x="27" y="27"/>
                    <a:pt x="8" y="14"/>
                  </a:cubicBezTo>
                  <a:cubicBezTo>
                    <a:pt x="0" y="9"/>
                    <a:pt x="12" y="0"/>
                    <a:pt x="20" y="5"/>
                  </a:cubicBezTo>
                  <a:close/>
                </a:path>
              </a:pathLst>
            </a:custGeom>
            <a:solidFill>
              <a:srgbClr val="F8C3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6" name="Freeform 112">
              <a:extLst>
                <a:ext uri="{FF2B5EF4-FFF2-40B4-BE49-F238E27FC236}">
                  <a16:creationId xmlns:a16="http://schemas.microsoft.com/office/drawing/2014/main" id="{BA6C9B5F-305B-4779-992D-97BDB058D014}"/>
                </a:ext>
              </a:extLst>
            </p:cNvPr>
            <p:cNvSpPr>
              <a:spLocks/>
            </p:cNvSpPr>
            <p:nvPr/>
          </p:nvSpPr>
          <p:spPr bwMode="auto">
            <a:xfrm>
              <a:off x="4118140" y="1604208"/>
              <a:ext cx="31818" cy="56756"/>
            </a:xfrm>
            <a:custGeom>
              <a:avLst/>
              <a:gdLst>
                <a:gd name="T0" fmla="*/ 14 w 16"/>
                <a:gd name="T1" fmla="*/ 7 h 29"/>
                <a:gd name="T2" fmla="*/ 9 w 16"/>
                <a:gd name="T3" fmla="*/ 26 h 29"/>
                <a:gd name="T4" fmla="*/ 1 w 16"/>
                <a:gd name="T5" fmla="*/ 26 h 29"/>
                <a:gd name="T6" fmla="*/ 1 w 16"/>
                <a:gd name="T7" fmla="*/ 7 h 29"/>
                <a:gd name="T8" fmla="*/ 14 w 16"/>
                <a:gd name="T9" fmla="*/ 7 h 29"/>
              </a:gdLst>
              <a:ahLst/>
              <a:cxnLst>
                <a:cxn ang="0">
                  <a:pos x="T0" y="T1"/>
                </a:cxn>
                <a:cxn ang="0">
                  <a:pos x="T2" y="T3"/>
                </a:cxn>
                <a:cxn ang="0">
                  <a:pos x="T4" y="T5"/>
                </a:cxn>
                <a:cxn ang="0">
                  <a:pos x="T6" y="T7"/>
                </a:cxn>
                <a:cxn ang="0">
                  <a:pos x="T8" y="T9"/>
                </a:cxn>
              </a:cxnLst>
              <a:rect l="0" t="0" r="r" b="b"/>
              <a:pathLst>
                <a:path w="16" h="29">
                  <a:moveTo>
                    <a:pt x="14" y="7"/>
                  </a:moveTo>
                  <a:cubicBezTo>
                    <a:pt x="13" y="13"/>
                    <a:pt x="12" y="19"/>
                    <a:pt x="9" y="26"/>
                  </a:cubicBezTo>
                  <a:cubicBezTo>
                    <a:pt x="7" y="29"/>
                    <a:pt x="1" y="29"/>
                    <a:pt x="1" y="26"/>
                  </a:cubicBezTo>
                  <a:cubicBezTo>
                    <a:pt x="0" y="19"/>
                    <a:pt x="1" y="13"/>
                    <a:pt x="1" y="7"/>
                  </a:cubicBezTo>
                  <a:cubicBezTo>
                    <a:pt x="2" y="0"/>
                    <a:pt x="16" y="0"/>
                    <a:pt x="14" y="7"/>
                  </a:cubicBezTo>
                  <a:close/>
                </a:path>
              </a:pathLst>
            </a:custGeom>
            <a:solidFill>
              <a:srgbClr val="F8C3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7" name="Freeform 113">
              <a:extLst>
                <a:ext uri="{FF2B5EF4-FFF2-40B4-BE49-F238E27FC236}">
                  <a16:creationId xmlns:a16="http://schemas.microsoft.com/office/drawing/2014/main" id="{A2D38037-7CD0-4C72-97F1-DA97F3141EAD}"/>
                </a:ext>
              </a:extLst>
            </p:cNvPr>
            <p:cNvSpPr>
              <a:spLocks/>
            </p:cNvSpPr>
            <p:nvPr/>
          </p:nvSpPr>
          <p:spPr bwMode="auto">
            <a:xfrm>
              <a:off x="3781046" y="1808012"/>
              <a:ext cx="207244" cy="206384"/>
            </a:xfrm>
            <a:custGeom>
              <a:avLst/>
              <a:gdLst>
                <a:gd name="T0" fmla="*/ 88 w 105"/>
                <a:gd name="T1" fmla="*/ 82 h 105"/>
                <a:gd name="T2" fmla="*/ 94 w 105"/>
                <a:gd name="T3" fmla="*/ 70 h 105"/>
                <a:gd name="T4" fmla="*/ 103 w 105"/>
                <a:gd name="T5" fmla="*/ 33 h 105"/>
                <a:gd name="T6" fmla="*/ 33 w 105"/>
                <a:gd name="T7" fmla="*/ 16 h 105"/>
                <a:gd name="T8" fmla="*/ 12 w 105"/>
                <a:gd name="T9" fmla="*/ 24 h 105"/>
                <a:gd name="T10" fmla="*/ 6 w 105"/>
                <a:gd name="T11" fmla="*/ 32 h 105"/>
                <a:gd name="T12" fmla="*/ 5 w 105"/>
                <a:gd name="T13" fmla="*/ 41 h 105"/>
                <a:gd name="T14" fmla="*/ 18 w 105"/>
                <a:gd name="T15" fmla="*/ 78 h 105"/>
                <a:gd name="T16" fmla="*/ 21 w 105"/>
                <a:gd name="T17" fmla="*/ 90 h 105"/>
                <a:gd name="T18" fmla="*/ 24 w 105"/>
                <a:gd name="T19" fmla="*/ 92 h 105"/>
                <a:gd name="T20" fmla="*/ 27 w 105"/>
                <a:gd name="T21" fmla="*/ 96 h 105"/>
                <a:gd name="T22" fmla="*/ 45 w 105"/>
                <a:gd name="T23" fmla="*/ 105 h 105"/>
                <a:gd name="T24" fmla="*/ 57 w 105"/>
                <a:gd name="T25" fmla="*/ 98 h 105"/>
                <a:gd name="T26" fmla="*/ 69 w 105"/>
                <a:gd name="T27" fmla="*/ 99 h 105"/>
                <a:gd name="T28" fmla="*/ 88 w 105"/>
                <a:gd name="T29" fmla="*/ 82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5" h="105">
                  <a:moveTo>
                    <a:pt x="88" y="82"/>
                  </a:moveTo>
                  <a:cubicBezTo>
                    <a:pt x="91" y="78"/>
                    <a:pt x="93" y="74"/>
                    <a:pt x="94" y="70"/>
                  </a:cubicBezTo>
                  <a:cubicBezTo>
                    <a:pt x="100" y="59"/>
                    <a:pt x="105" y="45"/>
                    <a:pt x="103" y="33"/>
                  </a:cubicBezTo>
                  <a:cubicBezTo>
                    <a:pt x="98" y="0"/>
                    <a:pt x="58" y="11"/>
                    <a:pt x="33" y="16"/>
                  </a:cubicBezTo>
                  <a:cubicBezTo>
                    <a:pt x="25" y="17"/>
                    <a:pt x="5" y="23"/>
                    <a:pt x="12" y="24"/>
                  </a:cubicBezTo>
                  <a:cubicBezTo>
                    <a:pt x="11" y="25"/>
                    <a:pt x="7" y="31"/>
                    <a:pt x="6" y="32"/>
                  </a:cubicBezTo>
                  <a:cubicBezTo>
                    <a:pt x="0" y="31"/>
                    <a:pt x="4" y="32"/>
                    <a:pt x="5" y="41"/>
                  </a:cubicBezTo>
                  <a:cubicBezTo>
                    <a:pt x="6" y="48"/>
                    <a:pt x="14" y="66"/>
                    <a:pt x="18" y="78"/>
                  </a:cubicBezTo>
                  <a:cubicBezTo>
                    <a:pt x="16" y="82"/>
                    <a:pt x="16" y="88"/>
                    <a:pt x="21" y="90"/>
                  </a:cubicBezTo>
                  <a:cubicBezTo>
                    <a:pt x="22" y="91"/>
                    <a:pt x="23" y="92"/>
                    <a:pt x="24" y="92"/>
                  </a:cubicBezTo>
                  <a:cubicBezTo>
                    <a:pt x="24" y="94"/>
                    <a:pt x="26" y="95"/>
                    <a:pt x="27" y="96"/>
                  </a:cubicBezTo>
                  <a:cubicBezTo>
                    <a:pt x="31" y="102"/>
                    <a:pt x="37" y="104"/>
                    <a:pt x="45" y="105"/>
                  </a:cubicBezTo>
                  <a:cubicBezTo>
                    <a:pt x="50" y="105"/>
                    <a:pt x="54" y="102"/>
                    <a:pt x="57" y="98"/>
                  </a:cubicBezTo>
                  <a:cubicBezTo>
                    <a:pt x="60" y="100"/>
                    <a:pt x="64" y="100"/>
                    <a:pt x="69" y="99"/>
                  </a:cubicBezTo>
                  <a:cubicBezTo>
                    <a:pt x="80" y="97"/>
                    <a:pt x="85" y="90"/>
                    <a:pt x="88" y="82"/>
                  </a:cubicBezTo>
                  <a:close/>
                </a:path>
              </a:pathLst>
            </a:custGeom>
            <a:solidFill>
              <a:srgbClr val="3A12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grpSp>
      <p:grpSp>
        <p:nvGrpSpPr>
          <p:cNvPr id="8" name="Group 100">
            <a:extLst>
              <a:ext uri="{FF2B5EF4-FFF2-40B4-BE49-F238E27FC236}">
                <a16:creationId xmlns:a16="http://schemas.microsoft.com/office/drawing/2014/main" id="{6C3063D1-37AF-44CD-BF70-AF6750248F37}"/>
              </a:ext>
            </a:extLst>
          </p:cNvPr>
          <p:cNvGrpSpPr/>
          <p:nvPr/>
        </p:nvGrpSpPr>
        <p:grpSpPr>
          <a:xfrm>
            <a:off x="4181859" y="4147157"/>
            <a:ext cx="885732" cy="754163"/>
            <a:chOff x="4468813" y="1723641"/>
            <a:chExt cx="1635125" cy="1392238"/>
          </a:xfrm>
        </p:grpSpPr>
        <p:sp>
          <p:nvSpPr>
            <p:cNvPr id="9" name="Freeform 117">
              <a:extLst>
                <a:ext uri="{FF2B5EF4-FFF2-40B4-BE49-F238E27FC236}">
                  <a16:creationId xmlns:a16="http://schemas.microsoft.com/office/drawing/2014/main" id="{6D8C2019-A309-4592-A3C4-19DBAB6252A9}"/>
                </a:ext>
              </a:extLst>
            </p:cNvPr>
            <p:cNvSpPr>
              <a:spLocks/>
            </p:cNvSpPr>
            <p:nvPr/>
          </p:nvSpPr>
          <p:spPr bwMode="auto">
            <a:xfrm>
              <a:off x="4468813" y="1723641"/>
              <a:ext cx="1619250" cy="1338263"/>
            </a:xfrm>
            <a:custGeom>
              <a:avLst/>
              <a:gdLst>
                <a:gd name="T0" fmla="*/ 447 w 447"/>
                <a:gd name="T1" fmla="*/ 14 h 369"/>
                <a:gd name="T2" fmla="*/ 442 w 447"/>
                <a:gd name="T3" fmla="*/ 13 h 369"/>
                <a:gd name="T4" fmla="*/ 208 w 447"/>
                <a:gd name="T5" fmla="*/ 13 h 369"/>
                <a:gd name="T6" fmla="*/ 48 w 447"/>
                <a:gd name="T7" fmla="*/ 139 h 369"/>
                <a:gd name="T8" fmla="*/ 11 w 447"/>
                <a:gd name="T9" fmla="*/ 253 h 369"/>
                <a:gd name="T10" fmla="*/ 18 w 447"/>
                <a:gd name="T11" fmla="*/ 358 h 369"/>
                <a:gd name="T12" fmla="*/ 29 w 447"/>
                <a:gd name="T13" fmla="*/ 369 h 369"/>
                <a:gd name="T14" fmla="*/ 220 w 447"/>
                <a:gd name="T15" fmla="*/ 245 h 369"/>
                <a:gd name="T16" fmla="*/ 447 w 447"/>
                <a:gd name="T17" fmla="*/ 14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7" h="369">
                  <a:moveTo>
                    <a:pt x="447" y="14"/>
                  </a:moveTo>
                  <a:cubicBezTo>
                    <a:pt x="446" y="13"/>
                    <a:pt x="444" y="12"/>
                    <a:pt x="442" y="13"/>
                  </a:cubicBezTo>
                  <a:cubicBezTo>
                    <a:pt x="364" y="26"/>
                    <a:pt x="286" y="0"/>
                    <a:pt x="208" y="13"/>
                  </a:cubicBezTo>
                  <a:cubicBezTo>
                    <a:pt x="136" y="24"/>
                    <a:pt x="81" y="76"/>
                    <a:pt x="48" y="139"/>
                  </a:cubicBezTo>
                  <a:cubicBezTo>
                    <a:pt x="29" y="174"/>
                    <a:pt x="17" y="213"/>
                    <a:pt x="11" y="253"/>
                  </a:cubicBezTo>
                  <a:cubicBezTo>
                    <a:pt x="7" y="284"/>
                    <a:pt x="0" y="330"/>
                    <a:pt x="18" y="358"/>
                  </a:cubicBezTo>
                  <a:cubicBezTo>
                    <a:pt x="21" y="362"/>
                    <a:pt x="25" y="366"/>
                    <a:pt x="29" y="369"/>
                  </a:cubicBezTo>
                  <a:cubicBezTo>
                    <a:pt x="99" y="338"/>
                    <a:pt x="164" y="296"/>
                    <a:pt x="220" y="245"/>
                  </a:cubicBezTo>
                  <a:cubicBezTo>
                    <a:pt x="300" y="172"/>
                    <a:pt x="363" y="81"/>
                    <a:pt x="447" y="14"/>
                  </a:cubicBezTo>
                  <a:close/>
                </a:path>
              </a:pathLst>
            </a:custGeom>
            <a:solidFill>
              <a:srgbClr val="2C73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10" name="Freeform 118">
              <a:extLst>
                <a:ext uri="{FF2B5EF4-FFF2-40B4-BE49-F238E27FC236}">
                  <a16:creationId xmlns:a16="http://schemas.microsoft.com/office/drawing/2014/main" id="{5D9BC03A-8FAE-4BD2-9AC6-E2D6B882BF1E}"/>
                </a:ext>
              </a:extLst>
            </p:cNvPr>
            <p:cNvSpPr>
              <a:spLocks/>
            </p:cNvSpPr>
            <p:nvPr/>
          </p:nvSpPr>
          <p:spPr bwMode="auto">
            <a:xfrm>
              <a:off x="4573588" y="1774441"/>
              <a:ext cx="1530350" cy="1341438"/>
            </a:xfrm>
            <a:custGeom>
              <a:avLst/>
              <a:gdLst>
                <a:gd name="T0" fmla="*/ 418 w 422"/>
                <a:gd name="T1" fmla="*/ 0 h 370"/>
                <a:gd name="T2" fmla="*/ 191 w 422"/>
                <a:gd name="T3" fmla="*/ 231 h 370"/>
                <a:gd name="T4" fmla="*/ 0 w 422"/>
                <a:gd name="T5" fmla="*/ 355 h 370"/>
                <a:gd name="T6" fmla="*/ 8 w 422"/>
                <a:gd name="T7" fmla="*/ 359 h 370"/>
                <a:gd name="T8" fmla="*/ 18 w 422"/>
                <a:gd name="T9" fmla="*/ 365 h 370"/>
                <a:gd name="T10" fmla="*/ 26 w 422"/>
                <a:gd name="T11" fmla="*/ 368 h 370"/>
                <a:gd name="T12" fmla="*/ 33 w 422"/>
                <a:gd name="T13" fmla="*/ 368 h 370"/>
                <a:gd name="T14" fmla="*/ 52 w 422"/>
                <a:gd name="T15" fmla="*/ 365 h 370"/>
                <a:gd name="T16" fmla="*/ 56 w 422"/>
                <a:gd name="T17" fmla="*/ 365 h 370"/>
                <a:gd name="T18" fmla="*/ 212 w 422"/>
                <a:gd name="T19" fmla="*/ 360 h 370"/>
                <a:gd name="T20" fmla="*/ 333 w 422"/>
                <a:gd name="T21" fmla="*/ 306 h 370"/>
                <a:gd name="T22" fmla="*/ 402 w 422"/>
                <a:gd name="T23" fmla="*/ 188 h 370"/>
                <a:gd name="T24" fmla="*/ 417 w 422"/>
                <a:gd name="T25" fmla="*/ 38 h 370"/>
                <a:gd name="T26" fmla="*/ 418 w 422"/>
                <a:gd name="T27" fmla="*/ 9 h 370"/>
                <a:gd name="T28" fmla="*/ 418 w 422"/>
                <a:gd name="T29" fmla="*/ 0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2" h="370">
                  <a:moveTo>
                    <a:pt x="418" y="0"/>
                  </a:moveTo>
                  <a:cubicBezTo>
                    <a:pt x="334" y="67"/>
                    <a:pt x="271" y="158"/>
                    <a:pt x="191" y="231"/>
                  </a:cubicBezTo>
                  <a:cubicBezTo>
                    <a:pt x="135" y="282"/>
                    <a:pt x="70" y="324"/>
                    <a:pt x="0" y="355"/>
                  </a:cubicBezTo>
                  <a:cubicBezTo>
                    <a:pt x="2" y="357"/>
                    <a:pt x="5" y="358"/>
                    <a:pt x="8" y="359"/>
                  </a:cubicBezTo>
                  <a:cubicBezTo>
                    <a:pt x="11" y="361"/>
                    <a:pt x="14" y="363"/>
                    <a:pt x="18" y="365"/>
                  </a:cubicBezTo>
                  <a:cubicBezTo>
                    <a:pt x="20" y="367"/>
                    <a:pt x="22" y="369"/>
                    <a:pt x="26" y="368"/>
                  </a:cubicBezTo>
                  <a:cubicBezTo>
                    <a:pt x="28" y="368"/>
                    <a:pt x="30" y="368"/>
                    <a:pt x="33" y="368"/>
                  </a:cubicBezTo>
                  <a:cubicBezTo>
                    <a:pt x="39" y="368"/>
                    <a:pt x="46" y="368"/>
                    <a:pt x="52" y="365"/>
                  </a:cubicBezTo>
                  <a:cubicBezTo>
                    <a:pt x="53" y="365"/>
                    <a:pt x="54" y="365"/>
                    <a:pt x="56" y="365"/>
                  </a:cubicBezTo>
                  <a:cubicBezTo>
                    <a:pt x="108" y="367"/>
                    <a:pt x="160" y="370"/>
                    <a:pt x="212" y="360"/>
                  </a:cubicBezTo>
                  <a:cubicBezTo>
                    <a:pt x="256" y="352"/>
                    <a:pt x="298" y="334"/>
                    <a:pt x="333" y="306"/>
                  </a:cubicBezTo>
                  <a:cubicBezTo>
                    <a:pt x="370" y="276"/>
                    <a:pt x="392" y="234"/>
                    <a:pt x="402" y="188"/>
                  </a:cubicBezTo>
                  <a:cubicBezTo>
                    <a:pt x="414" y="140"/>
                    <a:pt x="418" y="89"/>
                    <a:pt x="417" y="38"/>
                  </a:cubicBezTo>
                  <a:cubicBezTo>
                    <a:pt x="418" y="29"/>
                    <a:pt x="418" y="19"/>
                    <a:pt x="418" y="9"/>
                  </a:cubicBezTo>
                  <a:cubicBezTo>
                    <a:pt x="422" y="7"/>
                    <a:pt x="421" y="3"/>
                    <a:pt x="418" y="0"/>
                  </a:cubicBezTo>
                  <a:close/>
                </a:path>
              </a:pathLst>
            </a:custGeom>
            <a:solidFill>
              <a:srgbClr val="45B6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grpSp>
      <p:sp>
        <p:nvSpPr>
          <p:cNvPr id="11" name="Freeform 123">
            <a:extLst>
              <a:ext uri="{FF2B5EF4-FFF2-40B4-BE49-F238E27FC236}">
                <a16:creationId xmlns:a16="http://schemas.microsoft.com/office/drawing/2014/main" id="{F107076B-58DA-4000-9897-2785D869B81C}"/>
              </a:ext>
            </a:extLst>
          </p:cNvPr>
          <p:cNvSpPr>
            <a:spLocks/>
          </p:cNvSpPr>
          <p:nvPr/>
        </p:nvSpPr>
        <p:spPr bwMode="auto">
          <a:xfrm>
            <a:off x="8946346" y="3959223"/>
            <a:ext cx="545999" cy="1307919"/>
          </a:xfrm>
          <a:custGeom>
            <a:avLst/>
            <a:gdLst>
              <a:gd name="T0" fmla="*/ 334 w 349"/>
              <a:gd name="T1" fmla="*/ 46 h 838"/>
              <a:gd name="T2" fmla="*/ 306 w 349"/>
              <a:gd name="T3" fmla="*/ 19 h 838"/>
              <a:gd name="T4" fmla="*/ 232 w 349"/>
              <a:gd name="T5" fmla="*/ 100 h 838"/>
              <a:gd name="T6" fmla="*/ 173 w 349"/>
              <a:gd name="T7" fmla="*/ 176 h 838"/>
              <a:gd name="T8" fmla="*/ 167 w 349"/>
              <a:gd name="T9" fmla="*/ 259 h 838"/>
              <a:gd name="T10" fmla="*/ 155 w 349"/>
              <a:gd name="T11" fmla="*/ 330 h 838"/>
              <a:gd name="T12" fmla="*/ 97 w 349"/>
              <a:gd name="T13" fmla="*/ 364 h 838"/>
              <a:gd name="T14" fmla="*/ 68 w 349"/>
              <a:gd name="T15" fmla="*/ 432 h 838"/>
              <a:gd name="T16" fmla="*/ 39 w 349"/>
              <a:gd name="T17" fmla="*/ 463 h 838"/>
              <a:gd name="T18" fmla="*/ 15 w 349"/>
              <a:gd name="T19" fmla="*/ 495 h 838"/>
              <a:gd name="T20" fmla="*/ 5 w 349"/>
              <a:gd name="T21" fmla="*/ 571 h 838"/>
              <a:gd name="T22" fmla="*/ 23 w 349"/>
              <a:gd name="T23" fmla="*/ 569 h 838"/>
              <a:gd name="T24" fmla="*/ 57 w 349"/>
              <a:gd name="T25" fmla="*/ 489 h 838"/>
              <a:gd name="T26" fmla="*/ 109 w 349"/>
              <a:gd name="T27" fmla="*/ 434 h 838"/>
              <a:gd name="T28" fmla="*/ 118 w 349"/>
              <a:gd name="T29" fmla="*/ 400 h 838"/>
              <a:gd name="T30" fmla="*/ 131 w 349"/>
              <a:gd name="T31" fmla="*/ 388 h 838"/>
              <a:gd name="T32" fmla="*/ 127 w 349"/>
              <a:gd name="T33" fmla="*/ 406 h 838"/>
              <a:gd name="T34" fmla="*/ 133 w 349"/>
              <a:gd name="T35" fmla="*/ 472 h 838"/>
              <a:gd name="T36" fmla="*/ 102 w 349"/>
              <a:gd name="T37" fmla="*/ 613 h 838"/>
              <a:gd name="T38" fmla="*/ 104 w 349"/>
              <a:gd name="T39" fmla="*/ 711 h 838"/>
              <a:gd name="T40" fmla="*/ 119 w 349"/>
              <a:gd name="T41" fmla="*/ 727 h 838"/>
              <a:gd name="T42" fmla="*/ 140 w 349"/>
              <a:gd name="T43" fmla="*/ 758 h 838"/>
              <a:gd name="T44" fmla="*/ 140 w 349"/>
              <a:gd name="T45" fmla="*/ 831 h 838"/>
              <a:gd name="T46" fmla="*/ 150 w 349"/>
              <a:gd name="T47" fmla="*/ 832 h 838"/>
              <a:gd name="T48" fmla="*/ 160 w 349"/>
              <a:gd name="T49" fmla="*/ 766 h 838"/>
              <a:gd name="T50" fmla="*/ 150 w 349"/>
              <a:gd name="T51" fmla="*/ 716 h 838"/>
              <a:gd name="T52" fmla="*/ 128 w 349"/>
              <a:gd name="T53" fmla="*/ 697 h 838"/>
              <a:gd name="T54" fmla="*/ 122 w 349"/>
              <a:gd name="T55" fmla="*/ 669 h 838"/>
              <a:gd name="T56" fmla="*/ 138 w 349"/>
              <a:gd name="T57" fmla="*/ 611 h 838"/>
              <a:gd name="T58" fmla="*/ 172 w 349"/>
              <a:gd name="T59" fmla="*/ 475 h 838"/>
              <a:gd name="T60" fmla="*/ 168 w 349"/>
              <a:gd name="T61" fmla="*/ 407 h 838"/>
              <a:gd name="T62" fmla="*/ 179 w 349"/>
              <a:gd name="T63" fmla="*/ 363 h 838"/>
              <a:gd name="T64" fmla="*/ 196 w 349"/>
              <a:gd name="T65" fmla="*/ 349 h 838"/>
              <a:gd name="T66" fmla="*/ 209 w 349"/>
              <a:gd name="T67" fmla="*/ 244 h 838"/>
              <a:gd name="T68" fmla="*/ 221 w 349"/>
              <a:gd name="T69" fmla="*/ 307 h 838"/>
              <a:gd name="T70" fmla="*/ 233 w 349"/>
              <a:gd name="T71" fmla="*/ 380 h 838"/>
              <a:gd name="T72" fmla="*/ 217 w 349"/>
              <a:gd name="T73" fmla="*/ 446 h 838"/>
              <a:gd name="T74" fmla="*/ 201 w 349"/>
              <a:gd name="T75" fmla="*/ 499 h 838"/>
              <a:gd name="T76" fmla="*/ 224 w 349"/>
              <a:gd name="T77" fmla="*/ 552 h 838"/>
              <a:gd name="T78" fmla="*/ 227 w 349"/>
              <a:gd name="T79" fmla="*/ 683 h 838"/>
              <a:gd name="T80" fmla="*/ 242 w 349"/>
              <a:gd name="T81" fmla="*/ 687 h 838"/>
              <a:gd name="T82" fmla="*/ 261 w 349"/>
              <a:gd name="T83" fmla="*/ 566 h 838"/>
              <a:gd name="T84" fmla="*/ 252 w 349"/>
              <a:gd name="T85" fmla="*/ 539 h 838"/>
              <a:gd name="T86" fmla="*/ 234 w 349"/>
              <a:gd name="T87" fmla="*/ 507 h 838"/>
              <a:gd name="T88" fmla="*/ 256 w 349"/>
              <a:gd name="T89" fmla="*/ 441 h 838"/>
              <a:gd name="T90" fmla="*/ 259 w 349"/>
              <a:gd name="T91" fmla="*/ 316 h 838"/>
              <a:gd name="T92" fmla="*/ 245 w 349"/>
              <a:gd name="T93" fmla="*/ 241 h 838"/>
              <a:gd name="T94" fmla="*/ 229 w 349"/>
              <a:gd name="T95" fmla="*/ 174 h 838"/>
              <a:gd name="T96" fmla="*/ 265 w 349"/>
              <a:gd name="T97" fmla="*/ 132 h 838"/>
              <a:gd name="T98" fmla="*/ 334 w 349"/>
              <a:gd name="T99" fmla="*/ 46 h 8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49" h="838">
                <a:moveTo>
                  <a:pt x="334" y="46"/>
                </a:moveTo>
                <a:cubicBezTo>
                  <a:pt x="349" y="27"/>
                  <a:pt x="324" y="0"/>
                  <a:pt x="306" y="19"/>
                </a:cubicBezTo>
                <a:cubicBezTo>
                  <a:pt x="282" y="46"/>
                  <a:pt x="256" y="72"/>
                  <a:pt x="232" y="100"/>
                </a:cubicBezTo>
                <a:cubicBezTo>
                  <a:pt x="211" y="123"/>
                  <a:pt x="187" y="147"/>
                  <a:pt x="173" y="176"/>
                </a:cubicBezTo>
                <a:cubicBezTo>
                  <a:pt x="160" y="203"/>
                  <a:pt x="162" y="230"/>
                  <a:pt x="167" y="259"/>
                </a:cubicBezTo>
                <a:cubicBezTo>
                  <a:pt x="172" y="285"/>
                  <a:pt x="181" y="312"/>
                  <a:pt x="155" y="330"/>
                </a:cubicBezTo>
                <a:cubicBezTo>
                  <a:pt x="137" y="343"/>
                  <a:pt x="114" y="348"/>
                  <a:pt x="97" y="364"/>
                </a:cubicBezTo>
                <a:cubicBezTo>
                  <a:pt x="75" y="383"/>
                  <a:pt x="77" y="406"/>
                  <a:pt x="68" y="432"/>
                </a:cubicBezTo>
                <a:cubicBezTo>
                  <a:pt x="64" y="446"/>
                  <a:pt x="49" y="453"/>
                  <a:pt x="39" y="463"/>
                </a:cubicBezTo>
                <a:cubicBezTo>
                  <a:pt x="29" y="472"/>
                  <a:pt x="21" y="483"/>
                  <a:pt x="15" y="495"/>
                </a:cubicBezTo>
                <a:cubicBezTo>
                  <a:pt x="3" y="519"/>
                  <a:pt x="0" y="545"/>
                  <a:pt x="5" y="571"/>
                </a:cubicBezTo>
                <a:cubicBezTo>
                  <a:pt x="8" y="582"/>
                  <a:pt x="23" y="579"/>
                  <a:pt x="23" y="569"/>
                </a:cubicBezTo>
                <a:cubicBezTo>
                  <a:pt x="24" y="539"/>
                  <a:pt x="35" y="510"/>
                  <a:pt x="57" y="489"/>
                </a:cubicBezTo>
                <a:cubicBezTo>
                  <a:pt x="76" y="470"/>
                  <a:pt x="101" y="462"/>
                  <a:pt x="109" y="434"/>
                </a:cubicBezTo>
                <a:cubicBezTo>
                  <a:pt x="112" y="423"/>
                  <a:pt x="112" y="410"/>
                  <a:pt x="118" y="400"/>
                </a:cubicBezTo>
                <a:cubicBezTo>
                  <a:pt x="122" y="395"/>
                  <a:pt x="126" y="392"/>
                  <a:pt x="131" y="388"/>
                </a:cubicBezTo>
                <a:cubicBezTo>
                  <a:pt x="130" y="394"/>
                  <a:pt x="128" y="400"/>
                  <a:pt x="127" y="406"/>
                </a:cubicBezTo>
                <a:cubicBezTo>
                  <a:pt x="122" y="428"/>
                  <a:pt x="131" y="449"/>
                  <a:pt x="133" y="472"/>
                </a:cubicBezTo>
                <a:cubicBezTo>
                  <a:pt x="137" y="520"/>
                  <a:pt x="117" y="567"/>
                  <a:pt x="102" y="613"/>
                </a:cubicBezTo>
                <a:cubicBezTo>
                  <a:pt x="92" y="643"/>
                  <a:pt x="84" y="682"/>
                  <a:pt x="104" y="711"/>
                </a:cubicBezTo>
                <a:cubicBezTo>
                  <a:pt x="108" y="717"/>
                  <a:pt x="113" y="722"/>
                  <a:pt x="119" y="727"/>
                </a:cubicBezTo>
                <a:cubicBezTo>
                  <a:pt x="132" y="736"/>
                  <a:pt x="139" y="741"/>
                  <a:pt x="140" y="758"/>
                </a:cubicBezTo>
                <a:cubicBezTo>
                  <a:pt x="143" y="782"/>
                  <a:pt x="142" y="807"/>
                  <a:pt x="140" y="831"/>
                </a:cubicBezTo>
                <a:cubicBezTo>
                  <a:pt x="139" y="837"/>
                  <a:pt x="149" y="838"/>
                  <a:pt x="150" y="832"/>
                </a:cubicBezTo>
                <a:cubicBezTo>
                  <a:pt x="155" y="810"/>
                  <a:pt x="158" y="788"/>
                  <a:pt x="160" y="766"/>
                </a:cubicBezTo>
                <a:cubicBezTo>
                  <a:pt x="161" y="749"/>
                  <a:pt x="163" y="729"/>
                  <a:pt x="150" y="716"/>
                </a:cubicBezTo>
                <a:cubicBezTo>
                  <a:pt x="143" y="709"/>
                  <a:pt x="133" y="705"/>
                  <a:pt x="128" y="697"/>
                </a:cubicBezTo>
                <a:cubicBezTo>
                  <a:pt x="123" y="689"/>
                  <a:pt x="122" y="679"/>
                  <a:pt x="122" y="669"/>
                </a:cubicBezTo>
                <a:cubicBezTo>
                  <a:pt x="123" y="649"/>
                  <a:pt x="131" y="630"/>
                  <a:pt x="138" y="611"/>
                </a:cubicBezTo>
                <a:cubicBezTo>
                  <a:pt x="154" y="567"/>
                  <a:pt x="173" y="523"/>
                  <a:pt x="172" y="475"/>
                </a:cubicBezTo>
                <a:cubicBezTo>
                  <a:pt x="171" y="453"/>
                  <a:pt x="161" y="429"/>
                  <a:pt x="168" y="407"/>
                </a:cubicBezTo>
                <a:cubicBezTo>
                  <a:pt x="173" y="392"/>
                  <a:pt x="180" y="378"/>
                  <a:pt x="179" y="363"/>
                </a:cubicBezTo>
                <a:cubicBezTo>
                  <a:pt x="185" y="359"/>
                  <a:pt x="191" y="355"/>
                  <a:pt x="196" y="349"/>
                </a:cubicBezTo>
                <a:cubicBezTo>
                  <a:pt x="225" y="317"/>
                  <a:pt x="212" y="280"/>
                  <a:pt x="209" y="244"/>
                </a:cubicBezTo>
                <a:cubicBezTo>
                  <a:pt x="213" y="265"/>
                  <a:pt x="217" y="286"/>
                  <a:pt x="221" y="307"/>
                </a:cubicBezTo>
                <a:cubicBezTo>
                  <a:pt x="226" y="331"/>
                  <a:pt x="232" y="355"/>
                  <a:pt x="233" y="380"/>
                </a:cubicBezTo>
                <a:cubicBezTo>
                  <a:pt x="234" y="404"/>
                  <a:pt x="228" y="424"/>
                  <a:pt x="217" y="446"/>
                </a:cubicBezTo>
                <a:cubicBezTo>
                  <a:pt x="209" y="463"/>
                  <a:pt x="201" y="480"/>
                  <a:pt x="201" y="499"/>
                </a:cubicBezTo>
                <a:cubicBezTo>
                  <a:pt x="201" y="520"/>
                  <a:pt x="214" y="534"/>
                  <a:pt x="224" y="552"/>
                </a:cubicBezTo>
                <a:cubicBezTo>
                  <a:pt x="246" y="592"/>
                  <a:pt x="237" y="641"/>
                  <a:pt x="227" y="683"/>
                </a:cubicBezTo>
                <a:cubicBezTo>
                  <a:pt x="225" y="693"/>
                  <a:pt x="239" y="696"/>
                  <a:pt x="242" y="687"/>
                </a:cubicBezTo>
                <a:cubicBezTo>
                  <a:pt x="254" y="649"/>
                  <a:pt x="269" y="607"/>
                  <a:pt x="261" y="566"/>
                </a:cubicBezTo>
                <a:cubicBezTo>
                  <a:pt x="260" y="557"/>
                  <a:pt x="256" y="547"/>
                  <a:pt x="252" y="539"/>
                </a:cubicBezTo>
                <a:cubicBezTo>
                  <a:pt x="247" y="528"/>
                  <a:pt x="238" y="519"/>
                  <a:pt x="234" y="507"/>
                </a:cubicBezTo>
                <a:cubicBezTo>
                  <a:pt x="228" y="485"/>
                  <a:pt x="247" y="461"/>
                  <a:pt x="256" y="441"/>
                </a:cubicBezTo>
                <a:cubicBezTo>
                  <a:pt x="274" y="401"/>
                  <a:pt x="266" y="358"/>
                  <a:pt x="259" y="316"/>
                </a:cubicBezTo>
                <a:cubicBezTo>
                  <a:pt x="254" y="291"/>
                  <a:pt x="250" y="266"/>
                  <a:pt x="245" y="241"/>
                </a:cubicBezTo>
                <a:cubicBezTo>
                  <a:pt x="241" y="220"/>
                  <a:pt x="240" y="194"/>
                  <a:pt x="229" y="174"/>
                </a:cubicBezTo>
                <a:cubicBezTo>
                  <a:pt x="240" y="159"/>
                  <a:pt x="254" y="145"/>
                  <a:pt x="265" y="132"/>
                </a:cubicBezTo>
                <a:cubicBezTo>
                  <a:pt x="289" y="104"/>
                  <a:pt x="311" y="75"/>
                  <a:pt x="334" y="46"/>
                </a:cubicBezTo>
                <a:close/>
              </a:path>
            </a:pathLst>
          </a:custGeom>
          <a:solidFill>
            <a:srgbClr val="4724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12" name="TextBox 40">
            <a:extLst>
              <a:ext uri="{FF2B5EF4-FFF2-40B4-BE49-F238E27FC236}">
                <a16:creationId xmlns:a16="http://schemas.microsoft.com/office/drawing/2014/main" id="{7627F077-FA5D-4629-B313-79B173E5361E}"/>
              </a:ext>
            </a:extLst>
          </p:cNvPr>
          <p:cNvSpPr txBox="1"/>
          <p:nvPr/>
        </p:nvSpPr>
        <p:spPr>
          <a:xfrm>
            <a:off x="4181861" y="1194956"/>
            <a:ext cx="4918775"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000000">
                    <a:lumMod val="85000"/>
                    <a:lumOff val="15000"/>
                  </a:srgbClr>
                </a:solidFill>
                <a:effectLst/>
                <a:uLnTx/>
                <a:uFillTx/>
                <a:latin typeface="等线 Light" panose="020F0302020204030204"/>
                <a:ea typeface="+mn-ea"/>
                <a:cs typeface="+mn-cs"/>
              </a:rPr>
              <a:t>INFOGRAPHIC</a:t>
            </a:r>
            <a:r>
              <a:rPr kumimoji="0" lang="en-US" sz="3200" b="1" i="0" u="none" strike="noStrike" kern="1200" cap="none" spc="0" normalizeH="0" baseline="0" noProof="0" dirty="0">
                <a:ln>
                  <a:noFill/>
                </a:ln>
                <a:solidFill>
                  <a:srgbClr val="000000">
                    <a:lumMod val="85000"/>
                    <a:lumOff val="15000"/>
                  </a:srgbClr>
                </a:solidFill>
                <a:effectLst/>
                <a:uLnTx/>
                <a:uFillTx/>
                <a:latin typeface="等线" panose="020F0502020204030204"/>
                <a:ea typeface="+mn-ea"/>
                <a:cs typeface="+mn-cs"/>
              </a:rPr>
              <a:t> </a:t>
            </a:r>
            <a:r>
              <a:rPr kumimoji="0" lang="en-US" sz="3200" b="1" i="0" u="none" strike="noStrike" kern="1200" cap="none" spc="0" normalizeH="0" baseline="0" noProof="0" dirty="0">
                <a:ln>
                  <a:noFill/>
                </a:ln>
                <a:solidFill>
                  <a:srgbClr val="000000">
                    <a:lumMod val="85000"/>
                    <a:lumOff val="15000"/>
                  </a:srgbClr>
                </a:solidFill>
                <a:effectLst/>
                <a:uLnTx/>
                <a:uFillTx/>
                <a:latin typeface="等线 Light" panose="020F0302020204030204"/>
                <a:ea typeface="+mn-ea"/>
                <a:cs typeface="+mn-cs"/>
              </a:rPr>
              <a:t>TREE</a:t>
            </a:r>
          </a:p>
        </p:txBody>
      </p:sp>
      <p:grpSp>
        <p:nvGrpSpPr>
          <p:cNvPr id="13" name="Group 135">
            <a:extLst>
              <a:ext uri="{FF2B5EF4-FFF2-40B4-BE49-F238E27FC236}">
                <a16:creationId xmlns:a16="http://schemas.microsoft.com/office/drawing/2014/main" id="{84930E6F-1D40-46F9-897B-843CCF1DE2F9}"/>
              </a:ext>
            </a:extLst>
          </p:cNvPr>
          <p:cNvGrpSpPr/>
          <p:nvPr/>
        </p:nvGrpSpPr>
        <p:grpSpPr>
          <a:xfrm>
            <a:off x="1150453" y="708858"/>
            <a:ext cx="1825625" cy="6132809"/>
            <a:chOff x="1222375" y="782885"/>
            <a:chExt cx="1571626" cy="5279552"/>
          </a:xfrm>
        </p:grpSpPr>
        <p:sp>
          <p:nvSpPr>
            <p:cNvPr id="14" name="Freeform 43">
              <a:extLst>
                <a:ext uri="{FF2B5EF4-FFF2-40B4-BE49-F238E27FC236}">
                  <a16:creationId xmlns:a16="http://schemas.microsoft.com/office/drawing/2014/main" id="{02926D99-E02E-48E4-B632-973C6C4A6AC9}"/>
                </a:ext>
              </a:extLst>
            </p:cNvPr>
            <p:cNvSpPr>
              <a:spLocks/>
            </p:cNvSpPr>
            <p:nvPr/>
          </p:nvSpPr>
          <p:spPr bwMode="auto">
            <a:xfrm>
              <a:off x="1860505" y="1756336"/>
              <a:ext cx="432144" cy="401470"/>
            </a:xfrm>
            <a:custGeom>
              <a:avLst/>
              <a:gdLst>
                <a:gd name="T0" fmla="*/ 11 w 210"/>
                <a:gd name="T1" fmla="*/ 128 h 196"/>
                <a:gd name="T2" fmla="*/ 3 w 210"/>
                <a:gd name="T3" fmla="*/ 146 h 196"/>
                <a:gd name="T4" fmla="*/ 4 w 210"/>
                <a:gd name="T5" fmla="*/ 167 h 196"/>
                <a:gd name="T6" fmla="*/ 6 w 210"/>
                <a:gd name="T7" fmla="*/ 187 h 196"/>
                <a:gd name="T8" fmla="*/ 23 w 210"/>
                <a:gd name="T9" fmla="*/ 187 h 196"/>
                <a:gd name="T10" fmla="*/ 24 w 210"/>
                <a:gd name="T11" fmla="*/ 184 h 196"/>
                <a:gd name="T12" fmla="*/ 41 w 210"/>
                <a:gd name="T13" fmla="*/ 184 h 196"/>
                <a:gd name="T14" fmla="*/ 44 w 210"/>
                <a:gd name="T15" fmla="*/ 184 h 196"/>
                <a:gd name="T16" fmla="*/ 153 w 210"/>
                <a:gd name="T17" fmla="*/ 132 h 196"/>
                <a:gd name="T18" fmla="*/ 204 w 210"/>
                <a:gd name="T19" fmla="*/ 47 h 196"/>
                <a:gd name="T20" fmla="*/ 207 w 210"/>
                <a:gd name="T21" fmla="*/ 40 h 196"/>
                <a:gd name="T22" fmla="*/ 203 w 210"/>
                <a:gd name="T23" fmla="*/ 17 h 196"/>
                <a:gd name="T24" fmla="*/ 202 w 210"/>
                <a:gd name="T25" fmla="*/ 10 h 196"/>
                <a:gd name="T26" fmla="*/ 200 w 210"/>
                <a:gd name="T27" fmla="*/ 6 h 196"/>
                <a:gd name="T28" fmla="*/ 194 w 210"/>
                <a:gd name="T29" fmla="*/ 1 h 196"/>
                <a:gd name="T30" fmla="*/ 57 w 210"/>
                <a:gd name="T31" fmla="*/ 55 h 196"/>
                <a:gd name="T32" fmla="*/ 11 w 210"/>
                <a:gd name="T33" fmla="*/ 128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0" h="196">
                  <a:moveTo>
                    <a:pt x="11" y="128"/>
                  </a:moveTo>
                  <a:cubicBezTo>
                    <a:pt x="8" y="134"/>
                    <a:pt x="5" y="140"/>
                    <a:pt x="3" y="146"/>
                  </a:cubicBezTo>
                  <a:cubicBezTo>
                    <a:pt x="0" y="154"/>
                    <a:pt x="1" y="161"/>
                    <a:pt x="4" y="167"/>
                  </a:cubicBezTo>
                  <a:cubicBezTo>
                    <a:pt x="4" y="174"/>
                    <a:pt x="5" y="181"/>
                    <a:pt x="6" y="187"/>
                  </a:cubicBezTo>
                  <a:cubicBezTo>
                    <a:pt x="8" y="196"/>
                    <a:pt x="20" y="195"/>
                    <a:pt x="23" y="187"/>
                  </a:cubicBezTo>
                  <a:cubicBezTo>
                    <a:pt x="23" y="186"/>
                    <a:pt x="24" y="185"/>
                    <a:pt x="24" y="184"/>
                  </a:cubicBezTo>
                  <a:cubicBezTo>
                    <a:pt x="30" y="185"/>
                    <a:pt x="35" y="186"/>
                    <a:pt x="41" y="184"/>
                  </a:cubicBezTo>
                  <a:cubicBezTo>
                    <a:pt x="42" y="184"/>
                    <a:pt x="43" y="184"/>
                    <a:pt x="44" y="184"/>
                  </a:cubicBezTo>
                  <a:cubicBezTo>
                    <a:pt x="84" y="183"/>
                    <a:pt x="124" y="156"/>
                    <a:pt x="153" y="132"/>
                  </a:cubicBezTo>
                  <a:cubicBezTo>
                    <a:pt x="180" y="109"/>
                    <a:pt x="200" y="80"/>
                    <a:pt x="204" y="47"/>
                  </a:cubicBezTo>
                  <a:cubicBezTo>
                    <a:pt x="205" y="45"/>
                    <a:pt x="206" y="42"/>
                    <a:pt x="207" y="40"/>
                  </a:cubicBezTo>
                  <a:cubicBezTo>
                    <a:pt x="210" y="31"/>
                    <a:pt x="208" y="23"/>
                    <a:pt x="203" y="17"/>
                  </a:cubicBezTo>
                  <a:cubicBezTo>
                    <a:pt x="203" y="15"/>
                    <a:pt x="203" y="12"/>
                    <a:pt x="202" y="10"/>
                  </a:cubicBezTo>
                  <a:cubicBezTo>
                    <a:pt x="202" y="8"/>
                    <a:pt x="201" y="7"/>
                    <a:pt x="200" y="6"/>
                  </a:cubicBezTo>
                  <a:cubicBezTo>
                    <a:pt x="199" y="3"/>
                    <a:pt x="197" y="2"/>
                    <a:pt x="194" y="1"/>
                  </a:cubicBezTo>
                  <a:cubicBezTo>
                    <a:pt x="143" y="0"/>
                    <a:pt x="93" y="19"/>
                    <a:pt x="57" y="55"/>
                  </a:cubicBezTo>
                  <a:cubicBezTo>
                    <a:pt x="39" y="73"/>
                    <a:pt x="21" y="100"/>
                    <a:pt x="11" y="128"/>
                  </a:cubicBezTo>
                  <a:close/>
                </a:path>
              </a:pathLst>
            </a:custGeom>
            <a:solidFill>
              <a:srgbClr val="384F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15" name="Freeform 44">
              <a:extLst>
                <a:ext uri="{FF2B5EF4-FFF2-40B4-BE49-F238E27FC236}">
                  <a16:creationId xmlns:a16="http://schemas.microsoft.com/office/drawing/2014/main" id="{7979216C-85B5-4BEA-86EE-2FEA047AEB96}"/>
                </a:ext>
              </a:extLst>
            </p:cNvPr>
            <p:cNvSpPr>
              <a:spLocks/>
            </p:cNvSpPr>
            <p:nvPr/>
          </p:nvSpPr>
          <p:spPr bwMode="auto">
            <a:xfrm>
              <a:off x="1870429" y="1372008"/>
              <a:ext cx="240882" cy="208403"/>
            </a:xfrm>
            <a:custGeom>
              <a:avLst/>
              <a:gdLst>
                <a:gd name="T0" fmla="*/ 3 w 117"/>
                <a:gd name="T1" fmla="*/ 85 h 102"/>
                <a:gd name="T2" fmla="*/ 12 w 117"/>
                <a:gd name="T3" fmla="*/ 101 h 102"/>
                <a:gd name="T4" fmla="*/ 115 w 117"/>
                <a:gd name="T5" fmla="*/ 36 h 102"/>
                <a:gd name="T6" fmla="*/ 114 w 117"/>
                <a:gd name="T7" fmla="*/ 25 h 102"/>
                <a:gd name="T8" fmla="*/ 107 w 117"/>
                <a:gd name="T9" fmla="*/ 13 h 102"/>
                <a:gd name="T10" fmla="*/ 3 w 117"/>
                <a:gd name="T11" fmla="*/ 85 h 102"/>
              </a:gdLst>
              <a:ahLst/>
              <a:cxnLst>
                <a:cxn ang="0">
                  <a:pos x="T0" y="T1"/>
                </a:cxn>
                <a:cxn ang="0">
                  <a:pos x="T2" y="T3"/>
                </a:cxn>
                <a:cxn ang="0">
                  <a:pos x="T4" y="T5"/>
                </a:cxn>
                <a:cxn ang="0">
                  <a:pos x="T6" y="T7"/>
                </a:cxn>
                <a:cxn ang="0">
                  <a:pos x="T8" y="T9"/>
                </a:cxn>
                <a:cxn ang="0">
                  <a:pos x="T10" y="T11"/>
                </a:cxn>
              </a:cxnLst>
              <a:rect l="0" t="0" r="r" b="b"/>
              <a:pathLst>
                <a:path w="117" h="102">
                  <a:moveTo>
                    <a:pt x="3" y="85"/>
                  </a:moveTo>
                  <a:cubicBezTo>
                    <a:pt x="0" y="92"/>
                    <a:pt x="4" y="102"/>
                    <a:pt x="12" y="101"/>
                  </a:cubicBezTo>
                  <a:cubicBezTo>
                    <a:pt x="56" y="100"/>
                    <a:pt x="95" y="75"/>
                    <a:pt x="115" y="36"/>
                  </a:cubicBezTo>
                  <a:cubicBezTo>
                    <a:pt x="117" y="32"/>
                    <a:pt x="116" y="28"/>
                    <a:pt x="114" y="25"/>
                  </a:cubicBezTo>
                  <a:cubicBezTo>
                    <a:pt x="115" y="20"/>
                    <a:pt x="113" y="15"/>
                    <a:pt x="107" y="13"/>
                  </a:cubicBezTo>
                  <a:cubicBezTo>
                    <a:pt x="62" y="0"/>
                    <a:pt x="21" y="50"/>
                    <a:pt x="3" y="85"/>
                  </a:cubicBezTo>
                  <a:close/>
                </a:path>
              </a:pathLst>
            </a:custGeom>
            <a:solidFill>
              <a:srgbClr val="63B76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16" name="Freeform 45">
              <a:extLst>
                <a:ext uri="{FF2B5EF4-FFF2-40B4-BE49-F238E27FC236}">
                  <a16:creationId xmlns:a16="http://schemas.microsoft.com/office/drawing/2014/main" id="{E5ACB935-9A01-46AC-9D2C-6D4A8AEB0693}"/>
                </a:ext>
              </a:extLst>
            </p:cNvPr>
            <p:cNvSpPr>
              <a:spLocks/>
            </p:cNvSpPr>
            <p:nvPr/>
          </p:nvSpPr>
          <p:spPr bwMode="auto">
            <a:xfrm>
              <a:off x="1802766" y="1152779"/>
              <a:ext cx="213817" cy="145251"/>
            </a:xfrm>
            <a:custGeom>
              <a:avLst/>
              <a:gdLst>
                <a:gd name="T0" fmla="*/ 50 w 104"/>
                <a:gd name="T1" fmla="*/ 67 h 71"/>
                <a:gd name="T2" fmla="*/ 94 w 104"/>
                <a:gd name="T3" fmla="*/ 56 h 71"/>
                <a:gd name="T4" fmla="*/ 102 w 104"/>
                <a:gd name="T5" fmla="*/ 38 h 71"/>
                <a:gd name="T6" fmla="*/ 14 w 104"/>
                <a:gd name="T7" fmla="*/ 12 h 71"/>
                <a:gd name="T8" fmla="*/ 11 w 104"/>
                <a:gd name="T9" fmla="*/ 14 h 71"/>
                <a:gd name="T10" fmla="*/ 5 w 104"/>
                <a:gd name="T11" fmla="*/ 29 h 71"/>
                <a:gd name="T12" fmla="*/ 50 w 104"/>
                <a:gd name="T13" fmla="*/ 67 h 71"/>
              </a:gdLst>
              <a:ahLst/>
              <a:cxnLst>
                <a:cxn ang="0">
                  <a:pos x="T0" y="T1"/>
                </a:cxn>
                <a:cxn ang="0">
                  <a:pos x="T2" y="T3"/>
                </a:cxn>
                <a:cxn ang="0">
                  <a:pos x="T4" y="T5"/>
                </a:cxn>
                <a:cxn ang="0">
                  <a:pos x="T6" y="T7"/>
                </a:cxn>
                <a:cxn ang="0">
                  <a:pos x="T8" y="T9"/>
                </a:cxn>
                <a:cxn ang="0">
                  <a:pos x="T10" y="T11"/>
                </a:cxn>
                <a:cxn ang="0">
                  <a:pos x="T12" y="T13"/>
                </a:cxn>
              </a:cxnLst>
              <a:rect l="0" t="0" r="r" b="b"/>
              <a:pathLst>
                <a:path w="104" h="71">
                  <a:moveTo>
                    <a:pt x="50" y="67"/>
                  </a:moveTo>
                  <a:cubicBezTo>
                    <a:pt x="65" y="71"/>
                    <a:pt x="86" y="71"/>
                    <a:pt x="94" y="56"/>
                  </a:cubicBezTo>
                  <a:cubicBezTo>
                    <a:pt x="100" y="53"/>
                    <a:pt x="104" y="46"/>
                    <a:pt x="102" y="38"/>
                  </a:cubicBezTo>
                  <a:cubicBezTo>
                    <a:pt x="91" y="3"/>
                    <a:pt x="41" y="0"/>
                    <a:pt x="14" y="12"/>
                  </a:cubicBezTo>
                  <a:cubicBezTo>
                    <a:pt x="12" y="13"/>
                    <a:pt x="12" y="14"/>
                    <a:pt x="11" y="14"/>
                  </a:cubicBezTo>
                  <a:cubicBezTo>
                    <a:pt x="5" y="16"/>
                    <a:pt x="0" y="23"/>
                    <a:pt x="5" y="29"/>
                  </a:cubicBezTo>
                  <a:cubicBezTo>
                    <a:pt x="16" y="45"/>
                    <a:pt x="30" y="61"/>
                    <a:pt x="50" y="67"/>
                  </a:cubicBezTo>
                  <a:close/>
                </a:path>
              </a:pathLst>
            </a:custGeom>
            <a:solidFill>
              <a:srgbClr val="98D0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17" name="Freeform 46">
              <a:extLst>
                <a:ext uri="{FF2B5EF4-FFF2-40B4-BE49-F238E27FC236}">
                  <a16:creationId xmlns:a16="http://schemas.microsoft.com/office/drawing/2014/main" id="{9DC4170A-D8E2-4733-BA12-B3AEBBB1CD2C}"/>
                </a:ext>
              </a:extLst>
            </p:cNvPr>
            <p:cNvSpPr>
              <a:spLocks noEditPoints="1"/>
            </p:cNvSpPr>
            <p:nvPr/>
          </p:nvSpPr>
          <p:spPr bwMode="auto">
            <a:xfrm>
              <a:off x="1617819" y="1408997"/>
              <a:ext cx="277871" cy="294110"/>
            </a:xfrm>
            <a:custGeom>
              <a:avLst/>
              <a:gdLst>
                <a:gd name="T0" fmla="*/ 1 w 135"/>
                <a:gd name="T1" fmla="*/ 13 h 144"/>
                <a:gd name="T2" fmla="*/ 51 w 135"/>
                <a:gd name="T3" fmla="*/ 102 h 144"/>
                <a:gd name="T4" fmla="*/ 128 w 135"/>
                <a:gd name="T5" fmla="*/ 121 h 144"/>
                <a:gd name="T6" fmla="*/ 129 w 135"/>
                <a:gd name="T7" fmla="*/ 118 h 144"/>
                <a:gd name="T8" fmla="*/ 130 w 135"/>
                <a:gd name="T9" fmla="*/ 116 h 144"/>
                <a:gd name="T10" fmla="*/ 94 w 135"/>
                <a:gd name="T11" fmla="*/ 44 h 144"/>
                <a:gd name="T12" fmla="*/ 13 w 135"/>
                <a:gd name="T13" fmla="*/ 1 h 144"/>
                <a:gd name="T14" fmla="*/ 1 w 135"/>
                <a:gd name="T15" fmla="*/ 8 h 144"/>
                <a:gd name="T16" fmla="*/ 1 w 135"/>
                <a:gd name="T17" fmla="*/ 13 h 144"/>
                <a:gd name="T18" fmla="*/ 119 w 135"/>
                <a:gd name="T19" fmla="*/ 112 h 144"/>
                <a:gd name="T20" fmla="*/ 120 w 135"/>
                <a:gd name="T21" fmla="*/ 113 h 144"/>
                <a:gd name="T22" fmla="*/ 119 w 135"/>
                <a:gd name="T23" fmla="*/ 113 h 144"/>
                <a:gd name="T24" fmla="*/ 119 w 135"/>
                <a:gd name="T25" fmla="*/ 11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5" h="144">
                  <a:moveTo>
                    <a:pt x="1" y="13"/>
                  </a:moveTo>
                  <a:cubicBezTo>
                    <a:pt x="9" y="46"/>
                    <a:pt x="25" y="78"/>
                    <a:pt x="51" y="102"/>
                  </a:cubicBezTo>
                  <a:cubicBezTo>
                    <a:pt x="67" y="117"/>
                    <a:pt x="108" y="144"/>
                    <a:pt x="128" y="121"/>
                  </a:cubicBezTo>
                  <a:cubicBezTo>
                    <a:pt x="129" y="120"/>
                    <a:pt x="129" y="119"/>
                    <a:pt x="129" y="118"/>
                  </a:cubicBezTo>
                  <a:cubicBezTo>
                    <a:pt x="129" y="117"/>
                    <a:pt x="130" y="117"/>
                    <a:pt x="130" y="116"/>
                  </a:cubicBezTo>
                  <a:cubicBezTo>
                    <a:pt x="135" y="92"/>
                    <a:pt x="109" y="60"/>
                    <a:pt x="94" y="44"/>
                  </a:cubicBezTo>
                  <a:cubicBezTo>
                    <a:pt x="72" y="21"/>
                    <a:pt x="44" y="7"/>
                    <a:pt x="13" y="1"/>
                  </a:cubicBezTo>
                  <a:cubicBezTo>
                    <a:pt x="7" y="0"/>
                    <a:pt x="3" y="4"/>
                    <a:pt x="1" y="8"/>
                  </a:cubicBezTo>
                  <a:cubicBezTo>
                    <a:pt x="1" y="9"/>
                    <a:pt x="0" y="11"/>
                    <a:pt x="1" y="13"/>
                  </a:cubicBezTo>
                  <a:close/>
                  <a:moveTo>
                    <a:pt x="119" y="112"/>
                  </a:moveTo>
                  <a:cubicBezTo>
                    <a:pt x="119" y="112"/>
                    <a:pt x="120" y="113"/>
                    <a:pt x="120" y="113"/>
                  </a:cubicBezTo>
                  <a:cubicBezTo>
                    <a:pt x="120" y="113"/>
                    <a:pt x="119" y="113"/>
                    <a:pt x="119" y="113"/>
                  </a:cubicBezTo>
                  <a:cubicBezTo>
                    <a:pt x="119" y="112"/>
                    <a:pt x="119" y="112"/>
                    <a:pt x="119" y="112"/>
                  </a:cubicBezTo>
                  <a:close/>
                </a:path>
              </a:pathLst>
            </a:custGeom>
            <a:solidFill>
              <a:srgbClr val="63B76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18" name="Freeform 47">
              <a:extLst>
                <a:ext uri="{FF2B5EF4-FFF2-40B4-BE49-F238E27FC236}">
                  <a16:creationId xmlns:a16="http://schemas.microsoft.com/office/drawing/2014/main" id="{429FDD4E-B9A3-4FDF-B64B-4BCA5E23CD35}"/>
                </a:ext>
              </a:extLst>
            </p:cNvPr>
            <p:cNvSpPr>
              <a:spLocks/>
            </p:cNvSpPr>
            <p:nvPr/>
          </p:nvSpPr>
          <p:spPr bwMode="auto">
            <a:xfrm>
              <a:off x="2170855" y="2162317"/>
              <a:ext cx="144349" cy="218327"/>
            </a:xfrm>
            <a:custGeom>
              <a:avLst/>
              <a:gdLst>
                <a:gd name="T0" fmla="*/ 46 w 70"/>
                <a:gd name="T1" fmla="*/ 4 h 107"/>
                <a:gd name="T2" fmla="*/ 14 w 70"/>
                <a:gd name="T3" fmla="*/ 49 h 107"/>
                <a:gd name="T4" fmla="*/ 9 w 70"/>
                <a:gd name="T5" fmla="*/ 100 h 107"/>
                <a:gd name="T6" fmla="*/ 20 w 70"/>
                <a:gd name="T7" fmla="*/ 102 h 107"/>
                <a:gd name="T8" fmla="*/ 22 w 70"/>
                <a:gd name="T9" fmla="*/ 104 h 107"/>
                <a:gd name="T10" fmla="*/ 29 w 70"/>
                <a:gd name="T11" fmla="*/ 106 h 107"/>
                <a:gd name="T12" fmla="*/ 60 w 70"/>
                <a:gd name="T13" fmla="*/ 68 h 107"/>
                <a:gd name="T14" fmla="*/ 64 w 70"/>
                <a:gd name="T15" fmla="*/ 11 h 107"/>
                <a:gd name="T16" fmla="*/ 56 w 70"/>
                <a:gd name="T17" fmla="*/ 4 h 107"/>
                <a:gd name="T18" fmla="*/ 46 w 70"/>
                <a:gd name="T19" fmla="*/ 4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0" h="107">
                  <a:moveTo>
                    <a:pt x="46" y="4"/>
                  </a:moveTo>
                  <a:cubicBezTo>
                    <a:pt x="32" y="16"/>
                    <a:pt x="20" y="32"/>
                    <a:pt x="14" y="49"/>
                  </a:cubicBezTo>
                  <a:cubicBezTo>
                    <a:pt x="8" y="64"/>
                    <a:pt x="0" y="86"/>
                    <a:pt x="9" y="100"/>
                  </a:cubicBezTo>
                  <a:cubicBezTo>
                    <a:pt x="11" y="105"/>
                    <a:pt x="17" y="105"/>
                    <a:pt x="20" y="102"/>
                  </a:cubicBezTo>
                  <a:cubicBezTo>
                    <a:pt x="21" y="103"/>
                    <a:pt x="22" y="103"/>
                    <a:pt x="22" y="104"/>
                  </a:cubicBezTo>
                  <a:cubicBezTo>
                    <a:pt x="24" y="106"/>
                    <a:pt x="26" y="107"/>
                    <a:pt x="29" y="106"/>
                  </a:cubicBezTo>
                  <a:cubicBezTo>
                    <a:pt x="45" y="101"/>
                    <a:pt x="54" y="82"/>
                    <a:pt x="60" y="68"/>
                  </a:cubicBezTo>
                  <a:cubicBezTo>
                    <a:pt x="68" y="50"/>
                    <a:pt x="70" y="30"/>
                    <a:pt x="64" y="11"/>
                  </a:cubicBezTo>
                  <a:cubicBezTo>
                    <a:pt x="62" y="7"/>
                    <a:pt x="59" y="5"/>
                    <a:pt x="56" y="4"/>
                  </a:cubicBezTo>
                  <a:cubicBezTo>
                    <a:pt x="54" y="1"/>
                    <a:pt x="49" y="0"/>
                    <a:pt x="46" y="4"/>
                  </a:cubicBezTo>
                  <a:close/>
                </a:path>
              </a:pathLst>
            </a:custGeom>
            <a:solidFill>
              <a:srgbClr val="293A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19" name="Freeform 48">
              <a:extLst>
                <a:ext uri="{FF2B5EF4-FFF2-40B4-BE49-F238E27FC236}">
                  <a16:creationId xmlns:a16="http://schemas.microsoft.com/office/drawing/2014/main" id="{40F6ADF3-8731-46E6-9F37-AA1DC45361B8}"/>
                </a:ext>
              </a:extLst>
            </p:cNvPr>
            <p:cNvSpPr>
              <a:spLocks/>
            </p:cNvSpPr>
            <p:nvPr/>
          </p:nvSpPr>
          <p:spPr bwMode="auto">
            <a:xfrm>
              <a:off x="1920049" y="2188480"/>
              <a:ext cx="228251" cy="280578"/>
            </a:xfrm>
            <a:custGeom>
              <a:avLst/>
              <a:gdLst>
                <a:gd name="T0" fmla="*/ 104 w 111"/>
                <a:gd name="T1" fmla="*/ 35 h 137"/>
                <a:gd name="T2" fmla="*/ 93 w 111"/>
                <a:gd name="T3" fmla="*/ 8 h 137"/>
                <a:gd name="T4" fmla="*/ 2 w 111"/>
                <a:gd name="T5" fmla="*/ 117 h 137"/>
                <a:gd name="T6" fmla="*/ 10 w 111"/>
                <a:gd name="T7" fmla="*/ 131 h 137"/>
                <a:gd name="T8" fmla="*/ 30 w 111"/>
                <a:gd name="T9" fmla="*/ 125 h 137"/>
                <a:gd name="T10" fmla="*/ 71 w 111"/>
                <a:gd name="T11" fmla="*/ 94 h 137"/>
                <a:gd name="T12" fmla="*/ 82 w 111"/>
                <a:gd name="T13" fmla="*/ 79 h 137"/>
                <a:gd name="T14" fmla="*/ 104 w 111"/>
                <a:gd name="T15" fmla="*/ 35 h 1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 h="137">
                  <a:moveTo>
                    <a:pt x="104" y="35"/>
                  </a:moveTo>
                  <a:cubicBezTo>
                    <a:pt x="111" y="27"/>
                    <a:pt x="107" y="10"/>
                    <a:pt x="93" y="8"/>
                  </a:cubicBezTo>
                  <a:cubicBezTo>
                    <a:pt x="31" y="0"/>
                    <a:pt x="0" y="65"/>
                    <a:pt x="2" y="117"/>
                  </a:cubicBezTo>
                  <a:cubicBezTo>
                    <a:pt x="2" y="123"/>
                    <a:pt x="4" y="129"/>
                    <a:pt x="10" y="131"/>
                  </a:cubicBezTo>
                  <a:cubicBezTo>
                    <a:pt x="21" y="137"/>
                    <a:pt x="27" y="133"/>
                    <a:pt x="30" y="125"/>
                  </a:cubicBezTo>
                  <a:cubicBezTo>
                    <a:pt x="46" y="120"/>
                    <a:pt x="61" y="105"/>
                    <a:pt x="71" y="94"/>
                  </a:cubicBezTo>
                  <a:cubicBezTo>
                    <a:pt x="75" y="89"/>
                    <a:pt x="79" y="84"/>
                    <a:pt x="82" y="79"/>
                  </a:cubicBezTo>
                  <a:cubicBezTo>
                    <a:pt x="93" y="65"/>
                    <a:pt x="101" y="49"/>
                    <a:pt x="104" y="35"/>
                  </a:cubicBezTo>
                  <a:close/>
                </a:path>
              </a:pathLst>
            </a:custGeom>
            <a:solidFill>
              <a:srgbClr val="63B76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20" name="Freeform 49">
              <a:extLst>
                <a:ext uri="{FF2B5EF4-FFF2-40B4-BE49-F238E27FC236}">
                  <a16:creationId xmlns:a16="http://schemas.microsoft.com/office/drawing/2014/main" id="{6FF1892C-D283-4BBF-9BAD-DD3E29DF3F4C}"/>
                </a:ext>
              </a:extLst>
            </p:cNvPr>
            <p:cNvSpPr>
              <a:spLocks/>
            </p:cNvSpPr>
            <p:nvPr/>
          </p:nvSpPr>
          <p:spPr bwMode="auto">
            <a:xfrm>
              <a:off x="1587145" y="2792038"/>
              <a:ext cx="1112387" cy="706406"/>
            </a:xfrm>
            <a:custGeom>
              <a:avLst/>
              <a:gdLst>
                <a:gd name="T0" fmla="*/ 537 w 541"/>
                <a:gd name="T1" fmla="*/ 12 h 345"/>
                <a:gd name="T2" fmla="*/ 527 w 541"/>
                <a:gd name="T3" fmla="*/ 6 h 345"/>
                <a:gd name="T4" fmla="*/ 421 w 541"/>
                <a:gd name="T5" fmla="*/ 41 h 345"/>
                <a:gd name="T6" fmla="*/ 318 w 541"/>
                <a:gd name="T7" fmla="*/ 66 h 345"/>
                <a:gd name="T8" fmla="*/ 255 w 541"/>
                <a:gd name="T9" fmla="*/ 137 h 345"/>
                <a:gd name="T10" fmla="*/ 230 w 541"/>
                <a:gd name="T11" fmla="*/ 210 h 345"/>
                <a:gd name="T12" fmla="*/ 172 w 541"/>
                <a:gd name="T13" fmla="*/ 172 h 345"/>
                <a:gd name="T14" fmla="*/ 100 w 541"/>
                <a:gd name="T15" fmla="*/ 172 h 345"/>
                <a:gd name="T16" fmla="*/ 21 w 541"/>
                <a:gd name="T17" fmla="*/ 162 h 345"/>
                <a:gd name="T18" fmla="*/ 10 w 541"/>
                <a:gd name="T19" fmla="*/ 184 h 345"/>
                <a:gd name="T20" fmla="*/ 16 w 541"/>
                <a:gd name="T21" fmla="*/ 230 h 345"/>
                <a:gd name="T22" fmla="*/ 25 w 541"/>
                <a:gd name="T23" fmla="*/ 265 h 345"/>
                <a:gd name="T24" fmla="*/ 79 w 541"/>
                <a:gd name="T25" fmla="*/ 328 h 345"/>
                <a:gd name="T26" fmla="*/ 159 w 541"/>
                <a:gd name="T27" fmla="*/ 341 h 345"/>
                <a:gd name="T28" fmla="*/ 233 w 541"/>
                <a:gd name="T29" fmla="*/ 305 h 345"/>
                <a:gd name="T30" fmla="*/ 230 w 541"/>
                <a:gd name="T31" fmla="*/ 295 h 345"/>
                <a:gd name="T32" fmla="*/ 238 w 541"/>
                <a:gd name="T33" fmla="*/ 274 h 345"/>
                <a:gd name="T34" fmla="*/ 248 w 541"/>
                <a:gd name="T35" fmla="*/ 267 h 345"/>
                <a:gd name="T36" fmla="*/ 258 w 541"/>
                <a:gd name="T37" fmla="*/ 267 h 345"/>
                <a:gd name="T38" fmla="*/ 451 w 541"/>
                <a:gd name="T39" fmla="*/ 229 h 345"/>
                <a:gd name="T40" fmla="*/ 494 w 541"/>
                <a:gd name="T41" fmla="*/ 142 h 345"/>
                <a:gd name="T42" fmla="*/ 495 w 541"/>
                <a:gd name="T43" fmla="*/ 135 h 345"/>
                <a:gd name="T44" fmla="*/ 500 w 541"/>
                <a:gd name="T45" fmla="*/ 100 h 345"/>
                <a:gd name="T46" fmla="*/ 500 w 541"/>
                <a:gd name="T47" fmla="*/ 100 h 345"/>
                <a:gd name="T48" fmla="*/ 529 w 541"/>
                <a:gd name="T49" fmla="*/ 23 h 345"/>
                <a:gd name="T50" fmla="*/ 537 w 541"/>
                <a:gd name="T51" fmla="*/ 12 h 3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1" h="345">
                  <a:moveTo>
                    <a:pt x="537" y="12"/>
                  </a:moveTo>
                  <a:cubicBezTo>
                    <a:pt x="541" y="5"/>
                    <a:pt x="531" y="0"/>
                    <a:pt x="527" y="6"/>
                  </a:cubicBezTo>
                  <a:cubicBezTo>
                    <a:pt x="503" y="39"/>
                    <a:pt x="458" y="40"/>
                    <a:pt x="421" y="41"/>
                  </a:cubicBezTo>
                  <a:cubicBezTo>
                    <a:pt x="385" y="42"/>
                    <a:pt x="349" y="45"/>
                    <a:pt x="318" y="66"/>
                  </a:cubicBezTo>
                  <a:cubicBezTo>
                    <a:pt x="291" y="83"/>
                    <a:pt x="269" y="108"/>
                    <a:pt x="255" y="137"/>
                  </a:cubicBezTo>
                  <a:cubicBezTo>
                    <a:pt x="244" y="158"/>
                    <a:pt x="233" y="184"/>
                    <a:pt x="230" y="210"/>
                  </a:cubicBezTo>
                  <a:cubicBezTo>
                    <a:pt x="215" y="191"/>
                    <a:pt x="195" y="177"/>
                    <a:pt x="172" y="172"/>
                  </a:cubicBezTo>
                  <a:cubicBezTo>
                    <a:pt x="148" y="167"/>
                    <a:pt x="124" y="171"/>
                    <a:pt x="100" y="172"/>
                  </a:cubicBezTo>
                  <a:cubicBezTo>
                    <a:pt x="73" y="174"/>
                    <a:pt x="47" y="171"/>
                    <a:pt x="21" y="162"/>
                  </a:cubicBezTo>
                  <a:cubicBezTo>
                    <a:pt x="9" y="159"/>
                    <a:pt x="0" y="177"/>
                    <a:pt x="10" y="184"/>
                  </a:cubicBezTo>
                  <a:cubicBezTo>
                    <a:pt x="13" y="199"/>
                    <a:pt x="13" y="215"/>
                    <a:pt x="16" y="230"/>
                  </a:cubicBezTo>
                  <a:cubicBezTo>
                    <a:pt x="17" y="242"/>
                    <a:pt x="21" y="254"/>
                    <a:pt x="25" y="265"/>
                  </a:cubicBezTo>
                  <a:cubicBezTo>
                    <a:pt x="36" y="291"/>
                    <a:pt x="54" y="315"/>
                    <a:pt x="79" y="328"/>
                  </a:cubicBezTo>
                  <a:cubicBezTo>
                    <a:pt x="103" y="340"/>
                    <a:pt x="132" y="345"/>
                    <a:pt x="159" y="341"/>
                  </a:cubicBezTo>
                  <a:cubicBezTo>
                    <a:pt x="180" y="338"/>
                    <a:pt x="226" y="328"/>
                    <a:pt x="233" y="305"/>
                  </a:cubicBezTo>
                  <a:cubicBezTo>
                    <a:pt x="234" y="301"/>
                    <a:pt x="232" y="297"/>
                    <a:pt x="230" y="295"/>
                  </a:cubicBezTo>
                  <a:cubicBezTo>
                    <a:pt x="234" y="289"/>
                    <a:pt x="237" y="281"/>
                    <a:pt x="238" y="274"/>
                  </a:cubicBezTo>
                  <a:cubicBezTo>
                    <a:pt x="242" y="273"/>
                    <a:pt x="246" y="271"/>
                    <a:pt x="248" y="267"/>
                  </a:cubicBezTo>
                  <a:cubicBezTo>
                    <a:pt x="251" y="267"/>
                    <a:pt x="255" y="267"/>
                    <a:pt x="258" y="267"/>
                  </a:cubicBezTo>
                  <a:cubicBezTo>
                    <a:pt x="322" y="283"/>
                    <a:pt x="400" y="272"/>
                    <a:pt x="451" y="229"/>
                  </a:cubicBezTo>
                  <a:cubicBezTo>
                    <a:pt x="479" y="207"/>
                    <a:pt x="490" y="176"/>
                    <a:pt x="494" y="142"/>
                  </a:cubicBezTo>
                  <a:cubicBezTo>
                    <a:pt x="494" y="139"/>
                    <a:pt x="494" y="137"/>
                    <a:pt x="495" y="135"/>
                  </a:cubicBezTo>
                  <a:cubicBezTo>
                    <a:pt x="498" y="124"/>
                    <a:pt x="500" y="112"/>
                    <a:pt x="500" y="100"/>
                  </a:cubicBezTo>
                  <a:cubicBezTo>
                    <a:pt x="500" y="100"/>
                    <a:pt x="500" y="100"/>
                    <a:pt x="500" y="100"/>
                  </a:cubicBezTo>
                  <a:cubicBezTo>
                    <a:pt x="506" y="73"/>
                    <a:pt x="515" y="48"/>
                    <a:pt x="529" y="23"/>
                  </a:cubicBezTo>
                  <a:cubicBezTo>
                    <a:pt x="532" y="20"/>
                    <a:pt x="535" y="16"/>
                    <a:pt x="537" y="12"/>
                  </a:cubicBezTo>
                  <a:close/>
                </a:path>
              </a:pathLst>
            </a:custGeom>
            <a:solidFill>
              <a:srgbClr val="2330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21" name="Freeform 50">
              <a:extLst>
                <a:ext uri="{FF2B5EF4-FFF2-40B4-BE49-F238E27FC236}">
                  <a16:creationId xmlns:a16="http://schemas.microsoft.com/office/drawing/2014/main" id="{5937D814-4F1C-40B9-BA67-ADE7098EE3D0}"/>
                </a:ext>
              </a:extLst>
            </p:cNvPr>
            <p:cNvSpPr>
              <a:spLocks/>
            </p:cNvSpPr>
            <p:nvPr/>
          </p:nvSpPr>
          <p:spPr bwMode="auto">
            <a:xfrm>
              <a:off x="2068006" y="2546645"/>
              <a:ext cx="261632" cy="395154"/>
            </a:xfrm>
            <a:custGeom>
              <a:avLst/>
              <a:gdLst>
                <a:gd name="T0" fmla="*/ 113 w 127"/>
                <a:gd name="T1" fmla="*/ 1 h 193"/>
                <a:gd name="T2" fmla="*/ 28 w 127"/>
                <a:gd name="T3" fmla="*/ 79 h 193"/>
                <a:gd name="T4" fmla="*/ 6 w 127"/>
                <a:gd name="T5" fmla="*/ 133 h 193"/>
                <a:gd name="T6" fmla="*/ 3 w 127"/>
                <a:gd name="T7" fmla="*/ 177 h 193"/>
                <a:gd name="T8" fmla="*/ 13 w 127"/>
                <a:gd name="T9" fmla="*/ 192 h 193"/>
                <a:gd name="T10" fmla="*/ 97 w 127"/>
                <a:gd name="T11" fmla="*/ 124 h 193"/>
                <a:gd name="T12" fmla="*/ 124 w 127"/>
                <a:gd name="T13" fmla="*/ 7 h 193"/>
                <a:gd name="T14" fmla="*/ 119 w 127"/>
                <a:gd name="T15" fmla="*/ 1 h 193"/>
                <a:gd name="T16" fmla="*/ 113 w 127"/>
                <a:gd name="T17" fmla="*/ 1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7" h="193">
                  <a:moveTo>
                    <a:pt x="113" y="1"/>
                  </a:moveTo>
                  <a:cubicBezTo>
                    <a:pt x="77" y="17"/>
                    <a:pt x="48" y="45"/>
                    <a:pt x="28" y="79"/>
                  </a:cubicBezTo>
                  <a:cubicBezTo>
                    <a:pt x="18" y="96"/>
                    <a:pt x="11" y="114"/>
                    <a:pt x="6" y="133"/>
                  </a:cubicBezTo>
                  <a:cubicBezTo>
                    <a:pt x="3" y="146"/>
                    <a:pt x="0" y="163"/>
                    <a:pt x="3" y="177"/>
                  </a:cubicBezTo>
                  <a:cubicBezTo>
                    <a:pt x="0" y="183"/>
                    <a:pt x="4" y="192"/>
                    <a:pt x="13" y="192"/>
                  </a:cubicBezTo>
                  <a:cubicBezTo>
                    <a:pt x="50" y="193"/>
                    <a:pt x="80" y="153"/>
                    <a:pt x="97" y="124"/>
                  </a:cubicBezTo>
                  <a:cubicBezTo>
                    <a:pt x="118" y="88"/>
                    <a:pt x="127" y="49"/>
                    <a:pt x="124" y="7"/>
                  </a:cubicBezTo>
                  <a:cubicBezTo>
                    <a:pt x="124" y="4"/>
                    <a:pt x="122" y="2"/>
                    <a:pt x="119" y="1"/>
                  </a:cubicBezTo>
                  <a:cubicBezTo>
                    <a:pt x="118" y="0"/>
                    <a:pt x="115" y="0"/>
                    <a:pt x="113" y="1"/>
                  </a:cubicBezTo>
                  <a:close/>
                </a:path>
              </a:pathLst>
            </a:custGeom>
            <a:solidFill>
              <a:srgbClr val="384F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22" name="Freeform 51">
              <a:extLst>
                <a:ext uri="{FF2B5EF4-FFF2-40B4-BE49-F238E27FC236}">
                  <a16:creationId xmlns:a16="http://schemas.microsoft.com/office/drawing/2014/main" id="{2623D0B4-5BC7-4D43-8EE3-2F5471AFD7C5}"/>
                </a:ext>
              </a:extLst>
            </p:cNvPr>
            <p:cNvSpPr>
              <a:spLocks/>
            </p:cNvSpPr>
            <p:nvPr/>
          </p:nvSpPr>
          <p:spPr bwMode="auto">
            <a:xfrm>
              <a:off x="1579025" y="2632352"/>
              <a:ext cx="127207" cy="212914"/>
            </a:xfrm>
            <a:custGeom>
              <a:avLst/>
              <a:gdLst>
                <a:gd name="T0" fmla="*/ 32 w 62"/>
                <a:gd name="T1" fmla="*/ 103 h 104"/>
                <a:gd name="T2" fmla="*/ 39 w 62"/>
                <a:gd name="T3" fmla="*/ 101 h 104"/>
                <a:gd name="T4" fmla="*/ 47 w 62"/>
                <a:gd name="T5" fmla="*/ 100 h 104"/>
                <a:gd name="T6" fmla="*/ 59 w 62"/>
                <a:gd name="T7" fmla="*/ 53 h 104"/>
                <a:gd name="T8" fmla="*/ 37 w 62"/>
                <a:gd name="T9" fmla="*/ 6 h 104"/>
                <a:gd name="T10" fmla="*/ 28 w 62"/>
                <a:gd name="T11" fmla="*/ 3 h 104"/>
                <a:gd name="T12" fmla="*/ 15 w 62"/>
                <a:gd name="T13" fmla="*/ 8 h 104"/>
                <a:gd name="T14" fmla="*/ 32 w 62"/>
                <a:gd name="T15" fmla="*/ 103 h 1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2" h="104">
                  <a:moveTo>
                    <a:pt x="32" y="103"/>
                  </a:moveTo>
                  <a:cubicBezTo>
                    <a:pt x="35" y="104"/>
                    <a:pt x="37" y="103"/>
                    <a:pt x="39" y="101"/>
                  </a:cubicBezTo>
                  <a:cubicBezTo>
                    <a:pt x="42" y="102"/>
                    <a:pt x="45" y="102"/>
                    <a:pt x="47" y="100"/>
                  </a:cubicBezTo>
                  <a:cubicBezTo>
                    <a:pt x="62" y="90"/>
                    <a:pt x="62" y="69"/>
                    <a:pt x="59" y="53"/>
                  </a:cubicBezTo>
                  <a:cubicBezTo>
                    <a:pt x="57" y="35"/>
                    <a:pt x="49" y="19"/>
                    <a:pt x="37" y="6"/>
                  </a:cubicBezTo>
                  <a:cubicBezTo>
                    <a:pt x="35" y="3"/>
                    <a:pt x="31" y="2"/>
                    <a:pt x="28" y="3"/>
                  </a:cubicBezTo>
                  <a:cubicBezTo>
                    <a:pt x="24" y="0"/>
                    <a:pt x="17" y="1"/>
                    <a:pt x="15" y="8"/>
                  </a:cubicBezTo>
                  <a:cubicBezTo>
                    <a:pt x="6" y="34"/>
                    <a:pt x="0" y="90"/>
                    <a:pt x="32" y="103"/>
                  </a:cubicBezTo>
                  <a:close/>
                </a:path>
              </a:pathLst>
            </a:custGeom>
            <a:solidFill>
              <a:srgbClr val="98D0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23" name="Freeform 52">
              <a:extLst>
                <a:ext uri="{FF2B5EF4-FFF2-40B4-BE49-F238E27FC236}">
                  <a16:creationId xmlns:a16="http://schemas.microsoft.com/office/drawing/2014/main" id="{59741FCC-7C80-4946-97E9-5D164DAB9D7B}"/>
                </a:ext>
              </a:extLst>
            </p:cNvPr>
            <p:cNvSpPr>
              <a:spLocks/>
            </p:cNvSpPr>
            <p:nvPr/>
          </p:nvSpPr>
          <p:spPr bwMode="auto">
            <a:xfrm>
              <a:off x="1377839" y="2047740"/>
              <a:ext cx="553036" cy="380720"/>
            </a:xfrm>
            <a:custGeom>
              <a:avLst/>
              <a:gdLst>
                <a:gd name="T0" fmla="*/ 140 w 269"/>
                <a:gd name="T1" fmla="*/ 176 h 186"/>
                <a:gd name="T2" fmla="*/ 215 w 269"/>
                <a:gd name="T3" fmla="*/ 178 h 186"/>
                <a:gd name="T4" fmla="*/ 267 w 269"/>
                <a:gd name="T5" fmla="*/ 138 h 186"/>
                <a:gd name="T6" fmla="*/ 262 w 269"/>
                <a:gd name="T7" fmla="*/ 128 h 186"/>
                <a:gd name="T8" fmla="*/ 255 w 269"/>
                <a:gd name="T9" fmla="*/ 116 h 186"/>
                <a:gd name="T10" fmla="*/ 242 w 269"/>
                <a:gd name="T11" fmla="*/ 73 h 186"/>
                <a:gd name="T12" fmla="*/ 211 w 269"/>
                <a:gd name="T13" fmla="*/ 52 h 186"/>
                <a:gd name="T14" fmla="*/ 183 w 269"/>
                <a:gd name="T15" fmla="*/ 29 h 186"/>
                <a:gd name="T16" fmla="*/ 18 w 269"/>
                <a:gd name="T17" fmla="*/ 58 h 186"/>
                <a:gd name="T18" fmla="*/ 10 w 269"/>
                <a:gd name="T19" fmla="*/ 65 h 186"/>
                <a:gd name="T20" fmla="*/ 8 w 269"/>
                <a:gd name="T21" fmla="*/ 78 h 186"/>
                <a:gd name="T22" fmla="*/ 84 w 269"/>
                <a:gd name="T23" fmla="*/ 125 h 186"/>
                <a:gd name="T24" fmla="*/ 140 w 269"/>
                <a:gd name="T25" fmla="*/ 176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9" h="186">
                  <a:moveTo>
                    <a:pt x="140" y="176"/>
                  </a:moveTo>
                  <a:cubicBezTo>
                    <a:pt x="164" y="186"/>
                    <a:pt x="191" y="186"/>
                    <a:pt x="215" y="178"/>
                  </a:cubicBezTo>
                  <a:cubicBezTo>
                    <a:pt x="233" y="172"/>
                    <a:pt x="262" y="158"/>
                    <a:pt x="267" y="138"/>
                  </a:cubicBezTo>
                  <a:cubicBezTo>
                    <a:pt x="269" y="133"/>
                    <a:pt x="266" y="129"/>
                    <a:pt x="262" y="128"/>
                  </a:cubicBezTo>
                  <a:cubicBezTo>
                    <a:pt x="262" y="124"/>
                    <a:pt x="260" y="119"/>
                    <a:pt x="255" y="116"/>
                  </a:cubicBezTo>
                  <a:cubicBezTo>
                    <a:pt x="258" y="101"/>
                    <a:pt x="253" y="82"/>
                    <a:pt x="242" y="73"/>
                  </a:cubicBezTo>
                  <a:cubicBezTo>
                    <a:pt x="233" y="64"/>
                    <a:pt x="221" y="60"/>
                    <a:pt x="211" y="52"/>
                  </a:cubicBezTo>
                  <a:cubicBezTo>
                    <a:pt x="202" y="44"/>
                    <a:pt x="194" y="35"/>
                    <a:pt x="183" y="29"/>
                  </a:cubicBezTo>
                  <a:cubicBezTo>
                    <a:pt x="127" y="0"/>
                    <a:pt x="73" y="52"/>
                    <a:pt x="18" y="58"/>
                  </a:cubicBezTo>
                  <a:cubicBezTo>
                    <a:pt x="13" y="58"/>
                    <a:pt x="11" y="62"/>
                    <a:pt x="10" y="65"/>
                  </a:cubicBezTo>
                  <a:cubicBezTo>
                    <a:pt x="3" y="65"/>
                    <a:pt x="0" y="76"/>
                    <a:pt x="8" y="78"/>
                  </a:cubicBezTo>
                  <a:cubicBezTo>
                    <a:pt x="38" y="85"/>
                    <a:pt x="64" y="103"/>
                    <a:pt x="84" y="125"/>
                  </a:cubicBezTo>
                  <a:cubicBezTo>
                    <a:pt x="101" y="144"/>
                    <a:pt x="116" y="165"/>
                    <a:pt x="140" y="176"/>
                  </a:cubicBezTo>
                  <a:close/>
                </a:path>
              </a:pathLst>
            </a:custGeom>
            <a:solidFill>
              <a:srgbClr val="2330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24" name="Freeform 53">
              <a:extLst>
                <a:ext uri="{FF2B5EF4-FFF2-40B4-BE49-F238E27FC236}">
                  <a16:creationId xmlns:a16="http://schemas.microsoft.com/office/drawing/2014/main" id="{89FB58CB-1DD1-45F6-A306-5B2F1F88ADC3}"/>
                </a:ext>
              </a:extLst>
            </p:cNvPr>
            <p:cNvSpPr>
              <a:spLocks/>
            </p:cNvSpPr>
            <p:nvPr/>
          </p:nvSpPr>
          <p:spPr bwMode="auto">
            <a:xfrm>
              <a:off x="2409030" y="2175850"/>
              <a:ext cx="117283" cy="159686"/>
            </a:xfrm>
            <a:custGeom>
              <a:avLst/>
              <a:gdLst>
                <a:gd name="T0" fmla="*/ 10 w 57"/>
                <a:gd name="T1" fmla="*/ 72 h 78"/>
                <a:gd name="T2" fmla="*/ 24 w 57"/>
                <a:gd name="T3" fmla="*/ 73 h 78"/>
                <a:gd name="T4" fmla="*/ 28 w 57"/>
                <a:gd name="T5" fmla="*/ 73 h 78"/>
                <a:gd name="T6" fmla="*/ 37 w 57"/>
                <a:gd name="T7" fmla="*/ 77 h 78"/>
                <a:gd name="T8" fmla="*/ 55 w 57"/>
                <a:gd name="T9" fmla="*/ 48 h 78"/>
                <a:gd name="T10" fmla="*/ 54 w 57"/>
                <a:gd name="T11" fmla="*/ 14 h 78"/>
                <a:gd name="T12" fmla="*/ 53 w 57"/>
                <a:gd name="T13" fmla="*/ 9 h 78"/>
                <a:gd name="T14" fmla="*/ 52 w 57"/>
                <a:gd name="T15" fmla="*/ 7 h 78"/>
                <a:gd name="T16" fmla="*/ 41 w 57"/>
                <a:gd name="T17" fmla="*/ 1 h 78"/>
                <a:gd name="T18" fmla="*/ 36 w 57"/>
                <a:gd name="T19" fmla="*/ 2 h 78"/>
                <a:gd name="T20" fmla="*/ 9 w 57"/>
                <a:gd name="T21" fmla="*/ 37 h 78"/>
                <a:gd name="T22" fmla="*/ 8 w 57"/>
                <a:gd name="T23" fmla="*/ 39 h 78"/>
                <a:gd name="T24" fmla="*/ 10 w 57"/>
                <a:gd name="T25" fmla="*/ 72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7" h="78">
                  <a:moveTo>
                    <a:pt x="10" y="72"/>
                  </a:moveTo>
                  <a:cubicBezTo>
                    <a:pt x="14" y="76"/>
                    <a:pt x="20" y="76"/>
                    <a:pt x="24" y="73"/>
                  </a:cubicBezTo>
                  <a:cubicBezTo>
                    <a:pt x="25" y="73"/>
                    <a:pt x="27" y="73"/>
                    <a:pt x="28" y="73"/>
                  </a:cubicBezTo>
                  <a:cubicBezTo>
                    <a:pt x="30" y="76"/>
                    <a:pt x="33" y="78"/>
                    <a:pt x="37" y="77"/>
                  </a:cubicBezTo>
                  <a:cubicBezTo>
                    <a:pt x="49" y="74"/>
                    <a:pt x="53" y="59"/>
                    <a:pt x="55" y="48"/>
                  </a:cubicBezTo>
                  <a:cubicBezTo>
                    <a:pt x="57" y="36"/>
                    <a:pt x="56" y="25"/>
                    <a:pt x="54" y="14"/>
                  </a:cubicBezTo>
                  <a:cubicBezTo>
                    <a:pt x="54" y="12"/>
                    <a:pt x="53" y="10"/>
                    <a:pt x="53" y="9"/>
                  </a:cubicBezTo>
                  <a:cubicBezTo>
                    <a:pt x="53" y="8"/>
                    <a:pt x="52" y="8"/>
                    <a:pt x="52" y="7"/>
                  </a:cubicBezTo>
                  <a:cubicBezTo>
                    <a:pt x="51" y="2"/>
                    <a:pt x="46" y="0"/>
                    <a:pt x="41" y="1"/>
                  </a:cubicBezTo>
                  <a:cubicBezTo>
                    <a:pt x="39" y="1"/>
                    <a:pt x="37" y="1"/>
                    <a:pt x="36" y="2"/>
                  </a:cubicBezTo>
                  <a:cubicBezTo>
                    <a:pt x="25" y="10"/>
                    <a:pt x="14" y="23"/>
                    <a:pt x="9" y="37"/>
                  </a:cubicBezTo>
                  <a:cubicBezTo>
                    <a:pt x="9" y="37"/>
                    <a:pt x="9" y="38"/>
                    <a:pt x="8" y="39"/>
                  </a:cubicBezTo>
                  <a:cubicBezTo>
                    <a:pt x="4" y="49"/>
                    <a:pt x="0" y="64"/>
                    <a:pt x="10" y="72"/>
                  </a:cubicBezTo>
                  <a:close/>
                </a:path>
              </a:pathLst>
            </a:custGeom>
            <a:solidFill>
              <a:srgbClr val="98D0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25" name="Freeform 54">
              <a:extLst>
                <a:ext uri="{FF2B5EF4-FFF2-40B4-BE49-F238E27FC236}">
                  <a16:creationId xmlns:a16="http://schemas.microsoft.com/office/drawing/2014/main" id="{1128B52B-14DD-46CA-9654-EDB1467D6FD7}"/>
                </a:ext>
              </a:extLst>
            </p:cNvPr>
            <p:cNvSpPr>
              <a:spLocks/>
            </p:cNvSpPr>
            <p:nvPr/>
          </p:nvSpPr>
          <p:spPr bwMode="auto">
            <a:xfrm>
              <a:off x="1893886" y="3283725"/>
              <a:ext cx="209306" cy="516046"/>
            </a:xfrm>
            <a:custGeom>
              <a:avLst/>
              <a:gdLst>
                <a:gd name="T0" fmla="*/ 39 w 102"/>
                <a:gd name="T1" fmla="*/ 230 h 252"/>
                <a:gd name="T2" fmla="*/ 101 w 102"/>
                <a:gd name="T3" fmla="*/ 35 h 252"/>
                <a:gd name="T4" fmla="*/ 69 w 102"/>
                <a:gd name="T5" fmla="*/ 30 h 252"/>
                <a:gd name="T6" fmla="*/ 11 w 102"/>
                <a:gd name="T7" fmla="*/ 224 h 252"/>
                <a:gd name="T8" fmla="*/ 42 w 102"/>
                <a:gd name="T9" fmla="*/ 233 h 252"/>
                <a:gd name="T10" fmla="*/ 95 w 102"/>
                <a:gd name="T11" fmla="*/ 32 h 252"/>
                <a:gd name="T12" fmla="*/ 61 w 102"/>
                <a:gd name="T13" fmla="*/ 23 h 252"/>
                <a:gd name="T14" fmla="*/ 38 w 102"/>
                <a:gd name="T15" fmla="*/ 122 h 252"/>
                <a:gd name="T16" fmla="*/ 5 w 102"/>
                <a:gd name="T17" fmla="*/ 219 h 252"/>
                <a:gd name="T18" fmla="*/ 36 w 102"/>
                <a:gd name="T19" fmla="*/ 232 h 252"/>
                <a:gd name="T20" fmla="*/ 95 w 102"/>
                <a:gd name="T21" fmla="*/ 32 h 252"/>
                <a:gd name="T22" fmla="*/ 61 w 102"/>
                <a:gd name="T23" fmla="*/ 23 h 252"/>
                <a:gd name="T24" fmla="*/ 11 w 102"/>
                <a:gd name="T25" fmla="*/ 224 h 252"/>
                <a:gd name="T26" fmla="*/ 42 w 102"/>
                <a:gd name="T27" fmla="*/ 233 h 252"/>
                <a:gd name="T28" fmla="*/ 100 w 102"/>
                <a:gd name="T29" fmla="*/ 39 h 252"/>
                <a:gd name="T30" fmla="*/ 69 w 102"/>
                <a:gd name="T31" fmla="*/ 35 h 252"/>
                <a:gd name="T32" fmla="*/ 23 w 102"/>
                <a:gd name="T33" fmla="*/ 224 h 252"/>
                <a:gd name="T34" fmla="*/ 39 w 102"/>
                <a:gd name="T35" fmla="*/ 23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2" h="252">
                  <a:moveTo>
                    <a:pt x="39" y="230"/>
                  </a:moveTo>
                  <a:cubicBezTo>
                    <a:pt x="67" y="167"/>
                    <a:pt x="94" y="105"/>
                    <a:pt x="101" y="35"/>
                  </a:cubicBezTo>
                  <a:cubicBezTo>
                    <a:pt x="102" y="16"/>
                    <a:pt x="74" y="13"/>
                    <a:pt x="69" y="30"/>
                  </a:cubicBezTo>
                  <a:cubicBezTo>
                    <a:pt x="52" y="95"/>
                    <a:pt x="32" y="160"/>
                    <a:pt x="11" y="224"/>
                  </a:cubicBezTo>
                  <a:cubicBezTo>
                    <a:pt x="4" y="244"/>
                    <a:pt x="35" y="252"/>
                    <a:pt x="42" y="233"/>
                  </a:cubicBezTo>
                  <a:cubicBezTo>
                    <a:pt x="66" y="167"/>
                    <a:pt x="84" y="101"/>
                    <a:pt x="95" y="32"/>
                  </a:cubicBezTo>
                  <a:cubicBezTo>
                    <a:pt x="98" y="10"/>
                    <a:pt x="66" y="0"/>
                    <a:pt x="61" y="23"/>
                  </a:cubicBezTo>
                  <a:cubicBezTo>
                    <a:pt x="54" y="56"/>
                    <a:pt x="47" y="89"/>
                    <a:pt x="38" y="122"/>
                  </a:cubicBezTo>
                  <a:cubicBezTo>
                    <a:pt x="29" y="156"/>
                    <a:pt x="16" y="187"/>
                    <a:pt x="5" y="219"/>
                  </a:cubicBezTo>
                  <a:cubicBezTo>
                    <a:pt x="0" y="237"/>
                    <a:pt x="27" y="249"/>
                    <a:pt x="36" y="232"/>
                  </a:cubicBezTo>
                  <a:cubicBezTo>
                    <a:pt x="69" y="172"/>
                    <a:pt x="81" y="98"/>
                    <a:pt x="95" y="32"/>
                  </a:cubicBezTo>
                  <a:cubicBezTo>
                    <a:pt x="84" y="29"/>
                    <a:pt x="72" y="26"/>
                    <a:pt x="61" y="23"/>
                  </a:cubicBezTo>
                  <a:cubicBezTo>
                    <a:pt x="51" y="91"/>
                    <a:pt x="35" y="159"/>
                    <a:pt x="11" y="224"/>
                  </a:cubicBezTo>
                  <a:cubicBezTo>
                    <a:pt x="21" y="227"/>
                    <a:pt x="32" y="230"/>
                    <a:pt x="42" y="233"/>
                  </a:cubicBezTo>
                  <a:cubicBezTo>
                    <a:pt x="66" y="169"/>
                    <a:pt x="85" y="104"/>
                    <a:pt x="100" y="39"/>
                  </a:cubicBezTo>
                  <a:cubicBezTo>
                    <a:pt x="90" y="37"/>
                    <a:pt x="79" y="36"/>
                    <a:pt x="69" y="35"/>
                  </a:cubicBezTo>
                  <a:cubicBezTo>
                    <a:pt x="65" y="99"/>
                    <a:pt x="44" y="163"/>
                    <a:pt x="23" y="224"/>
                  </a:cubicBezTo>
                  <a:cubicBezTo>
                    <a:pt x="20" y="233"/>
                    <a:pt x="35" y="239"/>
                    <a:pt x="39" y="230"/>
                  </a:cubicBezTo>
                  <a:close/>
                </a:path>
              </a:pathLst>
            </a:custGeom>
            <a:solidFill>
              <a:srgbClr val="293A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26" name="Freeform 55">
              <a:extLst>
                <a:ext uri="{FF2B5EF4-FFF2-40B4-BE49-F238E27FC236}">
                  <a16:creationId xmlns:a16="http://schemas.microsoft.com/office/drawing/2014/main" id="{BAB29784-9854-4EDE-8F58-6567378D56F0}"/>
                </a:ext>
              </a:extLst>
            </p:cNvPr>
            <p:cNvSpPr>
              <a:spLocks/>
            </p:cNvSpPr>
            <p:nvPr/>
          </p:nvSpPr>
          <p:spPr bwMode="auto">
            <a:xfrm>
              <a:off x="1375132" y="782885"/>
              <a:ext cx="1276584" cy="3071919"/>
            </a:xfrm>
            <a:custGeom>
              <a:avLst/>
              <a:gdLst>
                <a:gd name="T0" fmla="*/ 609 w 621"/>
                <a:gd name="T1" fmla="*/ 652 h 1501"/>
                <a:gd name="T2" fmla="*/ 533 w 621"/>
                <a:gd name="T3" fmla="*/ 748 h 1501"/>
                <a:gd name="T4" fmla="*/ 394 w 621"/>
                <a:gd name="T5" fmla="*/ 775 h 1501"/>
                <a:gd name="T6" fmla="*/ 302 w 621"/>
                <a:gd name="T7" fmla="*/ 843 h 1501"/>
                <a:gd name="T8" fmla="*/ 298 w 621"/>
                <a:gd name="T9" fmla="*/ 850 h 1501"/>
                <a:gd name="T10" fmla="*/ 261 w 621"/>
                <a:gd name="T11" fmla="*/ 608 h 1501"/>
                <a:gd name="T12" fmla="*/ 285 w 621"/>
                <a:gd name="T13" fmla="*/ 315 h 1501"/>
                <a:gd name="T14" fmla="*/ 328 w 621"/>
                <a:gd name="T15" fmla="*/ 157 h 1501"/>
                <a:gd name="T16" fmla="*/ 327 w 621"/>
                <a:gd name="T17" fmla="*/ 5 h 1501"/>
                <a:gd name="T18" fmla="*/ 318 w 621"/>
                <a:gd name="T19" fmla="*/ 6 h 1501"/>
                <a:gd name="T20" fmla="*/ 272 w 621"/>
                <a:gd name="T21" fmla="*/ 292 h 1501"/>
                <a:gd name="T22" fmla="*/ 236 w 621"/>
                <a:gd name="T23" fmla="*/ 426 h 1501"/>
                <a:gd name="T24" fmla="*/ 230 w 621"/>
                <a:gd name="T25" fmla="*/ 570 h 1501"/>
                <a:gd name="T26" fmla="*/ 230 w 621"/>
                <a:gd name="T27" fmla="*/ 572 h 1501"/>
                <a:gd name="T28" fmla="*/ 167 w 621"/>
                <a:gd name="T29" fmla="*/ 525 h 1501"/>
                <a:gd name="T30" fmla="*/ 132 w 621"/>
                <a:gd name="T31" fmla="*/ 451 h 1501"/>
                <a:gd name="T32" fmla="*/ 65 w 621"/>
                <a:gd name="T33" fmla="*/ 421 h 1501"/>
                <a:gd name="T34" fmla="*/ 53 w 621"/>
                <a:gd name="T35" fmla="*/ 459 h 1501"/>
                <a:gd name="T36" fmla="*/ 67 w 621"/>
                <a:gd name="T37" fmla="*/ 448 h 1501"/>
                <a:gd name="T38" fmla="*/ 83 w 621"/>
                <a:gd name="T39" fmla="*/ 449 h 1501"/>
                <a:gd name="T40" fmla="*/ 100 w 621"/>
                <a:gd name="T41" fmla="*/ 458 h 1501"/>
                <a:gd name="T42" fmla="*/ 125 w 621"/>
                <a:gd name="T43" fmla="*/ 490 h 1501"/>
                <a:gd name="T44" fmla="*/ 152 w 621"/>
                <a:gd name="T45" fmla="*/ 560 h 1501"/>
                <a:gd name="T46" fmla="*/ 231 w 621"/>
                <a:gd name="T47" fmla="*/ 604 h 1501"/>
                <a:gd name="T48" fmla="*/ 263 w 621"/>
                <a:gd name="T49" fmla="*/ 857 h 1501"/>
                <a:gd name="T50" fmla="*/ 300 w 621"/>
                <a:gd name="T51" fmla="*/ 996 h 1501"/>
                <a:gd name="T52" fmla="*/ 317 w 621"/>
                <a:gd name="T53" fmla="*/ 1075 h 1501"/>
                <a:gd name="T54" fmla="*/ 272 w 621"/>
                <a:gd name="T55" fmla="*/ 1076 h 1501"/>
                <a:gd name="T56" fmla="*/ 211 w 621"/>
                <a:gd name="T57" fmla="*/ 1032 h 1501"/>
                <a:gd name="T58" fmla="*/ 77 w 621"/>
                <a:gd name="T59" fmla="*/ 992 h 1501"/>
                <a:gd name="T60" fmla="*/ 7 w 621"/>
                <a:gd name="T61" fmla="*/ 1086 h 1501"/>
                <a:gd name="T62" fmla="*/ 38 w 621"/>
                <a:gd name="T63" fmla="*/ 1126 h 1501"/>
                <a:gd name="T64" fmla="*/ 71 w 621"/>
                <a:gd name="T65" fmla="*/ 1108 h 1501"/>
                <a:gd name="T66" fmla="*/ 60 w 621"/>
                <a:gd name="T67" fmla="*/ 1104 h 1501"/>
                <a:gd name="T68" fmla="*/ 40 w 621"/>
                <a:gd name="T69" fmla="*/ 1106 h 1501"/>
                <a:gd name="T70" fmla="*/ 35 w 621"/>
                <a:gd name="T71" fmla="*/ 1100 h 1501"/>
                <a:gd name="T72" fmla="*/ 29 w 621"/>
                <a:gd name="T73" fmla="*/ 1086 h 1501"/>
                <a:gd name="T74" fmla="*/ 34 w 621"/>
                <a:gd name="T75" fmla="*/ 1052 h 1501"/>
                <a:gd name="T76" fmla="*/ 81 w 621"/>
                <a:gd name="T77" fmla="*/ 1019 h 1501"/>
                <a:gd name="T78" fmla="*/ 188 w 621"/>
                <a:gd name="T79" fmla="*/ 1059 h 1501"/>
                <a:gd name="T80" fmla="*/ 268 w 621"/>
                <a:gd name="T81" fmla="*/ 1114 h 1501"/>
                <a:gd name="T82" fmla="*/ 319 w 621"/>
                <a:gd name="T83" fmla="*/ 1114 h 1501"/>
                <a:gd name="T84" fmla="*/ 319 w 621"/>
                <a:gd name="T85" fmla="*/ 1139 h 1501"/>
                <a:gd name="T86" fmla="*/ 265 w 621"/>
                <a:gd name="T87" fmla="*/ 1459 h 1501"/>
                <a:gd name="T88" fmla="*/ 311 w 621"/>
                <a:gd name="T89" fmla="*/ 1472 h 1501"/>
                <a:gd name="T90" fmla="*/ 359 w 621"/>
                <a:gd name="T91" fmla="*/ 1185 h 1501"/>
                <a:gd name="T92" fmla="*/ 353 w 621"/>
                <a:gd name="T93" fmla="*/ 1044 h 1501"/>
                <a:gd name="T94" fmla="*/ 317 w 621"/>
                <a:gd name="T95" fmla="*/ 922 h 1501"/>
                <a:gd name="T96" fmla="*/ 318 w 621"/>
                <a:gd name="T97" fmla="*/ 890 h 1501"/>
                <a:gd name="T98" fmla="*/ 348 w 621"/>
                <a:gd name="T99" fmla="*/ 836 h 1501"/>
                <a:gd name="T100" fmla="*/ 466 w 621"/>
                <a:gd name="T101" fmla="*/ 788 h 1501"/>
                <a:gd name="T102" fmla="*/ 571 w 621"/>
                <a:gd name="T103" fmla="*/ 747 h 1501"/>
                <a:gd name="T104" fmla="*/ 620 w 621"/>
                <a:gd name="T105" fmla="*/ 655 h 1501"/>
                <a:gd name="T106" fmla="*/ 609 w 621"/>
                <a:gd name="T107" fmla="*/ 652 h 15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21" h="1501">
                  <a:moveTo>
                    <a:pt x="609" y="652"/>
                  </a:moveTo>
                  <a:cubicBezTo>
                    <a:pt x="600" y="692"/>
                    <a:pt x="570" y="729"/>
                    <a:pt x="533" y="748"/>
                  </a:cubicBezTo>
                  <a:cubicBezTo>
                    <a:pt x="490" y="769"/>
                    <a:pt x="439" y="760"/>
                    <a:pt x="394" y="775"/>
                  </a:cubicBezTo>
                  <a:cubicBezTo>
                    <a:pt x="357" y="788"/>
                    <a:pt x="323" y="810"/>
                    <a:pt x="302" y="843"/>
                  </a:cubicBezTo>
                  <a:cubicBezTo>
                    <a:pt x="301" y="845"/>
                    <a:pt x="299" y="848"/>
                    <a:pt x="298" y="850"/>
                  </a:cubicBezTo>
                  <a:cubicBezTo>
                    <a:pt x="279" y="771"/>
                    <a:pt x="266" y="690"/>
                    <a:pt x="261" y="608"/>
                  </a:cubicBezTo>
                  <a:cubicBezTo>
                    <a:pt x="254" y="509"/>
                    <a:pt x="251" y="409"/>
                    <a:pt x="285" y="315"/>
                  </a:cubicBezTo>
                  <a:cubicBezTo>
                    <a:pt x="303" y="263"/>
                    <a:pt x="320" y="212"/>
                    <a:pt x="328" y="157"/>
                  </a:cubicBezTo>
                  <a:cubicBezTo>
                    <a:pt x="335" y="105"/>
                    <a:pt x="334" y="56"/>
                    <a:pt x="327" y="5"/>
                  </a:cubicBezTo>
                  <a:cubicBezTo>
                    <a:pt x="326" y="0"/>
                    <a:pt x="318" y="1"/>
                    <a:pt x="318" y="6"/>
                  </a:cubicBezTo>
                  <a:cubicBezTo>
                    <a:pt x="323" y="104"/>
                    <a:pt x="306" y="200"/>
                    <a:pt x="272" y="292"/>
                  </a:cubicBezTo>
                  <a:cubicBezTo>
                    <a:pt x="256" y="336"/>
                    <a:pt x="242" y="379"/>
                    <a:pt x="236" y="426"/>
                  </a:cubicBezTo>
                  <a:cubicBezTo>
                    <a:pt x="230" y="473"/>
                    <a:pt x="229" y="522"/>
                    <a:pt x="230" y="570"/>
                  </a:cubicBezTo>
                  <a:cubicBezTo>
                    <a:pt x="230" y="571"/>
                    <a:pt x="230" y="572"/>
                    <a:pt x="230" y="572"/>
                  </a:cubicBezTo>
                  <a:cubicBezTo>
                    <a:pt x="198" y="587"/>
                    <a:pt x="177" y="553"/>
                    <a:pt x="167" y="525"/>
                  </a:cubicBezTo>
                  <a:cubicBezTo>
                    <a:pt x="157" y="500"/>
                    <a:pt x="150" y="472"/>
                    <a:pt x="132" y="451"/>
                  </a:cubicBezTo>
                  <a:cubicBezTo>
                    <a:pt x="118" y="436"/>
                    <a:pt x="87" y="416"/>
                    <a:pt x="65" y="421"/>
                  </a:cubicBezTo>
                  <a:cubicBezTo>
                    <a:pt x="48" y="425"/>
                    <a:pt x="41" y="445"/>
                    <a:pt x="53" y="459"/>
                  </a:cubicBezTo>
                  <a:cubicBezTo>
                    <a:pt x="60" y="466"/>
                    <a:pt x="73" y="456"/>
                    <a:pt x="67" y="448"/>
                  </a:cubicBezTo>
                  <a:cubicBezTo>
                    <a:pt x="63" y="442"/>
                    <a:pt x="82" y="449"/>
                    <a:pt x="83" y="449"/>
                  </a:cubicBezTo>
                  <a:cubicBezTo>
                    <a:pt x="89" y="452"/>
                    <a:pt x="95" y="455"/>
                    <a:pt x="100" y="458"/>
                  </a:cubicBezTo>
                  <a:cubicBezTo>
                    <a:pt x="111" y="466"/>
                    <a:pt x="119" y="477"/>
                    <a:pt x="125" y="490"/>
                  </a:cubicBezTo>
                  <a:cubicBezTo>
                    <a:pt x="136" y="512"/>
                    <a:pt x="140" y="537"/>
                    <a:pt x="152" y="560"/>
                  </a:cubicBezTo>
                  <a:cubicBezTo>
                    <a:pt x="166" y="587"/>
                    <a:pt x="200" y="611"/>
                    <a:pt x="231" y="604"/>
                  </a:cubicBezTo>
                  <a:cubicBezTo>
                    <a:pt x="234" y="689"/>
                    <a:pt x="245" y="774"/>
                    <a:pt x="263" y="857"/>
                  </a:cubicBezTo>
                  <a:cubicBezTo>
                    <a:pt x="273" y="904"/>
                    <a:pt x="286" y="950"/>
                    <a:pt x="300" y="996"/>
                  </a:cubicBezTo>
                  <a:cubicBezTo>
                    <a:pt x="308" y="1023"/>
                    <a:pt x="314" y="1049"/>
                    <a:pt x="317" y="1075"/>
                  </a:cubicBezTo>
                  <a:cubicBezTo>
                    <a:pt x="302" y="1078"/>
                    <a:pt x="287" y="1080"/>
                    <a:pt x="272" y="1076"/>
                  </a:cubicBezTo>
                  <a:cubicBezTo>
                    <a:pt x="247" y="1069"/>
                    <a:pt x="230" y="1048"/>
                    <a:pt x="211" y="1032"/>
                  </a:cubicBezTo>
                  <a:cubicBezTo>
                    <a:pt x="174" y="998"/>
                    <a:pt x="127" y="978"/>
                    <a:pt x="77" y="992"/>
                  </a:cubicBezTo>
                  <a:cubicBezTo>
                    <a:pt x="36" y="1004"/>
                    <a:pt x="0" y="1041"/>
                    <a:pt x="7" y="1086"/>
                  </a:cubicBezTo>
                  <a:cubicBezTo>
                    <a:pt x="10" y="1102"/>
                    <a:pt x="20" y="1122"/>
                    <a:pt x="38" y="1126"/>
                  </a:cubicBezTo>
                  <a:cubicBezTo>
                    <a:pt x="52" y="1130"/>
                    <a:pt x="65" y="1122"/>
                    <a:pt x="71" y="1108"/>
                  </a:cubicBezTo>
                  <a:cubicBezTo>
                    <a:pt x="73" y="1102"/>
                    <a:pt x="63" y="1098"/>
                    <a:pt x="60" y="1104"/>
                  </a:cubicBezTo>
                  <a:cubicBezTo>
                    <a:pt x="54" y="1104"/>
                    <a:pt x="47" y="1105"/>
                    <a:pt x="40" y="1106"/>
                  </a:cubicBezTo>
                  <a:cubicBezTo>
                    <a:pt x="39" y="1104"/>
                    <a:pt x="37" y="1102"/>
                    <a:pt x="35" y="1100"/>
                  </a:cubicBezTo>
                  <a:cubicBezTo>
                    <a:pt x="32" y="1096"/>
                    <a:pt x="30" y="1091"/>
                    <a:pt x="29" y="1086"/>
                  </a:cubicBezTo>
                  <a:cubicBezTo>
                    <a:pt x="27" y="1074"/>
                    <a:pt x="29" y="1062"/>
                    <a:pt x="34" y="1052"/>
                  </a:cubicBezTo>
                  <a:cubicBezTo>
                    <a:pt x="43" y="1033"/>
                    <a:pt x="61" y="1023"/>
                    <a:pt x="81" y="1019"/>
                  </a:cubicBezTo>
                  <a:cubicBezTo>
                    <a:pt x="123" y="1010"/>
                    <a:pt x="159" y="1031"/>
                    <a:pt x="188" y="1059"/>
                  </a:cubicBezTo>
                  <a:cubicBezTo>
                    <a:pt x="211" y="1082"/>
                    <a:pt x="235" y="1107"/>
                    <a:pt x="268" y="1114"/>
                  </a:cubicBezTo>
                  <a:cubicBezTo>
                    <a:pt x="284" y="1118"/>
                    <a:pt x="303" y="1118"/>
                    <a:pt x="319" y="1114"/>
                  </a:cubicBezTo>
                  <a:cubicBezTo>
                    <a:pt x="319" y="1122"/>
                    <a:pt x="319" y="1131"/>
                    <a:pt x="319" y="1139"/>
                  </a:cubicBezTo>
                  <a:cubicBezTo>
                    <a:pt x="314" y="1248"/>
                    <a:pt x="302" y="1357"/>
                    <a:pt x="265" y="1459"/>
                  </a:cubicBezTo>
                  <a:cubicBezTo>
                    <a:pt x="255" y="1488"/>
                    <a:pt x="301" y="1501"/>
                    <a:pt x="311" y="1472"/>
                  </a:cubicBezTo>
                  <a:cubicBezTo>
                    <a:pt x="345" y="1379"/>
                    <a:pt x="354" y="1283"/>
                    <a:pt x="359" y="1185"/>
                  </a:cubicBezTo>
                  <a:cubicBezTo>
                    <a:pt x="362" y="1138"/>
                    <a:pt x="362" y="1091"/>
                    <a:pt x="353" y="1044"/>
                  </a:cubicBezTo>
                  <a:cubicBezTo>
                    <a:pt x="344" y="1002"/>
                    <a:pt x="329" y="962"/>
                    <a:pt x="317" y="922"/>
                  </a:cubicBezTo>
                  <a:cubicBezTo>
                    <a:pt x="317" y="911"/>
                    <a:pt x="316" y="900"/>
                    <a:pt x="318" y="890"/>
                  </a:cubicBezTo>
                  <a:cubicBezTo>
                    <a:pt x="322" y="869"/>
                    <a:pt x="333" y="851"/>
                    <a:pt x="348" y="836"/>
                  </a:cubicBezTo>
                  <a:cubicBezTo>
                    <a:pt x="380" y="804"/>
                    <a:pt x="423" y="794"/>
                    <a:pt x="466" y="788"/>
                  </a:cubicBezTo>
                  <a:cubicBezTo>
                    <a:pt x="505" y="782"/>
                    <a:pt x="541" y="773"/>
                    <a:pt x="571" y="747"/>
                  </a:cubicBezTo>
                  <a:cubicBezTo>
                    <a:pt x="598" y="722"/>
                    <a:pt x="614" y="691"/>
                    <a:pt x="620" y="655"/>
                  </a:cubicBezTo>
                  <a:cubicBezTo>
                    <a:pt x="621" y="648"/>
                    <a:pt x="610" y="645"/>
                    <a:pt x="609" y="652"/>
                  </a:cubicBezTo>
                  <a:close/>
                </a:path>
              </a:pathLst>
            </a:custGeom>
            <a:solidFill>
              <a:srgbClr val="293A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27" name="Freeform 122">
              <a:extLst>
                <a:ext uri="{FF2B5EF4-FFF2-40B4-BE49-F238E27FC236}">
                  <a16:creationId xmlns:a16="http://schemas.microsoft.com/office/drawing/2014/main" id="{287F9B0F-8445-4A95-9DE8-C573BEFD08CE}"/>
                </a:ext>
              </a:extLst>
            </p:cNvPr>
            <p:cNvSpPr>
              <a:spLocks noEditPoints="1"/>
            </p:cNvSpPr>
            <p:nvPr/>
          </p:nvSpPr>
          <p:spPr bwMode="auto">
            <a:xfrm>
              <a:off x="1549253" y="3703239"/>
              <a:ext cx="703700" cy="2359198"/>
            </a:xfrm>
            <a:custGeom>
              <a:avLst/>
              <a:gdLst>
                <a:gd name="T0" fmla="*/ 278 w 343"/>
                <a:gd name="T1" fmla="*/ 458 h 1152"/>
                <a:gd name="T2" fmla="*/ 321 w 343"/>
                <a:gd name="T3" fmla="*/ 213 h 1152"/>
                <a:gd name="T4" fmla="*/ 261 w 343"/>
                <a:gd name="T5" fmla="*/ 41 h 1152"/>
                <a:gd name="T6" fmla="*/ 248 w 343"/>
                <a:gd name="T7" fmla="*/ 13 h 1152"/>
                <a:gd name="T8" fmla="*/ 158 w 343"/>
                <a:gd name="T9" fmla="*/ 12 h 1152"/>
                <a:gd name="T10" fmla="*/ 144 w 343"/>
                <a:gd name="T11" fmla="*/ 40 h 1152"/>
                <a:gd name="T12" fmla="*/ 60 w 343"/>
                <a:gd name="T13" fmla="*/ 163 h 1152"/>
                <a:gd name="T14" fmla="*/ 3 w 343"/>
                <a:gd name="T15" fmla="*/ 389 h 1152"/>
                <a:gd name="T16" fmla="*/ 16 w 343"/>
                <a:gd name="T17" fmla="*/ 572 h 1152"/>
                <a:gd name="T18" fmla="*/ 56 w 343"/>
                <a:gd name="T19" fmla="*/ 322 h 1152"/>
                <a:gd name="T20" fmla="*/ 122 w 343"/>
                <a:gd name="T21" fmla="*/ 131 h 1152"/>
                <a:gd name="T22" fmla="*/ 136 w 343"/>
                <a:gd name="T23" fmla="*/ 154 h 1152"/>
                <a:gd name="T24" fmla="*/ 66 w 343"/>
                <a:gd name="T25" fmla="*/ 471 h 1152"/>
                <a:gd name="T26" fmla="*/ 48 w 343"/>
                <a:gd name="T27" fmla="*/ 879 h 1152"/>
                <a:gd name="T28" fmla="*/ 62 w 343"/>
                <a:gd name="T29" fmla="*/ 593 h 1152"/>
                <a:gd name="T30" fmla="*/ 141 w 343"/>
                <a:gd name="T31" fmla="*/ 206 h 1152"/>
                <a:gd name="T32" fmla="*/ 173 w 343"/>
                <a:gd name="T33" fmla="*/ 139 h 1152"/>
                <a:gd name="T34" fmla="*/ 138 w 343"/>
                <a:gd name="T35" fmla="*/ 363 h 1152"/>
                <a:gd name="T36" fmla="*/ 126 w 343"/>
                <a:gd name="T37" fmla="*/ 596 h 1152"/>
                <a:gd name="T38" fmla="*/ 133 w 343"/>
                <a:gd name="T39" fmla="*/ 1004 h 1152"/>
                <a:gd name="T40" fmla="*/ 116 w 343"/>
                <a:gd name="T41" fmla="*/ 819 h 1152"/>
                <a:gd name="T42" fmla="*/ 144 w 343"/>
                <a:gd name="T43" fmla="*/ 428 h 1152"/>
                <a:gd name="T44" fmla="*/ 177 w 343"/>
                <a:gd name="T45" fmla="*/ 385 h 1152"/>
                <a:gd name="T46" fmla="*/ 170 w 343"/>
                <a:gd name="T47" fmla="*/ 602 h 1152"/>
                <a:gd name="T48" fmla="*/ 146 w 343"/>
                <a:gd name="T49" fmla="*/ 870 h 1152"/>
                <a:gd name="T50" fmla="*/ 188 w 343"/>
                <a:gd name="T51" fmla="*/ 1105 h 1152"/>
                <a:gd name="T52" fmla="*/ 164 w 343"/>
                <a:gd name="T53" fmla="*/ 900 h 1152"/>
                <a:gd name="T54" fmla="*/ 185 w 343"/>
                <a:gd name="T55" fmla="*/ 621 h 1152"/>
                <a:gd name="T56" fmla="*/ 196 w 343"/>
                <a:gd name="T57" fmla="*/ 369 h 1152"/>
                <a:gd name="T58" fmla="*/ 182 w 343"/>
                <a:gd name="T59" fmla="*/ 277 h 1152"/>
                <a:gd name="T60" fmla="*/ 219 w 343"/>
                <a:gd name="T61" fmla="*/ 178 h 1152"/>
                <a:gd name="T62" fmla="*/ 213 w 343"/>
                <a:gd name="T63" fmla="*/ 310 h 1152"/>
                <a:gd name="T64" fmla="*/ 232 w 343"/>
                <a:gd name="T65" fmla="*/ 475 h 1152"/>
                <a:gd name="T66" fmla="*/ 226 w 343"/>
                <a:gd name="T67" fmla="*/ 820 h 1152"/>
                <a:gd name="T68" fmla="*/ 251 w 343"/>
                <a:gd name="T69" fmla="*/ 801 h 1152"/>
                <a:gd name="T70" fmla="*/ 218 w 343"/>
                <a:gd name="T71" fmla="*/ 1149 h 1152"/>
                <a:gd name="T72" fmla="*/ 282 w 343"/>
                <a:gd name="T73" fmla="*/ 816 h 1152"/>
                <a:gd name="T74" fmla="*/ 275 w 343"/>
                <a:gd name="T75" fmla="*/ 595 h 1152"/>
                <a:gd name="T76" fmla="*/ 313 w 343"/>
                <a:gd name="T77" fmla="*/ 658 h 1152"/>
                <a:gd name="T78" fmla="*/ 333 w 343"/>
                <a:gd name="T79" fmla="*/ 659 h 1152"/>
                <a:gd name="T80" fmla="*/ 260 w 343"/>
                <a:gd name="T81" fmla="*/ 370 h 1152"/>
                <a:gd name="T82" fmla="*/ 299 w 343"/>
                <a:gd name="T83" fmla="*/ 216 h 1152"/>
                <a:gd name="T84" fmla="*/ 245 w 343"/>
                <a:gd name="T85" fmla="*/ 170 h 1152"/>
                <a:gd name="T86" fmla="*/ 299 w 343"/>
                <a:gd name="T87" fmla="*/ 216 h 1152"/>
                <a:gd name="T88" fmla="*/ 201 w 343"/>
                <a:gd name="T89" fmla="*/ 58 h 1152"/>
                <a:gd name="T90" fmla="*/ 154 w 343"/>
                <a:gd name="T91" fmla="*/ 291 h 1152"/>
                <a:gd name="T92" fmla="*/ 166 w 343"/>
                <a:gd name="T93" fmla="*/ 257 h 1152"/>
                <a:gd name="T94" fmla="*/ 235 w 343"/>
                <a:gd name="T95" fmla="*/ 83 h 1152"/>
                <a:gd name="T96" fmla="*/ 229 w 343"/>
                <a:gd name="T97" fmla="*/ 200 h 1152"/>
                <a:gd name="T98" fmla="*/ 266 w 343"/>
                <a:gd name="T99" fmla="*/ 301 h 1152"/>
                <a:gd name="T100" fmla="*/ 236 w 343"/>
                <a:gd name="T101" fmla="*/ 279 h 1152"/>
                <a:gd name="T102" fmla="*/ 256 w 343"/>
                <a:gd name="T103" fmla="*/ 462 h 1152"/>
                <a:gd name="T104" fmla="*/ 259 w 343"/>
                <a:gd name="T105" fmla="*/ 714 h 1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43" h="1152">
                  <a:moveTo>
                    <a:pt x="296" y="575"/>
                  </a:moveTo>
                  <a:cubicBezTo>
                    <a:pt x="287" y="541"/>
                    <a:pt x="292" y="505"/>
                    <a:pt x="282" y="471"/>
                  </a:cubicBezTo>
                  <a:cubicBezTo>
                    <a:pt x="280" y="467"/>
                    <a:pt x="279" y="462"/>
                    <a:pt x="278" y="458"/>
                  </a:cubicBezTo>
                  <a:cubicBezTo>
                    <a:pt x="280" y="425"/>
                    <a:pt x="282" y="391"/>
                    <a:pt x="286" y="358"/>
                  </a:cubicBezTo>
                  <a:cubicBezTo>
                    <a:pt x="288" y="339"/>
                    <a:pt x="289" y="321"/>
                    <a:pt x="288" y="303"/>
                  </a:cubicBezTo>
                  <a:cubicBezTo>
                    <a:pt x="304" y="275"/>
                    <a:pt x="321" y="247"/>
                    <a:pt x="321" y="213"/>
                  </a:cubicBezTo>
                  <a:cubicBezTo>
                    <a:pt x="320" y="180"/>
                    <a:pt x="299" y="166"/>
                    <a:pt x="283" y="140"/>
                  </a:cubicBezTo>
                  <a:cubicBezTo>
                    <a:pt x="266" y="112"/>
                    <a:pt x="263" y="77"/>
                    <a:pt x="260" y="45"/>
                  </a:cubicBezTo>
                  <a:cubicBezTo>
                    <a:pt x="260" y="44"/>
                    <a:pt x="261" y="42"/>
                    <a:pt x="261" y="41"/>
                  </a:cubicBezTo>
                  <a:cubicBezTo>
                    <a:pt x="264" y="38"/>
                    <a:pt x="266" y="35"/>
                    <a:pt x="267" y="30"/>
                  </a:cubicBezTo>
                  <a:cubicBezTo>
                    <a:pt x="268" y="24"/>
                    <a:pt x="265" y="18"/>
                    <a:pt x="259" y="16"/>
                  </a:cubicBezTo>
                  <a:cubicBezTo>
                    <a:pt x="256" y="15"/>
                    <a:pt x="252" y="14"/>
                    <a:pt x="248" y="13"/>
                  </a:cubicBezTo>
                  <a:cubicBezTo>
                    <a:pt x="231" y="4"/>
                    <a:pt x="211" y="0"/>
                    <a:pt x="191" y="3"/>
                  </a:cubicBezTo>
                  <a:cubicBezTo>
                    <a:pt x="186" y="4"/>
                    <a:pt x="178" y="5"/>
                    <a:pt x="172" y="8"/>
                  </a:cubicBezTo>
                  <a:cubicBezTo>
                    <a:pt x="167" y="9"/>
                    <a:pt x="163" y="10"/>
                    <a:pt x="158" y="12"/>
                  </a:cubicBezTo>
                  <a:cubicBezTo>
                    <a:pt x="156" y="13"/>
                    <a:pt x="154" y="14"/>
                    <a:pt x="152" y="16"/>
                  </a:cubicBezTo>
                  <a:cubicBezTo>
                    <a:pt x="148" y="19"/>
                    <a:pt x="145" y="22"/>
                    <a:pt x="143" y="26"/>
                  </a:cubicBezTo>
                  <a:cubicBezTo>
                    <a:pt x="141" y="32"/>
                    <a:pt x="141" y="36"/>
                    <a:pt x="144" y="40"/>
                  </a:cubicBezTo>
                  <a:cubicBezTo>
                    <a:pt x="142" y="45"/>
                    <a:pt x="140" y="51"/>
                    <a:pt x="139" y="56"/>
                  </a:cubicBezTo>
                  <a:cubicBezTo>
                    <a:pt x="133" y="81"/>
                    <a:pt x="126" y="98"/>
                    <a:pt x="106" y="115"/>
                  </a:cubicBezTo>
                  <a:cubicBezTo>
                    <a:pt x="89" y="130"/>
                    <a:pt x="71" y="143"/>
                    <a:pt x="60" y="163"/>
                  </a:cubicBezTo>
                  <a:cubicBezTo>
                    <a:pt x="49" y="184"/>
                    <a:pt x="48" y="209"/>
                    <a:pt x="49" y="232"/>
                  </a:cubicBezTo>
                  <a:cubicBezTo>
                    <a:pt x="49" y="261"/>
                    <a:pt x="51" y="289"/>
                    <a:pt x="37" y="315"/>
                  </a:cubicBezTo>
                  <a:cubicBezTo>
                    <a:pt x="23" y="340"/>
                    <a:pt x="7" y="359"/>
                    <a:pt x="3" y="389"/>
                  </a:cubicBezTo>
                  <a:cubicBezTo>
                    <a:pt x="0" y="416"/>
                    <a:pt x="3" y="444"/>
                    <a:pt x="4" y="471"/>
                  </a:cubicBezTo>
                  <a:cubicBezTo>
                    <a:pt x="6" y="505"/>
                    <a:pt x="9" y="538"/>
                    <a:pt x="12" y="572"/>
                  </a:cubicBezTo>
                  <a:cubicBezTo>
                    <a:pt x="12" y="575"/>
                    <a:pt x="16" y="575"/>
                    <a:pt x="16" y="572"/>
                  </a:cubicBezTo>
                  <a:cubicBezTo>
                    <a:pt x="17" y="542"/>
                    <a:pt x="18" y="513"/>
                    <a:pt x="19" y="483"/>
                  </a:cubicBezTo>
                  <a:cubicBezTo>
                    <a:pt x="19" y="455"/>
                    <a:pt x="17" y="426"/>
                    <a:pt x="20" y="398"/>
                  </a:cubicBezTo>
                  <a:cubicBezTo>
                    <a:pt x="24" y="367"/>
                    <a:pt x="41" y="348"/>
                    <a:pt x="56" y="322"/>
                  </a:cubicBezTo>
                  <a:cubicBezTo>
                    <a:pt x="67" y="302"/>
                    <a:pt x="70" y="280"/>
                    <a:pt x="70" y="258"/>
                  </a:cubicBezTo>
                  <a:cubicBezTo>
                    <a:pt x="70" y="234"/>
                    <a:pt x="67" y="209"/>
                    <a:pt x="74" y="185"/>
                  </a:cubicBezTo>
                  <a:cubicBezTo>
                    <a:pt x="82" y="161"/>
                    <a:pt x="103" y="147"/>
                    <a:pt x="122" y="131"/>
                  </a:cubicBezTo>
                  <a:cubicBezTo>
                    <a:pt x="136" y="119"/>
                    <a:pt x="148" y="105"/>
                    <a:pt x="154" y="88"/>
                  </a:cubicBezTo>
                  <a:cubicBezTo>
                    <a:pt x="154" y="87"/>
                    <a:pt x="155" y="87"/>
                    <a:pt x="155" y="87"/>
                  </a:cubicBezTo>
                  <a:cubicBezTo>
                    <a:pt x="148" y="109"/>
                    <a:pt x="143" y="132"/>
                    <a:pt x="136" y="154"/>
                  </a:cubicBezTo>
                  <a:cubicBezTo>
                    <a:pt x="131" y="173"/>
                    <a:pt x="125" y="190"/>
                    <a:pt x="113" y="206"/>
                  </a:cubicBezTo>
                  <a:cubicBezTo>
                    <a:pt x="104" y="220"/>
                    <a:pt x="95" y="232"/>
                    <a:pt x="89" y="248"/>
                  </a:cubicBezTo>
                  <a:cubicBezTo>
                    <a:pt x="65" y="319"/>
                    <a:pt x="67" y="398"/>
                    <a:pt x="66" y="471"/>
                  </a:cubicBezTo>
                  <a:cubicBezTo>
                    <a:pt x="65" y="513"/>
                    <a:pt x="53" y="548"/>
                    <a:pt x="41" y="587"/>
                  </a:cubicBezTo>
                  <a:cubicBezTo>
                    <a:pt x="32" y="618"/>
                    <a:pt x="29" y="648"/>
                    <a:pt x="33" y="679"/>
                  </a:cubicBezTo>
                  <a:cubicBezTo>
                    <a:pt x="41" y="744"/>
                    <a:pt x="75" y="815"/>
                    <a:pt x="48" y="879"/>
                  </a:cubicBezTo>
                  <a:cubicBezTo>
                    <a:pt x="46" y="885"/>
                    <a:pt x="56" y="889"/>
                    <a:pt x="58" y="883"/>
                  </a:cubicBezTo>
                  <a:cubicBezTo>
                    <a:pt x="86" y="824"/>
                    <a:pt x="67" y="763"/>
                    <a:pt x="56" y="702"/>
                  </a:cubicBezTo>
                  <a:cubicBezTo>
                    <a:pt x="50" y="665"/>
                    <a:pt x="50" y="630"/>
                    <a:pt x="62" y="593"/>
                  </a:cubicBezTo>
                  <a:cubicBezTo>
                    <a:pt x="73" y="559"/>
                    <a:pt x="85" y="527"/>
                    <a:pt x="87" y="491"/>
                  </a:cubicBezTo>
                  <a:cubicBezTo>
                    <a:pt x="92" y="412"/>
                    <a:pt x="85" y="330"/>
                    <a:pt x="111" y="254"/>
                  </a:cubicBezTo>
                  <a:cubicBezTo>
                    <a:pt x="118" y="236"/>
                    <a:pt x="131" y="223"/>
                    <a:pt x="141" y="206"/>
                  </a:cubicBezTo>
                  <a:cubicBezTo>
                    <a:pt x="149" y="192"/>
                    <a:pt x="154" y="176"/>
                    <a:pt x="158" y="160"/>
                  </a:cubicBezTo>
                  <a:cubicBezTo>
                    <a:pt x="165" y="138"/>
                    <a:pt x="172" y="116"/>
                    <a:pt x="178" y="94"/>
                  </a:cubicBezTo>
                  <a:cubicBezTo>
                    <a:pt x="178" y="109"/>
                    <a:pt x="176" y="124"/>
                    <a:pt x="173" y="139"/>
                  </a:cubicBezTo>
                  <a:cubicBezTo>
                    <a:pt x="166" y="171"/>
                    <a:pt x="154" y="200"/>
                    <a:pt x="143" y="231"/>
                  </a:cubicBezTo>
                  <a:cubicBezTo>
                    <a:pt x="134" y="259"/>
                    <a:pt x="128" y="287"/>
                    <a:pt x="132" y="316"/>
                  </a:cubicBezTo>
                  <a:cubicBezTo>
                    <a:pt x="134" y="332"/>
                    <a:pt x="137" y="348"/>
                    <a:pt x="138" y="363"/>
                  </a:cubicBezTo>
                  <a:cubicBezTo>
                    <a:pt x="138" y="381"/>
                    <a:pt x="133" y="397"/>
                    <a:pt x="127" y="413"/>
                  </a:cubicBezTo>
                  <a:cubicBezTo>
                    <a:pt x="116" y="442"/>
                    <a:pt x="112" y="468"/>
                    <a:pt x="116" y="498"/>
                  </a:cubicBezTo>
                  <a:cubicBezTo>
                    <a:pt x="119" y="531"/>
                    <a:pt x="126" y="563"/>
                    <a:pt x="126" y="596"/>
                  </a:cubicBezTo>
                  <a:cubicBezTo>
                    <a:pt x="127" y="663"/>
                    <a:pt x="110" y="727"/>
                    <a:pt x="102" y="793"/>
                  </a:cubicBezTo>
                  <a:cubicBezTo>
                    <a:pt x="98" y="827"/>
                    <a:pt x="99" y="861"/>
                    <a:pt x="107" y="894"/>
                  </a:cubicBezTo>
                  <a:cubicBezTo>
                    <a:pt x="116" y="931"/>
                    <a:pt x="132" y="966"/>
                    <a:pt x="133" y="1004"/>
                  </a:cubicBezTo>
                  <a:cubicBezTo>
                    <a:pt x="133" y="1008"/>
                    <a:pt x="138" y="1008"/>
                    <a:pt x="139" y="1004"/>
                  </a:cubicBezTo>
                  <a:cubicBezTo>
                    <a:pt x="141" y="976"/>
                    <a:pt x="135" y="949"/>
                    <a:pt x="128" y="921"/>
                  </a:cubicBezTo>
                  <a:cubicBezTo>
                    <a:pt x="119" y="887"/>
                    <a:pt x="113" y="855"/>
                    <a:pt x="116" y="819"/>
                  </a:cubicBezTo>
                  <a:cubicBezTo>
                    <a:pt x="121" y="753"/>
                    <a:pt x="142" y="689"/>
                    <a:pt x="146" y="622"/>
                  </a:cubicBezTo>
                  <a:cubicBezTo>
                    <a:pt x="148" y="592"/>
                    <a:pt x="146" y="561"/>
                    <a:pt x="142" y="531"/>
                  </a:cubicBezTo>
                  <a:cubicBezTo>
                    <a:pt x="136" y="496"/>
                    <a:pt x="132" y="463"/>
                    <a:pt x="144" y="428"/>
                  </a:cubicBezTo>
                  <a:cubicBezTo>
                    <a:pt x="155" y="400"/>
                    <a:pt x="162" y="376"/>
                    <a:pt x="158" y="345"/>
                  </a:cubicBezTo>
                  <a:cubicBezTo>
                    <a:pt x="158" y="344"/>
                    <a:pt x="158" y="343"/>
                    <a:pt x="157" y="342"/>
                  </a:cubicBezTo>
                  <a:cubicBezTo>
                    <a:pt x="168" y="357"/>
                    <a:pt x="175" y="366"/>
                    <a:pt x="177" y="385"/>
                  </a:cubicBezTo>
                  <a:cubicBezTo>
                    <a:pt x="178" y="404"/>
                    <a:pt x="179" y="423"/>
                    <a:pt x="179" y="442"/>
                  </a:cubicBezTo>
                  <a:cubicBezTo>
                    <a:pt x="180" y="479"/>
                    <a:pt x="180" y="516"/>
                    <a:pt x="177" y="552"/>
                  </a:cubicBezTo>
                  <a:cubicBezTo>
                    <a:pt x="176" y="569"/>
                    <a:pt x="175" y="586"/>
                    <a:pt x="170" y="602"/>
                  </a:cubicBezTo>
                  <a:cubicBezTo>
                    <a:pt x="165" y="618"/>
                    <a:pt x="156" y="632"/>
                    <a:pt x="150" y="648"/>
                  </a:cubicBezTo>
                  <a:cubicBezTo>
                    <a:pt x="138" y="679"/>
                    <a:pt x="144" y="717"/>
                    <a:pt x="144" y="750"/>
                  </a:cubicBezTo>
                  <a:cubicBezTo>
                    <a:pt x="145" y="790"/>
                    <a:pt x="145" y="830"/>
                    <a:pt x="146" y="870"/>
                  </a:cubicBezTo>
                  <a:cubicBezTo>
                    <a:pt x="147" y="888"/>
                    <a:pt x="147" y="907"/>
                    <a:pt x="150" y="925"/>
                  </a:cubicBezTo>
                  <a:cubicBezTo>
                    <a:pt x="154" y="943"/>
                    <a:pt x="162" y="959"/>
                    <a:pt x="168" y="976"/>
                  </a:cubicBezTo>
                  <a:cubicBezTo>
                    <a:pt x="184" y="1018"/>
                    <a:pt x="186" y="1061"/>
                    <a:pt x="188" y="1105"/>
                  </a:cubicBezTo>
                  <a:cubicBezTo>
                    <a:pt x="188" y="1111"/>
                    <a:pt x="197" y="1111"/>
                    <a:pt x="197" y="1105"/>
                  </a:cubicBezTo>
                  <a:cubicBezTo>
                    <a:pt x="198" y="1071"/>
                    <a:pt x="199" y="1037"/>
                    <a:pt x="192" y="1003"/>
                  </a:cubicBezTo>
                  <a:cubicBezTo>
                    <a:pt x="185" y="968"/>
                    <a:pt x="167" y="937"/>
                    <a:pt x="164" y="900"/>
                  </a:cubicBezTo>
                  <a:cubicBezTo>
                    <a:pt x="162" y="861"/>
                    <a:pt x="163" y="821"/>
                    <a:pt x="163" y="782"/>
                  </a:cubicBezTo>
                  <a:cubicBezTo>
                    <a:pt x="163" y="745"/>
                    <a:pt x="157" y="703"/>
                    <a:pt x="165" y="667"/>
                  </a:cubicBezTo>
                  <a:cubicBezTo>
                    <a:pt x="168" y="650"/>
                    <a:pt x="178" y="636"/>
                    <a:pt x="185" y="621"/>
                  </a:cubicBezTo>
                  <a:cubicBezTo>
                    <a:pt x="190" y="608"/>
                    <a:pt x="193" y="593"/>
                    <a:pt x="195" y="579"/>
                  </a:cubicBezTo>
                  <a:cubicBezTo>
                    <a:pt x="200" y="544"/>
                    <a:pt x="200" y="508"/>
                    <a:pt x="200" y="473"/>
                  </a:cubicBezTo>
                  <a:cubicBezTo>
                    <a:pt x="200" y="439"/>
                    <a:pt x="202" y="403"/>
                    <a:pt x="196" y="369"/>
                  </a:cubicBezTo>
                  <a:cubicBezTo>
                    <a:pt x="193" y="357"/>
                    <a:pt x="188" y="347"/>
                    <a:pt x="180" y="337"/>
                  </a:cubicBezTo>
                  <a:cubicBezTo>
                    <a:pt x="172" y="327"/>
                    <a:pt x="170" y="320"/>
                    <a:pt x="173" y="305"/>
                  </a:cubicBezTo>
                  <a:cubicBezTo>
                    <a:pt x="175" y="296"/>
                    <a:pt x="179" y="286"/>
                    <a:pt x="182" y="277"/>
                  </a:cubicBezTo>
                  <a:cubicBezTo>
                    <a:pt x="195" y="233"/>
                    <a:pt x="206" y="187"/>
                    <a:pt x="214" y="140"/>
                  </a:cubicBezTo>
                  <a:cubicBezTo>
                    <a:pt x="216" y="151"/>
                    <a:pt x="219" y="162"/>
                    <a:pt x="221" y="173"/>
                  </a:cubicBezTo>
                  <a:cubicBezTo>
                    <a:pt x="221" y="175"/>
                    <a:pt x="220" y="176"/>
                    <a:pt x="219" y="178"/>
                  </a:cubicBezTo>
                  <a:cubicBezTo>
                    <a:pt x="206" y="202"/>
                    <a:pt x="188" y="227"/>
                    <a:pt x="202" y="256"/>
                  </a:cubicBezTo>
                  <a:cubicBezTo>
                    <a:pt x="208" y="266"/>
                    <a:pt x="214" y="273"/>
                    <a:pt x="214" y="285"/>
                  </a:cubicBezTo>
                  <a:cubicBezTo>
                    <a:pt x="215" y="293"/>
                    <a:pt x="214" y="302"/>
                    <a:pt x="213" y="310"/>
                  </a:cubicBezTo>
                  <a:cubicBezTo>
                    <a:pt x="213" y="327"/>
                    <a:pt x="216" y="343"/>
                    <a:pt x="220" y="359"/>
                  </a:cubicBezTo>
                  <a:cubicBezTo>
                    <a:pt x="225" y="374"/>
                    <a:pt x="230" y="388"/>
                    <a:pt x="234" y="404"/>
                  </a:cubicBezTo>
                  <a:cubicBezTo>
                    <a:pt x="239" y="428"/>
                    <a:pt x="236" y="451"/>
                    <a:pt x="232" y="475"/>
                  </a:cubicBezTo>
                  <a:cubicBezTo>
                    <a:pt x="218" y="544"/>
                    <a:pt x="207" y="614"/>
                    <a:pt x="216" y="685"/>
                  </a:cubicBezTo>
                  <a:cubicBezTo>
                    <a:pt x="221" y="717"/>
                    <a:pt x="230" y="747"/>
                    <a:pt x="243" y="776"/>
                  </a:cubicBezTo>
                  <a:cubicBezTo>
                    <a:pt x="236" y="790"/>
                    <a:pt x="229" y="804"/>
                    <a:pt x="226" y="820"/>
                  </a:cubicBezTo>
                  <a:cubicBezTo>
                    <a:pt x="219" y="854"/>
                    <a:pt x="227" y="888"/>
                    <a:pt x="233" y="922"/>
                  </a:cubicBezTo>
                  <a:cubicBezTo>
                    <a:pt x="234" y="926"/>
                    <a:pt x="241" y="925"/>
                    <a:pt x="241" y="921"/>
                  </a:cubicBezTo>
                  <a:cubicBezTo>
                    <a:pt x="236" y="881"/>
                    <a:pt x="233" y="838"/>
                    <a:pt x="251" y="801"/>
                  </a:cubicBezTo>
                  <a:cubicBezTo>
                    <a:pt x="251" y="799"/>
                    <a:pt x="252" y="798"/>
                    <a:pt x="253" y="796"/>
                  </a:cubicBezTo>
                  <a:cubicBezTo>
                    <a:pt x="268" y="828"/>
                    <a:pt x="280" y="859"/>
                    <a:pt x="279" y="897"/>
                  </a:cubicBezTo>
                  <a:cubicBezTo>
                    <a:pt x="276" y="985"/>
                    <a:pt x="223" y="1061"/>
                    <a:pt x="218" y="1149"/>
                  </a:cubicBezTo>
                  <a:cubicBezTo>
                    <a:pt x="218" y="1152"/>
                    <a:pt x="223" y="1152"/>
                    <a:pt x="224" y="1149"/>
                  </a:cubicBezTo>
                  <a:cubicBezTo>
                    <a:pt x="233" y="1069"/>
                    <a:pt x="277" y="999"/>
                    <a:pt x="291" y="920"/>
                  </a:cubicBezTo>
                  <a:cubicBezTo>
                    <a:pt x="297" y="885"/>
                    <a:pt x="295" y="850"/>
                    <a:pt x="282" y="816"/>
                  </a:cubicBezTo>
                  <a:cubicBezTo>
                    <a:pt x="277" y="801"/>
                    <a:pt x="270" y="787"/>
                    <a:pt x="264" y="773"/>
                  </a:cubicBezTo>
                  <a:cubicBezTo>
                    <a:pt x="272" y="755"/>
                    <a:pt x="278" y="737"/>
                    <a:pt x="279" y="714"/>
                  </a:cubicBezTo>
                  <a:cubicBezTo>
                    <a:pt x="281" y="675"/>
                    <a:pt x="276" y="635"/>
                    <a:pt x="275" y="595"/>
                  </a:cubicBezTo>
                  <a:cubicBezTo>
                    <a:pt x="275" y="585"/>
                    <a:pt x="275" y="576"/>
                    <a:pt x="275" y="566"/>
                  </a:cubicBezTo>
                  <a:cubicBezTo>
                    <a:pt x="275" y="566"/>
                    <a:pt x="275" y="566"/>
                    <a:pt x="275" y="566"/>
                  </a:cubicBezTo>
                  <a:cubicBezTo>
                    <a:pt x="280" y="600"/>
                    <a:pt x="303" y="625"/>
                    <a:pt x="313" y="658"/>
                  </a:cubicBezTo>
                  <a:cubicBezTo>
                    <a:pt x="323" y="691"/>
                    <a:pt x="323" y="726"/>
                    <a:pt x="328" y="760"/>
                  </a:cubicBezTo>
                  <a:cubicBezTo>
                    <a:pt x="329" y="767"/>
                    <a:pt x="338" y="764"/>
                    <a:pt x="339" y="759"/>
                  </a:cubicBezTo>
                  <a:cubicBezTo>
                    <a:pt x="343" y="726"/>
                    <a:pt x="341" y="692"/>
                    <a:pt x="333" y="659"/>
                  </a:cubicBezTo>
                  <a:cubicBezTo>
                    <a:pt x="325" y="629"/>
                    <a:pt x="304" y="605"/>
                    <a:pt x="296" y="575"/>
                  </a:cubicBezTo>
                  <a:close/>
                  <a:moveTo>
                    <a:pt x="260" y="396"/>
                  </a:moveTo>
                  <a:cubicBezTo>
                    <a:pt x="259" y="387"/>
                    <a:pt x="259" y="379"/>
                    <a:pt x="260" y="370"/>
                  </a:cubicBezTo>
                  <a:cubicBezTo>
                    <a:pt x="261" y="364"/>
                    <a:pt x="263" y="359"/>
                    <a:pt x="264" y="353"/>
                  </a:cubicBezTo>
                  <a:cubicBezTo>
                    <a:pt x="263" y="367"/>
                    <a:pt x="261" y="381"/>
                    <a:pt x="260" y="396"/>
                  </a:cubicBezTo>
                  <a:close/>
                  <a:moveTo>
                    <a:pt x="299" y="216"/>
                  </a:moveTo>
                  <a:cubicBezTo>
                    <a:pt x="298" y="236"/>
                    <a:pt x="291" y="254"/>
                    <a:pt x="282" y="272"/>
                  </a:cubicBezTo>
                  <a:cubicBezTo>
                    <a:pt x="281" y="265"/>
                    <a:pt x="278" y="258"/>
                    <a:pt x="276" y="251"/>
                  </a:cubicBezTo>
                  <a:cubicBezTo>
                    <a:pt x="264" y="224"/>
                    <a:pt x="252" y="198"/>
                    <a:pt x="245" y="170"/>
                  </a:cubicBezTo>
                  <a:cubicBezTo>
                    <a:pt x="250" y="156"/>
                    <a:pt x="254" y="141"/>
                    <a:pt x="255" y="126"/>
                  </a:cubicBezTo>
                  <a:cubicBezTo>
                    <a:pt x="256" y="128"/>
                    <a:pt x="257" y="129"/>
                    <a:pt x="257" y="131"/>
                  </a:cubicBezTo>
                  <a:cubicBezTo>
                    <a:pt x="268" y="161"/>
                    <a:pt x="300" y="183"/>
                    <a:pt x="299" y="216"/>
                  </a:cubicBezTo>
                  <a:close/>
                  <a:moveTo>
                    <a:pt x="203" y="58"/>
                  </a:moveTo>
                  <a:cubicBezTo>
                    <a:pt x="203" y="63"/>
                    <a:pt x="202" y="67"/>
                    <a:pt x="201" y="71"/>
                  </a:cubicBezTo>
                  <a:cubicBezTo>
                    <a:pt x="201" y="67"/>
                    <a:pt x="201" y="63"/>
                    <a:pt x="201" y="58"/>
                  </a:cubicBezTo>
                  <a:cubicBezTo>
                    <a:pt x="202" y="58"/>
                    <a:pt x="202" y="58"/>
                    <a:pt x="203" y="58"/>
                  </a:cubicBezTo>
                  <a:close/>
                  <a:moveTo>
                    <a:pt x="166" y="257"/>
                  </a:moveTo>
                  <a:cubicBezTo>
                    <a:pt x="163" y="268"/>
                    <a:pt x="158" y="279"/>
                    <a:pt x="154" y="291"/>
                  </a:cubicBezTo>
                  <a:cubicBezTo>
                    <a:pt x="154" y="277"/>
                    <a:pt x="157" y="262"/>
                    <a:pt x="161" y="247"/>
                  </a:cubicBezTo>
                  <a:cubicBezTo>
                    <a:pt x="168" y="226"/>
                    <a:pt x="176" y="207"/>
                    <a:pt x="183" y="187"/>
                  </a:cubicBezTo>
                  <a:cubicBezTo>
                    <a:pt x="178" y="210"/>
                    <a:pt x="172" y="234"/>
                    <a:pt x="166" y="257"/>
                  </a:cubicBezTo>
                  <a:close/>
                  <a:moveTo>
                    <a:pt x="235" y="83"/>
                  </a:moveTo>
                  <a:cubicBezTo>
                    <a:pt x="236" y="94"/>
                    <a:pt x="237" y="106"/>
                    <a:pt x="236" y="118"/>
                  </a:cubicBezTo>
                  <a:cubicBezTo>
                    <a:pt x="235" y="106"/>
                    <a:pt x="235" y="94"/>
                    <a:pt x="235" y="83"/>
                  </a:cubicBezTo>
                  <a:close/>
                  <a:moveTo>
                    <a:pt x="236" y="279"/>
                  </a:moveTo>
                  <a:cubicBezTo>
                    <a:pt x="233" y="259"/>
                    <a:pt x="214" y="244"/>
                    <a:pt x="219" y="223"/>
                  </a:cubicBezTo>
                  <a:cubicBezTo>
                    <a:pt x="221" y="215"/>
                    <a:pt x="225" y="207"/>
                    <a:pt x="229" y="200"/>
                  </a:cubicBezTo>
                  <a:cubicBezTo>
                    <a:pt x="234" y="214"/>
                    <a:pt x="240" y="228"/>
                    <a:pt x="246" y="241"/>
                  </a:cubicBezTo>
                  <a:cubicBezTo>
                    <a:pt x="255" y="260"/>
                    <a:pt x="264" y="280"/>
                    <a:pt x="266" y="301"/>
                  </a:cubicBezTo>
                  <a:cubicBezTo>
                    <a:pt x="266" y="301"/>
                    <a:pt x="266" y="301"/>
                    <a:pt x="266" y="301"/>
                  </a:cubicBezTo>
                  <a:cubicBezTo>
                    <a:pt x="257" y="319"/>
                    <a:pt x="247" y="336"/>
                    <a:pt x="243" y="356"/>
                  </a:cubicBezTo>
                  <a:cubicBezTo>
                    <a:pt x="240" y="348"/>
                    <a:pt x="238" y="341"/>
                    <a:pt x="237" y="333"/>
                  </a:cubicBezTo>
                  <a:cubicBezTo>
                    <a:pt x="234" y="315"/>
                    <a:pt x="238" y="297"/>
                    <a:pt x="236" y="279"/>
                  </a:cubicBezTo>
                  <a:close/>
                  <a:moveTo>
                    <a:pt x="242" y="715"/>
                  </a:moveTo>
                  <a:cubicBezTo>
                    <a:pt x="224" y="640"/>
                    <a:pt x="236" y="562"/>
                    <a:pt x="251" y="488"/>
                  </a:cubicBezTo>
                  <a:cubicBezTo>
                    <a:pt x="253" y="480"/>
                    <a:pt x="254" y="471"/>
                    <a:pt x="256" y="462"/>
                  </a:cubicBezTo>
                  <a:cubicBezTo>
                    <a:pt x="255" y="467"/>
                    <a:pt x="255" y="472"/>
                    <a:pt x="255" y="476"/>
                  </a:cubicBezTo>
                  <a:cubicBezTo>
                    <a:pt x="253" y="518"/>
                    <a:pt x="253" y="561"/>
                    <a:pt x="254" y="603"/>
                  </a:cubicBezTo>
                  <a:cubicBezTo>
                    <a:pt x="255" y="640"/>
                    <a:pt x="260" y="677"/>
                    <a:pt x="259" y="714"/>
                  </a:cubicBezTo>
                  <a:cubicBezTo>
                    <a:pt x="259" y="727"/>
                    <a:pt x="257" y="739"/>
                    <a:pt x="254" y="751"/>
                  </a:cubicBezTo>
                  <a:cubicBezTo>
                    <a:pt x="249" y="739"/>
                    <a:pt x="245" y="727"/>
                    <a:pt x="242" y="715"/>
                  </a:cubicBezTo>
                  <a:close/>
                </a:path>
              </a:pathLst>
            </a:custGeom>
            <a:solidFill>
              <a:srgbClr val="4724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grpSp>
          <p:nvGrpSpPr>
            <p:cNvPr id="28" name="Group 74">
              <a:extLst>
                <a:ext uri="{FF2B5EF4-FFF2-40B4-BE49-F238E27FC236}">
                  <a16:creationId xmlns:a16="http://schemas.microsoft.com/office/drawing/2014/main" id="{C6042A33-499F-4DA5-A950-DA1B874C8511}"/>
                </a:ext>
              </a:extLst>
            </p:cNvPr>
            <p:cNvGrpSpPr/>
            <p:nvPr/>
          </p:nvGrpSpPr>
          <p:grpSpPr>
            <a:xfrm>
              <a:off x="2398713" y="1474788"/>
              <a:ext cx="395288" cy="687388"/>
              <a:chOff x="2398713" y="1474788"/>
              <a:chExt cx="395288" cy="687388"/>
            </a:xfrm>
          </p:grpSpPr>
          <p:sp>
            <p:nvSpPr>
              <p:cNvPr id="70" name="Freeform 5">
                <a:extLst>
                  <a:ext uri="{FF2B5EF4-FFF2-40B4-BE49-F238E27FC236}">
                    <a16:creationId xmlns:a16="http://schemas.microsoft.com/office/drawing/2014/main" id="{7CB62B95-E822-4BA3-ACD3-9A1C624852A0}"/>
                  </a:ext>
                </a:extLst>
              </p:cNvPr>
              <p:cNvSpPr>
                <a:spLocks noEditPoints="1"/>
              </p:cNvSpPr>
              <p:nvPr/>
            </p:nvSpPr>
            <p:spPr bwMode="auto">
              <a:xfrm>
                <a:off x="2474913" y="2030413"/>
                <a:ext cx="166688" cy="98425"/>
              </a:xfrm>
              <a:custGeom>
                <a:avLst/>
                <a:gdLst>
                  <a:gd name="T0" fmla="*/ 2 w 80"/>
                  <a:gd name="T1" fmla="*/ 17 h 48"/>
                  <a:gd name="T2" fmla="*/ 21 w 80"/>
                  <a:gd name="T3" fmla="*/ 30 h 48"/>
                  <a:gd name="T4" fmla="*/ 47 w 80"/>
                  <a:gd name="T5" fmla="*/ 38 h 48"/>
                  <a:gd name="T6" fmla="*/ 60 w 80"/>
                  <a:gd name="T7" fmla="*/ 41 h 48"/>
                  <a:gd name="T8" fmla="*/ 72 w 80"/>
                  <a:gd name="T9" fmla="*/ 46 h 48"/>
                  <a:gd name="T10" fmla="*/ 76 w 80"/>
                  <a:gd name="T11" fmla="*/ 45 h 48"/>
                  <a:gd name="T12" fmla="*/ 78 w 80"/>
                  <a:gd name="T13" fmla="*/ 48 h 48"/>
                  <a:gd name="T14" fmla="*/ 79 w 80"/>
                  <a:gd name="T15" fmla="*/ 47 h 48"/>
                  <a:gd name="T16" fmla="*/ 78 w 80"/>
                  <a:gd name="T17" fmla="*/ 46 h 48"/>
                  <a:gd name="T18" fmla="*/ 78 w 80"/>
                  <a:gd name="T19" fmla="*/ 46 h 48"/>
                  <a:gd name="T20" fmla="*/ 80 w 80"/>
                  <a:gd name="T21" fmla="*/ 45 h 48"/>
                  <a:gd name="T22" fmla="*/ 77 w 80"/>
                  <a:gd name="T23" fmla="*/ 39 h 48"/>
                  <a:gd name="T24" fmla="*/ 73 w 80"/>
                  <a:gd name="T25" fmla="*/ 33 h 48"/>
                  <a:gd name="T26" fmla="*/ 71 w 80"/>
                  <a:gd name="T27" fmla="*/ 32 h 48"/>
                  <a:gd name="T28" fmla="*/ 61 w 80"/>
                  <a:gd name="T29" fmla="*/ 23 h 48"/>
                  <a:gd name="T30" fmla="*/ 54 w 80"/>
                  <a:gd name="T31" fmla="*/ 18 h 48"/>
                  <a:gd name="T32" fmla="*/ 46 w 80"/>
                  <a:gd name="T33" fmla="*/ 13 h 48"/>
                  <a:gd name="T34" fmla="*/ 34 w 80"/>
                  <a:gd name="T35" fmla="*/ 7 h 48"/>
                  <a:gd name="T36" fmla="*/ 15 w 80"/>
                  <a:gd name="T37" fmla="*/ 1 h 48"/>
                  <a:gd name="T38" fmla="*/ 3 w 80"/>
                  <a:gd name="T39" fmla="*/ 5 h 48"/>
                  <a:gd name="T40" fmla="*/ 0 w 80"/>
                  <a:gd name="T41" fmla="*/ 11 h 48"/>
                  <a:gd name="T42" fmla="*/ 2 w 80"/>
                  <a:gd name="T43" fmla="*/ 17 h 48"/>
                  <a:gd name="T44" fmla="*/ 71 w 80"/>
                  <a:gd name="T45" fmla="*/ 39 h 48"/>
                  <a:gd name="T46" fmla="*/ 71 w 80"/>
                  <a:gd name="T47" fmla="*/ 38 h 48"/>
                  <a:gd name="T48" fmla="*/ 72 w 80"/>
                  <a:gd name="T49" fmla="*/ 38 h 48"/>
                  <a:gd name="T50" fmla="*/ 74 w 80"/>
                  <a:gd name="T51" fmla="*/ 41 h 48"/>
                  <a:gd name="T52" fmla="*/ 71 w 80"/>
                  <a:gd name="T53" fmla="*/ 39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0" h="48">
                    <a:moveTo>
                      <a:pt x="2" y="17"/>
                    </a:moveTo>
                    <a:cubicBezTo>
                      <a:pt x="6" y="23"/>
                      <a:pt x="14" y="28"/>
                      <a:pt x="21" y="30"/>
                    </a:cubicBezTo>
                    <a:cubicBezTo>
                      <a:pt x="30" y="33"/>
                      <a:pt x="39" y="35"/>
                      <a:pt x="47" y="38"/>
                    </a:cubicBezTo>
                    <a:cubicBezTo>
                      <a:pt x="52" y="39"/>
                      <a:pt x="56" y="40"/>
                      <a:pt x="60" y="41"/>
                    </a:cubicBezTo>
                    <a:cubicBezTo>
                      <a:pt x="64" y="42"/>
                      <a:pt x="69" y="43"/>
                      <a:pt x="72" y="46"/>
                    </a:cubicBezTo>
                    <a:cubicBezTo>
                      <a:pt x="74" y="47"/>
                      <a:pt x="76" y="46"/>
                      <a:pt x="76" y="45"/>
                    </a:cubicBezTo>
                    <a:cubicBezTo>
                      <a:pt x="77" y="46"/>
                      <a:pt x="77" y="47"/>
                      <a:pt x="78" y="48"/>
                    </a:cubicBezTo>
                    <a:cubicBezTo>
                      <a:pt x="78" y="48"/>
                      <a:pt x="79" y="48"/>
                      <a:pt x="79" y="47"/>
                    </a:cubicBezTo>
                    <a:cubicBezTo>
                      <a:pt x="79" y="47"/>
                      <a:pt x="78" y="47"/>
                      <a:pt x="78" y="46"/>
                    </a:cubicBezTo>
                    <a:cubicBezTo>
                      <a:pt x="78" y="46"/>
                      <a:pt x="78" y="46"/>
                      <a:pt x="78" y="46"/>
                    </a:cubicBezTo>
                    <a:cubicBezTo>
                      <a:pt x="79" y="47"/>
                      <a:pt x="80" y="46"/>
                      <a:pt x="80" y="45"/>
                    </a:cubicBezTo>
                    <a:cubicBezTo>
                      <a:pt x="79" y="43"/>
                      <a:pt x="78" y="41"/>
                      <a:pt x="77" y="39"/>
                    </a:cubicBezTo>
                    <a:cubicBezTo>
                      <a:pt x="76" y="37"/>
                      <a:pt x="75" y="35"/>
                      <a:pt x="73" y="33"/>
                    </a:cubicBezTo>
                    <a:cubicBezTo>
                      <a:pt x="73" y="33"/>
                      <a:pt x="72" y="32"/>
                      <a:pt x="71" y="32"/>
                    </a:cubicBezTo>
                    <a:cubicBezTo>
                      <a:pt x="69" y="28"/>
                      <a:pt x="64" y="25"/>
                      <a:pt x="61" y="23"/>
                    </a:cubicBezTo>
                    <a:cubicBezTo>
                      <a:pt x="59" y="21"/>
                      <a:pt x="56" y="20"/>
                      <a:pt x="54" y="18"/>
                    </a:cubicBezTo>
                    <a:cubicBezTo>
                      <a:pt x="51" y="16"/>
                      <a:pt x="49" y="14"/>
                      <a:pt x="46" y="13"/>
                    </a:cubicBezTo>
                    <a:cubicBezTo>
                      <a:pt x="43" y="10"/>
                      <a:pt x="39" y="7"/>
                      <a:pt x="34" y="7"/>
                    </a:cubicBezTo>
                    <a:cubicBezTo>
                      <a:pt x="28" y="4"/>
                      <a:pt x="22" y="2"/>
                      <a:pt x="15" y="1"/>
                    </a:cubicBezTo>
                    <a:cubicBezTo>
                      <a:pt x="11" y="0"/>
                      <a:pt x="6" y="1"/>
                      <a:pt x="3" y="5"/>
                    </a:cubicBezTo>
                    <a:cubicBezTo>
                      <a:pt x="1" y="7"/>
                      <a:pt x="0" y="8"/>
                      <a:pt x="0" y="11"/>
                    </a:cubicBezTo>
                    <a:cubicBezTo>
                      <a:pt x="0" y="13"/>
                      <a:pt x="1" y="15"/>
                      <a:pt x="2" y="17"/>
                    </a:cubicBezTo>
                    <a:close/>
                    <a:moveTo>
                      <a:pt x="71" y="39"/>
                    </a:moveTo>
                    <a:cubicBezTo>
                      <a:pt x="71" y="38"/>
                      <a:pt x="71" y="38"/>
                      <a:pt x="71" y="38"/>
                    </a:cubicBezTo>
                    <a:cubicBezTo>
                      <a:pt x="71" y="38"/>
                      <a:pt x="72" y="38"/>
                      <a:pt x="72" y="38"/>
                    </a:cubicBezTo>
                    <a:cubicBezTo>
                      <a:pt x="73" y="39"/>
                      <a:pt x="73" y="40"/>
                      <a:pt x="74" y="41"/>
                    </a:cubicBezTo>
                    <a:cubicBezTo>
                      <a:pt x="73" y="40"/>
                      <a:pt x="72" y="39"/>
                      <a:pt x="71" y="39"/>
                    </a:cubicBezTo>
                    <a:close/>
                  </a:path>
                </a:pathLst>
              </a:custGeom>
              <a:solidFill>
                <a:srgbClr val="4E16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71" name="Freeform 6">
                <a:extLst>
                  <a:ext uri="{FF2B5EF4-FFF2-40B4-BE49-F238E27FC236}">
                    <a16:creationId xmlns:a16="http://schemas.microsoft.com/office/drawing/2014/main" id="{113D1F2A-323E-466D-A7BE-75E4596A21AB}"/>
                  </a:ext>
                </a:extLst>
              </p:cNvPr>
              <p:cNvSpPr>
                <a:spLocks noEditPoints="1"/>
              </p:cNvSpPr>
              <p:nvPr/>
            </p:nvSpPr>
            <p:spPr bwMode="auto">
              <a:xfrm>
                <a:off x="2633663" y="2005013"/>
                <a:ext cx="160338" cy="157163"/>
              </a:xfrm>
              <a:custGeom>
                <a:avLst/>
                <a:gdLst>
                  <a:gd name="T0" fmla="*/ 0 w 77"/>
                  <a:gd name="T1" fmla="*/ 75 h 76"/>
                  <a:gd name="T2" fmla="*/ 1 w 77"/>
                  <a:gd name="T3" fmla="*/ 76 h 76"/>
                  <a:gd name="T4" fmla="*/ 8 w 77"/>
                  <a:gd name="T5" fmla="*/ 61 h 76"/>
                  <a:gd name="T6" fmla="*/ 14 w 77"/>
                  <a:gd name="T7" fmla="*/ 54 h 76"/>
                  <a:gd name="T8" fmla="*/ 16 w 77"/>
                  <a:gd name="T9" fmla="*/ 52 h 76"/>
                  <a:gd name="T10" fmla="*/ 18 w 77"/>
                  <a:gd name="T11" fmla="*/ 51 h 76"/>
                  <a:gd name="T12" fmla="*/ 24 w 77"/>
                  <a:gd name="T13" fmla="*/ 45 h 76"/>
                  <a:gd name="T14" fmla="*/ 31 w 77"/>
                  <a:gd name="T15" fmla="*/ 41 h 76"/>
                  <a:gd name="T16" fmla="*/ 53 w 77"/>
                  <a:gd name="T17" fmla="*/ 33 h 76"/>
                  <a:gd name="T18" fmla="*/ 73 w 77"/>
                  <a:gd name="T19" fmla="*/ 7 h 76"/>
                  <a:gd name="T20" fmla="*/ 59 w 77"/>
                  <a:gd name="T21" fmla="*/ 0 h 76"/>
                  <a:gd name="T22" fmla="*/ 42 w 77"/>
                  <a:gd name="T23" fmla="*/ 9 h 76"/>
                  <a:gd name="T24" fmla="*/ 25 w 77"/>
                  <a:gd name="T25" fmla="*/ 27 h 76"/>
                  <a:gd name="T26" fmla="*/ 14 w 77"/>
                  <a:gd name="T27" fmla="*/ 43 h 76"/>
                  <a:gd name="T28" fmla="*/ 9 w 77"/>
                  <a:gd name="T29" fmla="*/ 53 h 76"/>
                  <a:gd name="T30" fmla="*/ 10 w 77"/>
                  <a:gd name="T31" fmla="*/ 53 h 76"/>
                  <a:gd name="T32" fmla="*/ 0 w 77"/>
                  <a:gd name="T33" fmla="*/ 75 h 76"/>
                  <a:gd name="T34" fmla="*/ 11 w 77"/>
                  <a:gd name="T35" fmla="*/ 54 h 76"/>
                  <a:gd name="T36" fmla="*/ 11 w 77"/>
                  <a:gd name="T37" fmla="*/ 54 h 76"/>
                  <a:gd name="T38" fmla="*/ 11 w 77"/>
                  <a:gd name="T39" fmla="*/ 53 h 76"/>
                  <a:gd name="T40" fmla="*/ 13 w 77"/>
                  <a:gd name="T41" fmla="*/ 51 h 76"/>
                  <a:gd name="T42" fmla="*/ 13 w 77"/>
                  <a:gd name="T43" fmla="*/ 52 h 76"/>
                  <a:gd name="T44" fmla="*/ 13 w 77"/>
                  <a:gd name="T45" fmla="*/ 52 h 76"/>
                  <a:gd name="T46" fmla="*/ 11 w 77"/>
                  <a:gd name="T47" fmla="*/ 5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7" h="76">
                    <a:moveTo>
                      <a:pt x="0" y="75"/>
                    </a:moveTo>
                    <a:cubicBezTo>
                      <a:pt x="0" y="76"/>
                      <a:pt x="0" y="76"/>
                      <a:pt x="1" y="76"/>
                    </a:cubicBezTo>
                    <a:cubicBezTo>
                      <a:pt x="4" y="72"/>
                      <a:pt x="6" y="66"/>
                      <a:pt x="8" y="61"/>
                    </a:cubicBezTo>
                    <a:cubicBezTo>
                      <a:pt x="10" y="59"/>
                      <a:pt x="13" y="57"/>
                      <a:pt x="14" y="54"/>
                    </a:cubicBezTo>
                    <a:cubicBezTo>
                      <a:pt x="15" y="54"/>
                      <a:pt x="16" y="53"/>
                      <a:pt x="16" y="52"/>
                    </a:cubicBezTo>
                    <a:cubicBezTo>
                      <a:pt x="17" y="52"/>
                      <a:pt x="17" y="52"/>
                      <a:pt x="18" y="51"/>
                    </a:cubicBezTo>
                    <a:cubicBezTo>
                      <a:pt x="20" y="49"/>
                      <a:pt x="22" y="47"/>
                      <a:pt x="24" y="45"/>
                    </a:cubicBezTo>
                    <a:cubicBezTo>
                      <a:pt x="26" y="43"/>
                      <a:pt x="28" y="42"/>
                      <a:pt x="31" y="41"/>
                    </a:cubicBezTo>
                    <a:cubicBezTo>
                      <a:pt x="38" y="38"/>
                      <a:pt x="46" y="36"/>
                      <a:pt x="53" y="33"/>
                    </a:cubicBezTo>
                    <a:cubicBezTo>
                      <a:pt x="62" y="29"/>
                      <a:pt x="77" y="19"/>
                      <a:pt x="73" y="7"/>
                    </a:cubicBezTo>
                    <a:cubicBezTo>
                      <a:pt x="72" y="1"/>
                      <a:pt x="64" y="0"/>
                      <a:pt x="59" y="0"/>
                    </a:cubicBezTo>
                    <a:cubicBezTo>
                      <a:pt x="52" y="1"/>
                      <a:pt x="46" y="5"/>
                      <a:pt x="42" y="9"/>
                    </a:cubicBezTo>
                    <a:cubicBezTo>
                      <a:pt x="36" y="15"/>
                      <a:pt x="30" y="21"/>
                      <a:pt x="25" y="27"/>
                    </a:cubicBezTo>
                    <a:cubicBezTo>
                      <a:pt x="21" y="32"/>
                      <a:pt x="17" y="37"/>
                      <a:pt x="14" y="43"/>
                    </a:cubicBezTo>
                    <a:cubicBezTo>
                      <a:pt x="12" y="46"/>
                      <a:pt x="10" y="49"/>
                      <a:pt x="9" y="53"/>
                    </a:cubicBezTo>
                    <a:cubicBezTo>
                      <a:pt x="9" y="53"/>
                      <a:pt x="9" y="53"/>
                      <a:pt x="10" y="53"/>
                    </a:cubicBezTo>
                    <a:cubicBezTo>
                      <a:pt x="6" y="60"/>
                      <a:pt x="2" y="68"/>
                      <a:pt x="0" y="75"/>
                    </a:cubicBezTo>
                    <a:close/>
                    <a:moveTo>
                      <a:pt x="11" y="54"/>
                    </a:moveTo>
                    <a:cubicBezTo>
                      <a:pt x="11" y="54"/>
                      <a:pt x="11" y="54"/>
                      <a:pt x="11" y="54"/>
                    </a:cubicBezTo>
                    <a:cubicBezTo>
                      <a:pt x="11" y="53"/>
                      <a:pt x="11" y="53"/>
                      <a:pt x="11" y="53"/>
                    </a:cubicBezTo>
                    <a:cubicBezTo>
                      <a:pt x="11" y="52"/>
                      <a:pt x="12" y="52"/>
                      <a:pt x="13" y="51"/>
                    </a:cubicBezTo>
                    <a:cubicBezTo>
                      <a:pt x="13" y="51"/>
                      <a:pt x="13" y="52"/>
                      <a:pt x="13" y="52"/>
                    </a:cubicBezTo>
                    <a:cubicBezTo>
                      <a:pt x="13" y="52"/>
                      <a:pt x="13" y="52"/>
                      <a:pt x="13" y="52"/>
                    </a:cubicBezTo>
                    <a:cubicBezTo>
                      <a:pt x="12" y="53"/>
                      <a:pt x="12" y="53"/>
                      <a:pt x="11" y="54"/>
                    </a:cubicBezTo>
                    <a:close/>
                  </a:path>
                </a:pathLst>
              </a:custGeom>
              <a:solidFill>
                <a:srgbClr val="4E16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72" name="Freeform 7">
                <a:extLst>
                  <a:ext uri="{FF2B5EF4-FFF2-40B4-BE49-F238E27FC236}">
                    <a16:creationId xmlns:a16="http://schemas.microsoft.com/office/drawing/2014/main" id="{58A3FB64-BF8D-4561-9590-D8611BE1C40C}"/>
                  </a:ext>
                </a:extLst>
              </p:cNvPr>
              <p:cNvSpPr>
                <a:spLocks/>
              </p:cNvSpPr>
              <p:nvPr/>
            </p:nvSpPr>
            <p:spPr bwMode="auto">
              <a:xfrm>
                <a:off x="2655888" y="1679575"/>
                <a:ext cx="87313" cy="184150"/>
              </a:xfrm>
              <a:custGeom>
                <a:avLst/>
                <a:gdLst>
                  <a:gd name="T0" fmla="*/ 11 w 42"/>
                  <a:gd name="T1" fmla="*/ 65 h 89"/>
                  <a:gd name="T2" fmla="*/ 6 w 42"/>
                  <a:gd name="T3" fmla="*/ 88 h 89"/>
                  <a:gd name="T4" fmla="*/ 4 w 42"/>
                  <a:gd name="T5" fmla="*/ 88 h 89"/>
                  <a:gd name="T6" fmla="*/ 4 w 42"/>
                  <a:gd name="T7" fmla="*/ 86 h 89"/>
                  <a:gd name="T8" fmla="*/ 3 w 42"/>
                  <a:gd name="T9" fmla="*/ 87 h 89"/>
                  <a:gd name="T10" fmla="*/ 2 w 42"/>
                  <a:gd name="T11" fmla="*/ 86 h 89"/>
                  <a:gd name="T12" fmla="*/ 2 w 42"/>
                  <a:gd name="T13" fmla="*/ 85 h 89"/>
                  <a:gd name="T14" fmla="*/ 3 w 42"/>
                  <a:gd name="T15" fmla="*/ 58 h 89"/>
                  <a:gd name="T16" fmla="*/ 3 w 42"/>
                  <a:gd name="T17" fmla="*/ 58 h 89"/>
                  <a:gd name="T18" fmla="*/ 7 w 42"/>
                  <a:gd name="T19" fmla="*/ 36 h 89"/>
                  <a:gd name="T20" fmla="*/ 13 w 42"/>
                  <a:gd name="T21" fmla="*/ 14 h 89"/>
                  <a:gd name="T22" fmla="*/ 38 w 42"/>
                  <a:gd name="T23" fmla="*/ 12 h 89"/>
                  <a:gd name="T24" fmla="*/ 23 w 42"/>
                  <a:gd name="T25" fmla="*/ 47 h 89"/>
                  <a:gd name="T26" fmla="*/ 11 w 42"/>
                  <a:gd name="T27" fmla="*/ 65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2" h="89">
                    <a:moveTo>
                      <a:pt x="11" y="65"/>
                    </a:moveTo>
                    <a:cubicBezTo>
                      <a:pt x="8" y="72"/>
                      <a:pt x="6" y="80"/>
                      <a:pt x="6" y="88"/>
                    </a:cubicBezTo>
                    <a:cubicBezTo>
                      <a:pt x="6" y="89"/>
                      <a:pt x="4" y="89"/>
                      <a:pt x="4" y="88"/>
                    </a:cubicBezTo>
                    <a:cubicBezTo>
                      <a:pt x="4" y="88"/>
                      <a:pt x="4" y="87"/>
                      <a:pt x="4" y="86"/>
                    </a:cubicBezTo>
                    <a:cubicBezTo>
                      <a:pt x="4" y="87"/>
                      <a:pt x="3" y="87"/>
                      <a:pt x="3" y="87"/>
                    </a:cubicBezTo>
                    <a:cubicBezTo>
                      <a:pt x="2" y="87"/>
                      <a:pt x="2" y="87"/>
                      <a:pt x="2" y="86"/>
                    </a:cubicBezTo>
                    <a:cubicBezTo>
                      <a:pt x="2" y="86"/>
                      <a:pt x="2" y="86"/>
                      <a:pt x="2" y="85"/>
                    </a:cubicBezTo>
                    <a:cubicBezTo>
                      <a:pt x="0" y="77"/>
                      <a:pt x="0" y="67"/>
                      <a:pt x="3" y="58"/>
                    </a:cubicBezTo>
                    <a:cubicBezTo>
                      <a:pt x="3" y="58"/>
                      <a:pt x="3" y="58"/>
                      <a:pt x="3" y="58"/>
                    </a:cubicBezTo>
                    <a:cubicBezTo>
                      <a:pt x="4" y="51"/>
                      <a:pt x="5" y="44"/>
                      <a:pt x="7" y="36"/>
                    </a:cubicBezTo>
                    <a:cubicBezTo>
                      <a:pt x="8" y="29"/>
                      <a:pt x="9" y="21"/>
                      <a:pt x="13" y="14"/>
                    </a:cubicBezTo>
                    <a:cubicBezTo>
                      <a:pt x="17" y="5"/>
                      <a:pt x="33" y="0"/>
                      <a:pt x="38" y="12"/>
                    </a:cubicBezTo>
                    <a:cubicBezTo>
                      <a:pt x="42" y="25"/>
                      <a:pt x="29" y="37"/>
                      <a:pt x="23" y="47"/>
                    </a:cubicBezTo>
                    <a:cubicBezTo>
                      <a:pt x="19" y="53"/>
                      <a:pt x="15" y="58"/>
                      <a:pt x="11" y="65"/>
                    </a:cubicBezTo>
                    <a:close/>
                  </a:path>
                </a:pathLst>
              </a:custGeom>
              <a:solidFill>
                <a:srgbClr val="4E16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73" name="Freeform 8">
                <a:extLst>
                  <a:ext uri="{FF2B5EF4-FFF2-40B4-BE49-F238E27FC236}">
                    <a16:creationId xmlns:a16="http://schemas.microsoft.com/office/drawing/2014/main" id="{70546193-F12B-4398-B73F-8019468959C1}"/>
                  </a:ext>
                </a:extLst>
              </p:cNvPr>
              <p:cNvSpPr>
                <a:spLocks/>
              </p:cNvSpPr>
              <p:nvPr/>
            </p:nvSpPr>
            <p:spPr bwMode="auto">
              <a:xfrm>
                <a:off x="2398713" y="1684338"/>
                <a:ext cx="130175" cy="133350"/>
              </a:xfrm>
              <a:custGeom>
                <a:avLst/>
                <a:gdLst>
                  <a:gd name="T0" fmla="*/ 1 w 63"/>
                  <a:gd name="T1" fmla="*/ 27 h 65"/>
                  <a:gd name="T2" fmla="*/ 11 w 63"/>
                  <a:gd name="T3" fmla="*/ 7 h 65"/>
                  <a:gd name="T4" fmla="*/ 26 w 63"/>
                  <a:gd name="T5" fmla="*/ 2 h 65"/>
                  <a:gd name="T6" fmla="*/ 44 w 63"/>
                  <a:gd name="T7" fmla="*/ 4 h 65"/>
                  <a:gd name="T8" fmla="*/ 61 w 63"/>
                  <a:gd name="T9" fmla="*/ 20 h 65"/>
                  <a:gd name="T10" fmla="*/ 62 w 63"/>
                  <a:gd name="T11" fmla="*/ 36 h 65"/>
                  <a:gd name="T12" fmla="*/ 62 w 63"/>
                  <a:gd name="T13" fmla="*/ 39 h 65"/>
                  <a:gd name="T14" fmla="*/ 61 w 63"/>
                  <a:gd name="T15" fmla="*/ 40 h 65"/>
                  <a:gd name="T16" fmla="*/ 59 w 63"/>
                  <a:gd name="T17" fmla="*/ 43 h 65"/>
                  <a:gd name="T18" fmla="*/ 52 w 63"/>
                  <a:gd name="T19" fmla="*/ 55 h 65"/>
                  <a:gd name="T20" fmla="*/ 43 w 63"/>
                  <a:gd name="T21" fmla="*/ 60 h 65"/>
                  <a:gd name="T22" fmla="*/ 12 w 63"/>
                  <a:gd name="T23" fmla="*/ 57 h 65"/>
                  <a:gd name="T24" fmla="*/ 2 w 63"/>
                  <a:gd name="T25" fmla="*/ 43 h 65"/>
                  <a:gd name="T26" fmla="*/ 1 w 63"/>
                  <a:gd name="T27" fmla="*/ 27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65">
                    <a:moveTo>
                      <a:pt x="1" y="27"/>
                    </a:moveTo>
                    <a:cubicBezTo>
                      <a:pt x="2" y="20"/>
                      <a:pt x="4" y="11"/>
                      <a:pt x="11" y="7"/>
                    </a:cubicBezTo>
                    <a:cubicBezTo>
                      <a:pt x="15" y="4"/>
                      <a:pt x="21" y="3"/>
                      <a:pt x="26" y="2"/>
                    </a:cubicBezTo>
                    <a:cubicBezTo>
                      <a:pt x="32" y="0"/>
                      <a:pt x="38" y="1"/>
                      <a:pt x="44" y="4"/>
                    </a:cubicBezTo>
                    <a:cubicBezTo>
                      <a:pt x="51" y="7"/>
                      <a:pt x="57" y="12"/>
                      <a:pt x="61" y="20"/>
                    </a:cubicBezTo>
                    <a:cubicBezTo>
                      <a:pt x="63" y="25"/>
                      <a:pt x="63" y="30"/>
                      <a:pt x="62" y="36"/>
                    </a:cubicBezTo>
                    <a:cubicBezTo>
                      <a:pt x="62" y="37"/>
                      <a:pt x="62" y="38"/>
                      <a:pt x="62" y="39"/>
                    </a:cubicBezTo>
                    <a:cubicBezTo>
                      <a:pt x="62" y="39"/>
                      <a:pt x="62" y="40"/>
                      <a:pt x="61" y="40"/>
                    </a:cubicBezTo>
                    <a:cubicBezTo>
                      <a:pt x="61" y="41"/>
                      <a:pt x="60" y="42"/>
                      <a:pt x="59" y="43"/>
                    </a:cubicBezTo>
                    <a:cubicBezTo>
                      <a:pt x="58" y="48"/>
                      <a:pt x="55" y="51"/>
                      <a:pt x="52" y="55"/>
                    </a:cubicBezTo>
                    <a:cubicBezTo>
                      <a:pt x="49" y="57"/>
                      <a:pt x="46" y="59"/>
                      <a:pt x="43" y="60"/>
                    </a:cubicBezTo>
                    <a:cubicBezTo>
                      <a:pt x="33" y="65"/>
                      <a:pt x="21" y="64"/>
                      <a:pt x="12" y="57"/>
                    </a:cubicBezTo>
                    <a:cubicBezTo>
                      <a:pt x="7" y="54"/>
                      <a:pt x="4" y="49"/>
                      <a:pt x="2" y="43"/>
                    </a:cubicBezTo>
                    <a:cubicBezTo>
                      <a:pt x="0" y="38"/>
                      <a:pt x="0" y="33"/>
                      <a:pt x="1" y="27"/>
                    </a:cubicBezTo>
                    <a:close/>
                  </a:path>
                </a:pathLst>
              </a:custGeom>
              <a:solidFill>
                <a:srgbClr val="8C1A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74" name="Freeform 9">
                <a:extLst>
                  <a:ext uri="{FF2B5EF4-FFF2-40B4-BE49-F238E27FC236}">
                    <a16:creationId xmlns:a16="http://schemas.microsoft.com/office/drawing/2014/main" id="{E76AD5F7-84F5-42D0-BD08-2B63F69EF430}"/>
                  </a:ext>
                </a:extLst>
              </p:cNvPr>
              <p:cNvSpPr>
                <a:spLocks/>
              </p:cNvSpPr>
              <p:nvPr/>
            </p:nvSpPr>
            <p:spPr bwMode="auto">
              <a:xfrm>
                <a:off x="2452688" y="1828800"/>
                <a:ext cx="146050" cy="153988"/>
              </a:xfrm>
              <a:custGeom>
                <a:avLst/>
                <a:gdLst>
                  <a:gd name="T0" fmla="*/ 17 w 70"/>
                  <a:gd name="T1" fmla="*/ 4 h 75"/>
                  <a:gd name="T2" fmla="*/ 40 w 70"/>
                  <a:gd name="T3" fmla="*/ 3 h 75"/>
                  <a:gd name="T4" fmla="*/ 69 w 70"/>
                  <a:gd name="T5" fmla="*/ 40 h 75"/>
                  <a:gd name="T6" fmla="*/ 48 w 70"/>
                  <a:gd name="T7" fmla="*/ 70 h 75"/>
                  <a:gd name="T8" fmla="*/ 19 w 70"/>
                  <a:gd name="T9" fmla="*/ 69 h 75"/>
                  <a:gd name="T10" fmla="*/ 3 w 70"/>
                  <a:gd name="T11" fmla="*/ 22 h 75"/>
                  <a:gd name="T12" fmla="*/ 17 w 70"/>
                  <a:gd name="T13" fmla="*/ 4 h 75"/>
                </a:gdLst>
                <a:ahLst/>
                <a:cxnLst>
                  <a:cxn ang="0">
                    <a:pos x="T0" y="T1"/>
                  </a:cxn>
                  <a:cxn ang="0">
                    <a:pos x="T2" y="T3"/>
                  </a:cxn>
                  <a:cxn ang="0">
                    <a:pos x="T4" y="T5"/>
                  </a:cxn>
                  <a:cxn ang="0">
                    <a:pos x="T6" y="T7"/>
                  </a:cxn>
                  <a:cxn ang="0">
                    <a:pos x="T8" y="T9"/>
                  </a:cxn>
                  <a:cxn ang="0">
                    <a:pos x="T10" y="T11"/>
                  </a:cxn>
                  <a:cxn ang="0">
                    <a:pos x="T12" y="T13"/>
                  </a:cxn>
                </a:cxnLst>
                <a:rect l="0" t="0" r="r" b="b"/>
                <a:pathLst>
                  <a:path w="70" h="75">
                    <a:moveTo>
                      <a:pt x="17" y="4"/>
                    </a:moveTo>
                    <a:cubicBezTo>
                      <a:pt x="25" y="0"/>
                      <a:pt x="33" y="0"/>
                      <a:pt x="40" y="3"/>
                    </a:cubicBezTo>
                    <a:cubicBezTo>
                      <a:pt x="55" y="9"/>
                      <a:pt x="68" y="23"/>
                      <a:pt x="69" y="40"/>
                    </a:cubicBezTo>
                    <a:cubicBezTo>
                      <a:pt x="70" y="53"/>
                      <a:pt x="62" y="68"/>
                      <a:pt x="48" y="70"/>
                    </a:cubicBezTo>
                    <a:cubicBezTo>
                      <a:pt x="39" y="75"/>
                      <a:pt x="28" y="75"/>
                      <a:pt x="19" y="69"/>
                    </a:cubicBezTo>
                    <a:cubicBezTo>
                      <a:pt x="6" y="59"/>
                      <a:pt x="0" y="37"/>
                      <a:pt x="3" y="22"/>
                    </a:cubicBezTo>
                    <a:cubicBezTo>
                      <a:pt x="5" y="14"/>
                      <a:pt x="11" y="8"/>
                      <a:pt x="17" y="4"/>
                    </a:cubicBezTo>
                    <a:close/>
                  </a:path>
                </a:pathLst>
              </a:custGeom>
              <a:solidFill>
                <a:srgbClr val="8C1A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75" name="Freeform 10">
                <a:extLst>
                  <a:ext uri="{FF2B5EF4-FFF2-40B4-BE49-F238E27FC236}">
                    <a16:creationId xmlns:a16="http://schemas.microsoft.com/office/drawing/2014/main" id="{4BE03501-9D2A-4770-9F17-30353B18BE7A}"/>
                  </a:ext>
                </a:extLst>
              </p:cNvPr>
              <p:cNvSpPr>
                <a:spLocks/>
              </p:cNvSpPr>
              <p:nvPr/>
            </p:nvSpPr>
            <p:spPr bwMode="auto">
              <a:xfrm>
                <a:off x="2455863" y="1474788"/>
                <a:ext cx="127000" cy="141288"/>
              </a:xfrm>
              <a:custGeom>
                <a:avLst/>
                <a:gdLst>
                  <a:gd name="T0" fmla="*/ 8 w 61"/>
                  <a:gd name="T1" fmla="*/ 50 h 69"/>
                  <a:gd name="T2" fmla="*/ 2 w 61"/>
                  <a:gd name="T3" fmla="*/ 22 h 69"/>
                  <a:gd name="T4" fmla="*/ 16 w 61"/>
                  <a:gd name="T5" fmla="*/ 3 h 69"/>
                  <a:gd name="T6" fmla="*/ 40 w 61"/>
                  <a:gd name="T7" fmla="*/ 9 h 69"/>
                  <a:gd name="T8" fmla="*/ 51 w 61"/>
                  <a:gd name="T9" fmla="*/ 19 h 69"/>
                  <a:gd name="T10" fmla="*/ 54 w 61"/>
                  <a:gd name="T11" fmla="*/ 25 h 69"/>
                  <a:gd name="T12" fmla="*/ 57 w 61"/>
                  <a:gd name="T13" fmla="*/ 31 h 69"/>
                  <a:gd name="T14" fmla="*/ 53 w 61"/>
                  <a:gd name="T15" fmla="*/ 58 h 69"/>
                  <a:gd name="T16" fmla="*/ 27 w 61"/>
                  <a:gd name="T17" fmla="*/ 67 h 69"/>
                  <a:gd name="T18" fmla="*/ 8 w 61"/>
                  <a:gd name="T19" fmla="*/ 5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69">
                    <a:moveTo>
                      <a:pt x="8" y="50"/>
                    </a:moveTo>
                    <a:cubicBezTo>
                      <a:pt x="3" y="41"/>
                      <a:pt x="0" y="32"/>
                      <a:pt x="2" y="22"/>
                    </a:cubicBezTo>
                    <a:cubicBezTo>
                      <a:pt x="3" y="14"/>
                      <a:pt x="9" y="6"/>
                      <a:pt x="16" y="3"/>
                    </a:cubicBezTo>
                    <a:cubicBezTo>
                      <a:pt x="25" y="0"/>
                      <a:pt x="33" y="4"/>
                      <a:pt x="40" y="9"/>
                    </a:cubicBezTo>
                    <a:cubicBezTo>
                      <a:pt x="44" y="12"/>
                      <a:pt x="49" y="15"/>
                      <a:pt x="51" y="19"/>
                    </a:cubicBezTo>
                    <a:cubicBezTo>
                      <a:pt x="52" y="21"/>
                      <a:pt x="53" y="23"/>
                      <a:pt x="54" y="25"/>
                    </a:cubicBezTo>
                    <a:cubicBezTo>
                      <a:pt x="55" y="27"/>
                      <a:pt x="56" y="29"/>
                      <a:pt x="57" y="31"/>
                    </a:cubicBezTo>
                    <a:cubicBezTo>
                      <a:pt x="61" y="41"/>
                      <a:pt x="60" y="51"/>
                      <a:pt x="53" y="58"/>
                    </a:cubicBezTo>
                    <a:cubicBezTo>
                      <a:pt x="47" y="65"/>
                      <a:pt x="37" y="69"/>
                      <a:pt x="27" y="67"/>
                    </a:cubicBezTo>
                    <a:cubicBezTo>
                      <a:pt x="18" y="65"/>
                      <a:pt x="13" y="58"/>
                      <a:pt x="8" y="50"/>
                    </a:cubicBezTo>
                    <a:close/>
                  </a:path>
                </a:pathLst>
              </a:custGeom>
              <a:solidFill>
                <a:srgbClr val="8C1A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76" name="Freeform 11">
                <a:extLst>
                  <a:ext uri="{FF2B5EF4-FFF2-40B4-BE49-F238E27FC236}">
                    <a16:creationId xmlns:a16="http://schemas.microsoft.com/office/drawing/2014/main" id="{8DE7E16D-1330-4312-89BE-666C26F6BE4C}"/>
                  </a:ext>
                </a:extLst>
              </p:cNvPr>
              <p:cNvSpPr>
                <a:spLocks/>
              </p:cNvSpPr>
              <p:nvPr/>
            </p:nvSpPr>
            <p:spPr bwMode="auto">
              <a:xfrm>
                <a:off x="2476500" y="1490663"/>
                <a:ext cx="19050" cy="15875"/>
              </a:xfrm>
              <a:custGeom>
                <a:avLst/>
                <a:gdLst>
                  <a:gd name="T0" fmla="*/ 1 w 9"/>
                  <a:gd name="T1" fmla="*/ 4 h 8"/>
                  <a:gd name="T2" fmla="*/ 2 w 9"/>
                  <a:gd name="T3" fmla="*/ 2 h 8"/>
                  <a:gd name="T4" fmla="*/ 3 w 9"/>
                  <a:gd name="T5" fmla="*/ 2 h 8"/>
                  <a:gd name="T6" fmla="*/ 4 w 9"/>
                  <a:gd name="T7" fmla="*/ 1 h 8"/>
                  <a:gd name="T8" fmla="*/ 6 w 9"/>
                  <a:gd name="T9" fmla="*/ 0 h 8"/>
                  <a:gd name="T10" fmla="*/ 7 w 9"/>
                  <a:gd name="T11" fmla="*/ 1 h 8"/>
                  <a:gd name="T12" fmla="*/ 8 w 9"/>
                  <a:gd name="T13" fmla="*/ 2 h 8"/>
                  <a:gd name="T14" fmla="*/ 8 w 9"/>
                  <a:gd name="T15" fmla="*/ 2 h 8"/>
                  <a:gd name="T16" fmla="*/ 6 w 9"/>
                  <a:gd name="T17" fmla="*/ 5 h 8"/>
                  <a:gd name="T18" fmla="*/ 6 w 9"/>
                  <a:gd name="T19" fmla="*/ 5 h 8"/>
                  <a:gd name="T20" fmla="*/ 5 w 9"/>
                  <a:gd name="T21" fmla="*/ 6 h 8"/>
                  <a:gd name="T22" fmla="*/ 2 w 9"/>
                  <a:gd name="T23" fmla="*/ 8 h 8"/>
                  <a:gd name="T24" fmla="*/ 1 w 9"/>
                  <a:gd name="T25" fmla="*/ 4 h 8"/>
                  <a:gd name="T26" fmla="*/ 1 w 9"/>
                  <a:gd name="T27" fmla="*/ 4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 h="8">
                    <a:moveTo>
                      <a:pt x="1" y="4"/>
                    </a:moveTo>
                    <a:cubicBezTo>
                      <a:pt x="1" y="3"/>
                      <a:pt x="2" y="3"/>
                      <a:pt x="2" y="2"/>
                    </a:cubicBezTo>
                    <a:cubicBezTo>
                      <a:pt x="2" y="2"/>
                      <a:pt x="3" y="1"/>
                      <a:pt x="3" y="2"/>
                    </a:cubicBezTo>
                    <a:cubicBezTo>
                      <a:pt x="3" y="1"/>
                      <a:pt x="3" y="1"/>
                      <a:pt x="4" y="1"/>
                    </a:cubicBezTo>
                    <a:cubicBezTo>
                      <a:pt x="4" y="1"/>
                      <a:pt x="5" y="0"/>
                      <a:pt x="6" y="0"/>
                    </a:cubicBezTo>
                    <a:cubicBezTo>
                      <a:pt x="7" y="0"/>
                      <a:pt x="7" y="0"/>
                      <a:pt x="7" y="1"/>
                    </a:cubicBezTo>
                    <a:cubicBezTo>
                      <a:pt x="8" y="1"/>
                      <a:pt x="8" y="1"/>
                      <a:pt x="8" y="2"/>
                    </a:cubicBezTo>
                    <a:cubicBezTo>
                      <a:pt x="9" y="2"/>
                      <a:pt x="9" y="2"/>
                      <a:pt x="8" y="2"/>
                    </a:cubicBezTo>
                    <a:cubicBezTo>
                      <a:pt x="8" y="3"/>
                      <a:pt x="7" y="4"/>
                      <a:pt x="6" y="5"/>
                    </a:cubicBezTo>
                    <a:cubicBezTo>
                      <a:pt x="6" y="5"/>
                      <a:pt x="6" y="5"/>
                      <a:pt x="6" y="5"/>
                    </a:cubicBezTo>
                    <a:cubicBezTo>
                      <a:pt x="5" y="6"/>
                      <a:pt x="5" y="6"/>
                      <a:pt x="5" y="6"/>
                    </a:cubicBezTo>
                    <a:cubicBezTo>
                      <a:pt x="4" y="7"/>
                      <a:pt x="3" y="8"/>
                      <a:pt x="2" y="8"/>
                    </a:cubicBezTo>
                    <a:cubicBezTo>
                      <a:pt x="0" y="7"/>
                      <a:pt x="0" y="6"/>
                      <a:pt x="1" y="4"/>
                    </a:cubicBezTo>
                    <a:cubicBezTo>
                      <a:pt x="1" y="4"/>
                      <a:pt x="1" y="4"/>
                      <a:pt x="1" y="4"/>
                    </a:cubicBezTo>
                    <a:close/>
                  </a:path>
                </a:pathLst>
              </a:custGeom>
              <a:solidFill>
                <a:srgbClr val="3B0F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77" name="Freeform 12">
                <a:extLst>
                  <a:ext uri="{FF2B5EF4-FFF2-40B4-BE49-F238E27FC236}">
                    <a16:creationId xmlns:a16="http://schemas.microsoft.com/office/drawing/2014/main" id="{786A48E6-1DE2-4E18-B9F0-E8F171DEBFEE}"/>
                  </a:ext>
                </a:extLst>
              </p:cNvPr>
              <p:cNvSpPr>
                <a:spLocks/>
              </p:cNvSpPr>
              <p:nvPr/>
            </p:nvSpPr>
            <p:spPr bwMode="auto">
              <a:xfrm>
                <a:off x="2409825" y="1727200"/>
                <a:ext cx="9525" cy="14288"/>
              </a:xfrm>
              <a:custGeom>
                <a:avLst/>
                <a:gdLst>
                  <a:gd name="T0" fmla="*/ 0 w 4"/>
                  <a:gd name="T1" fmla="*/ 6 h 7"/>
                  <a:gd name="T2" fmla="*/ 0 w 4"/>
                  <a:gd name="T3" fmla="*/ 5 h 7"/>
                  <a:gd name="T4" fmla="*/ 0 w 4"/>
                  <a:gd name="T5" fmla="*/ 5 h 7"/>
                  <a:gd name="T6" fmla="*/ 0 w 4"/>
                  <a:gd name="T7" fmla="*/ 4 h 7"/>
                  <a:gd name="T8" fmla="*/ 0 w 4"/>
                  <a:gd name="T9" fmla="*/ 4 h 7"/>
                  <a:gd name="T10" fmla="*/ 1 w 4"/>
                  <a:gd name="T11" fmla="*/ 1 h 7"/>
                  <a:gd name="T12" fmla="*/ 3 w 4"/>
                  <a:gd name="T13" fmla="*/ 2 h 7"/>
                  <a:gd name="T14" fmla="*/ 3 w 4"/>
                  <a:gd name="T15" fmla="*/ 2 h 7"/>
                  <a:gd name="T16" fmla="*/ 4 w 4"/>
                  <a:gd name="T17" fmla="*/ 4 h 7"/>
                  <a:gd name="T18" fmla="*/ 2 w 4"/>
                  <a:gd name="T19" fmla="*/ 7 h 7"/>
                  <a:gd name="T20" fmla="*/ 1 w 4"/>
                  <a:gd name="T21" fmla="*/ 7 h 7"/>
                  <a:gd name="T22" fmla="*/ 0 w 4"/>
                  <a:gd name="T23" fmla="*/ 6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 h="7">
                    <a:moveTo>
                      <a:pt x="0" y="6"/>
                    </a:moveTo>
                    <a:cubicBezTo>
                      <a:pt x="0" y="5"/>
                      <a:pt x="0" y="5"/>
                      <a:pt x="0" y="5"/>
                    </a:cubicBezTo>
                    <a:cubicBezTo>
                      <a:pt x="0" y="5"/>
                      <a:pt x="0" y="5"/>
                      <a:pt x="0" y="5"/>
                    </a:cubicBezTo>
                    <a:cubicBezTo>
                      <a:pt x="0" y="5"/>
                      <a:pt x="0" y="4"/>
                      <a:pt x="0" y="4"/>
                    </a:cubicBezTo>
                    <a:cubicBezTo>
                      <a:pt x="0" y="4"/>
                      <a:pt x="0" y="4"/>
                      <a:pt x="0" y="4"/>
                    </a:cubicBezTo>
                    <a:cubicBezTo>
                      <a:pt x="0" y="3"/>
                      <a:pt x="0" y="2"/>
                      <a:pt x="1" y="1"/>
                    </a:cubicBezTo>
                    <a:cubicBezTo>
                      <a:pt x="2" y="0"/>
                      <a:pt x="3" y="1"/>
                      <a:pt x="3" y="2"/>
                    </a:cubicBezTo>
                    <a:cubicBezTo>
                      <a:pt x="3" y="2"/>
                      <a:pt x="3" y="2"/>
                      <a:pt x="3" y="2"/>
                    </a:cubicBezTo>
                    <a:cubicBezTo>
                      <a:pt x="4" y="2"/>
                      <a:pt x="4" y="3"/>
                      <a:pt x="4" y="4"/>
                    </a:cubicBezTo>
                    <a:cubicBezTo>
                      <a:pt x="4" y="5"/>
                      <a:pt x="3" y="7"/>
                      <a:pt x="2" y="7"/>
                    </a:cubicBezTo>
                    <a:cubicBezTo>
                      <a:pt x="1" y="7"/>
                      <a:pt x="1" y="7"/>
                      <a:pt x="1" y="7"/>
                    </a:cubicBezTo>
                    <a:cubicBezTo>
                      <a:pt x="0" y="6"/>
                      <a:pt x="0" y="6"/>
                      <a:pt x="0" y="6"/>
                    </a:cubicBezTo>
                    <a:close/>
                  </a:path>
                </a:pathLst>
              </a:custGeom>
              <a:solidFill>
                <a:srgbClr val="3B0F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78" name="Freeform 13">
                <a:extLst>
                  <a:ext uri="{FF2B5EF4-FFF2-40B4-BE49-F238E27FC236}">
                    <a16:creationId xmlns:a16="http://schemas.microsoft.com/office/drawing/2014/main" id="{CC292F45-8974-42D2-A8C4-D20BB7AAB8D3}"/>
                  </a:ext>
                </a:extLst>
              </p:cNvPr>
              <p:cNvSpPr>
                <a:spLocks/>
              </p:cNvSpPr>
              <p:nvPr/>
            </p:nvSpPr>
            <p:spPr bwMode="auto">
              <a:xfrm>
                <a:off x="2479675" y="1846263"/>
                <a:ext cx="15875" cy="15875"/>
              </a:xfrm>
              <a:custGeom>
                <a:avLst/>
                <a:gdLst>
                  <a:gd name="T0" fmla="*/ 0 w 8"/>
                  <a:gd name="T1" fmla="*/ 5 h 7"/>
                  <a:gd name="T2" fmla="*/ 1 w 8"/>
                  <a:gd name="T3" fmla="*/ 5 h 7"/>
                  <a:gd name="T4" fmla="*/ 2 w 8"/>
                  <a:gd name="T5" fmla="*/ 3 h 7"/>
                  <a:gd name="T6" fmla="*/ 7 w 8"/>
                  <a:gd name="T7" fmla="*/ 0 h 7"/>
                  <a:gd name="T8" fmla="*/ 8 w 8"/>
                  <a:gd name="T9" fmla="*/ 1 h 7"/>
                  <a:gd name="T10" fmla="*/ 8 w 8"/>
                  <a:gd name="T11" fmla="*/ 1 h 7"/>
                  <a:gd name="T12" fmla="*/ 8 w 8"/>
                  <a:gd name="T13" fmla="*/ 2 h 7"/>
                  <a:gd name="T14" fmla="*/ 8 w 8"/>
                  <a:gd name="T15" fmla="*/ 2 h 7"/>
                  <a:gd name="T16" fmla="*/ 8 w 8"/>
                  <a:gd name="T17" fmla="*/ 3 h 7"/>
                  <a:gd name="T18" fmla="*/ 8 w 8"/>
                  <a:gd name="T19" fmla="*/ 3 h 7"/>
                  <a:gd name="T20" fmla="*/ 4 w 8"/>
                  <a:gd name="T21" fmla="*/ 7 h 7"/>
                  <a:gd name="T22" fmla="*/ 3 w 8"/>
                  <a:gd name="T23" fmla="*/ 7 h 7"/>
                  <a:gd name="T24" fmla="*/ 2 w 8"/>
                  <a:gd name="T25" fmla="*/ 7 h 7"/>
                  <a:gd name="T26" fmla="*/ 2 w 8"/>
                  <a:gd name="T27" fmla="*/ 7 h 7"/>
                  <a:gd name="T28" fmla="*/ 1 w 8"/>
                  <a:gd name="T29" fmla="*/ 7 h 7"/>
                  <a:gd name="T30" fmla="*/ 1 w 8"/>
                  <a:gd name="T31" fmla="*/ 7 h 7"/>
                  <a:gd name="T32" fmla="*/ 0 w 8"/>
                  <a:gd name="T33" fmla="*/ 6 h 7"/>
                  <a:gd name="T34" fmla="*/ 0 w 8"/>
                  <a:gd name="T35" fmla="*/ 5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 h="7">
                    <a:moveTo>
                      <a:pt x="0" y="5"/>
                    </a:moveTo>
                    <a:cubicBezTo>
                      <a:pt x="0" y="5"/>
                      <a:pt x="1" y="5"/>
                      <a:pt x="1" y="5"/>
                    </a:cubicBezTo>
                    <a:cubicBezTo>
                      <a:pt x="1" y="4"/>
                      <a:pt x="2" y="4"/>
                      <a:pt x="2" y="3"/>
                    </a:cubicBezTo>
                    <a:cubicBezTo>
                      <a:pt x="3" y="2"/>
                      <a:pt x="5" y="1"/>
                      <a:pt x="7" y="0"/>
                    </a:cubicBezTo>
                    <a:cubicBezTo>
                      <a:pt x="7" y="0"/>
                      <a:pt x="8" y="0"/>
                      <a:pt x="8" y="1"/>
                    </a:cubicBezTo>
                    <a:cubicBezTo>
                      <a:pt x="8" y="1"/>
                      <a:pt x="8" y="1"/>
                      <a:pt x="8" y="1"/>
                    </a:cubicBezTo>
                    <a:cubicBezTo>
                      <a:pt x="8" y="2"/>
                      <a:pt x="8" y="2"/>
                      <a:pt x="8" y="2"/>
                    </a:cubicBezTo>
                    <a:cubicBezTo>
                      <a:pt x="8" y="2"/>
                      <a:pt x="8" y="2"/>
                      <a:pt x="8" y="2"/>
                    </a:cubicBezTo>
                    <a:cubicBezTo>
                      <a:pt x="8" y="2"/>
                      <a:pt x="8" y="3"/>
                      <a:pt x="8" y="3"/>
                    </a:cubicBezTo>
                    <a:cubicBezTo>
                      <a:pt x="8" y="3"/>
                      <a:pt x="8" y="3"/>
                      <a:pt x="8" y="3"/>
                    </a:cubicBezTo>
                    <a:cubicBezTo>
                      <a:pt x="7" y="4"/>
                      <a:pt x="5" y="6"/>
                      <a:pt x="4" y="7"/>
                    </a:cubicBezTo>
                    <a:cubicBezTo>
                      <a:pt x="3" y="7"/>
                      <a:pt x="3" y="7"/>
                      <a:pt x="3" y="7"/>
                    </a:cubicBezTo>
                    <a:cubicBezTo>
                      <a:pt x="3" y="7"/>
                      <a:pt x="3" y="7"/>
                      <a:pt x="2" y="7"/>
                    </a:cubicBezTo>
                    <a:cubicBezTo>
                      <a:pt x="2" y="7"/>
                      <a:pt x="2" y="7"/>
                      <a:pt x="2" y="7"/>
                    </a:cubicBezTo>
                    <a:cubicBezTo>
                      <a:pt x="2" y="7"/>
                      <a:pt x="1" y="7"/>
                      <a:pt x="1" y="7"/>
                    </a:cubicBezTo>
                    <a:cubicBezTo>
                      <a:pt x="1" y="7"/>
                      <a:pt x="1" y="7"/>
                      <a:pt x="1" y="7"/>
                    </a:cubicBezTo>
                    <a:cubicBezTo>
                      <a:pt x="1" y="6"/>
                      <a:pt x="1" y="6"/>
                      <a:pt x="0" y="6"/>
                    </a:cubicBezTo>
                    <a:cubicBezTo>
                      <a:pt x="0" y="6"/>
                      <a:pt x="0" y="6"/>
                      <a:pt x="0" y="5"/>
                    </a:cubicBezTo>
                    <a:close/>
                  </a:path>
                </a:pathLst>
              </a:custGeom>
              <a:solidFill>
                <a:srgbClr val="3B0F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79" name="Freeform 14">
                <a:extLst>
                  <a:ext uri="{FF2B5EF4-FFF2-40B4-BE49-F238E27FC236}">
                    <a16:creationId xmlns:a16="http://schemas.microsoft.com/office/drawing/2014/main" id="{BC57D8B2-5DFE-46D1-953E-556935F3CFBA}"/>
                  </a:ext>
                </a:extLst>
              </p:cNvPr>
              <p:cNvSpPr>
                <a:spLocks/>
              </p:cNvSpPr>
              <p:nvPr/>
            </p:nvSpPr>
            <p:spPr bwMode="auto">
              <a:xfrm>
                <a:off x="2432050" y="1692275"/>
                <a:ext cx="34925" cy="14288"/>
              </a:xfrm>
              <a:custGeom>
                <a:avLst/>
                <a:gdLst>
                  <a:gd name="T0" fmla="*/ 1 w 17"/>
                  <a:gd name="T1" fmla="*/ 5 h 7"/>
                  <a:gd name="T2" fmla="*/ 16 w 17"/>
                  <a:gd name="T3" fmla="*/ 3 h 7"/>
                  <a:gd name="T4" fmla="*/ 16 w 17"/>
                  <a:gd name="T5" fmla="*/ 5 h 7"/>
                  <a:gd name="T6" fmla="*/ 2 w 17"/>
                  <a:gd name="T7" fmla="*/ 7 h 7"/>
                  <a:gd name="T8" fmla="*/ 1 w 17"/>
                  <a:gd name="T9" fmla="*/ 5 h 7"/>
                </a:gdLst>
                <a:ahLst/>
                <a:cxnLst>
                  <a:cxn ang="0">
                    <a:pos x="T0" y="T1"/>
                  </a:cxn>
                  <a:cxn ang="0">
                    <a:pos x="T2" y="T3"/>
                  </a:cxn>
                  <a:cxn ang="0">
                    <a:pos x="T4" y="T5"/>
                  </a:cxn>
                  <a:cxn ang="0">
                    <a:pos x="T6" y="T7"/>
                  </a:cxn>
                  <a:cxn ang="0">
                    <a:pos x="T8" y="T9"/>
                  </a:cxn>
                </a:cxnLst>
                <a:rect l="0" t="0" r="r" b="b"/>
                <a:pathLst>
                  <a:path w="17" h="7">
                    <a:moveTo>
                      <a:pt x="1" y="5"/>
                    </a:moveTo>
                    <a:cubicBezTo>
                      <a:pt x="5" y="2"/>
                      <a:pt x="11" y="0"/>
                      <a:pt x="16" y="3"/>
                    </a:cubicBezTo>
                    <a:cubicBezTo>
                      <a:pt x="17" y="3"/>
                      <a:pt x="17" y="5"/>
                      <a:pt x="16" y="5"/>
                    </a:cubicBezTo>
                    <a:cubicBezTo>
                      <a:pt x="11" y="5"/>
                      <a:pt x="7" y="4"/>
                      <a:pt x="2" y="7"/>
                    </a:cubicBezTo>
                    <a:cubicBezTo>
                      <a:pt x="1" y="7"/>
                      <a:pt x="0" y="6"/>
                      <a:pt x="1" y="5"/>
                    </a:cubicBezTo>
                    <a:close/>
                  </a:path>
                </a:pathLst>
              </a:custGeom>
              <a:solidFill>
                <a:srgbClr val="F8C3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80" name="Freeform 15">
                <a:extLst>
                  <a:ext uri="{FF2B5EF4-FFF2-40B4-BE49-F238E27FC236}">
                    <a16:creationId xmlns:a16="http://schemas.microsoft.com/office/drawing/2014/main" id="{55B90F68-A0F9-4A7C-97B0-30EFAB430D3B}"/>
                  </a:ext>
                </a:extLst>
              </p:cNvPr>
              <p:cNvSpPr>
                <a:spLocks/>
              </p:cNvSpPr>
              <p:nvPr/>
            </p:nvSpPr>
            <p:spPr bwMode="auto">
              <a:xfrm>
                <a:off x="2474913" y="1700213"/>
                <a:ext cx="6350" cy="3175"/>
              </a:xfrm>
              <a:custGeom>
                <a:avLst/>
                <a:gdLst>
                  <a:gd name="T0" fmla="*/ 1 w 3"/>
                  <a:gd name="T1" fmla="*/ 0 h 1"/>
                  <a:gd name="T2" fmla="*/ 3 w 3"/>
                  <a:gd name="T3" fmla="*/ 0 h 1"/>
                  <a:gd name="T4" fmla="*/ 3 w 3"/>
                  <a:gd name="T5" fmla="*/ 1 h 1"/>
                  <a:gd name="T6" fmla="*/ 1 w 3"/>
                  <a:gd name="T7" fmla="*/ 1 h 1"/>
                  <a:gd name="T8" fmla="*/ 1 w 3"/>
                  <a:gd name="T9" fmla="*/ 0 h 1"/>
                </a:gdLst>
                <a:ahLst/>
                <a:cxnLst>
                  <a:cxn ang="0">
                    <a:pos x="T0" y="T1"/>
                  </a:cxn>
                  <a:cxn ang="0">
                    <a:pos x="T2" y="T3"/>
                  </a:cxn>
                  <a:cxn ang="0">
                    <a:pos x="T4" y="T5"/>
                  </a:cxn>
                  <a:cxn ang="0">
                    <a:pos x="T6" y="T7"/>
                  </a:cxn>
                  <a:cxn ang="0">
                    <a:pos x="T8" y="T9"/>
                  </a:cxn>
                </a:cxnLst>
                <a:rect l="0" t="0" r="r" b="b"/>
                <a:pathLst>
                  <a:path w="3" h="1">
                    <a:moveTo>
                      <a:pt x="1" y="0"/>
                    </a:moveTo>
                    <a:cubicBezTo>
                      <a:pt x="1" y="0"/>
                      <a:pt x="2" y="0"/>
                      <a:pt x="3" y="0"/>
                    </a:cubicBezTo>
                    <a:cubicBezTo>
                      <a:pt x="3" y="0"/>
                      <a:pt x="3" y="1"/>
                      <a:pt x="3" y="1"/>
                    </a:cubicBezTo>
                    <a:cubicBezTo>
                      <a:pt x="2" y="1"/>
                      <a:pt x="2" y="1"/>
                      <a:pt x="1" y="1"/>
                    </a:cubicBezTo>
                    <a:cubicBezTo>
                      <a:pt x="0" y="1"/>
                      <a:pt x="0" y="0"/>
                      <a:pt x="1" y="0"/>
                    </a:cubicBezTo>
                    <a:close/>
                  </a:path>
                </a:pathLst>
              </a:custGeom>
              <a:solidFill>
                <a:srgbClr val="F8C3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81" name="Freeform 16">
                <a:extLst>
                  <a:ext uri="{FF2B5EF4-FFF2-40B4-BE49-F238E27FC236}">
                    <a16:creationId xmlns:a16="http://schemas.microsoft.com/office/drawing/2014/main" id="{CC8C0205-FF2D-4F34-AC73-FA6EF3ACA20C}"/>
                  </a:ext>
                </a:extLst>
              </p:cNvPr>
              <p:cNvSpPr>
                <a:spLocks/>
              </p:cNvSpPr>
              <p:nvPr/>
            </p:nvSpPr>
            <p:spPr bwMode="auto">
              <a:xfrm>
                <a:off x="2462213" y="1878013"/>
                <a:ext cx="14288" cy="44450"/>
              </a:xfrm>
              <a:custGeom>
                <a:avLst/>
                <a:gdLst>
                  <a:gd name="T0" fmla="*/ 1 w 7"/>
                  <a:gd name="T1" fmla="*/ 1 h 22"/>
                  <a:gd name="T2" fmla="*/ 3 w 7"/>
                  <a:gd name="T3" fmla="*/ 1 h 22"/>
                  <a:gd name="T4" fmla="*/ 7 w 7"/>
                  <a:gd name="T5" fmla="*/ 21 h 22"/>
                  <a:gd name="T6" fmla="*/ 6 w 7"/>
                  <a:gd name="T7" fmla="*/ 22 h 22"/>
                  <a:gd name="T8" fmla="*/ 1 w 7"/>
                  <a:gd name="T9" fmla="*/ 1 h 22"/>
                </a:gdLst>
                <a:ahLst/>
                <a:cxnLst>
                  <a:cxn ang="0">
                    <a:pos x="T0" y="T1"/>
                  </a:cxn>
                  <a:cxn ang="0">
                    <a:pos x="T2" y="T3"/>
                  </a:cxn>
                  <a:cxn ang="0">
                    <a:pos x="T4" y="T5"/>
                  </a:cxn>
                  <a:cxn ang="0">
                    <a:pos x="T6" y="T7"/>
                  </a:cxn>
                  <a:cxn ang="0">
                    <a:pos x="T8" y="T9"/>
                  </a:cxn>
                </a:cxnLst>
                <a:rect l="0" t="0" r="r" b="b"/>
                <a:pathLst>
                  <a:path w="7" h="22">
                    <a:moveTo>
                      <a:pt x="1" y="1"/>
                    </a:moveTo>
                    <a:cubicBezTo>
                      <a:pt x="1" y="0"/>
                      <a:pt x="3" y="0"/>
                      <a:pt x="3" y="1"/>
                    </a:cubicBezTo>
                    <a:cubicBezTo>
                      <a:pt x="2" y="8"/>
                      <a:pt x="4" y="15"/>
                      <a:pt x="7" y="21"/>
                    </a:cubicBezTo>
                    <a:cubicBezTo>
                      <a:pt x="7" y="22"/>
                      <a:pt x="6" y="22"/>
                      <a:pt x="6" y="22"/>
                    </a:cubicBezTo>
                    <a:cubicBezTo>
                      <a:pt x="2" y="15"/>
                      <a:pt x="0" y="9"/>
                      <a:pt x="1" y="1"/>
                    </a:cubicBezTo>
                    <a:close/>
                  </a:path>
                </a:pathLst>
              </a:custGeom>
              <a:solidFill>
                <a:srgbClr val="F8C3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82" name="Freeform 17">
                <a:extLst>
                  <a:ext uri="{FF2B5EF4-FFF2-40B4-BE49-F238E27FC236}">
                    <a16:creationId xmlns:a16="http://schemas.microsoft.com/office/drawing/2014/main" id="{07902B40-8DAE-4943-BCC7-86CAC2E5FE4B}"/>
                  </a:ext>
                </a:extLst>
              </p:cNvPr>
              <p:cNvSpPr>
                <a:spLocks/>
              </p:cNvSpPr>
              <p:nvPr/>
            </p:nvSpPr>
            <p:spPr bwMode="auto">
              <a:xfrm>
                <a:off x="2479675" y="1928813"/>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8C3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83" name="Freeform 18">
                <a:extLst>
                  <a:ext uri="{FF2B5EF4-FFF2-40B4-BE49-F238E27FC236}">
                    <a16:creationId xmlns:a16="http://schemas.microsoft.com/office/drawing/2014/main" id="{DA2203AA-FA3C-4CF4-A4BD-DD0F9237B932}"/>
                  </a:ext>
                </a:extLst>
              </p:cNvPr>
              <p:cNvSpPr>
                <a:spLocks/>
              </p:cNvSpPr>
              <p:nvPr/>
            </p:nvSpPr>
            <p:spPr bwMode="auto">
              <a:xfrm>
                <a:off x="2476500" y="1927225"/>
                <a:ext cx="4763" cy="4763"/>
              </a:xfrm>
              <a:custGeom>
                <a:avLst/>
                <a:gdLst>
                  <a:gd name="T0" fmla="*/ 1 w 2"/>
                  <a:gd name="T1" fmla="*/ 0 h 2"/>
                  <a:gd name="T2" fmla="*/ 2 w 2"/>
                  <a:gd name="T3" fmla="*/ 2 h 2"/>
                  <a:gd name="T4" fmla="*/ 2 w 2"/>
                  <a:gd name="T5" fmla="*/ 2 h 2"/>
                  <a:gd name="T6" fmla="*/ 1 w 2"/>
                  <a:gd name="T7" fmla="*/ 1 h 2"/>
                  <a:gd name="T8" fmla="*/ 1 w 2"/>
                  <a:gd name="T9" fmla="*/ 0 h 2"/>
                </a:gdLst>
                <a:ahLst/>
                <a:cxnLst>
                  <a:cxn ang="0">
                    <a:pos x="T0" y="T1"/>
                  </a:cxn>
                  <a:cxn ang="0">
                    <a:pos x="T2" y="T3"/>
                  </a:cxn>
                  <a:cxn ang="0">
                    <a:pos x="T4" y="T5"/>
                  </a:cxn>
                  <a:cxn ang="0">
                    <a:pos x="T6" y="T7"/>
                  </a:cxn>
                  <a:cxn ang="0">
                    <a:pos x="T8" y="T9"/>
                  </a:cxn>
                </a:cxnLst>
                <a:rect l="0" t="0" r="r" b="b"/>
                <a:pathLst>
                  <a:path w="2" h="2">
                    <a:moveTo>
                      <a:pt x="1" y="0"/>
                    </a:moveTo>
                    <a:cubicBezTo>
                      <a:pt x="1" y="1"/>
                      <a:pt x="2" y="1"/>
                      <a:pt x="2" y="2"/>
                    </a:cubicBezTo>
                    <a:cubicBezTo>
                      <a:pt x="2" y="2"/>
                      <a:pt x="2" y="2"/>
                      <a:pt x="2" y="2"/>
                    </a:cubicBezTo>
                    <a:cubicBezTo>
                      <a:pt x="1" y="2"/>
                      <a:pt x="1" y="1"/>
                      <a:pt x="1" y="1"/>
                    </a:cubicBezTo>
                    <a:cubicBezTo>
                      <a:pt x="0" y="0"/>
                      <a:pt x="1" y="0"/>
                      <a:pt x="1" y="0"/>
                    </a:cubicBezTo>
                    <a:close/>
                  </a:path>
                </a:pathLst>
              </a:custGeom>
              <a:solidFill>
                <a:srgbClr val="F8C3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84" name="Freeform 19">
                <a:extLst>
                  <a:ext uri="{FF2B5EF4-FFF2-40B4-BE49-F238E27FC236}">
                    <a16:creationId xmlns:a16="http://schemas.microsoft.com/office/drawing/2014/main" id="{FF4AEEFF-E3F9-4BFE-BE71-13B37C6F4551}"/>
                  </a:ext>
                </a:extLst>
              </p:cNvPr>
              <p:cNvSpPr>
                <a:spLocks/>
              </p:cNvSpPr>
              <p:nvPr/>
            </p:nvSpPr>
            <p:spPr bwMode="auto">
              <a:xfrm>
                <a:off x="2533650" y="1501775"/>
                <a:ext cx="20638" cy="23813"/>
              </a:xfrm>
              <a:custGeom>
                <a:avLst/>
                <a:gdLst>
                  <a:gd name="T0" fmla="*/ 1 w 10"/>
                  <a:gd name="T1" fmla="*/ 0 h 12"/>
                  <a:gd name="T2" fmla="*/ 6 w 10"/>
                  <a:gd name="T3" fmla="*/ 4 h 12"/>
                  <a:gd name="T4" fmla="*/ 10 w 10"/>
                  <a:gd name="T5" fmla="*/ 11 h 12"/>
                  <a:gd name="T6" fmla="*/ 9 w 10"/>
                  <a:gd name="T7" fmla="*/ 12 h 12"/>
                  <a:gd name="T8" fmla="*/ 6 w 10"/>
                  <a:gd name="T9" fmla="*/ 7 h 12"/>
                  <a:gd name="T10" fmla="*/ 1 w 10"/>
                  <a:gd name="T11" fmla="*/ 2 h 12"/>
                  <a:gd name="T12" fmla="*/ 1 w 10"/>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10" h="12">
                    <a:moveTo>
                      <a:pt x="1" y="0"/>
                    </a:moveTo>
                    <a:cubicBezTo>
                      <a:pt x="3" y="1"/>
                      <a:pt x="4" y="2"/>
                      <a:pt x="6" y="4"/>
                    </a:cubicBezTo>
                    <a:cubicBezTo>
                      <a:pt x="7" y="6"/>
                      <a:pt x="9" y="9"/>
                      <a:pt x="10" y="11"/>
                    </a:cubicBezTo>
                    <a:cubicBezTo>
                      <a:pt x="10" y="12"/>
                      <a:pt x="10" y="12"/>
                      <a:pt x="9" y="12"/>
                    </a:cubicBezTo>
                    <a:cubicBezTo>
                      <a:pt x="8" y="10"/>
                      <a:pt x="7" y="8"/>
                      <a:pt x="6" y="7"/>
                    </a:cubicBezTo>
                    <a:cubicBezTo>
                      <a:pt x="5" y="5"/>
                      <a:pt x="3" y="2"/>
                      <a:pt x="1" y="2"/>
                    </a:cubicBezTo>
                    <a:cubicBezTo>
                      <a:pt x="0" y="2"/>
                      <a:pt x="1" y="0"/>
                      <a:pt x="1" y="0"/>
                    </a:cubicBezTo>
                    <a:close/>
                  </a:path>
                </a:pathLst>
              </a:custGeom>
              <a:solidFill>
                <a:srgbClr val="F8C3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85" name="Freeform 20">
                <a:extLst>
                  <a:ext uri="{FF2B5EF4-FFF2-40B4-BE49-F238E27FC236}">
                    <a16:creationId xmlns:a16="http://schemas.microsoft.com/office/drawing/2014/main" id="{D943C085-EBAD-483A-A597-8A718AA7E86E}"/>
                  </a:ext>
                </a:extLst>
              </p:cNvPr>
              <p:cNvSpPr>
                <a:spLocks/>
              </p:cNvSpPr>
              <p:nvPr/>
            </p:nvSpPr>
            <p:spPr bwMode="auto">
              <a:xfrm>
                <a:off x="2554288" y="1530350"/>
                <a:ext cx="4763" cy="6350"/>
              </a:xfrm>
              <a:custGeom>
                <a:avLst/>
                <a:gdLst>
                  <a:gd name="T0" fmla="*/ 2 w 2"/>
                  <a:gd name="T1" fmla="*/ 0 h 3"/>
                  <a:gd name="T2" fmla="*/ 2 w 2"/>
                  <a:gd name="T3" fmla="*/ 3 h 3"/>
                  <a:gd name="T4" fmla="*/ 2 w 2"/>
                  <a:gd name="T5" fmla="*/ 3 h 3"/>
                  <a:gd name="T6" fmla="*/ 1 w 2"/>
                  <a:gd name="T7" fmla="*/ 1 h 3"/>
                  <a:gd name="T8" fmla="*/ 2 w 2"/>
                  <a:gd name="T9" fmla="*/ 0 h 3"/>
                </a:gdLst>
                <a:ahLst/>
                <a:cxnLst>
                  <a:cxn ang="0">
                    <a:pos x="T0" y="T1"/>
                  </a:cxn>
                  <a:cxn ang="0">
                    <a:pos x="T2" y="T3"/>
                  </a:cxn>
                  <a:cxn ang="0">
                    <a:pos x="T4" y="T5"/>
                  </a:cxn>
                  <a:cxn ang="0">
                    <a:pos x="T6" y="T7"/>
                  </a:cxn>
                  <a:cxn ang="0">
                    <a:pos x="T8" y="T9"/>
                  </a:cxn>
                </a:cxnLst>
                <a:rect l="0" t="0" r="r" b="b"/>
                <a:pathLst>
                  <a:path w="2" h="3">
                    <a:moveTo>
                      <a:pt x="2" y="0"/>
                    </a:moveTo>
                    <a:cubicBezTo>
                      <a:pt x="2" y="1"/>
                      <a:pt x="2" y="2"/>
                      <a:pt x="2" y="3"/>
                    </a:cubicBezTo>
                    <a:cubicBezTo>
                      <a:pt x="2" y="3"/>
                      <a:pt x="2" y="3"/>
                      <a:pt x="2" y="3"/>
                    </a:cubicBezTo>
                    <a:cubicBezTo>
                      <a:pt x="1" y="2"/>
                      <a:pt x="1" y="2"/>
                      <a:pt x="1" y="1"/>
                    </a:cubicBezTo>
                    <a:cubicBezTo>
                      <a:pt x="0" y="0"/>
                      <a:pt x="1" y="0"/>
                      <a:pt x="2" y="0"/>
                    </a:cubicBezTo>
                    <a:close/>
                  </a:path>
                </a:pathLst>
              </a:custGeom>
              <a:solidFill>
                <a:srgbClr val="F8C3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86" name="Freeform 21">
                <a:extLst>
                  <a:ext uri="{FF2B5EF4-FFF2-40B4-BE49-F238E27FC236}">
                    <a16:creationId xmlns:a16="http://schemas.microsoft.com/office/drawing/2014/main" id="{46FBE225-B147-4CC5-8828-3140E5F9D441}"/>
                  </a:ext>
                </a:extLst>
              </p:cNvPr>
              <p:cNvSpPr>
                <a:spLocks/>
              </p:cNvSpPr>
              <p:nvPr/>
            </p:nvSpPr>
            <p:spPr bwMode="auto">
              <a:xfrm>
                <a:off x="2659063" y="1762125"/>
                <a:ext cx="28575" cy="128588"/>
              </a:xfrm>
              <a:custGeom>
                <a:avLst/>
                <a:gdLst>
                  <a:gd name="T0" fmla="*/ 13 w 14"/>
                  <a:gd name="T1" fmla="*/ 0 h 62"/>
                  <a:gd name="T2" fmla="*/ 3 w 14"/>
                  <a:gd name="T3" fmla="*/ 60 h 62"/>
                  <a:gd name="T4" fmla="*/ 6 w 14"/>
                  <a:gd name="T5" fmla="*/ 60 h 62"/>
                  <a:gd name="T6" fmla="*/ 14 w 14"/>
                  <a:gd name="T7" fmla="*/ 1 h 62"/>
                  <a:gd name="T8" fmla="*/ 13 w 14"/>
                  <a:gd name="T9" fmla="*/ 0 h 62"/>
                </a:gdLst>
                <a:ahLst/>
                <a:cxnLst>
                  <a:cxn ang="0">
                    <a:pos x="T0" y="T1"/>
                  </a:cxn>
                  <a:cxn ang="0">
                    <a:pos x="T2" y="T3"/>
                  </a:cxn>
                  <a:cxn ang="0">
                    <a:pos x="T4" y="T5"/>
                  </a:cxn>
                  <a:cxn ang="0">
                    <a:pos x="T6" y="T7"/>
                  </a:cxn>
                  <a:cxn ang="0">
                    <a:pos x="T8" y="T9"/>
                  </a:cxn>
                </a:cxnLst>
                <a:rect l="0" t="0" r="r" b="b"/>
                <a:pathLst>
                  <a:path w="14" h="62">
                    <a:moveTo>
                      <a:pt x="13" y="0"/>
                    </a:moveTo>
                    <a:cubicBezTo>
                      <a:pt x="0" y="16"/>
                      <a:pt x="0" y="41"/>
                      <a:pt x="3" y="60"/>
                    </a:cubicBezTo>
                    <a:cubicBezTo>
                      <a:pt x="4" y="62"/>
                      <a:pt x="6" y="61"/>
                      <a:pt x="6" y="60"/>
                    </a:cubicBezTo>
                    <a:cubicBezTo>
                      <a:pt x="6" y="39"/>
                      <a:pt x="4" y="21"/>
                      <a:pt x="14" y="1"/>
                    </a:cubicBezTo>
                    <a:cubicBezTo>
                      <a:pt x="14" y="0"/>
                      <a:pt x="14" y="0"/>
                      <a:pt x="13" y="0"/>
                    </a:cubicBezTo>
                    <a:close/>
                  </a:path>
                </a:pathLst>
              </a:custGeom>
              <a:solidFill>
                <a:srgbClr val="3A12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87" name="Freeform 22">
                <a:extLst>
                  <a:ext uri="{FF2B5EF4-FFF2-40B4-BE49-F238E27FC236}">
                    <a16:creationId xmlns:a16="http://schemas.microsoft.com/office/drawing/2014/main" id="{197E0742-9D0F-4D1C-B1C8-0FE14DF9C5D4}"/>
                  </a:ext>
                </a:extLst>
              </p:cNvPr>
              <p:cNvSpPr>
                <a:spLocks/>
              </p:cNvSpPr>
              <p:nvPr/>
            </p:nvSpPr>
            <p:spPr bwMode="auto">
              <a:xfrm>
                <a:off x="2632075" y="2052638"/>
                <a:ext cx="82550" cy="93663"/>
              </a:xfrm>
              <a:custGeom>
                <a:avLst/>
                <a:gdLst>
                  <a:gd name="T0" fmla="*/ 39 w 40"/>
                  <a:gd name="T1" fmla="*/ 0 h 45"/>
                  <a:gd name="T2" fmla="*/ 1 w 40"/>
                  <a:gd name="T3" fmla="*/ 43 h 45"/>
                  <a:gd name="T4" fmla="*/ 3 w 40"/>
                  <a:gd name="T5" fmla="*/ 45 h 45"/>
                  <a:gd name="T6" fmla="*/ 19 w 40"/>
                  <a:gd name="T7" fmla="*/ 21 h 45"/>
                  <a:gd name="T8" fmla="*/ 39 w 40"/>
                  <a:gd name="T9" fmla="*/ 1 h 45"/>
                  <a:gd name="T10" fmla="*/ 39 w 40"/>
                  <a:gd name="T11" fmla="*/ 0 h 45"/>
                </a:gdLst>
                <a:ahLst/>
                <a:cxnLst>
                  <a:cxn ang="0">
                    <a:pos x="T0" y="T1"/>
                  </a:cxn>
                  <a:cxn ang="0">
                    <a:pos x="T2" y="T3"/>
                  </a:cxn>
                  <a:cxn ang="0">
                    <a:pos x="T4" y="T5"/>
                  </a:cxn>
                  <a:cxn ang="0">
                    <a:pos x="T6" y="T7"/>
                  </a:cxn>
                  <a:cxn ang="0">
                    <a:pos x="T8" y="T9"/>
                  </a:cxn>
                  <a:cxn ang="0">
                    <a:pos x="T10" y="T11"/>
                  </a:cxn>
                </a:cxnLst>
                <a:rect l="0" t="0" r="r" b="b"/>
                <a:pathLst>
                  <a:path w="40" h="45">
                    <a:moveTo>
                      <a:pt x="39" y="0"/>
                    </a:moveTo>
                    <a:cubicBezTo>
                      <a:pt x="23" y="7"/>
                      <a:pt x="7" y="27"/>
                      <a:pt x="1" y="43"/>
                    </a:cubicBezTo>
                    <a:cubicBezTo>
                      <a:pt x="0" y="45"/>
                      <a:pt x="2" y="45"/>
                      <a:pt x="3" y="45"/>
                    </a:cubicBezTo>
                    <a:cubicBezTo>
                      <a:pt x="9" y="38"/>
                      <a:pt x="13" y="29"/>
                      <a:pt x="19" y="21"/>
                    </a:cubicBezTo>
                    <a:cubicBezTo>
                      <a:pt x="25" y="14"/>
                      <a:pt x="33" y="8"/>
                      <a:pt x="39" y="1"/>
                    </a:cubicBezTo>
                    <a:cubicBezTo>
                      <a:pt x="40" y="0"/>
                      <a:pt x="39" y="0"/>
                      <a:pt x="39" y="0"/>
                    </a:cubicBezTo>
                    <a:close/>
                  </a:path>
                </a:pathLst>
              </a:custGeom>
              <a:solidFill>
                <a:srgbClr val="3A12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88" name="Freeform 23">
                <a:extLst>
                  <a:ext uri="{FF2B5EF4-FFF2-40B4-BE49-F238E27FC236}">
                    <a16:creationId xmlns:a16="http://schemas.microsoft.com/office/drawing/2014/main" id="{22D10128-76B5-42D7-9440-489001DF68DA}"/>
                  </a:ext>
                </a:extLst>
              </p:cNvPr>
              <p:cNvSpPr>
                <a:spLocks/>
              </p:cNvSpPr>
              <p:nvPr/>
            </p:nvSpPr>
            <p:spPr bwMode="auto">
              <a:xfrm>
                <a:off x="2573338" y="1939925"/>
                <a:ext cx="12700" cy="15875"/>
              </a:xfrm>
              <a:custGeom>
                <a:avLst/>
                <a:gdLst>
                  <a:gd name="T0" fmla="*/ 0 w 6"/>
                  <a:gd name="T1" fmla="*/ 2 h 8"/>
                  <a:gd name="T2" fmla="*/ 2 w 6"/>
                  <a:gd name="T3" fmla="*/ 6 h 8"/>
                  <a:gd name="T4" fmla="*/ 4 w 6"/>
                  <a:gd name="T5" fmla="*/ 8 h 8"/>
                  <a:gd name="T6" fmla="*/ 5 w 6"/>
                  <a:gd name="T7" fmla="*/ 8 h 8"/>
                  <a:gd name="T8" fmla="*/ 2 w 6"/>
                  <a:gd name="T9" fmla="*/ 1 h 8"/>
                  <a:gd name="T10" fmla="*/ 0 w 6"/>
                  <a:gd name="T11" fmla="*/ 2 h 8"/>
                </a:gdLst>
                <a:ahLst/>
                <a:cxnLst>
                  <a:cxn ang="0">
                    <a:pos x="T0" y="T1"/>
                  </a:cxn>
                  <a:cxn ang="0">
                    <a:pos x="T2" y="T3"/>
                  </a:cxn>
                  <a:cxn ang="0">
                    <a:pos x="T4" y="T5"/>
                  </a:cxn>
                  <a:cxn ang="0">
                    <a:pos x="T6" y="T7"/>
                  </a:cxn>
                  <a:cxn ang="0">
                    <a:pos x="T8" y="T9"/>
                  </a:cxn>
                  <a:cxn ang="0">
                    <a:pos x="T10" y="T11"/>
                  </a:cxn>
                </a:cxnLst>
                <a:rect l="0" t="0" r="r" b="b"/>
                <a:pathLst>
                  <a:path w="6" h="8">
                    <a:moveTo>
                      <a:pt x="0" y="2"/>
                    </a:moveTo>
                    <a:cubicBezTo>
                      <a:pt x="1" y="3"/>
                      <a:pt x="2" y="4"/>
                      <a:pt x="2" y="6"/>
                    </a:cubicBezTo>
                    <a:cubicBezTo>
                      <a:pt x="3" y="7"/>
                      <a:pt x="3" y="7"/>
                      <a:pt x="4" y="8"/>
                    </a:cubicBezTo>
                    <a:cubicBezTo>
                      <a:pt x="4" y="8"/>
                      <a:pt x="4" y="8"/>
                      <a:pt x="5" y="8"/>
                    </a:cubicBezTo>
                    <a:cubicBezTo>
                      <a:pt x="6" y="6"/>
                      <a:pt x="3" y="2"/>
                      <a:pt x="2" y="1"/>
                    </a:cubicBezTo>
                    <a:cubicBezTo>
                      <a:pt x="1" y="0"/>
                      <a:pt x="0" y="0"/>
                      <a:pt x="0" y="2"/>
                    </a:cubicBezTo>
                    <a:close/>
                  </a:path>
                </a:pathLst>
              </a:custGeom>
              <a:solidFill>
                <a:srgbClr val="3A12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89" name="Freeform 24">
                <a:extLst>
                  <a:ext uri="{FF2B5EF4-FFF2-40B4-BE49-F238E27FC236}">
                    <a16:creationId xmlns:a16="http://schemas.microsoft.com/office/drawing/2014/main" id="{0A422E43-32EB-42A1-B787-8D85D59E1E52}"/>
                  </a:ext>
                </a:extLst>
              </p:cNvPr>
              <p:cNvSpPr>
                <a:spLocks/>
              </p:cNvSpPr>
              <p:nvPr/>
            </p:nvSpPr>
            <p:spPr bwMode="auto">
              <a:xfrm>
                <a:off x="2573338" y="1935163"/>
                <a:ext cx="9525" cy="25400"/>
              </a:xfrm>
              <a:custGeom>
                <a:avLst/>
                <a:gdLst>
                  <a:gd name="T0" fmla="*/ 0 w 5"/>
                  <a:gd name="T1" fmla="*/ 2 h 12"/>
                  <a:gd name="T2" fmla="*/ 2 w 5"/>
                  <a:gd name="T3" fmla="*/ 7 h 12"/>
                  <a:gd name="T4" fmla="*/ 4 w 5"/>
                  <a:gd name="T5" fmla="*/ 12 h 12"/>
                  <a:gd name="T6" fmla="*/ 5 w 5"/>
                  <a:gd name="T7" fmla="*/ 12 h 12"/>
                  <a:gd name="T8" fmla="*/ 4 w 5"/>
                  <a:gd name="T9" fmla="*/ 6 h 12"/>
                  <a:gd name="T10" fmla="*/ 1 w 5"/>
                  <a:gd name="T11" fmla="*/ 1 h 12"/>
                  <a:gd name="T12" fmla="*/ 0 w 5"/>
                  <a:gd name="T13" fmla="*/ 2 h 12"/>
                </a:gdLst>
                <a:ahLst/>
                <a:cxnLst>
                  <a:cxn ang="0">
                    <a:pos x="T0" y="T1"/>
                  </a:cxn>
                  <a:cxn ang="0">
                    <a:pos x="T2" y="T3"/>
                  </a:cxn>
                  <a:cxn ang="0">
                    <a:pos x="T4" y="T5"/>
                  </a:cxn>
                  <a:cxn ang="0">
                    <a:pos x="T6" y="T7"/>
                  </a:cxn>
                  <a:cxn ang="0">
                    <a:pos x="T8" y="T9"/>
                  </a:cxn>
                  <a:cxn ang="0">
                    <a:pos x="T10" y="T11"/>
                  </a:cxn>
                  <a:cxn ang="0">
                    <a:pos x="T12" y="T13"/>
                  </a:cxn>
                </a:cxnLst>
                <a:rect l="0" t="0" r="r" b="b"/>
                <a:pathLst>
                  <a:path w="5" h="12">
                    <a:moveTo>
                      <a:pt x="0" y="2"/>
                    </a:moveTo>
                    <a:cubicBezTo>
                      <a:pt x="1" y="3"/>
                      <a:pt x="2" y="5"/>
                      <a:pt x="2" y="7"/>
                    </a:cubicBezTo>
                    <a:cubicBezTo>
                      <a:pt x="3" y="9"/>
                      <a:pt x="3" y="11"/>
                      <a:pt x="4" y="12"/>
                    </a:cubicBezTo>
                    <a:cubicBezTo>
                      <a:pt x="4" y="12"/>
                      <a:pt x="5" y="12"/>
                      <a:pt x="5" y="12"/>
                    </a:cubicBezTo>
                    <a:cubicBezTo>
                      <a:pt x="5" y="10"/>
                      <a:pt x="4" y="8"/>
                      <a:pt x="4" y="6"/>
                    </a:cubicBezTo>
                    <a:cubicBezTo>
                      <a:pt x="3" y="4"/>
                      <a:pt x="2" y="3"/>
                      <a:pt x="1" y="1"/>
                    </a:cubicBezTo>
                    <a:cubicBezTo>
                      <a:pt x="1" y="0"/>
                      <a:pt x="0" y="1"/>
                      <a:pt x="0" y="2"/>
                    </a:cubicBezTo>
                    <a:close/>
                  </a:path>
                </a:pathLst>
              </a:custGeom>
              <a:solidFill>
                <a:srgbClr val="3A12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90" name="Freeform 25">
                <a:extLst>
                  <a:ext uri="{FF2B5EF4-FFF2-40B4-BE49-F238E27FC236}">
                    <a16:creationId xmlns:a16="http://schemas.microsoft.com/office/drawing/2014/main" id="{D624D2C1-D7F4-4A49-AD07-DFB25EA43C49}"/>
                  </a:ext>
                </a:extLst>
              </p:cNvPr>
              <p:cNvSpPr>
                <a:spLocks/>
              </p:cNvSpPr>
              <p:nvPr/>
            </p:nvSpPr>
            <p:spPr bwMode="auto">
              <a:xfrm>
                <a:off x="2574925" y="1941513"/>
                <a:ext cx="7938" cy="20638"/>
              </a:xfrm>
              <a:custGeom>
                <a:avLst/>
                <a:gdLst>
                  <a:gd name="T0" fmla="*/ 1 w 4"/>
                  <a:gd name="T1" fmla="*/ 2 h 10"/>
                  <a:gd name="T2" fmla="*/ 3 w 4"/>
                  <a:gd name="T3" fmla="*/ 9 h 10"/>
                  <a:gd name="T4" fmla="*/ 4 w 4"/>
                  <a:gd name="T5" fmla="*/ 9 h 10"/>
                  <a:gd name="T6" fmla="*/ 1 w 4"/>
                  <a:gd name="T7" fmla="*/ 2 h 10"/>
                  <a:gd name="T8" fmla="*/ 1 w 4"/>
                  <a:gd name="T9" fmla="*/ 2 h 10"/>
                </a:gdLst>
                <a:ahLst/>
                <a:cxnLst>
                  <a:cxn ang="0">
                    <a:pos x="T0" y="T1"/>
                  </a:cxn>
                  <a:cxn ang="0">
                    <a:pos x="T2" y="T3"/>
                  </a:cxn>
                  <a:cxn ang="0">
                    <a:pos x="T4" y="T5"/>
                  </a:cxn>
                  <a:cxn ang="0">
                    <a:pos x="T6" y="T7"/>
                  </a:cxn>
                  <a:cxn ang="0">
                    <a:pos x="T8" y="T9"/>
                  </a:cxn>
                </a:cxnLst>
                <a:rect l="0" t="0" r="r" b="b"/>
                <a:pathLst>
                  <a:path w="4" h="10">
                    <a:moveTo>
                      <a:pt x="1" y="2"/>
                    </a:moveTo>
                    <a:cubicBezTo>
                      <a:pt x="1" y="3"/>
                      <a:pt x="3" y="9"/>
                      <a:pt x="3" y="9"/>
                    </a:cubicBezTo>
                    <a:cubicBezTo>
                      <a:pt x="4" y="10"/>
                      <a:pt x="4" y="10"/>
                      <a:pt x="4" y="9"/>
                    </a:cubicBezTo>
                    <a:cubicBezTo>
                      <a:pt x="4" y="8"/>
                      <a:pt x="2" y="0"/>
                      <a:pt x="1" y="2"/>
                    </a:cubicBezTo>
                    <a:cubicBezTo>
                      <a:pt x="0" y="2"/>
                      <a:pt x="1" y="3"/>
                      <a:pt x="1" y="2"/>
                    </a:cubicBezTo>
                    <a:close/>
                  </a:path>
                </a:pathLst>
              </a:custGeom>
              <a:solidFill>
                <a:srgbClr val="3A12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91" name="Freeform 26">
                <a:extLst>
                  <a:ext uri="{FF2B5EF4-FFF2-40B4-BE49-F238E27FC236}">
                    <a16:creationId xmlns:a16="http://schemas.microsoft.com/office/drawing/2014/main" id="{959B5D82-829C-42C5-AEA9-A991E5C83997}"/>
                  </a:ext>
                </a:extLst>
              </p:cNvPr>
              <p:cNvSpPr>
                <a:spLocks/>
              </p:cNvSpPr>
              <p:nvPr/>
            </p:nvSpPr>
            <p:spPr bwMode="auto">
              <a:xfrm>
                <a:off x="2573338" y="1938338"/>
                <a:ext cx="12700" cy="23813"/>
              </a:xfrm>
              <a:custGeom>
                <a:avLst/>
                <a:gdLst>
                  <a:gd name="T0" fmla="*/ 1 w 6"/>
                  <a:gd name="T1" fmla="*/ 1 h 12"/>
                  <a:gd name="T2" fmla="*/ 4 w 6"/>
                  <a:gd name="T3" fmla="*/ 12 h 12"/>
                  <a:gd name="T4" fmla="*/ 5 w 6"/>
                  <a:gd name="T5" fmla="*/ 12 h 12"/>
                  <a:gd name="T6" fmla="*/ 5 w 6"/>
                  <a:gd name="T7" fmla="*/ 6 h 12"/>
                  <a:gd name="T8" fmla="*/ 1 w 6"/>
                  <a:gd name="T9" fmla="*/ 1 h 12"/>
                  <a:gd name="T10" fmla="*/ 1 w 6"/>
                  <a:gd name="T11" fmla="*/ 1 h 12"/>
                </a:gdLst>
                <a:ahLst/>
                <a:cxnLst>
                  <a:cxn ang="0">
                    <a:pos x="T0" y="T1"/>
                  </a:cxn>
                  <a:cxn ang="0">
                    <a:pos x="T2" y="T3"/>
                  </a:cxn>
                  <a:cxn ang="0">
                    <a:pos x="T4" y="T5"/>
                  </a:cxn>
                  <a:cxn ang="0">
                    <a:pos x="T6" y="T7"/>
                  </a:cxn>
                  <a:cxn ang="0">
                    <a:pos x="T8" y="T9"/>
                  </a:cxn>
                  <a:cxn ang="0">
                    <a:pos x="T10" y="T11"/>
                  </a:cxn>
                </a:cxnLst>
                <a:rect l="0" t="0" r="r" b="b"/>
                <a:pathLst>
                  <a:path w="6" h="12">
                    <a:moveTo>
                      <a:pt x="1" y="1"/>
                    </a:moveTo>
                    <a:cubicBezTo>
                      <a:pt x="3" y="5"/>
                      <a:pt x="3" y="8"/>
                      <a:pt x="4" y="12"/>
                    </a:cubicBezTo>
                    <a:cubicBezTo>
                      <a:pt x="4" y="12"/>
                      <a:pt x="5" y="12"/>
                      <a:pt x="5" y="12"/>
                    </a:cubicBezTo>
                    <a:cubicBezTo>
                      <a:pt x="6" y="11"/>
                      <a:pt x="5" y="8"/>
                      <a:pt x="5" y="6"/>
                    </a:cubicBezTo>
                    <a:cubicBezTo>
                      <a:pt x="4" y="4"/>
                      <a:pt x="3" y="2"/>
                      <a:pt x="1" y="1"/>
                    </a:cubicBezTo>
                    <a:cubicBezTo>
                      <a:pt x="1" y="0"/>
                      <a:pt x="0" y="1"/>
                      <a:pt x="1" y="1"/>
                    </a:cubicBezTo>
                    <a:close/>
                  </a:path>
                </a:pathLst>
              </a:custGeom>
              <a:solidFill>
                <a:srgbClr val="3A12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92" name="Freeform 27">
                <a:extLst>
                  <a:ext uri="{FF2B5EF4-FFF2-40B4-BE49-F238E27FC236}">
                    <a16:creationId xmlns:a16="http://schemas.microsoft.com/office/drawing/2014/main" id="{0543B66E-0730-4D6E-8818-4CC3928BADE5}"/>
                  </a:ext>
                </a:extLst>
              </p:cNvPr>
              <p:cNvSpPr>
                <a:spLocks/>
              </p:cNvSpPr>
              <p:nvPr/>
            </p:nvSpPr>
            <p:spPr bwMode="auto">
              <a:xfrm>
                <a:off x="2565400" y="1960563"/>
                <a:ext cx="17463" cy="12700"/>
              </a:xfrm>
              <a:custGeom>
                <a:avLst/>
                <a:gdLst>
                  <a:gd name="T0" fmla="*/ 9 w 9"/>
                  <a:gd name="T1" fmla="*/ 1 h 6"/>
                  <a:gd name="T2" fmla="*/ 5 w 9"/>
                  <a:gd name="T3" fmla="*/ 2 h 6"/>
                  <a:gd name="T4" fmla="*/ 0 w 9"/>
                  <a:gd name="T5" fmla="*/ 5 h 6"/>
                  <a:gd name="T6" fmla="*/ 0 w 9"/>
                  <a:gd name="T7" fmla="*/ 5 h 6"/>
                  <a:gd name="T8" fmla="*/ 5 w 9"/>
                  <a:gd name="T9" fmla="*/ 5 h 6"/>
                  <a:gd name="T10" fmla="*/ 9 w 9"/>
                  <a:gd name="T11" fmla="*/ 1 h 6"/>
                  <a:gd name="T12" fmla="*/ 9 w 9"/>
                  <a:gd name="T13" fmla="*/ 1 h 6"/>
                </a:gdLst>
                <a:ahLst/>
                <a:cxnLst>
                  <a:cxn ang="0">
                    <a:pos x="T0" y="T1"/>
                  </a:cxn>
                  <a:cxn ang="0">
                    <a:pos x="T2" y="T3"/>
                  </a:cxn>
                  <a:cxn ang="0">
                    <a:pos x="T4" y="T5"/>
                  </a:cxn>
                  <a:cxn ang="0">
                    <a:pos x="T6" y="T7"/>
                  </a:cxn>
                  <a:cxn ang="0">
                    <a:pos x="T8" y="T9"/>
                  </a:cxn>
                  <a:cxn ang="0">
                    <a:pos x="T10" y="T11"/>
                  </a:cxn>
                  <a:cxn ang="0">
                    <a:pos x="T12" y="T13"/>
                  </a:cxn>
                </a:cxnLst>
                <a:rect l="0" t="0" r="r" b="b"/>
                <a:pathLst>
                  <a:path w="9" h="6">
                    <a:moveTo>
                      <a:pt x="9" y="1"/>
                    </a:moveTo>
                    <a:cubicBezTo>
                      <a:pt x="8" y="0"/>
                      <a:pt x="6" y="2"/>
                      <a:pt x="5" y="2"/>
                    </a:cubicBezTo>
                    <a:cubicBezTo>
                      <a:pt x="3" y="3"/>
                      <a:pt x="1" y="3"/>
                      <a:pt x="0" y="5"/>
                    </a:cubicBezTo>
                    <a:cubicBezTo>
                      <a:pt x="0" y="5"/>
                      <a:pt x="0" y="5"/>
                      <a:pt x="0" y="5"/>
                    </a:cubicBezTo>
                    <a:cubicBezTo>
                      <a:pt x="2" y="6"/>
                      <a:pt x="4" y="5"/>
                      <a:pt x="5" y="5"/>
                    </a:cubicBezTo>
                    <a:cubicBezTo>
                      <a:pt x="7" y="4"/>
                      <a:pt x="9" y="3"/>
                      <a:pt x="9" y="1"/>
                    </a:cubicBezTo>
                    <a:cubicBezTo>
                      <a:pt x="9" y="1"/>
                      <a:pt x="9" y="1"/>
                      <a:pt x="9" y="1"/>
                    </a:cubicBezTo>
                    <a:close/>
                  </a:path>
                </a:pathLst>
              </a:custGeom>
              <a:solidFill>
                <a:srgbClr val="3A12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93" name="Freeform 28">
                <a:extLst>
                  <a:ext uri="{FF2B5EF4-FFF2-40B4-BE49-F238E27FC236}">
                    <a16:creationId xmlns:a16="http://schemas.microsoft.com/office/drawing/2014/main" id="{40375A40-E308-46E5-A501-B559CFD08E8A}"/>
                  </a:ext>
                </a:extLst>
              </p:cNvPr>
              <p:cNvSpPr>
                <a:spLocks/>
              </p:cNvSpPr>
              <p:nvPr/>
            </p:nvSpPr>
            <p:spPr bwMode="auto">
              <a:xfrm>
                <a:off x="2559050" y="1952625"/>
                <a:ext cx="12700" cy="20638"/>
              </a:xfrm>
              <a:custGeom>
                <a:avLst/>
                <a:gdLst>
                  <a:gd name="T0" fmla="*/ 1 w 6"/>
                  <a:gd name="T1" fmla="*/ 1 h 10"/>
                  <a:gd name="T2" fmla="*/ 2 w 6"/>
                  <a:gd name="T3" fmla="*/ 6 h 10"/>
                  <a:gd name="T4" fmla="*/ 5 w 6"/>
                  <a:gd name="T5" fmla="*/ 10 h 10"/>
                  <a:gd name="T6" fmla="*/ 6 w 6"/>
                  <a:gd name="T7" fmla="*/ 10 h 10"/>
                  <a:gd name="T8" fmla="*/ 4 w 6"/>
                  <a:gd name="T9" fmla="*/ 6 h 10"/>
                  <a:gd name="T10" fmla="*/ 2 w 6"/>
                  <a:gd name="T11" fmla="*/ 0 h 10"/>
                  <a:gd name="T12" fmla="*/ 1 w 6"/>
                  <a:gd name="T13" fmla="*/ 1 h 10"/>
                </a:gdLst>
                <a:ahLst/>
                <a:cxnLst>
                  <a:cxn ang="0">
                    <a:pos x="T0" y="T1"/>
                  </a:cxn>
                  <a:cxn ang="0">
                    <a:pos x="T2" y="T3"/>
                  </a:cxn>
                  <a:cxn ang="0">
                    <a:pos x="T4" y="T5"/>
                  </a:cxn>
                  <a:cxn ang="0">
                    <a:pos x="T6" y="T7"/>
                  </a:cxn>
                  <a:cxn ang="0">
                    <a:pos x="T8" y="T9"/>
                  </a:cxn>
                  <a:cxn ang="0">
                    <a:pos x="T10" y="T11"/>
                  </a:cxn>
                  <a:cxn ang="0">
                    <a:pos x="T12" y="T13"/>
                  </a:cxn>
                </a:cxnLst>
                <a:rect l="0" t="0" r="r" b="b"/>
                <a:pathLst>
                  <a:path w="6" h="10">
                    <a:moveTo>
                      <a:pt x="1" y="1"/>
                    </a:moveTo>
                    <a:cubicBezTo>
                      <a:pt x="0" y="2"/>
                      <a:pt x="1" y="4"/>
                      <a:pt x="2" y="6"/>
                    </a:cubicBezTo>
                    <a:cubicBezTo>
                      <a:pt x="3" y="7"/>
                      <a:pt x="3" y="10"/>
                      <a:pt x="5" y="10"/>
                    </a:cubicBezTo>
                    <a:cubicBezTo>
                      <a:pt x="5" y="10"/>
                      <a:pt x="5" y="10"/>
                      <a:pt x="6" y="10"/>
                    </a:cubicBezTo>
                    <a:cubicBezTo>
                      <a:pt x="6" y="8"/>
                      <a:pt x="5" y="7"/>
                      <a:pt x="4" y="6"/>
                    </a:cubicBezTo>
                    <a:cubicBezTo>
                      <a:pt x="4" y="4"/>
                      <a:pt x="3" y="2"/>
                      <a:pt x="2" y="0"/>
                    </a:cubicBezTo>
                    <a:cubicBezTo>
                      <a:pt x="1" y="0"/>
                      <a:pt x="1" y="0"/>
                      <a:pt x="1" y="1"/>
                    </a:cubicBezTo>
                    <a:close/>
                  </a:path>
                </a:pathLst>
              </a:custGeom>
              <a:solidFill>
                <a:srgbClr val="3A12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94" name="Freeform 29">
                <a:extLst>
                  <a:ext uri="{FF2B5EF4-FFF2-40B4-BE49-F238E27FC236}">
                    <a16:creationId xmlns:a16="http://schemas.microsoft.com/office/drawing/2014/main" id="{D586AAFB-63F8-4787-9853-E5835B4B1338}"/>
                  </a:ext>
                </a:extLst>
              </p:cNvPr>
              <p:cNvSpPr>
                <a:spLocks/>
              </p:cNvSpPr>
              <p:nvPr/>
            </p:nvSpPr>
            <p:spPr bwMode="auto">
              <a:xfrm>
                <a:off x="2559050" y="1935163"/>
                <a:ext cx="15875" cy="20638"/>
              </a:xfrm>
              <a:custGeom>
                <a:avLst/>
                <a:gdLst>
                  <a:gd name="T0" fmla="*/ 7 w 8"/>
                  <a:gd name="T1" fmla="*/ 1 h 10"/>
                  <a:gd name="T2" fmla="*/ 4 w 8"/>
                  <a:gd name="T3" fmla="*/ 3 h 10"/>
                  <a:gd name="T4" fmla="*/ 0 w 8"/>
                  <a:gd name="T5" fmla="*/ 9 h 10"/>
                  <a:gd name="T6" fmla="*/ 1 w 8"/>
                  <a:gd name="T7" fmla="*/ 10 h 10"/>
                  <a:gd name="T8" fmla="*/ 5 w 8"/>
                  <a:gd name="T9" fmla="*/ 7 h 10"/>
                  <a:gd name="T10" fmla="*/ 6 w 8"/>
                  <a:gd name="T11" fmla="*/ 4 h 10"/>
                  <a:gd name="T12" fmla="*/ 8 w 8"/>
                  <a:gd name="T13" fmla="*/ 2 h 10"/>
                  <a:gd name="T14" fmla="*/ 7 w 8"/>
                  <a:gd name="T15" fmla="*/ 1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 h="10">
                    <a:moveTo>
                      <a:pt x="7" y="1"/>
                    </a:moveTo>
                    <a:cubicBezTo>
                      <a:pt x="6" y="0"/>
                      <a:pt x="5" y="2"/>
                      <a:pt x="4" y="3"/>
                    </a:cubicBezTo>
                    <a:cubicBezTo>
                      <a:pt x="3" y="5"/>
                      <a:pt x="1" y="7"/>
                      <a:pt x="0" y="9"/>
                    </a:cubicBezTo>
                    <a:cubicBezTo>
                      <a:pt x="0" y="10"/>
                      <a:pt x="1" y="10"/>
                      <a:pt x="1" y="10"/>
                    </a:cubicBezTo>
                    <a:cubicBezTo>
                      <a:pt x="3" y="9"/>
                      <a:pt x="4" y="8"/>
                      <a:pt x="5" y="7"/>
                    </a:cubicBezTo>
                    <a:cubicBezTo>
                      <a:pt x="5" y="6"/>
                      <a:pt x="6" y="5"/>
                      <a:pt x="6" y="4"/>
                    </a:cubicBezTo>
                    <a:cubicBezTo>
                      <a:pt x="7" y="3"/>
                      <a:pt x="7" y="2"/>
                      <a:pt x="8" y="2"/>
                    </a:cubicBezTo>
                    <a:cubicBezTo>
                      <a:pt x="8" y="1"/>
                      <a:pt x="8" y="1"/>
                      <a:pt x="7" y="1"/>
                    </a:cubicBezTo>
                    <a:close/>
                  </a:path>
                </a:pathLst>
              </a:custGeom>
              <a:solidFill>
                <a:srgbClr val="3A12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95" name="Freeform 30">
                <a:extLst>
                  <a:ext uri="{FF2B5EF4-FFF2-40B4-BE49-F238E27FC236}">
                    <a16:creationId xmlns:a16="http://schemas.microsoft.com/office/drawing/2014/main" id="{56B118E6-BA40-4D86-983E-65BE43945771}"/>
                  </a:ext>
                </a:extLst>
              </p:cNvPr>
              <p:cNvSpPr>
                <a:spLocks/>
              </p:cNvSpPr>
              <p:nvPr/>
            </p:nvSpPr>
            <p:spPr bwMode="auto">
              <a:xfrm>
                <a:off x="2560638" y="1957388"/>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3A12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96" name="Freeform 31">
                <a:extLst>
                  <a:ext uri="{FF2B5EF4-FFF2-40B4-BE49-F238E27FC236}">
                    <a16:creationId xmlns:a16="http://schemas.microsoft.com/office/drawing/2014/main" id="{390CE148-4156-4DA3-A693-E500AB41E06B}"/>
                  </a:ext>
                </a:extLst>
              </p:cNvPr>
              <p:cNvSpPr>
                <a:spLocks/>
              </p:cNvSpPr>
              <p:nvPr/>
            </p:nvSpPr>
            <p:spPr bwMode="auto">
              <a:xfrm>
                <a:off x="2560638" y="1957388"/>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3A12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97" name="Freeform 32">
                <a:extLst>
                  <a:ext uri="{FF2B5EF4-FFF2-40B4-BE49-F238E27FC236}">
                    <a16:creationId xmlns:a16="http://schemas.microsoft.com/office/drawing/2014/main" id="{95425892-938E-4D97-A813-E334FE79D8A4}"/>
                  </a:ext>
                </a:extLst>
              </p:cNvPr>
              <p:cNvSpPr>
                <a:spLocks/>
              </p:cNvSpPr>
              <p:nvPr/>
            </p:nvSpPr>
            <p:spPr bwMode="auto">
              <a:xfrm>
                <a:off x="2555875" y="1943100"/>
                <a:ext cx="11113" cy="17463"/>
              </a:xfrm>
              <a:custGeom>
                <a:avLst/>
                <a:gdLst>
                  <a:gd name="T0" fmla="*/ 2 w 5"/>
                  <a:gd name="T1" fmla="*/ 7 h 8"/>
                  <a:gd name="T2" fmla="*/ 3 w 5"/>
                  <a:gd name="T3" fmla="*/ 4 h 8"/>
                  <a:gd name="T4" fmla="*/ 5 w 5"/>
                  <a:gd name="T5" fmla="*/ 2 h 8"/>
                  <a:gd name="T6" fmla="*/ 4 w 5"/>
                  <a:gd name="T7" fmla="*/ 1 h 8"/>
                  <a:gd name="T8" fmla="*/ 0 w 5"/>
                  <a:gd name="T9" fmla="*/ 7 h 8"/>
                  <a:gd name="T10" fmla="*/ 2 w 5"/>
                  <a:gd name="T11" fmla="*/ 7 h 8"/>
                </a:gdLst>
                <a:ahLst/>
                <a:cxnLst>
                  <a:cxn ang="0">
                    <a:pos x="T0" y="T1"/>
                  </a:cxn>
                  <a:cxn ang="0">
                    <a:pos x="T2" y="T3"/>
                  </a:cxn>
                  <a:cxn ang="0">
                    <a:pos x="T4" y="T5"/>
                  </a:cxn>
                  <a:cxn ang="0">
                    <a:pos x="T6" y="T7"/>
                  </a:cxn>
                  <a:cxn ang="0">
                    <a:pos x="T8" y="T9"/>
                  </a:cxn>
                  <a:cxn ang="0">
                    <a:pos x="T10" y="T11"/>
                  </a:cxn>
                </a:cxnLst>
                <a:rect l="0" t="0" r="r" b="b"/>
                <a:pathLst>
                  <a:path w="5" h="8">
                    <a:moveTo>
                      <a:pt x="2" y="7"/>
                    </a:moveTo>
                    <a:cubicBezTo>
                      <a:pt x="2" y="6"/>
                      <a:pt x="3" y="5"/>
                      <a:pt x="3" y="4"/>
                    </a:cubicBezTo>
                    <a:cubicBezTo>
                      <a:pt x="4" y="4"/>
                      <a:pt x="5" y="3"/>
                      <a:pt x="5" y="2"/>
                    </a:cubicBezTo>
                    <a:cubicBezTo>
                      <a:pt x="5" y="1"/>
                      <a:pt x="4" y="0"/>
                      <a:pt x="4" y="1"/>
                    </a:cubicBezTo>
                    <a:cubicBezTo>
                      <a:pt x="1" y="1"/>
                      <a:pt x="0" y="5"/>
                      <a:pt x="0" y="7"/>
                    </a:cubicBezTo>
                    <a:cubicBezTo>
                      <a:pt x="1" y="8"/>
                      <a:pt x="1" y="8"/>
                      <a:pt x="2" y="7"/>
                    </a:cubicBezTo>
                    <a:close/>
                  </a:path>
                </a:pathLst>
              </a:custGeom>
              <a:solidFill>
                <a:srgbClr val="3A12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98" name="Freeform 33">
                <a:extLst>
                  <a:ext uri="{FF2B5EF4-FFF2-40B4-BE49-F238E27FC236}">
                    <a16:creationId xmlns:a16="http://schemas.microsoft.com/office/drawing/2014/main" id="{2C966C83-FA46-4211-8911-D95F55A11935}"/>
                  </a:ext>
                </a:extLst>
              </p:cNvPr>
              <p:cNvSpPr>
                <a:spLocks/>
              </p:cNvSpPr>
              <p:nvPr/>
            </p:nvSpPr>
            <p:spPr bwMode="auto">
              <a:xfrm>
                <a:off x="2560638" y="1935163"/>
                <a:ext cx="12700" cy="14288"/>
              </a:xfrm>
              <a:custGeom>
                <a:avLst/>
                <a:gdLst>
                  <a:gd name="T0" fmla="*/ 6 w 6"/>
                  <a:gd name="T1" fmla="*/ 2 h 7"/>
                  <a:gd name="T2" fmla="*/ 6 w 6"/>
                  <a:gd name="T3" fmla="*/ 1 h 7"/>
                  <a:gd name="T4" fmla="*/ 5 w 6"/>
                  <a:gd name="T5" fmla="*/ 0 h 7"/>
                  <a:gd name="T6" fmla="*/ 0 w 6"/>
                  <a:gd name="T7" fmla="*/ 7 h 7"/>
                  <a:gd name="T8" fmla="*/ 2 w 6"/>
                  <a:gd name="T9" fmla="*/ 7 h 7"/>
                  <a:gd name="T10" fmla="*/ 4 w 6"/>
                  <a:gd name="T11" fmla="*/ 4 h 7"/>
                  <a:gd name="T12" fmla="*/ 6 w 6"/>
                  <a:gd name="T13" fmla="*/ 1 h 7"/>
                  <a:gd name="T14" fmla="*/ 5 w 6"/>
                  <a:gd name="T15" fmla="*/ 2 h 7"/>
                  <a:gd name="T16" fmla="*/ 5 w 6"/>
                  <a:gd name="T17" fmla="*/ 1 h 7"/>
                  <a:gd name="T18" fmla="*/ 6 w 6"/>
                  <a:gd name="T19" fmla="*/ 2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7">
                    <a:moveTo>
                      <a:pt x="6" y="2"/>
                    </a:moveTo>
                    <a:cubicBezTo>
                      <a:pt x="6" y="2"/>
                      <a:pt x="6" y="1"/>
                      <a:pt x="6" y="1"/>
                    </a:cubicBezTo>
                    <a:cubicBezTo>
                      <a:pt x="6" y="1"/>
                      <a:pt x="6" y="0"/>
                      <a:pt x="5" y="0"/>
                    </a:cubicBezTo>
                    <a:cubicBezTo>
                      <a:pt x="3" y="2"/>
                      <a:pt x="0" y="4"/>
                      <a:pt x="0" y="7"/>
                    </a:cubicBezTo>
                    <a:cubicBezTo>
                      <a:pt x="0" y="7"/>
                      <a:pt x="1" y="7"/>
                      <a:pt x="2" y="7"/>
                    </a:cubicBezTo>
                    <a:cubicBezTo>
                      <a:pt x="2" y="6"/>
                      <a:pt x="3" y="5"/>
                      <a:pt x="4" y="4"/>
                    </a:cubicBezTo>
                    <a:cubicBezTo>
                      <a:pt x="5" y="3"/>
                      <a:pt x="6" y="2"/>
                      <a:pt x="6" y="1"/>
                    </a:cubicBezTo>
                    <a:cubicBezTo>
                      <a:pt x="6" y="1"/>
                      <a:pt x="5" y="2"/>
                      <a:pt x="5" y="2"/>
                    </a:cubicBezTo>
                    <a:cubicBezTo>
                      <a:pt x="5" y="2"/>
                      <a:pt x="5" y="1"/>
                      <a:pt x="5" y="1"/>
                    </a:cubicBezTo>
                    <a:cubicBezTo>
                      <a:pt x="5" y="2"/>
                      <a:pt x="6" y="2"/>
                      <a:pt x="6" y="2"/>
                    </a:cubicBezTo>
                    <a:close/>
                  </a:path>
                </a:pathLst>
              </a:custGeom>
              <a:solidFill>
                <a:srgbClr val="3A12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99" name="Freeform 34">
                <a:extLst>
                  <a:ext uri="{FF2B5EF4-FFF2-40B4-BE49-F238E27FC236}">
                    <a16:creationId xmlns:a16="http://schemas.microsoft.com/office/drawing/2014/main" id="{7669C54C-D7BF-4216-A1A1-D5F4083D6BCF}"/>
                  </a:ext>
                </a:extLst>
              </p:cNvPr>
              <p:cNvSpPr>
                <a:spLocks/>
              </p:cNvSpPr>
              <p:nvPr/>
            </p:nvSpPr>
            <p:spPr bwMode="auto">
              <a:xfrm>
                <a:off x="2560638" y="1933575"/>
                <a:ext cx="15875" cy="19050"/>
              </a:xfrm>
              <a:custGeom>
                <a:avLst/>
                <a:gdLst>
                  <a:gd name="T0" fmla="*/ 2 w 8"/>
                  <a:gd name="T1" fmla="*/ 9 h 9"/>
                  <a:gd name="T2" fmla="*/ 6 w 8"/>
                  <a:gd name="T3" fmla="*/ 4 h 9"/>
                  <a:gd name="T4" fmla="*/ 7 w 8"/>
                  <a:gd name="T5" fmla="*/ 1 h 9"/>
                  <a:gd name="T6" fmla="*/ 3 w 8"/>
                  <a:gd name="T7" fmla="*/ 3 h 9"/>
                  <a:gd name="T8" fmla="*/ 0 w 8"/>
                  <a:gd name="T9" fmla="*/ 8 h 9"/>
                  <a:gd name="T10" fmla="*/ 2 w 8"/>
                  <a:gd name="T11" fmla="*/ 9 h 9"/>
                </a:gdLst>
                <a:ahLst/>
                <a:cxnLst>
                  <a:cxn ang="0">
                    <a:pos x="T0" y="T1"/>
                  </a:cxn>
                  <a:cxn ang="0">
                    <a:pos x="T2" y="T3"/>
                  </a:cxn>
                  <a:cxn ang="0">
                    <a:pos x="T4" y="T5"/>
                  </a:cxn>
                  <a:cxn ang="0">
                    <a:pos x="T6" y="T7"/>
                  </a:cxn>
                  <a:cxn ang="0">
                    <a:pos x="T8" y="T9"/>
                  </a:cxn>
                  <a:cxn ang="0">
                    <a:pos x="T10" y="T11"/>
                  </a:cxn>
                </a:cxnLst>
                <a:rect l="0" t="0" r="r" b="b"/>
                <a:pathLst>
                  <a:path w="8" h="9">
                    <a:moveTo>
                      <a:pt x="2" y="9"/>
                    </a:moveTo>
                    <a:cubicBezTo>
                      <a:pt x="2" y="7"/>
                      <a:pt x="4" y="4"/>
                      <a:pt x="6" y="4"/>
                    </a:cubicBezTo>
                    <a:cubicBezTo>
                      <a:pt x="8" y="3"/>
                      <a:pt x="8" y="2"/>
                      <a:pt x="7" y="1"/>
                    </a:cubicBezTo>
                    <a:cubicBezTo>
                      <a:pt x="5" y="0"/>
                      <a:pt x="4" y="2"/>
                      <a:pt x="3" y="3"/>
                    </a:cubicBezTo>
                    <a:cubicBezTo>
                      <a:pt x="1" y="4"/>
                      <a:pt x="0" y="6"/>
                      <a:pt x="0" y="8"/>
                    </a:cubicBezTo>
                    <a:cubicBezTo>
                      <a:pt x="0" y="9"/>
                      <a:pt x="1" y="9"/>
                      <a:pt x="2" y="9"/>
                    </a:cubicBezTo>
                    <a:close/>
                  </a:path>
                </a:pathLst>
              </a:custGeom>
              <a:solidFill>
                <a:srgbClr val="3A12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00" name="Freeform 35">
                <a:extLst>
                  <a:ext uri="{FF2B5EF4-FFF2-40B4-BE49-F238E27FC236}">
                    <a16:creationId xmlns:a16="http://schemas.microsoft.com/office/drawing/2014/main" id="{DFF7CA76-2A25-4A4C-8181-A2B47DA5B2F0}"/>
                  </a:ext>
                </a:extLst>
              </p:cNvPr>
              <p:cNvSpPr>
                <a:spLocks/>
              </p:cNvSpPr>
              <p:nvPr/>
            </p:nvSpPr>
            <p:spPr bwMode="auto">
              <a:xfrm>
                <a:off x="2552700" y="1949450"/>
                <a:ext cx="9525" cy="14288"/>
              </a:xfrm>
              <a:custGeom>
                <a:avLst/>
                <a:gdLst>
                  <a:gd name="T0" fmla="*/ 1 w 5"/>
                  <a:gd name="T1" fmla="*/ 0 h 7"/>
                  <a:gd name="T2" fmla="*/ 3 w 5"/>
                  <a:gd name="T3" fmla="*/ 7 h 7"/>
                  <a:gd name="T4" fmla="*/ 5 w 5"/>
                  <a:gd name="T5" fmla="*/ 6 h 7"/>
                  <a:gd name="T6" fmla="*/ 2 w 5"/>
                  <a:gd name="T7" fmla="*/ 0 h 7"/>
                  <a:gd name="T8" fmla="*/ 1 w 5"/>
                  <a:gd name="T9" fmla="*/ 0 h 7"/>
                </a:gdLst>
                <a:ahLst/>
                <a:cxnLst>
                  <a:cxn ang="0">
                    <a:pos x="T0" y="T1"/>
                  </a:cxn>
                  <a:cxn ang="0">
                    <a:pos x="T2" y="T3"/>
                  </a:cxn>
                  <a:cxn ang="0">
                    <a:pos x="T4" y="T5"/>
                  </a:cxn>
                  <a:cxn ang="0">
                    <a:pos x="T6" y="T7"/>
                  </a:cxn>
                  <a:cxn ang="0">
                    <a:pos x="T8" y="T9"/>
                  </a:cxn>
                </a:cxnLst>
                <a:rect l="0" t="0" r="r" b="b"/>
                <a:pathLst>
                  <a:path w="5" h="7">
                    <a:moveTo>
                      <a:pt x="1" y="0"/>
                    </a:moveTo>
                    <a:cubicBezTo>
                      <a:pt x="0" y="2"/>
                      <a:pt x="2" y="5"/>
                      <a:pt x="3" y="7"/>
                    </a:cubicBezTo>
                    <a:cubicBezTo>
                      <a:pt x="4" y="7"/>
                      <a:pt x="5" y="7"/>
                      <a:pt x="5" y="6"/>
                    </a:cubicBezTo>
                    <a:cubicBezTo>
                      <a:pt x="5" y="4"/>
                      <a:pt x="4" y="1"/>
                      <a:pt x="2" y="0"/>
                    </a:cubicBezTo>
                    <a:cubicBezTo>
                      <a:pt x="2" y="0"/>
                      <a:pt x="1" y="0"/>
                      <a:pt x="1" y="0"/>
                    </a:cubicBezTo>
                    <a:close/>
                  </a:path>
                </a:pathLst>
              </a:custGeom>
              <a:solidFill>
                <a:srgbClr val="3A12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01" name="Freeform 36">
                <a:extLst>
                  <a:ext uri="{FF2B5EF4-FFF2-40B4-BE49-F238E27FC236}">
                    <a16:creationId xmlns:a16="http://schemas.microsoft.com/office/drawing/2014/main" id="{BF3599B0-F32D-4103-9C31-1B5BF438FC57}"/>
                  </a:ext>
                </a:extLst>
              </p:cNvPr>
              <p:cNvSpPr>
                <a:spLocks/>
              </p:cNvSpPr>
              <p:nvPr/>
            </p:nvSpPr>
            <p:spPr bwMode="auto">
              <a:xfrm>
                <a:off x="2568575" y="1935163"/>
                <a:ext cx="12700" cy="19050"/>
              </a:xfrm>
              <a:custGeom>
                <a:avLst/>
                <a:gdLst>
                  <a:gd name="T0" fmla="*/ 1 w 6"/>
                  <a:gd name="T1" fmla="*/ 2 h 9"/>
                  <a:gd name="T2" fmla="*/ 5 w 6"/>
                  <a:gd name="T3" fmla="*/ 8 h 9"/>
                  <a:gd name="T4" fmla="*/ 6 w 6"/>
                  <a:gd name="T5" fmla="*/ 8 h 9"/>
                  <a:gd name="T6" fmla="*/ 2 w 6"/>
                  <a:gd name="T7" fmla="*/ 1 h 9"/>
                  <a:gd name="T8" fmla="*/ 1 w 6"/>
                  <a:gd name="T9" fmla="*/ 1 h 9"/>
                  <a:gd name="T10" fmla="*/ 0 w 6"/>
                  <a:gd name="T11" fmla="*/ 1 h 9"/>
                  <a:gd name="T12" fmla="*/ 1 w 6"/>
                  <a:gd name="T13" fmla="*/ 2 h 9"/>
                </a:gdLst>
                <a:ahLst/>
                <a:cxnLst>
                  <a:cxn ang="0">
                    <a:pos x="T0" y="T1"/>
                  </a:cxn>
                  <a:cxn ang="0">
                    <a:pos x="T2" y="T3"/>
                  </a:cxn>
                  <a:cxn ang="0">
                    <a:pos x="T4" y="T5"/>
                  </a:cxn>
                  <a:cxn ang="0">
                    <a:pos x="T6" y="T7"/>
                  </a:cxn>
                  <a:cxn ang="0">
                    <a:pos x="T8" y="T9"/>
                  </a:cxn>
                  <a:cxn ang="0">
                    <a:pos x="T10" y="T11"/>
                  </a:cxn>
                  <a:cxn ang="0">
                    <a:pos x="T12" y="T13"/>
                  </a:cxn>
                </a:cxnLst>
                <a:rect l="0" t="0" r="r" b="b"/>
                <a:pathLst>
                  <a:path w="6" h="9">
                    <a:moveTo>
                      <a:pt x="1" y="2"/>
                    </a:moveTo>
                    <a:cubicBezTo>
                      <a:pt x="2" y="2"/>
                      <a:pt x="5" y="8"/>
                      <a:pt x="5" y="8"/>
                    </a:cubicBezTo>
                    <a:cubicBezTo>
                      <a:pt x="5" y="9"/>
                      <a:pt x="6" y="9"/>
                      <a:pt x="6" y="8"/>
                    </a:cubicBezTo>
                    <a:cubicBezTo>
                      <a:pt x="6" y="5"/>
                      <a:pt x="5" y="2"/>
                      <a:pt x="2" y="1"/>
                    </a:cubicBezTo>
                    <a:cubicBezTo>
                      <a:pt x="2" y="0"/>
                      <a:pt x="1" y="0"/>
                      <a:pt x="1" y="1"/>
                    </a:cubicBezTo>
                    <a:cubicBezTo>
                      <a:pt x="1" y="1"/>
                      <a:pt x="1" y="1"/>
                      <a:pt x="0" y="1"/>
                    </a:cubicBezTo>
                    <a:cubicBezTo>
                      <a:pt x="0" y="2"/>
                      <a:pt x="1" y="2"/>
                      <a:pt x="1" y="2"/>
                    </a:cubicBezTo>
                    <a:close/>
                  </a:path>
                </a:pathLst>
              </a:custGeom>
              <a:solidFill>
                <a:srgbClr val="3A12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02" name="Freeform 37">
                <a:extLst>
                  <a:ext uri="{FF2B5EF4-FFF2-40B4-BE49-F238E27FC236}">
                    <a16:creationId xmlns:a16="http://schemas.microsoft.com/office/drawing/2014/main" id="{7CDC75C8-46A2-4F8B-A404-3A3F5ADCEB53}"/>
                  </a:ext>
                </a:extLst>
              </p:cNvPr>
              <p:cNvSpPr>
                <a:spLocks/>
              </p:cNvSpPr>
              <p:nvPr/>
            </p:nvSpPr>
            <p:spPr bwMode="auto">
              <a:xfrm>
                <a:off x="2571750" y="1935163"/>
                <a:ext cx="9525" cy="17463"/>
              </a:xfrm>
              <a:custGeom>
                <a:avLst/>
                <a:gdLst>
                  <a:gd name="T0" fmla="*/ 1 w 5"/>
                  <a:gd name="T1" fmla="*/ 2 h 8"/>
                  <a:gd name="T2" fmla="*/ 4 w 5"/>
                  <a:gd name="T3" fmla="*/ 8 h 8"/>
                  <a:gd name="T4" fmla="*/ 5 w 5"/>
                  <a:gd name="T5" fmla="*/ 7 h 8"/>
                  <a:gd name="T6" fmla="*/ 2 w 5"/>
                  <a:gd name="T7" fmla="*/ 0 h 8"/>
                  <a:gd name="T8" fmla="*/ 0 w 5"/>
                  <a:gd name="T9" fmla="*/ 0 h 8"/>
                  <a:gd name="T10" fmla="*/ 0 w 5"/>
                  <a:gd name="T11" fmla="*/ 1 h 8"/>
                  <a:gd name="T12" fmla="*/ 1 w 5"/>
                  <a:gd name="T13" fmla="*/ 2 h 8"/>
                </a:gdLst>
                <a:ahLst/>
                <a:cxnLst>
                  <a:cxn ang="0">
                    <a:pos x="T0" y="T1"/>
                  </a:cxn>
                  <a:cxn ang="0">
                    <a:pos x="T2" y="T3"/>
                  </a:cxn>
                  <a:cxn ang="0">
                    <a:pos x="T4" y="T5"/>
                  </a:cxn>
                  <a:cxn ang="0">
                    <a:pos x="T6" y="T7"/>
                  </a:cxn>
                  <a:cxn ang="0">
                    <a:pos x="T8" y="T9"/>
                  </a:cxn>
                  <a:cxn ang="0">
                    <a:pos x="T10" y="T11"/>
                  </a:cxn>
                  <a:cxn ang="0">
                    <a:pos x="T12" y="T13"/>
                  </a:cxn>
                </a:cxnLst>
                <a:rect l="0" t="0" r="r" b="b"/>
                <a:pathLst>
                  <a:path w="5" h="8">
                    <a:moveTo>
                      <a:pt x="1" y="2"/>
                    </a:moveTo>
                    <a:cubicBezTo>
                      <a:pt x="0" y="2"/>
                      <a:pt x="4" y="7"/>
                      <a:pt x="4" y="8"/>
                    </a:cubicBezTo>
                    <a:cubicBezTo>
                      <a:pt x="4" y="8"/>
                      <a:pt x="5" y="8"/>
                      <a:pt x="5" y="7"/>
                    </a:cubicBezTo>
                    <a:cubicBezTo>
                      <a:pt x="5" y="5"/>
                      <a:pt x="3" y="2"/>
                      <a:pt x="2" y="0"/>
                    </a:cubicBezTo>
                    <a:cubicBezTo>
                      <a:pt x="1" y="0"/>
                      <a:pt x="1" y="0"/>
                      <a:pt x="0" y="0"/>
                    </a:cubicBezTo>
                    <a:cubicBezTo>
                      <a:pt x="0" y="0"/>
                      <a:pt x="0" y="1"/>
                      <a:pt x="0" y="1"/>
                    </a:cubicBezTo>
                    <a:cubicBezTo>
                      <a:pt x="0" y="2"/>
                      <a:pt x="1" y="2"/>
                      <a:pt x="1" y="2"/>
                    </a:cubicBezTo>
                    <a:close/>
                  </a:path>
                </a:pathLst>
              </a:custGeom>
              <a:solidFill>
                <a:srgbClr val="3A12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03" name="Freeform 38">
                <a:extLst>
                  <a:ext uri="{FF2B5EF4-FFF2-40B4-BE49-F238E27FC236}">
                    <a16:creationId xmlns:a16="http://schemas.microsoft.com/office/drawing/2014/main" id="{B20138B4-593D-45EA-8E10-BDE82E0A398E}"/>
                  </a:ext>
                </a:extLst>
              </p:cNvPr>
              <p:cNvSpPr>
                <a:spLocks/>
              </p:cNvSpPr>
              <p:nvPr/>
            </p:nvSpPr>
            <p:spPr bwMode="auto">
              <a:xfrm>
                <a:off x="2555875" y="1955800"/>
                <a:ext cx="11113" cy="17463"/>
              </a:xfrm>
              <a:custGeom>
                <a:avLst/>
                <a:gdLst>
                  <a:gd name="T0" fmla="*/ 0 w 5"/>
                  <a:gd name="T1" fmla="*/ 1 h 8"/>
                  <a:gd name="T2" fmla="*/ 5 w 5"/>
                  <a:gd name="T3" fmla="*/ 8 h 8"/>
                  <a:gd name="T4" fmla="*/ 5 w 5"/>
                  <a:gd name="T5" fmla="*/ 7 h 8"/>
                  <a:gd name="T6" fmla="*/ 4 w 5"/>
                  <a:gd name="T7" fmla="*/ 4 h 8"/>
                  <a:gd name="T8" fmla="*/ 2 w 5"/>
                  <a:gd name="T9" fmla="*/ 1 h 8"/>
                  <a:gd name="T10" fmla="*/ 0 w 5"/>
                  <a:gd name="T11" fmla="*/ 1 h 8"/>
                </a:gdLst>
                <a:ahLst/>
                <a:cxnLst>
                  <a:cxn ang="0">
                    <a:pos x="T0" y="T1"/>
                  </a:cxn>
                  <a:cxn ang="0">
                    <a:pos x="T2" y="T3"/>
                  </a:cxn>
                  <a:cxn ang="0">
                    <a:pos x="T4" y="T5"/>
                  </a:cxn>
                  <a:cxn ang="0">
                    <a:pos x="T6" y="T7"/>
                  </a:cxn>
                  <a:cxn ang="0">
                    <a:pos x="T8" y="T9"/>
                  </a:cxn>
                  <a:cxn ang="0">
                    <a:pos x="T10" y="T11"/>
                  </a:cxn>
                </a:cxnLst>
                <a:rect l="0" t="0" r="r" b="b"/>
                <a:pathLst>
                  <a:path w="5" h="8">
                    <a:moveTo>
                      <a:pt x="0" y="1"/>
                    </a:moveTo>
                    <a:cubicBezTo>
                      <a:pt x="1" y="3"/>
                      <a:pt x="2" y="7"/>
                      <a:pt x="5" y="8"/>
                    </a:cubicBezTo>
                    <a:cubicBezTo>
                      <a:pt x="5" y="8"/>
                      <a:pt x="5" y="8"/>
                      <a:pt x="5" y="7"/>
                    </a:cubicBezTo>
                    <a:cubicBezTo>
                      <a:pt x="5" y="6"/>
                      <a:pt x="5" y="5"/>
                      <a:pt x="4" y="4"/>
                    </a:cubicBezTo>
                    <a:cubicBezTo>
                      <a:pt x="3" y="3"/>
                      <a:pt x="3" y="2"/>
                      <a:pt x="2" y="1"/>
                    </a:cubicBezTo>
                    <a:cubicBezTo>
                      <a:pt x="1" y="0"/>
                      <a:pt x="0" y="0"/>
                      <a:pt x="0" y="1"/>
                    </a:cubicBezTo>
                    <a:close/>
                  </a:path>
                </a:pathLst>
              </a:custGeom>
              <a:solidFill>
                <a:srgbClr val="3A12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04" name="Freeform 39">
                <a:extLst>
                  <a:ext uri="{FF2B5EF4-FFF2-40B4-BE49-F238E27FC236}">
                    <a16:creationId xmlns:a16="http://schemas.microsoft.com/office/drawing/2014/main" id="{F05C5AB4-8D0E-48D4-81F5-3A02DCB45294}"/>
                  </a:ext>
                </a:extLst>
              </p:cNvPr>
              <p:cNvSpPr>
                <a:spLocks/>
              </p:cNvSpPr>
              <p:nvPr/>
            </p:nvSpPr>
            <p:spPr bwMode="auto">
              <a:xfrm>
                <a:off x="2555875" y="1955800"/>
                <a:ext cx="9525" cy="14288"/>
              </a:xfrm>
              <a:custGeom>
                <a:avLst/>
                <a:gdLst>
                  <a:gd name="T0" fmla="*/ 0 w 4"/>
                  <a:gd name="T1" fmla="*/ 1 h 7"/>
                  <a:gd name="T2" fmla="*/ 4 w 4"/>
                  <a:gd name="T3" fmla="*/ 7 h 7"/>
                  <a:gd name="T4" fmla="*/ 4 w 4"/>
                  <a:gd name="T5" fmla="*/ 6 h 7"/>
                  <a:gd name="T6" fmla="*/ 1 w 4"/>
                  <a:gd name="T7" fmla="*/ 1 h 7"/>
                  <a:gd name="T8" fmla="*/ 0 w 4"/>
                  <a:gd name="T9" fmla="*/ 1 h 7"/>
                </a:gdLst>
                <a:ahLst/>
                <a:cxnLst>
                  <a:cxn ang="0">
                    <a:pos x="T0" y="T1"/>
                  </a:cxn>
                  <a:cxn ang="0">
                    <a:pos x="T2" y="T3"/>
                  </a:cxn>
                  <a:cxn ang="0">
                    <a:pos x="T4" y="T5"/>
                  </a:cxn>
                  <a:cxn ang="0">
                    <a:pos x="T6" y="T7"/>
                  </a:cxn>
                  <a:cxn ang="0">
                    <a:pos x="T8" y="T9"/>
                  </a:cxn>
                </a:cxnLst>
                <a:rect l="0" t="0" r="r" b="b"/>
                <a:pathLst>
                  <a:path w="4" h="7">
                    <a:moveTo>
                      <a:pt x="0" y="1"/>
                    </a:moveTo>
                    <a:cubicBezTo>
                      <a:pt x="0" y="3"/>
                      <a:pt x="1" y="6"/>
                      <a:pt x="4" y="7"/>
                    </a:cubicBezTo>
                    <a:cubicBezTo>
                      <a:pt x="4" y="7"/>
                      <a:pt x="4" y="6"/>
                      <a:pt x="4" y="6"/>
                    </a:cubicBezTo>
                    <a:cubicBezTo>
                      <a:pt x="4" y="4"/>
                      <a:pt x="2" y="2"/>
                      <a:pt x="1" y="1"/>
                    </a:cubicBezTo>
                    <a:cubicBezTo>
                      <a:pt x="1" y="0"/>
                      <a:pt x="0" y="1"/>
                      <a:pt x="0" y="1"/>
                    </a:cubicBezTo>
                    <a:close/>
                  </a:path>
                </a:pathLst>
              </a:custGeom>
              <a:solidFill>
                <a:srgbClr val="3A12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05" name="Freeform 40">
                <a:extLst>
                  <a:ext uri="{FF2B5EF4-FFF2-40B4-BE49-F238E27FC236}">
                    <a16:creationId xmlns:a16="http://schemas.microsoft.com/office/drawing/2014/main" id="{0F9D2747-6B16-4600-8788-D96B35657EB6}"/>
                  </a:ext>
                </a:extLst>
              </p:cNvPr>
              <p:cNvSpPr>
                <a:spLocks/>
              </p:cNvSpPr>
              <p:nvPr/>
            </p:nvSpPr>
            <p:spPr bwMode="auto">
              <a:xfrm>
                <a:off x="2514600" y="1766888"/>
                <a:ext cx="23813" cy="14288"/>
              </a:xfrm>
              <a:custGeom>
                <a:avLst/>
                <a:gdLst>
                  <a:gd name="T0" fmla="*/ 0 w 11"/>
                  <a:gd name="T1" fmla="*/ 3 h 7"/>
                  <a:gd name="T2" fmla="*/ 7 w 11"/>
                  <a:gd name="T3" fmla="*/ 6 h 7"/>
                  <a:gd name="T4" fmla="*/ 9 w 11"/>
                  <a:gd name="T5" fmla="*/ 2 h 7"/>
                  <a:gd name="T6" fmla="*/ 1 w 11"/>
                  <a:gd name="T7" fmla="*/ 1 h 7"/>
                  <a:gd name="T8" fmla="*/ 0 w 11"/>
                  <a:gd name="T9" fmla="*/ 3 h 7"/>
                </a:gdLst>
                <a:ahLst/>
                <a:cxnLst>
                  <a:cxn ang="0">
                    <a:pos x="T0" y="T1"/>
                  </a:cxn>
                  <a:cxn ang="0">
                    <a:pos x="T2" y="T3"/>
                  </a:cxn>
                  <a:cxn ang="0">
                    <a:pos x="T4" y="T5"/>
                  </a:cxn>
                  <a:cxn ang="0">
                    <a:pos x="T6" y="T7"/>
                  </a:cxn>
                  <a:cxn ang="0">
                    <a:pos x="T8" y="T9"/>
                  </a:cxn>
                </a:cxnLst>
                <a:rect l="0" t="0" r="r" b="b"/>
                <a:pathLst>
                  <a:path w="11" h="7">
                    <a:moveTo>
                      <a:pt x="0" y="3"/>
                    </a:moveTo>
                    <a:cubicBezTo>
                      <a:pt x="1" y="5"/>
                      <a:pt x="5" y="6"/>
                      <a:pt x="7" y="6"/>
                    </a:cubicBezTo>
                    <a:cubicBezTo>
                      <a:pt x="10" y="7"/>
                      <a:pt x="11" y="2"/>
                      <a:pt x="9" y="2"/>
                    </a:cubicBezTo>
                    <a:cubicBezTo>
                      <a:pt x="6" y="1"/>
                      <a:pt x="3" y="0"/>
                      <a:pt x="1" y="1"/>
                    </a:cubicBezTo>
                    <a:cubicBezTo>
                      <a:pt x="0" y="1"/>
                      <a:pt x="0" y="2"/>
                      <a:pt x="0" y="3"/>
                    </a:cubicBezTo>
                    <a:close/>
                  </a:path>
                </a:pathLst>
              </a:custGeom>
              <a:solidFill>
                <a:srgbClr val="3A12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06" name="Freeform 41">
                <a:extLst>
                  <a:ext uri="{FF2B5EF4-FFF2-40B4-BE49-F238E27FC236}">
                    <a16:creationId xmlns:a16="http://schemas.microsoft.com/office/drawing/2014/main" id="{53B6DD3F-8A4F-4C09-AD77-7DD0BF23C4BD}"/>
                  </a:ext>
                </a:extLst>
              </p:cNvPr>
              <p:cNvSpPr>
                <a:spLocks/>
              </p:cNvSpPr>
              <p:nvPr/>
            </p:nvSpPr>
            <p:spPr bwMode="auto">
              <a:xfrm>
                <a:off x="2516188" y="1758950"/>
                <a:ext cx="23813" cy="11113"/>
              </a:xfrm>
              <a:custGeom>
                <a:avLst/>
                <a:gdLst>
                  <a:gd name="T0" fmla="*/ 11 w 11"/>
                  <a:gd name="T1" fmla="*/ 4 h 6"/>
                  <a:gd name="T2" fmla="*/ 3 w 11"/>
                  <a:gd name="T3" fmla="*/ 1 h 6"/>
                  <a:gd name="T4" fmla="*/ 4 w 11"/>
                  <a:gd name="T5" fmla="*/ 6 h 6"/>
                  <a:gd name="T6" fmla="*/ 7 w 11"/>
                  <a:gd name="T7" fmla="*/ 6 h 6"/>
                  <a:gd name="T8" fmla="*/ 10 w 11"/>
                  <a:gd name="T9" fmla="*/ 6 h 6"/>
                  <a:gd name="T10" fmla="*/ 11 w 11"/>
                  <a:gd name="T11" fmla="*/ 4 h 6"/>
                </a:gdLst>
                <a:ahLst/>
                <a:cxnLst>
                  <a:cxn ang="0">
                    <a:pos x="T0" y="T1"/>
                  </a:cxn>
                  <a:cxn ang="0">
                    <a:pos x="T2" y="T3"/>
                  </a:cxn>
                  <a:cxn ang="0">
                    <a:pos x="T4" y="T5"/>
                  </a:cxn>
                  <a:cxn ang="0">
                    <a:pos x="T6" y="T7"/>
                  </a:cxn>
                  <a:cxn ang="0">
                    <a:pos x="T8" y="T9"/>
                  </a:cxn>
                  <a:cxn ang="0">
                    <a:pos x="T10" y="T11"/>
                  </a:cxn>
                </a:cxnLst>
                <a:rect l="0" t="0" r="r" b="b"/>
                <a:pathLst>
                  <a:path w="11" h="6">
                    <a:moveTo>
                      <a:pt x="11" y="4"/>
                    </a:moveTo>
                    <a:cubicBezTo>
                      <a:pt x="10" y="1"/>
                      <a:pt x="6" y="0"/>
                      <a:pt x="3" y="1"/>
                    </a:cubicBezTo>
                    <a:cubicBezTo>
                      <a:pt x="0" y="2"/>
                      <a:pt x="1" y="6"/>
                      <a:pt x="4" y="6"/>
                    </a:cubicBezTo>
                    <a:cubicBezTo>
                      <a:pt x="5" y="6"/>
                      <a:pt x="6" y="6"/>
                      <a:pt x="7" y="6"/>
                    </a:cubicBezTo>
                    <a:cubicBezTo>
                      <a:pt x="8" y="6"/>
                      <a:pt x="9" y="6"/>
                      <a:pt x="10" y="6"/>
                    </a:cubicBezTo>
                    <a:cubicBezTo>
                      <a:pt x="10" y="5"/>
                      <a:pt x="11" y="5"/>
                      <a:pt x="11" y="4"/>
                    </a:cubicBezTo>
                    <a:close/>
                  </a:path>
                </a:pathLst>
              </a:custGeom>
              <a:solidFill>
                <a:srgbClr val="3A12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07" name="Freeform 42">
                <a:extLst>
                  <a:ext uri="{FF2B5EF4-FFF2-40B4-BE49-F238E27FC236}">
                    <a16:creationId xmlns:a16="http://schemas.microsoft.com/office/drawing/2014/main" id="{F7E11819-46FF-44B4-B0DC-981B544AAF9D}"/>
                  </a:ext>
                </a:extLst>
              </p:cNvPr>
              <p:cNvSpPr>
                <a:spLocks/>
              </p:cNvSpPr>
              <p:nvPr/>
            </p:nvSpPr>
            <p:spPr bwMode="auto">
              <a:xfrm>
                <a:off x="2528888" y="1760538"/>
                <a:ext cx="12700" cy="9525"/>
              </a:xfrm>
              <a:custGeom>
                <a:avLst/>
                <a:gdLst>
                  <a:gd name="T0" fmla="*/ 4 w 6"/>
                  <a:gd name="T1" fmla="*/ 4 h 5"/>
                  <a:gd name="T2" fmla="*/ 4 w 6"/>
                  <a:gd name="T3" fmla="*/ 4 h 5"/>
                  <a:gd name="T4" fmla="*/ 5 w 6"/>
                  <a:gd name="T5" fmla="*/ 3 h 5"/>
                  <a:gd name="T6" fmla="*/ 2 w 6"/>
                  <a:gd name="T7" fmla="*/ 1 h 5"/>
                  <a:gd name="T8" fmla="*/ 2 w 6"/>
                  <a:gd name="T9" fmla="*/ 5 h 5"/>
                  <a:gd name="T10" fmla="*/ 5 w 6"/>
                  <a:gd name="T11" fmla="*/ 4 h 5"/>
                  <a:gd name="T12" fmla="*/ 4 w 6"/>
                  <a:gd name="T13" fmla="*/ 3 h 5"/>
                  <a:gd name="T14" fmla="*/ 3 w 6"/>
                  <a:gd name="T15" fmla="*/ 3 h 5"/>
                  <a:gd name="T16" fmla="*/ 4 w 6"/>
                  <a:gd name="T17"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5">
                    <a:moveTo>
                      <a:pt x="4" y="4"/>
                    </a:moveTo>
                    <a:cubicBezTo>
                      <a:pt x="4" y="4"/>
                      <a:pt x="4" y="4"/>
                      <a:pt x="4" y="4"/>
                    </a:cubicBezTo>
                    <a:cubicBezTo>
                      <a:pt x="5" y="4"/>
                      <a:pt x="5" y="4"/>
                      <a:pt x="5" y="3"/>
                    </a:cubicBezTo>
                    <a:cubicBezTo>
                      <a:pt x="6" y="1"/>
                      <a:pt x="4" y="1"/>
                      <a:pt x="2" y="1"/>
                    </a:cubicBezTo>
                    <a:cubicBezTo>
                      <a:pt x="0" y="0"/>
                      <a:pt x="0" y="5"/>
                      <a:pt x="2" y="5"/>
                    </a:cubicBezTo>
                    <a:cubicBezTo>
                      <a:pt x="3" y="5"/>
                      <a:pt x="4" y="5"/>
                      <a:pt x="5" y="4"/>
                    </a:cubicBezTo>
                    <a:cubicBezTo>
                      <a:pt x="5" y="3"/>
                      <a:pt x="4" y="3"/>
                      <a:pt x="4" y="3"/>
                    </a:cubicBezTo>
                    <a:cubicBezTo>
                      <a:pt x="4" y="3"/>
                      <a:pt x="3" y="3"/>
                      <a:pt x="3" y="3"/>
                    </a:cubicBezTo>
                    <a:cubicBezTo>
                      <a:pt x="3" y="3"/>
                      <a:pt x="3" y="4"/>
                      <a:pt x="4" y="4"/>
                    </a:cubicBezTo>
                    <a:close/>
                  </a:path>
                </a:pathLst>
              </a:custGeom>
              <a:solidFill>
                <a:srgbClr val="3A12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08" name="Freeform 43">
                <a:extLst>
                  <a:ext uri="{FF2B5EF4-FFF2-40B4-BE49-F238E27FC236}">
                    <a16:creationId xmlns:a16="http://schemas.microsoft.com/office/drawing/2014/main" id="{FFE4DB3B-1C2A-4369-9458-914E2215CD53}"/>
                  </a:ext>
                </a:extLst>
              </p:cNvPr>
              <p:cNvSpPr>
                <a:spLocks/>
              </p:cNvSpPr>
              <p:nvPr/>
            </p:nvSpPr>
            <p:spPr bwMode="auto">
              <a:xfrm>
                <a:off x="2516188" y="1773238"/>
                <a:ext cx="22225" cy="6350"/>
              </a:xfrm>
              <a:custGeom>
                <a:avLst/>
                <a:gdLst>
                  <a:gd name="T0" fmla="*/ 9 w 10"/>
                  <a:gd name="T1" fmla="*/ 3 h 3"/>
                  <a:gd name="T2" fmla="*/ 9 w 10"/>
                  <a:gd name="T3" fmla="*/ 3 h 3"/>
                  <a:gd name="T4" fmla="*/ 9 w 10"/>
                  <a:gd name="T5" fmla="*/ 2 h 3"/>
                  <a:gd name="T6" fmla="*/ 1 w 10"/>
                  <a:gd name="T7" fmla="*/ 2 h 3"/>
                  <a:gd name="T8" fmla="*/ 1 w 10"/>
                  <a:gd name="T9" fmla="*/ 3 h 3"/>
                  <a:gd name="T10" fmla="*/ 6 w 10"/>
                  <a:gd name="T11" fmla="*/ 3 h 3"/>
                  <a:gd name="T12" fmla="*/ 10 w 10"/>
                  <a:gd name="T13" fmla="*/ 3 h 3"/>
                  <a:gd name="T14" fmla="*/ 9 w 10"/>
                  <a:gd name="T15" fmla="*/ 2 h 3"/>
                  <a:gd name="T16" fmla="*/ 8 w 10"/>
                  <a:gd name="T17" fmla="*/ 2 h 3"/>
                  <a:gd name="T18" fmla="*/ 9 w 10"/>
                  <a:gd name="T19"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 h="3">
                    <a:moveTo>
                      <a:pt x="9" y="3"/>
                    </a:moveTo>
                    <a:cubicBezTo>
                      <a:pt x="9" y="3"/>
                      <a:pt x="9" y="3"/>
                      <a:pt x="9" y="3"/>
                    </a:cubicBezTo>
                    <a:cubicBezTo>
                      <a:pt x="9" y="2"/>
                      <a:pt x="9" y="2"/>
                      <a:pt x="9" y="2"/>
                    </a:cubicBezTo>
                    <a:cubicBezTo>
                      <a:pt x="6" y="2"/>
                      <a:pt x="3" y="0"/>
                      <a:pt x="1" y="2"/>
                    </a:cubicBezTo>
                    <a:cubicBezTo>
                      <a:pt x="0" y="2"/>
                      <a:pt x="1" y="2"/>
                      <a:pt x="1" y="3"/>
                    </a:cubicBezTo>
                    <a:cubicBezTo>
                      <a:pt x="2" y="3"/>
                      <a:pt x="4" y="3"/>
                      <a:pt x="6" y="3"/>
                    </a:cubicBezTo>
                    <a:cubicBezTo>
                      <a:pt x="7" y="3"/>
                      <a:pt x="8" y="3"/>
                      <a:pt x="10" y="3"/>
                    </a:cubicBezTo>
                    <a:cubicBezTo>
                      <a:pt x="10" y="2"/>
                      <a:pt x="9" y="1"/>
                      <a:pt x="9" y="2"/>
                    </a:cubicBezTo>
                    <a:cubicBezTo>
                      <a:pt x="9" y="2"/>
                      <a:pt x="9" y="2"/>
                      <a:pt x="8" y="2"/>
                    </a:cubicBezTo>
                    <a:cubicBezTo>
                      <a:pt x="8" y="2"/>
                      <a:pt x="8" y="2"/>
                      <a:pt x="9" y="3"/>
                    </a:cubicBezTo>
                    <a:close/>
                  </a:path>
                </a:pathLst>
              </a:custGeom>
              <a:solidFill>
                <a:srgbClr val="3A12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09" name="Freeform 44">
                <a:extLst>
                  <a:ext uri="{FF2B5EF4-FFF2-40B4-BE49-F238E27FC236}">
                    <a16:creationId xmlns:a16="http://schemas.microsoft.com/office/drawing/2014/main" id="{59B1902B-8BF6-41ED-9386-45874474518D}"/>
                  </a:ext>
                </a:extLst>
              </p:cNvPr>
              <p:cNvSpPr>
                <a:spLocks/>
              </p:cNvSpPr>
              <p:nvPr/>
            </p:nvSpPr>
            <p:spPr bwMode="auto">
              <a:xfrm>
                <a:off x="2514600" y="1774825"/>
                <a:ext cx="20638" cy="6350"/>
              </a:xfrm>
              <a:custGeom>
                <a:avLst/>
                <a:gdLst>
                  <a:gd name="T0" fmla="*/ 9 w 10"/>
                  <a:gd name="T1" fmla="*/ 1 h 3"/>
                  <a:gd name="T2" fmla="*/ 4 w 10"/>
                  <a:gd name="T3" fmla="*/ 1 h 3"/>
                  <a:gd name="T4" fmla="*/ 0 w 10"/>
                  <a:gd name="T5" fmla="*/ 0 h 3"/>
                  <a:gd name="T6" fmla="*/ 0 w 10"/>
                  <a:gd name="T7" fmla="*/ 1 h 3"/>
                  <a:gd name="T8" fmla="*/ 9 w 10"/>
                  <a:gd name="T9" fmla="*/ 2 h 3"/>
                  <a:gd name="T10" fmla="*/ 9 w 10"/>
                  <a:gd name="T11" fmla="*/ 1 h 3"/>
                </a:gdLst>
                <a:ahLst/>
                <a:cxnLst>
                  <a:cxn ang="0">
                    <a:pos x="T0" y="T1"/>
                  </a:cxn>
                  <a:cxn ang="0">
                    <a:pos x="T2" y="T3"/>
                  </a:cxn>
                  <a:cxn ang="0">
                    <a:pos x="T4" y="T5"/>
                  </a:cxn>
                  <a:cxn ang="0">
                    <a:pos x="T6" y="T7"/>
                  </a:cxn>
                  <a:cxn ang="0">
                    <a:pos x="T8" y="T9"/>
                  </a:cxn>
                  <a:cxn ang="0">
                    <a:pos x="T10" y="T11"/>
                  </a:cxn>
                </a:cxnLst>
                <a:rect l="0" t="0" r="r" b="b"/>
                <a:pathLst>
                  <a:path w="10" h="3">
                    <a:moveTo>
                      <a:pt x="9" y="1"/>
                    </a:moveTo>
                    <a:cubicBezTo>
                      <a:pt x="7" y="1"/>
                      <a:pt x="6" y="1"/>
                      <a:pt x="4" y="1"/>
                    </a:cubicBezTo>
                    <a:cubicBezTo>
                      <a:pt x="3" y="0"/>
                      <a:pt x="2" y="0"/>
                      <a:pt x="0" y="0"/>
                    </a:cubicBezTo>
                    <a:cubicBezTo>
                      <a:pt x="0" y="0"/>
                      <a:pt x="0" y="1"/>
                      <a:pt x="0" y="1"/>
                    </a:cubicBezTo>
                    <a:cubicBezTo>
                      <a:pt x="2" y="3"/>
                      <a:pt x="7" y="3"/>
                      <a:pt x="9" y="2"/>
                    </a:cubicBezTo>
                    <a:cubicBezTo>
                      <a:pt x="10" y="2"/>
                      <a:pt x="10" y="1"/>
                      <a:pt x="9" y="1"/>
                    </a:cubicBezTo>
                    <a:close/>
                  </a:path>
                </a:pathLst>
              </a:custGeom>
              <a:solidFill>
                <a:srgbClr val="3A12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10" name="Freeform 45">
                <a:extLst>
                  <a:ext uri="{FF2B5EF4-FFF2-40B4-BE49-F238E27FC236}">
                    <a16:creationId xmlns:a16="http://schemas.microsoft.com/office/drawing/2014/main" id="{91C657C8-66C1-478E-AF53-9B59813985E5}"/>
                  </a:ext>
                </a:extLst>
              </p:cNvPr>
              <p:cNvSpPr>
                <a:spLocks/>
              </p:cNvSpPr>
              <p:nvPr/>
            </p:nvSpPr>
            <p:spPr bwMode="auto">
              <a:xfrm>
                <a:off x="2513013" y="1762125"/>
                <a:ext cx="6350" cy="17463"/>
              </a:xfrm>
              <a:custGeom>
                <a:avLst/>
                <a:gdLst>
                  <a:gd name="T0" fmla="*/ 2 w 3"/>
                  <a:gd name="T1" fmla="*/ 0 h 8"/>
                  <a:gd name="T2" fmla="*/ 1 w 3"/>
                  <a:gd name="T3" fmla="*/ 8 h 8"/>
                  <a:gd name="T4" fmla="*/ 1 w 3"/>
                  <a:gd name="T5" fmla="*/ 8 h 8"/>
                  <a:gd name="T6" fmla="*/ 3 w 3"/>
                  <a:gd name="T7" fmla="*/ 0 h 8"/>
                  <a:gd name="T8" fmla="*/ 2 w 3"/>
                  <a:gd name="T9" fmla="*/ 0 h 8"/>
                </a:gdLst>
                <a:ahLst/>
                <a:cxnLst>
                  <a:cxn ang="0">
                    <a:pos x="T0" y="T1"/>
                  </a:cxn>
                  <a:cxn ang="0">
                    <a:pos x="T2" y="T3"/>
                  </a:cxn>
                  <a:cxn ang="0">
                    <a:pos x="T4" y="T5"/>
                  </a:cxn>
                  <a:cxn ang="0">
                    <a:pos x="T6" y="T7"/>
                  </a:cxn>
                  <a:cxn ang="0">
                    <a:pos x="T8" y="T9"/>
                  </a:cxn>
                </a:cxnLst>
                <a:rect l="0" t="0" r="r" b="b"/>
                <a:pathLst>
                  <a:path w="3" h="8">
                    <a:moveTo>
                      <a:pt x="2" y="0"/>
                    </a:moveTo>
                    <a:cubicBezTo>
                      <a:pt x="2" y="2"/>
                      <a:pt x="0" y="6"/>
                      <a:pt x="1" y="8"/>
                    </a:cubicBezTo>
                    <a:cubicBezTo>
                      <a:pt x="1" y="8"/>
                      <a:pt x="1" y="8"/>
                      <a:pt x="1" y="8"/>
                    </a:cubicBezTo>
                    <a:cubicBezTo>
                      <a:pt x="3" y="6"/>
                      <a:pt x="3" y="3"/>
                      <a:pt x="3" y="0"/>
                    </a:cubicBezTo>
                    <a:cubicBezTo>
                      <a:pt x="3" y="0"/>
                      <a:pt x="3" y="0"/>
                      <a:pt x="2" y="0"/>
                    </a:cubicBezTo>
                    <a:close/>
                  </a:path>
                </a:pathLst>
              </a:custGeom>
              <a:solidFill>
                <a:srgbClr val="3A12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11" name="Freeform 46">
                <a:extLst>
                  <a:ext uri="{FF2B5EF4-FFF2-40B4-BE49-F238E27FC236}">
                    <a16:creationId xmlns:a16="http://schemas.microsoft.com/office/drawing/2014/main" id="{D39BE58D-C109-4338-B4F6-82194F0B5AF3}"/>
                  </a:ext>
                </a:extLst>
              </p:cNvPr>
              <p:cNvSpPr>
                <a:spLocks/>
              </p:cNvSpPr>
              <p:nvPr/>
            </p:nvSpPr>
            <p:spPr bwMode="auto">
              <a:xfrm>
                <a:off x="2513013" y="1760538"/>
                <a:ext cx="6350" cy="14288"/>
              </a:xfrm>
              <a:custGeom>
                <a:avLst/>
                <a:gdLst>
                  <a:gd name="T0" fmla="*/ 2 w 3"/>
                  <a:gd name="T1" fmla="*/ 0 h 7"/>
                  <a:gd name="T2" fmla="*/ 1 w 3"/>
                  <a:gd name="T3" fmla="*/ 6 h 7"/>
                  <a:gd name="T4" fmla="*/ 2 w 3"/>
                  <a:gd name="T5" fmla="*/ 6 h 7"/>
                  <a:gd name="T6" fmla="*/ 3 w 3"/>
                  <a:gd name="T7" fmla="*/ 0 h 7"/>
                  <a:gd name="T8" fmla="*/ 2 w 3"/>
                  <a:gd name="T9" fmla="*/ 0 h 7"/>
                </a:gdLst>
                <a:ahLst/>
                <a:cxnLst>
                  <a:cxn ang="0">
                    <a:pos x="T0" y="T1"/>
                  </a:cxn>
                  <a:cxn ang="0">
                    <a:pos x="T2" y="T3"/>
                  </a:cxn>
                  <a:cxn ang="0">
                    <a:pos x="T4" y="T5"/>
                  </a:cxn>
                  <a:cxn ang="0">
                    <a:pos x="T6" y="T7"/>
                  </a:cxn>
                  <a:cxn ang="0">
                    <a:pos x="T8" y="T9"/>
                  </a:cxn>
                </a:cxnLst>
                <a:rect l="0" t="0" r="r" b="b"/>
                <a:pathLst>
                  <a:path w="3" h="7">
                    <a:moveTo>
                      <a:pt x="2" y="0"/>
                    </a:moveTo>
                    <a:cubicBezTo>
                      <a:pt x="1" y="2"/>
                      <a:pt x="0" y="4"/>
                      <a:pt x="1" y="6"/>
                    </a:cubicBezTo>
                    <a:cubicBezTo>
                      <a:pt x="1" y="7"/>
                      <a:pt x="2" y="7"/>
                      <a:pt x="2" y="6"/>
                    </a:cubicBezTo>
                    <a:cubicBezTo>
                      <a:pt x="3" y="5"/>
                      <a:pt x="3" y="2"/>
                      <a:pt x="3" y="0"/>
                    </a:cubicBezTo>
                    <a:cubicBezTo>
                      <a:pt x="3" y="0"/>
                      <a:pt x="2" y="0"/>
                      <a:pt x="2" y="0"/>
                    </a:cubicBezTo>
                    <a:close/>
                  </a:path>
                </a:pathLst>
              </a:custGeom>
              <a:solidFill>
                <a:srgbClr val="3A12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12" name="Freeform 47">
                <a:extLst>
                  <a:ext uri="{FF2B5EF4-FFF2-40B4-BE49-F238E27FC236}">
                    <a16:creationId xmlns:a16="http://schemas.microsoft.com/office/drawing/2014/main" id="{3D6665C9-63A9-4652-94E0-6FBEECC98EE6}"/>
                  </a:ext>
                </a:extLst>
              </p:cNvPr>
              <p:cNvSpPr>
                <a:spLocks/>
              </p:cNvSpPr>
              <p:nvPr/>
            </p:nvSpPr>
            <p:spPr bwMode="auto">
              <a:xfrm>
                <a:off x="2532063" y="1601788"/>
                <a:ext cx="15875" cy="34925"/>
              </a:xfrm>
              <a:custGeom>
                <a:avLst/>
                <a:gdLst>
                  <a:gd name="T0" fmla="*/ 0 w 8"/>
                  <a:gd name="T1" fmla="*/ 1 h 17"/>
                  <a:gd name="T2" fmla="*/ 2 w 8"/>
                  <a:gd name="T3" fmla="*/ 10 h 17"/>
                  <a:gd name="T4" fmla="*/ 7 w 8"/>
                  <a:gd name="T5" fmla="*/ 16 h 17"/>
                  <a:gd name="T6" fmla="*/ 8 w 8"/>
                  <a:gd name="T7" fmla="*/ 16 h 17"/>
                  <a:gd name="T8" fmla="*/ 5 w 8"/>
                  <a:gd name="T9" fmla="*/ 9 h 17"/>
                  <a:gd name="T10" fmla="*/ 1 w 8"/>
                  <a:gd name="T11" fmla="*/ 1 h 17"/>
                  <a:gd name="T12" fmla="*/ 0 w 8"/>
                  <a:gd name="T13" fmla="*/ 1 h 17"/>
                </a:gdLst>
                <a:ahLst/>
                <a:cxnLst>
                  <a:cxn ang="0">
                    <a:pos x="T0" y="T1"/>
                  </a:cxn>
                  <a:cxn ang="0">
                    <a:pos x="T2" y="T3"/>
                  </a:cxn>
                  <a:cxn ang="0">
                    <a:pos x="T4" y="T5"/>
                  </a:cxn>
                  <a:cxn ang="0">
                    <a:pos x="T6" y="T7"/>
                  </a:cxn>
                  <a:cxn ang="0">
                    <a:pos x="T8" y="T9"/>
                  </a:cxn>
                  <a:cxn ang="0">
                    <a:pos x="T10" y="T11"/>
                  </a:cxn>
                  <a:cxn ang="0">
                    <a:pos x="T12" y="T13"/>
                  </a:cxn>
                </a:cxnLst>
                <a:rect l="0" t="0" r="r" b="b"/>
                <a:pathLst>
                  <a:path w="8" h="17">
                    <a:moveTo>
                      <a:pt x="0" y="1"/>
                    </a:moveTo>
                    <a:cubicBezTo>
                      <a:pt x="0" y="4"/>
                      <a:pt x="1" y="7"/>
                      <a:pt x="2" y="10"/>
                    </a:cubicBezTo>
                    <a:cubicBezTo>
                      <a:pt x="3" y="12"/>
                      <a:pt x="5" y="15"/>
                      <a:pt x="7" y="16"/>
                    </a:cubicBezTo>
                    <a:cubicBezTo>
                      <a:pt x="8" y="17"/>
                      <a:pt x="8" y="16"/>
                      <a:pt x="8" y="16"/>
                    </a:cubicBezTo>
                    <a:cubicBezTo>
                      <a:pt x="8" y="13"/>
                      <a:pt x="6" y="11"/>
                      <a:pt x="5" y="9"/>
                    </a:cubicBezTo>
                    <a:cubicBezTo>
                      <a:pt x="4" y="6"/>
                      <a:pt x="3" y="3"/>
                      <a:pt x="1" y="1"/>
                    </a:cubicBezTo>
                    <a:cubicBezTo>
                      <a:pt x="1" y="0"/>
                      <a:pt x="0" y="0"/>
                      <a:pt x="0" y="1"/>
                    </a:cubicBezTo>
                    <a:close/>
                  </a:path>
                </a:pathLst>
              </a:custGeom>
              <a:solidFill>
                <a:srgbClr val="3A12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13" name="Freeform 48">
                <a:extLst>
                  <a:ext uri="{FF2B5EF4-FFF2-40B4-BE49-F238E27FC236}">
                    <a16:creationId xmlns:a16="http://schemas.microsoft.com/office/drawing/2014/main" id="{73A21C11-8294-4E31-BA4D-A3BC9CBAC4E6}"/>
                  </a:ext>
                </a:extLst>
              </p:cNvPr>
              <p:cNvSpPr>
                <a:spLocks/>
              </p:cNvSpPr>
              <p:nvPr/>
            </p:nvSpPr>
            <p:spPr bwMode="auto">
              <a:xfrm>
                <a:off x="2533650" y="1593850"/>
                <a:ext cx="25400" cy="19050"/>
              </a:xfrm>
              <a:custGeom>
                <a:avLst/>
                <a:gdLst>
                  <a:gd name="T0" fmla="*/ 12 w 12"/>
                  <a:gd name="T1" fmla="*/ 2 h 9"/>
                  <a:gd name="T2" fmla="*/ 5 w 12"/>
                  <a:gd name="T3" fmla="*/ 2 h 9"/>
                  <a:gd name="T4" fmla="*/ 0 w 12"/>
                  <a:gd name="T5" fmla="*/ 7 h 9"/>
                  <a:gd name="T6" fmla="*/ 5 w 12"/>
                  <a:gd name="T7" fmla="*/ 7 h 9"/>
                  <a:gd name="T8" fmla="*/ 12 w 12"/>
                  <a:gd name="T9" fmla="*/ 3 h 9"/>
                  <a:gd name="T10" fmla="*/ 12 w 12"/>
                  <a:gd name="T11" fmla="*/ 2 h 9"/>
                </a:gdLst>
                <a:ahLst/>
                <a:cxnLst>
                  <a:cxn ang="0">
                    <a:pos x="T0" y="T1"/>
                  </a:cxn>
                  <a:cxn ang="0">
                    <a:pos x="T2" y="T3"/>
                  </a:cxn>
                  <a:cxn ang="0">
                    <a:pos x="T4" y="T5"/>
                  </a:cxn>
                  <a:cxn ang="0">
                    <a:pos x="T6" y="T7"/>
                  </a:cxn>
                  <a:cxn ang="0">
                    <a:pos x="T8" y="T9"/>
                  </a:cxn>
                  <a:cxn ang="0">
                    <a:pos x="T10" y="T11"/>
                  </a:cxn>
                </a:cxnLst>
                <a:rect l="0" t="0" r="r" b="b"/>
                <a:pathLst>
                  <a:path w="12" h="9">
                    <a:moveTo>
                      <a:pt x="12" y="2"/>
                    </a:moveTo>
                    <a:cubicBezTo>
                      <a:pt x="10" y="0"/>
                      <a:pt x="7" y="1"/>
                      <a:pt x="5" y="2"/>
                    </a:cubicBezTo>
                    <a:cubicBezTo>
                      <a:pt x="3" y="3"/>
                      <a:pt x="0" y="5"/>
                      <a:pt x="0" y="7"/>
                    </a:cubicBezTo>
                    <a:cubicBezTo>
                      <a:pt x="1" y="9"/>
                      <a:pt x="4" y="7"/>
                      <a:pt x="5" y="7"/>
                    </a:cubicBezTo>
                    <a:cubicBezTo>
                      <a:pt x="7" y="5"/>
                      <a:pt x="9" y="4"/>
                      <a:pt x="12" y="3"/>
                    </a:cubicBezTo>
                    <a:cubicBezTo>
                      <a:pt x="12" y="3"/>
                      <a:pt x="12" y="2"/>
                      <a:pt x="12" y="2"/>
                    </a:cubicBezTo>
                    <a:close/>
                  </a:path>
                </a:pathLst>
              </a:custGeom>
              <a:solidFill>
                <a:srgbClr val="3A12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14" name="Freeform 49">
                <a:extLst>
                  <a:ext uri="{FF2B5EF4-FFF2-40B4-BE49-F238E27FC236}">
                    <a16:creationId xmlns:a16="http://schemas.microsoft.com/office/drawing/2014/main" id="{630D4434-8AF5-404A-B2C9-1ED34A5971A4}"/>
                  </a:ext>
                </a:extLst>
              </p:cNvPr>
              <p:cNvSpPr>
                <a:spLocks/>
              </p:cNvSpPr>
              <p:nvPr/>
            </p:nvSpPr>
            <p:spPr bwMode="auto">
              <a:xfrm>
                <a:off x="2532063" y="1593850"/>
                <a:ext cx="34925" cy="15875"/>
              </a:xfrm>
              <a:custGeom>
                <a:avLst/>
                <a:gdLst>
                  <a:gd name="T0" fmla="*/ 4 w 17"/>
                  <a:gd name="T1" fmla="*/ 7 h 8"/>
                  <a:gd name="T2" fmla="*/ 15 w 17"/>
                  <a:gd name="T3" fmla="*/ 3 h 8"/>
                  <a:gd name="T4" fmla="*/ 9 w 17"/>
                  <a:gd name="T5" fmla="*/ 1 h 8"/>
                  <a:gd name="T6" fmla="*/ 2 w 17"/>
                  <a:gd name="T7" fmla="*/ 3 h 8"/>
                  <a:gd name="T8" fmla="*/ 4 w 17"/>
                  <a:gd name="T9" fmla="*/ 7 h 8"/>
                </a:gdLst>
                <a:ahLst/>
                <a:cxnLst>
                  <a:cxn ang="0">
                    <a:pos x="T0" y="T1"/>
                  </a:cxn>
                  <a:cxn ang="0">
                    <a:pos x="T2" y="T3"/>
                  </a:cxn>
                  <a:cxn ang="0">
                    <a:pos x="T4" y="T5"/>
                  </a:cxn>
                  <a:cxn ang="0">
                    <a:pos x="T6" y="T7"/>
                  </a:cxn>
                  <a:cxn ang="0">
                    <a:pos x="T8" y="T9"/>
                  </a:cxn>
                </a:cxnLst>
                <a:rect l="0" t="0" r="r" b="b"/>
                <a:pathLst>
                  <a:path w="17" h="8">
                    <a:moveTo>
                      <a:pt x="4" y="7"/>
                    </a:moveTo>
                    <a:cubicBezTo>
                      <a:pt x="6" y="6"/>
                      <a:pt x="17" y="7"/>
                      <a:pt x="15" y="3"/>
                    </a:cubicBezTo>
                    <a:cubicBezTo>
                      <a:pt x="14" y="0"/>
                      <a:pt x="11" y="1"/>
                      <a:pt x="9" y="1"/>
                    </a:cubicBezTo>
                    <a:cubicBezTo>
                      <a:pt x="7" y="1"/>
                      <a:pt x="4" y="1"/>
                      <a:pt x="2" y="3"/>
                    </a:cubicBezTo>
                    <a:cubicBezTo>
                      <a:pt x="0" y="5"/>
                      <a:pt x="2" y="8"/>
                      <a:pt x="4" y="7"/>
                    </a:cubicBezTo>
                    <a:close/>
                  </a:path>
                </a:pathLst>
              </a:custGeom>
              <a:solidFill>
                <a:srgbClr val="3A12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15" name="Freeform 50">
                <a:extLst>
                  <a:ext uri="{FF2B5EF4-FFF2-40B4-BE49-F238E27FC236}">
                    <a16:creationId xmlns:a16="http://schemas.microsoft.com/office/drawing/2014/main" id="{0D154435-0490-48B1-8488-973399720558}"/>
                  </a:ext>
                </a:extLst>
              </p:cNvPr>
              <p:cNvSpPr>
                <a:spLocks/>
              </p:cNvSpPr>
              <p:nvPr/>
            </p:nvSpPr>
            <p:spPr bwMode="auto">
              <a:xfrm>
                <a:off x="2540000" y="1595438"/>
                <a:ext cx="19050" cy="7938"/>
              </a:xfrm>
              <a:custGeom>
                <a:avLst/>
                <a:gdLst>
                  <a:gd name="T0" fmla="*/ 6 w 9"/>
                  <a:gd name="T1" fmla="*/ 3 h 4"/>
                  <a:gd name="T2" fmla="*/ 7 w 9"/>
                  <a:gd name="T3" fmla="*/ 3 h 4"/>
                  <a:gd name="T4" fmla="*/ 8 w 9"/>
                  <a:gd name="T5" fmla="*/ 0 h 4"/>
                  <a:gd name="T6" fmla="*/ 0 w 9"/>
                  <a:gd name="T7" fmla="*/ 3 h 4"/>
                  <a:gd name="T8" fmla="*/ 1 w 9"/>
                  <a:gd name="T9" fmla="*/ 4 h 4"/>
                  <a:gd name="T10" fmla="*/ 8 w 9"/>
                  <a:gd name="T11" fmla="*/ 3 h 4"/>
                  <a:gd name="T12" fmla="*/ 6 w 9"/>
                  <a:gd name="T13" fmla="*/ 1 h 4"/>
                  <a:gd name="T14" fmla="*/ 6 w 9"/>
                  <a:gd name="T15" fmla="*/ 2 h 4"/>
                  <a:gd name="T16" fmla="*/ 6 w 9"/>
                  <a:gd name="T17" fmla="*/ 3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4">
                    <a:moveTo>
                      <a:pt x="6" y="3"/>
                    </a:moveTo>
                    <a:cubicBezTo>
                      <a:pt x="7" y="3"/>
                      <a:pt x="7" y="3"/>
                      <a:pt x="7" y="3"/>
                    </a:cubicBezTo>
                    <a:cubicBezTo>
                      <a:pt x="8" y="4"/>
                      <a:pt x="9" y="1"/>
                      <a:pt x="8" y="0"/>
                    </a:cubicBezTo>
                    <a:cubicBezTo>
                      <a:pt x="5" y="0"/>
                      <a:pt x="2" y="1"/>
                      <a:pt x="0" y="3"/>
                    </a:cubicBezTo>
                    <a:cubicBezTo>
                      <a:pt x="0" y="4"/>
                      <a:pt x="0" y="4"/>
                      <a:pt x="1" y="4"/>
                    </a:cubicBezTo>
                    <a:cubicBezTo>
                      <a:pt x="3" y="4"/>
                      <a:pt x="6" y="4"/>
                      <a:pt x="8" y="3"/>
                    </a:cubicBezTo>
                    <a:cubicBezTo>
                      <a:pt x="7" y="2"/>
                      <a:pt x="7" y="2"/>
                      <a:pt x="6" y="1"/>
                    </a:cubicBezTo>
                    <a:cubicBezTo>
                      <a:pt x="6" y="2"/>
                      <a:pt x="6" y="2"/>
                      <a:pt x="6" y="2"/>
                    </a:cubicBezTo>
                    <a:cubicBezTo>
                      <a:pt x="6" y="2"/>
                      <a:pt x="6" y="3"/>
                      <a:pt x="6" y="3"/>
                    </a:cubicBezTo>
                    <a:close/>
                  </a:path>
                </a:pathLst>
              </a:custGeom>
              <a:solidFill>
                <a:srgbClr val="3A12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16" name="Freeform 51">
                <a:extLst>
                  <a:ext uri="{FF2B5EF4-FFF2-40B4-BE49-F238E27FC236}">
                    <a16:creationId xmlns:a16="http://schemas.microsoft.com/office/drawing/2014/main" id="{30CD29D8-BC41-4976-AF80-CAFE939C6578}"/>
                  </a:ext>
                </a:extLst>
              </p:cNvPr>
              <p:cNvSpPr>
                <a:spLocks/>
              </p:cNvSpPr>
              <p:nvPr/>
            </p:nvSpPr>
            <p:spPr bwMode="auto">
              <a:xfrm>
                <a:off x="2533650" y="1597025"/>
                <a:ext cx="9525" cy="12700"/>
              </a:xfrm>
              <a:custGeom>
                <a:avLst/>
                <a:gdLst>
                  <a:gd name="T0" fmla="*/ 2 w 5"/>
                  <a:gd name="T1" fmla="*/ 2 h 6"/>
                  <a:gd name="T2" fmla="*/ 1 w 5"/>
                  <a:gd name="T3" fmla="*/ 2 h 6"/>
                  <a:gd name="T4" fmla="*/ 3 w 5"/>
                  <a:gd name="T5" fmla="*/ 5 h 6"/>
                  <a:gd name="T6" fmla="*/ 5 w 5"/>
                  <a:gd name="T7" fmla="*/ 4 h 6"/>
                  <a:gd name="T8" fmla="*/ 5 w 5"/>
                  <a:gd name="T9" fmla="*/ 2 h 6"/>
                  <a:gd name="T10" fmla="*/ 0 w 5"/>
                  <a:gd name="T11" fmla="*/ 3 h 6"/>
                  <a:gd name="T12" fmla="*/ 2 w 5"/>
                  <a:gd name="T13" fmla="*/ 5 h 6"/>
                  <a:gd name="T14" fmla="*/ 3 w 5"/>
                  <a:gd name="T15" fmla="*/ 5 h 6"/>
                  <a:gd name="T16" fmla="*/ 2 w 5"/>
                  <a:gd name="T17"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 h="6">
                    <a:moveTo>
                      <a:pt x="2" y="2"/>
                    </a:moveTo>
                    <a:cubicBezTo>
                      <a:pt x="2" y="2"/>
                      <a:pt x="2" y="2"/>
                      <a:pt x="1" y="2"/>
                    </a:cubicBezTo>
                    <a:cubicBezTo>
                      <a:pt x="2" y="3"/>
                      <a:pt x="2" y="4"/>
                      <a:pt x="3" y="5"/>
                    </a:cubicBezTo>
                    <a:cubicBezTo>
                      <a:pt x="3" y="4"/>
                      <a:pt x="4" y="4"/>
                      <a:pt x="5" y="4"/>
                    </a:cubicBezTo>
                    <a:cubicBezTo>
                      <a:pt x="5" y="3"/>
                      <a:pt x="5" y="2"/>
                      <a:pt x="5" y="2"/>
                    </a:cubicBezTo>
                    <a:cubicBezTo>
                      <a:pt x="3" y="0"/>
                      <a:pt x="0" y="1"/>
                      <a:pt x="0" y="3"/>
                    </a:cubicBezTo>
                    <a:cubicBezTo>
                      <a:pt x="0" y="5"/>
                      <a:pt x="1" y="6"/>
                      <a:pt x="2" y="5"/>
                    </a:cubicBezTo>
                    <a:cubicBezTo>
                      <a:pt x="3" y="5"/>
                      <a:pt x="3" y="5"/>
                      <a:pt x="3" y="5"/>
                    </a:cubicBezTo>
                    <a:cubicBezTo>
                      <a:pt x="3" y="4"/>
                      <a:pt x="3" y="2"/>
                      <a:pt x="2" y="2"/>
                    </a:cubicBezTo>
                    <a:close/>
                  </a:path>
                </a:pathLst>
              </a:custGeom>
              <a:solidFill>
                <a:srgbClr val="3A12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17" name="Freeform 52">
                <a:extLst>
                  <a:ext uri="{FF2B5EF4-FFF2-40B4-BE49-F238E27FC236}">
                    <a16:creationId xmlns:a16="http://schemas.microsoft.com/office/drawing/2014/main" id="{079E9891-1093-4F0E-B4A7-9420571B3110}"/>
                  </a:ext>
                </a:extLst>
              </p:cNvPr>
              <p:cNvSpPr>
                <a:spLocks/>
              </p:cNvSpPr>
              <p:nvPr/>
            </p:nvSpPr>
            <p:spPr bwMode="auto">
              <a:xfrm>
                <a:off x="2533650" y="1600200"/>
                <a:ext cx="9525" cy="7938"/>
              </a:xfrm>
              <a:custGeom>
                <a:avLst/>
                <a:gdLst>
                  <a:gd name="T0" fmla="*/ 1 w 5"/>
                  <a:gd name="T1" fmla="*/ 4 h 4"/>
                  <a:gd name="T2" fmla="*/ 4 w 5"/>
                  <a:gd name="T3" fmla="*/ 1 h 4"/>
                  <a:gd name="T4" fmla="*/ 3 w 5"/>
                  <a:gd name="T5" fmla="*/ 0 h 4"/>
                  <a:gd name="T6" fmla="*/ 0 w 5"/>
                  <a:gd name="T7" fmla="*/ 2 h 4"/>
                  <a:gd name="T8" fmla="*/ 1 w 5"/>
                  <a:gd name="T9" fmla="*/ 4 h 4"/>
                </a:gdLst>
                <a:ahLst/>
                <a:cxnLst>
                  <a:cxn ang="0">
                    <a:pos x="T0" y="T1"/>
                  </a:cxn>
                  <a:cxn ang="0">
                    <a:pos x="T2" y="T3"/>
                  </a:cxn>
                  <a:cxn ang="0">
                    <a:pos x="T4" y="T5"/>
                  </a:cxn>
                  <a:cxn ang="0">
                    <a:pos x="T6" y="T7"/>
                  </a:cxn>
                  <a:cxn ang="0">
                    <a:pos x="T8" y="T9"/>
                  </a:cxn>
                </a:cxnLst>
                <a:rect l="0" t="0" r="r" b="b"/>
                <a:pathLst>
                  <a:path w="5" h="4">
                    <a:moveTo>
                      <a:pt x="1" y="4"/>
                    </a:moveTo>
                    <a:cubicBezTo>
                      <a:pt x="2" y="3"/>
                      <a:pt x="5" y="3"/>
                      <a:pt x="4" y="1"/>
                    </a:cubicBezTo>
                    <a:cubicBezTo>
                      <a:pt x="4" y="1"/>
                      <a:pt x="3" y="0"/>
                      <a:pt x="3" y="0"/>
                    </a:cubicBezTo>
                    <a:cubicBezTo>
                      <a:pt x="1" y="0"/>
                      <a:pt x="0" y="1"/>
                      <a:pt x="0" y="2"/>
                    </a:cubicBezTo>
                    <a:cubicBezTo>
                      <a:pt x="0" y="3"/>
                      <a:pt x="0" y="4"/>
                      <a:pt x="1" y="4"/>
                    </a:cubicBezTo>
                    <a:close/>
                  </a:path>
                </a:pathLst>
              </a:custGeom>
              <a:solidFill>
                <a:srgbClr val="3A12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18" name="Freeform 53">
                <a:extLst>
                  <a:ext uri="{FF2B5EF4-FFF2-40B4-BE49-F238E27FC236}">
                    <a16:creationId xmlns:a16="http://schemas.microsoft.com/office/drawing/2014/main" id="{2979C4E0-5F68-4D99-979B-7837F7558164}"/>
                  </a:ext>
                </a:extLst>
              </p:cNvPr>
              <p:cNvSpPr>
                <a:spLocks/>
              </p:cNvSpPr>
              <p:nvPr/>
            </p:nvSpPr>
            <p:spPr bwMode="auto">
              <a:xfrm>
                <a:off x="2514600" y="1592263"/>
                <a:ext cx="171450" cy="561975"/>
              </a:xfrm>
              <a:custGeom>
                <a:avLst/>
                <a:gdLst>
                  <a:gd name="T0" fmla="*/ 25 w 82"/>
                  <a:gd name="T1" fmla="*/ 16 h 273"/>
                  <a:gd name="T2" fmla="*/ 20 w 82"/>
                  <a:gd name="T3" fmla="*/ 2 h 273"/>
                  <a:gd name="T4" fmla="*/ 10 w 82"/>
                  <a:gd name="T5" fmla="*/ 7 h 273"/>
                  <a:gd name="T6" fmla="*/ 11 w 82"/>
                  <a:gd name="T7" fmla="*/ 9 h 273"/>
                  <a:gd name="T8" fmla="*/ 15 w 82"/>
                  <a:gd name="T9" fmla="*/ 17 h 273"/>
                  <a:gd name="T10" fmla="*/ 14 w 82"/>
                  <a:gd name="T11" fmla="*/ 17 h 273"/>
                  <a:gd name="T12" fmla="*/ 16 w 82"/>
                  <a:gd name="T13" fmla="*/ 20 h 273"/>
                  <a:gd name="T14" fmla="*/ 17 w 82"/>
                  <a:gd name="T15" fmla="*/ 21 h 273"/>
                  <a:gd name="T16" fmla="*/ 23 w 82"/>
                  <a:gd name="T17" fmla="*/ 19 h 273"/>
                  <a:gd name="T18" fmla="*/ 67 w 82"/>
                  <a:gd name="T19" fmla="*/ 132 h 273"/>
                  <a:gd name="T20" fmla="*/ 15 w 82"/>
                  <a:gd name="T21" fmla="*/ 87 h 273"/>
                  <a:gd name="T22" fmla="*/ 14 w 82"/>
                  <a:gd name="T23" fmla="*/ 83 h 273"/>
                  <a:gd name="T24" fmla="*/ 10 w 82"/>
                  <a:gd name="T25" fmla="*/ 81 h 273"/>
                  <a:gd name="T26" fmla="*/ 1 w 82"/>
                  <a:gd name="T27" fmla="*/ 80 h 273"/>
                  <a:gd name="T28" fmla="*/ 1 w 82"/>
                  <a:gd name="T29" fmla="*/ 83 h 273"/>
                  <a:gd name="T30" fmla="*/ 2 w 82"/>
                  <a:gd name="T31" fmla="*/ 88 h 273"/>
                  <a:gd name="T32" fmla="*/ 3 w 82"/>
                  <a:gd name="T33" fmla="*/ 84 h 273"/>
                  <a:gd name="T34" fmla="*/ 5 w 82"/>
                  <a:gd name="T35" fmla="*/ 83 h 273"/>
                  <a:gd name="T36" fmla="*/ 11 w 82"/>
                  <a:gd name="T37" fmla="*/ 86 h 273"/>
                  <a:gd name="T38" fmla="*/ 5 w 82"/>
                  <a:gd name="T39" fmla="*/ 87 h 273"/>
                  <a:gd name="T40" fmla="*/ 9 w 82"/>
                  <a:gd name="T41" fmla="*/ 89 h 273"/>
                  <a:gd name="T42" fmla="*/ 13 w 82"/>
                  <a:gd name="T43" fmla="*/ 91 h 273"/>
                  <a:gd name="T44" fmla="*/ 42 w 82"/>
                  <a:gd name="T45" fmla="*/ 112 h 273"/>
                  <a:gd name="T46" fmla="*/ 72 w 82"/>
                  <a:gd name="T47" fmla="*/ 198 h 273"/>
                  <a:gd name="T48" fmla="*/ 32 w 82"/>
                  <a:gd name="T49" fmla="*/ 178 h 273"/>
                  <a:gd name="T50" fmla="*/ 28 w 82"/>
                  <a:gd name="T51" fmla="*/ 169 h 273"/>
                  <a:gd name="T52" fmla="*/ 27 w 82"/>
                  <a:gd name="T53" fmla="*/ 168 h 273"/>
                  <a:gd name="T54" fmla="*/ 19 w 82"/>
                  <a:gd name="T55" fmla="*/ 174 h 273"/>
                  <a:gd name="T56" fmla="*/ 26 w 82"/>
                  <a:gd name="T57" fmla="*/ 170 h 273"/>
                  <a:gd name="T58" fmla="*/ 25 w 82"/>
                  <a:gd name="T59" fmla="*/ 172 h 273"/>
                  <a:gd name="T60" fmla="*/ 23 w 82"/>
                  <a:gd name="T61" fmla="*/ 175 h 273"/>
                  <a:gd name="T62" fmla="*/ 23 w 82"/>
                  <a:gd name="T63" fmla="*/ 177 h 273"/>
                  <a:gd name="T64" fmla="*/ 22 w 82"/>
                  <a:gd name="T65" fmla="*/ 177 h 273"/>
                  <a:gd name="T66" fmla="*/ 21 w 82"/>
                  <a:gd name="T67" fmla="*/ 176 h 273"/>
                  <a:gd name="T68" fmla="*/ 21 w 82"/>
                  <a:gd name="T69" fmla="*/ 177 h 273"/>
                  <a:gd name="T70" fmla="*/ 24 w 82"/>
                  <a:gd name="T71" fmla="*/ 185 h 273"/>
                  <a:gd name="T72" fmla="*/ 26 w 82"/>
                  <a:gd name="T73" fmla="*/ 183 h 273"/>
                  <a:gd name="T74" fmla="*/ 29 w 82"/>
                  <a:gd name="T75" fmla="*/ 182 h 273"/>
                  <a:gd name="T76" fmla="*/ 58 w 82"/>
                  <a:gd name="T77" fmla="*/ 258 h 273"/>
                  <a:gd name="T78" fmla="*/ 57 w 82"/>
                  <a:gd name="T79" fmla="*/ 272 h 273"/>
                  <a:gd name="T80" fmla="*/ 61 w 82"/>
                  <a:gd name="T81" fmla="*/ 268 h 273"/>
                  <a:gd name="T82" fmla="*/ 73 w 82"/>
                  <a:gd name="T83" fmla="*/ 131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2" h="273">
                    <a:moveTo>
                      <a:pt x="73" y="131"/>
                    </a:moveTo>
                    <a:cubicBezTo>
                      <a:pt x="64" y="92"/>
                      <a:pt x="52" y="47"/>
                      <a:pt x="25" y="16"/>
                    </a:cubicBezTo>
                    <a:cubicBezTo>
                      <a:pt x="26" y="14"/>
                      <a:pt x="25" y="11"/>
                      <a:pt x="24" y="9"/>
                    </a:cubicBezTo>
                    <a:cubicBezTo>
                      <a:pt x="24" y="7"/>
                      <a:pt x="23" y="3"/>
                      <a:pt x="20" y="2"/>
                    </a:cubicBezTo>
                    <a:cubicBezTo>
                      <a:pt x="20" y="2"/>
                      <a:pt x="20" y="2"/>
                      <a:pt x="20" y="2"/>
                    </a:cubicBezTo>
                    <a:cubicBezTo>
                      <a:pt x="16" y="0"/>
                      <a:pt x="13" y="4"/>
                      <a:pt x="10" y="7"/>
                    </a:cubicBezTo>
                    <a:cubicBezTo>
                      <a:pt x="9" y="8"/>
                      <a:pt x="10" y="9"/>
                      <a:pt x="12" y="8"/>
                    </a:cubicBezTo>
                    <a:cubicBezTo>
                      <a:pt x="11" y="9"/>
                      <a:pt x="11" y="9"/>
                      <a:pt x="11" y="9"/>
                    </a:cubicBezTo>
                    <a:cubicBezTo>
                      <a:pt x="11" y="10"/>
                      <a:pt x="10" y="10"/>
                      <a:pt x="10" y="12"/>
                    </a:cubicBezTo>
                    <a:cubicBezTo>
                      <a:pt x="10" y="14"/>
                      <a:pt x="12" y="16"/>
                      <a:pt x="15" y="17"/>
                    </a:cubicBezTo>
                    <a:cubicBezTo>
                      <a:pt x="15" y="17"/>
                      <a:pt x="15" y="17"/>
                      <a:pt x="15" y="17"/>
                    </a:cubicBezTo>
                    <a:cubicBezTo>
                      <a:pt x="15" y="17"/>
                      <a:pt x="14" y="17"/>
                      <a:pt x="14" y="17"/>
                    </a:cubicBezTo>
                    <a:cubicBezTo>
                      <a:pt x="13" y="18"/>
                      <a:pt x="13" y="20"/>
                      <a:pt x="14" y="20"/>
                    </a:cubicBezTo>
                    <a:cubicBezTo>
                      <a:pt x="15" y="20"/>
                      <a:pt x="15" y="20"/>
                      <a:pt x="16" y="20"/>
                    </a:cubicBezTo>
                    <a:cubicBezTo>
                      <a:pt x="16" y="20"/>
                      <a:pt x="16" y="21"/>
                      <a:pt x="16" y="21"/>
                    </a:cubicBezTo>
                    <a:cubicBezTo>
                      <a:pt x="16" y="21"/>
                      <a:pt x="17" y="21"/>
                      <a:pt x="17" y="21"/>
                    </a:cubicBezTo>
                    <a:cubicBezTo>
                      <a:pt x="19" y="21"/>
                      <a:pt x="21" y="21"/>
                      <a:pt x="22" y="20"/>
                    </a:cubicBezTo>
                    <a:cubicBezTo>
                      <a:pt x="23" y="19"/>
                      <a:pt x="23" y="19"/>
                      <a:pt x="23" y="19"/>
                    </a:cubicBezTo>
                    <a:cubicBezTo>
                      <a:pt x="47" y="51"/>
                      <a:pt x="58" y="90"/>
                      <a:pt x="67" y="129"/>
                    </a:cubicBezTo>
                    <a:cubicBezTo>
                      <a:pt x="67" y="130"/>
                      <a:pt x="67" y="131"/>
                      <a:pt x="67" y="132"/>
                    </a:cubicBezTo>
                    <a:cubicBezTo>
                      <a:pt x="61" y="122"/>
                      <a:pt x="51" y="114"/>
                      <a:pt x="44" y="107"/>
                    </a:cubicBezTo>
                    <a:cubicBezTo>
                      <a:pt x="36" y="99"/>
                      <a:pt x="26" y="90"/>
                      <a:pt x="15" y="87"/>
                    </a:cubicBezTo>
                    <a:cubicBezTo>
                      <a:pt x="16" y="85"/>
                      <a:pt x="15" y="84"/>
                      <a:pt x="14" y="83"/>
                    </a:cubicBezTo>
                    <a:cubicBezTo>
                      <a:pt x="14" y="83"/>
                      <a:pt x="14" y="83"/>
                      <a:pt x="14" y="83"/>
                    </a:cubicBezTo>
                    <a:cubicBezTo>
                      <a:pt x="14" y="82"/>
                      <a:pt x="14" y="82"/>
                      <a:pt x="13" y="82"/>
                    </a:cubicBezTo>
                    <a:cubicBezTo>
                      <a:pt x="12" y="82"/>
                      <a:pt x="11" y="82"/>
                      <a:pt x="10" y="81"/>
                    </a:cubicBezTo>
                    <a:cubicBezTo>
                      <a:pt x="9" y="81"/>
                      <a:pt x="8" y="81"/>
                      <a:pt x="7" y="81"/>
                    </a:cubicBezTo>
                    <a:cubicBezTo>
                      <a:pt x="5" y="80"/>
                      <a:pt x="3" y="79"/>
                      <a:pt x="1" y="80"/>
                    </a:cubicBezTo>
                    <a:cubicBezTo>
                      <a:pt x="1" y="81"/>
                      <a:pt x="1" y="81"/>
                      <a:pt x="1" y="82"/>
                    </a:cubicBezTo>
                    <a:cubicBezTo>
                      <a:pt x="1" y="82"/>
                      <a:pt x="1" y="82"/>
                      <a:pt x="1" y="83"/>
                    </a:cubicBezTo>
                    <a:cubicBezTo>
                      <a:pt x="0" y="85"/>
                      <a:pt x="0" y="87"/>
                      <a:pt x="1" y="88"/>
                    </a:cubicBezTo>
                    <a:cubicBezTo>
                      <a:pt x="1" y="89"/>
                      <a:pt x="2" y="89"/>
                      <a:pt x="2" y="88"/>
                    </a:cubicBezTo>
                    <a:cubicBezTo>
                      <a:pt x="3" y="87"/>
                      <a:pt x="3" y="86"/>
                      <a:pt x="3" y="85"/>
                    </a:cubicBezTo>
                    <a:cubicBezTo>
                      <a:pt x="3" y="85"/>
                      <a:pt x="3" y="84"/>
                      <a:pt x="3" y="84"/>
                    </a:cubicBezTo>
                    <a:cubicBezTo>
                      <a:pt x="3" y="83"/>
                      <a:pt x="3" y="83"/>
                      <a:pt x="3" y="83"/>
                    </a:cubicBezTo>
                    <a:cubicBezTo>
                      <a:pt x="3" y="83"/>
                      <a:pt x="5" y="83"/>
                      <a:pt x="5" y="83"/>
                    </a:cubicBezTo>
                    <a:cubicBezTo>
                      <a:pt x="7" y="84"/>
                      <a:pt x="10" y="84"/>
                      <a:pt x="12" y="84"/>
                    </a:cubicBezTo>
                    <a:cubicBezTo>
                      <a:pt x="12" y="84"/>
                      <a:pt x="12" y="85"/>
                      <a:pt x="11" y="86"/>
                    </a:cubicBezTo>
                    <a:cubicBezTo>
                      <a:pt x="10" y="85"/>
                      <a:pt x="8" y="85"/>
                      <a:pt x="6" y="85"/>
                    </a:cubicBezTo>
                    <a:cubicBezTo>
                      <a:pt x="5" y="85"/>
                      <a:pt x="5" y="86"/>
                      <a:pt x="5" y="87"/>
                    </a:cubicBezTo>
                    <a:cubicBezTo>
                      <a:pt x="7" y="87"/>
                      <a:pt x="8" y="88"/>
                      <a:pt x="9" y="89"/>
                    </a:cubicBezTo>
                    <a:cubicBezTo>
                      <a:pt x="9" y="89"/>
                      <a:pt x="9" y="89"/>
                      <a:pt x="9" y="89"/>
                    </a:cubicBezTo>
                    <a:cubicBezTo>
                      <a:pt x="9" y="90"/>
                      <a:pt x="9" y="91"/>
                      <a:pt x="10" y="91"/>
                    </a:cubicBezTo>
                    <a:cubicBezTo>
                      <a:pt x="11" y="92"/>
                      <a:pt x="12" y="91"/>
                      <a:pt x="13" y="91"/>
                    </a:cubicBezTo>
                    <a:cubicBezTo>
                      <a:pt x="17" y="92"/>
                      <a:pt x="20" y="94"/>
                      <a:pt x="23" y="96"/>
                    </a:cubicBezTo>
                    <a:cubicBezTo>
                      <a:pt x="30" y="100"/>
                      <a:pt x="36" y="106"/>
                      <a:pt x="42" y="112"/>
                    </a:cubicBezTo>
                    <a:cubicBezTo>
                      <a:pt x="53" y="122"/>
                      <a:pt x="61" y="134"/>
                      <a:pt x="70" y="147"/>
                    </a:cubicBezTo>
                    <a:cubicBezTo>
                      <a:pt x="72" y="164"/>
                      <a:pt x="73" y="181"/>
                      <a:pt x="72" y="198"/>
                    </a:cubicBezTo>
                    <a:cubicBezTo>
                      <a:pt x="70" y="214"/>
                      <a:pt x="66" y="229"/>
                      <a:pt x="62" y="244"/>
                    </a:cubicBezTo>
                    <a:cubicBezTo>
                      <a:pt x="58" y="221"/>
                      <a:pt x="44" y="196"/>
                      <a:pt x="32" y="178"/>
                    </a:cubicBezTo>
                    <a:cubicBezTo>
                      <a:pt x="32" y="177"/>
                      <a:pt x="32" y="176"/>
                      <a:pt x="32" y="175"/>
                    </a:cubicBezTo>
                    <a:cubicBezTo>
                      <a:pt x="32" y="173"/>
                      <a:pt x="31" y="169"/>
                      <a:pt x="28" y="169"/>
                    </a:cubicBezTo>
                    <a:cubicBezTo>
                      <a:pt x="28" y="169"/>
                      <a:pt x="27" y="169"/>
                      <a:pt x="27" y="169"/>
                    </a:cubicBezTo>
                    <a:cubicBezTo>
                      <a:pt x="28" y="169"/>
                      <a:pt x="27" y="168"/>
                      <a:pt x="27" y="168"/>
                    </a:cubicBezTo>
                    <a:cubicBezTo>
                      <a:pt x="25" y="168"/>
                      <a:pt x="24" y="169"/>
                      <a:pt x="23" y="170"/>
                    </a:cubicBezTo>
                    <a:cubicBezTo>
                      <a:pt x="22" y="171"/>
                      <a:pt x="20" y="172"/>
                      <a:pt x="19" y="174"/>
                    </a:cubicBezTo>
                    <a:cubicBezTo>
                      <a:pt x="19" y="176"/>
                      <a:pt x="21" y="177"/>
                      <a:pt x="22" y="176"/>
                    </a:cubicBezTo>
                    <a:cubicBezTo>
                      <a:pt x="23" y="174"/>
                      <a:pt x="24" y="172"/>
                      <a:pt x="26" y="170"/>
                    </a:cubicBezTo>
                    <a:cubicBezTo>
                      <a:pt x="25" y="171"/>
                      <a:pt x="25" y="171"/>
                      <a:pt x="25" y="172"/>
                    </a:cubicBezTo>
                    <a:cubicBezTo>
                      <a:pt x="25" y="172"/>
                      <a:pt x="25" y="172"/>
                      <a:pt x="25" y="172"/>
                    </a:cubicBezTo>
                    <a:cubicBezTo>
                      <a:pt x="25" y="172"/>
                      <a:pt x="25" y="172"/>
                      <a:pt x="24" y="173"/>
                    </a:cubicBezTo>
                    <a:cubicBezTo>
                      <a:pt x="23" y="173"/>
                      <a:pt x="23" y="174"/>
                      <a:pt x="23" y="175"/>
                    </a:cubicBezTo>
                    <a:cubicBezTo>
                      <a:pt x="23" y="175"/>
                      <a:pt x="23" y="176"/>
                      <a:pt x="23" y="177"/>
                    </a:cubicBezTo>
                    <a:cubicBezTo>
                      <a:pt x="23" y="177"/>
                      <a:pt x="23" y="177"/>
                      <a:pt x="23" y="177"/>
                    </a:cubicBezTo>
                    <a:cubicBezTo>
                      <a:pt x="23" y="177"/>
                      <a:pt x="23" y="178"/>
                      <a:pt x="23" y="178"/>
                    </a:cubicBezTo>
                    <a:cubicBezTo>
                      <a:pt x="23" y="178"/>
                      <a:pt x="22" y="177"/>
                      <a:pt x="22" y="177"/>
                    </a:cubicBezTo>
                    <a:cubicBezTo>
                      <a:pt x="22" y="177"/>
                      <a:pt x="22" y="176"/>
                      <a:pt x="22" y="177"/>
                    </a:cubicBezTo>
                    <a:cubicBezTo>
                      <a:pt x="22" y="177"/>
                      <a:pt x="22" y="176"/>
                      <a:pt x="21" y="176"/>
                    </a:cubicBezTo>
                    <a:cubicBezTo>
                      <a:pt x="21" y="176"/>
                      <a:pt x="21" y="176"/>
                      <a:pt x="21" y="176"/>
                    </a:cubicBezTo>
                    <a:cubicBezTo>
                      <a:pt x="21" y="176"/>
                      <a:pt x="21" y="176"/>
                      <a:pt x="21" y="177"/>
                    </a:cubicBezTo>
                    <a:cubicBezTo>
                      <a:pt x="20" y="178"/>
                      <a:pt x="21" y="180"/>
                      <a:pt x="22" y="181"/>
                    </a:cubicBezTo>
                    <a:cubicBezTo>
                      <a:pt x="22" y="182"/>
                      <a:pt x="23" y="184"/>
                      <a:pt x="24" y="185"/>
                    </a:cubicBezTo>
                    <a:cubicBezTo>
                      <a:pt x="25" y="186"/>
                      <a:pt x="26" y="185"/>
                      <a:pt x="26" y="184"/>
                    </a:cubicBezTo>
                    <a:cubicBezTo>
                      <a:pt x="26" y="184"/>
                      <a:pt x="26" y="184"/>
                      <a:pt x="26" y="183"/>
                    </a:cubicBezTo>
                    <a:cubicBezTo>
                      <a:pt x="26" y="183"/>
                      <a:pt x="27" y="183"/>
                      <a:pt x="27" y="183"/>
                    </a:cubicBezTo>
                    <a:cubicBezTo>
                      <a:pt x="28" y="183"/>
                      <a:pt x="29" y="183"/>
                      <a:pt x="29" y="182"/>
                    </a:cubicBezTo>
                    <a:cubicBezTo>
                      <a:pt x="29" y="182"/>
                      <a:pt x="29" y="182"/>
                      <a:pt x="30" y="181"/>
                    </a:cubicBezTo>
                    <a:cubicBezTo>
                      <a:pt x="43" y="205"/>
                      <a:pt x="56" y="230"/>
                      <a:pt x="58" y="258"/>
                    </a:cubicBezTo>
                    <a:cubicBezTo>
                      <a:pt x="57" y="262"/>
                      <a:pt x="56" y="266"/>
                      <a:pt x="54" y="271"/>
                    </a:cubicBezTo>
                    <a:cubicBezTo>
                      <a:pt x="54" y="272"/>
                      <a:pt x="56" y="273"/>
                      <a:pt x="57" y="272"/>
                    </a:cubicBezTo>
                    <a:cubicBezTo>
                      <a:pt x="58" y="271"/>
                      <a:pt x="58" y="270"/>
                      <a:pt x="59" y="269"/>
                    </a:cubicBezTo>
                    <a:cubicBezTo>
                      <a:pt x="60" y="269"/>
                      <a:pt x="61" y="269"/>
                      <a:pt x="61" y="268"/>
                    </a:cubicBezTo>
                    <a:cubicBezTo>
                      <a:pt x="61" y="267"/>
                      <a:pt x="62" y="265"/>
                      <a:pt x="62" y="263"/>
                    </a:cubicBezTo>
                    <a:cubicBezTo>
                      <a:pt x="82" y="225"/>
                      <a:pt x="81" y="172"/>
                      <a:pt x="73" y="131"/>
                    </a:cubicBezTo>
                    <a:close/>
                  </a:path>
                </a:pathLst>
              </a:custGeom>
              <a:solidFill>
                <a:srgbClr val="3A12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19" name="Freeform 54">
                <a:extLst>
                  <a:ext uri="{FF2B5EF4-FFF2-40B4-BE49-F238E27FC236}">
                    <a16:creationId xmlns:a16="http://schemas.microsoft.com/office/drawing/2014/main" id="{178C9B6C-A8D3-4126-8BDD-3E8125D715BB}"/>
                  </a:ext>
                </a:extLst>
              </p:cNvPr>
              <p:cNvSpPr>
                <a:spLocks/>
              </p:cNvSpPr>
              <p:nvPr/>
            </p:nvSpPr>
            <p:spPr bwMode="auto">
              <a:xfrm>
                <a:off x="2533650" y="1606550"/>
                <a:ext cx="14288" cy="23813"/>
              </a:xfrm>
              <a:custGeom>
                <a:avLst/>
                <a:gdLst>
                  <a:gd name="T0" fmla="*/ 6 w 7"/>
                  <a:gd name="T1" fmla="*/ 10 h 12"/>
                  <a:gd name="T2" fmla="*/ 4 w 7"/>
                  <a:gd name="T3" fmla="*/ 6 h 12"/>
                  <a:gd name="T4" fmla="*/ 2 w 7"/>
                  <a:gd name="T5" fmla="*/ 5 h 12"/>
                  <a:gd name="T6" fmla="*/ 4 w 7"/>
                  <a:gd name="T7" fmla="*/ 7 h 12"/>
                  <a:gd name="T8" fmla="*/ 6 w 7"/>
                  <a:gd name="T9" fmla="*/ 7 h 12"/>
                  <a:gd name="T10" fmla="*/ 4 w 7"/>
                  <a:gd name="T11" fmla="*/ 3 h 12"/>
                  <a:gd name="T12" fmla="*/ 2 w 7"/>
                  <a:gd name="T13" fmla="*/ 4 h 12"/>
                  <a:gd name="T14" fmla="*/ 2 w 7"/>
                  <a:gd name="T15" fmla="*/ 4 h 12"/>
                  <a:gd name="T16" fmla="*/ 4 w 7"/>
                  <a:gd name="T17" fmla="*/ 4 h 12"/>
                  <a:gd name="T18" fmla="*/ 3 w 7"/>
                  <a:gd name="T19" fmla="*/ 2 h 12"/>
                  <a:gd name="T20" fmla="*/ 1 w 7"/>
                  <a:gd name="T21" fmla="*/ 3 h 12"/>
                  <a:gd name="T22" fmla="*/ 4 w 7"/>
                  <a:gd name="T23" fmla="*/ 5 h 12"/>
                  <a:gd name="T24" fmla="*/ 6 w 7"/>
                  <a:gd name="T25" fmla="*/ 3 h 12"/>
                  <a:gd name="T26" fmla="*/ 4 w 7"/>
                  <a:gd name="T27" fmla="*/ 1 h 12"/>
                  <a:gd name="T28" fmla="*/ 2 w 7"/>
                  <a:gd name="T29" fmla="*/ 3 h 12"/>
                  <a:gd name="T30" fmla="*/ 2 w 7"/>
                  <a:gd name="T31" fmla="*/ 3 h 12"/>
                  <a:gd name="T32" fmla="*/ 4 w 7"/>
                  <a:gd name="T33" fmla="*/ 3 h 12"/>
                  <a:gd name="T34" fmla="*/ 4 w 7"/>
                  <a:gd name="T35" fmla="*/ 3 h 12"/>
                  <a:gd name="T36" fmla="*/ 2 w 7"/>
                  <a:gd name="T37" fmla="*/ 3 h 12"/>
                  <a:gd name="T38" fmla="*/ 4 w 7"/>
                  <a:gd name="T39" fmla="*/ 5 h 12"/>
                  <a:gd name="T40" fmla="*/ 5 w 7"/>
                  <a:gd name="T41" fmla="*/ 2 h 12"/>
                  <a:gd name="T42" fmla="*/ 2 w 7"/>
                  <a:gd name="T43" fmla="*/ 1 h 12"/>
                  <a:gd name="T44" fmla="*/ 1 w 7"/>
                  <a:gd name="T45" fmla="*/ 3 h 12"/>
                  <a:gd name="T46" fmla="*/ 3 w 7"/>
                  <a:gd name="T47" fmla="*/ 5 h 12"/>
                  <a:gd name="T48" fmla="*/ 5 w 7"/>
                  <a:gd name="T49" fmla="*/ 4 h 12"/>
                  <a:gd name="T50" fmla="*/ 4 w 7"/>
                  <a:gd name="T51" fmla="*/ 2 h 12"/>
                  <a:gd name="T52" fmla="*/ 2 w 7"/>
                  <a:gd name="T53" fmla="*/ 3 h 12"/>
                  <a:gd name="T54" fmla="*/ 5 w 7"/>
                  <a:gd name="T55" fmla="*/ 8 h 12"/>
                  <a:gd name="T56" fmla="*/ 6 w 7"/>
                  <a:gd name="T57" fmla="*/ 7 h 12"/>
                  <a:gd name="T58" fmla="*/ 1 w 7"/>
                  <a:gd name="T59" fmla="*/ 4 h 12"/>
                  <a:gd name="T60" fmla="*/ 2 w 7"/>
                  <a:gd name="T61" fmla="*/ 7 h 12"/>
                  <a:gd name="T62" fmla="*/ 5 w 7"/>
                  <a:gd name="T63" fmla="*/ 11 h 12"/>
                  <a:gd name="T64" fmla="*/ 6 w 7"/>
                  <a:gd name="T65" fmla="*/ 1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 h="12">
                    <a:moveTo>
                      <a:pt x="6" y="10"/>
                    </a:moveTo>
                    <a:cubicBezTo>
                      <a:pt x="5" y="9"/>
                      <a:pt x="5" y="8"/>
                      <a:pt x="4" y="6"/>
                    </a:cubicBezTo>
                    <a:cubicBezTo>
                      <a:pt x="4" y="6"/>
                      <a:pt x="3" y="4"/>
                      <a:pt x="2" y="5"/>
                    </a:cubicBezTo>
                    <a:cubicBezTo>
                      <a:pt x="2" y="5"/>
                      <a:pt x="4" y="8"/>
                      <a:pt x="4" y="7"/>
                    </a:cubicBezTo>
                    <a:cubicBezTo>
                      <a:pt x="5" y="7"/>
                      <a:pt x="5" y="7"/>
                      <a:pt x="6" y="7"/>
                    </a:cubicBezTo>
                    <a:cubicBezTo>
                      <a:pt x="4" y="6"/>
                      <a:pt x="4" y="5"/>
                      <a:pt x="4" y="3"/>
                    </a:cubicBezTo>
                    <a:cubicBezTo>
                      <a:pt x="4" y="3"/>
                      <a:pt x="3" y="4"/>
                      <a:pt x="2" y="4"/>
                    </a:cubicBezTo>
                    <a:cubicBezTo>
                      <a:pt x="2" y="4"/>
                      <a:pt x="2" y="4"/>
                      <a:pt x="2" y="4"/>
                    </a:cubicBezTo>
                    <a:cubicBezTo>
                      <a:pt x="3" y="4"/>
                      <a:pt x="4" y="4"/>
                      <a:pt x="4" y="4"/>
                    </a:cubicBezTo>
                    <a:cubicBezTo>
                      <a:pt x="4" y="3"/>
                      <a:pt x="3" y="3"/>
                      <a:pt x="3" y="2"/>
                    </a:cubicBezTo>
                    <a:cubicBezTo>
                      <a:pt x="2" y="2"/>
                      <a:pt x="2" y="3"/>
                      <a:pt x="1" y="3"/>
                    </a:cubicBezTo>
                    <a:cubicBezTo>
                      <a:pt x="2" y="4"/>
                      <a:pt x="3" y="4"/>
                      <a:pt x="4" y="5"/>
                    </a:cubicBezTo>
                    <a:cubicBezTo>
                      <a:pt x="5" y="6"/>
                      <a:pt x="7" y="4"/>
                      <a:pt x="6" y="3"/>
                    </a:cubicBezTo>
                    <a:cubicBezTo>
                      <a:pt x="5" y="2"/>
                      <a:pt x="5" y="2"/>
                      <a:pt x="4" y="1"/>
                    </a:cubicBezTo>
                    <a:cubicBezTo>
                      <a:pt x="3" y="0"/>
                      <a:pt x="1" y="1"/>
                      <a:pt x="2" y="3"/>
                    </a:cubicBezTo>
                    <a:cubicBezTo>
                      <a:pt x="2" y="3"/>
                      <a:pt x="2" y="3"/>
                      <a:pt x="2" y="3"/>
                    </a:cubicBezTo>
                    <a:cubicBezTo>
                      <a:pt x="3" y="4"/>
                      <a:pt x="4" y="4"/>
                      <a:pt x="4" y="3"/>
                    </a:cubicBezTo>
                    <a:cubicBezTo>
                      <a:pt x="4" y="3"/>
                      <a:pt x="4" y="3"/>
                      <a:pt x="4" y="3"/>
                    </a:cubicBezTo>
                    <a:cubicBezTo>
                      <a:pt x="4" y="3"/>
                      <a:pt x="3" y="3"/>
                      <a:pt x="2" y="3"/>
                    </a:cubicBezTo>
                    <a:cubicBezTo>
                      <a:pt x="3" y="4"/>
                      <a:pt x="3" y="4"/>
                      <a:pt x="4" y="5"/>
                    </a:cubicBezTo>
                    <a:cubicBezTo>
                      <a:pt x="4" y="4"/>
                      <a:pt x="5" y="3"/>
                      <a:pt x="5" y="2"/>
                    </a:cubicBezTo>
                    <a:cubicBezTo>
                      <a:pt x="4" y="2"/>
                      <a:pt x="3" y="1"/>
                      <a:pt x="2" y="1"/>
                    </a:cubicBezTo>
                    <a:cubicBezTo>
                      <a:pt x="1" y="0"/>
                      <a:pt x="0" y="1"/>
                      <a:pt x="1" y="3"/>
                    </a:cubicBezTo>
                    <a:cubicBezTo>
                      <a:pt x="1" y="4"/>
                      <a:pt x="2" y="5"/>
                      <a:pt x="3" y="5"/>
                    </a:cubicBezTo>
                    <a:cubicBezTo>
                      <a:pt x="4" y="6"/>
                      <a:pt x="5" y="5"/>
                      <a:pt x="5" y="4"/>
                    </a:cubicBezTo>
                    <a:cubicBezTo>
                      <a:pt x="5" y="3"/>
                      <a:pt x="4" y="3"/>
                      <a:pt x="4" y="2"/>
                    </a:cubicBezTo>
                    <a:cubicBezTo>
                      <a:pt x="3" y="2"/>
                      <a:pt x="2" y="2"/>
                      <a:pt x="2" y="3"/>
                    </a:cubicBezTo>
                    <a:cubicBezTo>
                      <a:pt x="2" y="5"/>
                      <a:pt x="3" y="7"/>
                      <a:pt x="5" y="8"/>
                    </a:cubicBezTo>
                    <a:cubicBezTo>
                      <a:pt x="5" y="8"/>
                      <a:pt x="6" y="8"/>
                      <a:pt x="6" y="7"/>
                    </a:cubicBezTo>
                    <a:cubicBezTo>
                      <a:pt x="5" y="6"/>
                      <a:pt x="3" y="2"/>
                      <a:pt x="1" y="4"/>
                    </a:cubicBezTo>
                    <a:cubicBezTo>
                      <a:pt x="1" y="5"/>
                      <a:pt x="2" y="6"/>
                      <a:pt x="2" y="7"/>
                    </a:cubicBezTo>
                    <a:cubicBezTo>
                      <a:pt x="3" y="8"/>
                      <a:pt x="4" y="10"/>
                      <a:pt x="5" y="11"/>
                    </a:cubicBezTo>
                    <a:cubicBezTo>
                      <a:pt x="6" y="12"/>
                      <a:pt x="7" y="11"/>
                      <a:pt x="6" y="10"/>
                    </a:cubicBezTo>
                    <a:close/>
                  </a:path>
                </a:pathLst>
              </a:custGeom>
              <a:solidFill>
                <a:srgbClr val="3A12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grpSp>
          <p:nvGrpSpPr>
            <p:cNvPr id="29" name="Group 132">
              <a:extLst>
                <a:ext uri="{FF2B5EF4-FFF2-40B4-BE49-F238E27FC236}">
                  <a16:creationId xmlns:a16="http://schemas.microsoft.com/office/drawing/2014/main" id="{D11678E3-9A61-441F-BB87-AF4CD0036CC7}"/>
                </a:ext>
              </a:extLst>
            </p:cNvPr>
            <p:cNvGrpSpPr/>
            <p:nvPr/>
          </p:nvGrpSpPr>
          <p:grpSpPr>
            <a:xfrm>
              <a:off x="1222375" y="2190751"/>
              <a:ext cx="433388" cy="639762"/>
              <a:chOff x="1222375" y="2190751"/>
              <a:chExt cx="433388" cy="639762"/>
            </a:xfrm>
          </p:grpSpPr>
          <p:sp>
            <p:nvSpPr>
              <p:cNvPr id="30" name="Freeform 58">
                <a:extLst>
                  <a:ext uri="{FF2B5EF4-FFF2-40B4-BE49-F238E27FC236}">
                    <a16:creationId xmlns:a16="http://schemas.microsoft.com/office/drawing/2014/main" id="{7DD96FBF-0F52-4482-898A-596CE2933AE3}"/>
                  </a:ext>
                </a:extLst>
              </p:cNvPr>
              <p:cNvSpPr>
                <a:spLocks noEditPoints="1"/>
              </p:cNvSpPr>
              <p:nvPr/>
            </p:nvSpPr>
            <p:spPr bwMode="auto">
              <a:xfrm>
                <a:off x="1555750" y="2633663"/>
                <a:ext cx="100013" cy="168275"/>
              </a:xfrm>
              <a:custGeom>
                <a:avLst/>
                <a:gdLst>
                  <a:gd name="T0" fmla="*/ 44 w 48"/>
                  <a:gd name="T1" fmla="*/ 3 h 81"/>
                  <a:gd name="T2" fmla="*/ 38 w 48"/>
                  <a:gd name="T3" fmla="*/ 1 h 81"/>
                  <a:gd name="T4" fmla="*/ 26 w 48"/>
                  <a:gd name="T5" fmla="*/ 5 h 81"/>
                  <a:gd name="T6" fmla="*/ 15 w 48"/>
                  <a:gd name="T7" fmla="*/ 21 h 81"/>
                  <a:gd name="T8" fmla="*/ 9 w 48"/>
                  <a:gd name="T9" fmla="*/ 33 h 81"/>
                  <a:gd name="T10" fmla="*/ 6 w 48"/>
                  <a:gd name="T11" fmla="*/ 42 h 81"/>
                  <a:gd name="T12" fmla="*/ 3 w 48"/>
                  <a:gd name="T13" fmla="*/ 50 h 81"/>
                  <a:gd name="T14" fmla="*/ 1 w 48"/>
                  <a:gd name="T15" fmla="*/ 64 h 81"/>
                  <a:gd name="T16" fmla="*/ 0 w 48"/>
                  <a:gd name="T17" fmla="*/ 66 h 81"/>
                  <a:gd name="T18" fmla="*/ 1 w 48"/>
                  <a:gd name="T19" fmla="*/ 73 h 81"/>
                  <a:gd name="T20" fmla="*/ 2 w 48"/>
                  <a:gd name="T21" fmla="*/ 79 h 81"/>
                  <a:gd name="T22" fmla="*/ 4 w 48"/>
                  <a:gd name="T23" fmla="*/ 79 h 81"/>
                  <a:gd name="T24" fmla="*/ 4 w 48"/>
                  <a:gd name="T25" fmla="*/ 79 h 81"/>
                  <a:gd name="T26" fmla="*/ 4 w 48"/>
                  <a:gd name="T27" fmla="*/ 80 h 81"/>
                  <a:gd name="T28" fmla="*/ 5 w 48"/>
                  <a:gd name="T29" fmla="*/ 80 h 81"/>
                  <a:gd name="T30" fmla="*/ 5 w 48"/>
                  <a:gd name="T31" fmla="*/ 77 h 81"/>
                  <a:gd name="T32" fmla="*/ 8 w 48"/>
                  <a:gd name="T33" fmla="*/ 76 h 81"/>
                  <a:gd name="T34" fmla="*/ 15 w 48"/>
                  <a:gd name="T35" fmla="*/ 64 h 81"/>
                  <a:gd name="T36" fmla="*/ 23 w 48"/>
                  <a:gd name="T37" fmla="*/ 54 h 81"/>
                  <a:gd name="T38" fmla="*/ 39 w 48"/>
                  <a:gd name="T39" fmla="*/ 31 h 81"/>
                  <a:gd name="T40" fmla="*/ 46 w 48"/>
                  <a:gd name="T41" fmla="*/ 10 h 81"/>
                  <a:gd name="T42" fmla="*/ 44 w 48"/>
                  <a:gd name="T43" fmla="*/ 3 h 81"/>
                  <a:gd name="T44" fmla="*/ 4 w 48"/>
                  <a:gd name="T45" fmla="*/ 72 h 81"/>
                  <a:gd name="T46" fmla="*/ 4 w 48"/>
                  <a:gd name="T47" fmla="*/ 69 h 81"/>
                  <a:gd name="T48" fmla="*/ 4 w 48"/>
                  <a:gd name="T49" fmla="*/ 68 h 81"/>
                  <a:gd name="T50" fmla="*/ 5 w 48"/>
                  <a:gd name="T51" fmla="*/ 69 h 81"/>
                  <a:gd name="T52" fmla="*/ 4 w 48"/>
                  <a:gd name="T53" fmla="*/ 7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8" h="81">
                    <a:moveTo>
                      <a:pt x="44" y="3"/>
                    </a:moveTo>
                    <a:cubicBezTo>
                      <a:pt x="43" y="1"/>
                      <a:pt x="41" y="1"/>
                      <a:pt x="38" y="1"/>
                    </a:cubicBezTo>
                    <a:cubicBezTo>
                      <a:pt x="33" y="0"/>
                      <a:pt x="30" y="2"/>
                      <a:pt x="26" y="5"/>
                    </a:cubicBezTo>
                    <a:cubicBezTo>
                      <a:pt x="22" y="10"/>
                      <a:pt x="18" y="15"/>
                      <a:pt x="15" y="21"/>
                    </a:cubicBezTo>
                    <a:cubicBezTo>
                      <a:pt x="11" y="24"/>
                      <a:pt x="10" y="29"/>
                      <a:pt x="9" y="33"/>
                    </a:cubicBezTo>
                    <a:cubicBezTo>
                      <a:pt x="8" y="36"/>
                      <a:pt x="7" y="39"/>
                      <a:pt x="6" y="42"/>
                    </a:cubicBezTo>
                    <a:cubicBezTo>
                      <a:pt x="5" y="45"/>
                      <a:pt x="4" y="47"/>
                      <a:pt x="3" y="50"/>
                    </a:cubicBezTo>
                    <a:cubicBezTo>
                      <a:pt x="2" y="54"/>
                      <a:pt x="0" y="59"/>
                      <a:pt x="1" y="64"/>
                    </a:cubicBezTo>
                    <a:cubicBezTo>
                      <a:pt x="0" y="64"/>
                      <a:pt x="0" y="65"/>
                      <a:pt x="0" y="66"/>
                    </a:cubicBezTo>
                    <a:cubicBezTo>
                      <a:pt x="0" y="68"/>
                      <a:pt x="0" y="70"/>
                      <a:pt x="1" y="73"/>
                    </a:cubicBezTo>
                    <a:cubicBezTo>
                      <a:pt x="1" y="75"/>
                      <a:pt x="1" y="77"/>
                      <a:pt x="2" y="79"/>
                    </a:cubicBezTo>
                    <a:cubicBezTo>
                      <a:pt x="2" y="80"/>
                      <a:pt x="4" y="80"/>
                      <a:pt x="4" y="79"/>
                    </a:cubicBezTo>
                    <a:cubicBezTo>
                      <a:pt x="4" y="79"/>
                      <a:pt x="4" y="79"/>
                      <a:pt x="4" y="79"/>
                    </a:cubicBezTo>
                    <a:cubicBezTo>
                      <a:pt x="4" y="79"/>
                      <a:pt x="4" y="80"/>
                      <a:pt x="4" y="80"/>
                    </a:cubicBezTo>
                    <a:cubicBezTo>
                      <a:pt x="4" y="81"/>
                      <a:pt x="5" y="80"/>
                      <a:pt x="5" y="80"/>
                    </a:cubicBezTo>
                    <a:cubicBezTo>
                      <a:pt x="5" y="79"/>
                      <a:pt x="5" y="78"/>
                      <a:pt x="5" y="77"/>
                    </a:cubicBezTo>
                    <a:cubicBezTo>
                      <a:pt x="6" y="78"/>
                      <a:pt x="8" y="77"/>
                      <a:pt x="8" y="76"/>
                    </a:cubicBezTo>
                    <a:cubicBezTo>
                      <a:pt x="9" y="71"/>
                      <a:pt x="13" y="68"/>
                      <a:pt x="15" y="64"/>
                    </a:cubicBezTo>
                    <a:cubicBezTo>
                      <a:pt x="18" y="61"/>
                      <a:pt x="21" y="57"/>
                      <a:pt x="23" y="54"/>
                    </a:cubicBezTo>
                    <a:cubicBezTo>
                      <a:pt x="29" y="46"/>
                      <a:pt x="34" y="39"/>
                      <a:pt x="39" y="31"/>
                    </a:cubicBezTo>
                    <a:cubicBezTo>
                      <a:pt x="43" y="26"/>
                      <a:pt x="48" y="17"/>
                      <a:pt x="46" y="10"/>
                    </a:cubicBezTo>
                    <a:cubicBezTo>
                      <a:pt x="46" y="8"/>
                      <a:pt x="46" y="5"/>
                      <a:pt x="44" y="3"/>
                    </a:cubicBezTo>
                    <a:close/>
                    <a:moveTo>
                      <a:pt x="4" y="72"/>
                    </a:moveTo>
                    <a:cubicBezTo>
                      <a:pt x="4" y="71"/>
                      <a:pt x="4" y="70"/>
                      <a:pt x="4" y="69"/>
                    </a:cubicBezTo>
                    <a:cubicBezTo>
                      <a:pt x="4" y="68"/>
                      <a:pt x="4" y="68"/>
                      <a:pt x="4" y="68"/>
                    </a:cubicBezTo>
                    <a:cubicBezTo>
                      <a:pt x="4" y="68"/>
                      <a:pt x="5" y="68"/>
                      <a:pt x="5" y="69"/>
                    </a:cubicBezTo>
                    <a:cubicBezTo>
                      <a:pt x="4" y="70"/>
                      <a:pt x="4" y="71"/>
                      <a:pt x="4" y="72"/>
                    </a:cubicBezTo>
                    <a:close/>
                  </a:path>
                </a:pathLst>
              </a:custGeom>
              <a:solidFill>
                <a:srgbClr val="4E16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1" name="Freeform 59">
                <a:extLst>
                  <a:ext uri="{FF2B5EF4-FFF2-40B4-BE49-F238E27FC236}">
                    <a16:creationId xmlns:a16="http://schemas.microsoft.com/office/drawing/2014/main" id="{7F6340E4-61B2-4D22-9ECC-7D3C715AF1D7}"/>
                  </a:ext>
                </a:extLst>
              </p:cNvPr>
              <p:cNvSpPr>
                <a:spLocks noEditPoints="1"/>
              </p:cNvSpPr>
              <p:nvPr/>
            </p:nvSpPr>
            <p:spPr bwMode="auto">
              <a:xfrm>
                <a:off x="1377950" y="2765425"/>
                <a:ext cx="212725" cy="61912"/>
              </a:xfrm>
              <a:custGeom>
                <a:avLst/>
                <a:gdLst>
                  <a:gd name="T0" fmla="*/ 81 w 103"/>
                  <a:gd name="T1" fmla="*/ 16 h 30"/>
                  <a:gd name="T2" fmla="*/ 81 w 103"/>
                  <a:gd name="T3" fmla="*/ 15 h 30"/>
                  <a:gd name="T4" fmla="*/ 71 w 103"/>
                  <a:gd name="T5" fmla="*/ 10 h 30"/>
                  <a:gd name="T6" fmla="*/ 53 w 103"/>
                  <a:gd name="T7" fmla="*/ 4 h 30"/>
                  <a:gd name="T8" fmla="*/ 29 w 103"/>
                  <a:gd name="T9" fmla="*/ 0 h 30"/>
                  <a:gd name="T10" fmla="*/ 10 w 103"/>
                  <a:gd name="T11" fmla="*/ 3 h 30"/>
                  <a:gd name="T12" fmla="*/ 2 w 103"/>
                  <a:gd name="T13" fmla="*/ 18 h 30"/>
                  <a:gd name="T14" fmla="*/ 34 w 103"/>
                  <a:gd name="T15" fmla="*/ 26 h 30"/>
                  <a:gd name="T16" fmla="*/ 57 w 103"/>
                  <a:gd name="T17" fmla="*/ 19 h 30"/>
                  <a:gd name="T18" fmla="*/ 64 w 103"/>
                  <a:gd name="T19" fmla="*/ 17 h 30"/>
                  <a:gd name="T20" fmla="*/ 73 w 103"/>
                  <a:gd name="T21" fmla="*/ 19 h 30"/>
                  <a:gd name="T22" fmla="*/ 75 w 103"/>
                  <a:gd name="T23" fmla="*/ 19 h 30"/>
                  <a:gd name="T24" fmla="*/ 78 w 103"/>
                  <a:gd name="T25" fmla="*/ 19 h 30"/>
                  <a:gd name="T26" fmla="*/ 87 w 103"/>
                  <a:gd name="T27" fmla="*/ 21 h 30"/>
                  <a:gd name="T28" fmla="*/ 102 w 103"/>
                  <a:gd name="T29" fmla="*/ 28 h 30"/>
                  <a:gd name="T30" fmla="*/ 102 w 103"/>
                  <a:gd name="T31" fmla="*/ 27 h 30"/>
                  <a:gd name="T32" fmla="*/ 81 w 103"/>
                  <a:gd name="T33" fmla="*/ 16 h 30"/>
                  <a:gd name="T34" fmla="*/ 77 w 103"/>
                  <a:gd name="T35" fmla="*/ 17 h 30"/>
                  <a:gd name="T36" fmla="*/ 77 w 103"/>
                  <a:gd name="T37" fmla="*/ 17 h 30"/>
                  <a:gd name="T38" fmla="*/ 77 w 103"/>
                  <a:gd name="T39" fmla="*/ 16 h 30"/>
                  <a:gd name="T40" fmla="*/ 80 w 103"/>
                  <a:gd name="T41" fmla="*/ 16 h 30"/>
                  <a:gd name="T42" fmla="*/ 80 w 103"/>
                  <a:gd name="T43" fmla="*/ 17 h 30"/>
                  <a:gd name="T44" fmla="*/ 81 w 103"/>
                  <a:gd name="T45" fmla="*/ 17 h 30"/>
                  <a:gd name="T46" fmla="*/ 77 w 103"/>
                  <a:gd name="T47" fmla="*/ 17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3" h="30">
                    <a:moveTo>
                      <a:pt x="81" y="16"/>
                    </a:moveTo>
                    <a:cubicBezTo>
                      <a:pt x="81" y="15"/>
                      <a:pt x="81" y="15"/>
                      <a:pt x="81" y="15"/>
                    </a:cubicBezTo>
                    <a:cubicBezTo>
                      <a:pt x="78" y="13"/>
                      <a:pt x="74" y="11"/>
                      <a:pt x="71" y="10"/>
                    </a:cubicBezTo>
                    <a:cubicBezTo>
                      <a:pt x="65" y="8"/>
                      <a:pt x="59" y="6"/>
                      <a:pt x="53" y="4"/>
                    </a:cubicBezTo>
                    <a:cubicBezTo>
                      <a:pt x="45" y="3"/>
                      <a:pt x="37" y="1"/>
                      <a:pt x="29" y="0"/>
                    </a:cubicBezTo>
                    <a:cubicBezTo>
                      <a:pt x="22" y="0"/>
                      <a:pt x="16" y="0"/>
                      <a:pt x="10" y="3"/>
                    </a:cubicBezTo>
                    <a:cubicBezTo>
                      <a:pt x="5" y="6"/>
                      <a:pt x="0" y="12"/>
                      <a:pt x="2" y="18"/>
                    </a:cubicBezTo>
                    <a:cubicBezTo>
                      <a:pt x="7" y="30"/>
                      <a:pt x="25" y="28"/>
                      <a:pt x="34" y="26"/>
                    </a:cubicBezTo>
                    <a:cubicBezTo>
                      <a:pt x="42" y="24"/>
                      <a:pt x="49" y="21"/>
                      <a:pt x="57" y="19"/>
                    </a:cubicBezTo>
                    <a:cubicBezTo>
                      <a:pt x="59" y="18"/>
                      <a:pt x="62" y="18"/>
                      <a:pt x="64" y="17"/>
                    </a:cubicBezTo>
                    <a:cubicBezTo>
                      <a:pt x="67" y="18"/>
                      <a:pt x="70" y="18"/>
                      <a:pt x="73" y="19"/>
                    </a:cubicBezTo>
                    <a:cubicBezTo>
                      <a:pt x="74" y="19"/>
                      <a:pt x="74" y="19"/>
                      <a:pt x="75" y="19"/>
                    </a:cubicBezTo>
                    <a:cubicBezTo>
                      <a:pt x="76" y="19"/>
                      <a:pt x="77" y="19"/>
                      <a:pt x="78" y="19"/>
                    </a:cubicBezTo>
                    <a:cubicBezTo>
                      <a:pt x="81" y="20"/>
                      <a:pt x="84" y="21"/>
                      <a:pt x="87" y="21"/>
                    </a:cubicBezTo>
                    <a:cubicBezTo>
                      <a:pt x="92" y="24"/>
                      <a:pt x="97" y="27"/>
                      <a:pt x="102" y="28"/>
                    </a:cubicBezTo>
                    <a:cubicBezTo>
                      <a:pt x="102" y="28"/>
                      <a:pt x="103" y="28"/>
                      <a:pt x="102" y="27"/>
                    </a:cubicBezTo>
                    <a:cubicBezTo>
                      <a:pt x="96" y="22"/>
                      <a:pt x="88" y="19"/>
                      <a:pt x="81" y="16"/>
                    </a:cubicBezTo>
                    <a:close/>
                    <a:moveTo>
                      <a:pt x="77" y="17"/>
                    </a:moveTo>
                    <a:cubicBezTo>
                      <a:pt x="77" y="17"/>
                      <a:pt x="77" y="17"/>
                      <a:pt x="77" y="17"/>
                    </a:cubicBezTo>
                    <a:cubicBezTo>
                      <a:pt x="77" y="16"/>
                      <a:pt x="77" y="16"/>
                      <a:pt x="77" y="16"/>
                    </a:cubicBezTo>
                    <a:cubicBezTo>
                      <a:pt x="78" y="16"/>
                      <a:pt x="79" y="16"/>
                      <a:pt x="80" y="16"/>
                    </a:cubicBezTo>
                    <a:cubicBezTo>
                      <a:pt x="79" y="16"/>
                      <a:pt x="80" y="17"/>
                      <a:pt x="80" y="17"/>
                    </a:cubicBezTo>
                    <a:cubicBezTo>
                      <a:pt x="80" y="17"/>
                      <a:pt x="80" y="17"/>
                      <a:pt x="81" y="17"/>
                    </a:cubicBezTo>
                    <a:cubicBezTo>
                      <a:pt x="79" y="17"/>
                      <a:pt x="78" y="17"/>
                      <a:pt x="77" y="17"/>
                    </a:cubicBezTo>
                    <a:close/>
                  </a:path>
                </a:pathLst>
              </a:custGeom>
              <a:solidFill>
                <a:srgbClr val="4E16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2" name="Freeform 60">
                <a:extLst>
                  <a:ext uri="{FF2B5EF4-FFF2-40B4-BE49-F238E27FC236}">
                    <a16:creationId xmlns:a16="http://schemas.microsoft.com/office/drawing/2014/main" id="{AB717B1D-EF62-4A23-A0D1-92B7764487BD}"/>
                  </a:ext>
                </a:extLst>
              </p:cNvPr>
              <p:cNvSpPr>
                <a:spLocks/>
              </p:cNvSpPr>
              <p:nvPr/>
            </p:nvSpPr>
            <p:spPr bwMode="auto">
              <a:xfrm>
                <a:off x="1222375" y="2486025"/>
                <a:ext cx="158750" cy="122237"/>
              </a:xfrm>
              <a:custGeom>
                <a:avLst/>
                <a:gdLst>
                  <a:gd name="T0" fmla="*/ 56 w 77"/>
                  <a:gd name="T1" fmla="*/ 43 h 59"/>
                  <a:gd name="T2" fmla="*/ 75 w 77"/>
                  <a:gd name="T3" fmla="*/ 58 h 59"/>
                  <a:gd name="T4" fmla="*/ 77 w 77"/>
                  <a:gd name="T5" fmla="*/ 58 h 59"/>
                  <a:gd name="T6" fmla="*/ 76 w 77"/>
                  <a:gd name="T7" fmla="*/ 56 h 59"/>
                  <a:gd name="T8" fmla="*/ 77 w 77"/>
                  <a:gd name="T9" fmla="*/ 56 h 59"/>
                  <a:gd name="T10" fmla="*/ 77 w 77"/>
                  <a:gd name="T11" fmla="*/ 55 h 59"/>
                  <a:gd name="T12" fmla="*/ 76 w 77"/>
                  <a:gd name="T13" fmla="*/ 54 h 59"/>
                  <a:gd name="T14" fmla="*/ 59 w 77"/>
                  <a:gd name="T15" fmla="*/ 33 h 59"/>
                  <a:gd name="T16" fmla="*/ 59 w 77"/>
                  <a:gd name="T17" fmla="*/ 33 h 59"/>
                  <a:gd name="T18" fmla="*/ 43 w 77"/>
                  <a:gd name="T19" fmla="*/ 18 h 59"/>
                  <a:gd name="T20" fmla="*/ 25 w 77"/>
                  <a:gd name="T21" fmla="*/ 4 h 59"/>
                  <a:gd name="T22" fmla="*/ 4 w 77"/>
                  <a:gd name="T23" fmla="*/ 17 h 59"/>
                  <a:gd name="T24" fmla="*/ 37 w 77"/>
                  <a:gd name="T25" fmla="*/ 36 h 59"/>
                  <a:gd name="T26" fmla="*/ 56 w 77"/>
                  <a:gd name="T27" fmla="*/ 43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7" h="59">
                    <a:moveTo>
                      <a:pt x="56" y="43"/>
                    </a:moveTo>
                    <a:cubicBezTo>
                      <a:pt x="64" y="47"/>
                      <a:pt x="70" y="52"/>
                      <a:pt x="75" y="58"/>
                    </a:cubicBezTo>
                    <a:cubicBezTo>
                      <a:pt x="76" y="59"/>
                      <a:pt x="77" y="58"/>
                      <a:pt x="77" y="58"/>
                    </a:cubicBezTo>
                    <a:cubicBezTo>
                      <a:pt x="76" y="57"/>
                      <a:pt x="76" y="57"/>
                      <a:pt x="76" y="56"/>
                    </a:cubicBezTo>
                    <a:cubicBezTo>
                      <a:pt x="76" y="57"/>
                      <a:pt x="77" y="56"/>
                      <a:pt x="77" y="56"/>
                    </a:cubicBezTo>
                    <a:cubicBezTo>
                      <a:pt x="77" y="55"/>
                      <a:pt x="77" y="55"/>
                      <a:pt x="77" y="55"/>
                    </a:cubicBezTo>
                    <a:cubicBezTo>
                      <a:pt x="77" y="54"/>
                      <a:pt x="77" y="54"/>
                      <a:pt x="76" y="54"/>
                    </a:cubicBezTo>
                    <a:cubicBezTo>
                      <a:pt x="73" y="46"/>
                      <a:pt x="67" y="38"/>
                      <a:pt x="59" y="33"/>
                    </a:cubicBezTo>
                    <a:cubicBezTo>
                      <a:pt x="59" y="33"/>
                      <a:pt x="59" y="33"/>
                      <a:pt x="59" y="33"/>
                    </a:cubicBezTo>
                    <a:cubicBezTo>
                      <a:pt x="54" y="28"/>
                      <a:pt x="49" y="23"/>
                      <a:pt x="43" y="18"/>
                    </a:cubicBezTo>
                    <a:cubicBezTo>
                      <a:pt x="37" y="13"/>
                      <a:pt x="32" y="7"/>
                      <a:pt x="25" y="4"/>
                    </a:cubicBezTo>
                    <a:cubicBezTo>
                      <a:pt x="16" y="0"/>
                      <a:pt x="0" y="5"/>
                      <a:pt x="4" y="17"/>
                    </a:cubicBezTo>
                    <a:cubicBezTo>
                      <a:pt x="8" y="30"/>
                      <a:pt x="26" y="32"/>
                      <a:pt x="37" y="36"/>
                    </a:cubicBezTo>
                    <a:cubicBezTo>
                      <a:pt x="43" y="38"/>
                      <a:pt x="50" y="40"/>
                      <a:pt x="56" y="43"/>
                    </a:cubicBezTo>
                    <a:close/>
                  </a:path>
                </a:pathLst>
              </a:custGeom>
              <a:solidFill>
                <a:srgbClr val="4E16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3" name="Freeform 61">
                <a:extLst>
                  <a:ext uri="{FF2B5EF4-FFF2-40B4-BE49-F238E27FC236}">
                    <a16:creationId xmlns:a16="http://schemas.microsoft.com/office/drawing/2014/main" id="{08323D44-1898-4CB4-9154-7C0D989B43A8}"/>
                  </a:ext>
                </a:extLst>
              </p:cNvPr>
              <p:cNvSpPr>
                <a:spLocks/>
              </p:cNvSpPr>
              <p:nvPr/>
            </p:nvSpPr>
            <p:spPr bwMode="auto">
              <a:xfrm>
                <a:off x="1401763" y="2327275"/>
                <a:ext cx="138113" cy="130175"/>
              </a:xfrm>
              <a:custGeom>
                <a:avLst/>
                <a:gdLst>
                  <a:gd name="T0" fmla="*/ 55 w 66"/>
                  <a:gd name="T1" fmla="*/ 10 h 63"/>
                  <a:gd name="T2" fmla="*/ 35 w 66"/>
                  <a:gd name="T3" fmla="*/ 0 h 63"/>
                  <a:gd name="T4" fmla="*/ 19 w 66"/>
                  <a:gd name="T5" fmla="*/ 5 h 63"/>
                  <a:gd name="T6" fmla="*/ 6 w 66"/>
                  <a:gd name="T7" fmla="*/ 18 h 63"/>
                  <a:gd name="T8" fmla="*/ 2 w 66"/>
                  <a:gd name="T9" fmla="*/ 41 h 63"/>
                  <a:gd name="T10" fmla="*/ 11 w 66"/>
                  <a:gd name="T11" fmla="*/ 54 h 63"/>
                  <a:gd name="T12" fmla="*/ 13 w 66"/>
                  <a:gd name="T13" fmla="*/ 56 h 63"/>
                  <a:gd name="T14" fmla="*/ 15 w 66"/>
                  <a:gd name="T15" fmla="*/ 57 h 63"/>
                  <a:gd name="T16" fmla="*/ 18 w 66"/>
                  <a:gd name="T17" fmla="*/ 59 h 63"/>
                  <a:gd name="T18" fmla="*/ 31 w 66"/>
                  <a:gd name="T19" fmla="*/ 63 h 63"/>
                  <a:gd name="T20" fmla="*/ 41 w 66"/>
                  <a:gd name="T21" fmla="*/ 62 h 63"/>
                  <a:gd name="T22" fmla="*/ 64 w 66"/>
                  <a:gd name="T23" fmla="*/ 41 h 63"/>
                  <a:gd name="T24" fmla="*/ 63 w 66"/>
                  <a:gd name="T25" fmla="*/ 24 h 63"/>
                  <a:gd name="T26" fmla="*/ 55 w 66"/>
                  <a:gd name="T27" fmla="*/ 1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6" h="63">
                    <a:moveTo>
                      <a:pt x="55" y="10"/>
                    </a:moveTo>
                    <a:cubicBezTo>
                      <a:pt x="49" y="5"/>
                      <a:pt x="43" y="0"/>
                      <a:pt x="35" y="0"/>
                    </a:cubicBezTo>
                    <a:cubicBezTo>
                      <a:pt x="29" y="1"/>
                      <a:pt x="24" y="3"/>
                      <a:pt x="19" y="5"/>
                    </a:cubicBezTo>
                    <a:cubicBezTo>
                      <a:pt x="13" y="8"/>
                      <a:pt x="9" y="12"/>
                      <a:pt x="6" y="18"/>
                    </a:cubicBezTo>
                    <a:cubicBezTo>
                      <a:pt x="2" y="24"/>
                      <a:pt x="0" y="32"/>
                      <a:pt x="2" y="41"/>
                    </a:cubicBezTo>
                    <a:cubicBezTo>
                      <a:pt x="4" y="46"/>
                      <a:pt x="7" y="51"/>
                      <a:pt x="11" y="54"/>
                    </a:cubicBezTo>
                    <a:cubicBezTo>
                      <a:pt x="12" y="55"/>
                      <a:pt x="12" y="56"/>
                      <a:pt x="13" y="56"/>
                    </a:cubicBezTo>
                    <a:cubicBezTo>
                      <a:pt x="14" y="57"/>
                      <a:pt x="14" y="57"/>
                      <a:pt x="15" y="57"/>
                    </a:cubicBezTo>
                    <a:cubicBezTo>
                      <a:pt x="16" y="58"/>
                      <a:pt x="17" y="58"/>
                      <a:pt x="18" y="59"/>
                    </a:cubicBezTo>
                    <a:cubicBezTo>
                      <a:pt x="22" y="61"/>
                      <a:pt x="26" y="62"/>
                      <a:pt x="31" y="63"/>
                    </a:cubicBezTo>
                    <a:cubicBezTo>
                      <a:pt x="35" y="63"/>
                      <a:pt x="38" y="63"/>
                      <a:pt x="41" y="62"/>
                    </a:cubicBezTo>
                    <a:cubicBezTo>
                      <a:pt x="52" y="60"/>
                      <a:pt x="61" y="52"/>
                      <a:pt x="64" y="41"/>
                    </a:cubicBezTo>
                    <a:cubicBezTo>
                      <a:pt x="66" y="35"/>
                      <a:pt x="65" y="29"/>
                      <a:pt x="63" y="24"/>
                    </a:cubicBezTo>
                    <a:cubicBezTo>
                      <a:pt x="62" y="18"/>
                      <a:pt x="59" y="14"/>
                      <a:pt x="55" y="10"/>
                    </a:cubicBezTo>
                    <a:close/>
                  </a:path>
                </a:pathLst>
              </a:custGeom>
              <a:solidFill>
                <a:srgbClr val="8C1A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4" name="Freeform 62">
                <a:extLst>
                  <a:ext uri="{FF2B5EF4-FFF2-40B4-BE49-F238E27FC236}">
                    <a16:creationId xmlns:a16="http://schemas.microsoft.com/office/drawing/2014/main" id="{8B8C3CD6-CDB6-43CE-BDF8-418AC3AAA1CE}"/>
                  </a:ext>
                </a:extLst>
              </p:cNvPr>
              <p:cNvSpPr>
                <a:spLocks/>
              </p:cNvSpPr>
              <p:nvPr/>
            </p:nvSpPr>
            <p:spPr bwMode="auto">
              <a:xfrm>
                <a:off x="1444625" y="2474913"/>
                <a:ext cx="147638" cy="163512"/>
              </a:xfrm>
              <a:custGeom>
                <a:avLst/>
                <a:gdLst>
                  <a:gd name="T0" fmla="*/ 29 w 72"/>
                  <a:gd name="T1" fmla="*/ 1 h 79"/>
                  <a:gd name="T2" fmla="*/ 10 w 72"/>
                  <a:gd name="T3" fmla="*/ 14 h 79"/>
                  <a:gd name="T4" fmla="*/ 10 w 72"/>
                  <a:gd name="T5" fmla="*/ 61 h 79"/>
                  <a:gd name="T6" fmla="*/ 46 w 72"/>
                  <a:gd name="T7" fmla="*/ 72 h 79"/>
                  <a:gd name="T8" fmla="*/ 68 w 72"/>
                  <a:gd name="T9" fmla="*/ 53 h 79"/>
                  <a:gd name="T10" fmla="*/ 52 w 72"/>
                  <a:gd name="T11" fmla="*/ 6 h 79"/>
                  <a:gd name="T12" fmla="*/ 29 w 72"/>
                  <a:gd name="T13" fmla="*/ 1 h 79"/>
                </a:gdLst>
                <a:ahLst/>
                <a:cxnLst>
                  <a:cxn ang="0">
                    <a:pos x="T0" y="T1"/>
                  </a:cxn>
                  <a:cxn ang="0">
                    <a:pos x="T2" y="T3"/>
                  </a:cxn>
                  <a:cxn ang="0">
                    <a:pos x="T4" y="T5"/>
                  </a:cxn>
                  <a:cxn ang="0">
                    <a:pos x="T6" y="T7"/>
                  </a:cxn>
                  <a:cxn ang="0">
                    <a:pos x="T8" y="T9"/>
                  </a:cxn>
                  <a:cxn ang="0">
                    <a:pos x="T10" y="T11"/>
                  </a:cxn>
                  <a:cxn ang="0">
                    <a:pos x="T12" y="T13"/>
                  </a:cxn>
                </a:cxnLst>
                <a:rect l="0" t="0" r="r" b="b"/>
                <a:pathLst>
                  <a:path w="72" h="79">
                    <a:moveTo>
                      <a:pt x="29" y="1"/>
                    </a:moveTo>
                    <a:cubicBezTo>
                      <a:pt x="21" y="2"/>
                      <a:pt x="15" y="7"/>
                      <a:pt x="10" y="14"/>
                    </a:cubicBezTo>
                    <a:cubicBezTo>
                      <a:pt x="2" y="28"/>
                      <a:pt x="0" y="47"/>
                      <a:pt x="10" y="61"/>
                    </a:cubicBezTo>
                    <a:cubicBezTo>
                      <a:pt x="17" y="72"/>
                      <a:pt x="33" y="79"/>
                      <a:pt x="46" y="72"/>
                    </a:cubicBezTo>
                    <a:cubicBezTo>
                      <a:pt x="56" y="71"/>
                      <a:pt x="65" y="64"/>
                      <a:pt x="68" y="53"/>
                    </a:cubicBezTo>
                    <a:cubicBezTo>
                      <a:pt x="72" y="38"/>
                      <a:pt x="64" y="17"/>
                      <a:pt x="52" y="6"/>
                    </a:cubicBezTo>
                    <a:cubicBezTo>
                      <a:pt x="46" y="1"/>
                      <a:pt x="37" y="0"/>
                      <a:pt x="29" y="1"/>
                    </a:cubicBezTo>
                    <a:close/>
                  </a:path>
                </a:pathLst>
              </a:custGeom>
              <a:solidFill>
                <a:srgbClr val="8C1A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5" name="Freeform 63">
                <a:extLst>
                  <a:ext uri="{FF2B5EF4-FFF2-40B4-BE49-F238E27FC236}">
                    <a16:creationId xmlns:a16="http://schemas.microsoft.com/office/drawing/2014/main" id="{62492504-C4ED-4180-BBA3-726A8088C495}"/>
                  </a:ext>
                </a:extLst>
              </p:cNvPr>
              <p:cNvSpPr>
                <a:spLocks/>
              </p:cNvSpPr>
              <p:nvPr/>
            </p:nvSpPr>
            <p:spPr bwMode="auto">
              <a:xfrm>
                <a:off x="1247775" y="2190751"/>
                <a:ext cx="112713" cy="144462"/>
              </a:xfrm>
              <a:custGeom>
                <a:avLst/>
                <a:gdLst>
                  <a:gd name="T0" fmla="*/ 53 w 55"/>
                  <a:gd name="T1" fmla="*/ 35 h 70"/>
                  <a:gd name="T2" fmla="*/ 41 w 55"/>
                  <a:gd name="T3" fmla="*/ 8 h 70"/>
                  <a:gd name="T4" fmla="*/ 18 w 55"/>
                  <a:gd name="T5" fmla="*/ 3 h 70"/>
                  <a:gd name="T6" fmla="*/ 3 w 55"/>
                  <a:gd name="T7" fmla="*/ 22 h 70"/>
                  <a:gd name="T8" fmla="*/ 0 w 55"/>
                  <a:gd name="T9" fmla="*/ 37 h 70"/>
                  <a:gd name="T10" fmla="*/ 2 w 55"/>
                  <a:gd name="T11" fmla="*/ 43 h 70"/>
                  <a:gd name="T12" fmla="*/ 3 w 55"/>
                  <a:gd name="T13" fmla="*/ 50 h 70"/>
                  <a:gd name="T14" fmla="*/ 22 w 55"/>
                  <a:gd name="T15" fmla="*/ 69 h 70"/>
                  <a:gd name="T16" fmla="*/ 49 w 55"/>
                  <a:gd name="T17" fmla="*/ 60 h 70"/>
                  <a:gd name="T18" fmla="*/ 53 w 55"/>
                  <a:gd name="T19" fmla="*/ 35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5" h="70">
                    <a:moveTo>
                      <a:pt x="53" y="35"/>
                    </a:moveTo>
                    <a:cubicBezTo>
                      <a:pt x="52" y="25"/>
                      <a:pt x="49" y="15"/>
                      <a:pt x="41" y="8"/>
                    </a:cubicBezTo>
                    <a:cubicBezTo>
                      <a:pt x="35" y="3"/>
                      <a:pt x="26" y="0"/>
                      <a:pt x="18" y="3"/>
                    </a:cubicBezTo>
                    <a:cubicBezTo>
                      <a:pt x="10" y="6"/>
                      <a:pt x="6" y="14"/>
                      <a:pt x="3" y="22"/>
                    </a:cubicBezTo>
                    <a:cubicBezTo>
                      <a:pt x="2" y="27"/>
                      <a:pt x="0" y="32"/>
                      <a:pt x="0" y="37"/>
                    </a:cubicBezTo>
                    <a:cubicBezTo>
                      <a:pt x="1" y="39"/>
                      <a:pt x="1" y="41"/>
                      <a:pt x="2" y="43"/>
                    </a:cubicBezTo>
                    <a:cubicBezTo>
                      <a:pt x="2" y="45"/>
                      <a:pt x="3" y="47"/>
                      <a:pt x="3" y="50"/>
                    </a:cubicBezTo>
                    <a:cubicBezTo>
                      <a:pt x="6" y="60"/>
                      <a:pt x="12" y="67"/>
                      <a:pt x="22" y="69"/>
                    </a:cubicBezTo>
                    <a:cubicBezTo>
                      <a:pt x="32" y="70"/>
                      <a:pt x="42" y="67"/>
                      <a:pt x="49" y="60"/>
                    </a:cubicBezTo>
                    <a:cubicBezTo>
                      <a:pt x="55" y="53"/>
                      <a:pt x="55" y="44"/>
                      <a:pt x="53" y="35"/>
                    </a:cubicBezTo>
                    <a:close/>
                  </a:path>
                </a:pathLst>
              </a:custGeom>
              <a:solidFill>
                <a:srgbClr val="8C1A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6" name="Freeform 64">
                <a:extLst>
                  <a:ext uri="{FF2B5EF4-FFF2-40B4-BE49-F238E27FC236}">
                    <a16:creationId xmlns:a16="http://schemas.microsoft.com/office/drawing/2014/main" id="{EC603A80-A909-4F5E-87D7-1A698EF35249}"/>
                  </a:ext>
                </a:extLst>
              </p:cNvPr>
              <p:cNvSpPr>
                <a:spLocks/>
              </p:cNvSpPr>
              <p:nvPr/>
            </p:nvSpPr>
            <p:spPr bwMode="auto">
              <a:xfrm>
                <a:off x="1289050" y="2201863"/>
                <a:ext cx="22225" cy="12700"/>
              </a:xfrm>
              <a:custGeom>
                <a:avLst/>
                <a:gdLst>
                  <a:gd name="T0" fmla="*/ 8 w 11"/>
                  <a:gd name="T1" fmla="*/ 1 h 6"/>
                  <a:gd name="T2" fmla="*/ 6 w 11"/>
                  <a:gd name="T3" fmla="*/ 0 h 6"/>
                  <a:gd name="T4" fmla="*/ 5 w 11"/>
                  <a:gd name="T5" fmla="*/ 1 h 6"/>
                  <a:gd name="T6" fmla="*/ 4 w 11"/>
                  <a:gd name="T7" fmla="*/ 1 h 6"/>
                  <a:gd name="T8" fmla="*/ 1 w 11"/>
                  <a:gd name="T9" fmla="*/ 1 h 6"/>
                  <a:gd name="T10" fmla="*/ 1 w 11"/>
                  <a:gd name="T11" fmla="*/ 3 h 6"/>
                  <a:gd name="T12" fmla="*/ 1 w 11"/>
                  <a:gd name="T13" fmla="*/ 4 h 6"/>
                  <a:gd name="T14" fmla="*/ 1 w 11"/>
                  <a:gd name="T15" fmla="*/ 5 h 6"/>
                  <a:gd name="T16" fmla="*/ 4 w 11"/>
                  <a:gd name="T17" fmla="*/ 5 h 6"/>
                  <a:gd name="T18" fmla="*/ 5 w 11"/>
                  <a:gd name="T19" fmla="*/ 5 h 6"/>
                  <a:gd name="T20" fmla="*/ 6 w 11"/>
                  <a:gd name="T21" fmla="*/ 6 h 6"/>
                  <a:gd name="T22" fmla="*/ 9 w 11"/>
                  <a:gd name="T23" fmla="*/ 5 h 6"/>
                  <a:gd name="T24" fmla="*/ 8 w 11"/>
                  <a:gd name="T25" fmla="*/ 2 h 6"/>
                  <a:gd name="T26" fmla="*/ 8 w 11"/>
                  <a:gd name="T27"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 h="6">
                    <a:moveTo>
                      <a:pt x="8" y="1"/>
                    </a:moveTo>
                    <a:cubicBezTo>
                      <a:pt x="7" y="1"/>
                      <a:pt x="7" y="1"/>
                      <a:pt x="6" y="0"/>
                    </a:cubicBezTo>
                    <a:cubicBezTo>
                      <a:pt x="6" y="0"/>
                      <a:pt x="5" y="0"/>
                      <a:pt x="5" y="1"/>
                    </a:cubicBezTo>
                    <a:cubicBezTo>
                      <a:pt x="5" y="1"/>
                      <a:pt x="4" y="1"/>
                      <a:pt x="4" y="1"/>
                    </a:cubicBezTo>
                    <a:cubicBezTo>
                      <a:pt x="3" y="1"/>
                      <a:pt x="2" y="1"/>
                      <a:pt x="1" y="1"/>
                    </a:cubicBezTo>
                    <a:cubicBezTo>
                      <a:pt x="1" y="2"/>
                      <a:pt x="1" y="2"/>
                      <a:pt x="1" y="3"/>
                    </a:cubicBezTo>
                    <a:cubicBezTo>
                      <a:pt x="0" y="3"/>
                      <a:pt x="0" y="4"/>
                      <a:pt x="1" y="4"/>
                    </a:cubicBezTo>
                    <a:cubicBezTo>
                      <a:pt x="1" y="4"/>
                      <a:pt x="1" y="5"/>
                      <a:pt x="1" y="5"/>
                    </a:cubicBezTo>
                    <a:cubicBezTo>
                      <a:pt x="2" y="5"/>
                      <a:pt x="3" y="5"/>
                      <a:pt x="4" y="5"/>
                    </a:cubicBezTo>
                    <a:cubicBezTo>
                      <a:pt x="5" y="5"/>
                      <a:pt x="5" y="5"/>
                      <a:pt x="5" y="5"/>
                    </a:cubicBezTo>
                    <a:cubicBezTo>
                      <a:pt x="5" y="5"/>
                      <a:pt x="6" y="5"/>
                      <a:pt x="6" y="6"/>
                    </a:cubicBezTo>
                    <a:cubicBezTo>
                      <a:pt x="7" y="6"/>
                      <a:pt x="8" y="6"/>
                      <a:pt x="9" y="5"/>
                    </a:cubicBezTo>
                    <a:cubicBezTo>
                      <a:pt x="11" y="3"/>
                      <a:pt x="10" y="2"/>
                      <a:pt x="8" y="2"/>
                    </a:cubicBezTo>
                    <a:cubicBezTo>
                      <a:pt x="8" y="1"/>
                      <a:pt x="8" y="1"/>
                      <a:pt x="8" y="1"/>
                    </a:cubicBezTo>
                    <a:close/>
                  </a:path>
                </a:pathLst>
              </a:custGeom>
              <a:solidFill>
                <a:srgbClr val="3B0F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7" name="Freeform 65">
                <a:extLst>
                  <a:ext uri="{FF2B5EF4-FFF2-40B4-BE49-F238E27FC236}">
                    <a16:creationId xmlns:a16="http://schemas.microsoft.com/office/drawing/2014/main" id="{E66017B4-D9D2-4281-8BF1-C3A418E8BCD6}"/>
                  </a:ext>
                </a:extLst>
              </p:cNvPr>
              <p:cNvSpPr>
                <a:spLocks/>
              </p:cNvSpPr>
              <p:nvPr/>
            </p:nvSpPr>
            <p:spPr bwMode="auto">
              <a:xfrm>
                <a:off x="1493838" y="2347913"/>
                <a:ext cx="12700" cy="12700"/>
              </a:xfrm>
              <a:custGeom>
                <a:avLst/>
                <a:gdLst>
                  <a:gd name="T0" fmla="*/ 6 w 6"/>
                  <a:gd name="T1" fmla="*/ 3 h 6"/>
                  <a:gd name="T2" fmla="*/ 6 w 6"/>
                  <a:gd name="T3" fmla="*/ 2 h 6"/>
                  <a:gd name="T4" fmla="*/ 6 w 6"/>
                  <a:gd name="T5" fmla="*/ 2 h 6"/>
                  <a:gd name="T6" fmla="*/ 5 w 6"/>
                  <a:gd name="T7" fmla="*/ 2 h 6"/>
                  <a:gd name="T8" fmla="*/ 5 w 6"/>
                  <a:gd name="T9" fmla="*/ 2 h 6"/>
                  <a:gd name="T10" fmla="*/ 2 w 6"/>
                  <a:gd name="T11" fmla="*/ 0 h 6"/>
                  <a:gd name="T12" fmla="*/ 1 w 6"/>
                  <a:gd name="T13" fmla="*/ 2 h 6"/>
                  <a:gd name="T14" fmla="*/ 1 w 6"/>
                  <a:gd name="T15" fmla="*/ 2 h 6"/>
                  <a:gd name="T16" fmla="*/ 2 w 6"/>
                  <a:gd name="T17" fmla="*/ 4 h 6"/>
                  <a:gd name="T18" fmla="*/ 6 w 6"/>
                  <a:gd name="T19" fmla="*/ 5 h 6"/>
                  <a:gd name="T20" fmla="*/ 6 w 6"/>
                  <a:gd name="T21" fmla="*/ 4 h 6"/>
                  <a:gd name="T22" fmla="*/ 6 w 6"/>
                  <a:gd name="T23"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 h="6">
                    <a:moveTo>
                      <a:pt x="6" y="3"/>
                    </a:moveTo>
                    <a:cubicBezTo>
                      <a:pt x="6" y="3"/>
                      <a:pt x="6" y="2"/>
                      <a:pt x="6" y="2"/>
                    </a:cubicBezTo>
                    <a:cubicBezTo>
                      <a:pt x="6" y="2"/>
                      <a:pt x="6" y="2"/>
                      <a:pt x="6" y="2"/>
                    </a:cubicBezTo>
                    <a:cubicBezTo>
                      <a:pt x="6" y="2"/>
                      <a:pt x="6" y="2"/>
                      <a:pt x="5" y="2"/>
                    </a:cubicBezTo>
                    <a:cubicBezTo>
                      <a:pt x="5" y="2"/>
                      <a:pt x="5" y="2"/>
                      <a:pt x="5" y="2"/>
                    </a:cubicBezTo>
                    <a:cubicBezTo>
                      <a:pt x="5" y="1"/>
                      <a:pt x="4" y="0"/>
                      <a:pt x="2" y="0"/>
                    </a:cubicBezTo>
                    <a:cubicBezTo>
                      <a:pt x="1" y="0"/>
                      <a:pt x="0" y="1"/>
                      <a:pt x="1" y="2"/>
                    </a:cubicBezTo>
                    <a:cubicBezTo>
                      <a:pt x="1" y="2"/>
                      <a:pt x="1" y="2"/>
                      <a:pt x="1" y="2"/>
                    </a:cubicBezTo>
                    <a:cubicBezTo>
                      <a:pt x="1" y="2"/>
                      <a:pt x="2" y="3"/>
                      <a:pt x="2" y="4"/>
                    </a:cubicBezTo>
                    <a:cubicBezTo>
                      <a:pt x="3" y="5"/>
                      <a:pt x="5" y="6"/>
                      <a:pt x="6" y="5"/>
                    </a:cubicBezTo>
                    <a:cubicBezTo>
                      <a:pt x="6" y="5"/>
                      <a:pt x="6" y="4"/>
                      <a:pt x="6" y="4"/>
                    </a:cubicBezTo>
                    <a:cubicBezTo>
                      <a:pt x="6" y="4"/>
                      <a:pt x="6" y="3"/>
                      <a:pt x="6" y="3"/>
                    </a:cubicBezTo>
                    <a:close/>
                  </a:path>
                </a:pathLst>
              </a:custGeom>
              <a:solidFill>
                <a:srgbClr val="3B0F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8" name="Freeform 66">
                <a:extLst>
                  <a:ext uri="{FF2B5EF4-FFF2-40B4-BE49-F238E27FC236}">
                    <a16:creationId xmlns:a16="http://schemas.microsoft.com/office/drawing/2014/main" id="{12C1E6D1-B402-42F8-828D-3A5F1B1038E0}"/>
                  </a:ext>
                </a:extLst>
              </p:cNvPr>
              <p:cNvSpPr>
                <a:spLocks/>
              </p:cNvSpPr>
              <p:nvPr/>
            </p:nvSpPr>
            <p:spPr bwMode="auto">
              <a:xfrm>
                <a:off x="1506538" y="2487613"/>
                <a:ext cx="17463" cy="7937"/>
              </a:xfrm>
              <a:custGeom>
                <a:avLst/>
                <a:gdLst>
                  <a:gd name="T0" fmla="*/ 9 w 9"/>
                  <a:gd name="T1" fmla="*/ 1 h 4"/>
                  <a:gd name="T2" fmla="*/ 9 w 9"/>
                  <a:gd name="T3" fmla="*/ 1 h 4"/>
                  <a:gd name="T4" fmla="*/ 6 w 9"/>
                  <a:gd name="T5" fmla="*/ 0 h 4"/>
                  <a:gd name="T6" fmla="*/ 1 w 9"/>
                  <a:gd name="T7" fmla="*/ 1 h 4"/>
                  <a:gd name="T8" fmla="*/ 0 w 9"/>
                  <a:gd name="T9" fmla="*/ 2 h 4"/>
                  <a:gd name="T10" fmla="*/ 0 w 9"/>
                  <a:gd name="T11" fmla="*/ 2 h 4"/>
                  <a:gd name="T12" fmla="*/ 1 w 9"/>
                  <a:gd name="T13" fmla="*/ 3 h 4"/>
                  <a:gd name="T14" fmla="*/ 1 w 9"/>
                  <a:gd name="T15" fmla="*/ 3 h 4"/>
                  <a:gd name="T16" fmla="*/ 1 w 9"/>
                  <a:gd name="T17" fmla="*/ 4 h 4"/>
                  <a:gd name="T18" fmla="*/ 2 w 9"/>
                  <a:gd name="T19" fmla="*/ 4 h 4"/>
                  <a:gd name="T20" fmla="*/ 7 w 9"/>
                  <a:gd name="T21" fmla="*/ 4 h 4"/>
                  <a:gd name="T22" fmla="*/ 8 w 9"/>
                  <a:gd name="T23" fmla="*/ 4 h 4"/>
                  <a:gd name="T24" fmla="*/ 8 w 9"/>
                  <a:gd name="T25" fmla="*/ 4 h 4"/>
                  <a:gd name="T26" fmla="*/ 9 w 9"/>
                  <a:gd name="T27" fmla="*/ 3 h 4"/>
                  <a:gd name="T28" fmla="*/ 9 w 9"/>
                  <a:gd name="T29" fmla="*/ 3 h 4"/>
                  <a:gd name="T30" fmla="*/ 9 w 9"/>
                  <a:gd name="T31" fmla="*/ 2 h 4"/>
                  <a:gd name="T32" fmla="*/ 9 w 9"/>
                  <a:gd name="T33" fmla="*/ 1 h 4"/>
                  <a:gd name="T34" fmla="*/ 9 w 9"/>
                  <a:gd name="T35" fmla="*/ 1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 h="4">
                    <a:moveTo>
                      <a:pt x="9" y="1"/>
                    </a:moveTo>
                    <a:cubicBezTo>
                      <a:pt x="9" y="1"/>
                      <a:pt x="9" y="1"/>
                      <a:pt x="9" y="1"/>
                    </a:cubicBezTo>
                    <a:cubicBezTo>
                      <a:pt x="8" y="0"/>
                      <a:pt x="7" y="0"/>
                      <a:pt x="6" y="0"/>
                    </a:cubicBezTo>
                    <a:cubicBezTo>
                      <a:pt x="4" y="0"/>
                      <a:pt x="2" y="0"/>
                      <a:pt x="1" y="1"/>
                    </a:cubicBezTo>
                    <a:cubicBezTo>
                      <a:pt x="0" y="1"/>
                      <a:pt x="0" y="1"/>
                      <a:pt x="0" y="2"/>
                    </a:cubicBezTo>
                    <a:cubicBezTo>
                      <a:pt x="0" y="2"/>
                      <a:pt x="0" y="2"/>
                      <a:pt x="0" y="2"/>
                    </a:cubicBezTo>
                    <a:cubicBezTo>
                      <a:pt x="1" y="2"/>
                      <a:pt x="1" y="3"/>
                      <a:pt x="1" y="3"/>
                    </a:cubicBezTo>
                    <a:cubicBezTo>
                      <a:pt x="1" y="3"/>
                      <a:pt x="0" y="3"/>
                      <a:pt x="1" y="3"/>
                    </a:cubicBezTo>
                    <a:cubicBezTo>
                      <a:pt x="1" y="3"/>
                      <a:pt x="1" y="3"/>
                      <a:pt x="1" y="4"/>
                    </a:cubicBezTo>
                    <a:cubicBezTo>
                      <a:pt x="1" y="4"/>
                      <a:pt x="1" y="4"/>
                      <a:pt x="2" y="4"/>
                    </a:cubicBezTo>
                    <a:cubicBezTo>
                      <a:pt x="3" y="4"/>
                      <a:pt x="5" y="4"/>
                      <a:pt x="7" y="4"/>
                    </a:cubicBezTo>
                    <a:cubicBezTo>
                      <a:pt x="7" y="4"/>
                      <a:pt x="7" y="4"/>
                      <a:pt x="8" y="4"/>
                    </a:cubicBezTo>
                    <a:cubicBezTo>
                      <a:pt x="8" y="4"/>
                      <a:pt x="8" y="4"/>
                      <a:pt x="8" y="4"/>
                    </a:cubicBezTo>
                    <a:cubicBezTo>
                      <a:pt x="9" y="4"/>
                      <a:pt x="9" y="3"/>
                      <a:pt x="9" y="3"/>
                    </a:cubicBezTo>
                    <a:cubicBezTo>
                      <a:pt x="9" y="3"/>
                      <a:pt x="9" y="3"/>
                      <a:pt x="9" y="3"/>
                    </a:cubicBezTo>
                    <a:cubicBezTo>
                      <a:pt x="9" y="3"/>
                      <a:pt x="9" y="2"/>
                      <a:pt x="9" y="2"/>
                    </a:cubicBezTo>
                    <a:cubicBezTo>
                      <a:pt x="9" y="2"/>
                      <a:pt x="9" y="2"/>
                      <a:pt x="9" y="1"/>
                    </a:cubicBezTo>
                    <a:cubicBezTo>
                      <a:pt x="9" y="1"/>
                      <a:pt x="9" y="1"/>
                      <a:pt x="9" y="1"/>
                    </a:cubicBezTo>
                    <a:close/>
                  </a:path>
                </a:pathLst>
              </a:custGeom>
              <a:solidFill>
                <a:srgbClr val="3B0F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9" name="Freeform 67">
                <a:extLst>
                  <a:ext uri="{FF2B5EF4-FFF2-40B4-BE49-F238E27FC236}">
                    <a16:creationId xmlns:a16="http://schemas.microsoft.com/office/drawing/2014/main" id="{E5C16091-F3B7-4568-8BDA-C48CA06C3225}"/>
                  </a:ext>
                </a:extLst>
              </p:cNvPr>
              <p:cNvSpPr>
                <a:spLocks/>
              </p:cNvSpPr>
              <p:nvPr/>
            </p:nvSpPr>
            <p:spPr bwMode="auto">
              <a:xfrm>
                <a:off x="1438275" y="2338388"/>
                <a:ext cx="30163" cy="20637"/>
              </a:xfrm>
              <a:custGeom>
                <a:avLst/>
                <a:gdLst>
                  <a:gd name="T0" fmla="*/ 14 w 15"/>
                  <a:gd name="T1" fmla="*/ 0 h 10"/>
                  <a:gd name="T2" fmla="*/ 0 w 15"/>
                  <a:gd name="T3" fmla="*/ 8 h 10"/>
                  <a:gd name="T4" fmla="*/ 2 w 15"/>
                  <a:gd name="T5" fmla="*/ 9 h 10"/>
                  <a:gd name="T6" fmla="*/ 14 w 15"/>
                  <a:gd name="T7" fmla="*/ 3 h 10"/>
                  <a:gd name="T8" fmla="*/ 14 w 15"/>
                  <a:gd name="T9" fmla="*/ 0 h 10"/>
                </a:gdLst>
                <a:ahLst/>
                <a:cxnLst>
                  <a:cxn ang="0">
                    <a:pos x="T0" y="T1"/>
                  </a:cxn>
                  <a:cxn ang="0">
                    <a:pos x="T2" y="T3"/>
                  </a:cxn>
                  <a:cxn ang="0">
                    <a:pos x="T4" y="T5"/>
                  </a:cxn>
                  <a:cxn ang="0">
                    <a:pos x="T6" y="T7"/>
                  </a:cxn>
                  <a:cxn ang="0">
                    <a:pos x="T8" y="T9"/>
                  </a:cxn>
                </a:cxnLst>
                <a:rect l="0" t="0" r="r" b="b"/>
                <a:pathLst>
                  <a:path w="15" h="10">
                    <a:moveTo>
                      <a:pt x="14" y="0"/>
                    </a:moveTo>
                    <a:cubicBezTo>
                      <a:pt x="8" y="1"/>
                      <a:pt x="3" y="3"/>
                      <a:pt x="0" y="8"/>
                    </a:cubicBezTo>
                    <a:cubicBezTo>
                      <a:pt x="0" y="9"/>
                      <a:pt x="1" y="10"/>
                      <a:pt x="2" y="9"/>
                    </a:cubicBezTo>
                    <a:cubicBezTo>
                      <a:pt x="6" y="6"/>
                      <a:pt x="9" y="3"/>
                      <a:pt x="14" y="3"/>
                    </a:cubicBezTo>
                    <a:cubicBezTo>
                      <a:pt x="15" y="2"/>
                      <a:pt x="15" y="0"/>
                      <a:pt x="14" y="0"/>
                    </a:cubicBezTo>
                    <a:close/>
                  </a:path>
                </a:pathLst>
              </a:custGeom>
              <a:solidFill>
                <a:srgbClr val="F8C3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40" name="Freeform 68">
                <a:extLst>
                  <a:ext uri="{FF2B5EF4-FFF2-40B4-BE49-F238E27FC236}">
                    <a16:creationId xmlns:a16="http://schemas.microsoft.com/office/drawing/2014/main" id="{9D32E743-BA6E-406E-883C-BAA7ADBC4E26}"/>
                  </a:ext>
                </a:extLst>
              </p:cNvPr>
              <p:cNvSpPr>
                <a:spLocks/>
              </p:cNvSpPr>
              <p:nvPr/>
            </p:nvSpPr>
            <p:spPr bwMode="auto">
              <a:xfrm>
                <a:off x="1427163" y="2360613"/>
                <a:ext cx="6350" cy="7937"/>
              </a:xfrm>
              <a:custGeom>
                <a:avLst/>
                <a:gdLst>
                  <a:gd name="T0" fmla="*/ 1 w 3"/>
                  <a:gd name="T1" fmla="*/ 1 h 4"/>
                  <a:gd name="T2" fmla="*/ 0 w 3"/>
                  <a:gd name="T3" fmla="*/ 3 h 4"/>
                  <a:gd name="T4" fmla="*/ 0 w 3"/>
                  <a:gd name="T5" fmla="*/ 3 h 4"/>
                  <a:gd name="T6" fmla="*/ 2 w 3"/>
                  <a:gd name="T7" fmla="*/ 2 h 4"/>
                  <a:gd name="T8" fmla="*/ 1 w 3"/>
                  <a:gd name="T9" fmla="*/ 1 h 4"/>
                </a:gdLst>
                <a:ahLst/>
                <a:cxnLst>
                  <a:cxn ang="0">
                    <a:pos x="T0" y="T1"/>
                  </a:cxn>
                  <a:cxn ang="0">
                    <a:pos x="T2" y="T3"/>
                  </a:cxn>
                  <a:cxn ang="0">
                    <a:pos x="T4" y="T5"/>
                  </a:cxn>
                  <a:cxn ang="0">
                    <a:pos x="T6" y="T7"/>
                  </a:cxn>
                  <a:cxn ang="0">
                    <a:pos x="T8" y="T9"/>
                  </a:cxn>
                </a:cxnLst>
                <a:rect l="0" t="0" r="r" b="b"/>
                <a:pathLst>
                  <a:path w="3" h="4">
                    <a:moveTo>
                      <a:pt x="1" y="1"/>
                    </a:moveTo>
                    <a:cubicBezTo>
                      <a:pt x="1" y="1"/>
                      <a:pt x="0" y="2"/>
                      <a:pt x="0" y="3"/>
                    </a:cubicBezTo>
                    <a:cubicBezTo>
                      <a:pt x="0" y="3"/>
                      <a:pt x="0" y="4"/>
                      <a:pt x="0" y="3"/>
                    </a:cubicBezTo>
                    <a:cubicBezTo>
                      <a:pt x="1" y="3"/>
                      <a:pt x="1" y="2"/>
                      <a:pt x="2" y="2"/>
                    </a:cubicBezTo>
                    <a:cubicBezTo>
                      <a:pt x="3" y="2"/>
                      <a:pt x="2" y="0"/>
                      <a:pt x="1" y="1"/>
                    </a:cubicBezTo>
                    <a:close/>
                  </a:path>
                </a:pathLst>
              </a:custGeom>
              <a:solidFill>
                <a:srgbClr val="F8C3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41" name="Freeform 69">
                <a:extLst>
                  <a:ext uri="{FF2B5EF4-FFF2-40B4-BE49-F238E27FC236}">
                    <a16:creationId xmlns:a16="http://schemas.microsoft.com/office/drawing/2014/main" id="{C0CAFDC7-7501-4DE4-8F84-D30F3AF0EC50}"/>
                  </a:ext>
                </a:extLst>
              </p:cNvPr>
              <p:cNvSpPr>
                <a:spLocks/>
              </p:cNvSpPr>
              <p:nvPr/>
            </p:nvSpPr>
            <p:spPr bwMode="auto">
              <a:xfrm>
                <a:off x="1544638" y="2495550"/>
                <a:ext cx="23813" cy="44450"/>
              </a:xfrm>
              <a:custGeom>
                <a:avLst/>
                <a:gdLst>
                  <a:gd name="T0" fmla="*/ 2 w 11"/>
                  <a:gd name="T1" fmla="*/ 1 h 21"/>
                  <a:gd name="T2" fmla="*/ 1 w 11"/>
                  <a:gd name="T3" fmla="*/ 2 h 21"/>
                  <a:gd name="T4" fmla="*/ 10 w 11"/>
                  <a:gd name="T5" fmla="*/ 21 h 21"/>
                  <a:gd name="T6" fmla="*/ 11 w 11"/>
                  <a:gd name="T7" fmla="*/ 21 h 21"/>
                  <a:gd name="T8" fmla="*/ 2 w 11"/>
                  <a:gd name="T9" fmla="*/ 1 h 21"/>
                </a:gdLst>
                <a:ahLst/>
                <a:cxnLst>
                  <a:cxn ang="0">
                    <a:pos x="T0" y="T1"/>
                  </a:cxn>
                  <a:cxn ang="0">
                    <a:pos x="T2" y="T3"/>
                  </a:cxn>
                  <a:cxn ang="0">
                    <a:pos x="T4" y="T5"/>
                  </a:cxn>
                  <a:cxn ang="0">
                    <a:pos x="T6" y="T7"/>
                  </a:cxn>
                  <a:cxn ang="0">
                    <a:pos x="T8" y="T9"/>
                  </a:cxn>
                </a:cxnLst>
                <a:rect l="0" t="0" r="r" b="b"/>
                <a:pathLst>
                  <a:path w="11" h="21">
                    <a:moveTo>
                      <a:pt x="2" y="1"/>
                    </a:moveTo>
                    <a:cubicBezTo>
                      <a:pt x="1" y="0"/>
                      <a:pt x="0" y="2"/>
                      <a:pt x="1" y="2"/>
                    </a:cubicBezTo>
                    <a:cubicBezTo>
                      <a:pt x="5" y="7"/>
                      <a:pt x="9" y="14"/>
                      <a:pt x="10" y="21"/>
                    </a:cubicBezTo>
                    <a:cubicBezTo>
                      <a:pt x="10" y="21"/>
                      <a:pt x="11" y="21"/>
                      <a:pt x="11" y="21"/>
                    </a:cubicBezTo>
                    <a:cubicBezTo>
                      <a:pt x="10" y="13"/>
                      <a:pt x="7" y="6"/>
                      <a:pt x="2" y="1"/>
                    </a:cubicBezTo>
                    <a:close/>
                  </a:path>
                </a:pathLst>
              </a:custGeom>
              <a:solidFill>
                <a:srgbClr val="F8C3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42" name="Freeform 70">
                <a:extLst>
                  <a:ext uri="{FF2B5EF4-FFF2-40B4-BE49-F238E27FC236}">
                    <a16:creationId xmlns:a16="http://schemas.microsoft.com/office/drawing/2014/main" id="{74DB2E4A-FE75-413A-AA6D-32FFC1693467}"/>
                  </a:ext>
                </a:extLst>
              </p:cNvPr>
              <p:cNvSpPr>
                <a:spLocks/>
              </p:cNvSpPr>
              <p:nvPr/>
            </p:nvSpPr>
            <p:spPr bwMode="auto">
              <a:xfrm>
                <a:off x="1568450" y="2546350"/>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8C3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43" name="Freeform 71">
                <a:extLst>
                  <a:ext uri="{FF2B5EF4-FFF2-40B4-BE49-F238E27FC236}">
                    <a16:creationId xmlns:a16="http://schemas.microsoft.com/office/drawing/2014/main" id="{4BE0E286-571B-4ED4-B2AF-183937DE23A6}"/>
                  </a:ext>
                </a:extLst>
              </p:cNvPr>
              <p:cNvSpPr>
                <a:spLocks/>
              </p:cNvSpPr>
              <p:nvPr/>
            </p:nvSpPr>
            <p:spPr bwMode="auto">
              <a:xfrm>
                <a:off x="1568450" y="2543175"/>
                <a:ext cx="0" cy="6350"/>
              </a:xfrm>
              <a:custGeom>
                <a:avLst/>
                <a:gdLst>
                  <a:gd name="T0" fmla="*/ 1 h 3"/>
                  <a:gd name="T1" fmla="*/ 3 h 3"/>
                  <a:gd name="T2" fmla="*/ 3 h 3"/>
                  <a:gd name="T3" fmla="*/ 1 h 3"/>
                  <a:gd name="T4" fmla="*/ 1 h 3"/>
                </a:gdLst>
                <a:ahLst/>
                <a:cxnLst>
                  <a:cxn ang="0">
                    <a:pos x="0" y="T0"/>
                  </a:cxn>
                  <a:cxn ang="0">
                    <a:pos x="0" y="T1"/>
                  </a:cxn>
                  <a:cxn ang="0">
                    <a:pos x="0" y="T2"/>
                  </a:cxn>
                  <a:cxn ang="0">
                    <a:pos x="0" y="T3"/>
                  </a:cxn>
                  <a:cxn ang="0">
                    <a:pos x="0" y="T4"/>
                  </a:cxn>
                </a:cxnLst>
                <a:rect l="0" t="0" r="r" b="b"/>
                <a:pathLst>
                  <a:path h="3">
                    <a:moveTo>
                      <a:pt x="0" y="1"/>
                    </a:moveTo>
                    <a:cubicBezTo>
                      <a:pt x="0" y="1"/>
                      <a:pt x="0" y="2"/>
                      <a:pt x="0" y="3"/>
                    </a:cubicBezTo>
                    <a:cubicBezTo>
                      <a:pt x="0" y="3"/>
                      <a:pt x="0" y="3"/>
                      <a:pt x="0" y="3"/>
                    </a:cubicBezTo>
                    <a:cubicBezTo>
                      <a:pt x="0" y="2"/>
                      <a:pt x="0" y="1"/>
                      <a:pt x="0" y="1"/>
                    </a:cubicBezTo>
                    <a:cubicBezTo>
                      <a:pt x="0" y="0"/>
                      <a:pt x="0" y="0"/>
                      <a:pt x="0" y="1"/>
                    </a:cubicBezTo>
                    <a:close/>
                  </a:path>
                </a:pathLst>
              </a:custGeom>
              <a:solidFill>
                <a:srgbClr val="F8C3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44" name="Freeform 72">
                <a:extLst>
                  <a:ext uri="{FF2B5EF4-FFF2-40B4-BE49-F238E27FC236}">
                    <a16:creationId xmlns:a16="http://schemas.microsoft.com/office/drawing/2014/main" id="{BD63B1A3-0EF6-4222-969B-988B31BF4ADC}"/>
                  </a:ext>
                </a:extLst>
              </p:cNvPr>
              <p:cNvSpPr>
                <a:spLocks/>
              </p:cNvSpPr>
              <p:nvPr/>
            </p:nvSpPr>
            <p:spPr bwMode="auto">
              <a:xfrm>
                <a:off x="1260475" y="2241550"/>
                <a:ext cx="4763" cy="28575"/>
              </a:xfrm>
              <a:custGeom>
                <a:avLst/>
                <a:gdLst>
                  <a:gd name="T0" fmla="*/ 1 w 3"/>
                  <a:gd name="T1" fmla="*/ 0 h 14"/>
                  <a:gd name="T2" fmla="*/ 0 w 3"/>
                  <a:gd name="T3" fmla="*/ 5 h 14"/>
                  <a:gd name="T4" fmla="*/ 1 w 3"/>
                  <a:gd name="T5" fmla="*/ 14 h 14"/>
                  <a:gd name="T6" fmla="*/ 2 w 3"/>
                  <a:gd name="T7" fmla="*/ 14 h 14"/>
                  <a:gd name="T8" fmla="*/ 1 w 3"/>
                  <a:gd name="T9" fmla="*/ 8 h 14"/>
                  <a:gd name="T10" fmla="*/ 2 w 3"/>
                  <a:gd name="T11" fmla="*/ 1 h 14"/>
                  <a:gd name="T12" fmla="*/ 1 w 3"/>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3" h="14">
                    <a:moveTo>
                      <a:pt x="1" y="0"/>
                    </a:moveTo>
                    <a:cubicBezTo>
                      <a:pt x="0" y="2"/>
                      <a:pt x="0" y="4"/>
                      <a:pt x="0" y="5"/>
                    </a:cubicBezTo>
                    <a:cubicBezTo>
                      <a:pt x="0" y="8"/>
                      <a:pt x="0" y="11"/>
                      <a:pt x="1" y="14"/>
                    </a:cubicBezTo>
                    <a:cubicBezTo>
                      <a:pt x="1" y="14"/>
                      <a:pt x="2" y="14"/>
                      <a:pt x="2" y="14"/>
                    </a:cubicBezTo>
                    <a:cubicBezTo>
                      <a:pt x="1" y="12"/>
                      <a:pt x="1" y="10"/>
                      <a:pt x="1" y="8"/>
                    </a:cubicBezTo>
                    <a:cubicBezTo>
                      <a:pt x="1" y="6"/>
                      <a:pt x="1" y="3"/>
                      <a:pt x="2" y="1"/>
                    </a:cubicBezTo>
                    <a:cubicBezTo>
                      <a:pt x="3" y="0"/>
                      <a:pt x="2" y="0"/>
                      <a:pt x="1" y="0"/>
                    </a:cubicBezTo>
                    <a:close/>
                  </a:path>
                </a:pathLst>
              </a:custGeom>
              <a:solidFill>
                <a:srgbClr val="F8C3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45" name="Freeform 73">
                <a:extLst>
                  <a:ext uri="{FF2B5EF4-FFF2-40B4-BE49-F238E27FC236}">
                    <a16:creationId xmlns:a16="http://schemas.microsoft.com/office/drawing/2014/main" id="{D862D647-3CB2-4FFF-817F-862C1A8802E4}"/>
                  </a:ext>
                </a:extLst>
              </p:cNvPr>
              <p:cNvSpPr>
                <a:spLocks/>
              </p:cNvSpPr>
              <p:nvPr/>
            </p:nvSpPr>
            <p:spPr bwMode="auto">
              <a:xfrm>
                <a:off x="1262063" y="2276475"/>
                <a:ext cx="3175" cy="6350"/>
              </a:xfrm>
              <a:custGeom>
                <a:avLst/>
                <a:gdLst>
                  <a:gd name="T0" fmla="*/ 1 w 2"/>
                  <a:gd name="T1" fmla="*/ 1 h 3"/>
                  <a:gd name="T2" fmla="*/ 1 w 2"/>
                  <a:gd name="T3" fmla="*/ 3 h 3"/>
                  <a:gd name="T4" fmla="*/ 2 w 2"/>
                  <a:gd name="T5" fmla="*/ 3 h 3"/>
                  <a:gd name="T6" fmla="*/ 2 w 2"/>
                  <a:gd name="T7" fmla="*/ 0 h 3"/>
                  <a:gd name="T8" fmla="*/ 1 w 2"/>
                  <a:gd name="T9" fmla="*/ 1 h 3"/>
                </a:gdLst>
                <a:ahLst/>
                <a:cxnLst>
                  <a:cxn ang="0">
                    <a:pos x="T0" y="T1"/>
                  </a:cxn>
                  <a:cxn ang="0">
                    <a:pos x="T2" y="T3"/>
                  </a:cxn>
                  <a:cxn ang="0">
                    <a:pos x="T4" y="T5"/>
                  </a:cxn>
                  <a:cxn ang="0">
                    <a:pos x="T6" y="T7"/>
                  </a:cxn>
                  <a:cxn ang="0">
                    <a:pos x="T8" y="T9"/>
                  </a:cxn>
                </a:cxnLst>
                <a:rect l="0" t="0" r="r" b="b"/>
                <a:pathLst>
                  <a:path w="2" h="3">
                    <a:moveTo>
                      <a:pt x="1" y="1"/>
                    </a:moveTo>
                    <a:cubicBezTo>
                      <a:pt x="1" y="1"/>
                      <a:pt x="1" y="2"/>
                      <a:pt x="1" y="3"/>
                    </a:cubicBezTo>
                    <a:cubicBezTo>
                      <a:pt x="1" y="3"/>
                      <a:pt x="2" y="3"/>
                      <a:pt x="2" y="3"/>
                    </a:cubicBezTo>
                    <a:cubicBezTo>
                      <a:pt x="2" y="2"/>
                      <a:pt x="2" y="1"/>
                      <a:pt x="2" y="0"/>
                    </a:cubicBezTo>
                    <a:cubicBezTo>
                      <a:pt x="1" y="0"/>
                      <a:pt x="0" y="0"/>
                      <a:pt x="1" y="1"/>
                    </a:cubicBezTo>
                    <a:close/>
                  </a:path>
                </a:pathLst>
              </a:custGeom>
              <a:solidFill>
                <a:srgbClr val="F8C3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46" name="Freeform 74">
                <a:extLst>
                  <a:ext uri="{FF2B5EF4-FFF2-40B4-BE49-F238E27FC236}">
                    <a16:creationId xmlns:a16="http://schemas.microsoft.com/office/drawing/2014/main" id="{47213801-9B21-423E-9F18-C3B8E0D14861}"/>
                  </a:ext>
                </a:extLst>
              </p:cNvPr>
              <p:cNvSpPr>
                <a:spLocks/>
              </p:cNvSpPr>
              <p:nvPr/>
            </p:nvSpPr>
            <p:spPr bwMode="auto">
              <a:xfrm>
                <a:off x="1298575" y="2327275"/>
                <a:ext cx="290513" cy="488950"/>
              </a:xfrm>
              <a:custGeom>
                <a:avLst/>
                <a:gdLst>
                  <a:gd name="T0" fmla="*/ 8 w 140"/>
                  <a:gd name="T1" fmla="*/ 1 h 237"/>
                  <a:gd name="T2" fmla="*/ 45 w 140"/>
                  <a:gd name="T3" fmla="*/ 147 h 237"/>
                  <a:gd name="T4" fmla="*/ 137 w 140"/>
                  <a:gd name="T5" fmla="*/ 237 h 237"/>
                  <a:gd name="T6" fmla="*/ 139 w 140"/>
                  <a:gd name="T7" fmla="*/ 235 h 237"/>
                  <a:gd name="T8" fmla="*/ 92 w 140"/>
                  <a:gd name="T9" fmla="*/ 198 h 237"/>
                  <a:gd name="T10" fmla="*/ 51 w 140"/>
                  <a:gd name="T11" fmla="*/ 147 h 237"/>
                  <a:gd name="T12" fmla="*/ 10 w 140"/>
                  <a:gd name="T13" fmla="*/ 1 h 237"/>
                  <a:gd name="T14" fmla="*/ 8 w 140"/>
                  <a:gd name="T15" fmla="*/ 1 h 2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0" h="237">
                    <a:moveTo>
                      <a:pt x="8" y="1"/>
                    </a:moveTo>
                    <a:cubicBezTo>
                      <a:pt x="0" y="50"/>
                      <a:pt x="22" y="104"/>
                      <a:pt x="45" y="147"/>
                    </a:cubicBezTo>
                    <a:cubicBezTo>
                      <a:pt x="65" y="182"/>
                      <a:pt x="98" y="223"/>
                      <a:pt x="137" y="237"/>
                    </a:cubicBezTo>
                    <a:cubicBezTo>
                      <a:pt x="139" y="237"/>
                      <a:pt x="140" y="235"/>
                      <a:pt x="139" y="235"/>
                    </a:cubicBezTo>
                    <a:cubicBezTo>
                      <a:pt x="123" y="222"/>
                      <a:pt x="106" y="212"/>
                      <a:pt x="92" y="198"/>
                    </a:cubicBezTo>
                    <a:cubicBezTo>
                      <a:pt x="76" y="183"/>
                      <a:pt x="62" y="166"/>
                      <a:pt x="51" y="147"/>
                    </a:cubicBezTo>
                    <a:cubicBezTo>
                      <a:pt x="27" y="103"/>
                      <a:pt x="8" y="52"/>
                      <a:pt x="10" y="1"/>
                    </a:cubicBezTo>
                    <a:cubicBezTo>
                      <a:pt x="10" y="0"/>
                      <a:pt x="9" y="0"/>
                      <a:pt x="8" y="1"/>
                    </a:cubicBezTo>
                    <a:close/>
                  </a:path>
                </a:pathLst>
              </a:custGeom>
              <a:solidFill>
                <a:srgbClr val="3A12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47" name="Freeform 75">
                <a:extLst>
                  <a:ext uri="{FF2B5EF4-FFF2-40B4-BE49-F238E27FC236}">
                    <a16:creationId xmlns:a16="http://schemas.microsoft.com/office/drawing/2014/main" id="{2C102FAA-EB9D-4BAC-B5FF-45C490E235F1}"/>
                  </a:ext>
                </a:extLst>
              </p:cNvPr>
              <p:cNvSpPr>
                <a:spLocks/>
              </p:cNvSpPr>
              <p:nvPr/>
            </p:nvSpPr>
            <p:spPr bwMode="auto">
              <a:xfrm>
                <a:off x="1385888" y="2444750"/>
                <a:ext cx="49213" cy="193675"/>
              </a:xfrm>
              <a:custGeom>
                <a:avLst/>
                <a:gdLst>
                  <a:gd name="T0" fmla="*/ 22 w 24"/>
                  <a:gd name="T1" fmla="*/ 1 h 94"/>
                  <a:gd name="T2" fmla="*/ 5 w 24"/>
                  <a:gd name="T3" fmla="*/ 43 h 94"/>
                  <a:gd name="T4" fmla="*/ 5 w 24"/>
                  <a:gd name="T5" fmla="*/ 92 h 94"/>
                  <a:gd name="T6" fmla="*/ 9 w 24"/>
                  <a:gd name="T7" fmla="*/ 91 h 94"/>
                  <a:gd name="T8" fmla="*/ 23 w 24"/>
                  <a:gd name="T9" fmla="*/ 2 h 94"/>
                  <a:gd name="T10" fmla="*/ 22 w 24"/>
                  <a:gd name="T11" fmla="*/ 1 h 94"/>
                </a:gdLst>
                <a:ahLst/>
                <a:cxnLst>
                  <a:cxn ang="0">
                    <a:pos x="T0" y="T1"/>
                  </a:cxn>
                  <a:cxn ang="0">
                    <a:pos x="T2" y="T3"/>
                  </a:cxn>
                  <a:cxn ang="0">
                    <a:pos x="T4" y="T5"/>
                  </a:cxn>
                  <a:cxn ang="0">
                    <a:pos x="T6" y="T7"/>
                  </a:cxn>
                  <a:cxn ang="0">
                    <a:pos x="T8" y="T9"/>
                  </a:cxn>
                  <a:cxn ang="0">
                    <a:pos x="T10" y="T11"/>
                  </a:cxn>
                </a:cxnLst>
                <a:rect l="0" t="0" r="r" b="b"/>
                <a:pathLst>
                  <a:path w="24" h="94">
                    <a:moveTo>
                      <a:pt x="22" y="1"/>
                    </a:moveTo>
                    <a:cubicBezTo>
                      <a:pt x="10" y="11"/>
                      <a:pt x="7" y="28"/>
                      <a:pt x="5" y="43"/>
                    </a:cubicBezTo>
                    <a:cubicBezTo>
                      <a:pt x="3" y="59"/>
                      <a:pt x="0" y="77"/>
                      <a:pt x="5" y="92"/>
                    </a:cubicBezTo>
                    <a:cubicBezTo>
                      <a:pt x="6" y="94"/>
                      <a:pt x="9" y="94"/>
                      <a:pt x="9" y="91"/>
                    </a:cubicBezTo>
                    <a:cubicBezTo>
                      <a:pt x="6" y="59"/>
                      <a:pt x="10" y="31"/>
                      <a:pt x="23" y="2"/>
                    </a:cubicBezTo>
                    <a:cubicBezTo>
                      <a:pt x="24" y="1"/>
                      <a:pt x="23" y="0"/>
                      <a:pt x="22" y="1"/>
                    </a:cubicBezTo>
                    <a:close/>
                  </a:path>
                </a:pathLst>
              </a:custGeom>
              <a:solidFill>
                <a:srgbClr val="3A12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48" name="Freeform 76">
                <a:extLst>
                  <a:ext uri="{FF2B5EF4-FFF2-40B4-BE49-F238E27FC236}">
                    <a16:creationId xmlns:a16="http://schemas.microsoft.com/office/drawing/2014/main" id="{0C4462BA-37C7-48D6-906A-1139004052FC}"/>
                  </a:ext>
                </a:extLst>
              </p:cNvPr>
              <p:cNvSpPr>
                <a:spLocks/>
              </p:cNvSpPr>
              <p:nvPr/>
            </p:nvSpPr>
            <p:spPr bwMode="auto">
              <a:xfrm>
                <a:off x="1506538" y="2611438"/>
                <a:ext cx="71438" cy="204787"/>
              </a:xfrm>
              <a:custGeom>
                <a:avLst/>
                <a:gdLst>
                  <a:gd name="T0" fmla="*/ 0 w 35"/>
                  <a:gd name="T1" fmla="*/ 2 h 99"/>
                  <a:gd name="T2" fmla="*/ 32 w 35"/>
                  <a:gd name="T3" fmla="*/ 98 h 99"/>
                  <a:gd name="T4" fmla="*/ 34 w 35"/>
                  <a:gd name="T5" fmla="*/ 97 h 99"/>
                  <a:gd name="T6" fmla="*/ 3 w 35"/>
                  <a:gd name="T7" fmla="*/ 2 h 99"/>
                  <a:gd name="T8" fmla="*/ 0 w 35"/>
                  <a:gd name="T9" fmla="*/ 2 h 99"/>
                </a:gdLst>
                <a:ahLst/>
                <a:cxnLst>
                  <a:cxn ang="0">
                    <a:pos x="T0" y="T1"/>
                  </a:cxn>
                  <a:cxn ang="0">
                    <a:pos x="T2" y="T3"/>
                  </a:cxn>
                  <a:cxn ang="0">
                    <a:pos x="T4" y="T5"/>
                  </a:cxn>
                  <a:cxn ang="0">
                    <a:pos x="T6" y="T7"/>
                  </a:cxn>
                  <a:cxn ang="0">
                    <a:pos x="T8" y="T9"/>
                  </a:cxn>
                </a:cxnLst>
                <a:rect l="0" t="0" r="r" b="b"/>
                <a:pathLst>
                  <a:path w="35" h="99">
                    <a:moveTo>
                      <a:pt x="0" y="2"/>
                    </a:moveTo>
                    <a:cubicBezTo>
                      <a:pt x="0" y="31"/>
                      <a:pt x="6" y="79"/>
                      <a:pt x="32" y="98"/>
                    </a:cubicBezTo>
                    <a:cubicBezTo>
                      <a:pt x="33" y="99"/>
                      <a:pt x="35" y="98"/>
                      <a:pt x="34" y="97"/>
                    </a:cubicBezTo>
                    <a:cubicBezTo>
                      <a:pt x="12" y="69"/>
                      <a:pt x="7" y="36"/>
                      <a:pt x="3" y="2"/>
                    </a:cubicBezTo>
                    <a:cubicBezTo>
                      <a:pt x="3" y="0"/>
                      <a:pt x="0" y="0"/>
                      <a:pt x="0" y="2"/>
                    </a:cubicBezTo>
                    <a:close/>
                  </a:path>
                </a:pathLst>
              </a:custGeom>
              <a:solidFill>
                <a:srgbClr val="3A12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49" name="Freeform 77">
                <a:extLst>
                  <a:ext uri="{FF2B5EF4-FFF2-40B4-BE49-F238E27FC236}">
                    <a16:creationId xmlns:a16="http://schemas.microsoft.com/office/drawing/2014/main" id="{CA456AA3-4E28-4FCA-BD17-934C817B1461}"/>
                  </a:ext>
                </a:extLst>
              </p:cNvPr>
              <p:cNvSpPr>
                <a:spLocks/>
              </p:cNvSpPr>
              <p:nvPr/>
            </p:nvSpPr>
            <p:spPr bwMode="auto">
              <a:xfrm>
                <a:off x="1303338" y="2536825"/>
                <a:ext cx="93663" cy="93662"/>
              </a:xfrm>
              <a:custGeom>
                <a:avLst/>
                <a:gdLst>
                  <a:gd name="T0" fmla="*/ 0 w 45"/>
                  <a:gd name="T1" fmla="*/ 1 h 45"/>
                  <a:gd name="T2" fmla="*/ 25 w 45"/>
                  <a:gd name="T3" fmla="*/ 19 h 45"/>
                  <a:gd name="T4" fmla="*/ 43 w 45"/>
                  <a:gd name="T5" fmla="*/ 44 h 45"/>
                  <a:gd name="T6" fmla="*/ 45 w 45"/>
                  <a:gd name="T7" fmla="*/ 42 h 45"/>
                  <a:gd name="T8" fmla="*/ 1 w 45"/>
                  <a:gd name="T9" fmla="*/ 1 h 45"/>
                  <a:gd name="T10" fmla="*/ 0 w 45"/>
                  <a:gd name="T11" fmla="*/ 1 h 45"/>
                </a:gdLst>
                <a:ahLst/>
                <a:cxnLst>
                  <a:cxn ang="0">
                    <a:pos x="T0" y="T1"/>
                  </a:cxn>
                  <a:cxn ang="0">
                    <a:pos x="T2" y="T3"/>
                  </a:cxn>
                  <a:cxn ang="0">
                    <a:pos x="T4" y="T5"/>
                  </a:cxn>
                  <a:cxn ang="0">
                    <a:pos x="T6" y="T7"/>
                  </a:cxn>
                  <a:cxn ang="0">
                    <a:pos x="T8" y="T9"/>
                  </a:cxn>
                  <a:cxn ang="0">
                    <a:pos x="T10" y="T11"/>
                  </a:cxn>
                </a:cxnLst>
                <a:rect l="0" t="0" r="r" b="b"/>
                <a:pathLst>
                  <a:path w="45" h="45">
                    <a:moveTo>
                      <a:pt x="0" y="1"/>
                    </a:moveTo>
                    <a:cubicBezTo>
                      <a:pt x="9" y="6"/>
                      <a:pt x="18" y="11"/>
                      <a:pt x="25" y="19"/>
                    </a:cubicBezTo>
                    <a:cubicBezTo>
                      <a:pt x="31" y="27"/>
                      <a:pt x="36" y="36"/>
                      <a:pt x="43" y="44"/>
                    </a:cubicBezTo>
                    <a:cubicBezTo>
                      <a:pt x="44" y="45"/>
                      <a:pt x="45" y="43"/>
                      <a:pt x="45" y="42"/>
                    </a:cubicBezTo>
                    <a:cubicBezTo>
                      <a:pt x="36" y="25"/>
                      <a:pt x="20" y="5"/>
                      <a:pt x="1" y="1"/>
                    </a:cubicBezTo>
                    <a:cubicBezTo>
                      <a:pt x="0" y="0"/>
                      <a:pt x="0" y="1"/>
                      <a:pt x="0" y="1"/>
                    </a:cubicBezTo>
                    <a:close/>
                  </a:path>
                </a:pathLst>
              </a:custGeom>
              <a:solidFill>
                <a:srgbClr val="3A12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50" name="Freeform 78">
                <a:extLst>
                  <a:ext uri="{FF2B5EF4-FFF2-40B4-BE49-F238E27FC236}">
                    <a16:creationId xmlns:a16="http://schemas.microsoft.com/office/drawing/2014/main" id="{2802E4ED-B444-4BB7-8074-B2CBA5510602}"/>
                  </a:ext>
                </a:extLst>
              </p:cNvPr>
              <p:cNvSpPr>
                <a:spLocks/>
              </p:cNvSpPr>
              <p:nvPr/>
            </p:nvSpPr>
            <p:spPr bwMode="auto">
              <a:xfrm>
                <a:off x="1547813" y="2730500"/>
                <a:ext cx="36513" cy="80962"/>
              </a:xfrm>
              <a:custGeom>
                <a:avLst/>
                <a:gdLst>
                  <a:gd name="T0" fmla="*/ 17 w 18"/>
                  <a:gd name="T1" fmla="*/ 0 h 39"/>
                  <a:gd name="T2" fmla="*/ 15 w 18"/>
                  <a:gd name="T3" fmla="*/ 39 h 39"/>
                  <a:gd name="T4" fmla="*/ 16 w 18"/>
                  <a:gd name="T5" fmla="*/ 37 h 39"/>
                  <a:gd name="T6" fmla="*/ 18 w 18"/>
                  <a:gd name="T7" fmla="*/ 1 h 39"/>
                  <a:gd name="T8" fmla="*/ 17 w 18"/>
                  <a:gd name="T9" fmla="*/ 0 h 39"/>
                </a:gdLst>
                <a:ahLst/>
                <a:cxnLst>
                  <a:cxn ang="0">
                    <a:pos x="T0" y="T1"/>
                  </a:cxn>
                  <a:cxn ang="0">
                    <a:pos x="T2" y="T3"/>
                  </a:cxn>
                  <a:cxn ang="0">
                    <a:pos x="T4" y="T5"/>
                  </a:cxn>
                  <a:cxn ang="0">
                    <a:pos x="T6" y="T7"/>
                  </a:cxn>
                  <a:cxn ang="0">
                    <a:pos x="T8" y="T9"/>
                  </a:cxn>
                </a:cxnLst>
                <a:rect l="0" t="0" r="r" b="b"/>
                <a:pathLst>
                  <a:path w="18" h="39">
                    <a:moveTo>
                      <a:pt x="17" y="0"/>
                    </a:moveTo>
                    <a:cubicBezTo>
                      <a:pt x="6" y="6"/>
                      <a:pt x="0" y="34"/>
                      <a:pt x="15" y="39"/>
                    </a:cubicBezTo>
                    <a:cubicBezTo>
                      <a:pt x="16" y="39"/>
                      <a:pt x="16" y="38"/>
                      <a:pt x="16" y="37"/>
                    </a:cubicBezTo>
                    <a:cubicBezTo>
                      <a:pt x="5" y="25"/>
                      <a:pt x="12" y="14"/>
                      <a:pt x="18" y="1"/>
                    </a:cubicBezTo>
                    <a:cubicBezTo>
                      <a:pt x="18" y="0"/>
                      <a:pt x="17" y="0"/>
                      <a:pt x="17" y="0"/>
                    </a:cubicBezTo>
                    <a:close/>
                  </a:path>
                </a:pathLst>
              </a:custGeom>
              <a:solidFill>
                <a:srgbClr val="3A12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51" name="Freeform 79">
                <a:extLst>
                  <a:ext uri="{FF2B5EF4-FFF2-40B4-BE49-F238E27FC236}">
                    <a16:creationId xmlns:a16="http://schemas.microsoft.com/office/drawing/2014/main" id="{0294C3D3-52E2-47F3-AED7-555CB26E0136}"/>
                  </a:ext>
                </a:extLst>
              </p:cNvPr>
              <p:cNvSpPr>
                <a:spLocks/>
              </p:cNvSpPr>
              <p:nvPr/>
            </p:nvSpPr>
            <p:spPr bwMode="auto">
              <a:xfrm>
                <a:off x="1460500" y="2776538"/>
                <a:ext cx="120650" cy="36512"/>
              </a:xfrm>
              <a:custGeom>
                <a:avLst/>
                <a:gdLst>
                  <a:gd name="T0" fmla="*/ 0 w 58"/>
                  <a:gd name="T1" fmla="*/ 5 h 18"/>
                  <a:gd name="T2" fmla="*/ 28 w 58"/>
                  <a:gd name="T3" fmla="*/ 9 h 18"/>
                  <a:gd name="T4" fmla="*/ 56 w 58"/>
                  <a:gd name="T5" fmla="*/ 17 h 18"/>
                  <a:gd name="T6" fmla="*/ 57 w 58"/>
                  <a:gd name="T7" fmla="*/ 15 h 18"/>
                  <a:gd name="T8" fmla="*/ 0 w 58"/>
                  <a:gd name="T9" fmla="*/ 4 h 18"/>
                  <a:gd name="T10" fmla="*/ 0 w 58"/>
                  <a:gd name="T11" fmla="*/ 5 h 18"/>
                </a:gdLst>
                <a:ahLst/>
                <a:cxnLst>
                  <a:cxn ang="0">
                    <a:pos x="T0" y="T1"/>
                  </a:cxn>
                  <a:cxn ang="0">
                    <a:pos x="T2" y="T3"/>
                  </a:cxn>
                  <a:cxn ang="0">
                    <a:pos x="T4" y="T5"/>
                  </a:cxn>
                  <a:cxn ang="0">
                    <a:pos x="T6" y="T7"/>
                  </a:cxn>
                  <a:cxn ang="0">
                    <a:pos x="T8" y="T9"/>
                  </a:cxn>
                  <a:cxn ang="0">
                    <a:pos x="T10" y="T11"/>
                  </a:cxn>
                </a:cxnLst>
                <a:rect l="0" t="0" r="r" b="b"/>
                <a:pathLst>
                  <a:path w="58" h="18">
                    <a:moveTo>
                      <a:pt x="0" y="5"/>
                    </a:moveTo>
                    <a:cubicBezTo>
                      <a:pt x="9" y="6"/>
                      <a:pt x="18" y="6"/>
                      <a:pt x="28" y="9"/>
                    </a:cubicBezTo>
                    <a:cubicBezTo>
                      <a:pt x="37" y="11"/>
                      <a:pt x="46" y="15"/>
                      <a:pt x="56" y="17"/>
                    </a:cubicBezTo>
                    <a:cubicBezTo>
                      <a:pt x="57" y="18"/>
                      <a:pt x="58" y="16"/>
                      <a:pt x="57" y="15"/>
                    </a:cubicBezTo>
                    <a:cubicBezTo>
                      <a:pt x="41" y="6"/>
                      <a:pt x="18" y="0"/>
                      <a:pt x="0" y="4"/>
                    </a:cubicBezTo>
                    <a:cubicBezTo>
                      <a:pt x="0" y="4"/>
                      <a:pt x="0" y="5"/>
                      <a:pt x="0" y="5"/>
                    </a:cubicBezTo>
                    <a:close/>
                  </a:path>
                </a:pathLst>
              </a:custGeom>
              <a:solidFill>
                <a:srgbClr val="3A12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52" name="Freeform 80">
                <a:extLst>
                  <a:ext uri="{FF2B5EF4-FFF2-40B4-BE49-F238E27FC236}">
                    <a16:creationId xmlns:a16="http://schemas.microsoft.com/office/drawing/2014/main" id="{7450D005-3754-4651-A22A-9E61AC0F8112}"/>
                  </a:ext>
                </a:extLst>
              </p:cNvPr>
              <p:cNvSpPr>
                <a:spLocks/>
              </p:cNvSpPr>
              <p:nvPr/>
            </p:nvSpPr>
            <p:spPr bwMode="auto">
              <a:xfrm>
                <a:off x="1562100" y="2795588"/>
                <a:ext cx="60325" cy="34925"/>
              </a:xfrm>
              <a:custGeom>
                <a:avLst/>
                <a:gdLst>
                  <a:gd name="T0" fmla="*/ 1 w 29"/>
                  <a:gd name="T1" fmla="*/ 1 h 17"/>
                  <a:gd name="T2" fmla="*/ 28 w 29"/>
                  <a:gd name="T3" fmla="*/ 17 h 17"/>
                  <a:gd name="T4" fmla="*/ 28 w 29"/>
                  <a:gd name="T5" fmla="*/ 16 h 17"/>
                  <a:gd name="T6" fmla="*/ 1 w 29"/>
                  <a:gd name="T7" fmla="*/ 0 h 17"/>
                  <a:gd name="T8" fmla="*/ 1 w 29"/>
                  <a:gd name="T9" fmla="*/ 1 h 17"/>
                </a:gdLst>
                <a:ahLst/>
                <a:cxnLst>
                  <a:cxn ang="0">
                    <a:pos x="T0" y="T1"/>
                  </a:cxn>
                  <a:cxn ang="0">
                    <a:pos x="T2" y="T3"/>
                  </a:cxn>
                  <a:cxn ang="0">
                    <a:pos x="T4" y="T5"/>
                  </a:cxn>
                  <a:cxn ang="0">
                    <a:pos x="T6" y="T7"/>
                  </a:cxn>
                  <a:cxn ang="0">
                    <a:pos x="T8" y="T9"/>
                  </a:cxn>
                </a:cxnLst>
                <a:rect l="0" t="0" r="r" b="b"/>
                <a:pathLst>
                  <a:path w="29" h="17">
                    <a:moveTo>
                      <a:pt x="1" y="1"/>
                    </a:moveTo>
                    <a:cubicBezTo>
                      <a:pt x="9" y="7"/>
                      <a:pt x="19" y="13"/>
                      <a:pt x="28" y="17"/>
                    </a:cubicBezTo>
                    <a:cubicBezTo>
                      <a:pt x="29" y="17"/>
                      <a:pt x="29" y="16"/>
                      <a:pt x="28" y="16"/>
                    </a:cubicBezTo>
                    <a:cubicBezTo>
                      <a:pt x="20" y="10"/>
                      <a:pt x="10" y="4"/>
                      <a:pt x="1" y="0"/>
                    </a:cubicBezTo>
                    <a:cubicBezTo>
                      <a:pt x="1" y="0"/>
                      <a:pt x="0" y="1"/>
                      <a:pt x="1" y="1"/>
                    </a:cubicBezTo>
                    <a:close/>
                  </a:path>
                </a:pathLst>
              </a:custGeom>
              <a:solidFill>
                <a:srgbClr val="3A12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53" name="Freeform 81">
                <a:extLst>
                  <a:ext uri="{FF2B5EF4-FFF2-40B4-BE49-F238E27FC236}">
                    <a16:creationId xmlns:a16="http://schemas.microsoft.com/office/drawing/2014/main" id="{4F9A5753-823D-4FDD-9AEC-4FB732D9B100}"/>
                  </a:ext>
                </a:extLst>
              </p:cNvPr>
              <p:cNvSpPr>
                <a:spLocks/>
              </p:cNvSpPr>
              <p:nvPr/>
            </p:nvSpPr>
            <p:spPr bwMode="auto">
              <a:xfrm>
                <a:off x="1497013" y="2611438"/>
                <a:ext cx="11113" cy="25400"/>
              </a:xfrm>
              <a:custGeom>
                <a:avLst/>
                <a:gdLst>
                  <a:gd name="T0" fmla="*/ 0 w 5"/>
                  <a:gd name="T1" fmla="*/ 0 h 12"/>
                  <a:gd name="T2" fmla="*/ 2 w 5"/>
                  <a:gd name="T3" fmla="*/ 7 h 12"/>
                  <a:gd name="T4" fmla="*/ 4 w 5"/>
                  <a:gd name="T5" fmla="*/ 11 h 12"/>
                  <a:gd name="T6" fmla="*/ 5 w 5"/>
                  <a:gd name="T7" fmla="*/ 11 h 12"/>
                  <a:gd name="T8" fmla="*/ 1 w 5"/>
                  <a:gd name="T9" fmla="*/ 0 h 12"/>
                  <a:gd name="T10" fmla="*/ 0 w 5"/>
                  <a:gd name="T11" fmla="*/ 0 h 12"/>
                </a:gdLst>
                <a:ahLst/>
                <a:cxnLst>
                  <a:cxn ang="0">
                    <a:pos x="T0" y="T1"/>
                  </a:cxn>
                  <a:cxn ang="0">
                    <a:pos x="T2" y="T3"/>
                  </a:cxn>
                  <a:cxn ang="0">
                    <a:pos x="T4" y="T5"/>
                  </a:cxn>
                  <a:cxn ang="0">
                    <a:pos x="T6" y="T7"/>
                  </a:cxn>
                  <a:cxn ang="0">
                    <a:pos x="T8" y="T9"/>
                  </a:cxn>
                  <a:cxn ang="0">
                    <a:pos x="T10" y="T11"/>
                  </a:cxn>
                </a:cxnLst>
                <a:rect l="0" t="0" r="r" b="b"/>
                <a:pathLst>
                  <a:path w="5" h="12">
                    <a:moveTo>
                      <a:pt x="0" y="0"/>
                    </a:moveTo>
                    <a:cubicBezTo>
                      <a:pt x="0" y="3"/>
                      <a:pt x="1" y="5"/>
                      <a:pt x="2" y="7"/>
                    </a:cubicBezTo>
                    <a:cubicBezTo>
                      <a:pt x="2" y="9"/>
                      <a:pt x="3" y="11"/>
                      <a:pt x="4" y="11"/>
                    </a:cubicBezTo>
                    <a:cubicBezTo>
                      <a:pt x="5" y="12"/>
                      <a:pt x="5" y="11"/>
                      <a:pt x="5" y="11"/>
                    </a:cubicBezTo>
                    <a:cubicBezTo>
                      <a:pt x="3" y="7"/>
                      <a:pt x="2" y="4"/>
                      <a:pt x="1" y="0"/>
                    </a:cubicBezTo>
                    <a:cubicBezTo>
                      <a:pt x="1" y="0"/>
                      <a:pt x="0" y="0"/>
                      <a:pt x="0" y="0"/>
                    </a:cubicBezTo>
                    <a:close/>
                  </a:path>
                </a:pathLst>
              </a:custGeom>
              <a:solidFill>
                <a:srgbClr val="3A12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54" name="Freeform 82">
                <a:extLst>
                  <a:ext uri="{FF2B5EF4-FFF2-40B4-BE49-F238E27FC236}">
                    <a16:creationId xmlns:a16="http://schemas.microsoft.com/office/drawing/2014/main" id="{6441B43D-64D6-403E-84B0-7026F9FD31A5}"/>
                  </a:ext>
                </a:extLst>
              </p:cNvPr>
              <p:cNvSpPr>
                <a:spLocks/>
              </p:cNvSpPr>
              <p:nvPr/>
            </p:nvSpPr>
            <p:spPr bwMode="auto">
              <a:xfrm>
                <a:off x="1506538" y="2628900"/>
                <a:ext cx="20638" cy="9525"/>
              </a:xfrm>
              <a:custGeom>
                <a:avLst/>
                <a:gdLst>
                  <a:gd name="T0" fmla="*/ 0 w 10"/>
                  <a:gd name="T1" fmla="*/ 4 h 5"/>
                  <a:gd name="T2" fmla="*/ 5 w 10"/>
                  <a:gd name="T3" fmla="*/ 4 h 5"/>
                  <a:gd name="T4" fmla="*/ 10 w 10"/>
                  <a:gd name="T5" fmla="*/ 1 h 5"/>
                  <a:gd name="T6" fmla="*/ 9 w 10"/>
                  <a:gd name="T7" fmla="*/ 1 h 5"/>
                  <a:gd name="T8" fmla="*/ 4 w 10"/>
                  <a:gd name="T9" fmla="*/ 2 h 5"/>
                  <a:gd name="T10" fmla="*/ 0 w 10"/>
                  <a:gd name="T11" fmla="*/ 3 h 5"/>
                  <a:gd name="T12" fmla="*/ 0 w 10"/>
                  <a:gd name="T13" fmla="*/ 4 h 5"/>
                </a:gdLst>
                <a:ahLst/>
                <a:cxnLst>
                  <a:cxn ang="0">
                    <a:pos x="T0" y="T1"/>
                  </a:cxn>
                  <a:cxn ang="0">
                    <a:pos x="T2" y="T3"/>
                  </a:cxn>
                  <a:cxn ang="0">
                    <a:pos x="T4" y="T5"/>
                  </a:cxn>
                  <a:cxn ang="0">
                    <a:pos x="T6" y="T7"/>
                  </a:cxn>
                  <a:cxn ang="0">
                    <a:pos x="T8" y="T9"/>
                  </a:cxn>
                  <a:cxn ang="0">
                    <a:pos x="T10" y="T11"/>
                  </a:cxn>
                  <a:cxn ang="0">
                    <a:pos x="T12" y="T13"/>
                  </a:cxn>
                </a:cxnLst>
                <a:rect l="0" t="0" r="r" b="b"/>
                <a:pathLst>
                  <a:path w="10" h="5">
                    <a:moveTo>
                      <a:pt x="0" y="4"/>
                    </a:moveTo>
                    <a:cubicBezTo>
                      <a:pt x="1" y="5"/>
                      <a:pt x="4" y="4"/>
                      <a:pt x="5" y="4"/>
                    </a:cubicBezTo>
                    <a:cubicBezTo>
                      <a:pt x="7" y="4"/>
                      <a:pt x="9" y="3"/>
                      <a:pt x="10" y="1"/>
                    </a:cubicBezTo>
                    <a:cubicBezTo>
                      <a:pt x="10" y="1"/>
                      <a:pt x="10" y="1"/>
                      <a:pt x="9" y="1"/>
                    </a:cubicBezTo>
                    <a:cubicBezTo>
                      <a:pt x="8" y="0"/>
                      <a:pt x="6" y="1"/>
                      <a:pt x="4" y="2"/>
                    </a:cubicBezTo>
                    <a:cubicBezTo>
                      <a:pt x="3" y="2"/>
                      <a:pt x="1" y="2"/>
                      <a:pt x="0" y="3"/>
                    </a:cubicBezTo>
                    <a:cubicBezTo>
                      <a:pt x="0" y="3"/>
                      <a:pt x="0" y="4"/>
                      <a:pt x="0" y="4"/>
                    </a:cubicBezTo>
                    <a:close/>
                  </a:path>
                </a:pathLst>
              </a:custGeom>
              <a:solidFill>
                <a:srgbClr val="3A12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55" name="Freeform 83">
                <a:extLst>
                  <a:ext uri="{FF2B5EF4-FFF2-40B4-BE49-F238E27FC236}">
                    <a16:creationId xmlns:a16="http://schemas.microsoft.com/office/drawing/2014/main" id="{FF22983B-424D-467E-87D2-F80A26F1BEF8}"/>
                  </a:ext>
                </a:extLst>
              </p:cNvPr>
              <p:cNvSpPr>
                <a:spLocks/>
              </p:cNvSpPr>
              <p:nvPr/>
            </p:nvSpPr>
            <p:spPr bwMode="auto">
              <a:xfrm>
                <a:off x="1497013" y="2605088"/>
                <a:ext cx="30163" cy="31750"/>
              </a:xfrm>
              <a:custGeom>
                <a:avLst/>
                <a:gdLst>
                  <a:gd name="T0" fmla="*/ 3 w 14"/>
                  <a:gd name="T1" fmla="*/ 8 h 15"/>
                  <a:gd name="T2" fmla="*/ 1 w 14"/>
                  <a:gd name="T3" fmla="*/ 3 h 15"/>
                  <a:gd name="T4" fmla="*/ 4 w 14"/>
                  <a:gd name="T5" fmla="*/ 2 h 15"/>
                  <a:gd name="T6" fmla="*/ 7 w 14"/>
                  <a:gd name="T7" fmla="*/ 8 h 15"/>
                  <a:gd name="T8" fmla="*/ 2 w 14"/>
                  <a:gd name="T9" fmla="*/ 5 h 15"/>
                  <a:gd name="T10" fmla="*/ 7 w 14"/>
                  <a:gd name="T11" fmla="*/ 3 h 15"/>
                  <a:gd name="T12" fmla="*/ 6 w 14"/>
                  <a:gd name="T13" fmla="*/ 12 h 15"/>
                  <a:gd name="T14" fmla="*/ 10 w 14"/>
                  <a:gd name="T15" fmla="*/ 5 h 15"/>
                  <a:gd name="T16" fmla="*/ 7 w 14"/>
                  <a:gd name="T17" fmla="*/ 13 h 15"/>
                  <a:gd name="T18" fmla="*/ 10 w 14"/>
                  <a:gd name="T19" fmla="*/ 5 h 15"/>
                  <a:gd name="T20" fmla="*/ 9 w 14"/>
                  <a:gd name="T21" fmla="*/ 13 h 15"/>
                  <a:gd name="T22" fmla="*/ 8 w 14"/>
                  <a:gd name="T23" fmla="*/ 8 h 15"/>
                  <a:gd name="T24" fmla="*/ 13 w 14"/>
                  <a:gd name="T25" fmla="*/ 12 h 15"/>
                  <a:gd name="T26" fmla="*/ 9 w 14"/>
                  <a:gd name="T27" fmla="*/ 10 h 15"/>
                  <a:gd name="T28" fmla="*/ 10 w 14"/>
                  <a:gd name="T29" fmla="*/ 9 h 15"/>
                  <a:gd name="T30" fmla="*/ 12 w 14"/>
                  <a:gd name="T31" fmla="*/ 9 h 15"/>
                  <a:gd name="T32" fmla="*/ 9 w 14"/>
                  <a:gd name="T33" fmla="*/ 10 h 15"/>
                  <a:gd name="T34" fmla="*/ 10 w 14"/>
                  <a:gd name="T35" fmla="*/ 10 h 15"/>
                  <a:gd name="T36" fmla="*/ 11 w 14"/>
                  <a:gd name="T37" fmla="*/ 9 h 15"/>
                  <a:gd name="T38" fmla="*/ 9 w 14"/>
                  <a:gd name="T39" fmla="*/ 9 h 15"/>
                  <a:gd name="T40" fmla="*/ 8 w 14"/>
                  <a:gd name="T41" fmla="*/ 8 h 15"/>
                  <a:gd name="T42" fmla="*/ 7 w 14"/>
                  <a:gd name="T43" fmla="*/ 10 h 15"/>
                  <a:gd name="T44" fmla="*/ 8 w 14"/>
                  <a:gd name="T45" fmla="*/ 9 h 15"/>
                  <a:gd name="T46" fmla="*/ 9 w 14"/>
                  <a:gd name="T47" fmla="*/ 8 h 15"/>
                  <a:gd name="T48" fmla="*/ 7 w 14"/>
                  <a:gd name="T49" fmla="*/ 8 h 15"/>
                  <a:gd name="T50" fmla="*/ 8 w 14"/>
                  <a:gd name="T51" fmla="*/ 8 h 15"/>
                  <a:gd name="T52" fmla="*/ 7 w 14"/>
                  <a:gd name="T53" fmla="*/ 7 h 15"/>
                  <a:gd name="T54" fmla="*/ 5 w 14"/>
                  <a:gd name="T55" fmla="*/ 7 h 15"/>
                  <a:gd name="T56" fmla="*/ 5 w 14"/>
                  <a:gd name="T57" fmla="*/ 8 h 15"/>
                  <a:gd name="T58" fmla="*/ 5 w 14"/>
                  <a:gd name="T59" fmla="*/ 7 h 15"/>
                  <a:gd name="T60" fmla="*/ 4 w 14"/>
                  <a:gd name="T61" fmla="*/ 7 h 15"/>
                  <a:gd name="T62" fmla="*/ 4 w 14"/>
                  <a:gd name="T63" fmla="*/ 6 h 15"/>
                  <a:gd name="T64" fmla="*/ 4 w 14"/>
                  <a:gd name="T65" fmla="*/ 5 h 15"/>
                  <a:gd name="T66" fmla="*/ 3 w 14"/>
                  <a:gd name="T67" fmla="*/ 6 h 15"/>
                  <a:gd name="T68" fmla="*/ 4 w 14"/>
                  <a:gd name="T69" fmla="*/ 5 h 15"/>
                  <a:gd name="T70" fmla="*/ 4 w 14"/>
                  <a:gd name="T71" fmla="*/ 5 h 15"/>
                  <a:gd name="T72" fmla="*/ 4 w 14"/>
                  <a:gd name="T73" fmla="*/ 7 h 15"/>
                  <a:gd name="T74" fmla="*/ 4 w 14"/>
                  <a:gd name="T75" fmla="*/ 3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 h="15">
                    <a:moveTo>
                      <a:pt x="4" y="3"/>
                    </a:moveTo>
                    <a:cubicBezTo>
                      <a:pt x="0" y="1"/>
                      <a:pt x="2" y="7"/>
                      <a:pt x="3" y="8"/>
                    </a:cubicBezTo>
                    <a:cubicBezTo>
                      <a:pt x="4" y="11"/>
                      <a:pt x="7" y="9"/>
                      <a:pt x="6" y="6"/>
                    </a:cubicBezTo>
                    <a:cubicBezTo>
                      <a:pt x="6" y="4"/>
                      <a:pt x="3" y="0"/>
                      <a:pt x="1" y="3"/>
                    </a:cubicBezTo>
                    <a:cubicBezTo>
                      <a:pt x="0" y="5"/>
                      <a:pt x="2" y="10"/>
                      <a:pt x="5" y="9"/>
                    </a:cubicBezTo>
                    <a:cubicBezTo>
                      <a:pt x="8" y="8"/>
                      <a:pt x="6" y="3"/>
                      <a:pt x="4" y="2"/>
                    </a:cubicBezTo>
                    <a:cubicBezTo>
                      <a:pt x="0" y="1"/>
                      <a:pt x="0" y="7"/>
                      <a:pt x="2" y="9"/>
                    </a:cubicBezTo>
                    <a:cubicBezTo>
                      <a:pt x="3" y="12"/>
                      <a:pt x="7" y="11"/>
                      <a:pt x="7" y="8"/>
                    </a:cubicBezTo>
                    <a:cubicBezTo>
                      <a:pt x="7" y="6"/>
                      <a:pt x="7" y="4"/>
                      <a:pt x="5" y="4"/>
                    </a:cubicBezTo>
                    <a:cubicBezTo>
                      <a:pt x="4" y="3"/>
                      <a:pt x="3" y="4"/>
                      <a:pt x="2" y="5"/>
                    </a:cubicBezTo>
                    <a:cubicBezTo>
                      <a:pt x="1" y="8"/>
                      <a:pt x="3" y="14"/>
                      <a:pt x="7" y="12"/>
                    </a:cubicBezTo>
                    <a:cubicBezTo>
                      <a:pt x="9" y="10"/>
                      <a:pt x="11" y="3"/>
                      <a:pt x="7" y="3"/>
                    </a:cubicBezTo>
                    <a:cubicBezTo>
                      <a:pt x="6" y="3"/>
                      <a:pt x="5" y="4"/>
                      <a:pt x="5" y="4"/>
                    </a:cubicBezTo>
                    <a:cubicBezTo>
                      <a:pt x="4" y="6"/>
                      <a:pt x="4" y="10"/>
                      <a:pt x="6" y="12"/>
                    </a:cubicBezTo>
                    <a:cubicBezTo>
                      <a:pt x="8" y="14"/>
                      <a:pt x="11" y="11"/>
                      <a:pt x="11" y="9"/>
                    </a:cubicBezTo>
                    <a:cubicBezTo>
                      <a:pt x="11" y="7"/>
                      <a:pt x="11" y="6"/>
                      <a:pt x="10" y="5"/>
                    </a:cubicBezTo>
                    <a:cubicBezTo>
                      <a:pt x="9" y="4"/>
                      <a:pt x="8" y="4"/>
                      <a:pt x="7" y="5"/>
                    </a:cubicBezTo>
                    <a:cubicBezTo>
                      <a:pt x="5" y="7"/>
                      <a:pt x="5" y="11"/>
                      <a:pt x="7" y="13"/>
                    </a:cubicBezTo>
                    <a:cubicBezTo>
                      <a:pt x="10" y="15"/>
                      <a:pt x="11" y="11"/>
                      <a:pt x="12" y="8"/>
                    </a:cubicBezTo>
                    <a:cubicBezTo>
                      <a:pt x="12" y="7"/>
                      <a:pt x="11" y="6"/>
                      <a:pt x="10" y="5"/>
                    </a:cubicBezTo>
                    <a:cubicBezTo>
                      <a:pt x="9" y="5"/>
                      <a:pt x="8" y="5"/>
                      <a:pt x="7" y="6"/>
                    </a:cubicBezTo>
                    <a:cubicBezTo>
                      <a:pt x="6" y="8"/>
                      <a:pt x="6" y="12"/>
                      <a:pt x="9" y="13"/>
                    </a:cubicBezTo>
                    <a:cubicBezTo>
                      <a:pt x="12" y="15"/>
                      <a:pt x="12" y="10"/>
                      <a:pt x="12" y="8"/>
                    </a:cubicBezTo>
                    <a:cubicBezTo>
                      <a:pt x="11" y="6"/>
                      <a:pt x="9" y="6"/>
                      <a:pt x="8" y="8"/>
                    </a:cubicBezTo>
                    <a:cubicBezTo>
                      <a:pt x="8" y="10"/>
                      <a:pt x="8" y="11"/>
                      <a:pt x="9" y="13"/>
                    </a:cubicBezTo>
                    <a:cubicBezTo>
                      <a:pt x="10" y="14"/>
                      <a:pt x="12" y="13"/>
                      <a:pt x="13" y="12"/>
                    </a:cubicBezTo>
                    <a:cubicBezTo>
                      <a:pt x="14" y="10"/>
                      <a:pt x="10" y="8"/>
                      <a:pt x="9" y="10"/>
                    </a:cubicBezTo>
                    <a:cubicBezTo>
                      <a:pt x="9" y="10"/>
                      <a:pt x="9" y="10"/>
                      <a:pt x="9" y="10"/>
                    </a:cubicBezTo>
                    <a:cubicBezTo>
                      <a:pt x="9" y="10"/>
                      <a:pt x="10" y="10"/>
                      <a:pt x="10" y="9"/>
                    </a:cubicBezTo>
                    <a:cubicBezTo>
                      <a:pt x="10" y="9"/>
                      <a:pt x="10" y="9"/>
                      <a:pt x="10" y="9"/>
                    </a:cubicBezTo>
                    <a:cubicBezTo>
                      <a:pt x="11" y="10"/>
                      <a:pt x="11" y="10"/>
                      <a:pt x="12" y="10"/>
                    </a:cubicBezTo>
                    <a:cubicBezTo>
                      <a:pt x="12" y="10"/>
                      <a:pt x="12" y="9"/>
                      <a:pt x="12" y="9"/>
                    </a:cubicBezTo>
                    <a:cubicBezTo>
                      <a:pt x="11" y="9"/>
                      <a:pt x="9" y="9"/>
                      <a:pt x="8" y="9"/>
                    </a:cubicBezTo>
                    <a:cubicBezTo>
                      <a:pt x="8" y="10"/>
                      <a:pt x="8" y="10"/>
                      <a:pt x="9" y="10"/>
                    </a:cubicBezTo>
                    <a:cubicBezTo>
                      <a:pt x="9" y="10"/>
                      <a:pt x="10" y="10"/>
                      <a:pt x="10" y="10"/>
                    </a:cubicBezTo>
                    <a:cubicBezTo>
                      <a:pt x="10" y="10"/>
                      <a:pt x="10" y="10"/>
                      <a:pt x="10" y="10"/>
                    </a:cubicBezTo>
                    <a:cubicBezTo>
                      <a:pt x="10" y="10"/>
                      <a:pt x="11" y="10"/>
                      <a:pt x="11" y="10"/>
                    </a:cubicBezTo>
                    <a:cubicBezTo>
                      <a:pt x="11" y="10"/>
                      <a:pt x="11" y="10"/>
                      <a:pt x="11" y="9"/>
                    </a:cubicBezTo>
                    <a:cubicBezTo>
                      <a:pt x="10" y="9"/>
                      <a:pt x="11" y="8"/>
                      <a:pt x="10" y="8"/>
                    </a:cubicBezTo>
                    <a:cubicBezTo>
                      <a:pt x="10" y="8"/>
                      <a:pt x="9" y="9"/>
                      <a:pt x="9" y="9"/>
                    </a:cubicBezTo>
                    <a:cubicBezTo>
                      <a:pt x="9" y="9"/>
                      <a:pt x="9" y="9"/>
                      <a:pt x="9" y="9"/>
                    </a:cubicBezTo>
                    <a:cubicBezTo>
                      <a:pt x="9" y="9"/>
                      <a:pt x="8" y="8"/>
                      <a:pt x="8" y="8"/>
                    </a:cubicBezTo>
                    <a:cubicBezTo>
                      <a:pt x="8" y="8"/>
                      <a:pt x="7" y="8"/>
                      <a:pt x="8" y="9"/>
                    </a:cubicBezTo>
                    <a:cubicBezTo>
                      <a:pt x="7" y="9"/>
                      <a:pt x="7" y="10"/>
                      <a:pt x="7" y="10"/>
                    </a:cubicBezTo>
                    <a:cubicBezTo>
                      <a:pt x="8" y="10"/>
                      <a:pt x="8" y="10"/>
                      <a:pt x="9" y="10"/>
                    </a:cubicBezTo>
                    <a:cubicBezTo>
                      <a:pt x="9" y="9"/>
                      <a:pt x="9" y="9"/>
                      <a:pt x="8" y="9"/>
                    </a:cubicBezTo>
                    <a:cubicBezTo>
                      <a:pt x="9" y="10"/>
                      <a:pt x="9" y="10"/>
                      <a:pt x="10" y="10"/>
                    </a:cubicBezTo>
                    <a:cubicBezTo>
                      <a:pt x="9" y="10"/>
                      <a:pt x="10" y="8"/>
                      <a:pt x="9" y="8"/>
                    </a:cubicBezTo>
                    <a:cubicBezTo>
                      <a:pt x="9" y="8"/>
                      <a:pt x="8" y="8"/>
                      <a:pt x="7" y="8"/>
                    </a:cubicBezTo>
                    <a:cubicBezTo>
                      <a:pt x="7" y="7"/>
                      <a:pt x="7" y="7"/>
                      <a:pt x="7" y="8"/>
                    </a:cubicBezTo>
                    <a:cubicBezTo>
                      <a:pt x="7" y="9"/>
                      <a:pt x="7" y="9"/>
                      <a:pt x="8" y="9"/>
                    </a:cubicBezTo>
                    <a:cubicBezTo>
                      <a:pt x="8" y="9"/>
                      <a:pt x="8" y="8"/>
                      <a:pt x="8" y="8"/>
                    </a:cubicBezTo>
                    <a:cubicBezTo>
                      <a:pt x="8" y="7"/>
                      <a:pt x="8" y="7"/>
                      <a:pt x="8" y="6"/>
                    </a:cubicBezTo>
                    <a:cubicBezTo>
                      <a:pt x="8" y="6"/>
                      <a:pt x="7" y="7"/>
                      <a:pt x="7" y="7"/>
                    </a:cubicBezTo>
                    <a:cubicBezTo>
                      <a:pt x="7" y="7"/>
                      <a:pt x="7" y="7"/>
                      <a:pt x="7" y="7"/>
                    </a:cubicBezTo>
                    <a:cubicBezTo>
                      <a:pt x="6" y="7"/>
                      <a:pt x="6" y="7"/>
                      <a:pt x="5" y="7"/>
                    </a:cubicBezTo>
                    <a:cubicBezTo>
                      <a:pt x="5" y="6"/>
                      <a:pt x="5" y="7"/>
                      <a:pt x="5" y="7"/>
                    </a:cubicBezTo>
                    <a:cubicBezTo>
                      <a:pt x="4" y="8"/>
                      <a:pt x="4" y="8"/>
                      <a:pt x="5" y="8"/>
                    </a:cubicBezTo>
                    <a:cubicBezTo>
                      <a:pt x="6" y="8"/>
                      <a:pt x="6" y="8"/>
                      <a:pt x="6" y="7"/>
                    </a:cubicBezTo>
                    <a:cubicBezTo>
                      <a:pt x="6" y="7"/>
                      <a:pt x="6" y="6"/>
                      <a:pt x="5" y="7"/>
                    </a:cubicBezTo>
                    <a:cubicBezTo>
                      <a:pt x="5" y="7"/>
                      <a:pt x="4" y="7"/>
                      <a:pt x="4" y="7"/>
                    </a:cubicBezTo>
                    <a:cubicBezTo>
                      <a:pt x="3" y="7"/>
                      <a:pt x="3" y="7"/>
                      <a:pt x="4" y="7"/>
                    </a:cubicBezTo>
                    <a:cubicBezTo>
                      <a:pt x="4" y="7"/>
                      <a:pt x="5" y="7"/>
                      <a:pt x="5" y="7"/>
                    </a:cubicBezTo>
                    <a:cubicBezTo>
                      <a:pt x="5" y="7"/>
                      <a:pt x="5" y="6"/>
                      <a:pt x="4" y="6"/>
                    </a:cubicBezTo>
                    <a:cubicBezTo>
                      <a:pt x="4" y="6"/>
                      <a:pt x="4" y="5"/>
                      <a:pt x="4" y="5"/>
                    </a:cubicBezTo>
                    <a:cubicBezTo>
                      <a:pt x="4" y="5"/>
                      <a:pt x="4" y="5"/>
                      <a:pt x="4" y="5"/>
                    </a:cubicBezTo>
                    <a:cubicBezTo>
                      <a:pt x="3" y="5"/>
                      <a:pt x="3" y="5"/>
                      <a:pt x="2" y="5"/>
                    </a:cubicBezTo>
                    <a:cubicBezTo>
                      <a:pt x="3" y="6"/>
                      <a:pt x="3" y="6"/>
                      <a:pt x="3" y="6"/>
                    </a:cubicBezTo>
                    <a:cubicBezTo>
                      <a:pt x="4" y="6"/>
                      <a:pt x="4" y="6"/>
                      <a:pt x="5" y="6"/>
                    </a:cubicBezTo>
                    <a:cubicBezTo>
                      <a:pt x="4" y="6"/>
                      <a:pt x="4" y="5"/>
                      <a:pt x="4" y="5"/>
                    </a:cubicBezTo>
                    <a:cubicBezTo>
                      <a:pt x="4" y="5"/>
                      <a:pt x="4" y="5"/>
                      <a:pt x="3" y="5"/>
                    </a:cubicBezTo>
                    <a:cubicBezTo>
                      <a:pt x="3" y="5"/>
                      <a:pt x="3" y="5"/>
                      <a:pt x="4" y="5"/>
                    </a:cubicBezTo>
                    <a:cubicBezTo>
                      <a:pt x="3" y="5"/>
                      <a:pt x="3" y="5"/>
                      <a:pt x="2" y="5"/>
                    </a:cubicBezTo>
                    <a:cubicBezTo>
                      <a:pt x="3" y="5"/>
                      <a:pt x="3" y="8"/>
                      <a:pt x="4" y="7"/>
                    </a:cubicBezTo>
                    <a:cubicBezTo>
                      <a:pt x="4" y="7"/>
                      <a:pt x="3" y="4"/>
                      <a:pt x="3" y="4"/>
                    </a:cubicBezTo>
                    <a:cubicBezTo>
                      <a:pt x="4" y="4"/>
                      <a:pt x="4" y="3"/>
                      <a:pt x="4" y="3"/>
                    </a:cubicBezTo>
                    <a:close/>
                  </a:path>
                </a:pathLst>
              </a:custGeom>
              <a:solidFill>
                <a:srgbClr val="3A12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56" name="Freeform 84">
                <a:extLst>
                  <a:ext uri="{FF2B5EF4-FFF2-40B4-BE49-F238E27FC236}">
                    <a16:creationId xmlns:a16="http://schemas.microsoft.com/office/drawing/2014/main" id="{4D7206B5-5704-4369-AE64-F348BBF03A14}"/>
                  </a:ext>
                </a:extLst>
              </p:cNvPr>
              <p:cNvSpPr>
                <a:spLocks/>
              </p:cNvSpPr>
              <p:nvPr/>
            </p:nvSpPr>
            <p:spPr bwMode="auto">
              <a:xfrm>
                <a:off x="1500188" y="2605088"/>
                <a:ext cx="22225" cy="7937"/>
              </a:xfrm>
              <a:custGeom>
                <a:avLst/>
                <a:gdLst>
                  <a:gd name="T0" fmla="*/ 1 w 11"/>
                  <a:gd name="T1" fmla="*/ 2 h 4"/>
                  <a:gd name="T2" fmla="*/ 6 w 11"/>
                  <a:gd name="T3" fmla="*/ 3 h 4"/>
                  <a:gd name="T4" fmla="*/ 10 w 11"/>
                  <a:gd name="T5" fmla="*/ 4 h 4"/>
                  <a:gd name="T6" fmla="*/ 11 w 11"/>
                  <a:gd name="T7" fmla="*/ 3 h 4"/>
                  <a:gd name="T8" fmla="*/ 11 w 11"/>
                  <a:gd name="T9" fmla="*/ 2 h 4"/>
                  <a:gd name="T10" fmla="*/ 11 w 11"/>
                  <a:gd name="T11" fmla="*/ 1 h 4"/>
                  <a:gd name="T12" fmla="*/ 5 w 11"/>
                  <a:gd name="T13" fmla="*/ 0 h 4"/>
                  <a:gd name="T14" fmla="*/ 1 w 11"/>
                  <a:gd name="T15" fmla="*/ 1 h 4"/>
                  <a:gd name="T16" fmla="*/ 1 w 11"/>
                  <a:gd name="T17"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4">
                    <a:moveTo>
                      <a:pt x="1" y="2"/>
                    </a:moveTo>
                    <a:cubicBezTo>
                      <a:pt x="3" y="2"/>
                      <a:pt x="4" y="3"/>
                      <a:pt x="6" y="3"/>
                    </a:cubicBezTo>
                    <a:cubicBezTo>
                      <a:pt x="7" y="3"/>
                      <a:pt x="8" y="4"/>
                      <a:pt x="10" y="4"/>
                    </a:cubicBezTo>
                    <a:cubicBezTo>
                      <a:pt x="10" y="4"/>
                      <a:pt x="11" y="4"/>
                      <a:pt x="11" y="3"/>
                    </a:cubicBezTo>
                    <a:cubicBezTo>
                      <a:pt x="11" y="3"/>
                      <a:pt x="11" y="3"/>
                      <a:pt x="11" y="2"/>
                    </a:cubicBezTo>
                    <a:cubicBezTo>
                      <a:pt x="11" y="2"/>
                      <a:pt x="11" y="1"/>
                      <a:pt x="11" y="1"/>
                    </a:cubicBezTo>
                    <a:cubicBezTo>
                      <a:pt x="9" y="0"/>
                      <a:pt x="7" y="0"/>
                      <a:pt x="5" y="0"/>
                    </a:cubicBezTo>
                    <a:cubicBezTo>
                      <a:pt x="4" y="0"/>
                      <a:pt x="2" y="0"/>
                      <a:pt x="1" y="1"/>
                    </a:cubicBezTo>
                    <a:cubicBezTo>
                      <a:pt x="0" y="1"/>
                      <a:pt x="1" y="2"/>
                      <a:pt x="1" y="2"/>
                    </a:cubicBezTo>
                    <a:close/>
                  </a:path>
                </a:pathLst>
              </a:custGeom>
              <a:solidFill>
                <a:srgbClr val="3A12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57" name="Freeform 85">
                <a:extLst>
                  <a:ext uri="{FF2B5EF4-FFF2-40B4-BE49-F238E27FC236}">
                    <a16:creationId xmlns:a16="http://schemas.microsoft.com/office/drawing/2014/main" id="{B72A965B-AF60-4165-9661-B1706D4BC021}"/>
                  </a:ext>
                </a:extLst>
              </p:cNvPr>
              <p:cNvSpPr>
                <a:spLocks/>
              </p:cNvSpPr>
              <p:nvPr/>
            </p:nvSpPr>
            <p:spPr bwMode="auto">
              <a:xfrm>
                <a:off x="1517650" y="2608263"/>
                <a:ext cx="9525" cy="15875"/>
              </a:xfrm>
              <a:custGeom>
                <a:avLst/>
                <a:gdLst>
                  <a:gd name="T0" fmla="*/ 1 w 4"/>
                  <a:gd name="T1" fmla="*/ 1 h 8"/>
                  <a:gd name="T2" fmla="*/ 3 w 4"/>
                  <a:gd name="T3" fmla="*/ 7 h 8"/>
                  <a:gd name="T4" fmla="*/ 4 w 4"/>
                  <a:gd name="T5" fmla="*/ 7 h 8"/>
                  <a:gd name="T6" fmla="*/ 2 w 4"/>
                  <a:gd name="T7" fmla="*/ 0 h 8"/>
                  <a:gd name="T8" fmla="*/ 1 w 4"/>
                  <a:gd name="T9" fmla="*/ 1 h 8"/>
                </a:gdLst>
                <a:ahLst/>
                <a:cxnLst>
                  <a:cxn ang="0">
                    <a:pos x="T0" y="T1"/>
                  </a:cxn>
                  <a:cxn ang="0">
                    <a:pos x="T2" y="T3"/>
                  </a:cxn>
                  <a:cxn ang="0">
                    <a:pos x="T4" y="T5"/>
                  </a:cxn>
                  <a:cxn ang="0">
                    <a:pos x="T6" y="T7"/>
                  </a:cxn>
                  <a:cxn ang="0">
                    <a:pos x="T8" y="T9"/>
                  </a:cxn>
                </a:cxnLst>
                <a:rect l="0" t="0" r="r" b="b"/>
                <a:pathLst>
                  <a:path w="4" h="8">
                    <a:moveTo>
                      <a:pt x="1" y="1"/>
                    </a:moveTo>
                    <a:cubicBezTo>
                      <a:pt x="0" y="3"/>
                      <a:pt x="1" y="6"/>
                      <a:pt x="3" y="7"/>
                    </a:cubicBezTo>
                    <a:cubicBezTo>
                      <a:pt x="3" y="8"/>
                      <a:pt x="4" y="8"/>
                      <a:pt x="4" y="7"/>
                    </a:cubicBezTo>
                    <a:cubicBezTo>
                      <a:pt x="4" y="5"/>
                      <a:pt x="4" y="1"/>
                      <a:pt x="2" y="0"/>
                    </a:cubicBezTo>
                    <a:cubicBezTo>
                      <a:pt x="1" y="0"/>
                      <a:pt x="1" y="0"/>
                      <a:pt x="1" y="1"/>
                    </a:cubicBezTo>
                    <a:close/>
                  </a:path>
                </a:pathLst>
              </a:custGeom>
              <a:solidFill>
                <a:srgbClr val="3A12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58" name="Freeform 86">
                <a:extLst>
                  <a:ext uri="{FF2B5EF4-FFF2-40B4-BE49-F238E27FC236}">
                    <a16:creationId xmlns:a16="http://schemas.microsoft.com/office/drawing/2014/main" id="{0696E4C9-D18B-4168-8607-6C8613F3744E}"/>
                  </a:ext>
                </a:extLst>
              </p:cNvPr>
              <p:cNvSpPr>
                <a:spLocks/>
              </p:cNvSpPr>
              <p:nvPr/>
            </p:nvSpPr>
            <p:spPr bwMode="auto">
              <a:xfrm>
                <a:off x="1522413" y="2613025"/>
                <a:ext cx="6350" cy="19050"/>
              </a:xfrm>
              <a:custGeom>
                <a:avLst/>
                <a:gdLst>
                  <a:gd name="T0" fmla="*/ 0 w 3"/>
                  <a:gd name="T1" fmla="*/ 1 h 9"/>
                  <a:gd name="T2" fmla="*/ 0 w 3"/>
                  <a:gd name="T3" fmla="*/ 6 h 9"/>
                  <a:gd name="T4" fmla="*/ 1 w 3"/>
                  <a:gd name="T5" fmla="*/ 9 h 9"/>
                  <a:gd name="T6" fmla="*/ 2 w 3"/>
                  <a:gd name="T7" fmla="*/ 9 h 9"/>
                  <a:gd name="T8" fmla="*/ 1 w 3"/>
                  <a:gd name="T9" fmla="*/ 1 h 9"/>
                  <a:gd name="T10" fmla="*/ 0 w 3"/>
                  <a:gd name="T11" fmla="*/ 1 h 9"/>
                </a:gdLst>
                <a:ahLst/>
                <a:cxnLst>
                  <a:cxn ang="0">
                    <a:pos x="T0" y="T1"/>
                  </a:cxn>
                  <a:cxn ang="0">
                    <a:pos x="T2" y="T3"/>
                  </a:cxn>
                  <a:cxn ang="0">
                    <a:pos x="T4" y="T5"/>
                  </a:cxn>
                  <a:cxn ang="0">
                    <a:pos x="T6" y="T7"/>
                  </a:cxn>
                  <a:cxn ang="0">
                    <a:pos x="T8" y="T9"/>
                  </a:cxn>
                  <a:cxn ang="0">
                    <a:pos x="T10" y="T11"/>
                  </a:cxn>
                </a:cxnLst>
                <a:rect l="0" t="0" r="r" b="b"/>
                <a:pathLst>
                  <a:path w="3" h="9">
                    <a:moveTo>
                      <a:pt x="0" y="1"/>
                    </a:moveTo>
                    <a:cubicBezTo>
                      <a:pt x="0" y="3"/>
                      <a:pt x="0" y="4"/>
                      <a:pt x="0" y="6"/>
                    </a:cubicBezTo>
                    <a:cubicBezTo>
                      <a:pt x="0" y="7"/>
                      <a:pt x="0" y="8"/>
                      <a:pt x="1" y="9"/>
                    </a:cubicBezTo>
                    <a:cubicBezTo>
                      <a:pt x="1" y="9"/>
                      <a:pt x="2" y="9"/>
                      <a:pt x="2" y="9"/>
                    </a:cubicBezTo>
                    <a:cubicBezTo>
                      <a:pt x="3" y="7"/>
                      <a:pt x="2" y="3"/>
                      <a:pt x="1" y="1"/>
                    </a:cubicBezTo>
                    <a:cubicBezTo>
                      <a:pt x="1" y="0"/>
                      <a:pt x="0" y="0"/>
                      <a:pt x="0" y="1"/>
                    </a:cubicBezTo>
                    <a:close/>
                  </a:path>
                </a:pathLst>
              </a:custGeom>
              <a:solidFill>
                <a:srgbClr val="3A12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59" name="Freeform 87">
                <a:extLst>
                  <a:ext uri="{FF2B5EF4-FFF2-40B4-BE49-F238E27FC236}">
                    <a16:creationId xmlns:a16="http://schemas.microsoft.com/office/drawing/2014/main" id="{480BEDDD-32D8-46F4-AD79-C572E95283AC}"/>
                  </a:ext>
                </a:extLst>
              </p:cNvPr>
              <p:cNvSpPr>
                <a:spLocks/>
              </p:cNvSpPr>
              <p:nvPr/>
            </p:nvSpPr>
            <p:spPr bwMode="auto">
              <a:xfrm>
                <a:off x="1412875" y="2449513"/>
                <a:ext cx="20638" cy="17462"/>
              </a:xfrm>
              <a:custGeom>
                <a:avLst/>
                <a:gdLst>
                  <a:gd name="T0" fmla="*/ 1 w 10"/>
                  <a:gd name="T1" fmla="*/ 1 h 9"/>
                  <a:gd name="T2" fmla="*/ 9 w 10"/>
                  <a:gd name="T3" fmla="*/ 7 h 9"/>
                  <a:gd name="T4" fmla="*/ 9 w 10"/>
                  <a:gd name="T5" fmla="*/ 3 h 9"/>
                  <a:gd name="T6" fmla="*/ 5 w 10"/>
                  <a:gd name="T7" fmla="*/ 2 h 9"/>
                  <a:gd name="T8" fmla="*/ 3 w 10"/>
                  <a:gd name="T9" fmla="*/ 1 h 9"/>
                  <a:gd name="T10" fmla="*/ 1 w 10"/>
                  <a:gd name="T11" fmla="*/ 1 h 9"/>
                </a:gdLst>
                <a:ahLst/>
                <a:cxnLst>
                  <a:cxn ang="0">
                    <a:pos x="T0" y="T1"/>
                  </a:cxn>
                  <a:cxn ang="0">
                    <a:pos x="T2" y="T3"/>
                  </a:cxn>
                  <a:cxn ang="0">
                    <a:pos x="T4" y="T5"/>
                  </a:cxn>
                  <a:cxn ang="0">
                    <a:pos x="T6" y="T7"/>
                  </a:cxn>
                  <a:cxn ang="0">
                    <a:pos x="T8" y="T9"/>
                  </a:cxn>
                  <a:cxn ang="0">
                    <a:pos x="T10" y="T11"/>
                  </a:cxn>
                </a:cxnLst>
                <a:rect l="0" t="0" r="r" b="b"/>
                <a:pathLst>
                  <a:path w="10" h="9">
                    <a:moveTo>
                      <a:pt x="1" y="1"/>
                    </a:moveTo>
                    <a:cubicBezTo>
                      <a:pt x="0" y="5"/>
                      <a:pt x="6" y="9"/>
                      <a:pt x="9" y="7"/>
                    </a:cubicBezTo>
                    <a:cubicBezTo>
                      <a:pt x="10" y="6"/>
                      <a:pt x="10" y="4"/>
                      <a:pt x="9" y="3"/>
                    </a:cubicBezTo>
                    <a:cubicBezTo>
                      <a:pt x="7" y="3"/>
                      <a:pt x="6" y="3"/>
                      <a:pt x="5" y="2"/>
                    </a:cubicBezTo>
                    <a:cubicBezTo>
                      <a:pt x="4" y="2"/>
                      <a:pt x="4" y="1"/>
                      <a:pt x="3" y="1"/>
                    </a:cubicBezTo>
                    <a:cubicBezTo>
                      <a:pt x="2" y="0"/>
                      <a:pt x="1" y="1"/>
                      <a:pt x="1" y="1"/>
                    </a:cubicBezTo>
                    <a:close/>
                  </a:path>
                </a:pathLst>
              </a:custGeom>
              <a:solidFill>
                <a:srgbClr val="3A12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60" name="Freeform 88">
                <a:extLst>
                  <a:ext uri="{FF2B5EF4-FFF2-40B4-BE49-F238E27FC236}">
                    <a16:creationId xmlns:a16="http://schemas.microsoft.com/office/drawing/2014/main" id="{FC727EF0-C2C1-437A-B80D-AFD6ECD43AE8}"/>
                  </a:ext>
                </a:extLst>
              </p:cNvPr>
              <p:cNvSpPr>
                <a:spLocks/>
              </p:cNvSpPr>
              <p:nvPr/>
            </p:nvSpPr>
            <p:spPr bwMode="auto">
              <a:xfrm>
                <a:off x="1412875" y="2432050"/>
                <a:ext cx="31750" cy="23812"/>
              </a:xfrm>
              <a:custGeom>
                <a:avLst/>
                <a:gdLst>
                  <a:gd name="T0" fmla="*/ 4 w 15"/>
                  <a:gd name="T1" fmla="*/ 7 h 11"/>
                  <a:gd name="T2" fmla="*/ 2 w 15"/>
                  <a:gd name="T3" fmla="*/ 8 h 11"/>
                  <a:gd name="T4" fmla="*/ 3 w 15"/>
                  <a:gd name="T5" fmla="*/ 9 h 11"/>
                  <a:gd name="T6" fmla="*/ 4 w 15"/>
                  <a:gd name="T7" fmla="*/ 8 h 11"/>
                  <a:gd name="T8" fmla="*/ 3 w 15"/>
                  <a:gd name="T9" fmla="*/ 7 h 11"/>
                  <a:gd name="T10" fmla="*/ 1 w 15"/>
                  <a:gd name="T11" fmla="*/ 8 h 11"/>
                  <a:gd name="T12" fmla="*/ 3 w 15"/>
                  <a:gd name="T13" fmla="*/ 10 h 11"/>
                  <a:gd name="T14" fmla="*/ 9 w 15"/>
                  <a:gd name="T15" fmla="*/ 4 h 11"/>
                  <a:gd name="T16" fmla="*/ 11 w 15"/>
                  <a:gd name="T17" fmla="*/ 4 h 11"/>
                  <a:gd name="T18" fmla="*/ 14 w 15"/>
                  <a:gd name="T19" fmla="*/ 7 h 11"/>
                  <a:gd name="T20" fmla="*/ 15 w 15"/>
                  <a:gd name="T21" fmla="*/ 6 h 11"/>
                  <a:gd name="T22" fmla="*/ 11 w 15"/>
                  <a:gd name="T23" fmla="*/ 1 h 11"/>
                  <a:gd name="T24" fmla="*/ 9 w 15"/>
                  <a:gd name="T25" fmla="*/ 1 h 11"/>
                  <a:gd name="T26" fmla="*/ 6 w 15"/>
                  <a:gd name="T27" fmla="*/ 4 h 11"/>
                  <a:gd name="T28" fmla="*/ 1 w 15"/>
                  <a:gd name="T29" fmla="*/ 8 h 11"/>
                  <a:gd name="T30" fmla="*/ 3 w 15"/>
                  <a:gd name="T31" fmla="*/ 10 h 11"/>
                  <a:gd name="T32" fmla="*/ 4 w 15"/>
                  <a:gd name="T33" fmla="*/ 8 h 11"/>
                  <a:gd name="T34" fmla="*/ 3 w 15"/>
                  <a:gd name="T35" fmla="*/ 8 h 11"/>
                  <a:gd name="T36" fmla="*/ 2 w 15"/>
                  <a:gd name="T37" fmla="*/ 8 h 11"/>
                  <a:gd name="T38" fmla="*/ 3 w 15"/>
                  <a:gd name="T39" fmla="*/ 9 h 11"/>
                  <a:gd name="T40" fmla="*/ 4 w 15"/>
                  <a:gd name="T41" fmla="*/ 8 h 11"/>
                  <a:gd name="T42" fmla="*/ 4 w 15"/>
                  <a:gd name="T43" fmla="*/ 7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5" h="11">
                    <a:moveTo>
                      <a:pt x="4" y="7"/>
                    </a:moveTo>
                    <a:cubicBezTo>
                      <a:pt x="3" y="8"/>
                      <a:pt x="3" y="8"/>
                      <a:pt x="2" y="8"/>
                    </a:cubicBezTo>
                    <a:cubicBezTo>
                      <a:pt x="2" y="9"/>
                      <a:pt x="3" y="10"/>
                      <a:pt x="3" y="9"/>
                    </a:cubicBezTo>
                    <a:cubicBezTo>
                      <a:pt x="4" y="9"/>
                      <a:pt x="4" y="9"/>
                      <a:pt x="4" y="8"/>
                    </a:cubicBezTo>
                    <a:cubicBezTo>
                      <a:pt x="5" y="8"/>
                      <a:pt x="4" y="7"/>
                      <a:pt x="3" y="7"/>
                    </a:cubicBezTo>
                    <a:cubicBezTo>
                      <a:pt x="2" y="7"/>
                      <a:pt x="2" y="8"/>
                      <a:pt x="1" y="8"/>
                    </a:cubicBezTo>
                    <a:cubicBezTo>
                      <a:pt x="0" y="9"/>
                      <a:pt x="2" y="11"/>
                      <a:pt x="3" y="10"/>
                    </a:cubicBezTo>
                    <a:cubicBezTo>
                      <a:pt x="5" y="8"/>
                      <a:pt x="7" y="6"/>
                      <a:pt x="9" y="4"/>
                    </a:cubicBezTo>
                    <a:cubicBezTo>
                      <a:pt x="10" y="3"/>
                      <a:pt x="10" y="3"/>
                      <a:pt x="11" y="4"/>
                    </a:cubicBezTo>
                    <a:cubicBezTo>
                      <a:pt x="12" y="6"/>
                      <a:pt x="12" y="6"/>
                      <a:pt x="14" y="7"/>
                    </a:cubicBezTo>
                    <a:cubicBezTo>
                      <a:pt x="15" y="7"/>
                      <a:pt x="15" y="6"/>
                      <a:pt x="15" y="6"/>
                    </a:cubicBezTo>
                    <a:cubicBezTo>
                      <a:pt x="15" y="4"/>
                      <a:pt x="13" y="2"/>
                      <a:pt x="11" y="1"/>
                    </a:cubicBezTo>
                    <a:cubicBezTo>
                      <a:pt x="11" y="1"/>
                      <a:pt x="10" y="0"/>
                      <a:pt x="9" y="1"/>
                    </a:cubicBezTo>
                    <a:cubicBezTo>
                      <a:pt x="8" y="1"/>
                      <a:pt x="7" y="3"/>
                      <a:pt x="6" y="4"/>
                    </a:cubicBezTo>
                    <a:cubicBezTo>
                      <a:pt x="4" y="5"/>
                      <a:pt x="3" y="7"/>
                      <a:pt x="1" y="8"/>
                    </a:cubicBezTo>
                    <a:cubicBezTo>
                      <a:pt x="2" y="9"/>
                      <a:pt x="2" y="9"/>
                      <a:pt x="3" y="10"/>
                    </a:cubicBezTo>
                    <a:cubicBezTo>
                      <a:pt x="3" y="9"/>
                      <a:pt x="4" y="9"/>
                      <a:pt x="4" y="8"/>
                    </a:cubicBezTo>
                    <a:cubicBezTo>
                      <a:pt x="4" y="8"/>
                      <a:pt x="3" y="8"/>
                      <a:pt x="3" y="8"/>
                    </a:cubicBezTo>
                    <a:cubicBezTo>
                      <a:pt x="3" y="8"/>
                      <a:pt x="2" y="8"/>
                      <a:pt x="2" y="8"/>
                    </a:cubicBezTo>
                    <a:cubicBezTo>
                      <a:pt x="3" y="9"/>
                      <a:pt x="3" y="9"/>
                      <a:pt x="3" y="9"/>
                    </a:cubicBezTo>
                    <a:cubicBezTo>
                      <a:pt x="4" y="9"/>
                      <a:pt x="4" y="8"/>
                      <a:pt x="4" y="8"/>
                    </a:cubicBezTo>
                    <a:cubicBezTo>
                      <a:pt x="4" y="8"/>
                      <a:pt x="4" y="7"/>
                      <a:pt x="4" y="7"/>
                    </a:cubicBezTo>
                    <a:close/>
                  </a:path>
                </a:pathLst>
              </a:custGeom>
              <a:solidFill>
                <a:srgbClr val="3A12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61" name="Freeform 89">
                <a:extLst>
                  <a:ext uri="{FF2B5EF4-FFF2-40B4-BE49-F238E27FC236}">
                    <a16:creationId xmlns:a16="http://schemas.microsoft.com/office/drawing/2014/main" id="{2C29A3D1-6F7B-4C6E-9E6B-81402FC94733}"/>
                  </a:ext>
                </a:extLst>
              </p:cNvPr>
              <p:cNvSpPr>
                <a:spLocks/>
              </p:cNvSpPr>
              <p:nvPr/>
            </p:nvSpPr>
            <p:spPr bwMode="auto">
              <a:xfrm>
                <a:off x="1417638" y="2436813"/>
                <a:ext cx="22225" cy="19050"/>
              </a:xfrm>
              <a:custGeom>
                <a:avLst/>
                <a:gdLst>
                  <a:gd name="T0" fmla="*/ 4 w 11"/>
                  <a:gd name="T1" fmla="*/ 9 h 9"/>
                  <a:gd name="T2" fmla="*/ 7 w 11"/>
                  <a:gd name="T3" fmla="*/ 7 h 9"/>
                  <a:gd name="T4" fmla="*/ 10 w 11"/>
                  <a:gd name="T5" fmla="*/ 5 h 9"/>
                  <a:gd name="T6" fmla="*/ 8 w 11"/>
                  <a:gd name="T7" fmla="*/ 1 h 9"/>
                  <a:gd name="T8" fmla="*/ 3 w 11"/>
                  <a:gd name="T9" fmla="*/ 8 h 9"/>
                  <a:gd name="T10" fmla="*/ 4 w 11"/>
                  <a:gd name="T11" fmla="*/ 9 h 9"/>
                </a:gdLst>
                <a:ahLst/>
                <a:cxnLst>
                  <a:cxn ang="0">
                    <a:pos x="T0" y="T1"/>
                  </a:cxn>
                  <a:cxn ang="0">
                    <a:pos x="T2" y="T3"/>
                  </a:cxn>
                  <a:cxn ang="0">
                    <a:pos x="T4" y="T5"/>
                  </a:cxn>
                  <a:cxn ang="0">
                    <a:pos x="T6" y="T7"/>
                  </a:cxn>
                  <a:cxn ang="0">
                    <a:pos x="T8" y="T9"/>
                  </a:cxn>
                  <a:cxn ang="0">
                    <a:pos x="T10" y="T11"/>
                  </a:cxn>
                </a:cxnLst>
                <a:rect l="0" t="0" r="r" b="b"/>
                <a:pathLst>
                  <a:path w="11" h="9">
                    <a:moveTo>
                      <a:pt x="4" y="9"/>
                    </a:moveTo>
                    <a:cubicBezTo>
                      <a:pt x="5" y="9"/>
                      <a:pt x="6" y="8"/>
                      <a:pt x="7" y="7"/>
                    </a:cubicBezTo>
                    <a:cubicBezTo>
                      <a:pt x="8" y="7"/>
                      <a:pt x="9" y="6"/>
                      <a:pt x="10" y="5"/>
                    </a:cubicBezTo>
                    <a:cubicBezTo>
                      <a:pt x="11" y="4"/>
                      <a:pt x="10" y="0"/>
                      <a:pt x="8" y="1"/>
                    </a:cubicBezTo>
                    <a:cubicBezTo>
                      <a:pt x="5" y="1"/>
                      <a:pt x="0" y="5"/>
                      <a:pt x="3" y="8"/>
                    </a:cubicBezTo>
                    <a:cubicBezTo>
                      <a:pt x="3" y="8"/>
                      <a:pt x="3" y="9"/>
                      <a:pt x="4" y="9"/>
                    </a:cubicBezTo>
                    <a:close/>
                  </a:path>
                </a:pathLst>
              </a:custGeom>
              <a:solidFill>
                <a:srgbClr val="3A12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62" name="Freeform 90">
                <a:extLst>
                  <a:ext uri="{FF2B5EF4-FFF2-40B4-BE49-F238E27FC236}">
                    <a16:creationId xmlns:a16="http://schemas.microsoft.com/office/drawing/2014/main" id="{296B544E-6FA7-43FC-A836-812A02C344E7}"/>
                  </a:ext>
                </a:extLst>
              </p:cNvPr>
              <p:cNvSpPr>
                <a:spLocks/>
              </p:cNvSpPr>
              <p:nvPr/>
            </p:nvSpPr>
            <p:spPr bwMode="auto">
              <a:xfrm>
                <a:off x="1419225" y="2443163"/>
                <a:ext cx="14288" cy="12700"/>
              </a:xfrm>
              <a:custGeom>
                <a:avLst/>
                <a:gdLst>
                  <a:gd name="T0" fmla="*/ 2 w 7"/>
                  <a:gd name="T1" fmla="*/ 4 h 6"/>
                  <a:gd name="T2" fmla="*/ 2 w 7"/>
                  <a:gd name="T3" fmla="*/ 4 h 6"/>
                  <a:gd name="T4" fmla="*/ 1 w 7"/>
                  <a:gd name="T5" fmla="*/ 6 h 6"/>
                  <a:gd name="T6" fmla="*/ 4 w 7"/>
                  <a:gd name="T7" fmla="*/ 5 h 6"/>
                  <a:gd name="T8" fmla="*/ 2 w 7"/>
                  <a:gd name="T9" fmla="*/ 2 h 6"/>
                  <a:gd name="T10" fmla="*/ 1 w 7"/>
                  <a:gd name="T11" fmla="*/ 6 h 6"/>
                  <a:gd name="T12" fmla="*/ 2 w 7"/>
                  <a:gd name="T13" fmla="*/ 5 h 6"/>
                  <a:gd name="T14" fmla="*/ 3 w 7"/>
                  <a:gd name="T15" fmla="*/ 5 h 6"/>
                  <a:gd name="T16" fmla="*/ 2 w 7"/>
                  <a:gd name="T17"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6">
                    <a:moveTo>
                      <a:pt x="2" y="4"/>
                    </a:moveTo>
                    <a:cubicBezTo>
                      <a:pt x="2" y="4"/>
                      <a:pt x="2" y="4"/>
                      <a:pt x="2" y="4"/>
                    </a:cubicBezTo>
                    <a:cubicBezTo>
                      <a:pt x="2" y="5"/>
                      <a:pt x="2" y="5"/>
                      <a:pt x="1" y="6"/>
                    </a:cubicBezTo>
                    <a:cubicBezTo>
                      <a:pt x="2" y="6"/>
                      <a:pt x="3" y="5"/>
                      <a:pt x="4" y="5"/>
                    </a:cubicBezTo>
                    <a:cubicBezTo>
                      <a:pt x="7" y="3"/>
                      <a:pt x="4" y="0"/>
                      <a:pt x="2" y="2"/>
                    </a:cubicBezTo>
                    <a:cubicBezTo>
                      <a:pt x="1" y="3"/>
                      <a:pt x="0" y="4"/>
                      <a:pt x="1" y="6"/>
                    </a:cubicBezTo>
                    <a:cubicBezTo>
                      <a:pt x="1" y="6"/>
                      <a:pt x="2" y="6"/>
                      <a:pt x="2" y="5"/>
                    </a:cubicBezTo>
                    <a:cubicBezTo>
                      <a:pt x="2" y="5"/>
                      <a:pt x="3" y="5"/>
                      <a:pt x="3" y="5"/>
                    </a:cubicBezTo>
                    <a:cubicBezTo>
                      <a:pt x="3" y="5"/>
                      <a:pt x="3" y="4"/>
                      <a:pt x="2" y="4"/>
                    </a:cubicBezTo>
                    <a:close/>
                  </a:path>
                </a:pathLst>
              </a:custGeom>
              <a:solidFill>
                <a:srgbClr val="3A12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63" name="Freeform 91">
                <a:extLst>
                  <a:ext uri="{FF2B5EF4-FFF2-40B4-BE49-F238E27FC236}">
                    <a16:creationId xmlns:a16="http://schemas.microsoft.com/office/drawing/2014/main" id="{8698BF06-5974-44AD-B08F-E8100EE8F619}"/>
                  </a:ext>
                </a:extLst>
              </p:cNvPr>
              <p:cNvSpPr>
                <a:spLocks/>
              </p:cNvSpPr>
              <p:nvPr/>
            </p:nvSpPr>
            <p:spPr bwMode="auto">
              <a:xfrm>
                <a:off x="1428750" y="2449513"/>
                <a:ext cx="17463" cy="11112"/>
              </a:xfrm>
              <a:custGeom>
                <a:avLst/>
                <a:gdLst>
                  <a:gd name="T0" fmla="*/ 1 w 8"/>
                  <a:gd name="T1" fmla="*/ 5 h 6"/>
                  <a:gd name="T2" fmla="*/ 1 w 8"/>
                  <a:gd name="T3" fmla="*/ 5 h 6"/>
                  <a:gd name="T4" fmla="*/ 1 w 8"/>
                  <a:gd name="T5" fmla="*/ 6 h 6"/>
                  <a:gd name="T6" fmla="*/ 4 w 8"/>
                  <a:gd name="T7" fmla="*/ 4 h 6"/>
                  <a:gd name="T8" fmla="*/ 8 w 8"/>
                  <a:gd name="T9" fmla="*/ 0 h 6"/>
                  <a:gd name="T10" fmla="*/ 7 w 8"/>
                  <a:gd name="T11" fmla="*/ 0 h 6"/>
                  <a:gd name="T12" fmla="*/ 0 w 8"/>
                  <a:gd name="T13" fmla="*/ 5 h 6"/>
                  <a:gd name="T14" fmla="*/ 1 w 8"/>
                  <a:gd name="T15" fmla="*/ 5 h 6"/>
                  <a:gd name="T16" fmla="*/ 1 w 8"/>
                  <a:gd name="T17" fmla="*/ 5 h 6"/>
                  <a:gd name="T18" fmla="*/ 1 w 8"/>
                  <a:gd name="T19"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6">
                    <a:moveTo>
                      <a:pt x="1" y="5"/>
                    </a:moveTo>
                    <a:cubicBezTo>
                      <a:pt x="1" y="5"/>
                      <a:pt x="1" y="5"/>
                      <a:pt x="1" y="5"/>
                    </a:cubicBezTo>
                    <a:cubicBezTo>
                      <a:pt x="0" y="4"/>
                      <a:pt x="0" y="6"/>
                      <a:pt x="1" y="6"/>
                    </a:cubicBezTo>
                    <a:cubicBezTo>
                      <a:pt x="2" y="6"/>
                      <a:pt x="3" y="5"/>
                      <a:pt x="4" y="4"/>
                    </a:cubicBezTo>
                    <a:cubicBezTo>
                      <a:pt x="5" y="3"/>
                      <a:pt x="7" y="2"/>
                      <a:pt x="8" y="0"/>
                    </a:cubicBezTo>
                    <a:cubicBezTo>
                      <a:pt x="8" y="0"/>
                      <a:pt x="8" y="0"/>
                      <a:pt x="7" y="0"/>
                    </a:cubicBezTo>
                    <a:cubicBezTo>
                      <a:pt x="4" y="0"/>
                      <a:pt x="3" y="3"/>
                      <a:pt x="0" y="5"/>
                    </a:cubicBezTo>
                    <a:cubicBezTo>
                      <a:pt x="1" y="5"/>
                      <a:pt x="1" y="5"/>
                      <a:pt x="1" y="5"/>
                    </a:cubicBezTo>
                    <a:cubicBezTo>
                      <a:pt x="1" y="5"/>
                      <a:pt x="1" y="5"/>
                      <a:pt x="1" y="5"/>
                    </a:cubicBezTo>
                    <a:cubicBezTo>
                      <a:pt x="1" y="5"/>
                      <a:pt x="1" y="5"/>
                      <a:pt x="1" y="5"/>
                    </a:cubicBezTo>
                    <a:close/>
                  </a:path>
                </a:pathLst>
              </a:custGeom>
              <a:solidFill>
                <a:srgbClr val="3A12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64" name="Freeform 92">
                <a:extLst>
                  <a:ext uri="{FF2B5EF4-FFF2-40B4-BE49-F238E27FC236}">
                    <a16:creationId xmlns:a16="http://schemas.microsoft.com/office/drawing/2014/main" id="{756E0E9A-7236-4991-BB17-59C30AD7204D}"/>
                  </a:ext>
                </a:extLst>
              </p:cNvPr>
              <p:cNvSpPr>
                <a:spLocks/>
              </p:cNvSpPr>
              <p:nvPr/>
            </p:nvSpPr>
            <p:spPr bwMode="auto">
              <a:xfrm>
                <a:off x="1431925" y="2444750"/>
                <a:ext cx="15875" cy="14287"/>
              </a:xfrm>
              <a:custGeom>
                <a:avLst/>
                <a:gdLst>
                  <a:gd name="T0" fmla="*/ 1 w 8"/>
                  <a:gd name="T1" fmla="*/ 7 h 7"/>
                  <a:gd name="T2" fmla="*/ 8 w 8"/>
                  <a:gd name="T3" fmla="*/ 1 h 7"/>
                  <a:gd name="T4" fmla="*/ 7 w 8"/>
                  <a:gd name="T5" fmla="*/ 0 h 7"/>
                  <a:gd name="T6" fmla="*/ 4 w 8"/>
                  <a:gd name="T7" fmla="*/ 3 h 7"/>
                  <a:gd name="T8" fmla="*/ 0 w 8"/>
                  <a:gd name="T9" fmla="*/ 6 h 7"/>
                  <a:gd name="T10" fmla="*/ 1 w 8"/>
                  <a:gd name="T11" fmla="*/ 7 h 7"/>
                </a:gdLst>
                <a:ahLst/>
                <a:cxnLst>
                  <a:cxn ang="0">
                    <a:pos x="T0" y="T1"/>
                  </a:cxn>
                  <a:cxn ang="0">
                    <a:pos x="T2" y="T3"/>
                  </a:cxn>
                  <a:cxn ang="0">
                    <a:pos x="T4" y="T5"/>
                  </a:cxn>
                  <a:cxn ang="0">
                    <a:pos x="T6" y="T7"/>
                  </a:cxn>
                  <a:cxn ang="0">
                    <a:pos x="T8" y="T9"/>
                  </a:cxn>
                  <a:cxn ang="0">
                    <a:pos x="T10" y="T11"/>
                  </a:cxn>
                </a:cxnLst>
                <a:rect l="0" t="0" r="r" b="b"/>
                <a:pathLst>
                  <a:path w="8" h="7">
                    <a:moveTo>
                      <a:pt x="1" y="7"/>
                    </a:moveTo>
                    <a:cubicBezTo>
                      <a:pt x="3" y="7"/>
                      <a:pt x="8" y="4"/>
                      <a:pt x="8" y="1"/>
                    </a:cubicBezTo>
                    <a:cubicBezTo>
                      <a:pt x="8" y="1"/>
                      <a:pt x="7" y="0"/>
                      <a:pt x="7" y="0"/>
                    </a:cubicBezTo>
                    <a:cubicBezTo>
                      <a:pt x="6" y="1"/>
                      <a:pt x="5" y="2"/>
                      <a:pt x="4" y="3"/>
                    </a:cubicBezTo>
                    <a:cubicBezTo>
                      <a:pt x="3" y="4"/>
                      <a:pt x="2" y="5"/>
                      <a:pt x="0" y="6"/>
                    </a:cubicBezTo>
                    <a:cubicBezTo>
                      <a:pt x="0" y="7"/>
                      <a:pt x="0" y="7"/>
                      <a:pt x="1" y="7"/>
                    </a:cubicBezTo>
                    <a:close/>
                  </a:path>
                </a:pathLst>
              </a:custGeom>
              <a:solidFill>
                <a:srgbClr val="3A12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65" name="Freeform 93">
                <a:extLst>
                  <a:ext uri="{FF2B5EF4-FFF2-40B4-BE49-F238E27FC236}">
                    <a16:creationId xmlns:a16="http://schemas.microsoft.com/office/drawing/2014/main" id="{931876C2-562A-46B5-948B-198E373F5E6A}"/>
                  </a:ext>
                </a:extLst>
              </p:cNvPr>
              <p:cNvSpPr>
                <a:spLocks/>
              </p:cNvSpPr>
              <p:nvPr/>
            </p:nvSpPr>
            <p:spPr bwMode="auto">
              <a:xfrm>
                <a:off x="1301750" y="2327275"/>
                <a:ext cx="14288" cy="31750"/>
              </a:xfrm>
              <a:custGeom>
                <a:avLst/>
                <a:gdLst>
                  <a:gd name="T0" fmla="*/ 1 w 7"/>
                  <a:gd name="T1" fmla="*/ 0 h 15"/>
                  <a:gd name="T2" fmla="*/ 2 w 7"/>
                  <a:gd name="T3" fmla="*/ 9 h 15"/>
                  <a:gd name="T4" fmla="*/ 6 w 7"/>
                  <a:gd name="T5" fmla="*/ 15 h 15"/>
                  <a:gd name="T6" fmla="*/ 7 w 7"/>
                  <a:gd name="T7" fmla="*/ 15 h 15"/>
                  <a:gd name="T8" fmla="*/ 6 w 7"/>
                  <a:gd name="T9" fmla="*/ 12 h 15"/>
                  <a:gd name="T10" fmla="*/ 4 w 7"/>
                  <a:gd name="T11" fmla="*/ 8 h 15"/>
                  <a:gd name="T12" fmla="*/ 2 w 7"/>
                  <a:gd name="T13" fmla="*/ 0 h 15"/>
                  <a:gd name="T14" fmla="*/ 1 w 7"/>
                  <a:gd name="T15" fmla="*/ 0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15">
                    <a:moveTo>
                      <a:pt x="1" y="0"/>
                    </a:moveTo>
                    <a:cubicBezTo>
                      <a:pt x="0" y="3"/>
                      <a:pt x="1" y="6"/>
                      <a:pt x="2" y="9"/>
                    </a:cubicBezTo>
                    <a:cubicBezTo>
                      <a:pt x="3" y="11"/>
                      <a:pt x="4" y="15"/>
                      <a:pt x="6" y="15"/>
                    </a:cubicBezTo>
                    <a:cubicBezTo>
                      <a:pt x="7" y="15"/>
                      <a:pt x="7" y="15"/>
                      <a:pt x="7" y="15"/>
                    </a:cubicBezTo>
                    <a:cubicBezTo>
                      <a:pt x="7" y="14"/>
                      <a:pt x="7" y="13"/>
                      <a:pt x="6" y="12"/>
                    </a:cubicBezTo>
                    <a:cubicBezTo>
                      <a:pt x="5" y="11"/>
                      <a:pt x="5" y="9"/>
                      <a:pt x="4" y="8"/>
                    </a:cubicBezTo>
                    <a:cubicBezTo>
                      <a:pt x="3" y="5"/>
                      <a:pt x="3" y="3"/>
                      <a:pt x="2" y="0"/>
                    </a:cubicBezTo>
                    <a:cubicBezTo>
                      <a:pt x="1" y="0"/>
                      <a:pt x="1" y="0"/>
                      <a:pt x="1" y="0"/>
                    </a:cubicBezTo>
                    <a:close/>
                  </a:path>
                </a:pathLst>
              </a:custGeom>
              <a:solidFill>
                <a:srgbClr val="3A12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66" name="Freeform 94">
                <a:extLst>
                  <a:ext uri="{FF2B5EF4-FFF2-40B4-BE49-F238E27FC236}">
                    <a16:creationId xmlns:a16="http://schemas.microsoft.com/office/drawing/2014/main" id="{CADAD257-019D-4576-A465-91540D2429CB}"/>
                  </a:ext>
                </a:extLst>
              </p:cNvPr>
              <p:cNvSpPr>
                <a:spLocks/>
              </p:cNvSpPr>
              <p:nvPr/>
            </p:nvSpPr>
            <p:spPr bwMode="auto">
              <a:xfrm>
                <a:off x="1325563" y="2319338"/>
                <a:ext cx="12700" cy="34925"/>
              </a:xfrm>
              <a:custGeom>
                <a:avLst/>
                <a:gdLst>
                  <a:gd name="T0" fmla="*/ 0 w 6"/>
                  <a:gd name="T1" fmla="*/ 0 h 17"/>
                  <a:gd name="T2" fmla="*/ 2 w 6"/>
                  <a:gd name="T3" fmla="*/ 9 h 17"/>
                  <a:gd name="T4" fmla="*/ 3 w 6"/>
                  <a:gd name="T5" fmla="*/ 17 h 17"/>
                  <a:gd name="T6" fmla="*/ 5 w 6"/>
                  <a:gd name="T7" fmla="*/ 17 h 17"/>
                  <a:gd name="T8" fmla="*/ 5 w 6"/>
                  <a:gd name="T9" fmla="*/ 8 h 17"/>
                  <a:gd name="T10" fmla="*/ 1 w 6"/>
                  <a:gd name="T11" fmla="*/ 0 h 17"/>
                  <a:gd name="T12" fmla="*/ 0 w 6"/>
                  <a:gd name="T13" fmla="*/ 0 h 17"/>
                </a:gdLst>
                <a:ahLst/>
                <a:cxnLst>
                  <a:cxn ang="0">
                    <a:pos x="T0" y="T1"/>
                  </a:cxn>
                  <a:cxn ang="0">
                    <a:pos x="T2" y="T3"/>
                  </a:cxn>
                  <a:cxn ang="0">
                    <a:pos x="T4" y="T5"/>
                  </a:cxn>
                  <a:cxn ang="0">
                    <a:pos x="T6" y="T7"/>
                  </a:cxn>
                  <a:cxn ang="0">
                    <a:pos x="T8" y="T9"/>
                  </a:cxn>
                  <a:cxn ang="0">
                    <a:pos x="T10" y="T11"/>
                  </a:cxn>
                  <a:cxn ang="0">
                    <a:pos x="T12" y="T13"/>
                  </a:cxn>
                </a:cxnLst>
                <a:rect l="0" t="0" r="r" b="b"/>
                <a:pathLst>
                  <a:path w="6" h="17">
                    <a:moveTo>
                      <a:pt x="0" y="0"/>
                    </a:moveTo>
                    <a:cubicBezTo>
                      <a:pt x="0" y="3"/>
                      <a:pt x="1" y="6"/>
                      <a:pt x="2" y="9"/>
                    </a:cubicBezTo>
                    <a:cubicBezTo>
                      <a:pt x="2" y="11"/>
                      <a:pt x="2" y="14"/>
                      <a:pt x="3" y="17"/>
                    </a:cubicBezTo>
                    <a:cubicBezTo>
                      <a:pt x="4" y="17"/>
                      <a:pt x="4" y="17"/>
                      <a:pt x="5" y="17"/>
                    </a:cubicBezTo>
                    <a:cubicBezTo>
                      <a:pt x="6" y="14"/>
                      <a:pt x="5" y="11"/>
                      <a:pt x="5" y="8"/>
                    </a:cubicBezTo>
                    <a:cubicBezTo>
                      <a:pt x="4" y="5"/>
                      <a:pt x="3" y="2"/>
                      <a:pt x="1" y="0"/>
                    </a:cubicBezTo>
                    <a:cubicBezTo>
                      <a:pt x="1" y="0"/>
                      <a:pt x="0" y="0"/>
                      <a:pt x="0" y="0"/>
                    </a:cubicBezTo>
                    <a:close/>
                  </a:path>
                </a:pathLst>
              </a:custGeom>
              <a:solidFill>
                <a:srgbClr val="3A12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67" name="Freeform 95">
                <a:extLst>
                  <a:ext uri="{FF2B5EF4-FFF2-40B4-BE49-F238E27FC236}">
                    <a16:creationId xmlns:a16="http://schemas.microsoft.com/office/drawing/2014/main" id="{691BA027-D37A-46CF-A1C5-2721087C51D4}"/>
                  </a:ext>
                </a:extLst>
              </p:cNvPr>
              <p:cNvSpPr>
                <a:spLocks/>
              </p:cNvSpPr>
              <p:nvPr/>
            </p:nvSpPr>
            <p:spPr bwMode="auto">
              <a:xfrm>
                <a:off x="1303338" y="2317750"/>
                <a:ext cx="33338" cy="38100"/>
              </a:xfrm>
              <a:custGeom>
                <a:avLst/>
                <a:gdLst>
                  <a:gd name="T0" fmla="*/ 0 w 16"/>
                  <a:gd name="T1" fmla="*/ 6 h 19"/>
                  <a:gd name="T2" fmla="*/ 5 w 16"/>
                  <a:gd name="T3" fmla="*/ 17 h 19"/>
                  <a:gd name="T4" fmla="*/ 7 w 16"/>
                  <a:gd name="T5" fmla="*/ 7 h 19"/>
                  <a:gd name="T6" fmla="*/ 2 w 16"/>
                  <a:gd name="T7" fmla="*/ 11 h 19"/>
                  <a:gd name="T8" fmla="*/ 10 w 16"/>
                  <a:gd name="T9" fmla="*/ 14 h 19"/>
                  <a:gd name="T10" fmla="*/ 6 w 16"/>
                  <a:gd name="T11" fmla="*/ 6 h 19"/>
                  <a:gd name="T12" fmla="*/ 9 w 16"/>
                  <a:gd name="T13" fmla="*/ 16 h 19"/>
                  <a:gd name="T14" fmla="*/ 7 w 16"/>
                  <a:gd name="T15" fmla="*/ 5 h 19"/>
                  <a:gd name="T16" fmla="*/ 6 w 16"/>
                  <a:gd name="T17" fmla="*/ 14 h 19"/>
                  <a:gd name="T18" fmla="*/ 12 w 16"/>
                  <a:gd name="T19" fmla="*/ 6 h 19"/>
                  <a:gd name="T20" fmla="*/ 12 w 16"/>
                  <a:gd name="T21" fmla="*/ 15 h 19"/>
                  <a:gd name="T22" fmla="*/ 9 w 16"/>
                  <a:gd name="T23" fmla="*/ 7 h 19"/>
                  <a:gd name="T24" fmla="*/ 11 w 16"/>
                  <a:gd name="T25" fmla="*/ 16 h 19"/>
                  <a:gd name="T26" fmla="*/ 11 w 16"/>
                  <a:gd name="T27" fmla="*/ 9 h 19"/>
                  <a:gd name="T28" fmla="*/ 9 w 16"/>
                  <a:gd name="T29" fmla="*/ 17 h 19"/>
                  <a:gd name="T30" fmla="*/ 11 w 16"/>
                  <a:gd name="T31" fmla="*/ 13 h 19"/>
                  <a:gd name="T32" fmla="*/ 10 w 16"/>
                  <a:gd name="T33" fmla="*/ 19 h 19"/>
                  <a:gd name="T34" fmla="*/ 10 w 16"/>
                  <a:gd name="T35" fmla="*/ 14 h 19"/>
                  <a:gd name="T36" fmla="*/ 11 w 16"/>
                  <a:gd name="T37" fmla="*/ 18 h 19"/>
                  <a:gd name="T38" fmla="*/ 9 w 16"/>
                  <a:gd name="T39" fmla="*/ 15 h 19"/>
                  <a:gd name="T40" fmla="*/ 11 w 16"/>
                  <a:gd name="T41" fmla="*/ 18 h 19"/>
                  <a:gd name="T42" fmla="*/ 12 w 16"/>
                  <a:gd name="T43" fmla="*/ 12 h 19"/>
                  <a:gd name="T44" fmla="*/ 9 w 16"/>
                  <a:gd name="T45" fmla="*/ 13 h 19"/>
                  <a:gd name="T46" fmla="*/ 12 w 16"/>
                  <a:gd name="T47" fmla="*/ 12 h 19"/>
                  <a:gd name="T48" fmla="*/ 11 w 16"/>
                  <a:gd name="T49" fmla="*/ 13 h 19"/>
                  <a:gd name="T50" fmla="*/ 9 w 16"/>
                  <a:gd name="T51" fmla="*/ 12 h 19"/>
                  <a:gd name="T52" fmla="*/ 12 w 16"/>
                  <a:gd name="T53" fmla="*/ 11 h 19"/>
                  <a:gd name="T54" fmla="*/ 12 w 16"/>
                  <a:gd name="T55" fmla="*/ 13 h 19"/>
                  <a:gd name="T56" fmla="*/ 10 w 16"/>
                  <a:gd name="T57" fmla="*/ 11 h 19"/>
                  <a:gd name="T58" fmla="*/ 9 w 16"/>
                  <a:gd name="T59" fmla="*/ 10 h 19"/>
                  <a:gd name="T60" fmla="*/ 9 w 16"/>
                  <a:gd name="T61" fmla="*/ 12 h 19"/>
                  <a:gd name="T62" fmla="*/ 11 w 16"/>
                  <a:gd name="T63" fmla="*/ 12 h 19"/>
                  <a:gd name="T64" fmla="*/ 11 w 16"/>
                  <a:gd name="T65" fmla="*/ 9 h 19"/>
                  <a:gd name="T66" fmla="*/ 5 w 16"/>
                  <a:gd name="T67" fmla="*/ 12 h 19"/>
                  <a:gd name="T68" fmla="*/ 8 w 16"/>
                  <a:gd name="T69" fmla="*/ 11 h 19"/>
                  <a:gd name="T70" fmla="*/ 10 w 16"/>
                  <a:gd name="T71" fmla="*/ 9 h 19"/>
                  <a:gd name="T72" fmla="*/ 5 w 16"/>
                  <a:gd name="T73" fmla="*/ 12 h 19"/>
                  <a:gd name="T74" fmla="*/ 5 w 16"/>
                  <a:gd name="T75" fmla="*/ 13 h 19"/>
                  <a:gd name="T76" fmla="*/ 6 w 16"/>
                  <a:gd name="T77" fmla="*/ 9 h 19"/>
                  <a:gd name="T78" fmla="*/ 5 w 16"/>
                  <a:gd name="T79" fmla="*/ 11 h 19"/>
                  <a:gd name="T80" fmla="*/ 3 w 16"/>
                  <a:gd name="T81" fmla="*/ 13 h 19"/>
                  <a:gd name="T82" fmla="*/ 4 w 16"/>
                  <a:gd name="T83" fmla="*/ 12 h 19"/>
                  <a:gd name="T84" fmla="*/ 7 w 16"/>
                  <a:gd name="T85" fmla="*/ 12 h 19"/>
                  <a:gd name="T86" fmla="*/ 5 w 16"/>
                  <a:gd name="T87" fmla="*/ 8 h 19"/>
                  <a:gd name="T88" fmla="*/ 11 w 16"/>
                  <a:gd name="T89" fmla="*/ 3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6" h="19">
                    <a:moveTo>
                      <a:pt x="11" y="3"/>
                    </a:moveTo>
                    <a:cubicBezTo>
                      <a:pt x="7" y="2"/>
                      <a:pt x="1" y="0"/>
                      <a:pt x="0" y="6"/>
                    </a:cubicBezTo>
                    <a:cubicBezTo>
                      <a:pt x="0" y="8"/>
                      <a:pt x="1" y="10"/>
                      <a:pt x="1" y="12"/>
                    </a:cubicBezTo>
                    <a:cubicBezTo>
                      <a:pt x="2" y="14"/>
                      <a:pt x="3" y="17"/>
                      <a:pt x="5" y="17"/>
                    </a:cubicBezTo>
                    <a:cubicBezTo>
                      <a:pt x="6" y="17"/>
                      <a:pt x="7" y="17"/>
                      <a:pt x="8" y="16"/>
                    </a:cubicBezTo>
                    <a:cubicBezTo>
                      <a:pt x="9" y="14"/>
                      <a:pt x="8" y="9"/>
                      <a:pt x="7" y="7"/>
                    </a:cubicBezTo>
                    <a:cubicBezTo>
                      <a:pt x="6" y="6"/>
                      <a:pt x="6" y="6"/>
                      <a:pt x="5" y="6"/>
                    </a:cubicBezTo>
                    <a:cubicBezTo>
                      <a:pt x="2" y="6"/>
                      <a:pt x="2" y="8"/>
                      <a:pt x="2" y="11"/>
                    </a:cubicBezTo>
                    <a:cubicBezTo>
                      <a:pt x="2" y="13"/>
                      <a:pt x="2" y="17"/>
                      <a:pt x="5" y="18"/>
                    </a:cubicBezTo>
                    <a:cubicBezTo>
                      <a:pt x="8" y="19"/>
                      <a:pt x="9" y="16"/>
                      <a:pt x="10" y="14"/>
                    </a:cubicBezTo>
                    <a:cubicBezTo>
                      <a:pt x="11" y="11"/>
                      <a:pt x="12" y="8"/>
                      <a:pt x="10" y="5"/>
                    </a:cubicBezTo>
                    <a:cubicBezTo>
                      <a:pt x="9" y="4"/>
                      <a:pt x="7" y="5"/>
                      <a:pt x="6" y="6"/>
                    </a:cubicBezTo>
                    <a:cubicBezTo>
                      <a:pt x="4" y="9"/>
                      <a:pt x="2" y="14"/>
                      <a:pt x="6" y="16"/>
                    </a:cubicBezTo>
                    <a:cubicBezTo>
                      <a:pt x="7" y="17"/>
                      <a:pt x="8" y="17"/>
                      <a:pt x="9" y="16"/>
                    </a:cubicBezTo>
                    <a:cubicBezTo>
                      <a:pt x="11" y="14"/>
                      <a:pt x="12" y="10"/>
                      <a:pt x="12" y="7"/>
                    </a:cubicBezTo>
                    <a:cubicBezTo>
                      <a:pt x="12" y="5"/>
                      <a:pt x="9" y="3"/>
                      <a:pt x="7" y="5"/>
                    </a:cubicBezTo>
                    <a:cubicBezTo>
                      <a:pt x="6" y="7"/>
                      <a:pt x="6" y="8"/>
                      <a:pt x="6" y="10"/>
                    </a:cubicBezTo>
                    <a:cubicBezTo>
                      <a:pt x="6" y="11"/>
                      <a:pt x="6" y="13"/>
                      <a:pt x="6" y="14"/>
                    </a:cubicBezTo>
                    <a:cubicBezTo>
                      <a:pt x="8" y="17"/>
                      <a:pt x="12" y="17"/>
                      <a:pt x="13" y="14"/>
                    </a:cubicBezTo>
                    <a:cubicBezTo>
                      <a:pt x="15" y="12"/>
                      <a:pt x="16" y="7"/>
                      <a:pt x="12" y="6"/>
                    </a:cubicBezTo>
                    <a:cubicBezTo>
                      <a:pt x="9" y="5"/>
                      <a:pt x="8" y="9"/>
                      <a:pt x="7" y="11"/>
                    </a:cubicBezTo>
                    <a:cubicBezTo>
                      <a:pt x="7" y="14"/>
                      <a:pt x="9" y="17"/>
                      <a:pt x="12" y="15"/>
                    </a:cubicBezTo>
                    <a:cubicBezTo>
                      <a:pt x="14" y="14"/>
                      <a:pt x="16" y="10"/>
                      <a:pt x="15" y="8"/>
                    </a:cubicBezTo>
                    <a:cubicBezTo>
                      <a:pt x="13" y="5"/>
                      <a:pt x="10" y="5"/>
                      <a:pt x="9" y="7"/>
                    </a:cubicBezTo>
                    <a:cubicBezTo>
                      <a:pt x="8" y="9"/>
                      <a:pt x="6" y="14"/>
                      <a:pt x="8" y="16"/>
                    </a:cubicBezTo>
                    <a:cubicBezTo>
                      <a:pt x="9" y="17"/>
                      <a:pt x="10" y="17"/>
                      <a:pt x="11" y="16"/>
                    </a:cubicBezTo>
                    <a:cubicBezTo>
                      <a:pt x="13" y="15"/>
                      <a:pt x="14" y="12"/>
                      <a:pt x="13" y="10"/>
                    </a:cubicBezTo>
                    <a:cubicBezTo>
                      <a:pt x="12" y="9"/>
                      <a:pt x="12" y="9"/>
                      <a:pt x="11" y="9"/>
                    </a:cubicBezTo>
                    <a:cubicBezTo>
                      <a:pt x="9" y="9"/>
                      <a:pt x="6" y="13"/>
                      <a:pt x="7" y="16"/>
                    </a:cubicBezTo>
                    <a:cubicBezTo>
                      <a:pt x="7" y="17"/>
                      <a:pt x="8" y="17"/>
                      <a:pt x="9" y="17"/>
                    </a:cubicBezTo>
                    <a:cubicBezTo>
                      <a:pt x="10" y="17"/>
                      <a:pt x="10" y="16"/>
                      <a:pt x="12" y="16"/>
                    </a:cubicBezTo>
                    <a:cubicBezTo>
                      <a:pt x="11" y="15"/>
                      <a:pt x="11" y="14"/>
                      <a:pt x="11" y="13"/>
                    </a:cubicBezTo>
                    <a:cubicBezTo>
                      <a:pt x="9" y="13"/>
                      <a:pt x="8" y="15"/>
                      <a:pt x="8" y="16"/>
                    </a:cubicBezTo>
                    <a:cubicBezTo>
                      <a:pt x="7" y="17"/>
                      <a:pt x="8" y="19"/>
                      <a:pt x="10" y="19"/>
                    </a:cubicBezTo>
                    <a:cubicBezTo>
                      <a:pt x="11" y="19"/>
                      <a:pt x="12" y="18"/>
                      <a:pt x="12" y="17"/>
                    </a:cubicBezTo>
                    <a:cubicBezTo>
                      <a:pt x="13" y="15"/>
                      <a:pt x="11" y="13"/>
                      <a:pt x="10" y="14"/>
                    </a:cubicBezTo>
                    <a:cubicBezTo>
                      <a:pt x="10" y="14"/>
                      <a:pt x="9" y="15"/>
                      <a:pt x="9" y="15"/>
                    </a:cubicBezTo>
                    <a:cubicBezTo>
                      <a:pt x="7" y="16"/>
                      <a:pt x="9" y="19"/>
                      <a:pt x="11" y="18"/>
                    </a:cubicBezTo>
                    <a:cubicBezTo>
                      <a:pt x="11" y="18"/>
                      <a:pt x="11" y="18"/>
                      <a:pt x="11" y="18"/>
                    </a:cubicBezTo>
                    <a:cubicBezTo>
                      <a:pt x="11" y="17"/>
                      <a:pt x="10" y="16"/>
                      <a:pt x="9" y="15"/>
                    </a:cubicBezTo>
                    <a:cubicBezTo>
                      <a:pt x="9" y="15"/>
                      <a:pt x="9" y="15"/>
                      <a:pt x="9" y="15"/>
                    </a:cubicBezTo>
                    <a:cubicBezTo>
                      <a:pt x="10" y="16"/>
                      <a:pt x="10" y="17"/>
                      <a:pt x="11" y="18"/>
                    </a:cubicBezTo>
                    <a:cubicBezTo>
                      <a:pt x="11" y="17"/>
                      <a:pt x="12" y="17"/>
                      <a:pt x="13" y="16"/>
                    </a:cubicBezTo>
                    <a:cubicBezTo>
                      <a:pt x="14" y="15"/>
                      <a:pt x="14" y="12"/>
                      <a:pt x="12" y="12"/>
                    </a:cubicBezTo>
                    <a:cubicBezTo>
                      <a:pt x="11" y="12"/>
                      <a:pt x="10" y="12"/>
                      <a:pt x="10" y="13"/>
                    </a:cubicBezTo>
                    <a:cubicBezTo>
                      <a:pt x="9" y="13"/>
                      <a:pt x="9" y="13"/>
                      <a:pt x="9" y="13"/>
                    </a:cubicBezTo>
                    <a:cubicBezTo>
                      <a:pt x="9" y="14"/>
                      <a:pt x="10" y="14"/>
                      <a:pt x="10" y="14"/>
                    </a:cubicBezTo>
                    <a:cubicBezTo>
                      <a:pt x="10" y="14"/>
                      <a:pt x="12" y="13"/>
                      <a:pt x="12" y="12"/>
                    </a:cubicBezTo>
                    <a:cubicBezTo>
                      <a:pt x="11" y="12"/>
                      <a:pt x="11" y="13"/>
                      <a:pt x="10" y="13"/>
                    </a:cubicBezTo>
                    <a:cubicBezTo>
                      <a:pt x="10" y="13"/>
                      <a:pt x="11" y="13"/>
                      <a:pt x="11" y="13"/>
                    </a:cubicBezTo>
                    <a:cubicBezTo>
                      <a:pt x="10" y="12"/>
                      <a:pt x="10" y="12"/>
                      <a:pt x="9" y="11"/>
                    </a:cubicBezTo>
                    <a:cubicBezTo>
                      <a:pt x="9" y="12"/>
                      <a:pt x="9" y="12"/>
                      <a:pt x="9" y="12"/>
                    </a:cubicBezTo>
                    <a:cubicBezTo>
                      <a:pt x="10" y="13"/>
                      <a:pt x="10" y="13"/>
                      <a:pt x="11" y="13"/>
                    </a:cubicBezTo>
                    <a:cubicBezTo>
                      <a:pt x="12" y="13"/>
                      <a:pt x="12" y="11"/>
                      <a:pt x="12" y="11"/>
                    </a:cubicBezTo>
                    <a:cubicBezTo>
                      <a:pt x="11" y="10"/>
                      <a:pt x="8" y="10"/>
                      <a:pt x="11" y="11"/>
                    </a:cubicBezTo>
                    <a:cubicBezTo>
                      <a:pt x="11" y="12"/>
                      <a:pt x="12" y="12"/>
                      <a:pt x="12" y="13"/>
                    </a:cubicBezTo>
                    <a:cubicBezTo>
                      <a:pt x="12" y="13"/>
                      <a:pt x="12" y="11"/>
                      <a:pt x="12" y="11"/>
                    </a:cubicBezTo>
                    <a:cubicBezTo>
                      <a:pt x="12" y="11"/>
                      <a:pt x="11" y="11"/>
                      <a:pt x="10" y="11"/>
                    </a:cubicBezTo>
                    <a:cubicBezTo>
                      <a:pt x="11" y="11"/>
                      <a:pt x="11" y="11"/>
                      <a:pt x="11" y="11"/>
                    </a:cubicBezTo>
                    <a:cubicBezTo>
                      <a:pt x="10" y="11"/>
                      <a:pt x="10" y="10"/>
                      <a:pt x="9" y="10"/>
                    </a:cubicBezTo>
                    <a:cubicBezTo>
                      <a:pt x="9" y="9"/>
                      <a:pt x="9" y="9"/>
                      <a:pt x="9" y="11"/>
                    </a:cubicBezTo>
                    <a:cubicBezTo>
                      <a:pt x="9" y="11"/>
                      <a:pt x="9" y="12"/>
                      <a:pt x="9" y="12"/>
                    </a:cubicBezTo>
                    <a:cubicBezTo>
                      <a:pt x="9" y="12"/>
                      <a:pt x="10" y="11"/>
                      <a:pt x="11" y="11"/>
                    </a:cubicBezTo>
                    <a:cubicBezTo>
                      <a:pt x="11" y="12"/>
                      <a:pt x="11" y="12"/>
                      <a:pt x="11" y="12"/>
                    </a:cubicBezTo>
                    <a:cubicBezTo>
                      <a:pt x="11" y="11"/>
                      <a:pt x="11" y="11"/>
                      <a:pt x="11" y="10"/>
                    </a:cubicBezTo>
                    <a:cubicBezTo>
                      <a:pt x="11" y="10"/>
                      <a:pt x="11" y="8"/>
                      <a:pt x="11" y="9"/>
                    </a:cubicBezTo>
                    <a:cubicBezTo>
                      <a:pt x="10" y="8"/>
                      <a:pt x="8" y="8"/>
                      <a:pt x="7" y="7"/>
                    </a:cubicBezTo>
                    <a:cubicBezTo>
                      <a:pt x="7" y="9"/>
                      <a:pt x="7" y="11"/>
                      <a:pt x="5" y="12"/>
                    </a:cubicBezTo>
                    <a:cubicBezTo>
                      <a:pt x="6" y="12"/>
                      <a:pt x="8" y="12"/>
                      <a:pt x="9" y="12"/>
                    </a:cubicBezTo>
                    <a:cubicBezTo>
                      <a:pt x="8" y="12"/>
                      <a:pt x="8" y="11"/>
                      <a:pt x="8" y="11"/>
                    </a:cubicBezTo>
                    <a:cubicBezTo>
                      <a:pt x="9" y="12"/>
                      <a:pt x="9" y="12"/>
                      <a:pt x="9" y="13"/>
                    </a:cubicBezTo>
                    <a:cubicBezTo>
                      <a:pt x="9" y="12"/>
                      <a:pt x="10" y="10"/>
                      <a:pt x="10" y="9"/>
                    </a:cubicBezTo>
                    <a:cubicBezTo>
                      <a:pt x="9" y="9"/>
                      <a:pt x="8" y="9"/>
                      <a:pt x="6" y="9"/>
                    </a:cubicBezTo>
                    <a:cubicBezTo>
                      <a:pt x="6" y="9"/>
                      <a:pt x="6" y="11"/>
                      <a:pt x="5" y="12"/>
                    </a:cubicBezTo>
                    <a:cubicBezTo>
                      <a:pt x="5" y="12"/>
                      <a:pt x="5" y="13"/>
                      <a:pt x="5" y="13"/>
                    </a:cubicBezTo>
                    <a:cubicBezTo>
                      <a:pt x="5" y="14"/>
                      <a:pt x="5" y="14"/>
                      <a:pt x="5" y="13"/>
                    </a:cubicBezTo>
                    <a:cubicBezTo>
                      <a:pt x="6" y="13"/>
                      <a:pt x="7" y="13"/>
                      <a:pt x="7" y="13"/>
                    </a:cubicBezTo>
                    <a:cubicBezTo>
                      <a:pt x="7" y="13"/>
                      <a:pt x="6" y="10"/>
                      <a:pt x="6" y="9"/>
                    </a:cubicBezTo>
                    <a:cubicBezTo>
                      <a:pt x="6" y="10"/>
                      <a:pt x="5" y="10"/>
                      <a:pt x="4" y="11"/>
                    </a:cubicBezTo>
                    <a:cubicBezTo>
                      <a:pt x="5" y="11"/>
                      <a:pt x="5" y="11"/>
                      <a:pt x="5" y="11"/>
                    </a:cubicBezTo>
                    <a:cubicBezTo>
                      <a:pt x="4" y="10"/>
                      <a:pt x="3" y="10"/>
                      <a:pt x="3" y="9"/>
                    </a:cubicBezTo>
                    <a:cubicBezTo>
                      <a:pt x="3" y="10"/>
                      <a:pt x="4" y="12"/>
                      <a:pt x="3" y="13"/>
                    </a:cubicBezTo>
                    <a:cubicBezTo>
                      <a:pt x="4" y="13"/>
                      <a:pt x="4" y="12"/>
                      <a:pt x="5" y="12"/>
                    </a:cubicBezTo>
                    <a:cubicBezTo>
                      <a:pt x="4" y="12"/>
                      <a:pt x="4" y="12"/>
                      <a:pt x="4" y="12"/>
                    </a:cubicBezTo>
                    <a:cubicBezTo>
                      <a:pt x="5" y="12"/>
                      <a:pt x="6" y="12"/>
                      <a:pt x="7" y="12"/>
                    </a:cubicBezTo>
                    <a:cubicBezTo>
                      <a:pt x="7" y="13"/>
                      <a:pt x="7" y="13"/>
                      <a:pt x="7" y="12"/>
                    </a:cubicBezTo>
                    <a:cubicBezTo>
                      <a:pt x="7" y="11"/>
                      <a:pt x="6" y="11"/>
                      <a:pt x="6" y="10"/>
                    </a:cubicBezTo>
                    <a:cubicBezTo>
                      <a:pt x="6" y="9"/>
                      <a:pt x="5" y="8"/>
                      <a:pt x="5" y="8"/>
                    </a:cubicBezTo>
                    <a:cubicBezTo>
                      <a:pt x="6" y="6"/>
                      <a:pt x="10" y="5"/>
                      <a:pt x="11" y="5"/>
                    </a:cubicBezTo>
                    <a:cubicBezTo>
                      <a:pt x="12" y="5"/>
                      <a:pt x="12" y="3"/>
                      <a:pt x="11" y="3"/>
                    </a:cubicBezTo>
                    <a:close/>
                  </a:path>
                </a:pathLst>
              </a:custGeom>
              <a:solidFill>
                <a:srgbClr val="3A12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68" name="Freeform 96">
                <a:extLst>
                  <a:ext uri="{FF2B5EF4-FFF2-40B4-BE49-F238E27FC236}">
                    <a16:creationId xmlns:a16="http://schemas.microsoft.com/office/drawing/2014/main" id="{E30A0F9D-EDEF-4012-B9A4-715C97020C47}"/>
                  </a:ext>
                </a:extLst>
              </p:cNvPr>
              <p:cNvSpPr>
                <a:spLocks/>
              </p:cNvSpPr>
              <p:nvPr/>
            </p:nvSpPr>
            <p:spPr bwMode="auto">
              <a:xfrm>
                <a:off x="1317625" y="2354263"/>
                <a:ext cx="12700" cy="7937"/>
              </a:xfrm>
              <a:custGeom>
                <a:avLst/>
                <a:gdLst>
                  <a:gd name="T0" fmla="*/ 0 w 6"/>
                  <a:gd name="T1" fmla="*/ 1 h 4"/>
                  <a:gd name="T2" fmla="*/ 6 w 6"/>
                  <a:gd name="T3" fmla="*/ 0 h 4"/>
                  <a:gd name="T4" fmla="*/ 6 w 6"/>
                  <a:gd name="T5" fmla="*/ 0 h 4"/>
                  <a:gd name="T6" fmla="*/ 1 w 6"/>
                  <a:gd name="T7" fmla="*/ 0 h 4"/>
                  <a:gd name="T8" fmla="*/ 0 w 6"/>
                  <a:gd name="T9" fmla="*/ 1 h 4"/>
                </a:gdLst>
                <a:ahLst/>
                <a:cxnLst>
                  <a:cxn ang="0">
                    <a:pos x="T0" y="T1"/>
                  </a:cxn>
                  <a:cxn ang="0">
                    <a:pos x="T2" y="T3"/>
                  </a:cxn>
                  <a:cxn ang="0">
                    <a:pos x="T4" y="T5"/>
                  </a:cxn>
                  <a:cxn ang="0">
                    <a:pos x="T6" y="T7"/>
                  </a:cxn>
                  <a:cxn ang="0">
                    <a:pos x="T8" y="T9"/>
                  </a:cxn>
                </a:cxnLst>
                <a:rect l="0" t="0" r="r" b="b"/>
                <a:pathLst>
                  <a:path w="6" h="4">
                    <a:moveTo>
                      <a:pt x="0" y="1"/>
                    </a:moveTo>
                    <a:cubicBezTo>
                      <a:pt x="1" y="4"/>
                      <a:pt x="5" y="2"/>
                      <a:pt x="6" y="0"/>
                    </a:cubicBezTo>
                    <a:cubicBezTo>
                      <a:pt x="6" y="0"/>
                      <a:pt x="6" y="0"/>
                      <a:pt x="6" y="0"/>
                    </a:cubicBezTo>
                    <a:cubicBezTo>
                      <a:pt x="4" y="0"/>
                      <a:pt x="2" y="1"/>
                      <a:pt x="1" y="0"/>
                    </a:cubicBezTo>
                    <a:cubicBezTo>
                      <a:pt x="0" y="0"/>
                      <a:pt x="0" y="0"/>
                      <a:pt x="0" y="1"/>
                    </a:cubicBezTo>
                    <a:close/>
                  </a:path>
                </a:pathLst>
              </a:custGeom>
              <a:solidFill>
                <a:srgbClr val="3A12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69" name="Freeform 97">
                <a:extLst>
                  <a:ext uri="{FF2B5EF4-FFF2-40B4-BE49-F238E27FC236}">
                    <a16:creationId xmlns:a16="http://schemas.microsoft.com/office/drawing/2014/main" id="{F23CE30E-A523-440F-A20A-4EEFA579C525}"/>
                  </a:ext>
                </a:extLst>
              </p:cNvPr>
              <p:cNvSpPr>
                <a:spLocks/>
              </p:cNvSpPr>
              <p:nvPr/>
            </p:nvSpPr>
            <p:spPr bwMode="auto">
              <a:xfrm>
                <a:off x="1322388" y="2322513"/>
                <a:ext cx="11113" cy="25400"/>
              </a:xfrm>
              <a:custGeom>
                <a:avLst/>
                <a:gdLst>
                  <a:gd name="T0" fmla="*/ 5 w 6"/>
                  <a:gd name="T1" fmla="*/ 11 h 12"/>
                  <a:gd name="T2" fmla="*/ 5 w 6"/>
                  <a:gd name="T3" fmla="*/ 6 h 12"/>
                  <a:gd name="T4" fmla="*/ 5 w 6"/>
                  <a:gd name="T5" fmla="*/ 4 h 12"/>
                  <a:gd name="T6" fmla="*/ 3 w 6"/>
                  <a:gd name="T7" fmla="*/ 8 h 12"/>
                  <a:gd name="T8" fmla="*/ 4 w 6"/>
                  <a:gd name="T9" fmla="*/ 8 h 12"/>
                  <a:gd name="T10" fmla="*/ 3 w 6"/>
                  <a:gd name="T11" fmla="*/ 3 h 12"/>
                  <a:gd name="T12" fmla="*/ 1 w 6"/>
                  <a:gd name="T13" fmla="*/ 4 h 12"/>
                  <a:gd name="T14" fmla="*/ 2 w 6"/>
                  <a:gd name="T15" fmla="*/ 6 h 12"/>
                  <a:gd name="T16" fmla="*/ 4 w 6"/>
                  <a:gd name="T17" fmla="*/ 6 h 12"/>
                  <a:gd name="T18" fmla="*/ 4 w 6"/>
                  <a:gd name="T19" fmla="*/ 2 h 12"/>
                  <a:gd name="T20" fmla="*/ 2 w 6"/>
                  <a:gd name="T21" fmla="*/ 1 h 12"/>
                  <a:gd name="T22" fmla="*/ 0 w 6"/>
                  <a:gd name="T23" fmla="*/ 5 h 12"/>
                  <a:gd name="T24" fmla="*/ 3 w 6"/>
                  <a:gd name="T25" fmla="*/ 6 h 12"/>
                  <a:gd name="T26" fmla="*/ 3 w 6"/>
                  <a:gd name="T27" fmla="*/ 4 h 12"/>
                  <a:gd name="T28" fmla="*/ 1 w 6"/>
                  <a:gd name="T29" fmla="*/ 4 h 12"/>
                  <a:gd name="T30" fmla="*/ 1 w 6"/>
                  <a:gd name="T31" fmla="*/ 4 h 12"/>
                  <a:gd name="T32" fmla="*/ 3 w 6"/>
                  <a:gd name="T33" fmla="*/ 3 h 12"/>
                  <a:gd name="T34" fmla="*/ 3 w 6"/>
                  <a:gd name="T35" fmla="*/ 3 h 12"/>
                  <a:gd name="T36" fmla="*/ 1 w 6"/>
                  <a:gd name="T37" fmla="*/ 3 h 12"/>
                  <a:gd name="T38" fmla="*/ 0 w 6"/>
                  <a:gd name="T39" fmla="*/ 5 h 12"/>
                  <a:gd name="T40" fmla="*/ 3 w 6"/>
                  <a:gd name="T41" fmla="*/ 6 h 12"/>
                  <a:gd name="T42" fmla="*/ 4 w 6"/>
                  <a:gd name="T43" fmla="*/ 3 h 12"/>
                  <a:gd name="T44" fmla="*/ 2 w 6"/>
                  <a:gd name="T45" fmla="*/ 2 h 12"/>
                  <a:gd name="T46" fmla="*/ 2 w 6"/>
                  <a:gd name="T47" fmla="*/ 5 h 12"/>
                  <a:gd name="T48" fmla="*/ 4 w 6"/>
                  <a:gd name="T49" fmla="*/ 5 h 12"/>
                  <a:gd name="T50" fmla="*/ 4 w 6"/>
                  <a:gd name="T51" fmla="*/ 4 h 12"/>
                  <a:gd name="T52" fmla="*/ 2 w 6"/>
                  <a:gd name="T53" fmla="*/ 5 h 12"/>
                  <a:gd name="T54" fmla="*/ 3 w 6"/>
                  <a:gd name="T55" fmla="*/ 8 h 12"/>
                  <a:gd name="T56" fmla="*/ 4 w 6"/>
                  <a:gd name="T57" fmla="*/ 8 h 12"/>
                  <a:gd name="T58" fmla="*/ 4 w 6"/>
                  <a:gd name="T59" fmla="*/ 6 h 12"/>
                  <a:gd name="T60" fmla="*/ 4 w 6"/>
                  <a:gd name="T61" fmla="*/ 6 h 12"/>
                  <a:gd name="T62" fmla="*/ 4 w 6"/>
                  <a:gd name="T63" fmla="*/ 7 h 12"/>
                  <a:gd name="T64" fmla="*/ 4 w 6"/>
                  <a:gd name="T65" fmla="*/ 11 h 12"/>
                  <a:gd name="T66" fmla="*/ 5 w 6"/>
                  <a:gd name="T67" fmla="*/ 11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 h="12">
                    <a:moveTo>
                      <a:pt x="5" y="11"/>
                    </a:moveTo>
                    <a:cubicBezTo>
                      <a:pt x="6" y="9"/>
                      <a:pt x="5" y="8"/>
                      <a:pt x="5" y="6"/>
                    </a:cubicBezTo>
                    <a:cubicBezTo>
                      <a:pt x="5" y="5"/>
                      <a:pt x="5" y="4"/>
                      <a:pt x="5" y="4"/>
                    </a:cubicBezTo>
                    <a:cubicBezTo>
                      <a:pt x="2" y="3"/>
                      <a:pt x="3" y="7"/>
                      <a:pt x="3" y="8"/>
                    </a:cubicBezTo>
                    <a:cubicBezTo>
                      <a:pt x="3" y="9"/>
                      <a:pt x="4" y="9"/>
                      <a:pt x="4" y="8"/>
                    </a:cubicBezTo>
                    <a:cubicBezTo>
                      <a:pt x="5" y="7"/>
                      <a:pt x="4" y="5"/>
                      <a:pt x="3" y="3"/>
                    </a:cubicBezTo>
                    <a:cubicBezTo>
                      <a:pt x="3" y="3"/>
                      <a:pt x="1" y="3"/>
                      <a:pt x="1" y="4"/>
                    </a:cubicBezTo>
                    <a:cubicBezTo>
                      <a:pt x="1" y="5"/>
                      <a:pt x="1" y="5"/>
                      <a:pt x="2" y="6"/>
                    </a:cubicBezTo>
                    <a:cubicBezTo>
                      <a:pt x="2" y="7"/>
                      <a:pt x="4" y="7"/>
                      <a:pt x="4" y="6"/>
                    </a:cubicBezTo>
                    <a:cubicBezTo>
                      <a:pt x="4" y="4"/>
                      <a:pt x="4" y="3"/>
                      <a:pt x="4" y="2"/>
                    </a:cubicBezTo>
                    <a:cubicBezTo>
                      <a:pt x="4" y="1"/>
                      <a:pt x="2" y="0"/>
                      <a:pt x="2" y="1"/>
                    </a:cubicBezTo>
                    <a:cubicBezTo>
                      <a:pt x="1" y="3"/>
                      <a:pt x="1" y="4"/>
                      <a:pt x="0" y="5"/>
                    </a:cubicBezTo>
                    <a:cubicBezTo>
                      <a:pt x="1" y="5"/>
                      <a:pt x="2" y="5"/>
                      <a:pt x="3" y="6"/>
                    </a:cubicBezTo>
                    <a:cubicBezTo>
                      <a:pt x="3" y="5"/>
                      <a:pt x="3" y="4"/>
                      <a:pt x="3" y="4"/>
                    </a:cubicBezTo>
                    <a:cubicBezTo>
                      <a:pt x="3" y="4"/>
                      <a:pt x="2" y="4"/>
                      <a:pt x="1" y="4"/>
                    </a:cubicBezTo>
                    <a:cubicBezTo>
                      <a:pt x="1" y="4"/>
                      <a:pt x="1" y="4"/>
                      <a:pt x="1" y="4"/>
                    </a:cubicBezTo>
                    <a:cubicBezTo>
                      <a:pt x="2" y="5"/>
                      <a:pt x="4" y="4"/>
                      <a:pt x="3" y="3"/>
                    </a:cubicBezTo>
                    <a:cubicBezTo>
                      <a:pt x="3" y="3"/>
                      <a:pt x="3" y="3"/>
                      <a:pt x="3" y="3"/>
                    </a:cubicBezTo>
                    <a:cubicBezTo>
                      <a:pt x="3" y="1"/>
                      <a:pt x="1" y="1"/>
                      <a:pt x="1" y="3"/>
                    </a:cubicBezTo>
                    <a:cubicBezTo>
                      <a:pt x="0" y="3"/>
                      <a:pt x="0" y="4"/>
                      <a:pt x="0" y="5"/>
                    </a:cubicBezTo>
                    <a:cubicBezTo>
                      <a:pt x="0" y="7"/>
                      <a:pt x="2" y="7"/>
                      <a:pt x="3" y="6"/>
                    </a:cubicBezTo>
                    <a:cubicBezTo>
                      <a:pt x="3" y="5"/>
                      <a:pt x="4" y="4"/>
                      <a:pt x="4" y="3"/>
                    </a:cubicBezTo>
                    <a:cubicBezTo>
                      <a:pt x="3" y="3"/>
                      <a:pt x="2" y="3"/>
                      <a:pt x="2" y="2"/>
                    </a:cubicBezTo>
                    <a:cubicBezTo>
                      <a:pt x="2" y="3"/>
                      <a:pt x="2" y="4"/>
                      <a:pt x="2" y="5"/>
                    </a:cubicBezTo>
                    <a:cubicBezTo>
                      <a:pt x="2" y="5"/>
                      <a:pt x="3" y="5"/>
                      <a:pt x="4" y="5"/>
                    </a:cubicBezTo>
                    <a:cubicBezTo>
                      <a:pt x="4" y="4"/>
                      <a:pt x="4" y="4"/>
                      <a:pt x="4" y="4"/>
                    </a:cubicBezTo>
                    <a:cubicBezTo>
                      <a:pt x="3" y="4"/>
                      <a:pt x="2" y="4"/>
                      <a:pt x="2" y="5"/>
                    </a:cubicBezTo>
                    <a:cubicBezTo>
                      <a:pt x="3" y="6"/>
                      <a:pt x="3" y="7"/>
                      <a:pt x="3" y="8"/>
                    </a:cubicBezTo>
                    <a:cubicBezTo>
                      <a:pt x="3" y="8"/>
                      <a:pt x="4" y="8"/>
                      <a:pt x="4" y="8"/>
                    </a:cubicBezTo>
                    <a:cubicBezTo>
                      <a:pt x="4" y="7"/>
                      <a:pt x="4" y="7"/>
                      <a:pt x="4" y="6"/>
                    </a:cubicBezTo>
                    <a:cubicBezTo>
                      <a:pt x="4" y="6"/>
                      <a:pt x="4" y="5"/>
                      <a:pt x="4" y="6"/>
                    </a:cubicBezTo>
                    <a:cubicBezTo>
                      <a:pt x="4" y="6"/>
                      <a:pt x="4" y="7"/>
                      <a:pt x="4" y="7"/>
                    </a:cubicBezTo>
                    <a:cubicBezTo>
                      <a:pt x="4" y="9"/>
                      <a:pt x="4" y="10"/>
                      <a:pt x="4" y="11"/>
                    </a:cubicBezTo>
                    <a:cubicBezTo>
                      <a:pt x="4" y="12"/>
                      <a:pt x="5" y="12"/>
                      <a:pt x="5" y="11"/>
                    </a:cubicBezTo>
                    <a:close/>
                  </a:path>
                </a:pathLst>
              </a:custGeom>
              <a:solidFill>
                <a:srgbClr val="3A12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grpSp>
      <p:sp>
        <p:nvSpPr>
          <p:cNvPr id="120" name="Rectangle 136">
            <a:extLst>
              <a:ext uri="{FF2B5EF4-FFF2-40B4-BE49-F238E27FC236}">
                <a16:creationId xmlns:a16="http://schemas.microsoft.com/office/drawing/2014/main" id="{7182BFD0-DF3E-4A45-BC98-99DF71F6847C}"/>
              </a:ext>
            </a:extLst>
          </p:cNvPr>
          <p:cNvSpPr/>
          <p:nvPr/>
        </p:nvSpPr>
        <p:spPr>
          <a:xfrm>
            <a:off x="4181859" y="2224682"/>
            <a:ext cx="5481255" cy="827021"/>
          </a:xfrm>
          <a:prstGeom prst="rect">
            <a:avLst/>
          </a:prstGeom>
        </p:spPr>
        <p:txBody>
          <a:bodyPr wrap="square">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lumMod val="50000"/>
                    <a:lumOff val="50000"/>
                  </a:srgbClr>
                </a:solidFill>
                <a:effectLst/>
                <a:uLnTx/>
                <a:uFillTx/>
                <a:latin typeface="等线" panose="020F0502020204030204"/>
                <a:ea typeface="+mn-ea"/>
                <a:cs typeface="+mn-cs"/>
              </a:rPr>
              <a:t>Lorem Ipsum is simply dummy text of the printing and typesetting industry. Lorem Ipsum has been the industry's standard dummy text ever since the 1500s, when an unknown printer took a</a:t>
            </a:r>
          </a:p>
        </p:txBody>
      </p:sp>
      <p:sp>
        <p:nvSpPr>
          <p:cNvPr id="121" name="TextBox 137">
            <a:extLst>
              <a:ext uri="{FF2B5EF4-FFF2-40B4-BE49-F238E27FC236}">
                <a16:creationId xmlns:a16="http://schemas.microsoft.com/office/drawing/2014/main" id="{11533843-C576-4AD3-BEB3-C8129CD84A0D}"/>
              </a:ext>
            </a:extLst>
          </p:cNvPr>
          <p:cNvSpPr txBox="1"/>
          <p:nvPr/>
        </p:nvSpPr>
        <p:spPr>
          <a:xfrm>
            <a:off x="4171519" y="3613869"/>
            <a:ext cx="1808368"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lumMod val="85000"/>
                    <a:lumOff val="15000"/>
                  </a:srgbClr>
                </a:solidFill>
                <a:effectLst/>
                <a:uLnTx/>
                <a:uFillTx/>
                <a:latin typeface="等线 Light" panose="020F0302020204030204"/>
                <a:ea typeface="+mn-ea"/>
                <a:cs typeface="+mn-cs"/>
              </a:rPr>
              <a:t>Subtitle Here</a:t>
            </a:r>
          </a:p>
        </p:txBody>
      </p:sp>
      <p:sp>
        <p:nvSpPr>
          <p:cNvPr id="122" name="TextBox 138">
            <a:extLst>
              <a:ext uri="{FF2B5EF4-FFF2-40B4-BE49-F238E27FC236}">
                <a16:creationId xmlns:a16="http://schemas.microsoft.com/office/drawing/2014/main" id="{DE127B2B-2FD1-47F9-8685-37B421452368}"/>
              </a:ext>
            </a:extLst>
          </p:cNvPr>
          <p:cNvSpPr txBox="1"/>
          <p:nvPr/>
        </p:nvSpPr>
        <p:spPr>
          <a:xfrm>
            <a:off x="6380884" y="3613869"/>
            <a:ext cx="1808368"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lumMod val="85000"/>
                    <a:lumOff val="15000"/>
                  </a:srgbClr>
                </a:solidFill>
                <a:effectLst/>
                <a:uLnTx/>
                <a:uFillTx/>
                <a:latin typeface="等线 Light" panose="020F0302020204030204"/>
                <a:ea typeface="+mn-ea"/>
                <a:cs typeface="+mn-cs"/>
              </a:rPr>
              <a:t>Subtitle Here</a:t>
            </a:r>
          </a:p>
        </p:txBody>
      </p:sp>
      <p:sp>
        <p:nvSpPr>
          <p:cNvPr id="123" name="TextBox 139">
            <a:extLst>
              <a:ext uri="{FF2B5EF4-FFF2-40B4-BE49-F238E27FC236}">
                <a16:creationId xmlns:a16="http://schemas.microsoft.com/office/drawing/2014/main" id="{7794854C-D6C9-42C9-82D9-7C2E2AEABDB0}"/>
              </a:ext>
            </a:extLst>
          </p:cNvPr>
          <p:cNvSpPr txBox="1"/>
          <p:nvPr/>
        </p:nvSpPr>
        <p:spPr>
          <a:xfrm>
            <a:off x="8590249" y="3613869"/>
            <a:ext cx="1808368"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lumMod val="85000"/>
                    <a:lumOff val="15000"/>
                  </a:srgbClr>
                </a:solidFill>
                <a:effectLst/>
                <a:uLnTx/>
                <a:uFillTx/>
                <a:latin typeface="等线 Light" panose="020F0302020204030204"/>
                <a:ea typeface="+mn-ea"/>
                <a:cs typeface="+mn-cs"/>
              </a:rPr>
              <a:t>Subtitle Here</a:t>
            </a:r>
          </a:p>
        </p:txBody>
      </p:sp>
      <p:sp>
        <p:nvSpPr>
          <p:cNvPr id="124" name="Rectangle 140">
            <a:extLst>
              <a:ext uri="{FF2B5EF4-FFF2-40B4-BE49-F238E27FC236}">
                <a16:creationId xmlns:a16="http://schemas.microsoft.com/office/drawing/2014/main" id="{9EFDDC43-EE18-492A-961D-543E1D9F89A4}"/>
              </a:ext>
            </a:extLst>
          </p:cNvPr>
          <p:cNvSpPr/>
          <p:nvPr/>
        </p:nvSpPr>
        <p:spPr>
          <a:xfrm>
            <a:off x="4144742" y="5340573"/>
            <a:ext cx="1715975" cy="901144"/>
          </a:xfrm>
          <a:prstGeom prst="rect">
            <a:avLst/>
          </a:prstGeom>
        </p:spPr>
        <p:txBody>
          <a:bodyPr wrap="square">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lumMod val="50000"/>
                    <a:lumOff val="50000"/>
                  </a:srgbClr>
                </a:solidFill>
                <a:effectLst/>
                <a:uLnTx/>
                <a:uFillTx/>
                <a:latin typeface="等线" panose="020F0502020204030204"/>
                <a:ea typeface="+mn-ea"/>
                <a:cs typeface="+mn-cs"/>
              </a:rPr>
              <a:t>Lorem Ipsum is simply dummy text of the printing and typesetting industry. Lorem Ipsum has been to.</a:t>
            </a:r>
          </a:p>
        </p:txBody>
      </p:sp>
      <p:sp>
        <p:nvSpPr>
          <p:cNvPr id="125" name="Rectangle 141">
            <a:extLst>
              <a:ext uri="{FF2B5EF4-FFF2-40B4-BE49-F238E27FC236}">
                <a16:creationId xmlns:a16="http://schemas.microsoft.com/office/drawing/2014/main" id="{3F7061A2-FDAC-436B-8423-CD7D5A6205DC}"/>
              </a:ext>
            </a:extLst>
          </p:cNvPr>
          <p:cNvSpPr/>
          <p:nvPr/>
        </p:nvSpPr>
        <p:spPr>
          <a:xfrm>
            <a:off x="6380886" y="5340573"/>
            <a:ext cx="1715975" cy="901144"/>
          </a:xfrm>
          <a:prstGeom prst="rect">
            <a:avLst/>
          </a:prstGeom>
        </p:spPr>
        <p:txBody>
          <a:bodyPr wrap="square">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lumMod val="50000"/>
                    <a:lumOff val="50000"/>
                  </a:srgbClr>
                </a:solidFill>
                <a:effectLst/>
                <a:uLnTx/>
                <a:uFillTx/>
                <a:latin typeface="等线" panose="020F0502020204030204"/>
                <a:ea typeface="+mn-ea"/>
                <a:cs typeface="+mn-cs"/>
              </a:rPr>
              <a:t>Lorem Ipsum is simply dummy text of the printing and typesetting industry. Lorem Ipsum has been to.</a:t>
            </a:r>
          </a:p>
        </p:txBody>
      </p:sp>
      <p:sp>
        <p:nvSpPr>
          <p:cNvPr id="126" name="Rectangle 142">
            <a:extLst>
              <a:ext uri="{FF2B5EF4-FFF2-40B4-BE49-F238E27FC236}">
                <a16:creationId xmlns:a16="http://schemas.microsoft.com/office/drawing/2014/main" id="{3F48A41A-3092-4A25-AAD6-D152136D3D8D}"/>
              </a:ext>
            </a:extLst>
          </p:cNvPr>
          <p:cNvSpPr/>
          <p:nvPr/>
        </p:nvSpPr>
        <p:spPr>
          <a:xfrm>
            <a:off x="8590251" y="5340573"/>
            <a:ext cx="1715975" cy="901144"/>
          </a:xfrm>
          <a:prstGeom prst="rect">
            <a:avLst/>
          </a:prstGeom>
        </p:spPr>
        <p:txBody>
          <a:bodyPr wrap="square">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lumMod val="50000"/>
                    <a:lumOff val="50000"/>
                  </a:srgbClr>
                </a:solidFill>
                <a:effectLst/>
                <a:uLnTx/>
                <a:uFillTx/>
                <a:latin typeface="等线" panose="020F0502020204030204"/>
                <a:ea typeface="+mn-ea"/>
                <a:cs typeface="+mn-cs"/>
              </a:rPr>
              <a:t>Lorem Ipsum is simply dummy text of the printing and typesetting industry. Lorem Ipsum has been to.</a:t>
            </a:r>
          </a:p>
        </p:txBody>
      </p:sp>
    </p:spTree>
    <p:extLst>
      <p:ext uri="{BB962C8B-B14F-4D97-AF65-F5344CB8AC3E}">
        <p14:creationId xmlns:p14="http://schemas.microsoft.com/office/powerpoint/2010/main" val="4281126706"/>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after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wipe(down)">
                                      <p:cBhvr>
                                        <p:cTn id="7" dur="500"/>
                                        <p:tgtEl>
                                          <p:spTgt spid="13"/>
                                        </p:tgtEl>
                                      </p:cBhvr>
                                    </p:animEffect>
                                  </p:childTnLst>
                                </p:cTn>
                              </p:par>
                            </p:childTnLst>
                          </p:cTn>
                        </p:par>
                        <p:par>
                          <p:cTn id="8" fill="hold">
                            <p:stCondLst>
                              <p:cond delay="500"/>
                            </p:stCondLst>
                            <p:childTnLst>
                              <p:par>
                                <p:cTn id="9" presetID="22" presetClass="entr" presetSubtype="8" fill="hold" grpId="0" nodeType="afterEffect">
                                  <p:stCondLst>
                                    <p:cond delay="0"/>
                                  </p:stCondLst>
                                  <p:childTnLst>
                                    <p:set>
                                      <p:cBhvr>
                                        <p:cTn id="10" dur="1" fill="hold">
                                          <p:stCondLst>
                                            <p:cond delay="0"/>
                                          </p:stCondLst>
                                        </p:cTn>
                                        <p:tgtEl>
                                          <p:spTgt spid="12"/>
                                        </p:tgtEl>
                                        <p:attrNameLst>
                                          <p:attrName>style.visibility</p:attrName>
                                        </p:attrNameLst>
                                      </p:cBhvr>
                                      <p:to>
                                        <p:strVal val="visible"/>
                                      </p:to>
                                    </p:set>
                                    <p:animEffect transition="in" filter="wipe(left)">
                                      <p:cBhvr>
                                        <p:cTn id="11" dur="500"/>
                                        <p:tgtEl>
                                          <p:spTgt spid="12"/>
                                        </p:tgtEl>
                                      </p:cBhvr>
                                    </p:animEffect>
                                  </p:childTnLst>
                                </p:cTn>
                              </p:par>
                            </p:childTnLst>
                          </p:cTn>
                        </p:par>
                        <p:par>
                          <p:cTn id="12" fill="hold">
                            <p:stCondLst>
                              <p:cond delay="1000"/>
                            </p:stCondLst>
                            <p:childTnLst>
                              <p:par>
                                <p:cTn id="13" presetID="42" presetClass="entr" presetSubtype="0" fill="hold" grpId="0" nodeType="afterEffect">
                                  <p:stCondLst>
                                    <p:cond delay="0"/>
                                  </p:stCondLst>
                                  <p:childTnLst>
                                    <p:set>
                                      <p:cBhvr>
                                        <p:cTn id="14" dur="1" fill="hold">
                                          <p:stCondLst>
                                            <p:cond delay="0"/>
                                          </p:stCondLst>
                                        </p:cTn>
                                        <p:tgtEl>
                                          <p:spTgt spid="120"/>
                                        </p:tgtEl>
                                        <p:attrNameLst>
                                          <p:attrName>style.visibility</p:attrName>
                                        </p:attrNameLst>
                                      </p:cBhvr>
                                      <p:to>
                                        <p:strVal val="visible"/>
                                      </p:to>
                                    </p:set>
                                    <p:animEffect transition="in" filter="fade">
                                      <p:cBhvr>
                                        <p:cTn id="15" dur="500"/>
                                        <p:tgtEl>
                                          <p:spTgt spid="120"/>
                                        </p:tgtEl>
                                      </p:cBhvr>
                                    </p:animEffect>
                                    <p:anim calcmode="lin" valueType="num">
                                      <p:cBhvr>
                                        <p:cTn id="16" dur="500" fill="hold"/>
                                        <p:tgtEl>
                                          <p:spTgt spid="120"/>
                                        </p:tgtEl>
                                        <p:attrNameLst>
                                          <p:attrName>ppt_x</p:attrName>
                                        </p:attrNameLst>
                                      </p:cBhvr>
                                      <p:tavLst>
                                        <p:tav tm="0">
                                          <p:val>
                                            <p:strVal val="#ppt_x"/>
                                          </p:val>
                                        </p:tav>
                                        <p:tav tm="100000">
                                          <p:val>
                                            <p:strVal val="#ppt_x"/>
                                          </p:val>
                                        </p:tav>
                                      </p:tavLst>
                                    </p:anim>
                                    <p:anim calcmode="lin" valueType="num">
                                      <p:cBhvr>
                                        <p:cTn id="17" dur="500" fill="hold"/>
                                        <p:tgtEl>
                                          <p:spTgt spid="120"/>
                                        </p:tgtEl>
                                        <p:attrNameLst>
                                          <p:attrName>ppt_y</p:attrName>
                                        </p:attrNameLst>
                                      </p:cBhvr>
                                      <p:tavLst>
                                        <p:tav tm="0">
                                          <p:val>
                                            <p:strVal val="#ppt_y+.1"/>
                                          </p:val>
                                        </p:tav>
                                        <p:tav tm="100000">
                                          <p:val>
                                            <p:strVal val="#ppt_y"/>
                                          </p:val>
                                        </p:tav>
                                      </p:tavLst>
                                    </p:anim>
                                  </p:childTnLst>
                                </p:cTn>
                              </p:par>
                            </p:childTnLst>
                          </p:cTn>
                        </p:par>
                        <p:par>
                          <p:cTn id="18" fill="hold">
                            <p:stCondLst>
                              <p:cond delay="1500"/>
                            </p:stCondLst>
                            <p:childTnLst>
                              <p:par>
                                <p:cTn id="19" presetID="22" presetClass="entr" presetSubtype="8" fill="hold" grpId="0" nodeType="afterEffect">
                                  <p:stCondLst>
                                    <p:cond delay="0"/>
                                  </p:stCondLst>
                                  <p:childTnLst>
                                    <p:set>
                                      <p:cBhvr>
                                        <p:cTn id="20" dur="1" fill="hold">
                                          <p:stCondLst>
                                            <p:cond delay="0"/>
                                          </p:stCondLst>
                                        </p:cTn>
                                        <p:tgtEl>
                                          <p:spTgt spid="121"/>
                                        </p:tgtEl>
                                        <p:attrNameLst>
                                          <p:attrName>style.visibility</p:attrName>
                                        </p:attrNameLst>
                                      </p:cBhvr>
                                      <p:to>
                                        <p:strVal val="visible"/>
                                      </p:to>
                                    </p:set>
                                    <p:animEffect transition="in" filter="wipe(left)">
                                      <p:cBhvr>
                                        <p:cTn id="21" dur="500"/>
                                        <p:tgtEl>
                                          <p:spTgt spid="121"/>
                                        </p:tgtEl>
                                      </p:cBhvr>
                                    </p:animEffect>
                                  </p:childTnLst>
                                </p:cTn>
                              </p:par>
                            </p:childTnLst>
                          </p:cTn>
                        </p:par>
                        <p:par>
                          <p:cTn id="22" fill="hold">
                            <p:stCondLst>
                              <p:cond delay="2000"/>
                            </p:stCondLst>
                            <p:childTnLst>
                              <p:par>
                                <p:cTn id="23" presetID="53" presetClass="entr" presetSubtype="16" fill="hold" nodeType="afterEffect">
                                  <p:stCondLst>
                                    <p:cond delay="0"/>
                                  </p:stCondLst>
                                  <p:childTnLst>
                                    <p:set>
                                      <p:cBhvr>
                                        <p:cTn id="24" dur="1" fill="hold">
                                          <p:stCondLst>
                                            <p:cond delay="0"/>
                                          </p:stCondLst>
                                        </p:cTn>
                                        <p:tgtEl>
                                          <p:spTgt spid="8"/>
                                        </p:tgtEl>
                                        <p:attrNameLst>
                                          <p:attrName>style.visibility</p:attrName>
                                        </p:attrNameLst>
                                      </p:cBhvr>
                                      <p:to>
                                        <p:strVal val="visible"/>
                                      </p:to>
                                    </p:set>
                                    <p:anim calcmode="lin" valueType="num">
                                      <p:cBhvr>
                                        <p:cTn id="25" dur="500" fill="hold"/>
                                        <p:tgtEl>
                                          <p:spTgt spid="8"/>
                                        </p:tgtEl>
                                        <p:attrNameLst>
                                          <p:attrName>ppt_w</p:attrName>
                                        </p:attrNameLst>
                                      </p:cBhvr>
                                      <p:tavLst>
                                        <p:tav tm="0">
                                          <p:val>
                                            <p:fltVal val="0"/>
                                          </p:val>
                                        </p:tav>
                                        <p:tav tm="100000">
                                          <p:val>
                                            <p:strVal val="#ppt_w"/>
                                          </p:val>
                                        </p:tav>
                                      </p:tavLst>
                                    </p:anim>
                                    <p:anim calcmode="lin" valueType="num">
                                      <p:cBhvr>
                                        <p:cTn id="26" dur="500" fill="hold"/>
                                        <p:tgtEl>
                                          <p:spTgt spid="8"/>
                                        </p:tgtEl>
                                        <p:attrNameLst>
                                          <p:attrName>ppt_h</p:attrName>
                                        </p:attrNameLst>
                                      </p:cBhvr>
                                      <p:tavLst>
                                        <p:tav tm="0">
                                          <p:val>
                                            <p:fltVal val="0"/>
                                          </p:val>
                                        </p:tav>
                                        <p:tav tm="100000">
                                          <p:val>
                                            <p:strVal val="#ppt_h"/>
                                          </p:val>
                                        </p:tav>
                                      </p:tavLst>
                                    </p:anim>
                                    <p:animEffect transition="in" filter="fade">
                                      <p:cBhvr>
                                        <p:cTn id="27" dur="500"/>
                                        <p:tgtEl>
                                          <p:spTgt spid="8"/>
                                        </p:tgtEl>
                                      </p:cBhvr>
                                    </p:animEffect>
                                  </p:childTnLst>
                                </p:cTn>
                              </p:par>
                            </p:childTnLst>
                          </p:cTn>
                        </p:par>
                        <p:par>
                          <p:cTn id="28" fill="hold">
                            <p:stCondLst>
                              <p:cond delay="2500"/>
                            </p:stCondLst>
                            <p:childTnLst>
                              <p:par>
                                <p:cTn id="29" presetID="42" presetClass="entr" presetSubtype="0" fill="hold" grpId="0" nodeType="afterEffect">
                                  <p:stCondLst>
                                    <p:cond delay="0"/>
                                  </p:stCondLst>
                                  <p:childTnLst>
                                    <p:set>
                                      <p:cBhvr>
                                        <p:cTn id="30" dur="1" fill="hold">
                                          <p:stCondLst>
                                            <p:cond delay="0"/>
                                          </p:stCondLst>
                                        </p:cTn>
                                        <p:tgtEl>
                                          <p:spTgt spid="124"/>
                                        </p:tgtEl>
                                        <p:attrNameLst>
                                          <p:attrName>style.visibility</p:attrName>
                                        </p:attrNameLst>
                                      </p:cBhvr>
                                      <p:to>
                                        <p:strVal val="visible"/>
                                      </p:to>
                                    </p:set>
                                    <p:animEffect transition="in" filter="fade">
                                      <p:cBhvr>
                                        <p:cTn id="31" dur="500"/>
                                        <p:tgtEl>
                                          <p:spTgt spid="124"/>
                                        </p:tgtEl>
                                      </p:cBhvr>
                                    </p:animEffect>
                                    <p:anim calcmode="lin" valueType="num">
                                      <p:cBhvr>
                                        <p:cTn id="32" dur="500" fill="hold"/>
                                        <p:tgtEl>
                                          <p:spTgt spid="124"/>
                                        </p:tgtEl>
                                        <p:attrNameLst>
                                          <p:attrName>ppt_x</p:attrName>
                                        </p:attrNameLst>
                                      </p:cBhvr>
                                      <p:tavLst>
                                        <p:tav tm="0">
                                          <p:val>
                                            <p:strVal val="#ppt_x"/>
                                          </p:val>
                                        </p:tav>
                                        <p:tav tm="100000">
                                          <p:val>
                                            <p:strVal val="#ppt_x"/>
                                          </p:val>
                                        </p:tav>
                                      </p:tavLst>
                                    </p:anim>
                                    <p:anim calcmode="lin" valueType="num">
                                      <p:cBhvr>
                                        <p:cTn id="33" dur="500" fill="hold"/>
                                        <p:tgtEl>
                                          <p:spTgt spid="124"/>
                                        </p:tgtEl>
                                        <p:attrNameLst>
                                          <p:attrName>ppt_y</p:attrName>
                                        </p:attrNameLst>
                                      </p:cBhvr>
                                      <p:tavLst>
                                        <p:tav tm="0">
                                          <p:val>
                                            <p:strVal val="#ppt_y+.1"/>
                                          </p:val>
                                        </p:tav>
                                        <p:tav tm="100000">
                                          <p:val>
                                            <p:strVal val="#ppt_y"/>
                                          </p:val>
                                        </p:tav>
                                      </p:tavLst>
                                    </p:anim>
                                  </p:childTnLst>
                                </p:cTn>
                              </p:par>
                            </p:childTnLst>
                          </p:cTn>
                        </p:par>
                        <p:par>
                          <p:cTn id="34" fill="hold">
                            <p:stCondLst>
                              <p:cond delay="3000"/>
                            </p:stCondLst>
                            <p:childTnLst>
                              <p:par>
                                <p:cTn id="35" presetID="22" presetClass="entr" presetSubtype="8" fill="hold" grpId="0" nodeType="afterEffect">
                                  <p:stCondLst>
                                    <p:cond delay="0"/>
                                  </p:stCondLst>
                                  <p:childTnLst>
                                    <p:set>
                                      <p:cBhvr>
                                        <p:cTn id="36" dur="1" fill="hold">
                                          <p:stCondLst>
                                            <p:cond delay="0"/>
                                          </p:stCondLst>
                                        </p:cTn>
                                        <p:tgtEl>
                                          <p:spTgt spid="122"/>
                                        </p:tgtEl>
                                        <p:attrNameLst>
                                          <p:attrName>style.visibility</p:attrName>
                                        </p:attrNameLst>
                                      </p:cBhvr>
                                      <p:to>
                                        <p:strVal val="visible"/>
                                      </p:to>
                                    </p:set>
                                    <p:animEffect transition="in" filter="wipe(left)">
                                      <p:cBhvr>
                                        <p:cTn id="37" dur="500"/>
                                        <p:tgtEl>
                                          <p:spTgt spid="122"/>
                                        </p:tgtEl>
                                      </p:cBhvr>
                                    </p:animEffect>
                                  </p:childTnLst>
                                </p:cTn>
                              </p:par>
                            </p:childTnLst>
                          </p:cTn>
                        </p:par>
                        <p:par>
                          <p:cTn id="38" fill="hold">
                            <p:stCondLst>
                              <p:cond delay="3500"/>
                            </p:stCondLst>
                            <p:childTnLst>
                              <p:par>
                                <p:cTn id="39" presetID="53" presetClass="entr" presetSubtype="16" fill="hold" nodeType="afterEffect">
                                  <p:stCondLst>
                                    <p:cond delay="0"/>
                                  </p:stCondLst>
                                  <p:childTnLst>
                                    <p:set>
                                      <p:cBhvr>
                                        <p:cTn id="40" dur="1" fill="hold">
                                          <p:stCondLst>
                                            <p:cond delay="0"/>
                                          </p:stCondLst>
                                        </p:cTn>
                                        <p:tgtEl>
                                          <p:spTgt spid="2"/>
                                        </p:tgtEl>
                                        <p:attrNameLst>
                                          <p:attrName>style.visibility</p:attrName>
                                        </p:attrNameLst>
                                      </p:cBhvr>
                                      <p:to>
                                        <p:strVal val="visible"/>
                                      </p:to>
                                    </p:set>
                                    <p:anim calcmode="lin" valueType="num">
                                      <p:cBhvr>
                                        <p:cTn id="41" dur="500" fill="hold"/>
                                        <p:tgtEl>
                                          <p:spTgt spid="2"/>
                                        </p:tgtEl>
                                        <p:attrNameLst>
                                          <p:attrName>ppt_w</p:attrName>
                                        </p:attrNameLst>
                                      </p:cBhvr>
                                      <p:tavLst>
                                        <p:tav tm="0">
                                          <p:val>
                                            <p:fltVal val="0"/>
                                          </p:val>
                                        </p:tav>
                                        <p:tav tm="100000">
                                          <p:val>
                                            <p:strVal val="#ppt_w"/>
                                          </p:val>
                                        </p:tav>
                                      </p:tavLst>
                                    </p:anim>
                                    <p:anim calcmode="lin" valueType="num">
                                      <p:cBhvr>
                                        <p:cTn id="42" dur="500" fill="hold"/>
                                        <p:tgtEl>
                                          <p:spTgt spid="2"/>
                                        </p:tgtEl>
                                        <p:attrNameLst>
                                          <p:attrName>ppt_h</p:attrName>
                                        </p:attrNameLst>
                                      </p:cBhvr>
                                      <p:tavLst>
                                        <p:tav tm="0">
                                          <p:val>
                                            <p:fltVal val="0"/>
                                          </p:val>
                                        </p:tav>
                                        <p:tav tm="100000">
                                          <p:val>
                                            <p:strVal val="#ppt_h"/>
                                          </p:val>
                                        </p:tav>
                                      </p:tavLst>
                                    </p:anim>
                                    <p:animEffect transition="in" filter="fade">
                                      <p:cBhvr>
                                        <p:cTn id="43" dur="500"/>
                                        <p:tgtEl>
                                          <p:spTgt spid="2"/>
                                        </p:tgtEl>
                                      </p:cBhvr>
                                    </p:animEffect>
                                  </p:childTnLst>
                                </p:cTn>
                              </p:par>
                            </p:childTnLst>
                          </p:cTn>
                        </p:par>
                        <p:par>
                          <p:cTn id="44" fill="hold">
                            <p:stCondLst>
                              <p:cond delay="4000"/>
                            </p:stCondLst>
                            <p:childTnLst>
                              <p:par>
                                <p:cTn id="45" presetID="42" presetClass="entr" presetSubtype="0" fill="hold" grpId="0" nodeType="afterEffect">
                                  <p:stCondLst>
                                    <p:cond delay="0"/>
                                  </p:stCondLst>
                                  <p:childTnLst>
                                    <p:set>
                                      <p:cBhvr>
                                        <p:cTn id="46" dur="1" fill="hold">
                                          <p:stCondLst>
                                            <p:cond delay="0"/>
                                          </p:stCondLst>
                                        </p:cTn>
                                        <p:tgtEl>
                                          <p:spTgt spid="125"/>
                                        </p:tgtEl>
                                        <p:attrNameLst>
                                          <p:attrName>style.visibility</p:attrName>
                                        </p:attrNameLst>
                                      </p:cBhvr>
                                      <p:to>
                                        <p:strVal val="visible"/>
                                      </p:to>
                                    </p:set>
                                    <p:animEffect transition="in" filter="fade">
                                      <p:cBhvr>
                                        <p:cTn id="47" dur="500"/>
                                        <p:tgtEl>
                                          <p:spTgt spid="125"/>
                                        </p:tgtEl>
                                      </p:cBhvr>
                                    </p:animEffect>
                                    <p:anim calcmode="lin" valueType="num">
                                      <p:cBhvr>
                                        <p:cTn id="48" dur="500" fill="hold"/>
                                        <p:tgtEl>
                                          <p:spTgt spid="125"/>
                                        </p:tgtEl>
                                        <p:attrNameLst>
                                          <p:attrName>ppt_x</p:attrName>
                                        </p:attrNameLst>
                                      </p:cBhvr>
                                      <p:tavLst>
                                        <p:tav tm="0">
                                          <p:val>
                                            <p:strVal val="#ppt_x"/>
                                          </p:val>
                                        </p:tav>
                                        <p:tav tm="100000">
                                          <p:val>
                                            <p:strVal val="#ppt_x"/>
                                          </p:val>
                                        </p:tav>
                                      </p:tavLst>
                                    </p:anim>
                                    <p:anim calcmode="lin" valueType="num">
                                      <p:cBhvr>
                                        <p:cTn id="49" dur="500" fill="hold"/>
                                        <p:tgtEl>
                                          <p:spTgt spid="125"/>
                                        </p:tgtEl>
                                        <p:attrNameLst>
                                          <p:attrName>ppt_y</p:attrName>
                                        </p:attrNameLst>
                                      </p:cBhvr>
                                      <p:tavLst>
                                        <p:tav tm="0">
                                          <p:val>
                                            <p:strVal val="#ppt_y+.1"/>
                                          </p:val>
                                        </p:tav>
                                        <p:tav tm="100000">
                                          <p:val>
                                            <p:strVal val="#ppt_y"/>
                                          </p:val>
                                        </p:tav>
                                      </p:tavLst>
                                    </p:anim>
                                  </p:childTnLst>
                                </p:cTn>
                              </p:par>
                            </p:childTnLst>
                          </p:cTn>
                        </p:par>
                        <p:par>
                          <p:cTn id="50" fill="hold">
                            <p:stCondLst>
                              <p:cond delay="4500"/>
                            </p:stCondLst>
                            <p:childTnLst>
                              <p:par>
                                <p:cTn id="51" presetID="22" presetClass="entr" presetSubtype="8" fill="hold" grpId="0" nodeType="afterEffect">
                                  <p:stCondLst>
                                    <p:cond delay="0"/>
                                  </p:stCondLst>
                                  <p:childTnLst>
                                    <p:set>
                                      <p:cBhvr>
                                        <p:cTn id="52" dur="1" fill="hold">
                                          <p:stCondLst>
                                            <p:cond delay="0"/>
                                          </p:stCondLst>
                                        </p:cTn>
                                        <p:tgtEl>
                                          <p:spTgt spid="123"/>
                                        </p:tgtEl>
                                        <p:attrNameLst>
                                          <p:attrName>style.visibility</p:attrName>
                                        </p:attrNameLst>
                                      </p:cBhvr>
                                      <p:to>
                                        <p:strVal val="visible"/>
                                      </p:to>
                                    </p:set>
                                    <p:animEffect transition="in" filter="wipe(left)">
                                      <p:cBhvr>
                                        <p:cTn id="53" dur="500"/>
                                        <p:tgtEl>
                                          <p:spTgt spid="123"/>
                                        </p:tgtEl>
                                      </p:cBhvr>
                                    </p:animEffect>
                                  </p:childTnLst>
                                </p:cTn>
                              </p:par>
                            </p:childTnLst>
                          </p:cTn>
                        </p:par>
                        <p:par>
                          <p:cTn id="54" fill="hold">
                            <p:stCondLst>
                              <p:cond delay="5000"/>
                            </p:stCondLst>
                            <p:childTnLst>
                              <p:par>
                                <p:cTn id="55" presetID="53" presetClass="entr" presetSubtype="16" fill="hold" grpId="0" nodeType="afterEffect">
                                  <p:stCondLst>
                                    <p:cond delay="0"/>
                                  </p:stCondLst>
                                  <p:childTnLst>
                                    <p:set>
                                      <p:cBhvr>
                                        <p:cTn id="56" dur="1" fill="hold">
                                          <p:stCondLst>
                                            <p:cond delay="0"/>
                                          </p:stCondLst>
                                        </p:cTn>
                                        <p:tgtEl>
                                          <p:spTgt spid="11"/>
                                        </p:tgtEl>
                                        <p:attrNameLst>
                                          <p:attrName>style.visibility</p:attrName>
                                        </p:attrNameLst>
                                      </p:cBhvr>
                                      <p:to>
                                        <p:strVal val="visible"/>
                                      </p:to>
                                    </p:set>
                                    <p:anim calcmode="lin" valueType="num">
                                      <p:cBhvr>
                                        <p:cTn id="57" dur="500" fill="hold"/>
                                        <p:tgtEl>
                                          <p:spTgt spid="11"/>
                                        </p:tgtEl>
                                        <p:attrNameLst>
                                          <p:attrName>ppt_w</p:attrName>
                                        </p:attrNameLst>
                                      </p:cBhvr>
                                      <p:tavLst>
                                        <p:tav tm="0">
                                          <p:val>
                                            <p:fltVal val="0"/>
                                          </p:val>
                                        </p:tav>
                                        <p:tav tm="100000">
                                          <p:val>
                                            <p:strVal val="#ppt_w"/>
                                          </p:val>
                                        </p:tav>
                                      </p:tavLst>
                                    </p:anim>
                                    <p:anim calcmode="lin" valueType="num">
                                      <p:cBhvr>
                                        <p:cTn id="58" dur="500" fill="hold"/>
                                        <p:tgtEl>
                                          <p:spTgt spid="11"/>
                                        </p:tgtEl>
                                        <p:attrNameLst>
                                          <p:attrName>ppt_h</p:attrName>
                                        </p:attrNameLst>
                                      </p:cBhvr>
                                      <p:tavLst>
                                        <p:tav tm="0">
                                          <p:val>
                                            <p:fltVal val="0"/>
                                          </p:val>
                                        </p:tav>
                                        <p:tav tm="100000">
                                          <p:val>
                                            <p:strVal val="#ppt_h"/>
                                          </p:val>
                                        </p:tav>
                                      </p:tavLst>
                                    </p:anim>
                                    <p:animEffect transition="in" filter="fade">
                                      <p:cBhvr>
                                        <p:cTn id="59" dur="500"/>
                                        <p:tgtEl>
                                          <p:spTgt spid="11"/>
                                        </p:tgtEl>
                                      </p:cBhvr>
                                    </p:animEffect>
                                  </p:childTnLst>
                                </p:cTn>
                              </p:par>
                            </p:childTnLst>
                          </p:cTn>
                        </p:par>
                        <p:par>
                          <p:cTn id="60" fill="hold">
                            <p:stCondLst>
                              <p:cond delay="5500"/>
                            </p:stCondLst>
                            <p:childTnLst>
                              <p:par>
                                <p:cTn id="61" presetID="42" presetClass="entr" presetSubtype="0" fill="hold" grpId="0" nodeType="afterEffect">
                                  <p:stCondLst>
                                    <p:cond delay="0"/>
                                  </p:stCondLst>
                                  <p:childTnLst>
                                    <p:set>
                                      <p:cBhvr>
                                        <p:cTn id="62" dur="1" fill="hold">
                                          <p:stCondLst>
                                            <p:cond delay="0"/>
                                          </p:stCondLst>
                                        </p:cTn>
                                        <p:tgtEl>
                                          <p:spTgt spid="126"/>
                                        </p:tgtEl>
                                        <p:attrNameLst>
                                          <p:attrName>style.visibility</p:attrName>
                                        </p:attrNameLst>
                                      </p:cBhvr>
                                      <p:to>
                                        <p:strVal val="visible"/>
                                      </p:to>
                                    </p:set>
                                    <p:animEffect transition="in" filter="fade">
                                      <p:cBhvr>
                                        <p:cTn id="63" dur="500"/>
                                        <p:tgtEl>
                                          <p:spTgt spid="126"/>
                                        </p:tgtEl>
                                      </p:cBhvr>
                                    </p:animEffect>
                                    <p:anim calcmode="lin" valueType="num">
                                      <p:cBhvr>
                                        <p:cTn id="64" dur="500" fill="hold"/>
                                        <p:tgtEl>
                                          <p:spTgt spid="126"/>
                                        </p:tgtEl>
                                        <p:attrNameLst>
                                          <p:attrName>ppt_x</p:attrName>
                                        </p:attrNameLst>
                                      </p:cBhvr>
                                      <p:tavLst>
                                        <p:tav tm="0">
                                          <p:val>
                                            <p:strVal val="#ppt_x"/>
                                          </p:val>
                                        </p:tav>
                                        <p:tav tm="100000">
                                          <p:val>
                                            <p:strVal val="#ppt_x"/>
                                          </p:val>
                                        </p:tav>
                                      </p:tavLst>
                                    </p:anim>
                                    <p:anim calcmode="lin" valueType="num">
                                      <p:cBhvr>
                                        <p:cTn id="65" dur="500" fill="hold"/>
                                        <p:tgtEl>
                                          <p:spTgt spid="12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p:bldP spid="120" grpId="0"/>
      <p:bldP spid="121" grpId="0"/>
      <p:bldP spid="122" grpId="0"/>
      <p:bldP spid="123" grpId="0"/>
      <p:bldP spid="124" grpId="0"/>
      <p:bldP spid="125" grpId="0"/>
      <p:bldP spid="126" grpId="0"/>
    </p:bldLst>
  </p:timing>
</p:sld>
</file>

<file path=ppt/slides/slide6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Shape 108">
            <a:extLst>
              <a:ext uri="{FF2B5EF4-FFF2-40B4-BE49-F238E27FC236}">
                <a16:creationId xmlns:a16="http://schemas.microsoft.com/office/drawing/2014/main" id="{CA48F6C8-D6A6-42B5-A82D-BCDB67F8C2AC}"/>
              </a:ext>
            </a:extLst>
          </p:cNvPr>
          <p:cNvSpPr/>
          <p:nvPr/>
        </p:nvSpPr>
        <p:spPr>
          <a:xfrm flipH="1" flipV="1">
            <a:off x="0" y="4563885"/>
            <a:ext cx="2636830" cy="2294112"/>
          </a:xfrm>
          <a:custGeom>
            <a:avLst/>
            <a:gdLst>
              <a:gd name="connsiteX0" fmla="*/ 52588 w 7181850"/>
              <a:gd name="connsiteY0" fmla="*/ 0 h 6248400"/>
              <a:gd name="connsiteX1" fmla="*/ 7181850 w 7181850"/>
              <a:gd name="connsiteY1" fmla="*/ 0 h 6248400"/>
              <a:gd name="connsiteX2" fmla="*/ 7181850 w 7181850"/>
              <a:gd name="connsiteY2" fmla="*/ 5983853 h 6248400"/>
              <a:gd name="connsiteX3" fmla="*/ 7130245 w 7181850"/>
              <a:gd name="connsiteY3" fmla="*/ 6001314 h 6248400"/>
              <a:gd name="connsiteX4" fmla="*/ 5495925 w 7181850"/>
              <a:gd name="connsiteY4" fmla="*/ 6248400 h 6248400"/>
              <a:gd name="connsiteX5" fmla="*/ 0 w 7181850"/>
              <a:gd name="connsiteY5" fmla="*/ 752475 h 6248400"/>
              <a:gd name="connsiteX6" fmla="*/ 28375 w 7181850"/>
              <a:gd name="connsiteY6" fmla="*/ 190549 h 6248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181850" h="6248400">
                <a:moveTo>
                  <a:pt x="52588" y="0"/>
                </a:moveTo>
                <a:lnTo>
                  <a:pt x="7181850" y="0"/>
                </a:lnTo>
                <a:lnTo>
                  <a:pt x="7181850" y="5983853"/>
                </a:lnTo>
                <a:lnTo>
                  <a:pt x="7130245" y="6001314"/>
                </a:lnTo>
                <a:cubicBezTo>
                  <a:pt x="6613964" y="6161895"/>
                  <a:pt x="6065047" y="6248400"/>
                  <a:pt x="5495925" y="6248400"/>
                </a:cubicBezTo>
                <a:cubicBezTo>
                  <a:pt x="2460609" y="6248400"/>
                  <a:pt x="0" y="3787791"/>
                  <a:pt x="0" y="752475"/>
                </a:cubicBezTo>
                <a:cubicBezTo>
                  <a:pt x="0" y="562768"/>
                  <a:pt x="9612" y="375306"/>
                  <a:pt x="28375" y="190549"/>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等线" panose="020F0502020204030204"/>
              <a:ea typeface="+mn-ea"/>
              <a:cs typeface="+mn-cs"/>
            </a:endParaRPr>
          </a:p>
        </p:txBody>
      </p:sp>
      <p:grpSp>
        <p:nvGrpSpPr>
          <p:cNvPr id="3" name="Group 54">
            <a:extLst>
              <a:ext uri="{FF2B5EF4-FFF2-40B4-BE49-F238E27FC236}">
                <a16:creationId xmlns:a16="http://schemas.microsoft.com/office/drawing/2014/main" id="{7E313AD5-56E0-4B27-B5C9-9DB6F96C711A}"/>
              </a:ext>
            </a:extLst>
          </p:cNvPr>
          <p:cNvGrpSpPr/>
          <p:nvPr/>
        </p:nvGrpSpPr>
        <p:grpSpPr>
          <a:xfrm>
            <a:off x="658924" y="1256171"/>
            <a:ext cx="2743924" cy="4763338"/>
            <a:chOff x="8024682" y="1161312"/>
            <a:chExt cx="2479062" cy="4303548"/>
          </a:xfrm>
        </p:grpSpPr>
        <p:sp>
          <p:nvSpPr>
            <p:cNvPr id="4" name="Freeform 6">
              <a:extLst>
                <a:ext uri="{FF2B5EF4-FFF2-40B4-BE49-F238E27FC236}">
                  <a16:creationId xmlns:a16="http://schemas.microsoft.com/office/drawing/2014/main" id="{7F8EB919-9B15-4EAE-B0E5-8F1B719ECC2E}"/>
                </a:ext>
              </a:extLst>
            </p:cNvPr>
            <p:cNvSpPr>
              <a:spLocks/>
            </p:cNvSpPr>
            <p:nvPr/>
          </p:nvSpPr>
          <p:spPr bwMode="auto">
            <a:xfrm>
              <a:off x="8672080" y="4563383"/>
              <a:ext cx="1184265" cy="901477"/>
            </a:xfrm>
            <a:custGeom>
              <a:avLst/>
              <a:gdLst>
                <a:gd name="T0" fmla="*/ 0 w 694"/>
                <a:gd name="T1" fmla="*/ 0 h 529"/>
                <a:gd name="T2" fmla="*/ 694 w 694"/>
                <a:gd name="T3" fmla="*/ 0 h 529"/>
                <a:gd name="T4" fmla="*/ 582 w 694"/>
                <a:gd name="T5" fmla="*/ 492 h 529"/>
                <a:gd name="T6" fmla="*/ 582 w 694"/>
                <a:gd name="T7" fmla="*/ 492 h 529"/>
                <a:gd name="T8" fmla="*/ 347 w 694"/>
                <a:gd name="T9" fmla="*/ 529 h 529"/>
                <a:gd name="T10" fmla="*/ 112 w 694"/>
                <a:gd name="T11" fmla="*/ 492 h 529"/>
                <a:gd name="T12" fmla="*/ 112 w 694"/>
                <a:gd name="T13" fmla="*/ 492 h 529"/>
                <a:gd name="T14" fmla="*/ 0 w 694"/>
                <a:gd name="T15" fmla="*/ 0 h 5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94" h="529">
                  <a:moveTo>
                    <a:pt x="0" y="0"/>
                  </a:moveTo>
                  <a:cubicBezTo>
                    <a:pt x="694" y="0"/>
                    <a:pt x="694" y="0"/>
                    <a:pt x="694" y="0"/>
                  </a:cubicBezTo>
                  <a:cubicBezTo>
                    <a:pt x="582" y="492"/>
                    <a:pt x="582" y="492"/>
                    <a:pt x="582" y="492"/>
                  </a:cubicBezTo>
                  <a:cubicBezTo>
                    <a:pt x="582" y="492"/>
                    <a:pt x="582" y="492"/>
                    <a:pt x="582" y="492"/>
                  </a:cubicBezTo>
                  <a:cubicBezTo>
                    <a:pt x="582" y="513"/>
                    <a:pt x="477" y="529"/>
                    <a:pt x="347" y="529"/>
                  </a:cubicBezTo>
                  <a:cubicBezTo>
                    <a:pt x="217" y="529"/>
                    <a:pt x="112" y="513"/>
                    <a:pt x="112" y="492"/>
                  </a:cubicBezTo>
                  <a:cubicBezTo>
                    <a:pt x="112" y="492"/>
                    <a:pt x="112" y="492"/>
                    <a:pt x="112" y="492"/>
                  </a:cubicBezTo>
                  <a:lnTo>
                    <a:pt x="0" y="0"/>
                  </a:lnTo>
                  <a:close/>
                </a:path>
              </a:pathLst>
            </a:custGeom>
            <a:solidFill>
              <a:schemeClr val="tx1">
                <a:lumMod val="85000"/>
                <a:lumOff val="1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5" name="Freeform 7">
              <a:extLst>
                <a:ext uri="{FF2B5EF4-FFF2-40B4-BE49-F238E27FC236}">
                  <a16:creationId xmlns:a16="http://schemas.microsoft.com/office/drawing/2014/main" id="{3994856F-D4DF-40E9-AC12-AAAF29D5A7AE}"/>
                </a:ext>
              </a:extLst>
            </p:cNvPr>
            <p:cNvSpPr>
              <a:spLocks/>
            </p:cNvSpPr>
            <p:nvPr/>
          </p:nvSpPr>
          <p:spPr bwMode="auto">
            <a:xfrm>
              <a:off x="8686434" y="4619367"/>
              <a:ext cx="1155556" cy="300014"/>
            </a:xfrm>
            <a:custGeom>
              <a:avLst/>
              <a:gdLst>
                <a:gd name="T0" fmla="*/ 678 w 678"/>
                <a:gd name="T1" fmla="*/ 0 h 176"/>
                <a:gd name="T2" fmla="*/ 647 w 678"/>
                <a:gd name="T3" fmla="*/ 136 h 176"/>
                <a:gd name="T4" fmla="*/ 339 w 678"/>
                <a:gd name="T5" fmla="*/ 176 h 176"/>
                <a:gd name="T6" fmla="*/ 30 w 678"/>
                <a:gd name="T7" fmla="*/ 136 h 176"/>
                <a:gd name="T8" fmla="*/ 0 w 678"/>
                <a:gd name="T9" fmla="*/ 0 h 176"/>
                <a:gd name="T10" fmla="*/ 678 w 678"/>
                <a:gd name="T11" fmla="*/ 0 h 176"/>
              </a:gdLst>
              <a:ahLst/>
              <a:cxnLst>
                <a:cxn ang="0">
                  <a:pos x="T0" y="T1"/>
                </a:cxn>
                <a:cxn ang="0">
                  <a:pos x="T2" y="T3"/>
                </a:cxn>
                <a:cxn ang="0">
                  <a:pos x="T4" y="T5"/>
                </a:cxn>
                <a:cxn ang="0">
                  <a:pos x="T6" y="T7"/>
                </a:cxn>
                <a:cxn ang="0">
                  <a:pos x="T8" y="T9"/>
                </a:cxn>
                <a:cxn ang="0">
                  <a:pos x="T10" y="T11"/>
                </a:cxn>
              </a:cxnLst>
              <a:rect l="0" t="0" r="r" b="b"/>
              <a:pathLst>
                <a:path w="678" h="176">
                  <a:moveTo>
                    <a:pt x="678" y="0"/>
                  </a:moveTo>
                  <a:cubicBezTo>
                    <a:pt x="647" y="136"/>
                    <a:pt x="647" y="136"/>
                    <a:pt x="647" y="136"/>
                  </a:cubicBezTo>
                  <a:cubicBezTo>
                    <a:pt x="615" y="159"/>
                    <a:pt x="489" y="176"/>
                    <a:pt x="339" y="176"/>
                  </a:cubicBezTo>
                  <a:cubicBezTo>
                    <a:pt x="188" y="176"/>
                    <a:pt x="62" y="159"/>
                    <a:pt x="30" y="136"/>
                  </a:cubicBezTo>
                  <a:cubicBezTo>
                    <a:pt x="0" y="0"/>
                    <a:pt x="0" y="0"/>
                    <a:pt x="0" y="0"/>
                  </a:cubicBezTo>
                  <a:lnTo>
                    <a:pt x="678" y="0"/>
                  </a:ln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6" name="Freeform 8">
              <a:extLst>
                <a:ext uri="{FF2B5EF4-FFF2-40B4-BE49-F238E27FC236}">
                  <a16:creationId xmlns:a16="http://schemas.microsoft.com/office/drawing/2014/main" id="{890D6083-850B-4619-A9BD-3AD510E96D36}"/>
                </a:ext>
              </a:extLst>
            </p:cNvPr>
            <p:cNvSpPr>
              <a:spLocks/>
            </p:cNvSpPr>
            <p:nvPr/>
          </p:nvSpPr>
          <p:spPr bwMode="auto">
            <a:xfrm>
              <a:off x="8643371" y="4569125"/>
              <a:ext cx="1240248" cy="310063"/>
            </a:xfrm>
            <a:custGeom>
              <a:avLst/>
              <a:gdLst>
                <a:gd name="T0" fmla="*/ 0 w 727"/>
                <a:gd name="T1" fmla="*/ 0 h 182"/>
                <a:gd name="T2" fmla="*/ 727 w 727"/>
                <a:gd name="T3" fmla="*/ 0 h 182"/>
                <a:gd name="T4" fmla="*/ 698 w 727"/>
                <a:gd name="T5" fmla="*/ 128 h 182"/>
                <a:gd name="T6" fmla="*/ 698 w 727"/>
                <a:gd name="T7" fmla="*/ 128 h 182"/>
                <a:gd name="T8" fmla="*/ 697 w 727"/>
                <a:gd name="T9" fmla="*/ 132 h 182"/>
                <a:gd name="T10" fmla="*/ 697 w 727"/>
                <a:gd name="T11" fmla="*/ 133 h 182"/>
                <a:gd name="T12" fmla="*/ 697 w 727"/>
                <a:gd name="T13" fmla="*/ 133 h 182"/>
                <a:gd name="T14" fmla="*/ 364 w 727"/>
                <a:gd name="T15" fmla="*/ 182 h 182"/>
                <a:gd name="T16" fmla="*/ 31 w 727"/>
                <a:gd name="T17" fmla="*/ 133 h 182"/>
                <a:gd name="T18" fmla="*/ 31 w 727"/>
                <a:gd name="T19" fmla="*/ 133 h 182"/>
                <a:gd name="T20" fmla="*/ 31 w 727"/>
                <a:gd name="T21" fmla="*/ 133 h 182"/>
                <a:gd name="T22" fmla="*/ 29 w 727"/>
                <a:gd name="T23" fmla="*/ 128 h 182"/>
                <a:gd name="T24" fmla="*/ 29 w 727"/>
                <a:gd name="T25" fmla="*/ 128 h 182"/>
                <a:gd name="T26" fmla="*/ 0 w 727"/>
                <a:gd name="T27" fmla="*/ 0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27" h="182">
                  <a:moveTo>
                    <a:pt x="0" y="0"/>
                  </a:moveTo>
                  <a:cubicBezTo>
                    <a:pt x="727" y="0"/>
                    <a:pt x="727" y="0"/>
                    <a:pt x="727" y="0"/>
                  </a:cubicBezTo>
                  <a:cubicBezTo>
                    <a:pt x="698" y="128"/>
                    <a:pt x="698" y="128"/>
                    <a:pt x="698" y="128"/>
                  </a:cubicBezTo>
                  <a:cubicBezTo>
                    <a:pt x="698" y="128"/>
                    <a:pt x="698" y="128"/>
                    <a:pt x="698" y="128"/>
                  </a:cubicBezTo>
                  <a:cubicBezTo>
                    <a:pt x="698" y="130"/>
                    <a:pt x="698" y="131"/>
                    <a:pt x="697" y="132"/>
                  </a:cubicBezTo>
                  <a:cubicBezTo>
                    <a:pt x="697" y="133"/>
                    <a:pt x="697" y="133"/>
                    <a:pt x="697" y="133"/>
                  </a:cubicBezTo>
                  <a:cubicBezTo>
                    <a:pt x="697" y="133"/>
                    <a:pt x="697" y="133"/>
                    <a:pt x="697" y="133"/>
                  </a:cubicBezTo>
                  <a:cubicBezTo>
                    <a:pt x="683" y="160"/>
                    <a:pt x="539" y="182"/>
                    <a:pt x="364" y="182"/>
                  </a:cubicBezTo>
                  <a:cubicBezTo>
                    <a:pt x="189" y="182"/>
                    <a:pt x="45" y="160"/>
                    <a:pt x="31" y="133"/>
                  </a:cubicBezTo>
                  <a:cubicBezTo>
                    <a:pt x="31" y="133"/>
                    <a:pt x="31" y="133"/>
                    <a:pt x="31" y="133"/>
                  </a:cubicBezTo>
                  <a:cubicBezTo>
                    <a:pt x="31" y="133"/>
                    <a:pt x="31" y="133"/>
                    <a:pt x="31" y="133"/>
                  </a:cubicBezTo>
                  <a:cubicBezTo>
                    <a:pt x="30" y="131"/>
                    <a:pt x="29" y="130"/>
                    <a:pt x="29" y="128"/>
                  </a:cubicBezTo>
                  <a:cubicBezTo>
                    <a:pt x="29" y="128"/>
                    <a:pt x="29" y="128"/>
                    <a:pt x="29" y="128"/>
                  </a:cubicBezTo>
                  <a:lnTo>
                    <a:pt x="0" y="0"/>
                  </a:lnTo>
                  <a:close/>
                </a:path>
              </a:pathLst>
            </a:custGeom>
            <a:solidFill>
              <a:schemeClr val="tx1">
                <a:lumMod val="85000"/>
                <a:lumOff val="1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7" name="Oval 9">
              <a:extLst>
                <a:ext uri="{FF2B5EF4-FFF2-40B4-BE49-F238E27FC236}">
                  <a16:creationId xmlns:a16="http://schemas.microsoft.com/office/drawing/2014/main" id="{B1C0376E-86C1-4AA7-8559-238D1B3C01F7}"/>
                </a:ext>
              </a:extLst>
            </p:cNvPr>
            <p:cNvSpPr>
              <a:spLocks noChangeArrowheads="1"/>
            </p:cNvSpPr>
            <p:nvPr/>
          </p:nvSpPr>
          <p:spPr bwMode="auto">
            <a:xfrm>
              <a:off x="8643371" y="4468642"/>
              <a:ext cx="1240248" cy="198095"/>
            </a:xfrm>
            <a:prstGeom prst="ellipse">
              <a:avLst/>
            </a:pr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8" name="Oval 10">
              <a:extLst>
                <a:ext uri="{FF2B5EF4-FFF2-40B4-BE49-F238E27FC236}">
                  <a16:creationId xmlns:a16="http://schemas.microsoft.com/office/drawing/2014/main" id="{92861369-B1EC-480C-A31F-4783A1068E18}"/>
                </a:ext>
              </a:extLst>
            </p:cNvPr>
            <p:cNvSpPr>
              <a:spLocks noChangeArrowheads="1"/>
            </p:cNvSpPr>
            <p:nvPr/>
          </p:nvSpPr>
          <p:spPr bwMode="auto">
            <a:xfrm>
              <a:off x="8676387" y="4490175"/>
              <a:ext cx="1177088" cy="155031"/>
            </a:xfrm>
            <a:prstGeom prst="ellipse">
              <a:avLst/>
            </a:prstGeom>
            <a:solidFill>
              <a:schemeClr val="tx1">
                <a:lumMod val="85000"/>
                <a:lumOff val="1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9" name="Freeform 11">
              <a:extLst>
                <a:ext uri="{FF2B5EF4-FFF2-40B4-BE49-F238E27FC236}">
                  <a16:creationId xmlns:a16="http://schemas.microsoft.com/office/drawing/2014/main" id="{8BD74A0D-995A-48D8-B0A8-D43B31ED36A8}"/>
                </a:ext>
              </a:extLst>
            </p:cNvPr>
            <p:cNvSpPr>
              <a:spLocks/>
            </p:cNvSpPr>
            <p:nvPr/>
          </p:nvSpPr>
          <p:spPr bwMode="auto">
            <a:xfrm>
              <a:off x="8817063" y="4082500"/>
              <a:ext cx="447868" cy="399061"/>
            </a:xfrm>
            <a:custGeom>
              <a:avLst/>
              <a:gdLst>
                <a:gd name="T0" fmla="*/ 262 w 262"/>
                <a:gd name="T1" fmla="*/ 224 h 234"/>
                <a:gd name="T2" fmla="*/ 0 w 262"/>
                <a:gd name="T3" fmla="*/ 35 h 234"/>
                <a:gd name="T4" fmla="*/ 241 w 262"/>
                <a:gd name="T5" fmla="*/ 222 h 234"/>
                <a:gd name="T6" fmla="*/ 251 w 262"/>
                <a:gd name="T7" fmla="*/ 233 h 234"/>
                <a:gd name="T8" fmla="*/ 262 w 262"/>
                <a:gd name="T9" fmla="*/ 224 h 234"/>
              </a:gdLst>
              <a:ahLst/>
              <a:cxnLst>
                <a:cxn ang="0">
                  <a:pos x="T0" y="T1"/>
                </a:cxn>
                <a:cxn ang="0">
                  <a:pos x="T2" y="T3"/>
                </a:cxn>
                <a:cxn ang="0">
                  <a:pos x="T4" y="T5"/>
                </a:cxn>
                <a:cxn ang="0">
                  <a:pos x="T6" y="T7"/>
                </a:cxn>
                <a:cxn ang="0">
                  <a:pos x="T8" y="T9"/>
                </a:cxn>
              </a:cxnLst>
              <a:rect l="0" t="0" r="r" b="b"/>
              <a:pathLst>
                <a:path w="262" h="234">
                  <a:moveTo>
                    <a:pt x="262" y="224"/>
                  </a:moveTo>
                  <a:cubicBezTo>
                    <a:pt x="259" y="111"/>
                    <a:pt x="84" y="0"/>
                    <a:pt x="0" y="35"/>
                  </a:cubicBezTo>
                  <a:cubicBezTo>
                    <a:pt x="74" y="20"/>
                    <a:pt x="242" y="121"/>
                    <a:pt x="241" y="222"/>
                  </a:cubicBezTo>
                  <a:cubicBezTo>
                    <a:pt x="241" y="228"/>
                    <a:pt x="245" y="233"/>
                    <a:pt x="251" y="233"/>
                  </a:cubicBezTo>
                  <a:cubicBezTo>
                    <a:pt x="256" y="234"/>
                    <a:pt x="261" y="230"/>
                    <a:pt x="262" y="224"/>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0" name="Freeform 12">
              <a:extLst>
                <a:ext uri="{FF2B5EF4-FFF2-40B4-BE49-F238E27FC236}">
                  <a16:creationId xmlns:a16="http://schemas.microsoft.com/office/drawing/2014/main" id="{2C878238-8461-4F02-BEA5-D52899D2219E}"/>
                </a:ext>
              </a:extLst>
            </p:cNvPr>
            <p:cNvSpPr>
              <a:spLocks/>
            </p:cNvSpPr>
            <p:nvPr/>
          </p:nvSpPr>
          <p:spPr bwMode="auto">
            <a:xfrm>
              <a:off x="9274979" y="3822679"/>
              <a:ext cx="308627" cy="367481"/>
            </a:xfrm>
            <a:custGeom>
              <a:avLst/>
              <a:gdLst>
                <a:gd name="T0" fmla="*/ 14 w 181"/>
                <a:gd name="T1" fmla="*/ 214 h 216"/>
                <a:gd name="T2" fmla="*/ 181 w 181"/>
                <a:gd name="T3" fmla="*/ 2 h 216"/>
                <a:gd name="T4" fmla="*/ 7 w 181"/>
                <a:gd name="T5" fmla="*/ 197 h 216"/>
                <a:gd name="T6" fmla="*/ 2 w 181"/>
                <a:gd name="T7" fmla="*/ 210 h 216"/>
                <a:gd name="T8" fmla="*/ 14 w 181"/>
                <a:gd name="T9" fmla="*/ 214 h 216"/>
              </a:gdLst>
              <a:ahLst/>
              <a:cxnLst>
                <a:cxn ang="0">
                  <a:pos x="T0" y="T1"/>
                </a:cxn>
                <a:cxn ang="0">
                  <a:pos x="T2" y="T3"/>
                </a:cxn>
                <a:cxn ang="0">
                  <a:pos x="T4" y="T5"/>
                </a:cxn>
                <a:cxn ang="0">
                  <a:pos x="T6" y="T7"/>
                </a:cxn>
                <a:cxn ang="0">
                  <a:pos x="T8" y="T9"/>
                </a:cxn>
              </a:cxnLst>
              <a:rect l="0" t="0" r="r" b="b"/>
              <a:pathLst>
                <a:path w="181" h="216">
                  <a:moveTo>
                    <a:pt x="14" y="214"/>
                  </a:moveTo>
                  <a:cubicBezTo>
                    <a:pt x="89" y="164"/>
                    <a:pt x="98" y="39"/>
                    <a:pt x="181" y="2"/>
                  </a:cubicBezTo>
                  <a:cubicBezTo>
                    <a:pt x="113" y="0"/>
                    <a:pt x="67" y="160"/>
                    <a:pt x="7" y="197"/>
                  </a:cubicBezTo>
                  <a:cubicBezTo>
                    <a:pt x="2" y="199"/>
                    <a:pt x="0" y="205"/>
                    <a:pt x="2" y="210"/>
                  </a:cubicBezTo>
                  <a:cubicBezTo>
                    <a:pt x="4" y="214"/>
                    <a:pt x="10" y="216"/>
                    <a:pt x="14" y="214"/>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1" name="Freeform 13">
              <a:extLst>
                <a:ext uri="{FF2B5EF4-FFF2-40B4-BE49-F238E27FC236}">
                  <a16:creationId xmlns:a16="http://schemas.microsoft.com/office/drawing/2014/main" id="{AE0FA8BE-C06D-4D9E-B711-DC5EFB2E53D0}"/>
                </a:ext>
              </a:extLst>
            </p:cNvPr>
            <p:cNvSpPr>
              <a:spLocks/>
            </p:cNvSpPr>
            <p:nvPr/>
          </p:nvSpPr>
          <p:spPr bwMode="auto">
            <a:xfrm>
              <a:off x="8959175" y="3628890"/>
              <a:ext cx="327288" cy="226805"/>
            </a:xfrm>
            <a:custGeom>
              <a:avLst/>
              <a:gdLst>
                <a:gd name="T0" fmla="*/ 192 w 192"/>
                <a:gd name="T1" fmla="*/ 122 h 133"/>
                <a:gd name="T2" fmla="*/ 0 w 192"/>
                <a:gd name="T3" fmla="*/ 45 h 133"/>
                <a:gd name="T4" fmla="*/ 173 w 192"/>
                <a:gd name="T5" fmla="*/ 124 h 133"/>
                <a:gd name="T6" fmla="*/ 183 w 192"/>
                <a:gd name="T7" fmla="*/ 133 h 133"/>
                <a:gd name="T8" fmla="*/ 192 w 192"/>
                <a:gd name="T9" fmla="*/ 122 h 133"/>
              </a:gdLst>
              <a:ahLst/>
              <a:cxnLst>
                <a:cxn ang="0">
                  <a:pos x="T0" y="T1"/>
                </a:cxn>
                <a:cxn ang="0">
                  <a:pos x="T2" y="T3"/>
                </a:cxn>
                <a:cxn ang="0">
                  <a:pos x="T4" y="T5"/>
                </a:cxn>
                <a:cxn ang="0">
                  <a:pos x="T6" y="T7"/>
                </a:cxn>
                <a:cxn ang="0">
                  <a:pos x="T8" y="T9"/>
                </a:cxn>
              </a:cxnLst>
              <a:rect l="0" t="0" r="r" b="b"/>
              <a:pathLst>
                <a:path w="192" h="133">
                  <a:moveTo>
                    <a:pt x="192" y="122"/>
                  </a:moveTo>
                  <a:cubicBezTo>
                    <a:pt x="180" y="46"/>
                    <a:pt x="58" y="0"/>
                    <a:pt x="0" y="45"/>
                  </a:cubicBezTo>
                  <a:cubicBezTo>
                    <a:pt x="68" y="22"/>
                    <a:pt x="165" y="58"/>
                    <a:pt x="173" y="124"/>
                  </a:cubicBezTo>
                  <a:cubicBezTo>
                    <a:pt x="173" y="129"/>
                    <a:pt x="177" y="133"/>
                    <a:pt x="183" y="133"/>
                  </a:cubicBezTo>
                  <a:cubicBezTo>
                    <a:pt x="188" y="132"/>
                    <a:pt x="192" y="128"/>
                    <a:pt x="192" y="122"/>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2" name="Freeform 14">
              <a:extLst>
                <a:ext uri="{FF2B5EF4-FFF2-40B4-BE49-F238E27FC236}">
                  <a16:creationId xmlns:a16="http://schemas.microsoft.com/office/drawing/2014/main" id="{1BCB98A4-8C3E-4EBC-AAE1-601907BA09B2}"/>
                </a:ext>
              </a:extLst>
            </p:cNvPr>
            <p:cNvSpPr>
              <a:spLocks/>
            </p:cNvSpPr>
            <p:nvPr/>
          </p:nvSpPr>
          <p:spPr bwMode="auto">
            <a:xfrm>
              <a:off x="8979272" y="4536110"/>
              <a:ext cx="607206" cy="109096"/>
            </a:xfrm>
            <a:custGeom>
              <a:avLst/>
              <a:gdLst>
                <a:gd name="T0" fmla="*/ 0 w 356"/>
                <a:gd name="T1" fmla="*/ 59 h 64"/>
                <a:gd name="T2" fmla="*/ 19 w 356"/>
                <a:gd name="T3" fmla="*/ 35 h 64"/>
                <a:gd name="T4" fmla="*/ 83 w 356"/>
                <a:gd name="T5" fmla="*/ 26 h 64"/>
                <a:gd name="T6" fmla="*/ 135 w 356"/>
                <a:gd name="T7" fmla="*/ 12 h 64"/>
                <a:gd name="T8" fmla="*/ 229 w 356"/>
                <a:gd name="T9" fmla="*/ 12 h 64"/>
                <a:gd name="T10" fmla="*/ 296 w 356"/>
                <a:gd name="T11" fmla="*/ 43 h 64"/>
                <a:gd name="T12" fmla="*/ 356 w 356"/>
                <a:gd name="T13" fmla="*/ 57 h 64"/>
                <a:gd name="T14" fmla="*/ 167 w 356"/>
                <a:gd name="T15" fmla="*/ 64 h 64"/>
                <a:gd name="T16" fmla="*/ 0 w 356"/>
                <a:gd name="T17" fmla="*/ 59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6" h="64">
                  <a:moveTo>
                    <a:pt x="0" y="59"/>
                  </a:moveTo>
                  <a:cubicBezTo>
                    <a:pt x="7" y="48"/>
                    <a:pt x="14" y="39"/>
                    <a:pt x="19" y="35"/>
                  </a:cubicBezTo>
                  <a:cubicBezTo>
                    <a:pt x="35" y="20"/>
                    <a:pt x="66" y="13"/>
                    <a:pt x="83" y="26"/>
                  </a:cubicBezTo>
                  <a:cubicBezTo>
                    <a:pt x="100" y="39"/>
                    <a:pt x="112" y="0"/>
                    <a:pt x="135" y="12"/>
                  </a:cubicBezTo>
                  <a:cubicBezTo>
                    <a:pt x="166" y="28"/>
                    <a:pt x="196" y="8"/>
                    <a:pt x="229" y="12"/>
                  </a:cubicBezTo>
                  <a:cubicBezTo>
                    <a:pt x="261" y="16"/>
                    <a:pt x="268" y="30"/>
                    <a:pt x="296" y="43"/>
                  </a:cubicBezTo>
                  <a:cubicBezTo>
                    <a:pt x="310" y="49"/>
                    <a:pt x="333" y="53"/>
                    <a:pt x="356" y="57"/>
                  </a:cubicBezTo>
                  <a:cubicBezTo>
                    <a:pt x="301" y="61"/>
                    <a:pt x="237" y="64"/>
                    <a:pt x="167" y="64"/>
                  </a:cubicBezTo>
                  <a:cubicBezTo>
                    <a:pt x="106" y="64"/>
                    <a:pt x="49" y="62"/>
                    <a:pt x="0" y="59"/>
                  </a:cubicBez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3" name="Freeform 15">
              <a:extLst>
                <a:ext uri="{FF2B5EF4-FFF2-40B4-BE49-F238E27FC236}">
                  <a16:creationId xmlns:a16="http://schemas.microsoft.com/office/drawing/2014/main" id="{864D5EEC-3673-4D0F-A3C3-1F80B46F89A4}"/>
                </a:ext>
              </a:extLst>
            </p:cNvPr>
            <p:cNvSpPr>
              <a:spLocks/>
            </p:cNvSpPr>
            <p:nvPr/>
          </p:nvSpPr>
          <p:spPr bwMode="auto">
            <a:xfrm>
              <a:off x="9164447" y="3291554"/>
              <a:ext cx="228240" cy="1333555"/>
            </a:xfrm>
            <a:custGeom>
              <a:avLst/>
              <a:gdLst>
                <a:gd name="T0" fmla="*/ 80 w 134"/>
                <a:gd name="T1" fmla="*/ 766 h 782"/>
                <a:gd name="T2" fmla="*/ 119 w 134"/>
                <a:gd name="T3" fmla="*/ 514 h 782"/>
                <a:gd name="T4" fmla="*/ 91 w 134"/>
                <a:gd name="T5" fmla="*/ 0 h 782"/>
                <a:gd name="T6" fmla="*/ 57 w 134"/>
                <a:gd name="T7" fmla="*/ 519 h 782"/>
                <a:gd name="T8" fmla="*/ 5 w 134"/>
                <a:gd name="T9" fmla="*/ 766 h 782"/>
                <a:gd name="T10" fmla="*/ 80 w 134"/>
                <a:gd name="T11" fmla="*/ 766 h 782"/>
              </a:gdLst>
              <a:ahLst/>
              <a:cxnLst>
                <a:cxn ang="0">
                  <a:pos x="T0" y="T1"/>
                </a:cxn>
                <a:cxn ang="0">
                  <a:pos x="T2" y="T3"/>
                </a:cxn>
                <a:cxn ang="0">
                  <a:pos x="T4" y="T5"/>
                </a:cxn>
                <a:cxn ang="0">
                  <a:pos x="T6" y="T7"/>
                </a:cxn>
                <a:cxn ang="0">
                  <a:pos x="T8" y="T9"/>
                </a:cxn>
                <a:cxn ang="0">
                  <a:pos x="T10" y="T11"/>
                </a:cxn>
              </a:cxnLst>
              <a:rect l="0" t="0" r="r" b="b"/>
              <a:pathLst>
                <a:path w="134" h="782">
                  <a:moveTo>
                    <a:pt x="80" y="766"/>
                  </a:moveTo>
                  <a:cubicBezTo>
                    <a:pt x="110" y="680"/>
                    <a:pt x="134" y="603"/>
                    <a:pt x="119" y="514"/>
                  </a:cubicBezTo>
                  <a:cubicBezTo>
                    <a:pt x="85" y="323"/>
                    <a:pt x="60" y="195"/>
                    <a:pt x="91" y="0"/>
                  </a:cubicBezTo>
                  <a:cubicBezTo>
                    <a:pt x="0" y="168"/>
                    <a:pt x="38" y="350"/>
                    <a:pt x="57" y="519"/>
                  </a:cubicBezTo>
                  <a:cubicBezTo>
                    <a:pt x="67" y="603"/>
                    <a:pt x="39" y="680"/>
                    <a:pt x="5" y="766"/>
                  </a:cubicBezTo>
                  <a:cubicBezTo>
                    <a:pt x="2" y="776"/>
                    <a:pt x="76" y="782"/>
                    <a:pt x="80" y="766"/>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4" name="Freeform 16">
              <a:extLst>
                <a:ext uri="{FF2B5EF4-FFF2-40B4-BE49-F238E27FC236}">
                  <a16:creationId xmlns:a16="http://schemas.microsoft.com/office/drawing/2014/main" id="{FD1DA6EF-F0CD-4806-8E79-28EF9ACC0040}"/>
                </a:ext>
              </a:extLst>
            </p:cNvPr>
            <p:cNvSpPr>
              <a:spLocks/>
            </p:cNvSpPr>
            <p:nvPr/>
          </p:nvSpPr>
          <p:spPr bwMode="auto">
            <a:xfrm>
              <a:off x="9488864" y="3557116"/>
              <a:ext cx="377529" cy="340208"/>
            </a:xfrm>
            <a:custGeom>
              <a:avLst/>
              <a:gdLst>
                <a:gd name="T0" fmla="*/ 0 w 221"/>
                <a:gd name="T1" fmla="*/ 199 h 199"/>
                <a:gd name="T2" fmla="*/ 221 w 221"/>
                <a:gd name="T3" fmla="*/ 125 h 199"/>
                <a:gd name="T4" fmla="*/ 0 w 221"/>
                <a:gd name="T5" fmla="*/ 199 h 199"/>
              </a:gdLst>
              <a:ahLst/>
              <a:cxnLst>
                <a:cxn ang="0">
                  <a:pos x="T0" y="T1"/>
                </a:cxn>
                <a:cxn ang="0">
                  <a:pos x="T2" y="T3"/>
                </a:cxn>
                <a:cxn ang="0">
                  <a:pos x="T4" y="T5"/>
                </a:cxn>
              </a:cxnLst>
              <a:rect l="0" t="0" r="r" b="b"/>
              <a:pathLst>
                <a:path w="221" h="199">
                  <a:moveTo>
                    <a:pt x="0" y="199"/>
                  </a:moveTo>
                  <a:cubicBezTo>
                    <a:pt x="1" y="80"/>
                    <a:pt x="100" y="0"/>
                    <a:pt x="221" y="125"/>
                  </a:cubicBezTo>
                  <a:cubicBezTo>
                    <a:pt x="124" y="101"/>
                    <a:pt x="37" y="167"/>
                    <a:pt x="0" y="199"/>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5" name="Freeform 17">
              <a:extLst>
                <a:ext uri="{FF2B5EF4-FFF2-40B4-BE49-F238E27FC236}">
                  <a16:creationId xmlns:a16="http://schemas.microsoft.com/office/drawing/2014/main" id="{4A1AB5B4-250C-4F56-8D07-47804C2F1607}"/>
                </a:ext>
              </a:extLst>
            </p:cNvPr>
            <p:cNvSpPr>
              <a:spLocks/>
            </p:cNvSpPr>
            <p:nvPr/>
          </p:nvSpPr>
          <p:spPr bwMode="auto">
            <a:xfrm>
              <a:off x="9488864" y="3661906"/>
              <a:ext cx="377529" cy="235417"/>
            </a:xfrm>
            <a:custGeom>
              <a:avLst/>
              <a:gdLst>
                <a:gd name="T0" fmla="*/ 0 w 221"/>
                <a:gd name="T1" fmla="*/ 138 h 138"/>
                <a:gd name="T2" fmla="*/ 221 w 221"/>
                <a:gd name="T3" fmla="*/ 64 h 138"/>
                <a:gd name="T4" fmla="*/ 0 w 221"/>
                <a:gd name="T5" fmla="*/ 138 h 138"/>
              </a:gdLst>
              <a:ahLst/>
              <a:cxnLst>
                <a:cxn ang="0">
                  <a:pos x="T0" y="T1"/>
                </a:cxn>
                <a:cxn ang="0">
                  <a:pos x="T2" y="T3"/>
                </a:cxn>
                <a:cxn ang="0">
                  <a:pos x="T4" y="T5"/>
                </a:cxn>
              </a:cxnLst>
              <a:rect l="0" t="0" r="r" b="b"/>
              <a:pathLst>
                <a:path w="221" h="138">
                  <a:moveTo>
                    <a:pt x="0" y="138"/>
                  </a:moveTo>
                  <a:cubicBezTo>
                    <a:pt x="36" y="69"/>
                    <a:pt x="122" y="0"/>
                    <a:pt x="221" y="64"/>
                  </a:cubicBezTo>
                  <a:cubicBezTo>
                    <a:pt x="124" y="40"/>
                    <a:pt x="37" y="106"/>
                    <a:pt x="0" y="138"/>
                  </a:cubicBezTo>
                  <a:close/>
                </a:path>
              </a:pathLst>
            </a:custGeom>
            <a:solidFill>
              <a:schemeClr val="accent3">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6" name="Freeform 18">
              <a:extLst>
                <a:ext uri="{FF2B5EF4-FFF2-40B4-BE49-F238E27FC236}">
                  <a16:creationId xmlns:a16="http://schemas.microsoft.com/office/drawing/2014/main" id="{00EB47A5-AFBE-4E72-9692-01D9F04B26D5}"/>
                </a:ext>
              </a:extLst>
            </p:cNvPr>
            <p:cNvSpPr>
              <a:spLocks/>
            </p:cNvSpPr>
            <p:nvPr/>
          </p:nvSpPr>
          <p:spPr bwMode="auto">
            <a:xfrm>
              <a:off x="9405607" y="3824114"/>
              <a:ext cx="44500" cy="192354"/>
            </a:xfrm>
            <a:custGeom>
              <a:avLst/>
              <a:gdLst>
                <a:gd name="T0" fmla="*/ 5 w 26"/>
                <a:gd name="T1" fmla="*/ 111 h 113"/>
                <a:gd name="T2" fmla="*/ 14 w 26"/>
                <a:gd name="T3" fmla="*/ 0 h 113"/>
                <a:gd name="T4" fmla="*/ 1 w 26"/>
                <a:gd name="T5" fmla="*/ 105 h 113"/>
                <a:gd name="T6" fmla="*/ 6 w 26"/>
                <a:gd name="T7" fmla="*/ 110 h 113"/>
                <a:gd name="T8" fmla="*/ 5 w 26"/>
                <a:gd name="T9" fmla="*/ 111 h 113"/>
              </a:gdLst>
              <a:ahLst/>
              <a:cxnLst>
                <a:cxn ang="0">
                  <a:pos x="T0" y="T1"/>
                </a:cxn>
                <a:cxn ang="0">
                  <a:pos x="T2" y="T3"/>
                </a:cxn>
                <a:cxn ang="0">
                  <a:pos x="T4" y="T5"/>
                </a:cxn>
                <a:cxn ang="0">
                  <a:pos x="T6" y="T7"/>
                </a:cxn>
                <a:cxn ang="0">
                  <a:pos x="T8" y="T9"/>
                </a:cxn>
              </a:cxnLst>
              <a:rect l="0" t="0" r="r" b="b"/>
              <a:pathLst>
                <a:path w="26" h="113">
                  <a:moveTo>
                    <a:pt x="5" y="111"/>
                  </a:moveTo>
                  <a:cubicBezTo>
                    <a:pt x="26" y="86"/>
                    <a:pt x="24" y="29"/>
                    <a:pt x="14" y="0"/>
                  </a:cubicBezTo>
                  <a:cubicBezTo>
                    <a:pt x="18" y="27"/>
                    <a:pt x="15" y="83"/>
                    <a:pt x="1" y="105"/>
                  </a:cubicBezTo>
                  <a:cubicBezTo>
                    <a:pt x="0" y="108"/>
                    <a:pt x="3" y="113"/>
                    <a:pt x="6" y="110"/>
                  </a:cubicBezTo>
                  <a:lnTo>
                    <a:pt x="5" y="111"/>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7" name="Freeform 19">
              <a:extLst>
                <a:ext uri="{FF2B5EF4-FFF2-40B4-BE49-F238E27FC236}">
                  <a16:creationId xmlns:a16="http://schemas.microsoft.com/office/drawing/2014/main" id="{217D4BFA-1B85-4A4F-94FC-0F904500A8E1}"/>
                </a:ext>
              </a:extLst>
            </p:cNvPr>
            <p:cNvSpPr>
              <a:spLocks/>
            </p:cNvSpPr>
            <p:nvPr/>
          </p:nvSpPr>
          <p:spPr bwMode="auto">
            <a:xfrm>
              <a:off x="8621839" y="3482472"/>
              <a:ext cx="473706" cy="389013"/>
            </a:xfrm>
            <a:custGeom>
              <a:avLst/>
              <a:gdLst>
                <a:gd name="T0" fmla="*/ 278 w 278"/>
                <a:gd name="T1" fmla="*/ 126 h 228"/>
                <a:gd name="T2" fmla="*/ 0 w 278"/>
                <a:gd name="T3" fmla="*/ 228 h 228"/>
                <a:gd name="T4" fmla="*/ 278 w 278"/>
                <a:gd name="T5" fmla="*/ 126 h 228"/>
              </a:gdLst>
              <a:ahLst/>
              <a:cxnLst>
                <a:cxn ang="0">
                  <a:pos x="T0" y="T1"/>
                </a:cxn>
                <a:cxn ang="0">
                  <a:pos x="T2" y="T3"/>
                </a:cxn>
                <a:cxn ang="0">
                  <a:pos x="T4" y="T5"/>
                </a:cxn>
              </a:cxnLst>
              <a:rect l="0" t="0" r="r" b="b"/>
              <a:pathLst>
                <a:path w="278" h="228">
                  <a:moveTo>
                    <a:pt x="278" y="126"/>
                  </a:moveTo>
                  <a:cubicBezTo>
                    <a:pt x="176" y="13"/>
                    <a:pt x="35" y="0"/>
                    <a:pt x="0" y="228"/>
                  </a:cubicBezTo>
                  <a:cubicBezTo>
                    <a:pt x="82" y="124"/>
                    <a:pt x="217" y="122"/>
                    <a:pt x="278" y="126"/>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8" name="Freeform 20">
              <a:extLst>
                <a:ext uri="{FF2B5EF4-FFF2-40B4-BE49-F238E27FC236}">
                  <a16:creationId xmlns:a16="http://schemas.microsoft.com/office/drawing/2014/main" id="{EE42217F-791D-48EE-B56D-35970EABFA1D}"/>
                </a:ext>
              </a:extLst>
            </p:cNvPr>
            <p:cNvSpPr>
              <a:spLocks/>
            </p:cNvSpPr>
            <p:nvPr/>
          </p:nvSpPr>
          <p:spPr bwMode="auto">
            <a:xfrm>
              <a:off x="8621839" y="3620278"/>
              <a:ext cx="473706" cy="251208"/>
            </a:xfrm>
            <a:custGeom>
              <a:avLst/>
              <a:gdLst>
                <a:gd name="T0" fmla="*/ 278 w 278"/>
                <a:gd name="T1" fmla="*/ 45 h 147"/>
                <a:gd name="T2" fmla="*/ 0 w 278"/>
                <a:gd name="T3" fmla="*/ 147 h 147"/>
                <a:gd name="T4" fmla="*/ 278 w 278"/>
                <a:gd name="T5" fmla="*/ 45 h 147"/>
              </a:gdLst>
              <a:ahLst/>
              <a:cxnLst>
                <a:cxn ang="0">
                  <a:pos x="T0" y="T1"/>
                </a:cxn>
                <a:cxn ang="0">
                  <a:pos x="T2" y="T3"/>
                </a:cxn>
                <a:cxn ang="0">
                  <a:pos x="T4" y="T5"/>
                </a:cxn>
              </a:cxnLst>
              <a:rect l="0" t="0" r="r" b="b"/>
              <a:pathLst>
                <a:path w="278" h="147">
                  <a:moveTo>
                    <a:pt x="278" y="45"/>
                  </a:moveTo>
                  <a:cubicBezTo>
                    <a:pt x="194" y="2"/>
                    <a:pt x="56" y="0"/>
                    <a:pt x="0" y="147"/>
                  </a:cubicBezTo>
                  <a:cubicBezTo>
                    <a:pt x="82" y="43"/>
                    <a:pt x="217" y="41"/>
                    <a:pt x="278" y="45"/>
                  </a:cubicBezTo>
                  <a:close/>
                </a:path>
              </a:pathLst>
            </a:custGeom>
            <a:solidFill>
              <a:schemeClr val="accent3">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9" name="Freeform 21">
              <a:extLst>
                <a:ext uri="{FF2B5EF4-FFF2-40B4-BE49-F238E27FC236}">
                  <a16:creationId xmlns:a16="http://schemas.microsoft.com/office/drawing/2014/main" id="{1610AEE4-9261-48BE-A298-F159C028A555}"/>
                </a:ext>
              </a:extLst>
            </p:cNvPr>
            <p:cNvSpPr>
              <a:spLocks/>
            </p:cNvSpPr>
            <p:nvPr/>
          </p:nvSpPr>
          <p:spPr bwMode="auto">
            <a:xfrm>
              <a:off x="8663467" y="3936082"/>
              <a:ext cx="366046" cy="254079"/>
            </a:xfrm>
            <a:custGeom>
              <a:avLst/>
              <a:gdLst>
                <a:gd name="T0" fmla="*/ 214 w 214"/>
                <a:gd name="T1" fmla="*/ 149 h 149"/>
                <a:gd name="T2" fmla="*/ 0 w 214"/>
                <a:gd name="T3" fmla="*/ 149 h 149"/>
                <a:gd name="T4" fmla="*/ 214 w 214"/>
                <a:gd name="T5" fmla="*/ 149 h 149"/>
              </a:gdLst>
              <a:ahLst/>
              <a:cxnLst>
                <a:cxn ang="0">
                  <a:pos x="T0" y="T1"/>
                </a:cxn>
                <a:cxn ang="0">
                  <a:pos x="T2" y="T3"/>
                </a:cxn>
                <a:cxn ang="0">
                  <a:pos x="T4" y="T5"/>
                </a:cxn>
              </a:cxnLst>
              <a:rect l="0" t="0" r="r" b="b"/>
              <a:pathLst>
                <a:path w="214" h="149">
                  <a:moveTo>
                    <a:pt x="214" y="149"/>
                  </a:moveTo>
                  <a:cubicBezTo>
                    <a:pt x="188" y="42"/>
                    <a:pt x="82" y="0"/>
                    <a:pt x="0" y="149"/>
                  </a:cubicBezTo>
                  <a:cubicBezTo>
                    <a:pt x="82" y="98"/>
                    <a:pt x="174" y="131"/>
                    <a:pt x="214" y="149"/>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0" name="Freeform 22">
              <a:extLst>
                <a:ext uri="{FF2B5EF4-FFF2-40B4-BE49-F238E27FC236}">
                  <a16:creationId xmlns:a16="http://schemas.microsoft.com/office/drawing/2014/main" id="{0B19192C-9670-41EE-BBD7-E6AC68781FCC}"/>
                </a:ext>
              </a:extLst>
            </p:cNvPr>
            <p:cNvSpPr>
              <a:spLocks/>
            </p:cNvSpPr>
            <p:nvPr/>
          </p:nvSpPr>
          <p:spPr bwMode="auto">
            <a:xfrm>
              <a:off x="8663467" y="4040871"/>
              <a:ext cx="366046" cy="149289"/>
            </a:xfrm>
            <a:custGeom>
              <a:avLst/>
              <a:gdLst>
                <a:gd name="T0" fmla="*/ 214 w 214"/>
                <a:gd name="T1" fmla="*/ 88 h 88"/>
                <a:gd name="T2" fmla="*/ 0 w 214"/>
                <a:gd name="T3" fmla="*/ 88 h 88"/>
                <a:gd name="T4" fmla="*/ 214 w 214"/>
                <a:gd name="T5" fmla="*/ 88 h 88"/>
              </a:gdLst>
              <a:ahLst/>
              <a:cxnLst>
                <a:cxn ang="0">
                  <a:pos x="T0" y="T1"/>
                </a:cxn>
                <a:cxn ang="0">
                  <a:pos x="T2" y="T3"/>
                </a:cxn>
                <a:cxn ang="0">
                  <a:pos x="T4" y="T5"/>
                </a:cxn>
              </a:cxnLst>
              <a:rect l="0" t="0" r="r" b="b"/>
              <a:pathLst>
                <a:path w="214" h="88">
                  <a:moveTo>
                    <a:pt x="214" y="88"/>
                  </a:moveTo>
                  <a:cubicBezTo>
                    <a:pt x="168" y="37"/>
                    <a:pt x="76" y="0"/>
                    <a:pt x="0" y="88"/>
                  </a:cubicBezTo>
                  <a:cubicBezTo>
                    <a:pt x="82" y="37"/>
                    <a:pt x="174" y="70"/>
                    <a:pt x="214" y="88"/>
                  </a:cubicBezTo>
                  <a:close/>
                </a:path>
              </a:pathLst>
            </a:custGeom>
            <a:solidFill>
              <a:schemeClr val="accent3">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1" name="Freeform 23">
              <a:extLst>
                <a:ext uri="{FF2B5EF4-FFF2-40B4-BE49-F238E27FC236}">
                  <a16:creationId xmlns:a16="http://schemas.microsoft.com/office/drawing/2014/main" id="{DD3EAC8C-0496-4495-9C93-A5F383E7D164}"/>
                </a:ext>
              </a:extLst>
            </p:cNvPr>
            <p:cNvSpPr>
              <a:spLocks/>
            </p:cNvSpPr>
            <p:nvPr/>
          </p:nvSpPr>
          <p:spPr bwMode="auto">
            <a:xfrm>
              <a:off x="9157270" y="3798276"/>
              <a:ext cx="381836" cy="397626"/>
            </a:xfrm>
            <a:custGeom>
              <a:avLst/>
              <a:gdLst>
                <a:gd name="T0" fmla="*/ 0 w 224"/>
                <a:gd name="T1" fmla="*/ 233 h 233"/>
                <a:gd name="T2" fmla="*/ 99 w 224"/>
                <a:gd name="T3" fmla="*/ 12 h 233"/>
                <a:gd name="T4" fmla="*/ 0 w 224"/>
                <a:gd name="T5" fmla="*/ 233 h 233"/>
              </a:gdLst>
              <a:ahLst/>
              <a:cxnLst>
                <a:cxn ang="0">
                  <a:pos x="T0" y="T1"/>
                </a:cxn>
                <a:cxn ang="0">
                  <a:pos x="T2" y="T3"/>
                </a:cxn>
                <a:cxn ang="0">
                  <a:pos x="T4" y="T5"/>
                </a:cxn>
              </a:cxnLst>
              <a:rect l="0" t="0" r="r" b="b"/>
              <a:pathLst>
                <a:path w="224" h="233">
                  <a:moveTo>
                    <a:pt x="0" y="233"/>
                  </a:moveTo>
                  <a:cubicBezTo>
                    <a:pt x="224" y="142"/>
                    <a:pt x="156" y="0"/>
                    <a:pt x="99" y="12"/>
                  </a:cubicBezTo>
                  <a:cubicBezTo>
                    <a:pt x="59" y="30"/>
                    <a:pt x="13" y="151"/>
                    <a:pt x="0" y="233"/>
                  </a:cubicBezTo>
                  <a:close/>
                </a:path>
              </a:pathLst>
            </a:custGeom>
            <a:solidFill>
              <a:schemeClr val="accent3">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2" name="Freeform 24">
              <a:extLst>
                <a:ext uri="{FF2B5EF4-FFF2-40B4-BE49-F238E27FC236}">
                  <a16:creationId xmlns:a16="http://schemas.microsoft.com/office/drawing/2014/main" id="{3DAABDAB-CA60-486D-8CCC-524D7BDB2C9A}"/>
                </a:ext>
              </a:extLst>
            </p:cNvPr>
            <p:cNvSpPr>
              <a:spLocks/>
            </p:cNvSpPr>
            <p:nvPr/>
          </p:nvSpPr>
          <p:spPr bwMode="auto">
            <a:xfrm>
              <a:off x="9025207" y="3699228"/>
              <a:ext cx="300014" cy="496673"/>
            </a:xfrm>
            <a:custGeom>
              <a:avLst/>
              <a:gdLst>
                <a:gd name="T0" fmla="*/ 77 w 176"/>
                <a:gd name="T1" fmla="*/ 291 h 291"/>
                <a:gd name="T2" fmla="*/ 176 w 176"/>
                <a:gd name="T3" fmla="*/ 70 h 291"/>
                <a:gd name="T4" fmla="*/ 77 w 176"/>
                <a:gd name="T5" fmla="*/ 291 h 291"/>
              </a:gdLst>
              <a:ahLst/>
              <a:cxnLst>
                <a:cxn ang="0">
                  <a:pos x="T0" y="T1"/>
                </a:cxn>
                <a:cxn ang="0">
                  <a:pos x="T2" y="T3"/>
                </a:cxn>
                <a:cxn ang="0">
                  <a:pos x="T4" y="T5"/>
                </a:cxn>
              </a:cxnLst>
              <a:rect l="0" t="0" r="r" b="b"/>
              <a:pathLst>
                <a:path w="176" h="291">
                  <a:moveTo>
                    <a:pt x="77" y="291"/>
                  </a:moveTo>
                  <a:cubicBezTo>
                    <a:pt x="0" y="83"/>
                    <a:pt x="86" y="0"/>
                    <a:pt x="176" y="70"/>
                  </a:cubicBezTo>
                  <a:cubicBezTo>
                    <a:pt x="136" y="88"/>
                    <a:pt x="90" y="209"/>
                    <a:pt x="77" y="291"/>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3" name="Freeform 25">
              <a:extLst>
                <a:ext uri="{FF2B5EF4-FFF2-40B4-BE49-F238E27FC236}">
                  <a16:creationId xmlns:a16="http://schemas.microsoft.com/office/drawing/2014/main" id="{E4FD45CE-6735-4C77-9E35-95EEB5B2664E}"/>
                </a:ext>
              </a:extLst>
            </p:cNvPr>
            <p:cNvSpPr>
              <a:spLocks/>
            </p:cNvSpPr>
            <p:nvPr/>
          </p:nvSpPr>
          <p:spPr bwMode="auto">
            <a:xfrm>
              <a:off x="9089803" y="4083935"/>
              <a:ext cx="77516" cy="198095"/>
            </a:xfrm>
            <a:custGeom>
              <a:avLst/>
              <a:gdLst>
                <a:gd name="T0" fmla="*/ 40 w 45"/>
                <a:gd name="T1" fmla="*/ 114 h 116"/>
                <a:gd name="T2" fmla="*/ 4 w 45"/>
                <a:gd name="T3" fmla="*/ 0 h 116"/>
                <a:gd name="T4" fmla="*/ 42 w 45"/>
                <a:gd name="T5" fmla="*/ 107 h 116"/>
                <a:gd name="T6" fmla="*/ 38 w 45"/>
                <a:gd name="T7" fmla="*/ 114 h 116"/>
                <a:gd name="T8" fmla="*/ 40 w 45"/>
                <a:gd name="T9" fmla="*/ 114 h 116"/>
              </a:gdLst>
              <a:ahLst/>
              <a:cxnLst>
                <a:cxn ang="0">
                  <a:pos x="T0" y="T1"/>
                </a:cxn>
                <a:cxn ang="0">
                  <a:pos x="T2" y="T3"/>
                </a:cxn>
                <a:cxn ang="0">
                  <a:pos x="T4" y="T5"/>
                </a:cxn>
                <a:cxn ang="0">
                  <a:pos x="T6" y="T7"/>
                </a:cxn>
                <a:cxn ang="0">
                  <a:pos x="T8" y="T9"/>
                </a:cxn>
              </a:cxnLst>
              <a:rect l="0" t="0" r="r" b="b"/>
              <a:pathLst>
                <a:path w="45" h="116">
                  <a:moveTo>
                    <a:pt x="40" y="114"/>
                  </a:moveTo>
                  <a:cubicBezTo>
                    <a:pt x="12" y="95"/>
                    <a:pt x="0" y="34"/>
                    <a:pt x="4" y="0"/>
                  </a:cubicBezTo>
                  <a:cubicBezTo>
                    <a:pt x="7" y="30"/>
                    <a:pt x="23" y="88"/>
                    <a:pt x="42" y="107"/>
                  </a:cubicBezTo>
                  <a:cubicBezTo>
                    <a:pt x="45" y="109"/>
                    <a:pt x="42" y="116"/>
                    <a:pt x="38" y="114"/>
                  </a:cubicBezTo>
                  <a:lnTo>
                    <a:pt x="40" y="114"/>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4" name="Freeform 26">
              <a:extLst>
                <a:ext uri="{FF2B5EF4-FFF2-40B4-BE49-F238E27FC236}">
                  <a16:creationId xmlns:a16="http://schemas.microsoft.com/office/drawing/2014/main" id="{41814C15-05E7-4C9C-94D4-6359D44F9201}"/>
                </a:ext>
              </a:extLst>
            </p:cNvPr>
            <p:cNvSpPr>
              <a:spLocks/>
            </p:cNvSpPr>
            <p:nvPr/>
          </p:nvSpPr>
          <p:spPr bwMode="auto">
            <a:xfrm>
              <a:off x="9260624" y="3478166"/>
              <a:ext cx="83258" cy="185177"/>
            </a:xfrm>
            <a:custGeom>
              <a:avLst/>
              <a:gdLst>
                <a:gd name="T0" fmla="*/ 8 w 49"/>
                <a:gd name="T1" fmla="*/ 106 h 109"/>
                <a:gd name="T2" fmla="*/ 49 w 49"/>
                <a:gd name="T3" fmla="*/ 0 h 109"/>
                <a:gd name="T4" fmla="*/ 14 w 49"/>
                <a:gd name="T5" fmla="*/ 102 h 109"/>
                <a:gd name="T6" fmla="*/ 7 w 49"/>
                <a:gd name="T7" fmla="*/ 105 h 109"/>
                <a:gd name="T8" fmla="*/ 8 w 49"/>
                <a:gd name="T9" fmla="*/ 106 h 109"/>
              </a:gdLst>
              <a:ahLst/>
              <a:cxnLst>
                <a:cxn ang="0">
                  <a:pos x="T0" y="T1"/>
                </a:cxn>
                <a:cxn ang="0">
                  <a:pos x="T2" y="T3"/>
                </a:cxn>
                <a:cxn ang="0">
                  <a:pos x="T4" y="T5"/>
                </a:cxn>
                <a:cxn ang="0">
                  <a:pos x="T6" y="T7"/>
                </a:cxn>
                <a:cxn ang="0">
                  <a:pos x="T8" y="T9"/>
                </a:cxn>
              </a:cxnLst>
              <a:rect l="0" t="0" r="r" b="b"/>
              <a:pathLst>
                <a:path w="49" h="109">
                  <a:moveTo>
                    <a:pt x="8" y="106"/>
                  </a:moveTo>
                  <a:cubicBezTo>
                    <a:pt x="0" y="76"/>
                    <a:pt x="27" y="24"/>
                    <a:pt x="49" y="0"/>
                  </a:cubicBezTo>
                  <a:cubicBezTo>
                    <a:pt x="33" y="24"/>
                    <a:pt x="12" y="77"/>
                    <a:pt x="14" y="102"/>
                  </a:cubicBezTo>
                  <a:cubicBezTo>
                    <a:pt x="14" y="106"/>
                    <a:pt x="9" y="109"/>
                    <a:pt x="7" y="105"/>
                  </a:cubicBezTo>
                  <a:lnTo>
                    <a:pt x="8" y="106"/>
                  </a:lnTo>
                  <a:close/>
                </a:path>
              </a:pathLst>
            </a:custGeom>
            <a:solidFill>
              <a:schemeClr val="accent3"/>
            </a:solidFill>
            <a:ln w="1588" cap="flat">
              <a:solidFill>
                <a:srgbClr val="B6DA38"/>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nvGrpSpPr>
            <p:cNvPr id="25" name="Group 89">
              <a:extLst>
                <a:ext uri="{FF2B5EF4-FFF2-40B4-BE49-F238E27FC236}">
                  <a16:creationId xmlns:a16="http://schemas.microsoft.com/office/drawing/2014/main" id="{F284BCB8-2710-4C2A-A3CD-D33D7BC9CCD2}"/>
                </a:ext>
              </a:extLst>
            </p:cNvPr>
            <p:cNvGrpSpPr/>
            <p:nvPr/>
          </p:nvGrpSpPr>
          <p:grpSpPr>
            <a:xfrm>
              <a:off x="8024682" y="1161312"/>
              <a:ext cx="2479062" cy="1146944"/>
              <a:chOff x="8239127" y="1776413"/>
              <a:chExt cx="2741613" cy="1268413"/>
            </a:xfrm>
            <a:solidFill>
              <a:schemeClr val="accent4">
                <a:lumMod val="60000"/>
                <a:lumOff val="40000"/>
              </a:schemeClr>
            </a:solidFill>
          </p:grpSpPr>
          <p:sp>
            <p:nvSpPr>
              <p:cNvPr id="35" name="Freeform 27">
                <a:extLst>
                  <a:ext uri="{FF2B5EF4-FFF2-40B4-BE49-F238E27FC236}">
                    <a16:creationId xmlns:a16="http://schemas.microsoft.com/office/drawing/2014/main" id="{FEA372E3-68BD-4491-8E2C-FE5927AEFB2D}"/>
                  </a:ext>
                </a:extLst>
              </p:cNvPr>
              <p:cNvSpPr>
                <a:spLocks/>
              </p:cNvSpPr>
              <p:nvPr/>
            </p:nvSpPr>
            <p:spPr bwMode="auto">
              <a:xfrm>
                <a:off x="9877427" y="1854201"/>
                <a:ext cx="234950" cy="503238"/>
              </a:xfrm>
              <a:custGeom>
                <a:avLst/>
                <a:gdLst>
                  <a:gd name="T0" fmla="*/ 86 w 124"/>
                  <a:gd name="T1" fmla="*/ 14 h 267"/>
                  <a:gd name="T2" fmla="*/ 110 w 124"/>
                  <a:gd name="T3" fmla="*/ 3 h 267"/>
                  <a:gd name="T4" fmla="*/ 121 w 124"/>
                  <a:gd name="T5" fmla="*/ 27 h 267"/>
                  <a:gd name="T6" fmla="*/ 39 w 124"/>
                  <a:gd name="T7" fmla="*/ 252 h 267"/>
                  <a:gd name="T8" fmla="*/ 15 w 124"/>
                  <a:gd name="T9" fmla="*/ 264 h 267"/>
                  <a:gd name="T10" fmla="*/ 4 w 124"/>
                  <a:gd name="T11" fmla="*/ 240 h 267"/>
                  <a:gd name="T12" fmla="*/ 86 w 124"/>
                  <a:gd name="T13" fmla="*/ 14 h 267"/>
                </a:gdLst>
                <a:ahLst/>
                <a:cxnLst>
                  <a:cxn ang="0">
                    <a:pos x="T0" y="T1"/>
                  </a:cxn>
                  <a:cxn ang="0">
                    <a:pos x="T2" y="T3"/>
                  </a:cxn>
                  <a:cxn ang="0">
                    <a:pos x="T4" y="T5"/>
                  </a:cxn>
                  <a:cxn ang="0">
                    <a:pos x="T6" y="T7"/>
                  </a:cxn>
                  <a:cxn ang="0">
                    <a:pos x="T8" y="T9"/>
                  </a:cxn>
                  <a:cxn ang="0">
                    <a:pos x="T10" y="T11"/>
                  </a:cxn>
                  <a:cxn ang="0">
                    <a:pos x="T12" y="T13"/>
                  </a:cxn>
                </a:cxnLst>
                <a:rect l="0" t="0" r="r" b="b"/>
                <a:pathLst>
                  <a:path w="124" h="267">
                    <a:moveTo>
                      <a:pt x="86" y="14"/>
                    </a:moveTo>
                    <a:cubicBezTo>
                      <a:pt x="89" y="5"/>
                      <a:pt x="100" y="0"/>
                      <a:pt x="110" y="3"/>
                    </a:cubicBezTo>
                    <a:cubicBezTo>
                      <a:pt x="119" y="7"/>
                      <a:pt x="124" y="17"/>
                      <a:pt x="121" y="27"/>
                    </a:cubicBezTo>
                    <a:cubicBezTo>
                      <a:pt x="39" y="252"/>
                      <a:pt x="39" y="252"/>
                      <a:pt x="39" y="252"/>
                    </a:cubicBezTo>
                    <a:cubicBezTo>
                      <a:pt x="35" y="262"/>
                      <a:pt x="25" y="267"/>
                      <a:pt x="15" y="264"/>
                    </a:cubicBezTo>
                    <a:cubicBezTo>
                      <a:pt x="5" y="260"/>
                      <a:pt x="0" y="249"/>
                      <a:pt x="4" y="240"/>
                    </a:cubicBezTo>
                    <a:lnTo>
                      <a:pt x="86" y="14"/>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6" name="Freeform 28">
                <a:extLst>
                  <a:ext uri="{FF2B5EF4-FFF2-40B4-BE49-F238E27FC236}">
                    <a16:creationId xmlns:a16="http://schemas.microsoft.com/office/drawing/2014/main" id="{18992AFF-B7A1-4D1D-8752-7DEA1DFF1028}"/>
                  </a:ext>
                </a:extLst>
              </p:cNvPr>
              <p:cNvSpPr>
                <a:spLocks/>
              </p:cNvSpPr>
              <p:nvPr/>
            </p:nvSpPr>
            <p:spPr bwMode="auto">
              <a:xfrm>
                <a:off x="10148890" y="2087563"/>
                <a:ext cx="369888" cy="425450"/>
              </a:xfrm>
              <a:custGeom>
                <a:avLst/>
                <a:gdLst>
                  <a:gd name="T0" fmla="*/ 161 w 196"/>
                  <a:gd name="T1" fmla="*/ 9 h 226"/>
                  <a:gd name="T2" fmla="*/ 187 w 196"/>
                  <a:gd name="T3" fmla="*/ 7 h 226"/>
                  <a:gd name="T4" fmla="*/ 189 w 196"/>
                  <a:gd name="T5" fmla="*/ 33 h 226"/>
                  <a:gd name="T6" fmla="*/ 35 w 196"/>
                  <a:gd name="T7" fmla="*/ 217 h 226"/>
                  <a:gd name="T8" fmla="*/ 9 w 196"/>
                  <a:gd name="T9" fmla="*/ 219 h 226"/>
                  <a:gd name="T10" fmla="*/ 7 w 196"/>
                  <a:gd name="T11" fmla="*/ 193 h 226"/>
                  <a:gd name="T12" fmla="*/ 161 w 196"/>
                  <a:gd name="T13" fmla="*/ 9 h 226"/>
                </a:gdLst>
                <a:ahLst/>
                <a:cxnLst>
                  <a:cxn ang="0">
                    <a:pos x="T0" y="T1"/>
                  </a:cxn>
                  <a:cxn ang="0">
                    <a:pos x="T2" y="T3"/>
                  </a:cxn>
                  <a:cxn ang="0">
                    <a:pos x="T4" y="T5"/>
                  </a:cxn>
                  <a:cxn ang="0">
                    <a:pos x="T6" y="T7"/>
                  </a:cxn>
                  <a:cxn ang="0">
                    <a:pos x="T8" y="T9"/>
                  </a:cxn>
                  <a:cxn ang="0">
                    <a:pos x="T10" y="T11"/>
                  </a:cxn>
                  <a:cxn ang="0">
                    <a:pos x="T12" y="T13"/>
                  </a:cxn>
                </a:cxnLst>
                <a:rect l="0" t="0" r="r" b="b"/>
                <a:pathLst>
                  <a:path w="196" h="226">
                    <a:moveTo>
                      <a:pt x="161" y="9"/>
                    </a:moveTo>
                    <a:cubicBezTo>
                      <a:pt x="167" y="1"/>
                      <a:pt x="179" y="0"/>
                      <a:pt x="187" y="7"/>
                    </a:cubicBezTo>
                    <a:cubicBezTo>
                      <a:pt x="195" y="14"/>
                      <a:pt x="196" y="25"/>
                      <a:pt x="189" y="33"/>
                    </a:cubicBezTo>
                    <a:cubicBezTo>
                      <a:pt x="35" y="217"/>
                      <a:pt x="35" y="217"/>
                      <a:pt x="35" y="217"/>
                    </a:cubicBezTo>
                    <a:cubicBezTo>
                      <a:pt x="29" y="225"/>
                      <a:pt x="17" y="226"/>
                      <a:pt x="9" y="219"/>
                    </a:cubicBezTo>
                    <a:cubicBezTo>
                      <a:pt x="1" y="213"/>
                      <a:pt x="0" y="201"/>
                      <a:pt x="7" y="193"/>
                    </a:cubicBezTo>
                    <a:lnTo>
                      <a:pt x="161" y="9"/>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7" name="Freeform 29">
                <a:extLst>
                  <a:ext uri="{FF2B5EF4-FFF2-40B4-BE49-F238E27FC236}">
                    <a16:creationId xmlns:a16="http://schemas.microsoft.com/office/drawing/2014/main" id="{C28CECD2-0EFD-4FAD-9163-53E1ACA12AF2}"/>
                  </a:ext>
                </a:extLst>
              </p:cNvPr>
              <p:cNvSpPr>
                <a:spLocks/>
              </p:cNvSpPr>
              <p:nvPr/>
            </p:nvSpPr>
            <p:spPr bwMode="auto">
              <a:xfrm>
                <a:off x="10348915" y="2447926"/>
                <a:ext cx="474663" cy="304800"/>
              </a:xfrm>
              <a:custGeom>
                <a:avLst/>
                <a:gdLst>
                  <a:gd name="T0" fmla="*/ 220 w 251"/>
                  <a:gd name="T1" fmla="*/ 5 h 162"/>
                  <a:gd name="T2" fmla="*/ 245 w 251"/>
                  <a:gd name="T3" fmla="*/ 12 h 162"/>
                  <a:gd name="T4" fmla="*/ 239 w 251"/>
                  <a:gd name="T5" fmla="*/ 37 h 162"/>
                  <a:gd name="T6" fmla="*/ 31 w 251"/>
                  <a:gd name="T7" fmla="*/ 157 h 162"/>
                  <a:gd name="T8" fmla="*/ 5 w 251"/>
                  <a:gd name="T9" fmla="*/ 150 h 162"/>
                  <a:gd name="T10" fmla="*/ 12 w 251"/>
                  <a:gd name="T11" fmla="*/ 125 h 162"/>
                  <a:gd name="T12" fmla="*/ 220 w 251"/>
                  <a:gd name="T13" fmla="*/ 5 h 162"/>
                </a:gdLst>
                <a:ahLst/>
                <a:cxnLst>
                  <a:cxn ang="0">
                    <a:pos x="T0" y="T1"/>
                  </a:cxn>
                  <a:cxn ang="0">
                    <a:pos x="T2" y="T3"/>
                  </a:cxn>
                  <a:cxn ang="0">
                    <a:pos x="T4" y="T5"/>
                  </a:cxn>
                  <a:cxn ang="0">
                    <a:pos x="T6" y="T7"/>
                  </a:cxn>
                  <a:cxn ang="0">
                    <a:pos x="T8" y="T9"/>
                  </a:cxn>
                  <a:cxn ang="0">
                    <a:pos x="T10" y="T11"/>
                  </a:cxn>
                  <a:cxn ang="0">
                    <a:pos x="T12" y="T13"/>
                  </a:cxn>
                </a:cxnLst>
                <a:rect l="0" t="0" r="r" b="b"/>
                <a:pathLst>
                  <a:path w="251" h="162">
                    <a:moveTo>
                      <a:pt x="220" y="5"/>
                    </a:moveTo>
                    <a:cubicBezTo>
                      <a:pt x="229" y="0"/>
                      <a:pt x="240" y="3"/>
                      <a:pt x="245" y="12"/>
                    </a:cubicBezTo>
                    <a:cubicBezTo>
                      <a:pt x="251" y="21"/>
                      <a:pt x="248" y="32"/>
                      <a:pt x="239" y="37"/>
                    </a:cubicBezTo>
                    <a:cubicBezTo>
                      <a:pt x="31" y="157"/>
                      <a:pt x="31" y="157"/>
                      <a:pt x="31" y="157"/>
                    </a:cubicBezTo>
                    <a:cubicBezTo>
                      <a:pt x="22" y="162"/>
                      <a:pt x="11" y="159"/>
                      <a:pt x="5" y="150"/>
                    </a:cubicBezTo>
                    <a:cubicBezTo>
                      <a:pt x="0" y="141"/>
                      <a:pt x="3" y="130"/>
                      <a:pt x="12" y="125"/>
                    </a:cubicBezTo>
                    <a:lnTo>
                      <a:pt x="220" y="5"/>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8" name="Freeform 30">
                <a:extLst>
                  <a:ext uri="{FF2B5EF4-FFF2-40B4-BE49-F238E27FC236}">
                    <a16:creationId xmlns:a16="http://schemas.microsoft.com/office/drawing/2014/main" id="{EF8A5FC9-8BCD-45DB-9567-AA78EBA1F84E}"/>
                  </a:ext>
                </a:extLst>
              </p:cNvPr>
              <p:cNvSpPr>
                <a:spLocks/>
              </p:cNvSpPr>
              <p:nvPr/>
            </p:nvSpPr>
            <p:spPr bwMode="auto">
              <a:xfrm>
                <a:off x="10458452" y="2890838"/>
                <a:ext cx="522288" cy="153988"/>
              </a:xfrm>
              <a:custGeom>
                <a:avLst/>
                <a:gdLst>
                  <a:gd name="T0" fmla="*/ 253 w 277"/>
                  <a:gd name="T1" fmla="*/ 2 h 82"/>
                  <a:gd name="T2" fmla="*/ 275 w 277"/>
                  <a:gd name="T3" fmla="*/ 17 h 82"/>
                  <a:gd name="T4" fmla="*/ 260 w 277"/>
                  <a:gd name="T5" fmla="*/ 39 h 82"/>
                  <a:gd name="T6" fmla="*/ 24 w 277"/>
                  <a:gd name="T7" fmla="*/ 80 h 82"/>
                  <a:gd name="T8" fmla="*/ 2 w 277"/>
                  <a:gd name="T9" fmla="*/ 65 h 82"/>
                  <a:gd name="T10" fmla="*/ 17 w 277"/>
                  <a:gd name="T11" fmla="*/ 43 h 82"/>
                  <a:gd name="T12" fmla="*/ 253 w 277"/>
                  <a:gd name="T13" fmla="*/ 2 h 82"/>
                </a:gdLst>
                <a:ahLst/>
                <a:cxnLst>
                  <a:cxn ang="0">
                    <a:pos x="T0" y="T1"/>
                  </a:cxn>
                  <a:cxn ang="0">
                    <a:pos x="T2" y="T3"/>
                  </a:cxn>
                  <a:cxn ang="0">
                    <a:pos x="T4" y="T5"/>
                  </a:cxn>
                  <a:cxn ang="0">
                    <a:pos x="T6" y="T7"/>
                  </a:cxn>
                  <a:cxn ang="0">
                    <a:pos x="T8" y="T9"/>
                  </a:cxn>
                  <a:cxn ang="0">
                    <a:pos x="T10" y="T11"/>
                  </a:cxn>
                  <a:cxn ang="0">
                    <a:pos x="T12" y="T13"/>
                  </a:cxn>
                </a:cxnLst>
                <a:rect l="0" t="0" r="r" b="b"/>
                <a:pathLst>
                  <a:path w="277" h="82">
                    <a:moveTo>
                      <a:pt x="253" y="2"/>
                    </a:moveTo>
                    <a:cubicBezTo>
                      <a:pt x="264" y="0"/>
                      <a:pt x="273" y="7"/>
                      <a:pt x="275" y="17"/>
                    </a:cubicBezTo>
                    <a:cubicBezTo>
                      <a:pt x="277" y="27"/>
                      <a:pt x="270" y="37"/>
                      <a:pt x="260" y="39"/>
                    </a:cubicBezTo>
                    <a:cubicBezTo>
                      <a:pt x="24" y="80"/>
                      <a:pt x="24" y="80"/>
                      <a:pt x="24" y="80"/>
                    </a:cubicBezTo>
                    <a:cubicBezTo>
                      <a:pt x="13" y="82"/>
                      <a:pt x="4" y="75"/>
                      <a:pt x="2" y="65"/>
                    </a:cubicBezTo>
                    <a:cubicBezTo>
                      <a:pt x="0" y="55"/>
                      <a:pt x="7" y="45"/>
                      <a:pt x="17" y="43"/>
                    </a:cubicBezTo>
                    <a:lnTo>
                      <a:pt x="253" y="2"/>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9" name="Freeform 31">
                <a:extLst>
                  <a:ext uri="{FF2B5EF4-FFF2-40B4-BE49-F238E27FC236}">
                    <a16:creationId xmlns:a16="http://schemas.microsoft.com/office/drawing/2014/main" id="{E29C4401-0EC0-4AE8-9EDE-6F9517B5ECDC}"/>
                  </a:ext>
                </a:extLst>
              </p:cNvPr>
              <p:cNvSpPr>
                <a:spLocks/>
              </p:cNvSpPr>
              <p:nvPr/>
            </p:nvSpPr>
            <p:spPr bwMode="auto">
              <a:xfrm>
                <a:off x="9574215" y="1776413"/>
                <a:ext cx="69850" cy="522288"/>
              </a:xfrm>
              <a:custGeom>
                <a:avLst/>
                <a:gdLst>
                  <a:gd name="T0" fmla="*/ 0 w 37"/>
                  <a:gd name="T1" fmla="*/ 18 h 277"/>
                  <a:gd name="T2" fmla="*/ 19 w 37"/>
                  <a:gd name="T3" fmla="*/ 0 h 277"/>
                  <a:gd name="T4" fmla="*/ 37 w 37"/>
                  <a:gd name="T5" fmla="*/ 18 h 277"/>
                  <a:gd name="T6" fmla="*/ 37 w 37"/>
                  <a:gd name="T7" fmla="*/ 258 h 277"/>
                  <a:gd name="T8" fmla="*/ 19 w 37"/>
                  <a:gd name="T9" fmla="*/ 277 h 277"/>
                  <a:gd name="T10" fmla="*/ 0 w 37"/>
                  <a:gd name="T11" fmla="*/ 258 h 277"/>
                  <a:gd name="T12" fmla="*/ 0 w 37"/>
                  <a:gd name="T13" fmla="*/ 18 h 277"/>
                </a:gdLst>
                <a:ahLst/>
                <a:cxnLst>
                  <a:cxn ang="0">
                    <a:pos x="T0" y="T1"/>
                  </a:cxn>
                  <a:cxn ang="0">
                    <a:pos x="T2" y="T3"/>
                  </a:cxn>
                  <a:cxn ang="0">
                    <a:pos x="T4" y="T5"/>
                  </a:cxn>
                  <a:cxn ang="0">
                    <a:pos x="T6" y="T7"/>
                  </a:cxn>
                  <a:cxn ang="0">
                    <a:pos x="T8" y="T9"/>
                  </a:cxn>
                  <a:cxn ang="0">
                    <a:pos x="T10" y="T11"/>
                  </a:cxn>
                  <a:cxn ang="0">
                    <a:pos x="T12" y="T13"/>
                  </a:cxn>
                </a:cxnLst>
                <a:rect l="0" t="0" r="r" b="b"/>
                <a:pathLst>
                  <a:path w="37" h="277">
                    <a:moveTo>
                      <a:pt x="0" y="18"/>
                    </a:moveTo>
                    <a:cubicBezTo>
                      <a:pt x="0" y="8"/>
                      <a:pt x="9" y="0"/>
                      <a:pt x="19" y="0"/>
                    </a:cubicBezTo>
                    <a:cubicBezTo>
                      <a:pt x="29" y="0"/>
                      <a:pt x="37" y="8"/>
                      <a:pt x="37" y="18"/>
                    </a:cubicBezTo>
                    <a:cubicBezTo>
                      <a:pt x="37" y="258"/>
                      <a:pt x="37" y="258"/>
                      <a:pt x="37" y="258"/>
                    </a:cubicBezTo>
                    <a:cubicBezTo>
                      <a:pt x="37" y="269"/>
                      <a:pt x="29" y="277"/>
                      <a:pt x="19" y="277"/>
                    </a:cubicBezTo>
                    <a:cubicBezTo>
                      <a:pt x="9" y="277"/>
                      <a:pt x="0" y="269"/>
                      <a:pt x="0" y="258"/>
                    </a:cubicBezTo>
                    <a:lnTo>
                      <a:pt x="0" y="18"/>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40" name="Freeform 32">
                <a:extLst>
                  <a:ext uri="{FF2B5EF4-FFF2-40B4-BE49-F238E27FC236}">
                    <a16:creationId xmlns:a16="http://schemas.microsoft.com/office/drawing/2014/main" id="{644B38F4-FE8C-4708-900E-E7D799D5928A}"/>
                  </a:ext>
                </a:extLst>
              </p:cNvPr>
              <p:cNvSpPr>
                <a:spLocks/>
              </p:cNvSpPr>
              <p:nvPr/>
            </p:nvSpPr>
            <p:spPr bwMode="auto">
              <a:xfrm>
                <a:off x="9105902" y="1854201"/>
                <a:ext cx="234950" cy="503238"/>
              </a:xfrm>
              <a:custGeom>
                <a:avLst/>
                <a:gdLst>
                  <a:gd name="T0" fmla="*/ 4 w 124"/>
                  <a:gd name="T1" fmla="*/ 27 h 267"/>
                  <a:gd name="T2" fmla="*/ 15 w 124"/>
                  <a:gd name="T3" fmla="*/ 3 h 267"/>
                  <a:gd name="T4" fmla="*/ 39 w 124"/>
                  <a:gd name="T5" fmla="*/ 14 h 267"/>
                  <a:gd name="T6" fmla="*/ 121 w 124"/>
                  <a:gd name="T7" fmla="*/ 240 h 267"/>
                  <a:gd name="T8" fmla="*/ 110 w 124"/>
                  <a:gd name="T9" fmla="*/ 264 h 267"/>
                  <a:gd name="T10" fmla="*/ 86 w 124"/>
                  <a:gd name="T11" fmla="*/ 252 h 267"/>
                  <a:gd name="T12" fmla="*/ 4 w 124"/>
                  <a:gd name="T13" fmla="*/ 27 h 267"/>
                </a:gdLst>
                <a:ahLst/>
                <a:cxnLst>
                  <a:cxn ang="0">
                    <a:pos x="T0" y="T1"/>
                  </a:cxn>
                  <a:cxn ang="0">
                    <a:pos x="T2" y="T3"/>
                  </a:cxn>
                  <a:cxn ang="0">
                    <a:pos x="T4" y="T5"/>
                  </a:cxn>
                  <a:cxn ang="0">
                    <a:pos x="T6" y="T7"/>
                  </a:cxn>
                  <a:cxn ang="0">
                    <a:pos x="T8" y="T9"/>
                  </a:cxn>
                  <a:cxn ang="0">
                    <a:pos x="T10" y="T11"/>
                  </a:cxn>
                  <a:cxn ang="0">
                    <a:pos x="T12" y="T13"/>
                  </a:cxn>
                </a:cxnLst>
                <a:rect l="0" t="0" r="r" b="b"/>
                <a:pathLst>
                  <a:path w="124" h="267">
                    <a:moveTo>
                      <a:pt x="4" y="27"/>
                    </a:moveTo>
                    <a:cubicBezTo>
                      <a:pt x="0" y="17"/>
                      <a:pt x="5" y="7"/>
                      <a:pt x="15" y="3"/>
                    </a:cubicBezTo>
                    <a:cubicBezTo>
                      <a:pt x="25" y="0"/>
                      <a:pt x="35" y="5"/>
                      <a:pt x="39" y="14"/>
                    </a:cubicBezTo>
                    <a:cubicBezTo>
                      <a:pt x="121" y="240"/>
                      <a:pt x="121" y="240"/>
                      <a:pt x="121" y="240"/>
                    </a:cubicBezTo>
                    <a:cubicBezTo>
                      <a:pt x="124" y="249"/>
                      <a:pt x="119" y="260"/>
                      <a:pt x="110" y="264"/>
                    </a:cubicBezTo>
                    <a:cubicBezTo>
                      <a:pt x="100" y="267"/>
                      <a:pt x="90" y="262"/>
                      <a:pt x="86" y="252"/>
                    </a:cubicBezTo>
                    <a:lnTo>
                      <a:pt x="4" y="27"/>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41" name="Freeform 33">
                <a:extLst>
                  <a:ext uri="{FF2B5EF4-FFF2-40B4-BE49-F238E27FC236}">
                    <a16:creationId xmlns:a16="http://schemas.microsoft.com/office/drawing/2014/main" id="{EA4EACC4-7C82-4D01-97DF-6E7CA1999A62}"/>
                  </a:ext>
                </a:extLst>
              </p:cNvPr>
              <p:cNvSpPr>
                <a:spLocks/>
              </p:cNvSpPr>
              <p:nvPr/>
            </p:nvSpPr>
            <p:spPr bwMode="auto">
              <a:xfrm>
                <a:off x="8701089" y="2087563"/>
                <a:ext cx="369888" cy="425450"/>
              </a:xfrm>
              <a:custGeom>
                <a:avLst/>
                <a:gdLst>
                  <a:gd name="T0" fmla="*/ 6 w 196"/>
                  <a:gd name="T1" fmla="*/ 33 h 226"/>
                  <a:gd name="T2" fmla="*/ 9 w 196"/>
                  <a:gd name="T3" fmla="*/ 7 h 226"/>
                  <a:gd name="T4" fmla="*/ 35 w 196"/>
                  <a:gd name="T5" fmla="*/ 9 h 226"/>
                  <a:gd name="T6" fmla="*/ 189 w 196"/>
                  <a:gd name="T7" fmla="*/ 193 h 226"/>
                  <a:gd name="T8" fmla="*/ 187 w 196"/>
                  <a:gd name="T9" fmla="*/ 219 h 226"/>
                  <a:gd name="T10" fmla="*/ 161 w 196"/>
                  <a:gd name="T11" fmla="*/ 217 h 226"/>
                  <a:gd name="T12" fmla="*/ 6 w 196"/>
                  <a:gd name="T13" fmla="*/ 33 h 226"/>
                </a:gdLst>
                <a:ahLst/>
                <a:cxnLst>
                  <a:cxn ang="0">
                    <a:pos x="T0" y="T1"/>
                  </a:cxn>
                  <a:cxn ang="0">
                    <a:pos x="T2" y="T3"/>
                  </a:cxn>
                  <a:cxn ang="0">
                    <a:pos x="T4" y="T5"/>
                  </a:cxn>
                  <a:cxn ang="0">
                    <a:pos x="T6" y="T7"/>
                  </a:cxn>
                  <a:cxn ang="0">
                    <a:pos x="T8" y="T9"/>
                  </a:cxn>
                  <a:cxn ang="0">
                    <a:pos x="T10" y="T11"/>
                  </a:cxn>
                  <a:cxn ang="0">
                    <a:pos x="T12" y="T13"/>
                  </a:cxn>
                </a:cxnLst>
                <a:rect l="0" t="0" r="r" b="b"/>
                <a:pathLst>
                  <a:path w="196" h="226">
                    <a:moveTo>
                      <a:pt x="6" y="33"/>
                    </a:moveTo>
                    <a:cubicBezTo>
                      <a:pt x="0" y="25"/>
                      <a:pt x="1" y="14"/>
                      <a:pt x="9" y="7"/>
                    </a:cubicBezTo>
                    <a:cubicBezTo>
                      <a:pt x="17" y="0"/>
                      <a:pt x="28" y="1"/>
                      <a:pt x="35" y="9"/>
                    </a:cubicBezTo>
                    <a:cubicBezTo>
                      <a:pt x="189" y="193"/>
                      <a:pt x="189" y="193"/>
                      <a:pt x="189" y="193"/>
                    </a:cubicBezTo>
                    <a:cubicBezTo>
                      <a:pt x="196" y="201"/>
                      <a:pt x="195" y="213"/>
                      <a:pt x="187" y="219"/>
                    </a:cubicBezTo>
                    <a:cubicBezTo>
                      <a:pt x="179" y="226"/>
                      <a:pt x="167" y="225"/>
                      <a:pt x="161" y="217"/>
                    </a:cubicBezTo>
                    <a:lnTo>
                      <a:pt x="6" y="33"/>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42" name="Freeform 34">
                <a:extLst>
                  <a:ext uri="{FF2B5EF4-FFF2-40B4-BE49-F238E27FC236}">
                    <a16:creationId xmlns:a16="http://schemas.microsoft.com/office/drawing/2014/main" id="{23144D9E-17A3-4F54-B9B7-0AEA4202E985}"/>
                  </a:ext>
                </a:extLst>
              </p:cNvPr>
              <p:cNvSpPr>
                <a:spLocks/>
              </p:cNvSpPr>
              <p:nvPr/>
            </p:nvSpPr>
            <p:spPr bwMode="auto">
              <a:xfrm>
                <a:off x="8397877" y="2447926"/>
                <a:ext cx="471488" cy="304800"/>
              </a:xfrm>
              <a:custGeom>
                <a:avLst/>
                <a:gdLst>
                  <a:gd name="T0" fmla="*/ 12 w 250"/>
                  <a:gd name="T1" fmla="*/ 37 h 162"/>
                  <a:gd name="T2" fmla="*/ 5 w 250"/>
                  <a:gd name="T3" fmla="*/ 12 h 162"/>
                  <a:gd name="T4" fmla="*/ 31 w 250"/>
                  <a:gd name="T5" fmla="*/ 5 h 162"/>
                  <a:gd name="T6" fmla="*/ 238 w 250"/>
                  <a:gd name="T7" fmla="*/ 125 h 162"/>
                  <a:gd name="T8" fmla="*/ 245 w 250"/>
                  <a:gd name="T9" fmla="*/ 150 h 162"/>
                  <a:gd name="T10" fmla="*/ 220 w 250"/>
                  <a:gd name="T11" fmla="*/ 157 h 162"/>
                  <a:gd name="T12" fmla="*/ 12 w 250"/>
                  <a:gd name="T13" fmla="*/ 37 h 162"/>
                </a:gdLst>
                <a:ahLst/>
                <a:cxnLst>
                  <a:cxn ang="0">
                    <a:pos x="T0" y="T1"/>
                  </a:cxn>
                  <a:cxn ang="0">
                    <a:pos x="T2" y="T3"/>
                  </a:cxn>
                  <a:cxn ang="0">
                    <a:pos x="T4" y="T5"/>
                  </a:cxn>
                  <a:cxn ang="0">
                    <a:pos x="T6" y="T7"/>
                  </a:cxn>
                  <a:cxn ang="0">
                    <a:pos x="T8" y="T9"/>
                  </a:cxn>
                  <a:cxn ang="0">
                    <a:pos x="T10" y="T11"/>
                  </a:cxn>
                  <a:cxn ang="0">
                    <a:pos x="T12" y="T13"/>
                  </a:cxn>
                </a:cxnLst>
                <a:rect l="0" t="0" r="r" b="b"/>
                <a:pathLst>
                  <a:path w="250" h="162">
                    <a:moveTo>
                      <a:pt x="12" y="37"/>
                    </a:moveTo>
                    <a:cubicBezTo>
                      <a:pt x="3" y="32"/>
                      <a:pt x="0" y="21"/>
                      <a:pt x="5" y="12"/>
                    </a:cubicBezTo>
                    <a:cubicBezTo>
                      <a:pt x="10" y="3"/>
                      <a:pt x="22" y="0"/>
                      <a:pt x="31" y="5"/>
                    </a:cubicBezTo>
                    <a:cubicBezTo>
                      <a:pt x="238" y="125"/>
                      <a:pt x="238" y="125"/>
                      <a:pt x="238" y="125"/>
                    </a:cubicBezTo>
                    <a:cubicBezTo>
                      <a:pt x="247" y="130"/>
                      <a:pt x="250" y="141"/>
                      <a:pt x="245" y="150"/>
                    </a:cubicBezTo>
                    <a:cubicBezTo>
                      <a:pt x="240" y="159"/>
                      <a:pt x="229" y="162"/>
                      <a:pt x="220" y="157"/>
                    </a:cubicBezTo>
                    <a:lnTo>
                      <a:pt x="12" y="37"/>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43" name="Freeform 35">
                <a:extLst>
                  <a:ext uri="{FF2B5EF4-FFF2-40B4-BE49-F238E27FC236}">
                    <a16:creationId xmlns:a16="http://schemas.microsoft.com/office/drawing/2014/main" id="{F44A2929-E4D1-43DF-B83E-BA636CD4A48F}"/>
                  </a:ext>
                </a:extLst>
              </p:cNvPr>
              <p:cNvSpPr>
                <a:spLocks/>
              </p:cNvSpPr>
              <p:nvPr/>
            </p:nvSpPr>
            <p:spPr bwMode="auto">
              <a:xfrm>
                <a:off x="8239127" y="2890838"/>
                <a:ext cx="520700" cy="153988"/>
              </a:xfrm>
              <a:custGeom>
                <a:avLst/>
                <a:gdLst>
                  <a:gd name="T0" fmla="*/ 17 w 276"/>
                  <a:gd name="T1" fmla="*/ 39 h 82"/>
                  <a:gd name="T2" fmla="*/ 2 w 276"/>
                  <a:gd name="T3" fmla="*/ 17 h 82"/>
                  <a:gd name="T4" fmla="*/ 23 w 276"/>
                  <a:gd name="T5" fmla="*/ 2 h 82"/>
                  <a:gd name="T6" fmla="*/ 260 w 276"/>
                  <a:gd name="T7" fmla="*/ 43 h 82"/>
                  <a:gd name="T8" fmla="*/ 275 w 276"/>
                  <a:gd name="T9" fmla="*/ 65 h 82"/>
                  <a:gd name="T10" fmla="*/ 253 w 276"/>
                  <a:gd name="T11" fmla="*/ 80 h 82"/>
                  <a:gd name="T12" fmla="*/ 17 w 276"/>
                  <a:gd name="T13" fmla="*/ 39 h 82"/>
                </a:gdLst>
                <a:ahLst/>
                <a:cxnLst>
                  <a:cxn ang="0">
                    <a:pos x="T0" y="T1"/>
                  </a:cxn>
                  <a:cxn ang="0">
                    <a:pos x="T2" y="T3"/>
                  </a:cxn>
                  <a:cxn ang="0">
                    <a:pos x="T4" y="T5"/>
                  </a:cxn>
                  <a:cxn ang="0">
                    <a:pos x="T6" y="T7"/>
                  </a:cxn>
                  <a:cxn ang="0">
                    <a:pos x="T8" y="T9"/>
                  </a:cxn>
                  <a:cxn ang="0">
                    <a:pos x="T10" y="T11"/>
                  </a:cxn>
                  <a:cxn ang="0">
                    <a:pos x="T12" y="T13"/>
                  </a:cxn>
                </a:cxnLst>
                <a:rect l="0" t="0" r="r" b="b"/>
                <a:pathLst>
                  <a:path w="276" h="82">
                    <a:moveTo>
                      <a:pt x="17" y="39"/>
                    </a:moveTo>
                    <a:cubicBezTo>
                      <a:pt x="7" y="37"/>
                      <a:pt x="0" y="27"/>
                      <a:pt x="2" y="17"/>
                    </a:cubicBezTo>
                    <a:cubicBezTo>
                      <a:pt x="3" y="7"/>
                      <a:pt x="13" y="0"/>
                      <a:pt x="23" y="2"/>
                    </a:cubicBezTo>
                    <a:cubicBezTo>
                      <a:pt x="260" y="43"/>
                      <a:pt x="260" y="43"/>
                      <a:pt x="260" y="43"/>
                    </a:cubicBezTo>
                    <a:cubicBezTo>
                      <a:pt x="270" y="45"/>
                      <a:pt x="276" y="55"/>
                      <a:pt x="275" y="65"/>
                    </a:cubicBezTo>
                    <a:cubicBezTo>
                      <a:pt x="273" y="75"/>
                      <a:pt x="263" y="82"/>
                      <a:pt x="253" y="80"/>
                    </a:cubicBezTo>
                    <a:lnTo>
                      <a:pt x="17" y="39"/>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sp>
          <p:nvSpPr>
            <p:cNvPr id="26" name="Freeform 36">
              <a:extLst>
                <a:ext uri="{FF2B5EF4-FFF2-40B4-BE49-F238E27FC236}">
                  <a16:creationId xmlns:a16="http://schemas.microsoft.com/office/drawing/2014/main" id="{AF6209A4-CFC3-4707-90A8-1C2E2FB0A283}"/>
                </a:ext>
              </a:extLst>
            </p:cNvPr>
            <p:cNvSpPr>
              <a:spLocks/>
            </p:cNvSpPr>
            <p:nvPr/>
          </p:nvSpPr>
          <p:spPr bwMode="auto">
            <a:xfrm>
              <a:off x="8686434" y="1771388"/>
              <a:ext cx="1155556" cy="1471360"/>
            </a:xfrm>
            <a:custGeom>
              <a:avLst/>
              <a:gdLst>
                <a:gd name="T0" fmla="*/ 339 w 678"/>
                <a:gd name="T1" fmla="*/ 0 h 863"/>
                <a:gd name="T2" fmla="*/ 678 w 678"/>
                <a:gd name="T3" fmla="*/ 338 h 863"/>
                <a:gd name="T4" fmla="*/ 462 w 678"/>
                <a:gd name="T5" fmla="*/ 781 h 863"/>
                <a:gd name="T6" fmla="*/ 462 w 678"/>
                <a:gd name="T7" fmla="*/ 863 h 863"/>
                <a:gd name="T8" fmla="*/ 216 w 678"/>
                <a:gd name="T9" fmla="*/ 863 h 863"/>
                <a:gd name="T10" fmla="*/ 216 w 678"/>
                <a:gd name="T11" fmla="*/ 775 h 863"/>
                <a:gd name="T12" fmla="*/ 0 w 678"/>
                <a:gd name="T13" fmla="*/ 338 h 863"/>
                <a:gd name="T14" fmla="*/ 339 w 678"/>
                <a:gd name="T15" fmla="*/ 0 h 86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78" h="863">
                  <a:moveTo>
                    <a:pt x="339" y="0"/>
                  </a:moveTo>
                  <a:cubicBezTo>
                    <a:pt x="526" y="0"/>
                    <a:pt x="678" y="151"/>
                    <a:pt x="678" y="338"/>
                  </a:cubicBezTo>
                  <a:cubicBezTo>
                    <a:pt x="678" y="597"/>
                    <a:pt x="462" y="582"/>
                    <a:pt x="462" y="781"/>
                  </a:cubicBezTo>
                  <a:cubicBezTo>
                    <a:pt x="462" y="863"/>
                    <a:pt x="462" y="863"/>
                    <a:pt x="462" y="863"/>
                  </a:cubicBezTo>
                  <a:cubicBezTo>
                    <a:pt x="216" y="863"/>
                    <a:pt x="216" y="863"/>
                    <a:pt x="216" y="863"/>
                  </a:cubicBezTo>
                  <a:cubicBezTo>
                    <a:pt x="216" y="775"/>
                    <a:pt x="216" y="775"/>
                    <a:pt x="216" y="775"/>
                  </a:cubicBezTo>
                  <a:cubicBezTo>
                    <a:pt x="216" y="602"/>
                    <a:pt x="0" y="584"/>
                    <a:pt x="0" y="338"/>
                  </a:cubicBezTo>
                  <a:cubicBezTo>
                    <a:pt x="0" y="151"/>
                    <a:pt x="152" y="0"/>
                    <a:pt x="339" y="0"/>
                  </a:cubicBezTo>
                  <a:close/>
                </a:path>
              </a:pathLst>
            </a:custGeom>
            <a:solidFill>
              <a:srgbClr val="FFC00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7" name="Freeform 37">
              <a:extLst>
                <a:ext uri="{FF2B5EF4-FFF2-40B4-BE49-F238E27FC236}">
                  <a16:creationId xmlns:a16="http://schemas.microsoft.com/office/drawing/2014/main" id="{12A0E4FD-501D-4CD2-BB42-155FAC1EBA33}"/>
                </a:ext>
              </a:extLst>
            </p:cNvPr>
            <p:cNvSpPr>
              <a:spLocks noEditPoints="1"/>
            </p:cNvSpPr>
            <p:nvPr/>
          </p:nvSpPr>
          <p:spPr bwMode="auto">
            <a:xfrm>
              <a:off x="8987884" y="2414481"/>
              <a:ext cx="503852" cy="732091"/>
            </a:xfrm>
            <a:custGeom>
              <a:avLst/>
              <a:gdLst>
                <a:gd name="T0" fmla="*/ 127 w 351"/>
                <a:gd name="T1" fmla="*/ 504 h 510"/>
                <a:gd name="T2" fmla="*/ 124 w 351"/>
                <a:gd name="T3" fmla="*/ 508 h 510"/>
                <a:gd name="T4" fmla="*/ 119 w 351"/>
                <a:gd name="T5" fmla="*/ 509 h 510"/>
                <a:gd name="T6" fmla="*/ 114 w 351"/>
                <a:gd name="T7" fmla="*/ 510 h 510"/>
                <a:gd name="T8" fmla="*/ 111 w 351"/>
                <a:gd name="T9" fmla="*/ 510 h 510"/>
                <a:gd name="T10" fmla="*/ 108 w 351"/>
                <a:gd name="T11" fmla="*/ 508 h 510"/>
                <a:gd name="T12" fmla="*/ 100 w 351"/>
                <a:gd name="T13" fmla="*/ 102 h 510"/>
                <a:gd name="T14" fmla="*/ 136 w 351"/>
                <a:gd name="T15" fmla="*/ 209 h 510"/>
                <a:gd name="T16" fmla="*/ 152 w 351"/>
                <a:gd name="T17" fmla="*/ 351 h 510"/>
                <a:gd name="T18" fmla="*/ 138 w 351"/>
                <a:gd name="T19" fmla="*/ 481 h 510"/>
                <a:gd name="T20" fmla="*/ 128 w 351"/>
                <a:gd name="T21" fmla="*/ 427 h 510"/>
                <a:gd name="T22" fmla="*/ 126 w 351"/>
                <a:gd name="T23" fmla="*/ 286 h 510"/>
                <a:gd name="T24" fmla="*/ 99 w 351"/>
                <a:gd name="T25" fmla="*/ 156 h 510"/>
                <a:gd name="T26" fmla="*/ 26 w 351"/>
                <a:gd name="T27" fmla="*/ 130 h 510"/>
                <a:gd name="T28" fmla="*/ 1 w 351"/>
                <a:gd name="T29" fmla="*/ 86 h 510"/>
                <a:gd name="T30" fmla="*/ 43 w 351"/>
                <a:gd name="T31" fmla="*/ 59 h 510"/>
                <a:gd name="T32" fmla="*/ 92 w 351"/>
                <a:gd name="T33" fmla="*/ 89 h 510"/>
                <a:gd name="T34" fmla="*/ 49 w 351"/>
                <a:gd name="T35" fmla="*/ 78 h 510"/>
                <a:gd name="T36" fmla="*/ 26 w 351"/>
                <a:gd name="T37" fmla="*/ 72 h 510"/>
                <a:gd name="T38" fmla="*/ 26 w 351"/>
                <a:gd name="T39" fmla="*/ 98 h 510"/>
                <a:gd name="T40" fmla="*/ 213 w 351"/>
                <a:gd name="T41" fmla="*/ 63 h 510"/>
                <a:gd name="T42" fmla="*/ 175 w 351"/>
                <a:gd name="T43" fmla="*/ 126 h 510"/>
                <a:gd name="T44" fmla="*/ 106 w 351"/>
                <a:gd name="T45" fmla="*/ 155 h 510"/>
                <a:gd name="T46" fmla="*/ 39 w 351"/>
                <a:gd name="T47" fmla="*/ 139 h 510"/>
                <a:gd name="T48" fmla="*/ 88 w 351"/>
                <a:gd name="T49" fmla="*/ 140 h 510"/>
                <a:gd name="T50" fmla="*/ 139 w 351"/>
                <a:gd name="T51" fmla="*/ 136 h 510"/>
                <a:gd name="T52" fmla="*/ 178 w 351"/>
                <a:gd name="T53" fmla="*/ 101 h 510"/>
                <a:gd name="T54" fmla="*/ 149 w 351"/>
                <a:gd name="T55" fmla="*/ 72 h 510"/>
                <a:gd name="T56" fmla="*/ 149 w 351"/>
                <a:gd name="T57" fmla="*/ 15 h 510"/>
                <a:gd name="T58" fmla="*/ 199 w 351"/>
                <a:gd name="T59" fmla="*/ 3 h 510"/>
                <a:gd name="T60" fmla="*/ 216 w 351"/>
                <a:gd name="T61" fmla="*/ 47 h 510"/>
                <a:gd name="T62" fmla="*/ 193 w 351"/>
                <a:gd name="T63" fmla="*/ 28 h 510"/>
                <a:gd name="T64" fmla="*/ 170 w 351"/>
                <a:gd name="T65" fmla="*/ 13 h 510"/>
                <a:gd name="T66" fmla="*/ 163 w 351"/>
                <a:gd name="T67" fmla="*/ 32 h 510"/>
                <a:gd name="T68" fmla="*/ 315 w 351"/>
                <a:gd name="T69" fmla="*/ 129 h 510"/>
                <a:gd name="T70" fmla="*/ 254 w 351"/>
                <a:gd name="T71" fmla="*/ 146 h 510"/>
                <a:gd name="T72" fmla="*/ 200 w 351"/>
                <a:gd name="T73" fmla="*/ 134 h 510"/>
                <a:gd name="T74" fmla="*/ 156 w 351"/>
                <a:gd name="T75" fmla="*/ 86 h 510"/>
                <a:gd name="T76" fmla="*/ 196 w 351"/>
                <a:gd name="T77" fmla="*/ 104 h 510"/>
                <a:gd name="T78" fmla="*/ 241 w 351"/>
                <a:gd name="T79" fmla="*/ 130 h 510"/>
                <a:gd name="T80" fmla="*/ 288 w 351"/>
                <a:gd name="T81" fmla="*/ 129 h 510"/>
                <a:gd name="T82" fmla="*/ 277 w 351"/>
                <a:gd name="T83" fmla="*/ 92 h 510"/>
                <a:gd name="T84" fmla="*/ 328 w 351"/>
                <a:gd name="T85" fmla="*/ 52 h 510"/>
                <a:gd name="T86" fmla="*/ 349 w 351"/>
                <a:gd name="T87" fmla="*/ 78 h 510"/>
                <a:gd name="T88" fmla="*/ 328 w 351"/>
                <a:gd name="T89" fmla="*/ 122 h 510"/>
                <a:gd name="T90" fmla="*/ 326 w 351"/>
                <a:gd name="T91" fmla="*/ 104 h 510"/>
                <a:gd name="T92" fmla="*/ 323 w 351"/>
                <a:gd name="T93" fmla="*/ 71 h 510"/>
                <a:gd name="T94" fmla="*/ 313 w 351"/>
                <a:gd name="T95" fmla="*/ 66 h 510"/>
                <a:gd name="T96" fmla="*/ 250 w 351"/>
                <a:gd name="T97" fmla="*/ 488 h 510"/>
                <a:gd name="T98" fmla="*/ 231 w 351"/>
                <a:gd name="T99" fmla="*/ 364 h 510"/>
                <a:gd name="T100" fmla="*/ 243 w 351"/>
                <a:gd name="T101" fmla="*/ 217 h 510"/>
                <a:gd name="T102" fmla="*/ 272 w 351"/>
                <a:gd name="T103" fmla="*/ 101 h 510"/>
                <a:gd name="T104" fmla="*/ 271 w 351"/>
                <a:gd name="T105" fmla="*/ 171 h 510"/>
                <a:gd name="T106" fmla="*/ 253 w 351"/>
                <a:gd name="T107" fmla="*/ 313 h 510"/>
                <a:gd name="T108" fmla="*/ 262 w 351"/>
                <a:gd name="T109" fmla="*/ 449 h 510"/>
                <a:gd name="T110" fmla="*/ 275 w 351"/>
                <a:gd name="T111" fmla="*/ 489 h 510"/>
                <a:gd name="T112" fmla="*/ 273 w 351"/>
                <a:gd name="T113" fmla="*/ 491 h 510"/>
                <a:gd name="T114" fmla="*/ 270 w 351"/>
                <a:gd name="T115" fmla="*/ 495 h 510"/>
                <a:gd name="T116" fmla="*/ 265 w 351"/>
                <a:gd name="T117" fmla="*/ 497 h 510"/>
                <a:gd name="T118" fmla="*/ 260 w 351"/>
                <a:gd name="T119" fmla="*/ 498 h 510"/>
                <a:gd name="T120" fmla="*/ 256 w 351"/>
                <a:gd name="T121" fmla="*/ 498 h 510"/>
                <a:gd name="T122" fmla="*/ 253 w 351"/>
                <a:gd name="T123" fmla="*/ 497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51" h="510">
                  <a:moveTo>
                    <a:pt x="109" y="506"/>
                  </a:moveTo>
                  <a:lnTo>
                    <a:pt x="130" y="502"/>
                  </a:lnTo>
                  <a:lnTo>
                    <a:pt x="130" y="502"/>
                  </a:lnTo>
                  <a:lnTo>
                    <a:pt x="130" y="503"/>
                  </a:lnTo>
                  <a:lnTo>
                    <a:pt x="130" y="503"/>
                  </a:lnTo>
                  <a:lnTo>
                    <a:pt x="128" y="503"/>
                  </a:lnTo>
                  <a:lnTo>
                    <a:pt x="128" y="503"/>
                  </a:lnTo>
                  <a:lnTo>
                    <a:pt x="128" y="504"/>
                  </a:lnTo>
                  <a:lnTo>
                    <a:pt x="128" y="504"/>
                  </a:lnTo>
                  <a:lnTo>
                    <a:pt x="127" y="504"/>
                  </a:lnTo>
                  <a:lnTo>
                    <a:pt x="127" y="504"/>
                  </a:lnTo>
                  <a:lnTo>
                    <a:pt x="127" y="506"/>
                  </a:lnTo>
                  <a:lnTo>
                    <a:pt x="127" y="506"/>
                  </a:lnTo>
                  <a:lnTo>
                    <a:pt x="126" y="506"/>
                  </a:lnTo>
                  <a:lnTo>
                    <a:pt x="126" y="506"/>
                  </a:lnTo>
                  <a:lnTo>
                    <a:pt x="126" y="507"/>
                  </a:lnTo>
                  <a:lnTo>
                    <a:pt x="125" y="507"/>
                  </a:lnTo>
                  <a:lnTo>
                    <a:pt x="125" y="507"/>
                  </a:lnTo>
                  <a:lnTo>
                    <a:pt x="124" y="507"/>
                  </a:lnTo>
                  <a:lnTo>
                    <a:pt x="124" y="508"/>
                  </a:lnTo>
                  <a:lnTo>
                    <a:pt x="124" y="508"/>
                  </a:lnTo>
                  <a:lnTo>
                    <a:pt x="123" y="508"/>
                  </a:lnTo>
                  <a:lnTo>
                    <a:pt x="123" y="508"/>
                  </a:lnTo>
                  <a:lnTo>
                    <a:pt x="121" y="508"/>
                  </a:lnTo>
                  <a:lnTo>
                    <a:pt x="121" y="509"/>
                  </a:lnTo>
                  <a:lnTo>
                    <a:pt x="121" y="509"/>
                  </a:lnTo>
                  <a:lnTo>
                    <a:pt x="120" y="509"/>
                  </a:lnTo>
                  <a:lnTo>
                    <a:pt x="120" y="509"/>
                  </a:lnTo>
                  <a:lnTo>
                    <a:pt x="119" y="509"/>
                  </a:lnTo>
                  <a:lnTo>
                    <a:pt x="119" y="509"/>
                  </a:lnTo>
                  <a:lnTo>
                    <a:pt x="118" y="510"/>
                  </a:lnTo>
                  <a:lnTo>
                    <a:pt x="118" y="510"/>
                  </a:lnTo>
                  <a:lnTo>
                    <a:pt x="117" y="510"/>
                  </a:lnTo>
                  <a:lnTo>
                    <a:pt x="117" y="510"/>
                  </a:lnTo>
                  <a:lnTo>
                    <a:pt x="117" y="510"/>
                  </a:lnTo>
                  <a:lnTo>
                    <a:pt x="115" y="510"/>
                  </a:lnTo>
                  <a:lnTo>
                    <a:pt x="115" y="510"/>
                  </a:lnTo>
                  <a:lnTo>
                    <a:pt x="114" y="510"/>
                  </a:lnTo>
                  <a:lnTo>
                    <a:pt x="114" y="510"/>
                  </a:lnTo>
                  <a:lnTo>
                    <a:pt x="114" y="510"/>
                  </a:lnTo>
                  <a:lnTo>
                    <a:pt x="113" y="510"/>
                  </a:lnTo>
                  <a:lnTo>
                    <a:pt x="113" y="510"/>
                  </a:lnTo>
                  <a:lnTo>
                    <a:pt x="113" y="510"/>
                  </a:lnTo>
                  <a:lnTo>
                    <a:pt x="112" y="510"/>
                  </a:lnTo>
                  <a:lnTo>
                    <a:pt x="112" y="510"/>
                  </a:lnTo>
                  <a:lnTo>
                    <a:pt x="112" y="510"/>
                  </a:lnTo>
                  <a:lnTo>
                    <a:pt x="111" y="510"/>
                  </a:lnTo>
                  <a:lnTo>
                    <a:pt x="111" y="510"/>
                  </a:lnTo>
                  <a:lnTo>
                    <a:pt x="111" y="510"/>
                  </a:lnTo>
                  <a:lnTo>
                    <a:pt x="111" y="510"/>
                  </a:lnTo>
                  <a:lnTo>
                    <a:pt x="109" y="509"/>
                  </a:lnTo>
                  <a:lnTo>
                    <a:pt x="109" y="509"/>
                  </a:lnTo>
                  <a:lnTo>
                    <a:pt x="109" y="509"/>
                  </a:lnTo>
                  <a:lnTo>
                    <a:pt x="109" y="509"/>
                  </a:lnTo>
                  <a:lnTo>
                    <a:pt x="109" y="509"/>
                  </a:lnTo>
                  <a:lnTo>
                    <a:pt x="109" y="509"/>
                  </a:lnTo>
                  <a:lnTo>
                    <a:pt x="109" y="508"/>
                  </a:lnTo>
                  <a:lnTo>
                    <a:pt x="109" y="508"/>
                  </a:lnTo>
                  <a:lnTo>
                    <a:pt x="108" y="508"/>
                  </a:lnTo>
                  <a:lnTo>
                    <a:pt x="108" y="508"/>
                  </a:lnTo>
                  <a:lnTo>
                    <a:pt x="108" y="508"/>
                  </a:lnTo>
                  <a:lnTo>
                    <a:pt x="108" y="507"/>
                  </a:lnTo>
                  <a:lnTo>
                    <a:pt x="109" y="507"/>
                  </a:lnTo>
                  <a:lnTo>
                    <a:pt x="109" y="507"/>
                  </a:lnTo>
                  <a:lnTo>
                    <a:pt x="109" y="507"/>
                  </a:lnTo>
                  <a:lnTo>
                    <a:pt x="109" y="506"/>
                  </a:lnTo>
                  <a:lnTo>
                    <a:pt x="109" y="506"/>
                  </a:lnTo>
                  <a:close/>
                  <a:moveTo>
                    <a:pt x="79" y="111"/>
                  </a:moveTo>
                  <a:lnTo>
                    <a:pt x="100" y="102"/>
                  </a:lnTo>
                  <a:lnTo>
                    <a:pt x="100" y="102"/>
                  </a:lnTo>
                  <a:lnTo>
                    <a:pt x="104" y="110"/>
                  </a:lnTo>
                  <a:lnTo>
                    <a:pt x="108" y="118"/>
                  </a:lnTo>
                  <a:lnTo>
                    <a:pt x="112" y="128"/>
                  </a:lnTo>
                  <a:lnTo>
                    <a:pt x="115" y="137"/>
                  </a:lnTo>
                  <a:lnTo>
                    <a:pt x="119" y="148"/>
                  </a:lnTo>
                  <a:lnTo>
                    <a:pt x="123" y="159"/>
                  </a:lnTo>
                  <a:lnTo>
                    <a:pt x="126" y="171"/>
                  </a:lnTo>
                  <a:lnTo>
                    <a:pt x="130" y="183"/>
                  </a:lnTo>
                  <a:lnTo>
                    <a:pt x="132" y="196"/>
                  </a:lnTo>
                  <a:lnTo>
                    <a:pt x="136" y="209"/>
                  </a:lnTo>
                  <a:lnTo>
                    <a:pt x="138" y="222"/>
                  </a:lnTo>
                  <a:lnTo>
                    <a:pt x="140" y="236"/>
                  </a:lnTo>
                  <a:lnTo>
                    <a:pt x="143" y="250"/>
                  </a:lnTo>
                  <a:lnTo>
                    <a:pt x="145" y="264"/>
                  </a:lnTo>
                  <a:lnTo>
                    <a:pt x="148" y="279"/>
                  </a:lnTo>
                  <a:lnTo>
                    <a:pt x="149" y="293"/>
                  </a:lnTo>
                  <a:lnTo>
                    <a:pt x="150" y="307"/>
                  </a:lnTo>
                  <a:lnTo>
                    <a:pt x="151" y="321"/>
                  </a:lnTo>
                  <a:lnTo>
                    <a:pt x="152" y="336"/>
                  </a:lnTo>
                  <a:lnTo>
                    <a:pt x="152" y="351"/>
                  </a:lnTo>
                  <a:lnTo>
                    <a:pt x="152" y="365"/>
                  </a:lnTo>
                  <a:lnTo>
                    <a:pt x="152" y="380"/>
                  </a:lnTo>
                  <a:lnTo>
                    <a:pt x="152" y="393"/>
                  </a:lnTo>
                  <a:lnTo>
                    <a:pt x="151" y="407"/>
                  </a:lnTo>
                  <a:lnTo>
                    <a:pt x="150" y="420"/>
                  </a:lnTo>
                  <a:lnTo>
                    <a:pt x="149" y="433"/>
                  </a:lnTo>
                  <a:lnTo>
                    <a:pt x="146" y="446"/>
                  </a:lnTo>
                  <a:lnTo>
                    <a:pt x="144" y="458"/>
                  </a:lnTo>
                  <a:lnTo>
                    <a:pt x="142" y="470"/>
                  </a:lnTo>
                  <a:lnTo>
                    <a:pt x="138" y="481"/>
                  </a:lnTo>
                  <a:lnTo>
                    <a:pt x="134" y="491"/>
                  </a:lnTo>
                  <a:lnTo>
                    <a:pt x="130" y="502"/>
                  </a:lnTo>
                  <a:lnTo>
                    <a:pt x="109" y="506"/>
                  </a:lnTo>
                  <a:lnTo>
                    <a:pt x="113" y="496"/>
                  </a:lnTo>
                  <a:lnTo>
                    <a:pt x="117" y="487"/>
                  </a:lnTo>
                  <a:lnTo>
                    <a:pt x="120" y="476"/>
                  </a:lnTo>
                  <a:lnTo>
                    <a:pt x="123" y="464"/>
                  </a:lnTo>
                  <a:lnTo>
                    <a:pt x="125" y="452"/>
                  </a:lnTo>
                  <a:lnTo>
                    <a:pt x="127" y="440"/>
                  </a:lnTo>
                  <a:lnTo>
                    <a:pt x="128" y="427"/>
                  </a:lnTo>
                  <a:lnTo>
                    <a:pt x="130" y="414"/>
                  </a:lnTo>
                  <a:lnTo>
                    <a:pt x="131" y="400"/>
                  </a:lnTo>
                  <a:lnTo>
                    <a:pt x="131" y="387"/>
                  </a:lnTo>
                  <a:lnTo>
                    <a:pt x="132" y="373"/>
                  </a:lnTo>
                  <a:lnTo>
                    <a:pt x="131" y="358"/>
                  </a:lnTo>
                  <a:lnTo>
                    <a:pt x="131" y="344"/>
                  </a:lnTo>
                  <a:lnTo>
                    <a:pt x="130" y="330"/>
                  </a:lnTo>
                  <a:lnTo>
                    <a:pt x="128" y="314"/>
                  </a:lnTo>
                  <a:lnTo>
                    <a:pt x="127" y="300"/>
                  </a:lnTo>
                  <a:lnTo>
                    <a:pt x="126" y="286"/>
                  </a:lnTo>
                  <a:lnTo>
                    <a:pt x="124" y="272"/>
                  </a:lnTo>
                  <a:lnTo>
                    <a:pt x="123" y="257"/>
                  </a:lnTo>
                  <a:lnTo>
                    <a:pt x="120" y="244"/>
                  </a:lnTo>
                  <a:lnTo>
                    <a:pt x="117" y="230"/>
                  </a:lnTo>
                  <a:lnTo>
                    <a:pt x="114" y="217"/>
                  </a:lnTo>
                  <a:lnTo>
                    <a:pt x="112" y="204"/>
                  </a:lnTo>
                  <a:lnTo>
                    <a:pt x="108" y="192"/>
                  </a:lnTo>
                  <a:lnTo>
                    <a:pt x="105" y="179"/>
                  </a:lnTo>
                  <a:lnTo>
                    <a:pt x="101" y="168"/>
                  </a:lnTo>
                  <a:lnTo>
                    <a:pt x="99" y="156"/>
                  </a:lnTo>
                  <a:lnTo>
                    <a:pt x="94" y="146"/>
                  </a:lnTo>
                  <a:lnTo>
                    <a:pt x="90" y="136"/>
                  </a:lnTo>
                  <a:lnTo>
                    <a:pt x="87" y="127"/>
                  </a:lnTo>
                  <a:lnTo>
                    <a:pt x="83" y="118"/>
                  </a:lnTo>
                  <a:lnTo>
                    <a:pt x="79" y="111"/>
                  </a:lnTo>
                  <a:lnTo>
                    <a:pt x="79" y="111"/>
                  </a:lnTo>
                  <a:lnTo>
                    <a:pt x="79" y="111"/>
                  </a:lnTo>
                  <a:close/>
                  <a:moveTo>
                    <a:pt x="45" y="120"/>
                  </a:moveTo>
                  <a:lnTo>
                    <a:pt x="26" y="130"/>
                  </a:lnTo>
                  <a:lnTo>
                    <a:pt x="26" y="130"/>
                  </a:lnTo>
                  <a:lnTo>
                    <a:pt x="20" y="126"/>
                  </a:lnTo>
                  <a:lnTo>
                    <a:pt x="16" y="121"/>
                  </a:lnTo>
                  <a:lnTo>
                    <a:pt x="12" y="116"/>
                  </a:lnTo>
                  <a:lnTo>
                    <a:pt x="9" y="112"/>
                  </a:lnTo>
                  <a:lnTo>
                    <a:pt x="5" y="108"/>
                  </a:lnTo>
                  <a:lnTo>
                    <a:pt x="4" y="103"/>
                  </a:lnTo>
                  <a:lnTo>
                    <a:pt x="1" y="98"/>
                  </a:lnTo>
                  <a:lnTo>
                    <a:pt x="1" y="95"/>
                  </a:lnTo>
                  <a:lnTo>
                    <a:pt x="0" y="91"/>
                  </a:lnTo>
                  <a:lnTo>
                    <a:pt x="1" y="86"/>
                  </a:lnTo>
                  <a:lnTo>
                    <a:pt x="3" y="83"/>
                  </a:lnTo>
                  <a:lnTo>
                    <a:pt x="4" y="79"/>
                  </a:lnTo>
                  <a:lnTo>
                    <a:pt x="6" y="76"/>
                  </a:lnTo>
                  <a:lnTo>
                    <a:pt x="10" y="72"/>
                  </a:lnTo>
                  <a:lnTo>
                    <a:pt x="13" y="67"/>
                  </a:lnTo>
                  <a:lnTo>
                    <a:pt x="19" y="65"/>
                  </a:lnTo>
                  <a:lnTo>
                    <a:pt x="25" y="61"/>
                  </a:lnTo>
                  <a:lnTo>
                    <a:pt x="32" y="60"/>
                  </a:lnTo>
                  <a:lnTo>
                    <a:pt x="38" y="59"/>
                  </a:lnTo>
                  <a:lnTo>
                    <a:pt x="43" y="59"/>
                  </a:lnTo>
                  <a:lnTo>
                    <a:pt x="49" y="59"/>
                  </a:lnTo>
                  <a:lnTo>
                    <a:pt x="54" y="60"/>
                  </a:lnTo>
                  <a:lnTo>
                    <a:pt x="58" y="61"/>
                  </a:lnTo>
                  <a:lnTo>
                    <a:pt x="63" y="64"/>
                  </a:lnTo>
                  <a:lnTo>
                    <a:pt x="68" y="66"/>
                  </a:lnTo>
                  <a:lnTo>
                    <a:pt x="73" y="70"/>
                  </a:lnTo>
                  <a:lnTo>
                    <a:pt x="77" y="73"/>
                  </a:lnTo>
                  <a:lnTo>
                    <a:pt x="82" y="78"/>
                  </a:lnTo>
                  <a:lnTo>
                    <a:pt x="87" y="83"/>
                  </a:lnTo>
                  <a:lnTo>
                    <a:pt x="92" y="89"/>
                  </a:lnTo>
                  <a:lnTo>
                    <a:pt x="95" y="95"/>
                  </a:lnTo>
                  <a:lnTo>
                    <a:pt x="100" y="102"/>
                  </a:lnTo>
                  <a:lnTo>
                    <a:pt x="79" y="111"/>
                  </a:lnTo>
                  <a:lnTo>
                    <a:pt x="75" y="104"/>
                  </a:lnTo>
                  <a:lnTo>
                    <a:pt x="71" y="98"/>
                  </a:lnTo>
                  <a:lnTo>
                    <a:pt x="67" y="92"/>
                  </a:lnTo>
                  <a:lnTo>
                    <a:pt x="62" y="88"/>
                  </a:lnTo>
                  <a:lnTo>
                    <a:pt x="58" y="84"/>
                  </a:lnTo>
                  <a:lnTo>
                    <a:pt x="54" y="80"/>
                  </a:lnTo>
                  <a:lnTo>
                    <a:pt x="49" y="78"/>
                  </a:lnTo>
                  <a:lnTo>
                    <a:pt x="45" y="76"/>
                  </a:lnTo>
                  <a:lnTo>
                    <a:pt x="41" y="73"/>
                  </a:lnTo>
                  <a:lnTo>
                    <a:pt x="37" y="72"/>
                  </a:lnTo>
                  <a:lnTo>
                    <a:pt x="33" y="72"/>
                  </a:lnTo>
                  <a:lnTo>
                    <a:pt x="31" y="72"/>
                  </a:lnTo>
                  <a:lnTo>
                    <a:pt x="29" y="72"/>
                  </a:lnTo>
                  <a:lnTo>
                    <a:pt x="26" y="72"/>
                  </a:lnTo>
                  <a:lnTo>
                    <a:pt x="26" y="72"/>
                  </a:lnTo>
                  <a:lnTo>
                    <a:pt x="26" y="72"/>
                  </a:lnTo>
                  <a:lnTo>
                    <a:pt x="26" y="72"/>
                  </a:lnTo>
                  <a:lnTo>
                    <a:pt x="26" y="72"/>
                  </a:lnTo>
                  <a:lnTo>
                    <a:pt x="25" y="73"/>
                  </a:lnTo>
                  <a:lnTo>
                    <a:pt x="24" y="76"/>
                  </a:lnTo>
                  <a:lnTo>
                    <a:pt x="23" y="78"/>
                  </a:lnTo>
                  <a:lnTo>
                    <a:pt x="23" y="80"/>
                  </a:lnTo>
                  <a:lnTo>
                    <a:pt x="22" y="83"/>
                  </a:lnTo>
                  <a:lnTo>
                    <a:pt x="23" y="86"/>
                  </a:lnTo>
                  <a:lnTo>
                    <a:pt x="23" y="90"/>
                  </a:lnTo>
                  <a:lnTo>
                    <a:pt x="24" y="93"/>
                  </a:lnTo>
                  <a:lnTo>
                    <a:pt x="26" y="98"/>
                  </a:lnTo>
                  <a:lnTo>
                    <a:pt x="29" y="102"/>
                  </a:lnTo>
                  <a:lnTo>
                    <a:pt x="32" y="107"/>
                  </a:lnTo>
                  <a:lnTo>
                    <a:pt x="36" y="110"/>
                  </a:lnTo>
                  <a:lnTo>
                    <a:pt x="41" y="115"/>
                  </a:lnTo>
                  <a:lnTo>
                    <a:pt x="45" y="120"/>
                  </a:lnTo>
                  <a:lnTo>
                    <a:pt x="45" y="120"/>
                  </a:lnTo>
                  <a:lnTo>
                    <a:pt x="45" y="120"/>
                  </a:lnTo>
                  <a:close/>
                  <a:moveTo>
                    <a:pt x="193" y="67"/>
                  </a:moveTo>
                  <a:lnTo>
                    <a:pt x="213" y="63"/>
                  </a:lnTo>
                  <a:lnTo>
                    <a:pt x="213" y="63"/>
                  </a:lnTo>
                  <a:lnTo>
                    <a:pt x="212" y="70"/>
                  </a:lnTo>
                  <a:lnTo>
                    <a:pt x="208" y="77"/>
                  </a:lnTo>
                  <a:lnTo>
                    <a:pt x="206" y="84"/>
                  </a:lnTo>
                  <a:lnTo>
                    <a:pt x="202" y="91"/>
                  </a:lnTo>
                  <a:lnTo>
                    <a:pt x="199" y="97"/>
                  </a:lnTo>
                  <a:lnTo>
                    <a:pt x="194" y="104"/>
                  </a:lnTo>
                  <a:lnTo>
                    <a:pt x="190" y="109"/>
                  </a:lnTo>
                  <a:lnTo>
                    <a:pt x="186" y="115"/>
                  </a:lnTo>
                  <a:lnTo>
                    <a:pt x="181" y="121"/>
                  </a:lnTo>
                  <a:lnTo>
                    <a:pt x="175" y="126"/>
                  </a:lnTo>
                  <a:lnTo>
                    <a:pt x="169" y="130"/>
                  </a:lnTo>
                  <a:lnTo>
                    <a:pt x="163" y="135"/>
                  </a:lnTo>
                  <a:lnTo>
                    <a:pt x="157" y="139"/>
                  </a:lnTo>
                  <a:lnTo>
                    <a:pt x="150" y="142"/>
                  </a:lnTo>
                  <a:lnTo>
                    <a:pt x="143" y="146"/>
                  </a:lnTo>
                  <a:lnTo>
                    <a:pt x="136" y="148"/>
                  </a:lnTo>
                  <a:lnTo>
                    <a:pt x="128" y="150"/>
                  </a:lnTo>
                  <a:lnTo>
                    <a:pt x="120" y="153"/>
                  </a:lnTo>
                  <a:lnTo>
                    <a:pt x="113" y="154"/>
                  </a:lnTo>
                  <a:lnTo>
                    <a:pt x="106" y="155"/>
                  </a:lnTo>
                  <a:lnTo>
                    <a:pt x="99" y="155"/>
                  </a:lnTo>
                  <a:lnTo>
                    <a:pt x="92" y="155"/>
                  </a:lnTo>
                  <a:lnTo>
                    <a:pt x="86" y="154"/>
                  </a:lnTo>
                  <a:lnTo>
                    <a:pt x="79" y="154"/>
                  </a:lnTo>
                  <a:lnTo>
                    <a:pt x="71" y="152"/>
                  </a:lnTo>
                  <a:lnTo>
                    <a:pt x="64" y="150"/>
                  </a:lnTo>
                  <a:lnTo>
                    <a:pt x="58" y="148"/>
                  </a:lnTo>
                  <a:lnTo>
                    <a:pt x="51" y="146"/>
                  </a:lnTo>
                  <a:lnTo>
                    <a:pt x="45" y="142"/>
                  </a:lnTo>
                  <a:lnTo>
                    <a:pt x="39" y="139"/>
                  </a:lnTo>
                  <a:lnTo>
                    <a:pt x="32" y="135"/>
                  </a:lnTo>
                  <a:lnTo>
                    <a:pt x="26" y="130"/>
                  </a:lnTo>
                  <a:lnTo>
                    <a:pt x="45" y="120"/>
                  </a:lnTo>
                  <a:lnTo>
                    <a:pt x="51" y="123"/>
                  </a:lnTo>
                  <a:lnTo>
                    <a:pt x="57" y="127"/>
                  </a:lnTo>
                  <a:lnTo>
                    <a:pt x="63" y="130"/>
                  </a:lnTo>
                  <a:lnTo>
                    <a:pt x="69" y="134"/>
                  </a:lnTo>
                  <a:lnTo>
                    <a:pt x="76" y="136"/>
                  </a:lnTo>
                  <a:lnTo>
                    <a:pt x="82" y="137"/>
                  </a:lnTo>
                  <a:lnTo>
                    <a:pt x="88" y="140"/>
                  </a:lnTo>
                  <a:lnTo>
                    <a:pt x="94" y="141"/>
                  </a:lnTo>
                  <a:lnTo>
                    <a:pt x="99" y="142"/>
                  </a:lnTo>
                  <a:lnTo>
                    <a:pt x="105" y="142"/>
                  </a:lnTo>
                  <a:lnTo>
                    <a:pt x="111" y="142"/>
                  </a:lnTo>
                  <a:lnTo>
                    <a:pt x="115" y="142"/>
                  </a:lnTo>
                  <a:lnTo>
                    <a:pt x="121" y="141"/>
                  </a:lnTo>
                  <a:lnTo>
                    <a:pt x="126" y="141"/>
                  </a:lnTo>
                  <a:lnTo>
                    <a:pt x="131" y="140"/>
                  </a:lnTo>
                  <a:lnTo>
                    <a:pt x="134" y="137"/>
                  </a:lnTo>
                  <a:lnTo>
                    <a:pt x="139" y="136"/>
                  </a:lnTo>
                  <a:lnTo>
                    <a:pt x="143" y="134"/>
                  </a:lnTo>
                  <a:lnTo>
                    <a:pt x="148" y="133"/>
                  </a:lnTo>
                  <a:lnTo>
                    <a:pt x="151" y="129"/>
                  </a:lnTo>
                  <a:lnTo>
                    <a:pt x="156" y="127"/>
                  </a:lnTo>
                  <a:lnTo>
                    <a:pt x="159" y="123"/>
                  </a:lnTo>
                  <a:lnTo>
                    <a:pt x="163" y="120"/>
                  </a:lnTo>
                  <a:lnTo>
                    <a:pt x="168" y="115"/>
                  </a:lnTo>
                  <a:lnTo>
                    <a:pt x="171" y="110"/>
                  </a:lnTo>
                  <a:lnTo>
                    <a:pt x="175" y="105"/>
                  </a:lnTo>
                  <a:lnTo>
                    <a:pt x="178" y="101"/>
                  </a:lnTo>
                  <a:lnTo>
                    <a:pt x="182" y="95"/>
                  </a:lnTo>
                  <a:lnTo>
                    <a:pt x="184" y="89"/>
                  </a:lnTo>
                  <a:lnTo>
                    <a:pt x="188" y="82"/>
                  </a:lnTo>
                  <a:lnTo>
                    <a:pt x="190" y="74"/>
                  </a:lnTo>
                  <a:lnTo>
                    <a:pt x="193" y="67"/>
                  </a:lnTo>
                  <a:lnTo>
                    <a:pt x="193" y="67"/>
                  </a:lnTo>
                  <a:lnTo>
                    <a:pt x="193" y="67"/>
                  </a:lnTo>
                  <a:close/>
                  <a:moveTo>
                    <a:pt x="170" y="63"/>
                  </a:moveTo>
                  <a:lnTo>
                    <a:pt x="149" y="72"/>
                  </a:lnTo>
                  <a:lnTo>
                    <a:pt x="149" y="72"/>
                  </a:lnTo>
                  <a:lnTo>
                    <a:pt x="146" y="65"/>
                  </a:lnTo>
                  <a:lnTo>
                    <a:pt x="144" y="58"/>
                  </a:lnTo>
                  <a:lnTo>
                    <a:pt x="143" y="51"/>
                  </a:lnTo>
                  <a:lnTo>
                    <a:pt x="142" y="45"/>
                  </a:lnTo>
                  <a:lnTo>
                    <a:pt x="142" y="39"/>
                  </a:lnTo>
                  <a:lnTo>
                    <a:pt x="142" y="34"/>
                  </a:lnTo>
                  <a:lnTo>
                    <a:pt x="143" y="28"/>
                  </a:lnTo>
                  <a:lnTo>
                    <a:pt x="144" y="25"/>
                  </a:lnTo>
                  <a:lnTo>
                    <a:pt x="146" y="20"/>
                  </a:lnTo>
                  <a:lnTo>
                    <a:pt x="149" y="15"/>
                  </a:lnTo>
                  <a:lnTo>
                    <a:pt x="152" y="12"/>
                  </a:lnTo>
                  <a:lnTo>
                    <a:pt x="157" y="8"/>
                  </a:lnTo>
                  <a:lnTo>
                    <a:pt x="163" y="4"/>
                  </a:lnTo>
                  <a:lnTo>
                    <a:pt x="170" y="2"/>
                  </a:lnTo>
                  <a:lnTo>
                    <a:pt x="176" y="0"/>
                  </a:lnTo>
                  <a:lnTo>
                    <a:pt x="182" y="0"/>
                  </a:lnTo>
                  <a:lnTo>
                    <a:pt x="187" y="0"/>
                  </a:lnTo>
                  <a:lnTo>
                    <a:pt x="191" y="1"/>
                  </a:lnTo>
                  <a:lnTo>
                    <a:pt x="195" y="2"/>
                  </a:lnTo>
                  <a:lnTo>
                    <a:pt x="199" y="3"/>
                  </a:lnTo>
                  <a:lnTo>
                    <a:pt x="202" y="6"/>
                  </a:lnTo>
                  <a:lnTo>
                    <a:pt x="206" y="8"/>
                  </a:lnTo>
                  <a:lnTo>
                    <a:pt x="208" y="12"/>
                  </a:lnTo>
                  <a:lnTo>
                    <a:pt x="210" y="15"/>
                  </a:lnTo>
                  <a:lnTo>
                    <a:pt x="213" y="20"/>
                  </a:lnTo>
                  <a:lnTo>
                    <a:pt x="215" y="25"/>
                  </a:lnTo>
                  <a:lnTo>
                    <a:pt x="216" y="29"/>
                  </a:lnTo>
                  <a:lnTo>
                    <a:pt x="216" y="35"/>
                  </a:lnTo>
                  <a:lnTo>
                    <a:pt x="216" y="41"/>
                  </a:lnTo>
                  <a:lnTo>
                    <a:pt x="216" y="47"/>
                  </a:lnTo>
                  <a:lnTo>
                    <a:pt x="215" y="54"/>
                  </a:lnTo>
                  <a:lnTo>
                    <a:pt x="213" y="63"/>
                  </a:lnTo>
                  <a:lnTo>
                    <a:pt x="193" y="67"/>
                  </a:lnTo>
                  <a:lnTo>
                    <a:pt x="194" y="61"/>
                  </a:lnTo>
                  <a:lnTo>
                    <a:pt x="195" y="54"/>
                  </a:lnTo>
                  <a:lnTo>
                    <a:pt x="195" y="48"/>
                  </a:lnTo>
                  <a:lnTo>
                    <a:pt x="195" y="42"/>
                  </a:lnTo>
                  <a:lnTo>
                    <a:pt x="195" y="38"/>
                  </a:lnTo>
                  <a:lnTo>
                    <a:pt x="194" y="33"/>
                  </a:lnTo>
                  <a:lnTo>
                    <a:pt x="193" y="28"/>
                  </a:lnTo>
                  <a:lnTo>
                    <a:pt x="190" y="25"/>
                  </a:lnTo>
                  <a:lnTo>
                    <a:pt x="188" y="22"/>
                  </a:lnTo>
                  <a:lnTo>
                    <a:pt x="186" y="19"/>
                  </a:lnTo>
                  <a:lnTo>
                    <a:pt x="183" y="16"/>
                  </a:lnTo>
                  <a:lnTo>
                    <a:pt x="181" y="15"/>
                  </a:lnTo>
                  <a:lnTo>
                    <a:pt x="177" y="14"/>
                  </a:lnTo>
                  <a:lnTo>
                    <a:pt x="175" y="13"/>
                  </a:lnTo>
                  <a:lnTo>
                    <a:pt x="172" y="13"/>
                  </a:lnTo>
                  <a:lnTo>
                    <a:pt x="171" y="13"/>
                  </a:lnTo>
                  <a:lnTo>
                    <a:pt x="170" y="13"/>
                  </a:lnTo>
                  <a:lnTo>
                    <a:pt x="170" y="13"/>
                  </a:lnTo>
                  <a:lnTo>
                    <a:pt x="170" y="13"/>
                  </a:lnTo>
                  <a:lnTo>
                    <a:pt x="170" y="13"/>
                  </a:lnTo>
                  <a:lnTo>
                    <a:pt x="169" y="13"/>
                  </a:lnTo>
                  <a:lnTo>
                    <a:pt x="168" y="14"/>
                  </a:lnTo>
                  <a:lnTo>
                    <a:pt x="167" y="16"/>
                  </a:lnTo>
                  <a:lnTo>
                    <a:pt x="165" y="20"/>
                  </a:lnTo>
                  <a:lnTo>
                    <a:pt x="164" y="23"/>
                  </a:lnTo>
                  <a:lnTo>
                    <a:pt x="163" y="27"/>
                  </a:lnTo>
                  <a:lnTo>
                    <a:pt x="163" y="32"/>
                  </a:lnTo>
                  <a:lnTo>
                    <a:pt x="163" y="38"/>
                  </a:lnTo>
                  <a:lnTo>
                    <a:pt x="164" y="42"/>
                  </a:lnTo>
                  <a:lnTo>
                    <a:pt x="165" y="50"/>
                  </a:lnTo>
                  <a:lnTo>
                    <a:pt x="168" y="55"/>
                  </a:lnTo>
                  <a:lnTo>
                    <a:pt x="170" y="63"/>
                  </a:lnTo>
                  <a:lnTo>
                    <a:pt x="170" y="63"/>
                  </a:lnTo>
                  <a:lnTo>
                    <a:pt x="170" y="63"/>
                  </a:lnTo>
                  <a:close/>
                  <a:moveTo>
                    <a:pt x="310" y="121"/>
                  </a:moveTo>
                  <a:lnTo>
                    <a:pt x="315" y="129"/>
                  </a:lnTo>
                  <a:lnTo>
                    <a:pt x="315" y="129"/>
                  </a:lnTo>
                  <a:lnTo>
                    <a:pt x="309" y="131"/>
                  </a:lnTo>
                  <a:lnTo>
                    <a:pt x="303" y="134"/>
                  </a:lnTo>
                  <a:lnTo>
                    <a:pt x="297" y="136"/>
                  </a:lnTo>
                  <a:lnTo>
                    <a:pt x="290" y="139"/>
                  </a:lnTo>
                  <a:lnTo>
                    <a:pt x="284" y="140"/>
                  </a:lnTo>
                  <a:lnTo>
                    <a:pt x="278" y="142"/>
                  </a:lnTo>
                  <a:lnTo>
                    <a:pt x="272" y="143"/>
                  </a:lnTo>
                  <a:lnTo>
                    <a:pt x="266" y="145"/>
                  </a:lnTo>
                  <a:lnTo>
                    <a:pt x="260" y="145"/>
                  </a:lnTo>
                  <a:lnTo>
                    <a:pt x="254" y="146"/>
                  </a:lnTo>
                  <a:lnTo>
                    <a:pt x="248" y="146"/>
                  </a:lnTo>
                  <a:lnTo>
                    <a:pt x="243" y="146"/>
                  </a:lnTo>
                  <a:lnTo>
                    <a:pt x="237" y="145"/>
                  </a:lnTo>
                  <a:lnTo>
                    <a:pt x="231" y="145"/>
                  </a:lnTo>
                  <a:lnTo>
                    <a:pt x="226" y="143"/>
                  </a:lnTo>
                  <a:lnTo>
                    <a:pt x="220" y="142"/>
                  </a:lnTo>
                  <a:lnTo>
                    <a:pt x="215" y="140"/>
                  </a:lnTo>
                  <a:lnTo>
                    <a:pt x="209" y="139"/>
                  </a:lnTo>
                  <a:lnTo>
                    <a:pt x="205" y="136"/>
                  </a:lnTo>
                  <a:lnTo>
                    <a:pt x="200" y="134"/>
                  </a:lnTo>
                  <a:lnTo>
                    <a:pt x="195" y="130"/>
                  </a:lnTo>
                  <a:lnTo>
                    <a:pt x="190" y="127"/>
                  </a:lnTo>
                  <a:lnTo>
                    <a:pt x="186" y="123"/>
                  </a:lnTo>
                  <a:lnTo>
                    <a:pt x="181" y="120"/>
                  </a:lnTo>
                  <a:lnTo>
                    <a:pt x="176" y="115"/>
                  </a:lnTo>
                  <a:lnTo>
                    <a:pt x="172" y="110"/>
                  </a:lnTo>
                  <a:lnTo>
                    <a:pt x="168" y="104"/>
                  </a:lnTo>
                  <a:lnTo>
                    <a:pt x="164" y="99"/>
                  </a:lnTo>
                  <a:lnTo>
                    <a:pt x="161" y="92"/>
                  </a:lnTo>
                  <a:lnTo>
                    <a:pt x="156" y="86"/>
                  </a:lnTo>
                  <a:lnTo>
                    <a:pt x="152" y="79"/>
                  </a:lnTo>
                  <a:lnTo>
                    <a:pt x="149" y="72"/>
                  </a:lnTo>
                  <a:lnTo>
                    <a:pt x="170" y="63"/>
                  </a:lnTo>
                  <a:lnTo>
                    <a:pt x="174" y="70"/>
                  </a:lnTo>
                  <a:lnTo>
                    <a:pt x="177" y="77"/>
                  </a:lnTo>
                  <a:lnTo>
                    <a:pt x="181" y="83"/>
                  </a:lnTo>
                  <a:lnTo>
                    <a:pt x="184" y="89"/>
                  </a:lnTo>
                  <a:lnTo>
                    <a:pt x="188" y="95"/>
                  </a:lnTo>
                  <a:lnTo>
                    <a:pt x="193" y="99"/>
                  </a:lnTo>
                  <a:lnTo>
                    <a:pt x="196" y="104"/>
                  </a:lnTo>
                  <a:lnTo>
                    <a:pt x="201" y="109"/>
                  </a:lnTo>
                  <a:lnTo>
                    <a:pt x="205" y="112"/>
                  </a:lnTo>
                  <a:lnTo>
                    <a:pt x="209" y="116"/>
                  </a:lnTo>
                  <a:lnTo>
                    <a:pt x="214" y="120"/>
                  </a:lnTo>
                  <a:lnTo>
                    <a:pt x="218" y="122"/>
                  </a:lnTo>
                  <a:lnTo>
                    <a:pt x="222" y="124"/>
                  </a:lnTo>
                  <a:lnTo>
                    <a:pt x="227" y="127"/>
                  </a:lnTo>
                  <a:lnTo>
                    <a:pt x="232" y="128"/>
                  </a:lnTo>
                  <a:lnTo>
                    <a:pt x="237" y="129"/>
                  </a:lnTo>
                  <a:lnTo>
                    <a:pt x="241" y="130"/>
                  </a:lnTo>
                  <a:lnTo>
                    <a:pt x="246" y="131"/>
                  </a:lnTo>
                  <a:lnTo>
                    <a:pt x="251" y="133"/>
                  </a:lnTo>
                  <a:lnTo>
                    <a:pt x="256" y="133"/>
                  </a:lnTo>
                  <a:lnTo>
                    <a:pt x="260" y="133"/>
                  </a:lnTo>
                  <a:lnTo>
                    <a:pt x="264" y="133"/>
                  </a:lnTo>
                  <a:lnTo>
                    <a:pt x="269" y="133"/>
                  </a:lnTo>
                  <a:lnTo>
                    <a:pt x="273" y="131"/>
                  </a:lnTo>
                  <a:lnTo>
                    <a:pt x="278" y="130"/>
                  </a:lnTo>
                  <a:lnTo>
                    <a:pt x="283" y="130"/>
                  </a:lnTo>
                  <a:lnTo>
                    <a:pt x="288" y="129"/>
                  </a:lnTo>
                  <a:lnTo>
                    <a:pt x="292" y="128"/>
                  </a:lnTo>
                  <a:lnTo>
                    <a:pt x="296" y="126"/>
                  </a:lnTo>
                  <a:lnTo>
                    <a:pt x="301" y="124"/>
                  </a:lnTo>
                  <a:lnTo>
                    <a:pt x="306" y="122"/>
                  </a:lnTo>
                  <a:lnTo>
                    <a:pt x="310" y="121"/>
                  </a:lnTo>
                  <a:lnTo>
                    <a:pt x="310" y="121"/>
                  </a:lnTo>
                  <a:lnTo>
                    <a:pt x="310" y="121"/>
                  </a:lnTo>
                  <a:close/>
                  <a:moveTo>
                    <a:pt x="297" y="89"/>
                  </a:moveTo>
                  <a:lnTo>
                    <a:pt x="277" y="92"/>
                  </a:lnTo>
                  <a:lnTo>
                    <a:pt x="277" y="92"/>
                  </a:lnTo>
                  <a:lnTo>
                    <a:pt x="281" y="85"/>
                  </a:lnTo>
                  <a:lnTo>
                    <a:pt x="284" y="79"/>
                  </a:lnTo>
                  <a:lnTo>
                    <a:pt x="288" y="73"/>
                  </a:lnTo>
                  <a:lnTo>
                    <a:pt x="292" y="69"/>
                  </a:lnTo>
                  <a:lnTo>
                    <a:pt x="297" y="64"/>
                  </a:lnTo>
                  <a:lnTo>
                    <a:pt x="302" y="60"/>
                  </a:lnTo>
                  <a:lnTo>
                    <a:pt x="309" y="57"/>
                  </a:lnTo>
                  <a:lnTo>
                    <a:pt x="316" y="53"/>
                  </a:lnTo>
                  <a:lnTo>
                    <a:pt x="322" y="52"/>
                  </a:lnTo>
                  <a:lnTo>
                    <a:pt x="328" y="52"/>
                  </a:lnTo>
                  <a:lnTo>
                    <a:pt x="332" y="53"/>
                  </a:lnTo>
                  <a:lnTo>
                    <a:pt x="335" y="54"/>
                  </a:lnTo>
                  <a:lnTo>
                    <a:pt x="339" y="57"/>
                  </a:lnTo>
                  <a:lnTo>
                    <a:pt x="341" y="59"/>
                  </a:lnTo>
                  <a:lnTo>
                    <a:pt x="344" y="61"/>
                  </a:lnTo>
                  <a:lnTo>
                    <a:pt x="346" y="64"/>
                  </a:lnTo>
                  <a:lnTo>
                    <a:pt x="347" y="67"/>
                  </a:lnTo>
                  <a:lnTo>
                    <a:pt x="348" y="71"/>
                  </a:lnTo>
                  <a:lnTo>
                    <a:pt x="349" y="74"/>
                  </a:lnTo>
                  <a:lnTo>
                    <a:pt x="349" y="78"/>
                  </a:lnTo>
                  <a:lnTo>
                    <a:pt x="351" y="83"/>
                  </a:lnTo>
                  <a:lnTo>
                    <a:pt x="349" y="86"/>
                  </a:lnTo>
                  <a:lnTo>
                    <a:pt x="349" y="91"/>
                  </a:lnTo>
                  <a:lnTo>
                    <a:pt x="348" y="95"/>
                  </a:lnTo>
                  <a:lnTo>
                    <a:pt x="347" y="99"/>
                  </a:lnTo>
                  <a:lnTo>
                    <a:pt x="345" y="104"/>
                  </a:lnTo>
                  <a:lnTo>
                    <a:pt x="342" y="109"/>
                  </a:lnTo>
                  <a:lnTo>
                    <a:pt x="339" y="112"/>
                  </a:lnTo>
                  <a:lnTo>
                    <a:pt x="334" y="117"/>
                  </a:lnTo>
                  <a:lnTo>
                    <a:pt x="328" y="122"/>
                  </a:lnTo>
                  <a:lnTo>
                    <a:pt x="322" y="126"/>
                  </a:lnTo>
                  <a:lnTo>
                    <a:pt x="315" y="129"/>
                  </a:lnTo>
                  <a:lnTo>
                    <a:pt x="310" y="121"/>
                  </a:lnTo>
                  <a:lnTo>
                    <a:pt x="313" y="118"/>
                  </a:lnTo>
                  <a:lnTo>
                    <a:pt x="316" y="117"/>
                  </a:lnTo>
                  <a:lnTo>
                    <a:pt x="319" y="115"/>
                  </a:lnTo>
                  <a:lnTo>
                    <a:pt x="320" y="112"/>
                  </a:lnTo>
                  <a:lnTo>
                    <a:pt x="322" y="110"/>
                  </a:lnTo>
                  <a:lnTo>
                    <a:pt x="325" y="108"/>
                  </a:lnTo>
                  <a:lnTo>
                    <a:pt x="326" y="104"/>
                  </a:lnTo>
                  <a:lnTo>
                    <a:pt x="327" y="101"/>
                  </a:lnTo>
                  <a:lnTo>
                    <a:pt x="328" y="97"/>
                  </a:lnTo>
                  <a:lnTo>
                    <a:pt x="329" y="93"/>
                  </a:lnTo>
                  <a:lnTo>
                    <a:pt x="329" y="90"/>
                  </a:lnTo>
                  <a:lnTo>
                    <a:pt x="328" y="86"/>
                  </a:lnTo>
                  <a:lnTo>
                    <a:pt x="328" y="83"/>
                  </a:lnTo>
                  <a:lnTo>
                    <a:pt x="327" y="79"/>
                  </a:lnTo>
                  <a:lnTo>
                    <a:pt x="326" y="77"/>
                  </a:lnTo>
                  <a:lnTo>
                    <a:pt x="325" y="73"/>
                  </a:lnTo>
                  <a:lnTo>
                    <a:pt x="323" y="71"/>
                  </a:lnTo>
                  <a:lnTo>
                    <a:pt x="321" y="69"/>
                  </a:lnTo>
                  <a:lnTo>
                    <a:pt x="320" y="67"/>
                  </a:lnTo>
                  <a:lnTo>
                    <a:pt x="317" y="66"/>
                  </a:lnTo>
                  <a:lnTo>
                    <a:pt x="315" y="65"/>
                  </a:lnTo>
                  <a:lnTo>
                    <a:pt x="314" y="65"/>
                  </a:lnTo>
                  <a:lnTo>
                    <a:pt x="314" y="65"/>
                  </a:lnTo>
                  <a:lnTo>
                    <a:pt x="314" y="65"/>
                  </a:lnTo>
                  <a:lnTo>
                    <a:pt x="314" y="65"/>
                  </a:lnTo>
                  <a:lnTo>
                    <a:pt x="314" y="65"/>
                  </a:lnTo>
                  <a:lnTo>
                    <a:pt x="313" y="66"/>
                  </a:lnTo>
                  <a:lnTo>
                    <a:pt x="310" y="69"/>
                  </a:lnTo>
                  <a:lnTo>
                    <a:pt x="307" y="72"/>
                  </a:lnTo>
                  <a:lnTo>
                    <a:pt x="303" y="77"/>
                  </a:lnTo>
                  <a:lnTo>
                    <a:pt x="301" y="82"/>
                  </a:lnTo>
                  <a:lnTo>
                    <a:pt x="297" y="89"/>
                  </a:lnTo>
                  <a:lnTo>
                    <a:pt x="297" y="89"/>
                  </a:lnTo>
                  <a:lnTo>
                    <a:pt x="297" y="89"/>
                  </a:lnTo>
                  <a:close/>
                  <a:moveTo>
                    <a:pt x="275" y="488"/>
                  </a:moveTo>
                  <a:lnTo>
                    <a:pt x="253" y="497"/>
                  </a:lnTo>
                  <a:lnTo>
                    <a:pt x="250" y="488"/>
                  </a:lnTo>
                  <a:lnTo>
                    <a:pt x="246" y="478"/>
                  </a:lnTo>
                  <a:lnTo>
                    <a:pt x="243" y="468"/>
                  </a:lnTo>
                  <a:lnTo>
                    <a:pt x="240" y="457"/>
                  </a:lnTo>
                  <a:lnTo>
                    <a:pt x="238" y="445"/>
                  </a:lnTo>
                  <a:lnTo>
                    <a:pt x="235" y="433"/>
                  </a:lnTo>
                  <a:lnTo>
                    <a:pt x="234" y="420"/>
                  </a:lnTo>
                  <a:lnTo>
                    <a:pt x="233" y="407"/>
                  </a:lnTo>
                  <a:lnTo>
                    <a:pt x="232" y="393"/>
                  </a:lnTo>
                  <a:lnTo>
                    <a:pt x="231" y="378"/>
                  </a:lnTo>
                  <a:lnTo>
                    <a:pt x="231" y="364"/>
                  </a:lnTo>
                  <a:lnTo>
                    <a:pt x="231" y="350"/>
                  </a:lnTo>
                  <a:lnTo>
                    <a:pt x="232" y="336"/>
                  </a:lnTo>
                  <a:lnTo>
                    <a:pt x="232" y="320"/>
                  </a:lnTo>
                  <a:lnTo>
                    <a:pt x="233" y="306"/>
                  </a:lnTo>
                  <a:lnTo>
                    <a:pt x="234" y="291"/>
                  </a:lnTo>
                  <a:lnTo>
                    <a:pt x="235" y="275"/>
                  </a:lnTo>
                  <a:lnTo>
                    <a:pt x="237" y="261"/>
                  </a:lnTo>
                  <a:lnTo>
                    <a:pt x="239" y="245"/>
                  </a:lnTo>
                  <a:lnTo>
                    <a:pt x="240" y="231"/>
                  </a:lnTo>
                  <a:lnTo>
                    <a:pt x="243" y="217"/>
                  </a:lnTo>
                  <a:lnTo>
                    <a:pt x="245" y="203"/>
                  </a:lnTo>
                  <a:lnTo>
                    <a:pt x="247" y="190"/>
                  </a:lnTo>
                  <a:lnTo>
                    <a:pt x="250" y="177"/>
                  </a:lnTo>
                  <a:lnTo>
                    <a:pt x="253" y="164"/>
                  </a:lnTo>
                  <a:lnTo>
                    <a:pt x="256" y="152"/>
                  </a:lnTo>
                  <a:lnTo>
                    <a:pt x="259" y="140"/>
                  </a:lnTo>
                  <a:lnTo>
                    <a:pt x="263" y="129"/>
                  </a:lnTo>
                  <a:lnTo>
                    <a:pt x="266" y="118"/>
                  </a:lnTo>
                  <a:lnTo>
                    <a:pt x="269" y="109"/>
                  </a:lnTo>
                  <a:lnTo>
                    <a:pt x="272" y="101"/>
                  </a:lnTo>
                  <a:lnTo>
                    <a:pt x="277" y="92"/>
                  </a:lnTo>
                  <a:lnTo>
                    <a:pt x="297" y="89"/>
                  </a:lnTo>
                  <a:lnTo>
                    <a:pt x="294" y="96"/>
                  </a:lnTo>
                  <a:lnTo>
                    <a:pt x="290" y="104"/>
                  </a:lnTo>
                  <a:lnTo>
                    <a:pt x="287" y="114"/>
                  </a:lnTo>
                  <a:lnTo>
                    <a:pt x="283" y="124"/>
                  </a:lnTo>
                  <a:lnTo>
                    <a:pt x="281" y="135"/>
                  </a:lnTo>
                  <a:lnTo>
                    <a:pt x="277" y="146"/>
                  </a:lnTo>
                  <a:lnTo>
                    <a:pt x="275" y="158"/>
                  </a:lnTo>
                  <a:lnTo>
                    <a:pt x="271" y="171"/>
                  </a:lnTo>
                  <a:lnTo>
                    <a:pt x="269" y="184"/>
                  </a:lnTo>
                  <a:lnTo>
                    <a:pt x="266" y="197"/>
                  </a:lnTo>
                  <a:lnTo>
                    <a:pt x="264" y="211"/>
                  </a:lnTo>
                  <a:lnTo>
                    <a:pt x="262" y="225"/>
                  </a:lnTo>
                  <a:lnTo>
                    <a:pt x="259" y="240"/>
                  </a:lnTo>
                  <a:lnTo>
                    <a:pt x="258" y="254"/>
                  </a:lnTo>
                  <a:lnTo>
                    <a:pt x="257" y="269"/>
                  </a:lnTo>
                  <a:lnTo>
                    <a:pt x="256" y="283"/>
                  </a:lnTo>
                  <a:lnTo>
                    <a:pt x="254" y="299"/>
                  </a:lnTo>
                  <a:lnTo>
                    <a:pt x="253" y="313"/>
                  </a:lnTo>
                  <a:lnTo>
                    <a:pt x="252" y="329"/>
                  </a:lnTo>
                  <a:lnTo>
                    <a:pt x="252" y="343"/>
                  </a:lnTo>
                  <a:lnTo>
                    <a:pt x="252" y="357"/>
                  </a:lnTo>
                  <a:lnTo>
                    <a:pt x="252" y="371"/>
                  </a:lnTo>
                  <a:lnTo>
                    <a:pt x="253" y="386"/>
                  </a:lnTo>
                  <a:lnTo>
                    <a:pt x="254" y="399"/>
                  </a:lnTo>
                  <a:lnTo>
                    <a:pt x="256" y="412"/>
                  </a:lnTo>
                  <a:lnTo>
                    <a:pt x="257" y="425"/>
                  </a:lnTo>
                  <a:lnTo>
                    <a:pt x="259" y="437"/>
                  </a:lnTo>
                  <a:lnTo>
                    <a:pt x="262" y="449"/>
                  </a:lnTo>
                  <a:lnTo>
                    <a:pt x="264" y="459"/>
                  </a:lnTo>
                  <a:lnTo>
                    <a:pt x="266" y="470"/>
                  </a:lnTo>
                  <a:lnTo>
                    <a:pt x="270" y="479"/>
                  </a:lnTo>
                  <a:lnTo>
                    <a:pt x="275" y="488"/>
                  </a:lnTo>
                  <a:lnTo>
                    <a:pt x="275" y="488"/>
                  </a:lnTo>
                  <a:close/>
                  <a:moveTo>
                    <a:pt x="253" y="497"/>
                  </a:moveTo>
                  <a:lnTo>
                    <a:pt x="275" y="488"/>
                  </a:lnTo>
                  <a:lnTo>
                    <a:pt x="275" y="488"/>
                  </a:lnTo>
                  <a:lnTo>
                    <a:pt x="275" y="489"/>
                  </a:lnTo>
                  <a:lnTo>
                    <a:pt x="275" y="489"/>
                  </a:lnTo>
                  <a:lnTo>
                    <a:pt x="275" y="489"/>
                  </a:lnTo>
                  <a:lnTo>
                    <a:pt x="275" y="489"/>
                  </a:lnTo>
                  <a:lnTo>
                    <a:pt x="275" y="489"/>
                  </a:lnTo>
                  <a:lnTo>
                    <a:pt x="275" y="490"/>
                  </a:lnTo>
                  <a:lnTo>
                    <a:pt x="275" y="490"/>
                  </a:lnTo>
                  <a:lnTo>
                    <a:pt x="273" y="490"/>
                  </a:lnTo>
                  <a:lnTo>
                    <a:pt x="273" y="490"/>
                  </a:lnTo>
                  <a:lnTo>
                    <a:pt x="273" y="491"/>
                  </a:lnTo>
                  <a:lnTo>
                    <a:pt x="273" y="491"/>
                  </a:lnTo>
                  <a:lnTo>
                    <a:pt x="273" y="491"/>
                  </a:lnTo>
                  <a:lnTo>
                    <a:pt x="273" y="491"/>
                  </a:lnTo>
                  <a:lnTo>
                    <a:pt x="272" y="492"/>
                  </a:lnTo>
                  <a:lnTo>
                    <a:pt x="272" y="492"/>
                  </a:lnTo>
                  <a:lnTo>
                    <a:pt x="272" y="492"/>
                  </a:lnTo>
                  <a:lnTo>
                    <a:pt x="272" y="492"/>
                  </a:lnTo>
                  <a:lnTo>
                    <a:pt x="271" y="494"/>
                  </a:lnTo>
                  <a:lnTo>
                    <a:pt x="271" y="494"/>
                  </a:lnTo>
                  <a:lnTo>
                    <a:pt x="271" y="494"/>
                  </a:lnTo>
                  <a:lnTo>
                    <a:pt x="271" y="494"/>
                  </a:lnTo>
                  <a:lnTo>
                    <a:pt x="270" y="495"/>
                  </a:lnTo>
                  <a:lnTo>
                    <a:pt x="270" y="495"/>
                  </a:lnTo>
                  <a:lnTo>
                    <a:pt x="270" y="495"/>
                  </a:lnTo>
                  <a:lnTo>
                    <a:pt x="269" y="495"/>
                  </a:lnTo>
                  <a:lnTo>
                    <a:pt x="269" y="496"/>
                  </a:lnTo>
                  <a:lnTo>
                    <a:pt x="267" y="496"/>
                  </a:lnTo>
                  <a:lnTo>
                    <a:pt x="267" y="496"/>
                  </a:lnTo>
                  <a:lnTo>
                    <a:pt x="266" y="496"/>
                  </a:lnTo>
                  <a:lnTo>
                    <a:pt x="266" y="497"/>
                  </a:lnTo>
                  <a:lnTo>
                    <a:pt x="266" y="497"/>
                  </a:lnTo>
                  <a:lnTo>
                    <a:pt x="265" y="497"/>
                  </a:lnTo>
                  <a:lnTo>
                    <a:pt x="265" y="497"/>
                  </a:lnTo>
                  <a:lnTo>
                    <a:pt x="264" y="497"/>
                  </a:lnTo>
                  <a:lnTo>
                    <a:pt x="264" y="498"/>
                  </a:lnTo>
                  <a:lnTo>
                    <a:pt x="263" y="498"/>
                  </a:lnTo>
                  <a:lnTo>
                    <a:pt x="263" y="498"/>
                  </a:lnTo>
                  <a:lnTo>
                    <a:pt x="262" y="498"/>
                  </a:lnTo>
                  <a:lnTo>
                    <a:pt x="262" y="498"/>
                  </a:lnTo>
                  <a:lnTo>
                    <a:pt x="262" y="498"/>
                  </a:lnTo>
                  <a:lnTo>
                    <a:pt x="260" y="498"/>
                  </a:lnTo>
                  <a:lnTo>
                    <a:pt x="260" y="498"/>
                  </a:lnTo>
                  <a:lnTo>
                    <a:pt x="259" y="498"/>
                  </a:lnTo>
                  <a:lnTo>
                    <a:pt x="259" y="498"/>
                  </a:lnTo>
                  <a:lnTo>
                    <a:pt x="259" y="498"/>
                  </a:lnTo>
                  <a:lnTo>
                    <a:pt x="258" y="498"/>
                  </a:lnTo>
                  <a:lnTo>
                    <a:pt x="258" y="498"/>
                  </a:lnTo>
                  <a:lnTo>
                    <a:pt x="258" y="498"/>
                  </a:lnTo>
                  <a:lnTo>
                    <a:pt x="257" y="498"/>
                  </a:lnTo>
                  <a:lnTo>
                    <a:pt x="257" y="498"/>
                  </a:lnTo>
                  <a:lnTo>
                    <a:pt x="257" y="498"/>
                  </a:lnTo>
                  <a:lnTo>
                    <a:pt x="256" y="498"/>
                  </a:lnTo>
                  <a:lnTo>
                    <a:pt x="256" y="498"/>
                  </a:lnTo>
                  <a:lnTo>
                    <a:pt x="256" y="498"/>
                  </a:lnTo>
                  <a:lnTo>
                    <a:pt x="254" y="498"/>
                  </a:lnTo>
                  <a:lnTo>
                    <a:pt x="254" y="498"/>
                  </a:lnTo>
                  <a:lnTo>
                    <a:pt x="254" y="498"/>
                  </a:lnTo>
                  <a:lnTo>
                    <a:pt x="254" y="498"/>
                  </a:lnTo>
                  <a:lnTo>
                    <a:pt x="254" y="498"/>
                  </a:lnTo>
                  <a:lnTo>
                    <a:pt x="253" y="497"/>
                  </a:lnTo>
                  <a:lnTo>
                    <a:pt x="253" y="497"/>
                  </a:lnTo>
                  <a:lnTo>
                    <a:pt x="253" y="497"/>
                  </a:lnTo>
                  <a:lnTo>
                    <a:pt x="253" y="49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8" name="Oval 38">
              <a:extLst>
                <a:ext uri="{FF2B5EF4-FFF2-40B4-BE49-F238E27FC236}">
                  <a16:creationId xmlns:a16="http://schemas.microsoft.com/office/drawing/2014/main" id="{FDD75D10-04F5-44E6-8DEE-F5A919EBEF3F}"/>
                </a:ext>
              </a:extLst>
            </p:cNvPr>
            <p:cNvSpPr>
              <a:spLocks noChangeArrowheads="1"/>
            </p:cNvSpPr>
            <p:nvPr/>
          </p:nvSpPr>
          <p:spPr bwMode="auto">
            <a:xfrm>
              <a:off x="9082626" y="3120733"/>
              <a:ext cx="363175" cy="284224"/>
            </a:xfrm>
            <a:prstGeom prst="ellipse">
              <a:avLst/>
            </a:prstGeom>
            <a:solidFill>
              <a:schemeClr val="tx1">
                <a:lumMod val="50000"/>
                <a:lumOff val="50000"/>
              </a:schemeClr>
            </a:solidFill>
            <a:ln>
              <a:solidFill>
                <a:schemeClr val="bg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9" name="Oval 39">
              <a:extLst>
                <a:ext uri="{FF2B5EF4-FFF2-40B4-BE49-F238E27FC236}">
                  <a16:creationId xmlns:a16="http://schemas.microsoft.com/office/drawing/2014/main" id="{98A5F67C-AB5A-4510-A0F3-BD4076B7D369}"/>
                </a:ext>
              </a:extLst>
            </p:cNvPr>
            <p:cNvSpPr>
              <a:spLocks noChangeArrowheads="1"/>
            </p:cNvSpPr>
            <p:nvPr/>
          </p:nvSpPr>
          <p:spPr bwMode="auto">
            <a:xfrm>
              <a:off x="9104158" y="3143701"/>
              <a:ext cx="320111" cy="238289"/>
            </a:xfrm>
            <a:prstGeom prst="ellipse">
              <a:avLst/>
            </a:prstGeom>
            <a:solidFill>
              <a:schemeClr val="tx1">
                <a:lumMod val="50000"/>
                <a:lumOff val="5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0" name="Freeform 40">
              <a:extLst>
                <a:ext uri="{FF2B5EF4-FFF2-40B4-BE49-F238E27FC236}">
                  <a16:creationId xmlns:a16="http://schemas.microsoft.com/office/drawing/2014/main" id="{5C7F9FB2-D9AB-4A47-9766-2D0FAB1E504B}"/>
                </a:ext>
              </a:extLst>
            </p:cNvPr>
            <p:cNvSpPr>
              <a:spLocks/>
            </p:cNvSpPr>
            <p:nvPr/>
          </p:nvSpPr>
          <p:spPr bwMode="auto">
            <a:xfrm>
              <a:off x="8969223" y="3037476"/>
              <a:ext cx="589980" cy="205273"/>
            </a:xfrm>
            <a:custGeom>
              <a:avLst/>
              <a:gdLst>
                <a:gd name="T0" fmla="*/ 50 w 346"/>
                <a:gd name="T1" fmla="*/ 45 h 120"/>
                <a:gd name="T2" fmla="*/ 296 w 346"/>
                <a:gd name="T3" fmla="*/ 0 h 120"/>
                <a:gd name="T4" fmla="*/ 296 w 346"/>
                <a:gd name="T5" fmla="*/ 75 h 120"/>
                <a:gd name="T6" fmla="*/ 50 w 346"/>
                <a:gd name="T7" fmla="*/ 120 h 120"/>
                <a:gd name="T8" fmla="*/ 50 w 346"/>
                <a:gd name="T9" fmla="*/ 45 h 120"/>
              </a:gdLst>
              <a:ahLst/>
              <a:cxnLst>
                <a:cxn ang="0">
                  <a:pos x="T0" y="T1"/>
                </a:cxn>
                <a:cxn ang="0">
                  <a:pos x="T2" y="T3"/>
                </a:cxn>
                <a:cxn ang="0">
                  <a:pos x="T4" y="T5"/>
                </a:cxn>
                <a:cxn ang="0">
                  <a:pos x="T6" y="T7"/>
                </a:cxn>
                <a:cxn ang="0">
                  <a:pos x="T8" y="T9"/>
                </a:cxn>
              </a:cxnLst>
              <a:rect l="0" t="0" r="r" b="b"/>
              <a:pathLst>
                <a:path w="346" h="120">
                  <a:moveTo>
                    <a:pt x="50" y="45"/>
                  </a:moveTo>
                  <a:cubicBezTo>
                    <a:pt x="296" y="0"/>
                    <a:pt x="296" y="0"/>
                    <a:pt x="296" y="0"/>
                  </a:cubicBezTo>
                  <a:cubicBezTo>
                    <a:pt x="346" y="0"/>
                    <a:pt x="346" y="75"/>
                    <a:pt x="296" y="75"/>
                  </a:cubicBezTo>
                  <a:cubicBezTo>
                    <a:pt x="50" y="120"/>
                    <a:pt x="50" y="120"/>
                    <a:pt x="50" y="120"/>
                  </a:cubicBezTo>
                  <a:cubicBezTo>
                    <a:pt x="0" y="120"/>
                    <a:pt x="0" y="45"/>
                    <a:pt x="50" y="45"/>
                  </a:cubicBezTo>
                  <a:close/>
                </a:path>
              </a:pathLst>
            </a:custGeom>
            <a:solidFill>
              <a:schemeClr val="tx1">
                <a:lumMod val="50000"/>
                <a:lumOff val="5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1" name="Freeform 41">
              <a:extLst>
                <a:ext uri="{FF2B5EF4-FFF2-40B4-BE49-F238E27FC236}">
                  <a16:creationId xmlns:a16="http://schemas.microsoft.com/office/drawing/2014/main" id="{BDD1CEA7-706C-4BE7-80CB-74C1C6769BCC}"/>
                </a:ext>
              </a:extLst>
            </p:cNvPr>
            <p:cNvSpPr>
              <a:spLocks/>
            </p:cNvSpPr>
            <p:nvPr/>
          </p:nvSpPr>
          <p:spPr bwMode="auto">
            <a:xfrm>
              <a:off x="9012288" y="3060443"/>
              <a:ext cx="503852" cy="162209"/>
            </a:xfrm>
            <a:custGeom>
              <a:avLst/>
              <a:gdLst>
                <a:gd name="T0" fmla="*/ 24 w 296"/>
                <a:gd name="T1" fmla="*/ 95 h 95"/>
                <a:gd name="T2" fmla="*/ 270 w 296"/>
                <a:gd name="T3" fmla="*/ 50 h 95"/>
                <a:gd name="T4" fmla="*/ 271 w 296"/>
                <a:gd name="T5" fmla="*/ 50 h 95"/>
                <a:gd name="T6" fmla="*/ 292 w 296"/>
                <a:gd name="T7" fmla="*/ 38 h 95"/>
                <a:gd name="T8" fmla="*/ 296 w 296"/>
                <a:gd name="T9" fmla="*/ 25 h 95"/>
                <a:gd name="T10" fmla="*/ 272 w 296"/>
                <a:gd name="T11" fmla="*/ 0 h 95"/>
                <a:gd name="T12" fmla="*/ 26 w 296"/>
                <a:gd name="T13" fmla="*/ 45 h 95"/>
                <a:gd name="T14" fmla="*/ 25 w 296"/>
                <a:gd name="T15" fmla="*/ 45 h 95"/>
                <a:gd name="T16" fmla="*/ 4 w 296"/>
                <a:gd name="T17" fmla="*/ 56 h 95"/>
                <a:gd name="T18" fmla="*/ 0 w 296"/>
                <a:gd name="T19" fmla="*/ 70 h 95"/>
                <a:gd name="T20" fmla="*/ 24 w 296"/>
                <a:gd name="T21" fmla="*/ 95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96" h="95">
                  <a:moveTo>
                    <a:pt x="24" y="95"/>
                  </a:moveTo>
                  <a:cubicBezTo>
                    <a:pt x="270" y="50"/>
                    <a:pt x="270" y="50"/>
                    <a:pt x="270" y="50"/>
                  </a:cubicBezTo>
                  <a:cubicBezTo>
                    <a:pt x="271" y="50"/>
                    <a:pt x="271" y="50"/>
                    <a:pt x="271" y="50"/>
                  </a:cubicBezTo>
                  <a:cubicBezTo>
                    <a:pt x="280" y="50"/>
                    <a:pt x="288" y="46"/>
                    <a:pt x="292" y="38"/>
                  </a:cubicBezTo>
                  <a:cubicBezTo>
                    <a:pt x="294" y="34"/>
                    <a:pt x="296" y="30"/>
                    <a:pt x="296" y="25"/>
                  </a:cubicBezTo>
                  <a:cubicBezTo>
                    <a:pt x="296" y="10"/>
                    <a:pt x="287" y="0"/>
                    <a:pt x="272" y="0"/>
                  </a:cubicBezTo>
                  <a:cubicBezTo>
                    <a:pt x="26" y="45"/>
                    <a:pt x="26" y="45"/>
                    <a:pt x="26" y="45"/>
                  </a:cubicBezTo>
                  <a:cubicBezTo>
                    <a:pt x="25" y="45"/>
                    <a:pt x="25" y="45"/>
                    <a:pt x="25" y="45"/>
                  </a:cubicBezTo>
                  <a:cubicBezTo>
                    <a:pt x="16" y="45"/>
                    <a:pt x="8" y="48"/>
                    <a:pt x="4" y="56"/>
                  </a:cubicBezTo>
                  <a:cubicBezTo>
                    <a:pt x="1" y="60"/>
                    <a:pt x="0" y="65"/>
                    <a:pt x="0" y="70"/>
                  </a:cubicBezTo>
                  <a:cubicBezTo>
                    <a:pt x="0" y="84"/>
                    <a:pt x="9" y="94"/>
                    <a:pt x="24" y="95"/>
                  </a:cubicBezTo>
                  <a:close/>
                </a:path>
              </a:pathLst>
            </a:custGeom>
            <a:solidFill>
              <a:schemeClr val="tx1">
                <a:lumMod val="50000"/>
                <a:lumOff val="50000"/>
              </a:schemeClr>
            </a:solidFill>
            <a:ln>
              <a:solidFill>
                <a:schemeClr val="bg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2" name="Freeform 42">
              <a:extLst>
                <a:ext uri="{FF2B5EF4-FFF2-40B4-BE49-F238E27FC236}">
                  <a16:creationId xmlns:a16="http://schemas.microsoft.com/office/drawing/2014/main" id="{DF15A553-798D-4B9E-A2F9-EB5C5C094E09}"/>
                </a:ext>
              </a:extLst>
            </p:cNvPr>
            <p:cNvSpPr>
              <a:spLocks/>
            </p:cNvSpPr>
            <p:nvPr/>
          </p:nvSpPr>
          <p:spPr bwMode="auto">
            <a:xfrm>
              <a:off x="8969223" y="3145136"/>
              <a:ext cx="589980" cy="205273"/>
            </a:xfrm>
            <a:custGeom>
              <a:avLst/>
              <a:gdLst>
                <a:gd name="T0" fmla="*/ 50 w 346"/>
                <a:gd name="T1" fmla="*/ 44 h 120"/>
                <a:gd name="T2" fmla="*/ 296 w 346"/>
                <a:gd name="T3" fmla="*/ 0 h 120"/>
                <a:gd name="T4" fmla="*/ 296 w 346"/>
                <a:gd name="T5" fmla="*/ 75 h 120"/>
                <a:gd name="T6" fmla="*/ 50 w 346"/>
                <a:gd name="T7" fmla="*/ 120 h 120"/>
                <a:gd name="T8" fmla="*/ 50 w 346"/>
                <a:gd name="T9" fmla="*/ 44 h 120"/>
              </a:gdLst>
              <a:ahLst/>
              <a:cxnLst>
                <a:cxn ang="0">
                  <a:pos x="T0" y="T1"/>
                </a:cxn>
                <a:cxn ang="0">
                  <a:pos x="T2" y="T3"/>
                </a:cxn>
                <a:cxn ang="0">
                  <a:pos x="T4" y="T5"/>
                </a:cxn>
                <a:cxn ang="0">
                  <a:pos x="T6" y="T7"/>
                </a:cxn>
                <a:cxn ang="0">
                  <a:pos x="T8" y="T9"/>
                </a:cxn>
              </a:cxnLst>
              <a:rect l="0" t="0" r="r" b="b"/>
              <a:pathLst>
                <a:path w="346" h="120">
                  <a:moveTo>
                    <a:pt x="50" y="44"/>
                  </a:moveTo>
                  <a:cubicBezTo>
                    <a:pt x="296" y="0"/>
                    <a:pt x="296" y="0"/>
                    <a:pt x="296" y="0"/>
                  </a:cubicBezTo>
                  <a:cubicBezTo>
                    <a:pt x="346" y="0"/>
                    <a:pt x="346" y="75"/>
                    <a:pt x="296" y="75"/>
                  </a:cubicBezTo>
                  <a:cubicBezTo>
                    <a:pt x="50" y="120"/>
                    <a:pt x="50" y="120"/>
                    <a:pt x="50" y="120"/>
                  </a:cubicBezTo>
                  <a:cubicBezTo>
                    <a:pt x="0" y="120"/>
                    <a:pt x="0" y="44"/>
                    <a:pt x="50" y="44"/>
                  </a:cubicBezTo>
                  <a:close/>
                </a:path>
              </a:pathLst>
            </a:custGeom>
            <a:solidFill>
              <a:schemeClr val="tx1">
                <a:lumMod val="50000"/>
                <a:lumOff val="5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3" name="Freeform 43">
              <a:extLst>
                <a:ext uri="{FF2B5EF4-FFF2-40B4-BE49-F238E27FC236}">
                  <a16:creationId xmlns:a16="http://schemas.microsoft.com/office/drawing/2014/main" id="{0FEAEE89-5303-44C0-9E7C-216C066E7B95}"/>
                </a:ext>
              </a:extLst>
            </p:cNvPr>
            <p:cNvSpPr>
              <a:spLocks/>
            </p:cNvSpPr>
            <p:nvPr/>
          </p:nvSpPr>
          <p:spPr bwMode="auto">
            <a:xfrm>
              <a:off x="9012288" y="3165232"/>
              <a:ext cx="503852" cy="162209"/>
            </a:xfrm>
            <a:custGeom>
              <a:avLst/>
              <a:gdLst>
                <a:gd name="T0" fmla="*/ 24 w 296"/>
                <a:gd name="T1" fmla="*/ 95 h 95"/>
                <a:gd name="T2" fmla="*/ 270 w 296"/>
                <a:gd name="T3" fmla="*/ 50 h 95"/>
                <a:gd name="T4" fmla="*/ 271 w 296"/>
                <a:gd name="T5" fmla="*/ 50 h 95"/>
                <a:gd name="T6" fmla="*/ 292 w 296"/>
                <a:gd name="T7" fmla="*/ 39 h 95"/>
                <a:gd name="T8" fmla="*/ 296 w 296"/>
                <a:gd name="T9" fmla="*/ 25 h 95"/>
                <a:gd name="T10" fmla="*/ 272 w 296"/>
                <a:gd name="T11" fmla="*/ 0 h 95"/>
                <a:gd name="T12" fmla="*/ 26 w 296"/>
                <a:gd name="T13" fmla="*/ 45 h 95"/>
                <a:gd name="T14" fmla="*/ 25 w 296"/>
                <a:gd name="T15" fmla="*/ 45 h 95"/>
                <a:gd name="T16" fmla="*/ 4 w 296"/>
                <a:gd name="T17" fmla="*/ 56 h 95"/>
                <a:gd name="T18" fmla="*/ 0 w 296"/>
                <a:gd name="T19" fmla="*/ 70 h 95"/>
                <a:gd name="T20" fmla="*/ 24 w 296"/>
                <a:gd name="T21" fmla="*/ 95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96" h="95">
                  <a:moveTo>
                    <a:pt x="24" y="95"/>
                  </a:moveTo>
                  <a:cubicBezTo>
                    <a:pt x="270" y="50"/>
                    <a:pt x="270" y="50"/>
                    <a:pt x="270" y="50"/>
                  </a:cubicBezTo>
                  <a:cubicBezTo>
                    <a:pt x="271" y="50"/>
                    <a:pt x="271" y="50"/>
                    <a:pt x="271" y="50"/>
                  </a:cubicBezTo>
                  <a:cubicBezTo>
                    <a:pt x="280" y="50"/>
                    <a:pt x="288" y="47"/>
                    <a:pt x="292" y="39"/>
                  </a:cubicBezTo>
                  <a:cubicBezTo>
                    <a:pt x="294" y="35"/>
                    <a:pt x="296" y="30"/>
                    <a:pt x="296" y="25"/>
                  </a:cubicBezTo>
                  <a:cubicBezTo>
                    <a:pt x="296" y="11"/>
                    <a:pt x="287" y="1"/>
                    <a:pt x="272" y="0"/>
                  </a:cubicBezTo>
                  <a:cubicBezTo>
                    <a:pt x="26" y="45"/>
                    <a:pt x="26" y="45"/>
                    <a:pt x="26" y="45"/>
                  </a:cubicBezTo>
                  <a:cubicBezTo>
                    <a:pt x="25" y="45"/>
                    <a:pt x="25" y="45"/>
                    <a:pt x="25" y="45"/>
                  </a:cubicBezTo>
                  <a:cubicBezTo>
                    <a:pt x="16" y="45"/>
                    <a:pt x="8" y="48"/>
                    <a:pt x="4" y="56"/>
                  </a:cubicBezTo>
                  <a:cubicBezTo>
                    <a:pt x="1" y="61"/>
                    <a:pt x="0" y="65"/>
                    <a:pt x="0" y="70"/>
                  </a:cubicBezTo>
                  <a:cubicBezTo>
                    <a:pt x="0" y="84"/>
                    <a:pt x="9" y="95"/>
                    <a:pt x="24" y="95"/>
                  </a:cubicBezTo>
                  <a:close/>
                </a:path>
              </a:pathLst>
            </a:custGeom>
            <a:solidFill>
              <a:schemeClr val="tx1">
                <a:lumMod val="50000"/>
                <a:lumOff val="50000"/>
              </a:schemeClr>
            </a:solidFill>
            <a:ln>
              <a:solidFill>
                <a:schemeClr val="bg1"/>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4" name="Freeform 44">
              <a:extLst>
                <a:ext uri="{FF2B5EF4-FFF2-40B4-BE49-F238E27FC236}">
                  <a16:creationId xmlns:a16="http://schemas.microsoft.com/office/drawing/2014/main" id="{7978991A-08A1-4890-B666-5F7E7D50C840}"/>
                </a:ext>
              </a:extLst>
            </p:cNvPr>
            <p:cNvSpPr>
              <a:spLocks/>
            </p:cNvSpPr>
            <p:nvPr/>
          </p:nvSpPr>
          <p:spPr bwMode="auto">
            <a:xfrm>
              <a:off x="8706531" y="1818759"/>
              <a:ext cx="535432" cy="641657"/>
            </a:xfrm>
            <a:custGeom>
              <a:avLst/>
              <a:gdLst>
                <a:gd name="T0" fmla="*/ 307 w 314"/>
                <a:gd name="T1" fmla="*/ 30 h 376"/>
                <a:gd name="T2" fmla="*/ 214 w 314"/>
                <a:gd name="T3" fmla="*/ 26 h 376"/>
                <a:gd name="T4" fmla="*/ 21 w 314"/>
                <a:gd name="T5" fmla="*/ 376 h 376"/>
                <a:gd name="T6" fmla="*/ 240 w 314"/>
                <a:gd name="T7" fmla="*/ 82 h 376"/>
                <a:gd name="T8" fmla="*/ 307 w 314"/>
                <a:gd name="T9" fmla="*/ 30 h 376"/>
              </a:gdLst>
              <a:ahLst/>
              <a:cxnLst>
                <a:cxn ang="0">
                  <a:pos x="T0" y="T1"/>
                </a:cxn>
                <a:cxn ang="0">
                  <a:pos x="T2" y="T3"/>
                </a:cxn>
                <a:cxn ang="0">
                  <a:pos x="T4" y="T5"/>
                </a:cxn>
                <a:cxn ang="0">
                  <a:pos x="T6" y="T7"/>
                </a:cxn>
                <a:cxn ang="0">
                  <a:pos x="T8" y="T9"/>
                </a:cxn>
              </a:cxnLst>
              <a:rect l="0" t="0" r="r" b="b"/>
              <a:pathLst>
                <a:path w="314" h="376">
                  <a:moveTo>
                    <a:pt x="307" y="30"/>
                  </a:moveTo>
                  <a:cubicBezTo>
                    <a:pt x="302" y="7"/>
                    <a:pt x="266" y="0"/>
                    <a:pt x="214" y="26"/>
                  </a:cubicBezTo>
                  <a:cubicBezTo>
                    <a:pt x="85" y="90"/>
                    <a:pt x="0" y="232"/>
                    <a:pt x="21" y="376"/>
                  </a:cubicBezTo>
                  <a:cubicBezTo>
                    <a:pt x="27" y="285"/>
                    <a:pt x="89" y="154"/>
                    <a:pt x="240" y="82"/>
                  </a:cubicBezTo>
                  <a:cubicBezTo>
                    <a:pt x="280" y="63"/>
                    <a:pt x="314" y="63"/>
                    <a:pt x="307" y="3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grpSp>
        <p:nvGrpSpPr>
          <p:cNvPr id="44" name="Group 109">
            <a:extLst>
              <a:ext uri="{FF2B5EF4-FFF2-40B4-BE49-F238E27FC236}">
                <a16:creationId xmlns:a16="http://schemas.microsoft.com/office/drawing/2014/main" id="{2CF5BE5D-457D-4A19-AC35-C640C057274F}"/>
              </a:ext>
            </a:extLst>
          </p:cNvPr>
          <p:cNvGrpSpPr/>
          <p:nvPr/>
        </p:nvGrpSpPr>
        <p:grpSpPr>
          <a:xfrm>
            <a:off x="4045584" y="2447001"/>
            <a:ext cx="3723903" cy="1569661"/>
            <a:chOff x="6828617" y="4068259"/>
            <a:chExt cx="4542198" cy="1914580"/>
          </a:xfrm>
        </p:grpSpPr>
        <p:sp>
          <p:nvSpPr>
            <p:cNvPr id="45" name="Rectangle: Rounded Corners 5">
              <a:extLst>
                <a:ext uri="{FF2B5EF4-FFF2-40B4-BE49-F238E27FC236}">
                  <a16:creationId xmlns:a16="http://schemas.microsoft.com/office/drawing/2014/main" id="{58CDB1C5-38CA-4966-834A-ADBF9CD4DB71}"/>
                </a:ext>
              </a:extLst>
            </p:cNvPr>
            <p:cNvSpPr/>
            <p:nvPr/>
          </p:nvSpPr>
          <p:spPr>
            <a:xfrm>
              <a:off x="6828617" y="4130199"/>
              <a:ext cx="4510450" cy="1790702"/>
            </a:xfrm>
            <a:prstGeom prst="roundRect">
              <a:avLst>
                <a:gd name="adj" fmla="val 13635"/>
              </a:avLst>
            </a:prstGeom>
            <a:solidFill>
              <a:schemeClr val="bg1"/>
            </a:solidFill>
            <a:ln>
              <a:noFill/>
            </a:ln>
            <a:effectLst>
              <a:outerShdw blurRad="647700" dist="254000" dir="5400000" sx="95000" sy="95000" algn="t" rotWithShape="0">
                <a:prstClr val="black">
                  <a:alpha val="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等线" panose="020F0502020204030204"/>
                <a:ea typeface="+mn-ea"/>
                <a:cs typeface="+mn-cs"/>
              </a:endParaRPr>
            </a:p>
          </p:txBody>
        </p:sp>
        <p:grpSp>
          <p:nvGrpSpPr>
            <p:cNvPr id="46" name="Group 111">
              <a:extLst>
                <a:ext uri="{FF2B5EF4-FFF2-40B4-BE49-F238E27FC236}">
                  <a16:creationId xmlns:a16="http://schemas.microsoft.com/office/drawing/2014/main" id="{B51CFE63-AFF0-46EF-93F4-EF59CE60C6C5}"/>
                </a:ext>
              </a:extLst>
            </p:cNvPr>
            <p:cNvGrpSpPr/>
            <p:nvPr/>
          </p:nvGrpSpPr>
          <p:grpSpPr>
            <a:xfrm>
              <a:off x="7006173" y="4068259"/>
              <a:ext cx="1565518" cy="1914580"/>
              <a:chOff x="7083182" y="2471710"/>
              <a:chExt cx="1565518" cy="1914580"/>
            </a:xfrm>
          </p:grpSpPr>
          <p:graphicFrame>
            <p:nvGraphicFramePr>
              <p:cNvPr id="50" name="Chart 115">
                <a:extLst>
                  <a:ext uri="{FF2B5EF4-FFF2-40B4-BE49-F238E27FC236}">
                    <a16:creationId xmlns:a16="http://schemas.microsoft.com/office/drawing/2014/main" id="{2927C7D2-591B-408E-9633-6B0C7E37F43D}"/>
                  </a:ext>
                </a:extLst>
              </p:cNvPr>
              <p:cNvGraphicFramePr/>
              <p:nvPr/>
            </p:nvGraphicFramePr>
            <p:xfrm>
              <a:off x="7083182" y="2471710"/>
              <a:ext cx="1565518" cy="1914580"/>
            </p:xfrm>
            <a:graphic>
              <a:graphicData uri="http://schemas.openxmlformats.org/drawingml/2006/chart">
                <c:chart xmlns:c="http://schemas.openxmlformats.org/drawingml/2006/chart" xmlns:r="http://schemas.openxmlformats.org/officeDocument/2006/relationships" r:id="rId4"/>
              </a:graphicData>
            </a:graphic>
          </p:graphicFrame>
          <p:sp>
            <p:nvSpPr>
              <p:cNvPr id="51" name="TextBox 116">
                <a:extLst>
                  <a:ext uri="{FF2B5EF4-FFF2-40B4-BE49-F238E27FC236}">
                    <a16:creationId xmlns:a16="http://schemas.microsoft.com/office/drawing/2014/main" id="{5188CF0B-C57D-4B91-9ACF-DB929EDFA42F}"/>
                  </a:ext>
                </a:extLst>
              </p:cNvPr>
              <p:cNvSpPr txBox="1"/>
              <p:nvPr/>
            </p:nvSpPr>
            <p:spPr>
              <a:xfrm>
                <a:off x="7215591" y="3184984"/>
                <a:ext cx="1300700" cy="4880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lumMod val="85000"/>
                        <a:lumOff val="15000"/>
                      </a:srgbClr>
                    </a:solidFill>
                    <a:effectLst/>
                    <a:uLnTx/>
                    <a:uFillTx/>
                    <a:latin typeface="等线" panose="020F0502020204030204"/>
                    <a:ea typeface="+mn-ea"/>
                    <a:cs typeface="Arial" panose="020B0604020202020204" pitchFamily="34" charset="0"/>
                  </a:rPr>
                  <a:t>78</a:t>
                </a:r>
                <a:r>
                  <a:rPr kumimoji="0" lang="en-US" sz="1800" b="0" i="0" u="none" strike="noStrike" kern="1200" cap="none" spc="0" normalizeH="0" baseline="30000" noProof="0" dirty="0">
                    <a:ln>
                      <a:noFill/>
                    </a:ln>
                    <a:solidFill>
                      <a:srgbClr val="000000">
                        <a:lumMod val="85000"/>
                        <a:lumOff val="15000"/>
                      </a:srgbClr>
                    </a:solidFill>
                    <a:effectLst/>
                    <a:uLnTx/>
                    <a:uFillTx/>
                    <a:latin typeface="等线" panose="020F0502020204030204"/>
                    <a:ea typeface="+mn-ea"/>
                    <a:cs typeface="Arial" panose="020B0604020202020204" pitchFamily="34" charset="0"/>
                  </a:rPr>
                  <a:t>%</a:t>
                </a:r>
                <a:endParaRPr kumimoji="0" lang="en-US" sz="2000" b="0" i="0" u="none" strike="noStrike" kern="1200" cap="none" spc="0" normalizeH="0" baseline="30000" noProof="0" dirty="0">
                  <a:ln>
                    <a:noFill/>
                  </a:ln>
                  <a:solidFill>
                    <a:srgbClr val="000000">
                      <a:lumMod val="85000"/>
                      <a:lumOff val="15000"/>
                    </a:srgbClr>
                  </a:solidFill>
                  <a:effectLst/>
                  <a:uLnTx/>
                  <a:uFillTx/>
                  <a:latin typeface="等线" panose="020F0502020204030204"/>
                  <a:ea typeface="+mn-ea"/>
                  <a:cs typeface="Arial" panose="020B0604020202020204" pitchFamily="34" charset="0"/>
                </a:endParaRPr>
              </a:p>
            </p:txBody>
          </p:sp>
        </p:grpSp>
        <p:grpSp>
          <p:nvGrpSpPr>
            <p:cNvPr id="47" name="Group 112">
              <a:extLst>
                <a:ext uri="{FF2B5EF4-FFF2-40B4-BE49-F238E27FC236}">
                  <a16:creationId xmlns:a16="http://schemas.microsoft.com/office/drawing/2014/main" id="{C0DB7E76-5570-4022-8B5A-EDF23D7C434F}"/>
                </a:ext>
              </a:extLst>
            </p:cNvPr>
            <p:cNvGrpSpPr/>
            <p:nvPr/>
          </p:nvGrpSpPr>
          <p:grpSpPr>
            <a:xfrm>
              <a:off x="8740966" y="4470231"/>
              <a:ext cx="2629849" cy="1157340"/>
              <a:chOff x="7678371" y="1910085"/>
              <a:chExt cx="2629849" cy="1157340"/>
            </a:xfrm>
          </p:grpSpPr>
          <p:sp>
            <p:nvSpPr>
              <p:cNvPr id="48" name="TextBox 113">
                <a:extLst>
                  <a:ext uri="{FF2B5EF4-FFF2-40B4-BE49-F238E27FC236}">
                    <a16:creationId xmlns:a16="http://schemas.microsoft.com/office/drawing/2014/main" id="{E99C48AD-4439-4713-8659-01E3550DB2C9}"/>
                  </a:ext>
                </a:extLst>
              </p:cNvPr>
              <p:cNvSpPr txBox="1"/>
              <p:nvPr/>
            </p:nvSpPr>
            <p:spPr>
              <a:xfrm>
                <a:off x="7678372" y="2320754"/>
                <a:ext cx="2629848" cy="746671"/>
              </a:xfrm>
              <a:prstGeom prst="rect">
                <a:avLst/>
              </a:prstGeom>
              <a:noFill/>
            </p:spPr>
            <p:txBody>
              <a:bodyPr wrap="square" rtlCol="0">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A0A1A3"/>
                    </a:solidFill>
                    <a:effectLst/>
                    <a:uLnTx/>
                    <a:uFillTx/>
                    <a:latin typeface="等线" panose="020F0502020204030204"/>
                    <a:ea typeface="+mn-ea"/>
                    <a:cs typeface="Arial" panose="020B0604020202020204" pitchFamily="34" charset="0"/>
                  </a:rPr>
                  <a:t>A wonderful serenity has taken possession of my</a:t>
                </a:r>
              </a:p>
            </p:txBody>
          </p:sp>
          <p:sp>
            <p:nvSpPr>
              <p:cNvPr id="49" name="TextBox 114">
                <a:extLst>
                  <a:ext uri="{FF2B5EF4-FFF2-40B4-BE49-F238E27FC236}">
                    <a16:creationId xmlns:a16="http://schemas.microsoft.com/office/drawing/2014/main" id="{95D542DA-ACF7-4E01-A564-8DBA604CAEA8}"/>
                  </a:ext>
                </a:extLst>
              </p:cNvPr>
              <p:cNvSpPr txBox="1"/>
              <p:nvPr/>
            </p:nvSpPr>
            <p:spPr>
              <a:xfrm>
                <a:off x="7678371" y="1910085"/>
                <a:ext cx="2629849" cy="458076"/>
              </a:xfrm>
              <a:prstGeom prst="rect">
                <a:avLst/>
              </a:prstGeom>
              <a:noFill/>
            </p:spPr>
            <p:txBody>
              <a:bodyPr wrap="square" rtlCol="0">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lumMod val="85000"/>
                        <a:lumOff val="15000"/>
                      </a:srgbClr>
                    </a:solidFill>
                    <a:effectLst/>
                    <a:uLnTx/>
                    <a:uFillTx/>
                    <a:latin typeface="等线" panose="020F0502020204030204"/>
                    <a:ea typeface="+mn-ea"/>
                    <a:cs typeface="Arial" panose="020B0604020202020204" pitchFamily="34" charset="0"/>
                  </a:rPr>
                  <a:t>A wonderful serenity</a:t>
                </a:r>
              </a:p>
            </p:txBody>
          </p:sp>
        </p:grpSp>
      </p:grpSp>
      <p:grpSp>
        <p:nvGrpSpPr>
          <p:cNvPr id="52" name="Group 117">
            <a:extLst>
              <a:ext uri="{FF2B5EF4-FFF2-40B4-BE49-F238E27FC236}">
                <a16:creationId xmlns:a16="http://schemas.microsoft.com/office/drawing/2014/main" id="{76B94ED3-D1F3-4E6B-AA57-BD3CE71510D5}"/>
              </a:ext>
            </a:extLst>
          </p:cNvPr>
          <p:cNvGrpSpPr/>
          <p:nvPr/>
        </p:nvGrpSpPr>
        <p:grpSpPr>
          <a:xfrm>
            <a:off x="7947432" y="2447001"/>
            <a:ext cx="3723903" cy="1569661"/>
            <a:chOff x="6828617" y="4068259"/>
            <a:chExt cx="4542198" cy="1914580"/>
          </a:xfrm>
        </p:grpSpPr>
        <p:sp>
          <p:nvSpPr>
            <p:cNvPr id="53" name="Rectangle: Rounded Corners 5">
              <a:extLst>
                <a:ext uri="{FF2B5EF4-FFF2-40B4-BE49-F238E27FC236}">
                  <a16:creationId xmlns:a16="http://schemas.microsoft.com/office/drawing/2014/main" id="{365369CD-DDE4-499B-BD09-D291E218CD70}"/>
                </a:ext>
              </a:extLst>
            </p:cNvPr>
            <p:cNvSpPr/>
            <p:nvPr/>
          </p:nvSpPr>
          <p:spPr>
            <a:xfrm>
              <a:off x="6828617" y="4130199"/>
              <a:ext cx="4510450" cy="1790702"/>
            </a:xfrm>
            <a:prstGeom prst="roundRect">
              <a:avLst>
                <a:gd name="adj" fmla="val 13635"/>
              </a:avLst>
            </a:prstGeom>
            <a:solidFill>
              <a:schemeClr val="bg1"/>
            </a:solidFill>
            <a:ln>
              <a:noFill/>
            </a:ln>
            <a:effectLst>
              <a:outerShdw blurRad="647700" dist="254000" dir="5400000" sx="95000" sy="95000" algn="t" rotWithShape="0">
                <a:prstClr val="black">
                  <a:alpha val="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等线" panose="020F0502020204030204"/>
                <a:ea typeface="+mn-ea"/>
                <a:cs typeface="+mn-cs"/>
              </a:endParaRPr>
            </a:p>
          </p:txBody>
        </p:sp>
        <p:grpSp>
          <p:nvGrpSpPr>
            <p:cNvPr id="54" name="Group 119">
              <a:extLst>
                <a:ext uri="{FF2B5EF4-FFF2-40B4-BE49-F238E27FC236}">
                  <a16:creationId xmlns:a16="http://schemas.microsoft.com/office/drawing/2014/main" id="{BCB4F03E-703D-4A7D-9D17-5BD5A6FA2FD9}"/>
                </a:ext>
              </a:extLst>
            </p:cNvPr>
            <p:cNvGrpSpPr/>
            <p:nvPr/>
          </p:nvGrpSpPr>
          <p:grpSpPr>
            <a:xfrm>
              <a:off x="7006173" y="4068259"/>
              <a:ext cx="1565518" cy="1914580"/>
              <a:chOff x="7083182" y="2471710"/>
              <a:chExt cx="1565518" cy="1914580"/>
            </a:xfrm>
          </p:grpSpPr>
          <p:graphicFrame>
            <p:nvGraphicFramePr>
              <p:cNvPr id="58" name="Chart 127">
                <a:extLst>
                  <a:ext uri="{FF2B5EF4-FFF2-40B4-BE49-F238E27FC236}">
                    <a16:creationId xmlns:a16="http://schemas.microsoft.com/office/drawing/2014/main" id="{758B8186-3EE3-4C2D-A5AC-1F955BD89FBB}"/>
                  </a:ext>
                </a:extLst>
              </p:cNvPr>
              <p:cNvGraphicFramePr/>
              <p:nvPr/>
            </p:nvGraphicFramePr>
            <p:xfrm>
              <a:off x="7083182" y="2471710"/>
              <a:ext cx="1565518" cy="1914580"/>
            </p:xfrm>
            <a:graphic>
              <a:graphicData uri="http://schemas.openxmlformats.org/drawingml/2006/chart">
                <c:chart xmlns:c="http://schemas.openxmlformats.org/drawingml/2006/chart" xmlns:r="http://schemas.openxmlformats.org/officeDocument/2006/relationships" r:id="rId5"/>
              </a:graphicData>
            </a:graphic>
          </p:graphicFrame>
          <p:sp>
            <p:nvSpPr>
              <p:cNvPr id="59" name="TextBox 128">
                <a:extLst>
                  <a:ext uri="{FF2B5EF4-FFF2-40B4-BE49-F238E27FC236}">
                    <a16:creationId xmlns:a16="http://schemas.microsoft.com/office/drawing/2014/main" id="{6D4DC5DB-D9EC-44BC-AEC7-CDD03AD749B1}"/>
                  </a:ext>
                </a:extLst>
              </p:cNvPr>
              <p:cNvSpPr txBox="1"/>
              <p:nvPr/>
            </p:nvSpPr>
            <p:spPr>
              <a:xfrm>
                <a:off x="7215591" y="3184984"/>
                <a:ext cx="1300700" cy="4880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lumMod val="85000"/>
                        <a:lumOff val="15000"/>
                      </a:srgbClr>
                    </a:solidFill>
                    <a:effectLst/>
                    <a:uLnTx/>
                    <a:uFillTx/>
                    <a:latin typeface="等线" panose="020F0502020204030204"/>
                    <a:ea typeface="+mn-ea"/>
                    <a:cs typeface="Arial" panose="020B0604020202020204" pitchFamily="34" charset="0"/>
                  </a:rPr>
                  <a:t>78</a:t>
                </a:r>
                <a:r>
                  <a:rPr kumimoji="0" lang="en-US" sz="1800" b="0" i="0" u="none" strike="noStrike" kern="1200" cap="none" spc="0" normalizeH="0" baseline="30000" noProof="0" dirty="0">
                    <a:ln>
                      <a:noFill/>
                    </a:ln>
                    <a:solidFill>
                      <a:srgbClr val="000000">
                        <a:lumMod val="85000"/>
                        <a:lumOff val="15000"/>
                      </a:srgbClr>
                    </a:solidFill>
                    <a:effectLst/>
                    <a:uLnTx/>
                    <a:uFillTx/>
                    <a:latin typeface="等线" panose="020F0502020204030204"/>
                    <a:ea typeface="+mn-ea"/>
                    <a:cs typeface="Arial" panose="020B0604020202020204" pitchFamily="34" charset="0"/>
                  </a:rPr>
                  <a:t>%</a:t>
                </a:r>
                <a:endParaRPr kumimoji="0" lang="en-US" sz="2000" b="0" i="0" u="none" strike="noStrike" kern="1200" cap="none" spc="0" normalizeH="0" baseline="30000" noProof="0" dirty="0">
                  <a:ln>
                    <a:noFill/>
                  </a:ln>
                  <a:solidFill>
                    <a:srgbClr val="000000">
                      <a:lumMod val="85000"/>
                      <a:lumOff val="15000"/>
                    </a:srgbClr>
                  </a:solidFill>
                  <a:effectLst/>
                  <a:uLnTx/>
                  <a:uFillTx/>
                  <a:latin typeface="等线" panose="020F0502020204030204"/>
                  <a:ea typeface="+mn-ea"/>
                  <a:cs typeface="Arial" panose="020B0604020202020204" pitchFamily="34" charset="0"/>
                </a:endParaRPr>
              </a:p>
            </p:txBody>
          </p:sp>
        </p:grpSp>
        <p:grpSp>
          <p:nvGrpSpPr>
            <p:cNvPr id="55" name="Group 120">
              <a:extLst>
                <a:ext uri="{FF2B5EF4-FFF2-40B4-BE49-F238E27FC236}">
                  <a16:creationId xmlns:a16="http://schemas.microsoft.com/office/drawing/2014/main" id="{E2286057-38FC-40EB-8E0C-2F0C1DC07268}"/>
                </a:ext>
              </a:extLst>
            </p:cNvPr>
            <p:cNvGrpSpPr/>
            <p:nvPr/>
          </p:nvGrpSpPr>
          <p:grpSpPr>
            <a:xfrm>
              <a:off x="8740966" y="4470231"/>
              <a:ext cx="2629849" cy="1157340"/>
              <a:chOff x="7678371" y="1910085"/>
              <a:chExt cx="2629849" cy="1157340"/>
            </a:xfrm>
          </p:grpSpPr>
          <p:sp>
            <p:nvSpPr>
              <p:cNvPr id="56" name="TextBox 121">
                <a:extLst>
                  <a:ext uri="{FF2B5EF4-FFF2-40B4-BE49-F238E27FC236}">
                    <a16:creationId xmlns:a16="http://schemas.microsoft.com/office/drawing/2014/main" id="{ED764558-C29D-4C5C-A31B-BA4F73190C5C}"/>
                  </a:ext>
                </a:extLst>
              </p:cNvPr>
              <p:cNvSpPr txBox="1"/>
              <p:nvPr/>
            </p:nvSpPr>
            <p:spPr>
              <a:xfrm>
                <a:off x="7678372" y="2320754"/>
                <a:ext cx="2629848" cy="746671"/>
              </a:xfrm>
              <a:prstGeom prst="rect">
                <a:avLst/>
              </a:prstGeom>
              <a:noFill/>
            </p:spPr>
            <p:txBody>
              <a:bodyPr wrap="square" rtlCol="0">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A0A1A3"/>
                    </a:solidFill>
                    <a:effectLst/>
                    <a:uLnTx/>
                    <a:uFillTx/>
                    <a:latin typeface="等线" panose="020F0502020204030204"/>
                    <a:ea typeface="+mn-ea"/>
                    <a:cs typeface="Arial" panose="020B0604020202020204" pitchFamily="34" charset="0"/>
                  </a:rPr>
                  <a:t>A wonderful serenity has taken possession of my</a:t>
                </a:r>
              </a:p>
            </p:txBody>
          </p:sp>
          <p:sp>
            <p:nvSpPr>
              <p:cNvPr id="57" name="TextBox 126">
                <a:extLst>
                  <a:ext uri="{FF2B5EF4-FFF2-40B4-BE49-F238E27FC236}">
                    <a16:creationId xmlns:a16="http://schemas.microsoft.com/office/drawing/2014/main" id="{EF5467AB-A0B4-4F2E-A545-139E36E0E54B}"/>
                  </a:ext>
                </a:extLst>
              </p:cNvPr>
              <p:cNvSpPr txBox="1"/>
              <p:nvPr/>
            </p:nvSpPr>
            <p:spPr>
              <a:xfrm>
                <a:off x="7678371" y="1910085"/>
                <a:ext cx="2629849" cy="458076"/>
              </a:xfrm>
              <a:prstGeom prst="rect">
                <a:avLst/>
              </a:prstGeom>
              <a:noFill/>
            </p:spPr>
            <p:txBody>
              <a:bodyPr wrap="square" rtlCol="0">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lumMod val="85000"/>
                        <a:lumOff val="15000"/>
                      </a:srgbClr>
                    </a:solidFill>
                    <a:effectLst/>
                    <a:uLnTx/>
                    <a:uFillTx/>
                    <a:latin typeface="等线" panose="020F0502020204030204"/>
                    <a:ea typeface="+mn-ea"/>
                    <a:cs typeface="Arial" panose="020B0604020202020204" pitchFamily="34" charset="0"/>
                  </a:rPr>
                  <a:t>A wonderful serenity</a:t>
                </a:r>
              </a:p>
            </p:txBody>
          </p:sp>
        </p:grpSp>
      </p:grpSp>
      <p:grpSp>
        <p:nvGrpSpPr>
          <p:cNvPr id="60" name="Group 129">
            <a:extLst>
              <a:ext uri="{FF2B5EF4-FFF2-40B4-BE49-F238E27FC236}">
                <a16:creationId xmlns:a16="http://schemas.microsoft.com/office/drawing/2014/main" id="{F65111F7-FB45-4833-B8B0-C478A000A33A}"/>
              </a:ext>
            </a:extLst>
          </p:cNvPr>
          <p:cNvGrpSpPr/>
          <p:nvPr/>
        </p:nvGrpSpPr>
        <p:grpSpPr>
          <a:xfrm>
            <a:off x="4045584" y="4180252"/>
            <a:ext cx="3723903" cy="1569661"/>
            <a:chOff x="6828617" y="4068259"/>
            <a:chExt cx="4542198" cy="1914580"/>
          </a:xfrm>
        </p:grpSpPr>
        <p:sp>
          <p:nvSpPr>
            <p:cNvPr id="61" name="Rectangle: Rounded Corners 5">
              <a:extLst>
                <a:ext uri="{FF2B5EF4-FFF2-40B4-BE49-F238E27FC236}">
                  <a16:creationId xmlns:a16="http://schemas.microsoft.com/office/drawing/2014/main" id="{F124579E-1ADC-4E61-9E4C-BF905609385E}"/>
                </a:ext>
              </a:extLst>
            </p:cNvPr>
            <p:cNvSpPr/>
            <p:nvPr/>
          </p:nvSpPr>
          <p:spPr>
            <a:xfrm>
              <a:off x="6828617" y="4130199"/>
              <a:ext cx="4510450" cy="1790702"/>
            </a:xfrm>
            <a:prstGeom prst="roundRect">
              <a:avLst>
                <a:gd name="adj" fmla="val 13635"/>
              </a:avLst>
            </a:prstGeom>
            <a:solidFill>
              <a:schemeClr val="accent6"/>
            </a:solidFill>
            <a:ln>
              <a:noFill/>
            </a:ln>
            <a:effectLst>
              <a:outerShdw blurRad="647700" dist="254000" dir="5400000" sx="95000" sy="95000" algn="t" rotWithShape="0">
                <a:prstClr val="black">
                  <a:alpha val="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等线" panose="020F0502020204030204"/>
                <a:ea typeface="+mn-ea"/>
                <a:cs typeface="+mn-cs"/>
              </a:endParaRPr>
            </a:p>
          </p:txBody>
        </p:sp>
        <p:grpSp>
          <p:nvGrpSpPr>
            <p:cNvPr id="62" name="Group 131">
              <a:extLst>
                <a:ext uri="{FF2B5EF4-FFF2-40B4-BE49-F238E27FC236}">
                  <a16:creationId xmlns:a16="http://schemas.microsoft.com/office/drawing/2014/main" id="{C37DF607-8283-4F08-8CD7-B0C06EE6A4D5}"/>
                </a:ext>
              </a:extLst>
            </p:cNvPr>
            <p:cNvGrpSpPr/>
            <p:nvPr/>
          </p:nvGrpSpPr>
          <p:grpSpPr>
            <a:xfrm>
              <a:off x="7006173" y="4068259"/>
              <a:ext cx="1565518" cy="1914580"/>
              <a:chOff x="7083182" y="2471710"/>
              <a:chExt cx="1565518" cy="1914580"/>
            </a:xfrm>
          </p:grpSpPr>
          <p:graphicFrame>
            <p:nvGraphicFramePr>
              <p:cNvPr id="66" name="Chart 135">
                <a:extLst>
                  <a:ext uri="{FF2B5EF4-FFF2-40B4-BE49-F238E27FC236}">
                    <a16:creationId xmlns:a16="http://schemas.microsoft.com/office/drawing/2014/main" id="{D74F5A2E-6148-469F-900A-C062B4298D3F}"/>
                  </a:ext>
                </a:extLst>
              </p:cNvPr>
              <p:cNvGraphicFramePr/>
              <p:nvPr/>
            </p:nvGraphicFramePr>
            <p:xfrm>
              <a:off x="7083182" y="2471710"/>
              <a:ext cx="1565518" cy="1914580"/>
            </p:xfrm>
            <a:graphic>
              <a:graphicData uri="http://schemas.openxmlformats.org/drawingml/2006/chart">
                <c:chart xmlns:c="http://schemas.openxmlformats.org/drawingml/2006/chart" xmlns:r="http://schemas.openxmlformats.org/officeDocument/2006/relationships" r:id="rId6"/>
              </a:graphicData>
            </a:graphic>
          </p:graphicFrame>
          <p:sp>
            <p:nvSpPr>
              <p:cNvPr id="67" name="TextBox 136">
                <a:extLst>
                  <a:ext uri="{FF2B5EF4-FFF2-40B4-BE49-F238E27FC236}">
                    <a16:creationId xmlns:a16="http://schemas.microsoft.com/office/drawing/2014/main" id="{DE589024-0E06-4A36-877E-37849EEF4505}"/>
                  </a:ext>
                </a:extLst>
              </p:cNvPr>
              <p:cNvSpPr txBox="1"/>
              <p:nvPr/>
            </p:nvSpPr>
            <p:spPr>
              <a:xfrm>
                <a:off x="7215591" y="3184984"/>
                <a:ext cx="1300700" cy="4880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等线" panose="020F0502020204030204"/>
                    <a:ea typeface="+mn-ea"/>
                    <a:cs typeface="Arial" panose="020B0604020202020204" pitchFamily="34" charset="0"/>
                  </a:rPr>
                  <a:t>78</a:t>
                </a:r>
                <a:r>
                  <a:rPr kumimoji="0" lang="en-US" sz="1800" b="0" i="0" u="none" strike="noStrike" kern="1200" cap="none" spc="0" normalizeH="0" baseline="30000" noProof="0" dirty="0">
                    <a:ln>
                      <a:noFill/>
                    </a:ln>
                    <a:solidFill>
                      <a:srgbClr val="FFFFFF"/>
                    </a:solidFill>
                    <a:effectLst/>
                    <a:uLnTx/>
                    <a:uFillTx/>
                    <a:latin typeface="等线" panose="020F0502020204030204"/>
                    <a:ea typeface="+mn-ea"/>
                    <a:cs typeface="Arial" panose="020B0604020202020204" pitchFamily="34" charset="0"/>
                  </a:rPr>
                  <a:t>%</a:t>
                </a:r>
                <a:endParaRPr kumimoji="0" lang="en-US" sz="2000" b="0" i="0" u="none" strike="noStrike" kern="1200" cap="none" spc="0" normalizeH="0" baseline="30000" noProof="0" dirty="0">
                  <a:ln>
                    <a:noFill/>
                  </a:ln>
                  <a:solidFill>
                    <a:srgbClr val="FFFFFF"/>
                  </a:solidFill>
                  <a:effectLst/>
                  <a:uLnTx/>
                  <a:uFillTx/>
                  <a:latin typeface="等线" panose="020F0502020204030204"/>
                  <a:ea typeface="+mn-ea"/>
                  <a:cs typeface="Arial" panose="020B0604020202020204" pitchFamily="34" charset="0"/>
                </a:endParaRPr>
              </a:p>
            </p:txBody>
          </p:sp>
        </p:grpSp>
        <p:grpSp>
          <p:nvGrpSpPr>
            <p:cNvPr id="63" name="Group 132">
              <a:extLst>
                <a:ext uri="{FF2B5EF4-FFF2-40B4-BE49-F238E27FC236}">
                  <a16:creationId xmlns:a16="http://schemas.microsoft.com/office/drawing/2014/main" id="{D6FA05C6-8758-406E-9B33-156B9BF8D9CC}"/>
                </a:ext>
              </a:extLst>
            </p:cNvPr>
            <p:cNvGrpSpPr/>
            <p:nvPr/>
          </p:nvGrpSpPr>
          <p:grpSpPr>
            <a:xfrm>
              <a:off x="8740966" y="4470231"/>
              <a:ext cx="2629849" cy="1157340"/>
              <a:chOff x="7678371" y="1910085"/>
              <a:chExt cx="2629849" cy="1157340"/>
            </a:xfrm>
          </p:grpSpPr>
          <p:sp>
            <p:nvSpPr>
              <p:cNvPr id="64" name="TextBox 133">
                <a:extLst>
                  <a:ext uri="{FF2B5EF4-FFF2-40B4-BE49-F238E27FC236}">
                    <a16:creationId xmlns:a16="http://schemas.microsoft.com/office/drawing/2014/main" id="{4FB22431-A8C9-415B-9303-C24A625585DD}"/>
                  </a:ext>
                </a:extLst>
              </p:cNvPr>
              <p:cNvSpPr txBox="1"/>
              <p:nvPr/>
            </p:nvSpPr>
            <p:spPr>
              <a:xfrm>
                <a:off x="7678372" y="2320754"/>
                <a:ext cx="2629848" cy="746671"/>
              </a:xfrm>
              <a:prstGeom prst="rect">
                <a:avLst/>
              </a:prstGeom>
              <a:noFill/>
            </p:spPr>
            <p:txBody>
              <a:bodyPr wrap="square" rtlCol="0">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等线" panose="020F0502020204030204"/>
                    <a:ea typeface="+mn-ea"/>
                    <a:cs typeface="Arial" panose="020B0604020202020204" pitchFamily="34" charset="0"/>
                  </a:rPr>
                  <a:t>A wonderful serenity has taken possession of my</a:t>
                </a:r>
              </a:p>
            </p:txBody>
          </p:sp>
          <p:sp>
            <p:nvSpPr>
              <p:cNvPr id="65" name="TextBox 134">
                <a:extLst>
                  <a:ext uri="{FF2B5EF4-FFF2-40B4-BE49-F238E27FC236}">
                    <a16:creationId xmlns:a16="http://schemas.microsoft.com/office/drawing/2014/main" id="{2799CA81-FB56-47B7-9EBB-C0C3A901D6F9}"/>
                  </a:ext>
                </a:extLst>
              </p:cNvPr>
              <p:cNvSpPr txBox="1"/>
              <p:nvPr/>
            </p:nvSpPr>
            <p:spPr>
              <a:xfrm>
                <a:off x="7678371" y="1910085"/>
                <a:ext cx="2629849" cy="458076"/>
              </a:xfrm>
              <a:prstGeom prst="rect">
                <a:avLst/>
              </a:prstGeom>
              <a:noFill/>
            </p:spPr>
            <p:txBody>
              <a:bodyPr wrap="square" rtlCol="0">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等线" panose="020F0502020204030204"/>
                    <a:ea typeface="+mn-ea"/>
                    <a:cs typeface="Arial" panose="020B0604020202020204" pitchFamily="34" charset="0"/>
                  </a:rPr>
                  <a:t>A wonderful serenity</a:t>
                </a:r>
              </a:p>
            </p:txBody>
          </p:sp>
        </p:grpSp>
      </p:grpSp>
      <p:grpSp>
        <p:nvGrpSpPr>
          <p:cNvPr id="68" name="Group 137">
            <a:extLst>
              <a:ext uri="{FF2B5EF4-FFF2-40B4-BE49-F238E27FC236}">
                <a16:creationId xmlns:a16="http://schemas.microsoft.com/office/drawing/2014/main" id="{FA9288F9-75DC-4AAE-9093-3F2274086AD9}"/>
              </a:ext>
            </a:extLst>
          </p:cNvPr>
          <p:cNvGrpSpPr/>
          <p:nvPr/>
        </p:nvGrpSpPr>
        <p:grpSpPr>
          <a:xfrm>
            <a:off x="7947432" y="4180252"/>
            <a:ext cx="3723903" cy="1569661"/>
            <a:chOff x="6828617" y="4068259"/>
            <a:chExt cx="4542198" cy="1914580"/>
          </a:xfrm>
        </p:grpSpPr>
        <p:sp>
          <p:nvSpPr>
            <p:cNvPr id="69" name="Rectangle: Rounded Corners 5">
              <a:extLst>
                <a:ext uri="{FF2B5EF4-FFF2-40B4-BE49-F238E27FC236}">
                  <a16:creationId xmlns:a16="http://schemas.microsoft.com/office/drawing/2014/main" id="{A3C3304B-3A1D-4042-BF55-51AC2D3BA91E}"/>
                </a:ext>
              </a:extLst>
            </p:cNvPr>
            <p:cNvSpPr/>
            <p:nvPr/>
          </p:nvSpPr>
          <p:spPr>
            <a:xfrm>
              <a:off x="6828617" y="4130199"/>
              <a:ext cx="4510450" cy="1790702"/>
            </a:xfrm>
            <a:prstGeom prst="roundRect">
              <a:avLst>
                <a:gd name="adj" fmla="val 13635"/>
              </a:avLst>
            </a:prstGeom>
            <a:solidFill>
              <a:schemeClr val="bg1"/>
            </a:solidFill>
            <a:ln>
              <a:noFill/>
            </a:ln>
            <a:effectLst>
              <a:outerShdw blurRad="647700" dist="254000" dir="5400000" sx="95000" sy="95000" algn="t" rotWithShape="0">
                <a:prstClr val="black">
                  <a:alpha val="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等线" panose="020F0502020204030204"/>
                <a:ea typeface="+mn-ea"/>
                <a:cs typeface="+mn-cs"/>
              </a:endParaRPr>
            </a:p>
          </p:txBody>
        </p:sp>
        <p:grpSp>
          <p:nvGrpSpPr>
            <p:cNvPr id="70" name="Group 139">
              <a:extLst>
                <a:ext uri="{FF2B5EF4-FFF2-40B4-BE49-F238E27FC236}">
                  <a16:creationId xmlns:a16="http://schemas.microsoft.com/office/drawing/2014/main" id="{BF075379-7530-4F2C-9F03-3EB599C2C57D}"/>
                </a:ext>
              </a:extLst>
            </p:cNvPr>
            <p:cNvGrpSpPr/>
            <p:nvPr/>
          </p:nvGrpSpPr>
          <p:grpSpPr>
            <a:xfrm>
              <a:off x="7006173" y="4068259"/>
              <a:ext cx="1565518" cy="1914580"/>
              <a:chOff x="7083182" y="2471710"/>
              <a:chExt cx="1565518" cy="1914580"/>
            </a:xfrm>
          </p:grpSpPr>
          <p:graphicFrame>
            <p:nvGraphicFramePr>
              <p:cNvPr id="74" name="Chart 143">
                <a:extLst>
                  <a:ext uri="{FF2B5EF4-FFF2-40B4-BE49-F238E27FC236}">
                    <a16:creationId xmlns:a16="http://schemas.microsoft.com/office/drawing/2014/main" id="{35CD9058-967A-4A4F-93DB-0D1568B20836}"/>
                  </a:ext>
                </a:extLst>
              </p:cNvPr>
              <p:cNvGraphicFramePr/>
              <p:nvPr/>
            </p:nvGraphicFramePr>
            <p:xfrm>
              <a:off x="7083182" y="2471710"/>
              <a:ext cx="1565518" cy="1914580"/>
            </p:xfrm>
            <a:graphic>
              <a:graphicData uri="http://schemas.openxmlformats.org/drawingml/2006/chart">
                <c:chart xmlns:c="http://schemas.openxmlformats.org/drawingml/2006/chart" xmlns:r="http://schemas.openxmlformats.org/officeDocument/2006/relationships" r:id="rId7"/>
              </a:graphicData>
            </a:graphic>
          </p:graphicFrame>
          <p:sp>
            <p:nvSpPr>
              <p:cNvPr id="75" name="TextBox 144">
                <a:extLst>
                  <a:ext uri="{FF2B5EF4-FFF2-40B4-BE49-F238E27FC236}">
                    <a16:creationId xmlns:a16="http://schemas.microsoft.com/office/drawing/2014/main" id="{A87DA34F-37E9-4018-AA8B-7FB4F2A44C51}"/>
                  </a:ext>
                </a:extLst>
              </p:cNvPr>
              <p:cNvSpPr txBox="1"/>
              <p:nvPr/>
            </p:nvSpPr>
            <p:spPr>
              <a:xfrm>
                <a:off x="7215591" y="3184984"/>
                <a:ext cx="1300700" cy="4880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lumMod val="85000"/>
                        <a:lumOff val="15000"/>
                      </a:srgbClr>
                    </a:solidFill>
                    <a:effectLst/>
                    <a:uLnTx/>
                    <a:uFillTx/>
                    <a:latin typeface="等线" panose="020F0502020204030204"/>
                    <a:ea typeface="+mn-ea"/>
                    <a:cs typeface="Arial" panose="020B0604020202020204" pitchFamily="34" charset="0"/>
                  </a:rPr>
                  <a:t>78</a:t>
                </a:r>
                <a:r>
                  <a:rPr kumimoji="0" lang="en-US" sz="1800" b="0" i="0" u="none" strike="noStrike" kern="1200" cap="none" spc="0" normalizeH="0" baseline="30000" noProof="0" dirty="0">
                    <a:ln>
                      <a:noFill/>
                    </a:ln>
                    <a:solidFill>
                      <a:srgbClr val="000000">
                        <a:lumMod val="85000"/>
                        <a:lumOff val="15000"/>
                      </a:srgbClr>
                    </a:solidFill>
                    <a:effectLst/>
                    <a:uLnTx/>
                    <a:uFillTx/>
                    <a:latin typeface="等线" panose="020F0502020204030204"/>
                    <a:ea typeface="+mn-ea"/>
                    <a:cs typeface="Arial" panose="020B0604020202020204" pitchFamily="34" charset="0"/>
                  </a:rPr>
                  <a:t>%</a:t>
                </a:r>
                <a:endParaRPr kumimoji="0" lang="en-US" sz="2000" b="0" i="0" u="none" strike="noStrike" kern="1200" cap="none" spc="0" normalizeH="0" baseline="30000" noProof="0" dirty="0">
                  <a:ln>
                    <a:noFill/>
                  </a:ln>
                  <a:solidFill>
                    <a:srgbClr val="000000">
                      <a:lumMod val="85000"/>
                      <a:lumOff val="15000"/>
                    </a:srgbClr>
                  </a:solidFill>
                  <a:effectLst/>
                  <a:uLnTx/>
                  <a:uFillTx/>
                  <a:latin typeface="等线" panose="020F0502020204030204"/>
                  <a:ea typeface="+mn-ea"/>
                  <a:cs typeface="Arial" panose="020B0604020202020204" pitchFamily="34" charset="0"/>
                </a:endParaRPr>
              </a:p>
            </p:txBody>
          </p:sp>
        </p:grpSp>
        <p:grpSp>
          <p:nvGrpSpPr>
            <p:cNvPr id="71" name="Group 140">
              <a:extLst>
                <a:ext uri="{FF2B5EF4-FFF2-40B4-BE49-F238E27FC236}">
                  <a16:creationId xmlns:a16="http://schemas.microsoft.com/office/drawing/2014/main" id="{4F93006B-C673-4DD8-A870-D8ABF74881AE}"/>
                </a:ext>
              </a:extLst>
            </p:cNvPr>
            <p:cNvGrpSpPr/>
            <p:nvPr/>
          </p:nvGrpSpPr>
          <p:grpSpPr>
            <a:xfrm>
              <a:off x="8740966" y="4470231"/>
              <a:ext cx="2629849" cy="1157340"/>
              <a:chOff x="7678371" y="1910085"/>
              <a:chExt cx="2629849" cy="1157340"/>
            </a:xfrm>
          </p:grpSpPr>
          <p:sp>
            <p:nvSpPr>
              <p:cNvPr id="72" name="TextBox 141">
                <a:extLst>
                  <a:ext uri="{FF2B5EF4-FFF2-40B4-BE49-F238E27FC236}">
                    <a16:creationId xmlns:a16="http://schemas.microsoft.com/office/drawing/2014/main" id="{453F23E1-17AF-4C02-9486-F546602ED8E7}"/>
                  </a:ext>
                </a:extLst>
              </p:cNvPr>
              <p:cNvSpPr txBox="1"/>
              <p:nvPr/>
            </p:nvSpPr>
            <p:spPr>
              <a:xfrm>
                <a:off x="7678372" y="2320754"/>
                <a:ext cx="2629848" cy="746671"/>
              </a:xfrm>
              <a:prstGeom prst="rect">
                <a:avLst/>
              </a:prstGeom>
              <a:noFill/>
            </p:spPr>
            <p:txBody>
              <a:bodyPr wrap="square" rtlCol="0">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A0A1A3"/>
                    </a:solidFill>
                    <a:effectLst/>
                    <a:uLnTx/>
                    <a:uFillTx/>
                    <a:latin typeface="等线" panose="020F0502020204030204"/>
                    <a:ea typeface="+mn-ea"/>
                    <a:cs typeface="Arial" panose="020B0604020202020204" pitchFamily="34" charset="0"/>
                  </a:rPr>
                  <a:t>A wonderful serenity has taken possession of my</a:t>
                </a:r>
              </a:p>
            </p:txBody>
          </p:sp>
          <p:sp>
            <p:nvSpPr>
              <p:cNvPr id="73" name="TextBox 142">
                <a:extLst>
                  <a:ext uri="{FF2B5EF4-FFF2-40B4-BE49-F238E27FC236}">
                    <a16:creationId xmlns:a16="http://schemas.microsoft.com/office/drawing/2014/main" id="{5B165116-1C83-4BE7-8ED5-6BC0876ADCA8}"/>
                  </a:ext>
                </a:extLst>
              </p:cNvPr>
              <p:cNvSpPr txBox="1"/>
              <p:nvPr/>
            </p:nvSpPr>
            <p:spPr>
              <a:xfrm>
                <a:off x="7678371" y="1910085"/>
                <a:ext cx="2629849" cy="458076"/>
              </a:xfrm>
              <a:prstGeom prst="rect">
                <a:avLst/>
              </a:prstGeom>
              <a:noFill/>
            </p:spPr>
            <p:txBody>
              <a:bodyPr wrap="square" rtlCol="0">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lumMod val="85000"/>
                        <a:lumOff val="15000"/>
                      </a:srgbClr>
                    </a:solidFill>
                    <a:effectLst/>
                    <a:uLnTx/>
                    <a:uFillTx/>
                    <a:latin typeface="等线" panose="020F0502020204030204"/>
                    <a:ea typeface="+mn-ea"/>
                    <a:cs typeface="Arial" panose="020B0604020202020204" pitchFamily="34" charset="0"/>
                  </a:rPr>
                  <a:t>A wonderful serenity</a:t>
                </a:r>
              </a:p>
            </p:txBody>
          </p:sp>
        </p:grpSp>
      </p:grpSp>
      <p:sp>
        <p:nvSpPr>
          <p:cNvPr id="76" name="TextBox 145">
            <a:extLst>
              <a:ext uri="{FF2B5EF4-FFF2-40B4-BE49-F238E27FC236}">
                <a16:creationId xmlns:a16="http://schemas.microsoft.com/office/drawing/2014/main" id="{D6E40611-03C7-4B07-920F-880373E35664}"/>
              </a:ext>
            </a:extLst>
          </p:cNvPr>
          <p:cNvSpPr txBox="1"/>
          <p:nvPr/>
        </p:nvSpPr>
        <p:spPr>
          <a:xfrm>
            <a:off x="4045583" y="1407268"/>
            <a:ext cx="7115357" cy="70788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0" b="1" i="0" u="none" strike="noStrike" kern="1200" cap="none" spc="0" normalizeH="0" baseline="0" noProof="0" dirty="0">
                <a:ln>
                  <a:noFill/>
                </a:ln>
                <a:solidFill>
                  <a:srgbClr val="000000">
                    <a:lumMod val="85000"/>
                    <a:lumOff val="15000"/>
                  </a:srgbClr>
                </a:solidFill>
                <a:effectLst/>
                <a:uLnTx/>
                <a:uFillTx/>
                <a:latin typeface="等线 Light" panose="020F0302020204030204"/>
                <a:ea typeface="+mn-ea"/>
                <a:cs typeface="Arial" panose="020B0604020202020204" pitchFamily="34" charset="0"/>
              </a:rPr>
              <a:t>Your Title Text Goes Here</a:t>
            </a:r>
          </a:p>
        </p:txBody>
      </p:sp>
      <p:grpSp>
        <p:nvGrpSpPr>
          <p:cNvPr id="77" name="Group 146">
            <a:extLst>
              <a:ext uri="{FF2B5EF4-FFF2-40B4-BE49-F238E27FC236}">
                <a16:creationId xmlns:a16="http://schemas.microsoft.com/office/drawing/2014/main" id="{AE3FBE05-944B-4B15-B4AF-E1F3A4B2B581}"/>
              </a:ext>
            </a:extLst>
          </p:cNvPr>
          <p:cNvGrpSpPr/>
          <p:nvPr/>
        </p:nvGrpSpPr>
        <p:grpSpPr>
          <a:xfrm>
            <a:off x="2117075" y="5574383"/>
            <a:ext cx="834566" cy="834562"/>
            <a:chOff x="1276174" y="4407836"/>
            <a:chExt cx="697012" cy="697010"/>
          </a:xfrm>
        </p:grpSpPr>
        <p:sp>
          <p:nvSpPr>
            <p:cNvPr id="78" name="Oval 147">
              <a:extLst>
                <a:ext uri="{FF2B5EF4-FFF2-40B4-BE49-F238E27FC236}">
                  <a16:creationId xmlns:a16="http://schemas.microsoft.com/office/drawing/2014/main" id="{280ACBD0-A89F-497E-8AC5-1335AAF1FABA}"/>
                </a:ext>
              </a:extLst>
            </p:cNvPr>
            <p:cNvSpPr/>
            <p:nvPr/>
          </p:nvSpPr>
          <p:spPr>
            <a:xfrm>
              <a:off x="1276174" y="4407836"/>
              <a:ext cx="697012" cy="697010"/>
            </a:xfrm>
            <a:prstGeom prst="ellipse">
              <a:avLst/>
            </a:prstGeom>
            <a:solidFill>
              <a:schemeClr val="bg1"/>
            </a:solidFill>
            <a:ln>
              <a:noFill/>
            </a:ln>
            <a:effectLst>
              <a:outerShdw blurRad="838200" dist="381000" dir="5400000" sx="95000" sy="95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79" name="Rectangle 148">
              <a:extLst>
                <a:ext uri="{FF2B5EF4-FFF2-40B4-BE49-F238E27FC236}">
                  <a16:creationId xmlns:a16="http://schemas.microsoft.com/office/drawing/2014/main" id="{4C2C2FA9-FA20-48D4-938E-F511AEFC6DD2}"/>
                </a:ext>
              </a:extLst>
            </p:cNvPr>
            <p:cNvSpPr/>
            <p:nvPr/>
          </p:nvSpPr>
          <p:spPr>
            <a:xfrm>
              <a:off x="1444607" y="4576268"/>
              <a:ext cx="360146" cy="360144"/>
            </a:xfrm>
            <a:prstGeom prst="rect">
              <a:avLst/>
            </a:prstGeom>
            <a:blipFill>
              <a:blip r:embed="rId8">
                <a:duotone>
                  <a:schemeClr val="accent3">
                    <a:shade val="45000"/>
                    <a:satMod val="135000"/>
                  </a:schemeClr>
                  <a:prstClr val="white"/>
                </a:duotone>
                <a:extLst>
                  <a:ext uri="{BEBA8EAE-BF5A-486C-A8C5-ECC9F3942E4B}">
                    <a14:imgProps xmlns:a14="http://schemas.microsoft.com/office/drawing/2010/main">
                      <a14:imgLayer r:embed="rId9">
                        <a14:imgEffect>
                          <a14:artisticPhotocopy/>
                        </a14:imgEffect>
                        <a14:imgEffect>
                          <a14:brightnessContrast bright="-100000" contrast="-70000"/>
                        </a14:imgEffect>
                      </a14:imgLayer>
                    </a14:imgProps>
                  </a:ext>
                </a:extLst>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等线" panose="020F0502020204030204"/>
                <a:ea typeface="+mn-ea"/>
                <a:cs typeface="+mn-cs"/>
              </a:endParaRPr>
            </a:p>
          </p:txBody>
        </p:sp>
      </p:grpSp>
    </p:spTree>
    <p:extLst>
      <p:ext uri="{BB962C8B-B14F-4D97-AF65-F5344CB8AC3E}">
        <p14:creationId xmlns:p14="http://schemas.microsoft.com/office/powerpoint/2010/main" val="3302603624"/>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75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anim calcmode="lin" valueType="num">
                                      <p:cBhvr>
                                        <p:cTn id="8" dur="500" fill="hold"/>
                                        <p:tgtEl>
                                          <p:spTgt spid="3"/>
                                        </p:tgtEl>
                                        <p:attrNameLst>
                                          <p:attrName>ppt_x</p:attrName>
                                        </p:attrNameLst>
                                      </p:cBhvr>
                                      <p:tavLst>
                                        <p:tav tm="0">
                                          <p:val>
                                            <p:strVal val="#ppt_x"/>
                                          </p:val>
                                        </p:tav>
                                        <p:tav tm="100000">
                                          <p:val>
                                            <p:strVal val="#ppt_x"/>
                                          </p:val>
                                        </p:tav>
                                      </p:tavLst>
                                    </p:anim>
                                    <p:anim calcmode="lin" valueType="num">
                                      <p:cBhvr>
                                        <p:cTn id="9" dur="500" fill="hold"/>
                                        <p:tgtEl>
                                          <p:spTgt spid="3"/>
                                        </p:tgtEl>
                                        <p:attrNameLst>
                                          <p:attrName>ppt_y</p:attrName>
                                        </p:attrNameLst>
                                      </p:cBhvr>
                                      <p:tavLst>
                                        <p:tav tm="0">
                                          <p:val>
                                            <p:strVal val="#ppt_y+.1"/>
                                          </p:val>
                                        </p:tav>
                                        <p:tav tm="100000">
                                          <p:val>
                                            <p:strVal val="#ppt_y"/>
                                          </p:val>
                                        </p:tav>
                                      </p:tavLst>
                                    </p:anim>
                                  </p:childTnLst>
                                </p:cTn>
                              </p:par>
                              <p:par>
                                <p:cTn id="10" presetID="18" presetClass="entr" presetSubtype="3" fill="hold" grpId="0" nodeType="withEffect">
                                  <p:stCondLst>
                                    <p:cond delay="500"/>
                                  </p:stCondLst>
                                  <p:childTnLst>
                                    <p:set>
                                      <p:cBhvr>
                                        <p:cTn id="11" dur="1" fill="hold">
                                          <p:stCondLst>
                                            <p:cond delay="0"/>
                                          </p:stCondLst>
                                        </p:cTn>
                                        <p:tgtEl>
                                          <p:spTgt spid="2"/>
                                        </p:tgtEl>
                                        <p:attrNameLst>
                                          <p:attrName>style.visibility</p:attrName>
                                        </p:attrNameLst>
                                      </p:cBhvr>
                                      <p:to>
                                        <p:strVal val="visible"/>
                                      </p:to>
                                    </p:set>
                                    <p:animEffect transition="in" filter="strips(upRight)">
                                      <p:cBhvr>
                                        <p:cTn id="12" dur="500"/>
                                        <p:tgtEl>
                                          <p:spTgt spid="2"/>
                                        </p:tgtEl>
                                      </p:cBhvr>
                                    </p:animEffect>
                                  </p:childTnLst>
                                </p:cTn>
                              </p:par>
                              <p:par>
                                <p:cTn id="13" presetID="6" presetClass="emph" presetSubtype="0" accel="52000" decel="48000" autoRev="1" fill="hold" grpId="1" nodeType="withEffect">
                                  <p:stCondLst>
                                    <p:cond delay="500"/>
                                  </p:stCondLst>
                                  <p:childTnLst>
                                    <p:animScale>
                                      <p:cBhvr>
                                        <p:cTn id="14" dur="350" fill="hold"/>
                                        <p:tgtEl>
                                          <p:spTgt spid="2"/>
                                        </p:tgtEl>
                                      </p:cBhvr>
                                      <p:by x="110000" y="110000"/>
                                    </p:animScale>
                                  </p:childTnLst>
                                </p:cTn>
                              </p:par>
                              <p:par>
                                <p:cTn id="15" presetID="18" presetClass="entr" presetSubtype="3" fill="hold" nodeType="withEffect">
                                  <p:stCondLst>
                                    <p:cond delay="750"/>
                                  </p:stCondLst>
                                  <p:childTnLst>
                                    <p:set>
                                      <p:cBhvr>
                                        <p:cTn id="16" dur="1" fill="hold">
                                          <p:stCondLst>
                                            <p:cond delay="0"/>
                                          </p:stCondLst>
                                        </p:cTn>
                                        <p:tgtEl>
                                          <p:spTgt spid="44"/>
                                        </p:tgtEl>
                                        <p:attrNameLst>
                                          <p:attrName>style.visibility</p:attrName>
                                        </p:attrNameLst>
                                      </p:cBhvr>
                                      <p:to>
                                        <p:strVal val="visible"/>
                                      </p:to>
                                    </p:set>
                                    <p:animEffect transition="in" filter="strips(upRight)">
                                      <p:cBhvr>
                                        <p:cTn id="17" dur="500"/>
                                        <p:tgtEl>
                                          <p:spTgt spid="44"/>
                                        </p:tgtEl>
                                      </p:cBhvr>
                                    </p:animEffect>
                                  </p:childTnLst>
                                </p:cTn>
                              </p:par>
                              <p:par>
                                <p:cTn id="18" presetID="6" presetClass="emph" presetSubtype="0" accel="52000" decel="48000" autoRev="1" fill="hold" nodeType="withEffect">
                                  <p:stCondLst>
                                    <p:cond delay="750"/>
                                  </p:stCondLst>
                                  <p:childTnLst>
                                    <p:animScale>
                                      <p:cBhvr>
                                        <p:cTn id="19" dur="350" fill="hold"/>
                                        <p:tgtEl>
                                          <p:spTgt spid="44"/>
                                        </p:tgtEl>
                                      </p:cBhvr>
                                      <p:by x="110000" y="110000"/>
                                    </p:animScale>
                                  </p:childTnLst>
                                </p:cTn>
                              </p:par>
                              <p:par>
                                <p:cTn id="20" presetID="18" presetClass="entr" presetSubtype="3" fill="hold" nodeType="withEffect">
                                  <p:stCondLst>
                                    <p:cond delay="1000"/>
                                  </p:stCondLst>
                                  <p:childTnLst>
                                    <p:set>
                                      <p:cBhvr>
                                        <p:cTn id="21" dur="1" fill="hold">
                                          <p:stCondLst>
                                            <p:cond delay="0"/>
                                          </p:stCondLst>
                                        </p:cTn>
                                        <p:tgtEl>
                                          <p:spTgt spid="52"/>
                                        </p:tgtEl>
                                        <p:attrNameLst>
                                          <p:attrName>style.visibility</p:attrName>
                                        </p:attrNameLst>
                                      </p:cBhvr>
                                      <p:to>
                                        <p:strVal val="visible"/>
                                      </p:to>
                                    </p:set>
                                    <p:animEffect transition="in" filter="strips(upRight)">
                                      <p:cBhvr>
                                        <p:cTn id="22" dur="500"/>
                                        <p:tgtEl>
                                          <p:spTgt spid="52"/>
                                        </p:tgtEl>
                                      </p:cBhvr>
                                    </p:animEffect>
                                  </p:childTnLst>
                                </p:cTn>
                              </p:par>
                              <p:par>
                                <p:cTn id="23" presetID="6" presetClass="emph" presetSubtype="0" accel="52000" decel="48000" autoRev="1" fill="hold" nodeType="withEffect">
                                  <p:stCondLst>
                                    <p:cond delay="1000"/>
                                  </p:stCondLst>
                                  <p:childTnLst>
                                    <p:animScale>
                                      <p:cBhvr>
                                        <p:cTn id="24" dur="350" fill="hold"/>
                                        <p:tgtEl>
                                          <p:spTgt spid="52"/>
                                        </p:tgtEl>
                                      </p:cBhvr>
                                      <p:by x="110000" y="110000"/>
                                    </p:animScale>
                                  </p:childTnLst>
                                </p:cTn>
                              </p:par>
                              <p:par>
                                <p:cTn id="25" presetID="18" presetClass="entr" presetSubtype="3" fill="hold" nodeType="withEffect">
                                  <p:stCondLst>
                                    <p:cond delay="750"/>
                                  </p:stCondLst>
                                  <p:childTnLst>
                                    <p:set>
                                      <p:cBhvr>
                                        <p:cTn id="26" dur="1" fill="hold">
                                          <p:stCondLst>
                                            <p:cond delay="0"/>
                                          </p:stCondLst>
                                        </p:cTn>
                                        <p:tgtEl>
                                          <p:spTgt spid="60"/>
                                        </p:tgtEl>
                                        <p:attrNameLst>
                                          <p:attrName>style.visibility</p:attrName>
                                        </p:attrNameLst>
                                      </p:cBhvr>
                                      <p:to>
                                        <p:strVal val="visible"/>
                                      </p:to>
                                    </p:set>
                                    <p:animEffect transition="in" filter="strips(upRight)">
                                      <p:cBhvr>
                                        <p:cTn id="27" dur="500"/>
                                        <p:tgtEl>
                                          <p:spTgt spid="60"/>
                                        </p:tgtEl>
                                      </p:cBhvr>
                                    </p:animEffect>
                                  </p:childTnLst>
                                </p:cTn>
                              </p:par>
                              <p:par>
                                <p:cTn id="28" presetID="6" presetClass="emph" presetSubtype="0" accel="52000" decel="48000" autoRev="1" fill="hold" nodeType="withEffect">
                                  <p:stCondLst>
                                    <p:cond delay="750"/>
                                  </p:stCondLst>
                                  <p:childTnLst>
                                    <p:animScale>
                                      <p:cBhvr>
                                        <p:cTn id="29" dur="350" fill="hold"/>
                                        <p:tgtEl>
                                          <p:spTgt spid="60"/>
                                        </p:tgtEl>
                                      </p:cBhvr>
                                      <p:by x="110000" y="110000"/>
                                    </p:animScale>
                                  </p:childTnLst>
                                </p:cTn>
                              </p:par>
                              <p:par>
                                <p:cTn id="30" presetID="18" presetClass="entr" presetSubtype="3" fill="hold" nodeType="withEffect">
                                  <p:stCondLst>
                                    <p:cond delay="1000"/>
                                  </p:stCondLst>
                                  <p:childTnLst>
                                    <p:set>
                                      <p:cBhvr>
                                        <p:cTn id="31" dur="1" fill="hold">
                                          <p:stCondLst>
                                            <p:cond delay="0"/>
                                          </p:stCondLst>
                                        </p:cTn>
                                        <p:tgtEl>
                                          <p:spTgt spid="68"/>
                                        </p:tgtEl>
                                        <p:attrNameLst>
                                          <p:attrName>style.visibility</p:attrName>
                                        </p:attrNameLst>
                                      </p:cBhvr>
                                      <p:to>
                                        <p:strVal val="visible"/>
                                      </p:to>
                                    </p:set>
                                    <p:animEffect transition="in" filter="strips(upRight)">
                                      <p:cBhvr>
                                        <p:cTn id="32" dur="500"/>
                                        <p:tgtEl>
                                          <p:spTgt spid="68"/>
                                        </p:tgtEl>
                                      </p:cBhvr>
                                    </p:animEffect>
                                  </p:childTnLst>
                                </p:cTn>
                              </p:par>
                              <p:par>
                                <p:cTn id="33" presetID="6" presetClass="emph" presetSubtype="0" accel="52000" decel="48000" autoRev="1" fill="hold" nodeType="withEffect">
                                  <p:stCondLst>
                                    <p:cond delay="1000"/>
                                  </p:stCondLst>
                                  <p:childTnLst>
                                    <p:animScale>
                                      <p:cBhvr>
                                        <p:cTn id="34" dur="350" fill="hold"/>
                                        <p:tgtEl>
                                          <p:spTgt spid="68"/>
                                        </p:tgtEl>
                                      </p:cBhvr>
                                      <p:by x="110000" y="110000"/>
                                    </p:animScale>
                                  </p:childTnLst>
                                </p:cTn>
                              </p:par>
                              <p:par>
                                <p:cTn id="35" presetID="18" presetClass="entr" presetSubtype="3" fill="hold" nodeType="withEffect">
                                  <p:stCondLst>
                                    <p:cond delay="750"/>
                                  </p:stCondLst>
                                  <p:childTnLst>
                                    <p:set>
                                      <p:cBhvr>
                                        <p:cTn id="36" dur="1" fill="hold">
                                          <p:stCondLst>
                                            <p:cond delay="0"/>
                                          </p:stCondLst>
                                        </p:cTn>
                                        <p:tgtEl>
                                          <p:spTgt spid="77"/>
                                        </p:tgtEl>
                                        <p:attrNameLst>
                                          <p:attrName>style.visibility</p:attrName>
                                        </p:attrNameLst>
                                      </p:cBhvr>
                                      <p:to>
                                        <p:strVal val="visible"/>
                                      </p:to>
                                    </p:set>
                                    <p:animEffect transition="in" filter="strips(upRight)">
                                      <p:cBhvr>
                                        <p:cTn id="37" dur="500"/>
                                        <p:tgtEl>
                                          <p:spTgt spid="77"/>
                                        </p:tgtEl>
                                      </p:cBhvr>
                                    </p:animEffect>
                                  </p:childTnLst>
                                </p:cTn>
                              </p:par>
                              <p:par>
                                <p:cTn id="38" presetID="6" presetClass="emph" presetSubtype="0" accel="52000" decel="48000" autoRev="1" fill="hold" nodeType="withEffect">
                                  <p:stCondLst>
                                    <p:cond delay="750"/>
                                  </p:stCondLst>
                                  <p:childTnLst>
                                    <p:animScale>
                                      <p:cBhvr>
                                        <p:cTn id="39" dur="350" fill="hold"/>
                                        <p:tgtEl>
                                          <p:spTgt spid="77"/>
                                        </p:tgtEl>
                                      </p:cBhvr>
                                      <p:by x="110000" y="110000"/>
                                    </p:animScale>
                                  </p:childTnLst>
                                </p:cTn>
                              </p:par>
                              <p:par>
                                <p:cTn id="40" presetID="18" presetClass="entr" presetSubtype="3" fill="hold" grpId="0" nodeType="withEffect">
                                  <p:stCondLst>
                                    <p:cond delay="250"/>
                                  </p:stCondLst>
                                  <p:childTnLst>
                                    <p:set>
                                      <p:cBhvr>
                                        <p:cTn id="41" dur="1" fill="hold">
                                          <p:stCondLst>
                                            <p:cond delay="0"/>
                                          </p:stCondLst>
                                        </p:cTn>
                                        <p:tgtEl>
                                          <p:spTgt spid="76"/>
                                        </p:tgtEl>
                                        <p:attrNameLst>
                                          <p:attrName>style.visibility</p:attrName>
                                        </p:attrNameLst>
                                      </p:cBhvr>
                                      <p:to>
                                        <p:strVal val="visible"/>
                                      </p:to>
                                    </p:set>
                                    <p:animEffect transition="in" filter="strips(upRight)">
                                      <p:cBhvr>
                                        <p:cTn id="42" dur="500"/>
                                        <p:tgtEl>
                                          <p:spTgt spid="76"/>
                                        </p:tgtEl>
                                      </p:cBhvr>
                                    </p:animEffect>
                                  </p:childTnLst>
                                </p:cTn>
                              </p:par>
                              <p:par>
                                <p:cTn id="43" presetID="6" presetClass="emph" presetSubtype="0" accel="52000" decel="48000" autoRev="1" fill="hold" grpId="1" nodeType="withEffect">
                                  <p:stCondLst>
                                    <p:cond delay="250"/>
                                  </p:stCondLst>
                                  <p:childTnLst>
                                    <p:animScale>
                                      <p:cBhvr>
                                        <p:cTn id="44" dur="350" fill="hold"/>
                                        <p:tgtEl>
                                          <p:spTgt spid="76"/>
                                        </p:tgtEl>
                                      </p:cBhvr>
                                      <p:by x="110000" y="11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2" grpId="1" animBg="1"/>
      <p:bldP spid="76" grpId="0"/>
      <p:bldP spid="76" grpId="1"/>
    </p:bldLst>
  </p:timing>
</p:sld>
</file>

<file path=ppt/slides/slide6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F0DDFC42-1049-4F41-9B21-88DBC1A5D3F6}"/>
              </a:ext>
            </a:extLst>
          </p:cNvPr>
          <p:cNvGrpSpPr/>
          <p:nvPr/>
        </p:nvGrpSpPr>
        <p:grpSpPr>
          <a:xfrm>
            <a:off x="1305339" y="2114444"/>
            <a:ext cx="3897550" cy="3635828"/>
            <a:chOff x="6837406" y="1268361"/>
            <a:chExt cx="4632342" cy="4321278"/>
          </a:xfrm>
        </p:grpSpPr>
        <p:grpSp>
          <p:nvGrpSpPr>
            <p:cNvPr id="3" name="Group 7">
              <a:extLst>
                <a:ext uri="{FF2B5EF4-FFF2-40B4-BE49-F238E27FC236}">
                  <a16:creationId xmlns:a16="http://schemas.microsoft.com/office/drawing/2014/main" id="{1A7998BF-AE60-4372-9E00-76359E3047A9}"/>
                </a:ext>
              </a:extLst>
            </p:cNvPr>
            <p:cNvGrpSpPr/>
            <p:nvPr/>
          </p:nvGrpSpPr>
          <p:grpSpPr>
            <a:xfrm>
              <a:off x="6837406" y="3032423"/>
              <a:ext cx="3779937" cy="2557216"/>
              <a:chOff x="3448699" y="3935195"/>
              <a:chExt cx="4320333" cy="2922805"/>
            </a:xfrm>
            <a:solidFill>
              <a:schemeClr val="tx1">
                <a:lumMod val="75000"/>
                <a:lumOff val="25000"/>
              </a:schemeClr>
            </a:solidFill>
          </p:grpSpPr>
          <p:sp>
            <p:nvSpPr>
              <p:cNvPr id="15" name="Freeform 5">
                <a:extLst>
                  <a:ext uri="{FF2B5EF4-FFF2-40B4-BE49-F238E27FC236}">
                    <a16:creationId xmlns:a16="http://schemas.microsoft.com/office/drawing/2014/main" id="{642CDADA-DE00-438A-82D1-605B7A725D6D}"/>
                  </a:ext>
                </a:extLst>
              </p:cNvPr>
              <p:cNvSpPr>
                <a:spLocks/>
              </p:cNvSpPr>
              <p:nvPr/>
            </p:nvSpPr>
            <p:spPr bwMode="auto">
              <a:xfrm>
                <a:off x="3448699" y="5440463"/>
                <a:ext cx="4320333" cy="1417537"/>
              </a:xfrm>
              <a:custGeom>
                <a:avLst/>
                <a:gdLst>
                  <a:gd name="T0" fmla="*/ 0 w 448"/>
                  <a:gd name="T1" fmla="*/ 143 h 147"/>
                  <a:gd name="T2" fmla="*/ 448 w 448"/>
                  <a:gd name="T3" fmla="*/ 147 h 147"/>
                  <a:gd name="T4" fmla="*/ 0 w 448"/>
                  <a:gd name="T5" fmla="*/ 143 h 147"/>
                </a:gdLst>
                <a:ahLst/>
                <a:cxnLst>
                  <a:cxn ang="0">
                    <a:pos x="T0" y="T1"/>
                  </a:cxn>
                  <a:cxn ang="0">
                    <a:pos x="T2" y="T3"/>
                  </a:cxn>
                  <a:cxn ang="0">
                    <a:pos x="T4" y="T5"/>
                  </a:cxn>
                </a:cxnLst>
                <a:rect l="0" t="0" r="r" b="b"/>
                <a:pathLst>
                  <a:path w="448" h="147">
                    <a:moveTo>
                      <a:pt x="0" y="143"/>
                    </a:moveTo>
                    <a:cubicBezTo>
                      <a:pt x="0" y="143"/>
                      <a:pt x="215" y="56"/>
                      <a:pt x="448" y="147"/>
                    </a:cubicBezTo>
                    <a:cubicBezTo>
                      <a:pt x="448" y="147"/>
                      <a:pt x="269" y="0"/>
                      <a:pt x="0" y="1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Light" panose="020F0302020204030204"/>
                  <a:ea typeface="+mn-ea"/>
                  <a:cs typeface="+mn-cs"/>
                </a:endParaRPr>
              </a:p>
            </p:txBody>
          </p:sp>
          <p:sp>
            <p:nvSpPr>
              <p:cNvPr id="16" name="Freeform 6">
                <a:extLst>
                  <a:ext uri="{FF2B5EF4-FFF2-40B4-BE49-F238E27FC236}">
                    <a16:creationId xmlns:a16="http://schemas.microsoft.com/office/drawing/2014/main" id="{91FB98FA-84BA-4874-B41C-480C60C2A836}"/>
                  </a:ext>
                </a:extLst>
              </p:cNvPr>
              <p:cNvSpPr>
                <a:spLocks/>
              </p:cNvSpPr>
              <p:nvPr/>
            </p:nvSpPr>
            <p:spPr bwMode="auto">
              <a:xfrm>
                <a:off x="5001679" y="3935195"/>
                <a:ext cx="1860806" cy="2671927"/>
              </a:xfrm>
              <a:custGeom>
                <a:avLst/>
                <a:gdLst>
                  <a:gd name="T0" fmla="*/ 149 w 193"/>
                  <a:gd name="T1" fmla="*/ 248 h 277"/>
                  <a:gd name="T2" fmla="*/ 193 w 193"/>
                  <a:gd name="T3" fmla="*/ 49 h 277"/>
                  <a:gd name="T4" fmla="*/ 124 w 193"/>
                  <a:gd name="T5" fmla="*/ 90 h 277"/>
                  <a:gd name="T6" fmla="*/ 24 w 193"/>
                  <a:gd name="T7" fmla="*/ 0 h 277"/>
                  <a:gd name="T8" fmla="*/ 74 w 193"/>
                  <a:gd name="T9" fmla="*/ 133 h 277"/>
                  <a:gd name="T10" fmla="*/ 0 w 193"/>
                  <a:gd name="T11" fmla="*/ 260 h 277"/>
                  <a:gd name="T12" fmla="*/ 56 w 193"/>
                  <a:gd name="T13" fmla="*/ 234 h 277"/>
                  <a:gd name="T14" fmla="*/ 95 w 193"/>
                  <a:gd name="T15" fmla="*/ 188 h 277"/>
                  <a:gd name="T16" fmla="*/ 139 w 193"/>
                  <a:gd name="T17" fmla="*/ 256 h 277"/>
                  <a:gd name="T18" fmla="*/ 149 w 193"/>
                  <a:gd name="T19" fmla="*/ 248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3" h="277">
                    <a:moveTo>
                      <a:pt x="149" y="248"/>
                    </a:moveTo>
                    <a:cubicBezTo>
                      <a:pt x="149" y="248"/>
                      <a:pt x="84" y="120"/>
                      <a:pt x="193" y="49"/>
                    </a:cubicBezTo>
                    <a:cubicBezTo>
                      <a:pt x="193" y="49"/>
                      <a:pt x="165" y="46"/>
                      <a:pt x="124" y="90"/>
                    </a:cubicBezTo>
                    <a:cubicBezTo>
                      <a:pt x="82" y="135"/>
                      <a:pt x="76" y="29"/>
                      <a:pt x="24" y="0"/>
                    </a:cubicBezTo>
                    <a:cubicBezTo>
                      <a:pt x="24" y="0"/>
                      <a:pt x="67" y="67"/>
                      <a:pt x="74" y="133"/>
                    </a:cubicBezTo>
                    <a:cubicBezTo>
                      <a:pt x="82" y="199"/>
                      <a:pt x="0" y="260"/>
                      <a:pt x="0" y="260"/>
                    </a:cubicBezTo>
                    <a:cubicBezTo>
                      <a:pt x="0" y="260"/>
                      <a:pt x="30" y="261"/>
                      <a:pt x="56" y="234"/>
                    </a:cubicBezTo>
                    <a:cubicBezTo>
                      <a:pt x="81" y="207"/>
                      <a:pt x="84" y="184"/>
                      <a:pt x="95" y="188"/>
                    </a:cubicBezTo>
                    <a:cubicBezTo>
                      <a:pt x="106" y="193"/>
                      <a:pt x="119" y="245"/>
                      <a:pt x="139" y="256"/>
                    </a:cubicBezTo>
                    <a:cubicBezTo>
                      <a:pt x="160" y="267"/>
                      <a:pt x="166" y="277"/>
                      <a:pt x="149" y="2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Light" panose="020F0302020204030204"/>
                  <a:ea typeface="+mn-ea"/>
                  <a:cs typeface="+mn-cs"/>
                </a:endParaRPr>
              </a:p>
            </p:txBody>
          </p:sp>
        </p:grpSp>
        <p:sp>
          <p:nvSpPr>
            <p:cNvPr id="4" name="Freeform 7">
              <a:extLst>
                <a:ext uri="{FF2B5EF4-FFF2-40B4-BE49-F238E27FC236}">
                  <a16:creationId xmlns:a16="http://schemas.microsoft.com/office/drawing/2014/main" id="{0E6BE82C-EFEB-4D01-93F6-7D8A27A46A68}"/>
                </a:ext>
              </a:extLst>
            </p:cNvPr>
            <p:cNvSpPr>
              <a:spLocks/>
            </p:cNvSpPr>
            <p:nvPr/>
          </p:nvSpPr>
          <p:spPr bwMode="auto">
            <a:xfrm>
              <a:off x="9926532" y="2466845"/>
              <a:ext cx="1230802" cy="970908"/>
            </a:xfrm>
            <a:custGeom>
              <a:avLst/>
              <a:gdLst>
                <a:gd name="T0" fmla="*/ 0 w 146"/>
                <a:gd name="T1" fmla="*/ 114 h 115"/>
                <a:gd name="T2" fmla="*/ 146 w 146"/>
                <a:gd name="T3" fmla="*/ 18 h 115"/>
                <a:gd name="T4" fmla="*/ 0 w 146"/>
                <a:gd name="T5" fmla="*/ 114 h 115"/>
              </a:gdLst>
              <a:ahLst/>
              <a:cxnLst>
                <a:cxn ang="0">
                  <a:pos x="T0" y="T1"/>
                </a:cxn>
                <a:cxn ang="0">
                  <a:pos x="T2" y="T3"/>
                </a:cxn>
                <a:cxn ang="0">
                  <a:pos x="T4" y="T5"/>
                </a:cxn>
              </a:cxnLst>
              <a:rect l="0" t="0" r="r" b="b"/>
              <a:pathLst>
                <a:path w="146" h="115">
                  <a:moveTo>
                    <a:pt x="0" y="114"/>
                  </a:moveTo>
                  <a:cubicBezTo>
                    <a:pt x="0" y="114"/>
                    <a:pt x="31" y="0"/>
                    <a:pt x="146" y="18"/>
                  </a:cubicBezTo>
                  <a:cubicBezTo>
                    <a:pt x="146" y="18"/>
                    <a:pt x="126" y="115"/>
                    <a:pt x="0" y="114"/>
                  </a:cubicBez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Light" panose="020F0302020204030204"/>
                <a:ea typeface="+mn-ea"/>
                <a:cs typeface="+mn-cs"/>
              </a:endParaRPr>
            </a:p>
          </p:txBody>
        </p:sp>
        <p:sp>
          <p:nvSpPr>
            <p:cNvPr id="5" name="Freeform 8">
              <a:extLst>
                <a:ext uri="{FF2B5EF4-FFF2-40B4-BE49-F238E27FC236}">
                  <a16:creationId xmlns:a16="http://schemas.microsoft.com/office/drawing/2014/main" id="{093B28FD-18EB-46D5-AAE0-3AEBD5877C13}"/>
                </a:ext>
              </a:extLst>
            </p:cNvPr>
            <p:cNvSpPr>
              <a:spLocks/>
            </p:cNvSpPr>
            <p:nvPr/>
          </p:nvSpPr>
          <p:spPr bwMode="auto">
            <a:xfrm>
              <a:off x="9410780" y="2382009"/>
              <a:ext cx="836246" cy="962828"/>
            </a:xfrm>
            <a:custGeom>
              <a:avLst/>
              <a:gdLst>
                <a:gd name="T0" fmla="*/ 48 w 99"/>
                <a:gd name="T1" fmla="*/ 114 h 114"/>
                <a:gd name="T2" fmla="*/ 56 w 99"/>
                <a:gd name="T3" fmla="*/ 0 h 114"/>
                <a:gd name="T4" fmla="*/ 48 w 99"/>
                <a:gd name="T5" fmla="*/ 114 h 114"/>
              </a:gdLst>
              <a:ahLst/>
              <a:cxnLst>
                <a:cxn ang="0">
                  <a:pos x="T0" y="T1"/>
                </a:cxn>
                <a:cxn ang="0">
                  <a:pos x="T2" y="T3"/>
                </a:cxn>
                <a:cxn ang="0">
                  <a:pos x="T4" y="T5"/>
                </a:cxn>
              </a:cxnLst>
              <a:rect l="0" t="0" r="r" b="b"/>
              <a:pathLst>
                <a:path w="99" h="114">
                  <a:moveTo>
                    <a:pt x="48" y="114"/>
                  </a:moveTo>
                  <a:cubicBezTo>
                    <a:pt x="48" y="114"/>
                    <a:pt x="0" y="53"/>
                    <a:pt x="56" y="0"/>
                  </a:cubicBezTo>
                  <a:cubicBezTo>
                    <a:pt x="56" y="0"/>
                    <a:pt x="99" y="49"/>
                    <a:pt x="48" y="114"/>
                  </a:cubicBez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Light" panose="020F0302020204030204"/>
                <a:ea typeface="+mn-ea"/>
                <a:cs typeface="+mn-cs"/>
              </a:endParaRPr>
            </a:p>
          </p:txBody>
        </p:sp>
        <p:sp>
          <p:nvSpPr>
            <p:cNvPr id="6" name="Freeform 9">
              <a:extLst>
                <a:ext uri="{FF2B5EF4-FFF2-40B4-BE49-F238E27FC236}">
                  <a16:creationId xmlns:a16="http://schemas.microsoft.com/office/drawing/2014/main" id="{5791D81D-11D9-4012-A88B-789A9DFB4D50}"/>
                </a:ext>
              </a:extLst>
            </p:cNvPr>
            <p:cNvSpPr>
              <a:spLocks/>
            </p:cNvSpPr>
            <p:nvPr/>
          </p:nvSpPr>
          <p:spPr bwMode="auto">
            <a:xfrm>
              <a:off x="9950770" y="1816432"/>
              <a:ext cx="802580" cy="895497"/>
            </a:xfrm>
            <a:custGeom>
              <a:avLst/>
              <a:gdLst>
                <a:gd name="T0" fmla="*/ 26 w 95"/>
                <a:gd name="T1" fmla="*/ 106 h 106"/>
                <a:gd name="T2" fmla="*/ 70 w 95"/>
                <a:gd name="T3" fmla="*/ 0 h 106"/>
                <a:gd name="T4" fmla="*/ 26 w 95"/>
                <a:gd name="T5" fmla="*/ 106 h 106"/>
              </a:gdLst>
              <a:ahLst/>
              <a:cxnLst>
                <a:cxn ang="0">
                  <a:pos x="T0" y="T1"/>
                </a:cxn>
                <a:cxn ang="0">
                  <a:pos x="T2" y="T3"/>
                </a:cxn>
                <a:cxn ang="0">
                  <a:pos x="T4" y="T5"/>
                </a:cxn>
              </a:cxnLst>
              <a:rect l="0" t="0" r="r" b="b"/>
              <a:pathLst>
                <a:path w="95" h="106">
                  <a:moveTo>
                    <a:pt x="26" y="106"/>
                  </a:moveTo>
                  <a:cubicBezTo>
                    <a:pt x="26" y="106"/>
                    <a:pt x="0" y="33"/>
                    <a:pt x="70" y="0"/>
                  </a:cubicBezTo>
                  <a:cubicBezTo>
                    <a:pt x="70" y="0"/>
                    <a:pt x="95" y="60"/>
                    <a:pt x="26" y="106"/>
                  </a:cubicBezTo>
                  <a:close/>
                </a:path>
              </a:pathLst>
            </a:custGeom>
            <a:solidFill>
              <a:schemeClr val="accent3">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Light" panose="020F0302020204030204"/>
                <a:ea typeface="+mn-ea"/>
                <a:cs typeface="+mn-cs"/>
              </a:endParaRPr>
            </a:p>
          </p:txBody>
        </p:sp>
        <p:sp>
          <p:nvSpPr>
            <p:cNvPr id="7" name="Freeform 10">
              <a:extLst>
                <a:ext uri="{FF2B5EF4-FFF2-40B4-BE49-F238E27FC236}">
                  <a16:creationId xmlns:a16="http://schemas.microsoft.com/office/drawing/2014/main" id="{47A7FEDA-7A4F-4A9F-985A-7A0AD635F1BE}"/>
                </a:ext>
              </a:extLst>
            </p:cNvPr>
            <p:cNvSpPr>
              <a:spLocks/>
            </p:cNvSpPr>
            <p:nvPr/>
          </p:nvSpPr>
          <p:spPr bwMode="auto">
            <a:xfrm>
              <a:off x="8018384" y="1268361"/>
              <a:ext cx="818740" cy="970908"/>
            </a:xfrm>
            <a:custGeom>
              <a:avLst/>
              <a:gdLst>
                <a:gd name="T0" fmla="*/ 57 w 97"/>
                <a:gd name="T1" fmla="*/ 115 h 115"/>
                <a:gd name="T2" fmla="*/ 47 w 97"/>
                <a:gd name="T3" fmla="*/ 0 h 115"/>
                <a:gd name="T4" fmla="*/ 57 w 97"/>
                <a:gd name="T5" fmla="*/ 115 h 115"/>
              </a:gdLst>
              <a:ahLst/>
              <a:cxnLst>
                <a:cxn ang="0">
                  <a:pos x="T0" y="T1"/>
                </a:cxn>
                <a:cxn ang="0">
                  <a:pos x="T2" y="T3"/>
                </a:cxn>
                <a:cxn ang="0">
                  <a:pos x="T4" y="T5"/>
                </a:cxn>
              </a:cxnLst>
              <a:rect l="0" t="0" r="r" b="b"/>
              <a:pathLst>
                <a:path w="97" h="115">
                  <a:moveTo>
                    <a:pt x="57" y="115"/>
                  </a:moveTo>
                  <a:cubicBezTo>
                    <a:pt x="57" y="115"/>
                    <a:pt x="0" y="61"/>
                    <a:pt x="47" y="0"/>
                  </a:cubicBezTo>
                  <a:cubicBezTo>
                    <a:pt x="47" y="0"/>
                    <a:pt x="97" y="43"/>
                    <a:pt x="57" y="115"/>
                  </a:cubicBezTo>
                  <a:close/>
                </a:path>
              </a:pathLst>
            </a:custGeom>
            <a:solidFill>
              <a:schemeClr val="accent3">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Light" panose="020F0302020204030204"/>
                <a:ea typeface="+mn-ea"/>
                <a:cs typeface="+mn-cs"/>
              </a:endParaRPr>
            </a:p>
          </p:txBody>
        </p:sp>
        <p:sp>
          <p:nvSpPr>
            <p:cNvPr id="8" name="Freeform 11">
              <a:extLst>
                <a:ext uri="{FF2B5EF4-FFF2-40B4-BE49-F238E27FC236}">
                  <a16:creationId xmlns:a16="http://schemas.microsoft.com/office/drawing/2014/main" id="{BC345DBB-E385-4F2E-B73F-E63DEE6315AE}"/>
                </a:ext>
              </a:extLst>
            </p:cNvPr>
            <p:cNvSpPr>
              <a:spLocks/>
            </p:cNvSpPr>
            <p:nvPr/>
          </p:nvSpPr>
          <p:spPr bwMode="auto">
            <a:xfrm>
              <a:off x="7064984" y="2356424"/>
              <a:ext cx="675998" cy="600589"/>
            </a:xfrm>
            <a:custGeom>
              <a:avLst/>
              <a:gdLst>
                <a:gd name="T0" fmla="*/ 80 w 80"/>
                <a:gd name="T1" fmla="*/ 51 h 71"/>
                <a:gd name="T2" fmla="*/ 0 w 80"/>
                <a:gd name="T3" fmla="*/ 20 h 71"/>
                <a:gd name="T4" fmla="*/ 80 w 80"/>
                <a:gd name="T5" fmla="*/ 51 h 71"/>
              </a:gdLst>
              <a:ahLst/>
              <a:cxnLst>
                <a:cxn ang="0">
                  <a:pos x="T0" y="T1"/>
                </a:cxn>
                <a:cxn ang="0">
                  <a:pos x="T2" y="T3"/>
                </a:cxn>
                <a:cxn ang="0">
                  <a:pos x="T4" y="T5"/>
                </a:cxn>
              </a:cxnLst>
              <a:rect l="0" t="0" r="r" b="b"/>
              <a:pathLst>
                <a:path w="80" h="71">
                  <a:moveTo>
                    <a:pt x="80" y="51"/>
                  </a:moveTo>
                  <a:cubicBezTo>
                    <a:pt x="80" y="51"/>
                    <a:pt x="25" y="71"/>
                    <a:pt x="0" y="20"/>
                  </a:cubicBezTo>
                  <a:cubicBezTo>
                    <a:pt x="0" y="20"/>
                    <a:pt x="45" y="0"/>
                    <a:pt x="80" y="51"/>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Light" panose="020F0302020204030204"/>
                <a:ea typeface="+mn-ea"/>
                <a:cs typeface="+mn-cs"/>
              </a:endParaRPr>
            </a:p>
          </p:txBody>
        </p:sp>
        <p:sp>
          <p:nvSpPr>
            <p:cNvPr id="9" name="Freeform 12">
              <a:extLst>
                <a:ext uri="{FF2B5EF4-FFF2-40B4-BE49-F238E27FC236}">
                  <a16:creationId xmlns:a16="http://schemas.microsoft.com/office/drawing/2014/main" id="{785A5899-BD5E-4192-94C9-C5B79A71F32A}"/>
                </a:ext>
              </a:extLst>
            </p:cNvPr>
            <p:cNvSpPr>
              <a:spLocks/>
            </p:cNvSpPr>
            <p:nvPr/>
          </p:nvSpPr>
          <p:spPr bwMode="auto">
            <a:xfrm>
              <a:off x="10575598" y="3319252"/>
              <a:ext cx="894150" cy="802581"/>
            </a:xfrm>
            <a:custGeom>
              <a:avLst/>
              <a:gdLst>
                <a:gd name="T0" fmla="*/ 106 w 106"/>
                <a:gd name="T1" fmla="*/ 70 h 95"/>
                <a:gd name="T2" fmla="*/ 0 w 106"/>
                <a:gd name="T3" fmla="*/ 24 h 95"/>
                <a:gd name="T4" fmla="*/ 106 w 106"/>
                <a:gd name="T5" fmla="*/ 70 h 95"/>
              </a:gdLst>
              <a:ahLst/>
              <a:cxnLst>
                <a:cxn ang="0">
                  <a:pos x="T0" y="T1"/>
                </a:cxn>
                <a:cxn ang="0">
                  <a:pos x="T2" y="T3"/>
                </a:cxn>
                <a:cxn ang="0">
                  <a:pos x="T4" y="T5"/>
                </a:cxn>
              </a:cxnLst>
              <a:rect l="0" t="0" r="r" b="b"/>
              <a:pathLst>
                <a:path w="106" h="95">
                  <a:moveTo>
                    <a:pt x="106" y="70"/>
                  </a:moveTo>
                  <a:cubicBezTo>
                    <a:pt x="106" y="70"/>
                    <a:pt x="32" y="95"/>
                    <a:pt x="0" y="24"/>
                  </a:cubicBezTo>
                  <a:cubicBezTo>
                    <a:pt x="0" y="24"/>
                    <a:pt x="61" y="0"/>
                    <a:pt x="106" y="70"/>
                  </a:cubicBezTo>
                  <a:close/>
                </a:path>
              </a:pathLst>
            </a:custGeom>
            <a:solidFill>
              <a:schemeClr val="accent3">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Light" panose="020F0302020204030204"/>
                <a:ea typeface="+mn-ea"/>
                <a:cs typeface="+mn-cs"/>
              </a:endParaRPr>
            </a:p>
          </p:txBody>
        </p:sp>
        <p:sp>
          <p:nvSpPr>
            <p:cNvPr id="10" name="Freeform 13">
              <a:extLst>
                <a:ext uri="{FF2B5EF4-FFF2-40B4-BE49-F238E27FC236}">
                  <a16:creationId xmlns:a16="http://schemas.microsoft.com/office/drawing/2014/main" id="{B34DEBD6-99A3-4A64-85F5-BC5B25335291}"/>
                </a:ext>
              </a:extLst>
            </p:cNvPr>
            <p:cNvSpPr>
              <a:spLocks/>
            </p:cNvSpPr>
            <p:nvPr/>
          </p:nvSpPr>
          <p:spPr bwMode="auto">
            <a:xfrm>
              <a:off x="8777873" y="2737515"/>
              <a:ext cx="869911" cy="1012653"/>
            </a:xfrm>
            <a:custGeom>
              <a:avLst/>
              <a:gdLst>
                <a:gd name="T0" fmla="*/ 38 w 103"/>
                <a:gd name="T1" fmla="*/ 120 h 120"/>
                <a:gd name="T2" fmla="*/ 68 w 103"/>
                <a:gd name="T3" fmla="*/ 0 h 120"/>
                <a:gd name="T4" fmla="*/ 38 w 103"/>
                <a:gd name="T5" fmla="*/ 120 h 120"/>
              </a:gdLst>
              <a:ahLst/>
              <a:cxnLst>
                <a:cxn ang="0">
                  <a:pos x="T0" y="T1"/>
                </a:cxn>
                <a:cxn ang="0">
                  <a:pos x="T2" y="T3"/>
                </a:cxn>
                <a:cxn ang="0">
                  <a:pos x="T4" y="T5"/>
                </a:cxn>
              </a:cxnLst>
              <a:rect l="0" t="0" r="r" b="b"/>
              <a:pathLst>
                <a:path w="103" h="120">
                  <a:moveTo>
                    <a:pt x="38" y="120"/>
                  </a:moveTo>
                  <a:cubicBezTo>
                    <a:pt x="38" y="120"/>
                    <a:pt x="0" y="40"/>
                    <a:pt x="68" y="0"/>
                  </a:cubicBezTo>
                  <a:cubicBezTo>
                    <a:pt x="68" y="0"/>
                    <a:pt x="103" y="66"/>
                    <a:pt x="38" y="12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Light" panose="020F0302020204030204"/>
                <a:ea typeface="+mn-ea"/>
                <a:cs typeface="+mn-cs"/>
              </a:endParaRPr>
            </a:p>
          </p:txBody>
        </p:sp>
        <p:sp>
          <p:nvSpPr>
            <p:cNvPr id="11" name="Freeform 14">
              <a:extLst>
                <a:ext uri="{FF2B5EF4-FFF2-40B4-BE49-F238E27FC236}">
                  <a16:creationId xmlns:a16="http://schemas.microsoft.com/office/drawing/2014/main" id="{68A1FBA0-9021-41C7-B3ED-8E9E70359784}"/>
                </a:ext>
              </a:extLst>
            </p:cNvPr>
            <p:cNvSpPr>
              <a:spLocks/>
            </p:cNvSpPr>
            <p:nvPr/>
          </p:nvSpPr>
          <p:spPr bwMode="auto">
            <a:xfrm>
              <a:off x="9900946" y="3420247"/>
              <a:ext cx="852405" cy="776995"/>
            </a:xfrm>
            <a:custGeom>
              <a:avLst/>
              <a:gdLst>
                <a:gd name="T0" fmla="*/ 101 w 101"/>
                <a:gd name="T1" fmla="*/ 74 h 92"/>
                <a:gd name="T2" fmla="*/ 0 w 101"/>
                <a:gd name="T3" fmla="*/ 19 h 92"/>
                <a:gd name="T4" fmla="*/ 101 w 101"/>
                <a:gd name="T5" fmla="*/ 74 h 92"/>
              </a:gdLst>
              <a:ahLst/>
              <a:cxnLst>
                <a:cxn ang="0">
                  <a:pos x="T0" y="T1"/>
                </a:cxn>
                <a:cxn ang="0">
                  <a:pos x="T2" y="T3"/>
                </a:cxn>
                <a:cxn ang="0">
                  <a:pos x="T4" y="T5"/>
                </a:cxn>
              </a:cxnLst>
              <a:rect l="0" t="0" r="r" b="b"/>
              <a:pathLst>
                <a:path w="101" h="92">
                  <a:moveTo>
                    <a:pt x="101" y="74"/>
                  </a:moveTo>
                  <a:cubicBezTo>
                    <a:pt x="101" y="74"/>
                    <a:pt x="25" y="92"/>
                    <a:pt x="0" y="19"/>
                  </a:cubicBezTo>
                  <a:cubicBezTo>
                    <a:pt x="0" y="19"/>
                    <a:pt x="63" y="0"/>
                    <a:pt x="101" y="74"/>
                  </a:cubicBezTo>
                  <a:close/>
                </a:path>
              </a:pathLst>
            </a:custGeom>
            <a:solidFill>
              <a:schemeClr val="accent4">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Light" panose="020F0302020204030204"/>
                <a:ea typeface="+mn-ea"/>
                <a:cs typeface="+mn-cs"/>
              </a:endParaRPr>
            </a:p>
          </p:txBody>
        </p:sp>
        <p:sp>
          <p:nvSpPr>
            <p:cNvPr id="12" name="Freeform 15">
              <a:extLst>
                <a:ext uri="{FF2B5EF4-FFF2-40B4-BE49-F238E27FC236}">
                  <a16:creationId xmlns:a16="http://schemas.microsoft.com/office/drawing/2014/main" id="{E870A39E-1A31-4E5A-B4BC-F15317213135}"/>
                </a:ext>
              </a:extLst>
            </p:cNvPr>
            <p:cNvSpPr>
              <a:spLocks/>
            </p:cNvSpPr>
            <p:nvPr/>
          </p:nvSpPr>
          <p:spPr bwMode="auto">
            <a:xfrm>
              <a:off x="7470313" y="1790847"/>
              <a:ext cx="987066" cy="1249656"/>
            </a:xfrm>
            <a:custGeom>
              <a:avLst/>
              <a:gdLst>
                <a:gd name="T0" fmla="*/ 113 w 117"/>
                <a:gd name="T1" fmla="*/ 148 h 148"/>
                <a:gd name="T2" fmla="*/ 19 w 117"/>
                <a:gd name="T3" fmla="*/ 0 h 148"/>
                <a:gd name="T4" fmla="*/ 113 w 117"/>
                <a:gd name="T5" fmla="*/ 148 h 148"/>
              </a:gdLst>
              <a:ahLst/>
              <a:cxnLst>
                <a:cxn ang="0">
                  <a:pos x="T0" y="T1"/>
                </a:cxn>
                <a:cxn ang="0">
                  <a:pos x="T2" y="T3"/>
                </a:cxn>
                <a:cxn ang="0">
                  <a:pos x="T4" y="T5"/>
                </a:cxn>
              </a:cxnLst>
              <a:rect l="0" t="0" r="r" b="b"/>
              <a:pathLst>
                <a:path w="117" h="148">
                  <a:moveTo>
                    <a:pt x="113" y="148"/>
                  </a:moveTo>
                  <a:cubicBezTo>
                    <a:pt x="113" y="148"/>
                    <a:pt x="0" y="116"/>
                    <a:pt x="19" y="0"/>
                  </a:cubicBezTo>
                  <a:cubicBezTo>
                    <a:pt x="19" y="0"/>
                    <a:pt x="117" y="22"/>
                    <a:pt x="113" y="148"/>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等线 Light" panose="020F0302020204030204"/>
                <a:ea typeface="+mn-ea"/>
                <a:cs typeface="+mn-cs"/>
              </a:endParaRPr>
            </a:p>
          </p:txBody>
        </p:sp>
        <p:sp>
          <p:nvSpPr>
            <p:cNvPr id="13" name="Freeform 16">
              <a:extLst>
                <a:ext uri="{FF2B5EF4-FFF2-40B4-BE49-F238E27FC236}">
                  <a16:creationId xmlns:a16="http://schemas.microsoft.com/office/drawing/2014/main" id="{C05ADAF8-EE05-4661-A5A8-DCE7963C2E6E}"/>
                </a:ext>
              </a:extLst>
            </p:cNvPr>
            <p:cNvSpPr>
              <a:spLocks/>
            </p:cNvSpPr>
            <p:nvPr/>
          </p:nvSpPr>
          <p:spPr bwMode="auto">
            <a:xfrm>
              <a:off x="7411063" y="2711929"/>
              <a:ext cx="970906" cy="834900"/>
            </a:xfrm>
            <a:custGeom>
              <a:avLst/>
              <a:gdLst>
                <a:gd name="T0" fmla="*/ 115 w 115"/>
                <a:gd name="T1" fmla="*/ 51 h 99"/>
                <a:gd name="T2" fmla="*/ 0 w 115"/>
                <a:gd name="T3" fmla="*/ 43 h 99"/>
                <a:gd name="T4" fmla="*/ 115 w 115"/>
                <a:gd name="T5" fmla="*/ 51 h 99"/>
              </a:gdLst>
              <a:ahLst/>
              <a:cxnLst>
                <a:cxn ang="0">
                  <a:pos x="T0" y="T1"/>
                </a:cxn>
                <a:cxn ang="0">
                  <a:pos x="T2" y="T3"/>
                </a:cxn>
                <a:cxn ang="0">
                  <a:pos x="T4" y="T5"/>
                </a:cxn>
              </a:cxnLst>
              <a:rect l="0" t="0" r="r" b="b"/>
              <a:pathLst>
                <a:path w="115" h="99">
                  <a:moveTo>
                    <a:pt x="115" y="51"/>
                  </a:moveTo>
                  <a:cubicBezTo>
                    <a:pt x="115" y="51"/>
                    <a:pt x="53" y="99"/>
                    <a:pt x="0" y="43"/>
                  </a:cubicBezTo>
                  <a:cubicBezTo>
                    <a:pt x="0" y="43"/>
                    <a:pt x="50" y="0"/>
                    <a:pt x="115" y="51"/>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Light" panose="020F0302020204030204"/>
                <a:ea typeface="+mn-ea"/>
                <a:cs typeface="+mn-cs"/>
              </a:endParaRPr>
            </a:p>
          </p:txBody>
        </p:sp>
        <p:sp>
          <p:nvSpPr>
            <p:cNvPr id="14" name="Freeform 17">
              <a:extLst>
                <a:ext uri="{FF2B5EF4-FFF2-40B4-BE49-F238E27FC236}">
                  <a16:creationId xmlns:a16="http://schemas.microsoft.com/office/drawing/2014/main" id="{A46C792D-AB15-47A9-BD28-B20F69AA3DC3}"/>
                </a:ext>
              </a:extLst>
            </p:cNvPr>
            <p:cNvSpPr>
              <a:spLocks/>
            </p:cNvSpPr>
            <p:nvPr/>
          </p:nvSpPr>
          <p:spPr bwMode="auto">
            <a:xfrm>
              <a:off x="8348304" y="1774687"/>
              <a:ext cx="1172899" cy="1299481"/>
            </a:xfrm>
            <a:custGeom>
              <a:avLst/>
              <a:gdLst>
                <a:gd name="T0" fmla="*/ 113 w 139"/>
                <a:gd name="T1" fmla="*/ 0 h 154"/>
                <a:gd name="T2" fmla="*/ 28 w 139"/>
                <a:gd name="T3" fmla="*/ 154 h 154"/>
                <a:gd name="T4" fmla="*/ 113 w 139"/>
                <a:gd name="T5" fmla="*/ 0 h 154"/>
              </a:gdLst>
              <a:ahLst/>
              <a:cxnLst>
                <a:cxn ang="0">
                  <a:pos x="T0" y="T1"/>
                </a:cxn>
                <a:cxn ang="0">
                  <a:pos x="T2" y="T3"/>
                </a:cxn>
                <a:cxn ang="0">
                  <a:pos x="T4" y="T5"/>
                </a:cxn>
              </a:cxnLst>
              <a:rect l="0" t="0" r="r" b="b"/>
              <a:pathLst>
                <a:path w="139" h="154">
                  <a:moveTo>
                    <a:pt x="113" y="0"/>
                  </a:moveTo>
                  <a:cubicBezTo>
                    <a:pt x="113" y="0"/>
                    <a:pt x="139" y="116"/>
                    <a:pt x="28" y="154"/>
                  </a:cubicBezTo>
                  <a:cubicBezTo>
                    <a:pt x="28" y="154"/>
                    <a:pt x="0" y="57"/>
                    <a:pt x="113" y="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Light" panose="020F0302020204030204"/>
                <a:ea typeface="+mn-ea"/>
                <a:cs typeface="+mn-cs"/>
              </a:endParaRPr>
            </a:p>
          </p:txBody>
        </p:sp>
      </p:grpSp>
      <p:grpSp>
        <p:nvGrpSpPr>
          <p:cNvPr id="17" name="Group 21">
            <a:extLst>
              <a:ext uri="{FF2B5EF4-FFF2-40B4-BE49-F238E27FC236}">
                <a16:creationId xmlns:a16="http://schemas.microsoft.com/office/drawing/2014/main" id="{EDAB09E4-B468-4EA8-AA24-E84F348B94D0}"/>
              </a:ext>
            </a:extLst>
          </p:cNvPr>
          <p:cNvGrpSpPr/>
          <p:nvPr/>
        </p:nvGrpSpPr>
        <p:grpSpPr>
          <a:xfrm>
            <a:off x="5750959" y="3240389"/>
            <a:ext cx="5000980" cy="453777"/>
            <a:chOff x="1138416" y="2547664"/>
            <a:chExt cx="5000980" cy="453777"/>
          </a:xfrm>
        </p:grpSpPr>
        <p:sp>
          <p:nvSpPr>
            <p:cNvPr id="18" name="Rounded Rectangle 248">
              <a:extLst>
                <a:ext uri="{FF2B5EF4-FFF2-40B4-BE49-F238E27FC236}">
                  <a16:creationId xmlns:a16="http://schemas.microsoft.com/office/drawing/2014/main" id="{101593CB-50C5-4099-9C20-737FADF97424}"/>
                </a:ext>
              </a:extLst>
            </p:cNvPr>
            <p:cNvSpPr/>
            <p:nvPr/>
          </p:nvSpPr>
          <p:spPr>
            <a:xfrm>
              <a:off x="1138416" y="2547664"/>
              <a:ext cx="5000980" cy="453777"/>
            </a:xfrm>
            <a:prstGeom prst="roundRect">
              <a:avLst>
                <a:gd name="adj" fmla="val 2689"/>
              </a:avLst>
            </a:prstGeom>
            <a:solidFill>
              <a:schemeClr val="bg1"/>
            </a:solidFill>
            <a:ln>
              <a:noFill/>
            </a:ln>
            <a:effectLst>
              <a:outerShdw blurRad="203200" dist="38100" dir="5400000" algn="t" rotWithShape="0">
                <a:prstClr val="black">
                  <a:alpha val="18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400" b="0" i="0" u="none" strike="noStrike" kern="1200" cap="none" spc="0" normalizeH="0" baseline="0" noProof="0" dirty="0">
                <a:ln>
                  <a:noFill/>
                </a:ln>
                <a:solidFill>
                  <a:srgbClr val="FFFFFF"/>
                </a:solidFill>
                <a:effectLst/>
                <a:uLnTx/>
                <a:uFillTx/>
                <a:latin typeface="等线 Light" panose="020F0302020204030204"/>
                <a:ea typeface="+mn-ea"/>
                <a:cs typeface="+mn-cs"/>
              </a:endParaRPr>
            </a:p>
          </p:txBody>
        </p:sp>
        <p:sp>
          <p:nvSpPr>
            <p:cNvPr id="19" name="Rectangle 23">
              <a:extLst>
                <a:ext uri="{FF2B5EF4-FFF2-40B4-BE49-F238E27FC236}">
                  <a16:creationId xmlns:a16="http://schemas.microsoft.com/office/drawing/2014/main" id="{883FFD8A-16E9-4978-9D8F-D860E681A0C8}"/>
                </a:ext>
              </a:extLst>
            </p:cNvPr>
            <p:cNvSpPr/>
            <p:nvPr/>
          </p:nvSpPr>
          <p:spPr>
            <a:xfrm>
              <a:off x="1316002" y="2618676"/>
              <a:ext cx="361691" cy="311752"/>
            </a:xfrm>
            <a:prstGeom prst="rect">
              <a:avLst/>
            </a:prstGeom>
          </p:spPr>
          <p:txBody>
            <a:bodyPr wrap="square">
              <a:spAutoFit/>
            </a:bodyPr>
            <a:lstStyle/>
            <a:p>
              <a:pPr marL="0" marR="0" lvl="0" indent="0" algn="r" defTabSz="914400" rtl="0" eaLnBrk="1" fontAlgn="auto" latinLnBrk="0" hangingPunct="1">
                <a:lnSpc>
                  <a:spcPct val="13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6D7381"/>
                  </a:solidFill>
                  <a:effectLst/>
                  <a:uLnTx/>
                  <a:uFillTx/>
                  <a:latin typeface="等线 Light" panose="020F0302020204030204"/>
                  <a:ea typeface="+mn-ea"/>
                  <a:cs typeface="+mn-cs"/>
                </a:rPr>
                <a:t>01</a:t>
              </a:r>
              <a:endParaRPr kumimoji="0" lang="id-ID" sz="1200" b="0" i="0" u="none" strike="noStrike" kern="1200" cap="none" spc="0" normalizeH="0" baseline="0" noProof="0" dirty="0">
                <a:ln>
                  <a:noFill/>
                </a:ln>
                <a:solidFill>
                  <a:srgbClr val="6D7381"/>
                </a:solidFill>
                <a:effectLst/>
                <a:uLnTx/>
                <a:uFillTx/>
                <a:latin typeface="等线 Light" panose="020F0302020204030204"/>
                <a:ea typeface="+mn-ea"/>
                <a:cs typeface="+mn-cs"/>
              </a:endParaRPr>
            </a:p>
          </p:txBody>
        </p:sp>
        <p:grpSp>
          <p:nvGrpSpPr>
            <p:cNvPr id="20" name="Group 24">
              <a:extLst>
                <a:ext uri="{FF2B5EF4-FFF2-40B4-BE49-F238E27FC236}">
                  <a16:creationId xmlns:a16="http://schemas.microsoft.com/office/drawing/2014/main" id="{5930C89E-38B1-473A-9F93-4EB7F60937A0}"/>
                </a:ext>
              </a:extLst>
            </p:cNvPr>
            <p:cNvGrpSpPr/>
            <p:nvPr/>
          </p:nvGrpSpPr>
          <p:grpSpPr>
            <a:xfrm rot="16200000">
              <a:off x="1778739" y="2652516"/>
              <a:ext cx="246669" cy="244072"/>
              <a:chOff x="2813442" y="3494557"/>
              <a:chExt cx="444855" cy="440172"/>
            </a:xfrm>
          </p:grpSpPr>
          <p:sp>
            <p:nvSpPr>
              <p:cNvPr id="23" name="Freeform 163">
                <a:extLst>
                  <a:ext uri="{FF2B5EF4-FFF2-40B4-BE49-F238E27FC236}">
                    <a16:creationId xmlns:a16="http://schemas.microsoft.com/office/drawing/2014/main" id="{FD2AB93C-123D-4E2A-910B-225A219C6800}"/>
                  </a:ext>
                </a:extLst>
              </p:cNvPr>
              <p:cNvSpPr>
                <a:spLocks noEditPoints="1"/>
              </p:cNvSpPr>
              <p:nvPr/>
            </p:nvSpPr>
            <p:spPr bwMode="auto">
              <a:xfrm>
                <a:off x="2813442" y="3494557"/>
                <a:ext cx="444855" cy="440172"/>
              </a:xfrm>
              <a:custGeom>
                <a:avLst/>
                <a:gdLst>
                  <a:gd name="T0" fmla="*/ 511 w 852"/>
                  <a:gd name="T1" fmla="*/ 845 h 854"/>
                  <a:gd name="T2" fmla="*/ 610 w 852"/>
                  <a:gd name="T3" fmla="*/ 811 h 854"/>
                  <a:gd name="T4" fmla="*/ 697 w 852"/>
                  <a:gd name="T5" fmla="*/ 756 h 854"/>
                  <a:gd name="T6" fmla="*/ 767 w 852"/>
                  <a:gd name="T7" fmla="*/ 682 h 854"/>
                  <a:gd name="T8" fmla="*/ 819 w 852"/>
                  <a:gd name="T9" fmla="*/ 592 h 854"/>
                  <a:gd name="T10" fmla="*/ 847 w 852"/>
                  <a:gd name="T11" fmla="*/ 491 h 854"/>
                  <a:gd name="T12" fmla="*/ 850 w 852"/>
                  <a:gd name="T13" fmla="*/ 383 h 854"/>
                  <a:gd name="T14" fmla="*/ 826 w 852"/>
                  <a:gd name="T15" fmla="*/ 279 h 854"/>
                  <a:gd name="T16" fmla="*/ 779 w 852"/>
                  <a:gd name="T17" fmla="*/ 187 h 854"/>
                  <a:gd name="T18" fmla="*/ 712 w 852"/>
                  <a:gd name="T19" fmla="*/ 111 h 854"/>
                  <a:gd name="T20" fmla="*/ 628 w 852"/>
                  <a:gd name="T21" fmla="*/ 51 h 854"/>
                  <a:gd name="T22" fmla="*/ 533 w 852"/>
                  <a:gd name="T23" fmla="*/ 13 h 854"/>
                  <a:gd name="T24" fmla="*/ 426 w 852"/>
                  <a:gd name="T25" fmla="*/ 0 h 854"/>
                  <a:gd name="T26" fmla="*/ 319 w 852"/>
                  <a:gd name="T27" fmla="*/ 13 h 854"/>
                  <a:gd name="T28" fmla="*/ 223 w 852"/>
                  <a:gd name="T29" fmla="*/ 51 h 854"/>
                  <a:gd name="T30" fmla="*/ 140 w 852"/>
                  <a:gd name="T31" fmla="*/ 111 h 854"/>
                  <a:gd name="T32" fmla="*/ 72 w 852"/>
                  <a:gd name="T33" fmla="*/ 187 h 854"/>
                  <a:gd name="T34" fmla="*/ 26 w 852"/>
                  <a:gd name="T35" fmla="*/ 279 h 854"/>
                  <a:gd name="T36" fmla="*/ 2 w 852"/>
                  <a:gd name="T37" fmla="*/ 383 h 854"/>
                  <a:gd name="T38" fmla="*/ 5 w 852"/>
                  <a:gd name="T39" fmla="*/ 491 h 854"/>
                  <a:gd name="T40" fmla="*/ 33 w 852"/>
                  <a:gd name="T41" fmla="*/ 592 h 854"/>
                  <a:gd name="T42" fmla="*/ 85 w 852"/>
                  <a:gd name="T43" fmla="*/ 682 h 854"/>
                  <a:gd name="T44" fmla="*/ 155 w 852"/>
                  <a:gd name="T45" fmla="*/ 756 h 854"/>
                  <a:gd name="T46" fmla="*/ 242 w 852"/>
                  <a:gd name="T47" fmla="*/ 811 h 854"/>
                  <a:gd name="T48" fmla="*/ 340 w 852"/>
                  <a:gd name="T49" fmla="*/ 845 h 854"/>
                  <a:gd name="T50" fmla="*/ 426 w 852"/>
                  <a:gd name="T51" fmla="*/ 34 h 854"/>
                  <a:gd name="T52" fmla="*/ 524 w 852"/>
                  <a:gd name="T53" fmla="*/ 46 h 854"/>
                  <a:gd name="T54" fmla="*/ 612 w 852"/>
                  <a:gd name="T55" fmla="*/ 81 h 854"/>
                  <a:gd name="T56" fmla="*/ 689 w 852"/>
                  <a:gd name="T57" fmla="*/ 136 h 854"/>
                  <a:gd name="T58" fmla="*/ 750 w 852"/>
                  <a:gd name="T59" fmla="*/ 207 h 854"/>
                  <a:gd name="T60" fmla="*/ 793 w 852"/>
                  <a:gd name="T61" fmla="*/ 291 h 854"/>
                  <a:gd name="T62" fmla="*/ 816 w 852"/>
                  <a:gd name="T63" fmla="*/ 386 h 854"/>
                  <a:gd name="T64" fmla="*/ 812 w 852"/>
                  <a:gd name="T65" fmla="*/ 486 h 854"/>
                  <a:gd name="T66" fmla="*/ 786 w 852"/>
                  <a:gd name="T67" fmla="*/ 579 h 854"/>
                  <a:gd name="T68" fmla="*/ 739 w 852"/>
                  <a:gd name="T69" fmla="*/ 661 h 854"/>
                  <a:gd name="T70" fmla="*/ 675 w 852"/>
                  <a:gd name="T71" fmla="*/ 730 h 854"/>
                  <a:gd name="T72" fmla="*/ 595 w 852"/>
                  <a:gd name="T73" fmla="*/ 780 h 854"/>
                  <a:gd name="T74" fmla="*/ 504 w 852"/>
                  <a:gd name="T75" fmla="*/ 811 h 854"/>
                  <a:gd name="T76" fmla="*/ 406 w 852"/>
                  <a:gd name="T77" fmla="*/ 818 h 854"/>
                  <a:gd name="T78" fmla="*/ 309 w 852"/>
                  <a:gd name="T79" fmla="*/ 801 h 854"/>
                  <a:gd name="T80" fmla="*/ 223 w 852"/>
                  <a:gd name="T81" fmla="*/ 762 h 854"/>
                  <a:gd name="T82" fmla="*/ 149 w 852"/>
                  <a:gd name="T83" fmla="*/ 703 h 854"/>
                  <a:gd name="T84" fmla="*/ 92 w 852"/>
                  <a:gd name="T85" fmla="*/ 630 h 854"/>
                  <a:gd name="T86" fmla="*/ 52 w 852"/>
                  <a:gd name="T87" fmla="*/ 543 h 854"/>
                  <a:gd name="T88" fmla="*/ 35 w 852"/>
                  <a:gd name="T89" fmla="*/ 447 h 854"/>
                  <a:gd name="T90" fmla="*/ 42 w 852"/>
                  <a:gd name="T91" fmla="*/ 347 h 854"/>
                  <a:gd name="T92" fmla="*/ 73 w 852"/>
                  <a:gd name="T93" fmla="*/ 256 h 854"/>
                  <a:gd name="T94" fmla="*/ 124 w 852"/>
                  <a:gd name="T95" fmla="*/ 177 h 854"/>
                  <a:gd name="T96" fmla="*/ 192 w 852"/>
                  <a:gd name="T97" fmla="*/ 112 h 854"/>
                  <a:gd name="T98" fmla="*/ 274 w 852"/>
                  <a:gd name="T99" fmla="*/ 65 h 854"/>
                  <a:gd name="T100" fmla="*/ 366 w 852"/>
                  <a:gd name="T101" fmla="*/ 38 h 8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52" h="854">
                    <a:moveTo>
                      <a:pt x="426" y="854"/>
                    </a:moveTo>
                    <a:lnTo>
                      <a:pt x="448" y="853"/>
                    </a:lnTo>
                    <a:lnTo>
                      <a:pt x="469" y="851"/>
                    </a:lnTo>
                    <a:lnTo>
                      <a:pt x="490" y="849"/>
                    </a:lnTo>
                    <a:lnTo>
                      <a:pt x="511" y="845"/>
                    </a:lnTo>
                    <a:lnTo>
                      <a:pt x="533" y="840"/>
                    </a:lnTo>
                    <a:lnTo>
                      <a:pt x="553" y="835"/>
                    </a:lnTo>
                    <a:lnTo>
                      <a:pt x="572" y="828"/>
                    </a:lnTo>
                    <a:lnTo>
                      <a:pt x="591" y="819"/>
                    </a:lnTo>
                    <a:lnTo>
                      <a:pt x="610" y="811"/>
                    </a:lnTo>
                    <a:lnTo>
                      <a:pt x="628" y="802"/>
                    </a:lnTo>
                    <a:lnTo>
                      <a:pt x="646" y="791"/>
                    </a:lnTo>
                    <a:lnTo>
                      <a:pt x="663" y="780"/>
                    </a:lnTo>
                    <a:lnTo>
                      <a:pt x="681" y="768"/>
                    </a:lnTo>
                    <a:lnTo>
                      <a:pt x="697" y="756"/>
                    </a:lnTo>
                    <a:lnTo>
                      <a:pt x="712" y="743"/>
                    </a:lnTo>
                    <a:lnTo>
                      <a:pt x="727" y="729"/>
                    </a:lnTo>
                    <a:lnTo>
                      <a:pt x="741" y="713"/>
                    </a:lnTo>
                    <a:lnTo>
                      <a:pt x="754" y="698"/>
                    </a:lnTo>
                    <a:lnTo>
                      <a:pt x="767" y="682"/>
                    </a:lnTo>
                    <a:lnTo>
                      <a:pt x="779" y="665"/>
                    </a:lnTo>
                    <a:lnTo>
                      <a:pt x="790" y="648"/>
                    </a:lnTo>
                    <a:lnTo>
                      <a:pt x="800" y="630"/>
                    </a:lnTo>
                    <a:lnTo>
                      <a:pt x="809" y="611"/>
                    </a:lnTo>
                    <a:lnTo>
                      <a:pt x="819" y="592"/>
                    </a:lnTo>
                    <a:lnTo>
                      <a:pt x="826" y="573"/>
                    </a:lnTo>
                    <a:lnTo>
                      <a:pt x="833" y="553"/>
                    </a:lnTo>
                    <a:lnTo>
                      <a:pt x="839" y="533"/>
                    </a:lnTo>
                    <a:lnTo>
                      <a:pt x="843" y="513"/>
                    </a:lnTo>
                    <a:lnTo>
                      <a:pt x="847" y="491"/>
                    </a:lnTo>
                    <a:lnTo>
                      <a:pt x="850" y="470"/>
                    </a:lnTo>
                    <a:lnTo>
                      <a:pt x="851" y="448"/>
                    </a:lnTo>
                    <a:lnTo>
                      <a:pt x="852" y="427"/>
                    </a:lnTo>
                    <a:lnTo>
                      <a:pt x="851" y="405"/>
                    </a:lnTo>
                    <a:lnTo>
                      <a:pt x="850" y="383"/>
                    </a:lnTo>
                    <a:lnTo>
                      <a:pt x="847" y="361"/>
                    </a:lnTo>
                    <a:lnTo>
                      <a:pt x="843" y="341"/>
                    </a:lnTo>
                    <a:lnTo>
                      <a:pt x="839" y="320"/>
                    </a:lnTo>
                    <a:lnTo>
                      <a:pt x="833" y="300"/>
                    </a:lnTo>
                    <a:lnTo>
                      <a:pt x="826" y="279"/>
                    </a:lnTo>
                    <a:lnTo>
                      <a:pt x="819" y="260"/>
                    </a:lnTo>
                    <a:lnTo>
                      <a:pt x="809" y="241"/>
                    </a:lnTo>
                    <a:lnTo>
                      <a:pt x="800" y="223"/>
                    </a:lnTo>
                    <a:lnTo>
                      <a:pt x="790" y="206"/>
                    </a:lnTo>
                    <a:lnTo>
                      <a:pt x="779" y="187"/>
                    </a:lnTo>
                    <a:lnTo>
                      <a:pt x="767" y="171"/>
                    </a:lnTo>
                    <a:lnTo>
                      <a:pt x="754" y="155"/>
                    </a:lnTo>
                    <a:lnTo>
                      <a:pt x="741" y="139"/>
                    </a:lnTo>
                    <a:lnTo>
                      <a:pt x="727" y="125"/>
                    </a:lnTo>
                    <a:lnTo>
                      <a:pt x="712" y="111"/>
                    </a:lnTo>
                    <a:lnTo>
                      <a:pt x="697" y="97"/>
                    </a:lnTo>
                    <a:lnTo>
                      <a:pt x="681" y="84"/>
                    </a:lnTo>
                    <a:lnTo>
                      <a:pt x="663" y="72"/>
                    </a:lnTo>
                    <a:lnTo>
                      <a:pt x="646" y="61"/>
                    </a:lnTo>
                    <a:lnTo>
                      <a:pt x="628" y="51"/>
                    </a:lnTo>
                    <a:lnTo>
                      <a:pt x="610" y="42"/>
                    </a:lnTo>
                    <a:lnTo>
                      <a:pt x="591" y="33"/>
                    </a:lnTo>
                    <a:lnTo>
                      <a:pt x="572" y="25"/>
                    </a:lnTo>
                    <a:lnTo>
                      <a:pt x="553" y="19"/>
                    </a:lnTo>
                    <a:lnTo>
                      <a:pt x="533" y="13"/>
                    </a:lnTo>
                    <a:lnTo>
                      <a:pt x="511" y="8"/>
                    </a:lnTo>
                    <a:lnTo>
                      <a:pt x="490" y="5"/>
                    </a:lnTo>
                    <a:lnTo>
                      <a:pt x="469" y="2"/>
                    </a:lnTo>
                    <a:lnTo>
                      <a:pt x="448" y="0"/>
                    </a:lnTo>
                    <a:lnTo>
                      <a:pt x="426" y="0"/>
                    </a:lnTo>
                    <a:lnTo>
                      <a:pt x="404" y="0"/>
                    </a:lnTo>
                    <a:lnTo>
                      <a:pt x="383" y="2"/>
                    </a:lnTo>
                    <a:lnTo>
                      <a:pt x="361" y="5"/>
                    </a:lnTo>
                    <a:lnTo>
                      <a:pt x="340" y="8"/>
                    </a:lnTo>
                    <a:lnTo>
                      <a:pt x="319" y="13"/>
                    </a:lnTo>
                    <a:lnTo>
                      <a:pt x="299" y="19"/>
                    </a:lnTo>
                    <a:lnTo>
                      <a:pt x="280" y="25"/>
                    </a:lnTo>
                    <a:lnTo>
                      <a:pt x="260" y="33"/>
                    </a:lnTo>
                    <a:lnTo>
                      <a:pt x="242" y="42"/>
                    </a:lnTo>
                    <a:lnTo>
                      <a:pt x="223" y="51"/>
                    </a:lnTo>
                    <a:lnTo>
                      <a:pt x="205" y="61"/>
                    </a:lnTo>
                    <a:lnTo>
                      <a:pt x="188" y="72"/>
                    </a:lnTo>
                    <a:lnTo>
                      <a:pt x="171" y="84"/>
                    </a:lnTo>
                    <a:lnTo>
                      <a:pt x="155" y="97"/>
                    </a:lnTo>
                    <a:lnTo>
                      <a:pt x="140" y="111"/>
                    </a:lnTo>
                    <a:lnTo>
                      <a:pt x="125" y="125"/>
                    </a:lnTo>
                    <a:lnTo>
                      <a:pt x="111" y="139"/>
                    </a:lnTo>
                    <a:lnTo>
                      <a:pt x="98" y="155"/>
                    </a:lnTo>
                    <a:lnTo>
                      <a:pt x="85" y="171"/>
                    </a:lnTo>
                    <a:lnTo>
                      <a:pt x="72" y="187"/>
                    </a:lnTo>
                    <a:lnTo>
                      <a:pt x="61" y="206"/>
                    </a:lnTo>
                    <a:lnTo>
                      <a:pt x="51" y="223"/>
                    </a:lnTo>
                    <a:lnTo>
                      <a:pt x="42" y="241"/>
                    </a:lnTo>
                    <a:lnTo>
                      <a:pt x="33" y="260"/>
                    </a:lnTo>
                    <a:lnTo>
                      <a:pt x="26" y="279"/>
                    </a:lnTo>
                    <a:lnTo>
                      <a:pt x="19" y="300"/>
                    </a:lnTo>
                    <a:lnTo>
                      <a:pt x="13" y="320"/>
                    </a:lnTo>
                    <a:lnTo>
                      <a:pt x="9" y="341"/>
                    </a:lnTo>
                    <a:lnTo>
                      <a:pt x="5" y="361"/>
                    </a:lnTo>
                    <a:lnTo>
                      <a:pt x="2" y="383"/>
                    </a:lnTo>
                    <a:lnTo>
                      <a:pt x="1" y="405"/>
                    </a:lnTo>
                    <a:lnTo>
                      <a:pt x="0" y="427"/>
                    </a:lnTo>
                    <a:lnTo>
                      <a:pt x="1" y="448"/>
                    </a:lnTo>
                    <a:lnTo>
                      <a:pt x="2" y="470"/>
                    </a:lnTo>
                    <a:lnTo>
                      <a:pt x="5" y="491"/>
                    </a:lnTo>
                    <a:lnTo>
                      <a:pt x="9" y="513"/>
                    </a:lnTo>
                    <a:lnTo>
                      <a:pt x="13" y="533"/>
                    </a:lnTo>
                    <a:lnTo>
                      <a:pt x="19" y="553"/>
                    </a:lnTo>
                    <a:lnTo>
                      <a:pt x="26" y="573"/>
                    </a:lnTo>
                    <a:lnTo>
                      <a:pt x="33" y="592"/>
                    </a:lnTo>
                    <a:lnTo>
                      <a:pt x="42" y="611"/>
                    </a:lnTo>
                    <a:lnTo>
                      <a:pt x="51" y="630"/>
                    </a:lnTo>
                    <a:lnTo>
                      <a:pt x="61" y="648"/>
                    </a:lnTo>
                    <a:lnTo>
                      <a:pt x="72" y="665"/>
                    </a:lnTo>
                    <a:lnTo>
                      <a:pt x="85" y="682"/>
                    </a:lnTo>
                    <a:lnTo>
                      <a:pt x="98" y="698"/>
                    </a:lnTo>
                    <a:lnTo>
                      <a:pt x="111" y="713"/>
                    </a:lnTo>
                    <a:lnTo>
                      <a:pt x="125" y="729"/>
                    </a:lnTo>
                    <a:lnTo>
                      <a:pt x="140" y="743"/>
                    </a:lnTo>
                    <a:lnTo>
                      <a:pt x="155" y="756"/>
                    </a:lnTo>
                    <a:lnTo>
                      <a:pt x="171" y="768"/>
                    </a:lnTo>
                    <a:lnTo>
                      <a:pt x="188" y="780"/>
                    </a:lnTo>
                    <a:lnTo>
                      <a:pt x="205" y="791"/>
                    </a:lnTo>
                    <a:lnTo>
                      <a:pt x="223" y="802"/>
                    </a:lnTo>
                    <a:lnTo>
                      <a:pt x="242" y="811"/>
                    </a:lnTo>
                    <a:lnTo>
                      <a:pt x="260" y="819"/>
                    </a:lnTo>
                    <a:lnTo>
                      <a:pt x="280" y="828"/>
                    </a:lnTo>
                    <a:lnTo>
                      <a:pt x="299" y="835"/>
                    </a:lnTo>
                    <a:lnTo>
                      <a:pt x="319" y="840"/>
                    </a:lnTo>
                    <a:lnTo>
                      <a:pt x="340" y="845"/>
                    </a:lnTo>
                    <a:lnTo>
                      <a:pt x="361" y="849"/>
                    </a:lnTo>
                    <a:lnTo>
                      <a:pt x="383" y="851"/>
                    </a:lnTo>
                    <a:lnTo>
                      <a:pt x="404" y="853"/>
                    </a:lnTo>
                    <a:lnTo>
                      <a:pt x="426" y="854"/>
                    </a:lnTo>
                    <a:close/>
                    <a:moveTo>
                      <a:pt x="426" y="34"/>
                    </a:moveTo>
                    <a:lnTo>
                      <a:pt x="446" y="34"/>
                    </a:lnTo>
                    <a:lnTo>
                      <a:pt x="466" y="36"/>
                    </a:lnTo>
                    <a:lnTo>
                      <a:pt x="485" y="38"/>
                    </a:lnTo>
                    <a:lnTo>
                      <a:pt x="504" y="42"/>
                    </a:lnTo>
                    <a:lnTo>
                      <a:pt x="524" y="46"/>
                    </a:lnTo>
                    <a:lnTo>
                      <a:pt x="542" y="51"/>
                    </a:lnTo>
                    <a:lnTo>
                      <a:pt x="560" y="58"/>
                    </a:lnTo>
                    <a:lnTo>
                      <a:pt x="578" y="65"/>
                    </a:lnTo>
                    <a:lnTo>
                      <a:pt x="595" y="72"/>
                    </a:lnTo>
                    <a:lnTo>
                      <a:pt x="612" y="81"/>
                    </a:lnTo>
                    <a:lnTo>
                      <a:pt x="628" y="91"/>
                    </a:lnTo>
                    <a:lnTo>
                      <a:pt x="644" y="101"/>
                    </a:lnTo>
                    <a:lnTo>
                      <a:pt x="659" y="112"/>
                    </a:lnTo>
                    <a:lnTo>
                      <a:pt x="675" y="124"/>
                    </a:lnTo>
                    <a:lnTo>
                      <a:pt x="689" y="136"/>
                    </a:lnTo>
                    <a:lnTo>
                      <a:pt x="703" y="149"/>
                    </a:lnTo>
                    <a:lnTo>
                      <a:pt x="716" y="162"/>
                    </a:lnTo>
                    <a:lnTo>
                      <a:pt x="728" y="177"/>
                    </a:lnTo>
                    <a:lnTo>
                      <a:pt x="739" y="191"/>
                    </a:lnTo>
                    <a:lnTo>
                      <a:pt x="750" y="207"/>
                    </a:lnTo>
                    <a:lnTo>
                      <a:pt x="760" y="223"/>
                    </a:lnTo>
                    <a:lnTo>
                      <a:pt x="770" y="240"/>
                    </a:lnTo>
                    <a:lnTo>
                      <a:pt x="778" y="256"/>
                    </a:lnTo>
                    <a:lnTo>
                      <a:pt x="786" y="274"/>
                    </a:lnTo>
                    <a:lnTo>
                      <a:pt x="793" y="291"/>
                    </a:lnTo>
                    <a:lnTo>
                      <a:pt x="799" y="310"/>
                    </a:lnTo>
                    <a:lnTo>
                      <a:pt x="804" y="329"/>
                    </a:lnTo>
                    <a:lnTo>
                      <a:pt x="809" y="347"/>
                    </a:lnTo>
                    <a:lnTo>
                      <a:pt x="812" y="367"/>
                    </a:lnTo>
                    <a:lnTo>
                      <a:pt x="816" y="386"/>
                    </a:lnTo>
                    <a:lnTo>
                      <a:pt x="817" y="407"/>
                    </a:lnTo>
                    <a:lnTo>
                      <a:pt x="818" y="427"/>
                    </a:lnTo>
                    <a:lnTo>
                      <a:pt x="817" y="447"/>
                    </a:lnTo>
                    <a:lnTo>
                      <a:pt x="816" y="466"/>
                    </a:lnTo>
                    <a:lnTo>
                      <a:pt x="812" y="486"/>
                    </a:lnTo>
                    <a:lnTo>
                      <a:pt x="809" y="505"/>
                    </a:lnTo>
                    <a:lnTo>
                      <a:pt x="804" y="525"/>
                    </a:lnTo>
                    <a:lnTo>
                      <a:pt x="799" y="543"/>
                    </a:lnTo>
                    <a:lnTo>
                      <a:pt x="793" y="561"/>
                    </a:lnTo>
                    <a:lnTo>
                      <a:pt x="786" y="579"/>
                    </a:lnTo>
                    <a:lnTo>
                      <a:pt x="778" y="596"/>
                    </a:lnTo>
                    <a:lnTo>
                      <a:pt x="770" y="614"/>
                    </a:lnTo>
                    <a:lnTo>
                      <a:pt x="760" y="630"/>
                    </a:lnTo>
                    <a:lnTo>
                      <a:pt x="750" y="646"/>
                    </a:lnTo>
                    <a:lnTo>
                      <a:pt x="739" y="661"/>
                    </a:lnTo>
                    <a:lnTo>
                      <a:pt x="728" y="676"/>
                    </a:lnTo>
                    <a:lnTo>
                      <a:pt x="716" y="690"/>
                    </a:lnTo>
                    <a:lnTo>
                      <a:pt x="703" y="703"/>
                    </a:lnTo>
                    <a:lnTo>
                      <a:pt x="689" y="716"/>
                    </a:lnTo>
                    <a:lnTo>
                      <a:pt x="675" y="730"/>
                    </a:lnTo>
                    <a:lnTo>
                      <a:pt x="659" y="741"/>
                    </a:lnTo>
                    <a:lnTo>
                      <a:pt x="644" y="752"/>
                    </a:lnTo>
                    <a:lnTo>
                      <a:pt x="628" y="762"/>
                    </a:lnTo>
                    <a:lnTo>
                      <a:pt x="612" y="771"/>
                    </a:lnTo>
                    <a:lnTo>
                      <a:pt x="595" y="780"/>
                    </a:lnTo>
                    <a:lnTo>
                      <a:pt x="578" y="788"/>
                    </a:lnTo>
                    <a:lnTo>
                      <a:pt x="560" y="795"/>
                    </a:lnTo>
                    <a:lnTo>
                      <a:pt x="542" y="801"/>
                    </a:lnTo>
                    <a:lnTo>
                      <a:pt x="524" y="806"/>
                    </a:lnTo>
                    <a:lnTo>
                      <a:pt x="504" y="811"/>
                    </a:lnTo>
                    <a:lnTo>
                      <a:pt x="485" y="814"/>
                    </a:lnTo>
                    <a:lnTo>
                      <a:pt x="466" y="816"/>
                    </a:lnTo>
                    <a:lnTo>
                      <a:pt x="446" y="818"/>
                    </a:lnTo>
                    <a:lnTo>
                      <a:pt x="426" y="818"/>
                    </a:lnTo>
                    <a:lnTo>
                      <a:pt x="406" y="818"/>
                    </a:lnTo>
                    <a:lnTo>
                      <a:pt x="386" y="816"/>
                    </a:lnTo>
                    <a:lnTo>
                      <a:pt x="366" y="814"/>
                    </a:lnTo>
                    <a:lnTo>
                      <a:pt x="347" y="811"/>
                    </a:lnTo>
                    <a:lnTo>
                      <a:pt x="328" y="806"/>
                    </a:lnTo>
                    <a:lnTo>
                      <a:pt x="309" y="801"/>
                    </a:lnTo>
                    <a:lnTo>
                      <a:pt x="291" y="795"/>
                    </a:lnTo>
                    <a:lnTo>
                      <a:pt x="274" y="788"/>
                    </a:lnTo>
                    <a:lnTo>
                      <a:pt x="257" y="780"/>
                    </a:lnTo>
                    <a:lnTo>
                      <a:pt x="240" y="771"/>
                    </a:lnTo>
                    <a:lnTo>
                      <a:pt x="223" y="762"/>
                    </a:lnTo>
                    <a:lnTo>
                      <a:pt x="207" y="752"/>
                    </a:lnTo>
                    <a:lnTo>
                      <a:pt x="192" y="741"/>
                    </a:lnTo>
                    <a:lnTo>
                      <a:pt x="177" y="730"/>
                    </a:lnTo>
                    <a:lnTo>
                      <a:pt x="163" y="716"/>
                    </a:lnTo>
                    <a:lnTo>
                      <a:pt x="149" y="703"/>
                    </a:lnTo>
                    <a:lnTo>
                      <a:pt x="136" y="690"/>
                    </a:lnTo>
                    <a:lnTo>
                      <a:pt x="124" y="676"/>
                    </a:lnTo>
                    <a:lnTo>
                      <a:pt x="113" y="661"/>
                    </a:lnTo>
                    <a:lnTo>
                      <a:pt x="102" y="646"/>
                    </a:lnTo>
                    <a:lnTo>
                      <a:pt x="92" y="630"/>
                    </a:lnTo>
                    <a:lnTo>
                      <a:pt x="81" y="614"/>
                    </a:lnTo>
                    <a:lnTo>
                      <a:pt x="73" y="596"/>
                    </a:lnTo>
                    <a:lnTo>
                      <a:pt x="65" y="579"/>
                    </a:lnTo>
                    <a:lnTo>
                      <a:pt x="58" y="561"/>
                    </a:lnTo>
                    <a:lnTo>
                      <a:pt x="52" y="543"/>
                    </a:lnTo>
                    <a:lnTo>
                      <a:pt x="47" y="525"/>
                    </a:lnTo>
                    <a:lnTo>
                      <a:pt x="42" y="505"/>
                    </a:lnTo>
                    <a:lnTo>
                      <a:pt x="39" y="486"/>
                    </a:lnTo>
                    <a:lnTo>
                      <a:pt x="36" y="466"/>
                    </a:lnTo>
                    <a:lnTo>
                      <a:pt x="35" y="447"/>
                    </a:lnTo>
                    <a:lnTo>
                      <a:pt x="34" y="427"/>
                    </a:lnTo>
                    <a:lnTo>
                      <a:pt x="35" y="407"/>
                    </a:lnTo>
                    <a:lnTo>
                      <a:pt x="36" y="386"/>
                    </a:lnTo>
                    <a:lnTo>
                      <a:pt x="39" y="367"/>
                    </a:lnTo>
                    <a:lnTo>
                      <a:pt x="42" y="347"/>
                    </a:lnTo>
                    <a:lnTo>
                      <a:pt x="47" y="329"/>
                    </a:lnTo>
                    <a:lnTo>
                      <a:pt x="52" y="310"/>
                    </a:lnTo>
                    <a:lnTo>
                      <a:pt x="58" y="291"/>
                    </a:lnTo>
                    <a:lnTo>
                      <a:pt x="65" y="274"/>
                    </a:lnTo>
                    <a:lnTo>
                      <a:pt x="73" y="256"/>
                    </a:lnTo>
                    <a:lnTo>
                      <a:pt x="81" y="240"/>
                    </a:lnTo>
                    <a:lnTo>
                      <a:pt x="92" y="223"/>
                    </a:lnTo>
                    <a:lnTo>
                      <a:pt x="102" y="207"/>
                    </a:lnTo>
                    <a:lnTo>
                      <a:pt x="113" y="191"/>
                    </a:lnTo>
                    <a:lnTo>
                      <a:pt x="124" y="177"/>
                    </a:lnTo>
                    <a:lnTo>
                      <a:pt x="136" y="162"/>
                    </a:lnTo>
                    <a:lnTo>
                      <a:pt x="149" y="149"/>
                    </a:lnTo>
                    <a:lnTo>
                      <a:pt x="163" y="136"/>
                    </a:lnTo>
                    <a:lnTo>
                      <a:pt x="177" y="124"/>
                    </a:lnTo>
                    <a:lnTo>
                      <a:pt x="192" y="112"/>
                    </a:lnTo>
                    <a:lnTo>
                      <a:pt x="207" y="101"/>
                    </a:lnTo>
                    <a:lnTo>
                      <a:pt x="223" y="91"/>
                    </a:lnTo>
                    <a:lnTo>
                      <a:pt x="240" y="81"/>
                    </a:lnTo>
                    <a:lnTo>
                      <a:pt x="257" y="72"/>
                    </a:lnTo>
                    <a:lnTo>
                      <a:pt x="274" y="65"/>
                    </a:lnTo>
                    <a:lnTo>
                      <a:pt x="291" y="58"/>
                    </a:lnTo>
                    <a:lnTo>
                      <a:pt x="309" y="51"/>
                    </a:lnTo>
                    <a:lnTo>
                      <a:pt x="328" y="46"/>
                    </a:lnTo>
                    <a:lnTo>
                      <a:pt x="347" y="42"/>
                    </a:lnTo>
                    <a:lnTo>
                      <a:pt x="366" y="38"/>
                    </a:lnTo>
                    <a:lnTo>
                      <a:pt x="386" y="36"/>
                    </a:lnTo>
                    <a:lnTo>
                      <a:pt x="406" y="34"/>
                    </a:lnTo>
                    <a:lnTo>
                      <a:pt x="426" y="34"/>
                    </a:lnTo>
                    <a:close/>
                  </a:path>
                </a:pathLst>
              </a:custGeom>
              <a:solidFill>
                <a:srgbClr val="6D73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等线 Light" panose="020F0302020204030204"/>
                  <a:ea typeface="+mn-ea"/>
                  <a:cs typeface="+mn-cs"/>
                </a:endParaRPr>
              </a:p>
            </p:txBody>
          </p:sp>
          <p:sp>
            <p:nvSpPr>
              <p:cNvPr id="24" name="Freeform 164">
                <a:extLst>
                  <a:ext uri="{FF2B5EF4-FFF2-40B4-BE49-F238E27FC236}">
                    <a16:creationId xmlns:a16="http://schemas.microsoft.com/office/drawing/2014/main" id="{745411E2-E4FF-4B32-9500-91BF11E9C3DF}"/>
                  </a:ext>
                </a:extLst>
              </p:cNvPr>
              <p:cNvSpPr>
                <a:spLocks/>
              </p:cNvSpPr>
              <p:nvPr/>
            </p:nvSpPr>
            <p:spPr bwMode="auto">
              <a:xfrm>
                <a:off x="2986701" y="3639720"/>
                <a:ext cx="84288" cy="149846"/>
              </a:xfrm>
              <a:custGeom>
                <a:avLst/>
                <a:gdLst>
                  <a:gd name="T0" fmla="*/ 135 w 164"/>
                  <a:gd name="T1" fmla="*/ 289 h 294"/>
                  <a:gd name="T2" fmla="*/ 137 w 164"/>
                  <a:gd name="T3" fmla="*/ 291 h 294"/>
                  <a:gd name="T4" fmla="*/ 140 w 164"/>
                  <a:gd name="T5" fmla="*/ 293 h 294"/>
                  <a:gd name="T6" fmla="*/ 144 w 164"/>
                  <a:gd name="T7" fmla="*/ 294 h 294"/>
                  <a:gd name="T8" fmla="*/ 147 w 164"/>
                  <a:gd name="T9" fmla="*/ 294 h 294"/>
                  <a:gd name="T10" fmla="*/ 150 w 164"/>
                  <a:gd name="T11" fmla="*/ 294 h 294"/>
                  <a:gd name="T12" fmla="*/ 153 w 164"/>
                  <a:gd name="T13" fmla="*/ 293 h 294"/>
                  <a:gd name="T14" fmla="*/ 156 w 164"/>
                  <a:gd name="T15" fmla="*/ 291 h 294"/>
                  <a:gd name="T16" fmla="*/ 159 w 164"/>
                  <a:gd name="T17" fmla="*/ 289 h 294"/>
                  <a:gd name="T18" fmla="*/ 161 w 164"/>
                  <a:gd name="T19" fmla="*/ 286 h 294"/>
                  <a:gd name="T20" fmla="*/ 163 w 164"/>
                  <a:gd name="T21" fmla="*/ 283 h 294"/>
                  <a:gd name="T22" fmla="*/ 164 w 164"/>
                  <a:gd name="T23" fmla="*/ 280 h 294"/>
                  <a:gd name="T24" fmla="*/ 164 w 164"/>
                  <a:gd name="T25" fmla="*/ 277 h 294"/>
                  <a:gd name="T26" fmla="*/ 164 w 164"/>
                  <a:gd name="T27" fmla="*/ 274 h 294"/>
                  <a:gd name="T28" fmla="*/ 163 w 164"/>
                  <a:gd name="T29" fmla="*/ 271 h 294"/>
                  <a:gd name="T30" fmla="*/ 161 w 164"/>
                  <a:gd name="T31" fmla="*/ 268 h 294"/>
                  <a:gd name="T32" fmla="*/ 159 w 164"/>
                  <a:gd name="T33" fmla="*/ 265 h 294"/>
                  <a:gd name="T34" fmla="*/ 42 w 164"/>
                  <a:gd name="T35" fmla="*/ 148 h 294"/>
                  <a:gd name="T36" fmla="*/ 159 w 164"/>
                  <a:gd name="T37" fmla="*/ 30 h 294"/>
                  <a:gd name="T38" fmla="*/ 161 w 164"/>
                  <a:gd name="T39" fmla="*/ 28 h 294"/>
                  <a:gd name="T40" fmla="*/ 163 w 164"/>
                  <a:gd name="T41" fmla="*/ 25 h 294"/>
                  <a:gd name="T42" fmla="*/ 164 w 164"/>
                  <a:gd name="T43" fmla="*/ 22 h 294"/>
                  <a:gd name="T44" fmla="*/ 164 w 164"/>
                  <a:gd name="T45" fmla="*/ 17 h 294"/>
                  <a:gd name="T46" fmla="*/ 164 w 164"/>
                  <a:gd name="T47" fmla="*/ 14 h 294"/>
                  <a:gd name="T48" fmla="*/ 163 w 164"/>
                  <a:gd name="T49" fmla="*/ 11 h 294"/>
                  <a:gd name="T50" fmla="*/ 161 w 164"/>
                  <a:gd name="T51" fmla="*/ 8 h 294"/>
                  <a:gd name="T52" fmla="*/ 159 w 164"/>
                  <a:gd name="T53" fmla="*/ 5 h 294"/>
                  <a:gd name="T54" fmla="*/ 156 w 164"/>
                  <a:gd name="T55" fmla="*/ 3 h 294"/>
                  <a:gd name="T56" fmla="*/ 153 w 164"/>
                  <a:gd name="T57" fmla="*/ 1 h 294"/>
                  <a:gd name="T58" fmla="*/ 150 w 164"/>
                  <a:gd name="T59" fmla="*/ 1 h 294"/>
                  <a:gd name="T60" fmla="*/ 147 w 164"/>
                  <a:gd name="T61" fmla="*/ 0 h 294"/>
                  <a:gd name="T62" fmla="*/ 144 w 164"/>
                  <a:gd name="T63" fmla="*/ 1 h 294"/>
                  <a:gd name="T64" fmla="*/ 140 w 164"/>
                  <a:gd name="T65" fmla="*/ 1 h 294"/>
                  <a:gd name="T66" fmla="*/ 137 w 164"/>
                  <a:gd name="T67" fmla="*/ 3 h 294"/>
                  <a:gd name="T68" fmla="*/ 135 w 164"/>
                  <a:gd name="T69" fmla="*/ 5 h 294"/>
                  <a:gd name="T70" fmla="*/ 5 w 164"/>
                  <a:gd name="T71" fmla="*/ 136 h 294"/>
                  <a:gd name="T72" fmla="*/ 3 w 164"/>
                  <a:gd name="T73" fmla="*/ 138 h 294"/>
                  <a:gd name="T74" fmla="*/ 2 w 164"/>
                  <a:gd name="T75" fmla="*/ 141 h 294"/>
                  <a:gd name="T76" fmla="*/ 1 w 164"/>
                  <a:gd name="T77" fmla="*/ 144 h 294"/>
                  <a:gd name="T78" fmla="*/ 0 w 164"/>
                  <a:gd name="T79" fmla="*/ 148 h 294"/>
                  <a:gd name="T80" fmla="*/ 1 w 164"/>
                  <a:gd name="T81" fmla="*/ 151 h 294"/>
                  <a:gd name="T82" fmla="*/ 2 w 164"/>
                  <a:gd name="T83" fmla="*/ 154 h 294"/>
                  <a:gd name="T84" fmla="*/ 3 w 164"/>
                  <a:gd name="T85" fmla="*/ 157 h 294"/>
                  <a:gd name="T86" fmla="*/ 5 w 164"/>
                  <a:gd name="T87" fmla="*/ 160 h 294"/>
                  <a:gd name="T88" fmla="*/ 135 w 164"/>
                  <a:gd name="T89" fmla="*/ 28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64" h="294">
                    <a:moveTo>
                      <a:pt x="135" y="289"/>
                    </a:moveTo>
                    <a:lnTo>
                      <a:pt x="137" y="291"/>
                    </a:lnTo>
                    <a:lnTo>
                      <a:pt x="140" y="293"/>
                    </a:lnTo>
                    <a:lnTo>
                      <a:pt x="144" y="294"/>
                    </a:lnTo>
                    <a:lnTo>
                      <a:pt x="147" y="294"/>
                    </a:lnTo>
                    <a:lnTo>
                      <a:pt x="150" y="294"/>
                    </a:lnTo>
                    <a:lnTo>
                      <a:pt x="153" y="293"/>
                    </a:lnTo>
                    <a:lnTo>
                      <a:pt x="156" y="291"/>
                    </a:lnTo>
                    <a:lnTo>
                      <a:pt x="159" y="289"/>
                    </a:lnTo>
                    <a:lnTo>
                      <a:pt x="161" y="286"/>
                    </a:lnTo>
                    <a:lnTo>
                      <a:pt x="163" y="283"/>
                    </a:lnTo>
                    <a:lnTo>
                      <a:pt x="164" y="280"/>
                    </a:lnTo>
                    <a:lnTo>
                      <a:pt x="164" y="277"/>
                    </a:lnTo>
                    <a:lnTo>
                      <a:pt x="164" y="274"/>
                    </a:lnTo>
                    <a:lnTo>
                      <a:pt x="163" y="271"/>
                    </a:lnTo>
                    <a:lnTo>
                      <a:pt x="161" y="268"/>
                    </a:lnTo>
                    <a:lnTo>
                      <a:pt x="159" y="265"/>
                    </a:lnTo>
                    <a:lnTo>
                      <a:pt x="42" y="148"/>
                    </a:lnTo>
                    <a:lnTo>
                      <a:pt x="159" y="30"/>
                    </a:lnTo>
                    <a:lnTo>
                      <a:pt x="161" y="28"/>
                    </a:lnTo>
                    <a:lnTo>
                      <a:pt x="163" y="25"/>
                    </a:lnTo>
                    <a:lnTo>
                      <a:pt x="164" y="22"/>
                    </a:lnTo>
                    <a:lnTo>
                      <a:pt x="164" y="17"/>
                    </a:lnTo>
                    <a:lnTo>
                      <a:pt x="164" y="14"/>
                    </a:lnTo>
                    <a:lnTo>
                      <a:pt x="163" y="11"/>
                    </a:lnTo>
                    <a:lnTo>
                      <a:pt x="161" y="8"/>
                    </a:lnTo>
                    <a:lnTo>
                      <a:pt x="159" y="5"/>
                    </a:lnTo>
                    <a:lnTo>
                      <a:pt x="156" y="3"/>
                    </a:lnTo>
                    <a:lnTo>
                      <a:pt x="153" y="1"/>
                    </a:lnTo>
                    <a:lnTo>
                      <a:pt x="150" y="1"/>
                    </a:lnTo>
                    <a:lnTo>
                      <a:pt x="147" y="0"/>
                    </a:lnTo>
                    <a:lnTo>
                      <a:pt x="144" y="1"/>
                    </a:lnTo>
                    <a:lnTo>
                      <a:pt x="140" y="1"/>
                    </a:lnTo>
                    <a:lnTo>
                      <a:pt x="137" y="3"/>
                    </a:lnTo>
                    <a:lnTo>
                      <a:pt x="135" y="5"/>
                    </a:lnTo>
                    <a:lnTo>
                      <a:pt x="5" y="136"/>
                    </a:lnTo>
                    <a:lnTo>
                      <a:pt x="3" y="138"/>
                    </a:lnTo>
                    <a:lnTo>
                      <a:pt x="2" y="141"/>
                    </a:lnTo>
                    <a:lnTo>
                      <a:pt x="1" y="144"/>
                    </a:lnTo>
                    <a:lnTo>
                      <a:pt x="0" y="148"/>
                    </a:lnTo>
                    <a:lnTo>
                      <a:pt x="1" y="151"/>
                    </a:lnTo>
                    <a:lnTo>
                      <a:pt x="2" y="154"/>
                    </a:lnTo>
                    <a:lnTo>
                      <a:pt x="3" y="157"/>
                    </a:lnTo>
                    <a:lnTo>
                      <a:pt x="5" y="160"/>
                    </a:lnTo>
                    <a:lnTo>
                      <a:pt x="135" y="289"/>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等线 Light" panose="020F0302020204030204"/>
                  <a:ea typeface="+mn-ea"/>
                  <a:cs typeface="+mn-cs"/>
                </a:endParaRPr>
              </a:p>
            </p:txBody>
          </p:sp>
        </p:grpSp>
        <p:sp>
          <p:nvSpPr>
            <p:cNvPr id="21" name="Rectangle 25">
              <a:extLst>
                <a:ext uri="{FF2B5EF4-FFF2-40B4-BE49-F238E27FC236}">
                  <a16:creationId xmlns:a16="http://schemas.microsoft.com/office/drawing/2014/main" id="{BCDD2E20-9B40-4D50-BBCB-4DE3C583C3C5}"/>
                </a:ext>
              </a:extLst>
            </p:cNvPr>
            <p:cNvSpPr/>
            <p:nvPr/>
          </p:nvSpPr>
          <p:spPr>
            <a:xfrm>
              <a:off x="2126453" y="2582095"/>
              <a:ext cx="2390221" cy="384914"/>
            </a:xfrm>
            <a:prstGeom prst="rect">
              <a:avLst/>
            </a:prstGeom>
          </p:spPr>
          <p:txBody>
            <a:bodyPr wrap="square">
              <a:spAutoFit/>
            </a:bodyPr>
            <a:lstStyle/>
            <a:p>
              <a:pPr marL="0" marR="0" lvl="0" indent="0" algn="l" defTabSz="914400" rtl="0" eaLnBrk="1" fontAlgn="auto" latinLnBrk="0" hangingPunct="1">
                <a:lnSpc>
                  <a:spcPct val="13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6D7381"/>
                  </a:solidFill>
                  <a:effectLst/>
                  <a:uLnTx/>
                  <a:uFillTx/>
                  <a:latin typeface="等线 Light" panose="020F0302020204030204"/>
                  <a:ea typeface="+mn-ea"/>
                  <a:cs typeface="+mn-cs"/>
                </a:rPr>
                <a:t>First Content Subtitle</a:t>
              </a:r>
              <a:endParaRPr kumimoji="0" lang="id-ID" sz="1600" b="0" i="0" u="none" strike="noStrike" kern="1200" cap="none" spc="0" normalizeH="0" baseline="0" noProof="0" dirty="0">
                <a:ln>
                  <a:noFill/>
                </a:ln>
                <a:solidFill>
                  <a:srgbClr val="6D7381"/>
                </a:solidFill>
                <a:effectLst/>
                <a:uLnTx/>
                <a:uFillTx/>
                <a:latin typeface="等线 Light" panose="020F0302020204030204"/>
                <a:ea typeface="+mn-ea"/>
                <a:cs typeface="+mn-cs"/>
              </a:endParaRPr>
            </a:p>
          </p:txBody>
        </p:sp>
        <p:sp>
          <p:nvSpPr>
            <p:cNvPr id="22" name="Rounded Rectangle 248">
              <a:extLst>
                <a:ext uri="{FF2B5EF4-FFF2-40B4-BE49-F238E27FC236}">
                  <a16:creationId xmlns:a16="http://schemas.microsoft.com/office/drawing/2014/main" id="{96971065-6BB4-4862-857A-DC989AACA064}"/>
                </a:ext>
              </a:extLst>
            </p:cNvPr>
            <p:cNvSpPr/>
            <p:nvPr/>
          </p:nvSpPr>
          <p:spPr>
            <a:xfrm>
              <a:off x="5064744" y="2547664"/>
              <a:ext cx="1074652" cy="453777"/>
            </a:xfrm>
            <a:prstGeom prst="roundRect">
              <a:avLst>
                <a:gd name="adj" fmla="val 2689"/>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D" sz="1400" b="0" i="0" u="none" strike="noStrike" kern="1200" cap="none" spc="0" normalizeH="0" baseline="0" noProof="0" dirty="0">
                  <a:ln>
                    <a:noFill/>
                  </a:ln>
                  <a:solidFill>
                    <a:srgbClr val="FFFFFF"/>
                  </a:solidFill>
                  <a:effectLst/>
                  <a:uLnTx/>
                  <a:uFillTx/>
                  <a:latin typeface="等线 Light" panose="020F0302020204030204"/>
                  <a:ea typeface="+mn-ea"/>
                  <a:cs typeface="+mn-cs"/>
                </a:rPr>
                <a:t>20,44%</a:t>
              </a:r>
            </a:p>
          </p:txBody>
        </p:sp>
      </p:grpSp>
      <p:grpSp>
        <p:nvGrpSpPr>
          <p:cNvPr id="25" name="Group 29">
            <a:extLst>
              <a:ext uri="{FF2B5EF4-FFF2-40B4-BE49-F238E27FC236}">
                <a16:creationId xmlns:a16="http://schemas.microsoft.com/office/drawing/2014/main" id="{3428A0F4-E238-45E0-840E-413B6CE2FC21}"/>
              </a:ext>
            </a:extLst>
          </p:cNvPr>
          <p:cNvGrpSpPr/>
          <p:nvPr/>
        </p:nvGrpSpPr>
        <p:grpSpPr>
          <a:xfrm>
            <a:off x="5750959" y="3932358"/>
            <a:ext cx="5000980" cy="453777"/>
            <a:chOff x="1138416" y="2547664"/>
            <a:chExt cx="5000980" cy="453777"/>
          </a:xfrm>
        </p:grpSpPr>
        <p:sp>
          <p:nvSpPr>
            <p:cNvPr id="26" name="Rounded Rectangle 248">
              <a:extLst>
                <a:ext uri="{FF2B5EF4-FFF2-40B4-BE49-F238E27FC236}">
                  <a16:creationId xmlns:a16="http://schemas.microsoft.com/office/drawing/2014/main" id="{CCA115FC-5A0E-4DA7-B93C-07893F0FEB06}"/>
                </a:ext>
              </a:extLst>
            </p:cNvPr>
            <p:cNvSpPr/>
            <p:nvPr/>
          </p:nvSpPr>
          <p:spPr>
            <a:xfrm>
              <a:off x="1138416" y="2547664"/>
              <a:ext cx="5000980" cy="453777"/>
            </a:xfrm>
            <a:prstGeom prst="roundRect">
              <a:avLst>
                <a:gd name="adj" fmla="val 2689"/>
              </a:avLst>
            </a:prstGeom>
            <a:solidFill>
              <a:schemeClr val="bg1"/>
            </a:solidFill>
            <a:ln>
              <a:noFill/>
            </a:ln>
            <a:effectLst>
              <a:outerShdw blurRad="203200" dist="38100" dir="5400000" algn="t" rotWithShape="0">
                <a:prstClr val="black">
                  <a:alpha val="18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400" b="0" i="0" u="none" strike="noStrike" kern="1200" cap="none" spc="0" normalizeH="0" baseline="0" noProof="0" dirty="0">
                <a:ln>
                  <a:noFill/>
                </a:ln>
                <a:solidFill>
                  <a:srgbClr val="FFFFFF"/>
                </a:solidFill>
                <a:effectLst/>
                <a:uLnTx/>
                <a:uFillTx/>
                <a:latin typeface="等线 Light" panose="020F0302020204030204"/>
                <a:ea typeface="+mn-ea"/>
                <a:cs typeface="+mn-cs"/>
              </a:endParaRPr>
            </a:p>
          </p:txBody>
        </p:sp>
        <p:sp>
          <p:nvSpPr>
            <p:cNvPr id="27" name="Rectangle 31">
              <a:extLst>
                <a:ext uri="{FF2B5EF4-FFF2-40B4-BE49-F238E27FC236}">
                  <a16:creationId xmlns:a16="http://schemas.microsoft.com/office/drawing/2014/main" id="{B1E2F39B-2E4C-429D-A972-598E32CA7A6F}"/>
                </a:ext>
              </a:extLst>
            </p:cNvPr>
            <p:cNvSpPr/>
            <p:nvPr/>
          </p:nvSpPr>
          <p:spPr>
            <a:xfrm>
              <a:off x="1316002" y="2618676"/>
              <a:ext cx="361691" cy="311752"/>
            </a:xfrm>
            <a:prstGeom prst="rect">
              <a:avLst/>
            </a:prstGeom>
          </p:spPr>
          <p:txBody>
            <a:bodyPr wrap="square">
              <a:spAutoFit/>
            </a:bodyPr>
            <a:lstStyle/>
            <a:p>
              <a:pPr marL="0" marR="0" lvl="0" indent="0" algn="r" defTabSz="914400" rtl="0" eaLnBrk="1" fontAlgn="auto" latinLnBrk="0" hangingPunct="1">
                <a:lnSpc>
                  <a:spcPct val="13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6D7381"/>
                  </a:solidFill>
                  <a:effectLst/>
                  <a:uLnTx/>
                  <a:uFillTx/>
                  <a:latin typeface="等线 Light" panose="020F0302020204030204"/>
                  <a:ea typeface="+mn-ea"/>
                  <a:cs typeface="+mn-cs"/>
                </a:rPr>
                <a:t>02</a:t>
              </a:r>
              <a:endParaRPr kumimoji="0" lang="id-ID" sz="1200" b="0" i="0" u="none" strike="noStrike" kern="1200" cap="none" spc="0" normalizeH="0" baseline="0" noProof="0" dirty="0">
                <a:ln>
                  <a:noFill/>
                </a:ln>
                <a:solidFill>
                  <a:srgbClr val="6D7381"/>
                </a:solidFill>
                <a:effectLst/>
                <a:uLnTx/>
                <a:uFillTx/>
                <a:latin typeface="等线 Light" panose="020F0302020204030204"/>
                <a:ea typeface="+mn-ea"/>
                <a:cs typeface="+mn-cs"/>
              </a:endParaRPr>
            </a:p>
          </p:txBody>
        </p:sp>
        <p:grpSp>
          <p:nvGrpSpPr>
            <p:cNvPr id="28" name="Group 32">
              <a:extLst>
                <a:ext uri="{FF2B5EF4-FFF2-40B4-BE49-F238E27FC236}">
                  <a16:creationId xmlns:a16="http://schemas.microsoft.com/office/drawing/2014/main" id="{C69FC277-B24B-4D1B-9725-F167D6B3CCB0}"/>
                </a:ext>
              </a:extLst>
            </p:cNvPr>
            <p:cNvGrpSpPr/>
            <p:nvPr/>
          </p:nvGrpSpPr>
          <p:grpSpPr>
            <a:xfrm rot="16200000">
              <a:off x="1778739" y="2652516"/>
              <a:ext cx="246669" cy="244072"/>
              <a:chOff x="2813442" y="3494557"/>
              <a:chExt cx="444855" cy="440172"/>
            </a:xfrm>
          </p:grpSpPr>
          <p:sp>
            <p:nvSpPr>
              <p:cNvPr id="31" name="Freeform 163">
                <a:extLst>
                  <a:ext uri="{FF2B5EF4-FFF2-40B4-BE49-F238E27FC236}">
                    <a16:creationId xmlns:a16="http://schemas.microsoft.com/office/drawing/2014/main" id="{E1CB6C2E-8154-4AF3-A827-8EEC89F95F35}"/>
                  </a:ext>
                </a:extLst>
              </p:cNvPr>
              <p:cNvSpPr>
                <a:spLocks noEditPoints="1"/>
              </p:cNvSpPr>
              <p:nvPr/>
            </p:nvSpPr>
            <p:spPr bwMode="auto">
              <a:xfrm>
                <a:off x="2813442" y="3494557"/>
                <a:ext cx="444855" cy="440172"/>
              </a:xfrm>
              <a:custGeom>
                <a:avLst/>
                <a:gdLst>
                  <a:gd name="T0" fmla="*/ 511 w 852"/>
                  <a:gd name="T1" fmla="*/ 845 h 854"/>
                  <a:gd name="T2" fmla="*/ 610 w 852"/>
                  <a:gd name="T3" fmla="*/ 811 h 854"/>
                  <a:gd name="T4" fmla="*/ 697 w 852"/>
                  <a:gd name="T5" fmla="*/ 756 h 854"/>
                  <a:gd name="T6" fmla="*/ 767 w 852"/>
                  <a:gd name="T7" fmla="*/ 682 h 854"/>
                  <a:gd name="T8" fmla="*/ 819 w 852"/>
                  <a:gd name="T9" fmla="*/ 592 h 854"/>
                  <a:gd name="T10" fmla="*/ 847 w 852"/>
                  <a:gd name="T11" fmla="*/ 491 h 854"/>
                  <a:gd name="T12" fmla="*/ 850 w 852"/>
                  <a:gd name="T13" fmla="*/ 383 h 854"/>
                  <a:gd name="T14" fmla="*/ 826 w 852"/>
                  <a:gd name="T15" fmla="*/ 279 h 854"/>
                  <a:gd name="T16" fmla="*/ 779 w 852"/>
                  <a:gd name="T17" fmla="*/ 187 h 854"/>
                  <a:gd name="T18" fmla="*/ 712 w 852"/>
                  <a:gd name="T19" fmla="*/ 111 h 854"/>
                  <a:gd name="T20" fmla="*/ 628 w 852"/>
                  <a:gd name="T21" fmla="*/ 51 h 854"/>
                  <a:gd name="T22" fmla="*/ 533 w 852"/>
                  <a:gd name="T23" fmla="*/ 13 h 854"/>
                  <a:gd name="T24" fmla="*/ 426 w 852"/>
                  <a:gd name="T25" fmla="*/ 0 h 854"/>
                  <a:gd name="T26" fmla="*/ 319 w 852"/>
                  <a:gd name="T27" fmla="*/ 13 h 854"/>
                  <a:gd name="T28" fmla="*/ 223 w 852"/>
                  <a:gd name="T29" fmla="*/ 51 h 854"/>
                  <a:gd name="T30" fmla="*/ 140 w 852"/>
                  <a:gd name="T31" fmla="*/ 111 h 854"/>
                  <a:gd name="T32" fmla="*/ 72 w 852"/>
                  <a:gd name="T33" fmla="*/ 187 h 854"/>
                  <a:gd name="T34" fmla="*/ 26 w 852"/>
                  <a:gd name="T35" fmla="*/ 279 h 854"/>
                  <a:gd name="T36" fmla="*/ 2 w 852"/>
                  <a:gd name="T37" fmla="*/ 383 h 854"/>
                  <a:gd name="T38" fmla="*/ 5 w 852"/>
                  <a:gd name="T39" fmla="*/ 491 h 854"/>
                  <a:gd name="T40" fmla="*/ 33 w 852"/>
                  <a:gd name="T41" fmla="*/ 592 h 854"/>
                  <a:gd name="T42" fmla="*/ 85 w 852"/>
                  <a:gd name="T43" fmla="*/ 682 h 854"/>
                  <a:gd name="T44" fmla="*/ 155 w 852"/>
                  <a:gd name="T45" fmla="*/ 756 h 854"/>
                  <a:gd name="T46" fmla="*/ 242 w 852"/>
                  <a:gd name="T47" fmla="*/ 811 h 854"/>
                  <a:gd name="T48" fmla="*/ 340 w 852"/>
                  <a:gd name="T49" fmla="*/ 845 h 854"/>
                  <a:gd name="T50" fmla="*/ 426 w 852"/>
                  <a:gd name="T51" fmla="*/ 34 h 854"/>
                  <a:gd name="T52" fmla="*/ 524 w 852"/>
                  <a:gd name="T53" fmla="*/ 46 h 854"/>
                  <a:gd name="T54" fmla="*/ 612 w 852"/>
                  <a:gd name="T55" fmla="*/ 81 h 854"/>
                  <a:gd name="T56" fmla="*/ 689 w 852"/>
                  <a:gd name="T57" fmla="*/ 136 h 854"/>
                  <a:gd name="T58" fmla="*/ 750 w 852"/>
                  <a:gd name="T59" fmla="*/ 207 h 854"/>
                  <a:gd name="T60" fmla="*/ 793 w 852"/>
                  <a:gd name="T61" fmla="*/ 291 h 854"/>
                  <a:gd name="T62" fmla="*/ 816 w 852"/>
                  <a:gd name="T63" fmla="*/ 386 h 854"/>
                  <a:gd name="T64" fmla="*/ 812 w 852"/>
                  <a:gd name="T65" fmla="*/ 486 h 854"/>
                  <a:gd name="T66" fmla="*/ 786 w 852"/>
                  <a:gd name="T67" fmla="*/ 579 h 854"/>
                  <a:gd name="T68" fmla="*/ 739 w 852"/>
                  <a:gd name="T69" fmla="*/ 661 h 854"/>
                  <a:gd name="T70" fmla="*/ 675 w 852"/>
                  <a:gd name="T71" fmla="*/ 730 h 854"/>
                  <a:gd name="T72" fmla="*/ 595 w 852"/>
                  <a:gd name="T73" fmla="*/ 780 h 854"/>
                  <a:gd name="T74" fmla="*/ 504 w 852"/>
                  <a:gd name="T75" fmla="*/ 811 h 854"/>
                  <a:gd name="T76" fmla="*/ 406 w 852"/>
                  <a:gd name="T77" fmla="*/ 818 h 854"/>
                  <a:gd name="T78" fmla="*/ 309 w 852"/>
                  <a:gd name="T79" fmla="*/ 801 h 854"/>
                  <a:gd name="T80" fmla="*/ 223 w 852"/>
                  <a:gd name="T81" fmla="*/ 762 h 854"/>
                  <a:gd name="T82" fmla="*/ 149 w 852"/>
                  <a:gd name="T83" fmla="*/ 703 h 854"/>
                  <a:gd name="T84" fmla="*/ 92 w 852"/>
                  <a:gd name="T85" fmla="*/ 630 h 854"/>
                  <a:gd name="T86" fmla="*/ 52 w 852"/>
                  <a:gd name="T87" fmla="*/ 543 h 854"/>
                  <a:gd name="T88" fmla="*/ 35 w 852"/>
                  <a:gd name="T89" fmla="*/ 447 h 854"/>
                  <a:gd name="T90" fmla="*/ 42 w 852"/>
                  <a:gd name="T91" fmla="*/ 347 h 854"/>
                  <a:gd name="T92" fmla="*/ 73 w 852"/>
                  <a:gd name="T93" fmla="*/ 256 h 854"/>
                  <a:gd name="T94" fmla="*/ 124 w 852"/>
                  <a:gd name="T95" fmla="*/ 177 h 854"/>
                  <a:gd name="T96" fmla="*/ 192 w 852"/>
                  <a:gd name="T97" fmla="*/ 112 h 854"/>
                  <a:gd name="T98" fmla="*/ 274 w 852"/>
                  <a:gd name="T99" fmla="*/ 65 h 854"/>
                  <a:gd name="T100" fmla="*/ 366 w 852"/>
                  <a:gd name="T101" fmla="*/ 38 h 8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52" h="854">
                    <a:moveTo>
                      <a:pt x="426" y="854"/>
                    </a:moveTo>
                    <a:lnTo>
                      <a:pt x="448" y="853"/>
                    </a:lnTo>
                    <a:lnTo>
                      <a:pt x="469" y="851"/>
                    </a:lnTo>
                    <a:lnTo>
                      <a:pt x="490" y="849"/>
                    </a:lnTo>
                    <a:lnTo>
                      <a:pt x="511" y="845"/>
                    </a:lnTo>
                    <a:lnTo>
                      <a:pt x="533" y="840"/>
                    </a:lnTo>
                    <a:lnTo>
                      <a:pt x="553" y="835"/>
                    </a:lnTo>
                    <a:lnTo>
                      <a:pt x="572" y="828"/>
                    </a:lnTo>
                    <a:lnTo>
                      <a:pt x="591" y="819"/>
                    </a:lnTo>
                    <a:lnTo>
                      <a:pt x="610" y="811"/>
                    </a:lnTo>
                    <a:lnTo>
                      <a:pt x="628" y="802"/>
                    </a:lnTo>
                    <a:lnTo>
                      <a:pt x="646" y="791"/>
                    </a:lnTo>
                    <a:lnTo>
                      <a:pt x="663" y="780"/>
                    </a:lnTo>
                    <a:lnTo>
                      <a:pt x="681" y="768"/>
                    </a:lnTo>
                    <a:lnTo>
                      <a:pt x="697" y="756"/>
                    </a:lnTo>
                    <a:lnTo>
                      <a:pt x="712" y="743"/>
                    </a:lnTo>
                    <a:lnTo>
                      <a:pt x="727" y="729"/>
                    </a:lnTo>
                    <a:lnTo>
                      <a:pt x="741" y="713"/>
                    </a:lnTo>
                    <a:lnTo>
                      <a:pt x="754" y="698"/>
                    </a:lnTo>
                    <a:lnTo>
                      <a:pt x="767" y="682"/>
                    </a:lnTo>
                    <a:lnTo>
                      <a:pt x="779" y="665"/>
                    </a:lnTo>
                    <a:lnTo>
                      <a:pt x="790" y="648"/>
                    </a:lnTo>
                    <a:lnTo>
                      <a:pt x="800" y="630"/>
                    </a:lnTo>
                    <a:lnTo>
                      <a:pt x="809" y="611"/>
                    </a:lnTo>
                    <a:lnTo>
                      <a:pt x="819" y="592"/>
                    </a:lnTo>
                    <a:lnTo>
                      <a:pt x="826" y="573"/>
                    </a:lnTo>
                    <a:lnTo>
                      <a:pt x="833" y="553"/>
                    </a:lnTo>
                    <a:lnTo>
                      <a:pt x="839" y="533"/>
                    </a:lnTo>
                    <a:lnTo>
                      <a:pt x="843" y="513"/>
                    </a:lnTo>
                    <a:lnTo>
                      <a:pt x="847" y="491"/>
                    </a:lnTo>
                    <a:lnTo>
                      <a:pt x="850" y="470"/>
                    </a:lnTo>
                    <a:lnTo>
                      <a:pt x="851" y="448"/>
                    </a:lnTo>
                    <a:lnTo>
                      <a:pt x="852" y="427"/>
                    </a:lnTo>
                    <a:lnTo>
                      <a:pt x="851" y="405"/>
                    </a:lnTo>
                    <a:lnTo>
                      <a:pt x="850" y="383"/>
                    </a:lnTo>
                    <a:lnTo>
                      <a:pt x="847" y="361"/>
                    </a:lnTo>
                    <a:lnTo>
                      <a:pt x="843" y="341"/>
                    </a:lnTo>
                    <a:lnTo>
                      <a:pt x="839" y="320"/>
                    </a:lnTo>
                    <a:lnTo>
                      <a:pt x="833" y="300"/>
                    </a:lnTo>
                    <a:lnTo>
                      <a:pt x="826" y="279"/>
                    </a:lnTo>
                    <a:lnTo>
                      <a:pt x="819" y="260"/>
                    </a:lnTo>
                    <a:lnTo>
                      <a:pt x="809" y="241"/>
                    </a:lnTo>
                    <a:lnTo>
                      <a:pt x="800" y="223"/>
                    </a:lnTo>
                    <a:lnTo>
                      <a:pt x="790" y="206"/>
                    </a:lnTo>
                    <a:lnTo>
                      <a:pt x="779" y="187"/>
                    </a:lnTo>
                    <a:lnTo>
                      <a:pt x="767" y="171"/>
                    </a:lnTo>
                    <a:lnTo>
                      <a:pt x="754" y="155"/>
                    </a:lnTo>
                    <a:lnTo>
                      <a:pt x="741" y="139"/>
                    </a:lnTo>
                    <a:lnTo>
                      <a:pt x="727" y="125"/>
                    </a:lnTo>
                    <a:lnTo>
                      <a:pt x="712" y="111"/>
                    </a:lnTo>
                    <a:lnTo>
                      <a:pt x="697" y="97"/>
                    </a:lnTo>
                    <a:lnTo>
                      <a:pt x="681" y="84"/>
                    </a:lnTo>
                    <a:lnTo>
                      <a:pt x="663" y="72"/>
                    </a:lnTo>
                    <a:lnTo>
                      <a:pt x="646" y="61"/>
                    </a:lnTo>
                    <a:lnTo>
                      <a:pt x="628" y="51"/>
                    </a:lnTo>
                    <a:lnTo>
                      <a:pt x="610" y="42"/>
                    </a:lnTo>
                    <a:lnTo>
                      <a:pt x="591" y="33"/>
                    </a:lnTo>
                    <a:lnTo>
                      <a:pt x="572" y="25"/>
                    </a:lnTo>
                    <a:lnTo>
                      <a:pt x="553" y="19"/>
                    </a:lnTo>
                    <a:lnTo>
                      <a:pt x="533" y="13"/>
                    </a:lnTo>
                    <a:lnTo>
                      <a:pt x="511" y="8"/>
                    </a:lnTo>
                    <a:lnTo>
                      <a:pt x="490" y="5"/>
                    </a:lnTo>
                    <a:lnTo>
                      <a:pt x="469" y="2"/>
                    </a:lnTo>
                    <a:lnTo>
                      <a:pt x="448" y="0"/>
                    </a:lnTo>
                    <a:lnTo>
                      <a:pt x="426" y="0"/>
                    </a:lnTo>
                    <a:lnTo>
                      <a:pt x="404" y="0"/>
                    </a:lnTo>
                    <a:lnTo>
                      <a:pt x="383" y="2"/>
                    </a:lnTo>
                    <a:lnTo>
                      <a:pt x="361" y="5"/>
                    </a:lnTo>
                    <a:lnTo>
                      <a:pt x="340" y="8"/>
                    </a:lnTo>
                    <a:lnTo>
                      <a:pt x="319" y="13"/>
                    </a:lnTo>
                    <a:lnTo>
                      <a:pt x="299" y="19"/>
                    </a:lnTo>
                    <a:lnTo>
                      <a:pt x="280" y="25"/>
                    </a:lnTo>
                    <a:lnTo>
                      <a:pt x="260" y="33"/>
                    </a:lnTo>
                    <a:lnTo>
                      <a:pt x="242" y="42"/>
                    </a:lnTo>
                    <a:lnTo>
                      <a:pt x="223" y="51"/>
                    </a:lnTo>
                    <a:lnTo>
                      <a:pt x="205" y="61"/>
                    </a:lnTo>
                    <a:lnTo>
                      <a:pt x="188" y="72"/>
                    </a:lnTo>
                    <a:lnTo>
                      <a:pt x="171" y="84"/>
                    </a:lnTo>
                    <a:lnTo>
                      <a:pt x="155" y="97"/>
                    </a:lnTo>
                    <a:lnTo>
                      <a:pt x="140" y="111"/>
                    </a:lnTo>
                    <a:lnTo>
                      <a:pt x="125" y="125"/>
                    </a:lnTo>
                    <a:lnTo>
                      <a:pt x="111" y="139"/>
                    </a:lnTo>
                    <a:lnTo>
                      <a:pt x="98" y="155"/>
                    </a:lnTo>
                    <a:lnTo>
                      <a:pt x="85" y="171"/>
                    </a:lnTo>
                    <a:lnTo>
                      <a:pt x="72" y="187"/>
                    </a:lnTo>
                    <a:lnTo>
                      <a:pt x="61" y="206"/>
                    </a:lnTo>
                    <a:lnTo>
                      <a:pt x="51" y="223"/>
                    </a:lnTo>
                    <a:lnTo>
                      <a:pt x="42" y="241"/>
                    </a:lnTo>
                    <a:lnTo>
                      <a:pt x="33" y="260"/>
                    </a:lnTo>
                    <a:lnTo>
                      <a:pt x="26" y="279"/>
                    </a:lnTo>
                    <a:lnTo>
                      <a:pt x="19" y="300"/>
                    </a:lnTo>
                    <a:lnTo>
                      <a:pt x="13" y="320"/>
                    </a:lnTo>
                    <a:lnTo>
                      <a:pt x="9" y="341"/>
                    </a:lnTo>
                    <a:lnTo>
                      <a:pt x="5" y="361"/>
                    </a:lnTo>
                    <a:lnTo>
                      <a:pt x="2" y="383"/>
                    </a:lnTo>
                    <a:lnTo>
                      <a:pt x="1" y="405"/>
                    </a:lnTo>
                    <a:lnTo>
                      <a:pt x="0" y="427"/>
                    </a:lnTo>
                    <a:lnTo>
                      <a:pt x="1" y="448"/>
                    </a:lnTo>
                    <a:lnTo>
                      <a:pt x="2" y="470"/>
                    </a:lnTo>
                    <a:lnTo>
                      <a:pt x="5" y="491"/>
                    </a:lnTo>
                    <a:lnTo>
                      <a:pt x="9" y="513"/>
                    </a:lnTo>
                    <a:lnTo>
                      <a:pt x="13" y="533"/>
                    </a:lnTo>
                    <a:lnTo>
                      <a:pt x="19" y="553"/>
                    </a:lnTo>
                    <a:lnTo>
                      <a:pt x="26" y="573"/>
                    </a:lnTo>
                    <a:lnTo>
                      <a:pt x="33" y="592"/>
                    </a:lnTo>
                    <a:lnTo>
                      <a:pt x="42" y="611"/>
                    </a:lnTo>
                    <a:lnTo>
                      <a:pt x="51" y="630"/>
                    </a:lnTo>
                    <a:lnTo>
                      <a:pt x="61" y="648"/>
                    </a:lnTo>
                    <a:lnTo>
                      <a:pt x="72" y="665"/>
                    </a:lnTo>
                    <a:lnTo>
                      <a:pt x="85" y="682"/>
                    </a:lnTo>
                    <a:lnTo>
                      <a:pt x="98" y="698"/>
                    </a:lnTo>
                    <a:lnTo>
                      <a:pt x="111" y="713"/>
                    </a:lnTo>
                    <a:lnTo>
                      <a:pt x="125" y="729"/>
                    </a:lnTo>
                    <a:lnTo>
                      <a:pt x="140" y="743"/>
                    </a:lnTo>
                    <a:lnTo>
                      <a:pt x="155" y="756"/>
                    </a:lnTo>
                    <a:lnTo>
                      <a:pt x="171" y="768"/>
                    </a:lnTo>
                    <a:lnTo>
                      <a:pt x="188" y="780"/>
                    </a:lnTo>
                    <a:lnTo>
                      <a:pt x="205" y="791"/>
                    </a:lnTo>
                    <a:lnTo>
                      <a:pt x="223" y="802"/>
                    </a:lnTo>
                    <a:lnTo>
                      <a:pt x="242" y="811"/>
                    </a:lnTo>
                    <a:lnTo>
                      <a:pt x="260" y="819"/>
                    </a:lnTo>
                    <a:lnTo>
                      <a:pt x="280" y="828"/>
                    </a:lnTo>
                    <a:lnTo>
                      <a:pt x="299" y="835"/>
                    </a:lnTo>
                    <a:lnTo>
                      <a:pt x="319" y="840"/>
                    </a:lnTo>
                    <a:lnTo>
                      <a:pt x="340" y="845"/>
                    </a:lnTo>
                    <a:lnTo>
                      <a:pt x="361" y="849"/>
                    </a:lnTo>
                    <a:lnTo>
                      <a:pt x="383" y="851"/>
                    </a:lnTo>
                    <a:lnTo>
                      <a:pt x="404" y="853"/>
                    </a:lnTo>
                    <a:lnTo>
                      <a:pt x="426" y="854"/>
                    </a:lnTo>
                    <a:close/>
                    <a:moveTo>
                      <a:pt x="426" y="34"/>
                    </a:moveTo>
                    <a:lnTo>
                      <a:pt x="446" y="34"/>
                    </a:lnTo>
                    <a:lnTo>
                      <a:pt x="466" y="36"/>
                    </a:lnTo>
                    <a:lnTo>
                      <a:pt x="485" y="38"/>
                    </a:lnTo>
                    <a:lnTo>
                      <a:pt x="504" y="42"/>
                    </a:lnTo>
                    <a:lnTo>
                      <a:pt x="524" y="46"/>
                    </a:lnTo>
                    <a:lnTo>
                      <a:pt x="542" y="51"/>
                    </a:lnTo>
                    <a:lnTo>
                      <a:pt x="560" y="58"/>
                    </a:lnTo>
                    <a:lnTo>
                      <a:pt x="578" y="65"/>
                    </a:lnTo>
                    <a:lnTo>
                      <a:pt x="595" y="72"/>
                    </a:lnTo>
                    <a:lnTo>
                      <a:pt x="612" y="81"/>
                    </a:lnTo>
                    <a:lnTo>
                      <a:pt x="628" y="91"/>
                    </a:lnTo>
                    <a:lnTo>
                      <a:pt x="644" y="101"/>
                    </a:lnTo>
                    <a:lnTo>
                      <a:pt x="659" y="112"/>
                    </a:lnTo>
                    <a:lnTo>
                      <a:pt x="675" y="124"/>
                    </a:lnTo>
                    <a:lnTo>
                      <a:pt x="689" y="136"/>
                    </a:lnTo>
                    <a:lnTo>
                      <a:pt x="703" y="149"/>
                    </a:lnTo>
                    <a:lnTo>
                      <a:pt x="716" y="162"/>
                    </a:lnTo>
                    <a:lnTo>
                      <a:pt x="728" y="177"/>
                    </a:lnTo>
                    <a:lnTo>
                      <a:pt x="739" y="191"/>
                    </a:lnTo>
                    <a:lnTo>
                      <a:pt x="750" y="207"/>
                    </a:lnTo>
                    <a:lnTo>
                      <a:pt x="760" y="223"/>
                    </a:lnTo>
                    <a:lnTo>
                      <a:pt x="770" y="240"/>
                    </a:lnTo>
                    <a:lnTo>
                      <a:pt x="778" y="256"/>
                    </a:lnTo>
                    <a:lnTo>
                      <a:pt x="786" y="274"/>
                    </a:lnTo>
                    <a:lnTo>
                      <a:pt x="793" y="291"/>
                    </a:lnTo>
                    <a:lnTo>
                      <a:pt x="799" y="310"/>
                    </a:lnTo>
                    <a:lnTo>
                      <a:pt x="804" y="329"/>
                    </a:lnTo>
                    <a:lnTo>
                      <a:pt x="809" y="347"/>
                    </a:lnTo>
                    <a:lnTo>
                      <a:pt x="812" y="367"/>
                    </a:lnTo>
                    <a:lnTo>
                      <a:pt x="816" y="386"/>
                    </a:lnTo>
                    <a:lnTo>
                      <a:pt x="817" y="407"/>
                    </a:lnTo>
                    <a:lnTo>
                      <a:pt x="818" y="427"/>
                    </a:lnTo>
                    <a:lnTo>
                      <a:pt x="817" y="447"/>
                    </a:lnTo>
                    <a:lnTo>
                      <a:pt x="816" y="466"/>
                    </a:lnTo>
                    <a:lnTo>
                      <a:pt x="812" y="486"/>
                    </a:lnTo>
                    <a:lnTo>
                      <a:pt x="809" y="505"/>
                    </a:lnTo>
                    <a:lnTo>
                      <a:pt x="804" y="525"/>
                    </a:lnTo>
                    <a:lnTo>
                      <a:pt x="799" y="543"/>
                    </a:lnTo>
                    <a:lnTo>
                      <a:pt x="793" y="561"/>
                    </a:lnTo>
                    <a:lnTo>
                      <a:pt x="786" y="579"/>
                    </a:lnTo>
                    <a:lnTo>
                      <a:pt x="778" y="596"/>
                    </a:lnTo>
                    <a:lnTo>
                      <a:pt x="770" y="614"/>
                    </a:lnTo>
                    <a:lnTo>
                      <a:pt x="760" y="630"/>
                    </a:lnTo>
                    <a:lnTo>
                      <a:pt x="750" y="646"/>
                    </a:lnTo>
                    <a:lnTo>
                      <a:pt x="739" y="661"/>
                    </a:lnTo>
                    <a:lnTo>
                      <a:pt x="728" y="676"/>
                    </a:lnTo>
                    <a:lnTo>
                      <a:pt x="716" y="690"/>
                    </a:lnTo>
                    <a:lnTo>
                      <a:pt x="703" y="703"/>
                    </a:lnTo>
                    <a:lnTo>
                      <a:pt x="689" y="716"/>
                    </a:lnTo>
                    <a:lnTo>
                      <a:pt x="675" y="730"/>
                    </a:lnTo>
                    <a:lnTo>
                      <a:pt x="659" y="741"/>
                    </a:lnTo>
                    <a:lnTo>
                      <a:pt x="644" y="752"/>
                    </a:lnTo>
                    <a:lnTo>
                      <a:pt x="628" y="762"/>
                    </a:lnTo>
                    <a:lnTo>
                      <a:pt x="612" y="771"/>
                    </a:lnTo>
                    <a:lnTo>
                      <a:pt x="595" y="780"/>
                    </a:lnTo>
                    <a:lnTo>
                      <a:pt x="578" y="788"/>
                    </a:lnTo>
                    <a:lnTo>
                      <a:pt x="560" y="795"/>
                    </a:lnTo>
                    <a:lnTo>
                      <a:pt x="542" y="801"/>
                    </a:lnTo>
                    <a:lnTo>
                      <a:pt x="524" y="806"/>
                    </a:lnTo>
                    <a:lnTo>
                      <a:pt x="504" y="811"/>
                    </a:lnTo>
                    <a:lnTo>
                      <a:pt x="485" y="814"/>
                    </a:lnTo>
                    <a:lnTo>
                      <a:pt x="466" y="816"/>
                    </a:lnTo>
                    <a:lnTo>
                      <a:pt x="446" y="818"/>
                    </a:lnTo>
                    <a:lnTo>
                      <a:pt x="426" y="818"/>
                    </a:lnTo>
                    <a:lnTo>
                      <a:pt x="406" y="818"/>
                    </a:lnTo>
                    <a:lnTo>
                      <a:pt x="386" y="816"/>
                    </a:lnTo>
                    <a:lnTo>
                      <a:pt x="366" y="814"/>
                    </a:lnTo>
                    <a:lnTo>
                      <a:pt x="347" y="811"/>
                    </a:lnTo>
                    <a:lnTo>
                      <a:pt x="328" y="806"/>
                    </a:lnTo>
                    <a:lnTo>
                      <a:pt x="309" y="801"/>
                    </a:lnTo>
                    <a:lnTo>
                      <a:pt x="291" y="795"/>
                    </a:lnTo>
                    <a:lnTo>
                      <a:pt x="274" y="788"/>
                    </a:lnTo>
                    <a:lnTo>
                      <a:pt x="257" y="780"/>
                    </a:lnTo>
                    <a:lnTo>
                      <a:pt x="240" y="771"/>
                    </a:lnTo>
                    <a:lnTo>
                      <a:pt x="223" y="762"/>
                    </a:lnTo>
                    <a:lnTo>
                      <a:pt x="207" y="752"/>
                    </a:lnTo>
                    <a:lnTo>
                      <a:pt x="192" y="741"/>
                    </a:lnTo>
                    <a:lnTo>
                      <a:pt x="177" y="730"/>
                    </a:lnTo>
                    <a:lnTo>
                      <a:pt x="163" y="716"/>
                    </a:lnTo>
                    <a:lnTo>
                      <a:pt x="149" y="703"/>
                    </a:lnTo>
                    <a:lnTo>
                      <a:pt x="136" y="690"/>
                    </a:lnTo>
                    <a:lnTo>
                      <a:pt x="124" y="676"/>
                    </a:lnTo>
                    <a:lnTo>
                      <a:pt x="113" y="661"/>
                    </a:lnTo>
                    <a:lnTo>
                      <a:pt x="102" y="646"/>
                    </a:lnTo>
                    <a:lnTo>
                      <a:pt x="92" y="630"/>
                    </a:lnTo>
                    <a:lnTo>
                      <a:pt x="81" y="614"/>
                    </a:lnTo>
                    <a:lnTo>
                      <a:pt x="73" y="596"/>
                    </a:lnTo>
                    <a:lnTo>
                      <a:pt x="65" y="579"/>
                    </a:lnTo>
                    <a:lnTo>
                      <a:pt x="58" y="561"/>
                    </a:lnTo>
                    <a:lnTo>
                      <a:pt x="52" y="543"/>
                    </a:lnTo>
                    <a:lnTo>
                      <a:pt x="47" y="525"/>
                    </a:lnTo>
                    <a:lnTo>
                      <a:pt x="42" y="505"/>
                    </a:lnTo>
                    <a:lnTo>
                      <a:pt x="39" y="486"/>
                    </a:lnTo>
                    <a:lnTo>
                      <a:pt x="36" y="466"/>
                    </a:lnTo>
                    <a:lnTo>
                      <a:pt x="35" y="447"/>
                    </a:lnTo>
                    <a:lnTo>
                      <a:pt x="34" y="427"/>
                    </a:lnTo>
                    <a:lnTo>
                      <a:pt x="35" y="407"/>
                    </a:lnTo>
                    <a:lnTo>
                      <a:pt x="36" y="386"/>
                    </a:lnTo>
                    <a:lnTo>
                      <a:pt x="39" y="367"/>
                    </a:lnTo>
                    <a:lnTo>
                      <a:pt x="42" y="347"/>
                    </a:lnTo>
                    <a:lnTo>
                      <a:pt x="47" y="329"/>
                    </a:lnTo>
                    <a:lnTo>
                      <a:pt x="52" y="310"/>
                    </a:lnTo>
                    <a:lnTo>
                      <a:pt x="58" y="291"/>
                    </a:lnTo>
                    <a:lnTo>
                      <a:pt x="65" y="274"/>
                    </a:lnTo>
                    <a:lnTo>
                      <a:pt x="73" y="256"/>
                    </a:lnTo>
                    <a:lnTo>
                      <a:pt x="81" y="240"/>
                    </a:lnTo>
                    <a:lnTo>
                      <a:pt x="92" y="223"/>
                    </a:lnTo>
                    <a:lnTo>
                      <a:pt x="102" y="207"/>
                    </a:lnTo>
                    <a:lnTo>
                      <a:pt x="113" y="191"/>
                    </a:lnTo>
                    <a:lnTo>
                      <a:pt x="124" y="177"/>
                    </a:lnTo>
                    <a:lnTo>
                      <a:pt x="136" y="162"/>
                    </a:lnTo>
                    <a:lnTo>
                      <a:pt x="149" y="149"/>
                    </a:lnTo>
                    <a:lnTo>
                      <a:pt x="163" y="136"/>
                    </a:lnTo>
                    <a:lnTo>
                      <a:pt x="177" y="124"/>
                    </a:lnTo>
                    <a:lnTo>
                      <a:pt x="192" y="112"/>
                    </a:lnTo>
                    <a:lnTo>
                      <a:pt x="207" y="101"/>
                    </a:lnTo>
                    <a:lnTo>
                      <a:pt x="223" y="91"/>
                    </a:lnTo>
                    <a:lnTo>
                      <a:pt x="240" y="81"/>
                    </a:lnTo>
                    <a:lnTo>
                      <a:pt x="257" y="72"/>
                    </a:lnTo>
                    <a:lnTo>
                      <a:pt x="274" y="65"/>
                    </a:lnTo>
                    <a:lnTo>
                      <a:pt x="291" y="58"/>
                    </a:lnTo>
                    <a:lnTo>
                      <a:pt x="309" y="51"/>
                    </a:lnTo>
                    <a:lnTo>
                      <a:pt x="328" y="46"/>
                    </a:lnTo>
                    <a:lnTo>
                      <a:pt x="347" y="42"/>
                    </a:lnTo>
                    <a:lnTo>
                      <a:pt x="366" y="38"/>
                    </a:lnTo>
                    <a:lnTo>
                      <a:pt x="386" y="36"/>
                    </a:lnTo>
                    <a:lnTo>
                      <a:pt x="406" y="34"/>
                    </a:lnTo>
                    <a:lnTo>
                      <a:pt x="426" y="34"/>
                    </a:lnTo>
                    <a:close/>
                  </a:path>
                </a:pathLst>
              </a:custGeom>
              <a:solidFill>
                <a:srgbClr val="6D73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等线 Light" panose="020F0302020204030204"/>
                  <a:ea typeface="+mn-ea"/>
                  <a:cs typeface="+mn-cs"/>
                </a:endParaRPr>
              </a:p>
            </p:txBody>
          </p:sp>
          <p:sp>
            <p:nvSpPr>
              <p:cNvPr id="32" name="Freeform 164">
                <a:extLst>
                  <a:ext uri="{FF2B5EF4-FFF2-40B4-BE49-F238E27FC236}">
                    <a16:creationId xmlns:a16="http://schemas.microsoft.com/office/drawing/2014/main" id="{806B0B26-F286-4C97-94C0-C817F92393CA}"/>
                  </a:ext>
                </a:extLst>
              </p:cNvPr>
              <p:cNvSpPr>
                <a:spLocks/>
              </p:cNvSpPr>
              <p:nvPr/>
            </p:nvSpPr>
            <p:spPr bwMode="auto">
              <a:xfrm>
                <a:off x="2986701" y="3639720"/>
                <a:ext cx="84288" cy="149846"/>
              </a:xfrm>
              <a:custGeom>
                <a:avLst/>
                <a:gdLst>
                  <a:gd name="T0" fmla="*/ 135 w 164"/>
                  <a:gd name="T1" fmla="*/ 289 h 294"/>
                  <a:gd name="T2" fmla="*/ 137 w 164"/>
                  <a:gd name="T3" fmla="*/ 291 h 294"/>
                  <a:gd name="T4" fmla="*/ 140 w 164"/>
                  <a:gd name="T5" fmla="*/ 293 h 294"/>
                  <a:gd name="T6" fmla="*/ 144 w 164"/>
                  <a:gd name="T7" fmla="*/ 294 h 294"/>
                  <a:gd name="T8" fmla="*/ 147 w 164"/>
                  <a:gd name="T9" fmla="*/ 294 h 294"/>
                  <a:gd name="T10" fmla="*/ 150 w 164"/>
                  <a:gd name="T11" fmla="*/ 294 h 294"/>
                  <a:gd name="T12" fmla="*/ 153 w 164"/>
                  <a:gd name="T13" fmla="*/ 293 h 294"/>
                  <a:gd name="T14" fmla="*/ 156 w 164"/>
                  <a:gd name="T15" fmla="*/ 291 h 294"/>
                  <a:gd name="T16" fmla="*/ 159 w 164"/>
                  <a:gd name="T17" fmla="*/ 289 h 294"/>
                  <a:gd name="T18" fmla="*/ 161 w 164"/>
                  <a:gd name="T19" fmla="*/ 286 h 294"/>
                  <a:gd name="T20" fmla="*/ 163 w 164"/>
                  <a:gd name="T21" fmla="*/ 283 h 294"/>
                  <a:gd name="T22" fmla="*/ 164 w 164"/>
                  <a:gd name="T23" fmla="*/ 280 h 294"/>
                  <a:gd name="T24" fmla="*/ 164 w 164"/>
                  <a:gd name="T25" fmla="*/ 277 h 294"/>
                  <a:gd name="T26" fmla="*/ 164 w 164"/>
                  <a:gd name="T27" fmla="*/ 274 h 294"/>
                  <a:gd name="T28" fmla="*/ 163 w 164"/>
                  <a:gd name="T29" fmla="*/ 271 h 294"/>
                  <a:gd name="T30" fmla="*/ 161 w 164"/>
                  <a:gd name="T31" fmla="*/ 268 h 294"/>
                  <a:gd name="T32" fmla="*/ 159 w 164"/>
                  <a:gd name="T33" fmla="*/ 265 h 294"/>
                  <a:gd name="T34" fmla="*/ 42 w 164"/>
                  <a:gd name="T35" fmla="*/ 148 h 294"/>
                  <a:gd name="T36" fmla="*/ 159 w 164"/>
                  <a:gd name="T37" fmla="*/ 30 h 294"/>
                  <a:gd name="T38" fmla="*/ 161 w 164"/>
                  <a:gd name="T39" fmla="*/ 28 h 294"/>
                  <a:gd name="T40" fmla="*/ 163 w 164"/>
                  <a:gd name="T41" fmla="*/ 25 h 294"/>
                  <a:gd name="T42" fmla="*/ 164 w 164"/>
                  <a:gd name="T43" fmla="*/ 22 h 294"/>
                  <a:gd name="T44" fmla="*/ 164 w 164"/>
                  <a:gd name="T45" fmla="*/ 17 h 294"/>
                  <a:gd name="T46" fmla="*/ 164 w 164"/>
                  <a:gd name="T47" fmla="*/ 14 h 294"/>
                  <a:gd name="T48" fmla="*/ 163 w 164"/>
                  <a:gd name="T49" fmla="*/ 11 h 294"/>
                  <a:gd name="T50" fmla="*/ 161 w 164"/>
                  <a:gd name="T51" fmla="*/ 8 h 294"/>
                  <a:gd name="T52" fmla="*/ 159 w 164"/>
                  <a:gd name="T53" fmla="*/ 5 h 294"/>
                  <a:gd name="T54" fmla="*/ 156 w 164"/>
                  <a:gd name="T55" fmla="*/ 3 h 294"/>
                  <a:gd name="T56" fmla="*/ 153 w 164"/>
                  <a:gd name="T57" fmla="*/ 1 h 294"/>
                  <a:gd name="T58" fmla="*/ 150 w 164"/>
                  <a:gd name="T59" fmla="*/ 1 h 294"/>
                  <a:gd name="T60" fmla="*/ 147 w 164"/>
                  <a:gd name="T61" fmla="*/ 0 h 294"/>
                  <a:gd name="T62" fmla="*/ 144 w 164"/>
                  <a:gd name="T63" fmla="*/ 1 h 294"/>
                  <a:gd name="T64" fmla="*/ 140 w 164"/>
                  <a:gd name="T65" fmla="*/ 1 h 294"/>
                  <a:gd name="T66" fmla="*/ 137 w 164"/>
                  <a:gd name="T67" fmla="*/ 3 h 294"/>
                  <a:gd name="T68" fmla="*/ 135 w 164"/>
                  <a:gd name="T69" fmla="*/ 5 h 294"/>
                  <a:gd name="T70" fmla="*/ 5 w 164"/>
                  <a:gd name="T71" fmla="*/ 136 h 294"/>
                  <a:gd name="T72" fmla="*/ 3 w 164"/>
                  <a:gd name="T73" fmla="*/ 138 h 294"/>
                  <a:gd name="T74" fmla="*/ 2 w 164"/>
                  <a:gd name="T75" fmla="*/ 141 h 294"/>
                  <a:gd name="T76" fmla="*/ 1 w 164"/>
                  <a:gd name="T77" fmla="*/ 144 h 294"/>
                  <a:gd name="T78" fmla="*/ 0 w 164"/>
                  <a:gd name="T79" fmla="*/ 148 h 294"/>
                  <a:gd name="T80" fmla="*/ 1 w 164"/>
                  <a:gd name="T81" fmla="*/ 151 h 294"/>
                  <a:gd name="T82" fmla="*/ 2 w 164"/>
                  <a:gd name="T83" fmla="*/ 154 h 294"/>
                  <a:gd name="T84" fmla="*/ 3 w 164"/>
                  <a:gd name="T85" fmla="*/ 157 h 294"/>
                  <a:gd name="T86" fmla="*/ 5 w 164"/>
                  <a:gd name="T87" fmla="*/ 160 h 294"/>
                  <a:gd name="T88" fmla="*/ 135 w 164"/>
                  <a:gd name="T89" fmla="*/ 28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64" h="294">
                    <a:moveTo>
                      <a:pt x="135" y="289"/>
                    </a:moveTo>
                    <a:lnTo>
                      <a:pt x="137" y="291"/>
                    </a:lnTo>
                    <a:lnTo>
                      <a:pt x="140" y="293"/>
                    </a:lnTo>
                    <a:lnTo>
                      <a:pt x="144" y="294"/>
                    </a:lnTo>
                    <a:lnTo>
                      <a:pt x="147" y="294"/>
                    </a:lnTo>
                    <a:lnTo>
                      <a:pt x="150" y="294"/>
                    </a:lnTo>
                    <a:lnTo>
                      <a:pt x="153" y="293"/>
                    </a:lnTo>
                    <a:lnTo>
                      <a:pt x="156" y="291"/>
                    </a:lnTo>
                    <a:lnTo>
                      <a:pt x="159" y="289"/>
                    </a:lnTo>
                    <a:lnTo>
                      <a:pt x="161" y="286"/>
                    </a:lnTo>
                    <a:lnTo>
                      <a:pt x="163" y="283"/>
                    </a:lnTo>
                    <a:lnTo>
                      <a:pt x="164" y="280"/>
                    </a:lnTo>
                    <a:lnTo>
                      <a:pt x="164" y="277"/>
                    </a:lnTo>
                    <a:lnTo>
                      <a:pt x="164" y="274"/>
                    </a:lnTo>
                    <a:lnTo>
                      <a:pt x="163" y="271"/>
                    </a:lnTo>
                    <a:lnTo>
                      <a:pt x="161" y="268"/>
                    </a:lnTo>
                    <a:lnTo>
                      <a:pt x="159" y="265"/>
                    </a:lnTo>
                    <a:lnTo>
                      <a:pt x="42" y="148"/>
                    </a:lnTo>
                    <a:lnTo>
                      <a:pt x="159" y="30"/>
                    </a:lnTo>
                    <a:lnTo>
                      <a:pt x="161" y="28"/>
                    </a:lnTo>
                    <a:lnTo>
                      <a:pt x="163" y="25"/>
                    </a:lnTo>
                    <a:lnTo>
                      <a:pt x="164" y="22"/>
                    </a:lnTo>
                    <a:lnTo>
                      <a:pt x="164" y="17"/>
                    </a:lnTo>
                    <a:lnTo>
                      <a:pt x="164" y="14"/>
                    </a:lnTo>
                    <a:lnTo>
                      <a:pt x="163" y="11"/>
                    </a:lnTo>
                    <a:lnTo>
                      <a:pt x="161" y="8"/>
                    </a:lnTo>
                    <a:lnTo>
                      <a:pt x="159" y="5"/>
                    </a:lnTo>
                    <a:lnTo>
                      <a:pt x="156" y="3"/>
                    </a:lnTo>
                    <a:lnTo>
                      <a:pt x="153" y="1"/>
                    </a:lnTo>
                    <a:lnTo>
                      <a:pt x="150" y="1"/>
                    </a:lnTo>
                    <a:lnTo>
                      <a:pt x="147" y="0"/>
                    </a:lnTo>
                    <a:lnTo>
                      <a:pt x="144" y="1"/>
                    </a:lnTo>
                    <a:lnTo>
                      <a:pt x="140" y="1"/>
                    </a:lnTo>
                    <a:lnTo>
                      <a:pt x="137" y="3"/>
                    </a:lnTo>
                    <a:lnTo>
                      <a:pt x="135" y="5"/>
                    </a:lnTo>
                    <a:lnTo>
                      <a:pt x="5" y="136"/>
                    </a:lnTo>
                    <a:lnTo>
                      <a:pt x="3" y="138"/>
                    </a:lnTo>
                    <a:lnTo>
                      <a:pt x="2" y="141"/>
                    </a:lnTo>
                    <a:lnTo>
                      <a:pt x="1" y="144"/>
                    </a:lnTo>
                    <a:lnTo>
                      <a:pt x="0" y="148"/>
                    </a:lnTo>
                    <a:lnTo>
                      <a:pt x="1" y="151"/>
                    </a:lnTo>
                    <a:lnTo>
                      <a:pt x="2" y="154"/>
                    </a:lnTo>
                    <a:lnTo>
                      <a:pt x="3" y="157"/>
                    </a:lnTo>
                    <a:lnTo>
                      <a:pt x="5" y="160"/>
                    </a:lnTo>
                    <a:lnTo>
                      <a:pt x="135" y="289"/>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等线 Light" panose="020F0302020204030204"/>
                  <a:ea typeface="+mn-ea"/>
                  <a:cs typeface="+mn-cs"/>
                </a:endParaRPr>
              </a:p>
            </p:txBody>
          </p:sp>
        </p:grpSp>
        <p:sp>
          <p:nvSpPr>
            <p:cNvPr id="29" name="Rectangle 33">
              <a:extLst>
                <a:ext uri="{FF2B5EF4-FFF2-40B4-BE49-F238E27FC236}">
                  <a16:creationId xmlns:a16="http://schemas.microsoft.com/office/drawing/2014/main" id="{5ABC95C6-0B43-4EF0-8A19-A81506242CF5}"/>
                </a:ext>
              </a:extLst>
            </p:cNvPr>
            <p:cNvSpPr/>
            <p:nvPr/>
          </p:nvSpPr>
          <p:spPr>
            <a:xfrm>
              <a:off x="2126453" y="2582095"/>
              <a:ext cx="2390221" cy="384914"/>
            </a:xfrm>
            <a:prstGeom prst="rect">
              <a:avLst/>
            </a:prstGeom>
          </p:spPr>
          <p:txBody>
            <a:bodyPr wrap="square">
              <a:spAutoFit/>
            </a:bodyPr>
            <a:lstStyle/>
            <a:p>
              <a:pPr marL="0" marR="0" lvl="0" indent="0" algn="l" defTabSz="914400" rtl="0" eaLnBrk="1" fontAlgn="auto" latinLnBrk="0" hangingPunct="1">
                <a:lnSpc>
                  <a:spcPct val="13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6D7381"/>
                  </a:solidFill>
                  <a:effectLst/>
                  <a:uLnTx/>
                  <a:uFillTx/>
                  <a:latin typeface="等线 Light" panose="020F0302020204030204"/>
                  <a:ea typeface="+mn-ea"/>
                  <a:cs typeface="+mn-cs"/>
                </a:rPr>
                <a:t>Second Content Subtitle</a:t>
              </a:r>
              <a:endParaRPr kumimoji="0" lang="id-ID" sz="1600" b="0" i="0" u="none" strike="noStrike" kern="1200" cap="none" spc="0" normalizeH="0" baseline="0" noProof="0" dirty="0">
                <a:ln>
                  <a:noFill/>
                </a:ln>
                <a:solidFill>
                  <a:srgbClr val="6D7381"/>
                </a:solidFill>
                <a:effectLst/>
                <a:uLnTx/>
                <a:uFillTx/>
                <a:latin typeface="等线 Light" panose="020F0302020204030204"/>
                <a:ea typeface="+mn-ea"/>
                <a:cs typeface="+mn-cs"/>
              </a:endParaRPr>
            </a:p>
          </p:txBody>
        </p:sp>
        <p:sp>
          <p:nvSpPr>
            <p:cNvPr id="30" name="Rounded Rectangle 248">
              <a:extLst>
                <a:ext uri="{FF2B5EF4-FFF2-40B4-BE49-F238E27FC236}">
                  <a16:creationId xmlns:a16="http://schemas.microsoft.com/office/drawing/2014/main" id="{CEA6E514-8E5A-468D-8964-C50B029A257C}"/>
                </a:ext>
              </a:extLst>
            </p:cNvPr>
            <p:cNvSpPr/>
            <p:nvPr/>
          </p:nvSpPr>
          <p:spPr>
            <a:xfrm>
              <a:off x="5064744" y="2547664"/>
              <a:ext cx="1074652" cy="453777"/>
            </a:xfrm>
            <a:prstGeom prst="roundRect">
              <a:avLst>
                <a:gd name="adj" fmla="val 2689"/>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D" sz="1400" b="0" i="0" u="none" strike="noStrike" kern="1200" cap="none" spc="0" normalizeH="0" baseline="0" noProof="0" dirty="0">
                  <a:ln>
                    <a:noFill/>
                  </a:ln>
                  <a:solidFill>
                    <a:srgbClr val="FFFFFF"/>
                  </a:solidFill>
                  <a:effectLst/>
                  <a:uLnTx/>
                  <a:uFillTx/>
                  <a:latin typeface="等线 Light" panose="020F0302020204030204"/>
                  <a:ea typeface="+mn-ea"/>
                  <a:cs typeface="+mn-cs"/>
                </a:rPr>
                <a:t>16,07%</a:t>
              </a:r>
            </a:p>
          </p:txBody>
        </p:sp>
      </p:grpSp>
      <p:sp>
        <p:nvSpPr>
          <p:cNvPr id="33" name="TextBox 38">
            <a:extLst>
              <a:ext uri="{FF2B5EF4-FFF2-40B4-BE49-F238E27FC236}">
                <a16:creationId xmlns:a16="http://schemas.microsoft.com/office/drawing/2014/main" id="{8C479396-2104-4739-BD57-537A831D7030}"/>
              </a:ext>
            </a:extLst>
          </p:cNvPr>
          <p:cNvSpPr txBox="1"/>
          <p:nvPr/>
        </p:nvSpPr>
        <p:spPr>
          <a:xfrm>
            <a:off x="2657474" y="731469"/>
            <a:ext cx="6877050"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1" i="0" u="none" strike="noStrike" kern="1200" cap="none" spc="0" normalizeH="0" baseline="0" noProof="0" dirty="0">
                <a:ln>
                  <a:noFill/>
                </a:ln>
                <a:solidFill>
                  <a:srgbClr val="000000">
                    <a:lumMod val="85000"/>
                    <a:lumOff val="15000"/>
                  </a:srgbClr>
                </a:solidFill>
                <a:effectLst/>
                <a:uLnTx/>
                <a:uFillTx/>
                <a:latin typeface="等线 Light" panose="020F0302020204030204"/>
                <a:ea typeface="+mn-ea"/>
                <a:cs typeface="Arial" panose="020B0604020202020204" pitchFamily="34" charset="0"/>
              </a:rPr>
              <a:t>Your Title Text Goes Here</a:t>
            </a:r>
          </a:p>
        </p:txBody>
      </p:sp>
      <p:grpSp>
        <p:nvGrpSpPr>
          <p:cNvPr id="34" name="Group 39">
            <a:extLst>
              <a:ext uri="{FF2B5EF4-FFF2-40B4-BE49-F238E27FC236}">
                <a16:creationId xmlns:a16="http://schemas.microsoft.com/office/drawing/2014/main" id="{2B1E7653-C4F0-4BD2-81C3-59E1FFD0417F}"/>
              </a:ext>
            </a:extLst>
          </p:cNvPr>
          <p:cNvGrpSpPr/>
          <p:nvPr/>
        </p:nvGrpSpPr>
        <p:grpSpPr>
          <a:xfrm>
            <a:off x="5750959" y="4624327"/>
            <a:ext cx="5000980" cy="453777"/>
            <a:chOff x="1138416" y="2547664"/>
            <a:chExt cx="5000980" cy="453777"/>
          </a:xfrm>
        </p:grpSpPr>
        <p:sp>
          <p:nvSpPr>
            <p:cNvPr id="35" name="Rounded Rectangle 248">
              <a:extLst>
                <a:ext uri="{FF2B5EF4-FFF2-40B4-BE49-F238E27FC236}">
                  <a16:creationId xmlns:a16="http://schemas.microsoft.com/office/drawing/2014/main" id="{1332DB83-134F-4662-B0D1-B2B009D72258}"/>
                </a:ext>
              </a:extLst>
            </p:cNvPr>
            <p:cNvSpPr/>
            <p:nvPr/>
          </p:nvSpPr>
          <p:spPr>
            <a:xfrm>
              <a:off x="1138416" y="2547664"/>
              <a:ext cx="5000980" cy="453777"/>
            </a:xfrm>
            <a:prstGeom prst="roundRect">
              <a:avLst>
                <a:gd name="adj" fmla="val 2689"/>
              </a:avLst>
            </a:prstGeom>
            <a:solidFill>
              <a:schemeClr val="bg1"/>
            </a:solidFill>
            <a:ln>
              <a:noFill/>
            </a:ln>
            <a:effectLst>
              <a:outerShdw blurRad="203200" dist="38100" dir="5400000" algn="t" rotWithShape="0">
                <a:prstClr val="black">
                  <a:alpha val="18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400" b="0" i="0" u="none" strike="noStrike" kern="1200" cap="none" spc="0" normalizeH="0" baseline="0" noProof="0" dirty="0">
                <a:ln>
                  <a:noFill/>
                </a:ln>
                <a:solidFill>
                  <a:srgbClr val="FFFFFF"/>
                </a:solidFill>
                <a:effectLst/>
                <a:uLnTx/>
                <a:uFillTx/>
                <a:latin typeface="等线 Light" panose="020F0302020204030204"/>
                <a:ea typeface="+mn-ea"/>
                <a:cs typeface="+mn-cs"/>
              </a:endParaRPr>
            </a:p>
          </p:txBody>
        </p:sp>
        <p:sp>
          <p:nvSpPr>
            <p:cNvPr id="36" name="Rectangle 41">
              <a:extLst>
                <a:ext uri="{FF2B5EF4-FFF2-40B4-BE49-F238E27FC236}">
                  <a16:creationId xmlns:a16="http://schemas.microsoft.com/office/drawing/2014/main" id="{DD11CBA8-E5FB-4A12-B458-78E6C1D78E54}"/>
                </a:ext>
              </a:extLst>
            </p:cNvPr>
            <p:cNvSpPr/>
            <p:nvPr/>
          </p:nvSpPr>
          <p:spPr>
            <a:xfrm>
              <a:off x="1316002" y="2618676"/>
              <a:ext cx="361691" cy="311752"/>
            </a:xfrm>
            <a:prstGeom prst="rect">
              <a:avLst/>
            </a:prstGeom>
          </p:spPr>
          <p:txBody>
            <a:bodyPr wrap="square">
              <a:spAutoFit/>
            </a:bodyPr>
            <a:lstStyle/>
            <a:p>
              <a:pPr marL="0" marR="0" lvl="0" indent="0" algn="r" defTabSz="914400" rtl="0" eaLnBrk="1" fontAlgn="auto" latinLnBrk="0" hangingPunct="1">
                <a:lnSpc>
                  <a:spcPct val="13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6D7381"/>
                  </a:solidFill>
                  <a:effectLst/>
                  <a:uLnTx/>
                  <a:uFillTx/>
                  <a:latin typeface="等线 Light" panose="020F0302020204030204"/>
                  <a:ea typeface="+mn-ea"/>
                  <a:cs typeface="+mn-cs"/>
                </a:rPr>
                <a:t>03</a:t>
              </a:r>
              <a:endParaRPr kumimoji="0" lang="id-ID" sz="1200" b="0" i="0" u="none" strike="noStrike" kern="1200" cap="none" spc="0" normalizeH="0" baseline="0" noProof="0" dirty="0">
                <a:ln>
                  <a:noFill/>
                </a:ln>
                <a:solidFill>
                  <a:srgbClr val="6D7381"/>
                </a:solidFill>
                <a:effectLst/>
                <a:uLnTx/>
                <a:uFillTx/>
                <a:latin typeface="等线 Light" panose="020F0302020204030204"/>
                <a:ea typeface="+mn-ea"/>
                <a:cs typeface="+mn-cs"/>
              </a:endParaRPr>
            </a:p>
          </p:txBody>
        </p:sp>
        <p:grpSp>
          <p:nvGrpSpPr>
            <p:cNvPr id="37" name="Group 42">
              <a:extLst>
                <a:ext uri="{FF2B5EF4-FFF2-40B4-BE49-F238E27FC236}">
                  <a16:creationId xmlns:a16="http://schemas.microsoft.com/office/drawing/2014/main" id="{AA410076-5D6F-4A85-A206-8584B87EF322}"/>
                </a:ext>
              </a:extLst>
            </p:cNvPr>
            <p:cNvGrpSpPr/>
            <p:nvPr/>
          </p:nvGrpSpPr>
          <p:grpSpPr>
            <a:xfrm rot="16200000">
              <a:off x="1778739" y="2652516"/>
              <a:ext cx="246669" cy="244072"/>
              <a:chOff x="2813442" y="3494557"/>
              <a:chExt cx="444855" cy="440172"/>
            </a:xfrm>
          </p:grpSpPr>
          <p:sp>
            <p:nvSpPr>
              <p:cNvPr id="40" name="Freeform 163">
                <a:extLst>
                  <a:ext uri="{FF2B5EF4-FFF2-40B4-BE49-F238E27FC236}">
                    <a16:creationId xmlns:a16="http://schemas.microsoft.com/office/drawing/2014/main" id="{5413FF8A-B9B5-40CE-99AC-98CC54FB1AD3}"/>
                  </a:ext>
                </a:extLst>
              </p:cNvPr>
              <p:cNvSpPr>
                <a:spLocks noEditPoints="1"/>
              </p:cNvSpPr>
              <p:nvPr/>
            </p:nvSpPr>
            <p:spPr bwMode="auto">
              <a:xfrm>
                <a:off x="2813442" y="3494557"/>
                <a:ext cx="444855" cy="440172"/>
              </a:xfrm>
              <a:custGeom>
                <a:avLst/>
                <a:gdLst>
                  <a:gd name="T0" fmla="*/ 511 w 852"/>
                  <a:gd name="T1" fmla="*/ 845 h 854"/>
                  <a:gd name="T2" fmla="*/ 610 w 852"/>
                  <a:gd name="T3" fmla="*/ 811 h 854"/>
                  <a:gd name="T4" fmla="*/ 697 w 852"/>
                  <a:gd name="T5" fmla="*/ 756 h 854"/>
                  <a:gd name="T6" fmla="*/ 767 w 852"/>
                  <a:gd name="T7" fmla="*/ 682 h 854"/>
                  <a:gd name="T8" fmla="*/ 819 w 852"/>
                  <a:gd name="T9" fmla="*/ 592 h 854"/>
                  <a:gd name="T10" fmla="*/ 847 w 852"/>
                  <a:gd name="T11" fmla="*/ 491 h 854"/>
                  <a:gd name="T12" fmla="*/ 850 w 852"/>
                  <a:gd name="T13" fmla="*/ 383 h 854"/>
                  <a:gd name="T14" fmla="*/ 826 w 852"/>
                  <a:gd name="T15" fmla="*/ 279 h 854"/>
                  <a:gd name="T16" fmla="*/ 779 w 852"/>
                  <a:gd name="T17" fmla="*/ 187 h 854"/>
                  <a:gd name="T18" fmla="*/ 712 w 852"/>
                  <a:gd name="T19" fmla="*/ 111 h 854"/>
                  <a:gd name="T20" fmla="*/ 628 w 852"/>
                  <a:gd name="T21" fmla="*/ 51 h 854"/>
                  <a:gd name="T22" fmla="*/ 533 w 852"/>
                  <a:gd name="T23" fmla="*/ 13 h 854"/>
                  <a:gd name="T24" fmla="*/ 426 w 852"/>
                  <a:gd name="T25" fmla="*/ 0 h 854"/>
                  <a:gd name="T26" fmla="*/ 319 w 852"/>
                  <a:gd name="T27" fmla="*/ 13 h 854"/>
                  <a:gd name="T28" fmla="*/ 223 w 852"/>
                  <a:gd name="T29" fmla="*/ 51 h 854"/>
                  <a:gd name="T30" fmla="*/ 140 w 852"/>
                  <a:gd name="T31" fmla="*/ 111 h 854"/>
                  <a:gd name="T32" fmla="*/ 72 w 852"/>
                  <a:gd name="T33" fmla="*/ 187 h 854"/>
                  <a:gd name="T34" fmla="*/ 26 w 852"/>
                  <a:gd name="T35" fmla="*/ 279 h 854"/>
                  <a:gd name="T36" fmla="*/ 2 w 852"/>
                  <a:gd name="T37" fmla="*/ 383 h 854"/>
                  <a:gd name="T38" fmla="*/ 5 w 852"/>
                  <a:gd name="T39" fmla="*/ 491 h 854"/>
                  <a:gd name="T40" fmla="*/ 33 w 852"/>
                  <a:gd name="T41" fmla="*/ 592 h 854"/>
                  <a:gd name="T42" fmla="*/ 85 w 852"/>
                  <a:gd name="T43" fmla="*/ 682 h 854"/>
                  <a:gd name="T44" fmla="*/ 155 w 852"/>
                  <a:gd name="T45" fmla="*/ 756 h 854"/>
                  <a:gd name="T46" fmla="*/ 242 w 852"/>
                  <a:gd name="T47" fmla="*/ 811 h 854"/>
                  <a:gd name="T48" fmla="*/ 340 w 852"/>
                  <a:gd name="T49" fmla="*/ 845 h 854"/>
                  <a:gd name="T50" fmla="*/ 426 w 852"/>
                  <a:gd name="T51" fmla="*/ 34 h 854"/>
                  <a:gd name="T52" fmla="*/ 524 w 852"/>
                  <a:gd name="T53" fmla="*/ 46 h 854"/>
                  <a:gd name="T54" fmla="*/ 612 w 852"/>
                  <a:gd name="T55" fmla="*/ 81 h 854"/>
                  <a:gd name="T56" fmla="*/ 689 w 852"/>
                  <a:gd name="T57" fmla="*/ 136 h 854"/>
                  <a:gd name="T58" fmla="*/ 750 w 852"/>
                  <a:gd name="T59" fmla="*/ 207 h 854"/>
                  <a:gd name="T60" fmla="*/ 793 w 852"/>
                  <a:gd name="T61" fmla="*/ 291 h 854"/>
                  <a:gd name="T62" fmla="*/ 816 w 852"/>
                  <a:gd name="T63" fmla="*/ 386 h 854"/>
                  <a:gd name="T64" fmla="*/ 812 w 852"/>
                  <a:gd name="T65" fmla="*/ 486 h 854"/>
                  <a:gd name="T66" fmla="*/ 786 w 852"/>
                  <a:gd name="T67" fmla="*/ 579 h 854"/>
                  <a:gd name="T68" fmla="*/ 739 w 852"/>
                  <a:gd name="T69" fmla="*/ 661 h 854"/>
                  <a:gd name="T70" fmla="*/ 675 w 852"/>
                  <a:gd name="T71" fmla="*/ 730 h 854"/>
                  <a:gd name="T72" fmla="*/ 595 w 852"/>
                  <a:gd name="T73" fmla="*/ 780 h 854"/>
                  <a:gd name="T74" fmla="*/ 504 w 852"/>
                  <a:gd name="T75" fmla="*/ 811 h 854"/>
                  <a:gd name="T76" fmla="*/ 406 w 852"/>
                  <a:gd name="T77" fmla="*/ 818 h 854"/>
                  <a:gd name="T78" fmla="*/ 309 w 852"/>
                  <a:gd name="T79" fmla="*/ 801 h 854"/>
                  <a:gd name="T80" fmla="*/ 223 w 852"/>
                  <a:gd name="T81" fmla="*/ 762 h 854"/>
                  <a:gd name="T82" fmla="*/ 149 w 852"/>
                  <a:gd name="T83" fmla="*/ 703 h 854"/>
                  <a:gd name="T84" fmla="*/ 92 w 852"/>
                  <a:gd name="T85" fmla="*/ 630 h 854"/>
                  <a:gd name="T86" fmla="*/ 52 w 852"/>
                  <a:gd name="T87" fmla="*/ 543 h 854"/>
                  <a:gd name="T88" fmla="*/ 35 w 852"/>
                  <a:gd name="T89" fmla="*/ 447 h 854"/>
                  <a:gd name="T90" fmla="*/ 42 w 852"/>
                  <a:gd name="T91" fmla="*/ 347 h 854"/>
                  <a:gd name="T92" fmla="*/ 73 w 852"/>
                  <a:gd name="T93" fmla="*/ 256 h 854"/>
                  <a:gd name="T94" fmla="*/ 124 w 852"/>
                  <a:gd name="T95" fmla="*/ 177 h 854"/>
                  <a:gd name="T96" fmla="*/ 192 w 852"/>
                  <a:gd name="T97" fmla="*/ 112 h 854"/>
                  <a:gd name="T98" fmla="*/ 274 w 852"/>
                  <a:gd name="T99" fmla="*/ 65 h 854"/>
                  <a:gd name="T100" fmla="*/ 366 w 852"/>
                  <a:gd name="T101" fmla="*/ 38 h 8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52" h="854">
                    <a:moveTo>
                      <a:pt x="426" y="854"/>
                    </a:moveTo>
                    <a:lnTo>
                      <a:pt x="448" y="853"/>
                    </a:lnTo>
                    <a:lnTo>
                      <a:pt x="469" y="851"/>
                    </a:lnTo>
                    <a:lnTo>
                      <a:pt x="490" y="849"/>
                    </a:lnTo>
                    <a:lnTo>
                      <a:pt x="511" y="845"/>
                    </a:lnTo>
                    <a:lnTo>
                      <a:pt x="533" y="840"/>
                    </a:lnTo>
                    <a:lnTo>
                      <a:pt x="553" y="835"/>
                    </a:lnTo>
                    <a:lnTo>
                      <a:pt x="572" y="828"/>
                    </a:lnTo>
                    <a:lnTo>
                      <a:pt x="591" y="819"/>
                    </a:lnTo>
                    <a:lnTo>
                      <a:pt x="610" y="811"/>
                    </a:lnTo>
                    <a:lnTo>
                      <a:pt x="628" y="802"/>
                    </a:lnTo>
                    <a:lnTo>
                      <a:pt x="646" y="791"/>
                    </a:lnTo>
                    <a:lnTo>
                      <a:pt x="663" y="780"/>
                    </a:lnTo>
                    <a:lnTo>
                      <a:pt x="681" y="768"/>
                    </a:lnTo>
                    <a:lnTo>
                      <a:pt x="697" y="756"/>
                    </a:lnTo>
                    <a:lnTo>
                      <a:pt x="712" y="743"/>
                    </a:lnTo>
                    <a:lnTo>
                      <a:pt x="727" y="729"/>
                    </a:lnTo>
                    <a:lnTo>
                      <a:pt x="741" y="713"/>
                    </a:lnTo>
                    <a:lnTo>
                      <a:pt x="754" y="698"/>
                    </a:lnTo>
                    <a:lnTo>
                      <a:pt x="767" y="682"/>
                    </a:lnTo>
                    <a:lnTo>
                      <a:pt x="779" y="665"/>
                    </a:lnTo>
                    <a:lnTo>
                      <a:pt x="790" y="648"/>
                    </a:lnTo>
                    <a:lnTo>
                      <a:pt x="800" y="630"/>
                    </a:lnTo>
                    <a:lnTo>
                      <a:pt x="809" y="611"/>
                    </a:lnTo>
                    <a:lnTo>
                      <a:pt x="819" y="592"/>
                    </a:lnTo>
                    <a:lnTo>
                      <a:pt x="826" y="573"/>
                    </a:lnTo>
                    <a:lnTo>
                      <a:pt x="833" y="553"/>
                    </a:lnTo>
                    <a:lnTo>
                      <a:pt x="839" y="533"/>
                    </a:lnTo>
                    <a:lnTo>
                      <a:pt x="843" y="513"/>
                    </a:lnTo>
                    <a:lnTo>
                      <a:pt x="847" y="491"/>
                    </a:lnTo>
                    <a:lnTo>
                      <a:pt x="850" y="470"/>
                    </a:lnTo>
                    <a:lnTo>
                      <a:pt x="851" y="448"/>
                    </a:lnTo>
                    <a:lnTo>
                      <a:pt x="852" y="427"/>
                    </a:lnTo>
                    <a:lnTo>
                      <a:pt x="851" y="405"/>
                    </a:lnTo>
                    <a:lnTo>
                      <a:pt x="850" y="383"/>
                    </a:lnTo>
                    <a:lnTo>
                      <a:pt x="847" y="361"/>
                    </a:lnTo>
                    <a:lnTo>
                      <a:pt x="843" y="341"/>
                    </a:lnTo>
                    <a:lnTo>
                      <a:pt x="839" y="320"/>
                    </a:lnTo>
                    <a:lnTo>
                      <a:pt x="833" y="300"/>
                    </a:lnTo>
                    <a:lnTo>
                      <a:pt x="826" y="279"/>
                    </a:lnTo>
                    <a:lnTo>
                      <a:pt x="819" y="260"/>
                    </a:lnTo>
                    <a:lnTo>
                      <a:pt x="809" y="241"/>
                    </a:lnTo>
                    <a:lnTo>
                      <a:pt x="800" y="223"/>
                    </a:lnTo>
                    <a:lnTo>
                      <a:pt x="790" y="206"/>
                    </a:lnTo>
                    <a:lnTo>
                      <a:pt x="779" y="187"/>
                    </a:lnTo>
                    <a:lnTo>
                      <a:pt x="767" y="171"/>
                    </a:lnTo>
                    <a:lnTo>
                      <a:pt x="754" y="155"/>
                    </a:lnTo>
                    <a:lnTo>
                      <a:pt x="741" y="139"/>
                    </a:lnTo>
                    <a:lnTo>
                      <a:pt x="727" y="125"/>
                    </a:lnTo>
                    <a:lnTo>
                      <a:pt x="712" y="111"/>
                    </a:lnTo>
                    <a:lnTo>
                      <a:pt x="697" y="97"/>
                    </a:lnTo>
                    <a:lnTo>
                      <a:pt x="681" y="84"/>
                    </a:lnTo>
                    <a:lnTo>
                      <a:pt x="663" y="72"/>
                    </a:lnTo>
                    <a:lnTo>
                      <a:pt x="646" y="61"/>
                    </a:lnTo>
                    <a:lnTo>
                      <a:pt x="628" y="51"/>
                    </a:lnTo>
                    <a:lnTo>
                      <a:pt x="610" y="42"/>
                    </a:lnTo>
                    <a:lnTo>
                      <a:pt x="591" y="33"/>
                    </a:lnTo>
                    <a:lnTo>
                      <a:pt x="572" y="25"/>
                    </a:lnTo>
                    <a:lnTo>
                      <a:pt x="553" y="19"/>
                    </a:lnTo>
                    <a:lnTo>
                      <a:pt x="533" y="13"/>
                    </a:lnTo>
                    <a:lnTo>
                      <a:pt x="511" y="8"/>
                    </a:lnTo>
                    <a:lnTo>
                      <a:pt x="490" y="5"/>
                    </a:lnTo>
                    <a:lnTo>
                      <a:pt x="469" y="2"/>
                    </a:lnTo>
                    <a:lnTo>
                      <a:pt x="448" y="0"/>
                    </a:lnTo>
                    <a:lnTo>
                      <a:pt x="426" y="0"/>
                    </a:lnTo>
                    <a:lnTo>
                      <a:pt x="404" y="0"/>
                    </a:lnTo>
                    <a:lnTo>
                      <a:pt x="383" y="2"/>
                    </a:lnTo>
                    <a:lnTo>
                      <a:pt x="361" y="5"/>
                    </a:lnTo>
                    <a:lnTo>
                      <a:pt x="340" y="8"/>
                    </a:lnTo>
                    <a:lnTo>
                      <a:pt x="319" y="13"/>
                    </a:lnTo>
                    <a:lnTo>
                      <a:pt x="299" y="19"/>
                    </a:lnTo>
                    <a:lnTo>
                      <a:pt x="280" y="25"/>
                    </a:lnTo>
                    <a:lnTo>
                      <a:pt x="260" y="33"/>
                    </a:lnTo>
                    <a:lnTo>
                      <a:pt x="242" y="42"/>
                    </a:lnTo>
                    <a:lnTo>
                      <a:pt x="223" y="51"/>
                    </a:lnTo>
                    <a:lnTo>
                      <a:pt x="205" y="61"/>
                    </a:lnTo>
                    <a:lnTo>
                      <a:pt x="188" y="72"/>
                    </a:lnTo>
                    <a:lnTo>
                      <a:pt x="171" y="84"/>
                    </a:lnTo>
                    <a:lnTo>
                      <a:pt x="155" y="97"/>
                    </a:lnTo>
                    <a:lnTo>
                      <a:pt x="140" y="111"/>
                    </a:lnTo>
                    <a:lnTo>
                      <a:pt x="125" y="125"/>
                    </a:lnTo>
                    <a:lnTo>
                      <a:pt x="111" y="139"/>
                    </a:lnTo>
                    <a:lnTo>
                      <a:pt x="98" y="155"/>
                    </a:lnTo>
                    <a:lnTo>
                      <a:pt x="85" y="171"/>
                    </a:lnTo>
                    <a:lnTo>
                      <a:pt x="72" y="187"/>
                    </a:lnTo>
                    <a:lnTo>
                      <a:pt x="61" y="206"/>
                    </a:lnTo>
                    <a:lnTo>
                      <a:pt x="51" y="223"/>
                    </a:lnTo>
                    <a:lnTo>
                      <a:pt x="42" y="241"/>
                    </a:lnTo>
                    <a:lnTo>
                      <a:pt x="33" y="260"/>
                    </a:lnTo>
                    <a:lnTo>
                      <a:pt x="26" y="279"/>
                    </a:lnTo>
                    <a:lnTo>
                      <a:pt x="19" y="300"/>
                    </a:lnTo>
                    <a:lnTo>
                      <a:pt x="13" y="320"/>
                    </a:lnTo>
                    <a:lnTo>
                      <a:pt x="9" y="341"/>
                    </a:lnTo>
                    <a:lnTo>
                      <a:pt x="5" y="361"/>
                    </a:lnTo>
                    <a:lnTo>
                      <a:pt x="2" y="383"/>
                    </a:lnTo>
                    <a:lnTo>
                      <a:pt x="1" y="405"/>
                    </a:lnTo>
                    <a:lnTo>
                      <a:pt x="0" y="427"/>
                    </a:lnTo>
                    <a:lnTo>
                      <a:pt x="1" y="448"/>
                    </a:lnTo>
                    <a:lnTo>
                      <a:pt x="2" y="470"/>
                    </a:lnTo>
                    <a:lnTo>
                      <a:pt x="5" y="491"/>
                    </a:lnTo>
                    <a:lnTo>
                      <a:pt x="9" y="513"/>
                    </a:lnTo>
                    <a:lnTo>
                      <a:pt x="13" y="533"/>
                    </a:lnTo>
                    <a:lnTo>
                      <a:pt x="19" y="553"/>
                    </a:lnTo>
                    <a:lnTo>
                      <a:pt x="26" y="573"/>
                    </a:lnTo>
                    <a:lnTo>
                      <a:pt x="33" y="592"/>
                    </a:lnTo>
                    <a:lnTo>
                      <a:pt x="42" y="611"/>
                    </a:lnTo>
                    <a:lnTo>
                      <a:pt x="51" y="630"/>
                    </a:lnTo>
                    <a:lnTo>
                      <a:pt x="61" y="648"/>
                    </a:lnTo>
                    <a:lnTo>
                      <a:pt x="72" y="665"/>
                    </a:lnTo>
                    <a:lnTo>
                      <a:pt x="85" y="682"/>
                    </a:lnTo>
                    <a:lnTo>
                      <a:pt x="98" y="698"/>
                    </a:lnTo>
                    <a:lnTo>
                      <a:pt x="111" y="713"/>
                    </a:lnTo>
                    <a:lnTo>
                      <a:pt x="125" y="729"/>
                    </a:lnTo>
                    <a:lnTo>
                      <a:pt x="140" y="743"/>
                    </a:lnTo>
                    <a:lnTo>
                      <a:pt x="155" y="756"/>
                    </a:lnTo>
                    <a:lnTo>
                      <a:pt x="171" y="768"/>
                    </a:lnTo>
                    <a:lnTo>
                      <a:pt x="188" y="780"/>
                    </a:lnTo>
                    <a:lnTo>
                      <a:pt x="205" y="791"/>
                    </a:lnTo>
                    <a:lnTo>
                      <a:pt x="223" y="802"/>
                    </a:lnTo>
                    <a:lnTo>
                      <a:pt x="242" y="811"/>
                    </a:lnTo>
                    <a:lnTo>
                      <a:pt x="260" y="819"/>
                    </a:lnTo>
                    <a:lnTo>
                      <a:pt x="280" y="828"/>
                    </a:lnTo>
                    <a:lnTo>
                      <a:pt x="299" y="835"/>
                    </a:lnTo>
                    <a:lnTo>
                      <a:pt x="319" y="840"/>
                    </a:lnTo>
                    <a:lnTo>
                      <a:pt x="340" y="845"/>
                    </a:lnTo>
                    <a:lnTo>
                      <a:pt x="361" y="849"/>
                    </a:lnTo>
                    <a:lnTo>
                      <a:pt x="383" y="851"/>
                    </a:lnTo>
                    <a:lnTo>
                      <a:pt x="404" y="853"/>
                    </a:lnTo>
                    <a:lnTo>
                      <a:pt x="426" y="854"/>
                    </a:lnTo>
                    <a:close/>
                    <a:moveTo>
                      <a:pt x="426" y="34"/>
                    </a:moveTo>
                    <a:lnTo>
                      <a:pt x="446" y="34"/>
                    </a:lnTo>
                    <a:lnTo>
                      <a:pt x="466" y="36"/>
                    </a:lnTo>
                    <a:lnTo>
                      <a:pt x="485" y="38"/>
                    </a:lnTo>
                    <a:lnTo>
                      <a:pt x="504" y="42"/>
                    </a:lnTo>
                    <a:lnTo>
                      <a:pt x="524" y="46"/>
                    </a:lnTo>
                    <a:lnTo>
                      <a:pt x="542" y="51"/>
                    </a:lnTo>
                    <a:lnTo>
                      <a:pt x="560" y="58"/>
                    </a:lnTo>
                    <a:lnTo>
                      <a:pt x="578" y="65"/>
                    </a:lnTo>
                    <a:lnTo>
                      <a:pt x="595" y="72"/>
                    </a:lnTo>
                    <a:lnTo>
                      <a:pt x="612" y="81"/>
                    </a:lnTo>
                    <a:lnTo>
                      <a:pt x="628" y="91"/>
                    </a:lnTo>
                    <a:lnTo>
                      <a:pt x="644" y="101"/>
                    </a:lnTo>
                    <a:lnTo>
                      <a:pt x="659" y="112"/>
                    </a:lnTo>
                    <a:lnTo>
                      <a:pt x="675" y="124"/>
                    </a:lnTo>
                    <a:lnTo>
                      <a:pt x="689" y="136"/>
                    </a:lnTo>
                    <a:lnTo>
                      <a:pt x="703" y="149"/>
                    </a:lnTo>
                    <a:lnTo>
                      <a:pt x="716" y="162"/>
                    </a:lnTo>
                    <a:lnTo>
                      <a:pt x="728" y="177"/>
                    </a:lnTo>
                    <a:lnTo>
                      <a:pt x="739" y="191"/>
                    </a:lnTo>
                    <a:lnTo>
                      <a:pt x="750" y="207"/>
                    </a:lnTo>
                    <a:lnTo>
                      <a:pt x="760" y="223"/>
                    </a:lnTo>
                    <a:lnTo>
                      <a:pt x="770" y="240"/>
                    </a:lnTo>
                    <a:lnTo>
                      <a:pt x="778" y="256"/>
                    </a:lnTo>
                    <a:lnTo>
                      <a:pt x="786" y="274"/>
                    </a:lnTo>
                    <a:lnTo>
                      <a:pt x="793" y="291"/>
                    </a:lnTo>
                    <a:lnTo>
                      <a:pt x="799" y="310"/>
                    </a:lnTo>
                    <a:lnTo>
                      <a:pt x="804" y="329"/>
                    </a:lnTo>
                    <a:lnTo>
                      <a:pt x="809" y="347"/>
                    </a:lnTo>
                    <a:lnTo>
                      <a:pt x="812" y="367"/>
                    </a:lnTo>
                    <a:lnTo>
                      <a:pt x="816" y="386"/>
                    </a:lnTo>
                    <a:lnTo>
                      <a:pt x="817" y="407"/>
                    </a:lnTo>
                    <a:lnTo>
                      <a:pt x="818" y="427"/>
                    </a:lnTo>
                    <a:lnTo>
                      <a:pt x="817" y="447"/>
                    </a:lnTo>
                    <a:lnTo>
                      <a:pt x="816" y="466"/>
                    </a:lnTo>
                    <a:lnTo>
                      <a:pt x="812" y="486"/>
                    </a:lnTo>
                    <a:lnTo>
                      <a:pt x="809" y="505"/>
                    </a:lnTo>
                    <a:lnTo>
                      <a:pt x="804" y="525"/>
                    </a:lnTo>
                    <a:lnTo>
                      <a:pt x="799" y="543"/>
                    </a:lnTo>
                    <a:lnTo>
                      <a:pt x="793" y="561"/>
                    </a:lnTo>
                    <a:lnTo>
                      <a:pt x="786" y="579"/>
                    </a:lnTo>
                    <a:lnTo>
                      <a:pt x="778" y="596"/>
                    </a:lnTo>
                    <a:lnTo>
                      <a:pt x="770" y="614"/>
                    </a:lnTo>
                    <a:lnTo>
                      <a:pt x="760" y="630"/>
                    </a:lnTo>
                    <a:lnTo>
                      <a:pt x="750" y="646"/>
                    </a:lnTo>
                    <a:lnTo>
                      <a:pt x="739" y="661"/>
                    </a:lnTo>
                    <a:lnTo>
                      <a:pt x="728" y="676"/>
                    </a:lnTo>
                    <a:lnTo>
                      <a:pt x="716" y="690"/>
                    </a:lnTo>
                    <a:lnTo>
                      <a:pt x="703" y="703"/>
                    </a:lnTo>
                    <a:lnTo>
                      <a:pt x="689" y="716"/>
                    </a:lnTo>
                    <a:lnTo>
                      <a:pt x="675" y="730"/>
                    </a:lnTo>
                    <a:lnTo>
                      <a:pt x="659" y="741"/>
                    </a:lnTo>
                    <a:lnTo>
                      <a:pt x="644" y="752"/>
                    </a:lnTo>
                    <a:lnTo>
                      <a:pt x="628" y="762"/>
                    </a:lnTo>
                    <a:lnTo>
                      <a:pt x="612" y="771"/>
                    </a:lnTo>
                    <a:lnTo>
                      <a:pt x="595" y="780"/>
                    </a:lnTo>
                    <a:lnTo>
                      <a:pt x="578" y="788"/>
                    </a:lnTo>
                    <a:lnTo>
                      <a:pt x="560" y="795"/>
                    </a:lnTo>
                    <a:lnTo>
                      <a:pt x="542" y="801"/>
                    </a:lnTo>
                    <a:lnTo>
                      <a:pt x="524" y="806"/>
                    </a:lnTo>
                    <a:lnTo>
                      <a:pt x="504" y="811"/>
                    </a:lnTo>
                    <a:lnTo>
                      <a:pt x="485" y="814"/>
                    </a:lnTo>
                    <a:lnTo>
                      <a:pt x="466" y="816"/>
                    </a:lnTo>
                    <a:lnTo>
                      <a:pt x="446" y="818"/>
                    </a:lnTo>
                    <a:lnTo>
                      <a:pt x="426" y="818"/>
                    </a:lnTo>
                    <a:lnTo>
                      <a:pt x="406" y="818"/>
                    </a:lnTo>
                    <a:lnTo>
                      <a:pt x="386" y="816"/>
                    </a:lnTo>
                    <a:lnTo>
                      <a:pt x="366" y="814"/>
                    </a:lnTo>
                    <a:lnTo>
                      <a:pt x="347" y="811"/>
                    </a:lnTo>
                    <a:lnTo>
                      <a:pt x="328" y="806"/>
                    </a:lnTo>
                    <a:lnTo>
                      <a:pt x="309" y="801"/>
                    </a:lnTo>
                    <a:lnTo>
                      <a:pt x="291" y="795"/>
                    </a:lnTo>
                    <a:lnTo>
                      <a:pt x="274" y="788"/>
                    </a:lnTo>
                    <a:lnTo>
                      <a:pt x="257" y="780"/>
                    </a:lnTo>
                    <a:lnTo>
                      <a:pt x="240" y="771"/>
                    </a:lnTo>
                    <a:lnTo>
                      <a:pt x="223" y="762"/>
                    </a:lnTo>
                    <a:lnTo>
                      <a:pt x="207" y="752"/>
                    </a:lnTo>
                    <a:lnTo>
                      <a:pt x="192" y="741"/>
                    </a:lnTo>
                    <a:lnTo>
                      <a:pt x="177" y="730"/>
                    </a:lnTo>
                    <a:lnTo>
                      <a:pt x="163" y="716"/>
                    </a:lnTo>
                    <a:lnTo>
                      <a:pt x="149" y="703"/>
                    </a:lnTo>
                    <a:lnTo>
                      <a:pt x="136" y="690"/>
                    </a:lnTo>
                    <a:lnTo>
                      <a:pt x="124" y="676"/>
                    </a:lnTo>
                    <a:lnTo>
                      <a:pt x="113" y="661"/>
                    </a:lnTo>
                    <a:lnTo>
                      <a:pt x="102" y="646"/>
                    </a:lnTo>
                    <a:lnTo>
                      <a:pt x="92" y="630"/>
                    </a:lnTo>
                    <a:lnTo>
                      <a:pt x="81" y="614"/>
                    </a:lnTo>
                    <a:lnTo>
                      <a:pt x="73" y="596"/>
                    </a:lnTo>
                    <a:lnTo>
                      <a:pt x="65" y="579"/>
                    </a:lnTo>
                    <a:lnTo>
                      <a:pt x="58" y="561"/>
                    </a:lnTo>
                    <a:lnTo>
                      <a:pt x="52" y="543"/>
                    </a:lnTo>
                    <a:lnTo>
                      <a:pt x="47" y="525"/>
                    </a:lnTo>
                    <a:lnTo>
                      <a:pt x="42" y="505"/>
                    </a:lnTo>
                    <a:lnTo>
                      <a:pt x="39" y="486"/>
                    </a:lnTo>
                    <a:lnTo>
                      <a:pt x="36" y="466"/>
                    </a:lnTo>
                    <a:lnTo>
                      <a:pt x="35" y="447"/>
                    </a:lnTo>
                    <a:lnTo>
                      <a:pt x="34" y="427"/>
                    </a:lnTo>
                    <a:lnTo>
                      <a:pt x="35" y="407"/>
                    </a:lnTo>
                    <a:lnTo>
                      <a:pt x="36" y="386"/>
                    </a:lnTo>
                    <a:lnTo>
                      <a:pt x="39" y="367"/>
                    </a:lnTo>
                    <a:lnTo>
                      <a:pt x="42" y="347"/>
                    </a:lnTo>
                    <a:lnTo>
                      <a:pt x="47" y="329"/>
                    </a:lnTo>
                    <a:lnTo>
                      <a:pt x="52" y="310"/>
                    </a:lnTo>
                    <a:lnTo>
                      <a:pt x="58" y="291"/>
                    </a:lnTo>
                    <a:lnTo>
                      <a:pt x="65" y="274"/>
                    </a:lnTo>
                    <a:lnTo>
                      <a:pt x="73" y="256"/>
                    </a:lnTo>
                    <a:lnTo>
                      <a:pt x="81" y="240"/>
                    </a:lnTo>
                    <a:lnTo>
                      <a:pt x="92" y="223"/>
                    </a:lnTo>
                    <a:lnTo>
                      <a:pt x="102" y="207"/>
                    </a:lnTo>
                    <a:lnTo>
                      <a:pt x="113" y="191"/>
                    </a:lnTo>
                    <a:lnTo>
                      <a:pt x="124" y="177"/>
                    </a:lnTo>
                    <a:lnTo>
                      <a:pt x="136" y="162"/>
                    </a:lnTo>
                    <a:lnTo>
                      <a:pt x="149" y="149"/>
                    </a:lnTo>
                    <a:lnTo>
                      <a:pt x="163" y="136"/>
                    </a:lnTo>
                    <a:lnTo>
                      <a:pt x="177" y="124"/>
                    </a:lnTo>
                    <a:lnTo>
                      <a:pt x="192" y="112"/>
                    </a:lnTo>
                    <a:lnTo>
                      <a:pt x="207" y="101"/>
                    </a:lnTo>
                    <a:lnTo>
                      <a:pt x="223" y="91"/>
                    </a:lnTo>
                    <a:lnTo>
                      <a:pt x="240" y="81"/>
                    </a:lnTo>
                    <a:lnTo>
                      <a:pt x="257" y="72"/>
                    </a:lnTo>
                    <a:lnTo>
                      <a:pt x="274" y="65"/>
                    </a:lnTo>
                    <a:lnTo>
                      <a:pt x="291" y="58"/>
                    </a:lnTo>
                    <a:lnTo>
                      <a:pt x="309" y="51"/>
                    </a:lnTo>
                    <a:lnTo>
                      <a:pt x="328" y="46"/>
                    </a:lnTo>
                    <a:lnTo>
                      <a:pt x="347" y="42"/>
                    </a:lnTo>
                    <a:lnTo>
                      <a:pt x="366" y="38"/>
                    </a:lnTo>
                    <a:lnTo>
                      <a:pt x="386" y="36"/>
                    </a:lnTo>
                    <a:lnTo>
                      <a:pt x="406" y="34"/>
                    </a:lnTo>
                    <a:lnTo>
                      <a:pt x="426" y="34"/>
                    </a:lnTo>
                    <a:close/>
                  </a:path>
                </a:pathLst>
              </a:custGeom>
              <a:solidFill>
                <a:srgbClr val="6D73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等线 Light" panose="020F0302020204030204"/>
                  <a:ea typeface="+mn-ea"/>
                  <a:cs typeface="+mn-cs"/>
                </a:endParaRPr>
              </a:p>
            </p:txBody>
          </p:sp>
          <p:sp>
            <p:nvSpPr>
              <p:cNvPr id="41" name="Freeform 164">
                <a:extLst>
                  <a:ext uri="{FF2B5EF4-FFF2-40B4-BE49-F238E27FC236}">
                    <a16:creationId xmlns:a16="http://schemas.microsoft.com/office/drawing/2014/main" id="{E9CABF47-8610-4D30-8196-6D7811168D99}"/>
                  </a:ext>
                </a:extLst>
              </p:cNvPr>
              <p:cNvSpPr>
                <a:spLocks/>
              </p:cNvSpPr>
              <p:nvPr/>
            </p:nvSpPr>
            <p:spPr bwMode="auto">
              <a:xfrm>
                <a:off x="2986701" y="3639720"/>
                <a:ext cx="84288" cy="149846"/>
              </a:xfrm>
              <a:custGeom>
                <a:avLst/>
                <a:gdLst>
                  <a:gd name="T0" fmla="*/ 135 w 164"/>
                  <a:gd name="T1" fmla="*/ 289 h 294"/>
                  <a:gd name="T2" fmla="*/ 137 w 164"/>
                  <a:gd name="T3" fmla="*/ 291 h 294"/>
                  <a:gd name="T4" fmla="*/ 140 w 164"/>
                  <a:gd name="T5" fmla="*/ 293 h 294"/>
                  <a:gd name="T6" fmla="*/ 144 w 164"/>
                  <a:gd name="T7" fmla="*/ 294 h 294"/>
                  <a:gd name="T8" fmla="*/ 147 w 164"/>
                  <a:gd name="T9" fmla="*/ 294 h 294"/>
                  <a:gd name="T10" fmla="*/ 150 w 164"/>
                  <a:gd name="T11" fmla="*/ 294 h 294"/>
                  <a:gd name="T12" fmla="*/ 153 w 164"/>
                  <a:gd name="T13" fmla="*/ 293 h 294"/>
                  <a:gd name="T14" fmla="*/ 156 w 164"/>
                  <a:gd name="T15" fmla="*/ 291 h 294"/>
                  <a:gd name="T16" fmla="*/ 159 w 164"/>
                  <a:gd name="T17" fmla="*/ 289 h 294"/>
                  <a:gd name="T18" fmla="*/ 161 w 164"/>
                  <a:gd name="T19" fmla="*/ 286 h 294"/>
                  <a:gd name="T20" fmla="*/ 163 w 164"/>
                  <a:gd name="T21" fmla="*/ 283 h 294"/>
                  <a:gd name="T22" fmla="*/ 164 w 164"/>
                  <a:gd name="T23" fmla="*/ 280 h 294"/>
                  <a:gd name="T24" fmla="*/ 164 w 164"/>
                  <a:gd name="T25" fmla="*/ 277 h 294"/>
                  <a:gd name="T26" fmla="*/ 164 w 164"/>
                  <a:gd name="T27" fmla="*/ 274 h 294"/>
                  <a:gd name="T28" fmla="*/ 163 w 164"/>
                  <a:gd name="T29" fmla="*/ 271 h 294"/>
                  <a:gd name="T30" fmla="*/ 161 w 164"/>
                  <a:gd name="T31" fmla="*/ 268 h 294"/>
                  <a:gd name="T32" fmla="*/ 159 w 164"/>
                  <a:gd name="T33" fmla="*/ 265 h 294"/>
                  <a:gd name="T34" fmla="*/ 42 w 164"/>
                  <a:gd name="T35" fmla="*/ 148 h 294"/>
                  <a:gd name="T36" fmla="*/ 159 w 164"/>
                  <a:gd name="T37" fmla="*/ 30 h 294"/>
                  <a:gd name="T38" fmla="*/ 161 w 164"/>
                  <a:gd name="T39" fmla="*/ 28 h 294"/>
                  <a:gd name="T40" fmla="*/ 163 w 164"/>
                  <a:gd name="T41" fmla="*/ 25 h 294"/>
                  <a:gd name="T42" fmla="*/ 164 w 164"/>
                  <a:gd name="T43" fmla="*/ 22 h 294"/>
                  <a:gd name="T44" fmla="*/ 164 w 164"/>
                  <a:gd name="T45" fmla="*/ 17 h 294"/>
                  <a:gd name="T46" fmla="*/ 164 w 164"/>
                  <a:gd name="T47" fmla="*/ 14 h 294"/>
                  <a:gd name="T48" fmla="*/ 163 w 164"/>
                  <a:gd name="T49" fmla="*/ 11 h 294"/>
                  <a:gd name="T50" fmla="*/ 161 w 164"/>
                  <a:gd name="T51" fmla="*/ 8 h 294"/>
                  <a:gd name="T52" fmla="*/ 159 w 164"/>
                  <a:gd name="T53" fmla="*/ 5 h 294"/>
                  <a:gd name="T54" fmla="*/ 156 w 164"/>
                  <a:gd name="T55" fmla="*/ 3 h 294"/>
                  <a:gd name="T56" fmla="*/ 153 w 164"/>
                  <a:gd name="T57" fmla="*/ 1 h 294"/>
                  <a:gd name="T58" fmla="*/ 150 w 164"/>
                  <a:gd name="T59" fmla="*/ 1 h 294"/>
                  <a:gd name="T60" fmla="*/ 147 w 164"/>
                  <a:gd name="T61" fmla="*/ 0 h 294"/>
                  <a:gd name="T62" fmla="*/ 144 w 164"/>
                  <a:gd name="T63" fmla="*/ 1 h 294"/>
                  <a:gd name="T64" fmla="*/ 140 w 164"/>
                  <a:gd name="T65" fmla="*/ 1 h 294"/>
                  <a:gd name="T66" fmla="*/ 137 w 164"/>
                  <a:gd name="T67" fmla="*/ 3 h 294"/>
                  <a:gd name="T68" fmla="*/ 135 w 164"/>
                  <a:gd name="T69" fmla="*/ 5 h 294"/>
                  <a:gd name="T70" fmla="*/ 5 w 164"/>
                  <a:gd name="T71" fmla="*/ 136 h 294"/>
                  <a:gd name="T72" fmla="*/ 3 w 164"/>
                  <a:gd name="T73" fmla="*/ 138 h 294"/>
                  <a:gd name="T74" fmla="*/ 2 w 164"/>
                  <a:gd name="T75" fmla="*/ 141 h 294"/>
                  <a:gd name="T76" fmla="*/ 1 w 164"/>
                  <a:gd name="T77" fmla="*/ 144 h 294"/>
                  <a:gd name="T78" fmla="*/ 0 w 164"/>
                  <a:gd name="T79" fmla="*/ 148 h 294"/>
                  <a:gd name="T80" fmla="*/ 1 w 164"/>
                  <a:gd name="T81" fmla="*/ 151 h 294"/>
                  <a:gd name="T82" fmla="*/ 2 w 164"/>
                  <a:gd name="T83" fmla="*/ 154 h 294"/>
                  <a:gd name="T84" fmla="*/ 3 w 164"/>
                  <a:gd name="T85" fmla="*/ 157 h 294"/>
                  <a:gd name="T86" fmla="*/ 5 w 164"/>
                  <a:gd name="T87" fmla="*/ 160 h 294"/>
                  <a:gd name="T88" fmla="*/ 135 w 164"/>
                  <a:gd name="T89" fmla="*/ 28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64" h="294">
                    <a:moveTo>
                      <a:pt x="135" y="289"/>
                    </a:moveTo>
                    <a:lnTo>
                      <a:pt x="137" y="291"/>
                    </a:lnTo>
                    <a:lnTo>
                      <a:pt x="140" y="293"/>
                    </a:lnTo>
                    <a:lnTo>
                      <a:pt x="144" y="294"/>
                    </a:lnTo>
                    <a:lnTo>
                      <a:pt x="147" y="294"/>
                    </a:lnTo>
                    <a:lnTo>
                      <a:pt x="150" y="294"/>
                    </a:lnTo>
                    <a:lnTo>
                      <a:pt x="153" y="293"/>
                    </a:lnTo>
                    <a:lnTo>
                      <a:pt x="156" y="291"/>
                    </a:lnTo>
                    <a:lnTo>
                      <a:pt x="159" y="289"/>
                    </a:lnTo>
                    <a:lnTo>
                      <a:pt x="161" y="286"/>
                    </a:lnTo>
                    <a:lnTo>
                      <a:pt x="163" y="283"/>
                    </a:lnTo>
                    <a:lnTo>
                      <a:pt x="164" y="280"/>
                    </a:lnTo>
                    <a:lnTo>
                      <a:pt x="164" y="277"/>
                    </a:lnTo>
                    <a:lnTo>
                      <a:pt x="164" y="274"/>
                    </a:lnTo>
                    <a:lnTo>
                      <a:pt x="163" y="271"/>
                    </a:lnTo>
                    <a:lnTo>
                      <a:pt x="161" y="268"/>
                    </a:lnTo>
                    <a:lnTo>
                      <a:pt x="159" y="265"/>
                    </a:lnTo>
                    <a:lnTo>
                      <a:pt x="42" y="148"/>
                    </a:lnTo>
                    <a:lnTo>
                      <a:pt x="159" y="30"/>
                    </a:lnTo>
                    <a:lnTo>
                      <a:pt x="161" y="28"/>
                    </a:lnTo>
                    <a:lnTo>
                      <a:pt x="163" y="25"/>
                    </a:lnTo>
                    <a:lnTo>
                      <a:pt x="164" y="22"/>
                    </a:lnTo>
                    <a:lnTo>
                      <a:pt x="164" y="17"/>
                    </a:lnTo>
                    <a:lnTo>
                      <a:pt x="164" y="14"/>
                    </a:lnTo>
                    <a:lnTo>
                      <a:pt x="163" y="11"/>
                    </a:lnTo>
                    <a:lnTo>
                      <a:pt x="161" y="8"/>
                    </a:lnTo>
                    <a:lnTo>
                      <a:pt x="159" y="5"/>
                    </a:lnTo>
                    <a:lnTo>
                      <a:pt x="156" y="3"/>
                    </a:lnTo>
                    <a:lnTo>
                      <a:pt x="153" y="1"/>
                    </a:lnTo>
                    <a:lnTo>
                      <a:pt x="150" y="1"/>
                    </a:lnTo>
                    <a:lnTo>
                      <a:pt x="147" y="0"/>
                    </a:lnTo>
                    <a:lnTo>
                      <a:pt x="144" y="1"/>
                    </a:lnTo>
                    <a:lnTo>
                      <a:pt x="140" y="1"/>
                    </a:lnTo>
                    <a:lnTo>
                      <a:pt x="137" y="3"/>
                    </a:lnTo>
                    <a:lnTo>
                      <a:pt x="135" y="5"/>
                    </a:lnTo>
                    <a:lnTo>
                      <a:pt x="5" y="136"/>
                    </a:lnTo>
                    <a:lnTo>
                      <a:pt x="3" y="138"/>
                    </a:lnTo>
                    <a:lnTo>
                      <a:pt x="2" y="141"/>
                    </a:lnTo>
                    <a:lnTo>
                      <a:pt x="1" y="144"/>
                    </a:lnTo>
                    <a:lnTo>
                      <a:pt x="0" y="148"/>
                    </a:lnTo>
                    <a:lnTo>
                      <a:pt x="1" y="151"/>
                    </a:lnTo>
                    <a:lnTo>
                      <a:pt x="2" y="154"/>
                    </a:lnTo>
                    <a:lnTo>
                      <a:pt x="3" y="157"/>
                    </a:lnTo>
                    <a:lnTo>
                      <a:pt x="5" y="160"/>
                    </a:lnTo>
                    <a:lnTo>
                      <a:pt x="135" y="289"/>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等线 Light" panose="020F0302020204030204"/>
                  <a:ea typeface="+mn-ea"/>
                  <a:cs typeface="+mn-cs"/>
                </a:endParaRPr>
              </a:p>
            </p:txBody>
          </p:sp>
        </p:grpSp>
        <p:sp>
          <p:nvSpPr>
            <p:cNvPr id="38" name="Rectangle 43">
              <a:extLst>
                <a:ext uri="{FF2B5EF4-FFF2-40B4-BE49-F238E27FC236}">
                  <a16:creationId xmlns:a16="http://schemas.microsoft.com/office/drawing/2014/main" id="{8B97E8D8-7698-4DE4-B185-BEDC23DBCD14}"/>
                </a:ext>
              </a:extLst>
            </p:cNvPr>
            <p:cNvSpPr/>
            <p:nvPr/>
          </p:nvSpPr>
          <p:spPr>
            <a:xfrm>
              <a:off x="2126453" y="2582095"/>
              <a:ext cx="2390221" cy="384914"/>
            </a:xfrm>
            <a:prstGeom prst="rect">
              <a:avLst/>
            </a:prstGeom>
          </p:spPr>
          <p:txBody>
            <a:bodyPr wrap="square">
              <a:spAutoFit/>
            </a:bodyPr>
            <a:lstStyle/>
            <a:p>
              <a:pPr marL="0" marR="0" lvl="0" indent="0" algn="l" defTabSz="914400" rtl="0" eaLnBrk="1" fontAlgn="auto" latinLnBrk="0" hangingPunct="1">
                <a:lnSpc>
                  <a:spcPct val="13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6D7381"/>
                  </a:solidFill>
                  <a:effectLst/>
                  <a:uLnTx/>
                  <a:uFillTx/>
                  <a:latin typeface="等线 Light" panose="020F0302020204030204"/>
                  <a:ea typeface="+mn-ea"/>
                  <a:cs typeface="+mn-cs"/>
                </a:rPr>
                <a:t>Third Content Subtitle</a:t>
              </a:r>
              <a:endParaRPr kumimoji="0" lang="id-ID" sz="1600" b="0" i="0" u="none" strike="noStrike" kern="1200" cap="none" spc="0" normalizeH="0" baseline="0" noProof="0" dirty="0">
                <a:ln>
                  <a:noFill/>
                </a:ln>
                <a:solidFill>
                  <a:srgbClr val="6D7381"/>
                </a:solidFill>
                <a:effectLst/>
                <a:uLnTx/>
                <a:uFillTx/>
                <a:latin typeface="等线 Light" panose="020F0302020204030204"/>
                <a:ea typeface="+mn-ea"/>
                <a:cs typeface="+mn-cs"/>
              </a:endParaRPr>
            </a:p>
          </p:txBody>
        </p:sp>
        <p:sp>
          <p:nvSpPr>
            <p:cNvPr id="39" name="Rounded Rectangle 248">
              <a:extLst>
                <a:ext uri="{FF2B5EF4-FFF2-40B4-BE49-F238E27FC236}">
                  <a16:creationId xmlns:a16="http://schemas.microsoft.com/office/drawing/2014/main" id="{F18F0AB5-F2F7-4419-8801-91DEF0D16B2C}"/>
                </a:ext>
              </a:extLst>
            </p:cNvPr>
            <p:cNvSpPr/>
            <p:nvPr/>
          </p:nvSpPr>
          <p:spPr>
            <a:xfrm>
              <a:off x="5064744" y="2547664"/>
              <a:ext cx="1074652" cy="453777"/>
            </a:xfrm>
            <a:prstGeom prst="roundRect">
              <a:avLst>
                <a:gd name="adj" fmla="val 2689"/>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D" sz="1400" b="0" i="0" u="none" strike="noStrike" kern="1200" cap="none" spc="0" normalizeH="0" baseline="0" noProof="0" dirty="0">
                  <a:ln>
                    <a:noFill/>
                  </a:ln>
                  <a:solidFill>
                    <a:srgbClr val="FFFFFF"/>
                  </a:solidFill>
                  <a:effectLst/>
                  <a:uLnTx/>
                  <a:uFillTx/>
                  <a:latin typeface="等线 Light" panose="020F0302020204030204"/>
                  <a:ea typeface="+mn-ea"/>
                  <a:cs typeface="+mn-cs"/>
                </a:rPr>
                <a:t>20,44%</a:t>
              </a:r>
            </a:p>
          </p:txBody>
        </p:sp>
      </p:grpSp>
      <p:grpSp>
        <p:nvGrpSpPr>
          <p:cNvPr id="42" name="Group 47">
            <a:extLst>
              <a:ext uri="{FF2B5EF4-FFF2-40B4-BE49-F238E27FC236}">
                <a16:creationId xmlns:a16="http://schemas.microsoft.com/office/drawing/2014/main" id="{3DEC8AF4-45FB-4553-8100-E5A5A9030650}"/>
              </a:ext>
            </a:extLst>
          </p:cNvPr>
          <p:cNvGrpSpPr/>
          <p:nvPr/>
        </p:nvGrpSpPr>
        <p:grpSpPr>
          <a:xfrm>
            <a:off x="5750959" y="5316295"/>
            <a:ext cx="5000980" cy="453777"/>
            <a:chOff x="1138416" y="2547664"/>
            <a:chExt cx="5000980" cy="453777"/>
          </a:xfrm>
        </p:grpSpPr>
        <p:sp>
          <p:nvSpPr>
            <p:cNvPr id="43" name="Rounded Rectangle 248">
              <a:extLst>
                <a:ext uri="{FF2B5EF4-FFF2-40B4-BE49-F238E27FC236}">
                  <a16:creationId xmlns:a16="http://schemas.microsoft.com/office/drawing/2014/main" id="{7F4F4CD9-CC1D-473C-845F-3A5BF88547E6}"/>
                </a:ext>
              </a:extLst>
            </p:cNvPr>
            <p:cNvSpPr/>
            <p:nvPr/>
          </p:nvSpPr>
          <p:spPr>
            <a:xfrm>
              <a:off x="1138416" y="2547664"/>
              <a:ext cx="5000980" cy="453777"/>
            </a:xfrm>
            <a:prstGeom prst="roundRect">
              <a:avLst>
                <a:gd name="adj" fmla="val 2689"/>
              </a:avLst>
            </a:prstGeom>
            <a:solidFill>
              <a:schemeClr val="bg1"/>
            </a:solidFill>
            <a:ln>
              <a:noFill/>
            </a:ln>
            <a:effectLst>
              <a:outerShdw blurRad="203200" dist="38100" dir="5400000" algn="t" rotWithShape="0">
                <a:prstClr val="black">
                  <a:alpha val="18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400" b="0" i="0" u="none" strike="noStrike" kern="1200" cap="none" spc="0" normalizeH="0" baseline="0" noProof="0" dirty="0">
                <a:ln>
                  <a:noFill/>
                </a:ln>
                <a:solidFill>
                  <a:srgbClr val="FFFFFF"/>
                </a:solidFill>
                <a:effectLst/>
                <a:uLnTx/>
                <a:uFillTx/>
                <a:latin typeface="等线 Light" panose="020F0302020204030204"/>
                <a:ea typeface="+mn-ea"/>
                <a:cs typeface="+mn-cs"/>
              </a:endParaRPr>
            </a:p>
          </p:txBody>
        </p:sp>
        <p:sp>
          <p:nvSpPr>
            <p:cNvPr id="44" name="Rectangle 49">
              <a:extLst>
                <a:ext uri="{FF2B5EF4-FFF2-40B4-BE49-F238E27FC236}">
                  <a16:creationId xmlns:a16="http://schemas.microsoft.com/office/drawing/2014/main" id="{DC9E4E4D-979A-4914-9683-C9869E8EF8E3}"/>
                </a:ext>
              </a:extLst>
            </p:cNvPr>
            <p:cNvSpPr/>
            <p:nvPr/>
          </p:nvSpPr>
          <p:spPr>
            <a:xfrm>
              <a:off x="1316002" y="2618676"/>
              <a:ext cx="361691" cy="311752"/>
            </a:xfrm>
            <a:prstGeom prst="rect">
              <a:avLst/>
            </a:prstGeom>
          </p:spPr>
          <p:txBody>
            <a:bodyPr wrap="square">
              <a:spAutoFit/>
            </a:bodyPr>
            <a:lstStyle/>
            <a:p>
              <a:pPr marL="0" marR="0" lvl="0" indent="0" algn="r" defTabSz="914400" rtl="0" eaLnBrk="1" fontAlgn="auto" latinLnBrk="0" hangingPunct="1">
                <a:lnSpc>
                  <a:spcPct val="13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6D7381"/>
                  </a:solidFill>
                  <a:effectLst/>
                  <a:uLnTx/>
                  <a:uFillTx/>
                  <a:latin typeface="等线 Light" panose="020F0302020204030204"/>
                  <a:ea typeface="+mn-ea"/>
                  <a:cs typeface="+mn-cs"/>
                </a:rPr>
                <a:t>04</a:t>
              </a:r>
              <a:endParaRPr kumimoji="0" lang="id-ID" sz="1200" b="0" i="0" u="none" strike="noStrike" kern="1200" cap="none" spc="0" normalizeH="0" baseline="0" noProof="0" dirty="0">
                <a:ln>
                  <a:noFill/>
                </a:ln>
                <a:solidFill>
                  <a:srgbClr val="6D7381"/>
                </a:solidFill>
                <a:effectLst/>
                <a:uLnTx/>
                <a:uFillTx/>
                <a:latin typeface="等线 Light" panose="020F0302020204030204"/>
                <a:ea typeface="+mn-ea"/>
                <a:cs typeface="+mn-cs"/>
              </a:endParaRPr>
            </a:p>
          </p:txBody>
        </p:sp>
        <p:grpSp>
          <p:nvGrpSpPr>
            <p:cNvPr id="45" name="Group 50">
              <a:extLst>
                <a:ext uri="{FF2B5EF4-FFF2-40B4-BE49-F238E27FC236}">
                  <a16:creationId xmlns:a16="http://schemas.microsoft.com/office/drawing/2014/main" id="{A937AB37-4F54-43E9-B941-2F6F27A9D078}"/>
                </a:ext>
              </a:extLst>
            </p:cNvPr>
            <p:cNvGrpSpPr/>
            <p:nvPr/>
          </p:nvGrpSpPr>
          <p:grpSpPr>
            <a:xfrm rot="16200000">
              <a:off x="1778739" y="2652516"/>
              <a:ext cx="246669" cy="244072"/>
              <a:chOff x="2813442" y="3494557"/>
              <a:chExt cx="444855" cy="440172"/>
            </a:xfrm>
          </p:grpSpPr>
          <p:sp>
            <p:nvSpPr>
              <p:cNvPr id="48" name="Freeform 163">
                <a:extLst>
                  <a:ext uri="{FF2B5EF4-FFF2-40B4-BE49-F238E27FC236}">
                    <a16:creationId xmlns:a16="http://schemas.microsoft.com/office/drawing/2014/main" id="{3BD33550-6084-415B-98BE-AE2933756936}"/>
                  </a:ext>
                </a:extLst>
              </p:cNvPr>
              <p:cNvSpPr>
                <a:spLocks noEditPoints="1"/>
              </p:cNvSpPr>
              <p:nvPr/>
            </p:nvSpPr>
            <p:spPr bwMode="auto">
              <a:xfrm>
                <a:off x="2813442" y="3494557"/>
                <a:ext cx="444855" cy="440172"/>
              </a:xfrm>
              <a:custGeom>
                <a:avLst/>
                <a:gdLst>
                  <a:gd name="T0" fmla="*/ 511 w 852"/>
                  <a:gd name="T1" fmla="*/ 845 h 854"/>
                  <a:gd name="T2" fmla="*/ 610 w 852"/>
                  <a:gd name="T3" fmla="*/ 811 h 854"/>
                  <a:gd name="T4" fmla="*/ 697 w 852"/>
                  <a:gd name="T5" fmla="*/ 756 h 854"/>
                  <a:gd name="T6" fmla="*/ 767 w 852"/>
                  <a:gd name="T7" fmla="*/ 682 h 854"/>
                  <a:gd name="T8" fmla="*/ 819 w 852"/>
                  <a:gd name="T9" fmla="*/ 592 h 854"/>
                  <a:gd name="T10" fmla="*/ 847 w 852"/>
                  <a:gd name="T11" fmla="*/ 491 h 854"/>
                  <a:gd name="T12" fmla="*/ 850 w 852"/>
                  <a:gd name="T13" fmla="*/ 383 h 854"/>
                  <a:gd name="T14" fmla="*/ 826 w 852"/>
                  <a:gd name="T15" fmla="*/ 279 h 854"/>
                  <a:gd name="T16" fmla="*/ 779 w 852"/>
                  <a:gd name="T17" fmla="*/ 187 h 854"/>
                  <a:gd name="T18" fmla="*/ 712 w 852"/>
                  <a:gd name="T19" fmla="*/ 111 h 854"/>
                  <a:gd name="T20" fmla="*/ 628 w 852"/>
                  <a:gd name="T21" fmla="*/ 51 h 854"/>
                  <a:gd name="T22" fmla="*/ 533 w 852"/>
                  <a:gd name="T23" fmla="*/ 13 h 854"/>
                  <a:gd name="T24" fmla="*/ 426 w 852"/>
                  <a:gd name="T25" fmla="*/ 0 h 854"/>
                  <a:gd name="T26" fmla="*/ 319 w 852"/>
                  <a:gd name="T27" fmla="*/ 13 h 854"/>
                  <a:gd name="T28" fmla="*/ 223 w 852"/>
                  <a:gd name="T29" fmla="*/ 51 h 854"/>
                  <a:gd name="T30" fmla="*/ 140 w 852"/>
                  <a:gd name="T31" fmla="*/ 111 h 854"/>
                  <a:gd name="T32" fmla="*/ 72 w 852"/>
                  <a:gd name="T33" fmla="*/ 187 h 854"/>
                  <a:gd name="T34" fmla="*/ 26 w 852"/>
                  <a:gd name="T35" fmla="*/ 279 h 854"/>
                  <a:gd name="T36" fmla="*/ 2 w 852"/>
                  <a:gd name="T37" fmla="*/ 383 h 854"/>
                  <a:gd name="T38" fmla="*/ 5 w 852"/>
                  <a:gd name="T39" fmla="*/ 491 h 854"/>
                  <a:gd name="T40" fmla="*/ 33 w 852"/>
                  <a:gd name="T41" fmla="*/ 592 h 854"/>
                  <a:gd name="T42" fmla="*/ 85 w 852"/>
                  <a:gd name="T43" fmla="*/ 682 h 854"/>
                  <a:gd name="T44" fmla="*/ 155 w 852"/>
                  <a:gd name="T45" fmla="*/ 756 h 854"/>
                  <a:gd name="T46" fmla="*/ 242 w 852"/>
                  <a:gd name="T47" fmla="*/ 811 h 854"/>
                  <a:gd name="T48" fmla="*/ 340 w 852"/>
                  <a:gd name="T49" fmla="*/ 845 h 854"/>
                  <a:gd name="T50" fmla="*/ 426 w 852"/>
                  <a:gd name="T51" fmla="*/ 34 h 854"/>
                  <a:gd name="T52" fmla="*/ 524 w 852"/>
                  <a:gd name="T53" fmla="*/ 46 h 854"/>
                  <a:gd name="T54" fmla="*/ 612 w 852"/>
                  <a:gd name="T55" fmla="*/ 81 h 854"/>
                  <a:gd name="T56" fmla="*/ 689 w 852"/>
                  <a:gd name="T57" fmla="*/ 136 h 854"/>
                  <a:gd name="T58" fmla="*/ 750 w 852"/>
                  <a:gd name="T59" fmla="*/ 207 h 854"/>
                  <a:gd name="T60" fmla="*/ 793 w 852"/>
                  <a:gd name="T61" fmla="*/ 291 h 854"/>
                  <a:gd name="T62" fmla="*/ 816 w 852"/>
                  <a:gd name="T63" fmla="*/ 386 h 854"/>
                  <a:gd name="T64" fmla="*/ 812 w 852"/>
                  <a:gd name="T65" fmla="*/ 486 h 854"/>
                  <a:gd name="T66" fmla="*/ 786 w 852"/>
                  <a:gd name="T67" fmla="*/ 579 h 854"/>
                  <a:gd name="T68" fmla="*/ 739 w 852"/>
                  <a:gd name="T69" fmla="*/ 661 h 854"/>
                  <a:gd name="T70" fmla="*/ 675 w 852"/>
                  <a:gd name="T71" fmla="*/ 730 h 854"/>
                  <a:gd name="T72" fmla="*/ 595 w 852"/>
                  <a:gd name="T73" fmla="*/ 780 h 854"/>
                  <a:gd name="T74" fmla="*/ 504 w 852"/>
                  <a:gd name="T75" fmla="*/ 811 h 854"/>
                  <a:gd name="T76" fmla="*/ 406 w 852"/>
                  <a:gd name="T77" fmla="*/ 818 h 854"/>
                  <a:gd name="T78" fmla="*/ 309 w 852"/>
                  <a:gd name="T79" fmla="*/ 801 h 854"/>
                  <a:gd name="T80" fmla="*/ 223 w 852"/>
                  <a:gd name="T81" fmla="*/ 762 h 854"/>
                  <a:gd name="T82" fmla="*/ 149 w 852"/>
                  <a:gd name="T83" fmla="*/ 703 h 854"/>
                  <a:gd name="T84" fmla="*/ 92 w 852"/>
                  <a:gd name="T85" fmla="*/ 630 h 854"/>
                  <a:gd name="T86" fmla="*/ 52 w 852"/>
                  <a:gd name="T87" fmla="*/ 543 h 854"/>
                  <a:gd name="T88" fmla="*/ 35 w 852"/>
                  <a:gd name="T89" fmla="*/ 447 h 854"/>
                  <a:gd name="T90" fmla="*/ 42 w 852"/>
                  <a:gd name="T91" fmla="*/ 347 h 854"/>
                  <a:gd name="T92" fmla="*/ 73 w 852"/>
                  <a:gd name="T93" fmla="*/ 256 h 854"/>
                  <a:gd name="T94" fmla="*/ 124 w 852"/>
                  <a:gd name="T95" fmla="*/ 177 h 854"/>
                  <a:gd name="T96" fmla="*/ 192 w 852"/>
                  <a:gd name="T97" fmla="*/ 112 h 854"/>
                  <a:gd name="T98" fmla="*/ 274 w 852"/>
                  <a:gd name="T99" fmla="*/ 65 h 854"/>
                  <a:gd name="T100" fmla="*/ 366 w 852"/>
                  <a:gd name="T101" fmla="*/ 38 h 8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52" h="854">
                    <a:moveTo>
                      <a:pt x="426" y="854"/>
                    </a:moveTo>
                    <a:lnTo>
                      <a:pt x="448" y="853"/>
                    </a:lnTo>
                    <a:lnTo>
                      <a:pt x="469" y="851"/>
                    </a:lnTo>
                    <a:lnTo>
                      <a:pt x="490" y="849"/>
                    </a:lnTo>
                    <a:lnTo>
                      <a:pt x="511" y="845"/>
                    </a:lnTo>
                    <a:lnTo>
                      <a:pt x="533" y="840"/>
                    </a:lnTo>
                    <a:lnTo>
                      <a:pt x="553" y="835"/>
                    </a:lnTo>
                    <a:lnTo>
                      <a:pt x="572" y="828"/>
                    </a:lnTo>
                    <a:lnTo>
                      <a:pt x="591" y="819"/>
                    </a:lnTo>
                    <a:lnTo>
                      <a:pt x="610" y="811"/>
                    </a:lnTo>
                    <a:lnTo>
                      <a:pt x="628" y="802"/>
                    </a:lnTo>
                    <a:lnTo>
                      <a:pt x="646" y="791"/>
                    </a:lnTo>
                    <a:lnTo>
                      <a:pt x="663" y="780"/>
                    </a:lnTo>
                    <a:lnTo>
                      <a:pt x="681" y="768"/>
                    </a:lnTo>
                    <a:lnTo>
                      <a:pt x="697" y="756"/>
                    </a:lnTo>
                    <a:lnTo>
                      <a:pt x="712" y="743"/>
                    </a:lnTo>
                    <a:lnTo>
                      <a:pt x="727" y="729"/>
                    </a:lnTo>
                    <a:lnTo>
                      <a:pt x="741" y="713"/>
                    </a:lnTo>
                    <a:lnTo>
                      <a:pt x="754" y="698"/>
                    </a:lnTo>
                    <a:lnTo>
                      <a:pt x="767" y="682"/>
                    </a:lnTo>
                    <a:lnTo>
                      <a:pt x="779" y="665"/>
                    </a:lnTo>
                    <a:lnTo>
                      <a:pt x="790" y="648"/>
                    </a:lnTo>
                    <a:lnTo>
                      <a:pt x="800" y="630"/>
                    </a:lnTo>
                    <a:lnTo>
                      <a:pt x="809" y="611"/>
                    </a:lnTo>
                    <a:lnTo>
                      <a:pt x="819" y="592"/>
                    </a:lnTo>
                    <a:lnTo>
                      <a:pt x="826" y="573"/>
                    </a:lnTo>
                    <a:lnTo>
                      <a:pt x="833" y="553"/>
                    </a:lnTo>
                    <a:lnTo>
                      <a:pt x="839" y="533"/>
                    </a:lnTo>
                    <a:lnTo>
                      <a:pt x="843" y="513"/>
                    </a:lnTo>
                    <a:lnTo>
                      <a:pt x="847" y="491"/>
                    </a:lnTo>
                    <a:lnTo>
                      <a:pt x="850" y="470"/>
                    </a:lnTo>
                    <a:lnTo>
                      <a:pt x="851" y="448"/>
                    </a:lnTo>
                    <a:lnTo>
                      <a:pt x="852" y="427"/>
                    </a:lnTo>
                    <a:lnTo>
                      <a:pt x="851" y="405"/>
                    </a:lnTo>
                    <a:lnTo>
                      <a:pt x="850" y="383"/>
                    </a:lnTo>
                    <a:lnTo>
                      <a:pt x="847" y="361"/>
                    </a:lnTo>
                    <a:lnTo>
                      <a:pt x="843" y="341"/>
                    </a:lnTo>
                    <a:lnTo>
                      <a:pt x="839" y="320"/>
                    </a:lnTo>
                    <a:lnTo>
                      <a:pt x="833" y="300"/>
                    </a:lnTo>
                    <a:lnTo>
                      <a:pt x="826" y="279"/>
                    </a:lnTo>
                    <a:lnTo>
                      <a:pt x="819" y="260"/>
                    </a:lnTo>
                    <a:lnTo>
                      <a:pt x="809" y="241"/>
                    </a:lnTo>
                    <a:lnTo>
                      <a:pt x="800" y="223"/>
                    </a:lnTo>
                    <a:lnTo>
                      <a:pt x="790" y="206"/>
                    </a:lnTo>
                    <a:lnTo>
                      <a:pt x="779" y="187"/>
                    </a:lnTo>
                    <a:lnTo>
                      <a:pt x="767" y="171"/>
                    </a:lnTo>
                    <a:lnTo>
                      <a:pt x="754" y="155"/>
                    </a:lnTo>
                    <a:lnTo>
                      <a:pt x="741" y="139"/>
                    </a:lnTo>
                    <a:lnTo>
                      <a:pt x="727" y="125"/>
                    </a:lnTo>
                    <a:lnTo>
                      <a:pt x="712" y="111"/>
                    </a:lnTo>
                    <a:lnTo>
                      <a:pt x="697" y="97"/>
                    </a:lnTo>
                    <a:lnTo>
                      <a:pt x="681" y="84"/>
                    </a:lnTo>
                    <a:lnTo>
                      <a:pt x="663" y="72"/>
                    </a:lnTo>
                    <a:lnTo>
                      <a:pt x="646" y="61"/>
                    </a:lnTo>
                    <a:lnTo>
                      <a:pt x="628" y="51"/>
                    </a:lnTo>
                    <a:lnTo>
                      <a:pt x="610" y="42"/>
                    </a:lnTo>
                    <a:lnTo>
                      <a:pt x="591" y="33"/>
                    </a:lnTo>
                    <a:lnTo>
                      <a:pt x="572" y="25"/>
                    </a:lnTo>
                    <a:lnTo>
                      <a:pt x="553" y="19"/>
                    </a:lnTo>
                    <a:lnTo>
                      <a:pt x="533" y="13"/>
                    </a:lnTo>
                    <a:lnTo>
                      <a:pt x="511" y="8"/>
                    </a:lnTo>
                    <a:lnTo>
                      <a:pt x="490" y="5"/>
                    </a:lnTo>
                    <a:lnTo>
                      <a:pt x="469" y="2"/>
                    </a:lnTo>
                    <a:lnTo>
                      <a:pt x="448" y="0"/>
                    </a:lnTo>
                    <a:lnTo>
                      <a:pt x="426" y="0"/>
                    </a:lnTo>
                    <a:lnTo>
                      <a:pt x="404" y="0"/>
                    </a:lnTo>
                    <a:lnTo>
                      <a:pt x="383" y="2"/>
                    </a:lnTo>
                    <a:lnTo>
                      <a:pt x="361" y="5"/>
                    </a:lnTo>
                    <a:lnTo>
                      <a:pt x="340" y="8"/>
                    </a:lnTo>
                    <a:lnTo>
                      <a:pt x="319" y="13"/>
                    </a:lnTo>
                    <a:lnTo>
                      <a:pt x="299" y="19"/>
                    </a:lnTo>
                    <a:lnTo>
                      <a:pt x="280" y="25"/>
                    </a:lnTo>
                    <a:lnTo>
                      <a:pt x="260" y="33"/>
                    </a:lnTo>
                    <a:lnTo>
                      <a:pt x="242" y="42"/>
                    </a:lnTo>
                    <a:lnTo>
                      <a:pt x="223" y="51"/>
                    </a:lnTo>
                    <a:lnTo>
                      <a:pt x="205" y="61"/>
                    </a:lnTo>
                    <a:lnTo>
                      <a:pt x="188" y="72"/>
                    </a:lnTo>
                    <a:lnTo>
                      <a:pt x="171" y="84"/>
                    </a:lnTo>
                    <a:lnTo>
                      <a:pt x="155" y="97"/>
                    </a:lnTo>
                    <a:lnTo>
                      <a:pt x="140" y="111"/>
                    </a:lnTo>
                    <a:lnTo>
                      <a:pt x="125" y="125"/>
                    </a:lnTo>
                    <a:lnTo>
                      <a:pt x="111" y="139"/>
                    </a:lnTo>
                    <a:lnTo>
                      <a:pt x="98" y="155"/>
                    </a:lnTo>
                    <a:lnTo>
                      <a:pt x="85" y="171"/>
                    </a:lnTo>
                    <a:lnTo>
                      <a:pt x="72" y="187"/>
                    </a:lnTo>
                    <a:lnTo>
                      <a:pt x="61" y="206"/>
                    </a:lnTo>
                    <a:lnTo>
                      <a:pt x="51" y="223"/>
                    </a:lnTo>
                    <a:lnTo>
                      <a:pt x="42" y="241"/>
                    </a:lnTo>
                    <a:lnTo>
                      <a:pt x="33" y="260"/>
                    </a:lnTo>
                    <a:lnTo>
                      <a:pt x="26" y="279"/>
                    </a:lnTo>
                    <a:lnTo>
                      <a:pt x="19" y="300"/>
                    </a:lnTo>
                    <a:lnTo>
                      <a:pt x="13" y="320"/>
                    </a:lnTo>
                    <a:lnTo>
                      <a:pt x="9" y="341"/>
                    </a:lnTo>
                    <a:lnTo>
                      <a:pt x="5" y="361"/>
                    </a:lnTo>
                    <a:lnTo>
                      <a:pt x="2" y="383"/>
                    </a:lnTo>
                    <a:lnTo>
                      <a:pt x="1" y="405"/>
                    </a:lnTo>
                    <a:lnTo>
                      <a:pt x="0" y="427"/>
                    </a:lnTo>
                    <a:lnTo>
                      <a:pt x="1" y="448"/>
                    </a:lnTo>
                    <a:lnTo>
                      <a:pt x="2" y="470"/>
                    </a:lnTo>
                    <a:lnTo>
                      <a:pt x="5" y="491"/>
                    </a:lnTo>
                    <a:lnTo>
                      <a:pt x="9" y="513"/>
                    </a:lnTo>
                    <a:lnTo>
                      <a:pt x="13" y="533"/>
                    </a:lnTo>
                    <a:lnTo>
                      <a:pt x="19" y="553"/>
                    </a:lnTo>
                    <a:lnTo>
                      <a:pt x="26" y="573"/>
                    </a:lnTo>
                    <a:lnTo>
                      <a:pt x="33" y="592"/>
                    </a:lnTo>
                    <a:lnTo>
                      <a:pt x="42" y="611"/>
                    </a:lnTo>
                    <a:lnTo>
                      <a:pt x="51" y="630"/>
                    </a:lnTo>
                    <a:lnTo>
                      <a:pt x="61" y="648"/>
                    </a:lnTo>
                    <a:lnTo>
                      <a:pt x="72" y="665"/>
                    </a:lnTo>
                    <a:lnTo>
                      <a:pt x="85" y="682"/>
                    </a:lnTo>
                    <a:lnTo>
                      <a:pt x="98" y="698"/>
                    </a:lnTo>
                    <a:lnTo>
                      <a:pt x="111" y="713"/>
                    </a:lnTo>
                    <a:lnTo>
                      <a:pt x="125" y="729"/>
                    </a:lnTo>
                    <a:lnTo>
                      <a:pt x="140" y="743"/>
                    </a:lnTo>
                    <a:lnTo>
                      <a:pt x="155" y="756"/>
                    </a:lnTo>
                    <a:lnTo>
                      <a:pt x="171" y="768"/>
                    </a:lnTo>
                    <a:lnTo>
                      <a:pt x="188" y="780"/>
                    </a:lnTo>
                    <a:lnTo>
                      <a:pt x="205" y="791"/>
                    </a:lnTo>
                    <a:lnTo>
                      <a:pt x="223" y="802"/>
                    </a:lnTo>
                    <a:lnTo>
                      <a:pt x="242" y="811"/>
                    </a:lnTo>
                    <a:lnTo>
                      <a:pt x="260" y="819"/>
                    </a:lnTo>
                    <a:lnTo>
                      <a:pt x="280" y="828"/>
                    </a:lnTo>
                    <a:lnTo>
                      <a:pt x="299" y="835"/>
                    </a:lnTo>
                    <a:lnTo>
                      <a:pt x="319" y="840"/>
                    </a:lnTo>
                    <a:lnTo>
                      <a:pt x="340" y="845"/>
                    </a:lnTo>
                    <a:lnTo>
                      <a:pt x="361" y="849"/>
                    </a:lnTo>
                    <a:lnTo>
                      <a:pt x="383" y="851"/>
                    </a:lnTo>
                    <a:lnTo>
                      <a:pt x="404" y="853"/>
                    </a:lnTo>
                    <a:lnTo>
                      <a:pt x="426" y="854"/>
                    </a:lnTo>
                    <a:close/>
                    <a:moveTo>
                      <a:pt x="426" y="34"/>
                    </a:moveTo>
                    <a:lnTo>
                      <a:pt x="446" y="34"/>
                    </a:lnTo>
                    <a:lnTo>
                      <a:pt x="466" y="36"/>
                    </a:lnTo>
                    <a:lnTo>
                      <a:pt x="485" y="38"/>
                    </a:lnTo>
                    <a:lnTo>
                      <a:pt x="504" y="42"/>
                    </a:lnTo>
                    <a:lnTo>
                      <a:pt x="524" y="46"/>
                    </a:lnTo>
                    <a:lnTo>
                      <a:pt x="542" y="51"/>
                    </a:lnTo>
                    <a:lnTo>
                      <a:pt x="560" y="58"/>
                    </a:lnTo>
                    <a:lnTo>
                      <a:pt x="578" y="65"/>
                    </a:lnTo>
                    <a:lnTo>
                      <a:pt x="595" y="72"/>
                    </a:lnTo>
                    <a:lnTo>
                      <a:pt x="612" y="81"/>
                    </a:lnTo>
                    <a:lnTo>
                      <a:pt x="628" y="91"/>
                    </a:lnTo>
                    <a:lnTo>
                      <a:pt x="644" y="101"/>
                    </a:lnTo>
                    <a:lnTo>
                      <a:pt x="659" y="112"/>
                    </a:lnTo>
                    <a:lnTo>
                      <a:pt x="675" y="124"/>
                    </a:lnTo>
                    <a:lnTo>
                      <a:pt x="689" y="136"/>
                    </a:lnTo>
                    <a:lnTo>
                      <a:pt x="703" y="149"/>
                    </a:lnTo>
                    <a:lnTo>
                      <a:pt x="716" y="162"/>
                    </a:lnTo>
                    <a:lnTo>
                      <a:pt x="728" y="177"/>
                    </a:lnTo>
                    <a:lnTo>
                      <a:pt x="739" y="191"/>
                    </a:lnTo>
                    <a:lnTo>
                      <a:pt x="750" y="207"/>
                    </a:lnTo>
                    <a:lnTo>
                      <a:pt x="760" y="223"/>
                    </a:lnTo>
                    <a:lnTo>
                      <a:pt x="770" y="240"/>
                    </a:lnTo>
                    <a:lnTo>
                      <a:pt x="778" y="256"/>
                    </a:lnTo>
                    <a:lnTo>
                      <a:pt x="786" y="274"/>
                    </a:lnTo>
                    <a:lnTo>
                      <a:pt x="793" y="291"/>
                    </a:lnTo>
                    <a:lnTo>
                      <a:pt x="799" y="310"/>
                    </a:lnTo>
                    <a:lnTo>
                      <a:pt x="804" y="329"/>
                    </a:lnTo>
                    <a:lnTo>
                      <a:pt x="809" y="347"/>
                    </a:lnTo>
                    <a:lnTo>
                      <a:pt x="812" y="367"/>
                    </a:lnTo>
                    <a:lnTo>
                      <a:pt x="816" y="386"/>
                    </a:lnTo>
                    <a:lnTo>
                      <a:pt x="817" y="407"/>
                    </a:lnTo>
                    <a:lnTo>
                      <a:pt x="818" y="427"/>
                    </a:lnTo>
                    <a:lnTo>
                      <a:pt x="817" y="447"/>
                    </a:lnTo>
                    <a:lnTo>
                      <a:pt x="816" y="466"/>
                    </a:lnTo>
                    <a:lnTo>
                      <a:pt x="812" y="486"/>
                    </a:lnTo>
                    <a:lnTo>
                      <a:pt x="809" y="505"/>
                    </a:lnTo>
                    <a:lnTo>
                      <a:pt x="804" y="525"/>
                    </a:lnTo>
                    <a:lnTo>
                      <a:pt x="799" y="543"/>
                    </a:lnTo>
                    <a:lnTo>
                      <a:pt x="793" y="561"/>
                    </a:lnTo>
                    <a:lnTo>
                      <a:pt x="786" y="579"/>
                    </a:lnTo>
                    <a:lnTo>
                      <a:pt x="778" y="596"/>
                    </a:lnTo>
                    <a:lnTo>
                      <a:pt x="770" y="614"/>
                    </a:lnTo>
                    <a:lnTo>
                      <a:pt x="760" y="630"/>
                    </a:lnTo>
                    <a:lnTo>
                      <a:pt x="750" y="646"/>
                    </a:lnTo>
                    <a:lnTo>
                      <a:pt x="739" y="661"/>
                    </a:lnTo>
                    <a:lnTo>
                      <a:pt x="728" y="676"/>
                    </a:lnTo>
                    <a:lnTo>
                      <a:pt x="716" y="690"/>
                    </a:lnTo>
                    <a:lnTo>
                      <a:pt x="703" y="703"/>
                    </a:lnTo>
                    <a:lnTo>
                      <a:pt x="689" y="716"/>
                    </a:lnTo>
                    <a:lnTo>
                      <a:pt x="675" y="730"/>
                    </a:lnTo>
                    <a:lnTo>
                      <a:pt x="659" y="741"/>
                    </a:lnTo>
                    <a:lnTo>
                      <a:pt x="644" y="752"/>
                    </a:lnTo>
                    <a:lnTo>
                      <a:pt x="628" y="762"/>
                    </a:lnTo>
                    <a:lnTo>
                      <a:pt x="612" y="771"/>
                    </a:lnTo>
                    <a:lnTo>
                      <a:pt x="595" y="780"/>
                    </a:lnTo>
                    <a:lnTo>
                      <a:pt x="578" y="788"/>
                    </a:lnTo>
                    <a:lnTo>
                      <a:pt x="560" y="795"/>
                    </a:lnTo>
                    <a:lnTo>
                      <a:pt x="542" y="801"/>
                    </a:lnTo>
                    <a:lnTo>
                      <a:pt x="524" y="806"/>
                    </a:lnTo>
                    <a:lnTo>
                      <a:pt x="504" y="811"/>
                    </a:lnTo>
                    <a:lnTo>
                      <a:pt x="485" y="814"/>
                    </a:lnTo>
                    <a:lnTo>
                      <a:pt x="466" y="816"/>
                    </a:lnTo>
                    <a:lnTo>
                      <a:pt x="446" y="818"/>
                    </a:lnTo>
                    <a:lnTo>
                      <a:pt x="426" y="818"/>
                    </a:lnTo>
                    <a:lnTo>
                      <a:pt x="406" y="818"/>
                    </a:lnTo>
                    <a:lnTo>
                      <a:pt x="386" y="816"/>
                    </a:lnTo>
                    <a:lnTo>
                      <a:pt x="366" y="814"/>
                    </a:lnTo>
                    <a:lnTo>
                      <a:pt x="347" y="811"/>
                    </a:lnTo>
                    <a:lnTo>
                      <a:pt x="328" y="806"/>
                    </a:lnTo>
                    <a:lnTo>
                      <a:pt x="309" y="801"/>
                    </a:lnTo>
                    <a:lnTo>
                      <a:pt x="291" y="795"/>
                    </a:lnTo>
                    <a:lnTo>
                      <a:pt x="274" y="788"/>
                    </a:lnTo>
                    <a:lnTo>
                      <a:pt x="257" y="780"/>
                    </a:lnTo>
                    <a:lnTo>
                      <a:pt x="240" y="771"/>
                    </a:lnTo>
                    <a:lnTo>
                      <a:pt x="223" y="762"/>
                    </a:lnTo>
                    <a:lnTo>
                      <a:pt x="207" y="752"/>
                    </a:lnTo>
                    <a:lnTo>
                      <a:pt x="192" y="741"/>
                    </a:lnTo>
                    <a:lnTo>
                      <a:pt x="177" y="730"/>
                    </a:lnTo>
                    <a:lnTo>
                      <a:pt x="163" y="716"/>
                    </a:lnTo>
                    <a:lnTo>
                      <a:pt x="149" y="703"/>
                    </a:lnTo>
                    <a:lnTo>
                      <a:pt x="136" y="690"/>
                    </a:lnTo>
                    <a:lnTo>
                      <a:pt x="124" y="676"/>
                    </a:lnTo>
                    <a:lnTo>
                      <a:pt x="113" y="661"/>
                    </a:lnTo>
                    <a:lnTo>
                      <a:pt x="102" y="646"/>
                    </a:lnTo>
                    <a:lnTo>
                      <a:pt x="92" y="630"/>
                    </a:lnTo>
                    <a:lnTo>
                      <a:pt x="81" y="614"/>
                    </a:lnTo>
                    <a:lnTo>
                      <a:pt x="73" y="596"/>
                    </a:lnTo>
                    <a:lnTo>
                      <a:pt x="65" y="579"/>
                    </a:lnTo>
                    <a:lnTo>
                      <a:pt x="58" y="561"/>
                    </a:lnTo>
                    <a:lnTo>
                      <a:pt x="52" y="543"/>
                    </a:lnTo>
                    <a:lnTo>
                      <a:pt x="47" y="525"/>
                    </a:lnTo>
                    <a:lnTo>
                      <a:pt x="42" y="505"/>
                    </a:lnTo>
                    <a:lnTo>
                      <a:pt x="39" y="486"/>
                    </a:lnTo>
                    <a:lnTo>
                      <a:pt x="36" y="466"/>
                    </a:lnTo>
                    <a:lnTo>
                      <a:pt x="35" y="447"/>
                    </a:lnTo>
                    <a:lnTo>
                      <a:pt x="34" y="427"/>
                    </a:lnTo>
                    <a:lnTo>
                      <a:pt x="35" y="407"/>
                    </a:lnTo>
                    <a:lnTo>
                      <a:pt x="36" y="386"/>
                    </a:lnTo>
                    <a:lnTo>
                      <a:pt x="39" y="367"/>
                    </a:lnTo>
                    <a:lnTo>
                      <a:pt x="42" y="347"/>
                    </a:lnTo>
                    <a:lnTo>
                      <a:pt x="47" y="329"/>
                    </a:lnTo>
                    <a:lnTo>
                      <a:pt x="52" y="310"/>
                    </a:lnTo>
                    <a:lnTo>
                      <a:pt x="58" y="291"/>
                    </a:lnTo>
                    <a:lnTo>
                      <a:pt x="65" y="274"/>
                    </a:lnTo>
                    <a:lnTo>
                      <a:pt x="73" y="256"/>
                    </a:lnTo>
                    <a:lnTo>
                      <a:pt x="81" y="240"/>
                    </a:lnTo>
                    <a:lnTo>
                      <a:pt x="92" y="223"/>
                    </a:lnTo>
                    <a:lnTo>
                      <a:pt x="102" y="207"/>
                    </a:lnTo>
                    <a:lnTo>
                      <a:pt x="113" y="191"/>
                    </a:lnTo>
                    <a:lnTo>
                      <a:pt x="124" y="177"/>
                    </a:lnTo>
                    <a:lnTo>
                      <a:pt x="136" y="162"/>
                    </a:lnTo>
                    <a:lnTo>
                      <a:pt x="149" y="149"/>
                    </a:lnTo>
                    <a:lnTo>
                      <a:pt x="163" y="136"/>
                    </a:lnTo>
                    <a:lnTo>
                      <a:pt x="177" y="124"/>
                    </a:lnTo>
                    <a:lnTo>
                      <a:pt x="192" y="112"/>
                    </a:lnTo>
                    <a:lnTo>
                      <a:pt x="207" y="101"/>
                    </a:lnTo>
                    <a:lnTo>
                      <a:pt x="223" y="91"/>
                    </a:lnTo>
                    <a:lnTo>
                      <a:pt x="240" y="81"/>
                    </a:lnTo>
                    <a:lnTo>
                      <a:pt x="257" y="72"/>
                    </a:lnTo>
                    <a:lnTo>
                      <a:pt x="274" y="65"/>
                    </a:lnTo>
                    <a:lnTo>
                      <a:pt x="291" y="58"/>
                    </a:lnTo>
                    <a:lnTo>
                      <a:pt x="309" y="51"/>
                    </a:lnTo>
                    <a:lnTo>
                      <a:pt x="328" y="46"/>
                    </a:lnTo>
                    <a:lnTo>
                      <a:pt x="347" y="42"/>
                    </a:lnTo>
                    <a:lnTo>
                      <a:pt x="366" y="38"/>
                    </a:lnTo>
                    <a:lnTo>
                      <a:pt x="386" y="36"/>
                    </a:lnTo>
                    <a:lnTo>
                      <a:pt x="406" y="34"/>
                    </a:lnTo>
                    <a:lnTo>
                      <a:pt x="426" y="34"/>
                    </a:lnTo>
                    <a:close/>
                  </a:path>
                </a:pathLst>
              </a:custGeom>
              <a:solidFill>
                <a:srgbClr val="6D73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等线 Light" panose="020F0302020204030204"/>
                  <a:ea typeface="+mn-ea"/>
                  <a:cs typeface="+mn-cs"/>
                </a:endParaRPr>
              </a:p>
            </p:txBody>
          </p:sp>
          <p:sp>
            <p:nvSpPr>
              <p:cNvPr id="49" name="Freeform 164">
                <a:extLst>
                  <a:ext uri="{FF2B5EF4-FFF2-40B4-BE49-F238E27FC236}">
                    <a16:creationId xmlns:a16="http://schemas.microsoft.com/office/drawing/2014/main" id="{B9DA61DF-F72E-4CBB-9E08-985A0355E226}"/>
                  </a:ext>
                </a:extLst>
              </p:cNvPr>
              <p:cNvSpPr>
                <a:spLocks/>
              </p:cNvSpPr>
              <p:nvPr/>
            </p:nvSpPr>
            <p:spPr bwMode="auto">
              <a:xfrm>
                <a:off x="2986701" y="3639720"/>
                <a:ext cx="84288" cy="149846"/>
              </a:xfrm>
              <a:custGeom>
                <a:avLst/>
                <a:gdLst>
                  <a:gd name="T0" fmla="*/ 135 w 164"/>
                  <a:gd name="T1" fmla="*/ 289 h 294"/>
                  <a:gd name="T2" fmla="*/ 137 w 164"/>
                  <a:gd name="T3" fmla="*/ 291 h 294"/>
                  <a:gd name="T4" fmla="*/ 140 w 164"/>
                  <a:gd name="T5" fmla="*/ 293 h 294"/>
                  <a:gd name="T6" fmla="*/ 144 w 164"/>
                  <a:gd name="T7" fmla="*/ 294 h 294"/>
                  <a:gd name="T8" fmla="*/ 147 w 164"/>
                  <a:gd name="T9" fmla="*/ 294 h 294"/>
                  <a:gd name="T10" fmla="*/ 150 w 164"/>
                  <a:gd name="T11" fmla="*/ 294 h 294"/>
                  <a:gd name="T12" fmla="*/ 153 w 164"/>
                  <a:gd name="T13" fmla="*/ 293 h 294"/>
                  <a:gd name="T14" fmla="*/ 156 w 164"/>
                  <a:gd name="T15" fmla="*/ 291 h 294"/>
                  <a:gd name="T16" fmla="*/ 159 w 164"/>
                  <a:gd name="T17" fmla="*/ 289 h 294"/>
                  <a:gd name="T18" fmla="*/ 161 w 164"/>
                  <a:gd name="T19" fmla="*/ 286 h 294"/>
                  <a:gd name="T20" fmla="*/ 163 w 164"/>
                  <a:gd name="T21" fmla="*/ 283 h 294"/>
                  <a:gd name="T22" fmla="*/ 164 w 164"/>
                  <a:gd name="T23" fmla="*/ 280 h 294"/>
                  <a:gd name="T24" fmla="*/ 164 w 164"/>
                  <a:gd name="T25" fmla="*/ 277 h 294"/>
                  <a:gd name="T26" fmla="*/ 164 w 164"/>
                  <a:gd name="T27" fmla="*/ 274 h 294"/>
                  <a:gd name="T28" fmla="*/ 163 w 164"/>
                  <a:gd name="T29" fmla="*/ 271 h 294"/>
                  <a:gd name="T30" fmla="*/ 161 w 164"/>
                  <a:gd name="T31" fmla="*/ 268 h 294"/>
                  <a:gd name="T32" fmla="*/ 159 w 164"/>
                  <a:gd name="T33" fmla="*/ 265 h 294"/>
                  <a:gd name="T34" fmla="*/ 42 w 164"/>
                  <a:gd name="T35" fmla="*/ 148 h 294"/>
                  <a:gd name="T36" fmla="*/ 159 w 164"/>
                  <a:gd name="T37" fmla="*/ 30 h 294"/>
                  <a:gd name="T38" fmla="*/ 161 w 164"/>
                  <a:gd name="T39" fmla="*/ 28 h 294"/>
                  <a:gd name="T40" fmla="*/ 163 w 164"/>
                  <a:gd name="T41" fmla="*/ 25 h 294"/>
                  <a:gd name="T42" fmla="*/ 164 w 164"/>
                  <a:gd name="T43" fmla="*/ 22 h 294"/>
                  <a:gd name="T44" fmla="*/ 164 w 164"/>
                  <a:gd name="T45" fmla="*/ 17 h 294"/>
                  <a:gd name="T46" fmla="*/ 164 w 164"/>
                  <a:gd name="T47" fmla="*/ 14 h 294"/>
                  <a:gd name="T48" fmla="*/ 163 w 164"/>
                  <a:gd name="T49" fmla="*/ 11 h 294"/>
                  <a:gd name="T50" fmla="*/ 161 w 164"/>
                  <a:gd name="T51" fmla="*/ 8 h 294"/>
                  <a:gd name="T52" fmla="*/ 159 w 164"/>
                  <a:gd name="T53" fmla="*/ 5 h 294"/>
                  <a:gd name="T54" fmla="*/ 156 w 164"/>
                  <a:gd name="T55" fmla="*/ 3 h 294"/>
                  <a:gd name="T56" fmla="*/ 153 w 164"/>
                  <a:gd name="T57" fmla="*/ 1 h 294"/>
                  <a:gd name="T58" fmla="*/ 150 w 164"/>
                  <a:gd name="T59" fmla="*/ 1 h 294"/>
                  <a:gd name="T60" fmla="*/ 147 w 164"/>
                  <a:gd name="T61" fmla="*/ 0 h 294"/>
                  <a:gd name="T62" fmla="*/ 144 w 164"/>
                  <a:gd name="T63" fmla="*/ 1 h 294"/>
                  <a:gd name="T64" fmla="*/ 140 w 164"/>
                  <a:gd name="T65" fmla="*/ 1 h 294"/>
                  <a:gd name="T66" fmla="*/ 137 w 164"/>
                  <a:gd name="T67" fmla="*/ 3 h 294"/>
                  <a:gd name="T68" fmla="*/ 135 w 164"/>
                  <a:gd name="T69" fmla="*/ 5 h 294"/>
                  <a:gd name="T70" fmla="*/ 5 w 164"/>
                  <a:gd name="T71" fmla="*/ 136 h 294"/>
                  <a:gd name="T72" fmla="*/ 3 w 164"/>
                  <a:gd name="T73" fmla="*/ 138 h 294"/>
                  <a:gd name="T74" fmla="*/ 2 w 164"/>
                  <a:gd name="T75" fmla="*/ 141 h 294"/>
                  <a:gd name="T76" fmla="*/ 1 w 164"/>
                  <a:gd name="T77" fmla="*/ 144 h 294"/>
                  <a:gd name="T78" fmla="*/ 0 w 164"/>
                  <a:gd name="T79" fmla="*/ 148 h 294"/>
                  <a:gd name="T80" fmla="*/ 1 w 164"/>
                  <a:gd name="T81" fmla="*/ 151 h 294"/>
                  <a:gd name="T82" fmla="*/ 2 w 164"/>
                  <a:gd name="T83" fmla="*/ 154 h 294"/>
                  <a:gd name="T84" fmla="*/ 3 w 164"/>
                  <a:gd name="T85" fmla="*/ 157 h 294"/>
                  <a:gd name="T86" fmla="*/ 5 w 164"/>
                  <a:gd name="T87" fmla="*/ 160 h 294"/>
                  <a:gd name="T88" fmla="*/ 135 w 164"/>
                  <a:gd name="T89" fmla="*/ 28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64" h="294">
                    <a:moveTo>
                      <a:pt x="135" y="289"/>
                    </a:moveTo>
                    <a:lnTo>
                      <a:pt x="137" y="291"/>
                    </a:lnTo>
                    <a:lnTo>
                      <a:pt x="140" y="293"/>
                    </a:lnTo>
                    <a:lnTo>
                      <a:pt x="144" y="294"/>
                    </a:lnTo>
                    <a:lnTo>
                      <a:pt x="147" y="294"/>
                    </a:lnTo>
                    <a:lnTo>
                      <a:pt x="150" y="294"/>
                    </a:lnTo>
                    <a:lnTo>
                      <a:pt x="153" y="293"/>
                    </a:lnTo>
                    <a:lnTo>
                      <a:pt x="156" y="291"/>
                    </a:lnTo>
                    <a:lnTo>
                      <a:pt x="159" y="289"/>
                    </a:lnTo>
                    <a:lnTo>
                      <a:pt x="161" y="286"/>
                    </a:lnTo>
                    <a:lnTo>
                      <a:pt x="163" y="283"/>
                    </a:lnTo>
                    <a:lnTo>
                      <a:pt x="164" y="280"/>
                    </a:lnTo>
                    <a:lnTo>
                      <a:pt x="164" y="277"/>
                    </a:lnTo>
                    <a:lnTo>
                      <a:pt x="164" y="274"/>
                    </a:lnTo>
                    <a:lnTo>
                      <a:pt x="163" y="271"/>
                    </a:lnTo>
                    <a:lnTo>
                      <a:pt x="161" y="268"/>
                    </a:lnTo>
                    <a:lnTo>
                      <a:pt x="159" y="265"/>
                    </a:lnTo>
                    <a:lnTo>
                      <a:pt x="42" y="148"/>
                    </a:lnTo>
                    <a:lnTo>
                      <a:pt x="159" y="30"/>
                    </a:lnTo>
                    <a:lnTo>
                      <a:pt x="161" y="28"/>
                    </a:lnTo>
                    <a:lnTo>
                      <a:pt x="163" y="25"/>
                    </a:lnTo>
                    <a:lnTo>
                      <a:pt x="164" y="22"/>
                    </a:lnTo>
                    <a:lnTo>
                      <a:pt x="164" y="17"/>
                    </a:lnTo>
                    <a:lnTo>
                      <a:pt x="164" y="14"/>
                    </a:lnTo>
                    <a:lnTo>
                      <a:pt x="163" y="11"/>
                    </a:lnTo>
                    <a:lnTo>
                      <a:pt x="161" y="8"/>
                    </a:lnTo>
                    <a:lnTo>
                      <a:pt x="159" y="5"/>
                    </a:lnTo>
                    <a:lnTo>
                      <a:pt x="156" y="3"/>
                    </a:lnTo>
                    <a:lnTo>
                      <a:pt x="153" y="1"/>
                    </a:lnTo>
                    <a:lnTo>
                      <a:pt x="150" y="1"/>
                    </a:lnTo>
                    <a:lnTo>
                      <a:pt x="147" y="0"/>
                    </a:lnTo>
                    <a:lnTo>
                      <a:pt x="144" y="1"/>
                    </a:lnTo>
                    <a:lnTo>
                      <a:pt x="140" y="1"/>
                    </a:lnTo>
                    <a:lnTo>
                      <a:pt x="137" y="3"/>
                    </a:lnTo>
                    <a:lnTo>
                      <a:pt x="135" y="5"/>
                    </a:lnTo>
                    <a:lnTo>
                      <a:pt x="5" y="136"/>
                    </a:lnTo>
                    <a:lnTo>
                      <a:pt x="3" y="138"/>
                    </a:lnTo>
                    <a:lnTo>
                      <a:pt x="2" y="141"/>
                    </a:lnTo>
                    <a:lnTo>
                      <a:pt x="1" y="144"/>
                    </a:lnTo>
                    <a:lnTo>
                      <a:pt x="0" y="148"/>
                    </a:lnTo>
                    <a:lnTo>
                      <a:pt x="1" y="151"/>
                    </a:lnTo>
                    <a:lnTo>
                      <a:pt x="2" y="154"/>
                    </a:lnTo>
                    <a:lnTo>
                      <a:pt x="3" y="157"/>
                    </a:lnTo>
                    <a:lnTo>
                      <a:pt x="5" y="160"/>
                    </a:lnTo>
                    <a:lnTo>
                      <a:pt x="135" y="289"/>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等线 Light" panose="020F0302020204030204"/>
                  <a:ea typeface="+mn-ea"/>
                  <a:cs typeface="+mn-cs"/>
                </a:endParaRPr>
              </a:p>
            </p:txBody>
          </p:sp>
        </p:grpSp>
        <p:sp>
          <p:nvSpPr>
            <p:cNvPr id="46" name="Rectangle 51">
              <a:extLst>
                <a:ext uri="{FF2B5EF4-FFF2-40B4-BE49-F238E27FC236}">
                  <a16:creationId xmlns:a16="http://schemas.microsoft.com/office/drawing/2014/main" id="{5AB58A5F-14D9-4CC7-970A-641B2CDEAF2F}"/>
                </a:ext>
              </a:extLst>
            </p:cNvPr>
            <p:cNvSpPr/>
            <p:nvPr/>
          </p:nvSpPr>
          <p:spPr>
            <a:xfrm>
              <a:off x="2126453" y="2582095"/>
              <a:ext cx="2390221" cy="384914"/>
            </a:xfrm>
            <a:prstGeom prst="rect">
              <a:avLst/>
            </a:prstGeom>
          </p:spPr>
          <p:txBody>
            <a:bodyPr wrap="square">
              <a:spAutoFit/>
            </a:bodyPr>
            <a:lstStyle/>
            <a:p>
              <a:pPr marL="0" marR="0" lvl="0" indent="0" algn="l" defTabSz="914400" rtl="0" eaLnBrk="1" fontAlgn="auto" latinLnBrk="0" hangingPunct="1">
                <a:lnSpc>
                  <a:spcPct val="13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6D7381"/>
                  </a:solidFill>
                  <a:effectLst/>
                  <a:uLnTx/>
                  <a:uFillTx/>
                  <a:latin typeface="等线 Light" panose="020F0302020204030204"/>
                  <a:ea typeface="+mn-ea"/>
                  <a:cs typeface="+mn-cs"/>
                </a:rPr>
                <a:t>Four Content Subtitle</a:t>
              </a:r>
              <a:endParaRPr kumimoji="0" lang="id-ID" sz="1600" b="0" i="0" u="none" strike="noStrike" kern="1200" cap="none" spc="0" normalizeH="0" baseline="0" noProof="0" dirty="0">
                <a:ln>
                  <a:noFill/>
                </a:ln>
                <a:solidFill>
                  <a:srgbClr val="6D7381"/>
                </a:solidFill>
                <a:effectLst/>
                <a:uLnTx/>
                <a:uFillTx/>
                <a:latin typeface="等线 Light" panose="020F0302020204030204"/>
                <a:ea typeface="+mn-ea"/>
                <a:cs typeface="+mn-cs"/>
              </a:endParaRPr>
            </a:p>
          </p:txBody>
        </p:sp>
        <p:sp>
          <p:nvSpPr>
            <p:cNvPr id="47" name="Rounded Rectangle 248">
              <a:extLst>
                <a:ext uri="{FF2B5EF4-FFF2-40B4-BE49-F238E27FC236}">
                  <a16:creationId xmlns:a16="http://schemas.microsoft.com/office/drawing/2014/main" id="{984B0B1E-3F8D-49EE-8A0F-AF58491232D3}"/>
                </a:ext>
              </a:extLst>
            </p:cNvPr>
            <p:cNvSpPr/>
            <p:nvPr/>
          </p:nvSpPr>
          <p:spPr>
            <a:xfrm>
              <a:off x="5064744" y="2547664"/>
              <a:ext cx="1074652" cy="453777"/>
            </a:xfrm>
            <a:prstGeom prst="roundRect">
              <a:avLst>
                <a:gd name="adj" fmla="val 2689"/>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D" sz="1400" b="0" i="0" u="none" strike="noStrike" kern="1200" cap="none" spc="0" normalizeH="0" baseline="0" noProof="0" dirty="0">
                  <a:ln>
                    <a:noFill/>
                  </a:ln>
                  <a:solidFill>
                    <a:srgbClr val="FFFFFF"/>
                  </a:solidFill>
                  <a:effectLst/>
                  <a:uLnTx/>
                  <a:uFillTx/>
                  <a:latin typeface="等线 Light" panose="020F0302020204030204"/>
                  <a:ea typeface="+mn-ea"/>
                  <a:cs typeface="+mn-cs"/>
                </a:rPr>
                <a:t>16,07%</a:t>
              </a:r>
            </a:p>
          </p:txBody>
        </p:sp>
      </p:grpSp>
      <p:sp>
        <p:nvSpPr>
          <p:cNvPr id="50" name="TextBox 55">
            <a:extLst>
              <a:ext uri="{FF2B5EF4-FFF2-40B4-BE49-F238E27FC236}">
                <a16:creationId xmlns:a16="http://schemas.microsoft.com/office/drawing/2014/main" id="{0675B63B-FE33-4D7F-91D0-9C6AD2B29150}"/>
              </a:ext>
            </a:extLst>
          </p:cNvPr>
          <p:cNvSpPr txBox="1"/>
          <p:nvPr/>
        </p:nvSpPr>
        <p:spPr>
          <a:xfrm>
            <a:off x="5750959" y="2236108"/>
            <a:ext cx="4583212" cy="623312"/>
          </a:xfrm>
          <a:prstGeom prst="rect">
            <a:avLst/>
          </a:prstGeom>
          <a:noFill/>
        </p:spPr>
        <p:txBody>
          <a:bodyPr wrap="square" rtlCol="0">
            <a:spAutoFit/>
          </a:bodyPr>
          <a:lstStyle/>
          <a:p>
            <a:pPr marL="0" marR="0" lvl="0" indent="0" algn="l" defTabSz="914400" rtl="0" eaLnBrk="1" fontAlgn="auto" latinLnBrk="0" hangingPunct="1">
              <a:lnSpc>
                <a:spcPct val="13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000000">
                    <a:lumMod val="65000"/>
                    <a:lumOff val="35000"/>
                  </a:srgbClr>
                </a:solidFill>
                <a:effectLst/>
                <a:uLnTx/>
                <a:uFillTx/>
                <a:latin typeface="等线" panose="020F0502020204030204"/>
                <a:ea typeface="Open Sans" panose="020B0606030504020204" pitchFamily="34" charset="0"/>
                <a:cs typeface="Segoe UI" panose="020B0502040204020203" pitchFamily="34" charset="0"/>
              </a:rPr>
              <a:t>Leverage agile frameworks to provide a robust synopsis for high level overviews.</a:t>
            </a:r>
          </a:p>
        </p:txBody>
      </p:sp>
    </p:spTree>
    <p:extLst>
      <p:ext uri="{BB962C8B-B14F-4D97-AF65-F5344CB8AC3E}">
        <p14:creationId xmlns:p14="http://schemas.microsoft.com/office/powerpoint/2010/main" val="1304096570"/>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nodeType="withEffect">
                                  <p:stCondLst>
                                    <p:cond delay="250"/>
                                  </p:stCondLst>
                                  <p:childTnLst>
                                    <p:set>
                                      <p:cBhvr>
                                        <p:cTn id="6" dur="1" fill="hold">
                                          <p:stCondLst>
                                            <p:cond delay="0"/>
                                          </p:stCondLst>
                                        </p:cTn>
                                        <p:tgtEl>
                                          <p:spTgt spid="17"/>
                                        </p:tgtEl>
                                        <p:attrNameLst>
                                          <p:attrName>style.visibility</p:attrName>
                                        </p:attrNameLst>
                                      </p:cBhvr>
                                      <p:to>
                                        <p:strVal val="visible"/>
                                      </p:to>
                                    </p:set>
                                    <p:anim calcmode="lin" valueType="num">
                                      <p:cBhvr additive="base">
                                        <p:cTn id="7" dur="1000" fill="hold"/>
                                        <p:tgtEl>
                                          <p:spTgt spid="17"/>
                                        </p:tgtEl>
                                        <p:attrNameLst>
                                          <p:attrName>ppt_x</p:attrName>
                                        </p:attrNameLst>
                                      </p:cBhvr>
                                      <p:tavLst>
                                        <p:tav tm="0">
                                          <p:val>
                                            <p:strVal val="1+#ppt_w/2"/>
                                          </p:val>
                                        </p:tav>
                                        <p:tav tm="100000">
                                          <p:val>
                                            <p:strVal val="#ppt_x"/>
                                          </p:val>
                                        </p:tav>
                                      </p:tavLst>
                                    </p:anim>
                                    <p:anim calcmode="lin" valueType="num">
                                      <p:cBhvr additive="base">
                                        <p:cTn id="8" dur="1000" fill="hold"/>
                                        <p:tgtEl>
                                          <p:spTgt spid="17"/>
                                        </p:tgtEl>
                                        <p:attrNameLst>
                                          <p:attrName>ppt_y</p:attrName>
                                        </p:attrNameLst>
                                      </p:cBhvr>
                                      <p:tavLst>
                                        <p:tav tm="0">
                                          <p:val>
                                            <p:strVal val="#ppt_y"/>
                                          </p:val>
                                        </p:tav>
                                        <p:tav tm="100000">
                                          <p:val>
                                            <p:strVal val="#ppt_y"/>
                                          </p:val>
                                        </p:tav>
                                      </p:tavLst>
                                    </p:anim>
                                  </p:childTnLst>
                                </p:cTn>
                              </p:par>
                              <p:par>
                                <p:cTn id="9" presetID="2" presetClass="entr" presetSubtype="2" decel="100000" fill="hold" nodeType="withEffect">
                                  <p:stCondLst>
                                    <p:cond delay="250"/>
                                  </p:stCondLst>
                                  <p:childTnLst>
                                    <p:set>
                                      <p:cBhvr>
                                        <p:cTn id="10" dur="1" fill="hold">
                                          <p:stCondLst>
                                            <p:cond delay="0"/>
                                          </p:stCondLst>
                                        </p:cTn>
                                        <p:tgtEl>
                                          <p:spTgt spid="25"/>
                                        </p:tgtEl>
                                        <p:attrNameLst>
                                          <p:attrName>style.visibility</p:attrName>
                                        </p:attrNameLst>
                                      </p:cBhvr>
                                      <p:to>
                                        <p:strVal val="visible"/>
                                      </p:to>
                                    </p:set>
                                    <p:anim calcmode="lin" valueType="num">
                                      <p:cBhvr additive="base">
                                        <p:cTn id="11" dur="1250" fill="hold"/>
                                        <p:tgtEl>
                                          <p:spTgt spid="25"/>
                                        </p:tgtEl>
                                        <p:attrNameLst>
                                          <p:attrName>ppt_x</p:attrName>
                                        </p:attrNameLst>
                                      </p:cBhvr>
                                      <p:tavLst>
                                        <p:tav tm="0">
                                          <p:val>
                                            <p:strVal val="1+#ppt_w/2"/>
                                          </p:val>
                                        </p:tav>
                                        <p:tav tm="100000">
                                          <p:val>
                                            <p:strVal val="#ppt_x"/>
                                          </p:val>
                                        </p:tav>
                                      </p:tavLst>
                                    </p:anim>
                                    <p:anim calcmode="lin" valueType="num">
                                      <p:cBhvr additive="base">
                                        <p:cTn id="12" dur="1250" fill="hold"/>
                                        <p:tgtEl>
                                          <p:spTgt spid="25"/>
                                        </p:tgtEl>
                                        <p:attrNameLst>
                                          <p:attrName>ppt_y</p:attrName>
                                        </p:attrNameLst>
                                      </p:cBhvr>
                                      <p:tavLst>
                                        <p:tav tm="0">
                                          <p:val>
                                            <p:strVal val="#ppt_y"/>
                                          </p:val>
                                        </p:tav>
                                        <p:tav tm="100000">
                                          <p:val>
                                            <p:strVal val="#ppt_y"/>
                                          </p:val>
                                        </p:tav>
                                      </p:tavLst>
                                    </p:anim>
                                  </p:childTnLst>
                                </p:cTn>
                              </p:par>
                              <p:par>
                                <p:cTn id="13" presetID="18" presetClass="entr" presetSubtype="3" fill="hold" grpId="0" nodeType="withEffect">
                                  <p:stCondLst>
                                    <p:cond delay="0"/>
                                  </p:stCondLst>
                                  <p:childTnLst>
                                    <p:set>
                                      <p:cBhvr>
                                        <p:cTn id="14" dur="1" fill="hold">
                                          <p:stCondLst>
                                            <p:cond delay="0"/>
                                          </p:stCondLst>
                                        </p:cTn>
                                        <p:tgtEl>
                                          <p:spTgt spid="33"/>
                                        </p:tgtEl>
                                        <p:attrNameLst>
                                          <p:attrName>style.visibility</p:attrName>
                                        </p:attrNameLst>
                                      </p:cBhvr>
                                      <p:to>
                                        <p:strVal val="visible"/>
                                      </p:to>
                                    </p:set>
                                    <p:animEffect transition="in" filter="strips(upRight)">
                                      <p:cBhvr>
                                        <p:cTn id="15" dur="500"/>
                                        <p:tgtEl>
                                          <p:spTgt spid="33"/>
                                        </p:tgtEl>
                                      </p:cBhvr>
                                    </p:animEffect>
                                  </p:childTnLst>
                                </p:cTn>
                              </p:par>
                              <p:par>
                                <p:cTn id="16" presetID="6" presetClass="emph" presetSubtype="0" accel="52000" decel="48000" autoRev="1" fill="hold" grpId="1" nodeType="withEffect">
                                  <p:stCondLst>
                                    <p:cond delay="0"/>
                                  </p:stCondLst>
                                  <p:childTnLst>
                                    <p:animScale>
                                      <p:cBhvr>
                                        <p:cTn id="17" dur="350" fill="hold"/>
                                        <p:tgtEl>
                                          <p:spTgt spid="33"/>
                                        </p:tgtEl>
                                      </p:cBhvr>
                                      <p:by x="110000" y="110000"/>
                                    </p:animScale>
                                  </p:childTnLst>
                                </p:cTn>
                              </p:par>
                              <p:par>
                                <p:cTn id="18" presetID="2" presetClass="entr" presetSubtype="2" decel="100000" fill="hold" nodeType="withEffect">
                                  <p:stCondLst>
                                    <p:cond delay="250"/>
                                  </p:stCondLst>
                                  <p:childTnLst>
                                    <p:set>
                                      <p:cBhvr>
                                        <p:cTn id="19" dur="1" fill="hold">
                                          <p:stCondLst>
                                            <p:cond delay="0"/>
                                          </p:stCondLst>
                                        </p:cTn>
                                        <p:tgtEl>
                                          <p:spTgt spid="34"/>
                                        </p:tgtEl>
                                        <p:attrNameLst>
                                          <p:attrName>style.visibility</p:attrName>
                                        </p:attrNameLst>
                                      </p:cBhvr>
                                      <p:to>
                                        <p:strVal val="visible"/>
                                      </p:to>
                                    </p:set>
                                    <p:anim calcmode="lin" valueType="num">
                                      <p:cBhvr additive="base">
                                        <p:cTn id="20" dur="1500" fill="hold"/>
                                        <p:tgtEl>
                                          <p:spTgt spid="34"/>
                                        </p:tgtEl>
                                        <p:attrNameLst>
                                          <p:attrName>ppt_x</p:attrName>
                                        </p:attrNameLst>
                                      </p:cBhvr>
                                      <p:tavLst>
                                        <p:tav tm="0">
                                          <p:val>
                                            <p:strVal val="1+#ppt_w/2"/>
                                          </p:val>
                                        </p:tav>
                                        <p:tav tm="100000">
                                          <p:val>
                                            <p:strVal val="#ppt_x"/>
                                          </p:val>
                                        </p:tav>
                                      </p:tavLst>
                                    </p:anim>
                                    <p:anim calcmode="lin" valueType="num">
                                      <p:cBhvr additive="base">
                                        <p:cTn id="21" dur="1500" fill="hold"/>
                                        <p:tgtEl>
                                          <p:spTgt spid="34"/>
                                        </p:tgtEl>
                                        <p:attrNameLst>
                                          <p:attrName>ppt_y</p:attrName>
                                        </p:attrNameLst>
                                      </p:cBhvr>
                                      <p:tavLst>
                                        <p:tav tm="0">
                                          <p:val>
                                            <p:strVal val="#ppt_y"/>
                                          </p:val>
                                        </p:tav>
                                        <p:tav tm="100000">
                                          <p:val>
                                            <p:strVal val="#ppt_y"/>
                                          </p:val>
                                        </p:tav>
                                      </p:tavLst>
                                    </p:anim>
                                  </p:childTnLst>
                                </p:cTn>
                              </p:par>
                              <p:par>
                                <p:cTn id="22" presetID="2" presetClass="entr" presetSubtype="2" decel="100000" fill="hold" nodeType="withEffect">
                                  <p:stCondLst>
                                    <p:cond delay="250"/>
                                  </p:stCondLst>
                                  <p:childTnLst>
                                    <p:set>
                                      <p:cBhvr>
                                        <p:cTn id="23" dur="1" fill="hold">
                                          <p:stCondLst>
                                            <p:cond delay="0"/>
                                          </p:stCondLst>
                                        </p:cTn>
                                        <p:tgtEl>
                                          <p:spTgt spid="42"/>
                                        </p:tgtEl>
                                        <p:attrNameLst>
                                          <p:attrName>style.visibility</p:attrName>
                                        </p:attrNameLst>
                                      </p:cBhvr>
                                      <p:to>
                                        <p:strVal val="visible"/>
                                      </p:to>
                                    </p:set>
                                    <p:anim calcmode="lin" valueType="num">
                                      <p:cBhvr additive="base">
                                        <p:cTn id="24" dur="1750" fill="hold"/>
                                        <p:tgtEl>
                                          <p:spTgt spid="42"/>
                                        </p:tgtEl>
                                        <p:attrNameLst>
                                          <p:attrName>ppt_x</p:attrName>
                                        </p:attrNameLst>
                                      </p:cBhvr>
                                      <p:tavLst>
                                        <p:tav tm="0">
                                          <p:val>
                                            <p:strVal val="1+#ppt_w/2"/>
                                          </p:val>
                                        </p:tav>
                                        <p:tav tm="100000">
                                          <p:val>
                                            <p:strVal val="#ppt_x"/>
                                          </p:val>
                                        </p:tav>
                                      </p:tavLst>
                                    </p:anim>
                                    <p:anim calcmode="lin" valueType="num">
                                      <p:cBhvr additive="base">
                                        <p:cTn id="25" dur="1750" fill="hold"/>
                                        <p:tgtEl>
                                          <p:spTgt spid="42"/>
                                        </p:tgtEl>
                                        <p:attrNameLst>
                                          <p:attrName>ppt_y</p:attrName>
                                        </p:attrNameLst>
                                      </p:cBhvr>
                                      <p:tavLst>
                                        <p:tav tm="0">
                                          <p:val>
                                            <p:strVal val="#ppt_y"/>
                                          </p:val>
                                        </p:tav>
                                        <p:tav tm="100000">
                                          <p:val>
                                            <p:strVal val="#ppt_y"/>
                                          </p:val>
                                        </p:tav>
                                      </p:tavLst>
                                    </p:anim>
                                  </p:childTnLst>
                                </p:cTn>
                              </p:par>
                              <p:par>
                                <p:cTn id="26" presetID="10" presetClass="entr" presetSubtype="0" fill="hold" grpId="0" nodeType="withEffect">
                                  <p:stCondLst>
                                    <p:cond delay="250"/>
                                  </p:stCondLst>
                                  <p:childTnLst>
                                    <p:set>
                                      <p:cBhvr>
                                        <p:cTn id="27" dur="1" fill="hold">
                                          <p:stCondLst>
                                            <p:cond delay="0"/>
                                          </p:stCondLst>
                                        </p:cTn>
                                        <p:tgtEl>
                                          <p:spTgt spid="50"/>
                                        </p:tgtEl>
                                        <p:attrNameLst>
                                          <p:attrName>style.visibility</p:attrName>
                                        </p:attrNameLst>
                                      </p:cBhvr>
                                      <p:to>
                                        <p:strVal val="visible"/>
                                      </p:to>
                                    </p:set>
                                    <p:animEffect transition="in" filter="fade">
                                      <p:cBhvr>
                                        <p:cTn id="28" dur="750"/>
                                        <p:tgtEl>
                                          <p:spTgt spid="50"/>
                                        </p:tgtEl>
                                      </p:cBhvr>
                                    </p:animEffect>
                                  </p:childTnLst>
                                </p:cTn>
                              </p:par>
                              <p:par>
                                <p:cTn id="29" presetID="18" presetClass="entr" presetSubtype="3" fill="hold" nodeType="withEffect">
                                  <p:stCondLst>
                                    <p:cond delay="250"/>
                                  </p:stCondLst>
                                  <p:childTnLst>
                                    <p:set>
                                      <p:cBhvr>
                                        <p:cTn id="30" dur="1" fill="hold">
                                          <p:stCondLst>
                                            <p:cond delay="0"/>
                                          </p:stCondLst>
                                        </p:cTn>
                                        <p:tgtEl>
                                          <p:spTgt spid="2"/>
                                        </p:tgtEl>
                                        <p:attrNameLst>
                                          <p:attrName>style.visibility</p:attrName>
                                        </p:attrNameLst>
                                      </p:cBhvr>
                                      <p:to>
                                        <p:strVal val="visible"/>
                                      </p:to>
                                    </p:set>
                                    <p:animEffect transition="in" filter="strips(upRight)">
                                      <p:cBhvr>
                                        <p:cTn id="31" dur="500"/>
                                        <p:tgtEl>
                                          <p:spTgt spid="2"/>
                                        </p:tgtEl>
                                      </p:cBhvr>
                                    </p:animEffect>
                                  </p:childTnLst>
                                </p:cTn>
                              </p:par>
                              <p:par>
                                <p:cTn id="32" presetID="6" presetClass="emph" presetSubtype="0" accel="52000" decel="48000" autoRev="1" fill="hold" nodeType="withEffect">
                                  <p:stCondLst>
                                    <p:cond delay="250"/>
                                  </p:stCondLst>
                                  <p:childTnLst>
                                    <p:animScale>
                                      <p:cBhvr>
                                        <p:cTn id="33" dur="350" fill="hold"/>
                                        <p:tgtEl>
                                          <p:spTgt spid="2"/>
                                        </p:tgtEl>
                                      </p:cBhvr>
                                      <p:by x="110000" y="11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3" grpId="0"/>
      <p:bldP spid="33" grpId="1"/>
      <p:bldP spid="50" grpId="0"/>
    </p:bldLst>
  </p:timing>
</p:sld>
</file>

<file path=ppt/slides/slide6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24197D3F-FB77-4594-91C0-F7659116AD4C}"/>
              </a:ext>
            </a:extLst>
          </p:cNvPr>
          <p:cNvGrpSpPr/>
          <p:nvPr/>
        </p:nvGrpSpPr>
        <p:grpSpPr>
          <a:xfrm>
            <a:off x="1089108" y="1395178"/>
            <a:ext cx="4473492" cy="3934138"/>
            <a:chOff x="1253966" y="1378170"/>
            <a:chExt cx="4143775" cy="3644173"/>
          </a:xfrm>
        </p:grpSpPr>
        <p:grpSp>
          <p:nvGrpSpPr>
            <p:cNvPr id="3" name="Group 2">
              <a:extLst>
                <a:ext uri="{FF2B5EF4-FFF2-40B4-BE49-F238E27FC236}">
                  <a16:creationId xmlns:a16="http://schemas.microsoft.com/office/drawing/2014/main" id="{6ECC0DB6-D8C1-49FD-95F2-CB974671EAB2}"/>
                </a:ext>
              </a:extLst>
            </p:cNvPr>
            <p:cNvGrpSpPr/>
            <p:nvPr/>
          </p:nvGrpSpPr>
          <p:grpSpPr>
            <a:xfrm>
              <a:off x="3512388" y="2575244"/>
              <a:ext cx="1000566" cy="1186385"/>
              <a:chOff x="9266119" y="3207373"/>
              <a:chExt cx="1047752" cy="1242334"/>
            </a:xfrm>
          </p:grpSpPr>
          <p:sp>
            <p:nvSpPr>
              <p:cNvPr id="27" name="Freeform 10">
                <a:extLst>
                  <a:ext uri="{FF2B5EF4-FFF2-40B4-BE49-F238E27FC236}">
                    <a16:creationId xmlns:a16="http://schemas.microsoft.com/office/drawing/2014/main" id="{B351FC5E-EC9E-43AA-9D5C-3CFDBB37C7D3}"/>
                  </a:ext>
                </a:extLst>
              </p:cNvPr>
              <p:cNvSpPr>
                <a:spLocks/>
              </p:cNvSpPr>
              <p:nvPr/>
            </p:nvSpPr>
            <p:spPr bwMode="auto">
              <a:xfrm>
                <a:off x="9266119" y="3258263"/>
                <a:ext cx="1047752" cy="1191444"/>
              </a:xfrm>
              <a:custGeom>
                <a:avLst/>
                <a:gdLst>
                  <a:gd name="T0" fmla="*/ 0 w 558"/>
                  <a:gd name="T1" fmla="*/ 634 h 634"/>
                  <a:gd name="T2" fmla="*/ 0 w 558"/>
                  <a:gd name="T3" fmla="*/ 120 h 634"/>
                  <a:gd name="T4" fmla="*/ 120 w 558"/>
                  <a:gd name="T5" fmla="*/ 0 h 634"/>
                  <a:gd name="T6" fmla="*/ 558 w 558"/>
                  <a:gd name="T7" fmla="*/ 0 h 634"/>
                </a:gdLst>
                <a:ahLst/>
                <a:cxnLst>
                  <a:cxn ang="0">
                    <a:pos x="T0" y="T1"/>
                  </a:cxn>
                  <a:cxn ang="0">
                    <a:pos x="T2" y="T3"/>
                  </a:cxn>
                  <a:cxn ang="0">
                    <a:pos x="T4" y="T5"/>
                  </a:cxn>
                  <a:cxn ang="0">
                    <a:pos x="T6" y="T7"/>
                  </a:cxn>
                </a:cxnLst>
                <a:rect l="0" t="0" r="r" b="b"/>
                <a:pathLst>
                  <a:path w="558" h="634">
                    <a:moveTo>
                      <a:pt x="0" y="634"/>
                    </a:moveTo>
                    <a:cubicBezTo>
                      <a:pt x="0" y="120"/>
                      <a:pt x="0" y="120"/>
                      <a:pt x="0" y="120"/>
                    </a:cubicBezTo>
                    <a:cubicBezTo>
                      <a:pt x="0" y="54"/>
                      <a:pt x="54" y="0"/>
                      <a:pt x="120" y="0"/>
                    </a:cubicBezTo>
                    <a:cubicBezTo>
                      <a:pt x="558" y="0"/>
                      <a:pt x="558" y="0"/>
                      <a:pt x="558" y="0"/>
                    </a:cubicBezTo>
                  </a:path>
                </a:pathLst>
              </a:custGeom>
              <a:noFill/>
              <a:ln w="12700" cap="flat">
                <a:solidFill>
                  <a:schemeClr val="tx1">
                    <a:lumMod val="75000"/>
                    <a:lumOff val="25000"/>
                  </a:schemeClr>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Light" panose="020F0302020204030204"/>
                  <a:ea typeface="+mn-ea"/>
                  <a:cs typeface="+mn-cs"/>
                </a:endParaRPr>
              </a:p>
            </p:txBody>
          </p:sp>
          <p:sp>
            <p:nvSpPr>
              <p:cNvPr id="28" name="Oval 28">
                <a:extLst>
                  <a:ext uri="{FF2B5EF4-FFF2-40B4-BE49-F238E27FC236}">
                    <a16:creationId xmlns:a16="http://schemas.microsoft.com/office/drawing/2014/main" id="{7E6C0A23-A6EC-4113-B4F7-C507EE2290CE}"/>
                  </a:ext>
                </a:extLst>
              </p:cNvPr>
              <p:cNvSpPr>
                <a:spLocks noChangeArrowheads="1"/>
              </p:cNvSpPr>
              <p:nvPr/>
            </p:nvSpPr>
            <p:spPr bwMode="auto">
              <a:xfrm>
                <a:off x="9598407" y="3207373"/>
                <a:ext cx="106272" cy="107769"/>
              </a:xfrm>
              <a:prstGeom prst="ellipse">
                <a:avLst/>
              </a:prstGeom>
              <a:solidFill>
                <a:schemeClr val="accent2"/>
              </a:solidFill>
              <a:ln w="12700">
                <a:solidFill>
                  <a:schemeClr val="tx1">
                    <a:lumMod val="75000"/>
                    <a:lumOff val="25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Light" panose="020F0302020204030204"/>
                  <a:ea typeface="+mn-ea"/>
                  <a:cs typeface="+mn-cs"/>
                </a:endParaRPr>
              </a:p>
            </p:txBody>
          </p:sp>
        </p:grpSp>
        <p:grpSp>
          <p:nvGrpSpPr>
            <p:cNvPr id="4" name="Group 3">
              <a:extLst>
                <a:ext uri="{FF2B5EF4-FFF2-40B4-BE49-F238E27FC236}">
                  <a16:creationId xmlns:a16="http://schemas.microsoft.com/office/drawing/2014/main" id="{8ECF5E91-34AA-4B1F-BBA3-C97EC9C006A6}"/>
                </a:ext>
              </a:extLst>
            </p:cNvPr>
            <p:cNvGrpSpPr/>
            <p:nvPr/>
          </p:nvGrpSpPr>
          <p:grpSpPr>
            <a:xfrm>
              <a:off x="3512388" y="3471465"/>
              <a:ext cx="1623776" cy="1190674"/>
              <a:chOff x="9266120" y="4145859"/>
              <a:chExt cx="1700352" cy="1246825"/>
            </a:xfrm>
          </p:grpSpPr>
          <p:sp>
            <p:nvSpPr>
              <p:cNvPr id="25" name="Freeform 7">
                <a:extLst>
                  <a:ext uri="{FF2B5EF4-FFF2-40B4-BE49-F238E27FC236}">
                    <a16:creationId xmlns:a16="http://schemas.microsoft.com/office/drawing/2014/main" id="{21CAA89E-3C68-4E20-B523-22FEAD77E7EE}"/>
                  </a:ext>
                </a:extLst>
              </p:cNvPr>
              <p:cNvSpPr>
                <a:spLocks/>
              </p:cNvSpPr>
              <p:nvPr/>
            </p:nvSpPr>
            <p:spPr bwMode="auto">
              <a:xfrm>
                <a:off x="9266120" y="4202737"/>
                <a:ext cx="1700352" cy="1189947"/>
              </a:xfrm>
              <a:custGeom>
                <a:avLst/>
                <a:gdLst>
                  <a:gd name="T0" fmla="*/ 0 w 905"/>
                  <a:gd name="T1" fmla="*/ 633 h 633"/>
                  <a:gd name="T2" fmla="*/ 0 w 905"/>
                  <a:gd name="T3" fmla="*/ 119 h 633"/>
                  <a:gd name="T4" fmla="*/ 120 w 905"/>
                  <a:gd name="T5" fmla="*/ 0 h 633"/>
                  <a:gd name="T6" fmla="*/ 905 w 905"/>
                  <a:gd name="T7" fmla="*/ 0 h 633"/>
                </a:gdLst>
                <a:ahLst/>
                <a:cxnLst>
                  <a:cxn ang="0">
                    <a:pos x="T0" y="T1"/>
                  </a:cxn>
                  <a:cxn ang="0">
                    <a:pos x="T2" y="T3"/>
                  </a:cxn>
                  <a:cxn ang="0">
                    <a:pos x="T4" y="T5"/>
                  </a:cxn>
                  <a:cxn ang="0">
                    <a:pos x="T6" y="T7"/>
                  </a:cxn>
                </a:cxnLst>
                <a:rect l="0" t="0" r="r" b="b"/>
                <a:pathLst>
                  <a:path w="905" h="633">
                    <a:moveTo>
                      <a:pt x="0" y="633"/>
                    </a:moveTo>
                    <a:cubicBezTo>
                      <a:pt x="0" y="119"/>
                      <a:pt x="0" y="119"/>
                      <a:pt x="0" y="119"/>
                    </a:cubicBezTo>
                    <a:cubicBezTo>
                      <a:pt x="0" y="53"/>
                      <a:pt x="54" y="0"/>
                      <a:pt x="120" y="0"/>
                    </a:cubicBezTo>
                    <a:cubicBezTo>
                      <a:pt x="905" y="0"/>
                      <a:pt x="905" y="0"/>
                      <a:pt x="905" y="0"/>
                    </a:cubicBezTo>
                  </a:path>
                </a:pathLst>
              </a:custGeom>
              <a:noFill/>
              <a:ln w="12700" cap="flat">
                <a:solidFill>
                  <a:schemeClr val="tx1">
                    <a:lumMod val="75000"/>
                    <a:lumOff val="25000"/>
                  </a:schemeClr>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Light" panose="020F0302020204030204"/>
                  <a:ea typeface="+mn-ea"/>
                  <a:cs typeface="+mn-cs"/>
                </a:endParaRPr>
              </a:p>
            </p:txBody>
          </p:sp>
          <p:sp>
            <p:nvSpPr>
              <p:cNvPr id="26" name="Oval 29">
                <a:extLst>
                  <a:ext uri="{FF2B5EF4-FFF2-40B4-BE49-F238E27FC236}">
                    <a16:creationId xmlns:a16="http://schemas.microsoft.com/office/drawing/2014/main" id="{75B351F0-DA08-46CF-A62E-937ABD7686E6}"/>
                  </a:ext>
                </a:extLst>
              </p:cNvPr>
              <p:cNvSpPr>
                <a:spLocks noChangeArrowheads="1"/>
              </p:cNvSpPr>
              <p:nvPr/>
            </p:nvSpPr>
            <p:spPr bwMode="auto">
              <a:xfrm>
                <a:off x="10048941" y="4145859"/>
                <a:ext cx="104775" cy="107769"/>
              </a:xfrm>
              <a:prstGeom prst="ellipse">
                <a:avLst/>
              </a:prstGeom>
              <a:solidFill>
                <a:schemeClr val="accent2"/>
              </a:solidFill>
              <a:ln w="12700">
                <a:solidFill>
                  <a:schemeClr val="tx1">
                    <a:lumMod val="75000"/>
                    <a:lumOff val="25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Light" panose="020F0302020204030204"/>
                  <a:ea typeface="+mn-ea"/>
                  <a:cs typeface="+mn-cs"/>
                </a:endParaRPr>
              </a:p>
            </p:txBody>
          </p:sp>
        </p:grpSp>
        <p:grpSp>
          <p:nvGrpSpPr>
            <p:cNvPr id="5" name="Group 4">
              <a:extLst>
                <a:ext uri="{FF2B5EF4-FFF2-40B4-BE49-F238E27FC236}">
                  <a16:creationId xmlns:a16="http://schemas.microsoft.com/office/drawing/2014/main" id="{98478547-6CE7-41EE-903C-EA494B21F970}"/>
                </a:ext>
              </a:extLst>
            </p:cNvPr>
            <p:cNvGrpSpPr/>
            <p:nvPr/>
          </p:nvGrpSpPr>
          <p:grpSpPr>
            <a:xfrm>
              <a:off x="3643893" y="4196161"/>
              <a:ext cx="614633" cy="607487"/>
              <a:chOff x="9403827" y="4904731"/>
              <a:chExt cx="643619" cy="636136"/>
            </a:xfrm>
          </p:grpSpPr>
          <p:sp>
            <p:nvSpPr>
              <p:cNvPr id="23" name="Freeform 6">
                <a:extLst>
                  <a:ext uri="{FF2B5EF4-FFF2-40B4-BE49-F238E27FC236}">
                    <a16:creationId xmlns:a16="http://schemas.microsoft.com/office/drawing/2014/main" id="{50F984D5-7D43-49CA-A513-4678A696306F}"/>
                  </a:ext>
                </a:extLst>
              </p:cNvPr>
              <p:cNvSpPr>
                <a:spLocks/>
              </p:cNvSpPr>
              <p:nvPr/>
            </p:nvSpPr>
            <p:spPr bwMode="auto">
              <a:xfrm>
                <a:off x="9403827" y="4934667"/>
                <a:ext cx="643619" cy="606200"/>
              </a:xfrm>
              <a:custGeom>
                <a:avLst/>
                <a:gdLst>
                  <a:gd name="T0" fmla="*/ 0 w 342"/>
                  <a:gd name="T1" fmla="*/ 322 h 322"/>
                  <a:gd name="T2" fmla="*/ 0 w 342"/>
                  <a:gd name="T3" fmla="*/ 120 h 322"/>
                  <a:gd name="T4" fmla="*/ 120 w 342"/>
                  <a:gd name="T5" fmla="*/ 0 h 322"/>
                  <a:gd name="T6" fmla="*/ 342 w 342"/>
                  <a:gd name="T7" fmla="*/ 0 h 322"/>
                </a:gdLst>
                <a:ahLst/>
                <a:cxnLst>
                  <a:cxn ang="0">
                    <a:pos x="T0" y="T1"/>
                  </a:cxn>
                  <a:cxn ang="0">
                    <a:pos x="T2" y="T3"/>
                  </a:cxn>
                  <a:cxn ang="0">
                    <a:pos x="T4" y="T5"/>
                  </a:cxn>
                  <a:cxn ang="0">
                    <a:pos x="T6" y="T7"/>
                  </a:cxn>
                </a:cxnLst>
                <a:rect l="0" t="0" r="r" b="b"/>
                <a:pathLst>
                  <a:path w="342" h="322">
                    <a:moveTo>
                      <a:pt x="0" y="322"/>
                    </a:moveTo>
                    <a:cubicBezTo>
                      <a:pt x="0" y="120"/>
                      <a:pt x="0" y="120"/>
                      <a:pt x="0" y="120"/>
                    </a:cubicBezTo>
                    <a:cubicBezTo>
                      <a:pt x="0" y="54"/>
                      <a:pt x="54" y="0"/>
                      <a:pt x="120" y="0"/>
                    </a:cubicBezTo>
                    <a:cubicBezTo>
                      <a:pt x="342" y="0"/>
                      <a:pt x="342" y="0"/>
                      <a:pt x="342" y="0"/>
                    </a:cubicBezTo>
                  </a:path>
                </a:pathLst>
              </a:custGeom>
              <a:noFill/>
              <a:ln w="12700" cap="flat">
                <a:solidFill>
                  <a:schemeClr val="tx1">
                    <a:lumMod val="75000"/>
                    <a:lumOff val="25000"/>
                  </a:schemeClr>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Light" panose="020F0302020204030204"/>
                  <a:ea typeface="+mn-ea"/>
                  <a:cs typeface="+mn-cs"/>
                </a:endParaRPr>
              </a:p>
            </p:txBody>
          </p:sp>
          <p:sp>
            <p:nvSpPr>
              <p:cNvPr id="24" name="Oval 33">
                <a:extLst>
                  <a:ext uri="{FF2B5EF4-FFF2-40B4-BE49-F238E27FC236}">
                    <a16:creationId xmlns:a16="http://schemas.microsoft.com/office/drawing/2014/main" id="{AA44299E-BBEC-496A-9E3F-A5A8642211AC}"/>
                  </a:ext>
                </a:extLst>
              </p:cNvPr>
              <p:cNvSpPr>
                <a:spLocks noChangeArrowheads="1"/>
              </p:cNvSpPr>
              <p:nvPr/>
            </p:nvSpPr>
            <p:spPr bwMode="auto">
              <a:xfrm>
                <a:off x="9480161" y="4904731"/>
                <a:ext cx="106272" cy="106272"/>
              </a:xfrm>
              <a:prstGeom prst="ellipse">
                <a:avLst/>
              </a:prstGeom>
              <a:solidFill>
                <a:schemeClr val="accent2"/>
              </a:solidFill>
              <a:ln w="12700">
                <a:solidFill>
                  <a:schemeClr val="tx1">
                    <a:lumMod val="75000"/>
                    <a:lumOff val="25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Light" panose="020F0302020204030204"/>
                  <a:ea typeface="+mn-ea"/>
                  <a:cs typeface="+mn-cs"/>
                </a:endParaRPr>
              </a:p>
            </p:txBody>
          </p:sp>
        </p:grpSp>
        <p:sp>
          <p:nvSpPr>
            <p:cNvPr id="6" name="Line 5">
              <a:extLst>
                <a:ext uri="{FF2B5EF4-FFF2-40B4-BE49-F238E27FC236}">
                  <a16:creationId xmlns:a16="http://schemas.microsoft.com/office/drawing/2014/main" id="{15BC0007-5B43-4719-99C7-E776B053A5C2}"/>
                </a:ext>
              </a:extLst>
            </p:cNvPr>
            <p:cNvSpPr>
              <a:spLocks noChangeShapeType="1"/>
            </p:cNvSpPr>
            <p:nvPr/>
          </p:nvSpPr>
          <p:spPr bwMode="auto">
            <a:xfrm flipV="1">
              <a:off x="3376597" y="1610412"/>
              <a:ext cx="0" cy="3117479"/>
            </a:xfrm>
            <a:prstGeom prst="line">
              <a:avLst/>
            </a:prstGeom>
            <a:noFill/>
            <a:ln w="12700" cap="flat">
              <a:solidFill>
                <a:schemeClr val="tx1">
                  <a:lumMod val="75000"/>
                  <a:lumOff val="25000"/>
                </a:schemeClr>
              </a:solidFill>
              <a:prstDash val="solid"/>
              <a:miter lim="800000"/>
              <a:headEnd/>
              <a:tailEnd/>
            </a:ln>
            <a:extLst>
              <a:ext uri="{909E8E84-426E-40dd-AFC4-6F175D3DCCD1}">
                <a14:hiddenFill xmlns=""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等线 Light" panose="020F0302020204030204"/>
                <a:ea typeface="+mn-ea"/>
                <a:cs typeface="+mn-cs"/>
              </a:endParaRPr>
            </a:p>
          </p:txBody>
        </p:sp>
        <p:grpSp>
          <p:nvGrpSpPr>
            <p:cNvPr id="7" name="Group 6">
              <a:extLst>
                <a:ext uri="{FF2B5EF4-FFF2-40B4-BE49-F238E27FC236}">
                  <a16:creationId xmlns:a16="http://schemas.microsoft.com/office/drawing/2014/main" id="{118BF678-39C8-48FE-A0E4-DBB50743388C}"/>
                </a:ext>
              </a:extLst>
            </p:cNvPr>
            <p:cNvGrpSpPr/>
            <p:nvPr/>
          </p:nvGrpSpPr>
          <p:grpSpPr>
            <a:xfrm>
              <a:off x="2077290" y="2222187"/>
              <a:ext cx="1183527" cy="2421370"/>
              <a:chOff x="7763344" y="2837666"/>
              <a:chExt cx="1239341" cy="2535560"/>
            </a:xfrm>
          </p:grpSpPr>
          <p:sp>
            <p:nvSpPr>
              <p:cNvPr id="21" name="Freeform 11">
                <a:extLst>
                  <a:ext uri="{FF2B5EF4-FFF2-40B4-BE49-F238E27FC236}">
                    <a16:creationId xmlns:a16="http://schemas.microsoft.com/office/drawing/2014/main" id="{5855F3D3-5C10-4CDE-A19E-5E4AB75EE46D}"/>
                  </a:ext>
                </a:extLst>
              </p:cNvPr>
              <p:cNvSpPr>
                <a:spLocks/>
              </p:cNvSpPr>
              <p:nvPr/>
            </p:nvSpPr>
            <p:spPr bwMode="auto">
              <a:xfrm>
                <a:off x="7763344" y="2888556"/>
                <a:ext cx="1239341" cy="2484670"/>
              </a:xfrm>
              <a:custGeom>
                <a:avLst/>
                <a:gdLst>
                  <a:gd name="T0" fmla="*/ 659 w 659"/>
                  <a:gd name="T1" fmla="*/ 1322 h 1322"/>
                  <a:gd name="T2" fmla="*/ 659 w 659"/>
                  <a:gd name="T3" fmla="*/ 120 h 1322"/>
                  <a:gd name="T4" fmla="*/ 539 w 659"/>
                  <a:gd name="T5" fmla="*/ 0 h 1322"/>
                  <a:gd name="T6" fmla="*/ 0 w 659"/>
                  <a:gd name="T7" fmla="*/ 0 h 1322"/>
                </a:gdLst>
                <a:ahLst/>
                <a:cxnLst>
                  <a:cxn ang="0">
                    <a:pos x="T0" y="T1"/>
                  </a:cxn>
                  <a:cxn ang="0">
                    <a:pos x="T2" y="T3"/>
                  </a:cxn>
                  <a:cxn ang="0">
                    <a:pos x="T4" y="T5"/>
                  </a:cxn>
                  <a:cxn ang="0">
                    <a:pos x="T6" y="T7"/>
                  </a:cxn>
                </a:cxnLst>
                <a:rect l="0" t="0" r="r" b="b"/>
                <a:pathLst>
                  <a:path w="659" h="1322">
                    <a:moveTo>
                      <a:pt x="659" y="1322"/>
                    </a:moveTo>
                    <a:cubicBezTo>
                      <a:pt x="659" y="120"/>
                      <a:pt x="659" y="120"/>
                      <a:pt x="659" y="120"/>
                    </a:cubicBezTo>
                    <a:cubicBezTo>
                      <a:pt x="659" y="54"/>
                      <a:pt x="605" y="0"/>
                      <a:pt x="539" y="0"/>
                    </a:cubicBezTo>
                    <a:cubicBezTo>
                      <a:pt x="0" y="0"/>
                      <a:pt x="0" y="0"/>
                      <a:pt x="0" y="0"/>
                    </a:cubicBezTo>
                  </a:path>
                </a:pathLst>
              </a:custGeom>
              <a:noFill/>
              <a:ln w="12700" cap="flat">
                <a:solidFill>
                  <a:schemeClr val="tx1">
                    <a:lumMod val="75000"/>
                    <a:lumOff val="25000"/>
                  </a:schemeClr>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等线 Light" panose="020F0302020204030204"/>
                  <a:ea typeface="+mn-ea"/>
                  <a:cs typeface="+mn-cs"/>
                </a:endParaRPr>
              </a:p>
            </p:txBody>
          </p:sp>
          <p:sp>
            <p:nvSpPr>
              <p:cNvPr id="22" name="Oval 35">
                <a:extLst>
                  <a:ext uri="{FF2B5EF4-FFF2-40B4-BE49-F238E27FC236}">
                    <a16:creationId xmlns:a16="http://schemas.microsoft.com/office/drawing/2014/main" id="{FA2A6891-101A-49D7-B365-55291F25EC9F}"/>
                  </a:ext>
                </a:extLst>
              </p:cNvPr>
              <p:cNvSpPr>
                <a:spLocks noChangeArrowheads="1"/>
              </p:cNvSpPr>
              <p:nvPr/>
            </p:nvSpPr>
            <p:spPr bwMode="auto">
              <a:xfrm>
                <a:off x="8357569" y="2837666"/>
                <a:ext cx="104775" cy="107769"/>
              </a:xfrm>
              <a:prstGeom prst="ellipse">
                <a:avLst/>
              </a:prstGeom>
              <a:solidFill>
                <a:schemeClr val="accent1"/>
              </a:solidFill>
              <a:ln w="12700">
                <a:solidFill>
                  <a:schemeClr val="tx1">
                    <a:lumMod val="75000"/>
                    <a:lumOff val="25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Light" panose="020F0302020204030204"/>
                  <a:ea typeface="+mn-ea"/>
                  <a:cs typeface="+mn-cs"/>
                </a:endParaRPr>
              </a:p>
            </p:txBody>
          </p:sp>
        </p:grpSp>
        <p:grpSp>
          <p:nvGrpSpPr>
            <p:cNvPr id="8" name="Group 7">
              <a:extLst>
                <a:ext uri="{FF2B5EF4-FFF2-40B4-BE49-F238E27FC236}">
                  <a16:creationId xmlns:a16="http://schemas.microsoft.com/office/drawing/2014/main" id="{D7B5B9FE-5CC0-4978-8478-3C32A63E1690}"/>
                </a:ext>
              </a:extLst>
            </p:cNvPr>
            <p:cNvGrpSpPr/>
            <p:nvPr/>
          </p:nvGrpSpPr>
          <p:grpSpPr>
            <a:xfrm>
              <a:off x="2075859" y="3255629"/>
              <a:ext cx="1052024" cy="1472260"/>
              <a:chOff x="7761847" y="3919844"/>
              <a:chExt cx="1101637" cy="1541691"/>
            </a:xfrm>
          </p:grpSpPr>
          <p:sp>
            <p:nvSpPr>
              <p:cNvPr id="19" name="Freeform 8">
                <a:extLst>
                  <a:ext uri="{FF2B5EF4-FFF2-40B4-BE49-F238E27FC236}">
                    <a16:creationId xmlns:a16="http://schemas.microsoft.com/office/drawing/2014/main" id="{75B22E18-D13A-441F-80A1-8C7EF4601FF6}"/>
                  </a:ext>
                </a:extLst>
              </p:cNvPr>
              <p:cNvSpPr>
                <a:spLocks/>
              </p:cNvSpPr>
              <p:nvPr/>
            </p:nvSpPr>
            <p:spPr bwMode="auto">
              <a:xfrm>
                <a:off x="7761847" y="3972230"/>
                <a:ext cx="1101637" cy="1489305"/>
              </a:xfrm>
              <a:custGeom>
                <a:avLst/>
                <a:gdLst>
                  <a:gd name="T0" fmla="*/ 586 w 586"/>
                  <a:gd name="T1" fmla="*/ 792 h 792"/>
                  <a:gd name="T2" fmla="*/ 586 w 586"/>
                  <a:gd name="T3" fmla="*/ 120 h 792"/>
                  <a:gd name="T4" fmla="*/ 467 w 586"/>
                  <a:gd name="T5" fmla="*/ 0 h 792"/>
                  <a:gd name="T6" fmla="*/ 0 w 586"/>
                  <a:gd name="T7" fmla="*/ 0 h 792"/>
                </a:gdLst>
                <a:ahLst/>
                <a:cxnLst>
                  <a:cxn ang="0">
                    <a:pos x="T0" y="T1"/>
                  </a:cxn>
                  <a:cxn ang="0">
                    <a:pos x="T2" y="T3"/>
                  </a:cxn>
                  <a:cxn ang="0">
                    <a:pos x="T4" y="T5"/>
                  </a:cxn>
                  <a:cxn ang="0">
                    <a:pos x="T6" y="T7"/>
                  </a:cxn>
                </a:cxnLst>
                <a:rect l="0" t="0" r="r" b="b"/>
                <a:pathLst>
                  <a:path w="586" h="792">
                    <a:moveTo>
                      <a:pt x="586" y="792"/>
                    </a:moveTo>
                    <a:cubicBezTo>
                      <a:pt x="586" y="120"/>
                      <a:pt x="586" y="120"/>
                      <a:pt x="586" y="120"/>
                    </a:cubicBezTo>
                    <a:cubicBezTo>
                      <a:pt x="586" y="54"/>
                      <a:pt x="533" y="0"/>
                      <a:pt x="467" y="0"/>
                    </a:cubicBezTo>
                    <a:cubicBezTo>
                      <a:pt x="0" y="0"/>
                      <a:pt x="0" y="0"/>
                      <a:pt x="0" y="0"/>
                    </a:cubicBezTo>
                  </a:path>
                </a:pathLst>
              </a:custGeom>
              <a:noFill/>
              <a:ln w="12700" cap="flat">
                <a:solidFill>
                  <a:schemeClr val="tx1">
                    <a:lumMod val="75000"/>
                    <a:lumOff val="25000"/>
                  </a:schemeClr>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Light" panose="020F0302020204030204"/>
                  <a:ea typeface="+mn-ea"/>
                  <a:cs typeface="+mn-cs"/>
                </a:endParaRPr>
              </a:p>
            </p:txBody>
          </p:sp>
          <p:sp>
            <p:nvSpPr>
              <p:cNvPr id="20" name="Oval 36">
                <a:extLst>
                  <a:ext uri="{FF2B5EF4-FFF2-40B4-BE49-F238E27FC236}">
                    <a16:creationId xmlns:a16="http://schemas.microsoft.com/office/drawing/2014/main" id="{47D56F03-4D05-4C25-8485-6E4C5A90647B}"/>
                  </a:ext>
                </a:extLst>
              </p:cNvPr>
              <p:cNvSpPr>
                <a:spLocks noChangeArrowheads="1"/>
              </p:cNvSpPr>
              <p:nvPr/>
            </p:nvSpPr>
            <p:spPr bwMode="auto">
              <a:xfrm>
                <a:off x="8469828" y="3919844"/>
                <a:ext cx="107769" cy="106272"/>
              </a:xfrm>
              <a:prstGeom prst="ellipse">
                <a:avLst/>
              </a:prstGeom>
              <a:solidFill>
                <a:schemeClr val="accent1"/>
              </a:solidFill>
              <a:ln w="12700">
                <a:solidFill>
                  <a:schemeClr val="tx1">
                    <a:lumMod val="75000"/>
                    <a:lumOff val="25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Light" panose="020F0302020204030204"/>
                  <a:ea typeface="+mn-ea"/>
                  <a:cs typeface="+mn-cs"/>
                </a:endParaRPr>
              </a:p>
            </p:txBody>
          </p:sp>
        </p:grpSp>
        <p:grpSp>
          <p:nvGrpSpPr>
            <p:cNvPr id="9" name="Group 8">
              <a:extLst>
                <a:ext uri="{FF2B5EF4-FFF2-40B4-BE49-F238E27FC236}">
                  <a16:creationId xmlns:a16="http://schemas.microsoft.com/office/drawing/2014/main" id="{7C567E5F-470C-4BCD-989C-694CE40024BD}"/>
                </a:ext>
              </a:extLst>
            </p:cNvPr>
            <p:cNvGrpSpPr/>
            <p:nvPr/>
          </p:nvGrpSpPr>
          <p:grpSpPr>
            <a:xfrm>
              <a:off x="1598448" y="3880268"/>
              <a:ext cx="1529437" cy="1142075"/>
              <a:chOff x="7261920" y="4573941"/>
              <a:chExt cx="1601564" cy="1195934"/>
            </a:xfrm>
          </p:grpSpPr>
          <p:sp>
            <p:nvSpPr>
              <p:cNvPr id="17" name="Freeform 9">
                <a:extLst>
                  <a:ext uri="{FF2B5EF4-FFF2-40B4-BE49-F238E27FC236}">
                    <a16:creationId xmlns:a16="http://schemas.microsoft.com/office/drawing/2014/main" id="{507BCBBD-5E7A-4C1F-BCC9-22AF7243FF2F}"/>
                  </a:ext>
                </a:extLst>
              </p:cNvPr>
              <p:cNvSpPr>
                <a:spLocks/>
              </p:cNvSpPr>
              <p:nvPr/>
            </p:nvSpPr>
            <p:spPr bwMode="auto">
              <a:xfrm>
                <a:off x="7261920" y="4629322"/>
                <a:ext cx="1601564" cy="1140553"/>
              </a:xfrm>
              <a:custGeom>
                <a:avLst/>
                <a:gdLst>
                  <a:gd name="T0" fmla="*/ 852 w 852"/>
                  <a:gd name="T1" fmla="*/ 607 h 607"/>
                  <a:gd name="T2" fmla="*/ 852 w 852"/>
                  <a:gd name="T3" fmla="*/ 119 h 607"/>
                  <a:gd name="T4" fmla="*/ 733 w 852"/>
                  <a:gd name="T5" fmla="*/ 0 h 607"/>
                  <a:gd name="T6" fmla="*/ 0 w 852"/>
                  <a:gd name="T7" fmla="*/ 0 h 607"/>
                </a:gdLst>
                <a:ahLst/>
                <a:cxnLst>
                  <a:cxn ang="0">
                    <a:pos x="T0" y="T1"/>
                  </a:cxn>
                  <a:cxn ang="0">
                    <a:pos x="T2" y="T3"/>
                  </a:cxn>
                  <a:cxn ang="0">
                    <a:pos x="T4" y="T5"/>
                  </a:cxn>
                  <a:cxn ang="0">
                    <a:pos x="T6" y="T7"/>
                  </a:cxn>
                </a:cxnLst>
                <a:rect l="0" t="0" r="r" b="b"/>
                <a:pathLst>
                  <a:path w="852" h="607">
                    <a:moveTo>
                      <a:pt x="852" y="607"/>
                    </a:moveTo>
                    <a:cubicBezTo>
                      <a:pt x="852" y="119"/>
                      <a:pt x="852" y="119"/>
                      <a:pt x="852" y="119"/>
                    </a:cubicBezTo>
                    <a:cubicBezTo>
                      <a:pt x="852" y="53"/>
                      <a:pt x="799" y="0"/>
                      <a:pt x="733" y="0"/>
                    </a:cubicBezTo>
                    <a:cubicBezTo>
                      <a:pt x="0" y="0"/>
                      <a:pt x="0" y="0"/>
                      <a:pt x="0" y="0"/>
                    </a:cubicBezTo>
                  </a:path>
                </a:pathLst>
              </a:custGeom>
              <a:noFill/>
              <a:ln w="12700" cap="flat">
                <a:solidFill>
                  <a:schemeClr val="tx1">
                    <a:lumMod val="75000"/>
                    <a:lumOff val="25000"/>
                  </a:schemeClr>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Light" panose="020F0302020204030204"/>
                  <a:ea typeface="+mn-ea"/>
                  <a:cs typeface="+mn-cs"/>
                </a:endParaRPr>
              </a:p>
            </p:txBody>
          </p:sp>
          <p:sp>
            <p:nvSpPr>
              <p:cNvPr id="18" name="Oval 37">
                <a:extLst>
                  <a:ext uri="{FF2B5EF4-FFF2-40B4-BE49-F238E27FC236}">
                    <a16:creationId xmlns:a16="http://schemas.microsoft.com/office/drawing/2014/main" id="{DA844CBC-DF26-417F-9F48-965F8B3D9B02}"/>
                  </a:ext>
                </a:extLst>
              </p:cNvPr>
              <p:cNvSpPr>
                <a:spLocks noChangeArrowheads="1"/>
              </p:cNvSpPr>
              <p:nvPr/>
            </p:nvSpPr>
            <p:spPr bwMode="auto">
              <a:xfrm>
                <a:off x="7872609" y="4573941"/>
                <a:ext cx="106272" cy="107769"/>
              </a:xfrm>
              <a:prstGeom prst="ellipse">
                <a:avLst/>
              </a:prstGeom>
              <a:solidFill>
                <a:schemeClr val="accent1"/>
              </a:solidFill>
              <a:ln w="12700">
                <a:solidFill>
                  <a:schemeClr val="tx1">
                    <a:lumMod val="75000"/>
                    <a:lumOff val="25000"/>
                  </a:schemeClr>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Light" panose="020F0302020204030204"/>
                  <a:ea typeface="+mn-ea"/>
                  <a:cs typeface="+mn-cs"/>
                </a:endParaRPr>
              </a:p>
            </p:txBody>
          </p:sp>
        </p:grpSp>
        <p:sp>
          <p:nvSpPr>
            <p:cNvPr id="10" name="Oval 17">
              <a:extLst>
                <a:ext uri="{FF2B5EF4-FFF2-40B4-BE49-F238E27FC236}">
                  <a16:creationId xmlns:a16="http://schemas.microsoft.com/office/drawing/2014/main" id="{0A55B8C2-0C39-4316-9B88-741AC623D0CD}"/>
                </a:ext>
              </a:extLst>
            </p:cNvPr>
            <p:cNvSpPr>
              <a:spLocks noChangeArrowheads="1"/>
            </p:cNvSpPr>
            <p:nvPr/>
          </p:nvSpPr>
          <p:spPr bwMode="auto">
            <a:xfrm>
              <a:off x="4876017" y="3272782"/>
              <a:ext cx="521724" cy="521724"/>
            </a:xfrm>
            <a:prstGeom prst="ellipse">
              <a:avLst/>
            </a:prstGeom>
            <a:solidFill>
              <a:schemeClr val="accent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等线 Light" panose="020F0302020204030204"/>
                  <a:ea typeface="+mn-ea"/>
                  <a:cs typeface="+mn-cs"/>
                </a:rPr>
                <a:t>05</a:t>
              </a:r>
            </a:p>
          </p:txBody>
        </p:sp>
        <p:sp>
          <p:nvSpPr>
            <p:cNvPr id="11" name="Oval 19">
              <a:extLst>
                <a:ext uri="{FF2B5EF4-FFF2-40B4-BE49-F238E27FC236}">
                  <a16:creationId xmlns:a16="http://schemas.microsoft.com/office/drawing/2014/main" id="{8798AC67-3099-49CC-BC9C-A51E89C450B4}"/>
                </a:ext>
              </a:extLst>
            </p:cNvPr>
            <p:cNvSpPr>
              <a:spLocks noChangeArrowheads="1"/>
            </p:cNvSpPr>
            <p:nvPr/>
          </p:nvSpPr>
          <p:spPr bwMode="auto">
            <a:xfrm>
              <a:off x="4204208" y="2335108"/>
              <a:ext cx="523154" cy="523153"/>
            </a:xfrm>
            <a:prstGeom prst="ellipse">
              <a:avLst/>
            </a:prstGeom>
            <a:solidFill>
              <a:schemeClr val="accent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等线 Light" panose="020F0302020204030204"/>
                  <a:ea typeface="+mn-ea"/>
                  <a:cs typeface="+mn-cs"/>
                </a:rPr>
                <a:t>04</a:t>
              </a:r>
            </a:p>
          </p:txBody>
        </p:sp>
        <p:sp>
          <p:nvSpPr>
            <p:cNvPr id="12" name="Oval 23">
              <a:extLst>
                <a:ext uri="{FF2B5EF4-FFF2-40B4-BE49-F238E27FC236}">
                  <a16:creationId xmlns:a16="http://schemas.microsoft.com/office/drawing/2014/main" id="{F42EA646-C969-479F-84B0-95C3C6AEDF8F}"/>
                </a:ext>
              </a:extLst>
            </p:cNvPr>
            <p:cNvSpPr>
              <a:spLocks noChangeArrowheads="1"/>
            </p:cNvSpPr>
            <p:nvPr/>
          </p:nvSpPr>
          <p:spPr bwMode="auto">
            <a:xfrm>
              <a:off x="1779978" y="2012068"/>
              <a:ext cx="521724" cy="521724"/>
            </a:xfrm>
            <a:prstGeom prst="ellipse">
              <a:avLst/>
            </a:pr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等线 Light" panose="020F0302020204030204"/>
                  <a:ea typeface="+mn-ea"/>
                  <a:cs typeface="+mn-cs"/>
                </a:rPr>
                <a:t>03</a:t>
              </a:r>
            </a:p>
          </p:txBody>
        </p:sp>
        <p:sp>
          <p:nvSpPr>
            <p:cNvPr id="13" name="Oval 25">
              <a:extLst>
                <a:ext uri="{FF2B5EF4-FFF2-40B4-BE49-F238E27FC236}">
                  <a16:creationId xmlns:a16="http://schemas.microsoft.com/office/drawing/2014/main" id="{992ED709-7609-4C2F-920B-4B210F914AF5}"/>
                </a:ext>
              </a:extLst>
            </p:cNvPr>
            <p:cNvSpPr>
              <a:spLocks noChangeArrowheads="1"/>
            </p:cNvSpPr>
            <p:nvPr/>
          </p:nvSpPr>
          <p:spPr bwMode="auto">
            <a:xfrm>
              <a:off x="1922916" y="3016922"/>
              <a:ext cx="524583" cy="523153"/>
            </a:xfrm>
            <a:prstGeom prst="ellipse">
              <a:avLst/>
            </a:pr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等线 Light" panose="020F0302020204030204"/>
                  <a:ea typeface="+mn-ea"/>
                  <a:cs typeface="+mn-cs"/>
                </a:rPr>
                <a:t>02</a:t>
              </a:r>
            </a:p>
          </p:txBody>
        </p:sp>
        <p:sp>
          <p:nvSpPr>
            <p:cNvPr id="14" name="Oval 27">
              <a:extLst>
                <a:ext uri="{FF2B5EF4-FFF2-40B4-BE49-F238E27FC236}">
                  <a16:creationId xmlns:a16="http://schemas.microsoft.com/office/drawing/2014/main" id="{A2D6B3D7-87E5-4F36-B530-8BD32B2A055C}"/>
                </a:ext>
              </a:extLst>
            </p:cNvPr>
            <p:cNvSpPr>
              <a:spLocks noChangeArrowheads="1"/>
            </p:cNvSpPr>
            <p:nvPr/>
          </p:nvSpPr>
          <p:spPr bwMode="auto">
            <a:xfrm>
              <a:off x="1253966" y="3680155"/>
              <a:ext cx="521724" cy="521724"/>
            </a:xfrm>
            <a:prstGeom prst="ellipse">
              <a:avLst/>
            </a:pr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等线 Light" panose="020F0302020204030204"/>
                  <a:ea typeface="+mn-ea"/>
                  <a:cs typeface="+mn-cs"/>
                </a:rPr>
                <a:t>01</a:t>
              </a:r>
            </a:p>
          </p:txBody>
        </p:sp>
        <p:sp>
          <p:nvSpPr>
            <p:cNvPr id="15" name="Oval 17">
              <a:extLst>
                <a:ext uri="{FF2B5EF4-FFF2-40B4-BE49-F238E27FC236}">
                  <a16:creationId xmlns:a16="http://schemas.microsoft.com/office/drawing/2014/main" id="{2DF105DC-137E-47E7-9124-02BB846AD98A}"/>
                </a:ext>
              </a:extLst>
            </p:cNvPr>
            <p:cNvSpPr>
              <a:spLocks noChangeArrowheads="1"/>
            </p:cNvSpPr>
            <p:nvPr/>
          </p:nvSpPr>
          <p:spPr bwMode="auto">
            <a:xfrm>
              <a:off x="4027679" y="3973892"/>
              <a:ext cx="521724" cy="521724"/>
            </a:xfrm>
            <a:prstGeom prst="ellipse">
              <a:avLst/>
            </a:prstGeom>
            <a:solidFill>
              <a:schemeClr val="accent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等线 Light" panose="020F0302020204030204"/>
                  <a:ea typeface="+mn-ea"/>
                  <a:cs typeface="+mn-cs"/>
                </a:rPr>
                <a:t>06</a:t>
              </a:r>
            </a:p>
          </p:txBody>
        </p:sp>
        <p:sp>
          <p:nvSpPr>
            <p:cNvPr id="16" name="TextBox 15">
              <a:extLst>
                <a:ext uri="{FF2B5EF4-FFF2-40B4-BE49-F238E27FC236}">
                  <a16:creationId xmlns:a16="http://schemas.microsoft.com/office/drawing/2014/main" id="{EAB2E5A4-97A9-414C-A478-2661299B7F06}"/>
                </a:ext>
              </a:extLst>
            </p:cNvPr>
            <p:cNvSpPr txBox="1"/>
            <p:nvPr/>
          </p:nvSpPr>
          <p:spPr>
            <a:xfrm>
              <a:off x="2595705" y="1378170"/>
              <a:ext cx="1561782" cy="432792"/>
            </a:xfrm>
            <a:prstGeom prst="roundRect">
              <a:avLst>
                <a:gd name="adj" fmla="val 50000"/>
              </a:avLst>
            </a:prstGeom>
            <a:solidFill>
              <a:schemeClr val="accent3">
                <a:lumMod val="75000"/>
              </a:schemeClr>
            </a:solid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等线 Light" panose="020F0302020204030204"/>
                  <a:ea typeface="Roboto" panose="02000000000000000000" pitchFamily="2" charset="0"/>
                  <a:cs typeface="+mn-cs"/>
                </a:rPr>
                <a:t>Title Text Here</a:t>
              </a:r>
            </a:p>
          </p:txBody>
        </p:sp>
      </p:grpSp>
      <p:grpSp>
        <p:nvGrpSpPr>
          <p:cNvPr id="29" name="Group 37">
            <a:extLst>
              <a:ext uri="{FF2B5EF4-FFF2-40B4-BE49-F238E27FC236}">
                <a16:creationId xmlns:a16="http://schemas.microsoft.com/office/drawing/2014/main" id="{1405327D-2CD9-4E24-9A62-10DEB97446D3}"/>
              </a:ext>
            </a:extLst>
          </p:cNvPr>
          <p:cNvGrpSpPr/>
          <p:nvPr/>
        </p:nvGrpSpPr>
        <p:grpSpPr>
          <a:xfrm>
            <a:off x="6349516" y="3882625"/>
            <a:ext cx="2467375" cy="323441"/>
            <a:chOff x="6384997" y="2658568"/>
            <a:chExt cx="2467375" cy="323441"/>
          </a:xfrm>
        </p:grpSpPr>
        <p:sp>
          <p:nvSpPr>
            <p:cNvPr id="30" name="TextBox 38">
              <a:extLst>
                <a:ext uri="{FF2B5EF4-FFF2-40B4-BE49-F238E27FC236}">
                  <a16:creationId xmlns:a16="http://schemas.microsoft.com/office/drawing/2014/main" id="{AAAE8339-F000-4655-9881-D42EDF609F38}"/>
                </a:ext>
              </a:extLst>
            </p:cNvPr>
            <p:cNvSpPr txBox="1"/>
            <p:nvPr/>
          </p:nvSpPr>
          <p:spPr>
            <a:xfrm>
              <a:off x="6855692" y="2658568"/>
              <a:ext cx="199668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lumMod val="65000"/>
                      <a:lumOff val="35000"/>
                    </a:srgbClr>
                  </a:solidFill>
                  <a:effectLst/>
                  <a:uLnTx/>
                  <a:uFillTx/>
                  <a:latin typeface="等线" panose="020F0502020204030204"/>
                  <a:ea typeface="Open Sans" panose="020B0606030504020204" pitchFamily="34" charset="0"/>
                  <a:cs typeface="Open Sans" panose="020B0606030504020204" pitchFamily="34" charset="0"/>
                </a:rPr>
                <a:t>Project Planning</a:t>
              </a:r>
            </a:p>
          </p:txBody>
        </p:sp>
        <p:pic>
          <p:nvPicPr>
            <p:cNvPr id="31" name="Graphic 39">
              <a:extLst>
                <a:ext uri="{FF2B5EF4-FFF2-40B4-BE49-F238E27FC236}">
                  <a16:creationId xmlns:a16="http://schemas.microsoft.com/office/drawing/2014/main" id="{D3ABC25A-2E0C-45CB-AB20-8F53994F7382}"/>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384997" y="2691120"/>
              <a:ext cx="290889" cy="290889"/>
            </a:xfrm>
            <a:prstGeom prst="rect">
              <a:avLst/>
            </a:prstGeom>
          </p:spPr>
        </p:pic>
      </p:grpSp>
      <p:grpSp>
        <p:nvGrpSpPr>
          <p:cNvPr id="32" name="Group 40">
            <a:extLst>
              <a:ext uri="{FF2B5EF4-FFF2-40B4-BE49-F238E27FC236}">
                <a16:creationId xmlns:a16="http://schemas.microsoft.com/office/drawing/2014/main" id="{99A29D0D-37C9-42B9-B14E-CA36016B997E}"/>
              </a:ext>
            </a:extLst>
          </p:cNvPr>
          <p:cNvGrpSpPr/>
          <p:nvPr/>
        </p:nvGrpSpPr>
        <p:grpSpPr>
          <a:xfrm>
            <a:off x="6349516" y="4483830"/>
            <a:ext cx="2467375" cy="323441"/>
            <a:chOff x="6384997" y="3259773"/>
            <a:chExt cx="2467375" cy="323441"/>
          </a:xfrm>
        </p:grpSpPr>
        <p:sp>
          <p:nvSpPr>
            <p:cNvPr id="33" name="TextBox 41">
              <a:extLst>
                <a:ext uri="{FF2B5EF4-FFF2-40B4-BE49-F238E27FC236}">
                  <a16:creationId xmlns:a16="http://schemas.microsoft.com/office/drawing/2014/main" id="{C4BB5DC4-C7DC-4BFF-B029-0F7C21302869}"/>
                </a:ext>
              </a:extLst>
            </p:cNvPr>
            <p:cNvSpPr txBox="1"/>
            <p:nvPr/>
          </p:nvSpPr>
          <p:spPr>
            <a:xfrm>
              <a:off x="6855692" y="3259773"/>
              <a:ext cx="199668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lumMod val="65000"/>
                      <a:lumOff val="35000"/>
                    </a:srgbClr>
                  </a:solidFill>
                  <a:effectLst/>
                  <a:uLnTx/>
                  <a:uFillTx/>
                  <a:latin typeface="等线" panose="020F0502020204030204"/>
                  <a:ea typeface="Open Sans" panose="020B0606030504020204" pitchFamily="34" charset="0"/>
                  <a:cs typeface="Open Sans" panose="020B0606030504020204" pitchFamily="34" charset="0"/>
                </a:rPr>
                <a:t>Marketing Strategy</a:t>
              </a:r>
            </a:p>
          </p:txBody>
        </p:sp>
        <p:pic>
          <p:nvPicPr>
            <p:cNvPr id="34" name="Graphic 42">
              <a:extLst>
                <a:ext uri="{FF2B5EF4-FFF2-40B4-BE49-F238E27FC236}">
                  <a16:creationId xmlns:a16="http://schemas.microsoft.com/office/drawing/2014/main" id="{EEC17DD6-449D-4A87-B5E8-B8F4F5105F30}"/>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384997" y="3292325"/>
              <a:ext cx="290889" cy="290889"/>
            </a:xfrm>
            <a:prstGeom prst="rect">
              <a:avLst/>
            </a:prstGeom>
          </p:spPr>
        </p:pic>
      </p:grpSp>
      <p:grpSp>
        <p:nvGrpSpPr>
          <p:cNvPr id="35" name="Group 43">
            <a:extLst>
              <a:ext uri="{FF2B5EF4-FFF2-40B4-BE49-F238E27FC236}">
                <a16:creationId xmlns:a16="http://schemas.microsoft.com/office/drawing/2014/main" id="{BD64DFF9-02A9-4B6E-A1D6-7C7C6584DC0F}"/>
              </a:ext>
            </a:extLst>
          </p:cNvPr>
          <p:cNvGrpSpPr/>
          <p:nvPr/>
        </p:nvGrpSpPr>
        <p:grpSpPr>
          <a:xfrm>
            <a:off x="6349516" y="5084935"/>
            <a:ext cx="2467375" cy="323441"/>
            <a:chOff x="6384997" y="3860878"/>
            <a:chExt cx="2467375" cy="323441"/>
          </a:xfrm>
        </p:grpSpPr>
        <p:sp>
          <p:nvSpPr>
            <p:cNvPr id="36" name="TextBox 44">
              <a:extLst>
                <a:ext uri="{FF2B5EF4-FFF2-40B4-BE49-F238E27FC236}">
                  <a16:creationId xmlns:a16="http://schemas.microsoft.com/office/drawing/2014/main" id="{B0CEB40A-D08B-4592-AABB-4472A5EE388A}"/>
                </a:ext>
              </a:extLst>
            </p:cNvPr>
            <p:cNvSpPr txBox="1"/>
            <p:nvPr/>
          </p:nvSpPr>
          <p:spPr>
            <a:xfrm>
              <a:off x="6855692" y="3860878"/>
              <a:ext cx="199668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lumMod val="65000"/>
                      <a:lumOff val="35000"/>
                    </a:srgbClr>
                  </a:solidFill>
                  <a:effectLst/>
                  <a:uLnTx/>
                  <a:uFillTx/>
                  <a:latin typeface="等线" panose="020F0502020204030204"/>
                  <a:ea typeface="Open Sans" panose="020B0606030504020204" pitchFamily="34" charset="0"/>
                  <a:cs typeface="Open Sans" panose="020B0606030504020204" pitchFamily="34" charset="0"/>
                </a:rPr>
                <a:t>Product Quality</a:t>
              </a:r>
            </a:p>
          </p:txBody>
        </p:sp>
        <p:pic>
          <p:nvPicPr>
            <p:cNvPr id="37" name="Graphic 45">
              <a:extLst>
                <a:ext uri="{FF2B5EF4-FFF2-40B4-BE49-F238E27FC236}">
                  <a16:creationId xmlns:a16="http://schemas.microsoft.com/office/drawing/2014/main" id="{324471DD-1221-40DA-AC50-B84F3F724B1B}"/>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384997" y="3893430"/>
              <a:ext cx="290889" cy="290889"/>
            </a:xfrm>
            <a:prstGeom prst="rect">
              <a:avLst/>
            </a:prstGeom>
          </p:spPr>
        </p:pic>
      </p:grpSp>
      <p:grpSp>
        <p:nvGrpSpPr>
          <p:cNvPr id="38" name="Group 46">
            <a:extLst>
              <a:ext uri="{FF2B5EF4-FFF2-40B4-BE49-F238E27FC236}">
                <a16:creationId xmlns:a16="http://schemas.microsoft.com/office/drawing/2014/main" id="{89D7275B-FF00-471D-A1A7-F8BDF08A5840}"/>
              </a:ext>
            </a:extLst>
          </p:cNvPr>
          <p:cNvGrpSpPr/>
          <p:nvPr/>
        </p:nvGrpSpPr>
        <p:grpSpPr>
          <a:xfrm>
            <a:off x="9089037" y="3882625"/>
            <a:ext cx="2467375" cy="323441"/>
            <a:chOff x="9124518" y="2658568"/>
            <a:chExt cx="2467375" cy="323441"/>
          </a:xfrm>
        </p:grpSpPr>
        <p:sp>
          <p:nvSpPr>
            <p:cNvPr id="39" name="TextBox 47">
              <a:extLst>
                <a:ext uri="{FF2B5EF4-FFF2-40B4-BE49-F238E27FC236}">
                  <a16:creationId xmlns:a16="http://schemas.microsoft.com/office/drawing/2014/main" id="{97C2EDD0-8298-4D77-A0EC-066FB46BC75E}"/>
                </a:ext>
              </a:extLst>
            </p:cNvPr>
            <p:cNvSpPr txBox="1"/>
            <p:nvPr/>
          </p:nvSpPr>
          <p:spPr>
            <a:xfrm>
              <a:off x="9595213" y="2658568"/>
              <a:ext cx="199668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lumMod val="65000"/>
                      <a:lumOff val="35000"/>
                    </a:srgbClr>
                  </a:solidFill>
                  <a:effectLst/>
                  <a:uLnTx/>
                  <a:uFillTx/>
                  <a:latin typeface="等线" panose="020F0502020204030204"/>
                  <a:ea typeface="Open Sans" panose="020B0606030504020204" pitchFamily="34" charset="0"/>
                  <a:cs typeface="Open Sans" panose="020B0606030504020204" pitchFamily="34" charset="0"/>
                </a:rPr>
                <a:t>Business Model</a:t>
              </a:r>
            </a:p>
          </p:txBody>
        </p:sp>
        <p:pic>
          <p:nvPicPr>
            <p:cNvPr id="40" name="Graphic 48">
              <a:extLst>
                <a:ext uri="{FF2B5EF4-FFF2-40B4-BE49-F238E27FC236}">
                  <a16:creationId xmlns:a16="http://schemas.microsoft.com/office/drawing/2014/main" id="{7B470269-CB3E-4016-ABBB-976716E66410}"/>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124518" y="2691120"/>
              <a:ext cx="290889" cy="290889"/>
            </a:xfrm>
            <a:prstGeom prst="rect">
              <a:avLst/>
            </a:prstGeom>
          </p:spPr>
        </p:pic>
      </p:grpSp>
      <p:grpSp>
        <p:nvGrpSpPr>
          <p:cNvPr id="41" name="Group 49">
            <a:extLst>
              <a:ext uri="{FF2B5EF4-FFF2-40B4-BE49-F238E27FC236}">
                <a16:creationId xmlns:a16="http://schemas.microsoft.com/office/drawing/2014/main" id="{3BE74DA3-1333-45B0-9820-0051CDC9D3E9}"/>
              </a:ext>
            </a:extLst>
          </p:cNvPr>
          <p:cNvGrpSpPr/>
          <p:nvPr/>
        </p:nvGrpSpPr>
        <p:grpSpPr>
          <a:xfrm>
            <a:off x="9089037" y="4483830"/>
            <a:ext cx="2467375" cy="323441"/>
            <a:chOff x="9124518" y="3259773"/>
            <a:chExt cx="2467375" cy="323441"/>
          </a:xfrm>
        </p:grpSpPr>
        <p:sp>
          <p:nvSpPr>
            <p:cNvPr id="42" name="TextBox 50">
              <a:extLst>
                <a:ext uri="{FF2B5EF4-FFF2-40B4-BE49-F238E27FC236}">
                  <a16:creationId xmlns:a16="http://schemas.microsoft.com/office/drawing/2014/main" id="{1ABB1DB5-F830-4701-A0A5-9BEF9073C7D4}"/>
                </a:ext>
              </a:extLst>
            </p:cNvPr>
            <p:cNvSpPr txBox="1"/>
            <p:nvPr/>
          </p:nvSpPr>
          <p:spPr>
            <a:xfrm>
              <a:off x="9595213" y="3259773"/>
              <a:ext cx="199668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lumMod val="65000"/>
                      <a:lumOff val="35000"/>
                    </a:srgbClr>
                  </a:solidFill>
                  <a:effectLst/>
                  <a:uLnTx/>
                  <a:uFillTx/>
                  <a:latin typeface="等线" panose="020F0502020204030204"/>
                  <a:ea typeface="Open Sans" panose="020B0606030504020204" pitchFamily="34" charset="0"/>
                  <a:cs typeface="Open Sans" panose="020B0606030504020204" pitchFamily="34" charset="0"/>
                </a:rPr>
                <a:t>Best Presentation</a:t>
              </a:r>
            </a:p>
          </p:txBody>
        </p:sp>
        <p:pic>
          <p:nvPicPr>
            <p:cNvPr id="43" name="Graphic 51">
              <a:extLst>
                <a:ext uri="{FF2B5EF4-FFF2-40B4-BE49-F238E27FC236}">
                  <a16:creationId xmlns:a16="http://schemas.microsoft.com/office/drawing/2014/main" id="{B76138BD-A679-4B61-90C9-1393E2459237}"/>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124518" y="3292325"/>
              <a:ext cx="290889" cy="290889"/>
            </a:xfrm>
            <a:prstGeom prst="rect">
              <a:avLst/>
            </a:prstGeom>
          </p:spPr>
        </p:pic>
      </p:grpSp>
      <p:grpSp>
        <p:nvGrpSpPr>
          <p:cNvPr id="44" name="Group 52">
            <a:extLst>
              <a:ext uri="{FF2B5EF4-FFF2-40B4-BE49-F238E27FC236}">
                <a16:creationId xmlns:a16="http://schemas.microsoft.com/office/drawing/2014/main" id="{F0950268-A69C-4F2B-B5C2-B26E940D094F}"/>
              </a:ext>
            </a:extLst>
          </p:cNvPr>
          <p:cNvGrpSpPr/>
          <p:nvPr/>
        </p:nvGrpSpPr>
        <p:grpSpPr>
          <a:xfrm>
            <a:off x="9089037" y="5084935"/>
            <a:ext cx="2467375" cy="323441"/>
            <a:chOff x="9124518" y="3860878"/>
            <a:chExt cx="2467375" cy="323441"/>
          </a:xfrm>
        </p:grpSpPr>
        <p:sp>
          <p:nvSpPr>
            <p:cNvPr id="45" name="TextBox 53">
              <a:extLst>
                <a:ext uri="{FF2B5EF4-FFF2-40B4-BE49-F238E27FC236}">
                  <a16:creationId xmlns:a16="http://schemas.microsoft.com/office/drawing/2014/main" id="{4A65D856-4380-4B12-B8C5-EEDB70A66E39}"/>
                </a:ext>
              </a:extLst>
            </p:cNvPr>
            <p:cNvSpPr txBox="1"/>
            <p:nvPr/>
          </p:nvSpPr>
          <p:spPr>
            <a:xfrm>
              <a:off x="9595213" y="3860878"/>
              <a:ext cx="199668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lumMod val="65000"/>
                      <a:lumOff val="35000"/>
                    </a:srgbClr>
                  </a:solidFill>
                  <a:effectLst/>
                  <a:uLnTx/>
                  <a:uFillTx/>
                  <a:latin typeface="等线" panose="020F0502020204030204"/>
                  <a:ea typeface="Open Sans" panose="020B0606030504020204" pitchFamily="34" charset="0"/>
                  <a:cs typeface="Open Sans" panose="020B0606030504020204" pitchFamily="34" charset="0"/>
                </a:rPr>
                <a:t>Power Project</a:t>
              </a:r>
            </a:p>
          </p:txBody>
        </p:sp>
        <p:pic>
          <p:nvPicPr>
            <p:cNvPr id="46" name="Graphic 54">
              <a:extLst>
                <a:ext uri="{FF2B5EF4-FFF2-40B4-BE49-F238E27FC236}">
                  <a16:creationId xmlns:a16="http://schemas.microsoft.com/office/drawing/2014/main" id="{89415E14-D3C0-439C-AE5E-E532F2688082}"/>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124518" y="3893430"/>
              <a:ext cx="290889" cy="290889"/>
            </a:xfrm>
            <a:prstGeom prst="rect">
              <a:avLst/>
            </a:prstGeom>
          </p:spPr>
        </p:pic>
      </p:grpSp>
      <p:sp>
        <p:nvSpPr>
          <p:cNvPr id="47" name="TextBox 58">
            <a:extLst>
              <a:ext uri="{FF2B5EF4-FFF2-40B4-BE49-F238E27FC236}">
                <a16:creationId xmlns:a16="http://schemas.microsoft.com/office/drawing/2014/main" id="{C18C90C8-C4EF-4882-9021-8618383734D2}"/>
              </a:ext>
            </a:extLst>
          </p:cNvPr>
          <p:cNvSpPr txBox="1"/>
          <p:nvPr/>
        </p:nvSpPr>
        <p:spPr>
          <a:xfrm>
            <a:off x="6229343" y="1555655"/>
            <a:ext cx="4619626" cy="120032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dirty="0">
                <a:ln>
                  <a:noFill/>
                </a:ln>
                <a:solidFill>
                  <a:srgbClr val="000000">
                    <a:lumMod val="85000"/>
                    <a:lumOff val="15000"/>
                  </a:srgbClr>
                </a:solidFill>
                <a:effectLst/>
                <a:uLnTx/>
                <a:uFillTx/>
                <a:latin typeface="等线 Light" panose="020F0302020204030204"/>
                <a:ea typeface="+mn-ea"/>
                <a:cs typeface="Arial" panose="020B0604020202020204" pitchFamily="34" charset="0"/>
              </a:rPr>
              <a:t>Your Title </a:t>
            </a:r>
            <a:r>
              <a:rPr kumimoji="0" lang="en-US" sz="3600" b="1" i="0" u="none" strike="noStrike" kern="1200" cap="none" spc="0" normalizeH="0" baseline="0" noProof="0">
                <a:ln>
                  <a:noFill/>
                </a:ln>
                <a:solidFill>
                  <a:srgbClr val="000000">
                    <a:lumMod val="85000"/>
                    <a:lumOff val="15000"/>
                  </a:srgbClr>
                </a:solidFill>
                <a:effectLst/>
                <a:uLnTx/>
                <a:uFillTx/>
                <a:latin typeface="等线 Light" panose="020F0302020204030204"/>
                <a:ea typeface="+mn-ea"/>
                <a:cs typeface="Arial" panose="020B0604020202020204" pitchFamily="34" charset="0"/>
              </a:rPr>
              <a:t>Tex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a:ln>
                  <a:noFill/>
                </a:ln>
                <a:solidFill>
                  <a:srgbClr val="000000">
                    <a:lumMod val="85000"/>
                    <a:lumOff val="15000"/>
                  </a:srgbClr>
                </a:solidFill>
                <a:effectLst/>
                <a:uLnTx/>
                <a:uFillTx/>
                <a:latin typeface="等线 Light" panose="020F0302020204030204"/>
                <a:ea typeface="+mn-ea"/>
                <a:cs typeface="Arial" panose="020B0604020202020204" pitchFamily="34" charset="0"/>
              </a:rPr>
              <a:t>Goes </a:t>
            </a:r>
            <a:r>
              <a:rPr kumimoji="0" lang="en-US" sz="3600" b="1" i="0" u="none" strike="noStrike" kern="1200" cap="none" spc="0" normalizeH="0" baseline="0" noProof="0" dirty="0">
                <a:ln>
                  <a:noFill/>
                </a:ln>
                <a:solidFill>
                  <a:srgbClr val="000000">
                    <a:lumMod val="85000"/>
                    <a:lumOff val="15000"/>
                  </a:srgbClr>
                </a:solidFill>
                <a:effectLst/>
                <a:uLnTx/>
                <a:uFillTx/>
                <a:latin typeface="等线 Light" panose="020F0302020204030204"/>
                <a:ea typeface="+mn-ea"/>
                <a:cs typeface="Arial" panose="020B0604020202020204" pitchFamily="34" charset="0"/>
              </a:rPr>
              <a:t>Here</a:t>
            </a:r>
          </a:p>
        </p:txBody>
      </p:sp>
      <p:sp>
        <p:nvSpPr>
          <p:cNvPr id="48" name="TextBox 59">
            <a:extLst>
              <a:ext uri="{FF2B5EF4-FFF2-40B4-BE49-F238E27FC236}">
                <a16:creationId xmlns:a16="http://schemas.microsoft.com/office/drawing/2014/main" id="{97CBF410-BA79-475A-A02D-78082C416371}"/>
              </a:ext>
            </a:extLst>
          </p:cNvPr>
          <p:cNvSpPr txBox="1"/>
          <p:nvPr/>
        </p:nvSpPr>
        <p:spPr>
          <a:xfrm>
            <a:off x="6276969" y="2990741"/>
            <a:ext cx="4825923" cy="623312"/>
          </a:xfrm>
          <a:prstGeom prst="rect">
            <a:avLst/>
          </a:prstGeom>
          <a:noFill/>
        </p:spPr>
        <p:txBody>
          <a:bodyPr wrap="square" rtlCol="0">
            <a:spAutoFit/>
          </a:bodyPr>
          <a:lstStyle/>
          <a:p>
            <a:pPr marL="0" marR="0" lvl="0" indent="0" algn="l" defTabSz="914400" rtl="0" eaLnBrk="1" fontAlgn="auto" latinLnBrk="0" hangingPunct="1">
              <a:lnSpc>
                <a:spcPct val="13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000000">
                    <a:lumMod val="65000"/>
                    <a:lumOff val="35000"/>
                  </a:srgbClr>
                </a:solidFill>
                <a:effectLst/>
                <a:uLnTx/>
                <a:uFillTx/>
                <a:latin typeface="等线" panose="020F0502020204030204"/>
                <a:ea typeface="Open Sans" panose="020B0606030504020204" pitchFamily="34" charset="0"/>
                <a:cs typeface="Segoe UI" panose="020B0502040204020203" pitchFamily="34" charset="0"/>
              </a:rPr>
              <a:t>Leverage agile frameworks to provide a robust synopsis for high level overviews.</a:t>
            </a:r>
          </a:p>
        </p:txBody>
      </p:sp>
      <p:grpSp>
        <p:nvGrpSpPr>
          <p:cNvPr id="49" name="Group 28">
            <a:extLst>
              <a:ext uri="{FF2B5EF4-FFF2-40B4-BE49-F238E27FC236}">
                <a16:creationId xmlns:a16="http://schemas.microsoft.com/office/drawing/2014/main" id="{5BE6E985-D434-44F7-AD70-7F6FBE33F364}"/>
              </a:ext>
            </a:extLst>
          </p:cNvPr>
          <p:cNvGrpSpPr/>
          <p:nvPr/>
        </p:nvGrpSpPr>
        <p:grpSpPr>
          <a:xfrm>
            <a:off x="2710922" y="4821630"/>
            <a:ext cx="1357942" cy="1357942"/>
            <a:chOff x="2710922" y="4821630"/>
            <a:chExt cx="1357942" cy="1357942"/>
          </a:xfrm>
        </p:grpSpPr>
        <p:sp>
          <p:nvSpPr>
            <p:cNvPr id="50" name="Oval 13">
              <a:extLst>
                <a:ext uri="{FF2B5EF4-FFF2-40B4-BE49-F238E27FC236}">
                  <a16:creationId xmlns:a16="http://schemas.microsoft.com/office/drawing/2014/main" id="{BABFDDA4-956F-4ED0-A153-70C2B584DBE1}"/>
                </a:ext>
              </a:extLst>
            </p:cNvPr>
            <p:cNvSpPr>
              <a:spLocks noChangeArrowheads="1"/>
            </p:cNvSpPr>
            <p:nvPr/>
          </p:nvSpPr>
          <p:spPr bwMode="auto">
            <a:xfrm>
              <a:off x="2710922" y="4821630"/>
              <a:ext cx="1357942" cy="1357942"/>
            </a:xfrm>
            <a:prstGeom prst="ellipse">
              <a:avLst/>
            </a:prstGeom>
            <a:solidFill>
              <a:schemeClr val="bg1"/>
            </a:solidFill>
            <a:ln>
              <a:noFill/>
            </a:ln>
            <a:effectLst>
              <a:outerShdw blurRad="647700" dist="241300" dir="5400000" sx="87000" sy="87000" algn="t" rotWithShape="0">
                <a:prstClr val="black">
                  <a:alpha val="16000"/>
                </a:prstClr>
              </a:outerShdw>
            </a:effectLst>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Light" panose="020F0302020204030204"/>
                <a:ea typeface="+mn-ea"/>
                <a:cs typeface="+mn-cs"/>
              </a:endParaRPr>
            </a:p>
          </p:txBody>
        </p:sp>
        <p:sp>
          <p:nvSpPr>
            <p:cNvPr id="51" name="Rectangle 62">
              <a:extLst>
                <a:ext uri="{FF2B5EF4-FFF2-40B4-BE49-F238E27FC236}">
                  <a16:creationId xmlns:a16="http://schemas.microsoft.com/office/drawing/2014/main" id="{A9D03C68-627B-4E67-B26B-989FF2A39924}"/>
                </a:ext>
              </a:extLst>
            </p:cNvPr>
            <p:cNvSpPr/>
            <p:nvPr/>
          </p:nvSpPr>
          <p:spPr>
            <a:xfrm>
              <a:off x="3132976" y="5191207"/>
              <a:ext cx="564988" cy="564984"/>
            </a:xfrm>
            <a:prstGeom prst="rect">
              <a:avLst/>
            </a:prstGeom>
            <a:blipFill>
              <a:blip r:embed="rId8">
                <a:duotone>
                  <a:schemeClr val="accent3">
                    <a:shade val="45000"/>
                    <a:satMod val="135000"/>
                  </a:schemeClr>
                  <a:prstClr val="white"/>
                </a:duotone>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6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spTree>
    <p:extLst>
      <p:ext uri="{BB962C8B-B14F-4D97-AF65-F5344CB8AC3E}">
        <p14:creationId xmlns:p14="http://schemas.microsoft.com/office/powerpoint/2010/main" val="1742850307"/>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500"/>
                                  </p:stCondLst>
                                  <p:childTnLst>
                                    <p:set>
                                      <p:cBhvr>
                                        <p:cTn id="6" dur="1" fill="hold">
                                          <p:stCondLst>
                                            <p:cond delay="0"/>
                                          </p:stCondLst>
                                        </p:cTn>
                                        <p:tgtEl>
                                          <p:spTgt spid="29"/>
                                        </p:tgtEl>
                                        <p:attrNameLst>
                                          <p:attrName>style.visibility</p:attrName>
                                        </p:attrNameLst>
                                      </p:cBhvr>
                                      <p:to>
                                        <p:strVal val="visible"/>
                                      </p:to>
                                    </p:set>
                                    <p:animEffect transition="in" filter="fade">
                                      <p:cBhvr>
                                        <p:cTn id="7" dur="750"/>
                                        <p:tgtEl>
                                          <p:spTgt spid="29"/>
                                        </p:tgtEl>
                                      </p:cBhvr>
                                    </p:animEffect>
                                  </p:childTnLst>
                                </p:cTn>
                              </p:par>
                              <p:par>
                                <p:cTn id="8" presetID="10" presetClass="entr" presetSubtype="0" fill="hold" nodeType="withEffect">
                                  <p:stCondLst>
                                    <p:cond delay="750"/>
                                  </p:stCondLst>
                                  <p:childTnLst>
                                    <p:set>
                                      <p:cBhvr>
                                        <p:cTn id="9" dur="1" fill="hold">
                                          <p:stCondLst>
                                            <p:cond delay="0"/>
                                          </p:stCondLst>
                                        </p:cTn>
                                        <p:tgtEl>
                                          <p:spTgt spid="32"/>
                                        </p:tgtEl>
                                        <p:attrNameLst>
                                          <p:attrName>style.visibility</p:attrName>
                                        </p:attrNameLst>
                                      </p:cBhvr>
                                      <p:to>
                                        <p:strVal val="visible"/>
                                      </p:to>
                                    </p:set>
                                    <p:animEffect transition="in" filter="fade">
                                      <p:cBhvr>
                                        <p:cTn id="10" dur="750"/>
                                        <p:tgtEl>
                                          <p:spTgt spid="32"/>
                                        </p:tgtEl>
                                      </p:cBhvr>
                                    </p:animEffect>
                                  </p:childTnLst>
                                </p:cTn>
                              </p:par>
                              <p:par>
                                <p:cTn id="11" presetID="10" presetClass="entr" presetSubtype="0" fill="hold" nodeType="withEffect">
                                  <p:stCondLst>
                                    <p:cond delay="1000"/>
                                  </p:stCondLst>
                                  <p:childTnLst>
                                    <p:set>
                                      <p:cBhvr>
                                        <p:cTn id="12" dur="1" fill="hold">
                                          <p:stCondLst>
                                            <p:cond delay="0"/>
                                          </p:stCondLst>
                                        </p:cTn>
                                        <p:tgtEl>
                                          <p:spTgt spid="35"/>
                                        </p:tgtEl>
                                        <p:attrNameLst>
                                          <p:attrName>style.visibility</p:attrName>
                                        </p:attrNameLst>
                                      </p:cBhvr>
                                      <p:to>
                                        <p:strVal val="visible"/>
                                      </p:to>
                                    </p:set>
                                    <p:animEffect transition="in" filter="fade">
                                      <p:cBhvr>
                                        <p:cTn id="13" dur="750"/>
                                        <p:tgtEl>
                                          <p:spTgt spid="35"/>
                                        </p:tgtEl>
                                      </p:cBhvr>
                                    </p:animEffect>
                                  </p:childTnLst>
                                </p:cTn>
                              </p:par>
                              <p:par>
                                <p:cTn id="14" presetID="10" presetClass="entr" presetSubtype="0" fill="hold" nodeType="withEffect">
                                  <p:stCondLst>
                                    <p:cond delay="1250"/>
                                  </p:stCondLst>
                                  <p:childTnLst>
                                    <p:set>
                                      <p:cBhvr>
                                        <p:cTn id="15" dur="1" fill="hold">
                                          <p:stCondLst>
                                            <p:cond delay="0"/>
                                          </p:stCondLst>
                                        </p:cTn>
                                        <p:tgtEl>
                                          <p:spTgt spid="38"/>
                                        </p:tgtEl>
                                        <p:attrNameLst>
                                          <p:attrName>style.visibility</p:attrName>
                                        </p:attrNameLst>
                                      </p:cBhvr>
                                      <p:to>
                                        <p:strVal val="visible"/>
                                      </p:to>
                                    </p:set>
                                    <p:animEffect transition="in" filter="fade">
                                      <p:cBhvr>
                                        <p:cTn id="16" dur="750"/>
                                        <p:tgtEl>
                                          <p:spTgt spid="38"/>
                                        </p:tgtEl>
                                      </p:cBhvr>
                                    </p:animEffect>
                                  </p:childTnLst>
                                </p:cTn>
                              </p:par>
                              <p:par>
                                <p:cTn id="17" presetID="10" presetClass="entr" presetSubtype="0" fill="hold" nodeType="withEffect">
                                  <p:stCondLst>
                                    <p:cond delay="1500"/>
                                  </p:stCondLst>
                                  <p:childTnLst>
                                    <p:set>
                                      <p:cBhvr>
                                        <p:cTn id="18" dur="1" fill="hold">
                                          <p:stCondLst>
                                            <p:cond delay="0"/>
                                          </p:stCondLst>
                                        </p:cTn>
                                        <p:tgtEl>
                                          <p:spTgt spid="41"/>
                                        </p:tgtEl>
                                        <p:attrNameLst>
                                          <p:attrName>style.visibility</p:attrName>
                                        </p:attrNameLst>
                                      </p:cBhvr>
                                      <p:to>
                                        <p:strVal val="visible"/>
                                      </p:to>
                                    </p:set>
                                    <p:animEffect transition="in" filter="fade">
                                      <p:cBhvr>
                                        <p:cTn id="19" dur="750"/>
                                        <p:tgtEl>
                                          <p:spTgt spid="41"/>
                                        </p:tgtEl>
                                      </p:cBhvr>
                                    </p:animEffect>
                                  </p:childTnLst>
                                </p:cTn>
                              </p:par>
                              <p:par>
                                <p:cTn id="20" presetID="10" presetClass="entr" presetSubtype="0" fill="hold" nodeType="withEffect">
                                  <p:stCondLst>
                                    <p:cond delay="1750"/>
                                  </p:stCondLst>
                                  <p:childTnLst>
                                    <p:set>
                                      <p:cBhvr>
                                        <p:cTn id="21" dur="1" fill="hold">
                                          <p:stCondLst>
                                            <p:cond delay="0"/>
                                          </p:stCondLst>
                                        </p:cTn>
                                        <p:tgtEl>
                                          <p:spTgt spid="44"/>
                                        </p:tgtEl>
                                        <p:attrNameLst>
                                          <p:attrName>style.visibility</p:attrName>
                                        </p:attrNameLst>
                                      </p:cBhvr>
                                      <p:to>
                                        <p:strVal val="visible"/>
                                      </p:to>
                                    </p:set>
                                    <p:animEffect transition="in" filter="fade">
                                      <p:cBhvr>
                                        <p:cTn id="22" dur="750"/>
                                        <p:tgtEl>
                                          <p:spTgt spid="44"/>
                                        </p:tgtEl>
                                      </p:cBhvr>
                                    </p:animEffect>
                                  </p:childTnLst>
                                </p:cTn>
                              </p:par>
                              <p:par>
                                <p:cTn id="23" presetID="18" presetClass="entr" presetSubtype="3" fill="hold" grpId="0" nodeType="withEffect">
                                  <p:stCondLst>
                                    <p:cond delay="0"/>
                                  </p:stCondLst>
                                  <p:childTnLst>
                                    <p:set>
                                      <p:cBhvr>
                                        <p:cTn id="24" dur="1" fill="hold">
                                          <p:stCondLst>
                                            <p:cond delay="0"/>
                                          </p:stCondLst>
                                        </p:cTn>
                                        <p:tgtEl>
                                          <p:spTgt spid="47"/>
                                        </p:tgtEl>
                                        <p:attrNameLst>
                                          <p:attrName>style.visibility</p:attrName>
                                        </p:attrNameLst>
                                      </p:cBhvr>
                                      <p:to>
                                        <p:strVal val="visible"/>
                                      </p:to>
                                    </p:set>
                                    <p:animEffect transition="in" filter="strips(upRight)">
                                      <p:cBhvr>
                                        <p:cTn id="25" dur="500"/>
                                        <p:tgtEl>
                                          <p:spTgt spid="47"/>
                                        </p:tgtEl>
                                      </p:cBhvr>
                                    </p:animEffect>
                                  </p:childTnLst>
                                </p:cTn>
                              </p:par>
                              <p:par>
                                <p:cTn id="26" presetID="6" presetClass="emph" presetSubtype="0" accel="52000" decel="48000" autoRev="1" fill="hold" grpId="1" nodeType="withEffect">
                                  <p:stCondLst>
                                    <p:cond delay="0"/>
                                  </p:stCondLst>
                                  <p:childTnLst>
                                    <p:animScale>
                                      <p:cBhvr>
                                        <p:cTn id="27" dur="350" fill="hold"/>
                                        <p:tgtEl>
                                          <p:spTgt spid="47"/>
                                        </p:tgtEl>
                                      </p:cBhvr>
                                      <p:by x="110000" y="110000"/>
                                    </p:animScale>
                                  </p:childTnLst>
                                </p:cTn>
                              </p:par>
                              <p:par>
                                <p:cTn id="28" presetID="10" presetClass="entr" presetSubtype="0" fill="hold" grpId="0" nodeType="withEffect">
                                  <p:stCondLst>
                                    <p:cond delay="500"/>
                                  </p:stCondLst>
                                  <p:childTnLst>
                                    <p:set>
                                      <p:cBhvr>
                                        <p:cTn id="29" dur="1" fill="hold">
                                          <p:stCondLst>
                                            <p:cond delay="0"/>
                                          </p:stCondLst>
                                        </p:cTn>
                                        <p:tgtEl>
                                          <p:spTgt spid="48"/>
                                        </p:tgtEl>
                                        <p:attrNameLst>
                                          <p:attrName>style.visibility</p:attrName>
                                        </p:attrNameLst>
                                      </p:cBhvr>
                                      <p:to>
                                        <p:strVal val="visible"/>
                                      </p:to>
                                    </p:set>
                                    <p:animEffect transition="in" filter="fade">
                                      <p:cBhvr>
                                        <p:cTn id="30" dur="750"/>
                                        <p:tgtEl>
                                          <p:spTgt spid="48"/>
                                        </p:tgtEl>
                                      </p:cBhvr>
                                    </p:animEffect>
                                  </p:childTnLst>
                                </p:cTn>
                              </p:par>
                              <p:par>
                                <p:cTn id="31" presetID="22" presetClass="entr" presetSubtype="4" fill="hold" nodeType="withEffect">
                                  <p:stCondLst>
                                    <p:cond delay="250"/>
                                  </p:stCondLst>
                                  <p:childTnLst>
                                    <p:set>
                                      <p:cBhvr>
                                        <p:cTn id="32" dur="1" fill="hold">
                                          <p:stCondLst>
                                            <p:cond delay="0"/>
                                          </p:stCondLst>
                                        </p:cTn>
                                        <p:tgtEl>
                                          <p:spTgt spid="2"/>
                                        </p:tgtEl>
                                        <p:attrNameLst>
                                          <p:attrName>style.visibility</p:attrName>
                                        </p:attrNameLst>
                                      </p:cBhvr>
                                      <p:to>
                                        <p:strVal val="visible"/>
                                      </p:to>
                                    </p:set>
                                    <p:animEffect transition="in" filter="wipe(down)">
                                      <p:cBhvr>
                                        <p:cTn id="33" dur="750"/>
                                        <p:tgtEl>
                                          <p:spTgt spid="2"/>
                                        </p:tgtEl>
                                      </p:cBhvr>
                                    </p:animEffect>
                                  </p:childTnLst>
                                </p:cTn>
                              </p:par>
                              <p:par>
                                <p:cTn id="34" presetID="18" presetClass="entr" presetSubtype="3" fill="hold" nodeType="withEffect">
                                  <p:stCondLst>
                                    <p:cond delay="0"/>
                                  </p:stCondLst>
                                  <p:childTnLst>
                                    <p:set>
                                      <p:cBhvr>
                                        <p:cTn id="35" dur="1" fill="hold">
                                          <p:stCondLst>
                                            <p:cond delay="0"/>
                                          </p:stCondLst>
                                        </p:cTn>
                                        <p:tgtEl>
                                          <p:spTgt spid="49"/>
                                        </p:tgtEl>
                                        <p:attrNameLst>
                                          <p:attrName>style.visibility</p:attrName>
                                        </p:attrNameLst>
                                      </p:cBhvr>
                                      <p:to>
                                        <p:strVal val="visible"/>
                                      </p:to>
                                    </p:set>
                                    <p:animEffect transition="in" filter="strips(upRight)">
                                      <p:cBhvr>
                                        <p:cTn id="36" dur="500"/>
                                        <p:tgtEl>
                                          <p:spTgt spid="49"/>
                                        </p:tgtEl>
                                      </p:cBhvr>
                                    </p:animEffect>
                                  </p:childTnLst>
                                </p:cTn>
                              </p:par>
                              <p:par>
                                <p:cTn id="37" presetID="6" presetClass="emph" presetSubtype="0" accel="52000" decel="48000" autoRev="1" fill="hold" nodeType="withEffect">
                                  <p:stCondLst>
                                    <p:cond delay="0"/>
                                  </p:stCondLst>
                                  <p:childTnLst>
                                    <p:animScale>
                                      <p:cBhvr>
                                        <p:cTn id="38" dur="350" fill="hold"/>
                                        <p:tgtEl>
                                          <p:spTgt spid="49"/>
                                        </p:tgtEl>
                                      </p:cBhvr>
                                      <p:by x="110000" y="11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7" grpId="0"/>
      <p:bldP spid="47" grpId="1"/>
      <p:bldP spid="48" grpId="0"/>
    </p:bldLst>
  </p:timing>
</p:sld>
</file>

<file path=ppt/slides/slide6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75A170C3-F4AE-4EA3-87DA-02AB3DFD0558}"/>
              </a:ext>
            </a:extLst>
          </p:cNvPr>
          <p:cNvGrpSpPr/>
          <p:nvPr/>
        </p:nvGrpSpPr>
        <p:grpSpPr>
          <a:xfrm>
            <a:off x="8422236" y="60703"/>
            <a:ext cx="3771352" cy="323899"/>
            <a:chOff x="8422236" y="60703"/>
            <a:chExt cx="3771352" cy="323899"/>
          </a:xfrm>
        </p:grpSpPr>
        <p:sp>
          <p:nvSpPr>
            <p:cNvPr id="3" name="Freeform: Shape 2">
              <a:extLst>
                <a:ext uri="{FF2B5EF4-FFF2-40B4-BE49-F238E27FC236}">
                  <a16:creationId xmlns:a16="http://schemas.microsoft.com/office/drawing/2014/main" id="{66F7FFFE-4AEB-417E-86DF-41CEF9D018AD}"/>
                </a:ext>
              </a:extLst>
            </p:cNvPr>
            <p:cNvSpPr/>
            <p:nvPr/>
          </p:nvSpPr>
          <p:spPr>
            <a:xfrm>
              <a:off x="10697846" y="60703"/>
              <a:ext cx="1495742" cy="323899"/>
            </a:xfrm>
            <a:custGeom>
              <a:avLst/>
              <a:gdLst>
                <a:gd name="connsiteX0" fmla="*/ 0 w 1495742"/>
                <a:gd name="connsiteY0" fmla="*/ 161949 h 323899"/>
                <a:gd name="connsiteX1" fmla="*/ 0 w 1495742"/>
                <a:gd name="connsiteY1" fmla="*/ 161950 h 323899"/>
                <a:gd name="connsiteX2" fmla="*/ 0 w 1495742"/>
                <a:gd name="connsiteY2" fmla="*/ 161950 h 323899"/>
                <a:gd name="connsiteX3" fmla="*/ 161950 w 1495742"/>
                <a:gd name="connsiteY3" fmla="*/ 0 h 323899"/>
                <a:gd name="connsiteX4" fmla="*/ 1495742 w 1495742"/>
                <a:gd name="connsiteY4" fmla="*/ 0 h 323899"/>
                <a:gd name="connsiteX5" fmla="*/ 1495742 w 1495742"/>
                <a:gd name="connsiteY5" fmla="*/ 323899 h 323899"/>
                <a:gd name="connsiteX6" fmla="*/ 161950 w 1495742"/>
                <a:gd name="connsiteY6" fmla="*/ 323899 h 323899"/>
                <a:gd name="connsiteX7" fmla="*/ 12727 w 1495742"/>
                <a:gd name="connsiteY7" fmla="*/ 224988 h 323899"/>
                <a:gd name="connsiteX8" fmla="*/ 0 w 1495742"/>
                <a:gd name="connsiteY8" fmla="*/ 161950 h 323899"/>
                <a:gd name="connsiteX9" fmla="*/ 12727 w 1495742"/>
                <a:gd name="connsiteY9" fmla="*/ 98912 h 323899"/>
                <a:gd name="connsiteX10" fmla="*/ 161950 w 1495742"/>
                <a:gd name="connsiteY10" fmla="*/ 0 h 3238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95742" h="323899">
                  <a:moveTo>
                    <a:pt x="0" y="161949"/>
                  </a:moveTo>
                  <a:lnTo>
                    <a:pt x="0" y="161950"/>
                  </a:lnTo>
                  <a:lnTo>
                    <a:pt x="0" y="161950"/>
                  </a:lnTo>
                  <a:close/>
                  <a:moveTo>
                    <a:pt x="161950" y="0"/>
                  </a:moveTo>
                  <a:lnTo>
                    <a:pt x="1495742" y="0"/>
                  </a:lnTo>
                  <a:lnTo>
                    <a:pt x="1495742" y="323899"/>
                  </a:lnTo>
                  <a:lnTo>
                    <a:pt x="161950" y="323899"/>
                  </a:lnTo>
                  <a:cubicBezTo>
                    <a:pt x="94868" y="323899"/>
                    <a:pt x="37312" y="283114"/>
                    <a:pt x="12727" y="224988"/>
                  </a:cubicBezTo>
                  <a:lnTo>
                    <a:pt x="0" y="161950"/>
                  </a:lnTo>
                  <a:lnTo>
                    <a:pt x="12727" y="98912"/>
                  </a:lnTo>
                  <a:cubicBezTo>
                    <a:pt x="37312" y="40785"/>
                    <a:pt x="94868" y="0"/>
                    <a:pt x="161950" y="0"/>
                  </a:cubicBezTo>
                  <a:close/>
                </a:path>
              </a:pathLst>
            </a:cu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FFFFFF"/>
                </a:solidFill>
                <a:effectLst/>
                <a:uLnTx/>
                <a:uFillTx/>
                <a:latin typeface="等线" panose="020F0502020204030204"/>
                <a:ea typeface="+mn-ea"/>
                <a:cs typeface="+mn-cs"/>
              </a:endParaRPr>
            </a:p>
          </p:txBody>
        </p:sp>
        <p:sp>
          <p:nvSpPr>
            <p:cNvPr id="5" name="TextBox 4">
              <a:extLst>
                <a:ext uri="{FF2B5EF4-FFF2-40B4-BE49-F238E27FC236}">
                  <a16:creationId xmlns:a16="http://schemas.microsoft.com/office/drawing/2014/main" id="{CC555207-8B66-4B2F-8FD1-067B60E5F15B}"/>
                </a:ext>
              </a:extLst>
            </p:cNvPr>
            <p:cNvSpPr txBox="1"/>
            <p:nvPr/>
          </p:nvSpPr>
          <p:spPr>
            <a:xfrm>
              <a:off x="8422236" y="162456"/>
              <a:ext cx="1770253" cy="129918"/>
            </a:xfrm>
            <a:custGeom>
              <a:avLst/>
              <a:gdLst/>
              <a:ahLst/>
              <a:cxnLst/>
              <a:rect l="l" t="t" r="r" b="b"/>
              <a:pathLst>
                <a:path w="1770253" h="129918">
                  <a:moveTo>
                    <a:pt x="312189" y="83589"/>
                  </a:moveTo>
                  <a:cubicBezTo>
                    <a:pt x="307569" y="83494"/>
                    <a:pt x="302403" y="83764"/>
                    <a:pt x="296690" y="84400"/>
                  </a:cubicBezTo>
                  <a:cubicBezTo>
                    <a:pt x="290978" y="85036"/>
                    <a:pt x="285999" y="86608"/>
                    <a:pt x="281755" y="89116"/>
                  </a:cubicBezTo>
                  <a:cubicBezTo>
                    <a:pt x="277511" y="91623"/>
                    <a:pt x="275282" y="95637"/>
                    <a:pt x="275069" y="101156"/>
                  </a:cubicBezTo>
                  <a:cubicBezTo>
                    <a:pt x="275061" y="105015"/>
                    <a:pt x="276480" y="108388"/>
                    <a:pt x="279324" y="111275"/>
                  </a:cubicBezTo>
                  <a:cubicBezTo>
                    <a:pt x="282168" y="114161"/>
                    <a:pt x="286484" y="115678"/>
                    <a:pt x="292271" y="115825"/>
                  </a:cubicBezTo>
                  <a:cubicBezTo>
                    <a:pt x="297247" y="115717"/>
                    <a:pt x="301559" y="114203"/>
                    <a:pt x="305208" y="111284"/>
                  </a:cubicBezTo>
                  <a:cubicBezTo>
                    <a:pt x="308856" y="108365"/>
                    <a:pt x="311679" y="104692"/>
                    <a:pt x="313678" y="100264"/>
                  </a:cubicBezTo>
                  <a:cubicBezTo>
                    <a:pt x="315676" y="95836"/>
                    <a:pt x="316689" y="91304"/>
                    <a:pt x="316716" y="86668"/>
                  </a:cubicBezTo>
                  <a:lnTo>
                    <a:pt x="316716" y="83589"/>
                  </a:lnTo>
                  <a:close/>
                  <a:moveTo>
                    <a:pt x="1545989" y="49204"/>
                  </a:moveTo>
                  <a:cubicBezTo>
                    <a:pt x="1538637" y="49268"/>
                    <a:pt x="1532474" y="52126"/>
                    <a:pt x="1527499" y="57780"/>
                  </a:cubicBezTo>
                  <a:cubicBezTo>
                    <a:pt x="1522523" y="63434"/>
                    <a:pt x="1519936" y="71497"/>
                    <a:pt x="1519736" y="81971"/>
                  </a:cubicBezTo>
                  <a:cubicBezTo>
                    <a:pt x="1519864" y="92049"/>
                    <a:pt x="1522278" y="100000"/>
                    <a:pt x="1526978" y="105823"/>
                  </a:cubicBezTo>
                  <a:cubicBezTo>
                    <a:pt x="1531678" y="111646"/>
                    <a:pt x="1537894" y="114618"/>
                    <a:pt x="1545627" y="114739"/>
                  </a:cubicBezTo>
                  <a:cubicBezTo>
                    <a:pt x="1552669" y="114826"/>
                    <a:pt x="1558772" y="112254"/>
                    <a:pt x="1563935" y="107022"/>
                  </a:cubicBezTo>
                  <a:cubicBezTo>
                    <a:pt x="1569099" y="101791"/>
                    <a:pt x="1571807" y="93380"/>
                    <a:pt x="1572059" y="81790"/>
                  </a:cubicBezTo>
                  <a:cubicBezTo>
                    <a:pt x="1572063" y="76258"/>
                    <a:pt x="1571111" y="71028"/>
                    <a:pt x="1569203" y="66100"/>
                  </a:cubicBezTo>
                  <a:cubicBezTo>
                    <a:pt x="1567296" y="61172"/>
                    <a:pt x="1564412" y="57149"/>
                    <a:pt x="1560553" y="54031"/>
                  </a:cubicBezTo>
                  <a:cubicBezTo>
                    <a:pt x="1556694" y="50913"/>
                    <a:pt x="1551840" y="49304"/>
                    <a:pt x="1545989" y="49204"/>
                  </a:cubicBezTo>
                  <a:close/>
                  <a:moveTo>
                    <a:pt x="1652213" y="47937"/>
                  </a:moveTo>
                  <a:cubicBezTo>
                    <a:pt x="1645397" y="47959"/>
                    <a:pt x="1639565" y="49952"/>
                    <a:pt x="1634718" y="53915"/>
                  </a:cubicBezTo>
                  <a:cubicBezTo>
                    <a:pt x="1629871" y="57877"/>
                    <a:pt x="1626710" y="63674"/>
                    <a:pt x="1625235" y="71305"/>
                  </a:cubicBezTo>
                  <a:lnTo>
                    <a:pt x="1673759" y="71305"/>
                  </a:lnTo>
                  <a:cubicBezTo>
                    <a:pt x="1673336" y="63674"/>
                    <a:pt x="1671103" y="57877"/>
                    <a:pt x="1667059" y="53915"/>
                  </a:cubicBezTo>
                  <a:cubicBezTo>
                    <a:pt x="1663016" y="49952"/>
                    <a:pt x="1658067" y="47959"/>
                    <a:pt x="1652213" y="47937"/>
                  </a:cubicBezTo>
                  <a:close/>
                  <a:moveTo>
                    <a:pt x="607752" y="47937"/>
                  </a:moveTo>
                  <a:cubicBezTo>
                    <a:pt x="600936" y="47959"/>
                    <a:pt x="595104" y="49952"/>
                    <a:pt x="590257" y="53915"/>
                  </a:cubicBezTo>
                  <a:cubicBezTo>
                    <a:pt x="585410" y="57877"/>
                    <a:pt x="582249" y="63674"/>
                    <a:pt x="580774" y="71305"/>
                  </a:cubicBezTo>
                  <a:lnTo>
                    <a:pt x="629298" y="71305"/>
                  </a:lnTo>
                  <a:cubicBezTo>
                    <a:pt x="628875" y="63674"/>
                    <a:pt x="626642" y="57877"/>
                    <a:pt x="622598" y="53915"/>
                  </a:cubicBezTo>
                  <a:cubicBezTo>
                    <a:pt x="618555" y="49952"/>
                    <a:pt x="613606" y="47959"/>
                    <a:pt x="607752" y="47937"/>
                  </a:cubicBezTo>
                  <a:close/>
                  <a:moveTo>
                    <a:pt x="207702" y="47937"/>
                  </a:moveTo>
                  <a:cubicBezTo>
                    <a:pt x="200886" y="47959"/>
                    <a:pt x="195054" y="49952"/>
                    <a:pt x="190207" y="53915"/>
                  </a:cubicBezTo>
                  <a:cubicBezTo>
                    <a:pt x="185360" y="57877"/>
                    <a:pt x="182199" y="63674"/>
                    <a:pt x="180724" y="71305"/>
                  </a:cubicBezTo>
                  <a:lnTo>
                    <a:pt x="229248" y="71305"/>
                  </a:lnTo>
                  <a:cubicBezTo>
                    <a:pt x="228825" y="63674"/>
                    <a:pt x="226592" y="57877"/>
                    <a:pt x="222548" y="53915"/>
                  </a:cubicBezTo>
                  <a:cubicBezTo>
                    <a:pt x="218505" y="49952"/>
                    <a:pt x="213556" y="47959"/>
                    <a:pt x="207702" y="47937"/>
                  </a:cubicBezTo>
                  <a:close/>
                  <a:moveTo>
                    <a:pt x="1452407" y="36196"/>
                  </a:moveTo>
                  <a:lnTo>
                    <a:pt x="1469592" y="36196"/>
                  </a:lnTo>
                  <a:cubicBezTo>
                    <a:pt x="1473633" y="36170"/>
                    <a:pt x="1476577" y="37081"/>
                    <a:pt x="1478426" y="38929"/>
                  </a:cubicBezTo>
                  <a:cubicBezTo>
                    <a:pt x="1480275" y="40778"/>
                    <a:pt x="1481186" y="43722"/>
                    <a:pt x="1481160" y="47761"/>
                  </a:cubicBezTo>
                  <a:lnTo>
                    <a:pt x="1481160" y="108765"/>
                  </a:lnTo>
                  <a:cubicBezTo>
                    <a:pt x="1481167" y="110120"/>
                    <a:pt x="1481514" y="111123"/>
                    <a:pt x="1482200" y="111775"/>
                  </a:cubicBezTo>
                  <a:cubicBezTo>
                    <a:pt x="1482886" y="112428"/>
                    <a:pt x="1483867" y="112752"/>
                    <a:pt x="1485141" y="112748"/>
                  </a:cubicBezTo>
                  <a:lnTo>
                    <a:pt x="1492561" y="112748"/>
                  </a:lnTo>
                  <a:lnTo>
                    <a:pt x="1492561" y="127747"/>
                  </a:lnTo>
                  <a:lnTo>
                    <a:pt x="1475376" y="127747"/>
                  </a:lnTo>
                  <a:cubicBezTo>
                    <a:pt x="1471336" y="127773"/>
                    <a:pt x="1468391" y="126862"/>
                    <a:pt x="1466542" y="125014"/>
                  </a:cubicBezTo>
                  <a:cubicBezTo>
                    <a:pt x="1464693" y="123165"/>
                    <a:pt x="1463782" y="120221"/>
                    <a:pt x="1463809" y="116182"/>
                  </a:cubicBezTo>
                  <a:lnTo>
                    <a:pt x="1463809" y="55177"/>
                  </a:lnTo>
                  <a:cubicBezTo>
                    <a:pt x="1463801" y="53823"/>
                    <a:pt x="1463454" y="52820"/>
                    <a:pt x="1462768" y="52167"/>
                  </a:cubicBezTo>
                  <a:cubicBezTo>
                    <a:pt x="1462082" y="51515"/>
                    <a:pt x="1461101" y="51191"/>
                    <a:pt x="1459827" y="51194"/>
                  </a:cubicBezTo>
                  <a:lnTo>
                    <a:pt x="1452407" y="51194"/>
                  </a:lnTo>
                  <a:close/>
                  <a:moveTo>
                    <a:pt x="462562" y="36196"/>
                  </a:moveTo>
                  <a:lnTo>
                    <a:pt x="471609" y="36196"/>
                  </a:lnTo>
                  <a:cubicBezTo>
                    <a:pt x="475582" y="36128"/>
                    <a:pt x="478582" y="36761"/>
                    <a:pt x="480610" y="38093"/>
                  </a:cubicBezTo>
                  <a:cubicBezTo>
                    <a:pt x="482638" y="39426"/>
                    <a:pt x="484282" y="41866"/>
                    <a:pt x="485541" y="45412"/>
                  </a:cubicBezTo>
                  <a:lnTo>
                    <a:pt x="505262" y="98085"/>
                  </a:lnTo>
                  <a:cubicBezTo>
                    <a:pt x="506189" y="100801"/>
                    <a:pt x="506958" y="103426"/>
                    <a:pt x="507569" y="105960"/>
                  </a:cubicBezTo>
                  <a:cubicBezTo>
                    <a:pt x="508180" y="108495"/>
                    <a:pt x="508496" y="109853"/>
                    <a:pt x="508519" y="110034"/>
                  </a:cubicBezTo>
                  <a:lnTo>
                    <a:pt x="508881" y="110034"/>
                  </a:lnTo>
                  <a:cubicBezTo>
                    <a:pt x="508903" y="109853"/>
                    <a:pt x="509220" y="108495"/>
                    <a:pt x="509831" y="105960"/>
                  </a:cubicBezTo>
                  <a:cubicBezTo>
                    <a:pt x="510441" y="103426"/>
                    <a:pt x="511210" y="100801"/>
                    <a:pt x="512138" y="98085"/>
                  </a:cubicBezTo>
                  <a:lnTo>
                    <a:pt x="531678" y="45412"/>
                  </a:lnTo>
                  <a:cubicBezTo>
                    <a:pt x="532948" y="41866"/>
                    <a:pt x="534614" y="39426"/>
                    <a:pt x="536676" y="38093"/>
                  </a:cubicBezTo>
                  <a:cubicBezTo>
                    <a:pt x="538738" y="36761"/>
                    <a:pt x="541716" y="36128"/>
                    <a:pt x="545610" y="36196"/>
                  </a:cubicBezTo>
                  <a:lnTo>
                    <a:pt x="554113" y="36196"/>
                  </a:lnTo>
                  <a:lnTo>
                    <a:pt x="554113" y="51194"/>
                  </a:lnTo>
                  <a:lnTo>
                    <a:pt x="552304" y="51194"/>
                  </a:lnTo>
                  <a:cubicBezTo>
                    <a:pt x="550778" y="51175"/>
                    <a:pt x="549534" y="51439"/>
                    <a:pt x="548572" y="51986"/>
                  </a:cubicBezTo>
                  <a:cubicBezTo>
                    <a:pt x="547611" y="52533"/>
                    <a:pt x="546865" y="53475"/>
                    <a:pt x="546333" y="54814"/>
                  </a:cubicBezTo>
                  <a:lnTo>
                    <a:pt x="518470" y="127747"/>
                  </a:lnTo>
                  <a:lnTo>
                    <a:pt x="498206" y="127747"/>
                  </a:lnTo>
                  <a:lnTo>
                    <a:pt x="469981" y="54815"/>
                  </a:lnTo>
                  <a:cubicBezTo>
                    <a:pt x="469453" y="53476"/>
                    <a:pt x="468744" y="52533"/>
                    <a:pt x="467855" y="51986"/>
                  </a:cubicBezTo>
                  <a:cubicBezTo>
                    <a:pt x="466965" y="51439"/>
                    <a:pt x="465804" y="51175"/>
                    <a:pt x="464372" y="51194"/>
                  </a:cubicBezTo>
                  <a:lnTo>
                    <a:pt x="462562" y="51194"/>
                  </a:lnTo>
                  <a:close/>
                  <a:moveTo>
                    <a:pt x="417471" y="36196"/>
                  </a:moveTo>
                  <a:lnTo>
                    <a:pt x="434656" y="36196"/>
                  </a:lnTo>
                  <a:cubicBezTo>
                    <a:pt x="438696" y="36170"/>
                    <a:pt x="441641" y="37081"/>
                    <a:pt x="443490" y="38929"/>
                  </a:cubicBezTo>
                  <a:cubicBezTo>
                    <a:pt x="445339" y="40778"/>
                    <a:pt x="446250" y="43722"/>
                    <a:pt x="446224" y="47761"/>
                  </a:cubicBezTo>
                  <a:lnTo>
                    <a:pt x="446224" y="108765"/>
                  </a:lnTo>
                  <a:cubicBezTo>
                    <a:pt x="446231" y="110120"/>
                    <a:pt x="446578" y="111123"/>
                    <a:pt x="447264" y="111775"/>
                  </a:cubicBezTo>
                  <a:cubicBezTo>
                    <a:pt x="447950" y="112428"/>
                    <a:pt x="448931" y="112752"/>
                    <a:pt x="450205" y="112748"/>
                  </a:cubicBezTo>
                  <a:lnTo>
                    <a:pt x="457625" y="112748"/>
                  </a:lnTo>
                  <a:lnTo>
                    <a:pt x="457625" y="127747"/>
                  </a:lnTo>
                  <a:lnTo>
                    <a:pt x="440440" y="127747"/>
                  </a:lnTo>
                  <a:cubicBezTo>
                    <a:pt x="436400" y="127773"/>
                    <a:pt x="433455" y="126862"/>
                    <a:pt x="431606" y="125014"/>
                  </a:cubicBezTo>
                  <a:cubicBezTo>
                    <a:pt x="429757" y="123165"/>
                    <a:pt x="428846" y="120221"/>
                    <a:pt x="428873" y="116182"/>
                  </a:cubicBezTo>
                  <a:lnTo>
                    <a:pt x="428873" y="55177"/>
                  </a:lnTo>
                  <a:cubicBezTo>
                    <a:pt x="428865" y="53823"/>
                    <a:pt x="428518" y="52820"/>
                    <a:pt x="427832" y="52167"/>
                  </a:cubicBezTo>
                  <a:cubicBezTo>
                    <a:pt x="427146" y="51515"/>
                    <a:pt x="426166" y="51191"/>
                    <a:pt x="424891" y="51194"/>
                  </a:cubicBezTo>
                  <a:lnTo>
                    <a:pt x="417471" y="51194"/>
                  </a:lnTo>
                  <a:close/>
                  <a:moveTo>
                    <a:pt x="150063" y="35110"/>
                  </a:moveTo>
                  <a:cubicBezTo>
                    <a:pt x="151288" y="35125"/>
                    <a:pt x="152366" y="35185"/>
                    <a:pt x="153298" y="35291"/>
                  </a:cubicBezTo>
                  <a:cubicBezTo>
                    <a:pt x="154229" y="35396"/>
                    <a:pt x="154719" y="35456"/>
                    <a:pt x="154768" y="35472"/>
                  </a:cubicBezTo>
                  <a:lnTo>
                    <a:pt x="154768" y="52823"/>
                  </a:lnTo>
                  <a:cubicBezTo>
                    <a:pt x="154730" y="52800"/>
                    <a:pt x="154218" y="52710"/>
                    <a:pt x="153230" y="52552"/>
                  </a:cubicBezTo>
                  <a:cubicBezTo>
                    <a:pt x="152242" y="52393"/>
                    <a:pt x="151005" y="52303"/>
                    <a:pt x="149520" y="52280"/>
                  </a:cubicBezTo>
                  <a:cubicBezTo>
                    <a:pt x="143800" y="52329"/>
                    <a:pt x="138635" y="54222"/>
                    <a:pt x="134024" y="57958"/>
                  </a:cubicBezTo>
                  <a:cubicBezTo>
                    <a:pt x="129413" y="61695"/>
                    <a:pt x="126012" y="66981"/>
                    <a:pt x="123821" y="73816"/>
                  </a:cubicBezTo>
                  <a:cubicBezTo>
                    <a:pt x="123018" y="76448"/>
                    <a:pt x="122453" y="79147"/>
                    <a:pt x="122125" y="81915"/>
                  </a:cubicBezTo>
                  <a:cubicBezTo>
                    <a:pt x="121797" y="84682"/>
                    <a:pt x="121638" y="87472"/>
                    <a:pt x="121650" y="90285"/>
                  </a:cubicBezTo>
                  <a:lnTo>
                    <a:pt x="121650" y="127747"/>
                  </a:lnTo>
                  <a:lnTo>
                    <a:pt x="104118" y="127747"/>
                  </a:lnTo>
                  <a:lnTo>
                    <a:pt x="104118" y="55176"/>
                  </a:lnTo>
                  <a:cubicBezTo>
                    <a:pt x="104110" y="53822"/>
                    <a:pt x="103763" y="52819"/>
                    <a:pt x="103077" y="52167"/>
                  </a:cubicBezTo>
                  <a:cubicBezTo>
                    <a:pt x="102391" y="51515"/>
                    <a:pt x="101411" y="51190"/>
                    <a:pt x="100136" y="51194"/>
                  </a:cubicBezTo>
                  <a:lnTo>
                    <a:pt x="92716" y="51194"/>
                  </a:lnTo>
                  <a:lnTo>
                    <a:pt x="92716" y="36196"/>
                  </a:lnTo>
                  <a:lnTo>
                    <a:pt x="109359" y="36196"/>
                  </a:lnTo>
                  <a:cubicBezTo>
                    <a:pt x="113328" y="36177"/>
                    <a:pt x="116280" y="37028"/>
                    <a:pt x="118216" y="38748"/>
                  </a:cubicBezTo>
                  <a:cubicBezTo>
                    <a:pt x="120151" y="40469"/>
                    <a:pt x="121115" y="43172"/>
                    <a:pt x="121108" y="46857"/>
                  </a:cubicBezTo>
                  <a:lnTo>
                    <a:pt x="121108" y="52642"/>
                  </a:lnTo>
                  <a:cubicBezTo>
                    <a:pt x="121092" y="54490"/>
                    <a:pt x="121032" y="55998"/>
                    <a:pt x="120927" y="57166"/>
                  </a:cubicBezTo>
                  <a:cubicBezTo>
                    <a:pt x="120821" y="58335"/>
                    <a:pt x="120761" y="58939"/>
                    <a:pt x="120746" y="58976"/>
                  </a:cubicBezTo>
                  <a:lnTo>
                    <a:pt x="121108" y="58976"/>
                  </a:lnTo>
                  <a:cubicBezTo>
                    <a:pt x="123332" y="52127"/>
                    <a:pt x="126936" y="46476"/>
                    <a:pt x="131920" y="42024"/>
                  </a:cubicBezTo>
                  <a:cubicBezTo>
                    <a:pt x="136904" y="37573"/>
                    <a:pt x="142952" y="35268"/>
                    <a:pt x="150063" y="35110"/>
                  </a:cubicBezTo>
                  <a:close/>
                  <a:moveTo>
                    <a:pt x="1736784" y="34024"/>
                  </a:moveTo>
                  <a:cubicBezTo>
                    <a:pt x="1740633" y="33985"/>
                    <a:pt x="1744865" y="34485"/>
                    <a:pt x="1749480" y="35524"/>
                  </a:cubicBezTo>
                  <a:cubicBezTo>
                    <a:pt x="1754095" y="36562"/>
                    <a:pt x="1758096" y="38374"/>
                    <a:pt x="1761484" y="40959"/>
                  </a:cubicBezTo>
                  <a:cubicBezTo>
                    <a:pt x="1764871" y="43545"/>
                    <a:pt x="1766648" y="47138"/>
                    <a:pt x="1766814" y="51738"/>
                  </a:cubicBezTo>
                  <a:lnTo>
                    <a:pt x="1766814" y="60428"/>
                  </a:lnTo>
                  <a:lnTo>
                    <a:pt x="1751092" y="60428"/>
                  </a:lnTo>
                  <a:lnTo>
                    <a:pt x="1751092" y="55902"/>
                  </a:lnTo>
                  <a:cubicBezTo>
                    <a:pt x="1750870" y="53202"/>
                    <a:pt x="1749277" y="51225"/>
                    <a:pt x="1746315" y="49973"/>
                  </a:cubicBezTo>
                  <a:cubicBezTo>
                    <a:pt x="1743353" y="48721"/>
                    <a:pt x="1740357" y="48103"/>
                    <a:pt x="1737327" y="48118"/>
                  </a:cubicBezTo>
                  <a:cubicBezTo>
                    <a:pt x="1732102" y="48118"/>
                    <a:pt x="1727974" y="49023"/>
                    <a:pt x="1724944" y="50833"/>
                  </a:cubicBezTo>
                  <a:cubicBezTo>
                    <a:pt x="1721915" y="52644"/>
                    <a:pt x="1720368" y="55359"/>
                    <a:pt x="1720304" y="58980"/>
                  </a:cubicBezTo>
                  <a:cubicBezTo>
                    <a:pt x="1720564" y="63180"/>
                    <a:pt x="1723165" y="66490"/>
                    <a:pt x="1728108" y="68911"/>
                  </a:cubicBezTo>
                  <a:cubicBezTo>
                    <a:pt x="1733051" y="71332"/>
                    <a:pt x="1738774" y="73732"/>
                    <a:pt x="1745278" y="76110"/>
                  </a:cubicBezTo>
                  <a:cubicBezTo>
                    <a:pt x="1751782" y="78489"/>
                    <a:pt x="1757505" y="81714"/>
                    <a:pt x="1762448" y="85787"/>
                  </a:cubicBezTo>
                  <a:cubicBezTo>
                    <a:pt x="1767391" y="89860"/>
                    <a:pt x="1769993" y="95648"/>
                    <a:pt x="1770253" y="103153"/>
                  </a:cubicBezTo>
                  <a:cubicBezTo>
                    <a:pt x="1770050" y="111393"/>
                    <a:pt x="1766841" y="117890"/>
                    <a:pt x="1760624" y="122643"/>
                  </a:cubicBezTo>
                  <a:cubicBezTo>
                    <a:pt x="1754408" y="127396"/>
                    <a:pt x="1746401" y="129821"/>
                    <a:pt x="1736603" y="129918"/>
                  </a:cubicBezTo>
                  <a:cubicBezTo>
                    <a:pt x="1728460" y="129720"/>
                    <a:pt x="1721682" y="128330"/>
                    <a:pt x="1716269" y="125748"/>
                  </a:cubicBezTo>
                  <a:cubicBezTo>
                    <a:pt x="1710856" y="123167"/>
                    <a:pt x="1706801" y="120585"/>
                    <a:pt x="1704103" y="118004"/>
                  </a:cubicBezTo>
                  <a:cubicBezTo>
                    <a:pt x="1701404" y="115422"/>
                    <a:pt x="1700056" y="114032"/>
                    <a:pt x="1700057" y="113834"/>
                  </a:cubicBezTo>
                  <a:lnTo>
                    <a:pt x="1709098" y="102066"/>
                  </a:lnTo>
                  <a:cubicBezTo>
                    <a:pt x="1709128" y="102234"/>
                    <a:pt x="1710273" y="103407"/>
                    <a:pt x="1712533" y="105586"/>
                  </a:cubicBezTo>
                  <a:cubicBezTo>
                    <a:pt x="1714793" y="107766"/>
                    <a:pt x="1717989" y="109945"/>
                    <a:pt x="1722121" y="112124"/>
                  </a:cubicBezTo>
                  <a:cubicBezTo>
                    <a:pt x="1726252" y="114303"/>
                    <a:pt x="1731140" y="115476"/>
                    <a:pt x="1736784" y="115644"/>
                  </a:cubicBezTo>
                  <a:cubicBezTo>
                    <a:pt x="1741172" y="115652"/>
                    <a:pt x="1744892" y="114686"/>
                    <a:pt x="1747944" y="112747"/>
                  </a:cubicBezTo>
                  <a:cubicBezTo>
                    <a:pt x="1750997" y="110809"/>
                    <a:pt x="1752589" y="107852"/>
                    <a:pt x="1752721" y="103877"/>
                  </a:cubicBezTo>
                  <a:cubicBezTo>
                    <a:pt x="1752461" y="99887"/>
                    <a:pt x="1749859" y="96653"/>
                    <a:pt x="1744916" y="94174"/>
                  </a:cubicBezTo>
                  <a:cubicBezTo>
                    <a:pt x="1739973" y="91695"/>
                    <a:pt x="1734250" y="89197"/>
                    <a:pt x="1727746" y="86678"/>
                  </a:cubicBezTo>
                  <a:cubicBezTo>
                    <a:pt x="1721243" y="84160"/>
                    <a:pt x="1715519" y="80846"/>
                    <a:pt x="1710576" y="76738"/>
                  </a:cubicBezTo>
                  <a:cubicBezTo>
                    <a:pt x="1705633" y="72630"/>
                    <a:pt x="1703032" y="66952"/>
                    <a:pt x="1702772" y="59704"/>
                  </a:cubicBezTo>
                  <a:cubicBezTo>
                    <a:pt x="1703023" y="50956"/>
                    <a:pt x="1706361" y="44483"/>
                    <a:pt x="1712785" y="40283"/>
                  </a:cubicBezTo>
                  <a:cubicBezTo>
                    <a:pt x="1719208" y="36084"/>
                    <a:pt x="1727208" y="33997"/>
                    <a:pt x="1736784" y="34024"/>
                  </a:cubicBezTo>
                  <a:close/>
                  <a:moveTo>
                    <a:pt x="1652394" y="34024"/>
                  </a:moveTo>
                  <a:cubicBezTo>
                    <a:pt x="1660972" y="34114"/>
                    <a:pt x="1668188" y="36064"/>
                    <a:pt x="1674042" y="39872"/>
                  </a:cubicBezTo>
                  <a:cubicBezTo>
                    <a:pt x="1679896" y="43679"/>
                    <a:pt x="1684322" y="48805"/>
                    <a:pt x="1687320" y="55248"/>
                  </a:cubicBezTo>
                  <a:cubicBezTo>
                    <a:pt x="1690318" y="61691"/>
                    <a:pt x="1691823" y="68910"/>
                    <a:pt x="1691833" y="76905"/>
                  </a:cubicBezTo>
                  <a:cubicBezTo>
                    <a:pt x="1691811" y="78234"/>
                    <a:pt x="1691720" y="79732"/>
                    <a:pt x="1691562" y="81399"/>
                  </a:cubicBezTo>
                  <a:cubicBezTo>
                    <a:pt x="1691404" y="83067"/>
                    <a:pt x="1691314" y="83977"/>
                    <a:pt x="1691291" y="84132"/>
                  </a:cubicBezTo>
                  <a:lnTo>
                    <a:pt x="1624511" y="84132"/>
                  </a:lnTo>
                  <a:cubicBezTo>
                    <a:pt x="1625280" y="93964"/>
                    <a:pt x="1628630" y="101511"/>
                    <a:pt x="1634560" y="106770"/>
                  </a:cubicBezTo>
                  <a:cubicBezTo>
                    <a:pt x="1640489" y="112030"/>
                    <a:pt x="1647641" y="114686"/>
                    <a:pt x="1656015" y="114739"/>
                  </a:cubicBezTo>
                  <a:cubicBezTo>
                    <a:pt x="1661304" y="114607"/>
                    <a:pt x="1665953" y="113684"/>
                    <a:pt x="1669959" y="111969"/>
                  </a:cubicBezTo>
                  <a:cubicBezTo>
                    <a:pt x="1673966" y="110254"/>
                    <a:pt x="1677097" y="108539"/>
                    <a:pt x="1679353" y="106824"/>
                  </a:cubicBezTo>
                  <a:cubicBezTo>
                    <a:pt x="1681610" y="105109"/>
                    <a:pt x="1682757" y="104186"/>
                    <a:pt x="1682796" y="104054"/>
                  </a:cubicBezTo>
                  <a:lnTo>
                    <a:pt x="1690388" y="116546"/>
                  </a:lnTo>
                  <a:cubicBezTo>
                    <a:pt x="1690354" y="116711"/>
                    <a:pt x="1688914" y="117867"/>
                    <a:pt x="1686068" y="120013"/>
                  </a:cubicBezTo>
                  <a:cubicBezTo>
                    <a:pt x="1683222" y="122159"/>
                    <a:pt x="1679169" y="124305"/>
                    <a:pt x="1673910" y="126452"/>
                  </a:cubicBezTo>
                  <a:cubicBezTo>
                    <a:pt x="1668650" y="128598"/>
                    <a:pt x="1662383" y="129753"/>
                    <a:pt x="1655110" y="129918"/>
                  </a:cubicBezTo>
                  <a:cubicBezTo>
                    <a:pt x="1640407" y="129618"/>
                    <a:pt x="1628674" y="125021"/>
                    <a:pt x="1619909" y="116126"/>
                  </a:cubicBezTo>
                  <a:cubicBezTo>
                    <a:pt x="1611144" y="107232"/>
                    <a:pt x="1606653" y="95845"/>
                    <a:pt x="1606436" y="81964"/>
                  </a:cubicBezTo>
                  <a:cubicBezTo>
                    <a:pt x="1606721" y="67219"/>
                    <a:pt x="1611122" y="55587"/>
                    <a:pt x="1619638" y="47068"/>
                  </a:cubicBezTo>
                  <a:cubicBezTo>
                    <a:pt x="1628153" y="38549"/>
                    <a:pt x="1639072" y="34201"/>
                    <a:pt x="1652394" y="34024"/>
                  </a:cubicBezTo>
                  <a:close/>
                  <a:moveTo>
                    <a:pt x="1355785" y="34024"/>
                  </a:moveTo>
                  <a:cubicBezTo>
                    <a:pt x="1359633" y="33985"/>
                    <a:pt x="1363865" y="34485"/>
                    <a:pt x="1368480" y="35524"/>
                  </a:cubicBezTo>
                  <a:cubicBezTo>
                    <a:pt x="1373095" y="36562"/>
                    <a:pt x="1377096" y="38374"/>
                    <a:pt x="1380484" y="40959"/>
                  </a:cubicBezTo>
                  <a:cubicBezTo>
                    <a:pt x="1383871" y="43545"/>
                    <a:pt x="1385648" y="47138"/>
                    <a:pt x="1385814" y="51738"/>
                  </a:cubicBezTo>
                  <a:lnTo>
                    <a:pt x="1385814" y="60428"/>
                  </a:lnTo>
                  <a:lnTo>
                    <a:pt x="1370092" y="60428"/>
                  </a:lnTo>
                  <a:lnTo>
                    <a:pt x="1370092" y="55902"/>
                  </a:lnTo>
                  <a:cubicBezTo>
                    <a:pt x="1369869" y="53202"/>
                    <a:pt x="1368277" y="51225"/>
                    <a:pt x="1365315" y="49973"/>
                  </a:cubicBezTo>
                  <a:cubicBezTo>
                    <a:pt x="1362353" y="48721"/>
                    <a:pt x="1359357" y="48103"/>
                    <a:pt x="1356327" y="48118"/>
                  </a:cubicBezTo>
                  <a:cubicBezTo>
                    <a:pt x="1351102" y="48118"/>
                    <a:pt x="1346974" y="49023"/>
                    <a:pt x="1343944" y="50833"/>
                  </a:cubicBezTo>
                  <a:cubicBezTo>
                    <a:pt x="1340915" y="52644"/>
                    <a:pt x="1339368" y="55359"/>
                    <a:pt x="1339304" y="58980"/>
                  </a:cubicBezTo>
                  <a:cubicBezTo>
                    <a:pt x="1339564" y="63180"/>
                    <a:pt x="1342165" y="66490"/>
                    <a:pt x="1347108" y="68911"/>
                  </a:cubicBezTo>
                  <a:cubicBezTo>
                    <a:pt x="1352051" y="71332"/>
                    <a:pt x="1357774" y="73732"/>
                    <a:pt x="1364278" y="76110"/>
                  </a:cubicBezTo>
                  <a:cubicBezTo>
                    <a:pt x="1370782" y="78489"/>
                    <a:pt x="1376505" y="81714"/>
                    <a:pt x="1381448" y="85787"/>
                  </a:cubicBezTo>
                  <a:cubicBezTo>
                    <a:pt x="1386391" y="89860"/>
                    <a:pt x="1388993" y="95648"/>
                    <a:pt x="1389253" y="103153"/>
                  </a:cubicBezTo>
                  <a:cubicBezTo>
                    <a:pt x="1389050" y="111393"/>
                    <a:pt x="1385841" y="117890"/>
                    <a:pt x="1379624" y="122643"/>
                  </a:cubicBezTo>
                  <a:cubicBezTo>
                    <a:pt x="1373408" y="127396"/>
                    <a:pt x="1365401" y="129821"/>
                    <a:pt x="1355603" y="129918"/>
                  </a:cubicBezTo>
                  <a:cubicBezTo>
                    <a:pt x="1347460" y="129720"/>
                    <a:pt x="1340682" y="128330"/>
                    <a:pt x="1335269" y="125748"/>
                  </a:cubicBezTo>
                  <a:cubicBezTo>
                    <a:pt x="1329856" y="123167"/>
                    <a:pt x="1325801" y="120585"/>
                    <a:pt x="1323103" y="118004"/>
                  </a:cubicBezTo>
                  <a:cubicBezTo>
                    <a:pt x="1320404" y="115422"/>
                    <a:pt x="1319056" y="114032"/>
                    <a:pt x="1319057" y="113834"/>
                  </a:cubicBezTo>
                  <a:lnTo>
                    <a:pt x="1328098" y="102066"/>
                  </a:lnTo>
                  <a:cubicBezTo>
                    <a:pt x="1328128" y="102234"/>
                    <a:pt x="1329273" y="103407"/>
                    <a:pt x="1331533" y="105586"/>
                  </a:cubicBezTo>
                  <a:cubicBezTo>
                    <a:pt x="1333793" y="107766"/>
                    <a:pt x="1336989" y="109945"/>
                    <a:pt x="1341121" y="112124"/>
                  </a:cubicBezTo>
                  <a:cubicBezTo>
                    <a:pt x="1345252" y="114303"/>
                    <a:pt x="1350140" y="115476"/>
                    <a:pt x="1355784" y="115644"/>
                  </a:cubicBezTo>
                  <a:cubicBezTo>
                    <a:pt x="1360172" y="115652"/>
                    <a:pt x="1363892" y="114686"/>
                    <a:pt x="1366944" y="112747"/>
                  </a:cubicBezTo>
                  <a:cubicBezTo>
                    <a:pt x="1369997" y="110809"/>
                    <a:pt x="1371589" y="107852"/>
                    <a:pt x="1371721" y="103877"/>
                  </a:cubicBezTo>
                  <a:cubicBezTo>
                    <a:pt x="1371461" y="99887"/>
                    <a:pt x="1368859" y="96653"/>
                    <a:pt x="1363916" y="94174"/>
                  </a:cubicBezTo>
                  <a:cubicBezTo>
                    <a:pt x="1358973" y="91695"/>
                    <a:pt x="1353250" y="89197"/>
                    <a:pt x="1346746" y="86678"/>
                  </a:cubicBezTo>
                  <a:cubicBezTo>
                    <a:pt x="1340243" y="84160"/>
                    <a:pt x="1334519" y="80846"/>
                    <a:pt x="1329576" y="76738"/>
                  </a:cubicBezTo>
                  <a:cubicBezTo>
                    <a:pt x="1324633" y="72630"/>
                    <a:pt x="1322032" y="66952"/>
                    <a:pt x="1321772" y="59704"/>
                  </a:cubicBezTo>
                  <a:cubicBezTo>
                    <a:pt x="1322023" y="50956"/>
                    <a:pt x="1325361" y="44483"/>
                    <a:pt x="1331785" y="40283"/>
                  </a:cubicBezTo>
                  <a:cubicBezTo>
                    <a:pt x="1338208" y="36084"/>
                    <a:pt x="1346208" y="33997"/>
                    <a:pt x="1355785" y="34024"/>
                  </a:cubicBezTo>
                  <a:close/>
                  <a:moveTo>
                    <a:pt x="607933" y="34024"/>
                  </a:moveTo>
                  <a:cubicBezTo>
                    <a:pt x="616511" y="34114"/>
                    <a:pt x="623728" y="36064"/>
                    <a:pt x="629581" y="39872"/>
                  </a:cubicBezTo>
                  <a:cubicBezTo>
                    <a:pt x="635435" y="43679"/>
                    <a:pt x="639861" y="48805"/>
                    <a:pt x="642859" y="55248"/>
                  </a:cubicBezTo>
                  <a:cubicBezTo>
                    <a:pt x="645857" y="61691"/>
                    <a:pt x="647362" y="68910"/>
                    <a:pt x="647372" y="76905"/>
                  </a:cubicBezTo>
                  <a:cubicBezTo>
                    <a:pt x="647350" y="78234"/>
                    <a:pt x="647260" y="79732"/>
                    <a:pt x="647101" y="81399"/>
                  </a:cubicBezTo>
                  <a:cubicBezTo>
                    <a:pt x="646943" y="83067"/>
                    <a:pt x="646853" y="83977"/>
                    <a:pt x="646830" y="84132"/>
                  </a:cubicBezTo>
                  <a:lnTo>
                    <a:pt x="580050" y="84132"/>
                  </a:lnTo>
                  <a:cubicBezTo>
                    <a:pt x="580819" y="93964"/>
                    <a:pt x="584169" y="101511"/>
                    <a:pt x="590098" y="106770"/>
                  </a:cubicBezTo>
                  <a:cubicBezTo>
                    <a:pt x="596028" y="112030"/>
                    <a:pt x="603180" y="114686"/>
                    <a:pt x="611554" y="114739"/>
                  </a:cubicBezTo>
                  <a:cubicBezTo>
                    <a:pt x="616844" y="114607"/>
                    <a:pt x="621492" y="113684"/>
                    <a:pt x="625498" y="111969"/>
                  </a:cubicBezTo>
                  <a:cubicBezTo>
                    <a:pt x="629505" y="110254"/>
                    <a:pt x="632636" y="108539"/>
                    <a:pt x="634892" y="106824"/>
                  </a:cubicBezTo>
                  <a:cubicBezTo>
                    <a:pt x="637149" y="105109"/>
                    <a:pt x="638296" y="104186"/>
                    <a:pt x="638335" y="104054"/>
                  </a:cubicBezTo>
                  <a:lnTo>
                    <a:pt x="645926" y="116546"/>
                  </a:lnTo>
                  <a:cubicBezTo>
                    <a:pt x="645893" y="116711"/>
                    <a:pt x="644454" y="117867"/>
                    <a:pt x="641607" y="120013"/>
                  </a:cubicBezTo>
                  <a:cubicBezTo>
                    <a:pt x="638761" y="122159"/>
                    <a:pt x="634708" y="124305"/>
                    <a:pt x="629449" y="126452"/>
                  </a:cubicBezTo>
                  <a:cubicBezTo>
                    <a:pt x="624189" y="128598"/>
                    <a:pt x="617922" y="129753"/>
                    <a:pt x="610649" y="129918"/>
                  </a:cubicBezTo>
                  <a:cubicBezTo>
                    <a:pt x="595946" y="129618"/>
                    <a:pt x="584213" y="125021"/>
                    <a:pt x="575448" y="116126"/>
                  </a:cubicBezTo>
                  <a:cubicBezTo>
                    <a:pt x="566684" y="107232"/>
                    <a:pt x="562192" y="95845"/>
                    <a:pt x="561975" y="81964"/>
                  </a:cubicBezTo>
                  <a:cubicBezTo>
                    <a:pt x="562260" y="67219"/>
                    <a:pt x="566661" y="55587"/>
                    <a:pt x="575177" y="47068"/>
                  </a:cubicBezTo>
                  <a:cubicBezTo>
                    <a:pt x="583692" y="38549"/>
                    <a:pt x="594611" y="34201"/>
                    <a:pt x="607933" y="34024"/>
                  </a:cubicBezTo>
                  <a:close/>
                  <a:moveTo>
                    <a:pt x="296434" y="34024"/>
                  </a:moveTo>
                  <a:cubicBezTo>
                    <a:pt x="310987" y="34249"/>
                    <a:pt x="320969" y="37685"/>
                    <a:pt x="326380" y="44332"/>
                  </a:cubicBezTo>
                  <a:cubicBezTo>
                    <a:pt x="331792" y="50979"/>
                    <a:pt x="334354" y="59487"/>
                    <a:pt x="334067" y="69856"/>
                  </a:cubicBezTo>
                  <a:lnTo>
                    <a:pt x="334067" y="108764"/>
                  </a:lnTo>
                  <a:cubicBezTo>
                    <a:pt x="334074" y="110118"/>
                    <a:pt x="334421" y="111122"/>
                    <a:pt x="335107" y="111775"/>
                  </a:cubicBezTo>
                  <a:cubicBezTo>
                    <a:pt x="335793" y="112428"/>
                    <a:pt x="336774" y="112752"/>
                    <a:pt x="338048" y="112748"/>
                  </a:cubicBezTo>
                  <a:lnTo>
                    <a:pt x="345468" y="112748"/>
                  </a:lnTo>
                  <a:lnTo>
                    <a:pt x="345468" y="127747"/>
                  </a:lnTo>
                  <a:lnTo>
                    <a:pt x="329006" y="127747"/>
                  </a:lnTo>
                  <a:cubicBezTo>
                    <a:pt x="324973" y="127717"/>
                    <a:pt x="322059" y="126783"/>
                    <a:pt x="320263" y="124946"/>
                  </a:cubicBezTo>
                  <a:cubicBezTo>
                    <a:pt x="318467" y="123109"/>
                    <a:pt x="317586" y="120549"/>
                    <a:pt x="317619" y="117266"/>
                  </a:cubicBezTo>
                  <a:cubicBezTo>
                    <a:pt x="317634" y="115696"/>
                    <a:pt x="317695" y="114408"/>
                    <a:pt x="317800" y="113402"/>
                  </a:cubicBezTo>
                  <a:cubicBezTo>
                    <a:pt x="317906" y="112396"/>
                    <a:pt x="317966" y="111876"/>
                    <a:pt x="317981" y="111841"/>
                  </a:cubicBezTo>
                  <a:lnTo>
                    <a:pt x="317619" y="111841"/>
                  </a:lnTo>
                  <a:cubicBezTo>
                    <a:pt x="317665" y="112064"/>
                    <a:pt x="316769" y="113626"/>
                    <a:pt x="314931" y="116528"/>
                  </a:cubicBezTo>
                  <a:cubicBezTo>
                    <a:pt x="313092" y="119429"/>
                    <a:pt x="310037" y="122330"/>
                    <a:pt x="305764" y="125232"/>
                  </a:cubicBezTo>
                  <a:cubicBezTo>
                    <a:pt x="301491" y="128133"/>
                    <a:pt x="295726" y="129695"/>
                    <a:pt x="288468" y="129918"/>
                  </a:cubicBezTo>
                  <a:cubicBezTo>
                    <a:pt x="283126" y="129913"/>
                    <a:pt x="278104" y="128860"/>
                    <a:pt x="273402" y="126759"/>
                  </a:cubicBezTo>
                  <a:cubicBezTo>
                    <a:pt x="268701" y="124658"/>
                    <a:pt x="264874" y="121541"/>
                    <a:pt x="261922" y="117409"/>
                  </a:cubicBezTo>
                  <a:cubicBezTo>
                    <a:pt x="258970" y="113277"/>
                    <a:pt x="257448" y="108161"/>
                    <a:pt x="257356" y="102063"/>
                  </a:cubicBezTo>
                  <a:cubicBezTo>
                    <a:pt x="257523" y="94756"/>
                    <a:pt x="259676" y="88979"/>
                    <a:pt x="263816" y="84729"/>
                  </a:cubicBezTo>
                  <a:cubicBezTo>
                    <a:pt x="267955" y="80480"/>
                    <a:pt x="273077" y="77354"/>
                    <a:pt x="279182" y="75352"/>
                  </a:cubicBezTo>
                  <a:cubicBezTo>
                    <a:pt x="285286" y="73350"/>
                    <a:pt x="291370" y="72068"/>
                    <a:pt x="297434" y="71505"/>
                  </a:cubicBezTo>
                  <a:cubicBezTo>
                    <a:pt x="303497" y="70943"/>
                    <a:pt x="308536" y="70695"/>
                    <a:pt x="312551" y="70762"/>
                  </a:cubicBezTo>
                  <a:lnTo>
                    <a:pt x="316535" y="70762"/>
                  </a:lnTo>
                  <a:lnTo>
                    <a:pt x="316535" y="69856"/>
                  </a:lnTo>
                  <a:cubicBezTo>
                    <a:pt x="316584" y="61889"/>
                    <a:pt x="314992" y="56221"/>
                    <a:pt x="311758" y="52851"/>
                  </a:cubicBezTo>
                  <a:cubicBezTo>
                    <a:pt x="308525" y="49480"/>
                    <a:pt x="303357" y="47842"/>
                    <a:pt x="296253" y="47937"/>
                  </a:cubicBezTo>
                  <a:cubicBezTo>
                    <a:pt x="294699" y="47913"/>
                    <a:pt x="292756" y="48081"/>
                    <a:pt x="290424" y="48440"/>
                  </a:cubicBezTo>
                  <a:cubicBezTo>
                    <a:pt x="288092" y="48799"/>
                    <a:pt x="286002" y="49490"/>
                    <a:pt x="284153" y="50513"/>
                  </a:cubicBezTo>
                  <a:cubicBezTo>
                    <a:pt x="282304" y="51536"/>
                    <a:pt x="281327" y="53033"/>
                    <a:pt x="281222" y="55002"/>
                  </a:cubicBezTo>
                  <a:lnTo>
                    <a:pt x="281222" y="60255"/>
                  </a:lnTo>
                  <a:lnTo>
                    <a:pt x="264776" y="60255"/>
                  </a:lnTo>
                  <a:lnTo>
                    <a:pt x="264776" y="51198"/>
                  </a:lnTo>
                  <a:cubicBezTo>
                    <a:pt x="265002" y="46262"/>
                    <a:pt x="267081" y="42555"/>
                    <a:pt x="271012" y="40076"/>
                  </a:cubicBezTo>
                  <a:cubicBezTo>
                    <a:pt x="274942" y="37598"/>
                    <a:pt x="279366" y="35953"/>
                    <a:pt x="284282" y="35142"/>
                  </a:cubicBezTo>
                  <a:cubicBezTo>
                    <a:pt x="289199" y="34331"/>
                    <a:pt x="293249" y="33958"/>
                    <a:pt x="296434" y="34024"/>
                  </a:cubicBezTo>
                  <a:close/>
                  <a:moveTo>
                    <a:pt x="207883" y="34024"/>
                  </a:moveTo>
                  <a:cubicBezTo>
                    <a:pt x="216461" y="34114"/>
                    <a:pt x="223677" y="36064"/>
                    <a:pt x="229531" y="39872"/>
                  </a:cubicBezTo>
                  <a:cubicBezTo>
                    <a:pt x="235385" y="43679"/>
                    <a:pt x="239811" y="48805"/>
                    <a:pt x="242809" y="55248"/>
                  </a:cubicBezTo>
                  <a:cubicBezTo>
                    <a:pt x="245807" y="61691"/>
                    <a:pt x="247312" y="68910"/>
                    <a:pt x="247322" y="76905"/>
                  </a:cubicBezTo>
                  <a:cubicBezTo>
                    <a:pt x="247300" y="78234"/>
                    <a:pt x="247210" y="79732"/>
                    <a:pt x="247051" y="81399"/>
                  </a:cubicBezTo>
                  <a:cubicBezTo>
                    <a:pt x="246893" y="83067"/>
                    <a:pt x="246803" y="83977"/>
                    <a:pt x="246780" y="84132"/>
                  </a:cubicBezTo>
                  <a:lnTo>
                    <a:pt x="180000" y="84132"/>
                  </a:lnTo>
                  <a:cubicBezTo>
                    <a:pt x="180769" y="93964"/>
                    <a:pt x="184119" y="101511"/>
                    <a:pt x="190048" y="106770"/>
                  </a:cubicBezTo>
                  <a:cubicBezTo>
                    <a:pt x="195978" y="112030"/>
                    <a:pt x="203130" y="114686"/>
                    <a:pt x="211504" y="114739"/>
                  </a:cubicBezTo>
                  <a:cubicBezTo>
                    <a:pt x="216793" y="114607"/>
                    <a:pt x="221442" y="113684"/>
                    <a:pt x="225448" y="111969"/>
                  </a:cubicBezTo>
                  <a:cubicBezTo>
                    <a:pt x="229455" y="110254"/>
                    <a:pt x="232586" y="108539"/>
                    <a:pt x="234842" y="106824"/>
                  </a:cubicBezTo>
                  <a:cubicBezTo>
                    <a:pt x="237099" y="105109"/>
                    <a:pt x="238246" y="104186"/>
                    <a:pt x="238285" y="104054"/>
                  </a:cubicBezTo>
                  <a:lnTo>
                    <a:pt x="245876" y="116546"/>
                  </a:lnTo>
                  <a:cubicBezTo>
                    <a:pt x="245843" y="116711"/>
                    <a:pt x="244404" y="117867"/>
                    <a:pt x="241557" y="120013"/>
                  </a:cubicBezTo>
                  <a:cubicBezTo>
                    <a:pt x="238711" y="122159"/>
                    <a:pt x="234658" y="124305"/>
                    <a:pt x="229399" y="126452"/>
                  </a:cubicBezTo>
                  <a:cubicBezTo>
                    <a:pt x="224139" y="128598"/>
                    <a:pt x="217872" y="129753"/>
                    <a:pt x="210599" y="129918"/>
                  </a:cubicBezTo>
                  <a:cubicBezTo>
                    <a:pt x="195896" y="129618"/>
                    <a:pt x="184163" y="125021"/>
                    <a:pt x="175398" y="116126"/>
                  </a:cubicBezTo>
                  <a:cubicBezTo>
                    <a:pt x="166634" y="107232"/>
                    <a:pt x="162142" y="95845"/>
                    <a:pt x="161925" y="81964"/>
                  </a:cubicBezTo>
                  <a:cubicBezTo>
                    <a:pt x="162210" y="67219"/>
                    <a:pt x="166611" y="55587"/>
                    <a:pt x="175127" y="47068"/>
                  </a:cubicBezTo>
                  <a:cubicBezTo>
                    <a:pt x="183642" y="38549"/>
                    <a:pt x="194561" y="34201"/>
                    <a:pt x="207883" y="34024"/>
                  </a:cubicBezTo>
                  <a:close/>
                  <a:moveTo>
                    <a:pt x="49217" y="34024"/>
                  </a:moveTo>
                  <a:cubicBezTo>
                    <a:pt x="53101" y="33984"/>
                    <a:pt x="57582" y="34566"/>
                    <a:pt x="62662" y="35771"/>
                  </a:cubicBezTo>
                  <a:cubicBezTo>
                    <a:pt x="67741" y="36976"/>
                    <a:pt x="72207" y="39045"/>
                    <a:pt x="76059" y="41978"/>
                  </a:cubicBezTo>
                  <a:cubicBezTo>
                    <a:pt x="79911" y="44911"/>
                    <a:pt x="81938" y="48948"/>
                    <a:pt x="82140" y="54091"/>
                  </a:cubicBezTo>
                  <a:lnTo>
                    <a:pt x="82140" y="63505"/>
                  </a:lnTo>
                  <a:lnTo>
                    <a:pt x="66237" y="63505"/>
                  </a:lnTo>
                  <a:lnTo>
                    <a:pt x="66237" y="58436"/>
                  </a:lnTo>
                  <a:cubicBezTo>
                    <a:pt x="65946" y="55193"/>
                    <a:pt x="63947" y="52809"/>
                    <a:pt x="60239" y="51285"/>
                  </a:cubicBezTo>
                  <a:cubicBezTo>
                    <a:pt x="56531" y="49762"/>
                    <a:pt x="52857" y="49007"/>
                    <a:pt x="49217" y="49023"/>
                  </a:cubicBezTo>
                  <a:cubicBezTo>
                    <a:pt x="40070" y="49177"/>
                    <a:pt x="32609" y="52217"/>
                    <a:pt x="26834" y="58142"/>
                  </a:cubicBezTo>
                  <a:cubicBezTo>
                    <a:pt x="21059" y="64067"/>
                    <a:pt x="18079" y="71950"/>
                    <a:pt x="17894" y="81790"/>
                  </a:cubicBezTo>
                  <a:cubicBezTo>
                    <a:pt x="18173" y="92257"/>
                    <a:pt x="21417" y="100290"/>
                    <a:pt x="27626" y="105891"/>
                  </a:cubicBezTo>
                  <a:cubicBezTo>
                    <a:pt x="33835" y="111492"/>
                    <a:pt x="41334" y="114321"/>
                    <a:pt x="50123" y="114377"/>
                  </a:cubicBezTo>
                  <a:cubicBezTo>
                    <a:pt x="55888" y="114221"/>
                    <a:pt x="60890" y="113126"/>
                    <a:pt x="65130" y="111092"/>
                  </a:cubicBezTo>
                  <a:cubicBezTo>
                    <a:pt x="69370" y="109058"/>
                    <a:pt x="72655" y="107024"/>
                    <a:pt x="74984" y="104990"/>
                  </a:cubicBezTo>
                  <a:cubicBezTo>
                    <a:pt x="77313" y="102956"/>
                    <a:pt x="78493" y="101861"/>
                    <a:pt x="78526" y="101704"/>
                  </a:cubicBezTo>
                  <a:lnTo>
                    <a:pt x="86121" y="114196"/>
                  </a:lnTo>
                  <a:cubicBezTo>
                    <a:pt x="86110" y="114390"/>
                    <a:pt x="84686" y="115749"/>
                    <a:pt x="81848" y="118272"/>
                  </a:cubicBezTo>
                  <a:cubicBezTo>
                    <a:pt x="79011" y="120796"/>
                    <a:pt x="74826" y="123319"/>
                    <a:pt x="69294" y="125842"/>
                  </a:cubicBezTo>
                  <a:cubicBezTo>
                    <a:pt x="63762" y="128366"/>
                    <a:pt x="56949" y="129724"/>
                    <a:pt x="48855" y="129918"/>
                  </a:cubicBezTo>
                  <a:cubicBezTo>
                    <a:pt x="34225" y="129640"/>
                    <a:pt x="22483" y="125089"/>
                    <a:pt x="13632" y="116264"/>
                  </a:cubicBezTo>
                  <a:cubicBezTo>
                    <a:pt x="4780" y="107439"/>
                    <a:pt x="236" y="96008"/>
                    <a:pt x="0" y="81971"/>
                  </a:cubicBezTo>
                  <a:cubicBezTo>
                    <a:pt x="61" y="72887"/>
                    <a:pt x="2128" y="64747"/>
                    <a:pt x="6202" y="57552"/>
                  </a:cubicBezTo>
                  <a:cubicBezTo>
                    <a:pt x="10275" y="50356"/>
                    <a:pt x="15988" y="44659"/>
                    <a:pt x="23340" y="40461"/>
                  </a:cubicBezTo>
                  <a:cubicBezTo>
                    <a:pt x="30693" y="36262"/>
                    <a:pt x="39319" y="34117"/>
                    <a:pt x="49217" y="34024"/>
                  </a:cubicBezTo>
                  <a:close/>
                  <a:moveTo>
                    <a:pt x="362378" y="11040"/>
                  </a:moveTo>
                  <a:lnTo>
                    <a:pt x="379549" y="11040"/>
                  </a:lnTo>
                  <a:lnTo>
                    <a:pt x="379549" y="36196"/>
                  </a:lnTo>
                  <a:lnTo>
                    <a:pt x="401447" y="36196"/>
                  </a:lnTo>
                  <a:lnTo>
                    <a:pt x="401447" y="50289"/>
                  </a:lnTo>
                  <a:lnTo>
                    <a:pt x="379549" y="50289"/>
                  </a:lnTo>
                  <a:lnTo>
                    <a:pt x="379549" y="92291"/>
                  </a:lnTo>
                  <a:cubicBezTo>
                    <a:pt x="379664" y="98302"/>
                    <a:pt x="380841" y="102794"/>
                    <a:pt x="383081" y="105768"/>
                  </a:cubicBezTo>
                  <a:cubicBezTo>
                    <a:pt x="385321" y="108742"/>
                    <a:pt x="387933" y="110700"/>
                    <a:pt x="390916" y="111642"/>
                  </a:cubicBezTo>
                  <a:cubicBezTo>
                    <a:pt x="393900" y="112584"/>
                    <a:pt x="396566" y="113013"/>
                    <a:pt x="398913" y="112929"/>
                  </a:cubicBezTo>
                  <a:cubicBezTo>
                    <a:pt x="400195" y="112914"/>
                    <a:pt x="401205" y="112854"/>
                    <a:pt x="401944" y="112748"/>
                  </a:cubicBezTo>
                  <a:cubicBezTo>
                    <a:pt x="402683" y="112643"/>
                    <a:pt x="403060" y="112582"/>
                    <a:pt x="403075" y="112567"/>
                  </a:cubicBezTo>
                  <a:lnTo>
                    <a:pt x="403075" y="128109"/>
                  </a:lnTo>
                  <a:cubicBezTo>
                    <a:pt x="403056" y="128124"/>
                    <a:pt x="402506" y="128184"/>
                    <a:pt x="401424" y="128290"/>
                  </a:cubicBezTo>
                  <a:cubicBezTo>
                    <a:pt x="400342" y="128395"/>
                    <a:pt x="398841" y="128456"/>
                    <a:pt x="396922" y="128471"/>
                  </a:cubicBezTo>
                  <a:cubicBezTo>
                    <a:pt x="392845" y="128615"/>
                    <a:pt x="388112" y="127925"/>
                    <a:pt x="382725" y="126401"/>
                  </a:cubicBezTo>
                  <a:cubicBezTo>
                    <a:pt x="377337" y="124877"/>
                    <a:pt x="372593" y="121655"/>
                    <a:pt x="368492" y="116734"/>
                  </a:cubicBezTo>
                  <a:cubicBezTo>
                    <a:pt x="364392" y="111813"/>
                    <a:pt x="362233" y="104329"/>
                    <a:pt x="362017" y="94282"/>
                  </a:cubicBezTo>
                  <a:lnTo>
                    <a:pt x="362017" y="50289"/>
                  </a:lnTo>
                  <a:lnTo>
                    <a:pt x="350072" y="50289"/>
                  </a:lnTo>
                  <a:lnTo>
                    <a:pt x="350072" y="36196"/>
                  </a:lnTo>
                  <a:lnTo>
                    <a:pt x="362378" y="36196"/>
                  </a:lnTo>
                  <a:close/>
                  <a:moveTo>
                    <a:pt x="1560111" y="1"/>
                  </a:moveTo>
                  <a:lnTo>
                    <a:pt x="1577482" y="1"/>
                  </a:lnTo>
                  <a:cubicBezTo>
                    <a:pt x="1581522" y="-25"/>
                    <a:pt x="1584467" y="886"/>
                    <a:pt x="1586316" y="2734"/>
                  </a:cubicBezTo>
                  <a:cubicBezTo>
                    <a:pt x="1588164" y="4583"/>
                    <a:pt x="1589076" y="7527"/>
                    <a:pt x="1589049" y="11566"/>
                  </a:cubicBezTo>
                  <a:lnTo>
                    <a:pt x="1589049" y="108766"/>
                  </a:lnTo>
                  <a:cubicBezTo>
                    <a:pt x="1589057" y="110120"/>
                    <a:pt x="1589404" y="111123"/>
                    <a:pt x="1590090" y="111775"/>
                  </a:cubicBezTo>
                  <a:cubicBezTo>
                    <a:pt x="1590776" y="112428"/>
                    <a:pt x="1591756" y="112752"/>
                    <a:pt x="1593031" y="112748"/>
                  </a:cubicBezTo>
                  <a:lnTo>
                    <a:pt x="1600451" y="112748"/>
                  </a:lnTo>
                  <a:lnTo>
                    <a:pt x="1600451" y="127747"/>
                  </a:lnTo>
                  <a:lnTo>
                    <a:pt x="1583627" y="127747"/>
                  </a:lnTo>
                  <a:cubicBezTo>
                    <a:pt x="1579681" y="127724"/>
                    <a:pt x="1576819" y="126866"/>
                    <a:pt x="1575042" y="125172"/>
                  </a:cubicBezTo>
                  <a:cubicBezTo>
                    <a:pt x="1573264" y="123478"/>
                    <a:pt x="1572391" y="121083"/>
                    <a:pt x="1572421" y="117989"/>
                  </a:cubicBezTo>
                  <a:cubicBezTo>
                    <a:pt x="1572428" y="116607"/>
                    <a:pt x="1572459" y="115485"/>
                    <a:pt x="1572511" y="114623"/>
                  </a:cubicBezTo>
                  <a:cubicBezTo>
                    <a:pt x="1572564" y="113761"/>
                    <a:pt x="1572594" y="113317"/>
                    <a:pt x="1572602" y="113291"/>
                  </a:cubicBezTo>
                  <a:lnTo>
                    <a:pt x="1572240" y="113291"/>
                  </a:lnTo>
                  <a:cubicBezTo>
                    <a:pt x="1572285" y="113496"/>
                    <a:pt x="1571351" y="114933"/>
                    <a:pt x="1569438" y="117602"/>
                  </a:cubicBezTo>
                  <a:cubicBezTo>
                    <a:pt x="1567524" y="120270"/>
                    <a:pt x="1564364" y="122939"/>
                    <a:pt x="1559956" y="125608"/>
                  </a:cubicBezTo>
                  <a:cubicBezTo>
                    <a:pt x="1555549" y="128276"/>
                    <a:pt x="1549626" y="129713"/>
                    <a:pt x="1542187" y="129918"/>
                  </a:cubicBezTo>
                  <a:cubicBezTo>
                    <a:pt x="1529655" y="129697"/>
                    <a:pt x="1519831" y="125259"/>
                    <a:pt x="1512714" y="116603"/>
                  </a:cubicBezTo>
                  <a:cubicBezTo>
                    <a:pt x="1505597" y="107948"/>
                    <a:pt x="1501973" y="96404"/>
                    <a:pt x="1501842" y="81971"/>
                  </a:cubicBezTo>
                  <a:cubicBezTo>
                    <a:pt x="1502052" y="67221"/>
                    <a:pt x="1505925" y="55587"/>
                    <a:pt x="1513460" y="47068"/>
                  </a:cubicBezTo>
                  <a:cubicBezTo>
                    <a:pt x="1520995" y="38548"/>
                    <a:pt x="1530933" y="34200"/>
                    <a:pt x="1543273" y="34024"/>
                  </a:cubicBezTo>
                  <a:cubicBezTo>
                    <a:pt x="1550290" y="34198"/>
                    <a:pt x="1555870" y="35416"/>
                    <a:pt x="1560010" y="37679"/>
                  </a:cubicBezTo>
                  <a:cubicBezTo>
                    <a:pt x="1564151" y="39941"/>
                    <a:pt x="1567115" y="42203"/>
                    <a:pt x="1568902" y="44465"/>
                  </a:cubicBezTo>
                  <a:cubicBezTo>
                    <a:pt x="1570689" y="46727"/>
                    <a:pt x="1571561" y="47945"/>
                    <a:pt x="1571517" y="48119"/>
                  </a:cubicBezTo>
                  <a:lnTo>
                    <a:pt x="1571879" y="48119"/>
                  </a:lnTo>
                  <a:cubicBezTo>
                    <a:pt x="1571864" y="48078"/>
                    <a:pt x="1571803" y="47483"/>
                    <a:pt x="1571698" y="46335"/>
                  </a:cubicBezTo>
                  <a:cubicBezTo>
                    <a:pt x="1571593" y="45187"/>
                    <a:pt x="1571532" y="43733"/>
                    <a:pt x="1571517" y="41975"/>
                  </a:cubicBezTo>
                  <a:lnTo>
                    <a:pt x="1571517" y="18985"/>
                  </a:lnTo>
                  <a:cubicBezTo>
                    <a:pt x="1571510" y="17630"/>
                    <a:pt x="1571163" y="16626"/>
                    <a:pt x="1570476" y="15973"/>
                  </a:cubicBezTo>
                  <a:cubicBezTo>
                    <a:pt x="1569790" y="15320"/>
                    <a:pt x="1568809" y="14996"/>
                    <a:pt x="1567534" y="14999"/>
                  </a:cubicBezTo>
                  <a:lnTo>
                    <a:pt x="1560111" y="14999"/>
                  </a:lnTo>
                  <a:close/>
                  <a:moveTo>
                    <a:pt x="1464171" y="1"/>
                  </a:moveTo>
                  <a:lnTo>
                    <a:pt x="1479893" y="1"/>
                  </a:lnTo>
                  <a:lnTo>
                    <a:pt x="1479893" y="18257"/>
                  </a:lnTo>
                  <a:lnTo>
                    <a:pt x="1464171" y="18257"/>
                  </a:lnTo>
                  <a:close/>
                  <a:moveTo>
                    <a:pt x="1403515" y="1"/>
                  </a:moveTo>
                  <a:lnTo>
                    <a:pt x="1420881" y="1"/>
                  </a:lnTo>
                  <a:cubicBezTo>
                    <a:pt x="1424922" y="-25"/>
                    <a:pt x="1427866" y="886"/>
                    <a:pt x="1429715" y="2734"/>
                  </a:cubicBezTo>
                  <a:cubicBezTo>
                    <a:pt x="1431564" y="4583"/>
                    <a:pt x="1432475" y="7527"/>
                    <a:pt x="1432449" y="11566"/>
                  </a:cubicBezTo>
                  <a:lnTo>
                    <a:pt x="1432449" y="108766"/>
                  </a:lnTo>
                  <a:cubicBezTo>
                    <a:pt x="1432456" y="110120"/>
                    <a:pt x="1432803" y="111123"/>
                    <a:pt x="1433489" y="111775"/>
                  </a:cubicBezTo>
                  <a:cubicBezTo>
                    <a:pt x="1434176" y="112428"/>
                    <a:pt x="1435156" y="112752"/>
                    <a:pt x="1436430" y="112748"/>
                  </a:cubicBezTo>
                  <a:lnTo>
                    <a:pt x="1443850" y="112748"/>
                  </a:lnTo>
                  <a:lnTo>
                    <a:pt x="1443850" y="127747"/>
                  </a:lnTo>
                  <a:lnTo>
                    <a:pt x="1426484" y="127747"/>
                  </a:lnTo>
                  <a:cubicBezTo>
                    <a:pt x="1422444" y="127773"/>
                    <a:pt x="1419499" y="126862"/>
                    <a:pt x="1417650" y="125014"/>
                  </a:cubicBezTo>
                  <a:cubicBezTo>
                    <a:pt x="1415802" y="123165"/>
                    <a:pt x="1414890" y="120221"/>
                    <a:pt x="1414917" y="116182"/>
                  </a:cubicBezTo>
                  <a:lnTo>
                    <a:pt x="1414917" y="18982"/>
                  </a:lnTo>
                  <a:cubicBezTo>
                    <a:pt x="1414909" y="17628"/>
                    <a:pt x="1414562" y="16625"/>
                    <a:pt x="1413876" y="15972"/>
                  </a:cubicBezTo>
                  <a:cubicBezTo>
                    <a:pt x="1413190" y="15320"/>
                    <a:pt x="1412210" y="14996"/>
                    <a:pt x="1410935" y="14999"/>
                  </a:cubicBezTo>
                  <a:lnTo>
                    <a:pt x="1403515" y="14999"/>
                  </a:lnTo>
                  <a:close/>
                  <a:moveTo>
                    <a:pt x="429234" y="1"/>
                  </a:moveTo>
                  <a:lnTo>
                    <a:pt x="444957" y="1"/>
                  </a:lnTo>
                  <a:lnTo>
                    <a:pt x="444957" y="18257"/>
                  </a:lnTo>
                  <a:lnTo>
                    <a:pt x="429234" y="18257"/>
                  </a:lnTo>
                  <a:close/>
                </a:path>
              </a:pathLst>
            </a:custGeom>
            <a:solidFill>
              <a:schemeClr val="tx1">
                <a:lumMod val="50000"/>
                <a:lumOff val="50000"/>
              </a:schemeClr>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400" b="0" i="0" u="none" strike="noStrike" kern="1200" cap="none" spc="0" normalizeH="0" baseline="0" noProof="0">
                <a:ln>
                  <a:noFill/>
                </a:ln>
                <a:solidFill>
                  <a:srgbClr val="000000">
                    <a:lumMod val="50000"/>
                    <a:lumOff val="50000"/>
                  </a:srgbClr>
                </a:solidFill>
                <a:effectLst/>
                <a:uLnTx/>
                <a:uFillTx/>
                <a:latin typeface="等线" panose="020F0502020204030204"/>
                <a:ea typeface="+mn-ea"/>
                <a:cs typeface="+mn-cs"/>
              </a:endParaRPr>
            </a:p>
          </p:txBody>
        </p:sp>
        <p:sp>
          <p:nvSpPr>
            <p:cNvPr id="6" name="TextBox 5">
              <a:extLst>
                <a:ext uri="{FF2B5EF4-FFF2-40B4-BE49-F238E27FC236}">
                  <a16:creationId xmlns:a16="http://schemas.microsoft.com/office/drawing/2014/main" id="{0EB5A6AA-07E1-4298-BCEA-91C22E8E7A46}"/>
                </a:ext>
              </a:extLst>
            </p:cNvPr>
            <p:cNvSpPr txBox="1"/>
            <p:nvPr/>
          </p:nvSpPr>
          <p:spPr>
            <a:xfrm>
              <a:off x="10868391" y="150964"/>
              <a:ext cx="669776" cy="152902"/>
            </a:xfrm>
            <a:custGeom>
              <a:avLst/>
              <a:gdLst/>
              <a:ahLst/>
              <a:cxnLst/>
              <a:rect l="l" t="t" r="r" b="b"/>
              <a:pathLst>
                <a:path w="669776" h="152902">
                  <a:moveTo>
                    <a:pt x="566641" y="38345"/>
                  </a:moveTo>
                  <a:cubicBezTo>
                    <a:pt x="559599" y="38258"/>
                    <a:pt x="553496" y="40830"/>
                    <a:pt x="548332" y="46061"/>
                  </a:cubicBezTo>
                  <a:cubicBezTo>
                    <a:pt x="543169" y="51292"/>
                    <a:pt x="540461" y="59703"/>
                    <a:pt x="540208" y="71293"/>
                  </a:cubicBezTo>
                  <a:cubicBezTo>
                    <a:pt x="540213" y="76825"/>
                    <a:pt x="541189" y="82055"/>
                    <a:pt x="543138" y="86983"/>
                  </a:cubicBezTo>
                  <a:cubicBezTo>
                    <a:pt x="545087" y="91911"/>
                    <a:pt x="547982" y="95935"/>
                    <a:pt x="551822" y="99052"/>
                  </a:cubicBezTo>
                  <a:cubicBezTo>
                    <a:pt x="555662" y="102170"/>
                    <a:pt x="560420" y="103780"/>
                    <a:pt x="566098" y="103880"/>
                  </a:cubicBezTo>
                  <a:cubicBezTo>
                    <a:pt x="573536" y="103816"/>
                    <a:pt x="579752" y="100957"/>
                    <a:pt x="584746" y="95303"/>
                  </a:cubicBezTo>
                  <a:cubicBezTo>
                    <a:pt x="589740" y="89650"/>
                    <a:pt x="592335" y="81586"/>
                    <a:pt x="592532" y="71112"/>
                  </a:cubicBezTo>
                  <a:cubicBezTo>
                    <a:pt x="592403" y="61034"/>
                    <a:pt x="589989" y="53084"/>
                    <a:pt x="585290" y="47260"/>
                  </a:cubicBezTo>
                  <a:cubicBezTo>
                    <a:pt x="580590" y="41437"/>
                    <a:pt x="574374" y="38465"/>
                    <a:pt x="566641" y="38345"/>
                  </a:cubicBezTo>
                  <a:close/>
                  <a:moveTo>
                    <a:pt x="144464" y="38164"/>
                  </a:moveTo>
                  <a:cubicBezTo>
                    <a:pt x="135635" y="38333"/>
                    <a:pt x="128265" y="41388"/>
                    <a:pt x="122355" y="47328"/>
                  </a:cubicBezTo>
                  <a:cubicBezTo>
                    <a:pt x="116445" y="53269"/>
                    <a:pt x="113374" y="61076"/>
                    <a:pt x="113144" y="70750"/>
                  </a:cubicBezTo>
                  <a:cubicBezTo>
                    <a:pt x="113374" y="80519"/>
                    <a:pt x="116445" y="88409"/>
                    <a:pt x="122355" y="94421"/>
                  </a:cubicBezTo>
                  <a:cubicBezTo>
                    <a:pt x="128265" y="100433"/>
                    <a:pt x="135635" y="103526"/>
                    <a:pt x="144464" y="103699"/>
                  </a:cubicBezTo>
                  <a:cubicBezTo>
                    <a:pt x="153381" y="103526"/>
                    <a:pt x="160803" y="100433"/>
                    <a:pt x="166732" y="94421"/>
                  </a:cubicBezTo>
                  <a:cubicBezTo>
                    <a:pt x="172661" y="88409"/>
                    <a:pt x="175739" y="80519"/>
                    <a:pt x="175965" y="70750"/>
                  </a:cubicBezTo>
                  <a:cubicBezTo>
                    <a:pt x="175739" y="61076"/>
                    <a:pt x="172661" y="53269"/>
                    <a:pt x="166732" y="47328"/>
                  </a:cubicBezTo>
                  <a:cubicBezTo>
                    <a:pt x="160803" y="41388"/>
                    <a:pt x="153381" y="38333"/>
                    <a:pt x="144464" y="38164"/>
                  </a:cubicBezTo>
                  <a:close/>
                  <a:moveTo>
                    <a:pt x="464877" y="36897"/>
                  </a:moveTo>
                  <a:cubicBezTo>
                    <a:pt x="458061" y="36919"/>
                    <a:pt x="452229" y="38912"/>
                    <a:pt x="447382" y="42875"/>
                  </a:cubicBezTo>
                  <a:cubicBezTo>
                    <a:pt x="442535" y="46837"/>
                    <a:pt x="439374" y="52634"/>
                    <a:pt x="437899" y="60265"/>
                  </a:cubicBezTo>
                  <a:lnTo>
                    <a:pt x="486423" y="60265"/>
                  </a:lnTo>
                  <a:cubicBezTo>
                    <a:pt x="486001" y="52634"/>
                    <a:pt x="483768" y="46837"/>
                    <a:pt x="479724" y="42875"/>
                  </a:cubicBezTo>
                  <a:cubicBezTo>
                    <a:pt x="475680" y="38912"/>
                    <a:pt x="470731" y="36919"/>
                    <a:pt x="464877" y="36897"/>
                  </a:cubicBezTo>
                  <a:close/>
                  <a:moveTo>
                    <a:pt x="570081" y="22984"/>
                  </a:moveTo>
                  <a:cubicBezTo>
                    <a:pt x="582533" y="23206"/>
                    <a:pt x="592335" y="27644"/>
                    <a:pt x="599486" y="36299"/>
                  </a:cubicBezTo>
                  <a:cubicBezTo>
                    <a:pt x="606637" y="44954"/>
                    <a:pt x="610283" y="56498"/>
                    <a:pt x="610426" y="70931"/>
                  </a:cubicBezTo>
                  <a:cubicBezTo>
                    <a:pt x="610185" y="85681"/>
                    <a:pt x="606237" y="97315"/>
                    <a:pt x="598582" y="105835"/>
                  </a:cubicBezTo>
                  <a:cubicBezTo>
                    <a:pt x="590926" y="114354"/>
                    <a:pt x="581003" y="118702"/>
                    <a:pt x="568814" y="118878"/>
                  </a:cubicBezTo>
                  <a:cubicBezTo>
                    <a:pt x="562083" y="118698"/>
                    <a:pt x="556654" y="117433"/>
                    <a:pt x="552525" y="115084"/>
                  </a:cubicBezTo>
                  <a:cubicBezTo>
                    <a:pt x="548397" y="112735"/>
                    <a:pt x="545395" y="110385"/>
                    <a:pt x="543520" y="108036"/>
                  </a:cubicBezTo>
                  <a:cubicBezTo>
                    <a:pt x="541644" y="105687"/>
                    <a:pt x="540721" y="104422"/>
                    <a:pt x="540750" y="104242"/>
                  </a:cubicBezTo>
                  <a:lnTo>
                    <a:pt x="540389" y="104242"/>
                  </a:lnTo>
                  <a:cubicBezTo>
                    <a:pt x="540404" y="104279"/>
                    <a:pt x="540464" y="105017"/>
                    <a:pt x="540569" y="106455"/>
                  </a:cubicBezTo>
                  <a:cubicBezTo>
                    <a:pt x="540675" y="107893"/>
                    <a:pt x="540735" y="109806"/>
                    <a:pt x="540750" y="112192"/>
                  </a:cubicBezTo>
                  <a:lnTo>
                    <a:pt x="540750" y="152902"/>
                  </a:lnTo>
                  <a:lnTo>
                    <a:pt x="523218" y="152902"/>
                  </a:lnTo>
                  <a:lnTo>
                    <a:pt x="523218" y="44137"/>
                  </a:lnTo>
                  <a:cubicBezTo>
                    <a:pt x="523211" y="42783"/>
                    <a:pt x="522864" y="41780"/>
                    <a:pt x="522178" y="41127"/>
                  </a:cubicBezTo>
                  <a:cubicBezTo>
                    <a:pt x="521491" y="40475"/>
                    <a:pt x="520511" y="40151"/>
                    <a:pt x="519237" y="40154"/>
                  </a:cubicBezTo>
                  <a:lnTo>
                    <a:pt x="511817" y="40154"/>
                  </a:lnTo>
                  <a:lnTo>
                    <a:pt x="511817" y="25156"/>
                  </a:lnTo>
                  <a:lnTo>
                    <a:pt x="528279" y="25156"/>
                  </a:lnTo>
                  <a:cubicBezTo>
                    <a:pt x="532304" y="25179"/>
                    <a:pt x="535189" y="25992"/>
                    <a:pt x="536932" y="27595"/>
                  </a:cubicBezTo>
                  <a:cubicBezTo>
                    <a:pt x="538675" y="29199"/>
                    <a:pt x="539526" y="31458"/>
                    <a:pt x="539485" y="34372"/>
                  </a:cubicBezTo>
                  <a:cubicBezTo>
                    <a:pt x="539478" y="35761"/>
                    <a:pt x="539447" y="36913"/>
                    <a:pt x="539395" y="37828"/>
                  </a:cubicBezTo>
                  <a:cubicBezTo>
                    <a:pt x="539342" y="38742"/>
                    <a:pt x="539312" y="39216"/>
                    <a:pt x="539304" y="39249"/>
                  </a:cubicBezTo>
                  <a:lnTo>
                    <a:pt x="539666" y="39249"/>
                  </a:lnTo>
                  <a:cubicBezTo>
                    <a:pt x="539619" y="39049"/>
                    <a:pt x="540557" y="37643"/>
                    <a:pt x="542482" y="35032"/>
                  </a:cubicBezTo>
                  <a:cubicBezTo>
                    <a:pt x="544406" y="32422"/>
                    <a:pt x="547598" y="29812"/>
                    <a:pt x="552057" y="27201"/>
                  </a:cubicBezTo>
                  <a:cubicBezTo>
                    <a:pt x="556515" y="24591"/>
                    <a:pt x="562524" y="23185"/>
                    <a:pt x="570081" y="22984"/>
                  </a:cubicBezTo>
                  <a:close/>
                  <a:moveTo>
                    <a:pt x="465058" y="22984"/>
                  </a:moveTo>
                  <a:cubicBezTo>
                    <a:pt x="473637" y="23074"/>
                    <a:pt x="480853" y="25024"/>
                    <a:pt x="486707" y="28832"/>
                  </a:cubicBezTo>
                  <a:cubicBezTo>
                    <a:pt x="492561" y="32639"/>
                    <a:pt x="496987" y="37765"/>
                    <a:pt x="499985" y="44208"/>
                  </a:cubicBezTo>
                  <a:cubicBezTo>
                    <a:pt x="502983" y="50651"/>
                    <a:pt x="504487" y="57870"/>
                    <a:pt x="504498" y="65865"/>
                  </a:cubicBezTo>
                  <a:cubicBezTo>
                    <a:pt x="504475" y="67194"/>
                    <a:pt x="504385" y="68692"/>
                    <a:pt x="504227" y="70359"/>
                  </a:cubicBezTo>
                  <a:cubicBezTo>
                    <a:pt x="504069" y="72027"/>
                    <a:pt x="503978" y="72937"/>
                    <a:pt x="503956" y="73092"/>
                  </a:cubicBezTo>
                  <a:lnTo>
                    <a:pt x="437175" y="73092"/>
                  </a:lnTo>
                  <a:cubicBezTo>
                    <a:pt x="437945" y="82924"/>
                    <a:pt x="441294" y="90471"/>
                    <a:pt x="447224" y="95730"/>
                  </a:cubicBezTo>
                  <a:cubicBezTo>
                    <a:pt x="453154" y="100990"/>
                    <a:pt x="460305" y="103646"/>
                    <a:pt x="468679" y="103699"/>
                  </a:cubicBezTo>
                  <a:cubicBezTo>
                    <a:pt x="473969" y="103567"/>
                    <a:pt x="478617" y="102644"/>
                    <a:pt x="482623" y="100929"/>
                  </a:cubicBezTo>
                  <a:cubicBezTo>
                    <a:pt x="486630" y="99214"/>
                    <a:pt x="489761" y="97499"/>
                    <a:pt x="492018" y="95784"/>
                  </a:cubicBezTo>
                  <a:cubicBezTo>
                    <a:pt x="494274" y="94069"/>
                    <a:pt x="495422" y="93146"/>
                    <a:pt x="495461" y="93014"/>
                  </a:cubicBezTo>
                  <a:lnTo>
                    <a:pt x="503052" y="105506"/>
                  </a:lnTo>
                  <a:cubicBezTo>
                    <a:pt x="503019" y="105671"/>
                    <a:pt x="501579" y="106827"/>
                    <a:pt x="498733" y="108973"/>
                  </a:cubicBezTo>
                  <a:cubicBezTo>
                    <a:pt x="495887" y="111119"/>
                    <a:pt x="491834" y="113265"/>
                    <a:pt x="486574" y="115412"/>
                  </a:cubicBezTo>
                  <a:cubicBezTo>
                    <a:pt x="481315" y="117558"/>
                    <a:pt x="475048" y="118713"/>
                    <a:pt x="467774" y="118878"/>
                  </a:cubicBezTo>
                  <a:cubicBezTo>
                    <a:pt x="453072" y="118578"/>
                    <a:pt x="441339" y="113981"/>
                    <a:pt x="432574" y="105086"/>
                  </a:cubicBezTo>
                  <a:cubicBezTo>
                    <a:pt x="423809" y="96192"/>
                    <a:pt x="419318" y="84805"/>
                    <a:pt x="419100" y="70924"/>
                  </a:cubicBezTo>
                  <a:cubicBezTo>
                    <a:pt x="419386" y="56179"/>
                    <a:pt x="423786" y="44547"/>
                    <a:pt x="432302" y="36028"/>
                  </a:cubicBezTo>
                  <a:cubicBezTo>
                    <a:pt x="440818" y="27509"/>
                    <a:pt x="451737" y="23161"/>
                    <a:pt x="465058" y="22984"/>
                  </a:cubicBezTo>
                  <a:close/>
                  <a:moveTo>
                    <a:pt x="373068" y="22984"/>
                  </a:moveTo>
                  <a:cubicBezTo>
                    <a:pt x="376951" y="22944"/>
                    <a:pt x="381433" y="23526"/>
                    <a:pt x="386512" y="24731"/>
                  </a:cubicBezTo>
                  <a:cubicBezTo>
                    <a:pt x="391591" y="25936"/>
                    <a:pt x="396057" y="28005"/>
                    <a:pt x="399909" y="30938"/>
                  </a:cubicBezTo>
                  <a:cubicBezTo>
                    <a:pt x="403761" y="33871"/>
                    <a:pt x="405789" y="37908"/>
                    <a:pt x="405990" y="43051"/>
                  </a:cubicBezTo>
                  <a:lnTo>
                    <a:pt x="405990" y="52465"/>
                  </a:lnTo>
                  <a:lnTo>
                    <a:pt x="390087" y="52465"/>
                  </a:lnTo>
                  <a:lnTo>
                    <a:pt x="390087" y="47396"/>
                  </a:lnTo>
                  <a:cubicBezTo>
                    <a:pt x="389797" y="44153"/>
                    <a:pt x="387798" y="41769"/>
                    <a:pt x="384090" y="40245"/>
                  </a:cubicBezTo>
                  <a:cubicBezTo>
                    <a:pt x="380382" y="38722"/>
                    <a:pt x="376708" y="37967"/>
                    <a:pt x="373068" y="37983"/>
                  </a:cubicBezTo>
                  <a:cubicBezTo>
                    <a:pt x="363920" y="38137"/>
                    <a:pt x="356459" y="41177"/>
                    <a:pt x="350684" y="47102"/>
                  </a:cubicBezTo>
                  <a:cubicBezTo>
                    <a:pt x="344909" y="53027"/>
                    <a:pt x="341929" y="60910"/>
                    <a:pt x="341744" y="70750"/>
                  </a:cubicBezTo>
                  <a:cubicBezTo>
                    <a:pt x="342023" y="81217"/>
                    <a:pt x="345267" y="89250"/>
                    <a:pt x="351476" y="94851"/>
                  </a:cubicBezTo>
                  <a:cubicBezTo>
                    <a:pt x="357685" y="100452"/>
                    <a:pt x="365184" y="103281"/>
                    <a:pt x="373973" y="103337"/>
                  </a:cubicBezTo>
                  <a:cubicBezTo>
                    <a:pt x="379738" y="103181"/>
                    <a:pt x="384741" y="102086"/>
                    <a:pt x="388981" y="100052"/>
                  </a:cubicBezTo>
                  <a:cubicBezTo>
                    <a:pt x="393221" y="98018"/>
                    <a:pt x="396505" y="95984"/>
                    <a:pt x="398834" y="93950"/>
                  </a:cubicBezTo>
                  <a:cubicBezTo>
                    <a:pt x="401163" y="91916"/>
                    <a:pt x="402344" y="90821"/>
                    <a:pt x="402376" y="90664"/>
                  </a:cubicBezTo>
                  <a:lnTo>
                    <a:pt x="409972" y="103156"/>
                  </a:lnTo>
                  <a:cubicBezTo>
                    <a:pt x="409961" y="103350"/>
                    <a:pt x="408537" y="104709"/>
                    <a:pt x="405699" y="107232"/>
                  </a:cubicBezTo>
                  <a:cubicBezTo>
                    <a:pt x="402861" y="109756"/>
                    <a:pt x="398676" y="112279"/>
                    <a:pt x="393145" y="114802"/>
                  </a:cubicBezTo>
                  <a:cubicBezTo>
                    <a:pt x="387613" y="117326"/>
                    <a:pt x="380800" y="118684"/>
                    <a:pt x="372706" y="118878"/>
                  </a:cubicBezTo>
                  <a:cubicBezTo>
                    <a:pt x="358075" y="118600"/>
                    <a:pt x="346334" y="114049"/>
                    <a:pt x="337482" y="105224"/>
                  </a:cubicBezTo>
                  <a:cubicBezTo>
                    <a:pt x="328631" y="96399"/>
                    <a:pt x="324087" y="84968"/>
                    <a:pt x="323850" y="70931"/>
                  </a:cubicBezTo>
                  <a:cubicBezTo>
                    <a:pt x="323911" y="61847"/>
                    <a:pt x="325979" y="53707"/>
                    <a:pt x="330052" y="46512"/>
                  </a:cubicBezTo>
                  <a:cubicBezTo>
                    <a:pt x="334125" y="39316"/>
                    <a:pt x="339838" y="33619"/>
                    <a:pt x="347191" y="29421"/>
                  </a:cubicBezTo>
                  <a:cubicBezTo>
                    <a:pt x="354543" y="25222"/>
                    <a:pt x="363169" y="23077"/>
                    <a:pt x="373068" y="22984"/>
                  </a:cubicBezTo>
                  <a:close/>
                  <a:moveTo>
                    <a:pt x="269808" y="22984"/>
                  </a:moveTo>
                  <a:cubicBezTo>
                    <a:pt x="280620" y="22987"/>
                    <a:pt x="288579" y="25918"/>
                    <a:pt x="293688" y="31776"/>
                  </a:cubicBezTo>
                  <a:cubicBezTo>
                    <a:pt x="298796" y="37634"/>
                    <a:pt x="301328" y="46401"/>
                    <a:pt x="301282" y="58077"/>
                  </a:cubicBezTo>
                  <a:lnTo>
                    <a:pt x="301282" y="97725"/>
                  </a:lnTo>
                  <a:cubicBezTo>
                    <a:pt x="301290" y="99080"/>
                    <a:pt x="301637" y="100083"/>
                    <a:pt x="302323" y="100735"/>
                  </a:cubicBezTo>
                  <a:cubicBezTo>
                    <a:pt x="303009" y="101388"/>
                    <a:pt x="303989" y="101712"/>
                    <a:pt x="305264" y="101708"/>
                  </a:cubicBezTo>
                  <a:lnTo>
                    <a:pt x="312684" y="101708"/>
                  </a:lnTo>
                  <a:lnTo>
                    <a:pt x="312684" y="116707"/>
                  </a:lnTo>
                  <a:lnTo>
                    <a:pt x="295318" y="116707"/>
                  </a:lnTo>
                  <a:cubicBezTo>
                    <a:pt x="291277" y="116733"/>
                    <a:pt x="288333" y="115822"/>
                    <a:pt x="286484" y="113974"/>
                  </a:cubicBezTo>
                  <a:cubicBezTo>
                    <a:pt x="284635" y="112125"/>
                    <a:pt x="283724" y="109181"/>
                    <a:pt x="283750" y="105142"/>
                  </a:cubicBezTo>
                  <a:lnTo>
                    <a:pt x="283750" y="62060"/>
                  </a:lnTo>
                  <a:cubicBezTo>
                    <a:pt x="283950" y="55479"/>
                    <a:pt x="282917" y="50040"/>
                    <a:pt x="280649" y="45744"/>
                  </a:cubicBezTo>
                  <a:cubicBezTo>
                    <a:pt x="278382" y="41448"/>
                    <a:pt x="273682" y="39223"/>
                    <a:pt x="266549" y="39068"/>
                  </a:cubicBezTo>
                  <a:cubicBezTo>
                    <a:pt x="259390" y="39178"/>
                    <a:pt x="253249" y="41267"/>
                    <a:pt x="248126" y="45337"/>
                  </a:cubicBezTo>
                  <a:cubicBezTo>
                    <a:pt x="243004" y="49406"/>
                    <a:pt x="239488" y="54800"/>
                    <a:pt x="237580" y="61517"/>
                  </a:cubicBezTo>
                  <a:cubicBezTo>
                    <a:pt x="236957" y="63331"/>
                    <a:pt x="236527" y="65270"/>
                    <a:pt x="236290" y="67333"/>
                  </a:cubicBezTo>
                  <a:cubicBezTo>
                    <a:pt x="236052" y="69396"/>
                    <a:pt x="235939" y="71561"/>
                    <a:pt x="235950" y="73828"/>
                  </a:cubicBezTo>
                  <a:lnTo>
                    <a:pt x="235950" y="116707"/>
                  </a:lnTo>
                  <a:lnTo>
                    <a:pt x="218418" y="116707"/>
                  </a:lnTo>
                  <a:lnTo>
                    <a:pt x="218418" y="44137"/>
                  </a:lnTo>
                  <a:cubicBezTo>
                    <a:pt x="218411" y="42783"/>
                    <a:pt x="218064" y="41780"/>
                    <a:pt x="217378" y="41127"/>
                  </a:cubicBezTo>
                  <a:cubicBezTo>
                    <a:pt x="216691" y="40475"/>
                    <a:pt x="215711" y="40151"/>
                    <a:pt x="214437" y="40154"/>
                  </a:cubicBezTo>
                  <a:lnTo>
                    <a:pt x="207017" y="40154"/>
                  </a:lnTo>
                  <a:lnTo>
                    <a:pt x="207017" y="25156"/>
                  </a:lnTo>
                  <a:lnTo>
                    <a:pt x="223841" y="25156"/>
                  </a:lnTo>
                  <a:cubicBezTo>
                    <a:pt x="231582" y="25186"/>
                    <a:pt x="235438" y="28559"/>
                    <a:pt x="235408" y="35275"/>
                  </a:cubicBezTo>
                  <a:lnTo>
                    <a:pt x="235408" y="38709"/>
                  </a:lnTo>
                  <a:cubicBezTo>
                    <a:pt x="235393" y="40193"/>
                    <a:pt x="235333" y="41430"/>
                    <a:pt x="235227" y="42418"/>
                  </a:cubicBezTo>
                  <a:cubicBezTo>
                    <a:pt x="235122" y="43406"/>
                    <a:pt x="235062" y="43918"/>
                    <a:pt x="235047" y="43956"/>
                  </a:cubicBezTo>
                  <a:lnTo>
                    <a:pt x="235408" y="43956"/>
                  </a:lnTo>
                  <a:cubicBezTo>
                    <a:pt x="236604" y="41191"/>
                    <a:pt x="238637" y="38200"/>
                    <a:pt x="241510" y="34981"/>
                  </a:cubicBezTo>
                  <a:cubicBezTo>
                    <a:pt x="244382" y="31763"/>
                    <a:pt x="248159" y="28987"/>
                    <a:pt x="252842" y="26653"/>
                  </a:cubicBezTo>
                  <a:cubicBezTo>
                    <a:pt x="257525" y="24319"/>
                    <a:pt x="263181" y="23096"/>
                    <a:pt x="269808" y="22984"/>
                  </a:cubicBezTo>
                  <a:close/>
                  <a:moveTo>
                    <a:pt x="144464" y="22984"/>
                  </a:moveTo>
                  <a:cubicBezTo>
                    <a:pt x="153680" y="23061"/>
                    <a:pt x="161999" y="25137"/>
                    <a:pt x="169420" y="29213"/>
                  </a:cubicBezTo>
                  <a:cubicBezTo>
                    <a:pt x="176842" y="33288"/>
                    <a:pt x="182744" y="38903"/>
                    <a:pt x="187128" y="46056"/>
                  </a:cubicBezTo>
                  <a:cubicBezTo>
                    <a:pt x="191512" y="53209"/>
                    <a:pt x="193756" y="61440"/>
                    <a:pt x="193859" y="70750"/>
                  </a:cubicBezTo>
                  <a:cubicBezTo>
                    <a:pt x="193756" y="80121"/>
                    <a:pt x="191512" y="88411"/>
                    <a:pt x="187128" y="95619"/>
                  </a:cubicBezTo>
                  <a:cubicBezTo>
                    <a:pt x="182744" y="102827"/>
                    <a:pt x="176842" y="108486"/>
                    <a:pt x="169420" y="112596"/>
                  </a:cubicBezTo>
                  <a:cubicBezTo>
                    <a:pt x="161999" y="116706"/>
                    <a:pt x="153680" y="118801"/>
                    <a:pt x="144464" y="118878"/>
                  </a:cubicBezTo>
                  <a:cubicBezTo>
                    <a:pt x="135251" y="118801"/>
                    <a:pt x="126948" y="116706"/>
                    <a:pt x="119555" y="112596"/>
                  </a:cubicBezTo>
                  <a:cubicBezTo>
                    <a:pt x="112163" y="108486"/>
                    <a:pt x="106290" y="102827"/>
                    <a:pt x="101935" y="95619"/>
                  </a:cubicBezTo>
                  <a:cubicBezTo>
                    <a:pt x="97580" y="88411"/>
                    <a:pt x="95352" y="80121"/>
                    <a:pt x="95250" y="70750"/>
                  </a:cubicBezTo>
                  <a:cubicBezTo>
                    <a:pt x="95352" y="61440"/>
                    <a:pt x="97580" y="53209"/>
                    <a:pt x="101935" y="46056"/>
                  </a:cubicBezTo>
                  <a:cubicBezTo>
                    <a:pt x="106290" y="38903"/>
                    <a:pt x="112163" y="33288"/>
                    <a:pt x="119555" y="29213"/>
                  </a:cubicBezTo>
                  <a:cubicBezTo>
                    <a:pt x="126948" y="25137"/>
                    <a:pt x="135251" y="23061"/>
                    <a:pt x="144464" y="22984"/>
                  </a:cubicBezTo>
                  <a:close/>
                  <a:moveTo>
                    <a:pt x="49218" y="22984"/>
                  </a:moveTo>
                  <a:cubicBezTo>
                    <a:pt x="53101" y="22944"/>
                    <a:pt x="57583" y="23526"/>
                    <a:pt x="62662" y="24731"/>
                  </a:cubicBezTo>
                  <a:cubicBezTo>
                    <a:pt x="67741" y="25936"/>
                    <a:pt x="72207" y="28005"/>
                    <a:pt x="76059" y="30938"/>
                  </a:cubicBezTo>
                  <a:cubicBezTo>
                    <a:pt x="79911" y="33871"/>
                    <a:pt x="81939" y="37908"/>
                    <a:pt x="82140" y="43051"/>
                  </a:cubicBezTo>
                  <a:lnTo>
                    <a:pt x="82140" y="52465"/>
                  </a:lnTo>
                  <a:lnTo>
                    <a:pt x="66237" y="52465"/>
                  </a:lnTo>
                  <a:lnTo>
                    <a:pt x="66237" y="47396"/>
                  </a:lnTo>
                  <a:cubicBezTo>
                    <a:pt x="65947" y="44153"/>
                    <a:pt x="63948" y="41769"/>
                    <a:pt x="60240" y="40245"/>
                  </a:cubicBezTo>
                  <a:cubicBezTo>
                    <a:pt x="56532" y="38722"/>
                    <a:pt x="52858" y="37967"/>
                    <a:pt x="49218" y="37983"/>
                  </a:cubicBezTo>
                  <a:cubicBezTo>
                    <a:pt x="40070" y="38137"/>
                    <a:pt x="32609" y="41177"/>
                    <a:pt x="26834" y="47102"/>
                  </a:cubicBezTo>
                  <a:cubicBezTo>
                    <a:pt x="21059" y="53027"/>
                    <a:pt x="18079" y="60910"/>
                    <a:pt x="17894" y="70750"/>
                  </a:cubicBezTo>
                  <a:cubicBezTo>
                    <a:pt x="18173" y="81217"/>
                    <a:pt x="21417" y="89250"/>
                    <a:pt x="27626" y="94851"/>
                  </a:cubicBezTo>
                  <a:cubicBezTo>
                    <a:pt x="33835" y="100452"/>
                    <a:pt x="41334" y="103281"/>
                    <a:pt x="50123" y="103337"/>
                  </a:cubicBezTo>
                  <a:cubicBezTo>
                    <a:pt x="55888" y="103181"/>
                    <a:pt x="60891" y="102086"/>
                    <a:pt x="65131" y="100052"/>
                  </a:cubicBezTo>
                  <a:cubicBezTo>
                    <a:pt x="69371" y="98018"/>
                    <a:pt x="72655" y="95984"/>
                    <a:pt x="74984" y="93950"/>
                  </a:cubicBezTo>
                  <a:cubicBezTo>
                    <a:pt x="77313" y="91916"/>
                    <a:pt x="78494" y="90821"/>
                    <a:pt x="78526" y="90664"/>
                  </a:cubicBezTo>
                  <a:lnTo>
                    <a:pt x="86122" y="103156"/>
                  </a:lnTo>
                  <a:cubicBezTo>
                    <a:pt x="86111" y="103350"/>
                    <a:pt x="84687" y="104709"/>
                    <a:pt x="81849" y="107232"/>
                  </a:cubicBezTo>
                  <a:cubicBezTo>
                    <a:pt x="79011" y="109756"/>
                    <a:pt x="74827" y="112279"/>
                    <a:pt x="69295" y="114802"/>
                  </a:cubicBezTo>
                  <a:cubicBezTo>
                    <a:pt x="63763" y="117326"/>
                    <a:pt x="56950" y="118684"/>
                    <a:pt x="48856" y="118878"/>
                  </a:cubicBezTo>
                  <a:cubicBezTo>
                    <a:pt x="34225" y="118600"/>
                    <a:pt x="22484" y="114049"/>
                    <a:pt x="13632" y="105224"/>
                  </a:cubicBezTo>
                  <a:cubicBezTo>
                    <a:pt x="4781" y="96399"/>
                    <a:pt x="237" y="84968"/>
                    <a:pt x="0" y="70931"/>
                  </a:cubicBezTo>
                  <a:cubicBezTo>
                    <a:pt x="61" y="61847"/>
                    <a:pt x="2129" y="53707"/>
                    <a:pt x="6202" y="46512"/>
                  </a:cubicBezTo>
                  <a:cubicBezTo>
                    <a:pt x="10275" y="39316"/>
                    <a:pt x="15988" y="33619"/>
                    <a:pt x="23341" y="29421"/>
                  </a:cubicBezTo>
                  <a:cubicBezTo>
                    <a:pt x="30693" y="25222"/>
                    <a:pt x="39319" y="23077"/>
                    <a:pt x="49218" y="22984"/>
                  </a:cubicBezTo>
                  <a:close/>
                  <a:moveTo>
                    <a:pt x="629079" y="0"/>
                  </a:moveTo>
                  <a:lnTo>
                    <a:pt x="646249" y="0"/>
                  </a:lnTo>
                  <a:lnTo>
                    <a:pt x="646249" y="25156"/>
                  </a:lnTo>
                  <a:lnTo>
                    <a:pt x="668147" y="25156"/>
                  </a:lnTo>
                  <a:lnTo>
                    <a:pt x="668147" y="39249"/>
                  </a:lnTo>
                  <a:lnTo>
                    <a:pt x="646249" y="39249"/>
                  </a:lnTo>
                  <a:lnTo>
                    <a:pt x="646249" y="81251"/>
                  </a:lnTo>
                  <a:cubicBezTo>
                    <a:pt x="646364" y="87262"/>
                    <a:pt x="647542" y="91754"/>
                    <a:pt x="649781" y="94728"/>
                  </a:cubicBezTo>
                  <a:cubicBezTo>
                    <a:pt x="652021" y="97702"/>
                    <a:pt x="654633" y="99660"/>
                    <a:pt x="657617" y="100602"/>
                  </a:cubicBezTo>
                  <a:cubicBezTo>
                    <a:pt x="660601" y="101544"/>
                    <a:pt x="663266" y="101973"/>
                    <a:pt x="665613" y="101889"/>
                  </a:cubicBezTo>
                  <a:cubicBezTo>
                    <a:pt x="666895" y="101874"/>
                    <a:pt x="667906" y="101814"/>
                    <a:pt x="668645" y="101708"/>
                  </a:cubicBezTo>
                  <a:cubicBezTo>
                    <a:pt x="669384" y="101603"/>
                    <a:pt x="669761" y="101542"/>
                    <a:pt x="669776" y="101527"/>
                  </a:cubicBezTo>
                  <a:lnTo>
                    <a:pt x="669776" y="117069"/>
                  </a:lnTo>
                  <a:cubicBezTo>
                    <a:pt x="669757" y="117084"/>
                    <a:pt x="669207" y="117144"/>
                    <a:pt x="668124" y="117250"/>
                  </a:cubicBezTo>
                  <a:cubicBezTo>
                    <a:pt x="667042" y="117355"/>
                    <a:pt x="665542" y="117416"/>
                    <a:pt x="663623" y="117431"/>
                  </a:cubicBezTo>
                  <a:cubicBezTo>
                    <a:pt x="659545" y="117575"/>
                    <a:pt x="654813" y="116885"/>
                    <a:pt x="649425" y="115361"/>
                  </a:cubicBezTo>
                  <a:cubicBezTo>
                    <a:pt x="644038" y="113837"/>
                    <a:pt x="639294" y="110615"/>
                    <a:pt x="635193" y="105694"/>
                  </a:cubicBezTo>
                  <a:cubicBezTo>
                    <a:pt x="631092" y="100773"/>
                    <a:pt x="628934" y="93289"/>
                    <a:pt x="628717" y="83242"/>
                  </a:cubicBezTo>
                  <a:lnTo>
                    <a:pt x="628717" y="39249"/>
                  </a:lnTo>
                  <a:lnTo>
                    <a:pt x="616773" y="39249"/>
                  </a:lnTo>
                  <a:lnTo>
                    <a:pt x="616773" y="25156"/>
                  </a:lnTo>
                  <a:lnTo>
                    <a:pt x="629079" y="25156"/>
                  </a:ln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400" b="0" i="0" u="none" strike="noStrike" kern="1200" cap="none" spc="0" normalizeH="0" baseline="0" noProof="0">
                <a:ln>
                  <a:noFill/>
                </a:ln>
                <a:solidFill>
                  <a:srgbClr val="FFFFFF"/>
                </a:solidFill>
                <a:effectLst/>
                <a:uLnTx/>
                <a:uFillTx/>
                <a:latin typeface="等线" panose="020F0502020204030204"/>
                <a:ea typeface="+mn-ea"/>
                <a:cs typeface="+mn-cs"/>
              </a:endParaRPr>
            </a:p>
          </p:txBody>
        </p:sp>
      </p:grpSp>
      <p:grpSp>
        <p:nvGrpSpPr>
          <p:cNvPr id="7" name="Group 6">
            <a:extLst>
              <a:ext uri="{FF2B5EF4-FFF2-40B4-BE49-F238E27FC236}">
                <a16:creationId xmlns:a16="http://schemas.microsoft.com/office/drawing/2014/main" id="{3E18860C-00A8-426B-95C6-2609DCEC8A99}"/>
              </a:ext>
            </a:extLst>
          </p:cNvPr>
          <p:cNvGrpSpPr/>
          <p:nvPr/>
        </p:nvGrpSpPr>
        <p:grpSpPr>
          <a:xfrm flipH="1">
            <a:off x="8526102" y="5071803"/>
            <a:ext cx="3917327" cy="2161269"/>
            <a:chOff x="9395503" y="5755181"/>
            <a:chExt cx="2898653" cy="1599246"/>
          </a:xfrm>
        </p:grpSpPr>
        <p:grpSp>
          <p:nvGrpSpPr>
            <p:cNvPr id="8" name="Group 7">
              <a:extLst>
                <a:ext uri="{FF2B5EF4-FFF2-40B4-BE49-F238E27FC236}">
                  <a16:creationId xmlns:a16="http://schemas.microsoft.com/office/drawing/2014/main" id="{0084B075-DCDF-4111-94F6-BDE566316D65}"/>
                </a:ext>
              </a:extLst>
            </p:cNvPr>
            <p:cNvGrpSpPr/>
            <p:nvPr/>
          </p:nvGrpSpPr>
          <p:grpSpPr>
            <a:xfrm>
              <a:off x="10025741" y="5755181"/>
              <a:ext cx="1384574" cy="1599246"/>
              <a:chOff x="9347995" y="5423912"/>
              <a:chExt cx="1762745" cy="2036053"/>
            </a:xfrm>
          </p:grpSpPr>
          <p:grpSp>
            <p:nvGrpSpPr>
              <p:cNvPr id="27" name="Group 26">
                <a:extLst>
                  <a:ext uri="{FF2B5EF4-FFF2-40B4-BE49-F238E27FC236}">
                    <a16:creationId xmlns:a16="http://schemas.microsoft.com/office/drawing/2014/main" id="{B289C833-579D-4AE4-8AF4-DCA54FC9A9E7}"/>
                  </a:ext>
                </a:extLst>
              </p:cNvPr>
              <p:cNvGrpSpPr/>
              <p:nvPr/>
            </p:nvGrpSpPr>
            <p:grpSpPr>
              <a:xfrm>
                <a:off x="9347995" y="5423912"/>
                <a:ext cx="1389377" cy="2036053"/>
                <a:chOff x="-100584" y="5147437"/>
                <a:chExt cx="2297093" cy="3366259"/>
              </a:xfrm>
            </p:grpSpPr>
            <p:sp>
              <p:nvSpPr>
                <p:cNvPr id="37" name="Freeform: Shape 36">
                  <a:extLst>
                    <a:ext uri="{FF2B5EF4-FFF2-40B4-BE49-F238E27FC236}">
                      <a16:creationId xmlns:a16="http://schemas.microsoft.com/office/drawing/2014/main" id="{894E5176-D481-41CC-A6D7-AA60B11AA591}"/>
                    </a:ext>
                  </a:extLst>
                </p:cNvPr>
                <p:cNvSpPr/>
                <p:nvPr/>
              </p:nvSpPr>
              <p:spPr>
                <a:xfrm>
                  <a:off x="730149" y="5393498"/>
                  <a:ext cx="195977" cy="827460"/>
                </a:xfrm>
                <a:custGeom>
                  <a:avLst/>
                  <a:gdLst>
                    <a:gd name="connsiteX0" fmla="*/ 129556 w 195977"/>
                    <a:gd name="connsiteY0" fmla="*/ 844880 h 827459"/>
                    <a:gd name="connsiteX1" fmla="*/ 48988 w 195977"/>
                    <a:gd name="connsiteY1" fmla="*/ 0 h 827459"/>
                    <a:gd name="connsiteX2" fmla="*/ 129556 w 195977"/>
                    <a:gd name="connsiteY2" fmla="*/ 844880 h 827459"/>
                  </a:gdLst>
                  <a:ahLst/>
                  <a:cxnLst>
                    <a:cxn ang="0">
                      <a:pos x="connsiteX0" y="connsiteY0"/>
                    </a:cxn>
                    <a:cxn ang="0">
                      <a:pos x="connsiteX1" y="connsiteY1"/>
                    </a:cxn>
                    <a:cxn ang="0">
                      <a:pos x="connsiteX2" y="connsiteY2"/>
                    </a:cxn>
                  </a:cxnLst>
                  <a:rect l="l" t="t" r="r" b="b"/>
                  <a:pathLst>
                    <a:path w="195977" h="827459">
                      <a:moveTo>
                        <a:pt x="129556" y="844880"/>
                      </a:moveTo>
                      <a:cubicBezTo>
                        <a:pt x="129556" y="844880"/>
                        <a:pt x="-96907" y="402842"/>
                        <a:pt x="48988" y="0"/>
                      </a:cubicBezTo>
                      <a:cubicBezTo>
                        <a:pt x="48988" y="0"/>
                        <a:pt x="336421" y="400665"/>
                        <a:pt x="129556" y="844880"/>
                      </a:cubicBezTo>
                      <a:close/>
                    </a:path>
                  </a:pathLst>
                </a:custGeom>
                <a:solidFill>
                  <a:schemeClr val="accent3"/>
                </a:solidFill>
                <a:ln w="2176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8" name="Freeform: Shape 37">
                  <a:extLst>
                    <a:ext uri="{FF2B5EF4-FFF2-40B4-BE49-F238E27FC236}">
                      <a16:creationId xmlns:a16="http://schemas.microsoft.com/office/drawing/2014/main" id="{9A9C3DE1-FD9F-4DBC-9440-148808A77568}"/>
                    </a:ext>
                  </a:extLst>
                </p:cNvPr>
                <p:cNvSpPr/>
                <p:nvPr/>
              </p:nvSpPr>
              <p:spPr>
                <a:xfrm>
                  <a:off x="-100584" y="5643913"/>
                  <a:ext cx="871011" cy="479056"/>
                </a:xfrm>
                <a:custGeom>
                  <a:avLst/>
                  <a:gdLst>
                    <a:gd name="connsiteX0" fmla="*/ 890608 w 871010"/>
                    <a:gd name="connsiteY0" fmla="*/ 487766 h 479055"/>
                    <a:gd name="connsiteX1" fmla="*/ 0 w 871010"/>
                    <a:gd name="connsiteY1" fmla="*/ 0 h 479055"/>
                    <a:gd name="connsiteX2" fmla="*/ 890608 w 871010"/>
                    <a:gd name="connsiteY2" fmla="*/ 487766 h 479055"/>
                  </a:gdLst>
                  <a:ahLst/>
                  <a:cxnLst>
                    <a:cxn ang="0">
                      <a:pos x="connsiteX0" y="connsiteY0"/>
                    </a:cxn>
                    <a:cxn ang="0">
                      <a:pos x="connsiteX1" y="connsiteY1"/>
                    </a:cxn>
                    <a:cxn ang="0">
                      <a:pos x="connsiteX2" y="connsiteY2"/>
                    </a:cxn>
                  </a:cxnLst>
                  <a:rect l="l" t="t" r="r" b="b"/>
                  <a:pathLst>
                    <a:path w="871010" h="479055">
                      <a:moveTo>
                        <a:pt x="890608" y="487766"/>
                      </a:moveTo>
                      <a:cubicBezTo>
                        <a:pt x="890608" y="487766"/>
                        <a:pt x="511719" y="30485"/>
                        <a:pt x="0" y="0"/>
                      </a:cubicBezTo>
                      <a:cubicBezTo>
                        <a:pt x="2178" y="0"/>
                        <a:pt x="304854" y="505186"/>
                        <a:pt x="890608" y="487766"/>
                      </a:cubicBezTo>
                      <a:close/>
                    </a:path>
                  </a:pathLst>
                </a:custGeom>
                <a:solidFill>
                  <a:schemeClr val="accent3"/>
                </a:solidFill>
                <a:ln w="2176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9" name="Freeform: Shape 38">
                  <a:extLst>
                    <a:ext uri="{FF2B5EF4-FFF2-40B4-BE49-F238E27FC236}">
                      <a16:creationId xmlns:a16="http://schemas.microsoft.com/office/drawing/2014/main" id="{51EE64B6-8E13-46C9-9059-F4FD01BE08EB}"/>
                    </a:ext>
                  </a:extLst>
                </p:cNvPr>
                <p:cNvSpPr/>
                <p:nvPr/>
              </p:nvSpPr>
              <p:spPr>
                <a:xfrm>
                  <a:off x="43132" y="6014093"/>
                  <a:ext cx="1045213" cy="566157"/>
                </a:xfrm>
                <a:custGeom>
                  <a:avLst/>
                  <a:gdLst>
                    <a:gd name="connsiteX0" fmla="*/ 1051745 w 1045212"/>
                    <a:gd name="connsiteY0" fmla="*/ 577044 h 566156"/>
                    <a:gd name="connsiteX1" fmla="*/ 0 w 1045212"/>
                    <a:gd name="connsiteY1" fmla="*/ 0 h 566156"/>
                    <a:gd name="connsiteX2" fmla="*/ 1051745 w 1045212"/>
                    <a:gd name="connsiteY2" fmla="*/ 577044 h 566156"/>
                  </a:gdLst>
                  <a:ahLst/>
                  <a:cxnLst>
                    <a:cxn ang="0">
                      <a:pos x="connsiteX0" y="connsiteY0"/>
                    </a:cxn>
                    <a:cxn ang="0">
                      <a:pos x="connsiteX1" y="connsiteY1"/>
                    </a:cxn>
                    <a:cxn ang="0">
                      <a:pos x="connsiteX2" y="connsiteY2"/>
                    </a:cxn>
                  </a:cxnLst>
                  <a:rect l="l" t="t" r="r" b="b"/>
                  <a:pathLst>
                    <a:path w="1045212" h="566156">
                      <a:moveTo>
                        <a:pt x="1051745" y="577044"/>
                      </a:moveTo>
                      <a:cubicBezTo>
                        <a:pt x="1051745" y="577044"/>
                        <a:pt x="605352" y="34840"/>
                        <a:pt x="0" y="0"/>
                      </a:cubicBezTo>
                      <a:cubicBezTo>
                        <a:pt x="0" y="2177"/>
                        <a:pt x="359292" y="598820"/>
                        <a:pt x="1051745" y="577044"/>
                      </a:cubicBezTo>
                      <a:close/>
                    </a:path>
                  </a:pathLst>
                </a:custGeom>
                <a:solidFill>
                  <a:schemeClr val="accent1">
                    <a:lumMod val="50000"/>
                  </a:schemeClr>
                </a:solidFill>
                <a:ln w="2176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40" name="Freeform: Shape 39">
                  <a:extLst>
                    <a:ext uri="{FF2B5EF4-FFF2-40B4-BE49-F238E27FC236}">
                      <a16:creationId xmlns:a16="http://schemas.microsoft.com/office/drawing/2014/main" id="{FA75612E-FB52-446F-83F7-F5716F368603}"/>
                    </a:ext>
                  </a:extLst>
                </p:cNvPr>
                <p:cNvSpPr/>
                <p:nvPr/>
              </p:nvSpPr>
              <p:spPr>
                <a:xfrm>
                  <a:off x="485170" y="6547587"/>
                  <a:ext cx="871011" cy="479056"/>
                </a:xfrm>
                <a:custGeom>
                  <a:avLst/>
                  <a:gdLst>
                    <a:gd name="connsiteX0" fmla="*/ 890608 w 871010"/>
                    <a:gd name="connsiteY0" fmla="*/ 487766 h 479055"/>
                    <a:gd name="connsiteX1" fmla="*/ 0 w 871010"/>
                    <a:gd name="connsiteY1" fmla="*/ 0 h 479055"/>
                    <a:gd name="connsiteX2" fmla="*/ 890608 w 871010"/>
                    <a:gd name="connsiteY2" fmla="*/ 487766 h 479055"/>
                  </a:gdLst>
                  <a:ahLst/>
                  <a:cxnLst>
                    <a:cxn ang="0">
                      <a:pos x="connsiteX0" y="connsiteY0"/>
                    </a:cxn>
                    <a:cxn ang="0">
                      <a:pos x="connsiteX1" y="connsiteY1"/>
                    </a:cxn>
                    <a:cxn ang="0">
                      <a:pos x="connsiteX2" y="connsiteY2"/>
                    </a:cxn>
                  </a:cxnLst>
                  <a:rect l="l" t="t" r="r" b="b"/>
                  <a:pathLst>
                    <a:path w="871010" h="479055">
                      <a:moveTo>
                        <a:pt x="890608" y="487766"/>
                      </a:moveTo>
                      <a:cubicBezTo>
                        <a:pt x="890608" y="487766"/>
                        <a:pt x="511719" y="30485"/>
                        <a:pt x="0" y="0"/>
                      </a:cubicBezTo>
                      <a:cubicBezTo>
                        <a:pt x="0" y="0"/>
                        <a:pt x="304854" y="505186"/>
                        <a:pt x="890608" y="487766"/>
                      </a:cubicBezTo>
                      <a:close/>
                    </a:path>
                  </a:pathLst>
                </a:custGeom>
                <a:solidFill>
                  <a:schemeClr val="accent1">
                    <a:lumMod val="75000"/>
                  </a:schemeClr>
                </a:solidFill>
                <a:ln w="2176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41" name="Freeform: Shape 40">
                  <a:extLst>
                    <a:ext uri="{FF2B5EF4-FFF2-40B4-BE49-F238E27FC236}">
                      <a16:creationId xmlns:a16="http://schemas.microsoft.com/office/drawing/2014/main" id="{B595EDB5-0BFE-45C8-B5FA-21BB3F39F6F0}"/>
                    </a:ext>
                  </a:extLst>
                </p:cNvPr>
                <p:cNvSpPr/>
                <p:nvPr/>
              </p:nvSpPr>
              <p:spPr>
                <a:xfrm>
                  <a:off x="768249" y="7015755"/>
                  <a:ext cx="892786" cy="479056"/>
                </a:xfrm>
                <a:custGeom>
                  <a:avLst/>
                  <a:gdLst>
                    <a:gd name="connsiteX0" fmla="*/ 901496 w 892785"/>
                    <a:gd name="connsiteY0" fmla="*/ 494299 h 479055"/>
                    <a:gd name="connsiteX1" fmla="*/ 0 w 892785"/>
                    <a:gd name="connsiteY1" fmla="*/ 0 h 479055"/>
                    <a:gd name="connsiteX2" fmla="*/ 901496 w 892785"/>
                    <a:gd name="connsiteY2" fmla="*/ 494299 h 479055"/>
                  </a:gdLst>
                  <a:ahLst/>
                  <a:cxnLst>
                    <a:cxn ang="0">
                      <a:pos x="connsiteX0" y="connsiteY0"/>
                    </a:cxn>
                    <a:cxn ang="0">
                      <a:pos x="connsiteX1" y="connsiteY1"/>
                    </a:cxn>
                    <a:cxn ang="0">
                      <a:pos x="connsiteX2" y="connsiteY2"/>
                    </a:cxn>
                  </a:cxnLst>
                  <a:rect l="l" t="t" r="r" b="b"/>
                  <a:pathLst>
                    <a:path w="892785" h="479055">
                      <a:moveTo>
                        <a:pt x="901496" y="494299"/>
                      </a:moveTo>
                      <a:cubicBezTo>
                        <a:pt x="901496" y="494299"/>
                        <a:pt x="518251" y="30485"/>
                        <a:pt x="0" y="0"/>
                      </a:cubicBezTo>
                      <a:cubicBezTo>
                        <a:pt x="0" y="2177"/>
                        <a:pt x="307031" y="511719"/>
                        <a:pt x="901496" y="494299"/>
                      </a:cubicBezTo>
                      <a:close/>
                    </a:path>
                  </a:pathLst>
                </a:custGeom>
                <a:solidFill>
                  <a:schemeClr val="accent1">
                    <a:lumMod val="50000"/>
                  </a:schemeClr>
                </a:solidFill>
                <a:ln w="2176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42" name="Freeform: Shape 41">
                  <a:extLst>
                    <a:ext uri="{FF2B5EF4-FFF2-40B4-BE49-F238E27FC236}">
                      <a16:creationId xmlns:a16="http://schemas.microsoft.com/office/drawing/2014/main" id="{C1A4B4CA-A4BA-4897-8BB0-B2E72F9D0E51}"/>
                    </a:ext>
                  </a:extLst>
                </p:cNvPr>
                <p:cNvSpPr/>
                <p:nvPr/>
              </p:nvSpPr>
              <p:spPr>
                <a:xfrm>
                  <a:off x="1083990" y="7549249"/>
                  <a:ext cx="871011" cy="479056"/>
                </a:xfrm>
                <a:custGeom>
                  <a:avLst/>
                  <a:gdLst>
                    <a:gd name="connsiteX0" fmla="*/ 877543 w 871010"/>
                    <a:gd name="connsiteY0" fmla="*/ 481233 h 479055"/>
                    <a:gd name="connsiteX1" fmla="*/ 0 w 871010"/>
                    <a:gd name="connsiteY1" fmla="*/ 0 h 479055"/>
                    <a:gd name="connsiteX2" fmla="*/ 877543 w 871010"/>
                    <a:gd name="connsiteY2" fmla="*/ 481233 h 479055"/>
                  </a:gdLst>
                  <a:ahLst/>
                  <a:cxnLst>
                    <a:cxn ang="0">
                      <a:pos x="connsiteX0" y="connsiteY0"/>
                    </a:cxn>
                    <a:cxn ang="0">
                      <a:pos x="connsiteX1" y="connsiteY1"/>
                    </a:cxn>
                    <a:cxn ang="0">
                      <a:pos x="connsiteX2" y="connsiteY2"/>
                    </a:cxn>
                  </a:cxnLst>
                  <a:rect l="l" t="t" r="r" b="b"/>
                  <a:pathLst>
                    <a:path w="871010" h="479055">
                      <a:moveTo>
                        <a:pt x="877543" y="481233"/>
                      </a:moveTo>
                      <a:cubicBezTo>
                        <a:pt x="877543" y="481233"/>
                        <a:pt x="505186" y="28308"/>
                        <a:pt x="0" y="0"/>
                      </a:cubicBezTo>
                      <a:cubicBezTo>
                        <a:pt x="0" y="0"/>
                        <a:pt x="300499" y="496476"/>
                        <a:pt x="877543" y="481233"/>
                      </a:cubicBezTo>
                      <a:close/>
                    </a:path>
                  </a:pathLst>
                </a:custGeom>
                <a:solidFill>
                  <a:schemeClr val="accent1">
                    <a:lumMod val="50000"/>
                  </a:schemeClr>
                </a:solidFill>
                <a:ln w="2176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43" name="Freeform: Shape 42">
                  <a:extLst>
                    <a:ext uri="{FF2B5EF4-FFF2-40B4-BE49-F238E27FC236}">
                      <a16:creationId xmlns:a16="http://schemas.microsoft.com/office/drawing/2014/main" id="{62BC4668-E862-4A71-85E1-AA544E300513}"/>
                    </a:ext>
                  </a:extLst>
                </p:cNvPr>
                <p:cNvSpPr/>
                <p:nvPr/>
              </p:nvSpPr>
              <p:spPr>
                <a:xfrm>
                  <a:off x="1013640" y="5702706"/>
                  <a:ext cx="239528" cy="1001662"/>
                </a:xfrm>
                <a:custGeom>
                  <a:avLst/>
                  <a:gdLst>
                    <a:gd name="connsiteX0" fmla="*/ 155274 w 239527"/>
                    <a:gd name="connsiteY0" fmla="*/ 1010372 h 1001662"/>
                    <a:gd name="connsiteX1" fmla="*/ 59462 w 239527"/>
                    <a:gd name="connsiteY1" fmla="*/ 0 h 1001662"/>
                    <a:gd name="connsiteX2" fmla="*/ 155274 w 239527"/>
                    <a:gd name="connsiteY2" fmla="*/ 1010372 h 1001662"/>
                  </a:gdLst>
                  <a:ahLst/>
                  <a:cxnLst>
                    <a:cxn ang="0">
                      <a:pos x="connsiteX0" y="connsiteY0"/>
                    </a:cxn>
                    <a:cxn ang="0">
                      <a:pos x="connsiteX1" y="connsiteY1"/>
                    </a:cxn>
                    <a:cxn ang="0">
                      <a:pos x="connsiteX2" y="connsiteY2"/>
                    </a:cxn>
                  </a:cxnLst>
                  <a:rect l="l" t="t" r="r" b="b"/>
                  <a:pathLst>
                    <a:path w="239527" h="1001662">
                      <a:moveTo>
                        <a:pt x="155274" y="1010372"/>
                      </a:moveTo>
                      <a:cubicBezTo>
                        <a:pt x="155274" y="1010372"/>
                        <a:pt x="-116917" y="481233"/>
                        <a:pt x="59462" y="0"/>
                      </a:cubicBezTo>
                      <a:cubicBezTo>
                        <a:pt x="57285" y="0"/>
                        <a:pt x="403512" y="479056"/>
                        <a:pt x="155274" y="1010372"/>
                      </a:cubicBezTo>
                      <a:close/>
                    </a:path>
                  </a:pathLst>
                </a:custGeom>
                <a:solidFill>
                  <a:schemeClr val="accent3"/>
                </a:solidFill>
                <a:ln w="2176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44" name="Freeform: Shape 43">
                  <a:extLst>
                    <a:ext uri="{FF2B5EF4-FFF2-40B4-BE49-F238E27FC236}">
                      <a16:creationId xmlns:a16="http://schemas.microsoft.com/office/drawing/2014/main" id="{50547825-95A1-4F76-AEAB-176395163113}"/>
                    </a:ext>
                  </a:extLst>
                </p:cNvPr>
                <p:cNvSpPr/>
                <p:nvPr/>
              </p:nvSpPr>
              <p:spPr>
                <a:xfrm>
                  <a:off x="1296872" y="5998850"/>
                  <a:ext cx="283078" cy="1197639"/>
                </a:xfrm>
                <a:custGeom>
                  <a:avLst/>
                  <a:gdLst>
                    <a:gd name="connsiteX0" fmla="*/ 185605 w 283078"/>
                    <a:gd name="connsiteY0" fmla="*/ 1206350 h 1197639"/>
                    <a:gd name="connsiteX1" fmla="*/ 70196 w 283078"/>
                    <a:gd name="connsiteY1" fmla="*/ 0 h 1197639"/>
                    <a:gd name="connsiteX2" fmla="*/ 185605 w 283078"/>
                    <a:gd name="connsiteY2" fmla="*/ 1206350 h 1197639"/>
                  </a:gdLst>
                  <a:ahLst/>
                  <a:cxnLst>
                    <a:cxn ang="0">
                      <a:pos x="connsiteX0" y="connsiteY0"/>
                    </a:cxn>
                    <a:cxn ang="0">
                      <a:pos x="connsiteX1" y="connsiteY1"/>
                    </a:cxn>
                    <a:cxn ang="0">
                      <a:pos x="connsiteX2" y="connsiteY2"/>
                    </a:cxn>
                  </a:cxnLst>
                  <a:rect l="l" t="t" r="r" b="b"/>
                  <a:pathLst>
                    <a:path w="283078" h="1197639">
                      <a:moveTo>
                        <a:pt x="185605" y="1206350"/>
                      </a:moveTo>
                      <a:cubicBezTo>
                        <a:pt x="185605" y="1206350"/>
                        <a:pt x="-138846" y="577044"/>
                        <a:pt x="70196" y="0"/>
                      </a:cubicBezTo>
                      <a:cubicBezTo>
                        <a:pt x="70196" y="0"/>
                        <a:pt x="479571" y="570512"/>
                        <a:pt x="185605" y="1206350"/>
                      </a:cubicBezTo>
                      <a:close/>
                    </a:path>
                  </a:pathLst>
                </a:custGeom>
                <a:solidFill>
                  <a:schemeClr val="accent1">
                    <a:lumMod val="50000"/>
                  </a:schemeClr>
                </a:solidFill>
                <a:ln w="2176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45" name="Freeform: Shape 44">
                  <a:extLst>
                    <a:ext uri="{FF2B5EF4-FFF2-40B4-BE49-F238E27FC236}">
                      <a16:creationId xmlns:a16="http://schemas.microsoft.com/office/drawing/2014/main" id="{414E16EA-F6BC-479B-B65E-883A89904632}"/>
                    </a:ext>
                  </a:extLst>
                </p:cNvPr>
                <p:cNvSpPr/>
                <p:nvPr/>
              </p:nvSpPr>
              <p:spPr>
                <a:xfrm>
                  <a:off x="1646301" y="6835020"/>
                  <a:ext cx="195977" cy="849235"/>
                </a:xfrm>
                <a:custGeom>
                  <a:avLst/>
                  <a:gdLst>
                    <a:gd name="connsiteX0" fmla="*/ 132320 w 195977"/>
                    <a:gd name="connsiteY0" fmla="*/ 853590 h 849235"/>
                    <a:gd name="connsiteX1" fmla="*/ 49574 w 195977"/>
                    <a:gd name="connsiteY1" fmla="*/ 0 h 849235"/>
                    <a:gd name="connsiteX2" fmla="*/ 132320 w 195977"/>
                    <a:gd name="connsiteY2" fmla="*/ 853590 h 849235"/>
                  </a:gdLst>
                  <a:ahLst/>
                  <a:cxnLst>
                    <a:cxn ang="0">
                      <a:pos x="connsiteX0" y="connsiteY0"/>
                    </a:cxn>
                    <a:cxn ang="0">
                      <a:pos x="connsiteX1" y="connsiteY1"/>
                    </a:cxn>
                    <a:cxn ang="0">
                      <a:pos x="connsiteX2" y="connsiteY2"/>
                    </a:cxn>
                  </a:cxnLst>
                  <a:rect l="l" t="t" r="r" b="b"/>
                  <a:pathLst>
                    <a:path w="195977" h="849235">
                      <a:moveTo>
                        <a:pt x="132320" y="853590"/>
                      </a:moveTo>
                      <a:cubicBezTo>
                        <a:pt x="132320" y="853590"/>
                        <a:pt x="-98498" y="407197"/>
                        <a:pt x="49574" y="0"/>
                      </a:cubicBezTo>
                      <a:cubicBezTo>
                        <a:pt x="51751" y="0"/>
                        <a:pt x="341362" y="405020"/>
                        <a:pt x="132320" y="853590"/>
                      </a:cubicBezTo>
                      <a:close/>
                    </a:path>
                  </a:pathLst>
                </a:custGeom>
                <a:solidFill>
                  <a:schemeClr val="accent1">
                    <a:lumMod val="50000"/>
                  </a:schemeClr>
                </a:solidFill>
                <a:ln w="2176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46" name="Freeform: Shape 45">
                  <a:extLst>
                    <a:ext uri="{FF2B5EF4-FFF2-40B4-BE49-F238E27FC236}">
                      <a16:creationId xmlns:a16="http://schemas.microsoft.com/office/drawing/2014/main" id="{1EA2BFB5-3A25-4D78-B01E-21885093389C}"/>
                    </a:ext>
                  </a:extLst>
                </p:cNvPr>
                <p:cNvSpPr/>
                <p:nvPr/>
              </p:nvSpPr>
              <p:spPr>
                <a:xfrm>
                  <a:off x="1910781" y="7224797"/>
                  <a:ext cx="239528" cy="1001662"/>
                </a:xfrm>
                <a:custGeom>
                  <a:avLst/>
                  <a:gdLst>
                    <a:gd name="connsiteX0" fmla="*/ 155274 w 239527"/>
                    <a:gd name="connsiteY0" fmla="*/ 1010372 h 1001662"/>
                    <a:gd name="connsiteX1" fmla="*/ 59462 w 239527"/>
                    <a:gd name="connsiteY1" fmla="*/ 0 h 1001662"/>
                    <a:gd name="connsiteX2" fmla="*/ 155274 w 239527"/>
                    <a:gd name="connsiteY2" fmla="*/ 1010372 h 1001662"/>
                  </a:gdLst>
                  <a:ahLst/>
                  <a:cxnLst>
                    <a:cxn ang="0">
                      <a:pos x="connsiteX0" y="connsiteY0"/>
                    </a:cxn>
                    <a:cxn ang="0">
                      <a:pos x="connsiteX1" y="connsiteY1"/>
                    </a:cxn>
                    <a:cxn ang="0">
                      <a:pos x="connsiteX2" y="connsiteY2"/>
                    </a:cxn>
                  </a:cxnLst>
                  <a:rect l="l" t="t" r="r" b="b"/>
                  <a:pathLst>
                    <a:path w="239527" h="1001662">
                      <a:moveTo>
                        <a:pt x="155274" y="1010372"/>
                      </a:moveTo>
                      <a:cubicBezTo>
                        <a:pt x="155274" y="1010372"/>
                        <a:pt x="-116917" y="481233"/>
                        <a:pt x="59462" y="0"/>
                      </a:cubicBezTo>
                      <a:cubicBezTo>
                        <a:pt x="57285" y="0"/>
                        <a:pt x="401334" y="479056"/>
                        <a:pt x="155274" y="1010372"/>
                      </a:cubicBezTo>
                      <a:close/>
                    </a:path>
                  </a:pathLst>
                </a:custGeom>
                <a:solidFill>
                  <a:schemeClr val="accent1">
                    <a:lumMod val="50000"/>
                  </a:schemeClr>
                </a:solidFill>
                <a:ln w="2176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47" name="Freeform: Shape 46">
                  <a:extLst>
                    <a:ext uri="{FF2B5EF4-FFF2-40B4-BE49-F238E27FC236}">
                      <a16:creationId xmlns:a16="http://schemas.microsoft.com/office/drawing/2014/main" id="{79381C2D-4F0C-4D04-A995-1C9D5C557242}"/>
                    </a:ext>
                  </a:extLst>
                </p:cNvPr>
                <p:cNvSpPr/>
                <p:nvPr/>
              </p:nvSpPr>
              <p:spPr>
                <a:xfrm>
                  <a:off x="40955" y="5147437"/>
                  <a:ext cx="609707" cy="783909"/>
                </a:xfrm>
                <a:custGeom>
                  <a:avLst/>
                  <a:gdLst>
                    <a:gd name="connsiteX0" fmla="*/ 618418 w 609707"/>
                    <a:gd name="connsiteY0" fmla="*/ 803507 h 783909"/>
                    <a:gd name="connsiteX1" fmla="*/ 0 w 609707"/>
                    <a:gd name="connsiteY1" fmla="*/ 0 h 783909"/>
                    <a:gd name="connsiteX2" fmla="*/ 618418 w 609707"/>
                    <a:gd name="connsiteY2" fmla="*/ 803507 h 783909"/>
                  </a:gdLst>
                  <a:ahLst/>
                  <a:cxnLst>
                    <a:cxn ang="0">
                      <a:pos x="connsiteX0" y="connsiteY0"/>
                    </a:cxn>
                    <a:cxn ang="0">
                      <a:pos x="connsiteX1" y="connsiteY1"/>
                    </a:cxn>
                    <a:cxn ang="0">
                      <a:pos x="connsiteX2" y="connsiteY2"/>
                    </a:cxn>
                  </a:cxnLst>
                  <a:rect l="l" t="t" r="r" b="b"/>
                  <a:pathLst>
                    <a:path w="609707" h="783909">
                      <a:moveTo>
                        <a:pt x="618418" y="803507"/>
                      </a:moveTo>
                      <a:cubicBezTo>
                        <a:pt x="618418" y="803507"/>
                        <a:pt x="106699" y="500831"/>
                        <a:pt x="0" y="0"/>
                      </a:cubicBezTo>
                      <a:cubicBezTo>
                        <a:pt x="0" y="0"/>
                        <a:pt x="546559" y="222108"/>
                        <a:pt x="618418" y="803507"/>
                      </a:cubicBezTo>
                      <a:close/>
                    </a:path>
                  </a:pathLst>
                </a:custGeom>
                <a:solidFill>
                  <a:schemeClr val="accent1">
                    <a:lumMod val="50000"/>
                  </a:schemeClr>
                </a:solidFill>
                <a:ln w="2176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48" name="Freeform: Shape 47">
                  <a:extLst>
                    <a:ext uri="{FF2B5EF4-FFF2-40B4-BE49-F238E27FC236}">
                      <a16:creationId xmlns:a16="http://schemas.microsoft.com/office/drawing/2014/main" id="{A9E66B85-93EE-474C-9433-7980F51EB727}"/>
                    </a:ext>
                  </a:extLst>
                </p:cNvPr>
                <p:cNvSpPr/>
                <p:nvPr/>
              </p:nvSpPr>
              <p:spPr>
                <a:xfrm>
                  <a:off x="367387" y="5530485"/>
                  <a:ext cx="1829122" cy="2983211"/>
                </a:xfrm>
                <a:custGeom>
                  <a:avLst/>
                  <a:gdLst>
                    <a:gd name="connsiteX0" fmla="*/ 1840206 w 1829122"/>
                    <a:gd name="connsiteY0" fmla="*/ 2987763 h 2983210"/>
                    <a:gd name="connsiteX1" fmla="*/ 1596323 w 1829122"/>
                    <a:gd name="connsiteY1" fmla="*/ 2491287 h 2983210"/>
                    <a:gd name="connsiteX2" fmla="*/ 1594146 w 1829122"/>
                    <a:gd name="connsiteY2" fmla="*/ 2486932 h 2983210"/>
                    <a:gd name="connsiteX3" fmla="*/ 1298002 w 1829122"/>
                    <a:gd name="connsiteY3" fmla="*/ 1970858 h 2983210"/>
                    <a:gd name="connsiteX4" fmla="*/ 1295825 w 1829122"/>
                    <a:gd name="connsiteY4" fmla="*/ 1966503 h 2983210"/>
                    <a:gd name="connsiteX5" fmla="*/ 1119445 w 1829122"/>
                    <a:gd name="connsiteY5" fmla="*/ 1676892 h 2983210"/>
                    <a:gd name="connsiteX6" fmla="*/ 1073717 w 1829122"/>
                    <a:gd name="connsiteY6" fmla="*/ 1047586 h 2983210"/>
                    <a:gd name="connsiteX7" fmla="*/ 1062829 w 1829122"/>
                    <a:gd name="connsiteY7" fmla="*/ 1038876 h 2983210"/>
                    <a:gd name="connsiteX8" fmla="*/ 1054119 w 1829122"/>
                    <a:gd name="connsiteY8" fmla="*/ 1049764 h 2983210"/>
                    <a:gd name="connsiteX9" fmla="*/ 1097670 w 1829122"/>
                    <a:gd name="connsiteY9" fmla="*/ 1639874 h 2983210"/>
                    <a:gd name="connsiteX10" fmla="*/ 725313 w 1829122"/>
                    <a:gd name="connsiteY10" fmla="*/ 1054119 h 2983210"/>
                    <a:gd name="connsiteX11" fmla="*/ 723135 w 1829122"/>
                    <a:gd name="connsiteY11" fmla="*/ 1049764 h 2983210"/>
                    <a:gd name="connsiteX12" fmla="*/ 19794 w 1829122"/>
                    <a:gd name="connsiteY12" fmla="*/ 4551 h 2983210"/>
                    <a:gd name="connsiteX13" fmla="*/ 4551 w 1829122"/>
                    <a:gd name="connsiteY13" fmla="*/ 2374 h 2983210"/>
                    <a:gd name="connsiteX14" fmla="*/ 2374 w 1829122"/>
                    <a:gd name="connsiteY14" fmla="*/ 17617 h 2983210"/>
                    <a:gd name="connsiteX15" fmla="*/ 686117 w 1829122"/>
                    <a:gd name="connsiteY15" fmla="*/ 1032344 h 2983210"/>
                    <a:gd name="connsiteX16" fmla="*/ 270210 w 1829122"/>
                    <a:gd name="connsiteY16" fmla="*/ 825479 h 2983210"/>
                    <a:gd name="connsiteX17" fmla="*/ 257144 w 1829122"/>
                    <a:gd name="connsiteY17" fmla="*/ 829834 h 2983210"/>
                    <a:gd name="connsiteX18" fmla="*/ 261499 w 1829122"/>
                    <a:gd name="connsiteY18" fmla="*/ 842899 h 2983210"/>
                    <a:gd name="connsiteX19" fmla="*/ 707892 w 1829122"/>
                    <a:gd name="connsiteY19" fmla="*/ 1065007 h 2983210"/>
                    <a:gd name="connsiteX20" fmla="*/ 1263162 w 1829122"/>
                    <a:gd name="connsiteY20" fmla="*/ 1949082 h 2983210"/>
                    <a:gd name="connsiteX21" fmla="*/ 836367 w 1829122"/>
                    <a:gd name="connsiteY21" fmla="*/ 1733507 h 2983210"/>
                    <a:gd name="connsiteX22" fmla="*/ 823301 w 1829122"/>
                    <a:gd name="connsiteY22" fmla="*/ 1737862 h 2983210"/>
                    <a:gd name="connsiteX23" fmla="*/ 827656 w 1829122"/>
                    <a:gd name="connsiteY23" fmla="*/ 1750928 h 2983210"/>
                    <a:gd name="connsiteX24" fmla="*/ 1282759 w 1829122"/>
                    <a:gd name="connsiteY24" fmla="*/ 1981745 h 2983210"/>
                    <a:gd name="connsiteX25" fmla="*/ 1563660 w 1829122"/>
                    <a:gd name="connsiteY25" fmla="*/ 2471689 h 2983210"/>
                    <a:gd name="connsiteX26" fmla="*/ 1171706 w 1829122"/>
                    <a:gd name="connsiteY26" fmla="*/ 2271356 h 2983210"/>
                    <a:gd name="connsiteX27" fmla="*/ 1158641 w 1829122"/>
                    <a:gd name="connsiteY27" fmla="*/ 2275711 h 2983210"/>
                    <a:gd name="connsiteX28" fmla="*/ 1162995 w 1829122"/>
                    <a:gd name="connsiteY28" fmla="*/ 2288777 h 2983210"/>
                    <a:gd name="connsiteX29" fmla="*/ 1581080 w 1829122"/>
                    <a:gd name="connsiteY29" fmla="*/ 2502174 h 2983210"/>
                    <a:gd name="connsiteX30" fmla="*/ 1822786 w 1829122"/>
                    <a:gd name="connsiteY30" fmla="*/ 2996473 h 2983210"/>
                    <a:gd name="connsiteX31" fmla="*/ 1831496 w 1829122"/>
                    <a:gd name="connsiteY31" fmla="*/ 3003005 h 2983210"/>
                    <a:gd name="connsiteX32" fmla="*/ 1835851 w 1829122"/>
                    <a:gd name="connsiteY32" fmla="*/ 3003005 h 2983210"/>
                    <a:gd name="connsiteX33" fmla="*/ 1840206 w 1829122"/>
                    <a:gd name="connsiteY33" fmla="*/ 2987763 h 29832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829122" h="2983210">
                      <a:moveTo>
                        <a:pt x="1840206" y="2987763"/>
                      </a:moveTo>
                      <a:cubicBezTo>
                        <a:pt x="1779236" y="2841868"/>
                        <a:pt x="1694312" y="2674199"/>
                        <a:pt x="1596323" y="2491287"/>
                      </a:cubicBezTo>
                      <a:cubicBezTo>
                        <a:pt x="1596323" y="2489109"/>
                        <a:pt x="1596323" y="2489109"/>
                        <a:pt x="1594146" y="2486932"/>
                      </a:cubicBezTo>
                      <a:cubicBezTo>
                        <a:pt x="1504867" y="2323617"/>
                        <a:pt x="1404701" y="2147237"/>
                        <a:pt x="1298002" y="1970858"/>
                      </a:cubicBezTo>
                      <a:cubicBezTo>
                        <a:pt x="1298002" y="1968680"/>
                        <a:pt x="1295825" y="1968680"/>
                        <a:pt x="1295825" y="1966503"/>
                      </a:cubicBezTo>
                      <a:cubicBezTo>
                        <a:pt x="1239209" y="1870692"/>
                        <a:pt x="1180416" y="1774880"/>
                        <a:pt x="1119445" y="1676892"/>
                      </a:cubicBezTo>
                      <a:lnTo>
                        <a:pt x="1073717" y="1047586"/>
                      </a:lnTo>
                      <a:cubicBezTo>
                        <a:pt x="1073717" y="1041054"/>
                        <a:pt x="1067184" y="1038876"/>
                        <a:pt x="1062829" y="1038876"/>
                      </a:cubicBezTo>
                      <a:cubicBezTo>
                        <a:pt x="1056297" y="1038876"/>
                        <a:pt x="1051942" y="1043232"/>
                        <a:pt x="1054119" y="1049764"/>
                      </a:cubicBezTo>
                      <a:lnTo>
                        <a:pt x="1097670" y="1639874"/>
                      </a:lnTo>
                      <a:cubicBezTo>
                        <a:pt x="975728" y="1439541"/>
                        <a:pt x="847254" y="1241386"/>
                        <a:pt x="725313" y="1054119"/>
                      </a:cubicBezTo>
                      <a:cubicBezTo>
                        <a:pt x="725313" y="1051942"/>
                        <a:pt x="723135" y="1051942"/>
                        <a:pt x="723135" y="1049764"/>
                      </a:cubicBezTo>
                      <a:cubicBezTo>
                        <a:pt x="346423" y="470542"/>
                        <a:pt x="26327" y="15439"/>
                        <a:pt x="19794" y="4551"/>
                      </a:cubicBezTo>
                      <a:cubicBezTo>
                        <a:pt x="17617" y="196"/>
                        <a:pt x="11084" y="-1981"/>
                        <a:pt x="4551" y="2374"/>
                      </a:cubicBezTo>
                      <a:cubicBezTo>
                        <a:pt x="196" y="4551"/>
                        <a:pt x="-1981" y="11084"/>
                        <a:pt x="2374" y="17617"/>
                      </a:cubicBezTo>
                      <a:cubicBezTo>
                        <a:pt x="8906" y="26327"/>
                        <a:pt x="318115" y="466187"/>
                        <a:pt x="686117" y="1032344"/>
                      </a:cubicBezTo>
                      <a:lnTo>
                        <a:pt x="270210" y="825479"/>
                      </a:lnTo>
                      <a:cubicBezTo>
                        <a:pt x="265855" y="823301"/>
                        <a:pt x="259322" y="825479"/>
                        <a:pt x="257144" y="829834"/>
                      </a:cubicBezTo>
                      <a:cubicBezTo>
                        <a:pt x="254967" y="834189"/>
                        <a:pt x="257144" y="840722"/>
                        <a:pt x="261499" y="842899"/>
                      </a:cubicBezTo>
                      <a:lnTo>
                        <a:pt x="707892" y="1065007"/>
                      </a:lnTo>
                      <a:cubicBezTo>
                        <a:pt x="888627" y="1343730"/>
                        <a:pt x="1082427" y="1650761"/>
                        <a:pt x="1263162" y="1949082"/>
                      </a:cubicBezTo>
                      <a:lnTo>
                        <a:pt x="836367" y="1733507"/>
                      </a:lnTo>
                      <a:cubicBezTo>
                        <a:pt x="832012" y="1731330"/>
                        <a:pt x="825479" y="1733507"/>
                        <a:pt x="823301" y="1737862"/>
                      </a:cubicBezTo>
                      <a:cubicBezTo>
                        <a:pt x="821124" y="1742217"/>
                        <a:pt x="823301" y="1748750"/>
                        <a:pt x="827656" y="1750928"/>
                      </a:cubicBezTo>
                      <a:lnTo>
                        <a:pt x="1282759" y="1981745"/>
                      </a:lnTo>
                      <a:cubicBezTo>
                        <a:pt x="1382926" y="2149415"/>
                        <a:pt x="1478737" y="2314907"/>
                        <a:pt x="1563660" y="2471689"/>
                      </a:cubicBezTo>
                      <a:lnTo>
                        <a:pt x="1171706" y="2271356"/>
                      </a:lnTo>
                      <a:cubicBezTo>
                        <a:pt x="1167350" y="2269179"/>
                        <a:pt x="1160818" y="2271356"/>
                        <a:pt x="1158641" y="2275711"/>
                      </a:cubicBezTo>
                      <a:cubicBezTo>
                        <a:pt x="1156463" y="2280067"/>
                        <a:pt x="1158641" y="2286599"/>
                        <a:pt x="1162995" y="2288777"/>
                      </a:cubicBezTo>
                      <a:lnTo>
                        <a:pt x="1581080" y="2502174"/>
                      </a:lnTo>
                      <a:cubicBezTo>
                        <a:pt x="1679069" y="2682909"/>
                        <a:pt x="1761815" y="2850578"/>
                        <a:pt x="1822786" y="2996473"/>
                      </a:cubicBezTo>
                      <a:cubicBezTo>
                        <a:pt x="1824964" y="3000828"/>
                        <a:pt x="1827141" y="3003005"/>
                        <a:pt x="1831496" y="3003005"/>
                      </a:cubicBezTo>
                      <a:cubicBezTo>
                        <a:pt x="1833674" y="3003005"/>
                        <a:pt x="1833674" y="3003005"/>
                        <a:pt x="1835851" y="3003005"/>
                      </a:cubicBezTo>
                      <a:cubicBezTo>
                        <a:pt x="1840206" y="3000828"/>
                        <a:pt x="1844561" y="2994295"/>
                        <a:pt x="1840206" y="2987763"/>
                      </a:cubicBezTo>
                      <a:close/>
                    </a:path>
                  </a:pathLst>
                </a:custGeom>
                <a:solidFill>
                  <a:schemeClr val="accent1">
                    <a:lumMod val="75000"/>
                  </a:schemeClr>
                </a:solidFill>
                <a:ln w="2176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grpSp>
            <p:nvGrpSpPr>
              <p:cNvPr id="28" name="Group 27">
                <a:extLst>
                  <a:ext uri="{FF2B5EF4-FFF2-40B4-BE49-F238E27FC236}">
                    <a16:creationId xmlns:a16="http://schemas.microsoft.com/office/drawing/2014/main" id="{19D5ECF6-4879-4E51-A905-6D1336A5AD91}"/>
                  </a:ext>
                </a:extLst>
              </p:cNvPr>
              <p:cNvGrpSpPr/>
              <p:nvPr/>
            </p:nvGrpSpPr>
            <p:grpSpPr>
              <a:xfrm flipH="1">
                <a:off x="10526583" y="5476544"/>
                <a:ext cx="584157" cy="1417155"/>
                <a:chOff x="5096315" y="5919603"/>
                <a:chExt cx="871010" cy="2113057"/>
              </a:xfrm>
            </p:grpSpPr>
            <p:sp>
              <p:nvSpPr>
                <p:cNvPr id="29" name="Freeform: Shape 28">
                  <a:extLst>
                    <a:ext uri="{FF2B5EF4-FFF2-40B4-BE49-F238E27FC236}">
                      <a16:creationId xmlns:a16="http://schemas.microsoft.com/office/drawing/2014/main" id="{5B8BD46C-6449-4E26-BCE9-4B5283DD03C7}"/>
                    </a:ext>
                  </a:extLst>
                </p:cNvPr>
                <p:cNvSpPr/>
                <p:nvPr/>
              </p:nvSpPr>
              <p:spPr>
                <a:xfrm>
                  <a:off x="5179101" y="6551125"/>
                  <a:ext cx="435505" cy="522606"/>
                </a:xfrm>
                <a:custGeom>
                  <a:avLst/>
                  <a:gdLst>
                    <a:gd name="connsiteX0" fmla="*/ 442854 w 435505"/>
                    <a:gd name="connsiteY0" fmla="*/ 538666 h 522606"/>
                    <a:gd name="connsiteX1" fmla="*/ 431967 w 435505"/>
                    <a:gd name="connsiteY1" fmla="*/ 529955 h 522606"/>
                    <a:gd name="connsiteX2" fmla="*/ 7349 w 435505"/>
                    <a:gd name="connsiteY2" fmla="*/ 20414 h 522606"/>
                    <a:gd name="connsiteX3" fmla="*/ 817 w 435505"/>
                    <a:gd name="connsiteY3" fmla="*/ 7349 h 522606"/>
                    <a:gd name="connsiteX4" fmla="*/ 13882 w 435505"/>
                    <a:gd name="connsiteY4" fmla="*/ 817 h 522606"/>
                    <a:gd name="connsiteX5" fmla="*/ 453742 w 435505"/>
                    <a:gd name="connsiteY5" fmla="*/ 527778 h 522606"/>
                    <a:gd name="connsiteX6" fmla="*/ 442854 w 435505"/>
                    <a:gd name="connsiteY6" fmla="*/ 538666 h 522606"/>
                    <a:gd name="connsiteX7" fmla="*/ 442854 w 435505"/>
                    <a:gd name="connsiteY7" fmla="*/ 538666 h 522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505" h="522606">
                      <a:moveTo>
                        <a:pt x="442854" y="538666"/>
                      </a:moveTo>
                      <a:cubicBezTo>
                        <a:pt x="438500" y="538666"/>
                        <a:pt x="434144" y="534311"/>
                        <a:pt x="431967" y="529955"/>
                      </a:cubicBezTo>
                      <a:cubicBezTo>
                        <a:pt x="377528" y="118403"/>
                        <a:pt x="11704" y="20414"/>
                        <a:pt x="7349" y="20414"/>
                      </a:cubicBezTo>
                      <a:cubicBezTo>
                        <a:pt x="817" y="18237"/>
                        <a:pt x="-1361" y="13882"/>
                        <a:pt x="817" y="7349"/>
                      </a:cubicBezTo>
                      <a:cubicBezTo>
                        <a:pt x="2994" y="817"/>
                        <a:pt x="7349" y="-1361"/>
                        <a:pt x="13882" y="817"/>
                      </a:cubicBezTo>
                      <a:cubicBezTo>
                        <a:pt x="18237" y="817"/>
                        <a:pt x="397126" y="100983"/>
                        <a:pt x="453742" y="527778"/>
                      </a:cubicBezTo>
                      <a:cubicBezTo>
                        <a:pt x="453742" y="532133"/>
                        <a:pt x="449387" y="536488"/>
                        <a:pt x="442854" y="538666"/>
                      </a:cubicBezTo>
                      <a:cubicBezTo>
                        <a:pt x="442854" y="536488"/>
                        <a:pt x="442854" y="538666"/>
                        <a:pt x="442854" y="538666"/>
                      </a:cubicBezTo>
                      <a:close/>
                    </a:path>
                  </a:pathLst>
                </a:custGeom>
                <a:solidFill>
                  <a:srgbClr val="333C4B"/>
                </a:solidFill>
                <a:ln w="2176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0" name="Freeform: Shape 29">
                  <a:extLst>
                    <a:ext uri="{FF2B5EF4-FFF2-40B4-BE49-F238E27FC236}">
                      <a16:creationId xmlns:a16="http://schemas.microsoft.com/office/drawing/2014/main" id="{3C637DC1-29F2-48E3-94B8-D07BFB48B852}"/>
                    </a:ext>
                  </a:extLst>
                </p:cNvPr>
                <p:cNvSpPr/>
                <p:nvPr/>
              </p:nvSpPr>
              <p:spPr>
                <a:xfrm>
                  <a:off x="5553096" y="6086698"/>
                  <a:ext cx="174202" cy="653258"/>
                </a:xfrm>
                <a:custGeom>
                  <a:avLst/>
                  <a:gdLst>
                    <a:gd name="connsiteX0" fmla="*/ 18776 w 174202"/>
                    <a:gd name="connsiteY0" fmla="*/ 665576 h 653257"/>
                    <a:gd name="connsiteX1" fmla="*/ 7889 w 174202"/>
                    <a:gd name="connsiteY1" fmla="*/ 656866 h 653257"/>
                    <a:gd name="connsiteX2" fmla="*/ 164670 w 174202"/>
                    <a:gd name="connsiteY2" fmla="*/ 3608 h 653257"/>
                    <a:gd name="connsiteX3" fmla="*/ 179913 w 174202"/>
                    <a:gd name="connsiteY3" fmla="*/ 1430 h 653257"/>
                    <a:gd name="connsiteX4" fmla="*/ 182091 w 174202"/>
                    <a:gd name="connsiteY4" fmla="*/ 16673 h 653257"/>
                    <a:gd name="connsiteX5" fmla="*/ 29664 w 174202"/>
                    <a:gd name="connsiteY5" fmla="*/ 654688 h 653257"/>
                    <a:gd name="connsiteX6" fmla="*/ 18776 w 174202"/>
                    <a:gd name="connsiteY6" fmla="*/ 665576 h 653257"/>
                    <a:gd name="connsiteX7" fmla="*/ 18776 w 174202"/>
                    <a:gd name="connsiteY7" fmla="*/ 665576 h 6532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4202" h="653257">
                      <a:moveTo>
                        <a:pt x="18776" y="665576"/>
                      </a:moveTo>
                      <a:cubicBezTo>
                        <a:pt x="14421" y="665576"/>
                        <a:pt x="10066" y="661221"/>
                        <a:pt x="7889" y="656866"/>
                      </a:cubicBezTo>
                      <a:cubicBezTo>
                        <a:pt x="-42195" y="269266"/>
                        <a:pt x="162493" y="5785"/>
                        <a:pt x="164670" y="3608"/>
                      </a:cubicBezTo>
                      <a:cubicBezTo>
                        <a:pt x="169026" y="-747"/>
                        <a:pt x="175558" y="-747"/>
                        <a:pt x="179913" y="1430"/>
                      </a:cubicBezTo>
                      <a:cubicBezTo>
                        <a:pt x="184268" y="5785"/>
                        <a:pt x="184268" y="12318"/>
                        <a:pt x="182091" y="16673"/>
                      </a:cubicBezTo>
                      <a:cubicBezTo>
                        <a:pt x="179913" y="18851"/>
                        <a:pt x="-18242" y="275799"/>
                        <a:pt x="29664" y="654688"/>
                      </a:cubicBezTo>
                      <a:cubicBezTo>
                        <a:pt x="29664" y="659043"/>
                        <a:pt x="27486" y="665576"/>
                        <a:pt x="18776" y="665576"/>
                      </a:cubicBezTo>
                      <a:cubicBezTo>
                        <a:pt x="20954" y="665576"/>
                        <a:pt x="20954" y="665576"/>
                        <a:pt x="18776" y="665576"/>
                      </a:cubicBezTo>
                      <a:close/>
                    </a:path>
                  </a:pathLst>
                </a:custGeom>
                <a:solidFill>
                  <a:srgbClr val="333C4B"/>
                </a:solidFill>
                <a:ln w="2176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1" name="Freeform: Shape 30">
                  <a:extLst>
                    <a:ext uri="{FF2B5EF4-FFF2-40B4-BE49-F238E27FC236}">
                      <a16:creationId xmlns:a16="http://schemas.microsoft.com/office/drawing/2014/main" id="{7232A13C-EE43-4B2C-9ABA-52CAA599D038}"/>
                    </a:ext>
                  </a:extLst>
                </p:cNvPr>
                <p:cNvSpPr/>
                <p:nvPr/>
              </p:nvSpPr>
              <p:spPr>
                <a:xfrm>
                  <a:off x="5231981" y="6055269"/>
                  <a:ext cx="610759" cy="1977391"/>
                </a:xfrm>
                <a:custGeom>
                  <a:avLst/>
                  <a:gdLst>
                    <a:gd name="connsiteX0" fmla="*/ 4551 w 610759"/>
                    <a:gd name="connsiteY0" fmla="*/ 2374 h 1977391"/>
                    <a:gd name="connsiteX1" fmla="*/ 19794 w 610759"/>
                    <a:gd name="connsiteY1" fmla="*/ 4551 h 1977391"/>
                    <a:gd name="connsiteX2" fmla="*/ 404435 w 610759"/>
                    <a:gd name="connsiteY2" fmla="*/ 1068157 h 1977391"/>
                    <a:gd name="connsiteX3" fmla="*/ 403443 w 610759"/>
                    <a:gd name="connsiteY3" fmla="*/ 1165598 h 1977391"/>
                    <a:gd name="connsiteX4" fmla="*/ 416717 w 610759"/>
                    <a:gd name="connsiteY4" fmla="*/ 1109476 h 1977391"/>
                    <a:gd name="connsiteX5" fmla="*/ 592485 w 610759"/>
                    <a:gd name="connsiteY5" fmla="*/ 599016 h 1977391"/>
                    <a:gd name="connsiteX6" fmla="*/ 605549 w 610759"/>
                    <a:gd name="connsiteY6" fmla="*/ 594661 h 1977391"/>
                    <a:gd name="connsiteX7" fmla="*/ 609905 w 610759"/>
                    <a:gd name="connsiteY7" fmla="*/ 607726 h 1977391"/>
                    <a:gd name="connsiteX8" fmla="*/ 406003 w 610759"/>
                    <a:gd name="connsiteY8" fmla="*/ 1237678 h 1977391"/>
                    <a:gd name="connsiteX9" fmla="*/ 394802 w 610759"/>
                    <a:gd name="connsiteY9" fmla="*/ 1309621 h 1977391"/>
                    <a:gd name="connsiteX10" fmla="*/ 392765 w 610759"/>
                    <a:gd name="connsiteY10" fmla="*/ 1335452 h 1977391"/>
                    <a:gd name="connsiteX11" fmla="*/ 217949 w 610759"/>
                    <a:gd name="connsiteY11" fmla="*/ 1973036 h 1977391"/>
                    <a:gd name="connsiteX12" fmla="*/ 207061 w 610759"/>
                    <a:gd name="connsiteY12" fmla="*/ 1977391 h 1977391"/>
                    <a:gd name="connsiteX13" fmla="*/ 202706 w 610759"/>
                    <a:gd name="connsiteY13" fmla="*/ 1977391 h 1977391"/>
                    <a:gd name="connsiteX14" fmla="*/ 198351 w 610759"/>
                    <a:gd name="connsiteY14" fmla="*/ 1964326 h 1977391"/>
                    <a:gd name="connsiteX15" fmla="*/ 354713 w 610759"/>
                    <a:gd name="connsiteY15" fmla="*/ 1455742 h 1977391"/>
                    <a:gd name="connsiteX16" fmla="*/ 369254 w 610759"/>
                    <a:gd name="connsiteY16" fmla="*/ 1353496 h 1977391"/>
                    <a:gd name="connsiteX17" fmla="*/ 368198 w 610759"/>
                    <a:gd name="connsiteY17" fmla="*/ 1352440 h 1977391"/>
                    <a:gd name="connsiteX18" fmla="*/ 372786 w 610759"/>
                    <a:gd name="connsiteY18" fmla="*/ 1323875 h 1977391"/>
                    <a:gd name="connsiteX19" fmla="*/ 382081 w 610759"/>
                    <a:gd name="connsiteY19" fmla="*/ 1205730 h 1977391"/>
                    <a:gd name="connsiteX20" fmla="*/ 2374 w 610759"/>
                    <a:gd name="connsiteY20" fmla="*/ 17617 h 1977391"/>
                    <a:gd name="connsiteX21" fmla="*/ 4551 w 610759"/>
                    <a:gd name="connsiteY21" fmla="*/ 2374 h 19773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610759" h="1977391">
                      <a:moveTo>
                        <a:pt x="4551" y="2374"/>
                      </a:moveTo>
                      <a:cubicBezTo>
                        <a:pt x="8906" y="-1981"/>
                        <a:pt x="15439" y="196"/>
                        <a:pt x="19794" y="4551"/>
                      </a:cubicBezTo>
                      <a:cubicBezTo>
                        <a:pt x="300831" y="367518"/>
                        <a:pt x="395980" y="741321"/>
                        <a:pt x="404435" y="1068157"/>
                      </a:cubicBezTo>
                      <a:lnTo>
                        <a:pt x="403443" y="1165598"/>
                      </a:lnTo>
                      <a:lnTo>
                        <a:pt x="416717" y="1109476"/>
                      </a:lnTo>
                      <a:cubicBezTo>
                        <a:pt x="483880" y="856645"/>
                        <a:pt x="590852" y="602283"/>
                        <a:pt x="592485" y="599016"/>
                      </a:cubicBezTo>
                      <a:cubicBezTo>
                        <a:pt x="594662" y="594661"/>
                        <a:pt x="601195" y="590306"/>
                        <a:pt x="605549" y="594661"/>
                      </a:cubicBezTo>
                      <a:cubicBezTo>
                        <a:pt x="609905" y="596838"/>
                        <a:pt x="612082" y="603371"/>
                        <a:pt x="609905" y="607726"/>
                      </a:cubicBezTo>
                      <a:cubicBezTo>
                        <a:pt x="607999" y="611537"/>
                        <a:pt x="462717" y="953783"/>
                        <a:pt x="406003" y="1237678"/>
                      </a:cubicBezTo>
                      <a:lnTo>
                        <a:pt x="394802" y="1309621"/>
                      </a:lnTo>
                      <a:lnTo>
                        <a:pt x="392765" y="1335452"/>
                      </a:lnTo>
                      <a:cubicBezTo>
                        <a:pt x="359778" y="1630731"/>
                        <a:pt x="268441" y="1862527"/>
                        <a:pt x="217949" y="1973036"/>
                      </a:cubicBezTo>
                      <a:cubicBezTo>
                        <a:pt x="213594" y="1975214"/>
                        <a:pt x="211417" y="1977391"/>
                        <a:pt x="207061" y="1977391"/>
                      </a:cubicBezTo>
                      <a:cubicBezTo>
                        <a:pt x="204884" y="1977391"/>
                        <a:pt x="204884" y="1977391"/>
                        <a:pt x="202706" y="1977391"/>
                      </a:cubicBezTo>
                      <a:cubicBezTo>
                        <a:pt x="198351" y="1975214"/>
                        <a:pt x="196174" y="1968681"/>
                        <a:pt x="198351" y="1964326"/>
                      </a:cubicBezTo>
                      <a:cubicBezTo>
                        <a:pt x="241630" y="1871237"/>
                        <a:pt x="314305" y="1689652"/>
                        <a:pt x="354713" y="1455742"/>
                      </a:cubicBezTo>
                      <a:lnTo>
                        <a:pt x="369254" y="1353496"/>
                      </a:lnTo>
                      <a:lnTo>
                        <a:pt x="368198" y="1352440"/>
                      </a:lnTo>
                      <a:lnTo>
                        <a:pt x="372786" y="1323875"/>
                      </a:lnTo>
                      <a:lnTo>
                        <a:pt x="382081" y="1205730"/>
                      </a:lnTo>
                      <a:cubicBezTo>
                        <a:pt x="398140" y="852699"/>
                        <a:pt x="320293" y="428081"/>
                        <a:pt x="2374" y="17617"/>
                      </a:cubicBezTo>
                      <a:cubicBezTo>
                        <a:pt x="-1981" y="13261"/>
                        <a:pt x="196" y="6729"/>
                        <a:pt x="4551" y="2374"/>
                      </a:cubicBezTo>
                      <a:close/>
                    </a:path>
                  </a:pathLst>
                </a:custGeom>
                <a:solidFill>
                  <a:schemeClr val="tx1">
                    <a:lumMod val="75000"/>
                    <a:lumOff val="25000"/>
                  </a:schemeClr>
                </a:solidFill>
                <a:ln w="2176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2" name="Freeform: Shape 31">
                  <a:extLst>
                    <a:ext uri="{FF2B5EF4-FFF2-40B4-BE49-F238E27FC236}">
                      <a16:creationId xmlns:a16="http://schemas.microsoft.com/office/drawing/2014/main" id="{55DB268F-A1D1-45C4-9FFC-BCAF6841C43D}"/>
                    </a:ext>
                  </a:extLst>
                </p:cNvPr>
                <p:cNvSpPr/>
                <p:nvPr/>
              </p:nvSpPr>
              <p:spPr>
                <a:xfrm>
                  <a:off x="5096315" y="5919603"/>
                  <a:ext cx="283078" cy="283078"/>
                </a:xfrm>
                <a:custGeom>
                  <a:avLst/>
                  <a:gdLst>
                    <a:gd name="connsiteX0" fmla="*/ 292644 w 283078"/>
                    <a:gd name="connsiteY0" fmla="*/ 161992 h 283078"/>
                    <a:gd name="connsiteX1" fmla="*/ 131507 w 283078"/>
                    <a:gd name="connsiteY1" fmla="*/ 292644 h 283078"/>
                    <a:gd name="connsiteX2" fmla="*/ 856 w 283078"/>
                    <a:gd name="connsiteY2" fmla="*/ 131507 h 283078"/>
                    <a:gd name="connsiteX3" fmla="*/ 161992 w 283078"/>
                    <a:gd name="connsiteY3" fmla="*/ 856 h 283078"/>
                    <a:gd name="connsiteX4" fmla="*/ 292644 w 283078"/>
                    <a:gd name="connsiteY4" fmla="*/ 161992 h 2830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078" h="283078">
                      <a:moveTo>
                        <a:pt x="292644" y="161992"/>
                      </a:moveTo>
                      <a:cubicBezTo>
                        <a:pt x="283934" y="242561"/>
                        <a:pt x="212076" y="301354"/>
                        <a:pt x="131507" y="292644"/>
                      </a:cubicBezTo>
                      <a:cubicBezTo>
                        <a:pt x="50939" y="283934"/>
                        <a:pt x="-7855" y="212076"/>
                        <a:pt x="856" y="131507"/>
                      </a:cubicBezTo>
                      <a:cubicBezTo>
                        <a:pt x="9566" y="50939"/>
                        <a:pt x="81424" y="-7855"/>
                        <a:pt x="161992" y="856"/>
                      </a:cubicBezTo>
                      <a:cubicBezTo>
                        <a:pt x="242561" y="7388"/>
                        <a:pt x="301354" y="81424"/>
                        <a:pt x="292644" y="161992"/>
                      </a:cubicBezTo>
                      <a:close/>
                    </a:path>
                  </a:pathLst>
                </a:custGeom>
                <a:solidFill>
                  <a:schemeClr val="accent2"/>
                </a:solidFill>
                <a:ln w="2176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3" name="Freeform: Shape 32">
                  <a:extLst>
                    <a:ext uri="{FF2B5EF4-FFF2-40B4-BE49-F238E27FC236}">
                      <a16:creationId xmlns:a16="http://schemas.microsoft.com/office/drawing/2014/main" id="{DBBD937F-0CC2-49F9-B8EE-381B384A061E}"/>
                    </a:ext>
                  </a:extLst>
                </p:cNvPr>
                <p:cNvSpPr/>
                <p:nvPr/>
              </p:nvSpPr>
              <p:spPr>
                <a:xfrm>
                  <a:off x="5544886" y="6004527"/>
                  <a:ext cx="283078" cy="283078"/>
                </a:xfrm>
                <a:custGeom>
                  <a:avLst/>
                  <a:gdLst>
                    <a:gd name="connsiteX0" fmla="*/ 292644 w 283078"/>
                    <a:gd name="connsiteY0" fmla="*/ 161993 h 283078"/>
                    <a:gd name="connsiteX1" fmla="*/ 131507 w 283078"/>
                    <a:gd name="connsiteY1" fmla="*/ 292644 h 283078"/>
                    <a:gd name="connsiteX2" fmla="*/ 856 w 283078"/>
                    <a:gd name="connsiteY2" fmla="*/ 131507 h 283078"/>
                    <a:gd name="connsiteX3" fmla="*/ 161992 w 283078"/>
                    <a:gd name="connsiteY3" fmla="*/ 856 h 283078"/>
                    <a:gd name="connsiteX4" fmla="*/ 292644 w 283078"/>
                    <a:gd name="connsiteY4" fmla="*/ 161993 h 2830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078" h="283078">
                      <a:moveTo>
                        <a:pt x="292644" y="161993"/>
                      </a:moveTo>
                      <a:cubicBezTo>
                        <a:pt x="283934" y="242561"/>
                        <a:pt x="212076" y="301354"/>
                        <a:pt x="131507" y="292644"/>
                      </a:cubicBezTo>
                      <a:cubicBezTo>
                        <a:pt x="50939" y="283934"/>
                        <a:pt x="-7854" y="212076"/>
                        <a:pt x="856" y="131507"/>
                      </a:cubicBezTo>
                      <a:cubicBezTo>
                        <a:pt x="9566" y="50939"/>
                        <a:pt x="81424" y="-7854"/>
                        <a:pt x="161992" y="856"/>
                      </a:cubicBezTo>
                      <a:cubicBezTo>
                        <a:pt x="244739" y="9566"/>
                        <a:pt x="301355" y="81424"/>
                        <a:pt x="292644" y="161993"/>
                      </a:cubicBezTo>
                      <a:close/>
                    </a:path>
                  </a:pathLst>
                </a:custGeom>
                <a:solidFill>
                  <a:schemeClr val="accent3"/>
                </a:solidFill>
                <a:ln w="2176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4" name="Freeform: Shape 33">
                  <a:extLst>
                    <a:ext uri="{FF2B5EF4-FFF2-40B4-BE49-F238E27FC236}">
                      <a16:creationId xmlns:a16="http://schemas.microsoft.com/office/drawing/2014/main" id="{E5E6A3C0-ECE3-4B4E-9C00-919C6AE57907}"/>
                    </a:ext>
                  </a:extLst>
                </p:cNvPr>
                <p:cNvSpPr/>
                <p:nvPr/>
              </p:nvSpPr>
              <p:spPr>
                <a:xfrm>
                  <a:off x="5684247" y="6533666"/>
                  <a:ext cx="283078" cy="283078"/>
                </a:xfrm>
                <a:custGeom>
                  <a:avLst/>
                  <a:gdLst>
                    <a:gd name="connsiteX0" fmla="*/ 292645 w 283078"/>
                    <a:gd name="connsiteY0" fmla="*/ 161993 h 283078"/>
                    <a:gd name="connsiteX1" fmla="*/ 131507 w 283078"/>
                    <a:gd name="connsiteY1" fmla="*/ 292644 h 283078"/>
                    <a:gd name="connsiteX2" fmla="*/ 856 w 283078"/>
                    <a:gd name="connsiteY2" fmla="*/ 131507 h 283078"/>
                    <a:gd name="connsiteX3" fmla="*/ 161993 w 283078"/>
                    <a:gd name="connsiteY3" fmla="*/ 856 h 283078"/>
                    <a:gd name="connsiteX4" fmla="*/ 292645 w 283078"/>
                    <a:gd name="connsiteY4" fmla="*/ 161993 h 2830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078" h="283078">
                      <a:moveTo>
                        <a:pt x="292645" y="161993"/>
                      </a:moveTo>
                      <a:cubicBezTo>
                        <a:pt x="283934" y="242561"/>
                        <a:pt x="212076" y="301354"/>
                        <a:pt x="131507" y="292644"/>
                      </a:cubicBezTo>
                      <a:cubicBezTo>
                        <a:pt x="50939" y="283934"/>
                        <a:pt x="-7854" y="212076"/>
                        <a:pt x="856" y="131507"/>
                      </a:cubicBezTo>
                      <a:cubicBezTo>
                        <a:pt x="9566" y="50939"/>
                        <a:pt x="81424" y="-7855"/>
                        <a:pt x="161993" y="856"/>
                      </a:cubicBezTo>
                      <a:cubicBezTo>
                        <a:pt x="242561" y="9566"/>
                        <a:pt x="301355" y="81424"/>
                        <a:pt x="292645" y="161993"/>
                      </a:cubicBezTo>
                      <a:close/>
                    </a:path>
                  </a:pathLst>
                </a:custGeom>
                <a:solidFill>
                  <a:schemeClr val="accent2"/>
                </a:solidFill>
                <a:ln w="2176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5" name="Freeform: Shape 34">
                  <a:extLst>
                    <a:ext uri="{FF2B5EF4-FFF2-40B4-BE49-F238E27FC236}">
                      <a16:creationId xmlns:a16="http://schemas.microsoft.com/office/drawing/2014/main" id="{96E08DDA-9BA3-4490-9FDF-CC44DE8E7AA8}"/>
                    </a:ext>
                  </a:extLst>
                </p:cNvPr>
                <p:cNvSpPr/>
                <p:nvPr/>
              </p:nvSpPr>
              <p:spPr>
                <a:xfrm>
                  <a:off x="5100670" y="6435677"/>
                  <a:ext cx="283078" cy="283078"/>
                </a:xfrm>
                <a:custGeom>
                  <a:avLst/>
                  <a:gdLst>
                    <a:gd name="connsiteX0" fmla="*/ 292644 w 283078"/>
                    <a:gd name="connsiteY0" fmla="*/ 161993 h 283078"/>
                    <a:gd name="connsiteX1" fmla="*/ 131507 w 283078"/>
                    <a:gd name="connsiteY1" fmla="*/ 292644 h 283078"/>
                    <a:gd name="connsiteX2" fmla="*/ 856 w 283078"/>
                    <a:gd name="connsiteY2" fmla="*/ 131507 h 283078"/>
                    <a:gd name="connsiteX3" fmla="*/ 161992 w 283078"/>
                    <a:gd name="connsiteY3" fmla="*/ 856 h 283078"/>
                    <a:gd name="connsiteX4" fmla="*/ 292644 w 283078"/>
                    <a:gd name="connsiteY4" fmla="*/ 161993 h 2830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078" h="283078">
                      <a:moveTo>
                        <a:pt x="292644" y="161993"/>
                      </a:moveTo>
                      <a:cubicBezTo>
                        <a:pt x="283934" y="242561"/>
                        <a:pt x="212076" y="301354"/>
                        <a:pt x="131507" y="292644"/>
                      </a:cubicBezTo>
                      <a:cubicBezTo>
                        <a:pt x="50939" y="283934"/>
                        <a:pt x="-7854" y="212076"/>
                        <a:pt x="856" y="131507"/>
                      </a:cubicBezTo>
                      <a:cubicBezTo>
                        <a:pt x="9566" y="50939"/>
                        <a:pt x="81424" y="-7855"/>
                        <a:pt x="161992" y="856"/>
                      </a:cubicBezTo>
                      <a:cubicBezTo>
                        <a:pt x="242561" y="9566"/>
                        <a:pt x="301354" y="81424"/>
                        <a:pt x="292644" y="161993"/>
                      </a:cubicBezTo>
                      <a:close/>
                    </a:path>
                  </a:pathLst>
                </a:custGeom>
                <a:solidFill>
                  <a:schemeClr val="accent3"/>
                </a:solidFill>
                <a:ln w="2176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6" name="Freeform: Shape 35">
                  <a:extLst>
                    <a:ext uri="{FF2B5EF4-FFF2-40B4-BE49-F238E27FC236}">
                      <a16:creationId xmlns:a16="http://schemas.microsoft.com/office/drawing/2014/main" id="{71CFD8C9-1964-41F9-A0A0-21BA005B0111}"/>
                    </a:ext>
                  </a:extLst>
                </p:cNvPr>
                <p:cNvSpPr/>
                <p:nvPr/>
              </p:nvSpPr>
              <p:spPr>
                <a:xfrm>
                  <a:off x="5229144" y="7054095"/>
                  <a:ext cx="283078" cy="283078"/>
                </a:xfrm>
                <a:custGeom>
                  <a:avLst/>
                  <a:gdLst>
                    <a:gd name="connsiteX0" fmla="*/ 292644 w 283078"/>
                    <a:gd name="connsiteY0" fmla="*/ 161993 h 283078"/>
                    <a:gd name="connsiteX1" fmla="*/ 131507 w 283078"/>
                    <a:gd name="connsiteY1" fmla="*/ 292644 h 283078"/>
                    <a:gd name="connsiteX2" fmla="*/ 856 w 283078"/>
                    <a:gd name="connsiteY2" fmla="*/ 131507 h 283078"/>
                    <a:gd name="connsiteX3" fmla="*/ 161992 w 283078"/>
                    <a:gd name="connsiteY3" fmla="*/ 856 h 283078"/>
                    <a:gd name="connsiteX4" fmla="*/ 292644 w 283078"/>
                    <a:gd name="connsiteY4" fmla="*/ 161993 h 2830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078" h="283078">
                      <a:moveTo>
                        <a:pt x="292644" y="161993"/>
                      </a:moveTo>
                      <a:cubicBezTo>
                        <a:pt x="283934" y="242561"/>
                        <a:pt x="212076" y="301354"/>
                        <a:pt x="131507" y="292644"/>
                      </a:cubicBezTo>
                      <a:cubicBezTo>
                        <a:pt x="50939" y="283934"/>
                        <a:pt x="-7854" y="212076"/>
                        <a:pt x="856" y="131507"/>
                      </a:cubicBezTo>
                      <a:cubicBezTo>
                        <a:pt x="9566" y="50939"/>
                        <a:pt x="81424" y="-7855"/>
                        <a:pt x="161992" y="856"/>
                      </a:cubicBezTo>
                      <a:cubicBezTo>
                        <a:pt x="244739" y="9566"/>
                        <a:pt x="301355" y="81424"/>
                        <a:pt x="292644" y="161993"/>
                      </a:cubicBezTo>
                      <a:close/>
                    </a:path>
                  </a:pathLst>
                </a:custGeom>
                <a:solidFill>
                  <a:schemeClr val="accent1"/>
                </a:solidFill>
                <a:ln w="2176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grpSp>
        <p:grpSp>
          <p:nvGrpSpPr>
            <p:cNvPr id="9" name="Group 8">
              <a:extLst>
                <a:ext uri="{FF2B5EF4-FFF2-40B4-BE49-F238E27FC236}">
                  <a16:creationId xmlns:a16="http://schemas.microsoft.com/office/drawing/2014/main" id="{AF9BC109-CB41-4C47-8BD7-4F9930B27518}"/>
                </a:ext>
              </a:extLst>
            </p:cNvPr>
            <p:cNvGrpSpPr/>
            <p:nvPr/>
          </p:nvGrpSpPr>
          <p:grpSpPr>
            <a:xfrm rot="262840">
              <a:off x="9922309" y="6046790"/>
              <a:ext cx="700304" cy="1244936"/>
              <a:chOff x="1704725" y="5707061"/>
              <a:chExt cx="1197640" cy="2129055"/>
            </a:xfrm>
          </p:grpSpPr>
          <p:sp>
            <p:nvSpPr>
              <p:cNvPr id="25" name="Freeform: Shape 24">
                <a:extLst>
                  <a:ext uri="{FF2B5EF4-FFF2-40B4-BE49-F238E27FC236}">
                    <a16:creationId xmlns:a16="http://schemas.microsoft.com/office/drawing/2014/main" id="{1244B9AD-0568-4334-A312-4637221639D4}"/>
                  </a:ext>
                </a:extLst>
              </p:cNvPr>
              <p:cNvSpPr/>
              <p:nvPr/>
            </p:nvSpPr>
            <p:spPr>
              <a:xfrm>
                <a:off x="1704725" y="5707061"/>
                <a:ext cx="1197640" cy="1981549"/>
              </a:xfrm>
              <a:custGeom>
                <a:avLst/>
                <a:gdLst>
                  <a:gd name="connsiteX0" fmla="*/ 1153949 w 1197639"/>
                  <a:gd name="connsiteY0" fmla="*/ 975532 h 1981548"/>
                  <a:gd name="connsiteX1" fmla="*/ 844740 w 1197639"/>
                  <a:gd name="connsiteY1" fmla="*/ 1964129 h 1981548"/>
                  <a:gd name="connsiteX2" fmla="*/ 41233 w 1197639"/>
                  <a:gd name="connsiteY2" fmla="*/ 1310871 h 1981548"/>
                  <a:gd name="connsiteX3" fmla="*/ 252453 w 1197639"/>
                  <a:gd name="connsiteY3" fmla="*/ 0 h 1981548"/>
                  <a:gd name="connsiteX4" fmla="*/ 1153949 w 1197639"/>
                  <a:gd name="connsiteY4" fmla="*/ 975532 h 19815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7639" h="1981548">
                    <a:moveTo>
                      <a:pt x="1153949" y="975532"/>
                    </a:moveTo>
                    <a:cubicBezTo>
                      <a:pt x="1317264" y="1517736"/>
                      <a:pt x="1151771" y="1872673"/>
                      <a:pt x="844740" y="1964129"/>
                    </a:cubicBezTo>
                    <a:cubicBezTo>
                      <a:pt x="537709" y="2055585"/>
                      <a:pt x="204548" y="1853075"/>
                      <a:pt x="41233" y="1310871"/>
                    </a:cubicBezTo>
                    <a:cubicBezTo>
                      <a:pt x="-122081" y="768667"/>
                      <a:pt x="252453" y="0"/>
                      <a:pt x="252453" y="0"/>
                    </a:cubicBezTo>
                    <a:cubicBezTo>
                      <a:pt x="252453" y="0"/>
                      <a:pt x="990635" y="433328"/>
                      <a:pt x="1153949" y="975532"/>
                    </a:cubicBezTo>
                    <a:close/>
                  </a:path>
                </a:pathLst>
              </a:custGeom>
              <a:solidFill>
                <a:schemeClr val="accent2"/>
              </a:solidFill>
              <a:ln w="2176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6" name="Freeform: Shape 25">
                <a:extLst>
                  <a:ext uri="{FF2B5EF4-FFF2-40B4-BE49-F238E27FC236}">
                    <a16:creationId xmlns:a16="http://schemas.microsoft.com/office/drawing/2014/main" id="{E80363C5-9E46-49AB-A892-D599B47D67F3}"/>
                  </a:ext>
                </a:extLst>
              </p:cNvPr>
              <p:cNvSpPr/>
              <p:nvPr/>
            </p:nvSpPr>
            <p:spPr>
              <a:xfrm>
                <a:off x="1840952" y="6094095"/>
                <a:ext cx="827460" cy="1742021"/>
              </a:xfrm>
              <a:custGeom>
                <a:avLst/>
                <a:gdLst>
                  <a:gd name="connsiteX0" fmla="*/ 832632 w 827460"/>
                  <a:gd name="connsiteY0" fmla="*/ 952145 h 1742020"/>
                  <a:gd name="connsiteX1" fmla="*/ 815211 w 827460"/>
                  <a:gd name="connsiteY1" fmla="*/ 958678 h 1742020"/>
                  <a:gd name="connsiteX2" fmla="*/ 636654 w 827460"/>
                  <a:gd name="connsiteY2" fmla="*/ 1289662 h 1742020"/>
                  <a:gd name="connsiteX3" fmla="*/ 603991 w 827460"/>
                  <a:gd name="connsiteY3" fmla="*/ 1182963 h 1742020"/>
                  <a:gd name="connsiteX4" fmla="*/ 603991 w 827460"/>
                  <a:gd name="connsiteY4" fmla="*/ 1182963 h 1742020"/>
                  <a:gd name="connsiteX5" fmla="*/ 538666 w 827460"/>
                  <a:gd name="connsiteY5" fmla="*/ 967388 h 1742020"/>
                  <a:gd name="connsiteX6" fmla="*/ 730288 w 827460"/>
                  <a:gd name="connsiteY6" fmla="*/ 610274 h 1742020"/>
                  <a:gd name="connsiteX7" fmla="*/ 723755 w 827460"/>
                  <a:gd name="connsiteY7" fmla="*/ 592854 h 1742020"/>
                  <a:gd name="connsiteX8" fmla="*/ 706335 w 827460"/>
                  <a:gd name="connsiteY8" fmla="*/ 599386 h 1742020"/>
                  <a:gd name="connsiteX9" fmla="*/ 527778 w 827460"/>
                  <a:gd name="connsiteY9" fmla="*/ 932548 h 1742020"/>
                  <a:gd name="connsiteX10" fmla="*/ 429789 w 827460"/>
                  <a:gd name="connsiteY10" fmla="*/ 608096 h 1742020"/>
                  <a:gd name="connsiteX11" fmla="*/ 621412 w 827460"/>
                  <a:gd name="connsiteY11" fmla="*/ 250982 h 1742020"/>
                  <a:gd name="connsiteX12" fmla="*/ 614879 w 827460"/>
                  <a:gd name="connsiteY12" fmla="*/ 233562 h 1742020"/>
                  <a:gd name="connsiteX13" fmla="*/ 597459 w 827460"/>
                  <a:gd name="connsiteY13" fmla="*/ 240094 h 1742020"/>
                  <a:gd name="connsiteX14" fmla="*/ 418902 w 827460"/>
                  <a:gd name="connsiteY14" fmla="*/ 568901 h 1742020"/>
                  <a:gd name="connsiteX15" fmla="*/ 251232 w 827460"/>
                  <a:gd name="connsiteY15" fmla="*/ 9276 h 1742020"/>
                  <a:gd name="connsiteX16" fmla="*/ 233812 w 827460"/>
                  <a:gd name="connsiteY16" fmla="*/ 566 h 1742020"/>
                  <a:gd name="connsiteX17" fmla="*/ 225102 w 827460"/>
                  <a:gd name="connsiteY17" fmla="*/ 17987 h 1742020"/>
                  <a:gd name="connsiteX18" fmla="*/ 351398 w 827460"/>
                  <a:gd name="connsiteY18" fmla="*/ 438249 h 1742020"/>
                  <a:gd name="connsiteX19" fmla="*/ 18237 w 827460"/>
                  <a:gd name="connsiteY19" fmla="*/ 259692 h 1742020"/>
                  <a:gd name="connsiteX20" fmla="*/ 817 w 827460"/>
                  <a:gd name="connsiteY20" fmla="*/ 266225 h 1742020"/>
                  <a:gd name="connsiteX21" fmla="*/ 7349 w 827460"/>
                  <a:gd name="connsiteY21" fmla="*/ 283645 h 1742020"/>
                  <a:gd name="connsiteX22" fmla="*/ 364463 w 827460"/>
                  <a:gd name="connsiteY22" fmla="*/ 475267 h 1742020"/>
                  <a:gd name="connsiteX23" fmla="*/ 403659 w 827460"/>
                  <a:gd name="connsiteY23" fmla="*/ 608096 h 1742020"/>
                  <a:gd name="connsiteX24" fmla="*/ 403659 w 827460"/>
                  <a:gd name="connsiteY24" fmla="*/ 608096 h 1742020"/>
                  <a:gd name="connsiteX25" fmla="*/ 460275 w 827460"/>
                  <a:gd name="connsiteY25" fmla="*/ 799719 h 1742020"/>
                  <a:gd name="connsiteX26" fmla="*/ 127113 w 827460"/>
                  <a:gd name="connsiteY26" fmla="*/ 621161 h 1742020"/>
                  <a:gd name="connsiteX27" fmla="*/ 109693 w 827460"/>
                  <a:gd name="connsiteY27" fmla="*/ 627694 h 1742020"/>
                  <a:gd name="connsiteX28" fmla="*/ 116225 w 827460"/>
                  <a:gd name="connsiteY28" fmla="*/ 645114 h 1742020"/>
                  <a:gd name="connsiteX29" fmla="*/ 473340 w 827460"/>
                  <a:gd name="connsiteY29" fmla="*/ 836736 h 1742020"/>
                  <a:gd name="connsiteX30" fmla="*/ 512535 w 827460"/>
                  <a:gd name="connsiteY30" fmla="*/ 969566 h 1742020"/>
                  <a:gd name="connsiteX31" fmla="*/ 512535 w 827460"/>
                  <a:gd name="connsiteY31" fmla="*/ 969566 h 1742020"/>
                  <a:gd name="connsiteX32" fmla="*/ 569151 w 827460"/>
                  <a:gd name="connsiteY32" fmla="*/ 1161188 h 1742020"/>
                  <a:gd name="connsiteX33" fmla="*/ 235989 w 827460"/>
                  <a:gd name="connsiteY33" fmla="*/ 982631 h 1742020"/>
                  <a:gd name="connsiteX34" fmla="*/ 218569 w 827460"/>
                  <a:gd name="connsiteY34" fmla="*/ 989163 h 1742020"/>
                  <a:gd name="connsiteX35" fmla="*/ 225102 w 827460"/>
                  <a:gd name="connsiteY35" fmla="*/ 1006584 h 1742020"/>
                  <a:gd name="connsiteX36" fmla="*/ 582216 w 827460"/>
                  <a:gd name="connsiteY36" fmla="*/ 1198206 h 1742020"/>
                  <a:gd name="connsiteX37" fmla="*/ 745531 w 827460"/>
                  <a:gd name="connsiteY37" fmla="*/ 1738233 h 1742020"/>
                  <a:gd name="connsiteX38" fmla="*/ 758596 w 827460"/>
                  <a:gd name="connsiteY38" fmla="*/ 1746943 h 1742020"/>
                  <a:gd name="connsiteX39" fmla="*/ 762951 w 827460"/>
                  <a:gd name="connsiteY39" fmla="*/ 1746943 h 1742020"/>
                  <a:gd name="connsiteX40" fmla="*/ 771661 w 827460"/>
                  <a:gd name="connsiteY40" fmla="*/ 1729522 h 1742020"/>
                  <a:gd name="connsiteX41" fmla="*/ 651897 w 827460"/>
                  <a:gd name="connsiteY41" fmla="*/ 1328858 h 1742020"/>
                  <a:gd name="connsiteX42" fmla="*/ 843519 w 827460"/>
                  <a:gd name="connsiteY42" fmla="*/ 971743 h 1742020"/>
                  <a:gd name="connsiteX43" fmla="*/ 832632 w 827460"/>
                  <a:gd name="connsiteY43" fmla="*/ 952145 h 17420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827460" h="1742020">
                    <a:moveTo>
                      <a:pt x="832632" y="952145"/>
                    </a:moveTo>
                    <a:cubicBezTo>
                      <a:pt x="826099" y="947790"/>
                      <a:pt x="817389" y="949968"/>
                      <a:pt x="815211" y="958678"/>
                    </a:cubicBezTo>
                    <a:lnTo>
                      <a:pt x="636654" y="1289662"/>
                    </a:lnTo>
                    <a:lnTo>
                      <a:pt x="603991" y="1182963"/>
                    </a:lnTo>
                    <a:cubicBezTo>
                      <a:pt x="603991" y="1182963"/>
                      <a:pt x="603991" y="1182963"/>
                      <a:pt x="603991" y="1182963"/>
                    </a:cubicBezTo>
                    <a:lnTo>
                      <a:pt x="538666" y="967388"/>
                    </a:lnTo>
                    <a:lnTo>
                      <a:pt x="730288" y="610274"/>
                    </a:lnTo>
                    <a:cubicBezTo>
                      <a:pt x="734643" y="603741"/>
                      <a:pt x="730288" y="595031"/>
                      <a:pt x="723755" y="592854"/>
                    </a:cubicBezTo>
                    <a:cubicBezTo>
                      <a:pt x="717223" y="588499"/>
                      <a:pt x="708513" y="592854"/>
                      <a:pt x="706335" y="599386"/>
                    </a:cubicBezTo>
                    <a:lnTo>
                      <a:pt x="527778" y="932548"/>
                    </a:lnTo>
                    <a:lnTo>
                      <a:pt x="429789" y="608096"/>
                    </a:lnTo>
                    <a:lnTo>
                      <a:pt x="621412" y="250982"/>
                    </a:lnTo>
                    <a:cubicBezTo>
                      <a:pt x="625767" y="244449"/>
                      <a:pt x="621412" y="235739"/>
                      <a:pt x="614879" y="233562"/>
                    </a:cubicBezTo>
                    <a:cubicBezTo>
                      <a:pt x="608346" y="231384"/>
                      <a:pt x="599636" y="233562"/>
                      <a:pt x="597459" y="240094"/>
                    </a:cubicBezTo>
                    <a:lnTo>
                      <a:pt x="418902" y="568901"/>
                    </a:lnTo>
                    <a:lnTo>
                      <a:pt x="251232" y="9276"/>
                    </a:lnTo>
                    <a:cubicBezTo>
                      <a:pt x="249055" y="2744"/>
                      <a:pt x="242522" y="-1611"/>
                      <a:pt x="233812" y="566"/>
                    </a:cubicBezTo>
                    <a:cubicBezTo>
                      <a:pt x="227279" y="2744"/>
                      <a:pt x="222924" y="9276"/>
                      <a:pt x="225102" y="17987"/>
                    </a:cubicBezTo>
                    <a:lnTo>
                      <a:pt x="351398" y="438249"/>
                    </a:lnTo>
                    <a:lnTo>
                      <a:pt x="18237" y="259692"/>
                    </a:lnTo>
                    <a:cubicBezTo>
                      <a:pt x="11704" y="255337"/>
                      <a:pt x="2994" y="259692"/>
                      <a:pt x="817" y="266225"/>
                    </a:cubicBezTo>
                    <a:cubicBezTo>
                      <a:pt x="-1361" y="272757"/>
                      <a:pt x="817" y="281467"/>
                      <a:pt x="7349" y="283645"/>
                    </a:cubicBezTo>
                    <a:lnTo>
                      <a:pt x="364463" y="475267"/>
                    </a:lnTo>
                    <a:lnTo>
                      <a:pt x="403659" y="608096"/>
                    </a:lnTo>
                    <a:cubicBezTo>
                      <a:pt x="403659" y="608096"/>
                      <a:pt x="403659" y="608096"/>
                      <a:pt x="403659" y="608096"/>
                    </a:cubicBezTo>
                    <a:lnTo>
                      <a:pt x="460275" y="799719"/>
                    </a:lnTo>
                    <a:lnTo>
                      <a:pt x="127113" y="621161"/>
                    </a:lnTo>
                    <a:cubicBezTo>
                      <a:pt x="120581" y="616806"/>
                      <a:pt x="111870" y="621161"/>
                      <a:pt x="109693" y="627694"/>
                    </a:cubicBezTo>
                    <a:cubicBezTo>
                      <a:pt x="105338" y="634227"/>
                      <a:pt x="109693" y="642937"/>
                      <a:pt x="116225" y="645114"/>
                    </a:cubicBezTo>
                    <a:lnTo>
                      <a:pt x="473340" y="836736"/>
                    </a:lnTo>
                    <a:lnTo>
                      <a:pt x="512535" y="969566"/>
                    </a:lnTo>
                    <a:cubicBezTo>
                      <a:pt x="512535" y="969566"/>
                      <a:pt x="512535" y="969566"/>
                      <a:pt x="512535" y="969566"/>
                    </a:cubicBezTo>
                    <a:lnTo>
                      <a:pt x="569151" y="1161188"/>
                    </a:lnTo>
                    <a:lnTo>
                      <a:pt x="235989" y="982631"/>
                    </a:lnTo>
                    <a:cubicBezTo>
                      <a:pt x="229457" y="978276"/>
                      <a:pt x="220747" y="982631"/>
                      <a:pt x="218569" y="989163"/>
                    </a:cubicBezTo>
                    <a:cubicBezTo>
                      <a:pt x="214214" y="995696"/>
                      <a:pt x="218569" y="1004406"/>
                      <a:pt x="225102" y="1006584"/>
                    </a:cubicBezTo>
                    <a:lnTo>
                      <a:pt x="582216" y="1198206"/>
                    </a:lnTo>
                    <a:lnTo>
                      <a:pt x="745531" y="1738233"/>
                    </a:lnTo>
                    <a:cubicBezTo>
                      <a:pt x="747708" y="1744765"/>
                      <a:pt x="752063" y="1746943"/>
                      <a:pt x="758596" y="1746943"/>
                    </a:cubicBezTo>
                    <a:cubicBezTo>
                      <a:pt x="760773" y="1746943"/>
                      <a:pt x="760773" y="1746943"/>
                      <a:pt x="762951" y="1746943"/>
                    </a:cubicBezTo>
                    <a:cubicBezTo>
                      <a:pt x="769484" y="1744765"/>
                      <a:pt x="773839" y="1738233"/>
                      <a:pt x="771661" y="1729522"/>
                    </a:cubicBezTo>
                    <a:lnTo>
                      <a:pt x="651897" y="1328858"/>
                    </a:lnTo>
                    <a:lnTo>
                      <a:pt x="843519" y="971743"/>
                    </a:lnTo>
                    <a:cubicBezTo>
                      <a:pt x="841342" y="963033"/>
                      <a:pt x="839164" y="956500"/>
                      <a:pt x="832632" y="952145"/>
                    </a:cubicBezTo>
                    <a:close/>
                  </a:path>
                </a:pathLst>
              </a:custGeom>
              <a:solidFill>
                <a:schemeClr val="tx1">
                  <a:lumMod val="75000"/>
                  <a:lumOff val="25000"/>
                </a:schemeClr>
              </a:solidFill>
              <a:ln w="2176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grpSp>
          <p:nvGrpSpPr>
            <p:cNvPr id="10" name="Group 9">
              <a:extLst>
                <a:ext uri="{FF2B5EF4-FFF2-40B4-BE49-F238E27FC236}">
                  <a16:creationId xmlns:a16="http://schemas.microsoft.com/office/drawing/2014/main" id="{17764655-08FA-4288-9E1B-22FB025AA003}"/>
                </a:ext>
              </a:extLst>
            </p:cNvPr>
            <p:cNvGrpSpPr/>
            <p:nvPr/>
          </p:nvGrpSpPr>
          <p:grpSpPr>
            <a:xfrm rot="3886594">
              <a:off x="9386235" y="6329629"/>
              <a:ext cx="750720" cy="732184"/>
              <a:chOff x="-309627" y="6497504"/>
              <a:chExt cx="1763796" cy="1720246"/>
            </a:xfrm>
          </p:grpSpPr>
          <p:sp>
            <p:nvSpPr>
              <p:cNvPr id="23" name="Freeform: Shape 22">
                <a:extLst>
                  <a:ext uri="{FF2B5EF4-FFF2-40B4-BE49-F238E27FC236}">
                    <a16:creationId xmlns:a16="http://schemas.microsoft.com/office/drawing/2014/main" id="{26567E47-34B8-4FC1-AAEF-98B91ECFFFC3}"/>
                  </a:ext>
                </a:extLst>
              </p:cNvPr>
              <p:cNvSpPr/>
              <p:nvPr/>
            </p:nvSpPr>
            <p:spPr>
              <a:xfrm>
                <a:off x="-309627" y="6497504"/>
                <a:ext cx="1763796" cy="1720246"/>
              </a:xfrm>
              <a:custGeom>
                <a:avLst/>
                <a:gdLst>
                  <a:gd name="connsiteX0" fmla="*/ 1391439 w 1763796"/>
                  <a:gd name="connsiteY0" fmla="*/ 450748 h 1720245"/>
                  <a:gd name="connsiteX1" fmla="*/ 1628790 w 1763796"/>
                  <a:gd name="connsiteY1" fmla="*/ 1565641 h 1720245"/>
                  <a:gd name="connsiteX2" fmla="*/ 505186 w 1763796"/>
                  <a:gd name="connsiteY2" fmla="*/ 1371842 h 1720245"/>
                  <a:gd name="connsiteX3" fmla="*/ 0 w 1763796"/>
                  <a:gd name="connsiteY3" fmla="*/ 0 h 1720245"/>
                  <a:gd name="connsiteX4" fmla="*/ 1391439 w 1763796"/>
                  <a:gd name="connsiteY4" fmla="*/ 450748 h 17202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63796" h="1720245">
                    <a:moveTo>
                      <a:pt x="1391439" y="450748"/>
                    </a:moveTo>
                    <a:cubicBezTo>
                      <a:pt x="1842187" y="884075"/>
                      <a:pt x="1872673" y="1310871"/>
                      <a:pt x="1628790" y="1565641"/>
                    </a:cubicBezTo>
                    <a:cubicBezTo>
                      <a:pt x="1384907" y="1820412"/>
                      <a:pt x="955934" y="1805169"/>
                      <a:pt x="505186" y="1371842"/>
                    </a:cubicBezTo>
                    <a:cubicBezTo>
                      <a:pt x="56616" y="940691"/>
                      <a:pt x="0" y="0"/>
                      <a:pt x="0" y="0"/>
                    </a:cubicBezTo>
                    <a:cubicBezTo>
                      <a:pt x="0" y="0"/>
                      <a:pt x="940691" y="19598"/>
                      <a:pt x="1391439" y="450748"/>
                    </a:cubicBezTo>
                    <a:close/>
                  </a:path>
                </a:pathLst>
              </a:custGeom>
              <a:solidFill>
                <a:schemeClr val="accent1"/>
              </a:solidFill>
              <a:ln w="2176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4" name="Freeform: Shape 23">
                <a:extLst>
                  <a:ext uri="{FF2B5EF4-FFF2-40B4-BE49-F238E27FC236}">
                    <a16:creationId xmlns:a16="http://schemas.microsoft.com/office/drawing/2014/main" id="{07748D1C-187B-44B9-BC3F-2A94934D19F9}"/>
                  </a:ext>
                </a:extLst>
              </p:cNvPr>
              <p:cNvSpPr/>
              <p:nvPr/>
            </p:nvSpPr>
            <p:spPr>
              <a:xfrm>
                <a:off x="-72277" y="6801813"/>
                <a:ext cx="1524268" cy="1393617"/>
              </a:xfrm>
              <a:custGeom>
                <a:avLst/>
                <a:gdLst>
                  <a:gd name="connsiteX0" fmla="*/ 1530801 w 1524268"/>
                  <a:gd name="connsiteY0" fmla="*/ 1372386 h 1393616"/>
                  <a:gd name="connsiteX1" fmla="*/ 1199817 w 1524268"/>
                  <a:gd name="connsiteY1" fmla="*/ 1054467 h 1393616"/>
                  <a:gd name="connsiteX2" fmla="*/ 1191107 w 1524268"/>
                  <a:gd name="connsiteY2" fmla="*/ 608074 h 1393616"/>
                  <a:gd name="connsiteX3" fmla="*/ 1175864 w 1524268"/>
                  <a:gd name="connsiteY3" fmla="*/ 592832 h 1393616"/>
                  <a:gd name="connsiteX4" fmla="*/ 1160622 w 1524268"/>
                  <a:gd name="connsiteY4" fmla="*/ 608074 h 1393616"/>
                  <a:gd name="connsiteX5" fmla="*/ 1169332 w 1524268"/>
                  <a:gd name="connsiteY5" fmla="*/ 1023982 h 1393616"/>
                  <a:gd name="connsiteX6" fmla="*/ 1080053 w 1524268"/>
                  <a:gd name="connsiteY6" fmla="*/ 939058 h 1393616"/>
                  <a:gd name="connsiteX7" fmla="*/ 1080053 w 1524268"/>
                  <a:gd name="connsiteY7" fmla="*/ 939058 h 1393616"/>
                  <a:gd name="connsiteX8" fmla="*/ 901496 w 1524268"/>
                  <a:gd name="connsiteY8" fmla="*/ 767034 h 1393616"/>
                  <a:gd name="connsiteX9" fmla="*/ 890608 w 1524268"/>
                  <a:gd name="connsiteY9" fmla="*/ 320641 h 1393616"/>
                  <a:gd name="connsiteX10" fmla="*/ 875366 w 1524268"/>
                  <a:gd name="connsiteY10" fmla="*/ 305398 h 1393616"/>
                  <a:gd name="connsiteX11" fmla="*/ 860123 w 1524268"/>
                  <a:gd name="connsiteY11" fmla="*/ 320641 h 1393616"/>
                  <a:gd name="connsiteX12" fmla="*/ 868833 w 1524268"/>
                  <a:gd name="connsiteY12" fmla="*/ 736548 h 1393616"/>
                  <a:gd name="connsiteX13" fmla="*/ 779554 w 1524268"/>
                  <a:gd name="connsiteY13" fmla="*/ 651625 h 1393616"/>
                  <a:gd name="connsiteX14" fmla="*/ 779554 w 1524268"/>
                  <a:gd name="connsiteY14" fmla="*/ 651625 h 1393616"/>
                  <a:gd name="connsiteX15" fmla="*/ 600997 w 1524268"/>
                  <a:gd name="connsiteY15" fmla="*/ 479600 h 1393616"/>
                  <a:gd name="connsiteX16" fmla="*/ 590110 w 1524268"/>
                  <a:gd name="connsiteY16" fmla="*/ 33207 h 1393616"/>
                  <a:gd name="connsiteX17" fmla="*/ 574867 w 1524268"/>
                  <a:gd name="connsiteY17" fmla="*/ 17965 h 1393616"/>
                  <a:gd name="connsiteX18" fmla="*/ 574867 w 1524268"/>
                  <a:gd name="connsiteY18" fmla="*/ 17965 h 1393616"/>
                  <a:gd name="connsiteX19" fmla="*/ 559624 w 1524268"/>
                  <a:gd name="connsiteY19" fmla="*/ 33207 h 1393616"/>
                  <a:gd name="connsiteX20" fmla="*/ 568334 w 1524268"/>
                  <a:gd name="connsiteY20" fmla="*/ 451292 h 1393616"/>
                  <a:gd name="connsiteX21" fmla="*/ 104521 w 1524268"/>
                  <a:gd name="connsiteY21" fmla="*/ 4899 h 1393616"/>
                  <a:gd name="connsiteX22" fmla="*/ 82746 w 1524268"/>
                  <a:gd name="connsiteY22" fmla="*/ 4899 h 1393616"/>
                  <a:gd name="connsiteX23" fmla="*/ 82746 w 1524268"/>
                  <a:gd name="connsiteY23" fmla="*/ 26675 h 1393616"/>
                  <a:gd name="connsiteX24" fmla="*/ 431150 w 1524268"/>
                  <a:gd name="connsiteY24" fmla="*/ 362014 h 1393616"/>
                  <a:gd name="connsiteX25" fmla="*/ 15243 w 1524268"/>
                  <a:gd name="connsiteY25" fmla="*/ 370724 h 1393616"/>
                  <a:gd name="connsiteX26" fmla="*/ 0 w 1524268"/>
                  <a:gd name="connsiteY26" fmla="*/ 385967 h 1393616"/>
                  <a:gd name="connsiteX27" fmla="*/ 15243 w 1524268"/>
                  <a:gd name="connsiteY27" fmla="*/ 401209 h 1393616"/>
                  <a:gd name="connsiteX28" fmla="*/ 15243 w 1524268"/>
                  <a:gd name="connsiteY28" fmla="*/ 401209 h 1393616"/>
                  <a:gd name="connsiteX29" fmla="*/ 461636 w 1524268"/>
                  <a:gd name="connsiteY29" fmla="*/ 392499 h 1393616"/>
                  <a:gd name="connsiteX30" fmla="*/ 729471 w 1524268"/>
                  <a:gd name="connsiteY30" fmla="*/ 651625 h 1393616"/>
                  <a:gd name="connsiteX31" fmla="*/ 313564 w 1524268"/>
                  <a:gd name="connsiteY31" fmla="*/ 660335 h 1393616"/>
                  <a:gd name="connsiteX32" fmla="*/ 298321 w 1524268"/>
                  <a:gd name="connsiteY32" fmla="*/ 675578 h 1393616"/>
                  <a:gd name="connsiteX33" fmla="*/ 313564 w 1524268"/>
                  <a:gd name="connsiteY33" fmla="*/ 690820 h 1393616"/>
                  <a:gd name="connsiteX34" fmla="*/ 313564 w 1524268"/>
                  <a:gd name="connsiteY34" fmla="*/ 690820 h 1393616"/>
                  <a:gd name="connsiteX35" fmla="*/ 759957 w 1524268"/>
                  <a:gd name="connsiteY35" fmla="*/ 682110 h 1393616"/>
                  <a:gd name="connsiteX36" fmla="*/ 871011 w 1524268"/>
                  <a:gd name="connsiteY36" fmla="*/ 788809 h 1393616"/>
                  <a:gd name="connsiteX37" fmla="*/ 871011 w 1524268"/>
                  <a:gd name="connsiteY37" fmla="*/ 788809 h 1393616"/>
                  <a:gd name="connsiteX38" fmla="*/ 1029970 w 1524268"/>
                  <a:gd name="connsiteY38" fmla="*/ 941236 h 1393616"/>
                  <a:gd name="connsiteX39" fmla="*/ 614062 w 1524268"/>
                  <a:gd name="connsiteY39" fmla="*/ 949946 h 1393616"/>
                  <a:gd name="connsiteX40" fmla="*/ 598820 w 1524268"/>
                  <a:gd name="connsiteY40" fmla="*/ 965189 h 1393616"/>
                  <a:gd name="connsiteX41" fmla="*/ 614062 w 1524268"/>
                  <a:gd name="connsiteY41" fmla="*/ 980431 h 1393616"/>
                  <a:gd name="connsiteX42" fmla="*/ 614062 w 1524268"/>
                  <a:gd name="connsiteY42" fmla="*/ 980431 h 1393616"/>
                  <a:gd name="connsiteX43" fmla="*/ 1060455 w 1524268"/>
                  <a:gd name="connsiteY43" fmla="*/ 971721 h 1393616"/>
                  <a:gd name="connsiteX44" fmla="*/ 1506848 w 1524268"/>
                  <a:gd name="connsiteY44" fmla="*/ 1400694 h 1393616"/>
                  <a:gd name="connsiteX45" fmla="*/ 1517736 w 1524268"/>
                  <a:gd name="connsiteY45" fmla="*/ 1405049 h 1393616"/>
                  <a:gd name="connsiteX46" fmla="*/ 1528624 w 1524268"/>
                  <a:gd name="connsiteY46" fmla="*/ 1400694 h 1393616"/>
                  <a:gd name="connsiteX47" fmla="*/ 1530801 w 1524268"/>
                  <a:gd name="connsiteY47" fmla="*/ 1372386 h 13936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1524268" h="1393616">
                    <a:moveTo>
                      <a:pt x="1530801" y="1372386"/>
                    </a:moveTo>
                    <a:lnTo>
                      <a:pt x="1199817" y="1054467"/>
                    </a:lnTo>
                    <a:lnTo>
                      <a:pt x="1191107" y="608074"/>
                    </a:lnTo>
                    <a:cubicBezTo>
                      <a:pt x="1191107" y="599364"/>
                      <a:pt x="1184574" y="592832"/>
                      <a:pt x="1175864" y="592832"/>
                    </a:cubicBezTo>
                    <a:cubicBezTo>
                      <a:pt x="1167154" y="592832"/>
                      <a:pt x="1160622" y="599364"/>
                      <a:pt x="1160622" y="608074"/>
                    </a:cubicBezTo>
                    <a:lnTo>
                      <a:pt x="1169332" y="1023982"/>
                    </a:lnTo>
                    <a:lnTo>
                      <a:pt x="1080053" y="939058"/>
                    </a:lnTo>
                    <a:cubicBezTo>
                      <a:pt x="1080053" y="939058"/>
                      <a:pt x="1080053" y="939058"/>
                      <a:pt x="1080053" y="939058"/>
                    </a:cubicBezTo>
                    <a:lnTo>
                      <a:pt x="901496" y="767034"/>
                    </a:lnTo>
                    <a:lnTo>
                      <a:pt x="890608" y="320641"/>
                    </a:lnTo>
                    <a:cubicBezTo>
                      <a:pt x="890608" y="311931"/>
                      <a:pt x="884076" y="305398"/>
                      <a:pt x="875366" y="305398"/>
                    </a:cubicBezTo>
                    <a:cubicBezTo>
                      <a:pt x="866656" y="305398"/>
                      <a:pt x="860123" y="311931"/>
                      <a:pt x="860123" y="320641"/>
                    </a:cubicBezTo>
                    <a:lnTo>
                      <a:pt x="868833" y="736548"/>
                    </a:lnTo>
                    <a:lnTo>
                      <a:pt x="779554" y="651625"/>
                    </a:lnTo>
                    <a:cubicBezTo>
                      <a:pt x="779554" y="651625"/>
                      <a:pt x="779554" y="651625"/>
                      <a:pt x="779554" y="651625"/>
                    </a:cubicBezTo>
                    <a:lnTo>
                      <a:pt x="600997" y="479600"/>
                    </a:lnTo>
                    <a:lnTo>
                      <a:pt x="590110" y="33207"/>
                    </a:lnTo>
                    <a:cubicBezTo>
                      <a:pt x="590110" y="24497"/>
                      <a:pt x="583577" y="17965"/>
                      <a:pt x="574867" y="17965"/>
                    </a:cubicBezTo>
                    <a:cubicBezTo>
                      <a:pt x="574867" y="17965"/>
                      <a:pt x="574867" y="17965"/>
                      <a:pt x="574867" y="17965"/>
                    </a:cubicBezTo>
                    <a:cubicBezTo>
                      <a:pt x="566157" y="17965"/>
                      <a:pt x="559624" y="24497"/>
                      <a:pt x="559624" y="33207"/>
                    </a:cubicBezTo>
                    <a:lnTo>
                      <a:pt x="568334" y="451292"/>
                    </a:lnTo>
                    <a:lnTo>
                      <a:pt x="104521" y="4899"/>
                    </a:lnTo>
                    <a:cubicBezTo>
                      <a:pt x="97989" y="-1633"/>
                      <a:pt x="89279" y="-1633"/>
                      <a:pt x="82746" y="4899"/>
                    </a:cubicBezTo>
                    <a:cubicBezTo>
                      <a:pt x="76213" y="11432"/>
                      <a:pt x="76213" y="20142"/>
                      <a:pt x="82746" y="26675"/>
                    </a:cubicBezTo>
                    <a:lnTo>
                      <a:pt x="431150" y="362014"/>
                    </a:lnTo>
                    <a:lnTo>
                      <a:pt x="15243" y="370724"/>
                    </a:lnTo>
                    <a:cubicBezTo>
                      <a:pt x="6533" y="370724"/>
                      <a:pt x="0" y="377256"/>
                      <a:pt x="0" y="385967"/>
                    </a:cubicBezTo>
                    <a:cubicBezTo>
                      <a:pt x="0" y="394677"/>
                      <a:pt x="6533" y="401209"/>
                      <a:pt x="15243" y="401209"/>
                    </a:cubicBezTo>
                    <a:cubicBezTo>
                      <a:pt x="15243" y="401209"/>
                      <a:pt x="15243" y="401209"/>
                      <a:pt x="15243" y="401209"/>
                    </a:cubicBezTo>
                    <a:lnTo>
                      <a:pt x="461636" y="392499"/>
                    </a:lnTo>
                    <a:lnTo>
                      <a:pt x="729471" y="651625"/>
                    </a:lnTo>
                    <a:lnTo>
                      <a:pt x="313564" y="660335"/>
                    </a:lnTo>
                    <a:cubicBezTo>
                      <a:pt x="304854" y="660335"/>
                      <a:pt x="298321" y="666867"/>
                      <a:pt x="298321" y="675578"/>
                    </a:cubicBezTo>
                    <a:cubicBezTo>
                      <a:pt x="298321" y="684288"/>
                      <a:pt x="304854" y="690820"/>
                      <a:pt x="313564" y="690820"/>
                    </a:cubicBezTo>
                    <a:cubicBezTo>
                      <a:pt x="313564" y="690820"/>
                      <a:pt x="313564" y="690820"/>
                      <a:pt x="313564" y="690820"/>
                    </a:cubicBezTo>
                    <a:lnTo>
                      <a:pt x="759957" y="682110"/>
                    </a:lnTo>
                    <a:lnTo>
                      <a:pt x="871011" y="788809"/>
                    </a:lnTo>
                    <a:cubicBezTo>
                      <a:pt x="871011" y="788809"/>
                      <a:pt x="871011" y="788809"/>
                      <a:pt x="871011" y="788809"/>
                    </a:cubicBezTo>
                    <a:lnTo>
                      <a:pt x="1029970" y="941236"/>
                    </a:lnTo>
                    <a:lnTo>
                      <a:pt x="614062" y="949946"/>
                    </a:lnTo>
                    <a:cubicBezTo>
                      <a:pt x="605352" y="949946"/>
                      <a:pt x="598820" y="956478"/>
                      <a:pt x="598820" y="965189"/>
                    </a:cubicBezTo>
                    <a:cubicBezTo>
                      <a:pt x="598820" y="973899"/>
                      <a:pt x="605352" y="980431"/>
                      <a:pt x="614062" y="980431"/>
                    </a:cubicBezTo>
                    <a:cubicBezTo>
                      <a:pt x="614062" y="980431"/>
                      <a:pt x="614062" y="980431"/>
                      <a:pt x="614062" y="980431"/>
                    </a:cubicBezTo>
                    <a:lnTo>
                      <a:pt x="1060455" y="971721"/>
                    </a:lnTo>
                    <a:lnTo>
                      <a:pt x="1506848" y="1400694"/>
                    </a:lnTo>
                    <a:cubicBezTo>
                      <a:pt x="1509026" y="1402871"/>
                      <a:pt x="1513381" y="1405049"/>
                      <a:pt x="1517736" y="1405049"/>
                    </a:cubicBezTo>
                    <a:cubicBezTo>
                      <a:pt x="1522091" y="1405049"/>
                      <a:pt x="1526446" y="1402871"/>
                      <a:pt x="1528624" y="1400694"/>
                    </a:cubicBezTo>
                    <a:cubicBezTo>
                      <a:pt x="1535156" y="1387629"/>
                      <a:pt x="1535156" y="1378919"/>
                      <a:pt x="1530801" y="1372386"/>
                    </a:cubicBezTo>
                    <a:close/>
                  </a:path>
                </a:pathLst>
              </a:custGeom>
              <a:solidFill>
                <a:schemeClr val="tx1">
                  <a:lumMod val="75000"/>
                  <a:lumOff val="25000"/>
                </a:schemeClr>
              </a:solidFill>
              <a:ln w="2176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grpSp>
          <p:nvGrpSpPr>
            <p:cNvPr id="11" name="Group 10">
              <a:extLst>
                <a:ext uri="{FF2B5EF4-FFF2-40B4-BE49-F238E27FC236}">
                  <a16:creationId xmlns:a16="http://schemas.microsoft.com/office/drawing/2014/main" id="{E372F526-9F83-4414-AAE9-636B8FED51C4}"/>
                </a:ext>
              </a:extLst>
            </p:cNvPr>
            <p:cNvGrpSpPr/>
            <p:nvPr/>
          </p:nvGrpSpPr>
          <p:grpSpPr>
            <a:xfrm rot="3493196">
              <a:off x="10513856" y="6335665"/>
              <a:ext cx="659318" cy="643039"/>
              <a:chOff x="-309627" y="6497504"/>
              <a:chExt cx="1763796" cy="1720246"/>
            </a:xfrm>
          </p:grpSpPr>
          <p:sp>
            <p:nvSpPr>
              <p:cNvPr id="21" name="Freeform: Shape 20">
                <a:extLst>
                  <a:ext uri="{FF2B5EF4-FFF2-40B4-BE49-F238E27FC236}">
                    <a16:creationId xmlns:a16="http://schemas.microsoft.com/office/drawing/2014/main" id="{DF1C942F-34CC-4219-9917-83598791F3AE}"/>
                  </a:ext>
                </a:extLst>
              </p:cNvPr>
              <p:cNvSpPr/>
              <p:nvPr/>
            </p:nvSpPr>
            <p:spPr>
              <a:xfrm>
                <a:off x="-309627" y="6497504"/>
                <a:ext cx="1763796" cy="1720246"/>
              </a:xfrm>
              <a:custGeom>
                <a:avLst/>
                <a:gdLst>
                  <a:gd name="connsiteX0" fmla="*/ 1391439 w 1763796"/>
                  <a:gd name="connsiteY0" fmla="*/ 450748 h 1720245"/>
                  <a:gd name="connsiteX1" fmla="*/ 1628790 w 1763796"/>
                  <a:gd name="connsiteY1" fmla="*/ 1565641 h 1720245"/>
                  <a:gd name="connsiteX2" fmla="*/ 505186 w 1763796"/>
                  <a:gd name="connsiteY2" fmla="*/ 1371842 h 1720245"/>
                  <a:gd name="connsiteX3" fmla="*/ 0 w 1763796"/>
                  <a:gd name="connsiteY3" fmla="*/ 0 h 1720245"/>
                  <a:gd name="connsiteX4" fmla="*/ 1391439 w 1763796"/>
                  <a:gd name="connsiteY4" fmla="*/ 450748 h 17202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63796" h="1720245">
                    <a:moveTo>
                      <a:pt x="1391439" y="450748"/>
                    </a:moveTo>
                    <a:cubicBezTo>
                      <a:pt x="1842187" y="884075"/>
                      <a:pt x="1872673" y="1310871"/>
                      <a:pt x="1628790" y="1565641"/>
                    </a:cubicBezTo>
                    <a:cubicBezTo>
                      <a:pt x="1384907" y="1820412"/>
                      <a:pt x="955934" y="1805169"/>
                      <a:pt x="505186" y="1371842"/>
                    </a:cubicBezTo>
                    <a:cubicBezTo>
                      <a:pt x="56616" y="940691"/>
                      <a:pt x="0" y="0"/>
                      <a:pt x="0" y="0"/>
                    </a:cubicBezTo>
                    <a:cubicBezTo>
                      <a:pt x="0" y="0"/>
                      <a:pt x="940691" y="19598"/>
                      <a:pt x="1391439" y="450748"/>
                    </a:cubicBezTo>
                    <a:close/>
                  </a:path>
                </a:pathLst>
              </a:custGeom>
              <a:solidFill>
                <a:schemeClr val="accent3"/>
              </a:solidFill>
              <a:ln w="2176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2" name="Freeform: Shape 21">
                <a:extLst>
                  <a:ext uri="{FF2B5EF4-FFF2-40B4-BE49-F238E27FC236}">
                    <a16:creationId xmlns:a16="http://schemas.microsoft.com/office/drawing/2014/main" id="{8BB2BEB1-8183-4EDA-B853-22D16F96537F}"/>
                  </a:ext>
                </a:extLst>
              </p:cNvPr>
              <p:cNvSpPr/>
              <p:nvPr/>
            </p:nvSpPr>
            <p:spPr>
              <a:xfrm>
                <a:off x="-72277" y="6801813"/>
                <a:ext cx="1524268" cy="1393617"/>
              </a:xfrm>
              <a:custGeom>
                <a:avLst/>
                <a:gdLst>
                  <a:gd name="connsiteX0" fmla="*/ 1530801 w 1524268"/>
                  <a:gd name="connsiteY0" fmla="*/ 1372386 h 1393616"/>
                  <a:gd name="connsiteX1" fmla="*/ 1199817 w 1524268"/>
                  <a:gd name="connsiteY1" fmla="*/ 1054467 h 1393616"/>
                  <a:gd name="connsiteX2" fmla="*/ 1191107 w 1524268"/>
                  <a:gd name="connsiteY2" fmla="*/ 608074 h 1393616"/>
                  <a:gd name="connsiteX3" fmla="*/ 1175864 w 1524268"/>
                  <a:gd name="connsiteY3" fmla="*/ 592832 h 1393616"/>
                  <a:gd name="connsiteX4" fmla="*/ 1160622 w 1524268"/>
                  <a:gd name="connsiteY4" fmla="*/ 608074 h 1393616"/>
                  <a:gd name="connsiteX5" fmla="*/ 1169332 w 1524268"/>
                  <a:gd name="connsiteY5" fmla="*/ 1023982 h 1393616"/>
                  <a:gd name="connsiteX6" fmla="*/ 1080053 w 1524268"/>
                  <a:gd name="connsiteY6" fmla="*/ 939058 h 1393616"/>
                  <a:gd name="connsiteX7" fmla="*/ 1080053 w 1524268"/>
                  <a:gd name="connsiteY7" fmla="*/ 939058 h 1393616"/>
                  <a:gd name="connsiteX8" fmla="*/ 901496 w 1524268"/>
                  <a:gd name="connsiteY8" fmla="*/ 767034 h 1393616"/>
                  <a:gd name="connsiteX9" fmla="*/ 890608 w 1524268"/>
                  <a:gd name="connsiteY9" fmla="*/ 320641 h 1393616"/>
                  <a:gd name="connsiteX10" fmla="*/ 875366 w 1524268"/>
                  <a:gd name="connsiteY10" fmla="*/ 305398 h 1393616"/>
                  <a:gd name="connsiteX11" fmla="*/ 860123 w 1524268"/>
                  <a:gd name="connsiteY11" fmla="*/ 320641 h 1393616"/>
                  <a:gd name="connsiteX12" fmla="*/ 868833 w 1524268"/>
                  <a:gd name="connsiteY12" fmla="*/ 736548 h 1393616"/>
                  <a:gd name="connsiteX13" fmla="*/ 779554 w 1524268"/>
                  <a:gd name="connsiteY13" fmla="*/ 651625 h 1393616"/>
                  <a:gd name="connsiteX14" fmla="*/ 779554 w 1524268"/>
                  <a:gd name="connsiteY14" fmla="*/ 651625 h 1393616"/>
                  <a:gd name="connsiteX15" fmla="*/ 600997 w 1524268"/>
                  <a:gd name="connsiteY15" fmla="*/ 479600 h 1393616"/>
                  <a:gd name="connsiteX16" fmla="*/ 590110 w 1524268"/>
                  <a:gd name="connsiteY16" fmla="*/ 33207 h 1393616"/>
                  <a:gd name="connsiteX17" fmla="*/ 574867 w 1524268"/>
                  <a:gd name="connsiteY17" fmla="*/ 17965 h 1393616"/>
                  <a:gd name="connsiteX18" fmla="*/ 574867 w 1524268"/>
                  <a:gd name="connsiteY18" fmla="*/ 17965 h 1393616"/>
                  <a:gd name="connsiteX19" fmla="*/ 559624 w 1524268"/>
                  <a:gd name="connsiteY19" fmla="*/ 33207 h 1393616"/>
                  <a:gd name="connsiteX20" fmla="*/ 568334 w 1524268"/>
                  <a:gd name="connsiteY20" fmla="*/ 451292 h 1393616"/>
                  <a:gd name="connsiteX21" fmla="*/ 104521 w 1524268"/>
                  <a:gd name="connsiteY21" fmla="*/ 4899 h 1393616"/>
                  <a:gd name="connsiteX22" fmla="*/ 82746 w 1524268"/>
                  <a:gd name="connsiteY22" fmla="*/ 4899 h 1393616"/>
                  <a:gd name="connsiteX23" fmla="*/ 82746 w 1524268"/>
                  <a:gd name="connsiteY23" fmla="*/ 26675 h 1393616"/>
                  <a:gd name="connsiteX24" fmla="*/ 431150 w 1524268"/>
                  <a:gd name="connsiteY24" fmla="*/ 362014 h 1393616"/>
                  <a:gd name="connsiteX25" fmla="*/ 15243 w 1524268"/>
                  <a:gd name="connsiteY25" fmla="*/ 370724 h 1393616"/>
                  <a:gd name="connsiteX26" fmla="*/ 0 w 1524268"/>
                  <a:gd name="connsiteY26" fmla="*/ 385967 h 1393616"/>
                  <a:gd name="connsiteX27" fmla="*/ 15243 w 1524268"/>
                  <a:gd name="connsiteY27" fmla="*/ 401209 h 1393616"/>
                  <a:gd name="connsiteX28" fmla="*/ 15243 w 1524268"/>
                  <a:gd name="connsiteY28" fmla="*/ 401209 h 1393616"/>
                  <a:gd name="connsiteX29" fmla="*/ 461636 w 1524268"/>
                  <a:gd name="connsiteY29" fmla="*/ 392499 h 1393616"/>
                  <a:gd name="connsiteX30" fmla="*/ 729471 w 1524268"/>
                  <a:gd name="connsiteY30" fmla="*/ 651625 h 1393616"/>
                  <a:gd name="connsiteX31" fmla="*/ 313564 w 1524268"/>
                  <a:gd name="connsiteY31" fmla="*/ 660335 h 1393616"/>
                  <a:gd name="connsiteX32" fmla="*/ 298321 w 1524268"/>
                  <a:gd name="connsiteY32" fmla="*/ 675578 h 1393616"/>
                  <a:gd name="connsiteX33" fmla="*/ 313564 w 1524268"/>
                  <a:gd name="connsiteY33" fmla="*/ 690820 h 1393616"/>
                  <a:gd name="connsiteX34" fmla="*/ 313564 w 1524268"/>
                  <a:gd name="connsiteY34" fmla="*/ 690820 h 1393616"/>
                  <a:gd name="connsiteX35" fmla="*/ 759957 w 1524268"/>
                  <a:gd name="connsiteY35" fmla="*/ 682110 h 1393616"/>
                  <a:gd name="connsiteX36" fmla="*/ 871011 w 1524268"/>
                  <a:gd name="connsiteY36" fmla="*/ 788809 h 1393616"/>
                  <a:gd name="connsiteX37" fmla="*/ 871011 w 1524268"/>
                  <a:gd name="connsiteY37" fmla="*/ 788809 h 1393616"/>
                  <a:gd name="connsiteX38" fmla="*/ 1029970 w 1524268"/>
                  <a:gd name="connsiteY38" fmla="*/ 941236 h 1393616"/>
                  <a:gd name="connsiteX39" fmla="*/ 614062 w 1524268"/>
                  <a:gd name="connsiteY39" fmla="*/ 949946 h 1393616"/>
                  <a:gd name="connsiteX40" fmla="*/ 598820 w 1524268"/>
                  <a:gd name="connsiteY40" fmla="*/ 965189 h 1393616"/>
                  <a:gd name="connsiteX41" fmla="*/ 614062 w 1524268"/>
                  <a:gd name="connsiteY41" fmla="*/ 980431 h 1393616"/>
                  <a:gd name="connsiteX42" fmla="*/ 614062 w 1524268"/>
                  <a:gd name="connsiteY42" fmla="*/ 980431 h 1393616"/>
                  <a:gd name="connsiteX43" fmla="*/ 1060455 w 1524268"/>
                  <a:gd name="connsiteY43" fmla="*/ 971721 h 1393616"/>
                  <a:gd name="connsiteX44" fmla="*/ 1506848 w 1524268"/>
                  <a:gd name="connsiteY44" fmla="*/ 1400694 h 1393616"/>
                  <a:gd name="connsiteX45" fmla="*/ 1517736 w 1524268"/>
                  <a:gd name="connsiteY45" fmla="*/ 1405049 h 1393616"/>
                  <a:gd name="connsiteX46" fmla="*/ 1528624 w 1524268"/>
                  <a:gd name="connsiteY46" fmla="*/ 1400694 h 1393616"/>
                  <a:gd name="connsiteX47" fmla="*/ 1530801 w 1524268"/>
                  <a:gd name="connsiteY47" fmla="*/ 1372386 h 13936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1524268" h="1393616">
                    <a:moveTo>
                      <a:pt x="1530801" y="1372386"/>
                    </a:moveTo>
                    <a:lnTo>
                      <a:pt x="1199817" y="1054467"/>
                    </a:lnTo>
                    <a:lnTo>
                      <a:pt x="1191107" y="608074"/>
                    </a:lnTo>
                    <a:cubicBezTo>
                      <a:pt x="1191107" y="599364"/>
                      <a:pt x="1184574" y="592832"/>
                      <a:pt x="1175864" y="592832"/>
                    </a:cubicBezTo>
                    <a:cubicBezTo>
                      <a:pt x="1167154" y="592832"/>
                      <a:pt x="1160622" y="599364"/>
                      <a:pt x="1160622" y="608074"/>
                    </a:cubicBezTo>
                    <a:lnTo>
                      <a:pt x="1169332" y="1023982"/>
                    </a:lnTo>
                    <a:lnTo>
                      <a:pt x="1080053" y="939058"/>
                    </a:lnTo>
                    <a:cubicBezTo>
                      <a:pt x="1080053" y="939058"/>
                      <a:pt x="1080053" y="939058"/>
                      <a:pt x="1080053" y="939058"/>
                    </a:cubicBezTo>
                    <a:lnTo>
                      <a:pt x="901496" y="767034"/>
                    </a:lnTo>
                    <a:lnTo>
                      <a:pt x="890608" y="320641"/>
                    </a:lnTo>
                    <a:cubicBezTo>
                      <a:pt x="890608" y="311931"/>
                      <a:pt x="884076" y="305398"/>
                      <a:pt x="875366" y="305398"/>
                    </a:cubicBezTo>
                    <a:cubicBezTo>
                      <a:pt x="866656" y="305398"/>
                      <a:pt x="860123" y="311931"/>
                      <a:pt x="860123" y="320641"/>
                    </a:cubicBezTo>
                    <a:lnTo>
                      <a:pt x="868833" y="736548"/>
                    </a:lnTo>
                    <a:lnTo>
                      <a:pt x="779554" y="651625"/>
                    </a:lnTo>
                    <a:cubicBezTo>
                      <a:pt x="779554" y="651625"/>
                      <a:pt x="779554" y="651625"/>
                      <a:pt x="779554" y="651625"/>
                    </a:cubicBezTo>
                    <a:lnTo>
                      <a:pt x="600997" y="479600"/>
                    </a:lnTo>
                    <a:lnTo>
                      <a:pt x="590110" y="33207"/>
                    </a:lnTo>
                    <a:cubicBezTo>
                      <a:pt x="590110" y="24497"/>
                      <a:pt x="583577" y="17965"/>
                      <a:pt x="574867" y="17965"/>
                    </a:cubicBezTo>
                    <a:cubicBezTo>
                      <a:pt x="574867" y="17965"/>
                      <a:pt x="574867" y="17965"/>
                      <a:pt x="574867" y="17965"/>
                    </a:cubicBezTo>
                    <a:cubicBezTo>
                      <a:pt x="566157" y="17965"/>
                      <a:pt x="559624" y="24497"/>
                      <a:pt x="559624" y="33207"/>
                    </a:cubicBezTo>
                    <a:lnTo>
                      <a:pt x="568334" y="451292"/>
                    </a:lnTo>
                    <a:lnTo>
                      <a:pt x="104521" y="4899"/>
                    </a:lnTo>
                    <a:cubicBezTo>
                      <a:pt x="97989" y="-1633"/>
                      <a:pt x="89279" y="-1633"/>
                      <a:pt x="82746" y="4899"/>
                    </a:cubicBezTo>
                    <a:cubicBezTo>
                      <a:pt x="76213" y="11432"/>
                      <a:pt x="76213" y="20142"/>
                      <a:pt x="82746" y="26675"/>
                    </a:cubicBezTo>
                    <a:lnTo>
                      <a:pt x="431150" y="362014"/>
                    </a:lnTo>
                    <a:lnTo>
                      <a:pt x="15243" y="370724"/>
                    </a:lnTo>
                    <a:cubicBezTo>
                      <a:pt x="6533" y="370724"/>
                      <a:pt x="0" y="377256"/>
                      <a:pt x="0" y="385967"/>
                    </a:cubicBezTo>
                    <a:cubicBezTo>
                      <a:pt x="0" y="394677"/>
                      <a:pt x="6533" y="401209"/>
                      <a:pt x="15243" y="401209"/>
                    </a:cubicBezTo>
                    <a:cubicBezTo>
                      <a:pt x="15243" y="401209"/>
                      <a:pt x="15243" y="401209"/>
                      <a:pt x="15243" y="401209"/>
                    </a:cubicBezTo>
                    <a:lnTo>
                      <a:pt x="461636" y="392499"/>
                    </a:lnTo>
                    <a:lnTo>
                      <a:pt x="729471" y="651625"/>
                    </a:lnTo>
                    <a:lnTo>
                      <a:pt x="313564" y="660335"/>
                    </a:lnTo>
                    <a:cubicBezTo>
                      <a:pt x="304854" y="660335"/>
                      <a:pt x="298321" y="666867"/>
                      <a:pt x="298321" y="675578"/>
                    </a:cubicBezTo>
                    <a:cubicBezTo>
                      <a:pt x="298321" y="684288"/>
                      <a:pt x="304854" y="690820"/>
                      <a:pt x="313564" y="690820"/>
                    </a:cubicBezTo>
                    <a:cubicBezTo>
                      <a:pt x="313564" y="690820"/>
                      <a:pt x="313564" y="690820"/>
                      <a:pt x="313564" y="690820"/>
                    </a:cubicBezTo>
                    <a:lnTo>
                      <a:pt x="759957" y="682110"/>
                    </a:lnTo>
                    <a:lnTo>
                      <a:pt x="871011" y="788809"/>
                    </a:lnTo>
                    <a:cubicBezTo>
                      <a:pt x="871011" y="788809"/>
                      <a:pt x="871011" y="788809"/>
                      <a:pt x="871011" y="788809"/>
                    </a:cubicBezTo>
                    <a:lnTo>
                      <a:pt x="1029970" y="941236"/>
                    </a:lnTo>
                    <a:lnTo>
                      <a:pt x="614062" y="949946"/>
                    </a:lnTo>
                    <a:cubicBezTo>
                      <a:pt x="605352" y="949946"/>
                      <a:pt x="598820" y="956478"/>
                      <a:pt x="598820" y="965189"/>
                    </a:cubicBezTo>
                    <a:cubicBezTo>
                      <a:pt x="598820" y="973899"/>
                      <a:pt x="605352" y="980431"/>
                      <a:pt x="614062" y="980431"/>
                    </a:cubicBezTo>
                    <a:cubicBezTo>
                      <a:pt x="614062" y="980431"/>
                      <a:pt x="614062" y="980431"/>
                      <a:pt x="614062" y="980431"/>
                    </a:cubicBezTo>
                    <a:lnTo>
                      <a:pt x="1060455" y="971721"/>
                    </a:lnTo>
                    <a:lnTo>
                      <a:pt x="1506848" y="1400694"/>
                    </a:lnTo>
                    <a:cubicBezTo>
                      <a:pt x="1509026" y="1402871"/>
                      <a:pt x="1513381" y="1405049"/>
                      <a:pt x="1517736" y="1405049"/>
                    </a:cubicBezTo>
                    <a:cubicBezTo>
                      <a:pt x="1522091" y="1405049"/>
                      <a:pt x="1526446" y="1402871"/>
                      <a:pt x="1528624" y="1400694"/>
                    </a:cubicBezTo>
                    <a:cubicBezTo>
                      <a:pt x="1535156" y="1387629"/>
                      <a:pt x="1535156" y="1378919"/>
                      <a:pt x="1530801" y="1372386"/>
                    </a:cubicBezTo>
                    <a:close/>
                  </a:path>
                </a:pathLst>
              </a:custGeom>
              <a:solidFill>
                <a:schemeClr val="tx1">
                  <a:lumMod val="75000"/>
                  <a:lumOff val="25000"/>
                </a:schemeClr>
              </a:solidFill>
              <a:ln w="2176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grpSp>
          <p:nvGrpSpPr>
            <p:cNvPr id="12" name="Group 11">
              <a:extLst>
                <a:ext uri="{FF2B5EF4-FFF2-40B4-BE49-F238E27FC236}">
                  <a16:creationId xmlns:a16="http://schemas.microsoft.com/office/drawing/2014/main" id="{14DDE208-951E-4868-9B33-7C1DA92E634D}"/>
                </a:ext>
              </a:extLst>
            </p:cNvPr>
            <p:cNvGrpSpPr/>
            <p:nvPr/>
          </p:nvGrpSpPr>
          <p:grpSpPr>
            <a:xfrm rot="2272986">
              <a:off x="11272739" y="6289183"/>
              <a:ext cx="723381" cy="705520"/>
              <a:chOff x="-309627" y="6497504"/>
              <a:chExt cx="1763796" cy="1720246"/>
            </a:xfrm>
          </p:grpSpPr>
          <p:sp>
            <p:nvSpPr>
              <p:cNvPr id="19" name="Freeform: Shape 18">
                <a:extLst>
                  <a:ext uri="{FF2B5EF4-FFF2-40B4-BE49-F238E27FC236}">
                    <a16:creationId xmlns:a16="http://schemas.microsoft.com/office/drawing/2014/main" id="{40047694-E6C7-4E7B-8232-059802F1B2E1}"/>
                  </a:ext>
                </a:extLst>
              </p:cNvPr>
              <p:cNvSpPr/>
              <p:nvPr/>
            </p:nvSpPr>
            <p:spPr>
              <a:xfrm>
                <a:off x="-309627" y="6497504"/>
                <a:ext cx="1763796" cy="1720246"/>
              </a:xfrm>
              <a:custGeom>
                <a:avLst/>
                <a:gdLst>
                  <a:gd name="connsiteX0" fmla="*/ 1391439 w 1763796"/>
                  <a:gd name="connsiteY0" fmla="*/ 450748 h 1720245"/>
                  <a:gd name="connsiteX1" fmla="*/ 1628790 w 1763796"/>
                  <a:gd name="connsiteY1" fmla="*/ 1565641 h 1720245"/>
                  <a:gd name="connsiteX2" fmla="*/ 505186 w 1763796"/>
                  <a:gd name="connsiteY2" fmla="*/ 1371842 h 1720245"/>
                  <a:gd name="connsiteX3" fmla="*/ 0 w 1763796"/>
                  <a:gd name="connsiteY3" fmla="*/ 0 h 1720245"/>
                  <a:gd name="connsiteX4" fmla="*/ 1391439 w 1763796"/>
                  <a:gd name="connsiteY4" fmla="*/ 450748 h 17202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63796" h="1720245">
                    <a:moveTo>
                      <a:pt x="1391439" y="450748"/>
                    </a:moveTo>
                    <a:cubicBezTo>
                      <a:pt x="1842187" y="884075"/>
                      <a:pt x="1872673" y="1310871"/>
                      <a:pt x="1628790" y="1565641"/>
                    </a:cubicBezTo>
                    <a:cubicBezTo>
                      <a:pt x="1384907" y="1820412"/>
                      <a:pt x="955934" y="1805169"/>
                      <a:pt x="505186" y="1371842"/>
                    </a:cubicBezTo>
                    <a:cubicBezTo>
                      <a:pt x="56616" y="940691"/>
                      <a:pt x="0" y="0"/>
                      <a:pt x="0" y="0"/>
                    </a:cubicBezTo>
                    <a:cubicBezTo>
                      <a:pt x="0" y="0"/>
                      <a:pt x="940691" y="19598"/>
                      <a:pt x="1391439" y="450748"/>
                    </a:cubicBezTo>
                    <a:close/>
                  </a:path>
                </a:pathLst>
              </a:custGeom>
              <a:solidFill>
                <a:schemeClr val="accent3"/>
              </a:solidFill>
              <a:ln w="2176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0" name="Freeform: Shape 19">
                <a:extLst>
                  <a:ext uri="{FF2B5EF4-FFF2-40B4-BE49-F238E27FC236}">
                    <a16:creationId xmlns:a16="http://schemas.microsoft.com/office/drawing/2014/main" id="{810E764D-48C1-464A-B705-E334529AFBDB}"/>
                  </a:ext>
                </a:extLst>
              </p:cNvPr>
              <p:cNvSpPr/>
              <p:nvPr/>
            </p:nvSpPr>
            <p:spPr>
              <a:xfrm>
                <a:off x="-72277" y="6801813"/>
                <a:ext cx="1524268" cy="1393617"/>
              </a:xfrm>
              <a:custGeom>
                <a:avLst/>
                <a:gdLst>
                  <a:gd name="connsiteX0" fmla="*/ 1530801 w 1524268"/>
                  <a:gd name="connsiteY0" fmla="*/ 1372386 h 1393616"/>
                  <a:gd name="connsiteX1" fmla="*/ 1199817 w 1524268"/>
                  <a:gd name="connsiteY1" fmla="*/ 1054467 h 1393616"/>
                  <a:gd name="connsiteX2" fmla="*/ 1191107 w 1524268"/>
                  <a:gd name="connsiteY2" fmla="*/ 608074 h 1393616"/>
                  <a:gd name="connsiteX3" fmla="*/ 1175864 w 1524268"/>
                  <a:gd name="connsiteY3" fmla="*/ 592832 h 1393616"/>
                  <a:gd name="connsiteX4" fmla="*/ 1160622 w 1524268"/>
                  <a:gd name="connsiteY4" fmla="*/ 608074 h 1393616"/>
                  <a:gd name="connsiteX5" fmla="*/ 1169332 w 1524268"/>
                  <a:gd name="connsiteY5" fmla="*/ 1023982 h 1393616"/>
                  <a:gd name="connsiteX6" fmla="*/ 1080053 w 1524268"/>
                  <a:gd name="connsiteY6" fmla="*/ 939058 h 1393616"/>
                  <a:gd name="connsiteX7" fmla="*/ 1080053 w 1524268"/>
                  <a:gd name="connsiteY7" fmla="*/ 939058 h 1393616"/>
                  <a:gd name="connsiteX8" fmla="*/ 901496 w 1524268"/>
                  <a:gd name="connsiteY8" fmla="*/ 767034 h 1393616"/>
                  <a:gd name="connsiteX9" fmla="*/ 890608 w 1524268"/>
                  <a:gd name="connsiteY9" fmla="*/ 320641 h 1393616"/>
                  <a:gd name="connsiteX10" fmla="*/ 875366 w 1524268"/>
                  <a:gd name="connsiteY10" fmla="*/ 305398 h 1393616"/>
                  <a:gd name="connsiteX11" fmla="*/ 860123 w 1524268"/>
                  <a:gd name="connsiteY11" fmla="*/ 320641 h 1393616"/>
                  <a:gd name="connsiteX12" fmla="*/ 868833 w 1524268"/>
                  <a:gd name="connsiteY12" fmla="*/ 736548 h 1393616"/>
                  <a:gd name="connsiteX13" fmla="*/ 779554 w 1524268"/>
                  <a:gd name="connsiteY13" fmla="*/ 651625 h 1393616"/>
                  <a:gd name="connsiteX14" fmla="*/ 779554 w 1524268"/>
                  <a:gd name="connsiteY14" fmla="*/ 651625 h 1393616"/>
                  <a:gd name="connsiteX15" fmla="*/ 600997 w 1524268"/>
                  <a:gd name="connsiteY15" fmla="*/ 479600 h 1393616"/>
                  <a:gd name="connsiteX16" fmla="*/ 590110 w 1524268"/>
                  <a:gd name="connsiteY16" fmla="*/ 33207 h 1393616"/>
                  <a:gd name="connsiteX17" fmla="*/ 574867 w 1524268"/>
                  <a:gd name="connsiteY17" fmla="*/ 17965 h 1393616"/>
                  <a:gd name="connsiteX18" fmla="*/ 574867 w 1524268"/>
                  <a:gd name="connsiteY18" fmla="*/ 17965 h 1393616"/>
                  <a:gd name="connsiteX19" fmla="*/ 559624 w 1524268"/>
                  <a:gd name="connsiteY19" fmla="*/ 33207 h 1393616"/>
                  <a:gd name="connsiteX20" fmla="*/ 568334 w 1524268"/>
                  <a:gd name="connsiteY20" fmla="*/ 451292 h 1393616"/>
                  <a:gd name="connsiteX21" fmla="*/ 104521 w 1524268"/>
                  <a:gd name="connsiteY21" fmla="*/ 4899 h 1393616"/>
                  <a:gd name="connsiteX22" fmla="*/ 82746 w 1524268"/>
                  <a:gd name="connsiteY22" fmla="*/ 4899 h 1393616"/>
                  <a:gd name="connsiteX23" fmla="*/ 82746 w 1524268"/>
                  <a:gd name="connsiteY23" fmla="*/ 26675 h 1393616"/>
                  <a:gd name="connsiteX24" fmla="*/ 431150 w 1524268"/>
                  <a:gd name="connsiteY24" fmla="*/ 362014 h 1393616"/>
                  <a:gd name="connsiteX25" fmla="*/ 15243 w 1524268"/>
                  <a:gd name="connsiteY25" fmla="*/ 370724 h 1393616"/>
                  <a:gd name="connsiteX26" fmla="*/ 0 w 1524268"/>
                  <a:gd name="connsiteY26" fmla="*/ 385967 h 1393616"/>
                  <a:gd name="connsiteX27" fmla="*/ 15243 w 1524268"/>
                  <a:gd name="connsiteY27" fmla="*/ 401209 h 1393616"/>
                  <a:gd name="connsiteX28" fmla="*/ 15243 w 1524268"/>
                  <a:gd name="connsiteY28" fmla="*/ 401209 h 1393616"/>
                  <a:gd name="connsiteX29" fmla="*/ 461636 w 1524268"/>
                  <a:gd name="connsiteY29" fmla="*/ 392499 h 1393616"/>
                  <a:gd name="connsiteX30" fmla="*/ 729471 w 1524268"/>
                  <a:gd name="connsiteY30" fmla="*/ 651625 h 1393616"/>
                  <a:gd name="connsiteX31" fmla="*/ 313564 w 1524268"/>
                  <a:gd name="connsiteY31" fmla="*/ 660335 h 1393616"/>
                  <a:gd name="connsiteX32" fmla="*/ 298321 w 1524268"/>
                  <a:gd name="connsiteY32" fmla="*/ 675578 h 1393616"/>
                  <a:gd name="connsiteX33" fmla="*/ 313564 w 1524268"/>
                  <a:gd name="connsiteY33" fmla="*/ 690820 h 1393616"/>
                  <a:gd name="connsiteX34" fmla="*/ 313564 w 1524268"/>
                  <a:gd name="connsiteY34" fmla="*/ 690820 h 1393616"/>
                  <a:gd name="connsiteX35" fmla="*/ 759957 w 1524268"/>
                  <a:gd name="connsiteY35" fmla="*/ 682110 h 1393616"/>
                  <a:gd name="connsiteX36" fmla="*/ 871011 w 1524268"/>
                  <a:gd name="connsiteY36" fmla="*/ 788809 h 1393616"/>
                  <a:gd name="connsiteX37" fmla="*/ 871011 w 1524268"/>
                  <a:gd name="connsiteY37" fmla="*/ 788809 h 1393616"/>
                  <a:gd name="connsiteX38" fmla="*/ 1029970 w 1524268"/>
                  <a:gd name="connsiteY38" fmla="*/ 941236 h 1393616"/>
                  <a:gd name="connsiteX39" fmla="*/ 614062 w 1524268"/>
                  <a:gd name="connsiteY39" fmla="*/ 949946 h 1393616"/>
                  <a:gd name="connsiteX40" fmla="*/ 598820 w 1524268"/>
                  <a:gd name="connsiteY40" fmla="*/ 965189 h 1393616"/>
                  <a:gd name="connsiteX41" fmla="*/ 614062 w 1524268"/>
                  <a:gd name="connsiteY41" fmla="*/ 980431 h 1393616"/>
                  <a:gd name="connsiteX42" fmla="*/ 614062 w 1524268"/>
                  <a:gd name="connsiteY42" fmla="*/ 980431 h 1393616"/>
                  <a:gd name="connsiteX43" fmla="*/ 1060455 w 1524268"/>
                  <a:gd name="connsiteY43" fmla="*/ 971721 h 1393616"/>
                  <a:gd name="connsiteX44" fmla="*/ 1506848 w 1524268"/>
                  <a:gd name="connsiteY44" fmla="*/ 1400694 h 1393616"/>
                  <a:gd name="connsiteX45" fmla="*/ 1517736 w 1524268"/>
                  <a:gd name="connsiteY45" fmla="*/ 1405049 h 1393616"/>
                  <a:gd name="connsiteX46" fmla="*/ 1528624 w 1524268"/>
                  <a:gd name="connsiteY46" fmla="*/ 1400694 h 1393616"/>
                  <a:gd name="connsiteX47" fmla="*/ 1530801 w 1524268"/>
                  <a:gd name="connsiteY47" fmla="*/ 1372386 h 13936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1524268" h="1393616">
                    <a:moveTo>
                      <a:pt x="1530801" y="1372386"/>
                    </a:moveTo>
                    <a:lnTo>
                      <a:pt x="1199817" y="1054467"/>
                    </a:lnTo>
                    <a:lnTo>
                      <a:pt x="1191107" y="608074"/>
                    </a:lnTo>
                    <a:cubicBezTo>
                      <a:pt x="1191107" y="599364"/>
                      <a:pt x="1184574" y="592832"/>
                      <a:pt x="1175864" y="592832"/>
                    </a:cubicBezTo>
                    <a:cubicBezTo>
                      <a:pt x="1167154" y="592832"/>
                      <a:pt x="1160622" y="599364"/>
                      <a:pt x="1160622" y="608074"/>
                    </a:cubicBezTo>
                    <a:lnTo>
                      <a:pt x="1169332" y="1023982"/>
                    </a:lnTo>
                    <a:lnTo>
                      <a:pt x="1080053" y="939058"/>
                    </a:lnTo>
                    <a:cubicBezTo>
                      <a:pt x="1080053" y="939058"/>
                      <a:pt x="1080053" y="939058"/>
                      <a:pt x="1080053" y="939058"/>
                    </a:cubicBezTo>
                    <a:lnTo>
                      <a:pt x="901496" y="767034"/>
                    </a:lnTo>
                    <a:lnTo>
                      <a:pt x="890608" y="320641"/>
                    </a:lnTo>
                    <a:cubicBezTo>
                      <a:pt x="890608" y="311931"/>
                      <a:pt x="884076" y="305398"/>
                      <a:pt x="875366" y="305398"/>
                    </a:cubicBezTo>
                    <a:cubicBezTo>
                      <a:pt x="866656" y="305398"/>
                      <a:pt x="860123" y="311931"/>
                      <a:pt x="860123" y="320641"/>
                    </a:cubicBezTo>
                    <a:lnTo>
                      <a:pt x="868833" y="736548"/>
                    </a:lnTo>
                    <a:lnTo>
                      <a:pt x="779554" y="651625"/>
                    </a:lnTo>
                    <a:cubicBezTo>
                      <a:pt x="779554" y="651625"/>
                      <a:pt x="779554" y="651625"/>
                      <a:pt x="779554" y="651625"/>
                    </a:cubicBezTo>
                    <a:lnTo>
                      <a:pt x="600997" y="479600"/>
                    </a:lnTo>
                    <a:lnTo>
                      <a:pt x="590110" y="33207"/>
                    </a:lnTo>
                    <a:cubicBezTo>
                      <a:pt x="590110" y="24497"/>
                      <a:pt x="583577" y="17965"/>
                      <a:pt x="574867" y="17965"/>
                    </a:cubicBezTo>
                    <a:cubicBezTo>
                      <a:pt x="574867" y="17965"/>
                      <a:pt x="574867" y="17965"/>
                      <a:pt x="574867" y="17965"/>
                    </a:cubicBezTo>
                    <a:cubicBezTo>
                      <a:pt x="566157" y="17965"/>
                      <a:pt x="559624" y="24497"/>
                      <a:pt x="559624" y="33207"/>
                    </a:cubicBezTo>
                    <a:lnTo>
                      <a:pt x="568334" y="451292"/>
                    </a:lnTo>
                    <a:lnTo>
                      <a:pt x="104521" y="4899"/>
                    </a:lnTo>
                    <a:cubicBezTo>
                      <a:pt x="97989" y="-1633"/>
                      <a:pt x="89279" y="-1633"/>
                      <a:pt x="82746" y="4899"/>
                    </a:cubicBezTo>
                    <a:cubicBezTo>
                      <a:pt x="76213" y="11432"/>
                      <a:pt x="76213" y="20142"/>
                      <a:pt x="82746" y="26675"/>
                    </a:cubicBezTo>
                    <a:lnTo>
                      <a:pt x="431150" y="362014"/>
                    </a:lnTo>
                    <a:lnTo>
                      <a:pt x="15243" y="370724"/>
                    </a:lnTo>
                    <a:cubicBezTo>
                      <a:pt x="6533" y="370724"/>
                      <a:pt x="0" y="377256"/>
                      <a:pt x="0" y="385967"/>
                    </a:cubicBezTo>
                    <a:cubicBezTo>
                      <a:pt x="0" y="394677"/>
                      <a:pt x="6533" y="401209"/>
                      <a:pt x="15243" y="401209"/>
                    </a:cubicBezTo>
                    <a:cubicBezTo>
                      <a:pt x="15243" y="401209"/>
                      <a:pt x="15243" y="401209"/>
                      <a:pt x="15243" y="401209"/>
                    </a:cubicBezTo>
                    <a:lnTo>
                      <a:pt x="461636" y="392499"/>
                    </a:lnTo>
                    <a:lnTo>
                      <a:pt x="729471" y="651625"/>
                    </a:lnTo>
                    <a:lnTo>
                      <a:pt x="313564" y="660335"/>
                    </a:lnTo>
                    <a:cubicBezTo>
                      <a:pt x="304854" y="660335"/>
                      <a:pt x="298321" y="666867"/>
                      <a:pt x="298321" y="675578"/>
                    </a:cubicBezTo>
                    <a:cubicBezTo>
                      <a:pt x="298321" y="684288"/>
                      <a:pt x="304854" y="690820"/>
                      <a:pt x="313564" y="690820"/>
                    </a:cubicBezTo>
                    <a:cubicBezTo>
                      <a:pt x="313564" y="690820"/>
                      <a:pt x="313564" y="690820"/>
                      <a:pt x="313564" y="690820"/>
                    </a:cubicBezTo>
                    <a:lnTo>
                      <a:pt x="759957" y="682110"/>
                    </a:lnTo>
                    <a:lnTo>
                      <a:pt x="871011" y="788809"/>
                    </a:lnTo>
                    <a:cubicBezTo>
                      <a:pt x="871011" y="788809"/>
                      <a:pt x="871011" y="788809"/>
                      <a:pt x="871011" y="788809"/>
                    </a:cubicBezTo>
                    <a:lnTo>
                      <a:pt x="1029970" y="941236"/>
                    </a:lnTo>
                    <a:lnTo>
                      <a:pt x="614062" y="949946"/>
                    </a:lnTo>
                    <a:cubicBezTo>
                      <a:pt x="605352" y="949946"/>
                      <a:pt x="598820" y="956478"/>
                      <a:pt x="598820" y="965189"/>
                    </a:cubicBezTo>
                    <a:cubicBezTo>
                      <a:pt x="598820" y="973899"/>
                      <a:pt x="605352" y="980431"/>
                      <a:pt x="614062" y="980431"/>
                    </a:cubicBezTo>
                    <a:cubicBezTo>
                      <a:pt x="614062" y="980431"/>
                      <a:pt x="614062" y="980431"/>
                      <a:pt x="614062" y="980431"/>
                    </a:cubicBezTo>
                    <a:lnTo>
                      <a:pt x="1060455" y="971721"/>
                    </a:lnTo>
                    <a:lnTo>
                      <a:pt x="1506848" y="1400694"/>
                    </a:lnTo>
                    <a:cubicBezTo>
                      <a:pt x="1509026" y="1402871"/>
                      <a:pt x="1513381" y="1405049"/>
                      <a:pt x="1517736" y="1405049"/>
                    </a:cubicBezTo>
                    <a:cubicBezTo>
                      <a:pt x="1522091" y="1405049"/>
                      <a:pt x="1526446" y="1402871"/>
                      <a:pt x="1528624" y="1400694"/>
                    </a:cubicBezTo>
                    <a:cubicBezTo>
                      <a:pt x="1535156" y="1387629"/>
                      <a:pt x="1535156" y="1378919"/>
                      <a:pt x="1530801" y="1372386"/>
                    </a:cubicBezTo>
                    <a:close/>
                  </a:path>
                </a:pathLst>
              </a:custGeom>
              <a:solidFill>
                <a:schemeClr val="tx1">
                  <a:lumMod val="75000"/>
                  <a:lumOff val="25000"/>
                </a:schemeClr>
              </a:solidFill>
              <a:ln w="2176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grpSp>
          <p:nvGrpSpPr>
            <p:cNvPr id="13" name="Group 12">
              <a:extLst>
                <a:ext uri="{FF2B5EF4-FFF2-40B4-BE49-F238E27FC236}">
                  <a16:creationId xmlns:a16="http://schemas.microsoft.com/office/drawing/2014/main" id="{E4D8BB79-FF25-478E-9D0C-BBC256E042FF}"/>
                </a:ext>
              </a:extLst>
            </p:cNvPr>
            <p:cNvGrpSpPr/>
            <p:nvPr/>
          </p:nvGrpSpPr>
          <p:grpSpPr>
            <a:xfrm rot="2492765">
              <a:off x="10995797" y="6235142"/>
              <a:ext cx="516653" cy="918458"/>
              <a:chOff x="1704725" y="5707061"/>
              <a:chExt cx="1197640" cy="2129055"/>
            </a:xfrm>
          </p:grpSpPr>
          <p:sp>
            <p:nvSpPr>
              <p:cNvPr id="17" name="Freeform: Shape 16">
                <a:extLst>
                  <a:ext uri="{FF2B5EF4-FFF2-40B4-BE49-F238E27FC236}">
                    <a16:creationId xmlns:a16="http://schemas.microsoft.com/office/drawing/2014/main" id="{80409F7D-3050-4F7C-A08E-332295DE9069}"/>
                  </a:ext>
                </a:extLst>
              </p:cNvPr>
              <p:cNvSpPr/>
              <p:nvPr/>
            </p:nvSpPr>
            <p:spPr>
              <a:xfrm>
                <a:off x="1704725" y="5707061"/>
                <a:ext cx="1197640" cy="1981549"/>
              </a:xfrm>
              <a:custGeom>
                <a:avLst/>
                <a:gdLst>
                  <a:gd name="connsiteX0" fmla="*/ 1153949 w 1197639"/>
                  <a:gd name="connsiteY0" fmla="*/ 975532 h 1981548"/>
                  <a:gd name="connsiteX1" fmla="*/ 844740 w 1197639"/>
                  <a:gd name="connsiteY1" fmla="*/ 1964129 h 1981548"/>
                  <a:gd name="connsiteX2" fmla="*/ 41233 w 1197639"/>
                  <a:gd name="connsiteY2" fmla="*/ 1310871 h 1981548"/>
                  <a:gd name="connsiteX3" fmla="*/ 252453 w 1197639"/>
                  <a:gd name="connsiteY3" fmla="*/ 0 h 1981548"/>
                  <a:gd name="connsiteX4" fmla="*/ 1153949 w 1197639"/>
                  <a:gd name="connsiteY4" fmla="*/ 975532 h 19815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7639" h="1981548">
                    <a:moveTo>
                      <a:pt x="1153949" y="975532"/>
                    </a:moveTo>
                    <a:cubicBezTo>
                      <a:pt x="1317264" y="1517736"/>
                      <a:pt x="1151771" y="1872673"/>
                      <a:pt x="844740" y="1964129"/>
                    </a:cubicBezTo>
                    <a:cubicBezTo>
                      <a:pt x="537709" y="2055585"/>
                      <a:pt x="204548" y="1853075"/>
                      <a:pt x="41233" y="1310871"/>
                    </a:cubicBezTo>
                    <a:cubicBezTo>
                      <a:pt x="-122081" y="768667"/>
                      <a:pt x="252453" y="0"/>
                      <a:pt x="252453" y="0"/>
                    </a:cubicBezTo>
                    <a:cubicBezTo>
                      <a:pt x="252453" y="0"/>
                      <a:pt x="990635" y="433328"/>
                      <a:pt x="1153949" y="975532"/>
                    </a:cubicBezTo>
                    <a:close/>
                  </a:path>
                </a:pathLst>
              </a:custGeom>
              <a:solidFill>
                <a:schemeClr val="accent1">
                  <a:lumMod val="75000"/>
                </a:schemeClr>
              </a:solidFill>
              <a:ln w="2176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8" name="Freeform: Shape 17">
                <a:extLst>
                  <a:ext uri="{FF2B5EF4-FFF2-40B4-BE49-F238E27FC236}">
                    <a16:creationId xmlns:a16="http://schemas.microsoft.com/office/drawing/2014/main" id="{7CC4C7D5-1D3C-4324-BD12-AD21BC6B814D}"/>
                  </a:ext>
                </a:extLst>
              </p:cNvPr>
              <p:cNvSpPr/>
              <p:nvPr/>
            </p:nvSpPr>
            <p:spPr>
              <a:xfrm>
                <a:off x="1840952" y="6094095"/>
                <a:ext cx="827460" cy="1742021"/>
              </a:xfrm>
              <a:custGeom>
                <a:avLst/>
                <a:gdLst>
                  <a:gd name="connsiteX0" fmla="*/ 832632 w 827460"/>
                  <a:gd name="connsiteY0" fmla="*/ 952145 h 1742020"/>
                  <a:gd name="connsiteX1" fmla="*/ 815211 w 827460"/>
                  <a:gd name="connsiteY1" fmla="*/ 958678 h 1742020"/>
                  <a:gd name="connsiteX2" fmla="*/ 636654 w 827460"/>
                  <a:gd name="connsiteY2" fmla="*/ 1289662 h 1742020"/>
                  <a:gd name="connsiteX3" fmla="*/ 603991 w 827460"/>
                  <a:gd name="connsiteY3" fmla="*/ 1182963 h 1742020"/>
                  <a:gd name="connsiteX4" fmla="*/ 603991 w 827460"/>
                  <a:gd name="connsiteY4" fmla="*/ 1182963 h 1742020"/>
                  <a:gd name="connsiteX5" fmla="*/ 538666 w 827460"/>
                  <a:gd name="connsiteY5" fmla="*/ 967388 h 1742020"/>
                  <a:gd name="connsiteX6" fmla="*/ 730288 w 827460"/>
                  <a:gd name="connsiteY6" fmla="*/ 610274 h 1742020"/>
                  <a:gd name="connsiteX7" fmla="*/ 723755 w 827460"/>
                  <a:gd name="connsiteY7" fmla="*/ 592854 h 1742020"/>
                  <a:gd name="connsiteX8" fmla="*/ 706335 w 827460"/>
                  <a:gd name="connsiteY8" fmla="*/ 599386 h 1742020"/>
                  <a:gd name="connsiteX9" fmla="*/ 527778 w 827460"/>
                  <a:gd name="connsiteY9" fmla="*/ 932548 h 1742020"/>
                  <a:gd name="connsiteX10" fmla="*/ 429789 w 827460"/>
                  <a:gd name="connsiteY10" fmla="*/ 608096 h 1742020"/>
                  <a:gd name="connsiteX11" fmla="*/ 621412 w 827460"/>
                  <a:gd name="connsiteY11" fmla="*/ 250982 h 1742020"/>
                  <a:gd name="connsiteX12" fmla="*/ 614879 w 827460"/>
                  <a:gd name="connsiteY12" fmla="*/ 233562 h 1742020"/>
                  <a:gd name="connsiteX13" fmla="*/ 597459 w 827460"/>
                  <a:gd name="connsiteY13" fmla="*/ 240094 h 1742020"/>
                  <a:gd name="connsiteX14" fmla="*/ 418902 w 827460"/>
                  <a:gd name="connsiteY14" fmla="*/ 568901 h 1742020"/>
                  <a:gd name="connsiteX15" fmla="*/ 251232 w 827460"/>
                  <a:gd name="connsiteY15" fmla="*/ 9276 h 1742020"/>
                  <a:gd name="connsiteX16" fmla="*/ 233812 w 827460"/>
                  <a:gd name="connsiteY16" fmla="*/ 566 h 1742020"/>
                  <a:gd name="connsiteX17" fmla="*/ 225102 w 827460"/>
                  <a:gd name="connsiteY17" fmla="*/ 17987 h 1742020"/>
                  <a:gd name="connsiteX18" fmla="*/ 351398 w 827460"/>
                  <a:gd name="connsiteY18" fmla="*/ 438249 h 1742020"/>
                  <a:gd name="connsiteX19" fmla="*/ 18237 w 827460"/>
                  <a:gd name="connsiteY19" fmla="*/ 259692 h 1742020"/>
                  <a:gd name="connsiteX20" fmla="*/ 817 w 827460"/>
                  <a:gd name="connsiteY20" fmla="*/ 266225 h 1742020"/>
                  <a:gd name="connsiteX21" fmla="*/ 7349 w 827460"/>
                  <a:gd name="connsiteY21" fmla="*/ 283645 h 1742020"/>
                  <a:gd name="connsiteX22" fmla="*/ 364463 w 827460"/>
                  <a:gd name="connsiteY22" fmla="*/ 475267 h 1742020"/>
                  <a:gd name="connsiteX23" fmla="*/ 403659 w 827460"/>
                  <a:gd name="connsiteY23" fmla="*/ 608096 h 1742020"/>
                  <a:gd name="connsiteX24" fmla="*/ 403659 w 827460"/>
                  <a:gd name="connsiteY24" fmla="*/ 608096 h 1742020"/>
                  <a:gd name="connsiteX25" fmla="*/ 460275 w 827460"/>
                  <a:gd name="connsiteY25" fmla="*/ 799719 h 1742020"/>
                  <a:gd name="connsiteX26" fmla="*/ 127113 w 827460"/>
                  <a:gd name="connsiteY26" fmla="*/ 621161 h 1742020"/>
                  <a:gd name="connsiteX27" fmla="*/ 109693 w 827460"/>
                  <a:gd name="connsiteY27" fmla="*/ 627694 h 1742020"/>
                  <a:gd name="connsiteX28" fmla="*/ 116225 w 827460"/>
                  <a:gd name="connsiteY28" fmla="*/ 645114 h 1742020"/>
                  <a:gd name="connsiteX29" fmla="*/ 473340 w 827460"/>
                  <a:gd name="connsiteY29" fmla="*/ 836736 h 1742020"/>
                  <a:gd name="connsiteX30" fmla="*/ 512535 w 827460"/>
                  <a:gd name="connsiteY30" fmla="*/ 969566 h 1742020"/>
                  <a:gd name="connsiteX31" fmla="*/ 512535 w 827460"/>
                  <a:gd name="connsiteY31" fmla="*/ 969566 h 1742020"/>
                  <a:gd name="connsiteX32" fmla="*/ 569151 w 827460"/>
                  <a:gd name="connsiteY32" fmla="*/ 1161188 h 1742020"/>
                  <a:gd name="connsiteX33" fmla="*/ 235989 w 827460"/>
                  <a:gd name="connsiteY33" fmla="*/ 982631 h 1742020"/>
                  <a:gd name="connsiteX34" fmla="*/ 218569 w 827460"/>
                  <a:gd name="connsiteY34" fmla="*/ 989163 h 1742020"/>
                  <a:gd name="connsiteX35" fmla="*/ 225102 w 827460"/>
                  <a:gd name="connsiteY35" fmla="*/ 1006584 h 1742020"/>
                  <a:gd name="connsiteX36" fmla="*/ 582216 w 827460"/>
                  <a:gd name="connsiteY36" fmla="*/ 1198206 h 1742020"/>
                  <a:gd name="connsiteX37" fmla="*/ 745531 w 827460"/>
                  <a:gd name="connsiteY37" fmla="*/ 1738233 h 1742020"/>
                  <a:gd name="connsiteX38" fmla="*/ 758596 w 827460"/>
                  <a:gd name="connsiteY38" fmla="*/ 1746943 h 1742020"/>
                  <a:gd name="connsiteX39" fmla="*/ 762951 w 827460"/>
                  <a:gd name="connsiteY39" fmla="*/ 1746943 h 1742020"/>
                  <a:gd name="connsiteX40" fmla="*/ 771661 w 827460"/>
                  <a:gd name="connsiteY40" fmla="*/ 1729522 h 1742020"/>
                  <a:gd name="connsiteX41" fmla="*/ 651897 w 827460"/>
                  <a:gd name="connsiteY41" fmla="*/ 1328858 h 1742020"/>
                  <a:gd name="connsiteX42" fmla="*/ 843519 w 827460"/>
                  <a:gd name="connsiteY42" fmla="*/ 971743 h 1742020"/>
                  <a:gd name="connsiteX43" fmla="*/ 832632 w 827460"/>
                  <a:gd name="connsiteY43" fmla="*/ 952145 h 17420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827460" h="1742020">
                    <a:moveTo>
                      <a:pt x="832632" y="952145"/>
                    </a:moveTo>
                    <a:cubicBezTo>
                      <a:pt x="826099" y="947790"/>
                      <a:pt x="817389" y="949968"/>
                      <a:pt x="815211" y="958678"/>
                    </a:cubicBezTo>
                    <a:lnTo>
                      <a:pt x="636654" y="1289662"/>
                    </a:lnTo>
                    <a:lnTo>
                      <a:pt x="603991" y="1182963"/>
                    </a:lnTo>
                    <a:cubicBezTo>
                      <a:pt x="603991" y="1182963"/>
                      <a:pt x="603991" y="1182963"/>
                      <a:pt x="603991" y="1182963"/>
                    </a:cubicBezTo>
                    <a:lnTo>
                      <a:pt x="538666" y="967388"/>
                    </a:lnTo>
                    <a:lnTo>
                      <a:pt x="730288" y="610274"/>
                    </a:lnTo>
                    <a:cubicBezTo>
                      <a:pt x="734643" y="603741"/>
                      <a:pt x="730288" y="595031"/>
                      <a:pt x="723755" y="592854"/>
                    </a:cubicBezTo>
                    <a:cubicBezTo>
                      <a:pt x="717223" y="588499"/>
                      <a:pt x="708513" y="592854"/>
                      <a:pt x="706335" y="599386"/>
                    </a:cubicBezTo>
                    <a:lnTo>
                      <a:pt x="527778" y="932548"/>
                    </a:lnTo>
                    <a:lnTo>
                      <a:pt x="429789" y="608096"/>
                    </a:lnTo>
                    <a:lnTo>
                      <a:pt x="621412" y="250982"/>
                    </a:lnTo>
                    <a:cubicBezTo>
                      <a:pt x="625767" y="244449"/>
                      <a:pt x="621412" y="235739"/>
                      <a:pt x="614879" y="233562"/>
                    </a:cubicBezTo>
                    <a:cubicBezTo>
                      <a:pt x="608346" y="231384"/>
                      <a:pt x="599636" y="233562"/>
                      <a:pt x="597459" y="240094"/>
                    </a:cubicBezTo>
                    <a:lnTo>
                      <a:pt x="418902" y="568901"/>
                    </a:lnTo>
                    <a:lnTo>
                      <a:pt x="251232" y="9276"/>
                    </a:lnTo>
                    <a:cubicBezTo>
                      <a:pt x="249055" y="2744"/>
                      <a:pt x="242522" y="-1611"/>
                      <a:pt x="233812" y="566"/>
                    </a:cubicBezTo>
                    <a:cubicBezTo>
                      <a:pt x="227279" y="2744"/>
                      <a:pt x="222924" y="9276"/>
                      <a:pt x="225102" y="17987"/>
                    </a:cubicBezTo>
                    <a:lnTo>
                      <a:pt x="351398" y="438249"/>
                    </a:lnTo>
                    <a:lnTo>
                      <a:pt x="18237" y="259692"/>
                    </a:lnTo>
                    <a:cubicBezTo>
                      <a:pt x="11704" y="255337"/>
                      <a:pt x="2994" y="259692"/>
                      <a:pt x="817" y="266225"/>
                    </a:cubicBezTo>
                    <a:cubicBezTo>
                      <a:pt x="-1361" y="272757"/>
                      <a:pt x="817" y="281467"/>
                      <a:pt x="7349" y="283645"/>
                    </a:cubicBezTo>
                    <a:lnTo>
                      <a:pt x="364463" y="475267"/>
                    </a:lnTo>
                    <a:lnTo>
                      <a:pt x="403659" y="608096"/>
                    </a:lnTo>
                    <a:cubicBezTo>
                      <a:pt x="403659" y="608096"/>
                      <a:pt x="403659" y="608096"/>
                      <a:pt x="403659" y="608096"/>
                    </a:cubicBezTo>
                    <a:lnTo>
                      <a:pt x="460275" y="799719"/>
                    </a:lnTo>
                    <a:lnTo>
                      <a:pt x="127113" y="621161"/>
                    </a:lnTo>
                    <a:cubicBezTo>
                      <a:pt x="120581" y="616806"/>
                      <a:pt x="111870" y="621161"/>
                      <a:pt x="109693" y="627694"/>
                    </a:cubicBezTo>
                    <a:cubicBezTo>
                      <a:pt x="105338" y="634227"/>
                      <a:pt x="109693" y="642937"/>
                      <a:pt x="116225" y="645114"/>
                    </a:cubicBezTo>
                    <a:lnTo>
                      <a:pt x="473340" y="836736"/>
                    </a:lnTo>
                    <a:lnTo>
                      <a:pt x="512535" y="969566"/>
                    </a:lnTo>
                    <a:cubicBezTo>
                      <a:pt x="512535" y="969566"/>
                      <a:pt x="512535" y="969566"/>
                      <a:pt x="512535" y="969566"/>
                    </a:cubicBezTo>
                    <a:lnTo>
                      <a:pt x="569151" y="1161188"/>
                    </a:lnTo>
                    <a:lnTo>
                      <a:pt x="235989" y="982631"/>
                    </a:lnTo>
                    <a:cubicBezTo>
                      <a:pt x="229457" y="978276"/>
                      <a:pt x="220747" y="982631"/>
                      <a:pt x="218569" y="989163"/>
                    </a:cubicBezTo>
                    <a:cubicBezTo>
                      <a:pt x="214214" y="995696"/>
                      <a:pt x="218569" y="1004406"/>
                      <a:pt x="225102" y="1006584"/>
                    </a:cubicBezTo>
                    <a:lnTo>
                      <a:pt x="582216" y="1198206"/>
                    </a:lnTo>
                    <a:lnTo>
                      <a:pt x="745531" y="1738233"/>
                    </a:lnTo>
                    <a:cubicBezTo>
                      <a:pt x="747708" y="1744765"/>
                      <a:pt x="752063" y="1746943"/>
                      <a:pt x="758596" y="1746943"/>
                    </a:cubicBezTo>
                    <a:cubicBezTo>
                      <a:pt x="760773" y="1746943"/>
                      <a:pt x="760773" y="1746943"/>
                      <a:pt x="762951" y="1746943"/>
                    </a:cubicBezTo>
                    <a:cubicBezTo>
                      <a:pt x="769484" y="1744765"/>
                      <a:pt x="773839" y="1738233"/>
                      <a:pt x="771661" y="1729522"/>
                    </a:cubicBezTo>
                    <a:lnTo>
                      <a:pt x="651897" y="1328858"/>
                    </a:lnTo>
                    <a:lnTo>
                      <a:pt x="843519" y="971743"/>
                    </a:lnTo>
                    <a:cubicBezTo>
                      <a:pt x="841342" y="963033"/>
                      <a:pt x="839164" y="956500"/>
                      <a:pt x="832632" y="952145"/>
                    </a:cubicBezTo>
                    <a:close/>
                  </a:path>
                </a:pathLst>
              </a:custGeom>
              <a:solidFill>
                <a:schemeClr val="tx1">
                  <a:lumMod val="75000"/>
                  <a:lumOff val="25000"/>
                </a:schemeClr>
              </a:solidFill>
              <a:ln w="2176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grpSp>
          <p:nvGrpSpPr>
            <p:cNvPr id="14" name="Group 13">
              <a:extLst>
                <a:ext uri="{FF2B5EF4-FFF2-40B4-BE49-F238E27FC236}">
                  <a16:creationId xmlns:a16="http://schemas.microsoft.com/office/drawing/2014/main" id="{5CA3D9D7-1EC0-42E1-AC7A-36FD63DBCA97}"/>
                </a:ext>
              </a:extLst>
            </p:cNvPr>
            <p:cNvGrpSpPr/>
            <p:nvPr/>
          </p:nvGrpSpPr>
          <p:grpSpPr>
            <a:xfrm rot="21012104">
              <a:off x="11777503" y="6201304"/>
              <a:ext cx="516653" cy="918458"/>
              <a:chOff x="1704725" y="5707061"/>
              <a:chExt cx="1197640" cy="2129055"/>
            </a:xfrm>
          </p:grpSpPr>
          <p:sp>
            <p:nvSpPr>
              <p:cNvPr id="15" name="Freeform: Shape 14">
                <a:extLst>
                  <a:ext uri="{FF2B5EF4-FFF2-40B4-BE49-F238E27FC236}">
                    <a16:creationId xmlns:a16="http://schemas.microsoft.com/office/drawing/2014/main" id="{EFE2B9F5-E9A8-4DC7-873E-A3F9262CFB26}"/>
                  </a:ext>
                </a:extLst>
              </p:cNvPr>
              <p:cNvSpPr/>
              <p:nvPr/>
            </p:nvSpPr>
            <p:spPr>
              <a:xfrm>
                <a:off x="1704725" y="5707061"/>
                <a:ext cx="1197640" cy="1981549"/>
              </a:xfrm>
              <a:custGeom>
                <a:avLst/>
                <a:gdLst>
                  <a:gd name="connsiteX0" fmla="*/ 1153949 w 1197639"/>
                  <a:gd name="connsiteY0" fmla="*/ 975532 h 1981548"/>
                  <a:gd name="connsiteX1" fmla="*/ 844740 w 1197639"/>
                  <a:gd name="connsiteY1" fmla="*/ 1964129 h 1981548"/>
                  <a:gd name="connsiteX2" fmla="*/ 41233 w 1197639"/>
                  <a:gd name="connsiteY2" fmla="*/ 1310871 h 1981548"/>
                  <a:gd name="connsiteX3" fmla="*/ 252453 w 1197639"/>
                  <a:gd name="connsiteY3" fmla="*/ 0 h 1981548"/>
                  <a:gd name="connsiteX4" fmla="*/ 1153949 w 1197639"/>
                  <a:gd name="connsiteY4" fmla="*/ 975532 h 19815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7639" h="1981548">
                    <a:moveTo>
                      <a:pt x="1153949" y="975532"/>
                    </a:moveTo>
                    <a:cubicBezTo>
                      <a:pt x="1317264" y="1517736"/>
                      <a:pt x="1151771" y="1872673"/>
                      <a:pt x="844740" y="1964129"/>
                    </a:cubicBezTo>
                    <a:cubicBezTo>
                      <a:pt x="537709" y="2055585"/>
                      <a:pt x="204548" y="1853075"/>
                      <a:pt x="41233" y="1310871"/>
                    </a:cubicBezTo>
                    <a:cubicBezTo>
                      <a:pt x="-122081" y="768667"/>
                      <a:pt x="252453" y="0"/>
                      <a:pt x="252453" y="0"/>
                    </a:cubicBezTo>
                    <a:cubicBezTo>
                      <a:pt x="252453" y="0"/>
                      <a:pt x="990635" y="433328"/>
                      <a:pt x="1153949" y="975532"/>
                    </a:cubicBezTo>
                    <a:close/>
                  </a:path>
                </a:pathLst>
              </a:custGeom>
              <a:solidFill>
                <a:schemeClr val="accent2"/>
              </a:solidFill>
              <a:ln w="2176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6" name="Freeform: Shape 15">
                <a:extLst>
                  <a:ext uri="{FF2B5EF4-FFF2-40B4-BE49-F238E27FC236}">
                    <a16:creationId xmlns:a16="http://schemas.microsoft.com/office/drawing/2014/main" id="{ECAB18E9-A604-4C6A-B26E-36F7B84FFE8E}"/>
                  </a:ext>
                </a:extLst>
              </p:cNvPr>
              <p:cNvSpPr/>
              <p:nvPr/>
            </p:nvSpPr>
            <p:spPr>
              <a:xfrm>
                <a:off x="1840952" y="6094095"/>
                <a:ext cx="827460" cy="1742021"/>
              </a:xfrm>
              <a:custGeom>
                <a:avLst/>
                <a:gdLst>
                  <a:gd name="connsiteX0" fmla="*/ 832632 w 827460"/>
                  <a:gd name="connsiteY0" fmla="*/ 952145 h 1742020"/>
                  <a:gd name="connsiteX1" fmla="*/ 815211 w 827460"/>
                  <a:gd name="connsiteY1" fmla="*/ 958678 h 1742020"/>
                  <a:gd name="connsiteX2" fmla="*/ 636654 w 827460"/>
                  <a:gd name="connsiteY2" fmla="*/ 1289662 h 1742020"/>
                  <a:gd name="connsiteX3" fmla="*/ 603991 w 827460"/>
                  <a:gd name="connsiteY3" fmla="*/ 1182963 h 1742020"/>
                  <a:gd name="connsiteX4" fmla="*/ 603991 w 827460"/>
                  <a:gd name="connsiteY4" fmla="*/ 1182963 h 1742020"/>
                  <a:gd name="connsiteX5" fmla="*/ 538666 w 827460"/>
                  <a:gd name="connsiteY5" fmla="*/ 967388 h 1742020"/>
                  <a:gd name="connsiteX6" fmla="*/ 730288 w 827460"/>
                  <a:gd name="connsiteY6" fmla="*/ 610274 h 1742020"/>
                  <a:gd name="connsiteX7" fmla="*/ 723755 w 827460"/>
                  <a:gd name="connsiteY7" fmla="*/ 592854 h 1742020"/>
                  <a:gd name="connsiteX8" fmla="*/ 706335 w 827460"/>
                  <a:gd name="connsiteY8" fmla="*/ 599386 h 1742020"/>
                  <a:gd name="connsiteX9" fmla="*/ 527778 w 827460"/>
                  <a:gd name="connsiteY9" fmla="*/ 932548 h 1742020"/>
                  <a:gd name="connsiteX10" fmla="*/ 429789 w 827460"/>
                  <a:gd name="connsiteY10" fmla="*/ 608096 h 1742020"/>
                  <a:gd name="connsiteX11" fmla="*/ 621412 w 827460"/>
                  <a:gd name="connsiteY11" fmla="*/ 250982 h 1742020"/>
                  <a:gd name="connsiteX12" fmla="*/ 614879 w 827460"/>
                  <a:gd name="connsiteY12" fmla="*/ 233562 h 1742020"/>
                  <a:gd name="connsiteX13" fmla="*/ 597459 w 827460"/>
                  <a:gd name="connsiteY13" fmla="*/ 240094 h 1742020"/>
                  <a:gd name="connsiteX14" fmla="*/ 418902 w 827460"/>
                  <a:gd name="connsiteY14" fmla="*/ 568901 h 1742020"/>
                  <a:gd name="connsiteX15" fmla="*/ 251232 w 827460"/>
                  <a:gd name="connsiteY15" fmla="*/ 9276 h 1742020"/>
                  <a:gd name="connsiteX16" fmla="*/ 233812 w 827460"/>
                  <a:gd name="connsiteY16" fmla="*/ 566 h 1742020"/>
                  <a:gd name="connsiteX17" fmla="*/ 225102 w 827460"/>
                  <a:gd name="connsiteY17" fmla="*/ 17987 h 1742020"/>
                  <a:gd name="connsiteX18" fmla="*/ 351398 w 827460"/>
                  <a:gd name="connsiteY18" fmla="*/ 438249 h 1742020"/>
                  <a:gd name="connsiteX19" fmla="*/ 18237 w 827460"/>
                  <a:gd name="connsiteY19" fmla="*/ 259692 h 1742020"/>
                  <a:gd name="connsiteX20" fmla="*/ 817 w 827460"/>
                  <a:gd name="connsiteY20" fmla="*/ 266225 h 1742020"/>
                  <a:gd name="connsiteX21" fmla="*/ 7349 w 827460"/>
                  <a:gd name="connsiteY21" fmla="*/ 283645 h 1742020"/>
                  <a:gd name="connsiteX22" fmla="*/ 364463 w 827460"/>
                  <a:gd name="connsiteY22" fmla="*/ 475267 h 1742020"/>
                  <a:gd name="connsiteX23" fmla="*/ 403659 w 827460"/>
                  <a:gd name="connsiteY23" fmla="*/ 608096 h 1742020"/>
                  <a:gd name="connsiteX24" fmla="*/ 403659 w 827460"/>
                  <a:gd name="connsiteY24" fmla="*/ 608096 h 1742020"/>
                  <a:gd name="connsiteX25" fmla="*/ 460275 w 827460"/>
                  <a:gd name="connsiteY25" fmla="*/ 799719 h 1742020"/>
                  <a:gd name="connsiteX26" fmla="*/ 127113 w 827460"/>
                  <a:gd name="connsiteY26" fmla="*/ 621161 h 1742020"/>
                  <a:gd name="connsiteX27" fmla="*/ 109693 w 827460"/>
                  <a:gd name="connsiteY27" fmla="*/ 627694 h 1742020"/>
                  <a:gd name="connsiteX28" fmla="*/ 116225 w 827460"/>
                  <a:gd name="connsiteY28" fmla="*/ 645114 h 1742020"/>
                  <a:gd name="connsiteX29" fmla="*/ 473340 w 827460"/>
                  <a:gd name="connsiteY29" fmla="*/ 836736 h 1742020"/>
                  <a:gd name="connsiteX30" fmla="*/ 512535 w 827460"/>
                  <a:gd name="connsiteY30" fmla="*/ 969566 h 1742020"/>
                  <a:gd name="connsiteX31" fmla="*/ 512535 w 827460"/>
                  <a:gd name="connsiteY31" fmla="*/ 969566 h 1742020"/>
                  <a:gd name="connsiteX32" fmla="*/ 569151 w 827460"/>
                  <a:gd name="connsiteY32" fmla="*/ 1161188 h 1742020"/>
                  <a:gd name="connsiteX33" fmla="*/ 235989 w 827460"/>
                  <a:gd name="connsiteY33" fmla="*/ 982631 h 1742020"/>
                  <a:gd name="connsiteX34" fmla="*/ 218569 w 827460"/>
                  <a:gd name="connsiteY34" fmla="*/ 989163 h 1742020"/>
                  <a:gd name="connsiteX35" fmla="*/ 225102 w 827460"/>
                  <a:gd name="connsiteY35" fmla="*/ 1006584 h 1742020"/>
                  <a:gd name="connsiteX36" fmla="*/ 582216 w 827460"/>
                  <a:gd name="connsiteY36" fmla="*/ 1198206 h 1742020"/>
                  <a:gd name="connsiteX37" fmla="*/ 745531 w 827460"/>
                  <a:gd name="connsiteY37" fmla="*/ 1738233 h 1742020"/>
                  <a:gd name="connsiteX38" fmla="*/ 758596 w 827460"/>
                  <a:gd name="connsiteY38" fmla="*/ 1746943 h 1742020"/>
                  <a:gd name="connsiteX39" fmla="*/ 762951 w 827460"/>
                  <a:gd name="connsiteY39" fmla="*/ 1746943 h 1742020"/>
                  <a:gd name="connsiteX40" fmla="*/ 771661 w 827460"/>
                  <a:gd name="connsiteY40" fmla="*/ 1729522 h 1742020"/>
                  <a:gd name="connsiteX41" fmla="*/ 651897 w 827460"/>
                  <a:gd name="connsiteY41" fmla="*/ 1328858 h 1742020"/>
                  <a:gd name="connsiteX42" fmla="*/ 843519 w 827460"/>
                  <a:gd name="connsiteY42" fmla="*/ 971743 h 1742020"/>
                  <a:gd name="connsiteX43" fmla="*/ 832632 w 827460"/>
                  <a:gd name="connsiteY43" fmla="*/ 952145 h 17420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827460" h="1742020">
                    <a:moveTo>
                      <a:pt x="832632" y="952145"/>
                    </a:moveTo>
                    <a:cubicBezTo>
                      <a:pt x="826099" y="947790"/>
                      <a:pt x="817389" y="949968"/>
                      <a:pt x="815211" y="958678"/>
                    </a:cubicBezTo>
                    <a:lnTo>
                      <a:pt x="636654" y="1289662"/>
                    </a:lnTo>
                    <a:lnTo>
                      <a:pt x="603991" y="1182963"/>
                    </a:lnTo>
                    <a:cubicBezTo>
                      <a:pt x="603991" y="1182963"/>
                      <a:pt x="603991" y="1182963"/>
                      <a:pt x="603991" y="1182963"/>
                    </a:cubicBezTo>
                    <a:lnTo>
                      <a:pt x="538666" y="967388"/>
                    </a:lnTo>
                    <a:lnTo>
                      <a:pt x="730288" y="610274"/>
                    </a:lnTo>
                    <a:cubicBezTo>
                      <a:pt x="734643" y="603741"/>
                      <a:pt x="730288" y="595031"/>
                      <a:pt x="723755" y="592854"/>
                    </a:cubicBezTo>
                    <a:cubicBezTo>
                      <a:pt x="717223" y="588499"/>
                      <a:pt x="708513" y="592854"/>
                      <a:pt x="706335" y="599386"/>
                    </a:cubicBezTo>
                    <a:lnTo>
                      <a:pt x="527778" y="932548"/>
                    </a:lnTo>
                    <a:lnTo>
                      <a:pt x="429789" y="608096"/>
                    </a:lnTo>
                    <a:lnTo>
                      <a:pt x="621412" y="250982"/>
                    </a:lnTo>
                    <a:cubicBezTo>
                      <a:pt x="625767" y="244449"/>
                      <a:pt x="621412" y="235739"/>
                      <a:pt x="614879" y="233562"/>
                    </a:cubicBezTo>
                    <a:cubicBezTo>
                      <a:pt x="608346" y="231384"/>
                      <a:pt x="599636" y="233562"/>
                      <a:pt x="597459" y="240094"/>
                    </a:cubicBezTo>
                    <a:lnTo>
                      <a:pt x="418902" y="568901"/>
                    </a:lnTo>
                    <a:lnTo>
                      <a:pt x="251232" y="9276"/>
                    </a:lnTo>
                    <a:cubicBezTo>
                      <a:pt x="249055" y="2744"/>
                      <a:pt x="242522" y="-1611"/>
                      <a:pt x="233812" y="566"/>
                    </a:cubicBezTo>
                    <a:cubicBezTo>
                      <a:pt x="227279" y="2744"/>
                      <a:pt x="222924" y="9276"/>
                      <a:pt x="225102" y="17987"/>
                    </a:cubicBezTo>
                    <a:lnTo>
                      <a:pt x="351398" y="438249"/>
                    </a:lnTo>
                    <a:lnTo>
                      <a:pt x="18237" y="259692"/>
                    </a:lnTo>
                    <a:cubicBezTo>
                      <a:pt x="11704" y="255337"/>
                      <a:pt x="2994" y="259692"/>
                      <a:pt x="817" y="266225"/>
                    </a:cubicBezTo>
                    <a:cubicBezTo>
                      <a:pt x="-1361" y="272757"/>
                      <a:pt x="817" y="281467"/>
                      <a:pt x="7349" y="283645"/>
                    </a:cubicBezTo>
                    <a:lnTo>
                      <a:pt x="364463" y="475267"/>
                    </a:lnTo>
                    <a:lnTo>
                      <a:pt x="403659" y="608096"/>
                    </a:lnTo>
                    <a:cubicBezTo>
                      <a:pt x="403659" y="608096"/>
                      <a:pt x="403659" y="608096"/>
                      <a:pt x="403659" y="608096"/>
                    </a:cubicBezTo>
                    <a:lnTo>
                      <a:pt x="460275" y="799719"/>
                    </a:lnTo>
                    <a:lnTo>
                      <a:pt x="127113" y="621161"/>
                    </a:lnTo>
                    <a:cubicBezTo>
                      <a:pt x="120581" y="616806"/>
                      <a:pt x="111870" y="621161"/>
                      <a:pt x="109693" y="627694"/>
                    </a:cubicBezTo>
                    <a:cubicBezTo>
                      <a:pt x="105338" y="634227"/>
                      <a:pt x="109693" y="642937"/>
                      <a:pt x="116225" y="645114"/>
                    </a:cubicBezTo>
                    <a:lnTo>
                      <a:pt x="473340" y="836736"/>
                    </a:lnTo>
                    <a:lnTo>
                      <a:pt x="512535" y="969566"/>
                    </a:lnTo>
                    <a:cubicBezTo>
                      <a:pt x="512535" y="969566"/>
                      <a:pt x="512535" y="969566"/>
                      <a:pt x="512535" y="969566"/>
                    </a:cubicBezTo>
                    <a:lnTo>
                      <a:pt x="569151" y="1161188"/>
                    </a:lnTo>
                    <a:lnTo>
                      <a:pt x="235989" y="982631"/>
                    </a:lnTo>
                    <a:cubicBezTo>
                      <a:pt x="229457" y="978276"/>
                      <a:pt x="220747" y="982631"/>
                      <a:pt x="218569" y="989163"/>
                    </a:cubicBezTo>
                    <a:cubicBezTo>
                      <a:pt x="214214" y="995696"/>
                      <a:pt x="218569" y="1004406"/>
                      <a:pt x="225102" y="1006584"/>
                    </a:cubicBezTo>
                    <a:lnTo>
                      <a:pt x="582216" y="1198206"/>
                    </a:lnTo>
                    <a:lnTo>
                      <a:pt x="745531" y="1738233"/>
                    </a:lnTo>
                    <a:cubicBezTo>
                      <a:pt x="747708" y="1744765"/>
                      <a:pt x="752063" y="1746943"/>
                      <a:pt x="758596" y="1746943"/>
                    </a:cubicBezTo>
                    <a:cubicBezTo>
                      <a:pt x="760773" y="1746943"/>
                      <a:pt x="760773" y="1746943"/>
                      <a:pt x="762951" y="1746943"/>
                    </a:cubicBezTo>
                    <a:cubicBezTo>
                      <a:pt x="769484" y="1744765"/>
                      <a:pt x="773839" y="1738233"/>
                      <a:pt x="771661" y="1729522"/>
                    </a:cubicBezTo>
                    <a:lnTo>
                      <a:pt x="651897" y="1328858"/>
                    </a:lnTo>
                    <a:lnTo>
                      <a:pt x="843519" y="971743"/>
                    </a:lnTo>
                    <a:cubicBezTo>
                      <a:pt x="841342" y="963033"/>
                      <a:pt x="839164" y="956500"/>
                      <a:pt x="832632" y="952145"/>
                    </a:cubicBezTo>
                    <a:close/>
                  </a:path>
                </a:pathLst>
              </a:custGeom>
              <a:solidFill>
                <a:schemeClr val="tx1">
                  <a:lumMod val="75000"/>
                  <a:lumOff val="25000"/>
                </a:schemeClr>
              </a:solidFill>
              <a:ln w="2176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grpSp>
      <p:sp>
        <p:nvSpPr>
          <p:cNvPr id="50" name="Freeform 37">
            <a:extLst>
              <a:ext uri="{FF2B5EF4-FFF2-40B4-BE49-F238E27FC236}">
                <a16:creationId xmlns:a16="http://schemas.microsoft.com/office/drawing/2014/main" id="{806E8AD3-8E97-4AAE-8F95-234360DB2954}"/>
              </a:ext>
            </a:extLst>
          </p:cNvPr>
          <p:cNvSpPr>
            <a:spLocks/>
          </p:cNvSpPr>
          <p:nvPr/>
        </p:nvSpPr>
        <p:spPr bwMode="auto">
          <a:xfrm>
            <a:off x="1209584" y="3298426"/>
            <a:ext cx="2089716" cy="1459644"/>
          </a:xfrm>
          <a:custGeom>
            <a:avLst/>
            <a:gdLst>
              <a:gd name="T0" fmla="*/ 658 w 890"/>
              <a:gd name="T1" fmla="*/ 590 h 622"/>
              <a:gd name="T2" fmla="*/ 230 w 890"/>
              <a:gd name="T3" fmla="*/ 0 h 622"/>
              <a:gd name="T4" fmla="*/ 658 w 890"/>
              <a:gd name="T5" fmla="*/ 590 h 622"/>
            </a:gdLst>
            <a:ahLst/>
            <a:cxnLst>
              <a:cxn ang="0">
                <a:pos x="T0" y="T1"/>
              </a:cxn>
              <a:cxn ang="0">
                <a:pos x="T2" y="T3"/>
              </a:cxn>
              <a:cxn ang="0">
                <a:pos x="T4" y="T5"/>
              </a:cxn>
            </a:cxnLst>
            <a:rect l="0" t="0" r="r" b="b"/>
            <a:pathLst>
              <a:path w="890" h="622">
                <a:moveTo>
                  <a:pt x="658" y="590"/>
                </a:moveTo>
                <a:cubicBezTo>
                  <a:pt x="658" y="590"/>
                  <a:pt x="890" y="40"/>
                  <a:pt x="230" y="0"/>
                </a:cubicBezTo>
                <a:cubicBezTo>
                  <a:pt x="230" y="0"/>
                  <a:pt x="0" y="622"/>
                  <a:pt x="658" y="59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51" name="Freeform 38">
            <a:extLst>
              <a:ext uri="{FF2B5EF4-FFF2-40B4-BE49-F238E27FC236}">
                <a16:creationId xmlns:a16="http://schemas.microsoft.com/office/drawing/2014/main" id="{EE38953C-78E5-437C-90CE-07C10D0D7E3D}"/>
              </a:ext>
            </a:extLst>
          </p:cNvPr>
          <p:cNvSpPr>
            <a:spLocks/>
          </p:cNvSpPr>
          <p:nvPr/>
        </p:nvSpPr>
        <p:spPr bwMode="auto">
          <a:xfrm>
            <a:off x="4022662" y="2008141"/>
            <a:ext cx="1406540" cy="1893088"/>
          </a:xfrm>
          <a:custGeom>
            <a:avLst/>
            <a:gdLst>
              <a:gd name="T0" fmla="*/ 0 w 599"/>
              <a:gd name="T1" fmla="*/ 570 h 807"/>
              <a:gd name="T2" fmla="*/ 599 w 599"/>
              <a:gd name="T3" fmla="*/ 333 h 807"/>
              <a:gd name="T4" fmla="*/ 0 w 599"/>
              <a:gd name="T5" fmla="*/ 570 h 807"/>
            </a:gdLst>
            <a:ahLst/>
            <a:cxnLst>
              <a:cxn ang="0">
                <a:pos x="T0" y="T1"/>
              </a:cxn>
              <a:cxn ang="0">
                <a:pos x="T2" y="T3"/>
              </a:cxn>
              <a:cxn ang="0">
                <a:pos x="T4" y="T5"/>
              </a:cxn>
            </a:cxnLst>
            <a:rect l="0" t="0" r="r" b="b"/>
            <a:pathLst>
              <a:path w="599" h="807">
                <a:moveTo>
                  <a:pt x="0" y="570"/>
                </a:moveTo>
                <a:cubicBezTo>
                  <a:pt x="0" y="570"/>
                  <a:pt x="444" y="807"/>
                  <a:pt x="599" y="333"/>
                </a:cubicBezTo>
                <a:cubicBezTo>
                  <a:pt x="599" y="333"/>
                  <a:pt x="117" y="0"/>
                  <a:pt x="0" y="57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52" name="Freeform 39">
            <a:extLst>
              <a:ext uri="{FF2B5EF4-FFF2-40B4-BE49-F238E27FC236}">
                <a16:creationId xmlns:a16="http://schemas.microsoft.com/office/drawing/2014/main" id="{146E9F6D-9FF1-4B07-9B19-32390ACA39E6}"/>
              </a:ext>
            </a:extLst>
          </p:cNvPr>
          <p:cNvSpPr>
            <a:spLocks/>
          </p:cNvSpPr>
          <p:nvPr/>
        </p:nvSpPr>
        <p:spPr bwMode="auto">
          <a:xfrm>
            <a:off x="3575267" y="1697380"/>
            <a:ext cx="1359830" cy="1020264"/>
          </a:xfrm>
          <a:custGeom>
            <a:avLst/>
            <a:gdLst>
              <a:gd name="T0" fmla="*/ 196 w 531"/>
              <a:gd name="T1" fmla="*/ 399 h 399"/>
              <a:gd name="T2" fmla="*/ 409 w 531"/>
              <a:gd name="T3" fmla="*/ 0 h 399"/>
              <a:gd name="T4" fmla="*/ 196 w 531"/>
              <a:gd name="T5" fmla="*/ 399 h 399"/>
            </a:gdLst>
            <a:ahLst/>
            <a:cxnLst>
              <a:cxn ang="0">
                <a:pos x="T0" y="T1"/>
              </a:cxn>
              <a:cxn ang="0">
                <a:pos x="T2" y="T3"/>
              </a:cxn>
              <a:cxn ang="0">
                <a:pos x="T4" y="T5"/>
              </a:cxn>
            </a:cxnLst>
            <a:rect l="0" t="0" r="r" b="b"/>
            <a:pathLst>
              <a:path w="531" h="399">
                <a:moveTo>
                  <a:pt x="196" y="399"/>
                </a:moveTo>
                <a:cubicBezTo>
                  <a:pt x="196" y="399"/>
                  <a:pt x="531" y="349"/>
                  <a:pt x="409" y="0"/>
                </a:cubicBezTo>
                <a:cubicBezTo>
                  <a:pt x="409" y="0"/>
                  <a:pt x="0" y="40"/>
                  <a:pt x="196" y="399"/>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53" name="Freeform 40">
            <a:extLst>
              <a:ext uri="{FF2B5EF4-FFF2-40B4-BE49-F238E27FC236}">
                <a16:creationId xmlns:a16="http://schemas.microsoft.com/office/drawing/2014/main" id="{DFF60B2A-9E5A-4683-B270-946C55A6BE87}"/>
              </a:ext>
            </a:extLst>
          </p:cNvPr>
          <p:cNvSpPr>
            <a:spLocks/>
          </p:cNvSpPr>
          <p:nvPr/>
        </p:nvSpPr>
        <p:spPr bwMode="auto">
          <a:xfrm>
            <a:off x="2350139" y="2337542"/>
            <a:ext cx="1679859" cy="1198970"/>
          </a:xfrm>
          <a:custGeom>
            <a:avLst/>
            <a:gdLst>
              <a:gd name="T0" fmla="*/ 351 w 632"/>
              <a:gd name="T1" fmla="*/ 452 h 452"/>
              <a:gd name="T2" fmla="*/ 333 w 632"/>
              <a:gd name="T3" fmla="*/ 0 h 452"/>
              <a:gd name="T4" fmla="*/ 351 w 632"/>
              <a:gd name="T5" fmla="*/ 452 h 452"/>
            </a:gdLst>
            <a:ahLst/>
            <a:cxnLst>
              <a:cxn ang="0">
                <a:pos x="T0" y="T1"/>
              </a:cxn>
              <a:cxn ang="0">
                <a:pos x="T2" y="T3"/>
              </a:cxn>
              <a:cxn ang="0">
                <a:pos x="T4" y="T5"/>
              </a:cxn>
            </a:cxnLst>
            <a:rect l="0" t="0" r="r" b="b"/>
            <a:pathLst>
              <a:path w="632" h="452">
                <a:moveTo>
                  <a:pt x="351" y="452"/>
                </a:moveTo>
                <a:cubicBezTo>
                  <a:pt x="351" y="452"/>
                  <a:pt x="632" y="261"/>
                  <a:pt x="333" y="0"/>
                </a:cubicBezTo>
                <a:cubicBezTo>
                  <a:pt x="333" y="0"/>
                  <a:pt x="0" y="242"/>
                  <a:pt x="351" y="452"/>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54" name="Freeform 41">
            <a:extLst>
              <a:ext uri="{FF2B5EF4-FFF2-40B4-BE49-F238E27FC236}">
                <a16:creationId xmlns:a16="http://schemas.microsoft.com/office/drawing/2014/main" id="{F89C2F57-0D6B-4B64-9CDC-8060335C6685}"/>
              </a:ext>
            </a:extLst>
          </p:cNvPr>
          <p:cNvSpPr>
            <a:spLocks/>
          </p:cNvSpPr>
          <p:nvPr/>
        </p:nvSpPr>
        <p:spPr bwMode="auto">
          <a:xfrm>
            <a:off x="3450558" y="3633405"/>
            <a:ext cx="1450824" cy="2010600"/>
          </a:xfrm>
          <a:custGeom>
            <a:avLst/>
            <a:gdLst>
              <a:gd name="T0" fmla="*/ 0 w 811"/>
              <a:gd name="T1" fmla="*/ 813 h 1125"/>
              <a:gd name="T2" fmla="*/ 811 w 811"/>
              <a:gd name="T3" fmla="*/ 409 h 1125"/>
              <a:gd name="T4" fmla="*/ 0 w 811"/>
              <a:gd name="T5" fmla="*/ 813 h 1125"/>
            </a:gdLst>
            <a:ahLst/>
            <a:cxnLst>
              <a:cxn ang="0">
                <a:pos x="T0" y="T1"/>
              </a:cxn>
              <a:cxn ang="0">
                <a:pos x="T2" y="T3"/>
              </a:cxn>
              <a:cxn ang="0">
                <a:pos x="T4" y="T5"/>
              </a:cxn>
            </a:cxnLst>
            <a:rect l="0" t="0" r="r" b="b"/>
            <a:pathLst>
              <a:path w="811" h="1125">
                <a:moveTo>
                  <a:pt x="0" y="813"/>
                </a:moveTo>
                <a:cubicBezTo>
                  <a:pt x="0" y="813"/>
                  <a:pt x="680" y="1125"/>
                  <a:pt x="811" y="409"/>
                </a:cubicBezTo>
                <a:cubicBezTo>
                  <a:pt x="811" y="409"/>
                  <a:pt x="96" y="0"/>
                  <a:pt x="0" y="813"/>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55" name="Freeform 36">
            <a:extLst>
              <a:ext uri="{FF2B5EF4-FFF2-40B4-BE49-F238E27FC236}">
                <a16:creationId xmlns:a16="http://schemas.microsoft.com/office/drawing/2014/main" id="{81CCBE04-BAF0-4BDF-8509-A933F3B16CC2}"/>
              </a:ext>
            </a:extLst>
          </p:cNvPr>
          <p:cNvSpPr>
            <a:spLocks/>
          </p:cNvSpPr>
          <p:nvPr/>
        </p:nvSpPr>
        <p:spPr bwMode="auto">
          <a:xfrm>
            <a:off x="2395095" y="2496124"/>
            <a:ext cx="1819890" cy="4429164"/>
          </a:xfrm>
          <a:custGeom>
            <a:avLst/>
            <a:gdLst>
              <a:gd name="T0" fmla="*/ 437 w 775"/>
              <a:gd name="T1" fmla="*/ 1888 h 1888"/>
              <a:gd name="T2" fmla="*/ 277 w 775"/>
              <a:gd name="T3" fmla="*/ 1169 h 1888"/>
              <a:gd name="T4" fmla="*/ 744 w 775"/>
              <a:gd name="T5" fmla="*/ 338 h 1888"/>
              <a:gd name="T6" fmla="*/ 722 w 775"/>
              <a:gd name="T7" fmla="*/ 311 h 1888"/>
              <a:gd name="T8" fmla="*/ 383 w 775"/>
              <a:gd name="T9" fmla="*/ 725 h 1888"/>
              <a:gd name="T10" fmla="*/ 775 w 775"/>
              <a:gd name="T11" fmla="*/ 27 h 1888"/>
              <a:gd name="T12" fmla="*/ 730 w 775"/>
              <a:gd name="T13" fmla="*/ 0 h 1888"/>
              <a:gd name="T14" fmla="*/ 203 w 775"/>
              <a:gd name="T15" fmla="*/ 1018 h 1888"/>
              <a:gd name="T16" fmla="*/ 162 w 775"/>
              <a:gd name="T17" fmla="*/ 901 h 1888"/>
              <a:gd name="T18" fmla="*/ 108 w 775"/>
              <a:gd name="T19" fmla="*/ 923 h 1888"/>
              <a:gd name="T20" fmla="*/ 153 w 775"/>
              <a:gd name="T21" fmla="*/ 1049 h 1888"/>
              <a:gd name="T22" fmla="*/ 67 w 775"/>
              <a:gd name="T23" fmla="*/ 1703 h 1888"/>
              <a:gd name="T24" fmla="*/ 437 w 775"/>
              <a:gd name="T25" fmla="*/ 1888 h 18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75" h="1888">
                <a:moveTo>
                  <a:pt x="437" y="1888"/>
                </a:moveTo>
                <a:cubicBezTo>
                  <a:pt x="437" y="1888"/>
                  <a:pt x="142" y="1710"/>
                  <a:pt x="277" y="1169"/>
                </a:cubicBezTo>
                <a:cubicBezTo>
                  <a:pt x="413" y="629"/>
                  <a:pt x="744" y="338"/>
                  <a:pt x="744" y="338"/>
                </a:cubicBezTo>
                <a:cubicBezTo>
                  <a:pt x="722" y="311"/>
                  <a:pt x="722" y="311"/>
                  <a:pt x="722" y="311"/>
                </a:cubicBezTo>
                <a:cubicBezTo>
                  <a:pt x="722" y="311"/>
                  <a:pt x="474" y="604"/>
                  <a:pt x="383" y="725"/>
                </a:cubicBezTo>
                <a:cubicBezTo>
                  <a:pt x="775" y="27"/>
                  <a:pt x="775" y="27"/>
                  <a:pt x="775" y="27"/>
                </a:cubicBezTo>
                <a:cubicBezTo>
                  <a:pt x="730" y="0"/>
                  <a:pt x="730" y="0"/>
                  <a:pt x="730" y="0"/>
                </a:cubicBezTo>
                <a:cubicBezTo>
                  <a:pt x="730" y="0"/>
                  <a:pt x="320" y="675"/>
                  <a:pt x="203" y="1018"/>
                </a:cubicBezTo>
                <a:cubicBezTo>
                  <a:pt x="162" y="901"/>
                  <a:pt x="162" y="901"/>
                  <a:pt x="162" y="901"/>
                </a:cubicBezTo>
                <a:cubicBezTo>
                  <a:pt x="108" y="923"/>
                  <a:pt x="108" y="923"/>
                  <a:pt x="108" y="923"/>
                </a:cubicBezTo>
                <a:cubicBezTo>
                  <a:pt x="153" y="1049"/>
                  <a:pt x="153" y="1049"/>
                  <a:pt x="153" y="1049"/>
                </a:cubicBezTo>
                <a:cubicBezTo>
                  <a:pt x="153" y="1049"/>
                  <a:pt x="0" y="1532"/>
                  <a:pt x="67" y="1703"/>
                </a:cubicBezTo>
                <a:cubicBezTo>
                  <a:pt x="135" y="1874"/>
                  <a:pt x="437" y="1888"/>
                  <a:pt x="437" y="1888"/>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56" name="Freeform 42">
            <a:extLst>
              <a:ext uri="{FF2B5EF4-FFF2-40B4-BE49-F238E27FC236}">
                <a16:creationId xmlns:a16="http://schemas.microsoft.com/office/drawing/2014/main" id="{CEC611CE-F8F8-4456-BEB8-92A0FB4101F4}"/>
              </a:ext>
            </a:extLst>
          </p:cNvPr>
          <p:cNvSpPr>
            <a:spLocks/>
          </p:cNvSpPr>
          <p:nvPr/>
        </p:nvSpPr>
        <p:spPr bwMode="auto">
          <a:xfrm>
            <a:off x="2864353" y="4770373"/>
            <a:ext cx="928603" cy="1211346"/>
          </a:xfrm>
          <a:custGeom>
            <a:avLst/>
            <a:gdLst>
              <a:gd name="T0" fmla="*/ 291 w 395"/>
              <a:gd name="T1" fmla="*/ 126 h 516"/>
              <a:gd name="T2" fmla="*/ 64 w 395"/>
              <a:gd name="T3" fmla="*/ 374 h 516"/>
              <a:gd name="T4" fmla="*/ 3 w 395"/>
              <a:gd name="T5" fmla="*/ 324 h 516"/>
              <a:gd name="T6" fmla="*/ 257 w 395"/>
              <a:gd name="T7" fmla="*/ 76 h 516"/>
              <a:gd name="T8" fmla="*/ 291 w 395"/>
              <a:gd name="T9" fmla="*/ 126 h 516"/>
            </a:gdLst>
            <a:ahLst/>
            <a:cxnLst>
              <a:cxn ang="0">
                <a:pos x="T0" y="T1"/>
              </a:cxn>
              <a:cxn ang="0">
                <a:pos x="T2" y="T3"/>
              </a:cxn>
              <a:cxn ang="0">
                <a:pos x="T4" y="T5"/>
              </a:cxn>
              <a:cxn ang="0">
                <a:pos x="T6" y="T7"/>
              </a:cxn>
              <a:cxn ang="0">
                <a:pos x="T8" y="T9"/>
              </a:cxn>
            </a:cxnLst>
            <a:rect l="0" t="0" r="r" b="b"/>
            <a:pathLst>
              <a:path w="395" h="516">
                <a:moveTo>
                  <a:pt x="291" y="126"/>
                </a:moveTo>
                <a:cubicBezTo>
                  <a:pt x="291" y="126"/>
                  <a:pt x="127" y="232"/>
                  <a:pt x="64" y="374"/>
                </a:cubicBezTo>
                <a:cubicBezTo>
                  <a:pt x="0" y="516"/>
                  <a:pt x="3" y="324"/>
                  <a:pt x="3" y="324"/>
                </a:cubicBezTo>
                <a:cubicBezTo>
                  <a:pt x="3" y="324"/>
                  <a:pt x="120" y="153"/>
                  <a:pt x="257" y="76"/>
                </a:cubicBezTo>
                <a:cubicBezTo>
                  <a:pt x="395" y="0"/>
                  <a:pt x="359" y="40"/>
                  <a:pt x="291" y="126"/>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57" name="Freeform 43">
            <a:extLst>
              <a:ext uri="{FF2B5EF4-FFF2-40B4-BE49-F238E27FC236}">
                <a16:creationId xmlns:a16="http://schemas.microsoft.com/office/drawing/2014/main" id="{87C25E2D-1FBC-4984-8D3D-05ECCE0C7E4C}"/>
              </a:ext>
            </a:extLst>
          </p:cNvPr>
          <p:cNvSpPr>
            <a:spLocks/>
          </p:cNvSpPr>
          <p:nvPr/>
        </p:nvSpPr>
        <p:spPr bwMode="auto">
          <a:xfrm>
            <a:off x="3266156" y="3457393"/>
            <a:ext cx="121995" cy="520994"/>
          </a:xfrm>
          <a:custGeom>
            <a:avLst/>
            <a:gdLst>
              <a:gd name="T0" fmla="*/ 0 w 85"/>
              <a:gd name="T1" fmla="*/ 14 h 363"/>
              <a:gd name="T2" fmla="*/ 20 w 85"/>
              <a:gd name="T3" fmla="*/ 363 h 363"/>
              <a:gd name="T4" fmla="*/ 85 w 85"/>
              <a:gd name="T5" fmla="*/ 302 h 363"/>
              <a:gd name="T6" fmla="*/ 49 w 85"/>
              <a:gd name="T7" fmla="*/ 0 h 363"/>
              <a:gd name="T8" fmla="*/ 0 w 85"/>
              <a:gd name="T9" fmla="*/ 14 h 363"/>
            </a:gdLst>
            <a:ahLst/>
            <a:cxnLst>
              <a:cxn ang="0">
                <a:pos x="T0" y="T1"/>
              </a:cxn>
              <a:cxn ang="0">
                <a:pos x="T2" y="T3"/>
              </a:cxn>
              <a:cxn ang="0">
                <a:pos x="T4" y="T5"/>
              </a:cxn>
              <a:cxn ang="0">
                <a:pos x="T6" y="T7"/>
              </a:cxn>
              <a:cxn ang="0">
                <a:pos x="T8" y="T9"/>
              </a:cxn>
            </a:cxnLst>
            <a:rect l="0" t="0" r="r" b="b"/>
            <a:pathLst>
              <a:path w="85" h="363">
                <a:moveTo>
                  <a:pt x="0" y="14"/>
                </a:moveTo>
                <a:lnTo>
                  <a:pt x="20" y="363"/>
                </a:lnTo>
                <a:lnTo>
                  <a:pt x="85" y="302"/>
                </a:lnTo>
                <a:lnTo>
                  <a:pt x="49" y="0"/>
                </a:lnTo>
                <a:lnTo>
                  <a:pt x="0" y="14"/>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58" name="Freeform 5">
            <a:extLst>
              <a:ext uri="{FF2B5EF4-FFF2-40B4-BE49-F238E27FC236}">
                <a16:creationId xmlns:a16="http://schemas.microsoft.com/office/drawing/2014/main" id="{8E960B3E-FA0C-4B58-A928-D8D0103ECAA7}"/>
              </a:ext>
            </a:extLst>
          </p:cNvPr>
          <p:cNvSpPr>
            <a:spLocks/>
          </p:cNvSpPr>
          <p:nvPr/>
        </p:nvSpPr>
        <p:spPr bwMode="auto">
          <a:xfrm>
            <a:off x="2330978" y="3770057"/>
            <a:ext cx="252098" cy="152358"/>
          </a:xfrm>
          <a:custGeom>
            <a:avLst/>
            <a:gdLst>
              <a:gd name="T0" fmla="*/ 193 w 195"/>
              <a:gd name="T1" fmla="*/ 31 h 118"/>
              <a:gd name="T2" fmla="*/ 186 w 195"/>
              <a:gd name="T3" fmla="*/ 24 h 118"/>
              <a:gd name="T4" fmla="*/ 174 w 195"/>
              <a:gd name="T5" fmla="*/ 14 h 118"/>
              <a:gd name="T6" fmla="*/ 158 w 195"/>
              <a:gd name="T7" fmla="*/ 6 h 118"/>
              <a:gd name="T8" fmla="*/ 137 w 195"/>
              <a:gd name="T9" fmla="*/ 1 h 118"/>
              <a:gd name="T10" fmla="*/ 115 w 195"/>
              <a:gd name="T11" fmla="*/ 0 h 118"/>
              <a:gd name="T12" fmla="*/ 92 w 195"/>
              <a:gd name="T13" fmla="*/ 3 h 118"/>
              <a:gd name="T14" fmla="*/ 70 w 195"/>
              <a:gd name="T15" fmla="*/ 11 h 118"/>
              <a:gd name="T16" fmla="*/ 51 w 195"/>
              <a:gd name="T17" fmla="*/ 22 h 118"/>
              <a:gd name="T18" fmla="*/ 34 w 195"/>
              <a:gd name="T19" fmla="*/ 37 h 118"/>
              <a:gd name="T20" fmla="*/ 10 w 195"/>
              <a:gd name="T21" fmla="*/ 70 h 118"/>
              <a:gd name="T22" fmla="*/ 4 w 195"/>
              <a:gd name="T23" fmla="*/ 86 h 118"/>
              <a:gd name="T24" fmla="*/ 1 w 195"/>
              <a:gd name="T25" fmla="*/ 100 h 118"/>
              <a:gd name="T26" fmla="*/ 0 w 195"/>
              <a:gd name="T27" fmla="*/ 106 h 118"/>
              <a:gd name="T28" fmla="*/ 6 w 195"/>
              <a:gd name="T29" fmla="*/ 101 h 118"/>
              <a:gd name="T30" fmla="*/ 47 w 195"/>
              <a:gd name="T31" fmla="*/ 73 h 118"/>
              <a:gd name="T32" fmla="*/ 71 w 195"/>
              <a:gd name="T33" fmla="*/ 61 h 118"/>
              <a:gd name="T34" fmla="*/ 82 w 195"/>
              <a:gd name="T35" fmla="*/ 56 h 118"/>
              <a:gd name="T36" fmla="*/ 92 w 195"/>
              <a:gd name="T37" fmla="*/ 53 h 118"/>
              <a:gd name="T38" fmla="*/ 101 w 195"/>
              <a:gd name="T39" fmla="*/ 51 h 118"/>
              <a:gd name="T40" fmla="*/ 108 w 195"/>
              <a:gd name="T41" fmla="*/ 50 h 118"/>
              <a:gd name="T42" fmla="*/ 114 w 195"/>
              <a:gd name="T43" fmla="*/ 50 h 118"/>
              <a:gd name="T44" fmla="*/ 108 w 195"/>
              <a:gd name="T45" fmla="*/ 51 h 118"/>
              <a:gd name="T46" fmla="*/ 101 w 195"/>
              <a:gd name="T47" fmla="*/ 52 h 118"/>
              <a:gd name="T48" fmla="*/ 93 w 195"/>
              <a:gd name="T49" fmla="*/ 55 h 118"/>
              <a:gd name="T50" fmla="*/ 83 w 195"/>
              <a:gd name="T51" fmla="*/ 59 h 118"/>
              <a:gd name="T52" fmla="*/ 72 w 195"/>
              <a:gd name="T53" fmla="*/ 64 h 118"/>
              <a:gd name="T54" fmla="*/ 50 w 195"/>
              <a:gd name="T55" fmla="*/ 78 h 118"/>
              <a:gd name="T56" fmla="*/ 12 w 195"/>
              <a:gd name="T57" fmla="*/ 108 h 118"/>
              <a:gd name="T58" fmla="*/ 5 w 195"/>
              <a:gd name="T59" fmla="*/ 115 h 118"/>
              <a:gd name="T60" fmla="*/ 13 w 195"/>
              <a:gd name="T61" fmla="*/ 116 h 118"/>
              <a:gd name="T62" fmla="*/ 27 w 195"/>
              <a:gd name="T63" fmla="*/ 117 h 118"/>
              <a:gd name="T64" fmla="*/ 43 w 195"/>
              <a:gd name="T65" fmla="*/ 118 h 118"/>
              <a:gd name="T66" fmla="*/ 61 w 195"/>
              <a:gd name="T67" fmla="*/ 117 h 118"/>
              <a:gd name="T68" fmla="*/ 79 w 195"/>
              <a:gd name="T69" fmla="*/ 114 h 118"/>
              <a:gd name="T70" fmla="*/ 96 w 195"/>
              <a:gd name="T71" fmla="*/ 110 h 118"/>
              <a:gd name="T72" fmla="*/ 112 w 195"/>
              <a:gd name="T73" fmla="*/ 103 h 118"/>
              <a:gd name="T74" fmla="*/ 141 w 195"/>
              <a:gd name="T75" fmla="*/ 86 h 118"/>
              <a:gd name="T76" fmla="*/ 154 w 195"/>
              <a:gd name="T77" fmla="*/ 76 h 118"/>
              <a:gd name="T78" fmla="*/ 166 w 195"/>
              <a:gd name="T79" fmla="*/ 64 h 118"/>
              <a:gd name="T80" fmla="*/ 177 w 195"/>
              <a:gd name="T81" fmla="*/ 53 h 118"/>
              <a:gd name="T82" fmla="*/ 186 w 195"/>
              <a:gd name="T83" fmla="*/ 44 h 118"/>
              <a:gd name="T84" fmla="*/ 193 w 195"/>
              <a:gd name="T85" fmla="*/ 37 h 118"/>
              <a:gd name="T86" fmla="*/ 195 w 195"/>
              <a:gd name="T87" fmla="*/ 34 h 118"/>
              <a:gd name="T88" fmla="*/ 193 w 195"/>
              <a:gd name="T89" fmla="*/ 3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95" h="118">
                <a:moveTo>
                  <a:pt x="193" y="31"/>
                </a:moveTo>
                <a:cubicBezTo>
                  <a:pt x="192" y="29"/>
                  <a:pt x="189" y="26"/>
                  <a:pt x="186" y="24"/>
                </a:cubicBezTo>
                <a:cubicBezTo>
                  <a:pt x="183" y="21"/>
                  <a:pt x="179" y="17"/>
                  <a:pt x="174" y="14"/>
                </a:cubicBezTo>
                <a:cubicBezTo>
                  <a:pt x="170" y="12"/>
                  <a:pt x="164" y="9"/>
                  <a:pt x="158" y="6"/>
                </a:cubicBezTo>
                <a:cubicBezTo>
                  <a:pt x="151" y="4"/>
                  <a:pt x="145" y="3"/>
                  <a:pt x="137" y="1"/>
                </a:cubicBezTo>
                <a:cubicBezTo>
                  <a:pt x="130" y="0"/>
                  <a:pt x="123" y="0"/>
                  <a:pt x="115" y="0"/>
                </a:cubicBezTo>
                <a:cubicBezTo>
                  <a:pt x="107" y="0"/>
                  <a:pt x="100" y="2"/>
                  <a:pt x="92" y="3"/>
                </a:cubicBezTo>
                <a:cubicBezTo>
                  <a:pt x="85" y="5"/>
                  <a:pt x="77" y="8"/>
                  <a:pt x="70" y="11"/>
                </a:cubicBezTo>
                <a:cubicBezTo>
                  <a:pt x="63" y="15"/>
                  <a:pt x="57" y="18"/>
                  <a:pt x="51" y="22"/>
                </a:cubicBezTo>
                <a:cubicBezTo>
                  <a:pt x="44" y="27"/>
                  <a:pt x="39" y="31"/>
                  <a:pt x="34" y="37"/>
                </a:cubicBezTo>
                <a:cubicBezTo>
                  <a:pt x="23" y="47"/>
                  <a:pt x="16" y="59"/>
                  <a:pt x="10" y="70"/>
                </a:cubicBezTo>
                <a:cubicBezTo>
                  <a:pt x="8" y="75"/>
                  <a:pt x="6" y="81"/>
                  <a:pt x="4" y="86"/>
                </a:cubicBezTo>
                <a:cubicBezTo>
                  <a:pt x="3" y="91"/>
                  <a:pt x="2" y="96"/>
                  <a:pt x="1" y="100"/>
                </a:cubicBezTo>
                <a:cubicBezTo>
                  <a:pt x="1" y="102"/>
                  <a:pt x="0" y="104"/>
                  <a:pt x="0" y="106"/>
                </a:cubicBezTo>
                <a:cubicBezTo>
                  <a:pt x="2" y="104"/>
                  <a:pt x="4" y="103"/>
                  <a:pt x="6" y="101"/>
                </a:cubicBezTo>
                <a:cubicBezTo>
                  <a:pt x="17" y="92"/>
                  <a:pt x="31" y="82"/>
                  <a:pt x="47" y="73"/>
                </a:cubicBezTo>
                <a:cubicBezTo>
                  <a:pt x="55" y="68"/>
                  <a:pt x="63" y="64"/>
                  <a:pt x="71" y="61"/>
                </a:cubicBezTo>
                <a:cubicBezTo>
                  <a:pt x="74" y="59"/>
                  <a:pt x="78" y="58"/>
                  <a:pt x="82" y="56"/>
                </a:cubicBezTo>
                <a:cubicBezTo>
                  <a:pt x="86" y="55"/>
                  <a:pt x="89" y="54"/>
                  <a:pt x="92" y="53"/>
                </a:cubicBezTo>
                <a:cubicBezTo>
                  <a:pt x="96" y="52"/>
                  <a:pt x="99" y="52"/>
                  <a:pt x="101" y="51"/>
                </a:cubicBezTo>
                <a:cubicBezTo>
                  <a:pt x="104" y="50"/>
                  <a:pt x="106" y="50"/>
                  <a:pt x="108" y="50"/>
                </a:cubicBezTo>
                <a:cubicBezTo>
                  <a:pt x="112" y="50"/>
                  <a:pt x="114" y="50"/>
                  <a:pt x="114" y="50"/>
                </a:cubicBezTo>
                <a:cubicBezTo>
                  <a:pt x="114" y="50"/>
                  <a:pt x="112" y="50"/>
                  <a:pt x="108" y="51"/>
                </a:cubicBezTo>
                <a:cubicBezTo>
                  <a:pt x="106" y="51"/>
                  <a:pt x="104" y="51"/>
                  <a:pt x="101" y="52"/>
                </a:cubicBezTo>
                <a:cubicBezTo>
                  <a:pt x="99" y="53"/>
                  <a:pt x="96" y="54"/>
                  <a:pt x="93" y="55"/>
                </a:cubicBezTo>
                <a:cubicBezTo>
                  <a:pt x="90" y="56"/>
                  <a:pt x="86" y="57"/>
                  <a:pt x="83" y="59"/>
                </a:cubicBezTo>
                <a:cubicBezTo>
                  <a:pt x="79" y="60"/>
                  <a:pt x="76" y="62"/>
                  <a:pt x="72" y="64"/>
                </a:cubicBezTo>
                <a:cubicBezTo>
                  <a:pt x="65" y="68"/>
                  <a:pt x="57" y="72"/>
                  <a:pt x="50" y="78"/>
                </a:cubicBezTo>
                <a:cubicBezTo>
                  <a:pt x="35" y="88"/>
                  <a:pt x="22" y="99"/>
                  <a:pt x="12" y="108"/>
                </a:cubicBezTo>
                <a:cubicBezTo>
                  <a:pt x="10" y="111"/>
                  <a:pt x="7" y="113"/>
                  <a:pt x="5" y="115"/>
                </a:cubicBezTo>
                <a:cubicBezTo>
                  <a:pt x="7" y="115"/>
                  <a:pt x="10" y="116"/>
                  <a:pt x="13" y="116"/>
                </a:cubicBezTo>
                <a:cubicBezTo>
                  <a:pt x="17" y="116"/>
                  <a:pt x="22" y="117"/>
                  <a:pt x="27" y="117"/>
                </a:cubicBezTo>
                <a:cubicBezTo>
                  <a:pt x="32" y="118"/>
                  <a:pt x="38" y="118"/>
                  <a:pt x="43" y="118"/>
                </a:cubicBezTo>
                <a:cubicBezTo>
                  <a:pt x="49" y="118"/>
                  <a:pt x="55" y="117"/>
                  <a:pt x="61" y="117"/>
                </a:cubicBezTo>
                <a:cubicBezTo>
                  <a:pt x="67" y="116"/>
                  <a:pt x="73" y="115"/>
                  <a:pt x="79" y="114"/>
                </a:cubicBezTo>
                <a:cubicBezTo>
                  <a:pt x="84" y="113"/>
                  <a:pt x="90" y="111"/>
                  <a:pt x="96" y="110"/>
                </a:cubicBezTo>
                <a:cubicBezTo>
                  <a:pt x="101" y="108"/>
                  <a:pt x="107" y="106"/>
                  <a:pt x="112" y="103"/>
                </a:cubicBezTo>
                <a:cubicBezTo>
                  <a:pt x="123" y="98"/>
                  <a:pt x="132" y="93"/>
                  <a:pt x="141" y="86"/>
                </a:cubicBezTo>
                <a:cubicBezTo>
                  <a:pt x="146" y="83"/>
                  <a:pt x="150" y="79"/>
                  <a:pt x="154" y="76"/>
                </a:cubicBezTo>
                <a:cubicBezTo>
                  <a:pt x="158" y="72"/>
                  <a:pt x="162" y="68"/>
                  <a:pt x="166" y="64"/>
                </a:cubicBezTo>
                <a:cubicBezTo>
                  <a:pt x="170" y="61"/>
                  <a:pt x="173" y="57"/>
                  <a:pt x="177" y="53"/>
                </a:cubicBezTo>
                <a:cubicBezTo>
                  <a:pt x="180" y="50"/>
                  <a:pt x="184" y="46"/>
                  <a:pt x="186" y="44"/>
                </a:cubicBezTo>
                <a:cubicBezTo>
                  <a:pt x="189" y="41"/>
                  <a:pt x="191" y="38"/>
                  <a:pt x="193" y="37"/>
                </a:cubicBezTo>
                <a:cubicBezTo>
                  <a:pt x="195" y="35"/>
                  <a:pt x="195" y="34"/>
                  <a:pt x="195" y="34"/>
                </a:cubicBezTo>
                <a:cubicBezTo>
                  <a:pt x="195" y="34"/>
                  <a:pt x="195" y="33"/>
                  <a:pt x="193" y="31"/>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59" name="Freeform 6">
            <a:extLst>
              <a:ext uri="{FF2B5EF4-FFF2-40B4-BE49-F238E27FC236}">
                <a16:creationId xmlns:a16="http://schemas.microsoft.com/office/drawing/2014/main" id="{B87223B5-05D7-4695-BD7E-F8AFEE7F3B90}"/>
              </a:ext>
            </a:extLst>
          </p:cNvPr>
          <p:cNvSpPr>
            <a:spLocks/>
          </p:cNvSpPr>
          <p:nvPr/>
        </p:nvSpPr>
        <p:spPr bwMode="auto">
          <a:xfrm>
            <a:off x="2230453" y="3655396"/>
            <a:ext cx="146861" cy="238747"/>
          </a:xfrm>
          <a:custGeom>
            <a:avLst/>
            <a:gdLst>
              <a:gd name="T0" fmla="*/ 73 w 114"/>
              <a:gd name="T1" fmla="*/ 148 h 185"/>
              <a:gd name="T2" fmla="*/ 61 w 114"/>
              <a:gd name="T3" fmla="*/ 125 h 185"/>
              <a:gd name="T4" fmla="*/ 57 w 114"/>
              <a:gd name="T5" fmla="*/ 113 h 185"/>
              <a:gd name="T6" fmla="*/ 53 w 114"/>
              <a:gd name="T7" fmla="*/ 103 h 185"/>
              <a:gd name="T8" fmla="*/ 52 w 114"/>
              <a:gd name="T9" fmla="*/ 94 h 185"/>
              <a:gd name="T10" fmla="*/ 51 w 114"/>
              <a:gd name="T11" fmla="*/ 87 h 185"/>
              <a:gd name="T12" fmla="*/ 50 w 114"/>
              <a:gd name="T13" fmla="*/ 81 h 185"/>
              <a:gd name="T14" fmla="*/ 51 w 114"/>
              <a:gd name="T15" fmla="*/ 87 h 185"/>
              <a:gd name="T16" fmla="*/ 53 w 114"/>
              <a:gd name="T17" fmla="*/ 94 h 185"/>
              <a:gd name="T18" fmla="*/ 55 w 114"/>
              <a:gd name="T19" fmla="*/ 103 h 185"/>
              <a:gd name="T20" fmla="*/ 59 w 114"/>
              <a:gd name="T21" fmla="*/ 113 h 185"/>
              <a:gd name="T22" fmla="*/ 64 w 114"/>
              <a:gd name="T23" fmla="*/ 123 h 185"/>
              <a:gd name="T24" fmla="*/ 78 w 114"/>
              <a:gd name="T25" fmla="*/ 145 h 185"/>
              <a:gd name="T26" fmla="*/ 84 w 114"/>
              <a:gd name="T27" fmla="*/ 154 h 185"/>
              <a:gd name="T28" fmla="*/ 114 w 114"/>
              <a:gd name="T29" fmla="*/ 113 h 185"/>
              <a:gd name="T30" fmla="*/ 110 w 114"/>
              <a:gd name="T31" fmla="*/ 99 h 185"/>
              <a:gd name="T32" fmla="*/ 104 w 114"/>
              <a:gd name="T33" fmla="*/ 83 h 185"/>
              <a:gd name="T34" fmla="*/ 86 w 114"/>
              <a:gd name="T35" fmla="*/ 54 h 185"/>
              <a:gd name="T36" fmla="*/ 76 w 114"/>
              <a:gd name="T37" fmla="*/ 41 h 185"/>
              <a:gd name="T38" fmla="*/ 65 w 114"/>
              <a:gd name="T39" fmla="*/ 29 h 185"/>
              <a:gd name="T40" fmla="*/ 54 w 114"/>
              <a:gd name="T41" fmla="*/ 18 h 185"/>
              <a:gd name="T42" fmla="*/ 44 w 114"/>
              <a:gd name="T43" fmla="*/ 9 h 185"/>
              <a:gd name="T44" fmla="*/ 37 w 114"/>
              <a:gd name="T45" fmla="*/ 2 h 185"/>
              <a:gd name="T46" fmla="*/ 34 w 114"/>
              <a:gd name="T47" fmla="*/ 0 h 185"/>
              <a:gd name="T48" fmla="*/ 31 w 114"/>
              <a:gd name="T49" fmla="*/ 2 h 185"/>
              <a:gd name="T50" fmla="*/ 24 w 114"/>
              <a:gd name="T51" fmla="*/ 9 h 185"/>
              <a:gd name="T52" fmla="*/ 15 w 114"/>
              <a:gd name="T53" fmla="*/ 21 h 185"/>
              <a:gd name="T54" fmla="*/ 7 w 114"/>
              <a:gd name="T55" fmla="*/ 38 h 185"/>
              <a:gd name="T56" fmla="*/ 2 w 114"/>
              <a:gd name="T57" fmla="*/ 58 h 185"/>
              <a:gd name="T58" fmla="*/ 0 w 114"/>
              <a:gd name="T59" fmla="*/ 80 h 185"/>
              <a:gd name="T60" fmla="*/ 4 w 114"/>
              <a:gd name="T61" fmla="*/ 103 h 185"/>
              <a:gd name="T62" fmla="*/ 12 w 114"/>
              <a:gd name="T63" fmla="*/ 125 h 185"/>
              <a:gd name="T64" fmla="*/ 23 w 114"/>
              <a:gd name="T65" fmla="*/ 145 h 185"/>
              <a:gd name="T66" fmla="*/ 37 w 114"/>
              <a:gd name="T67" fmla="*/ 162 h 185"/>
              <a:gd name="T68" fmla="*/ 70 w 114"/>
              <a:gd name="T69" fmla="*/ 185 h 185"/>
              <a:gd name="T70" fmla="*/ 71 w 114"/>
              <a:gd name="T71" fmla="*/ 185 h 185"/>
              <a:gd name="T72" fmla="*/ 81 w 114"/>
              <a:gd name="T73" fmla="*/ 161 h 185"/>
              <a:gd name="T74" fmla="*/ 73 w 114"/>
              <a:gd name="T75" fmla="*/ 148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4" h="185">
                <a:moveTo>
                  <a:pt x="73" y="148"/>
                </a:moveTo>
                <a:cubicBezTo>
                  <a:pt x="69" y="141"/>
                  <a:pt x="65" y="132"/>
                  <a:pt x="61" y="125"/>
                </a:cubicBezTo>
                <a:cubicBezTo>
                  <a:pt x="60" y="121"/>
                  <a:pt x="58" y="117"/>
                  <a:pt x="57" y="113"/>
                </a:cubicBezTo>
                <a:cubicBezTo>
                  <a:pt x="56" y="110"/>
                  <a:pt x="55" y="106"/>
                  <a:pt x="53" y="103"/>
                </a:cubicBezTo>
                <a:cubicBezTo>
                  <a:pt x="53" y="100"/>
                  <a:pt x="52" y="97"/>
                  <a:pt x="52" y="94"/>
                </a:cubicBezTo>
                <a:cubicBezTo>
                  <a:pt x="51" y="91"/>
                  <a:pt x="51" y="89"/>
                  <a:pt x="51" y="87"/>
                </a:cubicBezTo>
                <a:cubicBezTo>
                  <a:pt x="50" y="83"/>
                  <a:pt x="50" y="81"/>
                  <a:pt x="50" y="81"/>
                </a:cubicBezTo>
                <a:cubicBezTo>
                  <a:pt x="50" y="81"/>
                  <a:pt x="50" y="83"/>
                  <a:pt x="51" y="87"/>
                </a:cubicBezTo>
                <a:cubicBezTo>
                  <a:pt x="51" y="89"/>
                  <a:pt x="52" y="91"/>
                  <a:pt x="53" y="94"/>
                </a:cubicBezTo>
                <a:cubicBezTo>
                  <a:pt x="53" y="96"/>
                  <a:pt x="54" y="99"/>
                  <a:pt x="55" y="103"/>
                </a:cubicBezTo>
                <a:cubicBezTo>
                  <a:pt x="56" y="106"/>
                  <a:pt x="58" y="109"/>
                  <a:pt x="59" y="113"/>
                </a:cubicBezTo>
                <a:cubicBezTo>
                  <a:pt x="61" y="116"/>
                  <a:pt x="63" y="120"/>
                  <a:pt x="64" y="123"/>
                </a:cubicBezTo>
                <a:cubicBezTo>
                  <a:pt x="68" y="130"/>
                  <a:pt x="73" y="138"/>
                  <a:pt x="78" y="145"/>
                </a:cubicBezTo>
                <a:cubicBezTo>
                  <a:pt x="80" y="148"/>
                  <a:pt x="82" y="151"/>
                  <a:pt x="84" y="154"/>
                </a:cubicBezTo>
                <a:cubicBezTo>
                  <a:pt x="92" y="139"/>
                  <a:pt x="103" y="125"/>
                  <a:pt x="114" y="113"/>
                </a:cubicBezTo>
                <a:cubicBezTo>
                  <a:pt x="113" y="109"/>
                  <a:pt x="112" y="104"/>
                  <a:pt x="110" y="99"/>
                </a:cubicBezTo>
                <a:cubicBezTo>
                  <a:pt x="108" y="94"/>
                  <a:pt x="106" y="88"/>
                  <a:pt x="104" y="83"/>
                </a:cubicBezTo>
                <a:cubicBezTo>
                  <a:pt x="99" y="73"/>
                  <a:pt x="93" y="63"/>
                  <a:pt x="86" y="54"/>
                </a:cubicBezTo>
                <a:cubicBezTo>
                  <a:pt x="83" y="50"/>
                  <a:pt x="79" y="45"/>
                  <a:pt x="76" y="41"/>
                </a:cubicBezTo>
                <a:cubicBezTo>
                  <a:pt x="72" y="37"/>
                  <a:pt x="68" y="33"/>
                  <a:pt x="65" y="29"/>
                </a:cubicBezTo>
                <a:cubicBezTo>
                  <a:pt x="61" y="26"/>
                  <a:pt x="57" y="22"/>
                  <a:pt x="54" y="18"/>
                </a:cubicBezTo>
                <a:cubicBezTo>
                  <a:pt x="50" y="15"/>
                  <a:pt x="47" y="12"/>
                  <a:pt x="44" y="9"/>
                </a:cubicBezTo>
                <a:cubicBezTo>
                  <a:pt x="42" y="6"/>
                  <a:pt x="39" y="4"/>
                  <a:pt x="37" y="2"/>
                </a:cubicBezTo>
                <a:cubicBezTo>
                  <a:pt x="35" y="1"/>
                  <a:pt x="34" y="0"/>
                  <a:pt x="34" y="0"/>
                </a:cubicBezTo>
                <a:cubicBezTo>
                  <a:pt x="34" y="0"/>
                  <a:pt x="33" y="1"/>
                  <a:pt x="31" y="2"/>
                </a:cubicBezTo>
                <a:cubicBezTo>
                  <a:pt x="30" y="4"/>
                  <a:pt x="27" y="6"/>
                  <a:pt x="24" y="9"/>
                </a:cubicBezTo>
                <a:cubicBezTo>
                  <a:pt x="21" y="12"/>
                  <a:pt x="17" y="16"/>
                  <a:pt x="15" y="21"/>
                </a:cubicBezTo>
                <a:cubicBezTo>
                  <a:pt x="12" y="26"/>
                  <a:pt x="9" y="31"/>
                  <a:pt x="7" y="38"/>
                </a:cubicBezTo>
                <a:cubicBezTo>
                  <a:pt x="4" y="44"/>
                  <a:pt x="3" y="51"/>
                  <a:pt x="2" y="58"/>
                </a:cubicBezTo>
                <a:cubicBezTo>
                  <a:pt x="0" y="65"/>
                  <a:pt x="0" y="72"/>
                  <a:pt x="0" y="80"/>
                </a:cubicBezTo>
                <a:cubicBezTo>
                  <a:pt x="1" y="88"/>
                  <a:pt x="2" y="95"/>
                  <a:pt x="4" y="103"/>
                </a:cubicBezTo>
                <a:cubicBezTo>
                  <a:pt x="6" y="111"/>
                  <a:pt x="8" y="118"/>
                  <a:pt x="12" y="125"/>
                </a:cubicBezTo>
                <a:cubicBezTo>
                  <a:pt x="15" y="132"/>
                  <a:pt x="18" y="139"/>
                  <a:pt x="23" y="145"/>
                </a:cubicBezTo>
                <a:cubicBezTo>
                  <a:pt x="27" y="151"/>
                  <a:pt x="32" y="157"/>
                  <a:pt x="37" y="162"/>
                </a:cubicBezTo>
                <a:cubicBezTo>
                  <a:pt x="47" y="172"/>
                  <a:pt x="59" y="179"/>
                  <a:pt x="70" y="185"/>
                </a:cubicBezTo>
                <a:cubicBezTo>
                  <a:pt x="71" y="185"/>
                  <a:pt x="71" y="185"/>
                  <a:pt x="71" y="185"/>
                </a:cubicBezTo>
                <a:cubicBezTo>
                  <a:pt x="74" y="177"/>
                  <a:pt x="77" y="169"/>
                  <a:pt x="81" y="161"/>
                </a:cubicBezTo>
                <a:cubicBezTo>
                  <a:pt x="78" y="157"/>
                  <a:pt x="76" y="153"/>
                  <a:pt x="73" y="148"/>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60" name="Freeform 7">
            <a:extLst>
              <a:ext uri="{FF2B5EF4-FFF2-40B4-BE49-F238E27FC236}">
                <a16:creationId xmlns:a16="http://schemas.microsoft.com/office/drawing/2014/main" id="{D637232E-5DDA-4D82-BECA-CE27473C9437}"/>
              </a:ext>
            </a:extLst>
          </p:cNvPr>
          <p:cNvSpPr>
            <a:spLocks/>
          </p:cNvSpPr>
          <p:nvPr/>
        </p:nvSpPr>
        <p:spPr bwMode="auto">
          <a:xfrm>
            <a:off x="2077310" y="3876865"/>
            <a:ext cx="317282" cy="316497"/>
          </a:xfrm>
          <a:custGeom>
            <a:avLst/>
            <a:gdLst>
              <a:gd name="T0" fmla="*/ 0 w 245"/>
              <a:gd name="T1" fmla="*/ 238 h 245"/>
              <a:gd name="T2" fmla="*/ 7 w 245"/>
              <a:gd name="T3" fmla="*/ 245 h 245"/>
              <a:gd name="T4" fmla="*/ 93 w 245"/>
              <a:gd name="T5" fmla="*/ 245 h 245"/>
              <a:gd name="T6" fmla="*/ 94 w 245"/>
              <a:gd name="T7" fmla="*/ 175 h 245"/>
              <a:gd name="T8" fmla="*/ 104 w 245"/>
              <a:gd name="T9" fmla="*/ 163 h 245"/>
              <a:gd name="T10" fmla="*/ 139 w 245"/>
              <a:gd name="T11" fmla="*/ 163 h 245"/>
              <a:gd name="T12" fmla="*/ 152 w 245"/>
              <a:gd name="T13" fmla="*/ 175 h 245"/>
              <a:gd name="T14" fmla="*/ 152 w 245"/>
              <a:gd name="T15" fmla="*/ 245 h 245"/>
              <a:gd name="T16" fmla="*/ 236 w 245"/>
              <a:gd name="T17" fmla="*/ 245 h 245"/>
              <a:gd name="T18" fmla="*/ 245 w 245"/>
              <a:gd name="T19" fmla="*/ 236 h 245"/>
              <a:gd name="T20" fmla="*/ 245 w 245"/>
              <a:gd name="T21" fmla="*/ 106 h 245"/>
              <a:gd name="T22" fmla="*/ 126 w 245"/>
              <a:gd name="T23" fmla="*/ 0 h 245"/>
              <a:gd name="T24" fmla="*/ 0 w 245"/>
              <a:gd name="T25" fmla="*/ 106 h 245"/>
              <a:gd name="T26" fmla="*/ 0 w 245"/>
              <a:gd name="T27" fmla="*/ 238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5" h="245">
                <a:moveTo>
                  <a:pt x="0" y="238"/>
                </a:moveTo>
                <a:cubicBezTo>
                  <a:pt x="0" y="238"/>
                  <a:pt x="0" y="245"/>
                  <a:pt x="7" y="245"/>
                </a:cubicBezTo>
                <a:cubicBezTo>
                  <a:pt x="17" y="245"/>
                  <a:pt x="93" y="245"/>
                  <a:pt x="93" y="245"/>
                </a:cubicBezTo>
                <a:cubicBezTo>
                  <a:pt x="94" y="175"/>
                  <a:pt x="94" y="175"/>
                  <a:pt x="94" y="175"/>
                </a:cubicBezTo>
                <a:cubicBezTo>
                  <a:pt x="94" y="175"/>
                  <a:pt x="92" y="163"/>
                  <a:pt x="104" y="163"/>
                </a:cubicBezTo>
                <a:cubicBezTo>
                  <a:pt x="139" y="163"/>
                  <a:pt x="139" y="163"/>
                  <a:pt x="139" y="163"/>
                </a:cubicBezTo>
                <a:cubicBezTo>
                  <a:pt x="153" y="163"/>
                  <a:pt x="152" y="175"/>
                  <a:pt x="152" y="175"/>
                </a:cubicBezTo>
                <a:cubicBezTo>
                  <a:pt x="152" y="245"/>
                  <a:pt x="152" y="245"/>
                  <a:pt x="152" y="245"/>
                </a:cubicBezTo>
                <a:cubicBezTo>
                  <a:pt x="152" y="245"/>
                  <a:pt x="224" y="245"/>
                  <a:pt x="236" y="245"/>
                </a:cubicBezTo>
                <a:cubicBezTo>
                  <a:pt x="245" y="245"/>
                  <a:pt x="245" y="236"/>
                  <a:pt x="245" y="236"/>
                </a:cubicBezTo>
                <a:cubicBezTo>
                  <a:pt x="245" y="106"/>
                  <a:pt x="245" y="106"/>
                  <a:pt x="245" y="106"/>
                </a:cubicBezTo>
                <a:cubicBezTo>
                  <a:pt x="126" y="0"/>
                  <a:pt x="126" y="0"/>
                  <a:pt x="126" y="0"/>
                </a:cubicBezTo>
                <a:cubicBezTo>
                  <a:pt x="0" y="106"/>
                  <a:pt x="0" y="106"/>
                  <a:pt x="0" y="106"/>
                </a:cubicBezTo>
                <a:lnTo>
                  <a:pt x="0" y="23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61" name="Freeform 8">
            <a:extLst>
              <a:ext uri="{FF2B5EF4-FFF2-40B4-BE49-F238E27FC236}">
                <a16:creationId xmlns:a16="http://schemas.microsoft.com/office/drawing/2014/main" id="{DE8F2384-948C-450D-9BA7-E384B4FC627D}"/>
              </a:ext>
            </a:extLst>
          </p:cNvPr>
          <p:cNvSpPr>
            <a:spLocks/>
          </p:cNvSpPr>
          <p:nvPr/>
        </p:nvSpPr>
        <p:spPr bwMode="auto">
          <a:xfrm>
            <a:off x="2018408" y="3803828"/>
            <a:ext cx="440582" cy="223040"/>
          </a:xfrm>
          <a:custGeom>
            <a:avLst/>
            <a:gdLst>
              <a:gd name="T0" fmla="*/ 0 w 341"/>
              <a:gd name="T1" fmla="*/ 153 h 173"/>
              <a:gd name="T2" fmla="*/ 34 w 341"/>
              <a:gd name="T3" fmla="*/ 153 h 173"/>
              <a:gd name="T4" fmla="*/ 173 w 341"/>
              <a:gd name="T5" fmla="*/ 35 h 173"/>
              <a:gd name="T6" fmla="*/ 304 w 341"/>
              <a:gd name="T7" fmla="*/ 152 h 173"/>
              <a:gd name="T8" fmla="*/ 341 w 341"/>
              <a:gd name="T9" fmla="*/ 152 h 173"/>
              <a:gd name="T10" fmla="*/ 173 w 341"/>
              <a:gd name="T11" fmla="*/ 0 h 173"/>
              <a:gd name="T12" fmla="*/ 0 w 341"/>
              <a:gd name="T13" fmla="*/ 153 h 173"/>
            </a:gdLst>
            <a:ahLst/>
            <a:cxnLst>
              <a:cxn ang="0">
                <a:pos x="T0" y="T1"/>
              </a:cxn>
              <a:cxn ang="0">
                <a:pos x="T2" y="T3"/>
              </a:cxn>
              <a:cxn ang="0">
                <a:pos x="T4" y="T5"/>
              </a:cxn>
              <a:cxn ang="0">
                <a:pos x="T6" y="T7"/>
              </a:cxn>
              <a:cxn ang="0">
                <a:pos x="T8" y="T9"/>
              </a:cxn>
              <a:cxn ang="0">
                <a:pos x="T10" y="T11"/>
              </a:cxn>
              <a:cxn ang="0">
                <a:pos x="T12" y="T13"/>
              </a:cxn>
            </a:cxnLst>
            <a:rect l="0" t="0" r="r" b="b"/>
            <a:pathLst>
              <a:path w="341" h="173">
                <a:moveTo>
                  <a:pt x="0" y="153"/>
                </a:moveTo>
                <a:cubicBezTo>
                  <a:pt x="0" y="153"/>
                  <a:pt x="11" y="173"/>
                  <a:pt x="34" y="153"/>
                </a:cubicBezTo>
                <a:cubicBezTo>
                  <a:pt x="173" y="35"/>
                  <a:pt x="173" y="35"/>
                  <a:pt x="173" y="35"/>
                </a:cubicBezTo>
                <a:cubicBezTo>
                  <a:pt x="304" y="152"/>
                  <a:pt x="304" y="152"/>
                  <a:pt x="304" y="152"/>
                </a:cubicBezTo>
                <a:cubicBezTo>
                  <a:pt x="331" y="172"/>
                  <a:pt x="341" y="152"/>
                  <a:pt x="341" y="152"/>
                </a:cubicBezTo>
                <a:cubicBezTo>
                  <a:pt x="173" y="0"/>
                  <a:pt x="173" y="0"/>
                  <a:pt x="173" y="0"/>
                </a:cubicBezTo>
                <a:lnTo>
                  <a:pt x="0" y="153"/>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62" name="Freeform 47">
            <a:extLst>
              <a:ext uri="{FF2B5EF4-FFF2-40B4-BE49-F238E27FC236}">
                <a16:creationId xmlns:a16="http://schemas.microsoft.com/office/drawing/2014/main" id="{A5AD6CE3-D5E1-4C32-83C8-B746CC4076A0}"/>
              </a:ext>
            </a:extLst>
          </p:cNvPr>
          <p:cNvSpPr>
            <a:spLocks noEditPoints="1"/>
          </p:cNvSpPr>
          <p:nvPr/>
        </p:nvSpPr>
        <p:spPr bwMode="auto">
          <a:xfrm>
            <a:off x="3908401" y="4391655"/>
            <a:ext cx="464990" cy="189534"/>
          </a:xfrm>
          <a:custGeom>
            <a:avLst/>
            <a:gdLst>
              <a:gd name="T0" fmla="*/ 298 w 335"/>
              <a:gd name="T1" fmla="*/ 58 h 137"/>
              <a:gd name="T2" fmla="*/ 269 w 335"/>
              <a:gd name="T3" fmla="*/ 58 h 137"/>
              <a:gd name="T4" fmla="*/ 262 w 335"/>
              <a:gd name="T5" fmla="*/ 50 h 137"/>
              <a:gd name="T6" fmla="*/ 262 w 335"/>
              <a:gd name="T7" fmla="*/ 37 h 137"/>
              <a:gd name="T8" fmla="*/ 225 w 335"/>
              <a:gd name="T9" fmla="*/ 0 h 137"/>
              <a:gd name="T10" fmla="*/ 110 w 335"/>
              <a:gd name="T11" fmla="*/ 0 h 137"/>
              <a:gd name="T12" fmla="*/ 73 w 335"/>
              <a:gd name="T13" fmla="*/ 37 h 137"/>
              <a:gd name="T14" fmla="*/ 73 w 335"/>
              <a:gd name="T15" fmla="*/ 50 h 137"/>
              <a:gd name="T16" fmla="*/ 66 w 335"/>
              <a:gd name="T17" fmla="*/ 58 h 137"/>
              <a:gd name="T18" fmla="*/ 37 w 335"/>
              <a:gd name="T19" fmla="*/ 58 h 137"/>
              <a:gd name="T20" fmla="*/ 0 w 335"/>
              <a:gd name="T21" fmla="*/ 95 h 137"/>
              <a:gd name="T22" fmla="*/ 0 w 335"/>
              <a:gd name="T23" fmla="*/ 130 h 137"/>
              <a:gd name="T24" fmla="*/ 7 w 335"/>
              <a:gd name="T25" fmla="*/ 137 h 137"/>
              <a:gd name="T26" fmla="*/ 328 w 335"/>
              <a:gd name="T27" fmla="*/ 137 h 137"/>
              <a:gd name="T28" fmla="*/ 335 w 335"/>
              <a:gd name="T29" fmla="*/ 130 h 137"/>
              <a:gd name="T30" fmla="*/ 335 w 335"/>
              <a:gd name="T31" fmla="*/ 95 h 137"/>
              <a:gd name="T32" fmla="*/ 298 w 335"/>
              <a:gd name="T33" fmla="*/ 58 h 137"/>
              <a:gd name="T34" fmla="*/ 232 w 335"/>
              <a:gd name="T35" fmla="*/ 50 h 137"/>
              <a:gd name="T36" fmla="*/ 225 w 335"/>
              <a:gd name="T37" fmla="*/ 58 h 137"/>
              <a:gd name="T38" fmla="*/ 110 w 335"/>
              <a:gd name="T39" fmla="*/ 58 h 137"/>
              <a:gd name="T40" fmla="*/ 103 w 335"/>
              <a:gd name="T41" fmla="*/ 50 h 137"/>
              <a:gd name="T42" fmla="*/ 103 w 335"/>
              <a:gd name="T43" fmla="*/ 37 h 137"/>
              <a:gd name="T44" fmla="*/ 110 w 335"/>
              <a:gd name="T45" fmla="*/ 30 h 137"/>
              <a:gd name="T46" fmla="*/ 225 w 335"/>
              <a:gd name="T47" fmla="*/ 30 h 137"/>
              <a:gd name="T48" fmla="*/ 232 w 335"/>
              <a:gd name="T49" fmla="*/ 37 h 137"/>
              <a:gd name="T50" fmla="*/ 232 w 335"/>
              <a:gd name="T51" fmla="*/ 50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35" h="137">
                <a:moveTo>
                  <a:pt x="298" y="58"/>
                </a:moveTo>
                <a:cubicBezTo>
                  <a:pt x="269" y="58"/>
                  <a:pt x="269" y="58"/>
                  <a:pt x="269" y="58"/>
                </a:cubicBezTo>
                <a:cubicBezTo>
                  <a:pt x="265" y="58"/>
                  <a:pt x="262" y="54"/>
                  <a:pt x="262" y="50"/>
                </a:cubicBezTo>
                <a:cubicBezTo>
                  <a:pt x="262" y="37"/>
                  <a:pt x="262" y="37"/>
                  <a:pt x="262" y="37"/>
                </a:cubicBezTo>
                <a:cubicBezTo>
                  <a:pt x="262" y="17"/>
                  <a:pt x="245" y="0"/>
                  <a:pt x="225" y="0"/>
                </a:cubicBezTo>
                <a:cubicBezTo>
                  <a:pt x="110" y="0"/>
                  <a:pt x="110" y="0"/>
                  <a:pt x="110" y="0"/>
                </a:cubicBezTo>
                <a:cubicBezTo>
                  <a:pt x="90" y="0"/>
                  <a:pt x="73" y="17"/>
                  <a:pt x="73" y="37"/>
                </a:cubicBezTo>
                <a:cubicBezTo>
                  <a:pt x="73" y="50"/>
                  <a:pt x="73" y="50"/>
                  <a:pt x="73" y="50"/>
                </a:cubicBezTo>
                <a:cubicBezTo>
                  <a:pt x="73" y="54"/>
                  <a:pt x="70" y="58"/>
                  <a:pt x="66" y="58"/>
                </a:cubicBezTo>
                <a:cubicBezTo>
                  <a:pt x="37" y="58"/>
                  <a:pt x="37" y="58"/>
                  <a:pt x="37" y="58"/>
                </a:cubicBezTo>
                <a:cubicBezTo>
                  <a:pt x="16" y="58"/>
                  <a:pt x="0" y="74"/>
                  <a:pt x="0" y="95"/>
                </a:cubicBezTo>
                <a:cubicBezTo>
                  <a:pt x="0" y="130"/>
                  <a:pt x="0" y="130"/>
                  <a:pt x="0" y="130"/>
                </a:cubicBezTo>
                <a:cubicBezTo>
                  <a:pt x="0" y="134"/>
                  <a:pt x="3" y="137"/>
                  <a:pt x="7" y="137"/>
                </a:cubicBezTo>
                <a:cubicBezTo>
                  <a:pt x="328" y="137"/>
                  <a:pt x="328" y="137"/>
                  <a:pt x="328" y="137"/>
                </a:cubicBezTo>
                <a:cubicBezTo>
                  <a:pt x="332" y="137"/>
                  <a:pt x="335" y="134"/>
                  <a:pt x="335" y="130"/>
                </a:cubicBezTo>
                <a:cubicBezTo>
                  <a:pt x="335" y="95"/>
                  <a:pt x="335" y="95"/>
                  <a:pt x="335" y="95"/>
                </a:cubicBezTo>
                <a:cubicBezTo>
                  <a:pt x="335" y="74"/>
                  <a:pt x="319" y="58"/>
                  <a:pt x="298" y="58"/>
                </a:cubicBezTo>
                <a:close/>
                <a:moveTo>
                  <a:pt x="232" y="50"/>
                </a:moveTo>
                <a:cubicBezTo>
                  <a:pt x="232" y="54"/>
                  <a:pt x="229" y="58"/>
                  <a:pt x="225" y="58"/>
                </a:cubicBezTo>
                <a:cubicBezTo>
                  <a:pt x="110" y="58"/>
                  <a:pt x="110" y="58"/>
                  <a:pt x="110" y="58"/>
                </a:cubicBezTo>
                <a:cubicBezTo>
                  <a:pt x="106" y="58"/>
                  <a:pt x="103" y="54"/>
                  <a:pt x="103" y="50"/>
                </a:cubicBezTo>
                <a:cubicBezTo>
                  <a:pt x="103" y="37"/>
                  <a:pt x="103" y="37"/>
                  <a:pt x="103" y="37"/>
                </a:cubicBezTo>
                <a:cubicBezTo>
                  <a:pt x="103" y="33"/>
                  <a:pt x="106" y="30"/>
                  <a:pt x="110" y="30"/>
                </a:cubicBezTo>
                <a:cubicBezTo>
                  <a:pt x="225" y="30"/>
                  <a:pt x="225" y="30"/>
                  <a:pt x="225" y="30"/>
                </a:cubicBezTo>
                <a:cubicBezTo>
                  <a:pt x="229" y="30"/>
                  <a:pt x="232" y="33"/>
                  <a:pt x="232" y="37"/>
                </a:cubicBezTo>
                <a:lnTo>
                  <a:pt x="232" y="5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63" name="Freeform 48">
            <a:extLst>
              <a:ext uri="{FF2B5EF4-FFF2-40B4-BE49-F238E27FC236}">
                <a16:creationId xmlns:a16="http://schemas.microsoft.com/office/drawing/2014/main" id="{EA8EE66D-A617-4B93-B1A3-B3299B081084}"/>
              </a:ext>
            </a:extLst>
          </p:cNvPr>
          <p:cNvSpPr>
            <a:spLocks noEditPoints="1"/>
          </p:cNvSpPr>
          <p:nvPr/>
        </p:nvSpPr>
        <p:spPr bwMode="auto">
          <a:xfrm>
            <a:off x="3951362" y="4607303"/>
            <a:ext cx="379068" cy="390861"/>
          </a:xfrm>
          <a:custGeom>
            <a:avLst/>
            <a:gdLst>
              <a:gd name="T0" fmla="*/ 265 w 273"/>
              <a:gd name="T1" fmla="*/ 0 h 282"/>
              <a:gd name="T2" fmla="*/ 8 w 273"/>
              <a:gd name="T3" fmla="*/ 0 h 282"/>
              <a:gd name="T4" fmla="*/ 0 w 273"/>
              <a:gd name="T5" fmla="*/ 7 h 282"/>
              <a:gd name="T6" fmla="*/ 0 w 273"/>
              <a:gd name="T7" fmla="*/ 245 h 282"/>
              <a:gd name="T8" fmla="*/ 37 w 273"/>
              <a:gd name="T9" fmla="*/ 282 h 282"/>
              <a:gd name="T10" fmla="*/ 236 w 273"/>
              <a:gd name="T11" fmla="*/ 282 h 282"/>
              <a:gd name="T12" fmla="*/ 273 w 273"/>
              <a:gd name="T13" fmla="*/ 245 h 282"/>
              <a:gd name="T14" fmla="*/ 273 w 273"/>
              <a:gd name="T15" fmla="*/ 7 h 282"/>
              <a:gd name="T16" fmla="*/ 265 w 273"/>
              <a:gd name="T17" fmla="*/ 0 h 282"/>
              <a:gd name="T18" fmla="*/ 81 w 273"/>
              <a:gd name="T19" fmla="*/ 81 h 282"/>
              <a:gd name="T20" fmla="*/ 197 w 273"/>
              <a:gd name="T21" fmla="*/ 72 h 282"/>
              <a:gd name="T22" fmla="*/ 214 w 273"/>
              <a:gd name="T23" fmla="*/ 56 h 282"/>
              <a:gd name="T24" fmla="*/ 225 w 273"/>
              <a:gd name="T25" fmla="*/ 60 h 282"/>
              <a:gd name="T26" fmla="*/ 225 w 273"/>
              <a:gd name="T27" fmla="*/ 118 h 282"/>
              <a:gd name="T28" fmla="*/ 221 w 273"/>
              <a:gd name="T29" fmla="*/ 122 h 282"/>
              <a:gd name="T30" fmla="*/ 213 w 273"/>
              <a:gd name="T31" fmla="*/ 122 h 282"/>
              <a:gd name="T32" fmla="*/ 209 w 273"/>
              <a:gd name="T33" fmla="*/ 122 h 282"/>
              <a:gd name="T34" fmla="*/ 205 w 273"/>
              <a:gd name="T35" fmla="*/ 122 h 282"/>
              <a:gd name="T36" fmla="*/ 163 w 273"/>
              <a:gd name="T37" fmla="*/ 122 h 282"/>
              <a:gd name="T38" fmla="*/ 159 w 273"/>
              <a:gd name="T39" fmla="*/ 110 h 282"/>
              <a:gd name="T40" fmla="*/ 175 w 273"/>
              <a:gd name="T41" fmla="*/ 93 h 282"/>
              <a:gd name="T42" fmla="*/ 102 w 273"/>
              <a:gd name="T43" fmla="*/ 102 h 282"/>
              <a:gd name="T44" fmla="*/ 85 w 273"/>
              <a:gd name="T45" fmla="*/ 148 h 282"/>
              <a:gd name="T46" fmla="*/ 55 w 273"/>
              <a:gd name="T47" fmla="*/ 148 h 282"/>
              <a:gd name="T48" fmla="*/ 81 w 273"/>
              <a:gd name="T49" fmla="*/ 81 h 282"/>
              <a:gd name="T50" fmla="*/ 205 w 273"/>
              <a:gd name="T51" fmla="*/ 205 h 282"/>
              <a:gd name="T52" fmla="*/ 90 w 273"/>
              <a:gd name="T53" fmla="*/ 214 h 282"/>
              <a:gd name="T54" fmla="*/ 73 w 273"/>
              <a:gd name="T55" fmla="*/ 230 h 282"/>
              <a:gd name="T56" fmla="*/ 61 w 273"/>
              <a:gd name="T57" fmla="*/ 226 h 282"/>
              <a:gd name="T58" fmla="*/ 61 w 273"/>
              <a:gd name="T59" fmla="*/ 168 h 282"/>
              <a:gd name="T60" fmla="*/ 66 w 273"/>
              <a:gd name="T61" fmla="*/ 164 h 282"/>
              <a:gd name="T62" fmla="*/ 74 w 273"/>
              <a:gd name="T63" fmla="*/ 164 h 282"/>
              <a:gd name="T64" fmla="*/ 78 w 273"/>
              <a:gd name="T65" fmla="*/ 164 h 282"/>
              <a:gd name="T66" fmla="*/ 82 w 273"/>
              <a:gd name="T67" fmla="*/ 164 h 282"/>
              <a:gd name="T68" fmla="*/ 124 w 273"/>
              <a:gd name="T69" fmla="*/ 164 h 282"/>
              <a:gd name="T70" fmla="*/ 128 w 273"/>
              <a:gd name="T71" fmla="*/ 176 h 282"/>
              <a:gd name="T72" fmla="*/ 111 w 273"/>
              <a:gd name="T73" fmla="*/ 193 h 282"/>
              <a:gd name="T74" fmla="*/ 184 w 273"/>
              <a:gd name="T75" fmla="*/ 184 h 282"/>
              <a:gd name="T76" fmla="*/ 202 w 273"/>
              <a:gd name="T77" fmla="*/ 138 h 282"/>
              <a:gd name="T78" fmla="*/ 202 w 273"/>
              <a:gd name="T79" fmla="*/ 138 h 282"/>
              <a:gd name="T80" fmla="*/ 202 w 273"/>
              <a:gd name="T81" fmla="*/ 138 h 282"/>
              <a:gd name="T82" fmla="*/ 202 w 273"/>
              <a:gd name="T83" fmla="*/ 138 h 282"/>
              <a:gd name="T84" fmla="*/ 231 w 273"/>
              <a:gd name="T85" fmla="*/ 138 h 282"/>
              <a:gd name="T86" fmla="*/ 205 w 273"/>
              <a:gd name="T87" fmla="*/ 205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73" h="282">
                <a:moveTo>
                  <a:pt x="265" y="0"/>
                </a:moveTo>
                <a:cubicBezTo>
                  <a:pt x="8" y="0"/>
                  <a:pt x="8" y="0"/>
                  <a:pt x="8" y="0"/>
                </a:cubicBezTo>
                <a:cubicBezTo>
                  <a:pt x="4" y="0"/>
                  <a:pt x="0" y="3"/>
                  <a:pt x="0" y="7"/>
                </a:cubicBezTo>
                <a:cubicBezTo>
                  <a:pt x="0" y="245"/>
                  <a:pt x="0" y="245"/>
                  <a:pt x="0" y="245"/>
                </a:cubicBezTo>
                <a:cubicBezTo>
                  <a:pt x="0" y="265"/>
                  <a:pt x="17" y="282"/>
                  <a:pt x="37" y="282"/>
                </a:cubicBezTo>
                <a:cubicBezTo>
                  <a:pt x="236" y="282"/>
                  <a:pt x="236" y="282"/>
                  <a:pt x="236" y="282"/>
                </a:cubicBezTo>
                <a:cubicBezTo>
                  <a:pt x="256" y="282"/>
                  <a:pt x="273" y="265"/>
                  <a:pt x="273" y="245"/>
                </a:cubicBezTo>
                <a:cubicBezTo>
                  <a:pt x="273" y="7"/>
                  <a:pt x="273" y="7"/>
                  <a:pt x="273" y="7"/>
                </a:cubicBezTo>
                <a:cubicBezTo>
                  <a:pt x="273" y="3"/>
                  <a:pt x="269" y="0"/>
                  <a:pt x="265" y="0"/>
                </a:cubicBezTo>
                <a:close/>
                <a:moveTo>
                  <a:pt x="81" y="81"/>
                </a:moveTo>
                <a:cubicBezTo>
                  <a:pt x="113" y="50"/>
                  <a:pt x="162" y="47"/>
                  <a:pt x="197" y="72"/>
                </a:cubicBezTo>
                <a:cubicBezTo>
                  <a:pt x="204" y="65"/>
                  <a:pt x="214" y="56"/>
                  <a:pt x="214" y="56"/>
                </a:cubicBezTo>
                <a:cubicBezTo>
                  <a:pt x="220" y="50"/>
                  <a:pt x="225" y="55"/>
                  <a:pt x="225" y="60"/>
                </a:cubicBezTo>
                <a:cubicBezTo>
                  <a:pt x="225" y="118"/>
                  <a:pt x="225" y="118"/>
                  <a:pt x="225" y="118"/>
                </a:cubicBezTo>
                <a:cubicBezTo>
                  <a:pt x="225" y="120"/>
                  <a:pt x="223" y="122"/>
                  <a:pt x="221" y="122"/>
                </a:cubicBezTo>
                <a:cubicBezTo>
                  <a:pt x="213" y="122"/>
                  <a:pt x="213" y="122"/>
                  <a:pt x="213" y="122"/>
                </a:cubicBezTo>
                <a:cubicBezTo>
                  <a:pt x="211" y="122"/>
                  <a:pt x="209" y="122"/>
                  <a:pt x="209" y="122"/>
                </a:cubicBezTo>
                <a:cubicBezTo>
                  <a:pt x="209" y="122"/>
                  <a:pt x="207" y="122"/>
                  <a:pt x="205" y="122"/>
                </a:cubicBezTo>
                <a:cubicBezTo>
                  <a:pt x="163" y="122"/>
                  <a:pt x="163" y="122"/>
                  <a:pt x="163" y="122"/>
                </a:cubicBezTo>
                <a:cubicBezTo>
                  <a:pt x="160" y="122"/>
                  <a:pt x="152" y="118"/>
                  <a:pt x="159" y="110"/>
                </a:cubicBezTo>
                <a:cubicBezTo>
                  <a:pt x="159" y="110"/>
                  <a:pt x="168" y="101"/>
                  <a:pt x="175" y="93"/>
                </a:cubicBezTo>
                <a:cubicBezTo>
                  <a:pt x="153" y="79"/>
                  <a:pt x="122" y="82"/>
                  <a:pt x="102" y="102"/>
                </a:cubicBezTo>
                <a:cubicBezTo>
                  <a:pt x="90" y="115"/>
                  <a:pt x="84" y="132"/>
                  <a:pt x="85" y="148"/>
                </a:cubicBezTo>
                <a:cubicBezTo>
                  <a:pt x="55" y="148"/>
                  <a:pt x="55" y="148"/>
                  <a:pt x="55" y="148"/>
                </a:cubicBezTo>
                <a:cubicBezTo>
                  <a:pt x="54" y="124"/>
                  <a:pt x="63" y="99"/>
                  <a:pt x="81" y="81"/>
                </a:cubicBezTo>
                <a:close/>
                <a:moveTo>
                  <a:pt x="205" y="205"/>
                </a:moveTo>
                <a:cubicBezTo>
                  <a:pt x="174" y="236"/>
                  <a:pt x="125" y="239"/>
                  <a:pt x="90" y="214"/>
                </a:cubicBezTo>
                <a:cubicBezTo>
                  <a:pt x="83" y="221"/>
                  <a:pt x="73" y="230"/>
                  <a:pt x="73" y="230"/>
                </a:cubicBezTo>
                <a:cubicBezTo>
                  <a:pt x="67" y="236"/>
                  <a:pt x="61" y="231"/>
                  <a:pt x="61" y="226"/>
                </a:cubicBezTo>
                <a:cubicBezTo>
                  <a:pt x="61" y="168"/>
                  <a:pt x="61" y="168"/>
                  <a:pt x="61" y="168"/>
                </a:cubicBezTo>
                <a:cubicBezTo>
                  <a:pt x="61" y="166"/>
                  <a:pt x="63" y="164"/>
                  <a:pt x="66" y="164"/>
                </a:cubicBezTo>
                <a:cubicBezTo>
                  <a:pt x="74" y="164"/>
                  <a:pt x="74" y="164"/>
                  <a:pt x="74" y="164"/>
                </a:cubicBezTo>
                <a:cubicBezTo>
                  <a:pt x="76" y="164"/>
                  <a:pt x="78" y="164"/>
                  <a:pt x="78" y="164"/>
                </a:cubicBezTo>
                <a:cubicBezTo>
                  <a:pt x="78" y="164"/>
                  <a:pt x="80" y="164"/>
                  <a:pt x="82" y="164"/>
                </a:cubicBezTo>
                <a:cubicBezTo>
                  <a:pt x="124" y="164"/>
                  <a:pt x="124" y="164"/>
                  <a:pt x="124" y="164"/>
                </a:cubicBezTo>
                <a:cubicBezTo>
                  <a:pt x="127" y="164"/>
                  <a:pt x="134" y="168"/>
                  <a:pt x="128" y="176"/>
                </a:cubicBezTo>
                <a:cubicBezTo>
                  <a:pt x="128" y="176"/>
                  <a:pt x="119" y="185"/>
                  <a:pt x="111" y="193"/>
                </a:cubicBezTo>
                <a:cubicBezTo>
                  <a:pt x="134" y="207"/>
                  <a:pt x="164" y="204"/>
                  <a:pt x="184" y="184"/>
                </a:cubicBezTo>
                <a:cubicBezTo>
                  <a:pt x="197" y="171"/>
                  <a:pt x="203" y="154"/>
                  <a:pt x="202" y="138"/>
                </a:cubicBezTo>
                <a:cubicBezTo>
                  <a:pt x="202" y="138"/>
                  <a:pt x="202" y="138"/>
                  <a:pt x="202" y="138"/>
                </a:cubicBezTo>
                <a:cubicBezTo>
                  <a:pt x="202" y="138"/>
                  <a:pt x="202" y="138"/>
                  <a:pt x="202" y="138"/>
                </a:cubicBezTo>
                <a:cubicBezTo>
                  <a:pt x="202" y="138"/>
                  <a:pt x="202" y="138"/>
                  <a:pt x="202" y="138"/>
                </a:cubicBezTo>
                <a:cubicBezTo>
                  <a:pt x="231" y="138"/>
                  <a:pt x="231" y="138"/>
                  <a:pt x="231" y="138"/>
                </a:cubicBezTo>
                <a:cubicBezTo>
                  <a:pt x="232" y="162"/>
                  <a:pt x="224" y="187"/>
                  <a:pt x="205" y="205"/>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64" name="Freeform 52">
            <a:extLst>
              <a:ext uri="{FF2B5EF4-FFF2-40B4-BE49-F238E27FC236}">
                <a16:creationId xmlns:a16="http://schemas.microsoft.com/office/drawing/2014/main" id="{1765025D-FACB-467F-AFF0-4FA9CC2424A0}"/>
              </a:ext>
            </a:extLst>
          </p:cNvPr>
          <p:cNvSpPr>
            <a:spLocks/>
          </p:cNvSpPr>
          <p:nvPr/>
        </p:nvSpPr>
        <p:spPr bwMode="auto">
          <a:xfrm>
            <a:off x="3153430" y="3070270"/>
            <a:ext cx="175498" cy="39581"/>
          </a:xfrm>
          <a:custGeom>
            <a:avLst/>
            <a:gdLst>
              <a:gd name="T0" fmla="*/ 124 w 144"/>
              <a:gd name="T1" fmla="*/ 0 h 32"/>
              <a:gd name="T2" fmla="*/ 19 w 144"/>
              <a:gd name="T3" fmla="*/ 0 h 32"/>
              <a:gd name="T4" fmla="*/ 0 w 144"/>
              <a:gd name="T5" fmla="*/ 16 h 32"/>
              <a:gd name="T6" fmla="*/ 19 w 144"/>
              <a:gd name="T7" fmla="*/ 32 h 32"/>
              <a:gd name="T8" fmla="*/ 124 w 144"/>
              <a:gd name="T9" fmla="*/ 32 h 32"/>
              <a:gd name="T10" fmla="*/ 144 w 144"/>
              <a:gd name="T11" fmla="*/ 16 h 32"/>
              <a:gd name="T12" fmla="*/ 124 w 144"/>
              <a:gd name="T13" fmla="*/ 0 h 32"/>
            </a:gdLst>
            <a:ahLst/>
            <a:cxnLst>
              <a:cxn ang="0">
                <a:pos x="T0" y="T1"/>
              </a:cxn>
              <a:cxn ang="0">
                <a:pos x="T2" y="T3"/>
              </a:cxn>
              <a:cxn ang="0">
                <a:pos x="T4" y="T5"/>
              </a:cxn>
              <a:cxn ang="0">
                <a:pos x="T6" y="T7"/>
              </a:cxn>
              <a:cxn ang="0">
                <a:pos x="T8" y="T9"/>
              </a:cxn>
              <a:cxn ang="0">
                <a:pos x="T10" y="T11"/>
              </a:cxn>
              <a:cxn ang="0">
                <a:pos x="T12" y="T13"/>
              </a:cxn>
            </a:cxnLst>
            <a:rect l="0" t="0" r="r" b="b"/>
            <a:pathLst>
              <a:path w="144" h="32">
                <a:moveTo>
                  <a:pt x="124" y="0"/>
                </a:moveTo>
                <a:cubicBezTo>
                  <a:pt x="19" y="0"/>
                  <a:pt x="19" y="0"/>
                  <a:pt x="19" y="0"/>
                </a:cubicBezTo>
                <a:cubicBezTo>
                  <a:pt x="9" y="0"/>
                  <a:pt x="0" y="7"/>
                  <a:pt x="0" y="16"/>
                </a:cubicBezTo>
                <a:cubicBezTo>
                  <a:pt x="0" y="25"/>
                  <a:pt x="9" y="32"/>
                  <a:pt x="19" y="32"/>
                </a:cubicBezTo>
                <a:cubicBezTo>
                  <a:pt x="124" y="32"/>
                  <a:pt x="124" y="32"/>
                  <a:pt x="124" y="32"/>
                </a:cubicBezTo>
                <a:cubicBezTo>
                  <a:pt x="135" y="32"/>
                  <a:pt x="144" y="25"/>
                  <a:pt x="144" y="16"/>
                </a:cubicBezTo>
                <a:cubicBezTo>
                  <a:pt x="144" y="7"/>
                  <a:pt x="135" y="0"/>
                  <a:pt x="124"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65" name="Freeform 53">
            <a:extLst>
              <a:ext uri="{FF2B5EF4-FFF2-40B4-BE49-F238E27FC236}">
                <a16:creationId xmlns:a16="http://schemas.microsoft.com/office/drawing/2014/main" id="{68C4E48B-7B5B-4BCF-AA88-AA20889CF4E2}"/>
              </a:ext>
            </a:extLst>
          </p:cNvPr>
          <p:cNvSpPr>
            <a:spLocks/>
          </p:cNvSpPr>
          <p:nvPr/>
        </p:nvSpPr>
        <p:spPr bwMode="auto">
          <a:xfrm>
            <a:off x="3153430" y="3127027"/>
            <a:ext cx="175498" cy="38834"/>
          </a:xfrm>
          <a:custGeom>
            <a:avLst/>
            <a:gdLst>
              <a:gd name="T0" fmla="*/ 144 w 144"/>
              <a:gd name="T1" fmla="*/ 16 h 32"/>
              <a:gd name="T2" fmla="*/ 124 w 144"/>
              <a:gd name="T3" fmla="*/ 0 h 32"/>
              <a:gd name="T4" fmla="*/ 19 w 144"/>
              <a:gd name="T5" fmla="*/ 0 h 32"/>
              <a:gd name="T6" fmla="*/ 0 w 144"/>
              <a:gd name="T7" fmla="*/ 16 h 32"/>
              <a:gd name="T8" fmla="*/ 19 w 144"/>
              <a:gd name="T9" fmla="*/ 32 h 32"/>
              <a:gd name="T10" fmla="*/ 124 w 144"/>
              <a:gd name="T11" fmla="*/ 32 h 32"/>
              <a:gd name="T12" fmla="*/ 144 w 144"/>
              <a:gd name="T13" fmla="*/ 16 h 32"/>
            </a:gdLst>
            <a:ahLst/>
            <a:cxnLst>
              <a:cxn ang="0">
                <a:pos x="T0" y="T1"/>
              </a:cxn>
              <a:cxn ang="0">
                <a:pos x="T2" y="T3"/>
              </a:cxn>
              <a:cxn ang="0">
                <a:pos x="T4" y="T5"/>
              </a:cxn>
              <a:cxn ang="0">
                <a:pos x="T6" y="T7"/>
              </a:cxn>
              <a:cxn ang="0">
                <a:pos x="T8" y="T9"/>
              </a:cxn>
              <a:cxn ang="0">
                <a:pos x="T10" y="T11"/>
              </a:cxn>
              <a:cxn ang="0">
                <a:pos x="T12" y="T13"/>
              </a:cxn>
            </a:cxnLst>
            <a:rect l="0" t="0" r="r" b="b"/>
            <a:pathLst>
              <a:path w="144" h="32">
                <a:moveTo>
                  <a:pt x="144" y="16"/>
                </a:moveTo>
                <a:cubicBezTo>
                  <a:pt x="144" y="7"/>
                  <a:pt x="135" y="0"/>
                  <a:pt x="124" y="0"/>
                </a:cubicBezTo>
                <a:cubicBezTo>
                  <a:pt x="19" y="0"/>
                  <a:pt x="19" y="0"/>
                  <a:pt x="19" y="0"/>
                </a:cubicBezTo>
                <a:cubicBezTo>
                  <a:pt x="9" y="0"/>
                  <a:pt x="0" y="7"/>
                  <a:pt x="0" y="16"/>
                </a:cubicBezTo>
                <a:cubicBezTo>
                  <a:pt x="0" y="25"/>
                  <a:pt x="9" y="32"/>
                  <a:pt x="19" y="32"/>
                </a:cubicBezTo>
                <a:cubicBezTo>
                  <a:pt x="124" y="32"/>
                  <a:pt x="124" y="32"/>
                  <a:pt x="124" y="32"/>
                </a:cubicBezTo>
                <a:cubicBezTo>
                  <a:pt x="135" y="32"/>
                  <a:pt x="144" y="25"/>
                  <a:pt x="144" y="16"/>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66" name="Freeform 54">
            <a:extLst>
              <a:ext uri="{FF2B5EF4-FFF2-40B4-BE49-F238E27FC236}">
                <a16:creationId xmlns:a16="http://schemas.microsoft.com/office/drawing/2014/main" id="{1273CB58-7CF6-4B79-90C9-C6AA46AE66A9}"/>
              </a:ext>
            </a:extLst>
          </p:cNvPr>
          <p:cNvSpPr>
            <a:spLocks/>
          </p:cNvSpPr>
          <p:nvPr/>
        </p:nvSpPr>
        <p:spPr bwMode="auto">
          <a:xfrm>
            <a:off x="3169859" y="3184530"/>
            <a:ext cx="141146" cy="39581"/>
          </a:xfrm>
          <a:custGeom>
            <a:avLst/>
            <a:gdLst>
              <a:gd name="T0" fmla="*/ 20 w 115"/>
              <a:gd name="T1" fmla="*/ 0 h 32"/>
              <a:gd name="T2" fmla="*/ 0 w 115"/>
              <a:gd name="T3" fmla="*/ 16 h 32"/>
              <a:gd name="T4" fmla="*/ 20 w 115"/>
              <a:gd name="T5" fmla="*/ 32 h 32"/>
              <a:gd name="T6" fmla="*/ 96 w 115"/>
              <a:gd name="T7" fmla="*/ 32 h 32"/>
              <a:gd name="T8" fmla="*/ 115 w 115"/>
              <a:gd name="T9" fmla="*/ 16 h 32"/>
              <a:gd name="T10" fmla="*/ 96 w 115"/>
              <a:gd name="T11" fmla="*/ 0 h 32"/>
              <a:gd name="T12" fmla="*/ 20 w 115"/>
              <a:gd name="T13" fmla="*/ 0 h 32"/>
            </a:gdLst>
            <a:ahLst/>
            <a:cxnLst>
              <a:cxn ang="0">
                <a:pos x="T0" y="T1"/>
              </a:cxn>
              <a:cxn ang="0">
                <a:pos x="T2" y="T3"/>
              </a:cxn>
              <a:cxn ang="0">
                <a:pos x="T4" y="T5"/>
              </a:cxn>
              <a:cxn ang="0">
                <a:pos x="T6" y="T7"/>
              </a:cxn>
              <a:cxn ang="0">
                <a:pos x="T8" y="T9"/>
              </a:cxn>
              <a:cxn ang="0">
                <a:pos x="T10" y="T11"/>
              </a:cxn>
              <a:cxn ang="0">
                <a:pos x="T12" y="T13"/>
              </a:cxn>
            </a:cxnLst>
            <a:rect l="0" t="0" r="r" b="b"/>
            <a:pathLst>
              <a:path w="115" h="32">
                <a:moveTo>
                  <a:pt x="20" y="0"/>
                </a:moveTo>
                <a:cubicBezTo>
                  <a:pt x="9" y="0"/>
                  <a:pt x="0" y="7"/>
                  <a:pt x="0" y="16"/>
                </a:cubicBezTo>
                <a:cubicBezTo>
                  <a:pt x="0" y="24"/>
                  <a:pt x="9" y="32"/>
                  <a:pt x="20" y="32"/>
                </a:cubicBezTo>
                <a:cubicBezTo>
                  <a:pt x="96" y="32"/>
                  <a:pt x="96" y="32"/>
                  <a:pt x="96" y="32"/>
                </a:cubicBezTo>
                <a:cubicBezTo>
                  <a:pt x="106" y="32"/>
                  <a:pt x="115" y="24"/>
                  <a:pt x="115" y="16"/>
                </a:cubicBezTo>
                <a:cubicBezTo>
                  <a:pt x="115" y="7"/>
                  <a:pt x="106" y="0"/>
                  <a:pt x="96" y="0"/>
                </a:cubicBezTo>
                <a:lnTo>
                  <a:pt x="2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67" name="Freeform 55">
            <a:extLst>
              <a:ext uri="{FF2B5EF4-FFF2-40B4-BE49-F238E27FC236}">
                <a16:creationId xmlns:a16="http://schemas.microsoft.com/office/drawing/2014/main" id="{DE54C757-5159-4DF3-A7AA-CB73075B2A30}"/>
              </a:ext>
            </a:extLst>
          </p:cNvPr>
          <p:cNvSpPr>
            <a:spLocks noEditPoints="1"/>
          </p:cNvSpPr>
          <p:nvPr/>
        </p:nvSpPr>
        <p:spPr bwMode="auto">
          <a:xfrm>
            <a:off x="3079496" y="2681186"/>
            <a:ext cx="323365" cy="371907"/>
          </a:xfrm>
          <a:custGeom>
            <a:avLst/>
            <a:gdLst>
              <a:gd name="T0" fmla="*/ 132 w 264"/>
              <a:gd name="T1" fmla="*/ 0 h 303"/>
              <a:gd name="T2" fmla="*/ 0 w 264"/>
              <a:gd name="T3" fmla="*/ 132 h 303"/>
              <a:gd name="T4" fmla="*/ 24 w 264"/>
              <a:gd name="T5" fmla="*/ 210 h 303"/>
              <a:gd name="T6" fmla="*/ 50 w 264"/>
              <a:gd name="T7" fmla="*/ 288 h 303"/>
              <a:gd name="T8" fmla="*/ 66 w 264"/>
              <a:gd name="T9" fmla="*/ 303 h 303"/>
              <a:gd name="T10" fmla="*/ 198 w 264"/>
              <a:gd name="T11" fmla="*/ 303 h 303"/>
              <a:gd name="T12" fmla="*/ 211 w 264"/>
              <a:gd name="T13" fmla="*/ 296 h 303"/>
              <a:gd name="T14" fmla="*/ 214 w 264"/>
              <a:gd name="T15" fmla="*/ 284 h 303"/>
              <a:gd name="T16" fmla="*/ 214 w 264"/>
              <a:gd name="T17" fmla="*/ 281 h 303"/>
              <a:gd name="T18" fmla="*/ 240 w 264"/>
              <a:gd name="T19" fmla="*/ 210 h 303"/>
              <a:gd name="T20" fmla="*/ 264 w 264"/>
              <a:gd name="T21" fmla="*/ 132 h 303"/>
              <a:gd name="T22" fmla="*/ 132 w 264"/>
              <a:gd name="T23" fmla="*/ 0 h 303"/>
              <a:gd name="T24" fmla="*/ 217 w 264"/>
              <a:gd name="T25" fmla="*/ 92 h 303"/>
              <a:gd name="T26" fmla="*/ 214 w 264"/>
              <a:gd name="T27" fmla="*/ 101 h 303"/>
              <a:gd name="T28" fmla="*/ 210 w 264"/>
              <a:gd name="T29" fmla="*/ 113 h 303"/>
              <a:gd name="T30" fmla="*/ 205 w 264"/>
              <a:gd name="T31" fmla="*/ 127 h 303"/>
              <a:gd name="T32" fmla="*/ 199 w 264"/>
              <a:gd name="T33" fmla="*/ 141 h 303"/>
              <a:gd name="T34" fmla="*/ 192 w 264"/>
              <a:gd name="T35" fmla="*/ 155 h 303"/>
              <a:gd name="T36" fmla="*/ 174 w 264"/>
              <a:gd name="T37" fmla="*/ 182 h 303"/>
              <a:gd name="T38" fmla="*/ 162 w 264"/>
              <a:gd name="T39" fmla="*/ 194 h 303"/>
              <a:gd name="T40" fmla="*/ 149 w 264"/>
              <a:gd name="T41" fmla="*/ 204 h 303"/>
              <a:gd name="T42" fmla="*/ 135 w 264"/>
              <a:gd name="T43" fmla="*/ 214 h 303"/>
              <a:gd name="T44" fmla="*/ 120 w 264"/>
              <a:gd name="T45" fmla="*/ 222 h 303"/>
              <a:gd name="T46" fmla="*/ 106 w 264"/>
              <a:gd name="T47" fmla="*/ 228 h 303"/>
              <a:gd name="T48" fmla="*/ 93 w 264"/>
              <a:gd name="T49" fmla="*/ 232 h 303"/>
              <a:gd name="T50" fmla="*/ 86 w 264"/>
              <a:gd name="T51" fmla="*/ 234 h 303"/>
              <a:gd name="T52" fmla="*/ 89 w 264"/>
              <a:gd name="T53" fmla="*/ 225 h 303"/>
              <a:gd name="T54" fmla="*/ 110 w 264"/>
              <a:gd name="T55" fmla="*/ 184 h 303"/>
              <a:gd name="T56" fmla="*/ 123 w 264"/>
              <a:gd name="T57" fmla="*/ 164 h 303"/>
              <a:gd name="T58" fmla="*/ 131 w 264"/>
              <a:gd name="T59" fmla="*/ 155 h 303"/>
              <a:gd name="T60" fmla="*/ 138 w 264"/>
              <a:gd name="T61" fmla="*/ 148 h 303"/>
              <a:gd name="T62" fmla="*/ 144 w 264"/>
              <a:gd name="T63" fmla="*/ 142 h 303"/>
              <a:gd name="T64" fmla="*/ 149 w 264"/>
              <a:gd name="T65" fmla="*/ 138 h 303"/>
              <a:gd name="T66" fmla="*/ 154 w 264"/>
              <a:gd name="T67" fmla="*/ 135 h 303"/>
              <a:gd name="T68" fmla="*/ 149 w 264"/>
              <a:gd name="T69" fmla="*/ 138 h 303"/>
              <a:gd name="T70" fmla="*/ 143 w 264"/>
              <a:gd name="T71" fmla="*/ 141 h 303"/>
              <a:gd name="T72" fmla="*/ 137 w 264"/>
              <a:gd name="T73" fmla="*/ 147 h 303"/>
              <a:gd name="T74" fmla="*/ 129 w 264"/>
              <a:gd name="T75" fmla="*/ 153 h 303"/>
              <a:gd name="T76" fmla="*/ 121 w 264"/>
              <a:gd name="T77" fmla="*/ 162 h 303"/>
              <a:gd name="T78" fmla="*/ 105 w 264"/>
              <a:gd name="T79" fmla="*/ 181 h 303"/>
              <a:gd name="T80" fmla="*/ 81 w 264"/>
              <a:gd name="T81" fmla="*/ 222 h 303"/>
              <a:gd name="T82" fmla="*/ 78 w 264"/>
              <a:gd name="T83" fmla="*/ 228 h 303"/>
              <a:gd name="T84" fmla="*/ 77 w 264"/>
              <a:gd name="T85" fmla="*/ 223 h 303"/>
              <a:gd name="T86" fmla="*/ 74 w 264"/>
              <a:gd name="T87" fmla="*/ 210 h 303"/>
              <a:gd name="T88" fmla="*/ 73 w 264"/>
              <a:gd name="T89" fmla="*/ 193 h 303"/>
              <a:gd name="T90" fmla="*/ 80 w 264"/>
              <a:gd name="T91" fmla="*/ 156 h 303"/>
              <a:gd name="T92" fmla="*/ 88 w 264"/>
              <a:gd name="T93" fmla="*/ 137 h 303"/>
              <a:gd name="T94" fmla="*/ 101 w 264"/>
              <a:gd name="T95" fmla="*/ 119 h 303"/>
              <a:gd name="T96" fmla="*/ 117 w 264"/>
              <a:gd name="T97" fmla="*/ 104 h 303"/>
              <a:gd name="T98" fmla="*/ 135 w 264"/>
              <a:gd name="T99" fmla="*/ 92 h 303"/>
              <a:gd name="T100" fmla="*/ 155 w 264"/>
              <a:gd name="T101" fmla="*/ 84 h 303"/>
              <a:gd name="T102" fmla="*/ 174 w 264"/>
              <a:gd name="T103" fmla="*/ 80 h 303"/>
              <a:gd name="T104" fmla="*/ 192 w 264"/>
              <a:gd name="T105" fmla="*/ 81 h 303"/>
              <a:gd name="T106" fmla="*/ 206 w 264"/>
              <a:gd name="T107" fmla="*/ 84 h 303"/>
              <a:gd name="T108" fmla="*/ 215 w 264"/>
              <a:gd name="T109" fmla="*/ 87 h 303"/>
              <a:gd name="T110" fmla="*/ 218 w 264"/>
              <a:gd name="T111" fmla="*/ 89 h 303"/>
              <a:gd name="T112" fmla="*/ 217 w 264"/>
              <a:gd name="T113" fmla="*/ 92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64" h="303">
                <a:moveTo>
                  <a:pt x="132" y="0"/>
                </a:moveTo>
                <a:cubicBezTo>
                  <a:pt x="59" y="0"/>
                  <a:pt x="0" y="59"/>
                  <a:pt x="0" y="132"/>
                </a:cubicBezTo>
                <a:cubicBezTo>
                  <a:pt x="0" y="169"/>
                  <a:pt x="11" y="189"/>
                  <a:pt x="24" y="210"/>
                </a:cubicBezTo>
                <a:cubicBezTo>
                  <a:pt x="35" y="230"/>
                  <a:pt x="47" y="251"/>
                  <a:pt x="50" y="288"/>
                </a:cubicBezTo>
                <a:cubicBezTo>
                  <a:pt x="51" y="296"/>
                  <a:pt x="57" y="303"/>
                  <a:pt x="66" y="303"/>
                </a:cubicBezTo>
                <a:cubicBezTo>
                  <a:pt x="198" y="303"/>
                  <a:pt x="198" y="303"/>
                  <a:pt x="198" y="303"/>
                </a:cubicBezTo>
                <a:cubicBezTo>
                  <a:pt x="203" y="303"/>
                  <a:pt x="208" y="300"/>
                  <a:pt x="211" y="296"/>
                </a:cubicBezTo>
                <a:cubicBezTo>
                  <a:pt x="213" y="293"/>
                  <a:pt x="213" y="288"/>
                  <a:pt x="214" y="284"/>
                </a:cubicBezTo>
                <a:cubicBezTo>
                  <a:pt x="214" y="283"/>
                  <a:pt x="214" y="282"/>
                  <a:pt x="214" y="281"/>
                </a:cubicBezTo>
                <a:cubicBezTo>
                  <a:pt x="219" y="248"/>
                  <a:pt x="230" y="229"/>
                  <a:pt x="240" y="210"/>
                </a:cubicBezTo>
                <a:cubicBezTo>
                  <a:pt x="252" y="189"/>
                  <a:pt x="264" y="169"/>
                  <a:pt x="264" y="132"/>
                </a:cubicBezTo>
                <a:cubicBezTo>
                  <a:pt x="264" y="59"/>
                  <a:pt x="205" y="0"/>
                  <a:pt x="132" y="0"/>
                </a:cubicBezTo>
                <a:close/>
                <a:moveTo>
                  <a:pt x="217" y="92"/>
                </a:moveTo>
                <a:cubicBezTo>
                  <a:pt x="216" y="95"/>
                  <a:pt x="215" y="98"/>
                  <a:pt x="214" y="101"/>
                </a:cubicBezTo>
                <a:cubicBezTo>
                  <a:pt x="213" y="105"/>
                  <a:pt x="211" y="109"/>
                  <a:pt x="210" y="113"/>
                </a:cubicBezTo>
                <a:cubicBezTo>
                  <a:pt x="208" y="118"/>
                  <a:pt x="206" y="122"/>
                  <a:pt x="205" y="127"/>
                </a:cubicBezTo>
                <a:cubicBezTo>
                  <a:pt x="203" y="132"/>
                  <a:pt x="201" y="137"/>
                  <a:pt x="199" y="141"/>
                </a:cubicBezTo>
                <a:cubicBezTo>
                  <a:pt x="197" y="146"/>
                  <a:pt x="195" y="151"/>
                  <a:pt x="192" y="155"/>
                </a:cubicBezTo>
                <a:cubicBezTo>
                  <a:pt x="187" y="165"/>
                  <a:pt x="181" y="173"/>
                  <a:pt x="174" y="182"/>
                </a:cubicBezTo>
                <a:cubicBezTo>
                  <a:pt x="170" y="186"/>
                  <a:pt x="166" y="190"/>
                  <a:pt x="162" y="194"/>
                </a:cubicBezTo>
                <a:cubicBezTo>
                  <a:pt x="158" y="198"/>
                  <a:pt x="154" y="201"/>
                  <a:pt x="149" y="204"/>
                </a:cubicBezTo>
                <a:cubicBezTo>
                  <a:pt x="144" y="208"/>
                  <a:pt x="140" y="211"/>
                  <a:pt x="135" y="214"/>
                </a:cubicBezTo>
                <a:cubicBezTo>
                  <a:pt x="130" y="217"/>
                  <a:pt x="125" y="219"/>
                  <a:pt x="120" y="222"/>
                </a:cubicBezTo>
                <a:cubicBezTo>
                  <a:pt x="115" y="224"/>
                  <a:pt x="110" y="226"/>
                  <a:pt x="106" y="228"/>
                </a:cubicBezTo>
                <a:cubicBezTo>
                  <a:pt x="102" y="230"/>
                  <a:pt x="97" y="231"/>
                  <a:pt x="93" y="232"/>
                </a:cubicBezTo>
                <a:cubicBezTo>
                  <a:pt x="91" y="233"/>
                  <a:pt x="88" y="234"/>
                  <a:pt x="86" y="234"/>
                </a:cubicBezTo>
                <a:cubicBezTo>
                  <a:pt x="87" y="232"/>
                  <a:pt x="88" y="229"/>
                  <a:pt x="89" y="225"/>
                </a:cubicBezTo>
                <a:cubicBezTo>
                  <a:pt x="94" y="214"/>
                  <a:pt x="101" y="199"/>
                  <a:pt x="110" y="184"/>
                </a:cubicBezTo>
                <a:cubicBezTo>
                  <a:pt x="114" y="177"/>
                  <a:pt x="119" y="170"/>
                  <a:pt x="123" y="164"/>
                </a:cubicBezTo>
                <a:cubicBezTo>
                  <a:pt x="126" y="161"/>
                  <a:pt x="128" y="158"/>
                  <a:pt x="131" y="155"/>
                </a:cubicBezTo>
                <a:cubicBezTo>
                  <a:pt x="133" y="153"/>
                  <a:pt x="135" y="150"/>
                  <a:pt x="138" y="148"/>
                </a:cubicBezTo>
                <a:cubicBezTo>
                  <a:pt x="140" y="146"/>
                  <a:pt x="142" y="144"/>
                  <a:pt x="144" y="142"/>
                </a:cubicBezTo>
                <a:cubicBezTo>
                  <a:pt x="146" y="140"/>
                  <a:pt x="148" y="139"/>
                  <a:pt x="149" y="138"/>
                </a:cubicBezTo>
                <a:cubicBezTo>
                  <a:pt x="152" y="136"/>
                  <a:pt x="154" y="135"/>
                  <a:pt x="154" y="135"/>
                </a:cubicBezTo>
                <a:cubicBezTo>
                  <a:pt x="154" y="135"/>
                  <a:pt x="152" y="136"/>
                  <a:pt x="149" y="138"/>
                </a:cubicBezTo>
                <a:cubicBezTo>
                  <a:pt x="148" y="139"/>
                  <a:pt x="145" y="140"/>
                  <a:pt x="143" y="141"/>
                </a:cubicBezTo>
                <a:cubicBezTo>
                  <a:pt x="141" y="143"/>
                  <a:pt x="139" y="145"/>
                  <a:pt x="137" y="147"/>
                </a:cubicBezTo>
                <a:cubicBezTo>
                  <a:pt x="134" y="149"/>
                  <a:pt x="132" y="151"/>
                  <a:pt x="129" y="153"/>
                </a:cubicBezTo>
                <a:cubicBezTo>
                  <a:pt x="126" y="156"/>
                  <a:pt x="124" y="159"/>
                  <a:pt x="121" y="162"/>
                </a:cubicBezTo>
                <a:cubicBezTo>
                  <a:pt x="116" y="168"/>
                  <a:pt x="110" y="174"/>
                  <a:pt x="105" y="181"/>
                </a:cubicBezTo>
                <a:cubicBezTo>
                  <a:pt x="95" y="195"/>
                  <a:pt x="87" y="210"/>
                  <a:pt x="81" y="222"/>
                </a:cubicBezTo>
                <a:cubicBezTo>
                  <a:pt x="80" y="224"/>
                  <a:pt x="79" y="226"/>
                  <a:pt x="78" y="228"/>
                </a:cubicBezTo>
                <a:cubicBezTo>
                  <a:pt x="78" y="227"/>
                  <a:pt x="77" y="225"/>
                  <a:pt x="77" y="223"/>
                </a:cubicBezTo>
                <a:cubicBezTo>
                  <a:pt x="76" y="219"/>
                  <a:pt x="74" y="215"/>
                  <a:pt x="74" y="210"/>
                </a:cubicBezTo>
                <a:cubicBezTo>
                  <a:pt x="73" y="205"/>
                  <a:pt x="73" y="199"/>
                  <a:pt x="73" y="193"/>
                </a:cubicBezTo>
                <a:cubicBezTo>
                  <a:pt x="73" y="182"/>
                  <a:pt x="75" y="168"/>
                  <a:pt x="80" y="156"/>
                </a:cubicBezTo>
                <a:cubicBezTo>
                  <a:pt x="82" y="149"/>
                  <a:pt x="85" y="143"/>
                  <a:pt x="88" y="137"/>
                </a:cubicBezTo>
                <a:cubicBezTo>
                  <a:pt x="92" y="130"/>
                  <a:pt x="96" y="125"/>
                  <a:pt x="101" y="119"/>
                </a:cubicBezTo>
                <a:cubicBezTo>
                  <a:pt x="106" y="114"/>
                  <a:pt x="111" y="108"/>
                  <a:pt x="117" y="104"/>
                </a:cubicBezTo>
                <a:cubicBezTo>
                  <a:pt x="123" y="99"/>
                  <a:pt x="129" y="95"/>
                  <a:pt x="135" y="92"/>
                </a:cubicBezTo>
                <a:cubicBezTo>
                  <a:pt x="142" y="89"/>
                  <a:pt x="148" y="86"/>
                  <a:pt x="155" y="84"/>
                </a:cubicBezTo>
                <a:cubicBezTo>
                  <a:pt x="162" y="82"/>
                  <a:pt x="168" y="81"/>
                  <a:pt x="174" y="80"/>
                </a:cubicBezTo>
                <a:cubicBezTo>
                  <a:pt x="181" y="80"/>
                  <a:pt x="187" y="80"/>
                  <a:pt x="192" y="81"/>
                </a:cubicBezTo>
                <a:cubicBezTo>
                  <a:pt x="197" y="81"/>
                  <a:pt x="202" y="83"/>
                  <a:pt x="206" y="84"/>
                </a:cubicBezTo>
                <a:cubicBezTo>
                  <a:pt x="210" y="85"/>
                  <a:pt x="213" y="87"/>
                  <a:pt x="215" y="87"/>
                </a:cubicBezTo>
                <a:cubicBezTo>
                  <a:pt x="217" y="88"/>
                  <a:pt x="218" y="89"/>
                  <a:pt x="218" y="89"/>
                </a:cubicBezTo>
                <a:cubicBezTo>
                  <a:pt x="218" y="89"/>
                  <a:pt x="217" y="90"/>
                  <a:pt x="217" y="92"/>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68" name="Freeform 56">
            <a:extLst>
              <a:ext uri="{FF2B5EF4-FFF2-40B4-BE49-F238E27FC236}">
                <a16:creationId xmlns:a16="http://schemas.microsoft.com/office/drawing/2014/main" id="{7D21A1F2-861B-4222-A538-D8FFFEB1632F}"/>
              </a:ext>
            </a:extLst>
          </p:cNvPr>
          <p:cNvSpPr>
            <a:spLocks noEditPoints="1"/>
          </p:cNvSpPr>
          <p:nvPr/>
        </p:nvSpPr>
        <p:spPr bwMode="auto">
          <a:xfrm>
            <a:off x="4135499" y="1926331"/>
            <a:ext cx="353406" cy="521418"/>
          </a:xfrm>
          <a:custGeom>
            <a:avLst/>
            <a:gdLst>
              <a:gd name="T0" fmla="*/ 149 w 298"/>
              <a:gd name="T1" fmla="*/ 0 h 438"/>
              <a:gd name="T2" fmla="*/ 0 w 298"/>
              <a:gd name="T3" fmla="*/ 289 h 438"/>
              <a:gd name="T4" fmla="*/ 149 w 298"/>
              <a:gd name="T5" fmla="*/ 438 h 438"/>
              <a:gd name="T6" fmla="*/ 298 w 298"/>
              <a:gd name="T7" fmla="*/ 289 h 438"/>
              <a:gd name="T8" fmla="*/ 149 w 298"/>
              <a:gd name="T9" fmla="*/ 0 h 438"/>
              <a:gd name="T10" fmla="*/ 88 w 298"/>
              <a:gd name="T11" fmla="*/ 225 h 438"/>
              <a:gd name="T12" fmla="*/ 208 w 298"/>
              <a:gd name="T13" fmla="*/ 216 h 438"/>
              <a:gd name="T14" fmla="*/ 226 w 298"/>
              <a:gd name="T15" fmla="*/ 199 h 438"/>
              <a:gd name="T16" fmla="*/ 237 w 298"/>
              <a:gd name="T17" fmla="*/ 203 h 438"/>
              <a:gd name="T18" fmla="*/ 237 w 298"/>
              <a:gd name="T19" fmla="*/ 263 h 438"/>
              <a:gd name="T20" fmla="*/ 233 w 298"/>
              <a:gd name="T21" fmla="*/ 267 h 438"/>
              <a:gd name="T22" fmla="*/ 225 w 298"/>
              <a:gd name="T23" fmla="*/ 267 h 438"/>
              <a:gd name="T24" fmla="*/ 221 w 298"/>
              <a:gd name="T25" fmla="*/ 267 h 438"/>
              <a:gd name="T26" fmla="*/ 217 w 298"/>
              <a:gd name="T27" fmla="*/ 267 h 438"/>
              <a:gd name="T28" fmla="*/ 173 w 298"/>
              <a:gd name="T29" fmla="*/ 267 h 438"/>
              <a:gd name="T30" fmla="*/ 168 w 298"/>
              <a:gd name="T31" fmla="*/ 255 h 438"/>
              <a:gd name="T32" fmla="*/ 186 w 298"/>
              <a:gd name="T33" fmla="*/ 238 h 438"/>
              <a:gd name="T34" fmla="*/ 110 w 298"/>
              <a:gd name="T35" fmla="*/ 247 h 438"/>
              <a:gd name="T36" fmla="*/ 92 w 298"/>
              <a:gd name="T37" fmla="*/ 294 h 438"/>
              <a:gd name="T38" fmla="*/ 61 w 298"/>
              <a:gd name="T39" fmla="*/ 294 h 438"/>
              <a:gd name="T40" fmla="*/ 88 w 298"/>
              <a:gd name="T41" fmla="*/ 225 h 438"/>
              <a:gd name="T42" fmla="*/ 217 w 298"/>
              <a:gd name="T43" fmla="*/ 354 h 438"/>
              <a:gd name="T44" fmla="*/ 97 w 298"/>
              <a:gd name="T45" fmla="*/ 363 h 438"/>
              <a:gd name="T46" fmla="*/ 79 w 298"/>
              <a:gd name="T47" fmla="*/ 380 h 438"/>
              <a:gd name="T48" fmla="*/ 68 w 298"/>
              <a:gd name="T49" fmla="*/ 375 h 438"/>
              <a:gd name="T50" fmla="*/ 68 w 298"/>
              <a:gd name="T51" fmla="*/ 315 h 438"/>
              <a:gd name="T52" fmla="*/ 72 w 298"/>
              <a:gd name="T53" fmla="*/ 311 h 438"/>
              <a:gd name="T54" fmla="*/ 80 w 298"/>
              <a:gd name="T55" fmla="*/ 311 h 438"/>
              <a:gd name="T56" fmla="*/ 84 w 298"/>
              <a:gd name="T57" fmla="*/ 311 h 438"/>
              <a:gd name="T58" fmla="*/ 89 w 298"/>
              <a:gd name="T59" fmla="*/ 311 h 438"/>
              <a:gd name="T60" fmla="*/ 132 w 298"/>
              <a:gd name="T61" fmla="*/ 311 h 438"/>
              <a:gd name="T62" fmla="*/ 137 w 298"/>
              <a:gd name="T63" fmla="*/ 323 h 438"/>
              <a:gd name="T64" fmla="*/ 119 w 298"/>
              <a:gd name="T65" fmla="*/ 341 h 438"/>
              <a:gd name="T66" fmla="*/ 195 w 298"/>
              <a:gd name="T67" fmla="*/ 332 h 438"/>
              <a:gd name="T68" fmla="*/ 213 w 298"/>
              <a:gd name="T69" fmla="*/ 284 h 438"/>
              <a:gd name="T70" fmla="*/ 213 w 298"/>
              <a:gd name="T71" fmla="*/ 284 h 438"/>
              <a:gd name="T72" fmla="*/ 213 w 298"/>
              <a:gd name="T73" fmla="*/ 284 h 438"/>
              <a:gd name="T74" fmla="*/ 213 w 298"/>
              <a:gd name="T75" fmla="*/ 284 h 438"/>
              <a:gd name="T76" fmla="*/ 244 w 298"/>
              <a:gd name="T77" fmla="*/ 284 h 438"/>
              <a:gd name="T78" fmla="*/ 217 w 298"/>
              <a:gd name="T79" fmla="*/ 354 h 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98" h="438">
                <a:moveTo>
                  <a:pt x="149" y="0"/>
                </a:moveTo>
                <a:cubicBezTo>
                  <a:pt x="149" y="0"/>
                  <a:pt x="0" y="206"/>
                  <a:pt x="0" y="289"/>
                </a:cubicBezTo>
                <a:cubicBezTo>
                  <a:pt x="0" y="371"/>
                  <a:pt x="67" y="438"/>
                  <a:pt x="149" y="438"/>
                </a:cubicBezTo>
                <a:cubicBezTo>
                  <a:pt x="232" y="438"/>
                  <a:pt x="298" y="371"/>
                  <a:pt x="298" y="289"/>
                </a:cubicBezTo>
                <a:cubicBezTo>
                  <a:pt x="298" y="206"/>
                  <a:pt x="149" y="0"/>
                  <a:pt x="149" y="0"/>
                </a:cubicBezTo>
                <a:close/>
                <a:moveTo>
                  <a:pt x="88" y="225"/>
                </a:moveTo>
                <a:cubicBezTo>
                  <a:pt x="121" y="192"/>
                  <a:pt x="172" y="189"/>
                  <a:pt x="208" y="216"/>
                </a:cubicBezTo>
                <a:cubicBezTo>
                  <a:pt x="215" y="209"/>
                  <a:pt x="226" y="199"/>
                  <a:pt x="226" y="199"/>
                </a:cubicBezTo>
                <a:cubicBezTo>
                  <a:pt x="232" y="193"/>
                  <a:pt x="238" y="198"/>
                  <a:pt x="237" y="203"/>
                </a:cubicBezTo>
                <a:cubicBezTo>
                  <a:pt x="237" y="263"/>
                  <a:pt x="237" y="263"/>
                  <a:pt x="237" y="263"/>
                </a:cubicBezTo>
                <a:cubicBezTo>
                  <a:pt x="237" y="265"/>
                  <a:pt x="236" y="267"/>
                  <a:pt x="233" y="267"/>
                </a:cubicBezTo>
                <a:cubicBezTo>
                  <a:pt x="225" y="267"/>
                  <a:pt x="225" y="267"/>
                  <a:pt x="225" y="267"/>
                </a:cubicBezTo>
                <a:cubicBezTo>
                  <a:pt x="223" y="267"/>
                  <a:pt x="221" y="267"/>
                  <a:pt x="221" y="267"/>
                </a:cubicBezTo>
                <a:cubicBezTo>
                  <a:pt x="221" y="267"/>
                  <a:pt x="219" y="267"/>
                  <a:pt x="217" y="267"/>
                </a:cubicBezTo>
                <a:cubicBezTo>
                  <a:pt x="173" y="267"/>
                  <a:pt x="173" y="267"/>
                  <a:pt x="173" y="267"/>
                </a:cubicBezTo>
                <a:cubicBezTo>
                  <a:pt x="169" y="267"/>
                  <a:pt x="162" y="263"/>
                  <a:pt x="168" y="255"/>
                </a:cubicBezTo>
                <a:cubicBezTo>
                  <a:pt x="168" y="255"/>
                  <a:pt x="178" y="246"/>
                  <a:pt x="186" y="238"/>
                </a:cubicBezTo>
                <a:cubicBezTo>
                  <a:pt x="162" y="223"/>
                  <a:pt x="131" y="226"/>
                  <a:pt x="110" y="247"/>
                </a:cubicBezTo>
                <a:cubicBezTo>
                  <a:pt x="97" y="260"/>
                  <a:pt x="91" y="277"/>
                  <a:pt x="92" y="294"/>
                </a:cubicBezTo>
                <a:cubicBezTo>
                  <a:pt x="61" y="294"/>
                  <a:pt x="61" y="294"/>
                  <a:pt x="61" y="294"/>
                </a:cubicBezTo>
                <a:cubicBezTo>
                  <a:pt x="60" y="269"/>
                  <a:pt x="69" y="244"/>
                  <a:pt x="88" y="225"/>
                </a:cubicBezTo>
                <a:close/>
                <a:moveTo>
                  <a:pt x="217" y="354"/>
                </a:moveTo>
                <a:cubicBezTo>
                  <a:pt x="184" y="386"/>
                  <a:pt x="133" y="389"/>
                  <a:pt x="97" y="363"/>
                </a:cubicBezTo>
                <a:cubicBezTo>
                  <a:pt x="90" y="370"/>
                  <a:pt x="79" y="380"/>
                  <a:pt x="79" y="380"/>
                </a:cubicBezTo>
                <a:cubicBezTo>
                  <a:pt x="73" y="386"/>
                  <a:pt x="67" y="381"/>
                  <a:pt x="68" y="375"/>
                </a:cubicBezTo>
                <a:cubicBezTo>
                  <a:pt x="68" y="315"/>
                  <a:pt x="68" y="315"/>
                  <a:pt x="68" y="315"/>
                </a:cubicBezTo>
                <a:cubicBezTo>
                  <a:pt x="68" y="313"/>
                  <a:pt x="69" y="311"/>
                  <a:pt x="72" y="311"/>
                </a:cubicBezTo>
                <a:cubicBezTo>
                  <a:pt x="80" y="311"/>
                  <a:pt x="80" y="311"/>
                  <a:pt x="80" y="311"/>
                </a:cubicBezTo>
                <a:cubicBezTo>
                  <a:pt x="82" y="311"/>
                  <a:pt x="84" y="311"/>
                  <a:pt x="84" y="311"/>
                </a:cubicBezTo>
                <a:cubicBezTo>
                  <a:pt x="84" y="311"/>
                  <a:pt x="86" y="311"/>
                  <a:pt x="89" y="311"/>
                </a:cubicBezTo>
                <a:cubicBezTo>
                  <a:pt x="132" y="311"/>
                  <a:pt x="132" y="311"/>
                  <a:pt x="132" y="311"/>
                </a:cubicBezTo>
                <a:cubicBezTo>
                  <a:pt x="136" y="311"/>
                  <a:pt x="143" y="316"/>
                  <a:pt x="137" y="323"/>
                </a:cubicBezTo>
                <a:cubicBezTo>
                  <a:pt x="137" y="323"/>
                  <a:pt x="127" y="333"/>
                  <a:pt x="119" y="341"/>
                </a:cubicBezTo>
                <a:cubicBezTo>
                  <a:pt x="143" y="355"/>
                  <a:pt x="174" y="352"/>
                  <a:pt x="195" y="332"/>
                </a:cubicBezTo>
                <a:cubicBezTo>
                  <a:pt x="208" y="319"/>
                  <a:pt x="214" y="301"/>
                  <a:pt x="213" y="284"/>
                </a:cubicBezTo>
                <a:cubicBezTo>
                  <a:pt x="213" y="284"/>
                  <a:pt x="213" y="284"/>
                  <a:pt x="213" y="284"/>
                </a:cubicBezTo>
                <a:cubicBezTo>
                  <a:pt x="213" y="284"/>
                  <a:pt x="213" y="284"/>
                  <a:pt x="213" y="284"/>
                </a:cubicBezTo>
                <a:cubicBezTo>
                  <a:pt x="213" y="284"/>
                  <a:pt x="213" y="284"/>
                  <a:pt x="213" y="284"/>
                </a:cubicBezTo>
                <a:cubicBezTo>
                  <a:pt x="244" y="284"/>
                  <a:pt x="244" y="284"/>
                  <a:pt x="244" y="284"/>
                </a:cubicBezTo>
                <a:cubicBezTo>
                  <a:pt x="245" y="309"/>
                  <a:pt x="236" y="334"/>
                  <a:pt x="217" y="35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69" name="Freeform 57">
            <a:extLst>
              <a:ext uri="{FF2B5EF4-FFF2-40B4-BE49-F238E27FC236}">
                <a16:creationId xmlns:a16="http://schemas.microsoft.com/office/drawing/2014/main" id="{75E4F8E7-1EA1-4E0E-B189-97C562CE3735}"/>
              </a:ext>
            </a:extLst>
          </p:cNvPr>
          <p:cNvSpPr>
            <a:spLocks/>
          </p:cNvSpPr>
          <p:nvPr/>
        </p:nvSpPr>
        <p:spPr bwMode="auto">
          <a:xfrm>
            <a:off x="4434301" y="3164400"/>
            <a:ext cx="518123" cy="100067"/>
          </a:xfrm>
          <a:custGeom>
            <a:avLst/>
            <a:gdLst>
              <a:gd name="T0" fmla="*/ 408 w 427"/>
              <a:gd name="T1" fmla="*/ 0 h 82"/>
              <a:gd name="T2" fmla="*/ 19 w 427"/>
              <a:gd name="T3" fmla="*/ 0 h 82"/>
              <a:gd name="T4" fmla="*/ 0 w 427"/>
              <a:gd name="T5" fmla="*/ 13 h 82"/>
              <a:gd name="T6" fmla="*/ 13 w 427"/>
              <a:gd name="T7" fmla="*/ 27 h 82"/>
              <a:gd name="T8" fmla="*/ 26 w 427"/>
              <a:gd name="T9" fmla="*/ 44 h 82"/>
              <a:gd name="T10" fmla="*/ 26 w 427"/>
              <a:gd name="T11" fmla="*/ 65 h 82"/>
              <a:gd name="T12" fmla="*/ 68 w 427"/>
              <a:gd name="T13" fmla="*/ 82 h 82"/>
              <a:gd name="T14" fmla="*/ 109 w 427"/>
              <a:gd name="T15" fmla="*/ 62 h 82"/>
              <a:gd name="T16" fmla="*/ 109 w 427"/>
              <a:gd name="T17" fmla="*/ 44 h 82"/>
              <a:gd name="T18" fmla="*/ 130 w 427"/>
              <a:gd name="T19" fmla="*/ 26 h 82"/>
              <a:gd name="T20" fmla="*/ 295 w 427"/>
              <a:gd name="T21" fmla="*/ 27 h 82"/>
              <a:gd name="T22" fmla="*/ 313 w 427"/>
              <a:gd name="T23" fmla="*/ 45 h 82"/>
              <a:gd name="T24" fmla="*/ 313 w 427"/>
              <a:gd name="T25" fmla="*/ 65 h 82"/>
              <a:gd name="T26" fmla="*/ 358 w 427"/>
              <a:gd name="T27" fmla="*/ 82 h 82"/>
              <a:gd name="T28" fmla="*/ 399 w 427"/>
              <a:gd name="T29" fmla="*/ 60 h 82"/>
              <a:gd name="T30" fmla="*/ 399 w 427"/>
              <a:gd name="T31" fmla="*/ 27 h 82"/>
              <a:gd name="T32" fmla="*/ 412 w 427"/>
              <a:gd name="T33" fmla="*/ 25 h 82"/>
              <a:gd name="T34" fmla="*/ 427 w 427"/>
              <a:gd name="T35" fmla="*/ 13 h 82"/>
              <a:gd name="T36" fmla="*/ 408 w 427"/>
              <a:gd name="T37" fmla="*/ 0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27" h="82">
                <a:moveTo>
                  <a:pt x="408" y="0"/>
                </a:moveTo>
                <a:cubicBezTo>
                  <a:pt x="19" y="0"/>
                  <a:pt x="19" y="0"/>
                  <a:pt x="19" y="0"/>
                </a:cubicBezTo>
                <a:cubicBezTo>
                  <a:pt x="8" y="0"/>
                  <a:pt x="0" y="5"/>
                  <a:pt x="0" y="13"/>
                </a:cubicBezTo>
                <a:cubicBezTo>
                  <a:pt x="0" y="21"/>
                  <a:pt x="5" y="27"/>
                  <a:pt x="13" y="27"/>
                </a:cubicBezTo>
                <a:cubicBezTo>
                  <a:pt x="20" y="27"/>
                  <a:pt x="26" y="34"/>
                  <a:pt x="26" y="44"/>
                </a:cubicBezTo>
                <a:cubicBezTo>
                  <a:pt x="26" y="65"/>
                  <a:pt x="26" y="65"/>
                  <a:pt x="26" y="65"/>
                </a:cubicBezTo>
                <a:cubicBezTo>
                  <a:pt x="26" y="77"/>
                  <a:pt x="51" y="82"/>
                  <a:pt x="68" y="82"/>
                </a:cubicBezTo>
                <a:cubicBezTo>
                  <a:pt x="86" y="82"/>
                  <a:pt x="109" y="73"/>
                  <a:pt x="109" y="62"/>
                </a:cubicBezTo>
                <a:cubicBezTo>
                  <a:pt x="109" y="44"/>
                  <a:pt x="109" y="44"/>
                  <a:pt x="109" y="44"/>
                </a:cubicBezTo>
                <a:cubicBezTo>
                  <a:pt x="109" y="34"/>
                  <a:pt x="120" y="26"/>
                  <a:pt x="130" y="26"/>
                </a:cubicBezTo>
                <a:cubicBezTo>
                  <a:pt x="295" y="27"/>
                  <a:pt x="295" y="27"/>
                  <a:pt x="295" y="27"/>
                </a:cubicBezTo>
                <a:cubicBezTo>
                  <a:pt x="305" y="27"/>
                  <a:pt x="313" y="35"/>
                  <a:pt x="313" y="45"/>
                </a:cubicBezTo>
                <a:cubicBezTo>
                  <a:pt x="313" y="55"/>
                  <a:pt x="313" y="65"/>
                  <a:pt x="313" y="65"/>
                </a:cubicBezTo>
                <a:cubicBezTo>
                  <a:pt x="313" y="75"/>
                  <a:pt x="341" y="82"/>
                  <a:pt x="358" y="82"/>
                </a:cubicBezTo>
                <a:cubicBezTo>
                  <a:pt x="376" y="82"/>
                  <a:pt x="399" y="70"/>
                  <a:pt x="399" y="60"/>
                </a:cubicBezTo>
                <a:cubicBezTo>
                  <a:pt x="399" y="27"/>
                  <a:pt x="399" y="27"/>
                  <a:pt x="399" y="27"/>
                </a:cubicBezTo>
                <a:cubicBezTo>
                  <a:pt x="399" y="25"/>
                  <a:pt x="406" y="24"/>
                  <a:pt x="412" y="25"/>
                </a:cubicBezTo>
                <a:cubicBezTo>
                  <a:pt x="420" y="25"/>
                  <a:pt x="427" y="21"/>
                  <a:pt x="427" y="13"/>
                </a:cubicBezTo>
                <a:cubicBezTo>
                  <a:pt x="427" y="5"/>
                  <a:pt x="419" y="0"/>
                  <a:pt x="408" y="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70" name="Freeform 58">
            <a:extLst>
              <a:ext uri="{FF2B5EF4-FFF2-40B4-BE49-F238E27FC236}">
                <a16:creationId xmlns:a16="http://schemas.microsoft.com/office/drawing/2014/main" id="{67AADE28-D14D-4F2E-987C-CE13BCDA9A33}"/>
              </a:ext>
            </a:extLst>
          </p:cNvPr>
          <p:cNvSpPr>
            <a:spLocks noEditPoints="1"/>
          </p:cNvSpPr>
          <p:nvPr/>
        </p:nvSpPr>
        <p:spPr bwMode="auto">
          <a:xfrm>
            <a:off x="4430595" y="2814537"/>
            <a:ext cx="521829" cy="315766"/>
          </a:xfrm>
          <a:custGeom>
            <a:avLst/>
            <a:gdLst>
              <a:gd name="T0" fmla="*/ 384 w 430"/>
              <a:gd name="T1" fmla="*/ 114 h 259"/>
              <a:gd name="T2" fmla="*/ 323 w 430"/>
              <a:gd name="T3" fmla="*/ 11 h 259"/>
              <a:gd name="T4" fmla="*/ 107 w 430"/>
              <a:gd name="T5" fmla="*/ 11 h 259"/>
              <a:gd name="T6" fmla="*/ 48 w 430"/>
              <a:gd name="T7" fmla="*/ 112 h 259"/>
              <a:gd name="T8" fmla="*/ 7 w 430"/>
              <a:gd name="T9" fmla="*/ 157 h 259"/>
              <a:gd name="T10" fmla="*/ 0 w 430"/>
              <a:gd name="T11" fmla="*/ 239 h 259"/>
              <a:gd name="T12" fmla="*/ 407 w 430"/>
              <a:gd name="T13" fmla="*/ 259 h 259"/>
              <a:gd name="T14" fmla="*/ 430 w 430"/>
              <a:gd name="T15" fmla="*/ 177 h 259"/>
              <a:gd name="T16" fmla="*/ 60 w 430"/>
              <a:gd name="T17" fmla="*/ 229 h 259"/>
              <a:gd name="T18" fmla="*/ 60 w 430"/>
              <a:gd name="T19" fmla="*/ 164 h 259"/>
              <a:gd name="T20" fmla="*/ 60 w 430"/>
              <a:gd name="T21" fmla="*/ 229 h 259"/>
              <a:gd name="T22" fmla="*/ 170 w 430"/>
              <a:gd name="T23" fmla="*/ 227 h 259"/>
              <a:gd name="T24" fmla="*/ 148 w 430"/>
              <a:gd name="T25" fmla="*/ 216 h 259"/>
              <a:gd name="T26" fmla="*/ 158 w 430"/>
              <a:gd name="T27" fmla="*/ 150 h 259"/>
              <a:gd name="T28" fmla="*/ 180 w 430"/>
              <a:gd name="T29" fmla="*/ 161 h 259"/>
              <a:gd name="T30" fmla="*/ 236 w 430"/>
              <a:gd name="T31" fmla="*/ 216 h 259"/>
              <a:gd name="T32" fmla="*/ 215 w 430"/>
              <a:gd name="T33" fmla="*/ 227 h 259"/>
              <a:gd name="T34" fmla="*/ 204 w 430"/>
              <a:gd name="T35" fmla="*/ 161 h 259"/>
              <a:gd name="T36" fmla="*/ 226 w 430"/>
              <a:gd name="T37" fmla="*/ 150 h 259"/>
              <a:gd name="T38" fmla="*/ 236 w 430"/>
              <a:gd name="T39" fmla="*/ 216 h 259"/>
              <a:gd name="T40" fmla="*/ 238 w 430"/>
              <a:gd name="T41" fmla="*/ 151 h 259"/>
              <a:gd name="T42" fmla="*/ 291 w 430"/>
              <a:gd name="T43" fmla="*/ 216 h 259"/>
              <a:gd name="T44" fmla="*/ 270 w 430"/>
              <a:gd name="T45" fmla="*/ 227 h 259"/>
              <a:gd name="T46" fmla="*/ 259 w 430"/>
              <a:gd name="T47" fmla="*/ 161 h 259"/>
              <a:gd name="T48" fmla="*/ 281 w 430"/>
              <a:gd name="T49" fmla="*/ 150 h 259"/>
              <a:gd name="T50" fmla="*/ 291 w 430"/>
              <a:gd name="T51" fmla="*/ 216 h 259"/>
              <a:gd name="T52" fmla="*/ 83 w 430"/>
              <a:gd name="T53" fmla="*/ 126 h 259"/>
              <a:gd name="T54" fmla="*/ 92 w 430"/>
              <a:gd name="T55" fmla="*/ 50 h 259"/>
              <a:gd name="T56" fmla="*/ 312 w 430"/>
              <a:gd name="T57" fmla="*/ 31 h 259"/>
              <a:gd name="T58" fmla="*/ 361 w 430"/>
              <a:gd name="T59" fmla="*/ 114 h 259"/>
              <a:gd name="T60" fmla="*/ 217 w 430"/>
              <a:gd name="T61" fmla="*/ 111 h 259"/>
              <a:gd name="T62" fmla="*/ 340 w 430"/>
              <a:gd name="T63" fmla="*/ 199 h 259"/>
              <a:gd name="T64" fmla="*/ 405 w 430"/>
              <a:gd name="T65" fmla="*/ 199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30" h="259">
                <a:moveTo>
                  <a:pt x="405" y="138"/>
                </a:moveTo>
                <a:cubicBezTo>
                  <a:pt x="396" y="133"/>
                  <a:pt x="386" y="124"/>
                  <a:pt x="384" y="114"/>
                </a:cubicBezTo>
                <a:cubicBezTo>
                  <a:pt x="377" y="87"/>
                  <a:pt x="360" y="52"/>
                  <a:pt x="350" y="32"/>
                </a:cubicBezTo>
                <a:cubicBezTo>
                  <a:pt x="345" y="23"/>
                  <a:pt x="333" y="13"/>
                  <a:pt x="323" y="11"/>
                </a:cubicBezTo>
                <a:cubicBezTo>
                  <a:pt x="303" y="6"/>
                  <a:pt x="268" y="0"/>
                  <a:pt x="214" y="0"/>
                </a:cubicBezTo>
                <a:cubicBezTo>
                  <a:pt x="161" y="0"/>
                  <a:pt x="126" y="6"/>
                  <a:pt x="107" y="11"/>
                </a:cubicBezTo>
                <a:cubicBezTo>
                  <a:pt x="97" y="13"/>
                  <a:pt x="83" y="22"/>
                  <a:pt x="78" y="31"/>
                </a:cubicBezTo>
                <a:cubicBezTo>
                  <a:pt x="66" y="54"/>
                  <a:pt x="55" y="91"/>
                  <a:pt x="48" y="112"/>
                </a:cubicBezTo>
                <a:cubicBezTo>
                  <a:pt x="46" y="122"/>
                  <a:pt x="34" y="130"/>
                  <a:pt x="25" y="135"/>
                </a:cubicBezTo>
                <a:cubicBezTo>
                  <a:pt x="16" y="140"/>
                  <a:pt x="10" y="149"/>
                  <a:pt x="7" y="157"/>
                </a:cubicBezTo>
                <a:cubicBezTo>
                  <a:pt x="3" y="167"/>
                  <a:pt x="0" y="184"/>
                  <a:pt x="0" y="194"/>
                </a:cubicBezTo>
                <a:cubicBezTo>
                  <a:pt x="0" y="239"/>
                  <a:pt x="0" y="239"/>
                  <a:pt x="0" y="239"/>
                </a:cubicBezTo>
                <a:cubicBezTo>
                  <a:pt x="0" y="249"/>
                  <a:pt x="12" y="259"/>
                  <a:pt x="22" y="259"/>
                </a:cubicBezTo>
                <a:cubicBezTo>
                  <a:pt x="407" y="259"/>
                  <a:pt x="407" y="259"/>
                  <a:pt x="407" y="259"/>
                </a:cubicBezTo>
                <a:cubicBezTo>
                  <a:pt x="418" y="259"/>
                  <a:pt x="430" y="249"/>
                  <a:pt x="430" y="239"/>
                </a:cubicBezTo>
                <a:cubicBezTo>
                  <a:pt x="430" y="223"/>
                  <a:pt x="430" y="200"/>
                  <a:pt x="430" y="177"/>
                </a:cubicBezTo>
                <a:cubicBezTo>
                  <a:pt x="430" y="155"/>
                  <a:pt x="416" y="144"/>
                  <a:pt x="405" y="138"/>
                </a:cubicBezTo>
                <a:close/>
                <a:moveTo>
                  <a:pt x="60" y="229"/>
                </a:moveTo>
                <a:cubicBezTo>
                  <a:pt x="43" y="229"/>
                  <a:pt x="28" y="215"/>
                  <a:pt x="28" y="197"/>
                </a:cubicBezTo>
                <a:cubicBezTo>
                  <a:pt x="28" y="179"/>
                  <a:pt x="43" y="164"/>
                  <a:pt x="60" y="164"/>
                </a:cubicBezTo>
                <a:cubicBezTo>
                  <a:pt x="78" y="164"/>
                  <a:pt x="93" y="179"/>
                  <a:pt x="93" y="197"/>
                </a:cubicBezTo>
                <a:cubicBezTo>
                  <a:pt x="93" y="215"/>
                  <a:pt x="78" y="229"/>
                  <a:pt x="60" y="229"/>
                </a:cubicBezTo>
                <a:close/>
                <a:moveTo>
                  <a:pt x="180" y="216"/>
                </a:moveTo>
                <a:cubicBezTo>
                  <a:pt x="180" y="222"/>
                  <a:pt x="175" y="227"/>
                  <a:pt x="170" y="227"/>
                </a:cubicBezTo>
                <a:cubicBezTo>
                  <a:pt x="158" y="227"/>
                  <a:pt x="158" y="227"/>
                  <a:pt x="158" y="227"/>
                </a:cubicBezTo>
                <a:cubicBezTo>
                  <a:pt x="153" y="227"/>
                  <a:pt x="148" y="222"/>
                  <a:pt x="148" y="216"/>
                </a:cubicBezTo>
                <a:cubicBezTo>
                  <a:pt x="148" y="161"/>
                  <a:pt x="148" y="161"/>
                  <a:pt x="148" y="161"/>
                </a:cubicBezTo>
                <a:cubicBezTo>
                  <a:pt x="148" y="155"/>
                  <a:pt x="153" y="150"/>
                  <a:pt x="158" y="150"/>
                </a:cubicBezTo>
                <a:cubicBezTo>
                  <a:pt x="170" y="150"/>
                  <a:pt x="170" y="150"/>
                  <a:pt x="170" y="150"/>
                </a:cubicBezTo>
                <a:cubicBezTo>
                  <a:pt x="175" y="150"/>
                  <a:pt x="180" y="155"/>
                  <a:pt x="180" y="161"/>
                </a:cubicBezTo>
                <a:lnTo>
                  <a:pt x="180" y="216"/>
                </a:lnTo>
                <a:close/>
                <a:moveTo>
                  <a:pt x="236" y="216"/>
                </a:moveTo>
                <a:cubicBezTo>
                  <a:pt x="236" y="222"/>
                  <a:pt x="232" y="227"/>
                  <a:pt x="226" y="227"/>
                </a:cubicBezTo>
                <a:cubicBezTo>
                  <a:pt x="215" y="227"/>
                  <a:pt x="215" y="227"/>
                  <a:pt x="215" y="227"/>
                </a:cubicBezTo>
                <a:cubicBezTo>
                  <a:pt x="209" y="227"/>
                  <a:pt x="204" y="222"/>
                  <a:pt x="204" y="216"/>
                </a:cubicBezTo>
                <a:cubicBezTo>
                  <a:pt x="204" y="161"/>
                  <a:pt x="204" y="161"/>
                  <a:pt x="204" y="161"/>
                </a:cubicBezTo>
                <a:cubicBezTo>
                  <a:pt x="204" y="155"/>
                  <a:pt x="209" y="150"/>
                  <a:pt x="215" y="150"/>
                </a:cubicBezTo>
                <a:cubicBezTo>
                  <a:pt x="226" y="150"/>
                  <a:pt x="226" y="150"/>
                  <a:pt x="226" y="150"/>
                </a:cubicBezTo>
                <a:cubicBezTo>
                  <a:pt x="232" y="150"/>
                  <a:pt x="236" y="155"/>
                  <a:pt x="236" y="161"/>
                </a:cubicBezTo>
                <a:lnTo>
                  <a:pt x="236" y="216"/>
                </a:lnTo>
                <a:close/>
                <a:moveTo>
                  <a:pt x="232" y="150"/>
                </a:moveTo>
                <a:cubicBezTo>
                  <a:pt x="234" y="150"/>
                  <a:pt x="236" y="151"/>
                  <a:pt x="238" y="151"/>
                </a:cubicBezTo>
                <a:cubicBezTo>
                  <a:pt x="236" y="151"/>
                  <a:pt x="234" y="150"/>
                  <a:pt x="232" y="150"/>
                </a:cubicBezTo>
                <a:close/>
                <a:moveTo>
                  <a:pt x="291" y="216"/>
                </a:moveTo>
                <a:cubicBezTo>
                  <a:pt x="291" y="222"/>
                  <a:pt x="287" y="227"/>
                  <a:pt x="281" y="227"/>
                </a:cubicBezTo>
                <a:cubicBezTo>
                  <a:pt x="270" y="227"/>
                  <a:pt x="270" y="227"/>
                  <a:pt x="270" y="227"/>
                </a:cubicBezTo>
                <a:cubicBezTo>
                  <a:pt x="264" y="227"/>
                  <a:pt x="259" y="222"/>
                  <a:pt x="259" y="216"/>
                </a:cubicBezTo>
                <a:cubicBezTo>
                  <a:pt x="259" y="161"/>
                  <a:pt x="259" y="161"/>
                  <a:pt x="259" y="161"/>
                </a:cubicBezTo>
                <a:cubicBezTo>
                  <a:pt x="259" y="155"/>
                  <a:pt x="264" y="150"/>
                  <a:pt x="270" y="150"/>
                </a:cubicBezTo>
                <a:cubicBezTo>
                  <a:pt x="281" y="150"/>
                  <a:pt x="281" y="150"/>
                  <a:pt x="281" y="150"/>
                </a:cubicBezTo>
                <a:cubicBezTo>
                  <a:pt x="287" y="150"/>
                  <a:pt x="291" y="155"/>
                  <a:pt x="291" y="161"/>
                </a:cubicBezTo>
                <a:lnTo>
                  <a:pt x="291" y="216"/>
                </a:lnTo>
                <a:close/>
                <a:moveTo>
                  <a:pt x="217" y="111"/>
                </a:moveTo>
                <a:cubicBezTo>
                  <a:pt x="180" y="110"/>
                  <a:pt x="98" y="122"/>
                  <a:pt x="83" y="126"/>
                </a:cubicBezTo>
                <a:cubicBezTo>
                  <a:pt x="73" y="128"/>
                  <a:pt x="68" y="122"/>
                  <a:pt x="71" y="113"/>
                </a:cubicBezTo>
                <a:cubicBezTo>
                  <a:pt x="92" y="50"/>
                  <a:pt x="92" y="50"/>
                  <a:pt x="92" y="50"/>
                </a:cubicBezTo>
                <a:cubicBezTo>
                  <a:pt x="95" y="41"/>
                  <a:pt x="106" y="35"/>
                  <a:pt x="116" y="32"/>
                </a:cubicBezTo>
                <a:cubicBezTo>
                  <a:pt x="147" y="25"/>
                  <a:pt x="218" y="14"/>
                  <a:pt x="312" y="31"/>
                </a:cubicBezTo>
                <a:cubicBezTo>
                  <a:pt x="322" y="32"/>
                  <a:pt x="333" y="42"/>
                  <a:pt x="337" y="52"/>
                </a:cubicBezTo>
                <a:cubicBezTo>
                  <a:pt x="361" y="114"/>
                  <a:pt x="361" y="114"/>
                  <a:pt x="361" y="114"/>
                </a:cubicBezTo>
                <a:cubicBezTo>
                  <a:pt x="364" y="124"/>
                  <a:pt x="359" y="129"/>
                  <a:pt x="349" y="127"/>
                </a:cubicBezTo>
                <a:cubicBezTo>
                  <a:pt x="340" y="124"/>
                  <a:pt x="254" y="112"/>
                  <a:pt x="217" y="111"/>
                </a:cubicBezTo>
                <a:close/>
                <a:moveTo>
                  <a:pt x="373" y="231"/>
                </a:moveTo>
                <a:cubicBezTo>
                  <a:pt x="355" y="231"/>
                  <a:pt x="340" y="217"/>
                  <a:pt x="340" y="199"/>
                </a:cubicBezTo>
                <a:cubicBezTo>
                  <a:pt x="340" y="181"/>
                  <a:pt x="355" y="166"/>
                  <a:pt x="373" y="166"/>
                </a:cubicBezTo>
                <a:cubicBezTo>
                  <a:pt x="391" y="166"/>
                  <a:pt x="405" y="181"/>
                  <a:pt x="405" y="199"/>
                </a:cubicBezTo>
                <a:cubicBezTo>
                  <a:pt x="405" y="217"/>
                  <a:pt x="391" y="231"/>
                  <a:pt x="373" y="231"/>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71" name="Oval 59">
            <a:extLst>
              <a:ext uri="{FF2B5EF4-FFF2-40B4-BE49-F238E27FC236}">
                <a16:creationId xmlns:a16="http://schemas.microsoft.com/office/drawing/2014/main" id="{D452BE7D-82B5-41A5-A0E5-C8FBAF37D72E}"/>
              </a:ext>
            </a:extLst>
          </p:cNvPr>
          <p:cNvSpPr>
            <a:spLocks noChangeArrowheads="1"/>
          </p:cNvSpPr>
          <p:nvPr/>
        </p:nvSpPr>
        <p:spPr bwMode="auto">
          <a:xfrm>
            <a:off x="4885714" y="2922016"/>
            <a:ext cx="74123" cy="63005"/>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72" name="Oval 60">
            <a:extLst>
              <a:ext uri="{FF2B5EF4-FFF2-40B4-BE49-F238E27FC236}">
                <a16:creationId xmlns:a16="http://schemas.microsoft.com/office/drawing/2014/main" id="{C1153783-5900-4B92-9F3E-BD63710F6E8D}"/>
              </a:ext>
            </a:extLst>
          </p:cNvPr>
          <p:cNvSpPr>
            <a:spLocks noChangeArrowheads="1"/>
          </p:cNvSpPr>
          <p:nvPr/>
        </p:nvSpPr>
        <p:spPr bwMode="auto">
          <a:xfrm>
            <a:off x="4429854" y="2918310"/>
            <a:ext cx="74865" cy="63005"/>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73" name="TextBox 77">
            <a:extLst>
              <a:ext uri="{FF2B5EF4-FFF2-40B4-BE49-F238E27FC236}">
                <a16:creationId xmlns:a16="http://schemas.microsoft.com/office/drawing/2014/main" id="{8D0C9E60-0950-40ED-86DA-2AFFB3B1D7D5}"/>
              </a:ext>
            </a:extLst>
          </p:cNvPr>
          <p:cNvSpPr txBox="1"/>
          <p:nvPr/>
        </p:nvSpPr>
        <p:spPr>
          <a:xfrm>
            <a:off x="4731732" y="1676220"/>
            <a:ext cx="975523"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lumMod val="50000"/>
                    <a:lumOff val="50000"/>
                  </a:srgbClr>
                </a:solidFill>
                <a:effectLst/>
                <a:uLnTx/>
                <a:uFillTx/>
                <a:latin typeface="等线" panose="020F0502020204030204"/>
                <a:ea typeface="+mn-ea"/>
                <a:cs typeface="+mn-cs"/>
              </a:rPr>
              <a:t>Title here</a:t>
            </a:r>
            <a:endParaRPr kumimoji="0" lang="id-ID" sz="1400" b="0" i="0" u="none" strike="noStrike" kern="1200" cap="none" spc="0" normalizeH="0" baseline="0" noProof="0" dirty="0">
              <a:ln>
                <a:noFill/>
              </a:ln>
              <a:solidFill>
                <a:srgbClr val="000000">
                  <a:lumMod val="50000"/>
                  <a:lumOff val="50000"/>
                </a:srgbClr>
              </a:solidFill>
              <a:effectLst/>
              <a:uLnTx/>
              <a:uFillTx/>
              <a:latin typeface="等线" panose="020F0502020204030204"/>
              <a:ea typeface="+mn-ea"/>
              <a:cs typeface="+mn-cs"/>
            </a:endParaRPr>
          </a:p>
        </p:txBody>
      </p:sp>
      <p:sp>
        <p:nvSpPr>
          <p:cNvPr id="74" name="Rectangle 78">
            <a:extLst>
              <a:ext uri="{FF2B5EF4-FFF2-40B4-BE49-F238E27FC236}">
                <a16:creationId xmlns:a16="http://schemas.microsoft.com/office/drawing/2014/main" id="{76844582-AE9B-4919-9C51-53A066AB229B}"/>
              </a:ext>
            </a:extLst>
          </p:cNvPr>
          <p:cNvSpPr/>
          <p:nvPr/>
        </p:nvSpPr>
        <p:spPr>
          <a:xfrm>
            <a:off x="4731733" y="1936304"/>
            <a:ext cx="2264100"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lumMod val="50000"/>
                    <a:lumOff val="50000"/>
                  </a:srgbClr>
                </a:solidFill>
                <a:effectLst/>
                <a:uLnTx/>
                <a:uFillTx/>
                <a:latin typeface="等线" panose="020F0502020204030204"/>
                <a:ea typeface="+mn-ea"/>
                <a:cs typeface="+mn-cs"/>
              </a:rPr>
              <a:t>Replace it with subtitle</a:t>
            </a:r>
            <a:endParaRPr kumimoji="0" lang="id-ID" sz="1200" b="0" i="0" u="none" strike="noStrike" kern="1200" cap="none" spc="0" normalizeH="0" baseline="0" noProof="0" dirty="0">
              <a:ln>
                <a:noFill/>
              </a:ln>
              <a:solidFill>
                <a:srgbClr val="000000">
                  <a:lumMod val="50000"/>
                  <a:lumOff val="50000"/>
                </a:srgbClr>
              </a:solidFill>
              <a:effectLst/>
              <a:uLnTx/>
              <a:uFillTx/>
              <a:latin typeface="等线" panose="020F0502020204030204"/>
              <a:ea typeface="+mn-ea"/>
              <a:cs typeface="+mn-cs"/>
            </a:endParaRPr>
          </a:p>
        </p:txBody>
      </p:sp>
      <p:sp>
        <p:nvSpPr>
          <p:cNvPr id="75" name="TextBox 79">
            <a:extLst>
              <a:ext uri="{FF2B5EF4-FFF2-40B4-BE49-F238E27FC236}">
                <a16:creationId xmlns:a16="http://schemas.microsoft.com/office/drawing/2014/main" id="{A0416BBC-9AC6-4952-8DC9-7A37FCBB2058}"/>
              </a:ext>
            </a:extLst>
          </p:cNvPr>
          <p:cNvSpPr txBox="1"/>
          <p:nvPr/>
        </p:nvSpPr>
        <p:spPr>
          <a:xfrm>
            <a:off x="4104833" y="3461039"/>
            <a:ext cx="975523"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lumMod val="50000"/>
                    <a:lumOff val="50000"/>
                  </a:srgbClr>
                </a:solidFill>
                <a:effectLst/>
                <a:uLnTx/>
                <a:uFillTx/>
                <a:latin typeface="等线" panose="020F0502020204030204"/>
                <a:ea typeface="+mn-ea"/>
                <a:cs typeface="+mn-cs"/>
              </a:rPr>
              <a:t>Title here</a:t>
            </a:r>
            <a:endParaRPr kumimoji="0" lang="id-ID" sz="1400" b="0" i="0" u="none" strike="noStrike" kern="1200" cap="none" spc="0" normalizeH="0" baseline="0" noProof="0" dirty="0">
              <a:ln>
                <a:noFill/>
              </a:ln>
              <a:solidFill>
                <a:srgbClr val="000000">
                  <a:lumMod val="50000"/>
                  <a:lumOff val="50000"/>
                </a:srgbClr>
              </a:solidFill>
              <a:effectLst/>
              <a:uLnTx/>
              <a:uFillTx/>
              <a:latin typeface="等线" panose="020F0502020204030204"/>
              <a:ea typeface="+mn-ea"/>
              <a:cs typeface="+mn-cs"/>
            </a:endParaRPr>
          </a:p>
        </p:txBody>
      </p:sp>
      <p:sp>
        <p:nvSpPr>
          <p:cNvPr id="76" name="Rectangle 80">
            <a:extLst>
              <a:ext uri="{FF2B5EF4-FFF2-40B4-BE49-F238E27FC236}">
                <a16:creationId xmlns:a16="http://schemas.microsoft.com/office/drawing/2014/main" id="{70F78E1C-941B-486E-BE63-7F5A1BB72D32}"/>
              </a:ext>
            </a:extLst>
          </p:cNvPr>
          <p:cNvSpPr/>
          <p:nvPr/>
        </p:nvSpPr>
        <p:spPr>
          <a:xfrm>
            <a:off x="4104834" y="3721123"/>
            <a:ext cx="2264100"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lumMod val="50000"/>
                    <a:lumOff val="50000"/>
                  </a:srgbClr>
                </a:solidFill>
                <a:effectLst/>
                <a:uLnTx/>
                <a:uFillTx/>
                <a:latin typeface="等线" panose="020F0502020204030204"/>
                <a:ea typeface="+mn-ea"/>
                <a:cs typeface="+mn-cs"/>
              </a:rPr>
              <a:t>Replace it with subtitle</a:t>
            </a:r>
            <a:endParaRPr kumimoji="0" lang="id-ID" sz="1200" b="0" i="0" u="none" strike="noStrike" kern="1200" cap="none" spc="0" normalizeH="0" baseline="0" noProof="0" dirty="0">
              <a:ln>
                <a:noFill/>
              </a:ln>
              <a:solidFill>
                <a:srgbClr val="000000">
                  <a:lumMod val="50000"/>
                  <a:lumOff val="50000"/>
                </a:srgbClr>
              </a:solidFill>
              <a:effectLst/>
              <a:uLnTx/>
              <a:uFillTx/>
              <a:latin typeface="等线" panose="020F0502020204030204"/>
              <a:ea typeface="+mn-ea"/>
              <a:cs typeface="+mn-cs"/>
            </a:endParaRPr>
          </a:p>
        </p:txBody>
      </p:sp>
      <p:sp>
        <p:nvSpPr>
          <p:cNvPr id="77" name="TextBox 81">
            <a:extLst>
              <a:ext uri="{FF2B5EF4-FFF2-40B4-BE49-F238E27FC236}">
                <a16:creationId xmlns:a16="http://schemas.microsoft.com/office/drawing/2014/main" id="{62FCACEC-556D-4FF3-8509-3A9BA78B0BB9}"/>
              </a:ext>
            </a:extLst>
          </p:cNvPr>
          <p:cNvSpPr txBox="1"/>
          <p:nvPr/>
        </p:nvSpPr>
        <p:spPr>
          <a:xfrm>
            <a:off x="3563066" y="5220344"/>
            <a:ext cx="975523"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lumMod val="50000"/>
                    <a:lumOff val="50000"/>
                  </a:srgbClr>
                </a:solidFill>
                <a:effectLst/>
                <a:uLnTx/>
                <a:uFillTx/>
                <a:latin typeface="等线" panose="020F0502020204030204"/>
                <a:ea typeface="+mn-ea"/>
                <a:cs typeface="+mn-cs"/>
              </a:rPr>
              <a:t>Title here</a:t>
            </a:r>
            <a:endParaRPr kumimoji="0" lang="id-ID" sz="1400" b="0" i="0" u="none" strike="noStrike" kern="1200" cap="none" spc="0" normalizeH="0" baseline="0" noProof="0" dirty="0">
              <a:ln>
                <a:noFill/>
              </a:ln>
              <a:solidFill>
                <a:srgbClr val="000000">
                  <a:lumMod val="50000"/>
                  <a:lumOff val="50000"/>
                </a:srgbClr>
              </a:solidFill>
              <a:effectLst/>
              <a:uLnTx/>
              <a:uFillTx/>
              <a:latin typeface="等线" panose="020F0502020204030204"/>
              <a:ea typeface="+mn-ea"/>
              <a:cs typeface="+mn-cs"/>
            </a:endParaRPr>
          </a:p>
        </p:txBody>
      </p:sp>
      <p:sp>
        <p:nvSpPr>
          <p:cNvPr id="78" name="Rectangle 82">
            <a:extLst>
              <a:ext uri="{FF2B5EF4-FFF2-40B4-BE49-F238E27FC236}">
                <a16:creationId xmlns:a16="http://schemas.microsoft.com/office/drawing/2014/main" id="{CD024C6E-C7EE-4410-94EA-482B4B5E20F4}"/>
              </a:ext>
            </a:extLst>
          </p:cNvPr>
          <p:cNvSpPr/>
          <p:nvPr/>
        </p:nvSpPr>
        <p:spPr>
          <a:xfrm>
            <a:off x="3563067" y="5480428"/>
            <a:ext cx="2264100"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lumMod val="50000"/>
                    <a:lumOff val="50000"/>
                  </a:srgbClr>
                </a:solidFill>
                <a:effectLst/>
                <a:uLnTx/>
                <a:uFillTx/>
                <a:latin typeface="等线" panose="020F0502020204030204"/>
                <a:ea typeface="+mn-ea"/>
                <a:cs typeface="+mn-cs"/>
              </a:rPr>
              <a:t>Replace it with subtitle</a:t>
            </a:r>
            <a:endParaRPr kumimoji="0" lang="id-ID" sz="1200" b="0" i="0" u="none" strike="noStrike" kern="1200" cap="none" spc="0" normalizeH="0" baseline="0" noProof="0" dirty="0">
              <a:ln>
                <a:noFill/>
              </a:ln>
              <a:solidFill>
                <a:srgbClr val="000000">
                  <a:lumMod val="50000"/>
                  <a:lumOff val="50000"/>
                </a:srgbClr>
              </a:solidFill>
              <a:effectLst/>
              <a:uLnTx/>
              <a:uFillTx/>
              <a:latin typeface="等线" panose="020F0502020204030204"/>
              <a:ea typeface="+mn-ea"/>
              <a:cs typeface="+mn-cs"/>
            </a:endParaRPr>
          </a:p>
        </p:txBody>
      </p:sp>
      <p:sp>
        <p:nvSpPr>
          <p:cNvPr id="79" name="TextBox 83">
            <a:extLst>
              <a:ext uri="{FF2B5EF4-FFF2-40B4-BE49-F238E27FC236}">
                <a16:creationId xmlns:a16="http://schemas.microsoft.com/office/drawing/2014/main" id="{716C7B17-8294-4B6C-A3D7-5E6597BB88DB}"/>
              </a:ext>
            </a:extLst>
          </p:cNvPr>
          <p:cNvSpPr txBox="1"/>
          <p:nvPr/>
        </p:nvSpPr>
        <p:spPr>
          <a:xfrm>
            <a:off x="1298009" y="4575606"/>
            <a:ext cx="975523" cy="307777"/>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lumMod val="50000"/>
                    <a:lumOff val="50000"/>
                  </a:srgbClr>
                </a:solidFill>
                <a:effectLst/>
                <a:uLnTx/>
                <a:uFillTx/>
                <a:latin typeface="等线" panose="020F0502020204030204"/>
                <a:ea typeface="+mn-ea"/>
                <a:cs typeface="+mn-cs"/>
              </a:rPr>
              <a:t>Title here</a:t>
            </a:r>
            <a:endParaRPr kumimoji="0" lang="id-ID" sz="1400" b="0" i="0" u="none" strike="noStrike" kern="1200" cap="none" spc="0" normalizeH="0" baseline="0" noProof="0" dirty="0">
              <a:ln>
                <a:noFill/>
              </a:ln>
              <a:solidFill>
                <a:srgbClr val="000000">
                  <a:lumMod val="50000"/>
                  <a:lumOff val="50000"/>
                </a:srgbClr>
              </a:solidFill>
              <a:effectLst/>
              <a:uLnTx/>
              <a:uFillTx/>
              <a:latin typeface="等线" panose="020F0502020204030204"/>
              <a:ea typeface="+mn-ea"/>
              <a:cs typeface="+mn-cs"/>
            </a:endParaRPr>
          </a:p>
        </p:txBody>
      </p:sp>
      <p:sp>
        <p:nvSpPr>
          <p:cNvPr id="80" name="Rectangle 84">
            <a:extLst>
              <a:ext uri="{FF2B5EF4-FFF2-40B4-BE49-F238E27FC236}">
                <a16:creationId xmlns:a16="http://schemas.microsoft.com/office/drawing/2014/main" id="{1743F1BC-DA40-47F6-9A96-2AB82BA3E1AD}"/>
              </a:ext>
            </a:extLst>
          </p:cNvPr>
          <p:cNvSpPr/>
          <p:nvPr/>
        </p:nvSpPr>
        <p:spPr>
          <a:xfrm>
            <a:off x="9432" y="4835690"/>
            <a:ext cx="2264100" cy="276999"/>
          </a:xfrm>
          <a:prstGeom prst="rect">
            <a:avLst/>
          </a:prstGeom>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lumMod val="50000"/>
                    <a:lumOff val="50000"/>
                  </a:srgbClr>
                </a:solidFill>
                <a:effectLst/>
                <a:uLnTx/>
                <a:uFillTx/>
                <a:latin typeface="等线" panose="020F0502020204030204"/>
                <a:ea typeface="+mn-ea"/>
                <a:cs typeface="+mn-cs"/>
              </a:rPr>
              <a:t>Replace it with subtitle</a:t>
            </a:r>
            <a:endParaRPr kumimoji="0" lang="id-ID" sz="1200" b="0" i="0" u="none" strike="noStrike" kern="1200" cap="none" spc="0" normalizeH="0" baseline="0" noProof="0" dirty="0">
              <a:ln>
                <a:noFill/>
              </a:ln>
              <a:solidFill>
                <a:srgbClr val="000000">
                  <a:lumMod val="50000"/>
                  <a:lumOff val="50000"/>
                </a:srgbClr>
              </a:solidFill>
              <a:effectLst/>
              <a:uLnTx/>
              <a:uFillTx/>
              <a:latin typeface="等线" panose="020F0502020204030204"/>
              <a:ea typeface="+mn-ea"/>
              <a:cs typeface="+mn-cs"/>
            </a:endParaRPr>
          </a:p>
        </p:txBody>
      </p:sp>
      <p:sp>
        <p:nvSpPr>
          <p:cNvPr id="81" name="TextBox 85">
            <a:extLst>
              <a:ext uri="{FF2B5EF4-FFF2-40B4-BE49-F238E27FC236}">
                <a16:creationId xmlns:a16="http://schemas.microsoft.com/office/drawing/2014/main" id="{5D00AA51-1A3C-4945-8C3D-56475E7A4BA2}"/>
              </a:ext>
            </a:extLst>
          </p:cNvPr>
          <p:cNvSpPr txBox="1"/>
          <p:nvPr/>
        </p:nvSpPr>
        <p:spPr>
          <a:xfrm>
            <a:off x="1853051" y="2598050"/>
            <a:ext cx="975523" cy="307777"/>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lumMod val="50000"/>
                    <a:lumOff val="50000"/>
                  </a:srgbClr>
                </a:solidFill>
                <a:effectLst/>
                <a:uLnTx/>
                <a:uFillTx/>
                <a:latin typeface="等线" panose="020F0502020204030204"/>
                <a:ea typeface="+mn-ea"/>
                <a:cs typeface="+mn-cs"/>
              </a:rPr>
              <a:t>Title here</a:t>
            </a:r>
            <a:endParaRPr kumimoji="0" lang="id-ID" sz="1400" b="0" i="0" u="none" strike="noStrike" kern="1200" cap="none" spc="0" normalizeH="0" baseline="0" noProof="0" dirty="0">
              <a:ln>
                <a:noFill/>
              </a:ln>
              <a:solidFill>
                <a:srgbClr val="000000">
                  <a:lumMod val="50000"/>
                  <a:lumOff val="50000"/>
                </a:srgbClr>
              </a:solidFill>
              <a:effectLst/>
              <a:uLnTx/>
              <a:uFillTx/>
              <a:latin typeface="等线" panose="020F0502020204030204"/>
              <a:ea typeface="+mn-ea"/>
              <a:cs typeface="+mn-cs"/>
            </a:endParaRPr>
          </a:p>
        </p:txBody>
      </p:sp>
      <p:sp>
        <p:nvSpPr>
          <p:cNvPr id="82" name="Rectangle 86">
            <a:extLst>
              <a:ext uri="{FF2B5EF4-FFF2-40B4-BE49-F238E27FC236}">
                <a16:creationId xmlns:a16="http://schemas.microsoft.com/office/drawing/2014/main" id="{ED227C4D-F5DA-41D5-8B81-CF8112E52586}"/>
              </a:ext>
            </a:extLst>
          </p:cNvPr>
          <p:cNvSpPr/>
          <p:nvPr/>
        </p:nvSpPr>
        <p:spPr>
          <a:xfrm>
            <a:off x="564474" y="2858134"/>
            <a:ext cx="2264100" cy="276999"/>
          </a:xfrm>
          <a:prstGeom prst="rect">
            <a:avLst/>
          </a:prstGeom>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lumMod val="50000"/>
                    <a:lumOff val="50000"/>
                  </a:srgbClr>
                </a:solidFill>
                <a:effectLst/>
                <a:uLnTx/>
                <a:uFillTx/>
                <a:latin typeface="等线" panose="020F0502020204030204"/>
                <a:ea typeface="+mn-ea"/>
                <a:cs typeface="+mn-cs"/>
              </a:rPr>
              <a:t>Replace it with subtitle</a:t>
            </a:r>
            <a:endParaRPr kumimoji="0" lang="id-ID" sz="1200" b="0" i="0" u="none" strike="noStrike" kern="1200" cap="none" spc="0" normalizeH="0" baseline="0" noProof="0" dirty="0">
              <a:ln>
                <a:noFill/>
              </a:ln>
              <a:solidFill>
                <a:srgbClr val="000000">
                  <a:lumMod val="50000"/>
                  <a:lumOff val="50000"/>
                </a:srgbClr>
              </a:solidFill>
              <a:effectLst/>
              <a:uLnTx/>
              <a:uFillTx/>
              <a:latin typeface="等线" panose="020F0502020204030204"/>
              <a:ea typeface="+mn-ea"/>
              <a:cs typeface="+mn-cs"/>
            </a:endParaRPr>
          </a:p>
        </p:txBody>
      </p:sp>
      <p:sp>
        <p:nvSpPr>
          <p:cNvPr id="83" name="Title 7">
            <a:extLst>
              <a:ext uri="{FF2B5EF4-FFF2-40B4-BE49-F238E27FC236}">
                <a16:creationId xmlns:a16="http://schemas.microsoft.com/office/drawing/2014/main" id="{66C4CE33-7620-4A52-8B9F-172958A8777B}"/>
              </a:ext>
            </a:extLst>
          </p:cNvPr>
          <p:cNvSpPr txBox="1">
            <a:spLocks/>
          </p:cNvSpPr>
          <p:nvPr/>
        </p:nvSpPr>
        <p:spPr>
          <a:xfrm>
            <a:off x="7189111" y="1941189"/>
            <a:ext cx="3508884" cy="1463908"/>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Nevis" panose="02000800000000000000" pitchFamily="2" charset="0"/>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2400" b="0" i="0" u="none" strike="noStrike" kern="1200" cap="none" spc="0" normalizeH="0" baseline="0" noProof="0">
                <a:ln>
                  <a:noFill/>
                </a:ln>
                <a:solidFill>
                  <a:srgbClr val="000000">
                    <a:lumMod val="50000"/>
                    <a:lumOff val="50000"/>
                  </a:srgbClr>
                </a:solidFill>
                <a:effectLst/>
                <a:uLnTx/>
                <a:uFillTx/>
                <a:latin typeface="等线" panose="020F0502020204030204"/>
                <a:ea typeface="+mj-ea"/>
                <a:cs typeface="+mj-cs"/>
              </a:rPr>
              <a:t>Insert title here</a:t>
            </a:r>
            <a:endParaRPr kumimoji="0" lang="id-ID" sz="2400" b="1" i="0" u="none" strike="noStrike" kern="1200" cap="none" spc="0" normalizeH="0" baseline="0" noProof="0" dirty="0">
              <a:ln>
                <a:noFill/>
              </a:ln>
              <a:solidFill>
                <a:srgbClr val="000000">
                  <a:lumMod val="50000"/>
                  <a:lumOff val="50000"/>
                </a:srgbClr>
              </a:solidFill>
              <a:effectLst/>
              <a:uLnTx/>
              <a:uFillTx/>
              <a:latin typeface="等线" panose="020F0502020204030204"/>
              <a:ea typeface="+mj-ea"/>
              <a:cs typeface="+mj-cs"/>
            </a:endParaRPr>
          </a:p>
        </p:txBody>
      </p:sp>
      <p:sp>
        <p:nvSpPr>
          <p:cNvPr id="84" name="TextBox 89">
            <a:extLst>
              <a:ext uri="{FF2B5EF4-FFF2-40B4-BE49-F238E27FC236}">
                <a16:creationId xmlns:a16="http://schemas.microsoft.com/office/drawing/2014/main" id="{801D9CC7-9989-46ED-B408-258784A4656A}"/>
              </a:ext>
            </a:extLst>
          </p:cNvPr>
          <p:cNvSpPr txBox="1"/>
          <p:nvPr/>
        </p:nvSpPr>
        <p:spPr>
          <a:xfrm>
            <a:off x="7195206" y="2399676"/>
            <a:ext cx="4357100" cy="2556084"/>
          </a:xfrm>
          <a:prstGeom prst="rect">
            <a:avLst/>
          </a:prstGeom>
          <a:noFill/>
        </p:spPr>
        <p:txBody>
          <a:bodyPr wrap="square" rtlCol="0">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lumMod val="50000"/>
                  </a:srgbClr>
                </a:solidFill>
                <a:effectLst/>
                <a:uLnTx/>
                <a:uFillTx/>
                <a:latin typeface="等线" panose="020F0502020204030204"/>
                <a:ea typeface="+mn-ea"/>
                <a:cs typeface="+mn-cs"/>
              </a:rPr>
              <a:t>Lorem Ipsum is simply dummy text of the printing and typesetting industry has been the industry's standard dummy text ever since the 1500s, when an unknown printer took a galley of poison the freedom orem Ipsum qursa, industry has been the industry's standard dummy text ever since the 1500s, when an unknown printer took a galley of poison the freedom orem Ipsum qursa, Lorem Ipsum is simply dummy text of the printing and typesetting industry has been the industry's standard</a:t>
            </a:r>
            <a:endParaRPr kumimoji="0" lang="en-US" sz="1200" b="0" i="0" u="none" strike="noStrike" kern="1200" cap="none" spc="0" normalizeH="0" baseline="0" noProof="0" dirty="0">
              <a:ln>
                <a:noFill/>
              </a:ln>
              <a:solidFill>
                <a:srgbClr val="FFFFFF">
                  <a:lumMod val="50000"/>
                </a:srgbClr>
              </a:solidFill>
              <a:effectLst/>
              <a:uLnTx/>
              <a:uFillTx/>
              <a:latin typeface="等线" panose="020F0502020204030204"/>
              <a:ea typeface="PT Sans" panose="020B0503020203020204" pitchFamily="34" charset="0"/>
              <a:cs typeface="Lato" panose="020F0502020204030203" pitchFamily="34" charset="0"/>
            </a:endParaRPr>
          </a:p>
        </p:txBody>
      </p:sp>
    </p:spTree>
    <p:extLst>
      <p:ext uri="{BB962C8B-B14F-4D97-AF65-F5344CB8AC3E}">
        <p14:creationId xmlns:p14="http://schemas.microsoft.com/office/powerpoint/2010/main" val="1119027939"/>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6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02">
            <a:extLst>
              <a:ext uri="{FF2B5EF4-FFF2-40B4-BE49-F238E27FC236}">
                <a16:creationId xmlns:a16="http://schemas.microsoft.com/office/drawing/2014/main" id="{394538A7-E596-4687-BB3A-16C9D6D6CFAA}"/>
              </a:ext>
            </a:extLst>
          </p:cNvPr>
          <p:cNvGrpSpPr/>
          <p:nvPr/>
        </p:nvGrpSpPr>
        <p:grpSpPr>
          <a:xfrm>
            <a:off x="708930" y="914400"/>
            <a:ext cx="5079206" cy="5029200"/>
            <a:chOff x="5362239" y="397465"/>
            <a:chExt cx="6544012" cy="6479585"/>
          </a:xfrm>
        </p:grpSpPr>
        <p:grpSp>
          <p:nvGrpSpPr>
            <p:cNvPr id="3" name="Group 23">
              <a:extLst>
                <a:ext uri="{FF2B5EF4-FFF2-40B4-BE49-F238E27FC236}">
                  <a16:creationId xmlns:a16="http://schemas.microsoft.com/office/drawing/2014/main" id="{E135FEB5-7C44-491A-9260-AE8DC07B88E1}"/>
                </a:ext>
              </a:extLst>
            </p:cNvPr>
            <p:cNvGrpSpPr/>
            <p:nvPr/>
          </p:nvGrpSpPr>
          <p:grpSpPr>
            <a:xfrm>
              <a:off x="6480301" y="1153328"/>
              <a:ext cx="4898206" cy="4074871"/>
              <a:chOff x="7242069" y="1000204"/>
              <a:chExt cx="4142805" cy="3446444"/>
            </a:xfrm>
            <a:solidFill>
              <a:schemeClr val="accent1">
                <a:alpha val="35000"/>
              </a:schemeClr>
            </a:solidFill>
          </p:grpSpPr>
          <p:sp>
            <p:nvSpPr>
              <p:cNvPr id="40" name="Oval 24">
                <a:extLst>
                  <a:ext uri="{FF2B5EF4-FFF2-40B4-BE49-F238E27FC236}">
                    <a16:creationId xmlns:a16="http://schemas.microsoft.com/office/drawing/2014/main" id="{D979B90A-35FE-4A42-9DA7-FF27E555CAB2}"/>
                  </a:ext>
                </a:extLst>
              </p:cNvPr>
              <p:cNvSpPr/>
              <p:nvPr/>
            </p:nvSpPr>
            <p:spPr>
              <a:xfrm>
                <a:off x="8373143" y="1000204"/>
                <a:ext cx="1180478" cy="118047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FFFFFF"/>
                  </a:solidFill>
                  <a:effectLst/>
                  <a:uLnTx/>
                  <a:uFillTx/>
                  <a:latin typeface="等线" panose="020F0502020204030204"/>
                  <a:ea typeface="+mn-ea"/>
                  <a:cs typeface="+mn-cs"/>
                </a:endParaRPr>
              </a:p>
            </p:txBody>
          </p:sp>
          <p:sp>
            <p:nvSpPr>
              <p:cNvPr id="41" name="Oval 25">
                <a:extLst>
                  <a:ext uri="{FF2B5EF4-FFF2-40B4-BE49-F238E27FC236}">
                    <a16:creationId xmlns:a16="http://schemas.microsoft.com/office/drawing/2014/main" id="{D180065C-A52F-4223-A651-8208DB834B85}"/>
                  </a:ext>
                </a:extLst>
              </p:cNvPr>
              <p:cNvSpPr/>
              <p:nvPr/>
            </p:nvSpPr>
            <p:spPr>
              <a:xfrm>
                <a:off x="9793458" y="1543897"/>
                <a:ext cx="673424" cy="67342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FFFFFF"/>
                  </a:solidFill>
                  <a:effectLst/>
                  <a:uLnTx/>
                  <a:uFillTx/>
                  <a:latin typeface="等线" panose="020F0502020204030204"/>
                  <a:ea typeface="+mn-ea"/>
                  <a:cs typeface="+mn-cs"/>
                </a:endParaRPr>
              </a:p>
            </p:txBody>
          </p:sp>
          <p:sp>
            <p:nvSpPr>
              <p:cNvPr id="42" name="Oval 26">
                <a:extLst>
                  <a:ext uri="{FF2B5EF4-FFF2-40B4-BE49-F238E27FC236}">
                    <a16:creationId xmlns:a16="http://schemas.microsoft.com/office/drawing/2014/main" id="{1FAC9544-B81C-4497-BF2A-B46A80B5FB3C}"/>
                  </a:ext>
                </a:extLst>
              </p:cNvPr>
              <p:cNvSpPr/>
              <p:nvPr/>
            </p:nvSpPr>
            <p:spPr>
              <a:xfrm>
                <a:off x="7728795" y="3028844"/>
                <a:ext cx="608999" cy="60899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FFFFFF"/>
                  </a:solidFill>
                  <a:effectLst/>
                  <a:uLnTx/>
                  <a:uFillTx/>
                  <a:latin typeface="等线" panose="020F0502020204030204"/>
                  <a:ea typeface="+mn-ea"/>
                  <a:cs typeface="+mn-cs"/>
                </a:endParaRPr>
              </a:p>
            </p:txBody>
          </p:sp>
          <p:sp>
            <p:nvSpPr>
              <p:cNvPr id="43" name="Oval 27">
                <a:extLst>
                  <a:ext uri="{FF2B5EF4-FFF2-40B4-BE49-F238E27FC236}">
                    <a16:creationId xmlns:a16="http://schemas.microsoft.com/office/drawing/2014/main" id="{533D6078-2B8A-48A5-9AE2-955B844F5ECD}"/>
                  </a:ext>
                </a:extLst>
              </p:cNvPr>
              <p:cNvSpPr/>
              <p:nvPr/>
            </p:nvSpPr>
            <p:spPr>
              <a:xfrm>
                <a:off x="10055853" y="2924511"/>
                <a:ext cx="608999" cy="60899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FFFFFF"/>
                  </a:solidFill>
                  <a:effectLst/>
                  <a:uLnTx/>
                  <a:uFillTx/>
                  <a:latin typeface="等线" panose="020F0502020204030204"/>
                  <a:ea typeface="+mn-ea"/>
                  <a:cs typeface="+mn-cs"/>
                </a:endParaRPr>
              </a:p>
            </p:txBody>
          </p:sp>
          <p:sp>
            <p:nvSpPr>
              <p:cNvPr id="44" name="Oval 28">
                <a:extLst>
                  <a:ext uri="{FF2B5EF4-FFF2-40B4-BE49-F238E27FC236}">
                    <a16:creationId xmlns:a16="http://schemas.microsoft.com/office/drawing/2014/main" id="{067E94F2-6622-4F09-B5F8-73AE5F572124}"/>
                  </a:ext>
                </a:extLst>
              </p:cNvPr>
              <p:cNvSpPr/>
              <p:nvPr/>
            </p:nvSpPr>
            <p:spPr>
              <a:xfrm>
                <a:off x="7242069" y="1362158"/>
                <a:ext cx="550776" cy="550776"/>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FFFFFF"/>
                  </a:solidFill>
                  <a:effectLst/>
                  <a:uLnTx/>
                  <a:uFillTx/>
                  <a:latin typeface="等线" panose="020F0502020204030204"/>
                  <a:ea typeface="+mn-ea"/>
                  <a:cs typeface="+mn-cs"/>
                </a:endParaRPr>
              </a:p>
            </p:txBody>
          </p:sp>
          <p:sp>
            <p:nvSpPr>
              <p:cNvPr id="45" name="Oval 29">
                <a:extLst>
                  <a:ext uri="{FF2B5EF4-FFF2-40B4-BE49-F238E27FC236}">
                    <a16:creationId xmlns:a16="http://schemas.microsoft.com/office/drawing/2014/main" id="{83899F96-573C-4145-9DEA-B454935BC0E8}"/>
                  </a:ext>
                </a:extLst>
              </p:cNvPr>
              <p:cNvSpPr/>
              <p:nvPr/>
            </p:nvSpPr>
            <p:spPr>
              <a:xfrm>
                <a:off x="7460786" y="2351919"/>
                <a:ext cx="460611" cy="46061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FFFFFF"/>
                  </a:solidFill>
                  <a:effectLst/>
                  <a:uLnTx/>
                  <a:uFillTx/>
                  <a:latin typeface="等线" panose="020F0502020204030204"/>
                  <a:ea typeface="+mn-ea"/>
                  <a:cs typeface="+mn-cs"/>
                </a:endParaRPr>
              </a:p>
            </p:txBody>
          </p:sp>
          <p:sp>
            <p:nvSpPr>
              <p:cNvPr id="46" name="Oval 30">
                <a:extLst>
                  <a:ext uri="{FF2B5EF4-FFF2-40B4-BE49-F238E27FC236}">
                    <a16:creationId xmlns:a16="http://schemas.microsoft.com/office/drawing/2014/main" id="{5E51FBBF-38FD-4AA6-B643-F0BDF61E1D8C}"/>
                  </a:ext>
                </a:extLst>
              </p:cNvPr>
              <p:cNvSpPr/>
              <p:nvPr/>
            </p:nvSpPr>
            <p:spPr>
              <a:xfrm>
                <a:off x="10593255" y="2042438"/>
                <a:ext cx="460611" cy="46061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FFFFFF"/>
                  </a:solidFill>
                  <a:effectLst/>
                  <a:uLnTx/>
                  <a:uFillTx/>
                  <a:latin typeface="等线" panose="020F0502020204030204"/>
                  <a:ea typeface="+mn-ea"/>
                  <a:cs typeface="+mn-cs"/>
                </a:endParaRPr>
              </a:p>
            </p:txBody>
          </p:sp>
          <p:sp>
            <p:nvSpPr>
              <p:cNvPr id="47" name="Oval 31">
                <a:extLst>
                  <a:ext uri="{FF2B5EF4-FFF2-40B4-BE49-F238E27FC236}">
                    <a16:creationId xmlns:a16="http://schemas.microsoft.com/office/drawing/2014/main" id="{CC9B6BC0-EE70-48F8-B489-BE9915653C9D}"/>
                  </a:ext>
                </a:extLst>
              </p:cNvPr>
              <p:cNvSpPr/>
              <p:nvPr/>
            </p:nvSpPr>
            <p:spPr>
              <a:xfrm>
                <a:off x="11048082" y="1704777"/>
                <a:ext cx="336792" cy="33679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FFFFFF"/>
                  </a:solidFill>
                  <a:effectLst/>
                  <a:uLnTx/>
                  <a:uFillTx/>
                  <a:latin typeface="等线" panose="020F0502020204030204"/>
                  <a:ea typeface="+mn-ea"/>
                  <a:cs typeface="+mn-cs"/>
                </a:endParaRPr>
              </a:p>
            </p:txBody>
          </p:sp>
          <p:sp>
            <p:nvSpPr>
              <p:cNvPr id="48" name="Oval 32">
                <a:extLst>
                  <a:ext uri="{FF2B5EF4-FFF2-40B4-BE49-F238E27FC236}">
                    <a16:creationId xmlns:a16="http://schemas.microsoft.com/office/drawing/2014/main" id="{374D4395-8BAA-41C3-84EA-B5214DD08E11}"/>
                  </a:ext>
                </a:extLst>
              </p:cNvPr>
              <p:cNvSpPr/>
              <p:nvPr/>
            </p:nvSpPr>
            <p:spPr>
              <a:xfrm>
                <a:off x="11027370" y="3450791"/>
                <a:ext cx="336792" cy="33679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FFFFFF"/>
                  </a:solidFill>
                  <a:effectLst/>
                  <a:uLnTx/>
                  <a:uFillTx/>
                  <a:latin typeface="等线" panose="020F0502020204030204"/>
                  <a:ea typeface="+mn-ea"/>
                  <a:cs typeface="+mn-cs"/>
                </a:endParaRPr>
              </a:p>
            </p:txBody>
          </p:sp>
          <p:sp>
            <p:nvSpPr>
              <p:cNvPr id="49" name="Oval 33">
                <a:extLst>
                  <a:ext uri="{FF2B5EF4-FFF2-40B4-BE49-F238E27FC236}">
                    <a16:creationId xmlns:a16="http://schemas.microsoft.com/office/drawing/2014/main" id="{CE9605F5-F31D-4F5E-9C1A-6E4794701721}"/>
                  </a:ext>
                </a:extLst>
              </p:cNvPr>
              <p:cNvSpPr/>
              <p:nvPr/>
            </p:nvSpPr>
            <p:spPr>
              <a:xfrm>
                <a:off x="8453970" y="3618181"/>
                <a:ext cx="828467" cy="82846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FFFFFF"/>
                  </a:solidFill>
                  <a:effectLst/>
                  <a:uLnTx/>
                  <a:uFillTx/>
                  <a:latin typeface="等线" panose="020F0502020204030204"/>
                  <a:ea typeface="+mn-ea"/>
                  <a:cs typeface="+mn-cs"/>
                </a:endParaRPr>
              </a:p>
            </p:txBody>
          </p:sp>
        </p:grpSp>
        <p:sp>
          <p:nvSpPr>
            <p:cNvPr id="4" name="Freeform 56">
              <a:extLst>
                <a:ext uri="{FF2B5EF4-FFF2-40B4-BE49-F238E27FC236}">
                  <a16:creationId xmlns:a16="http://schemas.microsoft.com/office/drawing/2014/main" id="{C1F07B6F-46DE-40A7-A322-1F125688EC5C}"/>
                </a:ext>
              </a:extLst>
            </p:cNvPr>
            <p:cNvSpPr>
              <a:spLocks/>
            </p:cNvSpPr>
            <p:nvPr/>
          </p:nvSpPr>
          <p:spPr bwMode="auto">
            <a:xfrm>
              <a:off x="7086241" y="1983893"/>
              <a:ext cx="3345561" cy="4893157"/>
            </a:xfrm>
            <a:custGeom>
              <a:avLst/>
              <a:gdLst>
                <a:gd name="T0" fmla="*/ 197 w 454"/>
                <a:gd name="T1" fmla="*/ 254 h 569"/>
                <a:gd name="T2" fmla="*/ 200 w 454"/>
                <a:gd name="T3" fmla="*/ 449 h 569"/>
                <a:gd name="T4" fmla="*/ 148 w 454"/>
                <a:gd name="T5" fmla="*/ 559 h 569"/>
                <a:gd name="T6" fmla="*/ 122 w 454"/>
                <a:gd name="T7" fmla="*/ 569 h 569"/>
                <a:gd name="T8" fmla="*/ 339 w 454"/>
                <a:gd name="T9" fmla="*/ 569 h 569"/>
                <a:gd name="T10" fmla="*/ 304 w 454"/>
                <a:gd name="T11" fmla="*/ 557 h 569"/>
                <a:gd name="T12" fmla="*/ 277 w 454"/>
                <a:gd name="T13" fmla="*/ 354 h 569"/>
                <a:gd name="T14" fmla="*/ 282 w 454"/>
                <a:gd name="T15" fmla="*/ 261 h 569"/>
                <a:gd name="T16" fmla="*/ 315 w 454"/>
                <a:gd name="T17" fmla="*/ 247 h 569"/>
                <a:gd name="T18" fmla="*/ 454 w 454"/>
                <a:gd name="T19" fmla="*/ 120 h 569"/>
                <a:gd name="T20" fmla="*/ 451 w 454"/>
                <a:gd name="T21" fmla="*/ 117 h 569"/>
                <a:gd name="T22" fmla="*/ 451 w 454"/>
                <a:gd name="T23" fmla="*/ 117 h 569"/>
                <a:gd name="T24" fmla="*/ 389 w 454"/>
                <a:gd name="T25" fmla="*/ 164 h 569"/>
                <a:gd name="T26" fmla="*/ 400 w 454"/>
                <a:gd name="T27" fmla="*/ 82 h 569"/>
                <a:gd name="T28" fmla="*/ 399 w 454"/>
                <a:gd name="T29" fmla="*/ 82 h 569"/>
                <a:gd name="T30" fmla="*/ 398 w 454"/>
                <a:gd name="T31" fmla="*/ 82 h 569"/>
                <a:gd name="T32" fmla="*/ 362 w 454"/>
                <a:gd name="T33" fmla="*/ 182 h 569"/>
                <a:gd name="T34" fmla="*/ 257 w 454"/>
                <a:gd name="T35" fmla="*/ 234 h 569"/>
                <a:gd name="T36" fmla="*/ 241 w 454"/>
                <a:gd name="T37" fmla="*/ 146 h 569"/>
                <a:gd name="T38" fmla="*/ 296 w 454"/>
                <a:gd name="T39" fmla="*/ 54 h 569"/>
                <a:gd name="T40" fmla="*/ 295 w 454"/>
                <a:gd name="T41" fmla="*/ 54 h 569"/>
                <a:gd name="T42" fmla="*/ 294 w 454"/>
                <a:gd name="T43" fmla="*/ 52 h 569"/>
                <a:gd name="T44" fmla="*/ 238 w 454"/>
                <a:gd name="T45" fmla="*/ 113 h 569"/>
                <a:gd name="T46" fmla="*/ 235 w 454"/>
                <a:gd name="T47" fmla="*/ 35 h 569"/>
                <a:gd name="T48" fmla="*/ 235 w 454"/>
                <a:gd name="T49" fmla="*/ 35 h 569"/>
                <a:gd name="T50" fmla="*/ 230 w 454"/>
                <a:gd name="T51" fmla="*/ 35 h 569"/>
                <a:gd name="T52" fmla="*/ 219 w 454"/>
                <a:gd name="T53" fmla="*/ 223 h 569"/>
                <a:gd name="T54" fmla="*/ 122 w 454"/>
                <a:gd name="T55" fmla="*/ 132 h 569"/>
                <a:gd name="T56" fmla="*/ 137 w 454"/>
                <a:gd name="T57" fmla="*/ 64 h 569"/>
                <a:gd name="T58" fmla="*/ 135 w 454"/>
                <a:gd name="T59" fmla="*/ 63 h 569"/>
                <a:gd name="T60" fmla="*/ 135 w 454"/>
                <a:gd name="T61" fmla="*/ 63 h 569"/>
                <a:gd name="T62" fmla="*/ 113 w 454"/>
                <a:gd name="T63" fmla="*/ 118 h 569"/>
                <a:gd name="T64" fmla="*/ 52 w 454"/>
                <a:gd name="T65" fmla="*/ 1 h 569"/>
                <a:gd name="T66" fmla="*/ 50 w 454"/>
                <a:gd name="T67" fmla="*/ 0 h 569"/>
                <a:gd name="T68" fmla="*/ 46 w 454"/>
                <a:gd name="T69" fmla="*/ 1 h 569"/>
                <a:gd name="T70" fmla="*/ 74 w 454"/>
                <a:gd name="T71" fmla="*/ 91 h 569"/>
                <a:gd name="T72" fmla="*/ 74 w 454"/>
                <a:gd name="T73" fmla="*/ 91 h 569"/>
                <a:gd name="T74" fmla="*/ 149 w 454"/>
                <a:gd name="T75" fmla="*/ 208 h 569"/>
                <a:gd name="T76" fmla="*/ 3 w 454"/>
                <a:gd name="T77" fmla="*/ 195 h 569"/>
                <a:gd name="T78" fmla="*/ 3 w 454"/>
                <a:gd name="T79" fmla="*/ 196 h 569"/>
                <a:gd name="T80" fmla="*/ 0 w 454"/>
                <a:gd name="T81" fmla="*/ 201 h 569"/>
                <a:gd name="T82" fmla="*/ 172 w 454"/>
                <a:gd name="T83" fmla="*/ 237 h 569"/>
                <a:gd name="T84" fmla="*/ 197 w 454"/>
                <a:gd name="T85" fmla="*/ 254 h 5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54" h="569">
                  <a:moveTo>
                    <a:pt x="197" y="254"/>
                  </a:moveTo>
                  <a:cubicBezTo>
                    <a:pt x="209" y="304"/>
                    <a:pt x="213" y="368"/>
                    <a:pt x="200" y="449"/>
                  </a:cubicBezTo>
                  <a:cubicBezTo>
                    <a:pt x="191" y="518"/>
                    <a:pt x="199" y="559"/>
                    <a:pt x="148" y="559"/>
                  </a:cubicBezTo>
                  <a:cubicBezTo>
                    <a:pt x="148" y="559"/>
                    <a:pt x="138" y="555"/>
                    <a:pt x="122" y="569"/>
                  </a:cubicBezTo>
                  <a:cubicBezTo>
                    <a:pt x="339" y="569"/>
                    <a:pt x="339" y="569"/>
                    <a:pt x="339" y="569"/>
                  </a:cubicBezTo>
                  <a:cubicBezTo>
                    <a:pt x="328" y="564"/>
                    <a:pt x="315" y="559"/>
                    <a:pt x="304" y="557"/>
                  </a:cubicBezTo>
                  <a:cubicBezTo>
                    <a:pt x="292" y="529"/>
                    <a:pt x="279" y="475"/>
                    <a:pt x="277" y="354"/>
                  </a:cubicBezTo>
                  <a:cubicBezTo>
                    <a:pt x="276" y="318"/>
                    <a:pt x="278" y="287"/>
                    <a:pt x="282" y="261"/>
                  </a:cubicBezTo>
                  <a:cubicBezTo>
                    <a:pt x="315" y="247"/>
                    <a:pt x="315" y="247"/>
                    <a:pt x="315" y="247"/>
                  </a:cubicBezTo>
                  <a:cubicBezTo>
                    <a:pt x="404" y="194"/>
                    <a:pt x="433" y="147"/>
                    <a:pt x="454" y="120"/>
                  </a:cubicBezTo>
                  <a:cubicBezTo>
                    <a:pt x="451" y="117"/>
                    <a:pt x="451" y="117"/>
                    <a:pt x="451" y="117"/>
                  </a:cubicBezTo>
                  <a:cubicBezTo>
                    <a:pt x="451" y="117"/>
                    <a:pt x="451" y="117"/>
                    <a:pt x="451" y="117"/>
                  </a:cubicBezTo>
                  <a:cubicBezTo>
                    <a:pt x="428" y="135"/>
                    <a:pt x="407" y="151"/>
                    <a:pt x="389" y="164"/>
                  </a:cubicBezTo>
                  <a:cubicBezTo>
                    <a:pt x="396" y="133"/>
                    <a:pt x="398" y="121"/>
                    <a:pt x="400" y="82"/>
                  </a:cubicBezTo>
                  <a:cubicBezTo>
                    <a:pt x="399" y="82"/>
                    <a:pt x="399" y="82"/>
                    <a:pt x="399" y="82"/>
                  </a:cubicBezTo>
                  <a:cubicBezTo>
                    <a:pt x="399" y="82"/>
                    <a:pt x="398" y="82"/>
                    <a:pt x="398" y="82"/>
                  </a:cubicBezTo>
                  <a:cubicBezTo>
                    <a:pt x="393" y="101"/>
                    <a:pt x="379" y="147"/>
                    <a:pt x="362" y="182"/>
                  </a:cubicBezTo>
                  <a:cubicBezTo>
                    <a:pt x="312" y="215"/>
                    <a:pt x="278" y="228"/>
                    <a:pt x="257" y="234"/>
                  </a:cubicBezTo>
                  <a:cubicBezTo>
                    <a:pt x="251" y="213"/>
                    <a:pt x="245" y="185"/>
                    <a:pt x="241" y="146"/>
                  </a:cubicBezTo>
                  <a:cubicBezTo>
                    <a:pt x="257" y="110"/>
                    <a:pt x="284" y="70"/>
                    <a:pt x="296" y="54"/>
                  </a:cubicBezTo>
                  <a:cubicBezTo>
                    <a:pt x="295" y="54"/>
                    <a:pt x="295" y="54"/>
                    <a:pt x="295" y="54"/>
                  </a:cubicBezTo>
                  <a:cubicBezTo>
                    <a:pt x="294" y="52"/>
                    <a:pt x="294" y="52"/>
                    <a:pt x="294" y="52"/>
                  </a:cubicBezTo>
                  <a:cubicBezTo>
                    <a:pt x="265" y="79"/>
                    <a:pt x="258" y="88"/>
                    <a:pt x="238" y="113"/>
                  </a:cubicBezTo>
                  <a:cubicBezTo>
                    <a:pt x="236" y="91"/>
                    <a:pt x="235" y="64"/>
                    <a:pt x="235" y="35"/>
                  </a:cubicBezTo>
                  <a:cubicBezTo>
                    <a:pt x="235" y="35"/>
                    <a:pt x="235" y="35"/>
                    <a:pt x="235" y="35"/>
                  </a:cubicBezTo>
                  <a:cubicBezTo>
                    <a:pt x="230" y="35"/>
                    <a:pt x="230" y="35"/>
                    <a:pt x="230" y="35"/>
                  </a:cubicBezTo>
                  <a:cubicBezTo>
                    <a:pt x="223" y="69"/>
                    <a:pt x="210" y="143"/>
                    <a:pt x="219" y="223"/>
                  </a:cubicBezTo>
                  <a:cubicBezTo>
                    <a:pt x="219" y="223"/>
                    <a:pt x="175" y="205"/>
                    <a:pt x="122" y="132"/>
                  </a:cubicBezTo>
                  <a:cubicBezTo>
                    <a:pt x="123" y="120"/>
                    <a:pt x="125" y="90"/>
                    <a:pt x="137" y="64"/>
                  </a:cubicBezTo>
                  <a:cubicBezTo>
                    <a:pt x="135" y="63"/>
                    <a:pt x="135" y="63"/>
                    <a:pt x="135" y="63"/>
                  </a:cubicBezTo>
                  <a:cubicBezTo>
                    <a:pt x="135" y="63"/>
                    <a:pt x="135" y="63"/>
                    <a:pt x="135" y="63"/>
                  </a:cubicBezTo>
                  <a:cubicBezTo>
                    <a:pt x="127" y="75"/>
                    <a:pt x="118" y="94"/>
                    <a:pt x="113" y="118"/>
                  </a:cubicBezTo>
                  <a:cubicBezTo>
                    <a:pt x="93" y="88"/>
                    <a:pt x="72" y="50"/>
                    <a:pt x="52" y="1"/>
                  </a:cubicBezTo>
                  <a:cubicBezTo>
                    <a:pt x="51" y="1"/>
                    <a:pt x="51" y="1"/>
                    <a:pt x="50" y="0"/>
                  </a:cubicBezTo>
                  <a:cubicBezTo>
                    <a:pt x="46" y="1"/>
                    <a:pt x="46" y="1"/>
                    <a:pt x="46" y="1"/>
                  </a:cubicBezTo>
                  <a:cubicBezTo>
                    <a:pt x="49" y="17"/>
                    <a:pt x="74" y="91"/>
                    <a:pt x="74" y="91"/>
                  </a:cubicBezTo>
                  <a:cubicBezTo>
                    <a:pt x="74" y="91"/>
                    <a:pt x="74" y="91"/>
                    <a:pt x="74" y="91"/>
                  </a:cubicBezTo>
                  <a:cubicBezTo>
                    <a:pt x="91" y="132"/>
                    <a:pt x="115" y="175"/>
                    <a:pt x="149" y="208"/>
                  </a:cubicBezTo>
                  <a:cubicBezTo>
                    <a:pt x="149" y="208"/>
                    <a:pt x="89" y="222"/>
                    <a:pt x="3" y="195"/>
                  </a:cubicBezTo>
                  <a:cubicBezTo>
                    <a:pt x="3" y="196"/>
                    <a:pt x="3" y="196"/>
                    <a:pt x="3" y="196"/>
                  </a:cubicBezTo>
                  <a:cubicBezTo>
                    <a:pt x="0" y="201"/>
                    <a:pt x="0" y="201"/>
                    <a:pt x="0" y="201"/>
                  </a:cubicBezTo>
                  <a:cubicBezTo>
                    <a:pt x="37" y="218"/>
                    <a:pt x="97" y="238"/>
                    <a:pt x="172" y="237"/>
                  </a:cubicBezTo>
                  <a:cubicBezTo>
                    <a:pt x="178" y="238"/>
                    <a:pt x="187" y="243"/>
                    <a:pt x="197" y="254"/>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grpSp>
          <p:nvGrpSpPr>
            <p:cNvPr id="5" name="Group 2">
              <a:extLst>
                <a:ext uri="{FF2B5EF4-FFF2-40B4-BE49-F238E27FC236}">
                  <a16:creationId xmlns:a16="http://schemas.microsoft.com/office/drawing/2014/main" id="{27A35A91-EEA7-4D16-9395-08D3BCE36ECA}"/>
                </a:ext>
              </a:extLst>
            </p:cNvPr>
            <p:cNvGrpSpPr/>
            <p:nvPr/>
          </p:nvGrpSpPr>
          <p:grpSpPr>
            <a:xfrm>
              <a:off x="5858579" y="397465"/>
              <a:ext cx="5651204" cy="4340969"/>
              <a:chOff x="7223605" y="1034167"/>
              <a:chExt cx="4779675" cy="3671505"/>
            </a:xfrm>
            <a:solidFill>
              <a:schemeClr val="accent4">
                <a:alpha val="35000"/>
              </a:schemeClr>
            </a:solidFill>
          </p:grpSpPr>
          <p:sp>
            <p:nvSpPr>
              <p:cNvPr id="31" name="Oval 3">
                <a:extLst>
                  <a:ext uri="{FF2B5EF4-FFF2-40B4-BE49-F238E27FC236}">
                    <a16:creationId xmlns:a16="http://schemas.microsoft.com/office/drawing/2014/main" id="{7CF6BE3D-E9A6-4FFD-A9C2-817D259E80FD}"/>
                  </a:ext>
                </a:extLst>
              </p:cNvPr>
              <p:cNvSpPr/>
              <p:nvPr/>
            </p:nvSpPr>
            <p:spPr>
              <a:xfrm>
                <a:off x="7223605" y="2907942"/>
                <a:ext cx="333375" cy="33337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FFFFFF"/>
                  </a:solidFill>
                  <a:effectLst/>
                  <a:uLnTx/>
                  <a:uFillTx/>
                  <a:latin typeface="等线" panose="020F0502020204030204"/>
                  <a:ea typeface="+mn-ea"/>
                  <a:cs typeface="+mn-cs"/>
                </a:endParaRPr>
              </a:p>
            </p:txBody>
          </p:sp>
          <p:sp>
            <p:nvSpPr>
              <p:cNvPr id="32" name="Oval 4">
                <a:extLst>
                  <a:ext uri="{FF2B5EF4-FFF2-40B4-BE49-F238E27FC236}">
                    <a16:creationId xmlns:a16="http://schemas.microsoft.com/office/drawing/2014/main" id="{1DE4F2D0-BAF8-450B-AA86-98273236607C}"/>
                  </a:ext>
                </a:extLst>
              </p:cNvPr>
              <p:cNvSpPr/>
              <p:nvPr/>
            </p:nvSpPr>
            <p:spPr>
              <a:xfrm>
                <a:off x="8051873" y="4113273"/>
                <a:ext cx="333375" cy="33337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FFFFFF"/>
                  </a:solidFill>
                  <a:effectLst/>
                  <a:uLnTx/>
                  <a:uFillTx/>
                  <a:latin typeface="等线" panose="020F0502020204030204"/>
                  <a:ea typeface="+mn-ea"/>
                  <a:cs typeface="+mn-cs"/>
                </a:endParaRPr>
              </a:p>
            </p:txBody>
          </p:sp>
          <p:sp>
            <p:nvSpPr>
              <p:cNvPr id="33" name="Oval 5">
                <a:extLst>
                  <a:ext uri="{FF2B5EF4-FFF2-40B4-BE49-F238E27FC236}">
                    <a16:creationId xmlns:a16="http://schemas.microsoft.com/office/drawing/2014/main" id="{F6D40688-F0D0-479E-A475-C00BE96B084D}"/>
                  </a:ext>
                </a:extLst>
              </p:cNvPr>
              <p:cNvSpPr/>
              <p:nvPr/>
            </p:nvSpPr>
            <p:spPr>
              <a:xfrm>
                <a:off x="8576155" y="1922081"/>
                <a:ext cx="424970" cy="42497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FFFFFF"/>
                  </a:solidFill>
                  <a:effectLst/>
                  <a:uLnTx/>
                  <a:uFillTx/>
                  <a:latin typeface="等线" panose="020F0502020204030204"/>
                  <a:ea typeface="+mn-ea"/>
                  <a:cs typeface="+mn-cs"/>
                </a:endParaRPr>
              </a:p>
            </p:txBody>
          </p:sp>
          <p:sp>
            <p:nvSpPr>
              <p:cNvPr id="34" name="Oval 6">
                <a:extLst>
                  <a:ext uri="{FF2B5EF4-FFF2-40B4-BE49-F238E27FC236}">
                    <a16:creationId xmlns:a16="http://schemas.microsoft.com/office/drawing/2014/main" id="{BB756F1D-3147-400D-B6AD-12E344621768}"/>
                  </a:ext>
                </a:extLst>
              </p:cNvPr>
              <p:cNvSpPr/>
              <p:nvPr/>
            </p:nvSpPr>
            <p:spPr>
              <a:xfrm>
                <a:off x="9722732" y="3212873"/>
                <a:ext cx="424970" cy="42497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FFFFFF"/>
                  </a:solidFill>
                  <a:effectLst/>
                  <a:uLnTx/>
                  <a:uFillTx/>
                  <a:latin typeface="等线" panose="020F0502020204030204"/>
                  <a:ea typeface="+mn-ea"/>
                  <a:cs typeface="+mn-cs"/>
                </a:endParaRPr>
              </a:p>
            </p:txBody>
          </p:sp>
          <p:sp>
            <p:nvSpPr>
              <p:cNvPr id="35" name="Oval 7">
                <a:extLst>
                  <a:ext uri="{FF2B5EF4-FFF2-40B4-BE49-F238E27FC236}">
                    <a16:creationId xmlns:a16="http://schemas.microsoft.com/office/drawing/2014/main" id="{2B649696-F553-41A5-A529-514BACAF8A66}"/>
                  </a:ext>
                </a:extLst>
              </p:cNvPr>
              <p:cNvSpPr/>
              <p:nvPr/>
            </p:nvSpPr>
            <p:spPr>
              <a:xfrm>
                <a:off x="8647793" y="2598759"/>
                <a:ext cx="541253" cy="541253"/>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FFFFFF"/>
                  </a:solidFill>
                  <a:effectLst/>
                  <a:uLnTx/>
                  <a:uFillTx/>
                  <a:latin typeface="等线" panose="020F0502020204030204"/>
                  <a:ea typeface="+mn-ea"/>
                  <a:cs typeface="+mn-cs"/>
                </a:endParaRPr>
              </a:p>
            </p:txBody>
          </p:sp>
          <p:sp>
            <p:nvSpPr>
              <p:cNvPr id="36" name="Oval 8">
                <a:extLst>
                  <a:ext uri="{FF2B5EF4-FFF2-40B4-BE49-F238E27FC236}">
                    <a16:creationId xmlns:a16="http://schemas.microsoft.com/office/drawing/2014/main" id="{091E85D3-2000-4926-AC26-B7A36BAB575F}"/>
                  </a:ext>
                </a:extLst>
              </p:cNvPr>
              <p:cNvSpPr/>
              <p:nvPr/>
            </p:nvSpPr>
            <p:spPr>
              <a:xfrm>
                <a:off x="10147702" y="4164419"/>
                <a:ext cx="541253" cy="541253"/>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FFFFFF"/>
                  </a:solidFill>
                  <a:effectLst/>
                  <a:uLnTx/>
                  <a:uFillTx/>
                  <a:latin typeface="等线" panose="020F0502020204030204"/>
                  <a:ea typeface="+mn-ea"/>
                  <a:cs typeface="+mn-cs"/>
                </a:endParaRPr>
              </a:p>
            </p:txBody>
          </p:sp>
          <p:sp>
            <p:nvSpPr>
              <p:cNvPr id="37" name="Oval 9">
                <a:extLst>
                  <a:ext uri="{FF2B5EF4-FFF2-40B4-BE49-F238E27FC236}">
                    <a16:creationId xmlns:a16="http://schemas.microsoft.com/office/drawing/2014/main" id="{2E8BC60A-D0CD-4ABD-9371-698719944E7F}"/>
                  </a:ext>
                </a:extLst>
              </p:cNvPr>
              <p:cNvSpPr/>
              <p:nvPr/>
            </p:nvSpPr>
            <p:spPr>
              <a:xfrm>
                <a:off x="11150960" y="2163063"/>
                <a:ext cx="541253" cy="541253"/>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FFFFFF"/>
                  </a:solidFill>
                  <a:effectLst/>
                  <a:uLnTx/>
                  <a:uFillTx/>
                  <a:latin typeface="等线" panose="020F0502020204030204"/>
                  <a:ea typeface="+mn-ea"/>
                  <a:cs typeface="+mn-cs"/>
                </a:endParaRPr>
              </a:p>
            </p:txBody>
          </p:sp>
          <p:sp>
            <p:nvSpPr>
              <p:cNvPr id="38" name="Oval 10">
                <a:extLst>
                  <a:ext uri="{FF2B5EF4-FFF2-40B4-BE49-F238E27FC236}">
                    <a16:creationId xmlns:a16="http://schemas.microsoft.com/office/drawing/2014/main" id="{A8C2F3F8-98CD-452D-BB3E-C8DAFADEE92D}"/>
                  </a:ext>
                </a:extLst>
              </p:cNvPr>
              <p:cNvSpPr/>
              <p:nvPr/>
            </p:nvSpPr>
            <p:spPr>
              <a:xfrm>
                <a:off x="11294540" y="3501142"/>
                <a:ext cx="708740" cy="70874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FFFFFF"/>
                  </a:solidFill>
                  <a:effectLst/>
                  <a:uLnTx/>
                  <a:uFillTx/>
                  <a:latin typeface="等线" panose="020F0502020204030204"/>
                  <a:ea typeface="+mn-ea"/>
                  <a:cs typeface="+mn-cs"/>
                </a:endParaRPr>
              </a:p>
            </p:txBody>
          </p:sp>
          <p:sp>
            <p:nvSpPr>
              <p:cNvPr id="39" name="Oval 11">
                <a:extLst>
                  <a:ext uri="{FF2B5EF4-FFF2-40B4-BE49-F238E27FC236}">
                    <a16:creationId xmlns:a16="http://schemas.microsoft.com/office/drawing/2014/main" id="{9790F9BC-6F9C-4586-A33B-91C14776570F}"/>
                  </a:ext>
                </a:extLst>
              </p:cNvPr>
              <p:cNvSpPr/>
              <p:nvPr/>
            </p:nvSpPr>
            <p:spPr>
              <a:xfrm>
                <a:off x="9368362" y="1034167"/>
                <a:ext cx="708740" cy="70874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FFFFFF"/>
                  </a:solidFill>
                  <a:effectLst/>
                  <a:uLnTx/>
                  <a:uFillTx/>
                  <a:latin typeface="等线" panose="020F0502020204030204"/>
                  <a:ea typeface="+mn-ea"/>
                  <a:cs typeface="+mn-cs"/>
                </a:endParaRPr>
              </a:p>
            </p:txBody>
          </p:sp>
        </p:grpSp>
        <p:grpSp>
          <p:nvGrpSpPr>
            <p:cNvPr id="6" name="Group 12">
              <a:extLst>
                <a:ext uri="{FF2B5EF4-FFF2-40B4-BE49-F238E27FC236}">
                  <a16:creationId xmlns:a16="http://schemas.microsoft.com/office/drawing/2014/main" id="{65E661E8-7DA4-431A-9F15-66A35DEB5E87}"/>
                </a:ext>
              </a:extLst>
            </p:cNvPr>
            <p:cNvGrpSpPr/>
            <p:nvPr/>
          </p:nvGrpSpPr>
          <p:grpSpPr>
            <a:xfrm>
              <a:off x="5727175" y="759672"/>
              <a:ext cx="5661066" cy="4411555"/>
              <a:chOff x="7071416" y="1121303"/>
              <a:chExt cx="4788017" cy="3731205"/>
            </a:xfrm>
            <a:solidFill>
              <a:schemeClr val="accent2">
                <a:alpha val="35000"/>
              </a:schemeClr>
            </a:solidFill>
          </p:grpSpPr>
          <p:sp>
            <p:nvSpPr>
              <p:cNvPr id="21" name="Oval 13">
                <a:extLst>
                  <a:ext uri="{FF2B5EF4-FFF2-40B4-BE49-F238E27FC236}">
                    <a16:creationId xmlns:a16="http://schemas.microsoft.com/office/drawing/2014/main" id="{114374A2-69BA-4C4E-A701-A79EC74E308C}"/>
                  </a:ext>
                </a:extLst>
              </p:cNvPr>
              <p:cNvSpPr/>
              <p:nvPr/>
            </p:nvSpPr>
            <p:spPr>
              <a:xfrm>
                <a:off x="7071416" y="1970672"/>
                <a:ext cx="604144" cy="60414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FFFFFF"/>
                  </a:solidFill>
                  <a:effectLst/>
                  <a:uLnTx/>
                  <a:uFillTx/>
                  <a:latin typeface="等线" panose="020F0502020204030204"/>
                  <a:ea typeface="+mn-ea"/>
                  <a:cs typeface="+mn-cs"/>
                </a:endParaRPr>
              </a:p>
            </p:txBody>
          </p:sp>
          <p:sp>
            <p:nvSpPr>
              <p:cNvPr id="22" name="Oval 14">
                <a:extLst>
                  <a:ext uri="{FF2B5EF4-FFF2-40B4-BE49-F238E27FC236}">
                    <a16:creationId xmlns:a16="http://schemas.microsoft.com/office/drawing/2014/main" id="{CE61E75D-B153-4FAB-BBC6-817A0CD63451}"/>
                  </a:ext>
                </a:extLst>
              </p:cNvPr>
              <p:cNvSpPr/>
              <p:nvPr/>
            </p:nvSpPr>
            <p:spPr>
              <a:xfrm>
                <a:off x="10028885" y="2266337"/>
                <a:ext cx="778885" cy="77888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FFFFFF"/>
                  </a:solidFill>
                  <a:effectLst/>
                  <a:uLnTx/>
                  <a:uFillTx/>
                  <a:latin typeface="等线" panose="020F0502020204030204"/>
                  <a:ea typeface="+mn-ea"/>
                  <a:cs typeface="+mn-cs"/>
                </a:endParaRPr>
              </a:p>
            </p:txBody>
          </p:sp>
          <p:sp>
            <p:nvSpPr>
              <p:cNvPr id="23" name="Oval 15">
                <a:extLst>
                  <a:ext uri="{FF2B5EF4-FFF2-40B4-BE49-F238E27FC236}">
                    <a16:creationId xmlns:a16="http://schemas.microsoft.com/office/drawing/2014/main" id="{C70B5F50-A41A-4626-9AC2-5285A1EA7E97}"/>
                  </a:ext>
                </a:extLst>
              </p:cNvPr>
              <p:cNvSpPr/>
              <p:nvPr/>
            </p:nvSpPr>
            <p:spPr>
              <a:xfrm>
                <a:off x="8444595" y="4164419"/>
                <a:ext cx="688089" cy="68808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FFFFFF"/>
                  </a:solidFill>
                  <a:effectLst/>
                  <a:uLnTx/>
                  <a:uFillTx/>
                  <a:latin typeface="等线" panose="020F0502020204030204"/>
                  <a:ea typeface="+mn-ea"/>
                  <a:cs typeface="+mn-cs"/>
                </a:endParaRPr>
              </a:p>
            </p:txBody>
          </p:sp>
          <p:sp>
            <p:nvSpPr>
              <p:cNvPr id="24" name="Oval 16">
                <a:extLst>
                  <a:ext uri="{FF2B5EF4-FFF2-40B4-BE49-F238E27FC236}">
                    <a16:creationId xmlns:a16="http://schemas.microsoft.com/office/drawing/2014/main" id="{3E101BBA-565B-472B-A791-8EE352A8A905}"/>
                  </a:ext>
                </a:extLst>
              </p:cNvPr>
              <p:cNvSpPr/>
              <p:nvPr/>
            </p:nvSpPr>
            <p:spPr>
              <a:xfrm>
                <a:off x="10677336" y="3875937"/>
                <a:ext cx="260868" cy="26086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FFFFFF"/>
                  </a:solidFill>
                  <a:effectLst/>
                  <a:uLnTx/>
                  <a:uFillTx/>
                  <a:latin typeface="等线" panose="020F0502020204030204"/>
                  <a:ea typeface="+mn-ea"/>
                  <a:cs typeface="+mn-cs"/>
                </a:endParaRPr>
              </a:p>
            </p:txBody>
          </p:sp>
          <p:sp>
            <p:nvSpPr>
              <p:cNvPr id="25" name="Oval 17">
                <a:extLst>
                  <a:ext uri="{FF2B5EF4-FFF2-40B4-BE49-F238E27FC236}">
                    <a16:creationId xmlns:a16="http://schemas.microsoft.com/office/drawing/2014/main" id="{6CC4BB2D-3D14-4772-AACF-8F455A7D3C74}"/>
                  </a:ext>
                </a:extLst>
              </p:cNvPr>
              <p:cNvSpPr/>
              <p:nvPr/>
            </p:nvSpPr>
            <p:spPr>
              <a:xfrm>
                <a:off x="11598565" y="2698248"/>
                <a:ext cx="260868" cy="26086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FFFFFF"/>
                  </a:solidFill>
                  <a:effectLst/>
                  <a:uLnTx/>
                  <a:uFillTx/>
                  <a:latin typeface="等线" panose="020F0502020204030204"/>
                  <a:ea typeface="+mn-ea"/>
                  <a:cs typeface="+mn-cs"/>
                </a:endParaRPr>
              </a:p>
            </p:txBody>
          </p:sp>
          <p:sp>
            <p:nvSpPr>
              <p:cNvPr id="26" name="Oval 18">
                <a:extLst>
                  <a:ext uri="{FF2B5EF4-FFF2-40B4-BE49-F238E27FC236}">
                    <a16:creationId xmlns:a16="http://schemas.microsoft.com/office/drawing/2014/main" id="{C45D1D3E-6C0B-417A-8BB8-FB0638C4E322}"/>
                  </a:ext>
                </a:extLst>
              </p:cNvPr>
              <p:cNvSpPr/>
              <p:nvPr/>
            </p:nvSpPr>
            <p:spPr>
              <a:xfrm>
                <a:off x="7688405" y="2869385"/>
                <a:ext cx="260868" cy="26086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FFFFFF"/>
                  </a:solidFill>
                  <a:effectLst/>
                  <a:uLnTx/>
                  <a:uFillTx/>
                  <a:latin typeface="等线" panose="020F0502020204030204"/>
                  <a:ea typeface="+mn-ea"/>
                  <a:cs typeface="+mn-cs"/>
                </a:endParaRPr>
              </a:p>
            </p:txBody>
          </p:sp>
          <p:sp>
            <p:nvSpPr>
              <p:cNvPr id="27" name="Oval 19">
                <a:extLst>
                  <a:ext uri="{FF2B5EF4-FFF2-40B4-BE49-F238E27FC236}">
                    <a16:creationId xmlns:a16="http://schemas.microsoft.com/office/drawing/2014/main" id="{0B31F9CF-0A20-4EAA-811D-5DCF9C8EC29C}"/>
                  </a:ext>
                </a:extLst>
              </p:cNvPr>
              <p:cNvSpPr/>
              <p:nvPr/>
            </p:nvSpPr>
            <p:spPr>
              <a:xfrm>
                <a:off x="9592298" y="1865334"/>
                <a:ext cx="260868" cy="26086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FFFFFF"/>
                  </a:solidFill>
                  <a:effectLst/>
                  <a:uLnTx/>
                  <a:uFillTx/>
                  <a:latin typeface="等线" panose="020F0502020204030204"/>
                  <a:ea typeface="+mn-ea"/>
                  <a:cs typeface="+mn-cs"/>
                </a:endParaRPr>
              </a:p>
            </p:txBody>
          </p:sp>
          <p:sp>
            <p:nvSpPr>
              <p:cNvPr id="28" name="Oval 20">
                <a:extLst>
                  <a:ext uri="{FF2B5EF4-FFF2-40B4-BE49-F238E27FC236}">
                    <a16:creationId xmlns:a16="http://schemas.microsoft.com/office/drawing/2014/main" id="{E7DFD7D5-8E9B-4640-B1B3-693B1D751BB4}"/>
                  </a:ext>
                </a:extLst>
              </p:cNvPr>
              <p:cNvSpPr/>
              <p:nvPr/>
            </p:nvSpPr>
            <p:spPr>
              <a:xfrm>
                <a:off x="7838577" y="1121303"/>
                <a:ext cx="759965" cy="75996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FFFFFF"/>
                  </a:solidFill>
                  <a:effectLst/>
                  <a:uLnTx/>
                  <a:uFillTx/>
                  <a:latin typeface="等线" panose="020F0502020204030204"/>
                  <a:ea typeface="+mn-ea"/>
                  <a:cs typeface="+mn-cs"/>
                </a:endParaRPr>
              </a:p>
            </p:txBody>
          </p:sp>
          <p:sp>
            <p:nvSpPr>
              <p:cNvPr id="29" name="Oval 21">
                <a:extLst>
                  <a:ext uri="{FF2B5EF4-FFF2-40B4-BE49-F238E27FC236}">
                    <a16:creationId xmlns:a16="http://schemas.microsoft.com/office/drawing/2014/main" id="{0D5BCDEE-4D5F-4E50-9E7B-3461CC2917A5}"/>
                  </a:ext>
                </a:extLst>
              </p:cNvPr>
              <p:cNvSpPr/>
              <p:nvPr/>
            </p:nvSpPr>
            <p:spPr>
              <a:xfrm>
                <a:off x="9111041" y="3345133"/>
                <a:ext cx="156009" cy="15600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FFFFFF"/>
                  </a:solidFill>
                  <a:effectLst/>
                  <a:uLnTx/>
                  <a:uFillTx/>
                  <a:latin typeface="等线" panose="020F0502020204030204"/>
                  <a:ea typeface="+mn-ea"/>
                  <a:cs typeface="+mn-cs"/>
                </a:endParaRPr>
              </a:p>
            </p:txBody>
          </p:sp>
          <p:sp>
            <p:nvSpPr>
              <p:cNvPr id="30" name="Oval 22">
                <a:extLst>
                  <a:ext uri="{FF2B5EF4-FFF2-40B4-BE49-F238E27FC236}">
                    <a16:creationId xmlns:a16="http://schemas.microsoft.com/office/drawing/2014/main" id="{86FF35FD-9FFD-4F26-8475-812AAE3E2747}"/>
                  </a:ext>
                </a:extLst>
              </p:cNvPr>
              <p:cNvSpPr/>
              <p:nvPr/>
            </p:nvSpPr>
            <p:spPr>
              <a:xfrm>
                <a:off x="11106733" y="2785942"/>
                <a:ext cx="156009" cy="15600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FFFFFF"/>
                  </a:solidFill>
                  <a:effectLst/>
                  <a:uLnTx/>
                  <a:uFillTx/>
                  <a:latin typeface="等线" panose="020F0502020204030204"/>
                  <a:ea typeface="+mn-ea"/>
                  <a:cs typeface="+mn-cs"/>
                </a:endParaRPr>
              </a:p>
            </p:txBody>
          </p:sp>
        </p:grpSp>
        <p:sp>
          <p:nvSpPr>
            <p:cNvPr id="7" name="Oval 34">
              <a:extLst>
                <a:ext uri="{FF2B5EF4-FFF2-40B4-BE49-F238E27FC236}">
                  <a16:creationId xmlns:a16="http://schemas.microsoft.com/office/drawing/2014/main" id="{2D56CC8A-DF3A-43F3-B77A-583BF7C05DC3}"/>
                </a:ext>
              </a:extLst>
            </p:cNvPr>
            <p:cNvSpPr/>
            <p:nvPr/>
          </p:nvSpPr>
          <p:spPr>
            <a:xfrm>
              <a:off x="8036674" y="1754359"/>
              <a:ext cx="1699211" cy="1699211"/>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FFFFFF"/>
                </a:solidFill>
                <a:effectLst/>
                <a:uLnTx/>
                <a:uFillTx/>
                <a:latin typeface="等线" panose="020F0502020204030204"/>
                <a:ea typeface="+mn-ea"/>
                <a:cs typeface="+mn-cs"/>
              </a:endParaRPr>
            </a:p>
          </p:txBody>
        </p:sp>
        <p:sp>
          <p:nvSpPr>
            <p:cNvPr id="8" name="Oval 35">
              <a:extLst>
                <a:ext uri="{FF2B5EF4-FFF2-40B4-BE49-F238E27FC236}">
                  <a16:creationId xmlns:a16="http://schemas.microsoft.com/office/drawing/2014/main" id="{6EF150CB-6A2B-4D2F-837C-950703E4652F}"/>
                </a:ext>
              </a:extLst>
            </p:cNvPr>
            <p:cNvSpPr/>
            <p:nvPr/>
          </p:nvSpPr>
          <p:spPr>
            <a:xfrm>
              <a:off x="9883694" y="2749751"/>
              <a:ext cx="1699211" cy="1699211"/>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FFFFFF"/>
                </a:solidFill>
                <a:effectLst/>
                <a:uLnTx/>
                <a:uFillTx/>
                <a:latin typeface="等线" panose="020F0502020204030204"/>
                <a:ea typeface="+mn-ea"/>
                <a:cs typeface="+mn-cs"/>
              </a:endParaRPr>
            </a:p>
          </p:txBody>
        </p:sp>
        <p:sp>
          <p:nvSpPr>
            <p:cNvPr id="9" name="Oval 36">
              <a:extLst>
                <a:ext uri="{FF2B5EF4-FFF2-40B4-BE49-F238E27FC236}">
                  <a16:creationId xmlns:a16="http://schemas.microsoft.com/office/drawing/2014/main" id="{A3B09AE9-4245-47EA-9CAA-309B350DF048}"/>
                </a:ext>
              </a:extLst>
            </p:cNvPr>
            <p:cNvSpPr/>
            <p:nvPr/>
          </p:nvSpPr>
          <p:spPr>
            <a:xfrm>
              <a:off x="5362239" y="1167545"/>
              <a:ext cx="1699211" cy="1699211"/>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FFFFFF"/>
                </a:solidFill>
                <a:effectLst/>
                <a:uLnTx/>
                <a:uFillTx/>
                <a:latin typeface="等线" panose="020F0502020204030204"/>
                <a:ea typeface="+mn-ea"/>
                <a:cs typeface="+mn-cs"/>
              </a:endParaRPr>
            </a:p>
          </p:txBody>
        </p:sp>
        <p:sp>
          <p:nvSpPr>
            <p:cNvPr id="10" name="Oval 37">
              <a:extLst>
                <a:ext uri="{FF2B5EF4-FFF2-40B4-BE49-F238E27FC236}">
                  <a16:creationId xmlns:a16="http://schemas.microsoft.com/office/drawing/2014/main" id="{EAC6AB08-01ED-490C-89A3-2F4CFB473754}"/>
                </a:ext>
              </a:extLst>
            </p:cNvPr>
            <p:cNvSpPr/>
            <p:nvPr/>
          </p:nvSpPr>
          <p:spPr>
            <a:xfrm>
              <a:off x="6819914" y="682599"/>
              <a:ext cx="1791074" cy="1791075"/>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FFFFFF"/>
                </a:solidFill>
                <a:effectLst/>
                <a:uLnTx/>
                <a:uFillTx/>
                <a:latin typeface="等线" panose="020F0502020204030204"/>
                <a:ea typeface="+mn-ea"/>
                <a:cs typeface="+mn-cs"/>
              </a:endParaRPr>
            </a:p>
          </p:txBody>
        </p:sp>
        <p:sp>
          <p:nvSpPr>
            <p:cNvPr id="11" name="Oval 38">
              <a:extLst>
                <a:ext uri="{FF2B5EF4-FFF2-40B4-BE49-F238E27FC236}">
                  <a16:creationId xmlns:a16="http://schemas.microsoft.com/office/drawing/2014/main" id="{F11A4339-76C6-47F9-8805-51EDD1C2E518}"/>
                </a:ext>
              </a:extLst>
            </p:cNvPr>
            <p:cNvSpPr/>
            <p:nvPr/>
          </p:nvSpPr>
          <p:spPr>
            <a:xfrm>
              <a:off x="10207040" y="1460733"/>
              <a:ext cx="1699211" cy="169921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FFFFFF"/>
                </a:solidFill>
                <a:effectLst/>
                <a:uLnTx/>
                <a:uFillTx/>
                <a:latin typeface="等线" panose="020F0502020204030204"/>
                <a:ea typeface="+mn-ea"/>
                <a:cs typeface="+mn-cs"/>
              </a:endParaRPr>
            </a:p>
          </p:txBody>
        </p:sp>
        <p:sp>
          <p:nvSpPr>
            <p:cNvPr id="12" name="Oval 39">
              <a:extLst>
                <a:ext uri="{FF2B5EF4-FFF2-40B4-BE49-F238E27FC236}">
                  <a16:creationId xmlns:a16="http://schemas.microsoft.com/office/drawing/2014/main" id="{58F8ECB5-8F5F-4104-AAA6-16C37BF8CBA7}"/>
                </a:ext>
              </a:extLst>
            </p:cNvPr>
            <p:cNvSpPr/>
            <p:nvPr/>
          </p:nvSpPr>
          <p:spPr>
            <a:xfrm>
              <a:off x="9035072" y="605039"/>
              <a:ext cx="1699211" cy="1699211"/>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FFFFFF"/>
                </a:solidFill>
                <a:effectLst/>
                <a:uLnTx/>
                <a:uFillTx/>
                <a:latin typeface="等线" panose="020F0502020204030204"/>
                <a:ea typeface="+mn-ea"/>
                <a:cs typeface="+mn-cs"/>
              </a:endParaRPr>
            </a:p>
          </p:txBody>
        </p:sp>
        <p:sp>
          <p:nvSpPr>
            <p:cNvPr id="13" name="Oval 40">
              <a:extLst>
                <a:ext uri="{FF2B5EF4-FFF2-40B4-BE49-F238E27FC236}">
                  <a16:creationId xmlns:a16="http://schemas.microsoft.com/office/drawing/2014/main" id="{1AC0C7D6-B294-47BD-81DD-E876BAEB1802}"/>
                </a:ext>
              </a:extLst>
            </p:cNvPr>
            <p:cNvSpPr/>
            <p:nvPr/>
          </p:nvSpPr>
          <p:spPr>
            <a:xfrm>
              <a:off x="6016162" y="2631620"/>
              <a:ext cx="1699211" cy="169921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dirty="0">
                <a:ln>
                  <a:noFill/>
                </a:ln>
                <a:solidFill>
                  <a:srgbClr val="FFFFFF"/>
                </a:solidFill>
                <a:effectLst/>
                <a:uLnTx/>
                <a:uFillTx/>
                <a:latin typeface="等线" panose="020F0502020204030204"/>
                <a:ea typeface="+mn-ea"/>
                <a:cs typeface="+mn-cs"/>
              </a:endParaRPr>
            </a:p>
          </p:txBody>
        </p:sp>
        <p:sp>
          <p:nvSpPr>
            <p:cNvPr id="14" name="Freeform 28">
              <a:extLst>
                <a:ext uri="{FF2B5EF4-FFF2-40B4-BE49-F238E27FC236}">
                  <a16:creationId xmlns:a16="http://schemas.microsoft.com/office/drawing/2014/main" id="{04082213-6ACD-46DD-A673-FD7F99EE6368}"/>
                </a:ext>
              </a:extLst>
            </p:cNvPr>
            <p:cNvSpPr>
              <a:spLocks noChangeArrowheads="1"/>
            </p:cNvSpPr>
            <p:nvPr/>
          </p:nvSpPr>
          <p:spPr bwMode="auto">
            <a:xfrm>
              <a:off x="8610996" y="2338623"/>
              <a:ext cx="617042" cy="516387"/>
            </a:xfrm>
            <a:custGeom>
              <a:avLst/>
              <a:gdLst>
                <a:gd name="T0" fmla="*/ 55735 w 498"/>
                <a:gd name="T1" fmla="*/ 36300 h 418"/>
                <a:gd name="T2" fmla="*/ 55735 w 498"/>
                <a:gd name="T3" fmla="*/ 36300 h 418"/>
                <a:gd name="T4" fmla="*/ 16181 w 498"/>
                <a:gd name="T5" fmla="*/ 115622 h 418"/>
                <a:gd name="T6" fmla="*/ 155518 w 498"/>
                <a:gd name="T7" fmla="*/ 51985 h 418"/>
                <a:gd name="T8" fmla="*/ 4045 w 498"/>
                <a:gd name="T9" fmla="*/ 171192 h 418"/>
                <a:gd name="T10" fmla="*/ 19777 w 498"/>
                <a:gd name="T11" fmla="*/ 179258 h 418"/>
                <a:gd name="T12" fmla="*/ 43599 w 498"/>
                <a:gd name="T13" fmla="*/ 139373 h 418"/>
                <a:gd name="T14" fmla="*/ 131696 w 498"/>
                <a:gd name="T15" fmla="*/ 139373 h 418"/>
                <a:gd name="T16" fmla="*/ 210803 w 498"/>
                <a:gd name="T17" fmla="*/ 32267 h 418"/>
                <a:gd name="T18" fmla="*/ 55735 w 498"/>
                <a:gd name="T19" fmla="*/ 36300 h 41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98" h="418">
                  <a:moveTo>
                    <a:pt x="124" y="81"/>
                  </a:moveTo>
                  <a:lnTo>
                    <a:pt x="124" y="81"/>
                  </a:lnTo>
                  <a:cubicBezTo>
                    <a:pt x="27" y="134"/>
                    <a:pt x="36" y="222"/>
                    <a:pt x="36" y="258"/>
                  </a:cubicBezTo>
                  <a:cubicBezTo>
                    <a:pt x="159" y="107"/>
                    <a:pt x="346" y="116"/>
                    <a:pt x="346" y="116"/>
                  </a:cubicBezTo>
                  <a:cubicBezTo>
                    <a:pt x="346" y="116"/>
                    <a:pt x="80" y="204"/>
                    <a:pt x="9" y="382"/>
                  </a:cubicBezTo>
                  <a:cubicBezTo>
                    <a:pt x="0" y="400"/>
                    <a:pt x="36" y="417"/>
                    <a:pt x="44" y="400"/>
                  </a:cubicBezTo>
                  <a:cubicBezTo>
                    <a:pt x="62" y="355"/>
                    <a:pt x="97" y="311"/>
                    <a:pt x="97" y="311"/>
                  </a:cubicBezTo>
                  <a:cubicBezTo>
                    <a:pt x="151" y="329"/>
                    <a:pt x="230" y="355"/>
                    <a:pt x="293" y="311"/>
                  </a:cubicBezTo>
                  <a:cubicBezTo>
                    <a:pt x="363" y="258"/>
                    <a:pt x="363" y="134"/>
                    <a:pt x="469" y="72"/>
                  </a:cubicBezTo>
                  <a:cubicBezTo>
                    <a:pt x="497" y="63"/>
                    <a:pt x="249" y="0"/>
                    <a:pt x="124" y="81"/>
                  </a:cubicBezTo>
                </a:path>
              </a:pathLst>
            </a:custGeom>
            <a:solidFill>
              <a:schemeClr val="bg1"/>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7"/>
                      </a:srgbClr>
                    </a:outerShdw>
                  </a:effectLst>
                </a14:hiddenEffects>
              </a:ext>
            </a:extLst>
          </p:spPr>
          <p:txBody>
            <a:bodyPr wrap="none" lIns="34290" tIns="17145" rIns="34290" bIns="17145"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15" name="Freeform 29">
              <a:extLst>
                <a:ext uri="{FF2B5EF4-FFF2-40B4-BE49-F238E27FC236}">
                  <a16:creationId xmlns:a16="http://schemas.microsoft.com/office/drawing/2014/main" id="{8C7DEDEB-2C23-4DBB-B4DE-EFE7EE8382B8}"/>
                </a:ext>
              </a:extLst>
            </p:cNvPr>
            <p:cNvSpPr>
              <a:spLocks noChangeArrowheads="1"/>
            </p:cNvSpPr>
            <p:nvPr/>
          </p:nvSpPr>
          <p:spPr bwMode="auto">
            <a:xfrm>
              <a:off x="6617678" y="3181665"/>
              <a:ext cx="551397" cy="568902"/>
            </a:xfrm>
            <a:custGeom>
              <a:avLst/>
              <a:gdLst>
                <a:gd name="T0" fmla="*/ 111726 w 444"/>
                <a:gd name="T1" fmla="*/ 150538 h 462"/>
                <a:gd name="T2" fmla="*/ 111726 w 444"/>
                <a:gd name="T3" fmla="*/ 150538 h 462"/>
                <a:gd name="T4" fmla="*/ 144162 w 444"/>
                <a:gd name="T5" fmla="*/ 114802 h 462"/>
                <a:gd name="T6" fmla="*/ 199574 w 444"/>
                <a:gd name="T7" fmla="*/ 31716 h 462"/>
                <a:gd name="T8" fmla="*/ 191916 w 444"/>
                <a:gd name="T9" fmla="*/ 23675 h 462"/>
                <a:gd name="T10" fmla="*/ 155875 w 444"/>
                <a:gd name="T11" fmla="*/ 23675 h 462"/>
                <a:gd name="T12" fmla="*/ 100013 w 444"/>
                <a:gd name="T13" fmla="*/ 0 h 462"/>
                <a:gd name="T14" fmla="*/ 44150 w 444"/>
                <a:gd name="T15" fmla="*/ 23675 h 462"/>
                <a:gd name="T16" fmla="*/ 8109 w 444"/>
                <a:gd name="T17" fmla="*/ 23675 h 462"/>
                <a:gd name="T18" fmla="*/ 0 w 444"/>
                <a:gd name="T19" fmla="*/ 31716 h 462"/>
                <a:gd name="T20" fmla="*/ 55863 w 444"/>
                <a:gd name="T21" fmla="*/ 114802 h 462"/>
                <a:gd name="T22" fmla="*/ 87849 w 444"/>
                <a:gd name="T23" fmla="*/ 150538 h 462"/>
                <a:gd name="T24" fmla="*/ 87849 w 444"/>
                <a:gd name="T25" fmla="*/ 166172 h 462"/>
                <a:gd name="T26" fmla="*/ 48204 w 444"/>
                <a:gd name="T27" fmla="*/ 185827 h 462"/>
                <a:gd name="T28" fmla="*/ 100013 w 444"/>
                <a:gd name="T29" fmla="*/ 205928 h 462"/>
                <a:gd name="T30" fmla="*/ 147766 w 444"/>
                <a:gd name="T31" fmla="*/ 185827 h 462"/>
                <a:gd name="T32" fmla="*/ 111726 w 444"/>
                <a:gd name="T33" fmla="*/ 166172 h 462"/>
                <a:gd name="T34" fmla="*/ 111726 w 444"/>
                <a:gd name="T35" fmla="*/ 150538 h 462"/>
                <a:gd name="T36" fmla="*/ 144162 w 444"/>
                <a:gd name="T37" fmla="*/ 94700 h 462"/>
                <a:gd name="T38" fmla="*/ 144162 w 444"/>
                <a:gd name="T39" fmla="*/ 94700 h 462"/>
                <a:gd name="T40" fmla="*/ 155875 w 444"/>
                <a:gd name="T41" fmla="*/ 39756 h 462"/>
                <a:gd name="T42" fmla="*/ 183807 w 444"/>
                <a:gd name="T43" fmla="*/ 39756 h 462"/>
                <a:gd name="T44" fmla="*/ 144162 w 444"/>
                <a:gd name="T45" fmla="*/ 94700 h 462"/>
                <a:gd name="T46" fmla="*/ 100013 w 444"/>
                <a:gd name="T47" fmla="*/ 16081 h 462"/>
                <a:gd name="T48" fmla="*/ 100013 w 444"/>
                <a:gd name="T49" fmla="*/ 16081 h 462"/>
                <a:gd name="T50" fmla="*/ 144162 w 444"/>
                <a:gd name="T51" fmla="*/ 31716 h 462"/>
                <a:gd name="T52" fmla="*/ 100013 w 444"/>
                <a:gd name="T53" fmla="*/ 51370 h 462"/>
                <a:gd name="T54" fmla="*/ 55863 w 444"/>
                <a:gd name="T55" fmla="*/ 31716 h 462"/>
                <a:gd name="T56" fmla="*/ 100013 w 444"/>
                <a:gd name="T57" fmla="*/ 16081 h 462"/>
                <a:gd name="T58" fmla="*/ 16218 w 444"/>
                <a:gd name="T59" fmla="*/ 39756 h 462"/>
                <a:gd name="T60" fmla="*/ 16218 w 444"/>
                <a:gd name="T61" fmla="*/ 39756 h 462"/>
                <a:gd name="T62" fmla="*/ 44150 w 444"/>
                <a:gd name="T63" fmla="*/ 39756 h 462"/>
                <a:gd name="T64" fmla="*/ 55863 w 444"/>
                <a:gd name="T65" fmla="*/ 94700 h 462"/>
                <a:gd name="T66" fmla="*/ 16218 w 444"/>
                <a:gd name="T67" fmla="*/ 39756 h 462"/>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444" h="462">
                  <a:moveTo>
                    <a:pt x="248" y="337"/>
                  </a:moveTo>
                  <a:lnTo>
                    <a:pt x="248" y="337"/>
                  </a:lnTo>
                  <a:cubicBezTo>
                    <a:pt x="248" y="302"/>
                    <a:pt x="275" y="283"/>
                    <a:pt x="320" y="257"/>
                  </a:cubicBezTo>
                  <a:cubicBezTo>
                    <a:pt x="373" y="221"/>
                    <a:pt x="443" y="177"/>
                    <a:pt x="443" y="71"/>
                  </a:cubicBezTo>
                  <a:cubicBezTo>
                    <a:pt x="443" y="62"/>
                    <a:pt x="434" y="53"/>
                    <a:pt x="426" y="53"/>
                  </a:cubicBezTo>
                  <a:cubicBezTo>
                    <a:pt x="346" y="53"/>
                    <a:pt x="346" y="53"/>
                    <a:pt x="346" y="53"/>
                  </a:cubicBezTo>
                  <a:cubicBezTo>
                    <a:pt x="328" y="27"/>
                    <a:pt x="293" y="0"/>
                    <a:pt x="222" y="0"/>
                  </a:cubicBezTo>
                  <a:cubicBezTo>
                    <a:pt x="151" y="0"/>
                    <a:pt x="116" y="27"/>
                    <a:pt x="98" y="53"/>
                  </a:cubicBezTo>
                  <a:cubicBezTo>
                    <a:pt x="18" y="53"/>
                    <a:pt x="18" y="53"/>
                    <a:pt x="18" y="53"/>
                  </a:cubicBezTo>
                  <a:cubicBezTo>
                    <a:pt x="9" y="53"/>
                    <a:pt x="0" y="62"/>
                    <a:pt x="0" y="71"/>
                  </a:cubicBezTo>
                  <a:cubicBezTo>
                    <a:pt x="0" y="177"/>
                    <a:pt x="62" y="221"/>
                    <a:pt x="124" y="257"/>
                  </a:cubicBezTo>
                  <a:cubicBezTo>
                    <a:pt x="169" y="283"/>
                    <a:pt x="195" y="302"/>
                    <a:pt x="195" y="337"/>
                  </a:cubicBezTo>
                  <a:cubicBezTo>
                    <a:pt x="195" y="372"/>
                    <a:pt x="195" y="372"/>
                    <a:pt x="195" y="372"/>
                  </a:cubicBezTo>
                  <a:cubicBezTo>
                    <a:pt x="142" y="381"/>
                    <a:pt x="107" y="399"/>
                    <a:pt x="107" y="416"/>
                  </a:cubicBezTo>
                  <a:cubicBezTo>
                    <a:pt x="107" y="443"/>
                    <a:pt x="160" y="461"/>
                    <a:pt x="222" y="461"/>
                  </a:cubicBezTo>
                  <a:cubicBezTo>
                    <a:pt x="283" y="461"/>
                    <a:pt x="328" y="443"/>
                    <a:pt x="328" y="416"/>
                  </a:cubicBezTo>
                  <a:cubicBezTo>
                    <a:pt x="328" y="399"/>
                    <a:pt x="302" y="381"/>
                    <a:pt x="248" y="372"/>
                  </a:cubicBezTo>
                  <a:lnTo>
                    <a:pt x="248" y="337"/>
                  </a:lnTo>
                  <a:close/>
                  <a:moveTo>
                    <a:pt x="320" y="212"/>
                  </a:moveTo>
                  <a:lnTo>
                    <a:pt x="320" y="212"/>
                  </a:lnTo>
                  <a:cubicBezTo>
                    <a:pt x="337" y="186"/>
                    <a:pt x="346" y="142"/>
                    <a:pt x="346" y="89"/>
                  </a:cubicBezTo>
                  <a:cubicBezTo>
                    <a:pt x="408" y="89"/>
                    <a:pt x="408" y="89"/>
                    <a:pt x="408" y="89"/>
                  </a:cubicBezTo>
                  <a:cubicBezTo>
                    <a:pt x="399" y="151"/>
                    <a:pt x="364" y="186"/>
                    <a:pt x="320" y="212"/>
                  </a:cubicBezTo>
                  <a:close/>
                  <a:moveTo>
                    <a:pt x="222" y="36"/>
                  </a:moveTo>
                  <a:lnTo>
                    <a:pt x="222" y="36"/>
                  </a:lnTo>
                  <a:cubicBezTo>
                    <a:pt x="293" y="36"/>
                    <a:pt x="320" y="62"/>
                    <a:pt x="320" y="71"/>
                  </a:cubicBezTo>
                  <a:cubicBezTo>
                    <a:pt x="320" y="80"/>
                    <a:pt x="293" y="106"/>
                    <a:pt x="222" y="115"/>
                  </a:cubicBezTo>
                  <a:cubicBezTo>
                    <a:pt x="151" y="106"/>
                    <a:pt x="124" y="80"/>
                    <a:pt x="124" y="71"/>
                  </a:cubicBezTo>
                  <a:cubicBezTo>
                    <a:pt x="124" y="62"/>
                    <a:pt x="151" y="36"/>
                    <a:pt x="222" y="36"/>
                  </a:cubicBezTo>
                  <a:close/>
                  <a:moveTo>
                    <a:pt x="36" y="89"/>
                  </a:moveTo>
                  <a:lnTo>
                    <a:pt x="36" y="89"/>
                  </a:lnTo>
                  <a:cubicBezTo>
                    <a:pt x="98" y="89"/>
                    <a:pt x="98" y="89"/>
                    <a:pt x="98" y="89"/>
                  </a:cubicBezTo>
                  <a:cubicBezTo>
                    <a:pt x="98" y="142"/>
                    <a:pt x="107" y="186"/>
                    <a:pt x="124" y="212"/>
                  </a:cubicBezTo>
                  <a:cubicBezTo>
                    <a:pt x="80" y="186"/>
                    <a:pt x="36" y="151"/>
                    <a:pt x="36" y="89"/>
                  </a:cubicBezTo>
                  <a:close/>
                </a:path>
              </a:pathLst>
            </a:custGeom>
            <a:solidFill>
              <a:schemeClr val="bg1"/>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7"/>
                      </a:srgbClr>
                    </a:outerShdw>
                  </a:effectLst>
                </a14:hiddenEffects>
              </a:ext>
            </a:extLst>
          </p:spPr>
          <p:txBody>
            <a:bodyPr wrap="none" lIns="34290" tIns="17145" rIns="34290" bIns="17145"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16" name="Freeform 47">
              <a:extLst>
                <a:ext uri="{FF2B5EF4-FFF2-40B4-BE49-F238E27FC236}">
                  <a16:creationId xmlns:a16="http://schemas.microsoft.com/office/drawing/2014/main" id="{52D56AE2-ACA5-4523-A764-6A21E0A312A7}"/>
                </a:ext>
              </a:extLst>
            </p:cNvPr>
            <p:cNvSpPr>
              <a:spLocks noChangeArrowheads="1"/>
            </p:cNvSpPr>
            <p:nvPr/>
          </p:nvSpPr>
          <p:spPr bwMode="auto">
            <a:xfrm>
              <a:off x="10796909" y="2021385"/>
              <a:ext cx="591107" cy="519327"/>
            </a:xfrm>
            <a:custGeom>
              <a:avLst/>
              <a:gdLst>
                <a:gd name="T0" fmla="*/ 221804 w 498"/>
                <a:gd name="T1" fmla="*/ 194813 h 435"/>
                <a:gd name="T2" fmla="*/ 221804 w 498"/>
                <a:gd name="T3" fmla="*/ 194813 h 435"/>
                <a:gd name="T4" fmla="*/ 217341 w 498"/>
                <a:gd name="T5" fmla="*/ 147232 h 435"/>
                <a:gd name="T6" fmla="*/ 189671 w 498"/>
                <a:gd name="T7" fmla="*/ 131521 h 435"/>
                <a:gd name="T8" fmla="*/ 166018 w 498"/>
                <a:gd name="T9" fmla="*/ 103691 h 435"/>
                <a:gd name="T10" fmla="*/ 174051 w 498"/>
                <a:gd name="T11" fmla="*/ 87980 h 435"/>
                <a:gd name="T12" fmla="*/ 182084 w 498"/>
                <a:gd name="T13" fmla="*/ 71372 h 435"/>
                <a:gd name="T14" fmla="*/ 178068 w 498"/>
                <a:gd name="T15" fmla="*/ 67781 h 435"/>
                <a:gd name="T16" fmla="*/ 182084 w 498"/>
                <a:gd name="T17" fmla="*/ 51621 h 435"/>
                <a:gd name="T18" fmla="*/ 154415 w 498"/>
                <a:gd name="T19" fmla="*/ 27830 h 435"/>
                <a:gd name="T20" fmla="*/ 126745 w 498"/>
                <a:gd name="T21" fmla="*/ 51621 h 435"/>
                <a:gd name="T22" fmla="*/ 130762 w 498"/>
                <a:gd name="T23" fmla="*/ 67781 h 435"/>
                <a:gd name="T24" fmla="*/ 126745 w 498"/>
                <a:gd name="T25" fmla="*/ 71372 h 435"/>
                <a:gd name="T26" fmla="*/ 134778 w 498"/>
                <a:gd name="T27" fmla="*/ 87980 h 435"/>
                <a:gd name="T28" fmla="*/ 138795 w 498"/>
                <a:gd name="T29" fmla="*/ 103691 h 435"/>
                <a:gd name="T30" fmla="*/ 130762 w 498"/>
                <a:gd name="T31" fmla="*/ 123441 h 435"/>
                <a:gd name="T32" fmla="*/ 170035 w 498"/>
                <a:gd name="T33" fmla="*/ 163392 h 435"/>
                <a:gd name="T34" fmla="*/ 170035 w 498"/>
                <a:gd name="T35" fmla="*/ 194813 h 435"/>
                <a:gd name="T36" fmla="*/ 221804 w 498"/>
                <a:gd name="T37" fmla="*/ 194813 h 435"/>
                <a:gd name="T38" fmla="*/ 115142 w 498"/>
                <a:gd name="T39" fmla="*/ 135561 h 435"/>
                <a:gd name="T40" fmla="*/ 115142 w 498"/>
                <a:gd name="T41" fmla="*/ 135561 h 435"/>
                <a:gd name="T42" fmla="*/ 83455 w 498"/>
                <a:gd name="T43" fmla="*/ 103691 h 435"/>
                <a:gd name="T44" fmla="*/ 95059 w 498"/>
                <a:gd name="T45" fmla="*/ 75412 h 435"/>
                <a:gd name="T46" fmla="*/ 103092 w 498"/>
                <a:gd name="T47" fmla="*/ 59701 h 435"/>
                <a:gd name="T48" fmla="*/ 99075 w 498"/>
                <a:gd name="T49" fmla="*/ 51621 h 435"/>
                <a:gd name="T50" fmla="*/ 103092 w 498"/>
                <a:gd name="T51" fmla="*/ 31870 h 435"/>
                <a:gd name="T52" fmla="*/ 67389 w 498"/>
                <a:gd name="T53" fmla="*/ 0 h 435"/>
                <a:gd name="T54" fmla="*/ 31686 w 498"/>
                <a:gd name="T55" fmla="*/ 31870 h 435"/>
                <a:gd name="T56" fmla="*/ 31686 w 498"/>
                <a:gd name="T57" fmla="*/ 51621 h 435"/>
                <a:gd name="T58" fmla="*/ 31686 w 498"/>
                <a:gd name="T59" fmla="*/ 59701 h 435"/>
                <a:gd name="T60" fmla="*/ 39719 w 498"/>
                <a:gd name="T61" fmla="*/ 75412 h 435"/>
                <a:gd name="T62" fmla="*/ 47753 w 498"/>
                <a:gd name="T63" fmla="*/ 103691 h 435"/>
                <a:gd name="T64" fmla="*/ 20083 w 498"/>
                <a:gd name="T65" fmla="*/ 135561 h 435"/>
                <a:gd name="T66" fmla="*/ 0 w 498"/>
                <a:gd name="T67" fmla="*/ 155312 h 435"/>
                <a:gd name="T68" fmla="*/ 0 w 498"/>
                <a:gd name="T69" fmla="*/ 194813 h 435"/>
                <a:gd name="T70" fmla="*/ 154415 w 498"/>
                <a:gd name="T71" fmla="*/ 194813 h 435"/>
                <a:gd name="T72" fmla="*/ 154415 w 498"/>
                <a:gd name="T73" fmla="*/ 163392 h 435"/>
                <a:gd name="T74" fmla="*/ 115142 w 498"/>
                <a:gd name="T75" fmla="*/ 135561 h 435"/>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498" h="435">
                  <a:moveTo>
                    <a:pt x="497" y="434"/>
                  </a:moveTo>
                  <a:lnTo>
                    <a:pt x="497" y="434"/>
                  </a:lnTo>
                  <a:cubicBezTo>
                    <a:pt x="497" y="434"/>
                    <a:pt x="497" y="337"/>
                    <a:pt x="487" y="328"/>
                  </a:cubicBezTo>
                  <a:cubicBezTo>
                    <a:pt x="479" y="319"/>
                    <a:pt x="462" y="302"/>
                    <a:pt x="425" y="293"/>
                  </a:cubicBezTo>
                  <a:cubicBezTo>
                    <a:pt x="390" y="275"/>
                    <a:pt x="372" y="257"/>
                    <a:pt x="372" y="231"/>
                  </a:cubicBezTo>
                  <a:cubicBezTo>
                    <a:pt x="372" y="213"/>
                    <a:pt x="390" y="222"/>
                    <a:pt x="390" y="196"/>
                  </a:cubicBezTo>
                  <a:cubicBezTo>
                    <a:pt x="390" y="178"/>
                    <a:pt x="408" y="196"/>
                    <a:pt x="408" y="159"/>
                  </a:cubicBezTo>
                  <a:cubicBezTo>
                    <a:pt x="408" y="151"/>
                    <a:pt x="399" y="151"/>
                    <a:pt x="399" y="151"/>
                  </a:cubicBezTo>
                  <a:cubicBezTo>
                    <a:pt x="399" y="151"/>
                    <a:pt x="408" y="133"/>
                    <a:pt x="408" y="115"/>
                  </a:cubicBezTo>
                  <a:cubicBezTo>
                    <a:pt x="408" y="98"/>
                    <a:pt x="399" y="62"/>
                    <a:pt x="346" y="62"/>
                  </a:cubicBezTo>
                  <a:cubicBezTo>
                    <a:pt x="293" y="62"/>
                    <a:pt x="284" y="98"/>
                    <a:pt x="284" y="115"/>
                  </a:cubicBezTo>
                  <a:cubicBezTo>
                    <a:pt x="284" y="133"/>
                    <a:pt x="293" y="151"/>
                    <a:pt x="293" y="151"/>
                  </a:cubicBezTo>
                  <a:cubicBezTo>
                    <a:pt x="293" y="151"/>
                    <a:pt x="284" y="151"/>
                    <a:pt x="284" y="159"/>
                  </a:cubicBezTo>
                  <a:cubicBezTo>
                    <a:pt x="284" y="196"/>
                    <a:pt x="293" y="178"/>
                    <a:pt x="302" y="196"/>
                  </a:cubicBezTo>
                  <a:cubicBezTo>
                    <a:pt x="302" y="222"/>
                    <a:pt x="311" y="213"/>
                    <a:pt x="311" y="231"/>
                  </a:cubicBezTo>
                  <a:cubicBezTo>
                    <a:pt x="311" y="249"/>
                    <a:pt x="311" y="266"/>
                    <a:pt x="293" y="275"/>
                  </a:cubicBezTo>
                  <a:cubicBezTo>
                    <a:pt x="372" y="319"/>
                    <a:pt x="381" y="319"/>
                    <a:pt x="381" y="364"/>
                  </a:cubicBezTo>
                  <a:cubicBezTo>
                    <a:pt x="381" y="434"/>
                    <a:pt x="381" y="434"/>
                    <a:pt x="381" y="434"/>
                  </a:cubicBezTo>
                  <a:lnTo>
                    <a:pt x="497" y="434"/>
                  </a:lnTo>
                  <a:close/>
                  <a:moveTo>
                    <a:pt x="258" y="302"/>
                  </a:moveTo>
                  <a:lnTo>
                    <a:pt x="258" y="302"/>
                  </a:lnTo>
                  <a:cubicBezTo>
                    <a:pt x="204" y="284"/>
                    <a:pt x="187" y="266"/>
                    <a:pt x="187" y="231"/>
                  </a:cubicBezTo>
                  <a:cubicBezTo>
                    <a:pt x="187" y="204"/>
                    <a:pt x="204" y="213"/>
                    <a:pt x="213" y="168"/>
                  </a:cubicBezTo>
                  <a:cubicBezTo>
                    <a:pt x="213" y="159"/>
                    <a:pt x="231" y="168"/>
                    <a:pt x="231" y="133"/>
                  </a:cubicBezTo>
                  <a:cubicBezTo>
                    <a:pt x="231" y="115"/>
                    <a:pt x="222" y="115"/>
                    <a:pt x="222" y="115"/>
                  </a:cubicBezTo>
                  <a:cubicBezTo>
                    <a:pt x="222" y="115"/>
                    <a:pt x="222" y="89"/>
                    <a:pt x="231" y="71"/>
                  </a:cubicBezTo>
                  <a:cubicBezTo>
                    <a:pt x="231" y="53"/>
                    <a:pt x="213" y="0"/>
                    <a:pt x="151" y="0"/>
                  </a:cubicBezTo>
                  <a:cubicBezTo>
                    <a:pt x="80" y="0"/>
                    <a:pt x="71" y="53"/>
                    <a:pt x="71" y="71"/>
                  </a:cubicBezTo>
                  <a:cubicBezTo>
                    <a:pt x="71" y="89"/>
                    <a:pt x="71" y="115"/>
                    <a:pt x="71" y="115"/>
                  </a:cubicBezTo>
                  <a:cubicBezTo>
                    <a:pt x="71" y="115"/>
                    <a:pt x="71" y="115"/>
                    <a:pt x="71" y="133"/>
                  </a:cubicBezTo>
                  <a:cubicBezTo>
                    <a:pt x="71" y="168"/>
                    <a:pt x="80" y="159"/>
                    <a:pt x="89" y="168"/>
                  </a:cubicBezTo>
                  <a:cubicBezTo>
                    <a:pt x="89" y="213"/>
                    <a:pt x="107" y="204"/>
                    <a:pt x="107" y="231"/>
                  </a:cubicBezTo>
                  <a:cubicBezTo>
                    <a:pt x="107" y="266"/>
                    <a:pt x="89" y="284"/>
                    <a:pt x="45" y="302"/>
                  </a:cubicBezTo>
                  <a:cubicBezTo>
                    <a:pt x="27" y="310"/>
                    <a:pt x="0" y="319"/>
                    <a:pt x="0" y="346"/>
                  </a:cubicBezTo>
                  <a:cubicBezTo>
                    <a:pt x="0" y="434"/>
                    <a:pt x="0" y="434"/>
                    <a:pt x="0" y="434"/>
                  </a:cubicBezTo>
                  <a:cubicBezTo>
                    <a:pt x="346" y="434"/>
                    <a:pt x="346" y="434"/>
                    <a:pt x="346" y="434"/>
                  </a:cubicBezTo>
                  <a:cubicBezTo>
                    <a:pt x="346" y="434"/>
                    <a:pt x="346" y="381"/>
                    <a:pt x="346" y="364"/>
                  </a:cubicBezTo>
                  <a:cubicBezTo>
                    <a:pt x="346" y="346"/>
                    <a:pt x="302" y="328"/>
                    <a:pt x="258" y="302"/>
                  </a:cubicBezTo>
                  <a:close/>
                </a:path>
              </a:pathLst>
            </a:custGeom>
            <a:solidFill>
              <a:schemeClr val="bg1"/>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7"/>
                      </a:srgbClr>
                    </a:outerShdw>
                  </a:effectLst>
                </a14:hiddenEffects>
              </a:ext>
            </a:extLst>
          </p:spPr>
          <p:txBody>
            <a:bodyPr wrap="none" lIns="34290" tIns="17145" rIns="34290" bIns="17145"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17" name="Freeform 79">
              <a:extLst>
                <a:ext uri="{FF2B5EF4-FFF2-40B4-BE49-F238E27FC236}">
                  <a16:creationId xmlns:a16="http://schemas.microsoft.com/office/drawing/2014/main" id="{28314C7C-EF03-425A-9018-74E9A1FAF24B}"/>
                </a:ext>
              </a:extLst>
            </p:cNvPr>
            <p:cNvSpPr>
              <a:spLocks noChangeArrowheads="1"/>
            </p:cNvSpPr>
            <p:nvPr/>
          </p:nvSpPr>
          <p:spPr bwMode="auto">
            <a:xfrm>
              <a:off x="9615489" y="1143255"/>
              <a:ext cx="569997" cy="574216"/>
            </a:xfrm>
            <a:custGeom>
              <a:avLst/>
              <a:gdLst>
                <a:gd name="T0" fmla="*/ 106933 w 479"/>
                <a:gd name="T1" fmla="*/ 0 h 479"/>
                <a:gd name="T2" fmla="*/ 106933 w 479"/>
                <a:gd name="T3" fmla="*/ 0 h 479"/>
                <a:gd name="T4" fmla="*/ 0 w 479"/>
                <a:gd name="T5" fmla="*/ 107725 h 479"/>
                <a:gd name="T6" fmla="*/ 106933 w 479"/>
                <a:gd name="T7" fmla="*/ 215449 h 479"/>
                <a:gd name="T8" fmla="*/ 213866 w 479"/>
                <a:gd name="T9" fmla="*/ 107725 h 479"/>
                <a:gd name="T10" fmla="*/ 106933 w 479"/>
                <a:gd name="T11" fmla="*/ 0 h 479"/>
                <a:gd name="T12" fmla="*/ 198206 w 479"/>
                <a:gd name="T13" fmla="*/ 107725 h 479"/>
                <a:gd name="T14" fmla="*/ 198206 w 479"/>
                <a:gd name="T15" fmla="*/ 107725 h 479"/>
                <a:gd name="T16" fmla="*/ 178520 w 479"/>
                <a:gd name="T17" fmla="*/ 163615 h 479"/>
                <a:gd name="T18" fmla="*/ 174493 w 479"/>
                <a:gd name="T19" fmla="*/ 147840 h 479"/>
                <a:gd name="T20" fmla="*/ 178520 w 479"/>
                <a:gd name="T21" fmla="*/ 115838 h 479"/>
                <a:gd name="T22" fmla="*/ 166439 w 479"/>
                <a:gd name="T23" fmla="*/ 91949 h 479"/>
                <a:gd name="T24" fmla="*/ 142726 w 479"/>
                <a:gd name="T25" fmla="*/ 80230 h 479"/>
                <a:gd name="T26" fmla="*/ 154806 w 479"/>
                <a:gd name="T27" fmla="*/ 39664 h 479"/>
                <a:gd name="T28" fmla="*/ 131093 w 479"/>
                <a:gd name="T29" fmla="*/ 27945 h 479"/>
                <a:gd name="T30" fmla="*/ 134673 w 479"/>
                <a:gd name="T31" fmla="*/ 23889 h 479"/>
                <a:gd name="T32" fmla="*/ 198206 w 479"/>
                <a:gd name="T33" fmla="*/ 107725 h 479"/>
                <a:gd name="T34" fmla="*/ 94853 w 479"/>
                <a:gd name="T35" fmla="*/ 19832 h 479"/>
                <a:gd name="T36" fmla="*/ 94853 w 479"/>
                <a:gd name="T37" fmla="*/ 19832 h 479"/>
                <a:gd name="T38" fmla="*/ 83220 w 479"/>
                <a:gd name="T39" fmla="*/ 27945 h 479"/>
                <a:gd name="T40" fmla="*/ 67113 w 479"/>
                <a:gd name="T41" fmla="*/ 39664 h 479"/>
                <a:gd name="T42" fmla="*/ 51453 w 479"/>
                <a:gd name="T43" fmla="*/ 59947 h 479"/>
                <a:gd name="T44" fmla="*/ 59507 w 479"/>
                <a:gd name="T45" fmla="*/ 71666 h 479"/>
                <a:gd name="T46" fmla="*/ 79193 w 479"/>
                <a:gd name="T47" fmla="*/ 71666 h 479"/>
                <a:gd name="T48" fmla="*/ 110960 w 479"/>
                <a:gd name="T49" fmla="*/ 107725 h 479"/>
                <a:gd name="T50" fmla="*/ 83220 w 479"/>
                <a:gd name="T51" fmla="*/ 131613 h 479"/>
                <a:gd name="T52" fmla="*/ 79193 w 479"/>
                <a:gd name="T53" fmla="*/ 151896 h 479"/>
                <a:gd name="T54" fmla="*/ 79193 w 479"/>
                <a:gd name="T55" fmla="*/ 175785 h 479"/>
                <a:gd name="T56" fmla="*/ 59507 w 479"/>
                <a:gd name="T57" fmla="*/ 155502 h 479"/>
                <a:gd name="T58" fmla="*/ 55480 w 479"/>
                <a:gd name="T59" fmla="*/ 128008 h 479"/>
                <a:gd name="T60" fmla="*/ 39373 w 479"/>
                <a:gd name="T61" fmla="*/ 107725 h 479"/>
                <a:gd name="T62" fmla="*/ 47426 w 479"/>
                <a:gd name="T63" fmla="*/ 83836 h 479"/>
                <a:gd name="T64" fmla="*/ 23713 w 479"/>
                <a:gd name="T65" fmla="*/ 76173 h 479"/>
                <a:gd name="T66" fmla="*/ 94853 w 479"/>
                <a:gd name="T67" fmla="*/ 19832 h 479"/>
                <a:gd name="T68" fmla="*/ 79193 w 479"/>
                <a:gd name="T69" fmla="*/ 195617 h 479"/>
                <a:gd name="T70" fmla="*/ 79193 w 479"/>
                <a:gd name="T71" fmla="*/ 195617 h 479"/>
                <a:gd name="T72" fmla="*/ 91273 w 479"/>
                <a:gd name="T73" fmla="*/ 187504 h 479"/>
                <a:gd name="T74" fmla="*/ 106933 w 479"/>
                <a:gd name="T75" fmla="*/ 183447 h 479"/>
                <a:gd name="T76" fmla="*/ 131093 w 479"/>
                <a:gd name="T77" fmla="*/ 175785 h 479"/>
                <a:gd name="T78" fmla="*/ 158386 w 479"/>
                <a:gd name="T79" fmla="*/ 183447 h 479"/>
                <a:gd name="T80" fmla="*/ 106933 w 479"/>
                <a:gd name="T81" fmla="*/ 199674 h 479"/>
                <a:gd name="T82" fmla="*/ 79193 w 479"/>
                <a:gd name="T83" fmla="*/ 195617 h 479"/>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479" h="479">
                  <a:moveTo>
                    <a:pt x="239" y="0"/>
                  </a:moveTo>
                  <a:lnTo>
                    <a:pt x="239" y="0"/>
                  </a:lnTo>
                  <a:cubicBezTo>
                    <a:pt x="106" y="0"/>
                    <a:pt x="0" y="106"/>
                    <a:pt x="0" y="239"/>
                  </a:cubicBezTo>
                  <a:cubicBezTo>
                    <a:pt x="0" y="372"/>
                    <a:pt x="106" y="478"/>
                    <a:pt x="239" y="478"/>
                  </a:cubicBezTo>
                  <a:cubicBezTo>
                    <a:pt x="372" y="478"/>
                    <a:pt x="478" y="372"/>
                    <a:pt x="478" y="239"/>
                  </a:cubicBezTo>
                  <a:cubicBezTo>
                    <a:pt x="478" y="106"/>
                    <a:pt x="372" y="0"/>
                    <a:pt x="239" y="0"/>
                  </a:cubicBezTo>
                  <a:close/>
                  <a:moveTo>
                    <a:pt x="443" y="239"/>
                  </a:moveTo>
                  <a:lnTo>
                    <a:pt x="443" y="239"/>
                  </a:lnTo>
                  <a:cubicBezTo>
                    <a:pt x="443" y="292"/>
                    <a:pt x="425" y="328"/>
                    <a:pt x="399" y="363"/>
                  </a:cubicBezTo>
                  <a:cubicBezTo>
                    <a:pt x="390" y="363"/>
                    <a:pt x="381" y="345"/>
                    <a:pt x="390" y="328"/>
                  </a:cubicBezTo>
                  <a:cubicBezTo>
                    <a:pt x="399" y="310"/>
                    <a:pt x="399" y="275"/>
                    <a:pt x="399" y="257"/>
                  </a:cubicBezTo>
                  <a:cubicBezTo>
                    <a:pt x="399" y="239"/>
                    <a:pt x="390" y="204"/>
                    <a:pt x="372" y="204"/>
                  </a:cubicBezTo>
                  <a:cubicBezTo>
                    <a:pt x="346" y="204"/>
                    <a:pt x="337" y="204"/>
                    <a:pt x="319" y="178"/>
                  </a:cubicBezTo>
                  <a:cubicBezTo>
                    <a:pt x="301" y="124"/>
                    <a:pt x="372" y="115"/>
                    <a:pt x="346" y="88"/>
                  </a:cubicBezTo>
                  <a:cubicBezTo>
                    <a:pt x="337" y="80"/>
                    <a:pt x="301" y="115"/>
                    <a:pt x="293" y="62"/>
                  </a:cubicBezTo>
                  <a:lnTo>
                    <a:pt x="301" y="53"/>
                  </a:lnTo>
                  <a:cubicBezTo>
                    <a:pt x="381" y="80"/>
                    <a:pt x="443" y="150"/>
                    <a:pt x="443" y="239"/>
                  </a:cubicBezTo>
                  <a:close/>
                  <a:moveTo>
                    <a:pt x="212" y="44"/>
                  </a:moveTo>
                  <a:lnTo>
                    <a:pt x="212" y="44"/>
                  </a:lnTo>
                  <a:cubicBezTo>
                    <a:pt x="204" y="53"/>
                    <a:pt x="194" y="53"/>
                    <a:pt x="186" y="62"/>
                  </a:cubicBezTo>
                  <a:cubicBezTo>
                    <a:pt x="168" y="80"/>
                    <a:pt x="159" y="71"/>
                    <a:pt x="150" y="88"/>
                  </a:cubicBezTo>
                  <a:cubicBezTo>
                    <a:pt x="141" y="106"/>
                    <a:pt x="115" y="124"/>
                    <a:pt x="115" y="133"/>
                  </a:cubicBezTo>
                  <a:cubicBezTo>
                    <a:pt x="115" y="142"/>
                    <a:pt x="133" y="159"/>
                    <a:pt x="133" y="159"/>
                  </a:cubicBezTo>
                  <a:cubicBezTo>
                    <a:pt x="141" y="150"/>
                    <a:pt x="159" y="150"/>
                    <a:pt x="177" y="159"/>
                  </a:cubicBezTo>
                  <a:cubicBezTo>
                    <a:pt x="186" y="159"/>
                    <a:pt x="275" y="169"/>
                    <a:pt x="248" y="239"/>
                  </a:cubicBezTo>
                  <a:cubicBezTo>
                    <a:pt x="239" y="266"/>
                    <a:pt x="194" y="257"/>
                    <a:pt x="186" y="292"/>
                  </a:cubicBezTo>
                  <a:cubicBezTo>
                    <a:pt x="186" y="301"/>
                    <a:pt x="186" y="328"/>
                    <a:pt x="177" y="337"/>
                  </a:cubicBezTo>
                  <a:cubicBezTo>
                    <a:pt x="177" y="345"/>
                    <a:pt x="186" y="390"/>
                    <a:pt x="177" y="390"/>
                  </a:cubicBezTo>
                  <a:cubicBezTo>
                    <a:pt x="168" y="390"/>
                    <a:pt x="133" y="345"/>
                    <a:pt x="133" y="345"/>
                  </a:cubicBezTo>
                  <a:cubicBezTo>
                    <a:pt x="133" y="337"/>
                    <a:pt x="124" y="310"/>
                    <a:pt x="124" y="284"/>
                  </a:cubicBezTo>
                  <a:cubicBezTo>
                    <a:pt x="124" y="266"/>
                    <a:pt x="88" y="266"/>
                    <a:pt x="88" y="239"/>
                  </a:cubicBezTo>
                  <a:cubicBezTo>
                    <a:pt x="88" y="213"/>
                    <a:pt x="106" y="195"/>
                    <a:pt x="106" y="186"/>
                  </a:cubicBezTo>
                  <a:cubicBezTo>
                    <a:pt x="97" y="169"/>
                    <a:pt x="62" y="169"/>
                    <a:pt x="53" y="169"/>
                  </a:cubicBezTo>
                  <a:cubicBezTo>
                    <a:pt x="80" y="97"/>
                    <a:pt x="141" y="53"/>
                    <a:pt x="212" y="44"/>
                  </a:cubicBezTo>
                  <a:close/>
                  <a:moveTo>
                    <a:pt x="177" y="434"/>
                  </a:moveTo>
                  <a:lnTo>
                    <a:pt x="177" y="434"/>
                  </a:lnTo>
                  <a:cubicBezTo>
                    <a:pt x="186" y="425"/>
                    <a:pt x="186" y="416"/>
                    <a:pt x="204" y="416"/>
                  </a:cubicBezTo>
                  <a:cubicBezTo>
                    <a:pt x="212" y="416"/>
                    <a:pt x="221" y="416"/>
                    <a:pt x="239" y="407"/>
                  </a:cubicBezTo>
                  <a:cubicBezTo>
                    <a:pt x="248" y="407"/>
                    <a:pt x="275" y="398"/>
                    <a:pt x="293" y="390"/>
                  </a:cubicBezTo>
                  <a:cubicBezTo>
                    <a:pt x="310" y="390"/>
                    <a:pt x="346" y="398"/>
                    <a:pt x="354" y="407"/>
                  </a:cubicBezTo>
                  <a:cubicBezTo>
                    <a:pt x="319" y="434"/>
                    <a:pt x="284" y="443"/>
                    <a:pt x="239" y="443"/>
                  </a:cubicBezTo>
                  <a:cubicBezTo>
                    <a:pt x="221" y="443"/>
                    <a:pt x="194" y="443"/>
                    <a:pt x="177" y="434"/>
                  </a:cubicBezTo>
                  <a:close/>
                </a:path>
              </a:pathLst>
            </a:custGeom>
            <a:solidFill>
              <a:schemeClr val="bg1"/>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7"/>
                      </a:srgbClr>
                    </a:outerShdw>
                  </a:effectLst>
                </a14:hiddenEffects>
              </a:ext>
            </a:extLst>
          </p:spPr>
          <p:txBody>
            <a:bodyPr wrap="none" lIns="34290" tIns="17145" rIns="34290" bIns="17145"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18" name="Freeform 117">
              <a:extLst>
                <a:ext uri="{FF2B5EF4-FFF2-40B4-BE49-F238E27FC236}">
                  <a16:creationId xmlns:a16="http://schemas.microsoft.com/office/drawing/2014/main" id="{6CD157E2-A1A9-42B5-8373-80B3D7B92829}"/>
                </a:ext>
              </a:extLst>
            </p:cNvPr>
            <p:cNvSpPr>
              <a:spLocks noChangeArrowheads="1"/>
            </p:cNvSpPr>
            <p:nvPr/>
          </p:nvSpPr>
          <p:spPr bwMode="auto">
            <a:xfrm>
              <a:off x="5915432" y="1776700"/>
              <a:ext cx="553104" cy="510886"/>
            </a:xfrm>
            <a:custGeom>
              <a:avLst/>
              <a:gdLst>
                <a:gd name="T0" fmla="*/ 119736 w 462"/>
                <a:gd name="T1" fmla="*/ 0 h 427"/>
                <a:gd name="T2" fmla="*/ 119736 w 462"/>
                <a:gd name="T3" fmla="*/ 0 h 427"/>
                <a:gd name="T4" fmla="*/ 119736 w 462"/>
                <a:gd name="T5" fmla="*/ 0 h 427"/>
                <a:gd name="T6" fmla="*/ 31960 w 462"/>
                <a:gd name="T7" fmla="*/ 35988 h 427"/>
                <a:gd name="T8" fmla="*/ 36011 w 462"/>
                <a:gd name="T9" fmla="*/ 64329 h 427"/>
                <a:gd name="T10" fmla="*/ 0 w 462"/>
                <a:gd name="T11" fmla="*/ 107965 h 427"/>
                <a:gd name="T12" fmla="*/ 51765 w 462"/>
                <a:gd name="T13" fmla="*/ 143504 h 427"/>
                <a:gd name="T14" fmla="*/ 103981 w 462"/>
                <a:gd name="T15" fmla="*/ 119661 h 427"/>
                <a:gd name="T16" fmla="*/ 103981 w 462"/>
                <a:gd name="T17" fmla="*/ 112014 h 427"/>
                <a:gd name="T18" fmla="*/ 119736 w 462"/>
                <a:gd name="T19" fmla="*/ 95819 h 427"/>
                <a:gd name="T20" fmla="*/ 135941 w 462"/>
                <a:gd name="T21" fmla="*/ 112014 h 427"/>
                <a:gd name="T22" fmla="*/ 119736 w 462"/>
                <a:gd name="T23" fmla="*/ 127759 h 427"/>
                <a:gd name="T24" fmla="*/ 51765 w 462"/>
                <a:gd name="T25" fmla="*/ 159698 h 427"/>
                <a:gd name="T26" fmla="*/ 51765 w 462"/>
                <a:gd name="T27" fmla="*/ 167346 h 427"/>
                <a:gd name="T28" fmla="*/ 119736 w 462"/>
                <a:gd name="T29" fmla="*/ 191638 h 427"/>
                <a:gd name="T30" fmla="*/ 119736 w 462"/>
                <a:gd name="T31" fmla="*/ 191638 h 427"/>
                <a:gd name="T32" fmla="*/ 183655 w 462"/>
                <a:gd name="T33" fmla="*/ 167346 h 427"/>
                <a:gd name="T34" fmla="*/ 203911 w 462"/>
                <a:gd name="T35" fmla="*/ 35988 h 427"/>
                <a:gd name="T36" fmla="*/ 119736 w 462"/>
                <a:gd name="T37" fmla="*/ 0 h 427"/>
                <a:gd name="T38" fmla="*/ 16205 w 462"/>
                <a:gd name="T39" fmla="*/ 103916 h 427"/>
                <a:gd name="T40" fmla="*/ 16205 w 462"/>
                <a:gd name="T41" fmla="*/ 103916 h 427"/>
                <a:gd name="T42" fmla="*/ 40062 w 462"/>
                <a:gd name="T43" fmla="*/ 80074 h 427"/>
                <a:gd name="T44" fmla="*/ 47714 w 462"/>
                <a:gd name="T45" fmla="*/ 127759 h 427"/>
                <a:gd name="T46" fmla="*/ 16205 w 462"/>
                <a:gd name="T47" fmla="*/ 103916 h 427"/>
                <a:gd name="T48" fmla="*/ 119736 w 462"/>
                <a:gd name="T49" fmla="*/ 59831 h 427"/>
                <a:gd name="T50" fmla="*/ 119736 w 462"/>
                <a:gd name="T51" fmla="*/ 59831 h 427"/>
                <a:gd name="T52" fmla="*/ 47714 w 462"/>
                <a:gd name="T53" fmla="*/ 35988 h 427"/>
                <a:gd name="T54" fmla="*/ 119736 w 462"/>
                <a:gd name="T55" fmla="*/ 16195 h 427"/>
                <a:gd name="T56" fmla="*/ 187256 w 462"/>
                <a:gd name="T57" fmla="*/ 35988 h 427"/>
                <a:gd name="T58" fmla="*/ 119736 w 462"/>
                <a:gd name="T59" fmla="*/ 59831 h 427"/>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462" h="427">
                  <a:moveTo>
                    <a:pt x="266" y="0"/>
                  </a:moveTo>
                  <a:lnTo>
                    <a:pt x="266" y="0"/>
                  </a:lnTo>
                  <a:cubicBezTo>
                    <a:pt x="142" y="0"/>
                    <a:pt x="62" y="45"/>
                    <a:pt x="71" y="80"/>
                  </a:cubicBezTo>
                  <a:cubicBezTo>
                    <a:pt x="71" y="89"/>
                    <a:pt x="71" y="116"/>
                    <a:pt x="80" y="143"/>
                  </a:cubicBezTo>
                  <a:cubicBezTo>
                    <a:pt x="18" y="169"/>
                    <a:pt x="0" y="205"/>
                    <a:pt x="0" y="240"/>
                  </a:cubicBezTo>
                  <a:cubicBezTo>
                    <a:pt x="9" y="275"/>
                    <a:pt x="36" y="311"/>
                    <a:pt x="115" y="319"/>
                  </a:cubicBezTo>
                  <a:cubicBezTo>
                    <a:pt x="151" y="319"/>
                    <a:pt x="204" y="302"/>
                    <a:pt x="231" y="266"/>
                  </a:cubicBezTo>
                  <a:cubicBezTo>
                    <a:pt x="231" y="258"/>
                    <a:pt x="231" y="249"/>
                    <a:pt x="231" y="249"/>
                  </a:cubicBezTo>
                  <a:cubicBezTo>
                    <a:pt x="231" y="222"/>
                    <a:pt x="249" y="213"/>
                    <a:pt x="266" y="213"/>
                  </a:cubicBezTo>
                  <a:cubicBezTo>
                    <a:pt x="284" y="213"/>
                    <a:pt x="302" y="222"/>
                    <a:pt x="302" y="249"/>
                  </a:cubicBezTo>
                  <a:cubicBezTo>
                    <a:pt x="302" y="266"/>
                    <a:pt x="284" y="284"/>
                    <a:pt x="266" y="284"/>
                  </a:cubicBezTo>
                  <a:cubicBezTo>
                    <a:pt x="222" y="328"/>
                    <a:pt x="169" y="355"/>
                    <a:pt x="115" y="355"/>
                  </a:cubicBezTo>
                  <a:cubicBezTo>
                    <a:pt x="115" y="364"/>
                    <a:pt x="115" y="364"/>
                    <a:pt x="115" y="372"/>
                  </a:cubicBezTo>
                  <a:cubicBezTo>
                    <a:pt x="115" y="381"/>
                    <a:pt x="178" y="426"/>
                    <a:pt x="266" y="426"/>
                  </a:cubicBezTo>
                  <a:cubicBezTo>
                    <a:pt x="355" y="426"/>
                    <a:pt x="408" y="381"/>
                    <a:pt x="408" y="372"/>
                  </a:cubicBezTo>
                  <a:cubicBezTo>
                    <a:pt x="416" y="355"/>
                    <a:pt x="453" y="116"/>
                    <a:pt x="453" y="80"/>
                  </a:cubicBezTo>
                  <a:cubicBezTo>
                    <a:pt x="461" y="45"/>
                    <a:pt x="381" y="0"/>
                    <a:pt x="266" y="0"/>
                  </a:cubicBezTo>
                  <a:close/>
                  <a:moveTo>
                    <a:pt x="36" y="231"/>
                  </a:moveTo>
                  <a:lnTo>
                    <a:pt x="36" y="231"/>
                  </a:lnTo>
                  <a:cubicBezTo>
                    <a:pt x="36" y="222"/>
                    <a:pt x="53" y="196"/>
                    <a:pt x="89" y="178"/>
                  </a:cubicBezTo>
                  <a:cubicBezTo>
                    <a:pt x="89" y="213"/>
                    <a:pt x="98" y="249"/>
                    <a:pt x="106" y="284"/>
                  </a:cubicBezTo>
                  <a:cubicBezTo>
                    <a:pt x="62" y="275"/>
                    <a:pt x="44" y="258"/>
                    <a:pt x="36" y="231"/>
                  </a:cubicBezTo>
                  <a:close/>
                  <a:moveTo>
                    <a:pt x="266" y="133"/>
                  </a:moveTo>
                  <a:lnTo>
                    <a:pt x="266" y="133"/>
                  </a:lnTo>
                  <a:cubicBezTo>
                    <a:pt x="178" y="133"/>
                    <a:pt x="106" y="98"/>
                    <a:pt x="106" y="80"/>
                  </a:cubicBezTo>
                  <a:cubicBezTo>
                    <a:pt x="106" y="71"/>
                    <a:pt x="178" y="36"/>
                    <a:pt x="266" y="36"/>
                  </a:cubicBezTo>
                  <a:cubicBezTo>
                    <a:pt x="355" y="36"/>
                    <a:pt x="416" y="71"/>
                    <a:pt x="416" y="80"/>
                  </a:cubicBezTo>
                  <a:cubicBezTo>
                    <a:pt x="416" y="98"/>
                    <a:pt x="355" y="133"/>
                    <a:pt x="266" y="133"/>
                  </a:cubicBezTo>
                  <a:close/>
                </a:path>
              </a:pathLst>
            </a:custGeom>
            <a:solidFill>
              <a:schemeClr val="bg1"/>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7"/>
                      </a:srgbClr>
                    </a:outerShdw>
                  </a:effectLst>
                </a14:hiddenEffects>
              </a:ext>
            </a:extLst>
          </p:spPr>
          <p:txBody>
            <a:bodyPr wrap="none" lIns="34290" tIns="17145" rIns="34290" bIns="17145"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19" name="Freeform 151">
              <a:extLst>
                <a:ext uri="{FF2B5EF4-FFF2-40B4-BE49-F238E27FC236}">
                  <a16:creationId xmlns:a16="http://schemas.microsoft.com/office/drawing/2014/main" id="{3BCD0CC6-E61B-4EE4-B5EE-F3323C85BA56}"/>
                </a:ext>
              </a:extLst>
            </p:cNvPr>
            <p:cNvSpPr>
              <a:spLocks noChangeArrowheads="1"/>
            </p:cNvSpPr>
            <p:nvPr/>
          </p:nvSpPr>
          <p:spPr bwMode="auto">
            <a:xfrm>
              <a:off x="10461319" y="3445550"/>
              <a:ext cx="595326" cy="346218"/>
            </a:xfrm>
            <a:custGeom>
              <a:avLst/>
              <a:gdLst>
                <a:gd name="T0" fmla="*/ 55847 w 497"/>
                <a:gd name="T1" fmla="*/ 98187 h 293"/>
                <a:gd name="T2" fmla="*/ 55847 w 497"/>
                <a:gd name="T3" fmla="*/ 98187 h 293"/>
                <a:gd name="T4" fmla="*/ 55847 w 497"/>
                <a:gd name="T5" fmla="*/ 43095 h 293"/>
                <a:gd name="T6" fmla="*/ 79717 w 497"/>
                <a:gd name="T7" fmla="*/ 43095 h 293"/>
                <a:gd name="T8" fmla="*/ 39633 w 497"/>
                <a:gd name="T9" fmla="*/ 0 h 293"/>
                <a:gd name="T10" fmla="*/ 0 w 497"/>
                <a:gd name="T11" fmla="*/ 43095 h 293"/>
                <a:gd name="T12" fmla="*/ 23870 w 497"/>
                <a:gd name="T13" fmla="*/ 43095 h 293"/>
                <a:gd name="T14" fmla="*/ 23870 w 497"/>
                <a:gd name="T15" fmla="*/ 110182 h 293"/>
                <a:gd name="T16" fmla="*/ 43686 w 497"/>
                <a:gd name="T17" fmla="*/ 129731 h 293"/>
                <a:gd name="T18" fmla="*/ 143670 w 497"/>
                <a:gd name="T19" fmla="*/ 129731 h 293"/>
                <a:gd name="T20" fmla="*/ 115296 w 497"/>
                <a:gd name="T21" fmla="*/ 98187 h 293"/>
                <a:gd name="T22" fmla="*/ 55847 w 497"/>
                <a:gd name="T23" fmla="*/ 98187 h 293"/>
                <a:gd name="T24" fmla="*/ 199517 w 497"/>
                <a:gd name="T25" fmla="*/ 86635 h 293"/>
                <a:gd name="T26" fmla="*/ 199517 w 497"/>
                <a:gd name="T27" fmla="*/ 86635 h 293"/>
                <a:gd name="T28" fmla="*/ 199517 w 497"/>
                <a:gd name="T29" fmla="*/ 19548 h 293"/>
                <a:gd name="T30" fmla="*/ 179700 w 497"/>
                <a:gd name="T31" fmla="*/ 0 h 293"/>
                <a:gd name="T32" fmla="*/ 79717 w 497"/>
                <a:gd name="T33" fmla="*/ 0 h 293"/>
                <a:gd name="T34" fmla="*/ 107640 w 497"/>
                <a:gd name="T35" fmla="*/ 27101 h 293"/>
                <a:gd name="T36" fmla="*/ 167540 w 497"/>
                <a:gd name="T37" fmla="*/ 27101 h 293"/>
                <a:gd name="T38" fmla="*/ 167540 w 497"/>
                <a:gd name="T39" fmla="*/ 86635 h 293"/>
                <a:gd name="T40" fmla="*/ 143670 w 497"/>
                <a:gd name="T41" fmla="*/ 86635 h 293"/>
                <a:gd name="T42" fmla="*/ 183303 w 497"/>
                <a:gd name="T43" fmla="*/ 129731 h 293"/>
                <a:gd name="T44" fmla="*/ 223387 w 497"/>
                <a:gd name="T45" fmla="*/ 86635 h 293"/>
                <a:gd name="T46" fmla="*/ 199517 w 497"/>
                <a:gd name="T47" fmla="*/ 86635 h 293"/>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497" h="293">
                  <a:moveTo>
                    <a:pt x="124" y="221"/>
                  </a:moveTo>
                  <a:lnTo>
                    <a:pt x="124" y="221"/>
                  </a:lnTo>
                  <a:cubicBezTo>
                    <a:pt x="124" y="97"/>
                    <a:pt x="124" y="97"/>
                    <a:pt x="124" y="97"/>
                  </a:cubicBezTo>
                  <a:cubicBezTo>
                    <a:pt x="177" y="97"/>
                    <a:pt x="177" y="97"/>
                    <a:pt x="177" y="97"/>
                  </a:cubicBezTo>
                  <a:cubicBezTo>
                    <a:pt x="88" y="0"/>
                    <a:pt x="88" y="0"/>
                    <a:pt x="88" y="0"/>
                  </a:cubicBezTo>
                  <a:cubicBezTo>
                    <a:pt x="0" y="97"/>
                    <a:pt x="0" y="97"/>
                    <a:pt x="0" y="97"/>
                  </a:cubicBezTo>
                  <a:cubicBezTo>
                    <a:pt x="53" y="97"/>
                    <a:pt x="53" y="97"/>
                    <a:pt x="53" y="97"/>
                  </a:cubicBezTo>
                  <a:cubicBezTo>
                    <a:pt x="53" y="248"/>
                    <a:pt x="53" y="248"/>
                    <a:pt x="53" y="248"/>
                  </a:cubicBezTo>
                  <a:cubicBezTo>
                    <a:pt x="53" y="274"/>
                    <a:pt x="71" y="292"/>
                    <a:pt x="97" y="292"/>
                  </a:cubicBezTo>
                  <a:cubicBezTo>
                    <a:pt x="319" y="292"/>
                    <a:pt x="319" y="292"/>
                    <a:pt x="319" y="292"/>
                  </a:cubicBezTo>
                  <a:cubicBezTo>
                    <a:pt x="256" y="221"/>
                    <a:pt x="256" y="221"/>
                    <a:pt x="256" y="221"/>
                  </a:cubicBezTo>
                  <a:lnTo>
                    <a:pt x="124" y="221"/>
                  </a:lnTo>
                  <a:close/>
                  <a:moveTo>
                    <a:pt x="443" y="195"/>
                  </a:moveTo>
                  <a:lnTo>
                    <a:pt x="443" y="195"/>
                  </a:lnTo>
                  <a:cubicBezTo>
                    <a:pt x="443" y="44"/>
                    <a:pt x="443" y="44"/>
                    <a:pt x="443" y="44"/>
                  </a:cubicBezTo>
                  <a:cubicBezTo>
                    <a:pt x="443" y="17"/>
                    <a:pt x="425" y="0"/>
                    <a:pt x="399" y="0"/>
                  </a:cubicBezTo>
                  <a:cubicBezTo>
                    <a:pt x="177" y="0"/>
                    <a:pt x="177" y="0"/>
                    <a:pt x="177" y="0"/>
                  </a:cubicBezTo>
                  <a:cubicBezTo>
                    <a:pt x="239" y="61"/>
                    <a:pt x="239" y="61"/>
                    <a:pt x="239" y="61"/>
                  </a:cubicBezTo>
                  <a:cubicBezTo>
                    <a:pt x="372" y="61"/>
                    <a:pt x="372" y="61"/>
                    <a:pt x="372" y="61"/>
                  </a:cubicBezTo>
                  <a:cubicBezTo>
                    <a:pt x="372" y="195"/>
                    <a:pt x="372" y="195"/>
                    <a:pt x="372" y="195"/>
                  </a:cubicBezTo>
                  <a:cubicBezTo>
                    <a:pt x="319" y="195"/>
                    <a:pt x="319" y="195"/>
                    <a:pt x="319" y="195"/>
                  </a:cubicBezTo>
                  <a:cubicBezTo>
                    <a:pt x="407" y="292"/>
                    <a:pt x="407" y="292"/>
                    <a:pt x="407" y="292"/>
                  </a:cubicBezTo>
                  <a:cubicBezTo>
                    <a:pt x="496" y="195"/>
                    <a:pt x="496" y="195"/>
                    <a:pt x="496" y="195"/>
                  </a:cubicBezTo>
                  <a:lnTo>
                    <a:pt x="443" y="195"/>
                  </a:lnTo>
                  <a:close/>
                </a:path>
              </a:pathLst>
            </a:custGeom>
            <a:solidFill>
              <a:schemeClr val="bg1"/>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7"/>
                      </a:srgbClr>
                    </a:outerShdw>
                  </a:effectLst>
                </a14:hiddenEffects>
              </a:ext>
            </a:extLst>
          </p:spPr>
          <p:txBody>
            <a:bodyPr wrap="none" lIns="34290" tIns="17145" rIns="34290" bIns="17145"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20" name="Freeform 160">
              <a:extLst>
                <a:ext uri="{FF2B5EF4-FFF2-40B4-BE49-F238E27FC236}">
                  <a16:creationId xmlns:a16="http://schemas.microsoft.com/office/drawing/2014/main" id="{912B2764-3072-46BF-971C-2FD639FEC679}"/>
                </a:ext>
              </a:extLst>
            </p:cNvPr>
            <p:cNvSpPr>
              <a:spLocks noChangeArrowheads="1"/>
            </p:cNvSpPr>
            <p:nvPr/>
          </p:nvSpPr>
          <p:spPr bwMode="auto">
            <a:xfrm>
              <a:off x="7541554" y="1293445"/>
              <a:ext cx="418143" cy="360689"/>
            </a:xfrm>
            <a:custGeom>
              <a:avLst/>
              <a:gdLst>
                <a:gd name="T0" fmla="*/ 19849 w 461"/>
                <a:gd name="T1" fmla="*/ 55610 h 400"/>
                <a:gd name="T2" fmla="*/ 19849 w 461"/>
                <a:gd name="T3" fmla="*/ 55610 h 400"/>
                <a:gd name="T4" fmla="*/ 99696 w 461"/>
                <a:gd name="T5" fmla="*/ 47538 h 400"/>
                <a:gd name="T6" fmla="*/ 147965 w 461"/>
                <a:gd name="T7" fmla="*/ 63683 h 400"/>
                <a:gd name="T8" fmla="*/ 199843 w 461"/>
                <a:gd name="T9" fmla="*/ 39914 h 400"/>
                <a:gd name="T10" fmla="*/ 203452 w 461"/>
                <a:gd name="T11" fmla="*/ 23769 h 400"/>
                <a:gd name="T12" fmla="*/ 187663 w 461"/>
                <a:gd name="T13" fmla="*/ 23769 h 400"/>
                <a:gd name="T14" fmla="*/ 107816 w 461"/>
                <a:gd name="T15" fmla="*/ 27805 h 400"/>
                <a:gd name="T16" fmla="*/ 8120 w 461"/>
                <a:gd name="T17" fmla="*/ 39914 h 400"/>
                <a:gd name="T18" fmla="*/ 4060 w 461"/>
                <a:gd name="T19" fmla="*/ 55610 h 400"/>
                <a:gd name="T20" fmla="*/ 19849 w 461"/>
                <a:gd name="T21" fmla="*/ 55610 h 400"/>
                <a:gd name="T22" fmla="*/ 187663 w 461"/>
                <a:gd name="T23" fmla="*/ 79828 h 400"/>
                <a:gd name="T24" fmla="*/ 187663 w 461"/>
                <a:gd name="T25" fmla="*/ 79828 h 400"/>
                <a:gd name="T26" fmla="*/ 107816 w 461"/>
                <a:gd name="T27" fmla="*/ 87452 h 400"/>
                <a:gd name="T28" fmla="*/ 8120 w 461"/>
                <a:gd name="T29" fmla="*/ 95524 h 400"/>
                <a:gd name="T30" fmla="*/ 4060 w 461"/>
                <a:gd name="T31" fmla="*/ 111221 h 400"/>
                <a:gd name="T32" fmla="*/ 19849 w 461"/>
                <a:gd name="T33" fmla="*/ 111221 h 400"/>
                <a:gd name="T34" fmla="*/ 99696 w 461"/>
                <a:gd name="T35" fmla="*/ 107633 h 400"/>
                <a:gd name="T36" fmla="*/ 147965 w 461"/>
                <a:gd name="T37" fmla="*/ 123329 h 400"/>
                <a:gd name="T38" fmla="*/ 199843 w 461"/>
                <a:gd name="T39" fmla="*/ 99560 h 400"/>
                <a:gd name="T40" fmla="*/ 203452 w 461"/>
                <a:gd name="T41" fmla="*/ 83864 h 400"/>
                <a:gd name="T42" fmla="*/ 187663 w 461"/>
                <a:gd name="T43" fmla="*/ 79828 h 400"/>
                <a:gd name="T44" fmla="*/ 187663 w 461"/>
                <a:gd name="T45" fmla="*/ 135438 h 400"/>
                <a:gd name="T46" fmla="*/ 187663 w 461"/>
                <a:gd name="T47" fmla="*/ 135438 h 400"/>
                <a:gd name="T48" fmla="*/ 107816 w 461"/>
                <a:gd name="T49" fmla="*/ 143062 h 400"/>
                <a:gd name="T50" fmla="*/ 8120 w 461"/>
                <a:gd name="T51" fmla="*/ 151134 h 400"/>
                <a:gd name="T52" fmla="*/ 4060 w 461"/>
                <a:gd name="T53" fmla="*/ 166831 h 400"/>
                <a:gd name="T54" fmla="*/ 19849 w 461"/>
                <a:gd name="T55" fmla="*/ 170867 h 400"/>
                <a:gd name="T56" fmla="*/ 99696 w 461"/>
                <a:gd name="T57" fmla="*/ 162795 h 400"/>
                <a:gd name="T58" fmla="*/ 147965 w 461"/>
                <a:gd name="T59" fmla="*/ 178940 h 400"/>
                <a:gd name="T60" fmla="*/ 199843 w 461"/>
                <a:gd name="T61" fmla="*/ 155171 h 400"/>
                <a:gd name="T62" fmla="*/ 203452 w 461"/>
                <a:gd name="T63" fmla="*/ 139026 h 400"/>
                <a:gd name="T64" fmla="*/ 187663 w 461"/>
                <a:gd name="T65" fmla="*/ 135438 h 40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461" h="400">
                  <a:moveTo>
                    <a:pt x="44" y="124"/>
                  </a:moveTo>
                  <a:lnTo>
                    <a:pt x="44" y="124"/>
                  </a:lnTo>
                  <a:cubicBezTo>
                    <a:pt x="88" y="89"/>
                    <a:pt x="124" y="62"/>
                    <a:pt x="221" y="106"/>
                  </a:cubicBezTo>
                  <a:cubicBezTo>
                    <a:pt x="266" y="133"/>
                    <a:pt x="301" y="142"/>
                    <a:pt x="328" y="142"/>
                  </a:cubicBezTo>
                  <a:cubicBezTo>
                    <a:pt x="381" y="142"/>
                    <a:pt x="416" y="115"/>
                    <a:pt x="443" y="89"/>
                  </a:cubicBezTo>
                  <a:cubicBezTo>
                    <a:pt x="451" y="80"/>
                    <a:pt x="460" y="62"/>
                    <a:pt x="451" y="53"/>
                  </a:cubicBezTo>
                  <a:cubicBezTo>
                    <a:pt x="443" y="44"/>
                    <a:pt x="425" y="44"/>
                    <a:pt x="416" y="53"/>
                  </a:cubicBezTo>
                  <a:cubicBezTo>
                    <a:pt x="372" y="89"/>
                    <a:pt x="337" y="115"/>
                    <a:pt x="239" y="62"/>
                  </a:cubicBezTo>
                  <a:cubicBezTo>
                    <a:pt x="124" y="0"/>
                    <a:pt x="62" y="44"/>
                    <a:pt x="18" y="89"/>
                  </a:cubicBezTo>
                  <a:cubicBezTo>
                    <a:pt x="9" y="97"/>
                    <a:pt x="0" y="115"/>
                    <a:pt x="9" y="124"/>
                  </a:cubicBezTo>
                  <a:cubicBezTo>
                    <a:pt x="18" y="133"/>
                    <a:pt x="35" y="133"/>
                    <a:pt x="44" y="124"/>
                  </a:cubicBezTo>
                  <a:close/>
                  <a:moveTo>
                    <a:pt x="416" y="178"/>
                  </a:moveTo>
                  <a:lnTo>
                    <a:pt x="416" y="178"/>
                  </a:lnTo>
                  <a:cubicBezTo>
                    <a:pt x="372" y="213"/>
                    <a:pt x="337" y="248"/>
                    <a:pt x="239" y="195"/>
                  </a:cubicBezTo>
                  <a:cubicBezTo>
                    <a:pt x="124" y="124"/>
                    <a:pt x="62" y="178"/>
                    <a:pt x="18" y="213"/>
                  </a:cubicBezTo>
                  <a:cubicBezTo>
                    <a:pt x="9" y="222"/>
                    <a:pt x="0" y="240"/>
                    <a:pt x="9" y="248"/>
                  </a:cubicBezTo>
                  <a:cubicBezTo>
                    <a:pt x="18" y="257"/>
                    <a:pt x="35" y="257"/>
                    <a:pt x="44" y="248"/>
                  </a:cubicBezTo>
                  <a:cubicBezTo>
                    <a:pt x="88" y="213"/>
                    <a:pt x="124" y="187"/>
                    <a:pt x="221" y="240"/>
                  </a:cubicBezTo>
                  <a:cubicBezTo>
                    <a:pt x="266" y="266"/>
                    <a:pt x="301" y="275"/>
                    <a:pt x="328" y="275"/>
                  </a:cubicBezTo>
                  <a:cubicBezTo>
                    <a:pt x="381" y="275"/>
                    <a:pt x="416" y="240"/>
                    <a:pt x="443" y="222"/>
                  </a:cubicBezTo>
                  <a:cubicBezTo>
                    <a:pt x="451" y="213"/>
                    <a:pt x="460" y="195"/>
                    <a:pt x="451" y="187"/>
                  </a:cubicBezTo>
                  <a:cubicBezTo>
                    <a:pt x="443" y="168"/>
                    <a:pt x="425" y="168"/>
                    <a:pt x="416" y="178"/>
                  </a:cubicBezTo>
                  <a:close/>
                  <a:moveTo>
                    <a:pt x="416" y="302"/>
                  </a:moveTo>
                  <a:lnTo>
                    <a:pt x="416" y="302"/>
                  </a:lnTo>
                  <a:cubicBezTo>
                    <a:pt x="372" y="346"/>
                    <a:pt x="337" y="372"/>
                    <a:pt x="239" y="319"/>
                  </a:cubicBezTo>
                  <a:cubicBezTo>
                    <a:pt x="124" y="248"/>
                    <a:pt x="62" y="302"/>
                    <a:pt x="18" y="337"/>
                  </a:cubicBezTo>
                  <a:cubicBezTo>
                    <a:pt x="9" y="346"/>
                    <a:pt x="0" y="363"/>
                    <a:pt x="9" y="372"/>
                  </a:cubicBezTo>
                  <a:cubicBezTo>
                    <a:pt x="18" y="390"/>
                    <a:pt x="35" y="390"/>
                    <a:pt x="44" y="381"/>
                  </a:cubicBezTo>
                  <a:cubicBezTo>
                    <a:pt x="88" y="337"/>
                    <a:pt x="124" y="310"/>
                    <a:pt x="221" y="363"/>
                  </a:cubicBezTo>
                  <a:cubicBezTo>
                    <a:pt x="266" y="390"/>
                    <a:pt x="301" y="399"/>
                    <a:pt x="328" y="399"/>
                  </a:cubicBezTo>
                  <a:cubicBezTo>
                    <a:pt x="381" y="399"/>
                    <a:pt x="416" y="372"/>
                    <a:pt x="443" y="346"/>
                  </a:cubicBezTo>
                  <a:cubicBezTo>
                    <a:pt x="451" y="337"/>
                    <a:pt x="460" y="319"/>
                    <a:pt x="451" y="310"/>
                  </a:cubicBezTo>
                  <a:cubicBezTo>
                    <a:pt x="443" y="302"/>
                    <a:pt x="425" y="293"/>
                    <a:pt x="416" y="302"/>
                  </a:cubicBezTo>
                  <a:close/>
                </a:path>
              </a:pathLst>
            </a:custGeom>
            <a:solidFill>
              <a:schemeClr val="bg1"/>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7"/>
                      </a:srgbClr>
                    </a:outerShdw>
                  </a:effectLst>
                </a14:hiddenEffects>
              </a:ext>
            </a:extLst>
          </p:spPr>
          <p:txBody>
            <a:bodyPr wrap="none" lIns="34290" tIns="17145" rIns="34290" bIns="17145"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grpSp>
      <p:grpSp>
        <p:nvGrpSpPr>
          <p:cNvPr id="50" name="Group 78">
            <a:extLst>
              <a:ext uri="{FF2B5EF4-FFF2-40B4-BE49-F238E27FC236}">
                <a16:creationId xmlns:a16="http://schemas.microsoft.com/office/drawing/2014/main" id="{EFAFFE52-6D9D-462D-97C7-B8B2A886BFC6}"/>
              </a:ext>
            </a:extLst>
          </p:cNvPr>
          <p:cNvGrpSpPr/>
          <p:nvPr/>
        </p:nvGrpSpPr>
        <p:grpSpPr>
          <a:xfrm>
            <a:off x="5847211" y="2760575"/>
            <a:ext cx="2721781" cy="1196240"/>
            <a:chOff x="4826702" y="764665"/>
            <a:chExt cx="2721781" cy="1196240"/>
          </a:xfrm>
        </p:grpSpPr>
        <p:sp>
          <p:nvSpPr>
            <p:cNvPr id="51" name="Speech Bubble: Rectangle with Corners Rounded 79">
              <a:extLst>
                <a:ext uri="{FF2B5EF4-FFF2-40B4-BE49-F238E27FC236}">
                  <a16:creationId xmlns:a16="http://schemas.microsoft.com/office/drawing/2014/main" id="{A99F50F0-3E8E-4AFB-8B5A-66E9421A83D5}"/>
                </a:ext>
              </a:extLst>
            </p:cNvPr>
            <p:cNvSpPr/>
            <p:nvPr/>
          </p:nvSpPr>
          <p:spPr>
            <a:xfrm rot="16200000">
              <a:off x="5557038" y="34329"/>
              <a:ext cx="1196240" cy="2656912"/>
            </a:xfrm>
            <a:prstGeom prst="wedgeRoundRectCallout">
              <a:avLst>
                <a:gd name="adj1" fmla="val 13132"/>
                <a:gd name="adj2" fmla="val -15927"/>
                <a:gd name="adj3" fmla="val 16667"/>
              </a:avLst>
            </a:prstGeom>
            <a:solidFill>
              <a:schemeClr val="bg1"/>
            </a:solidFill>
            <a:ln>
              <a:noFill/>
            </a:ln>
            <a:effectLst>
              <a:outerShdw blurRad="266700" dist="228600" dir="2700000" algn="tl" rotWithShape="0">
                <a:schemeClr val="accent1">
                  <a:alpha val="1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等线" panose="020F0502020204030204"/>
                <a:ea typeface="+mn-ea"/>
                <a:cs typeface="+mn-cs"/>
              </a:endParaRPr>
            </a:p>
          </p:txBody>
        </p:sp>
        <p:sp>
          <p:nvSpPr>
            <p:cNvPr id="52" name="Isosceles Triangle 80">
              <a:extLst>
                <a:ext uri="{FF2B5EF4-FFF2-40B4-BE49-F238E27FC236}">
                  <a16:creationId xmlns:a16="http://schemas.microsoft.com/office/drawing/2014/main" id="{55608D3F-8791-44FC-A4C4-02868BC08696}"/>
                </a:ext>
              </a:extLst>
            </p:cNvPr>
            <p:cNvSpPr/>
            <p:nvPr/>
          </p:nvSpPr>
          <p:spPr>
            <a:xfrm flipV="1">
              <a:off x="5285917" y="1076736"/>
              <a:ext cx="132186" cy="191962"/>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lumMod val="85000"/>
                    <a:lumOff val="15000"/>
                  </a:srgbClr>
                </a:solidFill>
                <a:effectLst/>
                <a:uLnTx/>
                <a:uFillTx/>
                <a:latin typeface="Nexa Bold" panose="02000000000000000000" pitchFamily="50" charset="0"/>
                <a:ea typeface="+mn-ea"/>
                <a:cs typeface="+mn-cs"/>
              </a:endParaRPr>
            </a:p>
          </p:txBody>
        </p:sp>
        <p:sp>
          <p:nvSpPr>
            <p:cNvPr id="53" name="Rectangle 81">
              <a:extLst>
                <a:ext uri="{FF2B5EF4-FFF2-40B4-BE49-F238E27FC236}">
                  <a16:creationId xmlns:a16="http://schemas.microsoft.com/office/drawing/2014/main" id="{15673DFB-0EF0-466D-BBFB-2681150C2A08}"/>
                </a:ext>
              </a:extLst>
            </p:cNvPr>
            <p:cNvSpPr/>
            <p:nvPr/>
          </p:nvSpPr>
          <p:spPr>
            <a:xfrm>
              <a:off x="5621981" y="940231"/>
              <a:ext cx="1416344" cy="333617"/>
            </a:xfrm>
            <a:prstGeom prst="rect">
              <a:avLst/>
            </a:prstGeom>
          </p:spPr>
          <p:txBody>
            <a:bodyPr wrap="square">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1400" b="1" i="0" u="none" strike="noStrike" kern="1200" cap="none" spc="0" normalizeH="0" baseline="0" noProof="0" dirty="0">
                  <a:ln>
                    <a:noFill/>
                  </a:ln>
                  <a:gradFill>
                    <a:gsLst>
                      <a:gs pos="0">
                        <a:srgbClr val="FFD229">
                          <a:lumMod val="75000"/>
                        </a:srgbClr>
                      </a:gs>
                      <a:gs pos="100000">
                        <a:srgbClr val="FFD229"/>
                      </a:gs>
                    </a:gsLst>
                    <a:lin ang="5400000" scaled="1"/>
                  </a:gradFill>
                  <a:effectLst/>
                  <a:uLnTx/>
                  <a:uFillTx/>
                  <a:latin typeface="等线" panose="020F0502020204030204"/>
                  <a:ea typeface="+mn-ea"/>
                  <a:cs typeface="Segoe UI" panose="020B0502040204020203" pitchFamily="34" charset="0"/>
                </a:rPr>
                <a:t>Your Text Here</a:t>
              </a:r>
            </a:p>
          </p:txBody>
        </p:sp>
        <p:sp>
          <p:nvSpPr>
            <p:cNvPr id="54" name="Rectangle 82">
              <a:extLst>
                <a:ext uri="{FF2B5EF4-FFF2-40B4-BE49-F238E27FC236}">
                  <a16:creationId xmlns:a16="http://schemas.microsoft.com/office/drawing/2014/main" id="{855D146E-4C4E-4DE1-AE46-9DE30BD3F3A6}"/>
                </a:ext>
              </a:extLst>
            </p:cNvPr>
            <p:cNvSpPr/>
            <p:nvPr/>
          </p:nvSpPr>
          <p:spPr>
            <a:xfrm>
              <a:off x="5621980" y="1226300"/>
              <a:ext cx="1926503" cy="592150"/>
            </a:xfrm>
            <a:prstGeom prst="rect">
              <a:avLst/>
            </a:prstGeom>
          </p:spPr>
          <p:txBody>
            <a:bodyPr wrap="square">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lumMod val="65000"/>
                      <a:lumOff val="35000"/>
                    </a:srgbClr>
                  </a:solidFill>
                  <a:effectLst/>
                  <a:uLnTx/>
                  <a:uFillTx/>
                  <a:latin typeface="等线 Light" panose="020F0302020204030204"/>
                  <a:ea typeface="+mn-ea"/>
                  <a:cs typeface="Segoe UI Light" panose="020B0502040204020203" pitchFamily="34" charset="0"/>
                </a:rPr>
                <a:t>A wonderful serenity has taken possession</a:t>
              </a:r>
            </a:p>
          </p:txBody>
        </p:sp>
        <p:sp>
          <p:nvSpPr>
            <p:cNvPr id="55" name="Rectangle 83">
              <a:extLst>
                <a:ext uri="{FF2B5EF4-FFF2-40B4-BE49-F238E27FC236}">
                  <a16:creationId xmlns:a16="http://schemas.microsoft.com/office/drawing/2014/main" id="{9B9428DB-880F-4492-A727-D457056FFE04}"/>
                </a:ext>
              </a:extLst>
            </p:cNvPr>
            <p:cNvSpPr/>
            <p:nvPr/>
          </p:nvSpPr>
          <p:spPr>
            <a:xfrm rot="20666922">
              <a:off x="4991830" y="1252424"/>
              <a:ext cx="720360" cy="427425"/>
            </a:xfrm>
            <a:prstGeom prst="rect">
              <a:avLst/>
            </a:prstGeom>
          </p:spPr>
          <p:txBody>
            <a:bodyPr wrap="square">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2000" b="1" i="0" u="none" strike="noStrike" kern="1200" cap="none" spc="0" normalizeH="0" baseline="0" noProof="0" dirty="0">
                  <a:ln>
                    <a:noFill/>
                  </a:ln>
                  <a:gradFill>
                    <a:gsLst>
                      <a:gs pos="0">
                        <a:srgbClr val="FFD229">
                          <a:lumMod val="75000"/>
                        </a:srgbClr>
                      </a:gs>
                      <a:gs pos="100000">
                        <a:srgbClr val="FFD229"/>
                      </a:gs>
                    </a:gsLst>
                    <a:lin ang="5400000" scaled="1"/>
                  </a:gradFill>
                  <a:effectLst/>
                  <a:uLnTx/>
                  <a:uFillTx/>
                  <a:latin typeface="Segoe UI" panose="020B0502040204020203" pitchFamily="34" charset="0"/>
                  <a:ea typeface="+mn-ea"/>
                  <a:cs typeface="Segoe UI" panose="020B0502040204020203" pitchFamily="34" charset="0"/>
                </a:rPr>
                <a:t>45%</a:t>
              </a:r>
            </a:p>
          </p:txBody>
        </p:sp>
      </p:grpSp>
      <p:grpSp>
        <p:nvGrpSpPr>
          <p:cNvPr id="56" name="Group 84">
            <a:extLst>
              <a:ext uri="{FF2B5EF4-FFF2-40B4-BE49-F238E27FC236}">
                <a16:creationId xmlns:a16="http://schemas.microsoft.com/office/drawing/2014/main" id="{6676243D-4314-41CD-B247-B6385110FB24}"/>
              </a:ext>
            </a:extLst>
          </p:cNvPr>
          <p:cNvGrpSpPr/>
          <p:nvPr/>
        </p:nvGrpSpPr>
        <p:grpSpPr>
          <a:xfrm>
            <a:off x="8789469" y="2760575"/>
            <a:ext cx="2721781" cy="1196240"/>
            <a:chOff x="4826702" y="764665"/>
            <a:chExt cx="2721781" cy="1196240"/>
          </a:xfrm>
        </p:grpSpPr>
        <p:sp>
          <p:nvSpPr>
            <p:cNvPr id="57" name="Speech Bubble: Rectangle with Corners Rounded 85">
              <a:extLst>
                <a:ext uri="{FF2B5EF4-FFF2-40B4-BE49-F238E27FC236}">
                  <a16:creationId xmlns:a16="http://schemas.microsoft.com/office/drawing/2014/main" id="{EA79A2B7-D3E5-4D16-B4FB-0B079BBD0D56}"/>
                </a:ext>
              </a:extLst>
            </p:cNvPr>
            <p:cNvSpPr/>
            <p:nvPr/>
          </p:nvSpPr>
          <p:spPr>
            <a:xfrm rot="16200000">
              <a:off x="5557038" y="34329"/>
              <a:ext cx="1196240" cy="2656912"/>
            </a:xfrm>
            <a:prstGeom prst="wedgeRoundRectCallout">
              <a:avLst>
                <a:gd name="adj1" fmla="val 13132"/>
                <a:gd name="adj2" fmla="val -15927"/>
                <a:gd name="adj3" fmla="val 16667"/>
              </a:avLst>
            </a:prstGeom>
            <a:solidFill>
              <a:schemeClr val="bg1"/>
            </a:solidFill>
            <a:ln>
              <a:noFill/>
            </a:ln>
            <a:effectLst>
              <a:outerShdw blurRad="266700" dist="228600" dir="2700000" algn="tl" rotWithShape="0">
                <a:schemeClr val="accent2">
                  <a:alpha val="1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等线" panose="020F0502020204030204"/>
                <a:ea typeface="+mn-ea"/>
                <a:cs typeface="+mn-cs"/>
              </a:endParaRPr>
            </a:p>
          </p:txBody>
        </p:sp>
        <p:sp>
          <p:nvSpPr>
            <p:cNvPr id="58" name="Isosceles Triangle 86">
              <a:extLst>
                <a:ext uri="{FF2B5EF4-FFF2-40B4-BE49-F238E27FC236}">
                  <a16:creationId xmlns:a16="http://schemas.microsoft.com/office/drawing/2014/main" id="{A091E95D-8CB4-4B49-9911-F2168F618692}"/>
                </a:ext>
              </a:extLst>
            </p:cNvPr>
            <p:cNvSpPr/>
            <p:nvPr/>
          </p:nvSpPr>
          <p:spPr>
            <a:xfrm flipV="1">
              <a:off x="5285917" y="1076736"/>
              <a:ext cx="132186" cy="191962"/>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lumMod val="85000"/>
                    <a:lumOff val="15000"/>
                  </a:srgbClr>
                </a:solidFill>
                <a:effectLst/>
                <a:uLnTx/>
                <a:uFillTx/>
                <a:latin typeface="Nexa Bold" panose="02000000000000000000" pitchFamily="50" charset="0"/>
                <a:ea typeface="+mn-ea"/>
                <a:cs typeface="+mn-cs"/>
              </a:endParaRPr>
            </a:p>
          </p:txBody>
        </p:sp>
        <p:sp>
          <p:nvSpPr>
            <p:cNvPr id="59" name="Rectangle 87">
              <a:extLst>
                <a:ext uri="{FF2B5EF4-FFF2-40B4-BE49-F238E27FC236}">
                  <a16:creationId xmlns:a16="http://schemas.microsoft.com/office/drawing/2014/main" id="{9C34BC02-315D-4244-819A-B471E2471526}"/>
                </a:ext>
              </a:extLst>
            </p:cNvPr>
            <p:cNvSpPr/>
            <p:nvPr/>
          </p:nvSpPr>
          <p:spPr>
            <a:xfrm>
              <a:off x="5621981" y="940231"/>
              <a:ext cx="1416344" cy="333617"/>
            </a:xfrm>
            <a:prstGeom prst="rect">
              <a:avLst/>
            </a:prstGeom>
          </p:spPr>
          <p:txBody>
            <a:bodyPr wrap="square">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4C38"/>
                  </a:solidFill>
                  <a:effectLst/>
                  <a:uLnTx/>
                  <a:uFillTx/>
                  <a:latin typeface="等线" panose="020F0502020204030204"/>
                  <a:ea typeface="+mn-ea"/>
                  <a:cs typeface="Segoe UI" panose="020B0502040204020203" pitchFamily="34" charset="0"/>
                </a:rPr>
                <a:t>Your Text Here</a:t>
              </a:r>
            </a:p>
          </p:txBody>
        </p:sp>
        <p:sp>
          <p:nvSpPr>
            <p:cNvPr id="60" name="Rectangle 88">
              <a:extLst>
                <a:ext uri="{FF2B5EF4-FFF2-40B4-BE49-F238E27FC236}">
                  <a16:creationId xmlns:a16="http://schemas.microsoft.com/office/drawing/2014/main" id="{7555C25C-5C67-40E7-890A-FF1B878542C6}"/>
                </a:ext>
              </a:extLst>
            </p:cNvPr>
            <p:cNvSpPr/>
            <p:nvPr/>
          </p:nvSpPr>
          <p:spPr>
            <a:xfrm>
              <a:off x="5621980" y="1226300"/>
              <a:ext cx="1926503" cy="592150"/>
            </a:xfrm>
            <a:prstGeom prst="rect">
              <a:avLst/>
            </a:prstGeom>
          </p:spPr>
          <p:txBody>
            <a:bodyPr wrap="square">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lumMod val="65000"/>
                      <a:lumOff val="35000"/>
                    </a:srgbClr>
                  </a:solidFill>
                  <a:effectLst/>
                  <a:uLnTx/>
                  <a:uFillTx/>
                  <a:latin typeface="等线 Light" panose="020F0302020204030204"/>
                  <a:ea typeface="+mn-ea"/>
                  <a:cs typeface="Segoe UI Light" panose="020B0502040204020203" pitchFamily="34" charset="0"/>
                </a:rPr>
                <a:t>A wonderful serenity has taken possession</a:t>
              </a:r>
            </a:p>
          </p:txBody>
        </p:sp>
        <p:sp>
          <p:nvSpPr>
            <p:cNvPr id="61" name="Rectangle 89">
              <a:extLst>
                <a:ext uri="{FF2B5EF4-FFF2-40B4-BE49-F238E27FC236}">
                  <a16:creationId xmlns:a16="http://schemas.microsoft.com/office/drawing/2014/main" id="{41F71218-9221-4D78-80F6-6D195F5587E8}"/>
                </a:ext>
              </a:extLst>
            </p:cNvPr>
            <p:cNvSpPr/>
            <p:nvPr/>
          </p:nvSpPr>
          <p:spPr>
            <a:xfrm rot="20666922">
              <a:off x="4991830" y="1252424"/>
              <a:ext cx="720360" cy="427425"/>
            </a:xfrm>
            <a:prstGeom prst="rect">
              <a:avLst/>
            </a:prstGeom>
          </p:spPr>
          <p:txBody>
            <a:bodyPr wrap="square">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FF4C38"/>
                  </a:solidFill>
                  <a:effectLst/>
                  <a:uLnTx/>
                  <a:uFillTx/>
                  <a:latin typeface="Segoe UI" panose="020B0502040204020203" pitchFamily="34" charset="0"/>
                  <a:ea typeface="+mn-ea"/>
                  <a:cs typeface="Segoe UI" panose="020B0502040204020203" pitchFamily="34" charset="0"/>
                </a:rPr>
                <a:t>45%</a:t>
              </a:r>
            </a:p>
          </p:txBody>
        </p:sp>
      </p:grpSp>
      <p:grpSp>
        <p:nvGrpSpPr>
          <p:cNvPr id="62" name="Group 90">
            <a:extLst>
              <a:ext uri="{FF2B5EF4-FFF2-40B4-BE49-F238E27FC236}">
                <a16:creationId xmlns:a16="http://schemas.microsoft.com/office/drawing/2014/main" id="{19467F20-7486-4915-BBD2-5A631E06F8A6}"/>
              </a:ext>
            </a:extLst>
          </p:cNvPr>
          <p:cNvGrpSpPr/>
          <p:nvPr/>
        </p:nvGrpSpPr>
        <p:grpSpPr>
          <a:xfrm>
            <a:off x="5879645" y="4348342"/>
            <a:ext cx="2656912" cy="1196240"/>
            <a:chOff x="4990286" y="764051"/>
            <a:chExt cx="2656912" cy="1196240"/>
          </a:xfrm>
        </p:grpSpPr>
        <p:sp>
          <p:nvSpPr>
            <p:cNvPr id="63" name="Speech Bubble: Rectangle with Corners Rounded 91">
              <a:extLst>
                <a:ext uri="{FF2B5EF4-FFF2-40B4-BE49-F238E27FC236}">
                  <a16:creationId xmlns:a16="http://schemas.microsoft.com/office/drawing/2014/main" id="{C527CEE8-B682-4B07-939F-D8CD61B29906}"/>
                </a:ext>
              </a:extLst>
            </p:cNvPr>
            <p:cNvSpPr/>
            <p:nvPr/>
          </p:nvSpPr>
          <p:spPr>
            <a:xfrm rot="16200000">
              <a:off x="5720622" y="33715"/>
              <a:ext cx="1196240" cy="2656912"/>
            </a:xfrm>
            <a:prstGeom prst="wedgeRoundRectCallout">
              <a:avLst>
                <a:gd name="adj1" fmla="val 13132"/>
                <a:gd name="adj2" fmla="val -15927"/>
                <a:gd name="adj3" fmla="val 16667"/>
              </a:avLst>
            </a:prstGeom>
            <a:solidFill>
              <a:schemeClr val="bg1"/>
            </a:solidFill>
            <a:ln>
              <a:noFill/>
            </a:ln>
            <a:effectLst>
              <a:outerShdw blurRad="266700" dist="228600" dir="2700000" algn="tl" rotWithShape="0">
                <a:schemeClr val="accent3">
                  <a:alpha val="1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等线" panose="020F0502020204030204"/>
                <a:ea typeface="+mn-ea"/>
                <a:cs typeface="+mn-cs"/>
              </a:endParaRPr>
            </a:p>
          </p:txBody>
        </p:sp>
        <p:sp>
          <p:nvSpPr>
            <p:cNvPr id="64" name="Isosceles Triangle 92">
              <a:extLst>
                <a:ext uri="{FF2B5EF4-FFF2-40B4-BE49-F238E27FC236}">
                  <a16:creationId xmlns:a16="http://schemas.microsoft.com/office/drawing/2014/main" id="{9F3D5F71-E4ED-4CDF-A715-163BB6E22FD4}"/>
                </a:ext>
              </a:extLst>
            </p:cNvPr>
            <p:cNvSpPr/>
            <p:nvPr/>
          </p:nvSpPr>
          <p:spPr>
            <a:xfrm flipV="1">
              <a:off x="5285917" y="1076736"/>
              <a:ext cx="132186" cy="191962"/>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lumMod val="85000"/>
                    <a:lumOff val="15000"/>
                  </a:srgbClr>
                </a:solidFill>
                <a:effectLst/>
                <a:uLnTx/>
                <a:uFillTx/>
                <a:latin typeface="Nexa Bold" panose="02000000000000000000" pitchFamily="50" charset="0"/>
                <a:ea typeface="+mn-ea"/>
                <a:cs typeface="+mn-cs"/>
              </a:endParaRPr>
            </a:p>
          </p:txBody>
        </p:sp>
        <p:sp>
          <p:nvSpPr>
            <p:cNvPr id="65" name="Rectangle 93">
              <a:extLst>
                <a:ext uri="{FF2B5EF4-FFF2-40B4-BE49-F238E27FC236}">
                  <a16:creationId xmlns:a16="http://schemas.microsoft.com/office/drawing/2014/main" id="{006410A3-AF8C-4E15-9A6E-01AFE8E50202}"/>
                </a:ext>
              </a:extLst>
            </p:cNvPr>
            <p:cNvSpPr/>
            <p:nvPr/>
          </p:nvSpPr>
          <p:spPr>
            <a:xfrm>
              <a:off x="5621981" y="940231"/>
              <a:ext cx="1416344" cy="333617"/>
            </a:xfrm>
            <a:prstGeom prst="rect">
              <a:avLst/>
            </a:prstGeom>
          </p:spPr>
          <p:txBody>
            <a:bodyPr wrap="square">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388A"/>
                  </a:solidFill>
                  <a:effectLst/>
                  <a:uLnTx/>
                  <a:uFillTx/>
                  <a:latin typeface="等线" panose="020F0502020204030204"/>
                  <a:ea typeface="+mn-ea"/>
                  <a:cs typeface="Segoe UI" panose="020B0502040204020203" pitchFamily="34" charset="0"/>
                </a:rPr>
                <a:t>Your Text Here</a:t>
              </a:r>
            </a:p>
          </p:txBody>
        </p:sp>
        <p:sp>
          <p:nvSpPr>
            <p:cNvPr id="66" name="Rectangle 94">
              <a:extLst>
                <a:ext uri="{FF2B5EF4-FFF2-40B4-BE49-F238E27FC236}">
                  <a16:creationId xmlns:a16="http://schemas.microsoft.com/office/drawing/2014/main" id="{38096A29-3CF9-4864-BE82-DE87619A56F2}"/>
                </a:ext>
              </a:extLst>
            </p:cNvPr>
            <p:cNvSpPr/>
            <p:nvPr/>
          </p:nvSpPr>
          <p:spPr>
            <a:xfrm>
              <a:off x="5621980" y="1226300"/>
              <a:ext cx="1926503" cy="592150"/>
            </a:xfrm>
            <a:prstGeom prst="rect">
              <a:avLst/>
            </a:prstGeom>
          </p:spPr>
          <p:txBody>
            <a:bodyPr wrap="square">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lumMod val="65000"/>
                      <a:lumOff val="35000"/>
                    </a:srgbClr>
                  </a:solidFill>
                  <a:effectLst/>
                  <a:uLnTx/>
                  <a:uFillTx/>
                  <a:latin typeface="等线 Light" panose="020F0302020204030204"/>
                  <a:ea typeface="+mn-ea"/>
                  <a:cs typeface="Segoe UI Light" panose="020B0502040204020203" pitchFamily="34" charset="0"/>
                </a:rPr>
                <a:t>A wonderful serenity has taken possession</a:t>
              </a:r>
            </a:p>
          </p:txBody>
        </p:sp>
        <p:sp>
          <p:nvSpPr>
            <p:cNvPr id="67" name="Rectangle 95">
              <a:extLst>
                <a:ext uri="{FF2B5EF4-FFF2-40B4-BE49-F238E27FC236}">
                  <a16:creationId xmlns:a16="http://schemas.microsoft.com/office/drawing/2014/main" id="{52FF842A-5650-419F-A7A1-5E48DEC42E01}"/>
                </a:ext>
              </a:extLst>
            </p:cNvPr>
            <p:cNvSpPr/>
            <p:nvPr/>
          </p:nvSpPr>
          <p:spPr>
            <a:xfrm rot="20666922">
              <a:off x="4991830" y="1252424"/>
              <a:ext cx="720360" cy="427425"/>
            </a:xfrm>
            <a:prstGeom prst="rect">
              <a:avLst/>
            </a:prstGeom>
          </p:spPr>
          <p:txBody>
            <a:bodyPr wrap="square">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FF388A"/>
                  </a:solidFill>
                  <a:effectLst/>
                  <a:uLnTx/>
                  <a:uFillTx/>
                  <a:latin typeface="Segoe UI" panose="020B0502040204020203" pitchFamily="34" charset="0"/>
                  <a:ea typeface="+mn-ea"/>
                  <a:cs typeface="Segoe UI" panose="020B0502040204020203" pitchFamily="34" charset="0"/>
                </a:rPr>
                <a:t>45%</a:t>
              </a:r>
            </a:p>
          </p:txBody>
        </p:sp>
      </p:grpSp>
      <p:grpSp>
        <p:nvGrpSpPr>
          <p:cNvPr id="68" name="Group 96">
            <a:extLst>
              <a:ext uri="{FF2B5EF4-FFF2-40B4-BE49-F238E27FC236}">
                <a16:creationId xmlns:a16="http://schemas.microsoft.com/office/drawing/2014/main" id="{A35CB362-7615-4177-8AB9-982138A31E9C}"/>
              </a:ext>
            </a:extLst>
          </p:cNvPr>
          <p:cNvGrpSpPr/>
          <p:nvPr/>
        </p:nvGrpSpPr>
        <p:grpSpPr>
          <a:xfrm>
            <a:off x="8789469" y="4348342"/>
            <a:ext cx="2721781" cy="1196240"/>
            <a:chOff x="4826702" y="764665"/>
            <a:chExt cx="2721781" cy="1196240"/>
          </a:xfrm>
        </p:grpSpPr>
        <p:sp>
          <p:nvSpPr>
            <p:cNvPr id="69" name="Speech Bubble: Rectangle with Corners Rounded 97">
              <a:extLst>
                <a:ext uri="{FF2B5EF4-FFF2-40B4-BE49-F238E27FC236}">
                  <a16:creationId xmlns:a16="http://schemas.microsoft.com/office/drawing/2014/main" id="{EC4BE1BE-BDCA-40AB-B7DD-11A2D237817A}"/>
                </a:ext>
              </a:extLst>
            </p:cNvPr>
            <p:cNvSpPr/>
            <p:nvPr/>
          </p:nvSpPr>
          <p:spPr>
            <a:xfrm rot="16200000">
              <a:off x="5557038" y="34329"/>
              <a:ext cx="1196240" cy="2656912"/>
            </a:xfrm>
            <a:prstGeom prst="wedgeRoundRectCallout">
              <a:avLst>
                <a:gd name="adj1" fmla="val 13132"/>
                <a:gd name="adj2" fmla="val -15927"/>
                <a:gd name="adj3" fmla="val 16667"/>
              </a:avLst>
            </a:prstGeom>
            <a:solidFill>
              <a:schemeClr val="bg1"/>
            </a:solidFill>
            <a:ln>
              <a:noFill/>
            </a:ln>
            <a:effectLst>
              <a:outerShdw blurRad="266700" dist="228600" dir="2700000" algn="tl" rotWithShape="0">
                <a:schemeClr val="accent4">
                  <a:alpha val="1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等线" panose="020F0502020204030204"/>
                <a:ea typeface="+mn-ea"/>
                <a:cs typeface="+mn-cs"/>
              </a:endParaRPr>
            </a:p>
          </p:txBody>
        </p:sp>
        <p:sp>
          <p:nvSpPr>
            <p:cNvPr id="70" name="Isosceles Triangle 98">
              <a:extLst>
                <a:ext uri="{FF2B5EF4-FFF2-40B4-BE49-F238E27FC236}">
                  <a16:creationId xmlns:a16="http://schemas.microsoft.com/office/drawing/2014/main" id="{382C7069-FFFD-4D29-916A-DC3B8F331E86}"/>
                </a:ext>
              </a:extLst>
            </p:cNvPr>
            <p:cNvSpPr/>
            <p:nvPr/>
          </p:nvSpPr>
          <p:spPr>
            <a:xfrm flipV="1">
              <a:off x="5285917" y="1076736"/>
              <a:ext cx="132186" cy="191962"/>
            </a:xfrm>
            <a:prstGeom prst="triangl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lumMod val="85000"/>
                    <a:lumOff val="15000"/>
                  </a:srgbClr>
                </a:solidFill>
                <a:effectLst/>
                <a:uLnTx/>
                <a:uFillTx/>
                <a:latin typeface="Nexa Bold" panose="02000000000000000000" pitchFamily="50" charset="0"/>
                <a:ea typeface="+mn-ea"/>
                <a:cs typeface="+mn-cs"/>
              </a:endParaRPr>
            </a:p>
          </p:txBody>
        </p:sp>
        <p:sp>
          <p:nvSpPr>
            <p:cNvPr id="71" name="Rectangle 99">
              <a:extLst>
                <a:ext uri="{FF2B5EF4-FFF2-40B4-BE49-F238E27FC236}">
                  <a16:creationId xmlns:a16="http://schemas.microsoft.com/office/drawing/2014/main" id="{B45833BC-8590-4953-8AAA-2954D91EA944}"/>
                </a:ext>
              </a:extLst>
            </p:cNvPr>
            <p:cNvSpPr/>
            <p:nvPr/>
          </p:nvSpPr>
          <p:spPr>
            <a:xfrm>
              <a:off x="5621981" y="940231"/>
              <a:ext cx="1416344" cy="333617"/>
            </a:xfrm>
            <a:prstGeom prst="rect">
              <a:avLst/>
            </a:prstGeom>
          </p:spPr>
          <p:txBody>
            <a:bodyPr wrap="square">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8F38FF"/>
                  </a:solidFill>
                  <a:effectLst/>
                  <a:uLnTx/>
                  <a:uFillTx/>
                  <a:latin typeface="等线" panose="020F0502020204030204"/>
                  <a:ea typeface="+mn-ea"/>
                  <a:cs typeface="Segoe UI" panose="020B0502040204020203" pitchFamily="34" charset="0"/>
                </a:rPr>
                <a:t>Your Text Here</a:t>
              </a:r>
            </a:p>
          </p:txBody>
        </p:sp>
        <p:sp>
          <p:nvSpPr>
            <p:cNvPr id="72" name="Rectangle 100">
              <a:extLst>
                <a:ext uri="{FF2B5EF4-FFF2-40B4-BE49-F238E27FC236}">
                  <a16:creationId xmlns:a16="http://schemas.microsoft.com/office/drawing/2014/main" id="{53339C69-AC6E-44B7-91F1-46A1EC599C4B}"/>
                </a:ext>
              </a:extLst>
            </p:cNvPr>
            <p:cNvSpPr/>
            <p:nvPr/>
          </p:nvSpPr>
          <p:spPr>
            <a:xfrm>
              <a:off x="5621980" y="1226300"/>
              <a:ext cx="1926503" cy="592150"/>
            </a:xfrm>
            <a:prstGeom prst="rect">
              <a:avLst/>
            </a:prstGeom>
          </p:spPr>
          <p:txBody>
            <a:bodyPr wrap="square">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lumMod val="65000"/>
                      <a:lumOff val="35000"/>
                    </a:srgbClr>
                  </a:solidFill>
                  <a:effectLst/>
                  <a:uLnTx/>
                  <a:uFillTx/>
                  <a:latin typeface="等线 Light" panose="020F0302020204030204"/>
                  <a:ea typeface="+mn-ea"/>
                  <a:cs typeface="Segoe UI Light" panose="020B0502040204020203" pitchFamily="34" charset="0"/>
                </a:rPr>
                <a:t>A wonderful serenity has taken possession</a:t>
              </a:r>
            </a:p>
          </p:txBody>
        </p:sp>
        <p:sp>
          <p:nvSpPr>
            <p:cNvPr id="73" name="Rectangle 101">
              <a:extLst>
                <a:ext uri="{FF2B5EF4-FFF2-40B4-BE49-F238E27FC236}">
                  <a16:creationId xmlns:a16="http://schemas.microsoft.com/office/drawing/2014/main" id="{65749635-7A4E-41AC-AA22-18322F21D28A}"/>
                </a:ext>
              </a:extLst>
            </p:cNvPr>
            <p:cNvSpPr/>
            <p:nvPr/>
          </p:nvSpPr>
          <p:spPr>
            <a:xfrm rot="20666922">
              <a:off x="4991830" y="1252424"/>
              <a:ext cx="720360" cy="427425"/>
            </a:xfrm>
            <a:prstGeom prst="rect">
              <a:avLst/>
            </a:prstGeom>
          </p:spPr>
          <p:txBody>
            <a:bodyPr wrap="square">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8F38FF"/>
                  </a:solidFill>
                  <a:effectLst/>
                  <a:uLnTx/>
                  <a:uFillTx/>
                  <a:latin typeface="Segoe UI" panose="020B0502040204020203" pitchFamily="34" charset="0"/>
                  <a:ea typeface="+mn-ea"/>
                  <a:cs typeface="Segoe UI" panose="020B0502040204020203" pitchFamily="34" charset="0"/>
                </a:rPr>
                <a:t>45%</a:t>
              </a:r>
            </a:p>
          </p:txBody>
        </p:sp>
      </p:grpSp>
      <p:sp>
        <p:nvSpPr>
          <p:cNvPr id="74" name="Rectangle 103">
            <a:extLst>
              <a:ext uri="{FF2B5EF4-FFF2-40B4-BE49-F238E27FC236}">
                <a16:creationId xmlns:a16="http://schemas.microsoft.com/office/drawing/2014/main" id="{F842F376-19F3-404E-8D80-4BFA12352CF2}"/>
              </a:ext>
            </a:extLst>
          </p:cNvPr>
          <p:cNvSpPr/>
          <p:nvPr/>
        </p:nvSpPr>
        <p:spPr>
          <a:xfrm>
            <a:off x="6029184" y="1266776"/>
            <a:ext cx="3796999" cy="1311128"/>
          </a:xfrm>
          <a:prstGeom prst="rect">
            <a:avLst/>
          </a:prstGeom>
        </p:spPr>
        <p:txBody>
          <a:bodyPr wrap="square">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4400" b="1" i="0" u="none" strike="noStrike" kern="1200" cap="none" spc="0" normalizeH="0" baseline="0" noProof="0" dirty="0">
                <a:ln>
                  <a:noFill/>
                </a:ln>
                <a:solidFill>
                  <a:srgbClr val="000000">
                    <a:lumMod val="75000"/>
                    <a:lumOff val="25000"/>
                  </a:srgbClr>
                </a:solidFill>
                <a:effectLst/>
                <a:uLnTx/>
                <a:uFillTx/>
                <a:latin typeface="Segoe UI" panose="020B0502040204020203" pitchFamily="34" charset="0"/>
                <a:ea typeface="+mn-ea"/>
                <a:cs typeface="Segoe UI" panose="020B0502040204020203" pitchFamily="34" charset="0"/>
              </a:rPr>
              <a:t>Visual Decision Tree </a:t>
            </a:r>
          </a:p>
        </p:txBody>
      </p:sp>
    </p:spTree>
    <p:extLst>
      <p:ext uri="{BB962C8B-B14F-4D97-AF65-F5344CB8AC3E}">
        <p14:creationId xmlns:p14="http://schemas.microsoft.com/office/powerpoint/2010/main" val="1295905159"/>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6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val 1">
            <a:extLst>
              <a:ext uri="{FF2B5EF4-FFF2-40B4-BE49-F238E27FC236}">
                <a16:creationId xmlns:a16="http://schemas.microsoft.com/office/drawing/2014/main" id="{415C2B6A-3FAC-4D27-848F-6E5AE92BD06C}"/>
              </a:ext>
            </a:extLst>
          </p:cNvPr>
          <p:cNvSpPr/>
          <p:nvPr/>
        </p:nvSpPr>
        <p:spPr>
          <a:xfrm>
            <a:off x="582998" y="2151246"/>
            <a:ext cx="1324704" cy="1115540"/>
          </a:xfrm>
          <a:prstGeom prst="ellipse">
            <a:avLst/>
          </a:prstGeom>
          <a:solidFill>
            <a:schemeClr val="accent6"/>
          </a:solidFill>
          <a:ln>
            <a:noFill/>
          </a:ln>
          <a:effectLst>
            <a:outerShdw blurRad="342900" dist="127000" dir="5400000" algn="t" rotWithShape="0">
              <a:prstClr val="black">
                <a:alpha val="2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FFFFFF"/>
              </a:solidFill>
              <a:effectLst/>
              <a:uLnTx/>
              <a:uFillTx/>
              <a:latin typeface="等线 Light" panose="020F0302020204030204"/>
              <a:ea typeface="+mn-ea"/>
              <a:cs typeface="+mn-cs"/>
            </a:endParaRPr>
          </a:p>
        </p:txBody>
      </p:sp>
      <p:sp>
        <p:nvSpPr>
          <p:cNvPr id="3" name="Oval 2">
            <a:extLst>
              <a:ext uri="{FF2B5EF4-FFF2-40B4-BE49-F238E27FC236}">
                <a16:creationId xmlns:a16="http://schemas.microsoft.com/office/drawing/2014/main" id="{9ADF6D34-F3FD-4420-9A6B-EC7A4EEEEF47}"/>
              </a:ext>
            </a:extLst>
          </p:cNvPr>
          <p:cNvSpPr/>
          <p:nvPr/>
        </p:nvSpPr>
        <p:spPr>
          <a:xfrm>
            <a:off x="946197" y="2851701"/>
            <a:ext cx="1324704" cy="1115540"/>
          </a:xfrm>
          <a:prstGeom prst="ellipse">
            <a:avLst/>
          </a:prstGeom>
          <a:solidFill>
            <a:schemeClr val="accent3"/>
          </a:solidFill>
          <a:ln>
            <a:noFill/>
          </a:ln>
          <a:effectLst>
            <a:outerShdw blurRad="342900" dist="127000" dir="5400000" algn="t" rotWithShape="0">
              <a:prstClr val="black">
                <a:alpha val="2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FFFFFF"/>
              </a:solidFill>
              <a:effectLst/>
              <a:uLnTx/>
              <a:uFillTx/>
              <a:latin typeface="等线 Light" panose="020F0302020204030204"/>
              <a:ea typeface="+mn-ea"/>
              <a:cs typeface="+mn-cs"/>
            </a:endParaRPr>
          </a:p>
        </p:txBody>
      </p:sp>
      <p:sp>
        <p:nvSpPr>
          <p:cNvPr id="4" name="Oval 3">
            <a:extLst>
              <a:ext uri="{FF2B5EF4-FFF2-40B4-BE49-F238E27FC236}">
                <a16:creationId xmlns:a16="http://schemas.microsoft.com/office/drawing/2014/main" id="{A5E54E76-1EAA-4781-A9CB-43599C5E51AE}"/>
              </a:ext>
            </a:extLst>
          </p:cNvPr>
          <p:cNvSpPr/>
          <p:nvPr/>
        </p:nvSpPr>
        <p:spPr>
          <a:xfrm>
            <a:off x="1276964" y="2140777"/>
            <a:ext cx="1772219" cy="1492393"/>
          </a:xfrm>
          <a:prstGeom prst="ellipse">
            <a:avLst/>
          </a:prstGeom>
          <a:solidFill>
            <a:schemeClr val="accent5"/>
          </a:solidFill>
          <a:ln>
            <a:noFill/>
          </a:ln>
          <a:effectLst>
            <a:outerShdw blurRad="342900" dist="127000" dir="5400000" algn="t" rotWithShape="0">
              <a:prstClr val="black">
                <a:alpha val="2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FFFFFF"/>
              </a:solidFill>
              <a:effectLst/>
              <a:uLnTx/>
              <a:uFillTx/>
              <a:latin typeface="等线 Light" panose="020F0302020204030204"/>
              <a:ea typeface="+mn-ea"/>
              <a:cs typeface="+mn-cs"/>
            </a:endParaRPr>
          </a:p>
        </p:txBody>
      </p:sp>
      <p:sp>
        <p:nvSpPr>
          <p:cNvPr id="5" name="Oval 5">
            <a:extLst>
              <a:ext uri="{FF2B5EF4-FFF2-40B4-BE49-F238E27FC236}">
                <a16:creationId xmlns:a16="http://schemas.microsoft.com/office/drawing/2014/main" id="{3D29CE15-5457-4640-A33F-0E5AE8E9DBC6}"/>
              </a:ext>
            </a:extLst>
          </p:cNvPr>
          <p:cNvSpPr/>
          <p:nvPr/>
        </p:nvSpPr>
        <p:spPr>
          <a:xfrm rot="11996835">
            <a:off x="3774182" y="2543045"/>
            <a:ext cx="1324704" cy="1115540"/>
          </a:xfrm>
          <a:prstGeom prst="ellipse">
            <a:avLst/>
          </a:prstGeom>
          <a:solidFill>
            <a:schemeClr val="accent4"/>
          </a:solidFill>
          <a:ln>
            <a:noFill/>
          </a:ln>
          <a:effectLst>
            <a:outerShdw blurRad="342900" dist="127000" dir="5400000" algn="t" rotWithShape="0">
              <a:prstClr val="black">
                <a:alpha val="2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FFFFFF"/>
              </a:solidFill>
              <a:effectLst/>
              <a:uLnTx/>
              <a:uFillTx/>
              <a:latin typeface="等线 Light" panose="020F0302020204030204"/>
              <a:ea typeface="+mn-ea"/>
              <a:cs typeface="+mn-cs"/>
            </a:endParaRPr>
          </a:p>
        </p:txBody>
      </p:sp>
      <p:sp>
        <p:nvSpPr>
          <p:cNvPr id="6" name="Oval 6">
            <a:extLst>
              <a:ext uri="{FF2B5EF4-FFF2-40B4-BE49-F238E27FC236}">
                <a16:creationId xmlns:a16="http://schemas.microsoft.com/office/drawing/2014/main" id="{8B95A637-FC91-4AB4-9C54-CDCA503FE550}"/>
              </a:ext>
            </a:extLst>
          </p:cNvPr>
          <p:cNvSpPr/>
          <p:nvPr/>
        </p:nvSpPr>
        <p:spPr>
          <a:xfrm rot="11996835">
            <a:off x="3201581" y="1427769"/>
            <a:ext cx="1772219" cy="1492393"/>
          </a:xfrm>
          <a:prstGeom prst="ellipse">
            <a:avLst/>
          </a:prstGeom>
          <a:solidFill>
            <a:schemeClr val="accent2"/>
          </a:solidFill>
          <a:ln>
            <a:noFill/>
          </a:ln>
          <a:effectLst>
            <a:outerShdw blurRad="342900" dist="127000" dir="5400000" algn="t" rotWithShape="0">
              <a:prstClr val="black">
                <a:alpha val="2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FFFFFF"/>
              </a:solidFill>
              <a:effectLst/>
              <a:uLnTx/>
              <a:uFillTx/>
              <a:latin typeface="等线 Light" panose="020F0302020204030204"/>
              <a:ea typeface="+mn-ea"/>
              <a:cs typeface="+mn-cs"/>
            </a:endParaRPr>
          </a:p>
        </p:txBody>
      </p:sp>
      <p:sp>
        <p:nvSpPr>
          <p:cNvPr id="7" name="Oval 7">
            <a:extLst>
              <a:ext uri="{FF2B5EF4-FFF2-40B4-BE49-F238E27FC236}">
                <a16:creationId xmlns:a16="http://schemas.microsoft.com/office/drawing/2014/main" id="{1DD0E14F-8897-409C-9F7C-23D544CD3BF6}"/>
              </a:ext>
            </a:extLst>
          </p:cNvPr>
          <p:cNvSpPr/>
          <p:nvPr/>
        </p:nvSpPr>
        <p:spPr>
          <a:xfrm rot="11996835">
            <a:off x="1987635" y="3085869"/>
            <a:ext cx="1324704" cy="1115540"/>
          </a:xfrm>
          <a:prstGeom prst="ellipse">
            <a:avLst/>
          </a:prstGeom>
          <a:solidFill>
            <a:schemeClr val="accent1">
              <a:lumMod val="50000"/>
            </a:schemeClr>
          </a:solidFill>
          <a:ln>
            <a:noFill/>
          </a:ln>
          <a:effectLst>
            <a:outerShdw blurRad="342900" dist="127000" dir="5400000" algn="t" rotWithShape="0">
              <a:prstClr val="black">
                <a:alpha val="2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FFFFFF"/>
              </a:solidFill>
              <a:effectLst/>
              <a:uLnTx/>
              <a:uFillTx/>
              <a:latin typeface="等线 Light" panose="020F0302020204030204"/>
              <a:ea typeface="+mn-ea"/>
              <a:cs typeface="+mn-cs"/>
            </a:endParaRPr>
          </a:p>
        </p:txBody>
      </p:sp>
      <p:sp>
        <p:nvSpPr>
          <p:cNvPr id="8" name="Oval 8">
            <a:extLst>
              <a:ext uri="{FF2B5EF4-FFF2-40B4-BE49-F238E27FC236}">
                <a16:creationId xmlns:a16="http://schemas.microsoft.com/office/drawing/2014/main" id="{3DEE3806-6C34-4B90-A832-087127F6C49B}"/>
              </a:ext>
            </a:extLst>
          </p:cNvPr>
          <p:cNvSpPr/>
          <p:nvPr/>
        </p:nvSpPr>
        <p:spPr>
          <a:xfrm rot="11996835">
            <a:off x="2955940" y="3078013"/>
            <a:ext cx="1324704" cy="1115540"/>
          </a:xfrm>
          <a:prstGeom prst="ellipse">
            <a:avLst/>
          </a:prstGeom>
          <a:solidFill>
            <a:schemeClr val="accent6"/>
          </a:solidFill>
          <a:ln>
            <a:noFill/>
          </a:ln>
          <a:effectLst>
            <a:outerShdw blurRad="342900" dist="127000" dir="5400000" algn="t" rotWithShape="0">
              <a:prstClr val="black">
                <a:alpha val="2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FFFFFF"/>
              </a:solidFill>
              <a:effectLst/>
              <a:uLnTx/>
              <a:uFillTx/>
              <a:latin typeface="等线 Light" panose="020F0302020204030204"/>
              <a:ea typeface="+mn-ea"/>
              <a:cs typeface="+mn-cs"/>
            </a:endParaRPr>
          </a:p>
        </p:txBody>
      </p:sp>
      <p:sp>
        <p:nvSpPr>
          <p:cNvPr id="9" name="Oval 9">
            <a:extLst>
              <a:ext uri="{FF2B5EF4-FFF2-40B4-BE49-F238E27FC236}">
                <a16:creationId xmlns:a16="http://schemas.microsoft.com/office/drawing/2014/main" id="{A0C812C7-ED46-4DD6-96C0-A8F5E385069E}"/>
              </a:ext>
            </a:extLst>
          </p:cNvPr>
          <p:cNvSpPr/>
          <p:nvPr/>
        </p:nvSpPr>
        <p:spPr>
          <a:xfrm>
            <a:off x="2170124" y="985239"/>
            <a:ext cx="1772219" cy="1492393"/>
          </a:xfrm>
          <a:prstGeom prst="ellipse">
            <a:avLst/>
          </a:prstGeom>
          <a:solidFill>
            <a:schemeClr val="accent3"/>
          </a:solidFill>
          <a:ln>
            <a:noFill/>
          </a:ln>
          <a:effectLst>
            <a:outerShdw blurRad="342900" dist="127000" dir="5400000" algn="t" rotWithShape="0">
              <a:prstClr val="black">
                <a:alpha val="2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dirty="0">
              <a:ln>
                <a:noFill/>
              </a:ln>
              <a:solidFill>
                <a:srgbClr val="FFFFFF"/>
              </a:solidFill>
              <a:effectLst/>
              <a:uLnTx/>
              <a:uFillTx/>
              <a:latin typeface="等线 Light" panose="020F0302020204030204"/>
              <a:ea typeface="+mn-ea"/>
              <a:cs typeface="+mn-cs"/>
            </a:endParaRPr>
          </a:p>
        </p:txBody>
      </p:sp>
      <p:sp>
        <p:nvSpPr>
          <p:cNvPr id="10" name="Oval 11">
            <a:extLst>
              <a:ext uri="{FF2B5EF4-FFF2-40B4-BE49-F238E27FC236}">
                <a16:creationId xmlns:a16="http://schemas.microsoft.com/office/drawing/2014/main" id="{82E3D430-47BB-4924-8C97-9D4334F23321}"/>
              </a:ext>
            </a:extLst>
          </p:cNvPr>
          <p:cNvSpPr/>
          <p:nvPr/>
        </p:nvSpPr>
        <p:spPr>
          <a:xfrm>
            <a:off x="1192049" y="1170236"/>
            <a:ext cx="1772219" cy="1492393"/>
          </a:xfrm>
          <a:prstGeom prst="ellipse">
            <a:avLst/>
          </a:prstGeom>
          <a:solidFill>
            <a:schemeClr val="accent4"/>
          </a:solidFill>
          <a:ln>
            <a:noFill/>
          </a:ln>
          <a:effectLst>
            <a:outerShdw blurRad="342900" dist="127000" dir="5400000" algn="t" rotWithShape="0">
              <a:prstClr val="black">
                <a:alpha val="2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FFFFFF"/>
              </a:solidFill>
              <a:effectLst/>
              <a:uLnTx/>
              <a:uFillTx/>
              <a:latin typeface="等线 Light" panose="020F0302020204030204"/>
              <a:ea typeface="+mn-ea"/>
              <a:cs typeface="+mn-cs"/>
            </a:endParaRPr>
          </a:p>
        </p:txBody>
      </p:sp>
      <p:sp>
        <p:nvSpPr>
          <p:cNvPr id="11" name="Oval 12">
            <a:extLst>
              <a:ext uri="{FF2B5EF4-FFF2-40B4-BE49-F238E27FC236}">
                <a16:creationId xmlns:a16="http://schemas.microsoft.com/office/drawing/2014/main" id="{13EBDD92-D4BB-494E-B0D2-69FB6AFB6404}"/>
              </a:ext>
            </a:extLst>
          </p:cNvPr>
          <p:cNvSpPr/>
          <p:nvPr/>
        </p:nvSpPr>
        <p:spPr>
          <a:xfrm>
            <a:off x="2079919" y="1987872"/>
            <a:ext cx="1772219" cy="1492393"/>
          </a:xfrm>
          <a:prstGeom prst="ellipse">
            <a:avLst/>
          </a:prstGeom>
          <a:solidFill>
            <a:schemeClr val="accent1"/>
          </a:solidFill>
          <a:ln>
            <a:noFill/>
          </a:ln>
          <a:effectLst>
            <a:outerShdw blurRad="342900" dist="127000" dir="5400000" algn="t" rotWithShape="0">
              <a:prstClr val="black">
                <a:alpha val="2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FFFFFF"/>
              </a:solidFill>
              <a:effectLst/>
              <a:uLnTx/>
              <a:uFillTx/>
              <a:latin typeface="等线 Light" panose="020F0302020204030204"/>
              <a:ea typeface="+mn-ea"/>
              <a:cs typeface="+mn-cs"/>
            </a:endParaRPr>
          </a:p>
        </p:txBody>
      </p:sp>
      <p:sp>
        <p:nvSpPr>
          <p:cNvPr id="12" name="Freeform: Shape 10">
            <a:extLst>
              <a:ext uri="{FF2B5EF4-FFF2-40B4-BE49-F238E27FC236}">
                <a16:creationId xmlns:a16="http://schemas.microsoft.com/office/drawing/2014/main" id="{57E77AD1-B688-4E8C-893E-7945814EDF02}"/>
              </a:ext>
            </a:extLst>
          </p:cNvPr>
          <p:cNvSpPr>
            <a:spLocks/>
          </p:cNvSpPr>
          <p:nvPr/>
        </p:nvSpPr>
        <p:spPr bwMode="auto">
          <a:xfrm>
            <a:off x="0" y="2731093"/>
            <a:ext cx="12192000" cy="4126907"/>
          </a:xfrm>
          <a:custGeom>
            <a:avLst/>
            <a:gdLst>
              <a:gd name="connsiteX0" fmla="*/ 2945178 w 12192000"/>
              <a:gd name="connsiteY0" fmla="*/ 0 h 5038666"/>
              <a:gd name="connsiteX1" fmla="*/ 2942307 w 12192000"/>
              <a:gd name="connsiteY1" fmla="*/ 2524 h 5038666"/>
              <a:gd name="connsiteX2" fmla="*/ 2934459 w 12192000"/>
              <a:gd name="connsiteY2" fmla="*/ 9556 h 5038666"/>
              <a:gd name="connsiteX3" fmla="*/ 2928718 w 12192000"/>
              <a:gd name="connsiteY3" fmla="*/ 15145 h 5038666"/>
              <a:gd name="connsiteX4" fmla="*/ 2922019 w 12192000"/>
              <a:gd name="connsiteY4" fmla="*/ 21816 h 5038666"/>
              <a:gd name="connsiteX5" fmla="*/ 2914554 w 12192000"/>
              <a:gd name="connsiteY5" fmla="*/ 29569 h 5038666"/>
              <a:gd name="connsiteX6" fmla="*/ 2906133 w 12192000"/>
              <a:gd name="connsiteY6" fmla="*/ 38223 h 5038666"/>
              <a:gd name="connsiteX7" fmla="*/ 2896754 w 12192000"/>
              <a:gd name="connsiteY7" fmla="*/ 48500 h 5038666"/>
              <a:gd name="connsiteX8" fmla="*/ 2886993 w 12192000"/>
              <a:gd name="connsiteY8" fmla="*/ 59679 h 5038666"/>
              <a:gd name="connsiteX9" fmla="*/ 2876466 w 12192000"/>
              <a:gd name="connsiteY9" fmla="*/ 71939 h 5038666"/>
              <a:gd name="connsiteX10" fmla="*/ 2865365 w 12192000"/>
              <a:gd name="connsiteY10" fmla="*/ 85641 h 5038666"/>
              <a:gd name="connsiteX11" fmla="*/ 2854073 w 12192000"/>
              <a:gd name="connsiteY11" fmla="*/ 100065 h 5038666"/>
              <a:gd name="connsiteX12" fmla="*/ 2842207 w 12192000"/>
              <a:gd name="connsiteY12" fmla="*/ 115931 h 5038666"/>
              <a:gd name="connsiteX13" fmla="*/ 2830340 w 12192000"/>
              <a:gd name="connsiteY13" fmla="*/ 132699 h 5038666"/>
              <a:gd name="connsiteX14" fmla="*/ 2818090 w 12192000"/>
              <a:gd name="connsiteY14" fmla="*/ 150548 h 5038666"/>
              <a:gd name="connsiteX15" fmla="*/ 2805841 w 12192000"/>
              <a:gd name="connsiteY15" fmla="*/ 169660 h 5038666"/>
              <a:gd name="connsiteX16" fmla="*/ 2793592 w 12192000"/>
              <a:gd name="connsiteY16" fmla="*/ 189673 h 5038666"/>
              <a:gd name="connsiteX17" fmla="*/ 2781343 w 12192000"/>
              <a:gd name="connsiteY17" fmla="*/ 210768 h 5038666"/>
              <a:gd name="connsiteX18" fmla="*/ 2769667 w 12192000"/>
              <a:gd name="connsiteY18" fmla="*/ 232944 h 5038666"/>
              <a:gd name="connsiteX19" fmla="*/ 2757801 w 12192000"/>
              <a:gd name="connsiteY19" fmla="*/ 256023 h 5038666"/>
              <a:gd name="connsiteX20" fmla="*/ 2746508 w 12192000"/>
              <a:gd name="connsiteY20" fmla="*/ 280363 h 5038666"/>
              <a:gd name="connsiteX21" fmla="*/ 2735599 w 12192000"/>
              <a:gd name="connsiteY21" fmla="*/ 305604 h 5038666"/>
              <a:gd name="connsiteX22" fmla="*/ 2725455 w 12192000"/>
              <a:gd name="connsiteY22" fmla="*/ 332108 h 5038666"/>
              <a:gd name="connsiteX23" fmla="*/ 2715694 w 12192000"/>
              <a:gd name="connsiteY23" fmla="*/ 359153 h 5038666"/>
              <a:gd name="connsiteX24" fmla="*/ 2706507 w 12192000"/>
              <a:gd name="connsiteY24" fmla="*/ 387459 h 5038666"/>
              <a:gd name="connsiteX25" fmla="*/ 2698277 w 12192000"/>
              <a:gd name="connsiteY25" fmla="*/ 416848 h 5038666"/>
              <a:gd name="connsiteX26" fmla="*/ 2690812 w 12192000"/>
              <a:gd name="connsiteY26" fmla="*/ 447138 h 5038666"/>
              <a:gd name="connsiteX27" fmla="*/ 2684305 w 12192000"/>
              <a:gd name="connsiteY27" fmla="*/ 478329 h 5038666"/>
              <a:gd name="connsiteX28" fmla="*/ 2678946 w 12192000"/>
              <a:gd name="connsiteY28" fmla="*/ 510603 h 5038666"/>
              <a:gd name="connsiteX29" fmla="*/ 2674735 w 12192000"/>
              <a:gd name="connsiteY29" fmla="*/ 543958 h 5038666"/>
              <a:gd name="connsiteX30" fmla="*/ 2671673 w 12192000"/>
              <a:gd name="connsiteY30" fmla="*/ 578034 h 5038666"/>
              <a:gd name="connsiteX31" fmla="*/ 2670141 w 12192000"/>
              <a:gd name="connsiteY31" fmla="*/ 612290 h 5038666"/>
              <a:gd name="connsiteX32" fmla="*/ 2669759 w 12192000"/>
              <a:gd name="connsiteY32" fmla="*/ 646547 h 5038666"/>
              <a:gd name="connsiteX33" fmla="*/ 2671098 w 12192000"/>
              <a:gd name="connsiteY33" fmla="*/ 680082 h 5038666"/>
              <a:gd name="connsiteX34" fmla="*/ 2673778 w 12192000"/>
              <a:gd name="connsiteY34" fmla="*/ 713257 h 5038666"/>
              <a:gd name="connsiteX35" fmla="*/ 2677606 w 12192000"/>
              <a:gd name="connsiteY35" fmla="*/ 745891 h 5038666"/>
              <a:gd name="connsiteX36" fmla="*/ 2682582 w 12192000"/>
              <a:gd name="connsiteY36" fmla="*/ 777984 h 5038666"/>
              <a:gd name="connsiteX37" fmla="*/ 2688515 w 12192000"/>
              <a:gd name="connsiteY37" fmla="*/ 809536 h 5038666"/>
              <a:gd name="connsiteX38" fmla="*/ 2695406 w 12192000"/>
              <a:gd name="connsiteY38" fmla="*/ 840367 h 5038666"/>
              <a:gd name="connsiteX39" fmla="*/ 2703253 w 12192000"/>
              <a:gd name="connsiteY39" fmla="*/ 870476 h 5038666"/>
              <a:gd name="connsiteX40" fmla="*/ 2711674 w 12192000"/>
              <a:gd name="connsiteY40" fmla="*/ 899865 h 5038666"/>
              <a:gd name="connsiteX41" fmla="*/ 2720670 w 12192000"/>
              <a:gd name="connsiteY41" fmla="*/ 928532 h 5038666"/>
              <a:gd name="connsiteX42" fmla="*/ 2730431 w 12192000"/>
              <a:gd name="connsiteY42" fmla="*/ 956118 h 5038666"/>
              <a:gd name="connsiteX43" fmla="*/ 2740575 w 12192000"/>
              <a:gd name="connsiteY43" fmla="*/ 982802 h 5038666"/>
              <a:gd name="connsiteX44" fmla="*/ 2751102 w 12192000"/>
              <a:gd name="connsiteY44" fmla="*/ 1008764 h 5038666"/>
              <a:gd name="connsiteX45" fmla="*/ 2761820 w 12192000"/>
              <a:gd name="connsiteY45" fmla="*/ 1033826 h 5038666"/>
              <a:gd name="connsiteX46" fmla="*/ 2772730 w 12192000"/>
              <a:gd name="connsiteY46" fmla="*/ 1057625 h 5038666"/>
              <a:gd name="connsiteX47" fmla="*/ 2783831 w 12192000"/>
              <a:gd name="connsiteY47" fmla="*/ 1080523 h 5038666"/>
              <a:gd name="connsiteX48" fmla="*/ 2794932 w 12192000"/>
              <a:gd name="connsiteY48" fmla="*/ 1101978 h 5038666"/>
              <a:gd name="connsiteX49" fmla="*/ 2805841 w 12192000"/>
              <a:gd name="connsiteY49" fmla="*/ 1122532 h 5038666"/>
              <a:gd name="connsiteX50" fmla="*/ 2816559 w 12192000"/>
              <a:gd name="connsiteY50" fmla="*/ 1141824 h 5038666"/>
              <a:gd name="connsiteX51" fmla="*/ 2826703 w 12192000"/>
              <a:gd name="connsiteY51" fmla="*/ 1159854 h 5038666"/>
              <a:gd name="connsiteX52" fmla="*/ 2836656 w 12192000"/>
              <a:gd name="connsiteY52" fmla="*/ 1176621 h 5038666"/>
              <a:gd name="connsiteX53" fmla="*/ 2846226 w 12192000"/>
              <a:gd name="connsiteY53" fmla="*/ 1191766 h 5038666"/>
              <a:gd name="connsiteX54" fmla="*/ 2855221 w 12192000"/>
              <a:gd name="connsiteY54" fmla="*/ 1205649 h 5038666"/>
              <a:gd name="connsiteX55" fmla="*/ 2863451 w 12192000"/>
              <a:gd name="connsiteY55" fmla="*/ 1218270 h 5038666"/>
              <a:gd name="connsiteX56" fmla="*/ 2870725 w 12192000"/>
              <a:gd name="connsiteY56" fmla="*/ 1229088 h 5038666"/>
              <a:gd name="connsiteX57" fmla="*/ 2877232 w 12192000"/>
              <a:gd name="connsiteY57" fmla="*/ 1238463 h 5038666"/>
              <a:gd name="connsiteX58" fmla="*/ 2882782 w 12192000"/>
              <a:gd name="connsiteY58" fmla="*/ 1246216 h 5038666"/>
              <a:gd name="connsiteX59" fmla="*/ 2890821 w 12192000"/>
              <a:gd name="connsiteY59" fmla="*/ 1256854 h 5038666"/>
              <a:gd name="connsiteX60" fmla="*/ 2893309 w 12192000"/>
              <a:gd name="connsiteY60" fmla="*/ 1260460 h 5038666"/>
              <a:gd name="connsiteX61" fmla="*/ 2894649 w 12192000"/>
              <a:gd name="connsiteY61" fmla="*/ 1255411 h 5038666"/>
              <a:gd name="connsiteX62" fmla="*/ 2898860 w 12192000"/>
              <a:gd name="connsiteY62" fmla="*/ 1241348 h 5038666"/>
              <a:gd name="connsiteX63" fmla="*/ 2905750 w 12192000"/>
              <a:gd name="connsiteY63" fmla="*/ 1219172 h 5038666"/>
              <a:gd name="connsiteX64" fmla="*/ 2915320 w 12192000"/>
              <a:gd name="connsiteY64" fmla="*/ 1189963 h 5038666"/>
              <a:gd name="connsiteX65" fmla="*/ 2921253 w 12192000"/>
              <a:gd name="connsiteY65" fmla="*/ 1172835 h 5038666"/>
              <a:gd name="connsiteX66" fmla="*/ 2927569 w 12192000"/>
              <a:gd name="connsiteY66" fmla="*/ 1154264 h 5038666"/>
              <a:gd name="connsiteX67" fmla="*/ 2934651 w 12192000"/>
              <a:gd name="connsiteY67" fmla="*/ 1134432 h 5038666"/>
              <a:gd name="connsiteX68" fmla="*/ 2942498 w 12192000"/>
              <a:gd name="connsiteY68" fmla="*/ 1113337 h 5038666"/>
              <a:gd name="connsiteX69" fmla="*/ 2950920 w 12192000"/>
              <a:gd name="connsiteY69" fmla="*/ 1091341 h 5038666"/>
              <a:gd name="connsiteX70" fmla="*/ 2960107 w 12192000"/>
              <a:gd name="connsiteY70" fmla="*/ 1068263 h 5038666"/>
              <a:gd name="connsiteX71" fmla="*/ 2969868 w 12192000"/>
              <a:gd name="connsiteY71" fmla="*/ 1044283 h 5038666"/>
              <a:gd name="connsiteX72" fmla="*/ 2980203 w 12192000"/>
              <a:gd name="connsiteY72" fmla="*/ 1019763 h 5038666"/>
              <a:gd name="connsiteX73" fmla="*/ 2991304 w 12192000"/>
              <a:gd name="connsiteY73" fmla="*/ 994701 h 5038666"/>
              <a:gd name="connsiteX74" fmla="*/ 3002979 w 12192000"/>
              <a:gd name="connsiteY74" fmla="*/ 969099 h 5038666"/>
              <a:gd name="connsiteX75" fmla="*/ 3015420 w 12192000"/>
              <a:gd name="connsiteY75" fmla="*/ 943136 h 5038666"/>
              <a:gd name="connsiteX76" fmla="*/ 3028435 w 12192000"/>
              <a:gd name="connsiteY76" fmla="*/ 916993 h 5038666"/>
              <a:gd name="connsiteX77" fmla="*/ 3042024 w 12192000"/>
              <a:gd name="connsiteY77" fmla="*/ 890489 h 5038666"/>
              <a:gd name="connsiteX78" fmla="*/ 3056187 w 12192000"/>
              <a:gd name="connsiteY78" fmla="*/ 864346 h 5038666"/>
              <a:gd name="connsiteX79" fmla="*/ 3071116 w 12192000"/>
              <a:gd name="connsiteY79" fmla="*/ 838203 h 5038666"/>
              <a:gd name="connsiteX80" fmla="*/ 3086811 w 12192000"/>
              <a:gd name="connsiteY80" fmla="*/ 812420 h 5038666"/>
              <a:gd name="connsiteX81" fmla="*/ 3102888 w 12192000"/>
              <a:gd name="connsiteY81" fmla="*/ 786999 h 5038666"/>
              <a:gd name="connsiteX82" fmla="*/ 3119539 w 12192000"/>
              <a:gd name="connsiteY82" fmla="*/ 761937 h 5038666"/>
              <a:gd name="connsiteX83" fmla="*/ 3137148 w 12192000"/>
              <a:gd name="connsiteY83" fmla="*/ 737777 h 5038666"/>
              <a:gd name="connsiteX84" fmla="*/ 3155139 w 12192000"/>
              <a:gd name="connsiteY84" fmla="*/ 714339 h 5038666"/>
              <a:gd name="connsiteX85" fmla="*/ 3173896 w 12192000"/>
              <a:gd name="connsiteY85" fmla="*/ 691621 h 5038666"/>
              <a:gd name="connsiteX86" fmla="*/ 3193227 w 12192000"/>
              <a:gd name="connsiteY86" fmla="*/ 669985 h 5038666"/>
              <a:gd name="connsiteX87" fmla="*/ 3212941 w 12192000"/>
              <a:gd name="connsiteY87" fmla="*/ 649432 h 5038666"/>
              <a:gd name="connsiteX88" fmla="*/ 3233420 w 12192000"/>
              <a:gd name="connsiteY88" fmla="*/ 630140 h 5038666"/>
              <a:gd name="connsiteX89" fmla="*/ 3253325 w 12192000"/>
              <a:gd name="connsiteY89" fmla="*/ 611569 h 5038666"/>
              <a:gd name="connsiteX90" fmla="*/ 3272082 w 12192000"/>
              <a:gd name="connsiteY90" fmla="*/ 592638 h 5038666"/>
              <a:gd name="connsiteX91" fmla="*/ 3289116 w 12192000"/>
              <a:gd name="connsiteY91" fmla="*/ 573526 h 5038666"/>
              <a:gd name="connsiteX92" fmla="*/ 3305002 w 12192000"/>
              <a:gd name="connsiteY92" fmla="*/ 554775 h 5038666"/>
              <a:gd name="connsiteX93" fmla="*/ 3319357 w 12192000"/>
              <a:gd name="connsiteY93" fmla="*/ 535664 h 5038666"/>
              <a:gd name="connsiteX94" fmla="*/ 3332563 w 12192000"/>
              <a:gd name="connsiteY94" fmla="*/ 516733 h 5038666"/>
              <a:gd name="connsiteX95" fmla="*/ 3344430 w 12192000"/>
              <a:gd name="connsiteY95" fmla="*/ 497801 h 5038666"/>
              <a:gd name="connsiteX96" fmla="*/ 3355339 w 12192000"/>
              <a:gd name="connsiteY96" fmla="*/ 479050 h 5038666"/>
              <a:gd name="connsiteX97" fmla="*/ 3364909 w 12192000"/>
              <a:gd name="connsiteY97" fmla="*/ 460480 h 5038666"/>
              <a:gd name="connsiteX98" fmla="*/ 3373522 w 12192000"/>
              <a:gd name="connsiteY98" fmla="*/ 442089 h 5038666"/>
              <a:gd name="connsiteX99" fmla="*/ 3381369 w 12192000"/>
              <a:gd name="connsiteY99" fmla="*/ 424060 h 5038666"/>
              <a:gd name="connsiteX100" fmla="*/ 3388260 w 12192000"/>
              <a:gd name="connsiteY100" fmla="*/ 406391 h 5038666"/>
              <a:gd name="connsiteX101" fmla="*/ 3394001 w 12192000"/>
              <a:gd name="connsiteY101" fmla="*/ 388902 h 5038666"/>
              <a:gd name="connsiteX102" fmla="*/ 3399169 w 12192000"/>
              <a:gd name="connsiteY102" fmla="*/ 372134 h 5038666"/>
              <a:gd name="connsiteX103" fmla="*/ 3403571 w 12192000"/>
              <a:gd name="connsiteY103" fmla="*/ 355727 h 5038666"/>
              <a:gd name="connsiteX104" fmla="*/ 3407208 w 12192000"/>
              <a:gd name="connsiteY104" fmla="*/ 340041 h 5038666"/>
              <a:gd name="connsiteX105" fmla="*/ 3410079 w 12192000"/>
              <a:gd name="connsiteY105" fmla="*/ 324716 h 5038666"/>
              <a:gd name="connsiteX106" fmla="*/ 3412567 w 12192000"/>
              <a:gd name="connsiteY106" fmla="*/ 310112 h 5038666"/>
              <a:gd name="connsiteX107" fmla="*/ 3414289 w 12192000"/>
              <a:gd name="connsiteY107" fmla="*/ 296049 h 5038666"/>
              <a:gd name="connsiteX108" fmla="*/ 3415821 w 12192000"/>
              <a:gd name="connsiteY108" fmla="*/ 282887 h 5038666"/>
              <a:gd name="connsiteX109" fmla="*/ 3416778 w 12192000"/>
              <a:gd name="connsiteY109" fmla="*/ 270266 h 5038666"/>
              <a:gd name="connsiteX110" fmla="*/ 3417160 w 12192000"/>
              <a:gd name="connsiteY110" fmla="*/ 258547 h 5038666"/>
              <a:gd name="connsiteX111" fmla="*/ 3417352 w 12192000"/>
              <a:gd name="connsiteY111" fmla="*/ 247909 h 5038666"/>
              <a:gd name="connsiteX112" fmla="*/ 3417352 w 12192000"/>
              <a:gd name="connsiteY112" fmla="*/ 237993 h 5038666"/>
              <a:gd name="connsiteX113" fmla="*/ 3417160 w 12192000"/>
              <a:gd name="connsiteY113" fmla="*/ 229158 h 5038666"/>
              <a:gd name="connsiteX114" fmla="*/ 3416969 w 12192000"/>
              <a:gd name="connsiteY114" fmla="*/ 221225 h 5038666"/>
              <a:gd name="connsiteX115" fmla="*/ 3416203 w 12192000"/>
              <a:gd name="connsiteY115" fmla="*/ 214554 h 5038666"/>
              <a:gd name="connsiteX116" fmla="*/ 3415821 w 12192000"/>
              <a:gd name="connsiteY116" fmla="*/ 208965 h 5038666"/>
              <a:gd name="connsiteX117" fmla="*/ 3414864 w 12192000"/>
              <a:gd name="connsiteY117" fmla="*/ 201212 h 5038666"/>
              <a:gd name="connsiteX118" fmla="*/ 3414481 w 12192000"/>
              <a:gd name="connsiteY118" fmla="*/ 198508 h 5038666"/>
              <a:gd name="connsiteX119" fmla="*/ 3414864 w 12192000"/>
              <a:gd name="connsiteY119" fmla="*/ 199229 h 5038666"/>
              <a:gd name="connsiteX120" fmla="*/ 3416586 w 12192000"/>
              <a:gd name="connsiteY120" fmla="*/ 201933 h 5038666"/>
              <a:gd name="connsiteX121" fmla="*/ 3418500 w 12192000"/>
              <a:gd name="connsiteY121" fmla="*/ 206621 h 5038666"/>
              <a:gd name="connsiteX122" fmla="*/ 3420988 w 12192000"/>
              <a:gd name="connsiteY122" fmla="*/ 213112 h 5038666"/>
              <a:gd name="connsiteX123" fmla="*/ 3423859 w 12192000"/>
              <a:gd name="connsiteY123" fmla="*/ 221405 h 5038666"/>
              <a:gd name="connsiteX124" fmla="*/ 3426730 w 12192000"/>
              <a:gd name="connsiteY124" fmla="*/ 231682 h 5038666"/>
              <a:gd name="connsiteX125" fmla="*/ 3428261 w 12192000"/>
              <a:gd name="connsiteY125" fmla="*/ 237632 h 5038666"/>
              <a:gd name="connsiteX126" fmla="*/ 3429793 w 12192000"/>
              <a:gd name="connsiteY126" fmla="*/ 243943 h 5038666"/>
              <a:gd name="connsiteX127" fmla="*/ 3431132 w 12192000"/>
              <a:gd name="connsiteY127" fmla="*/ 250794 h 5038666"/>
              <a:gd name="connsiteX128" fmla="*/ 3432472 w 12192000"/>
              <a:gd name="connsiteY128" fmla="*/ 258186 h 5038666"/>
              <a:gd name="connsiteX129" fmla="*/ 3433812 w 12192000"/>
              <a:gd name="connsiteY129" fmla="*/ 265939 h 5038666"/>
              <a:gd name="connsiteX130" fmla="*/ 3434960 w 12192000"/>
              <a:gd name="connsiteY130" fmla="*/ 274233 h 5038666"/>
              <a:gd name="connsiteX131" fmla="*/ 3435917 w 12192000"/>
              <a:gd name="connsiteY131" fmla="*/ 283067 h 5038666"/>
              <a:gd name="connsiteX132" fmla="*/ 3436683 w 12192000"/>
              <a:gd name="connsiteY132" fmla="*/ 292443 h 5038666"/>
              <a:gd name="connsiteX133" fmla="*/ 3437448 w 12192000"/>
              <a:gd name="connsiteY133" fmla="*/ 302359 h 5038666"/>
              <a:gd name="connsiteX134" fmla="*/ 3437831 w 12192000"/>
              <a:gd name="connsiteY134" fmla="*/ 312816 h 5038666"/>
              <a:gd name="connsiteX135" fmla="*/ 3438022 w 12192000"/>
              <a:gd name="connsiteY135" fmla="*/ 323634 h 5038666"/>
              <a:gd name="connsiteX136" fmla="*/ 3437831 w 12192000"/>
              <a:gd name="connsiteY136" fmla="*/ 335173 h 5038666"/>
              <a:gd name="connsiteX137" fmla="*/ 3437640 w 12192000"/>
              <a:gd name="connsiteY137" fmla="*/ 347073 h 5038666"/>
              <a:gd name="connsiteX138" fmla="*/ 3436874 w 12192000"/>
              <a:gd name="connsiteY138" fmla="*/ 359513 h 5038666"/>
              <a:gd name="connsiteX139" fmla="*/ 3436109 w 12192000"/>
              <a:gd name="connsiteY139" fmla="*/ 372495 h 5038666"/>
              <a:gd name="connsiteX140" fmla="*/ 3434769 w 12192000"/>
              <a:gd name="connsiteY140" fmla="*/ 386017 h 5038666"/>
              <a:gd name="connsiteX141" fmla="*/ 3432855 w 12192000"/>
              <a:gd name="connsiteY141" fmla="*/ 400080 h 5038666"/>
              <a:gd name="connsiteX142" fmla="*/ 3430941 w 12192000"/>
              <a:gd name="connsiteY142" fmla="*/ 414684 h 5038666"/>
              <a:gd name="connsiteX143" fmla="*/ 3428453 w 12192000"/>
              <a:gd name="connsiteY143" fmla="*/ 430010 h 5038666"/>
              <a:gd name="connsiteX144" fmla="*/ 3425582 w 12192000"/>
              <a:gd name="connsiteY144" fmla="*/ 445695 h 5038666"/>
              <a:gd name="connsiteX145" fmla="*/ 3422137 w 12192000"/>
              <a:gd name="connsiteY145" fmla="*/ 461742 h 5038666"/>
              <a:gd name="connsiteX146" fmla="*/ 3417543 w 12192000"/>
              <a:gd name="connsiteY146" fmla="*/ 478149 h 5038666"/>
              <a:gd name="connsiteX147" fmla="*/ 3412184 w 12192000"/>
              <a:gd name="connsiteY147" fmla="*/ 494917 h 5038666"/>
              <a:gd name="connsiteX148" fmla="*/ 3406442 w 12192000"/>
              <a:gd name="connsiteY148" fmla="*/ 511684 h 5038666"/>
              <a:gd name="connsiteX149" fmla="*/ 3399743 w 12192000"/>
              <a:gd name="connsiteY149" fmla="*/ 528452 h 5038666"/>
              <a:gd name="connsiteX150" fmla="*/ 3392470 w 12192000"/>
              <a:gd name="connsiteY150" fmla="*/ 545400 h 5038666"/>
              <a:gd name="connsiteX151" fmla="*/ 3384623 w 12192000"/>
              <a:gd name="connsiteY151" fmla="*/ 562348 h 5038666"/>
              <a:gd name="connsiteX152" fmla="*/ 3376202 w 12192000"/>
              <a:gd name="connsiteY152" fmla="*/ 579116 h 5038666"/>
              <a:gd name="connsiteX153" fmla="*/ 3367589 w 12192000"/>
              <a:gd name="connsiteY153" fmla="*/ 595883 h 5038666"/>
              <a:gd name="connsiteX154" fmla="*/ 3358402 w 12192000"/>
              <a:gd name="connsiteY154" fmla="*/ 612471 h 5038666"/>
              <a:gd name="connsiteX155" fmla="*/ 3349215 w 12192000"/>
              <a:gd name="connsiteY155" fmla="*/ 628878 h 5038666"/>
              <a:gd name="connsiteX156" fmla="*/ 3339645 w 12192000"/>
              <a:gd name="connsiteY156" fmla="*/ 645285 h 5038666"/>
              <a:gd name="connsiteX157" fmla="*/ 3330075 w 12192000"/>
              <a:gd name="connsiteY157" fmla="*/ 661151 h 5038666"/>
              <a:gd name="connsiteX158" fmla="*/ 3320123 w 12192000"/>
              <a:gd name="connsiteY158" fmla="*/ 676656 h 5038666"/>
              <a:gd name="connsiteX159" fmla="*/ 3310361 w 12192000"/>
              <a:gd name="connsiteY159" fmla="*/ 691621 h 5038666"/>
              <a:gd name="connsiteX160" fmla="*/ 3300409 w 12192000"/>
              <a:gd name="connsiteY160" fmla="*/ 706406 h 5038666"/>
              <a:gd name="connsiteX161" fmla="*/ 3290648 w 12192000"/>
              <a:gd name="connsiteY161" fmla="*/ 720649 h 5038666"/>
              <a:gd name="connsiteX162" fmla="*/ 3281078 w 12192000"/>
              <a:gd name="connsiteY162" fmla="*/ 734171 h 5038666"/>
              <a:gd name="connsiteX163" fmla="*/ 3271891 w 12192000"/>
              <a:gd name="connsiteY163" fmla="*/ 747153 h 5038666"/>
              <a:gd name="connsiteX164" fmla="*/ 3262704 w 12192000"/>
              <a:gd name="connsiteY164" fmla="*/ 759774 h 5038666"/>
              <a:gd name="connsiteX165" fmla="*/ 3245861 w 12192000"/>
              <a:gd name="connsiteY165" fmla="*/ 782311 h 5038666"/>
              <a:gd name="connsiteX166" fmla="*/ 3230741 w 12192000"/>
              <a:gd name="connsiteY166" fmla="*/ 801603 h 5038666"/>
              <a:gd name="connsiteX167" fmla="*/ 3218108 w 12192000"/>
              <a:gd name="connsiteY167" fmla="*/ 817469 h 5038666"/>
              <a:gd name="connsiteX168" fmla="*/ 3208539 w 12192000"/>
              <a:gd name="connsiteY168" fmla="*/ 829188 h 5038666"/>
              <a:gd name="connsiteX169" fmla="*/ 3202223 w 12192000"/>
              <a:gd name="connsiteY169" fmla="*/ 836580 h 5038666"/>
              <a:gd name="connsiteX170" fmla="*/ 3200309 w 12192000"/>
              <a:gd name="connsiteY170" fmla="*/ 839104 h 5038666"/>
              <a:gd name="connsiteX171" fmla="*/ 3203562 w 12192000"/>
              <a:gd name="connsiteY171" fmla="*/ 836580 h 5038666"/>
              <a:gd name="connsiteX172" fmla="*/ 3213324 w 12192000"/>
              <a:gd name="connsiteY172" fmla="*/ 829008 h 5038666"/>
              <a:gd name="connsiteX173" fmla="*/ 3229401 w 12192000"/>
              <a:gd name="connsiteY173" fmla="*/ 817288 h 5038666"/>
              <a:gd name="connsiteX174" fmla="*/ 3250646 w 12192000"/>
              <a:gd name="connsiteY174" fmla="*/ 801783 h 5038666"/>
              <a:gd name="connsiteX175" fmla="*/ 3263469 w 12192000"/>
              <a:gd name="connsiteY175" fmla="*/ 792768 h 5038666"/>
              <a:gd name="connsiteX176" fmla="*/ 3277250 w 12192000"/>
              <a:gd name="connsiteY176" fmla="*/ 783212 h 5038666"/>
              <a:gd name="connsiteX177" fmla="*/ 3292370 w 12192000"/>
              <a:gd name="connsiteY177" fmla="*/ 772755 h 5038666"/>
              <a:gd name="connsiteX178" fmla="*/ 3308256 w 12192000"/>
              <a:gd name="connsiteY178" fmla="*/ 761577 h 5038666"/>
              <a:gd name="connsiteX179" fmla="*/ 3325673 w 12192000"/>
              <a:gd name="connsiteY179" fmla="*/ 750038 h 5038666"/>
              <a:gd name="connsiteX180" fmla="*/ 3343664 w 12192000"/>
              <a:gd name="connsiteY180" fmla="*/ 738138 h 5038666"/>
              <a:gd name="connsiteX181" fmla="*/ 3362804 w 12192000"/>
              <a:gd name="connsiteY181" fmla="*/ 725517 h 5038666"/>
              <a:gd name="connsiteX182" fmla="*/ 3382709 w 12192000"/>
              <a:gd name="connsiteY182" fmla="*/ 712896 h 5038666"/>
              <a:gd name="connsiteX183" fmla="*/ 3403380 w 12192000"/>
              <a:gd name="connsiteY183" fmla="*/ 699915 h 5038666"/>
              <a:gd name="connsiteX184" fmla="*/ 3425008 w 12192000"/>
              <a:gd name="connsiteY184" fmla="*/ 686573 h 5038666"/>
              <a:gd name="connsiteX185" fmla="*/ 3447210 w 12192000"/>
              <a:gd name="connsiteY185" fmla="*/ 673231 h 5038666"/>
              <a:gd name="connsiteX186" fmla="*/ 3469986 w 12192000"/>
              <a:gd name="connsiteY186" fmla="*/ 659889 h 5038666"/>
              <a:gd name="connsiteX187" fmla="*/ 3493336 w 12192000"/>
              <a:gd name="connsiteY187" fmla="*/ 646547 h 5038666"/>
              <a:gd name="connsiteX188" fmla="*/ 3517452 w 12192000"/>
              <a:gd name="connsiteY188" fmla="*/ 633205 h 5038666"/>
              <a:gd name="connsiteX189" fmla="*/ 3541759 w 12192000"/>
              <a:gd name="connsiteY189" fmla="*/ 620043 h 5038666"/>
              <a:gd name="connsiteX190" fmla="*/ 3566641 w 12192000"/>
              <a:gd name="connsiteY190" fmla="*/ 607062 h 5038666"/>
              <a:gd name="connsiteX191" fmla="*/ 3591905 w 12192000"/>
              <a:gd name="connsiteY191" fmla="*/ 594261 h 5038666"/>
              <a:gd name="connsiteX192" fmla="*/ 3617169 w 12192000"/>
              <a:gd name="connsiteY192" fmla="*/ 582000 h 5038666"/>
              <a:gd name="connsiteX193" fmla="*/ 3643008 w 12192000"/>
              <a:gd name="connsiteY193" fmla="*/ 570101 h 5038666"/>
              <a:gd name="connsiteX194" fmla="*/ 3668846 w 12192000"/>
              <a:gd name="connsiteY194" fmla="*/ 558562 h 5038666"/>
              <a:gd name="connsiteX195" fmla="*/ 3694876 w 12192000"/>
              <a:gd name="connsiteY195" fmla="*/ 547744 h 5038666"/>
              <a:gd name="connsiteX196" fmla="*/ 3720906 w 12192000"/>
              <a:gd name="connsiteY196" fmla="*/ 537467 h 5038666"/>
              <a:gd name="connsiteX197" fmla="*/ 3746936 w 12192000"/>
              <a:gd name="connsiteY197" fmla="*/ 527731 h 5038666"/>
              <a:gd name="connsiteX198" fmla="*/ 3773157 w 12192000"/>
              <a:gd name="connsiteY198" fmla="*/ 518716 h 5038666"/>
              <a:gd name="connsiteX199" fmla="*/ 3798613 w 12192000"/>
              <a:gd name="connsiteY199" fmla="*/ 509340 h 5038666"/>
              <a:gd name="connsiteX200" fmla="*/ 3823877 w 12192000"/>
              <a:gd name="connsiteY200" fmla="*/ 498162 h 5038666"/>
              <a:gd name="connsiteX201" fmla="*/ 3848567 w 12192000"/>
              <a:gd name="connsiteY201" fmla="*/ 485541 h 5038666"/>
              <a:gd name="connsiteX202" fmla="*/ 3872300 w 12192000"/>
              <a:gd name="connsiteY202" fmla="*/ 471478 h 5038666"/>
              <a:gd name="connsiteX203" fmla="*/ 3895651 w 12192000"/>
              <a:gd name="connsiteY203" fmla="*/ 455972 h 5038666"/>
              <a:gd name="connsiteX204" fmla="*/ 3918235 w 12192000"/>
              <a:gd name="connsiteY204" fmla="*/ 439205 h 5038666"/>
              <a:gd name="connsiteX205" fmla="*/ 3940246 w 12192000"/>
              <a:gd name="connsiteY205" fmla="*/ 421355 h 5038666"/>
              <a:gd name="connsiteX206" fmla="*/ 3961682 w 12192000"/>
              <a:gd name="connsiteY206" fmla="*/ 402785 h 5038666"/>
              <a:gd name="connsiteX207" fmla="*/ 3982161 w 12192000"/>
              <a:gd name="connsiteY207" fmla="*/ 383313 h 5038666"/>
              <a:gd name="connsiteX208" fmla="*/ 4002258 w 12192000"/>
              <a:gd name="connsiteY208" fmla="*/ 363299 h 5038666"/>
              <a:gd name="connsiteX209" fmla="*/ 4021398 w 12192000"/>
              <a:gd name="connsiteY209" fmla="*/ 342565 h 5038666"/>
              <a:gd name="connsiteX210" fmla="*/ 4039772 w 12192000"/>
              <a:gd name="connsiteY210" fmla="*/ 321470 h 5038666"/>
              <a:gd name="connsiteX211" fmla="*/ 4057571 w 12192000"/>
              <a:gd name="connsiteY211" fmla="*/ 300195 h 5038666"/>
              <a:gd name="connsiteX212" fmla="*/ 4074415 w 12192000"/>
              <a:gd name="connsiteY212" fmla="*/ 278560 h 5038666"/>
              <a:gd name="connsiteX213" fmla="*/ 4090683 w 12192000"/>
              <a:gd name="connsiteY213" fmla="*/ 257285 h 5038666"/>
              <a:gd name="connsiteX214" fmla="*/ 4106186 w 12192000"/>
              <a:gd name="connsiteY214" fmla="*/ 236010 h 5038666"/>
              <a:gd name="connsiteX215" fmla="*/ 4120732 w 12192000"/>
              <a:gd name="connsiteY215" fmla="*/ 214734 h 5038666"/>
              <a:gd name="connsiteX216" fmla="*/ 4134513 w 12192000"/>
              <a:gd name="connsiteY216" fmla="*/ 194000 h 5038666"/>
              <a:gd name="connsiteX217" fmla="*/ 4147336 w 12192000"/>
              <a:gd name="connsiteY217" fmla="*/ 173987 h 5038666"/>
              <a:gd name="connsiteX218" fmla="*/ 4159394 w 12192000"/>
              <a:gd name="connsiteY218" fmla="*/ 154515 h 5038666"/>
              <a:gd name="connsiteX219" fmla="*/ 4170687 w 12192000"/>
              <a:gd name="connsiteY219" fmla="*/ 135944 h 5038666"/>
              <a:gd name="connsiteX220" fmla="*/ 4180831 w 12192000"/>
              <a:gd name="connsiteY220" fmla="*/ 118095 h 5038666"/>
              <a:gd name="connsiteX221" fmla="*/ 4190209 w 12192000"/>
              <a:gd name="connsiteY221" fmla="*/ 101508 h 5038666"/>
              <a:gd name="connsiteX222" fmla="*/ 4198630 w 12192000"/>
              <a:gd name="connsiteY222" fmla="*/ 86002 h 5038666"/>
              <a:gd name="connsiteX223" fmla="*/ 4206286 w 12192000"/>
              <a:gd name="connsiteY223" fmla="*/ 71759 h 5038666"/>
              <a:gd name="connsiteX224" fmla="*/ 4212985 w 12192000"/>
              <a:gd name="connsiteY224" fmla="*/ 58957 h 5038666"/>
              <a:gd name="connsiteX225" fmla="*/ 4218536 w 12192000"/>
              <a:gd name="connsiteY225" fmla="*/ 47959 h 5038666"/>
              <a:gd name="connsiteX226" fmla="*/ 4223129 w 12192000"/>
              <a:gd name="connsiteY226" fmla="*/ 38584 h 5038666"/>
              <a:gd name="connsiteX227" fmla="*/ 4229445 w 12192000"/>
              <a:gd name="connsiteY227" fmla="*/ 25602 h 5038666"/>
              <a:gd name="connsiteX228" fmla="*/ 4231359 w 12192000"/>
              <a:gd name="connsiteY228" fmla="*/ 20915 h 5038666"/>
              <a:gd name="connsiteX229" fmla="*/ 4231168 w 12192000"/>
              <a:gd name="connsiteY229" fmla="*/ 22898 h 5038666"/>
              <a:gd name="connsiteX230" fmla="*/ 4230019 w 12192000"/>
              <a:gd name="connsiteY230" fmla="*/ 28487 h 5038666"/>
              <a:gd name="connsiteX231" fmla="*/ 4227723 w 12192000"/>
              <a:gd name="connsiteY231" fmla="*/ 37863 h 5038666"/>
              <a:gd name="connsiteX232" fmla="*/ 4224660 w 12192000"/>
              <a:gd name="connsiteY232" fmla="*/ 50664 h 5038666"/>
              <a:gd name="connsiteX233" fmla="*/ 4222746 w 12192000"/>
              <a:gd name="connsiteY233" fmla="*/ 58236 h 5038666"/>
              <a:gd name="connsiteX234" fmla="*/ 4220450 w 12192000"/>
              <a:gd name="connsiteY234" fmla="*/ 66530 h 5038666"/>
              <a:gd name="connsiteX235" fmla="*/ 4217579 w 12192000"/>
              <a:gd name="connsiteY235" fmla="*/ 75725 h 5038666"/>
              <a:gd name="connsiteX236" fmla="*/ 4214708 w 12192000"/>
              <a:gd name="connsiteY236" fmla="*/ 85822 h 5038666"/>
              <a:gd name="connsiteX237" fmla="*/ 4211072 w 12192000"/>
              <a:gd name="connsiteY237" fmla="*/ 96639 h 5038666"/>
              <a:gd name="connsiteX238" fmla="*/ 4207053 w 12192000"/>
              <a:gd name="connsiteY238" fmla="*/ 107998 h 5038666"/>
              <a:gd name="connsiteX239" fmla="*/ 4202841 w 12192000"/>
              <a:gd name="connsiteY239" fmla="*/ 120439 h 5038666"/>
              <a:gd name="connsiteX240" fmla="*/ 4198057 w 12192000"/>
              <a:gd name="connsiteY240" fmla="*/ 133060 h 5038666"/>
              <a:gd name="connsiteX241" fmla="*/ 4192889 w 12192000"/>
              <a:gd name="connsiteY241" fmla="*/ 146762 h 5038666"/>
              <a:gd name="connsiteX242" fmla="*/ 4187147 w 12192000"/>
              <a:gd name="connsiteY242" fmla="*/ 161006 h 5038666"/>
              <a:gd name="connsiteX243" fmla="*/ 4180639 w 12192000"/>
              <a:gd name="connsiteY243" fmla="*/ 175790 h 5038666"/>
              <a:gd name="connsiteX244" fmla="*/ 4173940 w 12192000"/>
              <a:gd name="connsiteY244" fmla="*/ 191296 h 5038666"/>
              <a:gd name="connsiteX245" fmla="*/ 4166667 w 12192000"/>
              <a:gd name="connsiteY245" fmla="*/ 207342 h 5038666"/>
              <a:gd name="connsiteX246" fmla="*/ 4158629 w 12192000"/>
              <a:gd name="connsiteY246" fmla="*/ 223930 h 5038666"/>
              <a:gd name="connsiteX247" fmla="*/ 4150016 w 12192000"/>
              <a:gd name="connsiteY247" fmla="*/ 241238 h 5038666"/>
              <a:gd name="connsiteX248" fmla="*/ 4140829 w 12192000"/>
              <a:gd name="connsiteY248" fmla="*/ 258727 h 5038666"/>
              <a:gd name="connsiteX249" fmla="*/ 4131068 w 12192000"/>
              <a:gd name="connsiteY249" fmla="*/ 277117 h 5038666"/>
              <a:gd name="connsiteX250" fmla="*/ 4120732 w 12192000"/>
              <a:gd name="connsiteY250" fmla="*/ 295868 h 5038666"/>
              <a:gd name="connsiteX251" fmla="*/ 4109631 w 12192000"/>
              <a:gd name="connsiteY251" fmla="*/ 314980 h 5038666"/>
              <a:gd name="connsiteX252" fmla="*/ 4097574 w 12192000"/>
              <a:gd name="connsiteY252" fmla="*/ 334813 h 5038666"/>
              <a:gd name="connsiteX253" fmla="*/ 4085133 w 12192000"/>
              <a:gd name="connsiteY253" fmla="*/ 354826 h 5038666"/>
              <a:gd name="connsiteX254" fmla="*/ 4071735 w 12192000"/>
              <a:gd name="connsiteY254" fmla="*/ 375560 h 5038666"/>
              <a:gd name="connsiteX255" fmla="*/ 4057763 w 12192000"/>
              <a:gd name="connsiteY255" fmla="*/ 396474 h 5038666"/>
              <a:gd name="connsiteX256" fmla="*/ 4042834 w 12192000"/>
              <a:gd name="connsiteY256" fmla="*/ 417930 h 5038666"/>
              <a:gd name="connsiteX257" fmla="*/ 4026948 w 12192000"/>
              <a:gd name="connsiteY257" fmla="*/ 439024 h 5038666"/>
              <a:gd name="connsiteX258" fmla="*/ 4009531 w 12192000"/>
              <a:gd name="connsiteY258" fmla="*/ 459759 h 5038666"/>
              <a:gd name="connsiteX259" fmla="*/ 3990774 w 12192000"/>
              <a:gd name="connsiteY259" fmla="*/ 479591 h 5038666"/>
              <a:gd name="connsiteX260" fmla="*/ 3970678 w 12192000"/>
              <a:gd name="connsiteY260" fmla="*/ 499063 h 5038666"/>
              <a:gd name="connsiteX261" fmla="*/ 3949624 w 12192000"/>
              <a:gd name="connsiteY261" fmla="*/ 518175 h 5038666"/>
              <a:gd name="connsiteX262" fmla="*/ 3927422 w 12192000"/>
              <a:gd name="connsiteY262" fmla="*/ 536565 h 5038666"/>
              <a:gd name="connsiteX263" fmla="*/ 3904072 w 12192000"/>
              <a:gd name="connsiteY263" fmla="*/ 554775 h 5038666"/>
              <a:gd name="connsiteX264" fmla="*/ 3879765 w 12192000"/>
              <a:gd name="connsiteY264" fmla="*/ 572445 h 5038666"/>
              <a:gd name="connsiteX265" fmla="*/ 3854883 w 12192000"/>
              <a:gd name="connsiteY265" fmla="*/ 589573 h 5038666"/>
              <a:gd name="connsiteX266" fmla="*/ 3828853 w 12192000"/>
              <a:gd name="connsiteY266" fmla="*/ 606521 h 5038666"/>
              <a:gd name="connsiteX267" fmla="*/ 3802441 w 12192000"/>
              <a:gd name="connsiteY267" fmla="*/ 623288 h 5038666"/>
              <a:gd name="connsiteX268" fmla="*/ 3775454 w 12192000"/>
              <a:gd name="connsiteY268" fmla="*/ 639515 h 5038666"/>
              <a:gd name="connsiteX269" fmla="*/ 3747510 w 12192000"/>
              <a:gd name="connsiteY269" fmla="*/ 655922 h 5038666"/>
              <a:gd name="connsiteX270" fmla="*/ 3719566 w 12192000"/>
              <a:gd name="connsiteY270" fmla="*/ 671788 h 5038666"/>
              <a:gd name="connsiteX271" fmla="*/ 3690857 w 12192000"/>
              <a:gd name="connsiteY271" fmla="*/ 687655 h 5038666"/>
              <a:gd name="connsiteX272" fmla="*/ 3662339 w 12192000"/>
              <a:gd name="connsiteY272" fmla="*/ 703341 h 5038666"/>
              <a:gd name="connsiteX273" fmla="*/ 3603963 w 12192000"/>
              <a:gd name="connsiteY273" fmla="*/ 734532 h 5038666"/>
              <a:gd name="connsiteX274" fmla="*/ 3545587 w 12192000"/>
              <a:gd name="connsiteY274" fmla="*/ 765723 h 5038666"/>
              <a:gd name="connsiteX275" fmla="*/ 3516495 w 12192000"/>
              <a:gd name="connsiteY275" fmla="*/ 781409 h 5038666"/>
              <a:gd name="connsiteX276" fmla="*/ 3487594 w 12192000"/>
              <a:gd name="connsiteY276" fmla="*/ 797275 h 5038666"/>
              <a:gd name="connsiteX277" fmla="*/ 3458885 w 12192000"/>
              <a:gd name="connsiteY277" fmla="*/ 813142 h 5038666"/>
              <a:gd name="connsiteX278" fmla="*/ 3430558 w 12192000"/>
              <a:gd name="connsiteY278" fmla="*/ 829008 h 5038666"/>
              <a:gd name="connsiteX279" fmla="*/ 3402806 w 12192000"/>
              <a:gd name="connsiteY279" fmla="*/ 845415 h 5038666"/>
              <a:gd name="connsiteX280" fmla="*/ 3375436 w 12192000"/>
              <a:gd name="connsiteY280" fmla="*/ 861822 h 5038666"/>
              <a:gd name="connsiteX281" fmla="*/ 3348449 w 12192000"/>
              <a:gd name="connsiteY281" fmla="*/ 878590 h 5038666"/>
              <a:gd name="connsiteX282" fmla="*/ 3322419 w 12192000"/>
              <a:gd name="connsiteY282" fmla="*/ 895718 h 5038666"/>
              <a:gd name="connsiteX283" fmla="*/ 3296964 w 12192000"/>
              <a:gd name="connsiteY283" fmla="*/ 913207 h 5038666"/>
              <a:gd name="connsiteX284" fmla="*/ 3272465 w 12192000"/>
              <a:gd name="connsiteY284" fmla="*/ 931056 h 5038666"/>
              <a:gd name="connsiteX285" fmla="*/ 3248732 w 12192000"/>
              <a:gd name="connsiteY285" fmla="*/ 949266 h 5038666"/>
              <a:gd name="connsiteX286" fmla="*/ 3226147 w 12192000"/>
              <a:gd name="connsiteY286" fmla="*/ 968017 h 5038666"/>
              <a:gd name="connsiteX287" fmla="*/ 3204711 w 12192000"/>
              <a:gd name="connsiteY287" fmla="*/ 987489 h 5038666"/>
              <a:gd name="connsiteX288" fmla="*/ 3184997 w 12192000"/>
              <a:gd name="connsiteY288" fmla="*/ 1008404 h 5038666"/>
              <a:gd name="connsiteX289" fmla="*/ 3167006 w 12192000"/>
              <a:gd name="connsiteY289" fmla="*/ 1030580 h 5038666"/>
              <a:gd name="connsiteX290" fmla="*/ 3150354 w 12192000"/>
              <a:gd name="connsiteY290" fmla="*/ 1053658 h 5038666"/>
              <a:gd name="connsiteX291" fmla="*/ 3135043 w 12192000"/>
              <a:gd name="connsiteY291" fmla="*/ 1077458 h 5038666"/>
              <a:gd name="connsiteX292" fmla="*/ 3121262 w 12192000"/>
              <a:gd name="connsiteY292" fmla="*/ 1102339 h 5038666"/>
              <a:gd name="connsiteX293" fmla="*/ 3108821 w 12192000"/>
              <a:gd name="connsiteY293" fmla="*/ 1127761 h 5038666"/>
              <a:gd name="connsiteX294" fmla="*/ 3097338 w 12192000"/>
              <a:gd name="connsiteY294" fmla="*/ 1153724 h 5038666"/>
              <a:gd name="connsiteX295" fmla="*/ 3087385 w 12192000"/>
              <a:gd name="connsiteY295" fmla="*/ 1180047 h 5038666"/>
              <a:gd name="connsiteX296" fmla="*/ 3078198 w 12192000"/>
              <a:gd name="connsiteY296" fmla="*/ 1206911 h 5038666"/>
              <a:gd name="connsiteX297" fmla="*/ 3070542 w 12192000"/>
              <a:gd name="connsiteY297" fmla="*/ 1233776 h 5038666"/>
              <a:gd name="connsiteX298" fmla="*/ 3063652 w 12192000"/>
              <a:gd name="connsiteY298" fmla="*/ 1260460 h 5038666"/>
              <a:gd name="connsiteX299" fmla="*/ 3057527 w 12192000"/>
              <a:gd name="connsiteY299" fmla="*/ 1287324 h 5038666"/>
              <a:gd name="connsiteX300" fmla="*/ 3052742 w 12192000"/>
              <a:gd name="connsiteY300" fmla="*/ 1313828 h 5038666"/>
              <a:gd name="connsiteX301" fmla="*/ 3048532 w 12192000"/>
              <a:gd name="connsiteY301" fmla="*/ 1339971 h 5038666"/>
              <a:gd name="connsiteX302" fmla="*/ 3044895 w 12192000"/>
              <a:gd name="connsiteY302" fmla="*/ 1365753 h 5038666"/>
              <a:gd name="connsiteX303" fmla="*/ 3042024 w 12192000"/>
              <a:gd name="connsiteY303" fmla="*/ 1390995 h 5038666"/>
              <a:gd name="connsiteX304" fmla="*/ 3040110 w 12192000"/>
              <a:gd name="connsiteY304" fmla="*/ 1415335 h 5038666"/>
              <a:gd name="connsiteX305" fmla="*/ 3038579 w 12192000"/>
              <a:gd name="connsiteY305" fmla="*/ 1438774 h 5038666"/>
              <a:gd name="connsiteX306" fmla="*/ 3037431 w 12192000"/>
              <a:gd name="connsiteY306" fmla="*/ 1461491 h 5038666"/>
              <a:gd name="connsiteX307" fmla="*/ 3036665 w 12192000"/>
              <a:gd name="connsiteY307" fmla="*/ 1482947 h 5038666"/>
              <a:gd name="connsiteX308" fmla="*/ 3036474 w 12192000"/>
              <a:gd name="connsiteY308" fmla="*/ 1503320 h 5038666"/>
              <a:gd name="connsiteX309" fmla="*/ 3036474 w 12192000"/>
              <a:gd name="connsiteY309" fmla="*/ 1522432 h 5038666"/>
              <a:gd name="connsiteX310" fmla="*/ 3036856 w 12192000"/>
              <a:gd name="connsiteY310" fmla="*/ 1539921 h 5038666"/>
              <a:gd name="connsiteX311" fmla="*/ 3037431 w 12192000"/>
              <a:gd name="connsiteY311" fmla="*/ 1555787 h 5038666"/>
              <a:gd name="connsiteX312" fmla="*/ 3038005 w 12192000"/>
              <a:gd name="connsiteY312" fmla="*/ 1569850 h 5038666"/>
              <a:gd name="connsiteX313" fmla="*/ 3038770 w 12192000"/>
              <a:gd name="connsiteY313" fmla="*/ 1582291 h 5038666"/>
              <a:gd name="connsiteX314" fmla="*/ 3039344 w 12192000"/>
              <a:gd name="connsiteY314" fmla="*/ 1592748 h 5038666"/>
              <a:gd name="connsiteX315" fmla="*/ 3040684 w 12192000"/>
              <a:gd name="connsiteY315" fmla="*/ 1607172 h 5038666"/>
              <a:gd name="connsiteX316" fmla="*/ 3041258 w 12192000"/>
              <a:gd name="connsiteY316" fmla="*/ 1612220 h 5038666"/>
              <a:gd name="connsiteX317" fmla="*/ 3041833 w 12192000"/>
              <a:gd name="connsiteY317" fmla="*/ 1610237 h 5038666"/>
              <a:gd name="connsiteX318" fmla="*/ 3044321 w 12192000"/>
              <a:gd name="connsiteY318" fmla="*/ 1605008 h 5038666"/>
              <a:gd name="connsiteX319" fmla="*/ 3048340 w 12192000"/>
              <a:gd name="connsiteY319" fmla="*/ 1596354 h 5038666"/>
              <a:gd name="connsiteX320" fmla="*/ 3054273 w 12192000"/>
              <a:gd name="connsiteY320" fmla="*/ 1584274 h 5038666"/>
              <a:gd name="connsiteX321" fmla="*/ 3058101 w 12192000"/>
              <a:gd name="connsiteY321" fmla="*/ 1577062 h 5038666"/>
              <a:gd name="connsiteX322" fmla="*/ 3062503 w 12192000"/>
              <a:gd name="connsiteY322" fmla="*/ 1569129 h 5038666"/>
              <a:gd name="connsiteX323" fmla="*/ 3067671 w 12192000"/>
              <a:gd name="connsiteY323" fmla="*/ 1560294 h 5038666"/>
              <a:gd name="connsiteX324" fmla="*/ 3073413 w 12192000"/>
              <a:gd name="connsiteY324" fmla="*/ 1550558 h 5038666"/>
              <a:gd name="connsiteX325" fmla="*/ 3079920 w 12192000"/>
              <a:gd name="connsiteY325" fmla="*/ 1540101 h 5038666"/>
              <a:gd name="connsiteX326" fmla="*/ 3087002 w 12192000"/>
              <a:gd name="connsiteY326" fmla="*/ 1529103 h 5038666"/>
              <a:gd name="connsiteX327" fmla="*/ 3095041 w 12192000"/>
              <a:gd name="connsiteY327" fmla="*/ 1517203 h 5038666"/>
              <a:gd name="connsiteX328" fmla="*/ 3103654 w 12192000"/>
              <a:gd name="connsiteY328" fmla="*/ 1504582 h 5038666"/>
              <a:gd name="connsiteX329" fmla="*/ 3113223 w 12192000"/>
              <a:gd name="connsiteY329" fmla="*/ 1491240 h 5038666"/>
              <a:gd name="connsiteX330" fmla="*/ 3123367 w 12192000"/>
              <a:gd name="connsiteY330" fmla="*/ 1477177 h 5038666"/>
              <a:gd name="connsiteX331" fmla="*/ 3134660 w 12192000"/>
              <a:gd name="connsiteY331" fmla="*/ 1462573 h 5038666"/>
              <a:gd name="connsiteX332" fmla="*/ 3146718 w 12192000"/>
              <a:gd name="connsiteY332" fmla="*/ 1447068 h 5038666"/>
              <a:gd name="connsiteX333" fmla="*/ 3159924 w 12192000"/>
              <a:gd name="connsiteY333" fmla="*/ 1430841 h 5038666"/>
              <a:gd name="connsiteX334" fmla="*/ 3173896 w 12192000"/>
              <a:gd name="connsiteY334" fmla="*/ 1414073 h 5038666"/>
              <a:gd name="connsiteX335" fmla="*/ 3189016 w 12192000"/>
              <a:gd name="connsiteY335" fmla="*/ 1396584 h 5038666"/>
              <a:gd name="connsiteX336" fmla="*/ 3204902 w 12192000"/>
              <a:gd name="connsiteY336" fmla="*/ 1378554 h 5038666"/>
              <a:gd name="connsiteX337" fmla="*/ 3222128 w 12192000"/>
              <a:gd name="connsiteY337" fmla="*/ 1359804 h 5038666"/>
              <a:gd name="connsiteX338" fmla="*/ 3240310 w 12192000"/>
              <a:gd name="connsiteY338" fmla="*/ 1340512 h 5038666"/>
              <a:gd name="connsiteX339" fmla="*/ 3259641 w 12192000"/>
              <a:gd name="connsiteY339" fmla="*/ 1320499 h 5038666"/>
              <a:gd name="connsiteX340" fmla="*/ 3280121 w 12192000"/>
              <a:gd name="connsiteY340" fmla="*/ 1299764 h 5038666"/>
              <a:gd name="connsiteX341" fmla="*/ 3301557 w 12192000"/>
              <a:gd name="connsiteY341" fmla="*/ 1278670 h 5038666"/>
              <a:gd name="connsiteX342" fmla="*/ 3324525 w 12192000"/>
              <a:gd name="connsiteY342" fmla="*/ 1256854 h 5038666"/>
              <a:gd name="connsiteX343" fmla="*/ 3348449 w 12192000"/>
              <a:gd name="connsiteY343" fmla="*/ 1234497 h 5038666"/>
              <a:gd name="connsiteX344" fmla="*/ 3373905 w 12192000"/>
              <a:gd name="connsiteY344" fmla="*/ 1211779 h 5038666"/>
              <a:gd name="connsiteX345" fmla="*/ 3400318 w 12192000"/>
              <a:gd name="connsiteY345" fmla="*/ 1189603 h 5038666"/>
              <a:gd name="connsiteX346" fmla="*/ 3426922 w 12192000"/>
              <a:gd name="connsiteY346" fmla="*/ 1169590 h 5038666"/>
              <a:gd name="connsiteX347" fmla="*/ 3454291 w 12192000"/>
              <a:gd name="connsiteY347" fmla="*/ 1151380 h 5038666"/>
              <a:gd name="connsiteX348" fmla="*/ 3482044 w 12192000"/>
              <a:gd name="connsiteY348" fmla="*/ 1135333 h 5038666"/>
              <a:gd name="connsiteX349" fmla="*/ 3509987 w 12192000"/>
              <a:gd name="connsiteY349" fmla="*/ 1121090 h 5038666"/>
              <a:gd name="connsiteX350" fmla="*/ 3538314 w 12192000"/>
              <a:gd name="connsiteY350" fmla="*/ 1108289 h 5038666"/>
              <a:gd name="connsiteX351" fmla="*/ 3566449 w 12192000"/>
              <a:gd name="connsiteY351" fmla="*/ 1097471 h 5038666"/>
              <a:gd name="connsiteX352" fmla="*/ 3594776 w 12192000"/>
              <a:gd name="connsiteY352" fmla="*/ 1087735 h 5038666"/>
              <a:gd name="connsiteX353" fmla="*/ 3622911 w 12192000"/>
              <a:gd name="connsiteY353" fmla="*/ 1079802 h 5038666"/>
              <a:gd name="connsiteX354" fmla="*/ 3650855 w 12192000"/>
              <a:gd name="connsiteY354" fmla="*/ 1073131 h 5038666"/>
              <a:gd name="connsiteX355" fmla="*/ 3678799 w 12192000"/>
              <a:gd name="connsiteY355" fmla="*/ 1067722 h 5038666"/>
              <a:gd name="connsiteX356" fmla="*/ 3706169 w 12192000"/>
              <a:gd name="connsiteY356" fmla="*/ 1063575 h 5038666"/>
              <a:gd name="connsiteX357" fmla="*/ 3733155 w 12192000"/>
              <a:gd name="connsiteY357" fmla="*/ 1060149 h 5038666"/>
              <a:gd name="connsiteX358" fmla="*/ 3759568 w 12192000"/>
              <a:gd name="connsiteY358" fmla="*/ 1057986 h 5038666"/>
              <a:gd name="connsiteX359" fmla="*/ 3785406 w 12192000"/>
              <a:gd name="connsiteY359" fmla="*/ 1056724 h 5038666"/>
              <a:gd name="connsiteX360" fmla="*/ 3810479 w 12192000"/>
              <a:gd name="connsiteY360" fmla="*/ 1056363 h 5038666"/>
              <a:gd name="connsiteX361" fmla="*/ 3834787 w 12192000"/>
              <a:gd name="connsiteY361" fmla="*/ 1056543 h 5038666"/>
              <a:gd name="connsiteX362" fmla="*/ 3857946 w 12192000"/>
              <a:gd name="connsiteY362" fmla="*/ 1057445 h 5038666"/>
              <a:gd name="connsiteX363" fmla="*/ 3880530 w 12192000"/>
              <a:gd name="connsiteY363" fmla="*/ 1058887 h 5038666"/>
              <a:gd name="connsiteX364" fmla="*/ 3901775 w 12192000"/>
              <a:gd name="connsiteY364" fmla="*/ 1060690 h 5038666"/>
              <a:gd name="connsiteX365" fmla="*/ 3921872 w 12192000"/>
              <a:gd name="connsiteY365" fmla="*/ 1063034 h 5038666"/>
              <a:gd name="connsiteX366" fmla="*/ 3940629 w 12192000"/>
              <a:gd name="connsiteY366" fmla="*/ 1065558 h 5038666"/>
              <a:gd name="connsiteX367" fmla="*/ 3958237 w 12192000"/>
              <a:gd name="connsiteY367" fmla="*/ 1068263 h 5038666"/>
              <a:gd name="connsiteX368" fmla="*/ 3974314 w 12192000"/>
              <a:gd name="connsiteY368" fmla="*/ 1071147 h 5038666"/>
              <a:gd name="connsiteX369" fmla="*/ 3988669 w 12192000"/>
              <a:gd name="connsiteY369" fmla="*/ 1074032 h 5038666"/>
              <a:gd name="connsiteX370" fmla="*/ 4001684 w 12192000"/>
              <a:gd name="connsiteY370" fmla="*/ 1076737 h 5038666"/>
              <a:gd name="connsiteX371" fmla="*/ 4012785 w 12192000"/>
              <a:gd name="connsiteY371" fmla="*/ 1079261 h 5038666"/>
              <a:gd name="connsiteX372" fmla="*/ 4021972 w 12192000"/>
              <a:gd name="connsiteY372" fmla="*/ 1081424 h 5038666"/>
              <a:gd name="connsiteX373" fmla="*/ 4034604 w 12192000"/>
              <a:gd name="connsiteY373" fmla="*/ 1085030 h 5038666"/>
              <a:gd name="connsiteX374" fmla="*/ 4039198 w 12192000"/>
              <a:gd name="connsiteY374" fmla="*/ 1086292 h 5038666"/>
              <a:gd name="connsiteX375" fmla="*/ 4035370 w 12192000"/>
              <a:gd name="connsiteY375" fmla="*/ 1085932 h 5038666"/>
              <a:gd name="connsiteX376" fmla="*/ 4024077 w 12192000"/>
              <a:gd name="connsiteY376" fmla="*/ 1085211 h 5038666"/>
              <a:gd name="connsiteX377" fmla="*/ 4015847 w 12192000"/>
              <a:gd name="connsiteY377" fmla="*/ 1085030 h 5038666"/>
              <a:gd name="connsiteX378" fmla="*/ 4006086 w 12192000"/>
              <a:gd name="connsiteY378" fmla="*/ 1084850 h 5038666"/>
              <a:gd name="connsiteX379" fmla="*/ 3994794 w 12192000"/>
              <a:gd name="connsiteY379" fmla="*/ 1085030 h 5038666"/>
              <a:gd name="connsiteX380" fmla="*/ 3981587 w 12192000"/>
              <a:gd name="connsiteY380" fmla="*/ 1085211 h 5038666"/>
              <a:gd name="connsiteX381" fmla="*/ 3967424 w 12192000"/>
              <a:gd name="connsiteY381" fmla="*/ 1086112 h 5038666"/>
              <a:gd name="connsiteX382" fmla="*/ 3951347 w 12192000"/>
              <a:gd name="connsiteY382" fmla="*/ 1087194 h 5038666"/>
              <a:gd name="connsiteX383" fmla="*/ 3934312 w 12192000"/>
              <a:gd name="connsiteY383" fmla="*/ 1088816 h 5038666"/>
              <a:gd name="connsiteX384" fmla="*/ 3916130 w 12192000"/>
              <a:gd name="connsiteY384" fmla="*/ 1090980 h 5038666"/>
              <a:gd name="connsiteX385" fmla="*/ 3896416 w 12192000"/>
              <a:gd name="connsiteY385" fmla="*/ 1093865 h 5038666"/>
              <a:gd name="connsiteX386" fmla="*/ 3875745 w 12192000"/>
              <a:gd name="connsiteY386" fmla="*/ 1097110 h 5038666"/>
              <a:gd name="connsiteX387" fmla="*/ 3854118 w 12192000"/>
              <a:gd name="connsiteY387" fmla="*/ 1101618 h 5038666"/>
              <a:gd name="connsiteX388" fmla="*/ 3831341 w 12192000"/>
              <a:gd name="connsiteY388" fmla="*/ 1106846 h 5038666"/>
              <a:gd name="connsiteX389" fmla="*/ 3807608 w 12192000"/>
              <a:gd name="connsiteY389" fmla="*/ 1112976 h 5038666"/>
              <a:gd name="connsiteX390" fmla="*/ 3783110 w 12192000"/>
              <a:gd name="connsiteY390" fmla="*/ 1120008 h 5038666"/>
              <a:gd name="connsiteX391" fmla="*/ 3757845 w 12192000"/>
              <a:gd name="connsiteY391" fmla="*/ 1128121 h 5038666"/>
              <a:gd name="connsiteX392" fmla="*/ 3731624 w 12192000"/>
              <a:gd name="connsiteY392" fmla="*/ 1137677 h 5038666"/>
              <a:gd name="connsiteX393" fmla="*/ 3705020 w 12192000"/>
              <a:gd name="connsiteY393" fmla="*/ 1148134 h 5038666"/>
              <a:gd name="connsiteX394" fmla="*/ 3677651 w 12192000"/>
              <a:gd name="connsiteY394" fmla="*/ 1159854 h 5038666"/>
              <a:gd name="connsiteX395" fmla="*/ 3649515 w 12192000"/>
              <a:gd name="connsiteY395" fmla="*/ 1173015 h 5038666"/>
              <a:gd name="connsiteX396" fmla="*/ 3621380 w 12192000"/>
              <a:gd name="connsiteY396" fmla="*/ 1187619 h 5038666"/>
              <a:gd name="connsiteX397" fmla="*/ 3592479 w 12192000"/>
              <a:gd name="connsiteY397" fmla="*/ 1203666 h 5038666"/>
              <a:gd name="connsiteX398" fmla="*/ 3563387 w 12192000"/>
              <a:gd name="connsiteY398" fmla="*/ 1221515 h 5038666"/>
              <a:gd name="connsiteX399" fmla="*/ 3534103 w 12192000"/>
              <a:gd name="connsiteY399" fmla="*/ 1240807 h 5038666"/>
              <a:gd name="connsiteX400" fmla="*/ 3504246 w 12192000"/>
              <a:gd name="connsiteY400" fmla="*/ 1261902 h 5038666"/>
              <a:gd name="connsiteX401" fmla="*/ 3474579 w 12192000"/>
              <a:gd name="connsiteY401" fmla="*/ 1284800 h 5038666"/>
              <a:gd name="connsiteX402" fmla="*/ 3444721 w 12192000"/>
              <a:gd name="connsiteY402" fmla="*/ 1309501 h 5038666"/>
              <a:gd name="connsiteX403" fmla="*/ 3414864 w 12192000"/>
              <a:gd name="connsiteY403" fmla="*/ 1336185 h 5038666"/>
              <a:gd name="connsiteX404" fmla="*/ 3385006 w 12192000"/>
              <a:gd name="connsiteY404" fmla="*/ 1365032 h 5038666"/>
              <a:gd name="connsiteX405" fmla="*/ 3356296 w 12192000"/>
              <a:gd name="connsiteY405" fmla="*/ 1394240 h 5038666"/>
              <a:gd name="connsiteX406" fmla="*/ 3329118 w 12192000"/>
              <a:gd name="connsiteY406" fmla="*/ 1422908 h 5038666"/>
              <a:gd name="connsiteX407" fmla="*/ 3304237 w 12192000"/>
              <a:gd name="connsiteY407" fmla="*/ 1451034 h 5038666"/>
              <a:gd name="connsiteX408" fmla="*/ 3280886 w 12192000"/>
              <a:gd name="connsiteY408" fmla="*/ 1478259 h 5038666"/>
              <a:gd name="connsiteX409" fmla="*/ 3259450 w 12192000"/>
              <a:gd name="connsiteY409" fmla="*/ 1505123 h 5038666"/>
              <a:gd name="connsiteX410" fmla="*/ 3239545 w 12192000"/>
              <a:gd name="connsiteY410" fmla="*/ 1531447 h 5038666"/>
              <a:gd name="connsiteX411" fmla="*/ 3221362 w 12192000"/>
              <a:gd name="connsiteY411" fmla="*/ 1557410 h 5038666"/>
              <a:gd name="connsiteX412" fmla="*/ 3204711 w 12192000"/>
              <a:gd name="connsiteY412" fmla="*/ 1582651 h 5038666"/>
              <a:gd name="connsiteX413" fmla="*/ 3189590 w 12192000"/>
              <a:gd name="connsiteY413" fmla="*/ 1607532 h 5038666"/>
              <a:gd name="connsiteX414" fmla="*/ 3176001 w 12192000"/>
              <a:gd name="connsiteY414" fmla="*/ 1632233 h 5038666"/>
              <a:gd name="connsiteX415" fmla="*/ 3163752 w 12192000"/>
              <a:gd name="connsiteY415" fmla="*/ 1656573 h 5038666"/>
              <a:gd name="connsiteX416" fmla="*/ 3153034 w 12192000"/>
              <a:gd name="connsiteY416" fmla="*/ 1680733 h 5038666"/>
              <a:gd name="connsiteX417" fmla="*/ 3143464 w 12192000"/>
              <a:gd name="connsiteY417" fmla="*/ 1704352 h 5038666"/>
              <a:gd name="connsiteX418" fmla="*/ 3135043 w 12192000"/>
              <a:gd name="connsiteY418" fmla="*/ 1727971 h 5038666"/>
              <a:gd name="connsiteX419" fmla="*/ 3127769 w 12192000"/>
              <a:gd name="connsiteY419" fmla="*/ 1751590 h 5038666"/>
              <a:gd name="connsiteX420" fmla="*/ 3121645 w 12192000"/>
              <a:gd name="connsiteY420" fmla="*/ 1774848 h 5038666"/>
              <a:gd name="connsiteX421" fmla="*/ 3116669 w 12192000"/>
              <a:gd name="connsiteY421" fmla="*/ 1798287 h 5038666"/>
              <a:gd name="connsiteX422" fmla="*/ 3112649 w 12192000"/>
              <a:gd name="connsiteY422" fmla="*/ 1821545 h 5038666"/>
              <a:gd name="connsiteX423" fmla="*/ 3109587 w 12192000"/>
              <a:gd name="connsiteY423" fmla="*/ 1844804 h 5038666"/>
              <a:gd name="connsiteX424" fmla="*/ 3107482 w 12192000"/>
              <a:gd name="connsiteY424" fmla="*/ 1868242 h 5038666"/>
              <a:gd name="connsiteX425" fmla="*/ 3106142 w 12192000"/>
              <a:gd name="connsiteY425" fmla="*/ 1891681 h 5038666"/>
              <a:gd name="connsiteX426" fmla="*/ 3105376 w 12192000"/>
              <a:gd name="connsiteY426" fmla="*/ 1915300 h 5038666"/>
              <a:gd name="connsiteX427" fmla="*/ 3105567 w 12192000"/>
              <a:gd name="connsiteY427" fmla="*/ 1939280 h 5038666"/>
              <a:gd name="connsiteX428" fmla="*/ 3106525 w 12192000"/>
              <a:gd name="connsiteY428" fmla="*/ 1963259 h 5038666"/>
              <a:gd name="connsiteX429" fmla="*/ 3107864 w 12192000"/>
              <a:gd name="connsiteY429" fmla="*/ 1987599 h 5038666"/>
              <a:gd name="connsiteX430" fmla="*/ 3109778 w 12192000"/>
              <a:gd name="connsiteY430" fmla="*/ 2012300 h 5038666"/>
              <a:gd name="connsiteX431" fmla="*/ 3112266 w 12192000"/>
              <a:gd name="connsiteY431" fmla="*/ 2037181 h 5038666"/>
              <a:gd name="connsiteX432" fmla="*/ 3115137 w 12192000"/>
              <a:gd name="connsiteY432" fmla="*/ 2062783 h 5038666"/>
              <a:gd name="connsiteX433" fmla="*/ 3118582 w 12192000"/>
              <a:gd name="connsiteY433" fmla="*/ 2088386 h 5038666"/>
              <a:gd name="connsiteX434" fmla="*/ 3122028 w 12192000"/>
              <a:gd name="connsiteY434" fmla="*/ 2114889 h 5038666"/>
              <a:gd name="connsiteX435" fmla="*/ 3125855 w 12192000"/>
              <a:gd name="connsiteY435" fmla="*/ 2141754 h 5038666"/>
              <a:gd name="connsiteX436" fmla="*/ 3130066 w 12192000"/>
              <a:gd name="connsiteY436" fmla="*/ 2169339 h 5038666"/>
              <a:gd name="connsiteX437" fmla="*/ 3139253 w 12192000"/>
              <a:gd name="connsiteY437" fmla="*/ 2231181 h 5038666"/>
              <a:gd name="connsiteX438" fmla="*/ 3150354 w 12192000"/>
              <a:gd name="connsiteY438" fmla="*/ 2304923 h 5038666"/>
              <a:gd name="connsiteX439" fmla="*/ 3162412 w 12192000"/>
              <a:gd name="connsiteY439" fmla="*/ 2388040 h 5038666"/>
              <a:gd name="connsiteX440" fmla="*/ 3175810 w 12192000"/>
              <a:gd name="connsiteY440" fmla="*/ 2478549 h 5038666"/>
              <a:gd name="connsiteX441" fmla="*/ 3189782 w 12192000"/>
              <a:gd name="connsiteY441" fmla="*/ 2574107 h 5038666"/>
              <a:gd name="connsiteX442" fmla="*/ 3204519 w 12192000"/>
              <a:gd name="connsiteY442" fmla="*/ 2672730 h 5038666"/>
              <a:gd name="connsiteX443" fmla="*/ 3218874 w 12192000"/>
              <a:gd name="connsiteY443" fmla="*/ 2772254 h 5038666"/>
              <a:gd name="connsiteX444" fmla="*/ 3233420 w 12192000"/>
              <a:gd name="connsiteY444" fmla="*/ 2870336 h 5038666"/>
              <a:gd name="connsiteX445" fmla="*/ 3247392 w 12192000"/>
              <a:gd name="connsiteY445" fmla="*/ 2964992 h 5038666"/>
              <a:gd name="connsiteX446" fmla="*/ 3260407 w 12192000"/>
              <a:gd name="connsiteY446" fmla="*/ 3054239 h 5038666"/>
              <a:gd name="connsiteX447" fmla="*/ 3272273 w 12192000"/>
              <a:gd name="connsiteY447" fmla="*/ 3135373 h 5038666"/>
              <a:gd name="connsiteX448" fmla="*/ 3282800 w 12192000"/>
              <a:gd name="connsiteY448" fmla="*/ 3206771 h 5038666"/>
              <a:gd name="connsiteX449" fmla="*/ 3291413 w 12192000"/>
              <a:gd name="connsiteY449" fmla="*/ 3266088 h 5038666"/>
              <a:gd name="connsiteX450" fmla="*/ 3298112 w 12192000"/>
              <a:gd name="connsiteY450" fmla="*/ 3310982 h 5038666"/>
              <a:gd name="connsiteX451" fmla="*/ 3302323 w 12192000"/>
              <a:gd name="connsiteY451" fmla="*/ 3339469 h 5038666"/>
              <a:gd name="connsiteX452" fmla="*/ 3303662 w 12192000"/>
              <a:gd name="connsiteY452" fmla="*/ 3349566 h 5038666"/>
              <a:gd name="connsiteX453" fmla="*/ 12192000 w 12192000"/>
              <a:gd name="connsiteY453" fmla="*/ 3349566 h 5038666"/>
              <a:gd name="connsiteX454" fmla="*/ 12192000 w 12192000"/>
              <a:gd name="connsiteY454" fmla="*/ 5038666 h 5038666"/>
              <a:gd name="connsiteX455" fmla="*/ 0 w 12192000"/>
              <a:gd name="connsiteY455" fmla="*/ 5038666 h 5038666"/>
              <a:gd name="connsiteX456" fmla="*/ 0 w 12192000"/>
              <a:gd name="connsiteY456" fmla="*/ 3349566 h 5038666"/>
              <a:gd name="connsiteX457" fmla="*/ 2501713 w 12192000"/>
              <a:gd name="connsiteY457" fmla="*/ 3349566 h 5038666"/>
              <a:gd name="connsiteX458" fmla="*/ 2504584 w 12192000"/>
              <a:gd name="connsiteY458" fmla="*/ 3347763 h 5038666"/>
              <a:gd name="connsiteX459" fmla="*/ 2512431 w 12192000"/>
              <a:gd name="connsiteY459" fmla="*/ 3341994 h 5038666"/>
              <a:gd name="connsiteX460" fmla="*/ 2518364 w 12192000"/>
              <a:gd name="connsiteY460" fmla="*/ 3337847 h 5038666"/>
              <a:gd name="connsiteX461" fmla="*/ 2524872 w 12192000"/>
              <a:gd name="connsiteY461" fmla="*/ 3332438 h 5038666"/>
              <a:gd name="connsiteX462" fmla="*/ 2532910 w 12192000"/>
              <a:gd name="connsiteY462" fmla="*/ 3326308 h 5038666"/>
              <a:gd name="connsiteX463" fmla="*/ 2541715 w 12192000"/>
              <a:gd name="connsiteY463" fmla="*/ 3318916 h 5038666"/>
              <a:gd name="connsiteX464" fmla="*/ 2551093 w 12192000"/>
              <a:gd name="connsiteY464" fmla="*/ 3310802 h 5038666"/>
              <a:gd name="connsiteX465" fmla="*/ 2561620 w 12192000"/>
              <a:gd name="connsiteY465" fmla="*/ 3301427 h 5038666"/>
              <a:gd name="connsiteX466" fmla="*/ 2572529 w 12192000"/>
              <a:gd name="connsiteY466" fmla="*/ 3291150 h 5038666"/>
              <a:gd name="connsiteX467" fmla="*/ 2584204 w 12192000"/>
              <a:gd name="connsiteY467" fmla="*/ 3279791 h 5038666"/>
              <a:gd name="connsiteX468" fmla="*/ 2596454 w 12192000"/>
              <a:gd name="connsiteY468" fmla="*/ 3267531 h 5038666"/>
              <a:gd name="connsiteX469" fmla="*/ 2609277 w 12192000"/>
              <a:gd name="connsiteY469" fmla="*/ 3253828 h 5038666"/>
              <a:gd name="connsiteX470" fmla="*/ 2622292 w 12192000"/>
              <a:gd name="connsiteY470" fmla="*/ 3239404 h 5038666"/>
              <a:gd name="connsiteX471" fmla="*/ 2635690 w 12192000"/>
              <a:gd name="connsiteY471" fmla="*/ 3223719 h 5038666"/>
              <a:gd name="connsiteX472" fmla="*/ 2649279 w 12192000"/>
              <a:gd name="connsiteY472" fmla="*/ 3206951 h 5038666"/>
              <a:gd name="connsiteX473" fmla="*/ 2662868 w 12192000"/>
              <a:gd name="connsiteY473" fmla="*/ 3189282 h 5038666"/>
              <a:gd name="connsiteX474" fmla="*/ 2677032 w 12192000"/>
              <a:gd name="connsiteY474" fmla="*/ 3170350 h 5038666"/>
              <a:gd name="connsiteX475" fmla="*/ 2690812 w 12192000"/>
              <a:gd name="connsiteY475" fmla="*/ 3150337 h 5038666"/>
              <a:gd name="connsiteX476" fmla="*/ 2704593 w 12192000"/>
              <a:gd name="connsiteY476" fmla="*/ 3129062 h 5038666"/>
              <a:gd name="connsiteX477" fmla="*/ 2718373 w 12192000"/>
              <a:gd name="connsiteY477" fmla="*/ 3106886 h 5038666"/>
              <a:gd name="connsiteX478" fmla="*/ 2731580 w 12192000"/>
              <a:gd name="connsiteY478" fmla="*/ 3083267 h 5038666"/>
              <a:gd name="connsiteX479" fmla="*/ 2744786 w 12192000"/>
              <a:gd name="connsiteY479" fmla="*/ 3058746 h 5038666"/>
              <a:gd name="connsiteX480" fmla="*/ 2757609 w 12192000"/>
              <a:gd name="connsiteY480" fmla="*/ 3032964 h 5038666"/>
              <a:gd name="connsiteX481" fmla="*/ 2770050 w 12192000"/>
              <a:gd name="connsiteY481" fmla="*/ 3006099 h 5038666"/>
              <a:gd name="connsiteX482" fmla="*/ 2781917 w 12192000"/>
              <a:gd name="connsiteY482" fmla="*/ 2977793 h 5038666"/>
              <a:gd name="connsiteX483" fmla="*/ 2793018 w 12192000"/>
              <a:gd name="connsiteY483" fmla="*/ 2948404 h 5038666"/>
              <a:gd name="connsiteX484" fmla="*/ 2803544 w 12192000"/>
              <a:gd name="connsiteY484" fmla="*/ 2917754 h 5038666"/>
              <a:gd name="connsiteX485" fmla="*/ 2813306 w 12192000"/>
              <a:gd name="connsiteY485" fmla="*/ 2885841 h 5038666"/>
              <a:gd name="connsiteX486" fmla="*/ 2822493 w 12192000"/>
              <a:gd name="connsiteY486" fmla="*/ 2853027 h 5038666"/>
              <a:gd name="connsiteX487" fmla="*/ 2830531 w 12192000"/>
              <a:gd name="connsiteY487" fmla="*/ 2818590 h 5038666"/>
              <a:gd name="connsiteX488" fmla="*/ 2837804 w 12192000"/>
              <a:gd name="connsiteY488" fmla="*/ 2783432 h 5038666"/>
              <a:gd name="connsiteX489" fmla="*/ 2844503 w 12192000"/>
              <a:gd name="connsiteY489" fmla="*/ 2748274 h 5038666"/>
              <a:gd name="connsiteX490" fmla="*/ 2850819 w 12192000"/>
              <a:gd name="connsiteY490" fmla="*/ 2712936 h 5038666"/>
              <a:gd name="connsiteX491" fmla="*/ 2856370 w 12192000"/>
              <a:gd name="connsiteY491" fmla="*/ 2677598 h 5038666"/>
              <a:gd name="connsiteX492" fmla="*/ 2861155 w 12192000"/>
              <a:gd name="connsiteY492" fmla="*/ 2642259 h 5038666"/>
              <a:gd name="connsiteX493" fmla="*/ 2865940 w 12192000"/>
              <a:gd name="connsiteY493" fmla="*/ 2606921 h 5038666"/>
              <a:gd name="connsiteX494" fmla="*/ 2869768 w 12192000"/>
              <a:gd name="connsiteY494" fmla="*/ 2572124 h 5038666"/>
              <a:gd name="connsiteX495" fmla="*/ 2873404 w 12192000"/>
              <a:gd name="connsiteY495" fmla="*/ 2537326 h 5038666"/>
              <a:gd name="connsiteX496" fmla="*/ 2876658 w 12192000"/>
              <a:gd name="connsiteY496" fmla="*/ 2503250 h 5038666"/>
              <a:gd name="connsiteX497" fmla="*/ 2879337 w 12192000"/>
              <a:gd name="connsiteY497" fmla="*/ 2469534 h 5038666"/>
              <a:gd name="connsiteX498" fmla="*/ 2881825 w 12192000"/>
              <a:gd name="connsiteY498" fmla="*/ 2436179 h 5038666"/>
              <a:gd name="connsiteX499" fmla="*/ 2883931 w 12192000"/>
              <a:gd name="connsiteY499" fmla="*/ 2403726 h 5038666"/>
              <a:gd name="connsiteX500" fmla="*/ 2885462 w 12192000"/>
              <a:gd name="connsiteY500" fmla="*/ 2371993 h 5038666"/>
              <a:gd name="connsiteX501" fmla="*/ 2886802 w 12192000"/>
              <a:gd name="connsiteY501" fmla="*/ 2340982 h 5038666"/>
              <a:gd name="connsiteX502" fmla="*/ 2887759 w 12192000"/>
              <a:gd name="connsiteY502" fmla="*/ 2311053 h 5038666"/>
              <a:gd name="connsiteX503" fmla="*/ 2888716 w 12192000"/>
              <a:gd name="connsiteY503" fmla="*/ 2281845 h 5038666"/>
              <a:gd name="connsiteX504" fmla="*/ 2889481 w 12192000"/>
              <a:gd name="connsiteY504" fmla="*/ 2254079 h 5038666"/>
              <a:gd name="connsiteX505" fmla="*/ 2889673 w 12192000"/>
              <a:gd name="connsiteY505" fmla="*/ 2227215 h 5038666"/>
              <a:gd name="connsiteX506" fmla="*/ 2889864 w 12192000"/>
              <a:gd name="connsiteY506" fmla="*/ 2201793 h 5038666"/>
              <a:gd name="connsiteX507" fmla="*/ 2889864 w 12192000"/>
              <a:gd name="connsiteY507" fmla="*/ 2177633 h 5038666"/>
              <a:gd name="connsiteX508" fmla="*/ 2889673 w 12192000"/>
              <a:gd name="connsiteY508" fmla="*/ 2155096 h 5038666"/>
              <a:gd name="connsiteX509" fmla="*/ 2889481 w 12192000"/>
              <a:gd name="connsiteY509" fmla="*/ 2133820 h 5038666"/>
              <a:gd name="connsiteX510" fmla="*/ 2889098 w 12192000"/>
              <a:gd name="connsiteY510" fmla="*/ 2114168 h 5038666"/>
              <a:gd name="connsiteX511" fmla="*/ 2888716 w 12192000"/>
              <a:gd name="connsiteY511" fmla="*/ 2096499 h 5038666"/>
              <a:gd name="connsiteX512" fmla="*/ 2887759 w 12192000"/>
              <a:gd name="connsiteY512" fmla="*/ 2066029 h 5038666"/>
              <a:gd name="connsiteX513" fmla="*/ 2886993 w 12192000"/>
              <a:gd name="connsiteY513" fmla="*/ 2043672 h 5038666"/>
              <a:gd name="connsiteX514" fmla="*/ 2886228 w 12192000"/>
              <a:gd name="connsiteY514" fmla="*/ 2029609 h 5038666"/>
              <a:gd name="connsiteX515" fmla="*/ 2886036 w 12192000"/>
              <a:gd name="connsiteY515" fmla="*/ 2024741 h 5038666"/>
              <a:gd name="connsiteX516" fmla="*/ 2879912 w 12192000"/>
              <a:gd name="connsiteY516" fmla="*/ 2023839 h 5038666"/>
              <a:gd name="connsiteX517" fmla="*/ 2862112 w 12192000"/>
              <a:gd name="connsiteY517" fmla="*/ 2020594 h 5038666"/>
              <a:gd name="connsiteX518" fmla="*/ 2849480 w 12192000"/>
              <a:gd name="connsiteY518" fmla="*/ 2017889 h 5038666"/>
              <a:gd name="connsiteX519" fmla="*/ 2834359 w 12192000"/>
              <a:gd name="connsiteY519" fmla="*/ 2014644 h 5038666"/>
              <a:gd name="connsiteX520" fmla="*/ 2816751 w 12192000"/>
              <a:gd name="connsiteY520" fmla="*/ 2010317 h 5038666"/>
              <a:gd name="connsiteX521" fmla="*/ 2797420 w 12192000"/>
              <a:gd name="connsiteY521" fmla="*/ 2005088 h 5038666"/>
              <a:gd name="connsiteX522" fmla="*/ 2775983 w 12192000"/>
              <a:gd name="connsiteY522" fmla="*/ 1999138 h 5038666"/>
              <a:gd name="connsiteX523" fmla="*/ 2753207 w 12192000"/>
              <a:gd name="connsiteY523" fmla="*/ 1991746 h 5038666"/>
              <a:gd name="connsiteX524" fmla="*/ 2728517 w 12192000"/>
              <a:gd name="connsiteY524" fmla="*/ 1983633 h 5038666"/>
              <a:gd name="connsiteX525" fmla="*/ 2702487 w 12192000"/>
              <a:gd name="connsiteY525" fmla="*/ 1973897 h 5038666"/>
              <a:gd name="connsiteX526" fmla="*/ 2675501 w 12192000"/>
              <a:gd name="connsiteY526" fmla="*/ 1963259 h 5038666"/>
              <a:gd name="connsiteX527" fmla="*/ 2647174 w 12192000"/>
              <a:gd name="connsiteY527" fmla="*/ 1951359 h 5038666"/>
              <a:gd name="connsiteX528" fmla="*/ 2617890 w 12192000"/>
              <a:gd name="connsiteY528" fmla="*/ 1937657 h 5038666"/>
              <a:gd name="connsiteX529" fmla="*/ 2588033 w 12192000"/>
              <a:gd name="connsiteY529" fmla="*/ 1922872 h 5038666"/>
              <a:gd name="connsiteX530" fmla="*/ 2557409 w 12192000"/>
              <a:gd name="connsiteY530" fmla="*/ 1906465 h 5038666"/>
              <a:gd name="connsiteX531" fmla="*/ 2526594 w 12192000"/>
              <a:gd name="connsiteY531" fmla="*/ 1888255 h 5038666"/>
              <a:gd name="connsiteX532" fmla="*/ 2495397 w 12192000"/>
              <a:gd name="connsiteY532" fmla="*/ 1868603 h 5038666"/>
              <a:gd name="connsiteX533" fmla="*/ 2464391 w 12192000"/>
              <a:gd name="connsiteY533" fmla="*/ 1847328 h 5038666"/>
              <a:gd name="connsiteX534" fmla="*/ 2433002 w 12192000"/>
              <a:gd name="connsiteY534" fmla="*/ 1824069 h 5038666"/>
              <a:gd name="connsiteX535" fmla="*/ 2401996 w 12192000"/>
              <a:gd name="connsiteY535" fmla="*/ 1799008 h 5038666"/>
              <a:gd name="connsiteX536" fmla="*/ 2371564 w 12192000"/>
              <a:gd name="connsiteY536" fmla="*/ 1771783 h 5038666"/>
              <a:gd name="connsiteX537" fmla="*/ 2341897 w 12192000"/>
              <a:gd name="connsiteY537" fmla="*/ 1742575 h 5038666"/>
              <a:gd name="connsiteX538" fmla="*/ 2312614 w 12192000"/>
              <a:gd name="connsiteY538" fmla="*/ 1711384 h 5038666"/>
              <a:gd name="connsiteX539" fmla="*/ 2284287 w 12192000"/>
              <a:gd name="connsiteY539" fmla="*/ 1678209 h 5038666"/>
              <a:gd name="connsiteX540" fmla="*/ 2257109 w 12192000"/>
              <a:gd name="connsiteY540" fmla="*/ 1642690 h 5038666"/>
              <a:gd name="connsiteX541" fmla="*/ 2231270 w 12192000"/>
              <a:gd name="connsiteY541" fmla="*/ 1604828 h 5038666"/>
              <a:gd name="connsiteX542" fmla="*/ 2206771 w 12192000"/>
              <a:gd name="connsiteY542" fmla="*/ 1564621 h 5038666"/>
              <a:gd name="connsiteX543" fmla="*/ 2183612 w 12192000"/>
              <a:gd name="connsiteY543" fmla="*/ 1522252 h 5038666"/>
              <a:gd name="connsiteX544" fmla="*/ 2162559 w 12192000"/>
              <a:gd name="connsiteY544" fmla="*/ 1476997 h 5038666"/>
              <a:gd name="connsiteX545" fmla="*/ 2143036 w 12192000"/>
              <a:gd name="connsiteY545" fmla="*/ 1429218 h 5038666"/>
              <a:gd name="connsiteX546" fmla="*/ 2123897 w 12192000"/>
              <a:gd name="connsiteY546" fmla="*/ 1380898 h 5038666"/>
              <a:gd name="connsiteX547" fmla="*/ 2103226 w 12192000"/>
              <a:gd name="connsiteY547" fmla="*/ 1333480 h 5038666"/>
              <a:gd name="connsiteX548" fmla="*/ 2081216 w 12192000"/>
              <a:gd name="connsiteY548" fmla="*/ 1287504 h 5038666"/>
              <a:gd name="connsiteX549" fmla="*/ 2058057 w 12192000"/>
              <a:gd name="connsiteY549" fmla="*/ 1242430 h 5038666"/>
              <a:gd name="connsiteX550" fmla="*/ 2033941 w 12192000"/>
              <a:gd name="connsiteY550" fmla="*/ 1198798 h 5038666"/>
              <a:gd name="connsiteX551" fmla="*/ 2008485 w 12192000"/>
              <a:gd name="connsiteY551" fmla="*/ 1156248 h 5038666"/>
              <a:gd name="connsiteX552" fmla="*/ 1982455 w 12192000"/>
              <a:gd name="connsiteY552" fmla="*/ 1114960 h 5038666"/>
              <a:gd name="connsiteX553" fmla="*/ 1955851 w 12192000"/>
              <a:gd name="connsiteY553" fmla="*/ 1075294 h 5038666"/>
              <a:gd name="connsiteX554" fmla="*/ 1928673 w 12192000"/>
              <a:gd name="connsiteY554" fmla="*/ 1036530 h 5038666"/>
              <a:gd name="connsiteX555" fmla="*/ 1901112 w 12192000"/>
              <a:gd name="connsiteY555" fmla="*/ 999209 h 5038666"/>
              <a:gd name="connsiteX556" fmla="*/ 1873168 w 12192000"/>
              <a:gd name="connsiteY556" fmla="*/ 963149 h 5038666"/>
              <a:gd name="connsiteX557" fmla="*/ 1845416 w 12192000"/>
              <a:gd name="connsiteY557" fmla="*/ 928893 h 5038666"/>
              <a:gd name="connsiteX558" fmla="*/ 1817472 w 12192000"/>
              <a:gd name="connsiteY558" fmla="*/ 895538 h 5038666"/>
              <a:gd name="connsiteX559" fmla="*/ 1789719 w 12192000"/>
              <a:gd name="connsiteY559" fmla="*/ 863986 h 5038666"/>
              <a:gd name="connsiteX560" fmla="*/ 1762158 w 12192000"/>
              <a:gd name="connsiteY560" fmla="*/ 833876 h 5038666"/>
              <a:gd name="connsiteX561" fmla="*/ 1735172 w 12192000"/>
              <a:gd name="connsiteY561" fmla="*/ 805209 h 5038666"/>
              <a:gd name="connsiteX562" fmla="*/ 1708759 w 12192000"/>
              <a:gd name="connsiteY562" fmla="*/ 778164 h 5038666"/>
              <a:gd name="connsiteX563" fmla="*/ 1682920 w 12192000"/>
              <a:gd name="connsiteY563" fmla="*/ 752381 h 5038666"/>
              <a:gd name="connsiteX564" fmla="*/ 1658039 w 12192000"/>
              <a:gd name="connsiteY564" fmla="*/ 728582 h 5038666"/>
              <a:gd name="connsiteX565" fmla="*/ 1634114 w 12192000"/>
              <a:gd name="connsiteY565" fmla="*/ 706045 h 5038666"/>
              <a:gd name="connsiteX566" fmla="*/ 1611530 w 12192000"/>
              <a:gd name="connsiteY566" fmla="*/ 685491 h 5038666"/>
              <a:gd name="connsiteX567" fmla="*/ 1589902 w 12192000"/>
              <a:gd name="connsiteY567" fmla="*/ 666199 h 5038666"/>
              <a:gd name="connsiteX568" fmla="*/ 1569614 w 12192000"/>
              <a:gd name="connsiteY568" fmla="*/ 648710 h 5038666"/>
              <a:gd name="connsiteX569" fmla="*/ 1551049 w 12192000"/>
              <a:gd name="connsiteY569" fmla="*/ 633024 h 5038666"/>
              <a:gd name="connsiteX570" fmla="*/ 1534014 w 12192000"/>
              <a:gd name="connsiteY570" fmla="*/ 619322 h 5038666"/>
              <a:gd name="connsiteX571" fmla="*/ 1519085 w 12192000"/>
              <a:gd name="connsiteY571" fmla="*/ 607062 h 5038666"/>
              <a:gd name="connsiteX572" fmla="*/ 1505879 w 12192000"/>
              <a:gd name="connsiteY572" fmla="*/ 596604 h 5038666"/>
              <a:gd name="connsiteX573" fmla="*/ 1494778 w 12192000"/>
              <a:gd name="connsiteY573" fmla="*/ 588130 h 5038666"/>
              <a:gd name="connsiteX574" fmla="*/ 1479466 w 12192000"/>
              <a:gd name="connsiteY574" fmla="*/ 576772 h 5038666"/>
              <a:gd name="connsiteX575" fmla="*/ 1474107 w 12192000"/>
              <a:gd name="connsiteY575" fmla="*/ 572805 h 5038666"/>
              <a:gd name="connsiteX576" fmla="*/ 1480041 w 12192000"/>
              <a:gd name="connsiteY576" fmla="*/ 575870 h 5038666"/>
              <a:gd name="connsiteX577" fmla="*/ 1497649 w 12192000"/>
              <a:gd name="connsiteY577" fmla="*/ 585426 h 5038666"/>
              <a:gd name="connsiteX578" fmla="*/ 1510281 w 12192000"/>
              <a:gd name="connsiteY578" fmla="*/ 592277 h 5038666"/>
              <a:gd name="connsiteX579" fmla="*/ 1525210 w 12192000"/>
              <a:gd name="connsiteY579" fmla="*/ 600571 h 5038666"/>
              <a:gd name="connsiteX580" fmla="*/ 1542244 w 12192000"/>
              <a:gd name="connsiteY580" fmla="*/ 610487 h 5038666"/>
              <a:gd name="connsiteX581" fmla="*/ 1561384 w 12192000"/>
              <a:gd name="connsiteY581" fmla="*/ 621846 h 5038666"/>
              <a:gd name="connsiteX582" fmla="*/ 1582246 w 12192000"/>
              <a:gd name="connsiteY582" fmla="*/ 634467 h 5038666"/>
              <a:gd name="connsiteX583" fmla="*/ 1605022 w 12192000"/>
              <a:gd name="connsiteY583" fmla="*/ 648530 h 5038666"/>
              <a:gd name="connsiteX584" fmla="*/ 1629138 w 12192000"/>
              <a:gd name="connsiteY584" fmla="*/ 664036 h 5038666"/>
              <a:gd name="connsiteX585" fmla="*/ 1654785 w 12192000"/>
              <a:gd name="connsiteY585" fmla="*/ 680803 h 5038666"/>
              <a:gd name="connsiteX586" fmla="*/ 1681581 w 12192000"/>
              <a:gd name="connsiteY586" fmla="*/ 698833 h 5038666"/>
              <a:gd name="connsiteX587" fmla="*/ 1709525 w 12192000"/>
              <a:gd name="connsiteY587" fmla="*/ 718305 h 5038666"/>
              <a:gd name="connsiteX588" fmla="*/ 1738042 w 12192000"/>
              <a:gd name="connsiteY588" fmla="*/ 738859 h 5038666"/>
              <a:gd name="connsiteX589" fmla="*/ 1767518 w 12192000"/>
              <a:gd name="connsiteY589" fmla="*/ 760855 h 5038666"/>
              <a:gd name="connsiteX590" fmla="*/ 1797375 w 12192000"/>
              <a:gd name="connsiteY590" fmla="*/ 783933 h 5038666"/>
              <a:gd name="connsiteX591" fmla="*/ 1827807 w 12192000"/>
              <a:gd name="connsiteY591" fmla="*/ 808274 h 5038666"/>
              <a:gd name="connsiteX592" fmla="*/ 1858239 w 12192000"/>
              <a:gd name="connsiteY592" fmla="*/ 833876 h 5038666"/>
              <a:gd name="connsiteX593" fmla="*/ 1889054 w 12192000"/>
              <a:gd name="connsiteY593" fmla="*/ 860380 h 5038666"/>
              <a:gd name="connsiteX594" fmla="*/ 1919677 w 12192000"/>
              <a:gd name="connsiteY594" fmla="*/ 888326 h 5038666"/>
              <a:gd name="connsiteX595" fmla="*/ 1949918 w 12192000"/>
              <a:gd name="connsiteY595" fmla="*/ 917173 h 5038666"/>
              <a:gd name="connsiteX596" fmla="*/ 1979584 w 12192000"/>
              <a:gd name="connsiteY596" fmla="*/ 947103 h 5038666"/>
              <a:gd name="connsiteX597" fmla="*/ 2009059 w 12192000"/>
              <a:gd name="connsiteY597" fmla="*/ 978294 h 5038666"/>
              <a:gd name="connsiteX598" fmla="*/ 2037386 w 12192000"/>
              <a:gd name="connsiteY598" fmla="*/ 1010387 h 5038666"/>
              <a:gd name="connsiteX599" fmla="*/ 2064947 w 12192000"/>
              <a:gd name="connsiteY599" fmla="*/ 1043381 h 5038666"/>
              <a:gd name="connsiteX600" fmla="*/ 2091551 w 12192000"/>
              <a:gd name="connsiteY600" fmla="*/ 1077458 h 5038666"/>
              <a:gd name="connsiteX601" fmla="*/ 2116815 w 12192000"/>
              <a:gd name="connsiteY601" fmla="*/ 1112616 h 5038666"/>
              <a:gd name="connsiteX602" fmla="*/ 2140740 w 12192000"/>
              <a:gd name="connsiteY602" fmla="*/ 1148675 h 5038666"/>
              <a:gd name="connsiteX603" fmla="*/ 2162942 w 12192000"/>
              <a:gd name="connsiteY603" fmla="*/ 1185456 h 5038666"/>
              <a:gd name="connsiteX604" fmla="*/ 2183612 w 12192000"/>
              <a:gd name="connsiteY604" fmla="*/ 1223499 h 5038666"/>
              <a:gd name="connsiteX605" fmla="*/ 2202369 w 12192000"/>
              <a:gd name="connsiteY605" fmla="*/ 1262082 h 5038666"/>
              <a:gd name="connsiteX606" fmla="*/ 2220743 w 12192000"/>
              <a:gd name="connsiteY606" fmla="*/ 1300486 h 5038666"/>
              <a:gd name="connsiteX607" fmla="*/ 2240457 w 12192000"/>
              <a:gd name="connsiteY607" fmla="*/ 1336725 h 5038666"/>
              <a:gd name="connsiteX608" fmla="*/ 2261702 w 12192000"/>
              <a:gd name="connsiteY608" fmla="*/ 1370982 h 5038666"/>
              <a:gd name="connsiteX609" fmla="*/ 2284096 w 12192000"/>
              <a:gd name="connsiteY609" fmla="*/ 1403436 h 5038666"/>
              <a:gd name="connsiteX610" fmla="*/ 2307637 w 12192000"/>
              <a:gd name="connsiteY610" fmla="*/ 1434266 h 5038666"/>
              <a:gd name="connsiteX611" fmla="*/ 2331945 w 12192000"/>
              <a:gd name="connsiteY611" fmla="*/ 1463114 h 5038666"/>
              <a:gd name="connsiteX612" fmla="*/ 2357017 w 12192000"/>
              <a:gd name="connsiteY612" fmla="*/ 1490339 h 5038666"/>
              <a:gd name="connsiteX613" fmla="*/ 2382665 w 12192000"/>
              <a:gd name="connsiteY613" fmla="*/ 1515941 h 5038666"/>
              <a:gd name="connsiteX614" fmla="*/ 2409269 w 12192000"/>
              <a:gd name="connsiteY614" fmla="*/ 1539921 h 5038666"/>
              <a:gd name="connsiteX615" fmla="*/ 2435873 w 12192000"/>
              <a:gd name="connsiteY615" fmla="*/ 1562278 h 5038666"/>
              <a:gd name="connsiteX616" fmla="*/ 2462668 w 12192000"/>
              <a:gd name="connsiteY616" fmla="*/ 1583372 h 5038666"/>
              <a:gd name="connsiteX617" fmla="*/ 2489655 w 12192000"/>
              <a:gd name="connsiteY617" fmla="*/ 1602845 h 5038666"/>
              <a:gd name="connsiteX618" fmla="*/ 2516833 w 12192000"/>
              <a:gd name="connsiteY618" fmla="*/ 1620694 h 5038666"/>
              <a:gd name="connsiteX619" fmla="*/ 2543629 w 12192000"/>
              <a:gd name="connsiteY619" fmla="*/ 1637462 h 5038666"/>
              <a:gd name="connsiteX620" fmla="*/ 2570041 w 12192000"/>
              <a:gd name="connsiteY620" fmla="*/ 1652787 h 5038666"/>
              <a:gd name="connsiteX621" fmla="*/ 2596263 w 12192000"/>
              <a:gd name="connsiteY621" fmla="*/ 1667030 h 5038666"/>
              <a:gd name="connsiteX622" fmla="*/ 2621910 w 12192000"/>
              <a:gd name="connsiteY622" fmla="*/ 1679832 h 5038666"/>
              <a:gd name="connsiteX623" fmla="*/ 2646791 w 12192000"/>
              <a:gd name="connsiteY623" fmla="*/ 1691551 h 5038666"/>
              <a:gd name="connsiteX624" fmla="*/ 2670907 w 12192000"/>
              <a:gd name="connsiteY624" fmla="*/ 1702008 h 5038666"/>
              <a:gd name="connsiteX625" fmla="*/ 2694066 w 12192000"/>
              <a:gd name="connsiteY625" fmla="*/ 1711564 h 5038666"/>
              <a:gd name="connsiteX626" fmla="*/ 2716077 w 12192000"/>
              <a:gd name="connsiteY626" fmla="*/ 1720038 h 5038666"/>
              <a:gd name="connsiteX627" fmla="*/ 2736939 w 12192000"/>
              <a:gd name="connsiteY627" fmla="*/ 1727610 h 5038666"/>
              <a:gd name="connsiteX628" fmla="*/ 2756461 w 12192000"/>
              <a:gd name="connsiteY628" fmla="*/ 1734101 h 5038666"/>
              <a:gd name="connsiteX629" fmla="*/ 2774452 w 12192000"/>
              <a:gd name="connsiteY629" fmla="*/ 1739690 h 5038666"/>
              <a:gd name="connsiteX630" fmla="*/ 2790912 w 12192000"/>
              <a:gd name="connsiteY630" fmla="*/ 1744198 h 5038666"/>
              <a:gd name="connsiteX631" fmla="*/ 2805458 w 12192000"/>
              <a:gd name="connsiteY631" fmla="*/ 1748525 h 5038666"/>
              <a:gd name="connsiteX632" fmla="*/ 2818282 w 12192000"/>
              <a:gd name="connsiteY632" fmla="*/ 1751590 h 5038666"/>
              <a:gd name="connsiteX633" fmla="*/ 2829000 w 12192000"/>
              <a:gd name="connsiteY633" fmla="*/ 1754114 h 5038666"/>
              <a:gd name="connsiteX634" fmla="*/ 2843929 w 12192000"/>
              <a:gd name="connsiteY634" fmla="*/ 1757540 h 5038666"/>
              <a:gd name="connsiteX635" fmla="*/ 2848905 w 12192000"/>
              <a:gd name="connsiteY635" fmla="*/ 1758261 h 5038666"/>
              <a:gd name="connsiteX636" fmla="*/ 2834359 w 12192000"/>
              <a:gd name="connsiteY636" fmla="*/ 1462212 h 5038666"/>
              <a:gd name="connsiteX637" fmla="*/ 2833785 w 12192000"/>
              <a:gd name="connsiteY637" fmla="*/ 1462032 h 5038666"/>
              <a:gd name="connsiteX638" fmla="*/ 2832828 w 12192000"/>
              <a:gd name="connsiteY638" fmla="*/ 1460770 h 5038666"/>
              <a:gd name="connsiteX639" fmla="*/ 2830531 w 12192000"/>
              <a:gd name="connsiteY639" fmla="*/ 1458787 h 5038666"/>
              <a:gd name="connsiteX640" fmla="*/ 2827469 w 12192000"/>
              <a:gd name="connsiteY640" fmla="*/ 1455181 h 5038666"/>
              <a:gd name="connsiteX641" fmla="*/ 2823450 w 12192000"/>
              <a:gd name="connsiteY641" fmla="*/ 1449952 h 5038666"/>
              <a:gd name="connsiteX642" fmla="*/ 2818473 w 12192000"/>
              <a:gd name="connsiteY642" fmla="*/ 1443101 h 5038666"/>
              <a:gd name="connsiteX643" fmla="*/ 2812349 w 12192000"/>
              <a:gd name="connsiteY643" fmla="*/ 1434086 h 5038666"/>
              <a:gd name="connsiteX644" fmla="*/ 2805267 w 12192000"/>
              <a:gd name="connsiteY644" fmla="*/ 1422727 h 5038666"/>
              <a:gd name="connsiteX645" fmla="*/ 2796654 w 12192000"/>
              <a:gd name="connsiteY645" fmla="*/ 1408844 h 5038666"/>
              <a:gd name="connsiteX646" fmla="*/ 2787084 w 12192000"/>
              <a:gd name="connsiteY646" fmla="*/ 1392077 h 5038666"/>
              <a:gd name="connsiteX647" fmla="*/ 2776366 w 12192000"/>
              <a:gd name="connsiteY647" fmla="*/ 1372424 h 5038666"/>
              <a:gd name="connsiteX648" fmla="*/ 2764117 w 12192000"/>
              <a:gd name="connsiteY648" fmla="*/ 1349166 h 5038666"/>
              <a:gd name="connsiteX649" fmla="*/ 2757418 w 12192000"/>
              <a:gd name="connsiteY649" fmla="*/ 1336545 h 5038666"/>
              <a:gd name="connsiteX650" fmla="*/ 2750528 w 12192000"/>
              <a:gd name="connsiteY650" fmla="*/ 1322662 h 5038666"/>
              <a:gd name="connsiteX651" fmla="*/ 2743255 w 12192000"/>
              <a:gd name="connsiteY651" fmla="*/ 1307878 h 5038666"/>
              <a:gd name="connsiteX652" fmla="*/ 2735599 w 12192000"/>
              <a:gd name="connsiteY652" fmla="*/ 1292012 h 5038666"/>
              <a:gd name="connsiteX653" fmla="*/ 2727560 w 12192000"/>
              <a:gd name="connsiteY653" fmla="*/ 1275424 h 5038666"/>
              <a:gd name="connsiteX654" fmla="*/ 2719139 w 12192000"/>
              <a:gd name="connsiteY654" fmla="*/ 1257575 h 5038666"/>
              <a:gd name="connsiteX655" fmla="*/ 2710335 w 12192000"/>
              <a:gd name="connsiteY655" fmla="*/ 1238644 h 5038666"/>
              <a:gd name="connsiteX656" fmla="*/ 2701148 w 12192000"/>
              <a:gd name="connsiteY656" fmla="*/ 1218631 h 5038666"/>
              <a:gd name="connsiteX657" fmla="*/ 2692343 w 12192000"/>
              <a:gd name="connsiteY657" fmla="*/ 1198798 h 5038666"/>
              <a:gd name="connsiteX658" fmla="*/ 2683922 w 12192000"/>
              <a:gd name="connsiteY658" fmla="*/ 1179867 h 5038666"/>
              <a:gd name="connsiteX659" fmla="*/ 2676266 w 12192000"/>
              <a:gd name="connsiteY659" fmla="*/ 1161837 h 5038666"/>
              <a:gd name="connsiteX660" fmla="*/ 2669184 w 12192000"/>
              <a:gd name="connsiteY660" fmla="*/ 1144889 h 5038666"/>
              <a:gd name="connsiteX661" fmla="*/ 2662677 w 12192000"/>
              <a:gd name="connsiteY661" fmla="*/ 1128843 h 5038666"/>
              <a:gd name="connsiteX662" fmla="*/ 2656552 w 12192000"/>
              <a:gd name="connsiteY662" fmla="*/ 1113337 h 5038666"/>
              <a:gd name="connsiteX663" fmla="*/ 2651002 w 12192000"/>
              <a:gd name="connsiteY663" fmla="*/ 1098192 h 5038666"/>
              <a:gd name="connsiteX664" fmla="*/ 2645834 w 12192000"/>
              <a:gd name="connsiteY664" fmla="*/ 1083588 h 5038666"/>
              <a:gd name="connsiteX665" fmla="*/ 2641049 w 12192000"/>
              <a:gd name="connsiteY665" fmla="*/ 1069344 h 5038666"/>
              <a:gd name="connsiteX666" fmla="*/ 2636456 w 12192000"/>
              <a:gd name="connsiteY666" fmla="*/ 1055281 h 5038666"/>
              <a:gd name="connsiteX667" fmla="*/ 2632245 w 12192000"/>
              <a:gd name="connsiteY667" fmla="*/ 1041579 h 5038666"/>
              <a:gd name="connsiteX668" fmla="*/ 2628226 w 12192000"/>
              <a:gd name="connsiteY668" fmla="*/ 1027515 h 5038666"/>
              <a:gd name="connsiteX669" fmla="*/ 2624589 w 12192000"/>
              <a:gd name="connsiteY669" fmla="*/ 1013452 h 5038666"/>
              <a:gd name="connsiteX670" fmla="*/ 2620761 w 12192000"/>
              <a:gd name="connsiteY670" fmla="*/ 999028 h 5038666"/>
              <a:gd name="connsiteX671" fmla="*/ 2616933 w 12192000"/>
              <a:gd name="connsiteY671" fmla="*/ 984424 h 5038666"/>
              <a:gd name="connsiteX672" fmla="*/ 2613488 w 12192000"/>
              <a:gd name="connsiteY672" fmla="*/ 969279 h 5038666"/>
              <a:gd name="connsiteX673" fmla="*/ 2606024 w 12192000"/>
              <a:gd name="connsiteY673" fmla="*/ 937006 h 5038666"/>
              <a:gd name="connsiteX674" fmla="*/ 2598368 w 12192000"/>
              <a:gd name="connsiteY674" fmla="*/ 901668 h 5038666"/>
              <a:gd name="connsiteX675" fmla="*/ 2589372 w 12192000"/>
              <a:gd name="connsiteY675" fmla="*/ 862183 h 5038666"/>
              <a:gd name="connsiteX676" fmla="*/ 2579611 w 12192000"/>
              <a:gd name="connsiteY676" fmla="*/ 817649 h 5038666"/>
              <a:gd name="connsiteX677" fmla="*/ 2568127 w 12192000"/>
              <a:gd name="connsiteY677" fmla="*/ 766986 h 5038666"/>
              <a:gd name="connsiteX678" fmla="*/ 2554538 w 12192000"/>
              <a:gd name="connsiteY678" fmla="*/ 709831 h 5038666"/>
              <a:gd name="connsiteX679" fmla="*/ 2546882 w 12192000"/>
              <a:gd name="connsiteY679" fmla="*/ 678279 h 5038666"/>
              <a:gd name="connsiteX680" fmla="*/ 2538652 w 12192000"/>
              <a:gd name="connsiteY680" fmla="*/ 644744 h 5038666"/>
              <a:gd name="connsiteX681" fmla="*/ 2529848 w 12192000"/>
              <a:gd name="connsiteY681" fmla="*/ 609045 h 5038666"/>
              <a:gd name="connsiteX682" fmla="*/ 2520087 w 12192000"/>
              <a:gd name="connsiteY682" fmla="*/ 571182 h 5038666"/>
              <a:gd name="connsiteX683" fmla="*/ 2508986 w 12192000"/>
              <a:gd name="connsiteY683" fmla="*/ 532779 h 5038666"/>
              <a:gd name="connsiteX684" fmla="*/ 2495397 w 12192000"/>
              <a:gd name="connsiteY684" fmla="*/ 496179 h 5038666"/>
              <a:gd name="connsiteX685" fmla="*/ 2480085 w 12192000"/>
              <a:gd name="connsiteY685" fmla="*/ 461381 h 5038666"/>
              <a:gd name="connsiteX686" fmla="*/ 2462668 w 12192000"/>
              <a:gd name="connsiteY686" fmla="*/ 428207 h 5038666"/>
              <a:gd name="connsiteX687" fmla="*/ 2443911 w 12192000"/>
              <a:gd name="connsiteY687" fmla="*/ 396655 h 5038666"/>
              <a:gd name="connsiteX688" fmla="*/ 2423432 w 12192000"/>
              <a:gd name="connsiteY688" fmla="*/ 366725 h 5038666"/>
              <a:gd name="connsiteX689" fmla="*/ 2401421 w 12192000"/>
              <a:gd name="connsiteY689" fmla="*/ 338238 h 5038666"/>
              <a:gd name="connsiteX690" fmla="*/ 2378454 w 12192000"/>
              <a:gd name="connsiteY690" fmla="*/ 311554 h 5038666"/>
              <a:gd name="connsiteX691" fmla="*/ 2354338 w 12192000"/>
              <a:gd name="connsiteY691" fmla="*/ 286132 h 5038666"/>
              <a:gd name="connsiteX692" fmla="*/ 2329456 w 12192000"/>
              <a:gd name="connsiteY692" fmla="*/ 262333 h 5038666"/>
              <a:gd name="connsiteX693" fmla="*/ 2303809 w 12192000"/>
              <a:gd name="connsiteY693" fmla="*/ 239976 h 5038666"/>
              <a:gd name="connsiteX694" fmla="*/ 2277588 w 12192000"/>
              <a:gd name="connsiteY694" fmla="*/ 218701 h 5038666"/>
              <a:gd name="connsiteX695" fmla="*/ 2251175 w 12192000"/>
              <a:gd name="connsiteY695" fmla="*/ 199049 h 5038666"/>
              <a:gd name="connsiteX696" fmla="*/ 2224571 w 12192000"/>
              <a:gd name="connsiteY696" fmla="*/ 180839 h 5038666"/>
              <a:gd name="connsiteX697" fmla="*/ 2197776 w 12192000"/>
              <a:gd name="connsiteY697" fmla="*/ 163710 h 5038666"/>
              <a:gd name="connsiteX698" fmla="*/ 2171172 w 12192000"/>
              <a:gd name="connsiteY698" fmla="*/ 148024 h 5038666"/>
              <a:gd name="connsiteX699" fmla="*/ 2144951 w 12192000"/>
              <a:gd name="connsiteY699" fmla="*/ 133420 h 5038666"/>
              <a:gd name="connsiteX700" fmla="*/ 2119112 w 12192000"/>
              <a:gd name="connsiteY700" fmla="*/ 119898 h 5038666"/>
              <a:gd name="connsiteX701" fmla="*/ 2094231 w 12192000"/>
              <a:gd name="connsiteY701" fmla="*/ 107818 h 5038666"/>
              <a:gd name="connsiteX702" fmla="*/ 2069923 w 12192000"/>
              <a:gd name="connsiteY702" fmla="*/ 96639 h 5038666"/>
              <a:gd name="connsiteX703" fmla="*/ 2046573 w 12192000"/>
              <a:gd name="connsiteY703" fmla="*/ 86723 h 5038666"/>
              <a:gd name="connsiteX704" fmla="*/ 2024562 w 12192000"/>
              <a:gd name="connsiteY704" fmla="*/ 77708 h 5038666"/>
              <a:gd name="connsiteX705" fmla="*/ 2003700 w 12192000"/>
              <a:gd name="connsiteY705" fmla="*/ 69775 h 5038666"/>
              <a:gd name="connsiteX706" fmla="*/ 1984369 w 12192000"/>
              <a:gd name="connsiteY706" fmla="*/ 62744 h 5038666"/>
              <a:gd name="connsiteX707" fmla="*/ 1966569 w 12192000"/>
              <a:gd name="connsiteY707" fmla="*/ 56794 h 5038666"/>
              <a:gd name="connsiteX708" fmla="*/ 1950684 w 12192000"/>
              <a:gd name="connsiteY708" fmla="*/ 51746 h 5038666"/>
              <a:gd name="connsiteX709" fmla="*/ 1936712 w 12192000"/>
              <a:gd name="connsiteY709" fmla="*/ 47599 h 5038666"/>
              <a:gd name="connsiteX710" fmla="*/ 1925036 w 12192000"/>
              <a:gd name="connsiteY710" fmla="*/ 43993 h 5038666"/>
              <a:gd name="connsiteX711" fmla="*/ 1908576 w 12192000"/>
              <a:gd name="connsiteY711" fmla="*/ 39846 h 5038666"/>
              <a:gd name="connsiteX712" fmla="*/ 1903026 w 12192000"/>
              <a:gd name="connsiteY712" fmla="*/ 38223 h 5038666"/>
              <a:gd name="connsiteX713" fmla="*/ 1907045 w 12192000"/>
              <a:gd name="connsiteY713" fmla="*/ 38223 h 5038666"/>
              <a:gd name="connsiteX714" fmla="*/ 1918529 w 12192000"/>
              <a:gd name="connsiteY714" fmla="*/ 38764 h 5038666"/>
              <a:gd name="connsiteX715" fmla="*/ 1926950 w 12192000"/>
              <a:gd name="connsiteY715" fmla="*/ 39125 h 5038666"/>
              <a:gd name="connsiteX716" fmla="*/ 1936903 w 12192000"/>
              <a:gd name="connsiteY716" fmla="*/ 39485 h 5038666"/>
              <a:gd name="connsiteX717" fmla="*/ 1948387 w 12192000"/>
              <a:gd name="connsiteY717" fmla="*/ 40387 h 5038666"/>
              <a:gd name="connsiteX718" fmla="*/ 1961210 w 12192000"/>
              <a:gd name="connsiteY718" fmla="*/ 41469 h 5038666"/>
              <a:gd name="connsiteX719" fmla="*/ 1975182 w 12192000"/>
              <a:gd name="connsiteY719" fmla="*/ 42731 h 5038666"/>
              <a:gd name="connsiteX720" fmla="*/ 1990494 w 12192000"/>
              <a:gd name="connsiteY720" fmla="*/ 44353 h 5038666"/>
              <a:gd name="connsiteX721" fmla="*/ 2006763 w 12192000"/>
              <a:gd name="connsiteY721" fmla="*/ 46337 h 5038666"/>
              <a:gd name="connsiteX722" fmla="*/ 2024180 w 12192000"/>
              <a:gd name="connsiteY722" fmla="*/ 48861 h 5038666"/>
              <a:gd name="connsiteX723" fmla="*/ 2042362 w 12192000"/>
              <a:gd name="connsiteY723" fmla="*/ 51746 h 5038666"/>
              <a:gd name="connsiteX724" fmla="*/ 2060928 w 12192000"/>
              <a:gd name="connsiteY724" fmla="*/ 54810 h 5038666"/>
              <a:gd name="connsiteX725" fmla="*/ 2080450 w 12192000"/>
              <a:gd name="connsiteY725" fmla="*/ 58777 h 5038666"/>
              <a:gd name="connsiteX726" fmla="*/ 2100547 w 12192000"/>
              <a:gd name="connsiteY726" fmla="*/ 62924 h 5038666"/>
              <a:gd name="connsiteX727" fmla="*/ 2121026 w 12192000"/>
              <a:gd name="connsiteY727" fmla="*/ 67972 h 5038666"/>
              <a:gd name="connsiteX728" fmla="*/ 2141888 w 12192000"/>
              <a:gd name="connsiteY728" fmla="*/ 73742 h 5038666"/>
              <a:gd name="connsiteX729" fmla="*/ 2162942 w 12192000"/>
              <a:gd name="connsiteY729" fmla="*/ 79692 h 5038666"/>
              <a:gd name="connsiteX730" fmla="*/ 2183995 w 12192000"/>
              <a:gd name="connsiteY730" fmla="*/ 86723 h 5038666"/>
              <a:gd name="connsiteX731" fmla="*/ 2205240 w 12192000"/>
              <a:gd name="connsiteY731" fmla="*/ 94476 h 5038666"/>
              <a:gd name="connsiteX732" fmla="*/ 2226294 w 12192000"/>
              <a:gd name="connsiteY732" fmla="*/ 102770 h 5038666"/>
              <a:gd name="connsiteX733" fmla="*/ 2247156 w 12192000"/>
              <a:gd name="connsiteY733" fmla="*/ 111965 h 5038666"/>
              <a:gd name="connsiteX734" fmla="*/ 2267636 w 12192000"/>
              <a:gd name="connsiteY734" fmla="*/ 122061 h 5038666"/>
              <a:gd name="connsiteX735" fmla="*/ 2287923 w 12192000"/>
              <a:gd name="connsiteY735" fmla="*/ 132879 h 5038666"/>
              <a:gd name="connsiteX736" fmla="*/ 2307637 w 12192000"/>
              <a:gd name="connsiteY736" fmla="*/ 144599 h 5038666"/>
              <a:gd name="connsiteX737" fmla="*/ 2326777 w 12192000"/>
              <a:gd name="connsiteY737" fmla="*/ 157400 h 5038666"/>
              <a:gd name="connsiteX738" fmla="*/ 2344960 w 12192000"/>
              <a:gd name="connsiteY738" fmla="*/ 171283 h 5038666"/>
              <a:gd name="connsiteX739" fmla="*/ 2362568 w 12192000"/>
              <a:gd name="connsiteY739" fmla="*/ 186067 h 5038666"/>
              <a:gd name="connsiteX740" fmla="*/ 2379219 w 12192000"/>
              <a:gd name="connsiteY740" fmla="*/ 201753 h 5038666"/>
              <a:gd name="connsiteX741" fmla="*/ 2394723 w 12192000"/>
              <a:gd name="connsiteY741" fmla="*/ 218701 h 5038666"/>
              <a:gd name="connsiteX742" fmla="*/ 2409269 w 12192000"/>
              <a:gd name="connsiteY742" fmla="*/ 236731 h 5038666"/>
              <a:gd name="connsiteX743" fmla="*/ 2422666 w 12192000"/>
              <a:gd name="connsiteY743" fmla="*/ 255121 h 5038666"/>
              <a:gd name="connsiteX744" fmla="*/ 2435681 w 12192000"/>
              <a:gd name="connsiteY744" fmla="*/ 272970 h 5038666"/>
              <a:gd name="connsiteX745" fmla="*/ 2447930 w 12192000"/>
              <a:gd name="connsiteY745" fmla="*/ 290099 h 5038666"/>
              <a:gd name="connsiteX746" fmla="*/ 2459414 w 12192000"/>
              <a:gd name="connsiteY746" fmla="*/ 306866 h 5038666"/>
              <a:gd name="connsiteX747" fmla="*/ 2470515 w 12192000"/>
              <a:gd name="connsiteY747" fmla="*/ 323093 h 5038666"/>
              <a:gd name="connsiteX748" fmla="*/ 2480659 w 12192000"/>
              <a:gd name="connsiteY748" fmla="*/ 338779 h 5038666"/>
              <a:gd name="connsiteX749" fmla="*/ 2490803 w 12192000"/>
              <a:gd name="connsiteY749" fmla="*/ 353744 h 5038666"/>
              <a:gd name="connsiteX750" fmla="*/ 2499799 w 12192000"/>
              <a:gd name="connsiteY750" fmla="*/ 368528 h 5038666"/>
              <a:gd name="connsiteX751" fmla="*/ 2508603 w 12192000"/>
              <a:gd name="connsiteY751" fmla="*/ 382231 h 5038666"/>
              <a:gd name="connsiteX752" fmla="*/ 2516833 w 12192000"/>
              <a:gd name="connsiteY752" fmla="*/ 395933 h 5038666"/>
              <a:gd name="connsiteX753" fmla="*/ 2524298 w 12192000"/>
              <a:gd name="connsiteY753" fmla="*/ 408734 h 5038666"/>
              <a:gd name="connsiteX754" fmla="*/ 2531379 w 12192000"/>
              <a:gd name="connsiteY754" fmla="*/ 420995 h 5038666"/>
              <a:gd name="connsiteX755" fmla="*/ 2538078 w 12192000"/>
              <a:gd name="connsiteY755" fmla="*/ 432714 h 5038666"/>
              <a:gd name="connsiteX756" fmla="*/ 2544203 w 12192000"/>
              <a:gd name="connsiteY756" fmla="*/ 443892 h 5038666"/>
              <a:gd name="connsiteX757" fmla="*/ 2550136 w 12192000"/>
              <a:gd name="connsiteY757" fmla="*/ 454530 h 5038666"/>
              <a:gd name="connsiteX758" fmla="*/ 2555112 w 12192000"/>
              <a:gd name="connsiteY758" fmla="*/ 464266 h 5038666"/>
              <a:gd name="connsiteX759" fmla="*/ 2564491 w 12192000"/>
              <a:gd name="connsiteY759" fmla="*/ 482476 h 5038666"/>
              <a:gd name="connsiteX760" fmla="*/ 2572147 w 12192000"/>
              <a:gd name="connsiteY760" fmla="*/ 498523 h 5038666"/>
              <a:gd name="connsiteX761" fmla="*/ 2578080 w 12192000"/>
              <a:gd name="connsiteY761" fmla="*/ 512045 h 5038666"/>
              <a:gd name="connsiteX762" fmla="*/ 2582673 w 12192000"/>
              <a:gd name="connsiteY762" fmla="*/ 523223 h 5038666"/>
              <a:gd name="connsiteX763" fmla="*/ 2586310 w 12192000"/>
              <a:gd name="connsiteY763" fmla="*/ 531878 h 5038666"/>
              <a:gd name="connsiteX764" fmla="*/ 2588607 w 12192000"/>
              <a:gd name="connsiteY764" fmla="*/ 538188 h 5038666"/>
              <a:gd name="connsiteX765" fmla="*/ 2589946 w 12192000"/>
              <a:gd name="connsiteY765" fmla="*/ 541974 h 5038666"/>
              <a:gd name="connsiteX766" fmla="*/ 2590329 w 12192000"/>
              <a:gd name="connsiteY766" fmla="*/ 543236 h 5038666"/>
              <a:gd name="connsiteX767" fmla="*/ 2589946 w 12192000"/>
              <a:gd name="connsiteY767" fmla="*/ 541794 h 5038666"/>
              <a:gd name="connsiteX768" fmla="*/ 2588607 w 12192000"/>
              <a:gd name="connsiteY768" fmla="*/ 537647 h 5038666"/>
              <a:gd name="connsiteX769" fmla="*/ 2587650 w 12192000"/>
              <a:gd name="connsiteY769" fmla="*/ 534762 h 5038666"/>
              <a:gd name="connsiteX770" fmla="*/ 2586693 w 12192000"/>
              <a:gd name="connsiteY770" fmla="*/ 530976 h 5038666"/>
              <a:gd name="connsiteX771" fmla="*/ 2585927 w 12192000"/>
              <a:gd name="connsiteY771" fmla="*/ 526469 h 5038666"/>
              <a:gd name="connsiteX772" fmla="*/ 2584970 w 12192000"/>
              <a:gd name="connsiteY772" fmla="*/ 521420 h 5038666"/>
              <a:gd name="connsiteX773" fmla="*/ 2584013 w 12192000"/>
              <a:gd name="connsiteY773" fmla="*/ 515831 h 5038666"/>
              <a:gd name="connsiteX774" fmla="*/ 2583248 w 12192000"/>
              <a:gd name="connsiteY774" fmla="*/ 509521 h 5038666"/>
              <a:gd name="connsiteX775" fmla="*/ 2582482 w 12192000"/>
              <a:gd name="connsiteY775" fmla="*/ 502669 h 5038666"/>
              <a:gd name="connsiteX776" fmla="*/ 2582099 w 12192000"/>
              <a:gd name="connsiteY776" fmla="*/ 495097 h 5038666"/>
              <a:gd name="connsiteX777" fmla="*/ 2581908 w 12192000"/>
              <a:gd name="connsiteY777" fmla="*/ 486984 h 5038666"/>
              <a:gd name="connsiteX778" fmla="*/ 2581908 w 12192000"/>
              <a:gd name="connsiteY778" fmla="*/ 478149 h 5038666"/>
              <a:gd name="connsiteX779" fmla="*/ 2582291 w 12192000"/>
              <a:gd name="connsiteY779" fmla="*/ 468774 h 5038666"/>
              <a:gd name="connsiteX780" fmla="*/ 2583056 w 12192000"/>
              <a:gd name="connsiteY780" fmla="*/ 458677 h 5038666"/>
              <a:gd name="connsiteX781" fmla="*/ 2584013 w 12192000"/>
              <a:gd name="connsiteY781" fmla="*/ 448220 h 5038666"/>
              <a:gd name="connsiteX782" fmla="*/ 2585353 w 12192000"/>
              <a:gd name="connsiteY782" fmla="*/ 436861 h 5038666"/>
              <a:gd name="connsiteX783" fmla="*/ 2587458 w 12192000"/>
              <a:gd name="connsiteY783" fmla="*/ 425142 h 5038666"/>
              <a:gd name="connsiteX784" fmla="*/ 2590138 w 12192000"/>
              <a:gd name="connsiteY784" fmla="*/ 413062 h 5038666"/>
              <a:gd name="connsiteX785" fmla="*/ 2593009 w 12192000"/>
              <a:gd name="connsiteY785" fmla="*/ 400080 h 5038666"/>
              <a:gd name="connsiteX786" fmla="*/ 2596645 w 12192000"/>
              <a:gd name="connsiteY786" fmla="*/ 386738 h 5038666"/>
              <a:gd name="connsiteX787" fmla="*/ 2601047 w 12192000"/>
              <a:gd name="connsiteY787" fmla="*/ 372675 h 5038666"/>
              <a:gd name="connsiteX788" fmla="*/ 2605832 w 12192000"/>
              <a:gd name="connsiteY788" fmla="*/ 358071 h 5038666"/>
              <a:gd name="connsiteX789" fmla="*/ 2611574 w 12192000"/>
              <a:gd name="connsiteY789" fmla="*/ 342926 h 5038666"/>
              <a:gd name="connsiteX790" fmla="*/ 2618082 w 12192000"/>
              <a:gd name="connsiteY790" fmla="*/ 327420 h 5038666"/>
              <a:gd name="connsiteX791" fmla="*/ 2625355 w 12192000"/>
              <a:gd name="connsiteY791" fmla="*/ 311374 h 5038666"/>
              <a:gd name="connsiteX792" fmla="*/ 2633393 w 12192000"/>
              <a:gd name="connsiteY792" fmla="*/ 294606 h 5038666"/>
              <a:gd name="connsiteX793" fmla="*/ 2642580 w 12192000"/>
              <a:gd name="connsiteY793" fmla="*/ 277298 h 5038666"/>
              <a:gd name="connsiteX794" fmla="*/ 2652533 w 12192000"/>
              <a:gd name="connsiteY794" fmla="*/ 259809 h 5038666"/>
              <a:gd name="connsiteX795" fmla="*/ 2663443 w 12192000"/>
              <a:gd name="connsiteY795" fmla="*/ 241599 h 5038666"/>
              <a:gd name="connsiteX796" fmla="*/ 2675501 w 12192000"/>
              <a:gd name="connsiteY796" fmla="*/ 222668 h 5038666"/>
              <a:gd name="connsiteX797" fmla="*/ 2687941 w 12192000"/>
              <a:gd name="connsiteY797" fmla="*/ 204457 h 5038666"/>
              <a:gd name="connsiteX798" fmla="*/ 2700382 w 12192000"/>
              <a:gd name="connsiteY798" fmla="*/ 187149 h 5038666"/>
              <a:gd name="connsiteX799" fmla="*/ 2712823 w 12192000"/>
              <a:gd name="connsiteY799" fmla="*/ 170562 h 5038666"/>
              <a:gd name="connsiteX800" fmla="*/ 2725264 w 12192000"/>
              <a:gd name="connsiteY800" fmla="*/ 155417 h 5038666"/>
              <a:gd name="connsiteX801" fmla="*/ 2737321 w 12192000"/>
              <a:gd name="connsiteY801" fmla="*/ 140812 h 5038666"/>
              <a:gd name="connsiteX802" fmla="*/ 2749571 w 12192000"/>
              <a:gd name="connsiteY802" fmla="*/ 127290 h 5038666"/>
              <a:gd name="connsiteX803" fmla="*/ 2761629 w 12192000"/>
              <a:gd name="connsiteY803" fmla="*/ 114669 h 5038666"/>
              <a:gd name="connsiteX804" fmla="*/ 2773687 w 12192000"/>
              <a:gd name="connsiteY804" fmla="*/ 102770 h 5038666"/>
              <a:gd name="connsiteX805" fmla="*/ 2785362 w 12192000"/>
              <a:gd name="connsiteY805" fmla="*/ 91952 h 5038666"/>
              <a:gd name="connsiteX806" fmla="*/ 2797037 w 12192000"/>
              <a:gd name="connsiteY806" fmla="*/ 81675 h 5038666"/>
              <a:gd name="connsiteX807" fmla="*/ 2808138 w 12192000"/>
              <a:gd name="connsiteY807" fmla="*/ 72299 h 5038666"/>
              <a:gd name="connsiteX808" fmla="*/ 2819239 w 12192000"/>
              <a:gd name="connsiteY808" fmla="*/ 63645 h 5038666"/>
              <a:gd name="connsiteX809" fmla="*/ 2829766 w 12192000"/>
              <a:gd name="connsiteY809" fmla="*/ 55712 h 5038666"/>
              <a:gd name="connsiteX810" fmla="*/ 2840293 w 12192000"/>
              <a:gd name="connsiteY810" fmla="*/ 48320 h 5038666"/>
              <a:gd name="connsiteX811" fmla="*/ 2850437 w 12192000"/>
              <a:gd name="connsiteY811" fmla="*/ 41649 h 5038666"/>
              <a:gd name="connsiteX812" fmla="*/ 2860006 w 12192000"/>
              <a:gd name="connsiteY812" fmla="*/ 35519 h 5038666"/>
              <a:gd name="connsiteX813" fmla="*/ 2869385 w 12192000"/>
              <a:gd name="connsiteY813" fmla="*/ 30290 h 5038666"/>
              <a:gd name="connsiteX814" fmla="*/ 2878380 w 12192000"/>
              <a:gd name="connsiteY814" fmla="*/ 25242 h 5038666"/>
              <a:gd name="connsiteX815" fmla="*/ 2886993 w 12192000"/>
              <a:gd name="connsiteY815" fmla="*/ 21095 h 5038666"/>
              <a:gd name="connsiteX816" fmla="*/ 2895032 w 12192000"/>
              <a:gd name="connsiteY816" fmla="*/ 17128 h 5038666"/>
              <a:gd name="connsiteX817" fmla="*/ 2902305 w 12192000"/>
              <a:gd name="connsiteY817" fmla="*/ 13883 h 5038666"/>
              <a:gd name="connsiteX818" fmla="*/ 2909386 w 12192000"/>
              <a:gd name="connsiteY818" fmla="*/ 11179 h 5038666"/>
              <a:gd name="connsiteX819" fmla="*/ 2915894 w 12192000"/>
              <a:gd name="connsiteY819" fmla="*/ 8654 h 5038666"/>
              <a:gd name="connsiteX820" fmla="*/ 2921636 w 12192000"/>
              <a:gd name="connsiteY820" fmla="*/ 6491 h 5038666"/>
              <a:gd name="connsiteX821" fmla="*/ 2931588 w 12192000"/>
              <a:gd name="connsiteY821" fmla="*/ 3426 h 5038666"/>
              <a:gd name="connsiteX822" fmla="*/ 2938862 w 12192000"/>
              <a:gd name="connsiteY822" fmla="*/ 1262 h 5038666"/>
              <a:gd name="connsiteX823" fmla="*/ 2943646 w 12192000"/>
              <a:gd name="connsiteY823" fmla="*/ 180 h 50386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Lst>
            <a:rect l="l" t="t" r="r" b="b"/>
            <a:pathLst>
              <a:path w="12192000" h="5038666">
                <a:moveTo>
                  <a:pt x="2945178" y="0"/>
                </a:moveTo>
                <a:lnTo>
                  <a:pt x="2942307" y="2524"/>
                </a:lnTo>
                <a:lnTo>
                  <a:pt x="2934459" y="9556"/>
                </a:lnTo>
                <a:lnTo>
                  <a:pt x="2928718" y="15145"/>
                </a:lnTo>
                <a:lnTo>
                  <a:pt x="2922019" y="21816"/>
                </a:lnTo>
                <a:lnTo>
                  <a:pt x="2914554" y="29569"/>
                </a:lnTo>
                <a:lnTo>
                  <a:pt x="2906133" y="38223"/>
                </a:lnTo>
                <a:lnTo>
                  <a:pt x="2896754" y="48500"/>
                </a:lnTo>
                <a:lnTo>
                  <a:pt x="2886993" y="59679"/>
                </a:lnTo>
                <a:lnTo>
                  <a:pt x="2876466" y="71939"/>
                </a:lnTo>
                <a:lnTo>
                  <a:pt x="2865365" y="85641"/>
                </a:lnTo>
                <a:lnTo>
                  <a:pt x="2854073" y="100065"/>
                </a:lnTo>
                <a:lnTo>
                  <a:pt x="2842207" y="115931"/>
                </a:lnTo>
                <a:lnTo>
                  <a:pt x="2830340" y="132699"/>
                </a:lnTo>
                <a:lnTo>
                  <a:pt x="2818090" y="150548"/>
                </a:lnTo>
                <a:lnTo>
                  <a:pt x="2805841" y="169660"/>
                </a:lnTo>
                <a:lnTo>
                  <a:pt x="2793592" y="189673"/>
                </a:lnTo>
                <a:lnTo>
                  <a:pt x="2781343" y="210768"/>
                </a:lnTo>
                <a:lnTo>
                  <a:pt x="2769667" y="232944"/>
                </a:lnTo>
                <a:lnTo>
                  <a:pt x="2757801" y="256023"/>
                </a:lnTo>
                <a:lnTo>
                  <a:pt x="2746508" y="280363"/>
                </a:lnTo>
                <a:lnTo>
                  <a:pt x="2735599" y="305604"/>
                </a:lnTo>
                <a:lnTo>
                  <a:pt x="2725455" y="332108"/>
                </a:lnTo>
                <a:lnTo>
                  <a:pt x="2715694" y="359153"/>
                </a:lnTo>
                <a:lnTo>
                  <a:pt x="2706507" y="387459"/>
                </a:lnTo>
                <a:lnTo>
                  <a:pt x="2698277" y="416848"/>
                </a:lnTo>
                <a:lnTo>
                  <a:pt x="2690812" y="447138"/>
                </a:lnTo>
                <a:lnTo>
                  <a:pt x="2684305" y="478329"/>
                </a:lnTo>
                <a:lnTo>
                  <a:pt x="2678946" y="510603"/>
                </a:lnTo>
                <a:lnTo>
                  <a:pt x="2674735" y="543958"/>
                </a:lnTo>
                <a:lnTo>
                  <a:pt x="2671673" y="578034"/>
                </a:lnTo>
                <a:lnTo>
                  <a:pt x="2670141" y="612290"/>
                </a:lnTo>
                <a:lnTo>
                  <a:pt x="2669759" y="646547"/>
                </a:lnTo>
                <a:lnTo>
                  <a:pt x="2671098" y="680082"/>
                </a:lnTo>
                <a:lnTo>
                  <a:pt x="2673778" y="713257"/>
                </a:lnTo>
                <a:lnTo>
                  <a:pt x="2677606" y="745891"/>
                </a:lnTo>
                <a:lnTo>
                  <a:pt x="2682582" y="777984"/>
                </a:lnTo>
                <a:lnTo>
                  <a:pt x="2688515" y="809536"/>
                </a:lnTo>
                <a:lnTo>
                  <a:pt x="2695406" y="840367"/>
                </a:lnTo>
                <a:lnTo>
                  <a:pt x="2703253" y="870476"/>
                </a:lnTo>
                <a:lnTo>
                  <a:pt x="2711674" y="899865"/>
                </a:lnTo>
                <a:lnTo>
                  <a:pt x="2720670" y="928532"/>
                </a:lnTo>
                <a:lnTo>
                  <a:pt x="2730431" y="956118"/>
                </a:lnTo>
                <a:lnTo>
                  <a:pt x="2740575" y="982802"/>
                </a:lnTo>
                <a:lnTo>
                  <a:pt x="2751102" y="1008764"/>
                </a:lnTo>
                <a:lnTo>
                  <a:pt x="2761820" y="1033826"/>
                </a:lnTo>
                <a:lnTo>
                  <a:pt x="2772730" y="1057625"/>
                </a:lnTo>
                <a:lnTo>
                  <a:pt x="2783831" y="1080523"/>
                </a:lnTo>
                <a:lnTo>
                  <a:pt x="2794932" y="1101978"/>
                </a:lnTo>
                <a:lnTo>
                  <a:pt x="2805841" y="1122532"/>
                </a:lnTo>
                <a:lnTo>
                  <a:pt x="2816559" y="1141824"/>
                </a:lnTo>
                <a:lnTo>
                  <a:pt x="2826703" y="1159854"/>
                </a:lnTo>
                <a:lnTo>
                  <a:pt x="2836656" y="1176621"/>
                </a:lnTo>
                <a:lnTo>
                  <a:pt x="2846226" y="1191766"/>
                </a:lnTo>
                <a:lnTo>
                  <a:pt x="2855221" y="1205649"/>
                </a:lnTo>
                <a:lnTo>
                  <a:pt x="2863451" y="1218270"/>
                </a:lnTo>
                <a:lnTo>
                  <a:pt x="2870725" y="1229088"/>
                </a:lnTo>
                <a:lnTo>
                  <a:pt x="2877232" y="1238463"/>
                </a:lnTo>
                <a:lnTo>
                  <a:pt x="2882782" y="1246216"/>
                </a:lnTo>
                <a:lnTo>
                  <a:pt x="2890821" y="1256854"/>
                </a:lnTo>
                <a:lnTo>
                  <a:pt x="2893309" y="1260460"/>
                </a:lnTo>
                <a:lnTo>
                  <a:pt x="2894649" y="1255411"/>
                </a:lnTo>
                <a:lnTo>
                  <a:pt x="2898860" y="1241348"/>
                </a:lnTo>
                <a:lnTo>
                  <a:pt x="2905750" y="1219172"/>
                </a:lnTo>
                <a:lnTo>
                  <a:pt x="2915320" y="1189963"/>
                </a:lnTo>
                <a:lnTo>
                  <a:pt x="2921253" y="1172835"/>
                </a:lnTo>
                <a:lnTo>
                  <a:pt x="2927569" y="1154264"/>
                </a:lnTo>
                <a:lnTo>
                  <a:pt x="2934651" y="1134432"/>
                </a:lnTo>
                <a:lnTo>
                  <a:pt x="2942498" y="1113337"/>
                </a:lnTo>
                <a:lnTo>
                  <a:pt x="2950920" y="1091341"/>
                </a:lnTo>
                <a:lnTo>
                  <a:pt x="2960107" y="1068263"/>
                </a:lnTo>
                <a:lnTo>
                  <a:pt x="2969868" y="1044283"/>
                </a:lnTo>
                <a:lnTo>
                  <a:pt x="2980203" y="1019763"/>
                </a:lnTo>
                <a:lnTo>
                  <a:pt x="2991304" y="994701"/>
                </a:lnTo>
                <a:lnTo>
                  <a:pt x="3002979" y="969099"/>
                </a:lnTo>
                <a:lnTo>
                  <a:pt x="3015420" y="943136"/>
                </a:lnTo>
                <a:lnTo>
                  <a:pt x="3028435" y="916993"/>
                </a:lnTo>
                <a:lnTo>
                  <a:pt x="3042024" y="890489"/>
                </a:lnTo>
                <a:lnTo>
                  <a:pt x="3056187" y="864346"/>
                </a:lnTo>
                <a:lnTo>
                  <a:pt x="3071116" y="838203"/>
                </a:lnTo>
                <a:lnTo>
                  <a:pt x="3086811" y="812420"/>
                </a:lnTo>
                <a:lnTo>
                  <a:pt x="3102888" y="786999"/>
                </a:lnTo>
                <a:lnTo>
                  <a:pt x="3119539" y="761937"/>
                </a:lnTo>
                <a:lnTo>
                  <a:pt x="3137148" y="737777"/>
                </a:lnTo>
                <a:lnTo>
                  <a:pt x="3155139" y="714339"/>
                </a:lnTo>
                <a:lnTo>
                  <a:pt x="3173896" y="691621"/>
                </a:lnTo>
                <a:lnTo>
                  <a:pt x="3193227" y="669985"/>
                </a:lnTo>
                <a:lnTo>
                  <a:pt x="3212941" y="649432"/>
                </a:lnTo>
                <a:lnTo>
                  <a:pt x="3233420" y="630140"/>
                </a:lnTo>
                <a:lnTo>
                  <a:pt x="3253325" y="611569"/>
                </a:lnTo>
                <a:lnTo>
                  <a:pt x="3272082" y="592638"/>
                </a:lnTo>
                <a:lnTo>
                  <a:pt x="3289116" y="573526"/>
                </a:lnTo>
                <a:lnTo>
                  <a:pt x="3305002" y="554775"/>
                </a:lnTo>
                <a:lnTo>
                  <a:pt x="3319357" y="535664"/>
                </a:lnTo>
                <a:lnTo>
                  <a:pt x="3332563" y="516733"/>
                </a:lnTo>
                <a:lnTo>
                  <a:pt x="3344430" y="497801"/>
                </a:lnTo>
                <a:lnTo>
                  <a:pt x="3355339" y="479050"/>
                </a:lnTo>
                <a:lnTo>
                  <a:pt x="3364909" y="460480"/>
                </a:lnTo>
                <a:lnTo>
                  <a:pt x="3373522" y="442089"/>
                </a:lnTo>
                <a:lnTo>
                  <a:pt x="3381369" y="424060"/>
                </a:lnTo>
                <a:lnTo>
                  <a:pt x="3388260" y="406391"/>
                </a:lnTo>
                <a:lnTo>
                  <a:pt x="3394001" y="388902"/>
                </a:lnTo>
                <a:lnTo>
                  <a:pt x="3399169" y="372134"/>
                </a:lnTo>
                <a:lnTo>
                  <a:pt x="3403571" y="355727"/>
                </a:lnTo>
                <a:lnTo>
                  <a:pt x="3407208" y="340041"/>
                </a:lnTo>
                <a:lnTo>
                  <a:pt x="3410079" y="324716"/>
                </a:lnTo>
                <a:lnTo>
                  <a:pt x="3412567" y="310112"/>
                </a:lnTo>
                <a:lnTo>
                  <a:pt x="3414289" y="296049"/>
                </a:lnTo>
                <a:lnTo>
                  <a:pt x="3415821" y="282887"/>
                </a:lnTo>
                <a:lnTo>
                  <a:pt x="3416778" y="270266"/>
                </a:lnTo>
                <a:lnTo>
                  <a:pt x="3417160" y="258547"/>
                </a:lnTo>
                <a:lnTo>
                  <a:pt x="3417352" y="247909"/>
                </a:lnTo>
                <a:lnTo>
                  <a:pt x="3417352" y="237993"/>
                </a:lnTo>
                <a:lnTo>
                  <a:pt x="3417160" y="229158"/>
                </a:lnTo>
                <a:lnTo>
                  <a:pt x="3416969" y="221225"/>
                </a:lnTo>
                <a:lnTo>
                  <a:pt x="3416203" y="214554"/>
                </a:lnTo>
                <a:lnTo>
                  <a:pt x="3415821" y="208965"/>
                </a:lnTo>
                <a:lnTo>
                  <a:pt x="3414864" y="201212"/>
                </a:lnTo>
                <a:lnTo>
                  <a:pt x="3414481" y="198508"/>
                </a:lnTo>
                <a:lnTo>
                  <a:pt x="3414864" y="199229"/>
                </a:lnTo>
                <a:lnTo>
                  <a:pt x="3416586" y="201933"/>
                </a:lnTo>
                <a:lnTo>
                  <a:pt x="3418500" y="206621"/>
                </a:lnTo>
                <a:lnTo>
                  <a:pt x="3420988" y="213112"/>
                </a:lnTo>
                <a:lnTo>
                  <a:pt x="3423859" y="221405"/>
                </a:lnTo>
                <a:lnTo>
                  <a:pt x="3426730" y="231682"/>
                </a:lnTo>
                <a:lnTo>
                  <a:pt x="3428261" y="237632"/>
                </a:lnTo>
                <a:lnTo>
                  <a:pt x="3429793" y="243943"/>
                </a:lnTo>
                <a:lnTo>
                  <a:pt x="3431132" y="250794"/>
                </a:lnTo>
                <a:lnTo>
                  <a:pt x="3432472" y="258186"/>
                </a:lnTo>
                <a:lnTo>
                  <a:pt x="3433812" y="265939"/>
                </a:lnTo>
                <a:lnTo>
                  <a:pt x="3434960" y="274233"/>
                </a:lnTo>
                <a:lnTo>
                  <a:pt x="3435917" y="283067"/>
                </a:lnTo>
                <a:lnTo>
                  <a:pt x="3436683" y="292443"/>
                </a:lnTo>
                <a:lnTo>
                  <a:pt x="3437448" y="302359"/>
                </a:lnTo>
                <a:lnTo>
                  <a:pt x="3437831" y="312816"/>
                </a:lnTo>
                <a:lnTo>
                  <a:pt x="3438022" y="323634"/>
                </a:lnTo>
                <a:lnTo>
                  <a:pt x="3437831" y="335173"/>
                </a:lnTo>
                <a:lnTo>
                  <a:pt x="3437640" y="347073"/>
                </a:lnTo>
                <a:lnTo>
                  <a:pt x="3436874" y="359513"/>
                </a:lnTo>
                <a:lnTo>
                  <a:pt x="3436109" y="372495"/>
                </a:lnTo>
                <a:lnTo>
                  <a:pt x="3434769" y="386017"/>
                </a:lnTo>
                <a:lnTo>
                  <a:pt x="3432855" y="400080"/>
                </a:lnTo>
                <a:lnTo>
                  <a:pt x="3430941" y="414684"/>
                </a:lnTo>
                <a:lnTo>
                  <a:pt x="3428453" y="430010"/>
                </a:lnTo>
                <a:lnTo>
                  <a:pt x="3425582" y="445695"/>
                </a:lnTo>
                <a:lnTo>
                  <a:pt x="3422137" y="461742"/>
                </a:lnTo>
                <a:lnTo>
                  <a:pt x="3417543" y="478149"/>
                </a:lnTo>
                <a:lnTo>
                  <a:pt x="3412184" y="494917"/>
                </a:lnTo>
                <a:lnTo>
                  <a:pt x="3406442" y="511684"/>
                </a:lnTo>
                <a:lnTo>
                  <a:pt x="3399743" y="528452"/>
                </a:lnTo>
                <a:lnTo>
                  <a:pt x="3392470" y="545400"/>
                </a:lnTo>
                <a:lnTo>
                  <a:pt x="3384623" y="562348"/>
                </a:lnTo>
                <a:lnTo>
                  <a:pt x="3376202" y="579116"/>
                </a:lnTo>
                <a:lnTo>
                  <a:pt x="3367589" y="595883"/>
                </a:lnTo>
                <a:lnTo>
                  <a:pt x="3358402" y="612471"/>
                </a:lnTo>
                <a:lnTo>
                  <a:pt x="3349215" y="628878"/>
                </a:lnTo>
                <a:lnTo>
                  <a:pt x="3339645" y="645285"/>
                </a:lnTo>
                <a:lnTo>
                  <a:pt x="3330075" y="661151"/>
                </a:lnTo>
                <a:lnTo>
                  <a:pt x="3320123" y="676656"/>
                </a:lnTo>
                <a:lnTo>
                  <a:pt x="3310361" y="691621"/>
                </a:lnTo>
                <a:lnTo>
                  <a:pt x="3300409" y="706406"/>
                </a:lnTo>
                <a:lnTo>
                  <a:pt x="3290648" y="720649"/>
                </a:lnTo>
                <a:lnTo>
                  <a:pt x="3281078" y="734171"/>
                </a:lnTo>
                <a:lnTo>
                  <a:pt x="3271891" y="747153"/>
                </a:lnTo>
                <a:lnTo>
                  <a:pt x="3262704" y="759774"/>
                </a:lnTo>
                <a:lnTo>
                  <a:pt x="3245861" y="782311"/>
                </a:lnTo>
                <a:lnTo>
                  <a:pt x="3230741" y="801603"/>
                </a:lnTo>
                <a:lnTo>
                  <a:pt x="3218108" y="817469"/>
                </a:lnTo>
                <a:lnTo>
                  <a:pt x="3208539" y="829188"/>
                </a:lnTo>
                <a:lnTo>
                  <a:pt x="3202223" y="836580"/>
                </a:lnTo>
                <a:lnTo>
                  <a:pt x="3200309" y="839104"/>
                </a:lnTo>
                <a:lnTo>
                  <a:pt x="3203562" y="836580"/>
                </a:lnTo>
                <a:lnTo>
                  <a:pt x="3213324" y="829008"/>
                </a:lnTo>
                <a:lnTo>
                  <a:pt x="3229401" y="817288"/>
                </a:lnTo>
                <a:lnTo>
                  <a:pt x="3250646" y="801783"/>
                </a:lnTo>
                <a:lnTo>
                  <a:pt x="3263469" y="792768"/>
                </a:lnTo>
                <a:lnTo>
                  <a:pt x="3277250" y="783212"/>
                </a:lnTo>
                <a:lnTo>
                  <a:pt x="3292370" y="772755"/>
                </a:lnTo>
                <a:lnTo>
                  <a:pt x="3308256" y="761577"/>
                </a:lnTo>
                <a:lnTo>
                  <a:pt x="3325673" y="750038"/>
                </a:lnTo>
                <a:lnTo>
                  <a:pt x="3343664" y="738138"/>
                </a:lnTo>
                <a:lnTo>
                  <a:pt x="3362804" y="725517"/>
                </a:lnTo>
                <a:lnTo>
                  <a:pt x="3382709" y="712896"/>
                </a:lnTo>
                <a:lnTo>
                  <a:pt x="3403380" y="699915"/>
                </a:lnTo>
                <a:lnTo>
                  <a:pt x="3425008" y="686573"/>
                </a:lnTo>
                <a:lnTo>
                  <a:pt x="3447210" y="673231"/>
                </a:lnTo>
                <a:lnTo>
                  <a:pt x="3469986" y="659889"/>
                </a:lnTo>
                <a:lnTo>
                  <a:pt x="3493336" y="646547"/>
                </a:lnTo>
                <a:lnTo>
                  <a:pt x="3517452" y="633205"/>
                </a:lnTo>
                <a:lnTo>
                  <a:pt x="3541759" y="620043"/>
                </a:lnTo>
                <a:lnTo>
                  <a:pt x="3566641" y="607062"/>
                </a:lnTo>
                <a:lnTo>
                  <a:pt x="3591905" y="594261"/>
                </a:lnTo>
                <a:lnTo>
                  <a:pt x="3617169" y="582000"/>
                </a:lnTo>
                <a:lnTo>
                  <a:pt x="3643008" y="570101"/>
                </a:lnTo>
                <a:lnTo>
                  <a:pt x="3668846" y="558562"/>
                </a:lnTo>
                <a:lnTo>
                  <a:pt x="3694876" y="547744"/>
                </a:lnTo>
                <a:lnTo>
                  <a:pt x="3720906" y="537467"/>
                </a:lnTo>
                <a:lnTo>
                  <a:pt x="3746936" y="527731"/>
                </a:lnTo>
                <a:lnTo>
                  <a:pt x="3773157" y="518716"/>
                </a:lnTo>
                <a:lnTo>
                  <a:pt x="3798613" y="509340"/>
                </a:lnTo>
                <a:lnTo>
                  <a:pt x="3823877" y="498162"/>
                </a:lnTo>
                <a:lnTo>
                  <a:pt x="3848567" y="485541"/>
                </a:lnTo>
                <a:lnTo>
                  <a:pt x="3872300" y="471478"/>
                </a:lnTo>
                <a:lnTo>
                  <a:pt x="3895651" y="455972"/>
                </a:lnTo>
                <a:lnTo>
                  <a:pt x="3918235" y="439205"/>
                </a:lnTo>
                <a:lnTo>
                  <a:pt x="3940246" y="421355"/>
                </a:lnTo>
                <a:lnTo>
                  <a:pt x="3961682" y="402785"/>
                </a:lnTo>
                <a:lnTo>
                  <a:pt x="3982161" y="383313"/>
                </a:lnTo>
                <a:lnTo>
                  <a:pt x="4002258" y="363299"/>
                </a:lnTo>
                <a:lnTo>
                  <a:pt x="4021398" y="342565"/>
                </a:lnTo>
                <a:lnTo>
                  <a:pt x="4039772" y="321470"/>
                </a:lnTo>
                <a:lnTo>
                  <a:pt x="4057571" y="300195"/>
                </a:lnTo>
                <a:lnTo>
                  <a:pt x="4074415" y="278560"/>
                </a:lnTo>
                <a:lnTo>
                  <a:pt x="4090683" y="257285"/>
                </a:lnTo>
                <a:lnTo>
                  <a:pt x="4106186" y="236010"/>
                </a:lnTo>
                <a:lnTo>
                  <a:pt x="4120732" y="214734"/>
                </a:lnTo>
                <a:lnTo>
                  <a:pt x="4134513" y="194000"/>
                </a:lnTo>
                <a:lnTo>
                  <a:pt x="4147336" y="173987"/>
                </a:lnTo>
                <a:lnTo>
                  <a:pt x="4159394" y="154515"/>
                </a:lnTo>
                <a:lnTo>
                  <a:pt x="4170687" y="135944"/>
                </a:lnTo>
                <a:lnTo>
                  <a:pt x="4180831" y="118095"/>
                </a:lnTo>
                <a:lnTo>
                  <a:pt x="4190209" y="101508"/>
                </a:lnTo>
                <a:lnTo>
                  <a:pt x="4198630" y="86002"/>
                </a:lnTo>
                <a:lnTo>
                  <a:pt x="4206286" y="71759"/>
                </a:lnTo>
                <a:lnTo>
                  <a:pt x="4212985" y="58957"/>
                </a:lnTo>
                <a:lnTo>
                  <a:pt x="4218536" y="47959"/>
                </a:lnTo>
                <a:lnTo>
                  <a:pt x="4223129" y="38584"/>
                </a:lnTo>
                <a:lnTo>
                  <a:pt x="4229445" y="25602"/>
                </a:lnTo>
                <a:lnTo>
                  <a:pt x="4231359" y="20915"/>
                </a:lnTo>
                <a:lnTo>
                  <a:pt x="4231168" y="22898"/>
                </a:lnTo>
                <a:lnTo>
                  <a:pt x="4230019" y="28487"/>
                </a:lnTo>
                <a:lnTo>
                  <a:pt x="4227723" y="37863"/>
                </a:lnTo>
                <a:lnTo>
                  <a:pt x="4224660" y="50664"/>
                </a:lnTo>
                <a:lnTo>
                  <a:pt x="4222746" y="58236"/>
                </a:lnTo>
                <a:lnTo>
                  <a:pt x="4220450" y="66530"/>
                </a:lnTo>
                <a:lnTo>
                  <a:pt x="4217579" y="75725"/>
                </a:lnTo>
                <a:lnTo>
                  <a:pt x="4214708" y="85822"/>
                </a:lnTo>
                <a:lnTo>
                  <a:pt x="4211072" y="96639"/>
                </a:lnTo>
                <a:lnTo>
                  <a:pt x="4207053" y="107998"/>
                </a:lnTo>
                <a:lnTo>
                  <a:pt x="4202841" y="120439"/>
                </a:lnTo>
                <a:lnTo>
                  <a:pt x="4198057" y="133060"/>
                </a:lnTo>
                <a:lnTo>
                  <a:pt x="4192889" y="146762"/>
                </a:lnTo>
                <a:lnTo>
                  <a:pt x="4187147" y="161006"/>
                </a:lnTo>
                <a:lnTo>
                  <a:pt x="4180639" y="175790"/>
                </a:lnTo>
                <a:lnTo>
                  <a:pt x="4173940" y="191296"/>
                </a:lnTo>
                <a:lnTo>
                  <a:pt x="4166667" y="207342"/>
                </a:lnTo>
                <a:lnTo>
                  <a:pt x="4158629" y="223930"/>
                </a:lnTo>
                <a:lnTo>
                  <a:pt x="4150016" y="241238"/>
                </a:lnTo>
                <a:lnTo>
                  <a:pt x="4140829" y="258727"/>
                </a:lnTo>
                <a:lnTo>
                  <a:pt x="4131068" y="277117"/>
                </a:lnTo>
                <a:lnTo>
                  <a:pt x="4120732" y="295868"/>
                </a:lnTo>
                <a:lnTo>
                  <a:pt x="4109631" y="314980"/>
                </a:lnTo>
                <a:lnTo>
                  <a:pt x="4097574" y="334813"/>
                </a:lnTo>
                <a:lnTo>
                  <a:pt x="4085133" y="354826"/>
                </a:lnTo>
                <a:lnTo>
                  <a:pt x="4071735" y="375560"/>
                </a:lnTo>
                <a:lnTo>
                  <a:pt x="4057763" y="396474"/>
                </a:lnTo>
                <a:lnTo>
                  <a:pt x="4042834" y="417930"/>
                </a:lnTo>
                <a:lnTo>
                  <a:pt x="4026948" y="439024"/>
                </a:lnTo>
                <a:lnTo>
                  <a:pt x="4009531" y="459759"/>
                </a:lnTo>
                <a:lnTo>
                  <a:pt x="3990774" y="479591"/>
                </a:lnTo>
                <a:lnTo>
                  <a:pt x="3970678" y="499063"/>
                </a:lnTo>
                <a:lnTo>
                  <a:pt x="3949624" y="518175"/>
                </a:lnTo>
                <a:lnTo>
                  <a:pt x="3927422" y="536565"/>
                </a:lnTo>
                <a:lnTo>
                  <a:pt x="3904072" y="554775"/>
                </a:lnTo>
                <a:lnTo>
                  <a:pt x="3879765" y="572445"/>
                </a:lnTo>
                <a:lnTo>
                  <a:pt x="3854883" y="589573"/>
                </a:lnTo>
                <a:lnTo>
                  <a:pt x="3828853" y="606521"/>
                </a:lnTo>
                <a:lnTo>
                  <a:pt x="3802441" y="623288"/>
                </a:lnTo>
                <a:lnTo>
                  <a:pt x="3775454" y="639515"/>
                </a:lnTo>
                <a:lnTo>
                  <a:pt x="3747510" y="655922"/>
                </a:lnTo>
                <a:lnTo>
                  <a:pt x="3719566" y="671788"/>
                </a:lnTo>
                <a:lnTo>
                  <a:pt x="3690857" y="687655"/>
                </a:lnTo>
                <a:lnTo>
                  <a:pt x="3662339" y="703341"/>
                </a:lnTo>
                <a:lnTo>
                  <a:pt x="3603963" y="734532"/>
                </a:lnTo>
                <a:lnTo>
                  <a:pt x="3545587" y="765723"/>
                </a:lnTo>
                <a:lnTo>
                  <a:pt x="3516495" y="781409"/>
                </a:lnTo>
                <a:lnTo>
                  <a:pt x="3487594" y="797275"/>
                </a:lnTo>
                <a:lnTo>
                  <a:pt x="3458885" y="813142"/>
                </a:lnTo>
                <a:lnTo>
                  <a:pt x="3430558" y="829008"/>
                </a:lnTo>
                <a:lnTo>
                  <a:pt x="3402806" y="845415"/>
                </a:lnTo>
                <a:lnTo>
                  <a:pt x="3375436" y="861822"/>
                </a:lnTo>
                <a:lnTo>
                  <a:pt x="3348449" y="878590"/>
                </a:lnTo>
                <a:lnTo>
                  <a:pt x="3322419" y="895718"/>
                </a:lnTo>
                <a:lnTo>
                  <a:pt x="3296964" y="913207"/>
                </a:lnTo>
                <a:lnTo>
                  <a:pt x="3272465" y="931056"/>
                </a:lnTo>
                <a:lnTo>
                  <a:pt x="3248732" y="949266"/>
                </a:lnTo>
                <a:lnTo>
                  <a:pt x="3226147" y="968017"/>
                </a:lnTo>
                <a:lnTo>
                  <a:pt x="3204711" y="987489"/>
                </a:lnTo>
                <a:lnTo>
                  <a:pt x="3184997" y="1008404"/>
                </a:lnTo>
                <a:lnTo>
                  <a:pt x="3167006" y="1030580"/>
                </a:lnTo>
                <a:lnTo>
                  <a:pt x="3150354" y="1053658"/>
                </a:lnTo>
                <a:lnTo>
                  <a:pt x="3135043" y="1077458"/>
                </a:lnTo>
                <a:lnTo>
                  <a:pt x="3121262" y="1102339"/>
                </a:lnTo>
                <a:lnTo>
                  <a:pt x="3108821" y="1127761"/>
                </a:lnTo>
                <a:lnTo>
                  <a:pt x="3097338" y="1153724"/>
                </a:lnTo>
                <a:lnTo>
                  <a:pt x="3087385" y="1180047"/>
                </a:lnTo>
                <a:lnTo>
                  <a:pt x="3078198" y="1206911"/>
                </a:lnTo>
                <a:lnTo>
                  <a:pt x="3070542" y="1233776"/>
                </a:lnTo>
                <a:lnTo>
                  <a:pt x="3063652" y="1260460"/>
                </a:lnTo>
                <a:lnTo>
                  <a:pt x="3057527" y="1287324"/>
                </a:lnTo>
                <a:lnTo>
                  <a:pt x="3052742" y="1313828"/>
                </a:lnTo>
                <a:lnTo>
                  <a:pt x="3048532" y="1339971"/>
                </a:lnTo>
                <a:lnTo>
                  <a:pt x="3044895" y="1365753"/>
                </a:lnTo>
                <a:lnTo>
                  <a:pt x="3042024" y="1390995"/>
                </a:lnTo>
                <a:lnTo>
                  <a:pt x="3040110" y="1415335"/>
                </a:lnTo>
                <a:lnTo>
                  <a:pt x="3038579" y="1438774"/>
                </a:lnTo>
                <a:lnTo>
                  <a:pt x="3037431" y="1461491"/>
                </a:lnTo>
                <a:lnTo>
                  <a:pt x="3036665" y="1482947"/>
                </a:lnTo>
                <a:lnTo>
                  <a:pt x="3036474" y="1503320"/>
                </a:lnTo>
                <a:lnTo>
                  <a:pt x="3036474" y="1522432"/>
                </a:lnTo>
                <a:lnTo>
                  <a:pt x="3036856" y="1539921"/>
                </a:lnTo>
                <a:lnTo>
                  <a:pt x="3037431" y="1555787"/>
                </a:lnTo>
                <a:lnTo>
                  <a:pt x="3038005" y="1569850"/>
                </a:lnTo>
                <a:lnTo>
                  <a:pt x="3038770" y="1582291"/>
                </a:lnTo>
                <a:lnTo>
                  <a:pt x="3039344" y="1592748"/>
                </a:lnTo>
                <a:lnTo>
                  <a:pt x="3040684" y="1607172"/>
                </a:lnTo>
                <a:lnTo>
                  <a:pt x="3041258" y="1612220"/>
                </a:lnTo>
                <a:lnTo>
                  <a:pt x="3041833" y="1610237"/>
                </a:lnTo>
                <a:lnTo>
                  <a:pt x="3044321" y="1605008"/>
                </a:lnTo>
                <a:lnTo>
                  <a:pt x="3048340" y="1596354"/>
                </a:lnTo>
                <a:lnTo>
                  <a:pt x="3054273" y="1584274"/>
                </a:lnTo>
                <a:lnTo>
                  <a:pt x="3058101" y="1577062"/>
                </a:lnTo>
                <a:lnTo>
                  <a:pt x="3062503" y="1569129"/>
                </a:lnTo>
                <a:lnTo>
                  <a:pt x="3067671" y="1560294"/>
                </a:lnTo>
                <a:lnTo>
                  <a:pt x="3073413" y="1550558"/>
                </a:lnTo>
                <a:lnTo>
                  <a:pt x="3079920" y="1540101"/>
                </a:lnTo>
                <a:lnTo>
                  <a:pt x="3087002" y="1529103"/>
                </a:lnTo>
                <a:lnTo>
                  <a:pt x="3095041" y="1517203"/>
                </a:lnTo>
                <a:lnTo>
                  <a:pt x="3103654" y="1504582"/>
                </a:lnTo>
                <a:lnTo>
                  <a:pt x="3113223" y="1491240"/>
                </a:lnTo>
                <a:lnTo>
                  <a:pt x="3123367" y="1477177"/>
                </a:lnTo>
                <a:lnTo>
                  <a:pt x="3134660" y="1462573"/>
                </a:lnTo>
                <a:lnTo>
                  <a:pt x="3146718" y="1447068"/>
                </a:lnTo>
                <a:lnTo>
                  <a:pt x="3159924" y="1430841"/>
                </a:lnTo>
                <a:lnTo>
                  <a:pt x="3173896" y="1414073"/>
                </a:lnTo>
                <a:lnTo>
                  <a:pt x="3189016" y="1396584"/>
                </a:lnTo>
                <a:lnTo>
                  <a:pt x="3204902" y="1378554"/>
                </a:lnTo>
                <a:lnTo>
                  <a:pt x="3222128" y="1359804"/>
                </a:lnTo>
                <a:lnTo>
                  <a:pt x="3240310" y="1340512"/>
                </a:lnTo>
                <a:lnTo>
                  <a:pt x="3259641" y="1320499"/>
                </a:lnTo>
                <a:lnTo>
                  <a:pt x="3280121" y="1299764"/>
                </a:lnTo>
                <a:lnTo>
                  <a:pt x="3301557" y="1278670"/>
                </a:lnTo>
                <a:lnTo>
                  <a:pt x="3324525" y="1256854"/>
                </a:lnTo>
                <a:lnTo>
                  <a:pt x="3348449" y="1234497"/>
                </a:lnTo>
                <a:lnTo>
                  <a:pt x="3373905" y="1211779"/>
                </a:lnTo>
                <a:lnTo>
                  <a:pt x="3400318" y="1189603"/>
                </a:lnTo>
                <a:lnTo>
                  <a:pt x="3426922" y="1169590"/>
                </a:lnTo>
                <a:lnTo>
                  <a:pt x="3454291" y="1151380"/>
                </a:lnTo>
                <a:lnTo>
                  <a:pt x="3482044" y="1135333"/>
                </a:lnTo>
                <a:lnTo>
                  <a:pt x="3509987" y="1121090"/>
                </a:lnTo>
                <a:lnTo>
                  <a:pt x="3538314" y="1108289"/>
                </a:lnTo>
                <a:lnTo>
                  <a:pt x="3566449" y="1097471"/>
                </a:lnTo>
                <a:lnTo>
                  <a:pt x="3594776" y="1087735"/>
                </a:lnTo>
                <a:lnTo>
                  <a:pt x="3622911" y="1079802"/>
                </a:lnTo>
                <a:lnTo>
                  <a:pt x="3650855" y="1073131"/>
                </a:lnTo>
                <a:lnTo>
                  <a:pt x="3678799" y="1067722"/>
                </a:lnTo>
                <a:lnTo>
                  <a:pt x="3706169" y="1063575"/>
                </a:lnTo>
                <a:lnTo>
                  <a:pt x="3733155" y="1060149"/>
                </a:lnTo>
                <a:lnTo>
                  <a:pt x="3759568" y="1057986"/>
                </a:lnTo>
                <a:lnTo>
                  <a:pt x="3785406" y="1056724"/>
                </a:lnTo>
                <a:lnTo>
                  <a:pt x="3810479" y="1056363"/>
                </a:lnTo>
                <a:lnTo>
                  <a:pt x="3834787" y="1056543"/>
                </a:lnTo>
                <a:lnTo>
                  <a:pt x="3857946" y="1057445"/>
                </a:lnTo>
                <a:lnTo>
                  <a:pt x="3880530" y="1058887"/>
                </a:lnTo>
                <a:lnTo>
                  <a:pt x="3901775" y="1060690"/>
                </a:lnTo>
                <a:lnTo>
                  <a:pt x="3921872" y="1063034"/>
                </a:lnTo>
                <a:lnTo>
                  <a:pt x="3940629" y="1065558"/>
                </a:lnTo>
                <a:lnTo>
                  <a:pt x="3958237" y="1068263"/>
                </a:lnTo>
                <a:lnTo>
                  <a:pt x="3974314" y="1071147"/>
                </a:lnTo>
                <a:lnTo>
                  <a:pt x="3988669" y="1074032"/>
                </a:lnTo>
                <a:lnTo>
                  <a:pt x="4001684" y="1076737"/>
                </a:lnTo>
                <a:lnTo>
                  <a:pt x="4012785" y="1079261"/>
                </a:lnTo>
                <a:lnTo>
                  <a:pt x="4021972" y="1081424"/>
                </a:lnTo>
                <a:lnTo>
                  <a:pt x="4034604" y="1085030"/>
                </a:lnTo>
                <a:lnTo>
                  <a:pt x="4039198" y="1086292"/>
                </a:lnTo>
                <a:lnTo>
                  <a:pt x="4035370" y="1085932"/>
                </a:lnTo>
                <a:lnTo>
                  <a:pt x="4024077" y="1085211"/>
                </a:lnTo>
                <a:lnTo>
                  <a:pt x="4015847" y="1085030"/>
                </a:lnTo>
                <a:lnTo>
                  <a:pt x="4006086" y="1084850"/>
                </a:lnTo>
                <a:lnTo>
                  <a:pt x="3994794" y="1085030"/>
                </a:lnTo>
                <a:lnTo>
                  <a:pt x="3981587" y="1085211"/>
                </a:lnTo>
                <a:lnTo>
                  <a:pt x="3967424" y="1086112"/>
                </a:lnTo>
                <a:lnTo>
                  <a:pt x="3951347" y="1087194"/>
                </a:lnTo>
                <a:lnTo>
                  <a:pt x="3934312" y="1088816"/>
                </a:lnTo>
                <a:lnTo>
                  <a:pt x="3916130" y="1090980"/>
                </a:lnTo>
                <a:lnTo>
                  <a:pt x="3896416" y="1093865"/>
                </a:lnTo>
                <a:lnTo>
                  <a:pt x="3875745" y="1097110"/>
                </a:lnTo>
                <a:lnTo>
                  <a:pt x="3854118" y="1101618"/>
                </a:lnTo>
                <a:lnTo>
                  <a:pt x="3831341" y="1106846"/>
                </a:lnTo>
                <a:lnTo>
                  <a:pt x="3807608" y="1112976"/>
                </a:lnTo>
                <a:lnTo>
                  <a:pt x="3783110" y="1120008"/>
                </a:lnTo>
                <a:lnTo>
                  <a:pt x="3757845" y="1128121"/>
                </a:lnTo>
                <a:lnTo>
                  <a:pt x="3731624" y="1137677"/>
                </a:lnTo>
                <a:lnTo>
                  <a:pt x="3705020" y="1148134"/>
                </a:lnTo>
                <a:lnTo>
                  <a:pt x="3677651" y="1159854"/>
                </a:lnTo>
                <a:lnTo>
                  <a:pt x="3649515" y="1173015"/>
                </a:lnTo>
                <a:lnTo>
                  <a:pt x="3621380" y="1187619"/>
                </a:lnTo>
                <a:lnTo>
                  <a:pt x="3592479" y="1203666"/>
                </a:lnTo>
                <a:lnTo>
                  <a:pt x="3563387" y="1221515"/>
                </a:lnTo>
                <a:lnTo>
                  <a:pt x="3534103" y="1240807"/>
                </a:lnTo>
                <a:lnTo>
                  <a:pt x="3504246" y="1261902"/>
                </a:lnTo>
                <a:lnTo>
                  <a:pt x="3474579" y="1284800"/>
                </a:lnTo>
                <a:lnTo>
                  <a:pt x="3444721" y="1309501"/>
                </a:lnTo>
                <a:lnTo>
                  <a:pt x="3414864" y="1336185"/>
                </a:lnTo>
                <a:lnTo>
                  <a:pt x="3385006" y="1365032"/>
                </a:lnTo>
                <a:lnTo>
                  <a:pt x="3356296" y="1394240"/>
                </a:lnTo>
                <a:lnTo>
                  <a:pt x="3329118" y="1422908"/>
                </a:lnTo>
                <a:lnTo>
                  <a:pt x="3304237" y="1451034"/>
                </a:lnTo>
                <a:lnTo>
                  <a:pt x="3280886" y="1478259"/>
                </a:lnTo>
                <a:lnTo>
                  <a:pt x="3259450" y="1505123"/>
                </a:lnTo>
                <a:lnTo>
                  <a:pt x="3239545" y="1531447"/>
                </a:lnTo>
                <a:lnTo>
                  <a:pt x="3221362" y="1557410"/>
                </a:lnTo>
                <a:lnTo>
                  <a:pt x="3204711" y="1582651"/>
                </a:lnTo>
                <a:lnTo>
                  <a:pt x="3189590" y="1607532"/>
                </a:lnTo>
                <a:lnTo>
                  <a:pt x="3176001" y="1632233"/>
                </a:lnTo>
                <a:lnTo>
                  <a:pt x="3163752" y="1656573"/>
                </a:lnTo>
                <a:lnTo>
                  <a:pt x="3153034" y="1680733"/>
                </a:lnTo>
                <a:lnTo>
                  <a:pt x="3143464" y="1704352"/>
                </a:lnTo>
                <a:lnTo>
                  <a:pt x="3135043" y="1727971"/>
                </a:lnTo>
                <a:lnTo>
                  <a:pt x="3127769" y="1751590"/>
                </a:lnTo>
                <a:lnTo>
                  <a:pt x="3121645" y="1774848"/>
                </a:lnTo>
                <a:lnTo>
                  <a:pt x="3116669" y="1798287"/>
                </a:lnTo>
                <a:lnTo>
                  <a:pt x="3112649" y="1821545"/>
                </a:lnTo>
                <a:lnTo>
                  <a:pt x="3109587" y="1844804"/>
                </a:lnTo>
                <a:lnTo>
                  <a:pt x="3107482" y="1868242"/>
                </a:lnTo>
                <a:lnTo>
                  <a:pt x="3106142" y="1891681"/>
                </a:lnTo>
                <a:lnTo>
                  <a:pt x="3105376" y="1915300"/>
                </a:lnTo>
                <a:lnTo>
                  <a:pt x="3105567" y="1939280"/>
                </a:lnTo>
                <a:lnTo>
                  <a:pt x="3106525" y="1963259"/>
                </a:lnTo>
                <a:lnTo>
                  <a:pt x="3107864" y="1987599"/>
                </a:lnTo>
                <a:lnTo>
                  <a:pt x="3109778" y="2012300"/>
                </a:lnTo>
                <a:lnTo>
                  <a:pt x="3112266" y="2037181"/>
                </a:lnTo>
                <a:lnTo>
                  <a:pt x="3115137" y="2062783"/>
                </a:lnTo>
                <a:lnTo>
                  <a:pt x="3118582" y="2088386"/>
                </a:lnTo>
                <a:lnTo>
                  <a:pt x="3122028" y="2114889"/>
                </a:lnTo>
                <a:lnTo>
                  <a:pt x="3125855" y="2141754"/>
                </a:lnTo>
                <a:lnTo>
                  <a:pt x="3130066" y="2169339"/>
                </a:lnTo>
                <a:lnTo>
                  <a:pt x="3139253" y="2231181"/>
                </a:lnTo>
                <a:lnTo>
                  <a:pt x="3150354" y="2304923"/>
                </a:lnTo>
                <a:lnTo>
                  <a:pt x="3162412" y="2388040"/>
                </a:lnTo>
                <a:lnTo>
                  <a:pt x="3175810" y="2478549"/>
                </a:lnTo>
                <a:lnTo>
                  <a:pt x="3189782" y="2574107"/>
                </a:lnTo>
                <a:lnTo>
                  <a:pt x="3204519" y="2672730"/>
                </a:lnTo>
                <a:lnTo>
                  <a:pt x="3218874" y="2772254"/>
                </a:lnTo>
                <a:lnTo>
                  <a:pt x="3233420" y="2870336"/>
                </a:lnTo>
                <a:lnTo>
                  <a:pt x="3247392" y="2964992"/>
                </a:lnTo>
                <a:lnTo>
                  <a:pt x="3260407" y="3054239"/>
                </a:lnTo>
                <a:lnTo>
                  <a:pt x="3272273" y="3135373"/>
                </a:lnTo>
                <a:lnTo>
                  <a:pt x="3282800" y="3206771"/>
                </a:lnTo>
                <a:lnTo>
                  <a:pt x="3291413" y="3266088"/>
                </a:lnTo>
                <a:lnTo>
                  <a:pt x="3298112" y="3310982"/>
                </a:lnTo>
                <a:lnTo>
                  <a:pt x="3302323" y="3339469"/>
                </a:lnTo>
                <a:lnTo>
                  <a:pt x="3303662" y="3349566"/>
                </a:lnTo>
                <a:lnTo>
                  <a:pt x="12192000" y="3349566"/>
                </a:lnTo>
                <a:lnTo>
                  <a:pt x="12192000" y="5038666"/>
                </a:lnTo>
                <a:lnTo>
                  <a:pt x="0" y="5038666"/>
                </a:lnTo>
                <a:lnTo>
                  <a:pt x="0" y="3349566"/>
                </a:lnTo>
                <a:lnTo>
                  <a:pt x="2501713" y="3349566"/>
                </a:lnTo>
                <a:lnTo>
                  <a:pt x="2504584" y="3347763"/>
                </a:lnTo>
                <a:lnTo>
                  <a:pt x="2512431" y="3341994"/>
                </a:lnTo>
                <a:lnTo>
                  <a:pt x="2518364" y="3337847"/>
                </a:lnTo>
                <a:lnTo>
                  <a:pt x="2524872" y="3332438"/>
                </a:lnTo>
                <a:lnTo>
                  <a:pt x="2532910" y="3326308"/>
                </a:lnTo>
                <a:lnTo>
                  <a:pt x="2541715" y="3318916"/>
                </a:lnTo>
                <a:lnTo>
                  <a:pt x="2551093" y="3310802"/>
                </a:lnTo>
                <a:lnTo>
                  <a:pt x="2561620" y="3301427"/>
                </a:lnTo>
                <a:lnTo>
                  <a:pt x="2572529" y="3291150"/>
                </a:lnTo>
                <a:lnTo>
                  <a:pt x="2584204" y="3279791"/>
                </a:lnTo>
                <a:lnTo>
                  <a:pt x="2596454" y="3267531"/>
                </a:lnTo>
                <a:lnTo>
                  <a:pt x="2609277" y="3253828"/>
                </a:lnTo>
                <a:lnTo>
                  <a:pt x="2622292" y="3239404"/>
                </a:lnTo>
                <a:lnTo>
                  <a:pt x="2635690" y="3223719"/>
                </a:lnTo>
                <a:lnTo>
                  <a:pt x="2649279" y="3206951"/>
                </a:lnTo>
                <a:lnTo>
                  <a:pt x="2662868" y="3189282"/>
                </a:lnTo>
                <a:lnTo>
                  <a:pt x="2677032" y="3170350"/>
                </a:lnTo>
                <a:lnTo>
                  <a:pt x="2690812" y="3150337"/>
                </a:lnTo>
                <a:lnTo>
                  <a:pt x="2704593" y="3129062"/>
                </a:lnTo>
                <a:lnTo>
                  <a:pt x="2718373" y="3106886"/>
                </a:lnTo>
                <a:lnTo>
                  <a:pt x="2731580" y="3083267"/>
                </a:lnTo>
                <a:lnTo>
                  <a:pt x="2744786" y="3058746"/>
                </a:lnTo>
                <a:lnTo>
                  <a:pt x="2757609" y="3032964"/>
                </a:lnTo>
                <a:lnTo>
                  <a:pt x="2770050" y="3006099"/>
                </a:lnTo>
                <a:lnTo>
                  <a:pt x="2781917" y="2977793"/>
                </a:lnTo>
                <a:lnTo>
                  <a:pt x="2793018" y="2948404"/>
                </a:lnTo>
                <a:lnTo>
                  <a:pt x="2803544" y="2917754"/>
                </a:lnTo>
                <a:lnTo>
                  <a:pt x="2813306" y="2885841"/>
                </a:lnTo>
                <a:lnTo>
                  <a:pt x="2822493" y="2853027"/>
                </a:lnTo>
                <a:lnTo>
                  <a:pt x="2830531" y="2818590"/>
                </a:lnTo>
                <a:lnTo>
                  <a:pt x="2837804" y="2783432"/>
                </a:lnTo>
                <a:lnTo>
                  <a:pt x="2844503" y="2748274"/>
                </a:lnTo>
                <a:lnTo>
                  <a:pt x="2850819" y="2712936"/>
                </a:lnTo>
                <a:lnTo>
                  <a:pt x="2856370" y="2677598"/>
                </a:lnTo>
                <a:lnTo>
                  <a:pt x="2861155" y="2642259"/>
                </a:lnTo>
                <a:lnTo>
                  <a:pt x="2865940" y="2606921"/>
                </a:lnTo>
                <a:lnTo>
                  <a:pt x="2869768" y="2572124"/>
                </a:lnTo>
                <a:lnTo>
                  <a:pt x="2873404" y="2537326"/>
                </a:lnTo>
                <a:lnTo>
                  <a:pt x="2876658" y="2503250"/>
                </a:lnTo>
                <a:lnTo>
                  <a:pt x="2879337" y="2469534"/>
                </a:lnTo>
                <a:lnTo>
                  <a:pt x="2881825" y="2436179"/>
                </a:lnTo>
                <a:lnTo>
                  <a:pt x="2883931" y="2403726"/>
                </a:lnTo>
                <a:lnTo>
                  <a:pt x="2885462" y="2371993"/>
                </a:lnTo>
                <a:lnTo>
                  <a:pt x="2886802" y="2340982"/>
                </a:lnTo>
                <a:lnTo>
                  <a:pt x="2887759" y="2311053"/>
                </a:lnTo>
                <a:lnTo>
                  <a:pt x="2888716" y="2281845"/>
                </a:lnTo>
                <a:lnTo>
                  <a:pt x="2889481" y="2254079"/>
                </a:lnTo>
                <a:lnTo>
                  <a:pt x="2889673" y="2227215"/>
                </a:lnTo>
                <a:lnTo>
                  <a:pt x="2889864" y="2201793"/>
                </a:lnTo>
                <a:lnTo>
                  <a:pt x="2889864" y="2177633"/>
                </a:lnTo>
                <a:lnTo>
                  <a:pt x="2889673" y="2155096"/>
                </a:lnTo>
                <a:lnTo>
                  <a:pt x="2889481" y="2133820"/>
                </a:lnTo>
                <a:lnTo>
                  <a:pt x="2889098" y="2114168"/>
                </a:lnTo>
                <a:lnTo>
                  <a:pt x="2888716" y="2096499"/>
                </a:lnTo>
                <a:lnTo>
                  <a:pt x="2887759" y="2066029"/>
                </a:lnTo>
                <a:lnTo>
                  <a:pt x="2886993" y="2043672"/>
                </a:lnTo>
                <a:lnTo>
                  <a:pt x="2886228" y="2029609"/>
                </a:lnTo>
                <a:lnTo>
                  <a:pt x="2886036" y="2024741"/>
                </a:lnTo>
                <a:lnTo>
                  <a:pt x="2879912" y="2023839"/>
                </a:lnTo>
                <a:lnTo>
                  <a:pt x="2862112" y="2020594"/>
                </a:lnTo>
                <a:lnTo>
                  <a:pt x="2849480" y="2017889"/>
                </a:lnTo>
                <a:lnTo>
                  <a:pt x="2834359" y="2014644"/>
                </a:lnTo>
                <a:lnTo>
                  <a:pt x="2816751" y="2010317"/>
                </a:lnTo>
                <a:lnTo>
                  <a:pt x="2797420" y="2005088"/>
                </a:lnTo>
                <a:lnTo>
                  <a:pt x="2775983" y="1999138"/>
                </a:lnTo>
                <a:lnTo>
                  <a:pt x="2753207" y="1991746"/>
                </a:lnTo>
                <a:lnTo>
                  <a:pt x="2728517" y="1983633"/>
                </a:lnTo>
                <a:lnTo>
                  <a:pt x="2702487" y="1973897"/>
                </a:lnTo>
                <a:lnTo>
                  <a:pt x="2675501" y="1963259"/>
                </a:lnTo>
                <a:lnTo>
                  <a:pt x="2647174" y="1951359"/>
                </a:lnTo>
                <a:lnTo>
                  <a:pt x="2617890" y="1937657"/>
                </a:lnTo>
                <a:lnTo>
                  <a:pt x="2588033" y="1922872"/>
                </a:lnTo>
                <a:lnTo>
                  <a:pt x="2557409" y="1906465"/>
                </a:lnTo>
                <a:lnTo>
                  <a:pt x="2526594" y="1888255"/>
                </a:lnTo>
                <a:lnTo>
                  <a:pt x="2495397" y="1868603"/>
                </a:lnTo>
                <a:lnTo>
                  <a:pt x="2464391" y="1847328"/>
                </a:lnTo>
                <a:lnTo>
                  <a:pt x="2433002" y="1824069"/>
                </a:lnTo>
                <a:lnTo>
                  <a:pt x="2401996" y="1799008"/>
                </a:lnTo>
                <a:lnTo>
                  <a:pt x="2371564" y="1771783"/>
                </a:lnTo>
                <a:lnTo>
                  <a:pt x="2341897" y="1742575"/>
                </a:lnTo>
                <a:lnTo>
                  <a:pt x="2312614" y="1711384"/>
                </a:lnTo>
                <a:lnTo>
                  <a:pt x="2284287" y="1678209"/>
                </a:lnTo>
                <a:lnTo>
                  <a:pt x="2257109" y="1642690"/>
                </a:lnTo>
                <a:lnTo>
                  <a:pt x="2231270" y="1604828"/>
                </a:lnTo>
                <a:lnTo>
                  <a:pt x="2206771" y="1564621"/>
                </a:lnTo>
                <a:lnTo>
                  <a:pt x="2183612" y="1522252"/>
                </a:lnTo>
                <a:lnTo>
                  <a:pt x="2162559" y="1476997"/>
                </a:lnTo>
                <a:lnTo>
                  <a:pt x="2143036" y="1429218"/>
                </a:lnTo>
                <a:lnTo>
                  <a:pt x="2123897" y="1380898"/>
                </a:lnTo>
                <a:lnTo>
                  <a:pt x="2103226" y="1333480"/>
                </a:lnTo>
                <a:lnTo>
                  <a:pt x="2081216" y="1287504"/>
                </a:lnTo>
                <a:lnTo>
                  <a:pt x="2058057" y="1242430"/>
                </a:lnTo>
                <a:lnTo>
                  <a:pt x="2033941" y="1198798"/>
                </a:lnTo>
                <a:lnTo>
                  <a:pt x="2008485" y="1156248"/>
                </a:lnTo>
                <a:lnTo>
                  <a:pt x="1982455" y="1114960"/>
                </a:lnTo>
                <a:lnTo>
                  <a:pt x="1955851" y="1075294"/>
                </a:lnTo>
                <a:lnTo>
                  <a:pt x="1928673" y="1036530"/>
                </a:lnTo>
                <a:lnTo>
                  <a:pt x="1901112" y="999209"/>
                </a:lnTo>
                <a:lnTo>
                  <a:pt x="1873168" y="963149"/>
                </a:lnTo>
                <a:lnTo>
                  <a:pt x="1845416" y="928893"/>
                </a:lnTo>
                <a:lnTo>
                  <a:pt x="1817472" y="895538"/>
                </a:lnTo>
                <a:lnTo>
                  <a:pt x="1789719" y="863986"/>
                </a:lnTo>
                <a:lnTo>
                  <a:pt x="1762158" y="833876"/>
                </a:lnTo>
                <a:lnTo>
                  <a:pt x="1735172" y="805209"/>
                </a:lnTo>
                <a:lnTo>
                  <a:pt x="1708759" y="778164"/>
                </a:lnTo>
                <a:lnTo>
                  <a:pt x="1682920" y="752381"/>
                </a:lnTo>
                <a:lnTo>
                  <a:pt x="1658039" y="728582"/>
                </a:lnTo>
                <a:lnTo>
                  <a:pt x="1634114" y="706045"/>
                </a:lnTo>
                <a:lnTo>
                  <a:pt x="1611530" y="685491"/>
                </a:lnTo>
                <a:lnTo>
                  <a:pt x="1589902" y="666199"/>
                </a:lnTo>
                <a:lnTo>
                  <a:pt x="1569614" y="648710"/>
                </a:lnTo>
                <a:lnTo>
                  <a:pt x="1551049" y="633024"/>
                </a:lnTo>
                <a:lnTo>
                  <a:pt x="1534014" y="619322"/>
                </a:lnTo>
                <a:lnTo>
                  <a:pt x="1519085" y="607062"/>
                </a:lnTo>
                <a:lnTo>
                  <a:pt x="1505879" y="596604"/>
                </a:lnTo>
                <a:lnTo>
                  <a:pt x="1494778" y="588130"/>
                </a:lnTo>
                <a:lnTo>
                  <a:pt x="1479466" y="576772"/>
                </a:lnTo>
                <a:lnTo>
                  <a:pt x="1474107" y="572805"/>
                </a:lnTo>
                <a:lnTo>
                  <a:pt x="1480041" y="575870"/>
                </a:lnTo>
                <a:lnTo>
                  <a:pt x="1497649" y="585426"/>
                </a:lnTo>
                <a:lnTo>
                  <a:pt x="1510281" y="592277"/>
                </a:lnTo>
                <a:lnTo>
                  <a:pt x="1525210" y="600571"/>
                </a:lnTo>
                <a:lnTo>
                  <a:pt x="1542244" y="610487"/>
                </a:lnTo>
                <a:lnTo>
                  <a:pt x="1561384" y="621846"/>
                </a:lnTo>
                <a:lnTo>
                  <a:pt x="1582246" y="634467"/>
                </a:lnTo>
                <a:lnTo>
                  <a:pt x="1605022" y="648530"/>
                </a:lnTo>
                <a:lnTo>
                  <a:pt x="1629138" y="664036"/>
                </a:lnTo>
                <a:lnTo>
                  <a:pt x="1654785" y="680803"/>
                </a:lnTo>
                <a:lnTo>
                  <a:pt x="1681581" y="698833"/>
                </a:lnTo>
                <a:lnTo>
                  <a:pt x="1709525" y="718305"/>
                </a:lnTo>
                <a:lnTo>
                  <a:pt x="1738042" y="738859"/>
                </a:lnTo>
                <a:lnTo>
                  <a:pt x="1767518" y="760855"/>
                </a:lnTo>
                <a:lnTo>
                  <a:pt x="1797375" y="783933"/>
                </a:lnTo>
                <a:lnTo>
                  <a:pt x="1827807" y="808274"/>
                </a:lnTo>
                <a:lnTo>
                  <a:pt x="1858239" y="833876"/>
                </a:lnTo>
                <a:lnTo>
                  <a:pt x="1889054" y="860380"/>
                </a:lnTo>
                <a:lnTo>
                  <a:pt x="1919677" y="888326"/>
                </a:lnTo>
                <a:lnTo>
                  <a:pt x="1949918" y="917173"/>
                </a:lnTo>
                <a:lnTo>
                  <a:pt x="1979584" y="947103"/>
                </a:lnTo>
                <a:lnTo>
                  <a:pt x="2009059" y="978294"/>
                </a:lnTo>
                <a:lnTo>
                  <a:pt x="2037386" y="1010387"/>
                </a:lnTo>
                <a:lnTo>
                  <a:pt x="2064947" y="1043381"/>
                </a:lnTo>
                <a:lnTo>
                  <a:pt x="2091551" y="1077458"/>
                </a:lnTo>
                <a:lnTo>
                  <a:pt x="2116815" y="1112616"/>
                </a:lnTo>
                <a:lnTo>
                  <a:pt x="2140740" y="1148675"/>
                </a:lnTo>
                <a:lnTo>
                  <a:pt x="2162942" y="1185456"/>
                </a:lnTo>
                <a:lnTo>
                  <a:pt x="2183612" y="1223499"/>
                </a:lnTo>
                <a:lnTo>
                  <a:pt x="2202369" y="1262082"/>
                </a:lnTo>
                <a:lnTo>
                  <a:pt x="2220743" y="1300486"/>
                </a:lnTo>
                <a:lnTo>
                  <a:pt x="2240457" y="1336725"/>
                </a:lnTo>
                <a:lnTo>
                  <a:pt x="2261702" y="1370982"/>
                </a:lnTo>
                <a:lnTo>
                  <a:pt x="2284096" y="1403436"/>
                </a:lnTo>
                <a:lnTo>
                  <a:pt x="2307637" y="1434266"/>
                </a:lnTo>
                <a:lnTo>
                  <a:pt x="2331945" y="1463114"/>
                </a:lnTo>
                <a:lnTo>
                  <a:pt x="2357017" y="1490339"/>
                </a:lnTo>
                <a:lnTo>
                  <a:pt x="2382665" y="1515941"/>
                </a:lnTo>
                <a:lnTo>
                  <a:pt x="2409269" y="1539921"/>
                </a:lnTo>
                <a:lnTo>
                  <a:pt x="2435873" y="1562278"/>
                </a:lnTo>
                <a:lnTo>
                  <a:pt x="2462668" y="1583372"/>
                </a:lnTo>
                <a:lnTo>
                  <a:pt x="2489655" y="1602845"/>
                </a:lnTo>
                <a:lnTo>
                  <a:pt x="2516833" y="1620694"/>
                </a:lnTo>
                <a:lnTo>
                  <a:pt x="2543629" y="1637462"/>
                </a:lnTo>
                <a:lnTo>
                  <a:pt x="2570041" y="1652787"/>
                </a:lnTo>
                <a:lnTo>
                  <a:pt x="2596263" y="1667030"/>
                </a:lnTo>
                <a:lnTo>
                  <a:pt x="2621910" y="1679832"/>
                </a:lnTo>
                <a:lnTo>
                  <a:pt x="2646791" y="1691551"/>
                </a:lnTo>
                <a:lnTo>
                  <a:pt x="2670907" y="1702008"/>
                </a:lnTo>
                <a:lnTo>
                  <a:pt x="2694066" y="1711564"/>
                </a:lnTo>
                <a:lnTo>
                  <a:pt x="2716077" y="1720038"/>
                </a:lnTo>
                <a:lnTo>
                  <a:pt x="2736939" y="1727610"/>
                </a:lnTo>
                <a:lnTo>
                  <a:pt x="2756461" y="1734101"/>
                </a:lnTo>
                <a:lnTo>
                  <a:pt x="2774452" y="1739690"/>
                </a:lnTo>
                <a:lnTo>
                  <a:pt x="2790912" y="1744198"/>
                </a:lnTo>
                <a:lnTo>
                  <a:pt x="2805458" y="1748525"/>
                </a:lnTo>
                <a:lnTo>
                  <a:pt x="2818282" y="1751590"/>
                </a:lnTo>
                <a:lnTo>
                  <a:pt x="2829000" y="1754114"/>
                </a:lnTo>
                <a:lnTo>
                  <a:pt x="2843929" y="1757540"/>
                </a:lnTo>
                <a:lnTo>
                  <a:pt x="2848905" y="1758261"/>
                </a:lnTo>
                <a:lnTo>
                  <a:pt x="2834359" y="1462212"/>
                </a:lnTo>
                <a:lnTo>
                  <a:pt x="2833785" y="1462032"/>
                </a:lnTo>
                <a:lnTo>
                  <a:pt x="2832828" y="1460770"/>
                </a:lnTo>
                <a:lnTo>
                  <a:pt x="2830531" y="1458787"/>
                </a:lnTo>
                <a:lnTo>
                  <a:pt x="2827469" y="1455181"/>
                </a:lnTo>
                <a:lnTo>
                  <a:pt x="2823450" y="1449952"/>
                </a:lnTo>
                <a:lnTo>
                  <a:pt x="2818473" y="1443101"/>
                </a:lnTo>
                <a:lnTo>
                  <a:pt x="2812349" y="1434086"/>
                </a:lnTo>
                <a:lnTo>
                  <a:pt x="2805267" y="1422727"/>
                </a:lnTo>
                <a:lnTo>
                  <a:pt x="2796654" y="1408844"/>
                </a:lnTo>
                <a:lnTo>
                  <a:pt x="2787084" y="1392077"/>
                </a:lnTo>
                <a:lnTo>
                  <a:pt x="2776366" y="1372424"/>
                </a:lnTo>
                <a:lnTo>
                  <a:pt x="2764117" y="1349166"/>
                </a:lnTo>
                <a:lnTo>
                  <a:pt x="2757418" y="1336545"/>
                </a:lnTo>
                <a:lnTo>
                  <a:pt x="2750528" y="1322662"/>
                </a:lnTo>
                <a:lnTo>
                  <a:pt x="2743255" y="1307878"/>
                </a:lnTo>
                <a:lnTo>
                  <a:pt x="2735599" y="1292012"/>
                </a:lnTo>
                <a:lnTo>
                  <a:pt x="2727560" y="1275424"/>
                </a:lnTo>
                <a:lnTo>
                  <a:pt x="2719139" y="1257575"/>
                </a:lnTo>
                <a:lnTo>
                  <a:pt x="2710335" y="1238644"/>
                </a:lnTo>
                <a:lnTo>
                  <a:pt x="2701148" y="1218631"/>
                </a:lnTo>
                <a:lnTo>
                  <a:pt x="2692343" y="1198798"/>
                </a:lnTo>
                <a:lnTo>
                  <a:pt x="2683922" y="1179867"/>
                </a:lnTo>
                <a:lnTo>
                  <a:pt x="2676266" y="1161837"/>
                </a:lnTo>
                <a:lnTo>
                  <a:pt x="2669184" y="1144889"/>
                </a:lnTo>
                <a:lnTo>
                  <a:pt x="2662677" y="1128843"/>
                </a:lnTo>
                <a:lnTo>
                  <a:pt x="2656552" y="1113337"/>
                </a:lnTo>
                <a:lnTo>
                  <a:pt x="2651002" y="1098192"/>
                </a:lnTo>
                <a:lnTo>
                  <a:pt x="2645834" y="1083588"/>
                </a:lnTo>
                <a:lnTo>
                  <a:pt x="2641049" y="1069344"/>
                </a:lnTo>
                <a:lnTo>
                  <a:pt x="2636456" y="1055281"/>
                </a:lnTo>
                <a:lnTo>
                  <a:pt x="2632245" y="1041579"/>
                </a:lnTo>
                <a:lnTo>
                  <a:pt x="2628226" y="1027515"/>
                </a:lnTo>
                <a:lnTo>
                  <a:pt x="2624589" y="1013452"/>
                </a:lnTo>
                <a:lnTo>
                  <a:pt x="2620761" y="999028"/>
                </a:lnTo>
                <a:lnTo>
                  <a:pt x="2616933" y="984424"/>
                </a:lnTo>
                <a:lnTo>
                  <a:pt x="2613488" y="969279"/>
                </a:lnTo>
                <a:lnTo>
                  <a:pt x="2606024" y="937006"/>
                </a:lnTo>
                <a:lnTo>
                  <a:pt x="2598368" y="901668"/>
                </a:lnTo>
                <a:lnTo>
                  <a:pt x="2589372" y="862183"/>
                </a:lnTo>
                <a:lnTo>
                  <a:pt x="2579611" y="817649"/>
                </a:lnTo>
                <a:lnTo>
                  <a:pt x="2568127" y="766986"/>
                </a:lnTo>
                <a:lnTo>
                  <a:pt x="2554538" y="709831"/>
                </a:lnTo>
                <a:lnTo>
                  <a:pt x="2546882" y="678279"/>
                </a:lnTo>
                <a:lnTo>
                  <a:pt x="2538652" y="644744"/>
                </a:lnTo>
                <a:lnTo>
                  <a:pt x="2529848" y="609045"/>
                </a:lnTo>
                <a:lnTo>
                  <a:pt x="2520087" y="571182"/>
                </a:lnTo>
                <a:lnTo>
                  <a:pt x="2508986" y="532779"/>
                </a:lnTo>
                <a:lnTo>
                  <a:pt x="2495397" y="496179"/>
                </a:lnTo>
                <a:lnTo>
                  <a:pt x="2480085" y="461381"/>
                </a:lnTo>
                <a:lnTo>
                  <a:pt x="2462668" y="428207"/>
                </a:lnTo>
                <a:lnTo>
                  <a:pt x="2443911" y="396655"/>
                </a:lnTo>
                <a:lnTo>
                  <a:pt x="2423432" y="366725"/>
                </a:lnTo>
                <a:lnTo>
                  <a:pt x="2401421" y="338238"/>
                </a:lnTo>
                <a:lnTo>
                  <a:pt x="2378454" y="311554"/>
                </a:lnTo>
                <a:lnTo>
                  <a:pt x="2354338" y="286132"/>
                </a:lnTo>
                <a:lnTo>
                  <a:pt x="2329456" y="262333"/>
                </a:lnTo>
                <a:lnTo>
                  <a:pt x="2303809" y="239976"/>
                </a:lnTo>
                <a:lnTo>
                  <a:pt x="2277588" y="218701"/>
                </a:lnTo>
                <a:lnTo>
                  <a:pt x="2251175" y="199049"/>
                </a:lnTo>
                <a:lnTo>
                  <a:pt x="2224571" y="180839"/>
                </a:lnTo>
                <a:lnTo>
                  <a:pt x="2197776" y="163710"/>
                </a:lnTo>
                <a:lnTo>
                  <a:pt x="2171172" y="148024"/>
                </a:lnTo>
                <a:lnTo>
                  <a:pt x="2144951" y="133420"/>
                </a:lnTo>
                <a:lnTo>
                  <a:pt x="2119112" y="119898"/>
                </a:lnTo>
                <a:lnTo>
                  <a:pt x="2094231" y="107818"/>
                </a:lnTo>
                <a:lnTo>
                  <a:pt x="2069923" y="96639"/>
                </a:lnTo>
                <a:lnTo>
                  <a:pt x="2046573" y="86723"/>
                </a:lnTo>
                <a:lnTo>
                  <a:pt x="2024562" y="77708"/>
                </a:lnTo>
                <a:lnTo>
                  <a:pt x="2003700" y="69775"/>
                </a:lnTo>
                <a:lnTo>
                  <a:pt x="1984369" y="62744"/>
                </a:lnTo>
                <a:lnTo>
                  <a:pt x="1966569" y="56794"/>
                </a:lnTo>
                <a:lnTo>
                  <a:pt x="1950684" y="51746"/>
                </a:lnTo>
                <a:lnTo>
                  <a:pt x="1936712" y="47599"/>
                </a:lnTo>
                <a:lnTo>
                  <a:pt x="1925036" y="43993"/>
                </a:lnTo>
                <a:lnTo>
                  <a:pt x="1908576" y="39846"/>
                </a:lnTo>
                <a:lnTo>
                  <a:pt x="1903026" y="38223"/>
                </a:lnTo>
                <a:lnTo>
                  <a:pt x="1907045" y="38223"/>
                </a:lnTo>
                <a:lnTo>
                  <a:pt x="1918529" y="38764"/>
                </a:lnTo>
                <a:lnTo>
                  <a:pt x="1926950" y="39125"/>
                </a:lnTo>
                <a:lnTo>
                  <a:pt x="1936903" y="39485"/>
                </a:lnTo>
                <a:lnTo>
                  <a:pt x="1948387" y="40387"/>
                </a:lnTo>
                <a:lnTo>
                  <a:pt x="1961210" y="41469"/>
                </a:lnTo>
                <a:lnTo>
                  <a:pt x="1975182" y="42731"/>
                </a:lnTo>
                <a:lnTo>
                  <a:pt x="1990494" y="44353"/>
                </a:lnTo>
                <a:lnTo>
                  <a:pt x="2006763" y="46337"/>
                </a:lnTo>
                <a:lnTo>
                  <a:pt x="2024180" y="48861"/>
                </a:lnTo>
                <a:lnTo>
                  <a:pt x="2042362" y="51746"/>
                </a:lnTo>
                <a:lnTo>
                  <a:pt x="2060928" y="54810"/>
                </a:lnTo>
                <a:lnTo>
                  <a:pt x="2080450" y="58777"/>
                </a:lnTo>
                <a:lnTo>
                  <a:pt x="2100547" y="62924"/>
                </a:lnTo>
                <a:lnTo>
                  <a:pt x="2121026" y="67972"/>
                </a:lnTo>
                <a:lnTo>
                  <a:pt x="2141888" y="73742"/>
                </a:lnTo>
                <a:lnTo>
                  <a:pt x="2162942" y="79692"/>
                </a:lnTo>
                <a:lnTo>
                  <a:pt x="2183995" y="86723"/>
                </a:lnTo>
                <a:lnTo>
                  <a:pt x="2205240" y="94476"/>
                </a:lnTo>
                <a:lnTo>
                  <a:pt x="2226294" y="102770"/>
                </a:lnTo>
                <a:lnTo>
                  <a:pt x="2247156" y="111965"/>
                </a:lnTo>
                <a:lnTo>
                  <a:pt x="2267636" y="122061"/>
                </a:lnTo>
                <a:lnTo>
                  <a:pt x="2287923" y="132879"/>
                </a:lnTo>
                <a:lnTo>
                  <a:pt x="2307637" y="144599"/>
                </a:lnTo>
                <a:lnTo>
                  <a:pt x="2326777" y="157400"/>
                </a:lnTo>
                <a:lnTo>
                  <a:pt x="2344960" y="171283"/>
                </a:lnTo>
                <a:lnTo>
                  <a:pt x="2362568" y="186067"/>
                </a:lnTo>
                <a:lnTo>
                  <a:pt x="2379219" y="201753"/>
                </a:lnTo>
                <a:lnTo>
                  <a:pt x="2394723" y="218701"/>
                </a:lnTo>
                <a:lnTo>
                  <a:pt x="2409269" y="236731"/>
                </a:lnTo>
                <a:lnTo>
                  <a:pt x="2422666" y="255121"/>
                </a:lnTo>
                <a:lnTo>
                  <a:pt x="2435681" y="272970"/>
                </a:lnTo>
                <a:lnTo>
                  <a:pt x="2447930" y="290099"/>
                </a:lnTo>
                <a:lnTo>
                  <a:pt x="2459414" y="306866"/>
                </a:lnTo>
                <a:lnTo>
                  <a:pt x="2470515" y="323093"/>
                </a:lnTo>
                <a:lnTo>
                  <a:pt x="2480659" y="338779"/>
                </a:lnTo>
                <a:lnTo>
                  <a:pt x="2490803" y="353744"/>
                </a:lnTo>
                <a:lnTo>
                  <a:pt x="2499799" y="368528"/>
                </a:lnTo>
                <a:lnTo>
                  <a:pt x="2508603" y="382231"/>
                </a:lnTo>
                <a:lnTo>
                  <a:pt x="2516833" y="395933"/>
                </a:lnTo>
                <a:lnTo>
                  <a:pt x="2524298" y="408734"/>
                </a:lnTo>
                <a:lnTo>
                  <a:pt x="2531379" y="420995"/>
                </a:lnTo>
                <a:lnTo>
                  <a:pt x="2538078" y="432714"/>
                </a:lnTo>
                <a:lnTo>
                  <a:pt x="2544203" y="443892"/>
                </a:lnTo>
                <a:lnTo>
                  <a:pt x="2550136" y="454530"/>
                </a:lnTo>
                <a:lnTo>
                  <a:pt x="2555112" y="464266"/>
                </a:lnTo>
                <a:lnTo>
                  <a:pt x="2564491" y="482476"/>
                </a:lnTo>
                <a:lnTo>
                  <a:pt x="2572147" y="498523"/>
                </a:lnTo>
                <a:lnTo>
                  <a:pt x="2578080" y="512045"/>
                </a:lnTo>
                <a:lnTo>
                  <a:pt x="2582673" y="523223"/>
                </a:lnTo>
                <a:lnTo>
                  <a:pt x="2586310" y="531878"/>
                </a:lnTo>
                <a:lnTo>
                  <a:pt x="2588607" y="538188"/>
                </a:lnTo>
                <a:lnTo>
                  <a:pt x="2589946" y="541974"/>
                </a:lnTo>
                <a:lnTo>
                  <a:pt x="2590329" y="543236"/>
                </a:lnTo>
                <a:lnTo>
                  <a:pt x="2589946" y="541794"/>
                </a:lnTo>
                <a:lnTo>
                  <a:pt x="2588607" y="537647"/>
                </a:lnTo>
                <a:lnTo>
                  <a:pt x="2587650" y="534762"/>
                </a:lnTo>
                <a:lnTo>
                  <a:pt x="2586693" y="530976"/>
                </a:lnTo>
                <a:lnTo>
                  <a:pt x="2585927" y="526469"/>
                </a:lnTo>
                <a:lnTo>
                  <a:pt x="2584970" y="521420"/>
                </a:lnTo>
                <a:lnTo>
                  <a:pt x="2584013" y="515831"/>
                </a:lnTo>
                <a:lnTo>
                  <a:pt x="2583248" y="509521"/>
                </a:lnTo>
                <a:lnTo>
                  <a:pt x="2582482" y="502669"/>
                </a:lnTo>
                <a:lnTo>
                  <a:pt x="2582099" y="495097"/>
                </a:lnTo>
                <a:lnTo>
                  <a:pt x="2581908" y="486984"/>
                </a:lnTo>
                <a:lnTo>
                  <a:pt x="2581908" y="478149"/>
                </a:lnTo>
                <a:lnTo>
                  <a:pt x="2582291" y="468774"/>
                </a:lnTo>
                <a:lnTo>
                  <a:pt x="2583056" y="458677"/>
                </a:lnTo>
                <a:lnTo>
                  <a:pt x="2584013" y="448220"/>
                </a:lnTo>
                <a:lnTo>
                  <a:pt x="2585353" y="436861"/>
                </a:lnTo>
                <a:lnTo>
                  <a:pt x="2587458" y="425142"/>
                </a:lnTo>
                <a:lnTo>
                  <a:pt x="2590138" y="413062"/>
                </a:lnTo>
                <a:lnTo>
                  <a:pt x="2593009" y="400080"/>
                </a:lnTo>
                <a:lnTo>
                  <a:pt x="2596645" y="386738"/>
                </a:lnTo>
                <a:lnTo>
                  <a:pt x="2601047" y="372675"/>
                </a:lnTo>
                <a:lnTo>
                  <a:pt x="2605832" y="358071"/>
                </a:lnTo>
                <a:lnTo>
                  <a:pt x="2611574" y="342926"/>
                </a:lnTo>
                <a:lnTo>
                  <a:pt x="2618082" y="327420"/>
                </a:lnTo>
                <a:lnTo>
                  <a:pt x="2625355" y="311374"/>
                </a:lnTo>
                <a:lnTo>
                  <a:pt x="2633393" y="294606"/>
                </a:lnTo>
                <a:lnTo>
                  <a:pt x="2642580" y="277298"/>
                </a:lnTo>
                <a:lnTo>
                  <a:pt x="2652533" y="259809"/>
                </a:lnTo>
                <a:lnTo>
                  <a:pt x="2663443" y="241599"/>
                </a:lnTo>
                <a:lnTo>
                  <a:pt x="2675501" y="222668"/>
                </a:lnTo>
                <a:lnTo>
                  <a:pt x="2687941" y="204457"/>
                </a:lnTo>
                <a:lnTo>
                  <a:pt x="2700382" y="187149"/>
                </a:lnTo>
                <a:lnTo>
                  <a:pt x="2712823" y="170562"/>
                </a:lnTo>
                <a:lnTo>
                  <a:pt x="2725264" y="155417"/>
                </a:lnTo>
                <a:lnTo>
                  <a:pt x="2737321" y="140812"/>
                </a:lnTo>
                <a:lnTo>
                  <a:pt x="2749571" y="127290"/>
                </a:lnTo>
                <a:lnTo>
                  <a:pt x="2761629" y="114669"/>
                </a:lnTo>
                <a:lnTo>
                  <a:pt x="2773687" y="102770"/>
                </a:lnTo>
                <a:lnTo>
                  <a:pt x="2785362" y="91952"/>
                </a:lnTo>
                <a:lnTo>
                  <a:pt x="2797037" y="81675"/>
                </a:lnTo>
                <a:lnTo>
                  <a:pt x="2808138" y="72299"/>
                </a:lnTo>
                <a:lnTo>
                  <a:pt x="2819239" y="63645"/>
                </a:lnTo>
                <a:lnTo>
                  <a:pt x="2829766" y="55712"/>
                </a:lnTo>
                <a:lnTo>
                  <a:pt x="2840293" y="48320"/>
                </a:lnTo>
                <a:lnTo>
                  <a:pt x="2850437" y="41649"/>
                </a:lnTo>
                <a:lnTo>
                  <a:pt x="2860006" y="35519"/>
                </a:lnTo>
                <a:lnTo>
                  <a:pt x="2869385" y="30290"/>
                </a:lnTo>
                <a:lnTo>
                  <a:pt x="2878380" y="25242"/>
                </a:lnTo>
                <a:lnTo>
                  <a:pt x="2886993" y="21095"/>
                </a:lnTo>
                <a:lnTo>
                  <a:pt x="2895032" y="17128"/>
                </a:lnTo>
                <a:lnTo>
                  <a:pt x="2902305" y="13883"/>
                </a:lnTo>
                <a:lnTo>
                  <a:pt x="2909386" y="11179"/>
                </a:lnTo>
                <a:lnTo>
                  <a:pt x="2915894" y="8654"/>
                </a:lnTo>
                <a:lnTo>
                  <a:pt x="2921636" y="6491"/>
                </a:lnTo>
                <a:lnTo>
                  <a:pt x="2931588" y="3426"/>
                </a:lnTo>
                <a:lnTo>
                  <a:pt x="2938862" y="1262"/>
                </a:lnTo>
                <a:lnTo>
                  <a:pt x="2943646" y="180"/>
                </a:lnTo>
                <a:close/>
              </a:path>
            </a:pathLst>
          </a:custGeom>
          <a:solidFill>
            <a:schemeClr val="tx1">
              <a:lumMod val="85000"/>
              <a:lumOff val="15000"/>
            </a:schemeClr>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dirty="0">
              <a:ln>
                <a:noFill/>
              </a:ln>
              <a:solidFill>
                <a:srgbClr val="000000"/>
              </a:solidFill>
              <a:effectLst/>
              <a:uLnTx/>
              <a:uFillTx/>
              <a:latin typeface="等线 Light" panose="020F0302020204030204"/>
              <a:ea typeface="+mn-ea"/>
              <a:cs typeface="+mn-cs"/>
            </a:endParaRPr>
          </a:p>
        </p:txBody>
      </p:sp>
      <p:sp>
        <p:nvSpPr>
          <p:cNvPr id="13" name="TextBox 37">
            <a:extLst>
              <a:ext uri="{FF2B5EF4-FFF2-40B4-BE49-F238E27FC236}">
                <a16:creationId xmlns:a16="http://schemas.microsoft.com/office/drawing/2014/main" id="{90E58046-B64F-40BC-A274-C74DD6D249F2}"/>
              </a:ext>
            </a:extLst>
          </p:cNvPr>
          <p:cNvSpPr txBox="1"/>
          <p:nvPr/>
        </p:nvSpPr>
        <p:spPr>
          <a:xfrm>
            <a:off x="5702032" y="1742610"/>
            <a:ext cx="4619626" cy="132343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0" b="1" i="0" u="none" strike="noStrike" kern="1200" cap="none" spc="0" normalizeH="0" baseline="0" noProof="0" dirty="0">
                <a:ln>
                  <a:noFill/>
                </a:ln>
                <a:solidFill>
                  <a:srgbClr val="000000">
                    <a:lumMod val="85000"/>
                    <a:lumOff val="15000"/>
                  </a:srgbClr>
                </a:solidFill>
                <a:effectLst/>
                <a:uLnTx/>
                <a:uFillTx/>
                <a:latin typeface="等线 Light" panose="020F0302020204030204"/>
                <a:ea typeface="+mn-ea"/>
                <a:cs typeface="Arial" panose="020B0604020202020204" pitchFamily="34" charset="0"/>
              </a:rPr>
              <a:t>Your Title </a:t>
            </a:r>
            <a:r>
              <a:rPr kumimoji="0" lang="en-US" sz="4000" b="1" i="0" u="none" strike="noStrike" kern="1200" cap="none" spc="0" normalizeH="0" baseline="0" noProof="0">
                <a:ln>
                  <a:noFill/>
                </a:ln>
                <a:solidFill>
                  <a:srgbClr val="000000">
                    <a:lumMod val="85000"/>
                    <a:lumOff val="15000"/>
                  </a:srgbClr>
                </a:solidFill>
                <a:effectLst/>
                <a:uLnTx/>
                <a:uFillTx/>
                <a:latin typeface="等线 Light" panose="020F0302020204030204"/>
                <a:ea typeface="+mn-ea"/>
                <a:cs typeface="Arial" panose="020B0604020202020204" pitchFamily="34" charset="0"/>
              </a:rPr>
              <a:t>Tex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0" b="1" i="0" u="none" strike="noStrike" kern="1200" cap="none" spc="0" normalizeH="0" baseline="0" noProof="0">
                <a:ln>
                  <a:noFill/>
                </a:ln>
                <a:solidFill>
                  <a:srgbClr val="000000">
                    <a:lumMod val="85000"/>
                    <a:lumOff val="15000"/>
                  </a:srgbClr>
                </a:solidFill>
                <a:effectLst/>
                <a:uLnTx/>
                <a:uFillTx/>
                <a:latin typeface="等线 Light" panose="020F0302020204030204"/>
                <a:ea typeface="+mn-ea"/>
                <a:cs typeface="Arial" panose="020B0604020202020204" pitchFamily="34" charset="0"/>
              </a:rPr>
              <a:t>Goes </a:t>
            </a:r>
            <a:r>
              <a:rPr kumimoji="0" lang="en-US" sz="4000" b="1" i="0" u="none" strike="noStrike" kern="1200" cap="none" spc="0" normalizeH="0" baseline="0" noProof="0" dirty="0">
                <a:ln>
                  <a:noFill/>
                </a:ln>
                <a:solidFill>
                  <a:srgbClr val="000000">
                    <a:lumMod val="85000"/>
                    <a:lumOff val="15000"/>
                  </a:srgbClr>
                </a:solidFill>
                <a:effectLst/>
                <a:uLnTx/>
                <a:uFillTx/>
                <a:latin typeface="等线 Light" panose="020F0302020204030204"/>
                <a:ea typeface="+mn-ea"/>
                <a:cs typeface="Arial" panose="020B0604020202020204" pitchFamily="34" charset="0"/>
              </a:rPr>
              <a:t>Here</a:t>
            </a:r>
          </a:p>
        </p:txBody>
      </p:sp>
      <p:sp>
        <p:nvSpPr>
          <p:cNvPr id="14" name="TextBox 38">
            <a:extLst>
              <a:ext uri="{FF2B5EF4-FFF2-40B4-BE49-F238E27FC236}">
                <a16:creationId xmlns:a16="http://schemas.microsoft.com/office/drawing/2014/main" id="{0B6A01BD-8F5C-41FC-AE02-95DABCDBDA4A}"/>
              </a:ext>
            </a:extLst>
          </p:cNvPr>
          <p:cNvSpPr txBox="1"/>
          <p:nvPr/>
        </p:nvSpPr>
        <p:spPr>
          <a:xfrm>
            <a:off x="5749658" y="3177696"/>
            <a:ext cx="4572000" cy="1183466"/>
          </a:xfrm>
          <a:prstGeom prst="rect">
            <a:avLst/>
          </a:prstGeom>
          <a:noFill/>
        </p:spPr>
        <p:txBody>
          <a:bodyPr wrap="square" rtlCol="0">
            <a:spAutoFit/>
          </a:bodyPr>
          <a:lstStyle/>
          <a:p>
            <a:pPr marL="0" marR="0" lvl="0" indent="0" algn="just" defTabSz="914400" rtl="0" eaLnBrk="1" fontAlgn="auto" latinLnBrk="0" hangingPunct="1">
              <a:lnSpc>
                <a:spcPct val="13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000000">
                    <a:lumMod val="65000"/>
                    <a:lumOff val="35000"/>
                  </a:srgbClr>
                </a:solidFill>
                <a:effectLst/>
                <a:uLnTx/>
                <a:uFillTx/>
                <a:latin typeface="等线" panose="020F0502020204030204"/>
                <a:ea typeface="Open Sans" panose="020B0606030504020204" pitchFamily="34" charset="0"/>
                <a:cs typeface="Segoe UI" panose="020B0502040204020203" pitchFamily="34" charset="0"/>
              </a:rPr>
              <a:t>Leverage agile frameworks to provide a robust synopsis for high level overviews. Leverage agile frameworks to provide a robust synopsis for high level overviews.</a:t>
            </a:r>
          </a:p>
          <a:p>
            <a:pPr marL="0" marR="0" lvl="0" indent="0" algn="just" defTabSz="914400" rtl="0" eaLnBrk="1" fontAlgn="auto" latinLnBrk="0" hangingPunct="1">
              <a:lnSpc>
                <a:spcPct val="13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000000">
                  <a:lumMod val="65000"/>
                  <a:lumOff val="35000"/>
                </a:srgbClr>
              </a:solidFill>
              <a:effectLst/>
              <a:uLnTx/>
              <a:uFillTx/>
              <a:latin typeface="等线" panose="020F0502020204030204"/>
              <a:ea typeface="Open Sans" panose="020B0606030504020204" pitchFamily="34" charset="0"/>
              <a:cs typeface="Segoe UI" panose="020B0502040204020203" pitchFamily="34" charset="0"/>
            </a:endParaRPr>
          </a:p>
        </p:txBody>
      </p:sp>
      <p:sp>
        <p:nvSpPr>
          <p:cNvPr id="15" name="TextBox 77">
            <a:extLst>
              <a:ext uri="{FF2B5EF4-FFF2-40B4-BE49-F238E27FC236}">
                <a16:creationId xmlns:a16="http://schemas.microsoft.com/office/drawing/2014/main" id="{BE0089E7-DDA5-422A-9425-B7F648AC118F}"/>
              </a:ext>
            </a:extLst>
          </p:cNvPr>
          <p:cNvSpPr txBox="1"/>
          <p:nvPr/>
        </p:nvSpPr>
        <p:spPr>
          <a:xfrm>
            <a:off x="962707" y="5623683"/>
            <a:ext cx="1702796" cy="665888"/>
          </a:xfrm>
          <a:prstGeom prst="rect">
            <a:avLst/>
          </a:prstGeom>
        </p:spPr>
        <p:txBody>
          <a:bodyPr wrap="square" rtlCol="0">
            <a:spAutoFit/>
          </a:bodyPr>
          <a:lstStyle>
            <a:defPPr>
              <a:defRPr lang="en-US"/>
            </a:defPPr>
            <a:lvl1pPr>
              <a:lnSpc>
                <a:spcPct val="130000"/>
              </a:lnSpc>
              <a:defRPr sz="2000" b="1">
                <a:solidFill>
                  <a:schemeClr val="accent1"/>
                </a:solidFill>
                <a:latin typeface="Bahnschrift Condensed" panose="020B0502040204020203" pitchFamily="34" charset="0"/>
                <a:cs typeface="Poppins" panose="00000500000000000000" pitchFamily="2" charset="0"/>
              </a:defRPr>
            </a:lvl1pPr>
          </a:lstStyle>
          <a:p>
            <a:pPr marL="0" marR="0" lvl="0" indent="0" algn="l" defTabSz="914400" rtl="0" eaLnBrk="1" fontAlgn="auto" latinLnBrk="0" hangingPunct="1">
              <a:lnSpc>
                <a:spcPct val="130000"/>
              </a:lnSpc>
              <a:spcBef>
                <a:spcPts val="0"/>
              </a:spcBef>
              <a:spcAft>
                <a:spcPts val="0"/>
              </a:spcAft>
              <a:buClrTx/>
              <a:buSzTx/>
              <a:buFontTx/>
              <a:buNone/>
              <a:tabLst/>
              <a:defRPr/>
            </a:pPr>
            <a:r>
              <a:rPr kumimoji="0" lang="id-ID" sz="3200" b="1" i="0" u="none" strike="noStrike" kern="1200" cap="none" spc="0" normalizeH="0" baseline="0" noProof="0" dirty="0">
                <a:ln>
                  <a:noFill/>
                </a:ln>
                <a:solidFill>
                  <a:srgbClr val="FFFFFF"/>
                </a:solidFill>
                <a:effectLst/>
                <a:uLnTx/>
                <a:uFillTx/>
                <a:latin typeface="等线 Light" panose="020F0302020204030204"/>
                <a:ea typeface="+mn-ea"/>
                <a:cs typeface="Poppins" panose="00000500000000000000" pitchFamily="2" charset="0"/>
              </a:rPr>
              <a:t>+50K</a:t>
            </a:r>
          </a:p>
        </p:txBody>
      </p:sp>
      <p:sp>
        <p:nvSpPr>
          <p:cNvPr id="16" name="Rectangle 78">
            <a:extLst>
              <a:ext uri="{FF2B5EF4-FFF2-40B4-BE49-F238E27FC236}">
                <a16:creationId xmlns:a16="http://schemas.microsoft.com/office/drawing/2014/main" id="{01EDC85C-D156-465C-A396-232D23FF5933}"/>
              </a:ext>
            </a:extLst>
          </p:cNvPr>
          <p:cNvSpPr/>
          <p:nvPr/>
        </p:nvSpPr>
        <p:spPr>
          <a:xfrm>
            <a:off x="962705" y="6281329"/>
            <a:ext cx="2394521" cy="307456"/>
          </a:xfrm>
          <a:prstGeom prst="rect">
            <a:avLst/>
          </a:prstGeom>
        </p:spPr>
        <p:txBody>
          <a:bodyPr wrap="square">
            <a:spAutoFit/>
          </a:bodyPr>
          <a:lstStyle/>
          <a:p>
            <a:pPr marL="0" marR="0" lvl="0" indent="0" algn="l" defTabSz="914400" rtl="0" eaLnBrk="1" fontAlgn="auto" latinLnBrk="0" hangingPunct="1">
              <a:lnSpc>
                <a:spcPct val="13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等线" panose="020F0502020204030204"/>
                <a:ea typeface="Open Sans" panose="020B0606030504020204" pitchFamily="34" charset="0"/>
                <a:cs typeface="Segoe UI" panose="020B0502040204020203" pitchFamily="34" charset="0"/>
              </a:rPr>
              <a:t>A wonderful serenity has taken.</a:t>
            </a:r>
            <a:endParaRPr kumimoji="0" lang="id-ID" sz="1200" b="0" i="0" u="none" strike="noStrike" kern="1200" cap="none" spc="0" normalizeH="0" baseline="0" noProof="0" dirty="0">
              <a:ln>
                <a:noFill/>
              </a:ln>
              <a:solidFill>
                <a:srgbClr val="FFFFFF"/>
              </a:solidFill>
              <a:effectLst/>
              <a:uLnTx/>
              <a:uFillTx/>
              <a:latin typeface="等线" panose="020F0502020204030204"/>
              <a:ea typeface="Open Sans" panose="020B0606030504020204" pitchFamily="34" charset="0"/>
              <a:cs typeface="Segoe UI" panose="020B0502040204020203" pitchFamily="34" charset="0"/>
            </a:endParaRPr>
          </a:p>
        </p:txBody>
      </p:sp>
      <p:sp>
        <p:nvSpPr>
          <p:cNvPr id="17" name="TextBox 79">
            <a:extLst>
              <a:ext uri="{FF2B5EF4-FFF2-40B4-BE49-F238E27FC236}">
                <a16:creationId xmlns:a16="http://schemas.microsoft.com/office/drawing/2014/main" id="{63392CD5-D343-4EE0-942C-DE08BA2C37B6}"/>
              </a:ext>
            </a:extLst>
          </p:cNvPr>
          <p:cNvSpPr txBox="1"/>
          <p:nvPr/>
        </p:nvSpPr>
        <p:spPr>
          <a:xfrm>
            <a:off x="3545910" y="5623683"/>
            <a:ext cx="1304842" cy="665888"/>
          </a:xfrm>
          <a:prstGeom prst="rect">
            <a:avLst/>
          </a:prstGeom>
        </p:spPr>
        <p:txBody>
          <a:bodyPr wrap="square" rtlCol="0">
            <a:spAutoFit/>
          </a:bodyPr>
          <a:lstStyle>
            <a:defPPr>
              <a:defRPr lang="en-US"/>
            </a:defPPr>
            <a:lvl1pPr>
              <a:lnSpc>
                <a:spcPct val="130000"/>
              </a:lnSpc>
              <a:defRPr sz="2000" b="1">
                <a:solidFill>
                  <a:schemeClr val="accent1"/>
                </a:solidFill>
                <a:latin typeface="Bahnschrift Condensed" panose="020B0502040204020203" pitchFamily="34" charset="0"/>
                <a:cs typeface="Poppins" panose="00000500000000000000" pitchFamily="2" charset="0"/>
              </a:defRPr>
            </a:lvl1pPr>
          </a:lstStyle>
          <a:p>
            <a:pPr marL="0" marR="0" lvl="0" indent="0" algn="l" defTabSz="914400" rtl="0" eaLnBrk="1" fontAlgn="auto" latinLnBrk="0" hangingPunct="1">
              <a:lnSpc>
                <a:spcPct val="130000"/>
              </a:lnSpc>
              <a:spcBef>
                <a:spcPts val="0"/>
              </a:spcBef>
              <a:spcAft>
                <a:spcPts val="0"/>
              </a:spcAft>
              <a:buClrTx/>
              <a:buSzTx/>
              <a:buFontTx/>
              <a:buNone/>
              <a:tabLst/>
              <a:defRPr/>
            </a:pPr>
            <a:r>
              <a:rPr kumimoji="0" lang="id-ID" sz="3200" b="1" i="0" u="none" strike="noStrike" kern="1200" cap="none" spc="0" normalizeH="0" baseline="0" noProof="0" dirty="0">
                <a:ln>
                  <a:noFill/>
                </a:ln>
                <a:solidFill>
                  <a:srgbClr val="FFFFFF"/>
                </a:solidFill>
                <a:effectLst/>
                <a:uLnTx/>
                <a:uFillTx/>
                <a:latin typeface="等线 Light" panose="020F0302020204030204"/>
                <a:ea typeface="+mn-ea"/>
                <a:cs typeface="Poppins" panose="00000500000000000000" pitchFamily="2" charset="0"/>
              </a:rPr>
              <a:t>65%</a:t>
            </a:r>
          </a:p>
        </p:txBody>
      </p:sp>
      <p:sp>
        <p:nvSpPr>
          <p:cNvPr id="18" name="Rectangle 80">
            <a:extLst>
              <a:ext uri="{FF2B5EF4-FFF2-40B4-BE49-F238E27FC236}">
                <a16:creationId xmlns:a16="http://schemas.microsoft.com/office/drawing/2014/main" id="{1EC7C655-6942-48E6-9328-122F01B5DE8F}"/>
              </a:ext>
            </a:extLst>
          </p:cNvPr>
          <p:cNvSpPr/>
          <p:nvPr/>
        </p:nvSpPr>
        <p:spPr>
          <a:xfrm>
            <a:off x="3545908" y="6281329"/>
            <a:ext cx="2394521" cy="307456"/>
          </a:xfrm>
          <a:prstGeom prst="rect">
            <a:avLst/>
          </a:prstGeom>
        </p:spPr>
        <p:txBody>
          <a:bodyPr wrap="square">
            <a:spAutoFit/>
          </a:bodyPr>
          <a:lstStyle/>
          <a:p>
            <a:pPr marL="0" marR="0" lvl="0" indent="0" algn="l" defTabSz="914400" rtl="0" eaLnBrk="1" fontAlgn="auto" latinLnBrk="0" hangingPunct="1">
              <a:lnSpc>
                <a:spcPct val="13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等线" panose="020F0502020204030204"/>
                <a:ea typeface="Open Sans" panose="020B0606030504020204" pitchFamily="34" charset="0"/>
                <a:cs typeface="Segoe UI" panose="020B0502040204020203" pitchFamily="34" charset="0"/>
              </a:rPr>
              <a:t>A wonderful serenity has taken.</a:t>
            </a:r>
            <a:endParaRPr kumimoji="0" lang="id-ID" sz="1200" b="0" i="0" u="none" strike="noStrike" kern="1200" cap="none" spc="0" normalizeH="0" baseline="0" noProof="0" dirty="0">
              <a:ln>
                <a:noFill/>
              </a:ln>
              <a:solidFill>
                <a:srgbClr val="FFFFFF"/>
              </a:solidFill>
              <a:effectLst/>
              <a:uLnTx/>
              <a:uFillTx/>
              <a:latin typeface="等线" panose="020F0502020204030204"/>
              <a:ea typeface="Open Sans" panose="020B0606030504020204" pitchFamily="34" charset="0"/>
              <a:cs typeface="Segoe UI" panose="020B0502040204020203" pitchFamily="34" charset="0"/>
            </a:endParaRPr>
          </a:p>
        </p:txBody>
      </p:sp>
      <p:cxnSp>
        <p:nvCxnSpPr>
          <p:cNvPr id="19" name="Straight Connector 82">
            <a:extLst>
              <a:ext uri="{FF2B5EF4-FFF2-40B4-BE49-F238E27FC236}">
                <a16:creationId xmlns:a16="http://schemas.microsoft.com/office/drawing/2014/main" id="{C70C0D56-B540-4282-BA59-B4D05C92449E}"/>
              </a:ext>
            </a:extLst>
          </p:cNvPr>
          <p:cNvCxnSpPr/>
          <p:nvPr/>
        </p:nvCxnSpPr>
        <p:spPr>
          <a:xfrm>
            <a:off x="6096000" y="5774996"/>
            <a:ext cx="0" cy="813789"/>
          </a:xfrm>
          <a:prstGeom prst="line">
            <a:avLst/>
          </a:prstGeom>
          <a:ln>
            <a:solidFill>
              <a:schemeClr val="bg1">
                <a:alpha val="10000"/>
              </a:schemeClr>
            </a:solidFill>
            <a:prstDash val="dash"/>
          </a:ln>
        </p:spPr>
        <p:style>
          <a:lnRef idx="1">
            <a:schemeClr val="accent1"/>
          </a:lnRef>
          <a:fillRef idx="0">
            <a:schemeClr val="accent1"/>
          </a:fillRef>
          <a:effectRef idx="0">
            <a:schemeClr val="accent1"/>
          </a:effectRef>
          <a:fontRef idx="minor">
            <a:schemeClr val="tx1"/>
          </a:fontRef>
        </p:style>
      </p:cxnSp>
      <p:sp>
        <p:nvSpPr>
          <p:cNvPr id="20" name="Rectangle 83">
            <a:extLst>
              <a:ext uri="{FF2B5EF4-FFF2-40B4-BE49-F238E27FC236}">
                <a16:creationId xmlns:a16="http://schemas.microsoft.com/office/drawing/2014/main" id="{89D4757B-022C-4176-A072-96E2F3B6E5BB}"/>
              </a:ext>
            </a:extLst>
          </p:cNvPr>
          <p:cNvSpPr/>
          <p:nvPr/>
        </p:nvSpPr>
        <p:spPr>
          <a:xfrm>
            <a:off x="7575310" y="5888098"/>
            <a:ext cx="3653983" cy="547522"/>
          </a:xfrm>
          <a:prstGeom prst="rect">
            <a:avLst/>
          </a:prstGeom>
        </p:spPr>
        <p:txBody>
          <a:bodyPr wrap="square">
            <a:spAutoFit/>
          </a:bodyPr>
          <a:lstStyle/>
          <a:p>
            <a:pPr marL="0" marR="0" lvl="0" indent="0" algn="l" defTabSz="914400" rtl="0" eaLnBrk="1" fontAlgn="auto" latinLnBrk="0" hangingPunct="1">
              <a:lnSpc>
                <a:spcPct val="13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等线" panose="020F0502020204030204"/>
                <a:ea typeface="Open Sans" panose="020B0606030504020204" pitchFamily="34" charset="0"/>
                <a:cs typeface="Segoe UI" panose="020B0502040204020203" pitchFamily="34" charset="0"/>
              </a:rPr>
              <a:t>Lorem ipsum dolor sit amet, consectetuer adipiscing elit. Maecenas porttitor congue massa. </a:t>
            </a:r>
          </a:p>
        </p:txBody>
      </p:sp>
      <p:grpSp>
        <p:nvGrpSpPr>
          <p:cNvPr id="21" name="Group 84">
            <a:extLst>
              <a:ext uri="{FF2B5EF4-FFF2-40B4-BE49-F238E27FC236}">
                <a16:creationId xmlns:a16="http://schemas.microsoft.com/office/drawing/2014/main" id="{3B433BF8-EF04-44A3-B3CD-A2008C18564D}"/>
              </a:ext>
            </a:extLst>
          </p:cNvPr>
          <p:cNvGrpSpPr/>
          <p:nvPr/>
        </p:nvGrpSpPr>
        <p:grpSpPr>
          <a:xfrm>
            <a:off x="6709865" y="5813354"/>
            <a:ext cx="697012" cy="697010"/>
            <a:chOff x="1276174" y="4407836"/>
            <a:chExt cx="697012" cy="697010"/>
          </a:xfrm>
        </p:grpSpPr>
        <p:sp>
          <p:nvSpPr>
            <p:cNvPr id="22" name="Oval 85">
              <a:extLst>
                <a:ext uri="{FF2B5EF4-FFF2-40B4-BE49-F238E27FC236}">
                  <a16:creationId xmlns:a16="http://schemas.microsoft.com/office/drawing/2014/main" id="{10ED2B4E-45C2-4656-B1FB-B7D9E8260B02}"/>
                </a:ext>
              </a:extLst>
            </p:cNvPr>
            <p:cNvSpPr/>
            <p:nvPr/>
          </p:nvSpPr>
          <p:spPr>
            <a:xfrm>
              <a:off x="1276174" y="4407836"/>
              <a:ext cx="697012" cy="697010"/>
            </a:xfrm>
            <a:prstGeom prst="ellipse">
              <a:avLst/>
            </a:prstGeom>
            <a:solidFill>
              <a:schemeClr val="accent1"/>
            </a:solidFill>
            <a:ln>
              <a:noFill/>
            </a:ln>
            <a:effectLst>
              <a:outerShdw blurRad="838200" dist="381000" dir="5400000" sx="95000" sy="95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23" name="Rectangle 86">
              <a:extLst>
                <a:ext uri="{FF2B5EF4-FFF2-40B4-BE49-F238E27FC236}">
                  <a16:creationId xmlns:a16="http://schemas.microsoft.com/office/drawing/2014/main" id="{9F8E52E9-7040-443B-80CB-3DD9A09B8A23}"/>
                </a:ext>
              </a:extLst>
            </p:cNvPr>
            <p:cNvSpPr/>
            <p:nvPr/>
          </p:nvSpPr>
          <p:spPr>
            <a:xfrm>
              <a:off x="1444607" y="4576268"/>
              <a:ext cx="360146" cy="360144"/>
            </a:xfrm>
            <a:prstGeom prst="rect">
              <a:avLst/>
            </a:prstGeom>
            <a:blipFill>
              <a:blip r:embed="rId4">
                <a:lum bright="70000" contrast="-70000"/>
                <a:extLst>
                  <a:ext uri="{BEBA8EAE-BF5A-486C-A8C5-ECC9F3942E4B}">
                    <a14:imgProps xmlns:a14="http://schemas.microsoft.com/office/drawing/2010/main">
                      <a14:imgLayer r:embed="rId5">
                        <a14:imgEffect>
                          <a14:artisticPhotocopy/>
                        </a14:imgEffect>
                      </a14:imgLayer>
                    </a14:imgProps>
                  </a:ext>
                </a:extLst>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等线" panose="020F0502020204030204"/>
                <a:ea typeface="+mn-ea"/>
                <a:cs typeface="+mn-cs"/>
              </a:endParaRPr>
            </a:p>
          </p:txBody>
        </p:sp>
      </p:grpSp>
    </p:spTree>
    <p:extLst>
      <p:ext uri="{BB962C8B-B14F-4D97-AF65-F5344CB8AC3E}">
        <p14:creationId xmlns:p14="http://schemas.microsoft.com/office/powerpoint/2010/main" val="3850856981"/>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8" presetClass="entr" presetSubtype="3" fill="hold" grpId="0" nodeType="with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strips(upRight)">
                                      <p:cBhvr>
                                        <p:cTn id="7" dur="500"/>
                                        <p:tgtEl>
                                          <p:spTgt spid="13"/>
                                        </p:tgtEl>
                                      </p:cBhvr>
                                    </p:animEffect>
                                  </p:childTnLst>
                                </p:cTn>
                              </p:par>
                              <p:par>
                                <p:cTn id="8" presetID="6" presetClass="emph" presetSubtype="0" accel="52000" decel="48000" autoRev="1" fill="hold" grpId="1" nodeType="withEffect">
                                  <p:stCondLst>
                                    <p:cond delay="0"/>
                                  </p:stCondLst>
                                  <p:childTnLst>
                                    <p:animScale>
                                      <p:cBhvr>
                                        <p:cTn id="9" dur="350" fill="hold"/>
                                        <p:tgtEl>
                                          <p:spTgt spid="13"/>
                                        </p:tgtEl>
                                      </p:cBhvr>
                                      <p:by x="110000" y="110000"/>
                                    </p:animScale>
                                  </p:childTnLst>
                                </p:cTn>
                              </p:par>
                              <p:par>
                                <p:cTn id="10" presetID="10" presetClass="entr" presetSubtype="0" fill="hold" grpId="0" nodeType="withEffect">
                                  <p:stCondLst>
                                    <p:cond delay="500"/>
                                  </p:stCondLst>
                                  <p:childTnLst>
                                    <p:set>
                                      <p:cBhvr>
                                        <p:cTn id="11" dur="1" fill="hold">
                                          <p:stCondLst>
                                            <p:cond delay="0"/>
                                          </p:stCondLst>
                                        </p:cTn>
                                        <p:tgtEl>
                                          <p:spTgt spid="14"/>
                                        </p:tgtEl>
                                        <p:attrNameLst>
                                          <p:attrName>style.visibility</p:attrName>
                                        </p:attrNameLst>
                                      </p:cBhvr>
                                      <p:to>
                                        <p:strVal val="visible"/>
                                      </p:to>
                                    </p:set>
                                    <p:animEffect transition="in" filter="fade">
                                      <p:cBhvr>
                                        <p:cTn id="12" dur="750"/>
                                        <p:tgtEl>
                                          <p:spTgt spid="14"/>
                                        </p:tgtEl>
                                      </p:cBhvr>
                                    </p:animEffect>
                                  </p:childTnLst>
                                </p:cTn>
                              </p:par>
                              <p:par>
                                <p:cTn id="13" presetID="22" presetClass="entr" presetSubtype="8" fill="hold" grpId="0" nodeType="withEffect">
                                  <p:stCondLst>
                                    <p:cond delay="500"/>
                                  </p:stCondLst>
                                  <p:childTnLst>
                                    <p:set>
                                      <p:cBhvr>
                                        <p:cTn id="14" dur="1" fill="hold">
                                          <p:stCondLst>
                                            <p:cond delay="0"/>
                                          </p:stCondLst>
                                        </p:cTn>
                                        <p:tgtEl>
                                          <p:spTgt spid="16"/>
                                        </p:tgtEl>
                                        <p:attrNameLst>
                                          <p:attrName>style.visibility</p:attrName>
                                        </p:attrNameLst>
                                      </p:cBhvr>
                                      <p:to>
                                        <p:strVal val="visible"/>
                                      </p:to>
                                    </p:set>
                                    <p:animEffect transition="in" filter="wipe(left)">
                                      <p:cBhvr>
                                        <p:cTn id="15" dur="750"/>
                                        <p:tgtEl>
                                          <p:spTgt spid="16"/>
                                        </p:tgtEl>
                                      </p:cBhvr>
                                    </p:animEffect>
                                  </p:childTnLst>
                                </p:cTn>
                              </p:par>
                              <p:par>
                                <p:cTn id="16" presetID="22" presetClass="entr" presetSubtype="8" fill="hold" grpId="0" nodeType="withEffect">
                                  <p:stCondLst>
                                    <p:cond delay="750"/>
                                  </p:stCondLst>
                                  <p:childTnLst>
                                    <p:set>
                                      <p:cBhvr>
                                        <p:cTn id="17" dur="1" fill="hold">
                                          <p:stCondLst>
                                            <p:cond delay="0"/>
                                          </p:stCondLst>
                                        </p:cTn>
                                        <p:tgtEl>
                                          <p:spTgt spid="18"/>
                                        </p:tgtEl>
                                        <p:attrNameLst>
                                          <p:attrName>style.visibility</p:attrName>
                                        </p:attrNameLst>
                                      </p:cBhvr>
                                      <p:to>
                                        <p:strVal val="visible"/>
                                      </p:to>
                                    </p:set>
                                    <p:animEffect transition="in" filter="wipe(left)">
                                      <p:cBhvr>
                                        <p:cTn id="18" dur="750"/>
                                        <p:tgtEl>
                                          <p:spTgt spid="18"/>
                                        </p:tgtEl>
                                      </p:cBhvr>
                                    </p:animEffect>
                                  </p:childTnLst>
                                </p:cTn>
                              </p:par>
                              <p:par>
                                <p:cTn id="19" presetID="18" presetClass="entr" presetSubtype="3" fill="hold" grpId="0" nodeType="withEffect">
                                  <p:stCondLst>
                                    <p:cond delay="250"/>
                                  </p:stCondLst>
                                  <p:childTnLst>
                                    <p:set>
                                      <p:cBhvr>
                                        <p:cTn id="20" dur="1" fill="hold">
                                          <p:stCondLst>
                                            <p:cond delay="0"/>
                                          </p:stCondLst>
                                        </p:cTn>
                                        <p:tgtEl>
                                          <p:spTgt spid="15"/>
                                        </p:tgtEl>
                                        <p:attrNameLst>
                                          <p:attrName>style.visibility</p:attrName>
                                        </p:attrNameLst>
                                      </p:cBhvr>
                                      <p:to>
                                        <p:strVal val="visible"/>
                                      </p:to>
                                    </p:set>
                                    <p:animEffect transition="in" filter="strips(upRight)">
                                      <p:cBhvr>
                                        <p:cTn id="21" dur="500"/>
                                        <p:tgtEl>
                                          <p:spTgt spid="15"/>
                                        </p:tgtEl>
                                      </p:cBhvr>
                                    </p:animEffect>
                                  </p:childTnLst>
                                </p:cTn>
                              </p:par>
                              <p:par>
                                <p:cTn id="22" presetID="6" presetClass="emph" presetSubtype="0" accel="52000" decel="48000" autoRev="1" fill="hold" grpId="1" nodeType="withEffect">
                                  <p:stCondLst>
                                    <p:cond delay="250"/>
                                  </p:stCondLst>
                                  <p:childTnLst>
                                    <p:animScale>
                                      <p:cBhvr>
                                        <p:cTn id="23" dur="350" fill="hold"/>
                                        <p:tgtEl>
                                          <p:spTgt spid="15"/>
                                        </p:tgtEl>
                                      </p:cBhvr>
                                      <p:by x="110000" y="110000"/>
                                    </p:animScale>
                                  </p:childTnLst>
                                </p:cTn>
                              </p:par>
                              <p:par>
                                <p:cTn id="24" presetID="18" presetClass="entr" presetSubtype="3" fill="hold" grpId="0" nodeType="withEffect">
                                  <p:stCondLst>
                                    <p:cond delay="250"/>
                                  </p:stCondLst>
                                  <p:childTnLst>
                                    <p:set>
                                      <p:cBhvr>
                                        <p:cTn id="25" dur="1" fill="hold">
                                          <p:stCondLst>
                                            <p:cond delay="0"/>
                                          </p:stCondLst>
                                        </p:cTn>
                                        <p:tgtEl>
                                          <p:spTgt spid="17"/>
                                        </p:tgtEl>
                                        <p:attrNameLst>
                                          <p:attrName>style.visibility</p:attrName>
                                        </p:attrNameLst>
                                      </p:cBhvr>
                                      <p:to>
                                        <p:strVal val="visible"/>
                                      </p:to>
                                    </p:set>
                                    <p:animEffect transition="in" filter="strips(upRight)">
                                      <p:cBhvr>
                                        <p:cTn id="26" dur="500"/>
                                        <p:tgtEl>
                                          <p:spTgt spid="17"/>
                                        </p:tgtEl>
                                      </p:cBhvr>
                                    </p:animEffect>
                                  </p:childTnLst>
                                </p:cTn>
                              </p:par>
                              <p:par>
                                <p:cTn id="27" presetID="6" presetClass="emph" presetSubtype="0" accel="52000" decel="48000" autoRev="1" fill="hold" grpId="1" nodeType="withEffect">
                                  <p:stCondLst>
                                    <p:cond delay="250"/>
                                  </p:stCondLst>
                                  <p:childTnLst>
                                    <p:animScale>
                                      <p:cBhvr>
                                        <p:cTn id="28" dur="350" fill="hold"/>
                                        <p:tgtEl>
                                          <p:spTgt spid="17"/>
                                        </p:tgtEl>
                                      </p:cBhvr>
                                      <p:by x="110000" y="110000"/>
                                    </p:animScale>
                                  </p:childTnLst>
                                </p:cTn>
                              </p:par>
                              <p:par>
                                <p:cTn id="29" presetID="2" presetClass="entr" presetSubtype="8" decel="100000" fill="hold" grpId="0" nodeType="withEffect">
                                  <p:stCondLst>
                                    <p:cond delay="0"/>
                                  </p:stCondLst>
                                  <p:childTnLst>
                                    <p:set>
                                      <p:cBhvr>
                                        <p:cTn id="30" dur="1" fill="hold">
                                          <p:stCondLst>
                                            <p:cond delay="0"/>
                                          </p:stCondLst>
                                        </p:cTn>
                                        <p:tgtEl>
                                          <p:spTgt spid="20"/>
                                        </p:tgtEl>
                                        <p:attrNameLst>
                                          <p:attrName>style.visibility</p:attrName>
                                        </p:attrNameLst>
                                      </p:cBhvr>
                                      <p:to>
                                        <p:strVal val="visible"/>
                                      </p:to>
                                    </p:set>
                                    <p:anim calcmode="lin" valueType="num">
                                      <p:cBhvr additive="base">
                                        <p:cTn id="31" dur="750" fill="hold"/>
                                        <p:tgtEl>
                                          <p:spTgt spid="20"/>
                                        </p:tgtEl>
                                        <p:attrNameLst>
                                          <p:attrName>ppt_x</p:attrName>
                                        </p:attrNameLst>
                                      </p:cBhvr>
                                      <p:tavLst>
                                        <p:tav tm="0">
                                          <p:val>
                                            <p:strVal val="0-#ppt_w/2"/>
                                          </p:val>
                                        </p:tav>
                                        <p:tav tm="100000">
                                          <p:val>
                                            <p:strVal val="#ppt_x"/>
                                          </p:val>
                                        </p:tav>
                                      </p:tavLst>
                                    </p:anim>
                                    <p:anim calcmode="lin" valueType="num">
                                      <p:cBhvr additive="base">
                                        <p:cTn id="32" dur="750" fill="hold"/>
                                        <p:tgtEl>
                                          <p:spTgt spid="20"/>
                                        </p:tgtEl>
                                        <p:attrNameLst>
                                          <p:attrName>ppt_y</p:attrName>
                                        </p:attrNameLst>
                                      </p:cBhvr>
                                      <p:tavLst>
                                        <p:tav tm="0">
                                          <p:val>
                                            <p:strVal val="#ppt_y"/>
                                          </p:val>
                                        </p:tav>
                                        <p:tav tm="100000">
                                          <p:val>
                                            <p:strVal val="#ppt_y"/>
                                          </p:val>
                                        </p:tav>
                                      </p:tavLst>
                                    </p:anim>
                                  </p:childTnLst>
                                </p:cTn>
                              </p:par>
                              <p:par>
                                <p:cTn id="33" presetID="18" presetClass="entr" presetSubtype="3" fill="hold" nodeType="withEffect">
                                  <p:stCondLst>
                                    <p:cond delay="500"/>
                                  </p:stCondLst>
                                  <p:childTnLst>
                                    <p:set>
                                      <p:cBhvr>
                                        <p:cTn id="34" dur="1" fill="hold">
                                          <p:stCondLst>
                                            <p:cond delay="0"/>
                                          </p:stCondLst>
                                        </p:cTn>
                                        <p:tgtEl>
                                          <p:spTgt spid="21"/>
                                        </p:tgtEl>
                                        <p:attrNameLst>
                                          <p:attrName>style.visibility</p:attrName>
                                        </p:attrNameLst>
                                      </p:cBhvr>
                                      <p:to>
                                        <p:strVal val="visible"/>
                                      </p:to>
                                    </p:set>
                                    <p:animEffect transition="in" filter="strips(upRight)">
                                      <p:cBhvr>
                                        <p:cTn id="35" dur="500"/>
                                        <p:tgtEl>
                                          <p:spTgt spid="21"/>
                                        </p:tgtEl>
                                      </p:cBhvr>
                                    </p:animEffect>
                                  </p:childTnLst>
                                </p:cTn>
                              </p:par>
                              <p:par>
                                <p:cTn id="36" presetID="6" presetClass="emph" presetSubtype="0" accel="52000" decel="48000" autoRev="1" fill="hold" nodeType="withEffect">
                                  <p:stCondLst>
                                    <p:cond delay="500"/>
                                  </p:stCondLst>
                                  <p:childTnLst>
                                    <p:animScale>
                                      <p:cBhvr>
                                        <p:cTn id="37" dur="350" fill="hold"/>
                                        <p:tgtEl>
                                          <p:spTgt spid="21"/>
                                        </p:tgtEl>
                                      </p:cBhvr>
                                      <p:by x="110000" y="110000"/>
                                    </p:animScale>
                                  </p:childTnLst>
                                </p:cTn>
                              </p:par>
                              <p:par>
                                <p:cTn id="38" presetID="2" presetClass="entr" presetSubtype="4" decel="100000" fill="hold" grpId="0" nodeType="withEffect">
                                  <p:stCondLst>
                                    <p:cond delay="250"/>
                                  </p:stCondLst>
                                  <p:childTnLst>
                                    <p:set>
                                      <p:cBhvr>
                                        <p:cTn id="39" dur="1" fill="hold">
                                          <p:stCondLst>
                                            <p:cond delay="0"/>
                                          </p:stCondLst>
                                        </p:cTn>
                                        <p:tgtEl>
                                          <p:spTgt spid="12"/>
                                        </p:tgtEl>
                                        <p:attrNameLst>
                                          <p:attrName>style.visibility</p:attrName>
                                        </p:attrNameLst>
                                      </p:cBhvr>
                                      <p:to>
                                        <p:strVal val="visible"/>
                                      </p:to>
                                    </p:set>
                                    <p:anim calcmode="lin" valueType="num">
                                      <p:cBhvr additive="base">
                                        <p:cTn id="40" dur="1000" fill="hold"/>
                                        <p:tgtEl>
                                          <p:spTgt spid="12"/>
                                        </p:tgtEl>
                                        <p:attrNameLst>
                                          <p:attrName>ppt_x</p:attrName>
                                        </p:attrNameLst>
                                      </p:cBhvr>
                                      <p:tavLst>
                                        <p:tav tm="0">
                                          <p:val>
                                            <p:strVal val="#ppt_x"/>
                                          </p:val>
                                        </p:tav>
                                        <p:tav tm="100000">
                                          <p:val>
                                            <p:strVal val="#ppt_x"/>
                                          </p:val>
                                        </p:tav>
                                      </p:tavLst>
                                    </p:anim>
                                    <p:anim calcmode="lin" valueType="num">
                                      <p:cBhvr additive="base">
                                        <p:cTn id="41" dur="1000" fill="hold"/>
                                        <p:tgtEl>
                                          <p:spTgt spid="12"/>
                                        </p:tgtEl>
                                        <p:attrNameLst>
                                          <p:attrName>ppt_y</p:attrName>
                                        </p:attrNameLst>
                                      </p:cBhvr>
                                      <p:tavLst>
                                        <p:tav tm="0">
                                          <p:val>
                                            <p:strVal val="1+#ppt_h/2"/>
                                          </p:val>
                                        </p:tav>
                                        <p:tav tm="100000">
                                          <p:val>
                                            <p:strVal val="#ppt_y"/>
                                          </p:val>
                                        </p:tav>
                                      </p:tavLst>
                                    </p:anim>
                                  </p:childTnLst>
                                </p:cTn>
                              </p:par>
                              <p:par>
                                <p:cTn id="42" presetID="18" presetClass="entr" presetSubtype="3" fill="hold" grpId="0" nodeType="withEffect">
                                  <p:stCondLst>
                                    <p:cond delay="750"/>
                                  </p:stCondLst>
                                  <p:childTnLst>
                                    <p:set>
                                      <p:cBhvr>
                                        <p:cTn id="43" dur="1" fill="hold">
                                          <p:stCondLst>
                                            <p:cond delay="0"/>
                                          </p:stCondLst>
                                        </p:cTn>
                                        <p:tgtEl>
                                          <p:spTgt spid="11"/>
                                        </p:tgtEl>
                                        <p:attrNameLst>
                                          <p:attrName>style.visibility</p:attrName>
                                        </p:attrNameLst>
                                      </p:cBhvr>
                                      <p:to>
                                        <p:strVal val="visible"/>
                                      </p:to>
                                    </p:set>
                                    <p:animEffect transition="in" filter="strips(upRight)">
                                      <p:cBhvr>
                                        <p:cTn id="44" dur="500"/>
                                        <p:tgtEl>
                                          <p:spTgt spid="11"/>
                                        </p:tgtEl>
                                      </p:cBhvr>
                                    </p:animEffect>
                                  </p:childTnLst>
                                </p:cTn>
                              </p:par>
                              <p:par>
                                <p:cTn id="45" presetID="6" presetClass="emph" presetSubtype="0" accel="52000" decel="48000" autoRev="1" fill="hold" grpId="1" nodeType="withEffect">
                                  <p:stCondLst>
                                    <p:cond delay="750"/>
                                  </p:stCondLst>
                                  <p:childTnLst>
                                    <p:animScale>
                                      <p:cBhvr>
                                        <p:cTn id="46" dur="350" fill="hold"/>
                                        <p:tgtEl>
                                          <p:spTgt spid="11"/>
                                        </p:tgtEl>
                                      </p:cBhvr>
                                      <p:by x="110000" y="110000"/>
                                    </p:animScale>
                                  </p:childTnLst>
                                </p:cTn>
                              </p:par>
                              <p:par>
                                <p:cTn id="47" presetID="18" presetClass="entr" presetSubtype="3" fill="hold" grpId="0" nodeType="withEffect">
                                  <p:stCondLst>
                                    <p:cond delay="500"/>
                                  </p:stCondLst>
                                  <p:childTnLst>
                                    <p:set>
                                      <p:cBhvr>
                                        <p:cTn id="48" dur="1" fill="hold">
                                          <p:stCondLst>
                                            <p:cond delay="0"/>
                                          </p:stCondLst>
                                        </p:cTn>
                                        <p:tgtEl>
                                          <p:spTgt spid="10"/>
                                        </p:tgtEl>
                                        <p:attrNameLst>
                                          <p:attrName>style.visibility</p:attrName>
                                        </p:attrNameLst>
                                      </p:cBhvr>
                                      <p:to>
                                        <p:strVal val="visible"/>
                                      </p:to>
                                    </p:set>
                                    <p:animEffect transition="in" filter="strips(upRight)">
                                      <p:cBhvr>
                                        <p:cTn id="49" dur="500"/>
                                        <p:tgtEl>
                                          <p:spTgt spid="10"/>
                                        </p:tgtEl>
                                      </p:cBhvr>
                                    </p:animEffect>
                                  </p:childTnLst>
                                </p:cTn>
                              </p:par>
                              <p:par>
                                <p:cTn id="50" presetID="6" presetClass="emph" presetSubtype="0" accel="52000" decel="48000" autoRev="1" fill="hold" grpId="1" nodeType="withEffect">
                                  <p:stCondLst>
                                    <p:cond delay="500"/>
                                  </p:stCondLst>
                                  <p:childTnLst>
                                    <p:animScale>
                                      <p:cBhvr>
                                        <p:cTn id="51" dur="350" fill="hold"/>
                                        <p:tgtEl>
                                          <p:spTgt spid="10"/>
                                        </p:tgtEl>
                                      </p:cBhvr>
                                      <p:by x="110000" y="110000"/>
                                    </p:animScale>
                                  </p:childTnLst>
                                </p:cTn>
                              </p:par>
                              <p:par>
                                <p:cTn id="52" presetID="18" presetClass="entr" presetSubtype="3" fill="hold" grpId="0" nodeType="withEffect">
                                  <p:stCondLst>
                                    <p:cond delay="750"/>
                                  </p:stCondLst>
                                  <p:childTnLst>
                                    <p:set>
                                      <p:cBhvr>
                                        <p:cTn id="53" dur="1" fill="hold">
                                          <p:stCondLst>
                                            <p:cond delay="0"/>
                                          </p:stCondLst>
                                        </p:cTn>
                                        <p:tgtEl>
                                          <p:spTgt spid="4"/>
                                        </p:tgtEl>
                                        <p:attrNameLst>
                                          <p:attrName>style.visibility</p:attrName>
                                        </p:attrNameLst>
                                      </p:cBhvr>
                                      <p:to>
                                        <p:strVal val="visible"/>
                                      </p:to>
                                    </p:set>
                                    <p:animEffect transition="in" filter="strips(upRight)">
                                      <p:cBhvr>
                                        <p:cTn id="54" dur="500"/>
                                        <p:tgtEl>
                                          <p:spTgt spid="4"/>
                                        </p:tgtEl>
                                      </p:cBhvr>
                                    </p:animEffect>
                                  </p:childTnLst>
                                </p:cTn>
                              </p:par>
                              <p:par>
                                <p:cTn id="55" presetID="6" presetClass="emph" presetSubtype="0" accel="52000" decel="48000" autoRev="1" fill="hold" grpId="1" nodeType="withEffect">
                                  <p:stCondLst>
                                    <p:cond delay="750"/>
                                  </p:stCondLst>
                                  <p:childTnLst>
                                    <p:animScale>
                                      <p:cBhvr>
                                        <p:cTn id="56" dur="350" fill="hold"/>
                                        <p:tgtEl>
                                          <p:spTgt spid="4"/>
                                        </p:tgtEl>
                                      </p:cBhvr>
                                      <p:by x="110000" y="110000"/>
                                    </p:animScale>
                                  </p:childTnLst>
                                </p:cTn>
                              </p:par>
                              <p:par>
                                <p:cTn id="57" presetID="18" presetClass="entr" presetSubtype="3" fill="hold" grpId="0" nodeType="withEffect">
                                  <p:stCondLst>
                                    <p:cond delay="500"/>
                                  </p:stCondLst>
                                  <p:childTnLst>
                                    <p:set>
                                      <p:cBhvr>
                                        <p:cTn id="58" dur="1" fill="hold">
                                          <p:stCondLst>
                                            <p:cond delay="0"/>
                                          </p:stCondLst>
                                        </p:cTn>
                                        <p:tgtEl>
                                          <p:spTgt spid="2"/>
                                        </p:tgtEl>
                                        <p:attrNameLst>
                                          <p:attrName>style.visibility</p:attrName>
                                        </p:attrNameLst>
                                      </p:cBhvr>
                                      <p:to>
                                        <p:strVal val="visible"/>
                                      </p:to>
                                    </p:set>
                                    <p:animEffect transition="in" filter="strips(upRight)">
                                      <p:cBhvr>
                                        <p:cTn id="59" dur="500"/>
                                        <p:tgtEl>
                                          <p:spTgt spid="2"/>
                                        </p:tgtEl>
                                      </p:cBhvr>
                                    </p:animEffect>
                                  </p:childTnLst>
                                </p:cTn>
                              </p:par>
                              <p:par>
                                <p:cTn id="60" presetID="6" presetClass="emph" presetSubtype="0" accel="52000" decel="48000" autoRev="1" fill="hold" grpId="1" nodeType="withEffect">
                                  <p:stCondLst>
                                    <p:cond delay="500"/>
                                  </p:stCondLst>
                                  <p:childTnLst>
                                    <p:animScale>
                                      <p:cBhvr>
                                        <p:cTn id="61" dur="350" fill="hold"/>
                                        <p:tgtEl>
                                          <p:spTgt spid="2"/>
                                        </p:tgtEl>
                                      </p:cBhvr>
                                      <p:by x="110000" y="110000"/>
                                    </p:animScale>
                                  </p:childTnLst>
                                </p:cTn>
                              </p:par>
                              <p:par>
                                <p:cTn id="62" presetID="18" presetClass="entr" presetSubtype="3" fill="hold" grpId="0" nodeType="withEffect">
                                  <p:stCondLst>
                                    <p:cond delay="500"/>
                                  </p:stCondLst>
                                  <p:childTnLst>
                                    <p:set>
                                      <p:cBhvr>
                                        <p:cTn id="63" dur="1" fill="hold">
                                          <p:stCondLst>
                                            <p:cond delay="0"/>
                                          </p:stCondLst>
                                        </p:cTn>
                                        <p:tgtEl>
                                          <p:spTgt spid="3"/>
                                        </p:tgtEl>
                                        <p:attrNameLst>
                                          <p:attrName>style.visibility</p:attrName>
                                        </p:attrNameLst>
                                      </p:cBhvr>
                                      <p:to>
                                        <p:strVal val="visible"/>
                                      </p:to>
                                    </p:set>
                                    <p:animEffect transition="in" filter="strips(upRight)">
                                      <p:cBhvr>
                                        <p:cTn id="64" dur="500"/>
                                        <p:tgtEl>
                                          <p:spTgt spid="3"/>
                                        </p:tgtEl>
                                      </p:cBhvr>
                                    </p:animEffect>
                                  </p:childTnLst>
                                </p:cTn>
                              </p:par>
                              <p:par>
                                <p:cTn id="65" presetID="6" presetClass="emph" presetSubtype="0" accel="52000" decel="48000" autoRev="1" fill="hold" grpId="1" nodeType="withEffect">
                                  <p:stCondLst>
                                    <p:cond delay="500"/>
                                  </p:stCondLst>
                                  <p:childTnLst>
                                    <p:animScale>
                                      <p:cBhvr>
                                        <p:cTn id="66" dur="350" fill="hold"/>
                                        <p:tgtEl>
                                          <p:spTgt spid="3"/>
                                        </p:tgtEl>
                                      </p:cBhvr>
                                      <p:by x="110000" y="110000"/>
                                    </p:animScale>
                                  </p:childTnLst>
                                </p:cTn>
                              </p:par>
                              <p:par>
                                <p:cTn id="67" presetID="18" presetClass="entr" presetSubtype="3" fill="hold" grpId="0" nodeType="withEffect">
                                  <p:stCondLst>
                                    <p:cond delay="750"/>
                                  </p:stCondLst>
                                  <p:childTnLst>
                                    <p:set>
                                      <p:cBhvr>
                                        <p:cTn id="68" dur="1" fill="hold">
                                          <p:stCondLst>
                                            <p:cond delay="0"/>
                                          </p:stCondLst>
                                        </p:cTn>
                                        <p:tgtEl>
                                          <p:spTgt spid="8"/>
                                        </p:tgtEl>
                                        <p:attrNameLst>
                                          <p:attrName>style.visibility</p:attrName>
                                        </p:attrNameLst>
                                      </p:cBhvr>
                                      <p:to>
                                        <p:strVal val="visible"/>
                                      </p:to>
                                    </p:set>
                                    <p:animEffect transition="in" filter="strips(upRight)">
                                      <p:cBhvr>
                                        <p:cTn id="69" dur="500"/>
                                        <p:tgtEl>
                                          <p:spTgt spid="8"/>
                                        </p:tgtEl>
                                      </p:cBhvr>
                                    </p:animEffect>
                                  </p:childTnLst>
                                </p:cTn>
                              </p:par>
                              <p:par>
                                <p:cTn id="70" presetID="6" presetClass="emph" presetSubtype="0" accel="52000" decel="48000" autoRev="1" fill="hold" grpId="1" nodeType="withEffect">
                                  <p:stCondLst>
                                    <p:cond delay="750"/>
                                  </p:stCondLst>
                                  <p:childTnLst>
                                    <p:animScale>
                                      <p:cBhvr>
                                        <p:cTn id="71" dur="350" fill="hold"/>
                                        <p:tgtEl>
                                          <p:spTgt spid="8"/>
                                        </p:tgtEl>
                                      </p:cBhvr>
                                      <p:by x="110000" y="110000"/>
                                    </p:animScale>
                                  </p:childTnLst>
                                </p:cTn>
                              </p:par>
                              <p:par>
                                <p:cTn id="72" presetID="18" presetClass="entr" presetSubtype="3" fill="hold" grpId="0" nodeType="withEffect">
                                  <p:stCondLst>
                                    <p:cond delay="750"/>
                                  </p:stCondLst>
                                  <p:childTnLst>
                                    <p:set>
                                      <p:cBhvr>
                                        <p:cTn id="73" dur="1" fill="hold">
                                          <p:stCondLst>
                                            <p:cond delay="0"/>
                                          </p:stCondLst>
                                        </p:cTn>
                                        <p:tgtEl>
                                          <p:spTgt spid="7"/>
                                        </p:tgtEl>
                                        <p:attrNameLst>
                                          <p:attrName>style.visibility</p:attrName>
                                        </p:attrNameLst>
                                      </p:cBhvr>
                                      <p:to>
                                        <p:strVal val="visible"/>
                                      </p:to>
                                    </p:set>
                                    <p:animEffect transition="in" filter="strips(upRight)">
                                      <p:cBhvr>
                                        <p:cTn id="74" dur="500"/>
                                        <p:tgtEl>
                                          <p:spTgt spid="7"/>
                                        </p:tgtEl>
                                      </p:cBhvr>
                                    </p:animEffect>
                                  </p:childTnLst>
                                </p:cTn>
                              </p:par>
                              <p:par>
                                <p:cTn id="75" presetID="6" presetClass="emph" presetSubtype="0" accel="52000" decel="48000" autoRev="1" fill="hold" grpId="1" nodeType="withEffect">
                                  <p:stCondLst>
                                    <p:cond delay="750"/>
                                  </p:stCondLst>
                                  <p:childTnLst>
                                    <p:animScale>
                                      <p:cBhvr>
                                        <p:cTn id="76" dur="350" fill="hold"/>
                                        <p:tgtEl>
                                          <p:spTgt spid="7"/>
                                        </p:tgtEl>
                                      </p:cBhvr>
                                      <p:by x="110000" y="110000"/>
                                    </p:animScale>
                                  </p:childTnLst>
                                </p:cTn>
                              </p:par>
                              <p:par>
                                <p:cTn id="77" presetID="18" presetClass="entr" presetSubtype="3" fill="hold" grpId="0" nodeType="withEffect">
                                  <p:stCondLst>
                                    <p:cond delay="500"/>
                                  </p:stCondLst>
                                  <p:childTnLst>
                                    <p:set>
                                      <p:cBhvr>
                                        <p:cTn id="78" dur="1" fill="hold">
                                          <p:stCondLst>
                                            <p:cond delay="0"/>
                                          </p:stCondLst>
                                        </p:cTn>
                                        <p:tgtEl>
                                          <p:spTgt spid="5"/>
                                        </p:tgtEl>
                                        <p:attrNameLst>
                                          <p:attrName>style.visibility</p:attrName>
                                        </p:attrNameLst>
                                      </p:cBhvr>
                                      <p:to>
                                        <p:strVal val="visible"/>
                                      </p:to>
                                    </p:set>
                                    <p:animEffect transition="in" filter="strips(upRight)">
                                      <p:cBhvr>
                                        <p:cTn id="79" dur="500"/>
                                        <p:tgtEl>
                                          <p:spTgt spid="5"/>
                                        </p:tgtEl>
                                      </p:cBhvr>
                                    </p:animEffect>
                                  </p:childTnLst>
                                </p:cTn>
                              </p:par>
                              <p:par>
                                <p:cTn id="80" presetID="6" presetClass="emph" presetSubtype="0" accel="52000" decel="48000" autoRev="1" fill="hold" grpId="1" nodeType="withEffect">
                                  <p:stCondLst>
                                    <p:cond delay="500"/>
                                  </p:stCondLst>
                                  <p:childTnLst>
                                    <p:animScale>
                                      <p:cBhvr>
                                        <p:cTn id="81" dur="350" fill="hold"/>
                                        <p:tgtEl>
                                          <p:spTgt spid="5"/>
                                        </p:tgtEl>
                                      </p:cBhvr>
                                      <p:by x="110000" y="110000"/>
                                    </p:animScale>
                                  </p:childTnLst>
                                </p:cTn>
                              </p:par>
                              <p:par>
                                <p:cTn id="82" presetID="18" presetClass="entr" presetSubtype="3" fill="hold" grpId="0" nodeType="withEffect">
                                  <p:stCondLst>
                                    <p:cond delay="500"/>
                                  </p:stCondLst>
                                  <p:childTnLst>
                                    <p:set>
                                      <p:cBhvr>
                                        <p:cTn id="83" dur="1" fill="hold">
                                          <p:stCondLst>
                                            <p:cond delay="0"/>
                                          </p:stCondLst>
                                        </p:cTn>
                                        <p:tgtEl>
                                          <p:spTgt spid="6"/>
                                        </p:tgtEl>
                                        <p:attrNameLst>
                                          <p:attrName>style.visibility</p:attrName>
                                        </p:attrNameLst>
                                      </p:cBhvr>
                                      <p:to>
                                        <p:strVal val="visible"/>
                                      </p:to>
                                    </p:set>
                                    <p:animEffect transition="in" filter="strips(upRight)">
                                      <p:cBhvr>
                                        <p:cTn id="84" dur="500"/>
                                        <p:tgtEl>
                                          <p:spTgt spid="6"/>
                                        </p:tgtEl>
                                      </p:cBhvr>
                                    </p:animEffect>
                                  </p:childTnLst>
                                </p:cTn>
                              </p:par>
                              <p:par>
                                <p:cTn id="85" presetID="6" presetClass="emph" presetSubtype="0" accel="52000" decel="48000" autoRev="1" fill="hold" grpId="1" nodeType="withEffect">
                                  <p:stCondLst>
                                    <p:cond delay="500"/>
                                  </p:stCondLst>
                                  <p:childTnLst>
                                    <p:animScale>
                                      <p:cBhvr>
                                        <p:cTn id="86" dur="350" fill="hold"/>
                                        <p:tgtEl>
                                          <p:spTgt spid="6"/>
                                        </p:tgtEl>
                                      </p:cBhvr>
                                      <p:by x="110000" y="110000"/>
                                    </p:animScale>
                                  </p:childTnLst>
                                </p:cTn>
                              </p:par>
                              <p:par>
                                <p:cTn id="87" presetID="18" presetClass="entr" presetSubtype="3" fill="hold" grpId="0" nodeType="withEffect">
                                  <p:stCondLst>
                                    <p:cond delay="500"/>
                                  </p:stCondLst>
                                  <p:childTnLst>
                                    <p:set>
                                      <p:cBhvr>
                                        <p:cTn id="88" dur="1" fill="hold">
                                          <p:stCondLst>
                                            <p:cond delay="0"/>
                                          </p:stCondLst>
                                        </p:cTn>
                                        <p:tgtEl>
                                          <p:spTgt spid="9"/>
                                        </p:tgtEl>
                                        <p:attrNameLst>
                                          <p:attrName>style.visibility</p:attrName>
                                        </p:attrNameLst>
                                      </p:cBhvr>
                                      <p:to>
                                        <p:strVal val="visible"/>
                                      </p:to>
                                    </p:set>
                                    <p:animEffect transition="in" filter="strips(upRight)">
                                      <p:cBhvr>
                                        <p:cTn id="89" dur="500"/>
                                        <p:tgtEl>
                                          <p:spTgt spid="9"/>
                                        </p:tgtEl>
                                      </p:cBhvr>
                                    </p:animEffect>
                                  </p:childTnLst>
                                </p:cTn>
                              </p:par>
                              <p:par>
                                <p:cTn id="90" presetID="6" presetClass="emph" presetSubtype="0" accel="52000" decel="48000" autoRev="1" fill="hold" grpId="1" nodeType="withEffect">
                                  <p:stCondLst>
                                    <p:cond delay="500"/>
                                  </p:stCondLst>
                                  <p:childTnLst>
                                    <p:animScale>
                                      <p:cBhvr>
                                        <p:cTn id="91" dur="350" fill="hold"/>
                                        <p:tgtEl>
                                          <p:spTgt spid="9"/>
                                        </p:tgtEl>
                                      </p:cBhvr>
                                      <p:by x="110000" y="11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2" grpId="1" animBg="1"/>
      <p:bldP spid="3" grpId="0" animBg="1"/>
      <p:bldP spid="3" grpId="1" animBg="1"/>
      <p:bldP spid="4" grpId="0" animBg="1"/>
      <p:bldP spid="4" grpId="1" animBg="1"/>
      <p:bldP spid="5" grpId="0" animBg="1"/>
      <p:bldP spid="5" grpId="1" animBg="1"/>
      <p:bldP spid="6" grpId="0" animBg="1"/>
      <p:bldP spid="6" grpId="1" animBg="1"/>
      <p:bldP spid="7" grpId="0" animBg="1"/>
      <p:bldP spid="7" grpId="1" animBg="1"/>
      <p:bldP spid="8" grpId="0" animBg="1"/>
      <p:bldP spid="8" grpId="1" animBg="1"/>
      <p:bldP spid="9" grpId="0" animBg="1"/>
      <p:bldP spid="9" grpId="1" animBg="1"/>
      <p:bldP spid="10" grpId="0" animBg="1"/>
      <p:bldP spid="10" grpId="1" animBg="1"/>
      <p:bldP spid="11" grpId="0" animBg="1"/>
      <p:bldP spid="11" grpId="1" animBg="1"/>
      <p:bldP spid="12" grpId="0" animBg="1"/>
      <p:bldP spid="13" grpId="0"/>
      <p:bldP spid="13" grpId="1"/>
      <p:bldP spid="14" grpId="0"/>
      <p:bldP spid="15" grpId="0"/>
      <p:bldP spid="15" grpId="1"/>
      <p:bldP spid="16" grpId="0"/>
      <p:bldP spid="17" grpId="0"/>
      <p:bldP spid="17" grpId="1"/>
      <p:bldP spid="18" grpId="0"/>
      <p:bldP spid="20" grpId="0"/>
    </p:bldLst>
  </p:timing>
</p:sld>
</file>

<file path=ppt/slides/slide6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val 3">
            <a:extLst>
              <a:ext uri="{FF2B5EF4-FFF2-40B4-BE49-F238E27FC236}">
                <a16:creationId xmlns:a16="http://schemas.microsoft.com/office/drawing/2014/main" id="{056915DF-C01E-4861-83F0-575467E79448}"/>
              </a:ext>
            </a:extLst>
          </p:cNvPr>
          <p:cNvSpPr/>
          <p:nvPr/>
        </p:nvSpPr>
        <p:spPr>
          <a:xfrm>
            <a:off x="673100" y="1435100"/>
            <a:ext cx="1296988" cy="109220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FFFFFF"/>
              </a:solidFill>
              <a:effectLst/>
              <a:uLnTx/>
              <a:uFillTx/>
              <a:latin typeface="等线" panose="020F0502020204030204"/>
              <a:ea typeface="+mn-ea"/>
              <a:cs typeface="+mn-cs"/>
            </a:endParaRPr>
          </a:p>
        </p:txBody>
      </p:sp>
      <p:sp>
        <p:nvSpPr>
          <p:cNvPr id="3" name="Oval 4">
            <a:extLst>
              <a:ext uri="{FF2B5EF4-FFF2-40B4-BE49-F238E27FC236}">
                <a16:creationId xmlns:a16="http://schemas.microsoft.com/office/drawing/2014/main" id="{A5CFABFB-22EF-406C-9A4A-88F07501A796}"/>
              </a:ext>
            </a:extLst>
          </p:cNvPr>
          <p:cNvSpPr/>
          <p:nvPr/>
        </p:nvSpPr>
        <p:spPr>
          <a:xfrm>
            <a:off x="1028700" y="2120900"/>
            <a:ext cx="1296988" cy="10922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FFFFFF"/>
              </a:solidFill>
              <a:effectLst/>
              <a:uLnTx/>
              <a:uFillTx/>
              <a:latin typeface="等线" panose="020F0502020204030204"/>
              <a:ea typeface="+mn-ea"/>
              <a:cs typeface="+mn-cs"/>
            </a:endParaRPr>
          </a:p>
        </p:txBody>
      </p:sp>
      <p:sp>
        <p:nvSpPr>
          <p:cNvPr id="4" name="Oval 5">
            <a:extLst>
              <a:ext uri="{FF2B5EF4-FFF2-40B4-BE49-F238E27FC236}">
                <a16:creationId xmlns:a16="http://schemas.microsoft.com/office/drawing/2014/main" id="{18115CF3-94BA-4EE6-9838-0CC70F03855E}"/>
              </a:ext>
            </a:extLst>
          </p:cNvPr>
          <p:cNvSpPr/>
          <p:nvPr/>
        </p:nvSpPr>
        <p:spPr>
          <a:xfrm>
            <a:off x="1352546" y="1424850"/>
            <a:ext cx="1735139" cy="1461169"/>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FFFFFF"/>
              </a:solidFill>
              <a:effectLst/>
              <a:uLnTx/>
              <a:uFillTx/>
              <a:latin typeface="等线" panose="020F0502020204030204"/>
              <a:ea typeface="+mn-ea"/>
              <a:cs typeface="+mn-cs"/>
            </a:endParaRPr>
          </a:p>
        </p:txBody>
      </p:sp>
      <p:sp>
        <p:nvSpPr>
          <p:cNvPr id="5" name="Oval 6">
            <a:extLst>
              <a:ext uri="{FF2B5EF4-FFF2-40B4-BE49-F238E27FC236}">
                <a16:creationId xmlns:a16="http://schemas.microsoft.com/office/drawing/2014/main" id="{E072BA01-773F-46DB-9A3A-BCB8B815EC0A}"/>
              </a:ext>
            </a:extLst>
          </p:cNvPr>
          <p:cNvSpPr/>
          <p:nvPr/>
        </p:nvSpPr>
        <p:spPr>
          <a:xfrm rot="11996835">
            <a:off x="2473089" y="1905495"/>
            <a:ext cx="1296988" cy="10922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FFFFFF"/>
              </a:solidFill>
              <a:effectLst/>
              <a:uLnTx/>
              <a:uFillTx/>
              <a:latin typeface="等线" panose="020F0502020204030204"/>
              <a:ea typeface="+mn-ea"/>
              <a:cs typeface="+mn-cs"/>
            </a:endParaRPr>
          </a:p>
        </p:txBody>
      </p:sp>
      <p:sp>
        <p:nvSpPr>
          <p:cNvPr id="6" name="Oval 7">
            <a:extLst>
              <a:ext uri="{FF2B5EF4-FFF2-40B4-BE49-F238E27FC236}">
                <a16:creationId xmlns:a16="http://schemas.microsoft.com/office/drawing/2014/main" id="{4251EC3B-23C7-47E4-AB25-AEFE2635AD80}"/>
              </a:ext>
            </a:extLst>
          </p:cNvPr>
          <p:cNvSpPr/>
          <p:nvPr/>
        </p:nvSpPr>
        <p:spPr>
          <a:xfrm rot="11996835">
            <a:off x="3797515" y="1818702"/>
            <a:ext cx="1296988" cy="10922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FFFFFF"/>
              </a:solidFill>
              <a:effectLst/>
              <a:uLnTx/>
              <a:uFillTx/>
              <a:latin typeface="等线" panose="020F0502020204030204"/>
              <a:ea typeface="+mn-ea"/>
              <a:cs typeface="+mn-cs"/>
            </a:endParaRPr>
          </a:p>
        </p:txBody>
      </p:sp>
      <p:sp>
        <p:nvSpPr>
          <p:cNvPr id="7" name="Oval 8">
            <a:extLst>
              <a:ext uri="{FF2B5EF4-FFF2-40B4-BE49-F238E27FC236}">
                <a16:creationId xmlns:a16="http://schemas.microsoft.com/office/drawing/2014/main" id="{F53563BA-D7F9-4A2B-9AF2-425C7D3E574D}"/>
              </a:ext>
            </a:extLst>
          </p:cNvPr>
          <p:cNvSpPr/>
          <p:nvPr/>
        </p:nvSpPr>
        <p:spPr>
          <a:xfrm rot="11996835">
            <a:off x="3236895" y="726760"/>
            <a:ext cx="1735139" cy="146116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FFFFFF"/>
              </a:solidFill>
              <a:effectLst/>
              <a:uLnTx/>
              <a:uFillTx/>
              <a:latin typeface="等线" panose="020F0502020204030204"/>
              <a:ea typeface="+mn-ea"/>
              <a:cs typeface="+mn-cs"/>
            </a:endParaRPr>
          </a:p>
        </p:txBody>
      </p:sp>
      <p:sp>
        <p:nvSpPr>
          <p:cNvPr id="8" name="Oval 9">
            <a:extLst>
              <a:ext uri="{FF2B5EF4-FFF2-40B4-BE49-F238E27FC236}">
                <a16:creationId xmlns:a16="http://schemas.microsoft.com/office/drawing/2014/main" id="{AEB42826-73F7-47E6-A217-6DCB2D75E524}"/>
              </a:ext>
            </a:extLst>
          </p:cNvPr>
          <p:cNvSpPr/>
          <p:nvPr/>
        </p:nvSpPr>
        <p:spPr>
          <a:xfrm rot="11996835">
            <a:off x="2048348" y="2350169"/>
            <a:ext cx="1296988" cy="1092200"/>
          </a:xfrm>
          <a:prstGeom prst="ellipse">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FFFFFF"/>
              </a:solidFill>
              <a:effectLst/>
              <a:uLnTx/>
              <a:uFillTx/>
              <a:latin typeface="等线" panose="020F0502020204030204"/>
              <a:ea typeface="+mn-ea"/>
              <a:cs typeface="+mn-cs"/>
            </a:endParaRPr>
          </a:p>
        </p:txBody>
      </p:sp>
      <p:sp>
        <p:nvSpPr>
          <p:cNvPr id="9" name="Oval 10">
            <a:extLst>
              <a:ext uri="{FF2B5EF4-FFF2-40B4-BE49-F238E27FC236}">
                <a16:creationId xmlns:a16="http://schemas.microsoft.com/office/drawing/2014/main" id="{F5B4586B-EE89-485B-94E7-283BED31733A}"/>
              </a:ext>
            </a:extLst>
          </p:cNvPr>
          <p:cNvSpPr/>
          <p:nvPr/>
        </p:nvSpPr>
        <p:spPr>
          <a:xfrm rot="11996835">
            <a:off x="2996394" y="2342477"/>
            <a:ext cx="1296988" cy="109220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FFFFFF"/>
              </a:solidFill>
              <a:effectLst/>
              <a:uLnTx/>
              <a:uFillTx/>
              <a:latin typeface="等线" panose="020F0502020204030204"/>
              <a:ea typeface="+mn-ea"/>
              <a:cs typeface="+mn-cs"/>
            </a:endParaRPr>
          </a:p>
        </p:txBody>
      </p:sp>
      <p:sp>
        <p:nvSpPr>
          <p:cNvPr id="10" name="Oval 11">
            <a:extLst>
              <a:ext uri="{FF2B5EF4-FFF2-40B4-BE49-F238E27FC236}">
                <a16:creationId xmlns:a16="http://schemas.microsoft.com/office/drawing/2014/main" id="{7BCE5F07-0523-45F6-B0D9-4518E4D61866}"/>
              </a:ext>
            </a:extLst>
          </p:cNvPr>
          <p:cNvSpPr/>
          <p:nvPr/>
        </p:nvSpPr>
        <p:spPr>
          <a:xfrm>
            <a:off x="2227020" y="293489"/>
            <a:ext cx="1735139" cy="1461169"/>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FFFFFF"/>
              </a:solidFill>
              <a:effectLst/>
              <a:uLnTx/>
              <a:uFillTx/>
              <a:latin typeface="等线" panose="020F0502020204030204"/>
              <a:ea typeface="+mn-ea"/>
              <a:cs typeface="+mn-cs"/>
            </a:endParaRPr>
          </a:p>
        </p:txBody>
      </p:sp>
      <p:sp>
        <p:nvSpPr>
          <p:cNvPr id="11" name="Freeform: Shape 15">
            <a:extLst>
              <a:ext uri="{FF2B5EF4-FFF2-40B4-BE49-F238E27FC236}">
                <a16:creationId xmlns:a16="http://schemas.microsoft.com/office/drawing/2014/main" id="{EEE6ADF3-46A5-4173-B65C-6C984A2CC2B9}"/>
              </a:ext>
            </a:extLst>
          </p:cNvPr>
          <p:cNvSpPr>
            <a:spLocks/>
          </p:cNvSpPr>
          <p:nvPr/>
        </p:nvSpPr>
        <p:spPr bwMode="auto">
          <a:xfrm>
            <a:off x="0" y="1819334"/>
            <a:ext cx="12192000" cy="5038666"/>
          </a:xfrm>
          <a:custGeom>
            <a:avLst/>
            <a:gdLst>
              <a:gd name="connsiteX0" fmla="*/ 2945178 w 12192000"/>
              <a:gd name="connsiteY0" fmla="*/ 0 h 5038666"/>
              <a:gd name="connsiteX1" fmla="*/ 2942307 w 12192000"/>
              <a:gd name="connsiteY1" fmla="*/ 2524 h 5038666"/>
              <a:gd name="connsiteX2" fmla="*/ 2934459 w 12192000"/>
              <a:gd name="connsiteY2" fmla="*/ 9556 h 5038666"/>
              <a:gd name="connsiteX3" fmla="*/ 2928718 w 12192000"/>
              <a:gd name="connsiteY3" fmla="*/ 15145 h 5038666"/>
              <a:gd name="connsiteX4" fmla="*/ 2922019 w 12192000"/>
              <a:gd name="connsiteY4" fmla="*/ 21816 h 5038666"/>
              <a:gd name="connsiteX5" fmla="*/ 2914554 w 12192000"/>
              <a:gd name="connsiteY5" fmla="*/ 29569 h 5038666"/>
              <a:gd name="connsiteX6" fmla="*/ 2906133 w 12192000"/>
              <a:gd name="connsiteY6" fmla="*/ 38223 h 5038666"/>
              <a:gd name="connsiteX7" fmla="*/ 2896754 w 12192000"/>
              <a:gd name="connsiteY7" fmla="*/ 48500 h 5038666"/>
              <a:gd name="connsiteX8" fmla="*/ 2886993 w 12192000"/>
              <a:gd name="connsiteY8" fmla="*/ 59679 h 5038666"/>
              <a:gd name="connsiteX9" fmla="*/ 2876466 w 12192000"/>
              <a:gd name="connsiteY9" fmla="*/ 71939 h 5038666"/>
              <a:gd name="connsiteX10" fmla="*/ 2865365 w 12192000"/>
              <a:gd name="connsiteY10" fmla="*/ 85641 h 5038666"/>
              <a:gd name="connsiteX11" fmla="*/ 2854073 w 12192000"/>
              <a:gd name="connsiteY11" fmla="*/ 100065 h 5038666"/>
              <a:gd name="connsiteX12" fmla="*/ 2842207 w 12192000"/>
              <a:gd name="connsiteY12" fmla="*/ 115931 h 5038666"/>
              <a:gd name="connsiteX13" fmla="*/ 2830340 w 12192000"/>
              <a:gd name="connsiteY13" fmla="*/ 132699 h 5038666"/>
              <a:gd name="connsiteX14" fmla="*/ 2818090 w 12192000"/>
              <a:gd name="connsiteY14" fmla="*/ 150548 h 5038666"/>
              <a:gd name="connsiteX15" fmla="*/ 2805841 w 12192000"/>
              <a:gd name="connsiteY15" fmla="*/ 169660 h 5038666"/>
              <a:gd name="connsiteX16" fmla="*/ 2793592 w 12192000"/>
              <a:gd name="connsiteY16" fmla="*/ 189673 h 5038666"/>
              <a:gd name="connsiteX17" fmla="*/ 2781343 w 12192000"/>
              <a:gd name="connsiteY17" fmla="*/ 210768 h 5038666"/>
              <a:gd name="connsiteX18" fmla="*/ 2769667 w 12192000"/>
              <a:gd name="connsiteY18" fmla="*/ 232944 h 5038666"/>
              <a:gd name="connsiteX19" fmla="*/ 2757801 w 12192000"/>
              <a:gd name="connsiteY19" fmla="*/ 256023 h 5038666"/>
              <a:gd name="connsiteX20" fmla="*/ 2746508 w 12192000"/>
              <a:gd name="connsiteY20" fmla="*/ 280363 h 5038666"/>
              <a:gd name="connsiteX21" fmla="*/ 2735599 w 12192000"/>
              <a:gd name="connsiteY21" fmla="*/ 305604 h 5038666"/>
              <a:gd name="connsiteX22" fmla="*/ 2725455 w 12192000"/>
              <a:gd name="connsiteY22" fmla="*/ 332108 h 5038666"/>
              <a:gd name="connsiteX23" fmla="*/ 2715694 w 12192000"/>
              <a:gd name="connsiteY23" fmla="*/ 359153 h 5038666"/>
              <a:gd name="connsiteX24" fmla="*/ 2706507 w 12192000"/>
              <a:gd name="connsiteY24" fmla="*/ 387459 h 5038666"/>
              <a:gd name="connsiteX25" fmla="*/ 2698277 w 12192000"/>
              <a:gd name="connsiteY25" fmla="*/ 416848 h 5038666"/>
              <a:gd name="connsiteX26" fmla="*/ 2690812 w 12192000"/>
              <a:gd name="connsiteY26" fmla="*/ 447138 h 5038666"/>
              <a:gd name="connsiteX27" fmla="*/ 2684305 w 12192000"/>
              <a:gd name="connsiteY27" fmla="*/ 478329 h 5038666"/>
              <a:gd name="connsiteX28" fmla="*/ 2678946 w 12192000"/>
              <a:gd name="connsiteY28" fmla="*/ 510603 h 5038666"/>
              <a:gd name="connsiteX29" fmla="*/ 2674735 w 12192000"/>
              <a:gd name="connsiteY29" fmla="*/ 543958 h 5038666"/>
              <a:gd name="connsiteX30" fmla="*/ 2671673 w 12192000"/>
              <a:gd name="connsiteY30" fmla="*/ 578034 h 5038666"/>
              <a:gd name="connsiteX31" fmla="*/ 2670141 w 12192000"/>
              <a:gd name="connsiteY31" fmla="*/ 612290 h 5038666"/>
              <a:gd name="connsiteX32" fmla="*/ 2669759 w 12192000"/>
              <a:gd name="connsiteY32" fmla="*/ 646547 h 5038666"/>
              <a:gd name="connsiteX33" fmla="*/ 2671098 w 12192000"/>
              <a:gd name="connsiteY33" fmla="*/ 680082 h 5038666"/>
              <a:gd name="connsiteX34" fmla="*/ 2673778 w 12192000"/>
              <a:gd name="connsiteY34" fmla="*/ 713257 h 5038666"/>
              <a:gd name="connsiteX35" fmla="*/ 2677606 w 12192000"/>
              <a:gd name="connsiteY35" fmla="*/ 745891 h 5038666"/>
              <a:gd name="connsiteX36" fmla="*/ 2682582 w 12192000"/>
              <a:gd name="connsiteY36" fmla="*/ 777984 h 5038666"/>
              <a:gd name="connsiteX37" fmla="*/ 2688515 w 12192000"/>
              <a:gd name="connsiteY37" fmla="*/ 809536 h 5038666"/>
              <a:gd name="connsiteX38" fmla="*/ 2695406 w 12192000"/>
              <a:gd name="connsiteY38" fmla="*/ 840367 h 5038666"/>
              <a:gd name="connsiteX39" fmla="*/ 2703253 w 12192000"/>
              <a:gd name="connsiteY39" fmla="*/ 870476 h 5038666"/>
              <a:gd name="connsiteX40" fmla="*/ 2711674 w 12192000"/>
              <a:gd name="connsiteY40" fmla="*/ 899865 h 5038666"/>
              <a:gd name="connsiteX41" fmla="*/ 2720670 w 12192000"/>
              <a:gd name="connsiteY41" fmla="*/ 928532 h 5038666"/>
              <a:gd name="connsiteX42" fmla="*/ 2730431 w 12192000"/>
              <a:gd name="connsiteY42" fmla="*/ 956118 h 5038666"/>
              <a:gd name="connsiteX43" fmla="*/ 2740575 w 12192000"/>
              <a:gd name="connsiteY43" fmla="*/ 982802 h 5038666"/>
              <a:gd name="connsiteX44" fmla="*/ 2751102 w 12192000"/>
              <a:gd name="connsiteY44" fmla="*/ 1008764 h 5038666"/>
              <a:gd name="connsiteX45" fmla="*/ 2761820 w 12192000"/>
              <a:gd name="connsiteY45" fmla="*/ 1033826 h 5038666"/>
              <a:gd name="connsiteX46" fmla="*/ 2772730 w 12192000"/>
              <a:gd name="connsiteY46" fmla="*/ 1057625 h 5038666"/>
              <a:gd name="connsiteX47" fmla="*/ 2783831 w 12192000"/>
              <a:gd name="connsiteY47" fmla="*/ 1080523 h 5038666"/>
              <a:gd name="connsiteX48" fmla="*/ 2794932 w 12192000"/>
              <a:gd name="connsiteY48" fmla="*/ 1101978 h 5038666"/>
              <a:gd name="connsiteX49" fmla="*/ 2805841 w 12192000"/>
              <a:gd name="connsiteY49" fmla="*/ 1122532 h 5038666"/>
              <a:gd name="connsiteX50" fmla="*/ 2816559 w 12192000"/>
              <a:gd name="connsiteY50" fmla="*/ 1141824 h 5038666"/>
              <a:gd name="connsiteX51" fmla="*/ 2826703 w 12192000"/>
              <a:gd name="connsiteY51" fmla="*/ 1159854 h 5038666"/>
              <a:gd name="connsiteX52" fmla="*/ 2836656 w 12192000"/>
              <a:gd name="connsiteY52" fmla="*/ 1176621 h 5038666"/>
              <a:gd name="connsiteX53" fmla="*/ 2846226 w 12192000"/>
              <a:gd name="connsiteY53" fmla="*/ 1191766 h 5038666"/>
              <a:gd name="connsiteX54" fmla="*/ 2855221 w 12192000"/>
              <a:gd name="connsiteY54" fmla="*/ 1205649 h 5038666"/>
              <a:gd name="connsiteX55" fmla="*/ 2863451 w 12192000"/>
              <a:gd name="connsiteY55" fmla="*/ 1218270 h 5038666"/>
              <a:gd name="connsiteX56" fmla="*/ 2870725 w 12192000"/>
              <a:gd name="connsiteY56" fmla="*/ 1229088 h 5038666"/>
              <a:gd name="connsiteX57" fmla="*/ 2877232 w 12192000"/>
              <a:gd name="connsiteY57" fmla="*/ 1238463 h 5038666"/>
              <a:gd name="connsiteX58" fmla="*/ 2882782 w 12192000"/>
              <a:gd name="connsiteY58" fmla="*/ 1246216 h 5038666"/>
              <a:gd name="connsiteX59" fmla="*/ 2890821 w 12192000"/>
              <a:gd name="connsiteY59" fmla="*/ 1256854 h 5038666"/>
              <a:gd name="connsiteX60" fmla="*/ 2893309 w 12192000"/>
              <a:gd name="connsiteY60" fmla="*/ 1260460 h 5038666"/>
              <a:gd name="connsiteX61" fmla="*/ 2894649 w 12192000"/>
              <a:gd name="connsiteY61" fmla="*/ 1255411 h 5038666"/>
              <a:gd name="connsiteX62" fmla="*/ 2898860 w 12192000"/>
              <a:gd name="connsiteY62" fmla="*/ 1241348 h 5038666"/>
              <a:gd name="connsiteX63" fmla="*/ 2905750 w 12192000"/>
              <a:gd name="connsiteY63" fmla="*/ 1219172 h 5038666"/>
              <a:gd name="connsiteX64" fmla="*/ 2915320 w 12192000"/>
              <a:gd name="connsiteY64" fmla="*/ 1189963 h 5038666"/>
              <a:gd name="connsiteX65" fmla="*/ 2921253 w 12192000"/>
              <a:gd name="connsiteY65" fmla="*/ 1172835 h 5038666"/>
              <a:gd name="connsiteX66" fmla="*/ 2927569 w 12192000"/>
              <a:gd name="connsiteY66" fmla="*/ 1154264 h 5038666"/>
              <a:gd name="connsiteX67" fmla="*/ 2934651 w 12192000"/>
              <a:gd name="connsiteY67" fmla="*/ 1134432 h 5038666"/>
              <a:gd name="connsiteX68" fmla="*/ 2942498 w 12192000"/>
              <a:gd name="connsiteY68" fmla="*/ 1113337 h 5038666"/>
              <a:gd name="connsiteX69" fmla="*/ 2950920 w 12192000"/>
              <a:gd name="connsiteY69" fmla="*/ 1091341 h 5038666"/>
              <a:gd name="connsiteX70" fmla="*/ 2960107 w 12192000"/>
              <a:gd name="connsiteY70" fmla="*/ 1068263 h 5038666"/>
              <a:gd name="connsiteX71" fmla="*/ 2969868 w 12192000"/>
              <a:gd name="connsiteY71" fmla="*/ 1044283 h 5038666"/>
              <a:gd name="connsiteX72" fmla="*/ 2980203 w 12192000"/>
              <a:gd name="connsiteY72" fmla="*/ 1019763 h 5038666"/>
              <a:gd name="connsiteX73" fmla="*/ 2991304 w 12192000"/>
              <a:gd name="connsiteY73" fmla="*/ 994701 h 5038666"/>
              <a:gd name="connsiteX74" fmla="*/ 3002979 w 12192000"/>
              <a:gd name="connsiteY74" fmla="*/ 969099 h 5038666"/>
              <a:gd name="connsiteX75" fmla="*/ 3015420 w 12192000"/>
              <a:gd name="connsiteY75" fmla="*/ 943136 h 5038666"/>
              <a:gd name="connsiteX76" fmla="*/ 3028435 w 12192000"/>
              <a:gd name="connsiteY76" fmla="*/ 916993 h 5038666"/>
              <a:gd name="connsiteX77" fmla="*/ 3042024 w 12192000"/>
              <a:gd name="connsiteY77" fmla="*/ 890489 h 5038666"/>
              <a:gd name="connsiteX78" fmla="*/ 3056187 w 12192000"/>
              <a:gd name="connsiteY78" fmla="*/ 864346 h 5038666"/>
              <a:gd name="connsiteX79" fmla="*/ 3071116 w 12192000"/>
              <a:gd name="connsiteY79" fmla="*/ 838203 h 5038666"/>
              <a:gd name="connsiteX80" fmla="*/ 3086811 w 12192000"/>
              <a:gd name="connsiteY80" fmla="*/ 812420 h 5038666"/>
              <a:gd name="connsiteX81" fmla="*/ 3102888 w 12192000"/>
              <a:gd name="connsiteY81" fmla="*/ 786999 h 5038666"/>
              <a:gd name="connsiteX82" fmla="*/ 3119539 w 12192000"/>
              <a:gd name="connsiteY82" fmla="*/ 761937 h 5038666"/>
              <a:gd name="connsiteX83" fmla="*/ 3137148 w 12192000"/>
              <a:gd name="connsiteY83" fmla="*/ 737777 h 5038666"/>
              <a:gd name="connsiteX84" fmla="*/ 3155139 w 12192000"/>
              <a:gd name="connsiteY84" fmla="*/ 714339 h 5038666"/>
              <a:gd name="connsiteX85" fmla="*/ 3173896 w 12192000"/>
              <a:gd name="connsiteY85" fmla="*/ 691621 h 5038666"/>
              <a:gd name="connsiteX86" fmla="*/ 3193227 w 12192000"/>
              <a:gd name="connsiteY86" fmla="*/ 669985 h 5038666"/>
              <a:gd name="connsiteX87" fmla="*/ 3212941 w 12192000"/>
              <a:gd name="connsiteY87" fmla="*/ 649432 h 5038666"/>
              <a:gd name="connsiteX88" fmla="*/ 3233420 w 12192000"/>
              <a:gd name="connsiteY88" fmla="*/ 630140 h 5038666"/>
              <a:gd name="connsiteX89" fmla="*/ 3253325 w 12192000"/>
              <a:gd name="connsiteY89" fmla="*/ 611569 h 5038666"/>
              <a:gd name="connsiteX90" fmla="*/ 3272082 w 12192000"/>
              <a:gd name="connsiteY90" fmla="*/ 592638 h 5038666"/>
              <a:gd name="connsiteX91" fmla="*/ 3289116 w 12192000"/>
              <a:gd name="connsiteY91" fmla="*/ 573526 h 5038666"/>
              <a:gd name="connsiteX92" fmla="*/ 3305002 w 12192000"/>
              <a:gd name="connsiteY92" fmla="*/ 554775 h 5038666"/>
              <a:gd name="connsiteX93" fmla="*/ 3319357 w 12192000"/>
              <a:gd name="connsiteY93" fmla="*/ 535664 h 5038666"/>
              <a:gd name="connsiteX94" fmla="*/ 3332563 w 12192000"/>
              <a:gd name="connsiteY94" fmla="*/ 516733 h 5038666"/>
              <a:gd name="connsiteX95" fmla="*/ 3344430 w 12192000"/>
              <a:gd name="connsiteY95" fmla="*/ 497801 h 5038666"/>
              <a:gd name="connsiteX96" fmla="*/ 3355339 w 12192000"/>
              <a:gd name="connsiteY96" fmla="*/ 479050 h 5038666"/>
              <a:gd name="connsiteX97" fmla="*/ 3364909 w 12192000"/>
              <a:gd name="connsiteY97" fmla="*/ 460480 h 5038666"/>
              <a:gd name="connsiteX98" fmla="*/ 3373522 w 12192000"/>
              <a:gd name="connsiteY98" fmla="*/ 442089 h 5038666"/>
              <a:gd name="connsiteX99" fmla="*/ 3381369 w 12192000"/>
              <a:gd name="connsiteY99" fmla="*/ 424060 h 5038666"/>
              <a:gd name="connsiteX100" fmla="*/ 3388260 w 12192000"/>
              <a:gd name="connsiteY100" fmla="*/ 406391 h 5038666"/>
              <a:gd name="connsiteX101" fmla="*/ 3394001 w 12192000"/>
              <a:gd name="connsiteY101" fmla="*/ 388902 h 5038666"/>
              <a:gd name="connsiteX102" fmla="*/ 3399169 w 12192000"/>
              <a:gd name="connsiteY102" fmla="*/ 372134 h 5038666"/>
              <a:gd name="connsiteX103" fmla="*/ 3403571 w 12192000"/>
              <a:gd name="connsiteY103" fmla="*/ 355727 h 5038666"/>
              <a:gd name="connsiteX104" fmla="*/ 3407208 w 12192000"/>
              <a:gd name="connsiteY104" fmla="*/ 340041 h 5038666"/>
              <a:gd name="connsiteX105" fmla="*/ 3410079 w 12192000"/>
              <a:gd name="connsiteY105" fmla="*/ 324716 h 5038666"/>
              <a:gd name="connsiteX106" fmla="*/ 3412567 w 12192000"/>
              <a:gd name="connsiteY106" fmla="*/ 310112 h 5038666"/>
              <a:gd name="connsiteX107" fmla="*/ 3414289 w 12192000"/>
              <a:gd name="connsiteY107" fmla="*/ 296049 h 5038666"/>
              <a:gd name="connsiteX108" fmla="*/ 3415821 w 12192000"/>
              <a:gd name="connsiteY108" fmla="*/ 282887 h 5038666"/>
              <a:gd name="connsiteX109" fmla="*/ 3416778 w 12192000"/>
              <a:gd name="connsiteY109" fmla="*/ 270266 h 5038666"/>
              <a:gd name="connsiteX110" fmla="*/ 3417160 w 12192000"/>
              <a:gd name="connsiteY110" fmla="*/ 258547 h 5038666"/>
              <a:gd name="connsiteX111" fmla="*/ 3417352 w 12192000"/>
              <a:gd name="connsiteY111" fmla="*/ 247909 h 5038666"/>
              <a:gd name="connsiteX112" fmla="*/ 3417352 w 12192000"/>
              <a:gd name="connsiteY112" fmla="*/ 237993 h 5038666"/>
              <a:gd name="connsiteX113" fmla="*/ 3417160 w 12192000"/>
              <a:gd name="connsiteY113" fmla="*/ 229158 h 5038666"/>
              <a:gd name="connsiteX114" fmla="*/ 3416969 w 12192000"/>
              <a:gd name="connsiteY114" fmla="*/ 221225 h 5038666"/>
              <a:gd name="connsiteX115" fmla="*/ 3416203 w 12192000"/>
              <a:gd name="connsiteY115" fmla="*/ 214554 h 5038666"/>
              <a:gd name="connsiteX116" fmla="*/ 3415821 w 12192000"/>
              <a:gd name="connsiteY116" fmla="*/ 208965 h 5038666"/>
              <a:gd name="connsiteX117" fmla="*/ 3414864 w 12192000"/>
              <a:gd name="connsiteY117" fmla="*/ 201212 h 5038666"/>
              <a:gd name="connsiteX118" fmla="*/ 3414481 w 12192000"/>
              <a:gd name="connsiteY118" fmla="*/ 198508 h 5038666"/>
              <a:gd name="connsiteX119" fmla="*/ 3414864 w 12192000"/>
              <a:gd name="connsiteY119" fmla="*/ 199229 h 5038666"/>
              <a:gd name="connsiteX120" fmla="*/ 3416586 w 12192000"/>
              <a:gd name="connsiteY120" fmla="*/ 201933 h 5038666"/>
              <a:gd name="connsiteX121" fmla="*/ 3418500 w 12192000"/>
              <a:gd name="connsiteY121" fmla="*/ 206621 h 5038666"/>
              <a:gd name="connsiteX122" fmla="*/ 3420988 w 12192000"/>
              <a:gd name="connsiteY122" fmla="*/ 213112 h 5038666"/>
              <a:gd name="connsiteX123" fmla="*/ 3423859 w 12192000"/>
              <a:gd name="connsiteY123" fmla="*/ 221405 h 5038666"/>
              <a:gd name="connsiteX124" fmla="*/ 3426730 w 12192000"/>
              <a:gd name="connsiteY124" fmla="*/ 231682 h 5038666"/>
              <a:gd name="connsiteX125" fmla="*/ 3428261 w 12192000"/>
              <a:gd name="connsiteY125" fmla="*/ 237632 h 5038666"/>
              <a:gd name="connsiteX126" fmla="*/ 3429793 w 12192000"/>
              <a:gd name="connsiteY126" fmla="*/ 243943 h 5038666"/>
              <a:gd name="connsiteX127" fmla="*/ 3431132 w 12192000"/>
              <a:gd name="connsiteY127" fmla="*/ 250794 h 5038666"/>
              <a:gd name="connsiteX128" fmla="*/ 3432472 w 12192000"/>
              <a:gd name="connsiteY128" fmla="*/ 258186 h 5038666"/>
              <a:gd name="connsiteX129" fmla="*/ 3433812 w 12192000"/>
              <a:gd name="connsiteY129" fmla="*/ 265939 h 5038666"/>
              <a:gd name="connsiteX130" fmla="*/ 3434960 w 12192000"/>
              <a:gd name="connsiteY130" fmla="*/ 274233 h 5038666"/>
              <a:gd name="connsiteX131" fmla="*/ 3435917 w 12192000"/>
              <a:gd name="connsiteY131" fmla="*/ 283067 h 5038666"/>
              <a:gd name="connsiteX132" fmla="*/ 3436683 w 12192000"/>
              <a:gd name="connsiteY132" fmla="*/ 292443 h 5038666"/>
              <a:gd name="connsiteX133" fmla="*/ 3437448 w 12192000"/>
              <a:gd name="connsiteY133" fmla="*/ 302359 h 5038666"/>
              <a:gd name="connsiteX134" fmla="*/ 3437831 w 12192000"/>
              <a:gd name="connsiteY134" fmla="*/ 312816 h 5038666"/>
              <a:gd name="connsiteX135" fmla="*/ 3438022 w 12192000"/>
              <a:gd name="connsiteY135" fmla="*/ 323634 h 5038666"/>
              <a:gd name="connsiteX136" fmla="*/ 3437831 w 12192000"/>
              <a:gd name="connsiteY136" fmla="*/ 335173 h 5038666"/>
              <a:gd name="connsiteX137" fmla="*/ 3437640 w 12192000"/>
              <a:gd name="connsiteY137" fmla="*/ 347073 h 5038666"/>
              <a:gd name="connsiteX138" fmla="*/ 3436874 w 12192000"/>
              <a:gd name="connsiteY138" fmla="*/ 359513 h 5038666"/>
              <a:gd name="connsiteX139" fmla="*/ 3436109 w 12192000"/>
              <a:gd name="connsiteY139" fmla="*/ 372495 h 5038666"/>
              <a:gd name="connsiteX140" fmla="*/ 3434769 w 12192000"/>
              <a:gd name="connsiteY140" fmla="*/ 386017 h 5038666"/>
              <a:gd name="connsiteX141" fmla="*/ 3432855 w 12192000"/>
              <a:gd name="connsiteY141" fmla="*/ 400080 h 5038666"/>
              <a:gd name="connsiteX142" fmla="*/ 3430941 w 12192000"/>
              <a:gd name="connsiteY142" fmla="*/ 414684 h 5038666"/>
              <a:gd name="connsiteX143" fmla="*/ 3428453 w 12192000"/>
              <a:gd name="connsiteY143" fmla="*/ 430010 h 5038666"/>
              <a:gd name="connsiteX144" fmla="*/ 3425582 w 12192000"/>
              <a:gd name="connsiteY144" fmla="*/ 445695 h 5038666"/>
              <a:gd name="connsiteX145" fmla="*/ 3422137 w 12192000"/>
              <a:gd name="connsiteY145" fmla="*/ 461742 h 5038666"/>
              <a:gd name="connsiteX146" fmla="*/ 3417543 w 12192000"/>
              <a:gd name="connsiteY146" fmla="*/ 478149 h 5038666"/>
              <a:gd name="connsiteX147" fmla="*/ 3412184 w 12192000"/>
              <a:gd name="connsiteY147" fmla="*/ 494917 h 5038666"/>
              <a:gd name="connsiteX148" fmla="*/ 3406442 w 12192000"/>
              <a:gd name="connsiteY148" fmla="*/ 511684 h 5038666"/>
              <a:gd name="connsiteX149" fmla="*/ 3399743 w 12192000"/>
              <a:gd name="connsiteY149" fmla="*/ 528452 h 5038666"/>
              <a:gd name="connsiteX150" fmla="*/ 3392470 w 12192000"/>
              <a:gd name="connsiteY150" fmla="*/ 545400 h 5038666"/>
              <a:gd name="connsiteX151" fmla="*/ 3384623 w 12192000"/>
              <a:gd name="connsiteY151" fmla="*/ 562348 h 5038666"/>
              <a:gd name="connsiteX152" fmla="*/ 3376202 w 12192000"/>
              <a:gd name="connsiteY152" fmla="*/ 579116 h 5038666"/>
              <a:gd name="connsiteX153" fmla="*/ 3367589 w 12192000"/>
              <a:gd name="connsiteY153" fmla="*/ 595883 h 5038666"/>
              <a:gd name="connsiteX154" fmla="*/ 3358402 w 12192000"/>
              <a:gd name="connsiteY154" fmla="*/ 612471 h 5038666"/>
              <a:gd name="connsiteX155" fmla="*/ 3349215 w 12192000"/>
              <a:gd name="connsiteY155" fmla="*/ 628878 h 5038666"/>
              <a:gd name="connsiteX156" fmla="*/ 3339645 w 12192000"/>
              <a:gd name="connsiteY156" fmla="*/ 645285 h 5038666"/>
              <a:gd name="connsiteX157" fmla="*/ 3330075 w 12192000"/>
              <a:gd name="connsiteY157" fmla="*/ 661151 h 5038666"/>
              <a:gd name="connsiteX158" fmla="*/ 3320123 w 12192000"/>
              <a:gd name="connsiteY158" fmla="*/ 676656 h 5038666"/>
              <a:gd name="connsiteX159" fmla="*/ 3310361 w 12192000"/>
              <a:gd name="connsiteY159" fmla="*/ 691621 h 5038666"/>
              <a:gd name="connsiteX160" fmla="*/ 3300409 w 12192000"/>
              <a:gd name="connsiteY160" fmla="*/ 706406 h 5038666"/>
              <a:gd name="connsiteX161" fmla="*/ 3290648 w 12192000"/>
              <a:gd name="connsiteY161" fmla="*/ 720649 h 5038666"/>
              <a:gd name="connsiteX162" fmla="*/ 3281078 w 12192000"/>
              <a:gd name="connsiteY162" fmla="*/ 734171 h 5038666"/>
              <a:gd name="connsiteX163" fmla="*/ 3271891 w 12192000"/>
              <a:gd name="connsiteY163" fmla="*/ 747153 h 5038666"/>
              <a:gd name="connsiteX164" fmla="*/ 3262704 w 12192000"/>
              <a:gd name="connsiteY164" fmla="*/ 759774 h 5038666"/>
              <a:gd name="connsiteX165" fmla="*/ 3245861 w 12192000"/>
              <a:gd name="connsiteY165" fmla="*/ 782311 h 5038666"/>
              <a:gd name="connsiteX166" fmla="*/ 3230741 w 12192000"/>
              <a:gd name="connsiteY166" fmla="*/ 801603 h 5038666"/>
              <a:gd name="connsiteX167" fmla="*/ 3218108 w 12192000"/>
              <a:gd name="connsiteY167" fmla="*/ 817469 h 5038666"/>
              <a:gd name="connsiteX168" fmla="*/ 3208539 w 12192000"/>
              <a:gd name="connsiteY168" fmla="*/ 829188 h 5038666"/>
              <a:gd name="connsiteX169" fmla="*/ 3202223 w 12192000"/>
              <a:gd name="connsiteY169" fmla="*/ 836580 h 5038666"/>
              <a:gd name="connsiteX170" fmla="*/ 3200309 w 12192000"/>
              <a:gd name="connsiteY170" fmla="*/ 839104 h 5038666"/>
              <a:gd name="connsiteX171" fmla="*/ 3203562 w 12192000"/>
              <a:gd name="connsiteY171" fmla="*/ 836580 h 5038666"/>
              <a:gd name="connsiteX172" fmla="*/ 3213324 w 12192000"/>
              <a:gd name="connsiteY172" fmla="*/ 829008 h 5038666"/>
              <a:gd name="connsiteX173" fmla="*/ 3229401 w 12192000"/>
              <a:gd name="connsiteY173" fmla="*/ 817288 h 5038666"/>
              <a:gd name="connsiteX174" fmla="*/ 3250646 w 12192000"/>
              <a:gd name="connsiteY174" fmla="*/ 801783 h 5038666"/>
              <a:gd name="connsiteX175" fmla="*/ 3263469 w 12192000"/>
              <a:gd name="connsiteY175" fmla="*/ 792768 h 5038666"/>
              <a:gd name="connsiteX176" fmla="*/ 3277250 w 12192000"/>
              <a:gd name="connsiteY176" fmla="*/ 783212 h 5038666"/>
              <a:gd name="connsiteX177" fmla="*/ 3292370 w 12192000"/>
              <a:gd name="connsiteY177" fmla="*/ 772755 h 5038666"/>
              <a:gd name="connsiteX178" fmla="*/ 3308256 w 12192000"/>
              <a:gd name="connsiteY178" fmla="*/ 761577 h 5038666"/>
              <a:gd name="connsiteX179" fmla="*/ 3325673 w 12192000"/>
              <a:gd name="connsiteY179" fmla="*/ 750038 h 5038666"/>
              <a:gd name="connsiteX180" fmla="*/ 3343664 w 12192000"/>
              <a:gd name="connsiteY180" fmla="*/ 738138 h 5038666"/>
              <a:gd name="connsiteX181" fmla="*/ 3362804 w 12192000"/>
              <a:gd name="connsiteY181" fmla="*/ 725517 h 5038666"/>
              <a:gd name="connsiteX182" fmla="*/ 3382709 w 12192000"/>
              <a:gd name="connsiteY182" fmla="*/ 712896 h 5038666"/>
              <a:gd name="connsiteX183" fmla="*/ 3403380 w 12192000"/>
              <a:gd name="connsiteY183" fmla="*/ 699915 h 5038666"/>
              <a:gd name="connsiteX184" fmla="*/ 3425008 w 12192000"/>
              <a:gd name="connsiteY184" fmla="*/ 686573 h 5038666"/>
              <a:gd name="connsiteX185" fmla="*/ 3447210 w 12192000"/>
              <a:gd name="connsiteY185" fmla="*/ 673231 h 5038666"/>
              <a:gd name="connsiteX186" fmla="*/ 3469986 w 12192000"/>
              <a:gd name="connsiteY186" fmla="*/ 659889 h 5038666"/>
              <a:gd name="connsiteX187" fmla="*/ 3493336 w 12192000"/>
              <a:gd name="connsiteY187" fmla="*/ 646547 h 5038666"/>
              <a:gd name="connsiteX188" fmla="*/ 3517452 w 12192000"/>
              <a:gd name="connsiteY188" fmla="*/ 633205 h 5038666"/>
              <a:gd name="connsiteX189" fmla="*/ 3541759 w 12192000"/>
              <a:gd name="connsiteY189" fmla="*/ 620043 h 5038666"/>
              <a:gd name="connsiteX190" fmla="*/ 3566641 w 12192000"/>
              <a:gd name="connsiteY190" fmla="*/ 607062 h 5038666"/>
              <a:gd name="connsiteX191" fmla="*/ 3591905 w 12192000"/>
              <a:gd name="connsiteY191" fmla="*/ 594261 h 5038666"/>
              <a:gd name="connsiteX192" fmla="*/ 3617169 w 12192000"/>
              <a:gd name="connsiteY192" fmla="*/ 582000 h 5038666"/>
              <a:gd name="connsiteX193" fmla="*/ 3643008 w 12192000"/>
              <a:gd name="connsiteY193" fmla="*/ 570101 h 5038666"/>
              <a:gd name="connsiteX194" fmla="*/ 3668846 w 12192000"/>
              <a:gd name="connsiteY194" fmla="*/ 558562 h 5038666"/>
              <a:gd name="connsiteX195" fmla="*/ 3694876 w 12192000"/>
              <a:gd name="connsiteY195" fmla="*/ 547744 h 5038666"/>
              <a:gd name="connsiteX196" fmla="*/ 3720906 w 12192000"/>
              <a:gd name="connsiteY196" fmla="*/ 537467 h 5038666"/>
              <a:gd name="connsiteX197" fmla="*/ 3746936 w 12192000"/>
              <a:gd name="connsiteY197" fmla="*/ 527731 h 5038666"/>
              <a:gd name="connsiteX198" fmla="*/ 3773157 w 12192000"/>
              <a:gd name="connsiteY198" fmla="*/ 518716 h 5038666"/>
              <a:gd name="connsiteX199" fmla="*/ 3798613 w 12192000"/>
              <a:gd name="connsiteY199" fmla="*/ 509340 h 5038666"/>
              <a:gd name="connsiteX200" fmla="*/ 3823877 w 12192000"/>
              <a:gd name="connsiteY200" fmla="*/ 498162 h 5038666"/>
              <a:gd name="connsiteX201" fmla="*/ 3848567 w 12192000"/>
              <a:gd name="connsiteY201" fmla="*/ 485541 h 5038666"/>
              <a:gd name="connsiteX202" fmla="*/ 3872300 w 12192000"/>
              <a:gd name="connsiteY202" fmla="*/ 471478 h 5038666"/>
              <a:gd name="connsiteX203" fmla="*/ 3895651 w 12192000"/>
              <a:gd name="connsiteY203" fmla="*/ 455972 h 5038666"/>
              <a:gd name="connsiteX204" fmla="*/ 3918235 w 12192000"/>
              <a:gd name="connsiteY204" fmla="*/ 439205 h 5038666"/>
              <a:gd name="connsiteX205" fmla="*/ 3940246 w 12192000"/>
              <a:gd name="connsiteY205" fmla="*/ 421355 h 5038666"/>
              <a:gd name="connsiteX206" fmla="*/ 3961682 w 12192000"/>
              <a:gd name="connsiteY206" fmla="*/ 402785 h 5038666"/>
              <a:gd name="connsiteX207" fmla="*/ 3982161 w 12192000"/>
              <a:gd name="connsiteY207" fmla="*/ 383313 h 5038666"/>
              <a:gd name="connsiteX208" fmla="*/ 4002258 w 12192000"/>
              <a:gd name="connsiteY208" fmla="*/ 363299 h 5038666"/>
              <a:gd name="connsiteX209" fmla="*/ 4021398 w 12192000"/>
              <a:gd name="connsiteY209" fmla="*/ 342565 h 5038666"/>
              <a:gd name="connsiteX210" fmla="*/ 4039772 w 12192000"/>
              <a:gd name="connsiteY210" fmla="*/ 321470 h 5038666"/>
              <a:gd name="connsiteX211" fmla="*/ 4057571 w 12192000"/>
              <a:gd name="connsiteY211" fmla="*/ 300195 h 5038666"/>
              <a:gd name="connsiteX212" fmla="*/ 4074415 w 12192000"/>
              <a:gd name="connsiteY212" fmla="*/ 278560 h 5038666"/>
              <a:gd name="connsiteX213" fmla="*/ 4090683 w 12192000"/>
              <a:gd name="connsiteY213" fmla="*/ 257285 h 5038666"/>
              <a:gd name="connsiteX214" fmla="*/ 4106186 w 12192000"/>
              <a:gd name="connsiteY214" fmla="*/ 236010 h 5038666"/>
              <a:gd name="connsiteX215" fmla="*/ 4120732 w 12192000"/>
              <a:gd name="connsiteY215" fmla="*/ 214734 h 5038666"/>
              <a:gd name="connsiteX216" fmla="*/ 4134513 w 12192000"/>
              <a:gd name="connsiteY216" fmla="*/ 194000 h 5038666"/>
              <a:gd name="connsiteX217" fmla="*/ 4147336 w 12192000"/>
              <a:gd name="connsiteY217" fmla="*/ 173987 h 5038666"/>
              <a:gd name="connsiteX218" fmla="*/ 4159394 w 12192000"/>
              <a:gd name="connsiteY218" fmla="*/ 154515 h 5038666"/>
              <a:gd name="connsiteX219" fmla="*/ 4170687 w 12192000"/>
              <a:gd name="connsiteY219" fmla="*/ 135944 h 5038666"/>
              <a:gd name="connsiteX220" fmla="*/ 4180831 w 12192000"/>
              <a:gd name="connsiteY220" fmla="*/ 118095 h 5038666"/>
              <a:gd name="connsiteX221" fmla="*/ 4190209 w 12192000"/>
              <a:gd name="connsiteY221" fmla="*/ 101508 h 5038666"/>
              <a:gd name="connsiteX222" fmla="*/ 4198630 w 12192000"/>
              <a:gd name="connsiteY222" fmla="*/ 86002 h 5038666"/>
              <a:gd name="connsiteX223" fmla="*/ 4206286 w 12192000"/>
              <a:gd name="connsiteY223" fmla="*/ 71759 h 5038666"/>
              <a:gd name="connsiteX224" fmla="*/ 4212985 w 12192000"/>
              <a:gd name="connsiteY224" fmla="*/ 58957 h 5038666"/>
              <a:gd name="connsiteX225" fmla="*/ 4218536 w 12192000"/>
              <a:gd name="connsiteY225" fmla="*/ 47959 h 5038666"/>
              <a:gd name="connsiteX226" fmla="*/ 4223129 w 12192000"/>
              <a:gd name="connsiteY226" fmla="*/ 38584 h 5038666"/>
              <a:gd name="connsiteX227" fmla="*/ 4229445 w 12192000"/>
              <a:gd name="connsiteY227" fmla="*/ 25602 h 5038666"/>
              <a:gd name="connsiteX228" fmla="*/ 4231359 w 12192000"/>
              <a:gd name="connsiteY228" fmla="*/ 20915 h 5038666"/>
              <a:gd name="connsiteX229" fmla="*/ 4231168 w 12192000"/>
              <a:gd name="connsiteY229" fmla="*/ 22898 h 5038666"/>
              <a:gd name="connsiteX230" fmla="*/ 4230019 w 12192000"/>
              <a:gd name="connsiteY230" fmla="*/ 28487 h 5038666"/>
              <a:gd name="connsiteX231" fmla="*/ 4227723 w 12192000"/>
              <a:gd name="connsiteY231" fmla="*/ 37863 h 5038666"/>
              <a:gd name="connsiteX232" fmla="*/ 4224660 w 12192000"/>
              <a:gd name="connsiteY232" fmla="*/ 50664 h 5038666"/>
              <a:gd name="connsiteX233" fmla="*/ 4222746 w 12192000"/>
              <a:gd name="connsiteY233" fmla="*/ 58236 h 5038666"/>
              <a:gd name="connsiteX234" fmla="*/ 4220450 w 12192000"/>
              <a:gd name="connsiteY234" fmla="*/ 66530 h 5038666"/>
              <a:gd name="connsiteX235" fmla="*/ 4217579 w 12192000"/>
              <a:gd name="connsiteY235" fmla="*/ 75725 h 5038666"/>
              <a:gd name="connsiteX236" fmla="*/ 4214708 w 12192000"/>
              <a:gd name="connsiteY236" fmla="*/ 85822 h 5038666"/>
              <a:gd name="connsiteX237" fmla="*/ 4211072 w 12192000"/>
              <a:gd name="connsiteY237" fmla="*/ 96639 h 5038666"/>
              <a:gd name="connsiteX238" fmla="*/ 4207053 w 12192000"/>
              <a:gd name="connsiteY238" fmla="*/ 107998 h 5038666"/>
              <a:gd name="connsiteX239" fmla="*/ 4202841 w 12192000"/>
              <a:gd name="connsiteY239" fmla="*/ 120439 h 5038666"/>
              <a:gd name="connsiteX240" fmla="*/ 4198057 w 12192000"/>
              <a:gd name="connsiteY240" fmla="*/ 133060 h 5038666"/>
              <a:gd name="connsiteX241" fmla="*/ 4192889 w 12192000"/>
              <a:gd name="connsiteY241" fmla="*/ 146762 h 5038666"/>
              <a:gd name="connsiteX242" fmla="*/ 4187147 w 12192000"/>
              <a:gd name="connsiteY242" fmla="*/ 161006 h 5038666"/>
              <a:gd name="connsiteX243" fmla="*/ 4180639 w 12192000"/>
              <a:gd name="connsiteY243" fmla="*/ 175790 h 5038666"/>
              <a:gd name="connsiteX244" fmla="*/ 4173940 w 12192000"/>
              <a:gd name="connsiteY244" fmla="*/ 191296 h 5038666"/>
              <a:gd name="connsiteX245" fmla="*/ 4166667 w 12192000"/>
              <a:gd name="connsiteY245" fmla="*/ 207342 h 5038666"/>
              <a:gd name="connsiteX246" fmla="*/ 4158629 w 12192000"/>
              <a:gd name="connsiteY246" fmla="*/ 223930 h 5038666"/>
              <a:gd name="connsiteX247" fmla="*/ 4150016 w 12192000"/>
              <a:gd name="connsiteY247" fmla="*/ 241238 h 5038666"/>
              <a:gd name="connsiteX248" fmla="*/ 4140829 w 12192000"/>
              <a:gd name="connsiteY248" fmla="*/ 258727 h 5038666"/>
              <a:gd name="connsiteX249" fmla="*/ 4131068 w 12192000"/>
              <a:gd name="connsiteY249" fmla="*/ 277117 h 5038666"/>
              <a:gd name="connsiteX250" fmla="*/ 4120732 w 12192000"/>
              <a:gd name="connsiteY250" fmla="*/ 295868 h 5038666"/>
              <a:gd name="connsiteX251" fmla="*/ 4109631 w 12192000"/>
              <a:gd name="connsiteY251" fmla="*/ 314980 h 5038666"/>
              <a:gd name="connsiteX252" fmla="*/ 4097574 w 12192000"/>
              <a:gd name="connsiteY252" fmla="*/ 334813 h 5038666"/>
              <a:gd name="connsiteX253" fmla="*/ 4085133 w 12192000"/>
              <a:gd name="connsiteY253" fmla="*/ 354826 h 5038666"/>
              <a:gd name="connsiteX254" fmla="*/ 4071735 w 12192000"/>
              <a:gd name="connsiteY254" fmla="*/ 375560 h 5038666"/>
              <a:gd name="connsiteX255" fmla="*/ 4057763 w 12192000"/>
              <a:gd name="connsiteY255" fmla="*/ 396474 h 5038666"/>
              <a:gd name="connsiteX256" fmla="*/ 4042834 w 12192000"/>
              <a:gd name="connsiteY256" fmla="*/ 417930 h 5038666"/>
              <a:gd name="connsiteX257" fmla="*/ 4026948 w 12192000"/>
              <a:gd name="connsiteY257" fmla="*/ 439024 h 5038666"/>
              <a:gd name="connsiteX258" fmla="*/ 4009531 w 12192000"/>
              <a:gd name="connsiteY258" fmla="*/ 459759 h 5038666"/>
              <a:gd name="connsiteX259" fmla="*/ 3990774 w 12192000"/>
              <a:gd name="connsiteY259" fmla="*/ 479591 h 5038666"/>
              <a:gd name="connsiteX260" fmla="*/ 3970678 w 12192000"/>
              <a:gd name="connsiteY260" fmla="*/ 499063 h 5038666"/>
              <a:gd name="connsiteX261" fmla="*/ 3949624 w 12192000"/>
              <a:gd name="connsiteY261" fmla="*/ 518175 h 5038666"/>
              <a:gd name="connsiteX262" fmla="*/ 3927422 w 12192000"/>
              <a:gd name="connsiteY262" fmla="*/ 536565 h 5038666"/>
              <a:gd name="connsiteX263" fmla="*/ 3904072 w 12192000"/>
              <a:gd name="connsiteY263" fmla="*/ 554775 h 5038666"/>
              <a:gd name="connsiteX264" fmla="*/ 3879765 w 12192000"/>
              <a:gd name="connsiteY264" fmla="*/ 572445 h 5038666"/>
              <a:gd name="connsiteX265" fmla="*/ 3854883 w 12192000"/>
              <a:gd name="connsiteY265" fmla="*/ 589573 h 5038666"/>
              <a:gd name="connsiteX266" fmla="*/ 3828853 w 12192000"/>
              <a:gd name="connsiteY266" fmla="*/ 606521 h 5038666"/>
              <a:gd name="connsiteX267" fmla="*/ 3802441 w 12192000"/>
              <a:gd name="connsiteY267" fmla="*/ 623288 h 5038666"/>
              <a:gd name="connsiteX268" fmla="*/ 3775454 w 12192000"/>
              <a:gd name="connsiteY268" fmla="*/ 639515 h 5038666"/>
              <a:gd name="connsiteX269" fmla="*/ 3747510 w 12192000"/>
              <a:gd name="connsiteY269" fmla="*/ 655922 h 5038666"/>
              <a:gd name="connsiteX270" fmla="*/ 3719566 w 12192000"/>
              <a:gd name="connsiteY270" fmla="*/ 671788 h 5038666"/>
              <a:gd name="connsiteX271" fmla="*/ 3690857 w 12192000"/>
              <a:gd name="connsiteY271" fmla="*/ 687655 h 5038666"/>
              <a:gd name="connsiteX272" fmla="*/ 3662339 w 12192000"/>
              <a:gd name="connsiteY272" fmla="*/ 703341 h 5038666"/>
              <a:gd name="connsiteX273" fmla="*/ 3603963 w 12192000"/>
              <a:gd name="connsiteY273" fmla="*/ 734532 h 5038666"/>
              <a:gd name="connsiteX274" fmla="*/ 3545587 w 12192000"/>
              <a:gd name="connsiteY274" fmla="*/ 765723 h 5038666"/>
              <a:gd name="connsiteX275" fmla="*/ 3516495 w 12192000"/>
              <a:gd name="connsiteY275" fmla="*/ 781409 h 5038666"/>
              <a:gd name="connsiteX276" fmla="*/ 3487594 w 12192000"/>
              <a:gd name="connsiteY276" fmla="*/ 797275 h 5038666"/>
              <a:gd name="connsiteX277" fmla="*/ 3458885 w 12192000"/>
              <a:gd name="connsiteY277" fmla="*/ 813142 h 5038666"/>
              <a:gd name="connsiteX278" fmla="*/ 3430558 w 12192000"/>
              <a:gd name="connsiteY278" fmla="*/ 829008 h 5038666"/>
              <a:gd name="connsiteX279" fmla="*/ 3402806 w 12192000"/>
              <a:gd name="connsiteY279" fmla="*/ 845415 h 5038666"/>
              <a:gd name="connsiteX280" fmla="*/ 3375436 w 12192000"/>
              <a:gd name="connsiteY280" fmla="*/ 861822 h 5038666"/>
              <a:gd name="connsiteX281" fmla="*/ 3348449 w 12192000"/>
              <a:gd name="connsiteY281" fmla="*/ 878590 h 5038666"/>
              <a:gd name="connsiteX282" fmla="*/ 3322419 w 12192000"/>
              <a:gd name="connsiteY282" fmla="*/ 895718 h 5038666"/>
              <a:gd name="connsiteX283" fmla="*/ 3296964 w 12192000"/>
              <a:gd name="connsiteY283" fmla="*/ 913207 h 5038666"/>
              <a:gd name="connsiteX284" fmla="*/ 3272465 w 12192000"/>
              <a:gd name="connsiteY284" fmla="*/ 931056 h 5038666"/>
              <a:gd name="connsiteX285" fmla="*/ 3248732 w 12192000"/>
              <a:gd name="connsiteY285" fmla="*/ 949266 h 5038666"/>
              <a:gd name="connsiteX286" fmla="*/ 3226147 w 12192000"/>
              <a:gd name="connsiteY286" fmla="*/ 968017 h 5038666"/>
              <a:gd name="connsiteX287" fmla="*/ 3204711 w 12192000"/>
              <a:gd name="connsiteY287" fmla="*/ 987489 h 5038666"/>
              <a:gd name="connsiteX288" fmla="*/ 3184997 w 12192000"/>
              <a:gd name="connsiteY288" fmla="*/ 1008404 h 5038666"/>
              <a:gd name="connsiteX289" fmla="*/ 3167006 w 12192000"/>
              <a:gd name="connsiteY289" fmla="*/ 1030580 h 5038666"/>
              <a:gd name="connsiteX290" fmla="*/ 3150354 w 12192000"/>
              <a:gd name="connsiteY290" fmla="*/ 1053658 h 5038666"/>
              <a:gd name="connsiteX291" fmla="*/ 3135043 w 12192000"/>
              <a:gd name="connsiteY291" fmla="*/ 1077458 h 5038666"/>
              <a:gd name="connsiteX292" fmla="*/ 3121262 w 12192000"/>
              <a:gd name="connsiteY292" fmla="*/ 1102339 h 5038666"/>
              <a:gd name="connsiteX293" fmla="*/ 3108821 w 12192000"/>
              <a:gd name="connsiteY293" fmla="*/ 1127761 h 5038666"/>
              <a:gd name="connsiteX294" fmla="*/ 3097338 w 12192000"/>
              <a:gd name="connsiteY294" fmla="*/ 1153724 h 5038666"/>
              <a:gd name="connsiteX295" fmla="*/ 3087385 w 12192000"/>
              <a:gd name="connsiteY295" fmla="*/ 1180047 h 5038666"/>
              <a:gd name="connsiteX296" fmla="*/ 3078198 w 12192000"/>
              <a:gd name="connsiteY296" fmla="*/ 1206911 h 5038666"/>
              <a:gd name="connsiteX297" fmla="*/ 3070542 w 12192000"/>
              <a:gd name="connsiteY297" fmla="*/ 1233776 h 5038666"/>
              <a:gd name="connsiteX298" fmla="*/ 3063652 w 12192000"/>
              <a:gd name="connsiteY298" fmla="*/ 1260460 h 5038666"/>
              <a:gd name="connsiteX299" fmla="*/ 3057527 w 12192000"/>
              <a:gd name="connsiteY299" fmla="*/ 1287324 h 5038666"/>
              <a:gd name="connsiteX300" fmla="*/ 3052742 w 12192000"/>
              <a:gd name="connsiteY300" fmla="*/ 1313828 h 5038666"/>
              <a:gd name="connsiteX301" fmla="*/ 3048532 w 12192000"/>
              <a:gd name="connsiteY301" fmla="*/ 1339971 h 5038666"/>
              <a:gd name="connsiteX302" fmla="*/ 3044895 w 12192000"/>
              <a:gd name="connsiteY302" fmla="*/ 1365753 h 5038666"/>
              <a:gd name="connsiteX303" fmla="*/ 3042024 w 12192000"/>
              <a:gd name="connsiteY303" fmla="*/ 1390995 h 5038666"/>
              <a:gd name="connsiteX304" fmla="*/ 3040110 w 12192000"/>
              <a:gd name="connsiteY304" fmla="*/ 1415335 h 5038666"/>
              <a:gd name="connsiteX305" fmla="*/ 3038579 w 12192000"/>
              <a:gd name="connsiteY305" fmla="*/ 1438774 h 5038666"/>
              <a:gd name="connsiteX306" fmla="*/ 3037431 w 12192000"/>
              <a:gd name="connsiteY306" fmla="*/ 1461491 h 5038666"/>
              <a:gd name="connsiteX307" fmla="*/ 3036665 w 12192000"/>
              <a:gd name="connsiteY307" fmla="*/ 1482947 h 5038666"/>
              <a:gd name="connsiteX308" fmla="*/ 3036474 w 12192000"/>
              <a:gd name="connsiteY308" fmla="*/ 1503320 h 5038666"/>
              <a:gd name="connsiteX309" fmla="*/ 3036474 w 12192000"/>
              <a:gd name="connsiteY309" fmla="*/ 1522432 h 5038666"/>
              <a:gd name="connsiteX310" fmla="*/ 3036856 w 12192000"/>
              <a:gd name="connsiteY310" fmla="*/ 1539921 h 5038666"/>
              <a:gd name="connsiteX311" fmla="*/ 3037431 w 12192000"/>
              <a:gd name="connsiteY311" fmla="*/ 1555787 h 5038666"/>
              <a:gd name="connsiteX312" fmla="*/ 3038005 w 12192000"/>
              <a:gd name="connsiteY312" fmla="*/ 1569850 h 5038666"/>
              <a:gd name="connsiteX313" fmla="*/ 3038770 w 12192000"/>
              <a:gd name="connsiteY313" fmla="*/ 1582291 h 5038666"/>
              <a:gd name="connsiteX314" fmla="*/ 3039344 w 12192000"/>
              <a:gd name="connsiteY314" fmla="*/ 1592748 h 5038666"/>
              <a:gd name="connsiteX315" fmla="*/ 3040684 w 12192000"/>
              <a:gd name="connsiteY315" fmla="*/ 1607172 h 5038666"/>
              <a:gd name="connsiteX316" fmla="*/ 3041258 w 12192000"/>
              <a:gd name="connsiteY316" fmla="*/ 1612220 h 5038666"/>
              <a:gd name="connsiteX317" fmla="*/ 3041833 w 12192000"/>
              <a:gd name="connsiteY317" fmla="*/ 1610237 h 5038666"/>
              <a:gd name="connsiteX318" fmla="*/ 3044321 w 12192000"/>
              <a:gd name="connsiteY318" fmla="*/ 1605008 h 5038666"/>
              <a:gd name="connsiteX319" fmla="*/ 3048340 w 12192000"/>
              <a:gd name="connsiteY319" fmla="*/ 1596354 h 5038666"/>
              <a:gd name="connsiteX320" fmla="*/ 3054273 w 12192000"/>
              <a:gd name="connsiteY320" fmla="*/ 1584274 h 5038666"/>
              <a:gd name="connsiteX321" fmla="*/ 3058101 w 12192000"/>
              <a:gd name="connsiteY321" fmla="*/ 1577062 h 5038666"/>
              <a:gd name="connsiteX322" fmla="*/ 3062503 w 12192000"/>
              <a:gd name="connsiteY322" fmla="*/ 1569129 h 5038666"/>
              <a:gd name="connsiteX323" fmla="*/ 3067671 w 12192000"/>
              <a:gd name="connsiteY323" fmla="*/ 1560294 h 5038666"/>
              <a:gd name="connsiteX324" fmla="*/ 3073413 w 12192000"/>
              <a:gd name="connsiteY324" fmla="*/ 1550558 h 5038666"/>
              <a:gd name="connsiteX325" fmla="*/ 3079920 w 12192000"/>
              <a:gd name="connsiteY325" fmla="*/ 1540101 h 5038666"/>
              <a:gd name="connsiteX326" fmla="*/ 3087002 w 12192000"/>
              <a:gd name="connsiteY326" fmla="*/ 1529103 h 5038666"/>
              <a:gd name="connsiteX327" fmla="*/ 3095041 w 12192000"/>
              <a:gd name="connsiteY327" fmla="*/ 1517203 h 5038666"/>
              <a:gd name="connsiteX328" fmla="*/ 3103654 w 12192000"/>
              <a:gd name="connsiteY328" fmla="*/ 1504582 h 5038666"/>
              <a:gd name="connsiteX329" fmla="*/ 3113223 w 12192000"/>
              <a:gd name="connsiteY329" fmla="*/ 1491240 h 5038666"/>
              <a:gd name="connsiteX330" fmla="*/ 3123367 w 12192000"/>
              <a:gd name="connsiteY330" fmla="*/ 1477177 h 5038666"/>
              <a:gd name="connsiteX331" fmla="*/ 3134660 w 12192000"/>
              <a:gd name="connsiteY331" fmla="*/ 1462573 h 5038666"/>
              <a:gd name="connsiteX332" fmla="*/ 3146718 w 12192000"/>
              <a:gd name="connsiteY332" fmla="*/ 1447068 h 5038666"/>
              <a:gd name="connsiteX333" fmla="*/ 3159924 w 12192000"/>
              <a:gd name="connsiteY333" fmla="*/ 1430841 h 5038666"/>
              <a:gd name="connsiteX334" fmla="*/ 3173896 w 12192000"/>
              <a:gd name="connsiteY334" fmla="*/ 1414073 h 5038666"/>
              <a:gd name="connsiteX335" fmla="*/ 3189016 w 12192000"/>
              <a:gd name="connsiteY335" fmla="*/ 1396584 h 5038666"/>
              <a:gd name="connsiteX336" fmla="*/ 3204902 w 12192000"/>
              <a:gd name="connsiteY336" fmla="*/ 1378554 h 5038666"/>
              <a:gd name="connsiteX337" fmla="*/ 3222128 w 12192000"/>
              <a:gd name="connsiteY337" fmla="*/ 1359804 h 5038666"/>
              <a:gd name="connsiteX338" fmla="*/ 3240310 w 12192000"/>
              <a:gd name="connsiteY338" fmla="*/ 1340512 h 5038666"/>
              <a:gd name="connsiteX339" fmla="*/ 3259641 w 12192000"/>
              <a:gd name="connsiteY339" fmla="*/ 1320499 h 5038666"/>
              <a:gd name="connsiteX340" fmla="*/ 3280121 w 12192000"/>
              <a:gd name="connsiteY340" fmla="*/ 1299764 h 5038666"/>
              <a:gd name="connsiteX341" fmla="*/ 3301557 w 12192000"/>
              <a:gd name="connsiteY341" fmla="*/ 1278670 h 5038666"/>
              <a:gd name="connsiteX342" fmla="*/ 3324525 w 12192000"/>
              <a:gd name="connsiteY342" fmla="*/ 1256854 h 5038666"/>
              <a:gd name="connsiteX343" fmla="*/ 3348449 w 12192000"/>
              <a:gd name="connsiteY343" fmla="*/ 1234497 h 5038666"/>
              <a:gd name="connsiteX344" fmla="*/ 3373905 w 12192000"/>
              <a:gd name="connsiteY344" fmla="*/ 1211779 h 5038666"/>
              <a:gd name="connsiteX345" fmla="*/ 3400318 w 12192000"/>
              <a:gd name="connsiteY345" fmla="*/ 1189603 h 5038666"/>
              <a:gd name="connsiteX346" fmla="*/ 3426922 w 12192000"/>
              <a:gd name="connsiteY346" fmla="*/ 1169590 h 5038666"/>
              <a:gd name="connsiteX347" fmla="*/ 3454291 w 12192000"/>
              <a:gd name="connsiteY347" fmla="*/ 1151380 h 5038666"/>
              <a:gd name="connsiteX348" fmla="*/ 3482044 w 12192000"/>
              <a:gd name="connsiteY348" fmla="*/ 1135333 h 5038666"/>
              <a:gd name="connsiteX349" fmla="*/ 3509987 w 12192000"/>
              <a:gd name="connsiteY349" fmla="*/ 1121090 h 5038666"/>
              <a:gd name="connsiteX350" fmla="*/ 3538314 w 12192000"/>
              <a:gd name="connsiteY350" fmla="*/ 1108289 h 5038666"/>
              <a:gd name="connsiteX351" fmla="*/ 3566449 w 12192000"/>
              <a:gd name="connsiteY351" fmla="*/ 1097471 h 5038666"/>
              <a:gd name="connsiteX352" fmla="*/ 3594776 w 12192000"/>
              <a:gd name="connsiteY352" fmla="*/ 1087735 h 5038666"/>
              <a:gd name="connsiteX353" fmla="*/ 3622911 w 12192000"/>
              <a:gd name="connsiteY353" fmla="*/ 1079802 h 5038666"/>
              <a:gd name="connsiteX354" fmla="*/ 3650855 w 12192000"/>
              <a:gd name="connsiteY354" fmla="*/ 1073131 h 5038666"/>
              <a:gd name="connsiteX355" fmla="*/ 3678799 w 12192000"/>
              <a:gd name="connsiteY355" fmla="*/ 1067722 h 5038666"/>
              <a:gd name="connsiteX356" fmla="*/ 3706169 w 12192000"/>
              <a:gd name="connsiteY356" fmla="*/ 1063575 h 5038666"/>
              <a:gd name="connsiteX357" fmla="*/ 3733155 w 12192000"/>
              <a:gd name="connsiteY357" fmla="*/ 1060149 h 5038666"/>
              <a:gd name="connsiteX358" fmla="*/ 3759568 w 12192000"/>
              <a:gd name="connsiteY358" fmla="*/ 1057986 h 5038666"/>
              <a:gd name="connsiteX359" fmla="*/ 3785406 w 12192000"/>
              <a:gd name="connsiteY359" fmla="*/ 1056724 h 5038666"/>
              <a:gd name="connsiteX360" fmla="*/ 3810479 w 12192000"/>
              <a:gd name="connsiteY360" fmla="*/ 1056363 h 5038666"/>
              <a:gd name="connsiteX361" fmla="*/ 3834787 w 12192000"/>
              <a:gd name="connsiteY361" fmla="*/ 1056543 h 5038666"/>
              <a:gd name="connsiteX362" fmla="*/ 3857946 w 12192000"/>
              <a:gd name="connsiteY362" fmla="*/ 1057445 h 5038666"/>
              <a:gd name="connsiteX363" fmla="*/ 3880530 w 12192000"/>
              <a:gd name="connsiteY363" fmla="*/ 1058887 h 5038666"/>
              <a:gd name="connsiteX364" fmla="*/ 3901775 w 12192000"/>
              <a:gd name="connsiteY364" fmla="*/ 1060690 h 5038666"/>
              <a:gd name="connsiteX365" fmla="*/ 3921872 w 12192000"/>
              <a:gd name="connsiteY365" fmla="*/ 1063034 h 5038666"/>
              <a:gd name="connsiteX366" fmla="*/ 3940629 w 12192000"/>
              <a:gd name="connsiteY366" fmla="*/ 1065558 h 5038666"/>
              <a:gd name="connsiteX367" fmla="*/ 3958237 w 12192000"/>
              <a:gd name="connsiteY367" fmla="*/ 1068263 h 5038666"/>
              <a:gd name="connsiteX368" fmla="*/ 3974314 w 12192000"/>
              <a:gd name="connsiteY368" fmla="*/ 1071147 h 5038666"/>
              <a:gd name="connsiteX369" fmla="*/ 3988669 w 12192000"/>
              <a:gd name="connsiteY369" fmla="*/ 1074032 h 5038666"/>
              <a:gd name="connsiteX370" fmla="*/ 4001684 w 12192000"/>
              <a:gd name="connsiteY370" fmla="*/ 1076737 h 5038666"/>
              <a:gd name="connsiteX371" fmla="*/ 4012785 w 12192000"/>
              <a:gd name="connsiteY371" fmla="*/ 1079261 h 5038666"/>
              <a:gd name="connsiteX372" fmla="*/ 4021972 w 12192000"/>
              <a:gd name="connsiteY372" fmla="*/ 1081424 h 5038666"/>
              <a:gd name="connsiteX373" fmla="*/ 4034604 w 12192000"/>
              <a:gd name="connsiteY373" fmla="*/ 1085030 h 5038666"/>
              <a:gd name="connsiteX374" fmla="*/ 4039198 w 12192000"/>
              <a:gd name="connsiteY374" fmla="*/ 1086292 h 5038666"/>
              <a:gd name="connsiteX375" fmla="*/ 4035370 w 12192000"/>
              <a:gd name="connsiteY375" fmla="*/ 1085932 h 5038666"/>
              <a:gd name="connsiteX376" fmla="*/ 4024077 w 12192000"/>
              <a:gd name="connsiteY376" fmla="*/ 1085211 h 5038666"/>
              <a:gd name="connsiteX377" fmla="*/ 4015847 w 12192000"/>
              <a:gd name="connsiteY377" fmla="*/ 1085030 h 5038666"/>
              <a:gd name="connsiteX378" fmla="*/ 4006086 w 12192000"/>
              <a:gd name="connsiteY378" fmla="*/ 1084850 h 5038666"/>
              <a:gd name="connsiteX379" fmla="*/ 3994794 w 12192000"/>
              <a:gd name="connsiteY379" fmla="*/ 1085030 h 5038666"/>
              <a:gd name="connsiteX380" fmla="*/ 3981587 w 12192000"/>
              <a:gd name="connsiteY380" fmla="*/ 1085211 h 5038666"/>
              <a:gd name="connsiteX381" fmla="*/ 3967424 w 12192000"/>
              <a:gd name="connsiteY381" fmla="*/ 1086112 h 5038666"/>
              <a:gd name="connsiteX382" fmla="*/ 3951347 w 12192000"/>
              <a:gd name="connsiteY382" fmla="*/ 1087194 h 5038666"/>
              <a:gd name="connsiteX383" fmla="*/ 3934312 w 12192000"/>
              <a:gd name="connsiteY383" fmla="*/ 1088816 h 5038666"/>
              <a:gd name="connsiteX384" fmla="*/ 3916130 w 12192000"/>
              <a:gd name="connsiteY384" fmla="*/ 1090980 h 5038666"/>
              <a:gd name="connsiteX385" fmla="*/ 3896416 w 12192000"/>
              <a:gd name="connsiteY385" fmla="*/ 1093865 h 5038666"/>
              <a:gd name="connsiteX386" fmla="*/ 3875745 w 12192000"/>
              <a:gd name="connsiteY386" fmla="*/ 1097110 h 5038666"/>
              <a:gd name="connsiteX387" fmla="*/ 3854118 w 12192000"/>
              <a:gd name="connsiteY387" fmla="*/ 1101618 h 5038666"/>
              <a:gd name="connsiteX388" fmla="*/ 3831341 w 12192000"/>
              <a:gd name="connsiteY388" fmla="*/ 1106846 h 5038666"/>
              <a:gd name="connsiteX389" fmla="*/ 3807608 w 12192000"/>
              <a:gd name="connsiteY389" fmla="*/ 1112976 h 5038666"/>
              <a:gd name="connsiteX390" fmla="*/ 3783110 w 12192000"/>
              <a:gd name="connsiteY390" fmla="*/ 1120008 h 5038666"/>
              <a:gd name="connsiteX391" fmla="*/ 3757845 w 12192000"/>
              <a:gd name="connsiteY391" fmla="*/ 1128121 h 5038666"/>
              <a:gd name="connsiteX392" fmla="*/ 3731624 w 12192000"/>
              <a:gd name="connsiteY392" fmla="*/ 1137677 h 5038666"/>
              <a:gd name="connsiteX393" fmla="*/ 3705020 w 12192000"/>
              <a:gd name="connsiteY393" fmla="*/ 1148134 h 5038666"/>
              <a:gd name="connsiteX394" fmla="*/ 3677651 w 12192000"/>
              <a:gd name="connsiteY394" fmla="*/ 1159854 h 5038666"/>
              <a:gd name="connsiteX395" fmla="*/ 3649515 w 12192000"/>
              <a:gd name="connsiteY395" fmla="*/ 1173015 h 5038666"/>
              <a:gd name="connsiteX396" fmla="*/ 3621380 w 12192000"/>
              <a:gd name="connsiteY396" fmla="*/ 1187619 h 5038666"/>
              <a:gd name="connsiteX397" fmla="*/ 3592479 w 12192000"/>
              <a:gd name="connsiteY397" fmla="*/ 1203666 h 5038666"/>
              <a:gd name="connsiteX398" fmla="*/ 3563387 w 12192000"/>
              <a:gd name="connsiteY398" fmla="*/ 1221515 h 5038666"/>
              <a:gd name="connsiteX399" fmla="*/ 3534103 w 12192000"/>
              <a:gd name="connsiteY399" fmla="*/ 1240807 h 5038666"/>
              <a:gd name="connsiteX400" fmla="*/ 3504246 w 12192000"/>
              <a:gd name="connsiteY400" fmla="*/ 1261902 h 5038666"/>
              <a:gd name="connsiteX401" fmla="*/ 3474579 w 12192000"/>
              <a:gd name="connsiteY401" fmla="*/ 1284800 h 5038666"/>
              <a:gd name="connsiteX402" fmla="*/ 3444721 w 12192000"/>
              <a:gd name="connsiteY402" fmla="*/ 1309501 h 5038666"/>
              <a:gd name="connsiteX403" fmla="*/ 3414864 w 12192000"/>
              <a:gd name="connsiteY403" fmla="*/ 1336185 h 5038666"/>
              <a:gd name="connsiteX404" fmla="*/ 3385006 w 12192000"/>
              <a:gd name="connsiteY404" fmla="*/ 1365032 h 5038666"/>
              <a:gd name="connsiteX405" fmla="*/ 3356296 w 12192000"/>
              <a:gd name="connsiteY405" fmla="*/ 1394240 h 5038666"/>
              <a:gd name="connsiteX406" fmla="*/ 3329118 w 12192000"/>
              <a:gd name="connsiteY406" fmla="*/ 1422908 h 5038666"/>
              <a:gd name="connsiteX407" fmla="*/ 3304237 w 12192000"/>
              <a:gd name="connsiteY407" fmla="*/ 1451034 h 5038666"/>
              <a:gd name="connsiteX408" fmla="*/ 3280886 w 12192000"/>
              <a:gd name="connsiteY408" fmla="*/ 1478259 h 5038666"/>
              <a:gd name="connsiteX409" fmla="*/ 3259450 w 12192000"/>
              <a:gd name="connsiteY409" fmla="*/ 1505123 h 5038666"/>
              <a:gd name="connsiteX410" fmla="*/ 3239545 w 12192000"/>
              <a:gd name="connsiteY410" fmla="*/ 1531447 h 5038666"/>
              <a:gd name="connsiteX411" fmla="*/ 3221362 w 12192000"/>
              <a:gd name="connsiteY411" fmla="*/ 1557410 h 5038666"/>
              <a:gd name="connsiteX412" fmla="*/ 3204711 w 12192000"/>
              <a:gd name="connsiteY412" fmla="*/ 1582651 h 5038666"/>
              <a:gd name="connsiteX413" fmla="*/ 3189590 w 12192000"/>
              <a:gd name="connsiteY413" fmla="*/ 1607532 h 5038666"/>
              <a:gd name="connsiteX414" fmla="*/ 3176001 w 12192000"/>
              <a:gd name="connsiteY414" fmla="*/ 1632233 h 5038666"/>
              <a:gd name="connsiteX415" fmla="*/ 3163752 w 12192000"/>
              <a:gd name="connsiteY415" fmla="*/ 1656573 h 5038666"/>
              <a:gd name="connsiteX416" fmla="*/ 3153034 w 12192000"/>
              <a:gd name="connsiteY416" fmla="*/ 1680733 h 5038666"/>
              <a:gd name="connsiteX417" fmla="*/ 3143464 w 12192000"/>
              <a:gd name="connsiteY417" fmla="*/ 1704352 h 5038666"/>
              <a:gd name="connsiteX418" fmla="*/ 3135043 w 12192000"/>
              <a:gd name="connsiteY418" fmla="*/ 1727971 h 5038666"/>
              <a:gd name="connsiteX419" fmla="*/ 3127769 w 12192000"/>
              <a:gd name="connsiteY419" fmla="*/ 1751590 h 5038666"/>
              <a:gd name="connsiteX420" fmla="*/ 3121645 w 12192000"/>
              <a:gd name="connsiteY420" fmla="*/ 1774848 h 5038666"/>
              <a:gd name="connsiteX421" fmla="*/ 3116669 w 12192000"/>
              <a:gd name="connsiteY421" fmla="*/ 1798287 h 5038666"/>
              <a:gd name="connsiteX422" fmla="*/ 3112649 w 12192000"/>
              <a:gd name="connsiteY422" fmla="*/ 1821545 h 5038666"/>
              <a:gd name="connsiteX423" fmla="*/ 3109587 w 12192000"/>
              <a:gd name="connsiteY423" fmla="*/ 1844804 h 5038666"/>
              <a:gd name="connsiteX424" fmla="*/ 3107482 w 12192000"/>
              <a:gd name="connsiteY424" fmla="*/ 1868242 h 5038666"/>
              <a:gd name="connsiteX425" fmla="*/ 3106142 w 12192000"/>
              <a:gd name="connsiteY425" fmla="*/ 1891681 h 5038666"/>
              <a:gd name="connsiteX426" fmla="*/ 3105376 w 12192000"/>
              <a:gd name="connsiteY426" fmla="*/ 1915300 h 5038666"/>
              <a:gd name="connsiteX427" fmla="*/ 3105567 w 12192000"/>
              <a:gd name="connsiteY427" fmla="*/ 1939280 h 5038666"/>
              <a:gd name="connsiteX428" fmla="*/ 3106525 w 12192000"/>
              <a:gd name="connsiteY428" fmla="*/ 1963259 h 5038666"/>
              <a:gd name="connsiteX429" fmla="*/ 3107864 w 12192000"/>
              <a:gd name="connsiteY429" fmla="*/ 1987599 h 5038666"/>
              <a:gd name="connsiteX430" fmla="*/ 3109778 w 12192000"/>
              <a:gd name="connsiteY430" fmla="*/ 2012300 h 5038666"/>
              <a:gd name="connsiteX431" fmla="*/ 3112266 w 12192000"/>
              <a:gd name="connsiteY431" fmla="*/ 2037181 h 5038666"/>
              <a:gd name="connsiteX432" fmla="*/ 3115137 w 12192000"/>
              <a:gd name="connsiteY432" fmla="*/ 2062783 h 5038666"/>
              <a:gd name="connsiteX433" fmla="*/ 3118582 w 12192000"/>
              <a:gd name="connsiteY433" fmla="*/ 2088386 h 5038666"/>
              <a:gd name="connsiteX434" fmla="*/ 3122028 w 12192000"/>
              <a:gd name="connsiteY434" fmla="*/ 2114889 h 5038666"/>
              <a:gd name="connsiteX435" fmla="*/ 3125855 w 12192000"/>
              <a:gd name="connsiteY435" fmla="*/ 2141754 h 5038666"/>
              <a:gd name="connsiteX436" fmla="*/ 3130066 w 12192000"/>
              <a:gd name="connsiteY436" fmla="*/ 2169339 h 5038666"/>
              <a:gd name="connsiteX437" fmla="*/ 3139253 w 12192000"/>
              <a:gd name="connsiteY437" fmla="*/ 2231181 h 5038666"/>
              <a:gd name="connsiteX438" fmla="*/ 3150354 w 12192000"/>
              <a:gd name="connsiteY438" fmla="*/ 2304923 h 5038666"/>
              <a:gd name="connsiteX439" fmla="*/ 3162412 w 12192000"/>
              <a:gd name="connsiteY439" fmla="*/ 2388040 h 5038666"/>
              <a:gd name="connsiteX440" fmla="*/ 3175810 w 12192000"/>
              <a:gd name="connsiteY440" fmla="*/ 2478549 h 5038666"/>
              <a:gd name="connsiteX441" fmla="*/ 3189782 w 12192000"/>
              <a:gd name="connsiteY441" fmla="*/ 2574107 h 5038666"/>
              <a:gd name="connsiteX442" fmla="*/ 3204519 w 12192000"/>
              <a:gd name="connsiteY442" fmla="*/ 2672730 h 5038666"/>
              <a:gd name="connsiteX443" fmla="*/ 3218874 w 12192000"/>
              <a:gd name="connsiteY443" fmla="*/ 2772254 h 5038666"/>
              <a:gd name="connsiteX444" fmla="*/ 3233420 w 12192000"/>
              <a:gd name="connsiteY444" fmla="*/ 2870336 h 5038666"/>
              <a:gd name="connsiteX445" fmla="*/ 3247392 w 12192000"/>
              <a:gd name="connsiteY445" fmla="*/ 2964992 h 5038666"/>
              <a:gd name="connsiteX446" fmla="*/ 3260407 w 12192000"/>
              <a:gd name="connsiteY446" fmla="*/ 3054239 h 5038666"/>
              <a:gd name="connsiteX447" fmla="*/ 3272273 w 12192000"/>
              <a:gd name="connsiteY447" fmla="*/ 3135373 h 5038666"/>
              <a:gd name="connsiteX448" fmla="*/ 3282800 w 12192000"/>
              <a:gd name="connsiteY448" fmla="*/ 3206771 h 5038666"/>
              <a:gd name="connsiteX449" fmla="*/ 3291413 w 12192000"/>
              <a:gd name="connsiteY449" fmla="*/ 3266088 h 5038666"/>
              <a:gd name="connsiteX450" fmla="*/ 3298112 w 12192000"/>
              <a:gd name="connsiteY450" fmla="*/ 3310982 h 5038666"/>
              <a:gd name="connsiteX451" fmla="*/ 3302323 w 12192000"/>
              <a:gd name="connsiteY451" fmla="*/ 3339469 h 5038666"/>
              <a:gd name="connsiteX452" fmla="*/ 3303662 w 12192000"/>
              <a:gd name="connsiteY452" fmla="*/ 3349566 h 5038666"/>
              <a:gd name="connsiteX453" fmla="*/ 12192000 w 12192000"/>
              <a:gd name="connsiteY453" fmla="*/ 3349566 h 5038666"/>
              <a:gd name="connsiteX454" fmla="*/ 12192000 w 12192000"/>
              <a:gd name="connsiteY454" fmla="*/ 5038666 h 5038666"/>
              <a:gd name="connsiteX455" fmla="*/ 0 w 12192000"/>
              <a:gd name="connsiteY455" fmla="*/ 5038666 h 5038666"/>
              <a:gd name="connsiteX456" fmla="*/ 0 w 12192000"/>
              <a:gd name="connsiteY456" fmla="*/ 3349566 h 5038666"/>
              <a:gd name="connsiteX457" fmla="*/ 2501713 w 12192000"/>
              <a:gd name="connsiteY457" fmla="*/ 3349566 h 5038666"/>
              <a:gd name="connsiteX458" fmla="*/ 2504584 w 12192000"/>
              <a:gd name="connsiteY458" fmla="*/ 3347763 h 5038666"/>
              <a:gd name="connsiteX459" fmla="*/ 2512431 w 12192000"/>
              <a:gd name="connsiteY459" fmla="*/ 3341994 h 5038666"/>
              <a:gd name="connsiteX460" fmla="*/ 2518364 w 12192000"/>
              <a:gd name="connsiteY460" fmla="*/ 3337847 h 5038666"/>
              <a:gd name="connsiteX461" fmla="*/ 2524872 w 12192000"/>
              <a:gd name="connsiteY461" fmla="*/ 3332438 h 5038666"/>
              <a:gd name="connsiteX462" fmla="*/ 2532910 w 12192000"/>
              <a:gd name="connsiteY462" fmla="*/ 3326308 h 5038666"/>
              <a:gd name="connsiteX463" fmla="*/ 2541715 w 12192000"/>
              <a:gd name="connsiteY463" fmla="*/ 3318916 h 5038666"/>
              <a:gd name="connsiteX464" fmla="*/ 2551093 w 12192000"/>
              <a:gd name="connsiteY464" fmla="*/ 3310802 h 5038666"/>
              <a:gd name="connsiteX465" fmla="*/ 2561620 w 12192000"/>
              <a:gd name="connsiteY465" fmla="*/ 3301427 h 5038666"/>
              <a:gd name="connsiteX466" fmla="*/ 2572529 w 12192000"/>
              <a:gd name="connsiteY466" fmla="*/ 3291150 h 5038666"/>
              <a:gd name="connsiteX467" fmla="*/ 2584204 w 12192000"/>
              <a:gd name="connsiteY467" fmla="*/ 3279791 h 5038666"/>
              <a:gd name="connsiteX468" fmla="*/ 2596454 w 12192000"/>
              <a:gd name="connsiteY468" fmla="*/ 3267531 h 5038666"/>
              <a:gd name="connsiteX469" fmla="*/ 2609277 w 12192000"/>
              <a:gd name="connsiteY469" fmla="*/ 3253828 h 5038666"/>
              <a:gd name="connsiteX470" fmla="*/ 2622292 w 12192000"/>
              <a:gd name="connsiteY470" fmla="*/ 3239404 h 5038666"/>
              <a:gd name="connsiteX471" fmla="*/ 2635690 w 12192000"/>
              <a:gd name="connsiteY471" fmla="*/ 3223719 h 5038666"/>
              <a:gd name="connsiteX472" fmla="*/ 2649279 w 12192000"/>
              <a:gd name="connsiteY472" fmla="*/ 3206951 h 5038666"/>
              <a:gd name="connsiteX473" fmla="*/ 2662868 w 12192000"/>
              <a:gd name="connsiteY473" fmla="*/ 3189282 h 5038666"/>
              <a:gd name="connsiteX474" fmla="*/ 2677032 w 12192000"/>
              <a:gd name="connsiteY474" fmla="*/ 3170350 h 5038666"/>
              <a:gd name="connsiteX475" fmla="*/ 2690812 w 12192000"/>
              <a:gd name="connsiteY475" fmla="*/ 3150337 h 5038666"/>
              <a:gd name="connsiteX476" fmla="*/ 2704593 w 12192000"/>
              <a:gd name="connsiteY476" fmla="*/ 3129062 h 5038666"/>
              <a:gd name="connsiteX477" fmla="*/ 2718373 w 12192000"/>
              <a:gd name="connsiteY477" fmla="*/ 3106886 h 5038666"/>
              <a:gd name="connsiteX478" fmla="*/ 2731580 w 12192000"/>
              <a:gd name="connsiteY478" fmla="*/ 3083267 h 5038666"/>
              <a:gd name="connsiteX479" fmla="*/ 2744786 w 12192000"/>
              <a:gd name="connsiteY479" fmla="*/ 3058746 h 5038666"/>
              <a:gd name="connsiteX480" fmla="*/ 2757609 w 12192000"/>
              <a:gd name="connsiteY480" fmla="*/ 3032964 h 5038666"/>
              <a:gd name="connsiteX481" fmla="*/ 2770050 w 12192000"/>
              <a:gd name="connsiteY481" fmla="*/ 3006099 h 5038666"/>
              <a:gd name="connsiteX482" fmla="*/ 2781917 w 12192000"/>
              <a:gd name="connsiteY482" fmla="*/ 2977793 h 5038666"/>
              <a:gd name="connsiteX483" fmla="*/ 2793018 w 12192000"/>
              <a:gd name="connsiteY483" fmla="*/ 2948404 h 5038666"/>
              <a:gd name="connsiteX484" fmla="*/ 2803544 w 12192000"/>
              <a:gd name="connsiteY484" fmla="*/ 2917754 h 5038666"/>
              <a:gd name="connsiteX485" fmla="*/ 2813306 w 12192000"/>
              <a:gd name="connsiteY485" fmla="*/ 2885841 h 5038666"/>
              <a:gd name="connsiteX486" fmla="*/ 2822493 w 12192000"/>
              <a:gd name="connsiteY486" fmla="*/ 2853027 h 5038666"/>
              <a:gd name="connsiteX487" fmla="*/ 2830531 w 12192000"/>
              <a:gd name="connsiteY487" fmla="*/ 2818590 h 5038666"/>
              <a:gd name="connsiteX488" fmla="*/ 2837804 w 12192000"/>
              <a:gd name="connsiteY488" fmla="*/ 2783432 h 5038666"/>
              <a:gd name="connsiteX489" fmla="*/ 2844503 w 12192000"/>
              <a:gd name="connsiteY489" fmla="*/ 2748274 h 5038666"/>
              <a:gd name="connsiteX490" fmla="*/ 2850819 w 12192000"/>
              <a:gd name="connsiteY490" fmla="*/ 2712936 h 5038666"/>
              <a:gd name="connsiteX491" fmla="*/ 2856370 w 12192000"/>
              <a:gd name="connsiteY491" fmla="*/ 2677598 h 5038666"/>
              <a:gd name="connsiteX492" fmla="*/ 2861155 w 12192000"/>
              <a:gd name="connsiteY492" fmla="*/ 2642259 h 5038666"/>
              <a:gd name="connsiteX493" fmla="*/ 2865940 w 12192000"/>
              <a:gd name="connsiteY493" fmla="*/ 2606921 h 5038666"/>
              <a:gd name="connsiteX494" fmla="*/ 2869768 w 12192000"/>
              <a:gd name="connsiteY494" fmla="*/ 2572124 h 5038666"/>
              <a:gd name="connsiteX495" fmla="*/ 2873404 w 12192000"/>
              <a:gd name="connsiteY495" fmla="*/ 2537326 h 5038666"/>
              <a:gd name="connsiteX496" fmla="*/ 2876658 w 12192000"/>
              <a:gd name="connsiteY496" fmla="*/ 2503250 h 5038666"/>
              <a:gd name="connsiteX497" fmla="*/ 2879337 w 12192000"/>
              <a:gd name="connsiteY497" fmla="*/ 2469534 h 5038666"/>
              <a:gd name="connsiteX498" fmla="*/ 2881825 w 12192000"/>
              <a:gd name="connsiteY498" fmla="*/ 2436179 h 5038666"/>
              <a:gd name="connsiteX499" fmla="*/ 2883931 w 12192000"/>
              <a:gd name="connsiteY499" fmla="*/ 2403726 h 5038666"/>
              <a:gd name="connsiteX500" fmla="*/ 2885462 w 12192000"/>
              <a:gd name="connsiteY500" fmla="*/ 2371993 h 5038666"/>
              <a:gd name="connsiteX501" fmla="*/ 2886802 w 12192000"/>
              <a:gd name="connsiteY501" fmla="*/ 2340982 h 5038666"/>
              <a:gd name="connsiteX502" fmla="*/ 2887759 w 12192000"/>
              <a:gd name="connsiteY502" fmla="*/ 2311053 h 5038666"/>
              <a:gd name="connsiteX503" fmla="*/ 2888716 w 12192000"/>
              <a:gd name="connsiteY503" fmla="*/ 2281845 h 5038666"/>
              <a:gd name="connsiteX504" fmla="*/ 2889481 w 12192000"/>
              <a:gd name="connsiteY504" fmla="*/ 2254079 h 5038666"/>
              <a:gd name="connsiteX505" fmla="*/ 2889673 w 12192000"/>
              <a:gd name="connsiteY505" fmla="*/ 2227215 h 5038666"/>
              <a:gd name="connsiteX506" fmla="*/ 2889864 w 12192000"/>
              <a:gd name="connsiteY506" fmla="*/ 2201793 h 5038666"/>
              <a:gd name="connsiteX507" fmla="*/ 2889864 w 12192000"/>
              <a:gd name="connsiteY507" fmla="*/ 2177633 h 5038666"/>
              <a:gd name="connsiteX508" fmla="*/ 2889673 w 12192000"/>
              <a:gd name="connsiteY508" fmla="*/ 2155096 h 5038666"/>
              <a:gd name="connsiteX509" fmla="*/ 2889481 w 12192000"/>
              <a:gd name="connsiteY509" fmla="*/ 2133820 h 5038666"/>
              <a:gd name="connsiteX510" fmla="*/ 2889098 w 12192000"/>
              <a:gd name="connsiteY510" fmla="*/ 2114168 h 5038666"/>
              <a:gd name="connsiteX511" fmla="*/ 2888716 w 12192000"/>
              <a:gd name="connsiteY511" fmla="*/ 2096499 h 5038666"/>
              <a:gd name="connsiteX512" fmla="*/ 2887759 w 12192000"/>
              <a:gd name="connsiteY512" fmla="*/ 2066029 h 5038666"/>
              <a:gd name="connsiteX513" fmla="*/ 2886993 w 12192000"/>
              <a:gd name="connsiteY513" fmla="*/ 2043672 h 5038666"/>
              <a:gd name="connsiteX514" fmla="*/ 2886228 w 12192000"/>
              <a:gd name="connsiteY514" fmla="*/ 2029609 h 5038666"/>
              <a:gd name="connsiteX515" fmla="*/ 2886036 w 12192000"/>
              <a:gd name="connsiteY515" fmla="*/ 2024741 h 5038666"/>
              <a:gd name="connsiteX516" fmla="*/ 2879912 w 12192000"/>
              <a:gd name="connsiteY516" fmla="*/ 2023839 h 5038666"/>
              <a:gd name="connsiteX517" fmla="*/ 2862112 w 12192000"/>
              <a:gd name="connsiteY517" fmla="*/ 2020594 h 5038666"/>
              <a:gd name="connsiteX518" fmla="*/ 2849480 w 12192000"/>
              <a:gd name="connsiteY518" fmla="*/ 2017889 h 5038666"/>
              <a:gd name="connsiteX519" fmla="*/ 2834359 w 12192000"/>
              <a:gd name="connsiteY519" fmla="*/ 2014644 h 5038666"/>
              <a:gd name="connsiteX520" fmla="*/ 2816751 w 12192000"/>
              <a:gd name="connsiteY520" fmla="*/ 2010317 h 5038666"/>
              <a:gd name="connsiteX521" fmla="*/ 2797420 w 12192000"/>
              <a:gd name="connsiteY521" fmla="*/ 2005088 h 5038666"/>
              <a:gd name="connsiteX522" fmla="*/ 2775983 w 12192000"/>
              <a:gd name="connsiteY522" fmla="*/ 1999138 h 5038666"/>
              <a:gd name="connsiteX523" fmla="*/ 2753207 w 12192000"/>
              <a:gd name="connsiteY523" fmla="*/ 1991746 h 5038666"/>
              <a:gd name="connsiteX524" fmla="*/ 2728517 w 12192000"/>
              <a:gd name="connsiteY524" fmla="*/ 1983633 h 5038666"/>
              <a:gd name="connsiteX525" fmla="*/ 2702487 w 12192000"/>
              <a:gd name="connsiteY525" fmla="*/ 1973897 h 5038666"/>
              <a:gd name="connsiteX526" fmla="*/ 2675501 w 12192000"/>
              <a:gd name="connsiteY526" fmla="*/ 1963259 h 5038666"/>
              <a:gd name="connsiteX527" fmla="*/ 2647174 w 12192000"/>
              <a:gd name="connsiteY527" fmla="*/ 1951359 h 5038666"/>
              <a:gd name="connsiteX528" fmla="*/ 2617890 w 12192000"/>
              <a:gd name="connsiteY528" fmla="*/ 1937657 h 5038666"/>
              <a:gd name="connsiteX529" fmla="*/ 2588033 w 12192000"/>
              <a:gd name="connsiteY529" fmla="*/ 1922872 h 5038666"/>
              <a:gd name="connsiteX530" fmla="*/ 2557409 w 12192000"/>
              <a:gd name="connsiteY530" fmla="*/ 1906465 h 5038666"/>
              <a:gd name="connsiteX531" fmla="*/ 2526594 w 12192000"/>
              <a:gd name="connsiteY531" fmla="*/ 1888255 h 5038666"/>
              <a:gd name="connsiteX532" fmla="*/ 2495397 w 12192000"/>
              <a:gd name="connsiteY532" fmla="*/ 1868603 h 5038666"/>
              <a:gd name="connsiteX533" fmla="*/ 2464391 w 12192000"/>
              <a:gd name="connsiteY533" fmla="*/ 1847328 h 5038666"/>
              <a:gd name="connsiteX534" fmla="*/ 2433002 w 12192000"/>
              <a:gd name="connsiteY534" fmla="*/ 1824069 h 5038666"/>
              <a:gd name="connsiteX535" fmla="*/ 2401996 w 12192000"/>
              <a:gd name="connsiteY535" fmla="*/ 1799008 h 5038666"/>
              <a:gd name="connsiteX536" fmla="*/ 2371564 w 12192000"/>
              <a:gd name="connsiteY536" fmla="*/ 1771783 h 5038666"/>
              <a:gd name="connsiteX537" fmla="*/ 2341897 w 12192000"/>
              <a:gd name="connsiteY537" fmla="*/ 1742575 h 5038666"/>
              <a:gd name="connsiteX538" fmla="*/ 2312614 w 12192000"/>
              <a:gd name="connsiteY538" fmla="*/ 1711384 h 5038666"/>
              <a:gd name="connsiteX539" fmla="*/ 2284287 w 12192000"/>
              <a:gd name="connsiteY539" fmla="*/ 1678209 h 5038666"/>
              <a:gd name="connsiteX540" fmla="*/ 2257109 w 12192000"/>
              <a:gd name="connsiteY540" fmla="*/ 1642690 h 5038666"/>
              <a:gd name="connsiteX541" fmla="*/ 2231270 w 12192000"/>
              <a:gd name="connsiteY541" fmla="*/ 1604828 h 5038666"/>
              <a:gd name="connsiteX542" fmla="*/ 2206771 w 12192000"/>
              <a:gd name="connsiteY542" fmla="*/ 1564621 h 5038666"/>
              <a:gd name="connsiteX543" fmla="*/ 2183612 w 12192000"/>
              <a:gd name="connsiteY543" fmla="*/ 1522252 h 5038666"/>
              <a:gd name="connsiteX544" fmla="*/ 2162559 w 12192000"/>
              <a:gd name="connsiteY544" fmla="*/ 1476997 h 5038666"/>
              <a:gd name="connsiteX545" fmla="*/ 2143036 w 12192000"/>
              <a:gd name="connsiteY545" fmla="*/ 1429218 h 5038666"/>
              <a:gd name="connsiteX546" fmla="*/ 2123897 w 12192000"/>
              <a:gd name="connsiteY546" fmla="*/ 1380898 h 5038666"/>
              <a:gd name="connsiteX547" fmla="*/ 2103226 w 12192000"/>
              <a:gd name="connsiteY547" fmla="*/ 1333480 h 5038666"/>
              <a:gd name="connsiteX548" fmla="*/ 2081216 w 12192000"/>
              <a:gd name="connsiteY548" fmla="*/ 1287504 h 5038666"/>
              <a:gd name="connsiteX549" fmla="*/ 2058057 w 12192000"/>
              <a:gd name="connsiteY549" fmla="*/ 1242430 h 5038666"/>
              <a:gd name="connsiteX550" fmla="*/ 2033941 w 12192000"/>
              <a:gd name="connsiteY550" fmla="*/ 1198798 h 5038666"/>
              <a:gd name="connsiteX551" fmla="*/ 2008485 w 12192000"/>
              <a:gd name="connsiteY551" fmla="*/ 1156248 h 5038666"/>
              <a:gd name="connsiteX552" fmla="*/ 1982455 w 12192000"/>
              <a:gd name="connsiteY552" fmla="*/ 1114960 h 5038666"/>
              <a:gd name="connsiteX553" fmla="*/ 1955851 w 12192000"/>
              <a:gd name="connsiteY553" fmla="*/ 1075294 h 5038666"/>
              <a:gd name="connsiteX554" fmla="*/ 1928673 w 12192000"/>
              <a:gd name="connsiteY554" fmla="*/ 1036530 h 5038666"/>
              <a:gd name="connsiteX555" fmla="*/ 1901112 w 12192000"/>
              <a:gd name="connsiteY555" fmla="*/ 999209 h 5038666"/>
              <a:gd name="connsiteX556" fmla="*/ 1873168 w 12192000"/>
              <a:gd name="connsiteY556" fmla="*/ 963149 h 5038666"/>
              <a:gd name="connsiteX557" fmla="*/ 1845416 w 12192000"/>
              <a:gd name="connsiteY557" fmla="*/ 928893 h 5038666"/>
              <a:gd name="connsiteX558" fmla="*/ 1817472 w 12192000"/>
              <a:gd name="connsiteY558" fmla="*/ 895538 h 5038666"/>
              <a:gd name="connsiteX559" fmla="*/ 1789719 w 12192000"/>
              <a:gd name="connsiteY559" fmla="*/ 863986 h 5038666"/>
              <a:gd name="connsiteX560" fmla="*/ 1762158 w 12192000"/>
              <a:gd name="connsiteY560" fmla="*/ 833876 h 5038666"/>
              <a:gd name="connsiteX561" fmla="*/ 1735172 w 12192000"/>
              <a:gd name="connsiteY561" fmla="*/ 805209 h 5038666"/>
              <a:gd name="connsiteX562" fmla="*/ 1708759 w 12192000"/>
              <a:gd name="connsiteY562" fmla="*/ 778164 h 5038666"/>
              <a:gd name="connsiteX563" fmla="*/ 1682920 w 12192000"/>
              <a:gd name="connsiteY563" fmla="*/ 752381 h 5038666"/>
              <a:gd name="connsiteX564" fmla="*/ 1658039 w 12192000"/>
              <a:gd name="connsiteY564" fmla="*/ 728582 h 5038666"/>
              <a:gd name="connsiteX565" fmla="*/ 1634114 w 12192000"/>
              <a:gd name="connsiteY565" fmla="*/ 706045 h 5038666"/>
              <a:gd name="connsiteX566" fmla="*/ 1611530 w 12192000"/>
              <a:gd name="connsiteY566" fmla="*/ 685491 h 5038666"/>
              <a:gd name="connsiteX567" fmla="*/ 1589902 w 12192000"/>
              <a:gd name="connsiteY567" fmla="*/ 666199 h 5038666"/>
              <a:gd name="connsiteX568" fmla="*/ 1569614 w 12192000"/>
              <a:gd name="connsiteY568" fmla="*/ 648710 h 5038666"/>
              <a:gd name="connsiteX569" fmla="*/ 1551049 w 12192000"/>
              <a:gd name="connsiteY569" fmla="*/ 633024 h 5038666"/>
              <a:gd name="connsiteX570" fmla="*/ 1534014 w 12192000"/>
              <a:gd name="connsiteY570" fmla="*/ 619322 h 5038666"/>
              <a:gd name="connsiteX571" fmla="*/ 1519085 w 12192000"/>
              <a:gd name="connsiteY571" fmla="*/ 607062 h 5038666"/>
              <a:gd name="connsiteX572" fmla="*/ 1505879 w 12192000"/>
              <a:gd name="connsiteY572" fmla="*/ 596604 h 5038666"/>
              <a:gd name="connsiteX573" fmla="*/ 1494778 w 12192000"/>
              <a:gd name="connsiteY573" fmla="*/ 588130 h 5038666"/>
              <a:gd name="connsiteX574" fmla="*/ 1479466 w 12192000"/>
              <a:gd name="connsiteY574" fmla="*/ 576772 h 5038666"/>
              <a:gd name="connsiteX575" fmla="*/ 1474107 w 12192000"/>
              <a:gd name="connsiteY575" fmla="*/ 572805 h 5038666"/>
              <a:gd name="connsiteX576" fmla="*/ 1480041 w 12192000"/>
              <a:gd name="connsiteY576" fmla="*/ 575870 h 5038666"/>
              <a:gd name="connsiteX577" fmla="*/ 1497649 w 12192000"/>
              <a:gd name="connsiteY577" fmla="*/ 585426 h 5038666"/>
              <a:gd name="connsiteX578" fmla="*/ 1510281 w 12192000"/>
              <a:gd name="connsiteY578" fmla="*/ 592277 h 5038666"/>
              <a:gd name="connsiteX579" fmla="*/ 1525210 w 12192000"/>
              <a:gd name="connsiteY579" fmla="*/ 600571 h 5038666"/>
              <a:gd name="connsiteX580" fmla="*/ 1542244 w 12192000"/>
              <a:gd name="connsiteY580" fmla="*/ 610487 h 5038666"/>
              <a:gd name="connsiteX581" fmla="*/ 1561384 w 12192000"/>
              <a:gd name="connsiteY581" fmla="*/ 621846 h 5038666"/>
              <a:gd name="connsiteX582" fmla="*/ 1582246 w 12192000"/>
              <a:gd name="connsiteY582" fmla="*/ 634467 h 5038666"/>
              <a:gd name="connsiteX583" fmla="*/ 1605022 w 12192000"/>
              <a:gd name="connsiteY583" fmla="*/ 648530 h 5038666"/>
              <a:gd name="connsiteX584" fmla="*/ 1629138 w 12192000"/>
              <a:gd name="connsiteY584" fmla="*/ 664036 h 5038666"/>
              <a:gd name="connsiteX585" fmla="*/ 1654785 w 12192000"/>
              <a:gd name="connsiteY585" fmla="*/ 680803 h 5038666"/>
              <a:gd name="connsiteX586" fmla="*/ 1681581 w 12192000"/>
              <a:gd name="connsiteY586" fmla="*/ 698833 h 5038666"/>
              <a:gd name="connsiteX587" fmla="*/ 1709525 w 12192000"/>
              <a:gd name="connsiteY587" fmla="*/ 718305 h 5038666"/>
              <a:gd name="connsiteX588" fmla="*/ 1738042 w 12192000"/>
              <a:gd name="connsiteY588" fmla="*/ 738859 h 5038666"/>
              <a:gd name="connsiteX589" fmla="*/ 1767518 w 12192000"/>
              <a:gd name="connsiteY589" fmla="*/ 760855 h 5038666"/>
              <a:gd name="connsiteX590" fmla="*/ 1797375 w 12192000"/>
              <a:gd name="connsiteY590" fmla="*/ 783933 h 5038666"/>
              <a:gd name="connsiteX591" fmla="*/ 1827807 w 12192000"/>
              <a:gd name="connsiteY591" fmla="*/ 808274 h 5038666"/>
              <a:gd name="connsiteX592" fmla="*/ 1858239 w 12192000"/>
              <a:gd name="connsiteY592" fmla="*/ 833876 h 5038666"/>
              <a:gd name="connsiteX593" fmla="*/ 1889054 w 12192000"/>
              <a:gd name="connsiteY593" fmla="*/ 860380 h 5038666"/>
              <a:gd name="connsiteX594" fmla="*/ 1919677 w 12192000"/>
              <a:gd name="connsiteY594" fmla="*/ 888326 h 5038666"/>
              <a:gd name="connsiteX595" fmla="*/ 1949918 w 12192000"/>
              <a:gd name="connsiteY595" fmla="*/ 917173 h 5038666"/>
              <a:gd name="connsiteX596" fmla="*/ 1979584 w 12192000"/>
              <a:gd name="connsiteY596" fmla="*/ 947103 h 5038666"/>
              <a:gd name="connsiteX597" fmla="*/ 2009059 w 12192000"/>
              <a:gd name="connsiteY597" fmla="*/ 978294 h 5038666"/>
              <a:gd name="connsiteX598" fmla="*/ 2037386 w 12192000"/>
              <a:gd name="connsiteY598" fmla="*/ 1010387 h 5038666"/>
              <a:gd name="connsiteX599" fmla="*/ 2064947 w 12192000"/>
              <a:gd name="connsiteY599" fmla="*/ 1043381 h 5038666"/>
              <a:gd name="connsiteX600" fmla="*/ 2091551 w 12192000"/>
              <a:gd name="connsiteY600" fmla="*/ 1077458 h 5038666"/>
              <a:gd name="connsiteX601" fmla="*/ 2116815 w 12192000"/>
              <a:gd name="connsiteY601" fmla="*/ 1112616 h 5038666"/>
              <a:gd name="connsiteX602" fmla="*/ 2140740 w 12192000"/>
              <a:gd name="connsiteY602" fmla="*/ 1148675 h 5038666"/>
              <a:gd name="connsiteX603" fmla="*/ 2162942 w 12192000"/>
              <a:gd name="connsiteY603" fmla="*/ 1185456 h 5038666"/>
              <a:gd name="connsiteX604" fmla="*/ 2183612 w 12192000"/>
              <a:gd name="connsiteY604" fmla="*/ 1223499 h 5038666"/>
              <a:gd name="connsiteX605" fmla="*/ 2202369 w 12192000"/>
              <a:gd name="connsiteY605" fmla="*/ 1262082 h 5038666"/>
              <a:gd name="connsiteX606" fmla="*/ 2220743 w 12192000"/>
              <a:gd name="connsiteY606" fmla="*/ 1300486 h 5038666"/>
              <a:gd name="connsiteX607" fmla="*/ 2240457 w 12192000"/>
              <a:gd name="connsiteY607" fmla="*/ 1336725 h 5038666"/>
              <a:gd name="connsiteX608" fmla="*/ 2261702 w 12192000"/>
              <a:gd name="connsiteY608" fmla="*/ 1370982 h 5038666"/>
              <a:gd name="connsiteX609" fmla="*/ 2284096 w 12192000"/>
              <a:gd name="connsiteY609" fmla="*/ 1403436 h 5038666"/>
              <a:gd name="connsiteX610" fmla="*/ 2307637 w 12192000"/>
              <a:gd name="connsiteY610" fmla="*/ 1434266 h 5038666"/>
              <a:gd name="connsiteX611" fmla="*/ 2331945 w 12192000"/>
              <a:gd name="connsiteY611" fmla="*/ 1463114 h 5038666"/>
              <a:gd name="connsiteX612" fmla="*/ 2357017 w 12192000"/>
              <a:gd name="connsiteY612" fmla="*/ 1490339 h 5038666"/>
              <a:gd name="connsiteX613" fmla="*/ 2382665 w 12192000"/>
              <a:gd name="connsiteY613" fmla="*/ 1515941 h 5038666"/>
              <a:gd name="connsiteX614" fmla="*/ 2409269 w 12192000"/>
              <a:gd name="connsiteY614" fmla="*/ 1539921 h 5038666"/>
              <a:gd name="connsiteX615" fmla="*/ 2435873 w 12192000"/>
              <a:gd name="connsiteY615" fmla="*/ 1562278 h 5038666"/>
              <a:gd name="connsiteX616" fmla="*/ 2462668 w 12192000"/>
              <a:gd name="connsiteY616" fmla="*/ 1583372 h 5038666"/>
              <a:gd name="connsiteX617" fmla="*/ 2489655 w 12192000"/>
              <a:gd name="connsiteY617" fmla="*/ 1602845 h 5038666"/>
              <a:gd name="connsiteX618" fmla="*/ 2516833 w 12192000"/>
              <a:gd name="connsiteY618" fmla="*/ 1620694 h 5038666"/>
              <a:gd name="connsiteX619" fmla="*/ 2543629 w 12192000"/>
              <a:gd name="connsiteY619" fmla="*/ 1637462 h 5038666"/>
              <a:gd name="connsiteX620" fmla="*/ 2570041 w 12192000"/>
              <a:gd name="connsiteY620" fmla="*/ 1652787 h 5038666"/>
              <a:gd name="connsiteX621" fmla="*/ 2596263 w 12192000"/>
              <a:gd name="connsiteY621" fmla="*/ 1667030 h 5038666"/>
              <a:gd name="connsiteX622" fmla="*/ 2621910 w 12192000"/>
              <a:gd name="connsiteY622" fmla="*/ 1679832 h 5038666"/>
              <a:gd name="connsiteX623" fmla="*/ 2646791 w 12192000"/>
              <a:gd name="connsiteY623" fmla="*/ 1691551 h 5038666"/>
              <a:gd name="connsiteX624" fmla="*/ 2670907 w 12192000"/>
              <a:gd name="connsiteY624" fmla="*/ 1702008 h 5038666"/>
              <a:gd name="connsiteX625" fmla="*/ 2694066 w 12192000"/>
              <a:gd name="connsiteY625" fmla="*/ 1711564 h 5038666"/>
              <a:gd name="connsiteX626" fmla="*/ 2716077 w 12192000"/>
              <a:gd name="connsiteY626" fmla="*/ 1720038 h 5038666"/>
              <a:gd name="connsiteX627" fmla="*/ 2736939 w 12192000"/>
              <a:gd name="connsiteY627" fmla="*/ 1727610 h 5038666"/>
              <a:gd name="connsiteX628" fmla="*/ 2756461 w 12192000"/>
              <a:gd name="connsiteY628" fmla="*/ 1734101 h 5038666"/>
              <a:gd name="connsiteX629" fmla="*/ 2774452 w 12192000"/>
              <a:gd name="connsiteY629" fmla="*/ 1739690 h 5038666"/>
              <a:gd name="connsiteX630" fmla="*/ 2790912 w 12192000"/>
              <a:gd name="connsiteY630" fmla="*/ 1744198 h 5038666"/>
              <a:gd name="connsiteX631" fmla="*/ 2805458 w 12192000"/>
              <a:gd name="connsiteY631" fmla="*/ 1748525 h 5038666"/>
              <a:gd name="connsiteX632" fmla="*/ 2818282 w 12192000"/>
              <a:gd name="connsiteY632" fmla="*/ 1751590 h 5038666"/>
              <a:gd name="connsiteX633" fmla="*/ 2829000 w 12192000"/>
              <a:gd name="connsiteY633" fmla="*/ 1754114 h 5038666"/>
              <a:gd name="connsiteX634" fmla="*/ 2843929 w 12192000"/>
              <a:gd name="connsiteY634" fmla="*/ 1757540 h 5038666"/>
              <a:gd name="connsiteX635" fmla="*/ 2848905 w 12192000"/>
              <a:gd name="connsiteY635" fmla="*/ 1758261 h 5038666"/>
              <a:gd name="connsiteX636" fmla="*/ 2834359 w 12192000"/>
              <a:gd name="connsiteY636" fmla="*/ 1462212 h 5038666"/>
              <a:gd name="connsiteX637" fmla="*/ 2833785 w 12192000"/>
              <a:gd name="connsiteY637" fmla="*/ 1462032 h 5038666"/>
              <a:gd name="connsiteX638" fmla="*/ 2832828 w 12192000"/>
              <a:gd name="connsiteY638" fmla="*/ 1460770 h 5038666"/>
              <a:gd name="connsiteX639" fmla="*/ 2830531 w 12192000"/>
              <a:gd name="connsiteY639" fmla="*/ 1458787 h 5038666"/>
              <a:gd name="connsiteX640" fmla="*/ 2827469 w 12192000"/>
              <a:gd name="connsiteY640" fmla="*/ 1455181 h 5038666"/>
              <a:gd name="connsiteX641" fmla="*/ 2823450 w 12192000"/>
              <a:gd name="connsiteY641" fmla="*/ 1449952 h 5038666"/>
              <a:gd name="connsiteX642" fmla="*/ 2818473 w 12192000"/>
              <a:gd name="connsiteY642" fmla="*/ 1443101 h 5038666"/>
              <a:gd name="connsiteX643" fmla="*/ 2812349 w 12192000"/>
              <a:gd name="connsiteY643" fmla="*/ 1434086 h 5038666"/>
              <a:gd name="connsiteX644" fmla="*/ 2805267 w 12192000"/>
              <a:gd name="connsiteY644" fmla="*/ 1422727 h 5038666"/>
              <a:gd name="connsiteX645" fmla="*/ 2796654 w 12192000"/>
              <a:gd name="connsiteY645" fmla="*/ 1408844 h 5038666"/>
              <a:gd name="connsiteX646" fmla="*/ 2787084 w 12192000"/>
              <a:gd name="connsiteY646" fmla="*/ 1392077 h 5038666"/>
              <a:gd name="connsiteX647" fmla="*/ 2776366 w 12192000"/>
              <a:gd name="connsiteY647" fmla="*/ 1372424 h 5038666"/>
              <a:gd name="connsiteX648" fmla="*/ 2764117 w 12192000"/>
              <a:gd name="connsiteY648" fmla="*/ 1349166 h 5038666"/>
              <a:gd name="connsiteX649" fmla="*/ 2757418 w 12192000"/>
              <a:gd name="connsiteY649" fmla="*/ 1336545 h 5038666"/>
              <a:gd name="connsiteX650" fmla="*/ 2750528 w 12192000"/>
              <a:gd name="connsiteY650" fmla="*/ 1322662 h 5038666"/>
              <a:gd name="connsiteX651" fmla="*/ 2743255 w 12192000"/>
              <a:gd name="connsiteY651" fmla="*/ 1307878 h 5038666"/>
              <a:gd name="connsiteX652" fmla="*/ 2735599 w 12192000"/>
              <a:gd name="connsiteY652" fmla="*/ 1292012 h 5038666"/>
              <a:gd name="connsiteX653" fmla="*/ 2727560 w 12192000"/>
              <a:gd name="connsiteY653" fmla="*/ 1275424 h 5038666"/>
              <a:gd name="connsiteX654" fmla="*/ 2719139 w 12192000"/>
              <a:gd name="connsiteY654" fmla="*/ 1257575 h 5038666"/>
              <a:gd name="connsiteX655" fmla="*/ 2710335 w 12192000"/>
              <a:gd name="connsiteY655" fmla="*/ 1238644 h 5038666"/>
              <a:gd name="connsiteX656" fmla="*/ 2701148 w 12192000"/>
              <a:gd name="connsiteY656" fmla="*/ 1218631 h 5038666"/>
              <a:gd name="connsiteX657" fmla="*/ 2692343 w 12192000"/>
              <a:gd name="connsiteY657" fmla="*/ 1198798 h 5038666"/>
              <a:gd name="connsiteX658" fmla="*/ 2683922 w 12192000"/>
              <a:gd name="connsiteY658" fmla="*/ 1179867 h 5038666"/>
              <a:gd name="connsiteX659" fmla="*/ 2676266 w 12192000"/>
              <a:gd name="connsiteY659" fmla="*/ 1161837 h 5038666"/>
              <a:gd name="connsiteX660" fmla="*/ 2669184 w 12192000"/>
              <a:gd name="connsiteY660" fmla="*/ 1144889 h 5038666"/>
              <a:gd name="connsiteX661" fmla="*/ 2662677 w 12192000"/>
              <a:gd name="connsiteY661" fmla="*/ 1128843 h 5038666"/>
              <a:gd name="connsiteX662" fmla="*/ 2656552 w 12192000"/>
              <a:gd name="connsiteY662" fmla="*/ 1113337 h 5038666"/>
              <a:gd name="connsiteX663" fmla="*/ 2651002 w 12192000"/>
              <a:gd name="connsiteY663" fmla="*/ 1098192 h 5038666"/>
              <a:gd name="connsiteX664" fmla="*/ 2645834 w 12192000"/>
              <a:gd name="connsiteY664" fmla="*/ 1083588 h 5038666"/>
              <a:gd name="connsiteX665" fmla="*/ 2641049 w 12192000"/>
              <a:gd name="connsiteY665" fmla="*/ 1069344 h 5038666"/>
              <a:gd name="connsiteX666" fmla="*/ 2636456 w 12192000"/>
              <a:gd name="connsiteY666" fmla="*/ 1055281 h 5038666"/>
              <a:gd name="connsiteX667" fmla="*/ 2632245 w 12192000"/>
              <a:gd name="connsiteY667" fmla="*/ 1041579 h 5038666"/>
              <a:gd name="connsiteX668" fmla="*/ 2628226 w 12192000"/>
              <a:gd name="connsiteY668" fmla="*/ 1027515 h 5038666"/>
              <a:gd name="connsiteX669" fmla="*/ 2624589 w 12192000"/>
              <a:gd name="connsiteY669" fmla="*/ 1013452 h 5038666"/>
              <a:gd name="connsiteX670" fmla="*/ 2620761 w 12192000"/>
              <a:gd name="connsiteY670" fmla="*/ 999028 h 5038666"/>
              <a:gd name="connsiteX671" fmla="*/ 2616933 w 12192000"/>
              <a:gd name="connsiteY671" fmla="*/ 984424 h 5038666"/>
              <a:gd name="connsiteX672" fmla="*/ 2613488 w 12192000"/>
              <a:gd name="connsiteY672" fmla="*/ 969279 h 5038666"/>
              <a:gd name="connsiteX673" fmla="*/ 2606024 w 12192000"/>
              <a:gd name="connsiteY673" fmla="*/ 937006 h 5038666"/>
              <a:gd name="connsiteX674" fmla="*/ 2598368 w 12192000"/>
              <a:gd name="connsiteY674" fmla="*/ 901668 h 5038666"/>
              <a:gd name="connsiteX675" fmla="*/ 2589372 w 12192000"/>
              <a:gd name="connsiteY675" fmla="*/ 862183 h 5038666"/>
              <a:gd name="connsiteX676" fmla="*/ 2579611 w 12192000"/>
              <a:gd name="connsiteY676" fmla="*/ 817649 h 5038666"/>
              <a:gd name="connsiteX677" fmla="*/ 2568127 w 12192000"/>
              <a:gd name="connsiteY677" fmla="*/ 766986 h 5038666"/>
              <a:gd name="connsiteX678" fmla="*/ 2554538 w 12192000"/>
              <a:gd name="connsiteY678" fmla="*/ 709831 h 5038666"/>
              <a:gd name="connsiteX679" fmla="*/ 2546882 w 12192000"/>
              <a:gd name="connsiteY679" fmla="*/ 678279 h 5038666"/>
              <a:gd name="connsiteX680" fmla="*/ 2538652 w 12192000"/>
              <a:gd name="connsiteY680" fmla="*/ 644744 h 5038666"/>
              <a:gd name="connsiteX681" fmla="*/ 2529848 w 12192000"/>
              <a:gd name="connsiteY681" fmla="*/ 609045 h 5038666"/>
              <a:gd name="connsiteX682" fmla="*/ 2520087 w 12192000"/>
              <a:gd name="connsiteY682" fmla="*/ 571182 h 5038666"/>
              <a:gd name="connsiteX683" fmla="*/ 2508986 w 12192000"/>
              <a:gd name="connsiteY683" fmla="*/ 532779 h 5038666"/>
              <a:gd name="connsiteX684" fmla="*/ 2495397 w 12192000"/>
              <a:gd name="connsiteY684" fmla="*/ 496179 h 5038666"/>
              <a:gd name="connsiteX685" fmla="*/ 2480085 w 12192000"/>
              <a:gd name="connsiteY685" fmla="*/ 461381 h 5038666"/>
              <a:gd name="connsiteX686" fmla="*/ 2462668 w 12192000"/>
              <a:gd name="connsiteY686" fmla="*/ 428207 h 5038666"/>
              <a:gd name="connsiteX687" fmla="*/ 2443911 w 12192000"/>
              <a:gd name="connsiteY687" fmla="*/ 396655 h 5038666"/>
              <a:gd name="connsiteX688" fmla="*/ 2423432 w 12192000"/>
              <a:gd name="connsiteY688" fmla="*/ 366725 h 5038666"/>
              <a:gd name="connsiteX689" fmla="*/ 2401421 w 12192000"/>
              <a:gd name="connsiteY689" fmla="*/ 338238 h 5038666"/>
              <a:gd name="connsiteX690" fmla="*/ 2378454 w 12192000"/>
              <a:gd name="connsiteY690" fmla="*/ 311554 h 5038666"/>
              <a:gd name="connsiteX691" fmla="*/ 2354338 w 12192000"/>
              <a:gd name="connsiteY691" fmla="*/ 286132 h 5038666"/>
              <a:gd name="connsiteX692" fmla="*/ 2329456 w 12192000"/>
              <a:gd name="connsiteY692" fmla="*/ 262333 h 5038666"/>
              <a:gd name="connsiteX693" fmla="*/ 2303809 w 12192000"/>
              <a:gd name="connsiteY693" fmla="*/ 239976 h 5038666"/>
              <a:gd name="connsiteX694" fmla="*/ 2277588 w 12192000"/>
              <a:gd name="connsiteY694" fmla="*/ 218701 h 5038666"/>
              <a:gd name="connsiteX695" fmla="*/ 2251175 w 12192000"/>
              <a:gd name="connsiteY695" fmla="*/ 199049 h 5038666"/>
              <a:gd name="connsiteX696" fmla="*/ 2224571 w 12192000"/>
              <a:gd name="connsiteY696" fmla="*/ 180839 h 5038666"/>
              <a:gd name="connsiteX697" fmla="*/ 2197776 w 12192000"/>
              <a:gd name="connsiteY697" fmla="*/ 163710 h 5038666"/>
              <a:gd name="connsiteX698" fmla="*/ 2171172 w 12192000"/>
              <a:gd name="connsiteY698" fmla="*/ 148024 h 5038666"/>
              <a:gd name="connsiteX699" fmla="*/ 2144951 w 12192000"/>
              <a:gd name="connsiteY699" fmla="*/ 133420 h 5038666"/>
              <a:gd name="connsiteX700" fmla="*/ 2119112 w 12192000"/>
              <a:gd name="connsiteY700" fmla="*/ 119898 h 5038666"/>
              <a:gd name="connsiteX701" fmla="*/ 2094231 w 12192000"/>
              <a:gd name="connsiteY701" fmla="*/ 107818 h 5038666"/>
              <a:gd name="connsiteX702" fmla="*/ 2069923 w 12192000"/>
              <a:gd name="connsiteY702" fmla="*/ 96639 h 5038666"/>
              <a:gd name="connsiteX703" fmla="*/ 2046573 w 12192000"/>
              <a:gd name="connsiteY703" fmla="*/ 86723 h 5038666"/>
              <a:gd name="connsiteX704" fmla="*/ 2024562 w 12192000"/>
              <a:gd name="connsiteY704" fmla="*/ 77708 h 5038666"/>
              <a:gd name="connsiteX705" fmla="*/ 2003700 w 12192000"/>
              <a:gd name="connsiteY705" fmla="*/ 69775 h 5038666"/>
              <a:gd name="connsiteX706" fmla="*/ 1984369 w 12192000"/>
              <a:gd name="connsiteY706" fmla="*/ 62744 h 5038666"/>
              <a:gd name="connsiteX707" fmla="*/ 1966569 w 12192000"/>
              <a:gd name="connsiteY707" fmla="*/ 56794 h 5038666"/>
              <a:gd name="connsiteX708" fmla="*/ 1950684 w 12192000"/>
              <a:gd name="connsiteY708" fmla="*/ 51746 h 5038666"/>
              <a:gd name="connsiteX709" fmla="*/ 1936712 w 12192000"/>
              <a:gd name="connsiteY709" fmla="*/ 47599 h 5038666"/>
              <a:gd name="connsiteX710" fmla="*/ 1925036 w 12192000"/>
              <a:gd name="connsiteY710" fmla="*/ 43993 h 5038666"/>
              <a:gd name="connsiteX711" fmla="*/ 1908576 w 12192000"/>
              <a:gd name="connsiteY711" fmla="*/ 39846 h 5038666"/>
              <a:gd name="connsiteX712" fmla="*/ 1903026 w 12192000"/>
              <a:gd name="connsiteY712" fmla="*/ 38223 h 5038666"/>
              <a:gd name="connsiteX713" fmla="*/ 1907045 w 12192000"/>
              <a:gd name="connsiteY713" fmla="*/ 38223 h 5038666"/>
              <a:gd name="connsiteX714" fmla="*/ 1918529 w 12192000"/>
              <a:gd name="connsiteY714" fmla="*/ 38764 h 5038666"/>
              <a:gd name="connsiteX715" fmla="*/ 1926950 w 12192000"/>
              <a:gd name="connsiteY715" fmla="*/ 39125 h 5038666"/>
              <a:gd name="connsiteX716" fmla="*/ 1936903 w 12192000"/>
              <a:gd name="connsiteY716" fmla="*/ 39485 h 5038666"/>
              <a:gd name="connsiteX717" fmla="*/ 1948387 w 12192000"/>
              <a:gd name="connsiteY717" fmla="*/ 40387 h 5038666"/>
              <a:gd name="connsiteX718" fmla="*/ 1961210 w 12192000"/>
              <a:gd name="connsiteY718" fmla="*/ 41469 h 5038666"/>
              <a:gd name="connsiteX719" fmla="*/ 1975182 w 12192000"/>
              <a:gd name="connsiteY719" fmla="*/ 42731 h 5038666"/>
              <a:gd name="connsiteX720" fmla="*/ 1990494 w 12192000"/>
              <a:gd name="connsiteY720" fmla="*/ 44353 h 5038666"/>
              <a:gd name="connsiteX721" fmla="*/ 2006763 w 12192000"/>
              <a:gd name="connsiteY721" fmla="*/ 46337 h 5038666"/>
              <a:gd name="connsiteX722" fmla="*/ 2024180 w 12192000"/>
              <a:gd name="connsiteY722" fmla="*/ 48861 h 5038666"/>
              <a:gd name="connsiteX723" fmla="*/ 2042362 w 12192000"/>
              <a:gd name="connsiteY723" fmla="*/ 51746 h 5038666"/>
              <a:gd name="connsiteX724" fmla="*/ 2060928 w 12192000"/>
              <a:gd name="connsiteY724" fmla="*/ 54810 h 5038666"/>
              <a:gd name="connsiteX725" fmla="*/ 2080450 w 12192000"/>
              <a:gd name="connsiteY725" fmla="*/ 58777 h 5038666"/>
              <a:gd name="connsiteX726" fmla="*/ 2100547 w 12192000"/>
              <a:gd name="connsiteY726" fmla="*/ 62924 h 5038666"/>
              <a:gd name="connsiteX727" fmla="*/ 2121026 w 12192000"/>
              <a:gd name="connsiteY727" fmla="*/ 67972 h 5038666"/>
              <a:gd name="connsiteX728" fmla="*/ 2141888 w 12192000"/>
              <a:gd name="connsiteY728" fmla="*/ 73742 h 5038666"/>
              <a:gd name="connsiteX729" fmla="*/ 2162942 w 12192000"/>
              <a:gd name="connsiteY729" fmla="*/ 79692 h 5038666"/>
              <a:gd name="connsiteX730" fmla="*/ 2183995 w 12192000"/>
              <a:gd name="connsiteY730" fmla="*/ 86723 h 5038666"/>
              <a:gd name="connsiteX731" fmla="*/ 2205240 w 12192000"/>
              <a:gd name="connsiteY731" fmla="*/ 94476 h 5038666"/>
              <a:gd name="connsiteX732" fmla="*/ 2226294 w 12192000"/>
              <a:gd name="connsiteY732" fmla="*/ 102770 h 5038666"/>
              <a:gd name="connsiteX733" fmla="*/ 2247156 w 12192000"/>
              <a:gd name="connsiteY733" fmla="*/ 111965 h 5038666"/>
              <a:gd name="connsiteX734" fmla="*/ 2267636 w 12192000"/>
              <a:gd name="connsiteY734" fmla="*/ 122061 h 5038666"/>
              <a:gd name="connsiteX735" fmla="*/ 2287923 w 12192000"/>
              <a:gd name="connsiteY735" fmla="*/ 132879 h 5038666"/>
              <a:gd name="connsiteX736" fmla="*/ 2307637 w 12192000"/>
              <a:gd name="connsiteY736" fmla="*/ 144599 h 5038666"/>
              <a:gd name="connsiteX737" fmla="*/ 2326777 w 12192000"/>
              <a:gd name="connsiteY737" fmla="*/ 157400 h 5038666"/>
              <a:gd name="connsiteX738" fmla="*/ 2344960 w 12192000"/>
              <a:gd name="connsiteY738" fmla="*/ 171283 h 5038666"/>
              <a:gd name="connsiteX739" fmla="*/ 2362568 w 12192000"/>
              <a:gd name="connsiteY739" fmla="*/ 186067 h 5038666"/>
              <a:gd name="connsiteX740" fmla="*/ 2379219 w 12192000"/>
              <a:gd name="connsiteY740" fmla="*/ 201753 h 5038666"/>
              <a:gd name="connsiteX741" fmla="*/ 2394723 w 12192000"/>
              <a:gd name="connsiteY741" fmla="*/ 218701 h 5038666"/>
              <a:gd name="connsiteX742" fmla="*/ 2409269 w 12192000"/>
              <a:gd name="connsiteY742" fmla="*/ 236731 h 5038666"/>
              <a:gd name="connsiteX743" fmla="*/ 2422666 w 12192000"/>
              <a:gd name="connsiteY743" fmla="*/ 255121 h 5038666"/>
              <a:gd name="connsiteX744" fmla="*/ 2435681 w 12192000"/>
              <a:gd name="connsiteY744" fmla="*/ 272970 h 5038666"/>
              <a:gd name="connsiteX745" fmla="*/ 2447930 w 12192000"/>
              <a:gd name="connsiteY745" fmla="*/ 290099 h 5038666"/>
              <a:gd name="connsiteX746" fmla="*/ 2459414 w 12192000"/>
              <a:gd name="connsiteY746" fmla="*/ 306866 h 5038666"/>
              <a:gd name="connsiteX747" fmla="*/ 2470515 w 12192000"/>
              <a:gd name="connsiteY747" fmla="*/ 323093 h 5038666"/>
              <a:gd name="connsiteX748" fmla="*/ 2480659 w 12192000"/>
              <a:gd name="connsiteY748" fmla="*/ 338779 h 5038666"/>
              <a:gd name="connsiteX749" fmla="*/ 2490803 w 12192000"/>
              <a:gd name="connsiteY749" fmla="*/ 353744 h 5038666"/>
              <a:gd name="connsiteX750" fmla="*/ 2499799 w 12192000"/>
              <a:gd name="connsiteY750" fmla="*/ 368528 h 5038666"/>
              <a:gd name="connsiteX751" fmla="*/ 2508603 w 12192000"/>
              <a:gd name="connsiteY751" fmla="*/ 382231 h 5038666"/>
              <a:gd name="connsiteX752" fmla="*/ 2516833 w 12192000"/>
              <a:gd name="connsiteY752" fmla="*/ 395933 h 5038666"/>
              <a:gd name="connsiteX753" fmla="*/ 2524298 w 12192000"/>
              <a:gd name="connsiteY753" fmla="*/ 408734 h 5038666"/>
              <a:gd name="connsiteX754" fmla="*/ 2531379 w 12192000"/>
              <a:gd name="connsiteY754" fmla="*/ 420995 h 5038666"/>
              <a:gd name="connsiteX755" fmla="*/ 2538078 w 12192000"/>
              <a:gd name="connsiteY755" fmla="*/ 432714 h 5038666"/>
              <a:gd name="connsiteX756" fmla="*/ 2544203 w 12192000"/>
              <a:gd name="connsiteY756" fmla="*/ 443892 h 5038666"/>
              <a:gd name="connsiteX757" fmla="*/ 2550136 w 12192000"/>
              <a:gd name="connsiteY757" fmla="*/ 454530 h 5038666"/>
              <a:gd name="connsiteX758" fmla="*/ 2555112 w 12192000"/>
              <a:gd name="connsiteY758" fmla="*/ 464266 h 5038666"/>
              <a:gd name="connsiteX759" fmla="*/ 2564491 w 12192000"/>
              <a:gd name="connsiteY759" fmla="*/ 482476 h 5038666"/>
              <a:gd name="connsiteX760" fmla="*/ 2572147 w 12192000"/>
              <a:gd name="connsiteY760" fmla="*/ 498523 h 5038666"/>
              <a:gd name="connsiteX761" fmla="*/ 2578080 w 12192000"/>
              <a:gd name="connsiteY761" fmla="*/ 512045 h 5038666"/>
              <a:gd name="connsiteX762" fmla="*/ 2582673 w 12192000"/>
              <a:gd name="connsiteY762" fmla="*/ 523223 h 5038666"/>
              <a:gd name="connsiteX763" fmla="*/ 2586310 w 12192000"/>
              <a:gd name="connsiteY763" fmla="*/ 531878 h 5038666"/>
              <a:gd name="connsiteX764" fmla="*/ 2588607 w 12192000"/>
              <a:gd name="connsiteY764" fmla="*/ 538188 h 5038666"/>
              <a:gd name="connsiteX765" fmla="*/ 2589946 w 12192000"/>
              <a:gd name="connsiteY765" fmla="*/ 541974 h 5038666"/>
              <a:gd name="connsiteX766" fmla="*/ 2590329 w 12192000"/>
              <a:gd name="connsiteY766" fmla="*/ 543236 h 5038666"/>
              <a:gd name="connsiteX767" fmla="*/ 2589946 w 12192000"/>
              <a:gd name="connsiteY767" fmla="*/ 541794 h 5038666"/>
              <a:gd name="connsiteX768" fmla="*/ 2588607 w 12192000"/>
              <a:gd name="connsiteY768" fmla="*/ 537647 h 5038666"/>
              <a:gd name="connsiteX769" fmla="*/ 2587650 w 12192000"/>
              <a:gd name="connsiteY769" fmla="*/ 534762 h 5038666"/>
              <a:gd name="connsiteX770" fmla="*/ 2586693 w 12192000"/>
              <a:gd name="connsiteY770" fmla="*/ 530976 h 5038666"/>
              <a:gd name="connsiteX771" fmla="*/ 2585927 w 12192000"/>
              <a:gd name="connsiteY771" fmla="*/ 526469 h 5038666"/>
              <a:gd name="connsiteX772" fmla="*/ 2584970 w 12192000"/>
              <a:gd name="connsiteY772" fmla="*/ 521420 h 5038666"/>
              <a:gd name="connsiteX773" fmla="*/ 2584013 w 12192000"/>
              <a:gd name="connsiteY773" fmla="*/ 515831 h 5038666"/>
              <a:gd name="connsiteX774" fmla="*/ 2583248 w 12192000"/>
              <a:gd name="connsiteY774" fmla="*/ 509521 h 5038666"/>
              <a:gd name="connsiteX775" fmla="*/ 2582482 w 12192000"/>
              <a:gd name="connsiteY775" fmla="*/ 502669 h 5038666"/>
              <a:gd name="connsiteX776" fmla="*/ 2582099 w 12192000"/>
              <a:gd name="connsiteY776" fmla="*/ 495097 h 5038666"/>
              <a:gd name="connsiteX777" fmla="*/ 2581908 w 12192000"/>
              <a:gd name="connsiteY777" fmla="*/ 486984 h 5038666"/>
              <a:gd name="connsiteX778" fmla="*/ 2581908 w 12192000"/>
              <a:gd name="connsiteY778" fmla="*/ 478149 h 5038666"/>
              <a:gd name="connsiteX779" fmla="*/ 2582291 w 12192000"/>
              <a:gd name="connsiteY779" fmla="*/ 468774 h 5038666"/>
              <a:gd name="connsiteX780" fmla="*/ 2583056 w 12192000"/>
              <a:gd name="connsiteY780" fmla="*/ 458677 h 5038666"/>
              <a:gd name="connsiteX781" fmla="*/ 2584013 w 12192000"/>
              <a:gd name="connsiteY781" fmla="*/ 448220 h 5038666"/>
              <a:gd name="connsiteX782" fmla="*/ 2585353 w 12192000"/>
              <a:gd name="connsiteY782" fmla="*/ 436861 h 5038666"/>
              <a:gd name="connsiteX783" fmla="*/ 2587458 w 12192000"/>
              <a:gd name="connsiteY783" fmla="*/ 425142 h 5038666"/>
              <a:gd name="connsiteX784" fmla="*/ 2590138 w 12192000"/>
              <a:gd name="connsiteY784" fmla="*/ 413062 h 5038666"/>
              <a:gd name="connsiteX785" fmla="*/ 2593009 w 12192000"/>
              <a:gd name="connsiteY785" fmla="*/ 400080 h 5038666"/>
              <a:gd name="connsiteX786" fmla="*/ 2596645 w 12192000"/>
              <a:gd name="connsiteY786" fmla="*/ 386738 h 5038666"/>
              <a:gd name="connsiteX787" fmla="*/ 2601047 w 12192000"/>
              <a:gd name="connsiteY787" fmla="*/ 372675 h 5038666"/>
              <a:gd name="connsiteX788" fmla="*/ 2605832 w 12192000"/>
              <a:gd name="connsiteY788" fmla="*/ 358071 h 5038666"/>
              <a:gd name="connsiteX789" fmla="*/ 2611574 w 12192000"/>
              <a:gd name="connsiteY789" fmla="*/ 342926 h 5038666"/>
              <a:gd name="connsiteX790" fmla="*/ 2618082 w 12192000"/>
              <a:gd name="connsiteY790" fmla="*/ 327420 h 5038666"/>
              <a:gd name="connsiteX791" fmla="*/ 2625355 w 12192000"/>
              <a:gd name="connsiteY791" fmla="*/ 311374 h 5038666"/>
              <a:gd name="connsiteX792" fmla="*/ 2633393 w 12192000"/>
              <a:gd name="connsiteY792" fmla="*/ 294606 h 5038666"/>
              <a:gd name="connsiteX793" fmla="*/ 2642580 w 12192000"/>
              <a:gd name="connsiteY793" fmla="*/ 277298 h 5038666"/>
              <a:gd name="connsiteX794" fmla="*/ 2652533 w 12192000"/>
              <a:gd name="connsiteY794" fmla="*/ 259809 h 5038666"/>
              <a:gd name="connsiteX795" fmla="*/ 2663443 w 12192000"/>
              <a:gd name="connsiteY795" fmla="*/ 241599 h 5038666"/>
              <a:gd name="connsiteX796" fmla="*/ 2675501 w 12192000"/>
              <a:gd name="connsiteY796" fmla="*/ 222668 h 5038666"/>
              <a:gd name="connsiteX797" fmla="*/ 2687941 w 12192000"/>
              <a:gd name="connsiteY797" fmla="*/ 204457 h 5038666"/>
              <a:gd name="connsiteX798" fmla="*/ 2700382 w 12192000"/>
              <a:gd name="connsiteY798" fmla="*/ 187149 h 5038666"/>
              <a:gd name="connsiteX799" fmla="*/ 2712823 w 12192000"/>
              <a:gd name="connsiteY799" fmla="*/ 170562 h 5038666"/>
              <a:gd name="connsiteX800" fmla="*/ 2725264 w 12192000"/>
              <a:gd name="connsiteY800" fmla="*/ 155417 h 5038666"/>
              <a:gd name="connsiteX801" fmla="*/ 2737321 w 12192000"/>
              <a:gd name="connsiteY801" fmla="*/ 140812 h 5038666"/>
              <a:gd name="connsiteX802" fmla="*/ 2749571 w 12192000"/>
              <a:gd name="connsiteY802" fmla="*/ 127290 h 5038666"/>
              <a:gd name="connsiteX803" fmla="*/ 2761629 w 12192000"/>
              <a:gd name="connsiteY803" fmla="*/ 114669 h 5038666"/>
              <a:gd name="connsiteX804" fmla="*/ 2773687 w 12192000"/>
              <a:gd name="connsiteY804" fmla="*/ 102770 h 5038666"/>
              <a:gd name="connsiteX805" fmla="*/ 2785362 w 12192000"/>
              <a:gd name="connsiteY805" fmla="*/ 91952 h 5038666"/>
              <a:gd name="connsiteX806" fmla="*/ 2797037 w 12192000"/>
              <a:gd name="connsiteY806" fmla="*/ 81675 h 5038666"/>
              <a:gd name="connsiteX807" fmla="*/ 2808138 w 12192000"/>
              <a:gd name="connsiteY807" fmla="*/ 72299 h 5038666"/>
              <a:gd name="connsiteX808" fmla="*/ 2819239 w 12192000"/>
              <a:gd name="connsiteY808" fmla="*/ 63645 h 5038666"/>
              <a:gd name="connsiteX809" fmla="*/ 2829766 w 12192000"/>
              <a:gd name="connsiteY809" fmla="*/ 55712 h 5038666"/>
              <a:gd name="connsiteX810" fmla="*/ 2840293 w 12192000"/>
              <a:gd name="connsiteY810" fmla="*/ 48320 h 5038666"/>
              <a:gd name="connsiteX811" fmla="*/ 2850437 w 12192000"/>
              <a:gd name="connsiteY811" fmla="*/ 41649 h 5038666"/>
              <a:gd name="connsiteX812" fmla="*/ 2860006 w 12192000"/>
              <a:gd name="connsiteY812" fmla="*/ 35519 h 5038666"/>
              <a:gd name="connsiteX813" fmla="*/ 2869385 w 12192000"/>
              <a:gd name="connsiteY813" fmla="*/ 30290 h 5038666"/>
              <a:gd name="connsiteX814" fmla="*/ 2878380 w 12192000"/>
              <a:gd name="connsiteY814" fmla="*/ 25242 h 5038666"/>
              <a:gd name="connsiteX815" fmla="*/ 2886993 w 12192000"/>
              <a:gd name="connsiteY815" fmla="*/ 21095 h 5038666"/>
              <a:gd name="connsiteX816" fmla="*/ 2895032 w 12192000"/>
              <a:gd name="connsiteY816" fmla="*/ 17128 h 5038666"/>
              <a:gd name="connsiteX817" fmla="*/ 2902305 w 12192000"/>
              <a:gd name="connsiteY817" fmla="*/ 13883 h 5038666"/>
              <a:gd name="connsiteX818" fmla="*/ 2909386 w 12192000"/>
              <a:gd name="connsiteY818" fmla="*/ 11179 h 5038666"/>
              <a:gd name="connsiteX819" fmla="*/ 2915894 w 12192000"/>
              <a:gd name="connsiteY819" fmla="*/ 8654 h 5038666"/>
              <a:gd name="connsiteX820" fmla="*/ 2921636 w 12192000"/>
              <a:gd name="connsiteY820" fmla="*/ 6491 h 5038666"/>
              <a:gd name="connsiteX821" fmla="*/ 2931588 w 12192000"/>
              <a:gd name="connsiteY821" fmla="*/ 3426 h 5038666"/>
              <a:gd name="connsiteX822" fmla="*/ 2938862 w 12192000"/>
              <a:gd name="connsiteY822" fmla="*/ 1262 h 5038666"/>
              <a:gd name="connsiteX823" fmla="*/ 2943646 w 12192000"/>
              <a:gd name="connsiteY823" fmla="*/ 180 h 50386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Lst>
            <a:rect l="l" t="t" r="r" b="b"/>
            <a:pathLst>
              <a:path w="12192000" h="5038666">
                <a:moveTo>
                  <a:pt x="2945178" y="0"/>
                </a:moveTo>
                <a:lnTo>
                  <a:pt x="2942307" y="2524"/>
                </a:lnTo>
                <a:lnTo>
                  <a:pt x="2934459" y="9556"/>
                </a:lnTo>
                <a:lnTo>
                  <a:pt x="2928718" y="15145"/>
                </a:lnTo>
                <a:lnTo>
                  <a:pt x="2922019" y="21816"/>
                </a:lnTo>
                <a:lnTo>
                  <a:pt x="2914554" y="29569"/>
                </a:lnTo>
                <a:lnTo>
                  <a:pt x="2906133" y="38223"/>
                </a:lnTo>
                <a:lnTo>
                  <a:pt x="2896754" y="48500"/>
                </a:lnTo>
                <a:lnTo>
                  <a:pt x="2886993" y="59679"/>
                </a:lnTo>
                <a:lnTo>
                  <a:pt x="2876466" y="71939"/>
                </a:lnTo>
                <a:lnTo>
                  <a:pt x="2865365" y="85641"/>
                </a:lnTo>
                <a:lnTo>
                  <a:pt x="2854073" y="100065"/>
                </a:lnTo>
                <a:lnTo>
                  <a:pt x="2842207" y="115931"/>
                </a:lnTo>
                <a:lnTo>
                  <a:pt x="2830340" y="132699"/>
                </a:lnTo>
                <a:lnTo>
                  <a:pt x="2818090" y="150548"/>
                </a:lnTo>
                <a:lnTo>
                  <a:pt x="2805841" y="169660"/>
                </a:lnTo>
                <a:lnTo>
                  <a:pt x="2793592" y="189673"/>
                </a:lnTo>
                <a:lnTo>
                  <a:pt x="2781343" y="210768"/>
                </a:lnTo>
                <a:lnTo>
                  <a:pt x="2769667" y="232944"/>
                </a:lnTo>
                <a:lnTo>
                  <a:pt x="2757801" y="256023"/>
                </a:lnTo>
                <a:lnTo>
                  <a:pt x="2746508" y="280363"/>
                </a:lnTo>
                <a:lnTo>
                  <a:pt x="2735599" y="305604"/>
                </a:lnTo>
                <a:lnTo>
                  <a:pt x="2725455" y="332108"/>
                </a:lnTo>
                <a:lnTo>
                  <a:pt x="2715694" y="359153"/>
                </a:lnTo>
                <a:lnTo>
                  <a:pt x="2706507" y="387459"/>
                </a:lnTo>
                <a:lnTo>
                  <a:pt x="2698277" y="416848"/>
                </a:lnTo>
                <a:lnTo>
                  <a:pt x="2690812" y="447138"/>
                </a:lnTo>
                <a:lnTo>
                  <a:pt x="2684305" y="478329"/>
                </a:lnTo>
                <a:lnTo>
                  <a:pt x="2678946" y="510603"/>
                </a:lnTo>
                <a:lnTo>
                  <a:pt x="2674735" y="543958"/>
                </a:lnTo>
                <a:lnTo>
                  <a:pt x="2671673" y="578034"/>
                </a:lnTo>
                <a:lnTo>
                  <a:pt x="2670141" y="612290"/>
                </a:lnTo>
                <a:lnTo>
                  <a:pt x="2669759" y="646547"/>
                </a:lnTo>
                <a:lnTo>
                  <a:pt x="2671098" y="680082"/>
                </a:lnTo>
                <a:lnTo>
                  <a:pt x="2673778" y="713257"/>
                </a:lnTo>
                <a:lnTo>
                  <a:pt x="2677606" y="745891"/>
                </a:lnTo>
                <a:lnTo>
                  <a:pt x="2682582" y="777984"/>
                </a:lnTo>
                <a:lnTo>
                  <a:pt x="2688515" y="809536"/>
                </a:lnTo>
                <a:lnTo>
                  <a:pt x="2695406" y="840367"/>
                </a:lnTo>
                <a:lnTo>
                  <a:pt x="2703253" y="870476"/>
                </a:lnTo>
                <a:lnTo>
                  <a:pt x="2711674" y="899865"/>
                </a:lnTo>
                <a:lnTo>
                  <a:pt x="2720670" y="928532"/>
                </a:lnTo>
                <a:lnTo>
                  <a:pt x="2730431" y="956118"/>
                </a:lnTo>
                <a:lnTo>
                  <a:pt x="2740575" y="982802"/>
                </a:lnTo>
                <a:lnTo>
                  <a:pt x="2751102" y="1008764"/>
                </a:lnTo>
                <a:lnTo>
                  <a:pt x="2761820" y="1033826"/>
                </a:lnTo>
                <a:lnTo>
                  <a:pt x="2772730" y="1057625"/>
                </a:lnTo>
                <a:lnTo>
                  <a:pt x="2783831" y="1080523"/>
                </a:lnTo>
                <a:lnTo>
                  <a:pt x="2794932" y="1101978"/>
                </a:lnTo>
                <a:lnTo>
                  <a:pt x="2805841" y="1122532"/>
                </a:lnTo>
                <a:lnTo>
                  <a:pt x="2816559" y="1141824"/>
                </a:lnTo>
                <a:lnTo>
                  <a:pt x="2826703" y="1159854"/>
                </a:lnTo>
                <a:lnTo>
                  <a:pt x="2836656" y="1176621"/>
                </a:lnTo>
                <a:lnTo>
                  <a:pt x="2846226" y="1191766"/>
                </a:lnTo>
                <a:lnTo>
                  <a:pt x="2855221" y="1205649"/>
                </a:lnTo>
                <a:lnTo>
                  <a:pt x="2863451" y="1218270"/>
                </a:lnTo>
                <a:lnTo>
                  <a:pt x="2870725" y="1229088"/>
                </a:lnTo>
                <a:lnTo>
                  <a:pt x="2877232" y="1238463"/>
                </a:lnTo>
                <a:lnTo>
                  <a:pt x="2882782" y="1246216"/>
                </a:lnTo>
                <a:lnTo>
                  <a:pt x="2890821" y="1256854"/>
                </a:lnTo>
                <a:lnTo>
                  <a:pt x="2893309" y="1260460"/>
                </a:lnTo>
                <a:lnTo>
                  <a:pt x="2894649" y="1255411"/>
                </a:lnTo>
                <a:lnTo>
                  <a:pt x="2898860" y="1241348"/>
                </a:lnTo>
                <a:lnTo>
                  <a:pt x="2905750" y="1219172"/>
                </a:lnTo>
                <a:lnTo>
                  <a:pt x="2915320" y="1189963"/>
                </a:lnTo>
                <a:lnTo>
                  <a:pt x="2921253" y="1172835"/>
                </a:lnTo>
                <a:lnTo>
                  <a:pt x="2927569" y="1154264"/>
                </a:lnTo>
                <a:lnTo>
                  <a:pt x="2934651" y="1134432"/>
                </a:lnTo>
                <a:lnTo>
                  <a:pt x="2942498" y="1113337"/>
                </a:lnTo>
                <a:lnTo>
                  <a:pt x="2950920" y="1091341"/>
                </a:lnTo>
                <a:lnTo>
                  <a:pt x="2960107" y="1068263"/>
                </a:lnTo>
                <a:lnTo>
                  <a:pt x="2969868" y="1044283"/>
                </a:lnTo>
                <a:lnTo>
                  <a:pt x="2980203" y="1019763"/>
                </a:lnTo>
                <a:lnTo>
                  <a:pt x="2991304" y="994701"/>
                </a:lnTo>
                <a:lnTo>
                  <a:pt x="3002979" y="969099"/>
                </a:lnTo>
                <a:lnTo>
                  <a:pt x="3015420" y="943136"/>
                </a:lnTo>
                <a:lnTo>
                  <a:pt x="3028435" y="916993"/>
                </a:lnTo>
                <a:lnTo>
                  <a:pt x="3042024" y="890489"/>
                </a:lnTo>
                <a:lnTo>
                  <a:pt x="3056187" y="864346"/>
                </a:lnTo>
                <a:lnTo>
                  <a:pt x="3071116" y="838203"/>
                </a:lnTo>
                <a:lnTo>
                  <a:pt x="3086811" y="812420"/>
                </a:lnTo>
                <a:lnTo>
                  <a:pt x="3102888" y="786999"/>
                </a:lnTo>
                <a:lnTo>
                  <a:pt x="3119539" y="761937"/>
                </a:lnTo>
                <a:lnTo>
                  <a:pt x="3137148" y="737777"/>
                </a:lnTo>
                <a:lnTo>
                  <a:pt x="3155139" y="714339"/>
                </a:lnTo>
                <a:lnTo>
                  <a:pt x="3173896" y="691621"/>
                </a:lnTo>
                <a:lnTo>
                  <a:pt x="3193227" y="669985"/>
                </a:lnTo>
                <a:lnTo>
                  <a:pt x="3212941" y="649432"/>
                </a:lnTo>
                <a:lnTo>
                  <a:pt x="3233420" y="630140"/>
                </a:lnTo>
                <a:lnTo>
                  <a:pt x="3253325" y="611569"/>
                </a:lnTo>
                <a:lnTo>
                  <a:pt x="3272082" y="592638"/>
                </a:lnTo>
                <a:lnTo>
                  <a:pt x="3289116" y="573526"/>
                </a:lnTo>
                <a:lnTo>
                  <a:pt x="3305002" y="554775"/>
                </a:lnTo>
                <a:lnTo>
                  <a:pt x="3319357" y="535664"/>
                </a:lnTo>
                <a:lnTo>
                  <a:pt x="3332563" y="516733"/>
                </a:lnTo>
                <a:lnTo>
                  <a:pt x="3344430" y="497801"/>
                </a:lnTo>
                <a:lnTo>
                  <a:pt x="3355339" y="479050"/>
                </a:lnTo>
                <a:lnTo>
                  <a:pt x="3364909" y="460480"/>
                </a:lnTo>
                <a:lnTo>
                  <a:pt x="3373522" y="442089"/>
                </a:lnTo>
                <a:lnTo>
                  <a:pt x="3381369" y="424060"/>
                </a:lnTo>
                <a:lnTo>
                  <a:pt x="3388260" y="406391"/>
                </a:lnTo>
                <a:lnTo>
                  <a:pt x="3394001" y="388902"/>
                </a:lnTo>
                <a:lnTo>
                  <a:pt x="3399169" y="372134"/>
                </a:lnTo>
                <a:lnTo>
                  <a:pt x="3403571" y="355727"/>
                </a:lnTo>
                <a:lnTo>
                  <a:pt x="3407208" y="340041"/>
                </a:lnTo>
                <a:lnTo>
                  <a:pt x="3410079" y="324716"/>
                </a:lnTo>
                <a:lnTo>
                  <a:pt x="3412567" y="310112"/>
                </a:lnTo>
                <a:lnTo>
                  <a:pt x="3414289" y="296049"/>
                </a:lnTo>
                <a:lnTo>
                  <a:pt x="3415821" y="282887"/>
                </a:lnTo>
                <a:lnTo>
                  <a:pt x="3416778" y="270266"/>
                </a:lnTo>
                <a:lnTo>
                  <a:pt x="3417160" y="258547"/>
                </a:lnTo>
                <a:lnTo>
                  <a:pt x="3417352" y="247909"/>
                </a:lnTo>
                <a:lnTo>
                  <a:pt x="3417352" y="237993"/>
                </a:lnTo>
                <a:lnTo>
                  <a:pt x="3417160" y="229158"/>
                </a:lnTo>
                <a:lnTo>
                  <a:pt x="3416969" y="221225"/>
                </a:lnTo>
                <a:lnTo>
                  <a:pt x="3416203" y="214554"/>
                </a:lnTo>
                <a:lnTo>
                  <a:pt x="3415821" y="208965"/>
                </a:lnTo>
                <a:lnTo>
                  <a:pt x="3414864" y="201212"/>
                </a:lnTo>
                <a:lnTo>
                  <a:pt x="3414481" y="198508"/>
                </a:lnTo>
                <a:lnTo>
                  <a:pt x="3414864" y="199229"/>
                </a:lnTo>
                <a:lnTo>
                  <a:pt x="3416586" y="201933"/>
                </a:lnTo>
                <a:lnTo>
                  <a:pt x="3418500" y="206621"/>
                </a:lnTo>
                <a:lnTo>
                  <a:pt x="3420988" y="213112"/>
                </a:lnTo>
                <a:lnTo>
                  <a:pt x="3423859" y="221405"/>
                </a:lnTo>
                <a:lnTo>
                  <a:pt x="3426730" y="231682"/>
                </a:lnTo>
                <a:lnTo>
                  <a:pt x="3428261" y="237632"/>
                </a:lnTo>
                <a:lnTo>
                  <a:pt x="3429793" y="243943"/>
                </a:lnTo>
                <a:lnTo>
                  <a:pt x="3431132" y="250794"/>
                </a:lnTo>
                <a:lnTo>
                  <a:pt x="3432472" y="258186"/>
                </a:lnTo>
                <a:lnTo>
                  <a:pt x="3433812" y="265939"/>
                </a:lnTo>
                <a:lnTo>
                  <a:pt x="3434960" y="274233"/>
                </a:lnTo>
                <a:lnTo>
                  <a:pt x="3435917" y="283067"/>
                </a:lnTo>
                <a:lnTo>
                  <a:pt x="3436683" y="292443"/>
                </a:lnTo>
                <a:lnTo>
                  <a:pt x="3437448" y="302359"/>
                </a:lnTo>
                <a:lnTo>
                  <a:pt x="3437831" y="312816"/>
                </a:lnTo>
                <a:lnTo>
                  <a:pt x="3438022" y="323634"/>
                </a:lnTo>
                <a:lnTo>
                  <a:pt x="3437831" y="335173"/>
                </a:lnTo>
                <a:lnTo>
                  <a:pt x="3437640" y="347073"/>
                </a:lnTo>
                <a:lnTo>
                  <a:pt x="3436874" y="359513"/>
                </a:lnTo>
                <a:lnTo>
                  <a:pt x="3436109" y="372495"/>
                </a:lnTo>
                <a:lnTo>
                  <a:pt x="3434769" y="386017"/>
                </a:lnTo>
                <a:lnTo>
                  <a:pt x="3432855" y="400080"/>
                </a:lnTo>
                <a:lnTo>
                  <a:pt x="3430941" y="414684"/>
                </a:lnTo>
                <a:lnTo>
                  <a:pt x="3428453" y="430010"/>
                </a:lnTo>
                <a:lnTo>
                  <a:pt x="3425582" y="445695"/>
                </a:lnTo>
                <a:lnTo>
                  <a:pt x="3422137" y="461742"/>
                </a:lnTo>
                <a:lnTo>
                  <a:pt x="3417543" y="478149"/>
                </a:lnTo>
                <a:lnTo>
                  <a:pt x="3412184" y="494917"/>
                </a:lnTo>
                <a:lnTo>
                  <a:pt x="3406442" y="511684"/>
                </a:lnTo>
                <a:lnTo>
                  <a:pt x="3399743" y="528452"/>
                </a:lnTo>
                <a:lnTo>
                  <a:pt x="3392470" y="545400"/>
                </a:lnTo>
                <a:lnTo>
                  <a:pt x="3384623" y="562348"/>
                </a:lnTo>
                <a:lnTo>
                  <a:pt x="3376202" y="579116"/>
                </a:lnTo>
                <a:lnTo>
                  <a:pt x="3367589" y="595883"/>
                </a:lnTo>
                <a:lnTo>
                  <a:pt x="3358402" y="612471"/>
                </a:lnTo>
                <a:lnTo>
                  <a:pt x="3349215" y="628878"/>
                </a:lnTo>
                <a:lnTo>
                  <a:pt x="3339645" y="645285"/>
                </a:lnTo>
                <a:lnTo>
                  <a:pt x="3330075" y="661151"/>
                </a:lnTo>
                <a:lnTo>
                  <a:pt x="3320123" y="676656"/>
                </a:lnTo>
                <a:lnTo>
                  <a:pt x="3310361" y="691621"/>
                </a:lnTo>
                <a:lnTo>
                  <a:pt x="3300409" y="706406"/>
                </a:lnTo>
                <a:lnTo>
                  <a:pt x="3290648" y="720649"/>
                </a:lnTo>
                <a:lnTo>
                  <a:pt x="3281078" y="734171"/>
                </a:lnTo>
                <a:lnTo>
                  <a:pt x="3271891" y="747153"/>
                </a:lnTo>
                <a:lnTo>
                  <a:pt x="3262704" y="759774"/>
                </a:lnTo>
                <a:lnTo>
                  <a:pt x="3245861" y="782311"/>
                </a:lnTo>
                <a:lnTo>
                  <a:pt x="3230741" y="801603"/>
                </a:lnTo>
                <a:lnTo>
                  <a:pt x="3218108" y="817469"/>
                </a:lnTo>
                <a:lnTo>
                  <a:pt x="3208539" y="829188"/>
                </a:lnTo>
                <a:lnTo>
                  <a:pt x="3202223" y="836580"/>
                </a:lnTo>
                <a:lnTo>
                  <a:pt x="3200309" y="839104"/>
                </a:lnTo>
                <a:lnTo>
                  <a:pt x="3203562" y="836580"/>
                </a:lnTo>
                <a:lnTo>
                  <a:pt x="3213324" y="829008"/>
                </a:lnTo>
                <a:lnTo>
                  <a:pt x="3229401" y="817288"/>
                </a:lnTo>
                <a:lnTo>
                  <a:pt x="3250646" y="801783"/>
                </a:lnTo>
                <a:lnTo>
                  <a:pt x="3263469" y="792768"/>
                </a:lnTo>
                <a:lnTo>
                  <a:pt x="3277250" y="783212"/>
                </a:lnTo>
                <a:lnTo>
                  <a:pt x="3292370" y="772755"/>
                </a:lnTo>
                <a:lnTo>
                  <a:pt x="3308256" y="761577"/>
                </a:lnTo>
                <a:lnTo>
                  <a:pt x="3325673" y="750038"/>
                </a:lnTo>
                <a:lnTo>
                  <a:pt x="3343664" y="738138"/>
                </a:lnTo>
                <a:lnTo>
                  <a:pt x="3362804" y="725517"/>
                </a:lnTo>
                <a:lnTo>
                  <a:pt x="3382709" y="712896"/>
                </a:lnTo>
                <a:lnTo>
                  <a:pt x="3403380" y="699915"/>
                </a:lnTo>
                <a:lnTo>
                  <a:pt x="3425008" y="686573"/>
                </a:lnTo>
                <a:lnTo>
                  <a:pt x="3447210" y="673231"/>
                </a:lnTo>
                <a:lnTo>
                  <a:pt x="3469986" y="659889"/>
                </a:lnTo>
                <a:lnTo>
                  <a:pt x="3493336" y="646547"/>
                </a:lnTo>
                <a:lnTo>
                  <a:pt x="3517452" y="633205"/>
                </a:lnTo>
                <a:lnTo>
                  <a:pt x="3541759" y="620043"/>
                </a:lnTo>
                <a:lnTo>
                  <a:pt x="3566641" y="607062"/>
                </a:lnTo>
                <a:lnTo>
                  <a:pt x="3591905" y="594261"/>
                </a:lnTo>
                <a:lnTo>
                  <a:pt x="3617169" y="582000"/>
                </a:lnTo>
                <a:lnTo>
                  <a:pt x="3643008" y="570101"/>
                </a:lnTo>
                <a:lnTo>
                  <a:pt x="3668846" y="558562"/>
                </a:lnTo>
                <a:lnTo>
                  <a:pt x="3694876" y="547744"/>
                </a:lnTo>
                <a:lnTo>
                  <a:pt x="3720906" y="537467"/>
                </a:lnTo>
                <a:lnTo>
                  <a:pt x="3746936" y="527731"/>
                </a:lnTo>
                <a:lnTo>
                  <a:pt x="3773157" y="518716"/>
                </a:lnTo>
                <a:lnTo>
                  <a:pt x="3798613" y="509340"/>
                </a:lnTo>
                <a:lnTo>
                  <a:pt x="3823877" y="498162"/>
                </a:lnTo>
                <a:lnTo>
                  <a:pt x="3848567" y="485541"/>
                </a:lnTo>
                <a:lnTo>
                  <a:pt x="3872300" y="471478"/>
                </a:lnTo>
                <a:lnTo>
                  <a:pt x="3895651" y="455972"/>
                </a:lnTo>
                <a:lnTo>
                  <a:pt x="3918235" y="439205"/>
                </a:lnTo>
                <a:lnTo>
                  <a:pt x="3940246" y="421355"/>
                </a:lnTo>
                <a:lnTo>
                  <a:pt x="3961682" y="402785"/>
                </a:lnTo>
                <a:lnTo>
                  <a:pt x="3982161" y="383313"/>
                </a:lnTo>
                <a:lnTo>
                  <a:pt x="4002258" y="363299"/>
                </a:lnTo>
                <a:lnTo>
                  <a:pt x="4021398" y="342565"/>
                </a:lnTo>
                <a:lnTo>
                  <a:pt x="4039772" y="321470"/>
                </a:lnTo>
                <a:lnTo>
                  <a:pt x="4057571" y="300195"/>
                </a:lnTo>
                <a:lnTo>
                  <a:pt x="4074415" y="278560"/>
                </a:lnTo>
                <a:lnTo>
                  <a:pt x="4090683" y="257285"/>
                </a:lnTo>
                <a:lnTo>
                  <a:pt x="4106186" y="236010"/>
                </a:lnTo>
                <a:lnTo>
                  <a:pt x="4120732" y="214734"/>
                </a:lnTo>
                <a:lnTo>
                  <a:pt x="4134513" y="194000"/>
                </a:lnTo>
                <a:lnTo>
                  <a:pt x="4147336" y="173987"/>
                </a:lnTo>
                <a:lnTo>
                  <a:pt x="4159394" y="154515"/>
                </a:lnTo>
                <a:lnTo>
                  <a:pt x="4170687" y="135944"/>
                </a:lnTo>
                <a:lnTo>
                  <a:pt x="4180831" y="118095"/>
                </a:lnTo>
                <a:lnTo>
                  <a:pt x="4190209" y="101508"/>
                </a:lnTo>
                <a:lnTo>
                  <a:pt x="4198630" y="86002"/>
                </a:lnTo>
                <a:lnTo>
                  <a:pt x="4206286" y="71759"/>
                </a:lnTo>
                <a:lnTo>
                  <a:pt x="4212985" y="58957"/>
                </a:lnTo>
                <a:lnTo>
                  <a:pt x="4218536" y="47959"/>
                </a:lnTo>
                <a:lnTo>
                  <a:pt x="4223129" y="38584"/>
                </a:lnTo>
                <a:lnTo>
                  <a:pt x="4229445" y="25602"/>
                </a:lnTo>
                <a:lnTo>
                  <a:pt x="4231359" y="20915"/>
                </a:lnTo>
                <a:lnTo>
                  <a:pt x="4231168" y="22898"/>
                </a:lnTo>
                <a:lnTo>
                  <a:pt x="4230019" y="28487"/>
                </a:lnTo>
                <a:lnTo>
                  <a:pt x="4227723" y="37863"/>
                </a:lnTo>
                <a:lnTo>
                  <a:pt x="4224660" y="50664"/>
                </a:lnTo>
                <a:lnTo>
                  <a:pt x="4222746" y="58236"/>
                </a:lnTo>
                <a:lnTo>
                  <a:pt x="4220450" y="66530"/>
                </a:lnTo>
                <a:lnTo>
                  <a:pt x="4217579" y="75725"/>
                </a:lnTo>
                <a:lnTo>
                  <a:pt x="4214708" y="85822"/>
                </a:lnTo>
                <a:lnTo>
                  <a:pt x="4211072" y="96639"/>
                </a:lnTo>
                <a:lnTo>
                  <a:pt x="4207053" y="107998"/>
                </a:lnTo>
                <a:lnTo>
                  <a:pt x="4202841" y="120439"/>
                </a:lnTo>
                <a:lnTo>
                  <a:pt x="4198057" y="133060"/>
                </a:lnTo>
                <a:lnTo>
                  <a:pt x="4192889" y="146762"/>
                </a:lnTo>
                <a:lnTo>
                  <a:pt x="4187147" y="161006"/>
                </a:lnTo>
                <a:lnTo>
                  <a:pt x="4180639" y="175790"/>
                </a:lnTo>
                <a:lnTo>
                  <a:pt x="4173940" y="191296"/>
                </a:lnTo>
                <a:lnTo>
                  <a:pt x="4166667" y="207342"/>
                </a:lnTo>
                <a:lnTo>
                  <a:pt x="4158629" y="223930"/>
                </a:lnTo>
                <a:lnTo>
                  <a:pt x="4150016" y="241238"/>
                </a:lnTo>
                <a:lnTo>
                  <a:pt x="4140829" y="258727"/>
                </a:lnTo>
                <a:lnTo>
                  <a:pt x="4131068" y="277117"/>
                </a:lnTo>
                <a:lnTo>
                  <a:pt x="4120732" y="295868"/>
                </a:lnTo>
                <a:lnTo>
                  <a:pt x="4109631" y="314980"/>
                </a:lnTo>
                <a:lnTo>
                  <a:pt x="4097574" y="334813"/>
                </a:lnTo>
                <a:lnTo>
                  <a:pt x="4085133" y="354826"/>
                </a:lnTo>
                <a:lnTo>
                  <a:pt x="4071735" y="375560"/>
                </a:lnTo>
                <a:lnTo>
                  <a:pt x="4057763" y="396474"/>
                </a:lnTo>
                <a:lnTo>
                  <a:pt x="4042834" y="417930"/>
                </a:lnTo>
                <a:lnTo>
                  <a:pt x="4026948" y="439024"/>
                </a:lnTo>
                <a:lnTo>
                  <a:pt x="4009531" y="459759"/>
                </a:lnTo>
                <a:lnTo>
                  <a:pt x="3990774" y="479591"/>
                </a:lnTo>
                <a:lnTo>
                  <a:pt x="3970678" y="499063"/>
                </a:lnTo>
                <a:lnTo>
                  <a:pt x="3949624" y="518175"/>
                </a:lnTo>
                <a:lnTo>
                  <a:pt x="3927422" y="536565"/>
                </a:lnTo>
                <a:lnTo>
                  <a:pt x="3904072" y="554775"/>
                </a:lnTo>
                <a:lnTo>
                  <a:pt x="3879765" y="572445"/>
                </a:lnTo>
                <a:lnTo>
                  <a:pt x="3854883" y="589573"/>
                </a:lnTo>
                <a:lnTo>
                  <a:pt x="3828853" y="606521"/>
                </a:lnTo>
                <a:lnTo>
                  <a:pt x="3802441" y="623288"/>
                </a:lnTo>
                <a:lnTo>
                  <a:pt x="3775454" y="639515"/>
                </a:lnTo>
                <a:lnTo>
                  <a:pt x="3747510" y="655922"/>
                </a:lnTo>
                <a:lnTo>
                  <a:pt x="3719566" y="671788"/>
                </a:lnTo>
                <a:lnTo>
                  <a:pt x="3690857" y="687655"/>
                </a:lnTo>
                <a:lnTo>
                  <a:pt x="3662339" y="703341"/>
                </a:lnTo>
                <a:lnTo>
                  <a:pt x="3603963" y="734532"/>
                </a:lnTo>
                <a:lnTo>
                  <a:pt x="3545587" y="765723"/>
                </a:lnTo>
                <a:lnTo>
                  <a:pt x="3516495" y="781409"/>
                </a:lnTo>
                <a:lnTo>
                  <a:pt x="3487594" y="797275"/>
                </a:lnTo>
                <a:lnTo>
                  <a:pt x="3458885" y="813142"/>
                </a:lnTo>
                <a:lnTo>
                  <a:pt x="3430558" y="829008"/>
                </a:lnTo>
                <a:lnTo>
                  <a:pt x="3402806" y="845415"/>
                </a:lnTo>
                <a:lnTo>
                  <a:pt x="3375436" y="861822"/>
                </a:lnTo>
                <a:lnTo>
                  <a:pt x="3348449" y="878590"/>
                </a:lnTo>
                <a:lnTo>
                  <a:pt x="3322419" y="895718"/>
                </a:lnTo>
                <a:lnTo>
                  <a:pt x="3296964" y="913207"/>
                </a:lnTo>
                <a:lnTo>
                  <a:pt x="3272465" y="931056"/>
                </a:lnTo>
                <a:lnTo>
                  <a:pt x="3248732" y="949266"/>
                </a:lnTo>
                <a:lnTo>
                  <a:pt x="3226147" y="968017"/>
                </a:lnTo>
                <a:lnTo>
                  <a:pt x="3204711" y="987489"/>
                </a:lnTo>
                <a:lnTo>
                  <a:pt x="3184997" y="1008404"/>
                </a:lnTo>
                <a:lnTo>
                  <a:pt x="3167006" y="1030580"/>
                </a:lnTo>
                <a:lnTo>
                  <a:pt x="3150354" y="1053658"/>
                </a:lnTo>
                <a:lnTo>
                  <a:pt x="3135043" y="1077458"/>
                </a:lnTo>
                <a:lnTo>
                  <a:pt x="3121262" y="1102339"/>
                </a:lnTo>
                <a:lnTo>
                  <a:pt x="3108821" y="1127761"/>
                </a:lnTo>
                <a:lnTo>
                  <a:pt x="3097338" y="1153724"/>
                </a:lnTo>
                <a:lnTo>
                  <a:pt x="3087385" y="1180047"/>
                </a:lnTo>
                <a:lnTo>
                  <a:pt x="3078198" y="1206911"/>
                </a:lnTo>
                <a:lnTo>
                  <a:pt x="3070542" y="1233776"/>
                </a:lnTo>
                <a:lnTo>
                  <a:pt x="3063652" y="1260460"/>
                </a:lnTo>
                <a:lnTo>
                  <a:pt x="3057527" y="1287324"/>
                </a:lnTo>
                <a:lnTo>
                  <a:pt x="3052742" y="1313828"/>
                </a:lnTo>
                <a:lnTo>
                  <a:pt x="3048532" y="1339971"/>
                </a:lnTo>
                <a:lnTo>
                  <a:pt x="3044895" y="1365753"/>
                </a:lnTo>
                <a:lnTo>
                  <a:pt x="3042024" y="1390995"/>
                </a:lnTo>
                <a:lnTo>
                  <a:pt x="3040110" y="1415335"/>
                </a:lnTo>
                <a:lnTo>
                  <a:pt x="3038579" y="1438774"/>
                </a:lnTo>
                <a:lnTo>
                  <a:pt x="3037431" y="1461491"/>
                </a:lnTo>
                <a:lnTo>
                  <a:pt x="3036665" y="1482947"/>
                </a:lnTo>
                <a:lnTo>
                  <a:pt x="3036474" y="1503320"/>
                </a:lnTo>
                <a:lnTo>
                  <a:pt x="3036474" y="1522432"/>
                </a:lnTo>
                <a:lnTo>
                  <a:pt x="3036856" y="1539921"/>
                </a:lnTo>
                <a:lnTo>
                  <a:pt x="3037431" y="1555787"/>
                </a:lnTo>
                <a:lnTo>
                  <a:pt x="3038005" y="1569850"/>
                </a:lnTo>
                <a:lnTo>
                  <a:pt x="3038770" y="1582291"/>
                </a:lnTo>
                <a:lnTo>
                  <a:pt x="3039344" y="1592748"/>
                </a:lnTo>
                <a:lnTo>
                  <a:pt x="3040684" y="1607172"/>
                </a:lnTo>
                <a:lnTo>
                  <a:pt x="3041258" y="1612220"/>
                </a:lnTo>
                <a:lnTo>
                  <a:pt x="3041833" y="1610237"/>
                </a:lnTo>
                <a:lnTo>
                  <a:pt x="3044321" y="1605008"/>
                </a:lnTo>
                <a:lnTo>
                  <a:pt x="3048340" y="1596354"/>
                </a:lnTo>
                <a:lnTo>
                  <a:pt x="3054273" y="1584274"/>
                </a:lnTo>
                <a:lnTo>
                  <a:pt x="3058101" y="1577062"/>
                </a:lnTo>
                <a:lnTo>
                  <a:pt x="3062503" y="1569129"/>
                </a:lnTo>
                <a:lnTo>
                  <a:pt x="3067671" y="1560294"/>
                </a:lnTo>
                <a:lnTo>
                  <a:pt x="3073413" y="1550558"/>
                </a:lnTo>
                <a:lnTo>
                  <a:pt x="3079920" y="1540101"/>
                </a:lnTo>
                <a:lnTo>
                  <a:pt x="3087002" y="1529103"/>
                </a:lnTo>
                <a:lnTo>
                  <a:pt x="3095041" y="1517203"/>
                </a:lnTo>
                <a:lnTo>
                  <a:pt x="3103654" y="1504582"/>
                </a:lnTo>
                <a:lnTo>
                  <a:pt x="3113223" y="1491240"/>
                </a:lnTo>
                <a:lnTo>
                  <a:pt x="3123367" y="1477177"/>
                </a:lnTo>
                <a:lnTo>
                  <a:pt x="3134660" y="1462573"/>
                </a:lnTo>
                <a:lnTo>
                  <a:pt x="3146718" y="1447068"/>
                </a:lnTo>
                <a:lnTo>
                  <a:pt x="3159924" y="1430841"/>
                </a:lnTo>
                <a:lnTo>
                  <a:pt x="3173896" y="1414073"/>
                </a:lnTo>
                <a:lnTo>
                  <a:pt x="3189016" y="1396584"/>
                </a:lnTo>
                <a:lnTo>
                  <a:pt x="3204902" y="1378554"/>
                </a:lnTo>
                <a:lnTo>
                  <a:pt x="3222128" y="1359804"/>
                </a:lnTo>
                <a:lnTo>
                  <a:pt x="3240310" y="1340512"/>
                </a:lnTo>
                <a:lnTo>
                  <a:pt x="3259641" y="1320499"/>
                </a:lnTo>
                <a:lnTo>
                  <a:pt x="3280121" y="1299764"/>
                </a:lnTo>
                <a:lnTo>
                  <a:pt x="3301557" y="1278670"/>
                </a:lnTo>
                <a:lnTo>
                  <a:pt x="3324525" y="1256854"/>
                </a:lnTo>
                <a:lnTo>
                  <a:pt x="3348449" y="1234497"/>
                </a:lnTo>
                <a:lnTo>
                  <a:pt x="3373905" y="1211779"/>
                </a:lnTo>
                <a:lnTo>
                  <a:pt x="3400318" y="1189603"/>
                </a:lnTo>
                <a:lnTo>
                  <a:pt x="3426922" y="1169590"/>
                </a:lnTo>
                <a:lnTo>
                  <a:pt x="3454291" y="1151380"/>
                </a:lnTo>
                <a:lnTo>
                  <a:pt x="3482044" y="1135333"/>
                </a:lnTo>
                <a:lnTo>
                  <a:pt x="3509987" y="1121090"/>
                </a:lnTo>
                <a:lnTo>
                  <a:pt x="3538314" y="1108289"/>
                </a:lnTo>
                <a:lnTo>
                  <a:pt x="3566449" y="1097471"/>
                </a:lnTo>
                <a:lnTo>
                  <a:pt x="3594776" y="1087735"/>
                </a:lnTo>
                <a:lnTo>
                  <a:pt x="3622911" y="1079802"/>
                </a:lnTo>
                <a:lnTo>
                  <a:pt x="3650855" y="1073131"/>
                </a:lnTo>
                <a:lnTo>
                  <a:pt x="3678799" y="1067722"/>
                </a:lnTo>
                <a:lnTo>
                  <a:pt x="3706169" y="1063575"/>
                </a:lnTo>
                <a:lnTo>
                  <a:pt x="3733155" y="1060149"/>
                </a:lnTo>
                <a:lnTo>
                  <a:pt x="3759568" y="1057986"/>
                </a:lnTo>
                <a:lnTo>
                  <a:pt x="3785406" y="1056724"/>
                </a:lnTo>
                <a:lnTo>
                  <a:pt x="3810479" y="1056363"/>
                </a:lnTo>
                <a:lnTo>
                  <a:pt x="3834787" y="1056543"/>
                </a:lnTo>
                <a:lnTo>
                  <a:pt x="3857946" y="1057445"/>
                </a:lnTo>
                <a:lnTo>
                  <a:pt x="3880530" y="1058887"/>
                </a:lnTo>
                <a:lnTo>
                  <a:pt x="3901775" y="1060690"/>
                </a:lnTo>
                <a:lnTo>
                  <a:pt x="3921872" y="1063034"/>
                </a:lnTo>
                <a:lnTo>
                  <a:pt x="3940629" y="1065558"/>
                </a:lnTo>
                <a:lnTo>
                  <a:pt x="3958237" y="1068263"/>
                </a:lnTo>
                <a:lnTo>
                  <a:pt x="3974314" y="1071147"/>
                </a:lnTo>
                <a:lnTo>
                  <a:pt x="3988669" y="1074032"/>
                </a:lnTo>
                <a:lnTo>
                  <a:pt x="4001684" y="1076737"/>
                </a:lnTo>
                <a:lnTo>
                  <a:pt x="4012785" y="1079261"/>
                </a:lnTo>
                <a:lnTo>
                  <a:pt x="4021972" y="1081424"/>
                </a:lnTo>
                <a:lnTo>
                  <a:pt x="4034604" y="1085030"/>
                </a:lnTo>
                <a:lnTo>
                  <a:pt x="4039198" y="1086292"/>
                </a:lnTo>
                <a:lnTo>
                  <a:pt x="4035370" y="1085932"/>
                </a:lnTo>
                <a:lnTo>
                  <a:pt x="4024077" y="1085211"/>
                </a:lnTo>
                <a:lnTo>
                  <a:pt x="4015847" y="1085030"/>
                </a:lnTo>
                <a:lnTo>
                  <a:pt x="4006086" y="1084850"/>
                </a:lnTo>
                <a:lnTo>
                  <a:pt x="3994794" y="1085030"/>
                </a:lnTo>
                <a:lnTo>
                  <a:pt x="3981587" y="1085211"/>
                </a:lnTo>
                <a:lnTo>
                  <a:pt x="3967424" y="1086112"/>
                </a:lnTo>
                <a:lnTo>
                  <a:pt x="3951347" y="1087194"/>
                </a:lnTo>
                <a:lnTo>
                  <a:pt x="3934312" y="1088816"/>
                </a:lnTo>
                <a:lnTo>
                  <a:pt x="3916130" y="1090980"/>
                </a:lnTo>
                <a:lnTo>
                  <a:pt x="3896416" y="1093865"/>
                </a:lnTo>
                <a:lnTo>
                  <a:pt x="3875745" y="1097110"/>
                </a:lnTo>
                <a:lnTo>
                  <a:pt x="3854118" y="1101618"/>
                </a:lnTo>
                <a:lnTo>
                  <a:pt x="3831341" y="1106846"/>
                </a:lnTo>
                <a:lnTo>
                  <a:pt x="3807608" y="1112976"/>
                </a:lnTo>
                <a:lnTo>
                  <a:pt x="3783110" y="1120008"/>
                </a:lnTo>
                <a:lnTo>
                  <a:pt x="3757845" y="1128121"/>
                </a:lnTo>
                <a:lnTo>
                  <a:pt x="3731624" y="1137677"/>
                </a:lnTo>
                <a:lnTo>
                  <a:pt x="3705020" y="1148134"/>
                </a:lnTo>
                <a:lnTo>
                  <a:pt x="3677651" y="1159854"/>
                </a:lnTo>
                <a:lnTo>
                  <a:pt x="3649515" y="1173015"/>
                </a:lnTo>
                <a:lnTo>
                  <a:pt x="3621380" y="1187619"/>
                </a:lnTo>
                <a:lnTo>
                  <a:pt x="3592479" y="1203666"/>
                </a:lnTo>
                <a:lnTo>
                  <a:pt x="3563387" y="1221515"/>
                </a:lnTo>
                <a:lnTo>
                  <a:pt x="3534103" y="1240807"/>
                </a:lnTo>
                <a:lnTo>
                  <a:pt x="3504246" y="1261902"/>
                </a:lnTo>
                <a:lnTo>
                  <a:pt x="3474579" y="1284800"/>
                </a:lnTo>
                <a:lnTo>
                  <a:pt x="3444721" y="1309501"/>
                </a:lnTo>
                <a:lnTo>
                  <a:pt x="3414864" y="1336185"/>
                </a:lnTo>
                <a:lnTo>
                  <a:pt x="3385006" y="1365032"/>
                </a:lnTo>
                <a:lnTo>
                  <a:pt x="3356296" y="1394240"/>
                </a:lnTo>
                <a:lnTo>
                  <a:pt x="3329118" y="1422908"/>
                </a:lnTo>
                <a:lnTo>
                  <a:pt x="3304237" y="1451034"/>
                </a:lnTo>
                <a:lnTo>
                  <a:pt x="3280886" y="1478259"/>
                </a:lnTo>
                <a:lnTo>
                  <a:pt x="3259450" y="1505123"/>
                </a:lnTo>
                <a:lnTo>
                  <a:pt x="3239545" y="1531447"/>
                </a:lnTo>
                <a:lnTo>
                  <a:pt x="3221362" y="1557410"/>
                </a:lnTo>
                <a:lnTo>
                  <a:pt x="3204711" y="1582651"/>
                </a:lnTo>
                <a:lnTo>
                  <a:pt x="3189590" y="1607532"/>
                </a:lnTo>
                <a:lnTo>
                  <a:pt x="3176001" y="1632233"/>
                </a:lnTo>
                <a:lnTo>
                  <a:pt x="3163752" y="1656573"/>
                </a:lnTo>
                <a:lnTo>
                  <a:pt x="3153034" y="1680733"/>
                </a:lnTo>
                <a:lnTo>
                  <a:pt x="3143464" y="1704352"/>
                </a:lnTo>
                <a:lnTo>
                  <a:pt x="3135043" y="1727971"/>
                </a:lnTo>
                <a:lnTo>
                  <a:pt x="3127769" y="1751590"/>
                </a:lnTo>
                <a:lnTo>
                  <a:pt x="3121645" y="1774848"/>
                </a:lnTo>
                <a:lnTo>
                  <a:pt x="3116669" y="1798287"/>
                </a:lnTo>
                <a:lnTo>
                  <a:pt x="3112649" y="1821545"/>
                </a:lnTo>
                <a:lnTo>
                  <a:pt x="3109587" y="1844804"/>
                </a:lnTo>
                <a:lnTo>
                  <a:pt x="3107482" y="1868242"/>
                </a:lnTo>
                <a:lnTo>
                  <a:pt x="3106142" y="1891681"/>
                </a:lnTo>
                <a:lnTo>
                  <a:pt x="3105376" y="1915300"/>
                </a:lnTo>
                <a:lnTo>
                  <a:pt x="3105567" y="1939280"/>
                </a:lnTo>
                <a:lnTo>
                  <a:pt x="3106525" y="1963259"/>
                </a:lnTo>
                <a:lnTo>
                  <a:pt x="3107864" y="1987599"/>
                </a:lnTo>
                <a:lnTo>
                  <a:pt x="3109778" y="2012300"/>
                </a:lnTo>
                <a:lnTo>
                  <a:pt x="3112266" y="2037181"/>
                </a:lnTo>
                <a:lnTo>
                  <a:pt x="3115137" y="2062783"/>
                </a:lnTo>
                <a:lnTo>
                  <a:pt x="3118582" y="2088386"/>
                </a:lnTo>
                <a:lnTo>
                  <a:pt x="3122028" y="2114889"/>
                </a:lnTo>
                <a:lnTo>
                  <a:pt x="3125855" y="2141754"/>
                </a:lnTo>
                <a:lnTo>
                  <a:pt x="3130066" y="2169339"/>
                </a:lnTo>
                <a:lnTo>
                  <a:pt x="3139253" y="2231181"/>
                </a:lnTo>
                <a:lnTo>
                  <a:pt x="3150354" y="2304923"/>
                </a:lnTo>
                <a:lnTo>
                  <a:pt x="3162412" y="2388040"/>
                </a:lnTo>
                <a:lnTo>
                  <a:pt x="3175810" y="2478549"/>
                </a:lnTo>
                <a:lnTo>
                  <a:pt x="3189782" y="2574107"/>
                </a:lnTo>
                <a:lnTo>
                  <a:pt x="3204519" y="2672730"/>
                </a:lnTo>
                <a:lnTo>
                  <a:pt x="3218874" y="2772254"/>
                </a:lnTo>
                <a:lnTo>
                  <a:pt x="3233420" y="2870336"/>
                </a:lnTo>
                <a:lnTo>
                  <a:pt x="3247392" y="2964992"/>
                </a:lnTo>
                <a:lnTo>
                  <a:pt x="3260407" y="3054239"/>
                </a:lnTo>
                <a:lnTo>
                  <a:pt x="3272273" y="3135373"/>
                </a:lnTo>
                <a:lnTo>
                  <a:pt x="3282800" y="3206771"/>
                </a:lnTo>
                <a:lnTo>
                  <a:pt x="3291413" y="3266088"/>
                </a:lnTo>
                <a:lnTo>
                  <a:pt x="3298112" y="3310982"/>
                </a:lnTo>
                <a:lnTo>
                  <a:pt x="3302323" y="3339469"/>
                </a:lnTo>
                <a:lnTo>
                  <a:pt x="3303662" y="3349566"/>
                </a:lnTo>
                <a:lnTo>
                  <a:pt x="12192000" y="3349566"/>
                </a:lnTo>
                <a:lnTo>
                  <a:pt x="12192000" y="5038666"/>
                </a:lnTo>
                <a:lnTo>
                  <a:pt x="0" y="5038666"/>
                </a:lnTo>
                <a:lnTo>
                  <a:pt x="0" y="3349566"/>
                </a:lnTo>
                <a:lnTo>
                  <a:pt x="2501713" y="3349566"/>
                </a:lnTo>
                <a:lnTo>
                  <a:pt x="2504584" y="3347763"/>
                </a:lnTo>
                <a:lnTo>
                  <a:pt x="2512431" y="3341994"/>
                </a:lnTo>
                <a:lnTo>
                  <a:pt x="2518364" y="3337847"/>
                </a:lnTo>
                <a:lnTo>
                  <a:pt x="2524872" y="3332438"/>
                </a:lnTo>
                <a:lnTo>
                  <a:pt x="2532910" y="3326308"/>
                </a:lnTo>
                <a:lnTo>
                  <a:pt x="2541715" y="3318916"/>
                </a:lnTo>
                <a:lnTo>
                  <a:pt x="2551093" y="3310802"/>
                </a:lnTo>
                <a:lnTo>
                  <a:pt x="2561620" y="3301427"/>
                </a:lnTo>
                <a:lnTo>
                  <a:pt x="2572529" y="3291150"/>
                </a:lnTo>
                <a:lnTo>
                  <a:pt x="2584204" y="3279791"/>
                </a:lnTo>
                <a:lnTo>
                  <a:pt x="2596454" y="3267531"/>
                </a:lnTo>
                <a:lnTo>
                  <a:pt x="2609277" y="3253828"/>
                </a:lnTo>
                <a:lnTo>
                  <a:pt x="2622292" y="3239404"/>
                </a:lnTo>
                <a:lnTo>
                  <a:pt x="2635690" y="3223719"/>
                </a:lnTo>
                <a:lnTo>
                  <a:pt x="2649279" y="3206951"/>
                </a:lnTo>
                <a:lnTo>
                  <a:pt x="2662868" y="3189282"/>
                </a:lnTo>
                <a:lnTo>
                  <a:pt x="2677032" y="3170350"/>
                </a:lnTo>
                <a:lnTo>
                  <a:pt x="2690812" y="3150337"/>
                </a:lnTo>
                <a:lnTo>
                  <a:pt x="2704593" y="3129062"/>
                </a:lnTo>
                <a:lnTo>
                  <a:pt x="2718373" y="3106886"/>
                </a:lnTo>
                <a:lnTo>
                  <a:pt x="2731580" y="3083267"/>
                </a:lnTo>
                <a:lnTo>
                  <a:pt x="2744786" y="3058746"/>
                </a:lnTo>
                <a:lnTo>
                  <a:pt x="2757609" y="3032964"/>
                </a:lnTo>
                <a:lnTo>
                  <a:pt x="2770050" y="3006099"/>
                </a:lnTo>
                <a:lnTo>
                  <a:pt x="2781917" y="2977793"/>
                </a:lnTo>
                <a:lnTo>
                  <a:pt x="2793018" y="2948404"/>
                </a:lnTo>
                <a:lnTo>
                  <a:pt x="2803544" y="2917754"/>
                </a:lnTo>
                <a:lnTo>
                  <a:pt x="2813306" y="2885841"/>
                </a:lnTo>
                <a:lnTo>
                  <a:pt x="2822493" y="2853027"/>
                </a:lnTo>
                <a:lnTo>
                  <a:pt x="2830531" y="2818590"/>
                </a:lnTo>
                <a:lnTo>
                  <a:pt x="2837804" y="2783432"/>
                </a:lnTo>
                <a:lnTo>
                  <a:pt x="2844503" y="2748274"/>
                </a:lnTo>
                <a:lnTo>
                  <a:pt x="2850819" y="2712936"/>
                </a:lnTo>
                <a:lnTo>
                  <a:pt x="2856370" y="2677598"/>
                </a:lnTo>
                <a:lnTo>
                  <a:pt x="2861155" y="2642259"/>
                </a:lnTo>
                <a:lnTo>
                  <a:pt x="2865940" y="2606921"/>
                </a:lnTo>
                <a:lnTo>
                  <a:pt x="2869768" y="2572124"/>
                </a:lnTo>
                <a:lnTo>
                  <a:pt x="2873404" y="2537326"/>
                </a:lnTo>
                <a:lnTo>
                  <a:pt x="2876658" y="2503250"/>
                </a:lnTo>
                <a:lnTo>
                  <a:pt x="2879337" y="2469534"/>
                </a:lnTo>
                <a:lnTo>
                  <a:pt x="2881825" y="2436179"/>
                </a:lnTo>
                <a:lnTo>
                  <a:pt x="2883931" y="2403726"/>
                </a:lnTo>
                <a:lnTo>
                  <a:pt x="2885462" y="2371993"/>
                </a:lnTo>
                <a:lnTo>
                  <a:pt x="2886802" y="2340982"/>
                </a:lnTo>
                <a:lnTo>
                  <a:pt x="2887759" y="2311053"/>
                </a:lnTo>
                <a:lnTo>
                  <a:pt x="2888716" y="2281845"/>
                </a:lnTo>
                <a:lnTo>
                  <a:pt x="2889481" y="2254079"/>
                </a:lnTo>
                <a:lnTo>
                  <a:pt x="2889673" y="2227215"/>
                </a:lnTo>
                <a:lnTo>
                  <a:pt x="2889864" y="2201793"/>
                </a:lnTo>
                <a:lnTo>
                  <a:pt x="2889864" y="2177633"/>
                </a:lnTo>
                <a:lnTo>
                  <a:pt x="2889673" y="2155096"/>
                </a:lnTo>
                <a:lnTo>
                  <a:pt x="2889481" y="2133820"/>
                </a:lnTo>
                <a:lnTo>
                  <a:pt x="2889098" y="2114168"/>
                </a:lnTo>
                <a:lnTo>
                  <a:pt x="2888716" y="2096499"/>
                </a:lnTo>
                <a:lnTo>
                  <a:pt x="2887759" y="2066029"/>
                </a:lnTo>
                <a:lnTo>
                  <a:pt x="2886993" y="2043672"/>
                </a:lnTo>
                <a:lnTo>
                  <a:pt x="2886228" y="2029609"/>
                </a:lnTo>
                <a:lnTo>
                  <a:pt x="2886036" y="2024741"/>
                </a:lnTo>
                <a:lnTo>
                  <a:pt x="2879912" y="2023839"/>
                </a:lnTo>
                <a:lnTo>
                  <a:pt x="2862112" y="2020594"/>
                </a:lnTo>
                <a:lnTo>
                  <a:pt x="2849480" y="2017889"/>
                </a:lnTo>
                <a:lnTo>
                  <a:pt x="2834359" y="2014644"/>
                </a:lnTo>
                <a:lnTo>
                  <a:pt x="2816751" y="2010317"/>
                </a:lnTo>
                <a:lnTo>
                  <a:pt x="2797420" y="2005088"/>
                </a:lnTo>
                <a:lnTo>
                  <a:pt x="2775983" y="1999138"/>
                </a:lnTo>
                <a:lnTo>
                  <a:pt x="2753207" y="1991746"/>
                </a:lnTo>
                <a:lnTo>
                  <a:pt x="2728517" y="1983633"/>
                </a:lnTo>
                <a:lnTo>
                  <a:pt x="2702487" y="1973897"/>
                </a:lnTo>
                <a:lnTo>
                  <a:pt x="2675501" y="1963259"/>
                </a:lnTo>
                <a:lnTo>
                  <a:pt x="2647174" y="1951359"/>
                </a:lnTo>
                <a:lnTo>
                  <a:pt x="2617890" y="1937657"/>
                </a:lnTo>
                <a:lnTo>
                  <a:pt x="2588033" y="1922872"/>
                </a:lnTo>
                <a:lnTo>
                  <a:pt x="2557409" y="1906465"/>
                </a:lnTo>
                <a:lnTo>
                  <a:pt x="2526594" y="1888255"/>
                </a:lnTo>
                <a:lnTo>
                  <a:pt x="2495397" y="1868603"/>
                </a:lnTo>
                <a:lnTo>
                  <a:pt x="2464391" y="1847328"/>
                </a:lnTo>
                <a:lnTo>
                  <a:pt x="2433002" y="1824069"/>
                </a:lnTo>
                <a:lnTo>
                  <a:pt x="2401996" y="1799008"/>
                </a:lnTo>
                <a:lnTo>
                  <a:pt x="2371564" y="1771783"/>
                </a:lnTo>
                <a:lnTo>
                  <a:pt x="2341897" y="1742575"/>
                </a:lnTo>
                <a:lnTo>
                  <a:pt x="2312614" y="1711384"/>
                </a:lnTo>
                <a:lnTo>
                  <a:pt x="2284287" y="1678209"/>
                </a:lnTo>
                <a:lnTo>
                  <a:pt x="2257109" y="1642690"/>
                </a:lnTo>
                <a:lnTo>
                  <a:pt x="2231270" y="1604828"/>
                </a:lnTo>
                <a:lnTo>
                  <a:pt x="2206771" y="1564621"/>
                </a:lnTo>
                <a:lnTo>
                  <a:pt x="2183612" y="1522252"/>
                </a:lnTo>
                <a:lnTo>
                  <a:pt x="2162559" y="1476997"/>
                </a:lnTo>
                <a:lnTo>
                  <a:pt x="2143036" y="1429218"/>
                </a:lnTo>
                <a:lnTo>
                  <a:pt x="2123897" y="1380898"/>
                </a:lnTo>
                <a:lnTo>
                  <a:pt x="2103226" y="1333480"/>
                </a:lnTo>
                <a:lnTo>
                  <a:pt x="2081216" y="1287504"/>
                </a:lnTo>
                <a:lnTo>
                  <a:pt x="2058057" y="1242430"/>
                </a:lnTo>
                <a:lnTo>
                  <a:pt x="2033941" y="1198798"/>
                </a:lnTo>
                <a:lnTo>
                  <a:pt x="2008485" y="1156248"/>
                </a:lnTo>
                <a:lnTo>
                  <a:pt x="1982455" y="1114960"/>
                </a:lnTo>
                <a:lnTo>
                  <a:pt x="1955851" y="1075294"/>
                </a:lnTo>
                <a:lnTo>
                  <a:pt x="1928673" y="1036530"/>
                </a:lnTo>
                <a:lnTo>
                  <a:pt x="1901112" y="999209"/>
                </a:lnTo>
                <a:lnTo>
                  <a:pt x="1873168" y="963149"/>
                </a:lnTo>
                <a:lnTo>
                  <a:pt x="1845416" y="928893"/>
                </a:lnTo>
                <a:lnTo>
                  <a:pt x="1817472" y="895538"/>
                </a:lnTo>
                <a:lnTo>
                  <a:pt x="1789719" y="863986"/>
                </a:lnTo>
                <a:lnTo>
                  <a:pt x="1762158" y="833876"/>
                </a:lnTo>
                <a:lnTo>
                  <a:pt x="1735172" y="805209"/>
                </a:lnTo>
                <a:lnTo>
                  <a:pt x="1708759" y="778164"/>
                </a:lnTo>
                <a:lnTo>
                  <a:pt x="1682920" y="752381"/>
                </a:lnTo>
                <a:lnTo>
                  <a:pt x="1658039" y="728582"/>
                </a:lnTo>
                <a:lnTo>
                  <a:pt x="1634114" y="706045"/>
                </a:lnTo>
                <a:lnTo>
                  <a:pt x="1611530" y="685491"/>
                </a:lnTo>
                <a:lnTo>
                  <a:pt x="1589902" y="666199"/>
                </a:lnTo>
                <a:lnTo>
                  <a:pt x="1569614" y="648710"/>
                </a:lnTo>
                <a:lnTo>
                  <a:pt x="1551049" y="633024"/>
                </a:lnTo>
                <a:lnTo>
                  <a:pt x="1534014" y="619322"/>
                </a:lnTo>
                <a:lnTo>
                  <a:pt x="1519085" y="607062"/>
                </a:lnTo>
                <a:lnTo>
                  <a:pt x="1505879" y="596604"/>
                </a:lnTo>
                <a:lnTo>
                  <a:pt x="1494778" y="588130"/>
                </a:lnTo>
                <a:lnTo>
                  <a:pt x="1479466" y="576772"/>
                </a:lnTo>
                <a:lnTo>
                  <a:pt x="1474107" y="572805"/>
                </a:lnTo>
                <a:lnTo>
                  <a:pt x="1480041" y="575870"/>
                </a:lnTo>
                <a:lnTo>
                  <a:pt x="1497649" y="585426"/>
                </a:lnTo>
                <a:lnTo>
                  <a:pt x="1510281" y="592277"/>
                </a:lnTo>
                <a:lnTo>
                  <a:pt x="1525210" y="600571"/>
                </a:lnTo>
                <a:lnTo>
                  <a:pt x="1542244" y="610487"/>
                </a:lnTo>
                <a:lnTo>
                  <a:pt x="1561384" y="621846"/>
                </a:lnTo>
                <a:lnTo>
                  <a:pt x="1582246" y="634467"/>
                </a:lnTo>
                <a:lnTo>
                  <a:pt x="1605022" y="648530"/>
                </a:lnTo>
                <a:lnTo>
                  <a:pt x="1629138" y="664036"/>
                </a:lnTo>
                <a:lnTo>
                  <a:pt x="1654785" y="680803"/>
                </a:lnTo>
                <a:lnTo>
                  <a:pt x="1681581" y="698833"/>
                </a:lnTo>
                <a:lnTo>
                  <a:pt x="1709525" y="718305"/>
                </a:lnTo>
                <a:lnTo>
                  <a:pt x="1738042" y="738859"/>
                </a:lnTo>
                <a:lnTo>
                  <a:pt x="1767518" y="760855"/>
                </a:lnTo>
                <a:lnTo>
                  <a:pt x="1797375" y="783933"/>
                </a:lnTo>
                <a:lnTo>
                  <a:pt x="1827807" y="808274"/>
                </a:lnTo>
                <a:lnTo>
                  <a:pt x="1858239" y="833876"/>
                </a:lnTo>
                <a:lnTo>
                  <a:pt x="1889054" y="860380"/>
                </a:lnTo>
                <a:lnTo>
                  <a:pt x="1919677" y="888326"/>
                </a:lnTo>
                <a:lnTo>
                  <a:pt x="1949918" y="917173"/>
                </a:lnTo>
                <a:lnTo>
                  <a:pt x="1979584" y="947103"/>
                </a:lnTo>
                <a:lnTo>
                  <a:pt x="2009059" y="978294"/>
                </a:lnTo>
                <a:lnTo>
                  <a:pt x="2037386" y="1010387"/>
                </a:lnTo>
                <a:lnTo>
                  <a:pt x="2064947" y="1043381"/>
                </a:lnTo>
                <a:lnTo>
                  <a:pt x="2091551" y="1077458"/>
                </a:lnTo>
                <a:lnTo>
                  <a:pt x="2116815" y="1112616"/>
                </a:lnTo>
                <a:lnTo>
                  <a:pt x="2140740" y="1148675"/>
                </a:lnTo>
                <a:lnTo>
                  <a:pt x="2162942" y="1185456"/>
                </a:lnTo>
                <a:lnTo>
                  <a:pt x="2183612" y="1223499"/>
                </a:lnTo>
                <a:lnTo>
                  <a:pt x="2202369" y="1262082"/>
                </a:lnTo>
                <a:lnTo>
                  <a:pt x="2220743" y="1300486"/>
                </a:lnTo>
                <a:lnTo>
                  <a:pt x="2240457" y="1336725"/>
                </a:lnTo>
                <a:lnTo>
                  <a:pt x="2261702" y="1370982"/>
                </a:lnTo>
                <a:lnTo>
                  <a:pt x="2284096" y="1403436"/>
                </a:lnTo>
                <a:lnTo>
                  <a:pt x="2307637" y="1434266"/>
                </a:lnTo>
                <a:lnTo>
                  <a:pt x="2331945" y="1463114"/>
                </a:lnTo>
                <a:lnTo>
                  <a:pt x="2357017" y="1490339"/>
                </a:lnTo>
                <a:lnTo>
                  <a:pt x="2382665" y="1515941"/>
                </a:lnTo>
                <a:lnTo>
                  <a:pt x="2409269" y="1539921"/>
                </a:lnTo>
                <a:lnTo>
                  <a:pt x="2435873" y="1562278"/>
                </a:lnTo>
                <a:lnTo>
                  <a:pt x="2462668" y="1583372"/>
                </a:lnTo>
                <a:lnTo>
                  <a:pt x="2489655" y="1602845"/>
                </a:lnTo>
                <a:lnTo>
                  <a:pt x="2516833" y="1620694"/>
                </a:lnTo>
                <a:lnTo>
                  <a:pt x="2543629" y="1637462"/>
                </a:lnTo>
                <a:lnTo>
                  <a:pt x="2570041" y="1652787"/>
                </a:lnTo>
                <a:lnTo>
                  <a:pt x="2596263" y="1667030"/>
                </a:lnTo>
                <a:lnTo>
                  <a:pt x="2621910" y="1679832"/>
                </a:lnTo>
                <a:lnTo>
                  <a:pt x="2646791" y="1691551"/>
                </a:lnTo>
                <a:lnTo>
                  <a:pt x="2670907" y="1702008"/>
                </a:lnTo>
                <a:lnTo>
                  <a:pt x="2694066" y="1711564"/>
                </a:lnTo>
                <a:lnTo>
                  <a:pt x="2716077" y="1720038"/>
                </a:lnTo>
                <a:lnTo>
                  <a:pt x="2736939" y="1727610"/>
                </a:lnTo>
                <a:lnTo>
                  <a:pt x="2756461" y="1734101"/>
                </a:lnTo>
                <a:lnTo>
                  <a:pt x="2774452" y="1739690"/>
                </a:lnTo>
                <a:lnTo>
                  <a:pt x="2790912" y="1744198"/>
                </a:lnTo>
                <a:lnTo>
                  <a:pt x="2805458" y="1748525"/>
                </a:lnTo>
                <a:lnTo>
                  <a:pt x="2818282" y="1751590"/>
                </a:lnTo>
                <a:lnTo>
                  <a:pt x="2829000" y="1754114"/>
                </a:lnTo>
                <a:lnTo>
                  <a:pt x="2843929" y="1757540"/>
                </a:lnTo>
                <a:lnTo>
                  <a:pt x="2848905" y="1758261"/>
                </a:lnTo>
                <a:lnTo>
                  <a:pt x="2834359" y="1462212"/>
                </a:lnTo>
                <a:lnTo>
                  <a:pt x="2833785" y="1462032"/>
                </a:lnTo>
                <a:lnTo>
                  <a:pt x="2832828" y="1460770"/>
                </a:lnTo>
                <a:lnTo>
                  <a:pt x="2830531" y="1458787"/>
                </a:lnTo>
                <a:lnTo>
                  <a:pt x="2827469" y="1455181"/>
                </a:lnTo>
                <a:lnTo>
                  <a:pt x="2823450" y="1449952"/>
                </a:lnTo>
                <a:lnTo>
                  <a:pt x="2818473" y="1443101"/>
                </a:lnTo>
                <a:lnTo>
                  <a:pt x="2812349" y="1434086"/>
                </a:lnTo>
                <a:lnTo>
                  <a:pt x="2805267" y="1422727"/>
                </a:lnTo>
                <a:lnTo>
                  <a:pt x="2796654" y="1408844"/>
                </a:lnTo>
                <a:lnTo>
                  <a:pt x="2787084" y="1392077"/>
                </a:lnTo>
                <a:lnTo>
                  <a:pt x="2776366" y="1372424"/>
                </a:lnTo>
                <a:lnTo>
                  <a:pt x="2764117" y="1349166"/>
                </a:lnTo>
                <a:lnTo>
                  <a:pt x="2757418" y="1336545"/>
                </a:lnTo>
                <a:lnTo>
                  <a:pt x="2750528" y="1322662"/>
                </a:lnTo>
                <a:lnTo>
                  <a:pt x="2743255" y="1307878"/>
                </a:lnTo>
                <a:lnTo>
                  <a:pt x="2735599" y="1292012"/>
                </a:lnTo>
                <a:lnTo>
                  <a:pt x="2727560" y="1275424"/>
                </a:lnTo>
                <a:lnTo>
                  <a:pt x="2719139" y="1257575"/>
                </a:lnTo>
                <a:lnTo>
                  <a:pt x="2710335" y="1238644"/>
                </a:lnTo>
                <a:lnTo>
                  <a:pt x="2701148" y="1218631"/>
                </a:lnTo>
                <a:lnTo>
                  <a:pt x="2692343" y="1198798"/>
                </a:lnTo>
                <a:lnTo>
                  <a:pt x="2683922" y="1179867"/>
                </a:lnTo>
                <a:lnTo>
                  <a:pt x="2676266" y="1161837"/>
                </a:lnTo>
                <a:lnTo>
                  <a:pt x="2669184" y="1144889"/>
                </a:lnTo>
                <a:lnTo>
                  <a:pt x="2662677" y="1128843"/>
                </a:lnTo>
                <a:lnTo>
                  <a:pt x="2656552" y="1113337"/>
                </a:lnTo>
                <a:lnTo>
                  <a:pt x="2651002" y="1098192"/>
                </a:lnTo>
                <a:lnTo>
                  <a:pt x="2645834" y="1083588"/>
                </a:lnTo>
                <a:lnTo>
                  <a:pt x="2641049" y="1069344"/>
                </a:lnTo>
                <a:lnTo>
                  <a:pt x="2636456" y="1055281"/>
                </a:lnTo>
                <a:lnTo>
                  <a:pt x="2632245" y="1041579"/>
                </a:lnTo>
                <a:lnTo>
                  <a:pt x="2628226" y="1027515"/>
                </a:lnTo>
                <a:lnTo>
                  <a:pt x="2624589" y="1013452"/>
                </a:lnTo>
                <a:lnTo>
                  <a:pt x="2620761" y="999028"/>
                </a:lnTo>
                <a:lnTo>
                  <a:pt x="2616933" y="984424"/>
                </a:lnTo>
                <a:lnTo>
                  <a:pt x="2613488" y="969279"/>
                </a:lnTo>
                <a:lnTo>
                  <a:pt x="2606024" y="937006"/>
                </a:lnTo>
                <a:lnTo>
                  <a:pt x="2598368" y="901668"/>
                </a:lnTo>
                <a:lnTo>
                  <a:pt x="2589372" y="862183"/>
                </a:lnTo>
                <a:lnTo>
                  <a:pt x="2579611" y="817649"/>
                </a:lnTo>
                <a:lnTo>
                  <a:pt x="2568127" y="766986"/>
                </a:lnTo>
                <a:lnTo>
                  <a:pt x="2554538" y="709831"/>
                </a:lnTo>
                <a:lnTo>
                  <a:pt x="2546882" y="678279"/>
                </a:lnTo>
                <a:lnTo>
                  <a:pt x="2538652" y="644744"/>
                </a:lnTo>
                <a:lnTo>
                  <a:pt x="2529848" y="609045"/>
                </a:lnTo>
                <a:lnTo>
                  <a:pt x="2520087" y="571182"/>
                </a:lnTo>
                <a:lnTo>
                  <a:pt x="2508986" y="532779"/>
                </a:lnTo>
                <a:lnTo>
                  <a:pt x="2495397" y="496179"/>
                </a:lnTo>
                <a:lnTo>
                  <a:pt x="2480085" y="461381"/>
                </a:lnTo>
                <a:lnTo>
                  <a:pt x="2462668" y="428207"/>
                </a:lnTo>
                <a:lnTo>
                  <a:pt x="2443911" y="396655"/>
                </a:lnTo>
                <a:lnTo>
                  <a:pt x="2423432" y="366725"/>
                </a:lnTo>
                <a:lnTo>
                  <a:pt x="2401421" y="338238"/>
                </a:lnTo>
                <a:lnTo>
                  <a:pt x="2378454" y="311554"/>
                </a:lnTo>
                <a:lnTo>
                  <a:pt x="2354338" y="286132"/>
                </a:lnTo>
                <a:lnTo>
                  <a:pt x="2329456" y="262333"/>
                </a:lnTo>
                <a:lnTo>
                  <a:pt x="2303809" y="239976"/>
                </a:lnTo>
                <a:lnTo>
                  <a:pt x="2277588" y="218701"/>
                </a:lnTo>
                <a:lnTo>
                  <a:pt x="2251175" y="199049"/>
                </a:lnTo>
                <a:lnTo>
                  <a:pt x="2224571" y="180839"/>
                </a:lnTo>
                <a:lnTo>
                  <a:pt x="2197776" y="163710"/>
                </a:lnTo>
                <a:lnTo>
                  <a:pt x="2171172" y="148024"/>
                </a:lnTo>
                <a:lnTo>
                  <a:pt x="2144951" y="133420"/>
                </a:lnTo>
                <a:lnTo>
                  <a:pt x="2119112" y="119898"/>
                </a:lnTo>
                <a:lnTo>
                  <a:pt x="2094231" y="107818"/>
                </a:lnTo>
                <a:lnTo>
                  <a:pt x="2069923" y="96639"/>
                </a:lnTo>
                <a:lnTo>
                  <a:pt x="2046573" y="86723"/>
                </a:lnTo>
                <a:lnTo>
                  <a:pt x="2024562" y="77708"/>
                </a:lnTo>
                <a:lnTo>
                  <a:pt x="2003700" y="69775"/>
                </a:lnTo>
                <a:lnTo>
                  <a:pt x="1984369" y="62744"/>
                </a:lnTo>
                <a:lnTo>
                  <a:pt x="1966569" y="56794"/>
                </a:lnTo>
                <a:lnTo>
                  <a:pt x="1950684" y="51746"/>
                </a:lnTo>
                <a:lnTo>
                  <a:pt x="1936712" y="47599"/>
                </a:lnTo>
                <a:lnTo>
                  <a:pt x="1925036" y="43993"/>
                </a:lnTo>
                <a:lnTo>
                  <a:pt x="1908576" y="39846"/>
                </a:lnTo>
                <a:lnTo>
                  <a:pt x="1903026" y="38223"/>
                </a:lnTo>
                <a:lnTo>
                  <a:pt x="1907045" y="38223"/>
                </a:lnTo>
                <a:lnTo>
                  <a:pt x="1918529" y="38764"/>
                </a:lnTo>
                <a:lnTo>
                  <a:pt x="1926950" y="39125"/>
                </a:lnTo>
                <a:lnTo>
                  <a:pt x="1936903" y="39485"/>
                </a:lnTo>
                <a:lnTo>
                  <a:pt x="1948387" y="40387"/>
                </a:lnTo>
                <a:lnTo>
                  <a:pt x="1961210" y="41469"/>
                </a:lnTo>
                <a:lnTo>
                  <a:pt x="1975182" y="42731"/>
                </a:lnTo>
                <a:lnTo>
                  <a:pt x="1990494" y="44353"/>
                </a:lnTo>
                <a:lnTo>
                  <a:pt x="2006763" y="46337"/>
                </a:lnTo>
                <a:lnTo>
                  <a:pt x="2024180" y="48861"/>
                </a:lnTo>
                <a:lnTo>
                  <a:pt x="2042362" y="51746"/>
                </a:lnTo>
                <a:lnTo>
                  <a:pt x="2060928" y="54810"/>
                </a:lnTo>
                <a:lnTo>
                  <a:pt x="2080450" y="58777"/>
                </a:lnTo>
                <a:lnTo>
                  <a:pt x="2100547" y="62924"/>
                </a:lnTo>
                <a:lnTo>
                  <a:pt x="2121026" y="67972"/>
                </a:lnTo>
                <a:lnTo>
                  <a:pt x="2141888" y="73742"/>
                </a:lnTo>
                <a:lnTo>
                  <a:pt x="2162942" y="79692"/>
                </a:lnTo>
                <a:lnTo>
                  <a:pt x="2183995" y="86723"/>
                </a:lnTo>
                <a:lnTo>
                  <a:pt x="2205240" y="94476"/>
                </a:lnTo>
                <a:lnTo>
                  <a:pt x="2226294" y="102770"/>
                </a:lnTo>
                <a:lnTo>
                  <a:pt x="2247156" y="111965"/>
                </a:lnTo>
                <a:lnTo>
                  <a:pt x="2267636" y="122061"/>
                </a:lnTo>
                <a:lnTo>
                  <a:pt x="2287923" y="132879"/>
                </a:lnTo>
                <a:lnTo>
                  <a:pt x="2307637" y="144599"/>
                </a:lnTo>
                <a:lnTo>
                  <a:pt x="2326777" y="157400"/>
                </a:lnTo>
                <a:lnTo>
                  <a:pt x="2344960" y="171283"/>
                </a:lnTo>
                <a:lnTo>
                  <a:pt x="2362568" y="186067"/>
                </a:lnTo>
                <a:lnTo>
                  <a:pt x="2379219" y="201753"/>
                </a:lnTo>
                <a:lnTo>
                  <a:pt x="2394723" y="218701"/>
                </a:lnTo>
                <a:lnTo>
                  <a:pt x="2409269" y="236731"/>
                </a:lnTo>
                <a:lnTo>
                  <a:pt x="2422666" y="255121"/>
                </a:lnTo>
                <a:lnTo>
                  <a:pt x="2435681" y="272970"/>
                </a:lnTo>
                <a:lnTo>
                  <a:pt x="2447930" y="290099"/>
                </a:lnTo>
                <a:lnTo>
                  <a:pt x="2459414" y="306866"/>
                </a:lnTo>
                <a:lnTo>
                  <a:pt x="2470515" y="323093"/>
                </a:lnTo>
                <a:lnTo>
                  <a:pt x="2480659" y="338779"/>
                </a:lnTo>
                <a:lnTo>
                  <a:pt x="2490803" y="353744"/>
                </a:lnTo>
                <a:lnTo>
                  <a:pt x="2499799" y="368528"/>
                </a:lnTo>
                <a:lnTo>
                  <a:pt x="2508603" y="382231"/>
                </a:lnTo>
                <a:lnTo>
                  <a:pt x="2516833" y="395933"/>
                </a:lnTo>
                <a:lnTo>
                  <a:pt x="2524298" y="408734"/>
                </a:lnTo>
                <a:lnTo>
                  <a:pt x="2531379" y="420995"/>
                </a:lnTo>
                <a:lnTo>
                  <a:pt x="2538078" y="432714"/>
                </a:lnTo>
                <a:lnTo>
                  <a:pt x="2544203" y="443892"/>
                </a:lnTo>
                <a:lnTo>
                  <a:pt x="2550136" y="454530"/>
                </a:lnTo>
                <a:lnTo>
                  <a:pt x="2555112" y="464266"/>
                </a:lnTo>
                <a:lnTo>
                  <a:pt x="2564491" y="482476"/>
                </a:lnTo>
                <a:lnTo>
                  <a:pt x="2572147" y="498523"/>
                </a:lnTo>
                <a:lnTo>
                  <a:pt x="2578080" y="512045"/>
                </a:lnTo>
                <a:lnTo>
                  <a:pt x="2582673" y="523223"/>
                </a:lnTo>
                <a:lnTo>
                  <a:pt x="2586310" y="531878"/>
                </a:lnTo>
                <a:lnTo>
                  <a:pt x="2588607" y="538188"/>
                </a:lnTo>
                <a:lnTo>
                  <a:pt x="2589946" y="541974"/>
                </a:lnTo>
                <a:lnTo>
                  <a:pt x="2590329" y="543236"/>
                </a:lnTo>
                <a:lnTo>
                  <a:pt x="2589946" y="541794"/>
                </a:lnTo>
                <a:lnTo>
                  <a:pt x="2588607" y="537647"/>
                </a:lnTo>
                <a:lnTo>
                  <a:pt x="2587650" y="534762"/>
                </a:lnTo>
                <a:lnTo>
                  <a:pt x="2586693" y="530976"/>
                </a:lnTo>
                <a:lnTo>
                  <a:pt x="2585927" y="526469"/>
                </a:lnTo>
                <a:lnTo>
                  <a:pt x="2584970" y="521420"/>
                </a:lnTo>
                <a:lnTo>
                  <a:pt x="2584013" y="515831"/>
                </a:lnTo>
                <a:lnTo>
                  <a:pt x="2583248" y="509521"/>
                </a:lnTo>
                <a:lnTo>
                  <a:pt x="2582482" y="502669"/>
                </a:lnTo>
                <a:lnTo>
                  <a:pt x="2582099" y="495097"/>
                </a:lnTo>
                <a:lnTo>
                  <a:pt x="2581908" y="486984"/>
                </a:lnTo>
                <a:lnTo>
                  <a:pt x="2581908" y="478149"/>
                </a:lnTo>
                <a:lnTo>
                  <a:pt x="2582291" y="468774"/>
                </a:lnTo>
                <a:lnTo>
                  <a:pt x="2583056" y="458677"/>
                </a:lnTo>
                <a:lnTo>
                  <a:pt x="2584013" y="448220"/>
                </a:lnTo>
                <a:lnTo>
                  <a:pt x="2585353" y="436861"/>
                </a:lnTo>
                <a:lnTo>
                  <a:pt x="2587458" y="425142"/>
                </a:lnTo>
                <a:lnTo>
                  <a:pt x="2590138" y="413062"/>
                </a:lnTo>
                <a:lnTo>
                  <a:pt x="2593009" y="400080"/>
                </a:lnTo>
                <a:lnTo>
                  <a:pt x="2596645" y="386738"/>
                </a:lnTo>
                <a:lnTo>
                  <a:pt x="2601047" y="372675"/>
                </a:lnTo>
                <a:lnTo>
                  <a:pt x="2605832" y="358071"/>
                </a:lnTo>
                <a:lnTo>
                  <a:pt x="2611574" y="342926"/>
                </a:lnTo>
                <a:lnTo>
                  <a:pt x="2618082" y="327420"/>
                </a:lnTo>
                <a:lnTo>
                  <a:pt x="2625355" y="311374"/>
                </a:lnTo>
                <a:lnTo>
                  <a:pt x="2633393" y="294606"/>
                </a:lnTo>
                <a:lnTo>
                  <a:pt x="2642580" y="277298"/>
                </a:lnTo>
                <a:lnTo>
                  <a:pt x="2652533" y="259809"/>
                </a:lnTo>
                <a:lnTo>
                  <a:pt x="2663443" y="241599"/>
                </a:lnTo>
                <a:lnTo>
                  <a:pt x="2675501" y="222668"/>
                </a:lnTo>
                <a:lnTo>
                  <a:pt x="2687941" y="204457"/>
                </a:lnTo>
                <a:lnTo>
                  <a:pt x="2700382" y="187149"/>
                </a:lnTo>
                <a:lnTo>
                  <a:pt x="2712823" y="170562"/>
                </a:lnTo>
                <a:lnTo>
                  <a:pt x="2725264" y="155417"/>
                </a:lnTo>
                <a:lnTo>
                  <a:pt x="2737321" y="140812"/>
                </a:lnTo>
                <a:lnTo>
                  <a:pt x="2749571" y="127290"/>
                </a:lnTo>
                <a:lnTo>
                  <a:pt x="2761629" y="114669"/>
                </a:lnTo>
                <a:lnTo>
                  <a:pt x="2773687" y="102770"/>
                </a:lnTo>
                <a:lnTo>
                  <a:pt x="2785362" y="91952"/>
                </a:lnTo>
                <a:lnTo>
                  <a:pt x="2797037" y="81675"/>
                </a:lnTo>
                <a:lnTo>
                  <a:pt x="2808138" y="72299"/>
                </a:lnTo>
                <a:lnTo>
                  <a:pt x="2819239" y="63645"/>
                </a:lnTo>
                <a:lnTo>
                  <a:pt x="2829766" y="55712"/>
                </a:lnTo>
                <a:lnTo>
                  <a:pt x="2840293" y="48320"/>
                </a:lnTo>
                <a:lnTo>
                  <a:pt x="2850437" y="41649"/>
                </a:lnTo>
                <a:lnTo>
                  <a:pt x="2860006" y="35519"/>
                </a:lnTo>
                <a:lnTo>
                  <a:pt x="2869385" y="30290"/>
                </a:lnTo>
                <a:lnTo>
                  <a:pt x="2878380" y="25242"/>
                </a:lnTo>
                <a:lnTo>
                  <a:pt x="2886993" y="21095"/>
                </a:lnTo>
                <a:lnTo>
                  <a:pt x="2895032" y="17128"/>
                </a:lnTo>
                <a:lnTo>
                  <a:pt x="2902305" y="13883"/>
                </a:lnTo>
                <a:lnTo>
                  <a:pt x="2909386" y="11179"/>
                </a:lnTo>
                <a:lnTo>
                  <a:pt x="2915894" y="8654"/>
                </a:lnTo>
                <a:lnTo>
                  <a:pt x="2921636" y="6491"/>
                </a:lnTo>
                <a:lnTo>
                  <a:pt x="2931588" y="3426"/>
                </a:lnTo>
                <a:lnTo>
                  <a:pt x="2938862" y="1262"/>
                </a:lnTo>
                <a:lnTo>
                  <a:pt x="2943646" y="180"/>
                </a:lnTo>
                <a:close/>
              </a:path>
            </a:pathLst>
          </a:custGeom>
          <a:gradFill>
            <a:gsLst>
              <a:gs pos="0">
                <a:schemeClr val="accent1"/>
              </a:gs>
              <a:gs pos="100000">
                <a:schemeClr val="accent5"/>
              </a:gs>
            </a:gsLst>
            <a:lin ang="5400000" scaled="1"/>
          </a:gra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2" name="Oval 13">
            <a:extLst>
              <a:ext uri="{FF2B5EF4-FFF2-40B4-BE49-F238E27FC236}">
                <a16:creationId xmlns:a16="http://schemas.microsoft.com/office/drawing/2014/main" id="{3A308F81-9D79-459C-9178-1E50A73E8DE0}"/>
              </a:ext>
            </a:extLst>
          </p:cNvPr>
          <p:cNvSpPr/>
          <p:nvPr/>
        </p:nvSpPr>
        <p:spPr>
          <a:xfrm>
            <a:off x="1269409" y="474615"/>
            <a:ext cx="1735139" cy="1461169"/>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FFFFFF"/>
              </a:solidFill>
              <a:effectLst/>
              <a:uLnTx/>
              <a:uFillTx/>
              <a:latin typeface="等线" panose="020F0502020204030204"/>
              <a:ea typeface="+mn-ea"/>
              <a:cs typeface="+mn-cs"/>
            </a:endParaRPr>
          </a:p>
        </p:txBody>
      </p:sp>
      <p:sp>
        <p:nvSpPr>
          <p:cNvPr id="13" name="Oval 14">
            <a:extLst>
              <a:ext uri="{FF2B5EF4-FFF2-40B4-BE49-F238E27FC236}">
                <a16:creationId xmlns:a16="http://schemas.microsoft.com/office/drawing/2014/main" id="{56F77B7A-27B5-45EF-8A07-4ACCD34ED59E}"/>
              </a:ext>
            </a:extLst>
          </p:cNvPr>
          <p:cNvSpPr/>
          <p:nvPr/>
        </p:nvSpPr>
        <p:spPr>
          <a:xfrm>
            <a:off x="2138701" y="1275145"/>
            <a:ext cx="1735139" cy="146116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FFFFFF"/>
              </a:solidFill>
              <a:effectLst/>
              <a:uLnTx/>
              <a:uFillTx/>
              <a:latin typeface="等线" panose="020F0502020204030204"/>
              <a:ea typeface="+mn-ea"/>
              <a:cs typeface="+mn-cs"/>
            </a:endParaRPr>
          </a:p>
        </p:txBody>
      </p:sp>
      <p:sp>
        <p:nvSpPr>
          <p:cNvPr id="14" name="Title 17">
            <a:extLst>
              <a:ext uri="{FF2B5EF4-FFF2-40B4-BE49-F238E27FC236}">
                <a16:creationId xmlns:a16="http://schemas.microsoft.com/office/drawing/2014/main" id="{2409AD78-AC41-4DCD-AF3A-DDC3C650BF7A}"/>
              </a:ext>
            </a:extLst>
          </p:cNvPr>
          <p:cNvSpPr txBox="1">
            <a:spLocks/>
          </p:cNvSpPr>
          <p:nvPr/>
        </p:nvSpPr>
        <p:spPr>
          <a:xfrm>
            <a:off x="5970814" y="2392179"/>
            <a:ext cx="5192486" cy="1176129"/>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4400" b="0" i="0" u="none" strike="noStrike" kern="1200" cap="none" spc="0" normalizeH="0" baseline="0" noProof="0">
                <a:ln>
                  <a:noFill/>
                </a:ln>
                <a:solidFill>
                  <a:srgbClr val="000000"/>
                </a:solidFill>
                <a:effectLst/>
                <a:uLnTx/>
                <a:uFillTx/>
                <a:latin typeface="等线 Light" panose="020F0302020204030204"/>
                <a:ea typeface="+mj-ea"/>
                <a:cs typeface="+mj-cs"/>
              </a:rPr>
              <a:t>Special Tree Diagram</a:t>
            </a:r>
            <a:endParaRPr kumimoji="0" lang="en-US" sz="4400" b="0" i="0" u="none" strike="noStrike" kern="1200" cap="none" spc="0" normalizeH="0" baseline="0" noProof="0" dirty="0">
              <a:ln>
                <a:noFill/>
              </a:ln>
              <a:solidFill>
                <a:srgbClr val="000000"/>
              </a:solidFill>
              <a:effectLst/>
              <a:uLnTx/>
              <a:uFillTx/>
              <a:latin typeface="等线 Light" panose="020F0302020204030204"/>
              <a:ea typeface="+mj-ea"/>
              <a:cs typeface="+mj-cs"/>
            </a:endParaRPr>
          </a:p>
        </p:txBody>
      </p:sp>
      <p:sp>
        <p:nvSpPr>
          <p:cNvPr id="15" name="Text Placeholder 18">
            <a:extLst>
              <a:ext uri="{FF2B5EF4-FFF2-40B4-BE49-F238E27FC236}">
                <a16:creationId xmlns:a16="http://schemas.microsoft.com/office/drawing/2014/main" id="{EFD0AA50-0E78-41C8-99D8-F3A35C27EFFC}"/>
              </a:ext>
            </a:extLst>
          </p:cNvPr>
          <p:cNvSpPr txBox="1">
            <a:spLocks/>
          </p:cNvSpPr>
          <p:nvPr/>
        </p:nvSpPr>
        <p:spPr>
          <a:xfrm>
            <a:off x="5970814" y="1926759"/>
            <a:ext cx="3434443" cy="39052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800" b="0" i="0" u="none" strike="noStrike" kern="1200" cap="none" spc="0" normalizeH="0" baseline="0" noProof="0">
                <a:ln>
                  <a:noFill/>
                </a:ln>
                <a:solidFill>
                  <a:srgbClr val="000000"/>
                </a:solidFill>
                <a:effectLst/>
                <a:uLnTx/>
                <a:uFillTx/>
                <a:latin typeface="等线" panose="020F0502020204030204"/>
                <a:ea typeface="+mn-ea"/>
                <a:cs typeface="+mn-cs"/>
              </a:rPr>
              <a:t>Your Text Goes Here</a:t>
            </a:r>
            <a:endParaRPr kumimoji="0" lang="en-US" sz="2800"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grpSp>
        <p:nvGrpSpPr>
          <p:cNvPr id="16" name="Group 21">
            <a:extLst>
              <a:ext uri="{FF2B5EF4-FFF2-40B4-BE49-F238E27FC236}">
                <a16:creationId xmlns:a16="http://schemas.microsoft.com/office/drawing/2014/main" id="{E2B11D3B-05DB-4A5D-940C-B8010D1F620C}"/>
              </a:ext>
            </a:extLst>
          </p:cNvPr>
          <p:cNvGrpSpPr/>
          <p:nvPr/>
        </p:nvGrpSpPr>
        <p:grpSpPr>
          <a:xfrm>
            <a:off x="6106209" y="3487392"/>
            <a:ext cx="512690" cy="131061"/>
            <a:chOff x="795585" y="3421099"/>
            <a:chExt cx="1066015" cy="272508"/>
          </a:xfrm>
        </p:grpSpPr>
        <p:sp>
          <p:nvSpPr>
            <p:cNvPr id="17" name="Freeform 5">
              <a:extLst>
                <a:ext uri="{FF2B5EF4-FFF2-40B4-BE49-F238E27FC236}">
                  <a16:creationId xmlns:a16="http://schemas.microsoft.com/office/drawing/2014/main" id="{76549579-410A-4D69-A88A-024E40AD0AEA}"/>
                </a:ext>
              </a:extLst>
            </p:cNvPr>
            <p:cNvSpPr>
              <a:spLocks/>
            </p:cNvSpPr>
            <p:nvPr/>
          </p:nvSpPr>
          <p:spPr bwMode="auto">
            <a:xfrm>
              <a:off x="795585" y="3421099"/>
              <a:ext cx="263057" cy="272508"/>
            </a:xfrm>
            <a:custGeom>
              <a:avLst/>
              <a:gdLst>
                <a:gd name="T0" fmla="*/ 7371 w 17675"/>
                <a:gd name="T1" fmla="*/ 1125 h 18310"/>
                <a:gd name="T2" fmla="*/ 5959 w 17675"/>
                <a:gd name="T3" fmla="*/ 593 h 18310"/>
                <a:gd name="T4" fmla="*/ 4735 w 17675"/>
                <a:gd name="T5" fmla="*/ 240 h 18310"/>
                <a:gd name="T6" fmla="*/ 3627 w 17675"/>
                <a:gd name="T7" fmla="*/ 54 h 18310"/>
                <a:gd name="T8" fmla="*/ 2806 w 17675"/>
                <a:gd name="T9" fmla="*/ 7 h 18310"/>
                <a:gd name="T10" fmla="*/ 2454 w 17675"/>
                <a:gd name="T11" fmla="*/ 85 h 18310"/>
                <a:gd name="T12" fmla="*/ 2132 w 17675"/>
                <a:gd name="T13" fmla="*/ 262 h 18310"/>
                <a:gd name="T14" fmla="*/ 1838 w 17675"/>
                <a:gd name="T15" fmla="*/ 533 h 18310"/>
                <a:gd name="T16" fmla="*/ 1454 w 17675"/>
                <a:gd name="T17" fmla="*/ 1111 h 18310"/>
                <a:gd name="T18" fmla="*/ 1261 w 17675"/>
                <a:gd name="T19" fmla="*/ 1545 h 18310"/>
                <a:gd name="T20" fmla="*/ 1008 w 17675"/>
                <a:gd name="T21" fmla="*/ 2315 h 18310"/>
                <a:gd name="T22" fmla="*/ 836 w 17675"/>
                <a:gd name="T23" fmla="*/ 2906 h 18310"/>
                <a:gd name="T24" fmla="*/ 683 w 17675"/>
                <a:gd name="T25" fmla="*/ 3519 h 18310"/>
                <a:gd name="T26" fmla="*/ 506 w 17675"/>
                <a:gd name="T27" fmla="*/ 4330 h 18310"/>
                <a:gd name="T28" fmla="*/ 356 w 17675"/>
                <a:gd name="T29" fmla="*/ 5177 h 18310"/>
                <a:gd name="T30" fmla="*/ 199 w 17675"/>
                <a:gd name="T31" fmla="*/ 6352 h 18310"/>
                <a:gd name="T32" fmla="*/ 65 w 17675"/>
                <a:gd name="T33" fmla="*/ 7805 h 18310"/>
                <a:gd name="T34" fmla="*/ 1 w 17675"/>
                <a:gd name="T35" fmla="*/ 9354 h 18310"/>
                <a:gd name="T36" fmla="*/ 54 w 17675"/>
                <a:gd name="T37" fmla="*/ 10490 h 18310"/>
                <a:gd name="T38" fmla="*/ 149 w 17675"/>
                <a:gd name="T39" fmla="*/ 11811 h 18310"/>
                <a:gd name="T40" fmla="*/ 298 w 17675"/>
                <a:gd name="T41" fmla="*/ 13066 h 18310"/>
                <a:gd name="T42" fmla="*/ 650 w 17675"/>
                <a:gd name="T43" fmla="*/ 14979 h 18310"/>
                <a:gd name="T44" fmla="*/ 991 w 17675"/>
                <a:gd name="T45" fmla="*/ 16266 h 18310"/>
                <a:gd name="T46" fmla="*/ 1332 w 17675"/>
                <a:gd name="T47" fmla="*/ 17156 h 18310"/>
                <a:gd name="T48" fmla="*/ 1598 w 17675"/>
                <a:gd name="T49" fmla="*/ 17614 h 18310"/>
                <a:gd name="T50" fmla="*/ 1917 w 17675"/>
                <a:gd name="T51" fmla="*/ 17970 h 18310"/>
                <a:gd name="T52" fmla="*/ 2349 w 17675"/>
                <a:gd name="T53" fmla="*/ 18232 h 18310"/>
                <a:gd name="T54" fmla="*/ 2745 w 17675"/>
                <a:gd name="T55" fmla="*/ 18309 h 18310"/>
                <a:gd name="T56" fmla="*/ 3384 w 17675"/>
                <a:gd name="T57" fmla="*/ 18287 h 18310"/>
                <a:gd name="T58" fmla="*/ 4157 w 17675"/>
                <a:gd name="T59" fmla="*/ 18192 h 18310"/>
                <a:gd name="T60" fmla="*/ 5006 w 17675"/>
                <a:gd name="T61" fmla="*/ 18009 h 18310"/>
                <a:gd name="T62" fmla="*/ 6483 w 17675"/>
                <a:gd name="T63" fmla="*/ 17544 h 18310"/>
                <a:gd name="T64" fmla="*/ 7200 w 17675"/>
                <a:gd name="T65" fmla="*/ 17277 h 18310"/>
                <a:gd name="T66" fmla="*/ 8295 w 17675"/>
                <a:gd name="T67" fmla="*/ 16841 h 18310"/>
                <a:gd name="T68" fmla="*/ 8872 w 17675"/>
                <a:gd name="T69" fmla="*/ 16605 h 18310"/>
                <a:gd name="T70" fmla="*/ 9346 w 17675"/>
                <a:gd name="T71" fmla="*/ 16391 h 18310"/>
                <a:gd name="T72" fmla="*/ 10057 w 17675"/>
                <a:gd name="T73" fmla="*/ 16048 h 18310"/>
                <a:gd name="T74" fmla="*/ 10903 w 17675"/>
                <a:gd name="T75" fmla="*/ 15584 h 18310"/>
                <a:gd name="T76" fmla="*/ 11867 w 17675"/>
                <a:gd name="T77" fmla="*/ 14997 h 18310"/>
                <a:gd name="T78" fmla="*/ 12590 w 17675"/>
                <a:gd name="T79" fmla="*/ 14528 h 18310"/>
                <a:gd name="T80" fmla="*/ 13212 w 17675"/>
                <a:gd name="T81" fmla="*/ 14088 h 18310"/>
                <a:gd name="T82" fmla="*/ 14481 w 17675"/>
                <a:gd name="T83" fmla="*/ 13112 h 18310"/>
                <a:gd name="T84" fmla="*/ 14802 w 17675"/>
                <a:gd name="T85" fmla="*/ 12854 h 18310"/>
                <a:gd name="T86" fmla="*/ 15451 w 17675"/>
                <a:gd name="T87" fmla="*/ 12291 h 18310"/>
                <a:gd name="T88" fmla="*/ 15927 w 17675"/>
                <a:gd name="T89" fmla="*/ 11853 h 18310"/>
                <a:gd name="T90" fmla="*/ 16443 w 17675"/>
                <a:gd name="T91" fmla="*/ 11335 h 18310"/>
                <a:gd name="T92" fmla="*/ 16856 w 17675"/>
                <a:gd name="T93" fmla="*/ 10896 h 18310"/>
                <a:gd name="T94" fmla="*/ 17295 w 17675"/>
                <a:gd name="T95" fmla="*/ 10296 h 18310"/>
                <a:gd name="T96" fmla="*/ 17543 w 17675"/>
                <a:gd name="T97" fmla="*/ 9805 h 18310"/>
                <a:gd name="T98" fmla="*/ 17675 w 17675"/>
                <a:gd name="T99" fmla="*/ 9283 h 18310"/>
                <a:gd name="T100" fmla="*/ 17609 w 17675"/>
                <a:gd name="T101" fmla="*/ 8895 h 18310"/>
                <a:gd name="T102" fmla="*/ 17328 w 17675"/>
                <a:gd name="T103" fmla="*/ 8254 h 18310"/>
                <a:gd name="T104" fmla="*/ 16958 w 17675"/>
                <a:gd name="T105" fmla="*/ 7727 h 18310"/>
                <a:gd name="T106" fmla="*/ 16207 w 17675"/>
                <a:gd name="T107" fmla="*/ 6899 h 18310"/>
                <a:gd name="T108" fmla="*/ 14144 w 17675"/>
                <a:gd name="T109" fmla="*/ 5052 h 18310"/>
                <a:gd name="T110" fmla="*/ 13172 w 17675"/>
                <a:gd name="T111" fmla="*/ 4299 h 18310"/>
                <a:gd name="T112" fmla="*/ 12177 w 17675"/>
                <a:gd name="T113" fmla="*/ 3589 h 18310"/>
                <a:gd name="T114" fmla="*/ 11125 w 17675"/>
                <a:gd name="T115" fmla="*/ 2920 h 18310"/>
                <a:gd name="T116" fmla="*/ 10015 w 17675"/>
                <a:gd name="T117" fmla="*/ 2305 h 18310"/>
                <a:gd name="T118" fmla="*/ 9091 w 17675"/>
                <a:gd name="T119" fmla="*/ 1855 h 18310"/>
                <a:gd name="T120" fmla="*/ 8300 w 17675"/>
                <a:gd name="T121" fmla="*/ 1511 h 18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7675" h="18310">
                  <a:moveTo>
                    <a:pt x="8078" y="1426"/>
                  </a:moveTo>
                  <a:lnTo>
                    <a:pt x="8047" y="1409"/>
                  </a:lnTo>
                  <a:lnTo>
                    <a:pt x="8014" y="1392"/>
                  </a:lnTo>
                  <a:lnTo>
                    <a:pt x="7978" y="1376"/>
                  </a:lnTo>
                  <a:lnTo>
                    <a:pt x="7940" y="1360"/>
                  </a:lnTo>
                  <a:lnTo>
                    <a:pt x="7901" y="1345"/>
                  </a:lnTo>
                  <a:lnTo>
                    <a:pt x="7862" y="1330"/>
                  </a:lnTo>
                  <a:lnTo>
                    <a:pt x="7825" y="1315"/>
                  </a:lnTo>
                  <a:lnTo>
                    <a:pt x="7791" y="1301"/>
                  </a:lnTo>
                  <a:lnTo>
                    <a:pt x="7583" y="1213"/>
                  </a:lnTo>
                  <a:lnTo>
                    <a:pt x="7371" y="1125"/>
                  </a:lnTo>
                  <a:lnTo>
                    <a:pt x="7158" y="1038"/>
                  </a:lnTo>
                  <a:lnTo>
                    <a:pt x="6943" y="953"/>
                  </a:lnTo>
                  <a:lnTo>
                    <a:pt x="6836" y="911"/>
                  </a:lnTo>
                  <a:lnTo>
                    <a:pt x="6727" y="869"/>
                  </a:lnTo>
                  <a:lnTo>
                    <a:pt x="6618" y="827"/>
                  </a:lnTo>
                  <a:lnTo>
                    <a:pt x="6508" y="787"/>
                  </a:lnTo>
                  <a:lnTo>
                    <a:pt x="6400" y="747"/>
                  </a:lnTo>
                  <a:lnTo>
                    <a:pt x="6290" y="707"/>
                  </a:lnTo>
                  <a:lnTo>
                    <a:pt x="6180" y="668"/>
                  </a:lnTo>
                  <a:lnTo>
                    <a:pt x="6070" y="631"/>
                  </a:lnTo>
                  <a:lnTo>
                    <a:pt x="5959" y="593"/>
                  </a:lnTo>
                  <a:lnTo>
                    <a:pt x="5848" y="556"/>
                  </a:lnTo>
                  <a:lnTo>
                    <a:pt x="5737" y="521"/>
                  </a:lnTo>
                  <a:lnTo>
                    <a:pt x="5626" y="485"/>
                  </a:lnTo>
                  <a:lnTo>
                    <a:pt x="5515" y="451"/>
                  </a:lnTo>
                  <a:lnTo>
                    <a:pt x="5404" y="418"/>
                  </a:lnTo>
                  <a:lnTo>
                    <a:pt x="5292" y="386"/>
                  </a:lnTo>
                  <a:lnTo>
                    <a:pt x="5181" y="355"/>
                  </a:lnTo>
                  <a:lnTo>
                    <a:pt x="5069" y="324"/>
                  </a:lnTo>
                  <a:lnTo>
                    <a:pt x="4958" y="295"/>
                  </a:lnTo>
                  <a:lnTo>
                    <a:pt x="4846" y="267"/>
                  </a:lnTo>
                  <a:lnTo>
                    <a:pt x="4735" y="240"/>
                  </a:lnTo>
                  <a:lnTo>
                    <a:pt x="4623" y="215"/>
                  </a:lnTo>
                  <a:lnTo>
                    <a:pt x="4511" y="191"/>
                  </a:lnTo>
                  <a:lnTo>
                    <a:pt x="4400" y="168"/>
                  </a:lnTo>
                  <a:lnTo>
                    <a:pt x="4287" y="146"/>
                  </a:lnTo>
                  <a:lnTo>
                    <a:pt x="4234" y="136"/>
                  </a:lnTo>
                  <a:lnTo>
                    <a:pt x="4162" y="125"/>
                  </a:lnTo>
                  <a:lnTo>
                    <a:pt x="4075" y="112"/>
                  </a:lnTo>
                  <a:lnTo>
                    <a:pt x="3975" y="98"/>
                  </a:lnTo>
                  <a:lnTo>
                    <a:pt x="3865" y="84"/>
                  </a:lnTo>
                  <a:lnTo>
                    <a:pt x="3749" y="69"/>
                  </a:lnTo>
                  <a:lnTo>
                    <a:pt x="3627" y="54"/>
                  </a:lnTo>
                  <a:lnTo>
                    <a:pt x="3504" y="40"/>
                  </a:lnTo>
                  <a:lnTo>
                    <a:pt x="3381" y="27"/>
                  </a:lnTo>
                  <a:lnTo>
                    <a:pt x="3262" y="17"/>
                  </a:lnTo>
                  <a:lnTo>
                    <a:pt x="3148" y="8"/>
                  </a:lnTo>
                  <a:lnTo>
                    <a:pt x="3043" y="2"/>
                  </a:lnTo>
                  <a:lnTo>
                    <a:pt x="2994" y="1"/>
                  </a:lnTo>
                  <a:lnTo>
                    <a:pt x="2949" y="0"/>
                  </a:lnTo>
                  <a:lnTo>
                    <a:pt x="2908" y="0"/>
                  </a:lnTo>
                  <a:lnTo>
                    <a:pt x="2869" y="1"/>
                  </a:lnTo>
                  <a:lnTo>
                    <a:pt x="2834" y="3"/>
                  </a:lnTo>
                  <a:lnTo>
                    <a:pt x="2806" y="7"/>
                  </a:lnTo>
                  <a:lnTo>
                    <a:pt x="2780" y="11"/>
                  </a:lnTo>
                  <a:lnTo>
                    <a:pt x="2761" y="17"/>
                  </a:lnTo>
                  <a:lnTo>
                    <a:pt x="2724" y="19"/>
                  </a:lnTo>
                  <a:lnTo>
                    <a:pt x="2689" y="24"/>
                  </a:lnTo>
                  <a:lnTo>
                    <a:pt x="2655" y="29"/>
                  </a:lnTo>
                  <a:lnTo>
                    <a:pt x="2620" y="35"/>
                  </a:lnTo>
                  <a:lnTo>
                    <a:pt x="2586" y="43"/>
                  </a:lnTo>
                  <a:lnTo>
                    <a:pt x="2552" y="53"/>
                  </a:lnTo>
                  <a:lnTo>
                    <a:pt x="2518" y="63"/>
                  </a:lnTo>
                  <a:lnTo>
                    <a:pt x="2486" y="73"/>
                  </a:lnTo>
                  <a:lnTo>
                    <a:pt x="2454" y="85"/>
                  </a:lnTo>
                  <a:lnTo>
                    <a:pt x="2423" y="97"/>
                  </a:lnTo>
                  <a:lnTo>
                    <a:pt x="2393" y="111"/>
                  </a:lnTo>
                  <a:lnTo>
                    <a:pt x="2363" y="125"/>
                  </a:lnTo>
                  <a:lnTo>
                    <a:pt x="2333" y="138"/>
                  </a:lnTo>
                  <a:lnTo>
                    <a:pt x="2306" y="153"/>
                  </a:lnTo>
                  <a:lnTo>
                    <a:pt x="2278" y="169"/>
                  </a:lnTo>
                  <a:lnTo>
                    <a:pt x="2252" y="184"/>
                  </a:lnTo>
                  <a:lnTo>
                    <a:pt x="2218" y="205"/>
                  </a:lnTo>
                  <a:lnTo>
                    <a:pt x="2187" y="224"/>
                  </a:lnTo>
                  <a:lnTo>
                    <a:pt x="2158" y="244"/>
                  </a:lnTo>
                  <a:lnTo>
                    <a:pt x="2132" y="262"/>
                  </a:lnTo>
                  <a:lnTo>
                    <a:pt x="2108" y="280"/>
                  </a:lnTo>
                  <a:lnTo>
                    <a:pt x="2086" y="298"/>
                  </a:lnTo>
                  <a:lnTo>
                    <a:pt x="2065" y="315"/>
                  </a:lnTo>
                  <a:lnTo>
                    <a:pt x="2046" y="332"/>
                  </a:lnTo>
                  <a:lnTo>
                    <a:pt x="2007" y="367"/>
                  </a:lnTo>
                  <a:lnTo>
                    <a:pt x="1968" y="405"/>
                  </a:lnTo>
                  <a:lnTo>
                    <a:pt x="1927" y="446"/>
                  </a:lnTo>
                  <a:lnTo>
                    <a:pt x="1878" y="491"/>
                  </a:lnTo>
                  <a:lnTo>
                    <a:pt x="1866" y="504"/>
                  </a:lnTo>
                  <a:lnTo>
                    <a:pt x="1853" y="517"/>
                  </a:lnTo>
                  <a:lnTo>
                    <a:pt x="1838" y="533"/>
                  </a:lnTo>
                  <a:lnTo>
                    <a:pt x="1823" y="550"/>
                  </a:lnTo>
                  <a:lnTo>
                    <a:pt x="1790" y="592"/>
                  </a:lnTo>
                  <a:lnTo>
                    <a:pt x="1754" y="637"/>
                  </a:lnTo>
                  <a:lnTo>
                    <a:pt x="1717" y="689"/>
                  </a:lnTo>
                  <a:lnTo>
                    <a:pt x="1679" y="744"/>
                  </a:lnTo>
                  <a:lnTo>
                    <a:pt x="1639" y="802"/>
                  </a:lnTo>
                  <a:lnTo>
                    <a:pt x="1600" y="863"/>
                  </a:lnTo>
                  <a:lnTo>
                    <a:pt x="1561" y="926"/>
                  </a:lnTo>
                  <a:lnTo>
                    <a:pt x="1524" y="988"/>
                  </a:lnTo>
                  <a:lnTo>
                    <a:pt x="1488" y="1051"/>
                  </a:lnTo>
                  <a:lnTo>
                    <a:pt x="1454" y="1111"/>
                  </a:lnTo>
                  <a:lnTo>
                    <a:pt x="1425" y="1170"/>
                  </a:lnTo>
                  <a:lnTo>
                    <a:pt x="1398" y="1226"/>
                  </a:lnTo>
                  <a:lnTo>
                    <a:pt x="1387" y="1252"/>
                  </a:lnTo>
                  <a:lnTo>
                    <a:pt x="1377" y="1277"/>
                  </a:lnTo>
                  <a:lnTo>
                    <a:pt x="1367" y="1301"/>
                  </a:lnTo>
                  <a:lnTo>
                    <a:pt x="1359" y="1323"/>
                  </a:lnTo>
                  <a:lnTo>
                    <a:pt x="1340" y="1362"/>
                  </a:lnTo>
                  <a:lnTo>
                    <a:pt x="1320" y="1404"/>
                  </a:lnTo>
                  <a:lnTo>
                    <a:pt x="1300" y="1449"/>
                  </a:lnTo>
                  <a:lnTo>
                    <a:pt x="1280" y="1496"/>
                  </a:lnTo>
                  <a:lnTo>
                    <a:pt x="1261" y="1545"/>
                  </a:lnTo>
                  <a:lnTo>
                    <a:pt x="1241" y="1596"/>
                  </a:lnTo>
                  <a:lnTo>
                    <a:pt x="1222" y="1648"/>
                  </a:lnTo>
                  <a:lnTo>
                    <a:pt x="1204" y="1702"/>
                  </a:lnTo>
                  <a:lnTo>
                    <a:pt x="1167" y="1808"/>
                  </a:lnTo>
                  <a:lnTo>
                    <a:pt x="1133" y="1915"/>
                  </a:lnTo>
                  <a:lnTo>
                    <a:pt x="1101" y="2016"/>
                  </a:lnTo>
                  <a:lnTo>
                    <a:pt x="1071" y="2110"/>
                  </a:lnTo>
                  <a:lnTo>
                    <a:pt x="1055" y="2162"/>
                  </a:lnTo>
                  <a:lnTo>
                    <a:pt x="1039" y="2213"/>
                  </a:lnTo>
                  <a:lnTo>
                    <a:pt x="1023" y="2264"/>
                  </a:lnTo>
                  <a:lnTo>
                    <a:pt x="1008" y="2315"/>
                  </a:lnTo>
                  <a:lnTo>
                    <a:pt x="992" y="2367"/>
                  </a:lnTo>
                  <a:lnTo>
                    <a:pt x="976" y="2418"/>
                  </a:lnTo>
                  <a:lnTo>
                    <a:pt x="960" y="2471"/>
                  </a:lnTo>
                  <a:lnTo>
                    <a:pt x="944" y="2523"/>
                  </a:lnTo>
                  <a:lnTo>
                    <a:pt x="929" y="2573"/>
                  </a:lnTo>
                  <a:lnTo>
                    <a:pt x="913" y="2626"/>
                  </a:lnTo>
                  <a:lnTo>
                    <a:pt x="896" y="2682"/>
                  </a:lnTo>
                  <a:lnTo>
                    <a:pt x="880" y="2740"/>
                  </a:lnTo>
                  <a:lnTo>
                    <a:pt x="864" y="2797"/>
                  </a:lnTo>
                  <a:lnTo>
                    <a:pt x="849" y="2852"/>
                  </a:lnTo>
                  <a:lnTo>
                    <a:pt x="836" y="2906"/>
                  </a:lnTo>
                  <a:lnTo>
                    <a:pt x="827" y="2955"/>
                  </a:lnTo>
                  <a:lnTo>
                    <a:pt x="818" y="2977"/>
                  </a:lnTo>
                  <a:lnTo>
                    <a:pt x="809" y="3003"/>
                  </a:lnTo>
                  <a:lnTo>
                    <a:pt x="800" y="3033"/>
                  </a:lnTo>
                  <a:lnTo>
                    <a:pt x="790" y="3067"/>
                  </a:lnTo>
                  <a:lnTo>
                    <a:pt x="770" y="3142"/>
                  </a:lnTo>
                  <a:lnTo>
                    <a:pt x="749" y="3225"/>
                  </a:lnTo>
                  <a:lnTo>
                    <a:pt x="730" y="3310"/>
                  </a:lnTo>
                  <a:lnTo>
                    <a:pt x="712" y="3390"/>
                  </a:lnTo>
                  <a:lnTo>
                    <a:pt x="696" y="3461"/>
                  </a:lnTo>
                  <a:lnTo>
                    <a:pt x="683" y="3519"/>
                  </a:lnTo>
                  <a:lnTo>
                    <a:pt x="666" y="3593"/>
                  </a:lnTo>
                  <a:lnTo>
                    <a:pt x="649" y="3667"/>
                  </a:lnTo>
                  <a:lnTo>
                    <a:pt x="633" y="3740"/>
                  </a:lnTo>
                  <a:lnTo>
                    <a:pt x="617" y="3813"/>
                  </a:lnTo>
                  <a:lnTo>
                    <a:pt x="601" y="3886"/>
                  </a:lnTo>
                  <a:lnTo>
                    <a:pt x="585" y="3960"/>
                  </a:lnTo>
                  <a:lnTo>
                    <a:pt x="569" y="4033"/>
                  </a:lnTo>
                  <a:lnTo>
                    <a:pt x="553" y="4108"/>
                  </a:lnTo>
                  <a:lnTo>
                    <a:pt x="537" y="4182"/>
                  </a:lnTo>
                  <a:lnTo>
                    <a:pt x="522" y="4256"/>
                  </a:lnTo>
                  <a:lnTo>
                    <a:pt x="506" y="4330"/>
                  </a:lnTo>
                  <a:lnTo>
                    <a:pt x="491" y="4406"/>
                  </a:lnTo>
                  <a:lnTo>
                    <a:pt x="476" y="4483"/>
                  </a:lnTo>
                  <a:lnTo>
                    <a:pt x="461" y="4559"/>
                  </a:lnTo>
                  <a:lnTo>
                    <a:pt x="447" y="4636"/>
                  </a:lnTo>
                  <a:lnTo>
                    <a:pt x="433" y="4714"/>
                  </a:lnTo>
                  <a:lnTo>
                    <a:pt x="419" y="4791"/>
                  </a:lnTo>
                  <a:lnTo>
                    <a:pt x="405" y="4868"/>
                  </a:lnTo>
                  <a:lnTo>
                    <a:pt x="392" y="4946"/>
                  </a:lnTo>
                  <a:lnTo>
                    <a:pt x="380" y="5024"/>
                  </a:lnTo>
                  <a:lnTo>
                    <a:pt x="367" y="5100"/>
                  </a:lnTo>
                  <a:lnTo>
                    <a:pt x="356" y="5177"/>
                  </a:lnTo>
                  <a:lnTo>
                    <a:pt x="346" y="5253"/>
                  </a:lnTo>
                  <a:lnTo>
                    <a:pt x="335" y="5328"/>
                  </a:lnTo>
                  <a:lnTo>
                    <a:pt x="320" y="5442"/>
                  </a:lnTo>
                  <a:lnTo>
                    <a:pt x="304" y="5555"/>
                  </a:lnTo>
                  <a:lnTo>
                    <a:pt x="289" y="5668"/>
                  </a:lnTo>
                  <a:lnTo>
                    <a:pt x="275" y="5781"/>
                  </a:lnTo>
                  <a:lnTo>
                    <a:pt x="259" y="5896"/>
                  </a:lnTo>
                  <a:lnTo>
                    <a:pt x="244" y="6009"/>
                  </a:lnTo>
                  <a:lnTo>
                    <a:pt x="229" y="6124"/>
                  </a:lnTo>
                  <a:lnTo>
                    <a:pt x="214" y="6238"/>
                  </a:lnTo>
                  <a:lnTo>
                    <a:pt x="199" y="6352"/>
                  </a:lnTo>
                  <a:lnTo>
                    <a:pt x="185" y="6467"/>
                  </a:lnTo>
                  <a:lnTo>
                    <a:pt x="173" y="6581"/>
                  </a:lnTo>
                  <a:lnTo>
                    <a:pt x="160" y="6697"/>
                  </a:lnTo>
                  <a:lnTo>
                    <a:pt x="148" y="6811"/>
                  </a:lnTo>
                  <a:lnTo>
                    <a:pt x="137" y="6927"/>
                  </a:lnTo>
                  <a:lnTo>
                    <a:pt x="127" y="7042"/>
                  </a:lnTo>
                  <a:lnTo>
                    <a:pt x="119" y="7158"/>
                  </a:lnTo>
                  <a:lnTo>
                    <a:pt x="105" y="7319"/>
                  </a:lnTo>
                  <a:lnTo>
                    <a:pt x="92" y="7481"/>
                  </a:lnTo>
                  <a:lnTo>
                    <a:pt x="79" y="7643"/>
                  </a:lnTo>
                  <a:lnTo>
                    <a:pt x="65" y="7805"/>
                  </a:lnTo>
                  <a:lnTo>
                    <a:pt x="54" y="7967"/>
                  </a:lnTo>
                  <a:lnTo>
                    <a:pt x="42" y="8130"/>
                  </a:lnTo>
                  <a:lnTo>
                    <a:pt x="31" y="8293"/>
                  </a:lnTo>
                  <a:lnTo>
                    <a:pt x="22" y="8456"/>
                  </a:lnTo>
                  <a:lnTo>
                    <a:pt x="14" y="8619"/>
                  </a:lnTo>
                  <a:lnTo>
                    <a:pt x="8" y="8782"/>
                  </a:lnTo>
                  <a:lnTo>
                    <a:pt x="3" y="8946"/>
                  </a:lnTo>
                  <a:lnTo>
                    <a:pt x="0" y="9109"/>
                  </a:lnTo>
                  <a:lnTo>
                    <a:pt x="0" y="9190"/>
                  </a:lnTo>
                  <a:lnTo>
                    <a:pt x="0" y="9273"/>
                  </a:lnTo>
                  <a:lnTo>
                    <a:pt x="1" y="9354"/>
                  </a:lnTo>
                  <a:lnTo>
                    <a:pt x="2" y="9437"/>
                  </a:lnTo>
                  <a:lnTo>
                    <a:pt x="3" y="9518"/>
                  </a:lnTo>
                  <a:lnTo>
                    <a:pt x="7" y="9599"/>
                  </a:lnTo>
                  <a:lnTo>
                    <a:pt x="10" y="9681"/>
                  </a:lnTo>
                  <a:lnTo>
                    <a:pt x="14" y="9763"/>
                  </a:lnTo>
                  <a:lnTo>
                    <a:pt x="21" y="9885"/>
                  </a:lnTo>
                  <a:lnTo>
                    <a:pt x="27" y="10006"/>
                  </a:lnTo>
                  <a:lnTo>
                    <a:pt x="34" y="10128"/>
                  </a:lnTo>
                  <a:lnTo>
                    <a:pt x="41" y="10249"/>
                  </a:lnTo>
                  <a:lnTo>
                    <a:pt x="47" y="10369"/>
                  </a:lnTo>
                  <a:lnTo>
                    <a:pt x="54" y="10490"/>
                  </a:lnTo>
                  <a:lnTo>
                    <a:pt x="61" y="10611"/>
                  </a:lnTo>
                  <a:lnTo>
                    <a:pt x="68" y="10731"/>
                  </a:lnTo>
                  <a:lnTo>
                    <a:pt x="74" y="10851"/>
                  </a:lnTo>
                  <a:lnTo>
                    <a:pt x="82" y="10971"/>
                  </a:lnTo>
                  <a:lnTo>
                    <a:pt x="90" y="11091"/>
                  </a:lnTo>
                  <a:lnTo>
                    <a:pt x="98" y="11213"/>
                  </a:lnTo>
                  <a:lnTo>
                    <a:pt x="108" y="11333"/>
                  </a:lnTo>
                  <a:lnTo>
                    <a:pt x="117" y="11454"/>
                  </a:lnTo>
                  <a:lnTo>
                    <a:pt x="127" y="11575"/>
                  </a:lnTo>
                  <a:lnTo>
                    <a:pt x="138" y="11697"/>
                  </a:lnTo>
                  <a:lnTo>
                    <a:pt x="149" y="11811"/>
                  </a:lnTo>
                  <a:lnTo>
                    <a:pt x="160" y="11926"/>
                  </a:lnTo>
                  <a:lnTo>
                    <a:pt x="172" y="12040"/>
                  </a:lnTo>
                  <a:lnTo>
                    <a:pt x="184" y="12154"/>
                  </a:lnTo>
                  <a:lnTo>
                    <a:pt x="197" y="12269"/>
                  </a:lnTo>
                  <a:lnTo>
                    <a:pt x="209" y="12383"/>
                  </a:lnTo>
                  <a:lnTo>
                    <a:pt x="223" y="12498"/>
                  </a:lnTo>
                  <a:lnTo>
                    <a:pt x="237" y="12611"/>
                  </a:lnTo>
                  <a:lnTo>
                    <a:pt x="252" y="12725"/>
                  </a:lnTo>
                  <a:lnTo>
                    <a:pt x="267" y="12839"/>
                  </a:lnTo>
                  <a:lnTo>
                    <a:pt x="281" y="12953"/>
                  </a:lnTo>
                  <a:lnTo>
                    <a:pt x="298" y="13066"/>
                  </a:lnTo>
                  <a:lnTo>
                    <a:pt x="314" y="13180"/>
                  </a:lnTo>
                  <a:lnTo>
                    <a:pt x="331" y="13293"/>
                  </a:lnTo>
                  <a:lnTo>
                    <a:pt x="349" y="13406"/>
                  </a:lnTo>
                  <a:lnTo>
                    <a:pt x="366" y="13519"/>
                  </a:lnTo>
                  <a:lnTo>
                    <a:pt x="398" y="13707"/>
                  </a:lnTo>
                  <a:lnTo>
                    <a:pt x="433" y="13905"/>
                  </a:lnTo>
                  <a:lnTo>
                    <a:pt x="470" y="14110"/>
                  </a:lnTo>
                  <a:lnTo>
                    <a:pt x="511" y="14322"/>
                  </a:lnTo>
                  <a:lnTo>
                    <a:pt x="555" y="14538"/>
                  </a:lnTo>
                  <a:lnTo>
                    <a:pt x="602" y="14757"/>
                  </a:lnTo>
                  <a:lnTo>
                    <a:pt x="650" y="14979"/>
                  </a:lnTo>
                  <a:lnTo>
                    <a:pt x="701" y="15200"/>
                  </a:lnTo>
                  <a:lnTo>
                    <a:pt x="729" y="15311"/>
                  </a:lnTo>
                  <a:lnTo>
                    <a:pt x="755" y="15420"/>
                  </a:lnTo>
                  <a:lnTo>
                    <a:pt x="784" y="15530"/>
                  </a:lnTo>
                  <a:lnTo>
                    <a:pt x="811" y="15639"/>
                  </a:lnTo>
                  <a:lnTo>
                    <a:pt x="840" y="15747"/>
                  </a:lnTo>
                  <a:lnTo>
                    <a:pt x="870" y="15854"/>
                  </a:lnTo>
                  <a:lnTo>
                    <a:pt x="899" y="15959"/>
                  </a:lnTo>
                  <a:lnTo>
                    <a:pt x="929" y="16064"/>
                  </a:lnTo>
                  <a:lnTo>
                    <a:pt x="960" y="16165"/>
                  </a:lnTo>
                  <a:lnTo>
                    <a:pt x="991" y="16266"/>
                  </a:lnTo>
                  <a:lnTo>
                    <a:pt x="1022" y="16365"/>
                  </a:lnTo>
                  <a:lnTo>
                    <a:pt x="1054" y="16461"/>
                  </a:lnTo>
                  <a:lnTo>
                    <a:pt x="1086" y="16556"/>
                  </a:lnTo>
                  <a:lnTo>
                    <a:pt x="1119" y="16646"/>
                  </a:lnTo>
                  <a:lnTo>
                    <a:pt x="1152" y="16735"/>
                  </a:lnTo>
                  <a:lnTo>
                    <a:pt x="1185" y="16821"/>
                  </a:lnTo>
                  <a:lnTo>
                    <a:pt x="1225" y="16920"/>
                  </a:lnTo>
                  <a:lnTo>
                    <a:pt x="1267" y="17017"/>
                  </a:lnTo>
                  <a:lnTo>
                    <a:pt x="1288" y="17064"/>
                  </a:lnTo>
                  <a:lnTo>
                    <a:pt x="1310" y="17111"/>
                  </a:lnTo>
                  <a:lnTo>
                    <a:pt x="1332" y="17156"/>
                  </a:lnTo>
                  <a:lnTo>
                    <a:pt x="1354" y="17202"/>
                  </a:lnTo>
                  <a:lnTo>
                    <a:pt x="1377" y="17247"/>
                  </a:lnTo>
                  <a:lnTo>
                    <a:pt x="1399" y="17290"/>
                  </a:lnTo>
                  <a:lnTo>
                    <a:pt x="1423" y="17334"/>
                  </a:lnTo>
                  <a:lnTo>
                    <a:pt x="1447" y="17376"/>
                  </a:lnTo>
                  <a:lnTo>
                    <a:pt x="1471" y="17417"/>
                  </a:lnTo>
                  <a:lnTo>
                    <a:pt x="1496" y="17459"/>
                  </a:lnTo>
                  <a:lnTo>
                    <a:pt x="1521" y="17499"/>
                  </a:lnTo>
                  <a:lnTo>
                    <a:pt x="1546" y="17538"/>
                  </a:lnTo>
                  <a:lnTo>
                    <a:pt x="1572" y="17576"/>
                  </a:lnTo>
                  <a:lnTo>
                    <a:pt x="1598" y="17614"/>
                  </a:lnTo>
                  <a:lnTo>
                    <a:pt x="1625" y="17651"/>
                  </a:lnTo>
                  <a:lnTo>
                    <a:pt x="1652" y="17687"/>
                  </a:lnTo>
                  <a:lnTo>
                    <a:pt x="1680" y="17722"/>
                  </a:lnTo>
                  <a:lnTo>
                    <a:pt x="1707" y="17756"/>
                  </a:lnTo>
                  <a:lnTo>
                    <a:pt x="1736" y="17789"/>
                  </a:lnTo>
                  <a:lnTo>
                    <a:pt x="1764" y="17822"/>
                  </a:lnTo>
                  <a:lnTo>
                    <a:pt x="1794" y="17853"/>
                  </a:lnTo>
                  <a:lnTo>
                    <a:pt x="1824" y="17884"/>
                  </a:lnTo>
                  <a:lnTo>
                    <a:pt x="1854" y="17914"/>
                  </a:lnTo>
                  <a:lnTo>
                    <a:pt x="1885" y="17943"/>
                  </a:lnTo>
                  <a:lnTo>
                    <a:pt x="1917" y="17970"/>
                  </a:lnTo>
                  <a:lnTo>
                    <a:pt x="1947" y="17998"/>
                  </a:lnTo>
                  <a:lnTo>
                    <a:pt x="1980" y="18023"/>
                  </a:lnTo>
                  <a:lnTo>
                    <a:pt x="2013" y="18048"/>
                  </a:lnTo>
                  <a:lnTo>
                    <a:pt x="2052" y="18075"/>
                  </a:lnTo>
                  <a:lnTo>
                    <a:pt x="2091" y="18102"/>
                  </a:lnTo>
                  <a:lnTo>
                    <a:pt x="2132" y="18127"/>
                  </a:lnTo>
                  <a:lnTo>
                    <a:pt x="2173" y="18151"/>
                  </a:lnTo>
                  <a:lnTo>
                    <a:pt x="2215" y="18174"/>
                  </a:lnTo>
                  <a:lnTo>
                    <a:pt x="2259" y="18194"/>
                  </a:lnTo>
                  <a:lnTo>
                    <a:pt x="2303" y="18214"/>
                  </a:lnTo>
                  <a:lnTo>
                    <a:pt x="2349" y="18232"/>
                  </a:lnTo>
                  <a:lnTo>
                    <a:pt x="2397" y="18249"/>
                  </a:lnTo>
                  <a:lnTo>
                    <a:pt x="2446" y="18264"/>
                  </a:lnTo>
                  <a:lnTo>
                    <a:pt x="2497" y="18277"/>
                  </a:lnTo>
                  <a:lnTo>
                    <a:pt x="2549" y="18287"/>
                  </a:lnTo>
                  <a:lnTo>
                    <a:pt x="2576" y="18292"/>
                  </a:lnTo>
                  <a:lnTo>
                    <a:pt x="2603" y="18296"/>
                  </a:lnTo>
                  <a:lnTo>
                    <a:pt x="2631" y="18300"/>
                  </a:lnTo>
                  <a:lnTo>
                    <a:pt x="2658" y="18303"/>
                  </a:lnTo>
                  <a:lnTo>
                    <a:pt x="2687" y="18305"/>
                  </a:lnTo>
                  <a:lnTo>
                    <a:pt x="2716" y="18308"/>
                  </a:lnTo>
                  <a:lnTo>
                    <a:pt x="2745" y="18309"/>
                  </a:lnTo>
                  <a:lnTo>
                    <a:pt x="2776" y="18309"/>
                  </a:lnTo>
                  <a:lnTo>
                    <a:pt x="2835" y="18310"/>
                  </a:lnTo>
                  <a:lnTo>
                    <a:pt x="2896" y="18310"/>
                  </a:lnTo>
                  <a:lnTo>
                    <a:pt x="2957" y="18309"/>
                  </a:lnTo>
                  <a:lnTo>
                    <a:pt x="3017" y="18308"/>
                  </a:lnTo>
                  <a:lnTo>
                    <a:pt x="3079" y="18305"/>
                  </a:lnTo>
                  <a:lnTo>
                    <a:pt x="3140" y="18303"/>
                  </a:lnTo>
                  <a:lnTo>
                    <a:pt x="3200" y="18300"/>
                  </a:lnTo>
                  <a:lnTo>
                    <a:pt x="3262" y="18296"/>
                  </a:lnTo>
                  <a:lnTo>
                    <a:pt x="3323" y="18292"/>
                  </a:lnTo>
                  <a:lnTo>
                    <a:pt x="3384" y="18287"/>
                  </a:lnTo>
                  <a:lnTo>
                    <a:pt x="3444" y="18283"/>
                  </a:lnTo>
                  <a:lnTo>
                    <a:pt x="3505" y="18277"/>
                  </a:lnTo>
                  <a:lnTo>
                    <a:pt x="3565" y="18271"/>
                  </a:lnTo>
                  <a:lnTo>
                    <a:pt x="3625" y="18264"/>
                  </a:lnTo>
                  <a:lnTo>
                    <a:pt x="3686" y="18257"/>
                  </a:lnTo>
                  <a:lnTo>
                    <a:pt x="3745" y="18250"/>
                  </a:lnTo>
                  <a:lnTo>
                    <a:pt x="3829" y="18240"/>
                  </a:lnTo>
                  <a:lnTo>
                    <a:pt x="3912" y="18230"/>
                  </a:lnTo>
                  <a:lnTo>
                    <a:pt x="3995" y="18218"/>
                  </a:lnTo>
                  <a:lnTo>
                    <a:pt x="4076" y="18206"/>
                  </a:lnTo>
                  <a:lnTo>
                    <a:pt x="4157" y="18192"/>
                  </a:lnTo>
                  <a:lnTo>
                    <a:pt x="4236" y="18178"/>
                  </a:lnTo>
                  <a:lnTo>
                    <a:pt x="4316" y="18165"/>
                  </a:lnTo>
                  <a:lnTo>
                    <a:pt x="4395" y="18150"/>
                  </a:lnTo>
                  <a:lnTo>
                    <a:pt x="4473" y="18134"/>
                  </a:lnTo>
                  <a:lnTo>
                    <a:pt x="4549" y="18118"/>
                  </a:lnTo>
                  <a:lnTo>
                    <a:pt x="4627" y="18101"/>
                  </a:lnTo>
                  <a:lnTo>
                    <a:pt x="4704" y="18083"/>
                  </a:lnTo>
                  <a:lnTo>
                    <a:pt x="4779" y="18066"/>
                  </a:lnTo>
                  <a:lnTo>
                    <a:pt x="4855" y="18048"/>
                  </a:lnTo>
                  <a:lnTo>
                    <a:pt x="4931" y="18028"/>
                  </a:lnTo>
                  <a:lnTo>
                    <a:pt x="5006" y="18009"/>
                  </a:lnTo>
                  <a:lnTo>
                    <a:pt x="5156" y="17969"/>
                  </a:lnTo>
                  <a:lnTo>
                    <a:pt x="5305" y="17927"/>
                  </a:lnTo>
                  <a:lnTo>
                    <a:pt x="5455" y="17882"/>
                  </a:lnTo>
                  <a:lnTo>
                    <a:pt x="5603" y="17836"/>
                  </a:lnTo>
                  <a:lnTo>
                    <a:pt x="5753" y="17789"/>
                  </a:lnTo>
                  <a:lnTo>
                    <a:pt x="5904" y="17741"/>
                  </a:lnTo>
                  <a:lnTo>
                    <a:pt x="6056" y="17691"/>
                  </a:lnTo>
                  <a:lnTo>
                    <a:pt x="6211" y="17639"/>
                  </a:lnTo>
                  <a:lnTo>
                    <a:pt x="6273" y="17619"/>
                  </a:lnTo>
                  <a:lnTo>
                    <a:pt x="6368" y="17586"/>
                  </a:lnTo>
                  <a:lnTo>
                    <a:pt x="6483" y="17544"/>
                  </a:lnTo>
                  <a:lnTo>
                    <a:pt x="6608" y="17501"/>
                  </a:lnTo>
                  <a:lnTo>
                    <a:pt x="6729" y="17456"/>
                  </a:lnTo>
                  <a:lnTo>
                    <a:pt x="6837" y="17415"/>
                  </a:lnTo>
                  <a:lnTo>
                    <a:pt x="6881" y="17398"/>
                  </a:lnTo>
                  <a:lnTo>
                    <a:pt x="6917" y="17382"/>
                  </a:lnTo>
                  <a:lnTo>
                    <a:pt x="6943" y="17369"/>
                  </a:lnTo>
                  <a:lnTo>
                    <a:pt x="6959" y="17361"/>
                  </a:lnTo>
                  <a:lnTo>
                    <a:pt x="6994" y="17351"/>
                  </a:lnTo>
                  <a:lnTo>
                    <a:pt x="7046" y="17333"/>
                  </a:lnTo>
                  <a:lnTo>
                    <a:pt x="7116" y="17308"/>
                  </a:lnTo>
                  <a:lnTo>
                    <a:pt x="7200" y="17277"/>
                  </a:lnTo>
                  <a:lnTo>
                    <a:pt x="7294" y="17240"/>
                  </a:lnTo>
                  <a:lnTo>
                    <a:pt x="7397" y="17200"/>
                  </a:lnTo>
                  <a:lnTo>
                    <a:pt x="7507" y="17156"/>
                  </a:lnTo>
                  <a:lnTo>
                    <a:pt x="7621" y="17112"/>
                  </a:lnTo>
                  <a:lnTo>
                    <a:pt x="7734" y="17066"/>
                  </a:lnTo>
                  <a:lnTo>
                    <a:pt x="7846" y="17021"/>
                  </a:lnTo>
                  <a:lnTo>
                    <a:pt x="7955" y="16977"/>
                  </a:lnTo>
                  <a:lnTo>
                    <a:pt x="8057" y="16937"/>
                  </a:lnTo>
                  <a:lnTo>
                    <a:pt x="8148" y="16899"/>
                  </a:lnTo>
                  <a:lnTo>
                    <a:pt x="8228" y="16867"/>
                  </a:lnTo>
                  <a:lnTo>
                    <a:pt x="8295" y="16841"/>
                  </a:lnTo>
                  <a:lnTo>
                    <a:pt x="8344" y="16821"/>
                  </a:lnTo>
                  <a:lnTo>
                    <a:pt x="8396" y="16799"/>
                  </a:lnTo>
                  <a:lnTo>
                    <a:pt x="8454" y="16778"/>
                  </a:lnTo>
                  <a:lnTo>
                    <a:pt x="8513" y="16755"/>
                  </a:lnTo>
                  <a:lnTo>
                    <a:pt x="8574" y="16731"/>
                  </a:lnTo>
                  <a:lnTo>
                    <a:pt x="8633" y="16707"/>
                  </a:lnTo>
                  <a:lnTo>
                    <a:pt x="8690" y="16682"/>
                  </a:lnTo>
                  <a:lnTo>
                    <a:pt x="8744" y="16658"/>
                  </a:lnTo>
                  <a:lnTo>
                    <a:pt x="8792" y="16633"/>
                  </a:lnTo>
                  <a:lnTo>
                    <a:pt x="8829" y="16621"/>
                  </a:lnTo>
                  <a:lnTo>
                    <a:pt x="8872" y="16605"/>
                  </a:lnTo>
                  <a:lnTo>
                    <a:pt x="8918" y="16587"/>
                  </a:lnTo>
                  <a:lnTo>
                    <a:pt x="8965" y="16565"/>
                  </a:lnTo>
                  <a:lnTo>
                    <a:pt x="9013" y="16543"/>
                  </a:lnTo>
                  <a:lnTo>
                    <a:pt x="9059" y="16522"/>
                  </a:lnTo>
                  <a:lnTo>
                    <a:pt x="9100" y="16502"/>
                  </a:lnTo>
                  <a:lnTo>
                    <a:pt x="9137" y="16485"/>
                  </a:lnTo>
                  <a:lnTo>
                    <a:pt x="9178" y="16465"/>
                  </a:lnTo>
                  <a:lnTo>
                    <a:pt x="9220" y="16447"/>
                  </a:lnTo>
                  <a:lnTo>
                    <a:pt x="9263" y="16429"/>
                  </a:lnTo>
                  <a:lnTo>
                    <a:pt x="9304" y="16409"/>
                  </a:lnTo>
                  <a:lnTo>
                    <a:pt x="9346" y="16391"/>
                  </a:lnTo>
                  <a:lnTo>
                    <a:pt x="9388" y="16371"/>
                  </a:lnTo>
                  <a:lnTo>
                    <a:pt x="9430" y="16352"/>
                  </a:lnTo>
                  <a:lnTo>
                    <a:pt x="9471" y="16331"/>
                  </a:lnTo>
                  <a:lnTo>
                    <a:pt x="9550" y="16292"/>
                  </a:lnTo>
                  <a:lnTo>
                    <a:pt x="9633" y="16254"/>
                  </a:lnTo>
                  <a:lnTo>
                    <a:pt x="9720" y="16214"/>
                  </a:lnTo>
                  <a:lnTo>
                    <a:pt x="9807" y="16173"/>
                  </a:lnTo>
                  <a:lnTo>
                    <a:pt x="9894" y="16132"/>
                  </a:lnTo>
                  <a:lnTo>
                    <a:pt x="9978" y="16091"/>
                  </a:lnTo>
                  <a:lnTo>
                    <a:pt x="10018" y="16069"/>
                  </a:lnTo>
                  <a:lnTo>
                    <a:pt x="10057" y="16048"/>
                  </a:lnTo>
                  <a:lnTo>
                    <a:pt x="10093" y="16026"/>
                  </a:lnTo>
                  <a:lnTo>
                    <a:pt x="10129" y="16004"/>
                  </a:lnTo>
                  <a:lnTo>
                    <a:pt x="10153" y="15994"/>
                  </a:lnTo>
                  <a:lnTo>
                    <a:pt x="10184" y="15979"/>
                  </a:lnTo>
                  <a:lnTo>
                    <a:pt x="10220" y="15962"/>
                  </a:lnTo>
                  <a:lnTo>
                    <a:pt x="10263" y="15939"/>
                  </a:lnTo>
                  <a:lnTo>
                    <a:pt x="10363" y="15886"/>
                  </a:lnTo>
                  <a:lnTo>
                    <a:pt x="10482" y="15821"/>
                  </a:lnTo>
                  <a:lnTo>
                    <a:pt x="10614" y="15748"/>
                  </a:lnTo>
                  <a:lnTo>
                    <a:pt x="10756" y="15669"/>
                  </a:lnTo>
                  <a:lnTo>
                    <a:pt x="10903" y="15584"/>
                  </a:lnTo>
                  <a:lnTo>
                    <a:pt x="11053" y="15498"/>
                  </a:lnTo>
                  <a:lnTo>
                    <a:pt x="11202" y="15411"/>
                  </a:lnTo>
                  <a:lnTo>
                    <a:pt x="11344" y="15328"/>
                  </a:lnTo>
                  <a:lnTo>
                    <a:pt x="11477" y="15249"/>
                  </a:lnTo>
                  <a:lnTo>
                    <a:pt x="11597" y="15176"/>
                  </a:lnTo>
                  <a:lnTo>
                    <a:pt x="11700" y="15111"/>
                  </a:lnTo>
                  <a:lnTo>
                    <a:pt x="11781" y="15060"/>
                  </a:lnTo>
                  <a:lnTo>
                    <a:pt x="11813" y="15038"/>
                  </a:lnTo>
                  <a:lnTo>
                    <a:pt x="11838" y="15021"/>
                  </a:lnTo>
                  <a:lnTo>
                    <a:pt x="11857" y="15007"/>
                  </a:lnTo>
                  <a:lnTo>
                    <a:pt x="11867" y="14997"/>
                  </a:lnTo>
                  <a:lnTo>
                    <a:pt x="11879" y="14991"/>
                  </a:lnTo>
                  <a:lnTo>
                    <a:pt x="11898" y="14982"/>
                  </a:lnTo>
                  <a:lnTo>
                    <a:pt x="11919" y="14970"/>
                  </a:lnTo>
                  <a:lnTo>
                    <a:pt x="11947" y="14954"/>
                  </a:lnTo>
                  <a:lnTo>
                    <a:pt x="12012" y="14913"/>
                  </a:lnTo>
                  <a:lnTo>
                    <a:pt x="12090" y="14864"/>
                  </a:lnTo>
                  <a:lnTo>
                    <a:pt x="12179" y="14806"/>
                  </a:lnTo>
                  <a:lnTo>
                    <a:pt x="12276" y="14741"/>
                  </a:lnTo>
                  <a:lnTo>
                    <a:pt x="12379" y="14672"/>
                  </a:lnTo>
                  <a:lnTo>
                    <a:pt x="12485" y="14600"/>
                  </a:lnTo>
                  <a:lnTo>
                    <a:pt x="12590" y="14528"/>
                  </a:lnTo>
                  <a:lnTo>
                    <a:pt x="12694" y="14457"/>
                  </a:lnTo>
                  <a:lnTo>
                    <a:pt x="12791" y="14388"/>
                  </a:lnTo>
                  <a:lnTo>
                    <a:pt x="12883" y="14324"/>
                  </a:lnTo>
                  <a:lnTo>
                    <a:pt x="12963" y="14267"/>
                  </a:lnTo>
                  <a:lnTo>
                    <a:pt x="13031" y="14218"/>
                  </a:lnTo>
                  <a:lnTo>
                    <a:pt x="13083" y="14179"/>
                  </a:lnTo>
                  <a:lnTo>
                    <a:pt x="13116" y="14152"/>
                  </a:lnTo>
                  <a:lnTo>
                    <a:pt x="13131" y="14143"/>
                  </a:lnTo>
                  <a:lnTo>
                    <a:pt x="13152" y="14131"/>
                  </a:lnTo>
                  <a:lnTo>
                    <a:pt x="13179" y="14112"/>
                  </a:lnTo>
                  <a:lnTo>
                    <a:pt x="13212" y="14088"/>
                  </a:lnTo>
                  <a:lnTo>
                    <a:pt x="13294" y="14030"/>
                  </a:lnTo>
                  <a:lnTo>
                    <a:pt x="13392" y="13958"/>
                  </a:lnTo>
                  <a:lnTo>
                    <a:pt x="13505" y="13873"/>
                  </a:lnTo>
                  <a:lnTo>
                    <a:pt x="13628" y="13779"/>
                  </a:lnTo>
                  <a:lnTo>
                    <a:pt x="13758" y="13680"/>
                  </a:lnTo>
                  <a:lnTo>
                    <a:pt x="13891" y="13578"/>
                  </a:lnTo>
                  <a:lnTo>
                    <a:pt x="14024" y="13475"/>
                  </a:lnTo>
                  <a:lnTo>
                    <a:pt x="14153" y="13374"/>
                  </a:lnTo>
                  <a:lnTo>
                    <a:pt x="14274" y="13278"/>
                  </a:lnTo>
                  <a:lnTo>
                    <a:pt x="14385" y="13190"/>
                  </a:lnTo>
                  <a:lnTo>
                    <a:pt x="14481" y="13112"/>
                  </a:lnTo>
                  <a:lnTo>
                    <a:pt x="14559" y="13048"/>
                  </a:lnTo>
                  <a:lnTo>
                    <a:pt x="14590" y="13022"/>
                  </a:lnTo>
                  <a:lnTo>
                    <a:pt x="14615" y="13000"/>
                  </a:lnTo>
                  <a:lnTo>
                    <a:pt x="14634" y="12982"/>
                  </a:lnTo>
                  <a:lnTo>
                    <a:pt x="14645" y="12970"/>
                  </a:lnTo>
                  <a:lnTo>
                    <a:pt x="14658" y="12963"/>
                  </a:lnTo>
                  <a:lnTo>
                    <a:pt x="14673" y="12954"/>
                  </a:lnTo>
                  <a:lnTo>
                    <a:pt x="14690" y="12942"/>
                  </a:lnTo>
                  <a:lnTo>
                    <a:pt x="14708" y="12928"/>
                  </a:lnTo>
                  <a:lnTo>
                    <a:pt x="14751" y="12895"/>
                  </a:lnTo>
                  <a:lnTo>
                    <a:pt x="14802" y="12854"/>
                  </a:lnTo>
                  <a:lnTo>
                    <a:pt x="14857" y="12807"/>
                  </a:lnTo>
                  <a:lnTo>
                    <a:pt x="14917" y="12756"/>
                  </a:lnTo>
                  <a:lnTo>
                    <a:pt x="14979" y="12701"/>
                  </a:lnTo>
                  <a:lnTo>
                    <a:pt x="15044" y="12645"/>
                  </a:lnTo>
                  <a:lnTo>
                    <a:pt x="15110" y="12587"/>
                  </a:lnTo>
                  <a:lnTo>
                    <a:pt x="15175" y="12530"/>
                  </a:lnTo>
                  <a:lnTo>
                    <a:pt x="15238" y="12475"/>
                  </a:lnTo>
                  <a:lnTo>
                    <a:pt x="15298" y="12421"/>
                  </a:lnTo>
                  <a:lnTo>
                    <a:pt x="15354" y="12372"/>
                  </a:lnTo>
                  <a:lnTo>
                    <a:pt x="15405" y="12328"/>
                  </a:lnTo>
                  <a:lnTo>
                    <a:pt x="15451" y="12291"/>
                  </a:lnTo>
                  <a:lnTo>
                    <a:pt x="15487" y="12261"/>
                  </a:lnTo>
                  <a:lnTo>
                    <a:pt x="15508" y="12245"/>
                  </a:lnTo>
                  <a:lnTo>
                    <a:pt x="15520" y="12233"/>
                  </a:lnTo>
                  <a:lnTo>
                    <a:pt x="15534" y="12220"/>
                  </a:lnTo>
                  <a:lnTo>
                    <a:pt x="15555" y="12200"/>
                  </a:lnTo>
                  <a:lnTo>
                    <a:pt x="15765" y="12013"/>
                  </a:lnTo>
                  <a:lnTo>
                    <a:pt x="15798" y="11979"/>
                  </a:lnTo>
                  <a:lnTo>
                    <a:pt x="15830" y="11947"/>
                  </a:lnTo>
                  <a:lnTo>
                    <a:pt x="15863" y="11915"/>
                  </a:lnTo>
                  <a:lnTo>
                    <a:pt x="15895" y="11884"/>
                  </a:lnTo>
                  <a:lnTo>
                    <a:pt x="15927" y="11853"/>
                  </a:lnTo>
                  <a:lnTo>
                    <a:pt x="15959" y="11823"/>
                  </a:lnTo>
                  <a:lnTo>
                    <a:pt x="15992" y="11790"/>
                  </a:lnTo>
                  <a:lnTo>
                    <a:pt x="16025" y="11758"/>
                  </a:lnTo>
                  <a:lnTo>
                    <a:pt x="16052" y="11733"/>
                  </a:lnTo>
                  <a:lnTo>
                    <a:pt x="16089" y="11696"/>
                  </a:lnTo>
                  <a:lnTo>
                    <a:pt x="16136" y="11649"/>
                  </a:lnTo>
                  <a:lnTo>
                    <a:pt x="16190" y="11595"/>
                  </a:lnTo>
                  <a:lnTo>
                    <a:pt x="16248" y="11535"/>
                  </a:lnTo>
                  <a:lnTo>
                    <a:pt x="16311" y="11470"/>
                  </a:lnTo>
                  <a:lnTo>
                    <a:pt x="16377" y="11403"/>
                  </a:lnTo>
                  <a:lnTo>
                    <a:pt x="16443" y="11335"/>
                  </a:lnTo>
                  <a:lnTo>
                    <a:pt x="16508" y="11268"/>
                  </a:lnTo>
                  <a:lnTo>
                    <a:pt x="16571" y="11202"/>
                  </a:lnTo>
                  <a:lnTo>
                    <a:pt x="16629" y="11140"/>
                  </a:lnTo>
                  <a:lnTo>
                    <a:pt x="16681" y="11084"/>
                  </a:lnTo>
                  <a:lnTo>
                    <a:pt x="16726" y="11036"/>
                  </a:lnTo>
                  <a:lnTo>
                    <a:pt x="16761" y="10997"/>
                  </a:lnTo>
                  <a:lnTo>
                    <a:pt x="16786" y="10969"/>
                  </a:lnTo>
                  <a:lnTo>
                    <a:pt x="16797" y="10953"/>
                  </a:lnTo>
                  <a:lnTo>
                    <a:pt x="16818" y="10935"/>
                  </a:lnTo>
                  <a:lnTo>
                    <a:pt x="16837" y="10915"/>
                  </a:lnTo>
                  <a:lnTo>
                    <a:pt x="16856" y="10896"/>
                  </a:lnTo>
                  <a:lnTo>
                    <a:pt x="16874" y="10875"/>
                  </a:lnTo>
                  <a:lnTo>
                    <a:pt x="16908" y="10833"/>
                  </a:lnTo>
                  <a:lnTo>
                    <a:pt x="16943" y="10789"/>
                  </a:lnTo>
                  <a:lnTo>
                    <a:pt x="17006" y="10707"/>
                  </a:lnTo>
                  <a:lnTo>
                    <a:pt x="17067" y="10626"/>
                  </a:lnTo>
                  <a:lnTo>
                    <a:pt x="17128" y="10543"/>
                  </a:lnTo>
                  <a:lnTo>
                    <a:pt x="17185" y="10462"/>
                  </a:lnTo>
                  <a:lnTo>
                    <a:pt x="17214" y="10421"/>
                  </a:lnTo>
                  <a:lnTo>
                    <a:pt x="17241" y="10379"/>
                  </a:lnTo>
                  <a:lnTo>
                    <a:pt x="17269" y="10337"/>
                  </a:lnTo>
                  <a:lnTo>
                    <a:pt x="17295" y="10296"/>
                  </a:lnTo>
                  <a:lnTo>
                    <a:pt x="17321" y="10254"/>
                  </a:lnTo>
                  <a:lnTo>
                    <a:pt x="17347" y="10211"/>
                  </a:lnTo>
                  <a:lnTo>
                    <a:pt x="17372" y="10169"/>
                  </a:lnTo>
                  <a:lnTo>
                    <a:pt x="17396" y="10125"/>
                  </a:lnTo>
                  <a:lnTo>
                    <a:pt x="17419" y="10081"/>
                  </a:lnTo>
                  <a:lnTo>
                    <a:pt x="17442" y="10037"/>
                  </a:lnTo>
                  <a:lnTo>
                    <a:pt x="17463" y="9992"/>
                  </a:lnTo>
                  <a:lnTo>
                    <a:pt x="17485" y="9946"/>
                  </a:lnTo>
                  <a:lnTo>
                    <a:pt x="17505" y="9900"/>
                  </a:lnTo>
                  <a:lnTo>
                    <a:pt x="17524" y="9853"/>
                  </a:lnTo>
                  <a:lnTo>
                    <a:pt x="17543" y="9805"/>
                  </a:lnTo>
                  <a:lnTo>
                    <a:pt x="17561" y="9757"/>
                  </a:lnTo>
                  <a:lnTo>
                    <a:pt x="17578" y="9708"/>
                  </a:lnTo>
                  <a:lnTo>
                    <a:pt x="17594" y="9657"/>
                  </a:lnTo>
                  <a:lnTo>
                    <a:pt x="17609" y="9606"/>
                  </a:lnTo>
                  <a:lnTo>
                    <a:pt x="17622" y="9553"/>
                  </a:lnTo>
                  <a:lnTo>
                    <a:pt x="17636" y="9501"/>
                  </a:lnTo>
                  <a:lnTo>
                    <a:pt x="17648" y="9446"/>
                  </a:lnTo>
                  <a:lnTo>
                    <a:pt x="17659" y="9391"/>
                  </a:lnTo>
                  <a:lnTo>
                    <a:pt x="17669" y="9334"/>
                  </a:lnTo>
                  <a:lnTo>
                    <a:pt x="17673" y="9309"/>
                  </a:lnTo>
                  <a:lnTo>
                    <a:pt x="17675" y="9283"/>
                  </a:lnTo>
                  <a:lnTo>
                    <a:pt x="17675" y="9255"/>
                  </a:lnTo>
                  <a:lnTo>
                    <a:pt x="17674" y="9226"/>
                  </a:lnTo>
                  <a:lnTo>
                    <a:pt x="17672" y="9196"/>
                  </a:lnTo>
                  <a:lnTo>
                    <a:pt x="17669" y="9165"/>
                  </a:lnTo>
                  <a:lnTo>
                    <a:pt x="17665" y="9133"/>
                  </a:lnTo>
                  <a:lnTo>
                    <a:pt x="17659" y="9101"/>
                  </a:lnTo>
                  <a:lnTo>
                    <a:pt x="17653" y="9068"/>
                  </a:lnTo>
                  <a:lnTo>
                    <a:pt x="17645" y="9034"/>
                  </a:lnTo>
                  <a:lnTo>
                    <a:pt x="17637" y="8999"/>
                  </a:lnTo>
                  <a:lnTo>
                    <a:pt x="17629" y="8965"/>
                  </a:lnTo>
                  <a:lnTo>
                    <a:pt x="17609" y="8895"/>
                  </a:lnTo>
                  <a:lnTo>
                    <a:pt x="17587" y="8825"/>
                  </a:lnTo>
                  <a:lnTo>
                    <a:pt x="17563" y="8757"/>
                  </a:lnTo>
                  <a:lnTo>
                    <a:pt x="17539" y="8689"/>
                  </a:lnTo>
                  <a:lnTo>
                    <a:pt x="17513" y="8624"/>
                  </a:lnTo>
                  <a:lnTo>
                    <a:pt x="17487" y="8563"/>
                  </a:lnTo>
                  <a:lnTo>
                    <a:pt x="17462" y="8506"/>
                  </a:lnTo>
                  <a:lnTo>
                    <a:pt x="17437" y="8455"/>
                  </a:lnTo>
                  <a:lnTo>
                    <a:pt x="17415" y="8408"/>
                  </a:lnTo>
                  <a:lnTo>
                    <a:pt x="17394" y="8369"/>
                  </a:lnTo>
                  <a:lnTo>
                    <a:pt x="17360" y="8310"/>
                  </a:lnTo>
                  <a:lnTo>
                    <a:pt x="17328" y="8254"/>
                  </a:lnTo>
                  <a:lnTo>
                    <a:pt x="17297" y="8203"/>
                  </a:lnTo>
                  <a:lnTo>
                    <a:pt x="17268" y="8155"/>
                  </a:lnTo>
                  <a:lnTo>
                    <a:pt x="17239" y="8109"/>
                  </a:lnTo>
                  <a:lnTo>
                    <a:pt x="17210" y="8066"/>
                  </a:lnTo>
                  <a:lnTo>
                    <a:pt x="17182" y="8023"/>
                  </a:lnTo>
                  <a:lnTo>
                    <a:pt x="17153" y="7981"/>
                  </a:lnTo>
                  <a:lnTo>
                    <a:pt x="17123" y="7941"/>
                  </a:lnTo>
                  <a:lnTo>
                    <a:pt x="17093" y="7900"/>
                  </a:lnTo>
                  <a:lnTo>
                    <a:pt x="17062" y="7858"/>
                  </a:lnTo>
                  <a:lnTo>
                    <a:pt x="17029" y="7816"/>
                  </a:lnTo>
                  <a:lnTo>
                    <a:pt x="16958" y="7727"/>
                  </a:lnTo>
                  <a:lnTo>
                    <a:pt x="16877" y="7627"/>
                  </a:lnTo>
                  <a:lnTo>
                    <a:pt x="16843" y="7585"/>
                  </a:lnTo>
                  <a:lnTo>
                    <a:pt x="16805" y="7540"/>
                  </a:lnTo>
                  <a:lnTo>
                    <a:pt x="16766" y="7493"/>
                  </a:lnTo>
                  <a:lnTo>
                    <a:pt x="16725" y="7446"/>
                  </a:lnTo>
                  <a:lnTo>
                    <a:pt x="16641" y="7350"/>
                  </a:lnTo>
                  <a:lnTo>
                    <a:pt x="16551" y="7253"/>
                  </a:lnTo>
                  <a:lnTo>
                    <a:pt x="16462" y="7157"/>
                  </a:lnTo>
                  <a:lnTo>
                    <a:pt x="16373" y="7065"/>
                  </a:lnTo>
                  <a:lnTo>
                    <a:pt x="16287" y="6978"/>
                  </a:lnTo>
                  <a:lnTo>
                    <a:pt x="16207" y="6899"/>
                  </a:lnTo>
                  <a:lnTo>
                    <a:pt x="16179" y="6872"/>
                  </a:lnTo>
                  <a:lnTo>
                    <a:pt x="16153" y="6842"/>
                  </a:lnTo>
                  <a:lnTo>
                    <a:pt x="16127" y="6811"/>
                  </a:lnTo>
                  <a:lnTo>
                    <a:pt x="16099" y="6779"/>
                  </a:lnTo>
                  <a:lnTo>
                    <a:pt x="16071" y="6747"/>
                  </a:lnTo>
                  <a:lnTo>
                    <a:pt x="16042" y="6715"/>
                  </a:lnTo>
                  <a:lnTo>
                    <a:pt x="16011" y="6683"/>
                  </a:lnTo>
                  <a:lnTo>
                    <a:pt x="15979" y="6652"/>
                  </a:lnTo>
                  <a:lnTo>
                    <a:pt x="14313" y="5186"/>
                  </a:lnTo>
                  <a:lnTo>
                    <a:pt x="14230" y="5121"/>
                  </a:lnTo>
                  <a:lnTo>
                    <a:pt x="14144" y="5052"/>
                  </a:lnTo>
                  <a:lnTo>
                    <a:pt x="14058" y="4981"/>
                  </a:lnTo>
                  <a:lnTo>
                    <a:pt x="13972" y="4911"/>
                  </a:lnTo>
                  <a:lnTo>
                    <a:pt x="13885" y="4840"/>
                  </a:lnTo>
                  <a:lnTo>
                    <a:pt x="13797" y="4769"/>
                  </a:lnTo>
                  <a:lnTo>
                    <a:pt x="13709" y="4700"/>
                  </a:lnTo>
                  <a:lnTo>
                    <a:pt x="13622" y="4634"/>
                  </a:lnTo>
                  <a:lnTo>
                    <a:pt x="13528" y="4565"/>
                  </a:lnTo>
                  <a:lnTo>
                    <a:pt x="13437" y="4496"/>
                  </a:lnTo>
                  <a:lnTo>
                    <a:pt x="13348" y="4430"/>
                  </a:lnTo>
                  <a:lnTo>
                    <a:pt x="13259" y="4364"/>
                  </a:lnTo>
                  <a:lnTo>
                    <a:pt x="13172" y="4299"/>
                  </a:lnTo>
                  <a:lnTo>
                    <a:pt x="13085" y="4234"/>
                  </a:lnTo>
                  <a:lnTo>
                    <a:pt x="12999" y="4170"/>
                  </a:lnTo>
                  <a:lnTo>
                    <a:pt x="12913" y="4107"/>
                  </a:lnTo>
                  <a:lnTo>
                    <a:pt x="12826" y="4043"/>
                  </a:lnTo>
                  <a:lnTo>
                    <a:pt x="12738" y="3980"/>
                  </a:lnTo>
                  <a:lnTo>
                    <a:pt x="12650" y="3916"/>
                  </a:lnTo>
                  <a:lnTo>
                    <a:pt x="12559" y="3852"/>
                  </a:lnTo>
                  <a:lnTo>
                    <a:pt x="12468" y="3787"/>
                  </a:lnTo>
                  <a:lnTo>
                    <a:pt x="12373" y="3722"/>
                  </a:lnTo>
                  <a:lnTo>
                    <a:pt x="12276" y="3655"/>
                  </a:lnTo>
                  <a:lnTo>
                    <a:pt x="12177" y="3589"/>
                  </a:lnTo>
                  <a:lnTo>
                    <a:pt x="12083" y="3525"/>
                  </a:lnTo>
                  <a:lnTo>
                    <a:pt x="11988" y="3463"/>
                  </a:lnTo>
                  <a:lnTo>
                    <a:pt x="11893" y="3402"/>
                  </a:lnTo>
                  <a:lnTo>
                    <a:pt x="11798" y="3340"/>
                  </a:lnTo>
                  <a:lnTo>
                    <a:pt x="11702" y="3280"/>
                  </a:lnTo>
                  <a:lnTo>
                    <a:pt x="11606" y="3219"/>
                  </a:lnTo>
                  <a:lnTo>
                    <a:pt x="11509" y="3158"/>
                  </a:lnTo>
                  <a:lnTo>
                    <a:pt x="11411" y="3097"/>
                  </a:lnTo>
                  <a:lnTo>
                    <a:pt x="11318" y="3037"/>
                  </a:lnTo>
                  <a:lnTo>
                    <a:pt x="11222" y="2979"/>
                  </a:lnTo>
                  <a:lnTo>
                    <a:pt x="11125" y="2920"/>
                  </a:lnTo>
                  <a:lnTo>
                    <a:pt x="11028" y="2863"/>
                  </a:lnTo>
                  <a:lnTo>
                    <a:pt x="10930" y="2806"/>
                  </a:lnTo>
                  <a:lnTo>
                    <a:pt x="10831" y="2749"/>
                  </a:lnTo>
                  <a:lnTo>
                    <a:pt x="10732" y="2692"/>
                  </a:lnTo>
                  <a:lnTo>
                    <a:pt x="10631" y="2635"/>
                  </a:lnTo>
                  <a:lnTo>
                    <a:pt x="10529" y="2579"/>
                  </a:lnTo>
                  <a:lnTo>
                    <a:pt x="10427" y="2523"/>
                  </a:lnTo>
                  <a:lnTo>
                    <a:pt x="10326" y="2468"/>
                  </a:lnTo>
                  <a:lnTo>
                    <a:pt x="10223" y="2413"/>
                  </a:lnTo>
                  <a:lnTo>
                    <a:pt x="10120" y="2359"/>
                  </a:lnTo>
                  <a:lnTo>
                    <a:pt x="10015" y="2305"/>
                  </a:lnTo>
                  <a:lnTo>
                    <a:pt x="9911" y="2251"/>
                  </a:lnTo>
                  <a:lnTo>
                    <a:pt x="9807" y="2198"/>
                  </a:lnTo>
                  <a:lnTo>
                    <a:pt x="9735" y="2162"/>
                  </a:lnTo>
                  <a:lnTo>
                    <a:pt x="9660" y="2124"/>
                  </a:lnTo>
                  <a:lnTo>
                    <a:pt x="9583" y="2086"/>
                  </a:lnTo>
                  <a:lnTo>
                    <a:pt x="9504" y="2047"/>
                  </a:lnTo>
                  <a:lnTo>
                    <a:pt x="9423" y="2010"/>
                  </a:lnTo>
                  <a:lnTo>
                    <a:pt x="9340" y="1971"/>
                  </a:lnTo>
                  <a:lnTo>
                    <a:pt x="9258" y="1932"/>
                  </a:lnTo>
                  <a:lnTo>
                    <a:pt x="9174" y="1893"/>
                  </a:lnTo>
                  <a:lnTo>
                    <a:pt x="9091" y="1855"/>
                  </a:lnTo>
                  <a:lnTo>
                    <a:pt x="9006" y="1816"/>
                  </a:lnTo>
                  <a:lnTo>
                    <a:pt x="8923" y="1780"/>
                  </a:lnTo>
                  <a:lnTo>
                    <a:pt x="8840" y="1743"/>
                  </a:lnTo>
                  <a:lnTo>
                    <a:pt x="8759" y="1707"/>
                  </a:lnTo>
                  <a:lnTo>
                    <a:pt x="8679" y="1673"/>
                  </a:lnTo>
                  <a:lnTo>
                    <a:pt x="8600" y="1640"/>
                  </a:lnTo>
                  <a:lnTo>
                    <a:pt x="8523" y="1608"/>
                  </a:lnTo>
                  <a:lnTo>
                    <a:pt x="8472" y="1587"/>
                  </a:lnTo>
                  <a:lnTo>
                    <a:pt x="8417" y="1562"/>
                  </a:lnTo>
                  <a:lnTo>
                    <a:pt x="8360" y="1537"/>
                  </a:lnTo>
                  <a:lnTo>
                    <a:pt x="8300" y="1511"/>
                  </a:lnTo>
                  <a:lnTo>
                    <a:pt x="8242" y="1485"/>
                  </a:lnTo>
                  <a:lnTo>
                    <a:pt x="8184" y="1461"/>
                  </a:lnTo>
                  <a:lnTo>
                    <a:pt x="8156" y="1451"/>
                  </a:lnTo>
                  <a:lnTo>
                    <a:pt x="8129" y="1442"/>
                  </a:lnTo>
                  <a:lnTo>
                    <a:pt x="8102" y="1433"/>
                  </a:lnTo>
                  <a:lnTo>
                    <a:pt x="8078" y="1426"/>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8" name="Freeform 5">
              <a:extLst>
                <a:ext uri="{FF2B5EF4-FFF2-40B4-BE49-F238E27FC236}">
                  <a16:creationId xmlns:a16="http://schemas.microsoft.com/office/drawing/2014/main" id="{71C49F78-40BC-437A-96BD-2BA73FF4902C}"/>
                </a:ext>
              </a:extLst>
            </p:cNvPr>
            <p:cNvSpPr>
              <a:spLocks/>
            </p:cNvSpPr>
            <p:nvPr/>
          </p:nvSpPr>
          <p:spPr bwMode="auto">
            <a:xfrm>
              <a:off x="1197064" y="3421099"/>
              <a:ext cx="263057" cy="272508"/>
            </a:xfrm>
            <a:custGeom>
              <a:avLst/>
              <a:gdLst>
                <a:gd name="T0" fmla="*/ 7371 w 17675"/>
                <a:gd name="T1" fmla="*/ 1125 h 18310"/>
                <a:gd name="T2" fmla="*/ 5959 w 17675"/>
                <a:gd name="T3" fmla="*/ 593 h 18310"/>
                <a:gd name="T4" fmla="*/ 4735 w 17675"/>
                <a:gd name="T5" fmla="*/ 240 h 18310"/>
                <a:gd name="T6" fmla="*/ 3627 w 17675"/>
                <a:gd name="T7" fmla="*/ 54 h 18310"/>
                <a:gd name="T8" fmla="*/ 2806 w 17675"/>
                <a:gd name="T9" fmla="*/ 7 h 18310"/>
                <a:gd name="T10" fmla="*/ 2454 w 17675"/>
                <a:gd name="T11" fmla="*/ 85 h 18310"/>
                <a:gd name="T12" fmla="*/ 2132 w 17675"/>
                <a:gd name="T13" fmla="*/ 262 h 18310"/>
                <a:gd name="T14" fmla="*/ 1838 w 17675"/>
                <a:gd name="T15" fmla="*/ 533 h 18310"/>
                <a:gd name="T16" fmla="*/ 1454 w 17675"/>
                <a:gd name="T17" fmla="*/ 1111 h 18310"/>
                <a:gd name="T18" fmla="*/ 1261 w 17675"/>
                <a:gd name="T19" fmla="*/ 1545 h 18310"/>
                <a:gd name="T20" fmla="*/ 1008 w 17675"/>
                <a:gd name="T21" fmla="*/ 2315 h 18310"/>
                <a:gd name="T22" fmla="*/ 836 w 17675"/>
                <a:gd name="T23" fmla="*/ 2906 h 18310"/>
                <a:gd name="T24" fmla="*/ 683 w 17675"/>
                <a:gd name="T25" fmla="*/ 3519 h 18310"/>
                <a:gd name="T26" fmla="*/ 506 w 17675"/>
                <a:gd name="T27" fmla="*/ 4330 h 18310"/>
                <a:gd name="T28" fmla="*/ 356 w 17675"/>
                <a:gd name="T29" fmla="*/ 5177 h 18310"/>
                <a:gd name="T30" fmla="*/ 199 w 17675"/>
                <a:gd name="T31" fmla="*/ 6352 h 18310"/>
                <a:gd name="T32" fmla="*/ 65 w 17675"/>
                <a:gd name="T33" fmla="*/ 7805 h 18310"/>
                <a:gd name="T34" fmla="*/ 1 w 17675"/>
                <a:gd name="T35" fmla="*/ 9354 h 18310"/>
                <a:gd name="T36" fmla="*/ 54 w 17675"/>
                <a:gd name="T37" fmla="*/ 10490 h 18310"/>
                <a:gd name="T38" fmla="*/ 149 w 17675"/>
                <a:gd name="T39" fmla="*/ 11811 h 18310"/>
                <a:gd name="T40" fmla="*/ 298 w 17675"/>
                <a:gd name="T41" fmla="*/ 13066 h 18310"/>
                <a:gd name="T42" fmla="*/ 650 w 17675"/>
                <a:gd name="T43" fmla="*/ 14979 h 18310"/>
                <a:gd name="T44" fmla="*/ 991 w 17675"/>
                <a:gd name="T45" fmla="*/ 16266 h 18310"/>
                <a:gd name="T46" fmla="*/ 1332 w 17675"/>
                <a:gd name="T47" fmla="*/ 17156 h 18310"/>
                <a:gd name="T48" fmla="*/ 1598 w 17675"/>
                <a:gd name="T49" fmla="*/ 17614 h 18310"/>
                <a:gd name="T50" fmla="*/ 1917 w 17675"/>
                <a:gd name="T51" fmla="*/ 17970 h 18310"/>
                <a:gd name="T52" fmla="*/ 2349 w 17675"/>
                <a:gd name="T53" fmla="*/ 18232 h 18310"/>
                <a:gd name="T54" fmla="*/ 2745 w 17675"/>
                <a:gd name="T55" fmla="*/ 18309 h 18310"/>
                <a:gd name="T56" fmla="*/ 3384 w 17675"/>
                <a:gd name="T57" fmla="*/ 18287 h 18310"/>
                <a:gd name="T58" fmla="*/ 4157 w 17675"/>
                <a:gd name="T59" fmla="*/ 18192 h 18310"/>
                <a:gd name="T60" fmla="*/ 5006 w 17675"/>
                <a:gd name="T61" fmla="*/ 18009 h 18310"/>
                <a:gd name="T62" fmla="*/ 6483 w 17675"/>
                <a:gd name="T63" fmla="*/ 17544 h 18310"/>
                <a:gd name="T64" fmla="*/ 7200 w 17675"/>
                <a:gd name="T65" fmla="*/ 17277 h 18310"/>
                <a:gd name="T66" fmla="*/ 8295 w 17675"/>
                <a:gd name="T67" fmla="*/ 16841 h 18310"/>
                <a:gd name="T68" fmla="*/ 8872 w 17675"/>
                <a:gd name="T69" fmla="*/ 16605 h 18310"/>
                <a:gd name="T70" fmla="*/ 9346 w 17675"/>
                <a:gd name="T71" fmla="*/ 16391 h 18310"/>
                <a:gd name="T72" fmla="*/ 10057 w 17675"/>
                <a:gd name="T73" fmla="*/ 16048 h 18310"/>
                <a:gd name="T74" fmla="*/ 10903 w 17675"/>
                <a:gd name="T75" fmla="*/ 15584 h 18310"/>
                <a:gd name="T76" fmla="*/ 11867 w 17675"/>
                <a:gd name="T77" fmla="*/ 14997 h 18310"/>
                <a:gd name="T78" fmla="*/ 12590 w 17675"/>
                <a:gd name="T79" fmla="*/ 14528 h 18310"/>
                <a:gd name="T80" fmla="*/ 13212 w 17675"/>
                <a:gd name="T81" fmla="*/ 14088 h 18310"/>
                <a:gd name="T82" fmla="*/ 14481 w 17675"/>
                <a:gd name="T83" fmla="*/ 13112 h 18310"/>
                <a:gd name="T84" fmla="*/ 14802 w 17675"/>
                <a:gd name="T85" fmla="*/ 12854 h 18310"/>
                <a:gd name="T86" fmla="*/ 15451 w 17675"/>
                <a:gd name="T87" fmla="*/ 12291 h 18310"/>
                <a:gd name="T88" fmla="*/ 15927 w 17675"/>
                <a:gd name="T89" fmla="*/ 11853 h 18310"/>
                <a:gd name="T90" fmla="*/ 16443 w 17675"/>
                <a:gd name="T91" fmla="*/ 11335 h 18310"/>
                <a:gd name="T92" fmla="*/ 16856 w 17675"/>
                <a:gd name="T93" fmla="*/ 10896 h 18310"/>
                <a:gd name="T94" fmla="*/ 17295 w 17675"/>
                <a:gd name="T95" fmla="*/ 10296 h 18310"/>
                <a:gd name="T96" fmla="*/ 17543 w 17675"/>
                <a:gd name="T97" fmla="*/ 9805 h 18310"/>
                <a:gd name="T98" fmla="*/ 17675 w 17675"/>
                <a:gd name="T99" fmla="*/ 9283 h 18310"/>
                <a:gd name="T100" fmla="*/ 17609 w 17675"/>
                <a:gd name="T101" fmla="*/ 8895 h 18310"/>
                <a:gd name="T102" fmla="*/ 17328 w 17675"/>
                <a:gd name="T103" fmla="*/ 8254 h 18310"/>
                <a:gd name="T104" fmla="*/ 16958 w 17675"/>
                <a:gd name="T105" fmla="*/ 7727 h 18310"/>
                <a:gd name="T106" fmla="*/ 16207 w 17675"/>
                <a:gd name="T107" fmla="*/ 6899 h 18310"/>
                <a:gd name="T108" fmla="*/ 14144 w 17675"/>
                <a:gd name="T109" fmla="*/ 5052 h 18310"/>
                <a:gd name="T110" fmla="*/ 13172 w 17675"/>
                <a:gd name="T111" fmla="*/ 4299 h 18310"/>
                <a:gd name="T112" fmla="*/ 12177 w 17675"/>
                <a:gd name="T113" fmla="*/ 3589 h 18310"/>
                <a:gd name="T114" fmla="*/ 11125 w 17675"/>
                <a:gd name="T115" fmla="*/ 2920 h 18310"/>
                <a:gd name="T116" fmla="*/ 10015 w 17675"/>
                <a:gd name="T117" fmla="*/ 2305 h 18310"/>
                <a:gd name="T118" fmla="*/ 9091 w 17675"/>
                <a:gd name="T119" fmla="*/ 1855 h 18310"/>
                <a:gd name="T120" fmla="*/ 8300 w 17675"/>
                <a:gd name="T121" fmla="*/ 1511 h 18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7675" h="18310">
                  <a:moveTo>
                    <a:pt x="8078" y="1426"/>
                  </a:moveTo>
                  <a:lnTo>
                    <a:pt x="8047" y="1409"/>
                  </a:lnTo>
                  <a:lnTo>
                    <a:pt x="8014" y="1392"/>
                  </a:lnTo>
                  <a:lnTo>
                    <a:pt x="7978" y="1376"/>
                  </a:lnTo>
                  <a:lnTo>
                    <a:pt x="7940" y="1360"/>
                  </a:lnTo>
                  <a:lnTo>
                    <a:pt x="7901" y="1345"/>
                  </a:lnTo>
                  <a:lnTo>
                    <a:pt x="7862" y="1330"/>
                  </a:lnTo>
                  <a:lnTo>
                    <a:pt x="7825" y="1315"/>
                  </a:lnTo>
                  <a:lnTo>
                    <a:pt x="7791" y="1301"/>
                  </a:lnTo>
                  <a:lnTo>
                    <a:pt x="7583" y="1213"/>
                  </a:lnTo>
                  <a:lnTo>
                    <a:pt x="7371" y="1125"/>
                  </a:lnTo>
                  <a:lnTo>
                    <a:pt x="7158" y="1038"/>
                  </a:lnTo>
                  <a:lnTo>
                    <a:pt x="6943" y="953"/>
                  </a:lnTo>
                  <a:lnTo>
                    <a:pt x="6836" y="911"/>
                  </a:lnTo>
                  <a:lnTo>
                    <a:pt x="6727" y="869"/>
                  </a:lnTo>
                  <a:lnTo>
                    <a:pt x="6618" y="827"/>
                  </a:lnTo>
                  <a:lnTo>
                    <a:pt x="6508" y="787"/>
                  </a:lnTo>
                  <a:lnTo>
                    <a:pt x="6400" y="747"/>
                  </a:lnTo>
                  <a:lnTo>
                    <a:pt x="6290" y="707"/>
                  </a:lnTo>
                  <a:lnTo>
                    <a:pt x="6180" y="668"/>
                  </a:lnTo>
                  <a:lnTo>
                    <a:pt x="6070" y="631"/>
                  </a:lnTo>
                  <a:lnTo>
                    <a:pt x="5959" y="593"/>
                  </a:lnTo>
                  <a:lnTo>
                    <a:pt x="5848" y="556"/>
                  </a:lnTo>
                  <a:lnTo>
                    <a:pt x="5737" y="521"/>
                  </a:lnTo>
                  <a:lnTo>
                    <a:pt x="5626" y="485"/>
                  </a:lnTo>
                  <a:lnTo>
                    <a:pt x="5515" y="451"/>
                  </a:lnTo>
                  <a:lnTo>
                    <a:pt x="5404" y="418"/>
                  </a:lnTo>
                  <a:lnTo>
                    <a:pt x="5292" y="386"/>
                  </a:lnTo>
                  <a:lnTo>
                    <a:pt x="5181" y="355"/>
                  </a:lnTo>
                  <a:lnTo>
                    <a:pt x="5069" y="324"/>
                  </a:lnTo>
                  <a:lnTo>
                    <a:pt x="4958" y="295"/>
                  </a:lnTo>
                  <a:lnTo>
                    <a:pt x="4846" y="267"/>
                  </a:lnTo>
                  <a:lnTo>
                    <a:pt x="4735" y="240"/>
                  </a:lnTo>
                  <a:lnTo>
                    <a:pt x="4623" y="215"/>
                  </a:lnTo>
                  <a:lnTo>
                    <a:pt x="4511" y="191"/>
                  </a:lnTo>
                  <a:lnTo>
                    <a:pt x="4400" y="168"/>
                  </a:lnTo>
                  <a:lnTo>
                    <a:pt x="4287" y="146"/>
                  </a:lnTo>
                  <a:lnTo>
                    <a:pt x="4234" y="136"/>
                  </a:lnTo>
                  <a:lnTo>
                    <a:pt x="4162" y="125"/>
                  </a:lnTo>
                  <a:lnTo>
                    <a:pt x="4075" y="112"/>
                  </a:lnTo>
                  <a:lnTo>
                    <a:pt x="3975" y="98"/>
                  </a:lnTo>
                  <a:lnTo>
                    <a:pt x="3865" y="84"/>
                  </a:lnTo>
                  <a:lnTo>
                    <a:pt x="3749" y="69"/>
                  </a:lnTo>
                  <a:lnTo>
                    <a:pt x="3627" y="54"/>
                  </a:lnTo>
                  <a:lnTo>
                    <a:pt x="3504" y="40"/>
                  </a:lnTo>
                  <a:lnTo>
                    <a:pt x="3381" y="27"/>
                  </a:lnTo>
                  <a:lnTo>
                    <a:pt x="3262" y="17"/>
                  </a:lnTo>
                  <a:lnTo>
                    <a:pt x="3148" y="8"/>
                  </a:lnTo>
                  <a:lnTo>
                    <a:pt x="3043" y="2"/>
                  </a:lnTo>
                  <a:lnTo>
                    <a:pt x="2994" y="1"/>
                  </a:lnTo>
                  <a:lnTo>
                    <a:pt x="2949" y="0"/>
                  </a:lnTo>
                  <a:lnTo>
                    <a:pt x="2908" y="0"/>
                  </a:lnTo>
                  <a:lnTo>
                    <a:pt x="2869" y="1"/>
                  </a:lnTo>
                  <a:lnTo>
                    <a:pt x="2834" y="3"/>
                  </a:lnTo>
                  <a:lnTo>
                    <a:pt x="2806" y="7"/>
                  </a:lnTo>
                  <a:lnTo>
                    <a:pt x="2780" y="11"/>
                  </a:lnTo>
                  <a:lnTo>
                    <a:pt x="2761" y="17"/>
                  </a:lnTo>
                  <a:lnTo>
                    <a:pt x="2724" y="19"/>
                  </a:lnTo>
                  <a:lnTo>
                    <a:pt x="2689" y="24"/>
                  </a:lnTo>
                  <a:lnTo>
                    <a:pt x="2655" y="29"/>
                  </a:lnTo>
                  <a:lnTo>
                    <a:pt x="2620" y="35"/>
                  </a:lnTo>
                  <a:lnTo>
                    <a:pt x="2586" y="43"/>
                  </a:lnTo>
                  <a:lnTo>
                    <a:pt x="2552" y="53"/>
                  </a:lnTo>
                  <a:lnTo>
                    <a:pt x="2518" y="63"/>
                  </a:lnTo>
                  <a:lnTo>
                    <a:pt x="2486" y="73"/>
                  </a:lnTo>
                  <a:lnTo>
                    <a:pt x="2454" y="85"/>
                  </a:lnTo>
                  <a:lnTo>
                    <a:pt x="2423" y="97"/>
                  </a:lnTo>
                  <a:lnTo>
                    <a:pt x="2393" y="111"/>
                  </a:lnTo>
                  <a:lnTo>
                    <a:pt x="2363" y="125"/>
                  </a:lnTo>
                  <a:lnTo>
                    <a:pt x="2333" y="138"/>
                  </a:lnTo>
                  <a:lnTo>
                    <a:pt x="2306" y="153"/>
                  </a:lnTo>
                  <a:lnTo>
                    <a:pt x="2278" y="169"/>
                  </a:lnTo>
                  <a:lnTo>
                    <a:pt x="2252" y="184"/>
                  </a:lnTo>
                  <a:lnTo>
                    <a:pt x="2218" y="205"/>
                  </a:lnTo>
                  <a:lnTo>
                    <a:pt x="2187" y="224"/>
                  </a:lnTo>
                  <a:lnTo>
                    <a:pt x="2158" y="244"/>
                  </a:lnTo>
                  <a:lnTo>
                    <a:pt x="2132" y="262"/>
                  </a:lnTo>
                  <a:lnTo>
                    <a:pt x="2108" y="280"/>
                  </a:lnTo>
                  <a:lnTo>
                    <a:pt x="2086" y="298"/>
                  </a:lnTo>
                  <a:lnTo>
                    <a:pt x="2065" y="315"/>
                  </a:lnTo>
                  <a:lnTo>
                    <a:pt x="2046" y="332"/>
                  </a:lnTo>
                  <a:lnTo>
                    <a:pt x="2007" y="367"/>
                  </a:lnTo>
                  <a:lnTo>
                    <a:pt x="1968" y="405"/>
                  </a:lnTo>
                  <a:lnTo>
                    <a:pt x="1927" y="446"/>
                  </a:lnTo>
                  <a:lnTo>
                    <a:pt x="1878" y="491"/>
                  </a:lnTo>
                  <a:lnTo>
                    <a:pt x="1866" y="504"/>
                  </a:lnTo>
                  <a:lnTo>
                    <a:pt x="1853" y="517"/>
                  </a:lnTo>
                  <a:lnTo>
                    <a:pt x="1838" y="533"/>
                  </a:lnTo>
                  <a:lnTo>
                    <a:pt x="1823" y="550"/>
                  </a:lnTo>
                  <a:lnTo>
                    <a:pt x="1790" y="592"/>
                  </a:lnTo>
                  <a:lnTo>
                    <a:pt x="1754" y="637"/>
                  </a:lnTo>
                  <a:lnTo>
                    <a:pt x="1717" y="689"/>
                  </a:lnTo>
                  <a:lnTo>
                    <a:pt x="1679" y="744"/>
                  </a:lnTo>
                  <a:lnTo>
                    <a:pt x="1639" y="802"/>
                  </a:lnTo>
                  <a:lnTo>
                    <a:pt x="1600" y="863"/>
                  </a:lnTo>
                  <a:lnTo>
                    <a:pt x="1561" y="926"/>
                  </a:lnTo>
                  <a:lnTo>
                    <a:pt x="1524" y="988"/>
                  </a:lnTo>
                  <a:lnTo>
                    <a:pt x="1488" y="1051"/>
                  </a:lnTo>
                  <a:lnTo>
                    <a:pt x="1454" y="1111"/>
                  </a:lnTo>
                  <a:lnTo>
                    <a:pt x="1425" y="1170"/>
                  </a:lnTo>
                  <a:lnTo>
                    <a:pt x="1398" y="1226"/>
                  </a:lnTo>
                  <a:lnTo>
                    <a:pt x="1387" y="1252"/>
                  </a:lnTo>
                  <a:lnTo>
                    <a:pt x="1377" y="1277"/>
                  </a:lnTo>
                  <a:lnTo>
                    <a:pt x="1367" y="1301"/>
                  </a:lnTo>
                  <a:lnTo>
                    <a:pt x="1359" y="1323"/>
                  </a:lnTo>
                  <a:lnTo>
                    <a:pt x="1340" y="1362"/>
                  </a:lnTo>
                  <a:lnTo>
                    <a:pt x="1320" y="1404"/>
                  </a:lnTo>
                  <a:lnTo>
                    <a:pt x="1300" y="1449"/>
                  </a:lnTo>
                  <a:lnTo>
                    <a:pt x="1280" y="1496"/>
                  </a:lnTo>
                  <a:lnTo>
                    <a:pt x="1261" y="1545"/>
                  </a:lnTo>
                  <a:lnTo>
                    <a:pt x="1241" y="1596"/>
                  </a:lnTo>
                  <a:lnTo>
                    <a:pt x="1222" y="1648"/>
                  </a:lnTo>
                  <a:lnTo>
                    <a:pt x="1204" y="1702"/>
                  </a:lnTo>
                  <a:lnTo>
                    <a:pt x="1167" y="1808"/>
                  </a:lnTo>
                  <a:lnTo>
                    <a:pt x="1133" y="1915"/>
                  </a:lnTo>
                  <a:lnTo>
                    <a:pt x="1101" y="2016"/>
                  </a:lnTo>
                  <a:lnTo>
                    <a:pt x="1071" y="2110"/>
                  </a:lnTo>
                  <a:lnTo>
                    <a:pt x="1055" y="2162"/>
                  </a:lnTo>
                  <a:lnTo>
                    <a:pt x="1039" y="2213"/>
                  </a:lnTo>
                  <a:lnTo>
                    <a:pt x="1023" y="2264"/>
                  </a:lnTo>
                  <a:lnTo>
                    <a:pt x="1008" y="2315"/>
                  </a:lnTo>
                  <a:lnTo>
                    <a:pt x="992" y="2367"/>
                  </a:lnTo>
                  <a:lnTo>
                    <a:pt x="976" y="2418"/>
                  </a:lnTo>
                  <a:lnTo>
                    <a:pt x="960" y="2471"/>
                  </a:lnTo>
                  <a:lnTo>
                    <a:pt x="944" y="2523"/>
                  </a:lnTo>
                  <a:lnTo>
                    <a:pt x="929" y="2573"/>
                  </a:lnTo>
                  <a:lnTo>
                    <a:pt x="913" y="2626"/>
                  </a:lnTo>
                  <a:lnTo>
                    <a:pt x="896" y="2682"/>
                  </a:lnTo>
                  <a:lnTo>
                    <a:pt x="880" y="2740"/>
                  </a:lnTo>
                  <a:lnTo>
                    <a:pt x="864" y="2797"/>
                  </a:lnTo>
                  <a:lnTo>
                    <a:pt x="849" y="2852"/>
                  </a:lnTo>
                  <a:lnTo>
                    <a:pt x="836" y="2906"/>
                  </a:lnTo>
                  <a:lnTo>
                    <a:pt x="827" y="2955"/>
                  </a:lnTo>
                  <a:lnTo>
                    <a:pt x="818" y="2977"/>
                  </a:lnTo>
                  <a:lnTo>
                    <a:pt x="809" y="3003"/>
                  </a:lnTo>
                  <a:lnTo>
                    <a:pt x="800" y="3033"/>
                  </a:lnTo>
                  <a:lnTo>
                    <a:pt x="790" y="3067"/>
                  </a:lnTo>
                  <a:lnTo>
                    <a:pt x="770" y="3142"/>
                  </a:lnTo>
                  <a:lnTo>
                    <a:pt x="749" y="3225"/>
                  </a:lnTo>
                  <a:lnTo>
                    <a:pt x="730" y="3310"/>
                  </a:lnTo>
                  <a:lnTo>
                    <a:pt x="712" y="3390"/>
                  </a:lnTo>
                  <a:lnTo>
                    <a:pt x="696" y="3461"/>
                  </a:lnTo>
                  <a:lnTo>
                    <a:pt x="683" y="3519"/>
                  </a:lnTo>
                  <a:lnTo>
                    <a:pt x="666" y="3593"/>
                  </a:lnTo>
                  <a:lnTo>
                    <a:pt x="649" y="3667"/>
                  </a:lnTo>
                  <a:lnTo>
                    <a:pt x="633" y="3740"/>
                  </a:lnTo>
                  <a:lnTo>
                    <a:pt x="617" y="3813"/>
                  </a:lnTo>
                  <a:lnTo>
                    <a:pt x="601" y="3886"/>
                  </a:lnTo>
                  <a:lnTo>
                    <a:pt x="585" y="3960"/>
                  </a:lnTo>
                  <a:lnTo>
                    <a:pt x="569" y="4033"/>
                  </a:lnTo>
                  <a:lnTo>
                    <a:pt x="553" y="4108"/>
                  </a:lnTo>
                  <a:lnTo>
                    <a:pt x="537" y="4182"/>
                  </a:lnTo>
                  <a:lnTo>
                    <a:pt x="522" y="4256"/>
                  </a:lnTo>
                  <a:lnTo>
                    <a:pt x="506" y="4330"/>
                  </a:lnTo>
                  <a:lnTo>
                    <a:pt x="491" y="4406"/>
                  </a:lnTo>
                  <a:lnTo>
                    <a:pt x="476" y="4483"/>
                  </a:lnTo>
                  <a:lnTo>
                    <a:pt x="461" y="4559"/>
                  </a:lnTo>
                  <a:lnTo>
                    <a:pt x="447" y="4636"/>
                  </a:lnTo>
                  <a:lnTo>
                    <a:pt x="433" y="4714"/>
                  </a:lnTo>
                  <a:lnTo>
                    <a:pt x="419" y="4791"/>
                  </a:lnTo>
                  <a:lnTo>
                    <a:pt x="405" y="4868"/>
                  </a:lnTo>
                  <a:lnTo>
                    <a:pt x="392" y="4946"/>
                  </a:lnTo>
                  <a:lnTo>
                    <a:pt x="380" y="5024"/>
                  </a:lnTo>
                  <a:lnTo>
                    <a:pt x="367" y="5100"/>
                  </a:lnTo>
                  <a:lnTo>
                    <a:pt x="356" y="5177"/>
                  </a:lnTo>
                  <a:lnTo>
                    <a:pt x="346" y="5253"/>
                  </a:lnTo>
                  <a:lnTo>
                    <a:pt x="335" y="5328"/>
                  </a:lnTo>
                  <a:lnTo>
                    <a:pt x="320" y="5442"/>
                  </a:lnTo>
                  <a:lnTo>
                    <a:pt x="304" y="5555"/>
                  </a:lnTo>
                  <a:lnTo>
                    <a:pt x="289" y="5668"/>
                  </a:lnTo>
                  <a:lnTo>
                    <a:pt x="275" y="5781"/>
                  </a:lnTo>
                  <a:lnTo>
                    <a:pt x="259" y="5896"/>
                  </a:lnTo>
                  <a:lnTo>
                    <a:pt x="244" y="6009"/>
                  </a:lnTo>
                  <a:lnTo>
                    <a:pt x="229" y="6124"/>
                  </a:lnTo>
                  <a:lnTo>
                    <a:pt x="214" y="6238"/>
                  </a:lnTo>
                  <a:lnTo>
                    <a:pt x="199" y="6352"/>
                  </a:lnTo>
                  <a:lnTo>
                    <a:pt x="185" y="6467"/>
                  </a:lnTo>
                  <a:lnTo>
                    <a:pt x="173" y="6581"/>
                  </a:lnTo>
                  <a:lnTo>
                    <a:pt x="160" y="6697"/>
                  </a:lnTo>
                  <a:lnTo>
                    <a:pt x="148" y="6811"/>
                  </a:lnTo>
                  <a:lnTo>
                    <a:pt x="137" y="6927"/>
                  </a:lnTo>
                  <a:lnTo>
                    <a:pt x="127" y="7042"/>
                  </a:lnTo>
                  <a:lnTo>
                    <a:pt x="119" y="7158"/>
                  </a:lnTo>
                  <a:lnTo>
                    <a:pt x="105" y="7319"/>
                  </a:lnTo>
                  <a:lnTo>
                    <a:pt x="92" y="7481"/>
                  </a:lnTo>
                  <a:lnTo>
                    <a:pt x="79" y="7643"/>
                  </a:lnTo>
                  <a:lnTo>
                    <a:pt x="65" y="7805"/>
                  </a:lnTo>
                  <a:lnTo>
                    <a:pt x="54" y="7967"/>
                  </a:lnTo>
                  <a:lnTo>
                    <a:pt x="42" y="8130"/>
                  </a:lnTo>
                  <a:lnTo>
                    <a:pt x="31" y="8293"/>
                  </a:lnTo>
                  <a:lnTo>
                    <a:pt x="22" y="8456"/>
                  </a:lnTo>
                  <a:lnTo>
                    <a:pt x="14" y="8619"/>
                  </a:lnTo>
                  <a:lnTo>
                    <a:pt x="8" y="8782"/>
                  </a:lnTo>
                  <a:lnTo>
                    <a:pt x="3" y="8946"/>
                  </a:lnTo>
                  <a:lnTo>
                    <a:pt x="0" y="9109"/>
                  </a:lnTo>
                  <a:lnTo>
                    <a:pt x="0" y="9190"/>
                  </a:lnTo>
                  <a:lnTo>
                    <a:pt x="0" y="9273"/>
                  </a:lnTo>
                  <a:lnTo>
                    <a:pt x="1" y="9354"/>
                  </a:lnTo>
                  <a:lnTo>
                    <a:pt x="2" y="9437"/>
                  </a:lnTo>
                  <a:lnTo>
                    <a:pt x="3" y="9518"/>
                  </a:lnTo>
                  <a:lnTo>
                    <a:pt x="7" y="9599"/>
                  </a:lnTo>
                  <a:lnTo>
                    <a:pt x="10" y="9681"/>
                  </a:lnTo>
                  <a:lnTo>
                    <a:pt x="14" y="9763"/>
                  </a:lnTo>
                  <a:lnTo>
                    <a:pt x="21" y="9885"/>
                  </a:lnTo>
                  <a:lnTo>
                    <a:pt x="27" y="10006"/>
                  </a:lnTo>
                  <a:lnTo>
                    <a:pt x="34" y="10128"/>
                  </a:lnTo>
                  <a:lnTo>
                    <a:pt x="41" y="10249"/>
                  </a:lnTo>
                  <a:lnTo>
                    <a:pt x="47" y="10369"/>
                  </a:lnTo>
                  <a:lnTo>
                    <a:pt x="54" y="10490"/>
                  </a:lnTo>
                  <a:lnTo>
                    <a:pt x="61" y="10611"/>
                  </a:lnTo>
                  <a:lnTo>
                    <a:pt x="68" y="10731"/>
                  </a:lnTo>
                  <a:lnTo>
                    <a:pt x="74" y="10851"/>
                  </a:lnTo>
                  <a:lnTo>
                    <a:pt x="82" y="10971"/>
                  </a:lnTo>
                  <a:lnTo>
                    <a:pt x="90" y="11091"/>
                  </a:lnTo>
                  <a:lnTo>
                    <a:pt x="98" y="11213"/>
                  </a:lnTo>
                  <a:lnTo>
                    <a:pt x="108" y="11333"/>
                  </a:lnTo>
                  <a:lnTo>
                    <a:pt x="117" y="11454"/>
                  </a:lnTo>
                  <a:lnTo>
                    <a:pt x="127" y="11575"/>
                  </a:lnTo>
                  <a:lnTo>
                    <a:pt x="138" y="11697"/>
                  </a:lnTo>
                  <a:lnTo>
                    <a:pt x="149" y="11811"/>
                  </a:lnTo>
                  <a:lnTo>
                    <a:pt x="160" y="11926"/>
                  </a:lnTo>
                  <a:lnTo>
                    <a:pt x="172" y="12040"/>
                  </a:lnTo>
                  <a:lnTo>
                    <a:pt x="184" y="12154"/>
                  </a:lnTo>
                  <a:lnTo>
                    <a:pt x="197" y="12269"/>
                  </a:lnTo>
                  <a:lnTo>
                    <a:pt x="209" y="12383"/>
                  </a:lnTo>
                  <a:lnTo>
                    <a:pt x="223" y="12498"/>
                  </a:lnTo>
                  <a:lnTo>
                    <a:pt x="237" y="12611"/>
                  </a:lnTo>
                  <a:lnTo>
                    <a:pt x="252" y="12725"/>
                  </a:lnTo>
                  <a:lnTo>
                    <a:pt x="267" y="12839"/>
                  </a:lnTo>
                  <a:lnTo>
                    <a:pt x="281" y="12953"/>
                  </a:lnTo>
                  <a:lnTo>
                    <a:pt x="298" y="13066"/>
                  </a:lnTo>
                  <a:lnTo>
                    <a:pt x="314" y="13180"/>
                  </a:lnTo>
                  <a:lnTo>
                    <a:pt x="331" y="13293"/>
                  </a:lnTo>
                  <a:lnTo>
                    <a:pt x="349" y="13406"/>
                  </a:lnTo>
                  <a:lnTo>
                    <a:pt x="366" y="13519"/>
                  </a:lnTo>
                  <a:lnTo>
                    <a:pt x="398" y="13707"/>
                  </a:lnTo>
                  <a:lnTo>
                    <a:pt x="433" y="13905"/>
                  </a:lnTo>
                  <a:lnTo>
                    <a:pt x="470" y="14110"/>
                  </a:lnTo>
                  <a:lnTo>
                    <a:pt x="511" y="14322"/>
                  </a:lnTo>
                  <a:lnTo>
                    <a:pt x="555" y="14538"/>
                  </a:lnTo>
                  <a:lnTo>
                    <a:pt x="602" y="14757"/>
                  </a:lnTo>
                  <a:lnTo>
                    <a:pt x="650" y="14979"/>
                  </a:lnTo>
                  <a:lnTo>
                    <a:pt x="701" y="15200"/>
                  </a:lnTo>
                  <a:lnTo>
                    <a:pt x="729" y="15311"/>
                  </a:lnTo>
                  <a:lnTo>
                    <a:pt x="755" y="15420"/>
                  </a:lnTo>
                  <a:lnTo>
                    <a:pt x="784" y="15530"/>
                  </a:lnTo>
                  <a:lnTo>
                    <a:pt x="811" y="15639"/>
                  </a:lnTo>
                  <a:lnTo>
                    <a:pt x="840" y="15747"/>
                  </a:lnTo>
                  <a:lnTo>
                    <a:pt x="870" y="15854"/>
                  </a:lnTo>
                  <a:lnTo>
                    <a:pt x="899" y="15959"/>
                  </a:lnTo>
                  <a:lnTo>
                    <a:pt x="929" y="16064"/>
                  </a:lnTo>
                  <a:lnTo>
                    <a:pt x="960" y="16165"/>
                  </a:lnTo>
                  <a:lnTo>
                    <a:pt x="991" y="16266"/>
                  </a:lnTo>
                  <a:lnTo>
                    <a:pt x="1022" y="16365"/>
                  </a:lnTo>
                  <a:lnTo>
                    <a:pt x="1054" y="16461"/>
                  </a:lnTo>
                  <a:lnTo>
                    <a:pt x="1086" y="16556"/>
                  </a:lnTo>
                  <a:lnTo>
                    <a:pt x="1119" y="16646"/>
                  </a:lnTo>
                  <a:lnTo>
                    <a:pt x="1152" y="16735"/>
                  </a:lnTo>
                  <a:lnTo>
                    <a:pt x="1185" y="16821"/>
                  </a:lnTo>
                  <a:lnTo>
                    <a:pt x="1225" y="16920"/>
                  </a:lnTo>
                  <a:lnTo>
                    <a:pt x="1267" y="17017"/>
                  </a:lnTo>
                  <a:lnTo>
                    <a:pt x="1288" y="17064"/>
                  </a:lnTo>
                  <a:lnTo>
                    <a:pt x="1310" y="17111"/>
                  </a:lnTo>
                  <a:lnTo>
                    <a:pt x="1332" y="17156"/>
                  </a:lnTo>
                  <a:lnTo>
                    <a:pt x="1354" y="17202"/>
                  </a:lnTo>
                  <a:lnTo>
                    <a:pt x="1377" y="17247"/>
                  </a:lnTo>
                  <a:lnTo>
                    <a:pt x="1399" y="17290"/>
                  </a:lnTo>
                  <a:lnTo>
                    <a:pt x="1423" y="17334"/>
                  </a:lnTo>
                  <a:lnTo>
                    <a:pt x="1447" y="17376"/>
                  </a:lnTo>
                  <a:lnTo>
                    <a:pt x="1471" y="17417"/>
                  </a:lnTo>
                  <a:lnTo>
                    <a:pt x="1496" y="17459"/>
                  </a:lnTo>
                  <a:lnTo>
                    <a:pt x="1521" y="17499"/>
                  </a:lnTo>
                  <a:lnTo>
                    <a:pt x="1546" y="17538"/>
                  </a:lnTo>
                  <a:lnTo>
                    <a:pt x="1572" y="17576"/>
                  </a:lnTo>
                  <a:lnTo>
                    <a:pt x="1598" y="17614"/>
                  </a:lnTo>
                  <a:lnTo>
                    <a:pt x="1625" y="17651"/>
                  </a:lnTo>
                  <a:lnTo>
                    <a:pt x="1652" y="17687"/>
                  </a:lnTo>
                  <a:lnTo>
                    <a:pt x="1680" y="17722"/>
                  </a:lnTo>
                  <a:lnTo>
                    <a:pt x="1707" y="17756"/>
                  </a:lnTo>
                  <a:lnTo>
                    <a:pt x="1736" y="17789"/>
                  </a:lnTo>
                  <a:lnTo>
                    <a:pt x="1764" y="17822"/>
                  </a:lnTo>
                  <a:lnTo>
                    <a:pt x="1794" y="17853"/>
                  </a:lnTo>
                  <a:lnTo>
                    <a:pt x="1824" y="17884"/>
                  </a:lnTo>
                  <a:lnTo>
                    <a:pt x="1854" y="17914"/>
                  </a:lnTo>
                  <a:lnTo>
                    <a:pt x="1885" y="17943"/>
                  </a:lnTo>
                  <a:lnTo>
                    <a:pt x="1917" y="17970"/>
                  </a:lnTo>
                  <a:lnTo>
                    <a:pt x="1947" y="17998"/>
                  </a:lnTo>
                  <a:lnTo>
                    <a:pt x="1980" y="18023"/>
                  </a:lnTo>
                  <a:lnTo>
                    <a:pt x="2013" y="18048"/>
                  </a:lnTo>
                  <a:lnTo>
                    <a:pt x="2052" y="18075"/>
                  </a:lnTo>
                  <a:lnTo>
                    <a:pt x="2091" y="18102"/>
                  </a:lnTo>
                  <a:lnTo>
                    <a:pt x="2132" y="18127"/>
                  </a:lnTo>
                  <a:lnTo>
                    <a:pt x="2173" y="18151"/>
                  </a:lnTo>
                  <a:lnTo>
                    <a:pt x="2215" y="18174"/>
                  </a:lnTo>
                  <a:lnTo>
                    <a:pt x="2259" y="18194"/>
                  </a:lnTo>
                  <a:lnTo>
                    <a:pt x="2303" y="18214"/>
                  </a:lnTo>
                  <a:lnTo>
                    <a:pt x="2349" y="18232"/>
                  </a:lnTo>
                  <a:lnTo>
                    <a:pt x="2397" y="18249"/>
                  </a:lnTo>
                  <a:lnTo>
                    <a:pt x="2446" y="18264"/>
                  </a:lnTo>
                  <a:lnTo>
                    <a:pt x="2497" y="18277"/>
                  </a:lnTo>
                  <a:lnTo>
                    <a:pt x="2549" y="18287"/>
                  </a:lnTo>
                  <a:lnTo>
                    <a:pt x="2576" y="18292"/>
                  </a:lnTo>
                  <a:lnTo>
                    <a:pt x="2603" y="18296"/>
                  </a:lnTo>
                  <a:lnTo>
                    <a:pt x="2631" y="18300"/>
                  </a:lnTo>
                  <a:lnTo>
                    <a:pt x="2658" y="18303"/>
                  </a:lnTo>
                  <a:lnTo>
                    <a:pt x="2687" y="18305"/>
                  </a:lnTo>
                  <a:lnTo>
                    <a:pt x="2716" y="18308"/>
                  </a:lnTo>
                  <a:lnTo>
                    <a:pt x="2745" y="18309"/>
                  </a:lnTo>
                  <a:lnTo>
                    <a:pt x="2776" y="18309"/>
                  </a:lnTo>
                  <a:lnTo>
                    <a:pt x="2835" y="18310"/>
                  </a:lnTo>
                  <a:lnTo>
                    <a:pt x="2896" y="18310"/>
                  </a:lnTo>
                  <a:lnTo>
                    <a:pt x="2957" y="18309"/>
                  </a:lnTo>
                  <a:lnTo>
                    <a:pt x="3017" y="18308"/>
                  </a:lnTo>
                  <a:lnTo>
                    <a:pt x="3079" y="18305"/>
                  </a:lnTo>
                  <a:lnTo>
                    <a:pt x="3140" y="18303"/>
                  </a:lnTo>
                  <a:lnTo>
                    <a:pt x="3200" y="18300"/>
                  </a:lnTo>
                  <a:lnTo>
                    <a:pt x="3262" y="18296"/>
                  </a:lnTo>
                  <a:lnTo>
                    <a:pt x="3323" y="18292"/>
                  </a:lnTo>
                  <a:lnTo>
                    <a:pt x="3384" y="18287"/>
                  </a:lnTo>
                  <a:lnTo>
                    <a:pt x="3444" y="18283"/>
                  </a:lnTo>
                  <a:lnTo>
                    <a:pt x="3505" y="18277"/>
                  </a:lnTo>
                  <a:lnTo>
                    <a:pt x="3565" y="18271"/>
                  </a:lnTo>
                  <a:lnTo>
                    <a:pt x="3625" y="18264"/>
                  </a:lnTo>
                  <a:lnTo>
                    <a:pt x="3686" y="18257"/>
                  </a:lnTo>
                  <a:lnTo>
                    <a:pt x="3745" y="18250"/>
                  </a:lnTo>
                  <a:lnTo>
                    <a:pt x="3829" y="18240"/>
                  </a:lnTo>
                  <a:lnTo>
                    <a:pt x="3912" y="18230"/>
                  </a:lnTo>
                  <a:lnTo>
                    <a:pt x="3995" y="18218"/>
                  </a:lnTo>
                  <a:lnTo>
                    <a:pt x="4076" y="18206"/>
                  </a:lnTo>
                  <a:lnTo>
                    <a:pt x="4157" y="18192"/>
                  </a:lnTo>
                  <a:lnTo>
                    <a:pt x="4236" y="18178"/>
                  </a:lnTo>
                  <a:lnTo>
                    <a:pt x="4316" y="18165"/>
                  </a:lnTo>
                  <a:lnTo>
                    <a:pt x="4395" y="18150"/>
                  </a:lnTo>
                  <a:lnTo>
                    <a:pt x="4473" y="18134"/>
                  </a:lnTo>
                  <a:lnTo>
                    <a:pt x="4549" y="18118"/>
                  </a:lnTo>
                  <a:lnTo>
                    <a:pt x="4627" y="18101"/>
                  </a:lnTo>
                  <a:lnTo>
                    <a:pt x="4704" y="18083"/>
                  </a:lnTo>
                  <a:lnTo>
                    <a:pt x="4779" y="18066"/>
                  </a:lnTo>
                  <a:lnTo>
                    <a:pt x="4855" y="18048"/>
                  </a:lnTo>
                  <a:lnTo>
                    <a:pt x="4931" y="18028"/>
                  </a:lnTo>
                  <a:lnTo>
                    <a:pt x="5006" y="18009"/>
                  </a:lnTo>
                  <a:lnTo>
                    <a:pt x="5156" y="17969"/>
                  </a:lnTo>
                  <a:lnTo>
                    <a:pt x="5305" y="17927"/>
                  </a:lnTo>
                  <a:lnTo>
                    <a:pt x="5455" y="17882"/>
                  </a:lnTo>
                  <a:lnTo>
                    <a:pt x="5603" y="17836"/>
                  </a:lnTo>
                  <a:lnTo>
                    <a:pt x="5753" y="17789"/>
                  </a:lnTo>
                  <a:lnTo>
                    <a:pt x="5904" y="17741"/>
                  </a:lnTo>
                  <a:lnTo>
                    <a:pt x="6056" y="17691"/>
                  </a:lnTo>
                  <a:lnTo>
                    <a:pt x="6211" y="17639"/>
                  </a:lnTo>
                  <a:lnTo>
                    <a:pt x="6273" y="17619"/>
                  </a:lnTo>
                  <a:lnTo>
                    <a:pt x="6368" y="17586"/>
                  </a:lnTo>
                  <a:lnTo>
                    <a:pt x="6483" y="17544"/>
                  </a:lnTo>
                  <a:lnTo>
                    <a:pt x="6608" y="17501"/>
                  </a:lnTo>
                  <a:lnTo>
                    <a:pt x="6729" y="17456"/>
                  </a:lnTo>
                  <a:lnTo>
                    <a:pt x="6837" y="17415"/>
                  </a:lnTo>
                  <a:lnTo>
                    <a:pt x="6881" y="17398"/>
                  </a:lnTo>
                  <a:lnTo>
                    <a:pt x="6917" y="17382"/>
                  </a:lnTo>
                  <a:lnTo>
                    <a:pt x="6943" y="17369"/>
                  </a:lnTo>
                  <a:lnTo>
                    <a:pt x="6959" y="17361"/>
                  </a:lnTo>
                  <a:lnTo>
                    <a:pt x="6994" y="17351"/>
                  </a:lnTo>
                  <a:lnTo>
                    <a:pt x="7046" y="17333"/>
                  </a:lnTo>
                  <a:lnTo>
                    <a:pt x="7116" y="17308"/>
                  </a:lnTo>
                  <a:lnTo>
                    <a:pt x="7200" y="17277"/>
                  </a:lnTo>
                  <a:lnTo>
                    <a:pt x="7294" y="17240"/>
                  </a:lnTo>
                  <a:lnTo>
                    <a:pt x="7397" y="17200"/>
                  </a:lnTo>
                  <a:lnTo>
                    <a:pt x="7507" y="17156"/>
                  </a:lnTo>
                  <a:lnTo>
                    <a:pt x="7621" y="17112"/>
                  </a:lnTo>
                  <a:lnTo>
                    <a:pt x="7734" y="17066"/>
                  </a:lnTo>
                  <a:lnTo>
                    <a:pt x="7846" y="17021"/>
                  </a:lnTo>
                  <a:lnTo>
                    <a:pt x="7955" y="16977"/>
                  </a:lnTo>
                  <a:lnTo>
                    <a:pt x="8057" y="16937"/>
                  </a:lnTo>
                  <a:lnTo>
                    <a:pt x="8148" y="16899"/>
                  </a:lnTo>
                  <a:lnTo>
                    <a:pt x="8228" y="16867"/>
                  </a:lnTo>
                  <a:lnTo>
                    <a:pt x="8295" y="16841"/>
                  </a:lnTo>
                  <a:lnTo>
                    <a:pt x="8344" y="16821"/>
                  </a:lnTo>
                  <a:lnTo>
                    <a:pt x="8396" y="16799"/>
                  </a:lnTo>
                  <a:lnTo>
                    <a:pt x="8454" y="16778"/>
                  </a:lnTo>
                  <a:lnTo>
                    <a:pt x="8513" y="16755"/>
                  </a:lnTo>
                  <a:lnTo>
                    <a:pt x="8574" y="16731"/>
                  </a:lnTo>
                  <a:lnTo>
                    <a:pt x="8633" y="16707"/>
                  </a:lnTo>
                  <a:lnTo>
                    <a:pt x="8690" y="16682"/>
                  </a:lnTo>
                  <a:lnTo>
                    <a:pt x="8744" y="16658"/>
                  </a:lnTo>
                  <a:lnTo>
                    <a:pt x="8792" y="16633"/>
                  </a:lnTo>
                  <a:lnTo>
                    <a:pt x="8829" y="16621"/>
                  </a:lnTo>
                  <a:lnTo>
                    <a:pt x="8872" y="16605"/>
                  </a:lnTo>
                  <a:lnTo>
                    <a:pt x="8918" y="16587"/>
                  </a:lnTo>
                  <a:lnTo>
                    <a:pt x="8965" y="16565"/>
                  </a:lnTo>
                  <a:lnTo>
                    <a:pt x="9013" y="16543"/>
                  </a:lnTo>
                  <a:lnTo>
                    <a:pt x="9059" y="16522"/>
                  </a:lnTo>
                  <a:lnTo>
                    <a:pt x="9100" y="16502"/>
                  </a:lnTo>
                  <a:lnTo>
                    <a:pt x="9137" y="16485"/>
                  </a:lnTo>
                  <a:lnTo>
                    <a:pt x="9178" y="16465"/>
                  </a:lnTo>
                  <a:lnTo>
                    <a:pt x="9220" y="16447"/>
                  </a:lnTo>
                  <a:lnTo>
                    <a:pt x="9263" y="16429"/>
                  </a:lnTo>
                  <a:lnTo>
                    <a:pt x="9304" y="16409"/>
                  </a:lnTo>
                  <a:lnTo>
                    <a:pt x="9346" y="16391"/>
                  </a:lnTo>
                  <a:lnTo>
                    <a:pt x="9388" y="16371"/>
                  </a:lnTo>
                  <a:lnTo>
                    <a:pt x="9430" y="16352"/>
                  </a:lnTo>
                  <a:lnTo>
                    <a:pt x="9471" y="16331"/>
                  </a:lnTo>
                  <a:lnTo>
                    <a:pt x="9550" y="16292"/>
                  </a:lnTo>
                  <a:lnTo>
                    <a:pt x="9633" y="16254"/>
                  </a:lnTo>
                  <a:lnTo>
                    <a:pt x="9720" y="16214"/>
                  </a:lnTo>
                  <a:lnTo>
                    <a:pt x="9807" y="16173"/>
                  </a:lnTo>
                  <a:lnTo>
                    <a:pt x="9894" y="16132"/>
                  </a:lnTo>
                  <a:lnTo>
                    <a:pt x="9978" y="16091"/>
                  </a:lnTo>
                  <a:lnTo>
                    <a:pt x="10018" y="16069"/>
                  </a:lnTo>
                  <a:lnTo>
                    <a:pt x="10057" y="16048"/>
                  </a:lnTo>
                  <a:lnTo>
                    <a:pt x="10093" y="16026"/>
                  </a:lnTo>
                  <a:lnTo>
                    <a:pt x="10129" y="16004"/>
                  </a:lnTo>
                  <a:lnTo>
                    <a:pt x="10153" y="15994"/>
                  </a:lnTo>
                  <a:lnTo>
                    <a:pt x="10184" y="15979"/>
                  </a:lnTo>
                  <a:lnTo>
                    <a:pt x="10220" y="15962"/>
                  </a:lnTo>
                  <a:lnTo>
                    <a:pt x="10263" y="15939"/>
                  </a:lnTo>
                  <a:lnTo>
                    <a:pt x="10363" y="15886"/>
                  </a:lnTo>
                  <a:lnTo>
                    <a:pt x="10482" y="15821"/>
                  </a:lnTo>
                  <a:lnTo>
                    <a:pt x="10614" y="15748"/>
                  </a:lnTo>
                  <a:lnTo>
                    <a:pt x="10756" y="15669"/>
                  </a:lnTo>
                  <a:lnTo>
                    <a:pt x="10903" y="15584"/>
                  </a:lnTo>
                  <a:lnTo>
                    <a:pt x="11053" y="15498"/>
                  </a:lnTo>
                  <a:lnTo>
                    <a:pt x="11202" y="15411"/>
                  </a:lnTo>
                  <a:lnTo>
                    <a:pt x="11344" y="15328"/>
                  </a:lnTo>
                  <a:lnTo>
                    <a:pt x="11477" y="15249"/>
                  </a:lnTo>
                  <a:lnTo>
                    <a:pt x="11597" y="15176"/>
                  </a:lnTo>
                  <a:lnTo>
                    <a:pt x="11700" y="15111"/>
                  </a:lnTo>
                  <a:lnTo>
                    <a:pt x="11781" y="15060"/>
                  </a:lnTo>
                  <a:lnTo>
                    <a:pt x="11813" y="15038"/>
                  </a:lnTo>
                  <a:lnTo>
                    <a:pt x="11838" y="15021"/>
                  </a:lnTo>
                  <a:lnTo>
                    <a:pt x="11857" y="15007"/>
                  </a:lnTo>
                  <a:lnTo>
                    <a:pt x="11867" y="14997"/>
                  </a:lnTo>
                  <a:lnTo>
                    <a:pt x="11879" y="14991"/>
                  </a:lnTo>
                  <a:lnTo>
                    <a:pt x="11898" y="14982"/>
                  </a:lnTo>
                  <a:lnTo>
                    <a:pt x="11919" y="14970"/>
                  </a:lnTo>
                  <a:lnTo>
                    <a:pt x="11947" y="14954"/>
                  </a:lnTo>
                  <a:lnTo>
                    <a:pt x="12012" y="14913"/>
                  </a:lnTo>
                  <a:lnTo>
                    <a:pt x="12090" y="14864"/>
                  </a:lnTo>
                  <a:lnTo>
                    <a:pt x="12179" y="14806"/>
                  </a:lnTo>
                  <a:lnTo>
                    <a:pt x="12276" y="14741"/>
                  </a:lnTo>
                  <a:lnTo>
                    <a:pt x="12379" y="14672"/>
                  </a:lnTo>
                  <a:lnTo>
                    <a:pt x="12485" y="14600"/>
                  </a:lnTo>
                  <a:lnTo>
                    <a:pt x="12590" y="14528"/>
                  </a:lnTo>
                  <a:lnTo>
                    <a:pt x="12694" y="14457"/>
                  </a:lnTo>
                  <a:lnTo>
                    <a:pt x="12791" y="14388"/>
                  </a:lnTo>
                  <a:lnTo>
                    <a:pt x="12883" y="14324"/>
                  </a:lnTo>
                  <a:lnTo>
                    <a:pt x="12963" y="14267"/>
                  </a:lnTo>
                  <a:lnTo>
                    <a:pt x="13031" y="14218"/>
                  </a:lnTo>
                  <a:lnTo>
                    <a:pt x="13083" y="14179"/>
                  </a:lnTo>
                  <a:lnTo>
                    <a:pt x="13116" y="14152"/>
                  </a:lnTo>
                  <a:lnTo>
                    <a:pt x="13131" y="14143"/>
                  </a:lnTo>
                  <a:lnTo>
                    <a:pt x="13152" y="14131"/>
                  </a:lnTo>
                  <a:lnTo>
                    <a:pt x="13179" y="14112"/>
                  </a:lnTo>
                  <a:lnTo>
                    <a:pt x="13212" y="14088"/>
                  </a:lnTo>
                  <a:lnTo>
                    <a:pt x="13294" y="14030"/>
                  </a:lnTo>
                  <a:lnTo>
                    <a:pt x="13392" y="13958"/>
                  </a:lnTo>
                  <a:lnTo>
                    <a:pt x="13505" y="13873"/>
                  </a:lnTo>
                  <a:lnTo>
                    <a:pt x="13628" y="13779"/>
                  </a:lnTo>
                  <a:lnTo>
                    <a:pt x="13758" y="13680"/>
                  </a:lnTo>
                  <a:lnTo>
                    <a:pt x="13891" y="13578"/>
                  </a:lnTo>
                  <a:lnTo>
                    <a:pt x="14024" y="13475"/>
                  </a:lnTo>
                  <a:lnTo>
                    <a:pt x="14153" y="13374"/>
                  </a:lnTo>
                  <a:lnTo>
                    <a:pt x="14274" y="13278"/>
                  </a:lnTo>
                  <a:lnTo>
                    <a:pt x="14385" y="13190"/>
                  </a:lnTo>
                  <a:lnTo>
                    <a:pt x="14481" y="13112"/>
                  </a:lnTo>
                  <a:lnTo>
                    <a:pt x="14559" y="13048"/>
                  </a:lnTo>
                  <a:lnTo>
                    <a:pt x="14590" y="13022"/>
                  </a:lnTo>
                  <a:lnTo>
                    <a:pt x="14615" y="13000"/>
                  </a:lnTo>
                  <a:lnTo>
                    <a:pt x="14634" y="12982"/>
                  </a:lnTo>
                  <a:lnTo>
                    <a:pt x="14645" y="12970"/>
                  </a:lnTo>
                  <a:lnTo>
                    <a:pt x="14658" y="12963"/>
                  </a:lnTo>
                  <a:lnTo>
                    <a:pt x="14673" y="12954"/>
                  </a:lnTo>
                  <a:lnTo>
                    <a:pt x="14690" y="12942"/>
                  </a:lnTo>
                  <a:lnTo>
                    <a:pt x="14708" y="12928"/>
                  </a:lnTo>
                  <a:lnTo>
                    <a:pt x="14751" y="12895"/>
                  </a:lnTo>
                  <a:lnTo>
                    <a:pt x="14802" y="12854"/>
                  </a:lnTo>
                  <a:lnTo>
                    <a:pt x="14857" y="12807"/>
                  </a:lnTo>
                  <a:lnTo>
                    <a:pt x="14917" y="12756"/>
                  </a:lnTo>
                  <a:lnTo>
                    <a:pt x="14979" y="12701"/>
                  </a:lnTo>
                  <a:lnTo>
                    <a:pt x="15044" y="12645"/>
                  </a:lnTo>
                  <a:lnTo>
                    <a:pt x="15110" y="12587"/>
                  </a:lnTo>
                  <a:lnTo>
                    <a:pt x="15175" y="12530"/>
                  </a:lnTo>
                  <a:lnTo>
                    <a:pt x="15238" y="12475"/>
                  </a:lnTo>
                  <a:lnTo>
                    <a:pt x="15298" y="12421"/>
                  </a:lnTo>
                  <a:lnTo>
                    <a:pt x="15354" y="12372"/>
                  </a:lnTo>
                  <a:lnTo>
                    <a:pt x="15405" y="12328"/>
                  </a:lnTo>
                  <a:lnTo>
                    <a:pt x="15451" y="12291"/>
                  </a:lnTo>
                  <a:lnTo>
                    <a:pt x="15487" y="12261"/>
                  </a:lnTo>
                  <a:lnTo>
                    <a:pt x="15508" y="12245"/>
                  </a:lnTo>
                  <a:lnTo>
                    <a:pt x="15520" y="12233"/>
                  </a:lnTo>
                  <a:lnTo>
                    <a:pt x="15534" y="12220"/>
                  </a:lnTo>
                  <a:lnTo>
                    <a:pt x="15555" y="12200"/>
                  </a:lnTo>
                  <a:lnTo>
                    <a:pt x="15765" y="12013"/>
                  </a:lnTo>
                  <a:lnTo>
                    <a:pt x="15798" y="11979"/>
                  </a:lnTo>
                  <a:lnTo>
                    <a:pt x="15830" y="11947"/>
                  </a:lnTo>
                  <a:lnTo>
                    <a:pt x="15863" y="11915"/>
                  </a:lnTo>
                  <a:lnTo>
                    <a:pt x="15895" y="11884"/>
                  </a:lnTo>
                  <a:lnTo>
                    <a:pt x="15927" y="11853"/>
                  </a:lnTo>
                  <a:lnTo>
                    <a:pt x="15959" y="11823"/>
                  </a:lnTo>
                  <a:lnTo>
                    <a:pt x="15992" y="11790"/>
                  </a:lnTo>
                  <a:lnTo>
                    <a:pt x="16025" y="11758"/>
                  </a:lnTo>
                  <a:lnTo>
                    <a:pt x="16052" y="11733"/>
                  </a:lnTo>
                  <a:lnTo>
                    <a:pt x="16089" y="11696"/>
                  </a:lnTo>
                  <a:lnTo>
                    <a:pt x="16136" y="11649"/>
                  </a:lnTo>
                  <a:lnTo>
                    <a:pt x="16190" y="11595"/>
                  </a:lnTo>
                  <a:lnTo>
                    <a:pt x="16248" y="11535"/>
                  </a:lnTo>
                  <a:lnTo>
                    <a:pt x="16311" y="11470"/>
                  </a:lnTo>
                  <a:lnTo>
                    <a:pt x="16377" y="11403"/>
                  </a:lnTo>
                  <a:lnTo>
                    <a:pt x="16443" y="11335"/>
                  </a:lnTo>
                  <a:lnTo>
                    <a:pt x="16508" y="11268"/>
                  </a:lnTo>
                  <a:lnTo>
                    <a:pt x="16571" y="11202"/>
                  </a:lnTo>
                  <a:lnTo>
                    <a:pt x="16629" y="11140"/>
                  </a:lnTo>
                  <a:lnTo>
                    <a:pt x="16681" y="11084"/>
                  </a:lnTo>
                  <a:lnTo>
                    <a:pt x="16726" y="11036"/>
                  </a:lnTo>
                  <a:lnTo>
                    <a:pt x="16761" y="10997"/>
                  </a:lnTo>
                  <a:lnTo>
                    <a:pt x="16786" y="10969"/>
                  </a:lnTo>
                  <a:lnTo>
                    <a:pt x="16797" y="10953"/>
                  </a:lnTo>
                  <a:lnTo>
                    <a:pt x="16818" y="10935"/>
                  </a:lnTo>
                  <a:lnTo>
                    <a:pt x="16837" y="10915"/>
                  </a:lnTo>
                  <a:lnTo>
                    <a:pt x="16856" y="10896"/>
                  </a:lnTo>
                  <a:lnTo>
                    <a:pt x="16874" y="10875"/>
                  </a:lnTo>
                  <a:lnTo>
                    <a:pt x="16908" y="10833"/>
                  </a:lnTo>
                  <a:lnTo>
                    <a:pt x="16943" y="10789"/>
                  </a:lnTo>
                  <a:lnTo>
                    <a:pt x="17006" y="10707"/>
                  </a:lnTo>
                  <a:lnTo>
                    <a:pt x="17067" y="10626"/>
                  </a:lnTo>
                  <a:lnTo>
                    <a:pt x="17128" y="10543"/>
                  </a:lnTo>
                  <a:lnTo>
                    <a:pt x="17185" y="10462"/>
                  </a:lnTo>
                  <a:lnTo>
                    <a:pt x="17214" y="10421"/>
                  </a:lnTo>
                  <a:lnTo>
                    <a:pt x="17241" y="10379"/>
                  </a:lnTo>
                  <a:lnTo>
                    <a:pt x="17269" y="10337"/>
                  </a:lnTo>
                  <a:lnTo>
                    <a:pt x="17295" y="10296"/>
                  </a:lnTo>
                  <a:lnTo>
                    <a:pt x="17321" y="10254"/>
                  </a:lnTo>
                  <a:lnTo>
                    <a:pt x="17347" y="10211"/>
                  </a:lnTo>
                  <a:lnTo>
                    <a:pt x="17372" y="10169"/>
                  </a:lnTo>
                  <a:lnTo>
                    <a:pt x="17396" y="10125"/>
                  </a:lnTo>
                  <a:lnTo>
                    <a:pt x="17419" y="10081"/>
                  </a:lnTo>
                  <a:lnTo>
                    <a:pt x="17442" y="10037"/>
                  </a:lnTo>
                  <a:lnTo>
                    <a:pt x="17463" y="9992"/>
                  </a:lnTo>
                  <a:lnTo>
                    <a:pt x="17485" y="9946"/>
                  </a:lnTo>
                  <a:lnTo>
                    <a:pt x="17505" y="9900"/>
                  </a:lnTo>
                  <a:lnTo>
                    <a:pt x="17524" y="9853"/>
                  </a:lnTo>
                  <a:lnTo>
                    <a:pt x="17543" y="9805"/>
                  </a:lnTo>
                  <a:lnTo>
                    <a:pt x="17561" y="9757"/>
                  </a:lnTo>
                  <a:lnTo>
                    <a:pt x="17578" y="9708"/>
                  </a:lnTo>
                  <a:lnTo>
                    <a:pt x="17594" y="9657"/>
                  </a:lnTo>
                  <a:lnTo>
                    <a:pt x="17609" y="9606"/>
                  </a:lnTo>
                  <a:lnTo>
                    <a:pt x="17622" y="9553"/>
                  </a:lnTo>
                  <a:lnTo>
                    <a:pt x="17636" y="9501"/>
                  </a:lnTo>
                  <a:lnTo>
                    <a:pt x="17648" y="9446"/>
                  </a:lnTo>
                  <a:lnTo>
                    <a:pt x="17659" y="9391"/>
                  </a:lnTo>
                  <a:lnTo>
                    <a:pt x="17669" y="9334"/>
                  </a:lnTo>
                  <a:lnTo>
                    <a:pt x="17673" y="9309"/>
                  </a:lnTo>
                  <a:lnTo>
                    <a:pt x="17675" y="9283"/>
                  </a:lnTo>
                  <a:lnTo>
                    <a:pt x="17675" y="9255"/>
                  </a:lnTo>
                  <a:lnTo>
                    <a:pt x="17674" y="9226"/>
                  </a:lnTo>
                  <a:lnTo>
                    <a:pt x="17672" y="9196"/>
                  </a:lnTo>
                  <a:lnTo>
                    <a:pt x="17669" y="9165"/>
                  </a:lnTo>
                  <a:lnTo>
                    <a:pt x="17665" y="9133"/>
                  </a:lnTo>
                  <a:lnTo>
                    <a:pt x="17659" y="9101"/>
                  </a:lnTo>
                  <a:lnTo>
                    <a:pt x="17653" y="9068"/>
                  </a:lnTo>
                  <a:lnTo>
                    <a:pt x="17645" y="9034"/>
                  </a:lnTo>
                  <a:lnTo>
                    <a:pt x="17637" y="8999"/>
                  </a:lnTo>
                  <a:lnTo>
                    <a:pt x="17629" y="8965"/>
                  </a:lnTo>
                  <a:lnTo>
                    <a:pt x="17609" y="8895"/>
                  </a:lnTo>
                  <a:lnTo>
                    <a:pt x="17587" y="8825"/>
                  </a:lnTo>
                  <a:lnTo>
                    <a:pt x="17563" y="8757"/>
                  </a:lnTo>
                  <a:lnTo>
                    <a:pt x="17539" y="8689"/>
                  </a:lnTo>
                  <a:lnTo>
                    <a:pt x="17513" y="8624"/>
                  </a:lnTo>
                  <a:lnTo>
                    <a:pt x="17487" y="8563"/>
                  </a:lnTo>
                  <a:lnTo>
                    <a:pt x="17462" y="8506"/>
                  </a:lnTo>
                  <a:lnTo>
                    <a:pt x="17437" y="8455"/>
                  </a:lnTo>
                  <a:lnTo>
                    <a:pt x="17415" y="8408"/>
                  </a:lnTo>
                  <a:lnTo>
                    <a:pt x="17394" y="8369"/>
                  </a:lnTo>
                  <a:lnTo>
                    <a:pt x="17360" y="8310"/>
                  </a:lnTo>
                  <a:lnTo>
                    <a:pt x="17328" y="8254"/>
                  </a:lnTo>
                  <a:lnTo>
                    <a:pt x="17297" y="8203"/>
                  </a:lnTo>
                  <a:lnTo>
                    <a:pt x="17268" y="8155"/>
                  </a:lnTo>
                  <a:lnTo>
                    <a:pt x="17239" y="8109"/>
                  </a:lnTo>
                  <a:lnTo>
                    <a:pt x="17210" y="8066"/>
                  </a:lnTo>
                  <a:lnTo>
                    <a:pt x="17182" y="8023"/>
                  </a:lnTo>
                  <a:lnTo>
                    <a:pt x="17153" y="7981"/>
                  </a:lnTo>
                  <a:lnTo>
                    <a:pt x="17123" y="7941"/>
                  </a:lnTo>
                  <a:lnTo>
                    <a:pt x="17093" y="7900"/>
                  </a:lnTo>
                  <a:lnTo>
                    <a:pt x="17062" y="7858"/>
                  </a:lnTo>
                  <a:lnTo>
                    <a:pt x="17029" y="7816"/>
                  </a:lnTo>
                  <a:lnTo>
                    <a:pt x="16958" y="7727"/>
                  </a:lnTo>
                  <a:lnTo>
                    <a:pt x="16877" y="7627"/>
                  </a:lnTo>
                  <a:lnTo>
                    <a:pt x="16843" y="7585"/>
                  </a:lnTo>
                  <a:lnTo>
                    <a:pt x="16805" y="7540"/>
                  </a:lnTo>
                  <a:lnTo>
                    <a:pt x="16766" y="7493"/>
                  </a:lnTo>
                  <a:lnTo>
                    <a:pt x="16725" y="7446"/>
                  </a:lnTo>
                  <a:lnTo>
                    <a:pt x="16641" y="7350"/>
                  </a:lnTo>
                  <a:lnTo>
                    <a:pt x="16551" y="7253"/>
                  </a:lnTo>
                  <a:lnTo>
                    <a:pt x="16462" y="7157"/>
                  </a:lnTo>
                  <a:lnTo>
                    <a:pt x="16373" y="7065"/>
                  </a:lnTo>
                  <a:lnTo>
                    <a:pt x="16287" y="6978"/>
                  </a:lnTo>
                  <a:lnTo>
                    <a:pt x="16207" y="6899"/>
                  </a:lnTo>
                  <a:lnTo>
                    <a:pt x="16179" y="6872"/>
                  </a:lnTo>
                  <a:lnTo>
                    <a:pt x="16153" y="6842"/>
                  </a:lnTo>
                  <a:lnTo>
                    <a:pt x="16127" y="6811"/>
                  </a:lnTo>
                  <a:lnTo>
                    <a:pt x="16099" y="6779"/>
                  </a:lnTo>
                  <a:lnTo>
                    <a:pt x="16071" y="6747"/>
                  </a:lnTo>
                  <a:lnTo>
                    <a:pt x="16042" y="6715"/>
                  </a:lnTo>
                  <a:lnTo>
                    <a:pt x="16011" y="6683"/>
                  </a:lnTo>
                  <a:lnTo>
                    <a:pt x="15979" y="6652"/>
                  </a:lnTo>
                  <a:lnTo>
                    <a:pt x="14313" y="5186"/>
                  </a:lnTo>
                  <a:lnTo>
                    <a:pt x="14230" y="5121"/>
                  </a:lnTo>
                  <a:lnTo>
                    <a:pt x="14144" y="5052"/>
                  </a:lnTo>
                  <a:lnTo>
                    <a:pt x="14058" y="4981"/>
                  </a:lnTo>
                  <a:lnTo>
                    <a:pt x="13972" y="4911"/>
                  </a:lnTo>
                  <a:lnTo>
                    <a:pt x="13885" y="4840"/>
                  </a:lnTo>
                  <a:lnTo>
                    <a:pt x="13797" y="4769"/>
                  </a:lnTo>
                  <a:lnTo>
                    <a:pt x="13709" y="4700"/>
                  </a:lnTo>
                  <a:lnTo>
                    <a:pt x="13622" y="4634"/>
                  </a:lnTo>
                  <a:lnTo>
                    <a:pt x="13528" y="4565"/>
                  </a:lnTo>
                  <a:lnTo>
                    <a:pt x="13437" y="4496"/>
                  </a:lnTo>
                  <a:lnTo>
                    <a:pt x="13348" y="4430"/>
                  </a:lnTo>
                  <a:lnTo>
                    <a:pt x="13259" y="4364"/>
                  </a:lnTo>
                  <a:lnTo>
                    <a:pt x="13172" y="4299"/>
                  </a:lnTo>
                  <a:lnTo>
                    <a:pt x="13085" y="4234"/>
                  </a:lnTo>
                  <a:lnTo>
                    <a:pt x="12999" y="4170"/>
                  </a:lnTo>
                  <a:lnTo>
                    <a:pt x="12913" y="4107"/>
                  </a:lnTo>
                  <a:lnTo>
                    <a:pt x="12826" y="4043"/>
                  </a:lnTo>
                  <a:lnTo>
                    <a:pt x="12738" y="3980"/>
                  </a:lnTo>
                  <a:lnTo>
                    <a:pt x="12650" y="3916"/>
                  </a:lnTo>
                  <a:lnTo>
                    <a:pt x="12559" y="3852"/>
                  </a:lnTo>
                  <a:lnTo>
                    <a:pt x="12468" y="3787"/>
                  </a:lnTo>
                  <a:lnTo>
                    <a:pt x="12373" y="3722"/>
                  </a:lnTo>
                  <a:lnTo>
                    <a:pt x="12276" y="3655"/>
                  </a:lnTo>
                  <a:lnTo>
                    <a:pt x="12177" y="3589"/>
                  </a:lnTo>
                  <a:lnTo>
                    <a:pt x="12083" y="3525"/>
                  </a:lnTo>
                  <a:lnTo>
                    <a:pt x="11988" y="3463"/>
                  </a:lnTo>
                  <a:lnTo>
                    <a:pt x="11893" y="3402"/>
                  </a:lnTo>
                  <a:lnTo>
                    <a:pt x="11798" y="3340"/>
                  </a:lnTo>
                  <a:lnTo>
                    <a:pt x="11702" y="3280"/>
                  </a:lnTo>
                  <a:lnTo>
                    <a:pt x="11606" y="3219"/>
                  </a:lnTo>
                  <a:lnTo>
                    <a:pt x="11509" y="3158"/>
                  </a:lnTo>
                  <a:lnTo>
                    <a:pt x="11411" y="3097"/>
                  </a:lnTo>
                  <a:lnTo>
                    <a:pt x="11318" y="3037"/>
                  </a:lnTo>
                  <a:lnTo>
                    <a:pt x="11222" y="2979"/>
                  </a:lnTo>
                  <a:lnTo>
                    <a:pt x="11125" y="2920"/>
                  </a:lnTo>
                  <a:lnTo>
                    <a:pt x="11028" y="2863"/>
                  </a:lnTo>
                  <a:lnTo>
                    <a:pt x="10930" y="2806"/>
                  </a:lnTo>
                  <a:lnTo>
                    <a:pt x="10831" y="2749"/>
                  </a:lnTo>
                  <a:lnTo>
                    <a:pt x="10732" y="2692"/>
                  </a:lnTo>
                  <a:lnTo>
                    <a:pt x="10631" y="2635"/>
                  </a:lnTo>
                  <a:lnTo>
                    <a:pt x="10529" y="2579"/>
                  </a:lnTo>
                  <a:lnTo>
                    <a:pt x="10427" y="2523"/>
                  </a:lnTo>
                  <a:lnTo>
                    <a:pt x="10326" y="2468"/>
                  </a:lnTo>
                  <a:lnTo>
                    <a:pt x="10223" y="2413"/>
                  </a:lnTo>
                  <a:lnTo>
                    <a:pt x="10120" y="2359"/>
                  </a:lnTo>
                  <a:lnTo>
                    <a:pt x="10015" y="2305"/>
                  </a:lnTo>
                  <a:lnTo>
                    <a:pt x="9911" y="2251"/>
                  </a:lnTo>
                  <a:lnTo>
                    <a:pt x="9807" y="2198"/>
                  </a:lnTo>
                  <a:lnTo>
                    <a:pt x="9735" y="2162"/>
                  </a:lnTo>
                  <a:lnTo>
                    <a:pt x="9660" y="2124"/>
                  </a:lnTo>
                  <a:lnTo>
                    <a:pt x="9583" y="2086"/>
                  </a:lnTo>
                  <a:lnTo>
                    <a:pt x="9504" y="2047"/>
                  </a:lnTo>
                  <a:lnTo>
                    <a:pt x="9423" y="2010"/>
                  </a:lnTo>
                  <a:lnTo>
                    <a:pt x="9340" y="1971"/>
                  </a:lnTo>
                  <a:lnTo>
                    <a:pt x="9258" y="1932"/>
                  </a:lnTo>
                  <a:lnTo>
                    <a:pt x="9174" y="1893"/>
                  </a:lnTo>
                  <a:lnTo>
                    <a:pt x="9091" y="1855"/>
                  </a:lnTo>
                  <a:lnTo>
                    <a:pt x="9006" y="1816"/>
                  </a:lnTo>
                  <a:lnTo>
                    <a:pt x="8923" y="1780"/>
                  </a:lnTo>
                  <a:lnTo>
                    <a:pt x="8840" y="1743"/>
                  </a:lnTo>
                  <a:lnTo>
                    <a:pt x="8759" y="1707"/>
                  </a:lnTo>
                  <a:lnTo>
                    <a:pt x="8679" y="1673"/>
                  </a:lnTo>
                  <a:lnTo>
                    <a:pt x="8600" y="1640"/>
                  </a:lnTo>
                  <a:lnTo>
                    <a:pt x="8523" y="1608"/>
                  </a:lnTo>
                  <a:lnTo>
                    <a:pt x="8472" y="1587"/>
                  </a:lnTo>
                  <a:lnTo>
                    <a:pt x="8417" y="1562"/>
                  </a:lnTo>
                  <a:lnTo>
                    <a:pt x="8360" y="1537"/>
                  </a:lnTo>
                  <a:lnTo>
                    <a:pt x="8300" y="1511"/>
                  </a:lnTo>
                  <a:lnTo>
                    <a:pt x="8242" y="1485"/>
                  </a:lnTo>
                  <a:lnTo>
                    <a:pt x="8184" y="1461"/>
                  </a:lnTo>
                  <a:lnTo>
                    <a:pt x="8156" y="1451"/>
                  </a:lnTo>
                  <a:lnTo>
                    <a:pt x="8129" y="1442"/>
                  </a:lnTo>
                  <a:lnTo>
                    <a:pt x="8102" y="1433"/>
                  </a:lnTo>
                  <a:lnTo>
                    <a:pt x="8078" y="1426"/>
                  </a:lnTo>
                  <a:close/>
                </a:path>
              </a:pathLst>
            </a:custGeom>
            <a:solidFill>
              <a:schemeClr val="bg1">
                <a:lumMod val="85000"/>
                <a:alpha val="98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9" name="Freeform 5">
              <a:extLst>
                <a:ext uri="{FF2B5EF4-FFF2-40B4-BE49-F238E27FC236}">
                  <a16:creationId xmlns:a16="http://schemas.microsoft.com/office/drawing/2014/main" id="{9F3C2E9D-549E-43D8-B51E-D3EA71AEEE93}"/>
                </a:ext>
              </a:extLst>
            </p:cNvPr>
            <p:cNvSpPr>
              <a:spLocks/>
            </p:cNvSpPr>
            <p:nvPr/>
          </p:nvSpPr>
          <p:spPr bwMode="auto">
            <a:xfrm>
              <a:off x="1598543" y="3421099"/>
              <a:ext cx="263057" cy="272508"/>
            </a:xfrm>
            <a:custGeom>
              <a:avLst/>
              <a:gdLst>
                <a:gd name="T0" fmla="*/ 7371 w 17675"/>
                <a:gd name="T1" fmla="*/ 1125 h 18310"/>
                <a:gd name="T2" fmla="*/ 5959 w 17675"/>
                <a:gd name="T3" fmla="*/ 593 h 18310"/>
                <a:gd name="T4" fmla="*/ 4735 w 17675"/>
                <a:gd name="T5" fmla="*/ 240 h 18310"/>
                <a:gd name="T6" fmla="*/ 3627 w 17675"/>
                <a:gd name="T7" fmla="*/ 54 h 18310"/>
                <a:gd name="T8" fmla="*/ 2806 w 17675"/>
                <a:gd name="T9" fmla="*/ 7 h 18310"/>
                <a:gd name="T10" fmla="*/ 2454 w 17675"/>
                <a:gd name="T11" fmla="*/ 85 h 18310"/>
                <a:gd name="T12" fmla="*/ 2132 w 17675"/>
                <a:gd name="T13" fmla="*/ 262 h 18310"/>
                <a:gd name="T14" fmla="*/ 1838 w 17675"/>
                <a:gd name="T15" fmla="*/ 533 h 18310"/>
                <a:gd name="T16" fmla="*/ 1454 w 17675"/>
                <a:gd name="T17" fmla="*/ 1111 h 18310"/>
                <a:gd name="T18" fmla="*/ 1261 w 17675"/>
                <a:gd name="T19" fmla="*/ 1545 h 18310"/>
                <a:gd name="T20" fmla="*/ 1008 w 17675"/>
                <a:gd name="T21" fmla="*/ 2315 h 18310"/>
                <a:gd name="T22" fmla="*/ 836 w 17675"/>
                <a:gd name="T23" fmla="*/ 2906 h 18310"/>
                <a:gd name="T24" fmla="*/ 683 w 17675"/>
                <a:gd name="T25" fmla="*/ 3519 h 18310"/>
                <a:gd name="T26" fmla="*/ 506 w 17675"/>
                <a:gd name="T27" fmla="*/ 4330 h 18310"/>
                <a:gd name="T28" fmla="*/ 356 w 17675"/>
                <a:gd name="T29" fmla="*/ 5177 h 18310"/>
                <a:gd name="T30" fmla="*/ 199 w 17675"/>
                <a:gd name="T31" fmla="*/ 6352 h 18310"/>
                <a:gd name="T32" fmla="*/ 65 w 17675"/>
                <a:gd name="T33" fmla="*/ 7805 h 18310"/>
                <a:gd name="T34" fmla="*/ 1 w 17675"/>
                <a:gd name="T35" fmla="*/ 9354 h 18310"/>
                <a:gd name="T36" fmla="*/ 54 w 17675"/>
                <a:gd name="T37" fmla="*/ 10490 h 18310"/>
                <a:gd name="T38" fmla="*/ 149 w 17675"/>
                <a:gd name="T39" fmla="*/ 11811 h 18310"/>
                <a:gd name="T40" fmla="*/ 298 w 17675"/>
                <a:gd name="T41" fmla="*/ 13066 h 18310"/>
                <a:gd name="T42" fmla="*/ 650 w 17675"/>
                <a:gd name="T43" fmla="*/ 14979 h 18310"/>
                <a:gd name="T44" fmla="*/ 991 w 17675"/>
                <a:gd name="T45" fmla="*/ 16266 h 18310"/>
                <a:gd name="T46" fmla="*/ 1332 w 17675"/>
                <a:gd name="T47" fmla="*/ 17156 h 18310"/>
                <a:gd name="T48" fmla="*/ 1598 w 17675"/>
                <a:gd name="T49" fmla="*/ 17614 h 18310"/>
                <a:gd name="T50" fmla="*/ 1917 w 17675"/>
                <a:gd name="T51" fmla="*/ 17970 h 18310"/>
                <a:gd name="T52" fmla="*/ 2349 w 17675"/>
                <a:gd name="T53" fmla="*/ 18232 h 18310"/>
                <a:gd name="T54" fmla="*/ 2745 w 17675"/>
                <a:gd name="T55" fmla="*/ 18309 h 18310"/>
                <a:gd name="T56" fmla="*/ 3384 w 17675"/>
                <a:gd name="T57" fmla="*/ 18287 h 18310"/>
                <a:gd name="T58" fmla="*/ 4157 w 17675"/>
                <a:gd name="T59" fmla="*/ 18192 h 18310"/>
                <a:gd name="T60" fmla="*/ 5006 w 17675"/>
                <a:gd name="T61" fmla="*/ 18009 h 18310"/>
                <a:gd name="T62" fmla="*/ 6483 w 17675"/>
                <a:gd name="T63" fmla="*/ 17544 h 18310"/>
                <a:gd name="T64" fmla="*/ 7200 w 17675"/>
                <a:gd name="T65" fmla="*/ 17277 h 18310"/>
                <a:gd name="T66" fmla="*/ 8295 w 17675"/>
                <a:gd name="T67" fmla="*/ 16841 h 18310"/>
                <a:gd name="T68" fmla="*/ 8872 w 17675"/>
                <a:gd name="T69" fmla="*/ 16605 h 18310"/>
                <a:gd name="T70" fmla="*/ 9346 w 17675"/>
                <a:gd name="T71" fmla="*/ 16391 h 18310"/>
                <a:gd name="T72" fmla="*/ 10057 w 17675"/>
                <a:gd name="T73" fmla="*/ 16048 h 18310"/>
                <a:gd name="T74" fmla="*/ 10903 w 17675"/>
                <a:gd name="T75" fmla="*/ 15584 h 18310"/>
                <a:gd name="T76" fmla="*/ 11867 w 17675"/>
                <a:gd name="T77" fmla="*/ 14997 h 18310"/>
                <a:gd name="T78" fmla="*/ 12590 w 17675"/>
                <a:gd name="T79" fmla="*/ 14528 h 18310"/>
                <a:gd name="T80" fmla="*/ 13212 w 17675"/>
                <a:gd name="T81" fmla="*/ 14088 h 18310"/>
                <a:gd name="T82" fmla="*/ 14481 w 17675"/>
                <a:gd name="T83" fmla="*/ 13112 h 18310"/>
                <a:gd name="T84" fmla="*/ 14802 w 17675"/>
                <a:gd name="T85" fmla="*/ 12854 h 18310"/>
                <a:gd name="T86" fmla="*/ 15451 w 17675"/>
                <a:gd name="T87" fmla="*/ 12291 h 18310"/>
                <a:gd name="T88" fmla="*/ 15927 w 17675"/>
                <a:gd name="T89" fmla="*/ 11853 h 18310"/>
                <a:gd name="T90" fmla="*/ 16443 w 17675"/>
                <a:gd name="T91" fmla="*/ 11335 h 18310"/>
                <a:gd name="T92" fmla="*/ 16856 w 17675"/>
                <a:gd name="T93" fmla="*/ 10896 h 18310"/>
                <a:gd name="T94" fmla="*/ 17295 w 17675"/>
                <a:gd name="T95" fmla="*/ 10296 h 18310"/>
                <a:gd name="T96" fmla="*/ 17543 w 17675"/>
                <a:gd name="T97" fmla="*/ 9805 h 18310"/>
                <a:gd name="T98" fmla="*/ 17675 w 17675"/>
                <a:gd name="T99" fmla="*/ 9283 h 18310"/>
                <a:gd name="T100" fmla="*/ 17609 w 17675"/>
                <a:gd name="T101" fmla="*/ 8895 h 18310"/>
                <a:gd name="T102" fmla="*/ 17328 w 17675"/>
                <a:gd name="T103" fmla="*/ 8254 h 18310"/>
                <a:gd name="T104" fmla="*/ 16958 w 17675"/>
                <a:gd name="T105" fmla="*/ 7727 h 18310"/>
                <a:gd name="T106" fmla="*/ 16207 w 17675"/>
                <a:gd name="T107" fmla="*/ 6899 h 18310"/>
                <a:gd name="T108" fmla="*/ 14144 w 17675"/>
                <a:gd name="T109" fmla="*/ 5052 h 18310"/>
                <a:gd name="T110" fmla="*/ 13172 w 17675"/>
                <a:gd name="T111" fmla="*/ 4299 h 18310"/>
                <a:gd name="T112" fmla="*/ 12177 w 17675"/>
                <a:gd name="T113" fmla="*/ 3589 h 18310"/>
                <a:gd name="T114" fmla="*/ 11125 w 17675"/>
                <a:gd name="T115" fmla="*/ 2920 h 18310"/>
                <a:gd name="T116" fmla="*/ 10015 w 17675"/>
                <a:gd name="T117" fmla="*/ 2305 h 18310"/>
                <a:gd name="T118" fmla="*/ 9091 w 17675"/>
                <a:gd name="T119" fmla="*/ 1855 h 18310"/>
                <a:gd name="T120" fmla="*/ 8300 w 17675"/>
                <a:gd name="T121" fmla="*/ 1511 h 18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7675" h="18310">
                  <a:moveTo>
                    <a:pt x="8078" y="1426"/>
                  </a:moveTo>
                  <a:lnTo>
                    <a:pt x="8047" y="1409"/>
                  </a:lnTo>
                  <a:lnTo>
                    <a:pt x="8014" y="1392"/>
                  </a:lnTo>
                  <a:lnTo>
                    <a:pt x="7978" y="1376"/>
                  </a:lnTo>
                  <a:lnTo>
                    <a:pt x="7940" y="1360"/>
                  </a:lnTo>
                  <a:lnTo>
                    <a:pt x="7901" y="1345"/>
                  </a:lnTo>
                  <a:lnTo>
                    <a:pt x="7862" y="1330"/>
                  </a:lnTo>
                  <a:lnTo>
                    <a:pt x="7825" y="1315"/>
                  </a:lnTo>
                  <a:lnTo>
                    <a:pt x="7791" y="1301"/>
                  </a:lnTo>
                  <a:lnTo>
                    <a:pt x="7583" y="1213"/>
                  </a:lnTo>
                  <a:lnTo>
                    <a:pt x="7371" y="1125"/>
                  </a:lnTo>
                  <a:lnTo>
                    <a:pt x="7158" y="1038"/>
                  </a:lnTo>
                  <a:lnTo>
                    <a:pt x="6943" y="953"/>
                  </a:lnTo>
                  <a:lnTo>
                    <a:pt x="6836" y="911"/>
                  </a:lnTo>
                  <a:lnTo>
                    <a:pt x="6727" y="869"/>
                  </a:lnTo>
                  <a:lnTo>
                    <a:pt x="6618" y="827"/>
                  </a:lnTo>
                  <a:lnTo>
                    <a:pt x="6508" y="787"/>
                  </a:lnTo>
                  <a:lnTo>
                    <a:pt x="6400" y="747"/>
                  </a:lnTo>
                  <a:lnTo>
                    <a:pt x="6290" y="707"/>
                  </a:lnTo>
                  <a:lnTo>
                    <a:pt x="6180" y="668"/>
                  </a:lnTo>
                  <a:lnTo>
                    <a:pt x="6070" y="631"/>
                  </a:lnTo>
                  <a:lnTo>
                    <a:pt x="5959" y="593"/>
                  </a:lnTo>
                  <a:lnTo>
                    <a:pt x="5848" y="556"/>
                  </a:lnTo>
                  <a:lnTo>
                    <a:pt x="5737" y="521"/>
                  </a:lnTo>
                  <a:lnTo>
                    <a:pt x="5626" y="485"/>
                  </a:lnTo>
                  <a:lnTo>
                    <a:pt x="5515" y="451"/>
                  </a:lnTo>
                  <a:lnTo>
                    <a:pt x="5404" y="418"/>
                  </a:lnTo>
                  <a:lnTo>
                    <a:pt x="5292" y="386"/>
                  </a:lnTo>
                  <a:lnTo>
                    <a:pt x="5181" y="355"/>
                  </a:lnTo>
                  <a:lnTo>
                    <a:pt x="5069" y="324"/>
                  </a:lnTo>
                  <a:lnTo>
                    <a:pt x="4958" y="295"/>
                  </a:lnTo>
                  <a:lnTo>
                    <a:pt x="4846" y="267"/>
                  </a:lnTo>
                  <a:lnTo>
                    <a:pt x="4735" y="240"/>
                  </a:lnTo>
                  <a:lnTo>
                    <a:pt x="4623" y="215"/>
                  </a:lnTo>
                  <a:lnTo>
                    <a:pt x="4511" y="191"/>
                  </a:lnTo>
                  <a:lnTo>
                    <a:pt x="4400" y="168"/>
                  </a:lnTo>
                  <a:lnTo>
                    <a:pt x="4287" y="146"/>
                  </a:lnTo>
                  <a:lnTo>
                    <a:pt x="4234" y="136"/>
                  </a:lnTo>
                  <a:lnTo>
                    <a:pt x="4162" y="125"/>
                  </a:lnTo>
                  <a:lnTo>
                    <a:pt x="4075" y="112"/>
                  </a:lnTo>
                  <a:lnTo>
                    <a:pt x="3975" y="98"/>
                  </a:lnTo>
                  <a:lnTo>
                    <a:pt x="3865" y="84"/>
                  </a:lnTo>
                  <a:lnTo>
                    <a:pt x="3749" y="69"/>
                  </a:lnTo>
                  <a:lnTo>
                    <a:pt x="3627" y="54"/>
                  </a:lnTo>
                  <a:lnTo>
                    <a:pt x="3504" y="40"/>
                  </a:lnTo>
                  <a:lnTo>
                    <a:pt x="3381" y="27"/>
                  </a:lnTo>
                  <a:lnTo>
                    <a:pt x="3262" y="17"/>
                  </a:lnTo>
                  <a:lnTo>
                    <a:pt x="3148" y="8"/>
                  </a:lnTo>
                  <a:lnTo>
                    <a:pt x="3043" y="2"/>
                  </a:lnTo>
                  <a:lnTo>
                    <a:pt x="2994" y="1"/>
                  </a:lnTo>
                  <a:lnTo>
                    <a:pt x="2949" y="0"/>
                  </a:lnTo>
                  <a:lnTo>
                    <a:pt x="2908" y="0"/>
                  </a:lnTo>
                  <a:lnTo>
                    <a:pt x="2869" y="1"/>
                  </a:lnTo>
                  <a:lnTo>
                    <a:pt x="2834" y="3"/>
                  </a:lnTo>
                  <a:lnTo>
                    <a:pt x="2806" y="7"/>
                  </a:lnTo>
                  <a:lnTo>
                    <a:pt x="2780" y="11"/>
                  </a:lnTo>
                  <a:lnTo>
                    <a:pt x="2761" y="17"/>
                  </a:lnTo>
                  <a:lnTo>
                    <a:pt x="2724" y="19"/>
                  </a:lnTo>
                  <a:lnTo>
                    <a:pt x="2689" y="24"/>
                  </a:lnTo>
                  <a:lnTo>
                    <a:pt x="2655" y="29"/>
                  </a:lnTo>
                  <a:lnTo>
                    <a:pt x="2620" y="35"/>
                  </a:lnTo>
                  <a:lnTo>
                    <a:pt x="2586" y="43"/>
                  </a:lnTo>
                  <a:lnTo>
                    <a:pt x="2552" y="53"/>
                  </a:lnTo>
                  <a:lnTo>
                    <a:pt x="2518" y="63"/>
                  </a:lnTo>
                  <a:lnTo>
                    <a:pt x="2486" y="73"/>
                  </a:lnTo>
                  <a:lnTo>
                    <a:pt x="2454" y="85"/>
                  </a:lnTo>
                  <a:lnTo>
                    <a:pt x="2423" y="97"/>
                  </a:lnTo>
                  <a:lnTo>
                    <a:pt x="2393" y="111"/>
                  </a:lnTo>
                  <a:lnTo>
                    <a:pt x="2363" y="125"/>
                  </a:lnTo>
                  <a:lnTo>
                    <a:pt x="2333" y="138"/>
                  </a:lnTo>
                  <a:lnTo>
                    <a:pt x="2306" y="153"/>
                  </a:lnTo>
                  <a:lnTo>
                    <a:pt x="2278" y="169"/>
                  </a:lnTo>
                  <a:lnTo>
                    <a:pt x="2252" y="184"/>
                  </a:lnTo>
                  <a:lnTo>
                    <a:pt x="2218" y="205"/>
                  </a:lnTo>
                  <a:lnTo>
                    <a:pt x="2187" y="224"/>
                  </a:lnTo>
                  <a:lnTo>
                    <a:pt x="2158" y="244"/>
                  </a:lnTo>
                  <a:lnTo>
                    <a:pt x="2132" y="262"/>
                  </a:lnTo>
                  <a:lnTo>
                    <a:pt x="2108" y="280"/>
                  </a:lnTo>
                  <a:lnTo>
                    <a:pt x="2086" y="298"/>
                  </a:lnTo>
                  <a:lnTo>
                    <a:pt x="2065" y="315"/>
                  </a:lnTo>
                  <a:lnTo>
                    <a:pt x="2046" y="332"/>
                  </a:lnTo>
                  <a:lnTo>
                    <a:pt x="2007" y="367"/>
                  </a:lnTo>
                  <a:lnTo>
                    <a:pt x="1968" y="405"/>
                  </a:lnTo>
                  <a:lnTo>
                    <a:pt x="1927" y="446"/>
                  </a:lnTo>
                  <a:lnTo>
                    <a:pt x="1878" y="491"/>
                  </a:lnTo>
                  <a:lnTo>
                    <a:pt x="1866" y="504"/>
                  </a:lnTo>
                  <a:lnTo>
                    <a:pt x="1853" y="517"/>
                  </a:lnTo>
                  <a:lnTo>
                    <a:pt x="1838" y="533"/>
                  </a:lnTo>
                  <a:lnTo>
                    <a:pt x="1823" y="550"/>
                  </a:lnTo>
                  <a:lnTo>
                    <a:pt x="1790" y="592"/>
                  </a:lnTo>
                  <a:lnTo>
                    <a:pt x="1754" y="637"/>
                  </a:lnTo>
                  <a:lnTo>
                    <a:pt x="1717" y="689"/>
                  </a:lnTo>
                  <a:lnTo>
                    <a:pt x="1679" y="744"/>
                  </a:lnTo>
                  <a:lnTo>
                    <a:pt x="1639" y="802"/>
                  </a:lnTo>
                  <a:lnTo>
                    <a:pt x="1600" y="863"/>
                  </a:lnTo>
                  <a:lnTo>
                    <a:pt x="1561" y="926"/>
                  </a:lnTo>
                  <a:lnTo>
                    <a:pt x="1524" y="988"/>
                  </a:lnTo>
                  <a:lnTo>
                    <a:pt x="1488" y="1051"/>
                  </a:lnTo>
                  <a:lnTo>
                    <a:pt x="1454" y="1111"/>
                  </a:lnTo>
                  <a:lnTo>
                    <a:pt x="1425" y="1170"/>
                  </a:lnTo>
                  <a:lnTo>
                    <a:pt x="1398" y="1226"/>
                  </a:lnTo>
                  <a:lnTo>
                    <a:pt x="1387" y="1252"/>
                  </a:lnTo>
                  <a:lnTo>
                    <a:pt x="1377" y="1277"/>
                  </a:lnTo>
                  <a:lnTo>
                    <a:pt x="1367" y="1301"/>
                  </a:lnTo>
                  <a:lnTo>
                    <a:pt x="1359" y="1323"/>
                  </a:lnTo>
                  <a:lnTo>
                    <a:pt x="1340" y="1362"/>
                  </a:lnTo>
                  <a:lnTo>
                    <a:pt x="1320" y="1404"/>
                  </a:lnTo>
                  <a:lnTo>
                    <a:pt x="1300" y="1449"/>
                  </a:lnTo>
                  <a:lnTo>
                    <a:pt x="1280" y="1496"/>
                  </a:lnTo>
                  <a:lnTo>
                    <a:pt x="1261" y="1545"/>
                  </a:lnTo>
                  <a:lnTo>
                    <a:pt x="1241" y="1596"/>
                  </a:lnTo>
                  <a:lnTo>
                    <a:pt x="1222" y="1648"/>
                  </a:lnTo>
                  <a:lnTo>
                    <a:pt x="1204" y="1702"/>
                  </a:lnTo>
                  <a:lnTo>
                    <a:pt x="1167" y="1808"/>
                  </a:lnTo>
                  <a:lnTo>
                    <a:pt x="1133" y="1915"/>
                  </a:lnTo>
                  <a:lnTo>
                    <a:pt x="1101" y="2016"/>
                  </a:lnTo>
                  <a:lnTo>
                    <a:pt x="1071" y="2110"/>
                  </a:lnTo>
                  <a:lnTo>
                    <a:pt x="1055" y="2162"/>
                  </a:lnTo>
                  <a:lnTo>
                    <a:pt x="1039" y="2213"/>
                  </a:lnTo>
                  <a:lnTo>
                    <a:pt x="1023" y="2264"/>
                  </a:lnTo>
                  <a:lnTo>
                    <a:pt x="1008" y="2315"/>
                  </a:lnTo>
                  <a:lnTo>
                    <a:pt x="992" y="2367"/>
                  </a:lnTo>
                  <a:lnTo>
                    <a:pt x="976" y="2418"/>
                  </a:lnTo>
                  <a:lnTo>
                    <a:pt x="960" y="2471"/>
                  </a:lnTo>
                  <a:lnTo>
                    <a:pt x="944" y="2523"/>
                  </a:lnTo>
                  <a:lnTo>
                    <a:pt x="929" y="2573"/>
                  </a:lnTo>
                  <a:lnTo>
                    <a:pt x="913" y="2626"/>
                  </a:lnTo>
                  <a:lnTo>
                    <a:pt x="896" y="2682"/>
                  </a:lnTo>
                  <a:lnTo>
                    <a:pt x="880" y="2740"/>
                  </a:lnTo>
                  <a:lnTo>
                    <a:pt x="864" y="2797"/>
                  </a:lnTo>
                  <a:lnTo>
                    <a:pt x="849" y="2852"/>
                  </a:lnTo>
                  <a:lnTo>
                    <a:pt x="836" y="2906"/>
                  </a:lnTo>
                  <a:lnTo>
                    <a:pt x="827" y="2955"/>
                  </a:lnTo>
                  <a:lnTo>
                    <a:pt x="818" y="2977"/>
                  </a:lnTo>
                  <a:lnTo>
                    <a:pt x="809" y="3003"/>
                  </a:lnTo>
                  <a:lnTo>
                    <a:pt x="800" y="3033"/>
                  </a:lnTo>
                  <a:lnTo>
                    <a:pt x="790" y="3067"/>
                  </a:lnTo>
                  <a:lnTo>
                    <a:pt x="770" y="3142"/>
                  </a:lnTo>
                  <a:lnTo>
                    <a:pt x="749" y="3225"/>
                  </a:lnTo>
                  <a:lnTo>
                    <a:pt x="730" y="3310"/>
                  </a:lnTo>
                  <a:lnTo>
                    <a:pt x="712" y="3390"/>
                  </a:lnTo>
                  <a:lnTo>
                    <a:pt x="696" y="3461"/>
                  </a:lnTo>
                  <a:lnTo>
                    <a:pt x="683" y="3519"/>
                  </a:lnTo>
                  <a:lnTo>
                    <a:pt x="666" y="3593"/>
                  </a:lnTo>
                  <a:lnTo>
                    <a:pt x="649" y="3667"/>
                  </a:lnTo>
                  <a:lnTo>
                    <a:pt x="633" y="3740"/>
                  </a:lnTo>
                  <a:lnTo>
                    <a:pt x="617" y="3813"/>
                  </a:lnTo>
                  <a:lnTo>
                    <a:pt x="601" y="3886"/>
                  </a:lnTo>
                  <a:lnTo>
                    <a:pt x="585" y="3960"/>
                  </a:lnTo>
                  <a:lnTo>
                    <a:pt x="569" y="4033"/>
                  </a:lnTo>
                  <a:lnTo>
                    <a:pt x="553" y="4108"/>
                  </a:lnTo>
                  <a:lnTo>
                    <a:pt x="537" y="4182"/>
                  </a:lnTo>
                  <a:lnTo>
                    <a:pt x="522" y="4256"/>
                  </a:lnTo>
                  <a:lnTo>
                    <a:pt x="506" y="4330"/>
                  </a:lnTo>
                  <a:lnTo>
                    <a:pt x="491" y="4406"/>
                  </a:lnTo>
                  <a:lnTo>
                    <a:pt x="476" y="4483"/>
                  </a:lnTo>
                  <a:lnTo>
                    <a:pt x="461" y="4559"/>
                  </a:lnTo>
                  <a:lnTo>
                    <a:pt x="447" y="4636"/>
                  </a:lnTo>
                  <a:lnTo>
                    <a:pt x="433" y="4714"/>
                  </a:lnTo>
                  <a:lnTo>
                    <a:pt x="419" y="4791"/>
                  </a:lnTo>
                  <a:lnTo>
                    <a:pt x="405" y="4868"/>
                  </a:lnTo>
                  <a:lnTo>
                    <a:pt x="392" y="4946"/>
                  </a:lnTo>
                  <a:lnTo>
                    <a:pt x="380" y="5024"/>
                  </a:lnTo>
                  <a:lnTo>
                    <a:pt x="367" y="5100"/>
                  </a:lnTo>
                  <a:lnTo>
                    <a:pt x="356" y="5177"/>
                  </a:lnTo>
                  <a:lnTo>
                    <a:pt x="346" y="5253"/>
                  </a:lnTo>
                  <a:lnTo>
                    <a:pt x="335" y="5328"/>
                  </a:lnTo>
                  <a:lnTo>
                    <a:pt x="320" y="5442"/>
                  </a:lnTo>
                  <a:lnTo>
                    <a:pt x="304" y="5555"/>
                  </a:lnTo>
                  <a:lnTo>
                    <a:pt x="289" y="5668"/>
                  </a:lnTo>
                  <a:lnTo>
                    <a:pt x="275" y="5781"/>
                  </a:lnTo>
                  <a:lnTo>
                    <a:pt x="259" y="5896"/>
                  </a:lnTo>
                  <a:lnTo>
                    <a:pt x="244" y="6009"/>
                  </a:lnTo>
                  <a:lnTo>
                    <a:pt x="229" y="6124"/>
                  </a:lnTo>
                  <a:lnTo>
                    <a:pt x="214" y="6238"/>
                  </a:lnTo>
                  <a:lnTo>
                    <a:pt x="199" y="6352"/>
                  </a:lnTo>
                  <a:lnTo>
                    <a:pt x="185" y="6467"/>
                  </a:lnTo>
                  <a:lnTo>
                    <a:pt x="173" y="6581"/>
                  </a:lnTo>
                  <a:lnTo>
                    <a:pt x="160" y="6697"/>
                  </a:lnTo>
                  <a:lnTo>
                    <a:pt x="148" y="6811"/>
                  </a:lnTo>
                  <a:lnTo>
                    <a:pt x="137" y="6927"/>
                  </a:lnTo>
                  <a:lnTo>
                    <a:pt x="127" y="7042"/>
                  </a:lnTo>
                  <a:lnTo>
                    <a:pt x="119" y="7158"/>
                  </a:lnTo>
                  <a:lnTo>
                    <a:pt x="105" y="7319"/>
                  </a:lnTo>
                  <a:lnTo>
                    <a:pt x="92" y="7481"/>
                  </a:lnTo>
                  <a:lnTo>
                    <a:pt x="79" y="7643"/>
                  </a:lnTo>
                  <a:lnTo>
                    <a:pt x="65" y="7805"/>
                  </a:lnTo>
                  <a:lnTo>
                    <a:pt x="54" y="7967"/>
                  </a:lnTo>
                  <a:lnTo>
                    <a:pt x="42" y="8130"/>
                  </a:lnTo>
                  <a:lnTo>
                    <a:pt x="31" y="8293"/>
                  </a:lnTo>
                  <a:lnTo>
                    <a:pt x="22" y="8456"/>
                  </a:lnTo>
                  <a:lnTo>
                    <a:pt x="14" y="8619"/>
                  </a:lnTo>
                  <a:lnTo>
                    <a:pt x="8" y="8782"/>
                  </a:lnTo>
                  <a:lnTo>
                    <a:pt x="3" y="8946"/>
                  </a:lnTo>
                  <a:lnTo>
                    <a:pt x="0" y="9109"/>
                  </a:lnTo>
                  <a:lnTo>
                    <a:pt x="0" y="9190"/>
                  </a:lnTo>
                  <a:lnTo>
                    <a:pt x="0" y="9273"/>
                  </a:lnTo>
                  <a:lnTo>
                    <a:pt x="1" y="9354"/>
                  </a:lnTo>
                  <a:lnTo>
                    <a:pt x="2" y="9437"/>
                  </a:lnTo>
                  <a:lnTo>
                    <a:pt x="3" y="9518"/>
                  </a:lnTo>
                  <a:lnTo>
                    <a:pt x="7" y="9599"/>
                  </a:lnTo>
                  <a:lnTo>
                    <a:pt x="10" y="9681"/>
                  </a:lnTo>
                  <a:lnTo>
                    <a:pt x="14" y="9763"/>
                  </a:lnTo>
                  <a:lnTo>
                    <a:pt x="21" y="9885"/>
                  </a:lnTo>
                  <a:lnTo>
                    <a:pt x="27" y="10006"/>
                  </a:lnTo>
                  <a:lnTo>
                    <a:pt x="34" y="10128"/>
                  </a:lnTo>
                  <a:lnTo>
                    <a:pt x="41" y="10249"/>
                  </a:lnTo>
                  <a:lnTo>
                    <a:pt x="47" y="10369"/>
                  </a:lnTo>
                  <a:lnTo>
                    <a:pt x="54" y="10490"/>
                  </a:lnTo>
                  <a:lnTo>
                    <a:pt x="61" y="10611"/>
                  </a:lnTo>
                  <a:lnTo>
                    <a:pt x="68" y="10731"/>
                  </a:lnTo>
                  <a:lnTo>
                    <a:pt x="74" y="10851"/>
                  </a:lnTo>
                  <a:lnTo>
                    <a:pt x="82" y="10971"/>
                  </a:lnTo>
                  <a:lnTo>
                    <a:pt x="90" y="11091"/>
                  </a:lnTo>
                  <a:lnTo>
                    <a:pt x="98" y="11213"/>
                  </a:lnTo>
                  <a:lnTo>
                    <a:pt x="108" y="11333"/>
                  </a:lnTo>
                  <a:lnTo>
                    <a:pt x="117" y="11454"/>
                  </a:lnTo>
                  <a:lnTo>
                    <a:pt x="127" y="11575"/>
                  </a:lnTo>
                  <a:lnTo>
                    <a:pt x="138" y="11697"/>
                  </a:lnTo>
                  <a:lnTo>
                    <a:pt x="149" y="11811"/>
                  </a:lnTo>
                  <a:lnTo>
                    <a:pt x="160" y="11926"/>
                  </a:lnTo>
                  <a:lnTo>
                    <a:pt x="172" y="12040"/>
                  </a:lnTo>
                  <a:lnTo>
                    <a:pt x="184" y="12154"/>
                  </a:lnTo>
                  <a:lnTo>
                    <a:pt x="197" y="12269"/>
                  </a:lnTo>
                  <a:lnTo>
                    <a:pt x="209" y="12383"/>
                  </a:lnTo>
                  <a:lnTo>
                    <a:pt x="223" y="12498"/>
                  </a:lnTo>
                  <a:lnTo>
                    <a:pt x="237" y="12611"/>
                  </a:lnTo>
                  <a:lnTo>
                    <a:pt x="252" y="12725"/>
                  </a:lnTo>
                  <a:lnTo>
                    <a:pt x="267" y="12839"/>
                  </a:lnTo>
                  <a:lnTo>
                    <a:pt x="281" y="12953"/>
                  </a:lnTo>
                  <a:lnTo>
                    <a:pt x="298" y="13066"/>
                  </a:lnTo>
                  <a:lnTo>
                    <a:pt x="314" y="13180"/>
                  </a:lnTo>
                  <a:lnTo>
                    <a:pt x="331" y="13293"/>
                  </a:lnTo>
                  <a:lnTo>
                    <a:pt x="349" y="13406"/>
                  </a:lnTo>
                  <a:lnTo>
                    <a:pt x="366" y="13519"/>
                  </a:lnTo>
                  <a:lnTo>
                    <a:pt x="398" y="13707"/>
                  </a:lnTo>
                  <a:lnTo>
                    <a:pt x="433" y="13905"/>
                  </a:lnTo>
                  <a:lnTo>
                    <a:pt x="470" y="14110"/>
                  </a:lnTo>
                  <a:lnTo>
                    <a:pt x="511" y="14322"/>
                  </a:lnTo>
                  <a:lnTo>
                    <a:pt x="555" y="14538"/>
                  </a:lnTo>
                  <a:lnTo>
                    <a:pt x="602" y="14757"/>
                  </a:lnTo>
                  <a:lnTo>
                    <a:pt x="650" y="14979"/>
                  </a:lnTo>
                  <a:lnTo>
                    <a:pt x="701" y="15200"/>
                  </a:lnTo>
                  <a:lnTo>
                    <a:pt x="729" y="15311"/>
                  </a:lnTo>
                  <a:lnTo>
                    <a:pt x="755" y="15420"/>
                  </a:lnTo>
                  <a:lnTo>
                    <a:pt x="784" y="15530"/>
                  </a:lnTo>
                  <a:lnTo>
                    <a:pt x="811" y="15639"/>
                  </a:lnTo>
                  <a:lnTo>
                    <a:pt x="840" y="15747"/>
                  </a:lnTo>
                  <a:lnTo>
                    <a:pt x="870" y="15854"/>
                  </a:lnTo>
                  <a:lnTo>
                    <a:pt x="899" y="15959"/>
                  </a:lnTo>
                  <a:lnTo>
                    <a:pt x="929" y="16064"/>
                  </a:lnTo>
                  <a:lnTo>
                    <a:pt x="960" y="16165"/>
                  </a:lnTo>
                  <a:lnTo>
                    <a:pt x="991" y="16266"/>
                  </a:lnTo>
                  <a:lnTo>
                    <a:pt x="1022" y="16365"/>
                  </a:lnTo>
                  <a:lnTo>
                    <a:pt x="1054" y="16461"/>
                  </a:lnTo>
                  <a:lnTo>
                    <a:pt x="1086" y="16556"/>
                  </a:lnTo>
                  <a:lnTo>
                    <a:pt x="1119" y="16646"/>
                  </a:lnTo>
                  <a:lnTo>
                    <a:pt x="1152" y="16735"/>
                  </a:lnTo>
                  <a:lnTo>
                    <a:pt x="1185" y="16821"/>
                  </a:lnTo>
                  <a:lnTo>
                    <a:pt x="1225" y="16920"/>
                  </a:lnTo>
                  <a:lnTo>
                    <a:pt x="1267" y="17017"/>
                  </a:lnTo>
                  <a:lnTo>
                    <a:pt x="1288" y="17064"/>
                  </a:lnTo>
                  <a:lnTo>
                    <a:pt x="1310" y="17111"/>
                  </a:lnTo>
                  <a:lnTo>
                    <a:pt x="1332" y="17156"/>
                  </a:lnTo>
                  <a:lnTo>
                    <a:pt x="1354" y="17202"/>
                  </a:lnTo>
                  <a:lnTo>
                    <a:pt x="1377" y="17247"/>
                  </a:lnTo>
                  <a:lnTo>
                    <a:pt x="1399" y="17290"/>
                  </a:lnTo>
                  <a:lnTo>
                    <a:pt x="1423" y="17334"/>
                  </a:lnTo>
                  <a:lnTo>
                    <a:pt x="1447" y="17376"/>
                  </a:lnTo>
                  <a:lnTo>
                    <a:pt x="1471" y="17417"/>
                  </a:lnTo>
                  <a:lnTo>
                    <a:pt x="1496" y="17459"/>
                  </a:lnTo>
                  <a:lnTo>
                    <a:pt x="1521" y="17499"/>
                  </a:lnTo>
                  <a:lnTo>
                    <a:pt x="1546" y="17538"/>
                  </a:lnTo>
                  <a:lnTo>
                    <a:pt x="1572" y="17576"/>
                  </a:lnTo>
                  <a:lnTo>
                    <a:pt x="1598" y="17614"/>
                  </a:lnTo>
                  <a:lnTo>
                    <a:pt x="1625" y="17651"/>
                  </a:lnTo>
                  <a:lnTo>
                    <a:pt x="1652" y="17687"/>
                  </a:lnTo>
                  <a:lnTo>
                    <a:pt x="1680" y="17722"/>
                  </a:lnTo>
                  <a:lnTo>
                    <a:pt x="1707" y="17756"/>
                  </a:lnTo>
                  <a:lnTo>
                    <a:pt x="1736" y="17789"/>
                  </a:lnTo>
                  <a:lnTo>
                    <a:pt x="1764" y="17822"/>
                  </a:lnTo>
                  <a:lnTo>
                    <a:pt x="1794" y="17853"/>
                  </a:lnTo>
                  <a:lnTo>
                    <a:pt x="1824" y="17884"/>
                  </a:lnTo>
                  <a:lnTo>
                    <a:pt x="1854" y="17914"/>
                  </a:lnTo>
                  <a:lnTo>
                    <a:pt x="1885" y="17943"/>
                  </a:lnTo>
                  <a:lnTo>
                    <a:pt x="1917" y="17970"/>
                  </a:lnTo>
                  <a:lnTo>
                    <a:pt x="1947" y="17998"/>
                  </a:lnTo>
                  <a:lnTo>
                    <a:pt x="1980" y="18023"/>
                  </a:lnTo>
                  <a:lnTo>
                    <a:pt x="2013" y="18048"/>
                  </a:lnTo>
                  <a:lnTo>
                    <a:pt x="2052" y="18075"/>
                  </a:lnTo>
                  <a:lnTo>
                    <a:pt x="2091" y="18102"/>
                  </a:lnTo>
                  <a:lnTo>
                    <a:pt x="2132" y="18127"/>
                  </a:lnTo>
                  <a:lnTo>
                    <a:pt x="2173" y="18151"/>
                  </a:lnTo>
                  <a:lnTo>
                    <a:pt x="2215" y="18174"/>
                  </a:lnTo>
                  <a:lnTo>
                    <a:pt x="2259" y="18194"/>
                  </a:lnTo>
                  <a:lnTo>
                    <a:pt x="2303" y="18214"/>
                  </a:lnTo>
                  <a:lnTo>
                    <a:pt x="2349" y="18232"/>
                  </a:lnTo>
                  <a:lnTo>
                    <a:pt x="2397" y="18249"/>
                  </a:lnTo>
                  <a:lnTo>
                    <a:pt x="2446" y="18264"/>
                  </a:lnTo>
                  <a:lnTo>
                    <a:pt x="2497" y="18277"/>
                  </a:lnTo>
                  <a:lnTo>
                    <a:pt x="2549" y="18287"/>
                  </a:lnTo>
                  <a:lnTo>
                    <a:pt x="2576" y="18292"/>
                  </a:lnTo>
                  <a:lnTo>
                    <a:pt x="2603" y="18296"/>
                  </a:lnTo>
                  <a:lnTo>
                    <a:pt x="2631" y="18300"/>
                  </a:lnTo>
                  <a:lnTo>
                    <a:pt x="2658" y="18303"/>
                  </a:lnTo>
                  <a:lnTo>
                    <a:pt x="2687" y="18305"/>
                  </a:lnTo>
                  <a:lnTo>
                    <a:pt x="2716" y="18308"/>
                  </a:lnTo>
                  <a:lnTo>
                    <a:pt x="2745" y="18309"/>
                  </a:lnTo>
                  <a:lnTo>
                    <a:pt x="2776" y="18309"/>
                  </a:lnTo>
                  <a:lnTo>
                    <a:pt x="2835" y="18310"/>
                  </a:lnTo>
                  <a:lnTo>
                    <a:pt x="2896" y="18310"/>
                  </a:lnTo>
                  <a:lnTo>
                    <a:pt x="2957" y="18309"/>
                  </a:lnTo>
                  <a:lnTo>
                    <a:pt x="3017" y="18308"/>
                  </a:lnTo>
                  <a:lnTo>
                    <a:pt x="3079" y="18305"/>
                  </a:lnTo>
                  <a:lnTo>
                    <a:pt x="3140" y="18303"/>
                  </a:lnTo>
                  <a:lnTo>
                    <a:pt x="3200" y="18300"/>
                  </a:lnTo>
                  <a:lnTo>
                    <a:pt x="3262" y="18296"/>
                  </a:lnTo>
                  <a:lnTo>
                    <a:pt x="3323" y="18292"/>
                  </a:lnTo>
                  <a:lnTo>
                    <a:pt x="3384" y="18287"/>
                  </a:lnTo>
                  <a:lnTo>
                    <a:pt x="3444" y="18283"/>
                  </a:lnTo>
                  <a:lnTo>
                    <a:pt x="3505" y="18277"/>
                  </a:lnTo>
                  <a:lnTo>
                    <a:pt x="3565" y="18271"/>
                  </a:lnTo>
                  <a:lnTo>
                    <a:pt x="3625" y="18264"/>
                  </a:lnTo>
                  <a:lnTo>
                    <a:pt x="3686" y="18257"/>
                  </a:lnTo>
                  <a:lnTo>
                    <a:pt x="3745" y="18250"/>
                  </a:lnTo>
                  <a:lnTo>
                    <a:pt x="3829" y="18240"/>
                  </a:lnTo>
                  <a:lnTo>
                    <a:pt x="3912" y="18230"/>
                  </a:lnTo>
                  <a:lnTo>
                    <a:pt x="3995" y="18218"/>
                  </a:lnTo>
                  <a:lnTo>
                    <a:pt x="4076" y="18206"/>
                  </a:lnTo>
                  <a:lnTo>
                    <a:pt x="4157" y="18192"/>
                  </a:lnTo>
                  <a:lnTo>
                    <a:pt x="4236" y="18178"/>
                  </a:lnTo>
                  <a:lnTo>
                    <a:pt x="4316" y="18165"/>
                  </a:lnTo>
                  <a:lnTo>
                    <a:pt x="4395" y="18150"/>
                  </a:lnTo>
                  <a:lnTo>
                    <a:pt x="4473" y="18134"/>
                  </a:lnTo>
                  <a:lnTo>
                    <a:pt x="4549" y="18118"/>
                  </a:lnTo>
                  <a:lnTo>
                    <a:pt x="4627" y="18101"/>
                  </a:lnTo>
                  <a:lnTo>
                    <a:pt x="4704" y="18083"/>
                  </a:lnTo>
                  <a:lnTo>
                    <a:pt x="4779" y="18066"/>
                  </a:lnTo>
                  <a:lnTo>
                    <a:pt x="4855" y="18048"/>
                  </a:lnTo>
                  <a:lnTo>
                    <a:pt x="4931" y="18028"/>
                  </a:lnTo>
                  <a:lnTo>
                    <a:pt x="5006" y="18009"/>
                  </a:lnTo>
                  <a:lnTo>
                    <a:pt x="5156" y="17969"/>
                  </a:lnTo>
                  <a:lnTo>
                    <a:pt x="5305" y="17927"/>
                  </a:lnTo>
                  <a:lnTo>
                    <a:pt x="5455" y="17882"/>
                  </a:lnTo>
                  <a:lnTo>
                    <a:pt x="5603" y="17836"/>
                  </a:lnTo>
                  <a:lnTo>
                    <a:pt x="5753" y="17789"/>
                  </a:lnTo>
                  <a:lnTo>
                    <a:pt x="5904" y="17741"/>
                  </a:lnTo>
                  <a:lnTo>
                    <a:pt x="6056" y="17691"/>
                  </a:lnTo>
                  <a:lnTo>
                    <a:pt x="6211" y="17639"/>
                  </a:lnTo>
                  <a:lnTo>
                    <a:pt x="6273" y="17619"/>
                  </a:lnTo>
                  <a:lnTo>
                    <a:pt x="6368" y="17586"/>
                  </a:lnTo>
                  <a:lnTo>
                    <a:pt x="6483" y="17544"/>
                  </a:lnTo>
                  <a:lnTo>
                    <a:pt x="6608" y="17501"/>
                  </a:lnTo>
                  <a:lnTo>
                    <a:pt x="6729" y="17456"/>
                  </a:lnTo>
                  <a:lnTo>
                    <a:pt x="6837" y="17415"/>
                  </a:lnTo>
                  <a:lnTo>
                    <a:pt x="6881" y="17398"/>
                  </a:lnTo>
                  <a:lnTo>
                    <a:pt x="6917" y="17382"/>
                  </a:lnTo>
                  <a:lnTo>
                    <a:pt x="6943" y="17369"/>
                  </a:lnTo>
                  <a:lnTo>
                    <a:pt x="6959" y="17361"/>
                  </a:lnTo>
                  <a:lnTo>
                    <a:pt x="6994" y="17351"/>
                  </a:lnTo>
                  <a:lnTo>
                    <a:pt x="7046" y="17333"/>
                  </a:lnTo>
                  <a:lnTo>
                    <a:pt x="7116" y="17308"/>
                  </a:lnTo>
                  <a:lnTo>
                    <a:pt x="7200" y="17277"/>
                  </a:lnTo>
                  <a:lnTo>
                    <a:pt x="7294" y="17240"/>
                  </a:lnTo>
                  <a:lnTo>
                    <a:pt x="7397" y="17200"/>
                  </a:lnTo>
                  <a:lnTo>
                    <a:pt x="7507" y="17156"/>
                  </a:lnTo>
                  <a:lnTo>
                    <a:pt x="7621" y="17112"/>
                  </a:lnTo>
                  <a:lnTo>
                    <a:pt x="7734" y="17066"/>
                  </a:lnTo>
                  <a:lnTo>
                    <a:pt x="7846" y="17021"/>
                  </a:lnTo>
                  <a:lnTo>
                    <a:pt x="7955" y="16977"/>
                  </a:lnTo>
                  <a:lnTo>
                    <a:pt x="8057" y="16937"/>
                  </a:lnTo>
                  <a:lnTo>
                    <a:pt x="8148" y="16899"/>
                  </a:lnTo>
                  <a:lnTo>
                    <a:pt x="8228" y="16867"/>
                  </a:lnTo>
                  <a:lnTo>
                    <a:pt x="8295" y="16841"/>
                  </a:lnTo>
                  <a:lnTo>
                    <a:pt x="8344" y="16821"/>
                  </a:lnTo>
                  <a:lnTo>
                    <a:pt x="8396" y="16799"/>
                  </a:lnTo>
                  <a:lnTo>
                    <a:pt x="8454" y="16778"/>
                  </a:lnTo>
                  <a:lnTo>
                    <a:pt x="8513" y="16755"/>
                  </a:lnTo>
                  <a:lnTo>
                    <a:pt x="8574" y="16731"/>
                  </a:lnTo>
                  <a:lnTo>
                    <a:pt x="8633" y="16707"/>
                  </a:lnTo>
                  <a:lnTo>
                    <a:pt x="8690" y="16682"/>
                  </a:lnTo>
                  <a:lnTo>
                    <a:pt x="8744" y="16658"/>
                  </a:lnTo>
                  <a:lnTo>
                    <a:pt x="8792" y="16633"/>
                  </a:lnTo>
                  <a:lnTo>
                    <a:pt x="8829" y="16621"/>
                  </a:lnTo>
                  <a:lnTo>
                    <a:pt x="8872" y="16605"/>
                  </a:lnTo>
                  <a:lnTo>
                    <a:pt x="8918" y="16587"/>
                  </a:lnTo>
                  <a:lnTo>
                    <a:pt x="8965" y="16565"/>
                  </a:lnTo>
                  <a:lnTo>
                    <a:pt x="9013" y="16543"/>
                  </a:lnTo>
                  <a:lnTo>
                    <a:pt x="9059" y="16522"/>
                  </a:lnTo>
                  <a:lnTo>
                    <a:pt x="9100" y="16502"/>
                  </a:lnTo>
                  <a:lnTo>
                    <a:pt x="9137" y="16485"/>
                  </a:lnTo>
                  <a:lnTo>
                    <a:pt x="9178" y="16465"/>
                  </a:lnTo>
                  <a:lnTo>
                    <a:pt x="9220" y="16447"/>
                  </a:lnTo>
                  <a:lnTo>
                    <a:pt x="9263" y="16429"/>
                  </a:lnTo>
                  <a:lnTo>
                    <a:pt x="9304" y="16409"/>
                  </a:lnTo>
                  <a:lnTo>
                    <a:pt x="9346" y="16391"/>
                  </a:lnTo>
                  <a:lnTo>
                    <a:pt x="9388" y="16371"/>
                  </a:lnTo>
                  <a:lnTo>
                    <a:pt x="9430" y="16352"/>
                  </a:lnTo>
                  <a:lnTo>
                    <a:pt x="9471" y="16331"/>
                  </a:lnTo>
                  <a:lnTo>
                    <a:pt x="9550" y="16292"/>
                  </a:lnTo>
                  <a:lnTo>
                    <a:pt x="9633" y="16254"/>
                  </a:lnTo>
                  <a:lnTo>
                    <a:pt x="9720" y="16214"/>
                  </a:lnTo>
                  <a:lnTo>
                    <a:pt x="9807" y="16173"/>
                  </a:lnTo>
                  <a:lnTo>
                    <a:pt x="9894" y="16132"/>
                  </a:lnTo>
                  <a:lnTo>
                    <a:pt x="9978" y="16091"/>
                  </a:lnTo>
                  <a:lnTo>
                    <a:pt x="10018" y="16069"/>
                  </a:lnTo>
                  <a:lnTo>
                    <a:pt x="10057" y="16048"/>
                  </a:lnTo>
                  <a:lnTo>
                    <a:pt x="10093" y="16026"/>
                  </a:lnTo>
                  <a:lnTo>
                    <a:pt x="10129" y="16004"/>
                  </a:lnTo>
                  <a:lnTo>
                    <a:pt x="10153" y="15994"/>
                  </a:lnTo>
                  <a:lnTo>
                    <a:pt x="10184" y="15979"/>
                  </a:lnTo>
                  <a:lnTo>
                    <a:pt x="10220" y="15962"/>
                  </a:lnTo>
                  <a:lnTo>
                    <a:pt x="10263" y="15939"/>
                  </a:lnTo>
                  <a:lnTo>
                    <a:pt x="10363" y="15886"/>
                  </a:lnTo>
                  <a:lnTo>
                    <a:pt x="10482" y="15821"/>
                  </a:lnTo>
                  <a:lnTo>
                    <a:pt x="10614" y="15748"/>
                  </a:lnTo>
                  <a:lnTo>
                    <a:pt x="10756" y="15669"/>
                  </a:lnTo>
                  <a:lnTo>
                    <a:pt x="10903" y="15584"/>
                  </a:lnTo>
                  <a:lnTo>
                    <a:pt x="11053" y="15498"/>
                  </a:lnTo>
                  <a:lnTo>
                    <a:pt x="11202" y="15411"/>
                  </a:lnTo>
                  <a:lnTo>
                    <a:pt x="11344" y="15328"/>
                  </a:lnTo>
                  <a:lnTo>
                    <a:pt x="11477" y="15249"/>
                  </a:lnTo>
                  <a:lnTo>
                    <a:pt x="11597" y="15176"/>
                  </a:lnTo>
                  <a:lnTo>
                    <a:pt x="11700" y="15111"/>
                  </a:lnTo>
                  <a:lnTo>
                    <a:pt x="11781" y="15060"/>
                  </a:lnTo>
                  <a:lnTo>
                    <a:pt x="11813" y="15038"/>
                  </a:lnTo>
                  <a:lnTo>
                    <a:pt x="11838" y="15021"/>
                  </a:lnTo>
                  <a:lnTo>
                    <a:pt x="11857" y="15007"/>
                  </a:lnTo>
                  <a:lnTo>
                    <a:pt x="11867" y="14997"/>
                  </a:lnTo>
                  <a:lnTo>
                    <a:pt x="11879" y="14991"/>
                  </a:lnTo>
                  <a:lnTo>
                    <a:pt x="11898" y="14982"/>
                  </a:lnTo>
                  <a:lnTo>
                    <a:pt x="11919" y="14970"/>
                  </a:lnTo>
                  <a:lnTo>
                    <a:pt x="11947" y="14954"/>
                  </a:lnTo>
                  <a:lnTo>
                    <a:pt x="12012" y="14913"/>
                  </a:lnTo>
                  <a:lnTo>
                    <a:pt x="12090" y="14864"/>
                  </a:lnTo>
                  <a:lnTo>
                    <a:pt x="12179" y="14806"/>
                  </a:lnTo>
                  <a:lnTo>
                    <a:pt x="12276" y="14741"/>
                  </a:lnTo>
                  <a:lnTo>
                    <a:pt x="12379" y="14672"/>
                  </a:lnTo>
                  <a:lnTo>
                    <a:pt x="12485" y="14600"/>
                  </a:lnTo>
                  <a:lnTo>
                    <a:pt x="12590" y="14528"/>
                  </a:lnTo>
                  <a:lnTo>
                    <a:pt x="12694" y="14457"/>
                  </a:lnTo>
                  <a:lnTo>
                    <a:pt x="12791" y="14388"/>
                  </a:lnTo>
                  <a:lnTo>
                    <a:pt x="12883" y="14324"/>
                  </a:lnTo>
                  <a:lnTo>
                    <a:pt x="12963" y="14267"/>
                  </a:lnTo>
                  <a:lnTo>
                    <a:pt x="13031" y="14218"/>
                  </a:lnTo>
                  <a:lnTo>
                    <a:pt x="13083" y="14179"/>
                  </a:lnTo>
                  <a:lnTo>
                    <a:pt x="13116" y="14152"/>
                  </a:lnTo>
                  <a:lnTo>
                    <a:pt x="13131" y="14143"/>
                  </a:lnTo>
                  <a:lnTo>
                    <a:pt x="13152" y="14131"/>
                  </a:lnTo>
                  <a:lnTo>
                    <a:pt x="13179" y="14112"/>
                  </a:lnTo>
                  <a:lnTo>
                    <a:pt x="13212" y="14088"/>
                  </a:lnTo>
                  <a:lnTo>
                    <a:pt x="13294" y="14030"/>
                  </a:lnTo>
                  <a:lnTo>
                    <a:pt x="13392" y="13958"/>
                  </a:lnTo>
                  <a:lnTo>
                    <a:pt x="13505" y="13873"/>
                  </a:lnTo>
                  <a:lnTo>
                    <a:pt x="13628" y="13779"/>
                  </a:lnTo>
                  <a:lnTo>
                    <a:pt x="13758" y="13680"/>
                  </a:lnTo>
                  <a:lnTo>
                    <a:pt x="13891" y="13578"/>
                  </a:lnTo>
                  <a:lnTo>
                    <a:pt x="14024" y="13475"/>
                  </a:lnTo>
                  <a:lnTo>
                    <a:pt x="14153" y="13374"/>
                  </a:lnTo>
                  <a:lnTo>
                    <a:pt x="14274" y="13278"/>
                  </a:lnTo>
                  <a:lnTo>
                    <a:pt x="14385" y="13190"/>
                  </a:lnTo>
                  <a:lnTo>
                    <a:pt x="14481" y="13112"/>
                  </a:lnTo>
                  <a:lnTo>
                    <a:pt x="14559" y="13048"/>
                  </a:lnTo>
                  <a:lnTo>
                    <a:pt x="14590" y="13022"/>
                  </a:lnTo>
                  <a:lnTo>
                    <a:pt x="14615" y="13000"/>
                  </a:lnTo>
                  <a:lnTo>
                    <a:pt x="14634" y="12982"/>
                  </a:lnTo>
                  <a:lnTo>
                    <a:pt x="14645" y="12970"/>
                  </a:lnTo>
                  <a:lnTo>
                    <a:pt x="14658" y="12963"/>
                  </a:lnTo>
                  <a:lnTo>
                    <a:pt x="14673" y="12954"/>
                  </a:lnTo>
                  <a:lnTo>
                    <a:pt x="14690" y="12942"/>
                  </a:lnTo>
                  <a:lnTo>
                    <a:pt x="14708" y="12928"/>
                  </a:lnTo>
                  <a:lnTo>
                    <a:pt x="14751" y="12895"/>
                  </a:lnTo>
                  <a:lnTo>
                    <a:pt x="14802" y="12854"/>
                  </a:lnTo>
                  <a:lnTo>
                    <a:pt x="14857" y="12807"/>
                  </a:lnTo>
                  <a:lnTo>
                    <a:pt x="14917" y="12756"/>
                  </a:lnTo>
                  <a:lnTo>
                    <a:pt x="14979" y="12701"/>
                  </a:lnTo>
                  <a:lnTo>
                    <a:pt x="15044" y="12645"/>
                  </a:lnTo>
                  <a:lnTo>
                    <a:pt x="15110" y="12587"/>
                  </a:lnTo>
                  <a:lnTo>
                    <a:pt x="15175" y="12530"/>
                  </a:lnTo>
                  <a:lnTo>
                    <a:pt x="15238" y="12475"/>
                  </a:lnTo>
                  <a:lnTo>
                    <a:pt x="15298" y="12421"/>
                  </a:lnTo>
                  <a:lnTo>
                    <a:pt x="15354" y="12372"/>
                  </a:lnTo>
                  <a:lnTo>
                    <a:pt x="15405" y="12328"/>
                  </a:lnTo>
                  <a:lnTo>
                    <a:pt x="15451" y="12291"/>
                  </a:lnTo>
                  <a:lnTo>
                    <a:pt x="15487" y="12261"/>
                  </a:lnTo>
                  <a:lnTo>
                    <a:pt x="15508" y="12245"/>
                  </a:lnTo>
                  <a:lnTo>
                    <a:pt x="15520" y="12233"/>
                  </a:lnTo>
                  <a:lnTo>
                    <a:pt x="15534" y="12220"/>
                  </a:lnTo>
                  <a:lnTo>
                    <a:pt x="15555" y="12200"/>
                  </a:lnTo>
                  <a:lnTo>
                    <a:pt x="15765" y="12013"/>
                  </a:lnTo>
                  <a:lnTo>
                    <a:pt x="15798" y="11979"/>
                  </a:lnTo>
                  <a:lnTo>
                    <a:pt x="15830" y="11947"/>
                  </a:lnTo>
                  <a:lnTo>
                    <a:pt x="15863" y="11915"/>
                  </a:lnTo>
                  <a:lnTo>
                    <a:pt x="15895" y="11884"/>
                  </a:lnTo>
                  <a:lnTo>
                    <a:pt x="15927" y="11853"/>
                  </a:lnTo>
                  <a:lnTo>
                    <a:pt x="15959" y="11823"/>
                  </a:lnTo>
                  <a:lnTo>
                    <a:pt x="15992" y="11790"/>
                  </a:lnTo>
                  <a:lnTo>
                    <a:pt x="16025" y="11758"/>
                  </a:lnTo>
                  <a:lnTo>
                    <a:pt x="16052" y="11733"/>
                  </a:lnTo>
                  <a:lnTo>
                    <a:pt x="16089" y="11696"/>
                  </a:lnTo>
                  <a:lnTo>
                    <a:pt x="16136" y="11649"/>
                  </a:lnTo>
                  <a:lnTo>
                    <a:pt x="16190" y="11595"/>
                  </a:lnTo>
                  <a:lnTo>
                    <a:pt x="16248" y="11535"/>
                  </a:lnTo>
                  <a:lnTo>
                    <a:pt x="16311" y="11470"/>
                  </a:lnTo>
                  <a:lnTo>
                    <a:pt x="16377" y="11403"/>
                  </a:lnTo>
                  <a:lnTo>
                    <a:pt x="16443" y="11335"/>
                  </a:lnTo>
                  <a:lnTo>
                    <a:pt x="16508" y="11268"/>
                  </a:lnTo>
                  <a:lnTo>
                    <a:pt x="16571" y="11202"/>
                  </a:lnTo>
                  <a:lnTo>
                    <a:pt x="16629" y="11140"/>
                  </a:lnTo>
                  <a:lnTo>
                    <a:pt x="16681" y="11084"/>
                  </a:lnTo>
                  <a:lnTo>
                    <a:pt x="16726" y="11036"/>
                  </a:lnTo>
                  <a:lnTo>
                    <a:pt x="16761" y="10997"/>
                  </a:lnTo>
                  <a:lnTo>
                    <a:pt x="16786" y="10969"/>
                  </a:lnTo>
                  <a:lnTo>
                    <a:pt x="16797" y="10953"/>
                  </a:lnTo>
                  <a:lnTo>
                    <a:pt x="16818" y="10935"/>
                  </a:lnTo>
                  <a:lnTo>
                    <a:pt x="16837" y="10915"/>
                  </a:lnTo>
                  <a:lnTo>
                    <a:pt x="16856" y="10896"/>
                  </a:lnTo>
                  <a:lnTo>
                    <a:pt x="16874" y="10875"/>
                  </a:lnTo>
                  <a:lnTo>
                    <a:pt x="16908" y="10833"/>
                  </a:lnTo>
                  <a:lnTo>
                    <a:pt x="16943" y="10789"/>
                  </a:lnTo>
                  <a:lnTo>
                    <a:pt x="17006" y="10707"/>
                  </a:lnTo>
                  <a:lnTo>
                    <a:pt x="17067" y="10626"/>
                  </a:lnTo>
                  <a:lnTo>
                    <a:pt x="17128" y="10543"/>
                  </a:lnTo>
                  <a:lnTo>
                    <a:pt x="17185" y="10462"/>
                  </a:lnTo>
                  <a:lnTo>
                    <a:pt x="17214" y="10421"/>
                  </a:lnTo>
                  <a:lnTo>
                    <a:pt x="17241" y="10379"/>
                  </a:lnTo>
                  <a:lnTo>
                    <a:pt x="17269" y="10337"/>
                  </a:lnTo>
                  <a:lnTo>
                    <a:pt x="17295" y="10296"/>
                  </a:lnTo>
                  <a:lnTo>
                    <a:pt x="17321" y="10254"/>
                  </a:lnTo>
                  <a:lnTo>
                    <a:pt x="17347" y="10211"/>
                  </a:lnTo>
                  <a:lnTo>
                    <a:pt x="17372" y="10169"/>
                  </a:lnTo>
                  <a:lnTo>
                    <a:pt x="17396" y="10125"/>
                  </a:lnTo>
                  <a:lnTo>
                    <a:pt x="17419" y="10081"/>
                  </a:lnTo>
                  <a:lnTo>
                    <a:pt x="17442" y="10037"/>
                  </a:lnTo>
                  <a:lnTo>
                    <a:pt x="17463" y="9992"/>
                  </a:lnTo>
                  <a:lnTo>
                    <a:pt x="17485" y="9946"/>
                  </a:lnTo>
                  <a:lnTo>
                    <a:pt x="17505" y="9900"/>
                  </a:lnTo>
                  <a:lnTo>
                    <a:pt x="17524" y="9853"/>
                  </a:lnTo>
                  <a:lnTo>
                    <a:pt x="17543" y="9805"/>
                  </a:lnTo>
                  <a:lnTo>
                    <a:pt x="17561" y="9757"/>
                  </a:lnTo>
                  <a:lnTo>
                    <a:pt x="17578" y="9708"/>
                  </a:lnTo>
                  <a:lnTo>
                    <a:pt x="17594" y="9657"/>
                  </a:lnTo>
                  <a:lnTo>
                    <a:pt x="17609" y="9606"/>
                  </a:lnTo>
                  <a:lnTo>
                    <a:pt x="17622" y="9553"/>
                  </a:lnTo>
                  <a:lnTo>
                    <a:pt x="17636" y="9501"/>
                  </a:lnTo>
                  <a:lnTo>
                    <a:pt x="17648" y="9446"/>
                  </a:lnTo>
                  <a:lnTo>
                    <a:pt x="17659" y="9391"/>
                  </a:lnTo>
                  <a:lnTo>
                    <a:pt x="17669" y="9334"/>
                  </a:lnTo>
                  <a:lnTo>
                    <a:pt x="17673" y="9309"/>
                  </a:lnTo>
                  <a:lnTo>
                    <a:pt x="17675" y="9283"/>
                  </a:lnTo>
                  <a:lnTo>
                    <a:pt x="17675" y="9255"/>
                  </a:lnTo>
                  <a:lnTo>
                    <a:pt x="17674" y="9226"/>
                  </a:lnTo>
                  <a:lnTo>
                    <a:pt x="17672" y="9196"/>
                  </a:lnTo>
                  <a:lnTo>
                    <a:pt x="17669" y="9165"/>
                  </a:lnTo>
                  <a:lnTo>
                    <a:pt x="17665" y="9133"/>
                  </a:lnTo>
                  <a:lnTo>
                    <a:pt x="17659" y="9101"/>
                  </a:lnTo>
                  <a:lnTo>
                    <a:pt x="17653" y="9068"/>
                  </a:lnTo>
                  <a:lnTo>
                    <a:pt x="17645" y="9034"/>
                  </a:lnTo>
                  <a:lnTo>
                    <a:pt x="17637" y="8999"/>
                  </a:lnTo>
                  <a:lnTo>
                    <a:pt x="17629" y="8965"/>
                  </a:lnTo>
                  <a:lnTo>
                    <a:pt x="17609" y="8895"/>
                  </a:lnTo>
                  <a:lnTo>
                    <a:pt x="17587" y="8825"/>
                  </a:lnTo>
                  <a:lnTo>
                    <a:pt x="17563" y="8757"/>
                  </a:lnTo>
                  <a:lnTo>
                    <a:pt x="17539" y="8689"/>
                  </a:lnTo>
                  <a:lnTo>
                    <a:pt x="17513" y="8624"/>
                  </a:lnTo>
                  <a:lnTo>
                    <a:pt x="17487" y="8563"/>
                  </a:lnTo>
                  <a:lnTo>
                    <a:pt x="17462" y="8506"/>
                  </a:lnTo>
                  <a:lnTo>
                    <a:pt x="17437" y="8455"/>
                  </a:lnTo>
                  <a:lnTo>
                    <a:pt x="17415" y="8408"/>
                  </a:lnTo>
                  <a:lnTo>
                    <a:pt x="17394" y="8369"/>
                  </a:lnTo>
                  <a:lnTo>
                    <a:pt x="17360" y="8310"/>
                  </a:lnTo>
                  <a:lnTo>
                    <a:pt x="17328" y="8254"/>
                  </a:lnTo>
                  <a:lnTo>
                    <a:pt x="17297" y="8203"/>
                  </a:lnTo>
                  <a:lnTo>
                    <a:pt x="17268" y="8155"/>
                  </a:lnTo>
                  <a:lnTo>
                    <a:pt x="17239" y="8109"/>
                  </a:lnTo>
                  <a:lnTo>
                    <a:pt x="17210" y="8066"/>
                  </a:lnTo>
                  <a:lnTo>
                    <a:pt x="17182" y="8023"/>
                  </a:lnTo>
                  <a:lnTo>
                    <a:pt x="17153" y="7981"/>
                  </a:lnTo>
                  <a:lnTo>
                    <a:pt x="17123" y="7941"/>
                  </a:lnTo>
                  <a:lnTo>
                    <a:pt x="17093" y="7900"/>
                  </a:lnTo>
                  <a:lnTo>
                    <a:pt x="17062" y="7858"/>
                  </a:lnTo>
                  <a:lnTo>
                    <a:pt x="17029" y="7816"/>
                  </a:lnTo>
                  <a:lnTo>
                    <a:pt x="16958" y="7727"/>
                  </a:lnTo>
                  <a:lnTo>
                    <a:pt x="16877" y="7627"/>
                  </a:lnTo>
                  <a:lnTo>
                    <a:pt x="16843" y="7585"/>
                  </a:lnTo>
                  <a:lnTo>
                    <a:pt x="16805" y="7540"/>
                  </a:lnTo>
                  <a:lnTo>
                    <a:pt x="16766" y="7493"/>
                  </a:lnTo>
                  <a:lnTo>
                    <a:pt x="16725" y="7446"/>
                  </a:lnTo>
                  <a:lnTo>
                    <a:pt x="16641" y="7350"/>
                  </a:lnTo>
                  <a:lnTo>
                    <a:pt x="16551" y="7253"/>
                  </a:lnTo>
                  <a:lnTo>
                    <a:pt x="16462" y="7157"/>
                  </a:lnTo>
                  <a:lnTo>
                    <a:pt x="16373" y="7065"/>
                  </a:lnTo>
                  <a:lnTo>
                    <a:pt x="16287" y="6978"/>
                  </a:lnTo>
                  <a:lnTo>
                    <a:pt x="16207" y="6899"/>
                  </a:lnTo>
                  <a:lnTo>
                    <a:pt x="16179" y="6872"/>
                  </a:lnTo>
                  <a:lnTo>
                    <a:pt x="16153" y="6842"/>
                  </a:lnTo>
                  <a:lnTo>
                    <a:pt x="16127" y="6811"/>
                  </a:lnTo>
                  <a:lnTo>
                    <a:pt x="16099" y="6779"/>
                  </a:lnTo>
                  <a:lnTo>
                    <a:pt x="16071" y="6747"/>
                  </a:lnTo>
                  <a:lnTo>
                    <a:pt x="16042" y="6715"/>
                  </a:lnTo>
                  <a:lnTo>
                    <a:pt x="16011" y="6683"/>
                  </a:lnTo>
                  <a:lnTo>
                    <a:pt x="15979" y="6652"/>
                  </a:lnTo>
                  <a:lnTo>
                    <a:pt x="14313" y="5186"/>
                  </a:lnTo>
                  <a:lnTo>
                    <a:pt x="14230" y="5121"/>
                  </a:lnTo>
                  <a:lnTo>
                    <a:pt x="14144" y="5052"/>
                  </a:lnTo>
                  <a:lnTo>
                    <a:pt x="14058" y="4981"/>
                  </a:lnTo>
                  <a:lnTo>
                    <a:pt x="13972" y="4911"/>
                  </a:lnTo>
                  <a:lnTo>
                    <a:pt x="13885" y="4840"/>
                  </a:lnTo>
                  <a:lnTo>
                    <a:pt x="13797" y="4769"/>
                  </a:lnTo>
                  <a:lnTo>
                    <a:pt x="13709" y="4700"/>
                  </a:lnTo>
                  <a:lnTo>
                    <a:pt x="13622" y="4634"/>
                  </a:lnTo>
                  <a:lnTo>
                    <a:pt x="13528" y="4565"/>
                  </a:lnTo>
                  <a:lnTo>
                    <a:pt x="13437" y="4496"/>
                  </a:lnTo>
                  <a:lnTo>
                    <a:pt x="13348" y="4430"/>
                  </a:lnTo>
                  <a:lnTo>
                    <a:pt x="13259" y="4364"/>
                  </a:lnTo>
                  <a:lnTo>
                    <a:pt x="13172" y="4299"/>
                  </a:lnTo>
                  <a:lnTo>
                    <a:pt x="13085" y="4234"/>
                  </a:lnTo>
                  <a:lnTo>
                    <a:pt x="12999" y="4170"/>
                  </a:lnTo>
                  <a:lnTo>
                    <a:pt x="12913" y="4107"/>
                  </a:lnTo>
                  <a:lnTo>
                    <a:pt x="12826" y="4043"/>
                  </a:lnTo>
                  <a:lnTo>
                    <a:pt x="12738" y="3980"/>
                  </a:lnTo>
                  <a:lnTo>
                    <a:pt x="12650" y="3916"/>
                  </a:lnTo>
                  <a:lnTo>
                    <a:pt x="12559" y="3852"/>
                  </a:lnTo>
                  <a:lnTo>
                    <a:pt x="12468" y="3787"/>
                  </a:lnTo>
                  <a:lnTo>
                    <a:pt x="12373" y="3722"/>
                  </a:lnTo>
                  <a:lnTo>
                    <a:pt x="12276" y="3655"/>
                  </a:lnTo>
                  <a:lnTo>
                    <a:pt x="12177" y="3589"/>
                  </a:lnTo>
                  <a:lnTo>
                    <a:pt x="12083" y="3525"/>
                  </a:lnTo>
                  <a:lnTo>
                    <a:pt x="11988" y="3463"/>
                  </a:lnTo>
                  <a:lnTo>
                    <a:pt x="11893" y="3402"/>
                  </a:lnTo>
                  <a:lnTo>
                    <a:pt x="11798" y="3340"/>
                  </a:lnTo>
                  <a:lnTo>
                    <a:pt x="11702" y="3280"/>
                  </a:lnTo>
                  <a:lnTo>
                    <a:pt x="11606" y="3219"/>
                  </a:lnTo>
                  <a:lnTo>
                    <a:pt x="11509" y="3158"/>
                  </a:lnTo>
                  <a:lnTo>
                    <a:pt x="11411" y="3097"/>
                  </a:lnTo>
                  <a:lnTo>
                    <a:pt x="11318" y="3037"/>
                  </a:lnTo>
                  <a:lnTo>
                    <a:pt x="11222" y="2979"/>
                  </a:lnTo>
                  <a:lnTo>
                    <a:pt x="11125" y="2920"/>
                  </a:lnTo>
                  <a:lnTo>
                    <a:pt x="11028" y="2863"/>
                  </a:lnTo>
                  <a:lnTo>
                    <a:pt x="10930" y="2806"/>
                  </a:lnTo>
                  <a:lnTo>
                    <a:pt x="10831" y="2749"/>
                  </a:lnTo>
                  <a:lnTo>
                    <a:pt x="10732" y="2692"/>
                  </a:lnTo>
                  <a:lnTo>
                    <a:pt x="10631" y="2635"/>
                  </a:lnTo>
                  <a:lnTo>
                    <a:pt x="10529" y="2579"/>
                  </a:lnTo>
                  <a:lnTo>
                    <a:pt x="10427" y="2523"/>
                  </a:lnTo>
                  <a:lnTo>
                    <a:pt x="10326" y="2468"/>
                  </a:lnTo>
                  <a:lnTo>
                    <a:pt x="10223" y="2413"/>
                  </a:lnTo>
                  <a:lnTo>
                    <a:pt x="10120" y="2359"/>
                  </a:lnTo>
                  <a:lnTo>
                    <a:pt x="10015" y="2305"/>
                  </a:lnTo>
                  <a:lnTo>
                    <a:pt x="9911" y="2251"/>
                  </a:lnTo>
                  <a:lnTo>
                    <a:pt x="9807" y="2198"/>
                  </a:lnTo>
                  <a:lnTo>
                    <a:pt x="9735" y="2162"/>
                  </a:lnTo>
                  <a:lnTo>
                    <a:pt x="9660" y="2124"/>
                  </a:lnTo>
                  <a:lnTo>
                    <a:pt x="9583" y="2086"/>
                  </a:lnTo>
                  <a:lnTo>
                    <a:pt x="9504" y="2047"/>
                  </a:lnTo>
                  <a:lnTo>
                    <a:pt x="9423" y="2010"/>
                  </a:lnTo>
                  <a:lnTo>
                    <a:pt x="9340" y="1971"/>
                  </a:lnTo>
                  <a:lnTo>
                    <a:pt x="9258" y="1932"/>
                  </a:lnTo>
                  <a:lnTo>
                    <a:pt x="9174" y="1893"/>
                  </a:lnTo>
                  <a:lnTo>
                    <a:pt x="9091" y="1855"/>
                  </a:lnTo>
                  <a:lnTo>
                    <a:pt x="9006" y="1816"/>
                  </a:lnTo>
                  <a:lnTo>
                    <a:pt x="8923" y="1780"/>
                  </a:lnTo>
                  <a:lnTo>
                    <a:pt x="8840" y="1743"/>
                  </a:lnTo>
                  <a:lnTo>
                    <a:pt x="8759" y="1707"/>
                  </a:lnTo>
                  <a:lnTo>
                    <a:pt x="8679" y="1673"/>
                  </a:lnTo>
                  <a:lnTo>
                    <a:pt x="8600" y="1640"/>
                  </a:lnTo>
                  <a:lnTo>
                    <a:pt x="8523" y="1608"/>
                  </a:lnTo>
                  <a:lnTo>
                    <a:pt x="8472" y="1587"/>
                  </a:lnTo>
                  <a:lnTo>
                    <a:pt x="8417" y="1562"/>
                  </a:lnTo>
                  <a:lnTo>
                    <a:pt x="8360" y="1537"/>
                  </a:lnTo>
                  <a:lnTo>
                    <a:pt x="8300" y="1511"/>
                  </a:lnTo>
                  <a:lnTo>
                    <a:pt x="8242" y="1485"/>
                  </a:lnTo>
                  <a:lnTo>
                    <a:pt x="8184" y="1461"/>
                  </a:lnTo>
                  <a:lnTo>
                    <a:pt x="8156" y="1451"/>
                  </a:lnTo>
                  <a:lnTo>
                    <a:pt x="8129" y="1442"/>
                  </a:lnTo>
                  <a:lnTo>
                    <a:pt x="8102" y="1433"/>
                  </a:lnTo>
                  <a:lnTo>
                    <a:pt x="8078" y="1426"/>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sp>
        <p:nvSpPr>
          <p:cNvPr id="20" name="Rectangle 25">
            <a:extLst>
              <a:ext uri="{FF2B5EF4-FFF2-40B4-BE49-F238E27FC236}">
                <a16:creationId xmlns:a16="http://schemas.microsoft.com/office/drawing/2014/main" id="{35303839-14F7-4889-B043-D029F792FCB5}"/>
              </a:ext>
            </a:extLst>
          </p:cNvPr>
          <p:cNvSpPr/>
          <p:nvPr/>
        </p:nvSpPr>
        <p:spPr>
          <a:xfrm>
            <a:off x="5970814" y="3709724"/>
            <a:ext cx="4584700" cy="867930"/>
          </a:xfrm>
          <a:prstGeom prst="rect">
            <a:avLst/>
          </a:prstGeom>
        </p:spPr>
        <p:txBody>
          <a:bodyPr wrap="square">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id-ID" sz="1400" b="0" i="0" u="none" strike="noStrike" kern="1200" cap="none" spc="0" normalizeH="0" baseline="0" noProof="0" dirty="0">
                <a:ln>
                  <a:noFill/>
                </a:ln>
                <a:solidFill>
                  <a:srgbClr val="FFFFFF">
                    <a:lumMod val="65000"/>
                  </a:srgbClr>
                </a:solidFill>
                <a:effectLst/>
                <a:uLnTx/>
                <a:uFillTx/>
                <a:latin typeface="Segoe UI Light" panose="020B0502040204020203" pitchFamily="34" charset="0"/>
                <a:ea typeface="+mn-ea"/>
                <a:cs typeface="Segoe UI Light" panose="020B0502040204020203" pitchFamily="34" charset="0"/>
              </a:rPr>
              <a:t>The quick, brown fox jumps over a lazy dog. DJs flock by when MTV ax quiz prog. Junk MTV quiz graced by fox whelps. DJs flock by when MTV ax quiz prog. </a:t>
            </a:r>
            <a:endParaRPr kumimoji="0" lang="en-US" sz="1400" b="0" i="0" u="none" strike="noStrike" kern="1200" cap="none" spc="0" normalizeH="0" baseline="0" noProof="0" dirty="0">
              <a:ln>
                <a:noFill/>
              </a:ln>
              <a:solidFill>
                <a:srgbClr val="FFFFFF">
                  <a:lumMod val="65000"/>
                </a:srgbClr>
              </a:solidFill>
              <a:effectLst/>
              <a:uLnTx/>
              <a:uFillTx/>
              <a:latin typeface="Segoe UI Light" panose="020B0502040204020203" pitchFamily="34" charset="0"/>
              <a:ea typeface="+mn-ea"/>
              <a:cs typeface="Segoe UI Light" panose="020B0502040204020203" pitchFamily="34" charset="0"/>
            </a:endParaRPr>
          </a:p>
        </p:txBody>
      </p:sp>
      <p:sp>
        <p:nvSpPr>
          <p:cNvPr id="21" name="Freeform 28">
            <a:extLst>
              <a:ext uri="{FF2B5EF4-FFF2-40B4-BE49-F238E27FC236}">
                <a16:creationId xmlns:a16="http://schemas.microsoft.com/office/drawing/2014/main" id="{458552E7-927B-49CF-8E03-C08ECA42F0CC}"/>
              </a:ext>
            </a:extLst>
          </p:cNvPr>
          <p:cNvSpPr>
            <a:spLocks noChangeArrowheads="1"/>
          </p:cNvSpPr>
          <p:nvPr/>
        </p:nvSpPr>
        <p:spPr bwMode="auto">
          <a:xfrm>
            <a:off x="4440782" y="5563937"/>
            <a:ext cx="501748" cy="419900"/>
          </a:xfrm>
          <a:custGeom>
            <a:avLst/>
            <a:gdLst>
              <a:gd name="T0" fmla="*/ 55735 w 498"/>
              <a:gd name="T1" fmla="*/ 36300 h 418"/>
              <a:gd name="T2" fmla="*/ 55735 w 498"/>
              <a:gd name="T3" fmla="*/ 36300 h 418"/>
              <a:gd name="T4" fmla="*/ 16181 w 498"/>
              <a:gd name="T5" fmla="*/ 115622 h 418"/>
              <a:gd name="T6" fmla="*/ 155518 w 498"/>
              <a:gd name="T7" fmla="*/ 51985 h 418"/>
              <a:gd name="T8" fmla="*/ 4045 w 498"/>
              <a:gd name="T9" fmla="*/ 171192 h 418"/>
              <a:gd name="T10" fmla="*/ 19777 w 498"/>
              <a:gd name="T11" fmla="*/ 179258 h 418"/>
              <a:gd name="T12" fmla="*/ 43599 w 498"/>
              <a:gd name="T13" fmla="*/ 139373 h 418"/>
              <a:gd name="T14" fmla="*/ 131696 w 498"/>
              <a:gd name="T15" fmla="*/ 139373 h 418"/>
              <a:gd name="T16" fmla="*/ 210803 w 498"/>
              <a:gd name="T17" fmla="*/ 32267 h 418"/>
              <a:gd name="T18" fmla="*/ 55735 w 498"/>
              <a:gd name="T19" fmla="*/ 36300 h 41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98" h="418">
                <a:moveTo>
                  <a:pt x="124" y="81"/>
                </a:moveTo>
                <a:lnTo>
                  <a:pt x="124" y="81"/>
                </a:lnTo>
                <a:cubicBezTo>
                  <a:pt x="27" y="134"/>
                  <a:pt x="36" y="222"/>
                  <a:pt x="36" y="258"/>
                </a:cubicBezTo>
                <a:cubicBezTo>
                  <a:pt x="159" y="107"/>
                  <a:pt x="346" y="116"/>
                  <a:pt x="346" y="116"/>
                </a:cubicBezTo>
                <a:cubicBezTo>
                  <a:pt x="346" y="116"/>
                  <a:pt x="80" y="204"/>
                  <a:pt x="9" y="382"/>
                </a:cubicBezTo>
                <a:cubicBezTo>
                  <a:pt x="0" y="400"/>
                  <a:pt x="36" y="417"/>
                  <a:pt x="44" y="400"/>
                </a:cubicBezTo>
                <a:cubicBezTo>
                  <a:pt x="62" y="355"/>
                  <a:pt x="97" y="311"/>
                  <a:pt x="97" y="311"/>
                </a:cubicBezTo>
                <a:cubicBezTo>
                  <a:pt x="151" y="329"/>
                  <a:pt x="230" y="355"/>
                  <a:pt x="293" y="311"/>
                </a:cubicBezTo>
                <a:cubicBezTo>
                  <a:pt x="363" y="258"/>
                  <a:pt x="363" y="134"/>
                  <a:pt x="469" y="72"/>
                </a:cubicBezTo>
                <a:cubicBezTo>
                  <a:pt x="497" y="63"/>
                  <a:pt x="249" y="0"/>
                  <a:pt x="124" y="81"/>
                </a:cubicBezTo>
              </a:path>
            </a:pathLst>
          </a:custGeom>
          <a:solidFill>
            <a:schemeClr val="bg1"/>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7"/>
                    </a:srgbClr>
                  </a:outerShdw>
                </a:effectLst>
              </a14:hiddenEffects>
            </a:ext>
          </a:extLst>
        </p:spPr>
        <p:txBody>
          <a:bodyPr wrap="none" lIns="34290" tIns="17145" rIns="34290" bIns="17145"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22" name="Freeform 29">
            <a:extLst>
              <a:ext uri="{FF2B5EF4-FFF2-40B4-BE49-F238E27FC236}">
                <a16:creationId xmlns:a16="http://schemas.microsoft.com/office/drawing/2014/main" id="{4DBA9AA3-9A0E-48C1-B6F4-40A58755D094}"/>
              </a:ext>
            </a:extLst>
          </p:cNvPr>
          <p:cNvSpPr>
            <a:spLocks noChangeArrowheads="1"/>
          </p:cNvSpPr>
          <p:nvPr/>
        </p:nvSpPr>
        <p:spPr bwMode="auto">
          <a:xfrm>
            <a:off x="904177" y="5521234"/>
            <a:ext cx="448369" cy="462603"/>
          </a:xfrm>
          <a:custGeom>
            <a:avLst/>
            <a:gdLst>
              <a:gd name="T0" fmla="*/ 111726 w 444"/>
              <a:gd name="T1" fmla="*/ 150538 h 462"/>
              <a:gd name="T2" fmla="*/ 111726 w 444"/>
              <a:gd name="T3" fmla="*/ 150538 h 462"/>
              <a:gd name="T4" fmla="*/ 144162 w 444"/>
              <a:gd name="T5" fmla="*/ 114802 h 462"/>
              <a:gd name="T6" fmla="*/ 199574 w 444"/>
              <a:gd name="T7" fmla="*/ 31716 h 462"/>
              <a:gd name="T8" fmla="*/ 191916 w 444"/>
              <a:gd name="T9" fmla="*/ 23675 h 462"/>
              <a:gd name="T10" fmla="*/ 155875 w 444"/>
              <a:gd name="T11" fmla="*/ 23675 h 462"/>
              <a:gd name="T12" fmla="*/ 100013 w 444"/>
              <a:gd name="T13" fmla="*/ 0 h 462"/>
              <a:gd name="T14" fmla="*/ 44150 w 444"/>
              <a:gd name="T15" fmla="*/ 23675 h 462"/>
              <a:gd name="T16" fmla="*/ 8109 w 444"/>
              <a:gd name="T17" fmla="*/ 23675 h 462"/>
              <a:gd name="T18" fmla="*/ 0 w 444"/>
              <a:gd name="T19" fmla="*/ 31716 h 462"/>
              <a:gd name="T20" fmla="*/ 55863 w 444"/>
              <a:gd name="T21" fmla="*/ 114802 h 462"/>
              <a:gd name="T22" fmla="*/ 87849 w 444"/>
              <a:gd name="T23" fmla="*/ 150538 h 462"/>
              <a:gd name="T24" fmla="*/ 87849 w 444"/>
              <a:gd name="T25" fmla="*/ 166172 h 462"/>
              <a:gd name="T26" fmla="*/ 48204 w 444"/>
              <a:gd name="T27" fmla="*/ 185827 h 462"/>
              <a:gd name="T28" fmla="*/ 100013 w 444"/>
              <a:gd name="T29" fmla="*/ 205928 h 462"/>
              <a:gd name="T30" fmla="*/ 147766 w 444"/>
              <a:gd name="T31" fmla="*/ 185827 h 462"/>
              <a:gd name="T32" fmla="*/ 111726 w 444"/>
              <a:gd name="T33" fmla="*/ 166172 h 462"/>
              <a:gd name="T34" fmla="*/ 111726 w 444"/>
              <a:gd name="T35" fmla="*/ 150538 h 462"/>
              <a:gd name="T36" fmla="*/ 144162 w 444"/>
              <a:gd name="T37" fmla="*/ 94700 h 462"/>
              <a:gd name="T38" fmla="*/ 144162 w 444"/>
              <a:gd name="T39" fmla="*/ 94700 h 462"/>
              <a:gd name="T40" fmla="*/ 155875 w 444"/>
              <a:gd name="T41" fmla="*/ 39756 h 462"/>
              <a:gd name="T42" fmla="*/ 183807 w 444"/>
              <a:gd name="T43" fmla="*/ 39756 h 462"/>
              <a:gd name="T44" fmla="*/ 144162 w 444"/>
              <a:gd name="T45" fmla="*/ 94700 h 462"/>
              <a:gd name="T46" fmla="*/ 100013 w 444"/>
              <a:gd name="T47" fmla="*/ 16081 h 462"/>
              <a:gd name="T48" fmla="*/ 100013 w 444"/>
              <a:gd name="T49" fmla="*/ 16081 h 462"/>
              <a:gd name="T50" fmla="*/ 144162 w 444"/>
              <a:gd name="T51" fmla="*/ 31716 h 462"/>
              <a:gd name="T52" fmla="*/ 100013 w 444"/>
              <a:gd name="T53" fmla="*/ 51370 h 462"/>
              <a:gd name="T54" fmla="*/ 55863 w 444"/>
              <a:gd name="T55" fmla="*/ 31716 h 462"/>
              <a:gd name="T56" fmla="*/ 100013 w 444"/>
              <a:gd name="T57" fmla="*/ 16081 h 462"/>
              <a:gd name="T58" fmla="*/ 16218 w 444"/>
              <a:gd name="T59" fmla="*/ 39756 h 462"/>
              <a:gd name="T60" fmla="*/ 16218 w 444"/>
              <a:gd name="T61" fmla="*/ 39756 h 462"/>
              <a:gd name="T62" fmla="*/ 44150 w 444"/>
              <a:gd name="T63" fmla="*/ 39756 h 462"/>
              <a:gd name="T64" fmla="*/ 55863 w 444"/>
              <a:gd name="T65" fmla="*/ 94700 h 462"/>
              <a:gd name="T66" fmla="*/ 16218 w 444"/>
              <a:gd name="T67" fmla="*/ 39756 h 462"/>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444" h="462">
                <a:moveTo>
                  <a:pt x="248" y="337"/>
                </a:moveTo>
                <a:lnTo>
                  <a:pt x="248" y="337"/>
                </a:lnTo>
                <a:cubicBezTo>
                  <a:pt x="248" y="302"/>
                  <a:pt x="275" y="283"/>
                  <a:pt x="320" y="257"/>
                </a:cubicBezTo>
                <a:cubicBezTo>
                  <a:pt x="373" y="221"/>
                  <a:pt x="443" y="177"/>
                  <a:pt x="443" y="71"/>
                </a:cubicBezTo>
                <a:cubicBezTo>
                  <a:pt x="443" y="62"/>
                  <a:pt x="434" y="53"/>
                  <a:pt x="426" y="53"/>
                </a:cubicBezTo>
                <a:cubicBezTo>
                  <a:pt x="346" y="53"/>
                  <a:pt x="346" y="53"/>
                  <a:pt x="346" y="53"/>
                </a:cubicBezTo>
                <a:cubicBezTo>
                  <a:pt x="328" y="27"/>
                  <a:pt x="293" y="0"/>
                  <a:pt x="222" y="0"/>
                </a:cubicBezTo>
                <a:cubicBezTo>
                  <a:pt x="151" y="0"/>
                  <a:pt x="116" y="27"/>
                  <a:pt x="98" y="53"/>
                </a:cubicBezTo>
                <a:cubicBezTo>
                  <a:pt x="18" y="53"/>
                  <a:pt x="18" y="53"/>
                  <a:pt x="18" y="53"/>
                </a:cubicBezTo>
                <a:cubicBezTo>
                  <a:pt x="9" y="53"/>
                  <a:pt x="0" y="62"/>
                  <a:pt x="0" y="71"/>
                </a:cubicBezTo>
                <a:cubicBezTo>
                  <a:pt x="0" y="177"/>
                  <a:pt x="62" y="221"/>
                  <a:pt x="124" y="257"/>
                </a:cubicBezTo>
                <a:cubicBezTo>
                  <a:pt x="169" y="283"/>
                  <a:pt x="195" y="302"/>
                  <a:pt x="195" y="337"/>
                </a:cubicBezTo>
                <a:cubicBezTo>
                  <a:pt x="195" y="372"/>
                  <a:pt x="195" y="372"/>
                  <a:pt x="195" y="372"/>
                </a:cubicBezTo>
                <a:cubicBezTo>
                  <a:pt x="142" y="381"/>
                  <a:pt x="107" y="399"/>
                  <a:pt x="107" y="416"/>
                </a:cubicBezTo>
                <a:cubicBezTo>
                  <a:pt x="107" y="443"/>
                  <a:pt x="160" y="461"/>
                  <a:pt x="222" y="461"/>
                </a:cubicBezTo>
                <a:cubicBezTo>
                  <a:pt x="283" y="461"/>
                  <a:pt x="328" y="443"/>
                  <a:pt x="328" y="416"/>
                </a:cubicBezTo>
                <a:cubicBezTo>
                  <a:pt x="328" y="399"/>
                  <a:pt x="302" y="381"/>
                  <a:pt x="248" y="372"/>
                </a:cubicBezTo>
                <a:lnTo>
                  <a:pt x="248" y="337"/>
                </a:lnTo>
                <a:close/>
                <a:moveTo>
                  <a:pt x="320" y="212"/>
                </a:moveTo>
                <a:lnTo>
                  <a:pt x="320" y="212"/>
                </a:lnTo>
                <a:cubicBezTo>
                  <a:pt x="337" y="186"/>
                  <a:pt x="346" y="142"/>
                  <a:pt x="346" y="89"/>
                </a:cubicBezTo>
                <a:cubicBezTo>
                  <a:pt x="408" y="89"/>
                  <a:pt x="408" y="89"/>
                  <a:pt x="408" y="89"/>
                </a:cubicBezTo>
                <a:cubicBezTo>
                  <a:pt x="399" y="151"/>
                  <a:pt x="364" y="186"/>
                  <a:pt x="320" y="212"/>
                </a:cubicBezTo>
                <a:close/>
                <a:moveTo>
                  <a:pt x="222" y="36"/>
                </a:moveTo>
                <a:lnTo>
                  <a:pt x="222" y="36"/>
                </a:lnTo>
                <a:cubicBezTo>
                  <a:pt x="293" y="36"/>
                  <a:pt x="320" y="62"/>
                  <a:pt x="320" y="71"/>
                </a:cubicBezTo>
                <a:cubicBezTo>
                  <a:pt x="320" y="80"/>
                  <a:pt x="293" y="106"/>
                  <a:pt x="222" y="115"/>
                </a:cubicBezTo>
                <a:cubicBezTo>
                  <a:pt x="151" y="106"/>
                  <a:pt x="124" y="80"/>
                  <a:pt x="124" y="71"/>
                </a:cubicBezTo>
                <a:cubicBezTo>
                  <a:pt x="124" y="62"/>
                  <a:pt x="151" y="36"/>
                  <a:pt x="222" y="36"/>
                </a:cubicBezTo>
                <a:close/>
                <a:moveTo>
                  <a:pt x="36" y="89"/>
                </a:moveTo>
                <a:lnTo>
                  <a:pt x="36" y="89"/>
                </a:lnTo>
                <a:cubicBezTo>
                  <a:pt x="98" y="89"/>
                  <a:pt x="98" y="89"/>
                  <a:pt x="98" y="89"/>
                </a:cubicBezTo>
                <a:cubicBezTo>
                  <a:pt x="98" y="142"/>
                  <a:pt x="107" y="186"/>
                  <a:pt x="124" y="212"/>
                </a:cubicBezTo>
                <a:cubicBezTo>
                  <a:pt x="80" y="186"/>
                  <a:pt x="36" y="151"/>
                  <a:pt x="36" y="89"/>
                </a:cubicBezTo>
                <a:close/>
              </a:path>
            </a:pathLst>
          </a:custGeom>
          <a:solidFill>
            <a:schemeClr val="bg1"/>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7"/>
                    </a:srgbClr>
                  </a:outerShdw>
                </a:effectLst>
              </a14:hiddenEffects>
            </a:ext>
          </a:extLst>
        </p:spPr>
        <p:txBody>
          <a:bodyPr wrap="none" lIns="34290" tIns="17145" rIns="34290" bIns="17145"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23" name="Freeform 160">
            <a:extLst>
              <a:ext uri="{FF2B5EF4-FFF2-40B4-BE49-F238E27FC236}">
                <a16:creationId xmlns:a16="http://schemas.microsoft.com/office/drawing/2014/main" id="{5EB8EF08-E46F-4C1B-99C0-AE6E6C6404EA}"/>
              </a:ext>
            </a:extLst>
          </p:cNvPr>
          <p:cNvSpPr>
            <a:spLocks noChangeArrowheads="1"/>
          </p:cNvSpPr>
          <p:nvPr/>
        </p:nvSpPr>
        <p:spPr bwMode="auto">
          <a:xfrm>
            <a:off x="8030766" y="5551480"/>
            <a:ext cx="466163" cy="402110"/>
          </a:xfrm>
          <a:custGeom>
            <a:avLst/>
            <a:gdLst>
              <a:gd name="T0" fmla="*/ 19849 w 461"/>
              <a:gd name="T1" fmla="*/ 55610 h 400"/>
              <a:gd name="T2" fmla="*/ 19849 w 461"/>
              <a:gd name="T3" fmla="*/ 55610 h 400"/>
              <a:gd name="T4" fmla="*/ 99696 w 461"/>
              <a:gd name="T5" fmla="*/ 47538 h 400"/>
              <a:gd name="T6" fmla="*/ 147965 w 461"/>
              <a:gd name="T7" fmla="*/ 63683 h 400"/>
              <a:gd name="T8" fmla="*/ 199843 w 461"/>
              <a:gd name="T9" fmla="*/ 39914 h 400"/>
              <a:gd name="T10" fmla="*/ 203452 w 461"/>
              <a:gd name="T11" fmla="*/ 23769 h 400"/>
              <a:gd name="T12" fmla="*/ 187663 w 461"/>
              <a:gd name="T13" fmla="*/ 23769 h 400"/>
              <a:gd name="T14" fmla="*/ 107816 w 461"/>
              <a:gd name="T15" fmla="*/ 27805 h 400"/>
              <a:gd name="T16" fmla="*/ 8120 w 461"/>
              <a:gd name="T17" fmla="*/ 39914 h 400"/>
              <a:gd name="T18" fmla="*/ 4060 w 461"/>
              <a:gd name="T19" fmla="*/ 55610 h 400"/>
              <a:gd name="T20" fmla="*/ 19849 w 461"/>
              <a:gd name="T21" fmla="*/ 55610 h 400"/>
              <a:gd name="T22" fmla="*/ 187663 w 461"/>
              <a:gd name="T23" fmla="*/ 79828 h 400"/>
              <a:gd name="T24" fmla="*/ 187663 w 461"/>
              <a:gd name="T25" fmla="*/ 79828 h 400"/>
              <a:gd name="T26" fmla="*/ 107816 w 461"/>
              <a:gd name="T27" fmla="*/ 87452 h 400"/>
              <a:gd name="T28" fmla="*/ 8120 w 461"/>
              <a:gd name="T29" fmla="*/ 95524 h 400"/>
              <a:gd name="T30" fmla="*/ 4060 w 461"/>
              <a:gd name="T31" fmla="*/ 111221 h 400"/>
              <a:gd name="T32" fmla="*/ 19849 w 461"/>
              <a:gd name="T33" fmla="*/ 111221 h 400"/>
              <a:gd name="T34" fmla="*/ 99696 w 461"/>
              <a:gd name="T35" fmla="*/ 107633 h 400"/>
              <a:gd name="T36" fmla="*/ 147965 w 461"/>
              <a:gd name="T37" fmla="*/ 123329 h 400"/>
              <a:gd name="T38" fmla="*/ 199843 w 461"/>
              <a:gd name="T39" fmla="*/ 99560 h 400"/>
              <a:gd name="T40" fmla="*/ 203452 w 461"/>
              <a:gd name="T41" fmla="*/ 83864 h 400"/>
              <a:gd name="T42" fmla="*/ 187663 w 461"/>
              <a:gd name="T43" fmla="*/ 79828 h 400"/>
              <a:gd name="T44" fmla="*/ 187663 w 461"/>
              <a:gd name="T45" fmla="*/ 135438 h 400"/>
              <a:gd name="T46" fmla="*/ 187663 w 461"/>
              <a:gd name="T47" fmla="*/ 135438 h 400"/>
              <a:gd name="T48" fmla="*/ 107816 w 461"/>
              <a:gd name="T49" fmla="*/ 143062 h 400"/>
              <a:gd name="T50" fmla="*/ 8120 w 461"/>
              <a:gd name="T51" fmla="*/ 151134 h 400"/>
              <a:gd name="T52" fmla="*/ 4060 w 461"/>
              <a:gd name="T53" fmla="*/ 166831 h 400"/>
              <a:gd name="T54" fmla="*/ 19849 w 461"/>
              <a:gd name="T55" fmla="*/ 170867 h 400"/>
              <a:gd name="T56" fmla="*/ 99696 w 461"/>
              <a:gd name="T57" fmla="*/ 162795 h 400"/>
              <a:gd name="T58" fmla="*/ 147965 w 461"/>
              <a:gd name="T59" fmla="*/ 178940 h 400"/>
              <a:gd name="T60" fmla="*/ 199843 w 461"/>
              <a:gd name="T61" fmla="*/ 155171 h 400"/>
              <a:gd name="T62" fmla="*/ 203452 w 461"/>
              <a:gd name="T63" fmla="*/ 139026 h 400"/>
              <a:gd name="T64" fmla="*/ 187663 w 461"/>
              <a:gd name="T65" fmla="*/ 135438 h 40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461" h="400">
                <a:moveTo>
                  <a:pt x="44" y="124"/>
                </a:moveTo>
                <a:lnTo>
                  <a:pt x="44" y="124"/>
                </a:lnTo>
                <a:cubicBezTo>
                  <a:pt x="88" y="89"/>
                  <a:pt x="124" y="62"/>
                  <a:pt x="221" y="106"/>
                </a:cubicBezTo>
                <a:cubicBezTo>
                  <a:pt x="266" y="133"/>
                  <a:pt x="301" y="142"/>
                  <a:pt x="328" y="142"/>
                </a:cubicBezTo>
                <a:cubicBezTo>
                  <a:pt x="381" y="142"/>
                  <a:pt x="416" y="115"/>
                  <a:pt x="443" y="89"/>
                </a:cubicBezTo>
                <a:cubicBezTo>
                  <a:pt x="451" y="80"/>
                  <a:pt x="460" y="62"/>
                  <a:pt x="451" y="53"/>
                </a:cubicBezTo>
                <a:cubicBezTo>
                  <a:pt x="443" y="44"/>
                  <a:pt x="425" y="44"/>
                  <a:pt x="416" y="53"/>
                </a:cubicBezTo>
                <a:cubicBezTo>
                  <a:pt x="372" y="89"/>
                  <a:pt x="337" y="115"/>
                  <a:pt x="239" y="62"/>
                </a:cubicBezTo>
                <a:cubicBezTo>
                  <a:pt x="124" y="0"/>
                  <a:pt x="62" y="44"/>
                  <a:pt x="18" y="89"/>
                </a:cubicBezTo>
                <a:cubicBezTo>
                  <a:pt x="9" y="97"/>
                  <a:pt x="0" y="115"/>
                  <a:pt x="9" y="124"/>
                </a:cubicBezTo>
                <a:cubicBezTo>
                  <a:pt x="18" y="133"/>
                  <a:pt x="35" y="133"/>
                  <a:pt x="44" y="124"/>
                </a:cubicBezTo>
                <a:close/>
                <a:moveTo>
                  <a:pt x="416" y="178"/>
                </a:moveTo>
                <a:lnTo>
                  <a:pt x="416" y="178"/>
                </a:lnTo>
                <a:cubicBezTo>
                  <a:pt x="372" y="213"/>
                  <a:pt x="337" y="248"/>
                  <a:pt x="239" y="195"/>
                </a:cubicBezTo>
                <a:cubicBezTo>
                  <a:pt x="124" y="124"/>
                  <a:pt x="62" y="178"/>
                  <a:pt x="18" y="213"/>
                </a:cubicBezTo>
                <a:cubicBezTo>
                  <a:pt x="9" y="222"/>
                  <a:pt x="0" y="240"/>
                  <a:pt x="9" y="248"/>
                </a:cubicBezTo>
                <a:cubicBezTo>
                  <a:pt x="18" y="257"/>
                  <a:pt x="35" y="257"/>
                  <a:pt x="44" y="248"/>
                </a:cubicBezTo>
                <a:cubicBezTo>
                  <a:pt x="88" y="213"/>
                  <a:pt x="124" y="187"/>
                  <a:pt x="221" y="240"/>
                </a:cubicBezTo>
                <a:cubicBezTo>
                  <a:pt x="266" y="266"/>
                  <a:pt x="301" y="275"/>
                  <a:pt x="328" y="275"/>
                </a:cubicBezTo>
                <a:cubicBezTo>
                  <a:pt x="381" y="275"/>
                  <a:pt x="416" y="240"/>
                  <a:pt x="443" y="222"/>
                </a:cubicBezTo>
                <a:cubicBezTo>
                  <a:pt x="451" y="213"/>
                  <a:pt x="460" y="195"/>
                  <a:pt x="451" y="187"/>
                </a:cubicBezTo>
                <a:cubicBezTo>
                  <a:pt x="443" y="168"/>
                  <a:pt x="425" y="168"/>
                  <a:pt x="416" y="178"/>
                </a:cubicBezTo>
                <a:close/>
                <a:moveTo>
                  <a:pt x="416" y="302"/>
                </a:moveTo>
                <a:lnTo>
                  <a:pt x="416" y="302"/>
                </a:lnTo>
                <a:cubicBezTo>
                  <a:pt x="372" y="346"/>
                  <a:pt x="337" y="372"/>
                  <a:pt x="239" y="319"/>
                </a:cubicBezTo>
                <a:cubicBezTo>
                  <a:pt x="124" y="248"/>
                  <a:pt x="62" y="302"/>
                  <a:pt x="18" y="337"/>
                </a:cubicBezTo>
                <a:cubicBezTo>
                  <a:pt x="9" y="346"/>
                  <a:pt x="0" y="363"/>
                  <a:pt x="9" y="372"/>
                </a:cubicBezTo>
                <a:cubicBezTo>
                  <a:pt x="18" y="390"/>
                  <a:pt x="35" y="390"/>
                  <a:pt x="44" y="381"/>
                </a:cubicBezTo>
                <a:cubicBezTo>
                  <a:pt x="88" y="337"/>
                  <a:pt x="124" y="310"/>
                  <a:pt x="221" y="363"/>
                </a:cubicBezTo>
                <a:cubicBezTo>
                  <a:pt x="266" y="390"/>
                  <a:pt x="301" y="399"/>
                  <a:pt x="328" y="399"/>
                </a:cubicBezTo>
                <a:cubicBezTo>
                  <a:pt x="381" y="399"/>
                  <a:pt x="416" y="372"/>
                  <a:pt x="443" y="346"/>
                </a:cubicBezTo>
                <a:cubicBezTo>
                  <a:pt x="451" y="337"/>
                  <a:pt x="460" y="319"/>
                  <a:pt x="451" y="310"/>
                </a:cubicBezTo>
                <a:cubicBezTo>
                  <a:pt x="443" y="302"/>
                  <a:pt x="425" y="293"/>
                  <a:pt x="416" y="302"/>
                </a:cubicBezTo>
                <a:close/>
              </a:path>
            </a:pathLst>
          </a:custGeom>
          <a:solidFill>
            <a:schemeClr val="bg1"/>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7"/>
                    </a:srgbClr>
                  </a:outerShdw>
                </a:effectLst>
              </a14:hiddenEffects>
            </a:ext>
          </a:extLst>
        </p:spPr>
        <p:txBody>
          <a:bodyPr wrap="none" lIns="34290" tIns="17145" rIns="34290" bIns="17145"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grpSp>
        <p:nvGrpSpPr>
          <p:cNvPr id="24" name="Group 29">
            <a:extLst>
              <a:ext uri="{FF2B5EF4-FFF2-40B4-BE49-F238E27FC236}">
                <a16:creationId xmlns:a16="http://schemas.microsoft.com/office/drawing/2014/main" id="{4CBB4576-B973-4DBF-89A3-D342BBD3D958}"/>
              </a:ext>
            </a:extLst>
          </p:cNvPr>
          <p:cNvGrpSpPr/>
          <p:nvPr/>
        </p:nvGrpSpPr>
        <p:grpSpPr>
          <a:xfrm>
            <a:off x="1490876" y="5521234"/>
            <a:ext cx="2844819" cy="853712"/>
            <a:chOff x="1090767" y="688621"/>
            <a:chExt cx="2043071" cy="853712"/>
          </a:xfrm>
        </p:grpSpPr>
        <p:sp>
          <p:nvSpPr>
            <p:cNvPr id="25" name="Rectangle 30">
              <a:extLst>
                <a:ext uri="{FF2B5EF4-FFF2-40B4-BE49-F238E27FC236}">
                  <a16:creationId xmlns:a16="http://schemas.microsoft.com/office/drawing/2014/main" id="{0396E514-CD7F-4758-BEDB-0280BBC149D3}"/>
                </a:ext>
              </a:extLst>
            </p:cNvPr>
            <p:cNvSpPr/>
            <p:nvPr/>
          </p:nvSpPr>
          <p:spPr>
            <a:xfrm>
              <a:off x="1090767" y="688621"/>
              <a:ext cx="2043071" cy="396904"/>
            </a:xfrm>
            <a:prstGeom prst="rect">
              <a:avLst/>
            </a:prstGeom>
          </p:spPr>
          <p:txBody>
            <a:bodyPr wrap="square">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Inter SemiBold" panose="020B0502030000000004" pitchFamily="34" charset="0"/>
                  <a:ea typeface="+mn-ea"/>
                  <a:cs typeface="Open Sans Light" panose="020B0306030504020204" pitchFamily="34" charset="0"/>
                </a:rPr>
                <a:t>Your Title Text</a:t>
              </a:r>
            </a:p>
          </p:txBody>
        </p:sp>
        <p:sp>
          <p:nvSpPr>
            <p:cNvPr id="26" name="Rectangle 31">
              <a:extLst>
                <a:ext uri="{FF2B5EF4-FFF2-40B4-BE49-F238E27FC236}">
                  <a16:creationId xmlns:a16="http://schemas.microsoft.com/office/drawing/2014/main" id="{3B7C2444-631B-4223-B87B-7CD8FB12F9D8}"/>
                </a:ext>
              </a:extLst>
            </p:cNvPr>
            <p:cNvSpPr/>
            <p:nvPr/>
          </p:nvSpPr>
          <p:spPr>
            <a:xfrm>
              <a:off x="1090767" y="1062586"/>
              <a:ext cx="2019198" cy="479747"/>
            </a:xfrm>
            <a:prstGeom prst="rect">
              <a:avLst/>
            </a:prstGeom>
          </p:spPr>
          <p:txBody>
            <a:bodyPr wrap="square">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id-ID" sz="1100" b="0" i="0" u="none" strike="noStrike" kern="1200" cap="none" spc="0" normalizeH="0" baseline="0" noProof="0" dirty="0">
                  <a:ln>
                    <a:noFill/>
                  </a:ln>
                  <a:solidFill>
                    <a:srgbClr val="FFFFFF"/>
                  </a:solidFill>
                  <a:effectLst/>
                  <a:uLnTx/>
                  <a:uFillTx/>
                  <a:latin typeface="Segoe UI Light" panose="020B0502040204020203" pitchFamily="34" charset="0"/>
                  <a:ea typeface="+mn-ea"/>
                  <a:cs typeface="Segoe UI Light" panose="020B0502040204020203" pitchFamily="34" charset="0"/>
                </a:rPr>
                <a:t>The quick, brown fox jumps over a lazy dog. DJs flock by when MTV ax quiz prog. </a:t>
              </a:r>
              <a:endParaRPr kumimoji="0" lang="en-US" sz="1100" b="0" i="0" u="none" strike="noStrike" kern="1200" cap="none" spc="0" normalizeH="0" baseline="0" noProof="0" dirty="0">
                <a:ln>
                  <a:noFill/>
                </a:ln>
                <a:solidFill>
                  <a:srgbClr val="FFFFFF"/>
                </a:solidFill>
                <a:effectLst/>
                <a:uLnTx/>
                <a:uFillTx/>
                <a:latin typeface="Segoe UI Light" panose="020B0502040204020203" pitchFamily="34" charset="0"/>
                <a:ea typeface="+mn-ea"/>
                <a:cs typeface="Segoe UI Light" panose="020B0502040204020203" pitchFamily="34" charset="0"/>
              </a:endParaRPr>
            </a:p>
          </p:txBody>
        </p:sp>
      </p:grpSp>
      <p:grpSp>
        <p:nvGrpSpPr>
          <p:cNvPr id="27" name="Group 32">
            <a:extLst>
              <a:ext uri="{FF2B5EF4-FFF2-40B4-BE49-F238E27FC236}">
                <a16:creationId xmlns:a16="http://schemas.microsoft.com/office/drawing/2014/main" id="{F31EBE19-AECA-42F5-B3D6-BB14BE37B731}"/>
              </a:ext>
            </a:extLst>
          </p:cNvPr>
          <p:cNvGrpSpPr/>
          <p:nvPr/>
        </p:nvGrpSpPr>
        <p:grpSpPr>
          <a:xfrm>
            <a:off x="5003402" y="5528926"/>
            <a:ext cx="2844819" cy="853712"/>
            <a:chOff x="1090767" y="688621"/>
            <a:chExt cx="2043071" cy="853712"/>
          </a:xfrm>
        </p:grpSpPr>
        <p:sp>
          <p:nvSpPr>
            <p:cNvPr id="28" name="Rectangle 33">
              <a:extLst>
                <a:ext uri="{FF2B5EF4-FFF2-40B4-BE49-F238E27FC236}">
                  <a16:creationId xmlns:a16="http://schemas.microsoft.com/office/drawing/2014/main" id="{695F64E0-55AB-4A4C-B329-3535BF2D34A5}"/>
                </a:ext>
              </a:extLst>
            </p:cNvPr>
            <p:cNvSpPr/>
            <p:nvPr/>
          </p:nvSpPr>
          <p:spPr>
            <a:xfrm>
              <a:off x="1090767" y="688621"/>
              <a:ext cx="2043071" cy="396904"/>
            </a:xfrm>
            <a:prstGeom prst="rect">
              <a:avLst/>
            </a:prstGeom>
          </p:spPr>
          <p:txBody>
            <a:bodyPr wrap="square">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Inter SemiBold" panose="020B0502030000000004" pitchFamily="34" charset="0"/>
                  <a:ea typeface="+mn-ea"/>
                  <a:cs typeface="Open Sans Light" panose="020B0306030504020204" pitchFamily="34" charset="0"/>
                </a:rPr>
                <a:t>Your Title Text</a:t>
              </a:r>
            </a:p>
          </p:txBody>
        </p:sp>
        <p:sp>
          <p:nvSpPr>
            <p:cNvPr id="29" name="Rectangle 34">
              <a:extLst>
                <a:ext uri="{FF2B5EF4-FFF2-40B4-BE49-F238E27FC236}">
                  <a16:creationId xmlns:a16="http://schemas.microsoft.com/office/drawing/2014/main" id="{99D966AD-1768-4744-8C86-D1F200E07C24}"/>
                </a:ext>
              </a:extLst>
            </p:cNvPr>
            <p:cNvSpPr/>
            <p:nvPr/>
          </p:nvSpPr>
          <p:spPr>
            <a:xfrm>
              <a:off x="1090767" y="1062586"/>
              <a:ext cx="2019198" cy="479747"/>
            </a:xfrm>
            <a:prstGeom prst="rect">
              <a:avLst/>
            </a:prstGeom>
          </p:spPr>
          <p:txBody>
            <a:bodyPr wrap="square">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id-ID" sz="1100" b="0" i="0" u="none" strike="noStrike" kern="1200" cap="none" spc="0" normalizeH="0" baseline="0" noProof="0" dirty="0">
                  <a:ln>
                    <a:noFill/>
                  </a:ln>
                  <a:solidFill>
                    <a:srgbClr val="FFFFFF"/>
                  </a:solidFill>
                  <a:effectLst/>
                  <a:uLnTx/>
                  <a:uFillTx/>
                  <a:latin typeface="Segoe UI Light" panose="020B0502040204020203" pitchFamily="34" charset="0"/>
                  <a:ea typeface="+mn-ea"/>
                  <a:cs typeface="Segoe UI Light" panose="020B0502040204020203" pitchFamily="34" charset="0"/>
                </a:rPr>
                <a:t>The quick, brown fox jumps over a lazy dog. DJs flock by when MTV ax quiz prog. </a:t>
              </a:r>
              <a:endParaRPr kumimoji="0" lang="en-US" sz="1100" b="0" i="0" u="none" strike="noStrike" kern="1200" cap="none" spc="0" normalizeH="0" baseline="0" noProof="0" dirty="0">
                <a:ln>
                  <a:noFill/>
                </a:ln>
                <a:solidFill>
                  <a:srgbClr val="FFFFFF"/>
                </a:solidFill>
                <a:effectLst/>
                <a:uLnTx/>
                <a:uFillTx/>
                <a:latin typeface="Segoe UI Light" panose="020B0502040204020203" pitchFamily="34" charset="0"/>
                <a:ea typeface="+mn-ea"/>
                <a:cs typeface="Segoe UI Light" panose="020B0502040204020203" pitchFamily="34" charset="0"/>
              </a:endParaRPr>
            </a:p>
          </p:txBody>
        </p:sp>
      </p:grpSp>
      <p:grpSp>
        <p:nvGrpSpPr>
          <p:cNvPr id="30" name="Group 35">
            <a:extLst>
              <a:ext uri="{FF2B5EF4-FFF2-40B4-BE49-F238E27FC236}">
                <a16:creationId xmlns:a16="http://schemas.microsoft.com/office/drawing/2014/main" id="{9D252634-A5DD-40DE-92A9-15D34E8769CE}"/>
              </a:ext>
            </a:extLst>
          </p:cNvPr>
          <p:cNvGrpSpPr/>
          <p:nvPr/>
        </p:nvGrpSpPr>
        <p:grpSpPr>
          <a:xfrm>
            <a:off x="8614321" y="5521234"/>
            <a:ext cx="2844819" cy="853712"/>
            <a:chOff x="1090767" y="688621"/>
            <a:chExt cx="2043071" cy="853712"/>
          </a:xfrm>
        </p:grpSpPr>
        <p:sp>
          <p:nvSpPr>
            <p:cNvPr id="31" name="Rectangle 36">
              <a:extLst>
                <a:ext uri="{FF2B5EF4-FFF2-40B4-BE49-F238E27FC236}">
                  <a16:creationId xmlns:a16="http://schemas.microsoft.com/office/drawing/2014/main" id="{F7C2C1C7-F474-4DA2-BB05-9008B023BADD}"/>
                </a:ext>
              </a:extLst>
            </p:cNvPr>
            <p:cNvSpPr/>
            <p:nvPr/>
          </p:nvSpPr>
          <p:spPr>
            <a:xfrm>
              <a:off x="1090767" y="688621"/>
              <a:ext cx="2043071" cy="396904"/>
            </a:xfrm>
            <a:prstGeom prst="rect">
              <a:avLst/>
            </a:prstGeom>
          </p:spPr>
          <p:txBody>
            <a:bodyPr wrap="square">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Inter SemiBold" panose="020B0502030000000004" pitchFamily="34" charset="0"/>
                  <a:ea typeface="+mn-ea"/>
                  <a:cs typeface="Open Sans Light" panose="020B0306030504020204" pitchFamily="34" charset="0"/>
                </a:rPr>
                <a:t>Your Title Text</a:t>
              </a:r>
            </a:p>
          </p:txBody>
        </p:sp>
        <p:sp>
          <p:nvSpPr>
            <p:cNvPr id="32" name="Rectangle 37">
              <a:extLst>
                <a:ext uri="{FF2B5EF4-FFF2-40B4-BE49-F238E27FC236}">
                  <a16:creationId xmlns:a16="http://schemas.microsoft.com/office/drawing/2014/main" id="{09185F20-E80B-46B1-9A95-7E519E1F3811}"/>
                </a:ext>
              </a:extLst>
            </p:cNvPr>
            <p:cNvSpPr/>
            <p:nvPr/>
          </p:nvSpPr>
          <p:spPr>
            <a:xfrm>
              <a:off x="1090767" y="1062586"/>
              <a:ext cx="2019198" cy="479747"/>
            </a:xfrm>
            <a:prstGeom prst="rect">
              <a:avLst/>
            </a:prstGeom>
          </p:spPr>
          <p:txBody>
            <a:bodyPr wrap="square">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id-ID" sz="1100" b="0" i="0" u="none" strike="noStrike" kern="1200" cap="none" spc="0" normalizeH="0" baseline="0" noProof="0" dirty="0">
                  <a:ln>
                    <a:noFill/>
                  </a:ln>
                  <a:solidFill>
                    <a:srgbClr val="FFFFFF"/>
                  </a:solidFill>
                  <a:effectLst/>
                  <a:uLnTx/>
                  <a:uFillTx/>
                  <a:latin typeface="Segoe UI Light" panose="020B0502040204020203" pitchFamily="34" charset="0"/>
                  <a:ea typeface="+mn-ea"/>
                  <a:cs typeface="Segoe UI Light" panose="020B0502040204020203" pitchFamily="34" charset="0"/>
                </a:rPr>
                <a:t>The quick, brown fox jumps over a lazy dog. DJs flock by when MTV ax quiz prog. </a:t>
              </a:r>
              <a:endParaRPr kumimoji="0" lang="en-US" sz="1100" b="0" i="0" u="none" strike="noStrike" kern="1200" cap="none" spc="0" normalizeH="0" baseline="0" noProof="0" dirty="0">
                <a:ln>
                  <a:noFill/>
                </a:ln>
                <a:solidFill>
                  <a:srgbClr val="FFFFFF"/>
                </a:solidFill>
                <a:effectLst/>
                <a:uLnTx/>
                <a:uFillTx/>
                <a:latin typeface="Segoe UI Light" panose="020B0502040204020203" pitchFamily="34" charset="0"/>
                <a:ea typeface="+mn-ea"/>
                <a:cs typeface="Segoe UI Light" panose="020B0502040204020203" pitchFamily="34" charset="0"/>
              </a:endParaRPr>
            </a:p>
          </p:txBody>
        </p:sp>
      </p:grpSp>
      <p:sp>
        <p:nvSpPr>
          <p:cNvPr id="33" name="Freeform 47">
            <a:extLst>
              <a:ext uri="{FF2B5EF4-FFF2-40B4-BE49-F238E27FC236}">
                <a16:creationId xmlns:a16="http://schemas.microsoft.com/office/drawing/2014/main" id="{E5659ED6-E8AB-4067-A179-6BF4C2949073}"/>
              </a:ext>
            </a:extLst>
          </p:cNvPr>
          <p:cNvSpPr>
            <a:spLocks noChangeArrowheads="1"/>
          </p:cNvSpPr>
          <p:nvPr/>
        </p:nvSpPr>
        <p:spPr bwMode="auto">
          <a:xfrm>
            <a:off x="4053231" y="1232099"/>
            <a:ext cx="480659" cy="422291"/>
          </a:xfrm>
          <a:custGeom>
            <a:avLst/>
            <a:gdLst>
              <a:gd name="T0" fmla="*/ 221804 w 498"/>
              <a:gd name="T1" fmla="*/ 194813 h 435"/>
              <a:gd name="T2" fmla="*/ 221804 w 498"/>
              <a:gd name="T3" fmla="*/ 194813 h 435"/>
              <a:gd name="T4" fmla="*/ 217341 w 498"/>
              <a:gd name="T5" fmla="*/ 147232 h 435"/>
              <a:gd name="T6" fmla="*/ 189671 w 498"/>
              <a:gd name="T7" fmla="*/ 131521 h 435"/>
              <a:gd name="T8" fmla="*/ 166018 w 498"/>
              <a:gd name="T9" fmla="*/ 103691 h 435"/>
              <a:gd name="T10" fmla="*/ 174051 w 498"/>
              <a:gd name="T11" fmla="*/ 87980 h 435"/>
              <a:gd name="T12" fmla="*/ 182084 w 498"/>
              <a:gd name="T13" fmla="*/ 71372 h 435"/>
              <a:gd name="T14" fmla="*/ 178068 w 498"/>
              <a:gd name="T15" fmla="*/ 67781 h 435"/>
              <a:gd name="T16" fmla="*/ 182084 w 498"/>
              <a:gd name="T17" fmla="*/ 51621 h 435"/>
              <a:gd name="T18" fmla="*/ 154415 w 498"/>
              <a:gd name="T19" fmla="*/ 27830 h 435"/>
              <a:gd name="T20" fmla="*/ 126745 w 498"/>
              <a:gd name="T21" fmla="*/ 51621 h 435"/>
              <a:gd name="T22" fmla="*/ 130762 w 498"/>
              <a:gd name="T23" fmla="*/ 67781 h 435"/>
              <a:gd name="T24" fmla="*/ 126745 w 498"/>
              <a:gd name="T25" fmla="*/ 71372 h 435"/>
              <a:gd name="T26" fmla="*/ 134778 w 498"/>
              <a:gd name="T27" fmla="*/ 87980 h 435"/>
              <a:gd name="T28" fmla="*/ 138795 w 498"/>
              <a:gd name="T29" fmla="*/ 103691 h 435"/>
              <a:gd name="T30" fmla="*/ 130762 w 498"/>
              <a:gd name="T31" fmla="*/ 123441 h 435"/>
              <a:gd name="T32" fmla="*/ 170035 w 498"/>
              <a:gd name="T33" fmla="*/ 163392 h 435"/>
              <a:gd name="T34" fmla="*/ 170035 w 498"/>
              <a:gd name="T35" fmla="*/ 194813 h 435"/>
              <a:gd name="T36" fmla="*/ 221804 w 498"/>
              <a:gd name="T37" fmla="*/ 194813 h 435"/>
              <a:gd name="T38" fmla="*/ 115142 w 498"/>
              <a:gd name="T39" fmla="*/ 135561 h 435"/>
              <a:gd name="T40" fmla="*/ 115142 w 498"/>
              <a:gd name="T41" fmla="*/ 135561 h 435"/>
              <a:gd name="T42" fmla="*/ 83455 w 498"/>
              <a:gd name="T43" fmla="*/ 103691 h 435"/>
              <a:gd name="T44" fmla="*/ 95059 w 498"/>
              <a:gd name="T45" fmla="*/ 75412 h 435"/>
              <a:gd name="T46" fmla="*/ 103092 w 498"/>
              <a:gd name="T47" fmla="*/ 59701 h 435"/>
              <a:gd name="T48" fmla="*/ 99075 w 498"/>
              <a:gd name="T49" fmla="*/ 51621 h 435"/>
              <a:gd name="T50" fmla="*/ 103092 w 498"/>
              <a:gd name="T51" fmla="*/ 31870 h 435"/>
              <a:gd name="T52" fmla="*/ 67389 w 498"/>
              <a:gd name="T53" fmla="*/ 0 h 435"/>
              <a:gd name="T54" fmla="*/ 31686 w 498"/>
              <a:gd name="T55" fmla="*/ 31870 h 435"/>
              <a:gd name="T56" fmla="*/ 31686 w 498"/>
              <a:gd name="T57" fmla="*/ 51621 h 435"/>
              <a:gd name="T58" fmla="*/ 31686 w 498"/>
              <a:gd name="T59" fmla="*/ 59701 h 435"/>
              <a:gd name="T60" fmla="*/ 39719 w 498"/>
              <a:gd name="T61" fmla="*/ 75412 h 435"/>
              <a:gd name="T62" fmla="*/ 47753 w 498"/>
              <a:gd name="T63" fmla="*/ 103691 h 435"/>
              <a:gd name="T64" fmla="*/ 20083 w 498"/>
              <a:gd name="T65" fmla="*/ 135561 h 435"/>
              <a:gd name="T66" fmla="*/ 0 w 498"/>
              <a:gd name="T67" fmla="*/ 155312 h 435"/>
              <a:gd name="T68" fmla="*/ 0 w 498"/>
              <a:gd name="T69" fmla="*/ 194813 h 435"/>
              <a:gd name="T70" fmla="*/ 154415 w 498"/>
              <a:gd name="T71" fmla="*/ 194813 h 435"/>
              <a:gd name="T72" fmla="*/ 154415 w 498"/>
              <a:gd name="T73" fmla="*/ 163392 h 435"/>
              <a:gd name="T74" fmla="*/ 115142 w 498"/>
              <a:gd name="T75" fmla="*/ 135561 h 435"/>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498" h="435">
                <a:moveTo>
                  <a:pt x="497" y="434"/>
                </a:moveTo>
                <a:lnTo>
                  <a:pt x="497" y="434"/>
                </a:lnTo>
                <a:cubicBezTo>
                  <a:pt x="497" y="434"/>
                  <a:pt x="497" y="337"/>
                  <a:pt x="487" y="328"/>
                </a:cubicBezTo>
                <a:cubicBezTo>
                  <a:pt x="479" y="319"/>
                  <a:pt x="462" y="302"/>
                  <a:pt x="425" y="293"/>
                </a:cubicBezTo>
                <a:cubicBezTo>
                  <a:pt x="390" y="275"/>
                  <a:pt x="372" y="257"/>
                  <a:pt x="372" y="231"/>
                </a:cubicBezTo>
                <a:cubicBezTo>
                  <a:pt x="372" y="213"/>
                  <a:pt x="390" y="222"/>
                  <a:pt x="390" y="196"/>
                </a:cubicBezTo>
                <a:cubicBezTo>
                  <a:pt x="390" y="178"/>
                  <a:pt x="408" y="196"/>
                  <a:pt x="408" y="159"/>
                </a:cubicBezTo>
                <a:cubicBezTo>
                  <a:pt x="408" y="151"/>
                  <a:pt x="399" y="151"/>
                  <a:pt x="399" y="151"/>
                </a:cubicBezTo>
                <a:cubicBezTo>
                  <a:pt x="399" y="151"/>
                  <a:pt x="408" y="133"/>
                  <a:pt x="408" y="115"/>
                </a:cubicBezTo>
                <a:cubicBezTo>
                  <a:pt x="408" y="98"/>
                  <a:pt x="399" y="62"/>
                  <a:pt x="346" y="62"/>
                </a:cubicBezTo>
                <a:cubicBezTo>
                  <a:pt x="293" y="62"/>
                  <a:pt x="284" y="98"/>
                  <a:pt x="284" y="115"/>
                </a:cubicBezTo>
                <a:cubicBezTo>
                  <a:pt x="284" y="133"/>
                  <a:pt x="293" y="151"/>
                  <a:pt x="293" y="151"/>
                </a:cubicBezTo>
                <a:cubicBezTo>
                  <a:pt x="293" y="151"/>
                  <a:pt x="284" y="151"/>
                  <a:pt x="284" y="159"/>
                </a:cubicBezTo>
                <a:cubicBezTo>
                  <a:pt x="284" y="196"/>
                  <a:pt x="293" y="178"/>
                  <a:pt x="302" y="196"/>
                </a:cubicBezTo>
                <a:cubicBezTo>
                  <a:pt x="302" y="222"/>
                  <a:pt x="311" y="213"/>
                  <a:pt x="311" y="231"/>
                </a:cubicBezTo>
                <a:cubicBezTo>
                  <a:pt x="311" y="249"/>
                  <a:pt x="311" y="266"/>
                  <a:pt x="293" y="275"/>
                </a:cubicBezTo>
                <a:cubicBezTo>
                  <a:pt x="372" y="319"/>
                  <a:pt x="381" y="319"/>
                  <a:pt x="381" y="364"/>
                </a:cubicBezTo>
                <a:cubicBezTo>
                  <a:pt x="381" y="434"/>
                  <a:pt x="381" y="434"/>
                  <a:pt x="381" y="434"/>
                </a:cubicBezTo>
                <a:lnTo>
                  <a:pt x="497" y="434"/>
                </a:lnTo>
                <a:close/>
                <a:moveTo>
                  <a:pt x="258" y="302"/>
                </a:moveTo>
                <a:lnTo>
                  <a:pt x="258" y="302"/>
                </a:lnTo>
                <a:cubicBezTo>
                  <a:pt x="204" y="284"/>
                  <a:pt x="187" y="266"/>
                  <a:pt x="187" y="231"/>
                </a:cubicBezTo>
                <a:cubicBezTo>
                  <a:pt x="187" y="204"/>
                  <a:pt x="204" y="213"/>
                  <a:pt x="213" y="168"/>
                </a:cubicBezTo>
                <a:cubicBezTo>
                  <a:pt x="213" y="159"/>
                  <a:pt x="231" y="168"/>
                  <a:pt x="231" y="133"/>
                </a:cubicBezTo>
                <a:cubicBezTo>
                  <a:pt x="231" y="115"/>
                  <a:pt x="222" y="115"/>
                  <a:pt x="222" y="115"/>
                </a:cubicBezTo>
                <a:cubicBezTo>
                  <a:pt x="222" y="115"/>
                  <a:pt x="222" y="89"/>
                  <a:pt x="231" y="71"/>
                </a:cubicBezTo>
                <a:cubicBezTo>
                  <a:pt x="231" y="53"/>
                  <a:pt x="213" y="0"/>
                  <a:pt x="151" y="0"/>
                </a:cubicBezTo>
                <a:cubicBezTo>
                  <a:pt x="80" y="0"/>
                  <a:pt x="71" y="53"/>
                  <a:pt x="71" y="71"/>
                </a:cubicBezTo>
                <a:cubicBezTo>
                  <a:pt x="71" y="89"/>
                  <a:pt x="71" y="115"/>
                  <a:pt x="71" y="115"/>
                </a:cubicBezTo>
                <a:cubicBezTo>
                  <a:pt x="71" y="115"/>
                  <a:pt x="71" y="115"/>
                  <a:pt x="71" y="133"/>
                </a:cubicBezTo>
                <a:cubicBezTo>
                  <a:pt x="71" y="168"/>
                  <a:pt x="80" y="159"/>
                  <a:pt x="89" y="168"/>
                </a:cubicBezTo>
                <a:cubicBezTo>
                  <a:pt x="89" y="213"/>
                  <a:pt x="107" y="204"/>
                  <a:pt x="107" y="231"/>
                </a:cubicBezTo>
                <a:cubicBezTo>
                  <a:pt x="107" y="266"/>
                  <a:pt x="89" y="284"/>
                  <a:pt x="45" y="302"/>
                </a:cubicBezTo>
                <a:cubicBezTo>
                  <a:pt x="27" y="310"/>
                  <a:pt x="0" y="319"/>
                  <a:pt x="0" y="346"/>
                </a:cubicBezTo>
                <a:cubicBezTo>
                  <a:pt x="0" y="434"/>
                  <a:pt x="0" y="434"/>
                  <a:pt x="0" y="434"/>
                </a:cubicBezTo>
                <a:cubicBezTo>
                  <a:pt x="346" y="434"/>
                  <a:pt x="346" y="434"/>
                  <a:pt x="346" y="434"/>
                </a:cubicBezTo>
                <a:cubicBezTo>
                  <a:pt x="346" y="434"/>
                  <a:pt x="346" y="381"/>
                  <a:pt x="346" y="364"/>
                </a:cubicBezTo>
                <a:cubicBezTo>
                  <a:pt x="346" y="346"/>
                  <a:pt x="302" y="328"/>
                  <a:pt x="258" y="302"/>
                </a:cubicBezTo>
                <a:close/>
              </a:path>
            </a:pathLst>
          </a:custGeom>
          <a:solidFill>
            <a:schemeClr val="bg1"/>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7"/>
                    </a:srgbClr>
                  </a:outerShdw>
                </a:effectLst>
              </a14:hiddenEffects>
            </a:ext>
          </a:extLst>
        </p:spPr>
        <p:txBody>
          <a:bodyPr wrap="none" lIns="34290" tIns="17145" rIns="34290" bIns="17145"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34" name="Freeform 79">
            <a:extLst>
              <a:ext uri="{FF2B5EF4-FFF2-40B4-BE49-F238E27FC236}">
                <a16:creationId xmlns:a16="http://schemas.microsoft.com/office/drawing/2014/main" id="{B0ECA3BF-7493-48B8-A8F1-9C7722223FA2}"/>
              </a:ext>
            </a:extLst>
          </p:cNvPr>
          <p:cNvSpPr>
            <a:spLocks noChangeArrowheads="1"/>
          </p:cNvSpPr>
          <p:nvPr/>
        </p:nvSpPr>
        <p:spPr bwMode="auto">
          <a:xfrm>
            <a:off x="1900948" y="938397"/>
            <a:ext cx="463493" cy="466924"/>
          </a:xfrm>
          <a:custGeom>
            <a:avLst/>
            <a:gdLst>
              <a:gd name="T0" fmla="*/ 106933 w 479"/>
              <a:gd name="T1" fmla="*/ 0 h 479"/>
              <a:gd name="T2" fmla="*/ 106933 w 479"/>
              <a:gd name="T3" fmla="*/ 0 h 479"/>
              <a:gd name="T4" fmla="*/ 0 w 479"/>
              <a:gd name="T5" fmla="*/ 107725 h 479"/>
              <a:gd name="T6" fmla="*/ 106933 w 479"/>
              <a:gd name="T7" fmla="*/ 215449 h 479"/>
              <a:gd name="T8" fmla="*/ 213866 w 479"/>
              <a:gd name="T9" fmla="*/ 107725 h 479"/>
              <a:gd name="T10" fmla="*/ 106933 w 479"/>
              <a:gd name="T11" fmla="*/ 0 h 479"/>
              <a:gd name="T12" fmla="*/ 198206 w 479"/>
              <a:gd name="T13" fmla="*/ 107725 h 479"/>
              <a:gd name="T14" fmla="*/ 198206 w 479"/>
              <a:gd name="T15" fmla="*/ 107725 h 479"/>
              <a:gd name="T16" fmla="*/ 178520 w 479"/>
              <a:gd name="T17" fmla="*/ 163615 h 479"/>
              <a:gd name="T18" fmla="*/ 174493 w 479"/>
              <a:gd name="T19" fmla="*/ 147840 h 479"/>
              <a:gd name="T20" fmla="*/ 178520 w 479"/>
              <a:gd name="T21" fmla="*/ 115838 h 479"/>
              <a:gd name="T22" fmla="*/ 166439 w 479"/>
              <a:gd name="T23" fmla="*/ 91949 h 479"/>
              <a:gd name="T24" fmla="*/ 142726 w 479"/>
              <a:gd name="T25" fmla="*/ 80230 h 479"/>
              <a:gd name="T26" fmla="*/ 154806 w 479"/>
              <a:gd name="T27" fmla="*/ 39664 h 479"/>
              <a:gd name="T28" fmla="*/ 131093 w 479"/>
              <a:gd name="T29" fmla="*/ 27945 h 479"/>
              <a:gd name="T30" fmla="*/ 134673 w 479"/>
              <a:gd name="T31" fmla="*/ 23889 h 479"/>
              <a:gd name="T32" fmla="*/ 198206 w 479"/>
              <a:gd name="T33" fmla="*/ 107725 h 479"/>
              <a:gd name="T34" fmla="*/ 94853 w 479"/>
              <a:gd name="T35" fmla="*/ 19832 h 479"/>
              <a:gd name="T36" fmla="*/ 94853 w 479"/>
              <a:gd name="T37" fmla="*/ 19832 h 479"/>
              <a:gd name="T38" fmla="*/ 83220 w 479"/>
              <a:gd name="T39" fmla="*/ 27945 h 479"/>
              <a:gd name="T40" fmla="*/ 67113 w 479"/>
              <a:gd name="T41" fmla="*/ 39664 h 479"/>
              <a:gd name="T42" fmla="*/ 51453 w 479"/>
              <a:gd name="T43" fmla="*/ 59947 h 479"/>
              <a:gd name="T44" fmla="*/ 59507 w 479"/>
              <a:gd name="T45" fmla="*/ 71666 h 479"/>
              <a:gd name="T46" fmla="*/ 79193 w 479"/>
              <a:gd name="T47" fmla="*/ 71666 h 479"/>
              <a:gd name="T48" fmla="*/ 110960 w 479"/>
              <a:gd name="T49" fmla="*/ 107725 h 479"/>
              <a:gd name="T50" fmla="*/ 83220 w 479"/>
              <a:gd name="T51" fmla="*/ 131613 h 479"/>
              <a:gd name="T52" fmla="*/ 79193 w 479"/>
              <a:gd name="T53" fmla="*/ 151896 h 479"/>
              <a:gd name="T54" fmla="*/ 79193 w 479"/>
              <a:gd name="T55" fmla="*/ 175785 h 479"/>
              <a:gd name="T56" fmla="*/ 59507 w 479"/>
              <a:gd name="T57" fmla="*/ 155502 h 479"/>
              <a:gd name="T58" fmla="*/ 55480 w 479"/>
              <a:gd name="T59" fmla="*/ 128008 h 479"/>
              <a:gd name="T60" fmla="*/ 39373 w 479"/>
              <a:gd name="T61" fmla="*/ 107725 h 479"/>
              <a:gd name="T62" fmla="*/ 47426 w 479"/>
              <a:gd name="T63" fmla="*/ 83836 h 479"/>
              <a:gd name="T64" fmla="*/ 23713 w 479"/>
              <a:gd name="T65" fmla="*/ 76173 h 479"/>
              <a:gd name="T66" fmla="*/ 94853 w 479"/>
              <a:gd name="T67" fmla="*/ 19832 h 479"/>
              <a:gd name="T68" fmla="*/ 79193 w 479"/>
              <a:gd name="T69" fmla="*/ 195617 h 479"/>
              <a:gd name="T70" fmla="*/ 79193 w 479"/>
              <a:gd name="T71" fmla="*/ 195617 h 479"/>
              <a:gd name="T72" fmla="*/ 91273 w 479"/>
              <a:gd name="T73" fmla="*/ 187504 h 479"/>
              <a:gd name="T74" fmla="*/ 106933 w 479"/>
              <a:gd name="T75" fmla="*/ 183447 h 479"/>
              <a:gd name="T76" fmla="*/ 131093 w 479"/>
              <a:gd name="T77" fmla="*/ 175785 h 479"/>
              <a:gd name="T78" fmla="*/ 158386 w 479"/>
              <a:gd name="T79" fmla="*/ 183447 h 479"/>
              <a:gd name="T80" fmla="*/ 106933 w 479"/>
              <a:gd name="T81" fmla="*/ 199674 h 479"/>
              <a:gd name="T82" fmla="*/ 79193 w 479"/>
              <a:gd name="T83" fmla="*/ 195617 h 479"/>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479" h="479">
                <a:moveTo>
                  <a:pt x="239" y="0"/>
                </a:moveTo>
                <a:lnTo>
                  <a:pt x="239" y="0"/>
                </a:lnTo>
                <a:cubicBezTo>
                  <a:pt x="106" y="0"/>
                  <a:pt x="0" y="106"/>
                  <a:pt x="0" y="239"/>
                </a:cubicBezTo>
                <a:cubicBezTo>
                  <a:pt x="0" y="372"/>
                  <a:pt x="106" y="478"/>
                  <a:pt x="239" y="478"/>
                </a:cubicBezTo>
                <a:cubicBezTo>
                  <a:pt x="372" y="478"/>
                  <a:pt x="478" y="372"/>
                  <a:pt x="478" y="239"/>
                </a:cubicBezTo>
                <a:cubicBezTo>
                  <a:pt x="478" y="106"/>
                  <a:pt x="372" y="0"/>
                  <a:pt x="239" y="0"/>
                </a:cubicBezTo>
                <a:close/>
                <a:moveTo>
                  <a:pt x="443" y="239"/>
                </a:moveTo>
                <a:lnTo>
                  <a:pt x="443" y="239"/>
                </a:lnTo>
                <a:cubicBezTo>
                  <a:pt x="443" y="292"/>
                  <a:pt x="425" y="328"/>
                  <a:pt x="399" y="363"/>
                </a:cubicBezTo>
                <a:cubicBezTo>
                  <a:pt x="390" y="363"/>
                  <a:pt x="381" y="345"/>
                  <a:pt x="390" y="328"/>
                </a:cubicBezTo>
                <a:cubicBezTo>
                  <a:pt x="399" y="310"/>
                  <a:pt x="399" y="275"/>
                  <a:pt x="399" y="257"/>
                </a:cubicBezTo>
                <a:cubicBezTo>
                  <a:pt x="399" y="239"/>
                  <a:pt x="390" y="204"/>
                  <a:pt x="372" y="204"/>
                </a:cubicBezTo>
                <a:cubicBezTo>
                  <a:pt x="346" y="204"/>
                  <a:pt x="337" y="204"/>
                  <a:pt x="319" y="178"/>
                </a:cubicBezTo>
                <a:cubicBezTo>
                  <a:pt x="301" y="124"/>
                  <a:pt x="372" y="115"/>
                  <a:pt x="346" y="88"/>
                </a:cubicBezTo>
                <a:cubicBezTo>
                  <a:pt x="337" y="80"/>
                  <a:pt x="301" y="115"/>
                  <a:pt x="293" y="62"/>
                </a:cubicBezTo>
                <a:lnTo>
                  <a:pt x="301" y="53"/>
                </a:lnTo>
                <a:cubicBezTo>
                  <a:pt x="381" y="80"/>
                  <a:pt x="443" y="150"/>
                  <a:pt x="443" y="239"/>
                </a:cubicBezTo>
                <a:close/>
                <a:moveTo>
                  <a:pt x="212" y="44"/>
                </a:moveTo>
                <a:lnTo>
                  <a:pt x="212" y="44"/>
                </a:lnTo>
                <a:cubicBezTo>
                  <a:pt x="204" y="53"/>
                  <a:pt x="194" y="53"/>
                  <a:pt x="186" y="62"/>
                </a:cubicBezTo>
                <a:cubicBezTo>
                  <a:pt x="168" y="80"/>
                  <a:pt x="159" y="71"/>
                  <a:pt x="150" y="88"/>
                </a:cubicBezTo>
                <a:cubicBezTo>
                  <a:pt x="141" y="106"/>
                  <a:pt x="115" y="124"/>
                  <a:pt x="115" y="133"/>
                </a:cubicBezTo>
                <a:cubicBezTo>
                  <a:pt x="115" y="142"/>
                  <a:pt x="133" y="159"/>
                  <a:pt x="133" y="159"/>
                </a:cubicBezTo>
                <a:cubicBezTo>
                  <a:pt x="141" y="150"/>
                  <a:pt x="159" y="150"/>
                  <a:pt x="177" y="159"/>
                </a:cubicBezTo>
                <a:cubicBezTo>
                  <a:pt x="186" y="159"/>
                  <a:pt x="275" y="169"/>
                  <a:pt x="248" y="239"/>
                </a:cubicBezTo>
                <a:cubicBezTo>
                  <a:pt x="239" y="266"/>
                  <a:pt x="194" y="257"/>
                  <a:pt x="186" y="292"/>
                </a:cubicBezTo>
                <a:cubicBezTo>
                  <a:pt x="186" y="301"/>
                  <a:pt x="186" y="328"/>
                  <a:pt x="177" y="337"/>
                </a:cubicBezTo>
                <a:cubicBezTo>
                  <a:pt x="177" y="345"/>
                  <a:pt x="186" y="390"/>
                  <a:pt x="177" y="390"/>
                </a:cubicBezTo>
                <a:cubicBezTo>
                  <a:pt x="168" y="390"/>
                  <a:pt x="133" y="345"/>
                  <a:pt x="133" y="345"/>
                </a:cubicBezTo>
                <a:cubicBezTo>
                  <a:pt x="133" y="337"/>
                  <a:pt x="124" y="310"/>
                  <a:pt x="124" y="284"/>
                </a:cubicBezTo>
                <a:cubicBezTo>
                  <a:pt x="124" y="266"/>
                  <a:pt x="88" y="266"/>
                  <a:pt x="88" y="239"/>
                </a:cubicBezTo>
                <a:cubicBezTo>
                  <a:pt x="88" y="213"/>
                  <a:pt x="106" y="195"/>
                  <a:pt x="106" y="186"/>
                </a:cubicBezTo>
                <a:cubicBezTo>
                  <a:pt x="97" y="169"/>
                  <a:pt x="62" y="169"/>
                  <a:pt x="53" y="169"/>
                </a:cubicBezTo>
                <a:cubicBezTo>
                  <a:pt x="80" y="97"/>
                  <a:pt x="141" y="53"/>
                  <a:pt x="212" y="44"/>
                </a:cubicBezTo>
                <a:close/>
                <a:moveTo>
                  <a:pt x="177" y="434"/>
                </a:moveTo>
                <a:lnTo>
                  <a:pt x="177" y="434"/>
                </a:lnTo>
                <a:cubicBezTo>
                  <a:pt x="186" y="425"/>
                  <a:pt x="186" y="416"/>
                  <a:pt x="204" y="416"/>
                </a:cubicBezTo>
                <a:cubicBezTo>
                  <a:pt x="212" y="416"/>
                  <a:pt x="221" y="416"/>
                  <a:pt x="239" y="407"/>
                </a:cubicBezTo>
                <a:cubicBezTo>
                  <a:pt x="248" y="407"/>
                  <a:pt x="275" y="398"/>
                  <a:pt x="293" y="390"/>
                </a:cubicBezTo>
                <a:cubicBezTo>
                  <a:pt x="310" y="390"/>
                  <a:pt x="346" y="398"/>
                  <a:pt x="354" y="407"/>
                </a:cubicBezTo>
                <a:cubicBezTo>
                  <a:pt x="319" y="434"/>
                  <a:pt x="284" y="443"/>
                  <a:pt x="239" y="443"/>
                </a:cubicBezTo>
                <a:cubicBezTo>
                  <a:pt x="221" y="443"/>
                  <a:pt x="194" y="443"/>
                  <a:pt x="177" y="434"/>
                </a:cubicBezTo>
                <a:close/>
              </a:path>
            </a:pathLst>
          </a:custGeom>
          <a:solidFill>
            <a:schemeClr val="bg1"/>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7"/>
                    </a:srgbClr>
                  </a:outerShdw>
                </a:effectLst>
              </a14:hiddenEffects>
            </a:ext>
          </a:extLst>
        </p:spPr>
        <p:txBody>
          <a:bodyPr wrap="none" lIns="34290" tIns="17145" rIns="34290" bIns="17145"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35" name="Freeform 117">
            <a:extLst>
              <a:ext uri="{FF2B5EF4-FFF2-40B4-BE49-F238E27FC236}">
                <a16:creationId xmlns:a16="http://schemas.microsoft.com/office/drawing/2014/main" id="{9D6CBCA0-2EFD-4D23-B1B5-79DD60B94F24}"/>
              </a:ext>
            </a:extLst>
          </p:cNvPr>
          <p:cNvSpPr>
            <a:spLocks noChangeArrowheads="1"/>
          </p:cNvSpPr>
          <p:nvPr/>
        </p:nvSpPr>
        <p:spPr bwMode="auto">
          <a:xfrm>
            <a:off x="2782768" y="1801274"/>
            <a:ext cx="449757" cy="415427"/>
          </a:xfrm>
          <a:custGeom>
            <a:avLst/>
            <a:gdLst>
              <a:gd name="T0" fmla="*/ 119736 w 462"/>
              <a:gd name="T1" fmla="*/ 0 h 427"/>
              <a:gd name="T2" fmla="*/ 119736 w 462"/>
              <a:gd name="T3" fmla="*/ 0 h 427"/>
              <a:gd name="T4" fmla="*/ 119736 w 462"/>
              <a:gd name="T5" fmla="*/ 0 h 427"/>
              <a:gd name="T6" fmla="*/ 31960 w 462"/>
              <a:gd name="T7" fmla="*/ 35988 h 427"/>
              <a:gd name="T8" fmla="*/ 36011 w 462"/>
              <a:gd name="T9" fmla="*/ 64329 h 427"/>
              <a:gd name="T10" fmla="*/ 0 w 462"/>
              <a:gd name="T11" fmla="*/ 107965 h 427"/>
              <a:gd name="T12" fmla="*/ 51765 w 462"/>
              <a:gd name="T13" fmla="*/ 143504 h 427"/>
              <a:gd name="T14" fmla="*/ 103981 w 462"/>
              <a:gd name="T15" fmla="*/ 119661 h 427"/>
              <a:gd name="T16" fmla="*/ 103981 w 462"/>
              <a:gd name="T17" fmla="*/ 112014 h 427"/>
              <a:gd name="T18" fmla="*/ 119736 w 462"/>
              <a:gd name="T19" fmla="*/ 95819 h 427"/>
              <a:gd name="T20" fmla="*/ 135941 w 462"/>
              <a:gd name="T21" fmla="*/ 112014 h 427"/>
              <a:gd name="T22" fmla="*/ 119736 w 462"/>
              <a:gd name="T23" fmla="*/ 127759 h 427"/>
              <a:gd name="T24" fmla="*/ 51765 w 462"/>
              <a:gd name="T25" fmla="*/ 159698 h 427"/>
              <a:gd name="T26" fmla="*/ 51765 w 462"/>
              <a:gd name="T27" fmla="*/ 167346 h 427"/>
              <a:gd name="T28" fmla="*/ 119736 w 462"/>
              <a:gd name="T29" fmla="*/ 191638 h 427"/>
              <a:gd name="T30" fmla="*/ 119736 w 462"/>
              <a:gd name="T31" fmla="*/ 191638 h 427"/>
              <a:gd name="T32" fmla="*/ 183655 w 462"/>
              <a:gd name="T33" fmla="*/ 167346 h 427"/>
              <a:gd name="T34" fmla="*/ 203911 w 462"/>
              <a:gd name="T35" fmla="*/ 35988 h 427"/>
              <a:gd name="T36" fmla="*/ 119736 w 462"/>
              <a:gd name="T37" fmla="*/ 0 h 427"/>
              <a:gd name="T38" fmla="*/ 16205 w 462"/>
              <a:gd name="T39" fmla="*/ 103916 h 427"/>
              <a:gd name="T40" fmla="*/ 16205 w 462"/>
              <a:gd name="T41" fmla="*/ 103916 h 427"/>
              <a:gd name="T42" fmla="*/ 40062 w 462"/>
              <a:gd name="T43" fmla="*/ 80074 h 427"/>
              <a:gd name="T44" fmla="*/ 47714 w 462"/>
              <a:gd name="T45" fmla="*/ 127759 h 427"/>
              <a:gd name="T46" fmla="*/ 16205 w 462"/>
              <a:gd name="T47" fmla="*/ 103916 h 427"/>
              <a:gd name="T48" fmla="*/ 119736 w 462"/>
              <a:gd name="T49" fmla="*/ 59831 h 427"/>
              <a:gd name="T50" fmla="*/ 119736 w 462"/>
              <a:gd name="T51" fmla="*/ 59831 h 427"/>
              <a:gd name="T52" fmla="*/ 47714 w 462"/>
              <a:gd name="T53" fmla="*/ 35988 h 427"/>
              <a:gd name="T54" fmla="*/ 119736 w 462"/>
              <a:gd name="T55" fmla="*/ 16195 h 427"/>
              <a:gd name="T56" fmla="*/ 187256 w 462"/>
              <a:gd name="T57" fmla="*/ 35988 h 427"/>
              <a:gd name="T58" fmla="*/ 119736 w 462"/>
              <a:gd name="T59" fmla="*/ 59831 h 427"/>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462" h="427">
                <a:moveTo>
                  <a:pt x="266" y="0"/>
                </a:moveTo>
                <a:lnTo>
                  <a:pt x="266" y="0"/>
                </a:lnTo>
                <a:cubicBezTo>
                  <a:pt x="142" y="0"/>
                  <a:pt x="62" y="45"/>
                  <a:pt x="71" y="80"/>
                </a:cubicBezTo>
                <a:cubicBezTo>
                  <a:pt x="71" y="89"/>
                  <a:pt x="71" y="116"/>
                  <a:pt x="80" y="143"/>
                </a:cubicBezTo>
                <a:cubicBezTo>
                  <a:pt x="18" y="169"/>
                  <a:pt x="0" y="205"/>
                  <a:pt x="0" y="240"/>
                </a:cubicBezTo>
                <a:cubicBezTo>
                  <a:pt x="9" y="275"/>
                  <a:pt x="36" y="311"/>
                  <a:pt x="115" y="319"/>
                </a:cubicBezTo>
                <a:cubicBezTo>
                  <a:pt x="151" y="319"/>
                  <a:pt x="204" y="302"/>
                  <a:pt x="231" y="266"/>
                </a:cubicBezTo>
                <a:cubicBezTo>
                  <a:pt x="231" y="258"/>
                  <a:pt x="231" y="249"/>
                  <a:pt x="231" y="249"/>
                </a:cubicBezTo>
                <a:cubicBezTo>
                  <a:pt x="231" y="222"/>
                  <a:pt x="249" y="213"/>
                  <a:pt x="266" y="213"/>
                </a:cubicBezTo>
                <a:cubicBezTo>
                  <a:pt x="284" y="213"/>
                  <a:pt x="302" y="222"/>
                  <a:pt x="302" y="249"/>
                </a:cubicBezTo>
                <a:cubicBezTo>
                  <a:pt x="302" y="266"/>
                  <a:pt x="284" y="284"/>
                  <a:pt x="266" y="284"/>
                </a:cubicBezTo>
                <a:cubicBezTo>
                  <a:pt x="222" y="328"/>
                  <a:pt x="169" y="355"/>
                  <a:pt x="115" y="355"/>
                </a:cubicBezTo>
                <a:cubicBezTo>
                  <a:pt x="115" y="364"/>
                  <a:pt x="115" y="364"/>
                  <a:pt x="115" y="372"/>
                </a:cubicBezTo>
                <a:cubicBezTo>
                  <a:pt x="115" y="381"/>
                  <a:pt x="178" y="426"/>
                  <a:pt x="266" y="426"/>
                </a:cubicBezTo>
                <a:cubicBezTo>
                  <a:pt x="355" y="426"/>
                  <a:pt x="408" y="381"/>
                  <a:pt x="408" y="372"/>
                </a:cubicBezTo>
                <a:cubicBezTo>
                  <a:pt x="416" y="355"/>
                  <a:pt x="453" y="116"/>
                  <a:pt x="453" y="80"/>
                </a:cubicBezTo>
                <a:cubicBezTo>
                  <a:pt x="461" y="45"/>
                  <a:pt x="381" y="0"/>
                  <a:pt x="266" y="0"/>
                </a:cubicBezTo>
                <a:close/>
                <a:moveTo>
                  <a:pt x="36" y="231"/>
                </a:moveTo>
                <a:lnTo>
                  <a:pt x="36" y="231"/>
                </a:lnTo>
                <a:cubicBezTo>
                  <a:pt x="36" y="222"/>
                  <a:pt x="53" y="196"/>
                  <a:pt x="89" y="178"/>
                </a:cubicBezTo>
                <a:cubicBezTo>
                  <a:pt x="89" y="213"/>
                  <a:pt x="98" y="249"/>
                  <a:pt x="106" y="284"/>
                </a:cubicBezTo>
                <a:cubicBezTo>
                  <a:pt x="62" y="275"/>
                  <a:pt x="44" y="258"/>
                  <a:pt x="36" y="231"/>
                </a:cubicBezTo>
                <a:close/>
                <a:moveTo>
                  <a:pt x="266" y="133"/>
                </a:moveTo>
                <a:lnTo>
                  <a:pt x="266" y="133"/>
                </a:lnTo>
                <a:cubicBezTo>
                  <a:pt x="178" y="133"/>
                  <a:pt x="106" y="98"/>
                  <a:pt x="106" y="80"/>
                </a:cubicBezTo>
                <a:cubicBezTo>
                  <a:pt x="106" y="71"/>
                  <a:pt x="178" y="36"/>
                  <a:pt x="266" y="36"/>
                </a:cubicBezTo>
                <a:cubicBezTo>
                  <a:pt x="355" y="36"/>
                  <a:pt x="416" y="71"/>
                  <a:pt x="416" y="80"/>
                </a:cubicBezTo>
                <a:cubicBezTo>
                  <a:pt x="416" y="98"/>
                  <a:pt x="355" y="133"/>
                  <a:pt x="266" y="133"/>
                </a:cubicBezTo>
                <a:close/>
              </a:path>
            </a:pathLst>
          </a:custGeom>
          <a:solidFill>
            <a:schemeClr val="bg1"/>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7"/>
                    </a:srgbClr>
                  </a:outerShdw>
                </a:effectLst>
              </a14:hiddenEffects>
            </a:ext>
          </a:extLst>
        </p:spPr>
        <p:txBody>
          <a:bodyPr wrap="none" lIns="34290" tIns="17145" rIns="34290" bIns="17145"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36" name="Freeform 151">
            <a:extLst>
              <a:ext uri="{FF2B5EF4-FFF2-40B4-BE49-F238E27FC236}">
                <a16:creationId xmlns:a16="http://schemas.microsoft.com/office/drawing/2014/main" id="{B63326BA-EADD-49A8-AA19-BED852495290}"/>
              </a:ext>
            </a:extLst>
          </p:cNvPr>
          <p:cNvSpPr>
            <a:spLocks noChangeArrowheads="1"/>
          </p:cNvSpPr>
          <p:nvPr/>
        </p:nvSpPr>
        <p:spPr bwMode="auto">
          <a:xfrm>
            <a:off x="4318978" y="2317284"/>
            <a:ext cx="484090" cy="281528"/>
          </a:xfrm>
          <a:custGeom>
            <a:avLst/>
            <a:gdLst>
              <a:gd name="T0" fmla="*/ 55847 w 497"/>
              <a:gd name="T1" fmla="*/ 98187 h 293"/>
              <a:gd name="T2" fmla="*/ 55847 w 497"/>
              <a:gd name="T3" fmla="*/ 98187 h 293"/>
              <a:gd name="T4" fmla="*/ 55847 w 497"/>
              <a:gd name="T5" fmla="*/ 43095 h 293"/>
              <a:gd name="T6" fmla="*/ 79717 w 497"/>
              <a:gd name="T7" fmla="*/ 43095 h 293"/>
              <a:gd name="T8" fmla="*/ 39633 w 497"/>
              <a:gd name="T9" fmla="*/ 0 h 293"/>
              <a:gd name="T10" fmla="*/ 0 w 497"/>
              <a:gd name="T11" fmla="*/ 43095 h 293"/>
              <a:gd name="T12" fmla="*/ 23870 w 497"/>
              <a:gd name="T13" fmla="*/ 43095 h 293"/>
              <a:gd name="T14" fmla="*/ 23870 w 497"/>
              <a:gd name="T15" fmla="*/ 110182 h 293"/>
              <a:gd name="T16" fmla="*/ 43686 w 497"/>
              <a:gd name="T17" fmla="*/ 129731 h 293"/>
              <a:gd name="T18" fmla="*/ 143670 w 497"/>
              <a:gd name="T19" fmla="*/ 129731 h 293"/>
              <a:gd name="T20" fmla="*/ 115296 w 497"/>
              <a:gd name="T21" fmla="*/ 98187 h 293"/>
              <a:gd name="T22" fmla="*/ 55847 w 497"/>
              <a:gd name="T23" fmla="*/ 98187 h 293"/>
              <a:gd name="T24" fmla="*/ 199517 w 497"/>
              <a:gd name="T25" fmla="*/ 86635 h 293"/>
              <a:gd name="T26" fmla="*/ 199517 w 497"/>
              <a:gd name="T27" fmla="*/ 86635 h 293"/>
              <a:gd name="T28" fmla="*/ 199517 w 497"/>
              <a:gd name="T29" fmla="*/ 19548 h 293"/>
              <a:gd name="T30" fmla="*/ 179700 w 497"/>
              <a:gd name="T31" fmla="*/ 0 h 293"/>
              <a:gd name="T32" fmla="*/ 79717 w 497"/>
              <a:gd name="T33" fmla="*/ 0 h 293"/>
              <a:gd name="T34" fmla="*/ 107640 w 497"/>
              <a:gd name="T35" fmla="*/ 27101 h 293"/>
              <a:gd name="T36" fmla="*/ 167540 w 497"/>
              <a:gd name="T37" fmla="*/ 27101 h 293"/>
              <a:gd name="T38" fmla="*/ 167540 w 497"/>
              <a:gd name="T39" fmla="*/ 86635 h 293"/>
              <a:gd name="T40" fmla="*/ 143670 w 497"/>
              <a:gd name="T41" fmla="*/ 86635 h 293"/>
              <a:gd name="T42" fmla="*/ 183303 w 497"/>
              <a:gd name="T43" fmla="*/ 129731 h 293"/>
              <a:gd name="T44" fmla="*/ 223387 w 497"/>
              <a:gd name="T45" fmla="*/ 86635 h 293"/>
              <a:gd name="T46" fmla="*/ 199517 w 497"/>
              <a:gd name="T47" fmla="*/ 86635 h 293"/>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497" h="293">
                <a:moveTo>
                  <a:pt x="124" y="221"/>
                </a:moveTo>
                <a:lnTo>
                  <a:pt x="124" y="221"/>
                </a:lnTo>
                <a:cubicBezTo>
                  <a:pt x="124" y="97"/>
                  <a:pt x="124" y="97"/>
                  <a:pt x="124" y="97"/>
                </a:cubicBezTo>
                <a:cubicBezTo>
                  <a:pt x="177" y="97"/>
                  <a:pt x="177" y="97"/>
                  <a:pt x="177" y="97"/>
                </a:cubicBezTo>
                <a:cubicBezTo>
                  <a:pt x="88" y="0"/>
                  <a:pt x="88" y="0"/>
                  <a:pt x="88" y="0"/>
                </a:cubicBezTo>
                <a:cubicBezTo>
                  <a:pt x="0" y="97"/>
                  <a:pt x="0" y="97"/>
                  <a:pt x="0" y="97"/>
                </a:cubicBezTo>
                <a:cubicBezTo>
                  <a:pt x="53" y="97"/>
                  <a:pt x="53" y="97"/>
                  <a:pt x="53" y="97"/>
                </a:cubicBezTo>
                <a:cubicBezTo>
                  <a:pt x="53" y="248"/>
                  <a:pt x="53" y="248"/>
                  <a:pt x="53" y="248"/>
                </a:cubicBezTo>
                <a:cubicBezTo>
                  <a:pt x="53" y="274"/>
                  <a:pt x="71" y="292"/>
                  <a:pt x="97" y="292"/>
                </a:cubicBezTo>
                <a:cubicBezTo>
                  <a:pt x="319" y="292"/>
                  <a:pt x="319" y="292"/>
                  <a:pt x="319" y="292"/>
                </a:cubicBezTo>
                <a:cubicBezTo>
                  <a:pt x="256" y="221"/>
                  <a:pt x="256" y="221"/>
                  <a:pt x="256" y="221"/>
                </a:cubicBezTo>
                <a:lnTo>
                  <a:pt x="124" y="221"/>
                </a:lnTo>
                <a:close/>
                <a:moveTo>
                  <a:pt x="443" y="195"/>
                </a:moveTo>
                <a:lnTo>
                  <a:pt x="443" y="195"/>
                </a:lnTo>
                <a:cubicBezTo>
                  <a:pt x="443" y="44"/>
                  <a:pt x="443" y="44"/>
                  <a:pt x="443" y="44"/>
                </a:cubicBezTo>
                <a:cubicBezTo>
                  <a:pt x="443" y="17"/>
                  <a:pt x="425" y="0"/>
                  <a:pt x="399" y="0"/>
                </a:cubicBezTo>
                <a:cubicBezTo>
                  <a:pt x="177" y="0"/>
                  <a:pt x="177" y="0"/>
                  <a:pt x="177" y="0"/>
                </a:cubicBezTo>
                <a:cubicBezTo>
                  <a:pt x="239" y="61"/>
                  <a:pt x="239" y="61"/>
                  <a:pt x="239" y="61"/>
                </a:cubicBezTo>
                <a:cubicBezTo>
                  <a:pt x="372" y="61"/>
                  <a:pt x="372" y="61"/>
                  <a:pt x="372" y="61"/>
                </a:cubicBezTo>
                <a:cubicBezTo>
                  <a:pt x="372" y="195"/>
                  <a:pt x="372" y="195"/>
                  <a:pt x="372" y="195"/>
                </a:cubicBezTo>
                <a:cubicBezTo>
                  <a:pt x="319" y="195"/>
                  <a:pt x="319" y="195"/>
                  <a:pt x="319" y="195"/>
                </a:cubicBezTo>
                <a:cubicBezTo>
                  <a:pt x="407" y="292"/>
                  <a:pt x="407" y="292"/>
                  <a:pt x="407" y="292"/>
                </a:cubicBezTo>
                <a:cubicBezTo>
                  <a:pt x="496" y="195"/>
                  <a:pt x="496" y="195"/>
                  <a:pt x="496" y="195"/>
                </a:cubicBezTo>
                <a:lnTo>
                  <a:pt x="443" y="195"/>
                </a:lnTo>
                <a:close/>
              </a:path>
            </a:pathLst>
          </a:custGeom>
          <a:solidFill>
            <a:schemeClr val="bg1"/>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7"/>
                    </a:srgbClr>
                  </a:outerShdw>
                </a:effectLst>
              </a14:hiddenEffects>
            </a:ext>
          </a:extLst>
        </p:spPr>
        <p:txBody>
          <a:bodyPr wrap="none" lIns="34290" tIns="17145" rIns="34290" bIns="17145"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37" name="Freeform 160">
            <a:extLst>
              <a:ext uri="{FF2B5EF4-FFF2-40B4-BE49-F238E27FC236}">
                <a16:creationId xmlns:a16="http://schemas.microsoft.com/office/drawing/2014/main" id="{401543AC-3640-4F57-A943-7CA3B4425795}"/>
              </a:ext>
            </a:extLst>
          </p:cNvPr>
          <p:cNvSpPr>
            <a:spLocks noChangeArrowheads="1"/>
          </p:cNvSpPr>
          <p:nvPr/>
        </p:nvSpPr>
        <p:spPr bwMode="auto">
          <a:xfrm>
            <a:off x="3161422" y="711990"/>
            <a:ext cx="340014" cy="293295"/>
          </a:xfrm>
          <a:custGeom>
            <a:avLst/>
            <a:gdLst>
              <a:gd name="T0" fmla="*/ 19849 w 461"/>
              <a:gd name="T1" fmla="*/ 55610 h 400"/>
              <a:gd name="T2" fmla="*/ 19849 w 461"/>
              <a:gd name="T3" fmla="*/ 55610 h 400"/>
              <a:gd name="T4" fmla="*/ 99696 w 461"/>
              <a:gd name="T5" fmla="*/ 47538 h 400"/>
              <a:gd name="T6" fmla="*/ 147965 w 461"/>
              <a:gd name="T7" fmla="*/ 63683 h 400"/>
              <a:gd name="T8" fmla="*/ 199843 w 461"/>
              <a:gd name="T9" fmla="*/ 39914 h 400"/>
              <a:gd name="T10" fmla="*/ 203452 w 461"/>
              <a:gd name="T11" fmla="*/ 23769 h 400"/>
              <a:gd name="T12" fmla="*/ 187663 w 461"/>
              <a:gd name="T13" fmla="*/ 23769 h 400"/>
              <a:gd name="T14" fmla="*/ 107816 w 461"/>
              <a:gd name="T15" fmla="*/ 27805 h 400"/>
              <a:gd name="T16" fmla="*/ 8120 w 461"/>
              <a:gd name="T17" fmla="*/ 39914 h 400"/>
              <a:gd name="T18" fmla="*/ 4060 w 461"/>
              <a:gd name="T19" fmla="*/ 55610 h 400"/>
              <a:gd name="T20" fmla="*/ 19849 w 461"/>
              <a:gd name="T21" fmla="*/ 55610 h 400"/>
              <a:gd name="T22" fmla="*/ 187663 w 461"/>
              <a:gd name="T23" fmla="*/ 79828 h 400"/>
              <a:gd name="T24" fmla="*/ 187663 w 461"/>
              <a:gd name="T25" fmla="*/ 79828 h 400"/>
              <a:gd name="T26" fmla="*/ 107816 w 461"/>
              <a:gd name="T27" fmla="*/ 87452 h 400"/>
              <a:gd name="T28" fmla="*/ 8120 w 461"/>
              <a:gd name="T29" fmla="*/ 95524 h 400"/>
              <a:gd name="T30" fmla="*/ 4060 w 461"/>
              <a:gd name="T31" fmla="*/ 111221 h 400"/>
              <a:gd name="T32" fmla="*/ 19849 w 461"/>
              <a:gd name="T33" fmla="*/ 111221 h 400"/>
              <a:gd name="T34" fmla="*/ 99696 w 461"/>
              <a:gd name="T35" fmla="*/ 107633 h 400"/>
              <a:gd name="T36" fmla="*/ 147965 w 461"/>
              <a:gd name="T37" fmla="*/ 123329 h 400"/>
              <a:gd name="T38" fmla="*/ 199843 w 461"/>
              <a:gd name="T39" fmla="*/ 99560 h 400"/>
              <a:gd name="T40" fmla="*/ 203452 w 461"/>
              <a:gd name="T41" fmla="*/ 83864 h 400"/>
              <a:gd name="T42" fmla="*/ 187663 w 461"/>
              <a:gd name="T43" fmla="*/ 79828 h 400"/>
              <a:gd name="T44" fmla="*/ 187663 w 461"/>
              <a:gd name="T45" fmla="*/ 135438 h 400"/>
              <a:gd name="T46" fmla="*/ 187663 w 461"/>
              <a:gd name="T47" fmla="*/ 135438 h 400"/>
              <a:gd name="T48" fmla="*/ 107816 w 461"/>
              <a:gd name="T49" fmla="*/ 143062 h 400"/>
              <a:gd name="T50" fmla="*/ 8120 w 461"/>
              <a:gd name="T51" fmla="*/ 151134 h 400"/>
              <a:gd name="T52" fmla="*/ 4060 w 461"/>
              <a:gd name="T53" fmla="*/ 166831 h 400"/>
              <a:gd name="T54" fmla="*/ 19849 w 461"/>
              <a:gd name="T55" fmla="*/ 170867 h 400"/>
              <a:gd name="T56" fmla="*/ 99696 w 461"/>
              <a:gd name="T57" fmla="*/ 162795 h 400"/>
              <a:gd name="T58" fmla="*/ 147965 w 461"/>
              <a:gd name="T59" fmla="*/ 178940 h 400"/>
              <a:gd name="T60" fmla="*/ 199843 w 461"/>
              <a:gd name="T61" fmla="*/ 155171 h 400"/>
              <a:gd name="T62" fmla="*/ 203452 w 461"/>
              <a:gd name="T63" fmla="*/ 139026 h 400"/>
              <a:gd name="T64" fmla="*/ 187663 w 461"/>
              <a:gd name="T65" fmla="*/ 135438 h 40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461" h="400">
                <a:moveTo>
                  <a:pt x="44" y="124"/>
                </a:moveTo>
                <a:lnTo>
                  <a:pt x="44" y="124"/>
                </a:lnTo>
                <a:cubicBezTo>
                  <a:pt x="88" y="89"/>
                  <a:pt x="124" y="62"/>
                  <a:pt x="221" y="106"/>
                </a:cubicBezTo>
                <a:cubicBezTo>
                  <a:pt x="266" y="133"/>
                  <a:pt x="301" y="142"/>
                  <a:pt x="328" y="142"/>
                </a:cubicBezTo>
                <a:cubicBezTo>
                  <a:pt x="381" y="142"/>
                  <a:pt x="416" y="115"/>
                  <a:pt x="443" y="89"/>
                </a:cubicBezTo>
                <a:cubicBezTo>
                  <a:pt x="451" y="80"/>
                  <a:pt x="460" y="62"/>
                  <a:pt x="451" y="53"/>
                </a:cubicBezTo>
                <a:cubicBezTo>
                  <a:pt x="443" y="44"/>
                  <a:pt x="425" y="44"/>
                  <a:pt x="416" y="53"/>
                </a:cubicBezTo>
                <a:cubicBezTo>
                  <a:pt x="372" y="89"/>
                  <a:pt x="337" y="115"/>
                  <a:pt x="239" y="62"/>
                </a:cubicBezTo>
                <a:cubicBezTo>
                  <a:pt x="124" y="0"/>
                  <a:pt x="62" y="44"/>
                  <a:pt x="18" y="89"/>
                </a:cubicBezTo>
                <a:cubicBezTo>
                  <a:pt x="9" y="97"/>
                  <a:pt x="0" y="115"/>
                  <a:pt x="9" y="124"/>
                </a:cubicBezTo>
                <a:cubicBezTo>
                  <a:pt x="18" y="133"/>
                  <a:pt x="35" y="133"/>
                  <a:pt x="44" y="124"/>
                </a:cubicBezTo>
                <a:close/>
                <a:moveTo>
                  <a:pt x="416" y="178"/>
                </a:moveTo>
                <a:lnTo>
                  <a:pt x="416" y="178"/>
                </a:lnTo>
                <a:cubicBezTo>
                  <a:pt x="372" y="213"/>
                  <a:pt x="337" y="248"/>
                  <a:pt x="239" y="195"/>
                </a:cubicBezTo>
                <a:cubicBezTo>
                  <a:pt x="124" y="124"/>
                  <a:pt x="62" y="178"/>
                  <a:pt x="18" y="213"/>
                </a:cubicBezTo>
                <a:cubicBezTo>
                  <a:pt x="9" y="222"/>
                  <a:pt x="0" y="240"/>
                  <a:pt x="9" y="248"/>
                </a:cubicBezTo>
                <a:cubicBezTo>
                  <a:pt x="18" y="257"/>
                  <a:pt x="35" y="257"/>
                  <a:pt x="44" y="248"/>
                </a:cubicBezTo>
                <a:cubicBezTo>
                  <a:pt x="88" y="213"/>
                  <a:pt x="124" y="187"/>
                  <a:pt x="221" y="240"/>
                </a:cubicBezTo>
                <a:cubicBezTo>
                  <a:pt x="266" y="266"/>
                  <a:pt x="301" y="275"/>
                  <a:pt x="328" y="275"/>
                </a:cubicBezTo>
                <a:cubicBezTo>
                  <a:pt x="381" y="275"/>
                  <a:pt x="416" y="240"/>
                  <a:pt x="443" y="222"/>
                </a:cubicBezTo>
                <a:cubicBezTo>
                  <a:pt x="451" y="213"/>
                  <a:pt x="460" y="195"/>
                  <a:pt x="451" y="187"/>
                </a:cubicBezTo>
                <a:cubicBezTo>
                  <a:pt x="443" y="168"/>
                  <a:pt x="425" y="168"/>
                  <a:pt x="416" y="178"/>
                </a:cubicBezTo>
                <a:close/>
                <a:moveTo>
                  <a:pt x="416" y="302"/>
                </a:moveTo>
                <a:lnTo>
                  <a:pt x="416" y="302"/>
                </a:lnTo>
                <a:cubicBezTo>
                  <a:pt x="372" y="346"/>
                  <a:pt x="337" y="372"/>
                  <a:pt x="239" y="319"/>
                </a:cubicBezTo>
                <a:cubicBezTo>
                  <a:pt x="124" y="248"/>
                  <a:pt x="62" y="302"/>
                  <a:pt x="18" y="337"/>
                </a:cubicBezTo>
                <a:cubicBezTo>
                  <a:pt x="9" y="346"/>
                  <a:pt x="0" y="363"/>
                  <a:pt x="9" y="372"/>
                </a:cubicBezTo>
                <a:cubicBezTo>
                  <a:pt x="18" y="390"/>
                  <a:pt x="35" y="390"/>
                  <a:pt x="44" y="381"/>
                </a:cubicBezTo>
                <a:cubicBezTo>
                  <a:pt x="88" y="337"/>
                  <a:pt x="124" y="310"/>
                  <a:pt x="221" y="363"/>
                </a:cubicBezTo>
                <a:cubicBezTo>
                  <a:pt x="266" y="390"/>
                  <a:pt x="301" y="399"/>
                  <a:pt x="328" y="399"/>
                </a:cubicBezTo>
                <a:cubicBezTo>
                  <a:pt x="381" y="399"/>
                  <a:pt x="416" y="372"/>
                  <a:pt x="443" y="346"/>
                </a:cubicBezTo>
                <a:cubicBezTo>
                  <a:pt x="451" y="337"/>
                  <a:pt x="460" y="319"/>
                  <a:pt x="451" y="310"/>
                </a:cubicBezTo>
                <a:cubicBezTo>
                  <a:pt x="443" y="302"/>
                  <a:pt x="425" y="293"/>
                  <a:pt x="416" y="302"/>
                </a:cubicBezTo>
                <a:close/>
              </a:path>
            </a:pathLst>
          </a:custGeom>
          <a:solidFill>
            <a:schemeClr val="bg1"/>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7"/>
                    </a:srgbClr>
                  </a:outerShdw>
                </a:effectLst>
              </a14:hiddenEffects>
            </a:ext>
          </a:extLst>
        </p:spPr>
        <p:txBody>
          <a:bodyPr wrap="none" lIns="34290" tIns="17145" rIns="34290" bIns="17145"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Tree>
    <p:extLst>
      <p:ext uri="{BB962C8B-B14F-4D97-AF65-F5344CB8AC3E}">
        <p14:creationId xmlns:p14="http://schemas.microsoft.com/office/powerpoint/2010/main" val="1392639670"/>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a:extLst>
              <a:ext uri="{FF2B5EF4-FFF2-40B4-BE49-F238E27FC236}">
                <a16:creationId xmlns:a16="http://schemas.microsoft.com/office/drawing/2014/main" id="{53FBD903-39EF-4D60-B27D-25E57A52D85A}"/>
              </a:ext>
            </a:extLst>
          </p:cNvPr>
          <p:cNvSpPr/>
          <p:nvPr/>
        </p:nvSpPr>
        <p:spPr>
          <a:xfrm>
            <a:off x="-1" y="0"/>
            <a:ext cx="12192001" cy="27146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p>
        </p:txBody>
      </p:sp>
      <p:sp>
        <p:nvSpPr>
          <p:cNvPr id="3" name="文本框 2">
            <a:extLst>
              <a:ext uri="{FF2B5EF4-FFF2-40B4-BE49-F238E27FC236}">
                <a16:creationId xmlns:a16="http://schemas.microsoft.com/office/drawing/2014/main" id="{56A670B2-CA81-4818-A1D8-31BF030A05AB}"/>
              </a:ext>
            </a:extLst>
          </p:cNvPr>
          <p:cNvSpPr txBox="1"/>
          <p:nvPr/>
        </p:nvSpPr>
        <p:spPr>
          <a:xfrm>
            <a:off x="4525987" y="274955"/>
            <a:ext cx="2949525" cy="1769715"/>
          </a:xfrm>
          <a:prstGeom prst="rect">
            <a:avLst/>
          </a:prstGeom>
          <a:noFill/>
        </p:spPr>
        <p:txBody>
          <a:bodyPr wrap="none" lIns="0" tIns="0" rIns="0" bIns="0" rtlCol="0" anchor="t">
            <a:spAutoFit/>
          </a:bodyPr>
          <a:lstStyle/>
          <a:p>
            <a:pPr algn="l"/>
            <a:r>
              <a:rPr lang="zh-CN" altLang="en-US" sz="11500" dirty="0">
                <a:solidFill>
                  <a:schemeClr val="bg1"/>
                </a:solidFill>
                <a:latin typeface="+mj-ea"/>
                <a:ea typeface="+mj-ea"/>
              </a:rPr>
              <a:t>目录</a:t>
            </a:r>
          </a:p>
        </p:txBody>
      </p:sp>
      <p:sp>
        <p:nvSpPr>
          <p:cNvPr id="17" name="文本框 16">
            <a:extLst>
              <a:ext uri="{FF2B5EF4-FFF2-40B4-BE49-F238E27FC236}">
                <a16:creationId xmlns:a16="http://schemas.microsoft.com/office/drawing/2014/main" id="{4FB963FB-0304-40B7-BDDD-D0DDC45CB261}"/>
              </a:ext>
            </a:extLst>
          </p:cNvPr>
          <p:cNvSpPr txBox="1"/>
          <p:nvPr/>
        </p:nvSpPr>
        <p:spPr>
          <a:xfrm>
            <a:off x="4727447" y="1964149"/>
            <a:ext cx="2699839" cy="430887"/>
          </a:xfrm>
          <a:prstGeom prst="rect">
            <a:avLst/>
          </a:prstGeom>
          <a:noFill/>
        </p:spPr>
        <p:txBody>
          <a:bodyPr wrap="square" lIns="0" tIns="0" rIns="0" bIns="0" rtlCol="0" anchor="t">
            <a:spAutoFit/>
          </a:bodyPr>
          <a:lstStyle/>
          <a:p>
            <a:pPr algn="dist"/>
            <a:r>
              <a:rPr lang="en-US" altLang="zh-CN" sz="2800" dirty="0">
                <a:solidFill>
                  <a:schemeClr val="bg1"/>
                </a:solidFill>
              </a:rPr>
              <a:t>CONTENTS</a:t>
            </a:r>
            <a:endParaRPr lang="zh-CN" altLang="en-US" sz="2800" dirty="0">
              <a:solidFill>
                <a:schemeClr val="bg1"/>
              </a:solidFill>
            </a:endParaRPr>
          </a:p>
        </p:txBody>
      </p:sp>
      <p:sp>
        <p:nvSpPr>
          <p:cNvPr id="19" name="泪滴形 18">
            <a:extLst>
              <a:ext uri="{FF2B5EF4-FFF2-40B4-BE49-F238E27FC236}">
                <a16:creationId xmlns:a16="http://schemas.microsoft.com/office/drawing/2014/main" id="{B4CF5E58-9AC0-46B1-9C28-6D742431E2FB}"/>
              </a:ext>
            </a:extLst>
          </p:cNvPr>
          <p:cNvSpPr/>
          <p:nvPr/>
        </p:nvSpPr>
        <p:spPr>
          <a:xfrm>
            <a:off x="1516524" y="3644900"/>
            <a:ext cx="876300" cy="876300"/>
          </a:xfrm>
          <a:prstGeom prst="teardrop">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000" dirty="0"/>
              <a:t>01</a:t>
            </a:r>
            <a:endParaRPr lang="zh-CN" altLang="en-US" sz="2000" dirty="0"/>
          </a:p>
        </p:txBody>
      </p:sp>
      <p:sp>
        <p:nvSpPr>
          <p:cNvPr id="20" name="文本框 19">
            <a:extLst>
              <a:ext uri="{FF2B5EF4-FFF2-40B4-BE49-F238E27FC236}">
                <a16:creationId xmlns:a16="http://schemas.microsoft.com/office/drawing/2014/main" id="{D2778994-CC2D-4657-B943-A169DB4EA2A2}"/>
              </a:ext>
            </a:extLst>
          </p:cNvPr>
          <p:cNvSpPr txBox="1"/>
          <p:nvPr/>
        </p:nvSpPr>
        <p:spPr>
          <a:xfrm>
            <a:off x="1031345" y="4688536"/>
            <a:ext cx="1846659" cy="369332"/>
          </a:xfrm>
          <a:prstGeom prst="rect">
            <a:avLst/>
          </a:prstGeom>
          <a:noFill/>
        </p:spPr>
        <p:txBody>
          <a:bodyPr wrap="none" lIns="0" tIns="0" rIns="0" bIns="0" rtlCol="0" anchor="t">
            <a:spAutoFit/>
          </a:bodyPr>
          <a:lstStyle/>
          <a:p>
            <a:pPr algn="ctr"/>
            <a:r>
              <a:rPr lang="zh-CN" altLang="en-US" sz="2400" dirty="0">
                <a:solidFill>
                  <a:schemeClr val="accent1"/>
                </a:solidFill>
                <a:latin typeface="+mj-ea"/>
                <a:ea typeface="+mj-ea"/>
              </a:rPr>
              <a:t>输入目录标题</a:t>
            </a:r>
          </a:p>
        </p:txBody>
      </p:sp>
      <p:sp>
        <p:nvSpPr>
          <p:cNvPr id="21" name="文本框 20">
            <a:extLst>
              <a:ext uri="{FF2B5EF4-FFF2-40B4-BE49-F238E27FC236}">
                <a16:creationId xmlns:a16="http://schemas.microsoft.com/office/drawing/2014/main" id="{6194A630-F345-41B5-8CFA-403633824D2A}"/>
              </a:ext>
            </a:extLst>
          </p:cNvPr>
          <p:cNvSpPr txBox="1"/>
          <p:nvPr/>
        </p:nvSpPr>
        <p:spPr>
          <a:xfrm>
            <a:off x="1031345" y="5149718"/>
            <a:ext cx="1846660" cy="215444"/>
          </a:xfrm>
          <a:prstGeom prst="rect">
            <a:avLst/>
          </a:prstGeom>
          <a:noFill/>
        </p:spPr>
        <p:txBody>
          <a:bodyPr wrap="square" lIns="0" tIns="0" rIns="0" bIns="0" rtlCol="0" anchor="t">
            <a:spAutoFit/>
          </a:bodyPr>
          <a:lstStyle/>
          <a:p>
            <a:pPr algn="dist"/>
            <a:r>
              <a:rPr lang="en-US" altLang="zh-CN" sz="1400" dirty="0">
                <a:solidFill>
                  <a:schemeClr val="accent1"/>
                </a:solidFill>
              </a:rPr>
              <a:t>Contents Title Here</a:t>
            </a:r>
            <a:endParaRPr lang="zh-CN" altLang="en-US" sz="1400" dirty="0">
              <a:solidFill>
                <a:schemeClr val="accent1"/>
              </a:solidFill>
            </a:endParaRPr>
          </a:p>
        </p:txBody>
      </p:sp>
      <p:sp>
        <p:nvSpPr>
          <p:cNvPr id="35" name="泪滴形 34">
            <a:extLst>
              <a:ext uri="{FF2B5EF4-FFF2-40B4-BE49-F238E27FC236}">
                <a16:creationId xmlns:a16="http://schemas.microsoft.com/office/drawing/2014/main" id="{E70D6DAA-3AD5-4C12-8E3E-AAD107147218}"/>
              </a:ext>
            </a:extLst>
          </p:cNvPr>
          <p:cNvSpPr/>
          <p:nvPr/>
        </p:nvSpPr>
        <p:spPr>
          <a:xfrm>
            <a:off x="4277408" y="3644900"/>
            <a:ext cx="876300" cy="876300"/>
          </a:xfrm>
          <a:prstGeom prst="teardrop">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000" dirty="0"/>
              <a:t>02</a:t>
            </a:r>
            <a:endParaRPr lang="zh-CN" altLang="en-US" sz="2000" dirty="0"/>
          </a:p>
        </p:txBody>
      </p:sp>
      <p:sp>
        <p:nvSpPr>
          <p:cNvPr id="36" name="文本框 35">
            <a:extLst>
              <a:ext uri="{FF2B5EF4-FFF2-40B4-BE49-F238E27FC236}">
                <a16:creationId xmlns:a16="http://schemas.microsoft.com/office/drawing/2014/main" id="{333C1778-D6B2-44AA-8AB9-EFF3AA363B78}"/>
              </a:ext>
            </a:extLst>
          </p:cNvPr>
          <p:cNvSpPr txBox="1"/>
          <p:nvPr/>
        </p:nvSpPr>
        <p:spPr>
          <a:xfrm>
            <a:off x="3792229" y="4688536"/>
            <a:ext cx="1846659" cy="369332"/>
          </a:xfrm>
          <a:prstGeom prst="rect">
            <a:avLst/>
          </a:prstGeom>
          <a:noFill/>
        </p:spPr>
        <p:txBody>
          <a:bodyPr wrap="none" lIns="0" tIns="0" rIns="0" bIns="0" rtlCol="0" anchor="t">
            <a:spAutoFit/>
          </a:bodyPr>
          <a:lstStyle/>
          <a:p>
            <a:pPr algn="ctr"/>
            <a:r>
              <a:rPr lang="zh-CN" altLang="en-US" sz="2400" dirty="0">
                <a:solidFill>
                  <a:schemeClr val="accent1"/>
                </a:solidFill>
                <a:latin typeface="+mj-ea"/>
                <a:ea typeface="+mj-ea"/>
              </a:rPr>
              <a:t>输入目录标题</a:t>
            </a:r>
          </a:p>
        </p:txBody>
      </p:sp>
      <p:sp>
        <p:nvSpPr>
          <p:cNvPr id="37" name="文本框 36">
            <a:extLst>
              <a:ext uri="{FF2B5EF4-FFF2-40B4-BE49-F238E27FC236}">
                <a16:creationId xmlns:a16="http://schemas.microsoft.com/office/drawing/2014/main" id="{24287017-DA9F-46DD-A455-2308E1DCE51F}"/>
              </a:ext>
            </a:extLst>
          </p:cNvPr>
          <p:cNvSpPr txBox="1"/>
          <p:nvPr/>
        </p:nvSpPr>
        <p:spPr>
          <a:xfrm>
            <a:off x="3792229" y="5149718"/>
            <a:ext cx="1846660" cy="215444"/>
          </a:xfrm>
          <a:prstGeom prst="rect">
            <a:avLst/>
          </a:prstGeom>
          <a:noFill/>
        </p:spPr>
        <p:txBody>
          <a:bodyPr wrap="square" lIns="0" tIns="0" rIns="0" bIns="0" rtlCol="0" anchor="t">
            <a:spAutoFit/>
          </a:bodyPr>
          <a:lstStyle/>
          <a:p>
            <a:pPr algn="dist"/>
            <a:r>
              <a:rPr lang="en-US" altLang="zh-CN" sz="1400" dirty="0">
                <a:solidFill>
                  <a:schemeClr val="accent1"/>
                </a:solidFill>
              </a:rPr>
              <a:t>Contents Title Here</a:t>
            </a:r>
            <a:endParaRPr lang="zh-CN" altLang="en-US" sz="1400" dirty="0">
              <a:solidFill>
                <a:schemeClr val="accent1"/>
              </a:solidFill>
            </a:endParaRPr>
          </a:p>
        </p:txBody>
      </p:sp>
      <p:sp>
        <p:nvSpPr>
          <p:cNvPr id="39" name="泪滴形 38">
            <a:extLst>
              <a:ext uri="{FF2B5EF4-FFF2-40B4-BE49-F238E27FC236}">
                <a16:creationId xmlns:a16="http://schemas.microsoft.com/office/drawing/2014/main" id="{35FF08B6-626A-48DF-B117-517983C6FCD3}"/>
              </a:ext>
            </a:extLst>
          </p:cNvPr>
          <p:cNvSpPr/>
          <p:nvPr/>
        </p:nvSpPr>
        <p:spPr>
          <a:xfrm>
            <a:off x="7038292" y="3644900"/>
            <a:ext cx="876300" cy="876300"/>
          </a:xfrm>
          <a:prstGeom prst="teardrop">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000" dirty="0"/>
              <a:t>03</a:t>
            </a:r>
            <a:endParaRPr lang="zh-CN" altLang="en-US" sz="2000" dirty="0"/>
          </a:p>
        </p:txBody>
      </p:sp>
      <p:sp>
        <p:nvSpPr>
          <p:cNvPr id="40" name="文本框 39">
            <a:extLst>
              <a:ext uri="{FF2B5EF4-FFF2-40B4-BE49-F238E27FC236}">
                <a16:creationId xmlns:a16="http://schemas.microsoft.com/office/drawing/2014/main" id="{00EA9962-58FB-4B1D-B349-8DDA53FF2474}"/>
              </a:ext>
            </a:extLst>
          </p:cNvPr>
          <p:cNvSpPr txBox="1"/>
          <p:nvPr/>
        </p:nvSpPr>
        <p:spPr>
          <a:xfrm>
            <a:off x="6553113" y="4688536"/>
            <a:ext cx="1846659" cy="369332"/>
          </a:xfrm>
          <a:prstGeom prst="rect">
            <a:avLst/>
          </a:prstGeom>
          <a:noFill/>
        </p:spPr>
        <p:txBody>
          <a:bodyPr wrap="none" lIns="0" tIns="0" rIns="0" bIns="0" rtlCol="0" anchor="t">
            <a:spAutoFit/>
          </a:bodyPr>
          <a:lstStyle/>
          <a:p>
            <a:pPr algn="ctr"/>
            <a:r>
              <a:rPr lang="zh-CN" altLang="en-US" sz="2400" dirty="0">
                <a:solidFill>
                  <a:schemeClr val="accent1"/>
                </a:solidFill>
                <a:latin typeface="+mj-ea"/>
                <a:ea typeface="+mj-ea"/>
              </a:rPr>
              <a:t>输入目录标题</a:t>
            </a:r>
          </a:p>
        </p:txBody>
      </p:sp>
      <p:sp>
        <p:nvSpPr>
          <p:cNvPr id="41" name="文本框 40">
            <a:extLst>
              <a:ext uri="{FF2B5EF4-FFF2-40B4-BE49-F238E27FC236}">
                <a16:creationId xmlns:a16="http://schemas.microsoft.com/office/drawing/2014/main" id="{4566FABB-9234-42C3-B757-86739C73A8E2}"/>
              </a:ext>
            </a:extLst>
          </p:cNvPr>
          <p:cNvSpPr txBox="1"/>
          <p:nvPr/>
        </p:nvSpPr>
        <p:spPr>
          <a:xfrm>
            <a:off x="6553113" y="5149718"/>
            <a:ext cx="1846660" cy="215444"/>
          </a:xfrm>
          <a:prstGeom prst="rect">
            <a:avLst/>
          </a:prstGeom>
          <a:noFill/>
        </p:spPr>
        <p:txBody>
          <a:bodyPr wrap="square" lIns="0" tIns="0" rIns="0" bIns="0" rtlCol="0" anchor="t">
            <a:spAutoFit/>
          </a:bodyPr>
          <a:lstStyle/>
          <a:p>
            <a:pPr algn="dist"/>
            <a:r>
              <a:rPr lang="en-US" altLang="zh-CN" sz="1400" dirty="0">
                <a:solidFill>
                  <a:schemeClr val="accent1"/>
                </a:solidFill>
              </a:rPr>
              <a:t>Contents Title Here</a:t>
            </a:r>
            <a:endParaRPr lang="zh-CN" altLang="en-US" sz="1400" dirty="0">
              <a:solidFill>
                <a:schemeClr val="accent1"/>
              </a:solidFill>
            </a:endParaRPr>
          </a:p>
        </p:txBody>
      </p:sp>
      <p:sp>
        <p:nvSpPr>
          <p:cNvPr id="43" name="泪滴形 42">
            <a:extLst>
              <a:ext uri="{FF2B5EF4-FFF2-40B4-BE49-F238E27FC236}">
                <a16:creationId xmlns:a16="http://schemas.microsoft.com/office/drawing/2014/main" id="{43638210-5D94-430D-82E2-03DFCD6EAD58}"/>
              </a:ext>
            </a:extLst>
          </p:cNvPr>
          <p:cNvSpPr/>
          <p:nvPr/>
        </p:nvSpPr>
        <p:spPr>
          <a:xfrm>
            <a:off x="9799175" y="3644900"/>
            <a:ext cx="876300" cy="876300"/>
          </a:xfrm>
          <a:prstGeom prst="teardrop">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000" dirty="0"/>
              <a:t>04</a:t>
            </a:r>
            <a:endParaRPr lang="zh-CN" altLang="en-US" sz="2000" dirty="0"/>
          </a:p>
        </p:txBody>
      </p:sp>
      <p:sp>
        <p:nvSpPr>
          <p:cNvPr id="44" name="文本框 43">
            <a:extLst>
              <a:ext uri="{FF2B5EF4-FFF2-40B4-BE49-F238E27FC236}">
                <a16:creationId xmlns:a16="http://schemas.microsoft.com/office/drawing/2014/main" id="{66FAEC6F-6581-4858-A08C-0BFFB919528C}"/>
              </a:ext>
            </a:extLst>
          </p:cNvPr>
          <p:cNvSpPr txBox="1"/>
          <p:nvPr/>
        </p:nvSpPr>
        <p:spPr>
          <a:xfrm>
            <a:off x="9313996" y="4688536"/>
            <a:ext cx="1846659" cy="369332"/>
          </a:xfrm>
          <a:prstGeom prst="rect">
            <a:avLst/>
          </a:prstGeom>
          <a:noFill/>
        </p:spPr>
        <p:txBody>
          <a:bodyPr wrap="none" lIns="0" tIns="0" rIns="0" bIns="0" rtlCol="0" anchor="t">
            <a:spAutoFit/>
          </a:bodyPr>
          <a:lstStyle/>
          <a:p>
            <a:pPr algn="ctr"/>
            <a:r>
              <a:rPr lang="zh-CN" altLang="en-US" sz="2400" dirty="0">
                <a:solidFill>
                  <a:schemeClr val="accent1"/>
                </a:solidFill>
                <a:latin typeface="+mj-ea"/>
                <a:ea typeface="+mj-ea"/>
              </a:rPr>
              <a:t>输入目录标题</a:t>
            </a:r>
          </a:p>
        </p:txBody>
      </p:sp>
      <p:sp>
        <p:nvSpPr>
          <p:cNvPr id="45" name="文本框 44">
            <a:extLst>
              <a:ext uri="{FF2B5EF4-FFF2-40B4-BE49-F238E27FC236}">
                <a16:creationId xmlns:a16="http://schemas.microsoft.com/office/drawing/2014/main" id="{A266029D-2737-4792-921B-EB77E4443952}"/>
              </a:ext>
            </a:extLst>
          </p:cNvPr>
          <p:cNvSpPr txBox="1"/>
          <p:nvPr/>
        </p:nvSpPr>
        <p:spPr>
          <a:xfrm>
            <a:off x="9313996" y="5149718"/>
            <a:ext cx="1846660" cy="215444"/>
          </a:xfrm>
          <a:prstGeom prst="rect">
            <a:avLst/>
          </a:prstGeom>
          <a:noFill/>
        </p:spPr>
        <p:txBody>
          <a:bodyPr wrap="square" lIns="0" tIns="0" rIns="0" bIns="0" rtlCol="0" anchor="t">
            <a:spAutoFit/>
          </a:bodyPr>
          <a:lstStyle/>
          <a:p>
            <a:pPr algn="dist"/>
            <a:r>
              <a:rPr lang="en-US" altLang="zh-CN" sz="1400" dirty="0">
                <a:solidFill>
                  <a:schemeClr val="accent1"/>
                </a:solidFill>
              </a:rPr>
              <a:t>Contents Title Here</a:t>
            </a:r>
            <a:endParaRPr lang="zh-CN" altLang="en-US" sz="1400" dirty="0">
              <a:solidFill>
                <a:schemeClr val="accent1"/>
              </a:solidFill>
            </a:endParaRPr>
          </a:p>
        </p:txBody>
      </p:sp>
    </p:spTree>
    <p:extLst>
      <p:ext uri="{BB962C8B-B14F-4D97-AF65-F5344CB8AC3E}">
        <p14:creationId xmlns:p14="http://schemas.microsoft.com/office/powerpoint/2010/main" val="1674640933"/>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6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3">
            <a:extLst>
              <a:ext uri="{FF2B5EF4-FFF2-40B4-BE49-F238E27FC236}">
                <a16:creationId xmlns:a16="http://schemas.microsoft.com/office/drawing/2014/main" id="{EE76E982-ACFC-4CCF-94DF-D8333453CAD3}"/>
              </a:ext>
            </a:extLst>
          </p:cNvPr>
          <p:cNvSpPr txBox="1">
            <a:spLocks/>
          </p:cNvSpPr>
          <p:nvPr/>
        </p:nvSpPr>
        <p:spPr>
          <a:xfrm>
            <a:off x="5508171" y="539181"/>
            <a:ext cx="5906589" cy="1202192"/>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4400" b="0" i="0" u="none" strike="noStrike" kern="1200" cap="none" spc="0" normalizeH="0" baseline="0" noProof="0">
                <a:ln>
                  <a:noFill/>
                </a:ln>
                <a:solidFill>
                  <a:srgbClr val="000000"/>
                </a:solidFill>
                <a:effectLst/>
                <a:uLnTx/>
                <a:uFillTx/>
                <a:latin typeface="等线 Light" panose="020F0302020204030204"/>
                <a:ea typeface="+mj-ea"/>
                <a:cs typeface="+mj-cs"/>
              </a:rPr>
              <a:t>TREE INFOGRAPHIC</a:t>
            </a:r>
            <a:endParaRPr kumimoji="0" lang="en-US" sz="4400" b="0" i="0" u="none" strike="noStrike" kern="1200" cap="none" spc="0" normalizeH="0" baseline="0" noProof="0" dirty="0">
              <a:ln>
                <a:noFill/>
              </a:ln>
              <a:solidFill>
                <a:srgbClr val="000000"/>
              </a:solidFill>
              <a:effectLst/>
              <a:uLnTx/>
              <a:uFillTx/>
              <a:latin typeface="等线 Light" panose="020F0302020204030204"/>
              <a:ea typeface="+mj-ea"/>
              <a:cs typeface="+mj-cs"/>
            </a:endParaRPr>
          </a:p>
        </p:txBody>
      </p:sp>
      <p:sp>
        <p:nvSpPr>
          <p:cNvPr id="4" name="Freeform 5">
            <a:extLst>
              <a:ext uri="{FF2B5EF4-FFF2-40B4-BE49-F238E27FC236}">
                <a16:creationId xmlns:a16="http://schemas.microsoft.com/office/drawing/2014/main" id="{DB8416B3-7ABA-4BD7-82CB-1F538DB06EA6}"/>
              </a:ext>
            </a:extLst>
          </p:cNvPr>
          <p:cNvSpPr>
            <a:spLocks/>
          </p:cNvSpPr>
          <p:nvPr/>
        </p:nvSpPr>
        <p:spPr bwMode="auto">
          <a:xfrm>
            <a:off x="2263108" y="3040370"/>
            <a:ext cx="1627471" cy="3959144"/>
          </a:xfrm>
          <a:custGeom>
            <a:avLst/>
            <a:gdLst>
              <a:gd name="T0" fmla="*/ 258 w 725"/>
              <a:gd name="T1" fmla="*/ 1251 h 1251"/>
              <a:gd name="T2" fmla="*/ 285 w 725"/>
              <a:gd name="T3" fmla="*/ 700 h 1251"/>
              <a:gd name="T4" fmla="*/ 0 w 725"/>
              <a:gd name="T5" fmla="*/ 315 h 1251"/>
              <a:gd name="T6" fmla="*/ 46 w 725"/>
              <a:gd name="T7" fmla="*/ 273 h 1251"/>
              <a:gd name="T8" fmla="*/ 314 w 725"/>
              <a:gd name="T9" fmla="*/ 578 h 1251"/>
              <a:gd name="T10" fmla="*/ 344 w 725"/>
              <a:gd name="T11" fmla="*/ 0 h 1251"/>
              <a:gd name="T12" fmla="*/ 412 w 725"/>
              <a:gd name="T13" fmla="*/ 0 h 1251"/>
              <a:gd name="T14" fmla="*/ 440 w 725"/>
              <a:gd name="T15" fmla="*/ 377 h 1251"/>
              <a:gd name="T16" fmla="*/ 675 w 725"/>
              <a:gd name="T17" fmla="*/ 126 h 1251"/>
              <a:gd name="T18" fmla="*/ 725 w 725"/>
              <a:gd name="T19" fmla="*/ 193 h 1251"/>
              <a:gd name="T20" fmla="*/ 478 w 725"/>
              <a:gd name="T21" fmla="*/ 490 h 1251"/>
              <a:gd name="T22" fmla="*/ 461 w 725"/>
              <a:gd name="T23" fmla="*/ 788 h 1251"/>
              <a:gd name="T24" fmla="*/ 507 w 725"/>
              <a:gd name="T25" fmla="*/ 1245 h 1251"/>
              <a:gd name="T26" fmla="*/ 258 w 725"/>
              <a:gd name="T27" fmla="*/ 1251 h 1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25" h="1251">
                <a:moveTo>
                  <a:pt x="258" y="1251"/>
                </a:moveTo>
                <a:cubicBezTo>
                  <a:pt x="258" y="1251"/>
                  <a:pt x="323" y="826"/>
                  <a:pt x="285" y="700"/>
                </a:cubicBezTo>
                <a:cubicBezTo>
                  <a:pt x="0" y="315"/>
                  <a:pt x="0" y="315"/>
                  <a:pt x="0" y="315"/>
                </a:cubicBezTo>
                <a:cubicBezTo>
                  <a:pt x="46" y="273"/>
                  <a:pt x="46" y="273"/>
                  <a:pt x="46" y="273"/>
                </a:cubicBezTo>
                <a:cubicBezTo>
                  <a:pt x="314" y="578"/>
                  <a:pt x="314" y="578"/>
                  <a:pt x="314" y="578"/>
                </a:cubicBezTo>
                <a:cubicBezTo>
                  <a:pt x="344" y="0"/>
                  <a:pt x="344" y="0"/>
                  <a:pt x="344" y="0"/>
                </a:cubicBezTo>
                <a:cubicBezTo>
                  <a:pt x="412" y="0"/>
                  <a:pt x="412" y="0"/>
                  <a:pt x="412" y="0"/>
                </a:cubicBezTo>
                <a:cubicBezTo>
                  <a:pt x="440" y="377"/>
                  <a:pt x="440" y="377"/>
                  <a:pt x="440" y="377"/>
                </a:cubicBezTo>
                <a:cubicBezTo>
                  <a:pt x="675" y="126"/>
                  <a:pt x="675" y="126"/>
                  <a:pt x="675" y="126"/>
                </a:cubicBezTo>
                <a:cubicBezTo>
                  <a:pt x="725" y="193"/>
                  <a:pt x="725" y="193"/>
                  <a:pt x="725" y="193"/>
                </a:cubicBezTo>
                <a:cubicBezTo>
                  <a:pt x="478" y="490"/>
                  <a:pt x="478" y="490"/>
                  <a:pt x="478" y="490"/>
                </a:cubicBezTo>
                <a:cubicBezTo>
                  <a:pt x="478" y="490"/>
                  <a:pt x="436" y="490"/>
                  <a:pt x="461" y="788"/>
                </a:cubicBezTo>
                <a:cubicBezTo>
                  <a:pt x="486" y="1085"/>
                  <a:pt x="507" y="1245"/>
                  <a:pt x="507" y="1245"/>
                </a:cubicBezTo>
                <a:lnTo>
                  <a:pt x="258" y="1251"/>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nvGrpSpPr>
          <p:cNvPr id="5" name="Group 2">
            <a:extLst>
              <a:ext uri="{FF2B5EF4-FFF2-40B4-BE49-F238E27FC236}">
                <a16:creationId xmlns:a16="http://schemas.microsoft.com/office/drawing/2014/main" id="{09BFCCC8-B90D-449C-B219-AB8BBF900727}"/>
              </a:ext>
            </a:extLst>
          </p:cNvPr>
          <p:cNvGrpSpPr/>
          <p:nvPr/>
        </p:nvGrpSpPr>
        <p:grpSpPr>
          <a:xfrm>
            <a:off x="1684122" y="457201"/>
            <a:ext cx="2757609" cy="2752042"/>
            <a:chOff x="1684122" y="457201"/>
            <a:chExt cx="2757609" cy="2752042"/>
          </a:xfrm>
        </p:grpSpPr>
        <p:sp>
          <p:nvSpPr>
            <p:cNvPr id="6" name="Oval 6">
              <a:extLst>
                <a:ext uri="{FF2B5EF4-FFF2-40B4-BE49-F238E27FC236}">
                  <a16:creationId xmlns:a16="http://schemas.microsoft.com/office/drawing/2014/main" id="{27ADA9E2-1740-464E-9D1F-A51E2C60961E}"/>
                </a:ext>
              </a:extLst>
            </p:cNvPr>
            <p:cNvSpPr>
              <a:spLocks noChangeArrowheads="1"/>
            </p:cNvSpPr>
            <p:nvPr/>
          </p:nvSpPr>
          <p:spPr bwMode="auto">
            <a:xfrm>
              <a:off x="1684122" y="457201"/>
              <a:ext cx="2757609" cy="2752042"/>
            </a:xfrm>
            <a:prstGeom prst="ellipse">
              <a:avLst/>
            </a:pr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7" name="Oval 7">
              <a:extLst>
                <a:ext uri="{FF2B5EF4-FFF2-40B4-BE49-F238E27FC236}">
                  <a16:creationId xmlns:a16="http://schemas.microsoft.com/office/drawing/2014/main" id="{92D6FFFC-F9E1-4A4A-A563-B5CBE1F2DA08}"/>
                </a:ext>
              </a:extLst>
            </p:cNvPr>
            <p:cNvSpPr>
              <a:spLocks noChangeArrowheads="1"/>
            </p:cNvSpPr>
            <p:nvPr/>
          </p:nvSpPr>
          <p:spPr bwMode="auto">
            <a:xfrm>
              <a:off x="1897530" y="672465"/>
              <a:ext cx="2328935" cy="2323369"/>
            </a:xfrm>
            <a:prstGeom prst="ellipse">
              <a:avLst/>
            </a:prstGeom>
            <a:solidFill>
              <a:schemeClr val="bg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grpSp>
        <p:nvGrpSpPr>
          <p:cNvPr id="8" name="Group 5">
            <a:extLst>
              <a:ext uri="{FF2B5EF4-FFF2-40B4-BE49-F238E27FC236}">
                <a16:creationId xmlns:a16="http://schemas.microsoft.com/office/drawing/2014/main" id="{580F64DE-2258-4146-956C-58C2BD889CA5}"/>
              </a:ext>
            </a:extLst>
          </p:cNvPr>
          <p:cNvGrpSpPr/>
          <p:nvPr/>
        </p:nvGrpSpPr>
        <p:grpSpPr>
          <a:xfrm>
            <a:off x="862036" y="2394579"/>
            <a:ext cx="2041298" cy="2033876"/>
            <a:chOff x="862036" y="2394579"/>
            <a:chExt cx="2041298" cy="2033876"/>
          </a:xfrm>
        </p:grpSpPr>
        <p:sp>
          <p:nvSpPr>
            <p:cNvPr id="9" name="Oval 10">
              <a:extLst>
                <a:ext uri="{FF2B5EF4-FFF2-40B4-BE49-F238E27FC236}">
                  <a16:creationId xmlns:a16="http://schemas.microsoft.com/office/drawing/2014/main" id="{7F1343DD-4530-4470-8C2B-82E9E434133B}"/>
                </a:ext>
              </a:extLst>
            </p:cNvPr>
            <p:cNvSpPr>
              <a:spLocks noChangeArrowheads="1"/>
            </p:cNvSpPr>
            <p:nvPr/>
          </p:nvSpPr>
          <p:spPr bwMode="auto">
            <a:xfrm>
              <a:off x="862036" y="2394579"/>
              <a:ext cx="2041298" cy="2033876"/>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0" name="Oval 11">
              <a:extLst>
                <a:ext uri="{FF2B5EF4-FFF2-40B4-BE49-F238E27FC236}">
                  <a16:creationId xmlns:a16="http://schemas.microsoft.com/office/drawing/2014/main" id="{B4E377F5-7D17-4ACA-8E65-4D1073802C48}"/>
                </a:ext>
              </a:extLst>
            </p:cNvPr>
            <p:cNvSpPr>
              <a:spLocks noChangeArrowheads="1"/>
            </p:cNvSpPr>
            <p:nvPr/>
          </p:nvSpPr>
          <p:spPr bwMode="auto">
            <a:xfrm>
              <a:off x="1047607" y="2580151"/>
              <a:ext cx="1670153" cy="1664587"/>
            </a:xfrm>
            <a:prstGeom prst="ellipse">
              <a:avLst/>
            </a:prstGeom>
            <a:solidFill>
              <a:schemeClr val="bg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graphicFrame>
        <p:nvGraphicFramePr>
          <p:cNvPr id="11" name="Chart 6">
            <a:extLst>
              <a:ext uri="{FF2B5EF4-FFF2-40B4-BE49-F238E27FC236}">
                <a16:creationId xmlns:a16="http://schemas.microsoft.com/office/drawing/2014/main" id="{E5D208FD-9AC3-4F9A-80D6-D5356E7F391D}"/>
              </a:ext>
            </a:extLst>
          </p:cNvPr>
          <p:cNvGraphicFramePr/>
          <p:nvPr/>
        </p:nvGraphicFramePr>
        <p:xfrm>
          <a:off x="5288643" y="1674805"/>
          <a:ext cx="2237922" cy="1491948"/>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2" name="Chart 17">
            <a:extLst>
              <a:ext uri="{FF2B5EF4-FFF2-40B4-BE49-F238E27FC236}">
                <a16:creationId xmlns:a16="http://schemas.microsoft.com/office/drawing/2014/main" id="{6C5FE880-3FB0-47F5-B2E5-074ED54A4D5C}"/>
              </a:ext>
            </a:extLst>
          </p:cNvPr>
          <p:cNvGraphicFramePr/>
          <p:nvPr/>
        </p:nvGraphicFramePr>
        <p:xfrm>
          <a:off x="5288642" y="3293972"/>
          <a:ext cx="2237922" cy="1491948"/>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3" name="Chart 18">
            <a:extLst>
              <a:ext uri="{FF2B5EF4-FFF2-40B4-BE49-F238E27FC236}">
                <a16:creationId xmlns:a16="http://schemas.microsoft.com/office/drawing/2014/main" id="{C78FCFFA-6839-4417-ACB3-02322B536927}"/>
              </a:ext>
            </a:extLst>
          </p:cNvPr>
          <p:cNvGraphicFramePr/>
          <p:nvPr/>
        </p:nvGraphicFramePr>
        <p:xfrm>
          <a:off x="5288642" y="4913139"/>
          <a:ext cx="2237922" cy="1491948"/>
        </p:xfrm>
        <a:graphic>
          <a:graphicData uri="http://schemas.openxmlformats.org/drawingml/2006/chart">
            <c:chart xmlns:c="http://schemas.openxmlformats.org/drawingml/2006/chart" xmlns:r="http://schemas.openxmlformats.org/officeDocument/2006/relationships" r:id="rId6"/>
          </a:graphicData>
        </a:graphic>
      </p:graphicFrame>
      <p:grpSp>
        <p:nvGrpSpPr>
          <p:cNvPr id="14" name="Group 19">
            <a:extLst>
              <a:ext uri="{FF2B5EF4-FFF2-40B4-BE49-F238E27FC236}">
                <a16:creationId xmlns:a16="http://schemas.microsoft.com/office/drawing/2014/main" id="{3CE9FD98-E95B-40F4-BD84-949200644D68}"/>
              </a:ext>
            </a:extLst>
          </p:cNvPr>
          <p:cNvGrpSpPr/>
          <p:nvPr/>
        </p:nvGrpSpPr>
        <p:grpSpPr>
          <a:xfrm>
            <a:off x="6192460" y="3774198"/>
            <a:ext cx="430286" cy="531497"/>
            <a:chOff x="10379076" y="-47625"/>
            <a:chExt cx="1208087" cy="1492250"/>
          </a:xfrm>
          <a:solidFill>
            <a:schemeClr val="tx1"/>
          </a:solidFill>
        </p:grpSpPr>
        <p:sp>
          <p:nvSpPr>
            <p:cNvPr id="15" name="Freeform 59">
              <a:extLst>
                <a:ext uri="{FF2B5EF4-FFF2-40B4-BE49-F238E27FC236}">
                  <a16:creationId xmlns:a16="http://schemas.microsoft.com/office/drawing/2014/main" id="{5D811F67-1C30-420C-8BC2-9595094BEEA2}"/>
                </a:ext>
              </a:extLst>
            </p:cNvPr>
            <p:cNvSpPr>
              <a:spLocks noEditPoints="1"/>
            </p:cNvSpPr>
            <p:nvPr/>
          </p:nvSpPr>
          <p:spPr bwMode="auto">
            <a:xfrm>
              <a:off x="10545763" y="627062"/>
              <a:ext cx="873125" cy="309563"/>
            </a:xfrm>
            <a:custGeom>
              <a:avLst/>
              <a:gdLst>
                <a:gd name="T0" fmla="*/ 69 w 917"/>
                <a:gd name="T1" fmla="*/ 194 h 325"/>
                <a:gd name="T2" fmla="*/ 849 w 917"/>
                <a:gd name="T3" fmla="*/ 194 h 325"/>
                <a:gd name="T4" fmla="*/ 849 w 917"/>
                <a:gd name="T5" fmla="*/ 325 h 325"/>
                <a:gd name="T6" fmla="*/ 917 w 917"/>
                <a:gd name="T7" fmla="*/ 325 h 325"/>
                <a:gd name="T8" fmla="*/ 917 w 917"/>
                <a:gd name="T9" fmla="*/ 160 h 325"/>
                <a:gd name="T10" fmla="*/ 883 w 917"/>
                <a:gd name="T11" fmla="*/ 125 h 325"/>
                <a:gd name="T12" fmla="*/ 493 w 917"/>
                <a:gd name="T13" fmla="*/ 125 h 325"/>
                <a:gd name="T14" fmla="*/ 493 w 917"/>
                <a:gd name="T15" fmla="*/ 0 h 325"/>
                <a:gd name="T16" fmla="*/ 424 w 917"/>
                <a:gd name="T17" fmla="*/ 0 h 325"/>
                <a:gd name="T18" fmla="*/ 424 w 917"/>
                <a:gd name="T19" fmla="*/ 125 h 325"/>
                <a:gd name="T20" fmla="*/ 34 w 917"/>
                <a:gd name="T21" fmla="*/ 125 h 325"/>
                <a:gd name="T22" fmla="*/ 0 w 917"/>
                <a:gd name="T23" fmla="*/ 160 h 325"/>
                <a:gd name="T24" fmla="*/ 0 w 917"/>
                <a:gd name="T25" fmla="*/ 320 h 325"/>
                <a:gd name="T26" fmla="*/ 69 w 917"/>
                <a:gd name="T27" fmla="*/ 320 h 325"/>
                <a:gd name="T28" fmla="*/ 69 w 917"/>
                <a:gd name="T29" fmla="*/ 194 h 325"/>
                <a:gd name="T30" fmla="*/ 69 w 917"/>
                <a:gd name="T31" fmla="*/ 194 h 325"/>
                <a:gd name="T32" fmla="*/ 69 w 917"/>
                <a:gd name="T33" fmla="*/ 194 h 3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17" h="325">
                  <a:moveTo>
                    <a:pt x="69" y="194"/>
                  </a:moveTo>
                  <a:cubicBezTo>
                    <a:pt x="849" y="194"/>
                    <a:pt x="849" y="194"/>
                    <a:pt x="849" y="194"/>
                  </a:cubicBezTo>
                  <a:cubicBezTo>
                    <a:pt x="849" y="325"/>
                    <a:pt x="849" y="325"/>
                    <a:pt x="849" y="325"/>
                  </a:cubicBezTo>
                  <a:cubicBezTo>
                    <a:pt x="917" y="325"/>
                    <a:pt x="917" y="325"/>
                    <a:pt x="917" y="325"/>
                  </a:cubicBezTo>
                  <a:cubicBezTo>
                    <a:pt x="917" y="160"/>
                    <a:pt x="917" y="160"/>
                    <a:pt x="917" y="160"/>
                  </a:cubicBezTo>
                  <a:cubicBezTo>
                    <a:pt x="917" y="141"/>
                    <a:pt x="902" y="125"/>
                    <a:pt x="883" y="125"/>
                  </a:cubicBezTo>
                  <a:cubicBezTo>
                    <a:pt x="493" y="125"/>
                    <a:pt x="493" y="125"/>
                    <a:pt x="493" y="125"/>
                  </a:cubicBezTo>
                  <a:cubicBezTo>
                    <a:pt x="493" y="0"/>
                    <a:pt x="493" y="0"/>
                    <a:pt x="493" y="0"/>
                  </a:cubicBezTo>
                  <a:cubicBezTo>
                    <a:pt x="424" y="0"/>
                    <a:pt x="424" y="0"/>
                    <a:pt x="424" y="0"/>
                  </a:cubicBezTo>
                  <a:cubicBezTo>
                    <a:pt x="424" y="125"/>
                    <a:pt x="424" y="125"/>
                    <a:pt x="424" y="125"/>
                  </a:cubicBezTo>
                  <a:cubicBezTo>
                    <a:pt x="34" y="125"/>
                    <a:pt x="34" y="125"/>
                    <a:pt x="34" y="125"/>
                  </a:cubicBezTo>
                  <a:cubicBezTo>
                    <a:pt x="16" y="125"/>
                    <a:pt x="0" y="141"/>
                    <a:pt x="0" y="160"/>
                  </a:cubicBezTo>
                  <a:cubicBezTo>
                    <a:pt x="0" y="320"/>
                    <a:pt x="0" y="320"/>
                    <a:pt x="0" y="320"/>
                  </a:cubicBezTo>
                  <a:cubicBezTo>
                    <a:pt x="69" y="320"/>
                    <a:pt x="69" y="320"/>
                    <a:pt x="69" y="320"/>
                  </a:cubicBezTo>
                  <a:lnTo>
                    <a:pt x="69" y="194"/>
                  </a:lnTo>
                  <a:close/>
                  <a:moveTo>
                    <a:pt x="69" y="194"/>
                  </a:moveTo>
                  <a:cubicBezTo>
                    <a:pt x="69" y="194"/>
                    <a:pt x="69" y="194"/>
                    <a:pt x="69" y="19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6" name="Freeform 60">
              <a:extLst>
                <a:ext uri="{FF2B5EF4-FFF2-40B4-BE49-F238E27FC236}">
                  <a16:creationId xmlns:a16="http://schemas.microsoft.com/office/drawing/2014/main" id="{936B22C6-DDD7-4DE1-9542-9F654B171D9F}"/>
                </a:ext>
              </a:extLst>
            </p:cNvPr>
            <p:cNvSpPr>
              <a:spLocks noEditPoints="1"/>
            </p:cNvSpPr>
            <p:nvPr/>
          </p:nvSpPr>
          <p:spPr bwMode="auto">
            <a:xfrm>
              <a:off x="10715626" y="317500"/>
              <a:ext cx="533400" cy="244475"/>
            </a:xfrm>
            <a:custGeom>
              <a:avLst/>
              <a:gdLst>
                <a:gd name="T0" fmla="*/ 280 w 560"/>
                <a:gd name="T1" fmla="*/ 256 h 256"/>
                <a:gd name="T2" fmla="*/ 557 w 560"/>
                <a:gd name="T3" fmla="*/ 256 h 256"/>
                <a:gd name="T4" fmla="*/ 485 w 560"/>
                <a:gd name="T5" fmla="*/ 52 h 256"/>
                <a:gd name="T6" fmla="*/ 377 w 560"/>
                <a:gd name="T7" fmla="*/ 0 h 256"/>
                <a:gd name="T8" fmla="*/ 325 w 560"/>
                <a:gd name="T9" fmla="*/ 165 h 256"/>
                <a:gd name="T10" fmla="*/ 318 w 560"/>
                <a:gd name="T11" fmla="*/ 187 h 256"/>
                <a:gd name="T12" fmla="*/ 294 w 560"/>
                <a:gd name="T13" fmla="*/ 121 h 256"/>
                <a:gd name="T14" fmla="*/ 280 w 560"/>
                <a:gd name="T15" fmla="*/ 43 h 256"/>
                <a:gd name="T16" fmla="*/ 280 w 560"/>
                <a:gd name="T17" fmla="*/ 43 h 256"/>
                <a:gd name="T18" fmla="*/ 266 w 560"/>
                <a:gd name="T19" fmla="*/ 121 h 256"/>
                <a:gd name="T20" fmla="*/ 242 w 560"/>
                <a:gd name="T21" fmla="*/ 187 h 256"/>
                <a:gd name="T22" fmla="*/ 235 w 560"/>
                <a:gd name="T23" fmla="*/ 165 h 256"/>
                <a:gd name="T24" fmla="*/ 183 w 560"/>
                <a:gd name="T25" fmla="*/ 0 h 256"/>
                <a:gd name="T26" fmla="*/ 75 w 560"/>
                <a:gd name="T27" fmla="*/ 52 h 256"/>
                <a:gd name="T28" fmla="*/ 4 w 560"/>
                <a:gd name="T29" fmla="*/ 256 h 256"/>
                <a:gd name="T30" fmla="*/ 280 w 560"/>
                <a:gd name="T31" fmla="*/ 256 h 256"/>
                <a:gd name="T32" fmla="*/ 280 w 560"/>
                <a:gd name="T33" fmla="*/ 256 h 256"/>
                <a:gd name="T34" fmla="*/ 280 w 560"/>
                <a:gd name="T35" fmla="*/ 256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60" h="256">
                  <a:moveTo>
                    <a:pt x="280" y="256"/>
                  </a:moveTo>
                  <a:cubicBezTo>
                    <a:pt x="557" y="256"/>
                    <a:pt x="557" y="256"/>
                    <a:pt x="557" y="256"/>
                  </a:cubicBezTo>
                  <a:cubicBezTo>
                    <a:pt x="555" y="141"/>
                    <a:pt x="560" y="79"/>
                    <a:pt x="485" y="52"/>
                  </a:cubicBezTo>
                  <a:cubicBezTo>
                    <a:pt x="417" y="26"/>
                    <a:pt x="377" y="0"/>
                    <a:pt x="377" y="0"/>
                  </a:cubicBezTo>
                  <a:cubicBezTo>
                    <a:pt x="325" y="165"/>
                    <a:pt x="325" y="165"/>
                    <a:pt x="325" y="165"/>
                  </a:cubicBezTo>
                  <a:cubicBezTo>
                    <a:pt x="318" y="187"/>
                    <a:pt x="318" y="187"/>
                    <a:pt x="318" y="187"/>
                  </a:cubicBezTo>
                  <a:cubicBezTo>
                    <a:pt x="294" y="121"/>
                    <a:pt x="294" y="121"/>
                    <a:pt x="294" y="121"/>
                  </a:cubicBezTo>
                  <a:cubicBezTo>
                    <a:pt x="348" y="46"/>
                    <a:pt x="290" y="43"/>
                    <a:pt x="280" y="43"/>
                  </a:cubicBezTo>
                  <a:cubicBezTo>
                    <a:pt x="280" y="43"/>
                    <a:pt x="280" y="43"/>
                    <a:pt x="280" y="43"/>
                  </a:cubicBezTo>
                  <a:cubicBezTo>
                    <a:pt x="270" y="43"/>
                    <a:pt x="212" y="46"/>
                    <a:pt x="266" y="121"/>
                  </a:cubicBezTo>
                  <a:cubicBezTo>
                    <a:pt x="242" y="187"/>
                    <a:pt x="242" y="187"/>
                    <a:pt x="242" y="187"/>
                  </a:cubicBezTo>
                  <a:cubicBezTo>
                    <a:pt x="235" y="165"/>
                    <a:pt x="235" y="165"/>
                    <a:pt x="235" y="165"/>
                  </a:cubicBezTo>
                  <a:cubicBezTo>
                    <a:pt x="183" y="0"/>
                    <a:pt x="183" y="0"/>
                    <a:pt x="183" y="0"/>
                  </a:cubicBezTo>
                  <a:cubicBezTo>
                    <a:pt x="183" y="0"/>
                    <a:pt x="142" y="27"/>
                    <a:pt x="75" y="52"/>
                  </a:cubicBezTo>
                  <a:cubicBezTo>
                    <a:pt x="0" y="79"/>
                    <a:pt x="5" y="140"/>
                    <a:pt x="4" y="256"/>
                  </a:cubicBezTo>
                  <a:lnTo>
                    <a:pt x="280" y="256"/>
                  </a:lnTo>
                  <a:close/>
                  <a:moveTo>
                    <a:pt x="280" y="256"/>
                  </a:moveTo>
                  <a:cubicBezTo>
                    <a:pt x="280" y="256"/>
                    <a:pt x="280" y="256"/>
                    <a:pt x="280" y="25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7" name="Freeform 61">
              <a:extLst>
                <a:ext uri="{FF2B5EF4-FFF2-40B4-BE49-F238E27FC236}">
                  <a16:creationId xmlns:a16="http://schemas.microsoft.com/office/drawing/2014/main" id="{4D14DC8D-A789-41E7-ACFF-0E3F540D42F6}"/>
                </a:ext>
              </a:extLst>
            </p:cNvPr>
            <p:cNvSpPr>
              <a:spLocks noEditPoints="1"/>
            </p:cNvSpPr>
            <p:nvPr/>
          </p:nvSpPr>
          <p:spPr bwMode="auto">
            <a:xfrm>
              <a:off x="10836276" y="-47625"/>
              <a:ext cx="292100" cy="373063"/>
            </a:xfrm>
            <a:custGeom>
              <a:avLst/>
              <a:gdLst>
                <a:gd name="T0" fmla="*/ 37 w 307"/>
                <a:gd name="T1" fmla="*/ 279 h 391"/>
                <a:gd name="T2" fmla="*/ 122 w 307"/>
                <a:gd name="T3" fmla="*/ 384 h 391"/>
                <a:gd name="T4" fmla="*/ 185 w 307"/>
                <a:gd name="T5" fmla="*/ 384 h 391"/>
                <a:gd name="T6" fmla="*/ 270 w 307"/>
                <a:gd name="T7" fmla="*/ 279 h 391"/>
                <a:gd name="T8" fmla="*/ 294 w 307"/>
                <a:gd name="T9" fmla="*/ 237 h 391"/>
                <a:gd name="T10" fmla="*/ 282 w 307"/>
                <a:gd name="T11" fmla="*/ 187 h 391"/>
                <a:gd name="T12" fmla="*/ 287 w 307"/>
                <a:gd name="T13" fmla="*/ 168 h 391"/>
                <a:gd name="T14" fmla="*/ 249 w 307"/>
                <a:gd name="T15" fmla="*/ 49 h 391"/>
                <a:gd name="T16" fmla="*/ 215 w 307"/>
                <a:gd name="T17" fmla="*/ 17 h 391"/>
                <a:gd name="T18" fmla="*/ 144 w 307"/>
                <a:gd name="T19" fmla="*/ 3 h 391"/>
                <a:gd name="T20" fmla="*/ 116 w 307"/>
                <a:gd name="T21" fmla="*/ 8 h 391"/>
                <a:gd name="T22" fmla="*/ 86 w 307"/>
                <a:gd name="T23" fmla="*/ 24 h 391"/>
                <a:gd name="T24" fmla="*/ 54 w 307"/>
                <a:gd name="T25" fmla="*/ 50 h 391"/>
                <a:gd name="T26" fmla="*/ 20 w 307"/>
                <a:gd name="T27" fmla="*/ 110 h 391"/>
                <a:gd name="T28" fmla="*/ 20 w 307"/>
                <a:gd name="T29" fmla="*/ 169 h 391"/>
                <a:gd name="T30" fmla="*/ 25 w 307"/>
                <a:gd name="T31" fmla="*/ 187 h 391"/>
                <a:gd name="T32" fmla="*/ 13 w 307"/>
                <a:gd name="T33" fmla="*/ 237 h 391"/>
                <a:gd name="T34" fmla="*/ 37 w 307"/>
                <a:gd name="T35" fmla="*/ 279 h 391"/>
                <a:gd name="T36" fmla="*/ 37 w 307"/>
                <a:gd name="T37" fmla="*/ 279 h 391"/>
                <a:gd name="T38" fmla="*/ 37 w 307"/>
                <a:gd name="T39" fmla="*/ 279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07" h="391">
                  <a:moveTo>
                    <a:pt x="37" y="279"/>
                  </a:moveTo>
                  <a:cubicBezTo>
                    <a:pt x="43" y="318"/>
                    <a:pt x="73" y="367"/>
                    <a:pt x="122" y="384"/>
                  </a:cubicBezTo>
                  <a:cubicBezTo>
                    <a:pt x="143" y="391"/>
                    <a:pt x="165" y="391"/>
                    <a:pt x="185" y="384"/>
                  </a:cubicBezTo>
                  <a:cubicBezTo>
                    <a:pt x="233" y="367"/>
                    <a:pt x="264" y="318"/>
                    <a:pt x="270" y="279"/>
                  </a:cubicBezTo>
                  <a:cubicBezTo>
                    <a:pt x="276" y="278"/>
                    <a:pt x="285" y="269"/>
                    <a:pt x="294" y="237"/>
                  </a:cubicBezTo>
                  <a:cubicBezTo>
                    <a:pt x="307" y="192"/>
                    <a:pt x="294" y="186"/>
                    <a:pt x="282" y="187"/>
                  </a:cubicBezTo>
                  <a:cubicBezTo>
                    <a:pt x="284" y="180"/>
                    <a:pt x="286" y="174"/>
                    <a:pt x="287" y="168"/>
                  </a:cubicBezTo>
                  <a:cubicBezTo>
                    <a:pt x="306" y="53"/>
                    <a:pt x="249" y="49"/>
                    <a:pt x="249" y="49"/>
                  </a:cubicBezTo>
                  <a:cubicBezTo>
                    <a:pt x="249" y="49"/>
                    <a:pt x="240" y="31"/>
                    <a:pt x="215" y="17"/>
                  </a:cubicBezTo>
                  <a:cubicBezTo>
                    <a:pt x="198" y="7"/>
                    <a:pt x="175" y="0"/>
                    <a:pt x="144" y="3"/>
                  </a:cubicBezTo>
                  <a:cubicBezTo>
                    <a:pt x="135" y="3"/>
                    <a:pt x="125" y="5"/>
                    <a:pt x="116" y="8"/>
                  </a:cubicBezTo>
                  <a:cubicBezTo>
                    <a:pt x="105" y="12"/>
                    <a:pt x="95" y="17"/>
                    <a:pt x="86" y="24"/>
                  </a:cubicBezTo>
                  <a:cubicBezTo>
                    <a:pt x="74" y="31"/>
                    <a:pt x="63" y="40"/>
                    <a:pt x="54" y="50"/>
                  </a:cubicBezTo>
                  <a:cubicBezTo>
                    <a:pt x="39" y="65"/>
                    <a:pt x="25" y="85"/>
                    <a:pt x="20" y="110"/>
                  </a:cubicBezTo>
                  <a:cubicBezTo>
                    <a:pt x="15" y="129"/>
                    <a:pt x="16" y="148"/>
                    <a:pt x="20" y="169"/>
                  </a:cubicBezTo>
                  <a:cubicBezTo>
                    <a:pt x="21" y="175"/>
                    <a:pt x="23" y="181"/>
                    <a:pt x="25" y="187"/>
                  </a:cubicBezTo>
                  <a:cubicBezTo>
                    <a:pt x="14" y="186"/>
                    <a:pt x="0" y="192"/>
                    <a:pt x="13" y="237"/>
                  </a:cubicBezTo>
                  <a:cubicBezTo>
                    <a:pt x="22" y="269"/>
                    <a:pt x="31" y="278"/>
                    <a:pt x="37" y="279"/>
                  </a:cubicBezTo>
                  <a:close/>
                  <a:moveTo>
                    <a:pt x="37" y="279"/>
                  </a:moveTo>
                  <a:cubicBezTo>
                    <a:pt x="37" y="279"/>
                    <a:pt x="37" y="279"/>
                    <a:pt x="37" y="27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8" name="Freeform 62">
              <a:extLst>
                <a:ext uri="{FF2B5EF4-FFF2-40B4-BE49-F238E27FC236}">
                  <a16:creationId xmlns:a16="http://schemas.microsoft.com/office/drawing/2014/main" id="{336EFE30-14D0-47D3-BAE7-4B7AC062B6CB}"/>
                </a:ext>
              </a:extLst>
            </p:cNvPr>
            <p:cNvSpPr>
              <a:spLocks noEditPoints="1"/>
            </p:cNvSpPr>
            <p:nvPr/>
          </p:nvSpPr>
          <p:spPr bwMode="auto">
            <a:xfrm>
              <a:off x="11187113" y="1262062"/>
              <a:ext cx="400050" cy="182563"/>
            </a:xfrm>
            <a:custGeom>
              <a:avLst/>
              <a:gdLst>
                <a:gd name="T0" fmla="*/ 364 w 420"/>
                <a:gd name="T1" fmla="*/ 39 h 192"/>
                <a:gd name="T2" fmla="*/ 282 w 420"/>
                <a:gd name="T3" fmla="*/ 0 h 192"/>
                <a:gd name="T4" fmla="*/ 243 w 420"/>
                <a:gd name="T5" fmla="*/ 124 h 192"/>
                <a:gd name="T6" fmla="*/ 238 w 420"/>
                <a:gd name="T7" fmla="*/ 141 h 192"/>
                <a:gd name="T8" fmla="*/ 220 w 420"/>
                <a:gd name="T9" fmla="*/ 91 h 192"/>
                <a:gd name="T10" fmla="*/ 210 w 420"/>
                <a:gd name="T11" fmla="*/ 32 h 192"/>
                <a:gd name="T12" fmla="*/ 199 w 420"/>
                <a:gd name="T13" fmla="*/ 91 h 192"/>
                <a:gd name="T14" fmla="*/ 182 w 420"/>
                <a:gd name="T15" fmla="*/ 141 h 192"/>
                <a:gd name="T16" fmla="*/ 176 w 420"/>
                <a:gd name="T17" fmla="*/ 124 h 192"/>
                <a:gd name="T18" fmla="*/ 137 w 420"/>
                <a:gd name="T19" fmla="*/ 0 h 192"/>
                <a:gd name="T20" fmla="*/ 56 w 420"/>
                <a:gd name="T21" fmla="*/ 39 h 192"/>
                <a:gd name="T22" fmla="*/ 2 w 420"/>
                <a:gd name="T23" fmla="*/ 192 h 192"/>
                <a:gd name="T24" fmla="*/ 417 w 420"/>
                <a:gd name="T25" fmla="*/ 192 h 192"/>
                <a:gd name="T26" fmla="*/ 364 w 420"/>
                <a:gd name="T27" fmla="*/ 39 h 192"/>
                <a:gd name="T28" fmla="*/ 364 w 420"/>
                <a:gd name="T29" fmla="*/ 39 h 192"/>
                <a:gd name="T30" fmla="*/ 364 w 420"/>
                <a:gd name="T31" fmla="*/ 39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20" h="192">
                  <a:moveTo>
                    <a:pt x="364" y="39"/>
                  </a:moveTo>
                  <a:cubicBezTo>
                    <a:pt x="313" y="20"/>
                    <a:pt x="282" y="0"/>
                    <a:pt x="282" y="0"/>
                  </a:cubicBezTo>
                  <a:cubicBezTo>
                    <a:pt x="243" y="124"/>
                    <a:pt x="243" y="124"/>
                    <a:pt x="243" y="124"/>
                  </a:cubicBezTo>
                  <a:cubicBezTo>
                    <a:pt x="238" y="141"/>
                    <a:pt x="238" y="141"/>
                    <a:pt x="238" y="141"/>
                  </a:cubicBezTo>
                  <a:cubicBezTo>
                    <a:pt x="220" y="91"/>
                    <a:pt x="220" y="91"/>
                    <a:pt x="220" y="91"/>
                  </a:cubicBezTo>
                  <a:cubicBezTo>
                    <a:pt x="261" y="35"/>
                    <a:pt x="217" y="32"/>
                    <a:pt x="210" y="32"/>
                  </a:cubicBezTo>
                  <a:cubicBezTo>
                    <a:pt x="202" y="32"/>
                    <a:pt x="159" y="35"/>
                    <a:pt x="199" y="91"/>
                  </a:cubicBezTo>
                  <a:cubicBezTo>
                    <a:pt x="182" y="141"/>
                    <a:pt x="182" y="141"/>
                    <a:pt x="182" y="141"/>
                  </a:cubicBezTo>
                  <a:cubicBezTo>
                    <a:pt x="176" y="124"/>
                    <a:pt x="176" y="124"/>
                    <a:pt x="176" y="124"/>
                  </a:cubicBezTo>
                  <a:cubicBezTo>
                    <a:pt x="137" y="0"/>
                    <a:pt x="137" y="0"/>
                    <a:pt x="137" y="0"/>
                  </a:cubicBezTo>
                  <a:cubicBezTo>
                    <a:pt x="137" y="0"/>
                    <a:pt x="107" y="20"/>
                    <a:pt x="56" y="39"/>
                  </a:cubicBezTo>
                  <a:cubicBezTo>
                    <a:pt x="0" y="60"/>
                    <a:pt x="3" y="106"/>
                    <a:pt x="2" y="192"/>
                  </a:cubicBezTo>
                  <a:cubicBezTo>
                    <a:pt x="417" y="192"/>
                    <a:pt x="417" y="192"/>
                    <a:pt x="417" y="192"/>
                  </a:cubicBezTo>
                  <a:cubicBezTo>
                    <a:pt x="416" y="106"/>
                    <a:pt x="420" y="60"/>
                    <a:pt x="364" y="39"/>
                  </a:cubicBezTo>
                  <a:close/>
                  <a:moveTo>
                    <a:pt x="364" y="39"/>
                  </a:moveTo>
                  <a:cubicBezTo>
                    <a:pt x="364" y="39"/>
                    <a:pt x="364" y="39"/>
                    <a:pt x="364" y="3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9" name="Freeform 63">
              <a:extLst>
                <a:ext uri="{FF2B5EF4-FFF2-40B4-BE49-F238E27FC236}">
                  <a16:creationId xmlns:a16="http://schemas.microsoft.com/office/drawing/2014/main" id="{9C9F0235-98DF-4E11-8B60-AEBEB5D56310}"/>
                </a:ext>
              </a:extLst>
            </p:cNvPr>
            <p:cNvSpPr>
              <a:spLocks noEditPoints="1"/>
            </p:cNvSpPr>
            <p:nvPr/>
          </p:nvSpPr>
          <p:spPr bwMode="auto">
            <a:xfrm>
              <a:off x="11277601" y="987425"/>
              <a:ext cx="219075" cy="280988"/>
            </a:xfrm>
            <a:custGeom>
              <a:avLst/>
              <a:gdLst>
                <a:gd name="T0" fmla="*/ 108 w 230"/>
                <a:gd name="T1" fmla="*/ 2 h 294"/>
                <a:gd name="T2" fmla="*/ 87 w 230"/>
                <a:gd name="T3" fmla="*/ 6 h 294"/>
                <a:gd name="T4" fmla="*/ 64 w 230"/>
                <a:gd name="T5" fmla="*/ 18 h 294"/>
                <a:gd name="T6" fmla="*/ 40 w 230"/>
                <a:gd name="T7" fmla="*/ 37 h 294"/>
                <a:gd name="T8" fmla="*/ 15 w 230"/>
                <a:gd name="T9" fmla="*/ 83 h 294"/>
                <a:gd name="T10" fmla="*/ 15 w 230"/>
                <a:gd name="T11" fmla="*/ 127 h 294"/>
                <a:gd name="T12" fmla="*/ 19 w 230"/>
                <a:gd name="T13" fmla="*/ 141 h 294"/>
                <a:gd name="T14" fmla="*/ 10 w 230"/>
                <a:gd name="T15" fmla="*/ 178 h 294"/>
                <a:gd name="T16" fmla="*/ 28 w 230"/>
                <a:gd name="T17" fmla="*/ 210 h 294"/>
                <a:gd name="T18" fmla="*/ 92 w 230"/>
                <a:gd name="T19" fmla="*/ 289 h 294"/>
                <a:gd name="T20" fmla="*/ 138 w 230"/>
                <a:gd name="T21" fmla="*/ 289 h 294"/>
                <a:gd name="T22" fmla="*/ 202 w 230"/>
                <a:gd name="T23" fmla="*/ 210 h 294"/>
                <a:gd name="T24" fmla="*/ 221 w 230"/>
                <a:gd name="T25" fmla="*/ 178 h 294"/>
                <a:gd name="T26" fmla="*/ 212 w 230"/>
                <a:gd name="T27" fmla="*/ 141 h 294"/>
                <a:gd name="T28" fmla="*/ 215 w 230"/>
                <a:gd name="T29" fmla="*/ 127 h 294"/>
                <a:gd name="T30" fmla="*/ 187 w 230"/>
                <a:gd name="T31" fmla="*/ 37 h 294"/>
                <a:gd name="T32" fmla="*/ 162 w 230"/>
                <a:gd name="T33" fmla="*/ 13 h 294"/>
                <a:gd name="T34" fmla="*/ 108 w 230"/>
                <a:gd name="T35" fmla="*/ 2 h 294"/>
                <a:gd name="T36" fmla="*/ 108 w 230"/>
                <a:gd name="T37" fmla="*/ 2 h 294"/>
                <a:gd name="T38" fmla="*/ 108 w 230"/>
                <a:gd name="T39" fmla="*/ 2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30" h="294">
                  <a:moveTo>
                    <a:pt x="108" y="2"/>
                  </a:moveTo>
                  <a:cubicBezTo>
                    <a:pt x="101" y="2"/>
                    <a:pt x="94" y="4"/>
                    <a:pt x="87" y="6"/>
                  </a:cubicBezTo>
                  <a:cubicBezTo>
                    <a:pt x="79" y="9"/>
                    <a:pt x="71" y="13"/>
                    <a:pt x="64" y="18"/>
                  </a:cubicBezTo>
                  <a:cubicBezTo>
                    <a:pt x="55" y="23"/>
                    <a:pt x="47" y="30"/>
                    <a:pt x="40" y="37"/>
                  </a:cubicBezTo>
                  <a:cubicBezTo>
                    <a:pt x="29" y="49"/>
                    <a:pt x="19" y="64"/>
                    <a:pt x="15" y="83"/>
                  </a:cubicBezTo>
                  <a:cubicBezTo>
                    <a:pt x="11" y="96"/>
                    <a:pt x="12" y="111"/>
                    <a:pt x="15" y="127"/>
                  </a:cubicBezTo>
                  <a:cubicBezTo>
                    <a:pt x="16" y="131"/>
                    <a:pt x="17" y="136"/>
                    <a:pt x="19" y="141"/>
                  </a:cubicBezTo>
                  <a:cubicBezTo>
                    <a:pt x="10" y="140"/>
                    <a:pt x="0" y="145"/>
                    <a:pt x="10" y="178"/>
                  </a:cubicBezTo>
                  <a:cubicBezTo>
                    <a:pt x="17" y="202"/>
                    <a:pt x="23" y="209"/>
                    <a:pt x="28" y="210"/>
                  </a:cubicBezTo>
                  <a:cubicBezTo>
                    <a:pt x="32" y="239"/>
                    <a:pt x="55" y="276"/>
                    <a:pt x="92" y="289"/>
                  </a:cubicBezTo>
                  <a:cubicBezTo>
                    <a:pt x="107" y="294"/>
                    <a:pt x="123" y="294"/>
                    <a:pt x="138" y="289"/>
                  </a:cubicBezTo>
                  <a:cubicBezTo>
                    <a:pt x="175" y="276"/>
                    <a:pt x="198" y="239"/>
                    <a:pt x="202" y="210"/>
                  </a:cubicBezTo>
                  <a:cubicBezTo>
                    <a:pt x="207" y="209"/>
                    <a:pt x="214" y="202"/>
                    <a:pt x="221" y="178"/>
                  </a:cubicBezTo>
                  <a:cubicBezTo>
                    <a:pt x="230" y="144"/>
                    <a:pt x="220" y="140"/>
                    <a:pt x="212" y="141"/>
                  </a:cubicBezTo>
                  <a:cubicBezTo>
                    <a:pt x="213" y="136"/>
                    <a:pt x="215" y="131"/>
                    <a:pt x="215" y="127"/>
                  </a:cubicBezTo>
                  <a:cubicBezTo>
                    <a:pt x="230" y="40"/>
                    <a:pt x="187" y="37"/>
                    <a:pt x="187" y="37"/>
                  </a:cubicBezTo>
                  <a:cubicBezTo>
                    <a:pt x="187" y="37"/>
                    <a:pt x="180" y="24"/>
                    <a:pt x="162" y="13"/>
                  </a:cubicBezTo>
                  <a:cubicBezTo>
                    <a:pt x="148" y="5"/>
                    <a:pt x="131" y="0"/>
                    <a:pt x="108" y="2"/>
                  </a:cubicBezTo>
                  <a:close/>
                  <a:moveTo>
                    <a:pt x="108" y="2"/>
                  </a:moveTo>
                  <a:cubicBezTo>
                    <a:pt x="108" y="2"/>
                    <a:pt x="108" y="2"/>
                    <a:pt x="108" y="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0" name="Freeform 64">
              <a:extLst>
                <a:ext uri="{FF2B5EF4-FFF2-40B4-BE49-F238E27FC236}">
                  <a16:creationId xmlns:a16="http://schemas.microsoft.com/office/drawing/2014/main" id="{EA92B6A3-AFAE-436E-B599-FF0845F0CC9F}"/>
                </a:ext>
              </a:extLst>
            </p:cNvPr>
            <p:cNvSpPr>
              <a:spLocks noEditPoints="1"/>
            </p:cNvSpPr>
            <p:nvPr/>
          </p:nvSpPr>
          <p:spPr bwMode="auto">
            <a:xfrm>
              <a:off x="10379076" y="1262062"/>
              <a:ext cx="400050" cy="182563"/>
            </a:xfrm>
            <a:custGeom>
              <a:avLst/>
              <a:gdLst>
                <a:gd name="T0" fmla="*/ 364 w 420"/>
                <a:gd name="T1" fmla="*/ 39 h 192"/>
                <a:gd name="T2" fmla="*/ 283 w 420"/>
                <a:gd name="T3" fmla="*/ 0 h 192"/>
                <a:gd name="T4" fmla="*/ 244 w 420"/>
                <a:gd name="T5" fmla="*/ 124 h 192"/>
                <a:gd name="T6" fmla="*/ 239 w 420"/>
                <a:gd name="T7" fmla="*/ 141 h 192"/>
                <a:gd name="T8" fmla="*/ 221 w 420"/>
                <a:gd name="T9" fmla="*/ 91 h 192"/>
                <a:gd name="T10" fmla="*/ 210 w 420"/>
                <a:gd name="T11" fmla="*/ 32 h 192"/>
                <a:gd name="T12" fmla="*/ 200 w 420"/>
                <a:gd name="T13" fmla="*/ 91 h 192"/>
                <a:gd name="T14" fmla="*/ 182 w 420"/>
                <a:gd name="T15" fmla="*/ 141 h 192"/>
                <a:gd name="T16" fmla="*/ 177 w 420"/>
                <a:gd name="T17" fmla="*/ 124 h 192"/>
                <a:gd name="T18" fmla="*/ 138 w 420"/>
                <a:gd name="T19" fmla="*/ 0 h 192"/>
                <a:gd name="T20" fmla="*/ 56 w 420"/>
                <a:gd name="T21" fmla="*/ 39 h 192"/>
                <a:gd name="T22" fmla="*/ 3 w 420"/>
                <a:gd name="T23" fmla="*/ 192 h 192"/>
                <a:gd name="T24" fmla="*/ 418 w 420"/>
                <a:gd name="T25" fmla="*/ 192 h 192"/>
                <a:gd name="T26" fmla="*/ 364 w 420"/>
                <a:gd name="T27" fmla="*/ 39 h 192"/>
                <a:gd name="T28" fmla="*/ 364 w 420"/>
                <a:gd name="T29" fmla="*/ 39 h 192"/>
                <a:gd name="T30" fmla="*/ 364 w 420"/>
                <a:gd name="T31" fmla="*/ 39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20" h="192">
                  <a:moveTo>
                    <a:pt x="364" y="39"/>
                  </a:moveTo>
                  <a:cubicBezTo>
                    <a:pt x="313" y="20"/>
                    <a:pt x="283" y="0"/>
                    <a:pt x="283" y="0"/>
                  </a:cubicBezTo>
                  <a:cubicBezTo>
                    <a:pt x="244" y="124"/>
                    <a:pt x="244" y="124"/>
                    <a:pt x="244" y="124"/>
                  </a:cubicBezTo>
                  <a:cubicBezTo>
                    <a:pt x="239" y="141"/>
                    <a:pt x="239" y="141"/>
                    <a:pt x="239" y="141"/>
                  </a:cubicBezTo>
                  <a:cubicBezTo>
                    <a:pt x="221" y="91"/>
                    <a:pt x="221" y="91"/>
                    <a:pt x="221" y="91"/>
                  </a:cubicBezTo>
                  <a:cubicBezTo>
                    <a:pt x="261" y="35"/>
                    <a:pt x="218" y="32"/>
                    <a:pt x="210" y="32"/>
                  </a:cubicBezTo>
                  <a:cubicBezTo>
                    <a:pt x="203" y="32"/>
                    <a:pt x="159" y="35"/>
                    <a:pt x="200" y="91"/>
                  </a:cubicBezTo>
                  <a:cubicBezTo>
                    <a:pt x="182" y="141"/>
                    <a:pt x="182" y="141"/>
                    <a:pt x="182" y="141"/>
                  </a:cubicBezTo>
                  <a:cubicBezTo>
                    <a:pt x="177" y="124"/>
                    <a:pt x="177" y="124"/>
                    <a:pt x="177" y="124"/>
                  </a:cubicBezTo>
                  <a:cubicBezTo>
                    <a:pt x="138" y="0"/>
                    <a:pt x="138" y="0"/>
                    <a:pt x="138" y="0"/>
                  </a:cubicBezTo>
                  <a:cubicBezTo>
                    <a:pt x="138" y="0"/>
                    <a:pt x="107" y="20"/>
                    <a:pt x="56" y="39"/>
                  </a:cubicBezTo>
                  <a:cubicBezTo>
                    <a:pt x="0" y="60"/>
                    <a:pt x="4" y="106"/>
                    <a:pt x="3" y="192"/>
                  </a:cubicBezTo>
                  <a:cubicBezTo>
                    <a:pt x="418" y="192"/>
                    <a:pt x="418" y="192"/>
                    <a:pt x="418" y="192"/>
                  </a:cubicBezTo>
                  <a:cubicBezTo>
                    <a:pt x="417" y="106"/>
                    <a:pt x="420" y="60"/>
                    <a:pt x="364" y="39"/>
                  </a:cubicBezTo>
                  <a:close/>
                  <a:moveTo>
                    <a:pt x="364" y="39"/>
                  </a:moveTo>
                  <a:cubicBezTo>
                    <a:pt x="364" y="39"/>
                    <a:pt x="364" y="39"/>
                    <a:pt x="364" y="3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1" name="Freeform 65">
              <a:extLst>
                <a:ext uri="{FF2B5EF4-FFF2-40B4-BE49-F238E27FC236}">
                  <a16:creationId xmlns:a16="http://schemas.microsoft.com/office/drawing/2014/main" id="{19035F07-DD4C-4C77-A004-5ECF3117DB72}"/>
                </a:ext>
              </a:extLst>
            </p:cNvPr>
            <p:cNvSpPr>
              <a:spLocks noEditPoints="1"/>
            </p:cNvSpPr>
            <p:nvPr/>
          </p:nvSpPr>
          <p:spPr bwMode="auto">
            <a:xfrm>
              <a:off x="10469563" y="987425"/>
              <a:ext cx="219075" cy="280988"/>
            </a:xfrm>
            <a:custGeom>
              <a:avLst/>
              <a:gdLst>
                <a:gd name="T0" fmla="*/ 27 w 229"/>
                <a:gd name="T1" fmla="*/ 210 h 294"/>
                <a:gd name="T2" fmla="*/ 91 w 229"/>
                <a:gd name="T3" fmla="*/ 289 h 294"/>
                <a:gd name="T4" fmla="*/ 137 w 229"/>
                <a:gd name="T5" fmla="*/ 289 h 294"/>
                <a:gd name="T6" fmla="*/ 201 w 229"/>
                <a:gd name="T7" fmla="*/ 210 h 294"/>
                <a:gd name="T8" fmla="*/ 220 w 229"/>
                <a:gd name="T9" fmla="*/ 178 h 294"/>
                <a:gd name="T10" fmla="*/ 211 w 229"/>
                <a:gd name="T11" fmla="*/ 141 h 294"/>
                <a:gd name="T12" fmla="*/ 215 w 229"/>
                <a:gd name="T13" fmla="*/ 127 h 294"/>
                <a:gd name="T14" fmla="*/ 186 w 229"/>
                <a:gd name="T15" fmla="*/ 37 h 294"/>
                <a:gd name="T16" fmla="*/ 161 w 229"/>
                <a:gd name="T17" fmla="*/ 13 h 294"/>
                <a:gd name="T18" fmla="*/ 108 w 229"/>
                <a:gd name="T19" fmla="*/ 2 h 294"/>
                <a:gd name="T20" fmla="*/ 87 w 229"/>
                <a:gd name="T21" fmla="*/ 6 h 294"/>
                <a:gd name="T22" fmla="*/ 64 w 229"/>
                <a:gd name="T23" fmla="*/ 18 h 294"/>
                <a:gd name="T24" fmla="*/ 40 w 229"/>
                <a:gd name="T25" fmla="*/ 37 h 294"/>
                <a:gd name="T26" fmla="*/ 15 w 229"/>
                <a:gd name="T27" fmla="*/ 83 h 294"/>
                <a:gd name="T28" fmla="*/ 15 w 229"/>
                <a:gd name="T29" fmla="*/ 127 h 294"/>
                <a:gd name="T30" fmla="*/ 19 w 229"/>
                <a:gd name="T31" fmla="*/ 141 h 294"/>
                <a:gd name="T32" fmla="*/ 10 w 229"/>
                <a:gd name="T33" fmla="*/ 178 h 294"/>
                <a:gd name="T34" fmla="*/ 27 w 229"/>
                <a:gd name="T35" fmla="*/ 210 h 294"/>
                <a:gd name="T36" fmla="*/ 27 w 229"/>
                <a:gd name="T37" fmla="*/ 210 h 294"/>
                <a:gd name="T38" fmla="*/ 27 w 229"/>
                <a:gd name="T39" fmla="*/ 210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29" h="294">
                  <a:moveTo>
                    <a:pt x="27" y="210"/>
                  </a:moveTo>
                  <a:cubicBezTo>
                    <a:pt x="31" y="239"/>
                    <a:pt x="54" y="276"/>
                    <a:pt x="91" y="289"/>
                  </a:cubicBezTo>
                  <a:cubicBezTo>
                    <a:pt x="106" y="294"/>
                    <a:pt x="122" y="294"/>
                    <a:pt x="137" y="289"/>
                  </a:cubicBezTo>
                  <a:cubicBezTo>
                    <a:pt x="174" y="276"/>
                    <a:pt x="197" y="239"/>
                    <a:pt x="201" y="210"/>
                  </a:cubicBezTo>
                  <a:cubicBezTo>
                    <a:pt x="206" y="209"/>
                    <a:pt x="213" y="202"/>
                    <a:pt x="220" y="178"/>
                  </a:cubicBezTo>
                  <a:cubicBezTo>
                    <a:pt x="229" y="144"/>
                    <a:pt x="219" y="140"/>
                    <a:pt x="211" y="141"/>
                  </a:cubicBezTo>
                  <a:cubicBezTo>
                    <a:pt x="212" y="136"/>
                    <a:pt x="214" y="131"/>
                    <a:pt x="215" y="127"/>
                  </a:cubicBezTo>
                  <a:cubicBezTo>
                    <a:pt x="229" y="40"/>
                    <a:pt x="186" y="37"/>
                    <a:pt x="186" y="37"/>
                  </a:cubicBezTo>
                  <a:cubicBezTo>
                    <a:pt x="186" y="37"/>
                    <a:pt x="179" y="24"/>
                    <a:pt x="161" y="13"/>
                  </a:cubicBezTo>
                  <a:cubicBezTo>
                    <a:pt x="148" y="6"/>
                    <a:pt x="131" y="0"/>
                    <a:pt x="108" y="2"/>
                  </a:cubicBezTo>
                  <a:cubicBezTo>
                    <a:pt x="101" y="2"/>
                    <a:pt x="94" y="4"/>
                    <a:pt x="87" y="6"/>
                  </a:cubicBezTo>
                  <a:cubicBezTo>
                    <a:pt x="79" y="9"/>
                    <a:pt x="71" y="13"/>
                    <a:pt x="64" y="18"/>
                  </a:cubicBezTo>
                  <a:cubicBezTo>
                    <a:pt x="55" y="23"/>
                    <a:pt x="47" y="30"/>
                    <a:pt x="40" y="37"/>
                  </a:cubicBezTo>
                  <a:cubicBezTo>
                    <a:pt x="29" y="49"/>
                    <a:pt x="19" y="64"/>
                    <a:pt x="15" y="83"/>
                  </a:cubicBezTo>
                  <a:cubicBezTo>
                    <a:pt x="11" y="96"/>
                    <a:pt x="12" y="111"/>
                    <a:pt x="15" y="127"/>
                  </a:cubicBezTo>
                  <a:cubicBezTo>
                    <a:pt x="16" y="131"/>
                    <a:pt x="17" y="136"/>
                    <a:pt x="19" y="141"/>
                  </a:cubicBezTo>
                  <a:cubicBezTo>
                    <a:pt x="10" y="140"/>
                    <a:pt x="0" y="145"/>
                    <a:pt x="10" y="178"/>
                  </a:cubicBezTo>
                  <a:cubicBezTo>
                    <a:pt x="15" y="202"/>
                    <a:pt x="22" y="209"/>
                    <a:pt x="27" y="210"/>
                  </a:cubicBezTo>
                  <a:close/>
                  <a:moveTo>
                    <a:pt x="27" y="210"/>
                  </a:moveTo>
                  <a:cubicBezTo>
                    <a:pt x="27" y="210"/>
                    <a:pt x="27" y="210"/>
                    <a:pt x="27" y="21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grpSp>
        <p:nvGrpSpPr>
          <p:cNvPr id="22" name="Group 27">
            <a:extLst>
              <a:ext uri="{FF2B5EF4-FFF2-40B4-BE49-F238E27FC236}">
                <a16:creationId xmlns:a16="http://schemas.microsoft.com/office/drawing/2014/main" id="{500C971C-C461-4702-BFBE-7A556C3AE7AC}"/>
              </a:ext>
            </a:extLst>
          </p:cNvPr>
          <p:cNvGrpSpPr/>
          <p:nvPr/>
        </p:nvGrpSpPr>
        <p:grpSpPr>
          <a:xfrm>
            <a:off x="6161120" y="5412885"/>
            <a:ext cx="492967" cy="492457"/>
            <a:chOff x="12017376" y="-1597026"/>
            <a:chExt cx="1535113" cy="1533525"/>
          </a:xfrm>
          <a:solidFill>
            <a:schemeClr val="tx1"/>
          </a:solidFill>
        </p:grpSpPr>
        <p:sp>
          <p:nvSpPr>
            <p:cNvPr id="23" name="Freeform 76">
              <a:extLst>
                <a:ext uri="{FF2B5EF4-FFF2-40B4-BE49-F238E27FC236}">
                  <a16:creationId xmlns:a16="http://schemas.microsoft.com/office/drawing/2014/main" id="{7CC95F22-E6F7-4070-8080-0B7DF9013270}"/>
                </a:ext>
              </a:extLst>
            </p:cNvPr>
            <p:cNvSpPr>
              <a:spLocks noEditPoints="1"/>
            </p:cNvSpPr>
            <p:nvPr/>
          </p:nvSpPr>
          <p:spPr bwMode="auto">
            <a:xfrm>
              <a:off x="12017376" y="-1597026"/>
              <a:ext cx="1535113" cy="1533525"/>
            </a:xfrm>
            <a:custGeom>
              <a:avLst/>
              <a:gdLst>
                <a:gd name="T0" fmla="*/ 1564 w 1612"/>
                <a:gd name="T1" fmla="*/ 1389 h 1611"/>
                <a:gd name="T2" fmla="*/ 1243 w 1612"/>
                <a:gd name="T3" fmla="*/ 1069 h 1611"/>
                <a:gd name="T4" fmla="*/ 1220 w 1612"/>
                <a:gd name="T5" fmla="*/ 1092 h 1611"/>
                <a:gd name="T6" fmla="*/ 1185 w 1612"/>
                <a:gd name="T7" fmla="*/ 1056 h 1611"/>
                <a:gd name="T8" fmla="*/ 1125 w 1612"/>
                <a:gd name="T9" fmla="*/ 243 h 1611"/>
                <a:gd name="T10" fmla="*/ 243 w 1612"/>
                <a:gd name="T11" fmla="*/ 243 h 1611"/>
                <a:gd name="T12" fmla="*/ 243 w 1612"/>
                <a:gd name="T13" fmla="*/ 1125 h 1611"/>
                <a:gd name="T14" fmla="*/ 1057 w 1612"/>
                <a:gd name="T15" fmla="*/ 1184 h 1611"/>
                <a:gd name="T16" fmla="*/ 1092 w 1612"/>
                <a:gd name="T17" fmla="*/ 1220 h 1611"/>
                <a:gd name="T18" fmla="*/ 1069 w 1612"/>
                <a:gd name="T19" fmla="*/ 1243 h 1611"/>
                <a:gd name="T20" fmla="*/ 1390 w 1612"/>
                <a:gd name="T21" fmla="*/ 1563 h 1611"/>
                <a:gd name="T22" fmla="*/ 1564 w 1612"/>
                <a:gd name="T23" fmla="*/ 1563 h 1611"/>
                <a:gd name="T24" fmla="*/ 1564 w 1612"/>
                <a:gd name="T25" fmla="*/ 1389 h 1611"/>
                <a:gd name="T26" fmla="*/ 990 w 1612"/>
                <a:gd name="T27" fmla="*/ 989 h 1611"/>
                <a:gd name="T28" fmla="*/ 379 w 1612"/>
                <a:gd name="T29" fmla="*/ 989 h 1611"/>
                <a:gd name="T30" fmla="*/ 379 w 1612"/>
                <a:gd name="T31" fmla="*/ 379 h 1611"/>
                <a:gd name="T32" fmla="*/ 990 w 1612"/>
                <a:gd name="T33" fmla="*/ 379 h 1611"/>
                <a:gd name="T34" fmla="*/ 990 w 1612"/>
                <a:gd name="T35" fmla="*/ 989 h 1611"/>
                <a:gd name="T36" fmla="*/ 990 w 1612"/>
                <a:gd name="T37" fmla="*/ 989 h 1611"/>
                <a:gd name="T38" fmla="*/ 990 w 1612"/>
                <a:gd name="T39" fmla="*/ 989 h 16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612" h="1611">
                  <a:moveTo>
                    <a:pt x="1564" y="1389"/>
                  </a:moveTo>
                  <a:cubicBezTo>
                    <a:pt x="1243" y="1069"/>
                    <a:pt x="1243" y="1069"/>
                    <a:pt x="1243" y="1069"/>
                  </a:cubicBezTo>
                  <a:cubicBezTo>
                    <a:pt x="1220" y="1092"/>
                    <a:pt x="1220" y="1092"/>
                    <a:pt x="1220" y="1092"/>
                  </a:cubicBezTo>
                  <a:cubicBezTo>
                    <a:pt x="1185" y="1056"/>
                    <a:pt x="1185" y="1056"/>
                    <a:pt x="1185" y="1056"/>
                  </a:cubicBezTo>
                  <a:cubicBezTo>
                    <a:pt x="1367" y="812"/>
                    <a:pt x="1347" y="465"/>
                    <a:pt x="1125" y="243"/>
                  </a:cubicBezTo>
                  <a:cubicBezTo>
                    <a:pt x="882" y="0"/>
                    <a:pt x="487" y="0"/>
                    <a:pt x="243" y="243"/>
                  </a:cubicBezTo>
                  <a:cubicBezTo>
                    <a:pt x="0" y="487"/>
                    <a:pt x="0" y="882"/>
                    <a:pt x="243" y="1125"/>
                  </a:cubicBezTo>
                  <a:cubicBezTo>
                    <a:pt x="465" y="1347"/>
                    <a:pt x="812" y="1366"/>
                    <a:pt x="1057" y="1184"/>
                  </a:cubicBezTo>
                  <a:cubicBezTo>
                    <a:pt x="1092" y="1220"/>
                    <a:pt x="1092" y="1220"/>
                    <a:pt x="1092" y="1220"/>
                  </a:cubicBezTo>
                  <a:cubicBezTo>
                    <a:pt x="1069" y="1243"/>
                    <a:pt x="1069" y="1243"/>
                    <a:pt x="1069" y="1243"/>
                  </a:cubicBezTo>
                  <a:cubicBezTo>
                    <a:pt x="1390" y="1563"/>
                    <a:pt x="1390" y="1563"/>
                    <a:pt x="1390" y="1563"/>
                  </a:cubicBezTo>
                  <a:cubicBezTo>
                    <a:pt x="1438" y="1611"/>
                    <a:pt x="1516" y="1611"/>
                    <a:pt x="1564" y="1563"/>
                  </a:cubicBezTo>
                  <a:cubicBezTo>
                    <a:pt x="1612" y="1516"/>
                    <a:pt x="1612" y="1438"/>
                    <a:pt x="1564" y="1389"/>
                  </a:cubicBezTo>
                  <a:close/>
                  <a:moveTo>
                    <a:pt x="990" y="989"/>
                  </a:moveTo>
                  <a:cubicBezTo>
                    <a:pt x="821" y="1158"/>
                    <a:pt x="547" y="1158"/>
                    <a:pt x="379" y="989"/>
                  </a:cubicBezTo>
                  <a:cubicBezTo>
                    <a:pt x="210" y="821"/>
                    <a:pt x="210" y="547"/>
                    <a:pt x="379" y="379"/>
                  </a:cubicBezTo>
                  <a:cubicBezTo>
                    <a:pt x="547" y="210"/>
                    <a:pt x="821" y="210"/>
                    <a:pt x="990" y="379"/>
                  </a:cubicBezTo>
                  <a:cubicBezTo>
                    <a:pt x="1158" y="547"/>
                    <a:pt x="1158" y="821"/>
                    <a:pt x="990" y="989"/>
                  </a:cubicBezTo>
                  <a:close/>
                  <a:moveTo>
                    <a:pt x="990" y="989"/>
                  </a:moveTo>
                  <a:cubicBezTo>
                    <a:pt x="990" y="989"/>
                    <a:pt x="990" y="989"/>
                    <a:pt x="990" y="98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4" name="Freeform 77">
              <a:extLst>
                <a:ext uri="{FF2B5EF4-FFF2-40B4-BE49-F238E27FC236}">
                  <a16:creationId xmlns:a16="http://schemas.microsoft.com/office/drawing/2014/main" id="{48A97C7A-B997-4054-93BD-B5E036070FDB}"/>
                </a:ext>
              </a:extLst>
            </p:cNvPr>
            <p:cNvSpPr>
              <a:spLocks noEditPoints="1"/>
            </p:cNvSpPr>
            <p:nvPr/>
          </p:nvSpPr>
          <p:spPr bwMode="auto">
            <a:xfrm>
              <a:off x="12511088" y="-1257300"/>
              <a:ext cx="312738" cy="400050"/>
            </a:xfrm>
            <a:custGeom>
              <a:avLst/>
              <a:gdLst>
                <a:gd name="T0" fmla="*/ 40 w 328"/>
                <a:gd name="T1" fmla="*/ 298 h 419"/>
                <a:gd name="T2" fmla="*/ 131 w 328"/>
                <a:gd name="T3" fmla="*/ 411 h 419"/>
                <a:gd name="T4" fmla="*/ 197 w 328"/>
                <a:gd name="T5" fmla="*/ 411 h 419"/>
                <a:gd name="T6" fmla="*/ 288 w 328"/>
                <a:gd name="T7" fmla="*/ 299 h 419"/>
                <a:gd name="T8" fmla="*/ 314 w 328"/>
                <a:gd name="T9" fmla="*/ 254 h 419"/>
                <a:gd name="T10" fmla="*/ 301 w 328"/>
                <a:gd name="T11" fmla="*/ 200 h 419"/>
                <a:gd name="T12" fmla="*/ 307 w 328"/>
                <a:gd name="T13" fmla="*/ 181 h 419"/>
                <a:gd name="T14" fmla="*/ 266 w 328"/>
                <a:gd name="T15" fmla="*/ 53 h 419"/>
                <a:gd name="T16" fmla="*/ 230 w 328"/>
                <a:gd name="T17" fmla="*/ 19 h 419"/>
                <a:gd name="T18" fmla="*/ 155 w 328"/>
                <a:gd name="T19" fmla="*/ 3 h 419"/>
                <a:gd name="T20" fmla="*/ 125 w 328"/>
                <a:gd name="T21" fmla="*/ 9 h 419"/>
                <a:gd name="T22" fmla="*/ 92 w 328"/>
                <a:gd name="T23" fmla="*/ 26 h 419"/>
                <a:gd name="T24" fmla="*/ 58 w 328"/>
                <a:gd name="T25" fmla="*/ 54 h 419"/>
                <a:gd name="T26" fmla="*/ 21 w 328"/>
                <a:gd name="T27" fmla="*/ 118 h 419"/>
                <a:gd name="T28" fmla="*/ 22 w 328"/>
                <a:gd name="T29" fmla="*/ 181 h 419"/>
                <a:gd name="T30" fmla="*/ 27 w 328"/>
                <a:gd name="T31" fmla="*/ 200 h 419"/>
                <a:gd name="T32" fmla="*/ 14 w 328"/>
                <a:gd name="T33" fmla="*/ 254 h 419"/>
                <a:gd name="T34" fmla="*/ 40 w 328"/>
                <a:gd name="T35" fmla="*/ 298 h 419"/>
                <a:gd name="T36" fmla="*/ 40 w 328"/>
                <a:gd name="T37" fmla="*/ 298 h 419"/>
                <a:gd name="T38" fmla="*/ 40 w 328"/>
                <a:gd name="T39" fmla="*/ 298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28" h="419">
                  <a:moveTo>
                    <a:pt x="40" y="298"/>
                  </a:moveTo>
                  <a:cubicBezTo>
                    <a:pt x="46" y="340"/>
                    <a:pt x="78" y="392"/>
                    <a:pt x="131" y="411"/>
                  </a:cubicBezTo>
                  <a:cubicBezTo>
                    <a:pt x="152" y="419"/>
                    <a:pt x="176" y="419"/>
                    <a:pt x="197" y="411"/>
                  </a:cubicBezTo>
                  <a:cubicBezTo>
                    <a:pt x="249" y="392"/>
                    <a:pt x="282" y="340"/>
                    <a:pt x="288" y="299"/>
                  </a:cubicBezTo>
                  <a:cubicBezTo>
                    <a:pt x="295" y="298"/>
                    <a:pt x="304" y="288"/>
                    <a:pt x="314" y="254"/>
                  </a:cubicBezTo>
                  <a:cubicBezTo>
                    <a:pt x="328" y="206"/>
                    <a:pt x="313" y="199"/>
                    <a:pt x="301" y="200"/>
                  </a:cubicBezTo>
                  <a:cubicBezTo>
                    <a:pt x="304" y="193"/>
                    <a:pt x="306" y="187"/>
                    <a:pt x="307" y="181"/>
                  </a:cubicBezTo>
                  <a:cubicBezTo>
                    <a:pt x="327" y="57"/>
                    <a:pt x="266" y="53"/>
                    <a:pt x="266" y="53"/>
                  </a:cubicBezTo>
                  <a:cubicBezTo>
                    <a:pt x="266" y="53"/>
                    <a:pt x="256" y="34"/>
                    <a:pt x="230" y="19"/>
                  </a:cubicBezTo>
                  <a:cubicBezTo>
                    <a:pt x="212" y="8"/>
                    <a:pt x="187" y="0"/>
                    <a:pt x="155" y="3"/>
                  </a:cubicBezTo>
                  <a:cubicBezTo>
                    <a:pt x="144" y="4"/>
                    <a:pt x="134" y="6"/>
                    <a:pt x="125" y="9"/>
                  </a:cubicBezTo>
                  <a:cubicBezTo>
                    <a:pt x="113" y="13"/>
                    <a:pt x="102" y="19"/>
                    <a:pt x="92" y="26"/>
                  </a:cubicBezTo>
                  <a:cubicBezTo>
                    <a:pt x="80" y="33"/>
                    <a:pt x="68" y="43"/>
                    <a:pt x="58" y="54"/>
                  </a:cubicBezTo>
                  <a:cubicBezTo>
                    <a:pt x="42" y="70"/>
                    <a:pt x="27" y="91"/>
                    <a:pt x="21" y="118"/>
                  </a:cubicBezTo>
                  <a:cubicBezTo>
                    <a:pt x="16" y="138"/>
                    <a:pt x="17" y="158"/>
                    <a:pt x="22" y="181"/>
                  </a:cubicBezTo>
                  <a:cubicBezTo>
                    <a:pt x="23" y="187"/>
                    <a:pt x="25" y="194"/>
                    <a:pt x="27" y="200"/>
                  </a:cubicBezTo>
                  <a:cubicBezTo>
                    <a:pt x="15" y="199"/>
                    <a:pt x="0" y="206"/>
                    <a:pt x="14" y="254"/>
                  </a:cubicBezTo>
                  <a:cubicBezTo>
                    <a:pt x="24" y="288"/>
                    <a:pt x="33" y="298"/>
                    <a:pt x="40" y="298"/>
                  </a:cubicBezTo>
                  <a:close/>
                  <a:moveTo>
                    <a:pt x="40" y="298"/>
                  </a:moveTo>
                  <a:cubicBezTo>
                    <a:pt x="40" y="298"/>
                    <a:pt x="40" y="298"/>
                    <a:pt x="40" y="29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5" name="Freeform 78">
              <a:extLst>
                <a:ext uri="{FF2B5EF4-FFF2-40B4-BE49-F238E27FC236}">
                  <a16:creationId xmlns:a16="http://schemas.microsoft.com/office/drawing/2014/main" id="{963FF6CC-DE92-48DB-93C0-E1C2AF9345C3}"/>
                </a:ext>
              </a:extLst>
            </p:cNvPr>
            <p:cNvSpPr>
              <a:spLocks noEditPoints="1"/>
            </p:cNvSpPr>
            <p:nvPr/>
          </p:nvSpPr>
          <p:spPr bwMode="auto">
            <a:xfrm>
              <a:off x="12396788" y="-866775"/>
              <a:ext cx="544513" cy="292100"/>
            </a:xfrm>
            <a:custGeom>
              <a:avLst/>
              <a:gdLst>
                <a:gd name="T0" fmla="*/ 506 w 572"/>
                <a:gd name="T1" fmla="*/ 56 h 306"/>
                <a:gd name="T2" fmla="*/ 390 w 572"/>
                <a:gd name="T3" fmla="*/ 0 h 306"/>
                <a:gd name="T4" fmla="*/ 334 w 572"/>
                <a:gd name="T5" fmla="*/ 176 h 306"/>
                <a:gd name="T6" fmla="*/ 327 w 572"/>
                <a:gd name="T7" fmla="*/ 200 h 306"/>
                <a:gd name="T8" fmla="*/ 302 w 572"/>
                <a:gd name="T9" fmla="*/ 129 h 306"/>
                <a:gd name="T10" fmla="*/ 287 w 572"/>
                <a:gd name="T11" fmla="*/ 45 h 306"/>
                <a:gd name="T12" fmla="*/ 285 w 572"/>
                <a:gd name="T13" fmla="*/ 45 h 306"/>
                <a:gd name="T14" fmla="*/ 270 w 572"/>
                <a:gd name="T15" fmla="*/ 129 h 306"/>
                <a:gd name="T16" fmla="*/ 245 w 572"/>
                <a:gd name="T17" fmla="*/ 200 h 306"/>
                <a:gd name="T18" fmla="*/ 238 w 572"/>
                <a:gd name="T19" fmla="*/ 176 h 306"/>
                <a:gd name="T20" fmla="*/ 182 w 572"/>
                <a:gd name="T21" fmla="*/ 0 h 306"/>
                <a:gd name="T22" fmla="*/ 67 w 572"/>
                <a:gd name="T23" fmla="*/ 56 h 306"/>
                <a:gd name="T24" fmla="*/ 0 w 572"/>
                <a:gd name="T25" fmla="*/ 127 h 306"/>
                <a:gd name="T26" fmla="*/ 34 w 572"/>
                <a:gd name="T27" fmla="*/ 167 h 306"/>
                <a:gd name="T28" fmla="*/ 537 w 572"/>
                <a:gd name="T29" fmla="*/ 167 h 306"/>
                <a:gd name="T30" fmla="*/ 572 w 572"/>
                <a:gd name="T31" fmla="*/ 127 h 306"/>
                <a:gd name="T32" fmla="*/ 506 w 572"/>
                <a:gd name="T33" fmla="*/ 56 h 306"/>
                <a:gd name="T34" fmla="*/ 506 w 572"/>
                <a:gd name="T35" fmla="*/ 56 h 306"/>
                <a:gd name="T36" fmla="*/ 506 w 572"/>
                <a:gd name="T37" fmla="*/ 5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72" h="306">
                  <a:moveTo>
                    <a:pt x="506" y="56"/>
                  </a:moveTo>
                  <a:cubicBezTo>
                    <a:pt x="433" y="28"/>
                    <a:pt x="390" y="0"/>
                    <a:pt x="390" y="0"/>
                  </a:cubicBezTo>
                  <a:cubicBezTo>
                    <a:pt x="334" y="176"/>
                    <a:pt x="334" y="176"/>
                    <a:pt x="334" y="176"/>
                  </a:cubicBezTo>
                  <a:cubicBezTo>
                    <a:pt x="327" y="200"/>
                    <a:pt x="327" y="200"/>
                    <a:pt x="327" y="200"/>
                  </a:cubicBezTo>
                  <a:cubicBezTo>
                    <a:pt x="302" y="129"/>
                    <a:pt x="302" y="129"/>
                    <a:pt x="302" y="129"/>
                  </a:cubicBezTo>
                  <a:cubicBezTo>
                    <a:pt x="359" y="49"/>
                    <a:pt x="297" y="45"/>
                    <a:pt x="287" y="45"/>
                  </a:cubicBezTo>
                  <a:cubicBezTo>
                    <a:pt x="285" y="45"/>
                    <a:pt x="285" y="45"/>
                    <a:pt x="285" y="45"/>
                  </a:cubicBezTo>
                  <a:cubicBezTo>
                    <a:pt x="275" y="45"/>
                    <a:pt x="213" y="49"/>
                    <a:pt x="270" y="129"/>
                  </a:cubicBezTo>
                  <a:cubicBezTo>
                    <a:pt x="245" y="200"/>
                    <a:pt x="245" y="200"/>
                    <a:pt x="245" y="200"/>
                  </a:cubicBezTo>
                  <a:cubicBezTo>
                    <a:pt x="238" y="176"/>
                    <a:pt x="238" y="176"/>
                    <a:pt x="238" y="176"/>
                  </a:cubicBezTo>
                  <a:cubicBezTo>
                    <a:pt x="182" y="0"/>
                    <a:pt x="182" y="0"/>
                    <a:pt x="182" y="0"/>
                  </a:cubicBezTo>
                  <a:cubicBezTo>
                    <a:pt x="182" y="0"/>
                    <a:pt x="139" y="28"/>
                    <a:pt x="67" y="56"/>
                  </a:cubicBezTo>
                  <a:cubicBezTo>
                    <a:pt x="28" y="70"/>
                    <a:pt x="9" y="93"/>
                    <a:pt x="0" y="127"/>
                  </a:cubicBezTo>
                  <a:cubicBezTo>
                    <a:pt x="10" y="141"/>
                    <a:pt x="21" y="155"/>
                    <a:pt x="34" y="167"/>
                  </a:cubicBezTo>
                  <a:cubicBezTo>
                    <a:pt x="173" y="306"/>
                    <a:pt x="398" y="306"/>
                    <a:pt x="537" y="167"/>
                  </a:cubicBezTo>
                  <a:cubicBezTo>
                    <a:pt x="550" y="154"/>
                    <a:pt x="561" y="141"/>
                    <a:pt x="572" y="127"/>
                  </a:cubicBezTo>
                  <a:cubicBezTo>
                    <a:pt x="563" y="93"/>
                    <a:pt x="544" y="70"/>
                    <a:pt x="506" y="56"/>
                  </a:cubicBezTo>
                  <a:close/>
                  <a:moveTo>
                    <a:pt x="506" y="56"/>
                  </a:moveTo>
                  <a:cubicBezTo>
                    <a:pt x="506" y="56"/>
                    <a:pt x="506" y="56"/>
                    <a:pt x="506" y="5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grpSp>
        <p:nvGrpSpPr>
          <p:cNvPr id="26" name="Group 31">
            <a:extLst>
              <a:ext uri="{FF2B5EF4-FFF2-40B4-BE49-F238E27FC236}">
                <a16:creationId xmlns:a16="http://schemas.microsoft.com/office/drawing/2014/main" id="{9654E69E-B219-47EA-AFA8-5D89145057E4}"/>
              </a:ext>
            </a:extLst>
          </p:cNvPr>
          <p:cNvGrpSpPr/>
          <p:nvPr/>
        </p:nvGrpSpPr>
        <p:grpSpPr>
          <a:xfrm>
            <a:off x="6161868" y="2273390"/>
            <a:ext cx="491473" cy="294779"/>
            <a:chOff x="8513763" y="333375"/>
            <a:chExt cx="1487488" cy="892175"/>
          </a:xfrm>
          <a:solidFill>
            <a:schemeClr val="tx1"/>
          </a:solidFill>
        </p:grpSpPr>
        <p:sp>
          <p:nvSpPr>
            <p:cNvPr id="27" name="Freeform 79">
              <a:extLst>
                <a:ext uri="{FF2B5EF4-FFF2-40B4-BE49-F238E27FC236}">
                  <a16:creationId xmlns:a16="http://schemas.microsoft.com/office/drawing/2014/main" id="{92C37C49-9B24-4CD0-952F-72D6A1E63BAB}"/>
                </a:ext>
              </a:extLst>
            </p:cNvPr>
            <p:cNvSpPr>
              <a:spLocks noEditPoints="1"/>
            </p:cNvSpPr>
            <p:nvPr/>
          </p:nvSpPr>
          <p:spPr bwMode="auto">
            <a:xfrm>
              <a:off x="9061451" y="333375"/>
              <a:ext cx="392113" cy="438150"/>
            </a:xfrm>
            <a:custGeom>
              <a:avLst/>
              <a:gdLst>
                <a:gd name="T0" fmla="*/ 205 w 412"/>
                <a:gd name="T1" fmla="*/ 460 h 460"/>
                <a:gd name="T2" fmla="*/ 207 w 412"/>
                <a:gd name="T3" fmla="*/ 460 h 460"/>
                <a:gd name="T4" fmla="*/ 383 w 412"/>
                <a:gd name="T5" fmla="*/ 183 h 460"/>
                <a:gd name="T6" fmla="*/ 206 w 412"/>
                <a:gd name="T7" fmla="*/ 3 h 460"/>
                <a:gd name="T8" fmla="*/ 29 w 412"/>
                <a:gd name="T9" fmla="*/ 183 h 460"/>
                <a:gd name="T10" fmla="*/ 205 w 412"/>
                <a:gd name="T11" fmla="*/ 460 h 460"/>
                <a:gd name="T12" fmla="*/ 205 w 412"/>
                <a:gd name="T13" fmla="*/ 460 h 460"/>
                <a:gd name="T14" fmla="*/ 205 w 412"/>
                <a:gd name="T15" fmla="*/ 460 h 4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2" h="460">
                  <a:moveTo>
                    <a:pt x="205" y="460"/>
                  </a:moveTo>
                  <a:cubicBezTo>
                    <a:pt x="207" y="460"/>
                    <a:pt x="207" y="460"/>
                    <a:pt x="207" y="460"/>
                  </a:cubicBezTo>
                  <a:cubicBezTo>
                    <a:pt x="412" y="457"/>
                    <a:pt x="383" y="183"/>
                    <a:pt x="383" y="183"/>
                  </a:cubicBezTo>
                  <a:cubicBezTo>
                    <a:pt x="374" y="0"/>
                    <a:pt x="221" y="2"/>
                    <a:pt x="206" y="3"/>
                  </a:cubicBezTo>
                  <a:cubicBezTo>
                    <a:pt x="191" y="2"/>
                    <a:pt x="38" y="0"/>
                    <a:pt x="29" y="183"/>
                  </a:cubicBezTo>
                  <a:cubicBezTo>
                    <a:pt x="29" y="184"/>
                    <a:pt x="0" y="458"/>
                    <a:pt x="205" y="460"/>
                  </a:cubicBezTo>
                  <a:close/>
                  <a:moveTo>
                    <a:pt x="205" y="460"/>
                  </a:moveTo>
                  <a:cubicBezTo>
                    <a:pt x="205" y="460"/>
                    <a:pt x="205" y="460"/>
                    <a:pt x="205" y="46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8" name="Freeform 80">
              <a:extLst>
                <a:ext uri="{FF2B5EF4-FFF2-40B4-BE49-F238E27FC236}">
                  <a16:creationId xmlns:a16="http://schemas.microsoft.com/office/drawing/2014/main" id="{B4ED7D15-1DD6-4343-B2BA-3F4A61BB4C07}"/>
                </a:ext>
              </a:extLst>
            </p:cNvPr>
            <p:cNvSpPr>
              <a:spLocks noEditPoints="1"/>
            </p:cNvSpPr>
            <p:nvPr/>
          </p:nvSpPr>
          <p:spPr bwMode="auto">
            <a:xfrm>
              <a:off x="9555163" y="508000"/>
              <a:ext cx="315913" cy="352425"/>
            </a:xfrm>
            <a:custGeom>
              <a:avLst/>
              <a:gdLst>
                <a:gd name="T0" fmla="*/ 165 w 331"/>
                <a:gd name="T1" fmla="*/ 369 h 369"/>
                <a:gd name="T2" fmla="*/ 167 w 331"/>
                <a:gd name="T3" fmla="*/ 369 h 369"/>
                <a:gd name="T4" fmla="*/ 308 w 331"/>
                <a:gd name="T5" fmla="*/ 147 h 369"/>
                <a:gd name="T6" fmla="*/ 166 w 331"/>
                <a:gd name="T7" fmla="*/ 1 h 369"/>
                <a:gd name="T8" fmla="*/ 24 w 331"/>
                <a:gd name="T9" fmla="*/ 147 h 369"/>
                <a:gd name="T10" fmla="*/ 165 w 331"/>
                <a:gd name="T11" fmla="*/ 369 h 369"/>
                <a:gd name="T12" fmla="*/ 165 w 331"/>
                <a:gd name="T13" fmla="*/ 369 h 369"/>
                <a:gd name="T14" fmla="*/ 165 w 331"/>
                <a:gd name="T15" fmla="*/ 369 h 3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1" h="369">
                  <a:moveTo>
                    <a:pt x="165" y="369"/>
                  </a:moveTo>
                  <a:cubicBezTo>
                    <a:pt x="167" y="369"/>
                    <a:pt x="167" y="369"/>
                    <a:pt x="167" y="369"/>
                  </a:cubicBezTo>
                  <a:cubicBezTo>
                    <a:pt x="331" y="367"/>
                    <a:pt x="308" y="147"/>
                    <a:pt x="308" y="147"/>
                  </a:cubicBezTo>
                  <a:cubicBezTo>
                    <a:pt x="301" y="0"/>
                    <a:pt x="178" y="1"/>
                    <a:pt x="166" y="1"/>
                  </a:cubicBezTo>
                  <a:cubicBezTo>
                    <a:pt x="154" y="1"/>
                    <a:pt x="30" y="0"/>
                    <a:pt x="24" y="147"/>
                  </a:cubicBezTo>
                  <a:cubicBezTo>
                    <a:pt x="24" y="147"/>
                    <a:pt x="0" y="367"/>
                    <a:pt x="165" y="369"/>
                  </a:cubicBezTo>
                  <a:close/>
                  <a:moveTo>
                    <a:pt x="165" y="369"/>
                  </a:moveTo>
                  <a:cubicBezTo>
                    <a:pt x="165" y="369"/>
                    <a:pt x="165" y="369"/>
                    <a:pt x="165" y="36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9" name="Freeform 81">
              <a:extLst>
                <a:ext uri="{FF2B5EF4-FFF2-40B4-BE49-F238E27FC236}">
                  <a16:creationId xmlns:a16="http://schemas.microsoft.com/office/drawing/2014/main" id="{F69516B9-72F0-443A-B4EC-2A6DAA32B49F}"/>
                </a:ext>
              </a:extLst>
            </p:cNvPr>
            <p:cNvSpPr>
              <a:spLocks noEditPoints="1"/>
            </p:cNvSpPr>
            <p:nvPr/>
          </p:nvSpPr>
          <p:spPr bwMode="auto">
            <a:xfrm>
              <a:off x="8513763" y="814387"/>
              <a:ext cx="1487488" cy="411163"/>
            </a:xfrm>
            <a:custGeom>
              <a:avLst/>
              <a:gdLst>
                <a:gd name="T0" fmla="*/ 1562 w 1562"/>
                <a:gd name="T1" fmla="*/ 271 h 431"/>
                <a:gd name="T2" fmla="*/ 1503 w 1562"/>
                <a:gd name="T3" fmla="*/ 161 h 431"/>
                <a:gd name="T4" fmla="*/ 1367 w 1562"/>
                <a:gd name="T5" fmla="*/ 85 h 431"/>
                <a:gd name="T6" fmla="*/ 1310 w 1562"/>
                <a:gd name="T7" fmla="*/ 267 h 431"/>
                <a:gd name="T8" fmla="*/ 1276 w 1562"/>
                <a:gd name="T9" fmla="*/ 171 h 431"/>
                <a:gd name="T10" fmla="*/ 1261 w 1562"/>
                <a:gd name="T11" fmla="*/ 85 h 431"/>
                <a:gd name="T12" fmla="*/ 1260 w 1562"/>
                <a:gd name="T13" fmla="*/ 85 h 431"/>
                <a:gd name="T14" fmla="*/ 1245 w 1562"/>
                <a:gd name="T15" fmla="*/ 171 h 431"/>
                <a:gd name="T16" fmla="*/ 1212 w 1562"/>
                <a:gd name="T17" fmla="*/ 266 h 431"/>
                <a:gd name="T18" fmla="*/ 1154 w 1562"/>
                <a:gd name="T19" fmla="*/ 85 h 431"/>
                <a:gd name="T20" fmla="*/ 1105 w 1562"/>
                <a:gd name="T21" fmla="*/ 110 h 431"/>
                <a:gd name="T22" fmla="*/ 1083 w 1562"/>
                <a:gd name="T23" fmla="*/ 94 h 431"/>
                <a:gd name="T24" fmla="*/ 914 w 1562"/>
                <a:gd name="T25" fmla="*/ 1 h 431"/>
                <a:gd name="T26" fmla="*/ 842 w 1562"/>
                <a:gd name="T27" fmla="*/ 226 h 431"/>
                <a:gd name="T28" fmla="*/ 801 w 1562"/>
                <a:gd name="T29" fmla="*/ 107 h 431"/>
                <a:gd name="T30" fmla="*/ 782 w 1562"/>
                <a:gd name="T31" fmla="*/ 0 h 431"/>
                <a:gd name="T32" fmla="*/ 781 w 1562"/>
                <a:gd name="T33" fmla="*/ 0 h 431"/>
                <a:gd name="T34" fmla="*/ 762 w 1562"/>
                <a:gd name="T35" fmla="*/ 107 h 431"/>
                <a:gd name="T36" fmla="*/ 720 w 1562"/>
                <a:gd name="T37" fmla="*/ 226 h 431"/>
                <a:gd name="T38" fmla="*/ 649 w 1562"/>
                <a:gd name="T39" fmla="*/ 1 h 431"/>
                <a:gd name="T40" fmla="*/ 480 w 1562"/>
                <a:gd name="T41" fmla="*/ 94 h 431"/>
                <a:gd name="T42" fmla="*/ 457 w 1562"/>
                <a:gd name="T43" fmla="*/ 111 h 431"/>
                <a:gd name="T44" fmla="*/ 407 w 1562"/>
                <a:gd name="T45" fmla="*/ 85 h 431"/>
                <a:gd name="T46" fmla="*/ 350 w 1562"/>
                <a:gd name="T47" fmla="*/ 266 h 431"/>
                <a:gd name="T48" fmla="*/ 317 w 1562"/>
                <a:gd name="T49" fmla="*/ 171 h 431"/>
                <a:gd name="T50" fmla="*/ 301 w 1562"/>
                <a:gd name="T51" fmla="*/ 85 h 431"/>
                <a:gd name="T52" fmla="*/ 301 w 1562"/>
                <a:gd name="T53" fmla="*/ 85 h 431"/>
                <a:gd name="T54" fmla="*/ 285 w 1562"/>
                <a:gd name="T55" fmla="*/ 171 h 431"/>
                <a:gd name="T56" fmla="*/ 252 w 1562"/>
                <a:gd name="T57" fmla="*/ 266 h 431"/>
                <a:gd name="T58" fmla="*/ 195 w 1562"/>
                <a:gd name="T59" fmla="*/ 85 h 431"/>
                <a:gd name="T60" fmla="*/ 58 w 1562"/>
                <a:gd name="T61" fmla="*/ 160 h 431"/>
                <a:gd name="T62" fmla="*/ 0 w 1562"/>
                <a:gd name="T63" fmla="*/ 271 h 431"/>
                <a:gd name="T64" fmla="*/ 0 w 1562"/>
                <a:gd name="T65" fmla="*/ 431 h 431"/>
                <a:gd name="T66" fmla="*/ 1562 w 1562"/>
                <a:gd name="T67" fmla="*/ 431 h 431"/>
                <a:gd name="T68" fmla="*/ 1562 w 1562"/>
                <a:gd name="T69" fmla="*/ 271 h 431"/>
                <a:gd name="T70" fmla="*/ 1562 w 1562"/>
                <a:gd name="T71" fmla="*/ 271 h 431"/>
                <a:gd name="T72" fmla="*/ 1562 w 1562"/>
                <a:gd name="T73" fmla="*/ 271 h 4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562" h="431">
                  <a:moveTo>
                    <a:pt x="1562" y="271"/>
                  </a:moveTo>
                  <a:cubicBezTo>
                    <a:pt x="1561" y="224"/>
                    <a:pt x="1552" y="191"/>
                    <a:pt x="1503" y="161"/>
                  </a:cubicBezTo>
                  <a:cubicBezTo>
                    <a:pt x="1439" y="120"/>
                    <a:pt x="1367" y="85"/>
                    <a:pt x="1367" y="85"/>
                  </a:cubicBezTo>
                  <a:cubicBezTo>
                    <a:pt x="1310" y="267"/>
                    <a:pt x="1310" y="267"/>
                    <a:pt x="1310" y="267"/>
                  </a:cubicBezTo>
                  <a:cubicBezTo>
                    <a:pt x="1276" y="171"/>
                    <a:pt x="1276" y="171"/>
                    <a:pt x="1276" y="171"/>
                  </a:cubicBezTo>
                  <a:cubicBezTo>
                    <a:pt x="1335" y="90"/>
                    <a:pt x="1272" y="85"/>
                    <a:pt x="1261" y="85"/>
                  </a:cubicBezTo>
                  <a:cubicBezTo>
                    <a:pt x="1260" y="85"/>
                    <a:pt x="1260" y="85"/>
                    <a:pt x="1260" y="85"/>
                  </a:cubicBezTo>
                  <a:cubicBezTo>
                    <a:pt x="1249" y="85"/>
                    <a:pt x="1186" y="90"/>
                    <a:pt x="1245" y="171"/>
                  </a:cubicBezTo>
                  <a:cubicBezTo>
                    <a:pt x="1212" y="266"/>
                    <a:pt x="1212" y="266"/>
                    <a:pt x="1212" y="266"/>
                  </a:cubicBezTo>
                  <a:cubicBezTo>
                    <a:pt x="1154" y="85"/>
                    <a:pt x="1154" y="85"/>
                    <a:pt x="1154" y="85"/>
                  </a:cubicBezTo>
                  <a:cubicBezTo>
                    <a:pt x="1154" y="85"/>
                    <a:pt x="1134" y="95"/>
                    <a:pt x="1105" y="110"/>
                  </a:cubicBezTo>
                  <a:cubicBezTo>
                    <a:pt x="1098" y="105"/>
                    <a:pt x="1091" y="99"/>
                    <a:pt x="1083" y="94"/>
                  </a:cubicBezTo>
                  <a:cubicBezTo>
                    <a:pt x="1003" y="44"/>
                    <a:pt x="914" y="1"/>
                    <a:pt x="914" y="1"/>
                  </a:cubicBezTo>
                  <a:cubicBezTo>
                    <a:pt x="842" y="226"/>
                    <a:pt x="842" y="226"/>
                    <a:pt x="842" y="226"/>
                  </a:cubicBezTo>
                  <a:cubicBezTo>
                    <a:pt x="801" y="107"/>
                    <a:pt x="801" y="107"/>
                    <a:pt x="801" y="107"/>
                  </a:cubicBezTo>
                  <a:cubicBezTo>
                    <a:pt x="874" y="6"/>
                    <a:pt x="796" y="1"/>
                    <a:pt x="782" y="0"/>
                  </a:cubicBezTo>
                  <a:cubicBezTo>
                    <a:pt x="781" y="0"/>
                    <a:pt x="781" y="0"/>
                    <a:pt x="781" y="0"/>
                  </a:cubicBezTo>
                  <a:cubicBezTo>
                    <a:pt x="767" y="0"/>
                    <a:pt x="689" y="5"/>
                    <a:pt x="762" y="107"/>
                  </a:cubicBezTo>
                  <a:cubicBezTo>
                    <a:pt x="720" y="226"/>
                    <a:pt x="720" y="226"/>
                    <a:pt x="720" y="226"/>
                  </a:cubicBezTo>
                  <a:cubicBezTo>
                    <a:pt x="649" y="1"/>
                    <a:pt x="649" y="1"/>
                    <a:pt x="649" y="1"/>
                  </a:cubicBezTo>
                  <a:cubicBezTo>
                    <a:pt x="649" y="1"/>
                    <a:pt x="560" y="44"/>
                    <a:pt x="480" y="94"/>
                  </a:cubicBezTo>
                  <a:cubicBezTo>
                    <a:pt x="471" y="100"/>
                    <a:pt x="464" y="105"/>
                    <a:pt x="457" y="111"/>
                  </a:cubicBezTo>
                  <a:cubicBezTo>
                    <a:pt x="428" y="95"/>
                    <a:pt x="407" y="85"/>
                    <a:pt x="407" y="85"/>
                  </a:cubicBezTo>
                  <a:cubicBezTo>
                    <a:pt x="350" y="266"/>
                    <a:pt x="350" y="266"/>
                    <a:pt x="350" y="266"/>
                  </a:cubicBezTo>
                  <a:cubicBezTo>
                    <a:pt x="317" y="171"/>
                    <a:pt x="317" y="171"/>
                    <a:pt x="317" y="171"/>
                  </a:cubicBezTo>
                  <a:cubicBezTo>
                    <a:pt x="375" y="90"/>
                    <a:pt x="313" y="85"/>
                    <a:pt x="301" y="85"/>
                  </a:cubicBezTo>
                  <a:cubicBezTo>
                    <a:pt x="301" y="85"/>
                    <a:pt x="301" y="85"/>
                    <a:pt x="301" y="85"/>
                  </a:cubicBezTo>
                  <a:cubicBezTo>
                    <a:pt x="290" y="85"/>
                    <a:pt x="227" y="90"/>
                    <a:pt x="285" y="171"/>
                  </a:cubicBezTo>
                  <a:cubicBezTo>
                    <a:pt x="252" y="266"/>
                    <a:pt x="252" y="266"/>
                    <a:pt x="252" y="266"/>
                  </a:cubicBezTo>
                  <a:cubicBezTo>
                    <a:pt x="195" y="85"/>
                    <a:pt x="195" y="85"/>
                    <a:pt x="195" y="85"/>
                  </a:cubicBezTo>
                  <a:cubicBezTo>
                    <a:pt x="195" y="85"/>
                    <a:pt x="123" y="120"/>
                    <a:pt x="58" y="160"/>
                  </a:cubicBezTo>
                  <a:cubicBezTo>
                    <a:pt x="10" y="191"/>
                    <a:pt x="1" y="224"/>
                    <a:pt x="0" y="271"/>
                  </a:cubicBezTo>
                  <a:cubicBezTo>
                    <a:pt x="0" y="431"/>
                    <a:pt x="0" y="431"/>
                    <a:pt x="0" y="431"/>
                  </a:cubicBezTo>
                  <a:cubicBezTo>
                    <a:pt x="1562" y="431"/>
                    <a:pt x="1562" y="431"/>
                    <a:pt x="1562" y="431"/>
                  </a:cubicBezTo>
                  <a:lnTo>
                    <a:pt x="1562" y="271"/>
                  </a:lnTo>
                  <a:close/>
                  <a:moveTo>
                    <a:pt x="1562" y="271"/>
                  </a:moveTo>
                  <a:cubicBezTo>
                    <a:pt x="1562" y="271"/>
                    <a:pt x="1562" y="271"/>
                    <a:pt x="1562" y="27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0" name="Freeform 82">
              <a:extLst>
                <a:ext uri="{FF2B5EF4-FFF2-40B4-BE49-F238E27FC236}">
                  <a16:creationId xmlns:a16="http://schemas.microsoft.com/office/drawing/2014/main" id="{C846B5E3-38A2-4327-8CAA-248BF4D2BAB3}"/>
                </a:ext>
              </a:extLst>
            </p:cNvPr>
            <p:cNvSpPr>
              <a:spLocks noEditPoints="1"/>
            </p:cNvSpPr>
            <p:nvPr/>
          </p:nvSpPr>
          <p:spPr bwMode="auto">
            <a:xfrm>
              <a:off x="8640763" y="508000"/>
              <a:ext cx="315913" cy="352425"/>
            </a:xfrm>
            <a:custGeom>
              <a:avLst/>
              <a:gdLst>
                <a:gd name="T0" fmla="*/ 165 w 332"/>
                <a:gd name="T1" fmla="*/ 369 h 369"/>
                <a:gd name="T2" fmla="*/ 167 w 332"/>
                <a:gd name="T3" fmla="*/ 369 h 369"/>
                <a:gd name="T4" fmla="*/ 308 w 332"/>
                <a:gd name="T5" fmla="*/ 147 h 369"/>
                <a:gd name="T6" fmla="*/ 166 w 332"/>
                <a:gd name="T7" fmla="*/ 1 h 369"/>
                <a:gd name="T8" fmla="*/ 24 w 332"/>
                <a:gd name="T9" fmla="*/ 147 h 369"/>
                <a:gd name="T10" fmla="*/ 165 w 332"/>
                <a:gd name="T11" fmla="*/ 369 h 369"/>
                <a:gd name="T12" fmla="*/ 165 w 332"/>
                <a:gd name="T13" fmla="*/ 369 h 369"/>
                <a:gd name="T14" fmla="*/ 165 w 332"/>
                <a:gd name="T15" fmla="*/ 369 h 3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2" h="369">
                  <a:moveTo>
                    <a:pt x="165" y="369"/>
                  </a:moveTo>
                  <a:cubicBezTo>
                    <a:pt x="167" y="369"/>
                    <a:pt x="167" y="369"/>
                    <a:pt x="167" y="369"/>
                  </a:cubicBezTo>
                  <a:cubicBezTo>
                    <a:pt x="332" y="367"/>
                    <a:pt x="308" y="147"/>
                    <a:pt x="308" y="147"/>
                  </a:cubicBezTo>
                  <a:cubicBezTo>
                    <a:pt x="301" y="0"/>
                    <a:pt x="178" y="1"/>
                    <a:pt x="166" y="1"/>
                  </a:cubicBezTo>
                  <a:cubicBezTo>
                    <a:pt x="154" y="1"/>
                    <a:pt x="31" y="0"/>
                    <a:pt x="24" y="147"/>
                  </a:cubicBezTo>
                  <a:cubicBezTo>
                    <a:pt x="24" y="147"/>
                    <a:pt x="0" y="367"/>
                    <a:pt x="165" y="369"/>
                  </a:cubicBezTo>
                  <a:close/>
                  <a:moveTo>
                    <a:pt x="165" y="369"/>
                  </a:moveTo>
                  <a:cubicBezTo>
                    <a:pt x="165" y="369"/>
                    <a:pt x="165" y="369"/>
                    <a:pt x="165" y="36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sp>
        <p:nvSpPr>
          <p:cNvPr id="31" name="TextBox 38">
            <a:extLst>
              <a:ext uri="{FF2B5EF4-FFF2-40B4-BE49-F238E27FC236}">
                <a16:creationId xmlns:a16="http://schemas.microsoft.com/office/drawing/2014/main" id="{0ADD03A2-1F56-4208-993D-E59E3C35E812}"/>
              </a:ext>
            </a:extLst>
          </p:cNvPr>
          <p:cNvSpPr txBox="1"/>
          <p:nvPr/>
        </p:nvSpPr>
        <p:spPr>
          <a:xfrm>
            <a:off x="7123422" y="1804135"/>
            <a:ext cx="2081728"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dirty="0">
                <a:ln>
                  <a:noFill/>
                </a:ln>
                <a:solidFill>
                  <a:srgbClr val="000000"/>
                </a:solidFill>
                <a:effectLst/>
                <a:uLnTx/>
                <a:uFillTx/>
                <a:latin typeface="等线 Light" panose="020F0302020204030204"/>
                <a:ea typeface="+mn-ea"/>
                <a:cs typeface="+mn-cs"/>
              </a:rPr>
              <a:t>description</a:t>
            </a:r>
          </a:p>
        </p:txBody>
      </p:sp>
      <p:sp>
        <p:nvSpPr>
          <p:cNvPr id="32" name="TextBox 39">
            <a:extLst>
              <a:ext uri="{FF2B5EF4-FFF2-40B4-BE49-F238E27FC236}">
                <a16:creationId xmlns:a16="http://schemas.microsoft.com/office/drawing/2014/main" id="{D088EA46-D59E-4A9D-91B9-1DD091A64E98}"/>
              </a:ext>
            </a:extLst>
          </p:cNvPr>
          <p:cNvSpPr txBox="1"/>
          <p:nvPr/>
        </p:nvSpPr>
        <p:spPr>
          <a:xfrm>
            <a:off x="7123421" y="2314893"/>
            <a:ext cx="4291339" cy="611899"/>
          </a:xfrm>
          <a:prstGeom prst="rect">
            <a:avLst/>
          </a:prstGeom>
          <a:noFill/>
        </p:spPr>
        <p:txBody>
          <a:bodyPr wrap="square" rtlCol="0" anchor="t">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rPr>
              <a:t>At </a:t>
            </a:r>
            <a:r>
              <a:rPr kumimoji="0" lang="en-US" sz="1200" b="0" i="0" u="none" strike="noStrike" kern="1200" cap="none" spc="0" normalizeH="0" baseline="0" noProof="0" dirty="0" err="1">
                <a:ln>
                  <a:noFill/>
                </a:ln>
                <a:solidFill>
                  <a:srgbClr val="000000"/>
                </a:solidFill>
                <a:effectLst/>
                <a:uLnTx/>
                <a:uFillTx/>
                <a:latin typeface="等线" panose="020F0502020204030204"/>
                <a:ea typeface="+mn-ea"/>
                <a:cs typeface="+mn-cs"/>
              </a:rPr>
              <a:t>vero</a:t>
            </a:r>
            <a:r>
              <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rPr>
              <a:t> </a:t>
            </a:r>
            <a:r>
              <a:rPr kumimoji="0" lang="en-US" sz="1200" b="0" i="0" u="none" strike="noStrike" kern="1200" cap="none" spc="0" normalizeH="0" baseline="0" noProof="0" dirty="0" err="1">
                <a:ln>
                  <a:noFill/>
                </a:ln>
                <a:solidFill>
                  <a:srgbClr val="000000"/>
                </a:solidFill>
                <a:effectLst/>
                <a:uLnTx/>
                <a:uFillTx/>
                <a:latin typeface="等线" panose="020F0502020204030204"/>
                <a:ea typeface="+mn-ea"/>
                <a:cs typeface="+mn-cs"/>
              </a:rPr>
              <a:t>eos</a:t>
            </a:r>
            <a:r>
              <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rPr>
              <a:t> et </a:t>
            </a:r>
            <a:r>
              <a:rPr kumimoji="0" lang="en-US" sz="1200" b="0" i="0" u="none" strike="noStrike" kern="1200" cap="none" spc="0" normalizeH="0" baseline="0" noProof="0" dirty="0" err="1">
                <a:ln>
                  <a:noFill/>
                </a:ln>
                <a:solidFill>
                  <a:srgbClr val="000000"/>
                </a:solidFill>
                <a:effectLst/>
                <a:uLnTx/>
                <a:uFillTx/>
                <a:latin typeface="等线" panose="020F0502020204030204"/>
                <a:ea typeface="+mn-ea"/>
                <a:cs typeface="+mn-cs"/>
              </a:rPr>
              <a:t>accusamus</a:t>
            </a:r>
            <a:r>
              <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rPr>
              <a:t> et </a:t>
            </a:r>
            <a:r>
              <a:rPr kumimoji="0" lang="en-US" sz="1200" b="0" i="0" u="none" strike="noStrike" kern="1200" cap="none" spc="0" normalizeH="0" baseline="0" noProof="0" dirty="0" err="1">
                <a:ln>
                  <a:noFill/>
                </a:ln>
                <a:solidFill>
                  <a:srgbClr val="000000"/>
                </a:solidFill>
                <a:effectLst/>
                <a:uLnTx/>
                <a:uFillTx/>
                <a:latin typeface="等线" panose="020F0502020204030204"/>
                <a:ea typeface="+mn-ea"/>
                <a:cs typeface="+mn-cs"/>
              </a:rPr>
              <a:t>iusto</a:t>
            </a:r>
            <a:r>
              <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rPr>
              <a:t> </a:t>
            </a:r>
            <a:r>
              <a:rPr kumimoji="0" lang="en-US" sz="1200" b="0" i="0" u="none" strike="noStrike" kern="1200" cap="none" spc="0" normalizeH="0" baseline="0" noProof="0" dirty="0" err="1">
                <a:ln>
                  <a:noFill/>
                </a:ln>
                <a:solidFill>
                  <a:srgbClr val="000000"/>
                </a:solidFill>
                <a:effectLst/>
                <a:uLnTx/>
                <a:uFillTx/>
                <a:latin typeface="等线" panose="020F0502020204030204"/>
                <a:ea typeface="+mn-ea"/>
                <a:cs typeface="+mn-cs"/>
              </a:rPr>
              <a:t>odio</a:t>
            </a:r>
            <a:r>
              <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rPr>
              <a:t> </a:t>
            </a:r>
            <a:r>
              <a:rPr kumimoji="0" lang="en-US" sz="1200" b="0" i="0" u="none" strike="noStrike" kern="1200" cap="none" spc="0" normalizeH="0" baseline="0" noProof="0" dirty="0" err="1">
                <a:ln>
                  <a:noFill/>
                </a:ln>
                <a:solidFill>
                  <a:srgbClr val="000000"/>
                </a:solidFill>
                <a:effectLst/>
                <a:uLnTx/>
                <a:uFillTx/>
                <a:latin typeface="等线" panose="020F0502020204030204"/>
                <a:ea typeface="+mn-ea"/>
                <a:cs typeface="+mn-cs"/>
              </a:rPr>
              <a:t>dignissimos</a:t>
            </a:r>
            <a:r>
              <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rPr>
              <a:t> </a:t>
            </a:r>
            <a:r>
              <a:rPr kumimoji="0" lang="en-US" sz="1200" b="0" i="0" u="none" strike="noStrike" kern="1200" cap="none" spc="0" normalizeH="0" baseline="0" noProof="0" dirty="0" err="1">
                <a:ln>
                  <a:noFill/>
                </a:ln>
                <a:solidFill>
                  <a:srgbClr val="000000"/>
                </a:solidFill>
                <a:effectLst/>
                <a:uLnTx/>
                <a:uFillTx/>
                <a:latin typeface="等线" panose="020F0502020204030204"/>
                <a:ea typeface="+mn-ea"/>
                <a:cs typeface="+mn-cs"/>
              </a:rPr>
              <a:t>ducimus</a:t>
            </a:r>
            <a:r>
              <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rPr>
              <a:t> qui </a:t>
            </a:r>
            <a:r>
              <a:rPr kumimoji="0" lang="en-US" sz="1200" b="0" i="0" u="none" strike="noStrike" kern="1200" cap="none" spc="0" normalizeH="0" baseline="0" noProof="0" dirty="0" err="1">
                <a:ln>
                  <a:noFill/>
                </a:ln>
                <a:solidFill>
                  <a:srgbClr val="000000"/>
                </a:solidFill>
                <a:effectLst/>
                <a:uLnTx/>
                <a:uFillTx/>
                <a:latin typeface="等线" panose="020F0502020204030204"/>
                <a:ea typeface="+mn-ea"/>
                <a:cs typeface="+mn-cs"/>
              </a:rPr>
              <a:t>blanditiis</a:t>
            </a:r>
            <a:r>
              <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rPr>
              <a:t> </a:t>
            </a:r>
            <a:r>
              <a:rPr kumimoji="0" lang="en-US" sz="1200" b="0" i="0" u="none" strike="noStrike" kern="1200" cap="none" spc="0" normalizeH="0" baseline="0" noProof="0" dirty="0" err="1">
                <a:ln>
                  <a:noFill/>
                </a:ln>
                <a:solidFill>
                  <a:srgbClr val="000000"/>
                </a:solidFill>
                <a:effectLst/>
                <a:uLnTx/>
                <a:uFillTx/>
                <a:latin typeface="等线" panose="020F0502020204030204"/>
                <a:ea typeface="+mn-ea"/>
                <a:cs typeface="+mn-cs"/>
              </a:rPr>
              <a:t>praesentium</a:t>
            </a:r>
            <a:r>
              <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rPr>
              <a:t> </a:t>
            </a:r>
            <a:r>
              <a:rPr kumimoji="0" lang="en-US" sz="1200" b="0" i="0" u="none" strike="noStrike" kern="1200" cap="none" spc="0" normalizeH="0" baseline="0" noProof="0" dirty="0" err="1">
                <a:ln>
                  <a:noFill/>
                </a:ln>
                <a:solidFill>
                  <a:srgbClr val="000000"/>
                </a:solidFill>
                <a:effectLst/>
                <a:uLnTx/>
                <a:uFillTx/>
                <a:latin typeface="等线" panose="020F0502020204030204"/>
                <a:ea typeface="+mn-ea"/>
                <a:cs typeface="+mn-cs"/>
              </a:rPr>
              <a:t>voluptatum</a:t>
            </a:r>
            <a:r>
              <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rPr>
              <a:t> </a:t>
            </a:r>
            <a:r>
              <a:rPr kumimoji="0" lang="en-US" sz="1200" b="0" i="0" u="none" strike="noStrike" kern="1200" cap="none" spc="0" normalizeH="0" baseline="0" noProof="0" dirty="0" err="1">
                <a:ln>
                  <a:noFill/>
                </a:ln>
                <a:solidFill>
                  <a:srgbClr val="000000"/>
                </a:solidFill>
                <a:effectLst/>
                <a:uLnTx/>
                <a:uFillTx/>
                <a:latin typeface="等线" panose="020F0502020204030204"/>
                <a:ea typeface="+mn-ea"/>
                <a:cs typeface="+mn-cs"/>
              </a:rPr>
              <a:t>deleniti</a:t>
            </a:r>
            <a:r>
              <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rPr>
              <a:t> </a:t>
            </a:r>
            <a:r>
              <a:rPr kumimoji="0" lang="en-US" sz="1200" b="0" i="0" u="none" strike="noStrike" kern="1200" cap="none" spc="0" normalizeH="0" baseline="0" noProof="0" dirty="0" err="1">
                <a:ln>
                  <a:noFill/>
                </a:ln>
                <a:solidFill>
                  <a:srgbClr val="000000"/>
                </a:solidFill>
                <a:effectLst/>
                <a:uLnTx/>
                <a:uFillTx/>
                <a:latin typeface="等线" panose="020F0502020204030204"/>
                <a:ea typeface="+mn-ea"/>
                <a:cs typeface="+mn-cs"/>
              </a:rPr>
              <a:t>atque</a:t>
            </a:r>
            <a:endPar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33" name="TextBox 42">
            <a:extLst>
              <a:ext uri="{FF2B5EF4-FFF2-40B4-BE49-F238E27FC236}">
                <a16:creationId xmlns:a16="http://schemas.microsoft.com/office/drawing/2014/main" id="{FEE85143-4FC7-4713-9087-12D7F4C3A955}"/>
              </a:ext>
            </a:extLst>
          </p:cNvPr>
          <p:cNvSpPr txBox="1"/>
          <p:nvPr/>
        </p:nvSpPr>
        <p:spPr>
          <a:xfrm>
            <a:off x="7123422" y="3423302"/>
            <a:ext cx="2081728"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dirty="0">
                <a:ln>
                  <a:noFill/>
                </a:ln>
                <a:solidFill>
                  <a:srgbClr val="000000"/>
                </a:solidFill>
                <a:effectLst/>
                <a:uLnTx/>
                <a:uFillTx/>
                <a:latin typeface="等线 Light" panose="020F0302020204030204"/>
                <a:ea typeface="+mn-ea"/>
                <a:cs typeface="+mn-cs"/>
              </a:rPr>
              <a:t>description</a:t>
            </a:r>
          </a:p>
        </p:txBody>
      </p:sp>
      <p:sp>
        <p:nvSpPr>
          <p:cNvPr id="34" name="TextBox 43">
            <a:extLst>
              <a:ext uri="{FF2B5EF4-FFF2-40B4-BE49-F238E27FC236}">
                <a16:creationId xmlns:a16="http://schemas.microsoft.com/office/drawing/2014/main" id="{8EE20163-3281-4A15-B59F-2956143A98EE}"/>
              </a:ext>
            </a:extLst>
          </p:cNvPr>
          <p:cNvSpPr txBox="1"/>
          <p:nvPr/>
        </p:nvSpPr>
        <p:spPr>
          <a:xfrm>
            <a:off x="7123421" y="3934060"/>
            <a:ext cx="4291339" cy="611899"/>
          </a:xfrm>
          <a:prstGeom prst="rect">
            <a:avLst/>
          </a:prstGeom>
          <a:noFill/>
        </p:spPr>
        <p:txBody>
          <a:bodyPr wrap="square" rtlCol="0" anchor="t">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rPr>
              <a:t>At </a:t>
            </a:r>
            <a:r>
              <a:rPr kumimoji="0" lang="en-US" sz="1200" b="0" i="0" u="none" strike="noStrike" kern="1200" cap="none" spc="0" normalizeH="0" baseline="0" noProof="0" dirty="0" err="1">
                <a:ln>
                  <a:noFill/>
                </a:ln>
                <a:solidFill>
                  <a:srgbClr val="000000"/>
                </a:solidFill>
                <a:effectLst/>
                <a:uLnTx/>
                <a:uFillTx/>
                <a:latin typeface="等线" panose="020F0502020204030204"/>
                <a:ea typeface="+mn-ea"/>
                <a:cs typeface="+mn-cs"/>
              </a:rPr>
              <a:t>vero</a:t>
            </a:r>
            <a:r>
              <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rPr>
              <a:t> </a:t>
            </a:r>
            <a:r>
              <a:rPr kumimoji="0" lang="en-US" sz="1200" b="0" i="0" u="none" strike="noStrike" kern="1200" cap="none" spc="0" normalizeH="0" baseline="0" noProof="0" dirty="0" err="1">
                <a:ln>
                  <a:noFill/>
                </a:ln>
                <a:solidFill>
                  <a:srgbClr val="000000"/>
                </a:solidFill>
                <a:effectLst/>
                <a:uLnTx/>
                <a:uFillTx/>
                <a:latin typeface="等线" panose="020F0502020204030204"/>
                <a:ea typeface="+mn-ea"/>
                <a:cs typeface="+mn-cs"/>
              </a:rPr>
              <a:t>eos</a:t>
            </a:r>
            <a:r>
              <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rPr>
              <a:t> et </a:t>
            </a:r>
            <a:r>
              <a:rPr kumimoji="0" lang="en-US" sz="1200" b="0" i="0" u="none" strike="noStrike" kern="1200" cap="none" spc="0" normalizeH="0" baseline="0" noProof="0" dirty="0" err="1">
                <a:ln>
                  <a:noFill/>
                </a:ln>
                <a:solidFill>
                  <a:srgbClr val="000000"/>
                </a:solidFill>
                <a:effectLst/>
                <a:uLnTx/>
                <a:uFillTx/>
                <a:latin typeface="等线" panose="020F0502020204030204"/>
                <a:ea typeface="+mn-ea"/>
                <a:cs typeface="+mn-cs"/>
              </a:rPr>
              <a:t>accusamus</a:t>
            </a:r>
            <a:r>
              <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rPr>
              <a:t> et </a:t>
            </a:r>
            <a:r>
              <a:rPr kumimoji="0" lang="en-US" sz="1200" b="0" i="0" u="none" strike="noStrike" kern="1200" cap="none" spc="0" normalizeH="0" baseline="0" noProof="0" dirty="0" err="1">
                <a:ln>
                  <a:noFill/>
                </a:ln>
                <a:solidFill>
                  <a:srgbClr val="000000"/>
                </a:solidFill>
                <a:effectLst/>
                <a:uLnTx/>
                <a:uFillTx/>
                <a:latin typeface="等线" panose="020F0502020204030204"/>
                <a:ea typeface="+mn-ea"/>
                <a:cs typeface="+mn-cs"/>
              </a:rPr>
              <a:t>iusto</a:t>
            </a:r>
            <a:r>
              <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rPr>
              <a:t> </a:t>
            </a:r>
            <a:r>
              <a:rPr kumimoji="0" lang="en-US" sz="1200" b="0" i="0" u="none" strike="noStrike" kern="1200" cap="none" spc="0" normalizeH="0" baseline="0" noProof="0" dirty="0" err="1">
                <a:ln>
                  <a:noFill/>
                </a:ln>
                <a:solidFill>
                  <a:srgbClr val="000000"/>
                </a:solidFill>
                <a:effectLst/>
                <a:uLnTx/>
                <a:uFillTx/>
                <a:latin typeface="等线" panose="020F0502020204030204"/>
                <a:ea typeface="+mn-ea"/>
                <a:cs typeface="+mn-cs"/>
              </a:rPr>
              <a:t>odio</a:t>
            </a:r>
            <a:r>
              <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rPr>
              <a:t> </a:t>
            </a:r>
            <a:r>
              <a:rPr kumimoji="0" lang="en-US" sz="1200" b="0" i="0" u="none" strike="noStrike" kern="1200" cap="none" spc="0" normalizeH="0" baseline="0" noProof="0" dirty="0" err="1">
                <a:ln>
                  <a:noFill/>
                </a:ln>
                <a:solidFill>
                  <a:srgbClr val="000000"/>
                </a:solidFill>
                <a:effectLst/>
                <a:uLnTx/>
                <a:uFillTx/>
                <a:latin typeface="等线" panose="020F0502020204030204"/>
                <a:ea typeface="+mn-ea"/>
                <a:cs typeface="+mn-cs"/>
              </a:rPr>
              <a:t>dignissimos</a:t>
            </a:r>
            <a:r>
              <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rPr>
              <a:t> </a:t>
            </a:r>
            <a:r>
              <a:rPr kumimoji="0" lang="en-US" sz="1200" b="0" i="0" u="none" strike="noStrike" kern="1200" cap="none" spc="0" normalizeH="0" baseline="0" noProof="0" dirty="0" err="1">
                <a:ln>
                  <a:noFill/>
                </a:ln>
                <a:solidFill>
                  <a:srgbClr val="000000"/>
                </a:solidFill>
                <a:effectLst/>
                <a:uLnTx/>
                <a:uFillTx/>
                <a:latin typeface="等线" panose="020F0502020204030204"/>
                <a:ea typeface="+mn-ea"/>
                <a:cs typeface="+mn-cs"/>
              </a:rPr>
              <a:t>ducimus</a:t>
            </a:r>
            <a:r>
              <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rPr>
              <a:t> qui </a:t>
            </a:r>
            <a:r>
              <a:rPr kumimoji="0" lang="en-US" sz="1200" b="0" i="0" u="none" strike="noStrike" kern="1200" cap="none" spc="0" normalizeH="0" baseline="0" noProof="0" dirty="0" err="1">
                <a:ln>
                  <a:noFill/>
                </a:ln>
                <a:solidFill>
                  <a:srgbClr val="000000"/>
                </a:solidFill>
                <a:effectLst/>
                <a:uLnTx/>
                <a:uFillTx/>
                <a:latin typeface="等线" panose="020F0502020204030204"/>
                <a:ea typeface="+mn-ea"/>
                <a:cs typeface="+mn-cs"/>
              </a:rPr>
              <a:t>blanditiis</a:t>
            </a:r>
            <a:r>
              <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rPr>
              <a:t> </a:t>
            </a:r>
            <a:r>
              <a:rPr kumimoji="0" lang="en-US" sz="1200" b="0" i="0" u="none" strike="noStrike" kern="1200" cap="none" spc="0" normalizeH="0" baseline="0" noProof="0" dirty="0" err="1">
                <a:ln>
                  <a:noFill/>
                </a:ln>
                <a:solidFill>
                  <a:srgbClr val="000000"/>
                </a:solidFill>
                <a:effectLst/>
                <a:uLnTx/>
                <a:uFillTx/>
                <a:latin typeface="等线" panose="020F0502020204030204"/>
                <a:ea typeface="+mn-ea"/>
                <a:cs typeface="+mn-cs"/>
              </a:rPr>
              <a:t>praesentium</a:t>
            </a:r>
            <a:r>
              <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rPr>
              <a:t> </a:t>
            </a:r>
            <a:r>
              <a:rPr kumimoji="0" lang="en-US" sz="1200" b="0" i="0" u="none" strike="noStrike" kern="1200" cap="none" spc="0" normalizeH="0" baseline="0" noProof="0" dirty="0" err="1">
                <a:ln>
                  <a:noFill/>
                </a:ln>
                <a:solidFill>
                  <a:srgbClr val="000000"/>
                </a:solidFill>
                <a:effectLst/>
                <a:uLnTx/>
                <a:uFillTx/>
                <a:latin typeface="等线" panose="020F0502020204030204"/>
                <a:ea typeface="+mn-ea"/>
                <a:cs typeface="+mn-cs"/>
              </a:rPr>
              <a:t>voluptatum</a:t>
            </a:r>
            <a:r>
              <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rPr>
              <a:t> </a:t>
            </a:r>
            <a:r>
              <a:rPr kumimoji="0" lang="en-US" sz="1200" b="0" i="0" u="none" strike="noStrike" kern="1200" cap="none" spc="0" normalizeH="0" baseline="0" noProof="0" dirty="0" err="1">
                <a:ln>
                  <a:noFill/>
                </a:ln>
                <a:solidFill>
                  <a:srgbClr val="000000"/>
                </a:solidFill>
                <a:effectLst/>
                <a:uLnTx/>
                <a:uFillTx/>
                <a:latin typeface="等线" panose="020F0502020204030204"/>
                <a:ea typeface="+mn-ea"/>
                <a:cs typeface="+mn-cs"/>
              </a:rPr>
              <a:t>deleniti</a:t>
            </a:r>
            <a:r>
              <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rPr>
              <a:t> </a:t>
            </a:r>
            <a:r>
              <a:rPr kumimoji="0" lang="en-US" sz="1200" b="0" i="0" u="none" strike="noStrike" kern="1200" cap="none" spc="0" normalizeH="0" baseline="0" noProof="0" dirty="0" err="1">
                <a:ln>
                  <a:noFill/>
                </a:ln>
                <a:solidFill>
                  <a:srgbClr val="000000"/>
                </a:solidFill>
                <a:effectLst/>
                <a:uLnTx/>
                <a:uFillTx/>
                <a:latin typeface="等线" panose="020F0502020204030204"/>
                <a:ea typeface="+mn-ea"/>
                <a:cs typeface="+mn-cs"/>
              </a:rPr>
              <a:t>atque</a:t>
            </a:r>
            <a:endPar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35" name="TextBox 45">
            <a:extLst>
              <a:ext uri="{FF2B5EF4-FFF2-40B4-BE49-F238E27FC236}">
                <a16:creationId xmlns:a16="http://schemas.microsoft.com/office/drawing/2014/main" id="{4E2D4545-CED9-45EE-9B10-EEF6DFAF8F4D}"/>
              </a:ext>
            </a:extLst>
          </p:cNvPr>
          <p:cNvSpPr txBox="1"/>
          <p:nvPr/>
        </p:nvSpPr>
        <p:spPr>
          <a:xfrm>
            <a:off x="7123422" y="5042469"/>
            <a:ext cx="2081728"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dirty="0">
                <a:ln>
                  <a:noFill/>
                </a:ln>
                <a:solidFill>
                  <a:srgbClr val="000000"/>
                </a:solidFill>
                <a:effectLst/>
                <a:uLnTx/>
                <a:uFillTx/>
                <a:latin typeface="等线 Light" panose="020F0302020204030204"/>
                <a:ea typeface="+mn-ea"/>
                <a:cs typeface="+mn-cs"/>
              </a:rPr>
              <a:t>description</a:t>
            </a:r>
          </a:p>
        </p:txBody>
      </p:sp>
      <p:sp>
        <p:nvSpPr>
          <p:cNvPr id="36" name="TextBox 46">
            <a:extLst>
              <a:ext uri="{FF2B5EF4-FFF2-40B4-BE49-F238E27FC236}">
                <a16:creationId xmlns:a16="http://schemas.microsoft.com/office/drawing/2014/main" id="{6A73030A-8B8C-4657-9BF2-117BB72FD10C}"/>
              </a:ext>
            </a:extLst>
          </p:cNvPr>
          <p:cNvSpPr txBox="1"/>
          <p:nvPr/>
        </p:nvSpPr>
        <p:spPr>
          <a:xfrm>
            <a:off x="7123421" y="5553227"/>
            <a:ext cx="4291339" cy="611899"/>
          </a:xfrm>
          <a:prstGeom prst="rect">
            <a:avLst/>
          </a:prstGeom>
          <a:noFill/>
        </p:spPr>
        <p:txBody>
          <a:bodyPr wrap="square" rtlCol="0" anchor="t">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rPr>
              <a:t>At </a:t>
            </a:r>
            <a:r>
              <a:rPr kumimoji="0" lang="en-US" sz="1200" b="0" i="0" u="none" strike="noStrike" kern="1200" cap="none" spc="0" normalizeH="0" baseline="0" noProof="0" dirty="0" err="1">
                <a:ln>
                  <a:noFill/>
                </a:ln>
                <a:solidFill>
                  <a:srgbClr val="000000"/>
                </a:solidFill>
                <a:effectLst/>
                <a:uLnTx/>
                <a:uFillTx/>
                <a:latin typeface="等线" panose="020F0502020204030204"/>
                <a:ea typeface="+mn-ea"/>
                <a:cs typeface="+mn-cs"/>
              </a:rPr>
              <a:t>vero</a:t>
            </a:r>
            <a:r>
              <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rPr>
              <a:t> </a:t>
            </a:r>
            <a:r>
              <a:rPr kumimoji="0" lang="en-US" sz="1200" b="0" i="0" u="none" strike="noStrike" kern="1200" cap="none" spc="0" normalizeH="0" baseline="0" noProof="0" dirty="0" err="1">
                <a:ln>
                  <a:noFill/>
                </a:ln>
                <a:solidFill>
                  <a:srgbClr val="000000"/>
                </a:solidFill>
                <a:effectLst/>
                <a:uLnTx/>
                <a:uFillTx/>
                <a:latin typeface="等线" panose="020F0502020204030204"/>
                <a:ea typeface="+mn-ea"/>
                <a:cs typeface="+mn-cs"/>
              </a:rPr>
              <a:t>eos</a:t>
            </a:r>
            <a:r>
              <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rPr>
              <a:t> et </a:t>
            </a:r>
            <a:r>
              <a:rPr kumimoji="0" lang="en-US" sz="1200" b="0" i="0" u="none" strike="noStrike" kern="1200" cap="none" spc="0" normalizeH="0" baseline="0" noProof="0" dirty="0" err="1">
                <a:ln>
                  <a:noFill/>
                </a:ln>
                <a:solidFill>
                  <a:srgbClr val="000000"/>
                </a:solidFill>
                <a:effectLst/>
                <a:uLnTx/>
                <a:uFillTx/>
                <a:latin typeface="等线" panose="020F0502020204030204"/>
                <a:ea typeface="+mn-ea"/>
                <a:cs typeface="+mn-cs"/>
              </a:rPr>
              <a:t>accusamus</a:t>
            </a:r>
            <a:r>
              <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rPr>
              <a:t> et </a:t>
            </a:r>
            <a:r>
              <a:rPr kumimoji="0" lang="en-US" sz="1200" b="0" i="0" u="none" strike="noStrike" kern="1200" cap="none" spc="0" normalizeH="0" baseline="0" noProof="0" dirty="0" err="1">
                <a:ln>
                  <a:noFill/>
                </a:ln>
                <a:solidFill>
                  <a:srgbClr val="000000"/>
                </a:solidFill>
                <a:effectLst/>
                <a:uLnTx/>
                <a:uFillTx/>
                <a:latin typeface="等线" panose="020F0502020204030204"/>
                <a:ea typeface="+mn-ea"/>
                <a:cs typeface="+mn-cs"/>
              </a:rPr>
              <a:t>iusto</a:t>
            </a:r>
            <a:r>
              <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rPr>
              <a:t> </a:t>
            </a:r>
            <a:r>
              <a:rPr kumimoji="0" lang="en-US" sz="1200" b="0" i="0" u="none" strike="noStrike" kern="1200" cap="none" spc="0" normalizeH="0" baseline="0" noProof="0" dirty="0" err="1">
                <a:ln>
                  <a:noFill/>
                </a:ln>
                <a:solidFill>
                  <a:srgbClr val="000000"/>
                </a:solidFill>
                <a:effectLst/>
                <a:uLnTx/>
                <a:uFillTx/>
                <a:latin typeface="等线" panose="020F0502020204030204"/>
                <a:ea typeface="+mn-ea"/>
                <a:cs typeface="+mn-cs"/>
              </a:rPr>
              <a:t>odio</a:t>
            </a:r>
            <a:r>
              <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rPr>
              <a:t> </a:t>
            </a:r>
            <a:r>
              <a:rPr kumimoji="0" lang="en-US" sz="1200" b="0" i="0" u="none" strike="noStrike" kern="1200" cap="none" spc="0" normalizeH="0" baseline="0" noProof="0" dirty="0" err="1">
                <a:ln>
                  <a:noFill/>
                </a:ln>
                <a:solidFill>
                  <a:srgbClr val="000000"/>
                </a:solidFill>
                <a:effectLst/>
                <a:uLnTx/>
                <a:uFillTx/>
                <a:latin typeface="等线" panose="020F0502020204030204"/>
                <a:ea typeface="+mn-ea"/>
                <a:cs typeface="+mn-cs"/>
              </a:rPr>
              <a:t>dignissimos</a:t>
            </a:r>
            <a:r>
              <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rPr>
              <a:t> </a:t>
            </a:r>
            <a:r>
              <a:rPr kumimoji="0" lang="en-US" sz="1200" b="0" i="0" u="none" strike="noStrike" kern="1200" cap="none" spc="0" normalizeH="0" baseline="0" noProof="0" dirty="0" err="1">
                <a:ln>
                  <a:noFill/>
                </a:ln>
                <a:solidFill>
                  <a:srgbClr val="000000"/>
                </a:solidFill>
                <a:effectLst/>
                <a:uLnTx/>
                <a:uFillTx/>
                <a:latin typeface="等线" panose="020F0502020204030204"/>
                <a:ea typeface="+mn-ea"/>
                <a:cs typeface="+mn-cs"/>
              </a:rPr>
              <a:t>ducimus</a:t>
            </a:r>
            <a:r>
              <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rPr>
              <a:t> qui </a:t>
            </a:r>
            <a:r>
              <a:rPr kumimoji="0" lang="en-US" sz="1200" b="0" i="0" u="none" strike="noStrike" kern="1200" cap="none" spc="0" normalizeH="0" baseline="0" noProof="0" dirty="0" err="1">
                <a:ln>
                  <a:noFill/>
                </a:ln>
                <a:solidFill>
                  <a:srgbClr val="000000"/>
                </a:solidFill>
                <a:effectLst/>
                <a:uLnTx/>
                <a:uFillTx/>
                <a:latin typeface="等线" panose="020F0502020204030204"/>
                <a:ea typeface="+mn-ea"/>
                <a:cs typeface="+mn-cs"/>
              </a:rPr>
              <a:t>blanditiis</a:t>
            </a:r>
            <a:r>
              <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rPr>
              <a:t> </a:t>
            </a:r>
            <a:r>
              <a:rPr kumimoji="0" lang="en-US" sz="1200" b="0" i="0" u="none" strike="noStrike" kern="1200" cap="none" spc="0" normalizeH="0" baseline="0" noProof="0" dirty="0" err="1">
                <a:ln>
                  <a:noFill/>
                </a:ln>
                <a:solidFill>
                  <a:srgbClr val="000000"/>
                </a:solidFill>
                <a:effectLst/>
                <a:uLnTx/>
                <a:uFillTx/>
                <a:latin typeface="等线" panose="020F0502020204030204"/>
                <a:ea typeface="+mn-ea"/>
                <a:cs typeface="+mn-cs"/>
              </a:rPr>
              <a:t>praesentium</a:t>
            </a:r>
            <a:r>
              <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rPr>
              <a:t> </a:t>
            </a:r>
            <a:r>
              <a:rPr kumimoji="0" lang="en-US" sz="1200" b="0" i="0" u="none" strike="noStrike" kern="1200" cap="none" spc="0" normalizeH="0" baseline="0" noProof="0" dirty="0" err="1">
                <a:ln>
                  <a:noFill/>
                </a:ln>
                <a:solidFill>
                  <a:srgbClr val="000000"/>
                </a:solidFill>
                <a:effectLst/>
                <a:uLnTx/>
                <a:uFillTx/>
                <a:latin typeface="等线" panose="020F0502020204030204"/>
                <a:ea typeface="+mn-ea"/>
                <a:cs typeface="+mn-cs"/>
              </a:rPr>
              <a:t>voluptatum</a:t>
            </a:r>
            <a:r>
              <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rPr>
              <a:t> </a:t>
            </a:r>
            <a:r>
              <a:rPr kumimoji="0" lang="en-US" sz="1200" b="0" i="0" u="none" strike="noStrike" kern="1200" cap="none" spc="0" normalizeH="0" baseline="0" noProof="0" dirty="0" err="1">
                <a:ln>
                  <a:noFill/>
                </a:ln>
                <a:solidFill>
                  <a:srgbClr val="000000"/>
                </a:solidFill>
                <a:effectLst/>
                <a:uLnTx/>
                <a:uFillTx/>
                <a:latin typeface="等线" panose="020F0502020204030204"/>
                <a:ea typeface="+mn-ea"/>
                <a:cs typeface="+mn-cs"/>
              </a:rPr>
              <a:t>deleniti</a:t>
            </a:r>
            <a:r>
              <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rPr>
              <a:t> </a:t>
            </a:r>
            <a:r>
              <a:rPr kumimoji="0" lang="en-US" sz="1200" b="0" i="0" u="none" strike="noStrike" kern="1200" cap="none" spc="0" normalizeH="0" baseline="0" noProof="0" dirty="0" err="1">
                <a:ln>
                  <a:noFill/>
                </a:ln>
                <a:solidFill>
                  <a:srgbClr val="000000"/>
                </a:solidFill>
                <a:effectLst/>
                <a:uLnTx/>
                <a:uFillTx/>
                <a:latin typeface="等线" panose="020F0502020204030204"/>
                <a:ea typeface="+mn-ea"/>
                <a:cs typeface="+mn-cs"/>
              </a:rPr>
              <a:t>atque</a:t>
            </a:r>
            <a:endPar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37" name="TextBox 47">
            <a:extLst>
              <a:ext uri="{FF2B5EF4-FFF2-40B4-BE49-F238E27FC236}">
                <a16:creationId xmlns:a16="http://schemas.microsoft.com/office/drawing/2014/main" id="{18EA7D52-0A02-4A74-9821-E6C2242877B8}"/>
              </a:ext>
            </a:extLst>
          </p:cNvPr>
          <p:cNvSpPr txBox="1"/>
          <p:nvPr/>
        </p:nvSpPr>
        <p:spPr>
          <a:xfrm>
            <a:off x="841819" y="2872056"/>
            <a:ext cx="2081728" cy="101566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0" b="1" i="0" u="none" strike="noStrike" kern="1200" cap="none" spc="0" normalizeH="0" baseline="0" noProof="0" dirty="0">
                <a:ln>
                  <a:noFill/>
                </a:ln>
                <a:solidFill>
                  <a:srgbClr val="000000"/>
                </a:solidFill>
                <a:effectLst/>
                <a:uLnTx/>
                <a:uFillTx/>
                <a:latin typeface="等线 Light" panose="020F0302020204030204"/>
                <a:ea typeface="+mn-ea"/>
                <a:cs typeface="+mn-cs"/>
              </a:rPr>
              <a:t>53 %</a:t>
            </a:r>
          </a:p>
        </p:txBody>
      </p:sp>
      <p:sp>
        <p:nvSpPr>
          <p:cNvPr id="38" name="TextBox 48">
            <a:extLst>
              <a:ext uri="{FF2B5EF4-FFF2-40B4-BE49-F238E27FC236}">
                <a16:creationId xmlns:a16="http://schemas.microsoft.com/office/drawing/2014/main" id="{07BB05FB-B1C8-40C3-A717-290951FFEBD1}"/>
              </a:ext>
            </a:extLst>
          </p:cNvPr>
          <p:cNvSpPr txBox="1"/>
          <p:nvPr/>
        </p:nvSpPr>
        <p:spPr>
          <a:xfrm>
            <a:off x="1123989" y="3675834"/>
            <a:ext cx="1517388" cy="276999"/>
          </a:xfrm>
          <a:prstGeom prst="rect">
            <a:avLst/>
          </a:prstGeom>
          <a:noFill/>
        </p:spPr>
        <p:txBody>
          <a:bodyPr wrap="square"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rPr>
              <a:t>Description</a:t>
            </a:r>
          </a:p>
        </p:txBody>
      </p:sp>
      <p:sp>
        <p:nvSpPr>
          <p:cNvPr id="39" name="TextBox 51">
            <a:extLst>
              <a:ext uri="{FF2B5EF4-FFF2-40B4-BE49-F238E27FC236}">
                <a16:creationId xmlns:a16="http://schemas.microsoft.com/office/drawing/2014/main" id="{699EAFF4-BF02-419B-81BD-1B7F4BDE3A09}"/>
              </a:ext>
            </a:extLst>
          </p:cNvPr>
          <p:cNvSpPr txBox="1"/>
          <p:nvPr/>
        </p:nvSpPr>
        <p:spPr>
          <a:xfrm>
            <a:off x="2021133" y="990145"/>
            <a:ext cx="2081728" cy="120032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200" b="1" i="0" u="none" strike="noStrike" kern="1200" cap="none" spc="0" normalizeH="0" baseline="0" noProof="0" dirty="0">
                <a:ln>
                  <a:noFill/>
                </a:ln>
                <a:solidFill>
                  <a:srgbClr val="000000"/>
                </a:solidFill>
                <a:effectLst/>
                <a:uLnTx/>
                <a:uFillTx/>
                <a:latin typeface="等线 Light" panose="020F0302020204030204"/>
                <a:ea typeface="+mn-ea"/>
                <a:cs typeface="+mn-cs"/>
              </a:rPr>
              <a:t>77 %</a:t>
            </a:r>
          </a:p>
        </p:txBody>
      </p:sp>
      <p:sp>
        <p:nvSpPr>
          <p:cNvPr id="40" name="TextBox 52">
            <a:extLst>
              <a:ext uri="{FF2B5EF4-FFF2-40B4-BE49-F238E27FC236}">
                <a16:creationId xmlns:a16="http://schemas.microsoft.com/office/drawing/2014/main" id="{B8E90B30-FC0B-4C86-A08F-C611D1A875DA}"/>
              </a:ext>
            </a:extLst>
          </p:cNvPr>
          <p:cNvSpPr txBox="1"/>
          <p:nvPr/>
        </p:nvSpPr>
        <p:spPr>
          <a:xfrm>
            <a:off x="2174240" y="1923759"/>
            <a:ext cx="1787459" cy="611899"/>
          </a:xfrm>
          <a:prstGeom prst="rect">
            <a:avLst/>
          </a:prstGeom>
          <a:noFill/>
        </p:spPr>
        <p:txBody>
          <a:bodyPr wrap="square" rtlCol="0" anchor="t">
            <a:sp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rPr>
              <a:t>At </a:t>
            </a:r>
            <a:r>
              <a:rPr kumimoji="0" lang="en-US" sz="1200" b="0" i="0" u="none" strike="noStrike" kern="1200" cap="none" spc="0" normalizeH="0" baseline="0" noProof="0" dirty="0" err="1">
                <a:ln>
                  <a:noFill/>
                </a:ln>
                <a:solidFill>
                  <a:srgbClr val="000000"/>
                </a:solidFill>
                <a:effectLst/>
                <a:uLnTx/>
                <a:uFillTx/>
                <a:latin typeface="等线" panose="020F0502020204030204"/>
                <a:ea typeface="+mn-ea"/>
                <a:cs typeface="+mn-cs"/>
              </a:rPr>
              <a:t>vero</a:t>
            </a:r>
            <a:r>
              <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rPr>
              <a:t> </a:t>
            </a:r>
            <a:r>
              <a:rPr kumimoji="0" lang="en-US" sz="1200" b="0" i="0" u="none" strike="noStrike" kern="1200" cap="none" spc="0" normalizeH="0" baseline="0" noProof="0" dirty="0" err="1">
                <a:ln>
                  <a:noFill/>
                </a:ln>
                <a:solidFill>
                  <a:srgbClr val="000000"/>
                </a:solidFill>
                <a:effectLst/>
                <a:uLnTx/>
                <a:uFillTx/>
                <a:latin typeface="等线" panose="020F0502020204030204"/>
                <a:ea typeface="+mn-ea"/>
                <a:cs typeface="+mn-cs"/>
              </a:rPr>
              <a:t>eos</a:t>
            </a:r>
            <a:r>
              <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rPr>
              <a:t> et </a:t>
            </a:r>
            <a:r>
              <a:rPr kumimoji="0" lang="en-US" sz="1200" b="0" i="0" u="none" strike="noStrike" kern="1200" cap="none" spc="0" normalizeH="0" baseline="0" noProof="0" dirty="0" err="1">
                <a:ln>
                  <a:noFill/>
                </a:ln>
                <a:solidFill>
                  <a:srgbClr val="000000"/>
                </a:solidFill>
                <a:effectLst/>
                <a:uLnTx/>
                <a:uFillTx/>
                <a:latin typeface="等线" panose="020F0502020204030204"/>
                <a:ea typeface="+mn-ea"/>
                <a:cs typeface="+mn-cs"/>
              </a:rPr>
              <a:t>accusamus</a:t>
            </a:r>
            <a:r>
              <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rPr>
              <a:t> </a:t>
            </a:r>
            <a:r>
              <a:rPr kumimoji="0" lang="en-US" sz="1200" b="0" i="0" u="none" strike="noStrike" kern="1200" cap="none" spc="0" normalizeH="0" baseline="0" noProof="0" dirty="0" err="1">
                <a:ln>
                  <a:noFill/>
                </a:ln>
                <a:solidFill>
                  <a:srgbClr val="000000"/>
                </a:solidFill>
                <a:effectLst/>
                <a:uLnTx/>
                <a:uFillTx/>
                <a:latin typeface="等线" panose="020F0502020204030204"/>
                <a:ea typeface="+mn-ea"/>
                <a:cs typeface="+mn-cs"/>
              </a:rPr>
              <a:t>iusto</a:t>
            </a:r>
            <a:endPar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grpSp>
        <p:nvGrpSpPr>
          <p:cNvPr id="41" name="Group 1">
            <a:extLst>
              <a:ext uri="{FF2B5EF4-FFF2-40B4-BE49-F238E27FC236}">
                <a16:creationId xmlns:a16="http://schemas.microsoft.com/office/drawing/2014/main" id="{EE836F35-328F-4762-8D0B-A827B334F8A4}"/>
              </a:ext>
            </a:extLst>
          </p:cNvPr>
          <p:cNvGrpSpPr/>
          <p:nvPr/>
        </p:nvGrpSpPr>
        <p:grpSpPr>
          <a:xfrm>
            <a:off x="3493454" y="2301793"/>
            <a:ext cx="1601491" cy="1597781"/>
            <a:chOff x="3493454" y="2301793"/>
            <a:chExt cx="1601491" cy="1597781"/>
          </a:xfrm>
        </p:grpSpPr>
        <p:sp>
          <p:nvSpPr>
            <p:cNvPr id="42" name="Oval 8">
              <a:extLst>
                <a:ext uri="{FF2B5EF4-FFF2-40B4-BE49-F238E27FC236}">
                  <a16:creationId xmlns:a16="http://schemas.microsoft.com/office/drawing/2014/main" id="{43CB6593-E20B-49A8-AA14-4093B2E8D63C}"/>
                </a:ext>
              </a:extLst>
            </p:cNvPr>
            <p:cNvSpPr>
              <a:spLocks noChangeArrowheads="1"/>
            </p:cNvSpPr>
            <p:nvPr/>
          </p:nvSpPr>
          <p:spPr bwMode="auto">
            <a:xfrm>
              <a:off x="3493454" y="2301793"/>
              <a:ext cx="1601491" cy="1597781"/>
            </a:xfrm>
            <a:prstGeom prst="ellipse">
              <a:avLst/>
            </a:pr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43" name="Oval 9">
              <a:extLst>
                <a:ext uri="{FF2B5EF4-FFF2-40B4-BE49-F238E27FC236}">
                  <a16:creationId xmlns:a16="http://schemas.microsoft.com/office/drawing/2014/main" id="{37B8A8F2-1464-46AF-8401-41E3D1F7CB57}"/>
                </a:ext>
              </a:extLst>
            </p:cNvPr>
            <p:cNvSpPr>
              <a:spLocks noChangeArrowheads="1"/>
            </p:cNvSpPr>
            <p:nvPr/>
          </p:nvSpPr>
          <p:spPr bwMode="auto">
            <a:xfrm>
              <a:off x="3670675" y="2477159"/>
              <a:ext cx="1247048" cy="1247048"/>
            </a:xfrm>
            <a:prstGeom prst="ellipse">
              <a:avLst/>
            </a:prstGeom>
            <a:solidFill>
              <a:schemeClr val="bg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sp>
        <p:nvSpPr>
          <p:cNvPr id="44" name="TextBox 55">
            <a:extLst>
              <a:ext uri="{FF2B5EF4-FFF2-40B4-BE49-F238E27FC236}">
                <a16:creationId xmlns:a16="http://schemas.microsoft.com/office/drawing/2014/main" id="{9DAB3843-4660-4127-811F-4BA0B98F5D54}"/>
              </a:ext>
            </a:extLst>
          </p:cNvPr>
          <p:cNvSpPr txBox="1"/>
          <p:nvPr/>
        </p:nvSpPr>
        <p:spPr>
          <a:xfrm>
            <a:off x="3253335" y="2641247"/>
            <a:ext cx="2081728" cy="83099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800" b="1" i="0" u="none" strike="noStrike" kern="1200" cap="none" spc="0" normalizeH="0" baseline="0" noProof="0" dirty="0">
                <a:ln>
                  <a:noFill/>
                </a:ln>
                <a:solidFill>
                  <a:srgbClr val="000000"/>
                </a:solidFill>
                <a:effectLst/>
                <a:uLnTx/>
                <a:uFillTx/>
                <a:latin typeface="等线 Light" panose="020F0302020204030204"/>
                <a:ea typeface="+mn-ea"/>
                <a:cs typeface="+mn-cs"/>
              </a:rPr>
              <a:t>21 %</a:t>
            </a:r>
          </a:p>
        </p:txBody>
      </p:sp>
      <p:sp>
        <p:nvSpPr>
          <p:cNvPr id="45" name="TextBox 56">
            <a:extLst>
              <a:ext uri="{FF2B5EF4-FFF2-40B4-BE49-F238E27FC236}">
                <a16:creationId xmlns:a16="http://schemas.microsoft.com/office/drawing/2014/main" id="{FF4041CD-A68F-4A4B-8CCB-E88A931B1C4B}"/>
              </a:ext>
            </a:extLst>
          </p:cNvPr>
          <p:cNvSpPr txBox="1"/>
          <p:nvPr/>
        </p:nvSpPr>
        <p:spPr>
          <a:xfrm>
            <a:off x="3535505" y="3283121"/>
            <a:ext cx="1517388" cy="276999"/>
          </a:xfrm>
          <a:prstGeom prst="rect">
            <a:avLst/>
          </a:prstGeom>
          <a:noFill/>
        </p:spPr>
        <p:txBody>
          <a:bodyPr wrap="square"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rPr>
              <a:t>Description</a:t>
            </a:r>
          </a:p>
        </p:txBody>
      </p:sp>
    </p:spTree>
    <p:extLst>
      <p:ext uri="{BB962C8B-B14F-4D97-AF65-F5344CB8AC3E}">
        <p14:creationId xmlns:p14="http://schemas.microsoft.com/office/powerpoint/2010/main" val="1304448788"/>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wipe(up)">
                                      <p:cBhvr>
                                        <p:cTn id="7" dur="500"/>
                                        <p:tgtEl>
                                          <p:spTgt spid="11"/>
                                        </p:tgtEl>
                                      </p:cBhvr>
                                    </p:animEffect>
                                  </p:childTnLst>
                                </p:cTn>
                              </p:par>
                              <p:par>
                                <p:cTn id="8" presetID="22" presetClass="entr" presetSubtype="1" fill="hold" grpId="0" nodeType="withEffect">
                                  <p:stCondLst>
                                    <p:cond delay="0"/>
                                  </p:stCondLst>
                                  <p:childTnLst>
                                    <p:set>
                                      <p:cBhvr>
                                        <p:cTn id="9" dur="1" fill="hold">
                                          <p:stCondLst>
                                            <p:cond delay="0"/>
                                          </p:stCondLst>
                                        </p:cTn>
                                        <p:tgtEl>
                                          <p:spTgt spid="12"/>
                                        </p:tgtEl>
                                        <p:attrNameLst>
                                          <p:attrName>style.visibility</p:attrName>
                                        </p:attrNameLst>
                                      </p:cBhvr>
                                      <p:to>
                                        <p:strVal val="visible"/>
                                      </p:to>
                                    </p:set>
                                    <p:animEffect transition="in" filter="wipe(up)">
                                      <p:cBhvr>
                                        <p:cTn id="10" dur="500"/>
                                        <p:tgtEl>
                                          <p:spTgt spid="12"/>
                                        </p:tgtEl>
                                      </p:cBhvr>
                                    </p:animEffect>
                                  </p:childTnLst>
                                </p:cTn>
                              </p:par>
                              <p:par>
                                <p:cTn id="11" presetID="22" presetClass="entr" presetSubtype="1" fill="hold" grpId="0" nodeType="withEffect">
                                  <p:stCondLst>
                                    <p:cond delay="0"/>
                                  </p:stCondLst>
                                  <p:childTnLst>
                                    <p:set>
                                      <p:cBhvr>
                                        <p:cTn id="12" dur="1" fill="hold">
                                          <p:stCondLst>
                                            <p:cond delay="0"/>
                                          </p:stCondLst>
                                        </p:cTn>
                                        <p:tgtEl>
                                          <p:spTgt spid="13"/>
                                        </p:tgtEl>
                                        <p:attrNameLst>
                                          <p:attrName>style.visibility</p:attrName>
                                        </p:attrNameLst>
                                      </p:cBhvr>
                                      <p:to>
                                        <p:strVal val="visible"/>
                                      </p:to>
                                    </p:set>
                                    <p:animEffect transition="in" filter="wipe(up)">
                                      <p:cBhvr>
                                        <p:cTn id="13" dur="500"/>
                                        <p:tgtEl>
                                          <p:spTgt spid="13"/>
                                        </p:tgtEl>
                                      </p:cBhvr>
                                    </p:animEffect>
                                  </p:childTnLst>
                                </p:cTn>
                              </p:par>
                            </p:childTnLst>
                          </p:cTn>
                        </p:par>
                        <p:par>
                          <p:cTn id="14" fill="hold">
                            <p:stCondLst>
                              <p:cond delay="500"/>
                            </p:stCondLst>
                            <p:childTnLst>
                              <p:par>
                                <p:cTn id="15" presetID="53" presetClass="entr" presetSubtype="16" fill="hold" nodeType="afterEffect">
                                  <p:stCondLst>
                                    <p:cond delay="0"/>
                                  </p:stCondLst>
                                  <p:childTnLst>
                                    <p:set>
                                      <p:cBhvr>
                                        <p:cTn id="16" dur="1" fill="hold">
                                          <p:stCondLst>
                                            <p:cond delay="0"/>
                                          </p:stCondLst>
                                        </p:cTn>
                                        <p:tgtEl>
                                          <p:spTgt spid="26"/>
                                        </p:tgtEl>
                                        <p:attrNameLst>
                                          <p:attrName>style.visibility</p:attrName>
                                        </p:attrNameLst>
                                      </p:cBhvr>
                                      <p:to>
                                        <p:strVal val="visible"/>
                                      </p:to>
                                    </p:set>
                                    <p:anim calcmode="lin" valueType="num">
                                      <p:cBhvr>
                                        <p:cTn id="17" dur="500" fill="hold"/>
                                        <p:tgtEl>
                                          <p:spTgt spid="26"/>
                                        </p:tgtEl>
                                        <p:attrNameLst>
                                          <p:attrName>ppt_w</p:attrName>
                                        </p:attrNameLst>
                                      </p:cBhvr>
                                      <p:tavLst>
                                        <p:tav tm="0">
                                          <p:val>
                                            <p:fltVal val="0"/>
                                          </p:val>
                                        </p:tav>
                                        <p:tav tm="100000">
                                          <p:val>
                                            <p:strVal val="#ppt_w"/>
                                          </p:val>
                                        </p:tav>
                                      </p:tavLst>
                                    </p:anim>
                                    <p:anim calcmode="lin" valueType="num">
                                      <p:cBhvr>
                                        <p:cTn id="18" dur="500" fill="hold"/>
                                        <p:tgtEl>
                                          <p:spTgt spid="26"/>
                                        </p:tgtEl>
                                        <p:attrNameLst>
                                          <p:attrName>ppt_h</p:attrName>
                                        </p:attrNameLst>
                                      </p:cBhvr>
                                      <p:tavLst>
                                        <p:tav tm="0">
                                          <p:val>
                                            <p:fltVal val="0"/>
                                          </p:val>
                                        </p:tav>
                                        <p:tav tm="100000">
                                          <p:val>
                                            <p:strVal val="#ppt_h"/>
                                          </p:val>
                                        </p:tav>
                                      </p:tavLst>
                                    </p:anim>
                                    <p:animEffect transition="in" filter="fade">
                                      <p:cBhvr>
                                        <p:cTn id="19" dur="500"/>
                                        <p:tgtEl>
                                          <p:spTgt spid="26"/>
                                        </p:tgtEl>
                                      </p:cBhvr>
                                    </p:animEffect>
                                  </p:childTnLst>
                                </p:cTn>
                              </p:par>
                              <p:par>
                                <p:cTn id="20" presetID="53" presetClass="entr" presetSubtype="16" fill="hold" nodeType="withEffect">
                                  <p:stCondLst>
                                    <p:cond delay="0"/>
                                  </p:stCondLst>
                                  <p:childTnLst>
                                    <p:set>
                                      <p:cBhvr>
                                        <p:cTn id="21" dur="1" fill="hold">
                                          <p:stCondLst>
                                            <p:cond delay="0"/>
                                          </p:stCondLst>
                                        </p:cTn>
                                        <p:tgtEl>
                                          <p:spTgt spid="14"/>
                                        </p:tgtEl>
                                        <p:attrNameLst>
                                          <p:attrName>style.visibility</p:attrName>
                                        </p:attrNameLst>
                                      </p:cBhvr>
                                      <p:to>
                                        <p:strVal val="visible"/>
                                      </p:to>
                                    </p:set>
                                    <p:anim calcmode="lin" valueType="num">
                                      <p:cBhvr>
                                        <p:cTn id="22" dur="500" fill="hold"/>
                                        <p:tgtEl>
                                          <p:spTgt spid="14"/>
                                        </p:tgtEl>
                                        <p:attrNameLst>
                                          <p:attrName>ppt_w</p:attrName>
                                        </p:attrNameLst>
                                      </p:cBhvr>
                                      <p:tavLst>
                                        <p:tav tm="0">
                                          <p:val>
                                            <p:fltVal val="0"/>
                                          </p:val>
                                        </p:tav>
                                        <p:tav tm="100000">
                                          <p:val>
                                            <p:strVal val="#ppt_w"/>
                                          </p:val>
                                        </p:tav>
                                      </p:tavLst>
                                    </p:anim>
                                    <p:anim calcmode="lin" valueType="num">
                                      <p:cBhvr>
                                        <p:cTn id="23" dur="500" fill="hold"/>
                                        <p:tgtEl>
                                          <p:spTgt spid="14"/>
                                        </p:tgtEl>
                                        <p:attrNameLst>
                                          <p:attrName>ppt_h</p:attrName>
                                        </p:attrNameLst>
                                      </p:cBhvr>
                                      <p:tavLst>
                                        <p:tav tm="0">
                                          <p:val>
                                            <p:fltVal val="0"/>
                                          </p:val>
                                        </p:tav>
                                        <p:tav tm="100000">
                                          <p:val>
                                            <p:strVal val="#ppt_h"/>
                                          </p:val>
                                        </p:tav>
                                      </p:tavLst>
                                    </p:anim>
                                    <p:animEffect transition="in" filter="fade">
                                      <p:cBhvr>
                                        <p:cTn id="24" dur="500"/>
                                        <p:tgtEl>
                                          <p:spTgt spid="14"/>
                                        </p:tgtEl>
                                      </p:cBhvr>
                                    </p:animEffect>
                                  </p:childTnLst>
                                </p:cTn>
                              </p:par>
                              <p:par>
                                <p:cTn id="25" presetID="53" presetClass="entr" presetSubtype="16" fill="hold" nodeType="withEffect">
                                  <p:stCondLst>
                                    <p:cond delay="0"/>
                                  </p:stCondLst>
                                  <p:childTnLst>
                                    <p:set>
                                      <p:cBhvr>
                                        <p:cTn id="26" dur="1" fill="hold">
                                          <p:stCondLst>
                                            <p:cond delay="0"/>
                                          </p:stCondLst>
                                        </p:cTn>
                                        <p:tgtEl>
                                          <p:spTgt spid="22"/>
                                        </p:tgtEl>
                                        <p:attrNameLst>
                                          <p:attrName>style.visibility</p:attrName>
                                        </p:attrNameLst>
                                      </p:cBhvr>
                                      <p:to>
                                        <p:strVal val="visible"/>
                                      </p:to>
                                    </p:set>
                                    <p:anim calcmode="lin" valueType="num">
                                      <p:cBhvr>
                                        <p:cTn id="27" dur="500" fill="hold"/>
                                        <p:tgtEl>
                                          <p:spTgt spid="22"/>
                                        </p:tgtEl>
                                        <p:attrNameLst>
                                          <p:attrName>ppt_w</p:attrName>
                                        </p:attrNameLst>
                                      </p:cBhvr>
                                      <p:tavLst>
                                        <p:tav tm="0">
                                          <p:val>
                                            <p:fltVal val="0"/>
                                          </p:val>
                                        </p:tav>
                                        <p:tav tm="100000">
                                          <p:val>
                                            <p:strVal val="#ppt_w"/>
                                          </p:val>
                                        </p:tav>
                                      </p:tavLst>
                                    </p:anim>
                                    <p:anim calcmode="lin" valueType="num">
                                      <p:cBhvr>
                                        <p:cTn id="28" dur="500" fill="hold"/>
                                        <p:tgtEl>
                                          <p:spTgt spid="22"/>
                                        </p:tgtEl>
                                        <p:attrNameLst>
                                          <p:attrName>ppt_h</p:attrName>
                                        </p:attrNameLst>
                                      </p:cBhvr>
                                      <p:tavLst>
                                        <p:tav tm="0">
                                          <p:val>
                                            <p:fltVal val="0"/>
                                          </p:val>
                                        </p:tav>
                                        <p:tav tm="100000">
                                          <p:val>
                                            <p:strVal val="#ppt_h"/>
                                          </p:val>
                                        </p:tav>
                                      </p:tavLst>
                                    </p:anim>
                                    <p:animEffect transition="in" filter="fade">
                                      <p:cBhvr>
                                        <p:cTn id="29" dur="500"/>
                                        <p:tgtEl>
                                          <p:spTgt spid="22"/>
                                        </p:tgtEl>
                                      </p:cBhvr>
                                    </p:animEffect>
                                  </p:childTnLst>
                                </p:cTn>
                              </p:par>
                            </p:childTnLst>
                          </p:cTn>
                        </p:par>
                        <p:par>
                          <p:cTn id="30" fill="hold">
                            <p:stCondLst>
                              <p:cond delay="1000"/>
                            </p:stCondLst>
                            <p:childTnLst>
                              <p:par>
                                <p:cTn id="31" presetID="10" presetClass="entr" presetSubtype="0" fill="hold" grpId="0" nodeType="afterEffect">
                                  <p:stCondLst>
                                    <p:cond delay="0"/>
                                  </p:stCondLst>
                                  <p:childTnLst>
                                    <p:set>
                                      <p:cBhvr>
                                        <p:cTn id="32" dur="1" fill="hold">
                                          <p:stCondLst>
                                            <p:cond delay="0"/>
                                          </p:stCondLst>
                                        </p:cTn>
                                        <p:tgtEl>
                                          <p:spTgt spid="31"/>
                                        </p:tgtEl>
                                        <p:attrNameLst>
                                          <p:attrName>style.visibility</p:attrName>
                                        </p:attrNameLst>
                                      </p:cBhvr>
                                      <p:to>
                                        <p:strVal val="visible"/>
                                      </p:to>
                                    </p:set>
                                    <p:animEffect transition="in" filter="fade">
                                      <p:cBhvr>
                                        <p:cTn id="33" dur="500"/>
                                        <p:tgtEl>
                                          <p:spTgt spid="31"/>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33"/>
                                        </p:tgtEl>
                                        <p:attrNameLst>
                                          <p:attrName>style.visibility</p:attrName>
                                        </p:attrNameLst>
                                      </p:cBhvr>
                                      <p:to>
                                        <p:strVal val="visible"/>
                                      </p:to>
                                    </p:set>
                                    <p:animEffect transition="in" filter="fade">
                                      <p:cBhvr>
                                        <p:cTn id="36" dur="500"/>
                                        <p:tgtEl>
                                          <p:spTgt spid="33"/>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35"/>
                                        </p:tgtEl>
                                        <p:attrNameLst>
                                          <p:attrName>style.visibility</p:attrName>
                                        </p:attrNameLst>
                                      </p:cBhvr>
                                      <p:to>
                                        <p:strVal val="visible"/>
                                      </p:to>
                                    </p:set>
                                    <p:animEffect transition="in" filter="fade">
                                      <p:cBhvr>
                                        <p:cTn id="39" dur="500"/>
                                        <p:tgtEl>
                                          <p:spTgt spid="35"/>
                                        </p:tgtEl>
                                      </p:cBhvr>
                                    </p:animEffect>
                                  </p:childTnLst>
                                </p:cTn>
                              </p:par>
                            </p:childTnLst>
                          </p:cTn>
                        </p:par>
                        <p:par>
                          <p:cTn id="40" fill="hold">
                            <p:stCondLst>
                              <p:cond delay="1500"/>
                            </p:stCondLst>
                            <p:childTnLst>
                              <p:par>
                                <p:cTn id="41" presetID="22" presetClass="entr" presetSubtype="8" fill="hold" grpId="0" nodeType="afterEffect">
                                  <p:stCondLst>
                                    <p:cond delay="0"/>
                                  </p:stCondLst>
                                  <p:childTnLst>
                                    <p:set>
                                      <p:cBhvr>
                                        <p:cTn id="42" dur="1" fill="hold">
                                          <p:stCondLst>
                                            <p:cond delay="0"/>
                                          </p:stCondLst>
                                        </p:cTn>
                                        <p:tgtEl>
                                          <p:spTgt spid="32"/>
                                        </p:tgtEl>
                                        <p:attrNameLst>
                                          <p:attrName>style.visibility</p:attrName>
                                        </p:attrNameLst>
                                      </p:cBhvr>
                                      <p:to>
                                        <p:strVal val="visible"/>
                                      </p:to>
                                    </p:set>
                                    <p:animEffect transition="in" filter="wipe(left)">
                                      <p:cBhvr>
                                        <p:cTn id="43" dur="500"/>
                                        <p:tgtEl>
                                          <p:spTgt spid="32"/>
                                        </p:tgtEl>
                                      </p:cBhvr>
                                    </p:animEffect>
                                  </p:childTnLst>
                                </p:cTn>
                              </p:par>
                              <p:par>
                                <p:cTn id="44" presetID="22" presetClass="entr" presetSubtype="8" fill="hold" grpId="0" nodeType="withEffect">
                                  <p:stCondLst>
                                    <p:cond delay="0"/>
                                  </p:stCondLst>
                                  <p:childTnLst>
                                    <p:set>
                                      <p:cBhvr>
                                        <p:cTn id="45" dur="1" fill="hold">
                                          <p:stCondLst>
                                            <p:cond delay="0"/>
                                          </p:stCondLst>
                                        </p:cTn>
                                        <p:tgtEl>
                                          <p:spTgt spid="34"/>
                                        </p:tgtEl>
                                        <p:attrNameLst>
                                          <p:attrName>style.visibility</p:attrName>
                                        </p:attrNameLst>
                                      </p:cBhvr>
                                      <p:to>
                                        <p:strVal val="visible"/>
                                      </p:to>
                                    </p:set>
                                    <p:animEffect transition="in" filter="wipe(left)">
                                      <p:cBhvr>
                                        <p:cTn id="46" dur="500"/>
                                        <p:tgtEl>
                                          <p:spTgt spid="34"/>
                                        </p:tgtEl>
                                      </p:cBhvr>
                                    </p:animEffect>
                                  </p:childTnLst>
                                </p:cTn>
                              </p:par>
                              <p:par>
                                <p:cTn id="47" presetID="22" presetClass="entr" presetSubtype="8" fill="hold" grpId="0" nodeType="withEffect">
                                  <p:stCondLst>
                                    <p:cond delay="0"/>
                                  </p:stCondLst>
                                  <p:childTnLst>
                                    <p:set>
                                      <p:cBhvr>
                                        <p:cTn id="48" dur="1" fill="hold">
                                          <p:stCondLst>
                                            <p:cond delay="0"/>
                                          </p:stCondLst>
                                        </p:cTn>
                                        <p:tgtEl>
                                          <p:spTgt spid="36"/>
                                        </p:tgtEl>
                                        <p:attrNameLst>
                                          <p:attrName>style.visibility</p:attrName>
                                        </p:attrNameLst>
                                      </p:cBhvr>
                                      <p:to>
                                        <p:strVal val="visible"/>
                                      </p:to>
                                    </p:set>
                                    <p:animEffect transition="in" filter="wipe(left)">
                                      <p:cBhvr>
                                        <p:cTn id="49" dur="500"/>
                                        <p:tgtEl>
                                          <p:spTgt spid="36"/>
                                        </p:tgtEl>
                                      </p:cBhvr>
                                    </p:animEffect>
                                  </p:childTnLst>
                                </p:cTn>
                              </p:par>
                            </p:childTnLst>
                          </p:cTn>
                        </p:par>
                        <p:par>
                          <p:cTn id="50" fill="hold">
                            <p:stCondLst>
                              <p:cond delay="2000"/>
                            </p:stCondLst>
                            <p:childTnLst>
                              <p:par>
                                <p:cTn id="51" presetID="22" presetClass="entr" presetSubtype="4" fill="hold" grpId="0" nodeType="afterEffect">
                                  <p:stCondLst>
                                    <p:cond delay="0"/>
                                  </p:stCondLst>
                                  <p:childTnLst>
                                    <p:set>
                                      <p:cBhvr>
                                        <p:cTn id="52" dur="1" fill="hold">
                                          <p:stCondLst>
                                            <p:cond delay="0"/>
                                          </p:stCondLst>
                                        </p:cTn>
                                        <p:tgtEl>
                                          <p:spTgt spid="4"/>
                                        </p:tgtEl>
                                        <p:attrNameLst>
                                          <p:attrName>style.visibility</p:attrName>
                                        </p:attrNameLst>
                                      </p:cBhvr>
                                      <p:to>
                                        <p:strVal val="visible"/>
                                      </p:to>
                                    </p:set>
                                    <p:animEffect transition="in" filter="wipe(down)">
                                      <p:cBhvr>
                                        <p:cTn id="53" dur="500"/>
                                        <p:tgtEl>
                                          <p:spTgt spid="4"/>
                                        </p:tgtEl>
                                      </p:cBhvr>
                                    </p:animEffect>
                                  </p:childTnLst>
                                </p:cTn>
                              </p:par>
                            </p:childTnLst>
                          </p:cTn>
                        </p:par>
                        <p:par>
                          <p:cTn id="54" fill="hold">
                            <p:stCondLst>
                              <p:cond delay="2500"/>
                            </p:stCondLst>
                            <p:childTnLst>
                              <p:par>
                                <p:cTn id="55" presetID="53" presetClass="entr" presetSubtype="16" fill="hold" nodeType="afterEffect">
                                  <p:stCondLst>
                                    <p:cond delay="0"/>
                                  </p:stCondLst>
                                  <p:childTnLst>
                                    <p:set>
                                      <p:cBhvr>
                                        <p:cTn id="56" dur="1" fill="hold">
                                          <p:stCondLst>
                                            <p:cond delay="0"/>
                                          </p:stCondLst>
                                        </p:cTn>
                                        <p:tgtEl>
                                          <p:spTgt spid="8"/>
                                        </p:tgtEl>
                                        <p:attrNameLst>
                                          <p:attrName>style.visibility</p:attrName>
                                        </p:attrNameLst>
                                      </p:cBhvr>
                                      <p:to>
                                        <p:strVal val="visible"/>
                                      </p:to>
                                    </p:set>
                                    <p:anim calcmode="lin" valueType="num">
                                      <p:cBhvr>
                                        <p:cTn id="57" dur="500" fill="hold"/>
                                        <p:tgtEl>
                                          <p:spTgt spid="8"/>
                                        </p:tgtEl>
                                        <p:attrNameLst>
                                          <p:attrName>ppt_w</p:attrName>
                                        </p:attrNameLst>
                                      </p:cBhvr>
                                      <p:tavLst>
                                        <p:tav tm="0">
                                          <p:val>
                                            <p:fltVal val="0"/>
                                          </p:val>
                                        </p:tav>
                                        <p:tav tm="100000">
                                          <p:val>
                                            <p:strVal val="#ppt_w"/>
                                          </p:val>
                                        </p:tav>
                                      </p:tavLst>
                                    </p:anim>
                                    <p:anim calcmode="lin" valueType="num">
                                      <p:cBhvr>
                                        <p:cTn id="58" dur="500" fill="hold"/>
                                        <p:tgtEl>
                                          <p:spTgt spid="8"/>
                                        </p:tgtEl>
                                        <p:attrNameLst>
                                          <p:attrName>ppt_h</p:attrName>
                                        </p:attrNameLst>
                                      </p:cBhvr>
                                      <p:tavLst>
                                        <p:tav tm="0">
                                          <p:val>
                                            <p:fltVal val="0"/>
                                          </p:val>
                                        </p:tav>
                                        <p:tav tm="100000">
                                          <p:val>
                                            <p:strVal val="#ppt_h"/>
                                          </p:val>
                                        </p:tav>
                                      </p:tavLst>
                                    </p:anim>
                                    <p:animEffect transition="in" filter="fade">
                                      <p:cBhvr>
                                        <p:cTn id="59" dur="500"/>
                                        <p:tgtEl>
                                          <p:spTgt spid="8"/>
                                        </p:tgtEl>
                                      </p:cBhvr>
                                    </p:animEffect>
                                  </p:childTnLst>
                                </p:cTn>
                              </p:par>
                              <p:par>
                                <p:cTn id="60" presetID="53" presetClass="entr" presetSubtype="16" fill="hold" nodeType="withEffect">
                                  <p:stCondLst>
                                    <p:cond delay="0"/>
                                  </p:stCondLst>
                                  <p:childTnLst>
                                    <p:set>
                                      <p:cBhvr>
                                        <p:cTn id="61" dur="1" fill="hold">
                                          <p:stCondLst>
                                            <p:cond delay="0"/>
                                          </p:stCondLst>
                                        </p:cTn>
                                        <p:tgtEl>
                                          <p:spTgt spid="5"/>
                                        </p:tgtEl>
                                        <p:attrNameLst>
                                          <p:attrName>style.visibility</p:attrName>
                                        </p:attrNameLst>
                                      </p:cBhvr>
                                      <p:to>
                                        <p:strVal val="visible"/>
                                      </p:to>
                                    </p:set>
                                    <p:anim calcmode="lin" valueType="num">
                                      <p:cBhvr>
                                        <p:cTn id="62" dur="500" fill="hold"/>
                                        <p:tgtEl>
                                          <p:spTgt spid="5"/>
                                        </p:tgtEl>
                                        <p:attrNameLst>
                                          <p:attrName>ppt_w</p:attrName>
                                        </p:attrNameLst>
                                      </p:cBhvr>
                                      <p:tavLst>
                                        <p:tav tm="0">
                                          <p:val>
                                            <p:fltVal val="0"/>
                                          </p:val>
                                        </p:tav>
                                        <p:tav tm="100000">
                                          <p:val>
                                            <p:strVal val="#ppt_w"/>
                                          </p:val>
                                        </p:tav>
                                      </p:tavLst>
                                    </p:anim>
                                    <p:anim calcmode="lin" valueType="num">
                                      <p:cBhvr>
                                        <p:cTn id="63" dur="500" fill="hold"/>
                                        <p:tgtEl>
                                          <p:spTgt spid="5"/>
                                        </p:tgtEl>
                                        <p:attrNameLst>
                                          <p:attrName>ppt_h</p:attrName>
                                        </p:attrNameLst>
                                      </p:cBhvr>
                                      <p:tavLst>
                                        <p:tav tm="0">
                                          <p:val>
                                            <p:fltVal val="0"/>
                                          </p:val>
                                        </p:tav>
                                        <p:tav tm="100000">
                                          <p:val>
                                            <p:strVal val="#ppt_h"/>
                                          </p:val>
                                        </p:tav>
                                      </p:tavLst>
                                    </p:anim>
                                    <p:animEffect transition="in" filter="fade">
                                      <p:cBhvr>
                                        <p:cTn id="64" dur="500"/>
                                        <p:tgtEl>
                                          <p:spTgt spid="5"/>
                                        </p:tgtEl>
                                      </p:cBhvr>
                                    </p:animEffect>
                                  </p:childTnLst>
                                </p:cTn>
                              </p:par>
                              <p:par>
                                <p:cTn id="65" presetID="53" presetClass="entr" presetSubtype="16" fill="hold" nodeType="withEffect">
                                  <p:stCondLst>
                                    <p:cond delay="0"/>
                                  </p:stCondLst>
                                  <p:childTnLst>
                                    <p:set>
                                      <p:cBhvr>
                                        <p:cTn id="66" dur="1" fill="hold">
                                          <p:stCondLst>
                                            <p:cond delay="0"/>
                                          </p:stCondLst>
                                        </p:cTn>
                                        <p:tgtEl>
                                          <p:spTgt spid="41"/>
                                        </p:tgtEl>
                                        <p:attrNameLst>
                                          <p:attrName>style.visibility</p:attrName>
                                        </p:attrNameLst>
                                      </p:cBhvr>
                                      <p:to>
                                        <p:strVal val="visible"/>
                                      </p:to>
                                    </p:set>
                                    <p:anim calcmode="lin" valueType="num">
                                      <p:cBhvr>
                                        <p:cTn id="67" dur="500" fill="hold"/>
                                        <p:tgtEl>
                                          <p:spTgt spid="41"/>
                                        </p:tgtEl>
                                        <p:attrNameLst>
                                          <p:attrName>ppt_w</p:attrName>
                                        </p:attrNameLst>
                                      </p:cBhvr>
                                      <p:tavLst>
                                        <p:tav tm="0">
                                          <p:val>
                                            <p:fltVal val="0"/>
                                          </p:val>
                                        </p:tav>
                                        <p:tav tm="100000">
                                          <p:val>
                                            <p:strVal val="#ppt_w"/>
                                          </p:val>
                                        </p:tav>
                                      </p:tavLst>
                                    </p:anim>
                                    <p:anim calcmode="lin" valueType="num">
                                      <p:cBhvr>
                                        <p:cTn id="68" dur="500" fill="hold"/>
                                        <p:tgtEl>
                                          <p:spTgt spid="41"/>
                                        </p:tgtEl>
                                        <p:attrNameLst>
                                          <p:attrName>ppt_h</p:attrName>
                                        </p:attrNameLst>
                                      </p:cBhvr>
                                      <p:tavLst>
                                        <p:tav tm="0">
                                          <p:val>
                                            <p:fltVal val="0"/>
                                          </p:val>
                                        </p:tav>
                                        <p:tav tm="100000">
                                          <p:val>
                                            <p:strVal val="#ppt_h"/>
                                          </p:val>
                                        </p:tav>
                                      </p:tavLst>
                                    </p:anim>
                                    <p:animEffect transition="in" filter="fade">
                                      <p:cBhvr>
                                        <p:cTn id="69" dur="500"/>
                                        <p:tgtEl>
                                          <p:spTgt spid="41"/>
                                        </p:tgtEl>
                                      </p:cBhvr>
                                    </p:animEffect>
                                  </p:childTnLst>
                                </p:cTn>
                              </p:par>
                            </p:childTnLst>
                          </p:cTn>
                        </p:par>
                        <p:par>
                          <p:cTn id="70" fill="hold">
                            <p:stCondLst>
                              <p:cond delay="3000"/>
                            </p:stCondLst>
                            <p:childTnLst>
                              <p:par>
                                <p:cTn id="71" presetID="53" presetClass="entr" presetSubtype="16" fill="hold" grpId="0" nodeType="afterEffect">
                                  <p:stCondLst>
                                    <p:cond delay="0"/>
                                  </p:stCondLst>
                                  <p:childTnLst>
                                    <p:set>
                                      <p:cBhvr>
                                        <p:cTn id="72" dur="1" fill="hold">
                                          <p:stCondLst>
                                            <p:cond delay="0"/>
                                          </p:stCondLst>
                                        </p:cTn>
                                        <p:tgtEl>
                                          <p:spTgt spid="37"/>
                                        </p:tgtEl>
                                        <p:attrNameLst>
                                          <p:attrName>style.visibility</p:attrName>
                                        </p:attrNameLst>
                                      </p:cBhvr>
                                      <p:to>
                                        <p:strVal val="visible"/>
                                      </p:to>
                                    </p:set>
                                    <p:anim calcmode="lin" valueType="num">
                                      <p:cBhvr>
                                        <p:cTn id="73" dur="500" fill="hold"/>
                                        <p:tgtEl>
                                          <p:spTgt spid="37"/>
                                        </p:tgtEl>
                                        <p:attrNameLst>
                                          <p:attrName>ppt_w</p:attrName>
                                        </p:attrNameLst>
                                      </p:cBhvr>
                                      <p:tavLst>
                                        <p:tav tm="0">
                                          <p:val>
                                            <p:fltVal val="0"/>
                                          </p:val>
                                        </p:tav>
                                        <p:tav tm="100000">
                                          <p:val>
                                            <p:strVal val="#ppt_w"/>
                                          </p:val>
                                        </p:tav>
                                      </p:tavLst>
                                    </p:anim>
                                    <p:anim calcmode="lin" valueType="num">
                                      <p:cBhvr>
                                        <p:cTn id="74" dur="500" fill="hold"/>
                                        <p:tgtEl>
                                          <p:spTgt spid="37"/>
                                        </p:tgtEl>
                                        <p:attrNameLst>
                                          <p:attrName>ppt_h</p:attrName>
                                        </p:attrNameLst>
                                      </p:cBhvr>
                                      <p:tavLst>
                                        <p:tav tm="0">
                                          <p:val>
                                            <p:fltVal val="0"/>
                                          </p:val>
                                        </p:tav>
                                        <p:tav tm="100000">
                                          <p:val>
                                            <p:strVal val="#ppt_h"/>
                                          </p:val>
                                        </p:tav>
                                      </p:tavLst>
                                    </p:anim>
                                    <p:animEffect transition="in" filter="fade">
                                      <p:cBhvr>
                                        <p:cTn id="75" dur="500"/>
                                        <p:tgtEl>
                                          <p:spTgt spid="37"/>
                                        </p:tgtEl>
                                      </p:cBhvr>
                                    </p:animEffect>
                                  </p:childTnLst>
                                </p:cTn>
                              </p:par>
                              <p:par>
                                <p:cTn id="76" presetID="53" presetClass="entr" presetSubtype="16" fill="hold" grpId="0" nodeType="withEffect">
                                  <p:stCondLst>
                                    <p:cond delay="0"/>
                                  </p:stCondLst>
                                  <p:childTnLst>
                                    <p:set>
                                      <p:cBhvr>
                                        <p:cTn id="77" dur="1" fill="hold">
                                          <p:stCondLst>
                                            <p:cond delay="0"/>
                                          </p:stCondLst>
                                        </p:cTn>
                                        <p:tgtEl>
                                          <p:spTgt spid="39"/>
                                        </p:tgtEl>
                                        <p:attrNameLst>
                                          <p:attrName>style.visibility</p:attrName>
                                        </p:attrNameLst>
                                      </p:cBhvr>
                                      <p:to>
                                        <p:strVal val="visible"/>
                                      </p:to>
                                    </p:set>
                                    <p:anim calcmode="lin" valueType="num">
                                      <p:cBhvr>
                                        <p:cTn id="78" dur="500" fill="hold"/>
                                        <p:tgtEl>
                                          <p:spTgt spid="39"/>
                                        </p:tgtEl>
                                        <p:attrNameLst>
                                          <p:attrName>ppt_w</p:attrName>
                                        </p:attrNameLst>
                                      </p:cBhvr>
                                      <p:tavLst>
                                        <p:tav tm="0">
                                          <p:val>
                                            <p:fltVal val="0"/>
                                          </p:val>
                                        </p:tav>
                                        <p:tav tm="100000">
                                          <p:val>
                                            <p:strVal val="#ppt_w"/>
                                          </p:val>
                                        </p:tav>
                                      </p:tavLst>
                                    </p:anim>
                                    <p:anim calcmode="lin" valueType="num">
                                      <p:cBhvr>
                                        <p:cTn id="79" dur="500" fill="hold"/>
                                        <p:tgtEl>
                                          <p:spTgt spid="39"/>
                                        </p:tgtEl>
                                        <p:attrNameLst>
                                          <p:attrName>ppt_h</p:attrName>
                                        </p:attrNameLst>
                                      </p:cBhvr>
                                      <p:tavLst>
                                        <p:tav tm="0">
                                          <p:val>
                                            <p:fltVal val="0"/>
                                          </p:val>
                                        </p:tav>
                                        <p:tav tm="100000">
                                          <p:val>
                                            <p:strVal val="#ppt_h"/>
                                          </p:val>
                                        </p:tav>
                                      </p:tavLst>
                                    </p:anim>
                                    <p:animEffect transition="in" filter="fade">
                                      <p:cBhvr>
                                        <p:cTn id="80" dur="500"/>
                                        <p:tgtEl>
                                          <p:spTgt spid="39"/>
                                        </p:tgtEl>
                                      </p:cBhvr>
                                    </p:animEffect>
                                  </p:childTnLst>
                                </p:cTn>
                              </p:par>
                              <p:par>
                                <p:cTn id="81" presetID="53" presetClass="entr" presetSubtype="16" fill="hold" grpId="0" nodeType="withEffect">
                                  <p:stCondLst>
                                    <p:cond delay="0"/>
                                  </p:stCondLst>
                                  <p:childTnLst>
                                    <p:set>
                                      <p:cBhvr>
                                        <p:cTn id="82" dur="1" fill="hold">
                                          <p:stCondLst>
                                            <p:cond delay="0"/>
                                          </p:stCondLst>
                                        </p:cTn>
                                        <p:tgtEl>
                                          <p:spTgt spid="44"/>
                                        </p:tgtEl>
                                        <p:attrNameLst>
                                          <p:attrName>style.visibility</p:attrName>
                                        </p:attrNameLst>
                                      </p:cBhvr>
                                      <p:to>
                                        <p:strVal val="visible"/>
                                      </p:to>
                                    </p:set>
                                    <p:anim calcmode="lin" valueType="num">
                                      <p:cBhvr>
                                        <p:cTn id="83" dur="500" fill="hold"/>
                                        <p:tgtEl>
                                          <p:spTgt spid="44"/>
                                        </p:tgtEl>
                                        <p:attrNameLst>
                                          <p:attrName>ppt_w</p:attrName>
                                        </p:attrNameLst>
                                      </p:cBhvr>
                                      <p:tavLst>
                                        <p:tav tm="0">
                                          <p:val>
                                            <p:fltVal val="0"/>
                                          </p:val>
                                        </p:tav>
                                        <p:tav tm="100000">
                                          <p:val>
                                            <p:strVal val="#ppt_w"/>
                                          </p:val>
                                        </p:tav>
                                      </p:tavLst>
                                    </p:anim>
                                    <p:anim calcmode="lin" valueType="num">
                                      <p:cBhvr>
                                        <p:cTn id="84" dur="500" fill="hold"/>
                                        <p:tgtEl>
                                          <p:spTgt spid="44"/>
                                        </p:tgtEl>
                                        <p:attrNameLst>
                                          <p:attrName>ppt_h</p:attrName>
                                        </p:attrNameLst>
                                      </p:cBhvr>
                                      <p:tavLst>
                                        <p:tav tm="0">
                                          <p:val>
                                            <p:fltVal val="0"/>
                                          </p:val>
                                        </p:tav>
                                        <p:tav tm="100000">
                                          <p:val>
                                            <p:strVal val="#ppt_h"/>
                                          </p:val>
                                        </p:tav>
                                      </p:tavLst>
                                    </p:anim>
                                    <p:animEffect transition="in" filter="fade">
                                      <p:cBhvr>
                                        <p:cTn id="85" dur="500"/>
                                        <p:tgtEl>
                                          <p:spTgt spid="44"/>
                                        </p:tgtEl>
                                      </p:cBhvr>
                                    </p:animEffect>
                                  </p:childTnLst>
                                </p:cTn>
                              </p:par>
                            </p:childTnLst>
                          </p:cTn>
                        </p:par>
                        <p:par>
                          <p:cTn id="86" fill="hold">
                            <p:stCondLst>
                              <p:cond delay="3500"/>
                            </p:stCondLst>
                            <p:childTnLst>
                              <p:par>
                                <p:cTn id="87" presetID="10" presetClass="entr" presetSubtype="0" fill="hold" grpId="0" nodeType="afterEffect">
                                  <p:stCondLst>
                                    <p:cond delay="0"/>
                                  </p:stCondLst>
                                  <p:childTnLst>
                                    <p:set>
                                      <p:cBhvr>
                                        <p:cTn id="88" dur="1" fill="hold">
                                          <p:stCondLst>
                                            <p:cond delay="0"/>
                                          </p:stCondLst>
                                        </p:cTn>
                                        <p:tgtEl>
                                          <p:spTgt spid="40"/>
                                        </p:tgtEl>
                                        <p:attrNameLst>
                                          <p:attrName>style.visibility</p:attrName>
                                        </p:attrNameLst>
                                      </p:cBhvr>
                                      <p:to>
                                        <p:strVal val="visible"/>
                                      </p:to>
                                    </p:set>
                                    <p:animEffect transition="in" filter="fade">
                                      <p:cBhvr>
                                        <p:cTn id="89" dur="500"/>
                                        <p:tgtEl>
                                          <p:spTgt spid="40"/>
                                        </p:tgtEl>
                                      </p:cBhvr>
                                    </p:animEffect>
                                  </p:childTnLst>
                                </p:cTn>
                              </p:par>
                              <p:par>
                                <p:cTn id="90" presetID="10" presetClass="entr" presetSubtype="0" fill="hold" grpId="0" nodeType="withEffect">
                                  <p:stCondLst>
                                    <p:cond delay="0"/>
                                  </p:stCondLst>
                                  <p:childTnLst>
                                    <p:set>
                                      <p:cBhvr>
                                        <p:cTn id="91" dur="1" fill="hold">
                                          <p:stCondLst>
                                            <p:cond delay="0"/>
                                          </p:stCondLst>
                                        </p:cTn>
                                        <p:tgtEl>
                                          <p:spTgt spid="38"/>
                                        </p:tgtEl>
                                        <p:attrNameLst>
                                          <p:attrName>style.visibility</p:attrName>
                                        </p:attrNameLst>
                                      </p:cBhvr>
                                      <p:to>
                                        <p:strVal val="visible"/>
                                      </p:to>
                                    </p:set>
                                    <p:animEffect transition="in" filter="fade">
                                      <p:cBhvr>
                                        <p:cTn id="92" dur="500"/>
                                        <p:tgtEl>
                                          <p:spTgt spid="38"/>
                                        </p:tgtEl>
                                      </p:cBhvr>
                                    </p:animEffect>
                                  </p:childTnLst>
                                </p:cTn>
                              </p:par>
                              <p:par>
                                <p:cTn id="93" presetID="10" presetClass="entr" presetSubtype="0" fill="hold" grpId="0" nodeType="withEffect">
                                  <p:stCondLst>
                                    <p:cond delay="0"/>
                                  </p:stCondLst>
                                  <p:childTnLst>
                                    <p:set>
                                      <p:cBhvr>
                                        <p:cTn id="94" dur="1" fill="hold">
                                          <p:stCondLst>
                                            <p:cond delay="0"/>
                                          </p:stCondLst>
                                        </p:cTn>
                                        <p:tgtEl>
                                          <p:spTgt spid="45"/>
                                        </p:tgtEl>
                                        <p:attrNameLst>
                                          <p:attrName>style.visibility</p:attrName>
                                        </p:attrNameLst>
                                      </p:cBhvr>
                                      <p:to>
                                        <p:strVal val="visible"/>
                                      </p:to>
                                    </p:set>
                                    <p:animEffect transition="in" filter="fade">
                                      <p:cBhvr>
                                        <p:cTn id="95" dur="500"/>
                                        <p:tgtEl>
                                          <p:spTgt spid="4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Graphic spid="11" grpId="0">
        <p:bldAsOne/>
      </p:bldGraphic>
      <p:bldGraphic spid="12" grpId="0">
        <p:bldAsOne/>
      </p:bldGraphic>
      <p:bldGraphic spid="13" grpId="0">
        <p:bldAsOne/>
      </p:bldGraphic>
      <p:bldP spid="31" grpId="0"/>
      <p:bldP spid="32" grpId="0"/>
      <p:bldP spid="33" grpId="0"/>
      <p:bldP spid="34" grpId="0"/>
      <p:bldP spid="35" grpId="0"/>
      <p:bldP spid="36" grpId="0"/>
      <p:bldP spid="37" grpId="0"/>
      <p:bldP spid="38" grpId="0"/>
      <p:bldP spid="39" grpId="0"/>
      <p:bldP spid="40" grpId="0"/>
      <p:bldP spid="44" grpId="0"/>
      <p:bldP spid="45" grpId="0"/>
    </p:bldLst>
  </p:timing>
</p:sld>
</file>

<file path=ppt/slides/slide6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1">
            <a:extLst>
              <a:ext uri="{FF2B5EF4-FFF2-40B4-BE49-F238E27FC236}">
                <a16:creationId xmlns:a16="http://schemas.microsoft.com/office/drawing/2014/main" id="{0A4852DB-7242-41E1-9204-AB59DB1CE4D5}"/>
              </a:ext>
            </a:extLst>
          </p:cNvPr>
          <p:cNvGrpSpPr/>
          <p:nvPr/>
        </p:nvGrpSpPr>
        <p:grpSpPr>
          <a:xfrm>
            <a:off x="1045030" y="1514099"/>
            <a:ext cx="5050972" cy="5343903"/>
            <a:chOff x="1045028" y="1514098"/>
            <a:chExt cx="5050972" cy="5343902"/>
          </a:xfrm>
        </p:grpSpPr>
        <p:sp>
          <p:nvSpPr>
            <p:cNvPr id="4" name="Freeform 5">
              <a:extLst>
                <a:ext uri="{FF2B5EF4-FFF2-40B4-BE49-F238E27FC236}">
                  <a16:creationId xmlns:a16="http://schemas.microsoft.com/office/drawing/2014/main" id="{7EF50394-A66D-4298-8A18-BC1DB40B244A}"/>
                </a:ext>
              </a:extLst>
            </p:cNvPr>
            <p:cNvSpPr>
              <a:spLocks/>
            </p:cNvSpPr>
            <p:nvPr/>
          </p:nvSpPr>
          <p:spPr bwMode="auto">
            <a:xfrm>
              <a:off x="3646643" y="3913806"/>
              <a:ext cx="2449357" cy="1327287"/>
            </a:xfrm>
            <a:custGeom>
              <a:avLst/>
              <a:gdLst>
                <a:gd name="T0" fmla="*/ 991 w 991"/>
                <a:gd name="T1" fmla="*/ 419 h 538"/>
                <a:gd name="T2" fmla="*/ 408 w 991"/>
                <a:gd name="T3" fmla="*/ 490 h 538"/>
                <a:gd name="T4" fmla="*/ 49 w 991"/>
                <a:gd name="T5" fmla="*/ 177 h 538"/>
                <a:gd name="T6" fmla="*/ 534 w 991"/>
                <a:gd name="T7" fmla="*/ 61 h 538"/>
                <a:gd name="T8" fmla="*/ 991 w 991"/>
                <a:gd name="T9" fmla="*/ 419 h 538"/>
              </a:gdLst>
              <a:ahLst/>
              <a:cxnLst>
                <a:cxn ang="0">
                  <a:pos x="T0" y="T1"/>
                </a:cxn>
                <a:cxn ang="0">
                  <a:pos x="T2" y="T3"/>
                </a:cxn>
                <a:cxn ang="0">
                  <a:pos x="T4" y="T5"/>
                </a:cxn>
                <a:cxn ang="0">
                  <a:pos x="T6" y="T7"/>
                </a:cxn>
                <a:cxn ang="0">
                  <a:pos x="T8" y="T9"/>
                </a:cxn>
              </a:cxnLst>
              <a:rect l="0" t="0" r="r" b="b"/>
              <a:pathLst>
                <a:path w="991" h="538">
                  <a:moveTo>
                    <a:pt x="991" y="419"/>
                  </a:moveTo>
                  <a:cubicBezTo>
                    <a:pt x="991" y="419"/>
                    <a:pt x="585" y="538"/>
                    <a:pt x="408" y="490"/>
                  </a:cubicBezTo>
                  <a:cubicBezTo>
                    <a:pt x="231" y="441"/>
                    <a:pt x="0" y="354"/>
                    <a:pt x="49" y="177"/>
                  </a:cubicBezTo>
                  <a:cubicBezTo>
                    <a:pt x="98" y="0"/>
                    <a:pt x="356" y="12"/>
                    <a:pt x="534" y="61"/>
                  </a:cubicBezTo>
                  <a:cubicBezTo>
                    <a:pt x="711" y="110"/>
                    <a:pt x="991" y="419"/>
                    <a:pt x="991" y="419"/>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5" name="Freeform 6">
              <a:extLst>
                <a:ext uri="{FF2B5EF4-FFF2-40B4-BE49-F238E27FC236}">
                  <a16:creationId xmlns:a16="http://schemas.microsoft.com/office/drawing/2014/main" id="{CE57BD89-B858-429E-B534-41F8E9DBD51D}"/>
                </a:ext>
              </a:extLst>
            </p:cNvPr>
            <p:cNvSpPr>
              <a:spLocks/>
            </p:cNvSpPr>
            <p:nvPr/>
          </p:nvSpPr>
          <p:spPr bwMode="auto">
            <a:xfrm>
              <a:off x="3461286" y="2682508"/>
              <a:ext cx="2250761" cy="1699656"/>
            </a:xfrm>
            <a:custGeom>
              <a:avLst/>
              <a:gdLst>
                <a:gd name="T0" fmla="*/ 911 w 911"/>
                <a:gd name="T1" fmla="*/ 0 h 689"/>
                <a:gd name="T2" fmla="*/ 571 w 911"/>
                <a:gd name="T3" fmla="*/ 479 h 689"/>
                <a:gd name="T4" fmla="*/ 98 w 911"/>
                <a:gd name="T5" fmla="*/ 534 h 689"/>
                <a:gd name="T6" fmla="*/ 338 w 911"/>
                <a:gd name="T7" fmla="*/ 98 h 689"/>
                <a:gd name="T8" fmla="*/ 911 w 911"/>
                <a:gd name="T9" fmla="*/ 0 h 689"/>
              </a:gdLst>
              <a:ahLst/>
              <a:cxnLst>
                <a:cxn ang="0">
                  <a:pos x="T0" y="T1"/>
                </a:cxn>
                <a:cxn ang="0">
                  <a:pos x="T2" y="T3"/>
                </a:cxn>
                <a:cxn ang="0">
                  <a:pos x="T4" y="T5"/>
                </a:cxn>
                <a:cxn ang="0">
                  <a:pos x="T6" y="T7"/>
                </a:cxn>
                <a:cxn ang="0">
                  <a:pos x="T8" y="T9"/>
                </a:cxn>
              </a:cxnLst>
              <a:rect l="0" t="0" r="r" b="b"/>
              <a:pathLst>
                <a:path w="911" h="689">
                  <a:moveTo>
                    <a:pt x="911" y="0"/>
                  </a:moveTo>
                  <a:cubicBezTo>
                    <a:pt x="911" y="0"/>
                    <a:pt x="726" y="381"/>
                    <a:pt x="571" y="479"/>
                  </a:cubicBezTo>
                  <a:cubicBezTo>
                    <a:pt x="415" y="577"/>
                    <a:pt x="196" y="689"/>
                    <a:pt x="98" y="534"/>
                  </a:cubicBezTo>
                  <a:cubicBezTo>
                    <a:pt x="0" y="378"/>
                    <a:pt x="183" y="196"/>
                    <a:pt x="338" y="98"/>
                  </a:cubicBezTo>
                  <a:cubicBezTo>
                    <a:pt x="494" y="0"/>
                    <a:pt x="911" y="0"/>
                    <a:pt x="911" y="0"/>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6" name="Freeform 7">
              <a:extLst>
                <a:ext uri="{FF2B5EF4-FFF2-40B4-BE49-F238E27FC236}">
                  <a16:creationId xmlns:a16="http://schemas.microsoft.com/office/drawing/2014/main" id="{4EA21CC4-AE64-4D80-85E6-DAEEC76126C2}"/>
                </a:ext>
              </a:extLst>
            </p:cNvPr>
            <p:cNvSpPr>
              <a:spLocks/>
            </p:cNvSpPr>
            <p:nvPr/>
          </p:nvSpPr>
          <p:spPr bwMode="auto">
            <a:xfrm>
              <a:off x="2946629" y="1514098"/>
              <a:ext cx="1117106" cy="2404673"/>
            </a:xfrm>
            <a:custGeom>
              <a:avLst/>
              <a:gdLst>
                <a:gd name="T0" fmla="*/ 234 w 452"/>
                <a:gd name="T1" fmla="*/ 0 h 975"/>
                <a:gd name="T2" fmla="*/ 449 w 452"/>
                <a:gd name="T3" fmla="*/ 546 h 975"/>
                <a:gd name="T4" fmla="*/ 236 w 452"/>
                <a:gd name="T5" fmla="*/ 972 h 975"/>
                <a:gd name="T6" fmla="*/ 3 w 452"/>
                <a:gd name="T7" fmla="*/ 533 h 975"/>
                <a:gd name="T8" fmla="*/ 234 w 452"/>
                <a:gd name="T9" fmla="*/ 0 h 975"/>
              </a:gdLst>
              <a:ahLst/>
              <a:cxnLst>
                <a:cxn ang="0">
                  <a:pos x="T0" y="T1"/>
                </a:cxn>
                <a:cxn ang="0">
                  <a:pos x="T2" y="T3"/>
                </a:cxn>
                <a:cxn ang="0">
                  <a:pos x="T4" y="T5"/>
                </a:cxn>
                <a:cxn ang="0">
                  <a:pos x="T6" y="T7"/>
                </a:cxn>
                <a:cxn ang="0">
                  <a:pos x="T8" y="T9"/>
                </a:cxn>
              </a:cxnLst>
              <a:rect l="0" t="0" r="r" b="b"/>
              <a:pathLst>
                <a:path w="452" h="975">
                  <a:moveTo>
                    <a:pt x="234" y="0"/>
                  </a:moveTo>
                  <a:cubicBezTo>
                    <a:pt x="234" y="0"/>
                    <a:pt x="452" y="362"/>
                    <a:pt x="449" y="546"/>
                  </a:cubicBezTo>
                  <a:cubicBezTo>
                    <a:pt x="446" y="730"/>
                    <a:pt x="420" y="975"/>
                    <a:pt x="236" y="972"/>
                  </a:cubicBezTo>
                  <a:cubicBezTo>
                    <a:pt x="52" y="969"/>
                    <a:pt x="0" y="717"/>
                    <a:pt x="3" y="533"/>
                  </a:cubicBezTo>
                  <a:cubicBezTo>
                    <a:pt x="6" y="349"/>
                    <a:pt x="234" y="0"/>
                    <a:pt x="234" y="0"/>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7" name="Freeform 8">
              <a:extLst>
                <a:ext uri="{FF2B5EF4-FFF2-40B4-BE49-F238E27FC236}">
                  <a16:creationId xmlns:a16="http://schemas.microsoft.com/office/drawing/2014/main" id="{F3622C3D-195F-478F-AA48-CDA9E546BB12}"/>
                </a:ext>
              </a:extLst>
            </p:cNvPr>
            <p:cNvSpPr>
              <a:spLocks/>
            </p:cNvSpPr>
            <p:nvPr/>
          </p:nvSpPr>
          <p:spPr bwMode="auto">
            <a:xfrm>
              <a:off x="1309823" y="2682508"/>
              <a:ext cx="2254071" cy="1699656"/>
            </a:xfrm>
            <a:custGeom>
              <a:avLst/>
              <a:gdLst>
                <a:gd name="T0" fmla="*/ 0 w 912"/>
                <a:gd name="T1" fmla="*/ 0 h 689"/>
                <a:gd name="T2" fmla="*/ 341 w 912"/>
                <a:gd name="T3" fmla="*/ 479 h 689"/>
                <a:gd name="T4" fmla="*/ 814 w 912"/>
                <a:gd name="T5" fmla="*/ 534 h 689"/>
                <a:gd name="T6" fmla="*/ 573 w 912"/>
                <a:gd name="T7" fmla="*/ 98 h 689"/>
                <a:gd name="T8" fmla="*/ 0 w 912"/>
                <a:gd name="T9" fmla="*/ 0 h 689"/>
              </a:gdLst>
              <a:ahLst/>
              <a:cxnLst>
                <a:cxn ang="0">
                  <a:pos x="T0" y="T1"/>
                </a:cxn>
                <a:cxn ang="0">
                  <a:pos x="T2" y="T3"/>
                </a:cxn>
                <a:cxn ang="0">
                  <a:pos x="T4" y="T5"/>
                </a:cxn>
                <a:cxn ang="0">
                  <a:pos x="T6" y="T7"/>
                </a:cxn>
                <a:cxn ang="0">
                  <a:pos x="T8" y="T9"/>
                </a:cxn>
              </a:cxnLst>
              <a:rect l="0" t="0" r="r" b="b"/>
              <a:pathLst>
                <a:path w="912" h="689">
                  <a:moveTo>
                    <a:pt x="0" y="0"/>
                  </a:moveTo>
                  <a:cubicBezTo>
                    <a:pt x="0" y="0"/>
                    <a:pt x="185" y="381"/>
                    <a:pt x="341" y="479"/>
                  </a:cubicBezTo>
                  <a:cubicBezTo>
                    <a:pt x="496" y="577"/>
                    <a:pt x="715" y="689"/>
                    <a:pt x="814" y="534"/>
                  </a:cubicBezTo>
                  <a:cubicBezTo>
                    <a:pt x="912" y="378"/>
                    <a:pt x="729" y="196"/>
                    <a:pt x="573" y="98"/>
                  </a:cubicBezTo>
                  <a:cubicBezTo>
                    <a:pt x="417" y="0"/>
                    <a:pt x="0" y="0"/>
                    <a:pt x="0" y="0"/>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8" name="Freeform 9">
              <a:extLst>
                <a:ext uri="{FF2B5EF4-FFF2-40B4-BE49-F238E27FC236}">
                  <a16:creationId xmlns:a16="http://schemas.microsoft.com/office/drawing/2014/main" id="{B0D58092-1AC5-4DBC-880A-AD3A60068E1A}"/>
                </a:ext>
              </a:extLst>
            </p:cNvPr>
            <p:cNvSpPr>
              <a:spLocks/>
            </p:cNvSpPr>
            <p:nvPr/>
          </p:nvSpPr>
          <p:spPr bwMode="auto">
            <a:xfrm>
              <a:off x="1045028" y="3913806"/>
              <a:ext cx="2447703" cy="1327287"/>
            </a:xfrm>
            <a:custGeom>
              <a:avLst/>
              <a:gdLst>
                <a:gd name="T0" fmla="*/ 0 w 990"/>
                <a:gd name="T1" fmla="*/ 419 h 538"/>
                <a:gd name="T2" fmla="*/ 583 w 990"/>
                <a:gd name="T3" fmla="*/ 490 h 538"/>
                <a:gd name="T4" fmla="*/ 942 w 990"/>
                <a:gd name="T5" fmla="*/ 177 h 538"/>
                <a:gd name="T6" fmla="*/ 457 w 990"/>
                <a:gd name="T7" fmla="*/ 61 h 538"/>
                <a:gd name="T8" fmla="*/ 0 w 990"/>
                <a:gd name="T9" fmla="*/ 419 h 538"/>
              </a:gdLst>
              <a:ahLst/>
              <a:cxnLst>
                <a:cxn ang="0">
                  <a:pos x="T0" y="T1"/>
                </a:cxn>
                <a:cxn ang="0">
                  <a:pos x="T2" y="T3"/>
                </a:cxn>
                <a:cxn ang="0">
                  <a:pos x="T4" y="T5"/>
                </a:cxn>
                <a:cxn ang="0">
                  <a:pos x="T6" y="T7"/>
                </a:cxn>
                <a:cxn ang="0">
                  <a:pos x="T8" y="T9"/>
                </a:cxn>
              </a:cxnLst>
              <a:rect l="0" t="0" r="r" b="b"/>
              <a:pathLst>
                <a:path w="990" h="538">
                  <a:moveTo>
                    <a:pt x="0" y="419"/>
                  </a:moveTo>
                  <a:cubicBezTo>
                    <a:pt x="0" y="419"/>
                    <a:pt x="405" y="538"/>
                    <a:pt x="583" y="490"/>
                  </a:cubicBezTo>
                  <a:cubicBezTo>
                    <a:pt x="760" y="441"/>
                    <a:pt x="990" y="354"/>
                    <a:pt x="942" y="177"/>
                  </a:cubicBezTo>
                  <a:cubicBezTo>
                    <a:pt x="893" y="0"/>
                    <a:pt x="635" y="12"/>
                    <a:pt x="457" y="61"/>
                  </a:cubicBezTo>
                  <a:cubicBezTo>
                    <a:pt x="280" y="110"/>
                    <a:pt x="0" y="419"/>
                    <a:pt x="0" y="419"/>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9" name="Oval 10">
              <a:extLst>
                <a:ext uri="{FF2B5EF4-FFF2-40B4-BE49-F238E27FC236}">
                  <a16:creationId xmlns:a16="http://schemas.microsoft.com/office/drawing/2014/main" id="{273B4AE0-823D-47E5-9418-10A553D3008C}"/>
                </a:ext>
              </a:extLst>
            </p:cNvPr>
            <p:cNvSpPr>
              <a:spLocks noChangeArrowheads="1"/>
            </p:cNvSpPr>
            <p:nvPr/>
          </p:nvSpPr>
          <p:spPr bwMode="auto">
            <a:xfrm>
              <a:off x="3128637" y="3824438"/>
              <a:ext cx="883755" cy="88044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10" name="Freeform 11">
              <a:extLst>
                <a:ext uri="{FF2B5EF4-FFF2-40B4-BE49-F238E27FC236}">
                  <a16:creationId xmlns:a16="http://schemas.microsoft.com/office/drawing/2014/main" id="{2A126CE0-0ED7-4199-B23E-3658B034CA86}"/>
                </a:ext>
              </a:extLst>
            </p:cNvPr>
            <p:cNvSpPr>
              <a:spLocks/>
            </p:cNvSpPr>
            <p:nvPr/>
          </p:nvSpPr>
          <p:spPr bwMode="auto">
            <a:xfrm>
              <a:off x="3332198" y="4264660"/>
              <a:ext cx="476632" cy="2593340"/>
            </a:xfrm>
            <a:custGeom>
              <a:avLst/>
              <a:gdLst>
                <a:gd name="T0" fmla="*/ 143 w 288"/>
                <a:gd name="T1" fmla="*/ 0 h 1567"/>
                <a:gd name="T2" fmla="*/ 0 w 288"/>
                <a:gd name="T3" fmla="*/ 401 h 1567"/>
                <a:gd name="T4" fmla="*/ 0 w 288"/>
                <a:gd name="T5" fmla="*/ 1566 h 1567"/>
                <a:gd name="T6" fmla="*/ 278 w 288"/>
                <a:gd name="T7" fmla="*/ 1566 h 1567"/>
                <a:gd name="T8" fmla="*/ 287 w 288"/>
                <a:gd name="T9" fmla="*/ 1567 h 1567"/>
                <a:gd name="T10" fmla="*/ 288 w 288"/>
                <a:gd name="T11" fmla="*/ 415 h 1567"/>
                <a:gd name="T12" fmla="*/ 288 w 288"/>
                <a:gd name="T13" fmla="*/ 414 h 1567"/>
                <a:gd name="T14" fmla="*/ 143 w 288"/>
                <a:gd name="T15" fmla="*/ 0 h 156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8" h="1567">
                  <a:moveTo>
                    <a:pt x="143" y="0"/>
                  </a:moveTo>
                  <a:lnTo>
                    <a:pt x="0" y="401"/>
                  </a:lnTo>
                  <a:lnTo>
                    <a:pt x="0" y="1566"/>
                  </a:lnTo>
                  <a:lnTo>
                    <a:pt x="278" y="1566"/>
                  </a:lnTo>
                  <a:lnTo>
                    <a:pt x="287" y="1567"/>
                  </a:lnTo>
                  <a:lnTo>
                    <a:pt x="288" y="415"/>
                  </a:lnTo>
                  <a:lnTo>
                    <a:pt x="288" y="414"/>
                  </a:lnTo>
                  <a:lnTo>
                    <a:pt x="143" y="0"/>
                  </a:lnTo>
                  <a:close/>
                </a:path>
              </a:pathLst>
            </a:custGeom>
            <a:solidFill>
              <a:schemeClr val="accent3">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11" name="TextBox 13">
              <a:extLst>
                <a:ext uri="{FF2B5EF4-FFF2-40B4-BE49-F238E27FC236}">
                  <a16:creationId xmlns:a16="http://schemas.microsoft.com/office/drawing/2014/main" id="{20D5CCFC-5CA3-4D15-8A46-BBE7FA02CE6A}"/>
                </a:ext>
              </a:extLst>
            </p:cNvPr>
            <p:cNvSpPr txBox="1"/>
            <p:nvPr/>
          </p:nvSpPr>
          <p:spPr>
            <a:xfrm>
              <a:off x="1848857" y="3155480"/>
              <a:ext cx="1176003"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FFFFFF"/>
                  </a:solidFill>
                  <a:effectLst/>
                  <a:uLnTx/>
                  <a:uFillTx/>
                  <a:latin typeface="等线 Light" panose="020F0302020204030204"/>
                  <a:ea typeface="+mn-ea"/>
                  <a:cs typeface="+mn-cs"/>
                </a:rPr>
                <a:t>70%</a:t>
              </a:r>
            </a:p>
          </p:txBody>
        </p:sp>
        <p:sp>
          <p:nvSpPr>
            <p:cNvPr id="12" name="TextBox 14">
              <a:extLst>
                <a:ext uri="{FF2B5EF4-FFF2-40B4-BE49-F238E27FC236}">
                  <a16:creationId xmlns:a16="http://schemas.microsoft.com/office/drawing/2014/main" id="{9F16D385-A49C-4EDA-AACB-A6958508B75C}"/>
                </a:ext>
              </a:extLst>
            </p:cNvPr>
            <p:cNvSpPr txBox="1"/>
            <p:nvPr/>
          </p:nvSpPr>
          <p:spPr>
            <a:xfrm>
              <a:off x="2917181" y="2753447"/>
              <a:ext cx="1176003"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FFFFFF"/>
                  </a:solidFill>
                  <a:effectLst/>
                  <a:uLnTx/>
                  <a:uFillTx/>
                  <a:latin typeface="等线 Light" panose="020F0302020204030204"/>
                  <a:ea typeface="+mn-ea"/>
                  <a:cs typeface="+mn-cs"/>
                </a:rPr>
                <a:t>77%</a:t>
              </a:r>
            </a:p>
          </p:txBody>
        </p:sp>
        <p:sp>
          <p:nvSpPr>
            <p:cNvPr id="13" name="TextBox 15">
              <a:extLst>
                <a:ext uri="{FF2B5EF4-FFF2-40B4-BE49-F238E27FC236}">
                  <a16:creationId xmlns:a16="http://schemas.microsoft.com/office/drawing/2014/main" id="{91377C3F-0C27-4144-8EE4-FD7EF377A83F}"/>
                </a:ext>
              </a:extLst>
            </p:cNvPr>
            <p:cNvSpPr txBox="1"/>
            <p:nvPr/>
          </p:nvSpPr>
          <p:spPr>
            <a:xfrm>
              <a:off x="3998665" y="3167390"/>
              <a:ext cx="1176003"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FFFFFF"/>
                  </a:solidFill>
                  <a:effectLst/>
                  <a:uLnTx/>
                  <a:uFillTx/>
                  <a:latin typeface="等线 Light" panose="020F0302020204030204"/>
                  <a:ea typeface="+mn-ea"/>
                  <a:cs typeface="+mn-cs"/>
                </a:rPr>
                <a:t>80%</a:t>
              </a:r>
            </a:p>
          </p:txBody>
        </p:sp>
        <p:sp>
          <p:nvSpPr>
            <p:cNvPr id="14" name="TextBox 16">
              <a:extLst>
                <a:ext uri="{FF2B5EF4-FFF2-40B4-BE49-F238E27FC236}">
                  <a16:creationId xmlns:a16="http://schemas.microsoft.com/office/drawing/2014/main" id="{C2FE8F06-C0EB-4FCB-B686-61B9DD123651}"/>
                </a:ext>
              </a:extLst>
            </p:cNvPr>
            <p:cNvSpPr txBox="1"/>
            <p:nvPr/>
          </p:nvSpPr>
          <p:spPr>
            <a:xfrm>
              <a:off x="1737791" y="4315839"/>
              <a:ext cx="1176003"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FFFFFF"/>
                  </a:solidFill>
                  <a:effectLst/>
                  <a:uLnTx/>
                  <a:uFillTx/>
                  <a:latin typeface="等线 Light" panose="020F0302020204030204"/>
                  <a:ea typeface="+mn-ea"/>
                  <a:cs typeface="+mn-cs"/>
                </a:rPr>
                <a:t>65%</a:t>
              </a:r>
            </a:p>
          </p:txBody>
        </p:sp>
        <p:sp>
          <p:nvSpPr>
            <p:cNvPr id="15" name="TextBox 18">
              <a:extLst>
                <a:ext uri="{FF2B5EF4-FFF2-40B4-BE49-F238E27FC236}">
                  <a16:creationId xmlns:a16="http://schemas.microsoft.com/office/drawing/2014/main" id="{9FC5CAE7-1E8F-41C1-977B-80B097D56188}"/>
                </a:ext>
              </a:extLst>
            </p:cNvPr>
            <p:cNvSpPr txBox="1"/>
            <p:nvPr/>
          </p:nvSpPr>
          <p:spPr>
            <a:xfrm>
              <a:off x="4224088" y="4315839"/>
              <a:ext cx="1176003"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FFFFFF"/>
                  </a:solidFill>
                  <a:effectLst/>
                  <a:uLnTx/>
                  <a:uFillTx/>
                  <a:latin typeface="等线 Light" panose="020F0302020204030204"/>
                  <a:ea typeface="+mn-ea"/>
                  <a:cs typeface="+mn-cs"/>
                </a:rPr>
                <a:t>85%</a:t>
              </a:r>
            </a:p>
          </p:txBody>
        </p:sp>
      </p:grpSp>
      <p:sp>
        <p:nvSpPr>
          <p:cNvPr id="16" name="Rectangle 22">
            <a:extLst>
              <a:ext uri="{FF2B5EF4-FFF2-40B4-BE49-F238E27FC236}">
                <a16:creationId xmlns:a16="http://schemas.microsoft.com/office/drawing/2014/main" id="{5CA76E5F-AB69-4D12-ADAD-30188058D243}"/>
              </a:ext>
            </a:extLst>
          </p:cNvPr>
          <p:cNvSpPr/>
          <p:nvPr/>
        </p:nvSpPr>
        <p:spPr>
          <a:xfrm>
            <a:off x="6914082" y="3610859"/>
            <a:ext cx="3826492" cy="1842684"/>
          </a:xfrm>
          <a:prstGeom prst="rect">
            <a:avLst/>
          </a:prstGeom>
        </p:spPr>
        <p:txBody>
          <a:bodyPr wrap="square">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lumMod val="50000"/>
                    <a:lumOff val="50000"/>
                  </a:srgbClr>
                </a:solidFill>
                <a:effectLst/>
                <a:uLnTx/>
                <a:uFillTx/>
                <a:latin typeface="等线" panose="020F0502020204030204"/>
                <a:ea typeface="+mn-ea"/>
                <a:cs typeface="+mn-cs"/>
              </a:rPr>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 </a:t>
            </a:r>
          </a:p>
        </p:txBody>
      </p:sp>
      <p:sp>
        <p:nvSpPr>
          <p:cNvPr id="17" name="TextBox 23">
            <a:extLst>
              <a:ext uri="{FF2B5EF4-FFF2-40B4-BE49-F238E27FC236}">
                <a16:creationId xmlns:a16="http://schemas.microsoft.com/office/drawing/2014/main" id="{BD57A56D-E9AD-4130-94B2-09434E3BEC9B}"/>
              </a:ext>
            </a:extLst>
          </p:cNvPr>
          <p:cNvSpPr txBox="1"/>
          <p:nvPr/>
        </p:nvSpPr>
        <p:spPr>
          <a:xfrm>
            <a:off x="6914080" y="3215345"/>
            <a:ext cx="3710379"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lumMod val="85000"/>
                    <a:lumOff val="15000"/>
                  </a:srgbClr>
                </a:solidFill>
                <a:effectLst/>
                <a:uLnTx/>
                <a:uFillTx/>
                <a:latin typeface="等线 Light" panose="020F0302020204030204"/>
                <a:ea typeface="+mn-ea"/>
                <a:cs typeface="+mn-cs"/>
              </a:rPr>
              <a:t>Infographic PowerPoint </a:t>
            </a:r>
          </a:p>
        </p:txBody>
      </p:sp>
      <p:sp>
        <p:nvSpPr>
          <p:cNvPr id="18" name="TextBox 25">
            <a:extLst>
              <a:ext uri="{FF2B5EF4-FFF2-40B4-BE49-F238E27FC236}">
                <a16:creationId xmlns:a16="http://schemas.microsoft.com/office/drawing/2014/main" id="{6A06EEE0-FF0D-4929-BB6B-596112CAA600}"/>
              </a:ext>
            </a:extLst>
          </p:cNvPr>
          <p:cNvSpPr txBox="1"/>
          <p:nvPr/>
        </p:nvSpPr>
        <p:spPr>
          <a:xfrm>
            <a:off x="6910216" y="1477692"/>
            <a:ext cx="3714671" cy="107721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000000">
                    <a:lumMod val="85000"/>
                    <a:lumOff val="15000"/>
                  </a:srgbClr>
                </a:solidFill>
                <a:effectLst/>
                <a:uLnTx/>
                <a:uFillTx/>
                <a:latin typeface="等线 Light" panose="020F0302020204030204"/>
                <a:ea typeface="+mn-ea"/>
                <a:cs typeface="+mn-cs"/>
              </a:rPr>
              <a:t>INFOGRAPHIC</a:t>
            </a:r>
            <a:endParaRPr kumimoji="0" lang="en-US" sz="3200" b="1" i="0" u="none" strike="noStrike" kern="1200" cap="none" spc="0" normalizeH="0" baseline="0" noProof="0" dirty="0">
              <a:ln>
                <a:noFill/>
              </a:ln>
              <a:solidFill>
                <a:srgbClr val="000000">
                  <a:lumMod val="85000"/>
                  <a:lumOff val="15000"/>
                </a:srgbClr>
              </a:solidFill>
              <a:effectLst/>
              <a:uLnTx/>
              <a:uFillTx/>
              <a:latin typeface="等线"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000000">
                    <a:lumMod val="85000"/>
                    <a:lumOff val="15000"/>
                  </a:srgbClr>
                </a:solidFill>
                <a:effectLst/>
                <a:uLnTx/>
                <a:uFillTx/>
                <a:latin typeface="等线 Light" panose="020F0302020204030204"/>
                <a:ea typeface="+mn-ea"/>
                <a:cs typeface="+mn-cs"/>
              </a:rPr>
              <a:t>TREE</a:t>
            </a:r>
          </a:p>
        </p:txBody>
      </p:sp>
    </p:spTree>
    <p:extLst>
      <p:ext uri="{BB962C8B-B14F-4D97-AF65-F5344CB8AC3E}">
        <p14:creationId xmlns:p14="http://schemas.microsoft.com/office/powerpoint/2010/main" val="2701726489"/>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down)">
                                      <p:cBhvr>
                                        <p:cTn id="7" dur="500"/>
                                        <p:tgtEl>
                                          <p:spTgt spid="3"/>
                                        </p:tgtEl>
                                      </p:cBhvr>
                                    </p:animEffect>
                                  </p:childTnLst>
                                </p:cTn>
                              </p:par>
                            </p:childTnLst>
                          </p:cTn>
                        </p:par>
                        <p:par>
                          <p:cTn id="8" fill="hold">
                            <p:stCondLst>
                              <p:cond delay="500"/>
                            </p:stCondLst>
                            <p:childTnLst>
                              <p:par>
                                <p:cTn id="9" presetID="16" presetClass="entr" presetSubtype="37" fill="hold" grpId="0" nodeType="afterEffect">
                                  <p:stCondLst>
                                    <p:cond delay="0"/>
                                  </p:stCondLst>
                                  <p:childTnLst>
                                    <p:set>
                                      <p:cBhvr>
                                        <p:cTn id="10" dur="1" fill="hold">
                                          <p:stCondLst>
                                            <p:cond delay="0"/>
                                          </p:stCondLst>
                                        </p:cTn>
                                        <p:tgtEl>
                                          <p:spTgt spid="17"/>
                                        </p:tgtEl>
                                        <p:attrNameLst>
                                          <p:attrName>style.visibility</p:attrName>
                                        </p:attrNameLst>
                                      </p:cBhvr>
                                      <p:to>
                                        <p:strVal val="visible"/>
                                      </p:to>
                                    </p:set>
                                    <p:animEffect transition="in" filter="barn(outVertical)">
                                      <p:cBhvr>
                                        <p:cTn id="11" dur="500"/>
                                        <p:tgtEl>
                                          <p:spTgt spid="17"/>
                                        </p:tgtEl>
                                      </p:cBhvr>
                                    </p:animEffect>
                                  </p:childTnLst>
                                </p:cTn>
                              </p:par>
                            </p:childTnLst>
                          </p:cTn>
                        </p:par>
                        <p:par>
                          <p:cTn id="12" fill="hold">
                            <p:stCondLst>
                              <p:cond delay="1000"/>
                            </p:stCondLst>
                            <p:childTnLst>
                              <p:par>
                                <p:cTn id="13" presetID="42" presetClass="entr" presetSubtype="0" fill="hold" grpId="0" nodeType="afterEffect">
                                  <p:stCondLst>
                                    <p:cond delay="0"/>
                                  </p:stCondLst>
                                  <p:childTnLst>
                                    <p:set>
                                      <p:cBhvr>
                                        <p:cTn id="14" dur="1" fill="hold">
                                          <p:stCondLst>
                                            <p:cond delay="0"/>
                                          </p:stCondLst>
                                        </p:cTn>
                                        <p:tgtEl>
                                          <p:spTgt spid="16"/>
                                        </p:tgtEl>
                                        <p:attrNameLst>
                                          <p:attrName>style.visibility</p:attrName>
                                        </p:attrNameLst>
                                      </p:cBhvr>
                                      <p:to>
                                        <p:strVal val="visible"/>
                                      </p:to>
                                    </p:set>
                                    <p:animEffect transition="in" filter="fade">
                                      <p:cBhvr>
                                        <p:cTn id="15" dur="500"/>
                                        <p:tgtEl>
                                          <p:spTgt spid="16"/>
                                        </p:tgtEl>
                                      </p:cBhvr>
                                    </p:animEffect>
                                    <p:anim calcmode="lin" valueType="num">
                                      <p:cBhvr>
                                        <p:cTn id="16" dur="500" fill="hold"/>
                                        <p:tgtEl>
                                          <p:spTgt spid="16"/>
                                        </p:tgtEl>
                                        <p:attrNameLst>
                                          <p:attrName>ppt_x</p:attrName>
                                        </p:attrNameLst>
                                      </p:cBhvr>
                                      <p:tavLst>
                                        <p:tav tm="0">
                                          <p:val>
                                            <p:strVal val="#ppt_x"/>
                                          </p:val>
                                        </p:tav>
                                        <p:tav tm="100000">
                                          <p:val>
                                            <p:strVal val="#ppt_x"/>
                                          </p:val>
                                        </p:tav>
                                      </p:tavLst>
                                    </p:anim>
                                    <p:anim calcmode="lin" valueType="num">
                                      <p:cBhvr>
                                        <p:cTn id="17" dur="500" fill="hold"/>
                                        <p:tgtEl>
                                          <p:spTgt spid="16"/>
                                        </p:tgtEl>
                                        <p:attrNameLst>
                                          <p:attrName>ppt_y</p:attrName>
                                        </p:attrNameLst>
                                      </p:cBhvr>
                                      <p:tavLst>
                                        <p:tav tm="0">
                                          <p:val>
                                            <p:strVal val="#ppt_y+.1"/>
                                          </p:val>
                                        </p:tav>
                                        <p:tav tm="100000">
                                          <p:val>
                                            <p:strVal val="#ppt_y"/>
                                          </p:val>
                                        </p:tav>
                                      </p:tavLst>
                                    </p:anim>
                                  </p:childTnLst>
                                </p:cTn>
                              </p:par>
                            </p:childTnLst>
                          </p:cTn>
                        </p:par>
                        <p:par>
                          <p:cTn id="18" fill="hold">
                            <p:stCondLst>
                              <p:cond delay="1500"/>
                            </p:stCondLst>
                            <p:childTnLst>
                              <p:par>
                                <p:cTn id="19" presetID="22" presetClass="entr" presetSubtype="8" fill="hold" grpId="0" nodeType="afterEffect">
                                  <p:stCondLst>
                                    <p:cond delay="0"/>
                                  </p:stCondLst>
                                  <p:childTnLst>
                                    <p:set>
                                      <p:cBhvr>
                                        <p:cTn id="20" dur="1" fill="hold">
                                          <p:stCondLst>
                                            <p:cond delay="0"/>
                                          </p:stCondLst>
                                        </p:cTn>
                                        <p:tgtEl>
                                          <p:spTgt spid="18"/>
                                        </p:tgtEl>
                                        <p:attrNameLst>
                                          <p:attrName>style.visibility</p:attrName>
                                        </p:attrNameLst>
                                      </p:cBhvr>
                                      <p:to>
                                        <p:strVal val="visible"/>
                                      </p:to>
                                    </p:set>
                                    <p:animEffect transition="in" filter="wipe(left)">
                                      <p:cBhvr>
                                        <p:cTn id="21"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P spid="17" grpId="0"/>
      <p:bldP spid="18" grpId="0"/>
    </p:bldLst>
  </p:timing>
</p:sld>
</file>

<file path=ppt/slides/slide6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25">
            <a:extLst>
              <a:ext uri="{FF2B5EF4-FFF2-40B4-BE49-F238E27FC236}">
                <a16:creationId xmlns:a16="http://schemas.microsoft.com/office/drawing/2014/main" id="{96EA53DF-23A1-4140-9959-A3860C9CB03A}"/>
              </a:ext>
            </a:extLst>
          </p:cNvPr>
          <p:cNvSpPr txBox="1"/>
          <p:nvPr/>
        </p:nvSpPr>
        <p:spPr>
          <a:xfrm>
            <a:off x="6910216" y="1477692"/>
            <a:ext cx="3714671" cy="107721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000000">
                    <a:lumMod val="85000"/>
                    <a:lumOff val="15000"/>
                  </a:srgbClr>
                </a:solidFill>
                <a:effectLst/>
                <a:uLnTx/>
                <a:uFillTx/>
                <a:latin typeface="等线 Light" panose="020F0302020204030204"/>
                <a:ea typeface="+mn-ea"/>
                <a:cs typeface="+mn-cs"/>
              </a:rPr>
              <a:t>INFOGRAPHIC</a:t>
            </a:r>
            <a:endParaRPr kumimoji="0" lang="en-US" sz="3200" b="1" i="0" u="none" strike="noStrike" kern="1200" cap="none" spc="0" normalizeH="0" baseline="0" noProof="0" dirty="0">
              <a:ln>
                <a:noFill/>
              </a:ln>
              <a:solidFill>
                <a:srgbClr val="000000">
                  <a:lumMod val="85000"/>
                  <a:lumOff val="15000"/>
                </a:srgbClr>
              </a:solidFill>
              <a:effectLst/>
              <a:uLnTx/>
              <a:uFillTx/>
              <a:latin typeface="等线"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000000">
                    <a:lumMod val="85000"/>
                    <a:lumOff val="15000"/>
                  </a:srgbClr>
                </a:solidFill>
                <a:effectLst/>
                <a:uLnTx/>
                <a:uFillTx/>
                <a:latin typeface="等线 Light" panose="020F0302020204030204"/>
                <a:ea typeface="+mn-ea"/>
                <a:cs typeface="+mn-cs"/>
              </a:rPr>
              <a:t>TREE</a:t>
            </a:r>
          </a:p>
        </p:txBody>
      </p:sp>
      <p:sp>
        <p:nvSpPr>
          <p:cNvPr id="3" name="Rectangle 26">
            <a:extLst>
              <a:ext uri="{FF2B5EF4-FFF2-40B4-BE49-F238E27FC236}">
                <a16:creationId xmlns:a16="http://schemas.microsoft.com/office/drawing/2014/main" id="{1391E9F0-DEEC-4ADB-8285-36912D10FB44}"/>
              </a:ext>
            </a:extLst>
          </p:cNvPr>
          <p:cNvSpPr/>
          <p:nvPr/>
        </p:nvSpPr>
        <p:spPr>
          <a:xfrm>
            <a:off x="6910219" y="2966282"/>
            <a:ext cx="3714671" cy="2096600"/>
          </a:xfrm>
          <a:prstGeom prst="rect">
            <a:avLst/>
          </a:prstGeom>
        </p:spPr>
        <p:txBody>
          <a:bodyPr wrap="square">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0F0F0">
                    <a:lumMod val="75000"/>
                  </a:srgbClr>
                </a:solidFill>
                <a:effectLst/>
                <a:uLnTx/>
                <a:uFillTx/>
                <a:latin typeface="等线" panose="020F0502020204030204"/>
                <a:ea typeface="+mn-ea"/>
                <a:cs typeface="+mn-cs"/>
              </a:rPr>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 </a:t>
            </a:r>
          </a:p>
        </p:txBody>
      </p:sp>
      <p:grpSp>
        <p:nvGrpSpPr>
          <p:cNvPr id="4" name="Group 2">
            <a:extLst>
              <a:ext uri="{FF2B5EF4-FFF2-40B4-BE49-F238E27FC236}">
                <a16:creationId xmlns:a16="http://schemas.microsoft.com/office/drawing/2014/main" id="{0D4E5078-4779-4F4D-8F24-ECFB28F3B6D3}"/>
              </a:ext>
            </a:extLst>
          </p:cNvPr>
          <p:cNvGrpSpPr/>
          <p:nvPr/>
        </p:nvGrpSpPr>
        <p:grpSpPr>
          <a:xfrm>
            <a:off x="554184" y="1731819"/>
            <a:ext cx="5452821" cy="5126183"/>
            <a:chOff x="554182" y="1731818"/>
            <a:chExt cx="5452821" cy="5126182"/>
          </a:xfrm>
        </p:grpSpPr>
        <p:sp>
          <p:nvSpPr>
            <p:cNvPr id="5" name="Freeform 5">
              <a:extLst>
                <a:ext uri="{FF2B5EF4-FFF2-40B4-BE49-F238E27FC236}">
                  <a16:creationId xmlns:a16="http://schemas.microsoft.com/office/drawing/2014/main" id="{E25EA5A9-D6F5-49ED-A94E-F4737DC39F48}"/>
                </a:ext>
              </a:extLst>
            </p:cNvPr>
            <p:cNvSpPr>
              <a:spLocks/>
            </p:cNvSpPr>
            <p:nvPr/>
          </p:nvSpPr>
          <p:spPr bwMode="auto">
            <a:xfrm>
              <a:off x="4259725" y="2360088"/>
              <a:ext cx="1401886" cy="1154954"/>
            </a:xfrm>
            <a:custGeom>
              <a:avLst/>
              <a:gdLst>
                <a:gd name="T0" fmla="*/ 616 w 772"/>
                <a:gd name="T1" fmla="*/ 257 h 637"/>
                <a:gd name="T2" fmla="*/ 411 w 772"/>
                <a:gd name="T3" fmla="*/ 0 h 637"/>
                <a:gd name="T4" fmla="*/ 0 w 772"/>
                <a:gd name="T5" fmla="*/ 0 h 637"/>
                <a:gd name="T6" fmla="*/ 0 w 772"/>
                <a:gd name="T7" fmla="*/ 637 h 637"/>
                <a:gd name="T8" fmla="*/ 156 w 772"/>
                <a:gd name="T9" fmla="*/ 637 h 637"/>
                <a:gd name="T10" fmla="*/ 616 w 772"/>
                <a:gd name="T11" fmla="*/ 637 h 637"/>
                <a:gd name="T12" fmla="*/ 628 w 772"/>
                <a:gd name="T13" fmla="*/ 637 h 637"/>
                <a:gd name="T14" fmla="*/ 772 w 772"/>
                <a:gd name="T15" fmla="*/ 456 h 637"/>
                <a:gd name="T16" fmla="*/ 772 w 772"/>
                <a:gd name="T17" fmla="*/ 456 h 637"/>
                <a:gd name="T18" fmla="*/ 616 w 772"/>
                <a:gd name="T19" fmla="*/ 257 h 6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2" h="637">
                  <a:moveTo>
                    <a:pt x="616" y="257"/>
                  </a:moveTo>
                  <a:cubicBezTo>
                    <a:pt x="616" y="115"/>
                    <a:pt x="524" y="0"/>
                    <a:pt x="411" y="0"/>
                  </a:cubicBezTo>
                  <a:cubicBezTo>
                    <a:pt x="0" y="0"/>
                    <a:pt x="0" y="0"/>
                    <a:pt x="0" y="0"/>
                  </a:cubicBezTo>
                  <a:cubicBezTo>
                    <a:pt x="0" y="637"/>
                    <a:pt x="0" y="637"/>
                    <a:pt x="0" y="637"/>
                  </a:cubicBezTo>
                  <a:cubicBezTo>
                    <a:pt x="156" y="637"/>
                    <a:pt x="156" y="637"/>
                    <a:pt x="156" y="637"/>
                  </a:cubicBezTo>
                  <a:cubicBezTo>
                    <a:pt x="616" y="637"/>
                    <a:pt x="616" y="637"/>
                    <a:pt x="616" y="637"/>
                  </a:cubicBezTo>
                  <a:cubicBezTo>
                    <a:pt x="628" y="637"/>
                    <a:pt x="628" y="637"/>
                    <a:pt x="628" y="637"/>
                  </a:cubicBezTo>
                  <a:cubicBezTo>
                    <a:pt x="708" y="637"/>
                    <a:pt x="772" y="556"/>
                    <a:pt x="772" y="456"/>
                  </a:cubicBezTo>
                  <a:cubicBezTo>
                    <a:pt x="772" y="456"/>
                    <a:pt x="772" y="456"/>
                    <a:pt x="772" y="456"/>
                  </a:cubicBezTo>
                  <a:cubicBezTo>
                    <a:pt x="772" y="347"/>
                    <a:pt x="703" y="259"/>
                    <a:pt x="616" y="257"/>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6" name="Freeform 19">
              <a:extLst>
                <a:ext uri="{FF2B5EF4-FFF2-40B4-BE49-F238E27FC236}">
                  <a16:creationId xmlns:a16="http://schemas.microsoft.com/office/drawing/2014/main" id="{1C6BD755-1676-473E-B005-5C49ACC2A3B0}"/>
                </a:ext>
              </a:extLst>
            </p:cNvPr>
            <p:cNvSpPr>
              <a:spLocks/>
            </p:cNvSpPr>
            <p:nvPr/>
          </p:nvSpPr>
          <p:spPr bwMode="auto">
            <a:xfrm>
              <a:off x="3786178" y="1731818"/>
              <a:ext cx="1112757" cy="1111193"/>
            </a:xfrm>
            <a:custGeom>
              <a:avLst/>
              <a:gdLst>
                <a:gd name="T0" fmla="*/ 509 w 613"/>
                <a:gd name="T1" fmla="*/ 613 h 613"/>
                <a:gd name="T2" fmla="*/ 0 w 613"/>
                <a:gd name="T3" fmla="*/ 613 h 613"/>
                <a:gd name="T4" fmla="*/ 0 w 613"/>
                <a:gd name="T5" fmla="*/ 302 h 613"/>
                <a:gd name="T6" fmla="*/ 302 w 613"/>
                <a:gd name="T7" fmla="*/ 0 h 613"/>
                <a:gd name="T8" fmla="*/ 458 w 613"/>
                <a:gd name="T9" fmla="*/ 0 h 613"/>
                <a:gd name="T10" fmla="*/ 613 w 613"/>
                <a:gd name="T11" fmla="*/ 155 h 613"/>
                <a:gd name="T12" fmla="*/ 613 w 613"/>
                <a:gd name="T13" fmla="*/ 509 h 613"/>
                <a:gd name="T14" fmla="*/ 509 w 613"/>
                <a:gd name="T15" fmla="*/ 613 h 6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13" h="613">
                  <a:moveTo>
                    <a:pt x="509" y="613"/>
                  </a:moveTo>
                  <a:cubicBezTo>
                    <a:pt x="0" y="613"/>
                    <a:pt x="0" y="613"/>
                    <a:pt x="0" y="613"/>
                  </a:cubicBezTo>
                  <a:cubicBezTo>
                    <a:pt x="0" y="302"/>
                    <a:pt x="0" y="302"/>
                    <a:pt x="0" y="302"/>
                  </a:cubicBezTo>
                  <a:cubicBezTo>
                    <a:pt x="0" y="135"/>
                    <a:pt x="135" y="0"/>
                    <a:pt x="302" y="0"/>
                  </a:cubicBezTo>
                  <a:cubicBezTo>
                    <a:pt x="458" y="0"/>
                    <a:pt x="458" y="0"/>
                    <a:pt x="458" y="0"/>
                  </a:cubicBezTo>
                  <a:cubicBezTo>
                    <a:pt x="543" y="0"/>
                    <a:pt x="613" y="70"/>
                    <a:pt x="613" y="155"/>
                  </a:cubicBezTo>
                  <a:cubicBezTo>
                    <a:pt x="613" y="509"/>
                    <a:pt x="613" y="509"/>
                    <a:pt x="613" y="509"/>
                  </a:cubicBezTo>
                  <a:cubicBezTo>
                    <a:pt x="613" y="566"/>
                    <a:pt x="566" y="613"/>
                    <a:pt x="509" y="613"/>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7" name="Freeform 9">
              <a:extLst>
                <a:ext uri="{FF2B5EF4-FFF2-40B4-BE49-F238E27FC236}">
                  <a16:creationId xmlns:a16="http://schemas.microsoft.com/office/drawing/2014/main" id="{188F90B9-1A9B-411D-A81D-2CA110B74701}"/>
                </a:ext>
              </a:extLst>
            </p:cNvPr>
            <p:cNvSpPr>
              <a:spLocks/>
            </p:cNvSpPr>
            <p:nvPr/>
          </p:nvSpPr>
          <p:spPr bwMode="auto">
            <a:xfrm>
              <a:off x="2285832" y="2614834"/>
              <a:ext cx="2674055" cy="4243166"/>
            </a:xfrm>
            <a:custGeom>
              <a:avLst/>
              <a:gdLst>
                <a:gd name="T0" fmla="*/ 1394 w 1711"/>
                <a:gd name="T1" fmla="*/ 1096 h 2715"/>
                <a:gd name="T2" fmla="*/ 1711 w 1711"/>
                <a:gd name="T3" fmla="*/ 946 h 2715"/>
                <a:gd name="T4" fmla="*/ 1684 w 1711"/>
                <a:gd name="T5" fmla="*/ 886 h 2715"/>
                <a:gd name="T6" fmla="*/ 1336 w 1711"/>
                <a:gd name="T7" fmla="*/ 1048 h 2715"/>
                <a:gd name="T8" fmla="*/ 1340 w 1711"/>
                <a:gd name="T9" fmla="*/ 1055 h 2715"/>
                <a:gd name="T10" fmla="*/ 833 w 1711"/>
                <a:gd name="T11" fmla="*/ 1491 h 2715"/>
                <a:gd name="T12" fmla="*/ 833 w 1711"/>
                <a:gd name="T13" fmla="*/ 849 h 2715"/>
                <a:gd name="T14" fmla="*/ 1427 w 1711"/>
                <a:gd name="T15" fmla="*/ 336 h 2715"/>
                <a:gd name="T16" fmla="*/ 1383 w 1711"/>
                <a:gd name="T17" fmla="*/ 286 h 2715"/>
                <a:gd name="T18" fmla="*/ 833 w 1711"/>
                <a:gd name="T19" fmla="*/ 759 h 2715"/>
                <a:gd name="T20" fmla="*/ 833 w 1711"/>
                <a:gd name="T21" fmla="*/ 0 h 2715"/>
                <a:gd name="T22" fmla="*/ 666 w 1711"/>
                <a:gd name="T23" fmla="*/ 0 h 2715"/>
                <a:gd name="T24" fmla="*/ 666 w 1711"/>
                <a:gd name="T25" fmla="*/ 785 h 2715"/>
                <a:gd name="T26" fmla="*/ 322 w 1711"/>
                <a:gd name="T27" fmla="*/ 588 h 2715"/>
                <a:gd name="T28" fmla="*/ 296 w 1711"/>
                <a:gd name="T29" fmla="*/ 218 h 2715"/>
                <a:gd name="T30" fmla="*/ 229 w 1711"/>
                <a:gd name="T31" fmla="*/ 223 h 2715"/>
                <a:gd name="T32" fmla="*/ 251 w 1711"/>
                <a:gd name="T33" fmla="*/ 547 h 2715"/>
                <a:gd name="T34" fmla="*/ 33 w 1711"/>
                <a:gd name="T35" fmla="*/ 421 h 2715"/>
                <a:gd name="T36" fmla="*/ 0 w 1711"/>
                <a:gd name="T37" fmla="*/ 479 h 2715"/>
                <a:gd name="T38" fmla="*/ 666 w 1711"/>
                <a:gd name="T39" fmla="*/ 863 h 2715"/>
                <a:gd name="T40" fmla="*/ 666 w 1711"/>
                <a:gd name="T41" fmla="*/ 1570 h 2715"/>
                <a:gd name="T42" fmla="*/ 33 w 1711"/>
                <a:gd name="T43" fmla="*/ 1206 h 2715"/>
                <a:gd name="T44" fmla="*/ 0 w 1711"/>
                <a:gd name="T45" fmla="*/ 1264 h 2715"/>
                <a:gd name="T46" fmla="*/ 666 w 1711"/>
                <a:gd name="T47" fmla="*/ 1648 h 2715"/>
                <a:gd name="T48" fmla="*/ 666 w 1711"/>
                <a:gd name="T49" fmla="*/ 2715 h 2715"/>
                <a:gd name="T50" fmla="*/ 833 w 1711"/>
                <a:gd name="T51" fmla="*/ 2715 h 2715"/>
                <a:gd name="T52" fmla="*/ 833 w 1711"/>
                <a:gd name="T53" fmla="*/ 1581 h 2715"/>
                <a:gd name="T54" fmla="*/ 1394 w 1711"/>
                <a:gd name="T55" fmla="*/ 1096 h 2715"/>
                <a:gd name="T56" fmla="*/ 1394 w 1711"/>
                <a:gd name="T57" fmla="*/ 1096 h 27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711" h="2715">
                  <a:moveTo>
                    <a:pt x="1394" y="1096"/>
                  </a:moveTo>
                  <a:lnTo>
                    <a:pt x="1711" y="946"/>
                  </a:lnTo>
                  <a:lnTo>
                    <a:pt x="1684" y="886"/>
                  </a:lnTo>
                  <a:lnTo>
                    <a:pt x="1336" y="1048"/>
                  </a:lnTo>
                  <a:lnTo>
                    <a:pt x="1340" y="1055"/>
                  </a:lnTo>
                  <a:lnTo>
                    <a:pt x="833" y="1491"/>
                  </a:lnTo>
                  <a:lnTo>
                    <a:pt x="833" y="849"/>
                  </a:lnTo>
                  <a:lnTo>
                    <a:pt x="1427" y="336"/>
                  </a:lnTo>
                  <a:lnTo>
                    <a:pt x="1383" y="286"/>
                  </a:lnTo>
                  <a:lnTo>
                    <a:pt x="833" y="759"/>
                  </a:lnTo>
                  <a:lnTo>
                    <a:pt x="833" y="0"/>
                  </a:lnTo>
                  <a:lnTo>
                    <a:pt x="666" y="0"/>
                  </a:lnTo>
                  <a:lnTo>
                    <a:pt x="666" y="785"/>
                  </a:lnTo>
                  <a:lnTo>
                    <a:pt x="322" y="588"/>
                  </a:lnTo>
                  <a:lnTo>
                    <a:pt x="296" y="218"/>
                  </a:lnTo>
                  <a:lnTo>
                    <a:pt x="229" y="223"/>
                  </a:lnTo>
                  <a:lnTo>
                    <a:pt x="251" y="547"/>
                  </a:lnTo>
                  <a:lnTo>
                    <a:pt x="33" y="421"/>
                  </a:lnTo>
                  <a:lnTo>
                    <a:pt x="0" y="479"/>
                  </a:lnTo>
                  <a:lnTo>
                    <a:pt x="666" y="863"/>
                  </a:lnTo>
                  <a:lnTo>
                    <a:pt x="666" y="1570"/>
                  </a:lnTo>
                  <a:lnTo>
                    <a:pt x="33" y="1206"/>
                  </a:lnTo>
                  <a:lnTo>
                    <a:pt x="0" y="1264"/>
                  </a:lnTo>
                  <a:lnTo>
                    <a:pt x="666" y="1648"/>
                  </a:lnTo>
                  <a:lnTo>
                    <a:pt x="666" y="2715"/>
                  </a:lnTo>
                  <a:lnTo>
                    <a:pt x="833" y="2715"/>
                  </a:lnTo>
                  <a:lnTo>
                    <a:pt x="833" y="1581"/>
                  </a:lnTo>
                  <a:lnTo>
                    <a:pt x="1394" y="1096"/>
                  </a:lnTo>
                  <a:lnTo>
                    <a:pt x="1394" y="1096"/>
                  </a:lnTo>
                  <a:close/>
                </a:path>
              </a:pathLst>
            </a:custGeom>
            <a:solidFill>
              <a:schemeClr val="tx1">
                <a:lumMod val="85000"/>
                <a:lumOff val="1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8" name="Freeform 24">
              <a:extLst>
                <a:ext uri="{FF2B5EF4-FFF2-40B4-BE49-F238E27FC236}">
                  <a16:creationId xmlns:a16="http://schemas.microsoft.com/office/drawing/2014/main" id="{A5798932-A9EB-4086-8D68-4E3436F92196}"/>
                </a:ext>
              </a:extLst>
            </p:cNvPr>
            <p:cNvSpPr>
              <a:spLocks/>
            </p:cNvSpPr>
            <p:nvPr/>
          </p:nvSpPr>
          <p:spPr bwMode="auto">
            <a:xfrm>
              <a:off x="554182" y="3093069"/>
              <a:ext cx="2003587" cy="1004919"/>
            </a:xfrm>
            <a:custGeom>
              <a:avLst/>
              <a:gdLst>
                <a:gd name="T0" fmla="*/ 966 w 1103"/>
                <a:gd name="T1" fmla="*/ 554 h 554"/>
                <a:gd name="T2" fmla="*/ 277 w 1103"/>
                <a:gd name="T3" fmla="*/ 554 h 554"/>
                <a:gd name="T4" fmla="*/ 0 w 1103"/>
                <a:gd name="T5" fmla="*/ 277 h 554"/>
                <a:gd name="T6" fmla="*/ 0 w 1103"/>
                <a:gd name="T7" fmla="*/ 277 h 554"/>
                <a:gd name="T8" fmla="*/ 277 w 1103"/>
                <a:gd name="T9" fmla="*/ 0 h 554"/>
                <a:gd name="T10" fmla="*/ 1071 w 1103"/>
                <a:gd name="T11" fmla="*/ 0 h 554"/>
                <a:gd name="T12" fmla="*/ 1103 w 1103"/>
                <a:gd name="T13" fmla="*/ 32 h 554"/>
                <a:gd name="T14" fmla="*/ 1103 w 1103"/>
                <a:gd name="T15" fmla="*/ 416 h 554"/>
                <a:gd name="T16" fmla="*/ 966 w 1103"/>
                <a:gd name="T17" fmla="*/ 554 h 5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3" h="554">
                  <a:moveTo>
                    <a:pt x="966" y="554"/>
                  </a:moveTo>
                  <a:cubicBezTo>
                    <a:pt x="277" y="554"/>
                    <a:pt x="277" y="554"/>
                    <a:pt x="277" y="554"/>
                  </a:cubicBezTo>
                  <a:cubicBezTo>
                    <a:pt x="124" y="554"/>
                    <a:pt x="0" y="430"/>
                    <a:pt x="0" y="277"/>
                  </a:cubicBezTo>
                  <a:cubicBezTo>
                    <a:pt x="0" y="277"/>
                    <a:pt x="0" y="277"/>
                    <a:pt x="0" y="277"/>
                  </a:cubicBezTo>
                  <a:cubicBezTo>
                    <a:pt x="0" y="124"/>
                    <a:pt x="124" y="0"/>
                    <a:pt x="277" y="0"/>
                  </a:cubicBezTo>
                  <a:cubicBezTo>
                    <a:pt x="1071" y="0"/>
                    <a:pt x="1071" y="0"/>
                    <a:pt x="1071" y="0"/>
                  </a:cubicBezTo>
                  <a:cubicBezTo>
                    <a:pt x="1089" y="0"/>
                    <a:pt x="1103" y="14"/>
                    <a:pt x="1103" y="32"/>
                  </a:cubicBezTo>
                  <a:cubicBezTo>
                    <a:pt x="1103" y="416"/>
                    <a:pt x="1103" y="416"/>
                    <a:pt x="1103" y="416"/>
                  </a:cubicBezTo>
                  <a:cubicBezTo>
                    <a:pt x="1103" y="492"/>
                    <a:pt x="1041" y="554"/>
                    <a:pt x="966" y="554"/>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9" name="Freeform 6">
              <a:extLst>
                <a:ext uri="{FF2B5EF4-FFF2-40B4-BE49-F238E27FC236}">
                  <a16:creationId xmlns:a16="http://schemas.microsoft.com/office/drawing/2014/main" id="{F6E5616D-A802-4705-A56E-6662EFB30809}"/>
                </a:ext>
              </a:extLst>
            </p:cNvPr>
            <p:cNvSpPr>
              <a:spLocks/>
            </p:cNvSpPr>
            <p:nvPr/>
          </p:nvSpPr>
          <p:spPr bwMode="auto">
            <a:xfrm>
              <a:off x="3856507" y="3947954"/>
              <a:ext cx="1401886" cy="984602"/>
            </a:xfrm>
            <a:custGeom>
              <a:avLst/>
              <a:gdLst>
                <a:gd name="T0" fmla="*/ 627 w 772"/>
                <a:gd name="T1" fmla="*/ 0 h 543"/>
                <a:gd name="T2" fmla="*/ 616 w 772"/>
                <a:gd name="T3" fmla="*/ 0 h 543"/>
                <a:gd name="T4" fmla="*/ 156 w 772"/>
                <a:gd name="T5" fmla="*/ 0 h 543"/>
                <a:gd name="T6" fmla="*/ 149 w 772"/>
                <a:gd name="T7" fmla="*/ 0 h 543"/>
                <a:gd name="T8" fmla="*/ 0 w 772"/>
                <a:gd name="T9" fmla="*/ 149 h 543"/>
                <a:gd name="T10" fmla="*/ 0 w 772"/>
                <a:gd name="T11" fmla="*/ 543 h 543"/>
                <a:gd name="T12" fmla="*/ 411 w 772"/>
                <a:gd name="T13" fmla="*/ 543 h 543"/>
                <a:gd name="T14" fmla="*/ 616 w 772"/>
                <a:gd name="T15" fmla="*/ 324 h 543"/>
                <a:gd name="T16" fmla="*/ 772 w 772"/>
                <a:gd name="T17" fmla="*/ 155 h 543"/>
                <a:gd name="T18" fmla="*/ 772 w 772"/>
                <a:gd name="T19" fmla="*/ 155 h 543"/>
                <a:gd name="T20" fmla="*/ 627 w 772"/>
                <a:gd name="T21" fmla="*/ 0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2" h="543">
                  <a:moveTo>
                    <a:pt x="627" y="0"/>
                  </a:moveTo>
                  <a:cubicBezTo>
                    <a:pt x="616" y="0"/>
                    <a:pt x="616" y="0"/>
                    <a:pt x="616" y="0"/>
                  </a:cubicBezTo>
                  <a:cubicBezTo>
                    <a:pt x="156" y="0"/>
                    <a:pt x="156" y="0"/>
                    <a:pt x="156" y="0"/>
                  </a:cubicBezTo>
                  <a:cubicBezTo>
                    <a:pt x="149" y="0"/>
                    <a:pt x="149" y="0"/>
                    <a:pt x="149" y="0"/>
                  </a:cubicBezTo>
                  <a:cubicBezTo>
                    <a:pt x="67" y="0"/>
                    <a:pt x="0" y="67"/>
                    <a:pt x="0" y="149"/>
                  </a:cubicBezTo>
                  <a:cubicBezTo>
                    <a:pt x="0" y="543"/>
                    <a:pt x="0" y="543"/>
                    <a:pt x="0" y="543"/>
                  </a:cubicBezTo>
                  <a:cubicBezTo>
                    <a:pt x="411" y="543"/>
                    <a:pt x="411" y="543"/>
                    <a:pt x="411" y="543"/>
                  </a:cubicBezTo>
                  <a:cubicBezTo>
                    <a:pt x="524" y="543"/>
                    <a:pt x="616" y="445"/>
                    <a:pt x="616" y="324"/>
                  </a:cubicBezTo>
                  <a:cubicBezTo>
                    <a:pt x="702" y="323"/>
                    <a:pt x="772" y="247"/>
                    <a:pt x="772" y="155"/>
                  </a:cubicBezTo>
                  <a:cubicBezTo>
                    <a:pt x="772" y="155"/>
                    <a:pt x="772" y="155"/>
                    <a:pt x="772" y="155"/>
                  </a:cubicBezTo>
                  <a:cubicBezTo>
                    <a:pt x="772" y="69"/>
                    <a:pt x="707" y="0"/>
                    <a:pt x="627"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0" name="Freeform 7">
              <a:extLst>
                <a:ext uri="{FF2B5EF4-FFF2-40B4-BE49-F238E27FC236}">
                  <a16:creationId xmlns:a16="http://schemas.microsoft.com/office/drawing/2014/main" id="{B483B2B0-8F81-453F-A187-6D23F1EBE486}"/>
                </a:ext>
              </a:extLst>
            </p:cNvPr>
            <p:cNvSpPr>
              <a:spLocks/>
            </p:cNvSpPr>
            <p:nvPr/>
          </p:nvSpPr>
          <p:spPr bwMode="auto">
            <a:xfrm>
              <a:off x="1895116" y="3683830"/>
              <a:ext cx="1267480" cy="1054930"/>
            </a:xfrm>
            <a:custGeom>
              <a:avLst/>
              <a:gdLst>
                <a:gd name="T0" fmla="*/ 613 w 698"/>
                <a:gd name="T1" fmla="*/ 8 h 582"/>
                <a:gd name="T2" fmla="*/ 558 w 698"/>
                <a:gd name="T3" fmla="*/ 7 h 582"/>
                <a:gd name="T4" fmla="*/ 144 w 698"/>
                <a:gd name="T5" fmla="*/ 1 h 582"/>
                <a:gd name="T6" fmla="*/ 134 w 698"/>
                <a:gd name="T7" fmla="*/ 1 h 582"/>
                <a:gd name="T8" fmla="*/ 2 w 698"/>
                <a:gd name="T9" fmla="*/ 162 h 582"/>
                <a:gd name="T10" fmla="*/ 2 w 698"/>
                <a:gd name="T11" fmla="*/ 162 h 582"/>
                <a:gd name="T12" fmla="*/ 95 w 698"/>
                <a:gd name="T13" fmla="*/ 333 h 582"/>
                <a:gd name="T14" fmla="*/ 143 w 698"/>
                <a:gd name="T15" fmla="*/ 394 h 582"/>
                <a:gd name="T16" fmla="*/ 320 w 698"/>
                <a:gd name="T17" fmla="*/ 577 h 582"/>
                <a:gd name="T18" fmla="*/ 604 w 698"/>
                <a:gd name="T19" fmla="*/ 581 h 582"/>
                <a:gd name="T20" fmla="*/ 691 w 698"/>
                <a:gd name="T21" fmla="*/ 497 h 582"/>
                <a:gd name="T22" fmla="*/ 697 w 698"/>
                <a:gd name="T23" fmla="*/ 95 h 582"/>
                <a:gd name="T24" fmla="*/ 613 w 698"/>
                <a:gd name="T25" fmla="*/ 8 h 5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8" h="582">
                  <a:moveTo>
                    <a:pt x="613" y="8"/>
                  </a:moveTo>
                  <a:cubicBezTo>
                    <a:pt x="558" y="7"/>
                    <a:pt x="558" y="7"/>
                    <a:pt x="558" y="7"/>
                  </a:cubicBezTo>
                  <a:cubicBezTo>
                    <a:pt x="144" y="1"/>
                    <a:pt x="144" y="1"/>
                    <a:pt x="144" y="1"/>
                  </a:cubicBezTo>
                  <a:cubicBezTo>
                    <a:pt x="134" y="1"/>
                    <a:pt x="134" y="1"/>
                    <a:pt x="134" y="1"/>
                  </a:cubicBezTo>
                  <a:cubicBezTo>
                    <a:pt x="62" y="0"/>
                    <a:pt x="3" y="72"/>
                    <a:pt x="2" y="162"/>
                  </a:cubicBezTo>
                  <a:cubicBezTo>
                    <a:pt x="2" y="162"/>
                    <a:pt x="2" y="162"/>
                    <a:pt x="2" y="162"/>
                  </a:cubicBezTo>
                  <a:cubicBezTo>
                    <a:pt x="0" y="241"/>
                    <a:pt x="39" y="308"/>
                    <a:pt x="95" y="333"/>
                  </a:cubicBezTo>
                  <a:cubicBezTo>
                    <a:pt x="120" y="344"/>
                    <a:pt x="138" y="367"/>
                    <a:pt x="143" y="394"/>
                  </a:cubicBezTo>
                  <a:cubicBezTo>
                    <a:pt x="160" y="497"/>
                    <a:pt x="232" y="575"/>
                    <a:pt x="320" y="577"/>
                  </a:cubicBezTo>
                  <a:cubicBezTo>
                    <a:pt x="604" y="581"/>
                    <a:pt x="604" y="581"/>
                    <a:pt x="604" y="581"/>
                  </a:cubicBezTo>
                  <a:cubicBezTo>
                    <a:pt x="651" y="582"/>
                    <a:pt x="690" y="544"/>
                    <a:pt x="691" y="497"/>
                  </a:cubicBezTo>
                  <a:cubicBezTo>
                    <a:pt x="697" y="95"/>
                    <a:pt x="697" y="95"/>
                    <a:pt x="697" y="95"/>
                  </a:cubicBezTo>
                  <a:cubicBezTo>
                    <a:pt x="698" y="48"/>
                    <a:pt x="660" y="9"/>
                    <a:pt x="613" y="8"/>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1" name="Freeform 8">
              <a:extLst>
                <a:ext uri="{FF2B5EF4-FFF2-40B4-BE49-F238E27FC236}">
                  <a16:creationId xmlns:a16="http://schemas.microsoft.com/office/drawing/2014/main" id="{0BA43698-2AE4-46CD-9D99-1D735853C4FC}"/>
                </a:ext>
              </a:extLst>
            </p:cNvPr>
            <p:cNvSpPr>
              <a:spLocks/>
            </p:cNvSpPr>
            <p:nvPr/>
          </p:nvSpPr>
          <p:spPr bwMode="auto">
            <a:xfrm>
              <a:off x="2848461" y="1820901"/>
              <a:ext cx="1244037" cy="887705"/>
            </a:xfrm>
            <a:custGeom>
              <a:avLst/>
              <a:gdLst>
                <a:gd name="T0" fmla="*/ 685 w 685"/>
                <a:gd name="T1" fmla="*/ 350 h 490"/>
                <a:gd name="T2" fmla="*/ 685 w 685"/>
                <a:gd name="T3" fmla="*/ 331 h 490"/>
                <a:gd name="T4" fmla="*/ 354 w 685"/>
                <a:gd name="T5" fmla="*/ 0 h 490"/>
                <a:gd name="T6" fmla="*/ 350 w 685"/>
                <a:gd name="T7" fmla="*/ 0 h 490"/>
                <a:gd name="T8" fmla="*/ 0 w 685"/>
                <a:gd name="T9" fmla="*/ 350 h 490"/>
                <a:gd name="T10" fmla="*/ 0 w 685"/>
                <a:gd name="T11" fmla="*/ 350 h 490"/>
                <a:gd name="T12" fmla="*/ 140 w 685"/>
                <a:gd name="T13" fmla="*/ 490 h 490"/>
                <a:gd name="T14" fmla="*/ 545 w 685"/>
                <a:gd name="T15" fmla="*/ 490 h 490"/>
                <a:gd name="T16" fmla="*/ 685 w 685"/>
                <a:gd name="T17" fmla="*/ 350 h 4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5" h="490">
                  <a:moveTo>
                    <a:pt x="685" y="350"/>
                  </a:moveTo>
                  <a:cubicBezTo>
                    <a:pt x="685" y="331"/>
                    <a:pt x="685" y="331"/>
                    <a:pt x="685" y="331"/>
                  </a:cubicBezTo>
                  <a:cubicBezTo>
                    <a:pt x="685" y="148"/>
                    <a:pt x="537" y="0"/>
                    <a:pt x="354" y="0"/>
                  </a:cubicBezTo>
                  <a:cubicBezTo>
                    <a:pt x="350" y="0"/>
                    <a:pt x="350" y="0"/>
                    <a:pt x="350" y="0"/>
                  </a:cubicBezTo>
                  <a:cubicBezTo>
                    <a:pt x="157" y="0"/>
                    <a:pt x="0" y="157"/>
                    <a:pt x="0" y="350"/>
                  </a:cubicBezTo>
                  <a:cubicBezTo>
                    <a:pt x="0" y="350"/>
                    <a:pt x="0" y="350"/>
                    <a:pt x="0" y="350"/>
                  </a:cubicBezTo>
                  <a:cubicBezTo>
                    <a:pt x="0" y="427"/>
                    <a:pt x="63" y="490"/>
                    <a:pt x="140" y="490"/>
                  </a:cubicBezTo>
                  <a:cubicBezTo>
                    <a:pt x="545" y="490"/>
                    <a:pt x="545" y="490"/>
                    <a:pt x="545" y="490"/>
                  </a:cubicBezTo>
                  <a:cubicBezTo>
                    <a:pt x="622" y="490"/>
                    <a:pt x="685" y="427"/>
                    <a:pt x="685" y="35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2" name="Oval 10">
              <a:extLst>
                <a:ext uri="{FF2B5EF4-FFF2-40B4-BE49-F238E27FC236}">
                  <a16:creationId xmlns:a16="http://schemas.microsoft.com/office/drawing/2014/main" id="{5ECEAC13-DC31-43C4-BD8A-C9D8C43B6692}"/>
                </a:ext>
              </a:extLst>
            </p:cNvPr>
            <p:cNvSpPr>
              <a:spLocks noChangeArrowheads="1"/>
            </p:cNvSpPr>
            <p:nvPr/>
          </p:nvSpPr>
          <p:spPr bwMode="auto">
            <a:xfrm>
              <a:off x="3240740" y="2185048"/>
              <a:ext cx="229741" cy="229740"/>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3" name="Oval 11">
              <a:extLst>
                <a:ext uri="{FF2B5EF4-FFF2-40B4-BE49-F238E27FC236}">
                  <a16:creationId xmlns:a16="http://schemas.microsoft.com/office/drawing/2014/main" id="{6418A3AC-BC19-4050-8414-6325A07C64EE}"/>
                </a:ext>
              </a:extLst>
            </p:cNvPr>
            <p:cNvSpPr>
              <a:spLocks noChangeArrowheads="1"/>
            </p:cNvSpPr>
            <p:nvPr/>
          </p:nvSpPr>
          <p:spPr bwMode="auto">
            <a:xfrm>
              <a:off x="3622078" y="2016259"/>
              <a:ext cx="231303" cy="228178"/>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4" name="Oval 12">
              <a:extLst>
                <a:ext uri="{FF2B5EF4-FFF2-40B4-BE49-F238E27FC236}">
                  <a16:creationId xmlns:a16="http://schemas.microsoft.com/office/drawing/2014/main" id="{5800CF1C-B6BE-4A02-BD20-F5BFCA2B8529}"/>
                </a:ext>
              </a:extLst>
            </p:cNvPr>
            <p:cNvSpPr>
              <a:spLocks noChangeArrowheads="1"/>
            </p:cNvSpPr>
            <p:nvPr/>
          </p:nvSpPr>
          <p:spPr bwMode="auto">
            <a:xfrm>
              <a:off x="2299898" y="3866686"/>
              <a:ext cx="228178" cy="231303"/>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5" name="Oval 13">
              <a:extLst>
                <a:ext uri="{FF2B5EF4-FFF2-40B4-BE49-F238E27FC236}">
                  <a16:creationId xmlns:a16="http://schemas.microsoft.com/office/drawing/2014/main" id="{07808C29-7774-4CA2-9CAA-3DC9A51C3566}"/>
                </a:ext>
              </a:extLst>
            </p:cNvPr>
            <p:cNvSpPr>
              <a:spLocks noChangeArrowheads="1"/>
            </p:cNvSpPr>
            <p:nvPr/>
          </p:nvSpPr>
          <p:spPr bwMode="auto">
            <a:xfrm>
              <a:off x="2679672" y="4097989"/>
              <a:ext cx="228178" cy="228178"/>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6" name="Oval 14">
              <a:extLst>
                <a:ext uri="{FF2B5EF4-FFF2-40B4-BE49-F238E27FC236}">
                  <a16:creationId xmlns:a16="http://schemas.microsoft.com/office/drawing/2014/main" id="{647464A7-A155-4610-8517-42C65073EB69}"/>
                </a:ext>
              </a:extLst>
            </p:cNvPr>
            <p:cNvSpPr>
              <a:spLocks noChangeArrowheads="1"/>
            </p:cNvSpPr>
            <p:nvPr/>
          </p:nvSpPr>
          <p:spPr bwMode="auto">
            <a:xfrm>
              <a:off x="4783283" y="2749240"/>
              <a:ext cx="229741" cy="229740"/>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7" name="Oval 15">
              <a:extLst>
                <a:ext uri="{FF2B5EF4-FFF2-40B4-BE49-F238E27FC236}">
                  <a16:creationId xmlns:a16="http://schemas.microsoft.com/office/drawing/2014/main" id="{00398641-D882-41CB-B081-B8E9F621313D}"/>
                </a:ext>
              </a:extLst>
            </p:cNvPr>
            <p:cNvSpPr>
              <a:spLocks noChangeArrowheads="1"/>
            </p:cNvSpPr>
            <p:nvPr/>
          </p:nvSpPr>
          <p:spPr bwMode="auto">
            <a:xfrm>
              <a:off x="5013024" y="3232164"/>
              <a:ext cx="231303" cy="231303"/>
            </a:xfrm>
            <a:prstGeom prst="ellipse">
              <a:avLst/>
            </a:prstGeom>
            <a:solidFill>
              <a:srgbClr val="DD48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8" name="Oval 16">
              <a:extLst>
                <a:ext uri="{FF2B5EF4-FFF2-40B4-BE49-F238E27FC236}">
                  <a16:creationId xmlns:a16="http://schemas.microsoft.com/office/drawing/2014/main" id="{22F312C5-9EC1-4AE1-B5D8-D2FE3BBCAA86}"/>
                </a:ext>
              </a:extLst>
            </p:cNvPr>
            <p:cNvSpPr>
              <a:spLocks noChangeArrowheads="1"/>
            </p:cNvSpPr>
            <p:nvPr/>
          </p:nvSpPr>
          <p:spPr bwMode="auto">
            <a:xfrm>
              <a:off x="4442579" y="3185278"/>
              <a:ext cx="229741" cy="229740"/>
            </a:xfrm>
            <a:prstGeom prst="ellipse">
              <a:avLst/>
            </a:prstGeom>
            <a:solidFill>
              <a:srgbClr val="DD48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9" name="Oval 17">
              <a:extLst>
                <a:ext uri="{FF2B5EF4-FFF2-40B4-BE49-F238E27FC236}">
                  <a16:creationId xmlns:a16="http://schemas.microsoft.com/office/drawing/2014/main" id="{FBEB174F-924F-456D-8FDD-1C5115BDD268}"/>
                </a:ext>
              </a:extLst>
            </p:cNvPr>
            <p:cNvSpPr>
              <a:spLocks noChangeArrowheads="1"/>
            </p:cNvSpPr>
            <p:nvPr/>
          </p:nvSpPr>
          <p:spPr bwMode="auto">
            <a:xfrm>
              <a:off x="4556668" y="4376178"/>
              <a:ext cx="231303" cy="229740"/>
            </a:xfrm>
            <a:prstGeom prst="ellipse">
              <a:avLst/>
            </a:prstGeom>
            <a:solidFill>
              <a:srgbClr val="DD48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0" name="Oval 18">
              <a:extLst>
                <a:ext uri="{FF2B5EF4-FFF2-40B4-BE49-F238E27FC236}">
                  <a16:creationId xmlns:a16="http://schemas.microsoft.com/office/drawing/2014/main" id="{36E93E05-AF42-4722-947F-B210F9E04757}"/>
                </a:ext>
              </a:extLst>
            </p:cNvPr>
            <p:cNvSpPr>
              <a:spLocks noChangeArrowheads="1"/>
            </p:cNvSpPr>
            <p:nvPr/>
          </p:nvSpPr>
          <p:spPr bwMode="auto">
            <a:xfrm>
              <a:off x="3936212" y="4097989"/>
              <a:ext cx="231303" cy="228178"/>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1" name="Freeform 20">
              <a:extLst>
                <a:ext uri="{FF2B5EF4-FFF2-40B4-BE49-F238E27FC236}">
                  <a16:creationId xmlns:a16="http://schemas.microsoft.com/office/drawing/2014/main" id="{45669440-2665-4450-BEDE-4B232C024362}"/>
                </a:ext>
              </a:extLst>
            </p:cNvPr>
            <p:cNvSpPr>
              <a:spLocks/>
            </p:cNvSpPr>
            <p:nvPr/>
          </p:nvSpPr>
          <p:spPr bwMode="auto">
            <a:xfrm>
              <a:off x="3587695" y="2997735"/>
              <a:ext cx="1670698" cy="822065"/>
            </a:xfrm>
            <a:custGeom>
              <a:avLst/>
              <a:gdLst>
                <a:gd name="T0" fmla="*/ 920 w 920"/>
                <a:gd name="T1" fmla="*/ 454 h 454"/>
                <a:gd name="T2" fmla="*/ 188 w 920"/>
                <a:gd name="T3" fmla="*/ 454 h 454"/>
                <a:gd name="T4" fmla="*/ 0 w 920"/>
                <a:gd name="T5" fmla="*/ 266 h 454"/>
                <a:gd name="T6" fmla="*/ 0 w 920"/>
                <a:gd name="T7" fmla="*/ 230 h 454"/>
                <a:gd name="T8" fmla="*/ 230 w 920"/>
                <a:gd name="T9" fmla="*/ 0 h 454"/>
                <a:gd name="T10" fmla="*/ 717 w 920"/>
                <a:gd name="T11" fmla="*/ 0 h 454"/>
                <a:gd name="T12" fmla="*/ 920 w 920"/>
                <a:gd name="T13" fmla="*/ 203 h 454"/>
                <a:gd name="T14" fmla="*/ 920 w 920"/>
                <a:gd name="T15" fmla="*/ 454 h 4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20" h="454">
                  <a:moveTo>
                    <a:pt x="920" y="454"/>
                  </a:moveTo>
                  <a:cubicBezTo>
                    <a:pt x="188" y="454"/>
                    <a:pt x="188" y="454"/>
                    <a:pt x="188" y="454"/>
                  </a:cubicBezTo>
                  <a:cubicBezTo>
                    <a:pt x="84" y="454"/>
                    <a:pt x="0" y="370"/>
                    <a:pt x="0" y="266"/>
                  </a:cubicBezTo>
                  <a:cubicBezTo>
                    <a:pt x="0" y="230"/>
                    <a:pt x="0" y="230"/>
                    <a:pt x="0" y="230"/>
                  </a:cubicBezTo>
                  <a:cubicBezTo>
                    <a:pt x="0" y="103"/>
                    <a:pt x="103" y="0"/>
                    <a:pt x="230" y="0"/>
                  </a:cubicBezTo>
                  <a:cubicBezTo>
                    <a:pt x="717" y="0"/>
                    <a:pt x="717" y="0"/>
                    <a:pt x="717" y="0"/>
                  </a:cubicBezTo>
                  <a:cubicBezTo>
                    <a:pt x="829" y="0"/>
                    <a:pt x="920" y="91"/>
                    <a:pt x="920" y="203"/>
                  </a:cubicBezTo>
                  <a:lnTo>
                    <a:pt x="920" y="454"/>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2" name="Freeform 21">
              <a:extLst>
                <a:ext uri="{FF2B5EF4-FFF2-40B4-BE49-F238E27FC236}">
                  <a16:creationId xmlns:a16="http://schemas.microsoft.com/office/drawing/2014/main" id="{0A62A97D-AA57-41F2-ABBF-84EA525C3D03}"/>
                </a:ext>
              </a:extLst>
            </p:cNvPr>
            <p:cNvSpPr>
              <a:spLocks/>
            </p:cNvSpPr>
            <p:nvPr/>
          </p:nvSpPr>
          <p:spPr bwMode="auto">
            <a:xfrm>
              <a:off x="4219091" y="3933888"/>
              <a:ext cx="1787912" cy="886142"/>
            </a:xfrm>
            <a:custGeom>
              <a:avLst/>
              <a:gdLst>
                <a:gd name="T0" fmla="*/ 0 w 984"/>
                <a:gd name="T1" fmla="*/ 0 h 489"/>
                <a:gd name="T2" fmla="*/ 739 w 984"/>
                <a:gd name="T3" fmla="*/ 0 h 489"/>
                <a:gd name="T4" fmla="*/ 984 w 984"/>
                <a:gd name="T5" fmla="*/ 244 h 489"/>
                <a:gd name="T6" fmla="*/ 984 w 984"/>
                <a:gd name="T7" fmla="*/ 244 h 489"/>
                <a:gd name="T8" fmla="*/ 739 w 984"/>
                <a:gd name="T9" fmla="*/ 489 h 489"/>
                <a:gd name="T10" fmla="*/ 135 w 984"/>
                <a:gd name="T11" fmla="*/ 489 h 489"/>
                <a:gd name="T12" fmla="*/ 0 w 984"/>
                <a:gd name="T13" fmla="*/ 354 h 489"/>
                <a:gd name="T14" fmla="*/ 0 w 984"/>
                <a:gd name="T15" fmla="*/ 0 h 48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84" h="489">
                  <a:moveTo>
                    <a:pt x="0" y="0"/>
                  </a:moveTo>
                  <a:cubicBezTo>
                    <a:pt x="739" y="0"/>
                    <a:pt x="739" y="0"/>
                    <a:pt x="739" y="0"/>
                  </a:cubicBezTo>
                  <a:cubicBezTo>
                    <a:pt x="874" y="0"/>
                    <a:pt x="984" y="109"/>
                    <a:pt x="984" y="244"/>
                  </a:cubicBezTo>
                  <a:cubicBezTo>
                    <a:pt x="984" y="244"/>
                    <a:pt x="984" y="244"/>
                    <a:pt x="984" y="244"/>
                  </a:cubicBezTo>
                  <a:cubicBezTo>
                    <a:pt x="984" y="379"/>
                    <a:pt x="874" y="489"/>
                    <a:pt x="739" y="489"/>
                  </a:cubicBezTo>
                  <a:cubicBezTo>
                    <a:pt x="135" y="489"/>
                    <a:pt x="135" y="489"/>
                    <a:pt x="135" y="489"/>
                  </a:cubicBezTo>
                  <a:cubicBezTo>
                    <a:pt x="61" y="489"/>
                    <a:pt x="0" y="429"/>
                    <a:pt x="0" y="354"/>
                  </a:cubicBezTo>
                  <a:lnTo>
                    <a:pt x="0" y="0"/>
                  </a:ln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3" name="Freeform 22">
              <a:extLst>
                <a:ext uri="{FF2B5EF4-FFF2-40B4-BE49-F238E27FC236}">
                  <a16:creationId xmlns:a16="http://schemas.microsoft.com/office/drawing/2014/main" id="{5DA6D89C-8B58-4D85-90ED-ADADC9D352BC}"/>
                </a:ext>
              </a:extLst>
            </p:cNvPr>
            <p:cNvSpPr>
              <a:spLocks/>
            </p:cNvSpPr>
            <p:nvPr/>
          </p:nvSpPr>
          <p:spPr bwMode="auto">
            <a:xfrm>
              <a:off x="1554413" y="4287095"/>
              <a:ext cx="1611310" cy="801747"/>
            </a:xfrm>
            <a:custGeom>
              <a:avLst/>
              <a:gdLst>
                <a:gd name="T0" fmla="*/ 887 w 887"/>
                <a:gd name="T1" fmla="*/ 442 h 442"/>
                <a:gd name="T2" fmla="*/ 175 w 887"/>
                <a:gd name="T3" fmla="*/ 442 h 442"/>
                <a:gd name="T4" fmla="*/ 0 w 887"/>
                <a:gd name="T5" fmla="*/ 268 h 442"/>
                <a:gd name="T6" fmla="*/ 0 w 887"/>
                <a:gd name="T7" fmla="*/ 175 h 442"/>
                <a:gd name="T8" fmla="*/ 175 w 887"/>
                <a:gd name="T9" fmla="*/ 0 h 442"/>
                <a:gd name="T10" fmla="*/ 751 w 887"/>
                <a:gd name="T11" fmla="*/ 0 h 442"/>
                <a:gd name="T12" fmla="*/ 887 w 887"/>
                <a:gd name="T13" fmla="*/ 136 h 442"/>
                <a:gd name="T14" fmla="*/ 887 w 887"/>
                <a:gd name="T15" fmla="*/ 442 h 4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7" h="442">
                  <a:moveTo>
                    <a:pt x="887" y="442"/>
                  </a:moveTo>
                  <a:cubicBezTo>
                    <a:pt x="175" y="442"/>
                    <a:pt x="175" y="442"/>
                    <a:pt x="175" y="442"/>
                  </a:cubicBezTo>
                  <a:cubicBezTo>
                    <a:pt x="79" y="442"/>
                    <a:pt x="0" y="364"/>
                    <a:pt x="0" y="268"/>
                  </a:cubicBezTo>
                  <a:cubicBezTo>
                    <a:pt x="0" y="175"/>
                    <a:pt x="0" y="175"/>
                    <a:pt x="0" y="175"/>
                  </a:cubicBezTo>
                  <a:cubicBezTo>
                    <a:pt x="0" y="78"/>
                    <a:pt x="79" y="0"/>
                    <a:pt x="175" y="0"/>
                  </a:cubicBezTo>
                  <a:cubicBezTo>
                    <a:pt x="751" y="0"/>
                    <a:pt x="751" y="0"/>
                    <a:pt x="751" y="0"/>
                  </a:cubicBezTo>
                  <a:cubicBezTo>
                    <a:pt x="826" y="0"/>
                    <a:pt x="887" y="61"/>
                    <a:pt x="887" y="136"/>
                  </a:cubicBezTo>
                  <a:lnTo>
                    <a:pt x="887" y="442"/>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4" name="Freeform 23">
              <a:extLst>
                <a:ext uri="{FF2B5EF4-FFF2-40B4-BE49-F238E27FC236}">
                  <a16:creationId xmlns:a16="http://schemas.microsoft.com/office/drawing/2014/main" id="{65A9B3EE-4C2E-47BA-ACDF-FF16498828FD}"/>
                </a:ext>
              </a:extLst>
            </p:cNvPr>
            <p:cNvSpPr>
              <a:spLocks/>
            </p:cNvSpPr>
            <p:nvPr/>
          </p:nvSpPr>
          <p:spPr bwMode="auto">
            <a:xfrm>
              <a:off x="1754459" y="2192861"/>
              <a:ext cx="1412826" cy="845507"/>
            </a:xfrm>
            <a:custGeom>
              <a:avLst/>
              <a:gdLst>
                <a:gd name="T0" fmla="*/ 663 w 778"/>
                <a:gd name="T1" fmla="*/ 467 h 467"/>
                <a:gd name="T2" fmla="*/ 0 w 778"/>
                <a:gd name="T3" fmla="*/ 467 h 467"/>
                <a:gd name="T4" fmla="*/ 0 w 778"/>
                <a:gd name="T5" fmla="*/ 217 h 467"/>
                <a:gd name="T6" fmla="*/ 216 w 778"/>
                <a:gd name="T7" fmla="*/ 0 h 467"/>
                <a:gd name="T8" fmla="*/ 561 w 778"/>
                <a:gd name="T9" fmla="*/ 0 h 467"/>
                <a:gd name="T10" fmla="*/ 778 w 778"/>
                <a:gd name="T11" fmla="*/ 217 h 467"/>
                <a:gd name="T12" fmla="*/ 778 w 778"/>
                <a:gd name="T13" fmla="*/ 352 h 467"/>
                <a:gd name="T14" fmla="*/ 663 w 778"/>
                <a:gd name="T15" fmla="*/ 467 h 46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78" h="467">
                  <a:moveTo>
                    <a:pt x="663" y="467"/>
                  </a:moveTo>
                  <a:cubicBezTo>
                    <a:pt x="0" y="467"/>
                    <a:pt x="0" y="467"/>
                    <a:pt x="0" y="467"/>
                  </a:cubicBezTo>
                  <a:cubicBezTo>
                    <a:pt x="0" y="217"/>
                    <a:pt x="0" y="217"/>
                    <a:pt x="0" y="217"/>
                  </a:cubicBezTo>
                  <a:cubicBezTo>
                    <a:pt x="0" y="97"/>
                    <a:pt x="97" y="0"/>
                    <a:pt x="216" y="0"/>
                  </a:cubicBezTo>
                  <a:cubicBezTo>
                    <a:pt x="561" y="0"/>
                    <a:pt x="561" y="0"/>
                    <a:pt x="561" y="0"/>
                  </a:cubicBezTo>
                  <a:cubicBezTo>
                    <a:pt x="681" y="0"/>
                    <a:pt x="778" y="97"/>
                    <a:pt x="778" y="217"/>
                  </a:cubicBezTo>
                  <a:cubicBezTo>
                    <a:pt x="778" y="352"/>
                    <a:pt x="778" y="352"/>
                    <a:pt x="778" y="352"/>
                  </a:cubicBezTo>
                  <a:cubicBezTo>
                    <a:pt x="778" y="415"/>
                    <a:pt x="726" y="467"/>
                    <a:pt x="663" y="467"/>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nvGrpSpPr>
            <p:cNvPr id="25" name="Group 27">
              <a:extLst>
                <a:ext uri="{FF2B5EF4-FFF2-40B4-BE49-F238E27FC236}">
                  <a16:creationId xmlns:a16="http://schemas.microsoft.com/office/drawing/2014/main" id="{455D7A96-939E-408E-B9B3-19DE911B930C}"/>
                </a:ext>
              </a:extLst>
            </p:cNvPr>
            <p:cNvGrpSpPr/>
            <p:nvPr/>
          </p:nvGrpSpPr>
          <p:grpSpPr>
            <a:xfrm>
              <a:off x="2208497" y="2486151"/>
              <a:ext cx="504750" cy="343660"/>
              <a:chOff x="5822950" y="90488"/>
              <a:chExt cx="596900" cy="406400"/>
            </a:xfrm>
            <a:solidFill>
              <a:schemeClr val="bg1"/>
            </a:solidFill>
          </p:grpSpPr>
          <p:sp>
            <p:nvSpPr>
              <p:cNvPr id="52" name="Freeform 118">
                <a:extLst>
                  <a:ext uri="{FF2B5EF4-FFF2-40B4-BE49-F238E27FC236}">
                    <a16:creationId xmlns:a16="http://schemas.microsoft.com/office/drawing/2014/main" id="{FD261F07-EBBB-4862-B599-B23ABD578D28}"/>
                  </a:ext>
                </a:extLst>
              </p:cNvPr>
              <p:cNvSpPr>
                <a:spLocks noEditPoints="1"/>
              </p:cNvSpPr>
              <p:nvPr/>
            </p:nvSpPr>
            <p:spPr bwMode="auto">
              <a:xfrm>
                <a:off x="6234113" y="139700"/>
                <a:ext cx="185737" cy="282575"/>
              </a:xfrm>
              <a:custGeom>
                <a:avLst/>
                <a:gdLst>
                  <a:gd name="T0" fmla="*/ 54 w 57"/>
                  <a:gd name="T1" fmla="*/ 69 h 87"/>
                  <a:gd name="T2" fmla="*/ 30 w 57"/>
                  <a:gd name="T3" fmla="*/ 54 h 87"/>
                  <a:gd name="T4" fmla="*/ 30 w 57"/>
                  <a:gd name="T5" fmla="*/ 54 h 87"/>
                  <a:gd name="T6" fmla="*/ 30 w 57"/>
                  <a:gd name="T7" fmla="*/ 38 h 87"/>
                  <a:gd name="T8" fmla="*/ 33 w 57"/>
                  <a:gd name="T9" fmla="*/ 32 h 87"/>
                  <a:gd name="T10" fmla="*/ 33 w 57"/>
                  <a:gd name="T11" fmla="*/ 15 h 87"/>
                  <a:gd name="T12" fmla="*/ 18 w 57"/>
                  <a:gd name="T13" fmla="*/ 0 h 87"/>
                  <a:gd name="T14" fmla="*/ 15 w 57"/>
                  <a:gd name="T15" fmla="*/ 0 h 87"/>
                  <a:gd name="T16" fmla="*/ 0 w 57"/>
                  <a:gd name="T17" fmla="*/ 15 h 87"/>
                  <a:gd name="T18" fmla="*/ 0 w 57"/>
                  <a:gd name="T19" fmla="*/ 32 h 87"/>
                  <a:gd name="T20" fmla="*/ 3 w 57"/>
                  <a:gd name="T21" fmla="*/ 38 h 87"/>
                  <a:gd name="T22" fmla="*/ 3 w 57"/>
                  <a:gd name="T23" fmla="*/ 54 h 87"/>
                  <a:gd name="T24" fmla="*/ 3 w 57"/>
                  <a:gd name="T25" fmla="*/ 54 h 87"/>
                  <a:gd name="T26" fmla="*/ 13 w 57"/>
                  <a:gd name="T27" fmla="*/ 61 h 87"/>
                  <a:gd name="T28" fmla="*/ 19 w 57"/>
                  <a:gd name="T29" fmla="*/ 74 h 87"/>
                  <a:gd name="T30" fmla="*/ 19 w 57"/>
                  <a:gd name="T31" fmla="*/ 87 h 87"/>
                  <a:gd name="T32" fmla="*/ 57 w 57"/>
                  <a:gd name="T33" fmla="*/ 87 h 87"/>
                  <a:gd name="T34" fmla="*/ 57 w 57"/>
                  <a:gd name="T35" fmla="*/ 76 h 87"/>
                  <a:gd name="T36" fmla="*/ 54 w 57"/>
                  <a:gd name="T37" fmla="*/ 69 h 87"/>
                  <a:gd name="T38" fmla="*/ 54 w 57"/>
                  <a:gd name="T39" fmla="*/ 69 h 87"/>
                  <a:gd name="T40" fmla="*/ 54 w 57"/>
                  <a:gd name="T41" fmla="*/ 69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7" h="87">
                    <a:moveTo>
                      <a:pt x="54" y="69"/>
                    </a:moveTo>
                    <a:cubicBezTo>
                      <a:pt x="44" y="61"/>
                      <a:pt x="33" y="55"/>
                      <a:pt x="30" y="54"/>
                    </a:cubicBezTo>
                    <a:cubicBezTo>
                      <a:pt x="30" y="54"/>
                      <a:pt x="30" y="54"/>
                      <a:pt x="30" y="54"/>
                    </a:cubicBezTo>
                    <a:cubicBezTo>
                      <a:pt x="30" y="38"/>
                      <a:pt x="30" y="38"/>
                      <a:pt x="30" y="38"/>
                    </a:cubicBezTo>
                    <a:cubicBezTo>
                      <a:pt x="32" y="37"/>
                      <a:pt x="33" y="34"/>
                      <a:pt x="33" y="32"/>
                    </a:cubicBezTo>
                    <a:cubicBezTo>
                      <a:pt x="33" y="15"/>
                      <a:pt x="33" y="15"/>
                      <a:pt x="33" y="15"/>
                    </a:cubicBezTo>
                    <a:cubicBezTo>
                      <a:pt x="33" y="7"/>
                      <a:pt x="27" y="0"/>
                      <a:pt x="18" y="0"/>
                    </a:cubicBezTo>
                    <a:cubicBezTo>
                      <a:pt x="15" y="0"/>
                      <a:pt x="15" y="0"/>
                      <a:pt x="15" y="0"/>
                    </a:cubicBezTo>
                    <a:cubicBezTo>
                      <a:pt x="7" y="0"/>
                      <a:pt x="0" y="7"/>
                      <a:pt x="0" y="15"/>
                    </a:cubicBezTo>
                    <a:cubicBezTo>
                      <a:pt x="0" y="32"/>
                      <a:pt x="0" y="32"/>
                      <a:pt x="0" y="32"/>
                    </a:cubicBezTo>
                    <a:cubicBezTo>
                      <a:pt x="0" y="34"/>
                      <a:pt x="1" y="37"/>
                      <a:pt x="3" y="38"/>
                    </a:cubicBezTo>
                    <a:cubicBezTo>
                      <a:pt x="3" y="54"/>
                      <a:pt x="3" y="54"/>
                      <a:pt x="3" y="54"/>
                    </a:cubicBezTo>
                    <a:cubicBezTo>
                      <a:pt x="3" y="54"/>
                      <a:pt x="3" y="54"/>
                      <a:pt x="3" y="54"/>
                    </a:cubicBezTo>
                    <a:cubicBezTo>
                      <a:pt x="6" y="56"/>
                      <a:pt x="10" y="59"/>
                      <a:pt x="13" y="61"/>
                    </a:cubicBezTo>
                    <a:cubicBezTo>
                      <a:pt x="17" y="64"/>
                      <a:pt x="19" y="69"/>
                      <a:pt x="19" y="74"/>
                    </a:cubicBezTo>
                    <a:cubicBezTo>
                      <a:pt x="19" y="87"/>
                      <a:pt x="19" y="87"/>
                      <a:pt x="19" y="87"/>
                    </a:cubicBezTo>
                    <a:cubicBezTo>
                      <a:pt x="57" y="87"/>
                      <a:pt x="57" y="87"/>
                      <a:pt x="57" y="87"/>
                    </a:cubicBezTo>
                    <a:cubicBezTo>
                      <a:pt x="57" y="76"/>
                      <a:pt x="57" y="76"/>
                      <a:pt x="57" y="76"/>
                    </a:cubicBezTo>
                    <a:cubicBezTo>
                      <a:pt x="57" y="73"/>
                      <a:pt x="56" y="71"/>
                      <a:pt x="54" y="69"/>
                    </a:cubicBezTo>
                    <a:close/>
                    <a:moveTo>
                      <a:pt x="54" y="69"/>
                    </a:moveTo>
                    <a:cubicBezTo>
                      <a:pt x="54" y="69"/>
                      <a:pt x="54" y="69"/>
                      <a:pt x="54" y="6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53" name="Freeform 119">
                <a:extLst>
                  <a:ext uri="{FF2B5EF4-FFF2-40B4-BE49-F238E27FC236}">
                    <a16:creationId xmlns:a16="http://schemas.microsoft.com/office/drawing/2014/main" id="{BD7ED191-DCC8-4B48-8889-A8CF8159DAE6}"/>
                  </a:ext>
                </a:extLst>
              </p:cNvPr>
              <p:cNvSpPr>
                <a:spLocks noEditPoints="1"/>
              </p:cNvSpPr>
              <p:nvPr/>
            </p:nvSpPr>
            <p:spPr bwMode="auto">
              <a:xfrm>
                <a:off x="5822950" y="139700"/>
                <a:ext cx="184150" cy="282575"/>
              </a:xfrm>
              <a:custGeom>
                <a:avLst/>
                <a:gdLst>
                  <a:gd name="T0" fmla="*/ 54 w 57"/>
                  <a:gd name="T1" fmla="*/ 54 h 87"/>
                  <a:gd name="T2" fmla="*/ 54 w 57"/>
                  <a:gd name="T3" fmla="*/ 38 h 87"/>
                  <a:gd name="T4" fmla="*/ 57 w 57"/>
                  <a:gd name="T5" fmla="*/ 32 h 87"/>
                  <a:gd name="T6" fmla="*/ 57 w 57"/>
                  <a:gd name="T7" fmla="*/ 15 h 87"/>
                  <a:gd name="T8" fmla="*/ 42 w 57"/>
                  <a:gd name="T9" fmla="*/ 0 h 87"/>
                  <a:gd name="T10" fmla="*/ 39 w 57"/>
                  <a:gd name="T11" fmla="*/ 0 h 87"/>
                  <a:gd name="T12" fmla="*/ 24 w 57"/>
                  <a:gd name="T13" fmla="*/ 15 h 87"/>
                  <a:gd name="T14" fmla="*/ 24 w 57"/>
                  <a:gd name="T15" fmla="*/ 32 h 87"/>
                  <a:gd name="T16" fmla="*/ 27 w 57"/>
                  <a:gd name="T17" fmla="*/ 38 h 87"/>
                  <a:gd name="T18" fmla="*/ 27 w 57"/>
                  <a:gd name="T19" fmla="*/ 54 h 87"/>
                  <a:gd name="T20" fmla="*/ 27 w 57"/>
                  <a:gd name="T21" fmla="*/ 54 h 87"/>
                  <a:gd name="T22" fmla="*/ 3 w 57"/>
                  <a:gd name="T23" fmla="*/ 69 h 87"/>
                  <a:gd name="T24" fmla="*/ 0 w 57"/>
                  <a:gd name="T25" fmla="*/ 76 h 87"/>
                  <a:gd name="T26" fmla="*/ 0 w 57"/>
                  <a:gd name="T27" fmla="*/ 87 h 87"/>
                  <a:gd name="T28" fmla="*/ 38 w 57"/>
                  <a:gd name="T29" fmla="*/ 87 h 87"/>
                  <a:gd name="T30" fmla="*/ 38 w 57"/>
                  <a:gd name="T31" fmla="*/ 74 h 87"/>
                  <a:gd name="T32" fmla="*/ 44 w 57"/>
                  <a:gd name="T33" fmla="*/ 61 h 87"/>
                  <a:gd name="T34" fmla="*/ 54 w 57"/>
                  <a:gd name="T35" fmla="*/ 54 h 87"/>
                  <a:gd name="T36" fmla="*/ 54 w 57"/>
                  <a:gd name="T37" fmla="*/ 54 h 87"/>
                  <a:gd name="T38" fmla="*/ 54 w 57"/>
                  <a:gd name="T39" fmla="*/ 54 h 87"/>
                  <a:gd name="T40" fmla="*/ 54 w 57"/>
                  <a:gd name="T41" fmla="*/ 54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7" h="87">
                    <a:moveTo>
                      <a:pt x="54" y="54"/>
                    </a:moveTo>
                    <a:cubicBezTo>
                      <a:pt x="54" y="38"/>
                      <a:pt x="54" y="38"/>
                      <a:pt x="54" y="38"/>
                    </a:cubicBezTo>
                    <a:cubicBezTo>
                      <a:pt x="56" y="37"/>
                      <a:pt x="57" y="34"/>
                      <a:pt x="57" y="32"/>
                    </a:cubicBezTo>
                    <a:cubicBezTo>
                      <a:pt x="57" y="15"/>
                      <a:pt x="57" y="15"/>
                      <a:pt x="57" y="15"/>
                    </a:cubicBezTo>
                    <a:cubicBezTo>
                      <a:pt x="57" y="7"/>
                      <a:pt x="50" y="0"/>
                      <a:pt x="42" y="0"/>
                    </a:cubicBezTo>
                    <a:cubicBezTo>
                      <a:pt x="39" y="0"/>
                      <a:pt x="39" y="0"/>
                      <a:pt x="39" y="0"/>
                    </a:cubicBezTo>
                    <a:cubicBezTo>
                      <a:pt x="30" y="0"/>
                      <a:pt x="24" y="7"/>
                      <a:pt x="24" y="15"/>
                    </a:cubicBezTo>
                    <a:cubicBezTo>
                      <a:pt x="24" y="32"/>
                      <a:pt x="24" y="32"/>
                      <a:pt x="24" y="32"/>
                    </a:cubicBezTo>
                    <a:cubicBezTo>
                      <a:pt x="24" y="34"/>
                      <a:pt x="25" y="37"/>
                      <a:pt x="27" y="38"/>
                    </a:cubicBezTo>
                    <a:cubicBezTo>
                      <a:pt x="27" y="54"/>
                      <a:pt x="27" y="54"/>
                      <a:pt x="27" y="54"/>
                    </a:cubicBezTo>
                    <a:cubicBezTo>
                      <a:pt x="27" y="54"/>
                      <a:pt x="27" y="54"/>
                      <a:pt x="27" y="54"/>
                    </a:cubicBezTo>
                    <a:cubicBezTo>
                      <a:pt x="25" y="55"/>
                      <a:pt x="14" y="61"/>
                      <a:pt x="3" y="69"/>
                    </a:cubicBezTo>
                    <a:cubicBezTo>
                      <a:pt x="2" y="71"/>
                      <a:pt x="0" y="73"/>
                      <a:pt x="0" y="76"/>
                    </a:cubicBezTo>
                    <a:cubicBezTo>
                      <a:pt x="0" y="87"/>
                      <a:pt x="0" y="87"/>
                      <a:pt x="0" y="87"/>
                    </a:cubicBezTo>
                    <a:cubicBezTo>
                      <a:pt x="38" y="87"/>
                      <a:pt x="38" y="87"/>
                      <a:pt x="38" y="87"/>
                    </a:cubicBezTo>
                    <a:cubicBezTo>
                      <a:pt x="38" y="74"/>
                      <a:pt x="38" y="74"/>
                      <a:pt x="38" y="74"/>
                    </a:cubicBezTo>
                    <a:cubicBezTo>
                      <a:pt x="38" y="69"/>
                      <a:pt x="40" y="64"/>
                      <a:pt x="44" y="61"/>
                    </a:cubicBezTo>
                    <a:cubicBezTo>
                      <a:pt x="47" y="59"/>
                      <a:pt x="51" y="56"/>
                      <a:pt x="54" y="54"/>
                    </a:cubicBezTo>
                    <a:cubicBezTo>
                      <a:pt x="54" y="54"/>
                      <a:pt x="54" y="54"/>
                      <a:pt x="54" y="54"/>
                    </a:cubicBezTo>
                    <a:close/>
                    <a:moveTo>
                      <a:pt x="54" y="54"/>
                    </a:moveTo>
                    <a:cubicBezTo>
                      <a:pt x="54" y="54"/>
                      <a:pt x="54" y="54"/>
                      <a:pt x="54" y="5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54" name="Freeform 120">
                <a:extLst>
                  <a:ext uri="{FF2B5EF4-FFF2-40B4-BE49-F238E27FC236}">
                    <a16:creationId xmlns:a16="http://schemas.microsoft.com/office/drawing/2014/main" id="{3BF76ECE-8A5D-42A6-90B9-BE5BDE65E20F}"/>
                  </a:ext>
                </a:extLst>
              </p:cNvPr>
              <p:cNvSpPr>
                <a:spLocks noEditPoints="1"/>
              </p:cNvSpPr>
              <p:nvPr/>
            </p:nvSpPr>
            <p:spPr bwMode="auto">
              <a:xfrm>
                <a:off x="5969000" y="90488"/>
                <a:ext cx="304800" cy="331788"/>
              </a:xfrm>
              <a:custGeom>
                <a:avLst/>
                <a:gdLst>
                  <a:gd name="T0" fmla="*/ 91 w 94"/>
                  <a:gd name="T1" fmla="*/ 81 h 102"/>
                  <a:gd name="T2" fmla="*/ 63 w 94"/>
                  <a:gd name="T3" fmla="*/ 64 h 102"/>
                  <a:gd name="T4" fmla="*/ 63 w 94"/>
                  <a:gd name="T5" fmla="*/ 63 h 102"/>
                  <a:gd name="T6" fmla="*/ 63 w 94"/>
                  <a:gd name="T7" fmla="*/ 44 h 102"/>
                  <a:gd name="T8" fmla="*/ 66 w 94"/>
                  <a:gd name="T9" fmla="*/ 37 h 102"/>
                  <a:gd name="T10" fmla="*/ 66 w 94"/>
                  <a:gd name="T11" fmla="*/ 18 h 102"/>
                  <a:gd name="T12" fmla="*/ 49 w 94"/>
                  <a:gd name="T13" fmla="*/ 0 h 102"/>
                  <a:gd name="T14" fmla="*/ 45 w 94"/>
                  <a:gd name="T15" fmla="*/ 0 h 102"/>
                  <a:gd name="T16" fmla="*/ 28 w 94"/>
                  <a:gd name="T17" fmla="*/ 18 h 102"/>
                  <a:gd name="T18" fmla="*/ 28 w 94"/>
                  <a:gd name="T19" fmla="*/ 37 h 102"/>
                  <a:gd name="T20" fmla="*/ 31 w 94"/>
                  <a:gd name="T21" fmla="*/ 44 h 102"/>
                  <a:gd name="T22" fmla="*/ 31 w 94"/>
                  <a:gd name="T23" fmla="*/ 63 h 102"/>
                  <a:gd name="T24" fmla="*/ 31 w 94"/>
                  <a:gd name="T25" fmla="*/ 64 h 102"/>
                  <a:gd name="T26" fmla="*/ 3 w 94"/>
                  <a:gd name="T27" fmla="*/ 81 h 102"/>
                  <a:gd name="T28" fmla="*/ 0 w 94"/>
                  <a:gd name="T29" fmla="*/ 89 h 102"/>
                  <a:gd name="T30" fmla="*/ 0 w 94"/>
                  <a:gd name="T31" fmla="*/ 102 h 102"/>
                  <a:gd name="T32" fmla="*/ 18 w 94"/>
                  <a:gd name="T33" fmla="*/ 102 h 102"/>
                  <a:gd name="T34" fmla="*/ 18 w 94"/>
                  <a:gd name="T35" fmla="*/ 100 h 102"/>
                  <a:gd name="T36" fmla="*/ 24 w 94"/>
                  <a:gd name="T37" fmla="*/ 92 h 102"/>
                  <a:gd name="T38" fmla="*/ 24 w 94"/>
                  <a:gd name="T39" fmla="*/ 92 h 102"/>
                  <a:gd name="T40" fmla="*/ 23 w 94"/>
                  <a:gd name="T41" fmla="*/ 88 h 102"/>
                  <a:gd name="T42" fmla="*/ 25 w 94"/>
                  <a:gd name="T43" fmla="*/ 82 h 102"/>
                  <a:gd name="T44" fmla="*/ 27 w 94"/>
                  <a:gd name="T45" fmla="*/ 80 h 102"/>
                  <a:gd name="T46" fmla="*/ 33 w 94"/>
                  <a:gd name="T47" fmla="*/ 78 h 102"/>
                  <a:gd name="T48" fmla="*/ 38 w 94"/>
                  <a:gd name="T49" fmla="*/ 79 h 102"/>
                  <a:gd name="T50" fmla="*/ 38 w 94"/>
                  <a:gd name="T51" fmla="*/ 79 h 102"/>
                  <a:gd name="T52" fmla="*/ 46 w 94"/>
                  <a:gd name="T53" fmla="*/ 73 h 102"/>
                  <a:gd name="T54" fmla="*/ 49 w 94"/>
                  <a:gd name="T55" fmla="*/ 73 h 102"/>
                  <a:gd name="T56" fmla="*/ 56 w 94"/>
                  <a:gd name="T57" fmla="*/ 79 h 102"/>
                  <a:gd name="T58" fmla="*/ 57 w 94"/>
                  <a:gd name="T59" fmla="*/ 79 h 102"/>
                  <a:gd name="T60" fmla="*/ 61 w 94"/>
                  <a:gd name="T61" fmla="*/ 78 h 102"/>
                  <a:gd name="T62" fmla="*/ 67 w 94"/>
                  <a:gd name="T63" fmla="*/ 80 h 102"/>
                  <a:gd name="T64" fmla="*/ 69 w 94"/>
                  <a:gd name="T65" fmla="*/ 82 h 102"/>
                  <a:gd name="T66" fmla="*/ 70 w 94"/>
                  <a:gd name="T67" fmla="*/ 92 h 102"/>
                  <a:gd name="T68" fmla="*/ 70 w 94"/>
                  <a:gd name="T69" fmla="*/ 92 h 102"/>
                  <a:gd name="T70" fmla="*/ 76 w 94"/>
                  <a:gd name="T71" fmla="*/ 100 h 102"/>
                  <a:gd name="T72" fmla="*/ 76 w 94"/>
                  <a:gd name="T73" fmla="*/ 102 h 102"/>
                  <a:gd name="T74" fmla="*/ 94 w 94"/>
                  <a:gd name="T75" fmla="*/ 102 h 102"/>
                  <a:gd name="T76" fmla="*/ 94 w 94"/>
                  <a:gd name="T77" fmla="*/ 89 h 102"/>
                  <a:gd name="T78" fmla="*/ 91 w 94"/>
                  <a:gd name="T79" fmla="*/ 81 h 102"/>
                  <a:gd name="T80" fmla="*/ 91 w 94"/>
                  <a:gd name="T81" fmla="*/ 81 h 102"/>
                  <a:gd name="T82" fmla="*/ 91 w 94"/>
                  <a:gd name="T83" fmla="*/ 81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94" h="102">
                    <a:moveTo>
                      <a:pt x="91" y="81"/>
                    </a:moveTo>
                    <a:cubicBezTo>
                      <a:pt x="79" y="72"/>
                      <a:pt x="66" y="65"/>
                      <a:pt x="63" y="64"/>
                    </a:cubicBezTo>
                    <a:cubicBezTo>
                      <a:pt x="63" y="64"/>
                      <a:pt x="63" y="63"/>
                      <a:pt x="63" y="63"/>
                    </a:cubicBezTo>
                    <a:cubicBezTo>
                      <a:pt x="63" y="44"/>
                      <a:pt x="63" y="44"/>
                      <a:pt x="63" y="44"/>
                    </a:cubicBezTo>
                    <a:cubicBezTo>
                      <a:pt x="65" y="43"/>
                      <a:pt x="66" y="40"/>
                      <a:pt x="66" y="37"/>
                    </a:cubicBezTo>
                    <a:cubicBezTo>
                      <a:pt x="66" y="18"/>
                      <a:pt x="66" y="18"/>
                      <a:pt x="66" y="18"/>
                    </a:cubicBezTo>
                    <a:cubicBezTo>
                      <a:pt x="66" y="8"/>
                      <a:pt x="59" y="0"/>
                      <a:pt x="49" y="0"/>
                    </a:cubicBezTo>
                    <a:cubicBezTo>
                      <a:pt x="45" y="0"/>
                      <a:pt x="45" y="0"/>
                      <a:pt x="45" y="0"/>
                    </a:cubicBezTo>
                    <a:cubicBezTo>
                      <a:pt x="35" y="0"/>
                      <a:pt x="28" y="8"/>
                      <a:pt x="28" y="18"/>
                    </a:cubicBezTo>
                    <a:cubicBezTo>
                      <a:pt x="28" y="37"/>
                      <a:pt x="28" y="37"/>
                      <a:pt x="28" y="37"/>
                    </a:cubicBezTo>
                    <a:cubicBezTo>
                      <a:pt x="28" y="40"/>
                      <a:pt x="29" y="43"/>
                      <a:pt x="31" y="44"/>
                    </a:cubicBezTo>
                    <a:cubicBezTo>
                      <a:pt x="31" y="63"/>
                      <a:pt x="31" y="63"/>
                      <a:pt x="31" y="63"/>
                    </a:cubicBezTo>
                    <a:cubicBezTo>
                      <a:pt x="31" y="63"/>
                      <a:pt x="31" y="64"/>
                      <a:pt x="31" y="64"/>
                    </a:cubicBezTo>
                    <a:cubicBezTo>
                      <a:pt x="28" y="65"/>
                      <a:pt x="15" y="71"/>
                      <a:pt x="3" y="81"/>
                    </a:cubicBezTo>
                    <a:cubicBezTo>
                      <a:pt x="1" y="83"/>
                      <a:pt x="0" y="86"/>
                      <a:pt x="0" y="89"/>
                    </a:cubicBezTo>
                    <a:cubicBezTo>
                      <a:pt x="0" y="102"/>
                      <a:pt x="0" y="102"/>
                      <a:pt x="0" y="102"/>
                    </a:cubicBezTo>
                    <a:cubicBezTo>
                      <a:pt x="18" y="102"/>
                      <a:pt x="18" y="102"/>
                      <a:pt x="18" y="102"/>
                    </a:cubicBezTo>
                    <a:cubicBezTo>
                      <a:pt x="18" y="100"/>
                      <a:pt x="18" y="100"/>
                      <a:pt x="18" y="100"/>
                    </a:cubicBezTo>
                    <a:cubicBezTo>
                      <a:pt x="18" y="96"/>
                      <a:pt x="21" y="93"/>
                      <a:pt x="24" y="92"/>
                    </a:cubicBezTo>
                    <a:cubicBezTo>
                      <a:pt x="24" y="92"/>
                      <a:pt x="24" y="92"/>
                      <a:pt x="24" y="92"/>
                    </a:cubicBezTo>
                    <a:cubicBezTo>
                      <a:pt x="23" y="91"/>
                      <a:pt x="23" y="89"/>
                      <a:pt x="23" y="88"/>
                    </a:cubicBezTo>
                    <a:cubicBezTo>
                      <a:pt x="23" y="86"/>
                      <a:pt x="24" y="84"/>
                      <a:pt x="25" y="82"/>
                    </a:cubicBezTo>
                    <a:cubicBezTo>
                      <a:pt x="27" y="80"/>
                      <a:pt x="27" y="80"/>
                      <a:pt x="27" y="80"/>
                    </a:cubicBezTo>
                    <a:cubicBezTo>
                      <a:pt x="29" y="79"/>
                      <a:pt x="31" y="78"/>
                      <a:pt x="33" y="78"/>
                    </a:cubicBezTo>
                    <a:cubicBezTo>
                      <a:pt x="35" y="78"/>
                      <a:pt x="36" y="78"/>
                      <a:pt x="38" y="79"/>
                    </a:cubicBezTo>
                    <a:cubicBezTo>
                      <a:pt x="38" y="79"/>
                      <a:pt x="38" y="79"/>
                      <a:pt x="38" y="79"/>
                    </a:cubicBezTo>
                    <a:cubicBezTo>
                      <a:pt x="38" y="75"/>
                      <a:pt x="42" y="73"/>
                      <a:pt x="46" y="73"/>
                    </a:cubicBezTo>
                    <a:cubicBezTo>
                      <a:pt x="49" y="73"/>
                      <a:pt x="49" y="73"/>
                      <a:pt x="49" y="73"/>
                    </a:cubicBezTo>
                    <a:cubicBezTo>
                      <a:pt x="52" y="73"/>
                      <a:pt x="56" y="75"/>
                      <a:pt x="56" y="79"/>
                    </a:cubicBezTo>
                    <a:cubicBezTo>
                      <a:pt x="56" y="79"/>
                      <a:pt x="56" y="79"/>
                      <a:pt x="57" y="79"/>
                    </a:cubicBezTo>
                    <a:cubicBezTo>
                      <a:pt x="58" y="78"/>
                      <a:pt x="59" y="78"/>
                      <a:pt x="61" y="78"/>
                    </a:cubicBezTo>
                    <a:cubicBezTo>
                      <a:pt x="63" y="78"/>
                      <a:pt x="65" y="79"/>
                      <a:pt x="67" y="80"/>
                    </a:cubicBezTo>
                    <a:cubicBezTo>
                      <a:pt x="69" y="82"/>
                      <a:pt x="69" y="82"/>
                      <a:pt x="69" y="82"/>
                    </a:cubicBezTo>
                    <a:cubicBezTo>
                      <a:pt x="72" y="85"/>
                      <a:pt x="72" y="89"/>
                      <a:pt x="70" y="92"/>
                    </a:cubicBezTo>
                    <a:cubicBezTo>
                      <a:pt x="70" y="92"/>
                      <a:pt x="70" y="92"/>
                      <a:pt x="70" y="92"/>
                    </a:cubicBezTo>
                    <a:cubicBezTo>
                      <a:pt x="74" y="93"/>
                      <a:pt x="76" y="96"/>
                      <a:pt x="76" y="100"/>
                    </a:cubicBezTo>
                    <a:cubicBezTo>
                      <a:pt x="76" y="102"/>
                      <a:pt x="76" y="102"/>
                      <a:pt x="76" y="102"/>
                    </a:cubicBezTo>
                    <a:cubicBezTo>
                      <a:pt x="94" y="102"/>
                      <a:pt x="94" y="102"/>
                      <a:pt x="94" y="102"/>
                    </a:cubicBezTo>
                    <a:cubicBezTo>
                      <a:pt x="94" y="89"/>
                      <a:pt x="94" y="89"/>
                      <a:pt x="94" y="89"/>
                    </a:cubicBezTo>
                    <a:cubicBezTo>
                      <a:pt x="94" y="86"/>
                      <a:pt x="93" y="83"/>
                      <a:pt x="91" y="81"/>
                    </a:cubicBezTo>
                    <a:close/>
                    <a:moveTo>
                      <a:pt x="91" y="81"/>
                    </a:moveTo>
                    <a:cubicBezTo>
                      <a:pt x="91" y="81"/>
                      <a:pt x="91" y="81"/>
                      <a:pt x="91" y="8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55" name="Freeform 121">
                <a:extLst>
                  <a:ext uri="{FF2B5EF4-FFF2-40B4-BE49-F238E27FC236}">
                    <a16:creationId xmlns:a16="http://schemas.microsoft.com/office/drawing/2014/main" id="{B91D5448-CE0A-4FFC-8627-768F701E9D8F}"/>
                  </a:ext>
                </a:extLst>
              </p:cNvPr>
              <p:cNvSpPr>
                <a:spLocks noEditPoints="1"/>
              </p:cNvSpPr>
              <p:nvPr/>
            </p:nvSpPr>
            <p:spPr bwMode="auto">
              <a:xfrm>
                <a:off x="6046788" y="347663"/>
                <a:ext cx="149225" cy="149225"/>
              </a:xfrm>
              <a:custGeom>
                <a:avLst/>
                <a:gdLst>
                  <a:gd name="T0" fmla="*/ 44 w 46"/>
                  <a:gd name="T1" fmla="*/ 19 h 46"/>
                  <a:gd name="T2" fmla="*/ 41 w 46"/>
                  <a:gd name="T3" fmla="*/ 19 h 46"/>
                  <a:gd name="T4" fmla="*/ 38 w 46"/>
                  <a:gd name="T5" fmla="*/ 12 h 46"/>
                  <a:gd name="T6" fmla="*/ 40 w 46"/>
                  <a:gd name="T7" fmla="*/ 10 h 46"/>
                  <a:gd name="T8" fmla="*/ 40 w 46"/>
                  <a:gd name="T9" fmla="*/ 7 h 46"/>
                  <a:gd name="T10" fmla="*/ 38 w 46"/>
                  <a:gd name="T11" fmla="*/ 5 h 46"/>
                  <a:gd name="T12" fmla="*/ 36 w 46"/>
                  <a:gd name="T13" fmla="*/ 5 h 46"/>
                  <a:gd name="T14" fmla="*/ 33 w 46"/>
                  <a:gd name="T15" fmla="*/ 7 h 46"/>
                  <a:gd name="T16" fmla="*/ 26 w 46"/>
                  <a:gd name="T17" fmla="*/ 5 h 46"/>
                  <a:gd name="T18" fmla="*/ 26 w 46"/>
                  <a:gd name="T19" fmla="*/ 2 h 46"/>
                  <a:gd name="T20" fmla="*/ 25 w 46"/>
                  <a:gd name="T21" fmla="*/ 0 h 46"/>
                  <a:gd name="T22" fmla="*/ 21 w 46"/>
                  <a:gd name="T23" fmla="*/ 0 h 46"/>
                  <a:gd name="T24" fmla="*/ 20 w 46"/>
                  <a:gd name="T25" fmla="*/ 2 h 46"/>
                  <a:gd name="T26" fmla="*/ 20 w 46"/>
                  <a:gd name="T27" fmla="*/ 4 h 46"/>
                  <a:gd name="T28" fmla="*/ 13 w 46"/>
                  <a:gd name="T29" fmla="*/ 7 h 46"/>
                  <a:gd name="T30" fmla="*/ 10 w 46"/>
                  <a:gd name="T31" fmla="*/ 5 h 46"/>
                  <a:gd name="T32" fmla="*/ 8 w 46"/>
                  <a:gd name="T33" fmla="*/ 5 h 46"/>
                  <a:gd name="T34" fmla="*/ 6 w 46"/>
                  <a:gd name="T35" fmla="*/ 7 h 46"/>
                  <a:gd name="T36" fmla="*/ 6 w 46"/>
                  <a:gd name="T37" fmla="*/ 10 h 46"/>
                  <a:gd name="T38" fmla="*/ 8 w 46"/>
                  <a:gd name="T39" fmla="*/ 12 h 46"/>
                  <a:gd name="T40" fmla="*/ 5 w 46"/>
                  <a:gd name="T41" fmla="*/ 19 h 46"/>
                  <a:gd name="T42" fmla="*/ 2 w 46"/>
                  <a:gd name="T43" fmla="*/ 19 h 46"/>
                  <a:gd name="T44" fmla="*/ 0 w 46"/>
                  <a:gd name="T45" fmla="*/ 21 h 46"/>
                  <a:gd name="T46" fmla="*/ 0 w 46"/>
                  <a:gd name="T47" fmla="*/ 24 h 46"/>
                  <a:gd name="T48" fmla="*/ 2 w 46"/>
                  <a:gd name="T49" fmla="*/ 26 h 46"/>
                  <a:gd name="T50" fmla="*/ 5 w 46"/>
                  <a:gd name="T51" fmla="*/ 26 h 46"/>
                  <a:gd name="T52" fmla="*/ 8 w 46"/>
                  <a:gd name="T53" fmla="*/ 33 h 46"/>
                  <a:gd name="T54" fmla="*/ 6 w 46"/>
                  <a:gd name="T55" fmla="*/ 35 h 46"/>
                  <a:gd name="T56" fmla="*/ 6 w 46"/>
                  <a:gd name="T57" fmla="*/ 38 h 46"/>
                  <a:gd name="T58" fmla="*/ 8 w 46"/>
                  <a:gd name="T59" fmla="*/ 40 h 46"/>
                  <a:gd name="T60" fmla="*/ 10 w 46"/>
                  <a:gd name="T61" fmla="*/ 40 h 46"/>
                  <a:gd name="T62" fmla="*/ 13 w 46"/>
                  <a:gd name="T63" fmla="*/ 38 h 46"/>
                  <a:gd name="T64" fmla="*/ 20 w 46"/>
                  <a:gd name="T65" fmla="*/ 41 h 46"/>
                  <a:gd name="T66" fmla="*/ 20 w 46"/>
                  <a:gd name="T67" fmla="*/ 44 h 46"/>
                  <a:gd name="T68" fmla="*/ 22 w 46"/>
                  <a:gd name="T69" fmla="*/ 46 h 46"/>
                  <a:gd name="T70" fmla="*/ 25 w 46"/>
                  <a:gd name="T71" fmla="*/ 46 h 46"/>
                  <a:gd name="T72" fmla="*/ 27 w 46"/>
                  <a:gd name="T73" fmla="*/ 44 h 46"/>
                  <a:gd name="T74" fmla="*/ 27 w 46"/>
                  <a:gd name="T75" fmla="*/ 41 h 46"/>
                  <a:gd name="T76" fmla="*/ 34 w 46"/>
                  <a:gd name="T77" fmla="*/ 38 h 46"/>
                  <a:gd name="T78" fmla="*/ 36 w 46"/>
                  <a:gd name="T79" fmla="*/ 40 h 46"/>
                  <a:gd name="T80" fmla="*/ 38 w 46"/>
                  <a:gd name="T81" fmla="*/ 40 h 46"/>
                  <a:gd name="T82" fmla="*/ 40 w 46"/>
                  <a:gd name="T83" fmla="*/ 38 h 46"/>
                  <a:gd name="T84" fmla="*/ 40 w 46"/>
                  <a:gd name="T85" fmla="*/ 35 h 46"/>
                  <a:gd name="T86" fmla="*/ 38 w 46"/>
                  <a:gd name="T87" fmla="*/ 33 h 46"/>
                  <a:gd name="T88" fmla="*/ 41 w 46"/>
                  <a:gd name="T89" fmla="*/ 26 h 46"/>
                  <a:gd name="T90" fmla="*/ 44 w 46"/>
                  <a:gd name="T91" fmla="*/ 26 h 46"/>
                  <a:gd name="T92" fmla="*/ 46 w 46"/>
                  <a:gd name="T93" fmla="*/ 24 h 46"/>
                  <a:gd name="T94" fmla="*/ 46 w 46"/>
                  <a:gd name="T95" fmla="*/ 21 h 46"/>
                  <a:gd name="T96" fmla="*/ 44 w 46"/>
                  <a:gd name="T97" fmla="*/ 19 h 46"/>
                  <a:gd name="T98" fmla="*/ 30 w 46"/>
                  <a:gd name="T99" fmla="*/ 30 h 46"/>
                  <a:gd name="T100" fmla="*/ 16 w 46"/>
                  <a:gd name="T101" fmla="*/ 30 h 46"/>
                  <a:gd name="T102" fmla="*/ 16 w 46"/>
                  <a:gd name="T103" fmla="*/ 16 h 46"/>
                  <a:gd name="T104" fmla="*/ 30 w 46"/>
                  <a:gd name="T105" fmla="*/ 16 h 46"/>
                  <a:gd name="T106" fmla="*/ 30 w 46"/>
                  <a:gd name="T107" fmla="*/ 30 h 46"/>
                  <a:gd name="T108" fmla="*/ 30 w 46"/>
                  <a:gd name="T109" fmla="*/ 30 h 46"/>
                  <a:gd name="T110" fmla="*/ 30 w 46"/>
                  <a:gd name="T111" fmla="*/ 3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6" h="46">
                    <a:moveTo>
                      <a:pt x="44" y="19"/>
                    </a:moveTo>
                    <a:cubicBezTo>
                      <a:pt x="41" y="19"/>
                      <a:pt x="41" y="19"/>
                      <a:pt x="41" y="19"/>
                    </a:cubicBezTo>
                    <a:cubicBezTo>
                      <a:pt x="41" y="17"/>
                      <a:pt x="40" y="14"/>
                      <a:pt x="38" y="12"/>
                    </a:cubicBezTo>
                    <a:cubicBezTo>
                      <a:pt x="40" y="10"/>
                      <a:pt x="40" y="10"/>
                      <a:pt x="40" y="10"/>
                    </a:cubicBezTo>
                    <a:cubicBezTo>
                      <a:pt x="41" y="9"/>
                      <a:pt x="41" y="8"/>
                      <a:pt x="40" y="7"/>
                    </a:cubicBezTo>
                    <a:cubicBezTo>
                      <a:pt x="38" y="5"/>
                      <a:pt x="38" y="5"/>
                      <a:pt x="38" y="5"/>
                    </a:cubicBezTo>
                    <a:cubicBezTo>
                      <a:pt x="38" y="5"/>
                      <a:pt x="36" y="5"/>
                      <a:pt x="36" y="5"/>
                    </a:cubicBezTo>
                    <a:cubicBezTo>
                      <a:pt x="33" y="7"/>
                      <a:pt x="33" y="7"/>
                      <a:pt x="33" y="7"/>
                    </a:cubicBezTo>
                    <a:cubicBezTo>
                      <a:pt x="31" y="6"/>
                      <a:pt x="29" y="5"/>
                      <a:pt x="26" y="5"/>
                    </a:cubicBezTo>
                    <a:cubicBezTo>
                      <a:pt x="26" y="2"/>
                      <a:pt x="26" y="2"/>
                      <a:pt x="26" y="2"/>
                    </a:cubicBezTo>
                    <a:cubicBezTo>
                      <a:pt x="26" y="0"/>
                      <a:pt x="26" y="0"/>
                      <a:pt x="25" y="0"/>
                    </a:cubicBezTo>
                    <a:cubicBezTo>
                      <a:pt x="21" y="0"/>
                      <a:pt x="21" y="0"/>
                      <a:pt x="21" y="0"/>
                    </a:cubicBezTo>
                    <a:cubicBezTo>
                      <a:pt x="20" y="0"/>
                      <a:pt x="20" y="0"/>
                      <a:pt x="20" y="2"/>
                    </a:cubicBezTo>
                    <a:cubicBezTo>
                      <a:pt x="20" y="4"/>
                      <a:pt x="20" y="4"/>
                      <a:pt x="20" y="4"/>
                    </a:cubicBezTo>
                    <a:cubicBezTo>
                      <a:pt x="17" y="5"/>
                      <a:pt x="15" y="6"/>
                      <a:pt x="13" y="7"/>
                    </a:cubicBezTo>
                    <a:cubicBezTo>
                      <a:pt x="10" y="5"/>
                      <a:pt x="10" y="5"/>
                      <a:pt x="10" y="5"/>
                    </a:cubicBezTo>
                    <a:cubicBezTo>
                      <a:pt x="10" y="5"/>
                      <a:pt x="8" y="5"/>
                      <a:pt x="8" y="5"/>
                    </a:cubicBezTo>
                    <a:cubicBezTo>
                      <a:pt x="6" y="7"/>
                      <a:pt x="6" y="7"/>
                      <a:pt x="6" y="7"/>
                    </a:cubicBezTo>
                    <a:cubicBezTo>
                      <a:pt x="5" y="8"/>
                      <a:pt x="5" y="9"/>
                      <a:pt x="6" y="10"/>
                    </a:cubicBezTo>
                    <a:cubicBezTo>
                      <a:pt x="8" y="12"/>
                      <a:pt x="8" y="12"/>
                      <a:pt x="8" y="12"/>
                    </a:cubicBezTo>
                    <a:cubicBezTo>
                      <a:pt x="6" y="14"/>
                      <a:pt x="5" y="17"/>
                      <a:pt x="5" y="19"/>
                    </a:cubicBezTo>
                    <a:cubicBezTo>
                      <a:pt x="2" y="19"/>
                      <a:pt x="2" y="19"/>
                      <a:pt x="2" y="19"/>
                    </a:cubicBezTo>
                    <a:cubicBezTo>
                      <a:pt x="1" y="19"/>
                      <a:pt x="0" y="20"/>
                      <a:pt x="0" y="21"/>
                    </a:cubicBezTo>
                    <a:cubicBezTo>
                      <a:pt x="0" y="24"/>
                      <a:pt x="0" y="24"/>
                      <a:pt x="0" y="24"/>
                    </a:cubicBezTo>
                    <a:cubicBezTo>
                      <a:pt x="0" y="25"/>
                      <a:pt x="1" y="26"/>
                      <a:pt x="2" y="26"/>
                    </a:cubicBezTo>
                    <a:cubicBezTo>
                      <a:pt x="5" y="26"/>
                      <a:pt x="5" y="26"/>
                      <a:pt x="5" y="26"/>
                    </a:cubicBezTo>
                    <a:cubicBezTo>
                      <a:pt x="5" y="29"/>
                      <a:pt x="6" y="31"/>
                      <a:pt x="8" y="33"/>
                    </a:cubicBezTo>
                    <a:cubicBezTo>
                      <a:pt x="6" y="35"/>
                      <a:pt x="6" y="35"/>
                      <a:pt x="6" y="35"/>
                    </a:cubicBezTo>
                    <a:cubicBezTo>
                      <a:pt x="5" y="36"/>
                      <a:pt x="5" y="37"/>
                      <a:pt x="6" y="38"/>
                    </a:cubicBezTo>
                    <a:cubicBezTo>
                      <a:pt x="8" y="40"/>
                      <a:pt x="8" y="40"/>
                      <a:pt x="8" y="40"/>
                    </a:cubicBezTo>
                    <a:cubicBezTo>
                      <a:pt x="8" y="41"/>
                      <a:pt x="10" y="41"/>
                      <a:pt x="10" y="40"/>
                    </a:cubicBezTo>
                    <a:cubicBezTo>
                      <a:pt x="13" y="38"/>
                      <a:pt x="13" y="38"/>
                      <a:pt x="13" y="38"/>
                    </a:cubicBezTo>
                    <a:cubicBezTo>
                      <a:pt x="15" y="40"/>
                      <a:pt x="17" y="41"/>
                      <a:pt x="20" y="41"/>
                    </a:cubicBezTo>
                    <a:cubicBezTo>
                      <a:pt x="20" y="44"/>
                      <a:pt x="20" y="44"/>
                      <a:pt x="20" y="44"/>
                    </a:cubicBezTo>
                    <a:cubicBezTo>
                      <a:pt x="20" y="45"/>
                      <a:pt x="20" y="46"/>
                      <a:pt x="22" y="46"/>
                    </a:cubicBezTo>
                    <a:cubicBezTo>
                      <a:pt x="25" y="46"/>
                      <a:pt x="25" y="46"/>
                      <a:pt x="25" y="46"/>
                    </a:cubicBezTo>
                    <a:cubicBezTo>
                      <a:pt x="26" y="46"/>
                      <a:pt x="27" y="45"/>
                      <a:pt x="27" y="44"/>
                    </a:cubicBezTo>
                    <a:cubicBezTo>
                      <a:pt x="27" y="41"/>
                      <a:pt x="27" y="41"/>
                      <a:pt x="27" y="41"/>
                    </a:cubicBezTo>
                    <a:cubicBezTo>
                      <a:pt x="29" y="41"/>
                      <a:pt x="31" y="40"/>
                      <a:pt x="34" y="38"/>
                    </a:cubicBezTo>
                    <a:cubicBezTo>
                      <a:pt x="36" y="40"/>
                      <a:pt x="36" y="40"/>
                      <a:pt x="36" y="40"/>
                    </a:cubicBezTo>
                    <a:cubicBezTo>
                      <a:pt x="36" y="41"/>
                      <a:pt x="38" y="41"/>
                      <a:pt x="38" y="40"/>
                    </a:cubicBezTo>
                    <a:cubicBezTo>
                      <a:pt x="40" y="38"/>
                      <a:pt x="40" y="38"/>
                      <a:pt x="40" y="38"/>
                    </a:cubicBezTo>
                    <a:cubicBezTo>
                      <a:pt x="41" y="37"/>
                      <a:pt x="41" y="36"/>
                      <a:pt x="40" y="35"/>
                    </a:cubicBezTo>
                    <a:cubicBezTo>
                      <a:pt x="38" y="33"/>
                      <a:pt x="38" y="33"/>
                      <a:pt x="38" y="33"/>
                    </a:cubicBezTo>
                    <a:cubicBezTo>
                      <a:pt x="40" y="31"/>
                      <a:pt x="41" y="29"/>
                      <a:pt x="41" y="26"/>
                    </a:cubicBezTo>
                    <a:cubicBezTo>
                      <a:pt x="44" y="26"/>
                      <a:pt x="44" y="26"/>
                      <a:pt x="44" y="26"/>
                    </a:cubicBezTo>
                    <a:cubicBezTo>
                      <a:pt x="45" y="26"/>
                      <a:pt x="46" y="25"/>
                      <a:pt x="46" y="24"/>
                    </a:cubicBezTo>
                    <a:cubicBezTo>
                      <a:pt x="46" y="21"/>
                      <a:pt x="46" y="21"/>
                      <a:pt x="46" y="21"/>
                    </a:cubicBezTo>
                    <a:cubicBezTo>
                      <a:pt x="46" y="20"/>
                      <a:pt x="45" y="19"/>
                      <a:pt x="44" y="19"/>
                    </a:cubicBezTo>
                    <a:close/>
                    <a:moveTo>
                      <a:pt x="30" y="30"/>
                    </a:moveTo>
                    <a:cubicBezTo>
                      <a:pt x="26" y="34"/>
                      <a:pt x="20" y="34"/>
                      <a:pt x="16" y="30"/>
                    </a:cubicBezTo>
                    <a:cubicBezTo>
                      <a:pt x="12" y="26"/>
                      <a:pt x="12" y="20"/>
                      <a:pt x="16" y="16"/>
                    </a:cubicBezTo>
                    <a:cubicBezTo>
                      <a:pt x="20" y="12"/>
                      <a:pt x="26" y="12"/>
                      <a:pt x="30" y="16"/>
                    </a:cubicBezTo>
                    <a:cubicBezTo>
                      <a:pt x="34" y="20"/>
                      <a:pt x="34" y="26"/>
                      <a:pt x="30" y="30"/>
                    </a:cubicBezTo>
                    <a:close/>
                    <a:moveTo>
                      <a:pt x="30" y="30"/>
                    </a:moveTo>
                    <a:cubicBezTo>
                      <a:pt x="30" y="30"/>
                      <a:pt x="30" y="30"/>
                      <a:pt x="30" y="3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grpSp>
          <p:nvGrpSpPr>
            <p:cNvPr id="26" name="Group 32">
              <a:extLst>
                <a:ext uri="{FF2B5EF4-FFF2-40B4-BE49-F238E27FC236}">
                  <a16:creationId xmlns:a16="http://schemas.microsoft.com/office/drawing/2014/main" id="{29831009-8123-4026-842E-17D13AF63934}"/>
                </a:ext>
              </a:extLst>
            </p:cNvPr>
            <p:cNvGrpSpPr/>
            <p:nvPr/>
          </p:nvGrpSpPr>
          <p:grpSpPr>
            <a:xfrm>
              <a:off x="1371256" y="3324370"/>
              <a:ext cx="369438" cy="542316"/>
              <a:chOff x="8531225" y="744538"/>
              <a:chExt cx="247650" cy="363538"/>
            </a:xfrm>
            <a:solidFill>
              <a:schemeClr val="bg1"/>
            </a:solidFill>
          </p:grpSpPr>
          <p:sp>
            <p:nvSpPr>
              <p:cNvPr id="47" name="Freeform 149">
                <a:extLst>
                  <a:ext uri="{FF2B5EF4-FFF2-40B4-BE49-F238E27FC236}">
                    <a16:creationId xmlns:a16="http://schemas.microsoft.com/office/drawing/2014/main" id="{CEE60384-9B3A-487C-92A6-E3CDFAACA134}"/>
                  </a:ext>
                </a:extLst>
              </p:cNvPr>
              <p:cNvSpPr>
                <a:spLocks noEditPoints="1"/>
              </p:cNvSpPr>
              <p:nvPr/>
            </p:nvSpPr>
            <p:spPr bwMode="auto">
              <a:xfrm>
                <a:off x="8599488" y="1039813"/>
                <a:ext cx="114300" cy="12700"/>
              </a:xfrm>
              <a:custGeom>
                <a:avLst/>
                <a:gdLst>
                  <a:gd name="T0" fmla="*/ 0 w 35"/>
                  <a:gd name="T1" fmla="*/ 4 h 4"/>
                  <a:gd name="T2" fmla="*/ 34 w 35"/>
                  <a:gd name="T3" fmla="*/ 4 h 4"/>
                  <a:gd name="T4" fmla="*/ 35 w 35"/>
                  <a:gd name="T5" fmla="*/ 0 h 4"/>
                  <a:gd name="T6" fmla="*/ 0 w 35"/>
                  <a:gd name="T7" fmla="*/ 0 h 4"/>
                  <a:gd name="T8" fmla="*/ 0 w 35"/>
                  <a:gd name="T9" fmla="*/ 4 h 4"/>
                  <a:gd name="T10" fmla="*/ 0 w 35"/>
                  <a:gd name="T11" fmla="*/ 4 h 4"/>
                  <a:gd name="T12" fmla="*/ 0 w 35"/>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35" h="4">
                    <a:moveTo>
                      <a:pt x="0" y="4"/>
                    </a:moveTo>
                    <a:cubicBezTo>
                      <a:pt x="34" y="4"/>
                      <a:pt x="34" y="4"/>
                      <a:pt x="34" y="4"/>
                    </a:cubicBezTo>
                    <a:cubicBezTo>
                      <a:pt x="34" y="3"/>
                      <a:pt x="34" y="2"/>
                      <a:pt x="35" y="0"/>
                    </a:cubicBezTo>
                    <a:cubicBezTo>
                      <a:pt x="0" y="0"/>
                      <a:pt x="0" y="0"/>
                      <a:pt x="0" y="0"/>
                    </a:cubicBezTo>
                    <a:cubicBezTo>
                      <a:pt x="0" y="2"/>
                      <a:pt x="0" y="3"/>
                      <a:pt x="0" y="4"/>
                    </a:cubicBezTo>
                    <a:close/>
                    <a:moveTo>
                      <a:pt x="0" y="4"/>
                    </a:moveTo>
                    <a:cubicBezTo>
                      <a:pt x="0" y="4"/>
                      <a:pt x="0" y="4"/>
                      <a:pt x="0" y="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48" name="Freeform 150">
                <a:extLst>
                  <a:ext uri="{FF2B5EF4-FFF2-40B4-BE49-F238E27FC236}">
                    <a16:creationId xmlns:a16="http://schemas.microsoft.com/office/drawing/2014/main" id="{B3D140B9-3765-4EE7-806A-BF48CB1B8650}"/>
                  </a:ext>
                </a:extLst>
              </p:cNvPr>
              <p:cNvSpPr>
                <a:spLocks noEditPoints="1"/>
              </p:cNvSpPr>
              <p:nvPr/>
            </p:nvSpPr>
            <p:spPr bwMode="auto">
              <a:xfrm>
                <a:off x="8629650" y="887413"/>
                <a:ext cx="55562" cy="139700"/>
              </a:xfrm>
              <a:custGeom>
                <a:avLst/>
                <a:gdLst>
                  <a:gd name="T0" fmla="*/ 12 w 17"/>
                  <a:gd name="T1" fmla="*/ 43 h 43"/>
                  <a:gd name="T2" fmla="*/ 12 w 17"/>
                  <a:gd name="T3" fmla="*/ 21 h 43"/>
                  <a:gd name="T4" fmla="*/ 13 w 17"/>
                  <a:gd name="T5" fmla="*/ 20 h 43"/>
                  <a:gd name="T6" fmla="*/ 17 w 17"/>
                  <a:gd name="T7" fmla="*/ 14 h 43"/>
                  <a:gd name="T8" fmla="*/ 17 w 17"/>
                  <a:gd name="T9" fmla="*/ 3 h 43"/>
                  <a:gd name="T10" fmla="*/ 15 w 17"/>
                  <a:gd name="T11" fmla="*/ 0 h 43"/>
                  <a:gd name="T12" fmla="*/ 14 w 17"/>
                  <a:gd name="T13" fmla="*/ 0 h 43"/>
                  <a:gd name="T14" fmla="*/ 10 w 17"/>
                  <a:gd name="T15" fmla="*/ 3 h 43"/>
                  <a:gd name="T16" fmla="*/ 7 w 17"/>
                  <a:gd name="T17" fmla="*/ 3 h 43"/>
                  <a:gd name="T18" fmla="*/ 2 w 17"/>
                  <a:gd name="T19" fmla="*/ 0 h 43"/>
                  <a:gd name="T20" fmla="*/ 2 w 17"/>
                  <a:gd name="T21" fmla="*/ 0 h 43"/>
                  <a:gd name="T22" fmla="*/ 0 w 17"/>
                  <a:gd name="T23" fmla="*/ 3 h 43"/>
                  <a:gd name="T24" fmla="*/ 0 w 17"/>
                  <a:gd name="T25" fmla="*/ 14 h 43"/>
                  <a:gd name="T26" fmla="*/ 4 w 17"/>
                  <a:gd name="T27" fmla="*/ 20 h 43"/>
                  <a:gd name="T28" fmla="*/ 4 w 17"/>
                  <a:gd name="T29" fmla="*/ 21 h 43"/>
                  <a:gd name="T30" fmla="*/ 4 w 17"/>
                  <a:gd name="T31" fmla="*/ 43 h 43"/>
                  <a:gd name="T32" fmla="*/ 12 w 17"/>
                  <a:gd name="T33" fmla="*/ 43 h 43"/>
                  <a:gd name="T34" fmla="*/ 12 w 17"/>
                  <a:gd name="T35" fmla="*/ 43 h 43"/>
                  <a:gd name="T36" fmla="*/ 12 w 17"/>
                  <a:gd name="T37"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7" h="43">
                    <a:moveTo>
                      <a:pt x="12" y="43"/>
                    </a:moveTo>
                    <a:cubicBezTo>
                      <a:pt x="12" y="21"/>
                      <a:pt x="12" y="21"/>
                      <a:pt x="12" y="21"/>
                    </a:cubicBezTo>
                    <a:cubicBezTo>
                      <a:pt x="12" y="21"/>
                      <a:pt x="12" y="20"/>
                      <a:pt x="13" y="20"/>
                    </a:cubicBezTo>
                    <a:cubicBezTo>
                      <a:pt x="17" y="14"/>
                      <a:pt x="17" y="14"/>
                      <a:pt x="17" y="14"/>
                    </a:cubicBezTo>
                    <a:cubicBezTo>
                      <a:pt x="17" y="3"/>
                      <a:pt x="17" y="3"/>
                      <a:pt x="17" y="3"/>
                    </a:cubicBezTo>
                    <a:cubicBezTo>
                      <a:pt x="17" y="2"/>
                      <a:pt x="16" y="0"/>
                      <a:pt x="15" y="0"/>
                    </a:cubicBezTo>
                    <a:cubicBezTo>
                      <a:pt x="14" y="0"/>
                      <a:pt x="14" y="0"/>
                      <a:pt x="14" y="0"/>
                    </a:cubicBezTo>
                    <a:cubicBezTo>
                      <a:pt x="10" y="3"/>
                      <a:pt x="10" y="3"/>
                      <a:pt x="10" y="3"/>
                    </a:cubicBezTo>
                    <a:cubicBezTo>
                      <a:pt x="9" y="4"/>
                      <a:pt x="8" y="4"/>
                      <a:pt x="7" y="3"/>
                    </a:cubicBezTo>
                    <a:cubicBezTo>
                      <a:pt x="2" y="0"/>
                      <a:pt x="2" y="0"/>
                      <a:pt x="2" y="0"/>
                    </a:cubicBezTo>
                    <a:cubicBezTo>
                      <a:pt x="2" y="0"/>
                      <a:pt x="2" y="0"/>
                      <a:pt x="2" y="0"/>
                    </a:cubicBezTo>
                    <a:cubicBezTo>
                      <a:pt x="1" y="0"/>
                      <a:pt x="0" y="2"/>
                      <a:pt x="0" y="3"/>
                    </a:cubicBezTo>
                    <a:cubicBezTo>
                      <a:pt x="0" y="14"/>
                      <a:pt x="0" y="14"/>
                      <a:pt x="0" y="14"/>
                    </a:cubicBezTo>
                    <a:cubicBezTo>
                      <a:pt x="4" y="20"/>
                      <a:pt x="4" y="20"/>
                      <a:pt x="4" y="20"/>
                    </a:cubicBezTo>
                    <a:cubicBezTo>
                      <a:pt x="4" y="20"/>
                      <a:pt x="4" y="21"/>
                      <a:pt x="4" y="21"/>
                    </a:cubicBezTo>
                    <a:cubicBezTo>
                      <a:pt x="4" y="43"/>
                      <a:pt x="4" y="43"/>
                      <a:pt x="4" y="43"/>
                    </a:cubicBezTo>
                    <a:lnTo>
                      <a:pt x="12" y="43"/>
                    </a:lnTo>
                    <a:close/>
                    <a:moveTo>
                      <a:pt x="12" y="43"/>
                    </a:moveTo>
                    <a:cubicBezTo>
                      <a:pt x="12" y="43"/>
                      <a:pt x="12" y="43"/>
                      <a:pt x="12" y="4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49" name="Freeform 151">
                <a:extLst>
                  <a:ext uri="{FF2B5EF4-FFF2-40B4-BE49-F238E27FC236}">
                    <a16:creationId xmlns:a16="http://schemas.microsoft.com/office/drawing/2014/main" id="{ADB2CB92-D38A-47A0-8C4C-DE10B38DA666}"/>
                  </a:ext>
                </a:extLst>
              </p:cNvPr>
              <p:cNvSpPr>
                <a:spLocks noEditPoints="1"/>
              </p:cNvSpPr>
              <p:nvPr/>
            </p:nvSpPr>
            <p:spPr bwMode="auto">
              <a:xfrm>
                <a:off x="8599488" y="1065213"/>
                <a:ext cx="111125" cy="42863"/>
              </a:xfrm>
              <a:custGeom>
                <a:avLst/>
                <a:gdLst>
                  <a:gd name="T0" fmla="*/ 0 w 34"/>
                  <a:gd name="T1" fmla="*/ 0 h 13"/>
                  <a:gd name="T2" fmla="*/ 17 w 34"/>
                  <a:gd name="T3" fmla="*/ 13 h 13"/>
                  <a:gd name="T4" fmla="*/ 34 w 34"/>
                  <a:gd name="T5" fmla="*/ 0 h 13"/>
                  <a:gd name="T6" fmla="*/ 0 w 34"/>
                  <a:gd name="T7" fmla="*/ 0 h 13"/>
                  <a:gd name="T8" fmla="*/ 0 w 34"/>
                  <a:gd name="T9" fmla="*/ 0 h 13"/>
                  <a:gd name="T10" fmla="*/ 0 w 34"/>
                  <a:gd name="T11" fmla="*/ 0 h 13"/>
                </a:gdLst>
                <a:ahLst/>
                <a:cxnLst>
                  <a:cxn ang="0">
                    <a:pos x="T0" y="T1"/>
                  </a:cxn>
                  <a:cxn ang="0">
                    <a:pos x="T2" y="T3"/>
                  </a:cxn>
                  <a:cxn ang="0">
                    <a:pos x="T4" y="T5"/>
                  </a:cxn>
                  <a:cxn ang="0">
                    <a:pos x="T6" y="T7"/>
                  </a:cxn>
                  <a:cxn ang="0">
                    <a:pos x="T8" y="T9"/>
                  </a:cxn>
                  <a:cxn ang="0">
                    <a:pos x="T10" y="T11"/>
                  </a:cxn>
                </a:cxnLst>
                <a:rect l="0" t="0" r="r" b="b"/>
                <a:pathLst>
                  <a:path w="34" h="13">
                    <a:moveTo>
                      <a:pt x="0" y="0"/>
                    </a:moveTo>
                    <a:cubicBezTo>
                      <a:pt x="2" y="13"/>
                      <a:pt x="11" y="13"/>
                      <a:pt x="17" y="13"/>
                    </a:cubicBezTo>
                    <a:cubicBezTo>
                      <a:pt x="23" y="13"/>
                      <a:pt x="33" y="13"/>
                      <a:pt x="34" y="0"/>
                    </a:cubicBezTo>
                    <a:lnTo>
                      <a:pt x="0" y="0"/>
                    </a:lnTo>
                    <a:close/>
                    <a:moveTo>
                      <a:pt x="0" y="0"/>
                    </a:move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50" name="Freeform 152">
                <a:extLst>
                  <a:ext uri="{FF2B5EF4-FFF2-40B4-BE49-F238E27FC236}">
                    <a16:creationId xmlns:a16="http://schemas.microsoft.com/office/drawing/2014/main" id="{37B73E18-9810-49EA-AF54-7BCBB54E65DD}"/>
                  </a:ext>
                </a:extLst>
              </p:cNvPr>
              <p:cNvSpPr>
                <a:spLocks noEditPoints="1"/>
              </p:cNvSpPr>
              <p:nvPr/>
            </p:nvSpPr>
            <p:spPr bwMode="auto">
              <a:xfrm>
                <a:off x="8645525" y="828675"/>
                <a:ext cx="19050" cy="19050"/>
              </a:xfrm>
              <a:custGeom>
                <a:avLst/>
                <a:gdLst>
                  <a:gd name="T0" fmla="*/ 3 w 6"/>
                  <a:gd name="T1" fmla="*/ 0 h 6"/>
                  <a:gd name="T2" fmla="*/ 0 w 6"/>
                  <a:gd name="T3" fmla="*/ 3 h 6"/>
                  <a:gd name="T4" fmla="*/ 3 w 6"/>
                  <a:gd name="T5" fmla="*/ 6 h 6"/>
                  <a:gd name="T6" fmla="*/ 6 w 6"/>
                  <a:gd name="T7" fmla="*/ 3 h 6"/>
                  <a:gd name="T8" fmla="*/ 3 w 6"/>
                  <a:gd name="T9" fmla="*/ 0 h 6"/>
                  <a:gd name="T10" fmla="*/ 3 w 6"/>
                  <a:gd name="T11" fmla="*/ 0 h 6"/>
                  <a:gd name="T12" fmla="*/ 3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3" y="0"/>
                    </a:moveTo>
                    <a:cubicBezTo>
                      <a:pt x="2" y="0"/>
                      <a:pt x="0" y="1"/>
                      <a:pt x="0" y="3"/>
                    </a:cubicBezTo>
                    <a:cubicBezTo>
                      <a:pt x="0" y="4"/>
                      <a:pt x="2" y="6"/>
                      <a:pt x="3" y="6"/>
                    </a:cubicBezTo>
                    <a:cubicBezTo>
                      <a:pt x="5" y="6"/>
                      <a:pt x="6" y="4"/>
                      <a:pt x="6" y="3"/>
                    </a:cubicBezTo>
                    <a:cubicBezTo>
                      <a:pt x="6" y="1"/>
                      <a:pt x="5" y="0"/>
                      <a:pt x="3" y="0"/>
                    </a:cubicBezTo>
                    <a:close/>
                    <a:moveTo>
                      <a:pt x="3" y="0"/>
                    </a:moveTo>
                    <a:cubicBezTo>
                      <a:pt x="3" y="0"/>
                      <a:pt x="3"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51" name="Freeform 153">
                <a:extLst>
                  <a:ext uri="{FF2B5EF4-FFF2-40B4-BE49-F238E27FC236}">
                    <a16:creationId xmlns:a16="http://schemas.microsoft.com/office/drawing/2014/main" id="{77D774AC-9E5E-48C6-BEFB-1FEDFDB6A715}"/>
                  </a:ext>
                </a:extLst>
              </p:cNvPr>
              <p:cNvSpPr>
                <a:spLocks noEditPoints="1"/>
              </p:cNvSpPr>
              <p:nvPr/>
            </p:nvSpPr>
            <p:spPr bwMode="auto">
              <a:xfrm>
                <a:off x="8531225" y="744538"/>
                <a:ext cx="247650" cy="282575"/>
              </a:xfrm>
              <a:custGeom>
                <a:avLst/>
                <a:gdLst>
                  <a:gd name="T0" fmla="*/ 38 w 76"/>
                  <a:gd name="T1" fmla="*/ 0 h 87"/>
                  <a:gd name="T2" fmla="*/ 0 w 76"/>
                  <a:gd name="T3" fmla="*/ 38 h 87"/>
                  <a:gd name="T4" fmla="*/ 12 w 76"/>
                  <a:gd name="T5" fmla="*/ 64 h 87"/>
                  <a:gd name="T6" fmla="*/ 17 w 76"/>
                  <a:gd name="T7" fmla="*/ 70 h 87"/>
                  <a:gd name="T8" fmla="*/ 21 w 76"/>
                  <a:gd name="T9" fmla="*/ 87 h 87"/>
                  <a:gd name="T10" fmla="*/ 29 w 76"/>
                  <a:gd name="T11" fmla="*/ 87 h 87"/>
                  <a:gd name="T12" fmla="*/ 29 w 76"/>
                  <a:gd name="T13" fmla="*/ 66 h 87"/>
                  <a:gd name="T14" fmla="*/ 25 w 76"/>
                  <a:gd name="T15" fmla="*/ 60 h 87"/>
                  <a:gd name="T16" fmla="*/ 25 w 76"/>
                  <a:gd name="T17" fmla="*/ 59 h 87"/>
                  <a:gd name="T18" fmla="*/ 25 w 76"/>
                  <a:gd name="T19" fmla="*/ 47 h 87"/>
                  <a:gd name="T20" fmla="*/ 30 w 76"/>
                  <a:gd name="T21" fmla="*/ 39 h 87"/>
                  <a:gd name="T22" fmla="*/ 32 w 76"/>
                  <a:gd name="T23" fmla="*/ 38 h 87"/>
                  <a:gd name="T24" fmla="*/ 34 w 76"/>
                  <a:gd name="T25" fmla="*/ 39 h 87"/>
                  <a:gd name="T26" fmla="*/ 38 w 76"/>
                  <a:gd name="T27" fmla="*/ 42 h 87"/>
                  <a:gd name="T28" fmla="*/ 42 w 76"/>
                  <a:gd name="T29" fmla="*/ 39 h 87"/>
                  <a:gd name="T30" fmla="*/ 44 w 76"/>
                  <a:gd name="T31" fmla="*/ 38 h 87"/>
                  <a:gd name="T32" fmla="*/ 46 w 76"/>
                  <a:gd name="T33" fmla="*/ 39 h 87"/>
                  <a:gd name="T34" fmla="*/ 52 w 76"/>
                  <a:gd name="T35" fmla="*/ 47 h 87"/>
                  <a:gd name="T36" fmla="*/ 52 w 76"/>
                  <a:gd name="T37" fmla="*/ 59 h 87"/>
                  <a:gd name="T38" fmla="*/ 51 w 76"/>
                  <a:gd name="T39" fmla="*/ 60 h 87"/>
                  <a:gd name="T40" fmla="*/ 48 w 76"/>
                  <a:gd name="T41" fmla="*/ 66 h 87"/>
                  <a:gd name="T42" fmla="*/ 48 w 76"/>
                  <a:gd name="T43" fmla="*/ 87 h 87"/>
                  <a:gd name="T44" fmla="*/ 56 w 76"/>
                  <a:gd name="T45" fmla="*/ 87 h 87"/>
                  <a:gd name="T46" fmla="*/ 59 w 76"/>
                  <a:gd name="T47" fmla="*/ 70 h 87"/>
                  <a:gd name="T48" fmla="*/ 65 w 76"/>
                  <a:gd name="T49" fmla="*/ 64 h 87"/>
                  <a:gd name="T50" fmla="*/ 76 w 76"/>
                  <a:gd name="T51" fmla="*/ 38 h 87"/>
                  <a:gd name="T52" fmla="*/ 38 w 76"/>
                  <a:gd name="T53" fmla="*/ 0 h 87"/>
                  <a:gd name="T54" fmla="*/ 38 w 76"/>
                  <a:gd name="T55" fmla="*/ 37 h 87"/>
                  <a:gd name="T56" fmla="*/ 30 w 76"/>
                  <a:gd name="T57" fmla="*/ 29 h 87"/>
                  <a:gd name="T58" fmla="*/ 38 w 76"/>
                  <a:gd name="T59" fmla="*/ 21 h 87"/>
                  <a:gd name="T60" fmla="*/ 46 w 76"/>
                  <a:gd name="T61" fmla="*/ 29 h 87"/>
                  <a:gd name="T62" fmla="*/ 38 w 76"/>
                  <a:gd name="T63" fmla="*/ 37 h 87"/>
                  <a:gd name="T64" fmla="*/ 38 w 76"/>
                  <a:gd name="T65" fmla="*/ 37 h 87"/>
                  <a:gd name="T66" fmla="*/ 38 w 76"/>
                  <a:gd name="T67" fmla="*/ 3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6" h="87">
                    <a:moveTo>
                      <a:pt x="38" y="0"/>
                    </a:moveTo>
                    <a:cubicBezTo>
                      <a:pt x="17" y="0"/>
                      <a:pt x="0" y="17"/>
                      <a:pt x="0" y="38"/>
                    </a:cubicBezTo>
                    <a:cubicBezTo>
                      <a:pt x="0" y="49"/>
                      <a:pt x="6" y="57"/>
                      <a:pt x="12" y="64"/>
                    </a:cubicBezTo>
                    <a:cubicBezTo>
                      <a:pt x="14" y="66"/>
                      <a:pt x="15" y="68"/>
                      <a:pt x="17" y="70"/>
                    </a:cubicBezTo>
                    <a:cubicBezTo>
                      <a:pt x="19" y="73"/>
                      <a:pt x="20" y="80"/>
                      <a:pt x="21" y="87"/>
                    </a:cubicBezTo>
                    <a:cubicBezTo>
                      <a:pt x="29" y="87"/>
                      <a:pt x="29" y="87"/>
                      <a:pt x="29" y="87"/>
                    </a:cubicBezTo>
                    <a:cubicBezTo>
                      <a:pt x="29" y="66"/>
                      <a:pt x="29" y="66"/>
                      <a:pt x="29" y="66"/>
                    </a:cubicBezTo>
                    <a:cubicBezTo>
                      <a:pt x="25" y="60"/>
                      <a:pt x="25" y="60"/>
                      <a:pt x="25" y="60"/>
                    </a:cubicBezTo>
                    <a:cubicBezTo>
                      <a:pt x="25" y="60"/>
                      <a:pt x="25" y="59"/>
                      <a:pt x="25" y="59"/>
                    </a:cubicBezTo>
                    <a:cubicBezTo>
                      <a:pt x="25" y="47"/>
                      <a:pt x="25" y="47"/>
                      <a:pt x="25" y="47"/>
                    </a:cubicBezTo>
                    <a:cubicBezTo>
                      <a:pt x="25" y="43"/>
                      <a:pt x="27" y="40"/>
                      <a:pt x="30" y="39"/>
                    </a:cubicBezTo>
                    <a:cubicBezTo>
                      <a:pt x="30" y="39"/>
                      <a:pt x="32" y="38"/>
                      <a:pt x="32" y="38"/>
                    </a:cubicBezTo>
                    <a:cubicBezTo>
                      <a:pt x="33" y="38"/>
                      <a:pt x="34" y="38"/>
                      <a:pt x="34" y="39"/>
                    </a:cubicBezTo>
                    <a:cubicBezTo>
                      <a:pt x="38" y="42"/>
                      <a:pt x="38" y="42"/>
                      <a:pt x="38" y="42"/>
                    </a:cubicBezTo>
                    <a:cubicBezTo>
                      <a:pt x="42" y="39"/>
                      <a:pt x="42" y="39"/>
                      <a:pt x="42" y="39"/>
                    </a:cubicBezTo>
                    <a:cubicBezTo>
                      <a:pt x="43" y="38"/>
                      <a:pt x="44" y="38"/>
                      <a:pt x="44" y="38"/>
                    </a:cubicBezTo>
                    <a:cubicBezTo>
                      <a:pt x="44" y="38"/>
                      <a:pt x="46" y="39"/>
                      <a:pt x="46" y="39"/>
                    </a:cubicBezTo>
                    <a:cubicBezTo>
                      <a:pt x="50" y="40"/>
                      <a:pt x="52" y="43"/>
                      <a:pt x="52" y="47"/>
                    </a:cubicBezTo>
                    <a:cubicBezTo>
                      <a:pt x="52" y="59"/>
                      <a:pt x="52" y="59"/>
                      <a:pt x="52" y="59"/>
                    </a:cubicBezTo>
                    <a:cubicBezTo>
                      <a:pt x="52" y="59"/>
                      <a:pt x="52" y="60"/>
                      <a:pt x="51" y="60"/>
                    </a:cubicBezTo>
                    <a:cubicBezTo>
                      <a:pt x="48" y="66"/>
                      <a:pt x="48" y="66"/>
                      <a:pt x="48" y="66"/>
                    </a:cubicBezTo>
                    <a:cubicBezTo>
                      <a:pt x="48" y="87"/>
                      <a:pt x="48" y="87"/>
                      <a:pt x="48" y="87"/>
                    </a:cubicBezTo>
                    <a:cubicBezTo>
                      <a:pt x="56" y="87"/>
                      <a:pt x="56" y="87"/>
                      <a:pt x="56" y="87"/>
                    </a:cubicBezTo>
                    <a:cubicBezTo>
                      <a:pt x="56" y="80"/>
                      <a:pt x="58" y="73"/>
                      <a:pt x="59" y="70"/>
                    </a:cubicBezTo>
                    <a:cubicBezTo>
                      <a:pt x="61" y="68"/>
                      <a:pt x="63" y="66"/>
                      <a:pt x="65" y="64"/>
                    </a:cubicBezTo>
                    <a:cubicBezTo>
                      <a:pt x="70" y="57"/>
                      <a:pt x="76" y="49"/>
                      <a:pt x="76" y="38"/>
                    </a:cubicBezTo>
                    <a:cubicBezTo>
                      <a:pt x="76" y="17"/>
                      <a:pt x="59" y="0"/>
                      <a:pt x="38" y="0"/>
                    </a:cubicBezTo>
                    <a:close/>
                    <a:moveTo>
                      <a:pt x="38" y="37"/>
                    </a:moveTo>
                    <a:cubicBezTo>
                      <a:pt x="34" y="37"/>
                      <a:pt x="30" y="33"/>
                      <a:pt x="30" y="29"/>
                    </a:cubicBezTo>
                    <a:cubicBezTo>
                      <a:pt x="30" y="24"/>
                      <a:pt x="34" y="21"/>
                      <a:pt x="38" y="21"/>
                    </a:cubicBezTo>
                    <a:cubicBezTo>
                      <a:pt x="43" y="21"/>
                      <a:pt x="46" y="24"/>
                      <a:pt x="46" y="29"/>
                    </a:cubicBezTo>
                    <a:cubicBezTo>
                      <a:pt x="46" y="33"/>
                      <a:pt x="43" y="37"/>
                      <a:pt x="38" y="37"/>
                    </a:cubicBezTo>
                    <a:close/>
                    <a:moveTo>
                      <a:pt x="38" y="37"/>
                    </a:moveTo>
                    <a:cubicBezTo>
                      <a:pt x="38" y="37"/>
                      <a:pt x="38" y="37"/>
                      <a:pt x="38" y="3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grpSp>
          <p:nvGrpSpPr>
            <p:cNvPr id="27" name="Group 42">
              <a:extLst>
                <a:ext uri="{FF2B5EF4-FFF2-40B4-BE49-F238E27FC236}">
                  <a16:creationId xmlns:a16="http://schemas.microsoft.com/office/drawing/2014/main" id="{0B044063-C5E8-48CD-AFDD-16ABB2A2F12B}"/>
                </a:ext>
              </a:extLst>
            </p:cNvPr>
            <p:cNvGrpSpPr/>
            <p:nvPr/>
          </p:nvGrpSpPr>
          <p:grpSpPr>
            <a:xfrm>
              <a:off x="4244095" y="2126687"/>
              <a:ext cx="363036" cy="321455"/>
              <a:chOff x="7272338" y="766763"/>
              <a:chExt cx="360362" cy="319087"/>
            </a:xfrm>
            <a:solidFill>
              <a:schemeClr val="bg1"/>
            </a:solidFill>
          </p:grpSpPr>
          <p:sp>
            <p:nvSpPr>
              <p:cNvPr id="45" name="Freeform 342">
                <a:extLst>
                  <a:ext uri="{FF2B5EF4-FFF2-40B4-BE49-F238E27FC236}">
                    <a16:creationId xmlns:a16="http://schemas.microsoft.com/office/drawing/2014/main" id="{3678C613-A211-4E01-A9AE-C7752D20C0E7}"/>
                  </a:ext>
                </a:extLst>
              </p:cNvPr>
              <p:cNvSpPr>
                <a:spLocks noEditPoints="1"/>
              </p:cNvSpPr>
              <p:nvPr/>
            </p:nvSpPr>
            <p:spPr bwMode="auto">
              <a:xfrm>
                <a:off x="7272338" y="766763"/>
                <a:ext cx="238125" cy="315913"/>
              </a:xfrm>
              <a:custGeom>
                <a:avLst/>
                <a:gdLst>
                  <a:gd name="T0" fmla="*/ 63 w 73"/>
                  <a:gd name="T1" fmla="*/ 76 h 97"/>
                  <a:gd name="T2" fmla="*/ 66 w 73"/>
                  <a:gd name="T3" fmla="*/ 64 h 97"/>
                  <a:gd name="T4" fmla="*/ 60 w 73"/>
                  <a:gd name="T5" fmla="*/ 60 h 97"/>
                  <a:gd name="T6" fmla="*/ 60 w 73"/>
                  <a:gd name="T7" fmla="*/ 60 h 97"/>
                  <a:gd name="T8" fmla="*/ 60 w 73"/>
                  <a:gd name="T9" fmla="*/ 42 h 97"/>
                  <a:gd name="T10" fmla="*/ 64 w 73"/>
                  <a:gd name="T11" fmla="*/ 35 h 97"/>
                  <a:gd name="T12" fmla="*/ 64 w 73"/>
                  <a:gd name="T13" fmla="*/ 17 h 97"/>
                  <a:gd name="T14" fmla="*/ 47 w 73"/>
                  <a:gd name="T15" fmla="*/ 0 h 97"/>
                  <a:gd name="T16" fmla="*/ 43 w 73"/>
                  <a:gd name="T17" fmla="*/ 0 h 97"/>
                  <a:gd name="T18" fmla="*/ 26 w 73"/>
                  <a:gd name="T19" fmla="*/ 17 h 97"/>
                  <a:gd name="T20" fmla="*/ 26 w 73"/>
                  <a:gd name="T21" fmla="*/ 35 h 97"/>
                  <a:gd name="T22" fmla="*/ 30 w 73"/>
                  <a:gd name="T23" fmla="*/ 42 h 97"/>
                  <a:gd name="T24" fmla="*/ 30 w 73"/>
                  <a:gd name="T25" fmla="*/ 60 h 97"/>
                  <a:gd name="T26" fmla="*/ 30 w 73"/>
                  <a:gd name="T27" fmla="*/ 60 h 97"/>
                  <a:gd name="T28" fmla="*/ 4 w 73"/>
                  <a:gd name="T29" fmla="*/ 77 h 97"/>
                  <a:gd name="T30" fmla="*/ 0 w 73"/>
                  <a:gd name="T31" fmla="*/ 84 h 97"/>
                  <a:gd name="T32" fmla="*/ 0 w 73"/>
                  <a:gd name="T33" fmla="*/ 97 h 97"/>
                  <a:gd name="T34" fmla="*/ 73 w 73"/>
                  <a:gd name="T35" fmla="*/ 97 h 97"/>
                  <a:gd name="T36" fmla="*/ 71 w 73"/>
                  <a:gd name="T37" fmla="*/ 95 h 97"/>
                  <a:gd name="T38" fmla="*/ 63 w 73"/>
                  <a:gd name="T39" fmla="*/ 76 h 97"/>
                  <a:gd name="T40" fmla="*/ 63 w 73"/>
                  <a:gd name="T41" fmla="*/ 76 h 97"/>
                  <a:gd name="T42" fmla="*/ 63 w 73"/>
                  <a:gd name="T43" fmla="*/ 76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3" h="97">
                    <a:moveTo>
                      <a:pt x="63" y="76"/>
                    </a:moveTo>
                    <a:cubicBezTo>
                      <a:pt x="63" y="72"/>
                      <a:pt x="64" y="68"/>
                      <a:pt x="66" y="64"/>
                    </a:cubicBezTo>
                    <a:cubicBezTo>
                      <a:pt x="63" y="62"/>
                      <a:pt x="61" y="61"/>
                      <a:pt x="60" y="60"/>
                    </a:cubicBezTo>
                    <a:cubicBezTo>
                      <a:pt x="60" y="60"/>
                      <a:pt x="60" y="60"/>
                      <a:pt x="60" y="60"/>
                    </a:cubicBezTo>
                    <a:cubicBezTo>
                      <a:pt x="60" y="42"/>
                      <a:pt x="60" y="42"/>
                      <a:pt x="60" y="42"/>
                    </a:cubicBezTo>
                    <a:cubicBezTo>
                      <a:pt x="62" y="41"/>
                      <a:pt x="64" y="38"/>
                      <a:pt x="64" y="35"/>
                    </a:cubicBezTo>
                    <a:cubicBezTo>
                      <a:pt x="64" y="17"/>
                      <a:pt x="64" y="17"/>
                      <a:pt x="64" y="17"/>
                    </a:cubicBezTo>
                    <a:cubicBezTo>
                      <a:pt x="64" y="8"/>
                      <a:pt x="56" y="0"/>
                      <a:pt x="47" y="0"/>
                    </a:cubicBezTo>
                    <a:cubicBezTo>
                      <a:pt x="43" y="0"/>
                      <a:pt x="43" y="0"/>
                      <a:pt x="43" y="0"/>
                    </a:cubicBezTo>
                    <a:cubicBezTo>
                      <a:pt x="34" y="0"/>
                      <a:pt x="26" y="8"/>
                      <a:pt x="26" y="17"/>
                    </a:cubicBezTo>
                    <a:cubicBezTo>
                      <a:pt x="26" y="35"/>
                      <a:pt x="26" y="35"/>
                      <a:pt x="26" y="35"/>
                    </a:cubicBezTo>
                    <a:cubicBezTo>
                      <a:pt x="26" y="38"/>
                      <a:pt x="28" y="40"/>
                      <a:pt x="30" y="42"/>
                    </a:cubicBezTo>
                    <a:cubicBezTo>
                      <a:pt x="30" y="60"/>
                      <a:pt x="30" y="60"/>
                      <a:pt x="30" y="60"/>
                    </a:cubicBezTo>
                    <a:cubicBezTo>
                      <a:pt x="30" y="60"/>
                      <a:pt x="30" y="60"/>
                      <a:pt x="30" y="60"/>
                    </a:cubicBezTo>
                    <a:cubicBezTo>
                      <a:pt x="27" y="62"/>
                      <a:pt x="15" y="68"/>
                      <a:pt x="4" y="77"/>
                    </a:cubicBezTo>
                    <a:cubicBezTo>
                      <a:pt x="1" y="79"/>
                      <a:pt x="0" y="81"/>
                      <a:pt x="0" y="84"/>
                    </a:cubicBezTo>
                    <a:cubicBezTo>
                      <a:pt x="0" y="97"/>
                      <a:pt x="0" y="97"/>
                      <a:pt x="0" y="97"/>
                    </a:cubicBezTo>
                    <a:cubicBezTo>
                      <a:pt x="73" y="97"/>
                      <a:pt x="73" y="97"/>
                      <a:pt x="73" y="97"/>
                    </a:cubicBezTo>
                    <a:cubicBezTo>
                      <a:pt x="72" y="96"/>
                      <a:pt x="72" y="96"/>
                      <a:pt x="71" y="95"/>
                    </a:cubicBezTo>
                    <a:cubicBezTo>
                      <a:pt x="66" y="90"/>
                      <a:pt x="63" y="83"/>
                      <a:pt x="63" y="76"/>
                    </a:cubicBezTo>
                    <a:close/>
                    <a:moveTo>
                      <a:pt x="63" y="76"/>
                    </a:moveTo>
                    <a:cubicBezTo>
                      <a:pt x="63" y="76"/>
                      <a:pt x="63" y="76"/>
                      <a:pt x="63" y="7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46" name="Freeform 343">
                <a:extLst>
                  <a:ext uri="{FF2B5EF4-FFF2-40B4-BE49-F238E27FC236}">
                    <a16:creationId xmlns:a16="http://schemas.microsoft.com/office/drawing/2014/main" id="{13B8AE89-D1C6-4764-A014-25A957A0E8EF}"/>
                  </a:ext>
                </a:extLst>
              </p:cNvPr>
              <p:cNvSpPr>
                <a:spLocks noEditPoints="1"/>
              </p:cNvSpPr>
              <p:nvPr/>
            </p:nvSpPr>
            <p:spPr bwMode="auto">
              <a:xfrm>
                <a:off x="7493000" y="946150"/>
                <a:ext cx="139700" cy="139700"/>
              </a:xfrm>
              <a:custGeom>
                <a:avLst/>
                <a:gdLst>
                  <a:gd name="T0" fmla="*/ 43 w 43"/>
                  <a:gd name="T1" fmla="*/ 20 h 43"/>
                  <a:gd name="T2" fmla="*/ 41 w 43"/>
                  <a:gd name="T3" fmla="*/ 18 h 43"/>
                  <a:gd name="T4" fmla="*/ 38 w 43"/>
                  <a:gd name="T5" fmla="*/ 18 h 43"/>
                  <a:gd name="T6" fmla="*/ 36 w 43"/>
                  <a:gd name="T7" fmla="*/ 12 h 43"/>
                  <a:gd name="T8" fmla="*/ 38 w 43"/>
                  <a:gd name="T9" fmla="*/ 10 h 43"/>
                  <a:gd name="T10" fmla="*/ 38 w 43"/>
                  <a:gd name="T11" fmla="*/ 7 h 43"/>
                  <a:gd name="T12" fmla="*/ 36 w 43"/>
                  <a:gd name="T13" fmla="*/ 5 h 43"/>
                  <a:gd name="T14" fmla="*/ 33 w 43"/>
                  <a:gd name="T15" fmla="*/ 5 h 43"/>
                  <a:gd name="T16" fmla="*/ 31 w 43"/>
                  <a:gd name="T17" fmla="*/ 7 h 43"/>
                  <a:gd name="T18" fmla="*/ 25 w 43"/>
                  <a:gd name="T19" fmla="*/ 5 h 43"/>
                  <a:gd name="T20" fmla="*/ 25 w 43"/>
                  <a:gd name="T21" fmla="*/ 2 h 43"/>
                  <a:gd name="T22" fmla="*/ 23 w 43"/>
                  <a:gd name="T23" fmla="*/ 0 h 43"/>
                  <a:gd name="T24" fmla="*/ 20 w 43"/>
                  <a:gd name="T25" fmla="*/ 0 h 43"/>
                  <a:gd name="T26" fmla="*/ 19 w 43"/>
                  <a:gd name="T27" fmla="*/ 2 h 43"/>
                  <a:gd name="T28" fmla="*/ 19 w 43"/>
                  <a:gd name="T29" fmla="*/ 5 h 43"/>
                  <a:gd name="T30" fmla="*/ 12 w 43"/>
                  <a:gd name="T31" fmla="*/ 7 h 43"/>
                  <a:gd name="T32" fmla="*/ 10 w 43"/>
                  <a:gd name="T33" fmla="*/ 5 h 43"/>
                  <a:gd name="T34" fmla="*/ 8 w 43"/>
                  <a:gd name="T35" fmla="*/ 5 h 43"/>
                  <a:gd name="T36" fmla="*/ 6 w 43"/>
                  <a:gd name="T37" fmla="*/ 7 h 43"/>
                  <a:gd name="T38" fmla="*/ 6 w 43"/>
                  <a:gd name="T39" fmla="*/ 10 h 43"/>
                  <a:gd name="T40" fmla="*/ 8 w 43"/>
                  <a:gd name="T41" fmla="*/ 12 h 43"/>
                  <a:gd name="T42" fmla="*/ 5 w 43"/>
                  <a:gd name="T43" fmla="*/ 18 h 43"/>
                  <a:gd name="T44" fmla="*/ 2 w 43"/>
                  <a:gd name="T45" fmla="*/ 18 h 43"/>
                  <a:gd name="T46" fmla="*/ 0 w 43"/>
                  <a:gd name="T47" fmla="*/ 20 h 43"/>
                  <a:gd name="T48" fmla="*/ 0 w 43"/>
                  <a:gd name="T49" fmla="*/ 23 h 43"/>
                  <a:gd name="T50" fmla="*/ 2 w 43"/>
                  <a:gd name="T51" fmla="*/ 25 h 43"/>
                  <a:gd name="T52" fmla="*/ 5 w 43"/>
                  <a:gd name="T53" fmla="*/ 25 h 43"/>
                  <a:gd name="T54" fmla="*/ 8 w 43"/>
                  <a:gd name="T55" fmla="*/ 31 h 43"/>
                  <a:gd name="T56" fmla="*/ 6 w 43"/>
                  <a:gd name="T57" fmla="*/ 33 h 43"/>
                  <a:gd name="T58" fmla="*/ 6 w 43"/>
                  <a:gd name="T59" fmla="*/ 35 h 43"/>
                  <a:gd name="T60" fmla="*/ 8 w 43"/>
                  <a:gd name="T61" fmla="*/ 37 h 43"/>
                  <a:gd name="T62" fmla="*/ 10 w 43"/>
                  <a:gd name="T63" fmla="*/ 37 h 43"/>
                  <a:gd name="T64" fmla="*/ 12 w 43"/>
                  <a:gd name="T65" fmla="*/ 36 h 43"/>
                  <a:gd name="T66" fmla="*/ 19 w 43"/>
                  <a:gd name="T67" fmla="*/ 38 h 43"/>
                  <a:gd name="T68" fmla="*/ 19 w 43"/>
                  <a:gd name="T69" fmla="*/ 41 h 43"/>
                  <a:gd name="T70" fmla="*/ 20 w 43"/>
                  <a:gd name="T71" fmla="*/ 43 h 43"/>
                  <a:gd name="T72" fmla="*/ 23 w 43"/>
                  <a:gd name="T73" fmla="*/ 43 h 43"/>
                  <a:gd name="T74" fmla="*/ 25 w 43"/>
                  <a:gd name="T75" fmla="*/ 41 h 43"/>
                  <a:gd name="T76" fmla="*/ 25 w 43"/>
                  <a:gd name="T77" fmla="*/ 38 h 43"/>
                  <a:gd name="T78" fmla="*/ 31 w 43"/>
                  <a:gd name="T79" fmla="*/ 35 h 43"/>
                  <a:gd name="T80" fmla="*/ 33 w 43"/>
                  <a:gd name="T81" fmla="*/ 37 h 43"/>
                  <a:gd name="T82" fmla="*/ 36 w 43"/>
                  <a:gd name="T83" fmla="*/ 37 h 43"/>
                  <a:gd name="T84" fmla="*/ 38 w 43"/>
                  <a:gd name="T85" fmla="*/ 35 h 43"/>
                  <a:gd name="T86" fmla="*/ 38 w 43"/>
                  <a:gd name="T87" fmla="*/ 33 h 43"/>
                  <a:gd name="T88" fmla="*/ 36 w 43"/>
                  <a:gd name="T89" fmla="*/ 31 h 43"/>
                  <a:gd name="T90" fmla="*/ 38 w 43"/>
                  <a:gd name="T91" fmla="*/ 25 h 43"/>
                  <a:gd name="T92" fmla="*/ 41 w 43"/>
                  <a:gd name="T93" fmla="*/ 25 h 43"/>
                  <a:gd name="T94" fmla="*/ 43 w 43"/>
                  <a:gd name="T95" fmla="*/ 23 h 43"/>
                  <a:gd name="T96" fmla="*/ 43 w 43"/>
                  <a:gd name="T97" fmla="*/ 20 h 43"/>
                  <a:gd name="T98" fmla="*/ 28 w 43"/>
                  <a:gd name="T99" fmla="*/ 28 h 43"/>
                  <a:gd name="T100" fmla="*/ 15 w 43"/>
                  <a:gd name="T101" fmla="*/ 28 h 43"/>
                  <a:gd name="T102" fmla="*/ 15 w 43"/>
                  <a:gd name="T103" fmla="*/ 15 h 43"/>
                  <a:gd name="T104" fmla="*/ 28 w 43"/>
                  <a:gd name="T105" fmla="*/ 15 h 43"/>
                  <a:gd name="T106" fmla="*/ 28 w 43"/>
                  <a:gd name="T107" fmla="*/ 28 h 43"/>
                  <a:gd name="T108" fmla="*/ 28 w 43"/>
                  <a:gd name="T109" fmla="*/ 28 h 43"/>
                  <a:gd name="T110" fmla="*/ 28 w 43"/>
                  <a:gd name="T111" fmla="*/ 28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3" h="43">
                    <a:moveTo>
                      <a:pt x="43" y="20"/>
                    </a:moveTo>
                    <a:cubicBezTo>
                      <a:pt x="43" y="19"/>
                      <a:pt x="42" y="18"/>
                      <a:pt x="41" y="18"/>
                    </a:cubicBezTo>
                    <a:cubicBezTo>
                      <a:pt x="38" y="18"/>
                      <a:pt x="38" y="18"/>
                      <a:pt x="38" y="18"/>
                    </a:cubicBezTo>
                    <a:cubicBezTo>
                      <a:pt x="38" y="16"/>
                      <a:pt x="37" y="14"/>
                      <a:pt x="36" y="12"/>
                    </a:cubicBezTo>
                    <a:cubicBezTo>
                      <a:pt x="38" y="10"/>
                      <a:pt x="38" y="10"/>
                      <a:pt x="38" y="10"/>
                    </a:cubicBezTo>
                    <a:cubicBezTo>
                      <a:pt x="38" y="9"/>
                      <a:pt x="38" y="8"/>
                      <a:pt x="38" y="7"/>
                    </a:cubicBezTo>
                    <a:cubicBezTo>
                      <a:pt x="36" y="5"/>
                      <a:pt x="36" y="5"/>
                      <a:pt x="36" y="5"/>
                    </a:cubicBezTo>
                    <a:cubicBezTo>
                      <a:pt x="35" y="5"/>
                      <a:pt x="34" y="5"/>
                      <a:pt x="33" y="5"/>
                    </a:cubicBezTo>
                    <a:cubicBezTo>
                      <a:pt x="31" y="7"/>
                      <a:pt x="31" y="7"/>
                      <a:pt x="31" y="7"/>
                    </a:cubicBezTo>
                    <a:cubicBezTo>
                      <a:pt x="29" y="6"/>
                      <a:pt x="27" y="5"/>
                      <a:pt x="25" y="5"/>
                    </a:cubicBezTo>
                    <a:cubicBezTo>
                      <a:pt x="25" y="2"/>
                      <a:pt x="25" y="2"/>
                      <a:pt x="25" y="2"/>
                    </a:cubicBezTo>
                    <a:cubicBezTo>
                      <a:pt x="25" y="1"/>
                      <a:pt x="24" y="0"/>
                      <a:pt x="23" y="0"/>
                    </a:cubicBezTo>
                    <a:cubicBezTo>
                      <a:pt x="20" y="0"/>
                      <a:pt x="20" y="0"/>
                      <a:pt x="20" y="0"/>
                    </a:cubicBezTo>
                    <a:cubicBezTo>
                      <a:pt x="19" y="0"/>
                      <a:pt x="19" y="1"/>
                      <a:pt x="19" y="2"/>
                    </a:cubicBezTo>
                    <a:cubicBezTo>
                      <a:pt x="19" y="5"/>
                      <a:pt x="19" y="5"/>
                      <a:pt x="19" y="5"/>
                    </a:cubicBezTo>
                    <a:cubicBezTo>
                      <a:pt x="16" y="5"/>
                      <a:pt x="14" y="6"/>
                      <a:pt x="12" y="7"/>
                    </a:cubicBezTo>
                    <a:cubicBezTo>
                      <a:pt x="10" y="5"/>
                      <a:pt x="10" y="5"/>
                      <a:pt x="10" y="5"/>
                    </a:cubicBezTo>
                    <a:cubicBezTo>
                      <a:pt x="10" y="5"/>
                      <a:pt x="8" y="5"/>
                      <a:pt x="8" y="5"/>
                    </a:cubicBezTo>
                    <a:cubicBezTo>
                      <a:pt x="6" y="7"/>
                      <a:pt x="6" y="7"/>
                      <a:pt x="6" y="7"/>
                    </a:cubicBezTo>
                    <a:cubicBezTo>
                      <a:pt x="5" y="8"/>
                      <a:pt x="5" y="9"/>
                      <a:pt x="6" y="10"/>
                    </a:cubicBezTo>
                    <a:cubicBezTo>
                      <a:pt x="8" y="12"/>
                      <a:pt x="8" y="12"/>
                      <a:pt x="8" y="12"/>
                    </a:cubicBezTo>
                    <a:cubicBezTo>
                      <a:pt x="6" y="14"/>
                      <a:pt x="5" y="16"/>
                      <a:pt x="5" y="18"/>
                    </a:cubicBezTo>
                    <a:cubicBezTo>
                      <a:pt x="2" y="18"/>
                      <a:pt x="2" y="18"/>
                      <a:pt x="2" y="18"/>
                    </a:cubicBezTo>
                    <a:cubicBezTo>
                      <a:pt x="1" y="18"/>
                      <a:pt x="0" y="19"/>
                      <a:pt x="0" y="20"/>
                    </a:cubicBezTo>
                    <a:cubicBezTo>
                      <a:pt x="0" y="23"/>
                      <a:pt x="0" y="23"/>
                      <a:pt x="0" y="23"/>
                    </a:cubicBezTo>
                    <a:cubicBezTo>
                      <a:pt x="0" y="24"/>
                      <a:pt x="1" y="25"/>
                      <a:pt x="2" y="25"/>
                    </a:cubicBezTo>
                    <a:cubicBezTo>
                      <a:pt x="5" y="25"/>
                      <a:pt x="5" y="25"/>
                      <a:pt x="5" y="25"/>
                    </a:cubicBezTo>
                    <a:cubicBezTo>
                      <a:pt x="5" y="27"/>
                      <a:pt x="6" y="29"/>
                      <a:pt x="8" y="31"/>
                    </a:cubicBezTo>
                    <a:cubicBezTo>
                      <a:pt x="6" y="33"/>
                      <a:pt x="6" y="33"/>
                      <a:pt x="6" y="33"/>
                    </a:cubicBezTo>
                    <a:cubicBezTo>
                      <a:pt x="5" y="34"/>
                      <a:pt x="5" y="35"/>
                      <a:pt x="6" y="35"/>
                    </a:cubicBezTo>
                    <a:cubicBezTo>
                      <a:pt x="8" y="37"/>
                      <a:pt x="8" y="37"/>
                      <a:pt x="8" y="37"/>
                    </a:cubicBezTo>
                    <a:cubicBezTo>
                      <a:pt x="8" y="38"/>
                      <a:pt x="10" y="38"/>
                      <a:pt x="10" y="37"/>
                    </a:cubicBezTo>
                    <a:cubicBezTo>
                      <a:pt x="12" y="36"/>
                      <a:pt x="12" y="36"/>
                      <a:pt x="12" y="36"/>
                    </a:cubicBezTo>
                    <a:cubicBezTo>
                      <a:pt x="14" y="37"/>
                      <a:pt x="16" y="38"/>
                      <a:pt x="19" y="38"/>
                    </a:cubicBezTo>
                    <a:cubicBezTo>
                      <a:pt x="19" y="41"/>
                      <a:pt x="19" y="41"/>
                      <a:pt x="19" y="41"/>
                    </a:cubicBezTo>
                    <a:cubicBezTo>
                      <a:pt x="19" y="42"/>
                      <a:pt x="19" y="43"/>
                      <a:pt x="20" y="43"/>
                    </a:cubicBezTo>
                    <a:cubicBezTo>
                      <a:pt x="23" y="43"/>
                      <a:pt x="23" y="43"/>
                      <a:pt x="23" y="43"/>
                    </a:cubicBezTo>
                    <a:cubicBezTo>
                      <a:pt x="24" y="43"/>
                      <a:pt x="25" y="42"/>
                      <a:pt x="25" y="41"/>
                    </a:cubicBezTo>
                    <a:cubicBezTo>
                      <a:pt x="25" y="38"/>
                      <a:pt x="25" y="38"/>
                      <a:pt x="25" y="38"/>
                    </a:cubicBezTo>
                    <a:cubicBezTo>
                      <a:pt x="27" y="38"/>
                      <a:pt x="29" y="37"/>
                      <a:pt x="31" y="35"/>
                    </a:cubicBezTo>
                    <a:cubicBezTo>
                      <a:pt x="33" y="37"/>
                      <a:pt x="33" y="37"/>
                      <a:pt x="33" y="37"/>
                    </a:cubicBezTo>
                    <a:cubicBezTo>
                      <a:pt x="34" y="38"/>
                      <a:pt x="35" y="38"/>
                      <a:pt x="36" y="37"/>
                    </a:cubicBezTo>
                    <a:cubicBezTo>
                      <a:pt x="38" y="35"/>
                      <a:pt x="38" y="35"/>
                      <a:pt x="38" y="35"/>
                    </a:cubicBezTo>
                    <a:cubicBezTo>
                      <a:pt x="38" y="35"/>
                      <a:pt x="38" y="34"/>
                      <a:pt x="38" y="33"/>
                    </a:cubicBezTo>
                    <a:cubicBezTo>
                      <a:pt x="36" y="31"/>
                      <a:pt x="36" y="31"/>
                      <a:pt x="36" y="31"/>
                    </a:cubicBezTo>
                    <a:cubicBezTo>
                      <a:pt x="37" y="29"/>
                      <a:pt x="38" y="27"/>
                      <a:pt x="38" y="25"/>
                    </a:cubicBezTo>
                    <a:cubicBezTo>
                      <a:pt x="41" y="25"/>
                      <a:pt x="41" y="25"/>
                      <a:pt x="41" y="25"/>
                    </a:cubicBezTo>
                    <a:cubicBezTo>
                      <a:pt x="42" y="25"/>
                      <a:pt x="43" y="24"/>
                      <a:pt x="43" y="23"/>
                    </a:cubicBezTo>
                    <a:lnTo>
                      <a:pt x="43" y="20"/>
                    </a:lnTo>
                    <a:close/>
                    <a:moveTo>
                      <a:pt x="28" y="28"/>
                    </a:moveTo>
                    <a:cubicBezTo>
                      <a:pt x="25" y="32"/>
                      <a:pt x="19" y="32"/>
                      <a:pt x="15" y="28"/>
                    </a:cubicBezTo>
                    <a:cubicBezTo>
                      <a:pt x="12" y="24"/>
                      <a:pt x="12" y="18"/>
                      <a:pt x="15" y="15"/>
                    </a:cubicBezTo>
                    <a:cubicBezTo>
                      <a:pt x="19" y="11"/>
                      <a:pt x="25" y="11"/>
                      <a:pt x="28" y="15"/>
                    </a:cubicBezTo>
                    <a:cubicBezTo>
                      <a:pt x="32" y="18"/>
                      <a:pt x="32" y="24"/>
                      <a:pt x="28" y="28"/>
                    </a:cubicBezTo>
                    <a:close/>
                    <a:moveTo>
                      <a:pt x="28" y="28"/>
                    </a:moveTo>
                    <a:cubicBezTo>
                      <a:pt x="28" y="28"/>
                      <a:pt x="28" y="28"/>
                      <a:pt x="28" y="2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grpSp>
          <p:nvGrpSpPr>
            <p:cNvPr id="28" name="Group 45">
              <a:extLst>
                <a:ext uri="{FF2B5EF4-FFF2-40B4-BE49-F238E27FC236}">
                  <a16:creationId xmlns:a16="http://schemas.microsoft.com/office/drawing/2014/main" id="{09ACCDC1-B4B6-45E7-A897-94AB4085E4B8}"/>
                </a:ext>
              </a:extLst>
            </p:cNvPr>
            <p:cNvGrpSpPr/>
            <p:nvPr/>
          </p:nvGrpSpPr>
          <p:grpSpPr>
            <a:xfrm>
              <a:off x="2113798" y="4432782"/>
              <a:ext cx="492542" cy="510372"/>
              <a:chOff x="7827963" y="744538"/>
              <a:chExt cx="350837" cy="363538"/>
            </a:xfrm>
            <a:solidFill>
              <a:schemeClr val="bg1"/>
            </a:solidFill>
          </p:grpSpPr>
          <p:sp>
            <p:nvSpPr>
              <p:cNvPr id="40" name="Freeform 374">
                <a:extLst>
                  <a:ext uri="{FF2B5EF4-FFF2-40B4-BE49-F238E27FC236}">
                    <a16:creationId xmlns:a16="http://schemas.microsoft.com/office/drawing/2014/main" id="{578C7A1E-AEB0-437B-BABD-8170CDE1B24B}"/>
                  </a:ext>
                </a:extLst>
              </p:cNvPr>
              <p:cNvSpPr>
                <a:spLocks noEditPoints="1"/>
              </p:cNvSpPr>
              <p:nvPr/>
            </p:nvSpPr>
            <p:spPr bwMode="auto">
              <a:xfrm>
                <a:off x="8129588" y="1055688"/>
                <a:ext cx="49212" cy="52388"/>
              </a:xfrm>
              <a:custGeom>
                <a:avLst/>
                <a:gdLst>
                  <a:gd name="T0" fmla="*/ 0 w 15"/>
                  <a:gd name="T1" fmla="*/ 8 h 16"/>
                  <a:gd name="T2" fmla="*/ 8 w 15"/>
                  <a:gd name="T3" fmla="*/ 16 h 16"/>
                  <a:gd name="T4" fmla="*/ 15 w 15"/>
                  <a:gd name="T5" fmla="*/ 8 h 16"/>
                  <a:gd name="T6" fmla="*/ 8 w 15"/>
                  <a:gd name="T7" fmla="*/ 0 h 16"/>
                  <a:gd name="T8" fmla="*/ 0 w 15"/>
                  <a:gd name="T9" fmla="*/ 8 h 16"/>
                  <a:gd name="T10" fmla="*/ 0 w 15"/>
                  <a:gd name="T11" fmla="*/ 8 h 16"/>
                  <a:gd name="T12" fmla="*/ 0 w 15"/>
                  <a:gd name="T13" fmla="*/ 8 h 16"/>
                </a:gdLst>
                <a:ahLst/>
                <a:cxnLst>
                  <a:cxn ang="0">
                    <a:pos x="T0" y="T1"/>
                  </a:cxn>
                  <a:cxn ang="0">
                    <a:pos x="T2" y="T3"/>
                  </a:cxn>
                  <a:cxn ang="0">
                    <a:pos x="T4" y="T5"/>
                  </a:cxn>
                  <a:cxn ang="0">
                    <a:pos x="T6" y="T7"/>
                  </a:cxn>
                  <a:cxn ang="0">
                    <a:pos x="T8" y="T9"/>
                  </a:cxn>
                  <a:cxn ang="0">
                    <a:pos x="T10" y="T11"/>
                  </a:cxn>
                  <a:cxn ang="0">
                    <a:pos x="T12" y="T13"/>
                  </a:cxn>
                </a:cxnLst>
                <a:rect l="0" t="0" r="r" b="b"/>
                <a:pathLst>
                  <a:path w="15" h="16">
                    <a:moveTo>
                      <a:pt x="0" y="8"/>
                    </a:moveTo>
                    <a:cubicBezTo>
                      <a:pt x="0" y="12"/>
                      <a:pt x="4" y="16"/>
                      <a:pt x="8" y="16"/>
                    </a:cubicBezTo>
                    <a:cubicBezTo>
                      <a:pt x="12" y="16"/>
                      <a:pt x="15" y="12"/>
                      <a:pt x="15" y="8"/>
                    </a:cubicBezTo>
                    <a:cubicBezTo>
                      <a:pt x="15" y="4"/>
                      <a:pt x="12" y="0"/>
                      <a:pt x="8" y="0"/>
                    </a:cubicBezTo>
                    <a:cubicBezTo>
                      <a:pt x="4" y="0"/>
                      <a:pt x="0" y="4"/>
                      <a:pt x="0" y="8"/>
                    </a:cubicBezTo>
                    <a:close/>
                    <a:moveTo>
                      <a:pt x="0" y="8"/>
                    </a:moveTo>
                    <a:cubicBezTo>
                      <a:pt x="0" y="8"/>
                      <a:pt x="0" y="8"/>
                      <a:pt x="0" y="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41" name="Freeform 375">
                <a:extLst>
                  <a:ext uri="{FF2B5EF4-FFF2-40B4-BE49-F238E27FC236}">
                    <a16:creationId xmlns:a16="http://schemas.microsoft.com/office/drawing/2014/main" id="{F3578B1E-159E-47FB-800B-466C0FBDE1FC}"/>
                  </a:ext>
                </a:extLst>
              </p:cNvPr>
              <p:cNvSpPr>
                <a:spLocks noEditPoints="1"/>
              </p:cNvSpPr>
              <p:nvPr/>
            </p:nvSpPr>
            <p:spPr bwMode="auto">
              <a:xfrm>
                <a:off x="7908925" y="744538"/>
                <a:ext cx="192087" cy="190500"/>
              </a:xfrm>
              <a:custGeom>
                <a:avLst/>
                <a:gdLst>
                  <a:gd name="T0" fmla="*/ 59 w 59"/>
                  <a:gd name="T1" fmla="*/ 30 h 59"/>
                  <a:gd name="T2" fmla="*/ 29 w 59"/>
                  <a:gd name="T3" fmla="*/ 0 h 59"/>
                  <a:gd name="T4" fmla="*/ 0 w 59"/>
                  <a:gd name="T5" fmla="*/ 30 h 59"/>
                  <a:gd name="T6" fmla="*/ 29 w 59"/>
                  <a:gd name="T7" fmla="*/ 59 h 59"/>
                  <a:gd name="T8" fmla="*/ 59 w 59"/>
                  <a:gd name="T9" fmla="*/ 30 h 59"/>
                  <a:gd name="T10" fmla="*/ 23 w 59"/>
                  <a:gd name="T11" fmla="*/ 40 h 59"/>
                  <a:gd name="T12" fmla="*/ 20 w 59"/>
                  <a:gd name="T13" fmla="*/ 39 h 59"/>
                  <a:gd name="T14" fmla="*/ 20 w 59"/>
                  <a:gd name="T15" fmla="*/ 34 h 59"/>
                  <a:gd name="T16" fmla="*/ 26 w 59"/>
                  <a:gd name="T17" fmla="*/ 28 h 59"/>
                  <a:gd name="T18" fmla="*/ 26 w 59"/>
                  <a:gd name="T19" fmla="*/ 10 h 59"/>
                  <a:gd name="T20" fmla="*/ 29 w 59"/>
                  <a:gd name="T21" fmla="*/ 6 h 59"/>
                  <a:gd name="T22" fmla="*/ 33 w 59"/>
                  <a:gd name="T23" fmla="*/ 10 h 59"/>
                  <a:gd name="T24" fmla="*/ 33 w 59"/>
                  <a:gd name="T25" fmla="*/ 30 h 59"/>
                  <a:gd name="T26" fmla="*/ 32 w 59"/>
                  <a:gd name="T27" fmla="*/ 32 h 59"/>
                  <a:gd name="T28" fmla="*/ 25 w 59"/>
                  <a:gd name="T29" fmla="*/ 39 h 59"/>
                  <a:gd name="T30" fmla="*/ 23 w 59"/>
                  <a:gd name="T31" fmla="*/ 40 h 59"/>
                  <a:gd name="T32" fmla="*/ 23 w 59"/>
                  <a:gd name="T33" fmla="*/ 40 h 59"/>
                  <a:gd name="T34" fmla="*/ 23 w 59"/>
                  <a:gd name="T35" fmla="*/ 4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 h="59">
                    <a:moveTo>
                      <a:pt x="59" y="30"/>
                    </a:moveTo>
                    <a:cubicBezTo>
                      <a:pt x="59" y="13"/>
                      <a:pt x="46" y="0"/>
                      <a:pt x="29" y="0"/>
                    </a:cubicBezTo>
                    <a:cubicBezTo>
                      <a:pt x="13" y="0"/>
                      <a:pt x="0" y="13"/>
                      <a:pt x="0" y="30"/>
                    </a:cubicBezTo>
                    <a:cubicBezTo>
                      <a:pt x="0" y="46"/>
                      <a:pt x="13" y="59"/>
                      <a:pt x="29" y="59"/>
                    </a:cubicBezTo>
                    <a:cubicBezTo>
                      <a:pt x="46" y="59"/>
                      <a:pt x="59" y="46"/>
                      <a:pt x="59" y="30"/>
                    </a:cubicBezTo>
                    <a:close/>
                    <a:moveTo>
                      <a:pt x="23" y="40"/>
                    </a:moveTo>
                    <a:cubicBezTo>
                      <a:pt x="22" y="40"/>
                      <a:pt x="21" y="40"/>
                      <a:pt x="20" y="39"/>
                    </a:cubicBezTo>
                    <a:cubicBezTo>
                      <a:pt x="19" y="37"/>
                      <a:pt x="19" y="35"/>
                      <a:pt x="20" y="34"/>
                    </a:cubicBezTo>
                    <a:cubicBezTo>
                      <a:pt x="26" y="28"/>
                      <a:pt x="26" y="28"/>
                      <a:pt x="26" y="28"/>
                    </a:cubicBezTo>
                    <a:cubicBezTo>
                      <a:pt x="26" y="10"/>
                      <a:pt x="26" y="10"/>
                      <a:pt x="26" y="10"/>
                    </a:cubicBezTo>
                    <a:cubicBezTo>
                      <a:pt x="26" y="8"/>
                      <a:pt x="27" y="6"/>
                      <a:pt x="29" y="6"/>
                    </a:cubicBezTo>
                    <a:cubicBezTo>
                      <a:pt x="31" y="6"/>
                      <a:pt x="33" y="8"/>
                      <a:pt x="33" y="10"/>
                    </a:cubicBezTo>
                    <a:cubicBezTo>
                      <a:pt x="33" y="30"/>
                      <a:pt x="33" y="30"/>
                      <a:pt x="33" y="30"/>
                    </a:cubicBezTo>
                    <a:cubicBezTo>
                      <a:pt x="33" y="31"/>
                      <a:pt x="33" y="32"/>
                      <a:pt x="32" y="32"/>
                    </a:cubicBezTo>
                    <a:cubicBezTo>
                      <a:pt x="25" y="39"/>
                      <a:pt x="25" y="39"/>
                      <a:pt x="25" y="39"/>
                    </a:cubicBezTo>
                    <a:cubicBezTo>
                      <a:pt x="25" y="40"/>
                      <a:pt x="24" y="40"/>
                      <a:pt x="23" y="40"/>
                    </a:cubicBezTo>
                    <a:close/>
                    <a:moveTo>
                      <a:pt x="23" y="40"/>
                    </a:moveTo>
                    <a:cubicBezTo>
                      <a:pt x="23" y="40"/>
                      <a:pt x="23" y="40"/>
                      <a:pt x="23" y="4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42" name="Freeform 376">
                <a:extLst>
                  <a:ext uri="{FF2B5EF4-FFF2-40B4-BE49-F238E27FC236}">
                    <a16:creationId xmlns:a16="http://schemas.microsoft.com/office/drawing/2014/main" id="{A94D57CC-2811-42FA-8084-1EFDF969838B}"/>
                  </a:ext>
                </a:extLst>
              </p:cNvPr>
              <p:cNvSpPr>
                <a:spLocks noEditPoints="1"/>
              </p:cNvSpPr>
              <p:nvPr/>
            </p:nvSpPr>
            <p:spPr bwMode="auto">
              <a:xfrm>
                <a:off x="7827963" y="1055688"/>
                <a:ext cx="52387" cy="52388"/>
              </a:xfrm>
              <a:custGeom>
                <a:avLst/>
                <a:gdLst>
                  <a:gd name="T0" fmla="*/ 0 w 16"/>
                  <a:gd name="T1" fmla="*/ 8 h 16"/>
                  <a:gd name="T2" fmla="*/ 8 w 16"/>
                  <a:gd name="T3" fmla="*/ 16 h 16"/>
                  <a:gd name="T4" fmla="*/ 16 w 16"/>
                  <a:gd name="T5" fmla="*/ 8 h 16"/>
                  <a:gd name="T6" fmla="*/ 8 w 16"/>
                  <a:gd name="T7" fmla="*/ 0 h 16"/>
                  <a:gd name="T8" fmla="*/ 0 w 16"/>
                  <a:gd name="T9" fmla="*/ 8 h 16"/>
                  <a:gd name="T10" fmla="*/ 0 w 16"/>
                  <a:gd name="T11" fmla="*/ 8 h 16"/>
                  <a:gd name="T12" fmla="*/ 0 w 16"/>
                  <a:gd name="T13" fmla="*/ 8 h 16"/>
                </a:gdLst>
                <a:ahLst/>
                <a:cxnLst>
                  <a:cxn ang="0">
                    <a:pos x="T0" y="T1"/>
                  </a:cxn>
                  <a:cxn ang="0">
                    <a:pos x="T2" y="T3"/>
                  </a:cxn>
                  <a:cxn ang="0">
                    <a:pos x="T4" y="T5"/>
                  </a:cxn>
                  <a:cxn ang="0">
                    <a:pos x="T6" y="T7"/>
                  </a:cxn>
                  <a:cxn ang="0">
                    <a:pos x="T8" y="T9"/>
                  </a:cxn>
                  <a:cxn ang="0">
                    <a:pos x="T10" y="T11"/>
                  </a:cxn>
                  <a:cxn ang="0">
                    <a:pos x="T12" y="T13"/>
                  </a:cxn>
                </a:cxnLst>
                <a:rect l="0" t="0" r="r" b="b"/>
                <a:pathLst>
                  <a:path w="16" h="16">
                    <a:moveTo>
                      <a:pt x="0" y="8"/>
                    </a:moveTo>
                    <a:cubicBezTo>
                      <a:pt x="0" y="12"/>
                      <a:pt x="4" y="16"/>
                      <a:pt x="8" y="16"/>
                    </a:cubicBezTo>
                    <a:cubicBezTo>
                      <a:pt x="12" y="16"/>
                      <a:pt x="16" y="12"/>
                      <a:pt x="16" y="8"/>
                    </a:cubicBezTo>
                    <a:cubicBezTo>
                      <a:pt x="16" y="4"/>
                      <a:pt x="12" y="0"/>
                      <a:pt x="8" y="0"/>
                    </a:cubicBezTo>
                    <a:cubicBezTo>
                      <a:pt x="4" y="0"/>
                      <a:pt x="0" y="4"/>
                      <a:pt x="0" y="8"/>
                    </a:cubicBezTo>
                    <a:close/>
                    <a:moveTo>
                      <a:pt x="0" y="8"/>
                    </a:moveTo>
                    <a:cubicBezTo>
                      <a:pt x="0" y="8"/>
                      <a:pt x="0" y="8"/>
                      <a:pt x="0" y="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43" name="Freeform 377">
                <a:extLst>
                  <a:ext uri="{FF2B5EF4-FFF2-40B4-BE49-F238E27FC236}">
                    <a16:creationId xmlns:a16="http://schemas.microsoft.com/office/drawing/2014/main" id="{4FD42318-48BB-4D42-9F43-E489C0EFC2E9}"/>
                  </a:ext>
                </a:extLst>
              </p:cNvPr>
              <p:cNvSpPr>
                <a:spLocks noEditPoints="1"/>
              </p:cNvSpPr>
              <p:nvPr/>
            </p:nvSpPr>
            <p:spPr bwMode="auto">
              <a:xfrm>
                <a:off x="7980363" y="1055688"/>
                <a:ext cx="49212" cy="52388"/>
              </a:xfrm>
              <a:custGeom>
                <a:avLst/>
                <a:gdLst>
                  <a:gd name="T0" fmla="*/ 0 w 15"/>
                  <a:gd name="T1" fmla="*/ 8 h 16"/>
                  <a:gd name="T2" fmla="*/ 7 w 15"/>
                  <a:gd name="T3" fmla="*/ 16 h 16"/>
                  <a:gd name="T4" fmla="*/ 15 w 15"/>
                  <a:gd name="T5" fmla="*/ 8 h 16"/>
                  <a:gd name="T6" fmla="*/ 7 w 15"/>
                  <a:gd name="T7" fmla="*/ 0 h 16"/>
                  <a:gd name="T8" fmla="*/ 0 w 15"/>
                  <a:gd name="T9" fmla="*/ 8 h 16"/>
                  <a:gd name="T10" fmla="*/ 0 w 15"/>
                  <a:gd name="T11" fmla="*/ 8 h 16"/>
                  <a:gd name="T12" fmla="*/ 0 w 15"/>
                  <a:gd name="T13" fmla="*/ 8 h 16"/>
                </a:gdLst>
                <a:ahLst/>
                <a:cxnLst>
                  <a:cxn ang="0">
                    <a:pos x="T0" y="T1"/>
                  </a:cxn>
                  <a:cxn ang="0">
                    <a:pos x="T2" y="T3"/>
                  </a:cxn>
                  <a:cxn ang="0">
                    <a:pos x="T4" y="T5"/>
                  </a:cxn>
                  <a:cxn ang="0">
                    <a:pos x="T6" y="T7"/>
                  </a:cxn>
                  <a:cxn ang="0">
                    <a:pos x="T8" y="T9"/>
                  </a:cxn>
                  <a:cxn ang="0">
                    <a:pos x="T10" y="T11"/>
                  </a:cxn>
                  <a:cxn ang="0">
                    <a:pos x="T12" y="T13"/>
                  </a:cxn>
                </a:cxnLst>
                <a:rect l="0" t="0" r="r" b="b"/>
                <a:pathLst>
                  <a:path w="15" h="16">
                    <a:moveTo>
                      <a:pt x="0" y="8"/>
                    </a:moveTo>
                    <a:cubicBezTo>
                      <a:pt x="0" y="12"/>
                      <a:pt x="3" y="16"/>
                      <a:pt x="7" y="16"/>
                    </a:cubicBezTo>
                    <a:cubicBezTo>
                      <a:pt x="12" y="16"/>
                      <a:pt x="15" y="12"/>
                      <a:pt x="15" y="8"/>
                    </a:cubicBezTo>
                    <a:cubicBezTo>
                      <a:pt x="15" y="4"/>
                      <a:pt x="12" y="0"/>
                      <a:pt x="7" y="0"/>
                    </a:cubicBezTo>
                    <a:cubicBezTo>
                      <a:pt x="3" y="0"/>
                      <a:pt x="0" y="4"/>
                      <a:pt x="0" y="8"/>
                    </a:cubicBezTo>
                    <a:close/>
                    <a:moveTo>
                      <a:pt x="0" y="8"/>
                    </a:moveTo>
                    <a:cubicBezTo>
                      <a:pt x="0" y="8"/>
                      <a:pt x="0" y="8"/>
                      <a:pt x="0" y="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44" name="Freeform 378">
                <a:extLst>
                  <a:ext uri="{FF2B5EF4-FFF2-40B4-BE49-F238E27FC236}">
                    <a16:creationId xmlns:a16="http://schemas.microsoft.com/office/drawing/2014/main" id="{4AE7169E-14E0-4BC7-90FC-CED63E38C025}"/>
                  </a:ext>
                </a:extLst>
              </p:cNvPr>
              <p:cNvSpPr>
                <a:spLocks noEditPoints="1"/>
              </p:cNvSpPr>
              <p:nvPr/>
            </p:nvSpPr>
            <p:spPr bwMode="auto">
              <a:xfrm>
                <a:off x="7840663" y="958850"/>
                <a:ext cx="325437" cy="80963"/>
              </a:xfrm>
              <a:custGeom>
                <a:avLst/>
                <a:gdLst>
                  <a:gd name="T0" fmla="*/ 4 w 100"/>
                  <a:gd name="T1" fmla="*/ 24 h 25"/>
                  <a:gd name="T2" fmla="*/ 8 w 100"/>
                  <a:gd name="T3" fmla="*/ 25 h 25"/>
                  <a:gd name="T4" fmla="*/ 8 w 100"/>
                  <a:gd name="T5" fmla="*/ 20 h 25"/>
                  <a:gd name="T6" fmla="*/ 47 w 100"/>
                  <a:gd name="T7" fmla="*/ 20 h 25"/>
                  <a:gd name="T8" fmla="*/ 47 w 100"/>
                  <a:gd name="T9" fmla="*/ 25 h 25"/>
                  <a:gd name="T10" fmla="*/ 50 w 100"/>
                  <a:gd name="T11" fmla="*/ 24 h 25"/>
                  <a:gd name="T12" fmla="*/ 54 w 100"/>
                  <a:gd name="T13" fmla="*/ 25 h 25"/>
                  <a:gd name="T14" fmla="*/ 54 w 100"/>
                  <a:gd name="T15" fmla="*/ 20 h 25"/>
                  <a:gd name="T16" fmla="*/ 93 w 100"/>
                  <a:gd name="T17" fmla="*/ 20 h 25"/>
                  <a:gd name="T18" fmla="*/ 93 w 100"/>
                  <a:gd name="T19" fmla="*/ 25 h 25"/>
                  <a:gd name="T20" fmla="*/ 97 w 100"/>
                  <a:gd name="T21" fmla="*/ 24 h 25"/>
                  <a:gd name="T22" fmla="*/ 100 w 100"/>
                  <a:gd name="T23" fmla="*/ 25 h 25"/>
                  <a:gd name="T24" fmla="*/ 100 w 100"/>
                  <a:gd name="T25" fmla="*/ 16 h 25"/>
                  <a:gd name="T26" fmla="*/ 97 w 100"/>
                  <a:gd name="T27" fmla="*/ 12 h 25"/>
                  <a:gd name="T28" fmla="*/ 54 w 100"/>
                  <a:gd name="T29" fmla="*/ 12 h 25"/>
                  <a:gd name="T30" fmla="*/ 54 w 100"/>
                  <a:gd name="T31" fmla="*/ 0 h 25"/>
                  <a:gd name="T32" fmla="*/ 50 w 100"/>
                  <a:gd name="T33" fmla="*/ 0 h 25"/>
                  <a:gd name="T34" fmla="*/ 47 w 100"/>
                  <a:gd name="T35" fmla="*/ 0 h 25"/>
                  <a:gd name="T36" fmla="*/ 47 w 100"/>
                  <a:gd name="T37" fmla="*/ 12 h 25"/>
                  <a:gd name="T38" fmla="*/ 4 w 100"/>
                  <a:gd name="T39" fmla="*/ 12 h 25"/>
                  <a:gd name="T40" fmla="*/ 0 w 100"/>
                  <a:gd name="T41" fmla="*/ 16 h 25"/>
                  <a:gd name="T42" fmla="*/ 0 w 100"/>
                  <a:gd name="T43" fmla="*/ 25 h 25"/>
                  <a:gd name="T44" fmla="*/ 4 w 100"/>
                  <a:gd name="T45" fmla="*/ 24 h 25"/>
                  <a:gd name="T46" fmla="*/ 4 w 100"/>
                  <a:gd name="T47" fmla="*/ 24 h 25"/>
                  <a:gd name="T48" fmla="*/ 4 w 100"/>
                  <a:gd name="T49" fmla="*/ 24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0" h="25">
                    <a:moveTo>
                      <a:pt x="4" y="24"/>
                    </a:moveTo>
                    <a:cubicBezTo>
                      <a:pt x="5" y="24"/>
                      <a:pt x="7" y="24"/>
                      <a:pt x="8" y="25"/>
                    </a:cubicBezTo>
                    <a:cubicBezTo>
                      <a:pt x="8" y="20"/>
                      <a:pt x="8" y="20"/>
                      <a:pt x="8" y="20"/>
                    </a:cubicBezTo>
                    <a:cubicBezTo>
                      <a:pt x="47" y="20"/>
                      <a:pt x="47" y="20"/>
                      <a:pt x="47" y="20"/>
                    </a:cubicBezTo>
                    <a:cubicBezTo>
                      <a:pt x="47" y="25"/>
                      <a:pt x="47" y="25"/>
                      <a:pt x="47" y="25"/>
                    </a:cubicBezTo>
                    <a:cubicBezTo>
                      <a:pt x="48" y="24"/>
                      <a:pt x="49" y="24"/>
                      <a:pt x="50" y="24"/>
                    </a:cubicBezTo>
                    <a:cubicBezTo>
                      <a:pt x="52" y="24"/>
                      <a:pt x="53" y="24"/>
                      <a:pt x="54" y="25"/>
                    </a:cubicBezTo>
                    <a:cubicBezTo>
                      <a:pt x="54" y="20"/>
                      <a:pt x="54" y="20"/>
                      <a:pt x="54" y="20"/>
                    </a:cubicBezTo>
                    <a:cubicBezTo>
                      <a:pt x="93" y="20"/>
                      <a:pt x="93" y="20"/>
                      <a:pt x="93" y="20"/>
                    </a:cubicBezTo>
                    <a:cubicBezTo>
                      <a:pt x="93" y="25"/>
                      <a:pt x="93" y="25"/>
                      <a:pt x="93" y="25"/>
                    </a:cubicBezTo>
                    <a:cubicBezTo>
                      <a:pt x="94" y="24"/>
                      <a:pt x="95" y="24"/>
                      <a:pt x="97" y="24"/>
                    </a:cubicBezTo>
                    <a:cubicBezTo>
                      <a:pt x="98" y="24"/>
                      <a:pt x="99" y="24"/>
                      <a:pt x="100" y="25"/>
                    </a:cubicBezTo>
                    <a:cubicBezTo>
                      <a:pt x="100" y="16"/>
                      <a:pt x="100" y="16"/>
                      <a:pt x="100" y="16"/>
                    </a:cubicBezTo>
                    <a:cubicBezTo>
                      <a:pt x="100" y="14"/>
                      <a:pt x="99" y="12"/>
                      <a:pt x="97" y="12"/>
                    </a:cubicBezTo>
                    <a:cubicBezTo>
                      <a:pt x="54" y="12"/>
                      <a:pt x="54" y="12"/>
                      <a:pt x="54" y="12"/>
                    </a:cubicBezTo>
                    <a:cubicBezTo>
                      <a:pt x="54" y="0"/>
                      <a:pt x="54" y="0"/>
                      <a:pt x="54" y="0"/>
                    </a:cubicBezTo>
                    <a:cubicBezTo>
                      <a:pt x="53" y="0"/>
                      <a:pt x="52" y="0"/>
                      <a:pt x="50" y="0"/>
                    </a:cubicBezTo>
                    <a:cubicBezTo>
                      <a:pt x="49" y="0"/>
                      <a:pt x="48" y="0"/>
                      <a:pt x="47" y="0"/>
                    </a:cubicBezTo>
                    <a:cubicBezTo>
                      <a:pt x="47" y="12"/>
                      <a:pt x="47" y="12"/>
                      <a:pt x="47" y="12"/>
                    </a:cubicBezTo>
                    <a:cubicBezTo>
                      <a:pt x="4" y="12"/>
                      <a:pt x="4" y="12"/>
                      <a:pt x="4" y="12"/>
                    </a:cubicBezTo>
                    <a:cubicBezTo>
                      <a:pt x="2" y="12"/>
                      <a:pt x="0" y="14"/>
                      <a:pt x="0" y="16"/>
                    </a:cubicBezTo>
                    <a:cubicBezTo>
                      <a:pt x="0" y="25"/>
                      <a:pt x="0" y="25"/>
                      <a:pt x="0" y="25"/>
                    </a:cubicBezTo>
                    <a:cubicBezTo>
                      <a:pt x="2" y="24"/>
                      <a:pt x="3" y="24"/>
                      <a:pt x="4" y="24"/>
                    </a:cubicBezTo>
                    <a:close/>
                    <a:moveTo>
                      <a:pt x="4" y="24"/>
                    </a:moveTo>
                    <a:cubicBezTo>
                      <a:pt x="4" y="24"/>
                      <a:pt x="4" y="24"/>
                      <a:pt x="4" y="2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grpSp>
          <p:nvGrpSpPr>
            <p:cNvPr id="29" name="Group 51">
              <a:extLst>
                <a:ext uri="{FF2B5EF4-FFF2-40B4-BE49-F238E27FC236}">
                  <a16:creationId xmlns:a16="http://schemas.microsoft.com/office/drawing/2014/main" id="{C18FE0C4-0B32-4BDC-8245-A3E28E4424DB}"/>
                </a:ext>
              </a:extLst>
            </p:cNvPr>
            <p:cNvGrpSpPr/>
            <p:nvPr/>
          </p:nvGrpSpPr>
          <p:grpSpPr>
            <a:xfrm>
              <a:off x="4903623" y="4079869"/>
              <a:ext cx="418848" cy="594180"/>
              <a:chOff x="7318375" y="100013"/>
              <a:chExt cx="273050" cy="387350"/>
            </a:xfrm>
            <a:solidFill>
              <a:schemeClr val="bg1"/>
            </a:solidFill>
          </p:grpSpPr>
          <p:sp>
            <p:nvSpPr>
              <p:cNvPr id="38" name="Freeform 382">
                <a:extLst>
                  <a:ext uri="{FF2B5EF4-FFF2-40B4-BE49-F238E27FC236}">
                    <a16:creationId xmlns:a16="http://schemas.microsoft.com/office/drawing/2014/main" id="{9BEA0F99-9710-4787-AD07-74527E3FA20B}"/>
                  </a:ext>
                </a:extLst>
              </p:cNvPr>
              <p:cNvSpPr>
                <a:spLocks noEditPoints="1"/>
              </p:cNvSpPr>
              <p:nvPr/>
            </p:nvSpPr>
            <p:spPr bwMode="auto">
              <a:xfrm>
                <a:off x="7318375" y="100013"/>
                <a:ext cx="273050" cy="260350"/>
              </a:xfrm>
              <a:custGeom>
                <a:avLst/>
                <a:gdLst>
                  <a:gd name="T0" fmla="*/ 22 w 84"/>
                  <a:gd name="T1" fmla="*/ 79 h 80"/>
                  <a:gd name="T2" fmla="*/ 20 w 84"/>
                  <a:gd name="T3" fmla="*/ 72 h 80"/>
                  <a:gd name="T4" fmla="*/ 20 w 84"/>
                  <a:gd name="T5" fmla="*/ 68 h 80"/>
                  <a:gd name="T6" fmla="*/ 13 w 84"/>
                  <a:gd name="T7" fmla="*/ 59 h 80"/>
                  <a:gd name="T8" fmla="*/ 20 w 84"/>
                  <a:gd name="T9" fmla="*/ 59 h 80"/>
                  <a:gd name="T10" fmla="*/ 20 w 84"/>
                  <a:gd name="T11" fmla="*/ 57 h 80"/>
                  <a:gd name="T12" fmla="*/ 21 w 84"/>
                  <a:gd name="T13" fmla="*/ 51 h 80"/>
                  <a:gd name="T14" fmla="*/ 9 w 84"/>
                  <a:gd name="T15" fmla="*/ 51 h 80"/>
                  <a:gd name="T16" fmla="*/ 8 w 84"/>
                  <a:gd name="T17" fmla="*/ 42 h 80"/>
                  <a:gd name="T18" fmla="*/ 9 w 84"/>
                  <a:gd name="T19" fmla="*/ 33 h 80"/>
                  <a:gd name="T20" fmla="*/ 21 w 84"/>
                  <a:gd name="T21" fmla="*/ 33 h 80"/>
                  <a:gd name="T22" fmla="*/ 21 w 84"/>
                  <a:gd name="T23" fmla="*/ 42 h 80"/>
                  <a:gd name="T24" fmla="*/ 21 w 84"/>
                  <a:gd name="T25" fmla="*/ 50 h 80"/>
                  <a:gd name="T26" fmla="*/ 29 w 84"/>
                  <a:gd name="T27" fmla="*/ 41 h 80"/>
                  <a:gd name="T28" fmla="*/ 30 w 84"/>
                  <a:gd name="T29" fmla="*/ 33 h 80"/>
                  <a:gd name="T30" fmla="*/ 53 w 84"/>
                  <a:gd name="T31" fmla="*/ 33 h 80"/>
                  <a:gd name="T32" fmla="*/ 54 w 84"/>
                  <a:gd name="T33" fmla="*/ 41 h 80"/>
                  <a:gd name="T34" fmla="*/ 62 w 84"/>
                  <a:gd name="T35" fmla="*/ 50 h 80"/>
                  <a:gd name="T36" fmla="*/ 62 w 84"/>
                  <a:gd name="T37" fmla="*/ 42 h 80"/>
                  <a:gd name="T38" fmla="*/ 62 w 84"/>
                  <a:gd name="T39" fmla="*/ 33 h 80"/>
                  <a:gd name="T40" fmla="*/ 74 w 84"/>
                  <a:gd name="T41" fmla="*/ 33 h 80"/>
                  <a:gd name="T42" fmla="*/ 75 w 84"/>
                  <a:gd name="T43" fmla="*/ 42 h 80"/>
                  <a:gd name="T44" fmla="*/ 74 w 84"/>
                  <a:gd name="T45" fmla="*/ 51 h 80"/>
                  <a:gd name="T46" fmla="*/ 62 w 84"/>
                  <a:gd name="T47" fmla="*/ 51 h 80"/>
                  <a:gd name="T48" fmla="*/ 63 w 84"/>
                  <a:gd name="T49" fmla="*/ 57 h 80"/>
                  <a:gd name="T50" fmla="*/ 63 w 84"/>
                  <a:gd name="T51" fmla="*/ 59 h 80"/>
                  <a:gd name="T52" fmla="*/ 71 w 84"/>
                  <a:gd name="T53" fmla="*/ 59 h 80"/>
                  <a:gd name="T54" fmla="*/ 63 w 84"/>
                  <a:gd name="T55" fmla="*/ 68 h 80"/>
                  <a:gd name="T56" fmla="*/ 63 w 84"/>
                  <a:gd name="T57" fmla="*/ 72 h 80"/>
                  <a:gd name="T58" fmla="*/ 60 w 84"/>
                  <a:gd name="T59" fmla="*/ 80 h 80"/>
                  <a:gd name="T60" fmla="*/ 71 w 84"/>
                  <a:gd name="T61" fmla="*/ 72 h 80"/>
                  <a:gd name="T62" fmla="*/ 84 w 84"/>
                  <a:gd name="T63" fmla="*/ 42 h 80"/>
                  <a:gd name="T64" fmla="*/ 71 w 84"/>
                  <a:gd name="T65" fmla="*/ 12 h 80"/>
                  <a:gd name="T66" fmla="*/ 42 w 84"/>
                  <a:gd name="T67" fmla="*/ 0 h 80"/>
                  <a:gd name="T68" fmla="*/ 12 w 84"/>
                  <a:gd name="T69" fmla="*/ 12 h 80"/>
                  <a:gd name="T70" fmla="*/ 0 w 84"/>
                  <a:gd name="T71" fmla="*/ 42 h 80"/>
                  <a:gd name="T72" fmla="*/ 12 w 84"/>
                  <a:gd name="T73" fmla="*/ 72 h 80"/>
                  <a:gd name="T74" fmla="*/ 22 w 84"/>
                  <a:gd name="T75" fmla="*/ 79 h 80"/>
                  <a:gd name="T76" fmla="*/ 71 w 84"/>
                  <a:gd name="T77" fmla="*/ 25 h 80"/>
                  <a:gd name="T78" fmla="*/ 60 w 84"/>
                  <a:gd name="T79" fmla="*/ 25 h 80"/>
                  <a:gd name="T80" fmla="*/ 55 w 84"/>
                  <a:gd name="T81" fmla="*/ 11 h 80"/>
                  <a:gd name="T82" fmla="*/ 71 w 84"/>
                  <a:gd name="T83" fmla="*/ 25 h 80"/>
                  <a:gd name="T84" fmla="*/ 39 w 84"/>
                  <a:gd name="T85" fmla="*/ 8 h 80"/>
                  <a:gd name="T86" fmla="*/ 44 w 84"/>
                  <a:gd name="T87" fmla="*/ 8 h 80"/>
                  <a:gd name="T88" fmla="*/ 52 w 84"/>
                  <a:gd name="T89" fmla="*/ 25 h 80"/>
                  <a:gd name="T90" fmla="*/ 32 w 84"/>
                  <a:gd name="T91" fmla="*/ 25 h 80"/>
                  <a:gd name="T92" fmla="*/ 39 w 84"/>
                  <a:gd name="T93" fmla="*/ 8 h 80"/>
                  <a:gd name="T94" fmla="*/ 28 w 84"/>
                  <a:gd name="T95" fmla="*/ 11 h 80"/>
                  <a:gd name="T96" fmla="*/ 23 w 84"/>
                  <a:gd name="T97" fmla="*/ 25 h 80"/>
                  <a:gd name="T98" fmla="*/ 13 w 84"/>
                  <a:gd name="T99" fmla="*/ 25 h 80"/>
                  <a:gd name="T100" fmla="*/ 28 w 84"/>
                  <a:gd name="T101" fmla="*/ 11 h 80"/>
                  <a:gd name="T102" fmla="*/ 28 w 84"/>
                  <a:gd name="T103" fmla="*/ 11 h 80"/>
                  <a:gd name="T104" fmla="*/ 28 w 84"/>
                  <a:gd name="T105" fmla="*/ 11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4" h="80">
                    <a:moveTo>
                      <a:pt x="22" y="79"/>
                    </a:moveTo>
                    <a:cubicBezTo>
                      <a:pt x="21" y="77"/>
                      <a:pt x="20" y="74"/>
                      <a:pt x="20" y="72"/>
                    </a:cubicBezTo>
                    <a:cubicBezTo>
                      <a:pt x="20" y="68"/>
                      <a:pt x="20" y="68"/>
                      <a:pt x="20" y="68"/>
                    </a:cubicBezTo>
                    <a:cubicBezTo>
                      <a:pt x="17" y="65"/>
                      <a:pt x="15" y="62"/>
                      <a:pt x="13" y="59"/>
                    </a:cubicBezTo>
                    <a:cubicBezTo>
                      <a:pt x="20" y="59"/>
                      <a:pt x="20" y="59"/>
                      <a:pt x="20" y="59"/>
                    </a:cubicBezTo>
                    <a:cubicBezTo>
                      <a:pt x="20" y="57"/>
                      <a:pt x="20" y="57"/>
                      <a:pt x="20" y="57"/>
                    </a:cubicBezTo>
                    <a:cubicBezTo>
                      <a:pt x="20" y="55"/>
                      <a:pt x="20" y="53"/>
                      <a:pt x="21" y="51"/>
                    </a:cubicBezTo>
                    <a:cubicBezTo>
                      <a:pt x="9" y="51"/>
                      <a:pt x="9" y="51"/>
                      <a:pt x="9" y="51"/>
                    </a:cubicBezTo>
                    <a:cubicBezTo>
                      <a:pt x="8" y="48"/>
                      <a:pt x="8" y="45"/>
                      <a:pt x="8" y="42"/>
                    </a:cubicBezTo>
                    <a:cubicBezTo>
                      <a:pt x="8" y="39"/>
                      <a:pt x="8" y="36"/>
                      <a:pt x="9" y="33"/>
                    </a:cubicBezTo>
                    <a:cubicBezTo>
                      <a:pt x="21" y="33"/>
                      <a:pt x="21" y="33"/>
                      <a:pt x="21" y="33"/>
                    </a:cubicBezTo>
                    <a:cubicBezTo>
                      <a:pt x="21" y="36"/>
                      <a:pt x="21" y="39"/>
                      <a:pt x="21" y="42"/>
                    </a:cubicBezTo>
                    <a:cubicBezTo>
                      <a:pt x="21" y="45"/>
                      <a:pt x="21" y="48"/>
                      <a:pt x="21" y="50"/>
                    </a:cubicBezTo>
                    <a:cubicBezTo>
                      <a:pt x="23" y="46"/>
                      <a:pt x="26" y="43"/>
                      <a:pt x="29" y="41"/>
                    </a:cubicBezTo>
                    <a:cubicBezTo>
                      <a:pt x="29" y="38"/>
                      <a:pt x="30" y="36"/>
                      <a:pt x="30" y="33"/>
                    </a:cubicBezTo>
                    <a:cubicBezTo>
                      <a:pt x="53" y="33"/>
                      <a:pt x="53" y="33"/>
                      <a:pt x="53" y="33"/>
                    </a:cubicBezTo>
                    <a:cubicBezTo>
                      <a:pt x="54" y="36"/>
                      <a:pt x="54" y="38"/>
                      <a:pt x="54" y="41"/>
                    </a:cubicBezTo>
                    <a:cubicBezTo>
                      <a:pt x="57" y="43"/>
                      <a:pt x="60" y="46"/>
                      <a:pt x="62" y="50"/>
                    </a:cubicBezTo>
                    <a:cubicBezTo>
                      <a:pt x="62" y="47"/>
                      <a:pt x="62" y="44"/>
                      <a:pt x="62" y="42"/>
                    </a:cubicBezTo>
                    <a:cubicBezTo>
                      <a:pt x="62" y="39"/>
                      <a:pt x="62" y="36"/>
                      <a:pt x="62" y="33"/>
                    </a:cubicBezTo>
                    <a:cubicBezTo>
                      <a:pt x="74" y="33"/>
                      <a:pt x="74" y="33"/>
                      <a:pt x="74" y="33"/>
                    </a:cubicBezTo>
                    <a:cubicBezTo>
                      <a:pt x="75" y="36"/>
                      <a:pt x="75" y="39"/>
                      <a:pt x="75" y="42"/>
                    </a:cubicBezTo>
                    <a:cubicBezTo>
                      <a:pt x="75" y="45"/>
                      <a:pt x="75" y="48"/>
                      <a:pt x="74" y="51"/>
                    </a:cubicBezTo>
                    <a:cubicBezTo>
                      <a:pt x="62" y="51"/>
                      <a:pt x="62" y="51"/>
                      <a:pt x="62" y="51"/>
                    </a:cubicBezTo>
                    <a:cubicBezTo>
                      <a:pt x="63" y="53"/>
                      <a:pt x="63" y="55"/>
                      <a:pt x="63" y="57"/>
                    </a:cubicBezTo>
                    <a:cubicBezTo>
                      <a:pt x="63" y="59"/>
                      <a:pt x="63" y="59"/>
                      <a:pt x="63" y="59"/>
                    </a:cubicBezTo>
                    <a:cubicBezTo>
                      <a:pt x="71" y="59"/>
                      <a:pt x="71" y="59"/>
                      <a:pt x="71" y="59"/>
                    </a:cubicBezTo>
                    <a:cubicBezTo>
                      <a:pt x="69" y="63"/>
                      <a:pt x="66" y="66"/>
                      <a:pt x="63" y="68"/>
                    </a:cubicBezTo>
                    <a:cubicBezTo>
                      <a:pt x="63" y="72"/>
                      <a:pt x="63" y="72"/>
                      <a:pt x="63" y="72"/>
                    </a:cubicBezTo>
                    <a:cubicBezTo>
                      <a:pt x="63" y="75"/>
                      <a:pt x="62" y="77"/>
                      <a:pt x="60" y="80"/>
                    </a:cubicBezTo>
                    <a:cubicBezTo>
                      <a:pt x="64" y="78"/>
                      <a:pt x="68" y="75"/>
                      <a:pt x="71" y="72"/>
                    </a:cubicBezTo>
                    <a:cubicBezTo>
                      <a:pt x="79" y="64"/>
                      <a:pt x="84" y="53"/>
                      <a:pt x="84" y="42"/>
                    </a:cubicBezTo>
                    <a:cubicBezTo>
                      <a:pt x="84" y="31"/>
                      <a:pt x="79" y="20"/>
                      <a:pt x="71" y="12"/>
                    </a:cubicBezTo>
                    <a:cubicBezTo>
                      <a:pt x="64" y="4"/>
                      <a:pt x="53" y="0"/>
                      <a:pt x="42" y="0"/>
                    </a:cubicBezTo>
                    <a:cubicBezTo>
                      <a:pt x="30" y="0"/>
                      <a:pt x="20" y="4"/>
                      <a:pt x="12" y="12"/>
                    </a:cubicBezTo>
                    <a:cubicBezTo>
                      <a:pt x="4" y="20"/>
                      <a:pt x="0" y="31"/>
                      <a:pt x="0" y="42"/>
                    </a:cubicBezTo>
                    <a:cubicBezTo>
                      <a:pt x="0" y="53"/>
                      <a:pt x="4" y="64"/>
                      <a:pt x="12" y="72"/>
                    </a:cubicBezTo>
                    <a:cubicBezTo>
                      <a:pt x="15" y="75"/>
                      <a:pt x="19" y="77"/>
                      <a:pt x="22" y="79"/>
                    </a:cubicBezTo>
                    <a:close/>
                    <a:moveTo>
                      <a:pt x="71" y="25"/>
                    </a:moveTo>
                    <a:cubicBezTo>
                      <a:pt x="60" y="25"/>
                      <a:pt x="60" y="25"/>
                      <a:pt x="60" y="25"/>
                    </a:cubicBezTo>
                    <a:cubicBezTo>
                      <a:pt x="59" y="20"/>
                      <a:pt x="58" y="16"/>
                      <a:pt x="55" y="11"/>
                    </a:cubicBezTo>
                    <a:cubicBezTo>
                      <a:pt x="62" y="14"/>
                      <a:pt x="67" y="19"/>
                      <a:pt x="71" y="25"/>
                    </a:cubicBezTo>
                    <a:close/>
                    <a:moveTo>
                      <a:pt x="39" y="8"/>
                    </a:moveTo>
                    <a:cubicBezTo>
                      <a:pt x="41" y="8"/>
                      <a:pt x="43" y="8"/>
                      <a:pt x="44" y="8"/>
                    </a:cubicBezTo>
                    <a:cubicBezTo>
                      <a:pt x="48" y="13"/>
                      <a:pt x="50" y="19"/>
                      <a:pt x="52" y="25"/>
                    </a:cubicBezTo>
                    <a:cubicBezTo>
                      <a:pt x="32" y="25"/>
                      <a:pt x="32" y="25"/>
                      <a:pt x="32" y="25"/>
                    </a:cubicBezTo>
                    <a:cubicBezTo>
                      <a:pt x="34" y="19"/>
                      <a:pt x="36" y="13"/>
                      <a:pt x="39" y="8"/>
                    </a:cubicBezTo>
                    <a:close/>
                    <a:moveTo>
                      <a:pt x="28" y="11"/>
                    </a:moveTo>
                    <a:cubicBezTo>
                      <a:pt x="26" y="15"/>
                      <a:pt x="24" y="20"/>
                      <a:pt x="23" y="25"/>
                    </a:cubicBezTo>
                    <a:cubicBezTo>
                      <a:pt x="13" y="25"/>
                      <a:pt x="13" y="25"/>
                      <a:pt x="13" y="25"/>
                    </a:cubicBezTo>
                    <a:cubicBezTo>
                      <a:pt x="16" y="19"/>
                      <a:pt x="22" y="14"/>
                      <a:pt x="28" y="11"/>
                    </a:cubicBezTo>
                    <a:close/>
                    <a:moveTo>
                      <a:pt x="28" y="11"/>
                    </a:moveTo>
                    <a:cubicBezTo>
                      <a:pt x="28" y="11"/>
                      <a:pt x="28" y="11"/>
                      <a:pt x="28" y="1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9" name="Freeform 383">
                <a:extLst>
                  <a:ext uri="{FF2B5EF4-FFF2-40B4-BE49-F238E27FC236}">
                    <a16:creationId xmlns:a16="http://schemas.microsoft.com/office/drawing/2014/main" id="{32621EB8-A65F-4320-A3F7-4398175BF71D}"/>
                  </a:ext>
                </a:extLst>
              </p:cNvPr>
              <p:cNvSpPr>
                <a:spLocks noEditPoints="1"/>
              </p:cNvSpPr>
              <p:nvPr/>
            </p:nvSpPr>
            <p:spPr bwMode="auto">
              <a:xfrm>
                <a:off x="7340600" y="247650"/>
                <a:ext cx="223837" cy="239713"/>
              </a:xfrm>
              <a:custGeom>
                <a:avLst/>
                <a:gdLst>
                  <a:gd name="T0" fmla="*/ 67 w 69"/>
                  <a:gd name="T1" fmla="*/ 59 h 74"/>
                  <a:gd name="T2" fmla="*/ 46 w 69"/>
                  <a:gd name="T3" fmla="*/ 46 h 74"/>
                  <a:gd name="T4" fmla="*/ 46 w 69"/>
                  <a:gd name="T5" fmla="*/ 46 h 74"/>
                  <a:gd name="T6" fmla="*/ 46 w 69"/>
                  <a:gd name="T7" fmla="*/ 32 h 74"/>
                  <a:gd name="T8" fmla="*/ 49 w 69"/>
                  <a:gd name="T9" fmla="*/ 27 h 74"/>
                  <a:gd name="T10" fmla="*/ 49 w 69"/>
                  <a:gd name="T11" fmla="*/ 12 h 74"/>
                  <a:gd name="T12" fmla="*/ 36 w 69"/>
                  <a:gd name="T13" fmla="*/ 0 h 74"/>
                  <a:gd name="T14" fmla="*/ 33 w 69"/>
                  <a:gd name="T15" fmla="*/ 0 h 74"/>
                  <a:gd name="T16" fmla="*/ 20 w 69"/>
                  <a:gd name="T17" fmla="*/ 12 h 74"/>
                  <a:gd name="T18" fmla="*/ 20 w 69"/>
                  <a:gd name="T19" fmla="*/ 27 h 74"/>
                  <a:gd name="T20" fmla="*/ 23 w 69"/>
                  <a:gd name="T21" fmla="*/ 32 h 74"/>
                  <a:gd name="T22" fmla="*/ 23 w 69"/>
                  <a:gd name="T23" fmla="*/ 46 h 74"/>
                  <a:gd name="T24" fmla="*/ 23 w 69"/>
                  <a:gd name="T25" fmla="*/ 46 h 74"/>
                  <a:gd name="T26" fmla="*/ 2 w 69"/>
                  <a:gd name="T27" fmla="*/ 59 h 74"/>
                  <a:gd name="T28" fmla="*/ 0 w 69"/>
                  <a:gd name="T29" fmla="*/ 65 h 74"/>
                  <a:gd name="T30" fmla="*/ 0 w 69"/>
                  <a:gd name="T31" fmla="*/ 74 h 74"/>
                  <a:gd name="T32" fmla="*/ 69 w 69"/>
                  <a:gd name="T33" fmla="*/ 74 h 74"/>
                  <a:gd name="T34" fmla="*/ 69 w 69"/>
                  <a:gd name="T35" fmla="*/ 65 h 74"/>
                  <a:gd name="T36" fmla="*/ 67 w 69"/>
                  <a:gd name="T37" fmla="*/ 59 h 74"/>
                  <a:gd name="T38" fmla="*/ 67 w 69"/>
                  <a:gd name="T39" fmla="*/ 59 h 74"/>
                  <a:gd name="T40" fmla="*/ 67 w 69"/>
                  <a:gd name="T41" fmla="*/ 59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9" h="74">
                    <a:moveTo>
                      <a:pt x="67" y="59"/>
                    </a:moveTo>
                    <a:cubicBezTo>
                      <a:pt x="58" y="52"/>
                      <a:pt x="48" y="47"/>
                      <a:pt x="46" y="46"/>
                    </a:cubicBezTo>
                    <a:cubicBezTo>
                      <a:pt x="46" y="46"/>
                      <a:pt x="46" y="46"/>
                      <a:pt x="46" y="46"/>
                    </a:cubicBezTo>
                    <a:cubicBezTo>
                      <a:pt x="46" y="32"/>
                      <a:pt x="46" y="32"/>
                      <a:pt x="46" y="32"/>
                    </a:cubicBezTo>
                    <a:cubicBezTo>
                      <a:pt x="48" y="31"/>
                      <a:pt x="49" y="29"/>
                      <a:pt x="49" y="27"/>
                    </a:cubicBezTo>
                    <a:cubicBezTo>
                      <a:pt x="49" y="12"/>
                      <a:pt x="49" y="12"/>
                      <a:pt x="49" y="12"/>
                    </a:cubicBezTo>
                    <a:cubicBezTo>
                      <a:pt x="49" y="5"/>
                      <a:pt x="43" y="0"/>
                      <a:pt x="36" y="0"/>
                    </a:cubicBezTo>
                    <a:cubicBezTo>
                      <a:pt x="33" y="0"/>
                      <a:pt x="33" y="0"/>
                      <a:pt x="33" y="0"/>
                    </a:cubicBezTo>
                    <a:cubicBezTo>
                      <a:pt x="26" y="0"/>
                      <a:pt x="20" y="5"/>
                      <a:pt x="20" y="12"/>
                    </a:cubicBezTo>
                    <a:cubicBezTo>
                      <a:pt x="20" y="27"/>
                      <a:pt x="20" y="27"/>
                      <a:pt x="20" y="27"/>
                    </a:cubicBezTo>
                    <a:cubicBezTo>
                      <a:pt x="20" y="29"/>
                      <a:pt x="21" y="31"/>
                      <a:pt x="23" y="32"/>
                    </a:cubicBezTo>
                    <a:cubicBezTo>
                      <a:pt x="23" y="46"/>
                      <a:pt x="23" y="46"/>
                      <a:pt x="23" y="46"/>
                    </a:cubicBezTo>
                    <a:cubicBezTo>
                      <a:pt x="23" y="46"/>
                      <a:pt x="23" y="46"/>
                      <a:pt x="23" y="46"/>
                    </a:cubicBezTo>
                    <a:cubicBezTo>
                      <a:pt x="21" y="47"/>
                      <a:pt x="11" y="52"/>
                      <a:pt x="2" y="59"/>
                    </a:cubicBezTo>
                    <a:cubicBezTo>
                      <a:pt x="1" y="61"/>
                      <a:pt x="0" y="63"/>
                      <a:pt x="0" y="65"/>
                    </a:cubicBezTo>
                    <a:cubicBezTo>
                      <a:pt x="0" y="74"/>
                      <a:pt x="0" y="74"/>
                      <a:pt x="0" y="74"/>
                    </a:cubicBezTo>
                    <a:cubicBezTo>
                      <a:pt x="69" y="74"/>
                      <a:pt x="69" y="74"/>
                      <a:pt x="69" y="74"/>
                    </a:cubicBezTo>
                    <a:cubicBezTo>
                      <a:pt x="69" y="65"/>
                      <a:pt x="69" y="65"/>
                      <a:pt x="69" y="65"/>
                    </a:cubicBezTo>
                    <a:cubicBezTo>
                      <a:pt x="69" y="63"/>
                      <a:pt x="68" y="61"/>
                      <a:pt x="67" y="59"/>
                    </a:cubicBezTo>
                    <a:close/>
                    <a:moveTo>
                      <a:pt x="67" y="59"/>
                    </a:moveTo>
                    <a:cubicBezTo>
                      <a:pt x="67" y="59"/>
                      <a:pt x="67" y="59"/>
                      <a:pt x="67" y="5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grpSp>
        <p:grpSp>
          <p:nvGrpSpPr>
            <p:cNvPr id="30" name="Group 54">
              <a:extLst>
                <a:ext uri="{FF2B5EF4-FFF2-40B4-BE49-F238E27FC236}">
                  <a16:creationId xmlns:a16="http://schemas.microsoft.com/office/drawing/2014/main" id="{FE526E0D-892D-444B-B269-EBD8832E9D4D}"/>
                </a:ext>
              </a:extLst>
            </p:cNvPr>
            <p:cNvGrpSpPr/>
            <p:nvPr/>
          </p:nvGrpSpPr>
          <p:grpSpPr>
            <a:xfrm>
              <a:off x="4259532" y="3228586"/>
              <a:ext cx="327025" cy="360362"/>
              <a:chOff x="6705600" y="744538"/>
              <a:chExt cx="327025" cy="360362"/>
            </a:xfrm>
            <a:solidFill>
              <a:schemeClr val="bg1"/>
            </a:solidFill>
          </p:grpSpPr>
          <p:sp>
            <p:nvSpPr>
              <p:cNvPr id="31" name="Freeform 384">
                <a:extLst>
                  <a:ext uri="{FF2B5EF4-FFF2-40B4-BE49-F238E27FC236}">
                    <a16:creationId xmlns:a16="http://schemas.microsoft.com/office/drawing/2014/main" id="{F20E3687-45BB-45A8-B866-40B2A1D5C827}"/>
                  </a:ext>
                </a:extLst>
              </p:cNvPr>
              <p:cNvSpPr>
                <a:spLocks noEditPoints="1"/>
              </p:cNvSpPr>
              <p:nvPr/>
            </p:nvSpPr>
            <p:spPr bwMode="auto">
              <a:xfrm>
                <a:off x="6705600" y="773113"/>
                <a:ext cx="84137" cy="80963"/>
              </a:xfrm>
              <a:custGeom>
                <a:avLst/>
                <a:gdLst>
                  <a:gd name="T0" fmla="*/ 13 w 26"/>
                  <a:gd name="T1" fmla="*/ 25 h 25"/>
                  <a:gd name="T2" fmla="*/ 26 w 26"/>
                  <a:gd name="T3" fmla="*/ 13 h 25"/>
                  <a:gd name="T4" fmla="*/ 13 w 26"/>
                  <a:gd name="T5" fmla="*/ 0 h 25"/>
                  <a:gd name="T6" fmla="*/ 0 w 26"/>
                  <a:gd name="T7" fmla="*/ 13 h 25"/>
                  <a:gd name="T8" fmla="*/ 13 w 26"/>
                  <a:gd name="T9" fmla="*/ 25 h 25"/>
                  <a:gd name="T10" fmla="*/ 13 w 26"/>
                  <a:gd name="T11" fmla="*/ 25 h 25"/>
                  <a:gd name="T12" fmla="*/ 13 w 26"/>
                  <a:gd name="T13" fmla="*/ 25 h 25"/>
                </a:gdLst>
                <a:ahLst/>
                <a:cxnLst>
                  <a:cxn ang="0">
                    <a:pos x="T0" y="T1"/>
                  </a:cxn>
                  <a:cxn ang="0">
                    <a:pos x="T2" y="T3"/>
                  </a:cxn>
                  <a:cxn ang="0">
                    <a:pos x="T4" y="T5"/>
                  </a:cxn>
                  <a:cxn ang="0">
                    <a:pos x="T6" y="T7"/>
                  </a:cxn>
                  <a:cxn ang="0">
                    <a:pos x="T8" y="T9"/>
                  </a:cxn>
                  <a:cxn ang="0">
                    <a:pos x="T10" y="T11"/>
                  </a:cxn>
                  <a:cxn ang="0">
                    <a:pos x="T12" y="T13"/>
                  </a:cxn>
                </a:cxnLst>
                <a:rect l="0" t="0" r="r" b="b"/>
                <a:pathLst>
                  <a:path w="26" h="25">
                    <a:moveTo>
                      <a:pt x="13" y="25"/>
                    </a:moveTo>
                    <a:cubicBezTo>
                      <a:pt x="20" y="25"/>
                      <a:pt x="26" y="19"/>
                      <a:pt x="26" y="13"/>
                    </a:cubicBezTo>
                    <a:cubicBezTo>
                      <a:pt x="26" y="6"/>
                      <a:pt x="20" y="0"/>
                      <a:pt x="13" y="0"/>
                    </a:cubicBezTo>
                    <a:cubicBezTo>
                      <a:pt x="6" y="0"/>
                      <a:pt x="0" y="6"/>
                      <a:pt x="0" y="13"/>
                    </a:cubicBezTo>
                    <a:cubicBezTo>
                      <a:pt x="0" y="19"/>
                      <a:pt x="6" y="25"/>
                      <a:pt x="13" y="25"/>
                    </a:cubicBezTo>
                    <a:close/>
                    <a:moveTo>
                      <a:pt x="13" y="25"/>
                    </a:moveTo>
                    <a:cubicBezTo>
                      <a:pt x="13" y="25"/>
                      <a:pt x="13" y="25"/>
                      <a:pt x="13" y="2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2" name="Freeform 385">
                <a:extLst>
                  <a:ext uri="{FF2B5EF4-FFF2-40B4-BE49-F238E27FC236}">
                    <a16:creationId xmlns:a16="http://schemas.microsoft.com/office/drawing/2014/main" id="{93F43B21-80DE-4E8B-8DA4-8ADB111B9E5B}"/>
                  </a:ext>
                </a:extLst>
              </p:cNvPr>
              <p:cNvSpPr>
                <a:spLocks noEditPoints="1"/>
              </p:cNvSpPr>
              <p:nvPr/>
            </p:nvSpPr>
            <p:spPr bwMode="auto">
              <a:xfrm>
                <a:off x="6711950" y="863600"/>
                <a:ext cx="136525" cy="241300"/>
              </a:xfrm>
              <a:custGeom>
                <a:avLst/>
                <a:gdLst>
                  <a:gd name="T0" fmla="*/ 0 w 42"/>
                  <a:gd name="T1" fmla="*/ 11 h 74"/>
                  <a:gd name="T2" fmla="*/ 0 w 42"/>
                  <a:gd name="T3" fmla="*/ 35 h 74"/>
                  <a:gd name="T4" fmla="*/ 11 w 42"/>
                  <a:gd name="T5" fmla="*/ 46 h 74"/>
                  <a:gd name="T6" fmla="*/ 25 w 42"/>
                  <a:gd name="T7" fmla="*/ 46 h 74"/>
                  <a:gd name="T8" fmla="*/ 25 w 42"/>
                  <a:gd name="T9" fmla="*/ 71 h 74"/>
                  <a:gd name="T10" fmla="*/ 27 w 42"/>
                  <a:gd name="T11" fmla="*/ 74 h 74"/>
                  <a:gd name="T12" fmla="*/ 40 w 42"/>
                  <a:gd name="T13" fmla="*/ 74 h 74"/>
                  <a:gd name="T14" fmla="*/ 42 w 42"/>
                  <a:gd name="T15" fmla="*/ 71 h 74"/>
                  <a:gd name="T16" fmla="*/ 42 w 42"/>
                  <a:gd name="T17" fmla="*/ 37 h 74"/>
                  <a:gd name="T18" fmla="*/ 33 w 42"/>
                  <a:gd name="T19" fmla="*/ 28 h 74"/>
                  <a:gd name="T20" fmla="*/ 22 w 42"/>
                  <a:gd name="T21" fmla="*/ 28 h 74"/>
                  <a:gd name="T22" fmla="*/ 22 w 42"/>
                  <a:gd name="T23" fmla="*/ 11 h 74"/>
                  <a:gd name="T24" fmla="*/ 11 w 42"/>
                  <a:gd name="T25" fmla="*/ 0 h 74"/>
                  <a:gd name="T26" fmla="*/ 0 w 42"/>
                  <a:gd name="T27" fmla="*/ 11 h 74"/>
                  <a:gd name="T28" fmla="*/ 0 w 42"/>
                  <a:gd name="T29" fmla="*/ 11 h 74"/>
                  <a:gd name="T30" fmla="*/ 0 w 42"/>
                  <a:gd name="T31" fmla="*/ 11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2" h="74">
                    <a:moveTo>
                      <a:pt x="0" y="11"/>
                    </a:moveTo>
                    <a:cubicBezTo>
                      <a:pt x="0" y="35"/>
                      <a:pt x="0" y="35"/>
                      <a:pt x="0" y="35"/>
                    </a:cubicBezTo>
                    <a:cubicBezTo>
                      <a:pt x="0" y="41"/>
                      <a:pt x="5" y="46"/>
                      <a:pt x="11" y="46"/>
                    </a:cubicBezTo>
                    <a:cubicBezTo>
                      <a:pt x="25" y="46"/>
                      <a:pt x="25" y="46"/>
                      <a:pt x="25" y="46"/>
                    </a:cubicBezTo>
                    <a:cubicBezTo>
                      <a:pt x="25" y="71"/>
                      <a:pt x="25" y="71"/>
                      <a:pt x="25" y="71"/>
                    </a:cubicBezTo>
                    <a:cubicBezTo>
                      <a:pt x="25" y="73"/>
                      <a:pt x="26" y="74"/>
                      <a:pt x="27" y="74"/>
                    </a:cubicBezTo>
                    <a:cubicBezTo>
                      <a:pt x="40" y="74"/>
                      <a:pt x="40" y="74"/>
                      <a:pt x="40" y="74"/>
                    </a:cubicBezTo>
                    <a:cubicBezTo>
                      <a:pt x="41" y="74"/>
                      <a:pt x="42" y="73"/>
                      <a:pt x="42" y="71"/>
                    </a:cubicBezTo>
                    <a:cubicBezTo>
                      <a:pt x="42" y="37"/>
                      <a:pt x="42" y="37"/>
                      <a:pt x="42" y="37"/>
                    </a:cubicBezTo>
                    <a:cubicBezTo>
                      <a:pt x="42" y="32"/>
                      <a:pt x="38" y="28"/>
                      <a:pt x="33" y="28"/>
                    </a:cubicBezTo>
                    <a:cubicBezTo>
                      <a:pt x="22" y="28"/>
                      <a:pt x="22" y="28"/>
                      <a:pt x="22" y="28"/>
                    </a:cubicBezTo>
                    <a:cubicBezTo>
                      <a:pt x="22" y="11"/>
                      <a:pt x="22" y="11"/>
                      <a:pt x="22" y="11"/>
                    </a:cubicBezTo>
                    <a:cubicBezTo>
                      <a:pt x="22" y="5"/>
                      <a:pt x="17" y="0"/>
                      <a:pt x="11" y="0"/>
                    </a:cubicBezTo>
                    <a:cubicBezTo>
                      <a:pt x="5" y="0"/>
                      <a:pt x="0" y="5"/>
                      <a:pt x="0" y="11"/>
                    </a:cubicBezTo>
                    <a:close/>
                    <a:moveTo>
                      <a:pt x="0" y="11"/>
                    </a:moveTo>
                    <a:cubicBezTo>
                      <a:pt x="0" y="11"/>
                      <a:pt x="0" y="11"/>
                      <a:pt x="0" y="1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3" name="Freeform 386">
                <a:extLst>
                  <a:ext uri="{FF2B5EF4-FFF2-40B4-BE49-F238E27FC236}">
                    <a16:creationId xmlns:a16="http://schemas.microsoft.com/office/drawing/2014/main" id="{DCB600D8-C261-47A0-AF81-A5D77B893687}"/>
                  </a:ext>
                </a:extLst>
              </p:cNvPr>
              <p:cNvSpPr>
                <a:spLocks noEditPoints="1"/>
              </p:cNvSpPr>
              <p:nvPr/>
            </p:nvSpPr>
            <p:spPr bwMode="auto">
              <a:xfrm>
                <a:off x="6919913" y="744538"/>
                <a:ext cx="65087" cy="123825"/>
              </a:xfrm>
              <a:custGeom>
                <a:avLst/>
                <a:gdLst>
                  <a:gd name="T0" fmla="*/ 2 w 20"/>
                  <a:gd name="T1" fmla="*/ 38 h 38"/>
                  <a:gd name="T2" fmla="*/ 3 w 20"/>
                  <a:gd name="T3" fmla="*/ 38 h 38"/>
                  <a:gd name="T4" fmla="*/ 6 w 20"/>
                  <a:gd name="T5" fmla="*/ 36 h 38"/>
                  <a:gd name="T6" fmla="*/ 19 w 20"/>
                  <a:gd name="T7" fmla="*/ 4 h 38"/>
                  <a:gd name="T8" fmla="*/ 17 w 20"/>
                  <a:gd name="T9" fmla="*/ 0 h 38"/>
                  <a:gd name="T10" fmla="*/ 13 w 20"/>
                  <a:gd name="T11" fmla="*/ 2 h 38"/>
                  <a:gd name="T12" fmla="*/ 0 w 20"/>
                  <a:gd name="T13" fmla="*/ 33 h 38"/>
                  <a:gd name="T14" fmla="*/ 2 w 20"/>
                  <a:gd name="T15" fmla="*/ 38 h 38"/>
                  <a:gd name="T16" fmla="*/ 2 w 20"/>
                  <a:gd name="T17" fmla="*/ 38 h 38"/>
                  <a:gd name="T18" fmla="*/ 2 w 20"/>
                  <a:gd name="T19" fmla="*/ 3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 h="38">
                    <a:moveTo>
                      <a:pt x="2" y="38"/>
                    </a:moveTo>
                    <a:cubicBezTo>
                      <a:pt x="3" y="38"/>
                      <a:pt x="3" y="38"/>
                      <a:pt x="3" y="38"/>
                    </a:cubicBezTo>
                    <a:cubicBezTo>
                      <a:pt x="5" y="38"/>
                      <a:pt x="6" y="37"/>
                      <a:pt x="6" y="36"/>
                    </a:cubicBezTo>
                    <a:cubicBezTo>
                      <a:pt x="19" y="4"/>
                      <a:pt x="19" y="4"/>
                      <a:pt x="19" y="4"/>
                    </a:cubicBezTo>
                    <a:cubicBezTo>
                      <a:pt x="20" y="3"/>
                      <a:pt x="19" y="1"/>
                      <a:pt x="17" y="0"/>
                    </a:cubicBezTo>
                    <a:cubicBezTo>
                      <a:pt x="16" y="0"/>
                      <a:pt x="14" y="0"/>
                      <a:pt x="13" y="2"/>
                    </a:cubicBezTo>
                    <a:cubicBezTo>
                      <a:pt x="0" y="33"/>
                      <a:pt x="0" y="33"/>
                      <a:pt x="0" y="33"/>
                    </a:cubicBezTo>
                    <a:cubicBezTo>
                      <a:pt x="0" y="35"/>
                      <a:pt x="1" y="37"/>
                      <a:pt x="2" y="38"/>
                    </a:cubicBezTo>
                    <a:close/>
                    <a:moveTo>
                      <a:pt x="2" y="38"/>
                    </a:moveTo>
                    <a:cubicBezTo>
                      <a:pt x="2" y="38"/>
                      <a:pt x="2" y="38"/>
                      <a:pt x="2" y="3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4" name="Freeform 387">
                <a:extLst>
                  <a:ext uri="{FF2B5EF4-FFF2-40B4-BE49-F238E27FC236}">
                    <a16:creationId xmlns:a16="http://schemas.microsoft.com/office/drawing/2014/main" id="{61E4C9A1-0F8D-4BDB-976B-A18466F727F4}"/>
                  </a:ext>
                </a:extLst>
              </p:cNvPr>
              <p:cNvSpPr>
                <a:spLocks noEditPoints="1"/>
              </p:cNvSpPr>
              <p:nvPr/>
            </p:nvSpPr>
            <p:spPr bwMode="auto">
              <a:xfrm>
                <a:off x="6913563" y="825500"/>
                <a:ext cx="60325" cy="80963"/>
              </a:xfrm>
              <a:custGeom>
                <a:avLst/>
                <a:gdLst>
                  <a:gd name="T0" fmla="*/ 3 w 19"/>
                  <a:gd name="T1" fmla="*/ 25 h 25"/>
                  <a:gd name="T2" fmla="*/ 15 w 19"/>
                  <a:gd name="T3" fmla="*/ 25 h 25"/>
                  <a:gd name="T4" fmla="*/ 19 w 19"/>
                  <a:gd name="T5" fmla="*/ 22 h 25"/>
                  <a:gd name="T6" fmla="*/ 19 w 19"/>
                  <a:gd name="T7" fmla="*/ 3 h 25"/>
                  <a:gd name="T8" fmla="*/ 15 w 19"/>
                  <a:gd name="T9" fmla="*/ 0 h 25"/>
                  <a:gd name="T10" fmla="*/ 12 w 19"/>
                  <a:gd name="T11" fmla="*/ 3 h 25"/>
                  <a:gd name="T12" fmla="*/ 12 w 19"/>
                  <a:gd name="T13" fmla="*/ 19 h 25"/>
                  <a:gd name="T14" fmla="*/ 3 w 19"/>
                  <a:gd name="T15" fmla="*/ 19 h 25"/>
                  <a:gd name="T16" fmla="*/ 0 w 19"/>
                  <a:gd name="T17" fmla="*/ 22 h 25"/>
                  <a:gd name="T18" fmla="*/ 3 w 19"/>
                  <a:gd name="T19" fmla="*/ 25 h 25"/>
                  <a:gd name="T20" fmla="*/ 3 w 19"/>
                  <a:gd name="T21" fmla="*/ 25 h 25"/>
                  <a:gd name="T22" fmla="*/ 3 w 19"/>
                  <a:gd name="T23"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5">
                    <a:moveTo>
                      <a:pt x="3" y="25"/>
                    </a:moveTo>
                    <a:cubicBezTo>
                      <a:pt x="15" y="25"/>
                      <a:pt x="15" y="25"/>
                      <a:pt x="15" y="25"/>
                    </a:cubicBezTo>
                    <a:cubicBezTo>
                      <a:pt x="17" y="25"/>
                      <a:pt x="19" y="24"/>
                      <a:pt x="19" y="22"/>
                    </a:cubicBezTo>
                    <a:cubicBezTo>
                      <a:pt x="19" y="3"/>
                      <a:pt x="19" y="3"/>
                      <a:pt x="19" y="3"/>
                    </a:cubicBezTo>
                    <a:cubicBezTo>
                      <a:pt x="19" y="2"/>
                      <a:pt x="17" y="0"/>
                      <a:pt x="15" y="0"/>
                    </a:cubicBezTo>
                    <a:cubicBezTo>
                      <a:pt x="14" y="0"/>
                      <a:pt x="12" y="2"/>
                      <a:pt x="12" y="3"/>
                    </a:cubicBezTo>
                    <a:cubicBezTo>
                      <a:pt x="12" y="19"/>
                      <a:pt x="12" y="19"/>
                      <a:pt x="12" y="19"/>
                    </a:cubicBezTo>
                    <a:cubicBezTo>
                      <a:pt x="3" y="19"/>
                      <a:pt x="3" y="19"/>
                      <a:pt x="3" y="19"/>
                    </a:cubicBezTo>
                    <a:cubicBezTo>
                      <a:pt x="1" y="19"/>
                      <a:pt x="0" y="20"/>
                      <a:pt x="0" y="22"/>
                    </a:cubicBezTo>
                    <a:cubicBezTo>
                      <a:pt x="0" y="24"/>
                      <a:pt x="1" y="25"/>
                      <a:pt x="3" y="25"/>
                    </a:cubicBezTo>
                    <a:close/>
                    <a:moveTo>
                      <a:pt x="3" y="25"/>
                    </a:moveTo>
                    <a:cubicBezTo>
                      <a:pt x="3" y="25"/>
                      <a:pt x="3" y="25"/>
                      <a:pt x="3" y="2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5" name="Freeform 388">
                <a:extLst>
                  <a:ext uri="{FF2B5EF4-FFF2-40B4-BE49-F238E27FC236}">
                    <a16:creationId xmlns:a16="http://schemas.microsoft.com/office/drawing/2014/main" id="{9AB7B414-DEAB-441A-ABBA-F769FC4BBAD0}"/>
                  </a:ext>
                </a:extLst>
              </p:cNvPr>
              <p:cNvSpPr>
                <a:spLocks noEditPoints="1"/>
              </p:cNvSpPr>
              <p:nvPr/>
            </p:nvSpPr>
            <p:spPr bwMode="auto">
              <a:xfrm>
                <a:off x="7013575" y="984250"/>
                <a:ext cx="19050" cy="120650"/>
              </a:xfrm>
              <a:custGeom>
                <a:avLst/>
                <a:gdLst>
                  <a:gd name="T0" fmla="*/ 0 w 6"/>
                  <a:gd name="T1" fmla="*/ 34 h 37"/>
                  <a:gd name="T2" fmla="*/ 3 w 6"/>
                  <a:gd name="T3" fmla="*/ 37 h 37"/>
                  <a:gd name="T4" fmla="*/ 6 w 6"/>
                  <a:gd name="T5" fmla="*/ 34 h 37"/>
                  <a:gd name="T6" fmla="*/ 6 w 6"/>
                  <a:gd name="T7" fmla="*/ 0 h 37"/>
                  <a:gd name="T8" fmla="*/ 0 w 6"/>
                  <a:gd name="T9" fmla="*/ 0 h 37"/>
                  <a:gd name="T10" fmla="*/ 0 w 6"/>
                  <a:gd name="T11" fmla="*/ 34 h 37"/>
                  <a:gd name="T12" fmla="*/ 0 w 6"/>
                  <a:gd name="T13" fmla="*/ 34 h 37"/>
                  <a:gd name="T14" fmla="*/ 0 w 6"/>
                  <a:gd name="T15" fmla="*/ 34 h 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37">
                    <a:moveTo>
                      <a:pt x="0" y="34"/>
                    </a:moveTo>
                    <a:cubicBezTo>
                      <a:pt x="0" y="36"/>
                      <a:pt x="1" y="37"/>
                      <a:pt x="3" y="37"/>
                    </a:cubicBezTo>
                    <a:cubicBezTo>
                      <a:pt x="5" y="37"/>
                      <a:pt x="6" y="36"/>
                      <a:pt x="6" y="34"/>
                    </a:cubicBezTo>
                    <a:cubicBezTo>
                      <a:pt x="6" y="0"/>
                      <a:pt x="6" y="0"/>
                      <a:pt x="6" y="0"/>
                    </a:cubicBezTo>
                    <a:cubicBezTo>
                      <a:pt x="0" y="0"/>
                      <a:pt x="0" y="0"/>
                      <a:pt x="0" y="0"/>
                    </a:cubicBezTo>
                    <a:lnTo>
                      <a:pt x="0" y="34"/>
                    </a:lnTo>
                    <a:close/>
                    <a:moveTo>
                      <a:pt x="0" y="34"/>
                    </a:moveTo>
                    <a:cubicBezTo>
                      <a:pt x="0" y="34"/>
                      <a:pt x="0" y="34"/>
                      <a:pt x="0" y="3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6" name="Freeform 389">
                <a:extLst>
                  <a:ext uri="{FF2B5EF4-FFF2-40B4-BE49-F238E27FC236}">
                    <a16:creationId xmlns:a16="http://schemas.microsoft.com/office/drawing/2014/main" id="{B215417C-B118-409D-917F-C573C0EEEFE0}"/>
                  </a:ext>
                </a:extLst>
              </p:cNvPr>
              <p:cNvSpPr>
                <a:spLocks noEditPoints="1"/>
              </p:cNvSpPr>
              <p:nvPr/>
            </p:nvSpPr>
            <p:spPr bwMode="auto">
              <a:xfrm>
                <a:off x="6870700" y="922338"/>
                <a:ext cx="161925" cy="42863"/>
              </a:xfrm>
              <a:custGeom>
                <a:avLst/>
                <a:gdLst>
                  <a:gd name="T0" fmla="*/ 47 w 50"/>
                  <a:gd name="T1" fmla="*/ 0 h 13"/>
                  <a:gd name="T2" fmla="*/ 3 w 50"/>
                  <a:gd name="T3" fmla="*/ 0 h 13"/>
                  <a:gd name="T4" fmla="*/ 0 w 50"/>
                  <a:gd name="T5" fmla="*/ 3 h 13"/>
                  <a:gd name="T6" fmla="*/ 0 w 50"/>
                  <a:gd name="T7" fmla="*/ 13 h 13"/>
                  <a:gd name="T8" fmla="*/ 50 w 50"/>
                  <a:gd name="T9" fmla="*/ 13 h 13"/>
                  <a:gd name="T10" fmla="*/ 50 w 50"/>
                  <a:gd name="T11" fmla="*/ 3 h 13"/>
                  <a:gd name="T12" fmla="*/ 47 w 50"/>
                  <a:gd name="T13" fmla="*/ 0 h 13"/>
                  <a:gd name="T14" fmla="*/ 47 w 50"/>
                  <a:gd name="T15" fmla="*/ 0 h 13"/>
                  <a:gd name="T16" fmla="*/ 47 w 50"/>
                  <a:gd name="T17"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3">
                    <a:moveTo>
                      <a:pt x="47" y="0"/>
                    </a:moveTo>
                    <a:cubicBezTo>
                      <a:pt x="3" y="0"/>
                      <a:pt x="3" y="0"/>
                      <a:pt x="3" y="0"/>
                    </a:cubicBezTo>
                    <a:cubicBezTo>
                      <a:pt x="2" y="0"/>
                      <a:pt x="0" y="2"/>
                      <a:pt x="0" y="3"/>
                    </a:cubicBezTo>
                    <a:cubicBezTo>
                      <a:pt x="0" y="13"/>
                      <a:pt x="0" y="13"/>
                      <a:pt x="0" y="13"/>
                    </a:cubicBezTo>
                    <a:cubicBezTo>
                      <a:pt x="50" y="13"/>
                      <a:pt x="50" y="13"/>
                      <a:pt x="50" y="13"/>
                    </a:cubicBezTo>
                    <a:cubicBezTo>
                      <a:pt x="50" y="3"/>
                      <a:pt x="50" y="3"/>
                      <a:pt x="50" y="3"/>
                    </a:cubicBezTo>
                    <a:cubicBezTo>
                      <a:pt x="50" y="2"/>
                      <a:pt x="49" y="0"/>
                      <a:pt x="47" y="0"/>
                    </a:cubicBezTo>
                    <a:close/>
                    <a:moveTo>
                      <a:pt x="47" y="0"/>
                    </a:moveTo>
                    <a:cubicBezTo>
                      <a:pt x="47" y="0"/>
                      <a:pt x="47" y="0"/>
                      <a:pt x="4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7" name="Freeform 390">
                <a:extLst>
                  <a:ext uri="{FF2B5EF4-FFF2-40B4-BE49-F238E27FC236}">
                    <a16:creationId xmlns:a16="http://schemas.microsoft.com/office/drawing/2014/main" id="{291E48D0-47F1-44B2-824D-CDEA5819835F}"/>
                  </a:ext>
                </a:extLst>
              </p:cNvPr>
              <p:cNvSpPr>
                <a:spLocks noEditPoints="1"/>
              </p:cNvSpPr>
              <p:nvPr/>
            </p:nvSpPr>
            <p:spPr bwMode="auto">
              <a:xfrm>
                <a:off x="6870700" y="984250"/>
                <a:ext cx="22225" cy="120650"/>
              </a:xfrm>
              <a:custGeom>
                <a:avLst/>
                <a:gdLst>
                  <a:gd name="T0" fmla="*/ 0 w 7"/>
                  <a:gd name="T1" fmla="*/ 34 h 37"/>
                  <a:gd name="T2" fmla="*/ 3 w 7"/>
                  <a:gd name="T3" fmla="*/ 37 h 37"/>
                  <a:gd name="T4" fmla="*/ 7 w 7"/>
                  <a:gd name="T5" fmla="*/ 34 h 37"/>
                  <a:gd name="T6" fmla="*/ 7 w 7"/>
                  <a:gd name="T7" fmla="*/ 0 h 37"/>
                  <a:gd name="T8" fmla="*/ 0 w 7"/>
                  <a:gd name="T9" fmla="*/ 0 h 37"/>
                  <a:gd name="T10" fmla="*/ 0 w 7"/>
                  <a:gd name="T11" fmla="*/ 34 h 37"/>
                  <a:gd name="T12" fmla="*/ 0 w 7"/>
                  <a:gd name="T13" fmla="*/ 34 h 37"/>
                  <a:gd name="T14" fmla="*/ 0 w 7"/>
                  <a:gd name="T15" fmla="*/ 34 h 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37">
                    <a:moveTo>
                      <a:pt x="0" y="34"/>
                    </a:moveTo>
                    <a:cubicBezTo>
                      <a:pt x="0" y="36"/>
                      <a:pt x="2" y="37"/>
                      <a:pt x="3" y="37"/>
                    </a:cubicBezTo>
                    <a:cubicBezTo>
                      <a:pt x="5" y="37"/>
                      <a:pt x="7" y="36"/>
                      <a:pt x="7" y="34"/>
                    </a:cubicBezTo>
                    <a:cubicBezTo>
                      <a:pt x="7" y="0"/>
                      <a:pt x="7" y="0"/>
                      <a:pt x="7" y="0"/>
                    </a:cubicBezTo>
                    <a:cubicBezTo>
                      <a:pt x="0" y="0"/>
                      <a:pt x="0" y="0"/>
                      <a:pt x="0" y="0"/>
                    </a:cubicBezTo>
                    <a:lnTo>
                      <a:pt x="0" y="34"/>
                    </a:lnTo>
                    <a:close/>
                    <a:moveTo>
                      <a:pt x="0" y="34"/>
                    </a:moveTo>
                    <a:cubicBezTo>
                      <a:pt x="0" y="34"/>
                      <a:pt x="0" y="34"/>
                      <a:pt x="0" y="3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grpSp>
    </p:spTree>
    <p:extLst>
      <p:ext uri="{BB962C8B-B14F-4D97-AF65-F5344CB8AC3E}">
        <p14:creationId xmlns:p14="http://schemas.microsoft.com/office/powerpoint/2010/main" val="3970342977"/>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down)">
                                      <p:cBhvr>
                                        <p:cTn id="7" dur="500"/>
                                        <p:tgtEl>
                                          <p:spTgt spid="4"/>
                                        </p:tgtEl>
                                      </p:cBhvr>
                                    </p:animEffect>
                                  </p:childTnLst>
                                </p:cTn>
                              </p:par>
                            </p:childTnLst>
                          </p:cTn>
                        </p:par>
                        <p:par>
                          <p:cTn id="8" fill="hold">
                            <p:stCondLst>
                              <p:cond delay="500"/>
                            </p:stCondLst>
                            <p:childTnLst>
                              <p:par>
                                <p:cTn id="9" presetID="22" presetClass="entr" presetSubtype="8" fill="hold" grpId="0" nodeType="afterEffect">
                                  <p:stCondLst>
                                    <p:cond delay="0"/>
                                  </p:stCondLst>
                                  <p:childTnLst>
                                    <p:set>
                                      <p:cBhvr>
                                        <p:cTn id="10" dur="1" fill="hold">
                                          <p:stCondLst>
                                            <p:cond delay="0"/>
                                          </p:stCondLst>
                                        </p:cTn>
                                        <p:tgtEl>
                                          <p:spTgt spid="2"/>
                                        </p:tgtEl>
                                        <p:attrNameLst>
                                          <p:attrName>style.visibility</p:attrName>
                                        </p:attrNameLst>
                                      </p:cBhvr>
                                      <p:to>
                                        <p:strVal val="visible"/>
                                      </p:to>
                                    </p:set>
                                    <p:animEffect transition="in" filter="wipe(left)">
                                      <p:cBhvr>
                                        <p:cTn id="11" dur="500"/>
                                        <p:tgtEl>
                                          <p:spTgt spid="2"/>
                                        </p:tgtEl>
                                      </p:cBhvr>
                                    </p:animEffect>
                                  </p:childTnLst>
                                </p:cTn>
                              </p:par>
                            </p:childTnLst>
                          </p:cTn>
                        </p:par>
                        <p:par>
                          <p:cTn id="12" fill="hold">
                            <p:stCondLst>
                              <p:cond delay="1000"/>
                            </p:stCondLst>
                            <p:childTnLst>
                              <p:par>
                                <p:cTn id="13" presetID="42" presetClass="entr" presetSubtype="0" fill="hold" grpId="0" nodeType="afterEffect">
                                  <p:stCondLst>
                                    <p:cond delay="0"/>
                                  </p:stCondLst>
                                  <p:childTnLst>
                                    <p:set>
                                      <p:cBhvr>
                                        <p:cTn id="14" dur="1" fill="hold">
                                          <p:stCondLst>
                                            <p:cond delay="0"/>
                                          </p:stCondLst>
                                        </p:cTn>
                                        <p:tgtEl>
                                          <p:spTgt spid="3"/>
                                        </p:tgtEl>
                                        <p:attrNameLst>
                                          <p:attrName>style.visibility</p:attrName>
                                        </p:attrNameLst>
                                      </p:cBhvr>
                                      <p:to>
                                        <p:strVal val="visible"/>
                                      </p:to>
                                    </p:set>
                                    <p:animEffect transition="in" filter="fade">
                                      <p:cBhvr>
                                        <p:cTn id="15" dur="500"/>
                                        <p:tgtEl>
                                          <p:spTgt spid="3"/>
                                        </p:tgtEl>
                                      </p:cBhvr>
                                    </p:animEffect>
                                    <p:anim calcmode="lin" valueType="num">
                                      <p:cBhvr>
                                        <p:cTn id="16" dur="500" fill="hold"/>
                                        <p:tgtEl>
                                          <p:spTgt spid="3"/>
                                        </p:tgtEl>
                                        <p:attrNameLst>
                                          <p:attrName>ppt_x</p:attrName>
                                        </p:attrNameLst>
                                      </p:cBhvr>
                                      <p:tavLst>
                                        <p:tav tm="0">
                                          <p:val>
                                            <p:strVal val="#ppt_x"/>
                                          </p:val>
                                        </p:tav>
                                        <p:tav tm="100000">
                                          <p:val>
                                            <p:strVal val="#ppt_x"/>
                                          </p:val>
                                        </p:tav>
                                      </p:tavLst>
                                    </p:anim>
                                    <p:anim calcmode="lin" valueType="num">
                                      <p:cBhvr>
                                        <p:cTn id="17" dur="500" fill="hold"/>
                                        <p:tgtEl>
                                          <p:spTgt spid="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p:bldLst>
  </p:timing>
</p:sld>
</file>

<file path=ppt/slides/slide6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36">
            <a:extLst>
              <a:ext uri="{FF2B5EF4-FFF2-40B4-BE49-F238E27FC236}">
                <a16:creationId xmlns:a16="http://schemas.microsoft.com/office/drawing/2014/main" id="{F8767267-E9C5-4B76-8412-22BD0DDA7A3A}"/>
              </a:ext>
            </a:extLst>
          </p:cNvPr>
          <p:cNvGrpSpPr/>
          <p:nvPr/>
        </p:nvGrpSpPr>
        <p:grpSpPr>
          <a:xfrm>
            <a:off x="781050" y="1334087"/>
            <a:ext cx="4425850" cy="5523914"/>
            <a:chOff x="1079500" y="1706583"/>
            <a:chExt cx="4127400" cy="5151418"/>
          </a:xfrm>
        </p:grpSpPr>
        <p:sp>
          <p:nvSpPr>
            <p:cNvPr id="3" name="Freeform 5">
              <a:extLst>
                <a:ext uri="{FF2B5EF4-FFF2-40B4-BE49-F238E27FC236}">
                  <a16:creationId xmlns:a16="http://schemas.microsoft.com/office/drawing/2014/main" id="{998CC5EE-CC91-4B28-85B2-46484368BFD9}"/>
                </a:ext>
              </a:extLst>
            </p:cNvPr>
            <p:cNvSpPr>
              <a:spLocks/>
            </p:cNvSpPr>
            <p:nvPr/>
          </p:nvSpPr>
          <p:spPr bwMode="auto">
            <a:xfrm>
              <a:off x="2390864" y="4172576"/>
              <a:ext cx="1619612" cy="2685425"/>
            </a:xfrm>
            <a:custGeom>
              <a:avLst/>
              <a:gdLst>
                <a:gd name="T0" fmla="*/ 0 w 130"/>
                <a:gd name="T1" fmla="*/ 3 h 216"/>
                <a:gd name="T2" fmla="*/ 44 w 130"/>
                <a:gd name="T3" fmla="*/ 61 h 216"/>
                <a:gd name="T4" fmla="*/ 36 w 130"/>
                <a:gd name="T5" fmla="*/ 216 h 216"/>
                <a:gd name="T6" fmla="*/ 93 w 130"/>
                <a:gd name="T7" fmla="*/ 216 h 216"/>
                <a:gd name="T8" fmla="*/ 83 w 130"/>
                <a:gd name="T9" fmla="*/ 63 h 216"/>
                <a:gd name="T10" fmla="*/ 130 w 130"/>
                <a:gd name="T11" fmla="*/ 2 h 216"/>
                <a:gd name="T12" fmla="*/ 64 w 130"/>
                <a:gd name="T13" fmla="*/ 52 h 216"/>
                <a:gd name="T14" fmla="*/ 0 w 130"/>
                <a:gd name="T15" fmla="*/ 3 h 2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0" h="216">
                  <a:moveTo>
                    <a:pt x="0" y="3"/>
                  </a:moveTo>
                  <a:cubicBezTo>
                    <a:pt x="0" y="3"/>
                    <a:pt x="34" y="33"/>
                    <a:pt x="44" y="61"/>
                  </a:cubicBezTo>
                  <a:cubicBezTo>
                    <a:pt x="64" y="112"/>
                    <a:pt x="52" y="171"/>
                    <a:pt x="36" y="216"/>
                  </a:cubicBezTo>
                  <a:cubicBezTo>
                    <a:pt x="93" y="216"/>
                    <a:pt x="93" y="216"/>
                    <a:pt x="93" y="216"/>
                  </a:cubicBezTo>
                  <a:cubicBezTo>
                    <a:pt x="93" y="216"/>
                    <a:pt x="64" y="121"/>
                    <a:pt x="83" y="63"/>
                  </a:cubicBezTo>
                  <a:cubicBezTo>
                    <a:pt x="101" y="9"/>
                    <a:pt x="130" y="2"/>
                    <a:pt x="130" y="2"/>
                  </a:cubicBezTo>
                  <a:cubicBezTo>
                    <a:pt x="130" y="2"/>
                    <a:pt x="98" y="0"/>
                    <a:pt x="64" y="52"/>
                  </a:cubicBezTo>
                  <a:cubicBezTo>
                    <a:pt x="64" y="52"/>
                    <a:pt x="34" y="15"/>
                    <a:pt x="0" y="3"/>
                  </a:cubicBezTo>
                  <a:close/>
                </a:path>
              </a:pathLst>
            </a:custGeom>
            <a:solidFill>
              <a:schemeClr val="tx1">
                <a:lumMod val="75000"/>
                <a:lumOff val="2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Light" panose="020F0302020204030204"/>
                <a:ea typeface="+mn-ea"/>
                <a:cs typeface="+mn-cs"/>
              </a:endParaRPr>
            </a:p>
          </p:txBody>
        </p:sp>
        <p:sp>
          <p:nvSpPr>
            <p:cNvPr id="4" name="Oval 6">
              <a:extLst>
                <a:ext uri="{FF2B5EF4-FFF2-40B4-BE49-F238E27FC236}">
                  <a16:creationId xmlns:a16="http://schemas.microsoft.com/office/drawing/2014/main" id="{6FF1F41B-D844-473C-A98A-2C7D2C801A9D}"/>
                </a:ext>
              </a:extLst>
            </p:cNvPr>
            <p:cNvSpPr>
              <a:spLocks noChangeArrowheads="1"/>
            </p:cNvSpPr>
            <p:nvPr/>
          </p:nvSpPr>
          <p:spPr bwMode="auto">
            <a:xfrm>
              <a:off x="3002136" y="4209148"/>
              <a:ext cx="344821" cy="360495"/>
            </a:xfrm>
            <a:prstGeom prst="ellipse">
              <a:avLst/>
            </a:prstGeom>
            <a:solidFill>
              <a:schemeClr val="tx1">
                <a:lumMod val="75000"/>
                <a:lumOff val="2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Light" panose="020F0302020204030204"/>
                <a:ea typeface="+mn-ea"/>
                <a:cs typeface="+mn-cs"/>
              </a:endParaRPr>
            </a:p>
          </p:txBody>
        </p:sp>
        <p:sp>
          <p:nvSpPr>
            <p:cNvPr id="5" name="Freeform 7">
              <a:extLst>
                <a:ext uri="{FF2B5EF4-FFF2-40B4-BE49-F238E27FC236}">
                  <a16:creationId xmlns:a16="http://schemas.microsoft.com/office/drawing/2014/main" id="{C9700514-CC05-4109-BEEA-69F0532AC31C}"/>
                </a:ext>
              </a:extLst>
            </p:cNvPr>
            <p:cNvSpPr>
              <a:spLocks/>
            </p:cNvSpPr>
            <p:nvPr/>
          </p:nvSpPr>
          <p:spPr bwMode="auto">
            <a:xfrm>
              <a:off x="3608186" y="4109882"/>
              <a:ext cx="1598714" cy="956095"/>
            </a:xfrm>
            <a:custGeom>
              <a:avLst/>
              <a:gdLst>
                <a:gd name="T0" fmla="*/ 60 w 128"/>
                <a:gd name="T1" fmla="*/ 7 h 77"/>
                <a:gd name="T2" fmla="*/ 128 w 128"/>
                <a:gd name="T3" fmla="*/ 16 h 77"/>
                <a:gd name="T4" fmla="*/ 64 w 128"/>
                <a:gd name="T5" fmla="*/ 60 h 77"/>
                <a:gd name="T6" fmla="*/ 0 w 128"/>
                <a:gd name="T7" fmla="*/ 54 h 77"/>
                <a:gd name="T8" fmla="*/ 60 w 128"/>
                <a:gd name="T9" fmla="*/ 7 h 77"/>
              </a:gdLst>
              <a:ahLst/>
              <a:cxnLst>
                <a:cxn ang="0">
                  <a:pos x="T0" y="T1"/>
                </a:cxn>
                <a:cxn ang="0">
                  <a:pos x="T2" y="T3"/>
                </a:cxn>
                <a:cxn ang="0">
                  <a:pos x="T4" y="T5"/>
                </a:cxn>
                <a:cxn ang="0">
                  <a:pos x="T6" y="T7"/>
                </a:cxn>
                <a:cxn ang="0">
                  <a:pos x="T8" y="T9"/>
                </a:cxn>
              </a:cxnLst>
              <a:rect l="0" t="0" r="r" b="b"/>
              <a:pathLst>
                <a:path w="128" h="77">
                  <a:moveTo>
                    <a:pt x="60" y="7"/>
                  </a:moveTo>
                  <a:cubicBezTo>
                    <a:pt x="93" y="0"/>
                    <a:pt x="128" y="16"/>
                    <a:pt x="128" y="16"/>
                  </a:cubicBezTo>
                  <a:cubicBezTo>
                    <a:pt x="110" y="23"/>
                    <a:pt x="94" y="48"/>
                    <a:pt x="64" y="60"/>
                  </a:cubicBezTo>
                  <a:cubicBezTo>
                    <a:pt x="19" y="77"/>
                    <a:pt x="0" y="54"/>
                    <a:pt x="0" y="54"/>
                  </a:cubicBezTo>
                  <a:cubicBezTo>
                    <a:pt x="5" y="40"/>
                    <a:pt x="20" y="16"/>
                    <a:pt x="60" y="7"/>
                  </a:cubicBezTo>
                  <a:close/>
                </a:path>
              </a:pathLst>
            </a:custGeom>
            <a:solidFill>
              <a:schemeClr val="accent2"/>
            </a:solidFill>
            <a:ln w="76200">
              <a:solidFill>
                <a:schemeClr val="bg1"/>
              </a:solidFill>
              <a:round/>
              <a:headEnd/>
              <a:tailEnd/>
            </a:ln>
            <a:effectLst>
              <a:outerShdw blurRad="1270000" dist="685800" dir="5400000" sx="84000" sy="84000" algn="t" rotWithShape="0">
                <a:prstClr val="black">
                  <a:alpha val="15000"/>
                </a:prstClr>
              </a:outerShdw>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6" name="Freeform 8">
              <a:extLst>
                <a:ext uri="{FF2B5EF4-FFF2-40B4-BE49-F238E27FC236}">
                  <a16:creationId xmlns:a16="http://schemas.microsoft.com/office/drawing/2014/main" id="{85728BBC-B900-4681-84E7-AB75A7C8A248}"/>
                </a:ext>
              </a:extLst>
            </p:cNvPr>
            <p:cNvSpPr>
              <a:spLocks/>
            </p:cNvSpPr>
            <p:nvPr/>
          </p:nvSpPr>
          <p:spPr bwMode="auto">
            <a:xfrm>
              <a:off x="1283258" y="4094207"/>
              <a:ext cx="1494223" cy="982217"/>
            </a:xfrm>
            <a:custGeom>
              <a:avLst/>
              <a:gdLst>
                <a:gd name="T0" fmla="*/ 41 w 120"/>
                <a:gd name="T1" fmla="*/ 56 h 79"/>
                <a:gd name="T2" fmla="*/ 0 w 120"/>
                <a:gd name="T3" fmla="*/ 0 h 79"/>
                <a:gd name="T4" fmla="*/ 76 w 120"/>
                <a:gd name="T5" fmla="*/ 17 h 79"/>
                <a:gd name="T6" fmla="*/ 116 w 120"/>
                <a:gd name="T7" fmla="*/ 67 h 79"/>
                <a:gd name="T8" fmla="*/ 41 w 120"/>
                <a:gd name="T9" fmla="*/ 56 h 79"/>
              </a:gdLst>
              <a:ahLst/>
              <a:cxnLst>
                <a:cxn ang="0">
                  <a:pos x="T0" y="T1"/>
                </a:cxn>
                <a:cxn ang="0">
                  <a:pos x="T2" y="T3"/>
                </a:cxn>
                <a:cxn ang="0">
                  <a:pos x="T4" y="T5"/>
                </a:cxn>
                <a:cxn ang="0">
                  <a:pos x="T6" y="T7"/>
                </a:cxn>
                <a:cxn ang="0">
                  <a:pos x="T8" y="T9"/>
                </a:cxn>
              </a:cxnLst>
              <a:rect l="0" t="0" r="r" b="b"/>
              <a:pathLst>
                <a:path w="120" h="79">
                  <a:moveTo>
                    <a:pt x="41" y="56"/>
                  </a:moveTo>
                  <a:cubicBezTo>
                    <a:pt x="13" y="37"/>
                    <a:pt x="0" y="0"/>
                    <a:pt x="0" y="0"/>
                  </a:cubicBezTo>
                  <a:cubicBezTo>
                    <a:pt x="17" y="9"/>
                    <a:pt x="47" y="3"/>
                    <a:pt x="76" y="17"/>
                  </a:cubicBezTo>
                  <a:cubicBezTo>
                    <a:pt x="120" y="38"/>
                    <a:pt x="116" y="67"/>
                    <a:pt x="116" y="67"/>
                  </a:cubicBezTo>
                  <a:cubicBezTo>
                    <a:pt x="102" y="73"/>
                    <a:pt x="74" y="79"/>
                    <a:pt x="41" y="56"/>
                  </a:cubicBezTo>
                  <a:close/>
                </a:path>
              </a:pathLst>
            </a:custGeom>
            <a:solidFill>
              <a:schemeClr val="accent3"/>
            </a:solidFill>
            <a:ln w="76200">
              <a:solidFill>
                <a:schemeClr val="bg1"/>
              </a:solidFill>
              <a:round/>
              <a:headEnd/>
              <a:tailEnd/>
            </a:ln>
            <a:effectLst>
              <a:outerShdw blurRad="1270000" dist="685800" dir="5400000" sx="84000" sy="84000" algn="t" rotWithShape="0">
                <a:prstClr val="black">
                  <a:alpha val="15000"/>
                </a:prstClr>
              </a:outerShdw>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7" name="Freeform 9">
              <a:extLst>
                <a:ext uri="{FF2B5EF4-FFF2-40B4-BE49-F238E27FC236}">
                  <a16:creationId xmlns:a16="http://schemas.microsoft.com/office/drawing/2014/main" id="{EB1E71E3-7203-45D1-9421-D8EB9CB46940}"/>
                </a:ext>
              </a:extLst>
            </p:cNvPr>
            <p:cNvSpPr>
              <a:spLocks/>
            </p:cNvSpPr>
            <p:nvPr/>
          </p:nvSpPr>
          <p:spPr bwMode="auto">
            <a:xfrm>
              <a:off x="4219458" y="3399341"/>
              <a:ext cx="971767" cy="731439"/>
            </a:xfrm>
            <a:custGeom>
              <a:avLst/>
              <a:gdLst>
                <a:gd name="T0" fmla="*/ 33 w 78"/>
                <a:gd name="T1" fmla="*/ 9 h 59"/>
                <a:gd name="T2" fmla="*/ 78 w 78"/>
                <a:gd name="T3" fmla="*/ 7 h 59"/>
                <a:gd name="T4" fmla="*/ 42 w 78"/>
                <a:gd name="T5" fmla="*/ 43 h 59"/>
                <a:gd name="T6" fmla="*/ 0 w 78"/>
                <a:gd name="T7" fmla="*/ 47 h 59"/>
                <a:gd name="T8" fmla="*/ 33 w 78"/>
                <a:gd name="T9" fmla="*/ 9 h 59"/>
              </a:gdLst>
              <a:ahLst/>
              <a:cxnLst>
                <a:cxn ang="0">
                  <a:pos x="T0" y="T1"/>
                </a:cxn>
                <a:cxn ang="0">
                  <a:pos x="T2" y="T3"/>
                </a:cxn>
                <a:cxn ang="0">
                  <a:pos x="T4" y="T5"/>
                </a:cxn>
                <a:cxn ang="0">
                  <a:pos x="T6" y="T7"/>
                </a:cxn>
                <a:cxn ang="0">
                  <a:pos x="T8" y="T9"/>
                </a:cxn>
              </a:cxnLst>
              <a:rect l="0" t="0" r="r" b="b"/>
              <a:pathLst>
                <a:path w="78" h="59">
                  <a:moveTo>
                    <a:pt x="33" y="9"/>
                  </a:moveTo>
                  <a:cubicBezTo>
                    <a:pt x="53" y="0"/>
                    <a:pt x="78" y="7"/>
                    <a:pt x="78" y="7"/>
                  </a:cubicBezTo>
                  <a:cubicBezTo>
                    <a:pt x="67" y="13"/>
                    <a:pt x="60" y="31"/>
                    <a:pt x="42" y="43"/>
                  </a:cubicBezTo>
                  <a:cubicBezTo>
                    <a:pt x="14" y="59"/>
                    <a:pt x="0" y="47"/>
                    <a:pt x="0" y="47"/>
                  </a:cubicBezTo>
                  <a:cubicBezTo>
                    <a:pt x="1" y="37"/>
                    <a:pt x="8" y="20"/>
                    <a:pt x="33" y="9"/>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等线 Light" panose="020F0302020204030204"/>
                <a:ea typeface="+mn-ea"/>
                <a:cs typeface="+mn-cs"/>
              </a:endParaRPr>
            </a:p>
          </p:txBody>
        </p:sp>
        <p:sp>
          <p:nvSpPr>
            <p:cNvPr id="8" name="Freeform 10">
              <a:extLst>
                <a:ext uri="{FF2B5EF4-FFF2-40B4-BE49-F238E27FC236}">
                  <a16:creationId xmlns:a16="http://schemas.microsoft.com/office/drawing/2014/main" id="{0DA94992-6758-412A-B269-E7B5B42AEA8D}"/>
                </a:ext>
              </a:extLst>
            </p:cNvPr>
            <p:cNvSpPr>
              <a:spLocks/>
            </p:cNvSpPr>
            <p:nvPr/>
          </p:nvSpPr>
          <p:spPr bwMode="auto">
            <a:xfrm>
              <a:off x="1079500" y="3362769"/>
              <a:ext cx="961318" cy="710541"/>
            </a:xfrm>
            <a:custGeom>
              <a:avLst/>
              <a:gdLst>
                <a:gd name="T0" fmla="*/ 23 w 77"/>
                <a:gd name="T1" fmla="*/ 40 h 57"/>
                <a:gd name="T2" fmla="*/ 0 w 77"/>
                <a:gd name="T3" fmla="*/ 0 h 57"/>
                <a:gd name="T4" fmla="*/ 49 w 77"/>
                <a:gd name="T5" fmla="*/ 16 h 57"/>
                <a:gd name="T6" fmla="*/ 72 w 77"/>
                <a:gd name="T7" fmla="*/ 52 h 57"/>
                <a:gd name="T8" fmla="*/ 23 w 77"/>
                <a:gd name="T9" fmla="*/ 40 h 57"/>
              </a:gdLst>
              <a:ahLst/>
              <a:cxnLst>
                <a:cxn ang="0">
                  <a:pos x="T0" y="T1"/>
                </a:cxn>
                <a:cxn ang="0">
                  <a:pos x="T2" y="T3"/>
                </a:cxn>
                <a:cxn ang="0">
                  <a:pos x="T4" y="T5"/>
                </a:cxn>
                <a:cxn ang="0">
                  <a:pos x="T6" y="T7"/>
                </a:cxn>
                <a:cxn ang="0">
                  <a:pos x="T8" y="T9"/>
                </a:cxn>
              </a:cxnLst>
              <a:rect l="0" t="0" r="r" b="b"/>
              <a:pathLst>
                <a:path w="77" h="57">
                  <a:moveTo>
                    <a:pt x="23" y="40"/>
                  </a:moveTo>
                  <a:cubicBezTo>
                    <a:pt x="6" y="25"/>
                    <a:pt x="0" y="0"/>
                    <a:pt x="0" y="0"/>
                  </a:cubicBezTo>
                  <a:cubicBezTo>
                    <a:pt x="11" y="7"/>
                    <a:pt x="31" y="5"/>
                    <a:pt x="49" y="16"/>
                  </a:cubicBezTo>
                  <a:cubicBezTo>
                    <a:pt x="77" y="33"/>
                    <a:pt x="72" y="52"/>
                    <a:pt x="72" y="52"/>
                  </a:cubicBezTo>
                  <a:cubicBezTo>
                    <a:pt x="63" y="55"/>
                    <a:pt x="44" y="57"/>
                    <a:pt x="23" y="40"/>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Light" panose="020F0302020204030204"/>
                <a:ea typeface="+mn-ea"/>
                <a:cs typeface="+mn-cs"/>
              </a:endParaRPr>
            </a:p>
          </p:txBody>
        </p:sp>
        <p:sp>
          <p:nvSpPr>
            <p:cNvPr id="9" name="Freeform 11">
              <a:extLst>
                <a:ext uri="{FF2B5EF4-FFF2-40B4-BE49-F238E27FC236}">
                  <a16:creationId xmlns:a16="http://schemas.microsoft.com/office/drawing/2014/main" id="{C496D6DE-0A00-4D45-9B07-BE5A9299D385}"/>
                </a:ext>
              </a:extLst>
            </p:cNvPr>
            <p:cNvSpPr>
              <a:spLocks/>
            </p:cNvSpPr>
            <p:nvPr/>
          </p:nvSpPr>
          <p:spPr bwMode="auto">
            <a:xfrm>
              <a:off x="2751358" y="1732706"/>
              <a:ext cx="360495" cy="783684"/>
            </a:xfrm>
            <a:custGeom>
              <a:avLst/>
              <a:gdLst>
                <a:gd name="T0" fmla="*/ 1 w 29"/>
                <a:gd name="T1" fmla="*/ 31 h 63"/>
                <a:gd name="T2" fmla="*/ 11 w 29"/>
                <a:gd name="T3" fmla="*/ 0 h 63"/>
                <a:gd name="T4" fmla="*/ 25 w 29"/>
                <a:gd name="T5" fmla="*/ 34 h 63"/>
                <a:gd name="T6" fmla="*/ 17 w 29"/>
                <a:gd name="T7" fmla="*/ 63 h 63"/>
                <a:gd name="T8" fmla="*/ 1 w 29"/>
                <a:gd name="T9" fmla="*/ 31 h 63"/>
              </a:gdLst>
              <a:ahLst/>
              <a:cxnLst>
                <a:cxn ang="0">
                  <a:pos x="T0" y="T1"/>
                </a:cxn>
                <a:cxn ang="0">
                  <a:pos x="T2" y="T3"/>
                </a:cxn>
                <a:cxn ang="0">
                  <a:pos x="T4" y="T5"/>
                </a:cxn>
                <a:cxn ang="0">
                  <a:pos x="T6" y="T7"/>
                </a:cxn>
                <a:cxn ang="0">
                  <a:pos x="T8" y="T9"/>
                </a:cxn>
              </a:cxnLst>
              <a:rect l="0" t="0" r="r" b="b"/>
              <a:pathLst>
                <a:path w="29" h="63">
                  <a:moveTo>
                    <a:pt x="1" y="31"/>
                  </a:moveTo>
                  <a:cubicBezTo>
                    <a:pt x="0" y="15"/>
                    <a:pt x="11" y="0"/>
                    <a:pt x="11" y="0"/>
                  </a:cubicBezTo>
                  <a:cubicBezTo>
                    <a:pt x="12" y="9"/>
                    <a:pt x="23" y="19"/>
                    <a:pt x="25" y="34"/>
                  </a:cubicBezTo>
                  <a:cubicBezTo>
                    <a:pt x="29" y="57"/>
                    <a:pt x="17" y="63"/>
                    <a:pt x="17" y="63"/>
                  </a:cubicBezTo>
                  <a:cubicBezTo>
                    <a:pt x="11" y="60"/>
                    <a:pt x="1" y="51"/>
                    <a:pt x="1" y="31"/>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Light" panose="020F0302020204030204"/>
                <a:ea typeface="+mn-ea"/>
                <a:cs typeface="+mn-cs"/>
              </a:endParaRPr>
            </a:p>
          </p:txBody>
        </p:sp>
        <p:sp>
          <p:nvSpPr>
            <p:cNvPr id="10" name="Freeform 12">
              <a:extLst>
                <a:ext uri="{FF2B5EF4-FFF2-40B4-BE49-F238E27FC236}">
                  <a16:creationId xmlns:a16="http://schemas.microsoft.com/office/drawing/2014/main" id="{131D8157-646A-4B13-8BEC-4ABD55019DE6}"/>
                </a:ext>
              </a:extLst>
            </p:cNvPr>
            <p:cNvSpPr>
              <a:spLocks/>
            </p:cNvSpPr>
            <p:nvPr/>
          </p:nvSpPr>
          <p:spPr bwMode="auto">
            <a:xfrm>
              <a:off x="1904980" y="2229040"/>
              <a:ext cx="308249" cy="475435"/>
            </a:xfrm>
            <a:custGeom>
              <a:avLst/>
              <a:gdLst>
                <a:gd name="T0" fmla="*/ 3 w 25"/>
                <a:gd name="T1" fmla="*/ 21 h 38"/>
                <a:gd name="T2" fmla="*/ 4 w 25"/>
                <a:gd name="T3" fmla="*/ 0 h 38"/>
                <a:gd name="T4" fmla="*/ 19 w 25"/>
                <a:gd name="T5" fmla="*/ 19 h 38"/>
                <a:gd name="T6" fmla="*/ 19 w 25"/>
                <a:gd name="T7" fmla="*/ 38 h 38"/>
                <a:gd name="T8" fmla="*/ 3 w 25"/>
                <a:gd name="T9" fmla="*/ 21 h 38"/>
              </a:gdLst>
              <a:ahLst/>
              <a:cxnLst>
                <a:cxn ang="0">
                  <a:pos x="T0" y="T1"/>
                </a:cxn>
                <a:cxn ang="0">
                  <a:pos x="T2" y="T3"/>
                </a:cxn>
                <a:cxn ang="0">
                  <a:pos x="T4" y="T5"/>
                </a:cxn>
                <a:cxn ang="0">
                  <a:pos x="T6" y="T7"/>
                </a:cxn>
                <a:cxn ang="0">
                  <a:pos x="T8" y="T9"/>
                </a:cxn>
              </a:cxnLst>
              <a:rect l="0" t="0" r="r" b="b"/>
              <a:pathLst>
                <a:path w="25" h="38">
                  <a:moveTo>
                    <a:pt x="3" y="21"/>
                  </a:moveTo>
                  <a:cubicBezTo>
                    <a:pt x="0" y="11"/>
                    <a:pt x="4" y="0"/>
                    <a:pt x="4" y="0"/>
                  </a:cubicBezTo>
                  <a:cubicBezTo>
                    <a:pt x="7" y="5"/>
                    <a:pt x="15" y="10"/>
                    <a:pt x="19" y="19"/>
                  </a:cubicBezTo>
                  <a:cubicBezTo>
                    <a:pt x="25" y="32"/>
                    <a:pt x="19" y="38"/>
                    <a:pt x="19" y="38"/>
                  </a:cubicBezTo>
                  <a:cubicBezTo>
                    <a:pt x="14" y="37"/>
                    <a:pt x="7" y="33"/>
                    <a:pt x="3" y="21"/>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Light" panose="020F0302020204030204"/>
                <a:ea typeface="+mn-ea"/>
                <a:cs typeface="+mn-cs"/>
              </a:endParaRPr>
            </a:p>
          </p:txBody>
        </p:sp>
        <p:sp>
          <p:nvSpPr>
            <p:cNvPr id="11" name="Freeform 13">
              <a:extLst>
                <a:ext uri="{FF2B5EF4-FFF2-40B4-BE49-F238E27FC236}">
                  <a16:creationId xmlns:a16="http://schemas.microsoft.com/office/drawing/2014/main" id="{CCEE9A1F-2F5D-4C61-A736-82E3285C4936}"/>
                </a:ext>
              </a:extLst>
            </p:cNvPr>
            <p:cNvSpPr>
              <a:spLocks/>
            </p:cNvSpPr>
            <p:nvPr/>
          </p:nvSpPr>
          <p:spPr bwMode="auto">
            <a:xfrm>
              <a:off x="4271704" y="2255162"/>
              <a:ext cx="344821" cy="423190"/>
            </a:xfrm>
            <a:custGeom>
              <a:avLst/>
              <a:gdLst>
                <a:gd name="T0" fmla="*/ 9 w 28"/>
                <a:gd name="T1" fmla="*/ 9 h 34"/>
                <a:gd name="T2" fmla="*/ 28 w 28"/>
                <a:gd name="T3" fmla="*/ 0 h 34"/>
                <a:gd name="T4" fmla="*/ 19 w 28"/>
                <a:gd name="T5" fmla="*/ 22 h 34"/>
                <a:gd name="T6" fmla="*/ 2 w 28"/>
                <a:gd name="T7" fmla="*/ 31 h 34"/>
                <a:gd name="T8" fmla="*/ 9 w 28"/>
                <a:gd name="T9" fmla="*/ 9 h 34"/>
              </a:gdLst>
              <a:ahLst/>
              <a:cxnLst>
                <a:cxn ang="0">
                  <a:pos x="T0" y="T1"/>
                </a:cxn>
                <a:cxn ang="0">
                  <a:pos x="T2" y="T3"/>
                </a:cxn>
                <a:cxn ang="0">
                  <a:pos x="T4" y="T5"/>
                </a:cxn>
                <a:cxn ang="0">
                  <a:pos x="T6" y="T7"/>
                </a:cxn>
                <a:cxn ang="0">
                  <a:pos x="T8" y="T9"/>
                </a:cxn>
              </a:cxnLst>
              <a:rect l="0" t="0" r="r" b="b"/>
              <a:pathLst>
                <a:path w="28" h="34">
                  <a:moveTo>
                    <a:pt x="9" y="9"/>
                  </a:moveTo>
                  <a:cubicBezTo>
                    <a:pt x="17" y="2"/>
                    <a:pt x="28" y="0"/>
                    <a:pt x="28" y="0"/>
                  </a:cubicBezTo>
                  <a:cubicBezTo>
                    <a:pt x="25" y="5"/>
                    <a:pt x="25" y="14"/>
                    <a:pt x="19" y="22"/>
                  </a:cubicBezTo>
                  <a:cubicBezTo>
                    <a:pt x="10" y="34"/>
                    <a:pt x="2" y="31"/>
                    <a:pt x="2" y="31"/>
                  </a:cubicBezTo>
                  <a:cubicBezTo>
                    <a:pt x="1" y="27"/>
                    <a:pt x="0" y="18"/>
                    <a:pt x="9" y="9"/>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Light" panose="020F0302020204030204"/>
                <a:ea typeface="+mn-ea"/>
                <a:cs typeface="+mn-cs"/>
              </a:endParaRPr>
            </a:p>
          </p:txBody>
        </p:sp>
        <p:sp>
          <p:nvSpPr>
            <p:cNvPr id="12" name="Freeform 14">
              <a:extLst>
                <a:ext uri="{FF2B5EF4-FFF2-40B4-BE49-F238E27FC236}">
                  <a16:creationId xmlns:a16="http://schemas.microsoft.com/office/drawing/2014/main" id="{AE90023D-95DA-48C1-B2DA-54F0C215F9B4}"/>
                </a:ext>
              </a:extLst>
            </p:cNvPr>
            <p:cNvSpPr>
              <a:spLocks/>
            </p:cNvSpPr>
            <p:nvPr/>
          </p:nvSpPr>
          <p:spPr bwMode="auto">
            <a:xfrm>
              <a:off x="3399204" y="1706583"/>
              <a:ext cx="423190" cy="736663"/>
            </a:xfrm>
            <a:custGeom>
              <a:avLst/>
              <a:gdLst>
                <a:gd name="T0" fmla="*/ 8 w 34"/>
                <a:gd name="T1" fmla="*/ 23 h 59"/>
                <a:gd name="T2" fmla="*/ 32 w 34"/>
                <a:gd name="T3" fmla="*/ 0 h 59"/>
                <a:gd name="T4" fmla="*/ 29 w 34"/>
                <a:gd name="T5" fmla="*/ 37 h 59"/>
                <a:gd name="T6" fmla="*/ 8 w 34"/>
                <a:gd name="T7" fmla="*/ 59 h 59"/>
                <a:gd name="T8" fmla="*/ 8 w 34"/>
                <a:gd name="T9" fmla="*/ 23 h 59"/>
              </a:gdLst>
              <a:ahLst/>
              <a:cxnLst>
                <a:cxn ang="0">
                  <a:pos x="T0" y="T1"/>
                </a:cxn>
                <a:cxn ang="0">
                  <a:pos x="T2" y="T3"/>
                </a:cxn>
                <a:cxn ang="0">
                  <a:pos x="T4" y="T5"/>
                </a:cxn>
                <a:cxn ang="0">
                  <a:pos x="T6" y="T7"/>
                </a:cxn>
                <a:cxn ang="0">
                  <a:pos x="T8" y="T9"/>
                </a:cxn>
              </a:cxnLst>
              <a:rect l="0" t="0" r="r" b="b"/>
              <a:pathLst>
                <a:path w="34" h="59">
                  <a:moveTo>
                    <a:pt x="8" y="23"/>
                  </a:moveTo>
                  <a:cubicBezTo>
                    <a:pt x="15" y="8"/>
                    <a:pt x="32" y="0"/>
                    <a:pt x="32" y="0"/>
                  </a:cubicBezTo>
                  <a:cubicBezTo>
                    <a:pt x="29" y="8"/>
                    <a:pt x="34" y="22"/>
                    <a:pt x="29" y="37"/>
                  </a:cubicBezTo>
                  <a:cubicBezTo>
                    <a:pt x="22" y="58"/>
                    <a:pt x="8" y="59"/>
                    <a:pt x="8" y="59"/>
                  </a:cubicBezTo>
                  <a:cubicBezTo>
                    <a:pt x="4" y="53"/>
                    <a:pt x="0" y="40"/>
                    <a:pt x="8" y="23"/>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Light" panose="020F0302020204030204"/>
                <a:ea typeface="+mn-ea"/>
                <a:cs typeface="+mn-cs"/>
              </a:endParaRPr>
            </a:p>
          </p:txBody>
        </p:sp>
        <p:sp>
          <p:nvSpPr>
            <p:cNvPr id="13" name="Freeform 15">
              <a:extLst>
                <a:ext uri="{FF2B5EF4-FFF2-40B4-BE49-F238E27FC236}">
                  <a16:creationId xmlns:a16="http://schemas.microsoft.com/office/drawing/2014/main" id="{79881037-2D7E-4FE4-A955-882EC2E53A68}"/>
                </a:ext>
              </a:extLst>
            </p:cNvPr>
            <p:cNvSpPr>
              <a:spLocks/>
            </p:cNvSpPr>
            <p:nvPr/>
          </p:nvSpPr>
          <p:spPr bwMode="auto">
            <a:xfrm>
              <a:off x="1779590" y="2714924"/>
              <a:ext cx="1133729" cy="1468102"/>
            </a:xfrm>
            <a:custGeom>
              <a:avLst/>
              <a:gdLst>
                <a:gd name="T0" fmla="*/ 14 w 91"/>
                <a:gd name="T1" fmla="*/ 69 h 118"/>
                <a:gd name="T2" fmla="*/ 9 w 91"/>
                <a:gd name="T3" fmla="*/ 0 h 118"/>
                <a:gd name="T4" fmla="*/ 65 w 91"/>
                <a:gd name="T5" fmla="*/ 54 h 118"/>
                <a:gd name="T6" fmla="*/ 72 w 91"/>
                <a:gd name="T7" fmla="*/ 118 h 118"/>
                <a:gd name="T8" fmla="*/ 14 w 91"/>
                <a:gd name="T9" fmla="*/ 69 h 118"/>
              </a:gdLst>
              <a:ahLst/>
              <a:cxnLst>
                <a:cxn ang="0">
                  <a:pos x="T0" y="T1"/>
                </a:cxn>
                <a:cxn ang="0">
                  <a:pos x="T2" y="T3"/>
                </a:cxn>
                <a:cxn ang="0">
                  <a:pos x="T4" y="T5"/>
                </a:cxn>
                <a:cxn ang="0">
                  <a:pos x="T6" y="T7"/>
                </a:cxn>
                <a:cxn ang="0">
                  <a:pos x="T8" y="T9"/>
                </a:cxn>
              </a:cxnLst>
              <a:rect l="0" t="0" r="r" b="b"/>
              <a:pathLst>
                <a:path w="91" h="118">
                  <a:moveTo>
                    <a:pt x="14" y="69"/>
                  </a:moveTo>
                  <a:cubicBezTo>
                    <a:pt x="0" y="38"/>
                    <a:pt x="9" y="0"/>
                    <a:pt x="9" y="0"/>
                  </a:cubicBezTo>
                  <a:cubicBezTo>
                    <a:pt x="19" y="16"/>
                    <a:pt x="47" y="27"/>
                    <a:pt x="65" y="54"/>
                  </a:cubicBezTo>
                  <a:cubicBezTo>
                    <a:pt x="91" y="95"/>
                    <a:pt x="72" y="118"/>
                    <a:pt x="72" y="118"/>
                  </a:cubicBezTo>
                  <a:cubicBezTo>
                    <a:pt x="58" y="116"/>
                    <a:pt x="31" y="106"/>
                    <a:pt x="14" y="69"/>
                  </a:cubicBezTo>
                  <a:close/>
                </a:path>
              </a:pathLst>
            </a:custGeom>
            <a:solidFill>
              <a:schemeClr val="accent1"/>
            </a:solidFill>
            <a:ln w="76200">
              <a:solidFill>
                <a:schemeClr val="bg1"/>
              </a:solidFill>
              <a:round/>
              <a:headEnd/>
              <a:tailEnd/>
            </a:ln>
            <a:effectLst>
              <a:outerShdw blurRad="1270000" dist="685800" dir="5400000" sx="84000" sy="84000" algn="t" rotWithShape="0">
                <a:prstClr val="black">
                  <a:alpha val="15000"/>
                </a:prstClr>
              </a:outerShdw>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4" name="Freeform 16">
              <a:extLst>
                <a:ext uri="{FF2B5EF4-FFF2-40B4-BE49-F238E27FC236}">
                  <a16:creationId xmlns:a16="http://schemas.microsoft.com/office/drawing/2014/main" id="{04782047-7C19-4177-888E-F4787105FD96}"/>
                </a:ext>
              </a:extLst>
            </p:cNvPr>
            <p:cNvSpPr>
              <a:spLocks/>
            </p:cNvSpPr>
            <p:nvPr/>
          </p:nvSpPr>
          <p:spPr bwMode="auto">
            <a:xfrm>
              <a:off x="2265475" y="1967811"/>
              <a:ext cx="585150" cy="1118056"/>
            </a:xfrm>
            <a:custGeom>
              <a:avLst/>
              <a:gdLst>
                <a:gd name="T0" fmla="*/ 3 w 47"/>
                <a:gd name="T1" fmla="*/ 46 h 90"/>
                <a:gd name="T2" fmla="*/ 14 w 47"/>
                <a:gd name="T3" fmla="*/ 0 h 90"/>
                <a:gd name="T4" fmla="*/ 39 w 47"/>
                <a:gd name="T5" fmla="*/ 47 h 90"/>
                <a:gd name="T6" fmla="*/ 30 w 47"/>
                <a:gd name="T7" fmla="*/ 90 h 90"/>
                <a:gd name="T8" fmla="*/ 3 w 47"/>
                <a:gd name="T9" fmla="*/ 46 h 90"/>
              </a:gdLst>
              <a:ahLst/>
              <a:cxnLst>
                <a:cxn ang="0">
                  <a:pos x="T0" y="T1"/>
                </a:cxn>
                <a:cxn ang="0">
                  <a:pos x="T2" y="T3"/>
                </a:cxn>
                <a:cxn ang="0">
                  <a:pos x="T4" y="T5"/>
                </a:cxn>
                <a:cxn ang="0">
                  <a:pos x="T6" y="T7"/>
                </a:cxn>
                <a:cxn ang="0">
                  <a:pos x="T8" y="T9"/>
                </a:cxn>
              </a:cxnLst>
              <a:rect l="0" t="0" r="r" b="b"/>
              <a:pathLst>
                <a:path w="47" h="90">
                  <a:moveTo>
                    <a:pt x="3" y="46"/>
                  </a:moveTo>
                  <a:cubicBezTo>
                    <a:pt x="0" y="23"/>
                    <a:pt x="14" y="0"/>
                    <a:pt x="14" y="0"/>
                  </a:cubicBezTo>
                  <a:cubicBezTo>
                    <a:pt x="17" y="13"/>
                    <a:pt x="33" y="25"/>
                    <a:pt x="39" y="47"/>
                  </a:cubicBezTo>
                  <a:cubicBezTo>
                    <a:pt x="47" y="79"/>
                    <a:pt x="30" y="90"/>
                    <a:pt x="30" y="90"/>
                  </a:cubicBezTo>
                  <a:cubicBezTo>
                    <a:pt x="21" y="85"/>
                    <a:pt x="6" y="73"/>
                    <a:pt x="3" y="46"/>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Light" panose="020F0302020204030204"/>
                <a:ea typeface="+mn-ea"/>
                <a:cs typeface="+mn-cs"/>
              </a:endParaRPr>
            </a:p>
          </p:txBody>
        </p:sp>
        <p:sp>
          <p:nvSpPr>
            <p:cNvPr id="15" name="Freeform 17">
              <a:extLst>
                <a:ext uri="{FF2B5EF4-FFF2-40B4-BE49-F238E27FC236}">
                  <a16:creationId xmlns:a16="http://schemas.microsoft.com/office/drawing/2014/main" id="{485AB6A5-66FD-4C65-9AE6-6FD3E5B5FCD8}"/>
                </a:ext>
              </a:extLst>
            </p:cNvPr>
            <p:cNvSpPr>
              <a:spLocks/>
            </p:cNvSpPr>
            <p:nvPr/>
          </p:nvSpPr>
          <p:spPr bwMode="auto">
            <a:xfrm>
              <a:off x="3587288" y="2004383"/>
              <a:ext cx="694866" cy="997892"/>
            </a:xfrm>
            <a:custGeom>
              <a:avLst/>
              <a:gdLst>
                <a:gd name="T0" fmla="*/ 17 w 56"/>
                <a:gd name="T1" fmla="*/ 26 h 80"/>
                <a:gd name="T2" fmla="*/ 56 w 56"/>
                <a:gd name="T3" fmla="*/ 0 h 80"/>
                <a:gd name="T4" fmla="*/ 42 w 56"/>
                <a:gd name="T5" fmla="*/ 51 h 80"/>
                <a:gd name="T6" fmla="*/ 7 w 56"/>
                <a:gd name="T7" fmla="*/ 76 h 80"/>
                <a:gd name="T8" fmla="*/ 17 w 56"/>
                <a:gd name="T9" fmla="*/ 26 h 80"/>
              </a:gdLst>
              <a:ahLst/>
              <a:cxnLst>
                <a:cxn ang="0">
                  <a:pos x="T0" y="T1"/>
                </a:cxn>
                <a:cxn ang="0">
                  <a:pos x="T2" y="T3"/>
                </a:cxn>
                <a:cxn ang="0">
                  <a:pos x="T4" y="T5"/>
                </a:cxn>
                <a:cxn ang="0">
                  <a:pos x="T6" y="T7"/>
                </a:cxn>
                <a:cxn ang="0">
                  <a:pos x="T8" y="T9"/>
                </a:cxn>
              </a:cxnLst>
              <a:rect l="0" t="0" r="r" b="b"/>
              <a:pathLst>
                <a:path w="56" h="80">
                  <a:moveTo>
                    <a:pt x="17" y="26"/>
                  </a:moveTo>
                  <a:cubicBezTo>
                    <a:pt x="31" y="7"/>
                    <a:pt x="56" y="0"/>
                    <a:pt x="56" y="0"/>
                  </a:cubicBezTo>
                  <a:cubicBezTo>
                    <a:pt x="50" y="11"/>
                    <a:pt x="53" y="31"/>
                    <a:pt x="42" y="51"/>
                  </a:cubicBezTo>
                  <a:cubicBezTo>
                    <a:pt x="27" y="80"/>
                    <a:pt x="7" y="76"/>
                    <a:pt x="7" y="76"/>
                  </a:cubicBezTo>
                  <a:cubicBezTo>
                    <a:pt x="4" y="67"/>
                    <a:pt x="0" y="48"/>
                    <a:pt x="17" y="26"/>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Light" panose="020F0302020204030204"/>
                <a:ea typeface="+mn-ea"/>
                <a:cs typeface="+mn-cs"/>
              </a:endParaRPr>
            </a:p>
          </p:txBody>
        </p:sp>
        <p:sp>
          <p:nvSpPr>
            <p:cNvPr id="16" name="Freeform 18">
              <a:extLst>
                <a:ext uri="{FF2B5EF4-FFF2-40B4-BE49-F238E27FC236}">
                  <a16:creationId xmlns:a16="http://schemas.microsoft.com/office/drawing/2014/main" id="{3F17F64B-3E34-4EE9-A749-CFC292DF4870}"/>
                </a:ext>
              </a:extLst>
            </p:cNvPr>
            <p:cNvSpPr>
              <a:spLocks/>
            </p:cNvSpPr>
            <p:nvPr/>
          </p:nvSpPr>
          <p:spPr bwMode="auto">
            <a:xfrm>
              <a:off x="3508919" y="2725373"/>
              <a:ext cx="1060585" cy="1431530"/>
            </a:xfrm>
            <a:custGeom>
              <a:avLst/>
              <a:gdLst>
                <a:gd name="T0" fmla="*/ 25 w 85"/>
                <a:gd name="T1" fmla="*/ 35 h 115"/>
                <a:gd name="T2" fmla="*/ 85 w 85"/>
                <a:gd name="T3" fmla="*/ 0 h 115"/>
                <a:gd name="T4" fmla="*/ 61 w 85"/>
                <a:gd name="T5" fmla="*/ 74 h 115"/>
                <a:gd name="T6" fmla="*/ 8 w 85"/>
                <a:gd name="T7" fmla="*/ 109 h 115"/>
                <a:gd name="T8" fmla="*/ 25 w 85"/>
                <a:gd name="T9" fmla="*/ 35 h 115"/>
              </a:gdLst>
              <a:ahLst/>
              <a:cxnLst>
                <a:cxn ang="0">
                  <a:pos x="T0" y="T1"/>
                </a:cxn>
                <a:cxn ang="0">
                  <a:pos x="T2" y="T3"/>
                </a:cxn>
                <a:cxn ang="0">
                  <a:pos x="T4" y="T5"/>
                </a:cxn>
                <a:cxn ang="0">
                  <a:pos x="T6" y="T7"/>
                </a:cxn>
                <a:cxn ang="0">
                  <a:pos x="T8" y="T9"/>
                </a:cxn>
              </a:cxnLst>
              <a:rect l="0" t="0" r="r" b="b"/>
              <a:pathLst>
                <a:path w="85" h="115">
                  <a:moveTo>
                    <a:pt x="25" y="35"/>
                  </a:moveTo>
                  <a:cubicBezTo>
                    <a:pt x="47" y="9"/>
                    <a:pt x="85" y="0"/>
                    <a:pt x="85" y="0"/>
                  </a:cubicBezTo>
                  <a:cubicBezTo>
                    <a:pt x="75" y="16"/>
                    <a:pt x="78" y="46"/>
                    <a:pt x="61" y="74"/>
                  </a:cubicBezTo>
                  <a:cubicBezTo>
                    <a:pt x="36" y="115"/>
                    <a:pt x="8" y="109"/>
                    <a:pt x="8" y="109"/>
                  </a:cubicBezTo>
                  <a:cubicBezTo>
                    <a:pt x="3" y="95"/>
                    <a:pt x="0" y="67"/>
                    <a:pt x="25" y="35"/>
                  </a:cubicBezTo>
                  <a:close/>
                </a:path>
              </a:pathLst>
            </a:custGeom>
            <a:solidFill>
              <a:schemeClr val="accent5"/>
            </a:solidFill>
            <a:ln w="76200">
              <a:solidFill>
                <a:schemeClr val="bg1"/>
              </a:solidFill>
              <a:round/>
              <a:headEnd/>
              <a:tailEnd/>
            </a:ln>
            <a:effectLst>
              <a:outerShdw blurRad="1270000" dist="685800" dir="5400000" sx="84000" sy="84000" algn="t" rotWithShape="0">
                <a:prstClr val="black">
                  <a:alpha val="15000"/>
                </a:prstClr>
              </a:outerShdw>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7" name="Freeform 19">
              <a:extLst>
                <a:ext uri="{FF2B5EF4-FFF2-40B4-BE49-F238E27FC236}">
                  <a16:creationId xmlns:a16="http://schemas.microsoft.com/office/drawing/2014/main" id="{B2A520E2-C97E-4B89-B3D4-589FDC6B9149}"/>
                </a:ext>
              </a:extLst>
            </p:cNvPr>
            <p:cNvSpPr>
              <a:spLocks/>
            </p:cNvSpPr>
            <p:nvPr/>
          </p:nvSpPr>
          <p:spPr bwMode="auto">
            <a:xfrm>
              <a:off x="1356402" y="2777618"/>
              <a:ext cx="470210" cy="632172"/>
            </a:xfrm>
            <a:custGeom>
              <a:avLst/>
              <a:gdLst>
                <a:gd name="T0" fmla="*/ 6 w 38"/>
                <a:gd name="T1" fmla="*/ 29 h 51"/>
                <a:gd name="T2" fmla="*/ 4 w 38"/>
                <a:gd name="T3" fmla="*/ 0 h 51"/>
                <a:gd name="T4" fmla="*/ 28 w 38"/>
                <a:gd name="T5" fmla="*/ 24 h 51"/>
                <a:gd name="T6" fmla="*/ 30 w 38"/>
                <a:gd name="T7" fmla="*/ 51 h 51"/>
                <a:gd name="T8" fmla="*/ 6 w 38"/>
                <a:gd name="T9" fmla="*/ 29 h 51"/>
              </a:gdLst>
              <a:ahLst/>
              <a:cxnLst>
                <a:cxn ang="0">
                  <a:pos x="T0" y="T1"/>
                </a:cxn>
                <a:cxn ang="0">
                  <a:pos x="T2" y="T3"/>
                </a:cxn>
                <a:cxn ang="0">
                  <a:pos x="T4" y="T5"/>
                </a:cxn>
                <a:cxn ang="0">
                  <a:pos x="T6" y="T7"/>
                </a:cxn>
                <a:cxn ang="0">
                  <a:pos x="T8" y="T9"/>
                </a:cxn>
              </a:cxnLst>
              <a:rect l="0" t="0" r="r" b="b"/>
              <a:pathLst>
                <a:path w="38" h="51">
                  <a:moveTo>
                    <a:pt x="6" y="29"/>
                  </a:moveTo>
                  <a:cubicBezTo>
                    <a:pt x="0" y="16"/>
                    <a:pt x="4" y="0"/>
                    <a:pt x="4" y="0"/>
                  </a:cubicBezTo>
                  <a:cubicBezTo>
                    <a:pt x="9" y="7"/>
                    <a:pt x="20" y="12"/>
                    <a:pt x="28" y="24"/>
                  </a:cubicBezTo>
                  <a:cubicBezTo>
                    <a:pt x="38" y="41"/>
                    <a:pt x="30" y="51"/>
                    <a:pt x="30" y="51"/>
                  </a:cubicBezTo>
                  <a:cubicBezTo>
                    <a:pt x="24" y="49"/>
                    <a:pt x="13" y="45"/>
                    <a:pt x="6" y="29"/>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Light" panose="020F0302020204030204"/>
                <a:ea typeface="+mn-ea"/>
                <a:cs typeface="+mn-cs"/>
              </a:endParaRPr>
            </a:p>
          </p:txBody>
        </p:sp>
        <p:sp>
          <p:nvSpPr>
            <p:cNvPr id="18" name="Freeform 20">
              <a:extLst>
                <a:ext uri="{FF2B5EF4-FFF2-40B4-BE49-F238E27FC236}">
                  <a16:creationId xmlns:a16="http://schemas.microsoft.com/office/drawing/2014/main" id="{D6B33D30-F7D4-4F16-9BE3-867EE173471D}"/>
                </a:ext>
              </a:extLst>
            </p:cNvPr>
            <p:cNvSpPr>
              <a:spLocks/>
            </p:cNvSpPr>
            <p:nvPr/>
          </p:nvSpPr>
          <p:spPr bwMode="auto">
            <a:xfrm>
              <a:off x="4543381" y="2923906"/>
              <a:ext cx="559028" cy="522457"/>
            </a:xfrm>
            <a:custGeom>
              <a:avLst/>
              <a:gdLst>
                <a:gd name="T0" fmla="*/ 16 w 45"/>
                <a:gd name="T1" fmla="*/ 8 h 42"/>
                <a:gd name="T2" fmla="*/ 45 w 45"/>
                <a:gd name="T3" fmla="*/ 1 h 42"/>
                <a:gd name="T4" fmla="*/ 26 w 45"/>
                <a:gd name="T5" fmla="*/ 28 h 42"/>
                <a:gd name="T6" fmla="*/ 0 w 45"/>
                <a:gd name="T7" fmla="*/ 35 h 42"/>
                <a:gd name="T8" fmla="*/ 16 w 45"/>
                <a:gd name="T9" fmla="*/ 8 h 42"/>
              </a:gdLst>
              <a:ahLst/>
              <a:cxnLst>
                <a:cxn ang="0">
                  <a:pos x="T0" y="T1"/>
                </a:cxn>
                <a:cxn ang="0">
                  <a:pos x="T2" y="T3"/>
                </a:cxn>
                <a:cxn ang="0">
                  <a:pos x="T4" y="T5"/>
                </a:cxn>
                <a:cxn ang="0">
                  <a:pos x="T6" y="T7"/>
                </a:cxn>
                <a:cxn ang="0">
                  <a:pos x="T8" y="T9"/>
                </a:cxn>
              </a:cxnLst>
              <a:rect l="0" t="0" r="r" b="b"/>
              <a:pathLst>
                <a:path w="45" h="42">
                  <a:moveTo>
                    <a:pt x="16" y="8"/>
                  </a:moveTo>
                  <a:cubicBezTo>
                    <a:pt x="28" y="0"/>
                    <a:pt x="45" y="1"/>
                    <a:pt x="45" y="1"/>
                  </a:cubicBezTo>
                  <a:cubicBezTo>
                    <a:pt x="39" y="6"/>
                    <a:pt x="36" y="19"/>
                    <a:pt x="26" y="28"/>
                  </a:cubicBezTo>
                  <a:cubicBezTo>
                    <a:pt x="11" y="42"/>
                    <a:pt x="0" y="35"/>
                    <a:pt x="0" y="35"/>
                  </a:cubicBezTo>
                  <a:cubicBezTo>
                    <a:pt x="0" y="29"/>
                    <a:pt x="2" y="17"/>
                    <a:pt x="16" y="8"/>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Light" panose="020F0302020204030204"/>
                <a:ea typeface="+mn-ea"/>
                <a:cs typeface="+mn-cs"/>
              </a:endParaRPr>
            </a:p>
          </p:txBody>
        </p:sp>
        <p:sp>
          <p:nvSpPr>
            <p:cNvPr id="19" name="Freeform 21">
              <a:extLst>
                <a:ext uri="{FF2B5EF4-FFF2-40B4-BE49-F238E27FC236}">
                  <a16:creationId xmlns:a16="http://schemas.microsoft.com/office/drawing/2014/main" id="{5B85CC4C-1301-41E2-8CF6-D277E027717F}"/>
                </a:ext>
              </a:extLst>
            </p:cNvPr>
            <p:cNvSpPr>
              <a:spLocks/>
            </p:cNvSpPr>
            <p:nvPr/>
          </p:nvSpPr>
          <p:spPr bwMode="auto">
            <a:xfrm>
              <a:off x="2798379" y="2391000"/>
              <a:ext cx="710540" cy="1656186"/>
            </a:xfrm>
            <a:custGeom>
              <a:avLst/>
              <a:gdLst>
                <a:gd name="T0" fmla="*/ 39 w 57"/>
                <a:gd name="T1" fmla="*/ 0 h 133"/>
                <a:gd name="T2" fmla="*/ 6 w 57"/>
                <a:gd name="T3" fmla="*/ 61 h 133"/>
                <a:gd name="T4" fmla="*/ 29 w 57"/>
                <a:gd name="T5" fmla="*/ 133 h 133"/>
                <a:gd name="T6" fmla="*/ 57 w 57"/>
                <a:gd name="T7" fmla="*/ 75 h 133"/>
                <a:gd name="T8" fmla="*/ 39 w 57"/>
                <a:gd name="T9" fmla="*/ 0 h 133"/>
              </a:gdLst>
              <a:ahLst/>
              <a:cxnLst>
                <a:cxn ang="0">
                  <a:pos x="T0" y="T1"/>
                </a:cxn>
                <a:cxn ang="0">
                  <a:pos x="T2" y="T3"/>
                </a:cxn>
                <a:cxn ang="0">
                  <a:pos x="T4" y="T5"/>
                </a:cxn>
                <a:cxn ang="0">
                  <a:pos x="T6" y="T7"/>
                </a:cxn>
                <a:cxn ang="0">
                  <a:pos x="T8" y="T9"/>
                </a:cxn>
              </a:cxnLst>
              <a:rect l="0" t="0" r="r" b="b"/>
              <a:pathLst>
                <a:path w="57" h="133">
                  <a:moveTo>
                    <a:pt x="39" y="0"/>
                  </a:moveTo>
                  <a:cubicBezTo>
                    <a:pt x="39" y="0"/>
                    <a:pt x="11" y="27"/>
                    <a:pt x="6" y="61"/>
                  </a:cubicBezTo>
                  <a:cubicBezTo>
                    <a:pt x="0" y="101"/>
                    <a:pt x="18" y="123"/>
                    <a:pt x="29" y="133"/>
                  </a:cubicBezTo>
                  <a:cubicBezTo>
                    <a:pt x="29" y="133"/>
                    <a:pt x="57" y="124"/>
                    <a:pt x="57" y="75"/>
                  </a:cubicBezTo>
                  <a:cubicBezTo>
                    <a:pt x="57" y="43"/>
                    <a:pt x="39" y="19"/>
                    <a:pt x="39" y="0"/>
                  </a:cubicBezTo>
                </a:path>
              </a:pathLst>
            </a:custGeom>
            <a:solidFill>
              <a:schemeClr val="accent4"/>
            </a:solidFill>
            <a:ln w="76200">
              <a:solidFill>
                <a:schemeClr val="bg1"/>
              </a:solidFill>
              <a:round/>
              <a:headEnd/>
              <a:tailEnd/>
            </a:ln>
            <a:effectLst>
              <a:outerShdw blurRad="1270000" dist="685800" dir="5400000" sx="84000" sy="84000" algn="t" rotWithShape="0">
                <a:prstClr val="black">
                  <a:alpha val="15000"/>
                </a:prstClr>
              </a:outerShdw>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sp>
        <p:nvSpPr>
          <p:cNvPr id="20" name="TextBox 25">
            <a:extLst>
              <a:ext uri="{FF2B5EF4-FFF2-40B4-BE49-F238E27FC236}">
                <a16:creationId xmlns:a16="http://schemas.microsoft.com/office/drawing/2014/main" id="{966F47EE-3ED2-4F13-AB05-21023BBE8D28}"/>
              </a:ext>
            </a:extLst>
          </p:cNvPr>
          <p:cNvSpPr txBox="1"/>
          <p:nvPr/>
        </p:nvSpPr>
        <p:spPr>
          <a:xfrm>
            <a:off x="6215972" y="1361130"/>
            <a:ext cx="4619626" cy="132343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0" b="1" i="0" u="none" strike="noStrike" kern="1200" cap="none" spc="0" normalizeH="0" baseline="0" noProof="0" dirty="0">
                <a:ln>
                  <a:noFill/>
                </a:ln>
                <a:solidFill>
                  <a:srgbClr val="000000">
                    <a:lumMod val="85000"/>
                    <a:lumOff val="15000"/>
                  </a:srgbClr>
                </a:solidFill>
                <a:effectLst/>
                <a:uLnTx/>
                <a:uFillTx/>
                <a:latin typeface="等线 Light" panose="020F0302020204030204"/>
                <a:ea typeface="+mn-ea"/>
                <a:cs typeface="Arial" panose="020B0604020202020204" pitchFamily="34" charset="0"/>
              </a:rPr>
              <a:t>Your Title </a:t>
            </a:r>
            <a:r>
              <a:rPr kumimoji="0" lang="en-US" sz="4000" b="1" i="0" u="none" strike="noStrike" kern="1200" cap="none" spc="0" normalizeH="0" baseline="0" noProof="0">
                <a:ln>
                  <a:noFill/>
                </a:ln>
                <a:solidFill>
                  <a:srgbClr val="000000">
                    <a:lumMod val="85000"/>
                    <a:lumOff val="15000"/>
                  </a:srgbClr>
                </a:solidFill>
                <a:effectLst/>
                <a:uLnTx/>
                <a:uFillTx/>
                <a:latin typeface="等线 Light" panose="020F0302020204030204"/>
                <a:ea typeface="+mn-ea"/>
                <a:cs typeface="Arial" panose="020B0604020202020204" pitchFamily="34" charset="0"/>
              </a:rPr>
              <a:t>Tex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0" b="1" i="0" u="none" strike="noStrike" kern="1200" cap="none" spc="0" normalizeH="0" baseline="0" noProof="0">
                <a:ln>
                  <a:noFill/>
                </a:ln>
                <a:solidFill>
                  <a:srgbClr val="000000">
                    <a:lumMod val="85000"/>
                    <a:lumOff val="15000"/>
                  </a:srgbClr>
                </a:solidFill>
                <a:effectLst/>
                <a:uLnTx/>
                <a:uFillTx/>
                <a:latin typeface="等线 Light" panose="020F0302020204030204"/>
                <a:ea typeface="+mn-ea"/>
                <a:cs typeface="Arial" panose="020B0604020202020204" pitchFamily="34" charset="0"/>
              </a:rPr>
              <a:t>Goes </a:t>
            </a:r>
            <a:r>
              <a:rPr kumimoji="0" lang="en-US" sz="4000" b="1" i="0" u="none" strike="noStrike" kern="1200" cap="none" spc="0" normalizeH="0" baseline="0" noProof="0" dirty="0">
                <a:ln>
                  <a:noFill/>
                </a:ln>
                <a:solidFill>
                  <a:srgbClr val="000000">
                    <a:lumMod val="85000"/>
                    <a:lumOff val="15000"/>
                  </a:srgbClr>
                </a:solidFill>
                <a:effectLst/>
                <a:uLnTx/>
                <a:uFillTx/>
                <a:latin typeface="等线 Light" panose="020F0302020204030204"/>
                <a:ea typeface="+mn-ea"/>
                <a:cs typeface="Arial" panose="020B0604020202020204" pitchFamily="34" charset="0"/>
              </a:rPr>
              <a:t>Here</a:t>
            </a:r>
          </a:p>
        </p:txBody>
      </p:sp>
      <p:sp>
        <p:nvSpPr>
          <p:cNvPr id="21" name="Rectangle 27">
            <a:extLst>
              <a:ext uri="{FF2B5EF4-FFF2-40B4-BE49-F238E27FC236}">
                <a16:creationId xmlns:a16="http://schemas.microsoft.com/office/drawing/2014/main" id="{0758ECF5-0538-4077-BD78-EA629DEA307B}"/>
              </a:ext>
            </a:extLst>
          </p:cNvPr>
          <p:cNvSpPr/>
          <p:nvPr/>
        </p:nvSpPr>
        <p:spPr>
          <a:xfrm>
            <a:off x="7030706" y="2970879"/>
            <a:ext cx="1712754" cy="547522"/>
          </a:xfrm>
          <a:prstGeom prst="rect">
            <a:avLst/>
          </a:prstGeom>
        </p:spPr>
        <p:txBody>
          <a:bodyPr wrap="square">
            <a:spAutoFit/>
          </a:bodyPr>
          <a:lstStyle/>
          <a:p>
            <a:pPr marL="0" marR="0" lvl="0" indent="0" algn="l" defTabSz="914400" rtl="0" eaLnBrk="1" fontAlgn="auto" latinLnBrk="0" hangingPunct="1">
              <a:lnSpc>
                <a:spcPct val="13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lumMod val="65000"/>
                    <a:lumOff val="35000"/>
                  </a:srgbClr>
                </a:solidFill>
                <a:effectLst/>
                <a:uLnTx/>
                <a:uFillTx/>
                <a:latin typeface="等线" panose="020F0502020204030204"/>
                <a:ea typeface="Open Sans" panose="020B0606030504020204" pitchFamily="34" charset="0"/>
                <a:cs typeface="Segoe UI" panose="020B0502040204020203" pitchFamily="34" charset="0"/>
              </a:rPr>
              <a:t>A wonderful serenity has taken.</a:t>
            </a:r>
            <a:endParaRPr kumimoji="0" lang="id-ID" sz="1200" b="0" i="0" u="none" strike="noStrike" kern="1200" cap="none" spc="0" normalizeH="0" baseline="0" noProof="0" dirty="0">
              <a:ln>
                <a:noFill/>
              </a:ln>
              <a:solidFill>
                <a:srgbClr val="000000">
                  <a:lumMod val="65000"/>
                  <a:lumOff val="35000"/>
                </a:srgbClr>
              </a:solidFill>
              <a:effectLst/>
              <a:uLnTx/>
              <a:uFillTx/>
              <a:latin typeface="等线" panose="020F0502020204030204"/>
              <a:ea typeface="Open Sans" panose="020B0606030504020204" pitchFamily="34" charset="0"/>
              <a:cs typeface="Segoe UI" panose="020B0502040204020203" pitchFamily="34" charset="0"/>
            </a:endParaRPr>
          </a:p>
        </p:txBody>
      </p:sp>
      <p:sp>
        <p:nvSpPr>
          <p:cNvPr id="22" name="Rectangle 29">
            <a:extLst>
              <a:ext uri="{FF2B5EF4-FFF2-40B4-BE49-F238E27FC236}">
                <a16:creationId xmlns:a16="http://schemas.microsoft.com/office/drawing/2014/main" id="{49F9F841-2A4D-48CF-8A22-09C254A93BA6}"/>
              </a:ext>
            </a:extLst>
          </p:cNvPr>
          <p:cNvSpPr/>
          <p:nvPr/>
        </p:nvSpPr>
        <p:spPr>
          <a:xfrm>
            <a:off x="9613909" y="2970879"/>
            <a:ext cx="1712754" cy="547522"/>
          </a:xfrm>
          <a:prstGeom prst="rect">
            <a:avLst/>
          </a:prstGeom>
        </p:spPr>
        <p:txBody>
          <a:bodyPr wrap="square">
            <a:spAutoFit/>
          </a:bodyPr>
          <a:lstStyle/>
          <a:p>
            <a:pPr marL="0" marR="0" lvl="0" indent="0" algn="l" defTabSz="914400" rtl="0" eaLnBrk="1" fontAlgn="auto" latinLnBrk="0" hangingPunct="1">
              <a:lnSpc>
                <a:spcPct val="13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lumMod val="65000"/>
                    <a:lumOff val="35000"/>
                  </a:srgbClr>
                </a:solidFill>
                <a:effectLst/>
                <a:uLnTx/>
                <a:uFillTx/>
                <a:latin typeface="等线" panose="020F0502020204030204"/>
                <a:ea typeface="Open Sans" panose="020B0606030504020204" pitchFamily="34" charset="0"/>
                <a:cs typeface="Segoe UI" panose="020B0502040204020203" pitchFamily="34" charset="0"/>
              </a:rPr>
              <a:t>A wonderful serenity has taken.</a:t>
            </a:r>
            <a:endParaRPr kumimoji="0" lang="id-ID" sz="1200" b="0" i="0" u="none" strike="noStrike" kern="1200" cap="none" spc="0" normalizeH="0" baseline="0" noProof="0" dirty="0">
              <a:ln>
                <a:noFill/>
              </a:ln>
              <a:solidFill>
                <a:srgbClr val="000000">
                  <a:lumMod val="65000"/>
                  <a:lumOff val="35000"/>
                </a:srgbClr>
              </a:solidFill>
              <a:effectLst/>
              <a:uLnTx/>
              <a:uFillTx/>
              <a:latin typeface="等线" panose="020F0502020204030204"/>
              <a:ea typeface="Open Sans" panose="020B0606030504020204" pitchFamily="34" charset="0"/>
              <a:cs typeface="Segoe UI" panose="020B0502040204020203" pitchFamily="34" charset="0"/>
            </a:endParaRPr>
          </a:p>
        </p:txBody>
      </p:sp>
      <p:sp>
        <p:nvSpPr>
          <p:cNvPr id="23" name="Rectangle 31">
            <a:extLst>
              <a:ext uri="{FF2B5EF4-FFF2-40B4-BE49-F238E27FC236}">
                <a16:creationId xmlns:a16="http://schemas.microsoft.com/office/drawing/2014/main" id="{FD4E635D-D353-47FB-8938-4C60F450F4CF}"/>
              </a:ext>
            </a:extLst>
          </p:cNvPr>
          <p:cNvSpPr/>
          <p:nvPr/>
        </p:nvSpPr>
        <p:spPr>
          <a:xfrm>
            <a:off x="7030706" y="3961588"/>
            <a:ext cx="1712754" cy="547522"/>
          </a:xfrm>
          <a:prstGeom prst="rect">
            <a:avLst/>
          </a:prstGeom>
        </p:spPr>
        <p:txBody>
          <a:bodyPr wrap="square">
            <a:spAutoFit/>
          </a:bodyPr>
          <a:lstStyle/>
          <a:p>
            <a:pPr marL="0" marR="0" lvl="0" indent="0" algn="l" defTabSz="914400" rtl="0" eaLnBrk="1" fontAlgn="auto" latinLnBrk="0" hangingPunct="1">
              <a:lnSpc>
                <a:spcPct val="13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lumMod val="65000"/>
                    <a:lumOff val="35000"/>
                  </a:srgbClr>
                </a:solidFill>
                <a:effectLst/>
                <a:uLnTx/>
                <a:uFillTx/>
                <a:latin typeface="等线" panose="020F0502020204030204"/>
                <a:ea typeface="Open Sans" panose="020B0606030504020204" pitchFamily="34" charset="0"/>
                <a:cs typeface="Segoe UI" panose="020B0502040204020203" pitchFamily="34" charset="0"/>
              </a:rPr>
              <a:t>A wonderful serenity has taken.</a:t>
            </a:r>
            <a:endParaRPr kumimoji="0" lang="id-ID" sz="1200" b="0" i="0" u="none" strike="noStrike" kern="1200" cap="none" spc="0" normalizeH="0" baseline="0" noProof="0" dirty="0">
              <a:ln>
                <a:noFill/>
              </a:ln>
              <a:solidFill>
                <a:srgbClr val="000000">
                  <a:lumMod val="65000"/>
                  <a:lumOff val="35000"/>
                </a:srgbClr>
              </a:solidFill>
              <a:effectLst/>
              <a:uLnTx/>
              <a:uFillTx/>
              <a:latin typeface="等线" panose="020F0502020204030204"/>
              <a:ea typeface="Open Sans" panose="020B0606030504020204" pitchFamily="34" charset="0"/>
              <a:cs typeface="Segoe UI" panose="020B0502040204020203" pitchFamily="34" charset="0"/>
            </a:endParaRPr>
          </a:p>
        </p:txBody>
      </p:sp>
      <p:sp>
        <p:nvSpPr>
          <p:cNvPr id="24" name="Rectangle 33">
            <a:extLst>
              <a:ext uri="{FF2B5EF4-FFF2-40B4-BE49-F238E27FC236}">
                <a16:creationId xmlns:a16="http://schemas.microsoft.com/office/drawing/2014/main" id="{CC5EB8C1-5FB2-42FC-A140-DF8ED25E6C06}"/>
              </a:ext>
            </a:extLst>
          </p:cNvPr>
          <p:cNvSpPr/>
          <p:nvPr/>
        </p:nvSpPr>
        <p:spPr>
          <a:xfrm>
            <a:off x="9613909" y="3961588"/>
            <a:ext cx="1712754" cy="547522"/>
          </a:xfrm>
          <a:prstGeom prst="rect">
            <a:avLst/>
          </a:prstGeom>
        </p:spPr>
        <p:txBody>
          <a:bodyPr wrap="square">
            <a:spAutoFit/>
          </a:bodyPr>
          <a:lstStyle/>
          <a:p>
            <a:pPr marL="0" marR="0" lvl="0" indent="0" algn="l" defTabSz="914400" rtl="0" eaLnBrk="1" fontAlgn="auto" latinLnBrk="0" hangingPunct="1">
              <a:lnSpc>
                <a:spcPct val="13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lumMod val="65000"/>
                    <a:lumOff val="35000"/>
                  </a:srgbClr>
                </a:solidFill>
                <a:effectLst/>
                <a:uLnTx/>
                <a:uFillTx/>
                <a:latin typeface="等线" panose="020F0502020204030204"/>
                <a:ea typeface="Open Sans" panose="020B0606030504020204" pitchFamily="34" charset="0"/>
                <a:cs typeface="Segoe UI" panose="020B0502040204020203" pitchFamily="34" charset="0"/>
              </a:rPr>
              <a:t>A wonderful serenity has taken.</a:t>
            </a:r>
            <a:endParaRPr kumimoji="0" lang="id-ID" sz="1200" b="0" i="0" u="none" strike="noStrike" kern="1200" cap="none" spc="0" normalizeH="0" baseline="0" noProof="0" dirty="0">
              <a:ln>
                <a:noFill/>
              </a:ln>
              <a:solidFill>
                <a:srgbClr val="000000">
                  <a:lumMod val="65000"/>
                  <a:lumOff val="35000"/>
                </a:srgbClr>
              </a:solidFill>
              <a:effectLst/>
              <a:uLnTx/>
              <a:uFillTx/>
              <a:latin typeface="等线" panose="020F0502020204030204"/>
              <a:ea typeface="Open Sans" panose="020B0606030504020204" pitchFamily="34" charset="0"/>
              <a:cs typeface="Segoe UI" panose="020B0502040204020203" pitchFamily="34" charset="0"/>
            </a:endParaRPr>
          </a:p>
        </p:txBody>
      </p:sp>
      <p:sp>
        <p:nvSpPr>
          <p:cNvPr id="25" name="Rectangle 35">
            <a:extLst>
              <a:ext uri="{FF2B5EF4-FFF2-40B4-BE49-F238E27FC236}">
                <a16:creationId xmlns:a16="http://schemas.microsoft.com/office/drawing/2014/main" id="{854D2B7F-BE61-410F-A4F7-3346CCC90B23}"/>
              </a:ext>
            </a:extLst>
          </p:cNvPr>
          <p:cNvSpPr/>
          <p:nvPr/>
        </p:nvSpPr>
        <p:spPr>
          <a:xfrm>
            <a:off x="7030706" y="4952298"/>
            <a:ext cx="1712754" cy="547522"/>
          </a:xfrm>
          <a:prstGeom prst="rect">
            <a:avLst/>
          </a:prstGeom>
        </p:spPr>
        <p:txBody>
          <a:bodyPr wrap="square">
            <a:spAutoFit/>
          </a:bodyPr>
          <a:lstStyle/>
          <a:p>
            <a:pPr marL="0" marR="0" lvl="0" indent="0" algn="l" defTabSz="914400" rtl="0" eaLnBrk="1" fontAlgn="auto" latinLnBrk="0" hangingPunct="1">
              <a:lnSpc>
                <a:spcPct val="13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lumMod val="65000"/>
                    <a:lumOff val="35000"/>
                  </a:srgbClr>
                </a:solidFill>
                <a:effectLst/>
                <a:uLnTx/>
                <a:uFillTx/>
                <a:latin typeface="等线" panose="020F0502020204030204"/>
                <a:ea typeface="Open Sans" panose="020B0606030504020204" pitchFamily="34" charset="0"/>
                <a:cs typeface="Segoe UI" panose="020B0502040204020203" pitchFamily="34" charset="0"/>
              </a:rPr>
              <a:t>A wonderful serenity has taken.</a:t>
            </a:r>
            <a:endParaRPr kumimoji="0" lang="id-ID" sz="1200" b="0" i="0" u="none" strike="noStrike" kern="1200" cap="none" spc="0" normalizeH="0" baseline="0" noProof="0" dirty="0">
              <a:ln>
                <a:noFill/>
              </a:ln>
              <a:solidFill>
                <a:srgbClr val="000000">
                  <a:lumMod val="65000"/>
                  <a:lumOff val="35000"/>
                </a:srgbClr>
              </a:solidFill>
              <a:effectLst/>
              <a:uLnTx/>
              <a:uFillTx/>
              <a:latin typeface="等线" panose="020F0502020204030204"/>
              <a:ea typeface="Open Sans" panose="020B0606030504020204" pitchFamily="34" charset="0"/>
              <a:cs typeface="Segoe UI" panose="020B0502040204020203" pitchFamily="34" charset="0"/>
            </a:endParaRPr>
          </a:p>
        </p:txBody>
      </p:sp>
      <p:grpSp>
        <p:nvGrpSpPr>
          <p:cNvPr id="26" name="Group 42">
            <a:extLst>
              <a:ext uri="{FF2B5EF4-FFF2-40B4-BE49-F238E27FC236}">
                <a16:creationId xmlns:a16="http://schemas.microsoft.com/office/drawing/2014/main" id="{C5423747-6E9B-43EF-BD47-D8A54A3AA420}"/>
              </a:ext>
            </a:extLst>
          </p:cNvPr>
          <p:cNvGrpSpPr/>
          <p:nvPr/>
        </p:nvGrpSpPr>
        <p:grpSpPr>
          <a:xfrm>
            <a:off x="6323749" y="2981316"/>
            <a:ext cx="526648" cy="526648"/>
            <a:chOff x="5495285" y="2672710"/>
            <a:chExt cx="1201430" cy="1201430"/>
          </a:xfrm>
        </p:grpSpPr>
        <p:sp>
          <p:nvSpPr>
            <p:cNvPr id="27" name="Rectangle: Rounded Corners 43">
              <a:extLst>
                <a:ext uri="{FF2B5EF4-FFF2-40B4-BE49-F238E27FC236}">
                  <a16:creationId xmlns:a16="http://schemas.microsoft.com/office/drawing/2014/main" id="{702C596D-BF1F-4ED9-9DFF-8CB4F1CC0D3E}"/>
                </a:ext>
              </a:extLst>
            </p:cNvPr>
            <p:cNvSpPr/>
            <p:nvPr/>
          </p:nvSpPr>
          <p:spPr>
            <a:xfrm rot="2700000">
              <a:off x="5495285" y="2672710"/>
              <a:ext cx="1201430" cy="1201430"/>
            </a:xfrm>
            <a:prstGeom prst="roundRect">
              <a:avLst>
                <a:gd name="adj" fmla="val 36545"/>
              </a:avLst>
            </a:prstGeom>
            <a:solidFill>
              <a:schemeClr val="accent1"/>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FFFFFF"/>
                </a:solidFill>
                <a:effectLst/>
                <a:uLnTx/>
                <a:uFillTx/>
                <a:latin typeface="等线" panose="020F0502020204030204"/>
                <a:ea typeface="+mn-ea"/>
                <a:cs typeface="+mn-cs"/>
              </a:endParaRPr>
            </a:p>
          </p:txBody>
        </p:sp>
        <p:sp>
          <p:nvSpPr>
            <p:cNvPr id="28" name="Rectangle 44">
              <a:extLst>
                <a:ext uri="{FF2B5EF4-FFF2-40B4-BE49-F238E27FC236}">
                  <a16:creationId xmlns:a16="http://schemas.microsoft.com/office/drawing/2014/main" id="{5C951D68-D488-4F79-B18B-E4815CAF566A}"/>
                </a:ext>
              </a:extLst>
            </p:cNvPr>
            <p:cNvSpPr/>
            <p:nvPr/>
          </p:nvSpPr>
          <p:spPr>
            <a:xfrm>
              <a:off x="5818498" y="2995927"/>
              <a:ext cx="555008" cy="555001"/>
            </a:xfrm>
            <a:prstGeom prst="rect">
              <a:avLst/>
            </a:prstGeom>
            <a:blipFill>
              <a:blip r:embed="rId4">
                <a:extLst>
                  <a:ext uri="{BEBA8EAE-BF5A-486C-A8C5-ECC9F3942E4B}">
                    <a14:imgProps xmlns:a14="http://schemas.microsoft.com/office/drawing/2010/main">
                      <a14:imgLayer r:embed="rId5">
                        <a14:imgEffect>
                          <a14:brightnessContrast bright="100000"/>
                        </a14:imgEffect>
                      </a14:imgLayer>
                    </a14:imgProps>
                  </a:ext>
                </a:extLst>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等线" panose="020F0502020204030204"/>
                <a:ea typeface="+mn-ea"/>
                <a:cs typeface="+mn-cs"/>
              </a:endParaRPr>
            </a:p>
          </p:txBody>
        </p:sp>
      </p:grpSp>
      <p:grpSp>
        <p:nvGrpSpPr>
          <p:cNvPr id="29" name="Group 45">
            <a:extLst>
              <a:ext uri="{FF2B5EF4-FFF2-40B4-BE49-F238E27FC236}">
                <a16:creationId xmlns:a16="http://schemas.microsoft.com/office/drawing/2014/main" id="{2A86C1F4-8272-451A-908F-5BCD46309082}"/>
              </a:ext>
            </a:extLst>
          </p:cNvPr>
          <p:cNvGrpSpPr/>
          <p:nvPr/>
        </p:nvGrpSpPr>
        <p:grpSpPr>
          <a:xfrm>
            <a:off x="8947992" y="2981316"/>
            <a:ext cx="526648" cy="526648"/>
            <a:chOff x="5495285" y="2672710"/>
            <a:chExt cx="1201430" cy="1201430"/>
          </a:xfrm>
        </p:grpSpPr>
        <p:sp>
          <p:nvSpPr>
            <p:cNvPr id="30" name="Rectangle: Rounded Corners 46">
              <a:extLst>
                <a:ext uri="{FF2B5EF4-FFF2-40B4-BE49-F238E27FC236}">
                  <a16:creationId xmlns:a16="http://schemas.microsoft.com/office/drawing/2014/main" id="{FE3702CA-A322-4F33-9544-F56C3648AD13}"/>
                </a:ext>
              </a:extLst>
            </p:cNvPr>
            <p:cNvSpPr/>
            <p:nvPr/>
          </p:nvSpPr>
          <p:spPr>
            <a:xfrm rot="2700000">
              <a:off x="5495285" y="2672710"/>
              <a:ext cx="1201430" cy="1201430"/>
            </a:xfrm>
            <a:prstGeom prst="roundRect">
              <a:avLst>
                <a:gd name="adj" fmla="val 36545"/>
              </a:avLst>
            </a:prstGeom>
            <a:solidFill>
              <a:schemeClr val="accent2"/>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FFFFFF"/>
                </a:solidFill>
                <a:effectLst/>
                <a:uLnTx/>
                <a:uFillTx/>
                <a:latin typeface="等线" panose="020F0502020204030204"/>
                <a:ea typeface="+mn-ea"/>
                <a:cs typeface="+mn-cs"/>
              </a:endParaRPr>
            </a:p>
          </p:txBody>
        </p:sp>
        <p:sp>
          <p:nvSpPr>
            <p:cNvPr id="31" name="Rectangle 47">
              <a:extLst>
                <a:ext uri="{FF2B5EF4-FFF2-40B4-BE49-F238E27FC236}">
                  <a16:creationId xmlns:a16="http://schemas.microsoft.com/office/drawing/2014/main" id="{9EE8C32F-8001-48EB-A562-8080C6E9384B}"/>
                </a:ext>
              </a:extLst>
            </p:cNvPr>
            <p:cNvSpPr/>
            <p:nvPr/>
          </p:nvSpPr>
          <p:spPr>
            <a:xfrm>
              <a:off x="5818498" y="2995927"/>
              <a:ext cx="555008" cy="555001"/>
            </a:xfrm>
            <a:prstGeom prst="rect">
              <a:avLst/>
            </a:prstGeom>
            <a:blipFill>
              <a:blip r:embed="rId6">
                <a:extLst>
                  <a:ext uri="{BEBA8EAE-BF5A-486C-A8C5-ECC9F3942E4B}">
                    <a14:imgProps xmlns:a14="http://schemas.microsoft.com/office/drawing/2010/main">
                      <a14:imgLayer r:embed="rId7">
                        <a14:imgEffect>
                          <a14:brightnessContrast bright="100000"/>
                        </a14:imgEffect>
                      </a14:imgLayer>
                    </a14:imgProps>
                  </a:ext>
                </a:extLst>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等线" panose="020F0502020204030204"/>
                <a:ea typeface="+mn-ea"/>
                <a:cs typeface="+mn-cs"/>
              </a:endParaRPr>
            </a:p>
          </p:txBody>
        </p:sp>
      </p:grpSp>
      <p:grpSp>
        <p:nvGrpSpPr>
          <p:cNvPr id="32" name="Group 48">
            <a:extLst>
              <a:ext uri="{FF2B5EF4-FFF2-40B4-BE49-F238E27FC236}">
                <a16:creationId xmlns:a16="http://schemas.microsoft.com/office/drawing/2014/main" id="{D7319D31-4F3A-41B9-8DD7-C047225414DB}"/>
              </a:ext>
            </a:extLst>
          </p:cNvPr>
          <p:cNvGrpSpPr/>
          <p:nvPr/>
        </p:nvGrpSpPr>
        <p:grpSpPr>
          <a:xfrm>
            <a:off x="6323749" y="3972025"/>
            <a:ext cx="526648" cy="526648"/>
            <a:chOff x="5495285" y="2672710"/>
            <a:chExt cx="1201430" cy="1201430"/>
          </a:xfrm>
        </p:grpSpPr>
        <p:sp>
          <p:nvSpPr>
            <p:cNvPr id="33" name="Rectangle: Rounded Corners 49">
              <a:extLst>
                <a:ext uri="{FF2B5EF4-FFF2-40B4-BE49-F238E27FC236}">
                  <a16:creationId xmlns:a16="http://schemas.microsoft.com/office/drawing/2014/main" id="{D9414060-3211-470B-A937-CC170A2D2D37}"/>
                </a:ext>
              </a:extLst>
            </p:cNvPr>
            <p:cNvSpPr/>
            <p:nvPr/>
          </p:nvSpPr>
          <p:spPr>
            <a:xfrm rot="2700000">
              <a:off x="5495285" y="2672710"/>
              <a:ext cx="1201430" cy="1201430"/>
            </a:xfrm>
            <a:prstGeom prst="roundRect">
              <a:avLst>
                <a:gd name="adj" fmla="val 36545"/>
              </a:avLst>
            </a:prstGeom>
            <a:solidFill>
              <a:schemeClr val="accent5"/>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dirty="0">
                <a:ln>
                  <a:noFill/>
                </a:ln>
                <a:solidFill>
                  <a:srgbClr val="FFFFFF"/>
                </a:solidFill>
                <a:effectLst/>
                <a:uLnTx/>
                <a:uFillTx/>
                <a:latin typeface="等线" panose="020F0502020204030204"/>
                <a:ea typeface="+mn-ea"/>
                <a:cs typeface="+mn-cs"/>
              </a:endParaRPr>
            </a:p>
          </p:txBody>
        </p:sp>
        <p:sp>
          <p:nvSpPr>
            <p:cNvPr id="34" name="Rectangle 50">
              <a:extLst>
                <a:ext uri="{FF2B5EF4-FFF2-40B4-BE49-F238E27FC236}">
                  <a16:creationId xmlns:a16="http://schemas.microsoft.com/office/drawing/2014/main" id="{8DC4A708-BC0F-4D69-976F-F6D6322D3057}"/>
                </a:ext>
              </a:extLst>
            </p:cNvPr>
            <p:cNvSpPr/>
            <p:nvPr/>
          </p:nvSpPr>
          <p:spPr>
            <a:xfrm>
              <a:off x="5818498" y="2995927"/>
              <a:ext cx="555008" cy="555001"/>
            </a:xfrm>
            <a:prstGeom prst="rect">
              <a:avLst/>
            </a:prstGeom>
            <a:blipFill>
              <a:blip r:embed="rId8">
                <a:extLst>
                  <a:ext uri="{BEBA8EAE-BF5A-486C-A8C5-ECC9F3942E4B}">
                    <a14:imgProps xmlns:a14="http://schemas.microsoft.com/office/drawing/2010/main">
                      <a14:imgLayer r:embed="rId9">
                        <a14:imgEffect>
                          <a14:brightnessContrast bright="100000"/>
                        </a14:imgEffect>
                      </a14:imgLayer>
                    </a14:imgProps>
                  </a:ext>
                </a:extLst>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等线" panose="020F0502020204030204"/>
                <a:ea typeface="+mn-ea"/>
                <a:cs typeface="+mn-cs"/>
              </a:endParaRPr>
            </a:p>
          </p:txBody>
        </p:sp>
      </p:grpSp>
      <p:grpSp>
        <p:nvGrpSpPr>
          <p:cNvPr id="35" name="Group 51">
            <a:extLst>
              <a:ext uri="{FF2B5EF4-FFF2-40B4-BE49-F238E27FC236}">
                <a16:creationId xmlns:a16="http://schemas.microsoft.com/office/drawing/2014/main" id="{0E22A45E-6F88-45F1-84DC-C086768A83F2}"/>
              </a:ext>
            </a:extLst>
          </p:cNvPr>
          <p:cNvGrpSpPr/>
          <p:nvPr/>
        </p:nvGrpSpPr>
        <p:grpSpPr>
          <a:xfrm>
            <a:off x="8947992" y="3972025"/>
            <a:ext cx="526648" cy="526648"/>
            <a:chOff x="5495285" y="2672710"/>
            <a:chExt cx="1201430" cy="1201430"/>
          </a:xfrm>
        </p:grpSpPr>
        <p:sp>
          <p:nvSpPr>
            <p:cNvPr id="36" name="Rectangle: Rounded Corners 52">
              <a:extLst>
                <a:ext uri="{FF2B5EF4-FFF2-40B4-BE49-F238E27FC236}">
                  <a16:creationId xmlns:a16="http://schemas.microsoft.com/office/drawing/2014/main" id="{084CCCD8-7F1E-4966-8572-3B26886A7829}"/>
                </a:ext>
              </a:extLst>
            </p:cNvPr>
            <p:cNvSpPr/>
            <p:nvPr/>
          </p:nvSpPr>
          <p:spPr>
            <a:xfrm rot="2700000">
              <a:off x="5495285" y="2672710"/>
              <a:ext cx="1201430" cy="1201430"/>
            </a:xfrm>
            <a:prstGeom prst="roundRect">
              <a:avLst>
                <a:gd name="adj" fmla="val 36545"/>
              </a:avLst>
            </a:prstGeom>
            <a:solidFill>
              <a:schemeClr val="accent4"/>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FFFFFF"/>
                </a:solidFill>
                <a:effectLst/>
                <a:uLnTx/>
                <a:uFillTx/>
                <a:latin typeface="等线" panose="020F0502020204030204"/>
                <a:ea typeface="+mn-ea"/>
                <a:cs typeface="+mn-cs"/>
              </a:endParaRPr>
            </a:p>
          </p:txBody>
        </p:sp>
        <p:sp>
          <p:nvSpPr>
            <p:cNvPr id="37" name="Rectangle 53">
              <a:extLst>
                <a:ext uri="{FF2B5EF4-FFF2-40B4-BE49-F238E27FC236}">
                  <a16:creationId xmlns:a16="http://schemas.microsoft.com/office/drawing/2014/main" id="{5C8AB0A7-6436-4B21-A252-F5C3CE4CAEE7}"/>
                </a:ext>
              </a:extLst>
            </p:cNvPr>
            <p:cNvSpPr/>
            <p:nvPr/>
          </p:nvSpPr>
          <p:spPr>
            <a:xfrm>
              <a:off x="5818498" y="2995927"/>
              <a:ext cx="555008" cy="555001"/>
            </a:xfrm>
            <a:prstGeom prst="rect">
              <a:avLst/>
            </a:prstGeom>
            <a:blipFill>
              <a:blip r:embed="rId10">
                <a:extLst>
                  <a:ext uri="{BEBA8EAE-BF5A-486C-A8C5-ECC9F3942E4B}">
                    <a14:imgProps xmlns:a14="http://schemas.microsoft.com/office/drawing/2010/main">
                      <a14:imgLayer r:embed="rId11">
                        <a14:imgEffect>
                          <a14:brightnessContrast bright="100000"/>
                        </a14:imgEffect>
                      </a14:imgLayer>
                    </a14:imgProps>
                  </a:ext>
                </a:extLst>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等线" panose="020F0502020204030204"/>
                <a:ea typeface="+mn-ea"/>
                <a:cs typeface="+mn-cs"/>
              </a:endParaRPr>
            </a:p>
          </p:txBody>
        </p:sp>
      </p:grpSp>
      <p:grpSp>
        <p:nvGrpSpPr>
          <p:cNvPr id="38" name="Group 54">
            <a:extLst>
              <a:ext uri="{FF2B5EF4-FFF2-40B4-BE49-F238E27FC236}">
                <a16:creationId xmlns:a16="http://schemas.microsoft.com/office/drawing/2014/main" id="{7F67A9A2-8882-4A24-B581-1B302736B39E}"/>
              </a:ext>
            </a:extLst>
          </p:cNvPr>
          <p:cNvGrpSpPr/>
          <p:nvPr/>
        </p:nvGrpSpPr>
        <p:grpSpPr>
          <a:xfrm>
            <a:off x="6323749" y="4962735"/>
            <a:ext cx="526648" cy="526648"/>
            <a:chOff x="5495285" y="2672710"/>
            <a:chExt cx="1201430" cy="1201430"/>
          </a:xfrm>
        </p:grpSpPr>
        <p:sp>
          <p:nvSpPr>
            <p:cNvPr id="39" name="Rectangle: Rounded Corners 55">
              <a:extLst>
                <a:ext uri="{FF2B5EF4-FFF2-40B4-BE49-F238E27FC236}">
                  <a16:creationId xmlns:a16="http://schemas.microsoft.com/office/drawing/2014/main" id="{DC2B0B5D-42EA-46D6-B7F2-ADA789A8CCAA}"/>
                </a:ext>
              </a:extLst>
            </p:cNvPr>
            <p:cNvSpPr/>
            <p:nvPr/>
          </p:nvSpPr>
          <p:spPr>
            <a:xfrm rot="2700000">
              <a:off x="5495285" y="2672710"/>
              <a:ext cx="1201430" cy="1201430"/>
            </a:xfrm>
            <a:prstGeom prst="roundRect">
              <a:avLst>
                <a:gd name="adj" fmla="val 36545"/>
              </a:avLst>
            </a:prstGeom>
            <a:solidFill>
              <a:schemeClr val="accent3"/>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FFFFFF"/>
                </a:solidFill>
                <a:effectLst/>
                <a:uLnTx/>
                <a:uFillTx/>
                <a:latin typeface="等线" panose="020F0502020204030204"/>
                <a:ea typeface="+mn-ea"/>
                <a:cs typeface="+mn-cs"/>
              </a:endParaRPr>
            </a:p>
          </p:txBody>
        </p:sp>
        <p:sp>
          <p:nvSpPr>
            <p:cNvPr id="40" name="Rectangle 56">
              <a:extLst>
                <a:ext uri="{FF2B5EF4-FFF2-40B4-BE49-F238E27FC236}">
                  <a16:creationId xmlns:a16="http://schemas.microsoft.com/office/drawing/2014/main" id="{4443A23B-5EF9-401F-A3C3-3027235E1AE1}"/>
                </a:ext>
              </a:extLst>
            </p:cNvPr>
            <p:cNvSpPr/>
            <p:nvPr/>
          </p:nvSpPr>
          <p:spPr>
            <a:xfrm>
              <a:off x="5818498" y="2995927"/>
              <a:ext cx="555008" cy="555001"/>
            </a:xfrm>
            <a:prstGeom prst="rect">
              <a:avLst/>
            </a:prstGeom>
            <a:blipFill>
              <a:blip r:embed="rId12">
                <a:extLst>
                  <a:ext uri="{BEBA8EAE-BF5A-486C-A8C5-ECC9F3942E4B}">
                    <a14:imgProps xmlns:a14="http://schemas.microsoft.com/office/drawing/2010/main">
                      <a14:imgLayer r:embed="rId13">
                        <a14:imgEffect>
                          <a14:brightnessContrast bright="100000"/>
                        </a14:imgEffect>
                      </a14:imgLayer>
                    </a14:imgProps>
                  </a:ext>
                </a:extLst>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等线" panose="020F0502020204030204"/>
                <a:ea typeface="+mn-ea"/>
                <a:cs typeface="+mn-cs"/>
              </a:endParaRPr>
            </a:p>
          </p:txBody>
        </p:sp>
      </p:grpSp>
    </p:spTree>
    <p:extLst>
      <p:ext uri="{BB962C8B-B14F-4D97-AF65-F5344CB8AC3E}">
        <p14:creationId xmlns:p14="http://schemas.microsoft.com/office/powerpoint/2010/main" val="7903928"/>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8" presetClass="entr" presetSubtype="3" fill="hold" grpId="0" nodeType="with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strips(upRight)">
                                      <p:cBhvr>
                                        <p:cTn id="7" dur="500"/>
                                        <p:tgtEl>
                                          <p:spTgt spid="20"/>
                                        </p:tgtEl>
                                      </p:cBhvr>
                                    </p:animEffect>
                                  </p:childTnLst>
                                </p:cTn>
                              </p:par>
                              <p:par>
                                <p:cTn id="8" presetID="6" presetClass="emph" presetSubtype="0" accel="52000" decel="48000" autoRev="1" fill="hold" grpId="1" nodeType="withEffect">
                                  <p:stCondLst>
                                    <p:cond delay="0"/>
                                  </p:stCondLst>
                                  <p:childTnLst>
                                    <p:animScale>
                                      <p:cBhvr>
                                        <p:cTn id="9" dur="350" fill="hold"/>
                                        <p:tgtEl>
                                          <p:spTgt spid="20"/>
                                        </p:tgtEl>
                                      </p:cBhvr>
                                      <p:by x="110000" y="110000"/>
                                    </p:animScale>
                                  </p:childTnLst>
                                </p:cTn>
                              </p:par>
                              <p:par>
                                <p:cTn id="10" presetID="22" presetClass="entr" presetSubtype="8" fill="hold" grpId="0" nodeType="withEffect">
                                  <p:stCondLst>
                                    <p:cond delay="500"/>
                                  </p:stCondLst>
                                  <p:childTnLst>
                                    <p:set>
                                      <p:cBhvr>
                                        <p:cTn id="11" dur="1" fill="hold">
                                          <p:stCondLst>
                                            <p:cond delay="0"/>
                                          </p:stCondLst>
                                        </p:cTn>
                                        <p:tgtEl>
                                          <p:spTgt spid="21"/>
                                        </p:tgtEl>
                                        <p:attrNameLst>
                                          <p:attrName>style.visibility</p:attrName>
                                        </p:attrNameLst>
                                      </p:cBhvr>
                                      <p:to>
                                        <p:strVal val="visible"/>
                                      </p:to>
                                    </p:set>
                                    <p:animEffect transition="in" filter="wipe(left)">
                                      <p:cBhvr>
                                        <p:cTn id="12" dur="750"/>
                                        <p:tgtEl>
                                          <p:spTgt spid="21"/>
                                        </p:tgtEl>
                                      </p:cBhvr>
                                    </p:animEffect>
                                  </p:childTnLst>
                                </p:cTn>
                              </p:par>
                              <p:par>
                                <p:cTn id="13" presetID="22" presetClass="entr" presetSubtype="8" fill="hold" grpId="0" nodeType="withEffect">
                                  <p:stCondLst>
                                    <p:cond delay="750"/>
                                  </p:stCondLst>
                                  <p:childTnLst>
                                    <p:set>
                                      <p:cBhvr>
                                        <p:cTn id="14" dur="1" fill="hold">
                                          <p:stCondLst>
                                            <p:cond delay="0"/>
                                          </p:stCondLst>
                                        </p:cTn>
                                        <p:tgtEl>
                                          <p:spTgt spid="22"/>
                                        </p:tgtEl>
                                        <p:attrNameLst>
                                          <p:attrName>style.visibility</p:attrName>
                                        </p:attrNameLst>
                                      </p:cBhvr>
                                      <p:to>
                                        <p:strVal val="visible"/>
                                      </p:to>
                                    </p:set>
                                    <p:animEffect transition="in" filter="wipe(left)">
                                      <p:cBhvr>
                                        <p:cTn id="15" dur="750"/>
                                        <p:tgtEl>
                                          <p:spTgt spid="22"/>
                                        </p:tgtEl>
                                      </p:cBhvr>
                                    </p:animEffect>
                                  </p:childTnLst>
                                </p:cTn>
                              </p:par>
                              <p:par>
                                <p:cTn id="16" presetID="22" presetClass="entr" presetSubtype="8" fill="hold" grpId="0" nodeType="withEffect">
                                  <p:stCondLst>
                                    <p:cond delay="1000"/>
                                  </p:stCondLst>
                                  <p:childTnLst>
                                    <p:set>
                                      <p:cBhvr>
                                        <p:cTn id="17" dur="1" fill="hold">
                                          <p:stCondLst>
                                            <p:cond delay="0"/>
                                          </p:stCondLst>
                                        </p:cTn>
                                        <p:tgtEl>
                                          <p:spTgt spid="23"/>
                                        </p:tgtEl>
                                        <p:attrNameLst>
                                          <p:attrName>style.visibility</p:attrName>
                                        </p:attrNameLst>
                                      </p:cBhvr>
                                      <p:to>
                                        <p:strVal val="visible"/>
                                      </p:to>
                                    </p:set>
                                    <p:animEffect transition="in" filter="wipe(left)">
                                      <p:cBhvr>
                                        <p:cTn id="18" dur="750"/>
                                        <p:tgtEl>
                                          <p:spTgt spid="23"/>
                                        </p:tgtEl>
                                      </p:cBhvr>
                                    </p:animEffect>
                                  </p:childTnLst>
                                </p:cTn>
                              </p:par>
                              <p:par>
                                <p:cTn id="19" presetID="22" presetClass="entr" presetSubtype="8" fill="hold" grpId="0" nodeType="withEffect">
                                  <p:stCondLst>
                                    <p:cond delay="1250"/>
                                  </p:stCondLst>
                                  <p:childTnLst>
                                    <p:set>
                                      <p:cBhvr>
                                        <p:cTn id="20" dur="1" fill="hold">
                                          <p:stCondLst>
                                            <p:cond delay="0"/>
                                          </p:stCondLst>
                                        </p:cTn>
                                        <p:tgtEl>
                                          <p:spTgt spid="24"/>
                                        </p:tgtEl>
                                        <p:attrNameLst>
                                          <p:attrName>style.visibility</p:attrName>
                                        </p:attrNameLst>
                                      </p:cBhvr>
                                      <p:to>
                                        <p:strVal val="visible"/>
                                      </p:to>
                                    </p:set>
                                    <p:animEffect transition="in" filter="wipe(left)">
                                      <p:cBhvr>
                                        <p:cTn id="21" dur="750"/>
                                        <p:tgtEl>
                                          <p:spTgt spid="24"/>
                                        </p:tgtEl>
                                      </p:cBhvr>
                                    </p:animEffect>
                                  </p:childTnLst>
                                </p:cTn>
                              </p:par>
                              <p:par>
                                <p:cTn id="22" presetID="22" presetClass="entr" presetSubtype="8" fill="hold" grpId="0" nodeType="withEffect">
                                  <p:stCondLst>
                                    <p:cond delay="1500"/>
                                  </p:stCondLst>
                                  <p:childTnLst>
                                    <p:set>
                                      <p:cBhvr>
                                        <p:cTn id="23" dur="1" fill="hold">
                                          <p:stCondLst>
                                            <p:cond delay="0"/>
                                          </p:stCondLst>
                                        </p:cTn>
                                        <p:tgtEl>
                                          <p:spTgt spid="25"/>
                                        </p:tgtEl>
                                        <p:attrNameLst>
                                          <p:attrName>style.visibility</p:attrName>
                                        </p:attrNameLst>
                                      </p:cBhvr>
                                      <p:to>
                                        <p:strVal val="visible"/>
                                      </p:to>
                                    </p:set>
                                    <p:animEffect transition="in" filter="wipe(left)">
                                      <p:cBhvr>
                                        <p:cTn id="24" dur="750"/>
                                        <p:tgtEl>
                                          <p:spTgt spid="25"/>
                                        </p:tgtEl>
                                      </p:cBhvr>
                                    </p:animEffect>
                                  </p:childTnLst>
                                </p:cTn>
                              </p:par>
                              <p:par>
                                <p:cTn id="25" presetID="18" presetClass="entr" presetSubtype="3" fill="hold" nodeType="withEffect">
                                  <p:stCondLst>
                                    <p:cond delay="750"/>
                                  </p:stCondLst>
                                  <p:childTnLst>
                                    <p:set>
                                      <p:cBhvr>
                                        <p:cTn id="26" dur="1" fill="hold">
                                          <p:stCondLst>
                                            <p:cond delay="0"/>
                                          </p:stCondLst>
                                        </p:cTn>
                                        <p:tgtEl>
                                          <p:spTgt spid="26"/>
                                        </p:tgtEl>
                                        <p:attrNameLst>
                                          <p:attrName>style.visibility</p:attrName>
                                        </p:attrNameLst>
                                      </p:cBhvr>
                                      <p:to>
                                        <p:strVal val="visible"/>
                                      </p:to>
                                    </p:set>
                                    <p:animEffect transition="in" filter="strips(upRight)">
                                      <p:cBhvr>
                                        <p:cTn id="27" dur="500"/>
                                        <p:tgtEl>
                                          <p:spTgt spid="26"/>
                                        </p:tgtEl>
                                      </p:cBhvr>
                                    </p:animEffect>
                                  </p:childTnLst>
                                </p:cTn>
                              </p:par>
                              <p:par>
                                <p:cTn id="28" presetID="6" presetClass="emph" presetSubtype="0" accel="52000" decel="48000" autoRev="1" fill="hold" nodeType="withEffect">
                                  <p:stCondLst>
                                    <p:cond delay="750"/>
                                  </p:stCondLst>
                                  <p:childTnLst>
                                    <p:animScale>
                                      <p:cBhvr>
                                        <p:cTn id="29" dur="350" fill="hold"/>
                                        <p:tgtEl>
                                          <p:spTgt spid="26"/>
                                        </p:tgtEl>
                                      </p:cBhvr>
                                      <p:by x="110000" y="110000"/>
                                    </p:animScale>
                                  </p:childTnLst>
                                </p:cTn>
                              </p:par>
                              <p:par>
                                <p:cTn id="30" presetID="18" presetClass="entr" presetSubtype="3" fill="hold" nodeType="withEffect">
                                  <p:stCondLst>
                                    <p:cond delay="1000"/>
                                  </p:stCondLst>
                                  <p:childTnLst>
                                    <p:set>
                                      <p:cBhvr>
                                        <p:cTn id="31" dur="1" fill="hold">
                                          <p:stCondLst>
                                            <p:cond delay="0"/>
                                          </p:stCondLst>
                                        </p:cTn>
                                        <p:tgtEl>
                                          <p:spTgt spid="29"/>
                                        </p:tgtEl>
                                        <p:attrNameLst>
                                          <p:attrName>style.visibility</p:attrName>
                                        </p:attrNameLst>
                                      </p:cBhvr>
                                      <p:to>
                                        <p:strVal val="visible"/>
                                      </p:to>
                                    </p:set>
                                    <p:animEffect transition="in" filter="strips(upRight)">
                                      <p:cBhvr>
                                        <p:cTn id="32" dur="500"/>
                                        <p:tgtEl>
                                          <p:spTgt spid="29"/>
                                        </p:tgtEl>
                                      </p:cBhvr>
                                    </p:animEffect>
                                  </p:childTnLst>
                                </p:cTn>
                              </p:par>
                              <p:par>
                                <p:cTn id="33" presetID="6" presetClass="emph" presetSubtype="0" accel="52000" decel="48000" autoRev="1" fill="hold" nodeType="withEffect">
                                  <p:stCondLst>
                                    <p:cond delay="1000"/>
                                  </p:stCondLst>
                                  <p:childTnLst>
                                    <p:animScale>
                                      <p:cBhvr>
                                        <p:cTn id="34" dur="350" fill="hold"/>
                                        <p:tgtEl>
                                          <p:spTgt spid="29"/>
                                        </p:tgtEl>
                                      </p:cBhvr>
                                      <p:by x="110000" y="110000"/>
                                    </p:animScale>
                                  </p:childTnLst>
                                </p:cTn>
                              </p:par>
                              <p:par>
                                <p:cTn id="35" presetID="18" presetClass="entr" presetSubtype="3" fill="hold" nodeType="withEffect">
                                  <p:stCondLst>
                                    <p:cond delay="1250"/>
                                  </p:stCondLst>
                                  <p:childTnLst>
                                    <p:set>
                                      <p:cBhvr>
                                        <p:cTn id="36" dur="1" fill="hold">
                                          <p:stCondLst>
                                            <p:cond delay="0"/>
                                          </p:stCondLst>
                                        </p:cTn>
                                        <p:tgtEl>
                                          <p:spTgt spid="32"/>
                                        </p:tgtEl>
                                        <p:attrNameLst>
                                          <p:attrName>style.visibility</p:attrName>
                                        </p:attrNameLst>
                                      </p:cBhvr>
                                      <p:to>
                                        <p:strVal val="visible"/>
                                      </p:to>
                                    </p:set>
                                    <p:animEffect transition="in" filter="strips(upRight)">
                                      <p:cBhvr>
                                        <p:cTn id="37" dur="500"/>
                                        <p:tgtEl>
                                          <p:spTgt spid="32"/>
                                        </p:tgtEl>
                                      </p:cBhvr>
                                    </p:animEffect>
                                  </p:childTnLst>
                                </p:cTn>
                              </p:par>
                              <p:par>
                                <p:cTn id="38" presetID="6" presetClass="emph" presetSubtype="0" accel="52000" decel="48000" autoRev="1" fill="hold" nodeType="withEffect">
                                  <p:stCondLst>
                                    <p:cond delay="1250"/>
                                  </p:stCondLst>
                                  <p:childTnLst>
                                    <p:animScale>
                                      <p:cBhvr>
                                        <p:cTn id="39" dur="350" fill="hold"/>
                                        <p:tgtEl>
                                          <p:spTgt spid="32"/>
                                        </p:tgtEl>
                                      </p:cBhvr>
                                      <p:by x="110000" y="110000"/>
                                    </p:animScale>
                                  </p:childTnLst>
                                </p:cTn>
                              </p:par>
                              <p:par>
                                <p:cTn id="40" presetID="18" presetClass="entr" presetSubtype="3" fill="hold" nodeType="withEffect">
                                  <p:stCondLst>
                                    <p:cond delay="1500"/>
                                  </p:stCondLst>
                                  <p:childTnLst>
                                    <p:set>
                                      <p:cBhvr>
                                        <p:cTn id="41" dur="1" fill="hold">
                                          <p:stCondLst>
                                            <p:cond delay="0"/>
                                          </p:stCondLst>
                                        </p:cTn>
                                        <p:tgtEl>
                                          <p:spTgt spid="35"/>
                                        </p:tgtEl>
                                        <p:attrNameLst>
                                          <p:attrName>style.visibility</p:attrName>
                                        </p:attrNameLst>
                                      </p:cBhvr>
                                      <p:to>
                                        <p:strVal val="visible"/>
                                      </p:to>
                                    </p:set>
                                    <p:animEffect transition="in" filter="strips(upRight)">
                                      <p:cBhvr>
                                        <p:cTn id="42" dur="500"/>
                                        <p:tgtEl>
                                          <p:spTgt spid="35"/>
                                        </p:tgtEl>
                                      </p:cBhvr>
                                    </p:animEffect>
                                  </p:childTnLst>
                                </p:cTn>
                              </p:par>
                              <p:par>
                                <p:cTn id="43" presetID="6" presetClass="emph" presetSubtype="0" accel="52000" decel="48000" autoRev="1" fill="hold" nodeType="withEffect">
                                  <p:stCondLst>
                                    <p:cond delay="1500"/>
                                  </p:stCondLst>
                                  <p:childTnLst>
                                    <p:animScale>
                                      <p:cBhvr>
                                        <p:cTn id="44" dur="350" fill="hold"/>
                                        <p:tgtEl>
                                          <p:spTgt spid="35"/>
                                        </p:tgtEl>
                                      </p:cBhvr>
                                      <p:by x="110000" y="110000"/>
                                    </p:animScale>
                                  </p:childTnLst>
                                </p:cTn>
                              </p:par>
                              <p:par>
                                <p:cTn id="45" presetID="18" presetClass="entr" presetSubtype="3" fill="hold" nodeType="withEffect">
                                  <p:stCondLst>
                                    <p:cond delay="1750"/>
                                  </p:stCondLst>
                                  <p:childTnLst>
                                    <p:set>
                                      <p:cBhvr>
                                        <p:cTn id="46" dur="1" fill="hold">
                                          <p:stCondLst>
                                            <p:cond delay="0"/>
                                          </p:stCondLst>
                                        </p:cTn>
                                        <p:tgtEl>
                                          <p:spTgt spid="38"/>
                                        </p:tgtEl>
                                        <p:attrNameLst>
                                          <p:attrName>style.visibility</p:attrName>
                                        </p:attrNameLst>
                                      </p:cBhvr>
                                      <p:to>
                                        <p:strVal val="visible"/>
                                      </p:to>
                                    </p:set>
                                    <p:animEffect transition="in" filter="strips(upRight)">
                                      <p:cBhvr>
                                        <p:cTn id="47" dur="500"/>
                                        <p:tgtEl>
                                          <p:spTgt spid="38"/>
                                        </p:tgtEl>
                                      </p:cBhvr>
                                    </p:animEffect>
                                  </p:childTnLst>
                                </p:cTn>
                              </p:par>
                              <p:par>
                                <p:cTn id="48" presetID="6" presetClass="emph" presetSubtype="0" accel="52000" decel="48000" autoRev="1" fill="hold" nodeType="withEffect">
                                  <p:stCondLst>
                                    <p:cond delay="1750"/>
                                  </p:stCondLst>
                                  <p:childTnLst>
                                    <p:animScale>
                                      <p:cBhvr>
                                        <p:cTn id="49" dur="350" fill="hold"/>
                                        <p:tgtEl>
                                          <p:spTgt spid="38"/>
                                        </p:tgtEl>
                                      </p:cBhvr>
                                      <p:by x="110000" y="110000"/>
                                    </p:animScale>
                                  </p:childTnLst>
                                </p:cTn>
                              </p:par>
                              <p:par>
                                <p:cTn id="50" presetID="18" presetClass="entr" presetSubtype="3" fill="hold" nodeType="withEffect">
                                  <p:stCondLst>
                                    <p:cond delay="250"/>
                                  </p:stCondLst>
                                  <p:childTnLst>
                                    <p:set>
                                      <p:cBhvr>
                                        <p:cTn id="51" dur="1" fill="hold">
                                          <p:stCondLst>
                                            <p:cond delay="0"/>
                                          </p:stCondLst>
                                        </p:cTn>
                                        <p:tgtEl>
                                          <p:spTgt spid="2"/>
                                        </p:tgtEl>
                                        <p:attrNameLst>
                                          <p:attrName>style.visibility</p:attrName>
                                        </p:attrNameLst>
                                      </p:cBhvr>
                                      <p:to>
                                        <p:strVal val="visible"/>
                                      </p:to>
                                    </p:set>
                                    <p:animEffect transition="in" filter="strips(upRight)">
                                      <p:cBhvr>
                                        <p:cTn id="52" dur="500"/>
                                        <p:tgtEl>
                                          <p:spTgt spid="2"/>
                                        </p:tgtEl>
                                      </p:cBhvr>
                                    </p:animEffect>
                                  </p:childTnLst>
                                </p:cTn>
                              </p:par>
                              <p:par>
                                <p:cTn id="53" presetID="6" presetClass="emph" presetSubtype="0" accel="52000" decel="48000" autoRev="1" fill="hold" nodeType="withEffect">
                                  <p:stCondLst>
                                    <p:cond delay="250"/>
                                  </p:stCondLst>
                                  <p:childTnLst>
                                    <p:animScale>
                                      <p:cBhvr>
                                        <p:cTn id="54" dur="350" fill="hold"/>
                                        <p:tgtEl>
                                          <p:spTgt spid="2"/>
                                        </p:tgtEl>
                                      </p:cBhvr>
                                      <p:by x="110000" y="11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p:bldP spid="20" grpId="1"/>
      <p:bldP spid="21" grpId="0"/>
      <p:bldP spid="22" grpId="0"/>
      <p:bldP spid="23" grpId="0"/>
      <p:bldP spid="24" grpId="0"/>
      <p:bldP spid="25" grpId="0"/>
    </p:bldLst>
  </p:timing>
</p:sld>
</file>

<file path=ppt/slides/slide6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48">
            <a:extLst>
              <a:ext uri="{FF2B5EF4-FFF2-40B4-BE49-F238E27FC236}">
                <a16:creationId xmlns:a16="http://schemas.microsoft.com/office/drawing/2014/main" id="{5086DD69-45E6-4552-B5E7-3D948E7A6D68}"/>
              </a:ext>
            </a:extLst>
          </p:cNvPr>
          <p:cNvGrpSpPr/>
          <p:nvPr/>
        </p:nvGrpSpPr>
        <p:grpSpPr>
          <a:xfrm>
            <a:off x="916449" y="1376599"/>
            <a:ext cx="3572107" cy="3766457"/>
            <a:chOff x="916449" y="1376599"/>
            <a:chExt cx="3572107" cy="3766457"/>
          </a:xfrm>
        </p:grpSpPr>
        <p:grpSp>
          <p:nvGrpSpPr>
            <p:cNvPr id="3" name="Group 33">
              <a:extLst>
                <a:ext uri="{FF2B5EF4-FFF2-40B4-BE49-F238E27FC236}">
                  <a16:creationId xmlns:a16="http://schemas.microsoft.com/office/drawing/2014/main" id="{10C4C2A5-6963-4F96-824C-B1C4DD231A65}"/>
                </a:ext>
              </a:extLst>
            </p:cNvPr>
            <p:cNvGrpSpPr/>
            <p:nvPr/>
          </p:nvGrpSpPr>
          <p:grpSpPr>
            <a:xfrm>
              <a:off x="916449" y="1376599"/>
              <a:ext cx="3572107" cy="3766457"/>
              <a:chOff x="6879771" y="1983730"/>
              <a:chExt cx="4622757" cy="4874270"/>
            </a:xfrm>
          </p:grpSpPr>
          <p:sp>
            <p:nvSpPr>
              <p:cNvPr id="8" name="Graphic 1">
                <a:extLst>
                  <a:ext uri="{FF2B5EF4-FFF2-40B4-BE49-F238E27FC236}">
                    <a16:creationId xmlns:a16="http://schemas.microsoft.com/office/drawing/2014/main" id="{E3698129-1590-4B1B-8C8A-6953FF61946C}"/>
                  </a:ext>
                </a:extLst>
              </p:cNvPr>
              <p:cNvSpPr/>
              <p:nvPr/>
            </p:nvSpPr>
            <p:spPr>
              <a:xfrm>
                <a:off x="7319102" y="2593554"/>
                <a:ext cx="3642750" cy="4264446"/>
              </a:xfrm>
              <a:custGeom>
                <a:avLst/>
                <a:gdLst>
                  <a:gd name="connsiteX0" fmla="*/ 1114425 w 3571875"/>
                  <a:gd name="connsiteY0" fmla="*/ 4181475 h 4181475"/>
                  <a:gd name="connsiteX1" fmla="*/ 2457450 w 3571875"/>
                  <a:gd name="connsiteY1" fmla="*/ 4181475 h 4181475"/>
                  <a:gd name="connsiteX2" fmla="*/ 2009775 w 3571875"/>
                  <a:gd name="connsiteY2" fmla="*/ 2428875 h 4181475"/>
                  <a:gd name="connsiteX3" fmla="*/ 2562225 w 3571875"/>
                  <a:gd name="connsiteY3" fmla="*/ 2019300 h 4181475"/>
                  <a:gd name="connsiteX4" fmla="*/ 3571875 w 3571875"/>
                  <a:gd name="connsiteY4" fmla="*/ 962025 h 4181475"/>
                  <a:gd name="connsiteX5" fmla="*/ 2581275 w 3571875"/>
                  <a:gd name="connsiteY5" fmla="*/ 1876425 h 4181475"/>
                  <a:gd name="connsiteX6" fmla="*/ 2143125 w 3571875"/>
                  <a:gd name="connsiteY6" fmla="*/ 1809750 h 4181475"/>
                  <a:gd name="connsiteX7" fmla="*/ 2466975 w 3571875"/>
                  <a:gd name="connsiteY7" fmla="*/ 1171575 h 4181475"/>
                  <a:gd name="connsiteX8" fmla="*/ 2743200 w 3571875"/>
                  <a:gd name="connsiteY8" fmla="*/ 628650 h 4181475"/>
                  <a:gd name="connsiteX9" fmla="*/ 3171825 w 3571875"/>
                  <a:gd name="connsiteY9" fmla="*/ 142875 h 4181475"/>
                  <a:gd name="connsiteX10" fmla="*/ 2600325 w 3571875"/>
                  <a:gd name="connsiteY10" fmla="*/ 628650 h 4181475"/>
                  <a:gd name="connsiteX11" fmla="*/ 2314575 w 3571875"/>
                  <a:gd name="connsiteY11" fmla="*/ 0 h 4181475"/>
                  <a:gd name="connsiteX12" fmla="*/ 2438400 w 3571875"/>
                  <a:gd name="connsiteY12" fmla="*/ 847725 h 4181475"/>
                  <a:gd name="connsiteX13" fmla="*/ 1819275 w 3571875"/>
                  <a:gd name="connsiteY13" fmla="*/ 1847850 h 4181475"/>
                  <a:gd name="connsiteX14" fmla="*/ 1419225 w 3571875"/>
                  <a:gd name="connsiteY14" fmla="*/ 1257300 h 4181475"/>
                  <a:gd name="connsiteX15" fmla="*/ 1704975 w 3571875"/>
                  <a:gd name="connsiteY15" fmla="*/ 609600 h 4181475"/>
                  <a:gd name="connsiteX16" fmla="*/ 1362075 w 3571875"/>
                  <a:gd name="connsiteY16" fmla="*/ 1162050 h 4181475"/>
                  <a:gd name="connsiteX17" fmla="*/ 1228725 w 3571875"/>
                  <a:gd name="connsiteY17" fmla="*/ 209550 h 4181475"/>
                  <a:gd name="connsiteX18" fmla="*/ 1257300 w 3571875"/>
                  <a:gd name="connsiteY18" fmla="*/ 1295400 h 4181475"/>
                  <a:gd name="connsiteX19" fmla="*/ 1476375 w 3571875"/>
                  <a:gd name="connsiteY19" fmla="*/ 1895475 h 4181475"/>
                  <a:gd name="connsiteX20" fmla="*/ 847725 w 3571875"/>
                  <a:gd name="connsiteY20" fmla="*/ 1323975 h 4181475"/>
                  <a:gd name="connsiteX21" fmla="*/ 466725 w 3571875"/>
                  <a:gd name="connsiteY21" fmla="*/ 666750 h 4181475"/>
                  <a:gd name="connsiteX22" fmla="*/ 771525 w 3571875"/>
                  <a:gd name="connsiteY22" fmla="*/ 1295400 h 4181475"/>
                  <a:gd name="connsiteX23" fmla="*/ 0 w 3571875"/>
                  <a:gd name="connsiteY23" fmla="*/ 1162050 h 4181475"/>
                  <a:gd name="connsiteX24" fmla="*/ 628650 w 3571875"/>
                  <a:gd name="connsiteY24" fmla="*/ 1495425 h 4181475"/>
                  <a:gd name="connsiteX25" fmla="*/ 1123950 w 3571875"/>
                  <a:gd name="connsiteY25" fmla="*/ 1838325 h 4181475"/>
                  <a:gd name="connsiteX26" fmla="*/ 571500 w 3571875"/>
                  <a:gd name="connsiteY26" fmla="*/ 1905000 h 4181475"/>
                  <a:gd name="connsiteX27" fmla="*/ 962025 w 3571875"/>
                  <a:gd name="connsiteY27" fmla="*/ 1885950 h 4181475"/>
                  <a:gd name="connsiteX28" fmla="*/ 1676400 w 3571875"/>
                  <a:gd name="connsiteY28" fmla="*/ 2476500 h 4181475"/>
                  <a:gd name="connsiteX29" fmla="*/ 1114425 w 3571875"/>
                  <a:gd name="connsiteY29" fmla="*/ 4181475 h 418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3571875" h="4181475">
                    <a:moveTo>
                      <a:pt x="1114425" y="4181475"/>
                    </a:moveTo>
                    <a:lnTo>
                      <a:pt x="2457450" y="4181475"/>
                    </a:lnTo>
                    <a:cubicBezTo>
                      <a:pt x="2457450" y="4181475"/>
                      <a:pt x="1845945" y="3574733"/>
                      <a:pt x="2009775" y="2428875"/>
                    </a:cubicBezTo>
                    <a:cubicBezTo>
                      <a:pt x="2047875" y="2162175"/>
                      <a:pt x="2314575" y="2105025"/>
                      <a:pt x="2562225" y="2019300"/>
                    </a:cubicBezTo>
                    <a:cubicBezTo>
                      <a:pt x="2809875" y="1933575"/>
                      <a:pt x="3314700" y="1619250"/>
                      <a:pt x="3571875" y="962025"/>
                    </a:cubicBezTo>
                    <a:cubicBezTo>
                      <a:pt x="3571875" y="962025"/>
                      <a:pt x="3114675" y="1743075"/>
                      <a:pt x="2581275" y="1876425"/>
                    </a:cubicBezTo>
                    <a:cubicBezTo>
                      <a:pt x="2047875" y="2009775"/>
                      <a:pt x="2019300" y="1962150"/>
                      <a:pt x="2143125" y="1809750"/>
                    </a:cubicBezTo>
                    <a:cubicBezTo>
                      <a:pt x="2266950" y="1657350"/>
                      <a:pt x="2390775" y="1400175"/>
                      <a:pt x="2466975" y="1171575"/>
                    </a:cubicBezTo>
                    <a:cubicBezTo>
                      <a:pt x="2543175" y="942975"/>
                      <a:pt x="2571750" y="762000"/>
                      <a:pt x="2743200" y="628650"/>
                    </a:cubicBezTo>
                    <a:cubicBezTo>
                      <a:pt x="2914650" y="495300"/>
                      <a:pt x="2981325" y="457200"/>
                      <a:pt x="3171825" y="142875"/>
                    </a:cubicBezTo>
                    <a:cubicBezTo>
                      <a:pt x="3171825" y="142875"/>
                      <a:pt x="2875598" y="578168"/>
                      <a:pt x="2600325" y="628650"/>
                    </a:cubicBezTo>
                    <a:cubicBezTo>
                      <a:pt x="2495550" y="647700"/>
                      <a:pt x="2628900" y="361950"/>
                      <a:pt x="2314575" y="0"/>
                    </a:cubicBezTo>
                    <a:cubicBezTo>
                      <a:pt x="2314575" y="0"/>
                      <a:pt x="2571750" y="428625"/>
                      <a:pt x="2438400" y="847725"/>
                    </a:cubicBezTo>
                    <a:cubicBezTo>
                      <a:pt x="2305050" y="1266825"/>
                      <a:pt x="2038350" y="1866900"/>
                      <a:pt x="1819275" y="1847850"/>
                    </a:cubicBezTo>
                    <a:cubicBezTo>
                      <a:pt x="1600200" y="1828800"/>
                      <a:pt x="1362075" y="1333500"/>
                      <a:pt x="1419225" y="1257300"/>
                    </a:cubicBezTo>
                    <a:cubicBezTo>
                      <a:pt x="1476375" y="1181100"/>
                      <a:pt x="1666875" y="1076325"/>
                      <a:pt x="1704975" y="609600"/>
                    </a:cubicBezTo>
                    <a:cubicBezTo>
                      <a:pt x="1704975" y="609600"/>
                      <a:pt x="1604010" y="1122045"/>
                      <a:pt x="1362075" y="1162050"/>
                    </a:cubicBezTo>
                    <a:cubicBezTo>
                      <a:pt x="1247775" y="1181100"/>
                      <a:pt x="1190625" y="752475"/>
                      <a:pt x="1228725" y="209550"/>
                    </a:cubicBezTo>
                    <a:cubicBezTo>
                      <a:pt x="1228725" y="209550"/>
                      <a:pt x="1095375" y="952500"/>
                      <a:pt x="1257300" y="1295400"/>
                    </a:cubicBezTo>
                    <a:cubicBezTo>
                      <a:pt x="1419225" y="1638300"/>
                      <a:pt x="1647825" y="1971675"/>
                      <a:pt x="1476375" y="1895475"/>
                    </a:cubicBezTo>
                    <a:cubicBezTo>
                      <a:pt x="1304925" y="1819275"/>
                      <a:pt x="923925" y="1543050"/>
                      <a:pt x="847725" y="1323975"/>
                    </a:cubicBezTo>
                    <a:cubicBezTo>
                      <a:pt x="771525" y="1104900"/>
                      <a:pt x="676275" y="866775"/>
                      <a:pt x="466725" y="666750"/>
                    </a:cubicBezTo>
                    <a:cubicBezTo>
                      <a:pt x="466725" y="666750"/>
                      <a:pt x="762000" y="1085850"/>
                      <a:pt x="771525" y="1295400"/>
                    </a:cubicBezTo>
                    <a:cubicBezTo>
                      <a:pt x="781050" y="1504950"/>
                      <a:pt x="514350" y="1447800"/>
                      <a:pt x="0" y="1162050"/>
                    </a:cubicBezTo>
                    <a:cubicBezTo>
                      <a:pt x="0" y="1162050"/>
                      <a:pt x="342900" y="1438275"/>
                      <a:pt x="628650" y="1495425"/>
                    </a:cubicBezTo>
                    <a:cubicBezTo>
                      <a:pt x="914400" y="1552575"/>
                      <a:pt x="1257300" y="1838325"/>
                      <a:pt x="1123950" y="1838325"/>
                    </a:cubicBezTo>
                    <a:cubicBezTo>
                      <a:pt x="990600" y="1838325"/>
                      <a:pt x="666750" y="1790700"/>
                      <a:pt x="571500" y="1905000"/>
                    </a:cubicBezTo>
                    <a:cubicBezTo>
                      <a:pt x="571500" y="1905000"/>
                      <a:pt x="752475" y="1857375"/>
                      <a:pt x="962025" y="1885950"/>
                    </a:cubicBezTo>
                    <a:cubicBezTo>
                      <a:pt x="1171575" y="1914525"/>
                      <a:pt x="1657350" y="1933575"/>
                      <a:pt x="1676400" y="2476500"/>
                    </a:cubicBezTo>
                    <a:cubicBezTo>
                      <a:pt x="1695450" y="3019425"/>
                      <a:pt x="1638300" y="3648075"/>
                      <a:pt x="1114425" y="4181475"/>
                    </a:cubicBezTo>
                    <a:close/>
                  </a:path>
                </a:pathLst>
              </a:custGeom>
              <a:solidFill>
                <a:schemeClr val="tx1">
                  <a:lumMod val="75000"/>
                  <a:lumOff val="25000"/>
                </a:scheme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9" name="Teardrop 3">
                <a:extLst>
                  <a:ext uri="{FF2B5EF4-FFF2-40B4-BE49-F238E27FC236}">
                    <a16:creationId xmlns:a16="http://schemas.microsoft.com/office/drawing/2014/main" id="{33B106A4-3F68-45C5-AE66-26D7C7CC70E9}"/>
                  </a:ext>
                </a:extLst>
              </p:cNvPr>
              <p:cNvSpPr/>
              <p:nvPr/>
            </p:nvSpPr>
            <p:spPr>
              <a:xfrm rot="16683835">
                <a:off x="7315406" y="2809286"/>
                <a:ext cx="982437" cy="982437"/>
              </a:xfrm>
              <a:prstGeom prst="teardrop">
                <a:avLst/>
              </a:prstGeom>
              <a:solidFill>
                <a:schemeClr val="accent3"/>
              </a:solidFill>
              <a:ln>
                <a:noFill/>
              </a:ln>
              <a:effectLst>
                <a:outerShdw blurRad="952500" sx="90000" sy="900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等线" panose="020F0502020204030204"/>
                  <a:ea typeface="+mn-ea"/>
                  <a:cs typeface="+mn-cs"/>
                </a:endParaRPr>
              </a:p>
            </p:txBody>
          </p:sp>
          <p:sp>
            <p:nvSpPr>
              <p:cNvPr id="10" name="Teardrop 6">
                <a:extLst>
                  <a:ext uri="{FF2B5EF4-FFF2-40B4-BE49-F238E27FC236}">
                    <a16:creationId xmlns:a16="http://schemas.microsoft.com/office/drawing/2014/main" id="{D8E31253-202B-40B3-BA69-A3820F4DC3B3}"/>
                  </a:ext>
                </a:extLst>
              </p:cNvPr>
              <p:cNvSpPr/>
              <p:nvPr/>
            </p:nvSpPr>
            <p:spPr>
              <a:xfrm>
                <a:off x="8823788" y="3011173"/>
                <a:ext cx="650958" cy="650958"/>
              </a:xfrm>
              <a:prstGeom prst="teardrop">
                <a:avLst/>
              </a:prstGeom>
              <a:solidFill>
                <a:schemeClr val="accent2"/>
              </a:solidFill>
              <a:ln>
                <a:noFill/>
              </a:ln>
              <a:effectLst>
                <a:outerShdw blurRad="952500" sx="90000" sy="900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等线" panose="020F0502020204030204"/>
                  <a:ea typeface="+mn-ea"/>
                  <a:cs typeface="+mn-cs"/>
                </a:endParaRPr>
              </a:p>
            </p:txBody>
          </p:sp>
          <p:sp>
            <p:nvSpPr>
              <p:cNvPr id="11" name="Teardrop 9">
                <a:extLst>
                  <a:ext uri="{FF2B5EF4-FFF2-40B4-BE49-F238E27FC236}">
                    <a16:creationId xmlns:a16="http://schemas.microsoft.com/office/drawing/2014/main" id="{E550A48A-6514-43DF-B9AB-0F591655457A}"/>
                  </a:ext>
                </a:extLst>
              </p:cNvPr>
              <p:cNvSpPr/>
              <p:nvPr/>
            </p:nvSpPr>
            <p:spPr>
              <a:xfrm rot="11807279">
                <a:off x="7585608" y="4278701"/>
                <a:ext cx="650958" cy="650958"/>
              </a:xfrm>
              <a:prstGeom prst="teardrop">
                <a:avLst/>
              </a:prstGeom>
              <a:solidFill>
                <a:schemeClr val="accent4"/>
              </a:solidFill>
              <a:ln>
                <a:noFill/>
              </a:ln>
              <a:effectLst>
                <a:outerShdw blurRad="952500" sx="90000" sy="900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等线" panose="020F0502020204030204"/>
                  <a:ea typeface="+mn-ea"/>
                  <a:cs typeface="+mn-cs"/>
                </a:endParaRPr>
              </a:p>
            </p:txBody>
          </p:sp>
          <p:sp>
            <p:nvSpPr>
              <p:cNvPr id="12" name="Teardrop 12">
                <a:extLst>
                  <a:ext uri="{FF2B5EF4-FFF2-40B4-BE49-F238E27FC236}">
                    <a16:creationId xmlns:a16="http://schemas.microsoft.com/office/drawing/2014/main" id="{D723B666-208D-4361-A3B4-73F8863886C4}"/>
                  </a:ext>
                </a:extLst>
              </p:cNvPr>
              <p:cNvSpPr/>
              <p:nvPr/>
            </p:nvSpPr>
            <p:spPr>
              <a:xfrm rot="19461944">
                <a:off x="8085071" y="2356124"/>
                <a:ext cx="982437" cy="982437"/>
              </a:xfrm>
              <a:prstGeom prst="teardrop">
                <a:avLst/>
              </a:prstGeom>
              <a:solidFill>
                <a:schemeClr val="accent1"/>
              </a:solidFill>
              <a:ln>
                <a:noFill/>
              </a:ln>
              <a:effectLst>
                <a:outerShdw blurRad="952500" sx="90000" sy="900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等线" panose="020F0502020204030204"/>
                  <a:ea typeface="+mn-ea"/>
                  <a:cs typeface="+mn-cs"/>
                </a:endParaRPr>
              </a:p>
            </p:txBody>
          </p:sp>
          <p:sp>
            <p:nvSpPr>
              <p:cNvPr id="13" name="Teardrop 15">
                <a:extLst>
                  <a:ext uri="{FF2B5EF4-FFF2-40B4-BE49-F238E27FC236}">
                    <a16:creationId xmlns:a16="http://schemas.microsoft.com/office/drawing/2014/main" id="{59D4E74C-25E9-4058-8D61-6ED34491C50C}"/>
                  </a:ext>
                </a:extLst>
              </p:cNvPr>
              <p:cNvSpPr/>
              <p:nvPr/>
            </p:nvSpPr>
            <p:spPr>
              <a:xfrm rot="16200000">
                <a:off x="9066655" y="1983730"/>
                <a:ext cx="982437" cy="982437"/>
              </a:xfrm>
              <a:prstGeom prst="teardrop">
                <a:avLst/>
              </a:prstGeom>
              <a:solidFill>
                <a:schemeClr val="accent6"/>
              </a:solidFill>
              <a:ln>
                <a:noFill/>
              </a:ln>
              <a:effectLst>
                <a:outerShdw blurRad="952500" sx="90000" sy="900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等线" panose="020F0502020204030204"/>
                  <a:ea typeface="+mn-ea"/>
                  <a:cs typeface="+mn-cs"/>
                </a:endParaRPr>
              </a:p>
            </p:txBody>
          </p:sp>
          <p:sp>
            <p:nvSpPr>
              <p:cNvPr id="14" name="Teardrop 18">
                <a:extLst>
                  <a:ext uri="{FF2B5EF4-FFF2-40B4-BE49-F238E27FC236}">
                    <a16:creationId xmlns:a16="http://schemas.microsoft.com/office/drawing/2014/main" id="{F4689D72-B778-4620-9861-6C5838703698}"/>
                  </a:ext>
                </a:extLst>
              </p:cNvPr>
              <p:cNvSpPr/>
              <p:nvPr/>
            </p:nvSpPr>
            <p:spPr>
              <a:xfrm rot="14888058">
                <a:off x="6879771" y="3448113"/>
                <a:ext cx="982437" cy="982437"/>
              </a:xfrm>
              <a:prstGeom prst="teardrop">
                <a:avLst/>
              </a:prstGeom>
              <a:solidFill>
                <a:schemeClr val="accent5"/>
              </a:solidFill>
              <a:ln>
                <a:noFill/>
              </a:ln>
              <a:effectLst>
                <a:outerShdw blurRad="952500" sx="90000" sy="900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等线" panose="020F0502020204030204"/>
                  <a:ea typeface="+mn-ea"/>
                  <a:cs typeface="+mn-cs"/>
                </a:endParaRPr>
              </a:p>
            </p:txBody>
          </p:sp>
          <p:sp>
            <p:nvSpPr>
              <p:cNvPr id="15" name="Teardrop 21">
                <a:extLst>
                  <a:ext uri="{FF2B5EF4-FFF2-40B4-BE49-F238E27FC236}">
                    <a16:creationId xmlns:a16="http://schemas.microsoft.com/office/drawing/2014/main" id="{7693D8A7-BDF3-4FBF-99ED-109FC6B02A45}"/>
                  </a:ext>
                </a:extLst>
              </p:cNvPr>
              <p:cNvSpPr/>
              <p:nvPr/>
            </p:nvSpPr>
            <p:spPr>
              <a:xfrm rot="20617036">
                <a:off x="10167697" y="2102335"/>
                <a:ext cx="982437" cy="982437"/>
              </a:xfrm>
              <a:prstGeom prst="teardrop">
                <a:avLst/>
              </a:prstGeom>
              <a:solidFill>
                <a:schemeClr val="accent5"/>
              </a:solidFill>
              <a:ln>
                <a:noFill/>
              </a:ln>
              <a:effectLst>
                <a:outerShdw blurRad="952500" sx="90000" sy="900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等线" panose="020F0502020204030204"/>
                  <a:ea typeface="+mn-ea"/>
                  <a:cs typeface="+mn-cs"/>
                </a:endParaRPr>
              </a:p>
            </p:txBody>
          </p:sp>
          <p:sp>
            <p:nvSpPr>
              <p:cNvPr id="16" name="Teardrop 24">
                <a:extLst>
                  <a:ext uri="{FF2B5EF4-FFF2-40B4-BE49-F238E27FC236}">
                    <a16:creationId xmlns:a16="http://schemas.microsoft.com/office/drawing/2014/main" id="{845EDEDC-0BDC-430E-97CB-43CC403EA51F}"/>
                  </a:ext>
                </a:extLst>
              </p:cNvPr>
              <p:cNvSpPr/>
              <p:nvPr/>
            </p:nvSpPr>
            <p:spPr>
              <a:xfrm rot="21096654">
                <a:off x="10421176" y="3128786"/>
                <a:ext cx="1081352" cy="1081352"/>
              </a:xfrm>
              <a:prstGeom prst="teardrop">
                <a:avLst/>
              </a:prstGeom>
              <a:solidFill>
                <a:schemeClr val="accent4"/>
              </a:solidFill>
              <a:ln>
                <a:noFill/>
              </a:ln>
              <a:effectLst>
                <a:outerShdw blurRad="952500" sx="90000" sy="900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等线" panose="020F0502020204030204"/>
                  <a:ea typeface="+mn-ea"/>
                  <a:cs typeface="+mn-cs"/>
                </a:endParaRPr>
              </a:p>
            </p:txBody>
          </p:sp>
        </p:grpSp>
        <p:sp>
          <p:nvSpPr>
            <p:cNvPr id="4" name="Rectangle 44">
              <a:extLst>
                <a:ext uri="{FF2B5EF4-FFF2-40B4-BE49-F238E27FC236}">
                  <a16:creationId xmlns:a16="http://schemas.microsoft.com/office/drawing/2014/main" id="{D436CE55-B6FA-4E13-8A63-6EF4FD0B7289}"/>
                </a:ext>
              </a:extLst>
            </p:cNvPr>
            <p:cNvSpPr/>
            <p:nvPr/>
          </p:nvSpPr>
          <p:spPr>
            <a:xfrm>
              <a:off x="3919117" y="2535380"/>
              <a:ext cx="303294" cy="303290"/>
            </a:xfrm>
            <a:prstGeom prst="rect">
              <a:avLst/>
            </a:prstGeom>
            <a:blipFill>
              <a:blip r:embed="rId4">
                <a:extLst>
                  <a:ext uri="{BEBA8EAE-BF5A-486C-A8C5-ECC9F3942E4B}">
                    <a14:imgProps xmlns:a14="http://schemas.microsoft.com/office/drawing/2010/main">
                      <a14:imgLayer r:embed="rId5">
                        <a14:imgEffect>
                          <a14:brightnessContrast bright="100000"/>
                        </a14:imgEffect>
                      </a14:imgLayer>
                    </a14:imgProps>
                  </a:ext>
                </a:extLst>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等线" panose="020F0502020204030204"/>
                <a:ea typeface="+mn-ea"/>
                <a:cs typeface="+mn-cs"/>
              </a:endParaRPr>
            </a:p>
          </p:txBody>
        </p:sp>
        <p:sp>
          <p:nvSpPr>
            <p:cNvPr id="5" name="Rectangle 45">
              <a:extLst>
                <a:ext uri="{FF2B5EF4-FFF2-40B4-BE49-F238E27FC236}">
                  <a16:creationId xmlns:a16="http://schemas.microsoft.com/office/drawing/2014/main" id="{293DF668-3A38-4909-B84C-BE0E23E4D311}"/>
                </a:ext>
              </a:extLst>
            </p:cNvPr>
            <p:cNvSpPr/>
            <p:nvPr/>
          </p:nvSpPr>
          <p:spPr>
            <a:xfrm>
              <a:off x="1591726" y="3259728"/>
              <a:ext cx="243288" cy="243285"/>
            </a:xfrm>
            <a:prstGeom prst="rect">
              <a:avLst/>
            </a:prstGeom>
            <a:blipFill>
              <a:blip r:embed="rId6">
                <a:extLst>
                  <a:ext uri="{BEBA8EAE-BF5A-486C-A8C5-ECC9F3942E4B}">
                    <a14:imgProps xmlns:a14="http://schemas.microsoft.com/office/drawing/2010/main">
                      <a14:imgLayer r:embed="rId7">
                        <a14:imgEffect>
                          <a14:brightnessContrast bright="100000"/>
                        </a14:imgEffect>
                      </a14:imgLayer>
                    </a14:imgProps>
                  </a:ext>
                </a:extLst>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等线" panose="020F0502020204030204"/>
                <a:ea typeface="+mn-ea"/>
                <a:cs typeface="+mn-cs"/>
              </a:endParaRPr>
            </a:p>
          </p:txBody>
        </p:sp>
        <p:sp>
          <p:nvSpPr>
            <p:cNvPr id="6" name="Rectangle 46">
              <a:extLst>
                <a:ext uri="{FF2B5EF4-FFF2-40B4-BE49-F238E27FC236}">
                  <a16:creationId xmlns:a16="http://schemas.microsoft.com/office/drawing/2014/main" id="{A6400985-4398-45FD-A41C-7C2070D300EF}"/>
                </a:ext>
              </a:extLst>
            </p:cNvPr>
            <p:cNvSpPr/>
            <p:nvPr/>
          </p:nvSpPr>
          <p:spPr>
            <a:xfrm>
              <a:off x="2020643" y="1811811"/>
              <a:ext cx="383899" cy="383895"/>
            </a:xfrm>
            <a:prstGeom prst="rect">
              <a:avLst/>
            </a:prstGeom>
            <a:blipFill>
              <a:blip r:embed="rId8"/>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等线" panose="020F0502020204030204"/>
                <a:ea typeface="+mn-ea"/>
                <a:cs typeface="+mn-cs"/>
              </a:endParaRPr>
            </a:p>
          </p:txBody>
        </p:sp>
        <p:sp>
          <p:nvSpPr>
            <p:cNvPr id="7" name="Rectangle 47">
              <a:extLst>
                <a:ext uri="{FF2B5EF4-FFF2-40B4-BE49-F238E27FC236}">
                  <a16:creationId xmlns:a16="http://schemas.microsoft.com/office/drawing/2014/main" id="{0605F1B9-8D78-4346-8CA7-651975B4CCF1}"/>
                </a:ext>
              </a:extLst>
            </p:cNvPr>
            <p:cNvSpPr/>
            <p:nvPr/>
          </p:nvSpPr>
          <p:spPr>
            <a:xfrm>
              <a:off x="1156653" y="2763871"/>
              <a:ext cx="243288" cy="243285"/>
            </a:xfrm>
            <a:prstGeom prst="rect">
              <a:avLst/>
            </a:prstGeom>
            <a:blipFill>
              <a:blip r:embed="rId9">
                <a:extLst>
                  <a:ext uri="{BEBA8EAE-BF5A-486C-A8C5-ECC9F3942E4B}">
                    <a14:imgProps xmlns:a14="http://schemas.microsoft.com/office/drawing/2010/main">
                      <a14:imgLayer r:embed="rId10">
                        <a14:imgEffect>
                          <a14:brightnessContrast bright="100000"/>
                        </a14:imgEffect>
                      </a14:imgLayer>
                    </a14:imgProps>
                  </a:ext>
                </a:extLst>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等线" panose="020F0502020204030204"/>
                <a:ea typeface="+mn-ea"/>
                <a:cs typeface="+mn-cs"/>
              </a:endParaRPr>
            </a:p>
          </p:txBody>
        </p:sp>
      </p:grpSp>
      <p:grpSp>
        <p:nvGrpSpPr>
          <p:cNvPr id="17" name="Group 27">
            <a:extLst>
              <a:ext uri="{FF2B5EF4-FFF2-40B4-BE49-F238E27FC236}">
                <a16:creationId xmlns:a16="http://schemas.microsoft.com/office/drawing/2014/main" id="{B51853B6-74FA-46C1-BE68-0616897F348F}"/>
              </a:ext>
            </a:extLst>
          </p:cNvPr>
          <p:cNvGrpSpPr/>
          <p:nvPr/>
        </p:nvGrpSpPr>
        <p:grpSpPr>
          <a:xfrm flipH="1">
            <a:off x="0" y="5048250"/>
            <a:ext cx="4947125" cy="1809750"/>
            <a:chOff x="7244874" y="5048250"/>
            <a:chExt cx="4947125" cy="1809750"/>
          </a:xfrm>
        </p:grpSpPr>
        <p:sp>
          <p:nvSpPr>
            <p:cNvPr id="18" name="Rectangle: Single Corner Rounded 28">
              <a:extLst>
                <a:ext uri="{FF2B5EF4-FFF2-40B4-BE49-F238E27FC236}">
                  <a16:creationId xmlns:a16="http://schemas.microsoft.com/office/drawing/2014/main" id="{CD0E76BA-BC59-4D13-92A9-64EB53940180}"/>
                </a:ext>
              </a:extLst>
            </p:cNvPr>
            <p:cNvSpPr/>
            <p:nvPr/>
          </p:nvSpPr>
          <p:spPr>
            <a:xfrm flipH="1">
              <a:off x="7244874" y="5048250"/>
              <a:ext cx="4947125" cy="1809750"/>
            </a:xfrm>
            <a:prstGeom prst="round1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等线" panose="020F0502020204030204"/>
                <a:ea typeface="+mn-ea"/>
                <a:cs typeface="+mn-cs"/>
              </a:endParaRPr>
            </a:p>
          </p:txBody>
        </p:sp>
        <p:sp>
          <p:nvSpPr>
            <p:cNvPr id="19" name="Rectangle 29">
              <a:extLst>
                <a:ext uri="{FF2B5EF4-FFF2-40B4-BE49-F238E27FC236}">
                  <a16:creationId xmlns:a16="http://schemas.microsoft.com/office/drawing/2014/main" id="{49403939-179A-48D4-9083-C48D9F761A4D}"/>
                </a:ext>
              </a:extLst>
            </p:cNvPr>
            <p:cNvSpPr/>
            <p:nvPr/>
          </p:nvSpPr>
          <p:spPr>
            <a:xfrm>
              <a:off x="8106312" y="5511032"/>
              <a:ext cx="3344910" cy="1019253"/>
            </a:xfrm>
            <a:prstGeom prst="rect">
              <a:avLst/>
            </a:prstGeom>
          </p:spPr>
          <p:txBody>
            <a:bodyPr wrap="square">
              <a:spAutoFit/>
            </a:bodyPr>
            <a:lstStyle/>
            <a:p>
              <a:pPr marL="0" marR="0" lvl="0" indent="0" algn="l" defTabSz="914400" rtl="0" eaLnBrk="1" fontAlgn="auto" latinLnBrk="0" hangingPunct="1">
                <a:lnSpc>
                  <a:spcPct val="130000"/>
                </a:lnSpc>
                <a:spcBef>
                  <a:spcPts val="0"/>
                </a:spcBef>
                <a:spcAft>
                  <a:spcPts val="0"/>
                </a:spcAft>
                <a:buClrTx/>
                <a:buSzTx/>
                <a:buFontTx/>
                <a:buNone/>
                <a:tabLst/>
                <a:defRPr/>
              </a:pPr>
              <a:r>
                <a:rPr kumimoji="0" lang="en-US" sz="1600" b="0" i="1" u="none" strike="noStrike" kern="1200" cap="none" spc="0" normalizeH="0" baseline="0" noProof="0" dirty="0">
                  <a:ln>
                    <a:noFill/>
                  </a:ln>
                  <a:solidFill>
                    <a:srgbClr val="FFFFFF"/>
                  </a:solidFill>
                  <a:effectLst/>
                  <a:uLnTx/>
                  <a:uFillTx/>
                  <a:latin typeface="等线" panose="020F0502020204030204"/>
                  <a:ea typeface="Open Sans" panose="020B0606030504020204" pitchFamily="34" charset="0"/>
                  <a:cs typeface="Segoe UI" panose="020B0502040204020203" pitchFamily="34" charset="0"/>
                </a:rPr>
                <a:t>“Lorem ipsum dolor sit </a:t>
              </a:r>
              <a:r>
                <a:rPr kumimoji="0" lang="en-US" sz="1600" b="0" i="1" u="none" strike="noStrike" kern="1200" cap="none" spc="0" normalizeH="0" baseline="0" noProof="0" dirty="0" err="1">
                  <a:ln>
                    <a:noFill/>
                  </a:ln>
                  <a:solidFill>
                    <a:srgbClr val="FFFFFF"/>
                  </a:solidFill>
                  <a:effectLst/>
                  <a:uLnTx/>
                  <a:uFillTx/>
                  <a:latin typeface="等线" panose="020F0502020204030204"/>
                  <a:ea typeface="Open Sans" panose="020B0606030504020204" pitchFamily="34" charset="0"/>
                  <a:cs typeface="Segoe UI" panose="020B0502040204020203" pitchFamily="34" charset="0"/>
                </a:rPr>
                <a:t>amet</a:t>
              </a:r>
              <a:r>
                <a:rPr kumimoji="0" lang="en-US" sz="1600" b="0" i="1" u="none" strike="noStrike" kern="1200" cap="none" spc="0" normalizeH="0" baseline="0" noProof="0" dirty="0">
                  <a:ln>
                    <a:noFill/>
                  </a:ln>
                  <a:solidFill>
                    <a:srgbClr val="FFFFFF"/>
                  </a:solidFill>
                  <a:effectLst/>
                  <a:uLnTx/>
                  <a:uFillTx/>
                  <a:latin typeface="等线" panose="020F0502020204030204"/>
                  <a:ea typeface="Open Sans" panose="020B0606030504020204" pitchFamily="34" charset="0"/>
                  <a:cs typeface="Segoe UI" panose="020B0502040204020203" pitchFamily="34" charset="0"/>
                </a:rPr>
                <a:t>, </a:t>
              </a:r>
              <a:r>
                <a:rPr kumimoji="0" lang="en-US" sz="1600" b="0" i="1" u="none" strike="noStrike" kern="1200" cap="none" spc="0" normalizeH="0" baseline="0" noProof="0" dirty="0" err="1">
                  <a:ln>
                    <a:noFill/>
                  </a:ln>
                  <a:solidFill>
                    <a:srgbClr val="FFFFFF"/>
                  </a:solidFill>
                  <a:effectLst/>
                  <a:uLnTx/>
                  <a:uFillTx/>
                  <a:latin typeface="等线" panose="020F0502020204030204"/>
                  <a:ea typeface="Open Sans" panose="020B0606030504020204" pitchFamily="34" charset="0"/>
                  <a:cs typeface="Segoe UI" panose="020B0502040204020203" pitchFamily="34" charset="0"/>
                </a:rPr>
                <a:t>consectetuer</a:t>
              </a:r>
              <a:r>
                <a:rPr kumimoji="0" lang="en-US" sz="1600" b="0" i="1" u="none" strike="noStrike" kern="1200" cap="none" spc="0" normalizeH="0" baseline="0" noProof="0" dirty="0">
                  <a:ln>
                    <a:noFill/>
                  </a:ln>
                  <a:solidFill>
                    <a:srgbClr val="FFFFFF"/>
                  </a:solidFill>
                  <a:effectLst/>
                  <a:uLnTx/>
                  <a:uFillTx/>
                  <a:latin typeface="等线" panose="020F0502020204030204"/>
                  <a:ea typeface="Open Sans" panose="020B0606030504020204" pitchFamily="34" charset="0"/>
                  <a:cs typeface="Segoe UI" panose="020B0502040204020203" pitchFamily="34" charset="0"/>
                </a:rPr>
                <a:t> </a:t>
              </a:r>
              <a:r>
                <a:rPr kumimoji="0" lang="en-US" sz="1600" b="0" i="1" u="none" strike="noStrike" kern="1200" cap="none" spc="0" normalizeH="0" baseline="0" noProof="0" dirty="0" err="1">
                  <a:ln>
                    <a:noFill/>
                  </a:ln>
                  <a:solidFill>
                    <a:srgbClr val="FFFFFF"/>
                  </a:solidFill>
                  <a:effectLst/>
                  <a:uLnTx/>
                  <a:uFillTx/>
                  <a:latin typeface="等线" panose="020F0502020204030204"/>
                  <a:ea typeface="Open Sans" panose="020B0606030504020204" pitchFamily="34" charset="0"/>
                  <a:cs typeface="Segoe UI" panose="020B0502040204020203" pitchFamily="34" charset="0"/>
                </a:rPr>
                <a:t>adipiscing</a:t>
              </a:r>
              <a:r>
                <a:rPr kumimoji="0" lang="en-US" sz="1600" b="0" i="1" u="none" strike="noStrike" kern="1200" cap="none" spc="0" normalizeH="0" baseline="0" noProof="0" dirty="0">
                  <a:ln>
                    <a:noFill/>
                  </a:ln>
                  <a:solidFill>
                    <a:srgbClr val="FFFFFF"/>
                  </a:solidFill>
                  <a:effectLst/>
                  <a:uLnTx/>
                  <a:uFillTx/>
                  <a:latin typeface="等线" panose="020F0502020204030204"/>
                  <a:ea typeface="Open Sans" panose="020B0606030504020204" pitchFamily="34" charset="0"/>
                  <a:cs typeface="Segoe UI" panose="020B0502040204020203" pitchFamily="34" charset="0"/>
                </a:rPr>
                <a:t> </a:t>
              </a:r>
              <a:r>
                <a:rPr kumimoji="0" lang="en-US" sz="1600" b="0" i="1" u="none" strike="noStrike" kern="1200" cap="none" spc="0" normalizeH="0" baseline="0" noProof="0" dirty="0" err="1">
                  <a:ln>
                    <a:noFill/>
                  </a:ln>
                  <a:solidFill>
                    <a:srgbClr val="FFFFFF"/>
                  </a:solidFill>
                  <a:effectLst/>
                  <a:uLnTx/>
                  <a:uFillTx/>
                  <a:latin typeface="等线" panose="020F0502020204030204"/>
                  <a:ea typeface="Open Sans" panose="020B0606030504020204" pitchFamily="34" charset="0"/>
                  <a:cs typeface="Segoe UI" panose="020B0502040204020203" pitchFamily="34" charset="0"/>
                </a:rPr>
                <a:t>elit</a:t>
              </a:r>
              <a:r>
                <a:rPr kumimoji="0" lang="en-US" sz="1600" b="0" i="1" u="none" strike="noStrike" kern="1200" cap="none" spc="0" normalizeH="0" baseline="0" noProof="0" dirty="0">
                  <a:ln>
                    <a:noFill/>
                  </a:ln>
                  <a:solidFill>
                    <a:srgbClr val="FFFFFF"/>
                  </a:solidFill>
                  <a:effectLst/>
                  <a:uLnTx/>
                  <a:uFillTx/>
                  <a:latin typeface="等线" panose="020F0502020204030204"/>
                  <a:ea typeface="Open Sans" panose="020B0606030504020204" pitchFamily="34" charset="0"/>
                  <a:cs typeface="Segoe UI" panose="020B0502040204020203" pitchFamily="34" charset="0"/>
                </a:rPr>
                <a:t>. </a:t>
              </a:r>
              <a:r>
                <a:rPr kumimoji="0" lang="en-US" sz="1600" b="0" i="1" u="none" strike="noStrike" kern="1200" cap="none" spc="0" normalizeH="0" baseline="0" noProof="0" dirty="0" err="1">
                  <a:ln>
                    <a:noFill/>
                  </a:ln>
                  <a:solidFill>
                    <a:srgbClr val="FFFFFF"/>
                  </a:solidFill>
                  <a:effectLst/>
                  <a:uLnTx/>
                  <a:uFillTx/>
                  <a:latin typeface="等线" panose="020F0502020204030204"/>
                  <a:ea typeface="Open Sans" panose="020B0606030504020204" pitchFamily="34" charset="0"/>
                  <a:cs typeface="Segoe UI" panose="020B0502040204020203" pitchFamily="34" charset="0"/>
                </a:rPr>
                <a:t>Aenean</a:t>
              </a:r>
              <a:r>
                <a:rPr kumimoji="0" lang="en-US" sz="1600" b="0" i="1" u="none" strike="noStrike" kern="1200" cap="none" spc="0" normalizeH="0" baseline="0" noProof="0" dirty="0">
                  <a:ln>
                    <a:noFill/>
                  </a:ln>
                  <a:solidFill>
                    <a:srgbClr val="FFFFFF"/>
                  </a:solidFill>
                  <a:effectLst/>
                  <a:uLnTx/>
                  <a:uFillTx/>
                  <a:latin typeface="等线" panose="020F0502020204030204"/>
                  <a:ea typeface="Open Sans" panose="020B0606030504020204" pitchFamily="34" charset="0"/>
                  <a:cs typeface="Segoe UI" panose="020B0502040204020203" pitchFamily="34" charset="0"/>
                </a:rPr>
                <a:t> </a:t>
              </a:r>
              <a:r>
                <a:rPr kumimoji="0" lang="en-US" sz="1600" b="0" i="1" u="none" strike="noStrike" kern="1200" cap="none" spc="0" normalizeH="0" baseline="0" noProof="0" dirty="0" err="1">
                  <a:ln>
                    <a:noFill/>
                  </a:ln>
                  <a:solidFill>
                    <a:srgbClr val="FFFFFF"/>
                  </a:solidFill>
                  <a:effectLst/>
                  <a:uLnTx/>
                  <a:uFillTx/>
                  <a:latin typeface="等线" panose="020F0502020204030204"/>
                  <a:ea typeface="Open Sans" panose="020B0606030504020204" pitchFamily="34" charset="0"/>
                  <a:cs typeface="Segoe UI" panose="020B0502040204020203" pitchFamily="34" charset="0"/>
                </a:rPr>
                <a:t>commodo</a:t>
              </a:r>
              <a:endParaRPr kumimoji="0" lang="en-US" sz="1600" b="0" i="1" u="none" strike="noStrike" kern="1200" cap="none" spc="0" normalizeH="0" baseline="0" noProof="0" dirty="0">
                <a:ln>
                  <a:noFill/>
                </a:ln>
                <a:solidFill>
                  <a:srgbClr val="FFFFFF"/>
                </a:solidFill>
                <a:effectLst/>
                <a:uLnTx/>
                <a:uFillTx/>
                <a:latin typeface="等线" panose="020F0502020204030204"/>
                <a:ea typeface="Open Sans" panose="020B0606030504020204" pitchFamily="34" charset="0"/>
                <a:cs typeface="Segoe UI" panose="020B0502040204020203" pitchFamily="34" charset="0"/>
              </a:endParaRPr>
            </a:p>
          </p:txBody>
        </p:sp>
      </p:grpSp>
      <p:grpSp>
        <p:nvGrpSpPr>
          <p:cNvPr id="20" name="Group 30">
            <a:extLst>
              <a:ext uri="{FF2B5EF4-FFF2-40B4-BE49-F238E27FC236}">
                <a16:creationId xmlns:a16="http://schemas.microsoft.com/office/drawing/2014/main" id="{6E3FE57B-05A7-472C-AB09-EE4D9AD2B3E3}"/>
              </a:ext>
            </a:extLst>
          </p:cNvPr>
          <p:cNvGrpSpPr/>
          <p:nvPr/>
        </p:nvGrpSpPr>
        <p:grpSpPr>
          <a:xfrm>
            <a:off x="4180305" y="4725777"/>
            <a:ext cx="834566" cy="834562"/>
            <a:chOff x="1276174" y="4407836"/>
            <a:chExt cx="697012" cy="697010"/>
          </a:xfrm>
        </p:grpSpPr>
        <p:sp>
          <p:nvSpPr>
            <p:cNvPr id="21" name="Oval 31">
              <a:extLst>
                <a:ext uri="{FF2B5EF4-FFF2-40B4-BE49-F238E27FC236}">
                  <a16:creationId xmlns:a16="http://schemas.microsoft.com/office/drawing/2014/main" id="{55473444-039D-4E56-8B1C-342D29BDF780}"/>
                </a:ext>
              </a:extLst>
            </p:cNvPr>
            <p:cNvSpPr/>
            <p:nvPr/>
          </p:nvSpPr>
          <p:spPr>
            <a:xfrm>
              <a:off x="1276174" y="4407836"/>
              <a:ext cx="697012" cy="697010"/>
            </a:xfrm>
            <a:prstGeom prst="ellipse">
              <a:avLst/>
            </a:prstGeom>
            <a:solidFill>
              <a:schemeClr val="bg1"/>
            </a:solidFill>
            <a:ln>
              <a:noFill/>
            </a:ln>
            <a:effectLst>
              <a:outerShdw blurRad="838200" dist="381000" dir="5400000" sx="95000" sy="95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22" name="Rectangle 32">
              <a:extLst>
                <a:ext uri="{FF2B5EF4-FFF2-40B4-BE49-F238E27FC236}">
                  <a16:creationId xmlns:a16="http://schemas.microsoft.com/office/drawing/2014/main" id="{B8FF1A88-FB32-43B0-9295-C34029ABD82D}"/>
                </a:ext>
              </a:extLst>
            </p:cNvPr>
            <p:cNvSpPr/>
            <p:nvPr/>
          </p:nvSpPr>
          <p:spPr>
            <a:xfrm>
              <a:off x="1444607" y="4576268"/>
              <a:ext cx="360146" cy="360144"/>
            </a:xfrm>
            <a:prstGeom prst="rect">
              <a:avLst/>
            </a:prstGeom>
            <a:blipFill>
              <a:blip r:embed="rId11">
                <a:duotone>
                  <a:schemeClr val="accent3">
                    <a:shade val="45000"/>
                    <a:satMod val="135000"/>
                  </a:schemeClr>
                  <a:prstClr val="white"/>
                </a:duotone>
                <a:extLst>
                  <a:ext uri="{BEBA8EAE-BF5A-486C-A8C5-ECC9F3942E4B}">
                    <a14:imgProps xmlns:a14="http://schemas.microsoft.com/office/drawing/2010/main">
                      <a14:imgLayer r:embed="rId12">
                        <a14:imgEffect>
                          <a14:artisticPhotocopy/>
                        </a14:imgEffect>
                        <a14:imgEffect>
                          <a14:brightnessContrast bright="-100000" contrast="-70000"/>
                        </a14:imgEffect>
                      </a14:imgLayer>
                    </a14:imgProps>
                  </a:ext>
                </a:extLst>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等线" panose="020F0502020204030204"/>
                <a:ea typeface="+mn-ea"/>
                <a:cs typeface="+mn-cs"/>
              </a:endParaRPr>
            </a:p>
          </p:txBody>
        </p:sp>
      </p:grpSp>
      <p:sp>
        <p:nvSpPr>
          <p:cNvPr id="23" name="TextBox 34">
            <a:extLst>
              <a:ext uri="{FF2B5EF4-FFF2-40B4-BE49-F238E27FC236}">
                <a16:creationId xmlns:a16="http://schemas.microsoft.com/office/drawing/2014/main" id="{DFA9FE73-022D-4CA7-B9E3-815661174B2F}"/>
              </a:ext>
            </a:extLst>
          </p:cNvPr>
          <p:cNvSpPr txBox="1"/>
          <p:nvPr/>
        </p:nvSpPr>
        <p:spPr>
          <a:xfrm>
            <a:off x="6103822" y="1364992"/>
            <a:ext cx="4619626" cy="132343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0" b="1" i="0" u="none" strike="noStrike" kern="1200" cap="none" spc="0" normalizeH="0" baseline="0" noProof="0" dirty="0">
                <a:ln>
                  <a:noFill/>
                </a:ln>
                <a:solidFill>
                  <a:srgbClr val="000000">
                    <a:lumMod val="85000"/>
                    <a:lumOff val="15000"/>
                  </a:srgbClr>
                </a:solidFill>
                <a:effectLst/>
                <a:uLnTx/>
                <a:uFillTx/>
                <a:latin typeface="等线 Light" panose="020F0302020204030204"/>
                <a:ea typeface="+mn-ea"/>
                <a:cs typeface="Arial" panose="020B0604020202020204" pitchFamily="34" charset="0"/>
              </a:rPr>
              <a:t>Your Title </a:t>
            </a:r>
            <a:r>
              <a:rPr kumimoji="0" lang="en-US" sz="4000" b="1" i="0" u="none" strike="noStrike" kern="1200" cap="none" spc="0" normalizeH="0" baseline="0" noProof="0">
                <a:ln>
                  <a:noFill/>
                </a:ln>
                <a:solidFill>
                  <a:srgbClr val="000000">
                    <a:lumMod val="85000"/>
                    <a:lumOff val="15000"/>
                  </a:srgbClr>
                </a:solidFill>
                <a:effectLst/>
                <a:uLnTx/>
                <a:uFillTx/>
                <a:latin typeface="等线 Light" panose="020F0302020204030204"/>
                <a:ea typeface="+mn-ea"/>
                <a:cs typeface="Arial" panose="020B0604020202020204" pitchFamily="34" charset="0"/>
              </a:rPr>
              <a:t>Tex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0" b="1" i="0" u="none" strike="noStrike" kern="1200" cap="none" spc="0" normalizeH="0" baseline="0" noProof="0">
                <a:ln>
                  <a:noFill/>
                </a:ln>
                <a:solidFill>
                  <a:srgbClr val="000000">
                    <a:lumMod val="85000"/>
                    <a:lumOff val="15000"/>
                  </a:srgbClr>
                </a:solidFill>
                <a:effectLst/>
                <a:uLnTx/>
                <a:uFillTx/>
                <a:latin typeface="等线 Light" panose="020F0302020204030204"/>
                <a:ea typeface="+mn-ea"/>
                <a:cs typeface="Arial" panose="020B0604020202020204" pitchFamily="34" charset="0"/>
              </a:rPr>
              <a:t>Goes </a:t>
            </a:r>
            <a:r>
              <a:rPr kumimoji="0" lang="en-US" sz="4000" b="1" i="0" u="none" strike="noStrike" kern="1200" cap="none" spc="0" normalizeH="0" baseline="0" noProof="0" dirty="0">
                <a:ln>
                  <a:noFill/>
                </a:ln>
                <a:solidFill>
                  <a:srgbClr val="000000">
                    <a:lumMod val="85000"/>
                    <a:lumOff val="15000"/>
                  </a:srgbClr>
                </a:solidFill>
                <a:effectLst/>
                <a:uLnTx/>
                <a:uFillTx/>
                <a:latin typeface="等线 Light" panose="020F0302020204030204"/>
                <a:ea typeface="+mn-ea"/>
                <a:cs typeface="Arial" panose="020B0604020202020204" pitchFamily="34" charset="0"/>
              </a:rPr>
              <a:t>Here</a:t>
            </a:r>
          </a:p>
        </p:txBody>
      </p:sp>
      <p:sp>
        <p:nvSpPr>
          <p:cNvPr id="24" name="TextBox 35">
            <a:extLst>
              <a:ext uri="{FF2B5EF4-FFF2-40B4-BE49-F238E27FC236}">
                <a16:creationId xmlns:a16="http://schemas.microsoft.com/office/drawing/2014/main" id="{D8A57016-2431-4FFA-BB99-6FAA37A39211}"/>
              </a:ext>
            </a:extLst>
          </p:cNvPr>
          <p:cNvSpPr txBox="1"/>
          <p:nvPr/>
        </p:nvSpPr>
        <p:spPr>
          <a:xfrm>
            <a:off x="6151448" y="2800078"/>
            <a:ext cx="4572000" cy="623312"/>
          </a:xfrm>
          <a:prstGeom prst="rect">
            <a:avLst/>
          </a:prstGeom>
          <a:noFill/>
        </p:spPr>
        <p:txBody>
          <a:bodyPr wrap="square" rtlCol="0">
            <a:spAutoFit/>
          </a:bodyPr>
          <a:lstStyle/>
          <a:p>
            <a:pPr marL="0" marR="0" lvl="0" indent="0" algn="just" defTabSz="914400" rtl="0" eaLnBrk="1" fontAlgn="auto" latinLnBrk="0" hangingPunct="1">
              <a:lnSpc>
                <a:spcPct val="13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000000">
                    <a:lumMod val="65000"/>
                    <a:lumOff val="35000"/>
                  </a:srgbClr>
                </a:solidFill>
                <a:effectLst/>
                <a:uLnTx/>
                <a:uFillTx/>
                <a:latin typeface="等线" panose="020F0502020204030204"/>
                <a:ea typeface="Open Sans" panose="020B0606030504020204" pitchFamily="34" charset="0"/>
                <a:cs typeface="Segoe UI" panose="020B0502040204020203" pitchFamily="34" charset="0"/>
              </a:rPr>
              <a:t>Leverage agile frameworks to provide a robust synopsis for high level overviews.</a:t>
            </a:r>
          </a:p>
        </p:txBody>
      </p:sp>
      <p:grpSp>
        <p:nvGrpSpPr>
          <p:cNvPr id="25" name="Group 36">
            <a:extLst>
              <a:ext uri="{FF2B5EF4-FFF2-40B4-BE49-F238E27FC236}">
                <a16:creationId xmlns:a16="http://schemas.microsoft.com/office/drawing/2014/main" id="{6AA7BC13-5AE3-46C0-91CF-7BCB3AB48369}"/>
              </a:ext>
            </a:extLst>
          </p:cNvPr>
          <p:cNvGrpSpPr/>
          <p:nvPr/>
        </p:nvGrpSpPr>
        <p:grpSpPr>
          <a:xfrm>
            <a:off x="6151448" y="3626491"/>
            <a:ext cx="2282913" cy="2226766"/>
            <a:chOff x="990600" y="3499747"/>
            <a:chExt cx="2282913" cy="2226766"/>
          </a:xfrm>
        </p:grpSpPr>
        <p:sp>
          <p:nvSpPr>
            <p:cNvPr id="26" name="Rectangle: Rounded Corners 37">
              <a:extLst>
                <a:ext uri="{FF2B5EF4-FFF2-40B4-BE49-F238E27FC236}">
                  <a16:creationId xmlns:a16="http://schemas.microsoft.com/office/drawing/2014/main" id="{5E530EB0-9C7D-49DD-A46C-9F6CC0F9EE3C}"/>
                </a:ext>
              </a:extLst>
            </p:cNvPr>
            <p:cNvSpPr/>
            <p:nvPr/>
          </p:nvSpPr>
          <p:spPr>
            <a:xfrm>
              <a:off x="990600" y="3499747"/>
              <a:ext cx="2282913" cy="2226766"/>
            </a:xfrm>
            <a:prstGeom prst="roundRect">
              <a:avLst>
                <a:gd name="adj" fmla="val 3010"/>
              </a:avLst>
            </a:prstGeom>
            <a:solidFill>
              <a:schemeClr val="accent4"/>
            </a:solidFill>
            <a:ln>
              <a:noFill/>
            </a:ln>
            <a:effectLst>
              <a:outerShdw blurRad="711200" dist="431800" dir="5400000" sx="87000" sy="87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等线" panose="020F0502020204030204"/>
                <a:ea typeface="+mn-ea"/>
                <a:cs typeface="+mn-cs"/>
              </a:endParaRPr>
            </a:p>
          </p:txBody>
        </p:sp>
        <p:sp>
          <p:nvSpPr>
            <p:cNvPr id="27" name="TextBox 38">
              <a:extLst>
                <a:ext uri="{FF2B5EF4-FFF2-40B4-BE49-F238E27FC236}">
                  <a16:creationId xmlns:a16="http://schemas.microsoft.com/office/drawing/2014/main" id="{26F70FF6-D225-4B69-B565-67060968979D}"/>
                </a:ext>
              </a:extLst>
            </p:cNvPr>
            <p:cNvSpPr txBox="1"/>
            <p:nvPr/>
          </p:nvSpPr>
          <p:spPr>
            <a:xfrm>
              <a:off x="1149203" y="3864867"/>
              <a:ext cx="1324388"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3600" b="1" i="0" u="none" strike="noStrike" kern="1200" cap="none" spc="0" normalizeH="0" baseline="0" noProof="0" dirty="0">
                  <a:ln>
                    <a:noFill/>
                  </a:ln>
                  <a:solidFill>
                    <a:srgbClr val="FFFFFF"/>
                  </a:solidFill>
                  <a:effectLst/>
                  <a:uLnTx/>
                  <a:uFillTx/>
                  <a:latin typeface="等线 Light" panose="020F0302020204030204"/>
                  <a:ea typeface="+mn-ea"/>
                  <a:cs typeface="+mn-cs"/>
                </a:rPr>
                <a:t>01</a:t>
              </a:r>
            </a:p>
          </p:txBody>
        </p:sp>
        <p:sp>
          <p:nvSpPr>
            <p:cNvPr id="28" name="TextBox 39">
              <a:extLst>
                <a:ext uri="{FF2B5EF4-FFF2-40B4-BE49-F238E27FC236}">
                  <a16:creationId xmlns:a16="http://schemas.microsoft.com/office/drawing/2014/main" id="{713BAECF-31DC-4583-BBF8-3CFBF5F53843}"/>
                </a:ext>
              </a:extLst>
            </p:cNvPr>
            <p:cNvSpPr txBox="1"/>
            <p:nvPr/>
          </p:nvSpPr>
          <p:spPr>
            <a:xfrm>
              <a:off x="1149203" y="4633330"/>
              <a:ext cx="1965708" cy="787588"/>
            </a:xfrm>
            <a:prstGeom prst="rect">
              <a:avLst/>
            </a:prstGeom>
            <a:noFill/>
          </p:spPr>
          <p:txBody>
            <a:bodyPr wrap="square" rtlCol="0">
              <a:spAutoFit/>
            </a:bodyPr>
            <a:lstStyle/>
            <a:p>
              <a:pPr marL="0" marR="0" lvl="0" indent="0" algn="l" defTabSz="914400" rtl="0" eaLnBrk="1" fontAlgn="auto" latinLnBrk="0" hangingPunct="1">
                <a:lnSpc>
                  <a:spcPct val="13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等线" panose="020F0502020204030204"/>
                  <a:ea typeface="Open Sans" panose="020B0606030504020204" pitchFamily="34" charset="0"/>
                  <a:cs typeface="Segoe UI" panose="020B0502040204020203" pitchFamily="34" charset="0"/>
                </a:rPr>
                <a:t>Leverage agile frameworks to provide a robust synopsis for</a:t>
              </a:r>
            </a:p>
          </p:txBody>
        </p:sp>
      </p:grpSp>
      <p:grpSp>
        <p:nvGrpSpPr>
          <p:cNvPr id="29" name="Group 40">
            <a:extLst>
              <a:ext uri="{FF2B5EF4-FFF2-40B4-BE49-F238E27FC236}">
                <a16:creationId xmlns:a16="http://schemas.microsoft.com/office/drawing/2014/main" id="{BA0816BE-8962-457F-8A3B-366B3C0E8BEF}"/>
              </a:ext>
            </a:extLst>
          </p:cNvPr>
          <p:cNvGrpSpPr/>
          <p:nvPr/>
        </p:nvGrpSpPr>
        <p:grpSpPr>
          <a:xfrm>
            <a:off x="8643735" y="3626491"/>
            <a:ext cx="2282913" cy="2226766"/>
            <a:chOff x="3482887" y="3499747"/>
            <a:chExt cx="2282913" cy="2226766"/>
          </a:xfrm>
        </p:grpSpPr>
        <p:sp>
          <p:nvSpPr>
            <p:cNvPr id="30" name="Rectangle: Rounded Corners 41">
              <a:extLst>
                <a:ext uri="{FF2B5EF4-FFF2-40B4-BE49-F238E27FC236}">
                  <a16:creationId xmlns:a16="http://schemas.microsoft.com/office/drawing/2014/main" id="{37EB7C38-B273-4B5E-936A-F077DD59A2D2}"/>
                </a:ext>
              </a:extLst>
            </p:cNvPr>
            <p:cNvSpPr/>
            <p:nvPr/>
          </p:nvSpPr>
          <p:spPr>
            <a:xfrm>
              <a:off x="3482887" y="3499747"/>
              <a:ext cx="2282913" cy="2226766"/>
            </a:xfrm>
            <a:prstGeom prst="roundRect">
              <a:avLst>
                <a:gd name="adj" fmla="val 3010"/>
              </a:avLst>
            </a:prstGeom>
            <a:solidFill>
              <a:schemeClr val="accent6"/>
            </a:solidFill>
            <a:ln>
              <a:noFill/>
            </a:ln>
            <a:effectLst>
              <a:outerShdw blurRad="711200" dist="431800" dir="5400000" sx="87000" sy="87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等线" panose="020F0502020204030204"/>
                <a:ea typeface="+mn-ea"/>
                <a:cs typeface="+mn-cs"/>
              </a:endParaRPr>
            </a:p>
          </p:txBody>
        </p:sp>
        <p:sp>
          <p:nvSpPr>
            <p:cNvPr id="31" name="TextBox 42">
              <a:extLst>
                <a:ext uri="{FF2B5EF4-FFF2-40B4-BE49-F238E27FC236}">
                  <a16:creationId xmlns:a16="http://schemas.microsoft.com/office/drawing/2014/main" id="{D657C229-3988-4333-BCE4-8215CCF8DD53}"/>
                </a:ext>
              </a:extLst>
            </p:cNvPr>
            <p:cNvSpPr txBox="1"/>
            <p:nvPr/>
          </p:nvSpPr>
          <p:spPr>
            <a:xfrm>
              <a:off x="3641490" y="3864867"/>
              <a:ext cx="1324388"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3600" b="1" i="0" u="none" strike="noStrike" kern="1200" cap="none" spc="0" normalizeH="0" baseline="0" noProof="0" dirty="0">
                  <a:ln>
                    <a:noFill/>
                  </a:ln>
                  <a:solidFill>
                    <a:srgbClr val="FFFFFF"/>
                  </a:solidFill>
                  <a:effectLst/>
                  <a:uLnTx/>
                  <a:uFillTx/>
                  <a:latin typeface="等线 Light" panose="020F0302020204030204"/>
                  <a:ea typeface="+mn-ea"/>
                  <a:cs typeface="+mn-cs"/>
                </a:rPr>
                <a:t>02</a:t>
              </a:r>
            </a:p>
          </p:txBody>
        </p:sp>
        <p:sp>
          <p:nvSpPr>
            <p:cNvPr id="32" name="TextBox 43">
              <a:extLst>
                <a:ext uri="{FF2B5EF4-FFF2-40B4-BE49-F238E27FC236}">
                  <a16:creationId xmlns:a16="http://schemas.microsoft.com/office/drawing/2014/main" id="{A95F7CF3-4520-4A66-BED1-FBF597247180}"/>
                </a:ext>
              </a:extLst>
            </p:cNvPr>
            <p:cNvSpPr txBox="1"/>
            <p:nvPr/>
          </p:nvSpPr>
          <p:spPr>
            <a:xfrm>
              <a:off x="3641490" y="4633330"/>
              <a:ext cx="1965708" cy="787588"/>
            </a:xfrm>
            <a:prstGeom prst="rect">
              <a:avLst/>
            </a:prstGeom>
            <a:noFill/>
          </p:spPr>
          <p:txBody>
            <a:bodyPr wrap="square" rtlCol="0">
              <a:spAutoFit/>
            </a:bodyPr>
            <a:lstStyle/>
            <a:p>
              <a:pPr marL="0" marR="0" lvl="0" indent="0" algn="l" defTabSz="914400" rtl="0" eaLnBrk="1" fontAlgn="auto" latinLnBrk="0" hangingPunct="1">
                <a:lnSpc>
                  <a:spcPct val="13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等线" panose="020F0502020204030204"/>
                  <a:ea typeface="Open Sans" panose="020B0606030504020204" pitchFamily="34" charset="0"/>
                  <a:cs typeface="Segoe UI" panose="020B0502040204020203" pitchFamily="34" charset="0"/>
                </a:rPr>
                <a:t>Leverage agile frameworks to provide a robust synopsis for</a:t>
              </a:r>
            </a:p>
          </p:txBody>
        </p:sp>
      </p:grpSp>
    </p:spTree>
    <p:extLst>
      <p:ext uri="{BB962C8B-B14F-4D97-AF65-F5344CB8AC3E}">
        <p14:creationId xmlns:p14="http://schemas.microsoft.com/office/powerpoint/2010/main" val="467975592"/>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8" presetClass="entr" presetSubtype="3" fill="hold" nodeType="withEffect">
                                  <p:stCondLst>
                                    <p:cond delay="750"/>
                                  </p:stCondLst>
                                  <p:childTnLst>
                                    <p:set>
                                      <p:cBhvr>
                                        <p:cTn id="6" dur="1" fill="hold">
                                          <p:stCondLst>
                                            <p:cond delay="0"/>
                                          </p:stCondLst>
                                        </p:cTn>
                                        <p:tgtEl>
                                          <p:spTgt spid="20"/>
                                        </p:tgtEl>
                                        <p:attrNameLst>
                                          <p:attrName>style.visibility</p:attrName>
                                        </p:attrNameLst>
                                      </p:cBhvr>
                                      <p:to>
                                        <p:strVal val="visible"/>
                                      </p:to>
                                    </p:set>
                                    <p:animEffect transition="in" filter="strips(upRight)">
                                      <p:cBhvr>
                                        <p:cTn id="7" dur="500"/>
                                        <p:tgtEl>
                                          <p:spTgt spid="20"/>
                                        </p:tgtEl>
                                      </p:cBhvr>
                                    </p:animEffect>
                                  </p:childTnLst>
                                </p:cTn>
                              </p:par>
                              <p:par>
                                <p:cTn id="8" presetID="6" presetClass="emph" presetSubtype="0" accel="52000" decel="48000" autoRev="1" fill="hold" nodeType="withEffect">
                                  <p:stCondLst>
                                    <p:cond delay="750"/>
                                  </p:stCondLst>
                                  <p:childTnLst>
                                    <p:animScale>
                                      <p:cBhvr>
                                        <p:cTn id="9" dur="350" fill="hold"/>
                                        <p:tgtEl>
                                          <p:spTgt spid="20"/>
                                        </p:tgtEl>
                                      </p:cBhvr>
                                      <p:by x="110000" y="110000"/>
                                    </p:animScale>
                                  </p:childTnLst>
                                </p:cTn>
                              </p:par>
                              <p:par>
                                <p:cTn id="10" presetID="2" presetClass="entr" presetSubtype="4" decel="100000" fill="hold" nodeType="withEffect">
                                  <p:stCondLst>
                                    <p:cond delay="0"/>
                                  </p:stCondLst>
                                  <p:childTnLst>
                                    <p:set>
                                      <p:cBhvr>
                                        <p:cTn id="11" dur="1" fill="hold">
                                          <p:stCondLst>
                                            <p:cond delay="0"/>
                                          </p:stCondLst>
                                        </p:cTn>
                                        <p:tgtEl>
                                          <p:spTgt spid="17"/>
                                        </p:tgtEl>
                                        <p:attrNameLst>
                                          <p:attrName>style.visibility</p:attrName>
                                        </p:attrNameLst>
                                      </p:cBhvr>
                                      <p:to>
                                        <p:strVal val="visible"/>
                                      </p:to>
                                    </p:set>
                                    <p:anim calcmode="lin" valueType="num">
                                      <p:cBhvr additive="base">
                                        <p:cTn id="12" dur="1250" fill="hold"/>
                                        <p:tgtEl>
                                          <p:spTgt spid="17"/>
                                        </p:tgtEl>
                                        <p:attrNameLst>
                                          <p:attrName>ppt_x</p:attrName>
                                        </p:attrNameLst>
                                      </p:cBhvr>
                                      <p:tavLst>
                                        <p:tav tm="0">
                                          <p:val>
                                            <p:strVal val="#ppt_x"/>
                                          </p:val>
                                        </p:tav>
                                        <p:tav tm="100000">
                                          <p:val>
                                            <p:strVal val="#ppt_x"/>
                                          </p:val>
                                        </p:tav>
                                      </p:tavLst>
                                    </p:anim>
                                    <p:anim calcmode="lin" valueType="num">
                                      <p:cBhvr additive="base">
                                        <p:cTn id="13" dur="1250" fill="hold"/>
                                        <p:tgtEl>
                                          <p:spTgt spid="17"/>
                                        </p:tgtEl>
                                        <p:attrNameLst>
                                          <p:attrName>ppt_y</p:attrName>
                                        </p:attrNameLst>
                                      </p:cBhvr>
                                      <p:tavLst>
                                        <p:tav tm="0">
                                          <p:val>
                                            <p:strVal val="1+#ppt_h/2"/>
                                          </p:val>
                                        </p:tav>
                                        <p:tav tm="100000">
                                          <p:val>
                                            <p:strVal val="#ppt_y"/>
                                          </p:val>
                                        </p:tav>
                                      </p:tavLst>
                                    </p:anim>
                                  </p:childTnLst>
                                </p:cTn>
                              </p:par>
                              <p:par>
                                <p:cTn id="14" presetID="18" presetClass="entr" presetSubtype="3" fill="hold" grpId="0" nodeType="withEffect">
                                  <p:stCondLst>
                                    <p:cond delay="0"/>
                                  </p:stCondLst>
                                  <p:childTnLst>
                                    <p:set>
                                      <p:cBhvr>
                                        <p:cTn id="15" dur="1" fill="hold">
                                          <p:stCondLst>
                                            <p:cond delay="0"/>
                                          </p:stCondLst>
                                        </p:cTn>
                                        <p:tgtEl>
                                          <p:spTgt spid="23"/>
                                        </p:tgtEl>
                                        <p:attrNameLst>
                                          <p:attrName>style.visibility</p:attrName>
                                        </p:attrNameLst>
                                      </p:cBhvr>
                                      <p:to>
                                        <p:strVal val="visible"/>
                                      </p:to>
                                    </p:set>
                                    <p:animEffect transition="in" filter="strips(upRight)">
                                      <p:cBhvr>
                                        <p:cTn id="16" dur="500"/>
                                        <p:tgtEl>
                                          <p:spTgt spid="23"/>
                                        </p:tgtEl>
                                      </p:cBhvr>
                                    </p:animEffect>
                                  </p:childTnLst>
                                </p:cTn>
                              </p:par>
                              <p:par>
                                <p:cTn id="17" presetID="6" presetClass="emph" presetSubtype="0" accel="52000" decel="48000" autoRev="1" fill="hold" grpId="1" nodeType="withEffect">
                                  <p:stCondLst>
                                    <p:cond delay="0"/>
                                  </p:stCondLst>
                                  <p:childTnLst>
                                    <p:animScale>
                                      <p:cBhvr>
                                        <p:cTn id="18" dur="350" fill="hold"/>
                                        <p:tgtEl>
                                          <p:spTgt spid="23"/>
                                        </p:tgtEl>
                                      </p:cBhvr>
                                      <p:by x="110000" y="110000"/>
                                    </p:animScale>
                                  </p:childTnLst>
                                </p:cTn>
                              </p:par>
                              <p:par>
                                <p:cTn id="19" presetID="10" presetClass="entr" presetSubtype="0" fill="hold" grpId="0" nodeType="withEffect">
                                  <p:stCondLst>
                                    <p:cond delay="500"/>
                                  </p:stCondLst>
                                  <p:childTnLst>
                                    <p:set>
                                      <p:cBhvr>
                                        <p:cTn id="20" dur="1" fill="hold">
                                          <p:stCondLst>
                                            <p:cond delay="0"/>
                                          </p:stCondLst>
                                        </p:cTn>
                                        <p:tgtEl>
                                          <p:spTgt spid="24"/>
                                        </p:tgtEl>
                                        <p:attrNameLst>
                                          <p:attrName>style.visibility</p:attrName>
                                        </p:attrNameLst>
                                      </p:cBhvr>
                                      <p:to>
                                        <p:strVal val="visible"/>
                                      </p:to>
                                    </p:set>
                                    <p:animEffect transition="in" filter="fade">
                                      <p:cBhvr>
                                        <p:cTn id="21" dur="750"/>
                                        <p:tgtEl>
                                          <p:spTgt spid="24"/>
                                        </p:tgtEl>
                                      </p:cBhvr>
                                    </p:animEffect>
                                  </p:childTnLst>
                                </p:cTn>
                              </p:par>
                              <p:par>
                                <p:cTn id="22" presetID="18" presetClass="entr" presetSubtype="3" fill="hold" nodeType="withEffect">
                                  <p:stCondLst>
                                    <p:cond delay="500"/>
                                  </p:stCondLst>
                                  <p:childTnLst>
                                    <p:set>
                                      <p:cBhvr>
                                        <p:cTn id="23" dur="1" fill="hold">
                                          <p:stCondLst>
                                            <p:cond delay="0"/>
                                          </p:stCondLst>
                                        </p:cTn>
                                        <p:tgtEl>
                                          <p:spTgt spid="25"/>
                                        </p:tgtEl>
                                        <p:attrNameLst>
                                          <p:attrName>style.visibility</p:attrName>
                                        </p:attrNameLst>
                                      </p:cBhvr>
                                      <p:to>
                                        <p:strVal val="visible"/>
                                      </p:to>
                                    </p:set>
                                    <p:animEffect transition="in" filter="strips(upRight)">
                                      <p:cBhvr>
                                        <p:cTn id="24" dur="500"/>
                                        <p:tgtEl>
                                          <p:spTgt spid="25"/>
                                        </p:tgtEl>
                                      </p:cBhvr>
                                    </p:animEffect>
                                  </p:childTnLst>
                                </p:cTn>
                              </p:par>
                              <p:par>
                                <p:cTn id="25" presetID="6" presetClass="emph" presetSubtype="0" accel="52000" decel="48000" autoRev="1" fill="hold" nodeType="withEffect">
                                  <p:stCondLst>
                                    <p:cond delay="500"/>
                                  </p:stCondLst>
                                  <p:childTnLst>
                                    <p:animScale>
                                      <p:cBhvr>
                                        <p:cTn id="26" dur="350" fill="hold"/>
                                        <p:tgtEl>
                                          <p:spTgt spid="25"/>
                                        </p:tgtEl>
                                      </p:cBhvr>
                                      <p:by x="110000" y="110000"/>
                                    </p:animScale>
                                  </p:childTnLst>
                                </p:cTn>
                              </p:par>
                              <p:par>
                                <p:cTn id="27" presetID="18" presetClass="entr" presetSubtype="3" fill="hold" nodeType="withEffect">
                                  <p:stCondLst>
                                    <p:cond delay="750"/>
                                  </p:stCondLst>
                                  <p:childTnLst>
                                    <p:set>
                                      <p:cBhvr>
                                        <p:cTn id="28" dur="1" fill="hold">
                                          <p:stCondLst>
                                            <p:cond delay="0"/>
                                          </p:stCondLst>
                                        </p:cTn>
                                        <p:tgtEl>
                                          <p:spTgt spid="29"/>
                                        </p:tgtEl>
                                        <p:attrNameLst>
                                          <p:attrName>style.visibility</p:attrName>
                                        </p:attrNameLst>
                                      </p:cBhvr>
                                      <p:to>
                                        <p:strVal val="visible"/>
                                      </p:to>
                                    </p:set>
                                    <p:animEffect transition="in" filter="strips(upRight)">
                                      <p:cBhvr>
                                        <p:cTn id="29" dur="500"/>
                                        <p:tgtEl>
                                          <p:spTgt spid="29"/>
                                        </p:tgtEl>
                                      </p:cBhvr>
                                    </p:animEffect>
                                  </p:childTnLst>
                                </p:cTn>
                              </p:par>
                              <p:par>
                                <p:cTn id="30" presetID="6" presetClass="emph" presetSubtype="0" accel="52000" decel="48000" autoRev="1" fill="hold" nodeType="withEffect">
                                  <p:stCondLst>
                                    <p:cond delay="750"/>
                                  </p:stCondLst>
                                  <p:childTnLst>
                                    <p:animScale>
                                      <p:cBhvr>
                                        <p:cTn id="31" dur="350" fill="hold"/>
                                        <p:tgtEl>
                                          <p:spTgt spid="29"/>
                                        </p:tgtEl>
                                      </p:cBhvr>
                                      <p:by x="110000" y="110000"/>
                                    </p:animScale>
                                  </p:childTnLst>
                                </p:cTn>
                              </p:par>
                              <p:par>
                                <p:cTn id="32" presetID="2" presetClass="entr" presetSubtype="4" decel="100000" fill="hold" nodeType="withEffect">
                                  <p:stCondLst>
                                    <p:cond delay="0"/>
                                  </p:stCondLst>
                                  <p:childTnLst>
                                    <p:set>
                                      <p:cBhvr>
                                        <p:cTn id="33" dur="1" fill="hold">
                                          <p:stCondLst>
                                            <p:cond delay="0"/>
                                          </p:stCondLst>
                                        </p:cTn>
                                        <p:tgtEl>
                                          <p:spTgt spid="2"/>
                                        </p:tgtEl>
                                        <p:attrNameLst>
                                          <p:attrName>style.visibility</p:attrName>
                                        </p:attrNameLst>
                                      </p:cBhvr>
                                      <p:to>
                                        <p:strVal val="visible"/>
                                      </p:to>
                                    </p:set>
                                    <p:anim calcmode="lin" valueType="num">
                                      <p:cBhvr additive="base">
                                        <p:cTn id="34" dur="1500" fill="hold"/>
                                        <p:tgtEl>
                                          <p:spTgt spid="2"/>
                                        </p:tgtEl>
                                        <p:attrNameLst>
                                          <p:attrName>ppt_x</p:attrName>
                                        </p:attrNameLst>
                                      </p:cBhvr>
                                      <p:tavLst>
                                        <p:tav tm="0">
                                          <p:val>
                                            <p:strVal val="#ppt_x"/>
                                          </p:val>
                                        </p:tav>
                                        <p:tav tm="100000">
                                          <p:val>
                                            <p:strVal val="#ppt_x"/>
                                          </p:val>
                                        </p:tav>
                                      </p:tavLst>
                                    </p:anim>
                                    <p:anim calcmode="lin" valueType="num">
                                      <p:cBhvr additive="base">
                                        <p:cTn id="35" dur="1500" fill="hold"/>
                                        <p:tgtEl>
                                          <p:spTgt spid="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p:bldP spid="23" grpId="1"/>
      <p:bldP spid="24" grpId="0"/>
    </p:bldLst>
  </p:timing>
</p:sld>
</file>

<file path=ppt/slides/slide6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91346E37-CF55-41EE-923C-9EB27C28D7A2}"/>
              </a:ext>
            </a:extLst>
          </p:cNvPr>
          <p:cNvGrpSpPr/>
          <p:nvPr/>
        </p:nvGrpSpPr>
        <p:grpSpPr>
          <a:xfrm>
            <a:off x="-131427" y="1274465"/>
            <a:ext cx="6428433" cy="6405563"/>
            <a:chOff x="-488950" y="1577975"/>
            <a:chExt cx="5800725" cy="5780088"/>
          </a:xfrm>
        </p:grpSpPr>
        <p:sp>
          <p:nvSpPr>
            <p:cNvPr id="3" name="Freeform 5">
              <a:extLst>
                <a:ext uri="{FF2B5EF4-FFF2-40B4-BE49-F238E27FC236}">
                  <a16:creationId xmlns:a16="http://schemas.microsoft.com/office/drawing/2014/main" id="{4B6421C3-75A6-4653-A397-8E7251ED8B9D}"/>
                </a:ext>
              </a:extLst>
            </p:cNvPr>
            <p:cNvSpPr>
              <a:spLocks/>
            </p:cNvSpPr>
            <p:nvPr/>
          </p:nvSpPr>
          <p:spPr bwMode="auto">
            <a:xfrm>
              <a:off x="-488950" y="4894263"/>
              <a:ext cx="5800725" cy="2463800"/>
            </a:xfrm>
            <a:custGeom>
              <a:avLst/>
              <a:gdLst>
                <a:gd name="T0" fmla="*/ 119 w 18270"/>
                <a:gd name="T1" fmla="*/ 5866 h 7759"/>
                <a:gd name="T2" fmla="*/ 496 w 18270"/>
                <a:gd name="T3" fmla="*/ 6235 h 7759"/>
                <a:gd name="T4" fmla="*/ 792 w 18270"/>
                <a:gd name="T5" fmla="*/ 6496 h 7759"/>
                <a:gd name="T6" fmla="*/ 1134 w 18270"/>
                <a:gd name="T7" fmla="*/ 6769 h 7759"/>
                <a:gd name="T8" fmla="*/ 1511 w 18270"/>
                <a:gd name="T9" fmla="*/ 7029 h 7759"/>
                <a:gd name="T10" fmla="*/ 1938 w 18270"/>
                <a:gd name="T11" fmla="*/ 7252 h 7759"/>
                <a:gd name="T12" fmla="*/ 2407 w 18270"/>
                <a:gd name="T13" fmla="*/ 7431 h 7759"/>
                <a:gd name="T14" fmla="*/ 2873 w 18270"/>
                <a:gd name="T15" fmla="*/ 7568 h 7759"/>
                <a:gd name="T16" fmla="*/ 3286 w 18270"/>
                <a:gd name="T17" fmla="*/ 7667 h 7759"/>
                <a:gd name="T18" fmla="*/ 3770 w 18270"/>
                <a:gd name="T19" fmla="*/ 7757 h 7759"/>
                <a:gd name="T20" fmla="*/ 3913 w 18270"/>
                <a:gd name="T21" fmla="*/ 7548 h 7759"/>
                <a:gd name="T22" fmla="*/ 4322 w 18270"/>
                <a:gd name="T23" fmla="*/ 6865 h 7759"/>
                <a:gd name="T24" fmla="*/ 4824 w 18270"/>
                <a:gd name="T25" fmla="*/ 6017 h 7759"/>
                <a:gd name="T26" fmla="*/ 5126 w 18270"/>
                <a:gd name="T27" fmla="*/ 5496 h 7759"/>
                <a:gd name="T28" fmla="*/ 5274 w 18270"/>
                <a:gd name="T29" fmla="*/ 5197 h 7759"/>
                <a:gd name="T30" fmla="*/ 5371 w 18270"/>
                <a:gd name="T31" fmla="*/ 4958 h 7759"/>
                <a:gd name="T32" fmla="*/ 5443 w 18270"/>
                <a:gd name="T33" fmla="*/ 4721 h 7759"/>
                <a:gd name="T34" fmla="*/ 5467 w 18270"/>
                <a:gd name="T35" fmla="*/ 4571 h 7759"/>
                <a:gd name="T36" fmla="*/ 12235 w 18270"/>
                <a:gd name="T37" fmla="*/ 4451 h 7759"/>
                <a:gd name="T38" fmla="*/ 13704 w 18270"/>
                <a:gd name="T39" fmla="*/ 3898 h 7759"/>
                <a:gd name="T40" fmla="*/ 15219 w 18270"/>
                <a:gd name="T41" fmla="*/ 3291 h 7759"/>
                <a:gd name="T42" fmla="*/ 16681 w 18270"/>
                <a:gd name="T43" fmla="*/ 2647 h 7759"/>
                <a:gd name="T44" fmla="*/ 17790 w 18270"/>
                <a:gd name="T45" fmla="*/ 2053 h 7759"/>
                <a:gd name="T46" fmla="*/ 18254 w 18270"/>
                <a:gd name="T47" fmla="*/ 1596 h 7759"/>
                <a:gd name="T48" fmla="*/ 18268 w 18270"/>
                <a:gd name="T49" fmla="*/ 1235 h 7759"/>
                <a:gd name="T50" fmla="*/ 18213 w 18270"/>
                <a:gd name="T51" fmla="*/ 890 h 7759"/>
                <a:gd name="T52" fmla="*/ 18055 w 18270"/>
                <a:gd name="T53" fmla="*/ 597 h 7759"/>
                <a:gd name="T54" fmla="*/ 17766 w 18270"/>
                <a:gd name="T55" fmla="*/ 389 h 7759"/>
                <a:gd name="T56" fmla="*/ 17315 w 18270"/>
                <a:gd name="T57" fmla="*/ 300 h 7759"/>
                <a:gd name="T58" fmla="*/ 16670 w 18270"/>
                <a:gd name="T59" fmla="*/ 365 h 7759"/>
                <a:gd name="T60" fmla="*/ 15810 w 18270"/>
                <a:gd name="T61" fmla="*/ 612 h 7759"/>
                <a:gd name="T62" fmla="*/ 14796 w 18270"/>
                <a:gd name="T63" fmla="*/ 1007 h 7759"/>
                <a:gd name="T64" fmla="*/ 13739 w 18270"/>
                <a:gd name="T65" fmla="*/ 1481 h 7759"/>
                <a:gd name="T66" fmla="*/ 12748 w 18270"/>
                <a:gd name="T67" fmla="*/ 1960 h 7759"/>
                <a:gd name="T68" fmla="*/ 11574 w 18270"/>
                <a:gd name="T69" fmla="*/ 2564 h 7759"/>
                <a:gd name="T70" fmla="*/ 7099 w 18270"/>
                <a:gd name="T71" fmla="*/ 2692 h 7759"/>
                <a:gd name="T72" fmla="*/ 7468 w 18270"/>
                <a:gd name="T73" fmla="*/ 2537 h 7759"/>
                <a:gd name="T74" fmla="*/ 7845 w 18270"/>
                <a:gd name="T75" fmla="*/ 2355 h 7759"/>
                <a:gd name="T76" fmla="*/ 8248 w 18270"/>
                <a:gd name="T77" fmla="*/ 2129 h 7759"/>
                <a:gd name="T78" fmla="*/ 8606 w 18270"/>
                <a:gd name="T79" fmla="*/ 1873 h 7759"/>
                <a:gd name="T80" fmla="*/ 8850 w 18270"/>
                <a:gd name="T81" fmla="*/ 1603 h 7759"/>
                <a:gd name="T82" fmla="*/ 8942 w 18270"/>
                <a:gd name="T83" fmla="*/ 1324 h 7759"/>
                <a:gd name="T84" fmla="*/ 8992 w 18270"/>
                <a:gd name="T85" fmla="*/ 1017 h 7759"/>
                <a:gd name="T86" fmla="*/ 8991 w 18270"/>
                <a:gd name="T87" fmla="*/ 706 h 7759"/>
                <a:gd name="T88" fmla="*/ 8913 w 18270"/>
                <a:gd name="T89" fmla="*/ 421 h 7759"/>
                <a:gd name="T90" fmla="*/ 8735 w 18270"/>
                <a:gd name="T91" fmla="*/ 189 h 7759"/>
                <a:gd name="T92" fmla="*/ 8432 w 18270"/>
                <a:gd name="T93" fmla="*/ 41 h 7759"/>
                <a:gd name="T94" fmla="*/ 7982 w 18270"/>
                <a:gd name="T95" fmla="*/ 3 h 7759"/>
                <a:gd name="T96" fmla="*/ 7453 w 18270"/>
                <a:gd name="T97" fmla="*/ 113 h 7759"/>
                <a:gd name="T98" fmla="*/ 6891 w 18270"/>
                <a:gd name="T99" fmla="*/ 346 h 7759"/>
                <a:gd name="T100" fmla="*/ 6304 w 18270"/>
                <a:gd name="T101" fmla="*/ 657 h 7759"/>
                <a:gd name="T102" fmla="*/ 5455 w 18270"/>
                <a:gd name="T103" fmla="*/ 1148 h 7759"/>
                <a:gd name="T104" fmla="*/ 4839 w 18270"/>
                <a:gd name="T105" fmla="*/ 1478 h 7759"/>
                <a:gd name="T106" fmla="*/ 4226 w 18270"/>
                <a:gd name="T107" fmla="*/ 1744 h 7759"/>
                <a:gd name="T108" fmla="*/ 3486 w 18270"/>
                <a:gd name="T109" fmla="*/ 2005 h 7759"/>
                <a:gd name="T110" fmla="*/ 2904 w 18270"/>
                <a:gd name="T111" fmla="*/ 2211 h 7759"/>
                <a:gd name="T112" fmla="*/ 2567 w 18270"/>
                <a:gd name="T113" fmla="*/ 2371 h 7759"/>
                <a:gd name="T114" fmla="*/ 2284 w 18270"/>
                <a:gd name="T115" fmla="*/ 2574 h 7759"/>
                <a:gd name="T116" fmla="*/ 2041 w 18270"/>
                <a:gd name="T117" fmla="*/ 2851 h 7759"/>
                <a:gd name="T118" fmla="*/ 1798 w 18270"/>
                <a:gd name="T119" fmla="*/ 3237 h 7759"/>
                <a:gd name="T120" fmla="*/ 1455 w 18270"/>
                <a:gd name="T121" fmla="*/ 3747 h 7759"/>
                <a:gd name="T122" fmla="*/ 646 w 18270"/>
                <a:gd name="T123" fmla="*/ 4873 h 7759"/>
                <a:gd name="T124" fmla="*/ 65 w 18270"/>
                <a:gd name="T125" fmla="*/ 5652 h 77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270" h="7759">
                  <a:moveTo>
                    <a:pt x="0" y="5738"/>
                  </a:moveTo>
                  <a:lnTo>
                    <a:pt x="8" y="5747"/>
                  </a:lnTo>
                  <a:lnTo>
                    <a:pt x="31" y="5772"/>
                  </a:lnTo>
                  <a:lnTo>
                    <a:pt x="69" y="5812"/>
                  </a:lnTo>
                  <a:lnTo>
                    <a:pt x="119" y="5866"/>
                  </a:lnTo>
                  <a:lnTo>
                    <a:pt x="183" y="5932"/>
                  </a:lnTo>
                  <a:lnTo>
                    <a:pt x="259" y="6008"/>
                  </a:lnTo>
                  <a:lnTo>
                    <a:pt x="346" y="6093"/>
                  </a:lnTo>
                  <a:lnTo>
                    <a:pt x="443" y="6187"/>
                  </a:lnTo>
                  <a:lnTo>
                    <a:pt x="496" y="6235"/>
                  </a:lnTo>
                  <a:lnTo>
                    <a:pt x="552" y="6285"/>
                  </a:lnTo>
                  <a:lnTo>
                    <a:pt x="609" y="6336"/>
                  </a:lnTo>
                  <a:lnTo>
                    <a:pt x="667" y="6389"/>
                  </a:lnTo>
                  <a:lnTo>
                    <a:pt x="729" y="6443"/>
                  </a:lnTo>
                  <a:lnTo>
                    <a:pt x="792" y="6496"/>
                  </a:lnTo>
                  <a:lnTo>
                    <a:pt x="858" y="6551"/>
                  </a:lnTo>
                  <a:lnTo>
                    <a:pt x="924" y="6605"/>
                  </a:lnTo>
                  <a:lnTo>
                    <a:pt x="992" y="6660"/>
                  </a:lnTo>
                  <a:lnTo>
                    <a:pt x="1063" y="6714"/>
                  </a:lnTo>
                  <a:lnTo>
                    <a:pt x="1134" y="6769"/>
                  </a:lnTo>
                  <a:lnTo>
                    <a:pt x="1207" y="6823"/>
                  </a:lnTo>
                  <a:lnTo>
                    <a:pt x="1281" y="6875"/>
                  </a:lnTo>
                  <a:lnTo>
                    <a:pt x="1358" y="6928"/>
                  </a:lnTo>
                  <a:lnTo>
                    <a:pt x="1434" y="6979"/>
                  </a:lnTo>
                  <a:lnTo>
                    <a:pt x="1511" y="7029"/>
                  </a:lnTo>
                  <a:lnTo>
                    <a:pt x="1591" y="7077"/>
                  </a:lnTo>
                  <a:lnTo>
                    <a:pt x="1674" y="7124"/>
                  </a:lnTo>
                  <a:lnTo>
                    <a:pt x="1760" y="7169"/>
                  </a:lnTo>
                  <a:lnTo>
                    <a:pt x="1848" y="7211"/>
                  </a:lnTo>
                  <a:lnTo>
                    <a:pt x="1938" y="7252"/>
                  </a:lnTo>
                  <a:lnTo>
                    <a:pt x="2030" y="7292"/>
                  </a:lnTo>
                  <a:lnTo>
                    <a:pt x="2124" y="7330"/>
                  </a:lnTo>
                  <a:lnTo>
                    <a:pt x="2218" y="7365"/>
                  </a:lnTo>
                  <a:lnTo>
                    <a:pt x="2312" y="7399"/>
                  </a:lnTo>
                  <a:lnTo>
                    <a:pt x="2407" y="7431"/>
                  </a:lnTo>
                  <a:lnTo>
                    <a:pt x="2503" y="7462"/>
                  </a:lnTo>
                  <a:lnTo>
                    <a:pt x="2597" y="7491"/>
                  </a:lnTo>
                  <a:lnTo>
                    <a:pt x="2690" y="7518"/>
                  </a:lnTo>
                  <a:lnTo>
                    <a:pt x="2783" y="7544"/>
                  </a:lnTo>
                  <a:lnTo>
                    <a:pt x="2873" y="7568"/>
                  </a:lnTo>
                  <a:lnTo>
                    <a:pt x="2961" y="7591"/>
                  </a:lnTo>
                  <a:lnTo>
                    <a:pt x="3047" y="7613"/>
                  </a:lnTo>
                  <a:lnTo>
                    <a:pt x="3130" y="7632"/>
                  </a:lnTo>
                  <a:lnTo>
                    <a:pt x="3210" y="7651"/>
                  </a:lnTo>
                  <a:lnTo>
                    <a:pt x="3286" y="7667"/>
                  </a:lnTo>
                  <a:lnTo>
                    <a:pt x="3427" y="7696"/>
                  </a:lnTo>
                  <a:lnTo>
                    <a:pt x="3548" y="7719"/>
                  </a:lnTo>
                  <a:lnTo>
                    <a:pt x="3648" y="7736"/>
                  </a:lnTo>
                  <a:lnTo>
                    <a:pt x="3723" y="7749"/>
                  </a:lnTo>
                  <a:lnTo>
                    <a:pt x="3770" y="7757"/>
                  </a:lnTo>
                  <a:lnTo>
                    <a:pt x="3786" y="7759"/>
                  </a:lnTo>
                  <a:lnTo>
                    <a:pt x="3796" y="7744"/>
                  </a:lnTo>
                  <a:lnTo>
                    <a:pt x="3821" y="7703"/>
                  </a:lnTo>
                  <a:lnTo>
                    <a:pt x="3860" y="7637"/>
                  </a:lnTo>
                  <a:lnTo>
                    <a:pt x="3913" y="7548"/>
                  </a:lnTo>
                  <a:lnTo>
                    <a:pt x="3978" y="7439"/>
                  </a:lnTo>
                  <a:lnTo>
                    <a:pt x="4053" y="7315"/>
                  </a:lnTo>
                  <a:lnTo>
                    <a:pt x="4136" y="7176"/>
                  </a:lnTo>
                  <a:lnTo>
                    <a:pt x="4226" y="7025"/>
                  </a:lnTo>
                  <a:lnTo>
                    <a:pt x="4322" y="6865"/>
                  </a:lnTo>
                  <a:lnTo>
                    <a:pt x="4421" y="6698"/>
                  </a:lnTo>
                  <a:lnTo>
                    <a:pt x="4522" y="6527"/>
                  </a:lnTo>
                  <a:lnTo>
                    <a:pt x="4625" y="6355"/>
                  </a:lnTo>
                  <a:lnTo>
                    <a:pt x="4726" y="6185"/>
                  </a:lnTo>
                  <a:lnTo>
                    <a:pt x="4824" y="6017"/>
                  </a:lnTo>
                  <a:lnTo>
                    <a:pt x="4920" y="5857"/>
                  </a:lnTo>
                  <a:lnTo>
                    <a:pt x="5009" y="5705"/>
                  </a:lnTo>
                  <a:lnTo>
                    <a:pt x="5051" y="5633"/>
                  </a:lnTo>
                  <a:lnTo>
                    <a:pt x="5089" y="5563"/>
                  </a:lnTo>
                  <a:lnTo>
                    <a:pt x="5126" y="5496"/>
                  </a:lnTo>
                  <a:lnTo>
                    <a:pt x="5160" y="5431"/>
                  </a:lnTo>
                  <a:lnTo>
                    <a:pt x="5192" y="5369"/>
                  </a:lnTo>
                  <a:lnTo>
                    <a:pt x="5222" y="5310"/>
                  </a:lnTo>
                  <a:lnTo>
                    <a:pt x="5249" y="5253"/>
                  </a:lnTo>
                  <a:lnTo>
                    <a:pt x="5274" y="5197"/>
                  </a:lnTo>
                  <a:lnTo>
                    <a:pt x="5297" y="5144"/>
                  </a:lnTo>
                  <a:lnTo>
                    <a:pt x="5319" y="5094"/>
                  </a:lnTo>
                  <a:lnTo>
                    <a:pt x="5338" y="5047"/>
                  </a:lnTo>
                  <a:lnTo>
                    <a:pt x="5355" y="5002"/>
                  </a:lnTo>
                  <a:lnTo>
                    <a:pt x="5371" y="4958"/>
                  </a:lnTo>
                  <a:lnTo>
                    <a:pt x="5386" y="4917"/>
                  </a:lnTo>
                  <a:lnTo>
                    <a:pt x="5399" y="4880"/>
                  </a:lnTo>
                  <a:lnTo>
                    <a:pt x="5410" y="4843"/>
                  </a:lnTo>
                  <a:lnTo>
                    <a:pt x="5430" y="4778"/>
                  </a:lnTo>
                  <a:lnTo>
                    <a:pt x="5443" y="4721"/>
                  </a:lnTo>
                  <a:lnTo>
                    <a:pt x="5454" y="4674"/>
                  </a:lnTo>
                  <a:lnTo>
                    <a:pt x="5460" y="4635"/>
                  </a:lnTo>
                  <a:lnTo>
                    <a:pt x="5465" y="4606"/>
                  </a:lnTo>
                  <a:lnTo>
                    <a:pt x="5466" y="4584"/>
                  </a:lnTo>
                  <a:lnTo>
                    <a:pt x="5467" y="4571"/>
                  </a:lnTo>
                  <a:lnTo>
                    <a:pt x="5467" y="4567"/>
                  </a:lnTo>
                  <a:lnTo>
                    <a:pt x="11631" y="4669"/>
                  </a:lnTo>
                  <a:lnTo>
                    <a:pt x="11704" y="4643"/>
                  </a:lnTo>
                  <a:lnTo>
                    <a:pt x="11912" y="4568"/>
                  </a:lnTo>
                  <a:lnTo>
                    <a:pt x="12235" y="4451"/>
                  </a:lnTo>
                  <a:lnTo>
                    <a:pt x="12654" y="4296"/>
                  </a:lnTo>
                  <a:lnTo>
                    <a:pt x="12894" y="4207"/>
                  </a:lnTo>
                  <a:lnTo>
                    <a:pt x="13150" y="4110"/>
                  </a:lnTo>
                  <a:lnTo>
                    <a:pt x="13422" y="4007"/>
                  </a:lnTo>
                  <a:lnTo>
                    <a:pt x="13704" y="3898"/>
                  </a:lnTo>
                  <a:lnTo>
                    <a:pt x="13997" y="3785"/>
                  </a:lnTo>
                  <a:lnTo>
                    <a:pt x="14297" y="3666"/>
                  </a:lnTo>
                  <a:lnTo>
                    <a:pt x="14602" y="3544"/>
                  </a:lnTo>
                  <a:lnTo>
                    <a:pt x="14911" y="3419"/>
                  </a:lnTo>
                  <a:lnTo>
                    <a:pt x="15219" y="3291"/>
                  </a:lnTo>
                  <a:lnTo>
                    <a:pt x="15525" y="3164"/>
                  </a:lnTo>
                  <a:lnTo>
                    <a:pt x="15826" y="3033"/>
                  </a:lnTo>
                  <a:lnTo>
                    <a:pt x="16121" y="2904"/>
                  </a:lnTo>
                  <a:lnTo>
                    <a:pt x="16406" y="2775"/>
                  </a:lnTo>
                  <a:lnTo>
                    <a:pt x="16681" y="2647"/>
                  </a:lnTo>
                  <a:lnTo>
                    <a:pt x="16940" y="2522"/>
                  </a:lnTo>
                  <a:lnTo>
                    <a:pt x="17183" y="2399"/>
                  </a:lnTo>
                  <a:lnTo>
                    <a:pt x="17408" y="2279"/>
                  </a:lnTo>
                  <a:lnTo>
                    <a:pt x="17611" y="2163"/>
                  </a:lnTo>
                  <a:lnTo>
                    <a:pt x="17790" y="2053"/>
                  </a:lnTo>
                  <a:lnTo>
                    <a:pt x="17945" y="1948"/>
                  </a:lnTo>
                  <a:lnTo>
                    <a:pt x="18070" y="1848"/>
                  </a:lnTo>
                  <a:lnTo>
                    <a:pt x="18165" y="1757"/>
                  </a:lnTo>
                  <a:lnTo>
                    <a:pt x="18227" y="1672"/>
                  </a:lnTo>
                  <a:lnTo>
                    <a:pt x="18254" y="1596"/>
                  </a:lnTo>
                  <a:lnTo>
                    <a:pt x="18261" y="1524"/>
                  </a:lnTo>
                  <a:lnTo>
                    <a:pt x="18265" y="1452"/>
                  </a:lnTo>
                  <a:lnTo>
                    <a:pt x="18269" y="1379"/>
                  </a:lnTo>
                  <a:lnTo>
                    <a:pt x="18270" y="1307"/>
                  </a:lnTo>
                  <a:lnTo>
                    <a:pt x="18268" y="1235"/>
                  </a:lnTo>
                  <a:lnTo>
                    <a:pt x="18264" y="1163"/>
                  </a:lnTo>
                  <a:lnTo>
                    <a:pt x="18256" y="1094"/>
                  </a:lnTo>
                  <a:lnTo>
                    <a:pt x="18245" y="1024"/>
                  </a:lnTo>
                  <a:lnTo>
                    <a:pt x="18231" y="957"/>
                  </a:lnTo>
                  <a:lnTo>
                    <a:pt x="18213" y="890"/>
                  </a:lnTo>
                  <a:lnTo>
                    <a:pt x="18190" y="826"/>
                  </a:lnTo>
                  <a:lnTo>
                    <a:pt x="18164" y="765"/>
                  </a:lnTo>
                  <a:lnTo>
                    <a:pt x="18133" y="706"/>
                  </a:lnTo>
                  <a:lnTo>
                    <a:pt x="18096" y="651"/>
                  </a:lnTo>
                  <a:lnTo>
                    <a:pt x="18055" y="597"/>
                  </a:lnTo>
                  <a:lnTo>
                    <a:pt x="18010" y="548"/>
                  </a:lnTo>
                  <a:lnTo>
                    <a:pt x="17957" y="502"/>
                  </a:lnTo>
                  <a:lnTo>
                    <a:pt x="17900" y="460"/>
                  </a:lnTo>
                  <a:lnTo>
                    <a:pt x="17836" y="422"/>
                  </a:lnTo>
                  <a:lnTo>
                    <a:pt x="17766" y="389"/>
                  </a:lnTo>
                  <a:lnTo>
                    <a:pt x="17691" y="361"/>
                  </a:lnTo>
                  <a:lnTo>
                    <a:pt x="17608" y="337"/>
                  </a:lnTo>
                  <a:lnTo>
                    <a:pt x="17518" y="319"/>
                  </a:lnTo>
                  <a:lnTo>
                    <a:pt x="17420" y="307"/>
                  </a:lnTo>
                  <a:lnTo>
                    <a:pt x="17315" y="300"/>
                  </a:lnTo>
                  <a:lnTo>
                    <a:pt x="17202" y="300"/>
                  </a:lnTo>
                  <a:lnTo>
                    <a:pt x="17082" y="306"/>
                  </a:lnTo>
                  <a:lnTo>
                    <a:pt x="16953" y="318"/>
                  </a:lnTo>
                  <a:lnTo>
                    <a:pt x="16816" y="338"/>
                  </a:lnTo>
                  <a:lnTo>
                    <a:pt x="16670" y="365"/>
                  </a:lnTo>
                  <a:lnTo>
                    <a:pt x="16516" y="399"/>
                  </a:lnTo>
                  <a:lnTo>
                    <a:pt x="16352" y="442"/>
                  </a:lnTo>
                  <a:lnTo>
                    <a:pt x="16179" y="492"/>
                  </a:lnTo>
                  <a:lnTo>
                    <a:pt x="15998" y="548"/>
                  </a:lnTo>
                  <a:lnTo>
                    <a:pt x="15810" y="612"/>
                  </a:lnTo>
                  <a:lnTo>
                    <a:pt x="15616" y="681"/>
                  </a:lnTo>
                  <a:lnTo>
                    <a:pt x="15416" y="756"/>
                  </a:lnTo>
                  <a:lnTo>
                    <a:pt x="15213" y="836"/>
                  </a:lnTo>
                  <a:lnTo>
                    <a:pt x="15007" y="920"/>
                  </a:lnTo>
                  <a:lnTo>
                    <a:pt x="14796" y="1007"/>
                  </a:lnTo>
                  <a:lnTo>
                    <a:pt x="14585" y="1098"/>
                  </a:lnTo>
                  <a:lnTo>
                    <a:pt x="14373" y="1192"/>
                  </a:lnTo>
                  <a:lnTo>
                    <a:pt x="14160" y="1286"/>
                  </a:lnTo>
                  <a:lnTo>
                    <a:pt x="13949" y="1384"/>
                  </a:lnTo>
                  <a:lnTo>
                    <a:pt x="13739" y="1481"/>
                  </a:lnTo>
                  <a:lnTo>
                    <a:pt x="13532" y="1578"/>
                  </a:lnTo>
                  <a:lnTo>
                    <a:pt x="13329" y="1676"/>
                  </a:lnTo>
                  <a:lnTo>
                    <a:pt x="13129" y="1772"/>
                  </a:lnTo>
                  <a:lnTo>
                    <a:pt x="12936" y="1868"/>
                  </a:lnTo>
                  <a:lnTo>
                    <a:pt x="12748" y="1960"/>
                  </a:lnTo>
                  <a:lnTo>
                    <a:pt x="12567" y="2050"/>
                  </a:lnTo>
                  <a:lnTo>
                    <a:pt x="12395" y="2138"/>
                  </a:lnTo>
                  <a:lnTo>
                    <a:pt x="12076" y="2301"/>
                  </a:lnTo>
                  <a:lnTo>
                    <a:pt x="11800" y="2444"/>
                  </a:lnTo>
                  <a:lnTo>
                    <a:pt x="11574" y="2564"/>
                  </a:lnTo>
                  <a:lnTo>
                    <a:pt x="11403" y="2655"/>
                  </a:lnTo>
                  <a:lnTo>
                    <a:pt x="11295" y="2714"/>
                  </a:lnTo>
                  <a:lnTo>
                    <a:pt x="11258" y="2733"/>
                  </a:lnTo>
                  <a:lnTo>
                    <a:pt x="7081" y="2700"/>
                  </a:lnTo>
                  <a:lnTo>
                    <a:pt x="7099" y="2692"/>
                  </a:lnTo>
                  <a:lnTo>
                    <a:pt x="7152" y="2671"/>
                  </a:lnTo>
                  <a:lnTo>
                    <a:pt x="7234" y="2637"/>
                  </a:lnTo>
                  <a:lnTo>
                    <a:pt x="7341" y="2593"/>
                  </a:lnTo>
                  <a:lnTo>
                    <a:pt x="7402" y="2565"/>
                  </a:lnTo>
                  <a:lnTo>
                    <a:pt x="7468" y="2537"/>
                  </a:lnTo>
                  <a:lnTo>
                    <a:pt x="7538" y="2505"/>
                  </a:lnTo>
                  <a:lnTo>
                    <a:pt x="7611" y="2470"/>
                  </a:lnTo>
                  <a:lnTo>
                    <a:pt x="7687" y="2434"/>
                  </a:lnTo>
                  <a:lnTo>
                    <a:pt x="7765" y="2395"/>
                  </a:lnTo>
                  <a:lnTo>
                    <a:pt x="7845" y="2355"/>
                  </a:lnTo>
                  <a:lnTo>
                    <a:pt x="7926" y="2313"/>
                  </a:lnTo>
                  <a:lnTo>
                    <a:pt x="8007" y="2270"/>
                  </a:lnTo>
                  <a:lnTo>
                    <a:pt x="8088" y="2224"/>
                  </a:lnTo>
                  <a:lnTo>
                    <a:pt x="8169" y="2177"/>
                  </a:lnTo>
                  <a:lnTo>
                    <a:pt x="8248" y="2129"/>
                  </a:lnTo>
                  <a:lnTo>
                    <a:pt x="8325" y="2080"/>
                  </a:lnTo>
                  <a:lnTo>
                    <a:pt x="8401" y="2030"/>
                  </a:lnTo>
                  <a:lnTo>
                    <a:pt x="8473" y="1978"/>
                  </a:lnTo>
                  <a:lnTo>
                    <a:pt x="8542" y="1926"/>
                  </a:lnTo>
                  <a:lnTo>
                    <a:pt x="8606" y="1873"/>
                  </a:lnTo>
                  <a:lnTo>
                    <a:pt x="8667" y="1820"/>
                  </a:lnTo>
                  <a:lnTo>
                    <a:pt x="8722" y="1766"/>
                  </a:lnTo>
                  <a:lnTo>
                    <a:pt x="8771" y="1711"/>
                  </a:lnTo>
                  <a:lnTo>
                    <a:pt x="8813" y="1658"/>
                  </a:lnTo>
                  <a:lnTo>
                    <a:pt x="8850" y="1603"/>
                  </a:lnTo>
                  <a:lnTo>
                    <a:pt x="8877" y="1548"/>
                  </a:lnTo>
                  <a:lnTo>
                    <a:pt x="8897" y="1494"/>
                  </a:lnTo>
                  <a:lnTo>
                    <a:pt x="8913" y="1439"/>
                  </a:lnTo>
                  <a:lnTo>
                    <a:pt x="8928" y="1382"/>
                  </a:lnTo>
                  <a:lnTo>
                    <a:pt x="8942" y="1324"/>
                  </a:lnTo>
                  <a:lnTo>
                    <a:pt x="8955" y="1264"/>
                  </a:lnTo>
                  <a:lnTo>
                    <a:pt x="8967" y="1203"/>
                  </a:lnTo>
                  <a:lnTo>
                    <a:pt x="8977" y="1141"/>
                  </a:lnTo>
                  <a:lnTo>
                    <a:pt x="8985" y="1080"/>
                  </a:lnTo>
                  <a:lnTo>
                    <a:pt x="8992" y="1017"/>
                  </a:lnTo>
                  <a:lnTo>
                    <a:pt x="8997" y="954"/>
                  </a:lnTo>
                  <a:lnTo>
                    <a:pt x="8999" y="891"/>
                  </a:lnTo>
                  <a:lnTo>
                    <a:pt x="8999" y="830"/>
                  </a:lnTo>
                  <a:lnTo>
                    <a:pt x="8997" y="768"/>
                  </a:lnTo>
                  <a:lnTo>
                    <a:pt x="8991" y="706"/>
                  </a:lnTo>
                  <a:lnTo>
                    <a:pt x="8982" y="647"/>
                  </a:lnTo>
                  <a:lnTo>
                    <a:pt x="8971" y="588"/>
                  </a:lnTo>
                  <a:lnTo>
                    <a:pt x="8955" y="531"/>
                  </a:lnTo>
                  <a:lnTo>
                    <a:pt x="8936" y="475"/>
                  </a:lnTo>
                  <a:lnTo>
                    <a:pt x="8913" y="421"/>
                  </a:lnTo>
                  <a:lnTo>
                    <a:pt x="8886" y="370"/>
                  </a:lnTo>
                  <a:lnTo>
                    <a:pt x="8855" y="321"/>
                  </a:lnTo>
                  <a:lnTo>
                    <a:pt x="8820" y="274"/>
                  </a:lnTo>
                  <a:lnTo>
                    <a:pt x="8780" y="230"/>
                  </a:lnTo>
                  <a:lnTo>
                    <a:pt x="8735" y="189"/>
                  </a:lnTo>
                  <a:lnTo>
                    <a:pt x="8685" y="153"/>
                  </a:lnTo>
                  <a:lnTo>
                    <a:pt x="8630" y="118"/>
                  </a:lnTo>
                  <a:lnTo>
                    <a:pt x="8570" y="89"/>
                  </a:lnTo>
                  <a:lnTo>
                    <a:pt x="8504" y="63"/>
                  </a:lnTo>
                  <a:lnTo>
                    <a:pt x="8432" y="41"/>
                  </a:lnTo>
                  <a:lnTo>
                    <a:pt x="8354" y="23"/>
                  </a:lnTo>
                  <a:lnTo>
                    <a:pt x="8269" y="10"/>
                  </a:lnTo>
                  <a:lnTo>
                    <a:pt x="8179" y="3"/>
                  </a:lnTo>
                  <a:lnTo>
                    <a:pt x="8082" y="0"/>
                  </a:lnTo>
                  <a:lnTo>
                    <a:pt x="7982" y="3"/>
                  </a:lnTo>
                  <a:lnTo>
                    <a:pt x="7879" y="13"/>
                  </a:lnTo>
                  <a:lnTo>
                    <a:pt x="7774" y="29"/>
                  </a:lnTo>
                  <a:lnTo>
                    <a:pt x="7669" y="52"/>
                  </a:lnTo>
                  <a:lnTo>
                    <a:pt x="7561" y="80"/>
                  </a:lnTo>
                  <a:lnTo>
                    <a:pt x="7453" y="113"/>
                  </a:lnTo>
                  <a:lnTo>
                    <a:pt x="7342" y="150"/>
                  </a:lnTo>
                  <a:lnTo>
                    <a:pt x="7231" y="194"/>
                  </a:lnTo>
                  <a:lnTo>
                    <a:pt x="7118" y="241"/>
                  </a:lnTo>
                  <a:lnTo>
                    <a:pt x="7005" y="291"/>
                  </a:lnTo>
                  <a:lnTo>
                    <a:pt x="6891" y="346"/>
                  </a:lnTo>
                  <a:lnTo>
                    <a:pt x="6775" y="403"/>
                  </a:lnTo>
                  <a:lnTo>
                    <a:pt x="6658" y="463"/>
                  </a:lnTo>
                  <a:lnTo>
                    <a:pt x="6541" y="526"/>
                  </a:lnTo>
                  <a:lnTo>
                    <a:pt x="6423" y="591"/>
                  </a:lnTo>
                  <a:lnTo>
                    <a:pt x="6304" y="657"/>
                  </a:lnTo>
                  <a:lnTo>
                    <a:pt x="6063" y="796"/>
                  </a:lnTo>
                  <a:lnTo>
                    <a:pt x="5821" y="937"/>
                  </a:lnTo>
                  <a:lnTo>
                    <a:pt x="5699" y="1008"/>
                  </a:lnTo>
                  <a:lnTo>
                    <a:pt x="5577" y="1079"/>
                  </a:lnTo>
                  <a:lnTo>
                    <a:pt x="5455" y="1148"/>
                  </a:lnTo>
                  <a:lnTo>
                    <a:pt x="5331" y="1218"/>
                  </a:lnTo>
                  <a:lnTo>
                    <a:pt x="5209" y="1285"/>
                  </a:lnTo>
                  <a:lnTo>
                    <a:pt x="5086" y="1352"/>
                  </a:lnTo>
                  <a:lnTo>
                    <a:pt x="4963" y="1417"/>
                  </a:lnTo>
                  <a:lnTo>
                    <a:pt x="4839" y="1478"/>
                  </a:lnTo>
                  <a:lnTo>
                    <a:pt x="4716" y="1538"/>
                  </a:lnTo>
                  <a:lnTo>
                    <a:pt x="4593" y="1595"/>
                  </a:lnTo>
                  <a:lnTo>
                    <a:pt x="4469" y="1648"/>
                  </a:lnTo>
                  <a:lnTo>
                    <a:pt x="4347" y="1698"/>
                  </a:lnTo>
                  <a:lnTo>
                    <a:pt x="4226" y="1744"/>
                  </a:lnTo>
                  <a:lnTo>
                    <a:pt x="4110" y="1788"/>
                  </a:lnTo>
                  <a:lnTo>
                    <a:pt x="3997" y="1829"/>
                  </a:lnTo>
                  <a:lnTo>
                    <a:pt x="3887" y="1868"/>
                  </a:lnTo>
                  <a:lnTo>
                    <a:pt x="3680" y="1940"/>
                  </a:lnTo>
                  <a:lnTo>
                    <a:pt x="3486" y="2005"/>
                  </a:lnTo>
                  <a:lnTo>
                    <a:pt x="3305" y="2065"/>
                  </a:lnTo>
                  <a:lnTo>
                    <a:pt x="3136" y="2125"/>
                  </a:lnTo>
                  <a:lnTo>
                    <a:pt x="3056" y="2153"/>
                  </a:lnTo>
                  <a:lnTo>
                    <a:pt x="2978" y="2182"/>
                  </a:lnTo>
                  <a:lnTo>
                    <a:pt x="2904" y="2211"/>
                  </a:lnTo>
                  <a:lnTo>
                    <a:pt x="2832" y="2241"/>
                  </a:lnTo>
                  <a:lnTo>
                    <a:pt x="2762" y="2272"/>
                  </a:lnTo>
                  <a:lnTo>
                    <a:pt x="2695" y="2304"/>
                  </a:lnTo>
                  <a:lnTo>
                    <a:pt x="2630" y="2337"/>
                  </a:lnTo>
                  <a:lnTo>
                    <a:pt x="2567" y="2371"/>
                  </a:lnTo>
                  <a:lnTo>
                    <a:pt x="2506" y="2408"/>
                  </a:lnTo>
                  <a:lnTo>
                    <a:pt x="2448" y="2445"/>
                  </a:lnTo>
                  <a:lnTo>
                    <a:pt x="2391" y="2485"/>
                  </a:lnTo>
                  <a:lnTo>
                    <a:pt x="2336" y="2529"/>
                  </a:lnTo>
                  <a:lnTo>
                    <a:pt x="2284" y="2574"/>
                  </a:lnTo>
                  <a:lnTo>
                    <a:pt x="2232" y="2622"/>
                  </a:lnTo>
                  <a:lnTo>
                    <a:pt x="2182" y="2675"/>
                  </a:lnTo>
                  <a:lnTo>
                    <a:pt x="2134" y="2730"/>
                  </a:lnTo>
                  <a:lnTo>
                    <a:pt x="2086" y="2788"/>
                  </a:lnTo>
                  <a:lnTo>
                    <a:pt x="2041" y="2851"/>
                  </a:lnTo>
                  <a:lnTo>
                    <a:pt x="1996" y="2917"/>
                  </a:lnTo>
                  <a:lnTo>
                    <a:pt x="1953" y="2988"/>
                  </a:lnTo>
                  <a:lnTo>
                    <a:pt x="1907" y="3064"/>
                  </a:lnTo>
                  <a:lnTo>
                    <a:pt x="1856" y="3148"/>
                  </a:lnTo>
                  <a:lnTo>
                    <a:pt x="1798" y="3237"/>
                  </a:lnTo>
                  <a:lnTo>
                    <a:pt x="1737" y="3330"/>
                  </a:lnTo>
                  <a:lnTo>
                    <a:pt x="1672" y="3430"/>
                  </a:lnTo>
                  <a:lnTo>
                    <a:pt x="1602" y="3532"/>
                  </a:lnTo>
                  <a:lnTo>
                    <a:pt x="1530" y="3638"/>
                  </a:lnTo>
                  <a:lnTo>
                    <a:pt x="1455" y="3747"/>
                  </a:lnTo>
                  <a:lnTo>
                    <a:pt x="1297" y="3972"/>
                  </a:lnTo>
                  <a:lnTo>
                    <a:pt x="1134" y="4201"/>
                  </a:lnTo>
                  <a:lnTo>
                    <a:pt x="968" y="4431"/>
                  </a:lnTo>
                  <a:lnTo>
                    <a:pt x="804" y="4656"/>
                  </a:lnTo>
                  <a:lnTo>
                    <a:pt x="646" y="4873"/>
                  </a:lnTo>
                  <a:lnTo>
                    <a:pt x="497" y="5075"/>
                  </a:lnTo>
                  <a:lnTo>
                    <a:pt x="361" y="5257"/>
                  </a:lnTo>
                  <a:lnTo>
                    <a:pt x="241" y="5418"/>
                  </a:lnTo>
                  <a:lnTo>
                    <a:pt x="140" y="5552"/>
                  </a:lnTo>
                  <a:lnTo>
                    <a:pt x="65" y="5652"/>
                  </a:lnTo>
                  <a:lnTo>
                    <a:pt x="17" y="5716"/>
                  </a:lnTo>
                  <a:lnTo>
                    <a:pt x="0" y="5738"/>
                  </a:lnTo>
                  <a:close/>
                </a:path>
              </a:pathLst>
            </a:custGeom>
            <a:solidFill>
              <a:srgbClr val="F9D0C2"/>
            </a:solidFill>
            <a:ln w="9525" cap="flat">
              <a:noFill/>
              <a:prstDash val="solid"/>
              <a:miter/>
            </a:ln>
            <a:extLst>
              <a:ext uri="{91240B29-F687-4F45-9708-019B960494DF}">
                <a14:hiddenLine xmlns:a14="http://schemas.microsoft.com/office/drawing/2010/main" w="9525">
                  <a:solidFill>
                    <a:srgbClr val="000000"/>
                  </a:solidFill>
                  <a:round/>
                  <a:headEnd/>
                  <a:tailEnd/>
                </a14:hiddenLine>
              </a:ext>
            </a:ex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4" name="Freeform 6">
              <a:extLst>
                <a:ext uri="{FF2B5EF4-FFF2-40B4-BE49-F238E27FC236}">
                  <a16:creationId xmlns:a16="http://schemas.microsoft.com/office/drawing/2014/main" id="{46B9B75C-4FB1-411D-8BB5-6A740BA18929}"/>
                </a:ext>
              </a:extLst>
            </p:cNvPr>
            <p:cNvSpPr>
              <a:spLocks/>
            </p:cNvSpPr>
            <p:nvPr/>
          </p:nvSpPr>
          <p:spPr bwMode="auto">
            <a:xfrm>
              <a:off x="1758950" y="5108575"/>
              <a:ext cx="2160588" cy="654050"/>
            </a:xfrm>
            <a:custGeom>
              <a:avLst/>
              <a:gdLst>
                <a:gd name="T0" fmla="*/ 1909 w 6802"/>
                <a:gd name="T1" fmla="*/ 962 h 2058"/>
                <a:gd name="T2" fmla="*/ 2298 w 6802"/>
                <a:gd name="T3" fmla="*/ 967 h 2058"/>
                <a:gd name="T4" fmla="*/ 2751 w 6802"/>
                <a:gd name="T5" fmla="*/ 970 h 2058"/>
                <a:gd name="T6" fmla="*/ 3229 w 6802"/>
                <a:gd name="T7" fmla="*/ 972 h 2058"/>
                <a:gd name="T8" fmla="*/ 3696 w 6802"/>
                <a:gd name="T9" fmla="*/ 972 h 2058"/>
                <a:gd name="T10" fmla="*/ 4115 w 6802"/>
                <a:gd name="T11" fmla="*/ 969 h 2058"/>
                <a:gd name="T12" fmla="*/ 4378 w 6802"/>
                <a:gd name="T13" fmla="*/ 963 h 2058"/>
                <a:gd name="T14" fmla="*/ 4518 w 6802"/>
                <a:gd name="T15" fmla="*/ 959 h 2058"/>
                <a:gd name="T16" fmla="*/ 4628 w 6802"/>
                <a:gd name="T17" fmla="*/ 952 h 2058"/>
                <a:gd name="T18" fmla="*/ 4700 w 6802"/>
                <a:gd name="T19" fmla="*/ 943 h 2058"/>
                <a:gd name="T20" fmla="*/ 4740 w 6802"/>
                <a:gd name="T21" fmla="*/ 929 h 2058"/>
                <a:gd name="T22" fmla="*/ 4783 w 6802"/>
                <a:gd name="T23" fmla="*/ 897 h 2058"/>
                <a:gd name="T24" fmla="*/ 4831 w 6802"/>
                <a:gd name="T25" fmla="*/ 849 h 2058"/>
                <a:gd name="T26" fmla="*/ 4884 w 6802"/>
                <a:gd name="T27" fmla="*/ 786 h 2058"/>
                <a:gd name="T28" fmla="*/ 4970 w 6802"/>
                <a:gd name="T29" fmla="*/ 674 h 2058"/>
                <a:gd name="T30" fmla="*/ 5098 w 6802"/>
                <a:gd name="T31" fmla="*/ 503 h 2058"/>
                <a:gd name="T32" fmla="*/ 5203 w 6802"/>
                <a:gd name="T33" fmla="*/ 369 h 2058"/>
                <a:gd name="T34" fmla="*/ 5278 w 6802"/>
                <a:gd name="T35" fmla="*/ 285 h 2058"/>
                <a:gd name="T36" fmla="*/ 5354 w 6802"/>
                <a:gd name="T37" fmla="*/ 206 h 2058"/>
                <a:gd name="T38" fmla="*/ 5432 w 6802"/>
                <a:gd name="T39" fmla="*/ 135 h 2058"/>
                <a:gd name="T40" fmla="*/ 5513 w 6802"/>
                <a:gd name="T41" fmla="*/ 77 h 2058"/>
                <a:gd name="T42" fmla="*/ 5595 w 6802"/>
                <a:gd name="T43" fmla="*/ 33 h 2058"/>
                <a:gd name="T44" fmla="*/ 5679 w 6802"/>
                <a:gd name="T45" fmla="*/ 6 h 2058"/>
                <a:gd name="T46" fmla="*/ 5764 w 6802"/>
                <a:gd name="T47" fmla="*/ 0 h 2058"/>
                <a:gd name="T48" fmla="*/ 5875 w 6802"/>
                <a:gd name="T49" fmla="*/ 17 h 2058"/>
                <a:gd name="T50" fmla="*/ 6016 w 6802"/>
                <a:gd name="T51" fmla="*/ 42 h 2058"/>
                <a:gd name="T52" fmla="*/ 6125 w 6802"/>
                <a:gd name="T53" fmla="*/ 65 h 2058"/>
                <a:gd name="T54" fmla="*/ 6197 w 6802"/>
                <a:gd name="T55" fmla="*/ 84 h 2058"/>
                <a:gd name="T56" fmla="*/ 6268 w 6802"/>
                <a:gd name="T57" fmla="*/ 108 h 2058"/>
                <a:gd name="T58" fmla="*/ 6337 w 6802"/>
                <a:gd name="T59" fmla="*/ 138 h 2058"/>
                <a:gd name="T60" fmla="*/ 6406 w 6802"/>
                <a:gd name="T61" fmla="*/ 173 h 2058"/>
                <a:gd name="T62" fmla="*/ 6472 w 6802"/>
                <a:gd name="T63" fmla="*/ 216 h 2058"/>
                <a:gd name="T64" fmla="*/ 6535 w 6802"/>
                <a:gd name="T65" fmla="*/ 268 h 2058"/>
                <a:gd name="T66" fmla="*/ 6594 w 6802"/>
                <a:gd name="T67" fmla="*/ 327 h 2058"/>
                <a:gd name="T68" fmla="*/ 6649 w 6802"/>
                <a:gd name="T69" fmla="*/ 398 h 2058"/>
                <a:gd name="T70" fmla="*/ 6700 w 6802"/>
                <a:gd name="T71" fmla="*/ 480 h 2058"/>
                <a:gd name="T72" fmla="*/ 6745 w 6802"/>
                <a:gd name="T73" fmla="*/ 573 h 2058"/>
                <a:gd name="T74" fmla="*/ 6785 w 6802"/>
                <a:gd name="T75" fmla="*/ 680 h 2058"/>
                <a:gd name="T76" fmla="*/ 6546 w 6802"/>
                <a:gd name="T77" fmla="*/ 858 h 2058"/>
                <a:gd name="T78" fmla="*/ 6048 w 6802"/>
                <a:gd name="T79" fmla="*/ 1098 h 2058"/>
                <a:gd name="T80" fmla="*/ 5582 w 6802"/>
                <a:gd name="T81" fmla="*/ 1327 h 2058"/>
                <a:gd name="T82" fmla="*/ 5162 w 6802"/>
                <a:gd name="T83" fmla="*/ 1541 h 2058"/>
                <a:gd name="T84" fmla="*/ 4799 w 6802"/>
                <a:gd name="T85" fmla="*/ 1728 h 2058"/>
                <a:gd name="T86" fmla="*/ 4508 w 6802"/>
                <a:gd name="T87" fmla="*/ 1881 h 2058"/>
                <a:gd name="T88" fmla="*/ 4301 w 6802"/>
                <a:gd name="T89" fmla="*/ 1992 h 2058"/>
                <a:gd name="T90" fmla="*/ 4192 w 6802"/>
                <a:gd name="T91" fmla="*/ 2050 h 2058"/>
                <a:gd name="T92" fmla="*/ 0 w 6802"/>
                <a:gd name="T93" fmla="*/ 2025 h 2058"/>
                <a:gd name="T94" fmla="*/ 60 w 6802"/>
                <a:gd name="T95" fmla="*/ 2001 h 2058"/>
                <a:gd name="T96" fmla="*/ 222 w 6802"/>
                <a:gd name="T97" fmla="*/ 1934 h 2058"/>
                <a:gd name="T98" fmla="*/ 459 w 6802"/>
                <a:gd name="T99" fmla="*/ 1829 h 2058"/>
                <a:gd name="T100" fmla="*/ 596 w 6802"/>
                <a:gd name="T101" fmla="*/ 1764 h 2058"/>
                <a:gd name="T102" fmla="*/ 740 w 6802"/>
                <a:gd name="T103" fmla="*/ 1693 h 2058"/>
                <a:gd name="T104" fmla="*/ 889 w 6802"/>
                <a:gd name="T105" fmla="*/ 1614 h 2058"/>
                <a:gd name="T106" fmla="*/ 1038 w 6802"/>
                <a:gd name="T107" fmla="*/ 1531 h 2058"/>
                <a:gd name="T108" fmla="*/ 1185 w 6802"/>
                <a:gd name="T109" fmla="*/ 1443 h 2058"/>
                <a:gd name="T110" fmla="*/ 1324 w 6802"/>
                <a:gd name="T111" fmla="*/ 1351 h 2058"/>
                <a:gd name="T112" fmla="*/ 1455 w 6802"/>
                <a:gd name="T113" fmla="*/ 1257 h 2058"/>
                <a:gd name="T114" fmla="*/ 1571 w 6802"/>
                <a:gd name="T115" fmla="*/ 1158 h 2058"/>
                <a:gd name="T116" fmla="*/ 1669 w 6802"/>
                <a:gd name="T117" fmla="*/ 1059 h 2058"/>
                <a:gd name="T118" fmla="*/ 1748 w 6802"/>
                <a:gd name="T119" fmla="*/ 960 h 20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802" h="2058">
                  <a:moveTo>
                    <a:pt x="1748" y="960"/>
                  </a:moveTo>
                  <a:lnTo>
                    <a:pt x="1909" y="962"/>
                  </a:lnTo>
                  <a:lnTo>
                    <a:pt x="2094" y="964"/>
                  </a:lnTo>
                  <a:lnTo>
                    <a:pt x="2298" y="967"/>
                  </a:lnTo>
                  <a:lnTo>
                    <a:pt x="2519" y="969"/>
                  </a:lnTo>
                  <a:lnTo>
                    <a:pt x="2751" y="970"/>
                  </a:lnTo>
                  <a:lnTo>
                    <a:pt x="2989" y="972"/>
                  </a:lnTo>
                  <a:lnTo>
                    <a:pt x="3229" y="972"/>
                  </a:lnTo>
                  <a:lnTo>
                    <a:pt x="3465" y="973"/>
                  </a:lnTo>
                  <a:lnTo>
                    <a:pt x="3696" y="972"/>
                  </a:lnTo>
                  <a:lnTo>
                    <a:pt x="3914" y="971"/>
                  </a:lnTo>
                  <a:lnTo>
                    <a:pt x="4115" y="969"/>
                  </a:lnTo>
                  <a:lnTo>
                    <a:pt x="4297" y="965"/>
                  </a:lnTo>
                  <a:lnTo>
                    <a:pt x="4378" y="963"/>
                  </a:lnTo>
                  <a:lnTo>
                    <a:pt x="4452" y="961"/>
                  </a:lnTo>
                  <a:lnTo>
                    <a:pt x="4518" y="959"/>
                  </a:lnTo>
                  <a:lnTo>
                    <a:pt x="4578" y="955"/>
                  </a:lnTo>
                  <a:lnTo>
                    <a:pt x="4628" y="952"/>
                  </a:lnTo>
                  <a:lnTo>
                    <a:pt x="4668" y="947"/>
                  </a:lnTo>
                  <a:lnTo>
                    <a:pt x="4700" y="943"/>
                  </a:lnTo>
                  <a:lnTo>
                    <a:pt x="4720" y="938"/>
                  </a:lnTo>
                  <a:lnTo>
                    <a:pt x="4740" y="929"/>
                  </a:lnTo>
                  <a:lnTo>
                    <a:pt x="4761" y="915"/>
                  </a:lnTo>
                  <a:lnTo>
                    <a:pt x="4783" y="897"/>
                  </a:lnTo>
                  <a:lnTo>
                    <a:pt x="4807" y="875"/>
                  </a:lnTo>
                  <a:lnTo>
                    <a:pt x="4831" y="849"/>
                  </a:lnTo>
                  <a:lnTo>
                    <a:pt x="4857" y="819"/>
                  </a:lnTo>
                  <a:lnTo>
                    <a:pt x="4884" y="786"/>
                  </a:lnTo>
                  <a:lnTo>
                    <a:pt x="4911" y="752"/>
                  </a:lnTo>
                  <a:lnTo>
                    <a:pt x="4970" y="674"/>
                  </a:lnTo>
                  <a:lnTo>
                    <a:pt x="5033" y="590"/>
                  </a:lnTo>
                  <a:lnTo>
                    <a:pt x="5098" y="503"/>
                  </a:lnTo>
                  <a:lnTo>
                    <a:pt x="5168" y="414"/>
                  </a:lnTo>
                  <a:lnTo>
                    <a:pt x="5203" y="369"/>
                  </a:lnTo>
                  <a:lnTo>
                    <a:pt x="5240" y="327"/>
                  </a:lnTo>
                  <a:lnTo>
                    <a:pt x="5278" y="285"/>
                  </a:lnTo>
                  <a:lnTo>
                    <a:pt x="5315" y="244"/>
                  </a:lnTo>
                  <a:lnTo>
                    <a:pt x="5354" y="206"/>
                  </a:lnTo>
                  <a:lnTo>
                    <a:pt x="5393" y="170"/>
                  </a:lnTo>
                  <a:lnTo>
                    <a:pt x="5432" y="135"/>
                  </a:lnTo>
                  <a:lnTo>
                    <a:pt x="5473" y="105"/>
                  </a:lnTo>
                  <a:lnTo>
                    <a:pt x="5513" y="77"/>
                  </a:lnTo>
                  <a:lnTo>
                    <a:pt x="5554" y="53"/>
                  </a:lnTo>
                  <a:lnTo>
                    <a:pt x="5595" y="33"/>
                  </a:lnTo>
                  <a:lnTo>
                    <a:pt x="5637" y="17"/>
                  </a:lnTo>
                  <a:lnTo>
                    <a:pt x="5679" y="6"/>
                  </a:lnTo>
                  <a:lnTo>
                    <a:pt x="5722" y="0"/>
                  </a:lnTo>
                  <a:lnTo>
                    <a:pt x="5764" y="0"/>
                  </a:lnTo>
                  <a:lnTo>
                    <a:pt x="5807" y="4"/>
                  </a:lnTo>
                  <a:lnTo>
                    <a:pt x="5875" y="17"/>
                  </a:lnTo>
                  <a:lnTo>
                    <a:pt x="5944" y="28"/>
                  </a:lnTo>
                  <a:lnTo>
                    <a:pt x="6016" y="42"/>
                  </a:lnTo>
                  <a:lnTo>
                    <a:pt x="6088" y="57"/>
                  </a:lnTo>
                  <a:lnTo>
                    <a:pt x="6125" y="65"/>
                  </a:lnTo>
                  <a:lnTo>
                    <a:pt x="6160" y="74"/>
                  </a:lnTo>
                  <a:lnTo>
                    <a:pt x="6197" y="84"/>
                  </a:lnTo>
                  <a:lnTo>
                    <a:pt x="6232" y="95"/>
                  </a:lnTo>
                  <a:lnTo>
                    <a:pt x="6268" y="108"/>
                  </a:lnTo>
                  <a:lnTo>
                    <a:pt x="6303" y="123"/>
                  </a:lnTo>
                  <a:lnTo>
                    <a:pt x="6337" y="138"/>
                  </a:lnTo>
                  <a:lnTo>
                    <a:pt x="6373" y="155"/>
                  </a:lnTo>
                  <a:lnTo>
                    <a:pt x="6406" y="173"/>
                  </a:lnTo>
                  <a:lnTo>
                    <a:pt x="6439" y="194"/>
                  </a:lnTo>
                  <a:lnTo>
                    <a:pt x="6472" y="216"/>
                  </a:lnTo>
                  <a:lnTo>
                    <a:pt x="6504" y="240"/>
                  </a:lnTo>
                  <a:lnTo>
                    <a:pt x="6535" y="268"/>
                  </a:lnTo>
                  <a:lnTo>
                    <a:pt x="6564" y="296"/>
                  </a:lnTo>
                  <a:lnTo>
                    <a:pt x="6594" y="327"/>
                  </a:lnTo>
                  <a:lnTo>
                    <a:pt x="6623" y="361"/>
                  </a:lnTo>
                  <a:lnTo>
                    <a:pt x="6649" y="398"/>
                  </a:lnTo>
                  <a:lnTo>
                    <a:pt x="6675" y="438"/>
                  </a:lnTo>
                  <a:lnTo>
                    <a:pt x="6700" y="480"/>
                  </a:lnTo>
                  <a:lnTo>
                    <a:pt x="6723" y="525"/>
                  </a:lnTo>
                  <a:lnTo>
                    <a:pt x="6745" y="573"/>
                  </a:lnTo>
                  <a:lnTo>
                    <a:pt x="6765" y="625"/>
                  </a:lnTo>
                  <a:lnTo>
                    <a:pt x="6785" y="680"/>
                  </a:lnTo>
                  <a:lnTo>
                    <a:pt x="6802" y="738"/>
                  </a:lnTo>
                  <a:lnTo>
                    <a:pt x="6546" y="858"/>
                  </a:lnTo>
                  <a:lnTo>
                    <a:pt x="6294" y="978"/>
                  </a:lnTo>
                  <a:lnTo>
                    <a:pt x="6048" y="1098"/>
                  </a:lnTo>
                  <a:lnTo>
                    <a:pt x="5811" y="1214"/>
                  </a:lnTo>
                  <a:lnTo>
                    <a:pt x="5582" y="1327"/>
                  </a:lnTo>
                  <a:lnTo>
                    <a:pt x="5365" y="1437"/>
                  </a:lnTo>
                  <a:lnTo>
                    <a:pt x="5162" y="1541"/>
                  </a:lnTo>
                  <a:lnTo>
                    <a:pt x="4973" y="1638"/>
                  </a:lnTo>
                  <a:lnTo>
                    <a:pt x="4799" y="1728"/>
                  </a:lnTo>
                  <a:lnTo>
                    <a:pt x="4644" y="1809"/>
                  </a:lnTo>
                  <a:lnTo>
                    <a:pt x="4508" y="1881"/>
                  </a:lnTo>
                  <a:lnTo>
                    <a:pt x="4394" y="1942"/>
                  </a:lnTo>
                  <a:lnTo>
                    <a:pt x="4301" y="1992"/>
                  </a:lnTo>
                  <a:lnTo>
                    <a:pt x="4233" y="2028"/>
                  </a:lnTo>
                  <a:lnTo>
                    <a:pt x="4192" y="2050"/>
                  </a:lnTo>
                  <a:lnTo>
                    <a:pt x="4177" y="2058"/>
                  </a:lnTo>
                  <a:lnTo>
                    <a:pt x="0" y="2025"/>
                  </a:lnTo>
                  <a:lnTo>
                    <a:pt x="16" y="2018"/>
                  </a:lnTo>
                  <a:lnTo>
                    <a:pt x="60" y="2001"/>
                  </a:lnTo>
                  <a:lnTo>
                    <a:pt x="130" y="1972"/>
                  </a:lnTo>
                  <a:lnTo>
                    <a:pt x="222" y="1934"/>
                  </a:lnTo>
                  <a:lnTo>
                    <a:pt x="333" y="1885"/>
                  </a:lnTo>
                  <a:lnTo>
                    <a:pt x="459" y="1829"/>
                  </a:lnTo>
                  <a:lnTo>
                    <a:pt x="526" y="1797"/>
                  </a:lnTo>
                  <a:lnTo>
                    <a:pt x="596" y="1764"/>
                  </a:lnTo>
                  <a:lnTo>
                    <a:pt x="667" y="1729"/>
                  </a:lnTo>
                  <a:lnTo>
                    <a:pt x="740" y="1693"/>
                  </a:lnTo>
                  <a:lnTo>
                    <a:pt x="814" y="1654"/>
                  </a:lnTo>
                  <a:lnTo>
                    <a:pt x="889" y="1614"/>
                  </a:lnTo>
                  <a:lnTo>
                    <a:pt x="964" y="1574"/>
                  </a:lnTo>
                  <a:lnTo>
                    <a:pt x="1038" y="1531"/>
                  </a:lnTo>
                  <a:lnTo>
                    <a:pt x="1112" y="1487"/>
                  </a:lnTo>
                  <a:lnTo>
                    <a:pt x="1185" y="1443"/>
                  </a:lnTo>
                  <a:lnTo>
                    <a:pt x="1256" y="1398"/>
                  </a:lnTo>
                  <a:lnTo>
                    <a:pt x="1324" y="1351"/>
                  </a:lnTo>
                  <a:lnTo>
                    <a:pt x="1391" y="1305"/>
                  </a:lnTo>
                  <a:lnTo>
                    <a:pt x="1455" y="1257"/>
                  </a:lnTo>
                  <a:lnTo>
                    <a:pt x="1514" y="1207"/>
                  </a:lnTo>
                  <a:lnTo>
                    <a:pt x="1571" y="1158"/>
                  </a:lnTo>
                  <a:lnTo>
                    <a:pt x="1622" y="1109"/>
                  </a:lnTo>
                  <a:lnTo>
                    <a:pt x="1669" y="1059"/>
                  </a:lnTo>
                  <a:lnTo>
                    <a:pt x="1711" y="1010"/>
                  </a:lnTo>
                  <a:lnTo>
                    <a:pt x="1748" y="960"/>
                  </a:lnTo>
                  <a:close/>
                </a:path>
              </a:pathLst>
            </a:custGeom>
            <a:solidFill>
              <a:schemeClr val="tx1">
                <a:lumMod val="75000"/>
                <a:lumOff val="2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5" name="Freeform 7">
              <a:extLst>
                <a:ext uri="{FF2B5EF4-FFF2-40B4-BE49-F238E27FC236}">
                  <a16:creationId xmlns:a16="http://schemas.microsoft.com/office/drawing/2014/main" id="{1F8E5C6B-0D76-43DB-A69B-FCE729F3DDCF}"/>
                </a:ext>
              </a:extLst>
            </p:cNvPr>
            <p:cNvSpPr>
              <a:spLocks/>
            </p:cNvSpPr>
            <p:nvPr/>
          </p:nvSpPr>
          <p:spPr bwMode="auto">
            <a:xfrm>
              <a:off x="2314575" y="5026025"/>
              <a:ext cx="1109663" cy="392113"/>
            </a:xfrm>
            <a:custGeom>
              <a:avLst/>
              <a:gdLst>
                <a:gd name="T0" fmla="*/ 2318 w 3495"/>
                <a:gd name="T1" fmla="*/ 519 h 1233"/>
                <a:gd name="T2" fmla="*/ 2332 w 3495"/>
                <a:gd name="T3" fmla="*/ 489 h 1233"/>
                <a:gd name="T4" fmla="*/ 2371 w 3495"/>
                <a:gd name="T5" fmla="*/ 411 h 1233"/>
                <a:gd name="T6" fmla="*/ 2399 w 3495"/>
                <a:gd name="T7" fmla="*/ 361 h 1233"/>
                <a:gd name="T8" fmla="*/ 2434 w 3495"/>
                <a:gd name="T9" fmla="*/ 306 h 1233"/>
                <a:gd name="T10" fmla="*/ 2474 w 3495"/>
                <a:gd name="T11" fmla="*/ 249 h 1233"/>
                <a:gd name="T12" fmla="*/ 2521 w 3495"/>
                <a:gd name="T13" fmla="*/ 193 h 1233"/>
                <a:gd name="T14" fmla="*/ 2573 w 3495"/>
                <a:gd name="T15" fmla="*/ 140 h 1233"/>
                <a:gd name="T16" fmla="*/ 2630 w 3495"/>
                <a:gd name="T17" fmla="*/ 92 h 1233"/>
                <a:gd name="T18" fmla="*/ 2691 w 3495"/>
                <a:gd name="T19" fmla="*/ 51 h 1233"/>
                <a:gd name="T20" fmla="*/ 2759 w 3495"/>
                <a:gd name="T21" fmla="*/ 21 h 1233"/>
                <a:gd name="T22" fmla="*/ 2831 w 3495"/>
                <a:gd name="T23" fmla="*/ 4 h 1233"/>
                <a:gd name="T24" fmla="*/ 2907 w 3495"/>
                <a:gd name="T25" fmla="*/ 1 h 1233"/>
                <a:gd name="T26" fmla="*/ 2988 w 3495"/>
                <a:gd name="T27" fmla="*/ 16 h 1233"/>
                <a:gd name="T28" fmla="*/ 3074 w 3495"/>
                <a:gd name="T29" fmla="*/ 52 h 1233"/>
                <a:gd name="T30" fmla="*/ 3121 w 3495"/>
                <a:gd name="T31" fmla="*/ 78 h 1233"/>
                <a:gd name="T32" fmla="*/ 3164 w 3495"/>
                <a:gd name="T33" fmla="*/ 107 h 1233"/>
                <a:gd name="T34" fmla="*/ 3205 w 3495"/>
                <a:gd name="T35" fmla="*/ 137 h 1233"/>
                <a:gd name="T36" fmla="*/ 3243 w 3495"/>
                <a:gd name="T37" fmla="*/ 168 h 1233"/>
                <a:gd name="T38" fmla="*/ 3277 w 3495"/>
                <a:gd name="T39" fmla="*/ 201 h 1233"/>
                <a:gd name="T40" fmla="*/ 3308 w 3495"/>
                <a:gd name="T41" fmla="*/ 236 h 1233"/>
                <a:gd name="T42" fmla="*/ 3338 w 3495"/>
                <a:gd name="T43" fmla="*/ 270 h 1233"/>
                <a:gd name="T44" fmla="*/ 3364 w 3495"/>
                <a:gd name="T45" fmla="*/ 305 h 1233"/>
                <a:gd name="T46" fmla="*/ 3408 w 3495"/>
                <a:gd name="T47" fmla="*/ 376 h 1233"/>
                <a:gd name="T48" fmla="*/ 3445 w 3495"/>
                <a:gd name="T49" fmla="*/ 448 h 1233"/>
                <a:gd name="T50" fmla="*/ 3474 w 3495"/>
                <a:gd name="T51" fmla="*/ 518 h 1233"/>
                <a:gd name="T52" fmla="*/ 3495 w 3495"/>
                <a:gd name="T53" fmla="*/ 584 h 1233"/>
                <a:gd name="T54" fmla="*/ 3413 w 3495"/>
                <a:gd name="T55" fmla="*/ 682 h 1233"/>
                <a:gd name="T56" fmla="*/ 3335 w 3495"/>
                <a:gd name="T57" fmla="*/ 782 h 1233"/>
                <a:gd name="T58" fmla="*/ 3194 w 3495"/>
                <a:gd name="T59" fmla="*/ 972 h 1233"/>
                <a:gd name="T60" fmla="*/ 3130 w 3495"/>
                <a:gd name="T61" fmla="*/ 1054 h 1233"/>
                <a:gd name="T62" fmla="*/ 3072 w 3495"/>
                <a:gd name="T63" fmla="*/ 1122 h 1233"/>
                <a:gd name="T64" fmla="*/ 3044 w 3495"/>
                <a:gd name="T65" fmla="*/ 1149 h 1233"/>
                <a:gd name="T66" fmla="*/ 3018 w 3495"/>
                <a:gd name="T67" fmla="*/ 1171 h 1233"/>
                <a:gd name="T68" fmla="*/ 2994 w 3495"/>
                <a:gd name="T69" fmla="*/ 1188 h 1233"/>
                <a:gd name="T70" fmla="*/ 2972 w 3495"/>
                <a:gd name="T71" fmla="*/ 1198 h 1233"/>
                <a:gd name="T72" fmla="*/ 2920 w 3495"/>
                <a:gd name="T73" fmla="*/ 1207 h 1233"/>
                <a:gd name="T74" fmla="*/ 2830 w 3495"/>
                <a:gd name="T75" fmla="*/ 1215 h 1233"/>
                <a:gd name="T76" fmla="*/ 2704 w 3495"/>
                <a:gd name="T77" fmla="*/ 1221 h 1233"/>
                <a:gd name="T78" fmla="*/ 2549 w 3495"/>
                <a:gd name="T79" fmla="*/ 1225 h 1233"/>
                <a:gd name="T80" fmla="*/ 2166 w 3495"/>
                <a:gd name="T81" fmla="*/ 1231 h 1233"/>
                <a:gd name="T82" fmla="*/ 1717 w 3495"/>
                <a:gd name="T83" fmla="*/ 1233 h 1233"/>
                <a:gd name="T84" fmla="*/ 1241 w 3495"/>
                <a:gd name="T85" fmla="*/ 1232 h 1233"/>
                <a:gd name="T86" fmla="*/ 771 w 3495"/>
                <a:gd name="T87" fmla="*/ 1229 h 1233"/>
                <a:gd name="T88" fmla="*/ 346 w 3495"/>
                <a:gd name="T89" fmla="*/ 1224 h 1233"/>
                <a:gd name="T90" fmla="*/ 0 w 3495"/>
                <a:gd name="T91" fmla="*/ 1220 h 1233"/>
                <a:gd name="T92" fmla="*/ 22 w 3495"/>
                <a:gd name="T93" fmla="*/ 1184 h 1233"/>
                <a:gd name="T94" fmla="*/ 41 w 3495"/>
                <a:gd name="T95" fmla="*/ 1149 h 1233"/>
                <a:gd name="T96" fmla="*/ 56 w 3495"/>
                <a:gd name="T97" fmla="*/ 1114 h 1233"/>
                <a:gd name="T98" fmla="*/ 68 w 3495"/>
                <a:gd name="T99" fmla="*/ 1079 h 1233"/>
                <a:gd name="T100" fmla="*/ 104 w 3495"/>
                <a:gd name="T101" fmla="*/ 948 h 1233"/>
                <a:gd name="T102" fmla="*/ 134 w 3495"/>
                <a:gd name="T103" fmla="*/ 809 h 1233"/>
                <a:gd name="T104" fmla="*/ 146 w 3495"/>
                <a:gd name="T105" fmla="*/ 737 h 1233"/>
                <a:gd name="T106" fmla="*/ 156 w 3495"/>
                <a:gd name="T107" fmla="*/ 665 h 1233"/>
                <a:gd name="T108" fmla="*/ 164 w 3495"/>
                <a:gd name="T109" fmla="*/ 592 h 1233"/>
                <a:gd name="T110" fmla="*/ 169 w 3495"/>
                <a:gd name="T111" fmla="*/ 519 h 1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495" h="1233">
                  <a:moveTo>
                    <a:pt x="169" y="519"/>
                  </a:moveTo>
                  <a:lnTo>
                    <a:pt x="2318" y="519"/>
                  </a:lnTo>
                  <a:lnTo>
                    <a:pt x="2321" y="511"/>
                  </a:lnTo>
                  <a:lnTo>
                    <a:pt x="2332" y="489"/>
                  </a:lnTo>
                  <a:lnTo>
                    <a:pt x="2348" y="455"/>
                  </a:lnTo>
                  <a:lnTo>
                    <a:pt x="2371" y="411"/>
                  </a:lnTo>
                  <a:lnTo>
                    <a:pt x="2384" y="386"/>
                  </a:lnTo>
                  <a:lnTo>
                    <a:pt x="2399" y="361"/>
                  </a:lnTo>
                  <a:lnTo>
                    <a:pt x="2416" y="334"/>
                  </a:lnTo>
                  <a:lnTo>
                    <a:pt x="2434" y="306"/>
                  </a:lnTo>
                  <a:lnTo>
                    <a:pt x="2454" y="278"/>
                  </a:lnTo>
                  <a:lnTo>
                    <a:pt x="2474" y="249"/>
                  </a:lnTo>
                  <a:lnTo>
                    <a:pt x="2497" y="221"/>
                  </a:lnTo>
                  <a:lnTo>
                    <a:pt x="2521" y="193"/>
                  </a:lnTo>
                  <a:lnTo>
                    <a:pt x="2546" y="166"/>
                  </a:lnTo>
                  <a:lnTo>
                    <a:pt x="2573" y="140"/>
                  </a:lnTo>
                  <a:lnTo>
                    <a:pt x="2600" y="115"/>
                  </a:lnTo>
                  <a:lnTo>
                    <a:pt x="2630" y="92"/>
                  </a:lnTo>
                  <a:lnTo>
                    <a:pt x="2661" y="70"/>
                  </a:lnTo>
                  <a:lnTo>
                    <a:pt x="2691" y="51"/>
                  </a:lnTo>
                  <a:lnTo>
                    <a:pt x="2724" y="35"/>
                  </a:lnTo>
                  <a:lnTo>
                    <a:pt x="2759" y="21"/>
                  </a:lnTo>
                  <a:lnTo>
                    <a:pt x="2794" y="11"/>
                  </a:lnTo>
                  <a:lnTo>
                    <a:pt x="2831" y="4"/>
                  </a:lnTo>
                  <a:lnTo>
                    <a:pt x="2868" y="0"/>
                  </a:lnTo>
                  <a:lnTo>
                    <a:pt x="2907" y="1"/>
                  </a:lnTo>
                  <a:lnTo>
                    <a:pt x="2947" y="6"/>
                  </a:lnTo>
                  <a:lnTo>
                    <a:pt x="2988" y="16"/>
                  </a:lnTo>
                  <a:lnTo>
                    <a:pt x="3031" y="31"/>
                  </a:lnTo>
                  <a:lnTo>
                    <a:pt x="3074" y="52"/>
                  </a:lnTo>
                  <a:lnTo>
                    <a:pt x="3098" y="65"/>
                  </a:lnTo>
                  <a:lnTo>
                    <a:pt x="3121" y="78"/>
                  </a:lnTo>
                  <a:lnTo>
                    <a:pt x="3144" y="93"/>
                  </a:lnTo>
                  <a:lnTo>
                    <a:pt x="3164" y="107"/>
                  </a:lnTo>
                  <a:lnTo>
                    <a:pt x="3185" y="121"/>
                  </a:lnTo>
                  <a:lnTo>
                    <a:pt x="3205" y="137"/>
                  </a:lnTo>
                  <a:lnTo>
                    <a:pt x="3225" y="152"/>
                  </a:lnTo>
                  <a:lnTo>
                    <a:pt x="3243" y="168"/>
                  </a:lnTo>
                  <a:lnTo>
                    <a:pt x="3260" y="185"/>
                  </a:lnTo>
                  <a:lnTo>
                    <a:pt x="3277" y="201"/>
                  </a:lnTo>
                  <a:lnTo>
                    <a:pt x="3293" y="218"/>
                  </a:lnTo>
                  <a:lnTo>
                    <a:pt x="3308" y="236"/>
                  </a:lnTo>
                  <a:lnTo>
                    <a:pt x="3323" y="253"/>
                  </a:lnTo>
                  <a:lnTo>
                    <a:pt x="3338" y="270"/>
                  </a:lnTo>
                  <a:lnTo>
                    <a:pt x="3350" y="287"/>
                  </a:lnTo>
                  <a:lnTo>
                    <a:pt x="3364" y="305"/>
                  </a:lnTo>
                  <a:lnTo>
                    <a:pt x="3387" y="341"/>
                  </a:lnTo>
                  <a:lnTo>
                    <a:pt x="3408" y="376"/>
                  </a:lnTo>
                  <a:lnTo>
                    <a:pt x="3428" y="411"/>
                  </a:lnTo>
                  <a:lnTo>
                    <a:pt x="3445" y="448"/>
                  </a:lnTo>
                  <a:lnTo>
                    <a:pt x="3460" y="482"/>
                  </a:lnTo>
                  <a:lnTo>
                    <a:pt x="3474" y="518"/>
                  </a:lnTo>
                  <a:lnTo>
                    <a:pt x="3485" y="551"/>
                  </a:lnTo>
                  <a:lnTo>
                    <a:pt x="3495" y="584"/>
                  </a:lnTo>
                  <a:lnTo>
                    <a:pt x="3454" y="632"/>
                  </a:lnTo>
                  <a:lnTo>
                    <a:pt x="3413" y="682"/>
                  </a:lnTo>
                  <a:lnTo>
                    <a:pt x="3374" y="732"/>
                  </a:lnTo>
                  <a:lnTo>
                    <a:pt x="3335" y="782"/>
                  </a:lnTo>
                  <a:lnTo>
                    <a:pt x="3262" y="881"/>
                  </a:lnTo>
                  <a:lnTo>
                    <a:pt x="3194" y="972"/>
                  </a:lnTo>
                  <a:lnTo>
                    <a:pt x="3161" y="1014"/>
                  </a:lnTo>
                  <a:lnTo>
                    <a:pt x="3130" y="1054"/>
                  </a:lnTo>
                  <a:lnTo>
                    <a:pt x="3100" y="1090"/>
                  </a:lnTo>
                  <a:lnTo>
                    <a:pt x="3072" y="1122"/>
                  </a:lnTo>
                  <a:lnTo>
                    <a:pt x="3058" y="1136"/>
                  </a:lnTo>
                  <a:lnTo>
                    <a:pt x="3044" y="1149"/>
                  </a:lnTo>
                  <a:lnTo>
                    <a:pt x="3032" y="1160"/>
                  </a:lnTo>
                  <a:lnTo>
                    <a:pt x="3018" y="1171"/>
                  </a:lnTo>
                  <a:lnTo>
                    <a:pt x="3007" y="1180"/>
                  </a:lnTo>
                  <a:lnTo>
                    <a:pt x="2994" y="1188"/>
                  </a:lnTo>
                  <a:lnTo>
                    <a:pt x="2983" y="1193"/>
                  </a:lnTo>
                  <a:lnTo>
                    <a:pt x="2972" y="1198"/>
                  </a:lnTo>
                  <a:lnTo>
                    <a:pt x="2952" y="1203"/>
                  </a:lnTo>
                  <a:lnTo>
                    <a:pt x="2920" y="1207"/>
                  </a:lnTo>
                  <a:lnTo>
                    <a:pt x="2880" y="1212"/>
                  </a:lnTo>
                  <a:lnTo>
                    <a:pt x="2830" y="1215"/>
                  </a:lnTo>
                  <a:lnTo>
                    <a:pt x="2770" y="1219"/>
                  </a:lnTo>
                  <a:lnTo>
                    <a:pt x="2704" y="1221"/>
                  </a:lnTo>
                  <a:lnTo>
                    <a:pt x="2630" y="1223"/>
                  </a:lnTo>
                  <a:lnTo>
                    <a:pt x="2549" y="1225"/>
                  </a:lnTo>
                  <a:lnTo>
                    <a:pt x="2367" y="1229"/>
                  </a:lnTo>
                  <a:lnTo>
                    <a:pt x="2166" y="1231"/>
                  </a:lnTo>
                  <a:lnTo>
                    <a:pt x="1948" y="1232"/>
                  </a:lnTo>
                  <a:lnTo>
                    <a:pt x="1717" y="1233"/>
                  </a:lnTo>
                  <a:lnTo>
                    <a:pt x="1481" y="1232"/>
                  </a:lnTo>
                  <a:lnTo>
                    <a:pt x="1241" y="1232"/>
                  </a:lnTo>
                  <a:lnTo>
                    <a:pt x="1003" y="1230"/>
                  </a:lnTo>
                  <a:lnTo>
                    <a:pt x="771" y="1229"/>
                  </a:lnTo>
                  <a:lnTo>
                    <a:pt x="550" y="1227"/>
                  </a:lnTo>
                  <a:lnTo>
                    <a:pt x="346" y="1224"/>
                  </a:lnTo>
                  <a:lnTo>
                    <a:pt x="161" y="1222"/>
                  </a:lnTo>
                  <a:lnTo>
                    <a:pt x="0" y="1220"/>
                  </a:lnTo>
                  <a:lnTo>
                    <a:pt x="11" y="1201"/>
                  </a:lnTo>
                  <a:lnTo>
                    <a:pt x="22" y="1184"/>
                  </a:lnTo>
                  <a:lnTo>
                    <a:pt x="32" y="1167"/>
                  </a:lnTo>
                  <a:lnTo>
                    <a:pt x="41" y="1149"/>
                  </a:lnTo>
                  <a:lnTo>
                    <a:pt x="49" y="1132"/>
                  </a:lnTo>
                  <a:lnTo>
                    <a:pt x="56" y="1114"/>
                  </a:lnTo>
                  <a:lnTo>
                    <a:pt x="63" y="1096"/>
                  </a:lnTo>
                  <a:lnTo>
                    <a:pt x="68" y="1079"/>
                  </a:lnTo>
                  <a:lnTo>
                    <a:pt x="87" y="1014"/>
                  </a:lnTo>
                  <a:lnTo>
                    <a:pt x="104" y="948"/>
                  </a:lnTo>
                  <a:lnTo>
                    <a:pt x="120" y="879"/>
                  </a:lnTo>
                  <a:lnTo>
                    <a:pt x="134" y="809"/>
                  </a:lnTo>
                  <a:lnTo>
                    <a:pt x="140" y="773"/>
                  </a:lnTo>
                  <a:lnTo>
                    <a:pt x="146" y="737"/>
                  </a:lnTo>
                  <a:lnTo>
                    <a:pt x="152" y="701"/>
                  </a:lnTo>
                  <a:lnTo>
                    <a:pt x="156" y="665"/>
                  </a:lnTo>
                  <a:lnTo>
                    <a:pt x="161" y="628"/>
                  </a:lnTo>
                  <a:lnTo>
                    <a:pt x="164" y="592"/>
                  </a:lnTo>
                  <a:lnTo>
                    <a:pt x="167" y="555"/>
                  </a:lnTo>
                  <a:lnTo>
                    <a:pt x="169" y="519"/>
                  </a:lnTo>
                  <a:close/>
                </a:path>
              </a:pathLst>
            </a:custGeom>
            <a:solidFill>
              <a:schemeClr val="tx1">
                <a:lumMod val="75000"/>
                <a:lumOff val="2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6" name="Freeform 8">
              <a:extLst>
                <a:ext uri="{FF2B5EF4-FFF2-40B4-BE49-F238E27FC236}">
                  <a16:creationId xmlns:a16="http://schemas.microsoft.com/office/drawing/2014/main" id="{4451C991-BD60-48D1-A43E-17328CFA6C6C}"/>
                </a:ext>
              </a:extLst>
            </p:cNvPr>
            <p:cNvSpPr>
              <a:spLocks/>
            </p:cNvSpPr>
            <p:nvPr/>
          </p:nvSpPr>
          <p:spPr bwMode="auto">
            <a:xfrm>
              <a:off x="2351088" y="4957763"/>
              <a:ext cx="725488" cy="233363"/>
            </a:xfrm>
            <a:custGeom>
              <a:avLst/>
              <a:gdLst>
                <a:gd name="T0" fmla="*/ 25 w 2286"/>
                <a:gd name="T1" fmla="*/ 271 h 737"/>
                <a:gd name="T2" fmla="*/ 79 w 2286"/>
                <a:gd name="T3" fmla="*/ 209 h 737"/>
                <a:gd name="T4" fmla="*/ 125 w 2286"/>
                <a:gd name="T5" fmla="*/ 165 h 737"/>
                <a:gd name="T6" fmla="*/ 159 w 2286"/>
                <a:gd name="T7" fmla="*/ 137 h 737"/>
                <a:gd name="T8" fmla="*/ 194 w 2286"/>
                <a:gd name="T9" fmla="*/ 111 h 737"/>
                <a:gd name="T10" fmla="*/ 233 w 2286"/>
                <a:gd name="T11" fmla="*/ 87 h 737"/>
                <a:gd name="T12" fmla="*/ 273 w 2286"/>
                <a:gd name="T13" fmla="*/ 65 h 737"/>
                <a:gd name="T14" fmla="*/ 317 w 2286"/>
                <a:gd name="T15" fmla="*/ 47 h 737"/>
                <a:gd name="T16" fmla="*/ 361 w 2286"/>
                <a:gd name="T17" fmla="*/ 31 h 737"/>
                <a:gd name="T18" fmla="*/ 409 w 2286"/>
                <a:gd name="T19" fmla="*/ 17 h 737"/>
                <a:gd name="T20" fmla="*/ 460 w 2286"/>
                <a:gd name="T21" fmla="*/ 8 h 737"/>
                <a:gd name="T22" fmla="*/ 513 w 2286"/>
                <a:gd name="T23" fmla="*/ 3 h 737"/>
                <a:gd name="T24" fmla="*/ 569 w 2286"/>
                <a:gd name="T25" fmla="*/ 0 h 737"/>
                <a:gd name="T26" fmla="*/ 628 w 2286"/>
                <a:gd name="T27" fmla="*/ 4 h 737"/>
                <a:gd name="T28" fmla="*/ 716 w 2286"/>
                <a:gd name="T29" fmla="*/ 15 h 737"/>
                <a:gd name="T30" fmla="*/ 825 w 2286"/>
                <a:gd name="T31" fmla="*/ 38 h 737"/>
                <a:gd name="T32" fmla="*/ 922 w 2286"/>
                <a:gd name="T33" fmla="*/ 70 h 737"/>
                <a:gd name="T34" fmla="*/ 1009 w 2286"/>
                <a:gd name="T35" fmla="*/ 106 h 737"/>
                <a:gd name="T36" fmla="*/ 1086 w 2286"/>
                <a:gd name="T37" fmla="*/ 150 h 737"/>
                <a:gd name="T38" fmla="*/ 1155 w 2286"/>
                <a:gd name="T39" fmla="*/ 196 h 737"/>
                <a:gd name="T40" fmla="*/ 1214 w 2286"/>
                <a:gd name="T41" fmla="*/ 245 h 737"/>
                <a:gd name="T42" fmla="*/ 1264 w 2286"/>
                <a:gd name="T43" fmla="*/ 295 h 737"/>
                <a:gd name="T44" fmla="*/ 1308 w 2286"/>
                <a:gd name="T45" fmla="*/ 344 h 737"/>
                <a:gd name="T46" fmla="*/ 1344 w 2286"/>
                <a:gd name="T47" fmla="*/ 393 h 737"/>
                <a:gd name="T48" fmla="*/ 1374 w 2286"/>
                <a:gd name="T49" fmla="*/ 438 h 737"/>
                <a:gd name="T50" fmla="*/ 1397 w 2286"/>
                <a:gd name="T51" fmla="*/ 479 h 737"/>
                <a:gd name="T52" fmla="*/ 1422 w 2286"/>
                <a:gd name="T53" fmla="*/ 530 h 737"/>
                <a:gd name="T54" fmla="*/ 1438 w 2286"/>
                <a:gd name="T55" fmla="*/ 570 h 737"/>
                <a:gd name="T56" fmla="*/ 2286 w 2286"/>
                <a:gd name="T57" fmla="*/ 576 h 737"/>
                <a:gd name="T58" fmla="*/ 2251 w 2286"/>
                <a:gd name="T59" fmla="*/ 639 h 737"/>
                <a:gd name="T60" fmla="*/ 2225 w 2286"/>
                <a:gd name="T61" fmla="*/ 690 h 737"/>
                <a:gd name="T62" fmla="*/ 2203 w 2286"/>
                <a:gd name="T63" fmla="*/ 737 h 737"/>
                <a:gd name="T64" fmla="*/ 55 w 2286"/>
                <a:gd name="T65" fmla="*/ 681 h 737"/>
                <a:gd name="T66" fmla="*/ 54 w 2286"/>
                <a:gd name="T67" fmla="*/ 596 h 737"/>
                <a:gd name="T68" fmla="*/ 49 w 2286"/>
                <a:gd name="T69" fmla="*/ 540 h 737"/>
                <a:gd name="T70" fmla="*/ 44 w 2286"/>
                <a:gd name="T71" fmla="*/ 487 h 737"/>
                <a:gd name="T72" fmla="*/ 35 w 2286"/>
                <a:gd name="T73" fmla="*/ 432 h 737"/>
                <a:gd name="T74" fmla="*/ 23 w 2286"/>
                <a:gd name="T75" fmla="*/ 379 h 737"/>
                <a:gd name="T76" fmla="*/ 9 w 2286"/>
                <a:gd name="T77" fmla="*/ 328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286" h="737">
                  <a:moveTo>
                    <a:pt x="0" y="303"/>
                  </a:moveTo>
                  <a:lnTo>
                    <a:pt x="25" y="271"/>
                  </a:lnTo>
                  <a:lnTo>
                    <a:pt x="51" y="240"/>
                  </a:lnTo>
                  <a:lnTo>
                    <a:pt x="79" y="209"/>
                  </a:lnTo>
                  <a:lnTo>
                    <a:pt x="109" y="180"/>
                  </a:lnTo>
                  <a:lnTo>
                    <a:pt x="125" y="165"/>
                  </a:lnTo>
                  <a:lnTo>
                    <a:pt x="142" y="151"/>
                  </a:lnTo>
                  <a:lnTo>
                    <a:pt x="159" y="137"/>
                  </a:lnTo>
                  <a:lnTo>
                    <a:pt x="176" y="124"/>
                  </a:lnTo>
                  <a:lnTo>
                    <a:pt x="194" y="111"/>
                  </a:lnTo>
                  <a:lnTo>
                    <a:pt x="214" y="100"/>
                  </a:lnTo>
                  <a:lnTo>
                    <a:pt x="233" y="87"/>
                  </a:lnTo>
                  <a:lnTo>
                    <a:pt x="253" y="77"/>
                  </a:lnTo>
                  <a:lnTo>
                    <a:pt x="273" y="65"/>
                  </a:lnTo>
                  <a:lnTo>
                    <a:pt x="294" y="56"/>
                  </a:lnTo>
                  <a:lnTo>
                    <a:pt x="317" y="47"/>
                  </a:lnTo>
                  <a:lnTo>
                    <a:pt x="338" y="38"/>
                  </a:lnTo>
                  <a:lnTo>
                    <a:pt x="361" y="31"/>
                  </a:lnTo>
                  <a:lnTo>
                    <a:pt x="385" y="24"/>
                  </a:lnTo>
                  <a:lnTo>
                    <a:pt x="409" y="17"/>
                  </a:lnTo>
                  <a:lnTo>
                    <a:pt x="434" y="13"/>
                  </a:lnTo>
                  <a:lnTo>
                    <a:pt x="460" y="8"/>
                  </a:lnTo>
                  <a:lnTo>
                    <a:pt x="487" y="5"/>
                  </a:lnTo>
                  <a:lnTo>
                    <a:pt x="513" y="3"/>
                  </a:lnTo>
                  <a:lnTo>
                    <a:pt x="540" y="1"/>
                  </a:lnTo>
                  <a:lnTo>
                    <a:pt x="569" y="0"/>
                  </a:lnTo>
                  <a:lnTo>
                    <a:pt x="599" y="1"/>
                  </a:lnTo>
                  <a:lnTo>
                    <a:pt x="628" y="4"/>
                  </a:lnTo>
                  <a:lnTo>
                    <a:pt x="658" y="7"/>
                  </a:lnTo>
                  <a:lnTo>
                    <a:pt x="716" y="15"/>
                  </a:lnTo>
                  <a:lnTo>
                    <a:pt x="772" y="25"/>
                  </a:lnTo>
                  <a:lnTo>
                    <a:pt x="825" y="38"/>
                  </a:lnTo>
                  <a:lnTo>
                    <a:pt x="875" y="53"/>
                  </a:lnTo>
                  <a:lnTo>
                    <a:pt x="922" y="70"/>
                  </a:lnTo>
                  <a:lnTo>
                    <a:pt x="966" y="87"/>
                  </a:lnTo>
                  <a:lnTo>
                    <a:pt x="1009" y="106"/>
                  </a:lnTo>
                  <a:lnTo>
                    <a:pt x="1049" y="128"/>
                  </a:lnTo>
                  <a:lnTo>
                    <a:pt x="1086" y="150"/>
                  </a:lnTo>
                  <a:lnTo>
                    <a:pt x="1122" y="173"/>
                  </a:lnTo>
                  <a:lnTo>
                    <a:pt x="1155" y="196"/>
                  </a:lnTo>
                  <a:lnTo>
                    <a:pt x="1186" y="221"/>
                  </a:lnTo>
                  <a:lnTo>
                    <a:pt x="1214" y="245"/>
                  </a:lnTo>
                  <a:lnTo>
                    <a:pt x="1240" y="270"/>
                  </a:lnTo>
                  <a:lnTo>
                    <a:pt x="1264" y="295"/>
                  </a:lnTo>
                  <a:lnTo>
                    <a:pt x="1287" y="320"/>
                  </a:lnTo>
                  <a:lnTo>
                    <a:pt x="1308" y="344"/>
                  </a:lnTo>
                  <a:lnTo>
                    <a:pt x="1327" y="369"/>
                  </a:lnTo>
                  <a:lnTo>
                    <a:pt x="1344" y="393"/>
                  </a:lnTo>
                  <a:lnTo>
                    <a:pt x="1360" y="416"/>
                  </a:lnTo>
                  <a:lnTo>
                    <a:pt x="1374" y="438"/>
                  </a:lnTo>
                  <a:lnTo>
                    <a:pt x="1387" y="459"/>
                  </a:lnTo>
                  <a:lnTo>
                    <a:pt x="1397" y="479"/>
                  </a:lnTo>
                  <a:lnTo>
                    <a:pt x="1407" y="497"/>
                  </a:lnTo>
                  <a:lnTo>
                    <a:pt x="1422" y="530"/>
                  </a:lnTo>
                  <a:lnTo>
                    <a:pt x="1432" y="554"/>
                  </a:lnTo>
                  <a:lnTo>
                    <a:pt x="1438" y="570"/>
                  </a:lnTo>
                  <a:lnTo>
                    <a:pt x="1439" y="576"/>
                  </a:lnTo>
                  <a:lnTo>
                    <a:pt x="2286" y="576"/>
                  </a:lnTo>
                  <a:lnTo>
                    <a:pt x="2267" y="608"/>
                  </a:lnTo>
                  <a:lnTo>
                    <a:pt x="2251" y="639"/>
                  </a:lnTo>
                  <a:lnTo>
                    <a:pt x="2236" y="666"/>
                  </a:lnTo>
                  <a:lnTo>
                    <a:pt x="2225" y="690"/>
                  </a:lnTo>
                  <a:lnTo>
                    <a:pt x="2209" y="724"/>
                  </a:lnTo>
                  <a:lnTo>
                    <a:pt x="2203" y="737"/>
                  </a:lnTo>
                  <a:lnTo>
                    <a:pt x="54" y="737"/>
                  </a:lnTo>
                  <a:lnTo>
                    <a:pt x="55" y="681"/>
                  </a:lnTo>
                  <a:lnTo>
                    <a:pt x="55" y="624"/>
                  </a:lnTo>
                  <a:lnTo>
                    <a:pt x="54" y="596"/>
                  </a:lnTo>
                  <a:lnTo>
                    <a:pt x="52" y="569"/>
                  </a:lnTo>
                  <a:lnTo>
                    <a:pt x="49" y="540"/>
                  </a:lnTo>
                  <a:lnTo>
                    <a:pt x="47" y="513"/>
                  </a:lnTo>
                  <a:lnTo>
                    <a:pt x="44" y="487"/>
                  </a:lnTo>
                  <a:lnTo>
                    <a:pt x="39" y="459"/>
                  </a:lnTo>
                  <a:lnTo>
                    <a:pt x="35" y="432"/>
                  </a:lnTo>
                  <a:lnTo>
                    <a:pt x="30" y="406"/>
                  </a:lnTo>
                  <a:lnTo>
                    <a:pt x="23" y="379"/>
                  </a:lnTo>
                  <a:lnTo>
                    <a:pt x="16" y="353"/>
                  </a:lnTo>
                  <a:lnTo>
                    <a:pt x="9" y="328"/>
                  </a:lnTo>
                  <a:lnTo>
                    <a:pt x="0" y="303"/>
                  </a:lnTo>
                  <a:close/>
                </a:path>
              </a:pathLst>
            </a:custGeom>
            <a:solidFill>
              <a:schemeClr val="tx1">
                <a:lumMod val="75000"/>
                <a:lumOff val="2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7" name="Freeform 9">
              <a:extLst>
                <a:ext uri="{FF2B5EF4-FFF2-40B4-BE49-F238E27FC236}">
                  <a16:creationId xmlns:a16="http://schemas.microsoft.com/office/drawing/2014/main" id="{D325897E-6E61-420D-B91D-926B209A35D0}"/>
                </a:ext>
              </a:extLst>
            </p:cNvPr>
            <p:cNvSpPr>
              <a:spLocks/>
            </p:cNvSpPr>
            <p:nvPr/>
          </p:nvSpPr>
          <p:spPr bwMode="auto">
            <a:xfrm>
              <a:off x="2465388" y="1577975"/>
              <a:ext cx="566738" cy="1012825"/>
            </a:xfrm>
            <a:custGeom>
              <a:avLst/>
              <a:gdLst>
                <a:gd name="T0" fmla="*/ 565 w 1789"/>
                <a:gd name="T1" fmla="*/ 3151 h 3192"/>
                <a:gd name="T2" fmla="*/ 487 w 1789"/>
                <a:gd name="T3" fmla="*/ 3071 h 3192"/>
                <a:gd name="T4" fmla="*/ 388 w 1789"/>
                <a:gd name="T5" fmla="*/ 2951 h 3192"/>
                <a:gd name="T6" fmla="*/ 277 w 1789"/>
                <a:gd name="T7" fmla="*/ 2796 h 3192"/>
                <a:gd name="T8" fmla="*/ 170 w 1789"/>
                <a:gd name="T9" fmla="*/ 2609 h 3192"/>
                <a:gd name="T10" fmla="*/ 80 w 1789"/>
                <a:gd name="T11" fmla="*/ 2393 h 3192"/>
                <a:gd name="T12" fmla="*/ 18 w 1789"/>
                <a:gd name="T13" fmla="*/ 2151 h 3192"/>
                <a:gd name="T14" fmla="*/ 0 w 1789"/>
                <a:gd name="T15" fmla="*/ 1887 h 3192"/>
                <a:gd name="T16" fmla="*/ 38 w 1789"/>
                <a:gd name="T17" fmla="*/ 1605 h 3192"/>
                <a:gd name="T18" fmla="*/ 144 w 1789"/>
                <a:gd name="T19" fmla="*/ 1307 h 3192"/>
                <a:gd name="T20" fmla="*/ 316 w 1789"/>
                <a:gd name="T21" fmla="*/ 1012 h 3192"/>
                <a:gd name="T22" fmla="*/ 503 w 1789"/>
                <a:gd name="T23" fmla="*/ 760 h 3192"/>
                <a:gd name="T24" fmla="*/ 695 w 1789"/>
                <a:gd name="T25" fmla="*/ 555 h 3192"/>
                <a:gd name="T26" fmla="*/ 886 w 1789"/>
                <a:gd name="T27" fmla="*/ 389 h 3192"/>
                <a:gd name="T28" fmla="*/ 1070 w 1789"/>
                <a:gd name="T29" fmla="*/ 260 h 3192"/>
                <a:gd name="T30" fmla="*/ 1241 w 1789"/>
                <a:gd name="T31" fmla="*/ 163 h 3192"/>
                <a:gd name="T32" fmla="*/ 1394 w 1789"/>
                <a:gd name="T33" fmla="*/ 92 h 3192"/>
                <a:gd name="T34" fmla="*/ 1523 w 1789"/>
                <a:gd name="T35" fmla="*/ 46 h 3192"/>
                <a:gd name="T36" fmla="*/ 1622 w 1789"/>
                <a:gd name="T37" fmla="*/ 17 h 3192"/>
                <a:gd name="T38" fmla="*/ 1699 w 1789"/>
                <a:gd name="T39" fmla="*/ 1 h 3192"/>
                <a:gd name="T40" fmla="*/ 1692 w 1789"/>
                <a:gd name="T41" fmla="*/ 32 h 3192"/>
                <a:gd name="T42" fmla="*/ 1640 w 1789"/>
                <a:gd name="T43" fmla="*/ 151 h 3192"/>
                <a:gd name="T44" fmla="*/ 1600 w 1789"/>
                <a:gd name="T45" fmla="*/ 257 h 3192"/>
                <a:gd name="T46" fmla="*/ 1559 w 1789"/>
                <a:gd name="T47" fmla="*/ 387 h 3192"/>
                <a:gd name="T48" fmla="*/ 1523 w 1789"/>
                <a:gd name="T49" fmla="*/ 534 h 3192"/>
                <a:gd name="T50" fmla="*/ 1496 w 1789"/>
                <a:gd name="T51" fmla="*/ 696 h 3192"/>
                <a:gd name="T52" fmla="*/ 1483 w 1789"/>
                <a:gd name="T53" fmla="*/ 870 h 3192"/>
                <a:gd name="T54" fmla="*/ 1489 w 1789"/>
                <a:gd name="T55" fmla="*/ 1052 h 3192"/>
                <a:gd name="T56" fmla="*/ 1520 w 1789"/>
                <a:gd name="T57" fmla="*/ 1235 h 3192"/>
                <a:gd name="T58" fmla="*/ 1597 w 1789"/>
                <a:gd name="T59" fmla="*/ 1475 h 3192"/>
                <a:gd name="T60" fmla="*/ 1702 w 1789"/>
                <a:gd name="T61" fmla="*/ 1774 h 3192"/>
                <a:gd name="T62" fmla="*/ 1741 w 1789"/>
                <a:gd name="T63" fmla="*/ 1901 h 3192"/>
                <a:gd name="T64" fmla="*/ 1770 w 1789"/>
                <a:gd name="T65" fmla="*/ 2017 h 3192"/>
                <a:gd name="T66" fmla="*/ 1786 w 1789"/>
                <a:gd name="T67" fmla="*/ 2128 h 3192"/>
                <a:gd name="T68" fmla="*/ 1788 w 1789"/>
                <a:gd name="T69" fmla="*/ 2236 h 3192"/>
                <a:gd name="T70" fmla="*/ 1775 w 1789"/>
                <a:gd name="T71" fmla="*/ 2344 h 3192"/>
                <a:gd name="T72" fmla="*/ 1746 w 1789"/>
                <a:gd name="T73" fmla="*/ 2458 h 3192"/>
                <a:gd name="T74" fmla="*/ 1699 w 1789"/>
                <a:gd name="T75" fmla="*/ 2581 h 3192"/>
                <a:gd name="T76" fmla="*/ 1632 w 1789"/>
                <a:gd name="T77" fmla="*/ 2716 h 3192"/>
                <a:gd name="T78" fmla="*/ 1544 w 1789"/>
                <a:gd name="T79" fmla="*/ 2846 h 3192"/>
                <a:gd name="T80" fmla="*/ 1436 w 1789"/>
                <a:gd name="T81" fmla="*/ 2949 h 3192"/>
                <a:gd name="T82" fmla="*/ 1316 w 1789"/>
                <a:gd name="T83" fmla="*/ 3030 h 3192"/>
                <a:gd name="T84" fmla="*/ 1189 w 1789"/>
                <a:gd name="T85" fmla="*/ 3091 h 3192"/>
                <a:gd name="T86" fmla="*/ 1060 w 1789"/>
                <a:gd name="T87" fmla="*/ 3134 h 3192"/>
                <a:gd name="T88" fmla="*/ 936 w 1789"/>
                <a:gd name="T89" fmla="*/ 3163 h 3192"/>
                <a:gd name="T90" fmla="*/ 824 w 1789"/>
                <a:gd name="T91" fmla="*/ 3181 h 3192"/>
                <a:gd name="T92" fmla="*/ 730 w 1789"/>
                <a:gd name="T93" fmla="*/ 3189 h 3192"/>
                <a:gd name="T94" fmla="*/ 616 w 1789"/>
                <a:gd name="T95" fmla="*/ 3192 h 3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789" h="3192">
                  <a:moveTo>
                    <a:pt x="607" y="3191"/>
                  </a:moveTo>
                  <a:lnTo>
                    <a:pt x="596" y="3181"/>
                  </a:lnTo>
                  <a:lnTo>
                    <a:pt x="565" y="3151"/>
                  </a:lnTo>
                  <a:lnTo>
                    <a:pt x="542" y="3130"/>
                  </a:lnTo>
                  <a:lnTo>
                    <a:pt x="517" y="3102"/>
                  </a:lnTo>
                  <a:lnTo>
                    <a:pt x="487" y="3071"/>
                  </a:lnTo>
                  <a:lnTo>
                    <a:pt x="457" y="3036"/>
                  </a:lnTo>
                  <a:lnTo>
                    <a:pt x="422" y="2996"/>
                  </a:lnTo>
                  <a:lnTo>
                    <a:pt x="388" y="2951"/>
                  </a:lnTo>
                  <a:lnTo>
                    <a:pt x="352" y="2903"/>
                  </a:lnTo>
                  <a:lnTo>
                    <a:pt x="315" y="2852"/>
                  </a:lnTo>
                  <a:lnTo>
                    <a:pt x="277" y="2796"/>
                  </a:lnTo>
                  <a:lnTo>
                    <a:pt x="241" y="2738"/>
                  </a:lnTo>
                  <a:lnTo>
                    <a:pt x="204" y="2675"/>
                  </a:lnTo>
                  <a:lnTo>
                    <a:pt x="170" y="2609"/>
                  </a:lnTo>
                  <a:lnTo>
                    <a:pt x="137" y="2540"/>
                  </a:lnTo>
                  <a:lnTo>
                    <a:pt x="107" y="2468"/>
                  </a:lnTo>
                  <a:lnTo>
                    <a:pt x="80" y="2393"/>
                  </a:lnTo>
                  <a:lnTo>
                    <a:pt x="55" y="2315"/>
                  </a:lnTo>
                  <a:lnTo>
                    <a:pt x="34" y="2234"/>
                  </a:lnTo>
                  <a:lnTo>
                    <a:pt x="18" y="2151"/>
                  </a:lnTo>
                  <a:lnTo>
                    <a:pt x="7" y="2065"/>
                  </a:lnTo>
                  <a:lnTo>
                    <a:pt x="0" y="1977"/>
                  </a:lnTo>
                  <a:lnTo>
                    <a:pt x="0" y="1887"/>
                  </a:lnTo>
                  <a:lnTo>
                    <a:pt x="6" y="1796"/>
                  </a:lnTo>
                  <a:lnTo>
                    <a:pt x="17" y="1701"/>
                  </a:lnTo>
                  <a:lnTo>
                    <a:pt x="38" y="1605"/>
                  </a:lnTo>
                  <a:lnTo>
                    <a:pt x="64" y="1507"/>
                  </a:lnTo>
                  <a:lnTo>
                    <a:pt x="100" y="1408"/>
                  </a:lnTo>
                  <a:lnTo>
                    <a:pt x="144" y="1307"/>
                  </a:lnTo>
                  <a:lnTo>
                    <a:pt x="197" y="1206"/>
                  </a:lnTo>
                  <a:lnTo>
                    <a:pt x="256" y="1105"/>
                  </a:lnTo>
                  <a:lnTo>
                    <a:pt x="316" y="1012"/>
                  </a:lnTo>
                  <a:lnTo>
                    <a:pt x="378" y="923"/>
                  </a:lnTo>
                  <a:lnTo>
                    <a:pt x="441" y="839"/>
                  </a:lnTo>
                  <a:lnTo>
                    <a:pt x="503" y="760"/>
                  </a:lnTo>
                  <a:lnTo>
                    <a:pt x="567" y="687"/>
                  </a:lnTo>
                  <a:lnTo>
                    <a:pt x="631" y="619"/>
                  </a:lnTo>
                  <a:lnTo>
                    <a:pt x="695" y="555"/>
                  </a:lnTo>
                  <a:lnTo>
                    <a:pt x="759" y="496"/>
                  </a:lnTo>
                  <a:lnTo>
                    <a:pt x="822" y="441"/>
                  </a:lnTo>
                  <a:lnTo>
                    <a:pt x="886" y="389"/>
                  </a:lnTo>
                  <a:lnTo>
                    <a:pt x="948" y="343"/>
                  </a:lnTo>
                  <a:lnTo>
                    <a:pt x="1009" y="300"/>
                  </a:lnTo>
                  <a:lnTo>
                    <a:pt x="1070" y="260"/>
                  </a:lnTo>
                  <a:lnTo>
                    <a:pt x="1128" y="225"/>
                  </a:lnTo>
                  <a:lnTo>
                    <a:pt x="1185" y="192"/>
                  </a:lnTo>
                  <a:lnTo>
                    <a:pt x="1241" y="163"/>
                  </a:lnTo>
                  <a:lnTo>
                    <a:pt x="1294" y="137"/>
                  </a:lnTo>
                  <a:lnTo>
                    <a:pt x="1345" y="113"/>
                  </a:lnTo>
                  <a:lnTo>
                    <a:pt x="1394" y="92"/>
                  </a:lnTo>
                  <a:lnTo>
                    <a:pt x="1440" y="74"/>
                  </a:lnTo>
                  <a:lnTo>
                    <a:pt x="1483" y="59"/>
                  </a:lnTo>
                  <a:lnTo>
                    <a:pt x="1523" y="46"/>
                  </a:lnTo>
                  <a:lnTo>
                    <a:pt x="1560" y="34"/>
                  </a:lnTo>
                  <a:lnTo>
                    <a:pt x="1593" y="25"/>
                  </a:lnTo>
                  <a:lnTo>
                    <a:pt x="1622" y="17"/>
                  </a:lnTo>
                  <a:lnTo>
                    <a:pt x="1648" y="11"/>
                  </a:lnTo>
                  <a:lnTo>
                    <a:pt x="1669" y="7"/>
                  </a:lnTo>
                  <a:lnTo>
                    <a:pt x="1699" y="1"/>
                  </a:lnTo>
                  <a:lnTo>
                    <a:pt x="1708" y="0"/>
                  </a:lnTo>
                  <a:lnTo>
                    <a:pt x="1705" y="8"/>
                  </a:lnTo>
                  <a:lnTo>
                    <a:pt x="1692" y="32"/>
                  </a:lnTo>
                  <a:lnTo>
                    <a:pt x="1675" y="70"/>
                  </a:lnTo>
                  <a:lnTo>
                    <a:pt x="1652" y="120"/>
                  </a:lnTo>
                  <a:lnTo>
                    <a:pt x="1640" y="151"/>
                  </a:lnTo>
                  <a:lnTo>
                    <a:pt x="1627" y="184"/>
                  </a:lnTo>
                  <a:lnTo>
                    <a:pt x="1613" y="219"/>
                  </a:lnTo>
                  <a:lnTo>
                    <a:pt x="1600" y="257"/>
                  </a:lnTo>
                  <a:lnTo>
                    <a:pt x="1586" y="298"/>
                  </a:lnTo>
                  <a:lnTo>
                    <a:pt x="1572" y="341"/>
                  </a:lnTo>
                  <a:lnTo>
                    <a:pt x="1559" y="387"/>
                  </a:lnTo>
                  <a:lnTo>
                    <a:pt x="1546" y="434"/>
                  </a:lnTo>
                  <a:lnTo>
                    <a:pt x="1535" y="483"/>
                  </a:lnTo>
                  <a:lnTo>
                    <a:pt x="1523" y="534"/>
                  </a:lnTo>
                  <a:lnTo>
                    <a:pt x="1513" y="587"/>
                  </a:lnTo>
                  <a:lnTo>
                    <a:pt x="1504" y="642"/>
                  </a:lnTo>
                  <a:lnTo>
                    <a:pt x="1496" y="696"/>
                  </a:lnTo>
                  <a:lnTo>
                    <a:pt x="1490" y="754"/>
                  </a:lnTo>
                  <a:lnTo>
                    <a:pt x="1485" y="812"/>
                  </a:lnTo>
                  <a:lnTo>
                    <a:pt x="1483" y="870"/>
                  </a:lnTo>
                  <a:lnTo>
                    <a:pt x="1483" y="929"/>
                  </a:lnTo>
                  <a:lnTo>
                    <a:pt x="1484" y="990"/>
                  </a:lnTo>
                  <a:lnTo>
                    <a:pt x="1489" y="1052"/>
                  </a:lnTo>
                  <a:lnTo>
                    <a:pt x="1497" y="1112"/>
                  </a:lnTo>
                  <a:lnTo>
                    <a:pt x="1507" y="1174"/>
                  </a:lnTo>
                  <a:lnTo>
                    <a:pt x="1520" y="1235"/>
                  </a:lnTo>
                  <a:lnTo>
                    <a:pt x="1536" y="1297"/>
                  </a:lnTo>
                  <a:lnTo>
                    <a:pt x="1556" y="1359"/>
                  </a:lnTo>
                  <a:lnTo>
                    <a:pt x="1597" y="1475"/>
                  </a:lnTo>
                  <a:lnTo>
                    <a:pt x="1636" y="1584"/>
                  </a:lnTo>
                  <a:lnTo>
                    <a:pt x="1672" y="1683"/>
                  </a:lnTo>
                  <a:lnTo>
                    <a:pt x="1702" y="1774"/>
                  </a:lnTo>
                  <a:lnTo>
                    <a:pt x="1717" y="1818"/>
                  </a:lnTo>
                  <a:lnTo>
                    <a:pt x="1730" y="1860"/>
                  </a:lnTo>
                  <a:lnTo>
                    <a:pt x="1741" y="1901"/>
                  </a:lnTo>
                  <a:lnTo>
                    <a:pt x="1753" y="1941"/>
                  </a:lnTo>
                  <a:lnTo>
                    <a:pt x="1762" y="1980"/>
                  </a:lnTo>
                  <a:lnTo>
                    <a:pt x="1770" y="2017"/>
                  </a:lnTo>
                  <a:lnTo>
                    <a:pt x="1777" y="2055"/>
                  </a:lnTo>
                  <a:lnTo>
                    <a:pt x="1782" y="2092"/>
                  </a:lnTo>
                  <a:lnTo>
                    <a:pt x="1786" y="2128"/>
                  </a:lnTo>
                  <a:lnTo>
                    <a:pt x="1788" y="2164"/>
                  </a:lnTo>
                  <a:lnTo>
                    <a:pt x="1789" y="2199"/>
                  </a:lnTo>
                  <a:lnTo>
                    <a:pt x="1788" y="2236"/>
                  </a:lnTo>
                  <a:lnTo>
                    <a:pt x="1786" y="2271"/>
                  </a:lnTo>
                  <a:lnTo>
                    <a:pt x="1781" y="2307"/>
                  </a:lnTo>
                  <a:lnTo>
                    <a:pt x="1775" y="2344"/>
                  </a:lnTo>
                  <a:lnTo>
                    <a:pt x="1767" y="2382"/>
                  </a:lnTo>
                  <a:lnTo>
                    <a:pt x="1757" y="2419"/>
                  </a:lnTo>
                  <a:lnTo>
                    <a:pt x="1746" y="2458"/>
                  </a:lnTo>
                  <a:lnTo>
                    <a:pt x="1732" y="2498"/>
                  </a:lnTo>
                  <a:lnTo>
                    <a:pt x="1716" y="2539"/>
                  </a:lnTo>
                  <a:lnTo>
                    <a:pt x="1699" y="2581"/>
                  </a:lnTo>
                  <a:lnTo>
                    <a:pt x="1678" y="2625"/>
                  </a:lnTo>
                  <a:lnTo>
                    <a:pt x="1657" y="2669"/>
                  </a:lnTo>
                  <a:lnTo>
                    <a:pt x="1632" y="2716"/>
                  </a:lnTo>
                  <a:lnTo>
                    <a:pt x="1605" y="2763"/>
                  </a:lnTo>
                  <a:lnTo>
                    <a:pt x="1576" y="2805"/>
                  </a:lnTo>
                  <a:lnTo>
                    <a:pt x="1544" y="2846"/>
                  </a:lnTo>
                  <a:lnTo>
                    <a:pt x="1511" y="2883"/>
                  </a:lnTo>
                  <a:lnTo>
                    <a:pt x="1474" y="2917"/>
                  </a:lnTo>
                  <a:lnTo>
                    <a:pt x="1436" y="2949"/>
                  </a:lnTo>
                  <a:lnTo>
                    <a:pt x="1398" y="2979"/>
                  </a:lnTo>
                  <a:lnTo>
                    <a:pt x="1358" y="3006"/>
                  </a:lnTo>
                  <a:lnTo>
                    <a:pt x="1316" y="3030"/>
                  </a:lnTo>
                  <a:lnTo>
                    <a:pt x="1274" y="3053"/>
                  </a:lnTo>
                  <a:lnTo>
                    <a:pt x="1232" y="3072"/>
                  </a:lnTo>
                  <a:lnTo>
                    <a:pt x="1189" y="3091"/>
                  </a:lnTo>
                  <a:lnTo>
                    <a:pt x="1145" y="3107"/>
                  </a:lnTo>
                  <a:lnTo>
                    <a:pt x="1103" y="3122"/>
                  </a:lnTo>
                  <a:lnTo>
                    <a:pt x="1060" y="3134"/>
                  </a:lnTo>
                  <a:lnTo>
                    <a:pt x="1018" y="3145"/>
                  </a:lnTo>
                  <a:lnTo>
                    <a:pt x="977" y="3155"/>
                  </a:lnTo>
                  <a:lnTo>
                    <a:pt x="936" y="3163"/>
                  </a:lnTo>
                  <a:lnTo>
                    <a:pt x="897" y="3169"/>
                  </a:lnTo>
                  <a:lnTo>
                    <a:pt x="860" y="3175"/>
                  </a:lnTo>
                  <a:lnTo>
                    <a:pt x="824" y="3181"/>
                  </a:lnTo>
                  <a:lnTo>
                    <a:pt x="791" y="3184"/>
                  </a:lnTo>
                  <a:lnTo>
                    <a:pt x="759" y="3187"/>
                  </a:lnTo>
                  <a:lnTo>
                    <a:pt x="730" y="3189"/>
                  </a:lnTo>
                  <a:lnTo>
                    <a:pt x="679" y="3191"/>
                  </a:lnTo>
                  <a:lnTo>
                    <a:pt x="640" y="3192"/>
                  </a:lnTo>
                  <a:lnTo>
                    <a:pt x="616" y="3192"/>
                  </a:lnTo>
                  <a:lnTo>
                    <a:pt x="607" y="3191"/>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8" name="Freeform 10">
              <a:extLst>
                <a:ext uri="{FF2B5EF4-FFF2-40B4-BE49-F238E27FC236}">
                  <a16:creationId xmlns:a16="http://schemas.microsoft.com/office/drawing/2014/main" id="{9BF0E6D1-04A0-4AEE-8F25-BAE2F81E677B}"/>
                </a:ext>
              </a:extLst>
            </p:cNvPr>
            <p:cNvSpPr>
              <a:spLocks/>
            </p:cNvSpPr>
            <p:nvPr/>
          </p:nvSpPr>
          <p:spPr bwMode="auto">
            <a:xfrm>
              <a:off x="3344863" y="2982913"/>
              <a:ext cx="1085850" cy="1065213"/>
            </a:xfrm>
            <a:custGeom>
              <a:avLst/>
              <a:gdLst>
                <a:gd name="T0" fmla="*/ 555 w 3418"/>
                <a:gd name="T1" fmla="*/ 3212 h 3355"/>
                <a:gd name="T2" fmla="*/ 463 w 3418"/>
                <a:gd name="T3" fmla="*/ 3159 h 3355"/>
                <a:gd name="T4" fmla="*/ 326 w 3418"/>
                <a:gd name="T5" fmla="*/ 3071 h 3355"/>
                <a:gd name="T6" fmla="*/ 215 w 3418"/>
                <a:gd name="T7" fmla="*/ 2979 h 3355"/>
                <a:gd name="T8" fmla="*/ 114 w 3418"/>
                <a:gd name="T9" fmla="*/ 2862 h 3355"/>
                <a:gd name="T10" fmla="*/ 38 w 3418"/>
                <a:gd name="T11" fmla="*/ 2721 h 3355"/>
                <a:gd name="T12" fmla="*/ 2 w 3418"/>
                <a:gd name="T13" fmla="*/ 2552 h 3355"/>
                <a:gd name="T14" fmla="*/ 20 w 3418"/>
                <a:gd name="T15" fmla="*/ 2353 h 3355"/>
                <a:gd name="T16" fmla="*/ 109 w 3418"/>
                <a:gd name="T17" fmla="*/ 2124 h 3355"/>
                <a:gd name="T18" fmla="*/ 283 w 3418"/>
                <a:gd name="T19" fmla="*/ 1861 h 3355"/>
                <a:gd name="T20" fmla="*/ 533 w 3418"/>
                <a:gd name="T21" fmla="*/ 1587 h 3355"/>
                <a:gd name="T22" fmla="*/ 790 w 3418"/>
                <a:gd name="T23" fmla="*/ 1372 h 3355"/>
                <a:gd name="T24" fmla="*/ 1044 w 3418"/>
                <a:gd name="T25" fmla="*/ 1213 h 3355"/>
                <a:gd name="T26" fmla="*/ 1293 w 3418"/>
                <a:gd name="T27" fmla="*/ 1097 h 3355"/>
                <a:gd name="T28" fmla="*/ 1534 w 3418"/>
                <a:gd name="T29" fmla="*/ 1016 h 3355"/>
                <a:gd name="T30" fmla="*/ 1765 w 3418"/>
                <a:gd name="T31" fmla="*/ 957 h 3355"/>
                <a:gd name="T32" fmla="*/ 1982 w 3418"/>
                <a:gd name="T33" fmla="*/ 911 h 3355"/>
                <a:gd name="T34" fmla="*/ 2183 w 3418"/>
                <a:gd name="T35" fmla="*/ 867 h 3355"/>
                <a:gd name="T36" fmla="*/ 2363 w 3418"/>
                <a:gd name="T37" fmla="*/ 813 h 3355"/>
                <a:gd name="T38" fmla="*/ 2522 w 3418"/>
                <a:gd name="T39" fmla="*/ 740 h 3355"/>
                <a:gd name="T40" fmla="*/ 2654 w 3418"/>
                <a:gd name="T41" fmla="*/ 636 h 3355"/>
                <a:gd name="T42" fmla="*/ 2763 w 3418"/>
                <a:gd name="T43" fmla="*/ 521 h 3355"/>
                <a:gd name="T44" fmla="*/ 2851 w 3418"/>
                <a:gd name="T45" fmla="*/ 417 h 3355"/>
                <a:gd name="T46" fmla="*/ 2919 w 3418"/>
                <a:gd name="T47" fmla="*/ 325 h 3355"/>
                <a:gd name="T48" fmla="*/ 2973 w 3418"/>
                <a:gd name="T49" fmla="*/ 244 h 3355"/>
                <a:gd name="T50" fmla="*/ 3012 w 3418"/>
                <a:gd name="T51" fmla="*/ 176 h 3355"/>
                <a:gd name="T52" fmla="*/ 3050 w 3418"/>
                <a:gd name="T53" fmla="*/ 87 h 3355"/>
                <a:gd name="T54" fmla="*/ 3070 w 3418"/>
                <a:gd name="T55" fmla="*/ 9 h 3355"/>
                <a:gd name="T56" fmla="*/ 3095 w 3418"/>
                <a:gd name="T57" fmla="*/ 41 h 3355"/>
                <a:gd name="T58" fmla="*/ 3177 w 3418"/>
                <a:gd name="T59" fmla="*/ 199 h 3355"/>
                <a:gd name="T60" fmla="*/ 3239 w 3418"/>
                <a:gd name="T61" fmla="*/ 344 h 3355"/>
                <a:gd name="T62" fmla="*/ 3302 w 3418"/>
                <a:gd name="T63" fmla="*/ 520 h 3355"/>
                <a:gd name="T64" fmla="*/ 3358 w 3418"/>
                <a:gd name="T65" fmla="*/ 724 h 3355"/>
                <a:gd name="T66" fmla="*/ 3399 w 3418"/>
                <a:gd name="T67" fmla="*/ 951 h 3355"/>
                <a:gd name="T68" fmla="*/ 3418 w 3418"/>
                <a:gd name="T69" fmla="*/ 1200 h 3355"/>
                <a:gd name="T70" fmla="*/ 3407 w 3418"/>
                <a:gd name="T71" fmla="*/ 1464 h 3355"/>
                <a:gd name="T72" fmla="*/ 3358 w 3418"/>
                <a:gd name="T73" fmla="*/ 1739 h 3355"/>
                <a:gd name="T74" fmla="*/ 3264 w 3418"/>
                <a:gd name="T75" fmla="*/ 2020 h 3355"/>
                <a:gd name="T76" fmla="*/ 3151 w 3418"/>
                <a:gd name="T77" fmla="*/ 2274 h 3355"/>
                <a:gd name="T78" fmla="*/ 3024 w 3418"/>
                <a:gd name="T79" fmla="*/ 2496 h 3355"/>
                <a:gd name="T80" fmla="*/ 2886 w 3418"/>
                <a:gd name="T81" fmla="*/ 2685 h 3355"/>
                <a:gd name="T82" fmla="*/ 2735 w 3418"/>
                <a:gd name="T83" fmla="*/ 2848 h 3355"/>
                <a:gd name="T84" fmla="*/ 2573 w 3418"/>
                <a:gd name="T85" fmla="*/ 2981 h 3355"/>
                <a:gd name="T86" fmla="*/ 2401 w 3418"/>
                <a:gd name="T87" fmla="*/ 3092 h 3355"/>
                <a:gd name="T88" fmla="*/ 2218 w 3418"/>
                <a:gd name="T89" fmla="*/ 3179 h 3355"/>
                <a:gd name="T90" fmla="*/ 2026 w 3418"/>
                <a:gd name="T91" fmla="*/ 3246 h 3355"/>
                <a:gd name="T92" fmla="*/ 1824 w 3418"/>
                <a:gd name="T93" fmla="*/ 3295 h 3355"/>
                <a:gd name="T94" fmla="*/ 1614 w 3418"/>
                <a:gd name="T95" fmla="*/ 3328 h 3355"/>
                <a:gd name="T96" fmla="*/ 1404 w 3418"/>
                <a:gd name="T97" fmla="*/ 3348 h 3355"/>
                <a:gd name="T98" fmla="*/ 1221 w 3418"/>
                <a:gd name="T99" fmla="*/ 3355 h 3355"/>
                <a:gd name="T100" fmla="*/ 1065 w 3418"/>
                <a:gd name="T101" fmla="*/ 3351 h 3355"/>
                <a:gd name="T102" fmla="*/ 935 w 3418"/>
                <a:gd name="T103" fmla="*/ 3340 h 3355"/>
                <a:gd name="T104" fmla="*/ 827 w 3418"/>
                <a:gd name="T105" fmla="*/ 3323 h 3355"/>
                <a:gd name="T106" fmla="*/ 743 w 3418"/>
                <a:gd name="T107" fmla="*/ 3302 h 3355"/>
                <a:gd name="T108" fmla="*/ 676 w 3418"/>
                <a:gd name="T109" fmla="*/ 3280 h 3355"/>
                <a:gd name="T110" fmla="*/ 598 w 3418"/>
                <a:gd name="T111" fmla="*/ 3243 h 3355"/>
                <a:gd name="T112" fmla="*/ 574 w 3418"/>
                <a:gd name="T113" fmla="*/ 3225 h 3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418" h="3355">
                  <a:moveTo>
                    <a:pt x="574" y="3225"/>
                  </a:moveTo>
                  <a:lnTo>
                    <a:pt x="568" y="3220"/>
                  </a:lnTo>
                  <a:lnTo>
                    <a:pt x="555" y="3212"/>
                  </a:lnTo>
                  <a:lnTo>
                    <a:pt x="539" y="3202"/>
                  </a:lnTo>
                  <a:lnTo>
                    <a:pt x="518" y="3189"/>
                  </a:lnTo>
                  <a:lnTo>
                    <a:pt x="463" y="3159"/>
                  </a:lnTo>
                  <a:lnTo>
                    <a:pt x="398" y="3119"/>
                  </a:lnTo>
                  <a:lnTo>
                    <a:pt x="362" y="3096"/>
                  </a:lnTo>
                  <a:lnTo>
                    <a:pt x="326" y="3071"/>
                  </a:lnTo>
                  <a:lnTo>
                    <a:pt x="289" y="3043"/>
                  </a:lnTo>
                  <a:lnTo>
                    <a:pt x="252" y="3012"/>
                  </a:lnTo>
                  <a:lnTo>
                    <a:pt x="215" y="2979"/>
                  </a:lnTo>
                  <a:lnTo>
                    <a:pt x="180" y="2943"/>
                  </a:lnTo>
                  <a:lnTo>
                    <a:pt x="145" y="2905"/>
                  </a:lnTo>
                  <a:lnTo>
                    <a:pt x="114" y="2862"/>
                  </a:lnTo>
                  <a:lnTo>
                    <a:pt x="85" y="2819"/>
                  </a:lnTo>
                  <a:lnTo>
                    <a:pt x="60" y="2771"/>
                  </a:lnTo>
                  <a:lnTo>
                    <a:pt x="38" y="2721"/>
                  </a:lnTo>
                  <a:lnTo>
                    <a:pt x="20" y="2668"/>
                  </a:lnTo>
                  <a:lnTo>
                    <a:pt x="8" y="2611"/>
                  </a:lnTo>
                  <a:lnTo>
                    <a:pt x="2" y="2552"/>
                  </a:lnTo>
                  <a:lnTo>
                    <a:pt x="0" y="2489"/>
                  </a:lnTo>
                  <a:lnTo>
                    <a:pt x="6" y="2423"/>
                  </a:lnTo>
                  <a:lnTo>
                    <a:pt x="20" y="2353"/>
                  </a:lnTo>
                  <a:lnTo>
                    <a:pt x="42" y="2280"/>
                  </a:lnTo>
                  <a:lnTo>
                    <a:pt x="70" y="2204"/>
                  </a:lnTo>
                  <a:lnTo>
                    <a:pt x="109" y="2124"/>
                  </a:lnTo>
                  <a:lnTo>
                    <a:pt x="157" y="2039"/>
                  </a:lnTo>
                  <a:lnTo>
                    <a:pt x="214" y="1952"/>
                  </a:lnTo>
                  <a:lnTo>
                    <a:pt x="283" y="1861"/>
                  </a:lnTo>
                  <a:lnTo>
                    <a:pt x="362" y="1765"/>
                  </a:lnTo>
                  <a:lnTo>
                    <a:pt x="447" y="1673"/>
                  </a:lnTo>
                  <a:lnTo>
                    <a:pt x="533" y="1587"/>
                  </a:lnTo>
                  <a:lnTo>
                    <a:pt x="618" y="1508"/>
                  </a:lnTo>
                  <a:lnTo>
                    <a:pt x="704" y="1438"/>
                  </a:lnTo>
                  <a:lnTo>
                    <a:pt x="790" y="1372"/>
                  </a:lnTo>
                  <a:lnTo>
                    <a:pt x="874" y="1314"/>
                  </a:lnTo>
                  <a:lnTo>
                    <a:pt x="960" y="1261"/>
                  </a:lnTo>
                  <a:lnTo>
                    <a:pt x="1044" y="1213"/>
                  </a:lnTo>
                  <a:lnTo>
                    <a:pt x="1128" y="1170"/>
                  </a:lnTo>
                  <a:lnTo>
                    <a:pt x="1211" y="1132"/>
                  </a:lnTo>
                  <a:lnTo>
                    <a:pt x="1293" y="1097"/>
                  </a:lnTo>
                  <a:lnTo>
                    <a:pt x="1374" y="1068"/>
                  </a:lnTo>
                  <a:lnTo>
                    <a:pt x="1455" y="1040"/>
                  </a:lnTo>
                  <a:lnTo>
                    <a:pt x="1534" y="1016"/>
                  </a:lnTo>
                  <a:lnTo>
                    <a:pt x="1613" y="995"/>
                  </a:lnTo>
                  <a:lnTo>
                    <a:pt x="1689" y="975"/>
                  </a:lnTo>
                  <a:lnTo>
                    <a:pt x="1765" y="957"/>
                  </a:lnTo>
                  <a:lnTo>
                    <a:pt x="1839" y="941"/>
                  </a:lnTo>
                  <a:lnTo>
                    <a:pt x="1911" y="926"/>
                  </a:lnTo>
                  <a:lnTo>
                    <a:pt x="1982" y="911"/>
                  </a:lnTo>
                  <a:lnTo>
                    <a:pt x="2050" y="896"/>
                  </a:lnTo>
                  <a:lnTo>
                    <a:pt x="2118" y="882"/>
                  </a:lnTo>
                  <a:lnTo>
                    <a:pt x="2183" y="867"/>
                  </a:lnTo>
                  <a:lnTo>
                    <a:pt x="2244" y="850"/>
                  </a:lnTo>
                  <a:lnTo>
                    <a:pt x="2305" y="832"/>
                  </a:lnTo>
                  <a:lnTo>
                    <a:pt x="2363" y="813"/>
                  </a:lnTo>
                  <a:lnTo>
                    <a:pt x="2418" y="791"/>
                  </a:lnTo>
                  <a:lnTo>
                    <a:pt x="2471" y="767"/>
                  </a:lnTo>
                  <a:lnTo>
                    <a:pt x="2522" y="740"/>
                  </a:lnTo>
                  <a:lnTo>
                    <a:pt x="2569" y="709"/>
                  </a:lnTo>
                  <a:lnTo>
                    <a:pt x="2613" y="675"/>
                  </a:lnTo>
                  <a:lnTo>
                    <a:pt x="2654" y="636"/>
                  </a:lnTo>
                  <a:lnTo>
                    <a:pt x="2693" y="596"/>
                  </a:lnTo>
                  <a:lnTo>
                    <a:pt x="2728" y="558"/>
                  </a:lnTo>
                  <a:lnTo>
                    <a:pt x="2763" y="521"/>
                  </a:lnTo>
                  <a:lnTo>
                    <a:pt x="2793" y="485"/>
                  </a:lnTo>
                  <a:lnTo>
                    <a:pt x="2823" y="450"/>
                  </a:lnTo>
                  <a:lnTo>
                    <a:pt x="2851" y="417"/>
                  </a:lnTo>
                  <a:lnTo>
                    <a:pt x="2876" y="385"/>
                  </a:lnTo>
                  <a:lnTo>
                    <a:pt x="2899" y="354"/>
                  </a:lnTo>
                  <a:lnTo>
                    <a:pt x="2919" y="325"/>
                  </a:lnTo>
                  <a:lnTo>
                    <a:pt x="2939" y="297"/>
                  </a:lnTo>
                  <a:lnTo>
                    <a:pt x="2957" y="271"/>
                  </a:lnTo>
                  <a:lnTo>
                    <a:pt x="2973" y="244"/>
                  </a:lnTo>
                  <a:lnTo>
                    <a:pt x="2986" y="220"/>
                  </a:lnTo>
                  <a:lnTo>
                    <a:pt x="3000" y="198"/>
                  </a:lnTo>
                  <a:lnTo>
                    <a:pt x="3012" y="176"/>
                  </a:lnTo>
                  <a:lnTo>
                    <a:pt x="3022" y="155"/>
                  </a:lnTo>
                  <a:lnTo>
                    <a:pt x="3038" y="119"/>
                  </a:lnTo>
                  <a:lnTo>
                    <a:pt x="3050" y="87"/>
                  </a:lnTo>
                  <a:lnTo>
                    <a:pt x="3060" y="61"/>
                  </a:lnTo>
                  <a:lnTo>
                    <a:pt x="3065" y="39"/>
                  </a:lnTo>
                  <a:lnTo>
                    <a:pt x="3070" y="9"/>
                  </a:lnTo>
                  <a:lnTo>
                    <a:pt x="3070" y="0"/>
                  </a:lnTo>
                  <a:lnTo>
                    <a:pt x="3077" y="10"/>
                  </a:lnTo>
                  <a:lnTo>
                    <a:pt x="3095" y="41"/>
                  </a:lnTo>
                  <a:lnTo>
                    <a:pt x="3122" y="91"/>
                  </a:lnTo>
                  <a:lnTo>
                    <a:pt x="3158" y="159"/>
                  </a:lnTo>
                  <a:lnTo>
                    <a:pt x="3177" y="199"/>
                  </a:lnTo>
                  <a:lnTo>
                    <a:pt x="3197" y="243"/>
                  </a:lnTo>
                  <a:lnTo>
                    <a:pt x="3218" y="291"/>
                  </a:lnTo>
                  <a:lnTo>
                    <a:pt x="3239" y="344"/>
                  </a:lnTo>
                  <a:lnTo>
                    <a:pt x="3261" y="399"/>
                  </a:lnTo>
                  <a:lnTo>
                    <a:pt x="3281" y="457"/>
                  </a:lnTo>
                  <a:lnTo>
                    <a:pt x="3302" y="520"/>
                  </a:lnTo>
                  <a:lnTo>
                    <a:pt x="3322" y="585"/>
                  </a:lnTo>
                  <a:lnTo>
                    <a:pt x="3340" y="653"/>
                  </a:lnTo>
                  <a:lnTo>
                    <a:pt x="3358" y="724"/>
                  </a:lnTo>
                  <a:lnTo>
                    <a:pt x="3374" y="797"/>
                  </a:lnTo>
                  <a:lnTo>
                    <a:pt x="3387" y="874"/>
                  </a:lnTo>
                  <a:lnTo>
                    <a:pt x="3399" y="951"/>
                  </a:lnTo>
                  <a:lnTo>
                    <a:pt x="3408" y="1032"/>
                  </a:lnTo>
                  <a:lnTo>
                    <a:pt x="3415" y="1114"/>
                  </a:lnTo>
                  <a:lnTo>
                    <a:pt x="3418" y="1200"/>
                  </a:lnTo>
                  <a:lnTo>
                    <a:pt x="3418" y="1286"/>
                  </a:lnTo>
                  <a:lnTo>
                    <a:pt x="3414" y="1374"/>
                  </a:lnTo>
                  <a:lnTo>
                    <a:pt x="3407" y="1464"/>
                  </a:lnTo>
                  <a:lnTo>
                    <a:pt x="3394" y="1554"/>
                  </a:lnTo>
                  <a:lnTo>
                    <a:pt x="3378" y="1645"/>
                  </a:lnTo>
                  <a:lnTo>
                    <a:pt x="3358" y="1739"/>
                  </a:lnTo>
                  <a:lnTo>
                    <a:pt x="3331" y="1833"/>
                  </a:lnTo>
                  <a:lnTo>
                    <a:pt x="3299" y="1927"/>
                  </a:lnTo>
                  <a:lnTo>
                    <a:pt x="3264" y="2020"/>
                  </a:lnTo>
                  <a:lnTo>
                    <a:pt x="3229" y="2109"/>
                  </a:lnTo>
                  <a:lnTo>
                    <a:pt x="3190" y="2193"/>
                  </a:lnTo>
                  <a:lnTo>
                    <a:pt x="3151" y="2274"/>
                  </a:lnTo>
                  <a:lnTo>
                    <a:pt x="3110" y="2352"/>
                  </a:lnTo>
                  <a:lnTo>
                    <a:pt x="3068" y="2425"/>
                  </a:lnTo>
                  <a:lnTo>
                    <a:pt x="3024" y="2496"/>
                  </a:lnTo>
                  <a:lnTo>
                    <a:pt x="2980" y="2562"/>
                  </a:lnTo>
                  <a:lnTo>
                    <a:pt x="2933" y="2626"/>
                  </a:lnTo>
                  <a:lnTo>
                    <a:pt x="2886" y="2685"/>
                  </a:lnTo>
                  <a:lnTo>
                    <a:pt x="2837" y="2743"/>
                  </a:lnTo>
                  <a:lnTo>
                    <a:pt x="2787" y="2796"/>
                  </a:lnTo>
                  <a:lnTo>
                    <a:pt x="2735" y="2848"/>
                  </a:lnTo>
                  <a:lnTo>
                    <a:pt x="2683" y="2894"/>
                  </a:lnTo>
                  <a:lnTo>
                    <a:pt x="2629" y="2940"/>
                  </a:lnTo>
                  <a:lnTo>
                    <a:pt x="2573" y="2981"/>
                  </a:lnTo>
                  <a:lnTo>
                    <a:pt x="2517" y="3021"/>
                  </a:lnTo>
                  <a:lnTo>
                    <a:pt x="2460" y="3058"/>
                  </a:lnTo>
                  <a:lnTo>
                    <a:pt x="2401" y="3092"/>
                  </a:lnTo>
                  <a:lnTo>
                    <a:pt x="2341" y="3123"/>
                  </a:lnTo>
                  <a:lnTo>
                    <a:pt x="2281" y="3152"/>
                  </a:lnTo>
                  <a:lnTo>
                    <a:pt x="2218" y="3179"/>
                  </a:lnTo>
                  <a:lnTo>
                    <a:pt x="2155" y="3204"/>
                  </a:lnTo>
                  <a:lnTo>
                    <a:pt x="2091" y="3225"/>
                  </a:lnTo>
                  <a:lnTo>
                    <a:pt x="2026" y="3246"/>
                  </a:lnTo>
                  <a:lnTo>
                    <a:pt x="1960" y="3264"/>
                  </a:lnTo>
                  <a:lnTo>
                    <a:pt x="1893" y="3280"/>
                  </a:lnTo>
                  <a:lnTo>
                    <a:pt x="1824" y="3295"/>
                  </a:lnTo>
                  <a:lnTo>
                    <a:pt x="1756" y="3308"/>
                  </a:lnTo>
                  <a:lnTo>
                    <a:pt x="1685" y="3319"/>
                  </a:lnTo>
                  <a:lnTo>
                    <a:pt x="1614" y="3328"/>
                  </a:lnTo>
                  <a:lnTo>
                    <a:pt x="1542" y="3336"/>
                  </a:lnTo>
                  <a:lnTo>
                    <a:pt x="1471" y="3342"/>
                  </a:lnTo>
                  <a:lnTo>
                    <a:pt x="1404" y="3348"/>
                  </a:lnTo>
                  <a:lnTo>
                    <a:pt x="1340" y="3351"/>
                  </a:lnTo>
                  <a:lnTo>
                    <a:pt x="1278" y="3353"/>
                  </a:lnTo>
                  <a:lnTo>
                    <a:pt x="1221" y="3355"/>
                  </a:lnTo>
                  <a:lnTo>
                    <a:pt x="1166" y="3355"/>
                  </a:lnTo>
                  <a:lnTo>
                    <a:pt x="1114" y="3353"/>
                  </a:lnTo>
                  <a:lnTo>
                    <a:pt x="1065" y="3351"/>
                  </a:lnTo>
                  <a:lnTo>
                    <a:pt x="1019" y="3348"/>
                  </a:lnTo>
                  <a:lnTo>
                    <a:pt x="976" y="3344"/>
                  </a:lnTo>
                  <a:lnTo>
                    <a:pt x="935" y="3340"/>
                  </a:lnTo>
                  <a:lnTo>
                    <a:pt x="896" y="3335"/>
                  </a:lnTo>
                  <a:lnTo>
                    <a:pt x="860" y="3329"/>
                  </a:lnTo>
                  <a:lnTo>
                    <a:pt x="827" y="3323"/>
                  </a:lnTo>
                  <a:lnTo>
                    <a:pt x="796" y="3317"/>
                  </a:lnTo>
                  <a:lnTo>
                    <a:pt x="768" y="3310"/>
                  </a:lnTo>
                  <a:lnTo>
                    <a:pt x="743" y="3302"/>
                  </a:lnTo>
                  <a:lnTo>
                    <a:pt x="719" y="3295"/>
                  </a:lnTo>
                  <a:lnTo>
                    <a:pt x="697" y="3288"/>
                  </a:lnTo>
                  <a:lnTo>
                    <a:pt x="676" y="3280"/>
                  </a:lnTo>
                  <a:lnTo>
                    <a:pt x="643" y="3267"/>
                  </a:lnTo>
                  <a:lnTo>
                    <a:pt x="617" y="3254"/>
                  </a:lnTo>
                  <a:lnTo>
                    <a:pt x="598" y="3243"/>
                  </a:lnTo>
                  <a:lnTo>
                    <a:pt x="584" y="3233"/>
                  </a:lnTo>
                  <a:lnTo>
                    <a:pt x="576" y="3228"/>
                  </a:lnTo>
                  <a:lnTo>
                    <a:pt x="574" y="3225"/>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9" name="Freeform 11">
              <a:extLst>
                <a:ext uri="{FF2B5EF4-FFF2-40B4-BE49-F238E27FC236}">
                  <a16:creationId xmlns:a16="http://schemas.microsoft.com/office/drawing/2014/main" id="{0033AC2E-56DA-4FD4-BD26-F2A4C4647021}"/>
                </a:ext>
              </a:extLst>
            </p:cNvPr>
            <p:cNvSpPr>
              <a:spLocks/>
            </p:cNvSpPr>
            <p:nvPr/>
          </p:nvSpPr>
          <p:spPr bwMode="auto">
            <a:xfrm>
              <a:off x="1619250" y="2698750"/>
              <a:ext cx="1163638" cy="952500"/>
            </a:xfrm>
            <a:custGeom>
              <a:avLst/>
              <a:gdLst>
                <a:gd name="T0" fmla="*/ 3658 w 3661"/>
                <a:gd name="T1" fmla="*/ 2513 h 3001"/>
                <a:gd name="T2" fmla="*/ 3636 w 3661"/>
                <a:gd name="T3" fmla="*/ 2432 h 3001"/>
                <a:gd name="T4" fmla="*/ 3610 w 3661"/>
                <a:gd name="T5" fmla="*/ 2348 h 3001"/>
                <a:gd name="T6" fmla="*/ 3572 w 3661"/>
                <a:gd name="T7" fmla="*/ 2244 h 3001"/>
                <a:gd name="T8" fmla="*/ 3522 w 3661"/>
                <a:gd name="T9" fmla="*/ 2126 h 3001"/>
                <a:gd name="T10" fmla="*/ 3458 w 3661"/>
                <a:gd name="T11" fmla="*/ 1997 h 3001"/>
                <a:gd name="T12" fmla="*/ 3379 w 3661"/>
                <a:gd name="T13" fmla="*/ 1864 h 3001"/>
                <a:gd name="T14" fmla="*/ 3285 w 3661"/>
                <a:gd name="T15" fmla="*/ 1728 h 3001"/>
                <a:gd name="T16" fmla="*/ 3174 w 3661"/>
                <a:gd name="T17" fmla="*/ 1597 h 3001"/>
                <a:gd name="T18" fmla="*/ 3043 w 3661"/>
                <a:gd name="T19" fmla="*/ 1473 h 3001"/>
                <a:gd name="T20" fmla="*/ 2894 w 3661"/>
                <a:gd name="T21" fmla="*/ 1362 h 3001"/>
                <a:gd name="T22" fmla="*/ 2725 w 3661"/>
                <a:gd name="T23" fmla="*/ 1268 h 3001"/>
                <a:gd name="T24" fmla="*/ 2533 w 3661"/>
                <a:gd name="T25" fmla="*/ 1196 h 3001"/>
                <a:gd name="T26" fmla="*/ 2318 w 3661"/>
                <a:gd name="T27" fmla="*/ 1149 h 3001"/>
                <a:gd name="T28" fmla="*/ 2078 w 3661"/>
                <a:gd name="T29" fmla="*/ 1133 h 3001"/>
                <a:gd name="T30" fmla="*/ 1820 w 3661"/>
                <a:gd name="T31" fmla="*/ 1143 h 3001"/>
                <a:gd name="T32" fmla="*/ 1577 w 3661"/>
                <a:gd name="T33" fmla="*/ 1133 h 3001"/>
                <a:gd name="T34" fmla="*/ 1353 w 3661"/>
                <a:gd name="T35" fmla="*/ 1098 h 3001"/>
                <a:gd name="T36" fmla="*/ 1150 w 3661"/>
                <a:gd name="T37" fmla="*/ 1039 h 3001"/>
                <a:gd name="T38" fmla="*/ 965 w 3661"/>
                <a:gd name="T39" fmla="*/ 963 h 3001"/>
                <a:gd name="T40" fmla="*/ 800 w 3661"/>
                <a:gd name="T41" fmla="*/ 873 h 3001"/>
                <a:gd name="T42" fmla="*/ 651 w 3661"/>
                <a:gd name="T43" fmla="*/ 771 h 3001"/>
                <a:gd name="T44" fmla="*/ 521 w 3661"/>
                <a:gd name="T45" fmla="*/ 663 h 3001"/>
                <a:gd name="T46" fmla="*/ 407 w 3661"/>
                <a:gd name="T47" fmla="*/ 552 h 3001"/>
                <a:gd name="T48" fmla="*/ 310 w 3661"/>
                <a:gd name="T49" fmla="*/ 441 h 3001"/>
                <a:gd name="T50" fmla="*/ 228 w 3661"/>
                <a:gd name="T51" fmla="*/ 335 h 3001"/>
                <a:gd name="T52" fmla="*/ 161 w 3661"/>
                <a:gd name="T53" fmla="*/ 237 h 3001"/>
                <a:gd name="T54" fmla="*/ 109 w 3661"/>
                <a:gd name="T55" fmla="*/ 151 h 3001"/>
                <a:gd name="T56" fmla="*/ 70 w 3661"/>
                <a:gd name="T57" fmla="*/ 81 h 3001"/>
                <a:gd name="T58" fmla="*/ 37 w 3661"/>
                <a:gd name="T59" fmla="*/ 14 h 3001"/>
                <a:gd name="T60" fmla="*/ 28 w 3661"/>
                <a:gd name="T61" fmla="*/ 22 h 3001"/>
                <a:gd name="T62" fmla="*/ 16 w 3661"/>
                <a:gd name="T63" fmla="*/ 127 h 3001"/>
                <a:gd name="T64" fmla="*/ 7 w 3661"/>
                <a:gd name="T65" fmla="*/ 240 h 3001"/>
                <a:gd name="T66" fmla="*/ 1 w 3661"/>
                <a:gd name="T67" fmla="*/ 382 h 3001"/>
                <a:gd name="T68" fmla="*/ 0 w 3661"/>
                <a:gd name="T69" fmla="*/ 548 h 3001"/>
                <a:gd name="T70" fmla="*/ 7 w 3661"/>
                <a:gd name="T71" fmla="*/ 735 h 3001"/>
                <a:gd name="T72" fmla="*/ 25 w 3661"/>
                <a:gd name="T73" fmla="*/ 937 h 3001"/>
                <a:gd name="T74" fmla="*/ 57 w 3661"/>
                <a:gd name="T75" fmla="*/ 1150 h 3001"/>
                <a:gd name="T76" fmla="*/ 106 w 3661"/>
                <a:gd name="T77" fmla="*/ 1372 h 3001"/>
                <a:gd name="T78" fmla="*/ 174 w 3661"/>
                <a:gd name="T79" fmla="*/ 1595 h 3001"/>
                <a:gd name="T80" fmla="*/ 264 w 3661"/>
                <a:gd name="T81" fmla="*/ 1818 h 3001"/>
                <a:gd name="T82" fmla="*/ 378 w 3661"/>
                <a:gd name="T83" fmla="*/ 2035 h 3001"/>
                <a:gd name="T84" fmla="*/ 521 w 3661"/>
                <a:gd name="T85" fmla="*/ 2240 h 3001"/>
                <a:gd name="T86" fmla="*/ 693 w 3661"/>
                <a:gd name="T87" fmla="*/ 2432 h 3001"/>
                <a:gd name="T88" fmla="*/ 900 w 3661"/>
                <a:gd name="T89" fmla="*/ 2605 h 3001"/>
                <a:gd name="T90" fmla="*/ 1138 w 3661"/>
                <a:gd name="T91" fmla="*/ 2753 h 3001"/>
                <a:gd name="T92" fmla="*/ 1380 w 3661"/>
                <a:gd name="T93" fmla="*/ 2864 h 3001"/>
                <a:gd name="T94" fmla="*/ 1621 w 3661"/>
                <a:gd name="T95" fmla="*/ 2939 h 3001"/>
                <a:gd name="T96" fmla="*/ 1857 w 3661"/>
                <a:gd name="T97" fmla="*/ 2984 h 3001"/>
                <a:gd name="T98" fmla="*/ 2089 w 3661"/>
                <a:gd name="T99" fmla="*/ 3001 h 3001"/>
                <a:gd name="T100" fmla="*/ 2313 w 3661"/>
                <a:gd name="T101" fmla="*/ 2995 h 3001"/>
                <a:gd name="T102" fmla="*/ 2526 w 3661"/>
                <a:gd name="T103" fmla="*/ 2970 h 3001"/>
                <a:gd name="T104" fmla="*/ 2727 w 3661"/>
                <a:gd name="T105" fmla="*/ 2930 h 3001"/>
                <a:gd name="T106" fmla="*/ 2914 w 3661"/>
                <a:gd name="T107" fmla="*/ 2879 h 3001"/>
                <a:gd name="T108" fmla="*/ 3086 w 3661"/>
                <a:gd name="T109" fmla="*/ 2819 h 3001"/>
                <a:gd name="T110" fmla="*/ 3239 w 3661"/>
                <a:gd name="T111" fmla="*/ 2758 h 3001"/>
                <a:gd name="T112" fmla="*/ 3371 w 3661"/>
                <a:gd name="T113" fmla="*/ 2696 h 3001"/>
                <a:gd name="T114" fmla="*/ 3482 w 3661"/>
                <a:gd name="T115" fmla="*/ 2638 h 3001"/>
                <a:gd name="T116" fmla="*/ 3568 w 3661"/>
                <a:gd name="T117" fmla="*/ 2589 h 3001"/>
                <a:gd name="T118" fmla="*/ 3646 w 3661"/>
                <a:gd name="T119" fmla="*/ 2541 h 30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661" h="3001">
                  <a:moveTo>
                    <a:pt x="3661" y="2529"/>
                  </a:moveTo>
                  <a:lnTo>
                    <a:pt x="3658" y="2513"/>
                  </a:lnTo>
                  <a:lnTo>
                    <a:pt x="3646" y="2465"/>
                  </a:lnTo>
                  <a:lnTo>
                    <a:pt x="3636" y="2432"/>
                  </a:lnTo>
                  <a:lnTo>
                    <a:pt x="3625" y="2392"/>
                  </a:lnTo>
                  <a:lnTo>
                    <a:pt x="3610" y="2348"/>
                  </a:lnTo>
                  <a:lnTo>
                    <a:pt x="3593" y="2298"/>
                  </a:lnTo>
                  <a:lnTo>
                    <a:pt x="3572" y="2244"/>
                  </a:lnTo>
                  <a:lnTo>
                    <a:pt x="3548" y="2187"/>
                  </a:lnTo>
                  <a:lnTo>
                    <a:pt x="3522" y="2126"/>
                  </a:lnTo>
                  <a:lnTo>
                    <a:pt x="3492" y="2062"/>
                  </a:lnTo>
                  <a:lnTo>
                    <a:pt x="3458" y="1997"/>
                  </a:lnTo>
                  <a:lnTo>
                    <a:pt x="3420" y="1931"/>
                  </a:lnTo>
                  <a:lnTo>
                    <a:pt x="3379" y="1864"/>
                  </a:lnTo>
                  <a:lnTo>
                    <a:pt x="3335" y="1795"/>
                  </a:lnTo>
                  <a:lnTo>
                    <a:pt x="3285" y="1728"/>
                  </a:lnTo>
                  <a:lnTo>
                    <a:pt x="3232" y="1662"/>
                  </a:lnTo>
                  <a:lnTo>
                    <a:pt x="3174" y="1597"/>
                  </a:lnTo>
                  <a:lnTo>
                    <a:pt x="3111" y="1534"/>
                  </a:lnTo>
                  <a:lnTo>
                    <a:pt x="3043" y="1473"/>
                  </a:lnTo>
                  <a:lnTo>
                    <a:pt x="2971" y="1416"/>
                  </a:lnTo>
                  <a:lnTo>
                    <a:pt x="2894" y="1362"/>
                  </a:lnTo>
                  <a:lnTo>
                    <a:pt x="2812" y="1312"/>
                  </a:lnTo>
                  <a:lnTo>
                    <a:pt x="2725" y="1268"/>
                  </a:lnTo>
                  <a:lnTo>
                    <a:pt x="2631" y="1229"/>
                  </a:lnTo>
                  <a:lnTo>
                    <a:pt x="2533" y="1196"/>
                  </a:lnTo>
                  <a:lnTo>
                    <a:pt x="2428" y="1168"/>
                  </a:lnTo>
                  <a:lnTo>
                    <a:pt x="2318" y="1149"/>
                  </a:lnTo>
                  <a:lnTo>
                    <a:pt x="2202" y="1136"/>
                  </a:lnTo>
                  <a:lnTo>
                    <a:pt x="2078" y="1133"/>
                  </a:lnTo>
                  <a:lnTo>
                    <a:pt x="1949" y="1138"/>
                  </a:lnTo>
                  <a:lnTo>
                    <a:pt x="1820" y="1143"/>
                  </a:lnTo>
                  <a:lnTo>
                    <a:pt x="1696" y="1142"/>
                  </a:lnTo>
                  <a:lnTo>
                    <a:pt x="1577" y="1133"/>
                  </a:lnTo>
                  <a:lnTo>
                    <a:pt x="1463" y="1118"/>
                  </a:lnTo>
                  <a:lnTo>
                    <a:pt x="1353" y="1098"/>
                  </a:lnTo>
                  <a:lnTo>
                    <a:pt x="1249" y="1071"/>
                  </a:lnTo>
                  <a:lnTo>
                    <a:pt x="1150" y="1039"/>
                  </a:lnTo>
                  <a:lnTo>
                    <a:pt x="1055" y="1003"/>
                  </a:lnTo>
                  <a:lnTo>
                    <a:pt x="965" y="963"/>
                  </a:lnTo>
                  <a:lnTo>
                    <a:pt x="881" y="919"/>
                  </a:lnTo>
                  <a:lnTo>
                    <a:pt x="800" y="873"/>
                  </a:lnTo>
                  <a:lnTo>
                    <a:pt x="723" y="822"/>
                  </a:lnTo>
                  <a:lnTo>
                    <a:pt x="651" y="771"/>
                  </a:lnTo>
                  <a:lnTo>
                    <a:pt x="584" y="717"/>
                  </a:lnTo>
                  <a:lnTo>
                    <a:pt x="521" y="663"/>
                  </a:lnTo>
                  <a:lnTo>
                    <a:pt x="462" y="608"/>
                  </a:lnTo>
                  <a:lnTo>
                    <a:pt x="407" y="552"/>
                  </a:lnTo>
                  <a:lnTo>
                    <a:pt x="357" y="496"/>
                  </a:lnTo>
                  <a:lnTo>
                    <a:pt x="310" y="441"/>
                  </a:lnTo>
                  <a:lnTo>
                    <a:pt x="266" y="387"/>
                  </a:lnTo>
                  <a:lnTo>
                    <a:pt x="228" y="335"/>
                  </a:lnTo>
                  <a:lnTo>
                    <a:pt x="192" y="285"/>
                  </a:lnTo>
                  <a:lnTo>
                    <a:pt x="161" y="237"/>
                  </a:lnTo>
                  <a:lnTo>
                    <a:pt x="133" y="192"/>
                  </a:lnTo>
                  <a:lnTo>
                    <a:pt x="109" y="151"/>
                  </a:lnTo>
                  <a:lnTo>
                    <a:pt x="87" y="115"/>
                  </a:lnTo>
                  <a:lnTo>
                    <a:pt x="70" y="81"/>
                  </a:lnTo>
                  <a:lnTo>
                    <a:pt x="56" y="54"/>
                  </a:lnTo>
                  <a:lnTo>
                    <a:pt x="37" y="14"/>
                  </a:lnTo>
                  <a:lnTo>
                    <a:pt x="31" y="0"/>
                  </a:lnTo>
                  <a:lnTo>
                    <a:pt x="28" y="22"/>
                  </a:lnTo>
                  <a:lnTo>
                    <a:pt x="21" y="83"/>
                  </a:lnTo>
                  <a:lnTo>
                    <a:pt x="16" y="127"/>
                  </a:lnTo>
                  <a:lnTo>
                    <a:pt x="12" y="180"/>
                  </a:lnTo>
                  <a:lnTo>
                    <a:pt x="7" y="240"/>
                  </a:lnTo>
                  <a:lnTo>
                    <a:pt x="4" y="308"/>
                  </a:lnTo>
                  <a:lnTo>
                    <a:pt x="1" y="382"/>
                  </a:lnTo>
                  <a:lnTo>
                    <a:pt x="0" y="462"/>
                  </a:lnTo>
                  <a:lnTo>
                    <a:pt x="0" y="548"/>
                  </a:lnTo>
                  <a:lnTo>
                    <a:pt x="3" y="639"/>
                  </a:lnTo>
                  <a:lnTo>
                    <a:pt x="7" y="735"/>
                  </a:lnTo>
                  <a:lnTo>
                    <a:pt x="15" y="834"/>
                  </a:lnTo>
                  <a:lnTo>
                    <a:pt x="25" y="937"/>
                  </a:lnTo>
                  <a:lnTo>
                    <a:pt x="40" y="1043"/>
                  </a:lnTo>
                  <a:lnTo>
                    <a:pt x="57" y="1150"/>
                  </a:lnTo>
                  <a:lnTo>
                    <a:pt x="79" y="1261"/>
                  </a:lnTo>
                  <a:lnTo>
                    <a:pt x="106" y="1372"/>
                  </a:lnTo>
                  <a:lnTo>
                    <a:pt x="137" y="1484"/>
                  </a:lnTo>
                  <a:lnTo>
                    <a:pt x="174" y="1595"/>
                  </a:lnTo>
                  <a:lnTo>
                    <a:pt x="216" y="1707"/>
                  </a:lnTo>
                  <a:lnTo>
                    <a:pt x="264" y="1818"/>
                  </a:lnTo>
                  <a:lnTo>
                    <a:pt x="318" y="1928"/>
                  </a:lnTo>
                  <a:lnTo>
                    <a:pt x="378" y="2035"/>
                  </a:lnTo>
                  <a:lnTo>
                    <a:pt x="446" y="2139"/>
                  </a:lnTo>
                  <a:lnTo>
                    <a:pt x="521" y="2240"/>
                  </a:lnTo>
                  <a:lnTo>
                    <a:pt x="603" y="2339"/>
                  </a:lnTo>
                  <a:lnTo>
                    <a:pt x="693" y="2432"/>
                  </a:lnTo>
                  <a:lnTo>
                    <a:pt x="793" y="2521"/>
                  </a:lnTo>
                  <a:lnTo>
                    <a:pt x="900" y="2605"/>
                  </a:lnTo>
                  <a:lnTo>
                    <a:pt x="1017" y="2683"/>
                  </a:lnTo>
                  <a:lnTo>
                    <a:pt x="1138" y="2753"/>
                  </a:lnTo>
                  <a:lnTo>
                    <a:pt x="1259" y="2812"/>
                  </a:lnTo>
                  <a:lnTo>
                    <a:pt x="1380" y="2864"/>
                  </a:lnTo>
                  <a:lnTo>
                    <a:pt x="1501" y="2906"/>
                  </a:lnTo>
                  <a:lnTo>
                    <a:pt x="1621" y="2939"/>
                  </a:lnTo>
                  <a:lnTo>
                    <a:pt x="1739" y="2965"/>
                  </a:lnTo>
                  <a:lnTo>
                    <a:pt x="1857" y="2984"/>
                  </a:lnTo>
                  <a:lnTo>
                    <a:pt x="1973" y="2996"/>
                  </a:lnTo>
                  <a:lnTo>
                    <a:pt x="2089" y="3001"/>
                  </a:lnTo>
                  <a:lnTo>
                    <a:pt x="2202" y="3001"/>
                  </a:lnTo>
                  <a:lnTo>
                    <a:pt x="2313" y="2995"/>
                  </a:lnTo>
                  <a:lnTo>
                    <a:pt x="2420" y="2985"/>
                  </a:lnTo>
                  <a:lnTo>
                    <a:pt x="2526" y="2970"/>
                  </a:lnTo>
                  <a:lnTo>
                    <a:pt x="2628" y="2952"/>
                  </a:lnTo>
                  <a:lnTo>
                    <a:pt x="2727" y="2930"/>
                  </a:lnTo>
                  <a:lnTo>
                    <a:pt x="2823" y="2906"/>
                  </a:lnTo>
                  <a:lnTo>
                    <a:pt x="2914" y="2879"/>
                  </a:lnTo>
                  <a:lnTo>
                    <a:pt x="3002" y="2850"/>
                  </a:lnTo>
                  <a:lnTo>
                    <a:pt x="3086" y="2819"/>
                  </a:lnTo>
                  <a:lnTo>
                    <a:pt x="3164" y="2789"/>
                  </a:lnTo>
                  <a:lnTo>
                    <a:pt x="3239" y="2758"/>
                  </a:lnTo>
                  <a:lnTo>
                    <a:pt x="3308" y="2726"/>
                  </a:lnTo>
                  <a:lnTo>
                    <a:pt x="3371" y="2696"/>
                  </a:lnTo>
                  <a:lnTo>
                    <a:pt x="3429" y="2666"/>
                  </a:lnTo>
                  <a:lnTo>
                    <a:pt x="3482" y="2638"/>
                  </a:lnTo>
                  <a:lnTo>
                    <a:pt x="3528" y="2613"/>
                  </a:lnTo>
                  <a:lnTo>
                    <a:pt x="3568" y="2589"/>
                  </a:lnTo>
                  <a:lnTo>
                    <a:pt x="3601" y="2569"/>
                  </a:lnTo>
                  <a:lnTo>
                    <a:pt x="3646" y="2541"/>
                  </a:lnTo>
                  <a:lnTo>
                    <a:pt x="3661" y="2529"/>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0" name="Freeform 12">
              <a:extLst>
                <a:ext uri="{FF2B5EF4-FFF2-40B4-BE49-F238E27FC236}">
                  <a16:creationId xmlns:a16="http://schemas.microsoft.com/office/drawing/2014/main" id="{6B049D2A-799B-47D0-A801-0A5F19811B68}"/>
                </a:ext>
              </a:extLst>
            </p:cNvPr>
            <p:cNvSpPr>
              <a:spLocks/>
            </p:cNvSpPr>
            <p:nvPr/>
          </p:nvSpPr>
          <p:spPr bwMode="auto">
            <a:xfrm>
              <a:off x="2298700" y="1878013"/>
              <a:ext cx="1857375" cy="3262313"/>
            </a:xfrm>
            <a:custGeom>
              <a:avLst/>
              <a:gdLst>
                <a:gd name="T0" fmla="*/ 2836 w 5850"/>
                <a:gd name="T1" fmla="*/ 9637 h 10272"/>
                <a:gd name="T2" fmla="*/ 2951 w 5850"/>
                <a:gd name="T3" fmla="*/ 9153 h 10272"/>
                <a:gd name="T4" fmla="*/ 3023 w 5850"/>
                <a:gd name="T5" fmla="*/ 8517 h 10272"/>
                <a:gd name="T6" fmla="*/ 3003 w 5850"/>
                <a:gd name="T7" fmla="*/ 7746 h 10272"/>
                <a:gd name="T8" fmla="*/ 3139 w 5850"/>
                <a:gd name="T9" fmla="*/ 7276 h 10272"/>
                <a:gd name="T10" fmla="*/ 3674 w 5850"/>
                <a:gd name="T11" fmla="*/ 6933 h 10272"/>
                <a:gd name="T12" fmla="*/ 4468 w 5850"/>
                <a:gd name="T13" fmla="*/ 6359 h 10272"/>
                <a:gd name="T14" fmla="*/ 5082 w 5850"/>
                <a:gd name="T15" fmla="*/ 5789 h 10272"/>
                <a:gd name="T16" fmla="*/ 5500 w 5850"/>
                <a:gd name="T17" fmla="*/ 5279 h 10272"/>
                <a:gd name="T18" fmla="*/ 5746 w 5850"/>
                <a:gd name="T19" fmla="*/ 4894 h 10272"/>
                <a:gd name="T20" fmla="*/ 5845 w 5850"/>
                <a:gd name="T21" fmla="*/ 4701 h 10272"/>
                <a:gd name="T22" fmla="*/ 5694 w 5850"/>
                <a:gd name="T23" fmla="*/ 4963 h 10272"/>
                <a:gd name="T24" fmla="*/ 5435 w 5850"/>
                <a:gd name="T25" fmla="*/ 5296 h 10272"/>
                <a:gd name="T26" fmla="*/ 5061 w 5850"/>
                <a:gd name="T27" fmla="*/ 5709 h 10272"/>
                <a:gd name="T28" fmla="*/ 4560 w 5850"/>
                <a:gd name="T29" fmla="*/ 6140 h 10272"/>
                <a:gd name="T30" fmla="*/ 3984 w 5850"/>
                <a:gd name="T31" fmla="*/ 6550 h 10272"/>
                <a:gd name="T32" fmla="*/ 3300 w 5850"/>
                <a:gd name="T33" fmla="*/ 6973 h 10272"/>
                <a:gd name="T34" fmla="*/ 2853 w 5850"/>
                <a:gd name="T35" fmla="*/ 6905 h 10272"/>
                <a:gd name="T36" fmla="*/ 2568 w 5850"/>
                <a:gd name="T37" fmla="*/ 6026 h 10272"/>
                <a:gd name="T38" fmla="*/ 2095 w 5850"/>
                <a:gd name="T39" fmla="*/ 4864 h 10272"/>
                <a:gd name="T40" fmla="*/ 1586 w 5850"/>
                <a:gd name="T41" fmla="*/ 3741 h 10272"/>
                <a:gd name="T42" fmla="*/ 1329 w 5850"/>
                <a:gd name="T43" fmla="*/ 3037 h 10272"/>
                <a:gd name="T44" fmla="*/ 1248 w 5850"/>
                <a:gd name="T45" fmla="*/ 2377 h 10272"/>
                <a:gd name="T46" fmla="*/ 1323 w 5850"/>
                <a:gd name="T47" fmla="*/ 1677 h 10272"/>
                <a:gd name="T48" fmla="*/ 1469 w 5850"/>
                <a:gd name="T49" fmla="*/ 987 h 10272"/>
                <a:gd name="T50" fmla="*/ 1713 w 5850"/>
                <a:gd name="T51" fmla="*/ 132 h 10272"/>
                <a:gd name="T52" fmla="*/ 1679 w 5850"/>
                <a:gd name="T53" fmla="*/ 141 h 10272"/>
                <a:gd name="T54" fmla="*/ 1465 w 5850"/>
                <a:gd name="T55" fmla="*/ 619 h 10272"/>
                <a:gd name="T56" fmla="*/ 1240 w 5850"/>
                <a:gd name="T57" fmla="*/ 1356 h 10272"/>
                <a:gd name="T58" fmla="*/ 1131 w 5850"/>
                <a:gd name="T59" fmla="*/ 2270 h 10272"/>
                <a:gd name="T60" fmla="*/ 1228 w 5850"/>
                <a:gd name="T61" fmla="*/ 3136 h 10272"/>
                <a:gd name="T62" fmla="*/ 1370 w 5850"/>
                <a:gd name="T63" fmla="*/ 3635 h 10272"/>
                <a:gd name="T64" fmla="*/ 1549 w 5850"/>
                <a:gd name="T65" fmla="*/ 4107 h 10272"/>
                <a:gd name="T66" fmla="*/ 1963 w 5850"/>
                <a:gd name="T67" fmla="*/ 5009 h 10272"/>
                <a:gd name="T68" fmla="*/ 1734 w 5850"/>
                <a:gd name="T69" fmla="*/ 5129 h 10272"/>
                <a:gd name="T70" fmla="*/ 1217 w 5850"/>
                <a:gd name="T71" fmla="*/ 5072 h 10272"/>
                <a:gd name="T72" fmla="*/ 878 w 5850"/>
                <a:gd name="T73" fmla="*/ 4993 h 10272"/>
                <a:gd name="T74" fmla="*/ 516 w 5850"/>
                <a:gd name="T75" fmla="*/ 4864 h 10272"/>
                <a:gd name="T76" fmla="*/ 79 w 5850"/>
                <a:gd name="T77" fmla="*/ 4651 h 10272"/>
                <a:gd name="T78" fmla="*/ 66 w 5850"/>
                <a:gd name="T79" fmla="*/ 4657 h 10272"/>
                <a:gd name="T80" fmla="*/ 414 w 5850"/>
                <a:gd name="T81" fmla="*/ 4892 h 10272"/>
                <a:gd name="T82" fmla="*/ 777 w 5850"/>
                <a:gd name="T83" fmla="*/ 5081 h 10272"/>
                <a:gd name="T84" fmla="*/ 1187 w 5850"/>
                <a:gd name="T85" fmla="*/ 5221 h 10272"/>
                <a:gd name="T86" fmla="*/ 1652 w 5850"/>
                <a:gd name="T87" fmla="*/ 5273 h 10272"/>
                <a:gd name="T88" fmla="*/ 1974 w 5850"/>
                <a:gd name="T89" fmla="*/ 5270 h 10272"/>
                <a:gd name="T90" fmla="*/ 2298 w 5850"/>
                <a:gd name="T91" fmla="*/ 5776 h 10272"/>
                <a:gd name="T92" fmla="*/ 2443 w 5850"/>
                <a:gd name="T93" fmla="*/ 6192 h 10272"/>
                <a:gd name="T94" fmla="*/ 2552 w 5850"/>
                <a:gd name="T95" fmla="*/ 6627 h 10272"/>
                <a:gd name="T96" fmla="*/ 2615 w 5850"/>
                <a:gd name="T97" fmla="*/ 7087 h 10272"/>
                <a:gd name="T98" fmla="*/ 2609 w 5850"/>
                <a:gd name="T99" fmla="*/ 7802 h 10272"/>
                <a:gd name="T100" fmla="*/ 2488 w 5850"/>
                <a:gd name="T101" fmla="*/ 8589 h 10272"/>
                <a:gd name="T102" fmla="*/ 2295 w 5850"/>
                <a:gd name="T103" fmla="*/ 9304 h 10272"/>
                <a:gd name="T104" fmla="*/ 2081 w 5850"/>
                <a:gd name="T105" fmla="*/ 9897 h 10272"/>
                <a:gd name="T106" fmla="*/ 2475 w 5850"/>
                <a:gd name="T107" fmla="*/ 10234 h 10272"/>
                <a:gd name="T108" fmla="*/ 2595 w 5850"/>
                <a:gd name="T109" fmla="*/ 10081 h 10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850" h="10272">
                  <a:moveTo>
                    <a:pt x="2713" y="9983"/>
                  </a:moveTo>
                  <a:lnTo>
                    <a:pt x="2739" y="9918"/>
                  </a:lnTo>
                  <a:lnTo>
                    <a:pt x="2769" y="9839"/>
                  </a:lnTo>
                  <a:lnTo>
                    <a:pt x="2786" y="9793"/>
                  </a:lnTo>
                  <a:lnTo>
                    <a:pt x="2802" y="9745"/>
                  </a:lnTo>
                  <a:lnTo>
                    <a:pt x="2819" y="9693"/>
                  </a:lnTo>
                  <a:lnTo>
                    <a:pt x="2836" y="9637"/>
                  </a:lnTo>
                  <a:lnTo>
                    <a:pt x="2853" y="9578"/>
                  </a:lnTo>
                  <a:lnTo>
                    <a:pt x="2872" y="9515"/>
                  </a:lnTo>
                  <a:lnTo>
                    <a:pt x="2889" y="9449"/>
                  </a:lnTo>
                  <a:lnTo>
                    <a:pt x="2905" y="9380"/>
                  </a:lnTo>
                  <a:lnTo>
                    <a:pt x="2922" y="9307"/>
                  </a:lnTo>
                  <a:lnTo>
                    <a:pt x="2937" y="9232"/>
                  </a:lnTo>
                  <a:lnTo>
                    <a:pt x="2951" y="9153"/>
                  </a:lnTo>
                  <a:lnTo>
                    <a:pt x="2966" y="9071"/>
                  </a:lnTo>
                  <a:lnTo>
                    <a:pt x="2979" y="8986"/>
                  </a:lnTo>
                  <a:lnTo>
                    <a:pt x="2990" y="8898"/>
                  </a:lnTo>
                  <a:lnTo>
                    <a:pt x="3002" y="8807"/>
                  </a:lnTo>
                  <a:lnTo>
                    <a:pt x="3011" y="8713"/>
                  </a:lnTo>
                  <a:lnTo>
                    <a:pt x="3018" y="8616"/>
                  </a:lnTo>
                  <a:lnTo>
                    <a:pt x="3023" y="8517"/>
                  </a:lnTo>
                  <a:lnTo>
                    <a:pt x="3027" y="8415"/>
                  </a:lnTo>
                  <a:lnTo>
                    <a:pt x="3029" y="8310"/>
                  </a:lnTo>
                  <a:lnTo>
                    <a:pt x="3029" y="8202"/>
                  </a:lnTo>
                  <a:lnTo>
                    <a:pt x="3026" y="8092"/>
                  </a:lnTo>
                  <a:lnTo>
                    <a:pt x="3021" y="7979"/>
                  </a:lnTo>
                  <a:lnTo>
                    <a:pt x="3013" y="7864"/>
                  </a:lnTo>
                  <a:lnTo>
                    <a:pt x="3003" y="7746"/>
                  </a:lnTo>
                  <a:lnTo>
                    <a:pt x="2989" y="7626"/>
                  </a:lnTo>
                  <a:lnTo>
                    <a:pt x="2973" y="7504"/>
                  </a:lnTo>
                  <a:lnTo>
                    <a:pt x="2954" y="7379"/>
                  </a:lnTo>
                  <a:lnTo>
                    <a:pt x="2993" y="7358"/>
                  </a:lnTo>
                  <a:lnTo>
                    <a:pt x="3037" y="7334"/>
                  </a:lnTo>
                  <a:lnTo>
                    <a:pt x="3085" y="7307"/>
                  </a:lnTo>
                  <a:lnTo>
                    <a:pt x="3139" y="7276"/>
                  </a:lnTo>
                  <a:lnTo>
                    <a:pt x="3198" y="7240"/>
                  </a:lnTo>
                  <a:lnTo>
                    <a:pt x="3262" y="7202"/>
                  </a:lnTo>
                  <a:lnTo>
                    <a:pt x="3333" y="7157"/>
                  </a:lnTo>
                  <a:lnTo>
                    <a:pt x="3409" y="7109"/>
                  </a:lnTo>
                  <a:lnTo>
                    <a:pt x="3490" y="7055"/>
                  </a:lnTo>
                  <a:lnTo>
                    <a:pt x="3580" y="6997"/>
                  </a:lnTo>
                  <a:lnTo>
                    <a:pt x="3674" y="6933"/>
                  </a:lnTo>
                  <a:lnTo>
                    <a:pt x="3776" y="6864"/>
                  </a:lnTo>
                  <a:lnTo>
                    <a:pt x="3884" y="6787"/>
                  </a:lnTo>
                  <a:lnTo>
                    <a:pt x="4000" y="6706"/>
                  </a:lnTo>
                  <a:lnTo>
                    <a:pt x="4123" y="6618"/>
                  </a:lnTo>
                  <a:lnTo>
                    <a:pt x="4253" y="6523"/>
                  </a:lnTo>
                  <a:lnTo>
                    <a:pt x="4363" y="6441"/>
                  </a:lnTo>
                  <a:lnTo>
                    <a:pt x="4468" y="6359"/>
                  </a:lnTo>
                  <a:lnTo>
                    <a:pt x="4570" y="6276"/>
                  </a:lnTo>
                  <a:lnTo>
                    <a:pt x="4665" y="6193"/>
                  </a:lnTo>
                  <a:lnTo>
                    <a:pt x="4758" y="6111"/>
                  </a:lnTo>
                  <a:lnTo>
                    <a:pt x="4845" y="6029"/>
                  </a:lnTo>
                  <a:lnTo>
                    <a:pt x="4928" y="5948"/>
                  </a:lnTo>
                  <a:lnTo>
                    <a:pt x="5008" y="5868"/>
                  </a:lnTo>
                  <a:lnTo>
                    <a:pt x="5082" y="5789"/>
                  </a:lnTo>
                  <a:lnTo>
                    <a:pt x="5154" y="5710"/>
                  </a:lnTo>
                  <a:lnTo>
                    <a:pt x="5222" y="5634"/>
                  </a:lnTo>
                  <a:lnTo>
                    <a:pt x="5284" y="5559"/>
                  </a:lnTo>
                  <a:lnTo>
                    <a:pt x="5344" y="5486"/>
                  </a:lnTo>
                  <a:lnTo>
                    <a:pt x="5400" y="5415"/>
                  </a:lnTo>
                  <a:lnTo>
                    <a:pt x="5452" y="5345"/>
                  </a:lnTo>
                  <a:lnTo>
                    <a:pt x="5500" y="5279"/>
                  </a:lnTo>
                  <a:lnTo>
                    <a:pt x="5545" y="5215"/>
                  </a:lnTo>
                  <a:lnTo>
                    <a:pt x="5587" y="5153"/>
                  </a:lnTo>
                  <a:lnTo>
                    <a:pt x="5625" y="5095"/>
                  </a:lnTo>
                  <a:lnTo>
                    <a:pt x="5660" y="5039"/>
                  </a:lnTo>
                  <a:lnTo>
                    <a:pt x="5692" y="4988"/>
                  </a:lnTo>
                  <a:lnTo>
                    <a:pt x="5721" y="4939"/>
                  </a:lnTo>
                  <a:lnTo>
                    <a:pt x="5746" y="4894"/>
                  </a:lnTo>
                  <a:lnTo>
                    <a:pt x="5768" y="4853"/>
                  </a:lnTo>
                  <a:lnTo>
                    <a:pt x="5805" y="4785"/>
                  </a:lnTo>
                  <a:lnTo>
                    <a:pt x="5830" y="4733"/>
                  </a:lnTo>
                  <a:lnTo>
                    <a:pt x="5845" y="4701"/>
                  </a:lnTo>
                  <a:lnTo>
                    <a:pt x="5850" y="4690"/>
                  </a:lnTo>
                  <a:lnTo>
                    <a:pt x="5848" y="4693"/>
                  </a:lnTo>
                  <a:lnTo>
                    <a:pt x="5845" y="4701"/>
                  </a:lnTo>
                  <a:lnTo>
                    <a:pt x="5839" y="4717"/>
                  </a:lnTo>
                  <a:lnTo>
                    <a:pt x="5830" y="4739"/>
                  </a:lnTo>
                  <a:lnTo>
                    <a:pt x="5815" y="4769"/>
                  </a:lnTo>
                  <a:lnTo>
                    <a:pt x="5795" y="4805"/>
                  </a:lnTo>
                  <a:lnTo>
                    <a:pt x="5768" y="4850"/>
                  </a:lnTo>
                  <a:lnTo>
                    <a:pt x="5735" y="4902"/>
                  </a:lnTo>
                  <a:lnTo>
                    <a:pt x="5694" y="4963"/>
                  </a:lnTo>
                  <a:lnTo>
                    <a:pt x="5645" y="5032"/>
                  </a:lnTo>
                  <a:lnTo>
                    <a:pt x="5617" y="5070"/>
                  </a:lnTo>
                  <a:lnTo>
                    <a:pt x="5586" y="5111"/>
                  </a:lnTo>
                  <a:lnTo>
                    <a:pt x="5553" y="5153"/>
                  </a:lnTo>
                  <a:lnTo>
                    <a:pt x="5516" y="5198"/>
                  </a:lnTo>
                  <a:lnTo>
                    <a:pt x="5477" y="5246"/>
                  </a:lnTo>
                  <a:lnTo>
                    <a:pt x="5435" y="5296"/>
                  </a:lnTo>
                  <a:lnTo>
                    <a:pt x="5391" y="5349"/>
                  </a:lnTo>
                  <a:lnTo>
                    <a:pt x="5343" y="5403"/>
                  </a:lnTo>
                  <a:lnTo>
                    <a:pt x="5292" y="5460"/>
                  </a:lnTo>
                  <a:lnTo>
                    <a:pt x="5238" y="5521"/>
                  </a:lnTo>
                  <a:lnTo>
                    <a:pt x="5180" y="5584"/>
                  </a:lnTo>
                  <a:lnTo>
                    <a:pt x="5119" y="5649"/>
                  </a:lnTo>
                  <a:lnTo>
                    <a:pt x="5061" y="5709"/>
                  </a:lnTo>
                  <a:lnTo>
                    <a:pt x="4998" y="5771"/>
                  </a:lnTo>
                  <a:lnTo>
                    <a:pt x="4931" y="5833"/>
                  </a:lnTo>
                  <a:lnTo>
                    <a:pt x="4863" y="5894"/>
                  </a:lnTo>
                  <a:lnTo>
                    <a:pt x="4791" y="5956"/>
                  </a:lnTo>
                  <a:lnTo>
                    <a:pt x="4716" y="6018"/>
                  </a:lnTo>
                  <a:lnTo>
                    <a:pt x="4639" y="6079"/>
                  </a:lnTo>
                  <a:lnTo>
                    <a:pt x="4560" y="6140"/>
                  </a:lnTo>
                  <a:lnTo>
                    <a:pt x="4480" y="6200"/>
                  </a:lnTo>
                  <a:lnTo>
                    <a:pt x="4399" y="6261"/>
                  </a:lnTo>
                  <a:lnTo>
                    <a:pt x="4316" y="6320"/>
                  </a:lnTo>
                  <a:lnTo>
                    <a:pt x="4234" y="6380"/>
                  </a:lnTo>
                  <a:lnTo>
                    <a:pt x="4149" y="6437"/>
                  </a:lnTo>
                  <a:lnTo>
                    <a:pt x="4066" y="6494"/>
                  </a:lnTo>
                  <a:lnTo>
                    <a:pt x="3984" y="6550"/>
                  </a:lnTo>
                  <a:lnTo>
                    <a:pt x="3900" y="6603"/>
                  </a:lnTo>
                  <a:lnTo>
                    <a:pt x="3819" y="6656"/>
                  </a:lnTo>
                  <a:lnTo>
                    <a:pt x="3738" y="6707"/>
                  </a:lnTo>
                  <a:lnTo>
                    <a:pt x="3659" y="6756"/>
                  </a:lnTo>
                  <a:lnTo>
                    <a:pt x="3583" y="6804"/>
                  </a:lnTo>
                  <a:lnTo>
                    <a:pt x="3436" y="6893"/>
                  </a:lnTo>
                  <a:lnTo>
                    <a:pt x="3300" y="6973"/>
                  </a:lnTo>
                  <a:lnTo>
                    <a:pt x="3178" y="7044"/>
                  </a:lnTo>
                  <a:lnTo>
                    <a:pt x="3071" y="7103"/>
                  </a:lnTo>
                  <a:lnTo>
                    <a:pt x="2983" y="7150"/>
                  </a:lnTo>
                  <a:lnTo>
                    <a:pt x="2917" y="7186"/>
                  </a:lnTo>
                  <a:lnTo>
                    <a:pt x="2898" y="7093"/>
                  </a:lnTo>
                  <a:lnTo>
                    <a:pt x="2877" y="6999"/>
                  </a:lnTo>
                  <a:lnTo>
                    <a:pt x="2853" y="6905"/>
                  </a:lnTo>
                  <a:lnTo>
                    <a:pt x="2828" y="6810"/>
                  </a:lnTo>
                  <a:lnTo>
                    <a:pt x="2802" y="6713"/>
                  </a:lnTo>
                  <a:lnTo>
                    <a:pt x="2772" y="6616"/>
                  </a:lnTo>
                  <a:lnTo>
                    <a:pt x="2741" y="6517"/>
                  </a:lnTo>
                  <a:lnTo>
                    <a:pt x="2708" y="6417"/>
                  </a:lnTo>
                  <a:lnTo>
                    <a:pt x="2637" y="6217"/>
                  </a:lnTo>
                  <a:lnTo>
                    <a:pt x="2568" y="6026"/>
                  </a:lnTo>
                  <a:lnTo>
                    <a:pt x="2498" y="5839"/>
                  </a:lnTo>
                  <a:lnTo>
                    <a:pt x="2430" y="5661"/>
                  </a:lnTo>
                  <a:lnTo>
                    <a:pt x="2361" y="5490"/>
                  </a:lnTo>
                  <a:lnTo>
                    <a:pt x="2293" y="5325"/>
                  </a:lnTo>
                  <a:lnTo>
                    <a:pt x="2225" y="5166"/>
                  </a:lnTo>
                  <a:lnTo>
                    <a:pt x="2160" y="5013"/>
                  </a:lnTo>
                  <a:lnTo>
                    <a:pt x="2095" y="4864"/>
                  </a:lnTo>
                  <a:lnTo>
                    <a:pt x="2031" y="4723"/>
                  </a:lnTo>
                  <a:lnTo>
                    <a:pt x="1969" y="4585"/>
                  </a:lnTo>
                  <a:lnTo>
                    <a:pt x="1909" y="4452"/>
                  </a:lnTo>
                  <a:lnTo>
                    <a:pt x="1792" y="4200"/>
                  </a:lnTo>
                  <a:lnTo>
                    <a:pt x="1685" y="3964"/>
                  </a:lnTo>
                  <a:lnTo>
                    <a:pt x="1634" y="3851"/>
                  </a:lnTo>
                  <a:lnTo>
                    <a:pt x="1586" y="3741"/>
                  </a:lnTo>
                  <a:lnTo>
                    <a:pt x="1540" y="3634"/>
                  </a:lnTo>
                  <a:lnTo>
                    <a:pt x="1498" y="3530"/>
                  </a:lnTo>
                  <a:lnTo>
                    <a:pt x="1458" y="3428"/>
                  </a:lnTo>
                  <a:lnTo>
                    <a:pt x="1421" y="3328"/>
                  </a:lnTo>
                  <a:lnTo>
                    <a:pt x="1387" y="3229"/>
                  </a:lnTo>
                  <a:lnTo>
                    <a:pt x="1356" y="3132"/>
                  </a:lnTo>
                  <a:lnTo>
                    <a:pt x="1329" y="3037"/>
                  </a:lnTo>
                  <a:lnTo>
                    <a:pt x="1306" y="2942"/>
                  </a:lnTo>
                  <a:lnTo>
                    <a:pt x="1285" y="2847"/>
                  </a:lnTo>
                  <a:lnTo>
                    <a:pt x="1270" y="2753"/>
                  </a:lnTo>
                  <a:lnTo>
                    <a:pt x="1258" y="2660"/>
                  </a:lnTo>
                  <a:lnTo>
                    <a:pt x="1250" y="2566"/>
                  </a:lnTo>
                  <a:lnTo>
                    <a:pt x="1247" y="2471"/>
                  </a:lnTo>
                  <a:lnTo>
                    <a:pt x="1248" y="2377"/>
                  </a:lnTo>
                  <a:lnTo>
                    <a:pt x="1252" y="2280"/>
                  </a:lnTo>
                  <a:lnTo>
                    <a:pt x="1259" y="2183"/>
                  </a:lnTo>
                  <a:lnTo>
                    <a:pt x="1268" y="2082"/>
                  </a:lnTo>
                  <a:lnTo>
                    <a:pt x="1280" y="1982"/>
                  </a:lnTo>
                  <a:lnTo>
                    <a:pt x="1292" y="1881"/>
                  </a:lnTo>
                  <a:lnTo>
                    <a:pt x="1307" y="1779"/>
                  </a:lnTo>
                  <a:lnTo>
                    <a:pt x="1323" y="1677"/>
                  </a:lnTo>
                  <a:lnTo>
                    <a:pt x="1341" y="1575"/>
                  </a:lnTo>
                  <a:lnTo>
                    <a:pt x="1361" y="1475"/>
                  </a:lnTo>
                  <a:lnTo>
                    <a:pt x="1381" y="1374"/>
                  </a:lnTo>
                  <a:lnTo>
                    <a:pt x="1402" y="1275"/>
                  </a:lnTo>
                  <a:lnTo>
                    <a:pt x="1424" y="1177"/>
                  </a:lnTo>
                  <a:lnTo>
                    <a:pt x="1446" y="1081"/>
                  </a:lnTo>
                  <a:lnTo>
                    <a:pt x="1469" y="987"/>
                  </a:lnTo>
                  <a:lnTo>
                    <a:pt x="1492" y="895"/>
                  </a:lnTo>
                  <a:lnTo>
                    <a:pt x="1515" y="806"/>
                  </a:lnTo>
                  <a:lnTo>
                    <a:pt x="1561" y="638"/>
                  </a:lnTo>
                  <a:lnTo>
                    <a:pt x="1605" y="484"/>
                  </a:lnTo>
                  <a:lnTo>
                    <a:pt x="1645" y="345"/>
                  </a:lnTo>
                  <a:lnTo>
                    <a:pt x="1682" y="228"/>
                  </a:lnTo>
                  <a:lnTo>
                    <a:pt x="1713" y="132"/>
                  </a:lnTo>
                  <a:lnTo>
                    <a:pt x="1737" y="60"/>
                  </a:lnTo>
                  <a:lnTo>
                    <a:pt x="1751" y="15"/>
                  </a:lnTo>
                  <a:lnTo>
                    <a:pt x="1757" y="0"/>
                  </a:lnTo>
                  <a:lnTo>
                    <a:pt x="1748" y="15"/>
                  </a:lnTo>
                  <a:lnTo>
                    <a:pt x="1721" y="63"/>
                  </a:lnTo>
                  <a:lnTo>
                    <a:pt x="1701" y="99"/>
                  </a:lnTo>
                  <a:lnTo>
                    <a:pt x="1679" y="141"/>
                  </a:lnTo>
                  <a:lnTo>
                    <a:pt x="1654" y="191"/>
                  </a:lnTo>
                  <a:lnTo>
                    <a:pt x="1627" y="247"/>
                  </a:lnTo>
                  <a:lnTo>
                    <a:pt x="1597" y="309"/>
                  </a:lnTo>
                  <a:lnTo>
                    <a:pt x="1565" y="379"/>
                  </a:lnTo>
                  <a:lnTo>
                    <a:pt x="1533" y="453"/>
                  </a:lnTo>
                  <a:lnTo>
                    <a:pt x="1499" y="533"/>
                  </a:lnTo>
                  <a:lnTo>
                    <a:pt x="1465" y="619"/>
                  </a:lnTo>
                  <a:lnTo>
                    <a:pt x="1431" y="711"/>
                  </a:lnTo>
                  <a:lnTo>
                    <a:pt x="1396" y="807"/>
                  </a:lnTo>
                  <a:lnTo>
                    <a:pt x="1362" y="908"/>
                  </a:lnTo>
                  <a:lnTo>
                    <a:pt x="1329" y="1013"/>
                  </a:lnTo>
                  <a:lnTo>
                    <a:pt x="1298" y="1124"/>
                  </a:lnTo>
                  <a:lnTo>
                    <a:pt x="1267" y="1238"/>
                  </a:lnTo>
                  <a:lnTo>
                    <a:pt x="1240" y="1356"/>
                  </a:lnTo>
                  <a:lnTo>
                    <a:pt x="1214" y="1478"/>
                  </a:lnTo>
                  <a:lnTo>
                    <a:pt x="1191" y="1602"/>
                  </a:lnTo>
                  <a:lnTo>
                    <a:pt x="1171" y="1730"/>
                  </a:lnTo>
                  <a:lnTo>
                    <a:pt x="1155" y="1862"/>
                  </a:lnTo>
                  <a:lnTo>
                    <a:pt x="1143" y="1995"/>
                  </a:lnTo>
                  <a:lnTo>
                    <a:pt x="1135" y="2132"/>
                  </a:lnTo>
                  <a:lnTo>
                    <a:pt x="1131" y="2270"/>
                  </a:lnTo>
                  <a:lnTo>
                    <a:pt x="1134" y="2411"/>
                  </a:lnTo>
                  <a:lnTo>
                    <a:pt x="1140" y="2554"/>
                  </a:lnTo>
                  <a:lnTo>
                    <a:pt x="1153" y="2696"/>
                  </a:lnTo>
                  <a:lnTo>
                    <a:pt x="1171" y="2841"/>
                  </a:lnTo>
                  <a:lnTo>
                    <a:pt x="1196" y="2987"/>
                  </a:lnTo>
                  <a:lnTo>
                    <a:pt x="1212" y="3063"/>
                  </a:lnTo>
                  <a:lnTo>
                    <a:pt x="1228" y="3136"/>
                  </a:lnTo>
                  <a:lnTo>
                    <a:pt x="1246" y="3210"/>
                  </a:lnTo>
                  <a:lnTo>
                    <a:pt x="1264" y="3282"/>
                  </a:lnTo>
                  <a:lnTo>
                    <a:pt x="1283" y="3354"/>
                  </a:lnTo>
                  <a:lnTo>
                    <a:pt x="1304" y="3425"/>
                  </a:lnTo>
                  <a:lnTo>
                    <a:pt x="1325" y="3495"/>
                  </a:lnTo>
                  <a:lnTo>
                    <a:pt x="1347" y="3566"/>
                  </a:lnTo>
                  <a:lnTo>
                    <a:pt x="1370" y="3635"/>
                  </a:lnTo>
                  <a:lnTo>
                    <a:pt x="1394" y="3704"/>
                  </a:lnTo>
                  <a:lnTo>
                    <a:pt x="1418" y="3773"/>
                  </a:lnTo>
                  <a:lnTo>
                    <a:pt x="1443" y="3840"/>
                  </a:lnTo>
                  <a:lnTo>
                    <a:pt x="1469" y="3908"/>
                  </a:lnTo>
                  <a:lnTo>
                    <a:pt x="1496" y="3975"/>
                  </a:lnTo>
                  <a:lnTo>
                    <a:pt x="1523" y="4041"/>
                  </a:lnTo>
                  <a:lnTo>
                    <a:pt x="1549" y="4107"/>
                  </a:lnTo>
                  <a:lnTo>
                    <a:pt x="1606" y="4239"/>
                  </a:lnTo>
                  <a:lnTo>
                    <a:pt x="1663" y="4369"/>
                  </a:lnTo>
                  <a:lnTo>
                    <a:pt x="1723" y="4499"/>
                  </a:lnTo>
                  <a:lnTo>
                    <a:pt x="1782" y="4627"/>
                  </a:lnTo>
                  <a:lnTo>
                    <a:pt x="1843" y="4755"/>
                  </a:lnTo>
                  <a:lnTo>
                    <a:pt x="1902" y="4883"/>
                  </a:lnTo>
                  <a:lnTo>
                    <a:pt x="1963" y="5009"/>
                  </a:lnTo>
                  <a:lnTo>
                    <a:pt x="2022" y="5136"/>
                  </a:lnTo>
                  <a:lnTo>
                    <a:pt x="1989" y="5137"/>
                  </a:lnTo>
                  <a:lnTo>
                    <a:pt x="1949" y="5136"/>
                  </a:lnTo>
                  <a:lnTo>
                    <a:pt x="1903" y="5136"/>
                  </a:lnTo>
                  <a:lnTo>
                    <a:pt x="1852" y="5135"/>
                  </a:lnTo>
                  <a:lnTo>
                    <a:pt x="1795" y="5133"/>
                  </a:lnTo>
                  <a:lnTo>
                    <a:pt x="1734" y="5129"/>
                  </a:lnTo>
                  <a:lnTo>
                    <a:pt x="1668" y="5126"/>
                  </a:lnTo>
                  <a:lnTo>
                    <a:pt x="1600" y="5120"/>
                  </a:lnTo>
                  <a:lnTo>
                    <a:pt x="1528" y="5114"/>
                  </a:lnTo>
                  <a:lnTo>
                    <a:pt x="1452" y="5106"/>
                  </a:lnTo>
                  <a:lnTo>
                    <a:pt x="1376" y="5096"/>
                  </a:lnTo>
                  <a:lnTo>
                    <a:pt x="1297" y="5086"/>
                  </a:lnTo>
                  <a:lnTo>
                    <a:pt x="1217" y="5072"/>
                  </a:lnTo>
                  <a:lnTo>
                    <a:pt x="1137" y="5057"/>
                  </a:lnTo>
                  <a:lnTo>
                    <a:pt x="1097" y="5049"/>
                  </a:lnTo>
                  <a:lnTo>
                    <a:pt x="1056" y="5040"/>
                  </a:lnTo>
                  <a:lnTo>
                    <a:pt x="1016" y="5031"/>
                  </a:lnTo>
                  <a:lnTo>
                    <a:pt x="976" y="5021"/>
                  </a:lnTo>
                  <a:lnTo>
                    <a:pt x="927" y="5007"/>
                  </a:lnTo>
                  <a:lnTo>
                    <a:pt x="878" y="4993"/>
                  </a:lnTo>
                  <a:lnTo>
                    <a:pt x="830" y="4980"/>
                  </a:lnTo>
                  <a:lnTo>
                    <a:pt x="783" y="4964"/>
                  </a:lnTo>
                  <a:lnTo>
                    <a:pt x="736" y="4948"/>
                  </a:lnTo>
                  <a:lnTo>
                    <a:pt x="691" y="4932"/>
                  </a:lnTo>
                  <a:lnTo>
                    <a:pt x="646" y="4916"/>
                  </a:lnTo>
                  <a:lnTo>
                    <a:pt x="602" y="4899"/>
                  </a:lnTo>
                  <a:lnTo>
                    <a:pt x="516" y="4864"/>
                  </a:lnTo>
                  <a:lnTo>
                    <a:pt x="436" y="4829"/>
                  </a:lnTo>
                  <a:lnTo>
                    <a:pt x="361" y="4795"/>
                  </a:lnTo>
                  <a:lnTo>
                    <a:pt x="291" y="4762"/>
                  </a:lnTo>
                  <a:lnTo>
                    <a:pt x="227" y="4730"/>
                  </a:lnTo>
                  <a:lnTo>
                    <a:pt x="170" y="4701"/>
                  </a:lnTo>
                  <a:lnTo>
                    <a:pt x="120" y="4674"/>
                  </a:lnTo>
                  <a:lnTo>
                    <a:pt x="79" y="4651"/>
                  </a:lnTo>
                  <a:lnTo>
                    <a:pt x="44" y="4632"/>
                  </a:lnTo>
                  <a:lnTo>
                    <a:pt x="20" y="4617"/>
                  </a:lnTo>
                  <a:lnTo>
                    <a:pt x="5" y="4608"/>
                  </a:lnTo>
                  <a:lnTo>
                    <a:pt x="0" y="4605"/>
                  </a:lnTo>
                  <a:lnTo>
                    <a:pt x="8" y="4611"/>
                  </a:lnTo>
                  <a:lnTo>
                    <a:pt x="29" y="4629"/>
                  </a:lnTo>
                  <a:lnTo>
                    <a:pt x="66" y="4657"/>
                  </a:lnTo>
                  <a:lnTo>
                    <a:pt x="114" y="4692"/>
                  </a:lnTo>
                  <a:lnTo>
                    <a:pt x="174" y="4735"/>
                  </a:lnTo>
                  <a:lnTo>
                    <a:pt x="245" y="4785"/>
                  </a:lnTo>
                  <a:lnTo>
                    <a:pt x="284" y="4810"/>
                  </a:lnTo>
                  <a:lnTo>
                    <a:pt x="326" y="4836"/>
                  </a:lnTo>
                  <a:lnTo>
                    <a:pt x="370" y="4863"/>
                  </a:lnTo>
                  <a:lnTo>
                    <a:pt x="414" y="4892"/>
                  </a:lnTo>
                  <a:lnTo>
                    <a:pt x="462" y="4919"/>
                  </a:lnTo>
                  <a:lnTo>
                    <a:pt x="511" y="4948"/>
                  </a:lnTo>
                  <a:lnTo>
                    <a:pt x="562" y="4975"/>
                  </a:lnTo>
                  <a:lnTo>
                    <a:pt x="614" y="5003"/>
                  </a:lnTo>
                  <a:lnTo>
                    <a:pt x="667" y="5030"/>
                  </a:lnTo>
                  <a:lnTo>
                    <a:pt x="721" y="5056"/>
                  </a:lnTo>
                  <a:lnTo>
                    <a:pt x="777" y="5081"/>
                  </a:lnTo>
                  <a:lnTo>
                    <a:pt x="834" y="5106"/>
                  </a:lnTo>
                  <a:lnTo>
                    <a:pt x="892" y="5129"/>
                  </a:lnTo>
                  <a:lnTo>
                    <a:pt x="950" y="5151"/>
                  </a:lnTo>
                  <a:lnTo>
                    <a:pt x="1009" y="5172"/>
                  </a:lnTo>
                  <a:lnTo>
                    <a:pt x="1069" y="5190"/>
                  </a:lnTo>
                  <a:lnTo>
                    <a:pt x="1128" y="5206"/>
                  </a:lnTo>
                  <a:lnTo>
                    <a:pt x="1187" y="5221"/>
                  </a:lnTo>
                  <a:lnTo>
                    <a:pt x="1248" y="5232"/>
                  </a:lnTo>
                  <a:lnTo>
                    <a:pt x="1307" y="5241"/>
                  </a:lnTo>
                  <a:lnTo>
                    <a:pt x="1385" y="5251"/>
                  </a:lnTo>
                  <a:lnTo>
                    <a:pt x="1458" y="5259"/>
                  </a:lnTo>
                  <a:lnTo>
                    <a:pt x="1526" y="5265"/>
                  </a:lnTo>
                  <a:lnTo>
                    <a:pt x="1592" y="5270"/>
                  </a:lnTo>
                  <a:lnTo>
                    <a:pt x="1652" y="5273"/>
                  </a:lnTo>
                  <a:lnTo>
                    <a:pt x="1710" y="5275"/>
                  </a:lnTo>
                  <a:lnTo>
                    <a:pt x="1763" y="5277"/>
                  </a:lnTo>
                  <a:lnTo>
                    <a:pt x="1813" y="5277"/>
                  </a:lnTo>
                  <a:lnTo>
                    <a:pt x="1859" y="5275"/>
                  </a:lnTo>
                  <a:lnTo>
                    <a:pt x="1900" y="5274"/>
                  </a:lnTo>
                  <a:lnTo>
                    <a:pt x="1939" y="5272"/>
                  </a:lnTo>
                  <a:lnTo>
                    <a:pt x="1974" y="5270"/>
                  </a:lnTo>
                  <a:lnTo>
                    <a:pt x="2032" y="5264"/>
                  </a:lnTo>
                  <a:lnTo>
                    <a:pt x="2078" y="5257"/>
                  </a:lnTo>
                  <a:lnTo>
                    <a:pt x="2129" y="5371"/>
                  </a:lnTo>
                  <a:lnTo>
                    <a:pt x="2180" y="5486"/>
                  </a:lnTo>
                  <a:lnTo>
                    <a:pt x="2229" y="5601"/>
                  </a:lnTo>
                  <a:lnTo>
                    <a:pt x="2275" y="5717"/>
                  </a:lnTo>
                  <a:lnTo>
                    <a:pt x="2298" y="5776"/>
                  </a:lnTo>
                  <a:lnTo>
                    <a:pt x="2321" y="5834"/>
                  </a:lnTo>
                  <a:lnTo>
                    <a:pt x="2343" y="5893"/>
                  </a:lnTo>
                  <a:lnTo>
                    <a:pt x="2365" y="5953"/>
                  </a:lnTo>
                  <a:lnTo>
                    <a:pt x="2385" y="6012"/>
                  </a:lnTo>
                  <a:lnTo>
                    <a:pt x="2405" y="6071"/>
                  </a:lnTo>
                  <a:lnTo>
                    <a:pt x="2424" y="6132"/>
                  </a:lnTo>
                  <a:lnTo>
                    <a:pt x="2443" y="6192"/>
                  </a:lnTo>
                  <a:lnTo>
                    <a:pt x="2460" y="6253"/>
                  </a:lnTo>
                  <a:lnTo>
                    <a:pt x="2478" y="6314"/>
                  </a:lnTo>
                  <a:lnTo>
                    <a:pt x="2495" y="6376"/>
                  </a:lnTo>
                  <a:lnTo>
                    <a:pt x="2510" y="6438"/>
                  </a:lnTo>
                  <a:lnTo>
                    <a:pt x="2524" y="6501"/>
                  </a:lnTo>
                  <a:lnTo>
                    <a:pt x="2539" y="6563"/>
                  </a:lnTo>
                  <a:lnTo>
                    <a:pt x="2552" y="6627"/>
                  </a:lnTo>
                  <a:lnTo>
                    <a:pt x="2563" y="6691"/>
                  </a:lnTo>
                  <a:lnTo>
                    <a:pt x="2575" y="6755"/>
                  </a:lnTo>
                  <a:lnTo>
                    <a:pt x="2585" y="6820"/>
                  </a:lnTo>
                  <a:lnTo>
                    <a:pt x="2594" y="6886"/>
                  </a:lnTo>
                  <a:lnTo>
                    <a:pt x="2602" y="6953"/>
                  </a:lnTo>
                  <a:lnTo>
                    <a:pt x="2609" y="7019"/>
                  </a:lnTo>
                  <a:lnTo>
                    <a:pt x="2615" y="7087"/>
                  </a:lnTo>
                  <a:lnTo>
                    <a:pt x="2619" y="7155"/>
                  </a:lnTo>
                  <a:lnTo>
                    <a:pt x="2623" y="7223"/>
                  </a:lnTo>
                  <a:lnTo>
                    <a:pt x="2626" y="7340"/>
                  </a:lnTo>
                  <a:lnTo>
                    <a:pt x="2626" y="7455"/>
                  </a:lnTo>
                  <a:lnTo>
                    <a:pt x="2624" y="7572"/>
                  </a:lnTo>
                  <a:lnTo>
                    <a:pt x="2618" y="7687"/>
                  </a:lnTo>
                  <a:lnTo>
                    <a:pt x="2609" y="7802"/>
                  </a:lnTo>
                  <a:lnTo>
                    <a:pt x="2599" y="7917"/>
                  </a:lnTo>
                  <a:lnTo>
                    <a:pt x="2585" y="8032"/>
                  </a:lnTo>
                  <a:lnTo>
                    <a:pt x="2570" y="8145"/>
                  </a:lnTo>
                  <a:lnTo>
                    <a:pt x="2552" y="8258"/>
                  </a:lnTo>
                  <a:lnTo>
                    <a:pt x="2532" y="8370"/>
                  </a:lnTo>
                  <a:lnTo>
                    <a:pt x="2511" y="8479"/>
                  </a:lnTo>
                  <a:lnTo>
                    <a:pt x="2488" y="8589"/>
                  </a:lnTo>
                  <a:lnTo>
                    <a:pt x="2464" y="8696"/>
                  </a:lnTo>
                  <a:lnTo>
                    <a:pt x="2438" y="8802"/>
                  </a:lnTo>
                  <a:lnTo>
                    <a:pt x="2411" y="8907"/>
                  </a:lnTo>
                  <a:lnTo>
                    <a:pt x="2383" y="9009"/>
                  </a:lnTo>
                  <a:lnTo>
                    <a:pt x="2354" y="9109"/>
                  </a:lnTo>
                  <a:lnTo>
                    <a:pt x="2325" y="9208"/>
                  </a:lnTo>
                  <a:lnTo>
                    <a:pt x="2295" y="9304"/>
                  </a:lnTo>
                  <a:lnTo>
                    <a:pt x="2264" y="9397"/>
                  </a:lnTo>
                  <a:lnTo>
                    <a:pt x="2234" y="9487"/>
                  </a:lnTo>
                  <a:lnTo>
                    <a:pt x="2204" y="9575"/>
                  </a:lnTo>
                  <a:lnTo>
                    <a:pt x="2173" y="9661"/>
                  </a:lnTo>
                  <a:lnTo>
                    <a:pt x="2142" y="9743"/>
                  </a:lnTo>
                  <a:lnTo>
                    <a:pt x="2111" y="9822"/>
                  </a:lnTo>
                  <a:lnTo>
                    <a:pt x="2081" y="9897"/>
                  </a:lnTo>
                  <a:lnTo>
                    <a:pt x="2053" y="9969"/>
                  </a:lnTo>
                  <a:lnTo>
                    <a:pt x="2024" y="10038"/>
                  </a:lnTo>
                  <a:lnTo>
                    <a:pt x="1971" y="10162"/>
                  </a:lnTo>
                  <a:lnTo>
                    <a:pt x="1923" y="10272"/>
                  </a:lnTo>
                  <a:lnTo>
                    <a:pt x="2451" y="10272"/>
                  </a:lnTo>
                  <a:lnTo>
                    <a:pt x="2451" y="10272"/>
                  </a:lnTo>
                  <a:lnTo>
                    <a:pt x="2475" y="10234"/>
                  </a:lnTo>
                  <a:lnTo>
                    <a:pt x="2502" y="10196"/>
                  </a:lnTo>
                  <a:lnTo>
                    <a:pt x="2515" y="10176"/>
                  </a:lnTo>
                  <a:lnTo>
                    <a:pt x="2530" y="10156"/>
                  </a:lnTo>
                  <a:lnTo>
                    <a:pt x="2545" y="10137"/>
                  </a:lnTo>
                  <a:lnTo>
                    <a:pt x="2561" y="10119"/>
                  </a:lnTo>
                  <a:lnTo>
                    <a:pt x="2578" y="10099"/>
                  </a:lnTo>
                  <a:lnTo>
                    <a:pt x="2595" y="10081"/>
                  </a:lnTo>
                  <a:lnTo>
                    <a:pt x="2613" y="10063"/>
                  </a:lnTo>
                  <a:lnTo>
                    <a:pt x="2632" y="10045"/>
                  </a:lnTo>
                  <a:lnTo>
                    <a:pt x="2651" y="10029"/>
                  </a:lnTo>
                  <a:lnTo>
                    <a:pt x="2671" y="10013"/>
                  </a:lnTo>
                  <a:lnTo>
                    <a:pt x="2691" y="9997"/>
                  </a:lnTo>
                  <a:lnTo>
                    <a:pt x="2713" y="9983"/>
                  </a:lnTo>
                  <a:close/>
                </a:path>
              </a:pathLst>
            </a:custGeom>
            <a:solidFill>
              <a:schemeClr val="tx1">
                <a:lumMod val="75000"/>
                <a:lumOff val="2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grpSp>
        <p:nvGrpSpPr>
          <p:cNvPr id="11" name="Group 40">
            <a:extLst>
              <a:ext uri="{FF2B5EF4-FFF2-40B4-BE49-F238E27FC236}">
                <a16:creationId xmlns:a16="http://schemas.microsoft.com/office/drawing/2014/main" id="{65EFCBBA-A5D4-4F50-A2F8-1A0EBA93D90B}"/>
              </a:ext>
            </a:extLst>
          </p:cNvPr>
          <p:cNvGrpSpPr/>
          <p:nvPr/>
        </p:nvGrpSpPr>
        <p:grpSpPr>
          <a:xfrm>
            <a:off x="6820360" y="3830912"/>
            <a:ext cx="2072125" cy="1772567"/>
            <a:chOff x="6129857" y="4031372"/>
            <a:chExt cx="2072125" cy="1772567"/>
          </a:xfrm>
        </p:grpSpPr>
        <p:sp>
          <p:nvSpPr>
            <p:cNvPr id="12" name="Rectangle: Rounded Corners 10">
              <a:extLst>
                <a:ext uri="{FF2B5EF4-FFF2-40B4-BE49-F238E27FC236}">
                  <a16:creationId xmlns:a16="http://schemas.microsoft.com/office/drawing/2014/main" id="{EB02AB5C-1E92-45A2-8960-D3C403D06152}"/>
                </a:ext>
              </a:extLst>
            </p:cNvPr>
            <p:cNvSpPr/>
            <p:nvPr/>
          </p:nvSpPr>
          <p:spPr>
            <a:xfrm>
              <a:off x="6129857" y="4031372"/>
              <a:ext cx="2072125" cy="1772567"/>
            </a:xfrm>
            <a:prstGeom prst="roundRect">
              <a:avLst>
                <a:gd name="adj" fmla="val 4167"/>
              </a:avLst>
            </a:prstGeom>
            <a:solidFill>
              <a:schemeClr val="bg1"/>
            </a:solidFill>
            <a:ln>
              <a:noFill/>
            </a:ln>
            <a:effectLst>
              <a:outerShdw blurRad="635000" dist="635000" dir="5400000" sx="85000" sy="85000" algn="t" rotWithShape="0">
                <a:prstClr val="black">
                  <a:alpha val="1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等线" panose="020F0502020204030204"/>
                <a:ea typeface="+mn-ea"/>
                <a:cs typeface="+mn-cs"/>
              </a:endParaRPr>
            </a:p>
          </p:txBody>
        </p:sp>
        <p:grpSp>
          <p:nvGrpSpPr>
            <p:cNvPr id="13" name="Group 11">
              <a:extLst>
                <a:ext uri="{FF2B5EF4-FFF2-40B4-BE49-F238E27FC236}">
                  <a16:creationId xmlns:a16="http://schemas.microsoft.com/office/drawing/2014/main" id="{1424C670-4577-431B-A625-89F72695BFE9}"/>
                </a:ext>
              </a:extLst>
            </p:cNvPr>
            <p:cNvGrpSpPr/>
            <p:nvPr/>
          </p:nvGrpSpPr>
          <p:grpSpPr>
            <a:xfrm>
              <a:off x="6310831" y="4399263"/>
              <a:ext cx="1710176" cy="1244113"/>
              <a:chOff x="6856737" y="1347191"/>
              <a:chExt cx="3338011" cy="2428326"/>
            </a:xfrm>
          </p:grpSpPr>
          <p:grpSp>
            <p:nvGrpSpPr>
              <p:cNvPr id="14" name="Group 12">
                <a:extLst>
                  <a:ext uri="{FF2B5EF4-FFF2-40B4-BE49-F238E27FC236}">
                    <a16:creationId xmlns:a16="http://schemas.microsoft.com/office/drawing/2014/main" id="{B4A6E038-3BD6-42F0-8C17-F2E6F59A46DF}"/>
                  </a:ext>
                </a:extLst>
              </p:cNvPr>
              <p:cNvGrpSpPr/>
              <p:nvPr/>
            </p:nvGrpSpPr>
            <p:grpSpPr>
              <a:xfrm>
                <a:off x="7682956" y="1347191"/>
                <a:ext cx="1685572" cy="1685570"/>
                <a:chOff x="4659086" y="1992088"/>
                <a:chExt cx="2873830" cy="2873826"/>
              </a:xfrm>
            </p:grpSpPr>
            <p:grpSp>
              <p:nvGrpSpPr>
                <p:cNvPr id="16" name="Group 14">
                  <a:extLst>
                    <a:ext uri="{FF2B5EF4-FFF2-40B4-BE49-F238E27FC236}">
                      <a16:creationId xmlns:a16="http://schemas.microsoft.com/office/drawing/2014/main" id="{FF6953DB-F933-4E77-B0B6-DCF1A84A4072}"/>
                    </a:ext>
                  </a:extLst>
                </p:cNvPr>
                <p:cNvGrpSpPr/>
                <p:nvPr/>
              </p:nvGrpSpPr>
              <p:grpSpPr>
                <a:xfrm>
                  <a:off x="4659086" y="1992088"/>
                  <a:ext cx="2873830" cy="2873826"/>
                  <a:chOff x="2257390" y="2888817"/>
                  <a:chExt cx="1381819" cy="1381817"/>
                </a:xfrm>
              </p:grpSpPr>
              <p:sp>
                <p:nvSpPr>
                  <p:cNvPr id="18" name="Oval 16">
                    <a:extLst>
                      <a:ext uri="{FF2B5EF4-FFF2-40B4-BE49-F238E27FC236}">
                        <a16:creationId xmlns:a16="http://schemas.microsoft.com/office/drawing/2014/main" id="{FBB998D9-B0EC-4F66-A567-9A00DB547C8D}"/>
                      </a:ext>
                    </a:extLst>
                  </p:cNvPr>
                  <p:cNvSpPr/>
                  <p:nvPr/>
                </p:nvSpPr>
                <p:spPr>
                  <a:xfrm>
                    <a:off x="2257390" y="2888817"/>
                    <a:ext cx="1381819" cy="1381817"/>
                  </a:xfrm>
                  <a:prstGeom prst="ellipse">
                    <a:avLst/>
                  </a:prstGeom>
                  <a:solidFill>
                    <a:schemeClr val="accent1">
                      <a:alpha val="30000"/>
                    </a:schemeClr>
                  </a:solidFill>
                  <a:ln w="889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等线" panose="020F0502020204030204"/>
                      <a:ea typeface="+mn-ea"/>
                      <a:cs typeface="Poppins" panose="02000000000000000000" pitchFamily="2" charset="0"/>
                    </a:endParaRPr>
                  </a:p>
                </p:txBody>
              </p:sp>
              <p:sp>
                <p:nvSpPr>
                  <p:cNvPr id="19" name="Partial Circle 17">
                    <a:extLst>
                      <a:ext uri="{FF2B5EF4-FFF2-40B4-BE49-F238E27FC236}">
                        <a16:creationId xmlns:a16="http://schemas.microsoft.com/office/drawing/2014/main" id="{A0FF629A-E201-41FA-BF4F-7E626C677CD8}"/>
                      </a:ext>
                    </a:extLst>
                  </p:cNvPr>
                  <p:cNvSpPr/>
                  <p:nvPr/>
                </p:nvSpPr>
                <p:spPr>
                  <a:xfrm>
                    <a:off x="2257390" y="2888817"/>
                    <a:ext cx="1381818" cy="1381816"/>
                  </a:xfrm>
                  <a:prstGeom prst="pie">
                    <a:avLst>
                      <a:gd name="adj1" fmla="val 7028905"/>
                      <a:gd name="adj2" fmla="val 11636043"/>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等线" panose="020F0502020204030204"/>
                      <a:ea typeface="+mn-ea"/>
                      <a:cs typeface="Poppins" panose="02000000000000000000" pitchFamily="2" charset="0"/>
                    </a:endParaRPr>
                  </a:p>
                </p:txBody>
              </p:sp>
              <p:sp>
                <p:nvSpPr>
                  <p:cNvPr id="20" name="Oval 18">
                    <a:extLst>
                      <a:ext uri="{FF2B5EF4-FFF2-40B4-BE49-F238E27FC236}">
                        <a16:creationId xmlns:a16="http://schemas.microsoft.com/office/drawing/2014/main" id="{94519821-A5FF-40A7-B295-D610E2B8B569}"/>
                      </a:ext>
                    </a:extLst>
                  </p:cNvPr>
                  <p:cNvSpPr/>
                  <p:nvPr/>
                </p:nvSpPr>
                <p:spPr>
                  <a:xfrm>
                    <a:off x="2382175" y="3013601"/>
                    <a:ext cx="1132249" cy="1132250"/>
                  </a:xfrm>
                  <a:prstGeom prst="ellipse">
                    <a:avLst/>
                  </a:prstGeom>
                  <a:solidFill>
                    <a:schemeClr val="bg1"/>
                  </a:solidFill>
                  <a:ln w="889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等线" panose="020F0502020204030204"/>
                      <a:ea typeface="+mn-ea"/>
                      <a:cs typeface="Poppins" panose="02000000000000000000" pitchFamily="2" charset="0"/>
                    </a:endParaRPr>
                  </a:p>
                </p:txBody>
              </p:sp>
            </p:grpSp>
            <p:sp>
              <p:nvSpPr>
                <p:cNvPr id="17" name="Rectangle 15">
                  <a:extLst>
                    <a:ext uri="{FF2B5EF4-FFF2-40B4-BE49-F238E27FC236}">
                      <a16:creationId xmlns:a16="http://schemas.microsoft.com/office/drawing/2014/main" id="{37C0FED8-5080-47B4-847B-4486253F4FAF}"/>
                    </a:ext>
                  </a:extLst>
                </p:cNvPr>
                <p:cNvSpPr/>
                <p:nvPr/>
              </p:nvSpPr>
              <p:spPr>
                <a:xfrm flipH="1">
                  <a:off x="4826592" y="2722180"/>
                  <a:ext cx="2602210" cy="1536342"/>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000000">
                          <a:lumMod val="85000"/>
                          <a:lumOff val="15000"/>
                        </a:srgbClr>
                      </a:solidFill>
                      <a:effectLst/>
                      <a:uLnTx/>
                      <a:uFillTx/>
                      <a:latin typeface="等线" panose="020F0502020204030204"/>
                      <a:ea typeface="+mn-ea"/>
                      <a:cs typeface="Poppins" panose="02000000000000000000" pitchFamily="2" charset="0"/>
                    </a:rPr>
                    <a:t>20</a:t>
                  </a:r>
                  <a:r>
                    <a:rPr kumimoji="0" lang="en-US" sz="1050" b="1" i="0" u="none" strike="noStrike" kern="1200" cap="none" spc="0" normalizeH="0" baseline="0" noProof="0" dirty="0">
                      <a:ln>
                        <a:noFill/>
                      </a:ln>
                      <a:solidFill>
                        <a:srgbClr val="000000">
                          <a:lumMod val="85000"/>
                          <a:lumOff val="15000"/>
                        </a:srgbClr>
                      </a:solidFill>
                      <a:effectLst/>
                      <a:uLnTx/>
                      <a:uFillTx/>
                      <a:latin typeface="等线" panose="020F0502020204030204"/>
                      <a:ea typeface="+mn-ea"/>
                      <a:cs typeface="Poppins" panose="02000000000000000000" pitchFamily="2" charset="0"/>
                    </a:rPr>
                    <a:t>%</a:t>
                  </a:r>
                  <a:endParaRPr kumimoji="0" lang="id-ID" sz="2400" b="1" i="0" u="none" strike="noStrike" kern="1200" cap="none" spc="0" normalizeH="0" baseline="0" noProof="0" dirty="0">
                    <a:ln>
                      <a:noFill/>
                    </a:ln>
                    <a:solidFill>
                      <a:srgbClr val="000000">
                        <a:lumMod val="85000"/>
                        <a:lumOff val="15000"/>
                      </a:srgbClr>
                    </a:solidFill>
                    <a:effectLst/>
                    <a:uLnTx/>
                    <a:uFillTx/>
                    <a:latin typeface="等线" panose="020F0502020204030204"/>
                    <a:ea typeface="+mn-ea"/>
                    <a:cs typeface="Poppins" panose="02000000000000000000" pitchFamily="2" charset="0"/>
                  </a:endParaRPr>
                </a:p>
              </p:txBody>
            </p:sp>
          </p:grpSp>
          <p:sp>
            <p:nvSpPr>
              <p:cNvPr id="15" name="Rectangle 13">
                <a:extLst>
                  <a:ext uri="{FF2B5EF4-FFF2-40B4-BE49-F238E27FC236}">
                    <a16:creationId xmlns:a16="http://schemas.microsoft.com/office/drawing/2014/main" id="{70712184-76B7-4423-9B72-E19A411E3B16}"/>
                  </a:ext>
                </a:extLst>
              </p:cNvPr>
              <p:cNvSpPr/>
              <p:nvPr/>
            </p:nvSpPr>
            <p:spPr>
              <a:xfrm>
                <a:off x="6856737" y="3159764"/>
                <a:ext cx="3338011" cy="615753"/>
              </a:xfrm>
              <a:prstGeom prst="rect">
                <a:avLst/>
              </a:prstGeom>
            </p:spPr>
            <p:txBody>
              <a:bodyPr wrap="square">
                <a:spAutoFit/>
              </a:bodyPr>
              <a:lstStyle/>
              <a:p>
                <a:pPr marL="0" marR="0" lvl="0" indent="0" algn="ctr" defTabSz="914400" rtl="0" eaLnBrk="1" fontAlgn="auto" latinLnBrk="0" hangingPunct="1">
                  <a:lnSpc>
                    <a:spcPct val="13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lumMod val="85000"/>
                        <a:lumOff val="15000"/>
                      </a:srgbClr>
                    </a:solidFill>
                    <a:effectLst/>
                    <a:uLnTx/>
                    <a:uFillTx/>
                    <a:latin typeface="等线" panose="020F0502020204030204"/>
                    <a:ea typeface="+mn-ea"/>
                    <a:cs typeface="Poppins" panose="00000500000000000000" pitchFamily="2" charset="0"/>
                  </a:rPr>
                  <a:t>First Handling</a:t>
                </a:r>
                <a:endParaRPr kumimoji="0" lang="id-ID" sz="1200" b="1" i="0" u="none" strike="noStrike" kern="1200" cap="none" spc="0" normalizeH="0" baseline="0" noProof="0" dirty="0">
                  <a:ln>
                    <a:noFill/>
                  </a:ln>
                  <a:solidFill>
                    <a:srgbClr val="000000">
                      <a:lumMod val="85000"/>
                      <a:lumOff val="15000"/>
                    </a:srgbClr>
                  </a:solidFill>
                  <a:effectLst/>
                  <a:uLnTx/>
                  <a:uFillTx/>
                  <a:latin typeface="等线" panose="020F0502020204030204"/>
                  <a:ea typeface="+mn-ea"/>
                  <a:cs typeface="Poppins" panose="00000500000000000000" pitchFamily="2" charset="0"/>
                </a:endParaRPr>
              </a:p>
            </p:txBody>
          </p:sp>
        </p:grpSp>
      </p:grpSp>
      <p:grpSp>
        <p:nvGrpSpPr>
          <p:cNvPr id="21" name="Group 42">
            <a:extLst>
              <a:ext uri="{FF2B5EF4-FFF2-40B4-BE49-F238E27FC236}">
                <a16:creationId xmlns:a16="http://schemas.microsoft.com/office/drawing/2014/main" id="{91D1D287-B013-4D77-AFB3-3EE7A52F435C}"/>
              </a:ext>
            </a:extLst>
          </p:cNvPr>
          <p:cNvGrpSpPr/>
          <p:nvPr/>
        </p:nvGrpSpPr>
        <p:grpSpPr>
          <a:xfrm>
            <a:off x="9070760" y="3830912"/>
            <a:ext cx="2072125" cy="1772567"/>
            <a:chOff x="8380257" y="4031372"/>
            <a:chExt cx="2072125" cy="1772567"/>
          </a:xfrm>
        </p:grpSpPr>
        <p:sp>
          <p:nvSpPr>
            <p:cNvPr id="22" name="Rectangle: Rounded Corners 19">
              <a:extLst>
                <a:ext uri="{FF2B5EF4-FFF2-40B4-BE49-F238E27FC236}">
                  <a16:creationId xmlns:a16="http://schemas.microsoft.com/office/drawing/2014/main" id="{86B3402D-2308-4328-92F4-F65C8539C1D4}"/>
                </a:ext>
              </a:extLst>
            </p:cNvPr>
            <p:cNvSpPr/>
            <p:nvPr/>
          </p:nvSpPr>
          <p:spPr>
            <a:xfrm>
              <a:off x="8380257" y="4031372"/>
              <a:ext cx="2072125" cy="1772567"/>
            </a:xfrm>
            <a:prstGeom prst="roundRect">
              <a:avLst>
                <a:gd name="adj" fmla="val 4167"/>
              </a:avLst>
            </a:prstGeom>
            <a:solidFill>
              <a:schemeClr val="accent1"/>
            </a:solidFill>
            <a:ln>
              <a:noFill/>
            </a:ln>
            <a:effectLst>
              <a:outerShdw blurRad="635000" dist="635000" dir="5400000" sx="85000" sy="85000" algn="t" rotWithShape="0">
                <a:prstClr val="black">
                  <a:alpha val="1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等线" panose="020F0502020204030204"/>
                <a:ea typeface="+mn-ea"/>
                <a:cs typeface="+mn-cs"/>
              </a:endParaRPr>
            </a:p>
          </p:txBody>
        </p:sp>
        <p:grpSp>
          <p:nvGrpSpPr>
            <p:cNvPr id="23" name="Group 20">
              <a:extLst>
                <a:ext uri="{FF2B5EF4-FFF2-40B4-BE49-F238E27FC236}">
                  <a16:creationId xmlns:a16="http://schemas.microsoft.com/office/drawing/2014/main" id="{2591CF05-B2F4-4B03-B9E8-B3B8A95B4115}"/>
                </a:ext>
              </a:extLst>
            </p:cNvPr>
            <p:cNvGrpSpPr/>
            <p:nvPr/>
          </p:nvGrpSpPr>
          <p:grpSpPr>
            <a:xfrm>
              <a:off x="8561231" y="4399263"/>
              <a:ext cx="1710176" cy="1244113"/>
              <a:chOff x="6856737" y="1347191"/>
              <a:chExt cx="3338011" cy="2428326"/>
            </a:xfrm>
          </p:grpSpPr>
          <p:grpSp>
            <p:nvGrpSpPr>
              <p:cNvPr id="24" name="Group 21">
                <a:extLst>
                  <a:ext uri="{FF2B5EF4-FFF2-40B4-BE49-F238E27FC236}">
                    <a16:creationId xmlns:a16="http://schemas.microsoft.com/office/drawing/2014/main" id="{3F3CD160-A5FB-4C2B-9413-4F7E6B323F1B}"/>
                  </a:ext>
                </a:extLst>
              </p:cNvPr>
              <p:cNvGrpSpPr/>
              <p:nvPr/>
            </p:nvGrpSpPr>
            <p:grpSpPr>
              <a:xfrm>
                <a:off x="7682956" y="1347191"/>
                <a:ext cx="1685572" cy="1685570"/>
                <a:chOff x="4659086" y="1992088"/>
                <a:chExt cx="2873830" cy="2873826"/>
              </a:xfrm>
            </p:grpSpPr>
            <p:grpSp>
              <p:nvGrpSpPr>
                <p:cNvPr id="26" name="Group 23">
                  <a:extLst>
                    <a:ext uri="{FF2B5EF4-FFF2-40B4-BE49-F238E27FC236}">
                      <a16:creationId xmlns:a16="http://schemas.microsoft.com/office/drawing/2014/main" id="{5E262CA4-B5BC-4A83-8072-FE218B546261}"/>
                    </a:ext>
                  </a:extLst>
                </p:cNvPr>
                <p:cNvGrpSpPr/>
                <p:nvPr/>
              </p:nvGrpSpPr>
              <p:grpSpPr>
                <a:xfrm>
                  <a:off x="4659086" y="1992088"/>
                  <a:ext cx="2873830" cy="2873826"/>
                  <a:chOff x="2257390" y="2888817"/>
                  <a:chExt cx="1381819" cy="1381817"/>
                </a:xfrm>
              </p:grpSpPr>
              <p:sp>
                <p:nvSpPr>
                  <p:cNvPr id="28" name="Oval 25">
                    <a:extLst>
                      <a:ext uri="{FF2B5EF4-FFF2-40B4-BE49-F238E27FC236}">
                        <a16:creationId xmlns:a16="http://schemas.microsoft.com/office/drawing/2014/main" id="{569722B5-B946-4E56-867B-8324C72E207B}"/>
                      </a:ext>
                    </a:extLst>
                  </p:cNvPr>
                  <p:cNvSpPr/>
                  <p:nvPr/>
                </p:nvSpPr>
                <p:spPr>
                  <a:xfrm>
                    <a:off x="2257390" y="2888817"/>
                    <a:ext cx="1381819" cy="1381817"/>
                  </a:xfrm>
                  <a:prstGeom prst="ellipse">
                    <a:avLst/>
                  </a:prstGeom>
                  <a:solidFill>
                    <a:schemeClr val="bg1">
                      <a:alpha val="30000"/>
                    </a:schemeClr>
                  </a:solidFill>
                  <a:ln w="889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等线" panose="020F0502020204030204"/>
                      <a:ea typeface="+mn-ea"/>
                      <a:cs typeface="Poppins" panose="02000000000000000000" pitchFamily="2" charset="0"/>
                    </a:endParaRPr>
                  </a:p>
                </p:txBody>
              </p:sp>
              <p:sp>
                <p:nvSpPr>
                  <p:cNvPr id="29" name="Partial Circle 26">
                    <a:extLst>
                      <a:ext uri="{FF2B5EF4-FFF2-40B4-BE49-F238E27FC236}">
                        <a16:creationId xmlns:a16="http://schemas.microsoft.com/office/drawing/2014/main" id="{7685CEB7-7A03-4AF4-8EF9-4DA6887545E9}"/>
                      </a:ext>
                    </a:extLst>
                  </p:cNvPr>
                  <p:cNvSpPr/>
                  <p:nvPr/>
                </p:nvSpPr>
                <p:spPr>
                  <a:xfrm>
                    <a:off x="2257390" y="2888817"/>
                    <a:ext cx="1381818" cy="1381816"/>
                  </a:xfrm>
                  <a:prstGeom prst="pie">
                    <a:avLst>
                      <a:gd name="adj1" fmla="val 7028905"/>
                      <a:gd name="adj2" fmla="val 16937872"/>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solidFill>
                      <a:effectLst/>
                      <a:uLnTx/>
                      <a:uFillTx/>
                      <a:latin typeface="等线" panose="020F0502020204030204"/>
                      <a:ea typeface="+mn-ea"/>
                      <a:cs typeface="Poppins" panose="02000000000000000000" pitchFamily="2" charset="0"/>
                    </a:endParaRPr>
                  </a:p>
                </p:txBody>
              </p:sp>
              <p:sp>
                <p:nvSpPr>
                  <p:cNvPr id="30" name="Oval 27">
                    <a:extLst>
                      <a:ext uri="{FF2B5EF4-FFF2-40B4-BE49-F238E27FC236}">
                        <a16:creationId xmlns:a16="http://schemas.microsoft.com/office/drawing/2014/main" id="{CB3265F0-3578-483A-B4D3-991D7EA0983C}"/>
                      </a:ext>
                    </a:extLst>
                  </p:cNvPr>
                  <p:cNvSpPr/>
                  <p:nvPr/>
                </p:nvSpPr>
                <p:spPr>
                  <a:xfrm>
                    <a:off x="2382175" y="3013601"/>
                    <a:ext cx="1132249" cy="1132250"/>
                  </a:xfrm>
                  <a:prstGeom prst="ellipse">
                    <a:avLst/>
                  </a:prstGeom>
                  <a:solidFill>
                    <a:schemeClr val="accent1"/>
                  </a:solidFill>
                  <a:ln w="889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等线" panose="020F0502020204030204"/>
                      <a:ea typeface="+mn-ea"/>
                      <a:cs typeface="Poppins" panose="02000000000000000000" pitchFamily="2" charset="0"/>
                    </a:endParaRPr>
                  </a:p>
                </p:txBody>
              </p:sp>
            </p:grpSp>
            <p:sp>
              <p:nvSpPr>
                <p:cNvPr id="27" name="Rectangle 24">
                  <a:extLst>
                    <a:ext uri="{FF2B5EF4-FFF2-40B4-BE49-F238E27FC236}">
                      <a16:creationId xmlns:a16="http://schemas.microsoft.com/office/drawing/2014/main" id="{6569AA09-57D5-4227-9639-A69FBF3F8F75}"/>
                    </a:ext>
                  </a:extLst>
                </p:cNvPr>
                <p:cNvSpPr/>
                <p:nvPr/>
              </p:nvSpPr>
              <p:spPr>
                <a:xfrm flipH="1">
                  <a:off x="4826592" y="2722180"/>
                  <a:ext cx="2602210" cy="1536342"/>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FFFFFF"/>
                      </a:solidFill>
                      <a:effectLst/>
                      <a:uLnTx/>
                      <a:uFillTx/>
                      <a:latin typeface="等线" panose="020F0502020204030204"/>
                      <a:ea typeface="+mn-ea"/>
                      <a:cs typeface="Poppins" panose="02000000000000000000" pitchFamily="2" charset="0"/>
                    </a:rPr>
                    <a:t>60</a:t>
                  </a:r>
                  <a:r>
                    <a:rPr kumimoji="0" lang="en-US" sz="1050" b="1" i="0" u="none" strike="noStrike" kern="1200" cap="none" spc="0" normalizeH="0" baseline="0" noProof="0" dirty="0">
                      <a:ln>
                        <a:noFill/>
                      </a:ln>
                      <a:solidFill>
                        <a:srgbClr val="FFFFFF"/>
                      </a:solidFill>
                      <a:effectLst/>
                      <a:uLnTx/>
                      <a:uFillTx/>
                      <a:latin typeface="等线" panose="020F0502020204030204"/>
                      <a:ea typeface="+mn-ea"/>
                      <a:cs typeface="Poppins" panose="02000000000000000000" pitchFamily="2" charset="0"/>
                    </a:rPr>
                    <a:t>%</a:t>
                  </a:r>
                  <a:endParaRPr kumimoji="0" lang="id-ID" sz="2400" b="1" i="0" u="none" strike="noStrike" kern="1200" cap="none" spc="0" normalizeH="0" baseline="0" noProof="0" dirty="0">
                    <a:ln>
                      <a:noFill/>
                    </a:ln>
                    <a:solidFill>
                      <a:srgbClr val="FFFFFF"/>
                    </a:solidFill>
                    <a:effectLst/>
                    <a:uLnTx/>
                    <a:uFillTx/>
                    <a:latin typeface="等线" panose="020F0502020204030204"/>
                    <a:ea typeface="+mn-ea"/>
                    <a:cs typeface="Poppins" panose="02000000000000000000" pitchFamily="2" charset="0"/>
                  </a:endParaRPr>
                </a:p>
              </p:txBody>
            </p:sp>
          </p:grpSp>
          <p:sp>
            <p:nvSpPr>
              <p:cNvPr id="25" name="Rectangle 22">
                <a:extLst>
                  <a:ext uri="{FF2B5EF4-FFF2-40B4-BE49-F238E27FC236}">
                    <a16:creationId xmlns:a16="http://schemas.microsoft.com/office/drawing/2014/main" id="{2D6941AB-200F-42E6-9685-F27E1476DECD}"/>
                  </a:ext>
                </a:extLst>
              </p:cNvPr>
              <p:cNvSpPr/>
              <p:nvPr/>
            </p:nvSpPr>
            <p:spPr>
              <a:xfrm>
                <a:off x="6856737" y="3159764"/>
                <a:ext cx="3338011" cy="615753"/>
              </a:xfrm>
              <a:prstGeom prst="rect">
                <a:avLst/>
              </a:prstGeom>
            </p:spPr>
            <p:txBody>
              <a:bodyPr wrap="square">
                <a:spAutoFit/>
              </a:bodyPr>
              <a:lstStyle/>
              <a:p>
                <a:pPr marL="0" marR="0" lvl="0" indent="0" algn="ctr" defTabSz="914400" rtl="0" eaLnBrk="1" fontAlgn="auto" latinLnBrk="0" hangingPunct="1">
                  <a:lnSpc>
                    <a:spcPct val="13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等线" panose="020F0502020204030204"/>
                    <a:ea typeface="+mn-ea"/>
                    <a:cs typeface="Poppins" panose="00000500000000000000" pitchFamily="2" charset="0"/>
                  </a:rPr>
                  <a:t>Second Handling</a:t>
                </a:r>
                <a:endParaRPr kumimoji="0" lang="id-ID" sz="1200" b="1" i="0" u="none" strike="noStrike" kern="1200" cap="none" spc="0" normalizeH="0" baseline="0" noProof="0" dirty="0">
                  <a:ln>
                    <a:noFill/>
                  </a:ln>
                  <a:solidFill>
                    <a:srgbClr val="FFFFFF"/>
                  </a:solidFill>
                  <a:effectLst/>
                  <a:uLnTx/>
                  <a:uFillTx/>
                  <a:latin typeface="等线" panose="020F0502020204030204"/>
                  <a:ea typeface="+mn-ea"/>
                  <a:cs typeface="Poppins" panose="00000500000000000000" pitchFamily="2" charset="0"/>
                </a:endParaRPr>
              </a:p>
            </p:txBody>
          </p:sp>
        </p:grpSp>
      </p:grpSp>
      <p:grpSp>
        <p:nvGrpSpPr>
          <p:cNvPr id="31" name="Group 31">
            <a:extLst>
              <a:ext uri="{FF2B5EF4-FFF2-40B4-BE49-F238E27FC236}">
                <a16:creationId xmlns:a16="http://schemas.microsoft.com/office/drawing/2014/main" id="{9BDC89C3-D2D6-4C16-966F-9910B65C48F6}"/>
              </a:ext>
            </a:extLst>
          </p:cNvPr>
          <p:cNvGrpSpPr/>
          <p:nvPr/>
        </p:nvGrpSpPr>
        <p:grpSpPr>
          <a:xfrm flipH="1">
            <a:off x="2953324" y="1109184"/>
            <a:ext cx="261290" cy="933948"/>
            <a:chOff x="7895478" y="1585784"/>
            <a:chExt cx="261290" cy="933948"/>
          </a:xfrm>
        </p:grpSpPr>
        <p:cxnSp>
          <p:nvCxnSpPr>
            <p:cNvPr id="32" name="Straight Connector 32">
              <a:extLst>
                <a:ext uri="{FF2B5EF4-FFF2-40B4-BE49-F238E27FC236}">
                  <a16:creationId xmlns:a16="http://schemas.microsoft.com/office/drawing/2014/main" id="{44F4BF16-A4B4-4EB7-A0CB-E3C690D9DF25}"/>
                </a:ext>
              </a:extLst>
            </p:cNvPr>
            <p:cNvCxnSpPr/>
            <p:nvPr/>
          </p:nvCxnSpPr>
          <p:spPr>
            <a:xfrm flipV="1">
              <a:off x="7895478" y="1585785"/>
              <a:ext cx="0" cy="933947"/>
            </a:xfrm>
            <a:prstGeom prst="line">
              <a:avLst/>
            </a:prstGeom>
            <a:ln w="19050" cmpd="sng">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3" name="Straight Connector 33">
              <a:extLst>
                <a:ext uri="{FF2B5EF4-FFF2-40B4-BE49-F238E27FC236}">
                  <a16:creationId xmlns:a16="http://schemas.microsoft.com/office/drawing/2014/main" id="{DEAA8663-2A67-4F07-AADC-891AC5D91A57}"/>
                </a:ext>
              </a:extLst>
            </p:cNvPr>
            <p:cNvCxnSpPr/>
            <p:nvPr/>
          </p:nvCxnSpPr>
          <p:spPr>
            <a:xfrm>
              <a:off x="7895478" y="1585784"/>
              <a:ext cx="261290" cy="0"/>
            </a:xfrm>
            <a:prstGeom prst="line">
              <a:avLst/>
            </a:prstGeom>
            <a:ln w="19050" cmpd="sng">
              <a:solidFill>
                <a:schemeClr val="bg1">
                  <a:lumMod val="75000"/>
                </a:schemeClr>
              </a:solidFill>
              <a:prstDash val="sysDot"/>
              <a:tailEnd type="oval"/>
            </a:ln>
          </p:spPr>
          <p:style>
            <a:lnRef idx="1">
              <a:schemeClr val="accent1"/>
            </a:lnRef>
            <a:fillRef idx="0">
              <a:schemeClr val="accent1"/>
            </a:fillRef>
            <a:effectRef idx="0">
              <a:schemeClr val="accent1"/>
            </a:effectRef>
            <a:fontRef idx="minor">
              <a:schemeClr val="tx1"/>
            </a:fontRef>
          </p:style>
        </p:cxnSp>
      </p:grpSp>
      <p:grpSp>
        <p:nvGrpSpPr>
          <p:cNvPr id="34" name="Group 34">
            <a:extLst>
              <a:ext uri="{FF2B5EF4-FFF2-40B4-BE49-F238E27FC236}">
                <a16:creationId xmlns:a16="http://schemas.microsoft.com/office/drawing/2014/main" id="{4EDB1669-98F6-4C83-A08F-90D0A734321D}"/>
              </a:ext>
            </a:extLst>
          </p:cNvPr>
          <p:cNvGrpSpPr/>
          <p:nvPr/>
        </p:nvGrpSpPr>
        <p:grpSpPr>
          <a:xfrm>
            <a:off x="4457637" y="2364460"/>
            <a:ext cx="261290" cy="933948"/>
            <a:chOff x="7895478" y="1585784"/>
            <a:chExt cx="261290" cy="933948"/>
          </a:xfrm>
        </p:grpSpPr>
        <p:cxnSp>
          <p:nvCxnSpPr>
            <p:cNvPr id="35" name="Straight Connector 35">
              <a:extLst>
                <a:ext uri="{FF2B5EF4-FFF2-40B4-BE49-F238E27FC236}">
                  <a16:creationId xmlns:a16="http://schemas.microsoft.com/office/drawing/2014/main" id="{8D7A13F5-C9AE-46E5-86C6-002B755DA9D1}"/>
                </a:ext>
              </a:extLst>
            </p:cNvPr>
            <p:cNvCxnSpPr/>
            <p:nvPr/>
          </p:nvCxnSpPr>
          <p:spPr>
            <a:xfrm flipV="1">
              <a:off x="7895478" y="1585785"/>
              <a:ext cx="0" cy="933947"/>
            </a:xfrm>
            <a:prstGeom prst="line">
              <a:avLst/>
            </a:prstGeom>
            <a:ln w="19050" cmpd="sng">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6" name="Straight Connector 36">
              <a:extLst>
                <a:ext uri="{FF2B5EF4-FFF2-40B4-BE49-F238E27FC236}">
                  <a16:creationId xmlns:a16="http://schemas.microsoft.com/office/drawing/2014/main" id="{70E47736-961B-4989-AFEF-8A7425BDB57E}"/>
                </a:ext>
              </a:extLst>
            </p:cNvPr>
            <p:cNvCxnSpPr/>
            <p:nvPr/>
          </p:nvCxnSpPr>
          <p:spPr>
            <a:xfrm>
              <a:off x="7895478" y="1585784"/>
              <a:ext cx="261290" cy="0"/>
            </a:xfrm>
            <a:prstGeom prst="line">
              <a:avLst/>
            </a:prstGeom>
            <a:ln w="19050" cmpd="sng">
              <a:solidFill>
                <a:schemeClr val="bg1">
                  <a:lumMod val="75000"/>
                </a:schemeClr>
              </a:solidFill>
              <a:prstDash val="sysDot"/>
              <a:tailEnd type="oval"/>
            </a:ln>
          </p:spPr>
          <p:style>
            <a:lnRef idx="1">
              <a:schemeClr val="accent1"/>
            </a:lnRef>
            <a:fillRef idx="0">
              <a:schemeClr val="accent1"/>
            </a:fillRef>
            <a:effectRef idx="0">
              <a:schemeClr val="accent1"/>
            </a:effectRef>
            <a:fontRef idx="minor">
              <a:schemeClr val="tx1"/>
            </a:fontRef>
          </p:style>
        </p:cxnSp>
      </p:grpSp>
      <p:grpSp>
        <p:nvGrpSpPr>
          <p:cNvPr id="37" name="Group 37">
            <a:extLst>
              <a:ext uri="{FF2B5EF4-FFF2-40B4-BE49-F238E27FC236}">
                <a16:creationId xmlns:a16="http://schemas.microsoft.com/office/drawing/2014/main" id="{0E7C46D8-874F-4C0C-9F48-1F13588F45E5}"/>
              </a:ext>
            </a:extLst>
          </p:cNvPr>
          <p:cNvGrpSpPr/>
          <p:nvPr/>
        </p:nvGrpSpPr>
        <p:grpSpPr>
          <a:xfrm flipH="1" flipV="1">
            <a:off x="2199506" y="3206279"/>
            <a:ext cx="261290" cy="933948"/>
            <a:chOff x="7895478" y="1585784"/>
            <a:chExt cx="261290" cy="933948"/>
          </a:xfrm>
        </p:grpSpPr>
        <p:cxnSp>
          <p:nvCxnSpPr>
            <p:cNvPr id="38" name="Straight Connector 38">
              <a:extLst>
                <a:ext uri="{FF2B5EF4-FFF2-40B4-BE49-F238E27FC236}">
                  <a16:creationId xmlns:a16="http://schemas.microsoft.com/office/drawing/2014/main" id="{9235B8F9-9637-437C-8875-D7D7E9A7177F}"/>
                </a:ext>
              </a:extLst>
            </p:cNvPr>
            <p:cNvCxnSpPr/>
            <p:nvPr/>
          </p:nvCxnSpPr>
          <p:spPr>
            <a:xfrm flipV="1">
              <a:off x="7895478" y="1585785"/>
              <a:ext cx="0" cy="933947"/>
            </a:xfrm>
            <a:prstGeom prst="line">
              <a:avLst/>
            </a:prstGeom>
            <a:ln w="19050" cmpd="sng">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9" name="Straight Connector 39">
              <a:extLst>
                <a:ext uri="{FF2B5EF4-FFF2-40B4-BE49-F238E27FC236}">
                  <a16:creationId xmlns:a16="http://schemas.microsoft.com/office/drawing/2014/main" id="{AE581BB9-8C90-4751-A7E8-40F33543BA5A}"/>
                </a:ext>
              </a:extLst>
            </p:cNvPr>
            <p:cNvCxnSpPr/>
            <p:nvPr/>
          </p:nvCxnSpPr>
          <p:spPr>
            <a:xfrm>
              <a:off x="7895478" y="1585784"/>
              <a:ext cx="261290" cy="0"/>
            </a:xfrm>
            <a:prstGeom prst="line">
              <a:avLst/>
            </a:prstGeom>
            <a:ln w="19050" cmpd="sng">
              <a:solidFill>
                <a:schemeClr val="bg1">
                  <a:lumMod val="75000"/>
                </a:schemeClr>
              </a:solidFill>
              <a:prstDash val="sysDot"/>
              <a:tailEnd type="oval"/>
            </a:ln>
          </p:spPr>
          <p:style>
            <a:lnRef idx="1">
              <a:schemeClr val="accent1"/>
            </a:lnRef>
            <a:fillRef idx="0">
              <a:schemeClr val="accent1"/>
            </a:fillRef>
            <a:effectRef idx="0">
              <a:schemeClr val="accent1"/>
            </a:effectRef>
            <a:fontRef idx="minor">
              <a:schemeClr val="tx1"/>
            </a:fontRef>
          </p:style>
        </p:cxnSp>
      </p:grpSp>
      <p:sp>
        <p:nvSpPr>
          <p:cNvPr id="40" name="Rectangle 41">
            <a:extLst>
              <a:ext uri="{FF2B5EF4-FFF2-40B4-BE49-F238E27FC236}">
                <a16:creationId xmlns:a16="http://schemas.microsoft.com/office/drawing/2014/main" id="{200B9D1E-5F21-404B-8F88-F0CC4A36AAED}"/>
              </a:ext>
            </a:extLst>
          </p:cNvPr>
          <p:cNvSpPr/>
          <p:nvPr/>
        </p:nvSpPr>
        <p:spPr>
          <a:xfrm>
            <a:off x="4826454" y="2170511"/>
            <a:ext cx="1435008" cy="379078"/>
          </a:xfrm>
          <a:prstGeom prst="rect">
            <a:avLst/>
          </a:prstGeom>
        </p:spPr>
        <p:txBody>
          <a:bodyPr wrap="square">
            <a:spAutoFit/>
          </a:bodyPr>
          <a:lstStyle/>
          <a:p>
            <a:pPr marL="0" marR="0" lvl="0" indent="0" algn="l" defTabSz="914400" rtl="0" eaLnBrk="1" fontAlgn="auto" latinLnBrk="0" hangingPunct="1">
              <a:lnSpc>
                <a:spcPct val="130000"/>
              </a:lnSpc>
              <a:spcBef>
                <a:spcPts val="0"/>
              </a:spcBef>
              <a:spcAft>
                <a:spcPts val="0"/>
              </a:spcAft>
              <a:buClrTx/>
              <a:buSzTx/>
              <a:buFontTx/>
              <a:buNone/>
              <a:tabLst/>
              <a:defRPr/>
            </a:pPr>
            <a:r>
              <a:rPr kumimoji="0" lang="da-DK" sz="1600" b="1" i="0" u="none" strike="noStrike" kern="1200" cap="none" spc="0" normalizeH="0" baseline="0" noProof="0" dirty="0">
                <a:ln>
                  <a:noFill/>
                </a:ln>
                <a:solidFill>
                  <a:srgbClr val="FFD229"/>
                </a:solidFill>
                <a:effectLst/>
                <a:uLnTx/>
                <a:uFillTx/>
                <a:latin typeface="等线" panose="020F0502020204030204"/>
                <a:ea typeface="+mn-ea"/>
                <a:cs typeface="Poppins" panose="00000500000000000000" pitchFamily="2" charset="0"/>
              </a:rPr>
              <a:t>Code</a:t>
            </a:r>
          </a:p>
        </p:txBody>
      </p:sp>
      <p:sp>
        <p:nvSpPr>
          <p:cNvPr id="41" name="Rectangle 44">
            <a:extLst>
              <a:ext uri="{FF2B5EF4-FFF2-40B4-BE49-F238E27FC236}">
                <a16:creationId xmlns:a16="http://schemas.microsoft.com/office/drawing/2014/main" id="{8859DC51-B2D6-428C-8E37-79E758BF1E83}"/>
              </a:ext>
            </a:extLst>
          </p:cNvPr>
          <p:cNvSpPr/>
          <p:nvPr/>
        </p:nvSpPr>
        <p:spPr>
          <a:xfrm>
            <a:off x="443117" y="3931185"/>
            <a:ext cx="1435008" cy="379078"/>
          </a:xfrm>
          <a:prstGeom prst="rect">
            <a:avLst/>
          </a:prstGeom>
        </p:spPr>
        <p:txBody>
          <a:bodyPr wrap="square">
            <a:spAutoFit/>
          </a:bodyPr>
          <a:lstStyle/>
          <a:p>
            <a:pPr marL="0" marR="0" lvl="0" indent="0" algn="r" defTabSz="914400" rtl="0" eaLnBrk="1" fontAlgn="auto" latinLnBrk="0" hangingPunct="1">
              <a:lnSpc>
                <a:spcPct val="130000"/>
              </a:lnSpc>
              <a:spcBef>
                <a:spcPts val="0"/>
              </a:spcBef>
              <a:spcAft>
                <a:spcPts val="0"/>
              </a:spcAft>
              <a:buClrTx/>
              <a:buSzTx/>
              <a:buFontTx/>
              <a:buNone/>
              <a:tabLst/>
              <a:defRPr/>
            </a:pPr>
            <a:r>
              <a:rPr kumimoji="0" lang="da-DK" sz="1600" b="1" i="0" u="none" strike="noStrike" kern="1200" cap="none" spc="0" normalizeH="0" baseline="0" noProof="0" dirty="0">
                <a:ln>
                  <a:noFill/>
                </a:ln>
                <a:solidFill>
                  <a:srgbClr val="FF4C38"/>
                </a:solidFill>
                <a:effectLst/>
                <a:uLnTx/>
                <a:uFillTx/>
                <a:latin typeface="等线" panose="020F0502020204030204"/>
                <a:ea typeface="+mn-ea"/>
                <a:cs typeface="Poppins" panose="00000500000000000000" pitchFamily="2" charset="0"/>
              </a:rPr>
              <a:t>Design</a:t>
            </a:r>
          </a:p>
        </p:txBody>
      </p:sp>
      <p:sp>
        <p:nvSpPr>
          <p:cNvPr id="42" name="Rectangle 47">
            <a:extLst>
              <a:ext uri="{FF2B5EF4-FFF2-40B4-BE49-F238E27FC236}">
                <a16:creationId xmlns:a16="http://schemas.microsoft.com/office/drawing/2014/main" id="{58BF0FA1-EF6A-47DE-ABEC-E3537BCACF6A}"/>
              </a:ext>
            </a:extLst>
          </p:cNvPr>
          <p:cNvSpPr/>
          <p:nvPr/>
        </p:nvSpPr>
        <p:spPr>
          <a:xfrm>
            <a:off x="1277215" y="938214"/>
            <a:ext cx="1435008" cy="379078"/>
          </a:xfrm>
          <a:prstGeom prst="rect">
            <a:avLst/>
          </a:prstGeom>
        </p:spPr>
        <p:txBody>
          <a:bodyPr wrap="square">
            <a:spAutoFit/>
          </a:bodyPr>
          <a:lstStyle/>
          <a:p>
            <a:pPr marL="0" marR="0" lvl="0" indent="0" algn="r" defTabSz="914400" rtl="0" eaLnBrk="1" fontAlgn="auto" latinLnBrk="0" hangingPunct="1">
              <a:lnSpc>
                <a:spcPct val="130000"/>
              </a:lnSpc>
              <a:spcBef>
                <a:spcPts val="0"/>
              </a:spcBef>
              <a:spcAft>
                <a:spcPts val="0"/>
              </a:spcAft>
              <a:buClrTx/>
              <a:buSzTx/>
              <a:buFontTx/>
              <a:buNone/>
              <a:tabLst/>
              <a:defRPr/>
            </a:pPr>
            <a:r>
              <a:rPr kumimoji="0" lang="da-DK" sz="1600" b="1" i="0" u="none" strike="noStrike" kern="1200" cap="none" spc="0" normalizeH="0" baseline="0" noProof="0" dirty="0">
                <a:ln>
                  <a:noFill/>
                </a:ln>
                <a:solidFill>
                  <a:srgbClr val="FF388A"/>
                </a:solidFill>
                <a:effectLst/>
                <a:uLnTx/>
                <a:uFillTx/>
                <a:latin typeface="等线" panose="020F0502020204030204"/>
                <a:ea typeface="+mn-ea"/>
                <a:cs typeface="Poppins" panose="00000500000000000000" pitchFamily="2" charset="0"/>
              </a:rPr>
              <a:t>Analysis</a:t>
            </a:r>
          </a:p>
        </p:txBody>
      </p:sp>
      <p:sp>
        <p:nvSpPr>
          <p:cNvPr id="43" name="TextBox 45">
            <a:extLst>
              <a:ext uri="{FF2B5EF4-FFF2-40B4-BE49-F238E27FC236}">
                <a16:creationId xmlns:a16="http://schemas.microsoft.com/office/drawing/2014/main" id="{218E066C-2813-4E74-8346-90B12F68F875}"/>
              </a:ext>
            </a:extLst>
          </p:cNvPr>
          <p:cNvSpPr txBox="1"/>
          <p:nvPr/>
        </p:nvSpPr>
        <p:spPr>
          <a:xfrm>
            <a:off x="6772734" y="1507995"/>
            <a:ext cx="4619626" cy="132343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0" b="1" i="0" u="none" strike="noStrike" kern="1200" cap="none" spc="0" normalizeH="0" baseline="0" noProof="0" dirty="0">
                <a:ln>
                  <a:noFill/>
                </a:ln>
                <a:solidFill>
                  <a:srgbClr val="000000">
                    <a:lumMod val="85000"/>
                    <a:lumOff val="15000"/>
                  </a:srgbClr>
                </a:solidFill>
                <a:effectLst/>
                <a:uLnTx/>
                <a:uFillTx/>
                <a:latin typeface="等线 Light" panose="020F0302020204030204"/>
                <a:ea typeface="+mn-ea"/>
                <a:cs typeface="Arial" panose="020B0604020202020204" pitchFamily="34" charset="0"/>
              </a:rPr>
              <a:t>Your Title </a:t>
            </a:r>
            <a:r>
              <a:rPr kumimoji="0" lang="en-US" sz="4000" b="1" i="0" u="none" strike="noStrike" kern="1200" cap="none" spc="0" normalizeH="0" baseline="0" noProof="0">
                <a:ln>
                  <a:noFill/>
                </a:ln>
                <a:solidFill>
                  <a:srgbClr val="000000">
                    <a:lumMod val="85000"/>
                    <a:lumOff val="15000"/>
                  </a:srgbClr>
                </a:solidFill>
                <a:effectLst/>
                <a:uLnTx/>
                <a:uFillTx/>
                <a:latin typeface="等线 Light" panose="020F0302020204030204"/>
                <a:ea typeface="+mn-ea"/>
                <a:cs typeface="Arial" panose="020B0604020202020204" pitchFamily="34" charset="0"/>
              </a:rPr>
              <a:t>Tex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0" b="1" i="0" u="none" strike="noStrike" kern="1200" cap="none" spc="0" normalizeH="0" baseline="0" noProof="0">
                <a:ln>
                  <a:noFill/>
                </a:ln>
                <a:solidFill>
                  <a:srgbClr val="000000">
                    <a:lumMod val="85000"/>
                    <a:lumOff val="15000"/>
                  </a:srgbClr>
                </a:solidFill>
                <a:effectLst/>
                <a:uLnTx/>
                <a:uFillTx/>
                <a:latin typeface="等线 Light" panose="020F0302020204030204"/>
                <a:ea typeface="+mn-ea"/>
                <a:cs typeface="Arial" panose="020B0604020202020204" pitchFamily="34" charset="0"/>
              </a:rPr>
              <a:t>Goes </a:t>
            </a:r>
            <a:r>
              <a:rPr kumimoji="0" lang="en-US" sz="4000" b="1" i="0" u="none" strike="noStrike" kern="1200" cap="none" spc="0" normalizeH="0" baseline="0" noProof="0" dirty="0">
                <a:ln>
                  <a:noFill/>
                </a:ln>
                <a:solidFill>
                  <a:srgbClr val="000000">
                    <a:lumMod val="85000"/>
                    <a:lumOff val="15000"/>
                  </a:srgbClr>
                </a:solidFill>
                <a:effectLst/>
                <a:uLnTx/>
                <a:uFillTx/>
                <a:latin typeface="等线 Light" panose="020F0302020204030204"/>
                <a:ea typeface="+mn-ea"/>
                <a:cs typeface="Arial" panose="020B0604020202020204" pitchFamily="34" charset="0"/>
              </a:rPr>
              <a:t>Here</a:t>
            </a:r>
          </a:p>
        </p:txBody>
      </p:sp>
      <p:sp>
        <p:nvSpPr>
          <p:cNvPr id="44" name="TextBox 46">
            <a:extLst>
              <a:ext uri="{FF2B5EF4-FFF2-40B4-BE49-F238E27FC236}">
                <a16:creationId xmlns:a16="http://schemas.microsoft.com/office/drawing/2014/main" id="{6405791E-7759-42F1-A843-4D51193104B1}"/>
              </a:ext>
            </a:extLst>
          </p:cNvPr>
          <p:cNvSpPr txBox="1"/>
          <p:nvPr/>
        </p:nvSpPr>
        <p:spPr>
          <a:xfrm>
            <a:off x="6820360" y="2943081"/>
            <a:ext cx="4572000" cy="623312"/>
          </a:xfrm>
          <a:prstGeom prst="rect">
            <a:avLst/>
          </a:prstGeom>
          <a:noFill/>
        </p:spPr>
        <p:txBody>
          <a:bodyPr wrap="square" rtlCol="0">
            <a:spAutoFit/>
          </a:bodyPr>
          <a:lstStyle/>
          <a:p>
            <a:pPr marL="0" marR="0" lvl="0" indent="0" algn="just" defTabSz="914400" rtl="0" eaLnBrk="1" fontAlgn="auto" latinLnBrk="0" hangingPunct="1">
              <a:lnSpc>
                <a:spcPct val="13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000000">
                    <a:lumMod val="65000"/>
                    <a:lumOff val="35000"/>
                  </a:srgbClr>
                </a:solidFill>
                <a:effectLst/>
                <a:uLnTx/>
                <a:uFillTx/>
                <a:latin typeface="等线" panose="020F0502020204030204"/>
                <a:ea typeface="Open Sans" panose="020B0606030504020204" pitchFamily="34" charset="0"/>
                <a:cs typeface="Segoe UI" panose="020B0502040204020203" pitchFamily="34" charset="0"/>
              </a:rPr>
              <a:t>Leverage agile frameworks to provide a robust synopsis for high level overviews.</a:t>
            </a:r>
          </a:p>
        </p:txBody>
      </p:sp>
    </p:spTree>
    <p:extLst>
      <p:ext uri="{BB962C8B-B14F-4D97-AF65-F5344CB8AC3E}">
        <p14:creationId xmlns:p14="http://schemas.microsoft.com/office/powerpoint/2010/main" val="3802483191"/>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750" fill="hold"/>
                                        <p:tgtEl>
                                          <p:spTgt spid="2"/>
                                        </p:tgtEl>
                                        <p:attrNameLst>
                                          <p:attrName>ppt_x</p:attrName>
                                        </p:attrNameLst>
                                      </p:cBhvr>
                                      <p:tavLst>
                                        <p:tav tm="0">
                                          <p:val>
                                            <p:strVal val="0-#ppt_w/2"/>
                                          </p:val>
                                        </p:tav>
                                        <p:tav tm="100000">
                                          <p:val>
                                            <p:strVal val="#ppt_x"/>
                                          </p:val>
                                        </p:tav>
                                      </p:tavLst>
                                    </p:anim>
                                    <p:anim calcmode="lin" valueType="num">
                                      <p:cBhvr additive="base">
                                        <p:cTn id="8" dur="750" fill="hold"/>
                                        <p:tgtEl>
                                          <p:spTgt spid="2"/>
                                        </p:tgtEl>
                                        <p:attrNameLst>
                                          <p:attrName>ppt_y</p:attrName>
                                        </p:attrNameLst>
                                      </p:cBhvr>
                                      <p:tavLst>
                                        <p:tav tm="0">
                                          <p:val>
                                            <p:strVal val="#ppt_y"/>
                                          </p:val>
                                        </p:tav>
                                        <p:tav tm="100000">
                                          <p:val>
                                            <p:strVal val="#ppt_y"/>
                                          </p:val>
                                        </p:tav>
                                      </p:tavLst>
                                    </p:anim>
                                  </p:childTnLst>
                                </p:cTn>
                              </p:par>
                              <p:par>
                                <p:cTn id="9" presetID="22" presetClass="entr" presetSubtype="4" fill="hold" nodeType="withEffect">
                                  <p:stCondLst>
                                    <p:cond delay="500"/>
                                  </p:stCondLst>
                                  <p:childTnLst>
                                    <p:set>
                                      <p:cBhvr>
                                        <p:cTn id="10" dur="1" fill="hold">
                                          <p:stCondLst>
                                            <p:cond delay="0"/>
                                          </p:stCondLst>
                                        </p:cTn>
                                        <p:tgtEl>
                                          <p:spTgt spid="31"/>
                                        </p:tgtEl>
                                        <p:attrNameLst>
                                          <p:attrName>style.visibility</p:attrName>
                                        </p:attrNameLst>
                                      </p:cBhvr>
                                      <p:to>
                                        <p:strVal val="visible"/>
                                      </p:to>
                                    </p:set>
                                    <p:animEffect transition="in" filter="wipe(down)">
                                      <p:cBhvr>
                                        <p:cTn id="11" dur="500"/>
                                        <p:tgtEl>
                                          <p:spTgt spid="31"/>
                                        </p:tgtEl>
                                      </p:cBhvr>
                                    </p:animEffect>
                                  </p:childTnLst>
                                </p:cTn>
                              </p:par>
                              <p:par>
                                <p:cTn id="12" presetID="22" presetClass="entr" presetSubtype="4" fill="hold" nodeType="withEffect">
                                  <p:stCondLst>
                                    <p:cond delay="500"/>
                                  </p:stCondLst>
                                  <p:childTnLst>
                                    <p:set>
                                      <p:cBhvr>
                                        <p:cTn id="13" dur="1" fill="hold">
                                          <p:stCondLst>
                                            <p:cond delay="0"/>
                                          </p:stCondLst>
                                        </p:cTn>
                                        <p:tgtEl>
                                          <p:spTgt spid="34"/>
                                        </p:tgtEl>
                                        <p:attrNameLst>
                                          <p:attrName>style.visibility</p:attrName>
                                        </p:attrNameLst>
                                      </p:cBhvr>
                                      <p:to>
                                        <p:strVal val="visible"/>
                                      </p:to>
                                    </p:set>
                                    <p:animEffect transition="in" filter="wipe(down)">
                                      <p:cBhvr>
                                        <p:cTn id="14" dur="500"/>
                                        <p:tgtEl>
                                          <p:spTgt spid="34"/>
                                        </p:tgtEl>
                                      </p:cBhvr>
                                    </p:animEffect>
                                  </p:childTnLst>
                                </p:cTn>
                              </p:par>
                              <p:par>
                                <p:cTn id="15" presetID="22" presetClass="entr" presetSubtype="1" fill="hold" nodeType="withEffect">
                                  <p:stCondLst>
                                    <p:cond delay="500"/>
                                  </p:stCondLst>
                                  <p:childTnLst>
                                    <p:set>
                                      <p:cBhvr>
                                        <p:cTn id="16" dur="1" fill="hold">
                                          <p:stCondLst>
                                            <p:cond delay="0"/>
                                          </p:stCondLst>
                                        </p:cTn>
                                        <p:tgtEl>
                                          <p:spTgt spid="37"/>
                                        </p:tgtEl>
                                        <p:attrNameLst>
                                          <p:attrName>style.visibility</p:attrName>
                                        </p:attrNameLst>
                                      </p:cBhvr>
                                      <p:to>
                                        <p:strVal val="visible"/>
                                      </p:to>
                                    </p:set>
                                    <p:animEffect transition="in" filter="wipe(up)">
                                      <p:cBhvr>
                                        <p:cTn id="17" dur="500"/>
                                        <p:tgtEl>
                                          <p:spTgt spid="37"/>
                                        </p:tgtEl>
                                      </p:cBhvr>
                                    </p:animEffect>
                                  </p:childTnLst>
                                </p:cTn>
                              </p:par>
                              <p:par>
                                <p:cTn id="18" presetID="10" presetClass="entr" presetSubtype="0" fill="hold" grpId="0" nodeType="withEffect">
                                  <p:stCondLst>
                                    <p:cond delay="750"/>
                                  </p:stCondLst>
                                  <p:childTnLst>
                                    <p:set>
                                      <p:cBhvr>
                                        <p:cTn id="19" dur="1" fill="hold">
                                          <p:stCondLst>
                                            <p:cond delay="0"/>
                                          </p:stCondLst>
                                        </p:cTn>
                                        <p:tgtEl>
                                          <p:spTgt spid="40"/>
                                        </p:tgtEl>
                                        <p:attrNameLst>
                                          <p:attrName>style.visibility</p:attrName>
                                        </p:attrNameLst>
                                      </p:cBhvr>
                                      <p:to>
                                        <p:strVal val="visible"/>
                                      </p:to>
                                    </p:set>
                                    <p:animEffect transition="in" filter="fade">
                                      <p:cBhvr>
                                        <p:cTn id="20" dur="500"/>
                                        <p:tgtEl>
                                          <p:spTgt spid="40"/>
                                        </p:tgtEl>
                                      </p:cBhvr>
                                    </p:animEffect>
                                  </p:childTnLst>
                                </p:cTn>
                              </p:par>
                              <p:par>
                                <p:cTn id="21" presetID="10" presetClass="entr" presetSubtype="0" fill="hold" grpId="0" nodeType="withEffect">
                                  <p:stCondLst>
                                    <p:cond delay="750"/>
                                  </p:stCondLst>
                                  <p:childTnLst>
                                    <p:set>
                                      <p:cBhvr>
                                        <p:cTn id="22" dur="1" fill="hold">
                                          <p:stCondLst>
                                            <p:cond delay="0"/>
                                          </p:stCondLst>
                                        </p:cTn>
                                        <p:tgtEl>
                                          <p:spTgt spid="42"/>
                                        </p:tgtEl>
                                        <p:attrNameLst>
                                          <p:attrName>style.visibility</p:attrName>
                                        </p:attrNameLst>
                                      </p:cBhvr>
                                      <p:to>
                                        <p:strVal val="visible"/>
                                      </p:to>
                                    </p:set>
                                    <p:animEffect transition="in" filter="fade">
                                      <p:cBhvr>
                                        <p:cTn id="23" dur="500"/>
                                        <p:tgtEl>
                                          <p:spTgt spid="42"/>
                                        </p:tgtEl>
                                      </p:cBhvr>
                                    </p:animEffect>
                                  </p:childTnLst>
                                </p:cTn>
                              </p:par>
                              <p:par>
                                <p:cTn id="24" presetID="10" presetClass="entr" presetSubtype="0" fill="hold" grpId="0" nodeType="withEffect">
                                  <p:stCondLst>
                                    <p:cond delay="750"/>
                                  </p:stCondLst>
                                  <p:childTnLst>
                                    <p:set>
                                      <p:cBhvr>
                                        <p:cTn id="25" dur="1" fill="hold">
                                          <p:stCondLst>
                                            <p:cond delay="0"/>
                                          </p:stCondLst>
                                        </p:cTn>
                                        <p:tgtEl>
                                          <p:spTgt spid="41"/>
                                        </p:tgtEl>
                                        <p:attrNameLst>
                                          <p:attrName>style.visibility</p:attrName>
                                        </p:attrNameLst>
                                      </p:cBhvr>
                                      <p:to>
                                        <p:strVal val="visible"/>
                                      </p:to>
                                    </p:set>
                                    <p:animEffect transition="in" filter="fade">
                                      <p:cBhvr>
                                        <p:cTn id="26" dur="500"/>
                                        <p:tgtEl>
                                          <p:spTgt spid="41"/>
                                        </p:tgtEl>
                                      </p:cBhvr>
                                    </p:animEffect>
                                  </p:childTnLst>
                                </p:cTn>
                              </p:par>
                              <p:par>
                                <p:cTn id="27" presetID="18" presetClass="entr" presetSubtype="3" fill="hold" grpId="0" nodeType="withEffect">
                                  <p:stCondLst>
                                    <p:cond delay="0"/>
                                  </p:stCondLst>
                                  <p:childTnLst>
                                    <p:set>
                                      <p:cBhvr>
                                        <p:cTn id="28" dur="1" fill="hold">
                                          <p:stCondLst>
                                            <p:cond delay="0"/>
                                          </p:stCondLst>
                                        </p:cTn>
                                        <p:tgtEl>
                                          <p:spTgt spid="43"/>
                                        </p:tgtEl>
                                        <p:attrNameLst>
                                          <p:attrName>style.visibility</p:attrName>
                                        </p:attrNameLst>
                                      </p:cBhvr>
                                      <p:to>
                                        <p:strVal val="visible"/>
                                      </p:to>
                                    </p:set>
                                    <p:animEffect transition="in" filter="strips(upRight)">
                                      <p:cBhvr>
                                        <p:cTn id="29" dur="500"/>
                                        <p:tgtEl>
                                          <p:spTgt spid="43"/>
                                        </p:tgtEl>
                                      </p:cBhvr>
                                    </p:animEffect>
                                  </p:childTnLst>
                                </p:cTn>
                              </p:par>
                              <p:par>
                                <p:cTn id="30" presetID="6" presetClass="emph" presetSubtype="0" accel="52000" decel="48000" autoRev="1" fill="hold" grpId="1" nodeType="withEffect">
                                  <p:stCondLst>
                                    <p:cond delay="0"/>
                                  </p:stCondLst>
                                  <p:childTnLst>
                                    <p:animScale>
                                      <p:cBhvr>
                                        <p:cTn id="31" dur="350" fill="hold"/>
                                        <p:tgtEl>
                                          <p:spTgt spid="43"/>
                                        </p:tgtEl>
                                      </p:cBhvr>
                                      <p:by x="110000" y="110000"/>
                                    </p:animScale>
                                  </p:childTnLst>
                                </p:cTn>
                              </p:par>
                              <p:par>
                                <p:cTn id="32" presetID="10" presetClass="entr" presetSubtype="0" fill="hold" grpId="0" nodeType="withEffect">
                                  <p:stCondLst>
                                    <p:cond delay="500"/>
                                  </p:stCondLst>
                                  <p:childTnLst>
                                    <p:set>
                                      <p:cBhvr>
                                        <p:cTn id="33" dur="1" fill="hold">
                                          <p:stCondLst>
                                            <p:cond delay="0"/>
                                          </p:stCondLst>
                                        </p:cTn>
                                        <p:tgtEl>
                                          <p:spTgt spid="44"/>
                                        </p:tgtEl>
                                        <p:attrNameLst>
                                          <p:attrName>style.visibility</p:attrName>
                                        </p:attrNameLst>
                                      </p:cBhvr>
                                      <p:to>
                                        <p:strVal val="visible"/>
                                      </p:to>
                                    </p:set>
                                    <p:animEffect transition="in" filter="fade">
                                      <p:cBhvr>
                                        <p:cTn id="34" dur="750"/>
                                        <p:tgtEl>
                                          <p:spTgt spid="44"/>
                                        </p:tgtEl>
                                      </p:cBhvr>
                                    </p:animEffect>
                                  </p:childTnLst>
                                </p:cTn>
                              </p:par>
                              <p:par>
                                <p:cTn id="35" presetID="18" presetClass="entr" presetSubtype="3" fill="hold" nodeType="withEffect">
                                  <p:stCondLst>
                                    <p:cond delay="500"/>
                                  </p:stCondLst>
                                  <p:childTnLst>
                                    <p:set>
                                      <p:cBhvr>
                                        <p:cTn id="36" dur="1" fill="hold">
                                          <p:stCondLst>
                                            <p:cond delay="0"/>
                                          </p:stCondLst>
                                        </p:cTn>
                                        <p:tgtEl>
                                          <p:spTgt spid="11"/>
                                        </p:tgtEl>
                                        <p:attrNameLst>
                                          <p:attrName>style.visibility</p:attrName>
                                        </p:attrNameLst>
                                      </p:cBhvr>
                                      <p:to>
                                        <p:strVal val="visible"/>
                                      </p:to>
                                    </p:set>
                                    <p:animEffect transition="in" filter="strips(upRight)">
                                      <p:cBhvr>
                                        <p:cTn id="37" dur="500"/>
                                        <p:tgtEl>
                                          <p:spTgt spid="11"/>
                                        </p:tgtEl>
                                      </p:cBhvr>
                                    </p:animEffect>
                                  </p:childTnLst>
                                </p:cTn>
                              </p:par>
                              <p:par>
                                <p:cTn id="38" presetID="6" presetClass="emph" presetSubtype="0" accel="52000" decel="48000" autoRev="1" fill="hold" nodeType="withEffect">
                                  <p:stCondLst>
                                    <p:cond delay="500"/>
                                  </p:stCondLst>
                                  <p:childTnLst>
                                    <p:animScale>
                                      <p:cBhvr>
                                        <p:cTn id="39" dur="350" fill="hold"/>
                                        <p:tgtEl>
                                          <p:spTgt spid="11"/>
                                        </p:tgtEl>
                                      </p:cBhvr>
                                      <p:by x="110000" y="110000"/>
                                    </p:animScale>
                                  </p:childTnLst>
                                </p:cTn>
                              </p:par>
                              <p:par>
                                <p:cTn id="40" presetID="18" presetClass="entr" presetSubtype="3" fill="hold" nodeType="withEffect">
                                  <p:stCondLst>
                                    <p:cond delay="750"/>
                                  </p:stCondLst>
                                  <p:childTnLst>
                                    <p:set>
                                      <p:cBhvr>
                                        <p:cTn id="41" dur="1" fill="hold">
                                          <p:stCondLst>
                                            <p:cond delay="0"/>
                                          </p:stCondLst>
                                        </p:cTn>
                                        <p:tgtEl>
                                          <p:spTgt spid="21"/>
                                        </p:tgtEl>
                                        <p:attrNameLst>
                                          <p:attrName>style.visibility</p:attrName>
                                        </p:attrNameLst>
                                      </p:cBhvr>
                                      <p:to>
                                        <p:strVal val="visible"/>
                                      </p:to>
                                    </p:set>
                                    <p:animEffect transition="in" filter="strips(upRight)">
                                      <p:cBhvr>
                                        <p:cTn id="42" dur="500"/>
                                        <p:tgtEl>
                                          <p:spTgt spid="21"/>
                                        </p:tgtEl>
                                      </p:cBhvr>
                                    </p:animEffect>
                                  </p:childTnLst>
                                </p:cTn>
                              </p:par>
                              <p:par>
                                <p:cTn id="43" presetID="6" presetClass="emph" presetSubtype="0" accel="52000" decel="48000" autoRev="1" fill="hold" nodeType="withEffect">
                                  <p:stCondLst>
                                    <p:cond delay="750"/>
                                  </p:stCondLst>
                                  <p:childTnLst>
                                    <p:animScale>
                                      <p:cBhvr>
                                        <p:cTn id="44" dur="350" fill="hold"/>
                                        <p:tgtEl>
                                          <p:spTgt spid="21"/>
                                        </p:tgtEl>
                                      </p:cBhvr>
                                      <p:by x="110000" y="11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0" grpId="0"/>
      <p:bldP spid="41" grpId="0"/>
      <p:bldP spid="42" grpId="0"/>
      <p:bldP spid="43" grpId="0"/>
      <p:bldP spid="43" grpId="1"/>
      <p:bldP spid="44" grpId="0"/>
    </p:bldLst>
  </p:timing>
</p:sld>
</file>

<file path=ppt/slides/slide6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4">
            <a:extLst>
              <a:ext uri="{FF2B5EF4-FFF2-40B4-BE49-F238E27FC236}">
                <a16:creationId xmlns:a16="http://schemas.microsoft.com/office/drawing/2014/main" id="{A61FAF77-FB5C-449E-99FA-DEF6BEFBF34E}"/>
              </a:ext>
            </a:extLst>
          </p:cNvPr>
          <p:cNvSpPr txBox="1">
            <a:spLocks/>
          </p:cNvSpPr>
          <p:nvPr/>
        </p:nvSpPr>
        <p:spPr>
          <a:xfrm>
            <a:off x="5970814" y="2072860"/>
            <a:ext cx="4505602" cy="1922688"/>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4000" b="0" i="0" u="none" strike="noStrike" kern="1200" cap="none" spc="0" normalizeH="0" baseline="0" noProof="0">
                <a:ln>
                  <a:noFill/>
                </a:ln>
                <a:solidFill>
                  <a:srgbClr val="000000"/>
                </a:solidFill>
                <a:effectLst/>
                <a:uLnTx/>
                <a:uFillTx/>
                <a:latin typeface="等线 Light" panose="020F0302020204030204"/>
                <a:ea typeface="+mj-ea"/>
                <a:cs typeface="+mj-cs"/>
              </a:rPr>
              <a:t>Special Tree Diagram</a:t>
            </a:r>
            <a:endParaRPr kumimoji="0" lang="en-US" sz="4000" b="0" i="0" u="none" strike="noStrike" kern="1200" cap="none" spc="0" normalizeH="0" baseline="0" noProof="0" dirty="0">
              <a:ln>
                <a:noFill/>
              </a:ln>
              <a:solidFill>
                <a:srgbClr val="000000"/>
              </a:solidFill>
              <a:effectLst/>
              <a:uLnTx/>
              <a:uFillTx/>
              <a:latin typeface="等线 Light" panose="020F0302020204030204"/>
              <a:ea typeface="+mj-ea"/>
              <a:cs typeface="+mj-cs"/>
            </a:endParaRPr>
          </a:p>
        </p:txBody>
      </p:sp>
      <p:grpSp>
        <p:nvGrpSpPr>
          <p:cNvPr id="4" name="Group 141">
            <a:extLst>
              <a:ext uri="{FF2B5EF4-FFF2-40B4-BE49-F238E27FC236}">
                <a16:creationId xmlns:a16="http://schemas.microsoft.com/office/drawing/2014/main" id="{33BE313D-0774-44A3-A074-48039C215DFD}"/>
              </a:ext>
            </a:extLst>
          </p:cNvPr>
          <p:cNvGrpSpPr/>
          <p:nvPr/>
        </p:nvGrpSpPr>
        <p:grpSpPr>
          <a:xfrm>
            <a:off x="523875" y="1262743"/>
            <a:ext cx="5125732" cy="5226958"/>
            <a:chOff x="523875" y="1079500"/>
            <a:chExt cx="5305426" cy="5410201"/>
          </a:xfrm>
        </p:grpSpPr>
        <p:grpSp>
          <p:nvGrpSpPr>
            <p:cNvPr id="5" name="Group 134">
              <a:extLst>
                <a:ext uri="{FF2B5EF4-FFF2-40B4-BE49-F238E27FC236}">
                  <a16:creationId xmlns:a16="http://schemas.microsoft.com/office/drawing/2014/main" id="{D6BF94AA-259B-48FD-ADE9-210AC01A062C}"/>
                </a:ext>
              </a:extLst>
            </p:cNvPr>
            <p:cNvGrpSpPr/>
            <p:nvPr/>
          </p:nvGrpSpPr>
          <p:grpSpPr>
            <a:xfrm>
              <a:off x="808038" y="4279900"/>
              <a:ext cx="1962150" cy="2209801"/>
              <a:chOff x="808038" y="4279900"/>
              <a:chExt cx="1962150" cy="2209801"/>
            </a:xfrm>
            <a:solidFill>
              <a:schemeClr val="accent4"/>
            </a:solidFill>
          </p:grpSpPr>
          <p:sp>
            <p:nvSpPr>
              <p:cNvPr id="99" name="Freeform 18">
                <a:extLst>
                  <a:ext uri="{FF2B5EF4-FFF2-40B4-BE49-F238E27FC236}">
                    <a16:creationId xmlns:a16="http://schemas.microsoft.com/office/drawing/2014/main" id="{4FC4D0BE-6286-4767-A5CF-EFBC5FAE7956}"/>
                  </a:ext>
                </a:extLst>
              </p:cNvPr>
              <p:cNvSpPr>
                <a:spLocks/>
              </p:cNvSpPr>
              <p:nvPr/>
            </p:nvSpPr>
            <p:spPr bwMode="auto">
              <a:xfrm>
                <a:off x="885825" y="4279900"/>
                <a:ext cx="703263" cy="703263"/>
              </a:xfrm>
              <a:custGeom>
                <a:avLst/>
                <a:gdLst>
                  <a:gd name="T0" fmla="*/ 2211 w 2216"/>
                  <a:gd name="T1" fmla="*/ 1223 h 2217"/>
                  <a:gd name="T2" fmla="*/ 2181 w 2216"/>
                  <a:gd name="T3" fmla="*/ 1386 h 2217"/>
                  <a:gd name="T4" fmla="*/ 2129 w 2216"/>
                  <a:gd name="T5" fmla="*/ 1540 h 2217"/>
                  <a:gd name="T6" fmla="*/ 2055 w 2216"/>
                  <a:gd name="T7" fmla="*/ 1684 h 2217"/>
                  <a:gd name="T8" fmla="*/ 1963 w 2216"/>
                  <a:gd name="T9" fmla="*/ 1814 h 2217"/>
                  <a:gd name="T10" fmla="*/ 1853 w 2216"/>
                  <a:gd name="T11" fmla="*/ 1930 h 2217"/>
                  <a:gd name="T12" fmla="*/ 1727 w 2216"/>
                  <a:gd name="T13" fmla="*/ 2029 h 2217"/>
                  <a:gd name="T14" fmla="*/ 1588 w 2216"/>
                  <a:gd name="T15" fmla="*/ 2109 h 2217"/>
                  <a:gd name="T16" fmla="*/ 1438 w 2216"/>
                  <a:gd name="T17" fmla="*/ 2168 h 2217"/>
                  <a:gd name="T18" fmla="*/ 1277 w 2216"/>
                  <a:gd name="T19" fmla="*/ 2205 h 2217"/>
                  <a:gd name="T20" fmla="*/ 1108 w 2216"/>
                  <a:gd name="T21" fmla="*/ 2217 h 2217"/>
                  <a:gd name="T22" fmla="*/ 939 w 2216"/>
                  <a:gd name="T23" fmla="*/ 2205 h 2217"/>
                  <a:gd name="T24" fmla="*/ 778 w 2216"/>
                  <a:gd name="T25" fmla="*/ 2168 h 2217"/>
                  <a:gd name="T26" fmla="*/ 628 w 2216"/>
                  <a:gd name="T27" fmla="*/ 2109 h 2217"/>
                  <a:gd name="T28" fmla="*/ 488 w 2216"/>
                  <a:gd name="T29" fmla="*/ 2029 h 2217"/>
                  <a:gd name="T30" fmla="*/ 363 w 2216"/>
                  <a:gd name="T31" fmla="*/ 1930 h 2217"/>
                  <a:gd name="T32" fmla="*/ 253 w 2216"/>
                  <a:gd name="T33" fmla="*/ 1814 h 2217"/>
                  <a:gd name="T34" fmla="*/ 161 w 2216"/>
                  <a:gd name="T35" fmla="*/ 1684 h 2217"/>
                  <a:gd name="T36" fmla="*/ 87 w 2216"/>
                  <a:gd name="T37" fmla="*/ 1540 h 2217"/>
                  <a:gd name="T38" fmla="*/ 35 w 2216"/>
                  <a:gd name="T39" fmla="*/ 1386 h 2217"/>
                  <a:gd name="T40" fmla="*/ 5 w 2216"/>
                  <a:gd name="T41" fmla="*/ 1223 h 2217"/>
                  <a:gd name="T42" fmla="*/ 1 w 2216"/>
                  <a:gd name="T43" fmla="*/ 1052 h 2217"/>
                  <a:gd name="T44" fmla="*/ 22 w 2216"/>
                  <a:gd name="T45" fmla="*/ 885 h 2217"/>
                  <a:gd name="T46" fmla="*/ 67 w 2216"/>
                  <a:gd name="T47" fmla="*/ 727 h 2217"/>
                  <a:gd name="T48" fmla="*/ 133 w 2216"/>
                  <a:gd name="T49" fmla="*/ 581 h 2217"/>
                  <a:gd name="T50" fmla="*/ 220 w 2216"/>
                  <a:gd name="T51" fmla="*/ 445 h 2217"/>
                  <a:gd name="T52" fmla="*/ 325 w 2216"/>
                  <a:gd name="T53" fmla="*/ 325 h 2217"/>
                  <a:gd name="T54" fmla="*/ 445 w 2216"/>
                  <a:gd name="T55" fmla="*/ 221 h 2217"/>
                  <a:gd name="T56" fmla="*/ 580 w 2216"/>
                  <a:gd name="T57" fmla="*/ 134 h 2217"/>
                  <a:gd name="T58" fmla="*/ 727 w 2216"/>
                  <a:gd name="T59" fmla="*/ 67 h 2217"/>
                  <a:gd name="T60" fmla="*/ 884 w 2216"/>
                  <a:gd name="T61" fmla="*/ 22 h 2217"/>
                  <a:gd name="T62" fmla="*/ 1050 w 2216"/>
                  <a:gd name="T63" fmla="*/ 1 h 2217"/>
                  <a:gd name="T64" fmla="*/ 1221 w 2216"/>
                  <a:gd name="T65" fmla="*/ 5 h 2217"/>
                  <a:gd name="T66" fmla="*/ 1385 w 2216"/>
                  <a:gd name="T67" fmla="*/ 35 h 2217"/>
                  <a:gd name="T68" fmla="*/ 1539 w 2216"/>
                  <a:gd name="T69" fmla="*/ 87 h 2217"/>
                  <a:gd name="T70" fmla="*/ 1683 w 2216"/>
                  <a:gd name="T71" fmla="*/ 161 h 2217"/>
                  <a:gd name="T72" fmla="*/ 1812 w 2216"/>
                  <a:gd name="T73" fmla="*/ 254 h 2217"/>
                  <a:gd name="T74" fmla="*/ 1928 w 2216"/>
                  <a:gd name="T75" fmla="*/ 363 h 2217"/>
                  <a:gd name="T76" fmla="*/ 2026 w 2216"/>
                  <a:gd name="T77" fmla="*/ 489 h 2217"/>
                  <a:gd name="T78" fmla="*/ 2106 w 2216"/>
                  <a:gd name="T79" fmla="*/ 628 h 2217"/>
                  <a:gd name="T80" fmla="*/ 2166 w 2216"/>
                  <a:gd name="T81" fmla="*/ 780 h 2217"/>
                  <a:gd name="T82" fmla="*/ 2203 w 2216"/>
                  <a:gd name="T83" fmla="*/ 940 h 2217"/>
                  <a:gd name="T84" fmla="*/ 2216 w 2216"/>
                  <a:gd name="T85" fmla="*/ 1109 h 2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216" h="2217">
                    <a:moveTo>
                      <a:pt x="2216" y="1109"/>
                    </a:moveTo>
                    <a:lnTo>
                      <a:pt x="2215" y="1166"/>
                    </a:lnTo>
                    <a:lnTo>
                      <a:pt x="2211" y="1223"/>
                    </a:lnTo>
                    <a:lnTo>
                      <a:pt x="2203" y="1278"/>
                    </a:lnTo>
                    <a:lnTo>
                      <a:pt x="2193" y="1332"/>
                    </a:lnTo>
                    <a:lnTo>
                      <a:pt x="2181" y="1386"/>
                    </a:lnTo>
                    <a:lnTo>
                      <a:pt x="2166" y="1439"/>
                    </a:lnTo>
                    <a:lnTo>
                      <a:pt x="2149" y="1490"/>
                    </a:lnTo>
                    <a:lnTo>
                      <a:pt x="2129" y="1540"/>
                    </a:lnTo>
                    <a:lnTo>
                      <a:pt x="2106" y="1590"/>
                    </a:lnTo>
                    <a:lnTo>
                      <a:pt x="2083" y="1637"/>
                    </a:lnTo>
                    <a:lnTo>
                      <a:pt x="2055" y="1684"/>
                    </a:lnTo>
                    <a:lnTo>
                      <a:pt x="2026" y="1729"/>
                    </a:lnTo>
                    <a:lnTo>
                      <a:pt x="1996" y="1772"/>
                    </a:lnTo>
                    <a:lnTo>
                      <a:pt x="1963" y="1814"/>
                    </a:lnTo>
                    <a:lnTo>
                      <a:pt x="1928" y="1854"/>
                    </a:lnTo>
                    <a:lnTo>
                      <a:pt x="1891" y="1893"/>
                    </a:lnTo>
                    <a:lnTo>
                      <a:pt x="1853" y="1930"/>
                    </a:lnTo>
                    <a:lnTo>
                      <a:pt x="1812" y="1965"/>
                    </a:lnTo>
                    <a:lnTo>
                      <a:pt x="1771" y="1998"/>
                    </a:lnTo>
                    <a:lnTo>
                      <a:pt x="1727" y="2029"/>
                    </a:lnTo>
                    <a:lnTo>
                      <a:pt x="1683" y="2058"/>
                    </a:lnTo>
                    <a:lnTo>
                      <a:pt x="1636" y="2084"/>
                    </a:lnTo>
                    <a:lnTo>
                      <a:pt x="1588" y="2109"/>
                    </a:lnTo>
                    <a:lnTo>
                      <a:pt x="1539" y="2131"/>
                    </a:lnTo>
                    <a:lnTo>
                      <a:pt x="1489" y="2150"/>
                    </a:lnTo>
                    <a:lnTo>
                      <a:pt x="1438" y="2168"/>
                    </a:lnTo>
                    <a:lnTo>
                      <a:pt x="1385" y="2183"/>
                    </a:lnTo>
                    <a:lnTo>
                      <a:pt x="1331" y="2195"/>
                    </a:lnTo>
                    <a:lnTo>
                      <a:pt x="1277" y="2205"/>
                    </a:lnTo>
                    <a:lnTo>
                      <a:pt x="1221" y="2212"/>
                    </a:lnTo>
                    <a:lnTo>
                      <a:pt x="1165" y="2216"/>
                    </a:lnTo>
                    <a:lnTo>
                      <a:pt x="1108" y="2217"/>
                    </a:lnTo>
                    <a:lnTo>
                      <a:pt x="1050" y="2216"/>
                    </a:lnTo>
                    <a:lnTo>
                      <a:pt x="995" y="2212"/>
                    </a:lnTo>
                    <a:lnTo>
                      <a:pt x="939" y="2205"/>
                    </a:lnTo>
                    <a:lnTo>
                      <a:pt x="884" y="2195"/>
                    </a:lnTo>
                    <a:lnTo>
                      <a:pt x="831" y="2183"/>
                    </a:lnTo>
                    <a:lnTo>
                      <a:pt x="778" y="2168"/>
                    </a:lnTo>
                    <a:lnTo>
                      <a:pt x="727" y="2150"/>
                    </a:lnTo>
                    <a:lnTo>
                      <a:pt x="677" y="2131"/>
                    </a:lnTo>
                    <a:lnTo>
                      <a:pt x="628" y="2109"/>
                    </a:lnTo>
                    <a:lnTo>
                      <a:pt x="580" y="2084"/>
                    </a:lnTo>
                    <a:lnTo>
                      <a:pt x="533" y="2058"/>
                    </a:lnTo>
                    <a:lnTo>
                      <a:pt x="488" y="2029"/>
                    </a:lnTo>
                    <a:lnTo>
                      <a:pt x="445" y="1998"/>
                    </a:lnTo>
                    <a:lnTo>
                      <a:pt x="403" y="1965"/>
                    </a:lnTo>
                    <a:lnTo>
                      <a:pt x="363" y="1930"/>
                    </a:lnTo>
                    <a:lnTo>
                      <a:pt x="325" y="1893"/>
                    </a:lnTo>
                    <a:lnTo>
                      <a:pt x="287" y="1854"/>
                    </a:lnTo>
                    <a:lnTo>
                      <a:pt x="253" y="1814"/>
                    </a:lnTo>
                    <a:lnTo>
                      <a:pt x="220" y="1772"/>
                    </a:lnTo>
                    <a:lnTo>
                      <a:pt x="189" y="1729"/>
                    </a:lnTo>
                    <a:lnTo>
                      <a:pt x="161" y="1684"/>
                    </a:lnTo>
                    <a:lnTo>
                      <a:pt x="133" y="1637"/>
                    </a:lnTo>
                    <a:lnTo>
                      <a:pt x="108" y="1590"/>
                    </a:lnTo>
                    <a:lnTo>
                      <a:pt x="87" y="1540"/>
                    </a:lnTo>
                    <a:lnTo>
                      <a:pt x="67" y="1490"/>
                    </a:lnTo>
                    <a:lnTo>
                      <a:pt x="50" y="1439"/>
                    </a:lnTo>
                    <a:lnTo>
                      <a:pt x="35" y="1386"/>
                    </a:lnTo>
                    <a:lnTo>
                      <a:pt x="22" y="1332"/>
                    </a:lnTo>
                    <a:lnTo>
                      <a:pt x="13" y="1278"/>
                    </a:lnTo>
                    <a:lnTo>
                      <a:pt x="5" y="1223"/>
                    </a:lnTo>
                    <a:lnTo>
                      <a:pt x="1" y="1166"/>
                    </a:lnTo>
                    <a:lnTo>
                      <a:pt x="0" y="1109"/>
                    </a:lnTo>
                    <a:lnTo>
                      <a:pt x="1" y="1052"/>
                    </a:lnTo>
                    <a:lnTo>
                      <a:pt x="5" y="996"/>
                    </a:lnTo>
                    <a:lnTo>
                      <a:pt x="13" y="940"/>
                    </a:lnTo>
                    <a:lnTo>
                      <a:pt x="22" y="885"/>
                    </a:lnTo>
                    <a:lnTo>
                      <a:pt x="35" y="832"/>
                    </a:lnTo>
                    <a:lnTo>
                      <a:pt x="50" y="780"/>
                    </a:lnTo>
                    <a:lnTo>
                      <a:pt x="67" y="727"/>
                    </a:lnTo>
                    <a:lnTo>
                      <a:pt x="87" y="677"/>
                    </a:lnTo>
                    <a:lnTo>
                      <a:pt x="108" y="628"/>
                    </a:lnTo>
                    <a:lnTo>
                      <a:pt x="133" y="581"/>
                    </a:lnTo>
                    <a:lnTo>
                      <a:pt x="161" y="534"/>
                    </a:lnTo>
                    <a:lnTo>
                      <a:pt x="189" y="489"/>
                    </a:lnTo>
                    <a:lnTo>
                      <a:pt x="220" y="445"/>
                    </a:lnTo>
                    <a:lnTo>
                      <a:pt x="253" y="404"/>
                    </a:lnTo>
                    <a:lnTo>
                      <a:pt x="287" y="363"/>
                    </a:lnTo>
                    <a:lnTo>
                      <a:pt x="325" y="325"/>
                    </a:lnTo>
                    <a:lnTo>
                      <a:pt x="363" y="288"/>
                    </a:lnTo>
                    <a:lnTo>
                      <a:pt x="403" y="254"/>
                    </a:lnTo>
                    <a:lnTo>
                      <a:pt x="445" y="221"/>
                    </a:lnTo>
                    <a:lnTo>
                      <a:pt x="488" y="190"/>
                    </a:lnTo>
                    <a:lnTo>
                      <a:pt x="533" y="161"/>
                    </a:lnTo>
                    <a:lnTo>
                      <a:pt x="580" y="134"/>
                    </a:lnTo>
                    <a:lnTo>
                      <a:pt x="628" y="110"/>
                    </a:lnTo>
                    <a:lnTo>
                      <a:pt x="677" y="87"/>
                    </a:lnTo>
                    <a:lnTo>
                      <a:pt x="727" y="67"/>
                    </a:lnTo>
                    <a:lnTo>
                      <a:pt x="778" y="50"/>
                    </a:lnTo>
                    <a:lnTo>
                      <a:pt x="831" y="35"/>
                    </a:lnTo>
                    <a:lnTo>
                      <a:pt x="884" y="22"/>
                    </a:lnTo>
                    <a:lnTo>
                      <a:pt x="939" y="13"/>
                    </a:lnTo>
                    <a:lnTo>
                      <a:pt x="995" y="5"/>
                    </a:lnTo>
                    <a:lnTo>
                      <a:pt x="1050" y="1"/>
                    </a:lnTo>
                    <a:lnTo>
                      <a:pt x="1108" y="0"/>
                    </a:lnTo>
                    <a:lnTo>
                      <a:pt x="1165" y="1"/>
                    </a:lnTo>
                    <a:lnTo>
                      <a:pt x="1221" y="5"/>
                    </a:lnTo>
                    <a:lnTo>
                      <a:pt x="1277" y="13"/>
                    </a:lnTo>
                    <a:lnTo>
                      <a:pt x="1331" y="22"/>
                    </a:lnTo>
                    <a:lnTo>
                      <a:pt x="1385" y="35"/>
                    </a:lnTo>
                    <a:lnTo>
                      <a:pt x="1438" y="50"/>
                    </a:lnTo>
                    <a:lnTo>
                      <a:pt x="1489" y="67"/>
                    </a:lnTo>
                    <a:lnTo>
                      <a:pt x="1539" y="87"/>
                    </a:lnTo>
                    <a:lnTo>
                      <a:pt x="1588" y="110"/>
                    </a:lnTo>
                    <a:lnTo>
                      <a:pt x="1636" y="134"/>
                    </a:lnTo>
                    <a:lnTo>
                      <a:pt x="1683" y="161"/>
                    </a:lnTo>
                    <a:lnTo>
                      <a:pt x="1727" y="190"/>
                    </a:lnTo>
                    <a:lnTo>
                      <a:pt x="1771" y="221"/>
                    </a:lnTo>
                    <a:lnTo>
                      <a:pt x="1812" y="254"/>
                    </a:lnTo>
                    <a:lnTo>
                      <a:pt x="1853" y="288"/>
                    </a:lnTo>
                    <a:lnTo>
                      <a:pt x="1891" y="325"/>
                    </a:lnTo>
                    <a:lnTo>
                      <a:pt x="1928" y="363"/>
                    </a:lnTo>
                    <a:lnTo>
                      <a:pt x="1963" y="404"/>
                    </a:lnTo>
                    <a:lnTo>
                      <a:pt x="1996" y="445"/>
                    </a:lnTo>
                    <a:lnTo>
                      <a:pt x="2026" y="489"/>
                    </a:lnTo>
                    <a:lnTo>
                      <a:pt x="2055" y="534"/>
                    </a:lnTo>
                    <a:lnTo>
                      <a:pt x="2083" y="581"/>
                    </a:lnTo>
                    <a:lnTo>
                      <a:pt x="2106" y="628"/>
                    </a:lnTo>
                    <a:lnTo>
                      <a:pt x="2129" y="677"/>
                    </a:lnTo>
                    <a:lnTo>
                      <a:pt x="2149" y="727"/>
                    </a:lnTo>
                    <a:lnTo>
                      <a:pt x="2166" y="780"/>
                    </a:lnTo>
                    <a:lnTo>
                      <a:pt x="2181" y="832"/>
                    </a:lnTo>
                    <a:lnTo>
                      <a:pt x="2193" y="885"/>
                    </a:lnTo>
                    <a:lnTo>
                      <a:pt x="2203" y="940"/>
                    </a:lnTo>
                    <a:lnTo>
                      <a:pt x="2211" y="996"/>
                    </a:lnTo>
                    <a:lnTo>
                      <a:pt x="2215" y="1052"/>
                    </a:lnTo>
                    <a:lnTo>
                      <a:pt x="2216" y="110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00" name="Rectangle 34">
                <a:extLst>
                  <a:ext uri="{FF2B5EF4-FFF2-40B4-BE49-F238E27FC236}">
                    <a16:creationId xmlns:a16="http://schemas.microsoft.com/office/drawing/2014/main" id="{B9F92499-EE57-4C40-96E0-A0A1F3E283EC}"/>
                  </a:ext>
                </a:extLst>
              </p:cNvPr>
              <p:cNvSpPr>
                <a:spLocks noChangeArrowheads="1"/>
              </p:cNvSpPr>
              <p:nvPr/>
            </p:nvSpPr>
            <p:spPr bwMode="auto">
              <a:xfrm>
                <a:off x="1198563" y="4967288"/>
                <a:ext cx="77788" cy="620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01" name="Freeform 35">
                <a:extLst>
                  <a:ext uri="{FF2B5EF4-FFF2-40B4-BE49-F238E27FC236}">
                    <a16:creationId xmlns:a16="http://schemas.microsoft.com/office/drawing/2014/main" id="{9BEC3D79-6A74-4987-80AE-7D34538440AC}"/>
                  </a:ext>
                </a:extLst>
              </p:cNvPr>
              <p:cNvSpPr>
                <a:spLocks noEditPoints="1"/>
              </p:cNvSpPr>
              <p:nvPr/>
            </p:nvSpPr>
            <p:spPr bwMode="auto">
              <a:xfrm>
                <a:off x="1198563" y="5588000"/>
                <a:ext cx="215900" cy="215900"/>
              </a:xfrm>
              <a:custGeom>
                <a:avLst/>
                <a:gdLst>
                  <a:gd name="T0" fmla="*/ 247 w 683"/>
                  <a:gd name="T1" fmla="*/ 22 h 681"/>
                  <a:gd name="T2" fmla="*/ 252 w 683"/>
                  <a:gd name="T3" fmla="*/ 66 h 681"/>
                  <a:gd name="T4" fmla="*/ 261 w 683"/>
                  <a:gd name="T5" fmla="*/ 108 h 681"/>
                  <a:gd name="T6" fmla="*/ 273 w 683"/>
                  <a:gd name="T7" fmla="*/ 149 h 681"/>
                  <a:gd name="T8" fmla="*/ 290 w 683"/>
                  <a:gd name="T9" fmla="*/ 188 h 681"/>
                  <a:gd name="T10" fmla="*/ 310 w 683"/>
                  <a:gd name="T11" fmla="*/ 225 h 681"/>
                  <a:gd name="T12" fmla="*/ 334 w 683"/>
                  <a:gd name="T13" fmla="*/ 260 h 681"/>
                  <a:gd name="T14" fmla="*/ 360 w 683"/>
                  <a:gd name="T15" fmla="*/ 293 h 681"/>
                  <a:gd name="T16" fmla="*/ 200 w 683"/>
                  <a:gd name="T17" fmla="*/ 482 h 681"/>
                  <a:gd name="T18" fmla="*/ 157 w 683"/>
                  <a:gd name="T19" fmla="*/ 433 h 681"/>
                  <a:gd name="T20" fmla="*/ 117 w 683"/>
                  <a:gd name="T21" fmla="*/ 381 h 681"/>
                  <a:gd name="T22" fmla="*/ 83 w 683"/>
                  <a:gd name="T23" fmla="*/ 324 h 681"/>
                  <a:gd name="T24" fmla="*/ 55 w 683"/>
                  <a:gd name="T25" fmla="*/ 265 h 681"/>
                  <a:gd name="T26" fmla="*/ 31 w 683"/>
                  <a:gd name="T27" fmla="*/ 202 h 681"/>
                  <a:gd name="T28" fmla="*/ 14 w 683"/>
                  <a:gd name="T29" fmla="*/ 137 h 681"/>
                  <a:gd name="T30" fmla="*/ 5 w 683"/>
                  <a:gd name="T31" fmla="*/ 69 h 681"/>
                  <a:gd name="T32" fmla="*/ 0 w 683"/>
                  <a:gd name="T33" fmla="*/ 0 h 681"/>
                  <a:gd name="T34" fmla="*/ 374 w 683"/>
                  <a:gd name="T35" fmla="*/ 307 h 681"/>
                  <a:gd name="T36" fmla="*/ 406 w 683"/>
                  <a:gd name="T37" fmla="*/ 335 h 681"/>
                  <a:gd name="T38" fmla="*/ 439 w 683"/>
                  <a:gd name="T39" fmla="*/ 361 h 681"/>
                  <a:gd name="T40" fmla="*/ 475 w 683"/>
                  <a:gd name="T41" fmla="*/ 382 h 681"/>
                  <a:gd name="T42" fmla="*/ 513 w 683"/>
                  <a:gd name="T43" fmla="*/ 401 h 681"/>
                  <a:gd name="T44" fmla="*/ 553 w 683"/>
                  <a:gd name="T45" fmla="*/ 415 h 681"/>
                  <a:gd name="T46" fmla="*/ 594 w 683"/>
                  <a:gd name="T47" fmla="*/ 426 h 681"/>
                  <a:gd name="T48" fmla="*/ 638 w 683"/>
                  <a:gd name="T49" fmla="*/ 433 h 681"/>
                  <a:gd name="T50" fmla="*/ 683 w 683"/>
                  <a:gd name="T51" fmla="*/ 435 h 681"/>
                  <a:gd name="T52" fmla="*/ 648 w 683"/>
                  <a:gd name="T53" fmla="*/ 680 h 681"/>
                  <a:gd name="T54" fmla="*/ 578 w 683"/>
                  <a:gd name="T55" fmla="*/ 674 h 681"/>
                  <a:gd name="T56" fmla="*/ 512 w 683"/>
                  <a:gd name="T57" fmla="*/ 660 h 681"/>
                  <a:gd name="T58" fmla="*/ 448 w 683"/>
                  <a:gd name="T59" fmla="*/ 640 h 681"/>
                  <a:gd name="T60" fmla="*/ 387 w 683"/>
                  <a:gd name="T61" fmla="*/ 614 h 681"/>
                  <a:gd name="T62" fmla="*/ 329 w 683"/>
                  <a:gd name="T63" fmla="*/ 582 h 681"/>
                  <a:gd name="T64" fmla="*/ 275 w 683"/>
                  <a:gd name="T65" fmla="*/ 546 h 681"/>
                  <a:gd name="T66" fmla="*/ 224 w 683"/>
                  <a:gd name="T67" fmla="*/ 504 h 681"/>
                  <a:gd name="T68" fmla="*/ 374 w 683"/>
                  <a:gd name="T69" fmla="*/ 307 h 6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83" h="681">
                    <a:moveTo>
                      <a:pt x="247" y="0"/>
                    </a:moveTo>
                    <a:lnTo>
                      <a:pt x="247" y="22"/>
                    </a:lnTo>
                    <a:lnTo>
                      <a:pt x="249" y="44"/>
                    </a:lnTo>
                    <a:lnTo>
                      <a:pt x="252" y="66"/>
                    </a:lnTo>
                    <a:lnTo>
                      <a:pt x="256" y="87"/>
                    </a:lnTo>
                    <a:lnTo>
                      <a:pt x="261" y="108"/>
                    </a:lnTo>
                    <a:lnTo>
                      <a:pt x="266" y="129"/>
                    </a:lnTo>
                    <a:lnTo>
                      <a:pt x="273" y="149"/>
                    </a:lnTo>
                    <a:lnTo>
                      <a:pt x="281" y="169"/>
                    </a:lnTo>
                    <a:lnTo>
                      <a:pt x="290" y="188"/>
                    </a:lnTo>
                    <a:lnTo>
                      <a:pt x="299" y="207"/>
                    </a:lnTo>
                    <a:lnTo>
                      <a:pt x="310" y="225"/>
                    </a:lnTo>
                    <a:lnTo>
                      <a:pt x="322" y="242"/>
                    </a:lnTo>
                    <a:lnTo>
                      <a:pt x="334" y="260"/>
                    </a:lnTo>
                    <a:lnTo>
                      <a:pt x="346" y="277"/>
                    </a:lnTo>
                    <a:lnTo>
                      <a:pt x="360" y="293"/>
                    </a:lnTo>
                    <a:lnTo>
                      <a:pt x="374" y="307"/>
                    </a:lnTo>
                    <a:lnTo>
                      <a:pt x="200" y="482"/>
                    </a:lnTo>
                    <a:lnTo>
                      <a:pt x="178" y="458"/>
                    </a:lnTo>
                    <a:lnTo>
                      <a:pt x="157" y="433"/>
                    </a:lnTo>
                    <a:lnTo>
                      <a:pt x="137" y="408"/>
                    </a:lnTo>
                    <a:lnTo>
                      <a:pt x="117" y="381"/>
                    </a:lnTo>
                    <a:lnTo>
                      <a:pt x="99" y="353"/>
                    </a:lnTo>
                    <a:lnTo>
                      <a:pt x="83" y="324"/>
                    </a:lnTo>
                    <a:lnTo>
                      <a:pt x="67" y="295"/>
                    </a:lnTo>
                    <a:lnTo>
                      <a:pt x="55" y="265"/>
                    </a:lnTo>
                    <a:lnTo>
                      <a:pt x="42" y="234"/>
                    </a:lnTo>
                    <a:lnTo>
                      <a:pt x="31" y="202"/>
                    </a:lnTo>
                    <a:lnTo>
                      <a:pt x="22" y="170"/>
                    </a:lnTo>
                    <a:lnTo>
                      <a:pt x="14" y="137"/>
                    </a:lnTo>
                    <a:lnTo>
                      <a:pt x="9" y="103"/>
                    </a:lnTo>
                    <a:lnTo>
                      <a:pt x="5" y="69"/>
                    </a:lnTo>
                    <a:lnTo>
                      <a:pt x="1" y="35"/>
                    </a:lnTo>
                    <a:lnTo>
                      <a:pt x="0" y="0"/>
                    </a:lnTo>
                    <a:lnTo>
                      <a:pt x="247" y="0"/>
                    </a:lnTo>
                    <a:close/>
                    <a:moveTo>
                      <a:pt x="374" y="307"/>
                    </a:moveTo>
                    <a:lnTo>
                      <a:pt x="390" y="322"/>
                    </a:lnTo>
                    <a:lnTo>
                      <a:pt x="406" y="335"/>
                    </a:lnTo>
                    <a:lnTo>
                      <a:pt x="422" y="349"/>
                    </a:lnTo>
                    <a:lnTo>
                      <a:pt x="439" y="361"/>
                    </a:lnTo>
                    <a:lnTo>
                      <a:pt x="457" y="372"/>
                    </a:lnTo>
                    <a:lnTo>
                      <a:pt x="475" y="382"/>
                    </a:lnTo>
                    <a:lnTo>
                      <a:pt x="493" y="392"/>
                    </a:lnTo>
                    <a:lnTo>
                      <a:pt x="513" y="401"/>
                    </a:lnTo>
                    <a:lnTo>
                      <a:pt x="533" y="409"/>
                    </a:lnTo>
                    <a:lnTo>
                      <a:pt x="553" y="415"/>
                    </a:lnTo>
                    <a:lnTo>
                      <a:pt x="574" y="421"/>
                    </a:lnTo>
                    <a:lnTo>
                      <a:pt x="594" y="426"/>
                    </a:lnTo>
                    <a:lnTo>
                      <a:pt x="616" y="430"/>
                    </a:lnTo>
                    <a:lnTo>
                      <a:pt x="638" y="433"/>
                    </a:lnTo>
                    <a:lnTo>
                      <a:pt x="660" y="434"/>
                    </a:lnTo>
                    <a:lnTo>
                      <a:pt x="683" y="435"/>
                    </a:lnTo>
                    <a:lnTo>
                      <a:pt x="683" y="681"/>
                    </a:lnTo>
                    <a:lnTo>
                      <a:pt x="648" y="680"/>
                    </a:lnTo>
                    <a:lnTo>
                      <a:pt x="612" y="678"/>
                    </a:lnTo>
                    <a:lnTo>
                      <a:pt x="578" y="674"/>
                    </a:lnTo>
                    <a:lnTo>
                      <a:pt x="545" y="667"/>
                    </a:lnTo>
                    <a:lnTo>
                      <a:pt x="512" y="660"/>
                    </a:lnTo>
                    <a:lnTo>
                      <a:pt x="479" y="650"/>
                    </a:lnTo>
                    <a:lnTo>
                      <a:pt x="448" y="640"/>
                    </a:lnTo>
                    <a:lnTo>
                      <a:pt x="417" y="628"/>
                    </a:lnTo>
                    <a:lnTo>
                      <a:pt x="387" y="614"/>
                    </a:lnTo>
                    <a:lnTo>
                      <a:pt x="357" y="599"/>
                    </a:lnTo>
                    <a:lnTo>
                      <a:pt x="329" y="582"/>
                    </a:lnTo>
                    <a:lnTo>
                      <a:pt x="302" y="565"/>
                    </a:lnTo>
                    <a:lnTo>
                      <a:pt x="275" y="546"/>
                    </a:lnTo>
                    <a:lnTo>
                      <a:pt x="248" y="526"/>
                    </a:lnTo>
                    <a:lnTo>
                      <a:pt x="224" y="504"/>
                    </a:lnTo>
                    <a:lnTo>
                      <a:pt x="200" y="482"/>
                    </a:lnTo>
                    <a:lnTo>
                      <a:pt x="374" y="30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02" name="Rectangle 36">
                <a:extLst>
                  <a:ext uri="{FF2B5EF4-FFF2-40B4-BE49-F238E27FC236}">
                    <a16:creationId xmlns:a16="http://schemas.microsoft.com/office/drawing/2014/main" id="{4BCB5761-4D5C-46E6-8F64-D9303D74068B}"/>
                  </a:ext>
                </a:extLst>
              </p:cNvPr>
              <p:cNvSpPr>
                <a:spLocks noChangeArrowheads="1"/>
              </p:cNvSpPr>
              <p:nvPr/>
            </p:nvSpPr>
            <p:spPr bwMode="auto">
              <a:xfrm>
                <a:off x="1414463" y="5726113"/>
                <a:ext cx="1139825" cy="777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03" name="Freeform 37">
                <a:extLst>
                  <a:ext uri="{FF2B5EF4-FFF2-40B4-BE49-F238E27FC236}">
                    <a16:creationId xmlns:a16="http://schemas.microsoft.com/office/drawing/2014/main" id="{545CCB10-58A5-4F13-BFBC-78FEB9C207F1}"/>
                  </a:ext>
                </a:extLst>
              </p:cNvPr>
              <p:cNvSpPr>
                <a:spLocks noEditPoints="1"/>
              </p:cNvSpPr>
              <p:nvPr/>
            </p:nvSpPr>
            <p:spPr bwMode="auto">
              <a:xfrm>
                <a:off x="2554288" y="5726113"/>
                <a:ext cx="215900" cy="215900"/>
              </a:xfrm>
              <a:custGeom>
                <a:avLst/>
                <a:gdLst>
                  <a:gd name="T0" fmla="*/ 36 w 682"/>
                  <a:gd name="T1" fmla="*/ 1 h 682"/>
                  <a:gd name="T2" fmla="*/ 104 w 682"/>
                  <a:gd name="T3" fmla="*/ 8 h 682"/>
                  <a:gd name="T4" fmla="*/ 171 w 682"/>
                  <a:gd name="T5" fmla="*/ 22 h 682"/>
                  <a:gd name="T6" fmla="*/ 235 w 682"/>
                  <a:gd name="T7" fmla="*/ 42 h 682"/>
                  <a:gd name="T8" fmla="*/ 295 w 682"/>
                  <a:gd name="T9" fmla="*/ 67 h 682"/>
                  <a:gd name="T10" fmla="*/ 354 w 682"/>
                  <a:gd name="T11" fmla="*/ 99 h 682"/>
                  <a:gd name="T12" fmla="*/ 408 w 682"/>
                  <a:gd name="T13" fmla="*/ 135 h 682"/>
                  <a:gd name="T14" fmla="*/ 458 w 682"/>
                  <a:gd name="T15" fmla="*/ 177 h 682"/>
                  <a:gd name="T16" fmla="*/ 308 w 682"/>
                  <a:gd name="T17" fmla="*/ 374 h 682"/>
                  <a:gd name="T18" fmla="*/ 277 w 682"/>
                  <a:gd name="T19" fmla="*/ 346 h 682"/>
                  <a:gd name="T20" fmla="*/ 244 w 682"/>
                  <a:gd name="T21" fmla="*/ 321 h 682"/>
                  <a:gd name="T22" fmla="*/ 208 w 682"/>
                  <a:gd name="T23" fmla="*/ 299 h 682"/>
                  <a:gd name="T24" fmla="*/ 170 w 682"/>
                  <a:gd name="T25" fmla="*/ 280 h 682"/>
                  <a:gd name="T26" fmla="*/ 129 w 682"/>
                  <a:gd name="T27" fmla="*/ 266 h 682"/>
                  <a:gd name="T28" fmla="*/ 88 w 682"/>
                  <a:gd name="T29" fmla="*/ 255 h 682"/>
                  <a:gd name="T30" fmla="*/ 45 w 682"/>
                  <a:gd name="T31" fmla="*/ 248 h 682"/>
                  <a:gd name="T32" fmla="*/ 0 w 682"/>
                  <a:gd name="T33" fmla="*/ 246 h 682"/>
                  <a:gd name="T34" fmla="*/ 483 w 682"/>
                  <a:gd name="T35" fmla="*/ 199 h 682"/>
                  <a:gd name="T36" fmla="*/ 526 w 682"/>
                  <a:gd name="T37" fmla="*/ 248 h 682"/>
                  <a:gd name="T38" fmla="*/ 566 w 682"/>
                  <a:gd name="T39" fmla="*/ 301 h 682"/>
                  <a:gd name="T40" fmla="*/ 600 w 682"/>
                  <a:gd name="T41" fmla="*/ 357 h 682"/>
                  <a:gd name="T42" fmla="*/ 628 w 682"/>
                  <a:gd name="T43" fmla="*/ 417 h 682"/>
                  <a:gd name="T44" fmla="*/ 651 w 682"/>
                  <a:gd name="T45" fmla="*/ 479 h 682"/>
                  <a:gd name="T46" fmla="*/ 668 w 682"/>
                  <a:gd name="T47" fmla="*/ 544 h 682"/>
                  <a:gd name="T48" fmla="*/ 678 w 682"/>
                  <a:gd name="T49" fmla="*/ 613 h 682"/>
                  <a:gd name="T50" fmla="*/ 682 w 682"/>
                  <a:gd name="T51" fmla="*/ 682 h 682"/>
                  <a:gd name="T52" fmla="*/ 435 w 682"/>
                  <a:gd name="T53" fmla="*/ 659 h 682"/>
                  <a:gd name="T54" fmla="*/ 430 w 682"/>
                  <a:gd name="T55" fmla="*/ 616 h 682"/>
                  <a:gd name="T56" fmla="*/ 422 w 682"/>
                  <a:gd name="T57" fmla="*/ 573 h 682"/>
                  <a:gd name="T58" fmla="*/ 409 w 682"/>
                  <a:gd name="T59" fmla="*/ 533 h 682"/>
                  <a:gd name="T60" fmla="*/ 393 w 682"/>
                  <a:gd name="T61" fmla="*/ 493 h 682"/>
                  <a:gd name="T62" fmla="*/ 373 w 682"/>
                  <a:gd name="T63" fmla="*/ 456 h 682"/>
                  <a:gd name="T64" fmla="*/ 350 w 682"/>
                  <a:gd name="T65" fmla="*/ 421 h 682"/>
                  <a:gd name="T66" fmla="*/ 323 w 682"/>
                  <a:gd name="T67" fmla="*/ 389 h 682"/>
                  <a:gd name="T68" fmla="*/ 483 w 682"/>
                  <a:gd name="T69" fmla="*/ 199 h 6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82" h="682">
                    <a:moveTo>
                      <a:pt x="0" y="0"/>
                    </a:moveTo>
                    <a:lnTo>
                      <a:pt x="36" y="1"/>
                    </a:lnTo>
                    <a:lnTo>
                      <a:pt x="70" y="3"/>
                    </a:lnTo>
                    <a:lnTo>
                      <a:pt x="104" y="8"/>
                    </a:lnTo>
                    <a:lnTo>
                      <a:pt x="138" y="14"/>
                    </a:lnTo>
                    <a:lnTo>
                      <a:pt x="171" y="22"/>
                    </a:lnTo>
                    <a:lnTo>
                      <a:pt x="203" y="31"/>
                    </a:lnTo>
                    <a:lnTo>
                      <a:pt x="235" y="42"/>
                    </a:lnTo>
                    <a:lnTo>
                      <a:pt x="265" y="53"/>
                    </a:lnTo>
                    <a:lnTo>
                      <a:pt x="295" y="67"/>
                    </a:lnTo>
                    <a:lnTo>
                      <a:pt x="325" y="82"/>
                    </a:lnTo>
                    <a:lnTo>
                      <a:pt x="354" y="99"/>
                    </a:lnTo>
                    <a:lnTo>
                      <a:pt x="381" y="116"/>
                    </a:lnTo>
                    <a:lnTo>
                      <a:pt x="408" y="135"/>
                    </a:lnTo>
                    <a:lnTo>
                      <a:pt x="434" y="156"/>
                    </a:lnTo>
                    <a:lnTo>
                      <a:pt x="458" y="177"/>
                    </a:lnTo>
                    <a:lnTo>
                      <a:pt x="483" y="199"/>
                    </a:lnTo>
                    <a:lnTo>
                      <a:pt x="308" y="374"/>
                    </a:lnTo>
                    <a:lnTo>
                      <a:pt x="293" y="359"/>
                    </a:lnTo>
                    <a:lnTo>
                      <a:pt x="277" y="346"/>
                    </a:lnTo>
                    <a:lnTo>
                      <a:pt x="261" y="333"/>
                    </a:lnTo>
                    <a:lnTo>
                      <a:pt x="244" y="321"/>
                    </a:lnTo>
                    <a:lnTo>
                      <a:pt x="226" y="309"/>
                    </a:lnTo>
                    <a:lnTo>
                      <a:pt x="208" y="299"/>
                    </a:lnTo>
                    <a:lnTo>
                      <a:pt x="189" y="290"/>
                    </a:lnTo>
                    <a:lnTo>
                      <a:pt x="170" y="280"/>
                    </a:lnTo>
                    <a:lnTo>
                      <a:pt x="149" y="273"/>
                    </a:lnTo>
                    <a:lnTo>
                      <a:pt x="129" y="266"/>
                    </a:lnTo>
                    <a:lnTo>
                      <a:pt x="109" y="260"/>
                    </a:lnTo>
                    <a:lnTo>
                      <a:pt x="88" y="255"/>
                    </a:lnTo>
                    <a:lnTo>
                      <a:pt x="66" y="252"/>
                    </a:lnTo>
                    <a:lnTo>
                      <a:pt x="45" y="248"/>
                    </a:lnTo>
                    <a:lnTo>
                      <a:pt x="23" y="247"/>
                    </a:lnTo>
                    <a:lnTo>
                      <a:pt x="0" y="246"/>
                    </a:lnTo>
                    <a:lnTo>
                      <a:pt x="0" y="0"/>
                    </a:lnTo>
                    <a:close/>
                    <a:moveTo>
                      <a:pt x="483" y="199"/>
                    </a:moveTo>
                    <a:lnTo>
                      <a:pt x="505" y="224"/>
                    </a:lnTo>
                    <a:lnTo>
                      <a:pt x="526" y="248"/>
                    </a:lnTo>
                    <a:lnTo>
                      <a:pt x="546" y="274"/>
                    </a:lnTo>
                    <a:lnTo>
                      <a:pt x="566" y="301"/>
                    </a:lnTo>
                    <a:lnTo>
                      <a:pt x="584" y="328"/>
                    </a:lnTo>
                    <a:lnTo>
                      <a:pt x="600" y="357"/>
                    </a:lnTo>
                    <a:lnTo>
                      <a:pt x="615" y="387"/>
                    </a:lnTo>
                    <a:lnTo>
                      <a:pt x="628" y="417"/>
                    </a:lnTo>
                    <a:lnTo>
                      <a:pt x="640" y="448"/>
                    </a:lnTo>
                    <a:lnTo>
                      <a:pt x="651" y="479"/>
                    </a:lnTo>
                    <a:lnTo>
                      <a:pt x="660" y="511"/>
                    </a:lnTo>
                    <a:lnTo>
                      <a:pt x="668" y="544"/>
                    </a:lnTo>
                    <a:lnTo>
                      <a:pt x="674" y="579"/>
                    </a:lnTo>
                    <a:lnTo>
                      <a:pt x="678" y="613"/>
                    </a:lnTo>
                    <a:lnTo>
                      <a:pt x="681" y="647"/>
                    </a:lnTo>
                    <a:lnTo>
                      <a:pt x="682" y="682"/>
                    </a:lnTo>
                    <a:lnTo>
                      <a:pt x="436" y="682"/>
                    </a:lnTo>
                    <a:lnTo>
                      <a:pt x="435" y="659"/>
                    </a:lnTo>
                    <a:lnTo>
                      <a:pt x="434" y="637"/>
                    </a:lnTo>
                    <a:lnTo>
                      <a:pt x="430" y="616"/>
                    </a:lnTo>
                    <a:lnTo>
                      <a:pt x="427" y="595"/>
                    </a:lnTo>
                    <a:lnTo>
                      <a:pt x="422" y="573"/>
                    </a:lnTo>
                    <a:lnTo>
                      <a:pt x="416" y="553"/>
                    </a:lnTo>
                    <a:lnTo>
                      <a:pt x="409" y="533"/>
                    </a:lnTo>
                    <a:lnTo>
                      <a:pt x="402" y="512"/>
                    </a:lnTo>
                    <a:lnTo>
                      <a:pt x="393" y="493"/>
                    </a:lnTo>
                    <a:lnTo>
                      <a:pt x="383" y="474"/>
                    </a:lnTo>
                    <a:lnTo>
                      <a:pt x="373" y="456"/>
                    </a:lnTo>
                    <a:lnTo>
                      <a:pt x="361" y="439"/>
                    </a:lnTo>
                    <a:lnTo>
                      <a:pt x="350" y="421"/>
                    </a:lnTo>
                    <a:lnTo>
                      <a:pt x="336" y="405"/>
                    </a:lnTo>
                    <a:lnTo>
                      <a:pt x="323" y="389"/>
                    </a:lnTo>
                    <a:lnTo>
                      <a:pt x="308" y="374"/>
                    </a:lnTo>
                    <a:lnTo>
                      <a:pt x="483" y="19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04" name="Rectangle 38">
                <a:extLst>
                  <a:ext uri="{FF2B5EF4-FFF2-40B4-BE49-F238E27FC236}">
                    <a16:creationId xmlns:a16="http://schemas.microsoft.com/office/drawing/2014/main" id="{CE8B7F73-1465-4365-AA1B-A3AD80055420}"/>
                  </a:ext>
                </a:extLst>
              </p:cNvPr>
              <p:cNvSpPr>
                <a:spLocks noChangeArrowheads="1"/>
              </p:cNvSpPr>
              <p:nvPr/>
            </p:nvSpPr>
            <p:spPr bwMode="auto">
              <a:xfrm>
                <a:off x="2692400" y="5942013"/>
                <a:ext cx="77788" cy="5476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05" name="Freeform 90">
                <a:extLst>
                  <a:ext uri="{FF2B5EF4-FFF2-40B4-BE49-F238E27FC236}">
                    <a16:creationId xmlns:a16="http://schemas.microsoft.com/office/drawing/2014/main" id="{01B07EEC-390D-4983-910F-4B7FB3AEABDF}"/>
                  </a:ext>
                </a:extLst>
              </p:cNvPr>
              <p:cNvSpPr>
                <a:spLocks/>
              </p:cNvSpPr>
              <p:nvPr/>
            </p:nvSpPr>
            <p:spPr bwMode="auto">
              <a:xfrm>
                <a:off x="808038" y="4981575"/>
                <a:ext cx="306388" cy="347663"/>
              </a:xfrm>
              <a:custGeom>
                <a:avLst/>
                <a:gdLst>
                  <a:gd name="T0" fmla="*/ 751 w 965"/>
                  <a:gd name="T1" fmla="*/ 1017 h 1096"/>
                  <a:gd name="T2" fmla="*/ 820 w 965"/>
                  <a:gd name="T3" fmla="*/ 949 h 1096"/>
                  <a:gd name="T4" fmla="*/ 862 w 965"/>
                  <a:gd name="T5" fmla="*/ 897 h 1096"/>
                  <a:gd name="T6" fmla="*/ 890 w 965"/>
                  <a:gd name="T7" fmla="*/ 856 h 1096"/>
                  <a:gd name="T8" fmla="*/ 915 w 965"/>
                  <a:gd name="T9" fmla="*/ 813 h 1096"/>
                  <a:gd name="T10" fmla="*/ 937 w 965"/>
                  <a:gd name="T11" fmla="*/ 766 h 1096"/>
                  <a:gd name="T12" fmla="*/ 954 w 965"/>
                  <a:gd name="T13" fmla="*/ 716 h 1096"/>
                  <a:gd name="T14" fmla="*/ 963 w 965"/>
                  <a:gd name="T15" fmla="*/ 663 h 1096"/>
                  <a:gd name="T16" fmla="*/ 965 w 965"/>
                  <a:gd name="T17" fmla="*/ 608 h 1096"/>
                  <a:gd name="T18" fmla="*/ 957 w 965"/>
                  <a:gd name="T19" fmla="*/ 552 h 1096"/>
                  <a:gd name="T20" fmla="*/ 938 w 965"/>
                  <a:gd name="T21" fmla="*/ 495 h 1096"/>
                  <a:gd name="T22" fmla="*/ 906 w 965"/>
                  <a:gd name="T23" fmla="*/ 438 h 1096"/>
                  <a:gd name="T24" fmla="*/ 860 w 965"/>
                  <a:gd name="T25" fmla="*/ 380 h 1096"/>
                  <a:gd name="T26" fmla="*/ 806 w 965"/>
                  <a:gd name="T27" fmla="*/ 328 h 1096"/>
                  <a:gd name="T28" fmla="*/ 744 w 965"/>
                  <a:gd name="T29" fmla="*/ 279 h 1096"/>
                  <a:gd name="T30" fmla="*/ 677 w 965"/>
                  <a:gd name="T31" fmla="*/ 235 h 1096"/>
                  <a:gd name="T32" fmla="*/ 607 w 965"/>
                  <a:gd name="T33" fmla="*/ 196 h 1096"/>
                  <a:gd name="T34" fmla="*/ 533 w 965"/>
                  <a:gd name="T35" fmla="*/ 161 h 1096"/>
                  <a:gd name="T36" fmla="*/ 459 w 965"/>
                  <a:gd name="T37" fmla="*/ 129 h 1096"/>
                  <a:gd name="T38" fmla="*/ 386 w 965"/>
                  <a:gd name="T39" fmla="*/ 101 h 1096"/>
                  <a:gd name="T40" fmla="*/ 280 w 965"/>
                  <a:gd name="T41" fmla="*/ 67 h 1096"/>
                  <a:gd name="T42" fmla="*/ 155 w 965"/>
                  <a:gd name="T43" fmla="*/ 33 h 1096"/>
                  <a:gd name="T44" fmla="*/ 61 w 965"/>
                  <a:gd name="T45" fmla="*/ 12 h 1096"/>
                  <a:gd name="T46" fmla="*/ 7 w 965"/>
                  <a:gd name="T47" fmla="*/ 1 h 1096"/>
                  <a:gd name="T48" fmla="*/ 1 w 965"/>
                  <a:gd name="T49" fmla="*/ 8 h 1096"/>
                  <a:gd name="T50" fmla="*/ 2 w 965"/>
                  <a:gd name="T51" fmla="*/ 62 h 1096"/>
                  <a:gd name="T52" fmla="*/ 5 w 965"/>
                  <a:gd name="T53" fmla="*/ 157 h 1096"/>
                  <a:gd name="T54" fmla="*/ 13 w 965"/>
                  <a:gd name="T55" fmla="*/ 281 h 1096"/>
                  <a:gd name="T56" fmla="*/ 24 w 965"/>
                  <a:gd name="T57" fmla="*/ 422 h 1096"/>
                  <a:gd name="T58" fmla="*/ 43 w 965"/>
                  <a:gd name="T59" fmla="*/ 565 h 1096"/>
                  <a:gd name="T60" fmla="*/ 60 w 965"/>
                  <a:gd name="T61" fmla="*/ 667 h 1096"/>
                  <a:gd name="T62" fmla="*/ 73 w 965"/>
                  <a:gd name="T63" fmla="*/ 729 h 1096"/>
                  <a:gd name="T64" fmla="*/ 90 w 965"/>
                  <a:gd name="T65" fmla="*/ 784 h 1096"/>
                  <a:gd name="T66" fmla="*/ 109 w 965"/>
                  <a:gd name="T67" fmla="*/ 832 h 1096"/>
                  <a:gd name="T68" fmla="*/ 139 w 965"/>
                  <a:gd name="T69" fmla="*/ 888 h 1096"/>
                  <a:gd name="T70" fmla="*/ 185 w 965"/>
                  <a:gd name="T71" fmla="*/ 951 h 1096"/>
                  <a:gd name="T72" fmla="*/ 233 w 965"/>
                  <a:gd name="T73" fmla="*/ 1000 h 1096"/>
                  <a:gd name="T74" fmla="*/ 283 w 965"/>
                  <a:gd name="T75" fmla="*/ 1037 h 1096"/>
                  <a:gd name="T76" fmla="*/ 334 w 965"/>
                  <a:gd name="T77" fmla="*/ 1065 h 1096"/>
                  <a:gd name="T78" fmla="*/ 385 w 965"/>
                  <a:gd name="T79" fmla="*/ 1082 h 1096"/>
                  <a:gd name="T80" fmla="*/ 436 w 965"/>
                  <a:gd name="T81" fmla="*/ 1093 h 1096"/>
                  <a:gd name="T82" fmla="*/ 485 w 965"/>
                  <a:gd name="T83" fmla="*/ 1096 h 1096"/>
                  <a:gd name="T84" fmla="*/ 533 w 965"/>
                  <a:gd name="T85" fmla="*/ 1094 h 1096"/>
                  <a:gd name="T86" fmla="*/ 578 w 965"/>
                  <a:gd name="T87" fmla="*/ 1087 h 1096"/>
                  <a:gd name="T88" fmla="*/ 618 w 965"/>
                  <a:gd name="T89" fmla="*/ 1078 h 1096"/>
                  <a:gd name="T90" fmla="*/ 653 w 965"/>
                  <a:gd name="T91" fmla="*/ 1067 h 1096"/>
                  <a:gd name="T92" fmla="*/ 697 w 965"/>
                  <a:gd name="T93" fmla="*/ 1050 h 1096"/>
                  <a:gd name="T94" fmla="*/ 730 w 965"/>
                  <a:gd name="T95" fmla="*/ 1034 h 10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965" h="1096">
                    <a:moveTo>
                      <a:pt x="735" y="1032"/>
                    </a:moveTo>
                    <a:lnTo>
                      <a:pt x="751" y="1017"/>
                    </a:lnTo>
                    <a:lnTo>
                      <a:pt x="793" y="978"/>
                    </a:lnTo>
                    <a:lnTo>
                      <a:pt x="820" y="949"/>
                    </a:lnTo>
                    <a:lnTo>
                      <a:pt x="847" y="916"/>
                    </a:lnTo>
                    <a:lnTo>
                      <a:pt x="862" y="897"/>
                    </a:lnTo>
                    <a:lnTo>
                      <a:pt x="876" y="878"/>
                    </a:lnTo>
                    <a:lnTo>
                      <a:pt x="890" y="856"/>
                    </a:lnTo>
                    <a:lnTo>
                      <a:pt x="903" y="835"/>
                    </a:lnTo>
                    <a:lnTo>
                      <a:pt x="915" y="813"/>
                    </a:lnTo>
                    <a:lnTo>
                      <a:pt x="926" y="789"/>
                    </a:lnTo>
                    <a:lnTo>
                      <a:pt x="937" y="766"/>
                    </a:lnTo>
                    <a:lnTo>
                      <a:pt x="946" y="740"/>
                    </a:lnTo>
                    <a:lnTo>
                      <a:pt x="954" y="716"/>
                    </a:lnTo>
                    <a:lnTo>
                      <a:pt x="959" y="689"/>
                    </a:lnTo>
                    <a:lnTo>
                      <a:pt x="963" y="663"/>
                    </a:lnTo>
                    <a:lnTo>
                      <a:pt x="965" y="636"/>
                    </a:lnTo>
                    <a:lnTo>
                      <a:pt x="965" y="608"/>
                    </a:lnTo>
                    <a:lnTo>
                      <a:pt x="962" y="581"/>
                    </a:lnTo>
                    <a:lnTo>
                      <a:pt x="957" y="552"/>
                    </a:lnTo>
                    <a:lnTo>
                      <a:pt x="949" y="524"/>
                    </a:lnTo>
                    <a:lnTo>
                      <a:pt x="938" y="495"/>
                    </a:lnTo>
                    <a:lnTo>
                      <a:pt x="924" y="467"/>
                    </a:lnTo>
                    <a:lnTo>
                      <a:pt x="906" y="438"/>
                    </a:lnTo>
                    <a:lnTo>
                      <a:pt x="884" y="409"/>
                    </a:lnTo>
                    <a:lnTo>
                      <a:pt x="860" y="380"/>
                    </a:lnTo>
                    <a:lnTo>
                      <a:pt x="834" y="354"/>
                    </a:lnTo>
                    <a:lnTo>
                      <a:pt x="806" y="328"/>
                    </a:lnTo>
                    <a:lnTo>
                      <a:pt x="776" y="303"/>
                    </a:lnTo>
                    <a:lnTo>
                      <a:pt x="744" y="279"/>
                    </a:lnTo>
                    <a:lnTo>
                      <a:pt x="711" y="257"/>
                    </a:lnTo>
                    <a:lnTo>
                      <a:pt x="677" y="235"/>
                    </a:lnTo>
                    <a:lnTo>
                      <a:pt x="642" y="215"/>
                    </a:lnTo>
                    <a:lnTo>
                      <a:pt x="607" y="196"/>
                    </a:lnTo>
                    <a:lnTo>
                      <a:pt x="570" y="178"/>
                    </a:lnTo>
                    <a:lnTo>
                      <a:pt x="533" y="161"/>
                    </a:lnTo>
                    <a:lnTo>
                      <a:pt x="496" y="145"/>
                    </a:lnTo>
                    <a:lnTo>
                      <a:pt x="459" y="129"/>
                    </a:lnTo>
                    <a:lnTo>
                      <a:pt x="423" y="115"/>
                    </a:lnTo>
                    <a:lnTo>
                      <a:pt x="386" y="101"/>
                    </a:lnTo>
                    <a:lnTo>
                      <a:pt x="350" y="90"/>
                    </a:lnTo>
                    <a:lnTo>
                      <a:pt x="280" y="67"/>
                    </a:lnTo>
                    <a:lnTo>
                      <a:pt x="215" y="48"/>
                    </a:lnTo>
                    <a:lnTo>
                      <a:pt x="155" y="33"/>
                    </a:lnTo>
                    <a:lnTo>
                      <a:pt x="104" y="21"/>
                    </a:lnTo>
                    <a:lnTo>
                      <a:pt x="61" y="12"/>
                    </a:lnTo>
                    <a:lnTo>
                      <a:pt x="29" y="5"/>
                    </a:lnTo>
                    <a:lnTo>
                      <a:pt x="7" y="1"/>
                    </a:lnTo>
                    <a:lnTo>
                      <a:pt x="0" y="0"/>
                    </a:lnTo>
                    <a:lnTo>
                      <a:pt x="1" y="8"/>
                    </a:lnTo>
                    <a:lnTo>
                      <a:pt x="1" y="29"/>
                    </a:lnTo>
                    <a:lnTo>
                      <a:pt x="2" y="62"/>
                    </a:lnTo>
                    <a:lnTo>
                      <a:pt x="3" y="104"/>
                    </a:lnTo>
                    <a:lnTo>
                      <a:pt x="5" y="157"/>
                    </a:lnTo>
                    <a:lnTo>
                      <a:pt x="8" y="216"/>
                    </a:lnTo>
                    <a:lnTo>
                      <a:pt x="13" y="281"/>
                    </a:lnTo>
                    <a:lnTo>
                      <a:pt x="18" y="350"/>
                    </a:lnTo>
                    <a:lnTo>
                      <a:pt x="24" y="422"/>
                    </a:lnTo>
                    <a:lnTo>
                      <a:pt x="33" y="494"/>
                    </a:lnTo>
                    <a:lnTo>
                      <a:pt x="43" y="565"/>
                    </a:lnTo>
                    <a:lnTo>
                      <a:pt x="53" y="634"/>
                    </a:lnTo>
                    <a:lnTo>
                      <a:pt x="60" y="667"/>
                    </a:lnTo>
                    <a:lnTo>
                      <a:pt x="67" y="699"/>
                    </a:lnTo>
                    <a:lnTo>
                      <a:pt x="73" y="729"/>
                    </a:lnTo>
                    <a:lnTo>
                      <a:pt x="82" y="757"/>
                    </a:lnTo>
                    <a:lnTo>
                      <a:pt x="90" y="784"/>
                    </a:lnTo>
                    <a:lnTo>
                      <a:pt x="99" y="808"/>
                    </a:lnTo>
                    <a:lnTo>
                      <a:pt x="109" y="832"/>
                    </a:lnTo>
                    <a:lnTo>
                      <a:pt x="118" y="852"/>
                    </a:lnTo>
                    <a:lnTo>
                      <a:pt x="139" y="888"/>
                    </a:lnTo>
                    <a:lnTo>
                      <a:pt x="162" y="921"/>
                    </a:lnTo>
                    <a:lnTo>
                      <a:pt x="185" y="951"/>
                    </a:lnTo>
                    <a:lnTo>
                      <a:pt x="209" y="977"/>
                    </a:lnTo>
                    <a:lnTo>
                      <a:pt x="233" y="1000"/>
                    </a:lnTo>
                    <a:lnTo>
                      <a:pt x="258" y="1020"/>
                    </a:lnTo>
                    <a:lnTo>
                      <a:pt x="283" y="1037"/>
                    </a:lnTo>
                    <a:lnTo>
                      <a:pt x="309" y="1052"/>
                    </a:lnTo>
                    <a:lnTo>
                      <a:pt x="334" y="1065"/>
                    </a:lnTo>
                    <a:lnTo>
                      <a:pt x="360" y="1075"/>
                    </a:lnTo>
                    <a:lnTo>
                      <a:pt x="385" y="1082"/>
                    </a:lnTo>
                    <a:lnTo>
                      <a:pt x="411" y="1089"/>
                    </a:lnTo>
                    <a:lnTo>
                      <a:pt x="436" y="1093"/>
                    </a:lnTo>
                    <a:lnTo>
                      <a:pt x="461" y="1095"/>
                    </a:lnTo>
                    <a:lnTo>
                      <a:pt x="485" y="1096"/>
                    </a:lnTo>
                    <a:lnTo>
                      <a:pt x="510" y="1095"/>
                    </a:lnTo>
                    <a:lnTo>
                      <a:pt x="533" y="1094"/>
                    </a:lnTo>
                    <a:lnTo>
                      <a:pt x="556" y="1091"/>
                    </a:lnTo>
                    <a:lnTo>
                      <a:pt x="578" y="1087"/>
                    </a:lnTo>
                    <a:lnTo>
                      <a:pt x="598" y="1082"/>
                    </a:lnTo>
                    <a:lnTo>
                      <a:pt x="618" y="1078"/>
                    </a:lnTo>
                    <a:lnTo>
                      <a:pt x="636" y="1073"/>
                    </a:lnTo>
                    <a:lnTo>
                      <a:pt x="653" y="1067"/>
                    </a:lnTo>
                    <a:lnTo>
                      <a:pt x="669" y="1061"/>
                    </a:lnTo>
                    <a:lnTo>
                      <a:pt x="697" y="1050"/>
                    </a:lnTo>
                    <a:lnTo>
                      <a:pt x="717" y="1041"/>
                    </a:lnTo>
                    <a:lnTo>
                      <a:pt x="730" y="1034"/>
                    </a:lnTo>
                    <a:lnTo>
                      <a:pt x="735" y="10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06" name="Freeform 96">
                <a:extLst>
                  <a:ext uri="{FF2B5EF4-FFF2-40B4-BE49-F238E27FC236}">
                    <a16:creationId xmlns:a16="http://schemas.microsoft.com/office/drawing/2014/main" id="{60AB47CB-54CF-4A1E-91B3-B69AF3D550DE}"/>
                  </a:ext>
                </a:extLst>
              </p:cNvPr>
              <p:cNvSpPr>
                <a:spLocks/>
              </p:cNvSpPr>
              <p:nvPr/>
            </p:nvSpPr>
            <p:spPr bwMode="auto">
              <a:xfrm>
                <a:off x="1325563" y="4999038"/>
                <a:ext cx="276225" cy="312738"/>
              </a:xfrm>
              <a:custGeom>
                <a:avLst/>
                <a:gdLst>
                  <a:gd name="T0" fmla="*/ 192 w 868"/>
                  <a:gd name="T1" fmla="*/ 915 h 986"/>
                  <a:gd name="T2" fmla="*/ 132 w 868"/>
                  <a:gd name="T3" fmla="*/ 854 h 986"/>
                  <a:gd name="T4" fmla="*/ 93 w 868"/>
                  <a:gd name="T5" fmla="*/ 807 h 986"/>
                  <a:gd name="T6" fmla="*/ 68 w 868"/>
                  <a:gd name="T7" fmla="*/ 770 h 986"/>
                  <a:gd name="T8" fmla="*/ 45 w 868"/>
                  <a:gd name="T9" fmla="*/ 731 h 986"/>
                  <a:gd name="T10" fmla="*/ 25 w 868"/>
                  <a:gd name="T11" fmla="*/ 688 h 986"/>
                  <a:gd name="T12" fmla="*/ 10 w 868"/>
                  <a:gd name="T13" fmla="*/ 644 h 986"/>
                  <a:gd name="T14" fmla="*/ 2 w 868"/>
                  <a:gd name="T15" fmla="*/ 596 h 986"/>
                  <a:gd name="T16" fmla="*/ 0 w 868"/>
                  <a:gd name="T17" fmla="*/ 547 h 986"/>
                  <a:gd name="T18" fmla="*/ 7 w 868"/>
                  <a:gd name="T19" fmla="*/ 497 h 986"/>
                  <a:gd name="T20" fmla="*/ 24 w 868"/>
                  <a:gd name="T21" fmla="*/ 446 h 986"/>
                  <a:gd name="T22" fmla="*/ 53 w 868"/>
                  <a:gd name="T23" fmla="*/ 393 h 986"/>
                  <a:gd name="T24" fmla="*/ 94 w 868"/>
                  <a:gd name="T25" fmla="*/ 342 h 986"/>
                  <a:gd name="T26" fmla="*/ 143 w 868"/>
                  <a:gd name="T27" fmla="*/ 294 h 986"/>
                  <a:gd name="T28" fmla="*/ 199 w 868"/>
                  <a:gd name="T29" fmla="*/ 252 h 986"/>
                  <a:gd name="T30" fmla="*/ 259 w 868"/>
                  <a:gd name="T31" fmla="*/ 212 h 986"/>
                  <a:gd name="T32" fmla="*/ 323 w 868"/>
                  <a:gd name="T33" fmla="*/ 176 h 986"/>
                  <a:gd name="T34" fmla="*/ 388 w 868"/>
                  <a:gd name="T35" fmla="*/ 144 h 986"/>
                  <a:gd name="T36" fmla="*/ 455 w 868"/>
                  <a:gd name="T37" fmla="*/ 117 h 986"/>
                  <a:gd name="T38" fmla="*/ 521 w 868"/>
                  <a:gd name="T39" fmla="*/ 91 h 986"/>
                  <a:gd name="T40" fmla="*/ 616 w 868"/>
                  <a:gd name="T41" fmla="*/ 60 h 986"/>
                  <a:gd name="T42" fmla="*/ 729 w 868"/>
                  <a:gd name="T43" fmla="*/ 29 h 986"/>
                  <a:gd name="T44" fmla="*/ 814 w 868"/>
                  <a:gd name="T45" fmla="*/ 10 h 986"/>
                  <a:gd name="T46" fmla="*/ 862 w 868"/>
                  <a:gd name="T47" fmla="*/ 2 h 986"/>
                  <a:gd name="T48" fmla="*/ 868 w 868"/>
                  <a:gd name="T49" fmla="*/ 7 h 986"/>
                  <a:gd name="T50" fmla="*/ 867 w 868"/>
                  <a:gd name="T51" fmla="*/ 55 h 986"/>
                  <a:gd name="T52" fmla="*/ 863 w 868"/>
                  <a:gd name="T53" fmla="*/ 141 h 986"/>
                  <a:gd name="T54" fmla="*/ 857 w 868"/>
                  <a:gd name="T55" fmla="*/ 253 h 986"/>
                  <a:gd name="T56" fmla="*/ 846 w 868"/>
                  <a:gd name="T57" fmla="*/ 380 h 986"/>
                  <a:gd name="T58" fmla="*/ 830 w 868"/>
                  <a:gd name="T59" fmla="*/ 508 h 986"/>
                  <a:gd name="T60" fmla="*/ 815 w 868"/>
                  <a:gd name="T61" fmla="*/ 600 h 986"/>
                  <a:gd name="T62" fmla="*/ 802 w 868"/>
                  <a:gd name="T63" fmla="*/ 655 h 986"/>
                  <a:gd name="T64" fmla="*/ 787 w 868"/>
                  <a:gd name="T65" fmla="*/ 706 h 986"/>
                  <a:gd name="T66" fmla="*/ 771 w 868"/>
                  <a:gd name="T67" fmla="*/ 748 h 986"/>
                  <a:gd name="T68" fmla="*/ 743 w 868"/>
                  <a:gd name="T69" fmla="*/ 799 h 986"/>
                  <a:gd name="T70" fmla="*/ 702 w 868"/>
                  <a:gd name="T71" fmla="*/ 856 h 986"/>
                  <a:gd name="T72" fmla="*/ 659 w 868"/>
                  <a:gd name="T73" fmla="*/ 899 h 986"/>
                  <a:gd name="T74" fmla="*/ 614 w 868"/>
                  <a:gd name="T75" fmla="*/ 933 h 986"/>
                  <a:gd name="T76" fmla="*/ 568 w 868"/>
                  <a:gd name="T77" fmla="*/ 958 h 986"/>
                  <a:gd name="T78" fmla="*/ 521 w 868"/>
                  <a:gd name="T79" fmla="*/ 974 h 986"/>
                  <a:gd name="T80" fmla="*/ 475 w 868"/>
                  <a:gd name="T81" fmla="*/ 982 h 986"/>
                  <a:gd name="T82" fmla="*/ 432 w 868"/>
                  <a:gd name="T83" fmla="*/ 986 h 986"/>
                  <a:gd name="T84" fmla="*/ 388 w 868"/>
                  <a:gd name="T85" fmla="*/ 983 h 986"/>
                  <a:gd name="T86" fmla="*/ 349 w 868"/>
                  <a:gd name="T87" fmla="*/ 978 h 986"/>
                  <a:gd name="T88" fmla="*/ 313 w 868"/>
                  <a:gd name="T89" fmla="*/ 970 h 986"/>
                  <a:gd name="T90" fmla="*/ 280 w 868"/>
                  <a:gd name="T91" fmla="*/ 960 h 986"/>
                  <a:gd name="T92" fmla="*/ 223 w 868"/>
                  <a:gd name="T93" fmla="*/ 937 h 9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68" h="986">
                    <a:moveTo>
                      <a:pt x="207" y="928"/>
                    </a:moveTo>
                    <a:lnTo>
                      <a:pt x="192" y="915"/>
                    </a:lnTo>
                    <a:lnTo>
                      <a:pt x="155" y="879"/>
                    </a:lnTo>
                    <a:lnTo>
                      <a:pt x="132" y="854"/>
                    </a:lnTo>
                    <a:lnTo>
                      <a:pt x="106" y="824"/>
                    </a:lnTo>
                    <a:lnTo>
                      <a:pt x="93" y="807"/>
                    </a:lnTo>
                    <a:lnTo>
                      <a:pt x="81" y="790"/>
                    </a:lnTo>
                    <a:lnTo>
                      <a:pt x="68" y="770"/>
                    </a:lnTo>
                    <a:lnTo>
                      <a:pt x="56" y="751"/>
                    </a:lnTo>
                    <a:lnTo>
                      <a:pt x="45" y="731"/>
                    </a:lnTo>
                    <a:lnTo>
                      <a:pt x="35" y="711"/>
                    </a:lnTo>
                    <a:lnTo>
                      <a:pt x="25" y="688"/>
                    </a:lnTo>
                    <a:lnTo>
                      <a:pt x="18" y="666"/>
                    </a:lnTo>
                    <a:lnTo>
                      <a:pt x="10" y="644"/>
                    </a:lnTo>
                    <a:lnTo>
                      <a:pt x="5" y="620"/>
                    </a:lnTo>
                    <a:lnTo>
                      <a:pt x="2" y="596"/>
                    </a:lnTo>
                    <a:lnTo>
                      <a:pt x="0" y="571"/>
                    </a:lnTo>
                    <a:lnTo>
                      <a:pt x="0" y="547"/>
                    </a:lnTo>
                    <a:lnTo>
                      <a:pt x="3" y="522"/>
                    </a:lnTo>
                    <a:lnTo>
                      <a:pt x="7" y="497"/>
                    </a:lnTo>
                    <a:lnTo>
                      <a:pt x="15" y="471"/>
                    </a:lnTo>
                    <a:lnTo>
                      <a:pt x="24" y="446"/>
                    </a:lnTo>
                    <a:lnTo>
                      <a:pt x="37" y="419"/>
                    </a:lnTo>
                    <a:lnTo>
                      <a:pt x="53" y="393"/>
                    </a:lnTo>
                    <a:lnTo>
                      <a:pt x="72" y="368"/>
                    </a:lnTo>
                    <a:lnTo>
                      <a:pt x="94" y="342"/>
                    </a:lnTo>
                    <a:lnTo>
                      <a:pt x="118" y="318"/>
                    </a:lnTo>
                    <a:lnTo>
                      <a:pt x="143" y="294"/>
                    </a:lnTo>
                    <a:lnTo>
                      <a:pt x="171" y="273"/>
                    </a:lnTo>
                    <a:lnTo>
                      <a:pt x="199" y="252"/>
                    </a:lnTo>
                    <a:lnTo>
                      <a:pt x="229" y="232"/>
                    </a:lnTo>
                    <a:lnTo>
                      <a:pt x="259" y="212"/>
                    </a:lnTo>
                    <a:lnTo>
                      <a:pt x="290" y="193"/>
                    </a:lnTo>
                    <a:lnTo>
                      <a:pt x="323" y="176"/>
                    </a:lnTo>
                    <a:lnTo>
                      <a:pt x="355" y="160"/>
                    </a:lnTo>
                    <a:lnTo>
                      <a:pt x="388" y="144"/>
                    </a:lnTo>
                    <a:lnTo>
                      <a:pt x="422" y="130"/>
                    </a:lnTo>
                    <a:lnTo>
                      <a:pt x="455" y="117"/>
                    </a:lnTo>
                    <a:lnTo>
                      <a:pt x="488" y="104"/>
                    </a:lnTo>
                    <a:lnTo>
                      <a:pt x="521" y="91"/>
                    </a:lnTo>
                    <a:lnTo>
                      <a:pt x="553" y="80"/>
                    </a:lnTo>
                    <a:lnTo>
                      <a:pt x="616" y="60"/>
                    </a:lnTo>
                    <a:lnTo>
                      <a:pt x="675" y="43"/>
                    </a:lnTo>
                    <a:lnTo>
                      <a:pt x="729" y="29"/>
                    </a:lnTo>
                    <a:lnTo>
                      <a:pt x="775" y="19"/>
                    </a:lnTo>
                    <a:lnTo>
                      <a:pt x="814" y="10"/>
                    </a:lnTo>
                    <a:lnTo>
                      <a:pt x="843" y="5"/>
                    </a:lnTo>
                    <a:lnTo>
                      <a:pt x="862" y="2"/>
                    </a:lnTo>
                    <a:lnTo>
                      <a:pt x="868" y="0"/>
                    </a:lnTo>
                    <a:lnTo>
                      <a:pt x="868" y="7"/>
                    </a:lnTo>
                    <a:lnTo>
                      <a:pt x="867" y="26"/>
                    </a:lnTo>
                    <a:lnTo>
                      <a:pt x="867" y="55"/>
                    </a:lnTo>
                    <a:lnTo>
                      <a:pt x="865" y="94"/>
                    </a:lnTo>
                    <a:lnTo>
                      <a:pt x="863" y="141"/>
                    </a:lnTo>
                    <a:lnTo>
                      <a:pt x="861" y="194"/>
                    </a:lnTo>
                    <a:lnTo>
                      <a:pt x="857" y="253"/>
                    </a:lnTo>
                    <a:lnTo>
                      <a:pt x="852" y="316"/>
                    </a:lnTo>
                    <a:lnTo>
                      <a:pt x="846" y="380"/>
                    </a:lnTo>
                    <a:lnTo>
                      <a:pt x="838" y="445"/>
                    </a:lnTo>
                    <a:lnTo>
                      <a:pt x="830" y="508"/>
                    </a:lnTo>
                    <a:lnTo>
                      <a:pt x="820" y="570"/>
                    </a:lnTo>
                    <a:lnTo>
                      <a:pt x="815" y="600"/>
                    </a:lnTo>
                    <a:lnTo>
                      <a:pt x="809" y="628"/>
                    </a:lnTo>
                    <a:lnTo>
                      <a:pt x="802" y="655"/>
                    </a:lnTo>
                    <a:lnTo>
                      <a:pt x="795" y="681"/>
                    </a:lnTo>
                    <a:lnTo>
                      <a:pt x="787" y="706"/>
                    </a:lnTo>
                    <a:lnTo>
                      <a:pt x="780" y="728"/>
                    </a:lnTo>
                    <a:lnTo>
                      <a:pt x="771" y="748"/>
                    </a:lnTo>
                    <a:lnTo>
                      <a:pt x="762" y="766"/>
                    </a:lnTo>
                    <a:lnTo>
                      <a:pt x="743" y="799"/>
                    </a:lnTo>
                    <a:lnTo>
                      <a:pt x="723" y="829"/>
                    </a:lnTo>
                    <a:lnTo>
                      <a:pt x="702" y="856"/>
                    </a:lnTo>
                    <a:lnTo>
                      <a:pt x="681" y="879"/>
                    </a:lnTo>
                    <a:lnTo>
                      <a:pt x="659" y="899"/>
                    </a:lnTo>
                    <a:lnTo>
                      <a:pt x="636" y="917"/>
                    </a:lnTo>
                    <a:lnTo>
                      <a:pt x="614" y="933"/>
                    </a:lnTo>
                    <a:lnTo>
                      <a:pt x="591" y="947"/>
                    </a:lnTo>
                    <a:lnTo>
                      <a:pt x="568" y="958"/>
                    </a:lnTo>
                    <a:lnTo>
                      <a:pt x="545" y="966"/>
                    </a:lnTo>
                    <a:lnTo>
                      <a:pt x="521" y="974"/>
                    </a:lnTo>
                    <a:lnTo>
                      <a:pt x="499" y="979"/>
                    </a:lnTo>
                    <a:lnTo>
                      <a:pt x="475" y="982"/>
                    </a:lnTo>
                    <a:lnTo>
                      <a:pt x="453" y="985"/>
                    </a:lnTo>
                    <a:lnTo>
                      <a:pt x="432" y="986"/>
                    </a:lnTo>
                    <a:lnTo>
                      <a:pt x="409" y="986"/>
                    </a:lnTo>
                    <a:lnTo>
                      <a:pt x="388" y="983"/>
                    </a:lnTo>
                    <a:lnTo>
                      <a:pt x="368" y="981"/>
                    </a:lnTo>
                    <a:lnTo>
                      <a:pt x="349" y="978"/>
                    </a:lnTo>
                    <a:lnTo>
                      <a:pt x="330" y="974"/>
                    </a:lnTo>
                    <a:lnTo>
                      <a:pt x="313" y="970"/>
                    </a:lnTo>
                    <a:lnTo>
                      <a:pt x="296" y="964"/>
                    </a:lnTo>
                    <a:lnTo>
                      <a:pt x="280" y="960"/>
                    </a:lnTo>
                    <a:lnTo>
                      <a:pt x="266" y="955"/>
                    </a:lnTo>
                    <a:lnTo>
                      <a:pt x="223" y="937"/>
                    </a:lnTo>
                    <a:lnTo>
                      <a:pt x="207" y="9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07" name="Freeform 100">
                <a:extLst>
                  <a:ext uri="{FF2B5EF4-FFF2-40B4-BE49-F238E27FC236}">
                    <a16:creationId xmlns:a16="http://schemas.microsoft.com/office/drawing/2014/main" id="{2605CFF9-0D27-4EF0-B653-BC46E658CE5A}"/>
                  </a:ext>
                </a:extLst>
              </p:cNvPr>
              <p:cNvSpPr>
                <a:spLocks/>
              </p:cNvSpPr>
              <p:nvPr/>
            </p:nvSpPr>
            <p:spPr bwMode="auto">
              <a:xfrm>
                <a:off x="982663" y="5214938"/>
                <a:ext cx="266700" cy="273050"/>
              </a:xfrm>
              <a:custGeom>
                <a:avLst/>
                <a:gdLst>
                  <a:gd name="T0" fmla="*/ 78 w 843"/>
                  <a:gd name="T1" fmla="*/ 0 h 858"/>
                  <a:gd name="T2" fmla="*/ 843 w 843"/>
                  <a:gd name="T3" fmla="*/ 782 h 858"/>
                  <a:gd name="T4" fmla="*/ 764 w 843"/>
                  <a:gd name="T5" fmla="*/ 858 h 858"/>
                  <a:gd name="T6" fmla="*/ 0 w 843"/>
                  <a:gd name="T7" fmla="*/ 77 h 858"/>
                  <a:gd name="T8" fmla="*/ 78 w 843"/>
                  <a:gd name="T9" fmla="*/ 0 h 858"/>
                </a:gdLst>
                <a:ahLst/>
                <a:cxnLst>
                  <a:cxn ang="0">
                    <a:pos x="T0" y="T1"/>
                  </a:cxn>
                  <a:cxn ang="0">
                    <a:pos x="T2" y="T3"/>
                  </a:cxn>
                  <a:cxn ang="0">
                    <a:pos x="T4" y="T5"/>
                  </a:cxn>
                  <a:cxn ang="0">
                    <a:pos x="T6" y="T7"/>
                  </a:cxn>
                  <a:cxn ang="0">
                    <a:pos x="T8" y="T9"/>
                  </a:cxn>
                </a:cxnLst>
                <a:rect l="0" t="0" r="r" b="b"/>
                <a:pathLst>
                  <a:path w="843" h="858">
                    <a:moveTo>
                      <a:pt x="78" y="0"/>
                    </a:moveTo>
                    <a:lnTo>
                      <a:pt x="843" y="782"/>
                    </a:lnTo>
                    <a:lnTo>
                      <a:pt x="764" y="858"/>
                    </a:lnTo>
                    <a:lnTo>
                      <a:pt x="0" y="77"/>
                    </a:lnTo>
                    <a:lnTo>
                      <a:pt x="7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grpSp>
          <p:nvGrpSpPr>
            <p:cNvPr id="6" name="Group 132">
              <a:extLst>
                <a:ext uri="{FF2B5EF4-FFF2-40B4-BE49-F238E27FC236}">
                  <a16:creationId xmlns:a16="http://schemas.microsoft.com/office/drawing/2014/main" id="{0CB12631-2807-4D11-8B83-A3AA67AF5EE0}"/>
                </a:ext>
              </a:extLst>
            </p:cNvPr>
            <p:cNvGrpSpPr/>
            <p:nvPr/>
          </p:nvGrpSpPr>
          <p:grpSpPr>
            <a:xfrm>
              <a:off x="2408238" y="2976563"/>
              <a:ext cx="3421063" cy="3513137"/>
              <a:chOff x="2408238" y="2976563"/>
              <a:chExt cx="3421063" cy="3513137"/>
            </a:xfrm>
            <a:solidFill>
              <a:schemeClr val="accent6"/>
            </a:solidFill>
          </p:grpSpPr>
          <p:sp>
            <p:nvSpPr>
              <p:cNvPr id="89" name="Freeform 9">
                <a:extLst>
                  <a:ext uri="{FF2B5EF4-FFF2-40B4-BE49-F238E27FC236}">
                    <a16:creationId xmlns:a16="http://schemas.microsoft.com/office/drawing/2014/main" id="{60DB864A-3BF1-4D90-8BAE-FDF8D970F808}"/>
                  </a:ext>
                </a:extLst>
              </p:cNvPr>
              <p:cNvSpPr>
                <a:spLocks/>
              </p:cNvSpPr>
              <p:nvPr/>
            </p:nvSpPr>
            <p:spPr bwMode="auto">
              <a:xfrm>
                <a:off x="5311775" y="4330700"/>
                <a:ext cx="317500" cy="307975"/>
              </a:xfrm>
              <a:custGeom>
                <a:avLst/>
                <a:gdLst>
                  <a:gd name="T0" fmla="*/ 997 w 997"/>
                  <a:gd name="T1" fmla="*/ 79 h 973"/>
                  <a:gd name="T2" fmla="*/ 75 w 997"/>
                  <a:gd name="T3" fmla="*/ 973 h 973"/>
                  <a:gd name="T4" fmla="*/ 0 w 997"/>
                  <a:gd name="T5" fmla="*/ 894 h 973"/>
                  <a:gd name="T6" fmla="*/ 921 w 997"/>
                  <a:gd name="T7" fmla="*/ 0 h 973"/>
                  <a:gd name="T8" fmla="*/ 997 w 997"/>
                  <a:gd name="T9" fmla="*/ 79 h 973"/>
                </a:gdLst>
                <a:ahLst/>
                <a:cxnLst>
                  <a:cxn ang="0">
                    <a:pos x="T0" y="T1"/>
                  </a:cxn>
                  <a:cxn ang="0">
                    <a:pos x="T2" y="T3"/>
                  </a:cxn>
                  <a:cxn ang="0">
                    <a:pos x="T4" y="T5"/>
                  </a:cxn>
                  <a:cxn ang="0">
                    <a:pos x="T6" y="T7"/>
                  </a:cxn>
                  <a:cxn ang="0">
                    <a:pos x="T8" y="T9"/>
                  </a:cxn>
                </a:cxnLst>
                <a:rect l="0" t="0" r="r" b="b"/>
                <a:pathLst>
                  <a:path w="997" h="973">
                    <a:moveTo>
                      <a:pt x="997" y="79"/>
                    </a:moveTo>
                    <a:lnTo>
                      <a:pt x="75" y="973"/>
                    </a:lnTo>
                    <a:lnTo>
                      <a:pt x="0" y="894"/>
                    </a:lnTo>
                    <a:lnTo>
                      <a:pt x="921" y="0"/>
                    </a:lnTo>
                    <a:lnTo>
                      <a:pt x="997" y="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90" name="Freeform 15">
                <a:extLst>
                  <a:ext uri="{FF2B5EF4-FFF2-40B4-BE49-F238E27FC236}">
                    <a16:creationId xmlns:a16="http://schemas.microsoft.com/office/drawing/2014/main" id="{0E815CB8-F937-4C53-A7A7-30D7AB37A92A}"/>
                  </a:ext>
                </a:extLst>
              </p:cNvPr>
              <p:cNvSpPr>
                <a:spLocks/>
              </p:cNvSpPr>
              <p:nvPr/>
            </p:nvSpPr>
            <p:spPr bwMode="auto">
              <a:xfrm>
                <a:off x="4954588" y="2976563"/>
                <a:ext cx="738188" cy="739775"/>
              </a:xfrm>
              <a:custGeom>
                <a:avLst/>
                <a:gdLst>
                  <a:gd name="T0" fmla="*/ 2319 w 2325"/>
                  <a:gd name="T1" fmla="*/ 1282 h 2327"/>
                  <a:gd name="T2" fmla="*/ 2289 w 2325"/>
                  <a:gd name="T3" fmla="*/ 1453 h 2327"/>
                  <a:gd name="T4" fmla="*/ 2234 w 2325"/>
                  <a:gd name="T5" fmla="*/ 1616 h 2327"/>
                  <a:gd name="T6" fmla="*/ 2157 w 2325"/>
                  <a:gd name="T7" fmla="*/ 1767 h 2327"/>
                  <a:gd name="T8" fmla="*/ 2060 w 2325"/>
                  <a:gd name="T9" fmla="*/ 1903 h 2327"/>
                  <a:gd name="T10" fmla="*/ 1944 w 2325"/>
                  <a:gd name="T11" fmla="*/ 2024 h 2327"/>
                  <a:gd name="T12" fmla="*/ 1812 w 2325"/>
                  <a:gd name="T13" fmla="*/ 2128 h 2327"/>
                  <a:gd name="T14" fmla="*/ 1666 w 2325"/>
                  <a:gd name="T15" fmla="*/ 2212 h 2327"/>
                  <a:gd name="T16" fmla="*/ 1508 w 2325"/>
                  <a:gd name="T17" fmla="*/ 2275 h 2327"/>
                  <a:gd name="T18" fmla="*/ 1340 w 2325"/>
                  <a:gd name="T19" fmla="*/ 2313 h 2327"/>
                  <a:gd name="T20" fmla="*/ 1162 w 2325"/>
                  <a:gd name="T21" fmla="*/ 2327 h 2327"/>
                  <a:gd name="T22" fmla="*/ 985 w 2325"/>
                  <a:gd name="T23" fmla="*/ 2313 h 2327"/>
                  <a:gd name="T24" fmla="*/ 817 w 2325"/>
                  <a:gd name="T25" fmla="*/ 2275 h 2327"/>
                  <a:gd name="T26" fmla="*/ 658 w 2325"/>
                  <a:gd name="T27" fmla="*/ 2212 h 2327"/>
                  <a:gd name="T28" fmla="*/ 513 w 2325"/>
                  <a:gd name="T29" fmla="*/ 2128 h 2327"/>
                  <a:gd name="T30" fmla="*/ 381 w 2325"/>
                  <a:gd name="T31" fmla="*/ 2024 h 2327"/>
                  <a:gd name="T32" fmla="*/ 265 w 2325"/>
                  <a:gd name="T33" fmla="*/ 1903 h 2327"/>
                  <a:gd name="T34" fmla="*/ 168 w 2325"/>
                  <a:gd name="T35" fmla="*/ 1767 h 2327"/>
                  <a:gd name="T36" fmla="*/ 91 w 2325"/>
                  <a:gd name="T37" fmla="*/ 1616 h 2327"/>
                  <a:gd name="T38" fmla="*/ 36 w 2325"/>
                  <a:gd name="T39" fmla="*/ 1453 h 2327"/>
                  <a:gd name="T40" fmla="*/ 5 w 2325"/>
                  <a:gd name="T41" fmla="*/ 1282 h 2327"/>
                  <a:gd name="T42" fmla="*/ 1 w 2325"/>
                  <a:gd name="T43" fmla="*/ 1103 h 2327"/>
                  <a:gd name="T44" fmla="*/ 23 w 2325"/>
                  <a:gd name="T45" fmla="*/ 928 h 2327"/>
                  <a:gd name="T46" fmla="*/ 70 w 2325"/>
                  <a:gd name="T47" fmla="*/ 763 h 2327"/>
                  <a:gd name="T48" fmla="*/ 140 w 2325"/>
                  <a:gd name="T49" fmla="*/ 609 h 2327"/>
                  <a:gd name="T50" fmla="*/ 231 w 2325"/>
                  <a:gd name="T51" fmla="*/ 467 h 2327"/>
                  <a:gd name="T52" fmla="*/ 340 w 2325"/>
                  <a:gd name="T53" fmla="*/ 341 h 2327"/>
                  <a:gd name="T54" fmla="*/ 467 w 2325"/>
                  <a:gd name="T55" fmla="*/ 231 h 2327"/>
                  <a:gd name="T56" fmla="*/ 608 w 2325"/>
                  <a:gd name="T57" fmla="*/ 140 h 2327"/>
                  <a:gd name="T58" fmla="*/ 763 w 2325"/>
                  <a:gd name="T59" fmla="*/ 70 h 2327"/>
                  <a:gd name="T60" fmla="*/ 928 w 2325"/>
                  <a:gd name="T61" fmla="*/ 23 h 2327"/>
                  <a:gd name="T62" fmla="*/ 1102 w 2325"/>
                  <a:gd name="T63" fmla="*/ 1 h 2327"/>
                  <a:gd name="T64" fmla="*/ 1281 w 2325"/>
                  <a:gd name="T65" fmla="*/ 5 h 2327"/>
                  <a:gd name="T66" fmla="*/ 1453 w 2325"/>
                  <a:gd name="T67" fmla="*/ 36 h 2327"/>
                  <a:gd name="T68" fmla="*/ 1615 w 2325"/>
                  <a:gd name="T69" fmla="*/ 91 h 2327"/>
                  <a:gd name="T70" fmla="*/ 1765 w 2325"/>
                  <a:gd name="T71" fmla="*/ 168 h 2327"/>
                  <a:gd name="T72" fmla="*/ 1902 w 2325"/>
                  <a:gd name="T73" fmla="*/ 265 h 2327"/>
                  <a:gd name="T74" fmla="*/ 2023 w 2325"/>
                  <a:gd name="T75" fmla="*/ 381 h 2327"/>
                  <a:gd name="T76" fmla="*/ 2126 w 2325"/>
                  <a:gd name="T77" fmla="*/ 513 h 2327"/>
                  <a:gd name="T78" fmla="*/ 2210 w 2325"/>
                  <a:gd name="T79" fmla="*/ 659 h 2327"/>
                  <a:gd name="T80" fmla="*/ 2273 w 2325"/>
                  <a:gd name="T81" fmla="*/ 817 h 2327"/>
                  <a:gd name="T82" fmla="*/ 2311 w 2325"/>
                  <a:gd name="T83" fmla="*/ 986 h 2327"/>
                  <a:gd name="T84" fmla="*/ 2325 w 2325"/>
                  <a:gd name="T85" fmla="*/ 1163 h 2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325" h="2327">
                    <a:moveTo>
                      <a:pt x="2325" y="1163"/>
                    </a:moveTo>
                    <a:lnTo>
                      <a:pt x="2324" y="1223"/>
                    </a:lnTo>
                    <a:lnTo>
                      <a:pt x="2319" y="1282"/>
                    </a:lnTo>
                    <a:lnTo>
                      <a:pt x="2311" y="1341"/>
                    </a:lnTo>
                    <a:lnTo>
                      <a:pt x="2302" y="1398"/>
                    </a:lnTo>
                    <a:lnTo>
                      <a:pt x="2289" y="1453"/>
                    </a:lnTo>
                    <a:lnTo>
                      <a:pt x="2273" y="1509"/>
                    </a:lnTo>
                    <a:lnTo>
                      <a:pt x="2255" y="1563"/>
                    </a:lnTo>
                    <a:lnTo>
                      <a:pt x="2234" y="1616"/>
                    </a:lnTo>
                    <a:lnTo>
                      <a:pt x="2210" y="1668"/>
                    </a:lnTo>
                    <a:lnTo>
                      <a:pt x="2185" y="1718"/>
                    </a:lnTo>
                    <a:lnTo>
                      <a:pt x="2157" y="1767"/>
                    </a:lnTo>
                    <a:lnTo>
                      <a:pt x="2126" y="1813"/>
                    </a:lnTo>
                    <a:lnTo>
                      <a:pt x="2094" y="1859"/>
                    </a:lnTo>
                    <a:lnTo>
                      <a:pt x="2060" y="1903"/>
                    </a:lnTo>
                    <a:lnTo>
                      <a:pt x="2023" y="1945"/>
                    </a:lnTo>
                    <a:lnTo>
                      <a:pt x="1985" y="1986"/>
                    </a:lnTo>
                    <a:lnTo>
                      <a:pt x="1944" y="2024"/>
                    </a:lnTo>
                    <a:lnTo>
                      <a:pt x="1902" y="2060"/>
                    </a:lnTo>
                    <a:lnTo>
                      <a:pt x="1858" y="2096"/>
                    </a:lnTo>
                    <a:lnTo>
                      <a:pt x="1812" y="2128"/>
                    </a:lnTo>
                    <a:lnTo>
                      <a:pt x="1765" y="2158"/>
                    </a:lnTo>
                    <a:lnTo>
                      <a:pt x="1716" y="2186"/>
                    </a:lnTo>
                    <a:lnTo>
                      <a:pt x="1666" y="2212"/>
                    </a:lnTo>
                    <a:lnTo>
                      <a:pt x="1615" y="2235"/>
                    </a:lnTo>
                    <a:lnTo>
                      <a:pt x="1562" y="2256"/>
                    </a:lnTo>
                    <a:lnTo>
                      <a:pt x="1508" y="2275"/>
                    </a:lnTo>
                    <a:lnTo>
                      <a:pt x="1453" y="2291"/>
                    </a:lnTo>
                    <a:lnTo>
                      <a:pt x="1397" y="2303"/>
                    </a:lnTo>
                    <a:lnTo>
                      <a:pt x="1340" y="2313"/>
                    </a:lnTo>
                    <a:lnTo>
                      <a:pt x="1281" y="2320"/>
                    </a:lnTo>
                    <a:lnTo>
                      <a:pt x="1222" y="2326"/>
                    </a:lnTo>
                    <a:lnTo>
                      <a:pt x="1162" y="2327"/>
                    </a:lnTo>
                    <a:lnTo>
                      <a:pt x="1102" y="2326"/>
                    </a:lnTo>
                    <a:lnTo>
                      <a:pt x="1044" y="2320"/>
                    </a:lnTo>
                    <a:lnTo>
                      <a:pt x="985" y="2313"/>
                    </a:lnTo>
                    <a:lnTo>
                      <a:pt x="928" y="2303"/>
                    </a:lnTo>
                    <a:lnTo>
                      <a:pt x="871" y="2291"/>
                    </a:lnTo>
                    <a:lnTo>
                      <a:pt x="817" y="2275"/>
                    </a:lnTo>
                    <a:lnTo>
                      <a:pt x="763" y="2256"/>
                    </a:lnTo>
                    <a:lnTo>
                      <a:pt x="709" y="2235"/>
                    </a:lnTo>
                    <a:lnTo>
                      <a:pt x="658" y="2212"/>
                    </a:lnTo>
                    <a:lnTo>
                      <a:pt x="608" y="2186"/>
                    </a:lnTo>
                    <a:lnTo>
                      <a:pt x="559" y="2158"/>
                    </a:lnTo>
                    <a:lnTo>
                      <a:pt x="513" y="2128"/>
                    </a:lnTo>
                    <a:lnTo>
                      <a:pt x="467" y="2096"/>
                    </a:lnTo>
                    <a:lnTo>
                      <a:pt x="422" y="2060"/>
                    </a:lnTo>
                    <a:lnTo>
                      <a:pt x="381" y="2024"/>
                    </a:lnTo>
                    <a:lnTo>
                      <a:pt x="340" y="1986"/>
                    </a:lnTo>
                    <a:lnTo>
                      <a:pt x="302" y="1945"/>
                    </a:lnTo>
                    <a:lnTo>
                      <a:pt x="265" y="1903"/>
                    </a:lnTo>
                    <a:lnTo>
                      <a:pt x="231" y="1859"/>
                    </a:lnTo>
                    <a:lnTo>
                      <a:pt x="198" y="1813"/>
                    </a:lnTo>
                    <a:lnTo>
                      <a:pt x="168" y="1767"/>
                    </a:lnTo>
                    <a:lnTo>
                      <a:pt x="140" y="1718"/>
                    </a:lnTo>
                    <a:lnTo>
                      <a:pt x="115" y="1668"/>
                    </a:lnTo>
                    <a:lnTo>
                      <a:pt x="91" y="1616"/>
                    </a:lnTo>
                    <a:lnTo>
                      <a:pt x="70" y="1563"/>
                    </a:lnTo>
                    <a:lnTo>
                      <a:pt x="52" y="1509"/>
                    </a:lnTo>
                    <a:lnTo>
                      <a:pt x="36" y="1453"/>
                    </a:lnTo>
                    <a:lnTo>
                      <a:pt x="23" y="1398"/>
                    </a:lnTo>
                    <a:lnTo>
                      <a:pt x="12" y="1341"/>
                    </a:lnTo>
                    <a:lnTo>
                      <a:pt x="5" y="1282"/>
                    </a:lnTo>
                    <a:lnTo>
                      <a:pt x="1" y="1223"/>
                    </a:lnTo>
                    <a:lnTo>
                      <a:pt x="0" y="1163"/>
                    </a:lnTo>
                    <a:lnTo>
                      <a:pt x="1" y="1103"/>
                    </a:lnTo>
                    <a:lnTo>
                      <a:pt x="5" y="1044"/>
                    </a:lnTo>
                    <a:lnTo>
                      <a:pt x="12" y="986"/>
                    </a:lnTo>
                    <a:lnTo>
                      <a:pt x="23" y="928"/>
                    </a:lnTo>
                    <a:lnTo>
                      <a:pt x="36" y="872"/>
                    </a:lnTo>
                    <a:lnTo>
                      <a:pt x="52" y="817"/>
                    </a:lnTo>
                    <a:lnTo>
                      <a:pt x="70" y="763"/>
                    </a:lnTo>
                    <a:lnTo>
                      <a:pt x="91" y="710"/>
                    </a:lnTo>
                    <a:lnTo>
                      <a:pt x="115" y="659"/>
                    </a:lnTo>
                    <a:lnTo>
                      <a:pt x="140" y="609"/>
                    </a:lnTo>
                    <a:lnTo>
                      <a:pt x="168" y="560"/>
                    </a:lnTo>
                    <a:lnTo>
                      <a:pt x="198" y="513"/>
                    </a:lnTo>
                    <a:lnTo>
                      <a:pt x="231" y="467"/>
                    </a:lnTo>
                    <a:lnTo>
                      <a:pt x="265" y="423"/>
                    </a:lnTo>
                    <a:lnTo>
                      <a:pt x="302" y="381"/>
                    </a:lnTo>
                    <a:lnTo>
                      <a:pt x="340" y="341"/>
                    </a:lnTo>
                    <a:lnTo>
                      <a:pt x="381" y="302"/>
                    </a:lnTo>
                    <a:lnTo>
                      <a:pt x="422" y="265"/>
                    </a:lnTo>
                    <a:lnTo>
                      <a:pt x="467" y="231"/>
                    </a:lnTo>
                    <a:lnTo>
                      <a:pt x="513" y="198"/>
                    </a:lnTo>
                    <a:lnTo>
                      <a:pt x="559" y="168"/>
                    </a:lnTo>
                    <a:lnTo>
                      <a:pt x="608" y="140"/>
                    </a:lnTo>
                    <a:lnTo>
                      <a:pt x="658" y="115"/>
                    </a:lnTo>
                    <a:lnTo>
                      <a:pt x="709" y="91"/>
                    </a:lnTo>
                    <a:lnTo>
                      <a:pt x="763" y="70"/>
                    </a:lnTo>
                    <a:lnTo>
                      <a:pt x="817" y="52"/>
                    </a:lnTo>
                    <a:lnTo>
                      <a:pt x="871" y="36"/>
                    </a:lnTo>
                    <a:lnTo>
                      <a:pt x="928" y="23"/>
                    </a:lnTo>
                    <a:lnTo>
                      <a:pt x="985" y="12"/>
                    </a:lnTo>
                    <a:lnTo>
                      <a:pt x="1044" y="5"/>
                    </a:lnTo>
                    <a:lnTo>
                      <a:pt x="1102" y="1"/>
                    </a:lnTo>
                    <a:lnTo>
                      <a:pt x="1162" y="0"/>
                    </a:lnTo>
                    <a:lnTo>
                      <a:pt x="1222" y="1"/>
                    </a:lnTo>
                    <a:lnTo>
                      <a:pt x="1281" y="5"/>
                    </a:lnTo>
                    <a:lnTo>
                      <a:pt x="1340" y="12"/>
                    </a:lnTo>
                    <a:lnTo>
                      <a:pt x="1397" y="23"/>
                    </a:lnTo>
                    <a:lnTo>
                      <a:pt x="1453" y="36"/>
                    </a:lnTo>
                    <a:lnTo>
                      <a:pt x="1508" y="52"/>
                    </a:lnTo>
                    <a:lnTo>
                      <a:pt x="1562" y="70"/>
                    </a:lnTo>
                    <a:lnTo>
                      <a:pt x="1615" y="91"/>
                    </a:lnTo>
                    <a:lnTo>
                      <a:pt x="1666" y="115"/>
                    </a:lnTo>
                    <a:lnTo>
                      <a:pt x="1716" y="140"/>
                    </a:lnTo>
                    <a:lnTo>
                      <a:pt x="1765" y="168"/>
                    </a:lnTo>
                    <a:lnTo>
                      <a:pt x="1812" y="198"/>
                    </a:lnTo>
                    <a:lnTo>
                      <a:pt x="1858" y="231"/>
                    </a:lnTo>
                    <a:lnTo>
                      <a:pt x="1902" y="265"/>
                    </a:lnTo>
                    <a:lnTo>
                      <a:pt x="1944" y="302"/>
                    </a:lnTo>
                    <a:lnTo>
                      <a:pt x="1985" y="341"/>
                    </a:lnTo>
                    <a:lnTo>
                      <a:pt x="2023" y="381"/>
                    </a:lnTo>
                    <a:lnTo>
                      <a:pt x="2060" y="423"/>
                    </a:lnTo>
                    <a:lnTo>
                      <a:pt x="2094" y="467"/>
                    </a:lnTo>
                    <a:lnTo>
                      <a:pt x="2126" y="513"/>
                    </a:lnTo>
                    <a:lnTo>
                      <a:pt x="2157" y="560"/>
                    </a:lnTo>
                    <a:lnTo>
                      <a:pt x="2185" y="609"/>
                    </a:lnTo>
                    <a:lnTo>
                      <a:pt x="2210" y="659"/>
                    </a:lnTo>
                    <a:lnTo>
                      <a:pt x="2234" y="710"/>
                    </a:lnTo>
                    <a:lnTo>
                      <a:pt x="2255" y="763"/>
                    </a:lnTo>
                    <a:lnTo>
                      <a:pt x="2273" y="817"/>
                    </a:lnTo>
                    <a:lnTo>
                      <a:pt x="2289" y="872"/>
                    </a:lnTo>
                    <a:lnTo>
                      <a:pt x="2302" y="928"/>
                    </a:lnTo>
                    <a:lnTo>
                      <a:pt x="2311" y="986"/>
                    </a:lnTo>
                    <a:lnTo>
                      <a:pt x="2319" y="1044"/>
                    </a:lnTo>
                    <a:lnTo>
                      <a:pt x="2324" y="1103"/>
                    </a:lnTo>
                    <a:lnTo>
                      <a:pt x="2325" y="11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91" name="Rectangle 39">
                <a:extLst>
                  <a:ext uri="{FF2B5EF4-FFF2-40B4-BE49-F238E27FC236}">
                    <a16:creationId xmlns:a16="http://schemas.microsoft.com/office/drawing/2014/main" id="{BC71CA21-6860-4399-99A8-A28E1B4D1BE0}"/>
                  </a:ext>
                </a:extLst>
              </p:cNvPr>
              <p:cNvSpPr>
                <a:spLocks noChangeArrowheads="1"/>
              </p:cNvSpPr>
              <p:nvPr/>
            </p:nvSpPr>
            <p:spPr bwMode="auto">
              <a:xfrm>
                <a:off x="5307013" y="3644900"/>
                <a:ext cx="34925" cy="1255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92" name="Freeform 40">
                <a:extLst>
                  <a:ext uri="{FF2B5EF4-FFF2-40B4-BE49-F238E27FC236}">
                    <a16:creationId xmlns:a16="http://schemas.microsoft.com/office/drawing/2014/main" id="{BA9DE417-A4D5-4D20-A6E9-86F8B4B9A6B4}"/>
                  </a:ext>
                </a:extLst>
              </p:cNvPr>
              <p:cNvSpPr>
                <a:spLocks noEditPoints="1"/>
              </p:cNvSpPr>
              <p:nvPr/>
            </p:nvSpPr>
            <p:spPr bwMode="auto">
              <a:xfrm>
                <a:off x="5064125" y="4900613"/>
                <a:ext cx="277813" cy="276225"/>
              </a:xfrm>
              <a:custGeom>
                <a:avLst/>
                <a:gdLst>
                  <a:gd name="T0" fmla="*/ 872 w 872"/>
                  <a:gd name="T1" fmla="*/ 23 h 872"/>
                  <a:gd name="T2" fmla="*/ 869 w 872"/>
                  <a:gd name="T3" fmla="*/ 67 h 872"/>
                  <a:gd name="T4" fmla="*/ 865 w 872"/>
                  <a:gd name="T5" fmla="*/ 111 h 872"/>
                  <a:gd name="T6" fmla="*/ 858 w 872"/>
                  <a:gd name="T7" fmla="*/ 154 h 872"/>
                  <a:gd name="T8" fmla="*/ 850 w 872"/>
                  <a:gd name="T9" fmla="*/ 197 h 872"/>
                  <a:gd name="T10" fmla="*/ 839 w 872"/>
                  <a:gd name="T11" fmla="*/ 239 h 872"/>
                  <a:gd name="T12" fmla="*/ 819 w 872"/>
                  <a:gd name="T13" fmla="*/ 300 h 872"/>
                  <a:gd name="T14" fmla="*/ 786 w 872"/>
                  <a:gd name="T15" fmla="*/ 378 h 872"/>
                  <a:gd name="T16" fmla="*/ 746 w 872"/>
                  <a:gd name="T17" fmla="*/ 452 h 872"/>
                  <a:gd name="T18" fmla="*/ 699 w 872"/>
                  <a:gd name="T19" fmla="*/ 521 h 872"/>
                  <a:gd name="T20" fmla="*/ 645 w 872"/>
                  <a:gd name="T21" fmla="*/ 586 h 872"/>
                  <a:gd name="T22" fmla="*/ 539 w 872"/>
                  <a:gd name="T23" fmla="*/ 539 h 872"/>
                  <a:gd name="T24" fmla="*/ 589 w 872"/>
                  <a:gd name="T25" fmla="*/ 485 h 872"/>
                  <a:gd name="T26" fmla="*/ 633 w 872"/>
                  <a:gd name="T27" fmla="*/ 427 h 872"/>
                  <a:gd name="T28" fmla="*/ 671 w 872"/>
                  <a:gd name="T29" fmla="*/ 364 h 872"/>
                  <a:gd name="T30" fmla="*/ 703 w 872"/>
                  <a:gd name="T31" fmla="*/ 297 h 872"/>
                  <a:gd name="T32" fmla="*/ 728 w 872"/>
                  <a:gd name="T33" fmla="*/ 226 h 872"/>
                  <a:gd name="T34" fmla="*/ 747 w 872"/>
                  <a:gd name="T35" fmla="*/ 154 h 872"/>
                  <a:gd name="T36" fmla="*/ 758 w 872"/>
                  <a:gd name="T37" fmla="*/ 78 h 872"/>
                  <a:gd name="T38" fmla="*/ 763 w 872"/>
                  <a:gd name="T39" fmla="*/ 0 h 872"/>
                  <a:gd name="T40" fmla="*/ 617 w 872"/>
                  <a:gd name="T41" fmla="*/ 616 h 872"/>
                  <a:gd name="T42" fmla="*/ 555 w 872"/>
                  <a:gd name="T43" fmla="*/ 673 h 872"/>
                  <a:gd name="T44" fmla="*/ 488 w 872"/>
                  <a:gd name="T45" fmla="*/ 723 h 872"/>
                  <a:gd name="T46" fmla="*/ 416 w 872"/>
                  <a:gd name="T47" fmla="*/ 766 h 872"/>
                  <a:gd name="T48" fmla="*/ 340 w 872"/>
                  <a:gd name="T49" fmla="*/ 804 h 872"/>
                  <a:gd name="T50" fmla="*/ 260 w 872"/>
                  <a:gd name="T51" fmla="*/ 832 h 872"/>
                  <a:gd name="T52" fmla="*/ 219 w 872"/>
                  <a:gd name="T53" fmla="*/ 844 h 872"/>
                  <a:gd name="T54" fmla="*/ 176 w 872"/>
                  <a:gd name="T55" fmla="*/ 855 h 872"/>
                  <a:gd name="T56" fmla="*/ 134 w 872"/>
                  <a:gd name="T57" fmla="*/ 862 h 872"/>
                  <a:gd name="T58" fmla="*/ 90 w 872"/>
                  <a:gd name="T59" fmla="*/ 867 h 872"/>
                  <a:gd name="T60" fmla="*/ 45 w 872"/>
                  <a:gd name="T61" fmla="*/ 871 h 872"/>
                  <a:gd name="T62" fmla="*/ 0 w 872"/>
                  <a:gd name="T63" fmla="*/ 872 h 872"/>
                  <a:gd name="T64" fmla="*/ 40 w 872"/>
                  <a:gd name="T65" fmla="*/ 762 h 872"/>
                  <a:gd name="T66" fmla="*/ 116 w 872"/>
                  <a:gd name="T67" fmla="*/ 754 h 872"/>
                  <a:gd name="T68" fmla="*/ 191 w 872"/>
                  <a:gd name="T69" fmla="*/ 739 h 872"/>
                  <a:gd name="T70" fmla="*/ 262 w 872"/>
                  <a:gd name="T71" fmla="*/ 716 h 872"/>
                  <a:gd name="T72" fmla="*/ 330 w 872"/>
                  <a:gd name="T73" fmla="*/ 687 h 872"/>
                  <a:gd name="T74" fmla="*/ 395 w 872"/>
                  <a:gd name="T75" fmla="*/ 652 h 872"/>
                  <a:gd name="T76" fmla="*/ 456 w 872"/>
                  <a:gd name="T77" fmla="*/ 611 h 872"/>
                  <a:gd name="T78" fmla="*/ 512 w 872"/>
                  <a:gd name="T79" fmla="*/ 564 h 872"/>
                  <a:gd name="T80" fmla="*/ 617 w 872"/>
                  <a:gd name="T81" fmla="*/ 616 h 8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72" h="872">
                    <a:moveTo>
                      <a:pt x="872" y="0"/>
                    </a:moveTo>
                    <a:lnTo>
                      <a:pt x="872" y="23"/>
                    </a:lnTo>
                    <a:lnTo>
                      <a:pt x="871" y="45"/>
                    </a:lnTo>
                    <a:lnTo>
                      <a:pt x="869" y="67"/>
                    </a:lnTo>
                    <a:lnTo>
                      <a:pt x="868" y="89"/>
                    </a:lnTo>
                    <a:lnTo>
                      <a:pt x="865" y="111"/>
                    </a:lnTo>
                    <a:lnTo>
                      <a:pt x="862" y="133"/>
                    </a:lnTo>
                    <a:lnTo>
                      <a:pt x="858" y="154"/>
                    </a:lnTo>
                    <a:lnTo>
                      <a:pt x="854" y="175"/>
                    </a:lnTo>
                    <a:lnTo>
                      <a:pt x="850" y="197"/>
                    </a:lnTo>
                    <a:lnTo>
                      <a:pt x="844" y="218"/>
                    </a:lnTo>
                    <a:lnTo>
                      <a:pt x="839" y="239"/>
                    </a:lnTo>
                    <a:lnTo>
                      <a:pt x="833" y="259"/>
                    </a:lnTo>
                    <a:lnTo>
                      <a:pt x="819" y="300"/>
                    </a:lnTo>
                    <a:lnTo>
                      <a:pt x="804" y="339"/>
                    </a:lnTo>
                    <a:lnTo>
                      <a:pt x="786" y="378"/>
                    </a:lnTo>
                    <a:lnTo>
                      <a:pt x="767" y="416"/>
                    </a:lnTo>
                    <a:lnTo>
                      <a:pt x="746" y="452"/>
                    </a:lnTo>
                    <a:lnTo>
                      <a:pt x="723" y="487"/>
                    </a:lnTo>
                    <a:lnTo>
                      <a:pt x="699" y="521"/>
                    </a:lnTo>
                    <a:lnTo>
                      <a:pt x="673" y="554"/>
                    </a:lnTo>
                    <a:lnTo>
                      <a:pt x="645" y="586"/>
                    </a:lnTo>
                    <a:lnTo>
                      <a:pt x="617" y="616"/>
                    </a:lnTo>
                    <a:lnTo>
                      <a:pt x="539" y="539"/>
                    </a:lnTo>
                    <a:lnTo>
                      <a:pt x="565" y="513"/>
                    </a:lnTo>
                    <a:lnTo>
                      <a:pt x="589" y="485"/>
                    </a:lnTo>
                    <a:lnTo>
                      <a:pt x="611" y="456"/>
                    </a:lnTo>
                    <a:lnTo>
                      <a:pt x="633" y="427"/>
                    </a:lnTo>
                    <a:lnTo>
                      <a:pt x="652" y="396"/>
                    </a:lnTo>
                    <a:lnTo>
                      <a:pt x="671" y="364"/>
                    </a:lnTo>
                    <a:lnTo>
                      <a:pt x="687" y="331"/>
                    </a:lnTo>
                    <a:lnTo>
                      <a:pt x="703" y="297"/>
                    </a:lnTo>
                    <a:lnTo>
                      <a:pt x="717" y="263"/>
                    </a:lnTo>
                    <a:lnTo>
                      <a:pt x="728" y="226"/>
                    </a:lnTo>
                    <a:lnTo>
                      <a:pt x="738" y="190"/>
                    </a:lnTo>
                    <a:lnTo>
                      <a:pt x="747" y="154"/>
                    </a:lnTo>
                    <a:lnTo>
                      <a:pt x="754" y="116"/>
                    </a:lnTo>
                    <a:lnTo>
                      <a:pt x="758" y="78"/>
                    </a:lnTo>
                    <a:lnTo>
                      <a:pt x="761" y="39"/>
                    </a:lnTo>
                    <a:lnTo>
                      <a:pt x="763" y="0"/>
                    </a:lnTo>
                    <a:lnTo>
                      <a:pt x="872" y="0"/>
                    </a:lnTo>
                    <a:close/>
                    <a:moveTo>
                      <a:pt x="617" y="616"/>
                    </a:moveTo>
                    <a:lnTo>
                      <a:pt x="587" y="646"/>
                    </a:lnTo>
                    <a:lnTo>
                      <a:pt x="555" y="673"/>
                    </a:lnTo>
                    <a:lnTo>
                      <a:pt x="522" y="699"/>
                    </a:lnTo>
                    <a:lnTo>
                      <a:pt x="488" y="723"/>
                    </a:lnTo>
                    <a:lnTo>
                      <a:pt x="453" y="746"/>
                    </a:lnTo>
                    <a:lnTo>
                      <a:pt x="416" y="766"/>
                    </a:lnTo>
                    <a:lnTo>
                      <a:pt x="378" y="787"/>
                    </a:lnTo>
                    <a:lnTo>
                      <a:pt x="340" y="804"/>
                    </a:lnTo>
                    <a:lnTo>
                      <a:pt x="301" y="820"/>
                    </a:lnTo>
                    <a:lnTo>
                      <a:pt x="260" y="832"/>
                    </a:lnTo>
                    <a:lnTo>
                      <a:pt x="239" y="839"/>
                    </a:lnTo>
                    <a:lnTo>
                      <a:pt x="219" y="844"/>
                    </a:lnTo>
                    <a:lnTo>
                      <a:pt x="197" y="849"/>
                    </a:lnTo>
                    <a:lnTo>
                      <a:pt x="176" y="855"/>
                    </a:lnTo>
                    <a:lnTo>
                      <a:pt x="155" y="858"/>
                    </a:lnTo>
                    <a:lnTo>
                      <a:pt x="134" y="862"/>
                    </a:lnTo>
                    <a:lnTo>
                      <a:pt x="111" y="865"/>
                    </a:lnTo>
                    <a:lnTo>
                      <a:pt x="90" y="867"/>
                    </a:lnTo>
                    <a:lnTo>
                      <a:pt x="68" y="870"/>
                    </a:lnTo>
                    <a:lnTo>
                      <a:pt x="45" y="871"/>
                    </a:lnTo>
                    <a:lnTo>
                      <a:pt x="23" y="872"/>
                    </a:lnTo>
                    <a:lnTo>
                      <a:pt x="0" y="872"/>
                    </a:lnTo>
                    <a:lnTo>
                      <a:pt x="0" y="762"/>
                    </a:lnTo>
                    <a:lnTo>
                      <a:pt x="40" y="762"/>
                    </a:lnTo>
                    <a:lnTo>
                      <a:pt x="78" y="759"/>
                    </a:lnTo>
                    <a:lnTo>
                      <a:pt x="116" y="754"/>
                    </a:lnTo>
                    <a:lnTo>
                      <a:pt x="154" y="747"/>
                    </a:lnTo>
                    <a:lnTo>
                      <a:pt x="191" y="739"/>
                    </a:lnTo>
                    <a:lnTo>
                      <a:pt x="227" y="728"/>
                    </a:lnTo>
                    <a:lnTo>
                      <a:pt x="262" y="716"/>
                    </a:lnTo>
                    <a:lnTo>
                      <a:pt x="297" y="702"/>
                    </a:lnTo>
                    <a:lnTo>
                      <a:pt x="330" y="687"/>
                    </a:lnTo>
                    <a:lnTo>
                      <a:pt x="363" y="670"/>
                    </a:lnTo>
                    <a:lnTo>
                      <a:pt x="395" y="652"/>
                    </a:lnTo>
                    <a:lnTo>
                      <a:pt x="426" y="632"/>
                    </a:lnTo>
                    <a:lnTo>
                      <a:pt x="456" y="611"/>
                    </a:lnTo>
                    <a:lnTo>
                      <a:pt x="485" y="588"/>
                    </a:lnTo>
                    <a:lnTo>
                      <a:pt x="512" y="564"/>
                    </a:lnTo>
                    <a:lnTo>
                      <a:pt x="539" y="539"/>
                    </a:lnTo>
                    <a:lnTo>
                      <a:pt x="617" y="6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93" name="Rectangle 41">
                <a:extLst>
                  <a:ext uri="{FF2B5EF4-FFF2-40B4-BE49-F238E27FC236}">
                    <a16:creationId xmlns:a16="http://schemas.microsoft.com/office/drawing/2014/main" id="{E5FFFEFB-AE53-4D0D-A4D2-6749AC0295F1}"/>
                  </a:ext>
                </a:extLst>
              </p:cNvPr>
              <p:cNvSpPr>
                <a:spLocks noChangeArrowheads="1"/>
              </p:cNvSpPr>
              <p:nvPr/>
            </p:nvSpPr>
            <p:spPr bwMode="auto">
              <a:xfrm>
                <a:off x="2684463" y="5141913"/>
                <a:ext cx="2379663" cy="349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94" name="Freeform 42">
                <a:extLst>
                  <a:ext uri="{FF2B5EF4-FFF2-40B4-BE49-F238E27FC236}">
                    <a16:creationId xmlns:a16="http://schemas.microsoft.com/office/drawing/2014/main" id="{42944538-D526-4A4A-A1CE-00814E32D3FD}"/>
                  </a:ext>
                </a:extLst>
              </p:cNvPr>
              <p:cNvSpPr>
                <a:spLocks noEditPoints="1"/>
              </p:cNvSpPr>
              <p:nvPr/>
            </p:nvSpPr>
            <p:spPr bwMode="auto">
              <a:xfrm>
                <a:off x="2408238" y="5141913"/>
                <a:ext cx="276225" cy="277813"/>
              </a:xfrm>
              <a:custGeom>
                <a:avLst/>
                <a:gdLst>
                  <a:gd name="T0" fmla="*/ 832 w 871"/>
                  <a:gd name="T1" fmla="*/ 111 h 872"/>
                  <a:gd name="T2" fmla="*/ 755 w 871"/>
                  <a:gd name="T3" fmla="*/ 119 h 872"/>
                  <a:gd name="T4" fmla="*/ 681 w 871"/>
                  <a:gd name="T5" fmla="*/ 134 h 872"/>
                  <a:gd name="T6" fmla="*/ 609 w 871"/>
                  <a:gd name="T7" fmla="*/ 157 h 872"/>
                  <a:gd name="T8" fmla="*/ 540 w 871"/>
                  <a:gd name="T9" fmla="*/ 185 h 872"/>
                  <a:gd name="T10" fmla="*/ 476 w 871"/>
                  <a:gd name="T11" fmla="*/ 220 h 872"/>
                  <a:gd name="T12" fmla="*/ 415 w 871"/>
                  <a:gd name="T13" fmla="*/ 262 h 872"/>
                  <a:gd name="T14" fmla="*/ 358 w 871"/>
                  <a:gd name="T15" fmla="*/ 308 h 872"/>
                  <a:gd name="T16" fmla="*/ 255 w 871"/>
                  <a:gd name="T17" fmla="*/ 256 h 872"/>
                  <a:gd name="T18" fmla="*/ 317 w 871"/>
                  <a:gd name="T19" fmla="*/ 199 h 872"/>
                  <a:gd name="T20" fmla="*/ 384 w 871"/>
                  <a:gd name="T21" fmla="*/ 149 h 872"/>
                  <a:gd name="T22" fmla="*/ 456 w 871"/>
                  <a:gd name="T23" fmla="*/ 105 h 872"/>
                  <a:gd name="T24" fmla="*/ 532 w 871"/>
                  <a:gd name="T25" fmla="*/ 69 h 872"/>
                  <a:gd name="T26" fmla="*/ 612 w 871"/>
                  <a:gd name="T27" fmla="*/ 39 h 872"/>
                  <a:gd name="T28" fmla="*/ 653 w 871"/>
                  <a:gd name="T29" fmla="*/ 28 h 872"/>
                  <a:gd name="T30" fmla="*/ 696 w 871"/>
                  <a:gd name="T31" fmla="*/ 18 h 872"/>
                  <a:gd name="T32" fmla="*/ 738 w 871"/>
                  <a:gd name="T33" fmla="*/ 11 h 872"/>
                  <a:gd name="T34" fmla="*/ 782 w 871"/>
                  <a:gd name="T35" fmla="*/ 5 h 872"/>
                  <a:gd name="T36" fmla="*/ 827 w 871"/>
                  <a:gd name="T37" fmla="*/ 2 h 872"/>
                  <a:gd name="T38" fmla="*/ 871 w 871"/>
                  <a:gd name="T39" fmla="*/ 0 h 872"/>
                  <a:gd name="T40" fmla="*/ 333 w 871"/>
                  <a:gd name="T41" fmla="*/ 333 h 872"/>
                  <a:gd name="T42" fmla="*/ 283 w 871"/>
                  <a:gd name="T43" fmla="*/ 388 h 872"/>
                  <a:gd name="T44" fmla="*/ 239 w 871"/>
                  <a:gd name="T45" fmla="*/ 446 h 872"/>
                  <a:gd name="T46" fmla="*/ 201 w 871"/>
                  <a:gd name="T47" fmla="*/ 509 h 872"/>
                  <a:gd name="T48" fmla="*/ 169 w 871"/>
                  <a:gd name="T49" fmla="*/ 576 h 872"/>
                  <a:gd name="T50" fmla="*/ 143 w 871"/>
                  <a:gd name="T51" fmla="*/ 645 h 872"/>
                  <a:gd name="T52" fmla="*/ 124 w 871"/>
                  <a:gd name="T53" fmla="*/ 719 h 872"/>
                  <a:gd name="T54" fmla="*/ 113 w 871"/>
                  <a:gd name="T55" fmla="*/ 795 h 872"/>
                  <a:gd name="T56" fmla="*/ 109 w 871"/>
                  <a:gd name="T57" fmla="*/ 872 h 872"/>
                  <a:gd name="T58" fmla="*/ 0 w 871"/>
                  <a:gd name="T59" fmla="*/ 850 h 872"/>
                  <a:gd name="T60" fmla="*/ 2 w 871"/>
                  <a:gd name="T61" fmla="*/ 805 h 872"/>
                  <a:gd name="T62" fmla="*/ 7 w 871"/>
                  <a:gd name="T63" fmla="*/ 762 h 872"/>
                  <a:gd name="T64" fmla="*/ 13 w 871"/>
                  <a:gd name="T65" fmla="*/ 718 h 872"/>
                  <a:gd name="T66" fmla="*/ 22 w 871"/>
                  <a:gd name="T67" fmla="*/ 675 h 872"/>
                  <a:gd name="T68" fmla="*/ 33 w 871"/>
                  <a:gd name="T69" fmla="*/ 634 h 872"/>
                  <a:gd name="T70" fmla="*/ 53 w 871"/>
                  <a:gd name="T71" fmla="*/ 573 h 872"/>
                  <a:gd name="T72" fmla="*/ 86 w 871"/>
                  <a:gd name="T73" fmla="*/ 494 h 872"/>
                  <a:gd name="T74" fmla="*/ 126 w 871"/>
                  <a:gd name="T75" fmla="*/ 421 h 872"/>
                  <a:gd name="T76" fmla="*/ 173 w 871"/>
                  <a:gd name="T77" fmla="*/ 350 h 872"/>
                  <a:gd name="T78" fmla="*/ 226 w 871"/>
                  <a:gd name="T79" fmla="*/ 287 h 872"/>
                  <a:gd name="T80" fmla="*/ 333 w 871"/>
                  <a:gd name="T81" fmla="*/ 333 h 8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71" h="872">
                    <a:moveTo>
                      <a:pt x="871" y="110"/>
                    </a:moveTo>
                    <a:lnTo>
                      <a:pt x="832" y="111"/>
                    </a:lnTo>
                    <a:lnTo>
                      <a:pt x="794" y="114"/>
                    </a:lnTo>
                    <a:lnTo>
                      <a:pt x="755" y="119"/>
                    </a:lnTo>
                    <a:lnTo>
                      <a:pt x="718" y="126"/>
                    </a:lnTo>
                    <a:lnTo>
                      <a:pt x="681" y="134"/>
                    </a:lnTo>
                    <a:lnTo>
                      <a:pt x="645" y="144"/>
                    </a:lnTo>
                    <a:lnTo>
                      <a:pt x="609" y="157"/>
                    </a:lnTo>
                    <a:lnTo>
                      <a:pt x="574" y="170"/>
                    </a:lnTo>
                    <a:lnTo>
                      <a:pt x="540" y="185"/>
                    </a:lnTo>
                    <a:lnTo>
                      <a:pt x="508" y="202"/>
                    </a:lnTo>
                    <a:lnTo>
                      <a:pt x="476" y="220"/>
                    </a:lnTo>
                    <a:lnTo>
                      <a:pt x="444" y="241"/>
                    </a:lnTo>
                    <a:lnTo>
                      <a:pt x="415" y="262"/>
                    </a:lnTo>
                    <a:lnTo>
                      <a:pt x="386" y="284"/>
                    </a:lnTo>
                    <a:lnTo>
                      <a:pt x="358" y="308"/>
                    </a:lnTo>
                    <a:lnTo>
                      <a:pt x="333" y="333"/>
                    </a:lnTo>
                    <a:lnTo>
                      <a:pt x="255" y="256"/>
                    </a:lnTo>
                    <a:lnTo>
                      <a:pt x="285" y="227"/>
                    </a:lnTo>
                    <a:lnTo>
                      <a:pt x="317" y="199"/>
                    </a:lnTo>
                    <a:lnTo>
                      <a:pt x="350" y="174"/>
                    </a:lnTo>
                    <a:lnTo>
                      <a:pt x="384" y="149"/>
                    </a:lnTo>
                    <a:lnTo>
                      <a:pt x="419" y="127"/>
                    </a:lnTo>
                    <a:lnTo>
                      <a:pt x="456" y="105"/>
                    </a:lnTo>
                    <a:lnTo>
                      <a:pt x="493" y="86"/>
                    </a:lnTo>
                    <a:lnTo>
                      <a:pt x="532" y="69"/>
                    </a:lnTo>
                    <a:lnTo>
                      <a:pt x="571" y="53"/>
                    </a:lnTo>
                    <a:lnTo>
                      <a:pt x="612" y="39"/>
                    </a:lnTo>
                    <a:lnTo>
                      <a:pt x="633" y="34"/>
                    </a:lnTo>
                    <a:lnTo>
                      <a:pt x="653" y="28"/>
                    </a:lnTo>
                    <a:lnTo>
                      <a:pt x="674" y="22"/>
                    </a:lnTo>
                    <a:lnTo>
                      <a:pt x="696" y="18"/>
                    </a:lnTo>
                    <a:lnTo>
                      <a:pt x="717" y="14"/>
                    </a:lnTo>
                    <a:lnTo>
                      <a:pt x="738" y="11"/>
                    </a:lnTo>
                    <a:lnTo>
                      <a:pt x="761" y="7"/>
                    </a:lnTo>
                    <a:lnTo>
                      <a:pt x="782" y="5"/>
                    </a:lnTo>
                    <a:lnTo>
                      <a:pt x="804" y="3"/>
                    </a:lnTo>
                    <a:lnTo>
                      <a:pt x="827" y="2"/>
                    </a:lnTo>
                    <a:lnTo>
                      <a:pt x="849" y="1"/>
                    </a:lnTo>
                    <a:lnTo>
                      <a:pt x="871" y="0"/>
                    </a:lnTo>
                    <a:lnTo>
                      <a:pt x="871" y="110"/>
                    </a:lnTo>
                    <a:close/>
                    <a:moveTo>
                      <a:pt x="333" y="333"/>
                    </a:moveTo>
                    <a:lnTo>
                      <a:pt x="307" y="360"/>
                    </a:lnTo>
                    <a:lnTo>
                      <a:pt x="283" y="388"/>
                    </a:lnTo>
                    <a:lnTo>
                      <a:pt x="260" y="416"/>
                    </a:lnTo>
                    <a:lnTo>
                      <a:pt x="239" y="446"/>
                    </a:lnTo>
                    <a:lnTo>
                      <a:pt x="219" y="477"/>
                    </a:lnTo>
                    <a:lnTo>
                      <a:pt x="201" y="509"/>
                    </a:lnTo>
                    <a:lnTo>
                      <a:pt x="184" y="542"/>
                    </a:lnTo>
                    <a:lnTo>
                      <a:pt x="169" y="576"/>
                    </a:lnTo>
                    <a:lnTo>
                      <a:pt x="155" y="610"/>
                    </a:lnTo>
                    <a:lnTo>
                      <a:pt x="143" y="645"/>
                    </a:lnTo>
                    <a:lnTo>
                      <a:pt x="133" y="682"/>
                    </a:lnTo>
                    <a:lnTo>
                      <a:pt x="124" y="719"/>
                    </a:lnTo>
                    <a:lnTo>
                      <a:pt x="118" y="756"/>
                    </a:lnTo>
                    <a:lnTo>
                      <a:pt x="113" y="795"/>
                    </a:lnTo>
                    <a:lnTo>
                      <a:pt x="110" y="833"/>
                    </a:lnTo>
                    <a:lnTo>
                      <a:pt x="109" y="872"/>
                    </a:lnTo>
                    <a:lnTo>
                      <a:pt x="0" y="872"/>
                    </a:lnTo>
                    <a:lnTo>
                      <a:pt x="0" y="850"/>
                    </a:lnTo>
                    <a:lnTo>
                      <a:pt x="1" y="828"/>
                    </a:lnTo>
                    <a:lnTo>
                      <a:pt x="2" y="805"/>
                    </a:lnTo>
                    <a:lnTo>
                      <a:pt x="4" y="784"/>
                    </a:lnTo>
                    <a:lnTo>
                      <a:pt x="7" y="762"/>
                    </a:lnTo>
                    <a:lnTo>
                      <a:pt x="9" y="740"/>
                    </a:lnTo>
                    <a:lnTo>
                      <a:pt x="13" y="718"/>
                    </a:lnTo>
                    <a:lnTo>
                      <a:pt x="18" y="697"/>
                    </a:lnTo>
                    <a:lnTo>
                      <a:pt x="22" y="675"/>
                    </a:lnTo>
                    <a:lnTo>
                      <a:pt x="27" y="655"/>
                    </a:lnTo>
                    <a:lnTo>
                      <a:pt x="33" y="634"/>
                    </a:lnTo>
                    <a:lnTo>
                      <a:pt x="39" y="613"/>
                    </a:lnTo>
                    <a:lnTo>
                      <a:pt x="53" y="573"/>
                    </a:lnTo>
                    <a:lnTo>
                      <a:pt x="68" y="534"/>
                    </a:lnTo>
                    <a:lnTo>
                      <a:pt x="86" y="494"/>
                    </a:lnTo>
                    <a:lnTo>
                      <a:pt x="105" y="457"/>
                    </a:lnTo>
                    <a:lnTo>
                      <a:pt x="126" y="421"/>
                    </a:lnTo>
                    <a:lnTo>
                      <a:pt x="149" y="385"/>
                    </a:lnTo>
                    <a:lnTo>
                      <a:pt x="173" y="350"/>
                    </a:lnTo>
                    <a:lnTo>
                      <a:pt x="199" y="317"/>
                    </a:lnTo>
                    <a:lnTo>
                      <a:pt x="226" y="287"/>
                    </a:lnTo>
                    <a:lnTo>
                      <a:pt x="255" y="256"/>
                    </a:lnTo>
                    <a:lnTo>
                      <a:pt x="333" y="3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95" name="Rectangle 43">
                <a:extLst>
                  <a:ext uri="{FF2B5EF4-FFF2-40B4-BE49-F238E27FC236}">
                    <a16:creationId xmlns:a16="http://schemas.microsoft.com/office/drawing/2014/main" id="{5D28DC45-D7E0-41A1-A132-CE88B1B56FC2}"/>
                  </a:ext>
                </a:extLst>
              </p:cNvPr>
              <p:cNvSpPr>
                <a:spLocks noChangeArrowheads="1"/>
              </p:cNvSpPr>
              <p:nvPr/>
            </p:nvSpPr>
            <p:spPr bwMode="auto">
              <a:xfrm>
                <a:off x="2408238" y="5419725"/>
                <a:ext cx="33338" cy="10699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96" name="Freeform 92">
                <a:extLst>
                  <a:ext uri="{FF2B5EF4-FFF2-40B4-BE49-F238E27FC236}">
                    <a16:creationId xmlns:a16="http://schemas.microsoft.com/office/drawing/2014/main" id="{9A179C0B-8982-46AF-A0D9-7846F0263218}"/>
                  </a:ext>
                </a:extLst>
              </p:cNvPr>
              <p:cNvSpPr>
                <a:spLocks/>
              </p:cNvSpPr>
              <p:nvPr/>
            </p:nvSpPr>
            <p:spPr bwMode="auto">
              <a:xfrm>
                <a:off x="4897438" y="3797300"/>
                <a:ext cx="306388" cy="347663"/>
              </a:xfrm>
              <a:custGeom>
                <a:avLst/>
                <a:gdLst>
                  <a:gd name="T0" fmla="*/ 751 w 965"/>
                  <a:gd name="T1" fmla="*/ 1019 h 1096"/>
                  <a:gd name="T2" fmla="*/ 818 w 965"/>
                  <a:gd name="T3" fmla="*/ 949 h 1096"/>
                  <a:gd name="T4" fmla="*/ 861 w 965"/>
                  <a:gd name="T5" fmla="*/ 897 h 1096"/>
                  <a:gd name="T6" fmla="*/ 888 w 965"/>
                  <a:gd name="T7" fmla="*/ 858 h 1096"/>
                  <a:gd name="T8" fmla="*/ 914 w 965"/>
                  <a:gd name="T9" fmla="*/ 813 h 1096"/>
                  <a:gd name="T10" fmla="*/ 936 w 965"/>
                  <a:gd name="T11" fmla="*/ 766 h 1096"/>
                  <a:gd name="T12" fmla="*/ 952 w 965"/>
                  <a:gd name="T13" fmla="*/ 716 h 1096"/>
                  <a:gd name="T14" fmla="*/ 963 w 965"/>
                  <a:gd name="T15" fmla="*/ 663 h 1096"/>
                  <a:gd name="T16" fmla="*/ 964 w 965"/>
                  <a:gd name="T17" fmla="*/ 609 h 1096"/>
                  <a:gd name="T18" fmla="*/ 957 w 965"/>
                  <a:gd name="T19" fmla="*/ 553 h 1096"/>
                  <a:gd name="T20" fmla="*/ 937 w 965"/>
                  <a:gd name="T21" fmla="*/ 496 h 1096"/>
                  <a:gd name="T22" fmla="*/ 905 w 965"/>
                  <a:gd name="T23" fmla="*/ 438 h 1096"/>
                  <a:gd name="T24" fmla="*/ 860 w 965"/>
                  <a:gd name="T25" fmla="*/ 382 h 1096"/>
                  <a:gd name="T26" fmla="*/ 805 w 965"/>
                  <a:gd name="T27" fmla="*/ 328 h 1096"/>
                  <a:gd name="T28" fmla="*/ 744 w 965"/>
                  <a:gd name="T29" fmla="*/ 281 h 1096"/>
                  <a:gd name="T30" fmla="*/ 677 w 965"/>
                  <a:gd name="T31" fmla="*/ 237 h 1096"/>
                  <a:gd name="T32" fmla="*/ 605 w 965"/>
                  <a:gd name="T33" fmla="*/ 196 h 1096"/>
                  <a:gd name="T34" fmla="*/ 533 w 965"/>
                  <a:gd name="T35" fmla="*/ 161 h 1096"/>
                  <a:gd name="T36" fmla="*/ 458 w 965"/>
                  <a:gd name="T37" fmla="*/ 130 h 1096"/>
                  <a:gd name="T38" fmla="*/ 385 w 965"/>
                  <a:gd name="T39" fmla="*/ 103 h 1096"/>
                  <a:gd name="T40" fmla="*/ 280 w 965"/>
                  <a:gd name="T41" fmla="*/ 68 h 1096"/>
                  <a:gd name="T42" fmla="*/ 155 w 965"/>
                  <a:gd name="T43" fmla="*/ 33 h 1096"/>
                  <a:gd name="T44" fmla="*/ 60 w 965"/>
                  <a:gd name="T45" fmla="*/ 12 h 1096"/>
                  <a:gd name="T46" fmla="*/ 7 w 965"/>
                  <a:gd name="T47" fmla="*/ 3 h 1096"/>
                  <a:gd name="T48" fmla="*/ 0 w 965"/>
                  <a:gd name="T49" fmla="*/ 8 h 1096"/>
                  <a:gd name="T50" fmla="*/ 1 w 965"/>
                  <a:gd name="T51" fmla="*/ 62 h 1096"/>
                  <a:gd name="T52" fmla="*/ 5 w 965"/>
                  <a:gd name="T53" fmla="*/ 158 h 1096"/>
                  <a:gd name="T54" fmla="*/ 12 w 965"/>
                  <a:gd name="T55" fmla="*/ 282 h 1096"/>
                  <a:gd name="T56" fmla="*/ 24 w 965"/>
                  <a:gd name="T57" fmla="*/ 422 h 1096"/>
                  <a:gd name="T58" fmla="*/ 41 w 965"/>
                  <a:gd name="T59" fmla="*/ 566 h 1096"/>
                  <a:gd name="T60" fmla="*/ 59 w 965"/>
                  <a:gd name="T61" fmla="*/ 667 h 1096"/>
                  <a:gd name="T62" fmla="*/ 73 w 965"/>
                  <a:gd name="T63" fmla="*/ 729 h 1096"/>
                  <a:gd name="T64" fmla="*/ 89 w 965"/>
                  <a:gd name="T65" fmla="*/ 784 h 1096"/>
                  <a:gd name="T66" fmla="*/ 107 w 965"/>
                  <a:gd name="T67" fmla="*/ 832 h 1096"/>
                  <a:gd name="T68" fmla="*/ 139 w 965"/>
                  <a:gd name="T69" fmla="*/ 889 h 1096"/>
                  <a:gd name="T70" fmla="*/ 184 w 965"/>
                  <a:gd name="T71" fmla="*/ 951 h 1096"/>
                  <a:gd name="T72" fmla="*/ 232 w 965"/>
                  <a:gd name="T73" fmla="*/ 1000 h 1096"/>
                  <a:gd name="T74" fmla="*/ 282 w 965"/>
                  <a:gd name="T75" fmla="*/ 1039 h 1096"/>
                  <a:gd name="T76" fmla="*/ 333 w 965"/>
                  <a:gd name="T77" fmla="*/ 1065 h 1096"/>
                  <a:gd name="T78" fmla="*/ 385 w 965"/>
                  <a:gd name="T79" fmla="*/ 1084 h 1096"/>
                  <a:gd name="T80" fmla="*/ 435 w 965"/>
                  <a:gd name="T81" fmla="*/ 1093 h 1096"/>
                  <a:gd name="T82" fmla="*/ 485 w 965"/>
                  <a:gd name="T83" fmla="*/ 1096 h 1096"/>
                  <a:gd name="T84" fmla="*/ 533 w 965"/>
                  <a:gd name="T85" fmla="*/ 1094 h 1096"/>
                  <a:gd name="T86" fmla="*/ 577 w 965"/>
                  <a:gd name="T87" fmla="*/ 1088 h 1096"/>
                  <a:gd name="T88" fmla="*/ 617 w 965"/>
                  <a:gd name="T89" fmla="*/ 1078 h 1096"/>
                  <a:gd name="T90" fmla="*/ 653 w 965"/>
                  <a:gd name="T91" fmla="*/ 1068 h 1096"/>
                  <a:gd name="T92" fmla="*/ 696 w 965"/>
                  <a:gd name="T93" fmla="*/ 1050 h 1096"/>
                  <a:gd name="T94" fmla="*/ 730 w 965"/>
                  <a:gd name="T95" fmla="*/ 1035 h 10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965" h="1096">
                    <a:moveTo>
                      <a:pt x="734" y="1032"/>
                    </a:moveTo>
                    <a:lnTo>
                      <a:pt x="751" y="1019"/>
                    </a:lnTo>
                    <a:lnTo>
                      <a:pt x="793" y="978"/>
                    </a:lnTo>
                    <a:lnTo>
                      <a:pt x="818" y="949"/>
                    </a:lnTo>
                    <a:lnTo>
                      <a:pt x="847" y="916"/>
                    </a:lnTo>
                    <a:lnTo>
                      <a:pt x="861" y="897"/>
                    </a:lnTo>
                    <a:lnTo>
                      <a:pt x="875" y="878"/>
                    </a:lnTo>
                    <a:lnTo>
                      <a:pt x="888" y="858"/>
                    </a:lnTo>
                    <a:lnTo>
                      <a:pt x="901" y="836"/>
                    </a:lnTo>
                    <a:lnTo>
                      <a:pt x="914" y="813"/>
                    </a:lnTo>
                    <a:lnTo>
                      <a:pt x="926" y="791"/>
                    </a:lnTo>
                    <a:lnTo>
                      <a:pt x="936" y="766"/>
                    </a:lnTo>
                    <a:lnTo>
                      <a:pt x="945" y="742"/>
                    </a:lnTo>
                    <a:lnTo>
                      <a:pt x="952" y="716"/>
                    </a:lnTo>
                    <a:lnTo>
                      <a:pt x="959" y="689"/>
                    </a:lnTo>
                    <a:lnTo>
                      <a:pt x="963" y="663"/>
                    </a:lnTo>
                    <a:lnTo>
                      <a:pt x="965" y="636"/>
                    </a:lnTo>
                    <a:lnTo>
                      <a:pt x="964" y="609"/>
                    </a:lnTo>
                    <a:lnTo>
                      <a:pt x="962" y="581"/>
                    </a:lnTo>
                    <a:lnTo>
                      <a:pt x="957" y="553"/>
                    </a:lnTo>
                    <a:lnTo>
                      <a:pt x="948" y="524"/>
                    </a:lnTo>
                    <a:lnTo>
                      <a:pt x="937" y="496"/>
                    </a:lnTo>
                    <a:lnTo>
                      <a:pt x="922" y="467"/>
                    </a:lnTo>
                    <a:lnTo>
                      <a:pt x="905" y="438"/>
                    </a:lnTo>
                    <a:lnTo>
                      <a:pt x="884" y="409"/>
                    </a:lnTo>
                    <a:lnTo>
                      <a:pt x="860" y="382"/>
                    </a:lnTo>
                    <a:lnTo>
                      <a:pt x="833" y="354"/>
                    </a:lnTo>
                    <a:lnTo>
                      <a:pt x="805" y="328"/>
                    </a:lnTo>
                    <a:lnTo>
                      <a:pt x="775" y="304"/>
                    </a:lnTo>
                    <a:lnTo>
                      <a:pt x="744" y="281"/>
                    </a:lnTo>
                    <a:lnTo>
                      <a:pt x="711" y="258"/>
                    </a:lnTo>
                    <a:lnTo>
                      <a:pt x="677" y="237"/>
                    </a:lnTo>
                    <a:lnTo>
                      <a:pt x="641" y="216"/>
                    </a:lnTo>
                    <a:lnTo>
                      <a:pt x="605" y="196"/>
                    </a:lnTo>
                    <a:lnTo>
                      <a:pt x="569" y="178"/>
                    </a:lnTo>
                    <a:lnTo>
                      <a:pt x="533" y="161"/>
                    </a:lnTo>
                    <a:lnTo>
                      <a:pt x="496" y="145"/>
                    </a:lnTo>
                    <a:lnTo>
                      <a:pt x="458" y="130"/>
                    </a:lnTo>
                    <a:lnTo>
                      <a:pt x="421" y="115"/>
                    </a:lnTo>
                    <a:lnTo>
                      <a:pt x="385" y="103"/>
                    </a:lnTo>
                    <a:lnTo>
                      <a:pt x="349" y="90"/>
                    </a:lnTo>
                    <a:lnTo>
                      <a:pt x="280" y="68"/>
                    </a:lnTo>
                    <a:lnTo>
                      <a:pt x="215" y="49"/>
                    </a:lnTo>
                    <a:lnTo>
                      <a:pt x="155" y="33"/>
                    </a:lnTo>
                    <a:lnTo>
                      <a:pt x="103" y="22"/>
                    </a:lnTo>
                    <a:lnTo>
                      <a:pt x="60" y="12"/>
                    </a:lnTo>
                    <a:lnTo>
                      <a:pt x="27" y="6"/>
                    </a:lnTo>
                    <a:lnTo>
                      <a:pt x="7" y="3"/>
                    </a:lnTo>
                    <a:lnTo>
                      <a:pt x="0" y="0"/>
                    </a:lnTo>
                    <a:lnTo>
                      <a:pt x="0" y="8"/>
                    </a:lnTo>
                    <a:lnTo>
                      <a:pt x="1" y="29"/>
                    </a:lnTo>
                    <a:lnTo>
                      <a:pt x="1" y="62"/>
                    </a:lnTo>
                    <a:lnTo>
                      <a:pt x="3" y="106"/>
                    </a:lnTo>
                    <a:lnTo>
                      <a:pt x="5" y="158"/>
                    </a:lnTo>
                    <a:lnTo>
                      <a:pt x="8" y="217"/>
                    </a:lnTo>
                    <a:lnTo>
                      <a:pt x="12" y="282"/>
                    </a:lnTo>
                    <a:lnTo>
                      <a:pt x="18" y="351"/>
                    </a:lnTo>
                    <a:lnTo>
                      <a:pt x="24" y="422"/>
                    </a:lnTo>
                    <a:lnTo>
                      <a:pt x="32" y="495"/>
                    </a:lnTo>
                    <a:lnTo>
                      <a:pt x="41" y="566"/>
                    </a:lnTo>
                    <a:lnTo>
                      <a:pt x="53" y="634"/>
                    </a:lnTo>
                    <a:lnTo>
                      <a:pt x="59" y="667"/>
                    </a:lnTo>
                    <a:lnTo>
                      <a:pt x="66" y="699"/>
                    </a:lnTo>
                    <a:lnTo>
                      <a:pt x="73" y="729"/>
                    </a:lnTo>
                    <a:lnTo>
                      <a:pt x="81" y="758"/>
                    </a:lnTo>
                    <a:lnTo>
                      <a:pt x="89" y="784"/>
                    </a:lnTo>
                    <a:lnTo>
                      <a:pt x="98" y="810"/>
                    </a:lnTo>
                    <a:lnTo>
                      <a:pt x="107" y="832"/>
                    </a:lnTo>
                    <a:lnTo>
                      <a:pt x="118" y="852"/>
                    </a:lnTo>
                    <a:lnTo>
                      <a:pt x="139" y="889"/>
                    </a:lnTo>
                    <a:lnTo>
                      <a:pt x="160" y="922"/>
                    </a:lnTo>
                    <a:lnTo>
                      <a:pt x="184" y="951"/>
                    </a:lnTo>
                    <a:lnTo>
                      <a:pt x="207" y="977"/>
                    </a:lnTo>
                    <a:lnTo>
                      <a:pt x="232" y="1000"/>
                    </a:lnTo>
                    <a:lnTo>
                      <a:pt x="257" y="1021"/>
                    </a:lnTo>
                    <a:lnTo>
                      <a:pt x="282" y="1039"/>
                    </a:lnTo>
                    <a:lnTo>
                      <a:pt x="307" y="1053"/>
                    </a:lnTo>
                    <a:lnTo>
                      <a:pt x="333" y="1065"/>
                    </a:lnTo>
                    <a:lnTo>
                      <a:pt x="358" y="1075"/>
                    </a:lnTo>
                    <a:lnTo>
                      <a:pt x="385" y="1084"/>
                    </a:lnTo>
                    <a:lnTo>
                      <a:pt x="411" y="1089"/>
                    </a:lnTo>
                    <a:lnTo>
                      <a:pt x="435" y="1093"/>
                    </a:lnTo>
                    <a:lnTo>
                      <a:pt x="461" y="1095"/>
                    </a:lnTo>
                    <a:lnTo>
                      <a:pt x="485" y="1096"/>
                    </a:lnTo>
                    <a:lnTo>
                      <a:pt x="510" y="1095"/>
                    </a:lnTo>
                    <a:lnTo>
                      <a:pt x="533" y="1094"/>
                    </a:lnTo>
                    <a:lnTo>
                      <a:pt x="555" y="1091"/>
                    </a:lnTo>
                    <a:lnTo>
                      <a:pt x="577" y="1088"/>
                    </a:lnTo>
                    <a:lnTo>
                      <a:pt x="598" y="1084"/>
                    </a:lnTo>
                    <a:lnTo>
                      <a:pt x="617" y="1078"/>
                    </a:lnTo>
                    <a:lnTo>
                      <a:pt x="636" y="1073"/>
                    </a:lnTo>
                    <a:lnTo>
                      <a:pt x="653" y="1068"/>
                    </a:lnTo>
                    <a:lnTo>
                      <a:pt x="669" y="1062"/>
                    </a:lnTo>
                    <a:lnTo>
                      <a:pt x="696" y="1050"/>
                    </a:lnTo>
                    <a:lnTo>
                      <a:pt x="717" y="1041"/>
                    </a:lnTo>
                    <a:lnTo>
                      <a:pt x="730" y="1035"/>
                    </a:lnTo>
                    <a:lnTo>
                      <a:pt x="734" y="10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97" name="Freeform 95">
                <a:extLst>
                  <a:ext uri="{FF2B5EF4-FFF2-40B4-BE49-F238E27FC236}">
                    <a16:creationId xmlns:a16="http://schemas.microsoft.com/office/drawing/2014/main" id="{E6B45E30-BA58-44C6-9C03-4B26FB9F8E6F}"/>
                  </a:ext>
                </a:extLst>
              </p:cNvPr>
              <p:cNvSpPr>
                <a:spLocks/>
              </p:cNvSpPr>
              <p:nvPr/>
            </p:nvSpPr>
            <p:spPr bwMode="auto">
              <a:xfrm>
                <a:off x="5440363" y="4029075"/>
                <a:ext cx="388938" cy="442913"/>
              </a:xfrm>
              <a:custGeom>
                <a:avLst/>
                <a:gdLst>
                  <a:gd name="T0" fmla="*/ 287 w 1226"/>
                  <a:gd name="T1" fmla="*/ 1306 h 1392"/>
                  <a:gd name="T2" fmla="*/ 249 w 1226"/>
                  <a:gd name="T3" fmla="*/ 1271 h 1392"/>
                  <a:gd name="T4" fmla="*/ 203 w 1226"/>
                  <a:gd name="T5" fmla="*/ 1225 h 1392"/>
                  <a:gd name="T6" fmla="*/ 168 w 1226"/>
                  <a:gd name="T7" fmla="*/ 1185 h 1392"/>
                  <a:gd name="T8" fmla="*/ 132 w 1226"/>
                  <a:gd name="T9" fmla="*/ 1140 h 1392"/>
                  <a:gd name="T10" fmla="*/ 97 w 1226"/>
                  <a:gd name="T11" fmla="*/ 1089 h 1392"/>
                  <a:gd name="T12" fmla="*/ 65 w 1226"/>
                  <a:gd name="T13" fmla="*/ 1033 h 1392"/>
                  <a:gd name="T14" fmla="*/ 37 w 1226"/>
                  <a:gd name="T15" fmla="*/ 972 h 1392"/>
                  <a:gd name="T16" fmla="*/ 16 w 1226"/>
                  <a:gd name="T17" fmla="*/ 909 h 1392"/>
                  <a:gd name="T18" fmla="*/ 3 w 1226"/>
                  <a:gd name="T19" fmla="*/ 841 h 1392"/>
                  <a:gd name="T20" fmla="*/ 1 w 1226"/>
                  <a:gd name="T21" fmla="*/ 772 h 1392"/>
                  <a:gd name="T22" fmla="*/ 11 w 1226"/>
                  <a:gd name="T23" fmla="*/ 702 h 1392"/>
                  <a:gd name="T24" fmla="*/ 35 w 1226"/>
                  <a:gd name="T25" fmla="*/ 630 h 1392"/>
                  <a:gd name="T26" fmla="*/ 75 w 1226"/>
                  <a:gd name="T27" fmla="*/ 556 h 1392"/>
                  <a:gd name="T28" fmla="*/ 134 w 1226"/>
                  <a:gd name="T29" fmla="*/ 484 h 1392"/>
                  <a:gd name="T30" fmla="*/ 203 w 1226"/>
                  <a:gd name="T31" fmla="*/ 417 h 1392"/>
                  <a:gd name="T32" fmla="*/ 281 w 1226"/>
                  <a:gd name="T33" fmla="*/ 356 h 1392"/>
                  <a:gd name="T34" fmla="*/ 366 w 1226"/>
                  <a:gd name="T35" fmla="*/ 299 h 1392"/>
                  <a:gd name="T36" fmla="*/ 456 w 1226"/>
                  <a:gd name="T37" fmla="*/ 249 h 1392"/>
                  <a:gd name="T38" fmla="*/ 549 w 1226"/>
                  <a:gd name="T39" fmla="*/ 205 h 1392"/>
                  <a:gd name="T40" fmla="*/ 643 w 1226"/>
                  <a:gd name="T41" fmla="*/ 164 h 1392"/>
                  <a:gd name="T42" fmla="*/ 736 w 1226"/>
                  <a:gd name="T43" fmla="*/ 130 h 1392"/>
                  <a:gd name="T44" fmla="*/ 827 w 1226"/>
                  <a:gd name="T45" fmla="*/ 99 h 1392"/>
                  <a:gd name="T46" fmla="*/ 913 w 1226"/>
                  <a:gd name="T47" fmla="*/ 74 h 1392"/>
                  <a:gd name="T48" fmla="*/ 1029 w 1226"/>
                  <a:gd name="T49" fmla="*/ 43 h 1392"/>
                  <a:gd name="T50" fmla="*/ 1149 w 1226"/>
                  <a:gd name="T51" fmla="*/ 15 h 1392"/>
                  <a:gd name="T52" fmla="*/ 1216 w 1226"/>
                  <a:gd name="T53" fmla="*/ 2 h 1392"/>
                  <a:gd name="T54" fmla="*/ 1226 w 1226"/>
                  <a:gd name="T55" fmla="*/ 10 h 1392"/>
                  <a:gd name="T56" fmla="*/ 1224 w 1226"/>
                  <a:gd name="T57" fmla="*/ 79 h 1392"/>
                  <a:gd name="T58" fmla="*/ 1220 w 1226"/>
                  <a:gd name="T59" fmla="*/ 200 h 1392"/>
                  <a:gd name="T60" fmla="*/ 1210 w 1226"/>
                  <a:gd name="T61" fmla="*/ 358 h 1392"/>
                  <a:gd name="T62" fmla="*/ 1195 w 1226"/>
                  <a:gd name="T63" fmla="*/ 536 h 1392"/>
                  <a:gd name="T64" fmla="*/ 1179 w 1226"/>
                  <a:gd name="T65" fmla="*/ 673 h 1392"/>
                  <a:gd name="T66" fmla="*/ 1166 w 1226"/>
                  <a:gd name="T67" fmla="*/ 762 h 1392"/>
                  <a:gd name="T68" fmla="*/ 1150 w 1226"/>
                  <a:gd name="T69" fmla="*/ 847 h 1392"/>
                  <a:gd name="T70" fmla="*/ 1132 w 1226"/>
                  <a:gd name="T71" fmla="*/ 926 h 1392"/>
                  <a:gd name="T72" fmla="*/ 1112 w 1226"/>
                  <a:gd name="T73" fmla="*/ 996 h 1392"/>
                  <a:gd name="T74" fmla="*/ 1089 w 1226"/>
                  <a:gd name="T75" fmla="*/ 1057 h 1392"/>
                  <a:gd name="T76" fmla="*/ 1049 w 1226"/>
                  <a:gd name="T77" fmla="*/ 1129 h 1392"/>
                  <a:gd name="T78" fmla="*/ 992 w 1226"/>
                  <a:gd name="T79" fmla="*/ 1208 h 1392"/>
                  <a:gd name="T80" fmla="*/ 931 w 1226"/>
                  <a:gd name="T81" fmla="*/ 1271 h 1392"/>
                  <a:gd name="T82" fmla="*/ 867 w 1226"/>
                  <a:gd name="T83" fmla="*/ 1319 h 1392"/>
                  <a:gd name="T84" fmla="*/ 802 w 1226"/>
                  <a:gd name="T85" fmla="*/ 1353 h 1392"/>
                  <a:gd name="T86" fmla="*/ 737 w 1226"/>
                  <a:gd name="T87" fmla="*/ 1375 h 1392"/>
                  <a:gd name="T88" fmla="*/ 673 w 1226"/>
                  <a:gd name="T89" fmla="*/ 1388 h 1392"/>
                  <a:gd name="T90" fmla="*/ 610 w 1226"/>
                  <a:gd name="T91" fmla="*/ 1392 h 1392"/>
                  <a:gd name="T92" fmla="*/ 549 w 1226"/>
                  <a:gd name="T93" fmla="*/ 1389 h 1392"/>
                  <a:gd name="T94" fmla="*/ 493 w 1226"/>
                  <a:gd name="T95" fmla="*/ 1381 h 1392"/>
                  <a:gd name="T96" fmla="*/ 442 w 1226"/>
                  <a:gd name="T97" fmla="*/ 1370 h 1392"/>
                  <a:gd name="T98" fmla="*/ 396 w 1226"/>
                  <a:gd name="T99" fmla="*/ 1356 h 1392"/>
                  <a:gd name="T100" fmla="*/ 342 w 1226"/>
                  <a:gd name="T101" fmla="*/ 1335 h 1392"/>
                  <a:gd name="T102" fmla="*/ 299 w 1226"/>
                  <a:gd name="T103" fmla="*/ 1314 h 1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226" h="1392">
                    <a:moveTo>
                      <a:pt x="293" y="1311"/>
                    </a:moveTo>
                    <a:lnTo>
                      <a:pt x="287" y="1306"/>
                    </a:lnTo>
                    <a:lnTo>
                      <a:pt x="272" y="1293"/>
                    </a:lnTo>
                    <a:lnTo>
                      <a:pt x="249" y="1271"/>
                    </a:lnTo>
                    <a:lnTo>
                      <a:pt x="219" y="1242"/>
                    </a:lnTo>
                    <a:lnTo>
                      <a:pt x="203" y="1225"/>
                    </a:lnTo>
                    <a:lnTo>
                      <a:pt x="186" y="1206"/>
                    </a:lnTo>
                    <a:lnTo>
                      <a:pt x="168" y="1185"/>
                    </a:lnTo>
                    <a:lnTo>
                      <a:pt x="150" y="1163"/>
                    </a:lnTo>
                    <a:lnTo>
                      <a:pt x="132" y="1140"/>
                    </a:lnTo>
                    <a:lnTo>
                      <a:pt x="115" y="1115"/>
                    </a:lnTo>
                    <a:lnTo>
                      <a:pt x="97" y="1089"/>
                    </a:lnTo>
                    <a:lnTo>
                      <a:pt x="81" y="1061"/>
                    </a:lnTo>
                    <a:lnTo>
                      <a:pt x="65" y="1033"/>
                    </a:lnTo>
                    <a:lnTo>
                      <a:pt x="50" y="1003"/>
                    </a:lnTo>
                    <a:lnTo>
                      <a:pt x="37" y="972"/>
                    </a:lnTo>
                    <a:lnTo>
                      <a:pt x="25" y="942"/>
                    </a:lnTo>
                    <a:lnTo>
                      <a:pt x="16" y="909"/>
                    </a:lnTo>
                    <a:lnTo>
                      <a:pt x="8" y="876"/>
                    </a:lnTo>
                    <a:lnTo>
                      <a:pt x="3" y="841"/>
                    </a:lnTo>
                    <a:lnTo>
                      <a:pt x="0" y="807"/>
                    </a:lnTo>
                    <a:lnTo>
                      <a:pt x="1" y="772"/>
                    </a:lnTo>
                    <a:lnTo>
                      <a:pt x="4" y="737"/>
                    </a:lnTo>
                    <a:lnTo>
                      <a:pt x="11" y="702"/>
                    </a:lnTo>
                    <a:lnTo>
                      <a:pt x="21" y="666"/>
                    </a:lnTo>
                    <a:lnTo>
                      <a:pt x="35" y="630"/>
                    </a:lnTo>
                    <a:lnTo>
                      <a:pt x="53" y="592"/>
                    </a:lnTo>
                    <a:lnTo>
                      <a:pt x="75" y="556"/>
                    </a:lnTo>
                    <a:lnTo>
                      <a:pt x="103" y="520"/>
                    </a:lnTo>
                    <a:lnTo>
                      <a:pt x="134" y="484"/>
                    </a:lnTo>
                    <a:lnTo>
                      <a:pt x="167" y="450"/>
                    </a:lnTo>
                    <a:lnTo>
                      <a:pt x="203" y="417"/>
                    </a:lnTo>
                    <a:lnTo>
                      <a:pt x="241" y="386"/>
                    </a:lnTo>
                    <a:lnTo>
                      <a:pt x="281" y="356"/>
                    </a:lnTo>
                    <a:lnTo>
                      <a:pt x="323" y="327"/>
                    </a:lnTo>
                    <a:lnTo>
                      <a:pt x="366" y="299"/>
                    </a:lnTo>
                    <a:lnTo>
                      <a:pt x="411" y="274"/>
                    </a:lnTo>
                    <a:lnTo>
                      <a:pt x="456" y="249"/>
                    </a:lnTo>
                    <a:lnTo>
                      <a:pt x="502" y="226"/>
                    </a:lnTo>
                    <a:lnTo>
                      <a:pt x="549" y="205"/>
                    </a:lnTo>
                    <a:lnTo>
                      <a:pt x="596" y="184"/>
                    </a:lnTo>
                    <a:lnTo>
                      <a:pt x="643" y="164"/>
                    </a:lnTo>
                    <a:lnTo>
                      <a:pt x="690" y="146"/>
                    </a:lnTo>
                    <a:lnTo>
                      <a:pt x="736" y="130"/>
                    </a:lnTo>
                    <a:lnTo>
                      <a:pt x="782" y="114"/>
                    </a:lnTo>
                    <a:lnTo>
                      <a:pt x="827" y="99"/>
                    </a:lnTo>
                    <a:lnTo>
                      <a:pt x="871" y="85"/>
                    </a:lnTo>
                    <a:lnTo>
                      <a:pt x="913" y="74"/>
                    </a:lnTo>
                    <a:lnTo>
                      <a:pt x="954" y="62"/>
                    </a:lnTo>
                    <a:lnTo>
                      <a:pt x="1029" y="43"/>
                    </a:lnTo>
                    <a:lnTo>
                      <a:pt x="1095" y="27"/>
                    </a:lnTo>
                    <a:lnTo>
                      <a:pt x="1149" y="15"/>
                    </a:lnTo>
                    <a:lnTo>
                      <a:pt x="1191" y="7"/>
                    </a:lnTo>
                    <a:lnTo>
                      <a:pt x="1216" y="2"/>
                    </a:lnTo>
                    <a:lnTo>
                      <a:pt x="1226" y="0"/>
                    </a:lnTo>
                    <a:lnTo>
                      <a:pt x="1226" y="10"/>
                    </a:lnTo>
                    <a:lnTo>
                      <a:pt x="1225" y="36"/>
                    </a:lnTo>
                    <a:lnTo>
                      <a:pt x="1224" y="79"/>
                    </a:lnTo>
                    <a:lnTo>
                      <a:pt x="1222" y="133"/>
                    </a:lnTo>
                    <a:lnTo>
                      <a:pt x="1220" y="200"/>
                    </a:lnTo>
                    <a:lnTo>
                      <a:pt x="1215" y="275"/>
                    </a:lnTo>
                    <a:lnTo>
                      <a:pt x="1210" y="358"/>
                    </a:lnTo>
                    <a:lnTo>
                      <a:pt x="1204" y="445"/>
                    </a:lnTo>
                    <a:lnTo>
                      <a:pt x="1195" y="536"/>
                    </a:lnTo>
                    <a:lnTo>
                      <a:pt x="1184" y="627"/>
                    </a:lnTo>
                    <a:lnTo>
                      <a:pt x="1179" y="673"/>
                    </a:lnTo>
                    <a:lnTo>
                      <a:pt x="1173" y="718"/>
                    </a:lnTo>
                    <a:lnTo>
                      <a:pt x="1166" y="762"/>
                    </a:lnTo>
                    <a:lnTo>
                      <a:pt x="1159" y="805"/>
                    </a:lnTo>
                    <a:lnTo>
                      <a:pt x="1150" y="847"/>
                    </a:lnTo>
                    <a:lnTo>
                      <a:pt x="1142" y="887"/>
                    </a:lnTo>
                    <a:lnTo>
                      <a:pt x="1132" y="926"/>
                    </a:lnTo>
                    <a:lnTo>
                      <a:pt x="1123" y="962"/>
                    </a:lnTo>
                    <a:lnTo>
                      <a:pt x="1112" y="996"/>
                    </a:lnTo>
                    <a:lnTo>
                      <a:pt x="1101" y="1028"/>
                    </a:lnTo>
                    <a:lnTo>
                      <a:pt x="1089" y="1057"/>
                    </a:lnTo>
                    <a:lnTo>
                      <a:pt x="1077" y="1082"/>
                    </a:lnTo>
                    <a:lnTo>
                      <a:pt x="1049" y="1129"/>
                    </a:lnTo>
                    <a:lnTo>
                      <a:pt x="1022" y="1171"/>
                    </a:lnTo>
                    <a:lnTo>
                      <a:pt x="992" y="1208"/>
                    </a:lnTo>
                    <a:lnTo>
                      <a:pt x="962" y="1241"/>
                    </a:lnTo>
                    <a:lnTo>
                      <a:pt x="931" y="1271"/>
                    </a:lnTo>
                    <a:lnTo>
                      <a:pt x="899" y="1296"/>
                    </a:lnTo>
                    <a:lnTo>
                      <a:pt x="867" y="1319"/>
                    </a:lnTo>
                    <a:lnTo>
                      <a:pt x="835" y="1337"/>
                    </a:lnTo>
                    <a:lnTo>
                      <a:pt x="802" y="1353"/>
                    </a:lnTo>
                    <a:lnTo>
                      <a:pt x="769" y="1365"/>
                    </a:lnTo>
                    <a:lnTo>
                      <a:pt x="737" y="1375"/>
                    </a:lnTo>
                    <a:lnTo>
                      <a:pt x="704" y="1382"/>
                    </a:lnTo>
                    <a:lnTo>
                      <a:pt x="673" y="1388"/>
                    </a:lnTo>
                    <a:lnTo>
                      <a:pt x="641" y="1391"/>
                    </a:lnTo>
                    <a:lnTo>
                      <a:pt x="610" y="1392"/>
                    </a:lnTo>
                    <a:lnTo>
                      <a:pt x="579" y="1391"/>
                    </a:lnTo>
                    <a:lnTo>
                      <a:pt x="549" y="1389"/>
                    </a:lnTo>
                    <a:lnTo>
                      <a:pt x="520" y="1386"/>
                    </a:lnTo>
                    <a:lnTo>
                      <a:pt x="493" y="1381"/>
                    </a:lnTo>
                    <a:lnTo>
                      <a:pt x="466" y="1375"/>
                    </a:lnTo>
                    <a:lnTo>
                      <a:pt x="442" y="1370"/>
                    </a:lnTo>
                    <a:lnTo>
                      <a:pt x="418" y="1362"/>
                    </a:lnTo>
                    <a:lnTo>
                      <a:pt x="396" y="1356"/>
                    </a:lnTo>
                    <a:lnTo>
                      <a:pt x="376" y="1348"/>
                    </a:lnTo>
                    <a:lnTo>
                      <a:pt x="342" y="1335"/>
                    </a:lnTo>
                    <a:lnTo>
                      <a:pt x="315" y="1322"/>
                    </a:lnTo>
                    <a:lnTo>
                      <a:pt x="299" y="1314"/>
                    </a:lnTo>
                    <a:lnTo>
                      <a:pt x="293" y="13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98" name="Freeform 101">
                <a:extLst>
                  <a:ext uri="{FF2B5EF4-FFF2-40B4-BE49-F238E27FC236}">
                    <a16:creationId xmlns:a16="http://schemas.microsoft.com/office/drawing/2014/main" id="{0241CAD9-A3A6-4364-AB7A-AEFCDD592B5B}"/>
                  </a:ext>
                </a:extLst>
              </p:cNvPr>
              <p:cNvSpPr>
                <a:spLocks/>
              </p:cNvSpPr>
              <p:nvPr/>
            </p:nvSpPr>
            <p:spPr bwMode="auto">
              <a:xfrm>
                <a:off x="5067300" y="4030663"/>
                <a:ext cx="268288" cy="322263"/>
              </a:xfrm>
              <a:custGeom>
                <a:avLst/>
                <a:gdLst>
                  <a:gd name="T0" fmla="*/ 85 w 843"/>
                  <a:gd name="T1" fmla="*/ 0 h 1017"/>
                  <a:gd name="T2" fmla="*/ 843 w 843"/>
                  <a:gd name="T3" fmla="*/ 949 h 1017"/>
                  <a:gd name="T4" fmla="*/ 758 w 843"/>
                  <a:gd name="T5" fmla="*/ 1017 h 1017"/>
                  <a:gd name="T6" fmla="*/ 0 w 843"/>
                  <a:gd name="T7" fmla="*/ 68 h 1017"/>
                  <a:gd name="T8" fmla="*/ 85 w 843"/>
                  <a:gd name="T9" fmla="*/ 0 h 1017"/>
                </a:gdLst>
                <a:ahLst/>
                <a:cxnLst>
                  <a:cxn ang="0">
                    <a:pos x="T0" y="T1"/>
                  </a:cxn>
                  <a:cxn ang="0">
                    <a:pos x="T2" y="T3"/>
                  </a:cxn>
                  <a:cxn ang="0">
                    <a:pos x="T4" y="T5"/>
                  </a:cxn>
                  <a:cxn ang="0">
                    <a:pos x="T6" y="T7"/>
                  </a:cxn>
                  <a:cxn ang="0">
                    <a:pos x="T8" y="T9"/>
                  </a:cxn>
                </a:cxnLst>
                <a:rect l="0" t="0" r="r" b="b"/>
                <a:pathLst>
                  <a:path w="843" h="1017">
                    <a:moveTo>
                      <a:pt x="85" y="0"/>
                    </a:moveTo>
                    <a:lnTo>
                      <a:pt x="843" y="949"/>
                    </a:lnTo>
                    <a:lnTo>
                      <a:pt x="758" y="1017"/>
                    </a:lnTo>
                    <a:lnTo>
                      <a:pt x="0" y="68"/>
                    </a:lnTo>
                    <a:lnTo>
                      <a:pt x="8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grpSp>
          <p:nvGrpSpPr>
            <p:cNvPr id="7" name="Group 131">
              <a:extLst>
                <a:ext uri="{FF2B5EF4-FFF2-40B4-BE49-F238E27FC236}">
                  <a16:creationId xmlns:a16="http://schemas.microsoft.com/office/drawing/2014/main" id="{621A123D-9ACD-4892-BF91-0D15791D2CBF}"/>
                </a:ext>
              </a:extLst>
            </p:cNvPr>
            <p:cNvGrpSpPr/>
            <p:nvPr/>
          </p:nvGrpSpPr>
          <p:grpSpPr>
            <a:xfrm>
              <a:off x="523875" y="2894013"/>
              <a:ext cx="2351088" cy="3595688"/>
              <a:chOff x="523875" y="2894013"/>
              <a:chExt cx="2351088" cy="3595688"/>
            </a:xfrm>
            <a:solidFill>
              <a:schemeClr val="accent5"/>
            </a:solidFill>
          </p:grpSpPr>
          <p:sp>
            <p:nvSpPr>
              <p:cNvPr id="82" name="Freeform 20">
                <a:extLst>
                  <a:ext uri="{FF2B5EF4-FFF2-40B4-BE49-F238E27FC236}">
                    <a16:creationId xmlns:a16="http://schemas.microsoft.com/office/drawing/2014/main" id="{8E9BE99E-57B0-4B1B-B9C8-12C186F7AE93}"/>
                  </a:ext>
                </a:extLst>
              </p:cNvPr>
              <p:cNvSpPr>
                <a:spLocks noEditPoints="1"/>
              </p:cNvSpPr>
              <p:nvPr/>
            </p:nvSpPr>
            <p:spPr bwMode="auto">
              <a:xfrm>
                <a:off x="523875" y="2894013"/>
                <a:ext cx="608013" cy="608013"/>
              </a:xfrm>
              <a:custGeom>
                <a:avLst/>
                <a:gdLst>
                  <a:gd name="T0" fmla="*/ 718 w 1916"/>
                  <a:gd name="T1" fmla="*/ 31 h 1917"/>
                  <a:gd name="T2" fmla="*/ 461 w 1916"/>
                  <a:gd name="T3" fmla="*/ 139 h 1917"/>
                  <a:gd name="T4" fmla="*/ 249 w 1916"/>
                  <a:gd name="T5" fmla="*/ 314 h 1917"/>
                  <a:gd name="T6" fmla="*/ 95 w 1916"/>
                  <a:gd name="T7" fmla="*/ 543 h 1917"/>
                  <a:gd name="T8" fmla="*/ 11 w 1916"/>
                  <a:gd name="T9" fmla="*/ 812 h 1917"/>
                  <a:gd name="T10" fmla="*/ 11 w 1916"/>
                  <a:gd name="T11" fmla="*/ 1104 h 1917"/>
                  <a:gd name="T12" fmla="*/ 95 w 1916"/>
                  <a:gd name="T13" fmla="*/ 1374 h 1917"/>
                  <a:gd name="T14" fmla="*/ 249 w 1916"/>
                  <a:gd name="T15" fmla="*/ 1603 h 1917"/>
                  <a:gd name="T16" fmla="*/ 461 w 1916"/>
                  <a:gd name="T17" fmla="*/ 1778 h 1917"/>
                  <a:gd name="T18" fmla="*/ 718 w 1916"/>
                  <a:gd name="T19" fmla="*/ 1886 h 1917"/>
                  <a:gd name="T20" fmla="*/ 1007 w 1916"/>
                  <a:gd name="T21" fmla="*/ 1916 h 1917"/>
                  <a:gd name="T22" fmla="*/ 1287 w 1916"/>
                  <a:gd name="T23" fmla="*/ 1858 h 1917"/>
                  <a:gd name="T24" fmla="*/ 1531 w 1916"/>
                  <a:gd name="T25" fmla="*/ 1726 h 1917"/>
                  <a:gd name="T26" fmla="*/ 1725 w 1916"/>
                  <a:gd name="T27" fmla="*/ 1531 h 1917"/>
                  <a:gd name="T28" fmla="*/ 1857 w 1916"/>
                  <a:gd name="T29" fmla="*/ 1287 h 1917"/>
                  <a:gd name="T30" fmla="*/ 1914 w 1916"/>
                  <a:gd name="T31" fmla="*/ 1007 h 1917"/>
                  <a:gd name="T32" fmla="*/ 1885 w 1916"/>
                  <a:gd name="T33" fmla="*/ 719 h 1917"/>
                  <a:gd name="T34" fmla="*/ 1776 w 1916"/>
                  <a:gd name="T35" fmla="*/ 461 h 1917"/>
                  <a:gd name="T36" fmla="*/ 1602 w 1916"/>
                  <a:gd name="T37" fmla="*/ 249 h 1917"/>
                  <a:gd name="T38" fmla="*/ 1373 w 1916"/>
                  <a:gd name="T39" fmla="*/ 95 h 1917"/>
                  <a:gd name="T40" fmla="*/ 1104 w 1916"/>
                  <a:gd name="T41" fmla="*/ 11 h 1917"/>
                  <a:gd name="T42" fmla="*/ 1210 w 1916"/>
                  <a:gd name="T43" fmla="*/ 1338 h 1917"/>
                  <a:gd name="T44" fmla="*/ 1145 w 1916"/>
                  <a:gd name="T45" fmla="*/ 1385 h 1917"/>
                  <a:gd name="T46" fmla="*/ 1062 w 1916"/>
                  <a:gd name="T47" fmla="*/ 1414 h 1917"/>
                  <a:gd name="T48" fmla="*/ 901 w 1916"/>
                  <a:gd name="T49" fmla="*/ 1557 h 1917"/>
                  <a:gd name="T50" fmla="*/ 779 w 1916"/>
                  <a:gd name="T51" fmla="*/ 1387 h 1917"/>
                  <a:gd name="T52" fmla="*/ 705 w 1916"/>
                  <a:gd name="T53" fmla="*/ 1329 h 1917"/>
                  <a:gd name="T54" fmla="*/ 633 w 1916"/>
                  <a:gd name="T55" fmla="*/ 1193 h 1917"/>
                  <a:gd name="T56" fmla="*/ 820 w 1916"/>
                  <a:gd name="T57" fmla="*/ 1182 h 1917"/>
                  <a:gd name="T58" fmla="*/ 874 w 1916"/>
                  <a:gd name="T59" fmla="*/ 1244 h 1917"/>
                  <a:gd name="T60" fmla="*/ 958 w 1916"/>
                  <a:gd name="T61" fmla="*/ 1266 h 1917"/>
                  <a:gd name="T62" fmla="*/ 1019 w 1916"/>
                  <a:gd name="T63" fmla="*/ 1259 h 1917"/>
                  <a:gd name="T64" fmla="*/ 1070 w 1916"/>
                  <a:gd name="T65" fmla="*/ 1218 h 1917"/>
                  <a:gd name="T66" fmla="*/ 1087 w 1916"/>
                  <a:gd name="T67" fmla="*/ 1157 h 1917"/>
                  <a:gd name="T68" fmla="*/ 1070 w 1916"/>
                  <a:gd name="T69" fmla="*/ 1101 h 1917"/>
                  <a:gd name="T70" fmla="*/ 1020 w 1916"/>
                  <a:gd name="T71" fmla="*/ 1066 h 1917"/>
                  <a:gd name="T72" fmla="*/ 923 w 1916"/>
                  <a:gd name="T73" fmla="*/ 1026 h 1917"/>
                  <a:gd name="T74" fmla="*/ 777 w 1916"/>
                  <a:gd name="T75" fmla="*/ 962 h 1917"/>
                  <a:gd name="T76" fmla="*/ 709 w 1916"/>
                  <a:gd name="T77" fmla="*/ 901 h 1917"/>
                  <a:gd name="T78" fmla="*/ 666 w 1916"/>
                  <a:gd name="T79" fmla="*/ 811 h 1917"/>
                  <a:gd name="T80" fmla="*/ 662 w 1916"/>
                  <a:gd name="T81" fmla="*/ 692 h 1917"/>
                  <a:gd name="T82" fmla="*/ 717 w 1916"/>
                  <a:gd name="T83" fmla="*/ 561 h 1917"/>
                  <a:gd name="T84" fmla="*/ 771 w 1916"/>
                  <a:gd name="T85" fmla="*/ 510 h 1917"/>
                  <a:gd name="T86" fmla="*/ 843 w 1916"/>
                  <a:gd name="T87" fmla="*/ 477 h 1917"/>
                  <a:gd name="T88" fmla="*/ 958 w 1916"/>
                  <a:gd name="T89" fmla="*/ 360 h 1917"/>
                  <a:gd name="T90" fmla="*/ 1102 w 1916"/>
                  <a:gd name="T91" fmla="*/ 486 h 1917"/>
                  <a:gd name="T92" fmla="*/ 1200 w 1916"/>
                  <a:gd name="T93" fmla="*/ 559 h 1917"/>
                  <a:gd name="T94" fmla="*/ 1261 w 1916"/>
                  <a:gd name="T95" fmla="*/ 679 h 1917"/>
                  <a:gd name="T96" fmla="*/ 1071 w 1916"/>
                  <a:gd name="T97" fmla="*/ 674 h 1917"/>
                  <a:gd name="T98" fmla="*/ 1019 w 1916"/>
                  <a:gd name="T99" fmla="*/ 624 h 1917"/>
                  <a:gd name="T100" fmla="*/ 960 w 1916"/>
                  <a:gd name="T101" fmla="*/ 612 h 1917"/>
                  <a:gd name="T102" fmla="*/ 909 w 1916"/>
                  <a:gd name="T103" fmla="*/ 624 h 1917"/>
                  <a:gd name="T104" fmla="*/ 868 w 1916"/>
                  <a:gd name="T105" fmla="*/ 664 h 1917"/>
                  <a:gd name="T106" fmla="*/ 858 w 1916"/>
                  <a:gd name="T107" fmla="*/ 723 h 1917"/>
                  <a:gd name="T108" fmla="*/ 879 w 1916"/>
                  <a:gd name="T109" fmla="*/ 772 h 1917"/>
                  <a:gd name="T110" fmla="*/ 969 w 1916"/>
                  <a:gd name="T111" fmla="*/ 821 h 1917"/>
                  <a:gd name="T112" fmla="*/ 1132 w 1916"/>
                  <a:gd name="T113" fmla="*/ 888 h 1917"/>
                  <a:gd name="T114" fmla="*/ 1226 w 1916"/>
                  <a:gd name="T115" fmla="*/ 955 h 1917"/>
                  <a:gd name="T116" fmla="*/ 1276 w 1916"/>
                  <a:gd name="T117" fmla="*/ 1041 h 1917"/>
                  <a:gd name="T118" fmla="*/ 1289 w 1916"/>
                  <a:gd name="T119" fmla="*/ 1145 h 1917"/>
                  <a:gd name="T120" fmla="*/ 1276 w 1916"/>
                  <a:gd name="T121" fmla="*/ 1227 h 1917"/>
                  <a:gd name="T122" fmla="*/ 1243 w 1916"/>
                  <a:gd name="T123" fmla="*/ 1297 h 19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916" h="1917">
                    <a:moveTo>
                      <a:pt x="958" y="0"/>
                    </a:moveTo>
                    <a:lnTo>
                      <a:pt x="908" y="1"/>
                    </a:lnTo>
                    <a:lnTo>
                      <a:pt x="860" y="5"/>
                    </a:lnTo>
                    <a:lnTo>
                      <a:pt x="812" y="11"/>
                    </a:lnTo>
                    <a:lnTo>
                      <a:pt x="764" y="20"/>
                    </a:lnTo>
                    <a:lnTo>
                      <a:pt x="718" y="31"/>
                    </a:lnTo>
                    <a:lnTo>
                      <a:pt x="673" y="43"/>
                    </a:lnTo>
                    <a:lnTo>
                      <a:pt x="628" y="58"/>
                    </a:lnTo>
                    <a:lnTo>
                      <a:pt x="585" y="75"/>
                    </a:lnTo>
                    <a:lnTo>
                      <a:pt x="543" y="95"/>
                    </a:lnTo>
                    <a:lnTo>
                      <a:pt x="501" y="116"/>
                    </a:lnTo>
                    <a:lnTo>
                      <a:pt x="461" y="139"/>
                    </a:lnTo>
                    <a:lnTo>
                      <a:pt x="423" y="164"/>
                    </a:lnTo>
                    <a:lnTo>
                      <a:pt x="384" y="190"/>
                    </a:lnTo>
                    <a:lnTo>
                      <a:pt x="348" y="219"/>
                    </a:lnTo>
                    <a:lnTo>
                      <a:pt x="314" y="249"/>
                    </a:lnTo>
                    <a:lnTo>
                      <a:pt x="281" y="281"/>
                    </a:lnTo>
                    <a:lnTo>
                      <a:pt x="249" y="314"/>
                    </a:lnTo>
                    <a:lnTo>
                      <a:pt x="218" y="349"/>
                    </a:lnTo>
                    <a:lnTo>
                      <a:pt x="191" y="385"/>
                    </a:lnTo>
                    <a:lnTo>
                      <a:pt x="164" y="423"/>
                    </a:lnTo>
                    <a:lnTo>
                      <a:pt x="138" y="461"/>
                    </a:lnTo>
                    <a:lnTo>
                      <a:pt x="116" y="501"/>
                    </a:lnTo>
                    <a:lnTo>
                      <a:pt x="95" y="543"/>
                    </a:lnTo>
                    <a:lnTo>
                      <a:pt x="76" y="585"/>
                    </a:lnTo>
                    <a:lnTo>
                      <a:pt x="59" y="629"/>
                    </a:lnTo>
                    <a:lnTo>
                      <a:pt x="43" y="673"/>
                    </a:lnTo>
                    <a:lnTo>
                      <a:pt x="30" y="719"/>
                    </a:lnTo>
                    <a:lnTo>
                      <a:pt x="19" y="765"/>
                    </a:lnTo>
                    <a:lnTo>
                      <a:pt x="11" y="812"/>
                    </a:lnTo>
                    <a:lnTo>
                      <a:pt x="5" y="860"/>
                    </a:lnTo>
                    <a:lnTo>
                      <a:pt x="1" y="909"/>
                    </a:lnTo>
                    <a:lnTo>
                      <a:pt x="0" y="958"/>
                    </a:lnTo>
                    <a:lnTo>
                      <a:pt x="1" y="1007"/>
                    </a:lnTo>
                    <a:lnTo>
                      <a:pt x="5" y="1056"/>
                    </a:lnTo>
                    <a:lnTo>
                      <a:pt x="11" y="1104"/>
                    </a:lnTo>
                    <a:lnTo>
                      <a:pt x="19" y="1151"/>
                    </a:lnTo>
                    <a:lnTo>
                      <a:pt x="30" y="1198"/>
                    </a:lnTo>
                    <a:lnTo>
                      <a:pt x="43" y="1244"/>
                    </a:lnTo>
                    <a:lnTo>
                      <a:pt x="59" y="1287"/>
                    </a:lnTo>
                    <a:lnTo>
                      <a:pt x="76" y="1331"/>
                    </a:lnTo>
                    <a:lnTo>
                      <a:pt x="95" y="1374"/>
                    </a:lnTo>
                    <a:lnTo>
                      <a:pt x="116" y="1415"/>
                    </a:lnTo>
                    <a:lnTo>
                      <a:pt x="138" y="1456"/>
                    </a:lnTo>
                    <a:lnTo>
                      <a:pt x="164" y="1494"/>
                    </a:lnTo>
                    <a:lnTo>
                      <a:pt x="191" y="1531"/>
                    </a:lnTo>
                    <a:lnTo>
                      <a:pt x="218" y="1567"/>
                    </a:lnTo>
                    <a:lnTo>
                      <a:pt x="249" y="1603"/>
                    </a:lnTo>
                    <a:lnTo>
                      <a:pt x="281" y="1636"/>
                    </a:lnTo>
                    <a:lnTo>
                      <a:pt x="314" y="1668"/>
                    </a:lnTo>
                    <a:lnTo>
                      <a:pt x="348" y="1697"/>
                    </a:lnTo>
                    <a:lnTo>
                      <a:pt x="384" y="1726"/>
                    </a:lnTo>
                    <a:lnTo>
                      <a:pt x="423" y="1753"/>
                    </a:lnTo>
                    <a:lnTo>
                      <a:pt x="461" y="1778"/>
                    </a:lnTo>
                    <a:lnTo>
                      <a:pt x="501" y="1801"/>
                    </a:lnTo>
                    <a:lnTo>
                      <a:pt x="543" y="1822"/>
                    </a:lnTo>
                    <a:lnTo>
                      <a:pt x="585" y="1841"/>
                    </a:lnTo>
                    <a:lnTo>
                      <a:pt x="628" y="1858"/>
                    </a:lnTo>
                    <a:lnTo>
                      <a:pt x="673" y="1873"/>
                    </a:lnTo>
                    <a:lnTo>
                      <a:pt x="718" y="1886"/>
                    </a:lnTo>
                    <a:lnTo>
                      <a:pt x="764" y="1898"/>
                    </a:lnTo>
                    <a:lnTo>
                      <a:pt x="812" y="1905"/>
                    </a:lnTo>
                    <a:lnTo>
                      <a:pt x="860" y="1911"/>
                    </a:lnTo>
                    <a:lnTo>
                      <a:pt x="908" y="1916"/>
                    </a:lnTo>
                    <a:lnTo>
                      <a:pt x="958" y="1917"/>
                    </a:lnTo>
                    <a:lnTo>
                      <a:pt x="1007" y="1916"/>
                    </a:lnTo>
                    <a:lnTo>
                      <a:pt x="1056" y="1911"/>
                    </a:lnTo>
                    <a:lnTo>
                      <a:pt x="1104" y="1905"/>
                    </a:lnTo>
                    <a:lnTo>
                      <a:pt x="1151" y="1898"/>
                    </a:lnTo>
                    <a:lnTo>
                      <a:pt x="1197" y="1886"/>
                    </a:lnTo>
                    <a:lnTo>
                      <a:pt x="1242" y="1873"/>
                    </a:lnTo>
                    <a:lnTo>
                      <a:pt x="1287" y="1858"/>
                    </a:lnTo>
                    <a:lnTo>
                      <a:pt x="1330" y="1841"/>
                    </a:lnTo>
                    <a:lnTo>
                      <a:pt x="1373" y="1822"/>
                    </a:lnTo>
                    <a:lnTo>
                      <a:pt x="1414" y="1801"/>
                    </a:lnTo>
                    <a:lnTo>
                      <a:pt x="1454" y="1778"/>
                    </a:lnTo>
                    <a:lnTo>
                      <a:pt x="1493" y="1753"/>
                    </a:lnTo>
                    <a:lnTo>
                      <a:pt x="1531" y="1726"/>
                    </a:lnTo>
                    <a:lnTo>
                      <a:pt x="1567" y="1697"/>
                    </a:lnTo>
                    <a:lnTo>
                      <a:pt x="1602" y="1668"/>
                    </a:lnTo>
                    <a:lnTo>
                      <a:pt x="1635" y="1636"/>
                    </a:lnTo>
                    <a:lnTo>
                      <a:pt x="1667" y="1603"/>
                    </a:lnTo>
                    <a:lnTo>
                      <a:pt x="1697" y="1567"/>
                    </a:lnTo>
                    <a:lnTo>
                      <a:pt x="1725" y="1531"/>
                    </a:lnTo>
                    <a:lnTo>
                      <a:pt x="1752" y="1494"/>
                    </a:lnTo>
                    <a:lnTo>
                      <a:pt x="1776" y="1456"/>
                    </a:lnTo>
                    <a:lnTo>
                      <a:pt x="1800" y="1415"/>
                    </a:lnTo>
                    <a:lnTo>
                      <a:pt x="1821" y="1374"/>
                    </a:lnTo>
                    <a:lnTo>
                      <a:pt x="1840" y="1331"/>
                    </a:lnTo>
                    <a:lnTo>
                      <a:pt x="1857" y="1287"/>
                    </a:lnTo>
                    <a:lnTo>
                      <a:pt x="1872" y="1244"/>
                    </a:lnTo>
                    <a:lnTo>
                      <a:pt x="1885" y="1198"/>
                    </a:lnTo>
                    <a:lnTo>
                      <a:pt x="1896" y="1151"/>
                    </a:lnTo>
                    <a:lnTo>
                      <a:pt x="1904" y="1104"/>
                    </a:lnTo>
                    <a:lnTo>
                      <a:pt x="1910" y="1056"/>
                    </a:lnTo>
                    <a:lnTo>
                      <a:pt x="1914" y="1007"/>
                    </a:lnTo>
                    <a:lnTo>
                      <a:pt x="1916" y="958"/>
                    </a:lnTo>
                    <a:lnTo>
                      <a:pt x="1914" y="909"/>
                    </a:lnTo>
                    <a:lnTo>
                      <a:pt x="1910" y="860"/>
                    </a:lnTo>
                    <a:lnTo>
                      <a:pt x="1904" y="812"/>
                    </a:lnTo>
                    <a:lnTo>
                      <a:pt x="1896" y="765"/>
                    </a:lnTo>
                    <a:lnTo>
                      <a:pt x="1885" y="719"/>
                    </a:lnTo>
                    <a:lnTo>
                      <a:pt x="1872" y="673"/>
                    </a:lnTo>
                    <a:lnTo>
                      <a:pt x="1857" y="629"/>
                    </a:lnTo>
                    <a:lnTo>
                      <a:pt x="1840" y="585"/>
                    </a:lnTo>
                    <a:lnTo>
                      <a:pt x="1821" y="543"/>
                    </a:lnTo>
                    <a:lnTo>
                      <a:pt x="1800" y="501"/>
                    </a:lnTo>
                    <a:lnTo>
                      <a:pt x="1776" y="461"/>
                    </a:lnTo>
                    <a:lnTo>
                      <a:pt x="1752" y="423"/>
                    </a:lnTo>
                    <a:lnTo>
                      <a:pt x="1725" y="385"/>
                    </a:lnTo>
                    <a:lnTo>
                      <a:pt x="1697" y="349"/>
                    </a:lnTo>
                    <a:lnTo>
                      <a:pt x="1667" y="314"/>
                    </a:lnTo>
                    <a:lnTo>
                      <a:pt x="1635" y="281"/>
                    </a:lnTo>
                    <a:lnTo>
                      <a:pt x="1602" y="249"/>
                    </a:lnTo>
                    <a:lnTo>
                      <a:pt x="1567" y="219"/>
                    </a:lnTo>
                    <a:lnTo>
                      <a:pt x="1531" y="190"/>
                    </a:lnTo>
                    <a:lnTo>
                      <a:pt x="1493" y="164"/>
                    </a:lnTo>
                    <a:lnTo>
                      <a:pt x="1454" y="139"/>
                    </a:lnTo>
                    <a:lnTo>
                      <a:pt x="1414" y="116"/>
                    </a:lnTo>
                    <a:lnTo>
                      <a:pt x="1373" y="95"/>
                    </a:lnTo>
                    <a:lnTo>
                      <a:pt x="1330" y="75"/>
                    </a:lnTo>
                    <a:lnTo>
                      <a:pt x="1287" y="58"/>
                    </a:lnTo>
                    <a:lnTo>
                      <a:pt x="1242" y="43"/>
                    </a:lnTo>
                    <a:lnTo>
                      <a:pt x="1197" y="31"/>
                    </a:lnTo>
                    <a:lnTo>
                      <a:pt x="1151" y="20"/>
                    </a:lnTo>
                    <a:lnTo>
                      <a:pt x="1104" y="11"/>
                    </a:lnTo>
                    <a:lnTo>
                      <a:pt x="1056" y="5"/>
                    </a:lnTo>
                    <a:lnTo>
                      <a:pt x="1007" y="1"/>
                    </a:lnTo>
                    <a:lnTo>
                      <a:pt x="958" y="0"/>
                    </a:lnTo>
                    <a:close/>
                    <a:moveTo>
                      <a:pt x="1219" y="1328"/>
                    </a:moveTo>
                    <a:lnTo>
                      <a:pt x="1219" y="1328"/>
                    </a:lnTo>
                    <a:lnTo>
                      <a:pt x="1210" y="1338"/>
                    </a:lnTo>
                    <a:lnTo>
                      <a:pt x="1201" y="1347"/>
                    </a:lnTo>
                    <a:lnTo>
                      <a:pt x="1190" y="1355"/>
                    </a:lnTo>
                    <a:lnTo>
                      <a:pt x="1179" y="1364"/>
                    </a:lnTo>
                    <a:lnTo>
                      <a:pt x="1169" y="1371"/>
                    </a:lnTo>
                    <a:lnTo>
                      <a:pt x="1157" y="1379"/>
                    </a:lnTo>
                    <a:lnTo>
                      <a:pt x="1145" y="1385"/>
                    </a:lnTo>
                    <a:lnTo>
                      <a:pt x="1132" y="1392"/>
                    </a:lnTo>
                    <a:lnTo>
                      <a:pt x="1120" y="1397"/>
                    </a:lnTo>
                    <a:lnTo>
                      <a:pt x="1106" y="1402"/>
                    </a:lnTo>
                    <a:lnTo>
                      <a:pt x="1092" y="1407"/>
                    </a:lnTo>
                    <a:lnTo>
                      <a:pt x="1077" y="1411"/>
                    </a:lnTo>
                    <a:lnTo>
                      <a:pt x="1062" y="1414"/>
                    </a:lnTo>
                    <a:lnTo>
                      <a:pt x="1047" y="1417"/>
                    </a:lnTo>
                    <a:lnTo>
                      <a:pt x="1031" y="1419"/>
                    </a:lnTo>
                    <a:lnTo>
                      <a:pt x="1014" y="1422"/>
                    </a:lnTo>
                    <a:lnTo>
                      <a:pt x="1014" y="1557"/>
                    </a:lnTo>
                    <a:lnTo>
                      <a:pt x="958" y="1557"/>
                    </a:lnTo>
                    <a:lnTo>
                      <a:pt x="901" y="1557"/>
                    </a:lnTo>
                    <a:lnTo>
                      <a:pt x="901" y="1423"/>
                    </a:lnTo>
                    <a:lnTo>
                      <a:pt x="874" y="1418"/>
                    </a:lnTo>
                    <a:lnTo>
                      <a:pt x="848" y="1413"/>
                    </a:lnTo>
                    <a:lnTo>
                      <a:pt x="824" y="1407"/>
                    </a:lnTo>
                    <a:lnTo>
                      <a:pt x="800" y="1398"/>
                    </a:lnTo>
                    <a:lnTo>
                      <a:pt x="779" y="1387"/>
                    </a:lnTo>
                    <a:lnTo>
                      <a:pt x="758" y="1376"/>
                    </a:lnTo>
                    <a:lnTo>
                      <a:pt x="748" y="1368"/>
                    </a:lnTo>
                    <a:lnTo>
                      <a:pt x="739" y="1362"/>
                    </a:lnTo>
                    <a:lnTo>
                      <a:pt x="730" y="1354"/>
                    </a:lnTo>
                    <a:lnTo>
                      <a:pt x="722" y="1346"/>
                    </a:lnTo>
                    <a:lnTo>
                      <a:pt x="705" y="1329"/>
                    </a:lnTo>
                    <a:lnTo>
                      <a:pt x="690" y="1311"/>
                    </a:lnTo>
                    <a:lnTo>
                      <a:pt x="676" y="1291"/>
                    </a:lnTo>
                    <a:lnTo>
                      <a:pt x="663" y="1268"/>
                    </a:lnTo>
                    <a:lnTo>
                      <a:pt x="651" y="1245"/>
                    </a:lnTo>
                    <a:lnTo>
                      <a:pt x="642" y="1219"/>
                    </a:lnTo>
                    <a:lnTo>
                      <a:pt x="633" y="1193"/>
                    </a:lnTo>
                    <a:lnTo>
                      <a:pt x="626" y="1164"/>
                    </a:lnTo>
                    <a:lnTo>
                      <a:pt x="801" y="1118"/>
                    </a:lnTo>
                    <a:lnTo>
                      <a:pt x="805" y="1135"/>
                    </a:lnTo>
                    <a:lnTo>
                      <a:pt x="809" y="1152"/>
                    </a:lnTo>
                    <a:lnTo>
                      <a:pt x="814" y="1167"/>
                    </a:lnTo>
                    <a:lnTo>
                      <a:pt x="820" y="1182"/>
                    </a:lnTo>
                    <a:lnTo>
                      <a:pt x="827" y="1195"/>
                    </a:lnTo>
                    <a:lnTo>
                      <a:pt x="834" y="1206"/>
                    </a:lnTo>
                    <a:lnTo>
                      <a:pt x="843" y="1218"/>
                    </a:lnTo>
                    <a:lnTo>
                      <a:pt x="853" y="1228"/>
                    </a:lnTo>
                    <a:lnTo>
                      <a:pt x="862" y="1236"/>
                    </a:lnTo>
                    <a:lnTo>
                      <a:pt x="874" y="1244"/>
                    </a:lnTo>
                    <a:lnTo>
                      <a:pt x="886" y="1250"/>
                    </a:lnTo>
                    <a:lnTo>
                      <a:pt x="898" y="1255"/>
                    </a:lnTo>
                    <a:lnTo>
                      <a:pt x="912" y="1260"/>
                    </a:lnTo>
                    <a:lnTo>
                      <a:pt x="926" y="1263"/>
                    </a:lnTo>
                    <a:lnTo>
                      <a:pt x="942" y="1265"/>
                    </a:lnTo>
                    <a:lnTo>
                      <a:pt x="958" y="1266"/>
                    </a:lnTo>
                    <a:lnTo>
                      <a:pt x="960" y="1266"/>
                    </a:lnTo>
                    <a:lnTo>
                      <a:pt x="962" y="1266"/>
                    </a:lnTo>
                    <a:lnTo>
                      <a:pt x="978" y="1266"/>
                    </a:lnTo>
                    <a:lnTo>
                      <a:pt x="992" y="1264"/>
                    </a:lnTo>
                    <a:lnTo>
                      <a:pt x="1006" y="1262"/>
                    </a:lnTo>
                    <a:lnTo>
                      <a:pt x="1019" y="1259"/>
                    </a:lnTo>
                    <a:lnTo>
                      <a:pt x="1029" y="1253"/>
                    </a:lnTo>
                    <a:lnTo>
                      <a:pt x="1040" y="1248"/>
                    </a:lnTo>
                    <a:lnTo>
                      <a:pt x="1048" y="1242"/>
                    </a:lnTo>
                    <a:lnTo>
                      <a:pt x="1057" y="1234"/>
                    </a:lnTo>
                    <a:lnTo>
                      <a:pt x="1064" y="1227"/>
                    </a:lnTo>
                    <a:lnTo>
                      <a:pt x="1070" y="1218"/>
                    </a:lnTo>
                    <a:lnTo>
                      <a:pt x="1075" y="1209"/>
                    </a:lnTo>
                    <a:lnTo>
                      <a:pt x="1079" y="1199"/>
                    </a:lnTo>
                    <a:lnTo>
                      <a:pt x="1082" y="1189"/>
                    </a:lnTo>
                    <a:lnTo>
                      <a:pt x="1085" y="1180"/>
                    </a:lnTo>
                    <a:lnTo>
                      <a:pt x="1087" y="1169"/>
                    </a:lnTo>
                    <a:lnTo>
                      <a:pt x="1087" y="1157"/>
                    </a:lnTo>
                    <a:lnTo>
                      <a:pt x="1087" y="1147"/>
                    </a:lnTo>
                    <a:lnTo>
                      <a:pt x="1085" y="1136"/>
                    </a:lnTo>
                    <a:lnTo>
                      <a:pt x="1082" y="1126"/>
                    </a:lnTo>
                    <a:lnTo>
                      <a:pt x="1079" y="1117"/>
                    </a:lnTo>
                    <a:lnTo>
                      <a:pt x="1075" y="1108"/>
                    </a:lnTo>
                    <a:lnTo>
                      <a:pt x="1070" y="1101"/>
                    </a:lnTo>
                    <a:lnTo>
                      <a:pt x="1064" y="1093"/>
                    </a:lnTo>
                    <a:lnTo>
                      <a:pt x="1057" y="1087"/>
                    </a:lnTo>
                    <a:lnTo>
                      <a:pt x="1049" y="1082"/>
                    </a:lnTo>
                    <a:lnTo>
                      <a:pt x="1041" y="1076"/>
                    </a:lnTo>
                    <a:lnTo>
                      <a:pt x="1031" y="1071"/>
                    </a:lnTo>
                    <a:lnTo>
                      <a:pt x="1020" y="1066"/>
                    </a:lnTo>
                    <a:lnTo>
                      <a:pt x="992" y="1053"/>
                    </a:lnTo>
                    <a:lnTo>
                      <a:pt x="958" y="1039"/>
                    </a:lnTo>
                    <a:lnTo>
                      <a:pt x="949" y="1036"/>
                    </a:lnTo>
                    <a:lnTo>
                      <a:pt x="941" y="1033"/>
                    </a:lnTo>
                    <a:lnTo>
                      <a:pt x="932" y="1030"/>
                    </a:lnTo>
                    <a:lnTo>
                      <a:pt x="923" y="1026"/>
                    </a:lnTo>
                    <a:lnTo>
                      <a:pt x="878" y="1010"/>
                    </a:lnTo>
                    <a:lnTo>
                      <a:pt x="840" y="994"/>
                    </a:lnTo>
                    <a:lnTo>
                      <a:pt x="822" y="986"/>
                    </a:lnTo>
                    <a:lnTo>
                      <a:pt x="806" y="978"/>
                    </a:lnTo>
                    <a:lnTo>
                      <a:pt x="791" y="970"/>
                    </a:lnTo>
                    <a:lnTo>
                      <a:pt x="777" y="962"/>
                    </a:lnTo>
                    <a:lnTo>
                      <a:pt x="763" y="954"/>
                    </a:lnTo>
                    <a:lnTo>
                      <a:pt x="751" y="944"/>
                    </a:lnTo>
                    <a:lnTo>
                      <a:pt x="740" y="935"/>
                    </a:lnTo>
                    <a:lnTo>
                      <a:pt x="729" y="924"/>
                    </a:lnTo>
                    <a:lnTo>
                      <a:pt x="718" y="912"/>
                    </a:lnTo>
                    <a:lnTo>
                      <a:pt x="709" y="901"/>
                    </a:lnTo>
                    <a:lnTo>
                      <a:pt x="699" y="888"/>
                    </a:lnTo>
                    <a:lnTo>
                      <a:pt x="691" y="874"/>
                    </a:lnTo>
                    <a:lnTo>
                      <a:pt x="683" y="859"/>
                    </a:lnTo>
                    <a:lnTo>
                      <a:pt x="677" y="844"/>
                    </a:lnTo>
                    <a:lnTo>
                      <a:pt x="671" y="828"/>
                    </a:lnTo>
                    <a:lnTo>
                      <a:pt x="666" y="811"/>
                    </a:lnTo>
                    <a:lnTo>
                      <a:pt x="663" y="794"/>
                    </a:lnTo>
                    <a:lnTo>
                      <a:pt x="660" y="777"/>
                    </a:lnTo>
                    <a:lnTo>
                      <a:pt x="659" y="759"/>
                    </a:lnTo>
                    <a:lnTo>
                      <a:pt x="658" y="741"/>
                    </a:lnTo>
                    <a:lnTo>
                      <a:pt x="659" y="715"/>
                    </a:lnTo>
                    <a:lnTo>
                      <a:pt x="662" y="692"/>
                    </a:lnTo>
                    <a:lnTo>
                      <a:pt x="666" y="669"/>
                    </a:lnTo>
                    <a:lnTo>
                      <a:pt x="673" y="646"/>
                    </a:lnTo>
                    <a:lnTo>
                      <a:pt x="681" y="624"/>
                    </a:lnTo>
                    <a:lnTo>
                      <a:pt x="691" y="603"/>
                    </a:lnTo>
                    <a:lnTo>
                      <a:pt x="704" y="581"/>
                    </a:lnTo>
                    <a:lnTo>
                      <a:pt x="717" y="561"/>
                    </a:lnTo>
                    <a:lnTo>
                      <a:pt x="725" y="551"/>
                    </a:lnTo>
                    <a:lnTo>
                      <a:pt x="732" y="542"/>
                    </a:lnTo>
                    <a:lnTo>
                      <a:pt x="741" y="533"/>
                    </a:lnTo>
                    <a:lnTo>
                      <a:pt x="750" y="526"/>
                    </a:lnTo>
                    <a:lnTo>
                      <a:pt x="760" y="517"/>
                    </a:lnTo>
                    <a:lnTo>
                      <a:pt x="771" y="510"/>
                    </a:lnTo>
                    <a:lnTo>
                      <a:pt x="781" y="503"/>
                    </a:lnTo>
                    <a:lnTo>
                      <a:pt x="792" y="497"/>
                    </a:lnTo>
                    <a:lnTo>
                      <a:pt x="804" y="492"/>
                    </a:lnTo>
                    <a:lnTo>
                      <a:pt x="816" y="486"/>
                    </a:lnTo>
                    <a:lnTo>
                      <a:pt x="829" y="481"/>
                    </a:lnTo>
                    <a:lnTo>
                      <a:pt x="843" y="477"/>
                    </a:lnTo>
                    <a:lnTo>
                      <a:pt x="857" y="473"/>
                    </a:lnTo>
                    <a:lnTo>
                      <a:pt x="871" y="469"/>
                    </a:lnTo>
                    <a:lnTo>
                      <a:pt x="886" y="466"/>
                    </a:lnTo>
                    <a:lnTo>
                      <a:pt x="901" y="464"/>
                    </a:lnTo>
                    <a:lnTo>
                      <a:pt x="901" y="360"/>
                    </a:lnTo>
                    <a:lnTo>
                      <a:pt x="958" y="360"/>
                    </a:lnTo>
                    <a:lnTo>
                      <a:pt x="1014" y="360"/>
                    </a:lnTo>
                    <a:lnTo>
                      <a:pt x="1014" y="464"/>
                    </a:lnTo>
                    <a:lnTo>
                      <a:pt x="1038" y="467"/>
                    </a:lnTo>
                    <a:lnTo>
                      <a:pt x="1060" y="473"/>
                    </a:lnTo>
                    <a:lnTo>
                      <a:pt x="1081" y="479"/>
                    </a:lnTo>
                    <a:lnTo>
                      <a:pt x="1102" y="486"/>
                    </a:lnTo>
                    <a:lnTo>
                      <a:pt x="1121" y="495"/>
                    </a:lnTo>
                    <a:lnTo>
                      <a:pt x="1139" y="505"/>
                    </a:lnTo>
                    <a:lnTo>
                      <a:pt x="1156" y="516"/>
                    </a:lnTo>
                    <a:lnTo>
                      <a:pt x="1172" y="529"/>
                    </a:lnTo>
                    <a:lnTo>
                      <a:pt x="1186" y="543"/>
                    </a:lnTo>
                    <a:lnTo>
                      <a:pt x="1200" y="559"/>
                    </a:lnTo>
                    <a:lnTo>
                      <a:pt x="1212" y="576"/>
                    </a:lnTo>
                    <a:lnTo>
                      <a:pt x="1224" y="594"/>
                    </a:lnTo>
                    <a:lnTo>
                      <a:pt x="1235" y="613"/>
                    </a:lnTo>
                    <a:lnTo>
                      <a:pt x="1244" y="633"/>
                    </a:lnTo>
                    <a:lnTo>
                      <a:pt x="1254" y="656"/>
                    </a:lnTo>
                    <a:lnTo>
                      <a:pt x="1261" y="679"/>
                    </a:lnTo>
                    <a:lnTo>
                      <a:pt x="1105" y="743"/>
                    </a:lnTo>
                    <a:lnTo>
                      <a:pt x="1098" y="727"/>
                    </a:lnTo>
                    <a:lnTo>
                      <a:pt x="1092" y="712"/>
                    </a:lnTo>
                    <a:lnTo>
                      <a:pt x="1086" y="698"/>
                    </a:lnTo>
                    <a:lnTo>
                      <a:pt x="1078" y="686"/>
                    </a:lnTo>
                    <a:lnTo>
                      <a:pt x="1071" y="674"/>
                    </a:lnTo>
                    <a:lnTo>
                      <a:pt x="1063" y="663"/>
                    </a:lnTo>
                    <a:lnTo>
                      <a:pt x="1055" y="654"/>
                    </a:lnTo>
                    <a:lnTo>
                      <a:pt x="1046" y="644"/>
                    </a:lnTo>
                    <a:lnTo>
                      <a:pt x="1038" y="637"/>
                    </a:lnTo>
                    <a:lnTo>
                      <a:pt x="1028" y="630"/>
                    </a:lnTo>
                    <a:lnTo>
                      <a:pt x="1019" y="624"/>
                    </a:lnTo>
                    <a:lnTo>
                      <a:pt x="1008" y="620"/>
                    </a:lnTo>
                    <a:lnTo>
                      <a:pt x="997" y="616"/>
                    </a:lnTo>
                    <a:lnTo>
                      <a:pt x="987" y="613"/>
                    </a:lnTo>
                    <a:lnTo>
                      <a:pt x="975" y="612"/>
                    </a:lnTo>
                    <a:lnTo>
                      <a:pt x="963" y="611"/>
                    </a:lnTo>
                    <a:lnTo>
                      <a:pt x="960" y="612"/>
                    </a:lnTo>
                    <a:lnTo>
                      <a:pt x="958" y="612"/>
                    </a:lnTo>
                    <a:lnTo>
                      <a:pt x="947" y="613"/>
                    </a:lnTo>
                    <a:lnTo>
                      <a:pt x="937" y="614"/>
                    </a:lnTo>
                    <a:lnTo>
                      <a:pt x="927" y="616"/>
                    </a:lnTo>
                    <a:lnTo>
                      <a:pt x="917" y="620"/>
                    </a:lnTo>
                    <a:lnTo>
                      <a:pt x="909" y="624"/>
                    </a:lnTo>
                    <a:lnTo>
                      <a:pt x="900" y="629"/>
                    </a:lnTo>
                    <a:lnTo>
                      <a:pt x="893" y="634"/>
                    </a:lnTo>
                    <a:lnTo>
                      <a:pt x="887" y="641"/>
                    </a:lnTo>
                    <a:lnTo>
                      <a:pt x="879" y="648"/>
                    </a:lnTo>
                    <a:lnTo>
                      <a:pt x="874" y="657"/>
                    </a:lnTo>
                    <a:lnTo>
                      <a:pt x="868" y="664"/>
                    </a:lnTo>
                    <a:lnTo>
                      <a:pt x="864" y="674"/>
                    </a:lnTo>
                    <a:lnTo>
                      <a:pt x="861" y="682"/>
                    </a:lnTo>
                    <a:lnTo>
                      <a:pt x="859" y="692"/>
                    </a:lnTo>
                    <a:lnTo>
                      <a:pt x="858" y="702"/>
                    </a:lnTo>
                    <a:lnTo>
                      <a:pt x="857" y="712"/>
                    </a:lnTo>
                    <a:lnTo>
                      <a:pt x="858" y="723"/>
                    </a:lnTo>
                    <a:lnTo>
                      <a:pt x="859" y="732"/>
                    </a:lnTo>
                    <a:lnTo>
                      <a:pt x="861" y="742"/>
                    </a:lnTo>
                    <a:lnTo>
                      <a:pt x="864" y="751"/>
                    </a:lnTo>
                    <a:lnTo>
                      <a:pt x="868" y="758"/>
                    </a:lnTo>
                    <a:lnTo>
                      <a:pt x="873" y="765"/>
                    </a:lnTo>
                    <a:lnTo>
                      <a:pt x="879" y="772"/>
                    </a:lnTo>
                    <a:lnTo>
                      <a:pt x="886" y="778"/>
                    </a:lnTo>
                    <a:lnTo>
                      <a:pt x="897" y="787"/>
                    </a:lnTo>
                    <a:lnTo>
                      <a:pt x="913" y="795"/>
                    </a:lnTo>
                    <a:lnTo>
                      <a:pt x="933" y="806"/>
                    </a:lnTo>
                    <a:lnTo>
                      <a:pt x="958" y="817"/>
                    </a:lnTo>
                    <a:lnTo>
                      <a:pt x="969" y="821"/>
                    </a:lnTo>
                    <a:lnTo>
                      <a:pt x="980" y="825"/>
                    </a:lnTo>
                    <a:lnTo>
                      <a:pt x="992" y="830"/>
                    </a:lnTo>
                    <a:lnTo>
                      <a:pt x="1005" y="835"/>
                    </a:lnTo>
                    <a:lnTo>
                      <a:pt x="1053" y="853"/>
                    </a:lnTo>
                    <a:lnTo>
                      <a:pt x="1095" y="871"/>
                    </a:lnTo>
                    <a:lnTo>
                      <a:pt x="1132" y="888"/>
                    </a:lnTo>
                    <a:lnTo>
                      <a:pt x="1163" y="905"/>
                    </a:lnTo>
                    <a:lnTo>
                      <a:pt x="1177" y="913"/>
                    </a:lnTo>
                    <a:lnTo>
                      <a:pt x="1191" y="922"/>
                    </a:lnTo>
                    <a:lnTo>
                      <a:pt x="1204" y="933"/>
                    </a:lnTo>
                    <a:lnTo>
                      <a:pt x="1215" y="943"/>
                    </a:lnTo>
                    <a:lnTo>
                      <a:pt x="1226" y="955"/>
                    </a:lnTo>
                    <a:lnTo>
                      <a:pt x="1237" y="968"/>
                    </a:lnTo>
                    <a:lnTo>
                      <a:pt x="1246" y="981"/>
                    </a:lnTo>
                    <a:lnTo>
                      <a:pt x="1255" y="996"/>
                    </a:lnTo>
                    <a:lnTo>
                      <a:pt x="1263" y="1010"/>
                    </a:lnTo>
                    <a:lnTo>
                      <a:pt x="1271" y="1025"/>
                    </a:lnTo>
                    <a:lnTo>
                      <a:pt x="1276" y="1041"/>
                    </a:lnTo>
                    <a:lnTo>
                      <a:pt x="1281" y="1058"/>
                    </a:lnTo>
                    <a:lnTo>
                      <a:pt x="1285" y="1075"/>
                    </a:lnTo>
                    <a:lnTo>
                      <a:pt x="1288" y="1092"/>
                    </a:lnTo>
                    <a:lnTo>
                      <a:pt x="1289" y="1112"/>
                    </a:lnTo>
                    <a:lnTo>
                      <a:pt x="1290" y="1131"/>
                    </a:lnTo>
                    <a:lnTo>
                      <a:pt x="1289" y="1145"/>
                    </a:lnTo>
                    <a:lnTo>
                      <a:pt x="1289" y="1160"/>
                    </a:lnTo>
                    <a:lnTo>
                      <a:pt x="1287" y="1173"/>
                    </a:lnTo>
                    <a:lnTo>
                      <a:pt x="1285" y="1187"/>
                    </a:lnTo>
                    <a:lnTo>
                      <a:pt x="1283" y="1201"/>
                    </a:lnTo>
                    <a:lnTo>
                      <a:pt x="1279" y="1214"/>
                    </a:lnTo>
                    <a:lnTo>
                      <a:pt x="1276" y="1227"/>
                    </a:lnTo>
                    <a:lnTo>
                      <a:pt x="1272" y="1239"/>
                    </a:lnTo>
                    <a:lnTo>
                      <a:pt x="1268" y="1251"/>
                    </a:lnTo>
                    <a:lnTo>
                      <a:pt x="1262" y="1263"/>
                    </a:lnTo>
                    <a:lnTo>
                      <a:pt x="1256" y="1275"/>
                    </a:lnTo>
                    <a:lnTo>
                      <a:pt x="1250" y="1286"/>
                    </a:lnTo>
                    <a:lnTo>
                      <a:pt x="1243" y="1297"/>
                    </a:lnTo>
                    <a:lnTo>
                      <a:pt x="1236" y="1308"/>
                    </a:lnTo>
                    <a:lnTo>
                      <a:pt x="1227" y="1318"/>
                    </a:lnTo>
                    <a:lnTo>
                      <a:pt x="1219" y="13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83" name="Rectangle 49">
                <a:extLst>
                  <a:ext uri="{FF2B5EF4-FFF2-40B4-BE49-F238E27FC236}">
                    <a16:creationId xmlns:a16="http://schemas.microsoft.com/office/drawing/2014/main" id="{3DE45595-AE78-4E4A-AA16-19F81CB91EC9}"/>
                  </a:ext>
                </a:extLst>
              </p:cNvPr>
              <p:cNvSpPr>
                <a:spLocks noChangeArrowheads="1"/>
              </p:cNvSpPr>
              <p:nvPr/>
            </p:nvSpPr>
            <p:spPr bwMode="auto">
              <a:xfrm>
                <a:off x="809625" y="3490913"/>
                <a:ext cx="34925"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84" name="Freeform 50">
                <a:extLst>
                  <a:ext uri="{FF2B5EF4-FFF2-40B4-BE49-F238E27FC236}">
                    <a16:creationId xmlns:a16="http://schemas.microsoft.com/office/drawing/2014/main" id="{59092E4D-B4E7-4EDA-905A-C74DB2FC1260}"/>
                  </a:ext>
                </a:extLst>
              </p:cNvPr>
              <p:cNvSpPr>
                <a:spLocks noEditPoints="1"/>
              </p:cNvSpPr>
              <p:nvPr/>
            </p:nvSpPr>
            <p:spPr bwMode="auto">
              <a:xfrm>
                <a:off x="809625" y="3716338"/>
                <a:ext cx="190500" cy="190500"/>
              </a:xfrm>
              <a:custGeom>
                <a:avLst/>
                <a:gdLst>
                  <a:gd name="T0" fmla="*/ 111 w 602"/>
                  <a:gd name="T1" fmla="*/ 25 h 600"/>
                  <a:gd name="T2" fmla="*/ 115 w 602"/>
                  <a:gd name="T3" fmla="*/ 74 h 600"/>
                  <a:gd name="T4" fmla="*/ 126 w 602"/>
                  <a:gd name="T5" fmla="*/ 122 h 600"/>
                  <a:gd name="T6" fmla="*/ 140 w 602"/>
                  <a:gd name="T7" fmla="*/ 169 h 600"/>
                  <a:gd name="T8" fmla="*/ 159 w 602"/>
                  <a:gd name="T9" fmla="*/ 213 h 600"/>
                  <a:gd name="T10" fmla="*/ 181 w 602"/>
                  <a:gd name="T11" fmla="*/ 254 h 600"/>
                  <a:gd name="T12" fmla="*/ 208 w 602"/>
                  <a:gd name="T13" fmla="*/ 294 h 600"/>
                  <a:gd name="T14" fmla="*/ 238 w 602"/>
                  <a:gd name="T15" fmla="*/ 330 h 600"/>
                  <a:gd name="T16" fmla="*/ 177 w 602"/>
                  <a:gd name="T17" fmla="*/ 425 h 600"/>
                  <a:gd name="T18" fmla="*/ 138 w 602"/>
                  <a:gd name="T19" fmla="*/ 382 h 600"/>
                  <a:gd name="T20" fmla="*/ 104 w 602"/>
                  <a:gd name="T21" fmla="*/ 335 h 600"/>
                  <a:gd name="T22" fmla="*/ 73 w 602"/>
                  <a:gd name="T23" fmla="*/ 286 h 600"/>
                  <a:gd name="T24" fmla="*/ 48 w 602"/>
                  <a:gd name="T25" fmla="*/ 233 h 600"/>
                  <a:gd name="T26" fmla="*/ 28 w 602"/>
                  <a:gd name="T27" fmla="*/ 179 h 600"/>
                  <a:gd name="T28" fmla="*/ 13 w 602"/>
                  <a:gd name="T29" fmla="*/ 121 h 600"/>
                  <a:gd name="T30" fmla="*/ 3 w 602"/>
                  <a:gd name="T31" fmla="*/ 62 h 600"/>
                  <a:gd name="T32" fmla="*/ 0 w 602"/>
                  <a:gd name="T33" fmla="*/ 0 h 600"/>
                  <a:gd name="T34" fmla="*/ 254 w 602"/>
                  <a:gd name="T35" fmla="*/ 347 h 600"/>
                  <a:gd name="T36" fmla="*/ 289 w 602"/>
                  <a:gd name="T37" fmla="*/ 379 h 600"/>
                  <a:gd name="T38" fmla="*/ 327 w 602"/>
                  <a:gd name="T39" fmla="*/ 407 h 600"/>
                  <a:gd name="T40" fmla="*/ 367 w 602"/>
                  <a:gd name="T41" fmla="*/ 432 h 600"/>
                  <a:gd name="T42" fmla="*/ 410 w 602"/>
                  <a:gd name="T43" fmla="*/ 452 h 600"/>
                  <a:gd name="T44" fmla="*/ 455 w 602"/>
                  <a:gd name="T45" fmla="*/ 469 h 600"/>
                  <a:gd name="T46" fmla="*/ 503 w 602"/>
                  <a:gd name="T47" fmla="*/ 481 h 600"/>
                  <a:gd name="T48" fmla="*/ 551 w 602"/>
                  <a:gd name="T49" fmla="*/ 489 h 600"/>
                  <a:gd name="T50" fmla="*/ 602 w 602"/>
                  <a:gd name="T51" fmla="*/ 491 h 600"/>
                  <a:gd name="T52" fmla="*/ 570 w 602"/>
                  <a:gd name="T53" fmla="*/ 599 h 600"/>
                  <a:gd name="T54" fmla="*/ 510 w 602"/>
                  <a:gd name="T55" fmla="*/ 594 h 600"/>
                  <a:gd name="T56" fmla="*/ 452 w 602"/>
                  <a:gd name="T57" fmla="*/ 581 h 600"/>
                  <a:gd name="T58" fmla="*/ 395 w 602"/>
                  <a:gd name="T59" fmla="*/ 564 h 600"/>
                  <a:gd name="T60" fmla="*/ 341 w 602"/>
                  <a:gd name="T61" fmla="*/ 541 h 600"/>
                  <a:gd name="T62" fmla="*/ 290 w 602"/>
                  <a:gd name="T63" fmla="*/ 513 h 600"/>
                  <a:gd name="T64" fmla="*/ 242 w 602"/>
                  <a:gd name="T65" fmla="*/ 481 h 600"/>
                  <a:gd name="T66" fmla="*/ 197 w 602"/>
                  <a:gd name="T67" fmla="*/ 445 h 600"/>
                  <a:gd name="T68" fmla="*/ 254 w 602"/>
                  <a:gd name="T69" fmla="*/ 347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02" h="600">
                    <a:moveTo>
                      <a:pt x="110" y="0"/>
                    </a:moveTo>
                    <a:lnTo>
                      <a:pt x="111" y="25"/>
                    </a:lnTo>
                    <a:lnTo>
                      <a:pt x="113" y="50"/>
                    </a:lnTo>
                    <a:lnTo>
                      <a:pt x="115" y="74"/>
                    </a:lnTo>
                    <a:lnTo>
                      <a:pt x="121" y="99"/>
                    </a:lnTo>
                    <a:lnTo>
                      <a:pt x="126" y="122"/>
                    </a:lnTo>
                    <a:lnTo>
                      <a:pt x="132" y="146"/>
                    </a:lnTo>
                    <a:lnTo>
                      <a:pt x="140" y="169"/>
                    </a:lnTo>
                    <a:lnTo>
                      <a:pt x="148" y="190"/>
                    </a:lnTo>
                    <a:lnTo>
                      <a:pt x="159" y="213"/>
                    </a:lnTo>
                    <a:lnTo>
                      <a:pt x="170" y="234"/>
                    </a:lnTo>
                    <a:lnTo>
                      <a:pt x="181" y="254"/>
                    </a:lnTo>
                    <a:lnTo>
                      <a:pt x="194" y="275"/>
                    </a:lnTo>
                    <a:lnTo>
                      <a:pt x="208" y="294"/>
                    </a:lnTo>
                    <a:lnTo>
                      <a:pt x="222" y="312"/>
                    </a:lnTo>
                    <a:lnTo>
                      <a:pt x="238" y="330"/>
                    </a:lnTo>
                    <a:lnTo>
                      <a:pt x="254" y="347"/>
                    </a:lnTo>
                    <a:lnTo>
                      <a:pt x="177" y="425"/>
                    </a:lnTo>
                    <a:lnTo>
                      <a:pt x="157" y="403"/>
                    </a:lnTo>
                    <a:lnTo>
                      <a:pt x="138" y="382"/>
                    </a:lnTo>
                    <a:lnTo>
                      <a:pt x="120" y="359"/>
                    </a:lnTo>
                    <a:lnTo>
                      <a:pt x="104" y="335"/>
                    </a:lnTo>
                    <a:lnTo>
                      <a:pt x="88" y="311"/>
                    </a:lnTo>
                    <a:lnTo>
                      <a:pt x="73" y="286"/>
                    </a:lnTo>
                    <a:lnTo>
                      <a:pt x="60" y="260"/>
                    </a:lnTo>
                    <a:lnTo>
                      <a:pt x="48" y="233"/>
                    </a:lnTo>
                    <a:lnTo>
                      <a:pt x="38" y="206"/>
                    </a:lnTo>
                    <a:lnTo>
                      <a:pt x="28" y="179"/>
                    </a:lnTo>
                    <a:lnTo>
                      <a:pt x="19" y="150"/>
                    </a:lnTo>
                    <a:lnTo>
                      <a:pt x="13" y="121"/>
                    </a:lnTo>
                    <a:lnTo>
                      <a:pt x="8" y="91"/>
                    </a:lnTo>
                    <a:lnTo>
                      <a:pt x="3" y="62"/>
                    </a:lnTo>
                    <a:lnTo>
                      <a:pt x="1" y="31"/>
                    </a:lnTo>
                    <a:lnTo>
                      <a:pt x="0" y="0"/>
                    </a:lnTo>
                    <a:lnTo>
                      <a:pt x="110" y="0"/>
                    </a:lnTo>
                    <a:close/>
                    <a:moveTo>
                      <a:pt x="254" y="347"/>
                    </a:moveTo>
                    <a:lnTo>
                      <a:pt x="271" y="363"/>
                    </a:lnTo>
                    <a:lnTo>
                      <a:pt x="289" y="379"/>
                    </a:lnTo>
                    <a:lnTo>
                      <a:pt x="307" y="394"/>
                    </a:lnTo>
                    <a:lnTo>
                      <a:pt x="327" y="407"/>
                    </a:lnTo>
                    <a:lnTo>
                      <a:pt x="346" y="419"/>
                    </a:lnTo>
                    <a:lnTo>
                      <a:pt x="367" y="432"/>
                    </a:lnTo>
                    <a:lnTo>
                      <a:pt x="388" y="443"/>
                    </a:lnTo>
                    <a:lnTo>
                      <a:pt x="410" y="452"/>
                    </a:lnTo>
                    <a:lnTo>
                      <a:pt x="432" y="461"/>
                    </a:lnTo>
                    <a:lnTo>
                      <a:pt x="455" y="469"/>
                    </a:lnTo>
                    <a:lnTo>
                      <a:pt x="478" y="476"/>
                    </a:lnTo>
                    <a:lnTo>
                      <a:pt x="503" y="481"/>
                    </a:lnTo>
                    <a:lnTo>
                      <a:pt x="526" y="485"/>
                    </a:lnTo>
                    <a:lnTo>
                      <a:pt x="551" y="489"/>
                    </a:lnTo>
                    <a:lnTo>
                      <a:pt x="576" y="491"/>
                    </a:lnTo>
                    <a:lnTo>
                      <a:pt x="602" y="491"/>
                    </a:lnTo>
                    <a:lnTo>
                      <a:pt x="602" y="600"/>
                    </a:lnTo>
                    <a:lnTo>
                      <a:pt x="570" y="599"/>
                    </a:lnTo>
                    <a:lnTo>
                      <a:pt x="540" y="597"/>
                    </a:lnTo>
                    <a:lnTo>
                      <a:pt x="510" y="594"/>
                    </a:lnTo>
                    <a:lnTo>
                      <a:pt x="480" y="589"/>
                    </a:lnTo>
                    <a:lnTo>
                      <a:pt x="452" y="581"/>
                    </a:lnTo>
                    <a:lnTo>
                      <a:pt x="423" y="574"/>
                    </a:lnTo>
                    <a:lnTo>
                      <a:pt x="395" y="564"/>
                    </a:lnTo>
                    <a:lnTo>
                      <a:pt x="367" y="554"/>
                    </a:lnTo>
                    <a:lnTo>
                      <a:pt x="341" y="541"/>
                    </a:lnTo>
                    <a:lnTo>
                      <a:pt x="315" y="528"/>
                    </a:lnTo>
                    <a:lnTo>
                      <a:pt x="290" y="513"/>
                    </a:lnTo>
                    <a:lnTo>
                      <a:pt x="265" y="498"/>
                    </a:lnTo>
                    <a:lnTo>
                      <a:pt x="242" y="481"/>
                    </a:lnTo>
                    <a:lnTo>
                      <a:pt x="220" y="463"/>
                    </a:lnTo>
                    <a:lnTo>
                      <a:pt x="197" y="445"/>
                    </a:lnTo>
                    <a:lnTo>
                      <a:pt x="177" y="425"/>
                    </a:lnTo>
                    <a:lnTo>
                      <a:pt x="254" y="3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85" name="Rectangle 51">
                <a:extLst>
                  <a:ext uri="{FF2B5EF4-FFF2-40B4-BE49-F238E27FC236}">
                    <a16:creationId xmlns:a16="http://schemas.microsoft.com/office/drawing/2014/main" id="{6012BB94-8730-48A5-A817-2F4FAB1CE1AE}"/>
                  </a:ext>
                </a:extLst>
              </p:cNvPr>
              <p:cNvSpPr>
                <a:spLocks noChangeArrowheads="1"/>
              </p:cNvSpPr>
              <p:nvPr/>
            </p:nvSpPr>
            <p:spPr bwMode="auto">
              <a:xfrm>
                <a:off x="1000125" y="3871913"/>
                <a:ext cx="1684338" cy="349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86" name="Freeform 52">
                <a:extLst>
                  <a:ext uri="{FF2B5EF4-FFF2-40B4-BE49-F238E27FC236}">
                    <a16:creationId xmlns:a16="http://schemas.microsoft.com/office/drawing/2014/main" id="{479B6B57-6563-4BE0-962E-A58B69592184}"/>
                  </a:ext>
                </a:extLst>
              </p:cNvPr>
              <p:cNvSpPr>
                <a:spLocks noEditPoints="1"/>
              </p:cNvSpPr>
              <p:nvPr/>
            </p:nvSpPr>
            <p:spPr bwMode="auto">
              <a:xfrm>
                <a:off x="2684463" y="3871913"/>
                <a:ext cx="190500" cy="190500"/>
              </a:xfrm>
              <a:custGeom>
                <a:avLst/>
                <a:gdLst>
                  <a:gd name="T0" fmla="*/ 31 w 601"/>
                  <a:gd name="T1" fmla="*/ 1 h 600"/>
                  <a:gd name="T2" fmla="*/ 92 w 601"/>
                  <a:gd name="T3" fmla="*/ 7 h 600"/>
                  <a:gd name="T4" fmla="*/ 150 w 601"/>
                  <a:gd name="T5" fmla="*/ 19 h 600"/>
                  <a:gd name="T6" fmla="*/ 207 w 601"/>
                  <a:gd name="T7" fmla="*/ 36 h 600"/>
                  <a:gd name="T8" fmla="*/ 260 w 601"/>
                  <a:gd name="T9" fmla="*/ 59 h 600"/>
                  <a:gd name="T10" fmla="*/ 311 w 601"/>
                  <a:gd name="T11" fmla="*/ 87 h 600"/>
                  <a:gd name="T12" fmla="*/ 359 w 601"/>
                  <a:gd name="T13" fmla="*/ 119 h 600"/>
                  <a:gd name="T14" fmla="*/ 404 w 601"/>
                  <a:gd name="T15" fmla="*/ 156 h 600"/>
                  <a:gd name="T16" fmla="*/ 347 w 601"/>
                  <a:gd name="T17" fmla="*/ 253 h 600"/>
                  <a:gd name="T18" fmla="*/ 312 w 601"/>
                  <a:gd name="T19" fmla="*/ 221 h 600"/>
                  <a:gd name="T20" fmla="*/ 275 w 601"/>
                  <a:gd name="T21" fmla="*/ 194 h 600"/>
                  <a:gd name="T22" fmla="*/ 235 w 601"/>
                  <a:gd name="T23" fmla="*/ 169 h 600"/>
                  <a:gd name="T24" fmla="*/ 191 w 601"/>
                  <a:gd name="T25" fmla="*/ 148 h 600"/>
                  <a:gd name="T26" fmla="*/ 146 w 601"/>
                  <a:gd name="T27" fmla="*/ 132 h 600"/>
                  <a:gd name="T28" fmla="*/ 99 w 601"/>
                  <a:gd name="T29" fmla="*/ 119 h 600"/>
                  <a:gd name="T30" fmla="*/ 50 w 601"/>
                  <a:gd name="T31" fmla="*/ 112 h 600"/>
                  <a:gd name="T32" fmla="*/ 0 w 601"/>
                  <a:gd name="T33" fmla="*/ 109 h 600"/>
                  <a:gd name="T34" fmla="*/ 425 w 601"/>
                  <a:gd name="T35" fmla="*/ 176 h 600"/>
                  <a:gd name="T36" fmla="*/ 463 w 601"/>
                  <a:gd name="T37" fmla="*/ 219 h 600"/>
                  <a:gd name="T38" fmla="*/ 499 w 601"/>
                  <a:gd name="T39" fmla="*/ 265 h 600"/>
                  <a:gd name="T40" fmla="*/ 528 w 601"/>
                  <a:gd name="T41" fmla="*/ 315 h 600"/>
                  <a:gd name="T42" fmla="*/ 554 w 601"/>
                  <a:gd name="T43" fmla="*/ 367 h 600"/>
                  <a:gd name="T44" fmla="*/ 574 w 601"/>
                  <a:gd name="T45" fmla="*/ 423 h 600"/>
                  <a:gd name="T46" fmla="*/ 588 w 601"/>
                  <a:gd name="T47" fmla="*/ 480 h 600"/>
                  <a:gd name="T48" fmla="*/ 597 w 601"/>
                  <a:gd name="T49" fmla="*/ 540 h 600"/>
                  <a:gd name="T50" fmla="*/ 601 w 601"/>
                  <a:gd name="T51" fmla="*/ 600 h 600"/>
                  <a:gd name="T52" fmla="*/ 490 w 601"/>
                  <a:gd name="T53" fmla="*/ 576 h 600"/>
                  <a:gd name="T54" fmla="*/ 486 w 601"/>
                  <a:gd name="T55" fmla="*/ 526 h 600"/>
                  <a:gd name="T56" fmla="*/ 476 w 601"/>
                  <a:gd name="T57" fmla="*/ 478 h 600"/>
                  <a:gd name="T58" fmla="*/ 461 w 601"/>
                  <a:gd name="T59" fmla="*/ 432 h 600"/>
                  <a:gd name="T60" fmla="*/ 443 w 601"/>
                  <a:gd name="T61" fmla="*/ 387 h 600"/>
                  <a:gd name="T62" fmla="*/ 420 w 601"/>
                  <a:gd name="T63" fmla="*/ 346 h 600"/>
                  <a:gd name="T64" fmla="*/ 393 w 601"/>
                  <a:gd name="T65" fmla="*/ 306 h 600"/>
                  <a:gd name="T66" fmla="*/ 363 w 601"/>
                  <a:gd name="T67" fmla="*/ 270 h 600"/>
                  <a:gd name="T68" fmla="*/ 425 w 601"/>
                  <a:gd name="T69" fmla="*/ 176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01" h="600">
                    <a:moveTo>
                      <a:pt x="0" y="0"/>
                    </a:moveTo>
                    <a:lnTo>
                      <a:pt x="31" y="1"/>
                    </a:lnTo>
                    <a:lnTo>
                      <a:pt x="61" y="3"/>
                    </a:lnTo>
                    <a:lnTo>
                      <a:pt x="92" y="7"/>
                    </a:lnTo>
                    <a:lnTo>
                      <a:pt x="121" y="12"/>
                    </a:lnTo>
                    <a:lnTo>
                      <a:pt x="150" y="19"/>
                    </a:lnTo>
                    <a:lnTo>
                      <a:pt x="178" y="27"/>
                    </a:lnTo>
                    <a:lnTo>
                      <a:pt x="207" y="36"/>
                    </a:lnTo>
                    <a:lnTo>
                      <a:pt x="233" y="48"/>
                    </a:lnTo>
                    <a:lnTo>
                      <a:pt x="260" y="59"/>
                    </a:lnTo>
                    <a:lnTo>
                      <a:pt x="287" y="72"/>
                    </a:lnTo>
                    <a:lnTo>
                      <a:pt x="311" y="87"/>
                    </a:lnTo>
                    <a:lnTo>
                      <a:pt x="336" y="103"/>
                    </a:lnTo>
                    <a:lnTo>
                      <a:pt x="359" y="119"/>
                    </a:lnTo>
                    <a:lnTo>
                      <a:pt x="382" y="137"/>
                    </a:lnTo>
                    <a:lnTo>
                      <a:pt x="404" y="156"/>
                    </a:lnTo>
                    <a:lnTo>
                      <a:pt x="425" y="176"/>
                    </a:lnTo>
                    <a:lnTo>
                      <a:pt x="347" y="253"/>
                    </a:lnTo>
                    <a:lnTo>
                      <a:pt x="330" y="237"/>
                    </a:lnTo>
                    <a:lnTo>
                      <a:pt x="312" y="221"/>
                    </a:lnTo>
                    <a:lnTo>
                      <a:pt x="294" y="207"/>
                    </a:lnTo>
                    <a:lnTo>
                      <a:pt x="275" y="194"/>
                    </a:lnTo>
                    <a:lnTo>
                      <a:pt x="255" y="181"/>
                    </a:lnTo>
                    <a:lnTo>
                      <a:pt x="235" y="169"/>
                    </a:lnTo>
                    <a:lnTo>
                      <a:pt x="213" y="158"/>
                    </a:lnTo>
                    <a:lnTo>
                      <a:pt x="191" y="148"/>
                    </a:lnTo>
                    <a:lnTo>
                      <a:pt x="169" y="139"/>
                    </a:lnTo>
                    <a:lnTo>
                      <a:pt x="146" y="132"/>
                    </a:lnTo>
                    <a:lnTo>
                      <a:pt x="123" y="125"/>
                    </a:lnTo>
                    <a:lnTo>
                      <a:pt x="99" y="119"/>
                    </a:lnTo>
                    <a:lnTo>
                      <a:pt x="75" y="115"/>
                    </a:lnTo>
                    <a:lnTo>
                      <a:pt x="50" y="112"/>
                    </a:lnTo>
                    <a:lnTo>
                      <a:pt x="25" y="110"/>
                    </a:lnTo>
                    <a:lnTo>
                      <a:pt x="0" y="109"/>
                    </a:lnTo>
                    <a:lnTo>
                      <a:pt x="0" y="0"/>
                    </a:lnTo>
                    <a:close/>
                    <a:moveTo>
                      <a:pt x="425" y="176"/>
                    </a:moveTo>
                    <a:lnTo>
                      <a:pt x="444" y="197"/>
                    </a:lnTo>
                    <a:lnTo>
                      <a:pt x="463" y="219"/>
                    </a:lnTo>
                    <a:lnTo>
                      <a:pt x="481" y="241"/>
                    </a:lnTo>
                    <a:lnTo>
                      <a:pt x="499" y="265"/>
                    </a:lnTo>
                    <a:lnTo>
                      <a:pt x="513" y="289"/>
                    </a:lnTo>
                    <a:lnTo>
                      <a:pt x="528" y="315"/>
                    </a:lnTo>
                    <a:lnTo>
                      <a:pt x="541" y="341"/>
                    </a:lnTo>
                    <a:lnTo>
                      <a:pt x="554" y="367"/>
                    </a:lnTo>
                    <a:lnTo>
                      <a:pt x="564" y="394"/>
                    </a:lnTo>
                    <a:lnTo>
                      <a:pt x="574" y="423"/>
                    </a:lnTo>
                    <a:lnTo>
                      <a:pt x="582" y="450"/>
                    </a:lnTo>
                    <a:lnTo>
                      <a:pt x="588" y="480"/>
                    </a:lnTo>
                    <a:lnTo>
                      <a:pt x="593" y="510"/>
                    </a:lnTo>
                    <a:lnTo>
                      <a:pt x="597" y="540"/>
                    </a:lnTo>
                    <a:lnTo>
                      <a:pt x="600" y="569"/>
                    </a:lnTo>
                    <a:lnTo>
                      <a:pt x="601" y="600"/>
                    </a:lnTo>
                    <a:lnTo>
                      <a:pt x="491" y="600"/>
                    </a:lnTo>
                    <a:lnTo>
                      <a:pt x="490" y="576"/>
                    </a:lnTo>
                    <a:lnTo>
                      <a:pt x="489" y="550"/>
                    </a:lnTo>
                    <a:lnTo>
                      <a:pt x="486" y="526"/>
                    </a:lnTo>
                    <a:lnTo>
                      <a:pt x="481" y="501"/>
                    </a:lnTo>
                    <a:lnTo>
                      <a:pt x="476" y="478"/>
                    </a:lnTo>
                    <a:lnTo>
                      <a:pt x="469" y="454"/>
                    </a:lnTo>
                    <a:lnTo>
                      <a:pt x="461" y="432"/>
                    </a:lnTo>
                    <a:lnTo>
                      <a:pt x="453" y="410"/>
                    </a:lnTo>
                    <a:lnTo>
                      <a:pt x="443" y="387"/>
                    </a:lnTo>
                    <a:lnTo>
                      <a:pt x="431" y="367"/>
                    </a:lnTo>
                    <a:lnTo>
                      <a:pt x="420" y="346"/>
                    </a:lnTo>
                    <a:lnTo>
                      <a:pt x="407" y="326"/>
                    </a:lnTo>
                    <a:lnTo>
                      <a:pt x="393" y="306"/>
                    </a:lnTo>
                    <a:lnTo>
                      <a:pt x="379" y="288"/>
                    </a:lnTo>
                    <a:lnTo>
                      <a:pt x="363" y="270"/>
                    </a:lnTo>
                    <a:lnTo>
                      <a:pt x="347" y="253"/>
                    </a:lnTo>
                    <a:lnTo>
                      <a:pt x="425" y="1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87" name="Rectangle 53">
                <a:extLst>
                  <a:ext uri="{FF2B5EF4-FFF2-40B4-BE49-F238E27FC236}">
                    <a16:creationId xmlns:a16="http://schemas.microsoft.com/office/drawing/2014/main" id="{DC572250-A0E6-493F-B076-1FE1B61EC79F}"/>
                  </a:ext>
                </a:extLst>
              </p:cNvPr>
              <p:cNvSpPr>
                <a:spLocks noChangeArrowheads="1"/>
              </p:cNvSpPr>
              <p:nvPr/>
            </p:nvSpPr>
            <p:spPr bwMode="auto">
              <a:xfrm>
                <a:off x="2840038" y="4062413"/>
                <a:ext cx="34925" cy="24272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88" name="Freeform 94">
                <a:extLst>
                  <a:ext uri="{FF2B5EF4-FFF2-40B4-BE49-F238E27FC236}">
                    <a16:creationId xmlns:a16="http://schemas.microsoft.com/office/drawing/2014/main" id="{82A55542-E417-470B-AA11-C94FD8B382F3}"/>
                  </a:ext>
                </a:extLst>
              </p:cNvPr>
              <p:cNvSpPr>
                <a:spLocks/>
              </p:cNvSpPr>
              <p:nvPr/>
            </p:nvSpPr>
            <p:spPr bwMode="auto">
              <a:xfrm>
                <a:off x="549275" y="3481388"/>
                <a:ext cx="215900" cy="244475"/>
              </a:xfrm>
              <a:custGeom>
                <a:avLst/>
                <a:gdLst>
                  <a:gd name="T0" fmla="*/ 526 w 676"/>
                  <a:gd name="T1" fmla="*/ 712 h 767"/>
                  <a:gd name="T2" fmla="*/ 574 w 676"/>
                  <a:gd name="T3" fmla="*/ 664 h 767"/>
                  <a:gd name="T4" fmla="*/ 602 w 676"/>
                  <a:gd name="T5" fmla="*/ 627 h 767"/>
                  <a:gd name="T6" fmla="*/ 623 w 676"/>
                  <a:gd name="T7" fmla="*/ 599 h 767"/>
                  <a:gd name="T8" fmla="*/ 640 w 676"/>
                  <a:gd name="T9" fmla="*/ 568 h 767"/>
                  <a:gd name="T10" fmla="*/ 656 w 676"/>
                  <a:gd name="T11" fmla="*/ 535 h 767"/>
                  <a:gd name="T12" fmla="*/ 667 w 676"/>
                  <a:gd name="T13" fmla="*/ 500 h 767"/>
                  <a:gd name="T14" fmla="*/ 674 w 676"/>
                  <a:gd name="T15" fmla="*/ 463 h 767"/>
                  <a:gd name="T16" fmla="*/ 675 w 676"/>
                  <a:gd name="T17" fmla="*/ 425 h 767"/>
                  <a:gd name="T18" fmla="*/ 669 w 676"/>
                  <a:gd name="T19" fmla="*/ 386 h 767"/>
                  <a:gd name="T20" fmla="*/ 657 w 676"/>
                  <a:gd name="T21" fmla="*/ 346 h 767"/>
                  <a:gd name="T22" fmla="*/ 633 w 676"/>
                  <a:gd name="T23" fmla="*/ 305 h 767"/>
                  <a:gd name="T24" fmla="*/ 601 w 676"/>
                  <a:gd name="T25" fmla="*/ 266 h 767"/>
                  <a:gd name="T26" fmla="*/ 564 w 676"/>
                  <a:gd name="T27" fmla="*/ 229 h 767"/>
                  <a:gd name="T28" fmla="*/ 520 w 676"/>
                  <a:gd name="T29" fmla="*/ 196 h 767"/>
                  <a:gd name="T30" fmla="*/ 474 w 676"/>
                  <a:gd name="T31" fmla="*/ 165 h 767"/>
                  <a:gd name="T32" fmla="*/ 425 w 676"/>
                  <a:gd name="T33" fmla="*/ 137 h 767"/>
                  <a:gd name="T34" fmla="*/ 372 w 676"/>
                  <a:gd name="T35" fmla="*/ 113 h 767"/>
                  <a:gd name="T36" fmla="*/ 296 w 676"/>
                  <a:gd name="T37" fmla="*/ 81 h 767"/>
                  <a:gd name="T38" fmla="*/ 196 w 676"/>
                  <a:gd name="T39" fmla="*/ 47 h 767"/>
                  <a:gd name="T40" fmla="*/ 109 w 676"/>
                  <a:gd name="T41" fmla="*/ 23 h 767"/>
                  <a:gd name="T42" fmla="*/ 19 w 676"/>
                  <a:gd name="T43" fmla="*/ 3 h 767"/>
                  <a:gd name="T44" fmla="*/ 1 w 676"/>
                  <a:gd name="T45" fmla="*/ 20 h 767"/>
                  <a:gd name="T46" fmla="*/ 6 w 676"/>
                  <a:gd name="T47" fmla="*/ 151 h 767"/>
                  <a:gd name="T48" fmla="*/ 17 w 676"/>
                  <a:gd name="T49" fmla="*/ 295 h 767"/>
                  <a:gd name="T50" fmla="*/ 30 w 676"/>
                  <a:gd name="T51" fmla="*/ 395 h 767"/>
                  <a:gd name="T52" fmla="*/ 41 w 676"/>
                  <a:gd name="T53" fmla="*/ 466 h 767"/>
                  <a:gd name="T54" fmla="*/ 51 w 676"/>
                  <a:gd name="T55" fmla="*/ 510 h 767"/>
                  <a:gd name="T56" fmla="*/ 63 w 676"/>
                  <a:gd name="T57" fmla="*/ 548 h 767"/>
                  <a:gd name="T58" fmla="*/ 76 w 676"/>
                  <a:gd name="T59" fmla="*/ 581 h 767"/>
                  <a:gd name="T60" fmla="*/ 98 w 676"/>
                  <a:gd name="T61" fmla="*/ 622 h 767"/>
                  <a:gd name="T62" fmla="*/ 129 w 676"/>
                  <a:gd name="T63" fmla="*/ 665 h 767"/>
                  <a:gd name="T64" fmla="*/ 163 w 676"/>
                  <a:gd name="T65" fmla="*/ 699 h 767"/>
                  <a:gd name="T66" fmla="*/ 198 w 676"/>
                  <a:gd name="T67" fmla="*/ 726 h 767"/>
                  <a:gd name="T68" fmla="*/ 233 w 676"/>
                  <a:gd name="T69" fmla="*/ 745 h 767"/>
                  <a:gd name="T70" fmla="*/ 269 w 676"/>
                  <a:gd name="T71" fmla="*/ 757 h 767"/>
                  <a:gd name="T72" fmla="*/ 305 w 676"/>
                  <a:gd name="T73" fmla="*/ 764 h 767"/>
                  <a:gd name="T74" fmla="*/ 339 w 676"/>
                  <a:gd name="T75" fmla="*/ 767 h 767"/>
                  <a:gd name="T76" fmla="*/ 372 w 676"/>
                  <a:gd name="T77" fmla="*/ 764 h 767"/>
                  <a:gd name="T78" fmla="*/ 404 w 676"/>
                  <a:gd name="T79" fmla="*/ 760 h 767"/>
                  <a:gd name="T80" fmla="*/ 445 w 676"/>
                  <a:gd name="T81" fmla="*/ 751 h 767"/>
                  <a:gd name="T82" fmla="*/ 502 w 676"/>
                  <a:gd name="T83" fmla="*/ 728 h 7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76" h="767">
                    <a:moveTo>
                      <a:pt x="514" y="722"/>
                    </a:moveTo>
                    <a:lnTo>
                      <a:pt x="526" y="712"/>
                    </a:lnTo>
                    <a:lnTo>
                      <a:pt x="554" y="683"/>
                    </a:lnTo>
                    <a:lnTo>
                      <a:pt x="574" y="664"/>
                    </a:lnTo>
                    <a:lnTo>
                      <a:pt x="593" y="640"/>
                    </a:lnTo>
                    <a:lnTo>
                      <a:pt x="602" y="627"/>
                    </a:lnTo>
                    <a:lnTo>
                      <a:pt x="613" y="613"/>
                    </a:lnTo>
                    <a:lnTo>
                      <a:pt x="623" y="599"/>
                    </a:lnTo>
                    <a:lnTo>
                      <a:pt x="631" y="584"/>
                    </a:lnTo>
                    <a:lnTo>
                      <a:pt x="640" y="568"/>
                    </a:lnTo>
                    <a:lnTo>
                      <a:pt x="648" y="552"/>
                    </a:lnTo>
                    <a:lnTo>
                      <a:pt x="656" y="535"/>
                    </a:lnTo>
                    <a:lnTo>
                      <a:pt x="662" y="518"/>
                    </a:lnTo>
                    <a:lnTo>
                      <a:pt x="667" y="500"/>
                    </a:lnTo>
                    <a:lnTo>
                      <a:pt x="672" y="482"/>
                    </a:lnTo>
                    <a:lnTo>
                      <a:pt x="674" y="463"/>
                    </a:lnTo>
                    <a:lnTo>
                      <a:pt x="676" y="445"/>
                    </a:lnTo>
                    <a:lnTo>
                      <a:pt x="675" y="425"/>
                    </a:lnTo>
                    <a:lnTo>
                      <a:pt x="674" y="406"/>
                    </a:lnTo>
                    <a:lnTo>
                      <a:pt x="669" y="386"/>
                    </a:lnTo>
                    <a:lnTo>
                      <a:pt x="664" y="366"/>
                    </a:lnTo>
                    <a:lnTo>
                      <a:pt x="657" y="346"/>
                    </a:lnTo>
                    <a:lnTo>
                      <a:pt x="646" y="326"/>
                    </a:lnTo>
                    <a:lnTo>
                      <a:pt x="633" y="305"/>
                    </a:lnTo>
                    <a:lnTo>
                      <a:pt x="618" y="285"/>
                    </a:lnTo>
                    <a:lnTo>
                      <a:pt x="601" y="266"/>
                    </a:lnTo>
                    <a:lnTo>
                      <a:pt x="583" y="247"/>
                    </a:lnTo>
                    <a:lnTo>
                      <a:pt x="564" y="229"/>
                    </a:lnTo>
                    <a:lnTo>
                      <a:pt x="543" y="212"/>
                    </a:lnTo>
                    <a:lnTo>
                      <a:pt x="520" y="196"/>
                    </a:lnTo>
                    <a:lnTo>
                      <a:pt x="497" y="180"/>
                    </a:lnTo>
                    <a:lnTo>
                      <a:pt x="474" y="165"/>
                    </a:lnTo>
                    <a:lnTo>
                      <a:pt x="449" y="150"/>
                    </a:lnTo>
                    <a:lnTo>
                      <a:pt x="425" y="137"/>
                    </a:lnTo>
                    <a:lnTo>
                      <a:pt x="399" y="124"/>
                    </a:lnTo>
                    <a:lnTo>
                      <a:pt x="372" y="113"/>
                    </a:lnTo>
                    <a:lnTo>
                      <a:pt x="347" y="101"/>
                    </a:lnTo>
                    <a:lnTo>
                      <a:pt x="296" y="81"/>
                    </a:lnTo>
                    <a:lnTo>
                      <a:pt x="245" y="63"/>
                    </a:lnTo>
                    <a:lnTo>
                      <a:pt x="196" y="47"/>
                    </a:lnTo>
                    <a:lnTo>
                      <a:pt x="150" y="34"/>
                    </a:lnTo>
                    <a:lnTo>
                      <a:pt x="109" y="23"/>
                    </a:lnTo>
                    <a:lnTo>
                      <a:pt x="72" y="15"/>
                    </a:lnTo>
                    <a:lnTo>
                      <a:pt x="19" y="3"/>
                    </a:lnTo>
                    <a:lnTo>
                      <a:pt x="0" y="0"/>
                    </a:lnTo>
                    <a:lnTo>
                      <a:pt x="1" y="20"/>
                    </a:lnTo>
                    <a:lnTo>
                      <a:pt x="2" y="73"/>
                    </a:lnTo>
                    <a:lnTo>
                      <a:pt x="6" y="151"/>
                    </a:lnTo>
                    <a:lnTo>
                      <a:pt x="13" y="245"/>
                    </a:lnTo>
                    <a:lnTo>
                      <a:pt x="17" y="295"/>
                    </a:lnTo>
                    <a:lnTo>
                      <a:pt x="22" y="345"/>
                    </a:lnTo>
                    <a:lnTo>
                      <a:pt x="30" y="395"/>
                    </a:lnTo>
                    <a:lnTo>
                      <a:pt x="37" y="443"/>
                    </a:lnTo>
                    <a:lnTo>
                      <a:pt x="41" y="466"/>
                    </a:lnTo>
                    <a:lnTo>
                      <a:pt x="47" y="489"/>
                    </a:lnTo>
                    <a:lnTo>
                      <a:pt x="51" y="510"/>
                    </a:lnTo>
                    <a:lnTo>
                      <a:pt x="57" y="529"/>
                    </a:lnTo>
                    <a:lnTo>
                      <a:pt x="63" y="548"/>
                    </a:lnTo>
                    <a:lnTo>
                      <a:pt x="69" y="565"/>
                    </a:lnTo>
                    <a:lnTo>
                      <a:pt x="76" y="581"/>
                    </a:lnTo>
                    <a:lnTo>
                      <a:pt x="82" y="596"/>
                    </a:lnTo>
                    <a:lnTo>
                      <a:pt x="98" y="622"/>
                    </a:lnTo>
                    <a:lnTo>
                      <a:pt x="113" y="644"/>
                    </a:lnTo>
                    <a:lnTo>
                      <a:pt x="129" y="665"/>
                    </a:lnTo>
                    <a:lnTo>
                      <a:pt x="146" y="683"/>
                    </a:lnTo>
                    <a:lnTo>
                      <a:pt x="163" y="699"/>
                    </a:lnTo>
                    <a:lnTo>
                      <a:pt x="180" y="713"/>
                    </a:lnTo>
                    <a:lnTo>
                      <a:pt x="198" y="726"/>
                    </a:lnTo>
                    <a:lnTo>
                      <a:pt x="216" y="736"/>
                    </a:lnTo>
                    <a:lnTo>
                      <a:pt x="233" y="745"/>
                    </a:lnTo>
                    <a:lnTo>
                      <a:pt x="251" y="752"/>
                    </a:lnTo>
                    <a:lnTo>
                      <a:pt x="269" y="757"/>
                    </a:lnTo>
                    <a:lnTo>
                      <a:pt x="287" y="761"/>
                    </a:lnTo>
                    <a:lnTo>
                      <a:pt x="305" y="764"/>
                    </a:lnTo>
                    <a:lnTo>
                      <a:pt x="322" y="765"/>
                    </a:lnTo>
                    <a:lnTo>
                      <a:pt x="339" y="767"/>
                    </a:lnTo>
                    <a:lnTo>
                      <a:pt x="357" y="767"/>
                    </a:lnTo>
                    <a:lnTo>
                      <a:pt x="372" y="764"/>
                    </a:lnTo>
                    <a:lnTo>
                      <a:pt x="388" y="763"/>
                    </a:lnTo>
                    <a:lnTo>
                      <a:pt x="404" y="760"/>
                    </a:lnTo>
                    <a:lnTo>
                      <a:pt x="418" y="757"/>
                    </a:lnTo>
                    <a:lnTo>
                      <a:pt x="445" y="751"/>
                    </a:lnTo>
                    <a:lnTo>
                      <a:pt x="468" y="742"/>
                    </a:lnTo>
                    <a:lnTo>
                      <a:pt x="502" y="728"/>
                    </a:lnTo>
                    <a:lnTo>
                      <a:pt x="514" y="7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grpSp>
          <p:nvGrpSpPr>
            <p:cNvPr id="8" name="Group 129">
              <a:extLst>
                <a:ext uri="{FF2B5EF4-FFF2-40B4-BE49-F238E27FC236}">
                  <a16:creationId xmlns:a16="http://schemas.microsoft.com/office/drawing/2014/main" id="{CE69DE99-6388-48E0-A9B5-102A61AB443F}"/>
                </a:ext>
              </a:extLst>
            </p:cNvPr>
            <p:cNvGrpSpPr/>
            <p:nvPr/>
          </p:nvGrpSpPr>
          <p:grpSpPr>
            <a:xfrm>
              <a:off x="1239838" y="2089150"/>
              <a:ext cx="2493963" cy="4400551"/>
              <a:chOff x="1239838" y="2089150"/>
              <a:chExt cx="2493963" cy="4400551"/>
            </a:xfrm>
            <a:solidFill>
              <a:schemeClr val="accent3"/>
            </a:solidFill>
          </p:grpSpPr>
          <p:sp>
            <p:nvSpPr>
              <p:cNvPr id="74" name="Freeform 14">
                <a:extLst>
                  <a:ext uri="{FF2B5EF4-FFF2-40B4-BE49-F238E27FC236}">
                    <a16:creationId xmlns:a16="http://schemas.microsoft.com/office/drawing/2014/main" id="{999AF5F0-809A-4639-83A9-B5EA19BAF235}"/>
                  </a:ext>
                </a:extLst>
              </p:cNvPr>
              <p:cNvSpPr>
                <a:spLocks/>
              </p:cNvSpPr>
              <p:nvPr/>
            </p:nvSpPr>
            <p:spPr bwMode="auto">
              <a:xfrm>
                <a:off x="1239838" y="2089150"/>
                <a:ext cx="938213" cy="938213"/>
              </a:xfrm>
              <a:custGeom>
                <a:avLst/>
                <a:gdLst>
                  <a:gd name="T0" fmla="*/ 2949 w 2956"/>
                  <a:gd name="T1" fmla="*/ 1629 h 2957"/>
                  <a:gd name="T2" fmla="*/ 2909 w 2956"/>
                  <a:gd name="T3" fmla="*/ 1848 h 2957"/>
                  <a:gd name="T4" fmla="*/ 2840 w 2956"/>
                  <a:gd name="T5" fmla="*/ 2054 h 2957"/>
                  <a:gd name="T6" fmla="*/ 2742 w 2956"/>
                  <a:gd name="T7" fmla="*/ 2245 h 2957"/>
                  <a:gd name="T8" fmla="*/ 2619 w 2956"/>
                  <a:gd name="T9" fmla="*/ 2420 h 2957"/>
                  <a:gd name="T10" fmla="*/ 2472 w 2956"/>
                  <a:gd name="T11" fmla="*/ 2573 h 2957"/>
                  <a:gd name="T12" fmla="*/ 2305 w 2956"/>
                  <a:gd name="T13" fmla="*/ 2705 h 2957"/>
                  <a:gd name="T14" fmla="*/ 2118 w 2956"/>
                  <a:gd name="T15" fmla="*/ 2812 h 2957"/>
                  <a:gd name="T16" fmla="*/ 1917 w 2956"/>
                  <a:gd name="T17" fmla="*/ 2890 h 2957"/>
                  <a:gd name="T18" fmla="*/ 1703 w 2956"/>
                  <a:gd name="T19" fmla="*/ 2940 h 2957"/>
                  <a:gd name="T20" fmla="*/ 1479 w 2956"/>
                  <a:gd name="T21" fmla="*/ 2957 h 2957"/>
                  <a:gd name="T22" fmla="*/ 1253 w 2956"/>
                  <a:gd name="T23" fmla="*/ 2940 h 2957"/>
                  <a:gd name="T24" fmla="*/ 1039 w 2956"/>
                  <a:gd name="T25" fmla="*/ 2890 h 2957"/>
                  <a:gd name="T26" fmla="*/ 838 w 2956"/>
                  <a:gd name="T27" fmla="*/ 2812 h 2957"/>
                  <a:gd name="T28" fmla="*/ 652 w 2956"/>
                  <a:gd name="T29" fmla="*/ 2705 h 2957"/>
                  <a:gd name="T30" fmla="*/ 485 w 2956"/>
                  <a:gd name="T31" fmla="*/ 2573 h 2957"/>
                  <a:gd name="T32" fmla="*/ 338 w 2956"/>
                  <a:gd name="T33" fmla="*/ 2420 h 2957"/>
                  <a:gd name="T34" fmla="*/ 214 w 2956"/>
                  <a:gd name="T35" fmla="*/ 2245 h 2957"/>
                  <a:gd name="T36" fmla="*/ 116 w 2956"/>
                  <a:gd name="T37" fmla="*/ 2054 h 2957"/>
                  <a:gd name="T38" fmla="*/ 47 w 2956"/>
                  <a:gd name="T39" fmla="*/ 1848 h 2957"/>
                  <a:gd name="T40" fmla="*/ 9 w 2956"/>
                  <a:gd name="T41" fmla="*/ 1629 h 2957"/>
                  <a:gd name="T42" fmla="*/ 3 w 2956"/>
                  <a:gd name="T43" fmla="*/ 1403 h 2957"/>
                  <a:gd name="T44" fmla="*/ 31 w 2956"/>
                  <a:gd name="T45" fmla="*/ 1181 h 2957"/>
                  <a:gd name="T46" fmla="*/ 91 w 2956"/>
                  <a:gd name="T47" fmla="*/ 970 h 2957"/>
                  <a:gd name="T48" fmla="*/ 179 w 2956"/>
                  <a:gd name="T49" fmla="*/ 774 h 2957"/>
                  <a:gd name="T50" fmla="*/ 294 w 2956"/>
                  <a:gd name="T51" fmla="*/ 594 h 2957"/>
                  <a:gd name="T52" fmla="*/ 434 w 2956"/>
                  <a:gd name="T53" fmla="*/ 433 h 2957"/>
                  <a:gd name="T54" fmla="*/ 594 w 2956"/>
                  <a:gd name="T55" fmla="*/ 294 h 2957"/>
                  <a:gd name="T56" fmla="*/ 774 w 2956"/>
                  <a:gd name="T57" fmla="*/ 179 h 2957"/>
                  <a:gd name="T58" fmla="*/ 970 w 2956"/>
                  <a:gd name="T59" fmla="*/ 90 h 2957"/>
                  <a:gd name="T60" fmla="*/ 1181 w 2956"/>
                  <a:gd name="T61" fmla="*/ 30 h 2957"/>
                  <a:gd name="T62" fmla="*/ 1402 w 2956"/>
                  <a:gd name="T63" fmla="*/ 2 h 2957"/>
                  <a:gd name="T64" fmla="*/ 1630 w 2956"/>
                  <a:gd name="T65" fmla="*/ 7 h 2957"/>
                  <a:gd name="T66" fmla="*/ 1848 w 2956"/>
                  <a:gd name="T67" fmla="*/ 47 h 2957"/>
                  <a:gd name="T68" fmla="*/ 2053 w 2956"/>
                  <a:gd name="T69" fmla="*/ 116 h 2957"/>
                  <a:gd name="T70" fmla="*/ 2244 w 2956"/>
                  <a:gd name="T71" fmla="*/ 214 h 2957"/>
                  <a:gd name="T72" fmla="*/ 2419 w 2956"/>
                  <a:gd name="T73" fmla="*/ 338 h 2957"/>
                  <a:gd name="T74" fmla="*/ 2572 w 2956"/>
                  <a:gd name="T75" fmla="*/ 485 h 2957"/>
                  <a:gd name="T76" fmla="*/ 2704 w 2956"/>
                  <a:gd name="T77" fmla="*/ 652 h 2957"/>
                  <a:gd name="T78" fmla="*/ 2810 w 2956"/>
                  <a:gd name="T79" fmla="*/ 838 h 2957"/>
                  <a:gd name="T80" fmla="*/ 2889 w 2956"/>
                  <a:gd name="T81" fmla="*/ 1039 h 2957"/>
                  <a:gd name="T82" fmla="*/ 2939 w 2956"/>
                  <a:gd name="T83" fmla="*/ 1253 h 2957"/>
                  <a:gd name="T84" fmla="*/ 2956 w 2956"/>
                  <a:gd name="T85" fmla="*/ 1479 h 29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956" h="2957">
                    <a:moveTo>
                      <a:pt x="2956" y="1479"/>
                    </a:moveTo>
                    <a:lnTo>
                      <a:pt x="2954" y="1555"/>
                    </a:lnTo>
                    <a:lnTo>
                      <a:pt x="2949" y="1629"/>
                    </a:lnTo>
                    <a:lnTo>
                      <a:pt x="2939" y="1704"/>
                    </a:lnTo>
                    <a:lnTo>
                      <a:pt x="2926" y="1776"/>
                    </a:lnTo>
                    <a:lnTo>
                      <a:pt x="2909" y="1848"/>
                    </a:lnTo>
                    <a:lnTo>
                      <a:pt x="2889" y="1918"/>
                    </a:lnTo>
                    <a:lnTo>
                      <a:pt x="2867" y="1987"/>
                    </a:lnTo>
                    <a:lnTo>
                      <a:pt x="2840" y="2054"/>
                    </a:lnTo>
                    <a:lnTo>
                      <a:pt x="2810" y="2119"/>
                    </a:lnTo>
                    <a:lnTo>
                      <a:pt x="2777" y="2183"/>
                    </a:lnTo>
                    <a:lnTo>
                      <a:pt x="2742" y="2245"/>
                    </a:lnTo>
                    <a:lnTo>
                      <a:pt x="2704" y="2306"/>
                    </a:lnTo>
                    <a:lnTo>
                      <a:pt x="2662" y="2363"/>
                    </a:lnTo>
                    <a:lnTo>
                      <a:pt x="2619" y="2420"/>
                    </a:lnTo>
                    <a:lnTo>
                      <a:pt x="2572" y="2473"/>
                    </a:lnTo>
                    <a:lnTo>
                      <a:pt x="2523" y="2524"/>
                    </a:lnTo>
                    <a:lnTo>
                      <a:pt x="2472" y="2573"/>
                    </a:lnTo>
                    <a:lnTo>
                      <a:pt x="2419" y="2620"/>
                    </a:lnTo>
                    <a:lnTo>
                      <a:pt x="2362" y="2664"/>
                    </a:lnTo>
                    <a:lnTo>
                      <a:pt x="2305" y="2705"/>
                    </a:lnTo>
                    <a:lnTo>
                      <a:pt x="2244" y="2743"/>
                    </a:lnTo>
                    <a:lnTo>
                      <a:pt x="2182" y="2779"/>
                    </a:lnTo>
                    <a:lnTo>
                      <a:pt x="2118" y="2812"/>
                    </a:lnTo>
                    <a:lnTo>
                      <a:pt x="2053" y="2841"/>
                    </a:lnTo>
                    <a:lnTo>
                      <a:pt x="1986" y="2868"/>
                    </a:lnTo>
                    <a:lnTo>
                      <a:pt x="1917" y="2890"/>
                    </a:lnTo>
                    <a:lnTo>
                      <a:pt x="1848" y="2911"/>
                    </a:lnTo>
                    <a:lnTo>
                      <a:pt x="1776" y="2928"/>
                    </a:lnTo>
                    <a:lnTo>
                      <a:pt x="1703" y="2940"/>
                    </a:lnTo>
                    <a:lnTo>
                      <a:pt x="1630" y="2950"/>
                    </a:lnTo>
                    <a:lnTo>
                      <a:pt x="1554" y="2955"/>
                    </a:lnTo>
                    <a:lnTo>
                      <a:pt x="1479" y="2957"/>
                    </a:lnTo>
                    <a:lnTo>
                      <a:pt x="1402" y="2955"/>
                    </a:lnTo>
                    <a:lnTo>
                      <a:pt x="1328" y="2950"/>
                    </a:lnTo>
                    <a:lnTo>
                      <a:pt x="1253" y="2940"/>
                    </a:lnTo>
                    <a:lnTo>
                      <a:pt x="1181" y="2928"/>
                    </a:lnTo>
                    <a:lnTo>
                      <a:pt x="1109" y="2911"/>
                    </a:lnTo>
                    <a:lnTo>
                      <a:pt x="1039" y="2890"/>
                    </a:lnTo>
                    <a:lnTo>
                      <a:pt x="970" y="2868"/>
                    </a:lnTo>
                    <a:lnTo>
                      <a:pt x="903" y="2841"/>
                    </a:lnTo>
                    <a:lnTo>
                      <a:pt x="838" y="2812"/>
                    </a:lnTo>
                    <a:lnTo>
                      <a:pt x="774" y="2779"/>
                    </a:lnTo>
                    <a:lnTo>
                      <a:pt x="712" y="2743"/>
                    </a:lnTo>
                    <a:lnTo>
                      <a:pt x="652" y="2705"/>
                    </a:lnTo>
                    <a:lnTo>
                      <a:pt x="594" y="2664"/>
                    </a:lnTo>
                    <a:lnTo>
                      <a:pt x="539" y="2620"/>
                    </a:lnTo>
                    <a:lnTo>
                      <a:pt x="485" y="2573"/>
                    </a:lnTo>
                    <a:lnTo>
                      <a:pt x="434" y="2524"/>
                    </a:lnTo>
                    <a:lnTo>
                      <a:pt x="385" y="2473"/>
                    </a:lnTo>
                    <a:lnTo>
                      <a:pt x="338" y="2420"/>
                    </a:lnTo>
                    <a:lnTo>
                      <a:pt x="294" y="2363"/>
                    </a:lnTo>
                    <a:lnTo>
                      <a:pt x="253" y="2306"/>
                    </a:lnTo>
                    <a:lnTo>
                      <a:pt x="214" y="2245"/>
                    </a:lnTo>
                    <a:lnTo>
                      <a:pt x="179" y="2183"/>
                    </a:lnTo>
                    <a:lnTo>
                      <a:pt x="146" y="2119"/>
                    </a:lnTo>
                    <a:lnTo>
                      <a:pt x="116" y="2054"/>
                    </a:lnTo>
                    <a:lnTo>
                      <a:pt x="91" y="1987"/>
                    </a:lnTo>
                    <a:lnTo>
                      <a:pt x="67" y="1918"/>
                    </a:lnTo>
                    <a:lnTo>
                      <a:pt x="47" y="1848"/>
                    </a:lnTo>
                    <a:lnTo>
                      <a:pt x="31" y="1776"/>
                    </a:lnTo>
                    <a:lnTo>
                      <a:pt x="17" y="1704"/>
                    </a:lnTo>
                    <a:lnTo>
                      <a:pt x="9" y="1629"/>
                    </a:lnTo>
                    <a:lnTo>
                      <a:pt x="3" y="1555"/>
                    </a:lnTo>
                    <a:lnTo>
                      <a:pt x="0" y="1479"/>
                    </a:lnTo>
                    <a:lnTo>
                      <a:pt x="3" y="1403"/>
                    </a:lnTo>
                    <a:lnTo>
                      <a:pt x="9" y="1328"/>
                    </a:lnTo>
                    <a:lnTo>
                      <a:pt x="17" y="1253"/>
                    </a:lnTo>
                    <a:lnTo>
                      <a:pt x="31" y="1181"/>
                    </a:lnTo>
                    <a:lnTo>
                      <a:pt x="47" y="1110"/>
                    </a:lnTo>
                    <a:lnTo>
                      <a:pt x="67" y="1039"/>
                    </a:lnTo>
                    <a:lnTo>
                      <a:pt x="91" y="970"/>
                    </a:lnTo>
                    <a:lnTo>
                      <a:pt x="116" y="903"/>
                    </a:lnTo>
                    <a:lnTo>
                      <a:pt x="146" y="838"/>
                    </a:lnTo>
                    <a:lnTo>
                      <a:pt x="179" y="774"/>
                    </a:lnTo>
                    <a:lnTo>
                      <a:pt x="214" y="712"/>
                    </a:lnTo>
                    <a:lnTo>
                      <a:pt x="253" y="652"/>
                    </a:lnTo>
                    <a:lnTo>
                      <a:pt x="294" y="594"/>
                    </a:lnTo>
                    <a:lnTo>
                      <a:pt x="338" y="538"/>
                    </a:lnTo>
                    <a:lnTo>
                      <a:pt x="385" y="485"/>
                    </a:lnTo>
                    <a:lnTo>
                      <a:pt x="434" y="433"/>
                    </a:lnTo>
                    <a:lnTo>
                      <a:pt x="485" y="384"/>
                    </a:lnTo>
                    <a:lnTo>
                      <a:pt x="539" y="338"/>
                    </a:lnTo>
                    <a:lnTo>
                      <a:pt x="594" y="294"/>
                    </a:lnTo>
                    <a:lnTo>
                      <a:pt x="652" y="252"/>
                    </a:lnTo>
                    <a:lnTo>
                      <a:pt x="712" y="214"/>
                    </a:lnTo>
                    <a:lnTo>
                      <a:pt x="774" y="179"/>
                    </a:lnTo>
                    <a:lnTo>
                      <a:pt x="838" y="146"/>
                    </a:lnTo>
                    <a:lnTo>
                      <a:pt x="903" y="116"/>
                    </a:lnTo>
                    <a:lnTo>
                      <a:pt x="970" y="90"/>
                    </a:lnTo>
                    <a:lnTo>
                      <a:pt x="1039" y="67"/>
                    </a:lnTo>
                    <a:lnTo>
                      <a:pt x="1109" y="47"/>
                    </a:lnTo>
                    <a:lnTo>
                      <a:pt x="1181" y="30"/>
                    </a:lnTo>
                    <a:lnTo>
                      <a:pt x="1253" y="17"/>
                    </a:lnTo>
                    <a:lnTo>
                      <a:pt x="1328" y="7"/>
                    </a:lnTo>
                    <a:lnTo>
                      <a:pt x="1402" y="2"/>
                    </a:lnTo>
                    <a:lnTo>
                      <a:pt x="1479" y="0"/>
                    </a:lnTo>
                    <a:lnTo>
                      <a:pt x="1554" y="2"/>
                    </a:lnTo>
                    <a:lnTo>
                      <a:pt x="1630" y="7"/>
                    </a:lnTo>
                    <a:lnTo>
                      <a:pt x="1703" y="17"/>
                    </a:lnTo>
                    <a:lnTo>
                      <a:pt x="1776" y="30"/>
                    </a:lnTo>
                    <a:lnTo>
                      <a:pt x="1848" y="47"/>
                    </a:lnTo>
                    <a:lnTo>
                      <a:pt x="1917" y="67"/>
                    </a:lnTo>
                    <a:lnTo>
                      <a:pt x="1986" y="90"/>
                    </a:lnTo>
                    <a:lnTo>
                      <a:pt x="2053" y="116"/>
                    </a:lnTo>
                    <a:lnTo>
                      <a:pt x="2118" y="146"/>
                    </a:lnTo>
                    <a:lnTo>
                      <a:pt x="2182" y="179"/>
                    </a:lnTo>
                    <a:lnTo>
                      <a:pt x="2244" y="214"/>
                    </a:lnTo>
                    <a:lnTo>
                      <a:pt x="2305" y="252"/>
                    </a:lnTo>
                    <a:lnTo>
                      <a:pt x="2362" y="294"/>
                    </a:lnTo>
                    <a:lnTo>
                      <a:pt x="2419" y="338"/>
                    </a:lnTo>
                    <a:lnTo>
                      <a:pt x="2472" y="384"/>
                    </a:lnTo>
                    <a:lnTo>
                      <a:pt x="2523" y="433"/>
                    </a:lnTo>
                    <a:lnTo>
                      <a:pt x="2572" y="485"/>
                    </a:lnTo>
                    <a:lnTo>
                      <a:pt x="2619" y="538"/>
                    </a:lnTo>
                    <a:lnTo>
                      <a:pt x="2662" y="594"/>
                    </a:lnTo>
                    <a:lnTo>
                      <a:pt x="2704" y="652"/>
                    </a:lnTo>
                    <a:lnTo>
                      <a:pt x="2742" y="712"/>
                    </a:lnTo>
                    <a:lnTo>
                      <a:pt x="2777" y="774"/>
                    </a:lnTo>
                    <a:lnTo>
                      <a:pt x="2810" y="838"/>
                    </a:lnTo>
                    <a:lnTo>
                      <a:pt x="2840" y="903"/>
                    </a:lnTo>
                    <a:lnTo>
                      <a:pt x="2867" y="970"/>
                    </a:lnTo>
                    <a:lnTo>
                      <a:pt x="2889" y="1039"/>
                    </a:lnTo>
                    <a:lnTo>
                      <a:pt x="2909" y="1110"/>
                    </a:lnTo>
                    <a:lnTo>
                      <a:pt x="2926" y="1181"/>
                    </a:lnTo>
                    <a:lnTo>
                      <a:pt x="2939" y="1253"/>
                    </a:lnTo>
                    <a:lnTo>
                      <a:pt x="2949" y="1328"/>
                    </a:lnTo>
                    <a:lnTo>
                      <a:pt x="2954" y="1403"/>
                    </a:lnTo>
                    <a:lnTo>
                      <a:pt x="2956" y="14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75" name="Rectangle 58">
                <a:extLst>
                  <a:ext uri="{FF2B5EF4-FFF2-40B4-BE49-F238E27FC236}">
                    <a16:creationId xmlns:a16="http://schemas.microsoft.com/office/drawing/2014/main" id="{168B2D73-7A4A-4ABA-8F3E-6E4502E989CD}"/>
                  </a:ext>
                </a:extLst>
              </p:cNvPr>
              <p:cNvSpPr>
                <a:spLocks noChangeArrowheads="1"/>
              </p:cNvSpPr>
              <p:nvPr/>
            </p:nvSpPr>
            <p:spPr bwMode="auto">
              <a:xfrm>
                <a:off x="1687513" y="2811463"/>
                <a:ext cx="44450" cy="12731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76" name="Freeform 59">
                <a:extLst>
                  <a:ext uri="{FF2B5EF4-FFF2-40B4-BE49-F238E27FC236}">
                    <a16:creationId xmlns:a16="http://schemas.microsoft.com/office/drawing/2014/main" id="{FB810C32-FBDC-428D-9408-CAE73686B2E0}"/>
                  </a:ext>
                </a:extLst>
              </p:cNvPr>
              <p:cNvSpPr>
                <a:spLocks noEditPoints="1"/>
              </p:cNvSpPr>
              <p:nvPr/>
            </p:nvSpPr>
            <p:spPr bwMode="auto">
              <a:xfrm>
                <a:off x="1687513" y="4084638"/>
                <a:ext cx="188913" cy="188913"/>
              </a:xfrm>
              <a:custGeom>
                <a:avLst/>
                <a:gdLst>
                  <a:gd name="T0" fmla="*/ 143 w 595"/>
                  <a:gd name="T1" fmla="*/ 23 h 595"/>
                  <a:gd name="T2" fmla="*/ 147 w 595"/>
                  <a:gd name="T3" fmla="*/ 69 h 595"/>
                  <a:gd name="T4" fmla="*/ 157 w 595"/>
                  <a:gd name="T5" fmla="*/ 113 h 595"/>
                  <a:gd name="T6" fmla="*/ 170 w 595"/>
                  <a:gd name="T7" fmla="*/ 155 h 595"/>
                  <a:gd name="T8" fmla="*/ 187 w 595"/>
                  <a:gd name="T9" fmla="*/ 197 h 595"/>
                  <a:gd name="T10" fmla="*/ 208 w 595"/>
                  <a:gd name="T11" fmla="*/ 235 h 595"/>
                  <a:gd name="T12" fmla="*/ 232 w 595"/>
                  <a:gd name="T13" fmla="*/ 271 h 595"/>
                  <a:gd name="T14" fmla="*/ 260 w 595"/>
                  <a:gd name="T15" fmla="*/ 304 h 595"/>
                  <a:gd name="T16" fmla="*/ 175 w 595"/>
                  <a:gd name="T17" fmla="*/ 422 h 595"/>
                  <a:gd name="T18" fmla="*/ 137 w 595"/>
                  <a:gd name="T19" fmla="*/ 379 h 595"/>
                  <a:gd name="T20" fmla="*/ 102 w 595"/>
                  <a:gd name="T21" fmla="*/ 333 h 595"/>
                  <a:gd name="T22" fmla="*/ 72 w 595"/>
                  <a:gd name="T23" fmla="*/ 284 h 595"/>
                  <a:gd name="T24" fmla="*/ 47 w 595"/>
                  <a:gd name="T25" fmla="*/ 232 h 595"/>
                  <a:gd name="T26" fmla="*/ 27 w 595"/>
                  <a:gd name="T27" fmla="*/ 177 h 595"/>
                  <a:gd name="T28" fmla="*/ 12 w 595"/>
                  <a:gd name="T29" fmla="*/ 120 h 595"/>
                  <a:gd name="T30" fmla="*/ 4 w 595"/>
                  <a:gd name="T31" fmla="*/ 60 h 595"/>
                  <a:gd name="T32" fmla="*/ 0 w 595"/>
                  <a:gd name="T33" fmla="*/ 0 h 595"/>
                  <a:gd name="T34" fmla="*/ 275 w 595"/>
                  <a:gd name="T35" fmla="*/ 320 h 595"/>
                  <a:gd name="T36" fmla="*/ 307 w 595"/>
                  <a:gd name="T37" fmla="*/ 350 h 595"/>
                  <a:gd name="T38" fmla="*/ 342 w 595"/>
                  <a:gd name="T39" fmla="*/ 376 h 595"/>
                  <a:gd name="T40" fmla="*/ 379 w 595"/>
                  <a:gd name="T41" fmla="*/ 399 h 595"/>
                  <a:gd name="T42" fmla="*/ 420 w 595"/>
                  <a:gd name="T43" fmla="*/ 417 h 595"/>
                  <a:gd name="T44" fmla="*/ 461 w 595"/>
                  <a:gd name="T45" fmla="*/ 433 h 595"/>
                  <a:gd name="T46" fmla="*/ 505 w 595"/>
                  <a:gd name="T47" fmla="*/ 444 h 595"/>
                  <a:gd name="T48" fmla="*/ 550 w 595"/>
                  <a:gd name="T49" fmla="*/ 451 h 595"/>
                  <a:gd name="T50" fmla="*/ 595 w 595"/>
                  <a:gd name="T51" fmla="*/ 453 h 595"/>
                  <a:gd name="T52" fmla="*/ 566 w 595"/>
                  <a:gd name="T53" fmla="*/ 595 h 595"/>
                  <a:gd name="T54" fmla="*/ 505 w 595"/>
                  <a:gd name="T55" fmla="*/ 589 h 595"/>
                  <a:gd name="T56" fmla="*/ 447 w 595"/>
                  <a:gd name="T57" fmla="*/ 577 h 595"/>
                  <a:gd name="T58" fmla="*/ 391 w 595"/>
                  <a:gd name="T59" fmla="*/ 560 h 595"/>
                  <a:gd name="T60" fmla="*/ 338 w 595"/>
                  <a:gd name="T61" fmla="*/ 537 h 595"/>
                  <a:gd name="T62" fmla="*/ 287 w 595"/>
                  <a:gd name="T63" fmla="*/ 509 h 595"/>
                  <a:gd name="T64" fmla="*/ 240 w 595"/>
                  <a:gd name="T65" fmla="*/ 477 h 595"/>
                  <a:gd name="T66" fmla="*/ 195 w 595"/>
                  <a:gd name="T67" fmla="*/ 441 h 595"/>
                  <a:gd name="T68" fmla="*/ 275 w 595"/>
                  <a:gd name="T69" fmla="*/ 320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5" h="595">
                    <a:moveTo>
                      <a:pt x="142" y="0"/>
                    </a:moveTo>
                    <a:lnTo>
                      <a:pt x="143" y="23"/>
                    </a:lnTo>
                    <a:lnTo>
                      <a:pt x="145" y="47"/>
                    </a:lnTo>
                    <a:lnTo>
                      <a:pt x="147" y="69"/>
                    </a:lnTo>
                    <a:lnTo>
                      <a:pt x="152" y="91"/>
                    </a:lnTo>
                    <a:lnTo>
                      <a:pt x="157" y="113"/>
                    </a:lnTo>
                    <a:lnTo>
                      <a:pt x="163" y="135"/>
                    </a:lnTo>
                    <a:lnTo>
                      <a:pt x="170" y="155"/>
                    </a:lnTo>
                    <a:lnTo>
                      <a:pt x="178" y="177"/>
                    </a:lnTo>
                    <a:lnTo>
                      <a:pt x="187" y="197"/>
                    </a:lnTo>
                    <a:lnTo>
                      <a:pt x="197" y="216"/>
                    </a:lnTo>
                    <a:lnTo>
                      <a:pt x="208" y="235"/>
                    </a:lnTo>
                    <a:lnTo>
                      <a:pt x="220" y="253"/>
                    </a:lnTo>
                    <a:lnTo>
                      <a:pt x="232" y="271"/>
                    </a:lnTo>
                    <a:lnTo>
                      <a:pt x="246" y="288"/>
                    </a:lnTo>
                    <a:lnTo>
                      <a:pt x="260" y="304"/>
                    </a:lnTo>
                    <a:lnTo>
                      <a:pt x="275" y="320"/>
                    </a:lnTo>
                    <a:lnTo>
                      <a:pt x="175" y="422"/>
                    </a:lnTo>
                    <a:lnTo>
                      <a:pt x="155" y="400"/>
                    </a:lnTo>
                    <a:lnTo>
                      <a:pt x="137" y="379"/>
                    </a:lnTo>
                    <a:lnTo>
                      <a:pt x="119" y="357"/>
                    </a:lnTo>
                    <a:lnTo>
                      <a:pt x="102" y="333"/>
                    </a:lnTo>
                    <a:lnTo>
                      <a:pt x="87" y="309"/>
                    </a:lnTo>
                    <a:lnTo>
                      <a:pt x="72" y="284"/>
                    </a:lnTo>
                    <a:lnTo>
                      <a:pt x="59" y="259"/>
                    </a:lnTo>
                    <a:lnTo>
                      <a:pt x="47" y="232"/>
                    </a:lnTo>
                    <a:lnTo>
                      <a:pt x="37" y="204"/>
                    </a:lnTo>
                    <a:lnTo>
                      <a:pt x="27" y="177"/>
                    </a:lnTo>
                    <a:lnTo>
                      <a:pt x="19" y="149"/>
                    </a:lnTo>
                    <a:lnTo>
                      <a:pt x="12" y="120"/>
                    </a:lnTo>
                    <a:lnTo>
                      <a:pt x="7" y="90"/>
                    </a:lnTo>
                    <a:lnTo>
                      <a:pt x="4" y="60"/>
                    </a:lnTo>
                    <a:lnTo>
                      <a:pt x="1" y="31"/>
                    </a:lnTo>
                    <a:lnTo>
                      <a:pt x="0" y="0"/>
                    </a:lnTo>
                    <a:lnTo>
                      <a:pt x="142" y="0"/>
                    </a:lnTo>
                    <a:close/>
                    <a:moveTo>
                      <a:pt x="275" y="320"/>
                    </a:moveTo>
                    <a:lnTo>
                      <a:pt x="291" y="335"/>
                    </a:lnTo>
                    <a:lnTo>
                      <a:pt x="307" y="350"/>
                    </a:lnTo>
                    <a:lnTo>
                      <a:pt x="324" y="363"/>
                    </a:lnTo>
                    <a:lnTo>
                      <a:pt x="342" y="376"/>
                    </a:lnTo>
                    <a:lnTo>
                      <a:pt x="360" y="387"/>
                    </a:lnTo>
                    <a:lnTo>
                      <a:pt x="379" y="399"/>
                    </a:lnTo>
                    <a:lnTo>
                      <a:pt x="400" y="409"/>
                    </a:lnTo>
                    <a:lnTo>
                      <a:pt x="420" y="417"/>
                    </a:lnTo>
                    <a:lnTo>
                      <a:pt x="440" y="426"/>
                    </a:lnTo>
                    <a:lnTo>
                      <a:pt x="461" y="433"/>
                    </a:lnTo>
                    <a:lnTo>
                      <a:pt x="483" y="440"/>
                    </a:lnTo>
                    <a:lnTo>
                      <a:pt x="505" y="444"/>
                    </a:lnTo>
                    <a:lnTo>
                      <a:pt x="526" y="448"/>
                    </a:lnTo>
                    <a:lnTo>
                      <a:pt x="550" y="451"/>
                    </a:lnTo>
                    <a:lnTo>
                      <a:pt x="572" y="452"/>
                    </a:lnTo>
                    <a:lnTo>
                      <a:pt x="595" y="453"/>
                    </a:lnTo>
                    <a:lnTo>
                      <a:pt x="595" y="595"/>
                    </a:lnTo>
                    <a:lnTo>
                      <a:pt x="566" y="595"/>
                    </a:lnTo>
                    <a:lnTo>
                      <a:pt x="535" y="593"/>
                    </a:lnTo>
                    <a:lnTo>
                      <a:pt x="505" y="589"/>
                    </a:lnTo>
                    <a:lnTo>
                      <a:pt x="476" y="583"/>
                    </a:lnTo>
                    <a:lnTo>
                      <a:pt x="447" y="577"/>
                    </a:lnTo>
                    <a:lnTo>
                      <a:pt x="419" y="568"/>
                    </a:lnTo>
                    <a:lnTo>
                      <a:pt x="391" y="560"/>
                    </a:lnTo>
                    <a:lnTo>
                      <a:pt x="364" y="549"/>
                    </a:lnTo>
                    <a:lnTo>
                      <a:pt x="338" y="537"/>
                    </a:lnTo>
                    <a:lnTo>
                      <a:pt x="312" y="524"/>
                    </a:lnTo>
                    <a:lnTo>
                      <a:pt x="287" y="509"/>
                    </a:lnTo>
                    <a:lnTo>
                      <a:pt x="263" y="494"/>
                    </a:lnTo>
                    <a:lnTo>
                      <a:pt x="240" y="477"/>
                    </a:lnTo>
                    <a:lnTo>
                      <a:pt x="216" y="460"/>
                    </a:lnTo>
                    <a:lnTo>
                      <a:pt x="195" y="441"/>
                    </a:lnTo>
                    <a:lnTo>
                      <a:pt x="175" y="422"/>
                    </a:lnTo>
                    <a:lnTo>
                      <a:pt x="275" y="3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77" name="Rectangle 60">
                <a:extLst>
                  <a:ext uri="{FF2B5EF4-FFF2-40B4-BE49-F238E27FC236}">
                    <a16:creationId xmlns:a16="http://schemas.microsoft.com/office/drawing/2014/main" id="{B6CF3070-B336-4498-8928-93DCABF8C4B8}"/>
                  </a:ext>
                </a:extLst>
              </p:cNvPr>
              <p:cNvSpPr>
                <a:spLocks noChangeArrowheads="1"/>
              </p:cNvSpPr>
              <p:nvPr/>
            </p:nvSpPr>
            <p:spPr bwMode="auto">
              <a:xfrm>
                <a:off x="1876425" y="4229100"/>
                <a:ext cx="1666875" cy="444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78" name="Freeform 61">
                <a:extLst>
                  <a:ext uri="{FF2B5EF4-FFF2-40B4-BE49-F238E27FC236}">
                    <a16:creationId xmlns:a16="http://schemas.microsoft.com/office/drawing/2014/main" id="{ADDEB0C6-3308-4DB6-9C16-64667AE2CD53}"/>
                  </a:ext>
                </a:extLst>
              </p:cNvPr>
              <p:cNvSpPr>
                <a:spLocks noEditPoints="1"/>
              </p:cNvSpPr>
              <p:nvPr/>
            </p:nvSpPr>
            <p:spPr bwMode="auto">
              <a:xfrm>
                <a:off x="3543300" y="4229100"/>
                <a:ext cx="190500" cy="188913"/>
              </a:xfrm>
              <a:custGeom>
                <a:avLst/>
                <a:gdLst>
                  <a:gd name="T0" fmla="*/ 31 w 596"/>
                  <a:gd name="T1" fmla="*/ 2 h 596"/>
                  <a:gd name="T2" fmla="*/ 90 w 596"/>
                  <a:gd name="T3" fmla="*/ 7 h 596"/>
                  <a:gd name="T4" fmla="*/ 149 w 596"/>
                  <a:gd name="T5" fmla="*/ 20 h 596"/>
                  <a:gd name="T6" fmla="*/ 205 w 596"/>
                  <a:gd name="T7" fmla="*/ 37 h 596"/>
                  <a:gd name="T8" fmla="*/ 259 w 596"/>
                  <a:gd name="T9" fmla="*/ 59 h 596"/>
                  <a:gd name="T10" fmla="*/ 309 w 596"/>
                  <a:gd name="T11" fmla="*/ 87 h 596"/>
                  <a:gd name="T12" fmla="*/ 356 w 596"/>
                  <a:gd name="T13" fmla="*/ 119 h 596"/>
                  <a:gd name="T14" fmla="*/ 400 w 596"/>
                  <a:gd name="T15" fmla="*/ 155 h 596"/>
                  <a:gd name="T16" fmla="*/ 320 w 596"/>
                  <a:gd name="T17" fmla="*/ 275 h 596"/>
                  <a:gd name="T18" fmla="*/ 288 w 596"/>
                  <a:gd name="T19" fmla="*/ 246 h 596"/>
                  <a:gd name="T20" fmla="*/ 253 w 596"/>
                  <a:gd name="T21" fmla="*/ 220 h 596"/>
                  <a:gd name="T22" fmla="*/ 216 w 596"/>
                  <a:gd name="T23" fmla="*/ 198 h 596"/>
                  <a:gd name="T24" fmla="*/ 177 w 596"/>
                  <a:gd name="T25" fmla="*/ 178 h 596"/>
                  <a:gd name="T26" fmla="*/ 135 w 596"/>
                  <a:gd name="T27" fmla="*/ 163 h 596"/>
                  <a:gd name="T28" fmla="*/ 91 w 596"/>
                  <a:gd name="T29" fmla="*/ 152 h 596"/>
                  <a:gd name="T30" fmla="*/ 47 w 596"/>
                  <a:gd name="T31" fmla="*/ 145 h 596"/>
                  <a:gd name="T32" fmla="*/ 0 w 596"/>
                  <a:gd name="T33" fmla="*/ 142 h 596"/>
                  <a:gd name="T34" fmla="*/ 421 w 596"/>
                  <a:gd name="T35" fmla="*/ 175 h 596"/>
                  <a:gd name="T36" fmla="*/ 460 w 596"/>
                  <a:gd name="T37" fmla="*/ 218 h 596"/>
                  <a:gd name="T38" fmla="*/ 494 w 596"/>
                  <a:gd name="T39" fmla="*/ 264 h 596"/>
                  <a:gd name="T40" fmla="*/ 524 w 596"/>
                  <a:gd name="T41" fmla="*/ 313 h 596"/>
                  <a:gd name="T42" fmla="*/ 549 w 596"/>
                  <a:gd name="T43" fmla="*/ 365 h 596"/>
                  <a:gd name="T44" fmla="*/ 569 w 596"/>
                  <a:gd name="T45" fmla="*/ 419 h 596"/>
                  <a:gd name="T46" fmla="*/ 583 w 596"/>
                  <a:gd name="T47" fmla="*/ 477 h 596"/>
                  <a:gd name="T48" fmla="*/ 593 w 596"/>
                  <a:gd name="T49" fmla="*/ 535 h 596"/>
                  <a:gd name="T50" fmla="*/ 596 w 596"/>
                  <a:gd name="T51" fmla="*/ 596 h 596"/>
                  <a:gd name="T52" fmla="*/ 453 w 596"/>
                  <a:gd name="T53" fmla="*/ 573 h 596"/>
                  <a:gd name="T54" fmla="*/ 448 w 596"/>
                  <a:gd name="T55" fmla="*/ 528 h 596"/>
                  <a:gd name="T56" fmla="*/ 439 w 596"/>
                  <a:gd name="T57" fmla="*/ 483 h 596"/>
                  <a:gd name="T58" fmla="*/ 426 w 596"/>
                  <a:gd name="T59" fmla="*/ 440 h 596"/>
                  <a:gd name="T60" fmla="*/ 409 w 596"/>
                  <a:gd name="T61" fmla="*/ 400 h 596"/>
                  <a:gd name="T62" fmla="*/ 388 w 596"/>
                  <a:gd name="T63" fmla="*/ 362 h 596"/>
                  <a:gd name="T64" fmla="*/ 364 w 596"/>
                  <a:gd name="T65" fmla="*/ 325 h 596"/>
                  <a:gd name="T66" fmla="*/ 336 w 596"/>
                  <a:gd name="T67" fmla="*/ 291 h 596"/>
                  <a:gd name="T68" fmla="*/ 421 w 596"/>
                  <a:gd name="T69" fmla="*/ 175 h 5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6" h="596">
                    <a:moveTo>
                      <a:pt x="0" y="0"/>
                    </a:moveTo>
                    <a:lnTo>
                      <a:pt x="31" y="2"/>
                    </a:lnTo>
                    <a:lnTo>
                      <a:pt x="61" y="4"/>
                    </a:lnTo>
                    <a:lnTo>
                      <a:pt x="90" y="7"/>
                    </a:lnTo>
                    <a:lnTo>
                      <a:pt x="120" y="12"/>
                    </a:lnTo>
                    <a:lnTo>
                      <a:pt x="149" y="20"/>
                    </a:lnTo>
                    <a:lnTo>
                      <a:pt x="178" y="27"/>
                    </a:lnTo>
                    <a:lnTo>
                      <a:pt x="205" y="37"/>
                    </a:lnTo>
                    <a:lnTo>
                      <a:pt x="232" y="47"/>
                    </a:lnTo>
                    <a:lnTo>
                      <a:pt x="259" y="59"/>
                    </a:lnTo>
                    <a:lnTo>
                      <a:pt x="284" y="72"/>
                    </a:lnTo>
                    <a:lnTo>
                      <a:pt x="309" y="87"/>
                    </a:lnTo>
                    <a:lnTo>
                      <a:pt x="333" y="102"/>
                    </a:lnTo>
                    <a:lnTo>
                      <a:pt x="356" y="119"/>
                    </a:lnTo>
                    <a:lnTo>
                      <a:pt x="379" y="137"/>
                    </a:lnTo>
                    <a:lnTo>
                      <a:pt x="400" y="155"/>
                    </a:lnTo>
                    <a:lnTo>
                      <a:pt x="421" y="175"/>
                    </a:lnTo>
                    <a:lnTo>
                      <a:pt x="320" y="275"/>
                    </a:lnTo>
                    <a:lnTo>
                      <a:pt x="305" y="260"/>
                    </a:lnTo>
                    <a:lnTo>
                      <a:pt x="288" y="246"/>
                    </a:lnTo>
                    <a:lnTo>
                      <a:pt x="271" y="233"/>
                    </a:lnTo>
                    <a:lnTo>
                      <a:pt x="253" y="220"/>
                    </a:lnTo>
                    <a:lnTo>
                      <a:pt x="235" y="208"/>
                    </a:lnTo>
                    <a:lnTo>
                      <a:pt x="216" y="198"/>
                    </a:lnTo>
                    <a:lnTo>
                      <a:pt x="197" y="187"/>
                    </a:lnTo>
                    <a:lnTo>
                      <a:pt x="177" y="178"/>
                    </a:lnTo>
                    <a:lnTo>
                      <a:pt x="156" y="170"/>
                    </a:lnTo>
                    <a:lnTo>
                      <a:pt x="135" y="163"/>
                    </a:lnTo>
                    <a:lnTo>
                      <a:pt x="114" y="157"/>
                    </a:lnTo>
                    <a:lnTo>
                      <a:pt x="91" y="152"/>
                    </a:lnTo>
                    <a:lnTo>
                      <a:pt x="69" y="147"/>
                    </a:lnTo>
                    <a:lnTo>
                      <a:pt x="47" y="145"/>
                    </a:lnTo>
                    <a:lnTo>
                      <a:pt x="23" y="143"/>
                    </a:lnTo>
                    <a:lnTo>
                      <a:pt x="0" y="142"/>
                    </a:lnTo>
                    <a:lnTo>
                      <a:pt x="0" y="0"/>
                    </a:lnTo>
                    <a:close/>
                    <a:moveTo>
                      <a:pt x="421" y="175"/>
                    </a:moveTo>
                    <a:lnTo>
                      <a:pt x="441" y="195"/>
                    </a:lnTo>
                    <a:lnTo>
                      <a:pt x="460" y="218"/>
                    </a:lnTo>
                    <a:lnTo>
                      <a:pt x="478" y="240"/>
                    </a:lnTo>
                    <a:lnTo>
                      <a:pt x="494" y="264"/>
                    </a:lnTo>
                    <a:lnTo>
                      <a:pt x="510" y="287"/>
                    </a:lnTo>
                    <a:lnTo>
                      <a:pt x="524" y="313"/>
                    </a:lnTo>
                    <a:lnTo>
                      <a:pt x="537" y="338"/>
                    </a:lnTo>
                    <a:lnTo>
                      <a:pt x="549" y="365"/>
                    </a:lnTo>
                    <a:lnTo>
                      <a:pt x="560" y="391"/>
                    </a:lnTo>
                    <a:lnTo>
                      <a:pt x="569" y="419"/>
                    </a:lnTo>
                    <a:lnTo>
                      <a:pt x="577" y="448"/>
                    </a:lnTo>
                    <a:lnTo>
                      <a:pt x="583" y="477"/>
                    </a:lnTo>
                    <a:lnTo>
                      <a:pt x="589" y="505"/>
                    </a:lnTo>
                    <a:lnTo>
                      <a:pt x="593" y="535"/>
                    </a:lnTo>
                    <a:lnTo>
                      <a:pt x="595" y="566"/>
                    </a:lnTo>
                    <a:lnTo>
                      <a:pt x="596" y="596"/>
                    </a:lnTo>
                    <a:lnTo>
                      <a:pt x="453" y="596"/>
                    </a:lnTo>
                    <a:lnTo>
                      <a:pt x="453" y="573"/>
                    </a:lnTo>
                    <a:lnTo>
                      <a:pt x="451" y="550"/>
                    </a:lnTo>
                    <a:lnTo>
                      <a:pt x="448" y="528"/>
                    </a:lnTo>
                    <a:lnTo>
                      <a:pt x="445" y="505"/>
                    </a:lnTo>
                    <a:lnTo>
                      <a:pt x="439" y="483"/>
                    </a:lnTo>
                    <a:lnTo>
                      <a:pt x="433" y="462"/>
                    </a:lnTo>
                    <a:lnTo>
                      <a:pt x="426" y="440"/>
                    </a:lnTo>
                    <a:lnTo>
                      <a:pt x="418" y="420"/>
                    </a:lnTo>
                    <a:lnTo>
                      <a:pt x="409" y="400"/>
                    </a:lnTo>
                    <a:lnTo>
                      <a:pt x="399" y="380"/>
                    </a:lnTo>
                    <a:lnTo>
                      <a:pt x="388" y="362"/>
                    </a:lnTo>
                    <a:lnTo>
                      <a:pt x="376" y="342"/>
                    </a:lnTo>
                    <a:lnTo>
                      <a:pt x="364" y="325"/>
                    </a:lnTo>
                    <a:lnTo>
                      <a:pt x="350" y="307"/>
                    </a:lnTo>
                    <a:lnTo>
                      <a:pt x="336" y="291"/>
                    </a:lnTo>
                    <a:lnTo>
                      <a:pt x="320" y="275"/>
                    </a:lnTo>
                    <a:lnTo>
                      <a:pt x="421" y="1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79" name="Rectangle 62">
                <a:extLst>
                  <a:ext uri="{FF2B5EF4-FFF2-40B4-BE49-F238E27FC236}">
                    <a16:creationId xmlns:a16="http://schemas.microsoft.com/office/drawing/2014/main" id="{A804C6F1-25D2-43D7-AE80-085987784DB9}"/>
                  </a:ext>
                </a:extLst>
              </p:cNvPr>
              <p:cNvSpPr>
                <a:spLocks noChangeArrowheads="1"/>
              </p:cNvSpPr>
              <p:nvPr/>
            </p:nvSpPr>
            <p:spPr bwMode="auto">
              <a:xfrm>
                <a:off x="3687763" y="4418013"/>
                <a:ext cx="46038" cy="20716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80" name="Freeform 89">
                <a:extLst>
                  <a:ext uri="{FF2B5EF4-FFF2-40B4-BE49-F238E27FC236}">
                    <a16:creationId xmlns:a16="http://schemas.microsoft.com/office/drawing/2014/main" id="{1DBEFABC-B69B-4924-A98A-ADD86CC92116}"/>
                  </a:ext>
                </a:extLst>
              </p:cNvPr>
              <p:cNvSpPr>
                <a:spLocks/>
              </p:cNvSpPr>
              <p:nvPr/>
            </p:nvSpPr>
            <p:spPr bwMode="auto">
              <a:xfrm>
                <a:off x="1295400" y="3165475"/>
                <a:ext cx="276225" cy="303213"/>
              </a:xfrm>
              <a:custGeom>
                <a:avLst/>
                <a:gdLst>
                  <a:gd name="T0" fmla="*/ 694 w 872"/>
                  <a:gd name="T1" fmla="*/ 878 h 954"/>
                  <a:gd name="T2" fmla="*/ 751 w 872"/>
                  <a:gd name="T3" fmla="*/ 816 h 954"/>
                  <a:gd name="T4" fmla="*/ 787 w 872"/>
                  <a:gd name="T5" fmla="*/ 768 h 954"/>
                  <a:gd name="T6" fmla="*/ 811 w 872"/>
                  <a:gd name="T7" fmla="*/ 732 h 954"/>
                  <a:gd name="T8" fmla="*/ 832 w 872"/>
                  <a:gd name="T9" fmla="*/ 692 h 954"/>
                  <a:gd name="T10" fmla="*/ 850 w 872"/>
                  <a:gd name="T11" fmla="*/ 650 h 954"/>
                  <a:gd name="T12" fmla="*/ 863 w 872"/>
                  <a:gd name="T13" fmla="*/ 605 h 954"/>
                  <a:gd name="T14" fmla="*/ 870 w 872"/>
                  <a:gd name="T15" fmla="*/ 558 h 954"/>
                  <a:gd name="T16" fmla="*/ 870 w 872"/>
                  <a:gd name="T17" fmla="*/ 510 h 954"/>
                  <a:gd name="T18" fmla="*/ 862 w 872"/>
                  <a:gd name="T19" fmla="*/ 460 h 954"/>
                  <a:gd name="T20" fmla="*/ 843 w 872"/>
                  <a:gd name="T21" fmla="*/ 410 h 954"/>
                  <a:gd name="T22" fmla="*/ 813 w 872"/>
                  <a:gd name="T23" fmla="*/ 361 h 954"/>
                  <a:gd name="T24" fmla="*/ 772 w 872"/>
                  <a:gd name="T25" fmla="*/ 312 h 954"/>
                  <a:gd name="T26" fmla="*/ 721 w 872"/>
                  <a:gd name="T27" fmla="*/ 266 h 954"/>
                  <a:gd name="T28" fmla="*/ 666 w 872"/>
                  <a:gd name="T29" fmla="*/ 226 h 954"/>
                  <a:gd name="T30" fmla="*/ 605 w 872"/>
                  <a:gd name="T31" fmla="*/ 189 h 954"/>
                  <a:gd name="T32" fmla="*/ 542 w 872"/>
                  <a:gd name="T33" fmla="*/ 157 h 954"/>
                  <a:gd name="T34" fmla="*/ 476 w 872"/>
                  <a:gd name="T35" fmla="*/ 127 h 954"/>
                  <a:gd name="T36" fmla="*/ 410 w 872"/>
                  <a:gd name="T37" fmla="*/ 101 h 954"/>
                  <a:gd name="T38" fmla="*/ 344 w 872"/>
                  <a:gd name="T39" fmla="*/ 79 h 954"/>
                  <a:gd name="T40" fmla="*/ 250 w 872"/>
                  <a:gd name="T41" fmla="*/ 51 h 954"/>
                  <a:gd name="T42" fmla="*/ 138 w 872"/>
                  <a:gd name="T43" fmla="*/ 26 h 954"/>
                  <a:gd name="T44" fmla="*/ 54 w 872"/>
                  <a:gd name="T45" fmla="*/ 9 h 954"/>
                  <a:gd name="T46" fmla="*/ 6 w 872"/>
                  <a:gd name="T47" fmla="*/ 1 h 954"/>
                  <a:gd name="T48" fmla="*/ 1 w 872"/>
                  <a:gd name="T49" fmla="*/ 8 h 954"/>
                  <a:gd name="T50" fmla="*/ 3 w 872"/>
                  <a:gd name="T51" fmla="*/ 54 h 954"/>
                  <a:gd name="T52" fmla="*/ 9 w 872"/>
                  <a:gd name="T53" fmla="*/ 140 h 954"/>
                  <a:gd name="T54" fmla="*/ 19 w 872"/>
                  <a:gd name="T55" fmla="*/ 249 h 954"/>
                  <a:gd name="T56" fmla="*/ 34 w 872"/>
                  <a:gd name="T57" fmla="*/ 373 h 954"/>
                  <a:gd name="T58" fmla="*/ 54 w 872"/>
                  <a:gd name="T59" fmla="*/ 498 h 954"/>
                  <a:gd name="T60" fmla="*/ 72 w 872"/>
                  <a:gd name="T61" fmla="*/ 588 h 954"/>
                  <a:gd name="T62" fmla="*/ 86 w 872"/>
                  <a:gd name="T63" fmla="*/ 642 h 954"/>
                  <a:gd name="T64" fmla="*/ 102 w 872"/>
                  <a:gd name="T65" fmla="*/ 691 h 954"/>
                  <a:gd name="T66" fmla="*/ 120 w 872"/>
                  <a:gd name="T67" fmla="*/ 732 h 954"/>
                  <a:gd name="T68" fmla="*/ 149 w 872"/>
                  <a:gd name="T69" fmla="*/ 782 h 954"/>
                  <a:gd name="T70" fmla="*/ 190 w 872"/>
                  <a:gd name="T71" fmla="*/ 835 h 954"/>
                  <a:gd name="T72" fmla="*/ 235 w 872"/>
                  <a:gd name="T73" fmla="*/ 878 h 954"/>
                  <a:gd name="T74" fmla="*/ 280 w 872"/>
                  <a:gd name="T75" fmla="*/ 910 h 954"/>
                  <a:gd name="T76" fmla="*/ 326 w 872"/>
                  <a:gd name="T77" fmla="*/ 932 h 954"/>
                  <a:gd name="T78" fmla="*/ 372 w 872"/>
                  <a:gd name="T79" fmla="*/ 946 h 954"/>
                  <a:gd name="T80" fmla="*/ 417 w 872"/>
                  <a:gd name="T81" fmla="*/ 953 h 954"/>
                  <a:gd name="T82" fmla="*/ 461 w 872"/>
                  <a:gd name="T83" fmla="*/ 954 h 954"/>
                  <a:gd name="T84" fmla="*/ 503 w 872"/>
                  <a:gd name="T85" fmla="*/ 951 h 954"/>
                  <a:gd name="T86" fmla="*/ 542 w 872"/>
                  <a:gd name="T87" fmla="*/ 945 h 954"/>
                  <a:gd name="T88" fmla="*/ 578 w 872"/>
                  <a:gd name="T89" fmla="*/ 935 h 954"/>
                  <a:gd name="T90" fmla="*/ 609 w 872"/>
                  <a:gd name="T91" fmla="*/ 924 h 954"/>
                  <a:gd name="T92" fmla="*/ 664 w 872"/>
                  <a:gd name="T93" fmla="*/ 899 h 9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2" h="954">
                    <a:moveTo>
                      <a:pt x="680" y="890"/>
                    </a:moveTo>
                    <a:lnTo>
                      <a:pt x="694" y="878"/>
                    </a:lnTo>
                    <a:lnTo>
                      <a:pt x="729" y="841"/>
                    </a:lnTo>
                    <a:lnTo>
                      <a:pt x="751" y="816"/>
                    </a:lnTo>
                    <a:lnTo>
                      <a:pt x="776" y="785"/>
                    </a:lnTo>
                    <a:lnTo>
                      <a:pt x="787" y="768"/>
                    </a:lnTo>
                    <a:lnTo>
                      <a:pt x="799" y="751"/>
                    </a:lnTo>
                    <a:lnTo>
                      <a:pt x="811" y="732"/>
                    </a:lnTo>
                    <a:lnTo>
                      <a:pt x="822" y="713"/>
                    </a:lnTo>
                    <a:lnTo>
                      <a:pt x="832" y="692"/>
                    </a:lnTo>
                    <a:lnTo>
                      <a:pt x="842" y="671"/>
                    </a:lnTo>
                    <a:lnTo>
                      <a:pt x="850" y="650"/>
                    </a:lnTo>
                    <a:lnTo>
                      <a:pt x="858" y="627"/>
                    </a:lnTo>
                    <a:lnTo>
                      <a:pt x="863" y="605"/>
                    </a:lnTo>
                    <a:lnTo>
                      <a:pt x="868" y="582"/>
                    </a:lnTo>
                    <a:lnTo>
                      <a:pt x="870" y="558"/>
                    </a:lnTo>
                    <a:lnTo>
                      <a:pt x="872" y="534"/>
                    </a:lnTo>
                    <a:lnTo>
                      <a:pt x="870" y="510"/>
                    </a:lnTo>
                    <a:lnTo>
                      <a:pt x="867" y="485"/>
                    </a:lnTo>
                    <a:lnTo>
                      <a:pt x="862" y="460"/>
                    </a:lnTo>
                    <a:lnTo>
                      <a:pt x="855" y="436"/>
                    </a:lnTo>
                    <a:lnTo>
                      <a:pt x="843" y="410"/>
                    </a:lnTo>
                    <a:lnTo>
                      <a:pt x="830" y="386"/>
                    </a:lnTo>
                    <a:lnTo>
                      <a:pt x="813" y="361"/>
                    </a:lnTo>
                    <a:lnTo>
                      <a:pt x="794" y="336"/>
                    </a:lnTo>
                    <a:lnTo>
                      <a:pt x="772" y="312"/>
                    </a:lnTo>
                    <a:lnTo>
                      <a:pt x="747" y="289"/>
                    </a:lnTo>
                    <a:lnTo>
                      <a:pt x="721" y="266"/>
                    </a:lnTo>
                    <a:lnTo>
                      <a:pt x="694" y="246"/>
                    </a:lnTo>
                    <a:lnTo>
                      <a:pt x="666" y="226"/>
                    </a:lnTo>
                    <a:lnTo>
                      <a:pt x="636" y="207"/>
                    </a:lnTo>
                    <a:lnTo>
                      <a:pt x="605" y="189"/>
                    </a:lnTo>
                    <a:lnTo>
                      <a:pt x="574" y="173"/>
                    </a:lnTo>
                    <a:lnTo>
                      <a:pt x="542" y="157"/>
                    </a:lnTo>
                    <a:lnTo>
                      <a:pt x="509" y="141"/>
                    </a:lnTo>
                    <a:lnTo>
                      <a:pt x="476" y="127"/>
                    </a:lnTo>
                    <a:lnTo>
                      <a:pt x="443" y="114"/>
                    </a:lnTo>
                    <a:lnTo>
                      <a:pt x="410" y="101"/>
                    </a:lnTo>
                    <a:lnTo>
                      <a:pt x="377" y="90"/>
                    </a:lnTo>
                    <a:lnTo>
                      <a:pt x="344" y="79"/>
                    </a:lnTo>
                    <a:lnTo>
                      <a:pt x="312" y="69"/>
                    </a:lnTo>
                    <a:lnTo>
                      <a:pt x="250" y="51"/>
                    </a:lnTo>
                    <a:lnTo>
                      <a:pt x="191" y="37"/>
                    </a:lnTo>
                    <a:lnTo>
                      <a:pt x="138" y="26"/>
                    </a:lnTo>
                    <a:lnTo>
                      <a:pt x="92" y="16"/>
                    </a:lnTo>
                    <a:lnTo>
                      <a:pt x="54" y="9"/>
                    </a:lnTo>
                    <a:lnTo>
                      <a:pt x="25" y="4"/>
                    </a:lnTo>
                    <a:lnTo>
                      <a:pt x="6" y="1"/>
                    </a:lnTo>
                    <a:lnTo>
                      <a:pt x="0" y="0"/>
                    </a:lnTo>
                    <a:lnTo>
                      <a:pt x="1" y="8"/>
                    </a:lnTo>
                    <a:lnTo>
                      <a:pt x="2" y="26"/>
                    </a:lnTo>
                    <a:lnTo>
                      <a:pt x="3" y="54"/>
                    </a:lnTo>
                    <a:lnTo>
                      <a:pt x="6" y="93"/>
                    </a:lnTo>
                    <a:lnTo>
                      <a:pt x="9" y="140"/>
                    </a:lnTo>
                    <a:lnTo>
                      <a:pt x="14" y="192"/>
                    </a:lnTo>
                    <a:lnTo>
                      <a:pt x="19" y="249"/>
                    </a:lnTo>
                    <a:lnTo>
                      <a:pt x="26" y="310"/>
                    </a:lnTo>
                    <a:lnTo>
                      <a:pt x="34" y="373"/>
                    </a:lnTo>
                    <a:lnTo>
                      <a:pt x="44" y="436"/>
                    </a:lnTo>
                    <a:lnTo>
                      <a:pt x="54" y="498"/>
                    </a:lnTo>
                    <a:lnTo>
                      <a:pt x="66" y="559"/>
                    </a:lnTo>
                    <a:lnTo>
                      <a:pt x="72" y="588"/>
                    </a:lnTo>
                    <a:lnTo>
                      <a:pt x="79" y="616"/>
                    </a:lnTo>
                    <a:lnTo>
                      <a:pt x="86" y="642"/>
                    </a:lnTo>
                    <a:lnTo>
                      <a:pt x="94" y="668"/>
                    </a:lnTo>
                    <a:lnTo>
                      <a:pt x="102" y="691"/>
                    </a:lnTo>
                    <a:lnTo>
                      <a:pt x="111" y="713"/>
                    </a:lnTo>
                    <a:lnTo>
                      <a:pt x="120" y="732"/>
                    </a:lnTo>
                    <a:lnTo>
                      <a:pt x="129" y="750"/>
                    </a:lnTo>
                    <a:lnTo>
                      <a:pt x="149" y="782"/>
                    </a:lnTo>
                    <a:lnTo>
                      <a:pt x="169" y="809"/>
                    </a:lnTo>
                    <a:lnTo>
                      <a:pt x="190" y="835"/>
                    </a:lnTo>
                    <a:lnTo>
                      <a:pt x="213" y="857"/>
                    </a:lnTo>
                    <a:lnTo>
                      <a:pt x="235" y="878"/>
                    </a:lnTo>
                    <a:lnTo>
                      <a:pt x="257" y="895"/>
                    </a:lnTo>
                    <a:lnTo>
                      <a:pt x="280" y="910"/>
                    </a:lnTo>
                    <a:lnTo>
                      <a:pt x="303" y="921"/>
                    </a:lnTo>
                    <a:lnTo>
                      <a:pt x="326" y="932"/>
                    </a:lnTo>
                    <a:lnTo>
                      <a:pt x="349" y="940"/>
                    </a:lnTo>
                    <a:lnTo>
                      <a:pt x="372" y="946"/>
                    </a:lnTo>
                    <a:lnTo>
                      <a:pt x="395" y="950"/>
                    </a:lnTo>
                    <a:lnTo>
                      <a:pt x="417" y="953"/>
                    </a:lnTo>
                    <a:lnTo>
                      <a:pt x="439" y="954"/>
                    </a:lnTo>
                    <a:lnTo>
                      <a:pt x="461" y="954"/>
                    </a:lnTo>
                    <a:lnTo>
                      <a:pt x="482" y="953"/>
                    </a:lnTo>
                    <a:lnTo>
                      <a:pt x="503" y="951"/>
                    </a:lnTo>
                    <a:lnTo>
                      <a:pt x="522" y="948"/>
                    </a:lnTo>
                    <a:lnTo>
                      <a:pt x="542" y="945"/>
                    </a:lnTo>
                    <a:lnTo>
                      <a:pt x="561" y="939"/>
                    </a:lnTo>
                    <a:lnTo>
                      <a:pt x="578" y="935"/>
                    </a:lnTo>
                    <a:lnTo>
                      <a:pt x="594" y="930"/>
                    </a:lnTo>
                    <a:lnTo>
                      <a:pt x="609" y="924"/>
                    </a:lnTo>
                    <a:lnTo>
                      <a:pt x="623" y="919"/>
                    </a:lnTo>
                    <a:lnTo>
                      <a:pt x="664" y="899"/>
                    </a:lnTo>
                    <a:lnTo>
                      <a:pt x="680" y="8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81" name="Freeform 99">
                <a:extLst>
                  <a:ext uri="{FF2B5EF4-FFF2-40B4-BE49-F238E27FC236}">
                    <a16:creationId xmlns:a16="http://schemas.microsoft.com/office/drawing/2014/main" id="{6B25B17A-B48A-44E6-850F-A7EBD97A0D11}"/>
                  </a:ext>
                </a:extLst>
              </p:cNvPr>
              <p:cNvSpPr>
                <a:spLocks/>
              </p:cNvSpPr>
              <p:nvPr/>
            </p:nvSpPr>
            <p:spPr bwMode="auto">
              <a:xfrm>
                <a:off x="1476375" y="3384550"/>
                <a:ext cx="244475" cy="231775"/>
              </a:xfrm>
              <a:custGeom>
                <a:avLst/>
                <a:gdLst>
                  <a:gd name="T0" fmla="*/ 74 w 773"/>
                  <a:gd name="T1" fmla="*/ 0 h 728"/>
                  <a:gd name="T2" fmla="*/ 773 w 773"/>
                  <a:gd name="T3" fmla="*/ 647 h 728"/>
                  <a:gd name="T4" fmla="*/ 699 w 773"/>
                  <a:gd name="T5" fmla="*/ 728 h 728"/>
                  <a:gd name="T6" fmla="*/ 0 w 773"/>
                  <a:gd name="T7" fmla="*/ 80 h 728"/>
                  <a:gd name="T8" fmla="*/ 74 w 773"/>
                  <a:gd name="T9" fmla="*/ 0 h 728"/>
                </a:gdLst>
                <a:ahLst/>
                <a:cxnLst>
                  <a:cxn ang="0">
                    <a:pos x="T0" y="T1"/>
                  </a:cxn>
                  <a:cxn ang="0">
                    <a:pos x="T2" y="T3"/>
                  </a:cxn>
                  <a:cxn ang="0">
                    <a:pos x="T4" y="T5"/>
                  </a:cxn>
                  <a:cxn ang="0">
                    <a:pos x="T6" y="T7"/>
                  </a:cxn>
                  <a:cxn ang="0">
                    <a:pos x="T8" y="T9"/>
                  </a:cxn>
                </a:cxnLst>
                <a:rect l="0" t="0" r="r" b="b"/>
                <a:pathLst>
                  <a:path w="773" h="728">
                    <a:moveTo>
                      <a:pt x="74" y="0"/>
                    </a:moveTo>
                    <a:lnTo>
                      <a:pt x="773" y="647"/>
                    </a:lnTo>
                    <a:lnTo>
                      <a:pt x="699" y="728"/>
                    </a:lnTo>
                    <a:lnTo>
                      <a:pt x="0" y="80"/>
                    </a:lnTo>
                    <a:lnTo>
                      <a:pt x="7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grpSp>
          <p:nvGrpSpPr>
            <p:cNvPr id="9" name="Group 128">
              <a:extLst>
                <a:ext uri="{FF2B5EF4-FFF2-40B4-BE49-F238E27FC236}">
                  <a16:creationId xmlns:a16="http://schemas.microsoft.com/office/drawing/2014/main" id="{C4245EA0-0490-4B0E-AE01-A820ED210B4B}"/>
                </a:ext>
              </a:extLst>
            </p:cNvPr>
            <p:cNvGrpSpPr/>
            <p:nvPr/>
          </p:nvGrpSpPr>
          <p:grpSpPr>
            <a:xfrm>
              <a:off x="3390900" y="1757363"/>
              <a:ext cx="1603375" cy="4732338"/>
              <a:chOff x="3390900" y="1757363"/>
              <a:chExt cx="1603375" cy="4732338"/>
            </a:xfrm>
            <a:solidFill>
              <a:schemeClr val="accent2"/>
            </a:solidFill>
          </p:grpSpPr>
          <p:sp>
            <p:nvSpPr>
              <p:cNvPr id="65" name="Freeform 8">
                <a:extLst>
                  <a:ext uri="{FF2B5EF4-FFF2-40B4-BE49-F238E27FC236}">
                    <a16:creationId xmlns:a16="http://schemas.microsoft.com/office/drawing/2014/main" id="{E4965D8F-EA86-4B49-9614-AEEE754279CC}"/>
                  </a:ext>
                </a:extLst>
              </p:cNvPr>
              <p:cNvSpPr>
                <a:spLocks/>
              </p:cNvSpPr>
              <p:nvPr/>
            </p:nvSpPr>
            <p:spPr bwMode="auto">
              <a:xfrm>
                <a:off x="4570413" y="2867025"/>
                <a:ext cx="219075" cy="184150"/>
              </a:xfrm>
              <a:custGeom>
                <a:avLst/>
                <a:gdLst>
                  <a:gd name="T0" fmla="*/ 688 w 688"/>
                  <a:gd name="T1" fmla="*/ 85 h 580"/>
                  <a:gd name="T2" fmla="*/ 67 w 688"/>
                  <a:gd name="T3" fmla="*/ 580 h 580"/>
                  <a:gd name="T4" fmla="*/ 0 w 688"/>
                  <a:gd name="T5" fmla="*/ 495 h 580"/>
                  <a:gd name="T6" fmla="*/ 621 w 688"/>
                  <a:gd name="T7" fmla="*/ 0 h 580"/>
                  <a:gd name="T8" fmla="*/ 688 w 688"/>
                  <a:gd name="T9" fmla="*/ 85 h 580"/>
                </a:gdLst>
                <a:ahLst/>
                <a:cxnLst>
                  <a:cxn ang="0">
                    <a:pos x="T0" y="T1"/>
                  </a:cxn>
                  <a:cxn ang="0">
                    <a:pos x="T2" y="T3"/>
                  </a:cxn>
                  <a:cxn ang="0">
                    <a:pos x="T4" y="T5"/>
                  </a:cxn>
                  <a:cxn ang="0">
                    <a:pos x="T6" y="T7"/>
                  </a:cxn>
                  <a:cxn ang="0">
                    <a:pos x="T8" y="T9"/>
                  </a:cxn>
                </a:cxnLst>
                <a:rect l="0" t="0" r="r" b="b"/>
                <a:pathLst>
                  <a:path w="688" h="580">
                    <a:moveTo>
                      <a:pt x="688" y="85"/>
                    </a:moveTo>
                    <a:lnTo>
                      <a:pt x="67" y="580"/>
                    </a:lnTo>
                    <a:lnTo>
                      <a:pt x="0" y="495"/>
                    </a:lnTo>
                    <a:lnTo>
                      <a:pt x="621" y="0"/>
                    </a:lnTo>
                    <a:lnTo>
                      <a:pt x="688" y="8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66" name="Freeform 12">
                <a:extLst>
                  <a:ext uri="{FF2B5EF4-FFF2-40B4-BE49-F238E27FC236}">
                    <a16:creationId xmlns:a16="http://schemas.microsoft.com/office/drawing/2014/main" id="{02FB3B8B-8610-406B-A2D9-FD67AE11369F}"/>
                  </a:ext>
                </a:extLst>
              </p:cNvPr>
              <p:cNvSpPr>
                <a:spLocks/>
              </p:cNvSpPr>
              <p:nvPr/>
            </p:nvSpPr>
            <p:spPr bwMode="auto">
              <a:xfrm>
                <a:off x="4168775" y="1757363"/>
                <a:ext cx="825500" cy="827088"/>
              </a:xfrm>
              <a:custGeom>
                <a:avLst/>
                <a:gdLst>
                  <a:gd name="T0" fmla="*/ 2593 w 2600"/>
                  <a:gd name="T1" fmla="*/ 1434 h 2602"/>
                  <a:gd name="T2" fmla="*/ 2559 w 2600"/>
                  <a:gd name="T3" fmla="*/ 1627 h 2602"/>
                  <a:gd name="T4" fmla="*/ 2498 w 2600"/>
                  <a:gd name="T5" fmla="*/ 1808 h 2602"/>
                  <a:gd name="T6" fmla="*/ 2412 w 2600"/>
                  <a:gd name="T7" fmla="*/ 1976 h 2602"/>
                  <a:gd name="T8" fmla="*/ 2303 w 2600"/>
                  <a:gd name="T9" fmla="*/ 2128 h 2602"/>
                  <a:gd name="T10" fmla="*/ 2174 w 2600"/>
                  <a:gd name="T11" fmla="*/ 2264 h 2602"/>
                  <a:gd name="T12" fmla="*/ 2026 w 2600"/>
                  <a:gd name="T13" fmla="*/ 2380 h 2602"/>
                  <a:gd name="T14" fmla="*/ 1864 w 2600"/>
                  <a:gd name="T15" fmla="*/ 2473 h 2602"/>
                  <a:gd name="T16" fmla="*/ 1687 w 2600"/>
                  <a:gd name="T17" fmla="*/ 2544 h 2602"/>
                  <a:gd name="T18" fmla="*/ 1497 w 2600"/>
                  <a:gd name="T19" fmla="*/ 2587 h 2602"/>
                  <a:gd name="T20" fmla="*/ 1300 w 2600"/>
                  <a:gd name="T21" fmla="*/ 2602 h 2602"/>
                  <a:gd name="T22" fmla="*/ 1103 w 2600"/>
                  <a:gd name="T23" fmla="*/ 2587 h 2602"/>
                  <a:gd name="T24" fmla="*/ 913 w 2600"/>
                  <a:gd name="T25" fmla="*/ 2544 h 2602"/>
                  <a:gd name="T26" fmla="*/ 736 w 2600"/>
                  <a:gd name="T27" fmla="*/ 2473 h 2602"/>
                  <a:gd name="T28" fmla="*/ 574 w 2600"/>
                  <a:gd name="T29" fmla="*/ 2380 h 2602"/>
                  <a:gd name="T30" fmla="*/ 426 w 2600"/>
                  <a:gd name="T31" fmla="*/ 2264 h 2602"/>
                  <a:gd name="T32" fmla="*/ 297 w 2600"/>
                  <a:gd name="T33" fmla="*/ 2128 h 2602"/>
                  <a:gd name="T34" fmla="*/ 188 w 2600"/>
                  <a:gd name="T35" fmla="*/ 1976 h 2602"/>
                  <a:gd name="T36" fmla="*/ 102 w 2600"/>
                  <a:gd name="T37" fmla="*/ 1808 h 2602"/>
                  <a:gd name="T38" fmla="*/ 41 w 2600"/>
                  <a:gd name="T39" fmla="*/ 1627 h 2602"/>
                  <a:gd name="T40" fmla="*/ 7 w 2600"/>
                  <a:gd name="T41" fmla="*/ 1434 h 2602"/>
                  <a:gd name="T42" fmla="*/ 2 w 2600"/>
                  <a:gd name="T43" fmla="*/ 1235 h 2602"/>
                  <a:gd name="T44" fmla="*/ 26 w 2600"/>
                  <a:gd name="T45" fmla="*/ 1039 h 2602"/>
                  <a:gd name="T46" fmla="*/ 79 w 2600"/>
                  <a:gd name="T47" fmla="*/ 855 h 2602"/>
                  <a:gd name="T48" fmla="*/ 157 w 2600"/>
                  <a:gd name="T49" fmla="*/ 681 h 2602"/>
                  <a:gd name="T50" fmla="*/ 259 w 2600"/>
                  <a:gd name="T51" fmla="*/ 523 h 2602"/>
                  <a:gd name="T52" fmla="*/ 381 w 2600"/>
                  <a:gd name="T53" fmla="*/ 382 h 2602"/>
                  <a:gd name="T54" fmla="*/ 522 w 2600"/>
                  <a:gd name="T55" fmla="*/ 259 h 2602"/>
                  <a:gd name="T56" fmla="*/ 680 w 2600"/>
                  <a:gd name="T57" fmla="*/ 158 h 2602"/>
                  <a:gd name="T58" fmla="*/ 853 w 2600"/>
                  <a:gd name="T59" fmla="*/ 79 h 2602"/>
                  <a:gd name="T60" fmla="*/ 1038 w 2600"/>
                  <a:gd name="T61" fmla="*/ 27 h 2602"/>
                  <a:gd name="T62" fmla="*/ 1233 w 2600"/>
                  <a:gd name="T63" fmla="*/ 3 h 2602"/>
                  <a:gd name="T64" fmla="*/ 1432 w 2600"/>
                  <a:gd name="T65" fmla="*/ 8 h 2602"/>
                  <a:gd name="T66" fmla="*/ 1625 w 2600"/>
                  <a:gd name="T67" fmla="*/ 42 h 2602"/>
                  <a:gd name="T68" fmla="*/ 1806 w 2600"/>
                  <a:gd name="T69" fmla="*/ 103 h 2602"/>
                  <a:gd name="T70" fmla="*/ 1974 w 2600"/>
                  <a:gd name="T71" fmla="*/ 189 h 2602"/>
                  <a:gd name="T72" fmla="*/ 2126 w 2600"/>
                  <a:gd name="T73" fmla="*/ 298 h 2602"/>
                  <a:gd name="T74" fmla="*/ 2262 w 2600"/>
                  <a:gd name="T75" fmla="*/ 426 h 2602"/>
                  <a:gd name="T76" fmla="*/ 2378 w 2600"/>
                  <a:gd name="T77" fmla="*/ 574 h 2602"/>
                  <a:gd name="T78" fmla="*/ 2471 w 2600"/>
                  <a:gd name="T79" fmla="*/ 737 h 2602"/>
                  <a:gd name="T80" fmla="*/ 2541 w 2600"/>
                  <a:gd name="T81" fmla="*/ 914 h 2602"/>
                  <a:gd name="T82" fmla="*/ 2585 w 2600"/>
                  <a:gd name="T83" fmla="*/ 1104 h 2602"/>
                  <a:gd name="T84" fmla="*/ 2600 w 2600"/>
                  <a:gd name="T85" fmla="*/ 1301 h 26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600" h="2602">
                    <a:moveTo>
                      <a:pt x="2600" y="1301"/>
                    </a:moveTo>
                    <a:lnTo>
                      <a:pt x="2598" y="1368"/>
                    </a:lnTo>
                    <a:lnTo>
                      <a:pt x="2593" y="1434"/>
                    </a:lnTo>
                    <a:lnTo>
                      <a:pt x="2585" y="1499"/>
                    </a:lnTo>
                    <a:lnTo>
                      <a:pt x="2573" y="1564"/>
                    </a:lnTo>
                    <a:lnTo>
                      <a:pt x="2559" y="1627"/>
                    </a:lnTo>
                    <a:lnTo>
                      <a:pt x="2541" y="1688"/>
                    </a:lnTo>
                    <a:lnTo>
                      <a:pt x="2521" y="1748"/>
                    </a:lnTo>
                    <a:lnTo>
                      <a:pt x="2498" y="1808"/>
                    </a:lnTo>
                    <a:lnTo>
                      <a:pt x="2471" y="1865"/>
                    </a:lnTo>
                    <a:lnTo>
                      <a:pt x="2443" y="1922"/>
                    </a:lnTo>
                    <a:lnTo>
                      <a:pt x="2412" y="1976"/>
                    </a:lnTo>
                    <a:lnTo>
                      <a:pt x="2378" y="2028"/>
                    </a:lnTo>
                    <a:lnTo>
                      <a:pt x="2341" y="2079"/>
                    </a:lnTo>
                    <a:lnTo>
                      <a:pt x="2303" y="2128"/>
                    </a:lnTo>
                    <a:lnTo>
                      <a:pt x="2262" y="2176"/>
                    </a:lnTo>
                    <a:lnTo>
                      <a:pt x="2219" y="2221"/>
                    </a:lnTo>
                    <a:lnTo>
                      <a:pt x="2174" y="2264"/>
                    </a:lnTo>
                    <a:lnTo>
                      <a:pt x="2126" y="2305"/>
                    </a:lnTo>
                    <a:lnTo>
                      <a:pt x="2077" y="2343"/>
                    </a:lnTo>
                    <a:lnTo>
                      <a:pt x="2026" y="2380"/>
                    </a:lnTo>
                    <a:lnTo>
                      <a:pt x="1974" y="2414"/>
                    </a:lnTo>
                    <a:lnTo>
                      <a:pt x="1920" y="2445"/>
                    </a:lnTo>
                    <a:lnTo>
                      <a:pt x="1864" y="2473"/>
                    </a:lnTo>
                    <a:lnTo>
                      <a:pt x="1806" y="2500"/>
                    </a:lnTo>
                    <a:lnTo>
                      <a:pt x="1746" y="2523"/>
                    </a:lnTo>
                    <a:lnTo>
                      <a:pt x="1687" y="2544"/>
                    </a:lnTo>
                    <a:lnTo>
                      <a:pt x="1625" y="2561"/>
                    </a:lnTo>
                    <a:lnTo>
                      <a:pt x="1562" y="2576"/>
                    </a:lnTo>
                    <a:lnTo>
                      <a:pt x="1497" y="2587"/>
                    </a:lnTo>
                    <a:lnTo>
                      <a:pt x="1432" y="2595"/>
                    </a:lnTo>
                    <a:lnTo>
                      <a:pt x="1366" y="2600"/>
                    </a:lnTo>
                    <a:lnTo>
                      <a:pt x="1300" y="2602"/>
                    </a:lnTo>
                    <a:lnTo>
                      <a:pt x="1233" y="2600"/>
                    </a:lnTo>
                    <a:lnTo>
                      <a:pt x="1167" y="2595"/>
                    </a:lnTo>
                    <a:lnTo>
                      <a:pt x="1103" y="2587"/>
                    </a:lnTo>
                    <a:lnTo>
                      <a:pt x="1038" y="2576"/>
                    </a:lnTo>
                    <a:lnTo>
                      <a:pt x="975" y="2561"/>
                    </a:lnTo>
                    <a:lnTo>
                      <a:pt x="913" y="2544"/>
                    </a:lnTo>
                    <a:lnTo>
                      <a:pt x="853" y="2523"/>
                    </a:lnTo>
                    <a:lnTo>
                      <a:pt x="794" y="2500"/>
                    </a:lnTo>
                    <a:lnTo>
                      <a:pt x="736" y="2473"/>
                    </a:lnTo>
                    <a:lnTo>
                      <a:pt x="680" y="2445"/>
                    </a:lnTo>
                    <a:lnTo>
                      <a:pt x="626" y="2414"/>
                    </a:lnTo>
                    <a:lnTo>
                      <a:pt x="574" y="2380"/>
                    </a:lnTo>
                    <a:lnTo>
                      <a:pt x="522" y="2343"/>
                    </a:lnTo>
                    <a:lnTo>
                      <a:pt x="474" y="2305"/>
                    </a:lnTo>
                    <a:lnTo>
                      <a:pt x="426" y="2264"/>
                    </a:lnTo>
                    <a:lnTo>
                      <a:pt x="381" y="2221"/>
                    </a:lnTo>
                    <a:lnTo>
                      <a:pt x="338" y="2176"/>
                    </a:lnTo>
                    <a:lnTo>
                      <a:pt x="297" y="2128"/>
                    </a:lnTo>
                    <a:lnTo>
                      <a:pt x="259" y="2079"/>
                    </a:lnTo>
                    <a:lnTo>
                      <a:pt x="222" y="2028"/>
                    </a:lnTo>
                    <a:lnTo>
                      <a:pt x="188" y="1976"/>
                    </a:lnTo>
                    <a:lnTo>
                      <a:pt x="157" y="1922"/>
                    </a:lnTo>
                    <a:lnTo>
                      <a:pt x="129" y="1865"/>
                    </a:lnTo>
                    <a:lnTo>
                      <a:pt x="102" y="1808"/>
                    </a:lnTo>
                    <a:lnTo>
                      <a:pt x="79" y="1748"/>
                    </a:lnTo>
                    <a:lnTo>
                      <a:pt x="58" y="1688"/>
                    </a:lnTo>
                    <a:lnTo>
                      <a:pt x="41" y="1627"/>
                    </a:lnTo>
                    <a:lnTo>
                      <a:pt x="26" y="1564"/>
                    </a:lnTo>
                    <a:lnTo>
                      <a:pt x="15" y="1499"/>
                    </a:lnTo>
                    <a:lnTo>
                      <a:pt x="7" y="1434"/>
                    </a:lnTo>
                    <a:lnTo>
                      <a:pt x="2" y="1368"/>
                    </a:lnTo>
                    <a:lnTo>
                      <a:pt x="0" y="1301"/>
                    </a:lnTo>
                    <a:lnTo>
                      <a:pt x="2" y="1235"/>
                    </a:lnTo>
                    <a:lnTo>
                      <a:pt x="7" y="1169"/>
                    </a:lnTo>
                    <a:lnTo>
                      <a:pt x="15" y="1104"/>
                    </a:lnTo>
                    <a:lnTo>
                      <a:pt x="26" y="1039"/>
                    </a:lnTo>
                    <a:lnTo>
                      <a:pt x="41" y="976"/>
                    </a:lnTo>
                    <a:lnTo>
                      <a:pt x="58" y="914"/>
                    </a:lnTo>
                    <a:lnTo>
                      <a:pt x="79" y="855"/>
                    </a:lnTo>
                    <a:lnTo>
                      <a:pt x="102" y="795"/>
                    </a:lnTo>
                    <a:lnTo>
                      <a:pt x="129" y="737"/>
                    </a:lnTo>
                    <a:lnTo>
                      <a:pt x="157" y="681"/>
                    </a:lnTo>
                    <a:lnTo>
                      <a:pt x="188" y="627"/>
                    </a:lnTo>
                    <a:lnTo>
                      <a:pt x="222" y="574"/>
                    </a:lnTo>
                    <a:lnTo>
                      <a:pt x="259" y="523"/>
                    </a:lnTo>
                    <a:lnTo>
                      <a:pt x="297" y="474"/>
                    </a:lnTo>
                    <a:lnTo>
                      <a:pt x="338" y="426"/>
                    </a:lnTo>
                    <a:lnTo>
                      <a:pt x="381" y="382"/>
                    </a:lnTo>
                    <a:lnTo>
                      <a:pt x="426" y="339"/>
                    </a:lnTo>
                    <a:lnTo>
                      <a:pt x="474" y="298"/>
                    </a:lnTo>
                    <a:lnTo>
                      <a:pt x="522" y="259"/>
                    </a:lnTo>
                    <a:lnTo>
                      <a:pt x="574" y="223"/>
                    </a:lnTo>
                    <a:lnTo>
                      <a:pt x="626" y="189"/>
                    </a:lnTo>
                    <a:lnTo>
                      <a:pt x="680" y="158"/>
                    </a:lnTo>
                    <a:lnTo>
                      <a:pt x="736" y="129"/>
                    </a:lnTo>
                    <a:lnTo>
                      <a:pt x="794" y="103"/>
                    </a:lnTo>
                    <a:lnTo>
                      <a:pt x="853" y="79"/>
                    </a:lnTo>
                    <a:lnTo>
                      <a:pt x="913" y="59"/>
                    </a:lnTo>
                    <a:lnTo>
                      <a:pt x="975" y="42"/>
                    </a:lnTo>
                    <a:lnTo>
                      <a:pt x="1038" y="27"/>
                    </a:lnTo>
                    <a:lnTo>
                      <a:pt x="1103" y="15"/>
                    </a:lnTo>
                    <a:lnTo>
                      <a:pt x="1167" y="8"/>
                    </a:lnTo>
                    <a:lnTo>
                      <a:pt x="1233" y="3"/>
                    </a:lnTo>
                    <a:lnTo>
                      <a:pt x="1300" y="0"/>
                    </a:lnTo>
                    <a:lnTo>
                      <a:pt x="1366" y="3"/>
                    </a:lnTo>
                    <a:lnTo>
                      <a:pt x="1432" y="8"/>
                    </a:lnTo>
                    <a:lnTo>
                      <a:pt x="1497" y="15"/>
                    </a:lnTo>
                    <a:lnTo>
                      <a:pt x="1562" y="27"/>
                    </a:lnTo>
                    <a:lnTo>
                      <a:pt x="1625" y="42"/>
                    </a:lnTo>
                    <a:lnTo>
                      <a:pt x="1687" y="59"/>
                    </a:lnTo>
                    <a:lnTo>
                      <a:pt x="1746" y="79"/>
                    </a:lnTo>
                    <a:lnTo>
                      <a:pt x="1806" y="103"/>
                    </a:lnTo>
                    <a:lnTo>
                      <a:pt x="1864" y="129"/>
                    </a:lnTo>
                    <a:lnTo>
                      <a:pt x="1920" y="158"/>
                    </a:lnTo>
                    <a:lnTo>
                      <a:pt x="1974" y="189"/>
                    </a:lnTo>
                    <a:lnTo>
                      <a:pt x="2026" y="223"/>
                    </a:lnTo>
                    <a:lnTo>
                      <a:pt x="2077" y="259"/>
                    </a:lnTo>
                    <a:lnTo>
                      <a:pt x="2126" y="298"/>
                    </a:lnTo>
                    <a:lnTo>
                      <a:pt x="2174" y="339"/>
                    </a:lnTo>
                    <a:lnTo>
                      <a:pt x="2219" y="382"/>
                    </a:lnTo>
                    <a:lnTo>
                      <a:pt x="2262" y="426"/>
                    </a:lnTo>
                    <a:lnTo>
                      <a:pt x="2303" y="474"/>
                    </a:lnTo>
                    <a:lnTo>
                      <a:pt x="2341" y="523"/>
                    </a:lnTo>
                    <a:lnTo>
                      <a:pt x="2378" y="574"/>
                    </a:lnTo>
                    <a:lnTo>
                      <a:pt x="2412" y="627"/>
                    </a:lnTo>
                    <a:lnTo>
                      <a:pt x="2443" y="681"/>
                    </a:lnTo>
                    <a:lnTo>
                      <a:pt x="2471" y="737"/>
                    </a:lnTo>
                    <a:lnTo>
                      <a:pt x="2498" y="795"/>
                    </a:lnTo>
                    <a:lnTo>
                      <a:pt x="2521" y="855"/>
                    </a:lnTo>
                    <a:lnTo>
                      <a:pt x="2541" y="914"/>
                    </a:lnTo>
                    <a:lnTo>
                      <a:pt x="2559" y="976"/>
                    </a:lnTo>
                    <a:lnTo>
                      <a:pt x="2573" y="1039"/>
                    </a:lnTo>
                    <a:lnTo>
                      <a:pt x="2585" y="1104"/>
                    </a:lnTo>
                    <a:lnTo>
                      <a:pt x="2593" y="1169"/>
                    </a:lnTo>
                    <a:lnTo>
                      <a:pt x="2598" y="1235"/>
                    </a:lnTo>
                    <a:lnTo>
                      <a:pt x="2600" y="13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67" name="Rectangle 44">
                <a:extLst>
                  <a:ext uri="{FF2B5EF4-FFF2-40B4-BE49-F238E27FC236}">
                    <a16:creationId xmlns:a16="http://schemas.microsoft.com/office/drawing/2014/main" id="{8382847D-7C9B-4A95-99BD-746951F91FF9}"/>
                  </a:ext>
                </a:extLst>
              </p:cNvPr>
              <p:cNvSpPr>
                <a:spLocks noChangeArrowheads="1"/>
              </p:cNvSpPr>
              <p:nvPr/>
            </p:nvSpPr>
            <p:spPr bwMode="auto">
              <a:xfrm>
                <a:off x="4551363" y="2441575"/>
                <a:ext cx="60325" cy="5969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68" name="Freeform 45">
                <a:extLst>
                  <a:ext uri="{FF2B5EF4-FFF2-40B4-BE49-F238E27FC236}">
                    <a16:creationId xmlns:a16="http://schemas.microsoft.com/office/drawing/2014/main" id="{163B78D0-3BB9-4422-BDF3-CF222FE74830}"/>
                  </a:ext>
                </a:extLst>
              </p:cNvPr>
              <p:cNvSpPr>
                <a:spLocks noEditPoints="1"/>
              </p:cNvSpPr>
              <p:nvPr/>
            </p:nvSpPr>
            <p:spPr bwMode="auto">
              <a:xfrm>
                <a:off x="4319588" y="3038475"/>
                <a:ext cx="292100" cy="292100"/>
              </a:xfrm>
              <a:custGeom>
                <a:avLst/>
                <a:gdLst>
                  <a:gd name="T0" fmla="*/ 918 w 918"/>
                  <a:gd name="T1" fmla="*/ 24 h 920"/>
                  <a:gd name="T2" fmla="*/ 916 w 918"/>
                  <a:gd name="T3" fmla="*/ 71 h 920"/>
                  <a:gd name="T4" fmla="*/ 912 w 918"/>
                  <a:gd name="T5" fmla="*/ 118 h 920"/>
                  <a:gd name="T6" fmla="*/ 904 w 918"/>
                  <a:gd name="T7" fmla="*/ 163 h 920"/>
                  <a:gd name="T8" fmla="*/ 895 w 918"/>
                  <a:gd name="T9" fmla="*/ 208 h 920"/>
                  <a:gd name="T10" fmla="*/ 884 w 918"/>
                  <a:gd name="T11" fmla="*/ 252 h 920"/>
                  <a:gd name="T12" fmla="*/ 870 w 918"/>
                  <a:gd name="T13" fmla="*/ 295 h 920"/>
                  <a:gd name="T14" fmla="*/ 855 w 918"/>
                  <a:gd name="T15" fmla="*/ 338 h 920"/>
                  <a:gd name="T16" fmla="*/ 837 w 918"/>
                  <a:gd name="T17" fmla="*/ 379 h 920"/>
                  <a:gd name="T18" fmla="*/ 818 w 918"/>
                  <a:gd name="T19" fmla="*/ 419 h 920"/>
                  <a:gd name="T20" fmla="*/ 797 w 918"/>
                  <a:gd name="T21" fmla="*/ 458 h 920"/>
                  <a:gd name="T22" fmla="*/ 773 w 918"/>
                  <a:gd name="T23" fmla="*/ 496 h 920"/>
                  <a:gd name="T24" fmla="*/ 736 w 918"/>
                  <a:gd name="T25" fmla="*/ 551 h 920"/>
                  <a:gd name="T26" fmla="*/ 680 w 918"/>
                  <a:gd name="T27" fmla="*/ 619 h 920"/>
                  <a:gd name="T28" fmla="*/ 514 w 918"/>
                  <a:gd name="T29" fmla="*/ 515 h 920"/>
                  <a:gd name="T30" fmla="*/ 561 w 918"/>
                  <a:gd name="T31" fmla="*/ 464 h 920"/>
                  <a:gd name="T32" fmla="*/ 603 w 918"/>
                  <a:gd name="T33" fmla="*/ 407 h 920"/>
                  <a:gd name="T34" fmla="*/ 639 w 918"/>
                  <a:gd name="T35" fmla="*/ 348 h 920"/>
                  <a:gd name="T36" fmla="*/ 670 w 918"/>
                  <a:gd name="T37" fmla="*/ 284 h 920"/>
                  <a:gd name="T38" fmla="*/ 695 w 918"/>
                  <a:gd name="T39" fmla="*/ 217 h 920"/>
                  <a:gd name="T40" fmla="*/ 713 w 918"/>
                  <a:gd name="T41" fmla="*/ 147 h 920"/>
                  <a:gd name="T42" fmla="*/ 723 w 918"/>
                  <a:gd name="T43" fmla="*/ 75 h 920"/>
                  <a:gd name="T44" fmla="*/ 728 w 918"/>
                  <a:gd name="T45" fmla="*/ 0 h 920"/>
                  <a:gd name="T46" fmla="*/ 650 w 918"/>
                  <a:gd name="T47" fmla="*/ 651 h 920"/>
                  <a:gd name="T48" fmla="*/ 584 w 918"/>
                  <a:gd name="T49" fmla="*/ 710 h 920"/>
                  <a:gd name="T50" fmla="*/ 514 w 918"/>
                  <a:gd name="T51" fmla="*/ 763 h 920"/>
                  <a:gd name="T52" fmla="*/ 477 w 918"/>
                  <a:gd name="T53" fmla="*/ 786 h 920"/>
                  <a:gd name="T54" fmla="*/ 438 w 918"/>
                  <a:gd name="T55" fmla="*/ 809 h 920"/>
                  <a:gd name="T56" fmla="*/ 398 w 918"/>
                  <a:gd name="T57" fmla="*/ 829 h 920"/>
                  <a:gd name="T58" fmla="*/ 357 w 918"/>
                  <a:gd name="T59" fmla="*/ 848 h 920"/>
                  <a:gd name="T60" fmla="*/ 316 w 918"/>
                  <a:gd name="T61" fmla="*/ 864 h 920"/>
                  <a:gd name="T62" fmla="*/ 273 w 918"/>
                  <a:gd name="T63" fmla="*/ 879 h 920"/>
                  <a:gd name="T64" fmla="*/ 230 w 918"/>
                  <a:gd name="T65" fmla="*/ 891 h 920"/>
                  <a:gd name="T66" fmla="*/ 185 w 918"/>
                  <a:gd name="T67" fmla="*/ 901 h 920"/>
                  <a:gd name="T68" fmla="*/ 140 w 918"/>
                  <a:gd name="T69" fmla="*/ 909 h 920"/>
                  <a:gd name="T70" fmla="*/ 93 w 918"/>
                  <a:gd name="T71" fmla="*/ 915 h 920"/>
                  <a:gd name="T72" fmla="*/ 47 w 918"/>
                  <a:gd name="T73" fmla="*/ 919 h 920"/>
                  <a:gd name="T74" fmla="*/ 0 w 918"/>
                  <a:gd name="T75" fmla="*/ 920 h 920"/>
                  <a:gd name="T76" fmla="*/ 37 w 918"/>
                  <a:gd name="T77" fmla="*/ 728 h 920"/>
                  <a:gd name="T78" fmla="*/ 110 w 918"/>
                  <a:gd name="T79" fmla="*/ 720 h 920"/>
                  <a:gd name="T80" fmla="*/ 182 w 918"/>
                  <a:gd name="T81" fmla="*/ 706 h 920"/>
                  <a:gd name="T82" fmla="*/ 250 w 918"/>
                  <a:gd name="T83" fmla="*/ 684 h 920"/>
                  <a:gd name="T84" fmla="*/ 315 w 918"/>
                  <a:gd name="T85" fmla="*/ 657 h 920"/>
                  <a:gd name="T86" fmla="*/ 376 w 918"/>
                  <a:gd name="T87" fmla="*/ 624 h 920"/>
                  <a:gd name="T88" fmla="*/ 435 w 918"/>
                  <a:gd name="T89" fmla="*/ 584 h 920"/>
                  <a:gd name="T90" fmla="*/ 489 w 918"/>
                  <a:gd name="T91" fmla="*/ 539 h 920"/>
                  <a:gd name="T92" fmla="*/ 650 w 918"/>
                  <a:gd name="T93" fmla="*/ 651 h 9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918" h="920">
                    <a:moveTo>
                      <a:pt x="918" y="0"/>
                    </a:moveTo>
                    <a:lnTo>
                      <a:pt x="918" y="24"/>
                    </a:lnTo>
                    <a:lnTo>
                      <a:pt x="917" y="47"/>
                    </a:lnTo>
                    <a:lnTo>
                      <a:pt x="916" y="71"/>
                    </a:lnTo>
                    <a:lnTo>
                      <a:pt x="914" y="94"/>
                    </a:lnTo>
                    <a:lnTo>
                      <a:pt x="912" y="118"/>
                    </a:lnTo>
                    <a:lnTo>
                      <a:pt x="909" y="140"/>
                    </a:lnTo>
                    <a:lnTo>
                      <a:pt x="904" y="163"/>
                    </a:lnTo>
                    <a:lnTo>
                      <a:pt x="900" y="186"/>
                    </a:lnTo>
                    <a:lnTo>
                      <a:pt x="895" y="208"/>
                    </a:lnTo>
                    <a:lnTo>
                      <a:pt x="889" y="231"/>
                    </a:lnTo>
                    <a:lnTo>
                      <a:pt x="884" y="252"/>
                    </a:lnTo>
                    <a:lnTo>
                      <a:pt x="878" y="274"/>
                    </a:lnTo>
                    <a:lnTo>
                      <a:pt x="870" y="295"/>
                    </a:lnTo>
                    <a:lnTo>
                      <a:pt x="863" y="317"/>
                    </a:lnTo>
                    <a:lnTo>
                      <a:pt x="855" y="338"/>
                    </a:lnTo>
                    <a:lnTo>
                      <a:pt x="847" y="358"/>
                    </a:lnTo>
                    <a:lnTo>
                      <a:pt x="837" y="379"/>
                    </a:lnTo>
                    <a:lnTo>
                      <a:pt x="828" y="399"/>
                    </a:lnTo>
                    <a:lnTo>
                      <a:pt x="818" y="419"/>
                    </a:lnTo>
                    <a:lnTo>
                      <a:pt x="808" y="439"/>
                    </a:lnTo>
                    <a:lnTo>
                      <a:pt x="797" y="458"/>
                    </a:lnTo>
                    <a:lnTo>
                      <a:pt x="785" y="478"/>
                    </a:lnTo>
                    <a:lnTo>
                      <a:pt x="773" y="496"/>
                    </a:lnTo>
                    <a:lnTo>
                      <a:pt x="762" y="515"/>
                    </a:lnTo>
                    <a:lnTo>
                      <a:pt x="736" y="551"/>
                    </a:lnTo>
                    <a:lnTo>
                      <a:pt x="709" y="585"/>
                    </a:lnTo>
                    <a:lnTo>
                      <a:pt x="680" y="619"/>
                    </a:lnTo>
                    <a:lnTo>
                      <a:pt x="650" y="651"/>
                    </a:lnTo>
                    <a:lnTo>
                      <a:pt x="514" y="515"/>
                    </a:lnTo>
                    <a:lnTo>
                      <a:pt x="538" y="490"/>
                    </a:lnTo>
                    <a:lnTo>
                      <a:pt x="561" y="464"/>
                    </a:lnTo>
                    <a:lnTo>
                      <a:pt x="583" y="436"/>
                    </a:lnTo>
                    <a:lnTo>
                      <a:pt x="603" y="407"/>
                    </a:lnTo>
                    <a:lnTo>
                      <a:pt x="622" y="377"/>
                    </a:lnTo>
                    <a:lnTo>
                      <a:pt x="639" y="348"/>
                    </a:lnTo>
                    <a:lnTo>
                      <a:pt x="655" y="316"/>
                    </a:lnTo>
                    <a:lnTo>
                      <a:pt x="670" y="284"/>
                    </a:lnTo>
                    <a:lnTo>
                      <a:pt x="683" y="251"/>
                    </a:lnTo>
                    <a:lnTo>
                      <a:pt x="695" y="217"/>
                    </a:lnTo>
                    <a:lnTo>
                      <a:pt x="704" y="183"/>
                    </a:lnTo>
                    <a:lnTo>
                      <a:pt x="713" y="147"/>
                    </a:lnTo>
                    <a:lnTo>
                      <a:pt x="719" y="111"/>
                    </a:lnTo>
                    <a:lnTo>
                      <a:pt x="723" y="75"/>
                    </a:lnTo>
                    <a:lnTo>
                      <a:pt x="727" y="38"/>
                    </a:lnTo>
                    <a:lnTo>
                      <a:pt x="728" y="0"/>
                    </a:lnTo>
                    <a:lnTo>
                      <a:pt x="918" y="0"/>
                    </a:lnTo>
                    <a:close/>
                    <a:moveTo>
                      <a:pt x="650" y="651"/>
                    </a:moveTo>
                    <a:lnTo>
                      <a:pt x="618" y="681"/>
                    </a:lnTo>
                    <a:lnTo>
                      <a:pt x="584" y="710"/>
                    </a:lnTo>
                    <a:lnTo>
                      <a:pt x="550" y="737"/>
                    </a:lnTo>
                    <a:lnTo>
                      <a:pt x="514" y="763"/>
                    </a:lnTo>
                    <a:lnTo>
                      <a:pt x="495" y="775"/>
                    </a:lnTo>
                    <a:lnTo>
                      <a:pt x="477" y="786"/>
                    </a:lnTo>
                    <a:lnTo>
                      <a:pt x="457" y="798"/>
                    </a:lnTo>
                    <a:lnTo>
                      <a:pt x="438" y="809"/>
                    </a:lnTo>
                    <a:lnTo>
                      <a:pt x="418" y="819"/>
                    </a:lnTo>
                    <a:lnTo>
                      <a:pt x="398" y="829"/>
                    </a:lnTo>
                    <a:lnTo>
                      <a:pt x="378" y="839"/>
                    </a:lnTo>
                    <a:lnTo>
                      <a:pt x="357" y="848"/>
                    </a:lnTo>
                    <a:lnTo>
                      <a:pt x="337" y="857"/>
                    </a:lnTo>
                    <a:lnTo>
                      <a:pt x="316" y="864"/>
                    </a:lnTo>
                    <a:lnTo>
                      <a:pt x="295" y="872"/>
                    </a:lnTo>
                    <a:lnTo>
                      <a:pt x="273" y="879"/>
                    </a:lnTo>
                    <a:lnTo>
                      <a:pt x="251" y="885"/>
                    </a:lnTo>
                    <a:lnTo>
                      <a:pt x="230" y="891"/>
                    </a:lnTo>
                    <a:lnTo>
                      <a:pt x="207" y="896"/>
                    </a:lnTo>
                    <a:lnTo>
                      <a:pt x="185" y="901"/>
                    </a:lnTo>
                    <a:lnTo>
                      <a:pt x="163" y="906"/>
                    </a:lnTo>
                    <a:lnTo>
                      <a:pt x="140" y="909"/>
                    </a:lnTo>
                    <a:lnTo>
                      <a:pt x="117" y="913"/>
                    </a:lnTo>
                    <a:lnTo>
                      <a:pt x="93" y="915"/>
                    </a:lnTo>
                    <a:lnTo>
                      <a:pt x="70" y="917"/>
                    </a:lnTo>
                    <a:lnTo>
                      <a:pt x="47" y="919"/>
                    </a:lnTo>
                    <a:lnTo>
                      <a:pt x="23" y="920"/>
                    </a:lnTo>
                    <a:lnTo>
                      <a:pt x="0" y="920"/>
                    </a:lnTo>
                    <a:lnTo>
                      <a:pt x="0" y="728"/>
                    </a:lnTo>
                    <a:lnTo>
                      <a:pt x="37" y="728"/>
                    </a:lnTo>
                    <a:lnTo>
                      <a:pt x="74" y="725"/>
                    </a:lnTo>
                    <a:lnTo>
                      <a:pt x="110" y="720"/>
                    </a:lnTo>
                    <a:lnTo>
                      <a:pt x="147" y="714"/>
                    </a:lnTo>
                    <a:lnTo>
                      <a:pt x="182" y="706"/>
                    </a:lnTo>
                    <a:lnTo>
                      <a:pt x="216" y="696"/>
                    </a:lnTo>
                    <a:lnTo>
                      <a:pt x="250" y="684"/>
                    </a:lnTo>
                    <a:lnTo>
                      <a:pt x="283" y="671"/>
                    </a:lnTo>
                    <a:lnTo>
                      <a:pt x="315" y="657"/>
                    </a:lnTo>
                    <a:lnTo>
                      <a:pt x="347" y="641"/>
                    </a:lnTo>
                    <a:lnTo>
                      <a:pt x="376" y="624"/>
                    </a:lnTo>
                    <a:lnTo>
                      <a:pt x="406" y="604"/>
                    </a:lnTo>
                    <a:lnTo>
                      <a:pt x="435" y="584"/>
                    </a:lnTo>
                    <a:lnTo>
                      <a:pt x="463" y="562"/>
                    </a:lnTo>
                    <a:lnTo>
                      <a:pt x="489" y="539"/>
                    </a:lnTo>
                    <a:lnTo>
                      <a:pt x="514" y="515"/>
                    </a:lnTo>
                    <a:lnTo>
                      <a:pt x="650" y="6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69" name="Rectangle 46">
                <a:extLst>
                  <a:ext uri="{FF2B5EF4-FFF2-40B4-BE49-F238E27FC236}">
                    <a16:creationId xmlns:a16="http://schemas.microsoft.com/office/drawing/2014/main" id="{02F75960-B198-43A6-B1C9-18745A6C1776}"/>
                  </a:ext>
                </a:extLst>
              </p:cNvPr>
              <p:cNvSpPr>
                <a:spLocks noChangeArrowheads="1"/>
              </p:cNvSpPr>
              <p:nvPr/>
            </p:nvSpPr>
            <p:spPr bwMode="auto">
              <a:xfrm>
                <a:off x="3714750" y="3268663"/>
                <a:ext cx="604838"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70" name="Freeform 47">
                <a:extLst>
                  <a:ext uri="{FF2B5EF4-FFF2-40B4-BE49-F238E27FC236}">
                    <a16:creationId xmlns:a16="http://schemas.microsoft.com/office/drawing/2014/main" id="{6993C3F8-653E-4DD1-91BC-F6FC2E3D7479}"/>
                  </a:ext>
                </a:extLst>
              </p:cNvPr>
              <p:cNvSpPr>
                <a:spLocks noEditPoints="1"/>
              </p:cNvSpPr>
              <p:nvPr/>
            </p:nvSpPr>
            <p:spPr bwMode="auto">
              <a:xfrm>
                <a:off x="3390900" y="3268663"/>
                <a:ext cx="323850" cy="323850"/>
              </a:xfrm>
              <a:custGeom>
                <a:avLst/>
                <a:gdLst>
                  <a:gd name="T0" fmla="*/ 996 w 1017"/>
                  <a:gd name="T1" fmla="*/ 193 h 1018"/>
                  <a:gd name="T2" fmla="*/ 953 w 1017"/>
                  <a:gd name="T3" fmla="*/ 195 h 1018"/>
                  <a:gd name="T4" fmla="*/ 892 w 1017"/>
                  <a:gd name="T5" fmla="*/ 201 h 1018"/>
                  <a:gd name="T6" fmla="*/ 811 w 1017"/>
                  <a:gd name="T7" fmla="*/ 218 h 1018"/>
                  <a:gd name="T8" fmla="*/ 733 w 1017"/>
                  <a:gd name="T9" fmla="*/ 243 h 1018"/>
                  <a:gd name="T10" fmla="*/ 660 w 1017"/>
                  <a:gd name="T11" fmla="*/ 274 h 1018"/>
                  <a:gd name="T12" fmla="*/ 589 w 1017"/>
                  <a:gd name="T13" fmla="*/ 312 h 1018"/>
                  <a:gd name="T14" fmla="*/ 524 w 1017"/>
                  <a:gd name="T15" fmla="*/ 357 h 1018"/>
                  <a:gd name="T16" fmla="*/ 462 w 1017"/>
                  <a:gd name="T17" fmla="*/ 407 h 1018"/>
                  <a:gd name="T18" fmla="*/ 298 w 1017"/>
                  <a:gd name="T19" fmla="*/ 298 h 1018"/>
                  <a:gd name="T20" fmla="*/ 333 w 1017"/>
                  <a:gd name="T21" fmla="*/ 265 h 1018"/>
                  <a:gd name="T22" fmla="*/ 370 w 1017"/>
                  <a:gd name="T23" fmla="*/ 233 h 1018"/>
                  <a:gd name="T24" fmla="*/ 409 w 1017"/>
                  <a:gd name="T25" fmla="*/ 202 h 1018"/>
                  <a:gd name="T26" fmla="*/ 449 w 1017"/>
                  <a:gd name="T27" fmla="*/ 175 h 1018"/>
                  <a:gd name="T28" fmla="*/ 489 w 1017"/>
                  <a:gd name="T29" fmla="*/ 148 h 1018"/>
                  <a:gd name="T30" fmla="*/ 532 w 1017"/>
                  <a:gd name="T31" fmla="*/ 123 h 1018"/>
                  <a:gd name="T32" fmla="*/ 577 w 1017"/>
                  <a:gd name="T33" fmla="*/ 101 h 1018"/>
                  <a:gd name="T34" fmla="*/ 621 w 1017"/>
                  <a:gd name="T35" fmla="*/ 81 h 1018"/>
                  <a:gd name="T36" fmla="*/ 667 w 1017"/>
                  <a:gd name="T37" fmla="*/ 62 h 1018"/>
                  <a:gd name="T38" fmla="*/ 715 w 1017"/>
                  <a:gd name="T39" fmla="*/ 46 h 1018"/>
                  <a:gd name="T40" fmla="*/ 763 w 1017"/>
                  <a:gd name="T41" fmla="*/ 33 h 1018"/>
                  <a:gd name="T42" fmla="*/ 812 w 1017"/>
                  <a:gd name="T43" fmla="*/ 21 h 1018"/>
                  <a:gd name="T44" fmla="*/ 862 w 1017"/>
                  <a:gd name="T45" fmla="*/ 12 h 1018"/>
                  <a:gd name="T46" fmla="*/ 913 w 1017"/>
                  <a:gd name="T47" fmla="*/ 5 h 1018"/>
                  <a:gd name="T48" fmla="*/ 965 w 1017"/>
                  <a:gd name="T49" fmla="*/ 2 h 1018"/>
                  <a:gd name="T50" fmla="*/ 1017 w 1017"/>
                  <a:gd name="T51" fmla="*/ 0 h 1018"/>
                  <a:gd name="T52" fmla="*/ 433 w 1017"/>
                  <a:gd name="T53" fmla="*/ 434 h 1018"/>
                  <a:gd name="T54" fmla="*/ 380 w 1017"/>
                  <a:gd name="T55" fmla="*/ 493 h 1018"/>
                  <a:gd name="T56" fmla="*/ 333 w 1017"/>
                  <a:gd name="T57" fmla="*/ 556 h 1018"/>
                  <a:gd name="T58" fmla="*/ 291 w 1017"/>
                  <a:gd name="T59" fmla="*/ 624 h 1018"/>
                  <a:gd name="T60" fmla="*/ 256 w 1017"/>
                  <a:gd name="T61" fmla="*/ 696 h 1018"/>
                  <a:gd name="T62" fmla="*/ 229 w 1017"/>
                  <a:gd name="T63" fmla="*/ 772 h 1018"/>
                  <a:gd name="T64" fmla="*/ 208 w 1017"/>
                  <a:gd name="T65" fmla="*/ 852 h 1018"/>
                  <a:gd name="T66" fmla="*/ 196 w 1017"/>
                  <a:gd name="T67" fmla="*/ 934 h 1018"/>
                  <a:gd name="T68" fmla="*/ 192 w 1017"/>
                  <a:gd name="T69" fmla="*/ 975 h 1018"/>
                  <a:gd name="T70" fmla="*/ 191 w 1017"/>
                  <a:gd name="T71" fmla="*/ 1018 h 1018"/>
                  <a:gd name="T72" fmla="*/ 1 w 1017"/>
                  <a:gd name="T73" fmla="*/ 991 h 1018"/>
                  <a:gd name="T74" fmla="*/ 3 w 1017"/>
                  <a:gd name="T75" fmla="*/ 939 h 1018"/>
                  <a:gd name="T76" fmla="*/ 8 w 1017"/>
                  <a:gd name="T77" fmla="*/ 888 h 1018"/>
                  <a:gd name="T78" fmla="*/ 16 w 1017"/>
                  <a:gd name="T79" fmla="*/ 838 h 1018"/>
                  <a:gd name="T80" fmla="*/ 26 w 1017"/>
                  <a:gd name="T81" fmla="*/ 788 h 1018"/>
                  <a:gd name="T82" fmla="*/ 39 w 1017"/>
                  <a:gd name="T83" fmla="*/ 739 h 1018"/>
                  <a:gd name="T84" fmla="*/ 53 w 1017"/>
                  <a:gd name="T85" fmla="*/ 692 h 1018"/>
                  <a:gd name="T86" fmla="*/ 71 w 1017"/>
                  <a:gd name="T87" fmla="*/ 645 h 1018"/>
                  <a:gd name="T88" fmla="*/ 90 w 1017"/>
                  <a:gd name="T89" fmla="*/ 599 h 1018"/>
                  <a:gd name="T90" fmla="*/ 112 w 1017"/>
                  <a:gd name="T91" fmla="*/ 555 h 1018"/>
                  <a:gd name="T92" fmla="*/ 135 w 1017"/>
                  <a:gd name="T93" fmla="*/ 511 h 1018"/>
                  <a:gd name="T94" fmla="*/ 161 w 1017"/>
                  <a:gd name="T95" fmla="*/ 470 h 1018"/>
                  <a:gd name="T96" fmla="*/ 188 w 1017"/>
                  <a:gd name="T97" fmla="*/ 429 h 1018"/>
                  <a:gd name="T98" fmla="*/ 217 w 1017"/>
                  <a:gd name="T99" fmla="*/ 390 h 1018"/>
                  <a:gd name="T100" fmla="*/ 248 w 1017"/>
                  <a:gd name="T101" fmla="*/ 352 h 1018"/>
                  <a:gd name="T102" fmla="*/ 281 w 1017"/>
                  <a:gd name="T103" fmla="*/ 316 h 1018"/>
                  <a:gd name="T104" fmla="*/ 433 w 1017"/>
                  <a:gd name="T105" fmla="*/ 434 h 10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17" h="1018">
                    <a:moveTo>
                      <a:pt x="1017" y="192"/>
                    </a:moveTo>
                    <a:lnTo>
                      <a:pt x="996" y="193"/>
                    </a:lnTo>
                    <a:lnTo>
                      <a:pt x="975" y="193"/>
                    </a:lnTo>
                    <a:lnTo>
                      <a:pt x="953" y="195"/>
                    </a:lnTo>
                    <a:lnTo>
                      <a:pt x="932" y="196"/>
                    </a:lnTo>
                    <a:lnTo>
                      <a:pt x="892" y="201"/>
                    </a:lnTo>
                    <a:lnTo>
                      <a:pt x="850" y="209"/>
                    </a:lnTo>
                    <a:lnTo>
                      <a:pt x="811" y="218"/>
                    </a:lnTo>
                    <a:lnTo>
                      <a:pt x="771" y="229"/>
                    </a:lnTo>
                    <a:lnTo>
                      <a:pt x="733" y="243"/>
                    </a:lnTo>
                    <a:lnTo>
                      <a:pt x="696" y="257"/>
                    </a:lnTo>
                    <a:lnTo>
                      <a:pt x="660" y="274"/>
                    </a:lnTo>
                    <a:lnTo>
                      <a:pt x="624" y="292"/>
                    </a:lnTo>
                    <a:lnTo>
                      <a:pt x="589" y="312"/>
                    </a:lnTo>
                    <a:lnTo>
                      <a:pt x="555" y="333"/>
                    </a:lnTo>
                    <a:lnTo>
                      <a:pt x="524" y="357"/>
                    </a:lnTo>
                    <a:lnTo>
                      <a:pt x="492" y="381"/>
                    </a:lnTo>
                    <a:lnTo>
                      <a:pt x="462" y="407"/>
                    </a:lnTo>
                    <a:lnTo>
                      <a:pt x="433" y="434"/>
                    </a:lnTo>
                    <a:lnTo>
                      <a:pt x="298" y="298"/>
                    </a:lnTo>
                    <a:lnTo>
                      <a:pt x="316" y="281"/>
                    </a:lnTo>
                    <a:lnTo>
                      <a:pt x="333" y="265"/>
                    </a:lnTo>
                    <a:lnTo>
                      <a:pt x="351" y="248"/>
                    </a:lnTo>
                    <a:lnTo>
                      <a:pt x="370" y="233"/>
                    </a:lnTo>
                    <a:lnTo>
                      <a:pt x="389" y="217"/>
                    </a:lnTo>
                    <a:lnTo>
                      <a:pt x="409" y="202"/>
                    </a:lnTo>
                    <a:lnTo>
                      <a:pt x="429" y="188"/>
                    </a:lnTo>
                    <a:lnTo>
                      <a:pt x="449" y="175"/>
                    </a:lnTo>
                    <a:lnTo>
                      <a:pt x="469" y="161"/>
                    </a:lnTo>
                    <a:lnTo>
                      <a:pt x="489" y="148"/>
                    </a:lnTo>
                    <a:lnTo>
                      <a:pt x="511" y="135"/>
                    </a:lnTo>
                    <a:lnTo>
                      <a:pt x="532" y="123"/>
                    </a:lnTo>
                    <a:lnTo>
                      <a:pt x="554" y="112"/>
                    </a:lnTo>
                    <a:lnTo>
                      <a:pt x="577" y="101"/>
                    </a:lnTo>
                    <a:lnTo>
                      <a:pt x="599" y="90"/>
                    </a:lnTo>
                    <a:lnTo>
                      <a:pt x="621" y="81"/>
                    </a:lnTo>
                    <a:lnTo>
                      <a:pt x="644" y="71"/>
                    </a:lnTo>
                    <a:lnTo>
                      <a:pt x="667" y="62"/>
                    </a:lnTo>
                    <a:lnTo>
                      <a:pt x="691" y="54"/>
                    </a:lnTo>
                    <a:lnTo>
                      <a:pt x="715" y="46"/>
                    </a:lnTo>
                    <a:lnTo>
                      <a:pt x="738" y="39"/>
                    </a:lnTo>
                    <a:lnTo>
                      <a:pt x="763" y="33"/>
                    </a:lnTo>
                    <a:lnTo>
                      <a:pt x="787" y="27"/>
                    </a:lnTo>
                    <a:lnTo>
                      <a:pt x="812" y="21"/>
                    </a:lnTo>
                    <a:lnTo>
                      <a:pt x="837" y="16"/>
                    </a:lnTo>
                    <a:lnTo>
                      <a:pt x="862" y="12"/>
                    </a:lnTo>
                    <a:lnTo>
                      <a:pt x="888" y="8"/>
                    </a:lnTo>
                    <a:lnTo>
                      <a:pt x="913" y="5"/>
                    </a:lnTo>
                    <a:lnTo>
                      <a:pt x="939" y="3"/>
                    </a:lnTo>
                    <a:lnTo>
                      <a:pt x="965" y="2"/>
                    </a:lnTo>
                    <a:lnTo>
                      <a:pt x="991" y="1"/>
                    </a:lnTo>
                    <a:lnTo>
                      <a:pt x="1017" y="0"/>
                    </a:lnTo>
                    <a:lnTo>
                      <a:pt x="1017" y="192"/>
                    </a:lnTo>
                    <a:close/>
                    <a:moveTo>
                      <a:pt x="433" y="434"/>
                    </a:moveTo>
                    <a:lnTo>
                      <a:pt x="406" y="463"/>
                    </a:lnTo>
                    <a:lnTo>
                      <a:pt x="380" y="493"/>
                    </a:lnTo>
                    <a:lnTo>
                      <a:pt x="355" y="524"/>
                    </a:lnTo>
                    <a:lnTo>
                      <a:pt x="333" y="556"/>
                    </a:lnTo>
                    <a:lnTo>
                      <a:pt x="311" y="590"/>
                    </a:lnTo>
                    <a:lnTo>
                      <a:pt x="291" y="624"/>
                    </a:lnTo>
                    <a:lnTo>
                      <a:pt x="273" y="660"/>
                    </a:lnTo>
                    <a:lnTo>
                      <a:pt x="256" y="696"/>
                    </a:lnTo>
                    <a:lnTo>
                      <a:pt x="241" y="734"/>
                    </a:lnTo>
                    <a:lnTo>
                      <a:pt x="229" y="772"/>
                    </a:lnTo>
                    <a:lnTo>
                      <a:pt x="218" y="811"/>
                    </a:lnTo>
                    <a:lnTo>
                      <a:pt x="208" y="852"/>
                    </a:lnTo>
                    <a:lnTo>
                      <a:pt x="201" y="892"/>
                    </a:lnTo>
                    <a:lnTo>
                      <a:pt x="196" y="934"/>
                    </a:lnTo>
                    <a:lnTo>
                      <a:pt x="194" y="954"/>
                    </a:lnTo>
                    <a:lnTo>
                      <a:pt x="192" y="975"/>
                    </a:lnTo>
                    <a:lnTo>
                      <a:pt x="191" y="997"/>
                    </a:lnTo>
                    <a:lnTo>
                      <a:pt x="191" y="1018"/>
                    </a:lnTo>
                    <a:lnTo>
                      <a:pt x="0" y="1018"/>
                    </a:lnTo>
                    <a:lnTo>
                      <a:pt x="1" y="991"/>
                    </a:lnTo>
                    <a:lnTo>
                      <a:pt x="2" y="966"/>
                    </a:lnTo>
                    <a:lnTo>
                      <a:pt x="3" y="939"/>
                    </a:lnTo>
                    <a:lnTo>
                      <a:pt x="5" y="914"/>
                    </a:lnTo>
                    <a:lnTo>
                      <a:pt x="8" y="888"/>
                    </a:lnTo>
                    <a:lnTo>
                      <a:pt x="12" y="863"/>
                    </a:lnTo>
                    <a:lnTo>
                      <a:pt x="16" y="838"/>
                    </a:lnTo>
                    <a:lnTo>
                      <a:pt x="21" y="812"/>
                    </a:lnTo>
                    <a:lnTo>
                      <a:pt x="26" y="788"/>
                    </a:lnTo>
                    <a:lnTo>
                      <a:pt x="32" y="763"/>
                    </a:lnTo>
                    <a:lnTo>
                      <a:pt x="39" y="739"/>
                    </a:lnTo>
                    <a:lnTo>
                      <a:pt x="46" y="716"/>
                    </a:lnTo>
                    <a:lnTo>
                      <a:pt x="53" y="692"/>
                    </a:lnTo>
                    <a:lnTo>
                      <a:pt x="62" y="668"/>
                    </a:lnTo>
                    <a:lnTo>
                      <a:pt x="71" y="645"/>
                    </a:lnTo>
                    <a:lnTo>
                      <a:pt x="80" y="622"/>
                    </a:lnTo>
                    <a:lnTo>
                      <a:pt x="90" y="599"/>
                    </a:lnTo>
                    <a:lnTo>
                      <a:pt x="100" y="577"/>
                    </a:lnTo>
                    <a:lnTo>
                      <a:pt x="112" y="555"/>
                    </a:lnTo>
                    <a:lnTo>
                      <a:pt x="123" y="533"/>
                    </a:lnTo>
                    <a:lnTo>
                      <a:pt x="135" y="511"/>
                    </a:lnTo>
                    <a:lnTo>
                      <a:pt x="148" y="491"/>
                    </a:lnTo>
                    <a:lnTo>
                      <a:pt x="161" y="470"/>
                    </a:lnTo>
                    <a:lnTo>
                      <a:pt x="173" y="449"/>
                    </a:lnTo>
                    <a:lnTo>
                      <a:pt x="188" y="429"/>
                    </a:lnTo>
                    <a:lnTo>
                      <a:pt x="202" y="409"/>
                    </a:lnTo>
                    <a:lnTo>
                      <a:pt x="217" y="390"/>
                    </a:lnTo>
                    <a:lnTo>
                      <a:pt x="232" y="370"/>
                    </a:lnTo>
                    <a:lnTo>
                      <a:pt x="248" y="352"/>
                    </a:lnTo>
                    <a:lnTo>
                      <a:pt x="264" y="334"/>
                    </a:lnTo>
                    <a:lnTo>
                      <a:pt x="281" y="316"/>
                    </a:lnTo>
                    <a:lnTo>
                      <a:pt x="298" y="298"/>
                    </a:lnTo>
                    <a:lnTo>
                      <a:pt x="433" y="4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71" name="Rectangle 48">
                <a:extLst>
                  <a:ext uri="{FF2B5EF4-FFF2-40B4-BE49-F238E27FC236}">
                    <a16:creationId xmlns:a16="http://schemas.microsoft.com/office/drawing/2014/main" id="{09F10263-5FD0-4230-875A-3EC70EF8A343}"/>
                  </a:ext>
                </a:extLst>
              </p:cNvPr>
              <p:cNvSpPr>
                <a:spLocks noChangeArrowheads="1"/>
              </p:cNvSpPr>
              <p:nvPr/>
            </p:nvSpPr>
            <p:spPr bwMode="auto">
              <a:xfrm>
                <a:off x="3390900" y="3592513"/>
                <a:ext cx="60325" cy="28971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72" name="Freeform 91">
                <a:extLst>
                  <a:ext uri="{FF2B5EF4-FFF2-40B4-BE49-F238E27FC236}">
                    <a16:creationId xmlns:a16="http://schemas.microsoft.com/office/drawing/2014/main" id="{82BABA9F-35D6-444C-A1C3-34C398656BDA}"/>
                  </a:ext>
                </a:extLst>
              </p:cNvPr>
              <p:cNvSpPr>
                <a:spLocks/>
              </p:cNvSpPr>
              <p:nvPr/>
            </p:nvSpPr>
            <p:spPr bwMode="auto">
              <a:xfrm>
                <a:off x="4254500" y="2589213"/>
                <a:ext cx="252413" cy="287338"/>
              </a:xfrm>
              <a:custGeom>
                <a:avLst/>
                <a:gdLst>
                  <a:gd name="T0" fmla="*/ 620 w 796"/>
                  <a:gd name="T1" fmla="*/ 839 h 904"/>
                  <a:gd name="T2" fmla="*/ 676 w 796"/>
                  <a:gd name="T3" fmla="*/ 783 h 904"/>
                  <a:gd name="T4" fmla="*/ 711 w 796"/>
                  <a:gd name="T5" fmla="*/ 740 h 904"/>
                  <a:gd name="T6" fmla="*/ 733 w 796"/>
                  <a:gd name="T7" fmla="*/ 707 h 904"/>
                  <a:gd name="T8" fmla="*/ 755 w 796"/>
                  <a:gd name="T9" fmla="*/ 671 h 904"/>
                  <a:gd name="T10" fmla="*/ 773 w 796"/>
                  <a:gd name="T11" fmla="*/ 632 h 904"/>
                  <a:gd name="T12" fmla="*/ 787 w 796"/>
                  <a:gd name="T13" fmla="*/ 590 h 904"/>
                  <a:gd name="T14" fmla="*/ 794 w 796"/>
                  <a:gd name="T15" fmla="*/ 547 h 904"/>
                  <a:gd name="T16" fmla="*/ 796 w 796"/>
                  <a:gd name="T17" fmla="*/ 502 h 904"/>
                  <a:gd name="T18" fmla="*/ 790 w 796"/>
                  <a:gd name="T19" fmla="*/ 456 h 904"/>
                  <a:gd name="T20" fmla="*/ 774 w 796"/>
                  <a:gd name="T21" fmla="*/ 408 h 904"/>
                  <a:gd name="T22" fmla="*/ 747 w 796"/>
                  <a:gd name="T23" fmla="*/ 361 h 904"/>
                  <a:gd name="T24" fmla="*/ 710 w 796"/>
                  <a:gd name="T25" fmla="*/ 314 h 904"/>
                  <a:gd name="T26" fmla="*/ 664 w 796"/>
                  <a:gd name="T27" fmla="*/ 271 h 904"/>
                  <a:gd name="T28" fmla="*/ 613 w 796"/>
                  <a:gd name="T29" fmla="*/ 230 h 904"/>
                  <a:gd name="T30" fmla="*/ 559 w 796"/>
                  <a:gd name="T31" fmla="*/ 195 h 904"/>
                  <a:gd name="T32" fmla="*/ 500 w 796"/>
                  <a:gd name="T33" fmla="*/ 162 h 904"/>
                  <a:gd name="T34" fmla="*/ 440 w 796"/>
                  <a:gd name="T35" fmla="*/ 133 h 904"/>
                  <a:gd name="T36" fmla="*/ 379 w 796"/>
                  <a:gd name="T37" fmla="*/ 107 h 904"/>
                  <a:gd name="T38" fmla="*/ 318 w 796"/>
                  <a:gd name="T39" fmla="*/ 84 h 904"/>
                  <a:gd name="T40" fmla="*/ 231 w 796"/>
                  <a:gd name="T41" fmla="*/ 56 h 904"/>
                  <a:gd name="T42" fmla="*/ 129 w 796"/>
                  <a:gd name="T43" fmla="*/ 28 h 904"/>
                  <a:gd name="T44" fmla="*/ 24 w 796"/>
                  <a:gd name="T45" fmla="*/ 4 h 904"/>
                  <a:gd name="T46" fmla="*/ 1 w 796"/>
                  <a:gd name="T47" fmla="*/ 24 h 904"/>
                  <a:gd name="T48" fmla="*/ 4 w 796"/>
                  <a:gd name="T49" fmla="*/ 130 h 904"/>
                  <a:gd name="T50" fmla="*/ 11 w 796"/>
                  <a:gd name="T51" fmla="*/ 232 h 904"/>
                  <a:gd name="T52" fmla="*/ 20 w 796"/>
                  <a:gd name="T53" fmla="*/ 348 h 904"/>
                  <a:gd name="T54" fmla="*/ 35 w 796"/>
                  <a:gd name="T55" fmla="*/ 466 h 904"/>
                  <a:gd name="T56" fmla="*/ 49 w 796"/>
                  <a:gd name="T57" fmla="*/ 550 h 904"/>
                  <a:gd name="T58" fmla="*/ 61 w 796"/>
                  <a:gd name="T59" fmla="*/ 601 h 904"/>
                  <a:gd name="T60" fmla="*/ 75 w 796"/>
                  <a:gd name="T61" fmla="*/ 647 h 904"/>
                  <a:gd name="T62" fmla="*/ 90 w 796"/>
                  <a:gd name="T63" fmla="*/ 686 h 904"/>
                  <a:gd name="T64" fmla="*/ 115 w 796"/>
                  <a:gd name="T65" fmla="*/ 733 h 904"/>
                  <a:gd name="T66" fmla="*/ 152 w 796"/>
                  <a:gd name="T67" fmla="*/ 784 h 904"/>
                  <a:gd name="T68" fmla="*/ 192 w 796"/>
                  <a:gd name="T69" fmla="*/ 824 h 904"/>
                  <a:gd name="T70" fmla="*/ 233 w 796"/>
                  <a:gd name="T71" fmla="*/ 856 h 904"/>
                  <a:gd name="T72" fmla="*/ 276 w 796"/>
                  <a:gd name="T73" fmla="*/ 879 h 904"/>
                  <a:gd name="T74" fmla="*/ 317 w 796"/>
                  <a:gd name="T75" fmla="*/ 893 h 904"/>
                  <a:gd name="T76" fmla="*/ 360 w 796"/>
                  <a:gd name="T77" fmla="*/ 901 h 904"/>
                  <a:gd name="T78" fmla="*/ 400 w 796"/>
                  <a:gd name="T79" fmla="*/ 904 h 904"/>
                  <a:gd name="T80" fmla="*/ 440 w 796"/>
                  <a:gd name="T81" fmla="*/ 902 h 904"/>
                  <a:gd name="T82" fmla="*/ 476 w 796"/>
                  <a:gd name="T83" fmla="*/ 897 h 904"/>
                  <a:gd name="T84" fmla="*/ 525 w 796"/>
                  <a:gd name="T85" fmla="*/ 884 h 904"/>
                  <a:gd name="T86" fmla="*/ 592 w 796"/>
                  <a:gd name="T87" fmla="*/ 859 h 9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96" h="904">
                    <a:moveTo>
                      <a:pt x="606" y="851"/>
                    </a:moveTo>
                    <a:lnTo>
                      <a:pt x="620" y="839"/>
                    </a:lnTo>
                    <a:lnTo>
                      <a:pt x="654" y="806"/>
                    </a:lnTo>
                    <a:lnTo>
                      <a:pt x="676" y="783"/>
                    </a:lnTo>
                    <a:lnTo>
                      <a:pt x="699" y="755"/>
                    </a:lnTo>
                    <a:lnTo>
                      <a:pt x="711" y="740"/>
                    </a:lnTo>
                    <a:lnTo>
                      <a:pt x="722" y="724"/>
                    </a:lnTo>
                    <a:lnTo>
                      <a:pt x="733" y="707"/>
                    </a:lnTo>
                    <a:lnTo>
                      <a:pt x="744" y="689"/>
                    </a:lnTo>
                    <a:lnTo>
                      <a:pt x="755" y="671"/>
                    </a:lnTo>
                    <a:lnTo>
                      <a:pt x="764" y="651"/>
                    </a:lnTo>
                    <a:lnTo>
                      <a:pt x="773" y="632"/>
                    </a:lnTo>
                    <a:lnTo>
                      <a:pt x="780" y="611"/>
                    </a:lnTo>
                    <a:lnTo>
                      <a:pt x="787" y="590"/>
                    </a:lnTo>
                    <a:lnTo>
                      <a:pt x="791" y="569"/>
                    </a:lnTo>
                    <a:lnTo>
                      <a:pt x="794" y="547"/>
                    </a:lnTo>
                    <a:lnTo>
                      <a:pt x="796" y="524"/>
                    </a:lnTo>
                    <a:lnTo>
                      <a:pt x="796" y="502"/>
                    </a:lnTo>
                    <a:lnTo>
                      <a:pt x="794" y="478"/>
                    </a:lnTo>
                    <a:lnTo>
                      <a:pt x="790" y="456"/>
                    </a:lnTo>
                    <a:lnTo>
                      <a:pt x="782" y="433"/>
                    </a:lnTo>
                    <a:lnTo>
                      <a:pt x="774" y="408"/>
                    </a:lnTo>
                    <a:lnTo>
                      <a:pt x="762" y="385"/>
                    </a:lnTo>
                    <a:lnTo>
                      <a:pt x="747" y="361"/>
                    </a:lnTo>
                    <a:lnTo>
                      <a:pt x="729" y="338"/>
                    </a:lnTo>
                    <a:lnTo>
                      <a:pt x="710" y="314"/>
                    </a:lnTo>
                    <a:lnTo>
                      <a:pt x="688" y="292"/>
                    </a:lnTo>
                    <a:lnTo>
                      <a:pt x="664" y="271"/>
                    </a:lnTo>
                    <a:lnTo>
                      <a:pt x="640" y="250"/>
                    </a:lnTo>
                    <a:lnTo>
                      <a:pt x="613" y="230"/>
                    </a:lnTo>
                    <a:lnTo>
                      <a:pt x="587" y="212"/>
                    </a:lnTo>
                    <a:lnTo>
                      <a:pt x="559" y="195"/>
                    </a:lnTo>
                    <a:lnTo>
                      <a:pt x="529" y="178"/>
                    </a:lnTo>
                    <a:lnTo>
                      <a:pt x="500" y="162"/>
                    </a:lnTo>
                    <a:lnTo>
                      <a:pt x="471" y="147"/>
                    </a:lnTo>
                    <a:lnTo>
                      <a:pt x="440" y="133"/>
                    </a:lnTo>
                    <a:lnTo>
                      <a:pt x="409" y="119"/>
                    </a:lnTo>
                    <a:lnTo>
                      <a:pt x="379" y="107"/>
                    </a:lnTo>
                    <a:lnTo>
                      <a:pt x="348" y="95"/>
                    </a:lnTo>
                    <a:lnTo>
                      <a:pt x="318" y="84"/>
                    </a:lnTo>
                    <a:lnTo>
                      <a:pt x="289" y="74"/>
                    </a:lnTo>
                    <a:lnTo>
                      <a:pt x="231" y="56"/>
                    </a:lnTo>
                    <a:lnTo>
                      <a:pt x="177" y="41"/>
                    </a:lnTo>
                    <a:lnTo>
                      <a:pt x="129" y="28"/>
                    </a:lnTo>
                    <a:lnTo>
                      <a:pt x="85" y="17"/>
                    </a:lnTo>
                    <a:lnTo>
                      <a:pt x="24" y="4"/>
                    </a:lnTo>
                    <a:lnTo>
                      <a:pt x="0" y="0"/>
                    </a:lnTo>
                    <a:lnTo>
                      <a:pt x="1" y="24"/>
                    </a:lnTo>
                    <a:lnTo>
                      <a:pt x="3" y="86"/>
                    </a:lnTo>
                    <a:lnTo>
                      <a:pt x="4" y="130"/>
                    </a:lnTo>
                    <a:lnTo>
                      <a:pt x="8" y="179"/>
                    </a:lnTo>
                    <a:lnTo>
                      <a:pt x="11" y="232"/>
                    </a:lnTo>
                    <a:lnTo>
                      <a:pt x="15" y="289"/>
                    </a:lnTo>
                    <a:lnTo>
                      <a:pt x="20" y="348"/>
                    </a:lnTo>
                    <a:lnTo>
                      <a:pt x="27" y="407"/>
                    </a:lnTo>
                    <a:lnTo>
                      <a:pt x="35" y="466"/>
                    </a:lnTo>
                    <a:lnTo>
                      <a:pt x="44" y="523"/>
                    </a:lnTo>
                    <a:lnTo>
                      <a:pt x="49" y="550"/>
                    </a:lnTo>
                    <a:lnTo>
                      <a:pt x="54" y="576"/>
                    </a:lnTo>
                    <a:lnTo>
                      <a:pt x="61" y="601"/>
                    </a:lnTo>
                    <a:lnTo>
                      <a:pt x="67" y="624"/>
                    </a:lnTo>
                    <a:lnTo>
                      <a:pt x="75" y="647"/>
                    </a:lnTo>
                    <a:lnTo>
                      <a:pt x="81" y="667"/>
                    </a:lnTo>
                    <a:lnTo>
                      <a:pt x="90" y="686"/>
                    </a:lnTo>
                    <a:lnTo>
                      <a:pt x="97" y="703"/>
                    </a:lnTo>
                    <a:lnTo>
                      <a:pt x="115" y="733"/>
                    </a:lnTo>
                    <a:lnTo>
                      <a:pt x="133" y="760"/>
                    </a:lnTo>
                    <a:lnTo>
                      <a:pt x="152" y="784"/>
                    </a:lnTo>
                    <a:lnTo>
                      <a:pt x="172" y="806"/>
                    </a:lnTo>
                    <a:lnTo>
                      <a:pt x="192" y="824"/>
                    </a:lnTo>
                    <a:lnTo>
                      <a:pt x="212" y="842"/>
                    </a:lnTo>
                    <a:lnTo>
                      <a:pt x="233" y="856"/>
                    </a:lnTo>
                    <a:lnTo>
                      <a:pt x="255" y="868"/>
                    </a:lnTo>
                    <a:lnTo>
                      <a:pt x="276" y="879"/>
                    </a:lnTo>
                    <a:lnTo>
                      <a:pt x="297" y="886"/>
                    </a:lnTo>
                    <a:lnTo>
                      <a:pt x="317" y="893"/>
                    </a:lnTo>
                    <a:lnTo>
                      <a:pt x="339" y="898"/>
                    </a:lnTo>
                    <a:lnTo>
                      <a:pt x="360" y="901"/>
                    </a:lnTo>
                    <a:lnTo>
                      <a:pt x="380" y="903"/>
                    </a:lnTo>
                    <a:lnTo>
                      <a:pt x="400" y="904"/>
                    </a:lnTo>
                    <a:lnTo>
                      <a:pt x="421" y="903"/>
                    </a:lnTo>
                    <a:lnTo>
                      <a:pt x="440" y="902"/>
                    </a:lnTo>
                    <a:lnTo>
                      <a:pt x="459" y="900"/>
                    </a:lnTo>
                    <a:lnTo>
                      <a:pt x="476" y="897"/>
                    </a:lnTo>
                    <a:lnTo>
                      <a:pt x="494" y="893"/>
                    </a:lnTo>
                    <a:lnTo>
                      <a:pt x="525" y="884"/>
                    </a:lnTo>
                    <a:lnTo>
                      <a:pt x="553" y="876"/>
                    </a:lnTo>
                    <a:lnTo>
                      <a:pt x="592" y="859"/>
                    </a:lnTo>
                    <a:lnTo>
                      <a:pt x="606" y="8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73" name="Freeform 98">
                <a:extLst>
                  <a:ext uri="{FF2B5EF4-FFF2-40B4-BE49-F238E27FC236}">
                    <a16:creationId xmlns:a16="http://schemas.microsoft.com/office/drawing/2014/main" id="{BC419595-8A5B-49FA-8725-3E852A3E345A}"/>
                  </a:ext>
                </a:extLst>
              </p:cNvPr>
              <p:cNvSpPr>
                <a:spLocks/>
              </p:cNvSpPr>
              <p:nvPr/>
            </p:nvSpPr>
            <p:spPr bwMode="auto">
              <a:xfrm>
                <a:off x="4673600" y="2682875"/>
                <a:ext cx="258763" cy="293688"/>
              </a:xfrm>
              <a:custGeom>
                <a:avLst/>
                <a:gdLst>
                  <a:gd name="T0" fmla="*/ 180 w 814"/>
                  <a:gd name="T1" fmla="*/ 860 h 926"/>
                  <a:gd name="T2" fmla="*/ 122 w 814"/>
                  <a:gd name="T3" fmla="*/ 802 h 926"/>
                  <a:gd name="T4" fmla="*/ 87 w 814"/>
                  <a:gd name="T5" fmla="*/ 757 h 926"/>
                  <a:gd name="T6" fmla="*/ 64 w 814"/>
                  <a:gd name="T7" fmla="*/ 723 h 926"/>
                  <a:gd name="T8" fmla="*/ 43 w 814"/>
                  <a:gd name="T9" fmla="*/ 687 h 926"/>
                  <a:gd name="T10" fmla="*/ 23 w 814"/>
                  <a:gd name="T11" fmla="*/ 647 h 926"/>
                  <a:gd name="T12" fmla="*/ 10 w 814"/>
                  <a:gd name="T13" fmla="*/ 604 h 926"/>
                  <a:gd name="T14" fmla="*/ 1 w 814"/>
                  <a:gd name="T15" fmla="*/ 560 h 926"/>
                  <a:gd name="T16" fmla="*/ 0 w 814"/>
                  <a:gd name="T17" fmla="*/ 514 h 926"/>
                  <a:gd name="T18" fmla="*/ 6 w 814"/>
                  <a:gd name="T19" fmla="*/ 467 h 926"/>
                  <a:gd name="T20" fmla="*/ 22 w 814"/>
                  <a:gd name="T21" fmla="*/ 419 h 926"/>
                  <a:gd name="T22" fmla="*/ 50 w 814"/>
                  <a:gd name="T23" fmla="*/ 370 h 926"/>
                  <a:gd name="T24" fmla="*/ 88 w 814"/>
                  <a:gd name="T25" fmla="*/ 322 h 926"/>
                  <a:gd name="T26" fmla="*/ 134 w 814"/>
                  <a:gd name="T27" fmla="*/ 277 h 926"/>
                  <a:gd name="T28" fmla="*/ 186 w 814"/>
                  <a:gd name="T29" fmla="*/ 237 h 926"/>
                  <a:gd name="T30" fmla="*/ 243 w 814"/>
                  <a:gd name="T31" fmla="*/ 199 h 926"/>
                  <a:gd name="T32" fmla="*/ 302 w 814"/>
                  <a:gd name="T33" fmla="*/ 166 h 926"/>
                  <a:gd name="T34" fmla="*/ 364 w 814"/>
                  <a:gd name="T35" fmla="*/ 137 h 926"/>
                  <a:gd name="T36" fmla="*/ 427 w 814"/>
                  <a:gd name="T37" fmla="*/ 110 h 926"/>
                  <a:gd name="T38" fmla="*/ 489 w 814"/>
                  <a:gd name="T39" fmla="*/ 86 h 926"/>
                  <a:gd name="T40" fmla="*/ 578 w 814"/>
                  <a:gd name="T41" fmla="*/ 58 h 926"/>
                  <a:gd name="T42" fmla="*/ 683 w 814"/>
                  <a:gd name="T43" fmla="*/ 29 h 926"/>
                  <a:gd name="T44" fmla="*/ 763 w 814"/>
                  <a:gd name="T45" fmla="*/ 10 h 926"/>
                  <a:gd name="T46" fmla="*/ 808 w 814"/>
                  <a:gd name="T47" fmla="*/ 1 h 926"/>
                  <a:gd name="T48" fmla="*/ 814 w 814"/>
                  <a:gd name="T49" fmla="*/ 25 h 926"/>
                  <a:gd name="T50" fmla="*/ 810 w 814"/>
                  <a:gd name="T51" fmla="*/ 133 h 926"/>
                  <a:gd name="T52" fmla="*/ 804 w 814"/>
                  <a:gd name="T53" fmla="*/ 238 h 926"/>
                  <a:gd name="T54" fmla="*/ 794 w 814"/>
                  <a:gd name="T55" fmla="*/ 357 h 926"/>
                  <a:gd name="T56" fmla="*/ 779 w 814"/>
                  <a:gd name="T57" fmla="*/ 477 h 926"/>
                  <a:gd name="T58" fmla="*/ 764 w 814"/>
                  <a:gd name="T59" fmla="*/ 564 h 926"/>
                  <a:gd name="T60" fmla="*/ 752 w 814"/>
                  <a:gd name="T61" fmla="*/ 616 h 926"/>
                  <a:gd name="T62" fmla="*/ 739 w 814"/>
                  <a:gd name="T63" fmla="*/ 663 h 926"/>
                  <a:gd name="T64" fmla="*/ 724 w 814"/>
                  <a:gd name="T65" fmla="*/ 702 h 926"/>
                  <a:gd name="T66" fmla="*/ 697 w 814"/>
                  <a:gd name="T67" fmla="*/ 750 h 926"/>
                  <a:gd name="T68" fmla="*/ 659 w 814"/>
                  <a:gd name="T69" fmla="*/ 803 h 926"/>
                  <a:gd name="T70" fmla="*/ 618 w 814"/>
                  <a:gd name="T71" fmla="*/ 845 h 926"/>
                  <a:gd name="T72" fmla="*/ 576 w 814"/>
                  <a:gd name="T73" fmla="*/ 877 h 926"/>
                  <a:gd name="T74" fmla="*/ 533 w 814"/>
                  <a:gd name="T75" fmla="*/ 899 h 926"/>
                  <a:gd name="T76" fmla="*/ 490 w 814"/>
                  <a:gd name="T77" fmla="*/ 914 h 926"/>
                  <a:gd name="T78" fmla="*/ 446 w 814"/>
                  <a:gd name="T79" fmla="*/ 923 h 926"/>
                  <a:gd name="T80" fmla="*/ 404 w 814"/>
                  <a:gd name="T81" fmla="*/ 926 h 926"/>
                  <a:gd name="T82" fmla="*/ 364 w 814"/>
                  <a:gd name="T83" fmla="*/ 924 h 926"/>
                  <a:gd name="T84" fmla="*/ 327 w 814"/>
                  <a:gd name="T85" fmla="*/ 918 h 926"/>
                  <a:gd name="T86" fmla="*/ 277 w 814"/>
                  <a:gd name="T87" fmla="*/ 905 h 926"/>
                  <a:gd name="T88" fmla="*/ 209 w 814"/>
                  <a:gd name="T89" fmla="*/ 879 h 9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14" h="926">
                    <a:moveTo>
                      <a:pt x="194" y="871"/>
                    </a:moveTo>
                    <a:lnTo>
                      <a:pt x="180" y="860"/>
                    </a:lnTo>
                    <a:lnTo>
                      <a:pt x="145" y="826"/>
                    </a:lnTo>
                    <a:lnTo>
                      <a:pt x="122" y="802"/>
                    </a:lnTo>
                    <a:lnTo>
                      <a:pt x="99" y="773"/>
                    </a:lnTo>
                    <a:lnTo>
                      <a:pt x="87" y="757"/>
                    </a:lnTo>
                    <a:lnTo>
                      <a:pt x="76" y="741"/>
                    </a:lnTo>
                    <a:lnTo>
                      <a:pt x="64" y="723"/>
                    </a:lnTo>
                    <a:lnTo>
                      <a:pt x="53" y="705"/>
                    </a:lnTo>
                    <a:lnTo>
                      <a:pt x="43" y="687"/>
                    </a:lnTo>
                    <a:lnTo>
                      <a:pt x="33" y="667"/>
                    </a:lnTo>
                    <a:lnTo>
                      <a:pt x="23" y="647"/>
                    </a:lnTo>
                    <a:lnTo>
                      <a:pt x="16" y="625"/>
                    </a:lnTo>
                    <a:lnTo>
                      <a:pt x="10" y="604"/>
                    </a:lnTo>
                    <a:lnTo>
                      <a:pt x="4" y="583"/>
                    </a:lnTo>
                    <a:lnTo>
                      <a:pt x="1" y="560"/>
                    </a:lnTo>
                    <a:lnTo>
                      <a:pt x="0" y="537"/>
                    </a:lnTo>
                    <a:lnTo>
                      <a:pt x="0" y="514"/>
                    </a:lnTo>
                    <a:lnTo>
                      <a:pt x="2" y="490"/>
                    </a:lnTo>
                    <a:lnTo>
                      <a:pt x="6" y="467"/>
                    </a:lnTo>
                    <a:lnTo>
                      <a:pt x="14" y="442"/>
                    </a:lnTo>
                    <a:lnTo>
                      <a:pt x="22" y="419"/>
                    </a:lnTo>
                    <a:lnTo>
                      <a:pt x="35" y="394"/>
                    </a:lnTo>
                    <a:lnTo>
                      <a:pt x="50" y="370"/>
                    </a:lnTo>
                    <a:lnTo>
                      <a:pt x="68" y="345"/>
                    </a:lnTo>
                    <a:lnTo>
                      <a:pt x="88" y="322"/>
                    </a:lnTo>
                    <a:lnTo>
                      <a:pt x="111" y="299"/>
                    </a:lnTo>
                    <a:lnTo>
                      <a:pt x="134" y="277"/>
                    </a:lnTo>
                    <a:lnTo>
                      <a:pt x="160" y="257"/>
                    </a:lnTo>
                    <a:lnTo>
                      <a:pt x="186" y="237"/>
                    </a:lnTo>
                    <a:lnTo>
                      <a:pt x="214" y="217"/>
                    </a:lnTo>
                    <a:lnTo>
                      <a:pt x="243" y="199"/>
                    </a:lnTo>
                    <a:lnTo>
                      <a:pt x="272" y="182"/>
                    </a:lnTo>
                    <a:lnTo>
                      <a:pt x="302" y="166"/>
                    </a:lnTo>
                    <a:lnTo>
                      <a:pt x="333" y="150"/>
                    </a:lnTo>
                    <a:lnTo>
                      <a:pt x="364" y="137"/>
                    </a:lnTo>
                    <a:lnTo>
                      <a:pt x="396" y="123"/>
                    </a:lnTo>
                    <a:lnTo>
                      <a:pt x="427" y="110"/>
                    </a:lnTo>
                    <a:lnTo>
                      <a:pt x="458" y="98"/>
                    </a:lnTo>
                    <a:lnTo>
                      <a:pt x="489" y="86"/>
                    </a:lnTo>
                    <a:lnTo>
                      <a:pt x="519" y="76"/>
                    </a:lnTo>
                    <a:lnTo>
                      <a:pt x="578" y="58"/>
                    </a:lnTo>
                    <a:lnTo>
                      <a:pt x="633" y="42"/>
                    </a:lnTo>
                    <a:lnTo>
                      <a:pt x="683" y="29"/>
                    </a:lnTo>
                    <a:lnTo>
                      <a:pt x="727" y="18"/>
                    </a:lnTo>
                    <a:lnTo>
                      <a:pt x="763" y="10"/>
                    </a:lnTo>
                    <a:lnTo>
                      <a:pt x="791" y="4"/>
                    </a:lnTo>
                    <a:lnTo>
                      <a:pt x="808" y="1"/>
                    </a:lnTo>
                    <a:lnTo>
                      <a:pt x="814" y="0"/>
                    </a:lnTo>
                    <a:lnTo>
                      <a:pt x="814" y="25"/>
                    </a:lnTo>
                    <a:lnTo>
                      <a:pt x="812" y="89"/>
                    </a:lnTo>
                    <a:lnTo>
                      <a:pt x="810" y="133"/>
                    </a:lnTo>
                    <a:lnTo>
                      <a:pt x="807" y="183"/>
                    </a:lnTo>
                    <a:lnTo>
                      <a:pt x="804" y="238"/>
                    </a:lnTo>
                    <a:lnTo>
                      <a:pt x="799" y="296"/>
                    </a:lnTo>
                    <a:lnTo>
                      <a:pt x="794" y="357"/>
                    </a:lnTo>
                    <a:lnTo>
                      <a:pt x="787" y="418"/>
                    </a:lnTo>
                    <a:lnTo>
                      <a:pt x="779" y="477"/>
                    </a:lnTo>
                    <a:lnTo>
                      <a:pt x="769" y="536"/>
                    </a:lnTo>
                    <a:lnTo>
                      <a:pt x="764" y="564"/>
                    </a:lnTo>
                    <a:lnTo>
                      <a:pt x="759" y="590"/>
                    </a:lnTo>
                    <a:lnTo>
                      <a:pt x="752" y="616"/>
                    </a:lnTo>
                    <a:lnTo>
                      <a:pt x="746" y="640"/>
                    </a:lnTo>
                    <a:lnTo>
                      <a:pt x="739" y="663"/>
                    </a:lnTo>
                    <a:lnTo>
                      <a:pt x="731" y="683"/>
                    </a:lnTo>
                    <a:lnTo>
                      <a:pt x="724" y="702"/>
                    </a:lnTo>
                    <a:lnTo>
                      <a:pt x="715" y="719"/>
                    </a:lnTo>
                    <a:lnTo>
                      <a:pt x="697" y="750"/>
                    </a:lnTo>
                    <a:lnTo>
                      <a:pt x="678" y="778"/>
                    </a:lnTo>
                    <a:lnTo>
                      <a:pt x="659" y="803"/>
                    </a:lnTo>
                    <a:lnTo>
                      <a:pt x="639" y="826"/>
                    </a:lnTo>
                    <a:lnTo>
                      <a:pt x="618" y="845"/>
                    </a:lnTo>
                    <a:lnTo>
                      <a:pt x="597" y="862"/>
                    </a:lnTo>
                    <a:lnTo>
                      <a:pt x="576" y="877"/>
                    </a:lnTo>
                    <a:lnTo>
                      <a:pt x="555" y="890"/>
                    </a:lnTo>
                    <a:lnTo>
                      <a:pt x="533" y="899"/>
                    </a:lnTo>
                    <a:lnTo>
                      <a:pt x="511" y="908"/>
                    </a:lnTo>
                    <a:lnTo>
                      <a:pt x="490" y="914"/>
                    </a:lnTo>
                    <a:lnTo>
                      <a:pt x="467" y="919"/>
                    </a:lnTo>
                    <a:lnTo>
                      <a:pt x="446" y="923"/>
                    </a:lnTo>
                    <a:lnTo>
                      <a:pt x="425" y="925"/>
                    </a:lnTo>
                    <a:lnTo>
                      <a:pt x="404" y="926"/>
                    </a:lnTo>
                    <a:lnTo>
                      <a:pt x="384" y="925"/>
                    </a:lnTo>
                    <a:lnTo>
                      <a:pt x="364" y="924"/>
                    </a:lnTo>
                    <a:lnTo>
                      <a:pt x="345" y="921"/>
                    </a:lnTo>
                    <a:lnTo>
                      <a:pt x="327" y="918"/>
                    </a:lnTo>
                    <a:lnTo>
                      <a:pt x="310" y="914"/>
                    </a:lnTo>
                    <a:lnTo>
                      <a:pt x="277" y="905"/>
                    </a:lnTo>
                    <a:lnTo>
                      <a:pt x="249" y="896"/>
                    </a:lnTo>
                    <a:lnTo>
                      <a:pt x="209" y="879"/>
                    </a:lnTo>
                    <a:lnTo>
                      <a:pt x="194" y="8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grpSp>
          <p:nvGrpSpPr>
            <p:cNvPr id="10" name="Group 127">
              <a:extLst>
                <a:ext uri="{FF2B5EF4-FFF2-40B4-BE49-F238E27FC236}">
                  <a16:creationId xmlns:a16="http://schemas.microsoft.com/office/drawing/2014/main" id="{B65FC0EF-EAC4-4810-BC4C-06E2E9746C62}"/>
                </a:ext>
              </a:extLst>
            </p:cNvPr>
            <p:cNvGrpSpPr/>
            <p:nvPr/>
          </p:nvGrpSpPr>
          <p:grpSpPr>
            <a:xfrm>
              <a:off x="2435225" y="1079500"/>
              <a:ext cx="1658938" cy="5410201"/>
              <a:chOff x="2435225" y="1079500"/>
              <a:chExt cx="1658938" cy="5410201"/>
            </a:xfrm>
            <a:solidFill>
              <a:schemeClr val="accent1"/>
            </a:solidFill>
          </p:grpSpPr>
          <p:sp>
            <p:nvSpPr>
              <p:cNvPr id="57" name="Rectangle 5">
                <a:extLst>
                  <a:ext uri="{FF2B5EF4-FFF2-40B4-BE49-F238E27FC236}">
                    <a16:creationId xmlns:a16="http://schemas.microsoft.com/office/drawing/2014/main" id="{0070D66F-C7A9-4E44-8846-BCFE94980CBB}"/>
                  </a:ext>
                </a:extLst>
              </p:cNvPr>
              <p:cNvSpPr>
                <a:spLocks noChangeArrowheads="1"/>
              </p:cNvSpPr>
              <p:nvPr/>
            </p:nvSpPr>
            <p:spPr bwMode="auto">
              <a:xfrm>
                <a:off x="3109913" y="2990850"/>
                <a:ext cx="511175" cy="349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58" name="Freeform 6">
                <a:extLst>
                  <a:ext uri="{FF2B5EF4-FFF2-40B4-BE49-F238E27FC236}">
                    <a16:creationId xmlns:a16="http://schemas.microsoft.com/office/drawing/2014/main" id="{1EDEC9B0-4331-4FDD-9D13-8A2B55702ADD}"/>
                  </a:ext>
                </a:extLst>
              </p:cNvPr>
              <p:cNvSpPr>
                <a:spLocks noEditPoints="1"/>
              </p:cNvSpPr>
              <p:nvPr/>
            </p:nvSpPr>
            <p:spPr bwMode="auto">
              <a:xfrm>
                <a:off x="3621088" y="2851150"/>
                <a:ext cx="174625" cy="174625"/>
              </a:xfrm>
              <a:custGeom>
                <a:avLst/>
                <a:gdLst>
                  <a:gd name="T0" fmla="*/ 23 w 550"/>
                  <a:gd name="T1" fmla="*/ 439 h 549"/>
                  <a:gd name="T2" fmla="*/ 67 w 550"/>
                  <a:gd name="T3" fmla="*/ 435 h 549"/>
                  <a:gd name="T4" fmla="*/ 110 w 550"/>
                  <a:gd name="T5" fmla="*/ 426 h 549"/>
                  <a:gd name="T6" fmla="*/ 152 w 550"/>
                  <a:gd name="T7" fmla="*/ 413 h 549"/>
                  <a:gd name="T8" fmla="*/ 191 w 550"/>
                  <a:gd name="T9" fmla="*/ 397 h 549"/>
                  <a:gd name="T10" fmla="*/ 228 w 550"/>
                  <a:gd name="T11" fmla="*/ 377 h 549"/>
                  <a:gd name="T12" fmla="*/ 264 w 550"/>
                  <a:gd name="T13" fmla="*/ 352 h 549"/>
                  <a:gd name="T14" fmla="*/ 297 w 550"/>
                  <a:gd name="T15" fmla="*/ 325 h 549"/>
                  <a:gd name="T16" fmla="*/ 389 w 550"/>
                  <a:gd name="T17" fmla="*/ 388 h 549"/>
                  <a:gd name="T18" fmla="*/ 350 w 550"/>
                  <a:gd name="T19" fmla="*/ 423 h 549"/>
                  <a:gd name="T20" fmla="*/ 307 w 550"/>
                  <a:gd name="T21" fmla="*/ 455 h 549"/>
                  <a:gd name="T22" fmla="*/ 262 w 550"/>
                  <a:gd name="T23" fmla="*/ 483 h 549"/>
                  <a:gd name="T24" fmla="*/ 214 w 550"/>
                  <a:gd name="T25" fmla="*/ 506 h 549"/>
                  <a:gd name="T26" fmla="*/ 164 w 550"/>
                  <a:gd name="T27" fmla="*/ 525 h 549"/>
                  <a:gd name="T28" fmla="*/ 110 w 550"/>
                  <a:gd name="T29" fmla="*/ 538 h 549"/>
                  <a:gd name="T30" fmla="*/ 56 w 550"/>
                  <a:gd name="T31" fmla="*/ 547 h 549"/>
                  <a:gd name="T32" fmla="*/ 0 w 550"/>
                  <a:gd name="T33" fmla="*/ 549 h 549"/>
                  <a:gd name="T34" fmla="*/ 311 w 550"/>
                  <a:gd name="T35" fmla="*/ 311 h 549"/>
                  <a:gd name="T36" fmla="*/ 340 w 550"/>
                  <a:gd name="T37" fmla="*/ 280 h 549"/>
                  <a:gd name="T38" fmla="*/ 366 w 550"/>
                  <a:gd name="T39" fmla="*/ 246 h 549"/>
                  <a:gd name="T40" fmla="*/ 387 w 550"/>
                  <a:gd name="T41" fmla="*/ 209 h 549"/>
                  <a:gd name="T42" fmla="*/ 406 w 550"/>
                  <a:gd name="T43" fmla="*/ 171 h 549"/>
                  <a:gd name="T44" fmla="*/ 421 w 550"/>
                  <a:gd name="T45" fmla="*/ 131 h 549"/>
                  <a:gd name="T46" fmla="*/ 432 w 550"/>
                  <a:gd name="T47" fmla="*/ 88 h 549"/>
                  <a:gd name="T48" fmla="*/ 438 w 550"/>
                  <a:gd name="T49" fmla="*/ 44 h 549"/>
                  <a:gd name="T50" fmla="*/ 440 w 550"/>
                  <a:gd name="T51" fmla="*/ 0 h 549"/>
                  <a:gd name="T52" fmla="*/ 549 w 550"/>
                  <a:gd name="T53" fmla="*/ 27 h 549"/>
                  <a:gd name="T54" fmla="*/ 543 w 550"/>
                  <a:gd name="T55" fmla="*/ 83 h 549"/>
                  <a:gd name="T56" fmla="*/ 533 w 550"/>
                  <a:gd name="T57" fmla="*/ 137 h 549"/>
                  <a:gd name="T58" fmla="*/ 517 w 550"/>
                  <a:gd name="T59" fmla="*/ 188 h 549"/>
                  <a:gd name="T60" fmla="*/ 496 w 550"/>
                  <a:gd name="T61" fmla="*/ 238 h 549"/>
                  <a:gd name="T62" fmla="*/ 470 w 550"/>
                  <a:gd name="T63" fmla="*/ 284 h 549"/>
                  <a:gd name="T64" fmla="*/ 440 w 550"/>
                  <a:gd name="T65" fmla="*/ 329 h 549"/>
                  <a:gd name="T66" fmla="*/ 407 w 550"/>
                  <a:gd name="T67" fmla="*/ 369 h 549"/>
                  <a:gd name="T68" fmla="*/ 311 w 550"/>
                  <a:gd name="T69" fmla="*/ 311 h 5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50" h="549">
                    <a:moveTo>
                      <a:pt x="0" y="439"/>
                    </a:moveTo>
                    <a:lnTo>
                      <a:pt x="23" y="439"/>
                    </a:lnTo>
                    <a:lnTo>
                      <a:pt x="45" y="437"/>
                    </a:lnTo>
                    <a:lnTo>
                      <a:pt x="67" y="435"/>
                    </a:lnTo>
                    <a:lnTo>
                      <a:pt x="89" y="431"/>
                    </a:lnTo>
                    <a:lnTo>
                      <a:pt x="110" y="426"/>
                    </a:lnTo>
                    <a:lnTo>
                      <a:pt x="131" y="420"/>
                    </a:lnTo>
                    <a:lnTo>
                      <a:pt x="152" y="413"/>
                    </a:lnTo>
                    <a:lnTo>
                      <a:pt x="171" y="405"/>
                    </a:lnTo>
                    <a:lnTo>
                      <a:pt x="191" y="397"/>
                    </a:lnTo>
                    <a:lnTo>
                      <a:pt x="210" y="386"/>
                    </a:lnTo>
                    <a:lnTo>
                      <a:pt x="228" y="377"/>
                    </a:lnTo>
                    <a:lnTo>
                      <a:pt x="247" y="365"/>
                    </a:lnTo>
                    <a:lnTo>
                      <a:pt x="264" y="352"/>
                    </a:lnTo>
                    <a:lnTo>
                      <a:pt x="281" y="339"/>
                    </a:lnTo>
                    <a:lnTo>
                      <a:pt x="297" y="325"/>
                    </a:lnTo>
                    <a:lnTo>
                      <a:pt x="311" y="311"/>
                    </a:lnTo>
                    <a:lnTo>
                      <a:pt x="389" y="388"/>
                    </a:lnTo>
                    <a:lnTo>
                      <a:pt x="370" y="406"/>
                    </a:lnTo>
                    <a:lnTo>
                      <a:pt x="350" y="423"/>
                    </a:lnTo>
                    <a:lnTo>
                      <a:pt x="328" y="440"/>
                    </a:lnTo>
                    <a:lnTo>
                      <a:pt x="307" y="455"/>
                    </a:lnTo>
                    <a:lnTo>
                      <a:pt x="285" y="469"/>
                    </a:lnTo>
                    <a:lnTo>
                      <a:pt x="262" y="483"/>
                    </a:lnTo>
                    <a:lnTo>
                      <a:pt x="238" y="495"/>
                    </a:lnTo>
                    <a:lnTo>
                      <a:pt x="214" y="506"/>
                    </a:lnTo>
                    <a:lnTo>
                      <a:pt x="189" y="516"/>
                    </a:lnTo>
                    <a:lnTo>
                      <a:pt x="164" y="525"/>
                    </a:lnTo>
                    <a:lnTo>
                      <a:pt x="137" y="532"/>
                    </a:lnTo>
                    <a:lnTo>
                      <a:pt x="110" y="538"/>
                    </a:lnTo>
                    <a:lnTo>
                      <a:pt x="84" y="543"/>
                    </a:lnTo>
                    <a:lnTo>
                      <a:pt x="56" y="547"/>
                    </a:lnTo>
                    <a:lnTo>
                      <a:pt x="28" y="549"/>
                    </a:lnTo>
                    <a:lnTo>
                      <a:pt x="0" y="549"/>
                    </a:lnTo>
                    <a:lnTo>
                      <a:pt x="0" y="439"/>
                    </a:lnTo>
                    <a:close/>
                    <a:moveTo>
                      <a:pt x="311" y="311"/>
                    </a:moveTo>
                    <a:lnTo>
                      <a:pt x="326" y="296"/>
                    </a:lnTo>
                    <a:lnTo>
                      <a:pt x="340" y="280"/>
                    </a:lnTo>
                    <a:lnTo>
                      <a:pt x="353" y="263"/>
                    </a:lnTo>
                    <a:lnTo>
                      <a:pt x="366" y="246"/>
                    </a:lnTo>
                    <a:lnTo>
                      <a:pt x="376" y="227"/>
                    </a:lnTo>
                    <a:lnTo>
                      <a:pt x="387" y="209"/>
                    </a:lnTo>
                    <a:lnTo>
                      <a:pt x="397" y="190"/>
                    </a:lnTo>
                    <a:lnTo>
                      <a:pt x="406" y="171"/>
                    </a:lnTo>
                    <a:lnTo>
                      <a:pt x="414" y="151"/>
                    </a:lnTo>
                    <a:lnTo>
                      <a:pt x="421" y="131"/>
                    </a:lnTo>
                    <a:lnTo>
                      <a:pt x="426" y="109"/>
                    </a:lnTo>
                    <a:lnTo>
                      <a:pt x="432" y="88"/>
                    </a:lnTo>
                    <a:lnTo>
                      <a:pt x="435" y="67"/>
                    </a:lnTo>
                    <a:lnTo>
                      <a:pt x="438" y="44"/>
                    </a:lnTo>
                    <a:lnTo>
                      <a:pt x="440" y="22"/>
                    </a:lnTo>
                    <a:lnTo>
                      <a:pt x="440" y="0"/>
                    </a:lnTo>
                    <a:lnTo>
                      <a:pt x="550" y="0"/>
                    </a:lnTo>
                    <a:lnTo>
                      <a:pt x="549" y="27"/>
                    </a:lnTo>
                    <a:lnTo>
                      <a:pt x="547" y="55"/>
                    </a:lnTo>
                    <a:lnTo>
                      <a:pt x="543" y="83"/>
                    </a:lnTo>
                    <a:lnTo>
                      <a:pt x="539" y="110"/>
                    </a:lnTo>
                    <a:lnTo>
                      <a:pt x="533" y="137"/>
                    </a:lnTo>
                    <a:lnTo>
                      <a:pt x="525" y="162"/>
                    </a:lnTo>
                    <a:lnTo>
                      <a:pt x="517" y="188"/>
                    </a:lnTo>
                    <a:lnTo>
                      <a:pt x="506" y="214"/>
                    </a:lnTo>
                    <a:lnTo>
                      <a:pt x="496" y="238"/>
                    </a:lnTo>
                    <a:lnTo>
                      <a:pt x="484" y="262"/>
                    </a:lnTo>
                    <a:lnTo>
                      <a:pt x="470" y="284"/>
                    </a:lnTo>
                    <a:lnTo>
                      <a:pt x="456" y="306"/>
                    </a:lnTo>
                    <a:lnTo>
                      <a:pt x="440" y="329"/>
                    </a:lnTo>
                    <a:lnTo>
                      <a:pt x="424" y="349"/>
                    </a:lnTo>
                    <a:lnTo>
                      <a:pt x="407" y="369"/>
                    </a:lnTo>
                    <a:lnTo>
                      <a:pt x="389" y="388"/>
                    </a:lnTo>
                    <a:lnTo>
                      <a:pt x="311" y="3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59" name="Rectangle 7">
                <a:extLst>
                  <a:ext uri="{FF2B5EF4-FFF2-40B4-BE49-F238E27FC236}">
                    <a16:creationId xmlns:a16="http://schemas.microsoft.com/office/drawing/2014/main" id="{D1592F90-A9CA-41A9-AB25-95BC4B58FDC7}"/>
                  </a:ext>
                </a:extLst>
              </p:cNvPr>
              <p:cNvSpPr>
                <a:spLocks noChangeArrowheads="1"/>
              </p:cNvSpPr>
              <p:nvPr/>
            </p:nvSpPr>
            <p:spPr bwMode="auto">
              <a:xfrm>
                <a:off x="3760788" y="2516188"/>
                <a:ext cx="34925" cy="3349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60" name="Freeform 11">
                <a:extLst>
                  <a:ext uri="{FF2B5EF4-FFF2-40B4-BE49-F238E27FC236}">
                    <a16:creationId xmlns:a16="http://schemas.microsoft.com/office/drawing/2014/main" id="{96D6073B-FDB0-4125-9E5E-DCAF828FFD3D}"/>
                  </a:ext>
                </a:extLst>
              </p:cNvPr>
              <p:cNvSpPr>
                <a:spLocks/>
              </p:cNvSpPr>
              <p:nvPr/>
            </p:nvSpPr>
            <p:spPr bwMode="auto">
              <a:xfrm>
                <a:off x="2435225" y="1079500"/>
                <a:ext cx="1336675" cy="1338263"/>
              </a:xfrm>
              <a:custGeom>
                <a:avLst/>
                <a:gdLst>
                  <a:gd name="T0" fmla="*/ 4203 w 4213"/>
                  <a:gd name="T1" fmla="*/ 2324 h 4216"/>
                  <a:gd name="T2" fmla="*/ 4147 w 4213"/>
                  <a:gd name="T3" fmla="*/ 2635 h 4216"/>
                  <a:gd name="T4" fmla="*/ 4049 w 4213"/>
                  <a:gd name="T5" fmla="*/ 2929 h 4216"/>
                  <a:gd name="T6" fmla="*/ 3909 w 4213"/>
                  <a:gd name="T7" fmla="*/ 3201 h 4216"/>
                  <a:gd name="T8" fmla="*/ 3732 w 4213"/>
                  <a:gd name="T9" fmla="*/ 3450 h 4216"/>
                  <a:gd name="T10" fmla="*/ 3524 w 4213"/>
                  <a:gd name="T11" fmla="*/ 3669 h 4216"/>
                  <a:gd name="T12" fmla="*/ 3284 w 4213"/>
                  <a:gd name="T13" fmla="*/ 3856 h 4216"/>
                  <a:gd name="T14" fmla="*/ 3020 w 4213"/>
                  <a:gd name="T15" fmla="*/ 4009 h 4216"/>
                  <a:gd name="T16" fmla="*/ 2733 w 4213"/>
                  <a:gd name="T17" fmla="*/ 4122 h 4216"/>
                  <a:gd name="T18" fmla="*/ 2428 w 4213"/>
                  <a:gd name="T19" fmla="*/ 4192 h 4216"/>
                  <a:gd name="T20" fmla="*/ 2107 w 4213"/>
                  <a:gd name="T21" fmla="*/ 4216 h 4216"/>
                  <a:gd name="T22" fmla="*/ 1786 w 4213"/>
                  <a:gd name="T23" fmla="*/ 4192 h 4216"/>
                  <a:gd name="T24" fmla="*/ 1480 w 4213"/>
                  <a:gd name="T25" fmla="*/ 4122 h 4216"/>
                  <a:gd name="T26" fmla="*/ 1193 w 4213"/>
                  <a:gd name="T27" fmla="*/ 4009 h 4216"/>
                  <a:gd name="T28" fmla="*/ 929 w 4213"/>
                  <a:gd name="T29" fmla="*/ 3856 h 4216"/>
                  <a:gd name="T30" fmla="*/ 691 w 4213"/>
                  <a:gd name="T31" fmla="*/ 3669 h 4216"/>
                  <a:gd name="T32" fmla="*/ 481 w 4213"/>
                  <a:gd name="T33" fmla="*/ 3450 h 4216"/>
                  <a:gd name="T34" fmla="*/ 305 w 4213"/>
                  <a:gd name="T35" fmla="*/ 3201 h 4216"/>
                  <a:gd name="T36" fmla="*/ 166 w 4213"/>
                  <a:gd name="T37" fmla="*/ 2929 h 4216"/>
                  <a:gd name="T38" fmla="*/ 66 w 4213"/>
                  <a:gd name="T39" fmla="*/ 2635 h 4216"/>
                  <a:gd name="T40" fmla="*/ 10 w 4213"/>
                  <a:gd name="T41" fmla="*/ 2324 h 4216"/>
                  <a:gd name="T42" fmla="*/ 3 w 4213"/>
                  <a:gd name="T43" fmla="*/ 2000 h 4216"/>
                  <a:gd name="T44" fmla="*/ 42 w 4213"/>
                  <a:gd name="T45" fmla="*/ 1684 h 4216"/>
                  <a:gd name="T46" fmla="*/ 128 w 4213"/>
                  <a:gd name="T47" fmla="*/ 1383 h 4216"/>
                  <a:gd name="T48" fmla="*/ 254 w 4213"/>
                  <a:gd name="T49" fmla="*/ 1103 h 4216"/>
                  <a:gd name="T50" fmla="*/ 418 w 4213"/>
                  <a:gd name="T51" fmla="*/ 847 h 4216"/>
                  <a:gd name="T52" fmla="*/ 617 w 4213"/>
                  <a:gd name="T53" fmla="*/ 618 h 4216"/>
                  <a:gd name="T54" fmla="*/ 846 w 4213"/>
                  <a:gd name="T55" fmla="*/ 419 h 4216"/>
                  <a:gd name="T56" fmla="*/ 1102 w 4213"/>
                  <a:gd name="T57" fmla="*/ 255 h 4216"/>
                  <a:gd name="T58" fmla="*/ 1382 w 4213"/>
                  <a:gd name="T59" fmla="*/ 128 h 4216"/>
                  <a:gd name="T60" fmla="*/ 1683 w 4213"/>
                  <a:gd name="T61" fmla="*/ 43 h 4216"/>
                  <a:gd name="T62" fmla="*/ 1999 w 4213"/>
                  <a:gd name="T63" fmla="*/ 3 h 4216"/>
                  <a:gd name="T64" fmla="*/ 2322 w 4213"/>
                  <a:gd name="T65" fmla="*/ 11 h 4216"/>
                  <a:gd name="T66" fmla="*/ 2633 w 4213"/>
                  <a:gd name="T67" fmla="*/ 66 h 4216"/>
                  <a:gd name="T68" fmla="*/ 2927 w 4213"/>
                  <a:gd name="T69" fmla="*/ 166 h 4216"/>
                  <a:gd name="T70" fmla="*/ 3199 w 4213"/>
                  <a:gd name="T71" fmla="*/ 306 h 4216"/>
                  <a:gd name="T72" fmla="*/ 3447 w 4213"/>
                  <a:gd name="T73" fmla="*/ 481 h 4216"/>
                  <a:gd name="T74" fmla="*/ 3666 w 4213"/>
                  <a:gd name="T75" fmla="*/ 691 h 4216"/>
                  <a:gd name="T76" fmla="*/ 3854 w 4213"/>
                  <a:gd name="T77" fmla="*/ 930 h 4216"/>
                  <a:gd name="T78" fmla="*/ 4006 w 4213"/>
                  <a:gd name="T79" fmla="*/ 1194 h 4216"/>
                  <a:gd name="T80" fmla="*/ 4119 w 4213"/>
                  <a:gd name="T81" fmla="*/ 1481 h 4216"/>
                  <a:gd name="T82" fmla="*/ 4189 w 4213"/>
                  <a:gd name="T83" fmla="*/ 1787 h 4216"/>
                  <a:gd name="T84" fmla="*/ 4213 w 4213"/>
                  <a:gd name="T85" fmla="*/ 2109 h 4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213" h="4216">
                    <a:moveTo>
                      <a:pt x="4213" y="2109"/>
                    </a:moveTo>
                    <a:lnTo>
                      <a:pt x="4211" y="2216"/>
                    </a:lnTo>
                    <a:lnTo>
                      <a:pt x="4203" y="2324"/>
                    </a:lnTo>
                    <a:lnTo>
                      <a:pt x="4189" y="2429"/>
                    </a:lnTo>
                    <a:lnTo>
                      <a:pt x="4171" y="2533"/>
                    </a:lnTo>
                    <a:lnTo>
                      <a:pt x="4147" y="2635"/>
                    </a:lnTo>
                    <a:lnTo>
                      <a:pt x="4119" y="2735"/>
                    </a:lnTo>
                    <a:lnTo>
                      <a:pt x="4086" y="2833"/>
                    </a:lnTo>
                    <a:lnTo>
                      <a:pt x="4049" y="2929"/>
                    </a:lnTo>
                    <a:lnTo>
                      <a:pt x="4006" y="3022"/>
                    </a:lnTo>
                    <a:lnTo>
                      <a:pt x="3959" y="3113"/>
                    </a:lnTo>
                    <a:lnTo>
                      <a:pt x="3909" y="3201"/>
                    </a:lnTo>
                    <a:lnTo>
                      <a:pt x="3854" y="3287"/>
                    </a:lnTo>
                    <a:lnTo>
                      <a:pt x="3795" y="3370"/>
                    </a:lnTo>
                    <a:lnTo>
                      <a:pt x="3732" y="3450"/>
                    </a:lnTo>
                    <a:lnTo>
                      <a:pt x="3666" y="3526"/>
                    </a:lnTo>
                    <a:lnTo>
                      <a:pt x="3596" y="3599"/>
                    </a:lnTo>
                    <a:lnTo>
                      <a:pt x="3524" y="3669"/>
                    </a:lnTo>
                    <a:lnTo>
                      <a:pt x="3447" y="3735"/>
                    </a:lnTo>
                    <a:lnTo>
                      <a:pt x="3367" y="3798"/>
                    </a:lnTo>
                    <a:lnTo>
                      <a:pt x="3284" y="3856"/>
                    </a:lnTo>
                    <a:lnTo>
                      <a:pt x="3199" y="3911"/>
                    </a:lnTo>
                    <a:lnTo>
                      <a:pt x="3111" y="3962"/>
                    </a:lnTo>
                    <a:lnTo>
                      <a:pt x="3020" y="4009"/>
                    </a:lnTo>
                    <a:lnTo>
                      <a:pt x="2927" y="4051"/>
                    </a:lnTo>
                    <a:lnTo>
                      <a:pt x="2831" y="4089"/>
                    </a:lnTo>
                    <a:lnTo>
                      <a:pt x="2733" y="4122"/>
                    </a:lnTo>
                    <a:lnTo>
                      <a:pt x="2633" y="4150"/>
                    </a:lnTo>
                    <a:lnTo>
                      <a:pt x="2532" y="4174"/>
                    </a:lnTo>
                    <a:lnTo>
                      <a:pt x="2428" y="4192"/>
                    </a:lnTo>
                    <a:lnTo>
                      <a:pt x="2322" y="4206"/>
                    </a:lnTo>
                    <a:lnTo>
                      <a:pt x="2215" y="4214"/>
                    </a:lnTo>
                    <a:lnTo>
                      <a:pt x="2107" y="4216"/>
                    </a:lnTo>
                    <a:lnTo>
                      <a:pt x="1999" y="4214"/>
                    </a:lnTo>
                    <a:lnTo>
                      <a:pt x="1891" y="4206"/>
                    </a:lnTo>
                    <a:lnTo>
                      <a:pt x="1786" y="4192"/>
                    </a:lnTo>
                    <a:lnTo>
                      <a:pt x="1683" y="4174"/>
                    </a:lnTo>
                    <a:lnTo>
                      <a:pt x="1580" y="4150"/>
                    </a:lnTo>
                    <a:lnTo>
                      <a:pt x="1480" y="4122"/>
                    </a:lnTo>
                    <a:lnTo>
                      <a:pt x="1382" y="4089"/>
                    </a:lnTo>
                    <a:lnTo>
                      <a:pt x="1287" y="4051"/>
                    </a:lnTo>
                    <a:lnTo>
                      <a:pt x="1193" y="4009"/>
                    </a:lnTo>
                    <a:lnTo>
                      <a:pt x="1102" y="3962"/>
                    </a:lnTo>
                    <a:lnTo>
                      <a:pt x="1014" y="3911"/>
                    </a:lnTo>
                    <a:lnTo>
                      <a:pt x="929" y="3856"/>
                    </a:lnTo>
                    <a:lnTo>
                      <a:pt x="846" y="3798"/>
                    </a:lnTo>
                    <a:lnTo>
                      <a:pt x="766" y="3735"/>
                    </a:lnTo>
                    <a:lnTo>
                      <a:pt x="691" y="3669"/>
                    </a:lnTo>
                    <a:lnTo>
                      <a:pt x="617" y="3599"/>
                    </a:lnTo>
                    <a:lnTo>
                      <a:pt x="547" y="3526"/>
                    </a:lnTo>
                    <a:lnTo>
                      <a:pt x="481" y="3450"/>
                    </a:lnTo>
                    <a:lnTo>
                      <a:pt x="418" y="3370"/>
                    </a:lnTo>
                    <a:lnTo>
                      <a:pt x="360" y="3287"/>
                    </a:lnTo>
                    <a:lnTo>
                      <a:pt x="305" y="3201"/>
                    </a:lnTo>
                    <a:lnTo>
                      <a:pt x="254" y="3113"/>
                    </a:lnTo>
                    <a:lnTo>
                      <a:pt x="207" y="3022"/>
                    </a:lnTo>
                    <a:lnTo>
                      <a:pt x="166" y="2929"/>
                    </a:lnTo>
                    <a:lnTo>
                      <a:pt x="128" y="2833"/>
                    </a:lnTo>
                    <a:lnTo>
                      <a:pt x="95" y="2735"/>
                    </a:lnTo>
                    <a:lnTo>
                      <a:pt x="66" y="2635"/>
                    </a:lnTo>
                    <a:lnTo>
                      <a:pt x="42" y="2533"/>
                    </a:lnTo>
                    <a:lnTo>
                      <a:pt x="24" y="2429"/>
                    </a:lnTo>
                    <a:lnTo>
                      <a:pt x="10" y="2324"/>
                    </a:lnTo>
                    <a:lnTo>
                      <a:pt x="3" y="2216"/>
                    </a:lnTo>
                    <a:lnTo>
                      <a:pt x="0" y="2109"/>
                    </a:lnTo>
                    <a:lnTo>
                      <a:pt x="3" y="2000"/>
                    </a:lnTo>
                    <a:lnTo>
                      <a:pt x="10" y="1893"/>
                    </a:lnTo>
                    <a:lnTo>
                      <a:pt x="24" y="1787"/>
                    </a:lnTo>
                    <a:lnTo>
                      <a:pt x="42" y="1684"/>
                    </a:lnTo>
                    <a:lnTo>
                      <a:pt x="66" y="1582"/>
                    </a:lnTo>
                    <a:lnTo>
                      <a:pt x="95" y="1481"/>
                    </a:lnTo>
                    <a:lnTo>
                      <a:pt x="128" y="1383"/>
                    </a:lnTo>
                    <a:lnTo>
                      <a:pt x="166" y="1288"/>
                    </a:lnTo>
                    <a:lnTo>
                      <a:pt x="207" y="1194"/>
                    </a:lnTo>
                    <a:lnTo>
                      <a:pt x="254" y="1103"/>
                    </a:lnTo>
                    <a:lnTo>
                      <a:pt x="305" y="1015"/>
                    </a:lnTo>
                    <a:lnTo>
                      <a:pt x="360" y="930"/>
                    </a:lnTo>
                    <a:lnTo>
                      <a:pt x="418" y="847"/>
                    </a:lnTo>
                    <a:lnTo>
                      <a:pt x="481" y="767"/>
                    </a:lnTo>
                    <a:lnTo>
                      <a:pt x="547" y="691"/>
                    </a:lnTo>
                    <a:lnTo>
                      <a:pt x="617" y="618"/>
                    </a:lnTo>
                    <a:lnTo>
                      <a:pt x="691" y="547"/>
                    </a:lnTo>
                    <a:lnTo>
                      <a:pt x="766" y="481"/>
                    </a:lnTo>
                    <a:lnTo>
                      <a:pt x="846" y="419"/>
                    </a:lnTo>
                    <a:lnTo>
                      <a:pt x="929" y="360"/>
                    </a:lnTo>
                    <a:lnTo>
                      <a:pt x="1014" y="306"/>
                    </a:lnTo>
                    <a:lnTo>
                      <a:pt x="1102" y="255"/>
                    </a:lnTo>
                    <a:lnTo>
                      <a:pt x="1193" y="208"/>
                    </a:lnTo>
                    <a:lnTo>
                      <a:pt x="1287" y="166"/>
                    </a:lnTo>
                    <a:lnTo>
                      <a:pt x="1382" y="128"/>
                    </a:lnTo>
                    <a:lnTo>
                      <a:pt x="1480" y="95"/>
                    </a:lnTo>
                    <a:lnTo>
                      <a:pt x="1580" y="66"/>
                    </a:lnTo>
                    <a:lnTo>
                      <a:pt x="1683" y="43"/>
                    </a:lnTo>
                    <a:lnTo>
                      <a:pt x="1786" y="24"/>
                    </a:lnTo>
                    <a:lnTo>
                      <a:pt x="1891" y="11"/>
                    </a:lnTo>
                    <a:lnTo>
                      <a:pt x="1999" y="3"/>
                    </a:lnTo>
                    <a:lnTo>
                      <a:pt x="2107" y="0"/>
                    </a:lnTo>
                    <a:lnTo>
                      <a:pt x="2215" y="3"/>
                    </a:lnTo>
                    <a:lnTo>
                      <a:pt x="2322" y="11"/>
                    </a:lnTo>
                    <a:lnTo>
                      <a:pt x="2428" y="24"/>
                    </a:lnTo>
                    <a:lnTo>
                      <a:pt x="2532" y="43"/>
                    </a:lnTo>
                    <a:lnTo>
                      <a:pt x="2633" y="66"/>
                    </a:lnTo>
                    <a:lnTo>
                      <a:pt x="2733" y="95"/>
                    </a:lnTo>
                    <a:lnTo>
                      <a:pt x="2831" y="128"/>
                    </a:lnTo>
                    <a:lnTo>
                      <a:pt x="2927" y="166"/>
                    </a:lnTo>
                    <a:lnTo>
                      <a:pt x="3020" y="208"/>
                    </a:lnTo>
                    <a:lnTo>
                      <a:pt x="3111" y="255"/>
                    </a:lnTo>
                    <a:lnTo>
                      <a:pt x="3199" y="306"/>
                    </a:lnTo>
                    <a:lnTo>
                      <a:pt x="3284" y="360"/>
                    </a:lnTo>
                    <a:lnTo>
                      <a:pt x="3367" y="419"/>
                    </a:lnTo>
                    <a:lnTo>
                      <a:pt x="3447" y="481"/>
                    </a:lnTo>
                    <a:lnTo>
                      <a:pt x="3524" y="547"/>
                    </a:lnTo>
                    <a:lnTo>
                      <a:pt x="3596" y="618"/>
                    </a:lnTo>
                    <a:lnTo>
                      <a:pt x="3666" y="691"/>
                    </a:lnTo>
                    <a:lnTo>
                      <a:pt x="3732" y="767"/>
                    </a:lnTo>
                    <a:lnTo>
                      <a:pt x="3795" y="847"/>
                    </a:lnTo>
                    <a:lnTo>
                      <a:pt x="3854" y="930"/>
                    </a:lnTo>
                    <a:lnTo>
                      <a:pt x="3909" y="1015"/>
                    </a:lnTo>
                    <a:lnTo>
                      <a:pt x="3959" y="1103"/>
                    </a:lnTo>
                    <a:lnTo>
                      <a:pt x="4006" y="1194"/>
                    </a:lnTo>
                    <a:lnTo>
                      <a:pt x="4049" y="1288"/>
                    </a:lnTo>
                    <a:lnTo>
                      <a:pt x="4086" y="1383"/>
                    </a:lnTo>
                    <a:lnTo>
                      <a:pt x="4119" y="1481"/>
                    </a:lnTo>
                    <a:lnTo>
                      <a:pt x="4147" y="1582"/>
                    </a:lnTo>
                    <a:lnTo>
                      <a:pt x="4171" y="1684"/>
                    </a:lnTo>
                    <a:lnTo>
                      <a:pt x="4189" y="1787"/>
                    </a:lnTo>
                    <a:lnTo>
                      <a:pt x="4203" y="1893"/>
                    </a:lnTo>
                    <a:lnTo>
                      <a:pt x="4211" y="2000"/>
                    </a:lnTo>
                    <a:lnTo>
                      <a:pt x="4213" y="210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61" name="Rectangle 78">
                <a:extLst>
                  <a:ext uri="{FF2B5EF4-FFF2-40B4-BE49-F238E27FC236}">
                    <a16:creationId xmlns:a16="http://schemas.microsoft.com/office/drawing/2014/main" id="{5E508461-B41F-4F9F-9D72-F59EDC9070B3}"/>
                  </a:ext>
                </a:extLst>
              </p:cNvPr>
              <p:cNvSpPr>
                <a:spLocks noChangeArrowheads="1"/>
              </p:cNvSpPr>
              <p:nvPr/>
            </p:nvSpPr>
            <p:spPr bwMode="auto">
              <a:xfrm>
                <a:off x="3054350" y="2297113"/>
                <a:ext cx="104775" cy="41925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62" name="Freeform 88">
                <a:extLst>
                  <a:ext uri="{FF2B5EF4-FFF2-40B4-BE49-F238E27FC236}">
                    <a16:creationId xmlns:a16="http://schemas.microsoft.com/office/drawing/2014/main" id="{5A30FA59-371F-4516-8B69-3AB30E6A61FF}"/>
                  </a:ext>
                </a:extLst>
              </p:cNvPr>
              <p:cNvSpPr>
                <a:spLocks/>
              </p:cNvSpPr>
              <p:nvPr/>
            </p:nvSpPr>
            <p:spPr bwMode="auto">
              <a:xfrm>
                <a:off x="3635375" y="2184400"/>
                <a:ext cx="303213" cy="417513"/>
              </a:xfrm>
              <a:custGeom>
                <a:avLst/>
                <a:gdLst>
                  <a:gd name="T0" fmla="*/ 398 w 952"/>
                  <a:gd name="T1" fmla="*/ 1307 h 1317"/>
                  <a:gd name="T2" fmla="*/ 323 w 952"/>
                  <a:gd name="T3" fmla="*/ 1277 h 1317"/>
                  <a:gd name="T4" fmla="*/ 284 w 952"/>
                  <a:gd name="T5" fmla="*/ 1258 h 1317"/>
                  <a:gd name="T6" fmla="*/ 241 w 952"/>
                  <a:gd name="T7" fmla="*/ 1235 h 1317"/>
                  <a:gd name="T8" fmla="*/ 197 w 952"/>
                  <a:gd name="T9" fmla="*/ 1207 h 1317"/>
                  <a:gd name="T10" fmla="*/ 155 w 952"/>
                  <a:gd name="T11" fmla="*/ 1174 h 1317"/>
                  <a:gd name="T12" fmla="*/ 113 w 952"/>
                  <a:gd name="T13" fmla="*/ 1137 h 1317"/>
                  <a:gd name="T14" fmla="*/ 76 w 952"/>
                  <a:gd name="T15" fmla="*/ 1095 h 1317"/>
                  <a:gd name="T16" fmla="*/ 45 w 952"/>
                  <a:gd name="T17" fmla="*/ 1047 h 1317"/>
                  <a:gd name="T18" fmla="*/ 21 w 952"/>
                  <a:gd name="T19" fmla="*/ 995 h 1317"/>
                  <a:gd name="T20" fmla="*/ 5 w 952"/>
                  <a:gd name="T21" fmla="*/ 937 h 1317"/>
                  <a:gd name="T22" fmla="*/ 0 w 952"/>
                  <a:gd name="T23" fmla="*/ 873 h 1317"/>
                  <a:gd name="T24" fmla="*/ 8 w 952"/>
                  <a:gd name="T25" fmla="*/ 803 h 1317"/>
                  <a:gd name="T26" fmla="*/ 29 w 952"/>
                  <a:gd name="T27" fmla="*/ 729 h 1317"/>
                  <a:gd name="T28" fmla="*/ 61 w 952"/>
                  <a:gd name="T29" fmla="*/ 654 h 1317"/>
                  <a:gd name="T30" fmla="*/ 102 w 952"/>
                  <a:gd name="T31" fmla="*/ 581 h 1317"/>
                  <a:gd name="T32" fmla="*/ 149 w 952"/>
                  <a:gd name="T33" fmla="*/ 511 h 1317"/>
                  <a:gd name="T34" fmla="*/ 202 w 952"/>
                  <a:gd name="T35" fmla="*/ 442 h 1317"/>
                  <a:gd name="T36" fmla="*/ 259 w 952"/>
                  <a:gd name="T37" fmla="*/ 377 h 1317"/>
                  <a:gd name="T38" fmla="*/ 319 w 952"/>
                  <a:gd name="T39" fmla="*/ 317 h 1317"/>
                  <a:gd name="T40" fmla="*/ 379 w 952"/>
                  <a:gd name="T41" fmla="*/ 259 h 1317"/>
                  <a:gd name="T42" fmla="*/ 439 w 952"/>
                  <a:gd name="T43" fmla="*/ 206 h 1317"/>
                  <a:gd name="T44" fmla="*/ 497 w 952"/>
                  <a:gd name="T45" fmla="*/ 158 h 1317"/>
                  <a:gd name="T46" fmla="*/ 576 w 952"/>
                  <a:gd name="T47" fmla="*/ 97 h 1317"/>
                  <a:gd name="T48" fmla="*/ 660 w 952"/>
                  <a:gd name="T49" fmla="*/ 37 h 1317"/>
                  <a:gd name="T50" fmla="*/ 708 w 952"/>
                  <a:gd name="T51" fmla="*/ 5 h 1317"/>
                  <a:gd name="T52" fmla="*/ 718 w 952"/>
                  <a:gd name="T53" fmla="*/ 8 h 1317"/>
                  <a:gd name="T54" fmla="*/ 739 w 952"/>
                  <a:gd name="T55" fmla="*/ 61 h 1317"/>
                  <a:gd name="T56" fmla="*/ 774 w 952"/>
                  <a:gd name="T57" fmla="*/ 156 h 1317"/>
                  <a:gd name="T58" fmla="*/ 819 w 952"/>
                  <a:gd name="T59" fmla="*/ 282 h 1317"/>
                  <a:gd name="T60" fmla="*/ 865 w 952"/>
                  <a:gd name="T61" fmla="*/ 423 h 1317"/>
                  <a:gd name="T62" fmla="*/ 898 w 952"/>
                  <a:gd name="T63" fmla="*/ 534 h 1317"/>
                  <a:gd name="T64" fmla="*/ 916 w 952"/>
                  <a:gd name="T65" fmla="*/ 607 h 1317"/>
                  <a:gd name="T66" fmla="*/ 932 w 952"/>
                  <a:gd name="T67" fmla="*/ 678 h 1317"/>
                  <a:gd name="T68" fmla="*/ 943 w 952"/>
                  <a:gd name="T69" fmla="*/ 745 h 1317"/>
                  <a:gd name="T70" fmla="*/ 951 w 952"/>
                  <a:gd name="T71" fmla="*/ 806 h 1317"/>
                  <a:gd name="T72" fmla="*/ 952 w 952"/>
                  <a:gd name="T73" fmla="*/ 860 h 1317"/>
                  <a:gd name="T74" fmla="*/ 946 w 952"/>
                  <a:gd name="T75" fmla="*/ 928 h 1317"/>
                  <a:gd name="T76" fmla="*/ 926 w 952"/>
                  <a:gd name="T77" fmla="*/ 1008 h 1317"/>
                  <a:gd name="T78" fmla="*/ 900 w 952"/>
                  <a:gd name="T79" fmla="*/ 1076 h 1317"/>
                  <a:gd name="T80" fmla="*/ 867 w 952"/>
                  <a:gd name="T81" fmla="*/ 1134 h 1317"/>
                  <a:gd name="T82" fmla="*/ 827 w 952"/>
                  <a:gd name="T83" fmla="*/ 1182 h 1317"/>
                  <a:gd name="T84" fmla="*/ 785 w 952"/>
                  <a:gd name="T85" fmla="*/ 1220 h 1317"/>
                  <a:gd name="T86" fmla="*/ 739 w 952"/>
                  <a:gd name="T87" fmla="*/ 1251 h 1317"/>
                  <a:gd name="T88" fmla="*/ 691 w 952"/>
                  <a:gd name="T89" fmla="*/ 1274 h 1317"/>
                  <a:gd name="T90" fmla="*/ 644 w 952"/>
                  <a:gd name="T91" fmla="*/ 1292 h 1317"/>
                  <a:gd name="T92" fmla="*/ 598 w 952"/>
                  <a:gd name="T93" fmla="*/ 1304 h 1317"/>
                  <a:gd name="T94" fmla="*/ 554 w 952"/>
                  <a:gd name="T95" fmla="*/ 1311 h 1317"/>
                  <a:gd name="T96" fmla="*/ 514 w 952"/>
                  <a:gd name="T97" fmla="*/ 1316 h 1317"/>
                  <a:gd name="T98" fmla="*/ 466 w 952"/>
                  <a:gd name="T99" fmla="*/ 1317 h 1317"/>
                  <a:gd name="T100" fmla="*/ 426 w 952"/>
                  <a:gd name="T101" fmla="*/ 1316 h 1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52" h="1317">
                    <a:moveTo>
                      <a:pt x="421" y="1315"/>
                    </a:moveTo>
                    <a:lnTo>
                      <a:pt x="398" y="1307"/>
                    </a:lnTo>
                    <a:lnTo>
                      <a:pt x="342" y="1286"/>
                    </a:lnTo>
                    <a:lnTo>
                      <a:pt x="323" y="1277"/>
                    </a:lnTo>
                    <a:lnTo>
                      <a:pt x="304" y="1269"/>
                    </a:lnTo>
                    <a:lnTo>
                      <a:pt x="284" y="1258"/>
                    </a:lnTo>
                    <a:lnTo>
                      <a:pt x="262" y="1248"/>
                    </a:lnTo>
                    <a:lnTo>
                      <a:pt x="241" y="1235"/>
                    </a:lnTo>
                    <a:lnTo>
                      <a:pt x="220" y="1222"/>
                    </a:lnTo>
                    <a:lnTo>
                      <a:pt x="197" y="1207"/>
                    </a:lnTo>
                    <a:lnTo>
                      <a:pt x="176" y="1191"/>
                    </a:lnTo>
                    <a:lnTo>
                      <a:pt x="155" y="1174"/>
                    </a:lnTo>
                    <a:lnTo>
                      <a:pt x="133" y="1156"/>
                    </a:lnTo>
                    <a:lnTo>
                      <a:pt x="113" y="1137"/>
                    </a:lnTo>
                    <a:lnTo>
                      <a:pt x="94" y="1117"/>
                    </a:lnTo>
                    <a:lnTo>
                      <a:pt x="76" y="1095"/>
                    </a:lnTo>
                    <a:lnTo>
                      <a:pt x="60" y="1072"/>
                    </a:lnTo>
                    <a:lnTo>
                      <a:pt x="45" y="1047"/>
                    </a:lnTo>
                    <a:lnTo>
                      <a:pt x="31" y="1022"/>
                    </a:lnTo>
                    <a:lnTo>
                      <a:pt x="21" y="995"/>
                    </a:lnTo>
                    <a:lnTo>
                      <a:pt x="11" y="966"/>
                    </a:lnTo>
                    <a:lnTo>
                      <a:pt x="5" y="937"/>
                    </a:lnTo>
                    <a:lnTo>
                      <a:pt x="1" y="906"/>
                    </a:lnTo>
                    <a:lnTo>
                      <a:pt x="0" y="873"/>
                    </a:lnTo>
                    <a:lnTo>
                      <a:pt x="3" y="839"/>
                    </a:lnTo>
                    <a:lnTo>
                      <a:pt x="8" y="803"/>
                    </a:lnTo>
                    <a:lnTo>
                      <a:pt x="17" y="766"/>
                    </a:lnTo>
                    <a:lnTo>
                      <a:pt x="29" y="729"/>
                    </a:lnTo>
                    <a:lnTo>
                      <a:pt x="44" y="691"/>
                    </a:lnTo>
                    <a:lnTo>
                      <a:pt x="61" y="654"/>
                    </a:lnTo>
                    <a:lnTo>
                      <a:pt x="80" y="617"/>
                    </a:lnTo>
                    <a:lnTo>
                      <a:pt x="102" y="581"/>
                    </a:lnTo>
                    <a:lnTo>
                      <a:pt x="125" y="546"/>
                    </a:lnTo>
                    <a:lnTo>
                      <a:pt x="149" y="511"/>
                    </a:lnTo>
                    <a:lnTo>
                      <a:pt x="175" y="476"/>
                    </a:lnTo>
                    <a:lnTo>
                      <a:pt x="202" y="442"/>
                    </a:lnTo>
                    <a:lnTo>
                      <a:pt x="230" y="410"/>
                    </a:lnTo>
                    <a:lnTo>
                      <a:pt x="259" y="377"/>
                    </a:lnTo>
                    <a:lnTo>
                      <a:pt x="289" y="347"/>
                    </a:lnTo>
                    <a:lnTo>
                      <a:pt x="319" y="317"/>
                    </a:lnTo>
                    <a:lnTo>
                      <a:pt x="348" y="287"/>
                    </a:lnTo>
                    <a:lnTo>
                      <a:pt x="379" y="259"/>
                    </a:lnTo>
                    <a:lnTo>
                      <a:pt x="409" y="233"/>
                    </a:lnTo>
                    <a:lnTo>
                      <a:pt x="439" y="206"/>
                    </a:lnTo>
                    <a:lnTo>
                      <a:pt x="469" y="181"/>
                    </a:lnTo>
                    <a:lnTo>
                      <a:pt x="497" y="158"/>
                    </a:lnTo>
                    <a:lnTo>
                      <a:pt x="525" y="137"/>
                    </a:lnTo>
                    <a:lnTo>
                      <a:pt x="576" y="97"/>
                    </a:lnTo>
                    <a:lnTo>
                      <a:pt x="622" y="63"/>
                    </a:lnTo>
                    <a:lnTo>
                      <a:pt x="660" y="37"/>
                    </a:lnTo>
                    <a:lnTo>
                      <a:pt x="690" y="16"/>
                    </a:lnTo>
                    <a:lnTo>
                      <a:pt x="708" y="5"/>
                    </a:lnTo>
                    <a:lnTo>
                      <a:pt x="715" y="0"/>
                    </a:lnTo>
                    <a:lnTo>
                      <a:pt x="718" y="8"/>
                    </a:lnTo>
                    <a:lnTo>
                      <a:pt x="726" y="28"/>
                    </a:lnTo>
                    <a:lnTo>
                      <a:pt x="739" y="61"/>
                    </a:lnTo>
                    <a:lnTo>
                      <a:pt x="755" y="104"/>
                    </a:lnTo>
                    <a:lnTo>
                      <a:pt x="774" y="156"/>
                    </a:lnTo>
                    <a:lnTo>
                      <a:pt x="795" y="216"/>
                    </a:lnTo>
                    <a:lnTo>
                      <a:pt x="819" y="282"/>
                    </a:lnTo>
                    <a:lnTo>
                      <a:pt x="842" y="351"/>
                    </a:lnTo>
                    <a:lnTo>
                      <a:pt x="865" y="423"/>
                    </a:lnTo>
                    <a:lnTo>
                      <a:pt x="887" y="498"/>
                    </a:lnTo>
                    <a:lnTo>
                      <a:pt x="898" y="534"/>
                    </a:lnTo>
                    <a:lnTo>
                      <a:pt x="907" y="571"/>
                    </a:lnTo>
                    <a:lnTo>
                      <a:pt x="916" y="607"/>
                    </a:lnTo>
                    <a:lnTo>
                      <a:pt x="924" y="643"/>
                    </a:lnTo>
                    <a:lnTo>
                      <a:pt x="932" y="678"/>
                    </a:lnTo>
                    <a:lnTo>
                      <a:pt x="938" y="712"/>
                    </a:lnTo>
                    <a:lnTo>
                      <a:pt x="943" y="745"/>
                    </a:lnTo>
                    <a:lnTo>
                      <a:pt x="948" y="776"/>
                    </a:lnTo>
                    <a:lnTo>
                      <a:pt x="951" y="806"/>
                    </a:lnTo>
                    <a:lnTo>
                      <a:pt x="952" y="833"/>
                    </a:lnTo>
                    <a:lnTo>
                      <a:pt x="952" y="860"/>
                    </a:lnTo>
                    <a:lnTo>
                      <a:pt x="951" y="883"/>
                    </a:lnTo>
                    <a:lnTo>
                      <a:pt x="946" y="928"/>
                    </a:lnTo>
                    <a:lnTo>
                      <a:pt x="937" y="970"/>
                    </a:lnTo>
                    <a:lnTo>
                      <a:pt x="926" y="1008"/>
                    </a:lnTo>
                    <a:lnTo>
                      <a:pt x="915" y="1043"/>
                    </a:lnTo>
                    <a:lnTo>
                      <a:pt x="900" y="1076"/>
                    </a:lnTo>
                    <a:lnTo>
                      <a:pt x="884" y="1106"/>
                    </a:lnTo>
                    <a:lnTo>
                      <a:pt x="867" y="1134"/>
                    </a:lnTo>
                    <a:lnTo>
                      <a:pt x="848" y="1159"/>
                    </a:lnTo>
                    <a:lnTo>
                      <a:pt x="827" y="1182"/>
                    </a:lnTo>
                    <a:lnTo>
                      <a:pt x="806" y="1202"/>
                    </a:lnTo>
                    <a:lnTo>
                      <a:pt x="785" y="1220"/>
                    </a:lnTo>
                    <a:lnTo>
                      <a:pt x="761" y="1237"/>
                    </a:lnTo>
                    <a:lnTo>
                      <a:pt x="739" y="1251"/>
                    </a:lnTo>
                    <a:lnTo>
                      <a:pt x="715" y="1264"/>
                    </a:lnTo>
                    <a:lnTo>
                      <a:pt x="691" y="1274"/>
                    </a:lnTo>
                    <a:lnTo>
                      <a:pt x="668" y="1284"/>
                    </a:lnTo>
                    <a:lnTo>
                      <a:pt x="644" y="1292"/>
                    </a:lnTo>
                    <a:lnTo>
                      <a:pt x="621" y="1299"/>
                    </a:lnTo>
                    <a:lnTo>
                      <a:pt x="598" y="1304"/>
                    </a:lnTo>
                    <a:lnTo>
                      <a:pt x="576" y="1308"/>
                    </a:lnTo>
                    <a:lnTo>
                      <a:pt x="554" y="1311"/>
                    </a:lnTo>
                    <a:lnTo>
                      <a:pt x="534" y="1314"/>
                    </a:lnTo>
                    <a:lnTo>
                      <a:pt x="514" y="1316"/>
                    </a:lnTo>
                    <a:lnTo>
                      <a:pt x="496" y="1317"/>
                    </a:lnTo>
                    <a:lnTo>
                      <a:pt x="466" y="1317"/>
                    </a:lnTo>
                    <a:lnTo>
                      <a:pt x="442" y="1317"/>
                    </a:lnTo>
                    <a:lnTo>
                      <a:pt x="426" y="1316"/>
                    </a:lnTo>
                    <a:lnTo>
                      <a:pt x="421" y="13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63" name="Freeform 93">
                <a:extLst>
                  <a:ext uri="{FF2B5EF4-FFF2-40B4-BE49-F238E27FC236}">
                    <a16:creationId xmlns:a16="http://schemas.microsoft.com/office/drawing/2014/main" id="{33528BAE-B178-4269-83A8-BBF4A04A87DE}"/>
                  </a:ext>
                </a:extLst>
              </p:cNvPr>
              <p:cNvSpPr>
                <a:spLocks/>
              </p:cNvSpPr>
              <p:nvPr/>
            </p:nvSpPr>
            <p:spPr bwMode="auto">
              <a:xfrm>
                <a:off x="3495675" y="2641600"/>
                <a:ext cx="214313" cy="242888"/>
              </a:xfrm>
              <a:custGeom>
                <a:avLst/>
                <a:gdLst>
                  <a:gd name="T0" fmla="*/ 526 w 676"/>
                  <a:gd name="T1" fmla="*/ 712 h 766"/>
                  <a:gd name="T2" fmla="*/ 573 w 676"/>
                  <a:gd name="T3" fmla="*/ 664 h 766"/>
                  <a:gd name="T4" fmla="*/ 603 w 676"/>
                  <a:gd name="T5" fmla="*/ 627 h 766"/>
                  <a:gd name="T6" fmla="*/ 622 w 676"/>
                  <a:gd name="T7" fmla="*/ 600 h 766"/>
                  <a:gd name="T8" fmla="*/ 641 w 676"/>
                  <a:gd name="T9" fmla="*/ 569 h 766"/>
                  <a:gd name="T10" fmla="*/ 655 w 676"/>
                  <a:gd name="T11" fmla="*/ 536 h 766"/>
                  <a:gd name="T12" fmla="*/ 667 w 676"/>
                  <a:gd name="T13" fmla="*/ 501 h 766"/>
                  <a:gd name="T14" fmla="*/ 675 w 676"/>
                  <a:gd name="T15" fmla="*/ 463 h 766"/>
                  <a:gd name="T16" fmla="*/ 676 w 676"/>
                  <a:gd name="T17" fmla="*/ 425 h 766"/>
                  <a:gd name="T18" fmla="*/ 669 w 676"/>
                  <a:gd name="T19" fmla="*/ 386 h 766"/>
                  <a:gd name="T20" fmla="*/ 656 w 676"/>
                  <a:gd name="T21" fmla="*/ 346 h 766"/>
                  <a:gd name="T22" fmla="*/ 634 w 676"/>
                  <a:gd name="T23" fmla="*/ 306 h 766"/>
                  <a:gd name="T24" fmla="*/ 602 w 676"/>
                  <a:gd name="T25" fmla="*/ 266 h 766"/>
                  <a:gd name="T26" fmla="*/ 564 w 676"/>
                  <a:gd name="T27" fmla="*/ 229 h 766"/>
                  <a:gd name="T28" fmla="*/ 520 w 676"/>
                  <a:gd name="T29" fmla="*/ 195 h 766"/>
                  <a:gd name="T30" fmla="*/ 473 w 676"/>
                  <a:gd name="T31" fmla="*/ 164 h 766"/>
                  <a:gd name="T32" fmla="*/ 424 w 676"/>
                  <a:gd name="T33" fmla="*/ 136 h 766"/>
                  <a:gd name="T34" fmla="*/ 373 w 676"/>
                  <a:gd name="T35" fmla="*/ 112 h 766"/>
                  <a:gd name="T36" fmla="*/ 296 w 676"/>
                  <a:gd name="T37" fmla="*/ 80 h 766"/>
                  <a:gd name="T38" fmla="*/ 196 w 676"/>
                  <a:gd name="T39" fmla="*/ 47 h 766"/>
                  <a:gd name="T40" fmla="*/ 108 w 676"/>
                  <a:gd name="T41" fmla="*/ 23 h 766"/>
                  <a:gd name="T42" fmla="*/ 20 w 676"/>
                  <a:gd name="T43" fmla="*/ 3 h 766"/>
                  <a:gd name="T44" fmla="*/ 1 w 676"/>
                  <a:gd name="T45" fmla="*/ 19 h 766"/>
                  <a:gd name="T46" fmla="*/ 6 w 676"/>
                  <a:gd name="T47" fmla="*/ 151 h 766"/>
                  <a:gd name="T48" fmla="*/ 17 w 676"/>
                  <a:gd name="T49" fmla="*/ 295 h 766"/>
                  <a:gd name="T50" fmla="*/ 30 w 676"/>
                  <a:gd name="T51" fmla="*/ 395 h 766"/>
                  <a:gd name="T52" fmla="*/ 41 w 676"/>
                  <a:gd name="T53" fmla="*/ 467 h 766"/>
                  <a:gd name="T54" fmla="*/ 52 w 676"/>
                  <a:gd name="T55" fmla="*/ 509 h 766"/>
                  <a:gd name="T56" fmla="*/ 63 w 676"/>
                  <a:gd name="T57" fmla="*/ 549 h 766"/>
                  <a:gd name="T58" fmla="*/ 75 w 676"/>
                  <a:gd name="T59" fmla="*/ 582 h 766"/>
                  <a:gd name="T60" fmla="*/ 98 w 676"/>
                  <a:gd name="T61" fmla="*/ 621 h 766"/>
                  <a:gd name="T62" fmla="*/ 130 w 676"/>
                  <a:gd name="T63" fmla="*/ 665 h 766"/>
                  <a:gd name="T64" fmla="*/ 163 w 676"/>
                  <a:gd name="T65" fmla="*/ 700 h 766"/>
                  <a:gd name="T66" fmla="*/ 198 w 676"/>
                  <a:gd name="T67" fmla="*/ 725 h 766"/>
                  <a:gd name="T68" fmla="*/ 234 w 676"/>
                  <a:gd name="T69" fmla="*/ 745 h 766"/>
                  <a:gd name="T70" fmla="*/ 269 w 676"/>
                  <a:gd name="T71" fmla="*/ 757 h 766"/>
                  <a:gd name="T72" fmla="*/ 305 w 676"/>
                  <a:gd name="T73" fmla="*/ 764 h 766"/>
                  <a:gd name="T74" fmla="*/ 340 w 676"/>
                  <a:gd name="T75" fmla="*/ 766 h 766"/>
                  <a:gd name="T76" fmla="*/ 373 w 676"/>
                  <a:gd name="T77" fmla="*/ 765 h 766"/>
                  <a:gd name="T78" fmla="*/ 404 w 676"/>
                  <a:gd name="T79" fmla="*/ 761 h 766"/>
                  <a:gd name="T80" fmla="*/ 446 w 676"/>
                  <a:gd name="T81" fmla="*/ 750 h 766"/>
                  <a:gd name="T82" fmla="*/ 502 w 676"/>
                  <a:gd name="T83" fmla="*/ 728 h 7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76" h="766">
                    <a:moveTo>
                      <a:pt x="514" y="721"/>
                    </a:moveTo>
                    <a:lnTo>
                      <a:pt x="526" y="712"/>
                    </a:lnTo>
                    <a:lnTo>
                      <a:pt x="555" y="684"/>
                    </a:lnTo>
                    <a:lnTo>
                      <a:pt x="573" y="664"/>
                    </a:lnTo>
                    <a:lnTo>
                      <a:pt x="593" y="640"/>
                    </a:lnTo>
                    <a:lnTo>
                      <a:pt x="603" y="627"/>
                    </a:lnTo>
                    <a:lnTo>
                      <a:pt x="613" y="614"/>
                    </a:lnTo>
                    <a:lnTo>
                      <a:pt x="622" y="600"/>
                    </a:lnTo>
                    <a:lnTo>
                      <a:pt x="631" y="584"/>
                    </a:lnTo>
                    <a:lnTo>
                      <a:pt x="641" y="569"/>
                    </a:lnTo>
                    <a:lnTo>
                      <a:pt x="648" y="552"/>
                    </a:lnTo>
                    <a:lnTo>
                      <a:pt x="655" y="536"/>
                    </a:lnTo>
                    <a:lnTo>
                      <a:pt x="662" y="518"/>
                    </a:lnTo>
                    <a:lnTo>
                      <a:pt x="667" y="501"/>
                    </a:lnTo>
                    <a:lnTo>
                      <a:pt x="671" y="482"/>
                    </a:lnTo>
                    <a:lnTo>
                      <a:pt x="675" y="463"/>
                    </a:lnTo>
                    <a:lnTo>
                      <a:pt x="676" y="444"/>
                    </a:lnTo>
                    <a:lnTo>
                      <a:pt x="676" y="425"/>
                    </a:lnTo>
                    <a:lnTo>
                      <a:pt x="674" y="406"/>
                    </a:lnTo>
                    <a:lnTo>
                      <a:pt x="669" y="386"/>
                    </a:lnTo>
                    <a:lnTo>
                      <a:pt x="664" y="367"/>
                    </a:lnTo>
                    <a:lnTo>
                      <a:pt x="656" y="346"/>
                    </a:lnTo>
                    <a:lnTo>
                      <a:pt x="646" y="326"/>
                    </a:lnTo>
                    <a:lnTo>
                      <a:pt x="634" y="306"/>
                    </a:lnTo>
                    <a:lnTo>
                      <a:pt x="619" y="286"/>
                    </a:lnTo>
                    <a:lnTo>
                      <a:pt x="602" y="266"/>
                    </a:lnTo>
                    <a:lnTo>
                      <a:pt x="583" y="247"/>
                    </a:lnTo>
                    <a:lnTo>
                      <a:pt x="564" y="229"/>
                    </a:lnTo>
                    <a:lnTo>
                      <a:pt x="543" y="212"/>
                    </a:lnTo>
                    <a:lnTo>
                      <a:pt x="520" y="195"/>
                    </a:lnTo>
                    <a:lnTo>
                      <a:pt x="498" y="179"/>
                    </a:lnTo>
                    <a:lnTo>
                      <a:pt x="473" y="164"/>
                    </a:lnTo>
                    <a:lnTo>
                      <a:pt x="449" y="150"/>
                    </a:lnTo>
                    <a:lnTo>
                      <a:pt x="424" y="136"/>
                    </a:lnTo>
                    <a:lnTo>
                      <a:pt x="399" y="124"/>
                    </a:lnTo>
                    <a:lnTo>
                      <a:pt x="373" y="112"/>
                    </a:lnTo>
                    <a:lnTo>
                      <a:pt x="347" y="101"/>
                    </a:lnTo>
                    <a:lnTo>
                      <a:pt x="296" y="80"/>
                    </a:lnTo>
                    <a:lnTo>
                      <a:pt x="245" y="62"/>
                    </a:lnTo>
                    <a:lnTo>
                      <a:pt x="196" y="47"/>
                    </a:lnTo>
                    <a:lnTo>
                      <a:pt x="150" y="33"/>
                    </a:lnTo>
                    <a:lnTo>
                      <a:pt x="108" y="23"/>
                    </a:lnTo>
                    <a:lnTo>
                      <a:pt x="72" y="14"/>
                    </a:lnTo>
                    <a:lnTo>
                      <a:pt x="20" y="3"/>
                    </a:lnTo>
                    <a:lnTo>
                      <a:pt x="0" y="0"/>
                    </a:lnTo>
                    <a:lnTo>
                      <a:pt x="1" y="19"/>
                    </a:lnTo>
                    <a:lnTo>
                      <a:pt x="2" y="73"/>
                    </a:lnTo>
                    <a:lnTo>
                      <a:pt x="6" y="151"/>
                    </a:lnTo>
                    <a:lnTo>
                      <a:pt x="13" y="245"/>
                    </a:lnTo>
                    <a:lnTo>
                      <a:pt x="17" y="295"/>
                    </a:lnTo>
                    <a:lnTo>
                      <a:pt x="23" y="345"/>
                    </a:lnTo>
                    <a:lnTo>
                      <a:pt x="30" y="395"/>
                    </a:lnTo>
                    <a:lnTo>
                      <a:pt x="37" y="443"/>
                    </a:lnTo>
                    <a:lnTo>
                      <a:pt x="41" y="467"/>
                    </a:lnTo>
                    <a:lnTo>
                      <a:pt x="47" y="488"/>
                    </a:lnTo>
                    <a:lnTo>
                      <a:pt x="52" y="509"/>
                    </a:lnTo>
                    <a:lnTo>
                      <a:pt x="57" y="529"/>
                    </a:lnTo>
                    <a:lnTo>
                      <a:pt x="63" y="549"/>
                    </a:lnTo>
                    <a:lnTo>
                      <a:pt x="69" y="566"/>
                    </a:lnTo>
                    <a:lnTo>
                      <a:pt x="75" y="582"/>
                    </a:lnTo>
                    <a:lnTo>
                      <a:pt x="83" y="596"/>
                    </a:lnTo>
                    <a:lnTo>
                      <a:pt x="98" y="621"/>
                    </a:lnTo>
                    <a:lnTo>
                      <a:pt x="113" y="644"/>
                    </a:lnTo>
                    <a:lnTo>
                      <a:pt x="130" y="665"/>
                    </a:lnTo>
                    <a:lnTo>
                      <a:pt x="146" y="683"/>
                    </a:lnTo>
                    <a:lnTo>
                      <a:pt x="163" y="700"/>
                    </a:lnTo>
                    <a:lnTo>
                      <a:pt x="180" y="714"/>
                    </a:lnTo>
                    <a:lnTo>
                      <a:pt x="198" y="725"/>
                    </a:lnTo>
                    <a:lnTo>
                      <a:pt x="216" y="736"/>
                    </a:lnTo>
                    <a:lnTo>
                      <a:pt x="234" y="745"/>
                    </a:lnTo>
                    <a:lnTo>
                      <a:pt x="252" y="752"/>
                    </a:lnTo>
                    <a:lnTo>
                      <a:pt x="269" y="757"/>
                    </a:lnTo>
                    <a:lnTo>
                      <a:pt x="287" y="762"/>
                    </a:lnTo>
                    <a:lnTo>
                      <a:pt x="305" y="764"/>
                    </a:lnTo>
                    <a:lnTo>
                      <a:pt x="322" y="766"/>
                    </a:lnTo>
                    <a:lnTo>
                      <a:pt x="340" y="766"/>
                    </a:lnTo>
                    <a:lnTo>
                      <a:pt x="356" y="766"/>
                    </a:lnTo>
                    <a:lnTo>
                      <a:pt x="373" y="765"/>
                    </a:lnTo>
                    <a:lnTo>
                      <a:pt x="389" y="763"/>
                    </a:lnTo>
                    <a:lnTo>
                      <a:pt x="404" y="761"/>
                    </a:lnTo>
                    <a:lnTo>
                      <a:pt x="418" y="757"/>
                    </a:lnTo>
                    <a:lnTo>
                      <a:pt x="446" y="750"/>
                    </a:lnTo>
                    <a:lnTo>
                      <a:pt x="468" y="742"/>
                    </a:lnTo>
                    <a:lnTo>
                      <a:pt x="502" y="728"/>
                    </a:lnTo>
                    <a:lnTo>
                      <a:pt x="514" y="7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64" name="Freeform 97">
                <a:extLst>
                  <a:ext uri="{FF2B5EF4-FFF2-40B4-BE49-F238E27FC236}">
                    <a16:creationId xmlns:a16="http://schemas.microsoft.com/office/drawing/2014/main" id="{12C2AACD-1575-4D6A-AA84-A5221FE8C144}"/>
                  </a:ext>
                </a:extLst>
              </p:cNvPr>
              <p:cNvSpPr>
                <a:spLocks/>
              </p:cNvSpPr>
              <p:nvPr/>
            </p:nvSpPr>
            <p:spPr bwMode="auto">
              <a:xfrm>
                <a:off x="3841750" y="2579688"/>
                <a:ext cx="252413" cy="287338"/>
              </a:xfrm>
              <a:custGeom>
                <a:avLst/>
                <a:gdLst>
                  <a:gd name="T0" fmla="*/ 176 w 796"/>
                  <a:gd name="T1" fmla="*/ 840 h 905"/>
                  <a:gd name="T2" fmla="*/ 120 w 796"/>
                  <a:gd name="T3" fmla="*/ 783 h 905"/>
                  <a:gd name="T4" fmla="*/ 85 w 796"/>
                  <a:gd name="T5" fmla="*/ 741 h 905"/>
                  <a:gd name="T6" fmla="*/ 62 w 796"/>
                  <a:gd name="T7" fmla="*/ 708 h 905"/>
                  <a:gd name="T8" fmla="*/ 41 w 796"/>
                  <a:gd name="T9" fmla="*/ 670 h 905"/>
                  <a:gd name="T10" fmla="*/ 23 w 796"/>
                  <a:gd name="T11" fmla="*/ 632 h 905"/>
                  <a:gd name="T12" fmla="*/ 9 w 796"/>
                  <a:gd name="T13" fmla="*/ 590 h 905"/>
                  <a:gd name="T14" fmla="*/ 1 w 796"/>
                  <a:gd name="T15" fmla="*/ 547 h 905"/>
                  <a:gd name="T16" fmla="*/ 0 w 796"/>
                  <a:gd name="T17" fmla="*/ 502 h 905"/>
                  <a:gd name="T18" fmla="*/ 6 w 796"/>
                  <a:gd name="T19" fmla="*/ 456 h 905"/>
                  <a:gd name="T20" fmla="*/ 22 w 796"/>
                  <a:gd name="T21" fmla="*/ 408 h 905"/>
                  <a:gd name="T22" fmla="*/ 48 w 796"/>
                  <a:gd name="T23" fmla="*/ 361 h 905"/>
                  <a:gd name="T24" fmla="*/ 86 w 796"/>
                  <a:gd name="T25" fmla="*/ 315 h 905"/>
                  <a:gd name="T26" fmla="*/ 132 w 796"/>
                  <a:gd name="T27" fmla="*/ 271 h 905"/>
                  <a:gd name="T28" fmla="*/ 182 w 796"/>
                  <a:gd name="T29" fmla="*/ 230 h 905"/>
                  <a:gd name="T30" fmla="*/ 237 w 796"/>
                  <a:gd name="T31" fmla="*/ 195 h 905"/>
                  <a:gd name="T32" fmla="*/ 295 w 796"/>
                  <a:gd name="T33" fmla="*/ 162 h 905"/>
                  <a:gd name="T34" fmla="*/ 356 w 796"/>
                  <a:gd name="T35" fmla="*/ 133 h 905"/>
                  <a:gd name="T36" fmla="*/ 417 w 796"/>
                  <a:gd name="T37" fmla="*/ 107 h 905"/>
                  <a:gd name="T38" fmla="*/ 477 w 796"/>
                  <a:gd name="T39" fmla="*/ 84 h 905"/>
                  <a:gd name="T40" fmla="*/ 565 w 796"/>
                  <a:gd name="T41" fmla="*/ 56 h 905"/>
                  <a:gd name="T42" fmla="*/ 667 w 796"/>
                  <a:gd name="T43" fmla="*/ 28 h 905"/>
                  <a:gd name="T44" fmla="*/ 772 w 796"/>
                  <a:gd name="T45" fmla="*/ 5 h 905"/>
                  <a:gd name="T46" fmla="*/ 795 w 796"/>
                  <a:gd name="T47" fmla="*/ 24 h 905"/>
                  <a:gd name="T48" fmla="*/ 791 w 796"/>
                  <a:gd name="T49" fmla="*/ 130 h 905"/>
                  <a:gd name="T50" fmla="*/ 785 w 796"/>
                  <a:gd name="T51" fmla="*/ 233 h 905"/>
                  <a:gd name="T52" fmla="*/ 775 w 796"/>
                  <a:gd name="T53" fmla="*/ 349 h 905"/>
                  <a:gd name="T54" fmla="*/ 761 w 796"/>
                  <a:gd name="T55" fmla="*/ 466 h 905"/>
                  <a:gd name="T56" fmla="*/ 747 w 796"/>
                  <a:gd name="T57" fmla="*/ 550 h 905"/>
                  <a:gd name="T58" fmla="*/ 735 w 796"/>
                  <a:gd name="T59" fmla="*/ 601 h 905"/>
                  <a:gd name="T60" fmla="*/ 721 w 796"/>
                  <a:gd name="T61" fmla="*/ 647 h 905"/>
                  <a:gd name="T62" fmla="*/ 706 w 796"/>
                  <a:gd name="T63" fmla="*/ 686 h 905"/>
                  <a:gd name="T64" fmla="*/ 681 w 796"/>
                  <a:gd name="T65" fmla="*/ 733 h 905"/>
                  <a:gd name="T66" fmla="*/ 643 w 796"/>
                  <a:gd name="T67" fmla="*/ 784 h 905"/>
                  <a:gd name="T68" fmla="*/ 604 w 796"/>
                  <a:gd name="T69" fmla="*/ 825 h 905"/>
                  <a:gd name="T70" fmla="*/ 563 w 796"/>
                  <a:gd name="T71" fmla="*/ 857 h 905"/>
                  <a:gd name="T72" fmla="*/ 520 w 796"/>
                  <a:gd name="T73" fmla="*/ 879 h 905"/>
                  <a:gd name="T74" fmla="*/ 477 w 796"/>
                  <a:gd name="T75" fmla="*/ 893 h 905"/>
                  <a:gd name="T76" fmla="*/ 436 w 796"/>
                  <a:gd name="T77" fmla="*/ 901 h 905"/>
                  <a:gd name="T78" fmla="*/ 394 w 796"/>
                  <a:gd name="T79" fmla="*/ 905 h 905"/>
                  <a:gd name="T80" fmla="*/ 356 w 796"/>
                  <a:gd name="T81" fmla="*/ 902 h 905"/>
                  <a:gd name="T82" fmla="*/ 319 w 796"/>
                  <a:gd name="T83" fmla="*/ 897 h 905"/>
                  <a:gd name="T84" fmla="*/ 271 w 796"/>
                  <a:gd name="T85" fmla="*/ 884 h 905"/>
                  <a:gd name="T86" fmla="*/ 204 w 796"/>
                  <a:gd name="T87" fmla="*/ 859 h 9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96" h="905">
                    <a:moveTo>
                      <a:pt x="189" y="851"/>
                    </a:moveTo>
                    <a:lnTo>
                      <a:pt x="176" y="840"/>
                    </a:lnTo>
                    <a:lnTo>
                      <a:pt x="141" y="807"/>
                    </a:lnTo>
                    <a:lnTo>
                      <a:pt x="120" y="783"/>
                    </a:lnTo>
                    <a:lnTo>
                      <a:pt x="96" y="755"/>
                    </a:lnTo>
                    <a:lnTo>
                      <a:pt x="85" y="741"/>
                    </a:lnTo>
                    <a:lnTo>
                      <a:pt x="73" y="725"/>
                    </a:lnTo>
                    <a:lnTo>
                      <a:pt x="62" y="708"/>
                    </a:lnTo>
                    <a:lnTo>
                      <a:pt x="52" y="689"/>
                    </a:lnTo>
                    <a:lnTo>
                      <a:pt x="41" y="670"/>
                    </a:lnTo>
                    <a:lnTo>
                      <a:pt x="31" y="651"/>
                    </a:lnTo>
                    <a:lnTo>
                      <a:pt x="23" y="632"/>
                    </a:lnTo>
                    <a:lnTo>
                      <a:pt x="16" y="612"/>
                    </a:lnTo>
                    <a:lnTo>
                      <a:pt x="9" y="590"/>
                    </a:lnTo>
                    <a:lnTo>
                      <a:pt x="5" y="569"/>
                    </a:lnTo>
                    <a:lnTo>
                      <a:pt x="1" y="547"/>
                    </a:lnTo>
                    <a:lnTo>
                      <a:pt x="0" y="524"/>
                    </a:lnTo>
                    <a:lnTo>
                      <a:pt x="0" y="502"/>
                    </a:lnTo>
                    <a:lnTo>
                      <a:pt x="2" y="479"/>
                    </a:lnTo>
                    <a:lnTo>
                      <a:pt x="6" y="456"/>
                    </a:lnTo>
                    <a:lnTo>
                      <a:pt x="12" y="433"/>
                    </a:lnTo>
                    <a:lnTo>
                      <a:pt x="22" y="408"/>
                    </a:lnTo>
                    <a:lnTo>
                      <a:pt x="34" y="385"/>
                    </a:lnTo>
                    <a:lnTo>
                      <a:pt x="48" y="361"/>
                    </a:lnTo>
                    <a:lnTo>
                      <a:pt x="66" y="338"/>
                    </a:lnTo>
                    <a:lnTo>
                      <a:pt x="86" y="315"/>
                    </a:lnTo>
                    <a:lnTo>
                      <a:pt x="108" y="292"/>
                    </a:lnTo>
                    <a:lnTo>
                      <a:pt x="132" y="271"/>
                    </a:lnTo>
                    <a:lnTo>
                      <a:pt x="156" y="251"/>
                    </a:lnTo>
                    <a:lnTo>
                      <a:pt x="182" y="230"/>
                    </a:lnTo>
                    <a:lnTo>
                      <a:pt x="209" y="212"/>
                    </a:lnTo>
                    <a:lnTo>
                      <a:pt x="237" y="195"/>
                    </a:lnTo>
                    <a:lnTo>
                      <a:pt x="266" y="178"/>
                    </a:lnTo>
                    <a:lnTo>
                      <a:pt x="295" y="162"/>
                    </a:lnTo>
                    <a:lnTo>
                      <a:pt x="325" y="147"/>
                    </a:lnTo>
                    <a:lnTo>
                      <a:pt x="356" y="133"/>
                    </a:lnTo>
                    <a:lnTo>
                      <a:pt x="386" y="120"/>
                    </a:lnTo>
                    <a:lnTo>
                      <a:pt x="417" y="107"/>
                    </a:lnTo>
                    <a:lnTo>
                      <a:pt x="448" y="95"/>
                    </a:lnTo>
                    <a:lnTo>
                      <a:pt x="477" y="84"/>
                    </a:lnTo>
                    <a:lnTo>
                      <a:pt x="507" y="74"/>
                    </a:lnTo>
                    <a:lnTo>
                      <a:pt x="565" y="56"/>
                    </a:lnTo>
                    <a:lnTo>
                      <a:pt x="618" y="41"/>
                    </a:lnTo>
                    <a:lnTo>
                      <a:pt x="667" y="28"/>
                    </a:lnTo>
                    <a:lnTo>
                      <a:pt x="709" y="17"/>
                    </a:lnTo>
                    <a:lnTo>
                      <a:pt x="772" y="5"/>
                    </a:lnTo>
                    <a:lnTo>
                      <a:pt x="796" y="0"/>
                    </a:lnTo>
                    <a:lnTo>
                      <a:pt x="795" y="24"/>
                    </a:lnTo>
                    <a:lnTo>
                      <a:pt x="792" y="87"/>
                    </a:lnTo>
                    <a:lnTo>
                      <a:pt x="791" y="130"/>
                    </a:lnTo>
                    <a:lnTo>
                      <a:pt x="788" y="179"/>
                    </a:lnTo>
                    <a:lnTo>
                      <a:pt x="785" y="233"/>
                    </a:lnTo>
                    <a:lnTo>
                      <a:pt x="781" y="289"/>
                    </a:lnTo>
                    <a:lnTo>
                      <a:pt x="775" y="349"/>
                    </a:lnTo>
                    <a:lnTo>
                      <a:pt x="769" y="407"/>
                    </a:lnTo>
                    <a:lnTo>
                      <a:pt x="761" y="466"/>
                    </a:lnTo>
                    <a:lnTo>
                      <a:pt x="751" y="523"/>
                    </a:lnTo>
                    <a:lnTo>
                      <a:pt x="747" y="550"/>
                    </a:lnTo>
                    <a:lnTo>
                      <a:pt x="740" y="577"/>
                    </a:lnTo>
                    <a:lnTo>
                      <a:pt x="735" y="601"/>
                    </a:lnTo>
                    <a:lnTo>
                      <a:pt x="729" y="624"/>
                    </a:lnTo>
                    <a:lnTo>
                      <a:pt x="721" y="647"/>
                    </a:lnTo>
                    <a:lnTo>
                      <a:pt x="714" y="667"/>
                    </a:lnTo>
                    <a:lnTo>
                      <a:pt x="706" y="686"/>
                    </a:lnTo>
                    <a:lnTo>
                      <a:pt x="698" y="703"/>
                    </a:lnTo>
                    <a:lnTo>
                      <a:pt x="681" y="733"/>
                    </a:lnTo>
                    <a:lnTo>
                      <a:pt x="663" y="760"/>
                    </a:lnTo>
                    <a:lnTo>
                      <a:pt x="643" y="784"/>
                    </a:lnTo>
                    <a:lnTo>
                      <a:pt x="623" y="807"/>
                    </a:lnTo>
                    <a:lnTo>
                      <a:pt x="604" y="825"/>
                    </a:lnTo>
                    <a:lnTo>
                      <a:pt x="583" y="842"/>
                    </a:lnTo>
                    <a:lnTo>
                      <a:pt x="563" y="857"/>
                    </a:lnTo>
                    <a:lnTo>
                      <a:pt x="541" y="868"/>
                    </a:lnTo>
                    <a:lnTo>
                      <a:pt x="520" y="879"/>
                    </a:lnTo>
                    <a:lnTo>
                      <a:pt x="499" y="886"/>
                    </a:lnTo>
                    <a:lnTo>
                      <a:pt x="477" y="893"/>
                    </a:lnTo>
                    <a:lnTo>
                      <a:pt x="457" y="898"/>
                    </a:lnTo>
                    <a:lnTo>
                      <a:pt x="436" y="901"/>
                    </a:lnTo>
                    <a:lnTo>
                      <a:pt x="415" y="903"/>
                    </a:lnTo>
                    <a:lnTo>
                      <a:pt x="394" y="905"/>
                    </a:lnTo>
                    <a:lnTo>
                      <a:pt x="375" y="903"/>
                    </a:lnTo>
                    <a:lnTo>
                      <a:pt x="356" y="902"/>
                    </a:lnTo>
                    <a:lnTo>
                      <a:pt x="337" y="900"/>
                    </a:lnTo>
                    <a:lnTo>
                      <a:pt x="319" y="897"/>
                    </a:lnTo>
                    <a:lnTo>
                      <a:pt x="302" y="893"/>
                    </a:lnTo>
                    <a:lnTo>
                      <a:pt x="271" y="884"/>
                    </a:lnTo>
                    <a:lnTo>
                      <a:pt x="243" y="876"/>
                    </a:lnTo>
                    <a:lnTo>
                      <a:pt x="204" y="859"/>
                    </a:lnTo>
                    <a:lnTo>
                      <a:pt x="189" y="8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grpSp>
          <p:nvGrpSpPr>
            <p:cNvPr id="11" name="Group 135">
              <a:extLst>
                <a:ext uri="{FF2B5EF4-FFF2-40B4-BE49-F238E27FC236}">
                  <a16:creationId xmlns:a16="http://schemas.microsoft.com/office/drawing/2014/main" id="{0559A03E-4A39-41F4-9432-F61B1F71CFF8}"/>
                </a:ext>
              </a:extLst>
            </p:cNvPr>
            <p:cNvGrpSpPr/>
            <p:nvPr/>
          </p:nvGrpSpPr>
          <p:grpSpPr>
            <a:xfrm>
              <a:off x="3232150" y="4238625"/>
              <a:ext cx="1828801" cy="2251076"/>
              <a:chOff x="3232150" y="4238625"/>
              <a:chExt cx="1828801" cy="2251076"/>
            </a:xfrm>
            <a:solidFill>
              <a:schemeClr val="accent3"/>
            </a:solidFill>
          </p:grpSpPr>
          <p:sp>
            <p:nvSpPr>
              <p:cNvPr id="51" name="Freeform 13">
                <a:extLst>
                  <a:ext uri="{FF2B5EF4-FFF2-40B4-BE49-F238E27FC236}">
                    <a16:creationId xmlns:a16="http://schemas.microsoft.com/office/drawing/2014/main" id="{FFDB1712-9463-4D2A-A892-8672478512EA}"/>
                  </a:ext>
                </a:extLst>
              </p:cNvPr>
              <p:cNvSpPr>
                <a:spLocks/>
              </p:cNvSpPr>
              <p:nvPr/>
            </p:nvSpPr>
            <p:spPr bwMode="auto">
              <a:xfrm>
                <a:off x="4322763" y="4238625"/>
                <a:ext cx="738188" cy="738188"/>
              </a:xfrm>
              <a:custGeom>
                <a:avLst/>
                <a:gdLst>
                  <a:gd name="T0" fmla="*/ 2320 w 2326"/>
                  <a:gd name="T1" fmla="*/ 1284 h 2328"/>
                  <a:gd name="T2" fmla="*/ 2290 w 2326"/>
                  <a:gd name="T3" fmla="*/ 1455 h 2328"/>
                  <a:gd name="T4" fmla="*/ 2234 w 2326"/>
                  <a:gd name="T5" fmla="*/ 1617 h 2328"/>
                  <a:gd name="T6" fmla="*/ 2158 w 2326"/>
                  <a:gd name="T7" fmla="*/ 1768 h 2328"/>
                  <a:gd name="T8" fmla="*/ 2061 w 2326"/>
                  <a:gd name="T9" fmla="*/ 1904 h 2328"/>
                  <a:gd name="T10" fmla="*/ 1945 w 2326"/>
                  <a:gd name="T11" fmla="*/ 2026 h 2328"/>
                  <a:gd name="T12" fmla="*/ 1813 w 2326"/>
                  <a:gd name="T13" fmla="*/ 2129 h 2328"/>
                  <a:gd name="T14" fmla="*/ 1667 w 2326"/>
                  <a:gd name="T15" fmla="*/ 2213 h 2328"/>
                  <a:gd name="T16" fmla="*/ 1508 w 2326"/>
                  <a:gd name="T17" fmla="*/ 2276 h 2328"/>
                  <a:gd name="T18" fmla="*/ 1340 w 2326"/>
                  <a:gd name="T19" fmla="*/ 2314 h 2328"/>
                  <a:gd name="T20" fmla="*/ 1164 w 2326"/>
                  <a:gd name="T21" fmla="*/ 2328 h 2328"/>
                  <a:gd name="T22" fmla="*/ 986 w 2326"/>
                  <a:gd name="T23" fmla="*/ 2314 h 2328"/>
                  <a:gd name="T24" fmla="*/ 818 w 2326"/>
                  <a:gd name="T25" fmla="*/ 2276 h 2328"/>
                  <a:gd name="T26" fmla="*/ 659 w 2326"/>
                  <a:gd name="T27" fmla="*/ 2213 h 2328"/>
                  <a:gd name="T28" fmla="*/ 513 w 2326"/>
                  <a:gd name="T29" fmla="*/ 2129 h 2328"/>
                  <a:gd name="T30" fmla="*/ 381 w 2326"/>
                  <a:gd name="T31" fmla="*/ 2026 h 2328"/>
                  <a:gd name="T32" fmla="*/ 265 w 2326"/>
                  <a:gd name="T33" fmla="*/ 1904 h 2328"/>
                  <a:gd name="T34" fmla="*/ 168 w 2326"/>
                  <a:gd name="T35" fmla="*/ 1768 h 2328"/>
                  <a:gd name="T36" fmla="*/ 92 w 2326"/>
                  <a:gd name="T37" fmla="*/ 1617 h 2328"/>
                  <a:gd name="T38" fmla="*/ 36 w 2326"/>
                  <a:gd name="T39" fmla="*/ 1455 h 2328"/>
                  <a:gd name="T40" fmla="*/ 7 w 2326"/>
                  <a:gd name="T41" fmla="*/ 1284 h 2328"/>
                  <a:gd name="T42" fmla="*/ 1 w 2326"/>
                  <a:gd name="T43" fmla="*/ 1105 h 2328"/>
                  <a:gd name="T44" fmla="*/ 24 w 2326"/>
                  <a:gd name="T45" fmla="*/ 930 h 2328"/>
                  <a:gd name="T46" fmla="*/ 70 w 2326"/>
                  <a:gd name="T47" fmla="*/ 764 h 2328"/>
                  <a:gd name="T48" fmla="*/ 141 w 2326"/>
                  <a:gd name="T49" fmla="*/ 609 h 2328"/>
                  <a:gd name="T50" fmla="*/ 231 w 2326"/>
                  <a:gd name="T51" fmla="*/ 468 h 2328"/>
                  <a:gd name="T52" fmla="*/ 341 w 2326"/>
                  <a:gd name="T53" fmla="*/ 342 h 2328"/>
                  <a:gd name="T54" fmla="*/ 467 w 2326"/>
                  <a:gd name="T55" fmla="*/ 232 h 2328"/>
                  <a:gd name="T56" fmla="*/ 609 w 2326"/>
                  <a:gd name="T57" fmla="*/ 141 h 2328"/>
                  <a:gd name="T58" fmla="*/ 763 w 2326"/>
                  <a:gd name="T59" fmla="*/ 72 h 2328"/>
                  <a:gd name="T60" fmla="*/ 928 w 2326"/>
                  <a:gd name="T61" fmla="*/ 25 h 2328"/>
                  <a:gd name="T62" fmla="*/ 1103 w 2326"/>
                  <a:gd name="T63" fmla="*/ 2 h 2328"/>
                  <a:gd name="T64" fmla="*/ 1282 w 2326"/>
                  <a:gd name="T65" fmla="*/ 7 h 2328"/>
                  <a:gd name="T66" fmla="*/ 1454 w 2326"/>
                  <a:gd name="T67" fmla="*/ 38 h 2328"/>
                  <a:gd name="T68" fmla="*/ 1616 w 2326"/>
                  <a:gd name="T69" fmla="*/ 92 h 2328"/>
                  <a:gd name="T70" fmla="*/ 1766 w 2326"/>
                  <a:gd name="T71" fmla="*/ 170 h 2328"/>
                  <a:gd name="T72" fmla="*/ 1903 w 2326"/>
                  <a:gd name="T73" fmla="*/ 266 h 2328"/>
                  <a:gd name="T74" fmla="*/ 2024 w 2326"/>
                  <a:gd name="T75" fmla="*/ 382 h 2328"/>
                  <a:gd name="T76" fmla="*/ 2128 w 2326"/>
                  <a:gd name="T77" fmla="*/ 514 h 2328"/>
                  <a:gd name="T78" fmla="*/ 2211 w 2326"/>
                  <a:gd name="T79" fmla="*/ 659 h 2328"/>
                  <a:gd name="T80" fmla="*/ 2274 w 2326"/>
                  <a:gd name="T81" fmla="*/ 818 h 2328"/>
                  <a:gd name="T82" fmla="*/ 2313 w 2326"/>
                  <a:gd name="T83" fmla="*/ 987 h 2328"/>
                  <a:gd name="T84" fmla="*/ 2326 w 2326"/>
                  <a:gd name="T85" fmla="*/ 1164 h 2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326" h="2328">
                    <a:moveTo>
                      <a:pt x="2326" y="1164"/>
                    </a:moveTo>
                    <a:lnTo>
                      <a:pt x="2325" y="1224"/>
                    </a:lnTo>
                    <a:lnTo>
                      <a:pt x="2320" y="1284"/>
                    </a:lnTo>
                    <a:lnTo>
                      <a:pt x="2313" y="1341"/>
                    </a:lnTo>
                    <a:lnTo>
                      <a:pt x="2302" y="1399"/>
                    </a:lnTo>
                    <a:lnTo>
                      <a:pt x="2290" y="1455"/>
                    </a:lnTo>
                    <a:lnTo>
                      <a:pt x="2274" y="1510"/>
                    </a:lnTo>
                    <a:lnTo>
                      <a:pt x="2256" y="1565"/>
                    </a:lnTo>
                    <a:lnTo>
                      <a:pt x="2234" y="1617"/>
                    </a:lnTo>
                    <a:lnTo>
                      <a:pt x="2211" y="1669"/>
                    </a:lnTo>
                    <a:lnTo>
                      <a:pt x="2185" y="1719"/>
                    </a:lnTo>
                    <a:lnTo>
                      <a:pt x="2158" y="1768"/>
                    </a:lnTo>
                    <a:lnTo>
                      <a:pt x="2128" y="1815"/>
                    </a:lnTo>
                    <a:lnTo>
                      <a:pt x="2095" y="1861"/>
                    </a:lnTo>
                    <a:lnTo>
                      <a:pt x="2061" y="1904"/>
                    </a:lnTo>
                    <a:lnTo>
                      <a:pt x="2024" y="1947"/>
                    </a:lnTo>
                    <a:lnTo>
                      <a:pt x="1985" y="1988"/>
                    </a:lnTo>
                    <a:lnTo>
                      <a:pt x="1945" y="2026"/>
                    </a:lnTo>
                    <a:lnTo>
                      <a:pt x="1903" y="2062"/>
                    </a:lnTo>
                    <a:lnTo>
                      <a:pt x="1859" y="2097"/>
                    </a:lnTo>
                    <a:lnTo>
                      <a:pt x="1813" y="2129"/>
                    </a:lnTo>
                    <a:lnTo>
                      <a:pt x="1766" y="2160"/>
                    </a:lnTo>
                    <a:lnTo>
                      <a:pt x="1717" y="2188"/>
                    </a:lnTo>
                    <a:lnTo>
                      <a:pt x="1667" y="2213"/>
                    </a:lnTo>
                    <a:lnTo>
                      <a:pt x="1616" y="2237"/>
                    </a:lnTo>
                    <a:lnTo>
                      <a:pt x="1563" y="2257"/>
                    </a:lnTo>
                    <a:lnTo>
                      <a:pt x="1508" y="2276"/>
                    </a:lnTo>
                    <a:lnTo>
                      <a:pt x="1454" y="2291"/>
                    </a:lnTo>
                    <a:lnTo>
                      <a:pt x="1398" y="2305"/>
                    </a:lnTo>
                    <a:lnTo>
                      <a:pt x="1340" y="2314"/>
                    </a:lnTo>
                    <a:lnTo>
                      <a:pt x="1282" y="2322"/>
                    </a:lnTo>
                    <a:lnTo>
                      <a:pt x="1223" y="2326"/>
                    </a:lnTo>
                    <a:lnTo>
                      <a:pt x="1164" y="2328"/>
                    </a:lnTo>
                    <a:lnTo>
                      <a:pt x="1103" y="2326"/>
                    </a:lnTo>
                    <a:lnTo>
                      <a:pt x="1044" y="2322"/>
                    </a:lnTo>
                    <a:lnTo>
                      <a:pt x="986" y="2314"/>
                    </a:lnTo>
                    <a:lnTo>
                      <a:pt x="928" y="2305"/>
                    </a:lnTo>
                    <a:lnTo>
                      <a:pt x="873" y="2291"/>
                    </a:lnTo>
                    <a:lnTo>
                      <a:pt x="818" y="2276"/>
                    </a:lnTo>
                    <a:lnTo>
                      <a:pt x="763" y="2257"/>
                    </a:lnTo>
                    <a:lnTo>
                      <a:pt x="710" y="2237"/>
                    </a:lnTo>
                    <a:lnTo>
                      <a:pt x="659" y="2213"/>
                    </a:lnTo>
                    <a:lnTo>
                      <a:pt x="609" y="2188"/>
                    </a:lnTo>
                    <a:lnTo>
                      <a:pt x="560" y="2160"/>
                    </a:lnTo>
                    <a:lnTo>
                      <a:pt x="513" y="2129"/>
                    </a:lnTo>
                    <a:lnTo>
                      <a:pt x="467" y="2097"/>
                    </a:lnTo>
                    <a:lnTo>
                      <a:pt x="424" y="2062"/>
                    </a:lnTo>
                    <a:lnTo>
                      <a:pt x="381" y="2026"/>
                    </a:lnTo>
                    <a:lnTo>
                      <a:pt x="341" y="1988"/>
                    </a:lnTo>
                    <a:lnTo>
                      <a:pt x="302" y="1947"/>
                    </a:lnTo>
                    <a:lnTo>
                      <a:pt x="265" y="1904"/>
                    </a:lnTo>
                    <a:lnTo>
                      <a:pt x="231" y="1861"/>
                    </a:lnTo>
                    <a:lnTo>
                      <a:pt x="199" y="1815"/>
                    </a:lnTo>
                    <a:lnTo>
                      <a:pt x="168" y="1768"/>
                    </a:lnTo>
                    <a:lnTo>
                      <a:pt x="141" y="1719"/>
                    </a:lnTo>
                    <a:lnTo>
                      <a:pt x="115" y="1669"/>
                    </a:lnTo>
                    <a:lnTo>
                      <a:pt x="92" y="1617"/>
                    </a:lnTo>
                    <a:lnTo>
                      <a:pt x="70" y="1565"/>
                    </a:lnTo>
                    <a:lnTo>
                      <a:pt x="52" y="1510"/>
                    </a:lnTo>
                    <a:lnTo>
                      <a:pt x="36" y="1455"/>
                    </a:lnTo>
                    <a:lnTo>
                      <a:pt x="24" y="1399"/>
                    </a:lnTo>
                    <a:lnTo>
                      <a:pt x="14" y="1341"/>
                    </a:lnTo>
                    <a:lnTo>
                      <a:pt x="7" y="1284"/>
                    </a:lnTo>
                    <a:lnTo>
                      <a:pt x="1" y="1224"/>
                    </a:lnTo>
                    <a:lnTo>
                      <a:pt x="0" y="1164"/>
                    </a:lnTo>
                    <a:lnTo>
                      <a:pt x="1" y="1105"/>
                    </a:lnTo>
                    <a:lnTo>
                      <a:pt x="7" y="1045"/>
                    </a:lnTo>
                    <a:lnTo>
                      <a:pt x="14" y="987"/>
                    </a:lnTo>
                    <a:lnTo>
                      <a:pt x="24" y="930"/>
                    </a:lnTo>
                    <a:lnTo>
                      <a:pt x="36" y="874"/>
                    </a:lnTo>
                    <a:lnTo>
                      <a:pt x="52" y="818"/>
                    </a:lnTo>
                    <a:lnTo>
                      <a:pt x="70" y="764"/>
                    </a:lnTo>
                    <a:lnTo>
                      <a:pt x="92" y="712"/>
                    </a:lnTo>
                    <a:lnTo>
                      <a:pt x="115" y="659"/>
                    </a:lnTo>
                    <a:lnTo>
                      <a:pt x="141" y="609"/>
                    </a:lnTo>
                    <a:lnTo>
                      <a:pt x="168" y="561"/>
                    </a:lnTo>
                    <a:lnTo>
                      <a:pt x="199" y="514"/>
                    </a:lnTo>
                    <a:lnTo>
                      <a:pt x="231" y="468"/>
                    </a:lnTo>
                    <a:lnTo>
                      <a:pt x="265" y="424"/>
                    </a:lnTo>
                    <a:lnTo>
                      <a:pt x="302" y="382"/>
                    </a:lnTo>
                    <a:lnTo>
                      <a:pt x="341" y="342"/>
                    </a:lnTo>
                    <a:lnTo>
                      <a:pt x="381" y="303"/>
                    </a:lnTo>
                    <a:lnTo>
                      <a:pt x="424" y="266"/>
                    </a:lnTo>
                    <a:lnTo>
                      <a:pt x="467" y="232"/>
                    </a:lnTo>
                    <a:lnTo>
                      <a:pt x="513" y="199"/>
                    </a:lnTo>
                    <a:lnTo>
                      <a:pt x="560" y="170"/>
                    </a:lnTo>
                    <a:lnTo>
                      <a:pt x="609" y="141"/>
                    </a:lnTo>
                    <a:lnTo>
                      <a:pt x="659" y="115"/>
                    </a:lnTo>
                    <a:lnTo>
                      <a:pt x="710" y="92"/>
                    </a:lnTo>
                    <a:lnTo>
                      <a:pt x="763" y="72"/>
                    </a:lnTo>
                    <a:lnTo>
                      <a:pt x="818" y="53"/>
                    </a:lnTo>
                    <a:lnTo>
                      <a:pt x="873" y="38"/>
                    </a:lnTo>
                    <a:lnTo>
                      <a:pt x="928" y="25"/>
                    </a:lnTo>
                    <a:lnTo>
                      <a:pt x="986" y="14"/>
                    </a:lnTo>
                    <a:lnTo>
                      <a:pt x="1044" y="7"/>
                    </a:lnTo>
                    <a:lnTo>
                      <a:pt x="1103" y="2"/>
                    </a:lnTo>
                    <a:lnTo>
                      <a:pt x="1164" y="0"/>
                    </a:lnTo>
                    <a:lnTo>
                      <a:pt x="1223" y="2"/>
                    </a:lnTo>
                    <a:lnTo>
                      <a:pt x="1282" y="7"/>
                    </a:lnTo>
                    <a:lnTo>
                      <a:pt x="1340" y="14"/>
                    </a:lnTo>
                    <a:lnTo>
                      <a:pt x="1398" y="25"/>
                    </a:lnTo>
                    <a:lnTo>
                      <a:pt x="1454" y="38"/>
                    </a:lnTo>
                    <a:lnTo>
                      <a:pt x="1508" y="53"/>
                    </a:lnTo>
                    <a:lnTo>
                      <a:pt x="1563" y="72"/>
                    </a:lnTo>
                    <a:lnTo>
                      <a:pt x="1616" y="92"/>
                    </a:lnTo>
                    <a:lnTo>
                      <a:pt x="1667" y="115"/>
                    </a:lnTo>
                    <a:lnTo>
                      <a:pt x="1717" y="141"/>
                    </a:lnTo>
                    <a:lnTo>
                      <a:pt x="1766" y="170"/>
                    </a:lnTo>
                    <a:lnTo>
                      <a:pt x="1813" y="199"/>
                    </a:lnTo>
                    <a:lnTo>
                      <a:pt x="1859" y="232"/>
                    </a:lnTo>
                    <a:lnTo>
                      <a:pt x="1903" y="266"/>
                    </a:lnTo>
                    <a:lnTo>
                      <a:pt x="1945" y="303"/>
                    </a:lnTo>
                    <a:lnTo>
                      <a:pt x="1985" y="342"/>
                    </a:lnTo>
                    <a:lnTo>
                      <a:pt x="2024" y="382"/>
                    </a:lnTo>
                    <a:lnTo>
                      <a:pt x="2061" y="424"/>
                    </a:lnTo>
                    <a:lnTo>
                      <a:pt x="2095" y="468"/>
                    </a:lnTo>
                    <a:lnTo>
                      <a:pt x="2128" y="514"/>
                    </a:lnTo>
                    <a:lnTo>
                      <a:pt x="2158" y="561"/>
                    </a:lnTo>
                    <a:lnTo>
                      <a:pt x="2185" y="609"/>
                    </a:lnTo>
                    <a:lnTo>
                      <a:pt x="2211" y="659"/>
                    </a:lnTo>
                    <a:lnTo>
                      <a:pt x="2234" y="712"/>
                    </a:lnTo>
                    <a:lnTo>
                      <a:pt x="2256" y="764"/>
                    </a:lnTo>
                    <a:lnTo>
                      <a:pt x="2274" y="818"/>
                    </a:lnTo>
                    <a:lnTo>
                      <a:pt x="2290" y="874"/>
                    </a:lnTo>
                    <a:lnTo>
                      <a:pt x="2302" y="930"/>
                    </a:lnTo>
                    <a:lnTo>
                      <a:pt x="2313" y="987"/>
                    </a:lnTo>
                    <a:lnTo>
                      <a:pt x="2320" y="1045"/>
                    </a:lnTo>
                    <a:lnTo>
                      <a:pt x="2325" y="1105"/>
                    </a:lnTo>
                    <a:lnTo>
                      <a:pt x="2326" y="11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52" name="Rectangle 63">
                <a:extLst>
                  <a:ext uri="{FF2B5EF4-FFF2-40B4-BE49-F238E27FC236}">
                    <a16:creationId xmlns:a16="http://schemas.microsoft.com/office/drawing/2014/main" id="{D93A3F5F-9F9F-46EA-BFEA-57238F23A5B4}"/>
                  </a:ext>
                </a:extLst>
              </p:cNvPr>
              <p:cNvSpPr>
                <a:spLocks noChangeArrowheads="1"/>
              </p:cNvSpPr>
              <p:nvPr/>
            </p:nvSpPr>
            <p:spPr bwMode="auto">
              <a:xfrm>
                <a:off x="4648200" y="4935538"/>
                <a:ext cx="87313" cy="3905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53" name="Freeform 64">
                <a:extLst>
                  <a:ext uri="{FF2B5EF4-FFF2-40B4-BE49-F238E27FC236}">
                    <a16:creationId xmlns:a16="http://schemas.microsoft.com/office/drawing/2014/main" id="{D965848A-2AAA-4A87-AF6E-90A7751D54A1}"/>
                  </a:ext>
                </a:extLst>
              </p:cNvPr>
              <p:cNvSpPr>
                <a:spLocks noEditPoints="1"/>
              </p:cNvSpPr>
              <p:nvPr/>
            </p:nvSpPr>
            <p:spPr bwMode="auto">
              <a:xfrm>
                <a:off x="4387850" y="5326063"/>
                <a:ext cx="347663" cy="347663"/>
              </a:xfrm>
              <a:custGeom>
                <a:avLst/>
                <a:gdLst>
                  <a:gd name="T0" fmla="*/ 1097 w 1097"/>
                  <a:gd name="T1" fmla="*/ 29 h 1097"/>
                  <a:gd name="T2" fmla="*/ 1094 w 1097"/>
                  <a:gd name="T3" fmla="*/ 86 h 1097"/>
                  <a:gd name="T4" fmla="*/ 1088 w 1097"/>
                  <a:gd name="T5" fmla="*/ 141 h 1097"/>
                  <a:gd name="T6" fmla="*/ 1080 w 1097"/>
                  <a:gd name="T7" fmla="*/ 195 h 1097"/>
                  <a:gd name="T8" fmla="*/ 1069 w 1097"/>
                  <a:gd name="T9" fmla="*/ 248 h 1097"/>
                  <a:gd name="T10" fmla="*/ 1055 w 1097"/>
                  <a:gd name="T11" fmla="*/ 301 h 1097"/>
                  <a:gd name="T12" fmla="*/ 1039 w 1097"/>
                  <a:gd name="T13" fmla="*/ 353 h 1097"/>
                  <a:gd name="T14" fmla="*/ 1021 w 1097"/>
                  <a:gd name="T15" fmla="*/ 403 h 1097"/>
                  <a:gd name="T16" fmla="*/ 1000 w 1097"/>
                  <a:gd name="T17" fmla="*/ 452 h 1097"/>
                  <a:gd name="T18" fmla="*/ 976 w 1097"/>
                  <a:gd name="T19" fmla="*/ 500 h 1097"/>
                  <a:gd name="T20" fmla="*/ 952 w 1097"/>
                  <a:gd name="T21" fmla="*/ 547 h 1097"/>
                  <a:gd name="T22" fmla="*/ 924 w 1097"/>
                  <a:gd name="T23" fmla="*/ 591 h 1097"/>
                  <a:gd name="T24" fmla="*/ 895 w 1097"/>
                  <a:gd name="T25" fmla="*/ 635 h 1097"/>
                  <a:gd name="T26" fmla="*/ 864 w 1097"/>
                  <a:gd name="T27" fmla="*/ 678 h 1097"/>
                  <a:gd name="T28" fmla="*/ 830 w 1097"/>
                  <a:gd name="T29" fmla="*/ 718 h 1097"/>
                  <a:gd name="T30" fmla="*/ 794 w 1097"/>
                  <a:gd name="T31" fmla="*/ 758 h 1097"/>
                  <a:gd name="T32" fmla="*/ 583 w 1097"/>
                  <a:gd name="T33" fmla="*/ 583 h 1097"/>
                  <a:gd name="T34" fmla="*/ 636 w 1097"/>
                  <a:gd name="T35" fmla="*/ 524 h 1097"/>
                  <a:gd name="T36" fmla="*/ 683 w 1097"/>
                  <a:gd name="T37" fmla="*/ 460 h 1097"/>
                  <a:gd name="T38" fmla="*/ 724 w 1097"/>
                  <a:gd name="T39" fmla="*/ 393 h 1097"/>
                  <a:gd name="T40" fmla="*/ 758 w 1097"/>
                  <a:gd name="T41" fmla="*/ 321 h 1097"/>
                  <a:gd name="T42" fmla="*/ 786 w 1097"/>
                  <a:gd name="T43" fmla="*/ 245 h 1097"/>
                  <a:gd name="T44" fmla="*/ 806 w 1097"/>
                  <a:gd name="T45" fmla="*/ 166 h 1097"/>
                  <a:gd name="T46" fmla="*/ 819 w 1097"/>
                  <a:gd name="T47" fmla="*/ 84 h 1097"/>
                  <a:gd name="T48" fmla="*/ 822 w 1097"/>
                  <a:gd name="T49" fmla="*/ 43 h 1097"/>
                  <a:gd name="T50" fmla="*/ 823 w 1097"/>
                  <a:gd name="T51" fmla="*/ 0 h 1097"/>
                  <a:gd name="T52" fmla="*/ 776 w 1097"/>
                  <a:gd name="T53" fmla="*/ 777 h 1097"/>
                  <a:gd name="T54" fmla="*/ 738 w 1097"/>
                  <a:gd name="T55" fmla="*/ 813 h 1097"/>
                  <a:gd name="T56" fmla="*/ 698 w 1097"/>
                  <a:gd name="T57" fmla="*/ 847 h 1097"/>
                  <a:gd name="T58" fmla="*/ 657 w 1097"/>
                  <a:gd name="T59" fmla="*/ 880 h 1097"/>
                  <a:gd name="T60" fmla="*/ 614 w 1097"/>
                  <a:gd name="T61" fmla="*/ 910 h 1097"/>
                  <a:gd name="T62" fmla="*/ 569 w 1097"/>
                  <a:gd name="T63" fmla="*/ 939 h 1097"/>
                  <a:gd name="T64" fmla="*/ 523 w 1097"/>
                  <a:gd name="T65" fmla="*/ 965 h 1097"/>
                  <a:gd name="T66" fmla="*/ 476 w 1097"/>
                  <a:gd name="T67" fmla="*/ 990 h 1097"/>
                  <a:gd name="T68" fmla="*/ 427 w 1097"/>
                  <a:gd name="T69" fmla="*/ 1011 h 1097"/>
                  <a:gd name="T70" fmla="*/ 378 w 1097"/>
                  <a:gd name="T71" fmla="*/ 1031 h 1097"/>
                  <a:gd name="T72" fmla="*/ 327 w 1097"/>
                  <a:gd name="T73" fmla="*/ 1048 h 1097"/>
                  <a:gd name="T74" fmla="*/ 275 w 1097"/>
                  <a:gd name="T75" fmla="*/ 1063 h 1097"/>
                  <a:gd name="T76" fmla="*/ 222 w 1097"/>
                  <a:gd name="T77" fmla="*/ 1075 h 1097"/>
                  <a:gd name="T78" fmla="*/ 168 w 1097"/>
                  <a:gd name="T79" fmla="*/ 1085 h 1097"/>
                  <a:gd name="T80" fmla="*/ 113 w 1097"/>
                  <a:gd name="T81" fmla="*/ 1092 h 1097"/>
                  <a:gd name="T82" fmla="*/ 57 w 1097"/>
                  <a:gd name="T83" fmla="*/ 1096 h 1097"/>
                  <a:gd name="T84" fmla="*/ 0 w 1097"/>
                  <a:gd name="T85" fmla="*/ 1097 h 1097"/>
                  <a:gd name="T86" fmla="*/ 22 w 1097"/>
                  <a:gd name="T87" fmla="*/ 824 h 1097"/>
                  <a:gd name="T88" fmla="*/ 64 w 1097"/>
                  <a:gd name="T89" fmla="*/ 821 h 1097"/>
                  <a:gd name="T90" fmla="*/ 126 w 1097"/>
                  <a:gd name="T91" fmla="*/ 814 h 1097"/>
                  <a:gd name="T92" fmla="*/ 207 w 1097"/>
                  <a:gd name="T93" fmla="*/ 798 h 1097"/>
                  <a:gd name="T94" fmla="*/ 284 w 1097"/>
                  <a:gd name="T95" fmla="*/ 774 h 1097"/>
                  <a:gd name="T96" fmla="*/ 357 w 1097"/>
                  <a:gd name="T97" fmla="*/ 743 h 1097"/>
                  <a:gd name="T98" fmla="*/ 427 w 1097"/>
                  <a:gd name="T99" fmla="*/ 704 h 1097"/>
                  <a:gd name="T100" fmla="*/ 493 w 1097"/>
                  <a:gd name="T101" fmla="*/ 661 h 1097"/>
                  <a:gd name="T102" fmla="*/ 554 w 1097"/>
                  <a:gd name="T103" fmla="*/ 610 h 1097"/>
                  <a:gd name="T104" fmla="*/ 776 w 1097"/>
                  <a:gd name="T105" fmla="*/ 777 h 10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97" h="1097">
                    <a:moveTo>
                      <a:pt x="1097" y="0"/>
                    </a:moveTo>
                    <a:lnTo>
                      <a:pt x="1097" y="29"/>
                    </a:lnTo>
                    <a:lnTo>
                      <a:pt x="1096" y="57"/>
                    </a:lnTo>
                    <a:lnTo>
                      <a:pt x="1094" y="86"/>
                    </a:lnTo>
                    <a:lnTo>
                      <a:pt x="1091" y="113"/>
                    </a:lnTo>
                    <a:lnTo>
                      <a:pt x="1088" y="141"/>
                    </a:lnTo>
                    <a:lnTo>
                      <a:pt x="1084" y="168"/>
                    </a:lnTo>
                    <a:lnTo>
                      <a:pt x="1080" y="195"/>
                    </a:lnTo>
                    <a:lnTo>
                      <a:pt x="1074" y="222"/>
                    </a:lnTo>
                    <a:lnTo>
                      <a:pt x="1069" y="248"/>
                    </a:lnTo>
                    <a:lnTo>
                      <a:pt x="1063" y="275"/>
                    </a:lnTo>
                    <a:lnTo>
                      <a:pt x="1055" y="301"/>
                    </a:lnTo>
                    <a:lnTo>
                      <a:pt x="1048" y="327"/>
                    </a:lnTo>
                    <a:lnTo>
                      <a:pt x="1039" y="353"/>
                    </a:lnTo>
                    <a:lnTo>
                      <a:pt x="1031" y="377"/>
                    </a:lnTo>
                    <a:lnTo>
                      <a:pt x="1021" y="403"/>
                    </a:lnTo>
                    <a:lnTo>
                      <a:pt x="1011" y="427"/>
                    </a:lnTo>
                    <a:lnTo>
                      <a:pt x="1000" y="452"/>
                    </a:lnTo>
                    <a:lnTo>
                      <a:pt x="989" y="476"/>
                    </a:lnTo>
                    <a:lnTo>
                      <a:pt x="976" y="500"/>
                    </a:lnTo>
                    <a:lnTo>
                      <a:pt x="965" y="523"/>
                    </a:lnTo>
                    <a:lnTo>
                      <a:pt x="952" y="547"/>
                    </a:lnTo>
                    <a:lnTo>
                      <a:pt x="938" y="569"/>
                    </a:lnTo>
                    <a:lnTo>
                      <a:pt x="924" y="591"/>
                    </a:lnTo>
                    <a:lnTo>
                      <a:pt x="909" y="614"/>
                    </a:lnTo>
                    <a:lnTo>
                      <a:pt x="895" y="635"/>
                    </a:lnTo>
                    <a:lnTo>
                      <a:pt x="880" y="657"/>
                    </a:lnTo>
                    <a:lnTo>
                      <a:pt x="864" y="678"/>
                    </a:lnTo>
                    <a:lnTo>
                      <a:pt x="847" y="698"/>
                    </a:lnTo>
                    <a:lnTo>
                      <a:pt x="830" y="718"/>
                    </a:lnTo>
                    <a:lnTo>
                      <a:pt x="813" y="738"/>
                    </a:lnTo>
                    <a:lnTo>
                      <a:pt x="794" y="758"/>
                    </a:lnTo>
                    <a:lnTo>
                      <a:pt x="776" y="777"/>
                    </a:lnTo>
                    <a:lnTo>
                      <a:pt x="583" y="583"/>
                    </a:lnTo>
                    <a:lnTo>
                      <a:pt x="609" y="554"/>
                    </a:lnTo>
                    <a:lnTo>
                      <a:pt x="636" y="524"/>
                    </a:lnTo>
                    <a:lnTo>
                      <a:pt x="660" y="493"/>
                    </a:lnTo>
                    <a:lnTo>
                      <a:pt x="683" y="460"/>
                    </a:lnTo>
                    <a:lnTo>
                      <a:pt x="704" y="427"/>
                    </a:lnTo>
                    <a:lnTo>
                      <a:pt x="724" y="393"/>
                    </a:lnTo>
                    <a:lnTo>
                      <a:pt x="742" y="357"/>
                    </a:lnTo>
                    <a:lnTo>
                      <a:pt x="758" y="321"/>
                    </a:lnTo>
                    <a:lnTo>
                      <a:pt x="773" y="284"/>
                    </a:lnTo>
                    <a:lnTo>
                      <a:pt x="786" y="245"/>
                    </a:lnTo>
                    <a:lnTo>
                      <a:pt x="798" y="207"/>
                    </a:lnTo>
                    <a:lnTo>
                      <a:pt x="806" y="166"/>
                    </a:lnTo>
                    <a:lnTo>
                      <a:pt x="814" y="126"/>
                    </a:lnTo>
                    <a:lnTo>
                      <a:pt x="819" y="84"/>
                    </a:lnTo>
                    <a:lnTo>
                      <a:pt x="821" y="64"/>
                    </a:lnTo>
                    <a:lnTo>
                      <a:pt x="822" y="43"/>
                    </a:lnTo>
                    <a:lnTo>
                      <a:pt x="823" y="22"/>
                    </a:lnTo>
                    <a:lnTo>
                      <a:pt x="823" y="0"/>
                    </a:lnTo>
                    <a:lnTo>
                      <a:pt x="1097" y="0"/>
                    </a:lnTo>
                    <a:close/>
                    <a:moveTo>
                      <a:pt x="776" y="777"/>
                    </a:moveTo>
                    <a:lnTo>
                      <a:pt x="757" y="795"/>
                    </a:lnTo>
                    <a:lnTo>
                      <a:pt x="738" y="813"/>
                    </a:lnTo>
                    <a:lnTo>
                      <a:pt x="718" y="830"/>
                    </a:lnTo>
                    <a:lnTo>
                      <a:pt x="698" y="847"/>
                    </a:lnTo>
                    <a:lnTo>
                      <a:pt x="677" y="863"/>
                    </a:lnTo>
                    <a:lnTo>
                      <a:pt x="657" y="880"/>
                    </a:lnTo>
                    <a:lnTo>
                      <a:pt x="636" y="895"/>
                    </a:lnTo>
                    <a:lnTo>
                      <a:pt x="614" y="910"/>
                    </a:lnTo>
                    <a:lnTo>
                      <a:pt x="591" y="925"/>
                    </a:lnTo>
                    <a:lnTo>
                      <a:pt x="569" y="939"/>
                    </a:lnTo>
                    <a:lnTo>
                      <a:pt x="547" y="952"/>
                    </a:lnTo>
                    <a:lnTo>
                      <a:pt x="523" y="965"/>
                    </a:lnTo>
                    <a:lnTo>
                      <a:pt x="500" y="977"/>
                    </a:lnTo>
                    <a:lnTo>
                      <a:pt x="476" y="990"/>
                    </a:lnTo>
                    <a:lnTo>
                      <a:pt x="452" y="1000"/>
                    </a:lnTo>
                    <a:lnTo>
                      <a:pt x="427" y="1011"/>
                    </a:lnTo>
                    <a:lnTo>
                      <a:pt x="403" y="1022"/>
                    </a:lnTo>
                    <a:lnTo>
                      <a:pt x="378" y="1031"/>
                    </a:lnTo>
                    <a:lnTo>
                      <a:pt x="353" y="1040"/>
                    </a:lnTo>
                    <a:lnTo>
                      <a:pt x="327" y="1048"/>
                    </a:lnTo>
                    <a:lnTo>
                      <a:pt x="301" y="1056"/>
                    </a:lnTo>
                    <a:lnTo>
                      <a:pt x="275" y="1063"/>
                    </a:lnTo>
                    <a:lnTo>
                      <a:pt x="248" y="1070"/>
                    </a:lnTo>
                    <a:lnTo>
                      <a:pt x="222" y="1075"/>
                    </a:lnTo>
                    <a:lnTo>
                      <a:pt x="195" y="1080"/>
                    </a:lnTo>
                    <a:lnTo>
                      <a:pt x="168" y="1085"/>
                    </a:lnTo>
                    <a:lnTo>
                      <a:pt x="141" y="1089"/>
                    </a:lnTo>
                    <a:lnTo>
                      <a:pt x="113" y="1092"/>
                    </a:lnTo>
                    <a:lnTo>
                      <a:pt x="86" y="1094"/>
                    </a:lnTo>
                    <a:lnTo>
                      <a:pt x="57" y="1096"/>
                    </a:lnTo>
                    <a:lnTo>
                      <a:pt x="29" y="1097"/>
                    </a:lnTo>
                    <a:lnTo>
                      <a:pt x="0" y="1097"/>
                    </a:lnTo>
                    <a:lnTo>
                      <a:pt x="0" y="824"/>
                    </a:lnTo>
                    <a:lnTo>
                      <a:pt x="22" y="824"/>
                    </a:lnTo>
                    <a:lnTo>
                      <a:pt x="43" y="823"/>
                    </a:lnTo>
                    <a:lnTo>
                      <a:pt x="64" y="821"/>
                    </a:lnTo>
                    <a:lnTo>
                      <a:pt x="85" y="819"/>
                    </a:lnTo>
                    <a:lnTo>
                      <a:pt x="126" y="814"/>
                    </a:lnTo>
                    <a:lnTo>
                      <a:pt x="167" y="807"/>
                    </a:lnTo>
                    <a:lnTo>
                      <a:pt x="207" y="798"/>
                    </a:lnTo>
                    <a:lnTo>
                      <a:pt x="245" y="786"/>
                    </a:lnTo>
                    <a:lnTo>
                      <a:pt x="284" y="774"/>
                    </a:lnTo>
                    <a:lnTo>
                      <a:pt x="321" y="759"/>
                    </a:lnTo>
                    <a:lnTo>
                      <a:pt x="357" y="743"/>
                    </a:lnTo>
                    <a:lnTo>
                      <a:pt x="393" y="725"/>
                    </a:lnTo>
                    <a:lnTo>
                      <a:pt x="427" y="704"/>
                    </a:lnTo>
                    <a:lnTo>
                      <a:pt x="460" y="683"/>
                    </a:lnTo>
                    <a:lnTo>
                      <a:pt x="493" y="661"/>
                    </a:lnTo>
                    <a:lnTo>
                      <a:pt x="524" y="636"/>
                    </a:lnTo>
                    <a:lnTo>
                      <a:pt x="554" y="610"/>
                    </a:lnTo>
                    <a:lnTo>
                      <a:pt x="583" y="583"/>
                    </a:lnTo>
                    <a:lnTo>
                      <a:pt x="776" y="77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54" name="Rectangle 65">
                <a:extLst>
                  <a:ext uri="{FF2B5EF4-FFF2-40B4-BE49-F238E27FC236}">
                    <a16:creationId xmlns:a16="http://schemas.microsoft.com/office/drawing/2014/main" id="{8EC30795-11D5-4121-81EF-A97CD8304E28}"/>
                  </a:ext>
                </a:extLst>
              </p:cNvPr>
              <p:cNvSpPr>
                <a:spLocks noChangeArrowheads="1"/>
              </p:cNvSpPr>
              <p:nvPr/>
            </p:nvSpPr>
            <p:spPr bwMode="auto">
              <a:xfrm>
                <a:off x="3579813" y="5588000"/>
                <a:ext cx="808038" cy="857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55" name="Freeform 66">
                <a:extLst>
                  <a:ext uri="{FF2B5EF4-FFF2-40B4-BE49-F238E27FC236}">
                    <a16:creationId xmlns:a16="http://schemas.microsoft.com/office/drawing/2014/main" id="{3AC8572A-4595-4044-AA7A-B8F33C444319}"/>
                  </a:ext>
                </a:extLst>
              </p:cNvPr>
              <p:cNvSpPr>
                <a:spLocks noEditPoints="1"/>
              </p:cNvSpPr>
              <p:nvPr/>
            </p:nvSpPr>
            <p:spPr bwMode="auto">
              <a:xfrm>
                <a:off x="3232150" y="5588000"/>
                <a:ext cx="347663" cy="347663"/>
              </a:xfrm>
              <a:custGeom>
                <a:avLst/>
                <a:gdLst>
                  <a:gd name="T0" fmla="*/ 1075 w 1096"/>
                  <a:gd name="T1" fmla="*/ 273 h 1097"/>
                  <a:gd name="T2" fmla="*/ 1033 w 1096"/>
                  <a:gd name="T3" fmla="*/ 275 h 1097"/>
                  <a:gd name="T4" fmla="*/ 970 w 1096"/>
                  <a:gd name="T5" fmla="*/ 283 h 1097"/>
                  <a:gd name="T6" fmla="*/ 890 w 1096"/>
                  <a:gd name="T7" fmla="*/ 299 h 1097"/>
                  <a:gd name="T8" fmla="*/ 813 w 1096"/>
                  <a:gd name="T9" fmla="*/ 323 h 1097"/>
                  <a:gd name="T10" fmla="*/ 739 w 1096"/>
                  <a:gd name="T11" fmla="*/ 354 h 1097"/>
                  <a:gd name="T12" fmla="*/ 669 w 1096"/>
                  <a:gd name="T13" fmla="*/ 393 h 1097"/>
                  <a:gd name="T14" fmla="*/ 604 w 1096"/>
                  <a:gd name="T15" fmla="*/ 437 h 1097"/>
                  <a:gd name="T16" fmla="*/ 543 w 1096"/>
                  <a:gd name="T17" fmla="*/ 487 h 1097"/>
                  <a:gd name="T18" fmla="*/ 321 w 1096"/>
                  <a:gd name="T19" fmla="*/ 321 h 1097"/>
                  <a:gd name="T20" fmla="*/ 359 w 1096"/>
                  <a:gd name="T21" fmla="*/ 285 h 1097"/>
                  <a:gd name="T22" fmla="*/ 399 w 1096"/>
                  <a:gd name="T23" fmla="*/ 250 h 1097"/>
                  <a:gd name="T24" fmla="*/ 440 w 1096"/>
                  <a:gd name="T25" fmla="*/ 218 h 1097"/>
                  <a:gd name="T26" fmla="*/ 483 w 1096"/>
                  <a:gd name="T27" fmla="*/ 187 h 1097"/>
                  <a:gd name="T28" fmla="*/ 528 w 1096"/>
                  <a:gd name="T29" fmla="*/ 158 h 1097"/>
                  <a:gd name="T30" fmla="*/ 573 w 1096"/>
                  <a:gd name="T31" fmla="*/ 132 h 1097"/>
                  <a:gd name="T32" fmla="*/ 621 w 1096"/>
                  <a:gd name="T33" fmla="*/ 108 h 1097"/>
                  <a:gd name="T34" fmla="*/ 669 w 1096"/>
                  <a:gd name="T35" fmla="*/ 86 h 1097"/>
                  <a:gd name="T36" fmla="*/ 719 w 1096"/>
                  <a:gd name="T37" fmla="*/ 67 h 1097"/>
                  <a:gd name="T38" fmla="*/ 770 w 1096"/>
                  <a:gd name="T39" fmla="*/ 49 h 1097"/>
                  <a:gd name="T40" fmla="*/ 822 w 1096"/>
                  <a:gd name="T41" fmla="*/ 34 h 1097"/>
                  <a:gd name="T42" fmla="*/ 876 w 1096"/>
                  <a:gd name="T43" fmla="*/ 22 h 1097"/>
                  <a:gd name="T44" fmla="*/ 929 w 1096"/>
                  <a:gd name="T45" fmla="*/ 12 h 1097"/>
                  <a:gd name="T46" fmla="*/ 984 w 1096"/>
                  <a:gd name="T47" fmla="*/ 5 h 1097"/>
                  <a:gd name="T48" fmla="*/ 1039 w 1096"/>
                  <a:gd name="T49" fmla="*/ 1 h 1097"/>
                  <a:gd name="T50" fmla="*/ 1096 w 1096"/>
                  <a:gd name="T51" fmla="*/ 0 h 1097"/>
                  <a:gd name="T52" fmla="*/ 515 w 1096"/>
                  <a:gd name="T53" fmla="*/ 514 h 1097"/>
                  <a:gd name="T54" fmla="*/ 462 w 1096"/>
                  <a:gd name="T55" fmla="*/ 573 h 1097"/>
                  <a:gd name="T56" fmla="*/ 414 w 1096"/>
                  <a:gd name="T57" fmla="*/ 636 h 1097"/>
                  <a:gd name="T58" fmla="*/ 373 w 1096"/>
                  <a:gd name="T59" fmla="*/ 704 h 1097"/>
                  <a:gd name="T60" fmla="*/ 338 w 1096"/>
                  <a:gd name="T61" fmla="*/ 776 h 1097"/>
                  <a:gd name="T62" fmla="*/ 310 w 1096"/>
                  <a:gd name="T63" fmla="*/ 852 h 1097"/>
                  <a:gd name="T64" fmla="*/ 290 w 1096"/>
                  <a:gd name="T65" fmla="*/ 930 h 1097"/>
                  <a:gd name="T66" fmla="*/ 277 w 1096"/>
                  <a:gd name="T67" fmla="*/ 1012 h 1097"/>
                  <a:gd name="T68" fmla="*/ 274 w 1096"/>
                  <a:gd name="T69" fmla="*/ 1054 h 1097"/>
                  <a:gd name="T70" fmla="*/ 273 w 1096"/>
                  <a:gd name="T71" fmla="*/ 1097 h 1097"/>
                  <a:gd name="T72" fmla="*/ 1 w 1096"/>
                  <a:gd name="T73" fmla="*/ 1068 h 1097"/>
                  <a:gd name="T74" fmla="*/ 3 w 1096"/>
                  <a:gd name="T75" fmla="*/ 1011 h 1097"/>
                  <a:gd name="T76" fmla="*/ 9 w 1096"/>
                  <a:gd name="T77" fmla="*/ 957 h 1097"/>
                  <a:gd name="T78" fmla="*/ 17 w 1096"/>
                  <a:gd name="T79" fmla="*/ 902 h 1097"/>
                  <a:gd name="T80" fmla="*/ 28 w 1096"/>
                  <a:gd name="T81" fmla="*/ 848 h 1097"/>
                  <a:gd name="T82" fmla="*/ 41 w 1096"/>
                  <a:gd name="T83" fmla="*/ 796 h 1097"/>
                  <a:gd name="T84" fmla="*/ 57 w 1096"/>
                  <a:gd name="T85" fmla="*/ 744 h 1097"/>
                  <a:gd name="T86" fmla="*/ 76 w 1096"/>
                  <a:gd name="T87" fmla="*/ 694 h 1097"/>
                  <a:gd name="T88" fmla="*/ 96 w 1096"/>
                  <a:gd name="T89" fmla="*/ 645 h 1097"/>
                  <a:gd name="T90" fmla="*/ 120 w 1096"/>
                  <a:gd name="T91" fmla="*/ 597 h 1097"/>
                  <a:gd name="T92" fmla="*/ 145 w 1096"/>
                  <a:gd name="T93" fmla="*/ 550 h 1097"/>
                  <a:gd name="T94" fmla="*/ 173 w 1096"/>
                  <a:gd name="T95" fmla="*/ 505 h 1097"/>
                  <a:gd name="T96" fmla="*/ 202 w 1096"/>
                  <a:gd name="T97" fmla="*/ 462 h 1097"/>
                  <a:gd name="T98" fmla="*/ 234 w 1096"/>
                  <a:gd name="T99" fmla="*/ 419 h 1097"/>
                  <a:gd name="T100" fmla="*/ 267 w 1096"/>
                  <a:gd name="T101" fmla="*/ 379 h 1097"/>
                  <a:gd name="T102" fmla="*/ 303 w 1096"/>
                  <a:gd name="T103" fmla="*/ 339 h 1097"/>
                  <a:gd name="T104" fmla="*/ 515 w 1096"/>
                  <a:gd name="T105" fmla="*/ 514 h 10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96" h="1097">
                    <a:moveTo>
                      <a:pt x="1096" y="273"/>
                    </a:moveTo>
                    <a:lnTo>
                      <a:pt x="1075" y="273"/>
                    </a:lnTo>
                    <a:lnTo>
                      <a:pt x="1053" y="274"/>
                    </a:lnTo>
                    <a:lnTo>
                      <a:pt x="1033" y="275"/>
                    </a:lnTo>
                    <a:lnTo>
                      <a:pt x="1012" y="278"/>
                    </a:lnTo>
                    <a:lnTo>
                      <a:pt x="970" y="283"/>
                    </a:lnTo>
                    <a:lnTo>
                      <a:pt x="930" y="290"/>
                    </a:lnTo>
                    <a:lnTo>
                      <a:pt x="890" y="299"/>
                    </a:lnTo>
                    <a:lnTo>
                      <a:pt x="851" y="311"/>
                    </a:lnTo>
                    <a:lnTo>
                      <a:pt x="813" y="323"/>
                    </a:lnTo>
                    <a:lnTo>
                      <a:pt x="776" y="338"/>
                    </a:lnTo>
                    <a:lnTo>
                      <a:pt x="739" y="354"/>
                    </a:lnTo>
                    <a:lnTo>
                      <a:pt x="704" y="372"/>
                    </a:lnTo>
                    <a:lnTo>
                      <a:pt x="669" y="393"/>
                    </a:lnTo>
                    <a:lnTo>
                      <a:pt x="636" y="414"/>
                    </a:lnTo>
                    <a:lnTo>
                      <a:pt x="604" y="437"/>
                    </a:lnTo>
                    <a:lnTo>
                      <a:pt x="573" y="462"/>
                    </a:lnTo>
                    <a:lnTo>
                      <a:pt x="543" y="487"/>
                    </a:lnTo>
                    <a:lnTo>
                      <a:pt x="515" y="514"/>
                    </a:lnTo>
                    <a:lnTo>
                      <a:pt x="321" y="321"/>
                    </a:lnTo>
                    <a:lnTo>
                      <a:pt x="340" y="302"/>
                    </a:lnTo>
                    <a:lnTo>
                      <a:pt x="359" y="285"/>
                    </a:lnTo>
                    <a:lnTo>
                      <a:pt x="379" y="267"/>
                    </a:lnTo>
                    <a:lnTo>
                      <a:pt x="399" y="250"/>
                    </a:lnTo>
                    <a:lnTo>
                      <a:pt x="419" y="234"/>
                    </a:lnTo>
                    <a:lnTo>
                      <a:pt x="440" y="218"/>
                    </a:lnTo>
                    <a:lnTo>
                      <a:pt x="462" y="202"/>
                    </a:lnTo>
                    <a:lnTo>
                      <a:pt x="483" y="187"/>
                    </a:lnTo>
                    <a:lnTo>
                      <a:pt x="505" y="172"/>
                    </a:lnTo>
                    <a:lnTo>
                      <a:pt x="528" y="158"/>
                    </a:lnTo>
                    <a:lnTo>
                      <a:pt x="551" y="144"/>
                    </a:lnTo>
                    <a:lnTo>
                      <a:pt x="573" y="132"/>
                    </a:lnTo>
                    <a:lnTo>
                      <a:pt x="597" y="120"/>
                    </a:lnTo>
                    <a:lnTo>
                      <a:pt x="621" y="108"/>
                    </a:lnTo>
                    <a:lnTo>
                      <a:pt x="645" y="96"/>
                    </a:lnTo>
                    <a:lnTo>
                      <a:pt x="669" y="86"/>
                    </a:lnTo>
                    <a:lnTo>
                      <a:pt x="694" y="75"/>
                    </a:lnTo>
                    <a:lnTo>
                      <a:pt x="719" y="67"/>
                    </a:lnTo>
                    <a:lnTo>
                      <a:pt x="745" y="57"/>
                    </a:lnTo>
                    <a:lnTo>
                      <a:pt x="770" y="49"/>
                    </a:lnTo>
                    <a:lnTo>
                      <a:pt x="796" y="41"/>
                    </a:lnTo>
                    <a:lnTo>
                      <a:pt x="822" y="34"/>
                    </a:lnTo>
                    <a:lnTo>
                      <a:pt x="848" y="27"/>
                    </a:lnTo>
                    <a:lnTo>
                      <a:pt x="876" y="22"/>
                    </a:lnTo>
                    <a:lnTo>
                      <a:pt x="902" y="17"/>
                    </a:lnTo>
                    <a:lnTo>
                      <a:pt x="929" y="12"/>
                    </a:lnTo>
                    <a:lnTo>
                      <a:pt x="956" y="8"/>
                    </a:lnTo>
                    <a:lnTo>
                      <a:pt x="984" y="5"/>
                    </a:lnTo>
                    <a:lnTo>
                      <a:pt x="1012" y="3"/>
                    </a:lnTo>
                    <a:lnTo>
                      <a:pt x="1039" y="1"/>
                    </a:lnTo>
                    <a:lnTo>
                      <a:pt x="1067" y="0"/>
                    </a:lnTo>
                    <a:lnTo>
                      <a:pt x="1096" y="0"/>
                    </a:lnTo>
                    <a:lnTo>
                      <a:pt x="1096" y="273"/>
                    </a:lnTo>
                    <a:close/>
                    <a:moveTo>
                      <a:pt x="515" y="514"/>
                    </a:moveTo>
                    <a:lnTo>
                      <a:pt x="487" y="543"/>
                    </a:lnTo>
                    <a:lnTo>
                      <a:pt x="462" y="573"/>
                    </a:lnTo>
                    <a:lnTo>
                      <a:pt x="437" y="603"/>
                    </a:lnTo>
                    <a:lnTo>
                      <a:pt x="414" y="636"/>
                    </a:lnTo>
                    <a:lnTo>
                      <a:pt x="392" y="669"/>
                    </a:lnTo>
                    <a:lnTo>
                      <a:pt x="373" y="704"/>
                    </a:lnTo>
                    <a:lnTo>
                      <a:pt x="355" y="740"/>
                    </a:lnTo>
                    <a:lnTo>
                      <a:pt x="338" y="776"/>
                    </a:lnTo>
                    <a:lnTo>
                      <a:pt x="323" y="813"/>
                    </a:lnTo>
                    <a:lnTo>
                      <a:pt x="310" y="852"/>
                    </a:lnTo>
                    <a:lnTo>
                      <a:pt x="300" y="891"/>
                    </a:lnTo>
                    <a:lnTo>
                      <a:pt x="290" y="930"/>
                    </a:lnTo>
                    <a:lnTo>
                      <a:pt x="283" y="971"/>
                    </a:lnTo>
                    <a:lnTo>
                      <a:pt x="277" y="1012"/>
                    </a:lnTo>
                    <a:lnTo>
                      <a:pt x="276" y="1033"/>
                    </a:lnTo>
                    <a:lnTo>
                      <a:pt x="274" y="1054"/>
                    </a:lnTo>
                    <a:lnTo>
                      <a:pt x="274" y="1075"/>
                    </a:lnTo>
                    <a:lnTo>
                      <a:pt x="273" y="1097"/>
                    </a:lnTo>
                    <a:lnTo>
                      <a:pt x="0" y="1097"/>
                    </a:lnTo>
                    <a:lnTo>
                      <a:pt x="1" y="1068"/>
                    </a:lnTo>
                    <a:lnTo>
                      <a:pt x="2" y="1040"/>
                    </a:lnTo>
                    <a:lnTo>
                      <a:pt x="3" y="1011"/>
                    </a:lnTo>
                    <a:lnTo>
                      <a:pt x="6" y="984"/>
                    </a:lnTo>
                    <a:lnTo>
                      <a:pt x="9" y="957"/>
                    </a:lnTo>
                    <a:lnTo>
                      <a:pt x="12" y="929"/>
                    </a:lnTo>
                    <a:lnTo>
                      <a:pt x="17" y="902"/>
                    </a:lnTo>
                    <a:lnTo>
                      <a:pt x="22" y="875"/>
                    </a:lnTo>
                    <a:lnTo>
                      <a:pt x="28" y="848"/>
                    </a:lnTo>
                    <a:lnTo>
                      <a:pt x="35" y="822"/>
                    </a:lnTo>
                    <a:lnTo>
                      <a:pt x="41" y="796"/>
                    </a:lnTo>
                    <a:lnTo>
                      <a:pt x="50" y="770"/>
                    </a:lnTo>
                    <a:lnTo>
                      <a:pt x="57" y="744"/>
                    </a:lnTo>
                    <a:lnTo>
                      <a:pt x="67" y="720"/>
                    </a:lnTo>
                    <a:lnTo>
                      <a:pt x="76" y="694"/>
                    </a:lnTo>
                    <a:lnTo>
                      <a:pt x="86" y="669"/>
                    </a:lnTo>
                    <a:lnTo>
                      <a:pt x="96" y="645"/>
                    </a:lnTo>
                    <a:lnTo>
                      <a:pt x="108" y="620"/>
                    </a:lnTo>
                    <a:lnTo>
                      <a:pt x="120" y="597"/>
                    </a:lnTo>
                    <a:lnTo>
                      <a:pt x="133" y="574"/>
                    </a:lnTo>
                    <a:lnTo>
                      <a:pt x="145" y="550"/>
                    </a:lnTo>
                    <a:lnTo>
                      <a:pt x="158" y="528"/>
                    </a:lnTo>
                    <a:lnTo>
                      <a:pt x="173" y="505"/>
                    </a:lnTo>
                    <a:lnTo>
                      <a:pt x="187" y="483"/>
                    </a:lnTo>
                    <a:lnTo>
                      <a:pt x="202" y="462"/>
                    </a:lnTo>
                    <a:lnTo>
                      <a:pt x="218" y="440"/>
                    </a:lnTo>
                    <a:lnTo>
                      <a:pt x="234" y="419"/>
                    </a:lnTo>
                    <a:lnTo>
                      <a:pt x="251" y="399"/>
                    </a:lnTo>
                    <a:lnTo>
                      <a:pt x="267" y="379"/>
                    </a:lnTo>
                    <a:lnTo>
                      <a:pt x="285" y="358"/>
                    </a:lnTo>
                    <a:lnTo>
                      <a:pt x="303" y="339"/>
                    </a:lnTo>
                    <a:lnTo>
                      <a:pt x="321" y="321"/>
                    </a:lnTo>
                    <a:lnTo>
                      <a:pt x="515" y="5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56" name="Rectangle 67">
                <a:extLst>
                  <a:ext uri="{FF2B5EF4-FFF2-40B4-BE49-F238E27FC236}">
                    <a16:creationId xmlns:a16="http://schemas.microsoft.com/office/drawing/2014/main" id="{12584F4A-ABFB-4AFF-8C53-05A38F03FF4A}"/>
                  </a:ext>
                </a:extLst>
              </p:cNvPr>
              <p:cNvSpPr>
                <a:spLocks noChangeArrowheads="1"/>
              </p:cNvSpPr>
              <p:nvPr/>
            </p:nvSpPr>
            <p:spPr bwMode="auto">
              <a:xfrm>
                <a:off x="3232150" y="5935663"/>
                <a:ext cx="87313" cy="5540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grpSp>
          <p:nvGrpSpPr>
            <p:cNvPr id="12" name="Group 133">
              <a:extLst>
                <a:ext uri="{FF2B5EF4-FFF2-40B4-BE49-F238E27FC236}">
                  <a16:creationId xmlns:a16="http://schemas.microsoft.com/office/drawing/2014/main" id="{DD212120-C7E9-4DF2-8348-16567E7B26E6}"/>
                </a:ext>
              </a:extLst>
            </p:cNvPr>
            <p:cNvGrpSpPr/>
            <p:nvPr/>
          </p:nvGrpSpPr>
          <p:grpSpPr>
            <a:xfrm>
              <a:off x="3548063" y="3560763"/>
              <a:ext cx="746125" cy="2928937"/>
              <a:chOff x="3548063" y="3560763"/>
              <a:chExt cx="746125" cy="2928937"/>
            </a:xfrm>
            <a:solidFill>
              <a:schemeClr val="accent1"/>
            </a:solidFill>
          </p:grpSpPr>
          <p:sp>
            <p:nvSpPr>
              <p:cNvPr id="45" name="Freeform 17">
                <a:extLst>
                  <a:ext uri="{FF2B5EF4-FFF2-40B4-BE49-F238E27FC236}">
                    <a16:creationId xmlns:a16="http://schemas.microsoft.com/office/drawing/2014/main" id="{ED5E1970-0C0A-483C-8ED3-641878E9339A}"/>
                  </a:ext>
                </a:extLst>
              </p:cNvPr>
              <p:cNvSpPr>
                <a:spLocks/>
              </p:cNvSpPr>
              <p:nvPr/>
            </p:nvSpPr>
            <p:spPr bwMode="auto">
              <a:xfrm>
                <a:off x="3686175" y="3560763"/>
                <a:ext cx="608013" cy="608013"/>
              </a:xfrm>
              <a:custGeom>
                <a:avLst/>
                <a:gdLst>
                  <a:gd name="T0" fmla="*/ 1911 w 1915"/>
                  <a:gd name="T1" fmla="*/ 1056 h 1916"/>
                  <a:gd name="T2" fmla="*/ 1885 w 1915"/>
                  <a:gd name="T3" fmla="*/ 1197 h 1916"/>
                  <a:gd name="T4" fmla="*/ 1840 w 1915"/>
                  <a:gd name="T5" fmla="*/ 1331 h 1916"/>
                  <a:gd name="T6" fmla="*/ 1776 w 1915"/>
                  <a:gd name="T7" fmla="*/ 1455 h 1916"/>
                  <a:gd name="T8" fmla="*/ 1697 w 1915"/>
                  <a:gd name="T9" fmla="*/ 1568 h 1916"/>
                  <a:gd name="T10" fmla="*/ 1602 w 1915"/>
                  <a:gd name="T11" fmla="*/ 1668 h 1916"/>
                  <a:gd name="T12" fmla="*/ 1493 w 1915"/>
                  <a:gd name="T13" fmla="*/ 1753 h 1916"/>
                  <a:gd name="T14" fmla="*/ 1373 w 1915"/>
                  <a:gd name="T15" fmla="*/ 1822 h 1916"/>
                  <a:gd name="T16" fmla="*/ 1242 w 1915"/>
                  <a:gd name="T17" fmla="*/ 1873 h 1916"/>
                  <a:gd name="T18" fmla="*/ 1104 w 1915"/>
                  <a:gd name="T19" fmla="*/ 1905 h 1916"/>
                  <a:gd name="T20" fmla="*/ 958 w 1915"/>
                  <a:gd name="T21" fmla="*/ 1916 h 1916"/>
                  <a:gd name="T22" fmla="*/ 812 w 1915"/>
                  <a:gd name="T23" fmla="*/ 1905 h 1916"/>
                  <a:gd name="T24" fmla="*/ 673 w 1915"/>
                  <a:gd name="T25" fmla="*/ 1873 h 1916"/>
                  <a:gd name="T26" fmla="*/ 543 w 1915"/>
                  <a:gd name="T27" fmla="*/ 1822 h 1916"/>
                  <a:gd name="T28" fmla="*/ 423 w 1915"/>
                  <a:gd name="T29" fmla="*/ 1753 h 1916"/>
                  <a:gd name="T30" fmla="*/ 314 w 1915"/>
                  <a:gd name="T31" fmla="*/ 1668 h 1916"/>
                  <a:gd name="T32" fmla="*/ 218 w 1915"/>
                  <a:gd name="T33" fmla="*/ 1568 h 1916"/>
                  <a:gd name="T34" fmla="*/ 138 w 1915"/>
                  <a:gd name="T35" fmla="*/ 1455 h 1916"/>
                  <a:gd name="T36" fmla="*/ 76 w 1915"/>
                  <a:gd name="T37" fmla="*/ 1331 h 1916"/>
                  <a:gd name="T38" fmla="*/ 30 w 1915"/>
                  <a:gd name="T39" fmla="*/ 1197 h 1916"/>
                  <a:gd name="T40" fmla="*/ 4 w 1915"/>
                  <a:gd name="T41" fmla="*/ 1056 h 1916"/>
                  <a:gd name="T42" fmla="*/ 1 w 1915"/>
                  <a:gd name="T43" fmla="*/ 908 h 1916"/>
                  <a:gd name="T44" fmla="*/ 19 w 1915"/>
                  <a:gd name="T45" fmla="*/ 765 h 1916"/>
                  <a:gd name="T46" fmla="*/ 58 w 1915"/>
                  <a:gd name="T47" fmla="*/ 628 h 1916"/>
                  <a:gd name="T48" fmla="*/ 115 w 1915"/>
                  <a:gd name="T49" fmla="*/ 501 h 1916"/>
                  <a:gd name="T50" fmla="*/ 191 w 1915"/>
                  <a:gd name="T51" fmla="*/ 384 h 1916"/>
                  <a:gd name="T52" fmla="*/ 280 w 1915"/>
                  <a:gd name="T53" fmla="*/ 280 h 1916"/>
                  <a:gd name="T54" fmla="*/ 384 w 1915"/>
                  <a:gd name="T55" fmla="*/ 189 h 1916"/>
                  <a:gd name="T56" fmla="*/ 501 w 1915"/>
                  <a:gd name="T57" fmla="*/ 115 h 1916"/>
                  <a:gd name="T58" fmla="*/ 628 w 1915"/>
                  <a:gd name="T59" fmla="*/ 57 h 1916"/>
                  <a:gd name="T60" fmla="*/ 764 w 1915"/>
                  <a:gd name="T61" fmla="*/ 19 h 1916"/>
                  <a:gd name="T62" fmla="*/ 908 w 1915"/>
                  <a:gd name="T63" fmla="*/ 1 h 1916"/>
                  <a:gd name="T64" fmla="*/ 1056 w 1915"/>
                  <a:gd name="T65" fmla="*/ 4 h 1916"/>
                  <a:gd name="T66" fmla="*/ 1196 w 1915"/>
                  <a:gd name="T67" fmla="*/ 30 h 1916"/>
                  <a:gd name="T68" fmla="*/ 1330 w 1915"/>
                  <a:gd name="T69" fmla="*/ 74 h 1916"/>
                  <a:gd name="T70" fmla="*/ 1454 w 1915"/>
                  <a:gd name="T71" fmla="*/ 138 h 1916"/>
                  <a:gd name="T72" fmla="*/ 1567 w 1915"/>
                  <a:gd name="T73" fmla="*/ 218 h 1916"/>
                  <a:gd name="T74" fmla="*/ 1667 w 1915"/>
                  <a:gd name="T75" fmla="*/ 314 h 1916"/>
                  <a:gd name="T76" fmla="*/ 1752 w 1915"/>
                  <a:gd name="T77" fmla="*/ 422 h 1916"/>
                  <a:gd name="T78" fmla="*/ 1821 w 1915"/>
                  <a:gd name="T79" fmla="*/ 542 h 1916"/>
                  <a:gd name="T80" fmla="*/ 1872 w 1915"/>
                  <a:gd name="T81" fmla="*/ 673 h 1916"/>
                  <a:gd name="T82" fmla="*/ 1904 w 1915"/>
                  <a:gd name="T83" fmla="*/ 811 h 1916"/>
                  <a:gd name="T84" fmla="*/ 1915 w 1915"/>
                  <a:gd name="T85" fmla="*/ 958 h 19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915" h="1916">
                    <a:moveTo>
                      <a:pt x="1915" y="958"/>
                    </a:moveTo>
                    <a:lnTo>
                      <a:pt x="1914" y="1007"/>
                    </a:lnTo>
                    <a:lnTo>
                      <a:pt x="1911" y="1056"/>
                    </a:lnTo>
                    <a:lnTo>
                      <a:pt x="1904" y="1104"/>
                    </a:lnTo>
                    <a:lnTo>
                      <a:pt x="1896" y="1151"/>
                    </a:lnTo>
                    <a:lnTo>
                      <a:pt x="1885" y="1197"/>
                    </a:lnTo>
                    <a:lnTo>
                      <a:pt x="1872" y="1243"/>
                    </a:lnTo>
                    <a:lnTo>
                      <a:pt x="1857" y="1287"/>
                    </a:lnTo>
                    <a:lnTo>
                      <a:pt x="1840" y="1331"/>
                    </a:lnTo>
                    <a:lnTo>
                      <a:pt x="1821" y="1374"/>
                    </a:lnTo>
                    <a:lnTo>
                      <a:pt x="1800" y="1414"/>
                    </a:lnTo>
                    <a:lnTo>
                      <a:pt x="1776" y="1455"/>
                    </a:lnTo>
                    <a:lnTo>
                      <a:pt x="1752" y="1494"/>
                    </a:lnTo>
                    <a:lnTo>
                      <a:pt x="1725" y="1531"/>
                    </a:lnTo>
                    <a:lnTo>
                      <a:pt x="1697" y="1568"/>
                    </a:lnTo>
                    <a:lnTo>
                      <a:pt x="1667" y="1603"/>
                    </a:lnTo>
                    <a:lnTo>
                      <a:pt x="1635" y="1636"/>
                    </a:lnTo>
                    <a:lnTo>
                      <a:pt x="1602" y="1668"/>
                    </a:lnTo>
                    <a:lnTo>
                      <a:pt x="1567" y="1697"/>
                    </a:lnTo>
                    <a:lnTo>
                      <a:pt x="1531" y="1726"/>
                    </a:lnTo>
                    <a:lnTo>
                      <a:pt x="1493" y="1753"/>
                    </a:lnTo>
                    <a:lnTo>
                      <a:pt x="1454" y="1777"/>
                    </a:lnTo>
                    <a:lnTo>
                      <a:pt x="1414" y="1801"/>
                    </a:lnTo>
                    <a:lnTo>
                      <a:pt x="1373" y="1822"/>
                    </a:lnTo>
                    <a:lnTo>
                      <a:pt x="1330" y="1841"/>
                    </a:lnTo>
                    <a:lnTo>
                      <a:pt x="1287" y="1858"/>
                    </a:lnTo>
                    <a:lnTo>
                      <a:pt x="1242" y="1873"/>
                    </a:lnTo>
                    <a:lnTo>
                      <a:pt x="1196" y="1886"/>
                    </a:lnTo>
                    <a:lnTo>
                      <a:pt x="1151" y="1897"/>
                    </a:lnTo>
                    <a:lnTo>
                      <a:pt x="1104" y="1905"/>
                    </a:lnTo>
                    <a:lnTo>
                      <a:pt x="1056" y="1912"/>
                    </a:lnTo>
                    <a:lnTo>
                      <a:pt x="1007" y="1915"/>
                    </a:lnTo>
                    <a:lnTo>
                      <a:pt x="958" y="1916"/>
                    </a:lnTo>
                    <a:lnTo>
                      <a:pt x="908" y="1915"/>
                    </a:lnTo>
                    <a:lnTo>
                      <a:pt x="860" y="1912"/>
                    </a:lnTo>
                    <a:lnTo>
                      <a:pt x="812" y="1905"/>
                    </a:lnTo>
                    <a:lnTo>
                      <a:pt x="764" y="1897"/>
                    </a:lnTo>
                    <a:lnTo>
                      <a:pt x="718" y="1886"/>
                    </a:lnTo>
                    <a:lnTo>
                      <a:pt x="673" y="1873"/>
                    </a:lnTo>
                    <a:lnTo>
                      <a:pt x="628" y="1858"/>
                    </a:lnTo>
                    <a:lnTo>
                      <a:pt x="584" y="1841"/>
                    </a:lnTo>
                    <a:lnTo>
                      <a:pt x="543" y="1822"/>
                    </a:lnTo>
                    <a:lnTo>
                      <a:pt x="501" y="1801"/>
                    </a:lnTo>
                    <a:lnTo>
                      <a:pt x="461" y="1777"/>
                    </a:lnTo>
                    <a:lnTo>
                      <a:pt x="423" y="1753"/>
                    </a:lnTo>
                    <a:lnTo>
                      <a:pt x="384" y="1726"/>
                    </a:lnTo>
                    <a:lnTo>
                      <a:pt x="348" y="1697"/>
                    </a:lnTo>
                    <a:lnTo>
                      <a:pt x="314" y="1668"/>
                    </a:lnTo>
                    <a:lnTo>
                      <a:pt x="280" y="1636"/>
                    </a:lnTo>
                    <a:lnTo>
                      <a:pt x="249" y="1603"/>
                    </a:lnTo>
                    <a:lnTo>
                      <a:pt x="218" y="1568"/>
                    </a:lnTo>
                    <a:lnTo>
                      <a:pt x="191" y="1531"/>
                    </a:lnTo>
                    <a:lnTo>
                      <a:pt x="163" y="1494"/>
                    </a:lnTo>
                    <a:lnTo>
                      <a:pt x="138" y="1455"/>
                    </a:lnTo>
                    <a:lnTo>
                      <a:pt x="115" y="1414"/>
                    </a:lnTo>
                    <a:lnTo>
                      <a:pt x="95" y="1374"/>
                    </a:lnTo>
                    <a:lnTo>
                      <a:pt x="76" y="1331"/>
                    </a:lnTo>
                    <a:lnTo>
                      <a:pt x="58" y="1287"/>
                    </a:lnTo>
                    <a:lnTo>
                      <a:pt x="43" y="1243"/>
                    </a:lnTo>
                    <a:lnTo>
                      <a:pt x="30" y="1197"/>
                    </a:lnTo>
                    <a:lnTo>
                      <a:pt x="19" y="1151"/>
                    </a:lnTo>
                    <a:lnTo>
                      <a:pt x="11" y="1104"/>
                    </a:lnTo>
                    <a:lnTo>
                      <a:pt x="4" y="1056"/>
                    </a:lnTo>
                    <a:lnTo>
                      <a:pt x="1" y="1007"/>
                    </a:lnTo>
                    <a:lnTo>
                      <a:pt x="0" y="958"/>
                    </a:lnTo>
                    <a:lnTo>
                      <a:pt x="1" y="908"/>
                    </a:lnTo>
                    <a:lnTo>
                      <a:pt x="4" y="860"/>
                    </a:lnTo>
                    <a:lnTo>
                      <a:pt x="11" y="811"/>
                    </a:lnTo>
                    <a:lnTo>
                      <a:pt x="19" y="765"/>
                    </a:lnTo>
                    <a:lnTo>
                      <a:pt x="30" y="719"/>
                    </a:lnTo>
                    <a:lnTo>
                      <a:pt x="43" y="673"/>
                    </a:lnTo>
                    <a:lnTo>
                      <a:pt x="58" y="628"/>
                    </a:lnTo>
                    <a:lnTo>
                      <a:pt x="76" y="585"/>
                    </a:lnTo>
                    <a:lnTo>
                      <a:pt x="95" y="542"/>
                    </a:lnTo>
                    <a:lnTo>
                      <a:pt x="115" y="501"/>
                    </a:lnTo>
                    <a:lnTo>
                      <a:pt x="138" y="461"/>
                    </a:lnTo>
                    <a:lnTo>
                      <a:pt x="163" y="422"/>
                    </a:lnTo>
                    <a:lnTo>
                      <a:pt x="191" y="384"/>
                    </a:lnTo>
                    <a:lnTo>
                      <a:pt x="218" y="348"/>
                    </a:lnTo>
                    <a:lnTo>
                      <a:pt x="249" y="314"/>
                    </a:lnTo>
                    <a:lnTo>
                      <a:pt x="280" y="280"/>
                    </a:lnTo>
                    <a:lnTo>
                      <a:pt x="314" y="248"/>
                    </a:lnTo>
                    <a:lnTo>
                      <a:pt x="348" y="218"/>
                    </a:lnTo>
                    <a:lnTo>
                      <a:pt x="384" y="189"/>
                    </a:lnTo>
                    <a:lnTo>
                      <a:pt x="423" y="163"/>
                    </a:lnTo>
                    <a:lnTo>
                      <a:pt x="461" y="138"/>
                    </a:lnTo>
                    <a:lnTo>
                      <a:pt x="501" y="115"/>
                    </a:lnTo>
                    <a:lnTo>
                      <a:pt x="543" y="94"/>
                    </a:lnTo>
                    <a:lnTo>
                      <a:pt x="584" y="74"/>
                    </a:lnTo>
                    <a:lnTo>
                      <a:pt x="628" y="57"/>
                    </a:lnTo>
                    <a:lnTo>
                      <a:pt x="673" y="42"/>
                    </a:lnTo>
                    <a:lnTo>
                      <a:pt x="718" y="30"/>
                    </a:lnTo>
                    <a:lnTo>
                      <a:pt x="764" y="19"/>
                    </a:lnTo>
                    <a:lnTo>
                      <a:pt x="812" y="10"/>
                    </a:lnTo>
                    <a:lnTo>
                      <a:pt x="860" y="4"/>
                    </a:lnTo>
                    <a:lnTo>
                      <a:pt x="908" y="1"/>
                    </a:lnTo>
                    <a:lnTo>
                      <a:pt x="958" y="0"/>
                    </a:lnTo>
                    <a:lnTo>
                      <a:pt x="1007" y="1"/>
                    </a:lnTo>
                    <a:lnTo>
                      <a:pt x="1056" y="4"/>
                    </a:lnTo>
                    <a:lnTo>
                      <a:pt x="1104" y="10"/>
                    </a:lnTo>
                    <a:lnTo>
                      <a:pt x="1151" y="19"/>
                    </a:lnTo>
                    <a:lnTo>
                      <a:pt x="1196" y="30"/>
                    </a:lnTo>
                    <a:lnTo>
                      <a:pt x="1242" y="42"/>
                    </a:lnTo>
                    <a:lnTo>
                      <a:pt x="1287" y="57"/>
                    </a:lnTo>
                    <a:lnTo>
                      <a:pt x="1330" y="74"/>
                    </a:lnTo>
                    <a:lnTo>
                      <a:pt x="1373" y="94"/>
                    </a:lnTo>
                    <a:lnTo>
                      <a:pt x="1414" y="115"/>
                    </a:lnTo>
                    <a:lnTo>
                      <a:pt x="1454" y="138"/>
                    </a:lnTo>
                    <a:lnTo>
                      <a:pt x="1493" y="163"/>
                    </a:lnTo>
                    <a:lnTo>
                      <a:pt x="1531" y="189"/>
                    </a:lnTo>
                    <a:lnTo>
                      <a:pt x="1567" y="218"/>
                    </a:lnTo>
                    <a:lnTo>
                      <a:pt x="1602" y="248"/>
                    </a:lnTo>
                    <a:lnTo>
                      <a:pt x="1635" y="280"/>
                    </a:lnTo>
                    <a:lnTo>
                      <a:pt x="1667" y="314"/>
                    </a:lnTo>
                    <a:lnTo>
                      <a:pt x="1697" y="348"/>
                    </a:lnTo>
                    <a:lnTo>
                      <a:pt x="1725" y="384"/>
                    </a:lnTo>
                    <a:lnTo>
                      <a:pt x="1752" y="422"/>
                    </a:lnTo>
                    <a:lnTo>
                      <a:pt x="1776" y="461"/>
                    </a:lnTo>
                    <a:lnTo>
                      <a:pt x="1800" y="501"/>
                    </a:lnTo>
                    <a:lnTo>
                      <a:pt x="1821" y="542"/>
                    </a:lnTo>
                    <a:lnTo>
                      <a:pt x="1840" y="585"/>
                    </a:lnTo>
                    <a:lnTo>
                      <a:pt x="1857" y="628"/>
                    </a:lnTo>
                    <a:lnTo>
                      <a:pt x="1872" y="673"/>
                    </a:lnTo>
                    <a:lnTo>
                      <a:pt x="1885" y="719"/>
                    </a:lnTo>
                    <a:lnTo>
                      <a:pt x="1896" y="765"/>
                    </a:lnTo>
                    <a:lnTo>
                      <a:pt x="1904" y="811"/>
                    </a:lnTo>
                    <a:lnTo>
                      <a:pt x="1911" y="860"/>
                    </a:lnTo>
                    <a:lnTo>
                      <a:pt x="1914" y="908"/>
                    </a:lnTo>
                    <a:lnTo>
                      <a:pt x="1915" y="9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46" name="Rectangle 68">
                <a:extLst>
                  <a:ext uri="{FF2B5EF4-FFF2-40B4-BE49-F238E27FC236}">
                    <a16:creationId xmlns:a16="http://schemas.microsoft.com/office/drawing/2014/main" id="{D8147D05-D626-4BAA-9EE8-046FAA155C7F}"/>
                  </a:ext>
                </a:extLst>
              </p:cNvPr>
              <p:cNvSpPr>
                <a:spLocks noChangeArrowheads="1"/>
              </p:cNvSpPr>
              <p:nvPr/>
            </p:nvSpPr>
            <p:spPr bwMode="auto">
              <a:xfrm>
                <a:off x="3971925" y="4156075"/>
                <a:ext cx="36513" cy="4587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47" name="Freeform 69">
                <a:extLst>
                  <a:ext uri="{FF2B5EF4-FFF2-40B4-BE49-F238E27FC236}">
                    <a16:creationId xmlns:a16="http://schemas.microsoft.com/office/drawing/2014/main" id="{AD2A0BB6-44D8-45EF-8F4C-7A0BCE53E345}"/>
                  </a:ext>
                </a:extLst>
              </p:cNvPr>
              <p:cNvSpPr>
                <a:spLocks noEditPoints="1"/>
              </p:cNvSpPr>
              <p:nvPr/>
            </p:nvSpPr>
            <p:spPr bwMode="auto">
              <a:xfrm>
                <a:off x="3867150" y="4614863"/>
                <a:ext cx="141288" cy="141288"/>
              </a:xfrm>
              <a:custGeom>
                <a:avLst/>
                <a:gdLst>
                  <a:gd name="T0" fmla="*/ 442 w 443"/>
                  <a:gd name="T1" fmla="*/ 22 h 444"/>
                  <a:gd name="T2" fmla="*/ 438 w 443"/>
                  <a:gd name="T3" fmla="*/ 67 h 444"/>
                  <a:gd name="T4" fmla="*/ 430 w 443"/>
                  <a:gd name="T5" fmla="*/ 110 h 444"/>
                  <a:gd name="T6" fmla="*/ 417 w 443"/>
                  <a:gd name="T7" fmla="*/ 152 h 444"/>
                  <a:gd name="T8" fmla="*/ 400 w 443"/>
                  <a:gd name="T9" fmla="*/ 192 h 444"/>
                  <a:gd name="T10" fmla="*/ 380 w 443"/>
                  <a:gd name="T11" fmla="*/ 230 h 444"/>
                  <a:gd name="T12" fmla="*/ 355 w 443"/>
                  <a:gd name="T13" fmla="*/ 265 h 444"/>
                  <a:gd name="T14" fmla="*/ 328 w 443"/>
                  <a:gd name="T15" fmla="*/ 298 h 444"/>
                  <a:gd name="T16" fmla="*/ 233 w 443"/>
                  <a:gd name="T17" fmla="*/ 233 h 444"/>
                  <a:gd name="T18" fmla="*/ 254 w 443"/>
                  <a:gd name="T19" fmla="*/ 209 h 444"/>
                  <a:gd name="T20" fmla="*/ 273 w 443"/>
                  <a:gd name="T21" fmla="*/ 184 h 444"/>
                  <a:gd name="T22" fmla="*/ 290 w 443"/>
                  <a:gd name="T23" fmla="*/ 157 h 444"/>
                  <a:gd name="T24" fmla="*/ 304 w 443"/>
                  <a:gd name="T25" fmla="*/ 129 h 444"/>
                  <a:gd name="T26" fmla="*/ 315 w 443"/>
                  <a:gd name="T27" fmla="*/ 98 h 444"/>
                  <a:gd name="T28" fmla="*/ 323 w 443"/>
                  <a:gd name="T29" fmla="*/ 66 h 444"/>
                  <a:gd name="T30" fmla="*/ 328 w 443"/>
                  <a:gd name="T31" fmla="*/ 34 h 444"/>
                  <a:gd name="T32" fmla="*/ 330 w 443"/>
                  <a:gd name="T33" fmla="*/ 0 h 444"/>
                  <a:gd name="T34" fmla="*/ 314 w 443"/>
                  <a:gd name="T35" fmla="*/ 314 h 444"/>
                  <a:gd name="T36" fmla="*/ 282 w 443"/>
                  <a:gd name="T37" fmla="*/ 343 h 444"/>
                  <a:gd name="T38" fmla="*/ 248 w 443"/>
                  <a:gd name="T39" fmla="*/ 368 h 444"/>
                  <a:gd name="T40" fmla="*/ 211 w 443"/>
                  <a:gd name="T41" fmla="*/ 389 h 444"/>
                  <a:gd name="T42" fmla="*/ 172 w 443"/>
                  <a:gd name="T43" fmla="*/ 409 h 444"/>
                  <a:gd name="T44" fmla="*/ 132 w 443"/>
                  <a:gd name="T45" fmla="*/ 424 h 444"/>
                  <a:gd name="T46" fmla="*/ 89 w 443"/>
                  <a:gd name="T47" fmla="*/ 434 h 444"/>
                  <a:gd name="T48" fmla="*/ 45 w 443"/>
                  <a:gd name="T49" fmla="*/ 442 h 444"/>
                  <a:gd name="T50" fmla="*/ 0 w 443"/>
                  <a:gd name="T51" fmla="*/ 444 h 444"/>
                  <a:gd name="T52" fmla="*/ 17 w 443"/>
                  <a:gd name="T53" fmla="*/ 330 h 444"/>
                  <a:gd name="T54" fmla="*/ 50 w 443"/>
                  <a:gd name="T55" fmla="*/ 326 h 444"/>
                  <a:gd name="T56" fmla="*/ 83 w 443"/>
                  <a:gd name="T57" fmla="*/ 319 h 444"/>
                  <a:gd name="T58" fmla="*/ 113 w 443"/>
                  <a:gd name="T59" fmla="*/ 310 h 444"/>
                  <a:gd name="T60" fmla="*/ 143 w 443"/>
                  <a:gd name="T61" fmla="*/ 297 h 444"/>
                  <a:gd name="T62" fmla="*/ 171 w 443"/>
                  <a:gd name="T63" fmla="*/ 282 h 444"/>
                  <a:gd name="T64" fmla="*/ 198 w 443"/>
                  <a:gd name="T65" fmla="*/ 264 h 444"/>
                  <a:gd name="T66" fmla="*/ 222 w 443"/>
                  <a:gd name="T67" fmla="*/ 244 h 444"/>
                  <a:gd name="T68" fmla="*/ 314 w 443"/>
                  <a:gd name="T69" fmla="*/ 314 h 4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43" h="444">
                    <a:moveTo>
                      <a:pt x="443" y="0"/>
                    </a:moveTo>
                    <a:lnTo>
                      <a:pt x="442" y="22"/>
                    </a:lnTo>
                    <a:lnTo>
                      <a:pt x="441" y="44"/>
                    </a:lnTo>
                    <a:lnTo>
                      <a:pt x="438" y="67"/>
                    </a:lnTo>
                    <a:lnTo>
                      <a:pt x="435" y="89"/>
                    </a:lnTo>
                    <a:lnTo>
                      <a:pt x="430" y="110"/>
                    </a:lnTo>
                    <a:lnTo>
                      <a:pt x="423" y="132"/>
                    </a:lnTo>
                    <a:lnTo>
                      <a:pt x="417" y="152"/>
                    </a:lnTo>
                    <a:lnTo>
                      <a:pt x="408" y="172"/>
                    </a:lnTo>
                    <a:lnTo>
                      <a:pt x="400" y="192"/>
                    </a:lnTo>
                    <a:lnTo>
                      <a:pt x="390" y="212"/>
                    </a:lnTo>
                    <a:lnTo>
                      <a:pt x="380" y="230"/>
                    </a:lnTo>
                    <a:lnTo>
                      <a:pt x="368" y="248"/>
                    </a:lnTo>
                    <a:lnTo>
                      <a:pt x="355" y="265"/>
                    </a:lnTo>
                    <a:lnTo>
                      <a:pt x="342" y="282"/>
                    </a:lnTo>
                    <a:lnTo>
                      <a:pt x="328" y="298"/>
                    </a:lnTo>
                    <a:lnTo>
                      <a:pt x="314" y="314"/>
                    </a:lnTo>
                    <a:lnTo>
                      <a:pt x="233" y="233"/>
                    </a:lnTo>
                    <a:lnTo>
                      <a:pt x="244" y="221"/>
                    </a:lnTo>
                    <a:lnTo>
                      <a:pt x="254" y="209"/>
                    </a:lnTo>
                    <a:lnTo>
                      <a:pt x="265" y="197"/>
                    </a:lnTo>
                    <a:lnTo>
                      <a:pt x="273" y="184"/>
                    </a:lnTo>
                    <a:lnTo>
                      <a:pt x="282" y="171"/>
                    </a:lnTo>
                    <a:lnTo>
                      <a:pt x="290" y="157"/>
                    </a:lnTo>
                    <a:lnTo>
                      <a:pt x="298" y="142"/>
                    </a:lnTo>
                    <a:lnTo>
                      <a:pt x="304" y="129"/>
                    </a:lnTo>
                    <a:lnTo>
                      <a:pt x="309" y="113"/>
                    </a:lnTo>
                    <a:lnTo>
                      <a:pt x="315" y="98"/>
                    </a:lnTo>
                    <a:lnTo>
                      <a:pt x="319" y="82"/>
                    </a:lnTo>
                    <a:lnTo>
                      <a:pt x="323" y="66"/>
                    </a:lnTo>
                    <a:lnTo>
                      <a:pt x="326" y="50"/>
                    </a:lnTo>
                    <a:lnTo>
                      <a:pt x="328" y="34"/>
                    </a:lnTo>
                    <a:lnTo>
                      <a:pt x="330" y="17"/>
                    </a:lnTo>
                    <a:lnTo>
                      <a:pt x="330" y="0"/>
                    </a:lnTo>
                    <a:lnTo>
                      <a:pt x="443" y="0"/>
                    </a:lnTo>
                    <a:close/>
                    <a:moveTo>
                      <a:pt x="314" y="314"/>
                    </a:moveTo>
                    <a:lnTo>
                      <a:pt x="298" y="328"/>
                    </a:lnTo>
                    <a:lnTo>
                      <a:pt x="282" y="343"/>
                    </a:lnTo>
                    <a:lnTo>
                      <a:pt x="266" y="355"/>
                    </a:lnTo>
                    <a:lnTo>
                      <a:pt x="248" y="368"/>
                    </a:lnTo>
                    <a:lnTo>
                      <a:pt x="229" y="379"/>
                    </a:lnTo>
                    <a:lnTo>
                      <a:pt x="211" y="389"/>
                    </a:lnTo>
                    <a:lnTo>
                      <a:pt x="192" y="400"/>
                    </a:lnTo>
                    <a:lnTo>
                      <a:pt x="172" y="409"/>
                    </a:lnTo>
                    <a:lnTo>
                      <a:pt x="152" y="416"/>
                    </a:lnTo>
                    <a:lnTo>
                      <a:pt x="132" y="424"/>
                    </a:lnTo>
                    <a:lnTo>
                      <a:pt x="110" y="430"/>
                    </a:lnTo>
                    <a:lnTo>
                      <a:pt x="89" y="434"/>
                    </a:lnTo>
                    <a:lnTo>
                      <a:pt x="68" y="438"/>
                    </a:lnTo>
                    <a:lnTo>
                      <a:pt x="45" y="442"/>
                    </a:lnTo>
                    <a:lnTo>
                      <a:pt x="23" y="443"/>
                    </a:lnTo>
                    <a:lnTo>
                      <a:pt x="0" y="444"/>
                    </a:lnTo>
                    <a:lnTo>
                      <a:pt x="0" y="330"/>
                    </a:lnTo>
                    <a:lnTo>
                      <a:pt x="17" y="330"/>
                    </a:lnTo>
                    <a:lnTo>
                      <a:pt x="34" y="328"/>
                    </a:lnTo>
                    <a:lnTo>
                      <a:pt x="50" y="326"/>
                    </a:lnTo>
                    <a:lnTo>
                      <a:pt x="67" y="323"/>
                    </a:lnTo>
                    <a:lnTo>
                      <a:pt x="83" y="319"/>
                    </a:lnTo>
                    <a:lnTo>
                      <a:pt x="97" y="315"/>
                    </a:lnTo>
                    <a:lnTo>
                      <a:pt x="113" y="310"/>
                    </a:lnTo>
                    <a:lnTo>
                      <a:pt x="128" y="304"/>
                    </a:lnTo>
                    <a:lnTo>
                      <a:pt x="143" y="297"/>
                    </a:lnTo>
                    <a:lnTo>
                      <a:pt x="157" y="290"/>
                    </a:lnTo>
                    <a:lnTo>
                      <a:pt x="171" y="282"/>
                    </a:lnTo>
                    <a:lnTo>
                      <a:pt x="184" y="273"/>
                    </a:lnTo>
                    <a:lnTo>
                      <a:pt x="198" y="264"/>
                    </a:lnTo>
                    <a:lnTo>
                      <a:pt x="209" y="254"/>
                    </a:lnTo>
                    <a:lnTo>
                      <a:pt x="222" y="244"/>
                    </a:lnTo>
                    <a:lnTo>
                      <a:pt x="233" y="233"/>
                    </a:lnTo>
                    <a:lnTo>
                      <a:pt x="314" y="3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48" name="Rectangle 70">
                <a:extLst>
                  <a:ext uri="{FF2B5EF4-FFF2-40B4-BE49-F238E27FC236}">
                    <a16:creationId xmlns:a16="http://schemas.microsoft.com/office/drawing/2014/main" id="{41196218-E367-42A0-BBC3-92341B9DA210}"/>
                  </a:ext>
                </a:extLst>
              </p:cNvPr>
              <p:cNvSpPr>
                <a:spLocks noChangeArrowheads="1"/>
              </p:cNvSpPr>
              <p:nvPr/>
            </p:nvSpPr>
            <p:spPr bwMode="auto">
              <a:xfrm>
                <a:off x="3689350" y="4719638"/>
                <a:ext cx="177800" cy="365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49" name="Freeform 71">
                <a:extLst>
                  <a:ext uri="{FF2B5EF4-FFF2-40B4-BE49-F238E27FC236}">
                    <a16:creationId xmlns:a16="http://schemas.microsoft.com/office/drawing/2014/main" id="{4A56D4E0-144C-4D19-8A0B-3B8F8DF403AD}"/>
                  </a:ext>
                </a:extLst>
              </p:cNvPr>
              <p:cNvSpPr>
                <a:spLocks noEditPoints="1"/>
              </p:cNvSpPr>
              <p:nvPr/>
            </p:nvSpPr>
            <p:spPr bwMode="auto">
              <a:xfrm>
                <a:off x="3548063" y="4719638"/>
                <a:ext cx="141288" cy="141288"/>
              </a:xfrm>
              <a:custGeom>
                <a:avLst/>
                <a:gdLst>
                  <a:gd name="T0" fmla="*/ 426 w 444"/>
                  <a:gd name="T1" fmla="*/ 114 h 444"/>
                  <a:gd name="T2" fmla="*/ 394 w 444"/>
                  <a:gd name="T3" fmla="*/ 117 h 444"/>
                  <a:gd name="T4" fmla="*/ 362 w 444"/>
                  <a:gd name="T5" fmla="*/ 124 h 444"/>
                  <a:gd name="T6" fmla="*/ 330 w 444"/>
                  <a:gd name="T7" fmla="*/ 134 h 444"/>
                  <a:gd name="T8" fmla="*/ 301 w 444"/>
                  <a:gd name="T9" fmla="*/ 146 h 444"/>
                  <a:gd name="T10" fmla="*/ 272 w 444"/>
                  <a:gd name="T11" fmla="*/ 162 h 444"/>
                  <a:gd name="T12" fmla="*/ 247 w 444"/>
                  <a:gd name="T13" fmla="*/ 179 h 444"/>
                  <a:gd name="T14" fmla="*/ 222 w 444"/>
                  <a:gd name="T15" fmla="*/ 199 h 444"/>
                  <a:gd name="T16" fmla="*/ 130 w 444"/>
                  <a:gd name="T17" fmla="*/ 130 h 444"/>
                  <a:gd name="T18" fmla="*/ 161 w 444"/>
                  <a:gd name="T19" fmla="*/ 101 h 444"/>
                  <a:gd name="T20" fmla="*/ 196 w 444"/>
                  <a:gd name="T21" fmla="*/ 75 h 444"/>
                  <a:gd name="T22" fmla="*/ 232 w 444"/>
                  <a:gd name="T23" fmla="*/ 53 h 444"/>
                  <a:gd name="T24" fmla="*/ 271 w 444"/>
                  <a:gd name="T25" fmla="*/ 35 h 444"/>
                  <a:gd name="T26" fmla="*/ 312 w 444"/>
                  <a:gd name="T27" fmla="*/ 20 h 444"/>
                  <a:gd name="T28" fmla="*/ 354 w 444"/>
                  <a:gd name="T29" fmla="*/ 8 h 444"/>
                  <a:gd name="T30" fmla="*/ 398 w 444"/>
                  <a:gd name="T31" fmla="*/ 2 h 444"/>
                  <a:gd name="T32" fmla="*/ 444 w 444"/>
                  <a:gd name="T33" fmla="*/ 0 h 444"/>
                  <a:gd name="T34" fmla="*/ 210 w 444"/>
                  <a:gd name="T35" fmla="*/ 211 h 444"/>
                  <a:gd name="T36" fmla="*/ 189 w 444"/>
                  <a:gd name="T37" fmla="*/ 234 h 444"/>
                  <a:gd name="T38" fmla="*/ 170 w 444"/>
                  <a:gd name="T39" fmla="*/ 260 h 444"/>
                  <a:gd name="T40" fmla="*/ 153 w 444"/>
                  <a:gd name="T41" fmla="*/ 286 h 444"/>
                  <a:gd name="T42" fmla="*/ 139 w 444"/>
                  <a:gd name="T43" fmla="*/ 315 h 444"/>
                  <a:gd name="T44" fmla="*/ 128 w 444"/>
                  <a:gd name="T45" fmla="*/ 346 h 444"/>
                  <a:gd name="T46" fmla="*/ 120 w 444"/>
                  <a:gd name="T47" fmla="*/ 377 h 444"/>
                  <a:gd name="T48" fmla="*/ 116 w 444"/>
                  <a:gd name="T49" fmla="*/ 410 h 444"/>
                  <a:gd name="T50" fmla="*/ 114 w 444"/>
                  <a:gd name="T51" fmla="*/ 444 h 444"/>
                  <a:gd name="T52" fmla="*/ 1 w 444"/>
                  <a:gd name="T53" fmla="*/ 420 h 444"/>
                  <a:gd name="T54" fmla="*/ 5 w 444"/>
                  <a:gd name="T55" fmla="*/ 376 h 444"/>
                  <a:gd name="T56" fmla="*/ 14 w 444"/>
                  <a:gd name="T57" fmla="*/ 333 h 444"/>
                  <a:gd name="T58" fmla="*/ 26 w 444"/>
                  <a:gd name="T59" fmla="*/ 292 h 444"/>
                  <a:gd name="T60" fmla="*/ 43 w 444"/>
                  <a:gd name="T61" fmla="*/ 251 h 444"/>
                  <a:gd name="T62" fmla="*/ 65 w 444"/>
                  <a:gd name="T63" fmla="*/ 214 h 444"/>
                  <a:gd name="T64" fmla="*/ 88 w 444"/>
                  <a:gd name="T65" fmla="*/ 178 h 444"/>
                  <a:gd name="T66" fmla="*/ 116 w 444"/>
                  <a:gd name="T67" fmla="*/ 146 h 444"/>
                  <a:gd name="T68" fmla="*/ 210 w 444"/>
                  <a:gd name="T69" fmla="*/ 211 h 4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44" h="444">
                    <a:moveTo>
                      <a:pt x="444" y="114"/>
                    </a:moveTo>
                    <a:lnTo>
                      <a:pt x="426" y="114"/>
                    </a:lnTo>
                    <a:lnTo>
                      <a:pt x="409" y="115"/>
                    </a:lnTo>
                    <a:lnTo>
                      <a:pt x="394" y="117"/>
                    </a:lnTo>
                    <a:lnTo>
                      <a:pt x="378" y="120"/>
                    </a:lnTo>
                    <a:lnTo>
                      <a:pt x="362" y="124"/>
                    </a:lnTo>
                    <a:lnTo>
                      <a:pt x="346" y="129"/>
                    </a:lnTo>
                    <a:lnTo>
                      <a:pt x="330" y="134"/>
                    </a:lnTo>
                    <a:lnTo>
                      <a:pt x="315" y="139"/>
                    </a:lnTo>
                    <a:lnTo>
                      <a:pt x="301" y="146"/>
                    </a:lnTo>
                    <a:lnTo>
                      <a:pt x="286" y="153"/>
                    </a:lnTo>
                    <a:lnTo>
                      <a:pt x="272" y="162"/>
                    </a:lnTo>
                    <a:lnTo>
                      <a:pt x="259" y="170"/>
                    </a:lnTo>
                    <a:lnTo>
                      <a:pt x="247" y="179"/>
                    </a:lnTo>
                    <a:lnTo>
                      <a:pt x="234" y="189"/>
                    </a:lnTo>
                    <a:lnTo>
                      <a:pt x="222" y="199"/>
                    </a:lnTo>
                    <a:lnTo>
                      <a:pt x="210" y="211"/>
                    </a:lnTo>
                    <a:lnTo>
                      <a:pt x="130" y="130"/>
                    </a:lnTo>
                    <a:lnTo>
                      <a:pt x="146" y="115"/>
                    </a:lnTo>
                    <a:lnTo>
                      <a:pt x="161" y="101"/>
                    </a:lnTo>
                    <a:lnTo>
                      <a:pt x="179" y="88"/>
                    </a:lnTo>
                    <a:lnTo>
                      <a:pt x="196" y="75"/>
                    </a:lnTo>
                    <a:lnTo>
                      <a:pt x="214" y="64"/>
                    </a:lnTo>
                    <a:lnTo>
                      <a:pt x="232" y="53"/>
                    </a:lnTo>
                    <a:lnTo>
                      <a:pt x="251" y="43"/>
                    </a:lnTo>
                    <a:lnTo>
                      <a:pt x="271" y="35"/>
                    </a:lnTo>
                    <a:lnTo>
                      <a:pt x="291" y="26"/>
                    </a:lnTo>
                    <a:lnTo>
                      <a:pt x="312" y="20"/>
                    </a:lnTo>
                    <a:lnTo>
                      <a:pt x="333" y="14"/>
                    </a:lnTo>
                    <a:lnTo>
                      <a:pt x="354" y="8"/>
                    </a:lnTo>
                    <a:lnTo>
                      <a:pt x="376" y="5"/>
                    </a:lnTo>
                    <a:lnTo>
                      <a:pt x="398" y="2"/>
                    </a:lnTo>
                    <a:lnTo>
                      <a:pt x="421" y="0"/>
                    </a:lnTo>
                    <a:lnTo>
                      <a:pt x="444" y="0"/>
                    </a:lnTo>
                    <a:lnTo>
                      <a:pt x="444" y="114"/>
                    </a:lnTo>
                    <a:close/>
                    <a:moveTo>
                      <a:pt x="210" y="211"/>
                    </a:moveTo>
                    <a:lnTo>
                      <a:pt x="200" y="221"/>
                    </a:lnTo>
                    <a:lnTo>
                      <a:pt x="189" y="234"/>
                    </a:lnTo>
                    <a:lnTo>
                      <a:pt x="180" y="246"/>
                    </a:lnTo>
                    <a:lnTo>
                      <a:pt x="170" y="260"/>
                    </a:lnTo>
                    <a:lnTo>
                      <a:pt x="161" y="272"/>
                    </a:lnTo>
                    <a:lnTo>
                      <a:pt x="153" y="286"/>
                    </a:lnTo>
                    <a:lnTo>
                      <a:pt x="147" y="300"/>
                    </a:lnTo>
                    <a:lnTo>
                      <a:pt x="139" y="315"/>
                    </a:lnTo>
                    <a:lnTo>
                      <a:pt x="134" y="330"/>
                    </a:lnTo>
                    <a:lnTo>
                      <a:pt x="128" y="346"/>
                    </a:lnTo>
                    <a:lnTo>
                      <a:pt x="124" y="361"/>
                    </a:lnTo>
                    <a:lnTo>
                      <a:pt x="120" y="377"/>
                    </a:lnTo>
                    <a:lnTo>
                      <a:pt x="118" y="394"/>
                    </a:lnTo>
                    <a:lnTo>
                      <a:pt x="116" y="410"/>
                    </a:lnTo>
                    <a:lnTo>
                      <a:pt x="114" y="427"/>
                    </a:lnTo>
                    <a:lnTo>
                      <a:pt x="114" y="444"/>
                    </a:lnTo>
                    <a:lnTo>
                      <a:pt x="0" y="444"/>
                    </a:lnTo>
                    <a:lnTo>
                      <a:pt x="1" y="420"/>
                    </a:lnTo>
                    <a:lnTo>
                      <a:pt x="2" y="398"/>
                    </a:lnTo>
                    <a:lnTo>
                      <a:pt x="5" y="376"/>
                    </a:lnTo>
                    <a:lnTo>
                      <a:pt x="9" y="354"/>
                    </a:lnTo>
                    <a:lnTo>
                      <a:pt x="14" y="333"/>
                    </a:lnTo>
                    <a:lnTo>
                      <a:pt x="20" y="312"/>
                    </a:lnTo>
                    <a:lnTo>
                      <a:pt x="26" y="292"/>
                    </a:lnTo>
                    <a:lnTo>
                      <a:pt x="35" y="271"/>
                    </a:lnTo>
                    <a:lnTo>
                      <a:pt x="43" y="251"/>
                    </a:lnTo>
                    <a:lnTo>
                      <a:pt x="54" y="232"/>
                    </a:lnTo>
                    <a:lnTo>
                      <a:pt x="65" y="214"/>
                    </a:lnTo>
                    <a:lnTo>
                      <a:pt x="75" y="196"/>
                    </a:lnTo>
                    <a:lnTo>
                      <a:pt x="88" y="178"/>
                    </a:lnTo>
                    <a:lnTo>
                      <a:pt x="101" y="162"/>
                    </a:lnTo>
                    <a:lnTo>
                      <a:pt x="116" y="146"/>
                    </a:lnTo>
                    <a:lnTo>
                      <a:pt x="130" y="130"/>
                    </a:lnTo>
                    <a:lnTo>
                      <a:pt x="210" y="2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50" name="Rectangle 72">
                <a:extLst>
                  <a:ext uri="{FF2B5EF4-FFF2-40B4-BE49-F238E27FC236}">
                    <a16:creationId xmlns:a16="http://schemas.microsoft.com/office/drawing/2014/main" id="{EB9B412F-4F74-466F-92A3-EEE565B15ED0}"/>
                  </a:ext>
                </a:extLst>
              </p:cNvPr>
              <p:cNvSpPr>
                <a:spLocks noChangeArrowheads="1"/>
              </p:cNvSpPr>
              <p:nvPr/>
            </p:nvSpPr>
            <p:spPr bwMode="auto">
              <a:xfrm>
                <a:off x="3548063" y="4860925"/>
                <a:ext cx="36513" cy="16287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grpSp>
          <p:nvGrpSpPr>
            <p:cNvPr id="13" name="Group 130">
              <a:extLst>
                <a:ext uri="{FF2B5EF4-FFF2-40B4-BE49-F238E27FC236}">
                  <a16:creationId xmlns:a16="http://schemas.microsoft.com/office/drawing/2014/main" id="{CE74F5BE-D2D8-4454-B11B-6A5454CFF7CA}"/>
                </a:ext>
              </a:extLst>
            </p:cNvPr>
            <p:cNvGrpSpPr/>
            <p:nvPr/>
          </p:nvGrpSpPr>
          <p:grpSpPr>
            <a:xfrm>
              <a:off x="1693863" y="3062288"/>
              <a:ext cx="1293813" cy="3427412"/>
              <a:chOff x="1693863" y="3062288"/>
              <a:chExt cx="1293813" cy="3427412"/>
            </a:xfrm>
            <a:solidFill>
              <a:schemeClr val="accent5"/>
            </a:solidFill>
          </p:grpSpPr>
          <p:sp>
            <p:nvSpPr>
              <p:cNvPr id="34" name="Freeform 16">
                <a:extLst>
                  <a:ext uri="{FF2B5EF4-FFF2-40B4-BE49-F238E27FC236}">
                    <a16:creationId xmlns:a16="http://schemas.microsoft.com/office/drawing/2014/main" id="{EC54E86E-FD1F-46B1-A141-F83B456E2512}"/>
                  </a:ext>
                </a:extLst>
              </p:cNvPr>
              <p:cNvSpPr>
                <a:spLocks/>
              </p:cNvSpPr>
              <p:nvPr/>
            </p:nvSpPr>
            <p:spPr bwMode="auto">
              <a:xfrm>
                <a:off x="2035175" y="3062288"/>
                <a:ext cx="608013" cy="608013"/>
              </a:xfrm>
              <a:custGeom>
                <a:avLst/>
                <a:gdLst>
                  <a:gd name="T0" fmla="*/ 1910 w 1916"/>
                  <a:gd name="T1" fmla="*/ 1056 h 1916"/>
                  <a:gd name="T2" fmla="*/ 1885 w 1916"/>
                  <a:gd name="T3" fmla="*/ 1197 h 1916"/>
                  <a:gd name="T4" fmla="*/ 1840 w 1916"/>
                  <a:gd name="T5" fmla="*/ 1331 h 1916"/>
                  <a:gd name="T6" fmla="*/ 1776 w 1916"/>
                  <a:gd name="T7" fmla="*/ 1455 h 1916"/>
                  <a:gd name="T8" fmla="*/ 1696 w 1916"/>
                  <a:gd name="T9" fmla="*/ 1568 h 1916"/>
                  <a:gd name="T10" fmla="*/ 1602 w 1916"/>
                  <a:gd name="T11" fmla="*/ 1668 h 1916"/>
                  <a:gd name="T12" fmla="*/ 1493 w 1916"/>
                  <a:gd name="T13" fmla="*/ 1753 h 1916"/>
                  <a:gd name="T14" fmla="*/ 1373 w 1916"/>
                  <a:gd name="T15" fmla="*/ 1822 h 1916"/>
                  <a:gd name="T16" fmla="*/ 1242 w 1916"/>
                  <a:gd name="T17" fmla="*/ 1873 h 1916"/>
                  <a:gd name="T18" fmla="*/ 1103 w 1916"/>
                  <a:gd name="T19" fmla="*/ 1905 h 1916"/>
                  <a:gd name="T20" fmla="*/ 958 w 1916"/>
                  <a:gd name="T21" fmla="*/ 1916 h 1916"/>
                  <a:gd name="T22" fmla="*/ 812 w 1916"/>
                  <a:gd name="T23" fmla="*/ 1905 h 1916"/>
                  <a:gd name="T24" fmla="*/ 672 w 1916"/>
                  <a:gd name="T25" fmla="*/ 1873 h 1916"/>
                  <a:gd name="T26" fmla="*/ 543 w 1916"/>
                  <a:gd name="T27" fmla="*/ 1822 h 1916"/>
                  <a:gd name="T28" fmla="*/ 422 w 1916"/>
                  <a:gd name="T29" fmla="*/ 1753 h 1916"/>
                  <a:gd name="T30" fmla="*/ 314 w 1916"/>
                  <a:gd name="T31" fmla="*/ 1668 h 1916"/>
                  <a:gd name="T32" fmla="*/ 218 w 1916"/>
                  <a:gd name="T33" fmla="*/ 1568 h 1916"/>
                  <a:gd name="T34" fmla="*/ 138 w 1916"/>
                  <a:gd name="T35" fmla="*/ 1455 h 1916"/>
                  <a:gd name="T36" fmla="*/ 75 w 1916"/>
                  <a:gd name="T37" fmla="*/ 1331 h 1916"/>
                  <a:gd name="T38" fmla="*/ 30 w 1916"/>
                  <a:gd name="T39" fmla="*/ 1197 h 1916"/>
                  <a:gd name="T40" fmla="*/ 5 w 1916"/>
                  <a:gd name="T41" fmla="*/ 1056 h 1916"/>
                  <a:gd name="T42" fmla="*/ 1 w 1916"/>
                  <a:gd name="T43" fmla="*/ 909 h 1916"/>
                  <a:gd name="T44" fmla="*/ 19 w 1916"/>
                  <a:gd name="T45" fmla="*/ 765 h 1916"/>
                  <a:gd name="T46" fmla="*/ 58 w 1916"/>
                  <a:gd name="T47" fmla="*/ 628 h 1916"/>
                  <a:gd name="T48" fmla="*/ 116 w 1916"/>
                  <a:gd name="T49" fmla="*/ 502 h 1916"/>
                  <a:gd name="T50" fmla="*/ 190 w 1916"/>
                  <a:gd name="T51" fmla="*/ 385 h 1916"/>
                  <a:gd name="T52" fmla="*/ 281 w 1916"/>
                  <a:gd name="T53" fmla="*/ 280 h 1916"/>
                  <a:gd name="T54" fmla="*/ 384 w 1916"/>
                  <a:gd name="T55" fmla="*/ 190 h 1916"/>
                  <a:gd name="T56" fmla="*/ 501 w 1916"/>
                  <a:gd name="T57" fmla="*/ 115 h 1916"/>
                  <a:gd name="T58" fmla="*/ 628 w 1916"/>
                  <a:gd name="T59" fmla="*/ 58 h 1916"/>
                  <a:gd name="T60" fmla="*/ 764 w 1916"/>
                  <a:gd name="T61" fmla="*/ 19 h 1916"/>
                  <a:gd name="T62" fmla="*/ 908 w 1916"/>
                  <a:gd name="T63" fmla="*/ 1 h 1916"/>
                  <a:gd name="T64" fmla="*/ 1056 w 1916"/>
                  <a:gd name="T65" fmla="*/ 4 h 1916"/>
                  <a:gd name="T66" fmla="*/ 1197 w 1916"/>
                  <a:gd name="T67" fmla="*/ 30 h 1916"/>
                  <a:gd name="T68" fmla="*/ 1330 w 1916"/>
                  <a:gd name="T69" fmla="*/ 75 h 1916"/>
                  <a:gd name="T70" fmla="*/ 1454 w 1916"/>
                  <a:gd name="T71" fmla="*/ 139 h 1916"/>
                  <a:gd name="T72" fmla="*/ 1566 w 1916"/>
                  <a:gd name="T73" fmla="*/ 218 h 1916"/>
                  <a:gd name="T74" fmla="*/ 1666 w 1916"/>
                  <a:gd name="T75" fmla="*/ 313 h 1916"/>
                  <a:gd name="T76" fmla="*/ 1752 w 1916"/>
                  <a:gd name="T77" fmla="*/ 422 h 1916"/>
                  <a:gd name="T78" fmla="*/ 1821 w 1916"/>
                  <a:gd name="T79" fmla="*/ 542 h 1916"/>
                  <a:gd name="T80" fmla="*/ 1872 w 1916"/>
                  <a:gd name="T81" fmla="*/ 673 h 1916"/>
                  <a:gd name="T82" fmla="*/ 1904 w 1916"/>
                  <a:gd name="T83" fmla="*/ 812 h 1916"/>
                  <a:gd name="T84" fmla="*/ 1916 w 1916"/>
                  <a:gd name="T85" fmla="*/ 958 h 19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916" h="1916">
                    <a:moveTo>
                      <a:pt x="1916" y="958"/>
                    </a:moveTo>
                    <a:lnTo>
                      <a:pt x="1913" y="1008"/>
                    </a:lnTo>
                    <a:lnTo>
                      <a:pt x="1910" y="1056"/>
                    </a:lnTo>
                    <a:lnTo>
                      <a:pt x="1904" y="1105"/>
                    </a:lnTo>
                    <a:lnTo>
                      <a:pt x="1895" y="1151"/>
                    </a:lnTo>
                    <a:lnTo>
                      <a:pt x="1885" y="1197"/>
                    </a:lnTo>
                    <a:lnTo>
                      <a:pt x="1872" y="1243"/>
                    </a:lnTo>
                    <a:lnTo>
                      <a:pt x="1857" y="1288"/>
                    </a:lnTo>
                    <a:lnTo>
                      <a:pt x="1840" y="1331"/>
                    </a:lnTo>
                    <a:lnTo>
                      <a:pt x="1821" y="1374"/>
                    </a:lnTo>
                    <a:lnTo>
                      <a:pt x="1800" y="1414"/>
                    </a:lnTo>
                    <a:lnTo>
                      <a:pt x="1776" y="1455"/>
                    </a:lnTo>
                    <a:lnTo>
                      <a:pt x="1752" y="1494"/>
                    </a:lnTo>
                    <a:lnTo>
                      <a:pt x="1725" y="1532"/>
                    </a:lnTo>
                    <a:lnTo>
                      <a:pt x="1696" y="1568"/>
                    </a:lnTo>
                    <a:lnTo>
                      <a:pt x="1666" y="1602"/>
                    </a:lnTo>
                    <a:lnTo>
                      <a:pt x="1635" y="1636"/>
                    </a:lnTo>
                    <a:lnTo>
                      <a:pt x="1602" y="1668"/>
                    </a:lnTo>
                    <a:lnTo>
                      <a:pt x="1566" y="1698"/>
                    </a:lnTo>
                    <a:lnTo>
                      <a:pt x="1530" y="1726"/>
                    </a:lnTo>
                    <a:lnTo>
                      <a:pt x="1493" y="1753"/>
                    </a:lnTo>
                    <a:lnTo>
                      <a:pt x="1454" y="1778"/>
                    </a:lnTo>
                    <a:lnTo>
                      <a:pt x="1414" y="1801"/>
                    </a:lnTo>
                    <a:lnTo>
                      <a:pt x="1373" y="1822"/>
                    </a:lnTo>
                    <a:lnTo>
                      <a:pt x="1330" y="1841"/>
                    </a:lnTo>
                    <a:lnTo>
                      <a:pt x="1287" y="1859"/>
                    </a:lnTo>
                    <a:lnTo>
                      <a:pt x="1242" y="1873"/>
                    </a:lnTo>
                    <a:lnTo>
                      <a:pt x="1197" y="1886"/>
                    </a:lnTo>
                    <a:lnTo>
                      <a:pt x="1150" y="1897"/>
                    </a:lnTo>
                    <a:lnTo>
                      <a:pt x="1103" y="1905"/>
                    </a:lnTo>
                    <a:lnTo>
                      <a:pt x="1056" y="1912"/>
                    </a:lnTo>
                    <a:lnTo>
                      <a:pt x="1007" y="1915"/>
                    </a:lnTo>
                    <a:lnTo>
                      <a:pt x="958" y="1916"/>
                    </a:lnTo>
                    <a:lnTo>
                      <a:pt x="908" y="1915"/>
                    </a:lnTo>
                    <a:lnTo>
                      <a:pt x="860" y="1912"/>
                    </a:lnTo>
                    <a:lnTo>
                      <a:pt x="812" y="1905"/>
                    </a:lnTo>
                    <a:lnTo>
                      <a:pt x="764" y="1897"/>
                    </a:lnTo>
                    <a:lnTo>
                      <a:pt x="718" y="1886"/>
                    </a:lnTo>
                    <a:lnTo>
                      <a:pt x="672" y="1873"/>
                    </a:lnTo>
                    <a:lnTo>
                      <a:pt x="628" y="1859"/>
                    </a:lnTo>
                    <a:lnTo>
                      <a:pt x="585" y="1841"/>
                    </a:lnTo>
                    <a:lnTo>
                      <a:pt x="543" y="1822"/>
                    </a:lnTo>
                    <a:lnTo>
                      <a:pt x="501" y="1801"/>
                    </a:lnTo>
                    <a:lnTo>
                      <a:pt x="461" y="1778"/>
                    </a:lnTo>
                    <a:lnTo>
                      <a:pt x="422" y="1753"/>
                    </a:lnTo>
                    <a:lnTo>
                      <a:pt x="384" y="1726"/>
                    </a:lnTo>
                    <a:lnTo>
                      <a:pt x="348" y="1698"/>
                    </a:lnTo>
                    <a:lnTo>
                      <a:pt x="314" y="1668"/>
                    </a:lnTo>
                    <a:lnTo>
                      <a:pt x="281" y="1636"/>
                    </a:lnTo>
                    <a:lnTo>
                      <a:pt x="249" y="1602"/>
                    </a:lnTo>
                    <a:lnTo>
                      <a:pt x="218" y="1568"/>
                    </a:lnTo>
                    <a:lnTo>
                      <a:pt x="190" y="1532"/>
                    </a:lnTo>
                    <a:lnTo>
                      <a:pt x="164" y="1494"/>
                    </a:lnTo>
                    <a:lnTo>
                      <a:pt x="138" y="1455"/>
                    </a:lnTo>
                    <a:lnTo>
                      <a:pt x="116" y="1414"/>
                    </a:lnTo>
                    <a:lnTo>
                      <a:pt x="94" y="1374"/>
                    </a:lnTo>
                    <a:lnTo>
                      <a:pt x="75" y="1331"/>
                    </a:lnTo>
                    <a:lnTo>
                      <a:pt x="58" y="1288"/>
                    </a:lnTo>
                    <a:lnTo>
                      <a:pt x="42" y="1243"/>
                    </a:lnTo>
                    <a:lnTo>
                      <a:pt x="30" y="1197"/>
                    </a:lnTo>
                    <a:lnTo>
                      <a:pt x="19" y="1151"/>
                    </a:lnTo>
                    <a:lnTo>
                      <a:pt x="10" y="1105"/>
                    </a:lnTo>
                    <a:lnTo>
                      <a:pt x="5" y="1056"/>
                    </a:lnTo>
                    <a:lnTo>
                      <a:pt x="1" y="1008"/>
                    </a:lnTo>
                    <a:lnTo>
                      <a:pt x="0" y="958"/>
                    </a:lnTo>
                    <a:lnTo>
                      <a:pt x="1" y="909"/>
                    </a:lnTo>
                    <a:lnTo>
                      <a:pt x="5" y="860"/>
                    </a:lnTo>
                    <a:lnTo>
                      <a:pt x="10" y="812"/>
                    </a:lnTo>
                    <a:lnTo>
                      <a:pt x="19" y="765"/>
                    </a:lnTo>
                    <a:lnTo>
                      <a:pt x="30" y="719"/>
                    </a:lnTo>
                    <a:lnTo>
                      <a:pt x="42" y="673"/>
                    </a:lnTo>
                    <a:lnTo>
                      <a:pt x="58" y="628"/>
                    </a:lnTo>
                    <a:lnTo>
                      <a:pt x="75" y="585"/>
                    </a:lnTo>
                    <a:lnTo>
                      <a:pt x="94" y="542"/>
                    </a:lnTo>
                    <a:lnTo>
                      <a:pt x="116" y="502"/>
                    </a:lnTo>
                    <a:lnTo>
                      <a:pt x="138" y="461"/>
                    </a:lnTo>
                    <a:lnTo>
                      <a:pt x="164" y="422"/>
                    </a:lnTo>
                    <a:lnTo>
                      <a:pt x="190" y="385"/>
                    </a:lnTo>
                    <a:lnTo>
                      <a:pt x="218" y="348"/>
                    </a:lnTo>
                    <a:lnTo>
                      <a:pt x="249" y="313"/>
                    </a:lnTo>
                    <a:lnTo>
                      <a:pt x="281" y="280"/>
                    </a:lnTo>
                    <a:lnTo>
                      <a:pt x="314" y="248"/>
                    </a:lnTo>
                    <a:lnTo>
                      <a:pt x="348" y="218"/>
                    </a:lnTo>
                    <a:lnTo>
                      <a:pt x="384" y="190"/>
                    </a:lnTo>
                    <a:lnTo>
                      <a:pt x="422" y="163"/>
                    </a:lnTo>
                    <a:lnTo>
                      <a:pt x="461" y="139"/>
                    </a:lnTo>
                    <a:lnTo>
                      <a:pt x="501" y="115"/>
                    </a:lnTo>
                    <a:lnTo>
                      <a:pt x="543" y="94"/>
                    </a:lnTo>
                    <a:lnTo>
                      <a:pt x="585" y="75"/>
                    </a:lnTo>
                    <a:lnTo>
                      <a:pt x="628" y="58"/>
                    </a:lnTo>
                    <a:lnTo>
                      <a:pt x="672" y="43"/>
                    </a:lnTo>
                    <a:lnTo>
                      <a:pt x="718" y="30"/>
                    </a:lnTo>
                    <a:lnTo>
                      <a:pt x="764" y="19"/>
                    </a:lnTo>
                    <a:lnTo>
                      <a:pt x="812" y="11"/>
                    </a:lnTo>
                    <a:lnTo>
                      <a:pt x="860" y="4"/>
                    </a:lnTo>
                    <a:lnTo>
                      <a:pt x="908" y="1"/>
                    </a:lnTo>
                    <a:lnTo>
                      <a:pt x="958" y="0"/>
                    </a:lnTo>
                    <a:lnTo>
                      <a:pt x="1007" y="1"/>
                    </a:lnTo>
                    <a:lnTo>
                      <a:pt x="1056" y="4"/>
                    </a:lnTo>
                    <a:lnTo>
                      <a:pt x="1103" y="11"/>
                    </a:lnTo>
                    <a:lnTo>
                      <a:pt x="1150" y="19"/>
                    </a:lnTo>
                    <a:lnTo>
                      <a:pt x="1197" y="30"/>
                    </a:lnTo>
                    <a:lnTo>
                      <a:pt x="1242" y="43"/>
                    </a:lnTo>
                    <a:lnTo>
                      <a:pt x="1287" y="58"/>
                    </a:lnTo>
                    <a:lnTo>
                      <a:pt x="1330" y="75"/>
                    </a:lnTo>
                    <a:lnTo>
                      <a:pt x="1373" y="94"/>
                    </a:lnTo>
                    <a:lnTo>
                      <a:pt x="1414" y="115"/>
                    </a:lnTo>
                    <a:lnTo>
                      <a:pt x="1454" y="139"/>
                    </a:lnTo>
                    <a:lnTo>
                      <a:pt x="1493" y="163"/>
                    </a:lnTo>
                    <a:lnTo>
                      <a:pt x="1530" y="190"/>
                    </a:lnTo>
                    <a:lnTo>
                      <a:pt x="1566" y="218"/>
                    </a:lnTo>
                    <a:lnTo>
                      <a:pt x="1602" y="248"/>
                    </a:lnTo>
                    <a:lnTo>
                      <a:pt x="1635" y="280"/>
                    </a:lnTo>
                    <a:lnTo>
                      <a:pt x="1666" y="313"/>
                    </a:lnTo>
                    <a:lnTo>
                      <a:pt x="1696" y="348"/>
                    </a:lnTo>
                    <a:lnTo>
                      <a:pt x="1725" y="385"/>
                    </a:lnTo>
                    <a:lnTo>
                      <a:pt x="1752" y="422"/>
                    </a:lnTo>
                    <a:lnTo>
                      <a:pt x="1776" y="461"/>
                    </a:lnTo>
                    <a:lnTo>
                      <a:pt x="1800" y="502"/>
                    </a:lnTo>
                    <a:lnTo>
                      <a:pt x="1821" y="542"/>
                    </a:lnTo>
                    <a:lnTo>
                      <a:pt x="1840" y="585"/>
                    </a:lnTo>
                    <a:lnTo>
                      <a:pt x="1857" y="628"/>
                    </a:lnTo>
                    <a:lnTo>
                      <a:pt x="1872" y="673"/>
                    </a:lnTo>
                    <a:lnTo>
                      <a:pt x="1885" y="719"/>
                    </a:lnTo>
                    <a:lnTo>
                      <a:pt x="1895" y="765"/>
                    </a:lnTo>
                    <a:lnTo>
                      <a:pt x="1904" y="812"/>
                    </a:lnTo>
                    <a:lnTo>
                      <a:pt x="1910" y="860"/>
                    </a:lnTo>
                    <a:lnTo>
                      <a:pt x="1913" y="909"/>
                    </a:lnTo>
                    <a:lnTo>
                      <a:pt x="1916" y="9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5" name="Freeform 19">
                <a:extLst>
                  <a:ext uri="{FF2B5EF4-FFF2-40B4-BE49-F238E27FC236}">
                    <a16:creationId xmlns:a16="http://schemas.microsoft.com/office/drawing/2014/main" id="{511C1540-218F-4646-952C-5F0A03BA8A08}"/>
                  </a:ext>
                </a:extLst>
              </p:cNvPr>
              <p:cNvSpPr>
                <a:spLocks/>
              </p:cNvSpPr>
              <p:nvPr/>
            </p:nvSpPr>
            <p:spPr bwMode="auto">
              <a:xfrm>
                <a:off x="1693863" y="4813300"/>
                <a:ext cx="442913" cy="442913"/>
              </a:xfrm>
              <a:custGeom>
                <a:avLst/>
                <a:gdLst>
                  <a:gd name="T0" fmla="*/ 1392 w 1396"/>
                  <a:gd name="T1" fmla="*/ 769 h 1396"/>
                  <a:gd name="T2" fmla="*/ 1374 w 1396"/>
                  <a:gd name="T3" fmla="*/ 872 h 1396"/>
                  <a:gd name="T4" fmla="*/ 1341 w 1396"/>
                  <a:gd name="T5" fmla="*/ 969 h 1396"/>
                  <a:gd name="T6" fmla="*/ 1295 w 1396"/>
                  <a:gd name="T7" fmla="*/ 1059 h 1396"/>
                  <a:gd name="T8" fmla="*/ 1236 w 1396"/>
                  <a:gd name="T9" fmla="*/ 1141 h 1396"/>
                  <a:gd name="T10" fmla="*/ 1167 w 1396"/>
                  <a:gd name="T11" fmla="*/ 1214 h 1396"/>
                  <a:gd name="T12" fmla="*/ 1088 w 1396"/>
                  <a:gd name="T13" fmla="*/ 1277 h 1396"/>
                  <a:gd name="T14" fmla="*/ 1000 w 1396"/>
                  <a:gd name="T15" fmla="*/ 1327 h 1396"/>
                  <a:gd name="T16" fmla="*/ 905 w 1396"/>
                  <a:gd name="T17" fmla="*/ 1364 h 1396"/>
                  <a:gd name="T18" fmla="*/ 804 w 1396"/>
                  <a:gd name="T19" fmla="*/ 1387 h 1396"/>
                  <a:gd name="T20" fmla="*/ 698 w 1396"/>
                  <a:gd name="T21" fmla="*/ 1396 h 1396"/>
                  <a:gd name="T22" fmla="*/ 591 w 1396"/>
                  <a:gd name="T23" fmla="*/ 1387 h 1396"/>
                  <a:gd name="T24" fmla="*/ 490 w 1396"/>
                  <a:gd name="T25" fmla="*/ 1364 h 1396"/>
                  <a:gd name="T26" fmla="*/ 396 w 1396"/>
                  <a:gd name="T27" fmla="*/ 1327 h 1396"/>
                  <a:gd name="T28" fmla="*/ 308 w 1396"/>
                  <a:gd name="T29" fmla="*/ 1277 h 1396"/>
                  <a:gd name="T30" fmla="*/ 228 w 1396"/>
                  <a:gd name="T31" fmla="*/ 1214 h 1396"/>
                  <a:gd name="T32" fmla="*/ 159 w 1396"/>
                  <a:gd name="T33" fmla="*/ 1141 h 1396"/>
                  <a:gd name="T34" fmla="*/ 101 w 1396"/>
                  <a:gd name="T35" fmla="*/ 1059 h 1396"/>
                  <a:gd name="T36" fmla="*/ 55 w 1396"/>
                  <a:gd name="T37" fmla="*/ 969 h 1396"/>
                  <a:gd name="T38" fmla="*/ 22 w 1396"/>
                  <a:gd name="T39" fmla="*/ 872 h 1396"/>
                  <a:gd name="T40" fmla="*/ 4 w 1396"/>
                  <a:gd name="T41" fmla="*/ 769 h 1396"/>
                  <a:gd name="T42" fmla="*/ 1 w 1396"/>
                  <a:gd name="T43" fmla="*/ 662 h 1396"/>
                  <a:gd name="T44" fmla="*/ 14 w 1396"/>
                  <a:gd name="T45" fmla="*/ 557 h 1396"/>
                  <a:gd name="T46" fmla="*/ 42 w 1396"/>
                  <a:gd name="T47" fmla="*/ 458 h 1396"/>
                  <a:gd name="T48" fmla="*/ 85 w 1396"/>
                  <a:gd name="T49" fmla="*/ 365 h 1396"/>
                  <a:gd name="T50" fmla="*/ 139 w 1396"/>
                  <a:gd name="T51" fmla="*/ 280 h 1396"/>
                  <a:gd name="T52" fmla="*/ 204 w 1396"/>
                  <a:gd name="T53" fmla="*/ 204 h 1396"/>
                  <a:gd name="T54" fmla="*/ 281 w 1396"/>
                  <a:gd name="T55" fmla="*/ 138 h 1396"/>
                  <a:gd name="T56" fmla="*/ 366 w 1396"/>
                  <a:gd name="T57" fmla="*/ 84 h 1396"/>
                  <a:gd name="T58" fmla="*/ 458 w 1396"/>
                  <a:gd name="T59" fmla="*/ 41 h 1396"/>
                  <a:gd name="T60" fmla="*/ 557 w 1396"/>
                  <a:gd name="T61" fmla="*/ 13 h 1396"/>
                  <a:gd name="T62" fmla="*/ 662 w 1396"/>
                  <a:gd name="T63" fmla="*/ 1 h 1396"/>
                  <a:gd name="T64" fmla="*/ 769 w 1396"/>
                  <a:gd name="T65" fmla="*/ 3 h 1396"/>
                  <a:gd name="T66" fmla="*/ 872 w 1396"/>
                  <a:gd name="T67" fmla="*/ 21 h 1396"/>
                  <a:gd name="T68" fmla="*/ 969 w 1396"/>
                  <a:gd name="T69" fmla="*/ 54 h 1396"/>
                  <a:gd name="T70" fmla="*/ 1060 w 1396"/>
                  <a:gd name="T71" fmla="*/ 101 h 1396"/>
                  <a:gd name="T72" fmla="*/ 1142 w 1396"/>
                  <a:gd name="T73" fmla="*/ 158 h 1396"/>
                  <a:gd name="T74" fmla="*/ 1214 w 1396"/>
                  <a:gd name="T75" fmla="*/ 228 h 1396"/>
                  <a:gd name="T76" fmla="*/ 1277 w 1396"/>
                  <a:gd name="T77" fmla="*/ 307 h 1396"/>
                  <a:gd name="T78" fmla="*/ 1327 w 1396"/>
                  <a:gd name="T79" fmla="*/ 395 h 1396"/>
                  <a:gd name="T80" fmla="*/ 1364 w 1396"/>
                  <a:gd name="T81" fmla="*/ 490 h 1396"/>
                  <a:gd name="T82" fmla="*/ 1387 w 1396"/>
                  <a:gd name="T83" fmla="*/ 591 h 1396"/>
                  <a:gd name="T84" fmla="*/ 1396 w 1396"/>
                  <a:gd name="T85" fmla="*/ 697 h 1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396" h="1396">
                    <a:moveTo>
                      <a:pt x="1396" y="697"/>
                    </a:moveTo>
                    <a:lnTo>
                      <a:pt x="1395" y="733"/>
                    </a:lnTo>
                    <a:lnTo>
                      <a:pt x="1392" y="769"/>
                    </a:lnTo>
                    <a:lnTo>
                      <a:pt x="1387" y="804"/>
                    </a:lnTo>
                    <a:lnTo>
                      <a:pt x="1381" y="838"/>
                    </a:lnTo>
                    <a:lnTo>
                      <a:pt x="1374" y="872"/>
                    </a:lnTo>
                    <a:lnTo>
                      <a:pt x="1364" y="905"/>
                    </a:lnTo>
                    <a:lnTo>
                      <a:pt x="1353" y="938"/>
                    </a:lnTo>
                    <a:lnTo>
                      <a:pt x="1341" y="969"/>
                    </a:lnTo>
                    <a:lnTo>
                      <a:pt x="1327" y="1000"/>
                    </a:lnTo>
                    <a:lnTo>
                      <a:pt x="1311" y="1031"/>
                    </a:lnTo>
                    <a:lnTo>
                      <a:pt x="1295" y="1059"/>
                    </a:lnTo>
                    <a:lnTo>
                      <a:pt x="1277" y="1088"/>
                    </a:lnTo>
                    <a:lnTo>
                      <a:pt x="1257" y="1115"/>
                    </a:lnTo>
                    <a:lnTo>
                      <a:pt x="1236" y="1141"/>
                    </a:lnTo>
                    <a:lnTo>
                      <a:pt x="1214" y="1167"/>
                    </a:lnTo>
                    <a:lnTo>
                      <a:pt x="1192" y="1191"/>
                    </a:lnTo>
                    <a:lnTo>
                      <a:pt x="1167" y="1214"/>
                    </a:lnTo>
                    <a:lnTo>
                      <a:pt x="1142" y="1236"/>
                    </a:lnTo>
                    <a:lnTo>
                      <a:pt x="1115" y="1257"/>
                    </a:lnTo>
                    <a:lnTo>
                      <a:pt x="1088" y="1277"/>
                    </a:lnTo>
                    <a:lnTo>
                      <a:pt x="1060" y="1295"/>
                    </a:lnTo>
                    <a:lnTo>
                      <a:pt x="1031" y="1312"/>
                    </a:lnTo>
                    <a:lnTo>
                      <a:pt x="1000" y="1327"/>
                    </a:lnTo>
                    <a:lnTo>
                      <a:pt x="969" y="1340"/>
                    </a:lnTo>
                    <a:lnTo>
                      <a:pt x="937" y="1353"/>
                    </a:lnTo>
                    <a:lnTo>
                      <a:pt x="905" y="1364"/>
                    </a:lnTo>
                    <a:lnTo>
                      <a:pt x="872" y="1373"/>
                    </a:lnTo>
                    <a:lnTo>
                      <a:pt x="838" y="1381"/>
                    </a:lnTo>
                    <a:lnTo>
                      <a:pt x="804" y="1387"/>
                    </a:lnTo>
                    <a:lnTo>
                      <a:pt x="769" y="1392"/>
                    </a:lnTo>
                    <a:lnTo>
                      <a:pt x="734" y="1395"/>
                    </a:lnTo>
                    <a:lnTo>
                      <a:pt x="698" y="1396"/>
                    </a:lnTo>
                    <a:lnTo>
                      <a:pt x="662" y="1395"/>
                    </a:lnTo>
                    <a:lnTo>
                      <a:pt x="626" y="1392"/>
                    </a:lnTo>
                    <a:lnTo>
                      <a:pt x="591" y="1387"/>
                    </a:lnTo>
                    <a:lnTo>
                      <a:pt x="557" y="1381"/>
                    </a:lnTo>
                    <a:lnTo>
                      <a:pt x="523" y="1373"/>
                    </a:lnTo>
                    <a:lnTo>
                      <a:pt x="490" y="1364"/>
                    </a:lnTo>
                    <a:lnTo>
                      <a:pt x="458" y="1353"/>
                    </a:lnTo>
                    <a:lnTo>
                      <a:pt x="426" y="1340"/>
                    </a:lnTo>
                    <a:lnTo>
                      <a:pt x="396" y="1327"/>
                    </a:lnTo>
                    <a:lnTo>
                      <a:pt x="366" y="1312"/>
                    </a:lnTo>
                    <a:lnTo>
                      <a:pt x="336" y="1295"/>
                    </a:lnTo>
                    <a:lnTo>
                      <a:pt x="308" y="1277"/>
                    </a:lnTo>
                    <a:lnTo>
                      <a:pt x="281" y="1257"/>
                    </a:lnTo>
                    <a:lnTo>
                      <a:pt x="254" y="1236"/>
                    </a:lnTo>
                    <a:lnTo>
                      <a:pt x="228" y="1214"/>
                    </a:lnTo>
                    <a:lnTo>
                      <a:pt x="204" y="1191"/>
                    </a:lnTo>
                    <a:lnTo>
                      <a:pt x="182" y="1167"/>
                    </a:lnTo>
                    <a:lnTo>
                      <a:pt x="159" y="1141"/>
                    </a:lnTo>
                    <a:lnTo>
                      <a:pt x="139" y="1115"/>
                    </a:lnTo>
                    <a:lnTo>
                      <a:pt x="119" y="1088"/>
                    </a:lnTo>
                    <a:lnTo>
                      <a:pt x="101" y="1059"/>
                    </a:lnTo>
                    <a:lnTo>
                      <a:pt x="85" y="1031"/>
                    </a:lnTo>
                    <a:lnTo>
                      <a:pt x="69" y="1000"/>
                    </a:lnTo>
                    <a:lnTo>
                      <a:pt x="55" y="969"/>
                    </a:lnTo>
                    <a:lnTo>
                      <a:pt x="42" y="938"/>
                    </a:lnTo>
                    <a:lnTo>
                      <a:pt x="32" y="905"/>
                    </a:lnTo>
                    <a:lnTo>
                      <a:pt x="22" y="872"/>
                    </a:lnTo>
                    <a:lnTo>
                      <a:pt x="14" y="838"/>
                    </a:lnTo>
                    <a:lnTo>
                      <a:pt x="8" y="804"/>
                    </a:lnTo>
                    <a:lnTo>
                      <a:pt x="4" y="769"/>
                    </a:lnTo>
                    <a:lnTo>
                      <a:pt x="1" y="733"/>
                    </a:lnTo>
                    <a:lnTo>
                      <a:pt x="0" y="697"/>
                    </a:lnTo>
                    <a:lnTo>
                      <a:pt x="1" y="662"/>
                    </a:lnTo>
                    <a:lnTo>
                      <a:pt x="4" y="626"/>
                    </a:lnTo>
                    <a:lnTo>
                      <a:pt x="8" y="591"/>
                    </a:lnTo>
                    <a:lnTo>
                      <a:pt x="14" y="557"/>
                    </a:lnTo>
                    <a:lnTo>
                      <a:pt x="22" y="523"/>
                    </a:lnTo>
                    <a:lnTo>
                      <a:pt x="32" y="490"/>
                    </a:lnTo>
                    <a:lnTo>
                      <a:pt x="42" y="458"/>
                    </a:lnTo>
                    <a:lnTo>
                      <a:pt x="55" y="426"/>
                    </a:lnTo>
                    <a:lnTo>
                      <a:pt x="69" y="395"/>
                    </a:lnTo>
                    <a:lnTo>
                      <a:pt x="85" y="365"/>
                    </a:lnTo>
                    <a:lnTo>
                      <a:pt x="101" y="335"/>
                    </a:lnTo>
                    <a:lnTo>
                      <a:pt x="119" y="307"/>
                    </a:lnTo>
                    <a:lnTo>
                      <a:pt x="139" y="280"/>
                    </a:lnTo>
                    <a:lnTo>
                      <a:pt x="159" y="253"/>
                    </a:lnTo>
                    <a:lnTo>
                      <a:pt x="182" y="228"/>
                    </a:lnTo>
                    <a:lnTo>
                      <a:pt x="204" y="204"/>
                    </a:lnTo>
                    <a:lnTo>
                      <a:pt x="228" y="181"/>
                    </a:lnTo>
                    <a:lnTo>
                      <a:pt x="254" y="158"/>
                    </a:lnTo>
                    <a:lnTo>
                      <a:pt x="281" y="138"/>
                    </a:lnTo>
                    <a:lnTo>
                      <a:pt x="308" y="119"/>
                    </a:lnTo>
                    <a:lnTo>
                      <a:pt x="336" y="101"/>
                    </a:lnTo>
                    <a:lnTo>
                      <a:pt x="366" y="84"/>
                    </a:lnTo>
                    <a:lnTo>
                      <a:pt x="396" y="68"/>
                    </a:lnTo>
                    <a:lnTo>
                      <a:pt x="426" y="54"/>
                    </a:lnTo>
                    <a:lnTo>
                      <a:pt x="458" y="41"/>
                    </a:lnTo>
                    <a:lnTo>
                      <a:pt x="490" y="30"/>
                    </a:lnTo>
                    <a:lnTo>
                      <a:pt x="523" y="21"/>
                    </a:lnTo>
                    <a:lnTo>
                      <a:pt x="557" y="13"/>
                    </a:lnTo>
                    <a:lnTo>
                      <a:pt x="591" y="7"/>
                    </a:lnTo>
                    <a:lnTo>
                      <a:pt x="626" y="3"/>
                    </a:lnTo>
                    <a:lnTo>
                      <a:pt x="662" y="1"/>
                    </a:lnTo>
                    <a:lnTo>
                      <a:pt x="698" y="0"/>
                    </a:lnTo>
                    <a:lnTo>
                      <a:pt x="734" y="1"/>
                    </a:lnTo>
                    <a:lnTo>
                      <a:pt x="769" y="3"/>
                    </a:lnTo>
                    <a:lnTo>
                      <a:pt x="804" y="7"/>
                    </a:lnTo>
                    <a:lnTo>
                      <a:pt x="838" y="13"/>
                    </a:lnTo>
                    <a:lnTo>
                      <a:pt x="872" y="21"/>
                    </a:lnTo>
                    <a:lnTo>
                      <a:pt x="905" y="30"/>
                    </a:lnTo>
                    <a:lnTo>
                      <a:pt x="937" y="41"/>
                    </a:lnTo>
                    <a:lnTo>
                      <a:pt x="969" y="54"/>
                    </a:lnTo>
                    <a:lnTo>
                      <a:pt x="1000" y="68"/>
                    </a:lnTo>
                    <a:lnTo>
                      <a:pt x="1031" y="84"/>
                    </a:lnTo>
                    <a:lnTo>
                      <a:pt x="1060" y="101"/>
                    </a:lnTo>
                    <a:lnTo>
                      <a:pt x="1088" y="119"/>
                    </a:lnTo>
                    <a:lnTo>
                      <a:pt x="1115" y="138"/>
                    </a:lnTo>
                    <a:lnTo>
                      <a:pt x="1142" y="158"/>
                    </a:lnTo>
                    <a:lnTo>
                      <a:pt x="1167" y="181"/>
                    </a:lnTo>
                    <a:lnTo>
                      <a:pt x="1192" y="204"/>
                    </a:lnTo>
                    <a:lnTo>
                      <a:pt x="1214" y="228"/>
                    </a:lnTo>
                    <a:lnTo>
                      <a:pt x="1236" y="253"/>
                    </a:lnTo>
                    <a:lnTo>
                      <a:pt x="1257" y="280"/>
                    </a:lnTo>
                    <a:lnTo>
                      <a:pt x="1277" y="307"/>
                    </a:lnTo>
                    <a:lnTo>
                      <a:pt x="1295" y="335"/>
                    </a:lnTo>
                    <a:lnTo>
                      <a:pt x="1311" y="365"/>
                    </a:lnTo>
                    <a:lnTo>
                      <a:pt x="1327" y="395"/>
                    </a:lnTo>
                    <a:lnTo>
                      <a:pt x="1341" y="426"/>
                    </a:lnTo>
                    <a:lnTo>
                      <a:pt x="1353" y="458"/>
                    </a:lnTo>
                    <a:lnTo>
                      <a:pt x="1364" y="490"/>
                    </a:lnTo>
                    <a:lnTo>
                      <a:pt x="1374" y="523"/>
                    </a:lnTo>
                    <a:lnTo>
                      <a:pt x="1381" y="557"/>
                    </a:lnTo>
                    <a:lnTo>
                      <a:pt x="1387" y="591"/>
                    </a:lnTo>
                    <a:lnTo>
                      <a:pt x="1392" y="626"/>
                    </a:lnTo>
                    <a:lnTo>
                      <a:pt x="1395" y="662"/>
                    </a:lnTo>
                    <a:lnTo>
                      <a:pt x="1396" y="6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6" name="Rectangle 54">
                <a:extLst>
                  <a:ext uri="{FF2B5EF4-FFF2-40B4-BE49-F238E27FC236}">
                    <a16:creationId xmlns:a16="http://schemas.microsoft.com/office/drawing/2014/main" id="{932B41E9-1911-4649-AEEC-79D55F7971C8}"/>
                  </a:ext>
                </a:extLst>
              </p:cNvPr>
              <p:cNvSpPr>
                <a:spLocks noChangeArrowheads="1"/>
              </p:cNvSpPr>
              <p:nvPr/>
            </p:nvSpPr>
            <p:spPr bwMode="auto">
              <a:xfrm>
                <a:off x="2292350" y="3635375"/>
                <a:ext cx="103188" cy="9747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7" name="Freeform 55">
                <a:extLst>
                  <a:ext uri="{FF2B5EF4-FFF2-40B4-BE49-F238E27FC236}">
                    <a16:creationId xmlns:a16="http://schemas.microsoft.com/office/drawing/2014/main" id="{7575C0A9-95B7-4E71-8778-BA2D5F4AE8DC}"/>
                  </a:ext>
                </a:extLst>
              </p:cNvPr>
              <p:cNvSpPr>
                <a:spLocks noEditPoints="1"/>
              </p:cNvSpPr>
              <p:nvPr/>
            </p:nvSpPr>
            <p:spPr bwMode="auto">
              <a:xfrm>
                <a:off x="2292350" y="4610100"/>
                <a:ext cx="163513" cy="165100"/>
              </a:xfrm>
              <a:custGeom>
                <a:avLst/>
                <a:gdLst>
                  <a:gd name="T0" fmla="*/ 327 w 519"/>
                  <a:gd name="T1" fmla="*/ 0 h 519"/>
                  <a:gd name="T2" fmla="*/ 328 w 519"/>
                  <a:gd name="T3" fmla="*/ 20 h 519"/>
                  <a:gd name="T4" fmla="*/ 332 w 519"/>
                  <a:gd name="T5" fmla="*/ 38 h 519"/>
                  <a:gd name="T6" fmla="*/ 336 w 519"/>
                  <a:gd name="T7" fmla="*/ 57 h 519"/>
                  <a:gd name="T8" fmla="*/ 342 w 519"/>
                  <a:gd name="T9" fmla="*/ 74 h 519"/>
                  <a:gd name="T10" fmla="*/ 351 w 519"/>
                  <a:gd name="T11" fmla="*/ 91 h 519"/>
                  <a:gd name="T12" fmla="*/ 360 w 519"/>
                  <a:gd name="T13" fmla="*/ 107 h 519"/>
                  <a:gd name="T14" fmla="*/ 371 w 519"/>
                  <a:gd name="T15" fmla="*/ 122 h 519"/>
                  <a:gd name="T16" fmla="*/ 384 w 519"/>
                  <a:gd name="T17" fmla="*/ 135 h 519"/>
                  <a:gd name="T18" fmla="*/ 152 w 519"/>
                  <a:gd name="T19" fmla="*/ 367 h 519"/>
                  <a:gd name="T20" fmla="*/ 135 w 519"/>
                  <a:gd name="T21" fmla="*/ 349 h 519"/>
                  <a:gd name="T22" fmla="*/ 118 w 519"/>
                  <a:gd name="T23" fmla="*/ 331 h 519"/>
                  <a:gd name="T24" fmla="*/ 103 w 519"/>
                  <a:gd name="T25" fmla="*/ 311 h 519"/>
                  <a:gd name="T26" fmla="*/ 88 w 519"/>
                  <a:gd name="T27" fmla="*/ 290 h 519"/>
                  <a:gd name="T28" fmla="*/ 74 w 519"/>
                  <a:gd name="T29" fmla="*/ 269 h 519"/>
                  <a:gd name="T30" fmla="*/ 62 w 519"/>
                  <a:gd name="T31" fmla="*/ 248 h 519"/>
                  <a:gd name="T32" fmla="*/ 51 w 519"/>
                  <a:gd name="T33" fmla="*/ 226 h 519"/>
                  <a:gd name="T34" fmla="*/ 40 w 519"/>
                  <a:gd name="T35" fmla="*/ 202 h 519"/>
                  <a:gd name="T36" fmla="*/ 30 w 519"/>
                  <a:gd name="T37" fmla="*/ 179 h 519"/>
                  <a:gd name="T38" fmla="*/ 23 w 519"/>
                  <a:gd name="T39" fmla="*/ 154 h 519"/>
                  <a:gd name="T40" fmla="*/ 15 w 519"/>
                  <a:gd name="T41" fmla="*/ 130 h 519"/>
                  <a:gd name="T42" fmla="*/ 10 w 519"/>
                  <a:gd name="T43" fmla="*/ 105 h 519"/>
                  <a:gd name="T44" fmla="*/ 5 w 519"/>
                  <a:gd name="T45" fmla="*/ 80 h 519"/>
                  <a:gd name="T46" fmla="*/ 2 w 519"/>
                  <a:gd name="T47" fmla="*/ 53 h 519"/>
                  <a:gd name="T48" fmla="*/ 0 w 519"/>
                  <a:gd name="T49" fmla="*/ 26 h 519"/>
                  <a:gd name="T50" fmla="*/ 0 w 519"/>
                  <a:gd name="T51" fmla="*/ 0 h 519"/>
                  <a:gd name="T52" fmla="*/ 327 w 519"/>
                  <a:gd name="T53" fmla="*/ 0 h 519"/>
                  <a:gd name="T54" fmla="*/ 384 w 519"/>
                  <a:gd name="T55" fmla="*/ 135 h 519"/>
                  <a:gd name="T56" fmla="*/ 398 w 519"/>
                  <a:gd name="T57" fmla="*/ 148 h 519"/>
                  <a:gd name="T58" fmla="*/ 411 w 519"/>
                  <a:gd name="T59" fmla="*/ 158 h 519"/>
                  <a:gd name="T60" fmla="*/ 427 w 519"/>
                  <a:gd name="T61" fmla="*/ 168 h 519"/>
                  <a:gd name="T62" fmla="*/ 444 w 519"/>
                  <a:gd name="T63" fmla="*/ 177 h 519"/>
                  <a:gd name="T64" fmla="*/ 461 w 519"/>
                  <a:gd name="T65" fmla="*/ 183 h 519"/>
                  <a:gd name="T66" fmla="*/ 481 w 519"/>
                  <a:gd name="T67" fmla="*/ 187 h 519"/>
                  <a:gd name="T68" fmla="*/ 500 w 519"/>
                  <a:gd name="T69" fmla="*/ 190 h 519"/>
                  <a:gd name="T70" fmla="*/ 519 w 519"/>
                  <a:gd name="T71" fmla="*/ 191 h 519"/>
                  <a:gd name="T72" fmla="*/ 519 w 519"/>
                  <a:gd name="T73" fmla="*/ 519 h 519"/>
                  <a:gd name="T74" fmla="*/ 492 w 519"/>
                  <a:gd name="T75" fmla="*/ 519 h 519"/>
                  <a:gd name="T76" fmla="*/ 466 w 519"/>
                  <a:gd name="T77" fmla="*/ 517 h 519"/>
                  <a:gd name="T78" fmla="*/ 440 w 519"/>
                  <a:gd name="T79" fmla="*/ 514 h 519"/>
                  <a:gd name="T80" fmla="*/ 415 w 519"/>
                  <a:gd name="T81" fmla="*/ 509 h 519"/>
                  <a:gd name="T82" fmla="*/ 389 w 519"/>
                  <a:gd name="T83" fmla="*/ 503 h 519"/>
                  <a:gd name="T84" fmla="*/ 365 w 519"/>
                  <a:gd name="T85" fmla="*/ 496 h 519"/>
                  <a:gd name="T86" fmla="*/ 340 w 519"/>
                  <a:gd name="T87" fmla="*/ 489 h 519"/>
                  <a:gd name="T88" fmla="*/ 317 w 519"/>
                  <a:gd name="T89" fmla="*/ 479 h 519"/>
                  <a:gd name="T90" fmla="*/ 293 w 519"/>
                  <a:gd name="T91" fmla="*/ 468 h 519"/>
                  <a:gd name="T92" fmla="*/ 271 w 519"/>
                  <a:gd name="T93" fmla="*/ 457 h 519"/>
                  <a:gd name="T94" fmla="*/ 250 w 519"/>
                  <a:gd name="T95" fmla="*/ 445 h 519"/>
                  <a:gd name="T96" fmla="*/ 228 w 519"/>
                  <a:gd name="T97" fmla="*/ 431 h 519"/>
                  <a:gd name="T98" fmla="*/ 208 w 519"/>
                  <a:gd name="T99" fmla="*/ 416 h 519"/>
                  <a:gd name="T100" fmla="*/ 188 w 519"/>
                  <a:gd name="T101" fmla="*/ 401 h 519"/>
                  <a:gd name="T102" fmla="*/ 170 w 519"/>
                  <a:gd name="T103" fmla="*/ 385 h 519"/>
                  <a:gd name="T104" fmla="*/ 152 w 519"/>
                  <a:gd name="T105" fmla="*/ 367 h 519"/>
                  <a:gd name="T106" fmla="*/ 384 w 519"/>
                  <a:gd name="T107" fmla="*/ 135 h 5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19" h="519">
                    <a:moveTo>
                      <a:pt x="327" y="0"/>
                    </a:moveTo>
                    <a:lnTo>
                      <a:pt x="328" y="20"/>
                    </a:lnTo>
                    <a:lnTo>
                      <a:pt x="332" y="38"/>
                    </a:lnTo>
                    <a:lnTo>
                      <a:pt x="336" y="57"/>
                    </a:lnTo>
                    <a:lnTo>
                      <a:pt x="342" y="74"/>
                    </a:lnTo>
                    <a:lnTo>
                      <a:pt x="351" y="91"/>
                    </a:lnTo>
                    <a:lnTo>
                      <a:pt x="360" y="107"/>
                    </a:lnTo>
                    <a:lnTo>
                      <a:pt x="371" y="122"/>
                    </a:lnTo>
                    <a:lnTo>
                      <a:pt x="384" y="135"/>
                    </a:lnTo>
                    <a:lnTo>
                      <a:pt x="152" y="367"/>
                    </a:lnTo>
                    <a:lnTo>
                      <a:pt x="135" y="349"/>
                    </a:lnTo>
                    <a:lnTo>
                      <a:pt x="118" y="331"/>
                    </a:lnTo>
                    <a:lnTo>
                      <a:pt x="103" y="311"/>
                    </a:lnTo>
                    <a:lnTo>
                      <a:pt x="88" y="290"/>
                    </a:lnTo>
                    <a:lnTo>
                      <a:pt x="74" y="269"/>
                    </a:lnTo>
                    <a:lnTo>
                      <a:pt x="62" y="248"/>
                    </a:lnTo>
                    <a:lnTo>
                      <a:pt x="51" y="226"/>
                    </a:lnTo>
                    <a:lnTo>
                      <a:pt x="40" y="202"/>
                    </a:lnTo>
                    <a:lnTo>
                      <a:pt x="30" y="179"/>
                    </a:lnTo>
                    <a:lnTo>
                      <a:pt x="23" y="154"/>
                    </a:lnTo>
                    <a:lnTo>
                      <a:pt x="15" y="130"/>
                    </a:lnTo>
                    <a:lnTo>
                      <a:pt x="10" y="105"/>
                    </a:lnTo>
                    <a:lnTo>
                      <a:pt x="5" y="80"/>
                    </a:lnTo>
                    <a:lnTo>
                      <a:pt x="2" y="53"/>
                    </a:lnTo>
                    <a:lnTo>
                      <a:pt x="0" y="26"/>
                    </a:lnTo>
                    <a:lnTo>
                      <a:pt x="0" y="0"/>
                    </a:lnTo>
                    <a:lnTo>
                      <a:pt x="327" y="0"/>
                    </a:lnTo>
                    <a:close/>
                    <a:moveTo>
                      <a:pt x="384" y="135"/>
                    </a:moveTo>
                    <a:lnTo>
                      <a:pt x="398" y="148"/>
                    </a:lnTo>
                    <a:lnTo>
                      <a:pt x="411" y="158"/>
                    </a:lnTo>
                    <a:lnTo>
                      <a:pt x="427" y="168"/>
                    </a:lnTo>
                    <a:lnTo>
                      <a:pt x="444" y="177"/>
                    </a:lnTo>
                    <a:lnTo>
                      <a:pt x="461" y="183"/>
                    </a:lnTo>
                    <a:lnTo>
                      <a:pt x="481" y="187"/>
                    </a:lnTo>
                    <a:lnTo>
                      <a:pt x="500" y="190"/>
                    </a:lnTo>
                    <a:lnTo>
                      <a:pt x="519" y="191"/>
                    </a:lnTo>
                    <a:lnTo>
                      <a:pt x="519" y="519"/>
                    </a:lnTo>
                    <a:lnTo>
                      <a:pt x="492" y="519"/>
                    </a:lnTo>
                    <a:lnTo>
                      <a:pt x="466" y="517"/>
                    </a:lnTo>
                    <a:lnTo>
                      <a:pt x="440" y="514"/>
                    </a:lnTo>
                    <a:lnTo>
                      <a:pt x="415" y="509"/>
                    </a:lnTo>
                    <a:lnTo>
                      <a:pt x="389" y="503"/>
                    </a:lnTo>
                    <a:lnTo>
                      <a:pt x="365" y="496"/>
                    </a:lnTo>
                    <a:lnTo>
                      <a:pt x="340" y="489"/>
                    </a:lnTo>
                    <a:lnTo>
                      <a:pt x="317" y="479"/>
                    </a:lnTo>
                    <a:lnTo>
                      <a:pt x="293" y="468"/>
                    </a:lnTo>
                    <a:lnTo>
                      <a:pt x="271" y="457"/>
                    </a:lnTo>
                    <a:lnTo>
                      <a:pt x="250" y="445"/>
                    </a:lnTo>
                    <a:lnTo>
                      <a:pt x="228" y="431"/>
                    </a:lnTo>
                    <a:lnTo>
                      <a:pt x="208" y="416"/>
                    </a:lnTo>
                    <a:lnTo>
                      <a:pt x="188" y="401"/>
                    </a:lnTo>
                    <a:lnTo>
                      <a:pt x="170" y="385"/>
                    </a:lnTo>
                    <a:lnTo>
                      <a:pt x="152" y="367"/>
                    </a:lnTo>
                    <a:lnTo>
                      <a:pt x="384" y="1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8" name="Freeform 56">
                <a:extLst>
                  <a:ext uri="{FF2B5EF4-FFF2-40B4-BE49-F238E27FC236}">
                    <a16:creationId xmlns:a16="http://schemas.microsoft.com/office/drawing/2014/main" id="{AB37922B-D621-4F0B-B14F-6EB4E2E2579C}"/>
                  </a:ext>
                </a:extLst>
              </p:cNvPr>
              <p:cNvSpPr>
                <a:spLocks noEditPoints="1"/>
              </p:cNvSpPr>
              <p:nvPr/>
            </p:nvSpPr>
            <p:spPr bwMode="auto">
              <a:xfrm>
                <a:off x="2455863" y="4670425"/>
                <a:ext cx="165100" cy="165100"/>
              </a:xfrm>
              <a:custGeom>
                <a:avLst/>
                <a:gdLst>
                  <a:gd name="T0" fmla="*/ 0 w 519"/>
                  <a:gd name="T1" fmla="*/ 0 h 520"/>
                  <a:gd name="T2" fmla="*/ 27 w 519"/>
                  <a:gd name="T3" fmla="*/ 1 h 520"/>
                  <a:gd name="T4" fmla="*/ 53 w 519"/>
                  <a:gd name="T5" fmla="*/ 3 h 520"/>
                  <a:gd name="T6" fmla="*/ 79 w 519"/>
                  <a:gd name="T7" fmla="*/ 7 h 520"/>
                  <a:gd name="T8" fmla="*/ 104 w 519"/>
                  <a:gd name="T9" fmla="*/ 11 h 520"/>
                  <a:gd name="T10" fmla="*/ 130 w 519"/>
                  <a:gd name="T11" fmla="*/ 16 h 520"/>
                  <a:gd name="T12" fmla="*/ 154 w 519"/>
                  <a:gd name="T13" fmla="*/ 24 h 520"/>
                  <a:gd name="T14" fmla="*/ 179 w 519"/>
                  <a:gd name="T15" fmla="*/ 32 h 520"/>
                  <a:gd name="T16" fmla="*/ 202 w 519"/>
                  <a:gd name="T17" fmla="*/ 41 h 520"/>
                  <a:gd name="T18" fmla="*/ 224 w 519"/>
                  <a:gd name="T19" fmla="*/ 52 h 520"/>
                  <a:gd name="T20" fmla="*/ 248 w 519"/>
                  <a:gd name="T21" fmla="*/ 63 h 520"/>
                  <a:gd name="T22" fmla="*/ 269 w 519"/>
                  <a:gd name="T23" fmla="*/ 76 h 520"/>
                  <a:gd name="T24" fmla="*/ 290 w 519"/>
                  <a:gd name="T25" fmla="*/ 89 h 520"/>
                  <a:gd name="T26" fmla="*/ 311 w 519"/>
                  <a:gd name="T27" fmla="*/ 104 h 520"/>
                  <a:gd name="T28" fmla="*/ 330 w 519"/>
                  <a:gd name="T29" fmla="*/ 119 h 520"/>
                  <a:gd name="T30" fmla="*/ 349 w 519"/>
                  <a:gd name="T31" fmla="*/ 136 h 520"/>
                  <a:gd name="T32" fmla="*/ 367 w 519"/>
                  <a:gd name="T33" fmla="*/ 153 h 520"/>
                  <a:gd name="T34" fmla="*/ 135 w 519"/>
                  <a:gd name="T35" fmla="*/ 385 h 520"/>
                  <a:gd name="T36" fmla="*/ 121 w 519"/>
                  <a:gd name="T37" fmla="*/ 372 h 520"/>
                  <a:gd name="T38" fmla="*/ 106 w 519"/>
                  <a:gd name="T39" fmla="*/ 361 h 520"/>
                  <a:gd name="T40" fmla="*/ 91 w 519"/>
                  <a:gd name="T41" fmla="*/ 352 h 520"/>
                  <a:gd name="T42" fmla="*/ 74 w 519"/>
                  <a:gd name="T43" fmla="*/ 344 h 520"/>
                  <a:gd name="T44" fmla="*/ 56 w 519"/>
                  <a:gd name="T45" fmla="*/ 337 h 520"/>
                  <a:gd name="T46" fmla="*/ 38 w 519"/>
                  <a:gd name="T47" fmla="*/ 333 h 520"/>
                  <a:gd name="T48" fmla="*/ 19 w 519"/>
                  <a:gd name="T49" fmla="*/ 330 h 520"/>
                  <a:gd name="T50" fmla="*/ 0 w 519"/>
                  <a:gd name="T51" fmla="*/ 328 h 520"/>
                  <a:gd name="T52" fmla="*/ 0 w 519"/>
                  <a:gd name="T53" fmla="*/ 0 h 520"/>
                  <a:gd name="T54" fmla="*/ 367 w 519"/>
                  <a:gd name="T55" fmla="*/ 153 h 520"/>
                  <a:gd name="T56" fmla="*/ 384 w 519"/>
                  <a:gd name="T57" fmla="*/ 171 h 520"/>
                  <a:gd name="T58" fmla="*/ 401 w 519"/>
                  <a:gd name="T59" fmla="*/ 190 h 520"/>
                  <a:gd name="T60" fmla="*/ 416 w 519"/>
                  <a:gd name="T61" fmla="*/ 209 h 520"/>
                  <a:gd name="T62" fmla="*/ 431 w 519"/>
                  <a:gd name="T63" fmla="*/ 229 h 520"/>
                  <a:gd name="T64" fmla="*/ 444 w 519"/>
                  <a:gd name="T65" fmla="*/ 251 h 520"/>
                  <a:gd name="T66" fmla="*/ 457 w 519"/>
                  <a:gd name="T67" fmla="*/ 272 h 520"/>
                  <a:gd name="T68" fmla="*/ 468 w 519"/>
                  <a:gd name="T69" fmla="*/ 294 h 520"/>
                  <a:gd name="T70" fmla="*/ 479 w 519"/>
                  <a:gd name="T71" fmla="*/ 318 h 520"/>
                  <a:gd name="T72" fmla="*/ 487 w 519"/>
                  <a:gd name="T73" fmla="*/ 341 h 520"/>
                  <a:gd name="T74" fmla="*/ 496 w 519"/>
                  <a:gd name="T75" fmla="*/ 366 h 520"/>
                  <a:gd name="T76" fmla="*/ 503 w 519"/>
                  <a:gd name="T77" fmla="*/ 390 h 520"/>
                  <a:gd name="T78" fmla="*/ 509 w 519"/>
                  <a:gd name="T79" fmla="*/ 416 h 520"/>
                  <a:gd name="T80" fmla="*/ 513 w 519"/>
                  <a:gd name="T81" fmla="*/ 441 h 520"/>
                  <a:gd name="T82" fmla="*/ 517 w 519"/>
                  <a:gd name="T83" fmla="*/ 467 h 520"/>
                  <a:gd name="T84" fmla="*/ 518 w 519"/>
                  <a:gd name="T85" fmla="*/ 494 h 520"/>
                  <a:gd name="T86" fmla="*/ 519 w 519"/>
                  <a:gd name="T87" fmla="*/ 520 h 520"/>
                  <a:gd name="T88" fmla="*/ 191 w 519"/>
                  <a:gd name="T89" fmla="*/ 520 h 520"/>
                  <a:gd name="T90" fmla="*/ 190 w 519"/>
                  <a:gd name="T91" fmla="*/ 501 h 520"/>
                  <a:gd name="T92" fmla="*/ 187 w 519"/>
                  <a:gd name="T93" fmla="*/ 482 h 520"/>
                  <a:gd name="T94" fmla="*/ 182 w 519"/>
                  <a:gd name="T95" fmla="*/ 464 h 520"/>
                  <a:gd name="T96" fmla="*/ 176 w 519"/>
                  <a:gd name="T97" fmla="*/ 446 h 520"/>
                  <a:gd name="T98" fmla="*/ 168 w 519"/>
                  <a:gd name="T99" fmla="*/ 429 h 520"/>
                  <a:gd name="T100" fmla="*/ 158 w 519"/>
                  <a:gd name="T101" fmla="*/ 414 h 520"/>
                  <a:gd name="T102" fmla="*/ 148 w 519"/>
                  <a:gd name="T103" fmla="*/ 399 h 520"/>
                  <a:gd name="T104" fmla="*/ 135 w 519"/>
                  <a:gd name="T105" fmla="*/ 385 h 520"/>
                  <a:gd name="T106" fmla="*/ 367 w 519"/>
                  <a:gd name="T107" fmla="*/ 153 h 5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19" h="520">
                    <a:moveTo>
                      <a:pt x="0" y="0"/>
                    </a:moveTo>
                    <a:lnTo>
                      <a:pt x="27" y="1"/>
                    </a:lnTo>
                    <a:lnTo>
                      <a:pt x="53" y="3"/>
                    </a:lnTo>
                    <a:lnTo>
                      <a:pt x="79" y="7"/>
                    </a:lnTo>
                    <a:lnTo>
                      <a:pt x="104" y="11"/>
                    </a:lnTo>
                    <a:lnTo>
                      <a:pt x="130" y="16"/>
                    </a:lnTo>
                    <a:lnTo>
                      <a:pt x="154" y="24"/>
                    </a:lnTo>
                    <a:lnTo>
                      <a:pt x="179" y="32"/>
                    </a:lnTo>
                    <a:lnTo>
                      <a:pt x="202" y="41"/>
                    </a:lnTo>
                    <a:lnTo>
                      <a:pt x="224" y="52"/>
                    </a:lnTo>
                    <a:lnTo>
                      <a:pt x="248" y="63"/>
                    </a:lnTo>
                    <a:lnTo>
                      <a:pt x="269" y="76"/>
                    </a:lnTo>
                    <a:lnTo>
                      <a:pt x="290" y="89"/>
                    </a:lnTo>
                    <a:lnTo>
                      <a:pt x="311" y="104"/>
                    </a:lnTo>
                    <a:lnTo>
                      <a:pt x="330" y="119"/>
                    </a:lnTo>
                    <a:lnTo>
                      <a:pt x="349" y="136"/>
                    </a:lnTo>
                    <a:lnTo>
                      <a:pt x="367" y="153"/>
                    </a:lnTo>
                    <a:lnTo>
                      <a:pt x="135" y="385"/>
                    </a:lnTo>
                    <a:lnTo>
                      <a:pt x="121" y="372"/>
                    </a:lnTo>
                    <a:lnTo>
                      <a:pt x="106" y="361"/>
                    </a:lnTo>
                    <a:lnTo>
                      <a:pt x="91" y="352"/>
                    </a:lnTo>
                    <a:lnTo>
                      <a:pt x="74" y="344"/>
                    </a:lnTo>
                    <a:lnTo>
                      <a:pt x="56" y="337"/>
                    </a:lnTo>
                    <a:lnTo>
                      <a:pt x="38" y="333"/>
                    </a:lnTo>
                    <a:lnTo>
                      <a:pt x="19" y="330"/>
                    </a:lnTo>
                    <a:lnTo>
                      <a:pt x="0" y="328"/>
                    </a:lnTo>
                    <a:lnTo>
                      <a:pt x="0" y="0"/>
                    </a:lnTo>
                    <a:close/>
                    <a:moveTo>
                      <a:pt x="367" y="153"/>
                    </a:moveTo>
                    <a:lnTo>
                      <a:pt x="384" y="171"/>
                    </a:lnTo>
                    <a:lnTo>
                      <a:pt x="401" y="190"/>
                    </a:lnTo>
                    <a:lnTo>
                      <a:pt x="416" y="209"/>
                    </a:lnTo>
                    <a:lnTo>
                      <a:pt x="431" y="229"/>
                    </a:lnTo>
                    <a:lnTo>
                      <a:pt x="444" y="251"/>
                    </a:lnTo>
                    <a:lnTo>
                      <a:pt x="457" y="272"/>
                    </a:lnTo>
                    <a:lnTo>
                      <a:pt x="468" y="294"/>
                    </a:lnTo>
                    <a:lnTo>
                      <a:pt x="479" y="318"/>
                    </a:lnTo>
                    <a:lnTo>
                      <a:pt x="487" y="341"/>
                    </a:lnTo>
                    <a:lnTo>
                      <a:pt x="496" y="366"/>
                    </a:lnTo>
                    <a:lnTo>
                      <a:pt x="503" y="390"/>
                    </a:lnTo>
                    <a:lnTo>
                      <a:pt x="509" y="416"/>
                    </a:lnTo>
                    <a:lnTo>
                      <a:pt x="513" y="441"/>
                    </a:lnTo>
                    <a:lnTo>
                      <a:pt x="517" y="467"/>
                    </a:lnTo>
                    <a:lnTo>
                      <a:pt x="518" y="494"/>
                    </a:lnTo>
                    <a:lnTo>
                      <a:pt x="519" y="520"/>
                    </a:lnTo>
                    <a:lnTo>
                      <a:pt x="191" y="520"/>
                    </a:lnTo>
                    <a:lnTo>
                      <a:pt x="190" y="501"/>
                    </a:lnTo>
                    <a:lnTo>
                      <a:pt x="187" y="482"/>
                    </a:lnTo>
                    <a:lnTo>
                      <a:pt x="182" y="464"/>
                    </a:lnTo>
                    <a:lnTo>
                      <a:pt x="176" y="446"/>
                    </a:lnTo>
                    <a:lnTo>
                      <a:pt x="168" y="429"/>
                    </a:lnTo>
                    <a:lnTo>
                      <a:pt x="158" y="414"/>
                    </a:lnTo>
                    <a:lnTo>
                      <a:pt x="148" y="399"/>
                    </a:lnTo>
                    <a:lnTo>
                      <a:pt x="135" y="385"/>
                    </a:lnTo>
                    <a:lnTo>
                      <a:pt x="367" y="1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9" name="Rectangle 57">
                <a:extLst>
                  <a:ext uri="{FF2B5EF4-FFF2-40B4-BE49-F238E27FC236}">
                    <a16:creationId xmlns:a16="http://schemas.microsoft.com/office/drawing/2014/main" id="{79D9286D-4548-48B7-9BA7-F5DE5EBFC52D}"/>
                  </a:ext>
                </a:extLst>
              </p:cNvPr>
              <p:cNvSpPr>
                <a:spLocks noChangeArrowheads="1"/>
              </p:cNvSpPr>
              <p:nvPr/>
            </p:nvSpPr>
            <p:spPr bwMode="auto">
              <a:xfrm>
                <a:off x="2517775" y="4835525"/>
                <a:ext cx="103188" cy="16541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40" name="Rectangle 73">
                <a:extLst>
                  <a:ext uri="{FF2B5EF4-FFF2-40B4-BE49-F238E27FC236}">
                    <a16:creationId xmlns:a16="http://schemas.microsoft.com/office/drawing/2014/main" id="{352609A8-15E7-4249-8A07-CB36E3056C10}"/>
                  </a:ext>
                </a:extLst>
              </p:cNvPr>
              <p:cNvSpPr>
                <a:spLocks noChangeArrowheads="1"/>
              </p:cNvSpPr>
              <p:nvPr/>
            </p:nvSpPr>
            <p:spPr bwMode="auto">
              <a:xfrm>
                <a:off x="1906588" y="5233988"/>
                <a:ext cx="17463" cy="1285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41" name="Freeform 74">
                <a:extLst>
                  <a:ext uri="{FF2B5EF4-FFF2-40B4-BE49-F238E27FC236}">
                    <a16:creationId xmlns:a16="http://schemas.microsoft.com/office/drawing/2014/main" id="{797FB43A-9938-4DC2-8824-B7AF590EF347}"/>
                  </a:ext>
                </a:extLst>
              </p:cNvPr>
              <p:cNvSpPr>
                <a:spLocks noEditPoints="1"/>
              </p:cNvSpPr>
              <p:nvPr/>
            </p:nvSpPr>
            <p:spPr bwMode="auto">
              <a:xfrm>
                <a:off x="1906588" y="5362575"/>
                <a:ext cx="161925" cy="161925"/>
              </a:xfrm>
              <a:custGeom>
                <a:avLst/>
                <a:gdLst>
                  <a:gd name="T0" fmla="*/ 55 w 510"/>
                  <a:gd name="T1" fmla="*/ 2 h 509"/>
                  <a:gd name="T2" fmla="*/ 0 w 510"/>
                  <a:gd name="T3" fmla="*/ 0 h 509"/>
                  <a:gd name="T4" fmla="*/ 0 w 510"/>
                  <a:gd name="T5" fmla="*/ 2 h 509"/>
                  <a:gd name="T6" fmla="*/ 28 w 510"/>
                  <a:gd name="T7" fmla="*/ 2 h 509"/>
                  <a:gd name="T8" fmla="*/ 55 w 510"/>
                  <a:gd name="T9" fmla="*/ 2 h 509"/>
                  <a:gd name="T10" fmla="*/ 58 w 510"/>
                  <a:gd name="T11" fmla="*/ 48 h 509"/>
                  <a:gd name="T12" fmla="*/ 65 w 510"/>
                  <a:gd name="T13" fmla="*/ 94 h 509"/>
                  <a:gd name="T14" fmla="*/ 76 w 510"/>
                  <a:gd name="T15" fmla="*/ 137 h 509"/>
                  <a:gd name="T16" fmla="*/ 92 w 510"/>
                  <a:gd name="T17" fmla="*/ 178 h 509"/>
                  <a:gd name="T18" fmla="*/ 111 w 510"/>
                  <a:gd name="T19" fmla="*/ 218 h 509"/>
                  <a:gd name="T20" fmla="*/ 133 w 510"/>
                  <a:gd name="T21" fmla="*/ 255 h 509"/>
                  <a:gd name="T22" fmla="*/ 160 w 510"/>
                  <a:gd name="T23" fmla="*/ 290 h 509"/>
                  <a:gd name="T24" fmla="*/ 189 w 510"/>
                  <a:gd name="T25" fmla="*/ 322 h 509"/>
                  <a:gd name="T26" fmla="*/ 133 w 510"/>
                  <a:gd name="T27" fmla="*/ 343 h 509"/>
                  <a:gd name="T28" fmla="*/ 102 w 510"/>
                  <a:gd name="T29" fmla="*/ 306 h 509"/>
                  <a:gd name="T30" fmla="*/ 75 w 510"/>
                  <a:gd name="T31" fmla="*/ 266 h 509"/>
                  <a:gd name="T32" fmla="*/ 51 w 510"/>
                  <a:gd name="T33" fmla="*/ 222 h 509"/>
                  <a:gd name="T34" fmla="*/ 32 w 510"/>
                  <a:gd name="T35" fmla="*/ 177 h 509"/>
                  <a:gd name="T36" fmla="*/ 17 w 510"/>
                  <a:gd name="T37" fmla="*/ 129 h 509"/>
                  <a:gd name="T38" fmla="*/ 7 w 510"/>
                  <a:gd name="T39" fmla="*/ 80 h 509"/>
                  <a:gd name="T40" fmla="*/ 1 w 510"/>
                  <a:gd name="T41" fmla="*/ 29 h 509"/>
                  <a:gd name="T42" fmla="*/ 55 w 510"/>
                  <a:gd name="T43" fmla="*/ 2 h 509"/>
                  <a:gd name="T44" fmla="*/ 204 w 510"/>
                  <a:gd name="T45" fmla="*/ 337 h 509"/>
                  <a:gd name="T46" fmla="*/ 237 w 510"/>
                  <a:gd name="T47" fmla="*/ 365 h 509"/>
                  <a:gd name="T48" fmla="*/ 274 w 510"/>
                  <a:gd name="T49" fmla="*/ 389 h 509"/>
                  <a:gd name="T50" fmla="*/ 312 w 510"/>
                  <a:gd name="T51" fmla="*/ 409 h 509"/>
                  <a:gd name="T52" fmla="*/ 352 w 510"/>
                  <a:gd name="T53" fmla="*/ 426 h 509"/>
                  <a:gd name="T54" fmla="*/ 395 w 510"/>
                  <a:gd name="T55" fmla="*/ 440 h 509"/>
                  <a:gd name="T56" fmla="*/ 440 w 510"/>
                  <a:gd name="T57" fmla="*/ 449 h 509"/>
                  <a:gd name="T58" fmla="*/ 485 w 510"/>
                  <a:gd name="T59" fmla="*/ 454 h 509"/>
                  <a:gd name="T60" fmla="*/ 509 w 510"/>
                  <a:gd name="T61" fmla="*/ 509 h 509"/>
                  <a:gd name="T62" fmla="*/ 457 w 510"/>
                  <a:gd name="T63" fmla="*/ 506 h 509"/>
                  <a:gd name="T64" fmla="*/ 407 w 510"/>
                  <a:gd name="T65" fmla="*/ 499 h 509"/>
                  <a:gd name="T66" fmla="*/ 358 w 510"/>
                  <a:gd name="T67" fmla="*/ 486 h 509"/>
                  <a:gd name="T68" fmla="*/ 311 w 510"/>
                  <a:gd name="T69" fmla="*/ 469 h 509"/>
                  <a:gd name="T70" fmla="*/ 267 w 510"/>
                  <a:gd name="T71" fmla="*/ 448 h 509"/>
                  <a:gd name="T72" fmla="*/ 225 w 510"/>
                  <a:gd name="T73" fmla="*/ 422 h 509"/>
                  <a:gd name="T74" fmla="*/ 186 w 510"/>
                  <a:gd name="T75" fmla="*/ 393 h 509"/>
                  <a:gd name="T76" fmla="*/ 150 w 510"/>
                  <a:gd name="T77" fmla="*/ 360 h 509"/>
                  <a:gd name="T78" fmla="*/ 509 w 510"/>
                  <a:gd name="T79" fmla="*/ 454 h 509"/>
                  <a:gd name="T80" fmla="*/ 510 w 510"/>
                  <a:gd name="T81" fmla="*/ 508 h 509"/>
                  <a:gd name="T82" fmla="*/ 509 w 510"/>
                  <a:gd name="T83" fmla="*/ 454 h 5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10" h="509">
                    <a:moveTo>
                      <a:pt x="55" y="0"/>
                    </a:moveTo>
                    <a:lnTo>
                      <a:pt x="55" y="2"/>
                    </a:lnTo>
                    <a:lnTo>
                      <a:pt x="0" y="2"/>
                    </a:lnTo>
                    <a:lnTo>
                      <a:pt x="0" y="0"/>
                    </a:lnTo>
                    <a:lnTo>
                      <a:pt x="55" y="0"/>
                    </a:lnTo>
                    <a:close/>
                    <a:moveTo>
                      <a:pt x="0" y="2"/>
                    </a:moveTo>
                    <a:lnTo>
                      <a:pt x="0" y="2"/>
                    </a:lnTo>
                    <a:lnTo>
                      <a:pt x="28" y="2"/>
                    </a:lnTo>
                    <a:lnTo>
                      <a:pt x="0" y="2"/>
                    </a:lnTo>
                    <a:close/>
                    <a:moveTo>
                      <a:pt x="55" y="2"/>
                    </a:moveTo>
                    <a:lnTo>
                      <a:pt x="55" y="26"/>
                    </a:lnTo>
                    <a:lnTo>
                      <a:pt x="58" y="48"/>
                    </a:lnTo>
                    <a:lnTo>
                      <a:pt x="61" y="72"/>
                    </a:lnTo>
                    <a:lnTo>
                      <a:pt x="65" y="94"/>
                    </a:lnTo>
                    <a:lnTo>
                      <a:pt x="69" y="115"/>
                    </a:lnTo>
                    <a:lnTo>
                      <a:pt x="76" y="137"/>
                    </a:lnTo>
                    <a:lnTo>
                      <a:pt x="83" y="158"/>
                    </a:lnTo>
                    <a:lnTo>
                      <a:pt x="92" y="178"/>
                    </a:lnTo>
                    <a:lnTo>
                      <a:pt x="100" y="198"/>
                    </a:lnTo>
                    <a:lnTo>
                      <a:pt x="111" y="218"/>
                    </a:lnTo>
                    <a:lnTo>
                      <a:pt x="121" y="237"/>
                    </a:lnTo>
                    <a:lnTo>
                      <a:pt x="133" y="255"/>
                    </a:lnTo>
                    <a:lnTo>
                      <a:pt x="146" y="273"/>
                    </a:lnTo>
                    <a:lnTo>
                      <a:pt x="160" y="290"/>
                    </a:lnTo>
                    <a:lnTo>
                      <a:pt x="174" y="306"/>
                    </a:lnTo>
                    <a:lnTo>
                      <a:pt x="189" y="322"/>
                    </a:lnTo>
                    <a:lnTo>
                      <a:pt x="150" y="360"/>
                    </a:lnTo>
                    <a:lnTo>
                      <a:pt x="133" y="343"/>
                    </a:lnTo>
                    <a:lnTo>
                      <a:pt x="117" y="325"/>
                    </a:lnTo>
                    <a:lnTo>
                      <a:pt x="102" y="306"/>
                    </a:lnTo>
                    <a:lnTo>
                      <a:pt x="88" y="286"/>
                    </a:lnTo>
                    <a:lnTo>
                      <a:pt x="75" y="266"/>
                    </a:lnTo>
                    <a:lnTo>
                      <a:pt x="63" y="244"/>
                    </a:lnTo>
                    <a:lnTo>
                      <a:pt x="51" y="222"/>
                    </a:lnTo>
                    <a:lnTo>
                      <a:pt x="42" y="200"/>
                    </a:lnTo>
                    <a:lnTo>
                      <a:pt x="32" y="177"/>
                    </a:lnTo>
                    <a:lnTo>
                      <a:pt x="24" y="154"/>
                    </a:lnTo>
                    <a:lnTo>
                      <a:pt x="17" y="129"/>
                    </a:lnTo>
                    <a:lnTo>
                      <a:pt x="11" y="105"/>
                    </a:lnTo>
                    <a:lnTo>
                      <a:pt x="7" y="80"/>
                    </a:lnTo>
                    <a:lnTo>
                      <a:pt x="3" y="55"/>
                    </a:lnTo>
                    <a:lnTo>
                      <a:pt x="1" y="29"/>
                    </a:lnTo>
                    <a:lnTo>
                      <a:pt x="0" y="2"/>
                    </a:lnTo>
                    <a:lnTo>
                      <a:pt x="55" y="2"/>
                    </a:lnTo>
                    <a:close/>
                    <a:moveTo>
                      <a:pt x="189" y="322"/>
                    </a:moveTo>
                    <a:lnTo>
                      <a:pt x="204" y="337"/>
                    </a:lnTo>
                    <a:lnTo>
                      <a:pt x="220" y="351"/>
                    </a:lnTo>
                    <a:lnTo>
                      <a:pt x="237" y="365"/>
                    </a:lnTo>
                    <a:lnTo>
                      <a:pt x="256" y="377"/>
                    </a:lnTo>
                    <a:lnTo>
                      <a:pt x="274" y="389"/>
                    </a:lnTo>
                    <a:lnTo>
                      <a:pt x="293" y="400"/>
                    </a:lnTo>
                    <a:lnTo>
                      <a:pt x="312" y="409"/>
                    </a:lnTo>
                    <a:lnTo>
                      <a:pt x="332" y="419"/>
                    </a:lnTo>
                    <a:lnTo>
                      <a:pt x="352" y="426"/>
                    </a:lnTo>
                    <a:lnTo>
                      <a:pt x="374" y="434"/>
                    </a:lnTo>
                    <a:lnTo>
                      <a:pt x="395" y="440"/>
                    </a:lnTo>
                    <a:lnTo>
                      <a:pt x="417" y="446"/>
                    </a:lnTo>
                    <a:lnTo>
                      <a:pt x="440" y="449"/>
                    </a:lnTo>
                    <a:lnTo>
                      <a:pt x="462" y="452"/>
                    </a:lnTo>
                    <a:lnTo>
                      <a:pt x="485" y="454"/>
                    </a:lnTo>
                    <a:lnTo>
                      <a:pt x="509" y="454"/>
                    </a:lnTo>
                    <a:lnTo>
                      <a:pt x="509" y="509"/>
                    </a:lnTo>
                    <a:lnTo>
                      <a:pt x="482" y="508"/>
                    </a:lnTo>
                    <a:lnTo>
                      <a:pt x="457" y="506"/>
                    </a:lnTo>
                    <a:lnTo>
                      <a:pt x="431" y="503"/>
                    </a:lnTo>
                    <a:lnTo>
                      <a:pt x="407" y="499"/>
                    </a:lnTo>
                    <a:lnTo>
                      <a:pt x="382" y="493"/>
                    </a:lnTo>
                    <a:lnTo>
                      <a:pt x="358" y="486"/>
                    </a:lnTo>
                    <a:lnTo>
                      <a:pt x="334" y="479"/>
                    </a:lnTo>
                    <a:lnTo>
                      <a:pt x="311" y="469"/>
                    </a:lnTo>
                    <a:lnTo>
                      <a:pt x="289" y="459"/>
                    </a:lnTo>
                    <a:lnTo>
                      <a:pt x="267" y="448"/>
                    </a:lnTo>
                    <a:lnTo>
                      <a:pt x="246" y="436"/>
                    </a:lnTo>
                    <a:lnTo>
                      <a:pt x="225" y="422"/>
                    </a:lnTo>
                    <a:lnTo>
                      <a:pt x="206" y="408"/>
                    </a:lnTo>
                    <a:lnTo>
                      <a:pt x="186" y="393"/>
                    </a:lnTo>
                    <a:lnTo>
                      <a:pt x="167" y="377"/>
                    </a:lnTo>
                    <a:lnTo>
                      <a:pt x="150" y="360"/>
                    </a:lnTo>
                    <a:lnTo>
                      <a:pt x="189" y="322"/>
                    </a:lnTo>
                    <a:close/>
                    <a:moveTo>
                      <a:pt x="509" y="454"/>
                    </a:moveTo>
                    <a:lnTo>
                      <a:pt x="510" y="454"/>
                    </a:lnTo>
                    <a:lnTo>
                      <a:pt x="510" y="508"/>
                    </a:lnTo>
                    <a:lnTo>
                      <a:pt x="509" y="508"/>
                    </a:lnTo>
                    <a:lnTo>
                      <a:pt x="509" y="4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42" name="Freeform 75">
                <a:extLst>
                  <a:ext uri="{FF2B5EF4-FFF2-40B4-BE49-F238E27FC236}">
                    <a16:creationId xmlns:a16="http://schemas.microsoft.com/office/drawing/2014/main" id="{0B030090-BA59-4260-A3F6-DE81AA5ADA7F}"/>
                  </a:ext>
                </a:extLst>
              </p:cNvPr>
              <p:cNvSpPr>
                <a:spLocks/>
              </p:cNvSpPr>
              <p:nvPr/>
            </p:nvSpPr>
            <p:spPr bwMode="auto">
              <a:xfrm>
                <a:off x="2068513" y="5503863"/>
                <a:ext cx="757238" cy="20638"/>
              </a:xfrm>
              <a:custGeom>
                <a:avLst/>
                <a:gdLst>
                  <a:gd name="T0" fmla="*/ 0 w 2387"/>
                  <a:gd name="T1" fmla="*/ 10 h 64"/>
                  <a:gd name="T2" fmla="*/ 2387 w 2387"/>
                  <a:gd name="T3" fmla="*/ 0 h 64"/>
                  <a:gd name="T4" fmla="*/ 2387 w 2387"/>
                  <a:gd name="T5" fmla="*/ 55 h 64"/>
                  <a:gd name="T6" fmla="*/ 1 w 2387"/>
                  <a:gd name="T7" fmla="*/ 64 h 64"/>
                  <a:gd name="T8" fmla="*/ 0 w 2387"/>
                  <a:gd name="T9" fmla="*/ 10 h 64"/>
                </a:gdLst>
                <a:ahLst/>
                <a:cxnLst>
                  <a:cxn ang="0">
                    <a:pos x="T0" y="T1"/>
                  </a:cxn>
                  <a:cxn ang="0">
                    <a:pos x="T2" y="T3"/>
                  </a:cxn>
                  <a:cxn ang="0">
                    <a:pos x="T4" y="T5"/>
                  </a:cxn>
                  <a:cxn ang="0">
                    <a:pos x="T6" y="T7"/>
                  </a:cxn>
                  <a:cxn ang="0">
                    <a:pos x="T8" y="T9"/>
                  </a:cxn>
                </a:cxnLst>
                <a:rect l="0" t="0" r="r" b="b"/>
                <a:pathLst>
                  <a:path w="2387" h="64">
                    <a:moveTo>
                      <a:pt x="0" y="10"/>
                    </a:moveTo>
                    <a:lnTo>
                      <a:pt x="2387" y="0"/>
                    </a:lnTo>
                    <a:lnTo>
                      <a:pt x="2387" y="55"/>
                    </a:lnTo>
                    <a:lnTo>
                      <a:pt x="1" y="64"/>
                    </a:lnTo>
                    <a:lnTo>
                      <a:pt x="0"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43" name="Freeform 76">
                <a:extLst>
                  <a:ext uri="{FF2B5EF4-FFF2-40B4-BE49-F238E27FC236}">
                    <a16:creationId xmlns:a16="http://schemas.microsoft.com/office/drawing/2014/main" id="{29406D4C-BC97-4984-8ED8-768D42D478E7}"/>
                  </a:ext>
                </a:extLst>
              </p:cNvPr>
              <p:cNvSpPr>
                <a:spLocks noEditPoints="1"/>
              </p:cNvSpPr>
              <p:nvPr/>
            </p:nvSpPr>
            <p:spPr bwMode="auto">
              <a:xfrm>
                <a:off x="2825750" y="5503863"/>
                <a:ext cx="161925" cy="160338"/>
              </a:xfrm>
              <a:custGeom>
                <a:avLst/>
                <a:gdLst>
                  <a:gd name="T0" fmla="*/ 2 w 510"/>
                  <a:gd name="T1" fmla="*/ 0 h 508"/>
                  <a:gd name="T2" fmla="*/ 0 w 510"/>
                  <a:gd name="T3" fmla="*/ 55 h 508"/>
                  <a:gd name="T4" fmla="*/ 2 w 510"/>
                  <a:gd name="T5" fmla="*/ 0 h 508"/>
                  <a:gd name="T6" fmla="*/ 53 w 510"/>
                  <a:gd name="T7" fmla="*/ 3 h 508"/>
                  <a:gd name="T8" fmla="*/ 105 w 510"/>
                  <a:gd name="T9" fmla="*/ 11 h 508"/>
                  <a:gd name="T10" fmla="*/ 152 w 510"/>
                  <a:gd name="T11" fmla="*/ 23 h 508"/>
                  <a:gd name="T12" fmla="*/ 199 w 510"/>
                  <a:gd name="T13" fmla="*/ 40 h 508"/>
                  <a:gd name="T14" fmla="*/ 244 w 510"/>
                  <a:gd name="T15" fmla="*/ 61 h 508"/>
                  <a:gd name="T16" fmla="*/ 285 w 510"/>
                  <a:gd name="T17" fmla="*/ 87 h 508"/>
                  <a:gd name="T18" fmla="*/ 325 w 510"/>
                  <a:gd name="T19" fmla="*/ 115 h 508"/>
                  <a:gd name="T20" fmla="*/ 360 w 510"/>
                  <a:gd name="T21" fmla="*/ 148 h 508"/>
                  <a:gd name="T22" fmla="*/ 307 w 510"/>
                  <a:gd name="T23" fmla="*/ 172 h 508"/>
                  <a:gd name="T24" fmla="*/ 273 w 510"/>
                  <a:gd name="T25" fmla="*/ 145 h 508"/>
                  <a:gd name="T26" fmla="*/ 237 w 510"/>
                  <a:gd name="T27" fmla="*/ 121 h 508"/>
                  <a:gd name="T28" fmla="*/ 198 w 510"/>
                  <a:gd name="T29" fmla="*/ 100 h 508"/>
                  <a:gd name="T30" fmla="*/ 158 w 510"/>
                  <a:gd name="T31" fmla="*/ 82 h 508"/>
                  <a:gd name="T32" fmla="*/ 115 w 510"/>
                  <a:gd name="T33" fmla="*/ 70 h 508"/>
                  <a:gd name="T34" fmla="*/ 70 w 510"/>
                  <a:gd name="T35" fmla="*/ 60 h 508"/>
                  <a:gd name="T36" fmla="*/ 26 w 510"/>
                  <a:gd name="T37" fmla="*/ 56 h 508"/>
                  <a:gd name="T38" fmla="*/ 2 w 510"/>
                  <a:gd name="T39" fmla="*/ 0 h 508"/>
                  <a:gd name="T40" fmla="*/ 377 w 510"/>
                  <a:gd name="T41" fmla="*/ 167 h 508"/>
                  <a:gd name="T42" fmla="*/ 408 w 510"/>
                  <a:gd name="T43" fmla="*/ 204 h 508"/>
                  <a:gd name="T44" fmla="*/ 436 w 510"/>
                  <a:gd name="T45" fmla="*/ 244 h 508"/>
                  <a:gd name="T46" fmla="*/ 459 w 510"/>
                  <a:gd name="T47" fmla="*/ 287 h 508"/>
                  <a:gd name="T48" fmla="*/ 478 w 510"/>
                  <a:gd name="T49" fmla="*/ 333 h 508"/>
                  <a:gd name="T50" fmla="*/ 493 w 510"/>
                  <a:gd name="T51" fmla="*/ 380 h 508"/>
                  <a:gd name="T52" fmla="*/ 504 w 510"/>
                  <a:gd name="T53" fmla="*/ 430 h 508"/>
                  <a:gd name="T54" fmla="*/ 509 w 510"/>
                  <a:gd name="T55" fmla="*/ 481 h 508"/>
                  <a:gd name="T56" fmla="*/ 456 w 510"/>
                  <a:gd name="T57" fmla="*/ 506 h 508"/>
                  <a:gd name="T58" fmla="*/ 453 w 510"/>
                  <a:gd name="T59" fmla="*/ 461 h 508"/>
                  <a:gd name="T60" fmla="*/ 446 w 510"/>
                  <a:gd name="T61" fmla="*/ 416 h 508"/>
                  <a:gd name="T62" fmla="*/ 434 w 510"/>
                  <a:gd name="T63" fmla="*/ 372 h 508"/>
                  <a:gd name="T64" fmla="*/ 420 w 510"/>
                  <a:gd name="T65" fmla="*/ 331 h 508"/>
                  <a:gd name="T66" fmla="*/ 400 w 510"/>
                  <a:gd name="T67" fmla="*/ 291 h 508"/>
                  <a:gd name="T68" fmla="*/ 377 w 510"/>
                  <a:gd name="T69" fmla="*/ 254 h 508"/>
                  <a:gd name="T70" fmla="*/ 351 w 510"/>
                  <a:gd name="T71" fmla="*/ 220 h 508"/>
                  <a:gd name="T72" fmla="*/ 322 w 510"/>
                  <a:gd name="T73" fmla="*/ 187 h 508"/>
                  <a:gd name="T74" fmla="*/ 510 w 510"/>
                  <a:gd name="T75" fmla="*/ 506 h 508"/>
                  <a:gd name="T76" fmla="*/ 482 w 510"/>
                  <a:gd name="T77" fmla="*/ 506 h 508"/>
                  <a:gd name="T78" fmla="*/ 510 w 510"/>
                  <a:gd name="T79" fmla="*/ 506 h 508"/>
                  <a:gd name="T80" fmla="*/ 456 w 510"/>
                  <a:gd name="T81" fmla="*/ 508 h 508"/>
                  <a:gd name="T82" fmla="*/ 510 w 510"/>
                  <a:gd name="T83" fmla="*/ 506 h 5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10" h="508">
                    <a:moveTo>
                      <a:pt x="0" y="0"/>
                    </a:moveTo>
                    <a:lnTo>
                      <a:pt x="2" y="0"/>
                    </a:lnTo>
                    <a:lnTo>
                      <a:pt x="2" y="55"/>
                    </a:lnTo>
                    <a:lnTo>
                      <a:pt x="0" y="55"/>
                    </a:lnTo>
                    <a:lnTo>
                      <a:pt x="0" y="0"/>
                    </a:lnTo>
                    <a:close/>
                    <a:moveTo>
                      <a:pt x="2" y="0"/>
                    </a:moveTo>
                    <a:lnTo>
                      <a:pt x="28" y="2"/>
                    </a:lnTo>
                    <a:lnTo>
                      <a:pt x="53" y="3"/>
                    </a:lnTo>
                    <a:lnTo>
                      <a:pt x="79" y="6"/>
                    </a:lnTo>
                    <a:lnTo>
                      <a:pt x="105" y="11"/>
                    </a:lnTo>
                    <a:lnTo>
                      <a:pt x="129" y="16"/>
                    </a:lnTo>
                    <a:lnTo>
                      <a:pt x="152" y="23"/>
                    </a:lnTo>
                    <a:lnTo>
                      <a:pt x="176" y="31"/>
                    </a:lnTo>
                    <a:lnTo>
                      <a:pt x="199" y="40"/>
                    </a:lnTo>
                    <a:lnTo>
                      <a:pt x="222" y="51"/>
                    </a:lnTo>
                    <a:lnTo>
                      <a:pt x="244" y="61"/>
                    </a:lnTo>
                    <a:lnTo>
                      <a:pt x="265" y="74"/>
                    </a:lnTo>
                    <a:lnTo>
                      <a:pt x="285" y="87"/>
                    </a:lnTo>
                    <a:lnTo>
                      <a:pt x="306" y="101"/>
                    </a:lnTo>
                    <a:lnTo>
                      <a:pt x="325" y="115"/>
                    </a:lnTo>
                    <a:lnTo>
                      <a:pt x="343" y="131"/>
                    </a:lnTo>
                    <a:lnTo>
                      <a:pt x="360" y="148"/>
                    </a:lnTo>
                    <a:lnTo>
                      <a:pt x="322" y="187"/>
                    </a:lnTo>
                    <a:lnTo>
                      <a:pt x="307" y="172"/>
                    </a:lnTo>
                    <a:lnTo>
                      <a:pt x="290" y="158"/>
                    </a:lnTo>
                    <a:lnTo>
                      <a:pt x="273" y="145"/>
                    </a:lnTo>
                    <a:lnTo>
                      <a:pt x="255" y="133"/>
                    </a:lnTo>
                    <a:lnTo>
                      <a:pt x="237" y="121"/>
                    </a:lnTo>
                    <a:lnTo>
                      <a:pt x="217" y="109"/>
                    </a:lnTo>
                    <a:lnTo>
                      <a:pt x="198" y="100"/>
                    </a:lnTo>
                    <a:lnTo>
                      <a:pt x="178" y="91"/>
                    </a:lnTo>
                    <a:lnTo>
                      <a:pt x="158" y="82"/>
                    </a:lnTo>
                    <a:lnTo>
                      <a:pt x="136" y="75"/>
                    </a:lnTo>
                    <a:lnTo>
                      <a:pt x="115" y="70"/>
                    </a:lnTo>
                    <a:lnTo>
                      <a:pt x="93" y="64"/>
                    </a:lnTo>
                    <a:lnTo>
                      <a:pt x="70" y="60"/>
                    </a:lnTo>
                    <a:lnTo>
                      <a:pt x="48" y="58"/>
                    </a:lnTo>
                    <a:lnTo>
                      <a:pt x="26" y="56"/>
                    </a:lnTo>
                    <a:lnTo>
                      <a:pt x="2" y="55"/>
                    </a:lnTo>
                    <a:lnTo>
                      <a:pt x="2" y="0"/>
                    </a:lnTo>
                    <a:close/>
                    <a:moveTo>
                      <a:pt x="360" y="148"/>
                    </a:moveTo>
                    <a:lnTo>
                      <a:pt x="377" y="167"/>
                    </a:lnTo>
                    <a:lnTo>
                      <a:pt x="393" y="185"/>
                    </a:lnTo>
                    <a:lnTo>
                      <a:pt x="408" y="204"/>
                    </a:lnTo>
                    <a:lnTo>
                      <a:pt x="423" y="223"/>
                    </a:lnTo>
                    <a:lnTo>
                      <a:pt x="436" y="244"/>
                    </a:lnTo>
                    <a:lnTo>
                      <a:pt x="448" y="266"/>
                    </a:lnTo>
                    <a:lnTo>
                      <a:pt x="459" y="287"/>
                    </a:lnTo>
                    <a:lnTo>
                      <a:pt x="470" y="309"/>
                    </a:lnTo>
                    <a:lnTo>
                      <a:pt x="478" y="333"/>
                    </a:lnTo>
                    <a:lnTo>
                      <a:pt x="487" y="356"/>
                    </a:lnTo>
                    <a:lnTo>
                      <a:pt x="493" y="380"/>
                    </a:lnTo>
                    <a:lnTo>
                      <a:pt x="499" y="404"/>
                    </a:lnTo>
                    <a:lnTo>
                      <a:pt x="504" y="430"/>
                    </a:lnTo>
                    <a:lnTo>
                      <a:pt x="507" y="455"/>
                    </a:lnTo>
                    <a:lnTo>
                      <a:pt x="509" y="481"/>
                    </a:lnTo>
                    <a:lnTo>
                      <a:pt x="510" y="506"/>
                    </a:lnTo>
                    <a:lnTo>
                      <a:pt x="456" y="506"/>
                    </a:lnTo>
                    <a:lnTo>
                      <a:pt x="455" y="484"/>
                    </a:lnTo>
                    <a:lnTo>
                      <a:pt x="453" y="461"/>
                    </a:lnTo>
                    <a:lnTo>
                      <a:pt x="450" y="438"/>
                    </a:lnTo>
                    <a:lnTo>
                      <a:pt x="446" y="416"/>
                    </a:lnTo>
                    <a:lnTo>
                      <a:pt x="441" y="393"/>
                    </a:lnTo>
                    <a:lnTo>
                      <a:pt x="434" y="372"/>
                    </a:lnTo>
                    <a:lnTo>
                      <a:pt x="427" y="352"/>
                    </a:lnTo>
                    <a:lnTo>
                      <a:pt x="420" y="331"/>
                    </a:lnTo>
                    <a:lnTo>
                      <a:pt x="410" y="310"/>
                    </a:lnTo>
                    <a:lnTo>
                      <a:pt x="400" y="291"/>
                    </a:lnTo>
                    <a:lnTo>
                      <a:pt x="389" y="272"/>
                    </a:lnTo>
                    <a:lnTo>
                      <a:pt x="377" y="254"/>
                    </a:lnTo>
                    <a:lnTo>
                      <a:pt x="364" y="237"/>
                    </a:lnTo>
                    <a:lnTo>
                      <a:pt x="351" y="220"/>
                    </a:lnTo>
                    <a:lnTo>
                      <a:pt x="337" y="203"/>
                    </a:lnTo>
                    <a:lnTo>
                      <a:pt x="322" y="187"/>
                    </a:lnTo>
                    <a:lnTo>
                      <a:pt x="360" y="148"/>
                    </a:lnTo>
                    <a:close/>
                    <a:moveTo>
                      <a:pt x="510" y="506"/>
                    </a:moveTo>
                    <a:lnTo>
                      <a:pt x="510" y="506"/>
                    </a:lnTo>
                    <a:lnTo>
                      <a:pt x="482" y="506"/>
                    </a:lnTo>
                    <a:lnTo>
                      <a:pt x="510" y="506"/>
                    </a:lnTo>
                    <a:close/>
                    <a:moveTo>
                      <a:pt x="510" y="506"/>
                    </a:moveTo>
                    <a:lnTo>
                      <a:pt x="510" y="508"/>
                    </a:lnTo>
                    <a:lnTo>
                      <a:pt x="456" y="508"/>
                    </a:lnTo>
                    <a:lnTo>
                      <a:pt x="456" y="506"/>
                    </a:lnTo>
                    <a:lnTo>
                      <a:pt x="510" y="5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44" name="Rectangle 77">
                <a:extLst>
                  <a:ext uri="{FF2B5EF4-FFF2-40B4-BE49-F238E27FC236}">
                    <a16:creationId xmlns:a16="http://schemas.microsoft.com/office/drawing/2014/main" id="{711A8792-303C-4D86-92E6-08BAD8FBF67B}"/>
                  </a:ext>
                </a:extLst>
              </p:cNvPr>
              <p:cNvSpPr>
                <a:spLocks noChangeArrowheads="1"/>
              </p:cNvSpPr>
              <p:nvPr/>
            </p:nvSpPr>
            <p:spPr bwMode="auto">
              <a:xfrm>
                <a:off x="2970213" y="5664200"/>
                <a:ext cx="17463" cy="8255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sp>
          <p:nvSpPr>
            <p:cNvPr id="14" name="Freeform 102">
              <a:extLst>
                <a:ext uri="{FF2B5EF4-FFF2-40B4-BE49-F238E27FC236}">
                  <a16:creationId xmlns:a16="http://schemas.microsoft.com/office/drawing/2014/main" id="{F5F9B293-C256-419F-AD81-22AFDE218818}"/>
                </a:ext>
              </a:extLst>
            </p:cNvPr>
            <p:cNvSpPr>
              <a:spLocks/>
            </p:cNvSpPr>
            <p:nvPr/>
          </p:nvSpPr>
          <p:spPr bwMode="auto">
            <a:xfrm>
              <a:off x="2271713" y="2627313"/>
              <a:ext cx="285750" cy="285750"/>
            </a:xfrm>
            <a:custGeom>
              <a:avLst/>
              <a:gdLst>
                <a:gd name="T0" fmla="*/ 897 w 900"/>
                <a:gd name="T1" fmla="*/ 496 h 899"/>
                <a:gd name="T2" fmla="*/ 885 w 900"/>
                <a:gd name="T3" fmla="*/ 562 h 899"/>
                <a:gd name="T4" fmla="*/ 864 w 900"/>
                <a:gd name="T5" fmla="*/ 625 h 899"/>
                <a:gd name="T6" fmla="*/ 834 w 900"/>
                <a:gd name="T7" fmla="*/ 683 h 899"/>
                <a:gd name="T8" fmla="*/ 797 w 900"/>
                <a:gd name="T9" fmla="*/ 735 h 899"/>
                <a:gd name="T10" fmla="*/ 752 w 900"/>
                <a:gd name="T11" fmla="*/ 783 h 899"/>
                <a:gd name="T12" fmla="*/ 701 w 900"/>
                <a:gd name="T13" fmla="*/ 823 h 899"/>
                <a:gd name="T14" fmla="*/ 645 w 900"/>
                <a:gd name="T15" fmla="*/ 856 h 899"/>
                <a:gd name="T16" fmla="*/ 583 w 900"/>
                <a:gd name="T17" fmla="*/ 879 h 899"/>
                <a:gd name="T18" fmla="*/ 518 w 900"/>
                <a:gd name="T19" fmla="*/ 894 h 899"/>
                <a:gd name="T20" fmla="*/ 450 w 900"/>
                <a:gd name="T21" fmla="*/ 899 h 899"/>
                <a:gd name="T22" fmla="*/ 381 w 900"/>
                <a:gd name="T23" fmla="*/ 894 h 899"/>
                <a:gd name="T24" fmla="*/ 316 w 900"/>
                <a:gd name="T25" fmla="*/ 879 h 899"/>
                <a:gd name="T26" fmla="*/ 254 w 900"/>
                <a:gd name="T27" fmla="*/ 856 h 899"/>
                <a:gd name="T28" fmla="*/ 198 w 900"/>
                <a:gd name="T29" fmla="*/ 823 h 899"/>
                <a:gd name="T30" fmla="*/ 147 w 900"/>
                <a:gd name="T31" fmla="*/ 783 h 899"/>
                <a:gd name="T32" fmla="*/ 102 w 900"/>
                <a:gd name="T33" fmla="*/ 735 h 899"/>
                <a:gd name="T34" fmla="*/ 65 w 900"/>
                <a:gd name="T35" fmla="*/ 683 h 899"/>
                <a:gd name="T36" fmla="*/ 35 w 900"/>
                <a:gd name="T37" fmla="*/ 625 h 899"/>
                <a:gd name="T38" fmla="*/ 14 w 900"/>
                <a:gd name="T39" fmla="*/ 562 h 899"/>
                <a:gd name="T40" fmla="*/ 2 w 900"/>
                <a:gd name="T41" fmla="*/ 496 h 899"/>
                <a:gd name="T42" fmla="*/ 0 w 900"/>
                <a:gd name="T43" fmla="*/ 427 h 899"/>
                <a:gd name="T44" fmla="*/ 8 w 900"/>
                <a:gd name="T45" fmla="*/ 358 h 899"/>
                <a:gd name="T46" fmla="*/ 26 w 900"/>
                <a:gd name="T47" fmla="*/ 295 h 899"/>
                <a:gd name="T48" fmla="*/ 54 w 900"/>
                <a:gd name="T49" fmla="*/ 235 h 899"/>
                <a:gd name="T50" fmla="*/ 89 w 900"/>
                <a:gd name="T51" fmla="*/ 181 h 899"/>
                <a:gd name="T52" fmla="*/ 132 w 900"/>
                <a:gd name="T53" fmla="*/ 132 h 899"/>
                <a:gd name="T54" fmla="*/ 181 w 900"/>
                <a:gd name="T55" fmla="*/ 89 h 899"/>
                <a:gd name="T56" fmla="*/ 235 w 900"/>
                <a:gd name="T57" fmla="*/ 54 h 899"/>
                <a:gd name="T58" fmla="*/ 295 w 900"/>
                <a:gd name="T59" fmla="*/ 26 h 899"/>
                <a:gd name="T60" fmla="*/ 359 w 900"/>
                <a:gd name="T61" fmla="*/ 8 h 899"/>
                <a:gd name="T62" fmla="*/ 427 w 900"/>
                <a:gd name="T63" fmla="*/ 0 h 899"/>
                <a:gd name="T64" fmla="*/ 496 w 900"/>
                <a:gd name="T65" fmla="*/ 2 h 899"/>
                <a:gd name="T66" fmla="*/ 562 w 900"/>
                <a:gd name="T67" fmla="*/ 13 h 899"/>
                <a:gd name="T68" fmla="*/ 625 w 900"/>
                <a:gd name="T69" fmla="*/ 35 h 899"/>
                <a:gd name="T70" fmla="*/ 683 w 900"/>
                <a:gd name="T71" fmla="*/ 65 h 899"/>
                <a:gd name="T72" fmla="*/ 736 w 900"/>
                <a:gd name="T73" fmla="*/ 102 h 899"/>
                <a:gd name="T74" fmla="*/ 783 w 900"/>
                <a:gd name="T75" fmla="*/ 147 h 899"/>
                <a:gd name="T76" fmla="*/ 823 w 900"/>
                <a:gd name="T77" fmla="*/ 198 h 899"/>
                <a:gd name="T78" fmla="*/ 856 w 900"/>
                <a:gd name="T79" fmla="*/ 254 h 899"/>
                <a:gd name="T80" fmla="*/ 880 w 900"/>
                <a:gd name="T81" fmla="*/ 316 h 899"/>
                <a:gd name="T82" fmla="*/ 895 w 900"/>
                <a:gd name="T83" fmla="*/ 381 h 899"/>
                <a:gd name="T84" fmla="*/ 900 w 900"/>
                <a:gd name="T85" fmla="*/ 450 h 8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00" h="899">
                  <a:moveTo>
                    <a:pt x="900" y="450"/>
                  </a:moveTo>
                  <a:lnTo>
                    <a:pt x="899" y="472"/>
                  </a:lnTo>
                  <a:lnTo>
                    <a:pt x="897" y="496"/>
                  </a:lnTo>
                  <a:lnTo>
                    <a:pt x="895" y="518"/>
                  </a:lnTo>
                  <a:lnTo>
                    <a:pt x="891" y="541"/>
                  </a:lnTo>
                  <a:lnTo>
                    <a:pt x="885" y="562"/>
                  </a:lnTo>
                  <a:lnTo>
                    <a:pt x="880" y="583"/>
                  </a:lnTo>
                  <a:lnTo>
                    <a:pt x="873" y="604"/>
                  </a:lnTo>
                  <a:lnTo>
                    <a:pt x="864" y="625"/>
                  </a:lnTo>
                  <a:lnTo>
                    <a:pt x="856" y="645"/>
                  </a:lnTo>
                  <a:lnTo>
                    <a:pt x="846" y="664"/>
                  </a:lnTo>
                  <a:lnTo>
                    <a:pt x="834" y="683"/>
                  </a:lnTo>
                  <a:lnTo>
                    <a:pt x="823" y="701"/>
                  </a:lnTo>
                  <a:lnTo>
                    <a:pt x="811" y="720"/>
                  </a:lnTo>
                  <a:lnTo>
                    <a:pt x="797" y="735"/>
                  </a:lnTo>
                  <a:lnTo>
                    <a:pt x="783" y="753"/>
                  </a:lnTo>
                  <a:lnTo>
                    <a:pt x="768" y="769"/>
                  </a:lnTo>
                  <a:lnTo>
                    <a:pt x="752" y="783"/>
                  </a:lnTo>
                  <a:lnTo>
                    <a:pt x="736" y="797"/>
                  </a:lnTo>
                  <a:lnTo>
                    <a:pt x="719" y="810"/>
                  </a:lnTo>
                  <a:lnTo>
                    <a:pt x="701" y="823"/>
                  </a:lnTo>
                  <a:lnTo>
                    <a:pt x="683" y="835"/>
                  </a:lnTo>
                  <a:lnTo>
                    <a:pt x="664" y="845"/>
                  </a:lnTo>
                  <a:lnTo>
                    <a:pt x="645" y="856"/>
                  </a:lnTo>
                  <a:lnTo>
                    <a:pt x="625" y="864"/>
                  </a:lnTo>
                  <a:lnTo>
                    <a:pt x="604" y="873"/>
                  </a:lnTo>
                  <a:lnTo>
                    <a:pt x="583" y="879"/>
                  </a:lnTo>
                  <a:lnTo>
                    <a:pt x="562" y="886"/>
                  </a:lnTo>
                  <a:lnTo>
                    <a:pt x="541" y="891"/>
                  </a:lnTo>
                  <a:lnTo>
                    <a:pt x="518" y="894"/>
                  </a:lnTo>
                  <a:lnTo>
                    <a:pt x="496" y="897"/>
                  </a:lnTo>
                  <a:lnTo>
                    <a:pt x="472" y="899"/>
                  </a:lnTo>
                  <a:lnTo>
                    <a:pt x="450" y="899"/>
                  </a:lnTo>
                  <a:lnTo>
                    <a:pt x="427" y="899"/>
                  </a:lnTo>
                  <a:lnTo>
                    <a:pt x="403" y="897"/>
                  </a:lnTo>
                  <a:lnTo>
                    <a:pt x="381" y="894"/>
                  </a:lnTo>
                  <a:lnTo>
                    <a:pt x="359" y="891"/>
                  </a:lnTo>
                  <a:lnTo>
                    <a:pt x="337" y="886"/>
                  </a:lnTo>
                  <a:lnTo>
                    <a:pt x="316" y="879"/>
                  </a:lnTo>
                  <a:lnTo>
                    <a:pt x="295" y="873"/>
                  </a:lnTo>
                  <a:lnTo>
                    <a:pt x="274" y="864"/>
                  </a:lnTo>
                  <a:lnTo>
                    <a:pt x="254" y="856"/>
                  </a:lnTo>
                  <a:lnTo>
                    <a:pt x="235" y="845"/>
                  </a:lnTo>
                  <a:lnTo>
                    <a:pt x="216" y="835"/>
                  </a:lnTo>
                  <a:lnTo>
                    <a:pt x="198" y="823"/>
                  </a:lnTo>
                  <a:lnTo>
                    <a:pt x="181" y="810"/>
                  </a:lnTo>
                  <a:lnTo>
                    <a:pt x="164" y="797"/>
                  </a:lnTo>
                  <a:lnTo>
                    <a:pt x="147" y="783"/>
                  </a:lnTo>
                  <a:lnTo>
                    <a:pt x="132" y="769"/>
                  </a:lnTo>
                  <a:lnTo>
                    <a:pt x="117" y="753"/>
                  </a:lnTo>
                  <a:lnTo>
                    <a:pt x="102" y="735"/>
                  </a:lnTo>
                  <a:lnTo>
                    <a:pt x="89" y="720"/>
                  </a:lnTo>
                  <a:lnTo>
                    <a:pt x="76" y="701"/>
                  </a:lnTo>
                  <a:lnTo>
                    <a:pt x="65" y="683"/>
                  </a:lnTo>
                  <a:lnTo>
                    <a:pt x="54" y="664"/>
                  </a:lnTo>
                  <a:lnTo>
                    <a:pt x="45" y="645"/>
                  </a:lnTo>
                  <a:lnTo>
                    <a:pt x="35" y="625"/>
                  </a:lnTo>
                  <a:lnTo>
                    <a:pt x="26" y="604"/>
                  </a:lnTo>
                  <a:lnTo>
                    <a:pt x="20" y="583"/>
                  </a:lnTo>
                  <a:lnTo>
                    <a:pt x="14" y="562"/>
                  </a:lnTo>
                  <a:lnTo>
                    <a:pt x="8" y="541"/>
                  </a:lnTo>
                  <a:lnTo>
                    <a:pt x="5" y="518"/>
                  </a:lnTo>
                  <a:lnTo>
                    <a:pt x="2" y="496"/>
                  </a:lnTo>
                  <a:lnTo>
                    <a:pt x="0" y="472"/>
                  </a:lnTo>
                  <a:lnTo>
                    <a:pt x="0" y="450"/>
                  </a:lnTo>
                  <a:lnTo>
                    <a:pt x="0" y="427"/>
                  </a:lnTo>
                  <a:lnTo>
                    <a:pt x="2" y="403"/>
                  </a:lnTo>
                  <a:lnTo>
                    <a:pt x="5" y="381"/>
                  </a:lnTo>
                  <a:lnTo>
                    <a:pt x="8" y="358"/>
                  </a:lnTo>
                  <a:lnTo>
                    <a:pt x="14" y="337"/>
                  </a:lnTo>
                  <a:lnTo>
                    <a:pt x="20" y="316"/>
                  </a:lnTo>
                  <a:lnTo>
                    <a:pt x="26" y="295"/>
                  </a:lnTo>
                  <a:lnTo>
                    <a:pt x="35" y="274"/>
                  </a:lnTo>
                  <a:lnTo>
                    <a:pt x="45" y="254"/>
                  </a:lnTo>
                  <a:lnTo>
                    <a:pt x="54" y="235"/>
                  </a:lnTo>
                  <a:lnTo>
                    <a:pt x="65" y="216"/>
                  </a:lnTo>
                  <a:lnTo>
                    <a:pt x="76" y="198"/>
                  </a:lnTo>
                  <a:lnTo>
                    <a:pt x="89" y="181"/>
                  </a:lnTo>
                  <a:lnTo>
                    <a:pt x="102" y="164"/>
                  </a:lnTo>
                  <a:lnTo>
                    <a:pt x="117" y="147"/>
                  </a:lnTo>
                  <a:lnTo>
                    <a:pt x="132" y="132"/>
                  </a:lnTo>
                  <a:lnTo>
                    <a:pt x="147" y="117"/>
                  </a:lnTo>
                  <a:lnTo>
                    <a:pt x="164" y="102"/>
                  </a:lnTo>
                  <a:lnTo>
                    <a:pt x="181" y="89"/>
                  </a:lnTo>
                  <a:lnTo>
                    <a:pt x="198" y="76"/>
                  </a:lnTo>
                  <a:lnTo>
                    <a:pt x="216" y="65"/>
                  </a:lnTo>
                  <a:lnTo>
                    <a:pt x="235" y="54"/>
                  </a:lnTo>
                  <a:lnTo>
                    <a:pt x="254" y="43"/>
                  </a:lnTo>
                  <a:lnTo>
                    <a:pt x="274" y="35"/>
                  </a:lnTo>
                  <a:lnTo>
                    <a:pt x="295" y="26"/>
                  </a:lnTo>
                  <a:lnTo>
                    <a:pt x="316" y="20"/>
                  </a:lnTo>
                  <a:lnTo>
                    <a:pt x="337" y="13"/>
                  </a:lnTo>
                  <a:lnTo>
                    <a:pt x="359" y="8"/>
                  </a:lnTo>
                  <a:lnTo>
                    <a:pt x="381" y="5"/>
                  </a:lnTo>
                  <a:lnTo>
                    <a:pt x="403" y="2"/>
                  </a:lnTo>
                  <a:lnTo>
                    <a:pt x="427" y="0"/>
                  </a:lnTo>
                  <a:lnTo>
                    <a:pt x="450" y="0"/>
                  </a:lnTo>
                  <a:lnTo>
                    <a:pt x="472" y="0"/>
                  </a:lnTo>
                  <a:lnTo>
                    <a:pt x="496" y="2"/>
                  </a:lnTo>
                  <a:lnTo>
                    <a:pt x="518" y="5"/>
                  </a:lnTo>
                  <a:lnTo>
                    <a:pt x="541" y="8"/>
                  </a:lnTo>
                  <a:lnTo>
                    <a:pt x="562" y="13"/>
                  </a:lnTo>
                  <a:lnTo>
                    <a:pt x="583" y="20"/>
                  </a:lnTo>
                  <a:lnTo>
                    <a:pt x="604" y="26"/>
                  </a:lnTo>
                  <a:lnTo>
                    <a:pt x="625" y="35"/>
                  </a:lnTo>
                  <a:lnTo>
                    <a:pt x="645" y="43"/>
                  </a:lnTo>
                  <a:lnTo>
                    <a:pt x="664" y="54"/>
                  </a:lnTo>
                  <a:lnTo>
                    <a:pt x="683" y="65"/>
                  </a:lnTo>
                  <a:lnTo>
                    <a:pt x="701" y="76"/>
                  </a:lnTo>
                  <a:lnTo>
                    <a:pt x="719" y="89"/>
                  </a:lnTo>
                  <a:lnTo>
                    <a:pt x="736" y="102"/>
                  </a:lnTo>
                  <a:lnTo>
                    <a:pt x="752" y="117"/>
                  </a:lnTo>
                  <a:lnTo>
                    <a:pt x="768" y="132"/>
                  </a:lnTo>
                  <a:lnTo>
                    <a:pt x="783" y="147"/>
                  </a:lnTo>
                  <a:lnTo>
                    <a:pt x="797" y="164"/>
                  </a:lnTo>
                  <a:lnTo>
                    <a:pt x="811" y="181"/>
                  </a:lnTo>
                  <a:lnTo>
                    <a:pt x="823" y="198"/>
                  </a:lnTo>
                  <a:lnTo>
                    <a:pt x="834" y="216"/>
                  </a:lnTo>
                  <a:lnTo>
                    <a:pt x="846" y="235"/>
                  </a:lnTo>
                  <a:lnTo>
                    <a:pt x="856" y="254"/>
                  </a:lnTo>
                  <a:lnTo>
                    <a:pt x="864" y="274"/>
                  </a:lnTo>
                  <a:lnTo>
                    <a:pt x="873" y="295"/>
                  </a:lnTo>
                  <a:lnTo>
                    <a:pt x="880" y="316"/>
                  </a:lnTo>
                  <a:lnTo>
                    <a:pt x="885" y="337"/>
                  </a:lnTo>
                  <a:lnTo>
                    <a:pt x="891" y="358"/>
                  </a:lnTo>
                  <a:lnTo>
                    <a:pt x="895" y="381"/>
                  </a:lnTo>
                  <a:lnTo>
                    <a:pt x="897" y="403"/>
                  </a:lnTo>
                  <a:lnTo>
                    <a:pt x="899" y="427"/>
                  </a:lnTo>
                  <a:lnTo>
                    <a:pt x="900" y="450"/>
                  </a:lnTo>
                  <a:close/>
                </a:path>
              </a:pathLst>
            </a:custGeom>
            <a:solidFill>
              <a:srgbClr val="BCBCBC">
                <a:alpha val="19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5" name="Freeform 103">
              <a:extLst>
                <a:ext uri="{FF2B5EF4-FFF2-40B4-BE49-F238E27FC236}">
                  <a16:creationId xmlns:a16="http://schemas.microsoft.com/office/drawing/2014/main" id="{17BC0F06-4C49-406E-9F1C-C6D0F4ECD244}"/>
                </a:ext>
              </a:extLst>
            </p:cNvPr>
            <p:cNvSpPr>
              <a:spLocks/>
            </p:cNvSpPr>
            <p:nvPr/>
          </p:nvSpPr>
          <p:spPr bwMode="auto">
            <a:xfrm>
              <a:off x="5041900" y="2579688"/>
              <a:ext cx="285750" cy="285750"/>
            </a:xfrm>
            <a:custGeom>
              <a:avLst/>
              <a:gdLst>
                <a:gd name="T0" fmla="*/ 897 w 900"/>
                <a:gd name="T1" fmla="*/ 498 h 901"/>
                <a:gd name="T2" fmla="*/ 886 w 900"/>
                <a:gd name="T3" fmla="*/ 564 h 901"/>
                <a:gd name="T4" fmla="*/ 864 w 900"/>
                <a:gd name="T5" fmla="*/ 627 h 901"/>
                <a:gd name="T6" fmla="*/ 835 w 900"/>
                <a:gd name="T7" fmla="*/ 685 h 901"/>
                <a:gd name="T8" fmla="*/ 797 w 900"/>
                <a:gd name="T9" fmla="*/ 737 h 901"/>
                <a:gd name="T10" fmla="*/ 753 w 900"/>
                <a:gd name="T11" fmla="*/ 784 h 901"/>
                <a:gd name="T12" fmla="*/ 702 w 900"/>
                <a:gd name="T13" fmla="*/ 825 h 901"/>
                <a:gd name="T14" fmla="*/ 645 w 900"/>
                <a:gd name="T15" fmla="*/ 857 h 901"/>
                <a:gd name="T16" fmla="*/ 583 w 900"/>
                <a:gd name="T17" fmla="*/ 881 h 901"/>
                <a:gd name="T18" fmla="*/ 519 w 900"/>
                <a:gd name="T19" fmla="*/ 896 h 901"/>
                <a:gd name="T20" fmla="*/ 450 w 900"/>
                <a:gd name="T21" fmla="*/ 901 h 901"/>
                <a:gd name="T22" fmla="*/ 381 w 900"/>
                <a:gd name="T23" fmla="*/ 896 h 901"/>
                <a:gd name="T24" fmla="*/ 316 w 900"/>
                <a:gd name="T25" fmla="*/ 881 h 901"/>
                <a:gd name="T26" fmla="*/ 255 w 900"/>
                <a:gd name="T27" fmla="*/ 857 h 901"/>
                <a:gd name="T28" fmla="*/ 198 w 900"/>
                <a:gd name="T29" fmla="*/ 825 h 901"/>
                <a:gd name="T30" fmla="*/ 147 w 900"/>
                <a:gd name="T31" fmla="*/ 784 h 901"/>
                <a:gd name="T32" fmla="*/ 102 w 900"/>
                <a:gd name="T33" fmla="*/ 737 h 901"/>
                <a:gd name="T34" fmla="*/ 65 w 900"/>
                <a:gd name="T35" fmla="*/ 685 h 901"/>
                <a:gd name="T36" fmla="*/ 35 w 900"/>
                <a:gd name="T37" fmla="*/ 627 h 901"/>
                <a:gd name="T38" fmla="*/ 14 w 900"/>
                <a:gd name="T39" fmla="*/ 564 h 901"/>
                <a:gd name="T40" fmla="*/ 2 w 900"/>
                <a:gd name="T41" fmla="*/ 498 h 901"/>
                <a:gd name="T42" fmla="*/ 0 w 900"/>
                <a:gd name="T43" fmla="*/ 429 h 901"/>
                <a:gd name="T44" fmla="*/ 9 w 900"/>
                <a:gd name="T45" fmla="*/ 360 h 901"/>
                <a:gd name="T46" fmla="*/ 27 w 900"/>
                <a:gd name="T47" fmla="*/ 296 h 901"/>
                <a:gd name="T48" fmla="*/ 54 w 900"/>
                <a:gd name="T49" fmla="*/ 237 h 901"/>
                <a:gd name="T50" fmla="*/ 90 w 900"/>
                <a:gd name="T51" fmla="*/ 181 h 901"/>
                <a:gd name="T52" fmla="*/ 132 w 900"/>
                <a:gd name="T53" fmla="*/ 132 h 901"/>
                <a:gd name="T54" fmla="*/ 181 w 900"/>
                <a:gd name="T55" fmla="*/ 90 h 901"/>
                <a:gd name="T56" fmla="*/ 235 w 900"/>
                <a:gd name="T57" fmla="*/ 55 h 901"/>
                <a:gd name="T58" fmla="*/ 295 w 900"/>
                <a:gd name="T59" fmla="*/ 28 h 901"/>
                <a:gd name="T60" fmla="*/ 359 w 900"/>
                <a:gd name="T61" fmla="*/ 10 h 901"/>
                <a:gd name="T62" fmla="*/ 427 w 900"/>
                <a:gd name="T63" fmla="*/ 1 h 901"/>
                <a:gd name="T64" fmla="*/ 496 w 900"/>
                <a:gd name="T65" fmla="*/ 4 h 901"/>
                <a:gd name="T66" fmla="*/ 562 w 900"/>
                <a:gd name="T67" fmla="*/ 15 h 901"/>
                <a:gd name="T68" fmla="*/ 625 w 900"/>
                <a:gd name="T69" fmla="*/ 37 h 901"/>
                <a:gd name="T70" fmla="*/ 683 w 900"/>
                <a:gd name="T71" fmla="*/ 66 h 901"/>
                <a:gd name="T72" fmla="*/ 737 w 900"/>
                <a:gd name="T73" fmla="*/ 104 h 901"/>
                <a:gd name="T74" fmla="*/ 784 w 900"/>
                <a:gd name="T75" fmla="*/ 148 h 901"/>
                <a:gd name="T76" fmla="*/ 823 w 900"/>
                <a:gd name="T77" fmla="*/ 200 h 901"/>
                <a:gd name="T78" fmla="*/ 856 w 900"/>
                <a:gd name="T79" fmla="*/ 256 h 901"/>
                <a:gd name="T80" fmla="*/ 879 w 900"/>
                <a:gd name="T81" fmla="*/ 318 h 901"/>
                <a:gd name="T82" fmla="*/ 895 w 900"/>
                <a:gd name="T83" fmla="*/ 383 h 901"/>
                <a:gd name="T84" fmla="*/ 900 w 900"/>
                <a:gd name="T85" fmla="*/ 451 h 9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00" h="901">
                  <a:moveTo>
                    <a:pt x="900" y="451"/>
                  </a:moveTo>
                  <a:lnTo>
                    <a:pt x="900" y="474"/>
                  </a:lnTo>
                  <a:lnTo>
                    <a:pt x="897" y="498"/>
                  </a:lnTo>
                  <a:lnTo>
                    <a:pt x="895" y="520"/>
                  </a:lnTo>
                  <a:lnTo>
                    <a:pt x="891" y="542"/>
                  </a:lnTo>
                  <a:lnTo>
                    <a:pt x="886" y="564"/>
                  </a:lnTo>
                  <a:lnTo>
                    <a:pt x="879" y="585"/>
                  </a:lnTo>
                  <a:lnTo>
                    <a:pt x="873" y="606"/>
                  </a:lnTo>
                  <a:lnTo>
                    <a:pt x="864" y="627"/>
                  </a:lnTo>
                  <a:lnTo>
                    <a:pt x="856" y="647"/>
                  </a:lnTo>
                  <a:lnTo>
                    <a:pt x="845" y="666"/>
                  </a:lnTo>
                  <a:lnTo>
                    <a:pt x="835" y="685"/>
                  </a:lnTo>
                  <a:lnTo>
                    <a:pt x="823" y="703"/>
                  </a:lnTo>
                  <a:lnTo>
                    <a:pt x="810" y="720"/>
                  </a:lnTo>
                  <a:lnTo>
                    <a:pt x="797" y="737"/>
                  </a:lnTo>
                  <a:lnTo>
                    <a:pt x="784" y="754"/>
                  </a:lnTo>
                  <a:lnTo>
                    <a:pt x="769" y="769"/>
                  </a:lnTo>
                  <a:lnTo>
                    <a:pt x="753" y="784"/>
                  </a:lnTo>
                  <a:lnTo>
                    <a:pt x="737" y="799"/>
                  </a:lnTo>
                  <a:lnTo>
                    <a:pt x="720" y="812"/>
                  </a:lnTo>
                  <a:lnTo>
                    <a:pt x="702" y="825"/>
                  </a:lnTo>
                  <a:lnTo>
                    <a:pt x="683" y="836"/>
                  </a:lnTo>
                  <a:lnTo>
                    <a:pt x="664" y="847"/>
                  </a:lnTo>
                  <a:lnTo>
                    <a:pt x="645" y="857"/>
                  </a:lnTo>
                  <a:lnTo>
                    <a:pt x="625" y="866"/>
                  </a:lnTo>
                  <a:lnTo>
                    <a:pt x="605" y="875"/>
                  </a:lnTo>
                  <a:lnTo>
                    <a:pt x="583" y="881"/>
                  </a:lnTo>
                  <a:lnTo>
                    <a:pt x="562" y="888"/>
                  </a:lnTo>
                  <a:lnTo>
                    <a:pt x="541" y="893"/>
                  </a:lnTo>
                  <a:lnTo>
                    <a:pt x="519" y="896"/>
                  </a:lnTo>
                  <a:lnTo>
                    <a:pt x="496" y="899"/>
                  </a:lnTo>
                  <a:lnTo>
                    <a:pt x="473" y="901"/>
                  </a:lnTo>
                  <a:lnTo>
                    <a:pt x="450" y="901"/>
                  </a:lnTo>
                  <a:lnTo>
                    <a:pt x="427" y="901"/>
                  </a:lnTo>
                  <a:lnTo>
                    <a:pt x="404" y="899"/>
                  </a:lnTo>
                  <a:lnTo>
                    <a:pt x="381" y="896"/>
                  </a:lnTo>
                  <a:lnTo>
                    <a:pt x="359" y="893"/>
                  </a:lnTo>
                  <a:lnTo>
                    <a:pt x="338" y="888"/>
                  </a:lnTo>
                  <a:lnTo>
                    <a:pt x="316" y="881"/>
                  </a:lnTo>
                  <a:lnTo>
                    <a:pt x="295" y="875"/>
                  </a:lnTo>
                  <a:lnTo>
                    <a:pt x="275" y="866"/>
                  </a:lnTo>
                  <a:lnTo>
                    <a:pt x="255" y="857"/>
                  </a:lnTo>
                  <a:lnTo>
                    <a:pt x="235" y="847"/>
                  </a:lnTo>
                  <a:lnTo>
                    <a:pt x="216" y="836"/>
                  </a:lnTo>
                  <a:lnTo>
                    <a:pt x="198" y="825"/>
                  </a:lnTo>
                  <a:lnTo>
                    <a:pt x="181" y="812"/>
                  </a:lnTo>
                  <a:lnTo>
                    <a:pt x="164" y="799"/>
                  </a:lnTo>
                  <a:lnTo>
                    <a:pt x="147" y="784"/>
                  </a:lnTo>
                  <a:lnTo>
                    <a:pt x="132" y="769"/>
                  </a:lnTo>
                  <a:lnTo>
                    <a:pt x="117" y="754"/>
                  </a:lnTo>
                  <a:lnTo>
                    <a:pt x="102" y="737"/>
                  </a:lnTo>
                  <a:lnTo>
                    <a:pt x="90" y="720"/>
                  </a:lnTo>
                  <a:lnTo>
                    <a:pt x="77" y="703"/>
                  </a:lnTo>
                  <a:lnTo>
                    <a:pt x="65" y="685"/>
                  </a:lnTo>
                  <a:lnTo>
                    <a:pt x="54" y="666"/>
                  </a:lnTo>
                  <a:lnTo>
                    <a:pt x="44" y="647"/>
                  </a:lnTo>
                  <a:lnTo>
                    <a:pt x="35" y="627"/>
                  </a:lnTo>
                  <a:lnTo>
                    <a:pt x="27" y="606"/>
                  </a:lnTo>
                  <a:lnTo>
                    <a:pt x="20" y="585"/>
                  </a:lnTo>
                  <a:lnTo>
                    <a:pt x="14" y="564"/>
                  </a:lnTo>
                  <a:lnTo>
                    <a:pt x="9" y="542"/>
                  </a:lnTo>
                  <a:lnTo>
                    <a:pt x="5" y="520"/>
                  </a:lnTo>
                  <a:lnTo>
                    <a:pt x="2" y="498"/>
                  </a:lnTo>
                  <a:lnTo>
                    <a:pt x="0" y="474"/>
                  </a:lnTo>
                  <a:lnTo>
                    <a:pt x="0" y="451"/>
                  </a:lnTo>
                  <a:lnTo>
                    <a:pt x="0" y="429"/>
                  </a:lnTo>
                  <a:lnTo>
                    <a:pt x="2" y="405"/>
                  </a:lnTo>
                  <a:lnTo>
                    <a:pt x="5" y="383"/>
                  </a:lnTo>
                  <a:lnTo>
                    <a:pt x="9" y="360"/>
                  </a:lnTo>
                  <a:lnTo>
                    <a:pt x="14" y="339"/>
                  </a:lnTo>
                  <a:lnTo>
                    <a:pt x="20" y="318"/>
                  </a:lnTo>
                  <a:lnTo>
                    <a:pt x="27" y="296"/>
                  </a:lnTo>
                  <a:lnTo>
                    <a:pt x="35" y="276"/>
                  </a:lnTo>
                  <a:lnTo>
                    <a:pt x="44" y="256"/>
                  </a:lnTo>
                  <a:lnTo>
                    <a:pt x="54" y="237"/>
                  </a:lnTo>
                  <a:lnTo>
                    <a:pt x="65" y="218"/>
                  </a:lnTo>
                  <a:lnTo>
                    <a:pt x="77" y="200"/>
                  </a:lnTo>
                  <a:lnTo>
                    <a:pt x="90" y="181"/>
                  </a:lnTo>
                  <a:lnTo>
                    <a:pt x="102" y="164"/>
                  </a:lnTo>
                  <a:lnTo>
                    <a:pt x="117" y="148"/>
                  </a:lnTo>
                  <a:lnTo>
                    <a:pt x="132" y="132"/>
                  </a:lnTo>
                  <a:lnTo>
                    <a:pt x="147" y="118"/>
                  </a:lnTo>
                  <a:lnTo>
                    <a:pt x="164" y="104"/>
                  </a:lnTo>
                  <a:lnTo>
                    <a:pt x="181" y="90"/>
                  </a:lnTo>
                  <a:lnTo>
                    <a:pt x="198" y="78"/>
                  </a:lnTo>
                  <a:lnTo>
                    <a:pt x="216" y="66"/>
                  </a:lnTo>
                  <a:lnTo>
                    <a:pt x="235" y="55"/>
                  </a:lnTo>
                  <a:lnTo>
                    <a:pt x="255" y="45"/>
                  </a:lnTo>
                  <a:lnTo>
                    <a:pt x="275" y="37"/>
                  </a:lnTo>
                  <a:lnTo>
                    <a:pt x="295" y="28"/>
                  </a:lnTo>
                  <a:lnTo>
                    <a:pt x="316" y="21"/>
                  </a:lnTo>
                  <a:lnTo>
                    <a:pt x="338" y="15"/>
                  </a:lnTo>
                  <a:lnTo>
                    <a:pt x="359" y="10"/>
                  </a:lnTo>
                  <a:lnTo>
                    <a:pt x="381" y="6"/>
                  </a:lnTo>
                  <a:lnTo>
                    <a:pt x="404" y="4"/>
                  </a:lnTo>
                  <a:lnTo>
                    <a:pt x="427" y="1"/>
                  </a:lnTo>
                  <a:lnTo>
                    <a:pt x="450" y="0"/>
                  </a:lnTo>
                  <a:lnTo>
                    <a:pt x="473" y="1"/>
                  </a:lnTo>
                  <a:lnTo>
                    <a:pt x="496" y="4"/>
                  </a:lnTo>
                  <a:lnTo>
                    <a:pt x="519" y="6"/>
                  </a:lnTo>
                  <a:lnTo>
                    <a:pt x="541" y="10"/>
                  </a:lnTo>
                  <a:lnTo>
                    <a:pt x="562" y="15"/>
                  </a:lnTo>
                  <a:lnTo>
                    <a:pt x="583" y="21"/>
                  </a:lnTo>
                  <a:lnTo>
                    <a:pt x="605" y="28"/>
                  </a:lnTo>
                  <a:lnTo>
                    <a:pt x="625" y="37"/>
                  </a:lnTo>
                  <a:lnTo>
                    <a:pt x="645" y="45"/>
                  </a:lnTo>
                  <a:lnTo>
                    <a:pt x="664" y="55"/>
                  </a:lnTo>
                  <a:lnTo>
                    <a:pt x="683" y="66"/>
                  </a:lnTo>
                  <a:lnTo>
                    <a:pt x="702" y="78"/>
                  </a:lnTo>
                  <a:lnTo>
                    <a:pt x="720" y="90"/>
                  </a:lnTo>
                  <a:lnTo>
                    <a:pt x="737" y="104"/>
                  </a:lnTo>
                  <a:lnTo>
                    <a:pt x="753" y="118"/>
                  </a:lnTo>
                  <a:lnTo>
                    <a:pt x="769" y="132"/>
                  </a:lnTo>
                  <a:lnTo>
                    <a:pt x="784" y="148"/>
                  </a:lnTo>
                  <a:lnTo>
                    <a:pt x="797" y="164"/>
                  </a:lnTo>
                  <a:lnTo>
                    <a:pt x="810" y="181"/>
                  </a:lnTo>
                  <a:lnTo>
                    <a:pt x="823" y="200"/>
                  </a:lnTo>
                  <a:lnTo>
                    <a:pt x="835" y="218"/>
                  </a:lnTo>
                  <a:lnTo>
                    <a:pt x="845" y="237"/>
                  </a:lnTo>
                  <a:lnTo>
                    <a:pt x="856" y="256"/>
                  </a:lnTo>
                  <a:lnTo>
                    <a:pt x="864" y="276"/>
                  </a:lnTo>
                  <a:lnTo>
                    <a:pt x="873" y="296"/>
                  </a:lnTo>
                  <a:lnTo>
                    <a:pt x="879" y="318"/>
                  </a:lnTo>
                  <a:lnTo>
                    <a:pt x="886" y="339"/>
                  </a:lnTo>
                  <a:lnTo>
                    <a:pt x="891" y="360"/>
                  </a:lnTo>
                  <a:lnTo>
                    <a:pt x="895" y="383"/>
                  </a:lnTo>
                  <a:lnTo>
                    <a:pt x="897" y="405"/>
                  </a:lnTo>
                  <a:lnTo>
                    <a:pt x="900" y="429"/>
                  </a:lnTo>
                  <a:lnTo>
                    <a:pt x="900" y="451"/>
                  </a:lnTo>
                  <a:close/>
                </a:path>
              </a:pathLst>
            </a:custGeom>
            <a:solidFill>
              <a:srgbClr val="BCBCBC">
                <a:alpha val="19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6" name="Freeform 104">
              <a:extLst>
                <a:ext uri="{FF2B5EF4-FFF2-40B4-BE49-F238E27FC236}">
                  <a16:creationId xmlns:a16="http://schemas.microsoft.com/office/drawing/2014/main" id="{2C18403E-BAF7-4B23-8168-C27C3C1B1890}"/>
                </a:ext>
              </a:extLst>
            </p:cNvPr>
            <p:cNvSpPr>
              <a:spLocks/>
            </p:cNvSpPr>
            <p:nvPr/>
          </p:nvSpPr>
          <p:spPr bwMode="auto">
            <a:xfrm>
              <a:off x="4432300" y="3686175"/>
              <a:ext cx="355600" cy="357188"/>
            </a:xfrm>
            <a:custGeom>
              <a:avLst/>
              <a:gdLst>
                <a:gd name="T0" fmla="*/ 1119 w 1122"/>
                <a:gd name="T1" fmla="*/ 618 h 1123"/>
                <a:gd name="T2" fmla="*/ 1104 w 1122"/>
                <a:gd name="T3" fmla="*/ 701 h 1123"/>
                <a:gd name="T4" fmla="*/ 1078 w 1122"/>
                <a:gd name="T5" fmla="*/ 780 h 1123"/>
                <a:gd name="T6" fmla="*/ 1041 w 1122"/>
                <a:gd name="T7" fmla="*/ 852 h 1123"/>
                <a:gd name="T8" fmla="*/ 994 w 1122"/>
                <a:gd name="T9" fmla="*/ 918 h 1123"/>
                <a:gd name="T10" fmla="*/ 938 w 1122"/>
                <a:gd name="T11" fmla="*/ 977 h 1123"/>
                <a:gd name="T12" fmla="*/ 875 w 1122"/>
                <a:gd name="T13" fmla="*/ 1027 h 1123"/>
                <a:gd name="T14" fmla="*/ 804 w 1122"/>
                <a:gd name="T15" fmla="*/ 1067 h 1123"/>
                <a:gd name="T16" fmla="*/ 728 w 1122"/>
                <a:gd name="T17" fmla="*/ 1097 h 1123"/>
                <a:gd name="T18" fmla="*/ 646 w 1122"/>
                <a:gd name="T19" fmla="*/ 1115 h 1123"/>
                <a:gd name="T20" fmla="*/ 561 w 1122"/>
                <a:gd name="T21" fmla="*/ 1123 h 1123"/>
                <a:gd name="T22" fmla="*/ 476 w 1122"/>
                <a:gd name="T23" fmla="*/ 1115 h 1123"/>
                <a:gd name="T24" fmla="*/ 394 w 1122"/>
                <a:gd name="T25" fmla="*/ 1097 h 1123"/>
                <a:gd name="T26" fmla="*/ 318 w 1122"/>
                <a:gd name="T27" fmla="*/ 1067 h 1123"/>
                <a:gd name="T28" fmla="*/ 247 w 1122"/>
                <a:gd name="T29" fmla="*/ 1027 h 1123"/>
                <a:gd name="T30" fmla="*/ 184 w 1122"/>
                <a:gd name="T31" fmla="*/ 977 h 1123"/>
                <a:gd name="T32" fmla="*/ 128 w 1122"/>
                <a:gd name="T33" fmla="*/ 918 h 1123"/>
                <a:gd name="T34" fmla="*/ 81 w 1122"/>
                <a:gd name="T35" fmla="*/ 852 h 1123"/>
                <a:gd name="T36" fmla="*/ 44 w 1122"/>
                <a:gd name="T37" fmla="*/ 780 h 1123"/>
                <a:gd name="T38" fmla="*/ 18 w 1122"/>
                <a:gd name="T39" fmla="*/ 701 h 1123"/>
                <a:gd name="T40" fmla="*/ 3 w 1122"/>
                <a:gd name="T41" fmla="*/ 618 h 1123"/>
                <a:gd name="T42" fmla="*/ 1 w 1122"/>
                <a:gd name="T43" fmla="*/ 532 h 1123"/>
                <a:gd name="T44" fmla="*/ 12 w 1122"/>
                <a:gd name="T45" fmla="*/ 447 h 1123"/>
                <a:gd name="T46" fmla="*/ 34 w 1122"/>
                <a:gd name="T47" fmla="*/ 368 h 1123"/>
                <a:gd name="T48" fmla="*/ 68 w 1122"/>
                <a:gd name="T49" fmla="*/ 293 h 1123"/>
                <a:gd name="T50" fmla="*/ 112 w 1122"/>
                <a:gd name="T51" fmla="*/ 225 h 1123"/>
                <a:gd name="T52" fmla="*/ 164 w 1122"/>
                <a:gd name="T53" fmla="*/ 164 h 1123"/>
                <a:gd name="T54" fmla="*/ 226 w 1122"/>
                <a:gd name="T55" fmla="*/ 111 h 1123"/>
                <a:gd name="T56" fmla="*/ 294 w 1122"/>
                <a:gd name="T57" fmla="*/ 67 h 1123"/>
                <a:gd name="T58" fmla="*/ 368 w 1122"/>
                <a:gd name="T59" fmla="*/ 33 h 1123"/>
                <a:gd name="T60" fmla="*/ 448 w 1122"/>
                <a:gd name="T61" fmla="*/ 11 h 1123"/>
                <a:gd name="T62" fmla="*/ 532 w 1122"/>
                <a:gd name="T63" fmla="*/ 0 h 1123"/>
                <a:gd name="T64" fmla="*/ 618 w 1122"/>
                <a:gd name="T65" fmla="*/ 2 h 1123"/>
                <a:gd name="T66" fmla="*/ 701 w 1122"/>
                <a:gd name="T67" fmla="*/ 17 h 1123"/>
                <a:gd name="T68" fmla="*/ 779 w 1122"/>
                <a:gd name="T69" fmla="*/ 44 h 1123"/>
                <a:gd name="T70" fmla="*/ 852 w 1122"/>
                <a:gd name="T71" fmla="*/ 81 h 1123"/>
                <a:gd name="T72" fmla="*/ 918 w 1122"/>
                <a:gd name="T73" fmla="*/ 128 h 1123"/>
                <a:gd name="T74" fmla="*/ 976 w 1122"/>
                <a:gd name="T75" fmla="*/ 183 h 1123"/>
                <a:gd name="T76" fmla="*/ 1026 w 1122"/>
                <a:gd name="T77" fmla="*/ 247 h 1123"/>
                <a:gd name="T78" fmla="*/ 1067 w 1122"/>
                <a:gd name="T79" fmla="*/ 317 h 1123"/>
                <a:gd name="T80" fmla="*/ 1096 w 1122"/>
                <a:gd name="T81" fmla="*/ 394 h 1123"/>
                <a:gd name="T82" fmla="*/ 1115 w 1122"/>
                <a:gd name="T83" fmla="*/ 475 h 1123"/>
                <a:gd name="T84" fmla="*/ 1122 w 1122"/>
                <a:gd name="T85" fmla="*/ 561 h 1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122" h="1123">
                  <a:moveTo>
                    <a:pt x="1122" y="561"/>
                  </a:moveTo>
                  <a:lnTo>
                    <a:pt x="1121" y="590"/>
                  </a:lnTo>
                  <a:lnTo>
                    <a:pt x="1119" y="618"/>
                  </a:lnTo>
                  <a:lnTo>
                    <a:pt x="1115" y="647"/>
                  </a:lnTo>
                  <a:lnTo>
                    <a:pt x="1110" y="674"/>
                  </a:lnTo>
                  <a:lnTo>
                    <a:pt x="1104" y="701"/>
                  </a:lnTo>
                  <a:lnTo>
                    <a:pt x="1096" y="727"/>
                  </a:lnTo>
                  <a:lnTo>
                    <a:pt x="1088" y="754"/>
                  </a:lnTo>
                  <a:lnTo>
                    <a:pt x="1078" y="780"/>
                  </a:lnTo>
                  <a:lnTo>
                    <a:pt x="1067" y="804"/>
                  </a:lnTo>
                  <a:lnTo>
                    <a:pt x="1054" y="829"/>
                  </a:lnTo>
                  <a:lnTo>
                    <a:pt x="1041" y="852"/>
                  </a:lnTo>
                  <a:lnTo>
                    <a:pt x="1026" y="874"/>
                  </a:lnTo>
                  <a:lnTo>
                    <a:pt x="1010" y="897"/>
                  </a:lnTo>
                  <a:lnTo>
                    <a:pt x="994" y="918"/>
                  </a:lnTo>
                  <a:lnTo>
                    <a:pt x="976" y="938"/>
                  </a:lnTo>
                  <a:lnTo>
                    <a:pt x="958" y="958"/>
                  </a:lnTo>
                  <a:lnTo>
                    <a:pt x="938" y="977"/>
                  </a:lnTo>
                  <a:lnTo>
                    <a:pt x="918" y="994"/>
                  </a:lnTo>
                  <a:lnTo>
                    <a:pt x="896" y="1011"/>
                  </a:lnTo>
                  <a:lnTo>
                    <a:pt x="875" y="1027"/>
                  </a:lnTo>
                  <a:lnTo>
                    <a:pt x="852" y="1041"/>
                  </a:lnTo>
                  <a:lnTo>
                    <a:pt x="828" y="1054"/>
                  </a:lnTo>
                  <a:lnTo>
                    <a:pt x="804" y="1067"/>
                  </a:lnTo>
                  <a:lnTo>
                    <a:pt x="779" y="1078"/>
                  </a:lnTo>
                  <a:lnTo>
                    <a:pt x="754" y="1089"/>
                  </a:lnTo>
                  <a:lnTo>
                    <a:pt x="728" y="1097"/>
                  </a:lnTo>
                  <a:lnTo>
                    <a:pt x="701" y="1104"/>
                  </a:lnTo>
                  <a:lnTo>
                    <a:pt x="674" y="1111"/>
                  </a:lnTo>
                  <a:lnTo>
                    <a:pt x="646" y="1115"/>
                  </a:lnTo>
                  <a:lnTo>
                    <a:pt x="618" y="1119"/>
                  </a:lnTo>
                  <a:lnTo>
                    <a:pt x="590" y="1122"/>
                  </a:lnTo>
                  <a:lnTo>
                    <a:pt x="561" y="1123"/>
                  </a:lnTo>
                  <a:lnTo>
                    <a:pt x="532" y="1122"/>
                  </a:lnTo>
                  <a:lnTo>
                    <a:pt x="503" y="1119"/>
                  </a:lnTo>
                  <a:lnTo>
                    <a:pt x="476" y="1115"/>
                  </a:lnTo>
                  <a:lnTo>
                    <a:pt x="448" y="1111"/>
                  </a:lnTo>
                  <a:lnTo>
                    <a:pt x="420" y="1104"/>
                  </a:lnTo>
                  <a:lnTo>
                    <a:pt x="394" y="1097"/>
                  </a:lnTo>
                  <a:lnTo>
                    <a:pt x="368" y="1089"/>
                  </a:lnTo>
                  <a:lnTo>
                    <a:pt x="343" y="1078"/>
                  </a:lnTo>
                  <a:lnTo>
                    <a:pt x="318" y="1067"/>
                  </a:lnTo>
                  <a:lnTo>
                    <a:pt x="294" y="1054"/>
                  </a:lnTo>
                  <a:lnTo>
                    <a:pt x="270" y="1041"/>
                  </a:lnTo>
                  <a:lnTo>
                    <a:pt x="247" y="1027"/>
                  </a:lnTo>
                  <a:lnTo>
                    <a:pt x="226" y="1011"/>
                  </a:lnTo>
                  <a:lnTo>
                    <a:pt x="204" y="994"/>
                  </a:lnTo>
                  <a:lnTo>
                    <a:pt x="184" y="977"/>
                  </a:lnTo>
                  <a:lnTo>
                    <a:pt x="164" y="958"/>
                  </a:lnTo>
                  <a:lnTo>
                    <a:pt x="146" y="938"/>
                  </a:lnTo>
                  <a:lnTo>
                    <a:pt x="128" y="918"/>
                  </a:lnTo>
                  <a:lnTo>
                    <a:pt x="112" y="897"/>
                  </a:lnTo>
                  <a:lnTo>
                    <a:pt x="96" y="874"/>
                  </a:lnTo>
                  <a:lnTo>
                    <a:pt x="81" y="852"/>
                  </a:lnTo>
                  <a:lnTo>
                    <a:pt x="68" y="829"/>
                  </a:lnTo>
                  <a:lnTo>
                    <a:pt x="55" y="804"/>
                  </a:lnTo>
                  <a:lnTo>
                    <a:pt x="44" y="780"/>
                  </a:lnTo>
                  <a:lnTo>
                    <a:pt x="34" y="754"/>
                  </a:lnTo>
                  <a:lnTo>
                    <a:pt x="26" y="727"/>
                  </a:lnTo>
                  <a:lnTo>
                    <a:pt x="18" y="701"/>
                  </a:lnTo>
                  <a:lnTo>
                    <a:pt x="12" y="674"/>
                  </a:lnTo>
                  <a:lnTo>
                    <a:pt x="6" y="647"/>
                  </a:lnTo>
                  <a:lnTo>
                    <a:pt x="3" y="618"/>
                  </a:lnTo>
                  <a:lnTo>
                    <a:pt x="1" y="590"/>
                  </a:lnTo>
                  <a:lnTo>
                    <a:pt x="0" y="561"/>
                  </a:lnTo>
                  <a:lnTo>
                    <a:pt x="1" y="532"/>
                  </a:lnTo>
                  <a:lnTo>
                    <a:pt x="3" y="504"/>
                  </a:lnTo>
                  <a:lnTo>
                    <a:pt x="6" y="475"/>
                  </a:lnTo>
                  <a:lnTo>
                    <a:pt x="12" y="447"/>
                  </a:lnTo>
                  <a:lnTo>
                    <a:pt x="18" y="421"/>
                  </a:lnTo>
                  <a:lnTo>
                    <a:pt x="26" y="394"/>
                  </a:lnTo>
                  <a:lnTo>
                    <a:pt x="34" y="368"/>
                  </a:lnTo>
                  <a:lnTo>
                    <a:pt x="44" y="342"/>
                  </a:lnTo>
                  <a:lnTo>
                    <a:pt x="55" y="317"/>
                  </a:lnTo>
                  <a:lnTo>
                    <a:pt x="68" y="293"/>
                  </a:lnTo>
                  <a:lnTo>
                    <a:pt x="81" y="270"/>
                  </a:lnTo>
                  <a:lnTo>
                    <a:pt x="96" y="247"/>
                  </a:lnTo>
                  <a:lnTo>
                    <a:pt x="112" y="225"/>
                  </a:lnTo>
                  <a:lnTo>
                    <a:pt x="128" y="204"/>
                  </a:lnTo>
                  <a:lnTo>
                    <a:pt x="146" y="183"/>
                  </a:lnTo>
                  <a:lnTo>
                    <a:pt x="164" y="164"/>
                  </a:lnTo>
                  <a:lnTo>
                    <a:pt x="184" y="145"/>
                  </a:lnTo>
                  <a:lnTo>
                    <a:pt x="204" y="128"/>
                  </a:lnTo>
                  <a:lnTo>
                    <a:pt x="226" y="111"/>
                  </a:lnTo>
                  <a:lnTo>
                    <a:pt x="247" y="96"/>
                  </a:lnTo>
                  <a:lnTo>
                    <a:pt x="270" y="81"/>
                  </a:lnTo>
                  <a:lnTo>
                    <a:pt x="294" y="67"/>
                  </a:lnTo>
                  <a:lnTo>
                    <a:pt x="318" y="54"/>
                  </a:lnTo>
                  <a:lnTo>
                    <a:pt x="343" y="44"/>
                  </a:lnTo>
                  <a:lnTo>
                    <a:pt x="368" y="33"/>
                  </a:lnTo>
                  <a:lnTo>
                    <a:pt x="394" y="25"/>
                  </a:lnTo>
                  <a:lnTo>
                    <a:pt x="420" y="17"/>
                  </a:lnTo>
                  <a:lnTo>
                    <a:pt x="448" y="11"/>
                  </a:lnTo>
                  <a:lnTo>
                    <a:pt x="476" y="6"/>
                  </a:lnTo>
                  <a:lnTo>
                    <a:pt x="503" y="2"/>
                  </a:lnTo>
                  <a:lnTo>
                    <a:pt x="532" y="0"/>
                  </a:lnTo>
                  <a:lnTo>
                    <a:pt x="561" y="0"/>
                  </a:lnTo>
                  <a:lnTo>
                    <a:pt x="590" y="0"/>
                  </a:lnTo>
                  <a:lnTo>
                    <a:pt x="618" y="2"/>
                  </a:lnTo>
                  <a:lnTo>
                    <a:pt x="646" y="6"/>
                  </a:lnTo>
                  <a:lnTo>
                    <a:pt x="674" y="11"/>
                  </a:lnTo>
                  <a:lnTo>
                    <a:pt x="701" y="17"/>
                  </a:lnTo>
                  <a:lnTo>
                    <a:pt x="728" y="25"/>
                  </a:lnTo>
                  <a:lnTo>
                    <a:pt x="754" y="33"/>
                  </a:lnTo>
                  <a:lnTo>
                    <a:pt x="779" y="44"/>
                  </a:lnTo>
                  <a:lnTo>
                    <a:pt x="804" y="54"/>
                  </a:lnTo>
                  <a:lnTo>
                    <a:pt x="828" y="67"/>
                  </a:lnTo>
                  <a:lnTo>
                    <a:pt x="852" y="81"/>
                  </a:lnTo>
                  <a:lnTo>
                    <a:pt x="875" y="96"/>
                  </a:lnTo>
                  <a:lnTo>
                    <a:pt x="896" y="111"/>
                  </a:lnTo>
                  <a:lnTo>
                    <a:pt x="918" y="128"/>
                  </a:lnTo>
                  <a:lnTo>
                    <a:pt x="938" y="145"/>
                  </a:lnTo>
                  <a:lnTo>
                    <a:pt x="958" y="164"/>
                  </a:lnTo>
                  <a:lnTo>
                    <a:pt x="976" y="183"/>
                  </a:lnTo>
                  <a:lnTo>
                    <a:pt x="994" y="204"/>
                  </a:lnTo>
                  <a:lnTo>
                    <a:pt x="1010" y="225"/>
                  </a:lnTo>
                  <a:lnTo>
                    <a:pt x="1026" y="247"/>
                  </a:lnTo>
                  <a:lnTo>
                    <a:pt x="1041" y="270"/>
                  </a:lnTo>
                  <a:lnTo>
                    <a:pt x="1054" y="293"/>
                  </a:lnTo>
                  <a:lnTo>
                    <a:pt x="1067" y="317"/>
                  </a:lnTo>
                  <a:lnTo>
                    <a:pt x="1078" y="342"/>
                  </a:lnTo>
                  <a:lnTo>
                    <a:pt x="1088" y="368"/>
                  </a:lnTo>
                  <a:lnTo>
                    <a:pt x="1096" y="394"/>
                  </a:lnTo>
                  <a:lnTo>
                    <a:pt x="1104" y="421"/>
                  </a:lnTo>
                  <a:lnTo>
                    <a:pt x="1110" y="447"/>
                  </a:lnTo>
                  <a:lnTo>
                    <a:pt x="1115" y="475"/>
                  </a:lnTo>
                  <a:lnTo>
                    <a:pt x="1119" y="504"/>
                  </a:lnTo>
                  <a:lnTo>
                    <a:pt x="1121" y="532"/>
                  </a:lnTo>
                  <a:lnTo>
                    <a:pt x="1122" y="561"/>
                  </a:lnTo>
                  <a:close/>
                </a:path>
              </a:pathLst>
            </a:custGeom>
            <a:solidFill>
              <a:srgbClr val="BCBCBC">
                <a:alpha val="19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7" name="Freeform 105">
              <a:extLst>
                <a:ext uri="{FF2B5EF4-FFF2-40B4-BE49-F238E27FC236}">
                  <a16:creationId xmlns:a16="http://schemas.microsoft.com/office/drawing/2014/main" id="{44D76BE8-04D0-41C0-9D0F-C6E94E3CCF62}"/>
                </a:ext>
              </a:extLst>
            </p:cNvPr>
            <p:cNvSpPr>
              <a:spLocks/>
            </p:cNvSpPr>
            <p:nvPr/>
          </p:nvSpPr>
          <p:spPr bwMode="auto">
            <a:xfrm>
              <a:off x="995363" y="4006850"/>
              <a:ext cx="138113" cy="138113"/>
            </a:xfrm>
            <a:custGeom>
              <a:avLst/>
              <a:gdLst>
                <a:gd name="T0" fmla="*/ 437 w 437"/>
                <a:gd name="T1" fmla="*/ 230 h 437"/>
                <a:gd name="T2" fmla="*/ 435 w 437"/>
                <a:gd name="T3" fmla="*/ 252 h 437"/>
                <a:gd name="T4" fmla="*/ 430 w 437"/>
                <a:gd name="T5" fmla="*/ 273 h 437"/>
                <a:gd name="T6" fmla="*/ 423 w 437"/>
                <a:gd name="T7" fmla="*/ 294 h 437"/>
                <a:gd name="T8" fmla="*/ 411 w 437"/>
                <a:gd name="T9" fmla="*/ 322 h 437"/>
                <a:gd name="T10" fmla="*/ 387 w 437"/>
                <a:gd name="T11" fmla="*/ 357 h 437"/>
                <a:gd name="T12" fmla="*/ 357 w 437"/>
                <a:gd name="T13" fmla="*/ 387 h 437"/>
                <a:gd name="T14" fmla="*/ 322 w 437"/>
                <a:gd name="T15" fmla="*/ 411 h 437"/>
                <a:gd name="T16" fmla="*/ 293 w 437"/>
                <a:gd name="T17" fmla="*/ 425 h 437"/>
                <a:gd name="T18" fmla="*/ 273 w 437"/>
                <a:gd name="T19" fmla="*/ 431 h 437"/>
                <a:gd name="T20" fmla="*/ 252 w 437"/>
                <a:gd name="T21" fmla="*/ 435 h 437"/>
                <a:gd name="T22" fmla="*/ 230 w 437"/>
                <a:gd name="T23" fmla="*/ 437 h 437"/>
                <a:gd name="T24" fmla="*/ 207 w 437"/>
                <a:gd name="T25" fmla="*/ 437 h 437"/>
                <a:gd name="T26" fmla="*/ 185 w 437"/>
                <a:gd name="T27" fmla="*/ 435 h 437"/>
                <a:gd name="T28" fmla="*/ 164 w 437"/>
                <a:gd name="T29" fmla="*/ 431 h 437"/>
                <a:gd name="T30" fmla="*/ 143 w 437"/>
                <a:gd name="T31" fmla="*/ 425 h 437"/>
                <a:gd name="T32" fmla="*/ 114 w 437"/>
                <a:gd name="T33" fmla="*/ 411 h 437"/>
                <a:gd name="T34" fmla="*/ 78 w 437"/>
                <a:gd name="T35" fmla="*/ 387 h 437"/>
                <a:gd name="T36" fmla="*/ 50 w 437"/>
                <a:gd name="T37" fmla="*/ 357 h 437"/>
                <a:gd name="T38" fmla="*/ 25 w 437"/>
                <a:gd name="T39" fmla="*/ 322 h 437"/>
                <a:gd name="T40" fmla="*/ 12 w 437"/>
                <a:gd name="T41" fmla="*/ 294 h 437"/>
                <a:gd name="T42" fmla="*/ 6 w 437"/>
                <a:gd name="T43" fmla="*/ 273 h 437"/>
                <a:gd name="T44" fmla="*/ 2 w 437"/>
                <a:gd name="T45" fmla="*/ 252 h 437"/>
                <a:gd name="T46" fmla="*/ 0 w 437"/>
                <a:gd name="T47" fmla="*/ 230 h 437"/>
                <a:gd name="T48" fmla="*/ 0 w 437"/>
                <a:gd name="T49" fmla="*/ 207 h 437"/>
                <a:gd name="T50" fmla="*/ 2 w 437"/>
                <a:gd name="T51" fmla="*/ 185 h 437"/>
                <a:gd name="T52" fmla="*/ 6 w 437"/>
                <a:gd name="T53" fmla="*/ 164 h 437"/>
                <a:gd name="T54" fmla="*/ 12 w 437"/>
                <a:gd name="T55" fmla="*/ 143 h 437"/>
                <a:gd name="T56" fmla="*/ 25 w 437"/>
                <a:gd name="T57" fmla="*/ 114 h 437"/>
                <a:gd name="T58" fmla="*/ 50 w 437"/>
                <a:gd name="T59" fmla="*/ 79 h 437"/>
                <a:gd name="T60" fmla="*/ 78 w 437"/>
                <a:gd name="T61" fmla="*/ 50 h 437"/>
                <a:gd name="T62" fmla="*/ 114 w 437"/>
                <a:gd name="T63" fmla="*/ 25 h 437"/>
                <a:gd name="T64" fmla="*/ 143 w 437"/>
                <a:gd name="T65" fmla="*/ 12 h 437"/>
                <a:gd name="T66" fmla="*/ 164 w 437"/>
                <a:gd name="T67" fmla="*/ 6 h 437"/>
                <a:gd name="T68" fmla="*/ 185 w 437"/>
                <a:gd name="T69" fmla="*/ 2 h 437"/>
                <a:gd name="T70" fmla="*/ 207 w 437"/>
                <a:gd name="T71" fmla="*/ 0 h 437"/>
                <a:gd name="T72" fmla="*/ 230 w 437"/>
                <a:gd name="T73" fmla="*/ 0 h 437"/>
                <a:gd name="T74" fmla="*/ 252 w 437"/>
                <a:gd name="T75" fmla="*/ 2 h 437"/>
                <a:gd name="T76" fmla="*/ 273 w 437"/>
                <a:gd name="T77" fmla="*/ 6 h 437"/>
                <a:gd name="T78" fmla="*/ 293 w 437"/>
                <a:gd name="T79" fmla="*/ 12 h 437"/>
                <a:gd name="T80" fmla="*/ 322 w 437"/>
                <a:gd name="T81" fmla="*/ 25 h 437"/>
                <a:gd name="T82" fmla="*/ 357 w 437"/>
                <a:gd name="T83" fmla="*/ 50 h 437"/>
                <a:gd name="T84" fmla="*/ 387 w 437"/>
                <a:gd name="T85" fmla="*/ 79 h 437"/>
                <a:gd name="T86" fmla="*/ 411 w 437"/>
                <a:gd name="T87" fmla="*/ 114 h 437"/>
                <a:gd name="T88" fmla="*/ 423 w 437"/>
                <a:gd name="T89" fmla="*/ 143 h 437"/>
                <a:gd name="T90" fmla="*/ 430 w 437"/>
                <a:gd name="T91" fmla="*/ 164 h 437"/>
                <a:gd name="T92" fmla="*/ 435 w 437"/>
                <a:gd name="T93" fmla="*/ 185 h 437"/>
                <a:gd name="T94" fmla="*/ 437 w 437"/>
                <a:gd name="T95" fmla="*/ 207 h 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37" h="437">
                  <a:moveTo>
                    <a:pt x="437" y="218"/>
                  </a:moveTo>
                  <a:lnTo>
                    <a:pt x="437" y="230"/>
                  </a:lnTo>
                  <a:lnTo>
                    <a:pt x="436" y="240"/>
                  </a:lnTo>
                  <a:lnTo>
                    <a:pt x="435" y="252"/>
                  </a:lnTo>
                  <a:lnTo>
                    <a:pt x="433" y="263"/>
                  </a:lnTo>
                  <a:lnTo>
                    <a:pt x="430" y="273"/>
                  </a:lnTo>
                  <a:lnTo>
                    <a:pt x="428" y="283"/>
                  </a:lnTo>
                  <a:lnTo>
                    <a:pt x="423" y="294"/>
                  </a:lnTo>
                  <a:lnTo>
                    <a:pt x="420" y="303"/>
                  </a:lnTo>
                  <a:lnTo>
                    <a:pt x="411" y="322"/>
                  </a:lnTo>
                  <a:lnTo>
                    <a:pt x="400" y="340"/>
                  </a:lnTo>
                  <a:lnTo>
                    <a:pt x="387" y="357"/>
                  </a:lnTo>
                  <a:lnTo>
                    <a:pt x="373" y="373"/>
                  </a:lnTo>
                  <a:lnTo>
                    <a:pt x="357" y="387"/>
                  </a:lnTo>
                  <a:lnTo>
                    <a:pt x="340" y="400"/>
                  </a:lnTo>
                  <a:lnTo>
                    <a:pt x="322" y="411"/>
                  </a:lnTo>
                  <a:lnTo>
                    <a:pt x="303" y="420"/>
                  </a:lnTo>
                  <a:lnTo>
                    <a:pt x="293" y="425"/>
                  </a:lnTo>
                  <a:lnTo>
                    <a:pt x="283" y="428"/>
                  </a:lnTo>
                  <a:lnTo>
                    <a:pt x="273" y="431"/>
                  </a:lnTo>
                  <a:lnTo>
                    <a:pt x="263" y="433"/>
                  </a:lnTo>
                  <a:lnTo>
                    <a:pt x="252" y="435"/>
                  </a:lnTo>
                  <a:lnTo>
                    <a:pt x="240" y="436"/>
                  </a:lnTo>
                  <a:lnTo>
                    <a:pt x="230" y="437"/>
                  </a:lnTo>
                  <a:lnTo>
                    <a:pt x="218" y="437"/>
                  </a:lnTo>
                  <a:lnTo>
                    <a:pt x="207" y="437"/>
                  </a:lnTo>
                  <a:lnTo>
                    <a:pt x="196" y="436"/>
                  </a:lnTo>
                  <a:lnTo>
                    <a:pt x="185" y="435"/>
                  </a:lnTo>
                  <a:lnTo>
                    <a:pt x="174" y="433"/>
                  </a:lnTo>
                  <a:lnTo>
                    <a:pt x="164" y="431"/>
                  </a:lnTo>
                  <a:lnTo>
                    <a:pt x="153" y="428"/>
                  </a:lnTo>
                  <a:lnTo>
                    <a:pt x="143" y="425"/>
                  </a:lnTo>
                  <a:lnTo>
                    <a:pt x="133" y="420"/>
                  </a:lnTo>
                  <a:lnTo>
                    <a:pt x="114" y="411"/>
                  </a:lnTo>
                  <a:lnTo>
                    <a:pt x="95" y="400"/>
                  </a:lnTo>
                  <a:lnTo>
                    <a:pt x="78" y="387"/>
                  </a:lnTo>
                  <a:lnTo>
                    <a:pt x="64" y="373"/>
                  </a:lnTo>
                  <a:lnTo>
                    <a:pt x="50" y="357"/>
                  </a:lnTo>
                  <a:lnTo>
                    <a:pt x="37" y="340"/>
                  </a:lnTo>
                  <a:lnTo>
                    <a:pt x="25" y="322"/>
                  </a:lnTo>
                  <a:lnTo>
                    <a:pt x="17" y="303"/>
                  </a:lnTo>
                  <a:lnTo>
                    <a:pt x="12" y="294"/>
                  </a:lnTo>
                  <a:lnTo>
                    <a:pt x="9" y="283"/>
                  </a:lnTo>
                  <a:lnTo>
                    <a:pt x="6" y="273"/>
                  </a:lnTo>
                  <a:lnTo>
                    <a:pt x="4" y="263"/>
                  </a:lnTo>
                  <a:lnTo>
                    <a:pt x="2" y="252"/>
                  </a:lnTo>
                  <a:lnTo>
                    <a:pt x="1" y="240"/>
                  </a:lnTo>
                  <a:lnTo>
                    <a:pt x="0" y="230"/>
                  </a:lnTo>
                  <a:lnTo>
                    <a:pt x="0" y="218"/>
                  </a:lnTo>
                  <a:lnTo>
                    <a:pt x="0" y="207"/>
                  </a:lnTo>
                  <a:lnTo>
                    <a:pt x="1" y="196"/>
                  </a:lnTo>
                  <a:lnTo>
                    <a:pt x="2" y="185"/>
                  </a:lnTo>
                  <a:lnTo>
                    <a:pt x="4" y="174"/>
                  </a:lnTo>
                  <a:lnTo>
                    <a:pt x="6" y="164"/>
                  </a:lnTo>
                  <a:lnTo>
                    <a:pt x="9" y="153"/>
                  </a:lnTo>
                  <a:lnTo>
                    <a:pt x="12" y="143"/>
                  </a:lnTo>
                  <a:lnTo>
                    <a:pt x="17" y="133"/>
                  </a:lnTo>
                  <a:lnTo>
                    <a:pt x="25" y="114"/>
                  </a:lnTo>
                  <a:lnTo>
                    <a:pt x="37" y="95"/>
                  </a:lnTo>
                  <a:lnTo>
                    <a:pt x="50" y="79"/>
                  </a:lnTo>
                  <a:lnTo>
                    <a:pt x="64" y="63"/>
                  </a:lnTo>
                  <a:lnTo>
                    <a:pt x="78" y="50"/>
                  </a:lnTo>
                  <a:lnTo>
                    <a:pt x="95" y="37"/>
                  </a:lnTo>
                  <a:lnTo>
                    <a:pt x="114" y="25"/>
                  </a:lnTo>
                  <a:lnTo>
                    <a:pt x="133" y="17"/>
                  </a:lnTo>
                  <a:lnTo>
                    <a:pt x="143" y="12"/>
                  </a:lnTo>
                  <a:lnTo>
                    <a:pt x="153" y="9"/>
                  </a:lnTo>
                  <a:lnTo>
                    <a:pt x="164" y="6"/>
                  </a:lnTo>
                  <a:lnTo>
                    <a:pt x="174" y="4"/>
                  </a:lnTo>
                  <a:lnTo>
                    <a:pt x="185" y="2"/>
                  </a:lnTo>
                  <a:lnTo>
                    <a:pt x="196" y="1"/>
                  </a:lnTo>
                  <a:lnTo>
                    <a:pt x="207" y="0"/>
                  </a:lnTo>
                  <a:lnTo>
                    <a:pt x="218" y="0"/>
                  </a:lnTo>
                  <a:lnTo>
                    <a:pt x="230" y="0"/>
                  </a:lnTo>
                  <a:lnTo>
                    <a:pt x="240" y="1"/>
                  </a:lnTo>
                  <a:lnTo>
                    <a:pt x="252" y="2"/>
                  </a:lnTo>
                  <a:lnTo>
                    <a:pt x="263" y="4"/>
                  </a:lnTo>
                  <a:lnTo>
                    <a:pt x="273" y="6"/>
                  </a:lnTo>
                  <a:lnTo>
                    <a:pt x="283" y="9"/>
                  </a:lnTo>
                  <a:lnTo>
                    <a:pt x="293" y="12"/>
                  </a:lnTo>
                  <a:lnTo>
                    <a:pt x="303" y="17"/>
                  </a:lnTo>
                  <a:lnTo>
                    <a:pt x="322" y="25"/>
                  </a:lnTo>
                  <a:lnTo>
                    <a:pt x="340" y="37"/>
                  </a:lnTo>
                  <a:lnTo>
                    <a:pt x="357" y="50"/>
                  </a:lnTo>
                  <a:lnTo>
                    <a:pt x="373" y="63"/>
                  </a:lnTo>
                  <a:lnTo>
                    <a:pt x="387" y="79"/>
                  </a:lnTo>
                  <a:lnTo>
                    <a:pt x="400" y="95"/>
                  </a:lnTo>
                  <a:lnTo>
                    <a:pt x="411" y="114"/>
                  </a:lnTo>
                  <a:lnTo>
                    <a:pt x="420" y="133"/>
                  </a:lnTo>
                  <a:lnTo>
                    <a:pt x="423" y="143"/>
                  </a:lnTo>
                  <a:lnTo>
                    <a:pt x="428" y="153"/>
                  </a:lnTo>
                  <a:lnTo>
                    <a:pt x="430" y="164"/>
                  </a:lnTo>
                  <a:lnTo>
                    <a:pt x="433" y="174"/>
                  </a:lnTo>
                  <a:lnTo>
                    <a:pt x="435" y="185"/>
                  </a:lnTo>
                  <a:lnTo>
                    <a:pt x="436" y="196"/>
                  </a:lnTo>
                  <a:lnTo>
                    <a:pt x="437" y="207"/>
                  </a:lnTo>
                  <a:lnTo>
                    <a:pt x="437" y="218"/>
                  </a:lnTo>
                  <a:close/>
                </a:path>
              </a:pathLst>
            </a:custGeom>
            <a:solidFill>
              <a:srgbClr val="BCBC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8" name="Freeform 106">
              <a:extLst>
                <a:ext uri="{FF2B5EF4-FFF2-40B4-BE49-F238E27FC236}">
                  <a16:creationId xmlns:a16="http://schemas.microsoft.com/office/drawing/2014/main" id="{87DF1EA6-2581-466E-B8DE-2FC998D23055}"/>
                </a:ext>
              </a:extLst>
            </p:cNvPr>
            <p:cNvSpPr>
              <a:spLocks/>
            </p:cNvSpPr>
            <p:nvPr/>
          </p:nvSpPr>
          <p:spPr bwMode="auto">
            <a:xfrm>
              <a:off x="5065713" y="2324100"/>
              <a:ext cx="139700" cy="139700"/>
            </a:xfrm>
            <a:custGeom>
              <a:avLst/>
              <a:gdLst>
                <a:gd name="T0" fmla="*/ 437 w 437"/>
                <a:gd name="T1" fmla="*/ 231 h 439"/>
                <a:gd name="T2" fmla="*/ 434 w 437"/>
                <a:gd name="T3" fmla="*/ 253 h 439"/>
                <a:gd name="T4" fmla="*/ 430 w 437"/>
                <a:gd name="T5" fmla="*/ 275 h 439"/>
                <a:gd name="T6" fmla="*/ 423 w 437"/>
                <a:gd name="T7" fmla="*/ 295 h 439"/>
                <a:gd name="T8" fmla="*/ 411 w 437"/>
                <a:gd name="T9" fmla="*/ 324 h 439"/>
                <a:gd name="T10" fmla="*/ 387 w 437"/>
                <a:gd name="T11" fmla="*/ 359 h 439"/>
                <a:gd name="T12" fmla="*/ 357 w 437"/>
                <a:gd name="T13" fmla="*/ 389 h 439"/>
                <a:gd name="T14" fmla="*/ 322 w 437"/>
                <a:gd name="T15" fmla="*/ 412 h 439"/>
                <a:gd name="T16" fmla="*/ 293 w 437"/>
                <a:gd name="T17" fmla="*/ 425 h 439"/>
                <a:gd name="T18" fmla="*/ 273 w 437"/>
                <a:gd name="T19" fmla="*/ 432 h 439"/>
                <a:gd name="T20" fmla="*/ 251 w 437"/>
                <a:gd name="T21" fmla="*/ 436 h 439"/>
                <a:gd name="T22" fmla="*/ 230 w 437"/>
                <a:gd name="T23" fmla="*/ 439 h 439"/>
                <a:gd name="T24" fmla="*/ 207 w 437"/>
                <a:gd name="T25" fmla="*/ 439 h 439"/>
                <a:gd name="T26" fmla="*/ 185 w 437"/>
                <a:gd name="T27" fmla="*/ 436 h 439"/>
                <a:gd name="T28" fmla="*/ 164 w 437"/>
                <a:gd name="T29" fmla="*/ 432 h 439"/>
                <a:gd name="T30" fmla="*/ 142 w 437"/>
                <a:gd name="T31" fmla="*/ 425 h 439"/>
                <a:gd name="T32" fmla="*/ 114 w 437"/>
                <a:gd name="T33" fmla="*/ 412 h 439"/>
                <a:gd name="T34" fmla="*/ 78 w 437"/>
                <a:gd name="T35" fmla="*/ 389 h 439"/>
                <a:gd name="T36" fmla="*/ 49 w 437"/>
                <a:gd name="T37" fmla="*/ 359 h 439"/>
                <a:gd name="T38" fmla="*/ 25 w 437"/>
                <a:gd name="T39" fmla="*/ 324 h 439"/>
                <a:gd name="T40" fmla="*/ 12 w 437"/>
                <a:gd name="T41" fmla="*/ 295 h 439"/>
                <a:gd name="T42" fmla="*/ 6 w 437"/>
                <a:gd name="T43" fmla="*/ 275 h 439"/>
                <a:gd name="T44" fmla="*/ 2 w 437"/>
                <a:gd name="T45" fmla="*/ 253 h 439"/>
                <a:gd name="T46" fmla="*/ 0 w 437"/>
                <a:gd name="T47" fmla="*/ 231 h 439"/>
                <a:gd name="T48" fmla="*/ 0 w 437"/>
                <a:gd name="T49" fmla="*/ 209 h 439"/>
                <a:gd name="T50" fmla="*/ 2 w 437"/>
                <a:gd name="T51" fmla="*/ 187 h 439"/>
                <a:gd name="T52" fmla="*/ 6 w 437"/>
                <a:gd name="T53" fmla="*/ 165 h 439"/>
                <a:gd name="T54" fmla="*/ 12 w 437"/>
                <a:gd name="T55" fmla="*/ 144 h 439"/>
                <a:gd name="T56" fmla="*/ 25 w 437"/>
                <a:gd name="T57" fmla="*/ 115 h 439"/>
                <a:gd name="T58" fmla="*/ 49 w 437"/>
                <a:gd name="T59" fmla="*/ 80 h 439"/>
                <a:gd name="T60" fmla="*/ 78 w 437"/>
                <a:gd name="T61" fmla="*/ 50 h 439"/>
                <a:gd name="T62" fmla="*/ 114 w 437"/>
                <a:gd name="T63" fmla="*/ 27 h 439"/>
                <a:gd name="T64" fmla="*/ 142 w 437"/>
                <a:gd name="T65" fmla="*/ 14 h 439"/>
                <a:gd name="T66" fmla="*/ 164 w 437"/>
                <a:gd name="T67" fmla="*/ 8 h 439"/>
                <a:gd name="T68" fmla="*/ 185 w 437"/>
                <a:gd name="T69" fmla="*/ 3 h 439"/>
                <a:gd name="T70" fmla="*/ 207 w 437"/>
                <a:gd name="T71" fmla="*/ 1 h 439"/>
                <a:gd name="T72" fmla="*/ 230 w 437"/>
                <a:gd name="T73" fmla="*/ 1 h 439"/>
                <a:gd name="T74" fmla="*/ 251 w 437"/>
                <a:gd name="T75" fmla="*/ 3 h 439"/>
                <a:gd name="T76" fmla="*/ 273 w 437"/>
                <a:gd name="T77" fmla="*/ 8 h 439"/>
                <a:gd name="T78" fmla="*/ 293 w 437"/>
                <a:gd name="T79" fmla="*/ 14 h 439"/>
                <a:gd name="T80" fmla="*/ 322 w 437"/>
                <a:gd name="T81" fmla="*/ 27 h 439"/>
                <a:gd name="T82" fmla="*/ 357 w 437"/>
                <a:gd name="T83" fmla="*/ 50 h 439"/>
                <a:gd name="T84" fmla="*/ 387 w 437"/>
                <a:gd name="T85" fmla="*/ 80 h 439"/>
                <a:gd name="T86" fmla="*/ 411 w 437"/>
                <a:gd name="T87" fmla="*/ 115 h 439"/>
                <a:gd name="T88" fmla="*/ 423 w 437"/>
                <a:gd name="T89" fmla="*/ 144 h 439"/>
                <a:gd name="T90" fmla="*/ 430 w 437"/>
                <a:gd name="T91" fmla="*/ 165 h 439"/>
                <a:gd name="T92" fmla="*/ 434 w 437"/>
                <a:gd name="T93" fmla="*/ 187 h 439"/>
                <a:gd name="T94" fmla="*/ 437 w 437"/>
                <a:gd name="T95" fmla="*/ 209 h 4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37" h="439">
                  <a:moveTo>
                    <a:pt x="437" y="220"/>
                  </a:moveTo>
                  <a:lnTo>
                    <a:pt x="437" y="231"/>
                  </a:lnTo>
                  <a:lnTo>
                    <a:pt x="436" y="242"/>
                  </a:lnTo>
                  <a:lnTo>
                    <a:pt x="434" y="253"/>
                  </a:lnTo>
                  <a:lnTo>
                    <a:pt x="433" y="264"/>
                  </a:lnTo>
                  <a:lnTo>
                    <a:pt x="430" y="275"/>
                  </a:lnTo>
                  <a:lnTo>
                    <a:pt x="428" y="285"/>
                  </a:lnTo>
                  <a:lnTo>
                    <a:pt x="423" y="295"/>
                  </a:lnTo>
                  <a:lnTo>
                    <a:pt x="420" y="305"/>
                  </a:lnTo>
                  <a:lnTo>
                    <a:pt x="411" y="324"/>
                  </a:lnTo>
                  <a:lnTo>
                    <a:pt x="400" y="342"/>
                  </a:lnTo>
                  <a:lnTo>
                    <a:pt x="387" y="359"/>
                  </a:lnTo>
                  <a:lnTo>
                    <a:pt x="373" y="375"/>
                  </a:lnTo>
                  <a:lnTo>
                    <a:pt x="357" y="389"/>
                  </a:lnTo>
                  <a:lnTo>
                    <a:pt x="340" y="402"/>
                  </a:lnTo>
                  <a:lnTo>
                    <a:pt x="322" y="412"/>
                  </a:lnTo>
                  <a:lnTo>
                    <a:pt x="303" y="422"/>
                  </a:lnTo>
                  <a:lnTo>
                    <a:pt x="293" y="425"/>
                  </a:lnTo>
                  <a:lnTo>
                    <a:pt x="283" y="429"/>
                  </a:lnTo>
                  <a:lnTo>
                    <a:pt x="273" y="432"/>
                  </a:lnTo>
                  <a:lnTo>
                    <a:pt x="263" y="435"/>
                  </a:lnTo>
                  <a:lnTo>
                    <a:pt x="251" y="436"/>
                  </a:lnTo>
                  <a:lnTo>
                    <a:pt x="240" y="438"/>
                  </a:lnTo>
                  <a:lnTo>
                    <a:pt x="230" y="439"/>
                  </a:lnTo>
                  <a:lnTo>
                    <a:pt x="218" y="439"/>
                  </a:lnTo>
                  <a:lnTo>
                    <a:pt x="207" y="439"/>
                  </a:lnTo>
                  <a:lnTo>
                    <a:pt x="196" y="438"/>
                  </a:lnTo>
                  <a:lnTo>
                    <a:pt x="185" y="436"/>
                  </a:lnTo>
                  <a:lnTo>
                    <a:pt x="174" y="435"/>
                  </a:lnTo>
                  <a:lnTo>
                    <a:pt x="164" y="432"/>
                  </a:lnTo>
                  <a:lnTo>
                    <a:pt x="153" y="429"/>
                  </a:lnTo>
                  <a:lnTo>
                    <a:pt x="142" y="425"/>
                  </a:lnTo>
                  <a:lnTo>
                    <a:pt x="133" y="422"/>
                  </a:lnTo>
                  <a:lnTo>
                    <a:pt x="114" y="412"/>
                  </a:lnTo>
                  <a:lnTo>
                    <a:pt x="95" y="402"/>
                  </a:lnTo>
                  <a:lnTo>
                    <a:pt x="78" y="389"/>
                  </a:lnTo>
                  <a:lnTo>
                    <a:pt x="64" y="375"/>
                  </a:lnTo>
                  <a:lnTo>
                    <a:pt x="49" y="359"/>
                  </a:lnTo>
                  <a:lnTo>
                    <a:pt x="37" y="342"/>
                  </a:lnTo>
                  <a:lnTo>
                    <a:pt x="25" y="324"/>
                  </a:lnTo>
                  <a:lnTo>
                    <a:pt x="17" y="305"/>
                  </a:lnTo>
                  <a:lnTo>
                    <a:pt x="12" y="295"/>
                  </a:lnTo>
                  <a:lnTo>
                    <a:pt x="9" y="285"/>
                  </a:lnTo>
                  <a:lnTo>
                    <a:pt x="6" y="275"/>
                  </a:lnTo>
                  <a:lnTo>
                    <a:pt x="4" y="264"/>
                  </a:lnTo>
                  <a:lnTo>
                    <a:pt x="2" y="253"/>
                  </a:lnTo>
                  <a:lnTo>
                    <a:pt x="1" y="242"/>
                  </a:lnTo>
                  <a:lnTo>
                    <a:pt x="0" y="231"/>
                  </a:lnTo>
                  <a:lnTo>
                    <a:pt x="0" y="220"/>
                  </a:lnTo>
                  <a:lnTo>
                    <a:pt x="0" y="209"/>
                  </a:lnTo>
                  <a:lnTo>
                    <a:pt x="1" y="197"/>
                  </a:lnTo>
                  <a:lnTo>
                    <a:pt x="2" y="187"/>
                  </a:lnTo>
                  <a:lnTo>
                    <a:pt x="4" y="176"/>
                  </a:lnTo>
                  <a:lnTo>
                    <a:pt x="6" y="165"/>
                  </a:lnTo>
                  <a:lnTo>
                    <a:pt x="9" y="155"/>
                  </a:lnTo>
                  <a:lnTo>
                    <a:pt x="12" y="144"/>
                  </a:lnTo>
                  <a:lnTo>
                    <a:pt x="17" y="134"/>
                  </a:lnTo>
                  <a:lnTo>
                    <a:pt x="25" y="115"/>
                  </a:lnTo>
                  <a:lnTo>
                    <a:pt x="37" y="97"/>
                  </a:lnTo>
                  <a:lnTo>
                    <a:pt x="49" y="80"/>
                  </a:lnTo>
                  <a:lnTo>
                    <a:pt x="64" y="65"/>
                  </a:lnTo>
                  <a:lnTo>
                    <a:pt x="78" y="50"/>
                  </a:lnTo>
                  <a:lnTo>
                    <a:pt x="95" y="39"/>
                  </a:lnTo>
                  <a:lnTo>
                    <a:pt x="114" y="27"/>
                  </a:lnTo>
                  <a:lnTo>
                    <a:pt x="133" y="18"/>
                  </a:lnTo>
                  <a:lnTo>
                    <a:pt x="142" y="14"/>
                  </a:lnTo>
                  <a:lnTo>
                    <a:pt x="153" y="11"/>
                  </a:lnTo>
                  <a:lnTo>
                    <a:pt x="164" y="8"/>
                  </a:lnTo>
                  <a:lnTo>
                    <a:pt x="174" y="6"/>
                  </a:lnTo>
                  <a:lnTo>
                    <a:pt x="185" y="3"/>
                  </a:lnTo>
                  <a:lnTo>
                    <a:pt x="196" y="2"/>
                  </a:lnTo>
                  <a:lnTo>
                    <a:pt x="207" y="1"/>
                  </a:lnTo>
                  <a:lnTo>
                    <a:pt x="218" y="0"/>
                  </a:lnTo>
                  <a:lnTo>
                    <a:pt x="230" y="1"/>
                  </a:lnTo>
                  <a:lnTo>
                    <a:pt x="240" y="2"/>
                  </a:lnTo>
                  <a:lnTo>
                    <a:pt x="251" y="3"/>
                  </a:lnTo>
                  <a:lnTo>
                    <a:pt x="263" y="6"/>
                  </a:lnTo>
                  <a:lnTo>
                    <a:pt x="273" y="8"/>
                  </a:lnTo>
                  <a:lnTo>
                    <a:pt x="283" y="11"/>
                  </a:lnTo>
                  <a:lnTo>
                    <a:pt x="293" y="14"/>
                  </a:lnTo>
                  <a:lnTo>
                    <a:pt x="303" y="18"/>
                  </a:lnTo>
                  <a:lnTo>
                    <a:pt x="322" y="27"/>
                  </a:lnTo>
                  <a:lnTo>
                    <a:pt x="340" y="39"/>
                  </a:lnTo>
                  <a:lnTo>
                    <a:pt x="357" y="50"/>
                  </a:lnTo>
                  <a:lnTo>
                    <a:pt x="373" y="65"/>
                  </a:lnTo>
                  <a:lnTo>
                    <a:pt x="387" y="80"/>
                  </a:lnTo>
                  <a:lnTo>
                    <a:pt x="400" y="97"/>
                  </a:lnTo>
                  <a:lnTo>
                    <a:pt x="411" y="115"/>
                  </a:lnTo>
                  <a:lnTo>
                    <a:pt x="420" y="134"/>
                  </a:lnTo>
                  <a:lnTo>
                    <a:pt x="423" y="144"/>
                  </a:lnTo>
                  <a:lnTo>
                    <a:pt x="428" y="155"/>
                  </a:lnTo>
                  <a:lnTo>
                    <a:pt x="430" y="165"/>
                  </a:lnTo>
                  <a:lnTo>
                    <a:pt x="433" y="176"/>
                  </a:lnTo>
                  <a:lnTo>
                    <a:pt x="434" y="187"/>
                  </a:lnTo>
                  <a:lnTo>
                    <a:pt x="436" y="197"/>
                  </a:lnTo>
                  <a:lnTo>
                    <a:pt x="437" y="209"/>
                  </a:lnTo>
                  <a:lnTo>
                    <a:pt x="437" y="220"/>
                  </a:lnTo>
                  <a:close/>
                </a:path>
              </a:pathLst>
            </a:custGeom>
            <a:solidFill>
              <a:srgbClr val="BCBC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9" name="Freeform 107">
              <a:extLst>
                <a:ext uri="{FF2B5EF4-FFF2-40B4-BE49-F238E27FC236}">
                  <a16:creationId xmlns:a16="http://schemas.microsoft.com/office/drawing/2014/main" id="{0C88D6CC-AE51-4E33-83D6-20E2A2BF9172}"/>
                </a:ext>
              </a:extLst>
            </p:cNvPr>
            <p:cNvSpPr>
              <a:spLocks/>
            </p:cNvSpPr>
            <p:nvPr/>
          </p:nvSpPr>
          <p:spPr bwMode="auto">
            <a:xfrm>
              <a:off x="3854450" y="4921250"/>
              <a:ext cx="138113" cy="138113"/>
            </a:xfrm>
            <a:custGeom>
              <a:avLst/>
              <a:gdLst>
                <a:gd name="T0" fmla="*/ 437 w 437"/>
                <a:gd name="T1" fmla="*/ 231 h 438"/>
                <a:gd name="T2" fmla="*/ 435 w 437"/>
                <a:gd name="T3" fmla="*/ 253 h 438"/>
                <a:gd name="T4" fmla="*/ 431 w 437"/>
                <a:gd name="T5" fmla="*/ 274 h 438"/>
                <a:gd name="T6" fmla="*/ 425 w 437"/>
                <a:gd name="T7" fmla="*/ 294 h 438"/>
                <a:gd name="T8" fmla="*/ 411 w 437"/>
                <a:gd name="T9" fmla="*/ 324 h 438"/>
                <a:gd name="T10" fmla="*/ 387 w 437"/>
                <a:gd name="T11" fmla="*/ 359 h 438"/>
                <a:gd name="T12" fmla="*/ 358 w 437"/>
                <a:gd name="T13" fmla="*/ 388 h 438"/>
                <a:gd name="T14" fmla="*/ 323 w 437"/>
                <a:gd name="T15" fmla="*/ 413 h 438"/>
                <a:gd name="T16" fmla="*/ 294 w 437"/>
                <a:gd name="T17" fmla="*/ 425 h 438"/>
                <a:gd name="T18" fmla="*/ 273 w 437"/>
                <a:gd name="T19" fmla="*/ 432 h 438"/>
                <a:gd name="T20" fmla="*/ 252 w 437"/>
                <a:gd name="T21" fmla="*/ 436 h 438"/>
                <a:gd name="T22" fmla="*/ 230 w 437"/>
                <a:gd name="T23" fmla="*/ 438 h 438"/>
                <a:gd name="T24" fmla="*/ 207 w 437"/>
                <a:gd name="T25" fmla="*/ 438 h 438"/>
                <a:gd name="T26" fmla="*/ 185 w 437"/>
                <a:gd name="T27" fmla="*/ 436 h 438"/>
                <a:gd name="T28" fmla="*/ 164 w 437"/>
                <a:gd name="T29" fmla="*/ 432 h 438"/>
                <a:gd name="T30" fmla="*/ 144 w 437"/>
                <a:gd name="T31" fmla="*/ 425 h 438"/>
                <a:gd name="T32" fmla="*/ 115 w 437"/>
                <a:gd name="T33" fmla="*/ 413 h 438"/>
                <a:gd name="T34" fmla="*/ 80 w 437"/>
                <a:gd name="T35" fmla="*/ 388 h 438"/>
                <a:gd name="T36" fmla="*/ 50 w 437"/>
                <a:gd name="T37" fmla="*/ 359 h 438"/>
                <a:gd name="T38" fmla="*/ 27 w 437"/>
                <a:gd name="T39" fmla="*/ 324 h 438"/>
                <a:gd name="T40" fmla="*/ 13 w 437"/>
                <a:gd name="T41" fmla="*/ 294 h 438"/>
                <a:gd name="T42" fmla="*/ 6 w 437"/>
                <a:gd name="T43" fmla="*/ 274 h 438"/>
                <a:gd name="T44" fmla="*/ 2 w 437"/>
                <a:gd name="T45" fmla="*/ 253 h 438"/>
                <a:gd name="T46" fmla="*/ 0 w 437"/>
                <a:gd name="T47" fmla="*/ 231 h 438"/>
                <a:gd name="T48" fmla="*/ 0 w 437"/>
                <a:gd name="T49" fmla="*/ 208 h 438"/>
                <a:gd name="T50" fmla="*/ 2 w 437"/>
                <a:gd name="T51" fmla="*/ 186 h 438"/>
                <a:gd name="T52" fmla="*/ 6 w 437"/>
                <a:gd name="T53" fmla="*/ 164 h 438"/>
                <a:gd name="T54" fmla="*/ 13 w 437"/>
                <a:gd name="T55" fmla="*/ 144 h 438"/>
                <a:gd name="T56" fmla="*/ 27 w 437"/>
                <a:gd name="T57" fmla="*/ 115 h 438"/>
                <a:gd name="T58" fmla="*/ 50 w 437"/>
                <a:gd name="T59" fmla="*/ 80 h 438"/>
                <a:gd name="T60" fmla="*/ 80 w 437"/>
                <a:gd name="T61" fmla="*/ 51 h 438"/>
                <a:gd name="T62" fmla="*/ 115 w 437"/>
                <a:gd name="T63" fmla="*/ 27 h 438"/>
                <a:gd name="T64" fmla="*/ 144 w 437"/>
                <a:gd name="T65" fmla="*/ 14 h 438"/>
                <a:gd name="T66" fmla="*/ 164 w 437"/>
                <a:gd name="T67" fmla="*/ 8 h 438"/>
                <a:gd name="T68" fmla="*/ 185 w 437"/>
                <a:gd name="T69" fmla="*/ 3 h 438"/>
                <a:gd name="T70" fmla="*/ 207 w 437"/>
                <a:gd name="T71" fmla="*/ 0 h 438"/>
                <a:gd name="T72" fmla="*/ 230 w 437"/>
                <a:gd name="T73" fmla="*/ 0 h 438"/>
                <a:gd name="T74" fmla="*/ 252 w 437"/>
                <a:gd name="T75" fmla="*/ 3 h 438"/>
                <a:gd name="T76" fmla="*/ 273 w 437"/>
                <a:gd name="T77" fmla="*/ 8 h 438"/>
                <a:gd name="T78" fmla="*/ 294 w 437"/>
                <a:gd name="T79" fmla="*/ 14 h 438"/>
                <a:gd name="T80" fmla="*/ 323 w 437"/>
                <a:gd name="T81" fmla="*/ 27 h 438"/>
                <a:gd name="T82" fmla="*/ 358 w 437"/>
                <a:gd name="T83" fmla="*/ 51 h 438"/>
                <a:gd name="T84" fmla="*/ 387 w 437"/>
                <a:gd name="T85" fmla="*/ 80 h 438"/>
                <a:gd name="T86" fmla="*/ 411 w 437"/>
                <a:gd name="T87" fmla="*/ 115 h 438"/>
                <a:gd name="T88" fmla="*/ 425 w 437"/>
                <a:gd name="T89" fmla="*/ 144 h 438"/>
                <a:gd name="T90" fmla="*/ 431 w 437"/>
                <a:gd name="T91" fmla="*/ 164 h 438"/>
                <a:gd name="T92" fmla="*/ 435 w 437"/>
                <a:gd name="T93" fmla="*/ 186 h 438"/>
                <a:gd name="T94" fmla="*/ 437 w 437"/>
                <a:gd name="T95" fmla="*/ 208 h 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37" h="438">
                  <a:moveTo>
                    <a:pt x="437" y="220"/>
                  </a:moveTo>
                  <a:lnTo>
                    <a:pt x="437" y="231"/>
                  </a:lnTo>
                  <a:lnTo>
                    <a:pt x="436" y="242"/>
                  </a:lnTo>
                  <a:lnTo>
                    <a:pt x="435" y="253"/>
                  </a:lnTo>
                  <a:lnTo>
                    <a:pt x="433" y="264"/>
                  </a:lnTo>
                  <a:lnTo>
                    <a:pt x="431" y="274"/>
                  </a:lnTo>
                  <a:lnTo>
                    <a:pt x="428" y="285"/>
                  </a:lnTo>
                  <a:lnTo>
                    <a:pt x="425" y="294"/>
                  </a:lnTo>
                  <a:lnTo>
                    <a:pt x="420" y="305"/>
                  </a:lnTo>
                  <a:lnTo>
                    <a:pt x="411" y="324"/>
                  </a:lnTo>
                  <a:lnTo>
                    <a:pt x="400" y="342"/>
                  </a:lnTo>
                  <a:lnTo>
                    <a:pt x="387" y="359"/>
                  </a:lnTo>
                  <a:lnTo>
                    <a:pt x="374" y="374"/>
                  </a:lnTo>
                  <a:lnTo>
                    <a:pt x="358" y="388"/>
                  </a:lnTo>
                  <a:lnTo>
                    <a:pt x="342" y="401"/>
                  </a:lnTo>
                  <a:lnTo>
                    <a:pt x="323" y="413"/>
                  </a:lnTo>
                  <a:lnTo>
                    <a:pt x="304" y="421"/>
                  </a:lnTo>
                  <a:lnTo>
                    <a:pt x="294" y="425"/>
                  </a:lnTo>
                  <a:lnTo>
                    <a:pt x="284" y="429"/>
                  </a:lnTo>
                  <a:lnTo>
                    <a:pt x="273" y="432"/>
                  </a:lnTo>
                  <a:lnTo>
                    <a:pt x="263" y="434"/>
                  </a:lnTo>
                  <a:lnTo>
                    <a:pt x="252" y="436"/>
                  </a:lnTo>
                  <a:lnTo>
                    <a:pt x="242" y="437"/>
                  </a:lnTo>
                  <a:lnTo>
                    <a:pt x="230" y="438"/>
                  </a:lnTo>
                  <a:lnTo>
                    <a:pt x="219" y="438"/>
                  </a:lnTo>
                  <a:lnTo>
                    <a:pt x="207" y="438"/>
                  </a:lnTo>
                  <a:lnTo>
                    <a:pt x="197" y="437"/>
                  </a:lnTo>
                  <a:lnTo>
                    <a:pt x="185" y="436"/>
                  </a:lnTo>
                  <a:lnTo>
                    <a:pt x="174" y="434"/>
                  </a:lnTo>
                  <a:lnTo>
                    <a:pt x="164" y="432"/>
                  </a:lnTo>
                  <a:lnTo>
                    <a:pt x="153" y="429"/>
                  </a:lnTo>
                  <a:lnTo>
                    <a:pt x="144" y="425"/>
                  </a:lnTo>
                  <a:lnTo>
                    <a:pt x="134" y="421"/>
                  </a:lnTo>
                  <a:lnTo>
                    <a:pt x="115" y="413"/>
                  </a:lnTo>
                  <a:lnTo>
                    <a:pt x="97" y="401"/>
                  </a:lnTo>
                  <a:lnTo>
                    <a:pt x="80" y="388"/>
                  </a:lnTo>
                  <a:lnTo>
                    <a:pt x="64" y="374"/>
                  </a:lnTo>
                  <a:lnTo>
                    <a:pt x="50" y="359"/>
                  </a:lnTo>
                  <a:lnTo>
                    <a:pt x="37" y="342"/>
                  </a:lnTo>
                  <a:lnTo>
                    <a:pt x="27" y="324"/>
                  </a:lnTo>
                  <a:lnTo>
                    <a:pt x="17" y="305"/>
                  </a:lnTo>
                  <a:lnTo>
                    <a:pt x="13" y="294"/>
                  </a:lnTo>
                  <a:lnTo>
                    <a:pt x="9" y="285"/>
                  </a:lnTo>
                  <a:lnTo>
                    <a:pt x="6" y="274"/>
                  </a:lnTo>
                  <a:lnTo>
                    <a:pt x="4" y="264"/>
                  </a:lnTo>
                  <a:lnTo>
                    <a:pt x="2" y="253"/>
                  </a:lnTo>
                  <a:lnTo>
                    <a:pt x="1" y="242"/>
                  </a:lnTo>
                  <a:lnTo>
                    <a:pt x="0" y="231"/>
                  </a:lnTo>
                  <a:lnTo>
                    <a:pt x="0" y="220"/>
                  </a:lnTo>
                  <a:lnTo>
                    <a:pt x="0" y="208"/>
                  </a:lnTo>
                  <a:lnTo>
                    <a:pt x="1" y="197"/>
                  </a:lnTo>
                  <a:lnTo>
                    <a:pt x="2" y="186"/>
                  </a:lnTo>
                  <a:lnTo>
                    <a:pt x="4" y="175"/>
                  </a:lnTo>
                  <a:lnTo>
                    <a:pt x="6" y="164"/>
                  </a:lnTo>
                  <a:lnTo>
                    <a:pt x="9" y="155"/>
                  </a:lnTo>
                  <a:lnTo>
                    <a:pt x="13" y="144"/>
                  </a:lnTo>
                  <a:lnTo>
                    <a:pt x="17" y="135"/>
                  </a:lnTo>
                  <a:lnTo>
                    <a:pt x="27" y="115"/>
                  </a:lnTo>
                  <a:lnTo>
                    <a:pt x="37" y="97"/>
                  </a:lnTo>
                  <a:lnTo>
                    <a:pt x="50" y="80"/>
                  </a:lnTo>
                  <a:lnTo>
                    <a:pt x="64" y="64"/>
                  </a:lnTo>
                  <a:lnTo>
                    <a:pt x="80" y="51"/>
                  </a:lnTo>
                  <a:lnTo>
                    <a:pt x="97" y="38"/>
                  </a:lnTo>
                  <a:lnTo>
                    <a:pt x="115" y="27"/>
                  </a:lnTo>
                  <a:lnTo>
                    <a:pt x="134" y="18"/>
                  </a:lnTo>
                  <a:lnTo>
                    <a:pt x="144" y="14"/>
                  </a:lnTo>
                  <a:lnTo>
                    <a:pt x="153" y="10"/>
                  </a:lnTo>
                  <a:lnTo>
                    <a:pt x="164" y="8"/>
                  </a:lnTo>
                  <a:lnTo>
                    <a:pt x="174" y="5"/>
                  </a:lnTo>
                  <a:lnTo>
                    <a:pt x="185" y="3"/>
                  </a:lnTo>
                  <a:lnTo>
                    <a:pt x="197" y="2"/>
                  </a:lnTo>
                  <a:lnTo>
                    <a:pt x="207" y="0"/>
                  </a:lnTo>
                  <a:lnTo>
                    <a:pt x="219" y="0"/>
                  </a:lnTo>
                  <a:lnTo>
                    <a:pt x="230" y="0"/>
                  </a:lnTo>
                  <a:lnTo>
                    <a:pt x="242" y="2"/>
                  </a:lnTo>
                  <a:lnTo>
                    <a:pt x="252" y="3"/>
                  </a:lnTo>
                  <a:lnTo>
                    <a:pt x="263" y="5"/>
                  </a:lnTo>
                  <a:lnTo>
                    <a:pt x="273" y="8"/>
                  </a:lnTo>
                  <a:lnTo>
                    <a:pt x="284" y="10"/>
                  </a:lnTo>
                  <a:lnTo>
                    <a:pt x="294" y="14"/>
                  </a:lnTo>
                  <a:lnTo>
                    <a:pt x="304" y="18"/>
                  </a:lnTo>
                  <a:lnTo>
                    <a:pt x="323" y="27"/>
                  </a:lnTo>
                  <a:lnTo>
                    <a:pt x="342" y="38"/>
                  </a:lnTo>
                  <a:lnTo>
                    <a:pt x="358" y="51"/>
                  </a:lnTo>
                  <a:lnTo>
                    <a:pt x="374" y="64"/>
                  </a:lnTo>
                  <a:lnTo>
                    <a:pt x="387" y="80"/>
                  </a:lnTo>
                  <a:lnTo>
                    <a:pt x="400" y="97"/>
                  </a:lnTo>
                  <a:lnTo>
                    <a:pt x="411" y="115"/>
                  </a:lnTo>
                  <a:lnTo>
                    <a:pt x="420" y="135"/>
                  </a:lnTo>
                  <a:lnTo>
                    <a:pt x="425" y="144"/>
                  </a:lnTo>
                  <a:lnTo>
                    <a:pt x="428" y="155"/>
                  </a:lnTo>
                  <a:lnTo>
                    <a:pt x="431" y="164"/>
                  </a:lnTo>
                  <a:lnTo>
                    <a:pt x="433" y="175"/>
                  </a:lnTo>
                  <a:lnTo>
                    <a:pt x="435" y="186"/>
                  </a:lnTo>
                  <a:lnTo>
                    <a:pt x="436" y="197"/>
                  </a:lnTo>
                  <a:lnTo>
                    <a:pt x="437" y="208"/>
                  </a:lnTo>
                  <a:lnTo>
                    <a:pt x="437" y="220"/>
                  </a:lnTo>
                  <a:close/>
                </a:path>
              </a:pathLst>
            </a:custGeom>
            <a:solidFill>
              <a:srgbClr val="BCBC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0" name="Freeform 108">
              <a:extLst>
                <a:ext uri="{FF2B5EF4-FFF2-40B4-BE49-F238E27FC236}">
                  <a16:creationId xmlns:a16="http://schemas.microsoft.com/office/drawing/2014/main" id="{110AC790-E2C3-414E-95AB-07918FB40FC3}"/>
                </a:ext>
              </a:extLst>
            </p:cNvPr>
            <p:cNvSpPr>
              <a:spLocks/>
            </p:cNvSpPr>
            <p:nvPr/>
          </p:nvSpPr>
          <p:spPr bwMode="auto">
            <a:xfrm>
              <a:off x="3805238" y="5759450"/>
              <a:ext cx="138113" cy="139700"/>
            </a:xfrm>
            <a:custGeom>
              <a:avLst/>
              <a:gdLst>
                <a:gd name="T0" fmla="*/ 437 w 437"/>
                <a:gd name="T1" fmla="*/ 231 h 438"/>
                <a:gd name="T2" fmla="*/ 435 w 437"/>
                <a:gd name="T3" fmla="*/ 252 h 438"/>
                <a:gd name="T4" fmla="*/ 431 w 437"/>
                <a:gd name="T5" fmla="*/ 273 h 438"/>
                <a:gd name="T6" fmla="*/ 424 w 437"/>
                <a:gd name="T7" fmla="*/ 295 h 438"/>
                <a:gd name="T8" fmla="*/ 410 w 437"/>
                <a:gd name="T9" fmla="*/ 323 h 438"/>
                <a:gd name="T10" fmla="*/ 387 w 437"/>
                <a:gd name="T11" fmla="*/ 359 h 438"/>
                <a:gd name="T12" fmla="*/ 357 w 437"/>
                <a:gd name="T13" fmla="*/ 388 h 438"/>
                <a:gd name="T14" fmla="*/ 322 w 437"/>
                <a:gd name="T15" fmla="*/ 412 h 438"/>
                <a:gd name="T16" fmla="*/ 293 w 437"/>
                <a:gd name="T17" fmla="*/ 425 h 438"/>
                <a:gd name="T18" fmla="*/ 273 w 437"/>
                <a:gd name="T19" fmla="*/ 431 h 438"/>
                <a:gd name="T20" fmla="*/ 252 w 437"/>
                <a:gd name="T21" fmla="*/ 435 h 438"/>
                <a:gd name="T22" fmla="*/ 230 w 437"/>
                <a:gd name="T23" fmla="*/ 437 h 438"/>
                <a:gd name="T24" fmla="*/ 207 w 437"/>
                <a:gd name="T25" fmla="*/ 437 h 438"/>
                <a:gd name="T26" fmla="*/ 185 w 437"/>
                <a:gd name="T27" fmla="*/ 435 h 438"/>
                <a:gd name="T28" fmla="*/ 164 w 437"/>
                <a:gd name="T29" fmla="*/ 431 h 438"/>
                <a:gd name="T30" fmla="*/ 143 w 437"/>
                <a:gd name="T31" fmla="*/ 425 h 438"/>
                <a:gd name="T32" fmla="*/ 114 w 437"/>
                <a:gd name="T33" fmla="*/ 412 h 438"/>
                <a:gd name="T34" fmla="*/ 79 w 437"/>
                <a:gd name="T35" fmla="*/ 388 h 438"/>
                <a:gd name="T36" fmla="*/ 50 w 437"/>
                <a:gd name="T37" fmla="*/ 359 h 438"/>
                <a:gd name="T38" fmla="*/ 26 w 437"/>
                <a:gd name="T39" fmla="*/ 323 h 438"/>
                <a:gd name="T40" fmla="*/ 12 w 437"/>
                <a:gd name="T41" fmla="*/ 295 h 438"/>
                <a:gd name="T42" fmla="*/ 6 w 437"/>
                <a:gd name="T43" fmla="*/ 273 h 438"/>
                <a:gd name="T44" fmla="*/ 2 w 437"/>
                <a:gd name="T45" fmla="*/ 252 h 438"/>
                <a:gd name="T46" fmla="*/ 0 w 437"/>
                <a:gd name="T47" fmla="*/ 231 h 438"/>
                <a:gd name="T48" fmla="*/ 0 w 437"/>
                <a:gd name="T49" fmla="*/ 207 h 438"/>
                <a:gd name="T50" fmla="*/ 2 w 437"/>
                <a:gd name="T51" fmla="*/ 186 h 438"/>
                <a:gd name="T52" fmla="*/ 6 w 437"/>
                <a:gd name="T53" fmla="*/ 165 h 438"/>
                <a:gd name="T54" fmla="*/ 12 w 437"/>
                <a:gd name="T55" fmla="*/ 143 h 438"/>
                <a:gd name="T56" fmla="*/ 26 w 437"/>
                <a:gd name="T57" fmla="*/ 115 h 438"/>
                <a:gd name="T58" fmla="*/ 50 w 437"/>
                <a:gd name="T59" fmla="*/ 80 h 438"/>
                <a:gd name="T60" fmla="*/ 79 w 437"/>
                <a:gd name="T61" fmla="*/ 50 h 438"/>
                <a:gd name="T62" fmla="*/ 114 w 437"/>
                <a:gd name="T63" fmla="*/ 26 h 438"/>
                <a:gd name="T64" fmla="*/ 143 w 437"/>
                <a:gd name="T65" fmla="*/ 14 h 438"/>
                <a:gd name="T66" fmla="*/ 164 w 437"/>
                <a:gd name="T67" fmla="*/ 7 h 438"/>
                <a:gd name="T68" fmla="*/ 185 w 437"/>
                <a:gd name="T69" fmla="*/ 3 h 438"/>
                <a:gd name="T70" fmla="*/ 207 w 437"/>
                <a:gd name="T71" fmla="*/ 1 h 438"/>
                <a:gd name="T72" fmla="*/ 230 w 437"/>
                <a:gd name="T73" fmla="*/ 1 h 438"/>
                <a:gd name="T74" fmla="*/ 252 w 437"/>
                <a:gd name="T75" fmla="*/ 3 h 438"/>
                <a:gd name="T76" fmla="*/ 273 w 437"/>
                <a:gd name="T77" fmla="*/ 7 h 438"/>
                <a:gd name="T78" fmla="*/ 293 w 437"/>
                <a:gd name="T79" fmla="*/ 14 h 438"/>
                <a:gd name="T80" fmla="*/ 322 w 437"/>
                <a:gd name="T81" fmla="*/ 26 h 438"/>
                <a:gd name="T82" fmla="*/ 357 w 437"/>
                <a:gd name="T83" fmla="*/ 50 h 438"/>
                <a:gd name="T84" fmla="*/ 387 w 437"/>
                <a:gd name="T85" fmla="*/ 80 h 438"/>
                <a:gd name="T86" fmla="*/ 410 w 437"/>
                <a:gd name="T87" fmla="*/ 115 h 438"/>
                <a:gd name="T88" fmla="*/ 424 w 437"/>
                <a:gd name="T89" fmla="*/ 143 h 438"/>
                <a:gd name="T90" fmla="*/ 431 w 437"/>
                <a:gd name="T91" fmla="*/ 165 h 438"/>
                <a:gd name="T92" fmla="*/ 435 w 437"/>
                <a:gd name="T93" fmla="*/ 186 h 438"/>
                <a:gd name="T94" fmla="*/ 437 w 437"/>
                <a:gd name="T95" fmla="*/ 207 h 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37" h="438">
                  <a:moveTo>
                    <a:pt x="437" y="219"/>
                  </a:moveTo>
                  <a:lnTo>
                    <a:pt x="437" y="231"/>
                  </a:lnTo>
                  <a:lnTo>
                    <a:pt x="436" y="241"/>
                  </a:lnTo>
                  <a:lnTo>
                    <a:pt x="435" y="252"/>
                  </a:lnTo>
                  <a:lnTo>
                    <a:pt x="433" y="263"/>
                  </a:lnTo>
                  <a:lnTo>
                    <a:pt x="431" y="273"/>
                  </a:lnTo>
                  <a:lnTo>
                    <a:pt x="428" y="284"/>
                  </a:lnTo>
                  <a:lnTo>
                    <a:pt x="424" y="295"/>
                  </a:lnTo>
                  <a:lnTo>
                    <a:pt x="420" y="304"/>
                  </a:lnTo>
                  <a:lnTo>
                    <a:pt x="410" y="323"/>
                  </a:lnTo>
                  <a:lnTo>
                    <a:pt x="400" y="342"/>
                  </a:lnTo>
                  <a:lnTo>
                    <a:pt x="387" y="359"/>
                  </a:lnTo>
                  <a:lnTo>
                    <a:pt x="373" y="373"/>
                  </a:lnTo>
                  <a:lnTo>
                    <a:pt x="357" y="388"/>
                  </a:lnTo>
                  <a:lnTo>
                    <a:pt x="340" y="400"/>
                  </a:lnTo>
                  <a:lnTo>
                    <a:pt x="322" y="412"/>
                  </a:lnTo>
                  <a:lnTo>
                    <a:pt x="303" y="420"/>
                  </a:lnTo>
                  <a:lnTo>
                    <a:pt x="293" y="425"/>
                  </a:lnTo>
                  <a:lnTo>
                    <a:pt x="284" y="428"/>
                  </a:lnTo>
                  <a:lnTo>
                    <a:pt x="273" y="431"/>
                  </a:lnTo>
                  <a:lnTo>
                    <a:pt x="263" y="433"/>
                  </a:lnTo>
                  <a:lnTo>
                    <a:pt x="252" y="435"/>
                  </a:lnTo>
                  <a:lnTo>
                    <a:pt x="240" y="437"/>
                  </a:lnTo>
                  <a:lnTo>
                    <a:pt x="230" y="437"/>
                  </a:lnTo>
                  <a:lnTo>
                    <a:pt x="218" y="438"/>
                  </a:lnTo>
                  <a:lnTo>
                    <a:pt x="207" y="437"/>
                  </a:lnTo>
                  <a:lnTo>
                    <a:pt x="195" y="437"/>
                  </a:lnTo>
                  <a:lnTo>
                    <a:pt x="185" y="435"/>
                  </a:lnTo>
                  <a:lnTo>
                    <a:pt x="174" y="433"/>
                  </a:lnTo>
                  <a:lnTo>
                    <a:pt x="164" y="431"/>
                  </a:lnTo>
                  <a:lnTo>
                    <a:pt x="153" y="428"/>
                  </a:lnTo>
                  <a:lnTo>
                    <a:pt x="143" y="425"/>
                  </a:lnTo>
                  <a:lnTo>
                    <a:pt x="133" y="420"/>
                  </a:lnTo>
                  <a:lnTo>
                    <a:pt x="114" y="412"/>
                  </a:lnTo>
                  <a:lnTo>
                    <a:pt x="95" y="400"/>
                  </a:lnTo>
                  <a:lnTo>
                    <a:pt x="79" y="388"/>
                  </a:lnTo>
                  <a:lnTo>
                    <a:pt x="64" y="373"/>
                  </a:lnTo>
                  <a:lnTo>
                    <a:pt x="50" y="359"/>
                  </a:lnTo>
                  <a:lnTo>
                    <a:pt x="37" y="342"/>
                  </a:lnTo>
                  <a:lnTo>
                    <a:pt x="26" y="323"/>
                  </a:lnTo>
                  <a:lnTo>
                    <a:pt x="17" y="304"/>
                  </a:lnTo>
                  <a:lnTo>
                    <a:pt x="12" y="295"/>
                  </a:lnTo>
                  <a:lnTo>
                    <a:pt x="9" y="284"/>
                  </a:lnTo>
                  <a:lnTo>
                    <a:pt x="6" y="273"/>
                  </a:lnTo>
                  <a:lnTo>
                    <a:pt x="4" y="263"/>
                  </a:lnTo>
                  <a:lnTo>
                    <a:pt x="2" y="252"/>
                  </a:lnTo>
                  <a:lnTo>
                    <a:pt x="1" y="241"/>
                  </a:lnTo>
                  <a:lnTo>
                    <a:pt x="0" y="231"/>
                  </a:lnTo>
                  <a:lnTo>
                    <a:pt x="0" y="219"/>
                  </a:lnTo>
                  <a:lnTo>
                    <a:pt x="0" y="207"/>
                  </a:lnTo>
                  <a:lnTo>
                    <a:pt x="1" y="197"/>
                  </a:lnTo>
                  <a:lnTo>
                    <a:pt x="2" y="186"/>
                  </a:lnTo>
                  <a:lnTo>
                    <a:pt x="4" y="174"/>
                  </a:lnTo>
                  <a:lnTo>
                    <a:pt x="6" y="165"/>
                  </a:lnTo>
                  <a:lnTo>
                    <a:pt x="9" y="154"/>
                  </a:lnTo>
                  <a:lnTo>
                    <a:pt x="12" y="143"/>
                  </a:lnTo>
                  <a:lnTo>
                    <a:pt x="17" y="134"/>
                  </a:lnTo>
                  <a:lnTo>
                    <a:pt x="26" y="115"/>
                  </a:lnTo>
                  <a:lnTo>
                    <a:pt x="37" y="97"/>
                  </a:lnTo>
                  <a:lnTo>
                    <a:pt x="50" y="80"/>
                  </a:lnTo>
                  <a:lnTo>
                    <a:pt x="64" y="64"/>
                  </a:lnTo>
                  <a:lnTo>
                    <a:pt x="79" y="50"/>
                  </a:lnTo>
                  <a:lnTo>
                    <a:pt x="95" y="37"/>
                  </a:lnTo>
                  <a:lnTo>
                    <a:pt x="114" y="26"/>
                  </a:lnTo>
                  <a:lnTo>
                    <a:pt x="133" y="17"/>
                  </a:lnTo>
                  <a:lnTo>
                    <a:pt x="143" y="14"/>
                  </a:lnTo>
                  <a:lnTo>
                    <a:pt x="153" y="10"/>
                  </a:lnTo>
                  <a:lnTo>
                    <a:pt x="164" y="7"/>
                  </a:lnTo>
                  <a:lnTo>
                    <a:pt x="174" y="4"/>
                  </a:lnTo>
                  <a:lnTo>
                    <a:pt x="185" y="3"/>
                  </a:lnTo>
                  <a:lnTo>
                    <a:pt x="195" y="1"/>
                  </a:lnTo>
                  <a:lnTo>
                    <a:pt x="207" y="1"/>
                  </a:lnTo>
                  <a:lnTo>
                    <a:pt x="218" y="0"/>
                  </a:lnTo>
                  <a:lnTo>
                    <a:pt x="230" y="1"/>
                  </a:lnTo>
                  <a:lnTo>
                    <a:pt x="240" y="1"/>
                  </a:lnTo>
                  <a:lnTo>
                    <a:pt x="252" y="3"/>
                  </a:lnTo>
                  <a:lnTo>
                    <a:pt x="263" y="4"/>
                  </a:lnTo>
                  <a:lnTo>
                    <a:pt x="273" y="7"/>
                  </a:lnTo>
                  <a:lnTo>
                    <a:pt x="284" y="10"/>
                  </a:lnTo>
                  <a:lnTo>
                    <a:pt x="293" y="14"/>
                  </a:lnTo>
                  <a:lnTo>
                    <a:pt x="303" y="17"/>
                  </a:lnTo>
                  <a:lnTo>
                    <a:pt x="322" y="26"/>
                  </a:lnTo>
                  <a:lnTo>
                    <a:pt x="340" y="37"/>
                  </a:lnTo>
                  <a:lnTo>
                    <a:pt x="357" y="50"/>
                  </a:lnTo>
                  <a:lnTo>
                    <a:pt x="373" y="64"/>
                  </a:lnTo>
                  <a:lnTo>
                    <a:pt x="387" y="80"/>
                  </a:lnTo>
                  <a:lnTo>
                    <a:pt x="400" y="97"/>
                  </a:lnTo>
                  <a:lnTo>
                    <a:pt x="410" y="115"/>
                  </a:lnTo>
                  <a:lnTo>
                    <a:pt x="420" y="134"/>
                  </a:lnTo>
                  <a:lnTo>
                    <a:pt x="424" y="143"/>
                  </a:lnTo>
                  <a:lnTo>
                    <a:pt x="428" y="154"/>
                  </a:lnTo>
                  <a:lnTo>
                    <a:pt x="431" y="165"/>
                  </a:lnTo>
                  <a:lnTo>
                    <a:pt x="433" y="174"/>
                  </a:lnTo>
                  <a:lnTo>
                    <a:pt x="435" y="186"/>
                  </a:lnTo>
                  <a:lnTo>
                    <a:pt x="436" y="197"/>
                  </a:lnTo>
                  <a:lnTo>
                    <a:pt x="437" y="207"/>
                  </a:lnTo>
                  <a:lnTo>
                    <a:pt x="437" y="219"/>
                  </a:lnTo>
                  <a:close/>
                </a:path>
              </a:pathLst>
            </a:custGeom>
            <a:solidFill>
              <a:srgbClr val="BCBC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1" name="Freeform 109">
              <a:extLst>
                <a:ext uri="{FF2B5EF4-FFF2-40B4-BE49-F238E27FC236}">
                  <a16:creationId xmlns:a16="http://schemas.microsoft.com/office/drawing/2014/main" id="{2A842DA6-F4FF-419A-8FE2-B8941A989BBE}"/>
                </a:ext>
              </a:extLst>
            </p:cNvPr>
            <p:cNvSpPr>
              <a:spLocks/>
            </p:cNvSpPr>
            <p:nvPr/>
          </p:nvSpPr>
          <p:spPr bwMode="auto">
            <a:xfrm>
              <a:off x="2066925" y="4378325"/>
              <a:ext cx="138113" cy="139700"/>
            </a:xfrm>
            <a:custGeom>
              <a:avLst/>
              <a:gdLst>
                <a:gd name="T0" fmla="*/ 437 w 437"/>
                <a:gd name="T1" fmla="*/ 230 h 438"/>
                <a:gd name="T2" fmla="*/ 435 w 437"/>
                <a:gd name="T3" fmla="*/ 253 h 438"/>
                <a:gd name="T4" fmla="*/ 431 w 437"/>
                <a:gd name="T5" fmla="*/ 274 h 438"/>
                <a:gd name="T6" fmla="*/ 424 w 437"/>
                <a:gd name="T7" fmla="*/ 294 h 438"/>
                <a:gd name="T8" fmla="*/ 411 w 437"/>
                <a:gd name="T9" fmla="*/ 324 h 438"/>
                <a:gd name="T10" fmla="*/ 387 w 437"/>
                <a:gd name="T11" fmla="*/ 358 h 438"/>
                <a:gd name="T12" fmla="*/ 357 w 437"/>
                <a:gd name="T13" fmla="*/ 388 h 438"/>
                <a:gd name="T14" fmla="*/ 323 w 437"/>
                <a:gd name="T15" fmla="*/ 411 h 438"/>
                <a:gd name="T16" fmla="*/ 293 w 437"/>
                <a:gd name="T17" fmla="*/ 425 h 438"/>
                <a:gd name="T18" fmla="*/ 273 w 437"/>
                <a:gd name="T19" fmla="*/ 432 h 438"/>
                <a:gd name="T20" fmla="*/ 252 w 437"/>
                <a:gd name="T21" fmla="*/ 436 h 438"/>
                <a:gd name="T22" fmla="*/ 230 w 437"/>
                <a:gd name="T23" fmla="*/ 438 h 438"/>
                <a:gd name="T24" fmla="*/ 207 w 437"/>
                <a:gd name="T25" fmla="*/ 438 h 438"/>
                <a:gd name="T26" fmla="*/ 185 w 437"/>
                <a:gd name="T27" fmla="*/ 436 h 438"/>
                <a:gd name="T28" fmla="*/ 164 w 437"/>
                <a:gd name="T29" fmla="*/ 432 h 438"/>
                <a:gd name="T30" fmla="*/ 143 w 437"/>
                <a:gd name="T31" fmla="*/ 425 h 438"/>
                <a:gd name="T32" fmla="*/ 115 w 437"/>
                <a:gd name="T33" fmla="*/ 411 h 438"/>
                <a:gd name="T34" fmla="*/ 80 w 437"/>
                <a:gd name="T35" fmla="*/ 388 h 438"/>
                <a:gd name="T36" fmla="*/ 50 w 437"/>
                <a:gd name="T37" fmla="*/ 358 h 438"/>
                <a:gd name="T38" fmla="*/ 26 w 437"/>
                <a:gd name="T39" fmla="*/ 324 h 438"/>
                <a:gd name="T40" fmla="*/ 13 w 437"/>
                <a:gd name="T41" fmla="*/ 294 h 438"/>
                <a:gd name="T42" fmla="*/ 6 w 437"/>
                <a:gd name="T43" fmla="*/ 274 h 438"/>
                <a:gd name="T44" fmla="*/ 2 w 437"/>
                <a:gd name="T45" fmla="*/ 253 h 438"/>
                <a:gd name="T46" fmla="*/ 0 w 437"/>
                <a:gd name="T47" fmla="*/ 230 h 438"/>
                <a:gd name="T48" fmla="*/ 0 w 437"/>
                <a:gd name="T49" fmla="*/ 208 h 438"/>
                <a:gd name="T50" fmla="*/ 2 w 437"/>
                <a:gd name="T51" fmla="*/ 186 h 438"/>
                <a:gd name="T52" fmla="*/ 6 w 437"/>
                <a:gd name="T53" fmla="*/ 164 h 438"/>
                <a:gd name="T54" fmla="*/ 13 w 437"/>
                <a:gd name="T55" fmla="*/ 144 h 438"/>
                <a:gd name="T56" fmla="*/ 26 w 437"/>
                <a:gd name="T57" fmla="*/ 114 h 438"/>
                <a:gd name="T58" fmla="*/ 50 w 437"/>
                <a:gd name="T59" fmla="*/ 80 h 438"/>
                <a:gd name="T60" fmla="*/ 80 w 437"/>
                <a:gd name="T61" fmla="*/ 50 h 438"/>
                <a:gd name="T62" fmla="*/ 115 w 437"/>
                <a:gd name="T63" fmla="*/ 27 h 438"/>
                <a:gd name="T64" fmla="*/ 143 w 437"/>
                <a:gd name="T65" fmla="*/ 13 h 438"/>
                <a:gd name="T66" fmla="*/ 164 w 437"/>
                <a:gd name="T67" fmla="*/ 7 h 438"/>
                <a:gd name="T68" fmla="*/ 185 w 437"/>
                <a:gd name="T69" fmla="*/ 2 h 438"/>
                <a:gd name="T70" fmla="*/ 207 w 437"/>
                <a:gd name="T71" fmla="*/ 0 h 438"/>
                <a:gd name="T72" fmla="*/ 230 w 437"/>
                <a:gd name="T73" fmla="*/ 0 h 438"/>
                <a:gd name="T74" fmla="*/ 252 w 437"/>
                <a:gd name="T75" fmla="*/ 2 h 438"/>
                <a:gd name="T76" fmla="*/ 273 w 437"/>
                <a:gd name="T77" fmla="*/ 7 h 438"/>
                <a:gd name="T78" fmla="*/ 293 w 437"/>
                <a:gd name="T79" fmla="*/ 13 h 438"/>
                <a:gd name="T80" fmla="*/ 323 w 437"/>
                <a:gd name="T81" fmla="*/ 27 h 438"/>
                <a:gd name="T82" fmla="*/ 357 w 437"/>
                <a:gd name="T83" fmla="*/ 50 h 438"/>
                <a:gd name="T84" fmla="*/ 387 w 437"/>
                <a:gd name="T85" fmla="*/ 80 h 438"/>
                <a:gd name="T86" fmla="*/ 411 w 437"/>
                <a:gd name="T87" fmla="*/ 114 h 438"/>
                <a:gd name="T88" fmla="*/ 424 w 437"/>
                <a:gd name="T89" fmla="*/ 144 h 438"/>
                <a:gd name="T90" fmla="*/ 431 w 437"/>
                <a:gd name="T91" fmla="*/ 164 h 438"/>
                <a:gd name="T92" fmla="*/ 435 w 437"/>
                <a:gd name="T93" fmla="*/ 186 h 438"/>
                <a:gd name="T94" fmla="*/ 437 w 437"/>
                <a:gd name="T95" fmla="*/ 208 h 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37" h="438">
                  <a:moveTo>
                    <a:pt x="437" y="220"/>
                  </a:moveTo>
                  <a:lnTo>
                    <a:pt x="437" y="230"/>
                  </a:lnTo>
                  <a:lnTo>
                    <a:pt x="436" y="242"/>
                  </a:lnTo>
                  <a:lnTo>
                    <a:pt x="435" y="253"/>
                  </a:lnTo>
                  <a:lnTo>
                    <a:pt x="433" y="263"/>
                  </a:lnTo>
                  <a:lnTo>
                    <a:pt x="431" y="274"/>
                  </a:lnTo>
                  <a:lnTo>
                    <a:pt x="428" y="285"/>
                  </a:lnTo>
                  <a:lnTo>
                    <a:pt x="424" y="294"/>
                  </a:lnTo>
                  <a:lnTo>
                    <a:pt x="420" y="305"/>
                  </a:lnTo>
                  <a:lnTo>
                    <a:pt x="411" y="324"/>
                  </a:lnTo>
                  <a:lnTo>
                    <a:pt x="400" y="341"/>
                  </a:lnTo>
                  <a:lnTo>
                    <a:pt x="387" y="358"/>
                  </a:lnTo>
                  <a:lnTo>
                    <a:pt x="373" y="374"/>
                  </a:lnTo>
                  <a:lnTo>
                    <a:pt x="357" y="388"/>
                  </a:lnTo>
                  <a:lnTo>
                    <a:pt x="341" y="401"/>
                  </a:lnTo>
                  <a:lnTo>
                    <a:pt x="323" y="411"/>
                  </a:lnTo>
                  <a:lnTo>
                    <a:pt x="304" y="421"/>
                  </a:lnTo>
                  <a:lnTo>
                    <a:pt x="293" y="425"/>
                  </a:lnTo>
                  <a:lnTo>
                    <a:pt x="284" y="428"/>
                  </a:lnTo>
                  <a:lnTo>
                    <a:pt x="273" y="432"/>
                  </a:lnTo>
                  <a:lnTo>
                    <a:pt x="263" y="434"/>
                  </a:lnTo>
                  <a:lnTo>
                    <a:pt x="252" y="436"/>
                  </a:lnTo>
                  <a:lnTo>
                    <a:pt x="241" y="437"/>
                  </a:lnTo>
                  <a:lnTo>
                    <a:pt x="230" y="438"/>
                  </a:lnTo>
                  <a:lnTo>
                    <a:pt x="219" y="438"/>
                  </a:lnTo>
                  <a:lnTo>
                    <a:pt x="207" y="438"/>
                  </a:lnTo>
                  <a:lnTo>
                    <a:pt x="197" y="437"/>
                  </a:lnTo>
                  <a:lnTo>
                    <a:pt x="185" y="436"/>
                  </a:lnTo>
                  <a:lnTo>
                    <a:pt x="174" y="434"/>
                  </a:lnTo>
                  <a:lnTo>
                    <a:pt x="164" y="432"/>
                  </a:lnTo>
                  <a:lnTo>
                    <a:pt x="153" y="428"/>
                  </a:lnTo>
                  <a:lnTo>
                    <a:pt x="143" y="425"/>
                  </a:lnTo>
                  <a:lnTo>
                    <a:pt x="134" y="421"/>
                  </a:lnTo>
                  <a:lnTo>
                    <a:pt x="115" y="411"/>
                  </a:lnTo>
                  <a:lnTo>
                    <a:pt x="97" y="401"/>
                  </a:lnTo>
                  <a:lnTo>
                    <a:pt x="80" y="388"/>
                  </a:lnTo>
                  <a:lnTo>
                    <a:pt x="64" y="374"/>
                  </a:lnTo>
                  <a:lnTo>
                    <a:pt x="50" y="358"/>
                  </a:lnTo>
                  <a:lnTo>
                    <a:pt x="37" y="341"/>
                  </a:lnTo>
                  <a:lnTo>
                    <a:pt x="26" y="324"/>
                  </a:lnTo>
                  <a:lnTo>
                    <a:pt x="17" y="305"/>
                  </a:lnTo>
                  <a:lnTo>
                    <a:pt x="13" y="294"/>
                  </a:lnTo>
                  <a:lnTo>
                    <a:pt x="9" y="285"/>
                  </a:lnTo>
                  <a:lnTo>
                    <a:pt x="6" y="274"/>
                  </a:lnTo>
                  <a:lnTo>
                    <a:pt x="4" y="263"/>
                  </a:lnTo>
                  <a:lnTo>
                    <a:pt x="2" y="253"/>
                  </a:lnTo>
                  <a:lnTo>
                    <a:pt x="1" y="242"/>
                  </a:lnTo>
                  <a:lnTo>
                    <a:pt x="0" y="230"/>
                  </a:lnTo>
                  <a:lnTo>
                    <a:pt x="0" y="220"/>
                  </a:lnTo>
                  <a:lnTo>
                    <a:pt x="0" y="208"/>
                  </a:lnTo>
                  <a:lnTo>
                    <a:pt x="1" y="196"/>
                  </a:lnTo>
                  <a:lnTo>
                    <a:pt x="2" y="186"/>
                  </a:lnTo>
                  <a:lnTo>
                    <a:pt x="4" y="175"/>
                  </a:lnTo>
                  <a:lnTo>
                    <a:pt x="6" y="164"/>
                  </a:lnTo>
                  <a:lnTo>
                    <a:pt x="9" y="154"/>
                  </a:lnTo>
                  <a:lnTo>
                    <a:pt x="13" y="144"/>
                  </a:lnTo>
                  <a:lnTo>
                    <a:pt x="17" y="133"/>
                  </a:lnTo>
                  <a:lnTo>
                    <a:pt x="26" y="114"/>
                  </a:lnTo>
                  <a:lnTo>
                    <a:pt x="37" y="97"/>
                  </a:lnTo>
                  <a:lnTo>
                    <a:pt x="50" y="80"/>
                  </a:lnTo>
                  <a:lnTo>
                    <a:pt x="64" y="64"/>
                  </a:lnTo>
                  <a:lnTo>
                    <a:pt x="80" y="50"/>
                  </a:lnTo>
                  <a:lnTo>
                    <a:pt x="97" y="37"/>
                  </a:lnTo>
                  <a:lnTo>
                    <a:pt x="115" y="27"/>
                  </a:lnTo>
                  <a:lnTo>
                    <a:pt x="134" y="17"/>
                  </a:lnTo>
                  <a:lnTo>
                    <a:pt x="143" y="13"/>
                  </a:lnTo>
                  <a:lnTo>
                    <a:pt x="153" y="10"/>
                  </a:lnTo>
                  <a:lnTo>
                    <a:pt x="164" y="7"/>
                  </a:lnTo>
                  <a:lnTo>
                    <a:pt x="174" y="4"/>
                  </a:lnTo>
                  <a:lnTo>
                    <a:pt x="185" y="2"/>
                  </a:lnTo>
                  <a:lnTo>
                    <a:pt x="197" y="1"/>
                  </a:lnTo>
                  <a:lnTo>
                    <a:pt x="207" y="0"/>
                  </a:lnTo>
                  <a:lnTo>
                    <a:pt x="219" y="0"/>
                  </a:lnTo>
                  <a:lnTo>
                    <a:pt x="230" y="0"/>
                  </a:lnTo>
                  <a:lnTo>
                    <a:pt x="241" y="1"/>
                  </a:lnTo>
                  <a:lnTo>
                    <a:pt x="252" y="2"/>
                  </a:lnTo>
                  <a:lnTo>
                    <a:pt x="263" y="4"/>
                  </a:lnTo>
                  <a:lnTo>
                    <a:pt x="273" y="7"/>
                  </a:lnTo>
                  <a:lnTo>
                    <a:pt x="284" y="10"/>
                  </a:lnTo>
                  <a:lnTo>
                    <a:pt x="293" y="13"/>
                  </a:lnTo>
                  <a:lnTo>
                    <a:pt x="304" y="17"/>
                  </a:lnTo>
                  <a:lnTo>
                    <a:pt x="323" y="27"/>
                  </a:lnTo>
                  <a:lnTo>
                    <a:pt x="341" y="37"/>
                  </a:lnTo>
                  <a:lnTo>
                    <a:pt x="357" y="50"/>
                  </a:lnTo>
                  <a:lnTo>
                    <a:pt x="373" y="64"/>
                  </a:lnTo>
                  <a:lnTo>
                    <a:pt x="387" y="80"/>
                  </a:lnTo>
                  <a:lnTo>
                    <a:pt x="400" y="97"/>
                  </a:lnTo>
                  <a:lnTo>
                    <a:pt x="411" y="114"/>
                  </a:lnTo>
                  <a:lnTo>
                    <a:pt x="420" y="133"/>
                  </a:lnTo>
                  <a:lnTo>
                    <a:pt x="424" y="144"/>
                  </a:lnTo>
                  <a:lnTo>
                    <a:pt x="428" y="154"/>
                  </a:lnTo>
                  <a:lnTo>
                    <a:pt x="431" y="164"/>
                  </a:lnTo>
                  <a:lnTo>
                    <a:pt x="433" y="175"/>
                  </a:lnTo>
                  <a:lnTo>
                    <a:pt x="435" y="186"/>
                  </a:lnTo>
                  <a:lnTo>
                    <a:pt x="436" y="196"/>
                  </a:lnTo>
                  <a:lnTo>
                    <a:pt x="437" y="208"/>
                  </a:lnTo>
                  <a:lnTo>
                    <a:pt x="437" y="220"/>
                  </a:lnTo>
                  <a:close/>
                </a:path>
              </a:pathLst>
            </a:custGeom>
            <a:solidFill>
              <a:srgbClr val="BCBCBC">
                <a:alpha val="19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2" name="Freeform 110">
              <a:extLst>
                <a:ext uri="{FF2B5EF4-FFF2-40B4-BE49-F238E27FC236}">
                  <a16:creationId xmlns:a16="http://schemas.microsoft.com/office/drawing/2014/main" id="{560BD1C7-5519-4813-AC91-3E4B3496170B}"/>
                </a:ext>
              </a:extLst>
            </p:cNvPr>
            <p:cNvSpPr>
              <a:spLocks/>
            </p:cNvSpPr>
            <p:nvPr/>
          </p:nvSpPr>
          <p:spPr bwMode="auto">
            <a:xfrm>
              <a:off x="654050" y="4478338"/>
              <a:ext cx="77788" cy="77788"/>
            </a:xfrm>
            <a:custGeom>
              <a:avLst/>
              <a:gdLst>
                <a:gd name="T0" fmla="*/ 246 w 247"/>
                <a:gd name="T1" fmla="*/ 136 h 246"/>
                <a:gd name="T2" fmla="*/ 240 w 247"/>
                <a:gd name="T3" fmla="*/ 160 h 246"/>
                <a:gd name="T4" fmla="*/ 232 w 247"/>
                <a:gd name="T5" fmla="*/ 182 h 246"/>
                <a:gd name="T6" fmla="*/ 218 w 247"/>
                <a:gd name="T7" fmla="*/ 202 h 246"/>
                <a:gd name="T8" fmla="*/ 202 w 247"/>
                <a:gd name="T9" fmla="*/ 219 h 246"/>
                <a:gd name="T10" fmla="*/ 182 w 247"/>
                <a:gd name="T11" fmla="*/ 231 h 246"/>
                <a:gd name="T12" fmla="*/ 159 w 247"/>
                <a:gd name="T13" fmla="*/ 241 h 246"/>
                <a:gd name="T14" fmla="*/ 136 w 247"/>
                <a:gd name="T15" fmla="*/ 246 h 246"/>
                <a:gd name="T16" fmla="*/ 110 w 247"/>
                <a:gd name="T17" fmla="*/ 246 h 246"/>
                <a:gd name="T18" fmla="*/ 87 w 247"/>
                <a:gd name="T19" fmla="*/ 241 h 246"/>
                <a:gd name="T20" fmla="*/ 65 w 247"/>
                <a:gd name="T21" fmla="*/ 231 h 246"/>
                <a:gd name="T22" fmla="*/ 44 w 247"/>
                <a:gd name="T23" fmla="*/ 219 h 246"/>
                <a:gd name="T24" fmla="*/ 28 w 247"/>
                <a:gd name="T25" fmla="*/ 202 h 246"/>
                <a:gd name="T26" fmla="*/ 15 w 247"/>
                <a:gd name="T27" fmla="*/ 182 h 246"/>
                <a:gd name="T28" fmla="*/ 6 w 247"/>
                <a:gd name="T29" fmla="*/ 160 h 246"/>
                <a:gd name="T30" fmla="*/ 1 w 247"/>
                <a:gd name="T31" fmla="*/ 136 h 246"/>
                <a:gd name="T32" fmla="*/ 1 w 247"/>
                <a:gd name="T33" fmla="*/ 111 h 246"/>
                <a:gd name="T34" fmla="*/ 6 w 247"/>
                <a:gd name="T35" fmla="*/ 87 h 246"/>
                <a:gd name="T36" fmla="*/ 15 w 247"/>
                <a:gd name="T37" fmla="*/ 64 h 246"/>
                <a:gd name="T38" fmla="*/ 28 w 247"/>
                <a:gd name="T39" fmla="*/ 45 h 246"/>
                <a:gd name="T40" fmla="*/ 44 w 247"/>
                <a:gd name="T41" fmla="*/ 28 h 246"/>
                <a:gd name="T42" fmla="*/ 65 w 247"/>
                <a:gd name="T43" fmla="*/ 15 h 246"/>
                <a:gd name="T44" fmla="*/ 87 w 247"/>
                <a:gd name="T45" fmla="*/ 6 h 246"/>
                <a:gd name="T46" fmla="*/ 110 w 247"/>
                <a:gd name="T47" fmla="*/ 0 h 246"/>
                <a:gd name="T48" fmla="*/ 136 w 247"/>
                <a:gd name="T49" fmla="*/ 0 h 246"/>
                <a:gd name="T50" fmla="*/ 159 w 247"/>
                <a:gd name="T51" fmla="*/ 6 h 246"/>
                <a:gd name="T52" fmla="*/ 182 w 247"/>
                <a:gd name="T53" fmla="*/ 15 h 246"/>
                <a:gd name="T54" fmla="*/ 202 w 247"/>
                <a:gd name="T55" fmla="*/ 28 h 246"/>
                <a:gd name="T56" fmla="*/ 218 w 247"/>
                <a:gd name="T57" fmla="*/ 45 h 246"/>
                <a:gd name="T58" fmla="*/ 232 w 247"/>
                <a:gd name="T59" fmla="*/ 64 h 246"/>
                <a:gd name="T60" fmla="*/ 240 w 247"/>
                <a:gd name="T61" fmla="*/ 87 h 246"/>
                <a:gd name="T62" fmla="*/ 246 w 247"/>
                <a:gd name="T63" fmla="*/ 111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47" h="246">
                  <a:moveTo>
                    <a:pt x="247" y="124"/>
                  </a:moveTo>
                  <a:lnTo>
                    <a:pt x="246" y="136"/>
                  </a:lnTo>
                  <a:lnTo>
                    <a:pt x="243" y="148"/>
                  </a:lnTo>
                  <a:lnTo>
                    <a:pt x="240" y="160"/>
                  </a:lnTo>
                  <a:lnTo>
                    <a:pt x="237" y="172"/>
                  </a:lnTo>
                  <a:lnTo>
                    <a:pt x="232" y="182"/>
                  </a:lnTo>
                  <a:lnTo>
                    <a:pt x="225" y="192"/>
                  </a:lnTo>
                  <a:lnTo>
                    <a:pt x="218" y="202"/>
                  </a:lnTo>
                  <a:lnTo>
                    <a:pt x="210" y="210"/>
                  </a:lnTo>
                  <a:lnTo>
                    <a:pt x="202" y="219"/>
                  </a:lnTo>
                  <a:lnTo>
                    <a:pt x="192" y="225"/>
                  </a:lnTo>
                  <a:lnTo>
                    <a:pt x="182" y="231"/>
                  </a:lnTo>
                  <a:lnTo>
                    <a:pt x="171" y="237"/>
                  </a:lnTo>
                  <a:lnTo>
                    <a:pt x="159" y="241"/>
                  </a:lnTo>
                  <a:lnTo>
                    <a:pt x="148" y="244"/>
                  </a:lnTo>
                  <a:lnTo>
                    <a:pt x="136" y="246"/>
                  </a:lnTo>
                  <a:lnTo>
                    <a:pt x="123" y="246"/>
                  </a:lnTo>
                  <a:lnTo>
                    <a:pt x="110" y="246"/>
                  </a:lnTo>
                  <a:lnTo>
                    <a:pt x="99" y="244"/>
                  </a:lnTo>
                  <a:lnTo>
                    <a:pt x="87" y="241"/>
                  </a:lnTo>
                  <a:lnTo>
                    <a:pt x="75" y="237"/>
                  </a:lnTo>
                  <a:lnTo>
                    <a:pt x="65" y="231"/>
                  </a:lnTo>
                  <a:lnTo>
                    <a:pt x="54" y="225"/>
                  </a:lnTo>
                  <a:lnTo>
                    <a:pt x="44" y="219"/>
                  </a:lnTo>
                  <a:lnTo>
                    <a:pt x="36" y="210"/>
                  </a:lnTo>
                  <a:lnTo>
                    <a:pt x="28" y="202"/>
                  </a:lnTo>
                  <a:lnTo>
                    <a:pt x="21" y="192"/>
                  </a:lnTo>
                  <a:lnTo>
                    <a:pt x="15" y="182"/>
                  </a:lnTo>
                  <a:lnTo>
                    <a:pt x="9" y="172"/>
                  </a:lnTo>
                  <a:lnTo>
                    <a:pt x="6" y="160"/>
                  </a:lnTo>
                  <a:lnTo>
                    <a:pt x="3" y="148"/>
                  </a:lnTo>
                  <a:lnTo>
                    <a:pt x="1" y="136"/>
                  </a:lnTo>
                  <a:lnTo>
                    <a:pt x="0" y="124"/>
                  </a:lnTo>
                  <a:lnTo>
                    <a:pt x="1" y="111"/>
                  </a:lnTo>
                  <a:lnTo>
                    <a:pt x="3" y="98"/>
                  </a:lnTo>
                  <a:lnTo>
                    <a:pt x="6" y="87"/>
                  </a:lnTo>
                  <a:lnTo>
                    <a:pt x="9" y="75"/>
                  </a:lnTo>
                  <a:lnTo>
                    <a:pt x="15" y="64"/>
                  </a:lnTo>
                  <a:lnTo>
                    <a:pt x="21" y="55"/>
                  </a:lnTo>
                  <a:lnTo>
                    <a:pt x="28" y="45"/>
                  </a:lnTo>
                  <a:lnTo>
                    <a:pt x="36" y="37"/>
                  </a:lnTo>
                  <a:lnTo>
                    <a:pt x="44" y="28"/>
                  </a:lnTo>
                  <a:lnTo>
                    <a:pt x="54" y="22"/>
                  </a:lnTo>
                  <a:lnTo>
                    <a:pt x="65" y="15"/>
                  </a:lnTo>
                  <a:lnTo>
                    <a:pt x="75" y="10"/>
                  </a:lnTo>
                  <a:lnTo>
                    <a:pt x="87" y="6"/>
                  </a:lnTo>
                  <a:lnTo>
                    <a:pt x="99" y="2"/>
                  </a:lnTo>
                  <a:lnTo>
                    <a:pt x="110" y="0"/>
                  </a:lnTo>
                  <a:lnTo>
                    <a:pt x="123" y="0"/>
                  </a:lnTo>
                  <a:lnTo>
                    <a:pt x="136" y="0"/>
                  </a:lnTo>
                  <a:lnTo>
                    <a:pt x="148" y="2"/>
                  </a:lnTo>
                  <a:lnTo>
                    <a:pt x="159" y="6"/>
                  </a:lnTo>
                  <a:lnTo>
                    <a:pt x="171" y="10"/>
                  </a:lnTo>
                  <a:lnTo>
                    <a:pt x="182" y="15"/>
                  </a:lnTo>
                  <a:lnTo>
                    <a:pt x="192" y="22"/>
                  </a:lnTo>
                  <a:lnTo>
                    <a:pt x="202" y="28"/>
                  </a:lnTo>
                  <a:lnTo>
                    <a:pt x="210" y="37"/>
                  </a:lnTo>
                  <a:lnTo>
                    <a:pt x="218" y="45"/>
                  </a:lnTo>
                  <a:lnTo>
                    <a:pt x="225" y="55"/>
                  </a:lnTo>
                  <a:lnTo>
                    <a:pt x="232" y="64"/>
                  </a:lnTo>
                  <a:lnTo>
                    <a:pt x="237" y="75"/>
                  </a:lnTo>
                  <a:lnTo>
                    <a:pt x="240" y="87"/>
                  </a:lnTo>
                  <a:lnTo>
                    <a:pt x="243" y="98"/>
                  </a:lnTo>
                  <a:lnTo>
                    <a:pt x="246" y="111"/>
                  </a:lnTo>
                  <a:lnTo>
                    <a:pt x="247" y="124"/>
                  </a:lnTo>
                  <a:close/>
                </a:path>
              </a:pathLst>
            </a:custGeom>
            <a:solidFill>
              <a:srgbClr val="BCBC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3" name="Freeform 111">
              <a:extLst>
                <a:ext uri="{FF2B5EF4-FFF2-40B4-BE49-F238E27FC236}">
                  <a16:creationId xmlns:a16="http://schemas.microsoft.com/office/drawing/2014/main" id="{20EA77B7-9D96-4B73-8DBE-81297AEA044D}"/>
                </a:ext>
              </a:extLst>
            </p:cNvPr>
            <p:cNvSpPr>
              <a:spLocks/>
            </p:cNvSpPr>
            <p:nvPr/>
          </p:nvSpPr>
          <p:spPr bwMode="auto">
            <a:xfrm>
              <a:off x="1566863" y="1863725"/>
              <a:ext cx="77788" cy="77788"/>
            </a:xfrm>
            <a:custGeom>
              <a:avLst/>
              <a:gdLst>
                <a:gd name="T0" fmla="*/ 245 w 245"/>
                <a:gd name="T1" fmla="*/ 136 h 246"/>
                <a:gd name="T2" fmla="*/ 240 w 245"/>
                <a:gd name="T3" fmla="*/ 160 h 246"/>
                <a:gd name="T4" fmla="*/ 230 w 245"/>
                <a:gd name="T5" fmla="*/ 182 h 246"/>
                <a:gd name="T6" fmla="*/ 218 w 245"/>
                <a:gd name="T7" fmla="*/ 201 h 246"/>
                <a:gd name="T8" fmla="*/ 201 w 245"/>
                <a:gd name="T9" fmla="*/ 218 h 246"/>
                <a:gd name="T10" fmla="*/ 182 w 245"/>
                <a:gd name="T11" fmla="*/ 231 h 246"/>
                <a:gd name="T12" fmla="*/ 159 w 245"/>
                <a:gd name="T13" fmla="*/ 240 h 246"/>
                <a:gd name="T14" fmla="*/ 135 w 245"/>
                <a:gd name="T15" fmla="*/ 246 h 246"/>
                <a:gd name="T16" fmla="*/ 110 w 245"/>
                <a:gd name="T17" fmla="*/ 246 h 246"/>
                <a:gd name="T18" fmla="*/ 86 w 245"/>
                <a:gd name="T19" fmla="*/ 240 h 246"/>
                <a:gd name="T20" fmla="*/ 63 w 245"/>
                <a:gd name="T21" fmla="*/ 231 h 246"/>
                <a:gd name="T22" fmla="*/ 44 w 245"/>
                <a:gd name="T23" fmla="*/ 218 h 246"/>
                <a:gd name="T24" fmla="*/ 27 w 245"/>
                <a:gd name="T25" fmla="*/ 201 h 246"/>
                <a:gd name="T26" fmla="*/ 14 w 245"/>
                <a:gd name="T27" fmla="*/ 182 h 246"/>
                <a:gd name="T28" fmla="*/ 5 w 245"/>
                <a:gd name="T29" fmla="*/ 160 h 246"/>
                <a:gd name="T30" fmla="*/ 1 w 245"/>
                <a:gd name="T31" fmla="*/ 136 h 246"/>
                <a:gd name="T32" fmla="*/ 1 w 245"/>
                <a:gd name="T33" fmla="*/ 111 h 246"/>
                <a:gd name="T34" fmla="*/ 5 w 245"/>
                <a:gd name="T35" fmla="*/ 86 h 246"/>
                <a:gd name="T36" fmla="*/ 14 w 245"/>
                <a:gd name="T37" fmla="*/ 65 h 246"/>
                <a:gd name="T38" fmla="*/ 27 w 245"/>
                <a:gd name="T39" fmla="*/ 45 h 246"/>
                <a:gd name="T40" fmla="*/ 44 w 245"/>
                <a:gd name="T41" fmla="*/ 27 h 246"/>
                <a:gd name="T42" fmla="*/ 63 w 245"/>
                <a:gd name="T43" fmla="*/ 15 h 246"/>
                <a:gd name="T44" fmla="*/ 86 w 245"/>
                <a:gd name="T45" fmla="*/ 5 h 246"/>
                <a:gd name="T46" fmla="*/ 110 w 245"/>
                <a:gd name="T47" fmla="*/ 1 h 246"/>
                <a:gd name="T48" fmla="*/ 135 w 245"/>
                <a:gd name="T49" fmla="*/ 1 h 246"/>
                <a:gd name="T50" fmla="*/ 159 w 245"/>
                <a:gd name="T51" fmla="*/ 5 h 246"/>
                <a:gd name="T52" fmla="*/ 182 w 245"/>
                <a:gd name="T53" fmla="*/ 15 h 246"/>
                <a:gd name="T54" fmla="*/ 201 w 245"/>
                <a:gd name="T55" fmla="*/ 27 h 246"/>
                <a:gd name="T56" fmla="*/ 218 w 245"/>
                <a:gd name="T57" fmla="*/ 45 h 246"/>
                <a:gd name="T58" fmla="*/ 230 w 245"/>
                <a:gd name="T59" fmla="*/ 65 h 246"/>
                <a:gd name="T60" fmla="*/ 240 w 245"/>
                <a:gd name="T61" fmla="*/ 86 h 246"/>
                <a:gd name="T62" fmla="*/ 245 w 245"/>
                <a:gd name="T63" fmla="*/ 111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45" h="246">
                  <a:moveTo>
                    <a:pt x="245" y="123"/>
                  </a:moveTo>
                  <a:lnTo>
                    <a:pt x="245" y="136"/>
                  </a:lnTo>
                  <a:lnTo>
                    <a:pt x="243" y="148"/>
                  </a:lnTo>
                  <a:lnTo>
                    <a:pt x="240" y="160"/>
                  </a:lnTo>
                  <a:lnTo>
                    <a:pt x="236" y="171"/>
                  </a:lnTo>
                  <a:lnTo>
                    <a:pt x="230" y="182"/>
                  </a:lnTo>
                  <a:lnTo>
                    <a:pt x="225" y="192"/>
                  </a:lnTo>
                  <a:lnTo>
                    <a:pt x="218" y="201"/>
                  </a:lnTo>
                  <a:lnTo>
                    <a:pt x="209" y="210"/>
                  </a:lnTo>
                  <a:lnTo>
                    <a:pt x="201" y="218"/>
                  </a:lnTo>
                  <a:lnTo>
                    <a:pt x="191" y="226"/>
                  </a:lnTo>
                  <a:lnTo>
                    <a:pt x="182" y="231"/>
                  </a:lnTo>
                  <a:lnTo>
                    <a:pt x="171" y="236"/>
                  </a:lnTo>
                  <a:lnTo>
                    <a:pt x="159" y="240"/>
                  </a:lnTo>
                  <a:lnTo>
                    <a:pt x="147" y="244"/>
                  </a:lnTo>
                  <a:lnTo>
                    <a:pt x="135" y="246"/>
                  </a:lnTo>
                  <a:lnTo>
                    <a:pt x="123" y="246"/>
                  </a:lnTo>
                  <a:lnTo>
                    <a:pt x="110" y="246"/>
                  </a:lnTo>
                  <a:lnTo>
                    <a:pt x="97" y="244"/>
                  </a:lnTo>
                  <a:lnTo>
                    <a:pt x="86" y="240"/>
                  </a:lnTo>
                  <a:lnTo>
                    <a:pt x="75" y="236"/>
                  </a:lnTo>
                  <a:lnTo>
                    <a:pt x="63" y="231"/>
                  </a:lnTo>
                  <a:lnTo>
                    <a:pt x="54" y="226"/>
                  </a:lnTo>
                  <a:lnTo>
                    <a:pt x="44" y="218"/>
                  </a:lnTo>
                  <a:lnTo>
                    <a:pt x="36" y="210"/>
                  </a:lnTo>
                  <a:lnTo>
                    <a:pt x="27" y="201"/>
                  </a:lnTo>
                  <a:lnTo>
                    <a:pt x="21" y="192"/>
                  </a:lnTo>
                  <a:lnTo>
                    <a:pt x="14" y="182"/>
                  </a:lnTo>
                  <a:lnTo>
                    <a:pt x="9" y="171"/>
                  </a:lnTo>
                  <a:lnTo>
                    <a:pt x="5" y="160"/>
                  </a:lnTo>
                  <a:lnTo>
                    <a:pt x="2" y="148"/>
                  </a:lnTo>
                  <a:lnTo>
                    <a:pt x="1" y="136"/>
                  </a:lnTo>
                  <a:lnTo>
                    <a:pt x="0" y="123"/>
                  </a:lnTo>
                  <a:lnTo>
                    <a:pt x="1" y="111"/>
                  </a:lnTo>
                  <a:lnTo>
                    <a:pt x="2" y="98"/>
                  </a:lnTo>
                  <a:lnTo>
                    <a:pt x="5" y="86"/>
                  </a:lnTo>
                  <a:lnTo>
                    <a:pt x="9" y="75"/>
                  </a:lnTo>
                  <a:lnTo>
                    <a:pt x="14" y="65"/>
                  </a:lnTo>
                  <a:lnTo>
                    <a:pt x="21" y="54"/>
                  </a:lnTo>
                  <a:lnTo>
                    <a:pt x="27" y="45"/>
                  </a:lnTo>
                  <a:lnTo>
                    <a:pt x="36" y="36"/>
                  </a:lnTo>
                  <a:lnTo>
                    <a:pt x="44" y="27"/>
                  </a:lnTo>
                  <a:lnTo>
                    <a:pt x="54" y="21"/>
                  </a:lnTo>
                  <a:lnTo>
                    <a:pt x="63" y="15"/>
                  </a:lnTo>
                  <a:lnTo>
                    <a:pt x="75" y="9"/>
                  </a:lnTo>
                  <a:lnTo>
                    <a:pt x="86" y="5"/>
                  </a:lnTo>
                  <a:lnTo>
                    <a:pt x="97" y="2"/>
                  </a:lnTo>
                  <a:lnTo>
                    <a:pt x="110" y="1"/>
                  </a:lnTo>
                  <a:lnTo>
                    <a:pt x="123" y="0"/>
                  </a:lnTo>
                  <a:lnTo>
                    <a:pt x="135" y="1"/>
                  </a:lnTo>
                  <a:lnTo>
                    <a:pt x="147" y="2"/>
                  </a:lnTo>
                  <a:lnTo>
                    <a:pt x="159" y="5"/>
                  </a:lnTo>
                  <a:lnTo>
                    <a:pt x="171" y="9"/>
                  </a:lnTo>
                  <a:lnTo>
                    <a:pt x="182" y="15"/>
                  </a:lnTo>
                  <a:lnTo>
                    <a:pt x="191" y="21"/>
                  </a:lnTo>
                  <a:lnTo>
                    <a:pt x="201" y="27"/>
                  </a:lnTo>
                  <a:lnTo>
                    <a:pt x="209" y="36"/>
                  </a:lnTo>
                  <a:lnTo>
                    <a:pt x="218" y="45"/>
                  </a:lnTo>
                  <a:lnTo>
                    <a:pt x="225" y="54"/>
                  </a:lnTo>
                  <a:lnTo>
                    <a:pt x="230" y="65"/>
                  </a:lnTo>
                  <a:lnTo>
                    <a:pt x="236" y="75"/>
                  </a:lnTo>
                  <a:lnTo>
                    <a:pt x="240" y="86"/>
                  </a:lnTo>
                  <a:lnTo>
                    <a:pt x="243" y="98"/>
                  </a:lnTo>
                  <a:lnTo>
                    <a:pt x="245" y="111"/>
                  </a:lnTo>
                  <a:lnTo>
                    <a:pt x="245" y="123"/>
                  </a:lnTo>
                  <a:close/>
                </a:path>
              </a:pathLst>
            </a:custGeom>
            <a:solidFill>
              <a:srgbClr val="BCBC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4" name="Freeform 112">
              <a:extLst>
                <a:ext uri="{FF2B5EF4-FFF2-40B4-BE49-F238E27FC236}">
                  <a16:creationId xmlns:a16="http://schemas.microsoft.com/office/drawing/2014/main" id="{A25DEF9E-7A4E-42CC-BAAE-4D2751697846}"/>
                </a:ext>
              </a:extLst>
            </p:cNvPr>
            <p:cNvSpPr>
              <a:spLocks/>
            </p:cNvSpPr>
            <p:nvPr/>
          </p:nvSpPr>
          <p:spPr bwMode="auto">
            <a:xfrm>
              <a:off x="3962400" y="1903413"/>
              <a:ext cx="77788" cy="77788"/>
            </a:xfrm>
            <a:custGeom>
              <a:avLst/>
              <a:gdLst>
                <a:gd name="T0" fmla="*/ 244 w 245"/>
                <a:gd name="T1" fmla="*/ 136 h 246"/>
                <a:gd name="T2" fmla="*/ 240 w 245"/>
                <a:gd name="T3" fmla="*/ 160 h 246"/>
                <a:gd name="T4" fmla="*/ 231 w 245"/>
                <a:gd name="T5" fmla="*/ 182 h 246"/>
                <a:gd name="T6" fmla="*/ 218 w 245"/>
                <a:gd name="T7" fmla="*/ 202 h 246"/>
                <a:gd name="T8" fmla="*/ 201 w 245"/>
                <a:gd name="T9" fmla="*/ 219 h 246"/>
                <a:gd name="T10" fmla="*/ 182 w 245"/>
                <a:gd name="T11" fmla="*/ 231 h 246"/>
                <a:gd name="T12" fmla="*/ 159 w 245"/>
                <a:gd name="T13" fmla="*/ 241 h 246"/>
                <a:gd name="T14" fmla="*/ 135 w 245"/>
                <a:gd name="T15" fmla="*/ 245 h 246"/>
                <a:gd name="T16" fmla="*/ 110 w 245"/>
                <a:gd name="T17" fmla="*/ 245 h 246"/>
                <a:gd name="T18" fmla="*/ 86 w 245"/>
                <a:gd name="T19" fmla="*/ 241 h 246"/>
                <a:gd name="T20" fmla="*/ 63 w 245"/>
                <a:gd name="T21" fmla="*/ 231 h 246"/>
                <a:gd name="T22" fmla="*/ 44 w 245"/>
                <a:gd name="T23" fmla="*/ 219 h 246"/>
                <a:gd name="T24" fmla="*/ 27 w 245"/>
                <a:gd name="T25" fmla="*/ 202 h 246"/>
                <a:gd name="T26" fmla="*/ 15 w 245"/>
                <a:gd name="T27" fmla="*/ 182 h 246"/>
                <a:gd name="T28" fmla="*/ 5 w 245"/>
                <a:gd name="T29" fmla="*/ 160 h 246"/>
                <a:gd name="T30" fmla="*/ 0 w 245"/>
                <a:gd name="T31" fmla="*/ 136 h 246"/>
                <a:gd name="T32" fmla="*/ 0 w 245"/>
                <a:gd name="T33" fmla="*/ 111 h 246"/>
                <a:gd name="T34" fmla="*/ 5 w 245"/>
                <a:gd name="T35" fmla="*/ 87 h 246"/>
                <a:gd name="T36" fmla="*/ 15 w 245"/>
                <a:gd name="T37" fmla="*/ 64 h 246"/>
                <a:gd name="T38" fmla="*/ 27 w 245"/>
                <a:gd name="T39" fmla="*/ 45 h 246"/>
                <a:gd name="T40" fmla="*/ 44 w 245"/>
                <a:gd name="T41" fmla="*/ 28 h 246"/>
                <a:gd name="T42" fmla="*/ 63 w 245"/>
                <a:gd name="T43" fmla="*/ 15 h 246"/>
                <a:gd name="T44" fmla="*/ 86 w 245"/>
                <a:gd name="T45" fmla="*/ 6 h 246"/>
                <a:gd name="T46" fmla="*/ 110 w 245"/>
                <a:gd name="T47" fmla="*/ 0 h 246"/>
                <a:gd name="T48" fmla="*/ 135 w 245"/>
                <a:gd name="T49" fmla="*/ 0 h 246"/>
                <a:gd name="T50" fmla="*/ 159 w 245"/>
                <a:gd name="T51" fmla="*/ 6 h 246"/>
                <a:gd name="T52" fmla="*/ 182 w 245"/>
                <a:gd name="T53" fmla="*/ 15 h 246"/>
                <a:gd name="T54" fmla="*/ 201 w 245"/>
                <a:gd name="T55" fmla="*/ 28 h 246"/>
                <a:gd name="T56" fmla="*/ 218 w 245"/>
                <a:gd name="T57" fmla="*/ 45 h 246"/>
                <a:gd name="T58" fmla="*/ 231 w 245"/>
                <a:gd name="T59" fmla="*/ 64 h 246"/>
                <a:gd name="T60" fmla="*/ 240 w 245"/>
                <a:gd name="T61" fmla="*/ 87 h 246"/>
                <a:gd name="T62" fmla="*/ 244 w 245"/>
                <a:gd name="T63" fmla="*/ 111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45" h="246">
                  <a:moveTo>
                    <a:pt x="245" y="123"/>
                  </a:moveTo>
                  <a:lnTo>
                    <a:pt x="244" y="136"/>
                  </a:lnTo>
                  <a:lnTo>
                    <a:pt x="243" y="148"/>
                  </a:lnTo>
                  <a:lnTo>
                    <a:pt x="240" y="160"/>
                  </a:lnTo>
                  <a:lnTo>
                    <a:pt x="236" y="171"/>
                  </a:lnTo>
                  <a:lnTo>
                    <a:pt x="231" y="182"/>
                  </a:lnTo>
                  <a:lnTo>
                    <a:pt x="224" y="192"/>
                  </a:lnTo>
                  <a:lnTo>
                    <a:pt x="218" y="202"/>
                  </a:lnTo>
                  <a:lnTo>
                    <a:pt x="209" y="210"/>
                  </a:lnTo>
                  <a:lnTo>
                    <a:pt x="201" y="219"/>
                  </a:lnTo>
                  <a:lnTo>
                    <a:pt x="191" y="225"/>
                  </a:lnTo>
                  <a:lnTo>
                    <a:pt x="182" y="231"/>
                  </a:lnTo>
                  <a:lnTo>
                    <a:pt x="170" y="237"/>
                  </a:lnTo>
                  <a:lnTo>
                    <a:pt x="159" y="241"/>
                  </a:lnTo>
                  <a:lnTo>
                    <a:pt x="148" y="244"/>
                  </a:lnTo>
                  <a:lnTo>
                    <a:pt x="135" y="245"/>
                  </a:lnTo>
                  <a:lnTo>
                    <a:pt x="122" y="246"/>
                  </a:lnTo>
                  <a:lnTo>
                    <a:pt x="110" y="245"/>
                  </a:lnTo>
                  <a:lnTo>
                    <a:pt x="98" y="244"/>
                  </a:lnTo>
                  <a:lnTo>
                    <a:pt x="86" y="241"/>
                  </a:lnTo>
                  <a:lnTo>
                    <a:pt x="74" y="237"/>
                  </a:lnTo>
                  <a:lnTo>
                    <a:pt x="63" y="231"/>
                  </a:lnTo>
                  <a:lnTo>
                    <a:pt x="54" y="225"/>
                  </a:lnTo>
                  <a:lnTo>
                    <a:pt x="44" y="219"/>
                  </a:lnTo>
                  <a:lnTo>
                    <a:pt x="36" y="210"/>
                  </a:lnTo>
                  <a:lnTo>
                    <a:pt x="27" y="202"/>
                  </a:lnTo>
                  <a:lnTo>
                    <a:pt x="20" y="192"/>
                  </a:lnTo>
                  <a:lnTo>
                    <a:pt x="15" y="182"/>
                  </a:lnTo>
                  <a:lnTo>
                    <a:pt x="9" y="171"/>
                  </a:lnTo>
                  <a:lnTo>
                    <a:pt x="5" y="160"/>
                  </a:lnTo>
                  <a:lnTo>
                    <a:pt x="2" y="148"/>
                  </a:lnTo>
                  <a:lnTo>
                    <a:pt x="0" y="136"/>
                  </a:lnTo>
                  <a:lnTo>
                    <a:pt x="0" y="123"/>
                  </a:lnTo>
                  <a:lnTo>
                    <a:pt x="0" y="111"/>
                  </a:lnTo>
                  <a:lnTo>
                    <a:pt x="2" y="98"/>
                  </a:lnTo>
                  <a:lnTo>
                    <a:pt x="5" y="87"/>
                  </a:lnTo>
                  <a:lnTo>
                    <a:pt x="9" y="75"/>
                  </a:lnTo>
                  <a:lnTo>
                    <a:pt x="15" y="64"/>
                  </a:lnTo>
                  <a:lnTo>
                    <a:pt x="20" y="55"/>
                  </a:lnTo>
                  <a:lnTo>
                    <a:pt x="27" y="45"/>
                  </a:lnTo>
                  <a:lnTo>
                    <a:pt x="36" y="37"/>
                  </a:lnTo>
                  <a:lnTo>
                    <a:pt x="44" y="28"/>
                  </a:lnTo>
                  <a:lnTo>
                    <a:pt x="54" y="21"/>
                  </a:lnTo>
                  <a:lnTo>
                    <a:pt x="63" y="15"/>
                  </a:lnTo>
                  <a:lnTo>
                    <a:pt x="74" y="10"/>
                  </a:lnTo>
                  <a:lnTo>
                    <a:pt x="86" y="6"/>
                  </a:lnTo>
                  <a:lnTo>
                    <a:pt x="98" y="2"/>
                  </a:lnTo>
                  <a:lnTo>
                    <a:pt x="110" y="0"/>
                  </a:lnTo>
                  <a:lnTo>
                    <a:pt x="122" y="0"/>
                  </a:lnTo>
                  <a:lnTo>
                    <a:pt x="135" y="0"/>
                  </a:lnTo>
                  <a:lnTo>
                    <a:pt x="148" y="2"/>
                  </a:lnTo>
                  <a:lnTo>
                    <a:pt x="159" y="6"/>
                  </a:lnTo>
                  <a:lnTo>
                    <a:pt x="170" y="10"/>
                  </a:lnTo>
                  <a:lnTo>
                    <a:pt x="182" y="15"/>
                  </a:lnTo>
                  <a:lnTo>
                    <a:pt x="191" y="21"/>
                  </a:lnTo>
                  <a:lnTo>
                    <a:pt x="201" y="28"/>
                  </a:lnTo>
                  <a:lnTo>
                    <a:pt x="209" y="37"/>
                  </a:lnTo>
                  <a:lnTo>
                    <a:pt x="218" y="45"/>
                  </a:lnTo>
                  <a:lnTo>
                    <a:pt x="224" y="55"/>
                  </a:lnTo>
                  <a:lnTo>
                    <a:pt x="231" y="64"/>
                  </a:lnTo>
                  <a:lnTo>
                    <a:pt x="236" y="75"/>
                  </a:lnTo>
                  <a:lnTo>
                    <a:pt x="240" y="87"/>
                  </a:lnTo>
                  <a:lnTo>
                    <a:pt x="243" y="98"/>
                  </a:lnTo>
                  <a:lnTo>
                    <a:pt x="244" y="111"/>
                  </a:lnTo>
                  <a:lnTo>
                    <a:pt x="245" y="123"/>
                  </a:lnTo>
                  <a:close/>
                </a:path>
              </a:pathLst>
            </a:custGeom>
            <a:solidFill>
              <a:srgbClr val="BCBC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5" name="Freeform 113">
              <a:extLst>
                <a:ext uri="{FF2B5EF4-FFF2-40B4-BE49-F238E27FC236}">
                  <a16:creationId xmlns:a16="http://schemas.microsoft.com/office/drawing/2014/main" id="{FF8A71E8-8853-441D-9253-6BAF493280E3}"/>
                </a:ext>
              </a:extLst>
            </p:cNvPr>
            <p:cNvSpPr>
              <a:spLocks/>
            </p:cNvSpPr>
            <p:nvPr/>
          </p:nvSpPr>
          <p:spPr bwMode="auto">
            <a:xfrm>
              <a:off x="5419725" y="4995863"/>
              <a:ext cx="77788" cy="77788"/>
            </a:xfrm>
            <a:custGeom>
              <a:avLst/>
              <a:gdLst>
                <a:gd name="T0" fmla="*/ 245 w 246"/>
                <a:gd name="T1" fmla="*/ 135 h 246"/>
                <a:gd name="T2" fmla="*/ 241 w 246"/>
                <a:gd name="T3" fmla="*/ 159 h 246"/>
                <a:gd name="T4" fmla="*/ 231 w 246"/>
                <a:gd name="T5" fmla="*/ 181 h 246"/>
                <a:gd name="T6" fmla="*/ 217 w 246"/>
                <a:gd name="T7" fmla="*/ 201 h 246"/>
                <a:gd name="T8" fmla="*/ 201 w 246"/>
                <a:gd name="T9" fmla="*/ 218 h 246"/>
                <a:gd name="T10" fmla="*/ 181 w 246"/>
                <a:gd name="T11" fmla="*/ 231 h 246"/>
                <a:gd name="T12" fmla="*/ 160 w 246"/>
                <a:gd name="T13" fmla="*/ 240 h 246"/>
                <a:gd name="T14" fmla="*/ 135 w 246"/>
                <a:gd name="T15" fmla="*/ 245 h 246"/>
                <a:gd name="T16" fmla="*/ 110 w 246"/>
                <a:gd name="T17" fmla="*/ 245 h 246"/>
                <a:gd name="T18" fmla="*/ 86 w 246"/>
                <a:gd name="T19" fmla="*/ 240 h 246"/>
                <a:gd name="T20" fmla="*/ 64 w 246"/>
                <a:gd name="T21" fmla="*/ 231 h 246"/>
                <a:gd name="T22" fmla="*/ 45 w 246"/>
                <a:gd name="T23" fmla="*/ 218 h 246"/>
                <a:gd name="T24" fmla="*/ 28 w 246"/>
                <a:gd name="T25" fmla="*/ 201 h 246"/>
                <a:gd name="T26" fmla="*/ 14 w 246"/>
                <a:gd name="T27" fmla="*/ 181 h 246"/>
                <a:gd name="T28" fmla="*/ 5 w 246"/>
                <a:gd name="T29" fmla="*/ 159 h 246"/>
                <a:gd name="T30" fmla="*/ 0 w 246"/>
                <a:gd name="T31" fmla="*/ 135 h 246"/>
                <a:gd name="T32" fmla="*/ 0 w 246"/>
                <a:gd name="T33" fmla="*/ 109 h 246"/>
                <a:gd name="T34" fmla="*/ 5 w 246"/>
                <a:gd name="T35" fmla="*/ 86 h 246"/>
                <a:gd name="T36" fmla="*/ 14 w 246"/>
                <a:gd name="T37" fmla="*/ 64 h 246"/>
                <a:gd name="T38" fmla="*/ 28 w 246"/>
                <a:gd name="T39" fmla="*/ 44 h 246"/>
                <a:gd name="T40" fmla="*/ 45 w 246"/>
                <a:gd name="T41" fmla="*/ 27 h 246"/>
                <a:gd name="T42" fmla="*/ 64 w 246"/>
                <a:gd name="T43" fmla="*/ 15 h 246"/>
                <a:gd name="T44" fmla="*/ 86 w 246"/>
                <a:gd name="T45" fmla="*/ 5 h 246"/>
                <a:gd name="T46" fmla="*/ 110 w 246"/>
                <a:gd name="T47" fmla="*/ 0 h 246"/>
                <a:gd name="T48" fmla="*/ 135 w 246"/>
                <a:gd name="T49" fmla="*/ 0 h 246"/>
                <a:gd name="T50" fmla="*/ 160 w 246"/>
                <a:gd name="T51" fmla="*/ 5 h 246"/>
                <a:gd name="T52" fmla="*/ 181 w 246"/>
                <a:gd name="T53" fmla="*/ 15 h 246"/>
                <a:gd name="T54" fmla="*/ 201 w 246"/>
                <a:gd name="T55" fmla="*/ 27 h 246"/>
                <a:gd name="T56" fmla="*/ 217 w 246"/>
                <a:gd name="T57" fmla="*/ 44 h 246"/>
                <a:gd name="T58" fmla="*/ 231 w 246"/>
                <a:gd name="T59" fmla="*/ 64 h 246"/>
                <a:gd name="T60" fmla="*/ 241 w 246"/>
                <a:gd name="T61" fmla="*/ 86 h 246"/>
                <a:gd name="T62" fmla="*/ 245 w 246"/>
                <a:gd name="T63" fmla="*/ 109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46" h="246">
                  <a:moveTo>
                    <a:pt x="246" y="122"/>
                  </a:moveTo>
                  <a:lnTo>
                    <a:pt x="245" y="135"/>
                  </a:lnTo>
                  <a:lnTo>
                    <a:pt x="244" y="148"/>
                  </a:lnTo>
                  <a:lnTo>
                    <a:pt x="241" y="159"/>
                  </a:lnTo>
                  <a:lnTo>
                    <a:pt x="236" y="170"/>
                  </a:lnTo>
                  <a:lnTo>
                    <a:pt x="231" y="181"/>
                  </a:lnTo>
                  <a:lnTo>
                    <a:pt x="225" y="191"/>
                  </a:lnTo>
                  <a:lnTo>
                    <a:pt x="217" y="201"/>
                  </a:lnTo>
                  <a:lnTo>
                    <a:pt x="210" y="210"/>
                  </a:lnTo>
                  <a:lnTo>
                    <a:pt x="201" y="218"/>
                  </a:lnTo>
                  <a:lnTo>
                    <a:pt x="192" y="224"/>
                  </a:lnTo>
                  <a:lnTo>
                    <a:pt x="181" y="231"/>
                  </a:lnTo>
                  <a:lnTo>
                    <a:pt x="170" y="236"/>
                  </a:lnTo>
                  <a:lnTo>
                    <a:pt x="160" y="240"/>
                  </a:lnTo>
                  <a:lnTo>
                    <a:pt x="148" y="244"/>
                  </a:lnTo>
                  <a:lnTo>
                    <a:pt x="135" y="245"/>
                  </a:lnTo>
                  <a:lnTo>
                    <a:pt x="122" y="246"/>
                  </a:lnTo>
                  <a:lnTo>
                    <a:pt x="110" y="245"/>
                  </a:lnTo>
                  <a:lnTo>
                    <a:pt x="98" y="244"/>
                  </a:lnTo>
                  <a:lnTo>
                    <a:pt x="86" y="240"/>
                  </a:lnTo>
                  <a:lnTo>
                    <a:pt x="75" y="236"/>
                  </a:lnTo>
                  <a:lnTo>
                    <a:pt x="64" y="231"/>
                  </a:lnTo>
                  <a:lnTo>
                    <a:pt x="54" y="224"/>
                  </a:lnTo>
                  <a:lnTo>
                    <a:pt x="45" y="218"/>
                  </a:lnTo>
                  <a:lnTo>
                    <a:pt x="35" y="210"/>
                  </a:lnTo>
                  <a:lnTo>
                    <a:pt x="28" y="201"/>
                  </a:lnTo>
                  <a:lnTo>
                    <a:pt x="20" y="191"/>
                  </a:lnTo>
                  <a:lnTo>
                    <a:pt x="14" y="181"/>
                  </a:lnTo>
                  <a:lnTo>
                    <a:pt x="10" y="170"/>
                  </a:lnTo>
                  <a:lnTo>
                    <a:pt x="5" y="159"/>
                  </a:lnTo>
                  <a:lnTo>
                    <a:pt x="2" y="148"/>
                  </a:lnTo>
                  <a:lnTo>
                    <a:pt x="0" y="135"/>
                  </a:lnTo>
                  <a:lnTo>
                    <a:pt x="0" y="122"/>
                  </a:lnTo>
                  <a:lnTo>
                    <a:pt x="0" y="109"/>
                  </a:lnTo>
                  <a:lnTo>
                    <a:pt x="2" y="98"/>
                  </a:lnTo>
                  <a:lnTo>
                    <a:pt x="5" y="86"/>
                  </a:lnTo>
                  <a:lnTo>
                    <a:pt x="10" y="74"/>
                  </a:lnTo>
                  <a:lnTo>
                    <a:pt x="14" y="64"/>
                  </a:lnTo>
                  <a:lnTo>
                    <a:pt x="20" y="54"/>
                  </a:lnTo>
                  <a:lnTo>
                    <a:pt x="28" y="44"/>
                  </a:lnTo>
                  <a:lnTo>
                    <a:pt x="35" y="35"/>
                  </a:lnTo>
                  <a:lnTo>
                    <a:pt x="45" y="27"/>
                  </a:lnTo>
                  <a:lnTo>
                    <a:pt x="54" y="20"/>
                  </a:lnTo>
                  <a:lnTo>
                    <a:pt x="64" y="15"/>
                  </a:lnTo>
                  <a:lnTo>
                    <a:pt x="75" y="9"/>
                  </a:lnTo>
                  <a:lnTo>
                    <a:pt x="86" y="5"/>
                  </a:lnTo>
                  <a:lnTo>
                    <a:pt x="98" y="2"/>
                  </a:lnTo>
                  <a:lnTo>
                    <a:pt x="110" y="0"/>
                  </a:lnTo>
                  <a:lnTo>
                    <a:pt x="122" y="0"/>
                  </a:lnTo>
                  <a:lnTo>
                    <a:pt x="135" y="0"/>
                  </a:lnTo>
                  <a:lnTo>
                    <a:pt x="148" y="2"/>
                  </a:lnTo>
                  <a:lnTo>
                    <a:pt x="160" y="5"/>
                  </a:lnTo>
                  <a:lnTo>
                    <a:pt x="170" y="9"/>
                  </a:lnTo>
                  <a:lnTo>
                    <a:pt x="181" y="15"/>
                  </a:lnTo>
                  <a:lnTo>
                    <a:pt x="192" y="20"/>
                  </a:lnTo>
                  <a:lnTo>
                    <a:pt x="201" y="27"/>
                  </a:lnTo>
                  <a:lnTo>
                    <a:pt x="210" y="35"/>
                  </a:lnTo>
                  <a:lnTo>
                    <a:pt x="217" y="44"/>
                  </a:lnTo>
                  <a:lnTo>
                    <a:pt x="225" y="54"/>
                  </a:lnTo>
                  <a:lnTo>
                    <a:pt x="231" y="64"/>
                  </a:lnTo>
                  <a:lnTo>
                    <a:pt x="236" y="74"/>
                  </a:lnTo>
                  <a:lnTo>
                    <a:pt x="241" y="86"/>
                  </a:lnTo>
                  <a:lnTo>
                    <a:pt x="244" y="98"/>
                  </a:lnTo>
                  <a:lnTo>
                    <a:pt x="245" y="109"/>
                  </a:lnTo>
                  <a:lnTo>
                    <a:pt x="246" y="122"/>
                  </a:lnTo>
                  <a:close/>
                </a:path>
              </a:pathLst>
            </a:custGeom>
            <a:solidFill>
              <a:srgbClr val="BCBC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6" name="Freeform 114">
              <a:extLst>
                <a:ext uri="{FF2B5EF4-FFF2-40B4-BE49-F238E27FC236}">
                  <a16:creationId xmlns:a16="http://schemas.microsoft.com/office/drawing/2014/main" id="{A5CBBFAA-9609-4F47-87AA-23AA217F8198}"/>
                </a:ext>
              </a:extLst>
            </p:cNvPr>
            <p:cNvSpPr>
              <a:spLocks/>
            </p:cNvSpPr>
            <p:nvPr/>
          </p:nvSpPr>
          <p:spPr bwMode="auto">
            <a:xfrm>
              <a:off x="5491163" y="2732088"/>
              <a:ext cx="77788" cy="77788"/>
            </a:xfrm>
            <a:custGeom>
              <a:avLst/>
              <a:gdLst>
                <a:gd name="T0" fmla="*/ 245 w 247"/>
                <a:gd name="T1" fmla="*/ 135 h 246"/>
                <a:gd name="T2" fmla="*/ 240 w 247"/>
                <a:gd name="T3" fmla="*/ 159 h 246"/>
                <a:gd name="T4" fmla="*/ 232 w 247"/>
                <a:gd name="T5" fmla="*/ 182 h 246"/>
                <a:gd name="T6" fmla="*/ 218 w 247"/>
                <a:gd name="T7" fmla="*/ 201 h 246"/>
                <a:gd name="T8" fmla="*/ 201 w 247"/>
                <a:gd name="T9" fmla="*/ 218 h 246"/>
                <a:gd name="T10" fmla="*/ 182 w 247"/>
                <a:gd name="T11" fmla="*/ 231 h 246"/>
                <a:gd name="T12" fmla="*/ 159 w 247"/>
                <a:gd name="T13" fmla="*/ 240 h 246"/>
                <a:gd name="T14" fmla="*/ 136 w 247"/>
                <a:gd name="T15" fmla="*/ 246 h 246"/>
                <a:gd name="T16" fmla="*/ 110 w 247"/>
                <a:gd name="T17" fmla="*/ 246 h 246"/>
                <a:gd name="T18" fmla="*/ 86 w 247"/>
                <a:gd name="T19" fmla="*/ 240 h 246"/>
                <a:gd name="T20" fmla="*/ 65 w 247"/>
                <a:gd name="T21" fmla="*/ 231 h 246"/>
                <a:gd name="T22" fmla="*/ 44 w 247"/>
                <a:gd name="T23" fmla="*/ 218 h 246"/>
                <a:gd name="T24" fmla="*/ 28 w 247"/>
                <a:gd name="T25" fmla="*/ 201 h 246"/>
                <a:gd name="T26" fmla="*/ 15 w 247"/>
                <a:gd name="T27" fmla="*/ 182 h 246"/>
                <a:gd name="T28" fmla="*/ 5 w 247"/>
                <a:gd name="T29" fmla="*/ 159 h 246"/>
                <a:gd name="T30" fmla="*/ 1 w 247"/>
                <a:gd name="T31" fmla="*/ 135 h 246"/>
                <a:gd name="T32" fmla="*/ 1 w 247"/>
                <a:gd name="T33" fmla="*/ 110 h 246"/>
                <a:gd name="T34" fmla="*/ 5 w 247"/>
                <a:gd name="T35" fmla="*/ 86 h 246"/>
                <a:gd name="T36" fmla="*/ 15 w 247"/>
                <a:gd name="T37" fmla="*/ 63 h 246"/>
                <a:gd name="T38" fmla="*/ 28 w 247"/>
                <a:gd name="T39" fmla="*/ 44 h 246"/>
                <a:gd name="T40" fmla="*/ 44 w 247"/>
                <a:gd name="T41" fmla="*/ 27 h 246"/>
                <a:gd name="T42" fmla="*/ 65 w 247"/>
                <a:gd name="T43" fmla="*/ 14 h 246"/>
                <a:gd name="T44" fmla="*/ 86 w 247"/>
                <a:gd name="T45" fmla="*/ 5 h 246"/>
                <a:gd name="T46" fmla="*/ 110 w 247"/>
                <a:gd name="T47" fmla="*/ 0 h 246"/>
                <a:gd name="T48" fmla="*/ 136 w 247"/>
                <a:gd name="T49" fmla="*/ 0 h 246"/>
                <a:gd name="T50" fmla="*/ 159 w 247"/>
                <a:gd name="T51" fmla="*/ 5 h 246"/>
                <a:gd name="T52" fmla="*/ 182 w 247"/>
                <a:gd name="T53" fmla="*/ 14 h 246"/>
                <a:gd name="T54" fmla="*/ 201 w 247"/>
                <a:gd name="T55" fmla="*/ 27 h 246"/>
                <a:gd name="T56" fmla="*/ 218 w 247"/>
                <a:gd name="T57" fmla="*/ 44 h 246"/>
                <a:gd name="T58" fmla="*/ 232 w 247"/>
                <a:gd name="T59" fmla="*/ 63 h 246"/>
                <a:gd name="T60" fmla="*/ 240 w 247"/>
                <a:gd name="T61" fmla="*/ 86 h 246"/>
                <a:gd name="T62" fmla="*/ 245 w 247"/>
                <a:gd name="T63" fmla="*/ 11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47" h="246">
                  <a:moveTo>
                    <a:pt x="247" y="123"/>
                  </a:moveTo>
                  <a:lnTo>
                    <a:pt x="245" y="135"/>
                  </a:lnTo>
                  <a:lnTo>
                    <a:pt x="243" y="148"/>
                  </a:lnTo>
                  <a:lnTo>
                    <a:pt x="240" y="159"/>
                  </a:lnTo>
                  <a:lnTo>
                    <a:pt x="236" y="171"/>
                  </a:lnTo>
                  <a:lnTo>
                    <a:pt x="232" y="182"/>
                  </a:lnTo>
                  <a:lnTo>
                    <a:pt x="225" y="191"/>
                  </a:lnTo>
                  <a:lnTo>
                    <a:pt x="218" y="201"/>
                  </a:lnTo>
                  <a:lnTo>
                    <a:pt x="210" y="209"/>
                  </a:lnTo>
                  <a:lnTo>
                    <a:pt x="201" y="218"/>
                  </a:lnTo>
                  <a:lnTo>
                    <a:pt x="192" y="224"/>
                  </a:lnTo>
                  <a:lnTo>
                    <a:pt x="182" y="231"/>
                  </a:lnTo>
                  <a:lnTo>
                    <a:pt x="171" y="236"/>
                  </a:lnTo>
                  <a:lnTo>
                    <a:pt x="159" y="240"/>
                  </a:lnTo>
                  <a:lnTo>
                    <a:pt x="148" y="243"/>
                  </a:lnTo>
                  <a:lnTo>
                    <a:pt x="136" y="246"/>
                  </a:lnTo>
                  <a:lnTo>
                    <a:pt x="123" y="246"/>
                  </a:lnTo>
                  <a:lnTo>
                    <a:pt x="110" y="246"/>
                  </a:lnTo>
                  <a:lnTo>
                    <a:pt x="99" y="243"/>
                  </a:lnTo>
                  <a:lnTo>
                    <a:pt x="86" y="240"/>
                  </a:lnTo>
                  <a:lnTo>
                    <a:pt x="75" y="236"/>
                  </a:lnTo>
                  <a:lnTo>
                    <a:pt x="65" y="231"/>
                  </a:lnTo>
                  <a:lnTo>
                    <a:pt x="54" y="224"/>
                  </a:lnTo>
                  <a:lnTo>
                    <a:pt x="44" y="218"/>
                  </a:lnTo>
                  <a:lnTo>
                    <a:pt x="36" y="209"/>
                  </a:lnTo>
                  <a:lnTo>
                    <a:pt x="28" y="201"/>
                  </a:lnTo>
                  <a:lnTo>
                    <a:pt x="21" y="191"/>
                  </a:lnTo>
                  <a:lnTo>
                    <a:pt x="15" y="182"/>
                  </a:lnTo>
                  <a:lnTo>
                    <a:pt x="9" y="171"/>
                  </a:lnTo>
                  <a:lnTo>
                    <a:pt x="5" y="159"/>
                  </a:lnTo>
                  <a:lnTo>
                    <a:pt x="3" y="148"/>
                  </a:lnTo>
                  <a:lnTo>
                    <a:pt x="1" y="135"/>
                  </a:lnTo>
                  <a:lnTo>
                    <a:pt x="0" y="123"/>
                  </a:lnTo>
                  <a:lnTo>
                    <a:pt x="1" y="110"/>
                  </a:lnTo>
                  <a:lnTo>
                    <a:pt x="3" y="98"/>
                  </a:lnTo>
                  <a:lnTo>
                    <a:pt x="5" y="86"/>
                  </a:lnTo>
                  <a:lnTo>
                    <a:pt x="9" y="74"/>
                  </a:lnTo>
                  <a:lnTo>
                    <a:pt x="15" y="63"/>
                  </a:lnTo>
                  <a:lnTo>
                    <a:pt x="21" y="54"/>
                  </a:lnTo>
                  <a:lnTo>
                    <a:pt x="28" y="44"/>
                  </a:lnTo>
                  <a:lnTo>
                    <a:pt x="36" y="36"/>
                  </a:lnTo>
                  <a:lnTo>
                    <a:pt x="44" y="27"/>
                  </a:lnTo>
                  <a:lnTo>
                    <a:pt x="54" y="21"/>
                  </a:lnTo>
                  <a:lnTo>
                    <a:pt x="65" y="14"/>
                  </a:lnTo>
                  <a:lnTo>
                    <a:pt x="75" y="9"/>
                  </a:lnTo>
                  <a:lnTo>
                    <a:pt x="86" y="5"/>
                  </a:lnTo>
                  <a:lnTo>
                    <a:pt x="99" y="2"/>
                  </a:lnTo>
                  <a:lnTo>
                    <a:pt x="110" y="0"/>
                  </a:lnTo>
                  <a:lnTo>
                    <a:pt x="123" y="0"/>
                  </a:lnTo>
                  <a:lnTo>
                    <a:pt x="136" y="0"/>
                  </a:lnTo>
                  <a:lnTo>
                    <a:pt x="148" y="2"/>
                  </a:lnTo>
                  <a:lnTo>
                    <a:pt x="159" y="5"/>
                  </a:lnTo>
                  <a:lnTo>
                    <a:pt x="171" y="9"/>
                  </a:lnTo>
                  <a:lnTo>
                    <a:pt x="182" y="14"/>
                  </a:lnTo>
                  <a:lnTo>
                    <a:pt x="192" y="21"/>
                  </a:lnTo>
                  <a:lnTo>
                    <a:pt x="201" y="27"/>
                  </a:lnTo>
                  <a:lnTo>
                    <a:pt x="210" y="36"/>
                  </a:lnTo>
                  <a:lnTo>
                    <a:pt x="218" y="44"/>
                  </a:lnTo>
                  <a:lnTo>
                    <a:pt x="225" y="54"/>
                  </a:lnTo>
                  <a:lnTo>
                    <a:pt x="232" y="63"/>
                  </a:lnTo>
                  <a:lnTo>
                    <a:pt x="236" y="74"/>
                  </a:lnTo>
                  <a:lnTo>
                    <a:pt x="240" y="86"/>
                  </a:lnTo>
                  <a:lnTo>
                    <a:pt x="243" y="98"/>
                  </a:lnTo>
                  <a:lnTo>
                    <a:pt x="245" y="110"/>
                  </a:lnTo>
                  <a:lnTo>
                    <a:pt x="247" y="123"/>
                  </a:lnTo>
                  <a:close/>
                </a:path>
              </a:pathLst>
            </a:custGeom>
            <a:solidFill>
              <a:srgbClr val="BCBC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7" name="Freeform 115">
              <a:extLst>
                <a:ext uri="{FF2B5EF4-FFF2-40B4-BE49-F238E27FC236}">
                  <a16:creationId xmlns:a16="http://schemas.microsoft.com/office/drawing/2014/main" id="{CC20127B-70E1-4680-8ED4-2AC90E36FED9}"/>
                </a:ext>
              </a:extLst>
            </p:cNvPr>
            <p:cNvSpPr>
              <a:spLocks/>
            </p:cNvSpPr>
            <p:nvPr/>
          </p:nvSpPr>
          <p:spPr bwMode="auto">
            <a:xfrm>
              <a:off x="2289175" y="1233488"/>
              <a:ext cx="77788" cy="79375"/>
            </a:xfrm>
            <a:custGeom>
              <a:avLst/>
              <a:gdLst>
                <a:gd name="T0" fmla="*/ 245 w 246"/>
                <a:gd name="T1" fmla="*/ 135 h 246"/>
                <a:gd name="T2" fmla="*/ 241 w 246"/>
                <a:gd name="T3" fmla="*/ 159 h 246"/>
                <a:gd name="T4" fmla="*/ 231 w 246"/>
                <a:gd name="T5" fmla="*/ 181 h 246"/>
                <a:gd name="T6" fmla="*/ 218 w 246"/>
                <a:gd name="T7" fmla="*/ 201 h 246"/>
                <a:gd name="T8" fmla="*/ 201 w 246"/>
                <a:gd name="T9" fmla="*/ 218 h 246"/>
                <a:gd name="T10" fmla="*/ 182 w 246"/>
                <a:gd name="T11" fmla="*/ 231 h 246"/>
                <a:gd name="T12" fmla="*/ 160 w 246"/>
                <a:gd name="T13" fmla="*/ 240 h 246"/>
                <a:gd name="T14" fmla="*/ 135 w 246"/>
                <a:gd name="T15" fmla="*/ 245 h 246"/>
                <a:gd name="T16" fmla="*/ 111 w 246"/>
                <a:gd name="T17" fmla="*/ 245 h 246"/>
                <a:gd name="T18" fmla="*/ 86 w 246"/>
                <a:gd name="T19" fmla="*/ 240 h 246"/>
                <a:gd name="T20" fmla="*/ 64 w 246"/>
                <a:gd name="T21" fmla="*/ 231 h 246"/>
                <a:gd name="T22" fmla="*/ 45 w 246"/>
                <a:gd name="T23" fmla="*/ 218 h 246"/>
                <a:gd name="T24" fmla="*/ 28 w 246"/>
                <a:gd name="T25" fmla="*/ 201 h 246"/>
                <a:gd name="T26" fmla="*/ 15 w 246"/>
                <a:gd name="T27" fmla="*/ 181 h 246"/>
                <a:gd name="T28" fmla="*/ 5 w 246"/>
                <a:gd name="T29" fmla="*/ 159 h 246"/>
                <a:gd name="T30" fmla="*/ 0 w 246"/>
                <a:gd name="T31" fmla="*/ 135 h 246"/>
                <a:gd name="T32" fmla="*/ 0 w 246"/>
                <a:gd name="T33" fmla="*/ 109 h 246"/>
                <a:gd name="T34" fmla="*/ 5 w 246"/>
                <a:gd name="T35" fmla="*/ 86 h 246"/>
                <a:gd name="T36" fmla="*/ 15 w 246"/>
                <a:gd name="T37" fmla="*/ 64 h 246"/>
                <a:gd name="T38" fmla="*/ 28 w 246"/>
                <a:gd name="T39" fmla="*/ 44 h 246"/>
                <a:gd name="T40" fmla="*/ 45 w 246"/>
                <a:gd name="T41" fmla="*/ 27 h 246"/>
                <a:gd name="T42" fmla="*/ 64 w 246"/>
                <a:gd name="T43" fmla="*/ 15 h 246"/>
                <a:gd name="T44" fmla="*/ 86 w 246"/>
                <a:gd name="T45" fmla="*/ 5 h 246"/>
                <a:gd name="T46" fmla="*/ 111 w 246"/>
                <a:gd name="T47" fmla="*/ 0 h 246"/>
                <a:gd name="T48" fmla="*/ 135 w 246"/>
                <a:gd name="T49" fmla="*/ 0 h 246"/>
                <a:gd name="T50" fmla="*/ 160 w 246"/>
                <a:gd name="T51" fmla="*/ 5 h 246"/>
                <a:gd name="T52" fmla="*/ 182 w 246"/>
                <a:gd name="T53" fmla="*/ 15 h 246"/>
                <a:gd name="T54" fmla="*/ 201 w 246"/>
                <a:gd name="T55" fmla="*/ 27 h 246"/>
                <a:gd name="T56" fmla="*/ 218 w 246"/>
                <a:gd name="T57" fmla="*/ 44 h 246"/>
                <a:gd name="T58" fmla="*/ 231 w 246"/>
                <a:gd name="T59" fmla="*/ 64 h 246"/>
                <a:gd name="T60" fmla="*/ 241 w 246"/>
                <a:gd name="T61" fmla="*/ 86 h 246"/>
                <a:gd name="T62" fmla="*/ 245 w 246"/>
                <a:gd name="T63" fmla="*/ 109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46" h="246">
                  <a:moveTo>
                    <a:pt x="246" y="122"/>
                  </a:moveTo>
                  <a:lnTo>
                    <a:pt x="245" y="135"/>
                  </a:lnTo>
                  <a:lnTo>
                    <a:pt x="244" y="148"/>
                  </a:lnTo>
                  <a:lnTo>
                    <a:pt x="241" y="159"/>
                  </a:lnTo>
                  <a:lnTo>
                    <a:pt x="236" y="170"/>
                  </a:lnTo>
                  <a:lnTo>
                    <a:pt x="231" y="181"/>
                  </a:lnTo>
                  <a:lnTo>
                    <a:pt x="225" y="191"/>
                  </a:lnTo>
                  <a:lnTo>
                    <a:pt x="218" y="201"/>
                  </a:lnTo>
                  <a:lnTo>
                    <a:pt x="210" y="210"/>
                  </a:lnTo>
                  <a:lnTo>
                    <a:pt x="201" y="218"/>
                  </a:lnTo>
                  <a:lnTo>
                    <a:pt x="192" y="224"/>
                  </a:lnTo>
                  <a:lnTo>
                    <a:pt x="182" y="231"/>
                  </a:lnTo>
                  <a:lnTo>
                    <a:pt x="170" y="236"/>
                  </a:lnTo>
                  <a:lnTo>
                    <a:pt x="160" y="240"/>
                  </a:lnTo>
                  <a:lnTo>
                    <a:pt x="148" y="244"/>
                  </a:lnTo>
                  <a:lnTo>
                    <a:pt x="135" y="245"/>
                  </a:lnTo>
                  <a:lnTo>
                    <a:pt x="122" y="246"/>
                  </a:lnTo>
                  <a:lnTo>
                    <a:pt x="111" y="245"/>
                  </a:lnTo>
                  <a:lnTo>
                    <a:pt x="98" y="244"/>
                  </a:lnTo>
                  <a:lnTo>
                    <a:pt x="86" y="240"/>
                  </a:lnTo>
                  <a:lnTo>
                    <a:pt x="75" y="236"/>
                  </a:lnTo>
                  <a:lnTo>
                    <a:pt x="64" y="231"/>
                  </a:lnTo>
                  <a:lnTo>
                    <a:pt x="54" y="224"/>
                  </a:lnTo>
                  <a:lnTo>
                    <a:pt x="45" y="218"/>
                  </a:lnTo>
                  <a:lnTo>
                    <a:pt x="36" y="210"/>
                  </a:lnTo>
                  <a:lnTo>
                    <a:pt x="28" y="201"/>
                  </a:lnTo>
                  <a:lnTo>
                    <a:pt x="20" y="191"/>
                  </a:lnTo>
                  <a:lnTo>
                    <a:pt x="15" y="181"/>
                  </a:lnTo>
                  <a:lnTo>
                    <a:pt x="10" y="170"/>
                  </a:lnTo>
                  <a:lnTo>
                    <a:pt x="5" y="159"/>
                  </a:lnTo>
                  <a:lnTo>
                    <a:pt x="2" y="148"/>
                  </a:lnTo>
                  <a:lnTo>
                    <a:pt x="0" y="135"/>
                  </a:lnTo>
                  <a:lnTo>
                    <a:pt x="0" y="122"/>
                  </a:lnTo>
                  <a:lnTo>
                    <a:pt x="0" y="109"/>
                  </a:lnTo>
                  <a:lnTo>
                    <a:pt x="2" y="98"/>
                  </a:lnTo>
                  <a:lnTo>
                    <a:pt x="5" y="86"/>
                  </a:lnTo>
                  <a:lnTo>
                    <a:pt x="10" y="74"/>
                  </a:lnTo>
                  <a:lnTo>
                    <a:pt x="15" y="64"/>
                  </a:lnTo>
                  <a:lnTo>
                    <a:pt x="20" y="54"/>
                  </a:lnTo>
                  <a:lnTo>
                    <a:pt x="28" y="44"/>
                  </a:lnTo>
                  <a:lnTo>
                    <a:pt x="36" y="35"/>
                  </a:lnTo>
                  <a:lnTo>
                    <a:pt x="45" y="27"/>
                  </a:lnTo>
                  <a:lnTo>
                    <a:pt x="54" y="20"/>
                  </a:lnTo>
                  <a:lnTo>
                    <a:pt x="64" y="15"/>
                  </a:lnTo>
                  <a:lnTo>
                    <a:pt x="75" y="9"/>
                  </a:lnTo>
                  <a:lnTo>
                    <a:pt x="86" y="5"/>
                  </a:lnTo>
                  <a:lnTo>
                    <a:pt x="98" y="2"/>
                  </a:lnTo>
                  <a:lnTo>
                    <a:pt x="111" y="0"/>
                  </a:lnTo>
                  <a:lnTo>
                    <a:pt x="122" y="0"/>
                  </a:lnTo>
                  <a:lnTo>
                    <a:pt x="135" y="0"/>
                  </a:lnTo>
                  <a:lnTo>
                    <a:pt x="148" y="2"/>
                  </a:lnTo>
                  <a:lnTo>
                    <a:pt x="160" y="5"/>
                  </a:lnTo>
                  <a:lnTo>
                    <a:pt x="170" y="9"/>
                  </a:lnTo>
                  <a:lnTo>
                    <a:pt x="182" y="15"/>
                  </a:lnTo>
                  <a:lnTo>
                    <a:pt x="192" y="20"/>
                  </a:lnTo>
                  <a:lnTo>
                    <a:pt x="201" y="27"/>
                  </a:lnTo>
                  <a:lnTo>
                    <a:pt x="210" y="35"/>
                  </a:lnTo>
                  <a:lnTo>
                    <a:pt x="218" y="44"/>
                  </a:lnTo>
                  <a:lnTo>
                    <a:pt x="225" y="54"/>
                  </a:lnTo>
                  <a:lnTo>
                    <a:pt x="231" y="64"/>
                  </a:lnTo>
                  <a:lnTo>
                    <a:pt x="236" y="74"/>
                  </a:lnTo>
                  <a:lnTo>
                    <a:pt x="241" y="86"/>
                  </a:lnTo>
                  <a:lnTo>
                    <a:pt x="244" y="98"/>
                  </a:lnTo>
                  <a:lnTo>
                    <a:pt x="245" y="109"/>
                  </a:lnTo>
                  <a:lnTo>
                    <a:pt x="246" y="122"/>
                  </a:lnTo>
                  <a:close/>
                </a:path>
              </a:pathLst>
            </a:custGeom>
            <a:solidFill>
              <a:srgbClr val="BCBC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8" name="Freeform 116">
              <a:extLst>
                <a:ext uri="{FF2B5EF4-FFF2-40B4-BE49-F238E27FC236}">
                  <a16:creationId xmlns:a16="http://schemas.microsoft.com/office/drawing/2014/main" id="{43FFEDEB-25F9-4CCD-9E8A-122C28ABBC8B}"/>
                </a:ext>
              </a:extLst>
            </p:cNvPr>
            <p:cNvSpPr>
              <a:spLocks/>
            </p:cNvSpPr>
            <p:nvPr/>
          </p:nvSpPr>
          <p:spPr bwMode="auto">
            <a:xfrm>
              <a:off x="1874838" y="4518025"/>
              <a:ext cx="79375" cy="77788"/>
            </a:xfrm>
            <a:custGeom>
              <a:avLst/>
              <a:gdLst>
                <a:gd name="T0" fmla="*/ 246 w 247"/>
                <a:gd name="T1" fmla="*/ 135 h 246"/>
                <a:gd name="T2" fmla="*/ 242 w 247"/>
                <a:gd name="T3" fmla="*/ 160 h 246"/>
                <a:gd name="T4" fmla="*/ 232 w 247"/>
                <a:gd name="T5" fmla="*/ 181 h 246"/>
                <a:gd name="T6" fmla="*/ 219 w 247"/>
                <a:gd name="T7" fmla="*/ 201 h 246"/>
                <a:gd name="T8" fmla="*/ 203 w 247"/>
                <a:gd name="T9" fmla="*/ 217 h 246"/>
                <a:gd name="T10" fmla="*/ 182 w 247"/>
                <a:gd name="T11" fmla="*/ 231 h 246"/>
                <a:gd name="T12" fmla="*/ 160 w 247"/>
                <a:gd name="T13" fmla="*/ 241 h 246"/>
                <a:gd name="T14" fmla="*/ 137 w 247"/>
                <a:gd name="T15" fmla="*/ 245 h 246"/>
                <a:gd name="T16" fmla="*/ 111 w 247"/>
                <a:gd name="T17" fmla="*/ 245 h 246"/>
                <a:gd name="T18" fmla="*/ 88 w 247"/>
                <a:gd name="T19" fmla="*/ 241 h 246"/>
                <a:gd name="T20" fmla="*/ 65 w 247"/>
                <a:gd name="T21" fmla="*/ 231 h 246"/>
                <a:gd name="T22" fmla="*/ 45 w 247"/>
                <a:gd name="T23" fmla="*/ 217 h 246"/>
                <a:gd name="T24" fmla="*/ 29 w 247"/>
                <a:gd name="T25" fmla="*/ 201 h 246"/>
                <a:gd name="T26" fmla="*/ 15 w 247"/>
                <a:gd name="T27" fmla="*/ 181 h 246"/>
                <a:gd name="T28" fmla="*/ 7 w 247"/>
                <a:gd name="T29" fmla="*/ 160 h 246"/>
                <a:gd name="T30" fmla="*/ 1 w 247"/>
                <a:gd name="T31" fmla="*/ 135 h 246"/>
                <a:gd name="T32" fmla="*/ 1 w 247"/>
                <a:gd name="T33" fmla="*/ 110 h 246"/>
                <a:gd name="T34" fmla="*/ 7 w 247"/>
                <a:gd name="T35" fmla="*/ 86 h 246"/>
                <a:gd name="T36" fmla="*/ 15 w 247"/>
                <a:gd name="T37" fmla="*/ 64 h 246"/>
                <a:gd name="T38" fmla="*/ 29 w 247"/>
                <a:gd name="T39" fmla="*/ 45 h 246"/>
                <a:gd name="T40" fmla="*/ 45 w 247"/>
                <a:gd name="T41" fmla="*/ 28 h 246"/>
                <a:gd name="T42" fmla="*/ 65 w 247"/>
                <a:gd name="T43" fmla="*/ 14 h 246"/>
                <a:gd name="T44" fmla="*/ 88 w 247"/>
                <a:gd name="T45" fmla="*/ 5 h 246"/>
                <a:gd name="T46" fmla="*/ 111 w 247"/>
                <a:gd name="T47" fmla="*/ 0 h 246"/>
                <a:gd name="T48" fmla="*/ 137 w 247"/>
                <a:gd name="T49" fmla="*/ 0 h 246"/>
                <a:gd name="T50" fmla="*/ 160 w 247"/>
                <a:gd name="T51" fmla="*/ 5 h 246"/>
                <a:gd name="T52" fmla="*/ 182 w 247"/>
                <a:gd name="T53" fmla="*/ 14 h 246"/>
                <a:gd name="T54" fmla="*/ 203 w 247"/>
                <a:gd name="T55" fmla="*/ 28 h 246"/>
                <a:gd name="T56" fmla="*/ 219 w 247"/>
                <a:gd name="T57" fmla="*/ 45 h 246"/>
                <a:gd name="T58" fmla="*/ 232 w 247"/>
                <a:gd name="T59" fmla="*/ 64 h 246"/>
                <a:gd name="T60" fmla="*/ 242 w 247"/>
                <a:gd name="T61" fmla="*/ 86 h 246"/>
                <a:gd name="T62" fmla="*/ 246 w 247"/>
                <a:gd name="T63" fmla="*/ 11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47" h="246">
                  <a:moveTo>
                    <a:pt x="247" y="122"/>
                  </a:moveTo>
                  <a:lnTo>
                    <a:pt x="246" y="135"/>
                  </a:lnTo>
                  <a:lnTo>
                    <a:pt x="244" y="148"/>
                  </a:lnTo>
                  <a:lnTo>
                    <a:pt x="242" y="160"/>
                  </a:lnTo>
                  <a:lnTo>
                    <a:pt x="238" y="170"/>
                  </a:lnTo>
                  <a:lnTo>
                    <a:pt x="232" y="181"/>
                  </a:lnTo>
                  <a:lnTo>
                    <a:pt x="226" y="192"/>
                  </a:lnTo>
                  <a:lnTo>
                    <a:pt x="219" y="201"/>
                  </a:lnTo>
                  <a:lnTo>
                    <a:pt x="211" y="210"/>
                  </a:lnTo>
                  <a:lnTo>
                    <a:pt x="203" y="217"/>
                  </a:lnTo>
                  <a:lnTo>
                    <a:pt x="193" y="225"/>
                  </a:lnTo>
                  <a:lnTo>
                    <a:pt x="182" y="231"/>
                  </a:lnTo>
                  <a:lnTo>
                    <a:pt x="172" y="236"/>
                  </a:lnTo>
                  <a:lnTo>
                    <a:pt x="160" y="241"/>
                  </a:lnTo>
                  <a:lnTo>
                    <a:pt x="148" y="244"/>
                  </a:lnTo>
                  <a:lnTo>
                    <a:pt x="137" y="245"/>
                  </a:lnTo>
                  <a:lnTo>
                    <a:pt x="124" y="246"/>
                  </a:lnTo>
                  <a:lnTo>
                    <a:pt x="111" y="245"/>
                  </a:lnTo>
                  <a:lnTo>
                    <a:pt x="99" y="244"/>
                  </a:lnTo>
                  <a:lnTo>
                    <a:pt x="88" y="241"/>
                  </a:lnTo>
                  <a:lnTo>
                    <a:pt x="76" y="236"/>
                  </a:lnTo>
                  <a:lnTo>
                    <a:pt x="65" y="231"/>
                  </a:lnTo>
                  <a:lnTo>
                    <a:pt x="55" y="225"/>
                  </a:lnTo>
                  <a:lnTo>
                    <a:pt x="45" y="217"/>
                  </a:lnTo>
                  <a:lnTo>
                    <a:pt x="37" y="210"/>
                  </a:lnTo>
                  <a:lnTo>
                    <a:pt x="29" y="201"/>
                  </a:lnTo>
                  <a:lnTo>
                    <a:pt x="22" y="192"/>
                  </a:lnTo>
                  <a:lnTo>
                    <a:pt x="15" y="181"/>
                  </a:lnTo>
                  <a:lnTo>
                    <a:pt x="10" y="170"/>
                  </a:lnTo>
                  <a:lnTo>
                    <a:pt x="7" y="160"/>
                  </a:lnTo>
                  <a:lnTo>
                    <a:pt x="4" y="148"/>
                  </a:lnTo>
                  <a:lnTo>
                    <a:pt x="1" y="135"/>
                  </a:lnTo>
                  <a:lnTo>
                    <a:pt x="0" y="122"/>
                  </a:lnTo>
                  <a:lnTo>
                    <a:pt x="1" y="110"/>
                  </a:lnTo>
                  <a:lnTo>
                    <a:pt x="4" y="98"/>
                  </a:lnTo>
                  <a:lnTo>
                    <a:pt x="7" y="86"/>
                  </a:lnTo>
                  <a:lnTo>
                    <a:pt x="10" y="74"/>
                  </a:lnTo>
                  <a:lnTo>
                    <a:pt x="15" y="64"/>
                  </a:lnTo>
                  <a:lnTo>
                    <a:pt x="22" y="54"/>
                  </a:lnTo>
                  <a:lnTo>
                    <a:pt x="29" y="45"/>
                  </a:lnTo>
                  <a:lnTo>
                    <a:pt x="37" y="35"/>
                  </a:lnTo>
                  <a:lnTo>
                    <a:pt x="45" y="28"/>
                  </a:lnTo>
                  <a:lnTo>
                    <a:pt x="55" y="20"/>
                  </a:lnTo>
                  <a:lnTo>
                    <a:pt x="65" y="14"/>
                  </a:lnTo>
                  <a:lnTo>
                    <a:pt x="76" y="9"/>
                  </a:lnTo>
                  <a:lnTo>
                    <a:pt x="88" y="5"/>
                  </a:lnTo>
                  <a:lnTo>
                    <a:pt x="99" y="2"/>
                  </a:lnTo>
                  <a:lnTo>
                    <a:pt x="111" y="0"/>
                  </a:lnTo>
                  <a:lnTo>
                    <a:pt x="124" y="0"/>
                  </a:lnTo>
                  <a:lnTo>
                    <a:pt x="137" y="0"/>
                  </a:lnTo>
                  <a:lnTo>
                    <a:pt x="148" y="2"/>
                  </a:lnTo>
                  <a:lnTo>
                    <a:pt x="160" y="5"/>
                  </a:lnTo>
                  <a:lnTo>
                    <a:pt x="172" y="9"/>
                  </a:lnTo>
                  <a:lnTo>
                    <a:pt x="182" y="14"/>
                  </a:lnTo>
                  <a:lnTo>
                    <a:pt x="193" y="20"/>
                  </a:lnTo>
                  <a:lnTo>
                    <a:pt x="203" y="28"/>
                  </a:lnTo>
                  <a:lnTo>
                    <a:pt x="211" y="35"/>
                  </a:lnTo>
                  <a:lnTo>
                    <a:pt x="219" y="45"/>
                  </a:lnTo>
                  <a:lnTo>
                    <a:pt x="226" y="54"/>
                  </a:lnTo>
                  <a:lnTo>
                    <a:pt x="232" y="64"/>
                  </a:lnTo>
                  <a:lnTo>
                    <a:pt x="238" y="74"/>
                  </a:lnTo>
                  <a:lnTo>
                    <a:pt x="242" y="86"/>
                  </a:lnTo>
                  <a:lnTo>
                    <a:pt x="244" y="98"/>
                  </a:lnTo>
                  <a:lnTo>
                    <a:pt x="246" y="110"/>
                  </a:lnTo>
                  <a:lnTo>
                    <a:pt x="247" y="122"/>
                  </a:lnTo>
                  <a:close/>
                </a:path>
              </a:pathLst>
            </a:custGeom>
            <a:solidFill>
              <a:srgbClr val="BCBC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9" name="Freeform 117">
              <a:extLst>
                <a:ext uri="{FF2B5EF4-FFF2-40B4-BE49-F238E27FC236}">
                  <a16:creationId xmlns:a16="http://schemas.microsoft.com/office/drawing/2014/main" id="{E8D3B5C3-156C-4433-9088-BDA4732CF1BD}"/>
                </a:ext>
              </a:extLst>
            </p:cNvPr>
            <p:cNvSpPr>
              <a:spLocks/>
            </p:cNvSpPr>
            <p:nvPr/>
          </p:nvSpPr>
          <p:spPr bwMode="auto">
            <a:xfrm>
              <a:off x="1836738" y="3646488"/>
              <a:ext cx="77788" cy="79375"/>
            </a:xfrm>
            <a:custGeom>
              <a:avLst/>
              <a:gdLst>
                <a:gd name="T0" fmla="*/ 245 w 246"/>
                <a:gd name="T1" fmla="*/ 135 h 246"/>
                <a:gd name="T2" fmla="*/ 240 w 246"/>
                <a:gd name="T3" fmla="*/ 159 h 246"/>
                <a:gd name="T4" fmla="*/ 231 w 246"/>
                <a:gd name="T5" fmla="*/ 182 h 246"/>
                <a:gd name="T6" fmla="*/ 218 w 246"/>
                <a:gd name="T7" fmla="*/ 201 h 246"/>
                <a:gd name="T8" fmla="*/ 201 w 246"/>
                <a:gd name="T9" fmla="*/ 218 h 246"/>
                <a:gd name="T10" fmla="*/ 182 w 246"/>
                <a:gd name="T11" fmla="*/ 231 h 246"/>
                <a:gd name="T12" fmla="*/ 160 w 246"/>
                <a:gd name="T13" fmla="*/ 240 h 246"/>
                <a:gd name="T14" fmla="*/ 135 w 246"/>
                <a:gd name="T15" fmla="*/ 246 h 246"/>
                <a:gd name="T16" fmla="*/ 111 w 246"/>
                <a:gd name="T17" fmla="*/ 246 h 246"/>
                <a:gd name="T18" fmla="*/ 86 w 246"/>
                <a:gd name="T19" fmla="*/ 240 h 246"/>
                <a:gd name="T20" fmla="*/ 64 w 246"/>
                <a:gd name="T21" fmla="*/ 231 h 246"/>
                <a:gd name="T22" fmla="*/ 45 w 246"/>
                <a:gd name="T23" fmla="*/ 218 h 246"/>
                <a:gd name="T24" fmla="*/ 28 w 246"/>
                <a:gd name="T25" fmla="*/ 201 h 246"/>
                <a:gd name="T26" fmla="*/ 15 w 246"/>
                <a:gd name="T27" fmla="*/ 182 h 246"/>
                <a:gd name="T28" fmla="*/ 5 w 246"/>
                <a:gd name="T29" fmla="*/ 159 h 246"/>
                <a:gd name="T30" fmla="*/ 0 w 246"/>
                <a:gd name="T31" fmla="*/ 135 h 246"/>
                <a:gd name="T32" fmla="*/ 0 w 246"/>
                <a:gd name="T33" fmla="*/ 110 h 246"/>
                <a:gd name="T34" fmla="*/ 5 w 246"/>
                <a:gd name="T35" fmla="*/ 86 h 246"/>
                <a:gd name="T36" fmla="*/ 15 w 246"/>
                <a:gd name="T37" fmla="*/ 63 h 246"/>
                <a:gd name="T38" fmla="*/ 28 w 246"/>
                <a:gd name="T39" fmla="*/ 44 h 246"/>
                <a:gd name="T40" fmla="*/ 45 w 246"/>
                <a:gd name="T41" fmla="*/ 27 h 246"/>
                <a:gd name="T42" fmla="*/ 64 w 246"/>
                <a:gd name="T43" fmla="*/ 14 h 246"/>
                <a:gd name="T44" fmla="*/ 86 w 246"/>
                <a:gd name="T45" fmla="*/ 5 h 246"/>
                <a:gd name="T46" fmla="*/ 111 w 246"/>
                <a:gd name="T47" fmla="*/ 0 h 246"/>
                <a:gd name="T48" fmla="*/ 135 w 246"/>
                <a:gd name="T49" fmla="*/ 0 h 246"/>
                <a:gd name="T50" fmla="*/ 160 w 246"/>
                <a:gd name="T51" fmla="*/ 5 h 246"/>
                <a:gd name="T52" fmla="*/ 182 w 246"/>
                <a:gd name="T53" fmla="*/ 14 h 246"/>
                <a:gd name="T54" fmla="*/ 201 w 246"/>
                <a:gd name="T55" fmla="*/ 27 h 246"/>
                <a:gd name="T56" fmla="*/ 218 w 246"/>
                <a:gd name="T57" fmla="*/ 44 h 246"/>
                <a:gd name="T58" fmla="*/ 231 w 246"/>
                <a:gd name="T59" fmla="*/ 63 h 246"/>
                <a:gd name="T60" fmla="*/ 240 w 246"/>
                <a:gd name="T61" fmla="*/ 86 h 246"/>
                <a:gd name="T62" fmla="*/ 245 w 246"/>
                <a:gd name="T63" fmla="*/ 11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46" h="246">
                  <a:moveTo>
                    <a:pt x="246" y="123"/>
                  </a:moveTo>
                  <a:lnTo>
                    <a:pt x="245" y="135"/>
                  </a:lnTo>
                  <a:lnTo>
                    <a:pt x="244" y="148"/>
                  </a:lnTo>
                  <a:lnTo>
                    <a:pt x="240" y="159"/>
                  </a:lnTo>
                  <a:lnTo>
                    <a:pt x="236" y="171"/>
                  </a:lnTo>
                  <a:lnTo>
                    <a:pt x="231" y="182"/>
                  </a:lnTo>
                  <a:lnTo>
                    <a:pt x="225" y="191"/>
                  </a:lnTo>
                  <a:lnTo>
                    <a:pt x="218" y="201"/>
                  </a:lnTo>
                  <a:lnTo>
                    <a:pt x="210" y="209"/>
                  </a:lnTo>
                  <a:lnTo>
                    <a:pt x="201" y="218"/>
                  </a:lnTo>
                  <a:lnTo>
                    <a:pt x="192" y="224"/>
                  </a:lnTo>
                  <a:lnTo>
                    <a:pt x="182" y="231"/>
                  </a:lnTo>
                  <a:lnTo>
                    <a:pt x="170" y="236"/>
                  </a:lnTo>
                  <a:lnTo>
                    <a:pt x="160" y="240"/>
                  </a:lnTo>
                  <a:lnTo>
                    <a:pt x="148" y="243"/>
                  </a:lnTo>
                  <a:lnTo>
                    <a:pt x="135" y="246"/>
                  </a:lnTo>
                  <a:lnTo>
                    <a:pt x="122" y="246"/>
                  </a:lnTo>
                  <a:lnTo>
                    <a:pt x="111" y="246"/>
                  </a:lnTo>
                  <a:lnTo>
                    <a:pt x="98" y="243"/>
                  </a:lnTo>
                  <a:lnTo>
                    <a:pt x="86" y="240"/>
                  </a:lnTo>
                  <a:lnTo>
                    <a:pt x="74" y="236"/>
                  </a:lnTo>
                  <a:lnTo>
                    <a:pt x="64" y="231"/>
                  </a:lnTo>
                  <a:lnTo>
                    <a:pt x="54" y="224"/>
                  </a:lnTo>
                  <a:lnTo>
                    <a:pt x="45" y="218"/>
                  </a:lnTo>
                  <a:lnTo>
                    <a:pt x="36" y="209"/>
                  </a:lnTo>
                  <a:lnTo>
                    <a:pt x="28" y="201"/>
                  </a:lnTo>
                  <a:lnTo>
                    <a:pt x="20" y="191"/>
                  </a:lnTo>
                  <a:lnTo>
                    <a:pt x="15" y="182"/>
                  </a:lnTo>
                  <a:lnTo>
                    <a:pt x="10" y="171"/>
                  </a:lnTo>
                  <a:lnTo>
                    <a:pt x="5" y="159"/>
                  </a:lnTo>
                  <a:lnTo>
                    <a:pt x="2" y="148"/>
                  </a:lnTo>
                  <a:lnTo>
                    <a:pt x="0" y="135"/>
                  </a:lnTo>
                  <a:lnTo>
                    <a:pt x="0" y="123"/>
                  </a:lnTo>
                  <a:lnTo>
                    <a:pt x="0" y="110"/>
                  </a:lnTo>
                  <a:lnTo>
                    <a:pt x="2" y="98"/>
                  </a:lnTo>
                  <a:lnTo>
                    <a:pt x="5" y="86"/>
                  </a:lnTo>
                  <a:lnTo>
                    <a:pt x="10" y="74"/>
                  </a:lnTo>
                  <a:lnTo>
                    <a:pt x="15" y="63"/>
                  </a:lnTo>
                  <a:lnTo>
                    <a:pt x="20" y="54"/>
                  </a:lnTo>
                  <a:lnTo>
                    <a:pt x="28" y="44"/>
                  </a:lnTo>
                  <a:lnTo>
                    <a:pt x="36" y="36"/>
                  </a:lnTo>
                  <a:lnTo>
                    <a:pt x="45" y="27"/>
                  </a:lnTo>
                  <a:lnTo>
                    <a:pt x="54" y="21"/>
                  </a:lnTo>
                  <a:lnTo>
                    <a:pt x="64" y="14"/>
                  </a:lnTo>
                  <a:lnTo>
                    <a:pt x="74" y="9"/>
                  </a:lnTo>
                  <a:lnTo>
                    <a:pt x="86" y="5"/>
                  </a:lnTo>
                  <a:lnTo>
                    <a:pt x="98" y="2"/>
                  </a:lnTo>
                  <a:lnTo>
                    <a:pt x="111" y="0"/>
                  </a:lnTo>
                  <a:lnTo>
                    <a:pt x="122" y="0"/>
                  </a:lnTo>
                  <a:lnTo>
                    <a:pt x="135" y="0"/>
                  </a:lnTo>
                  <a:lnTo>
                    <a:pt x="148" y="2"/>
                  </a:lnTo>
                  <a:lnTo>
                    <a:pt x="160" y="5"/>
                  </a:lnTo>
                  <a:lnTo>
                    <a:pt x="170" y="9"/>
                  </a:lnTo>
                  <a:lnTo>
                    <a:pt x="182" y="14"/>
                  </a:lnTo>
                  <a:lnTo>
                    <a:pt x="192" y="21"/>
                  </a:lnTo>
                  <a:lnTo>
                    <a:pt x="201" y="27"/>
                  </a:lnTo>
                  <a:lnTo>
                    <a:pt x="210" y="36"/>
                  </a:lnTo>
                  <a:lnTo>
                    <a:pt x="218" y="44"/>
                  </a:lnTo>
                  <a:lnTo>
                    <a:pt x="225" y="54"/>
                  </a:lnTo>
                  <a:lnTo>
                    <a:pt x="231" y="63"/>
                  </a:lnTo>
                  <a:lnTo>
                    <a:pt x="236" y="74"/>
                  </a:lnTo>
                  <a:lnTo>
                    <a:pt x="240" y="86"/>
                  </a:lnTo>
                  <a:lnTo>
                    <a:pt x="244" y="98"/>
                  </a:lnTo>
                  <a:lnTo>
                    <a:pt x="245" y="110"/>
                  </a:lnTo>
                  <a:lnTo>
                    <a:pt x="246" y="123"/>
                  </a:lnTo>
                  <a:close/>
                </a:path>
              </a:pathLst>
            </a:custGeom>
            <a:solidFill>
              <a:srgbClr val="BCBC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0" name="Freeform 118">
              <a:extLst>
                <a:ext uri="{FF2B5EF4-FFF2-40B4-BE49-F238E27FC236}">
                  <a16:creationId xmlns:a16="http://schemas.microsoft.com/office/drawing/2014/main" id="{C2FC90D1-498E-4F68-87C6-15FA9C5E0B0B}"/>
                </a:ext>
              </a:extLst>
            </p:cNvPr>
            <p:cNvSpPr>
              <a:spLocks/>
            </p:cNvSpPr>
            <p:nvPr/>
          </p:nvSpPr>
          <p:spPr bwMode="auto">
            <a:xfrm>
              <a:off x="2671763" y="2644775"/>
              <a:ext cx="77788" cy="77788"/>
            </a:xfrm>
            <a:custGeom>
              <a:avLst/>
              <a:gdLst>
                <a:gd name="T0" fmla="*/ 245 w 246"/>
                <a:gd name="T1" fmla="*/ 135 h 246"/>
                <a:gd name="T2" fmla="*/ 240 w 246"/>
                <a:gd name="T3" fmla="*/ 160 h 246"/>
                <a:gd name="T4" fmla="*/ 231 w 246"/>
                <a:gd name="T5" fmla="*/ 182 h 246"/>
                <a:gd name="T6" fmla="*/ 218 w 246"/>
                <a:gd name="T7" fmla="*/ 201 h 246"/>
                <a:gd name="T8" fmla="*/ 201 w 246"/>
                <a:gd name="T9" fmla="*/ 218 h 246"/>
                <a:gd name="T10" fmla="*/ 181 w 246"/>
                <a:gd name="T11" fmla="*/ 231 h 246"/>
                <a:gd name="T12" fmla="*/ 159 w 246"/>
                <a:gd name="T13" fmla="*/ 240 h 246"/>
                <a:gd name="T14" fmla="*/ 135 w 246"/>
                <a:gd name="T15" fmla="*/ 246 h 246"/>
                <a:gd name="T16" fmla="*/ 109 w 246"/>
                <a:gd name="T17" fmla="*/ 246 h 246"/>
                <a:gd name="T18" fmla="*/ 86 w 246"/>
                <a:gd name="T19" fmla="*/ 240 h 246"/>
                <a:gd name="T20" fmla="*/ 64 w 246"/>
                <a:gd name="T21" fmla="*/ 231 h 246"/>
                <a:gd name="T22" fmla="*/ 44 w 246"/>
                <a:gd name="T23" fmla="*/ 218 h 246"/>
                <a:gd name="T24" fmla="*/ 27 w 246"/>
                <a:gd name="T25" fmla="*/ 201 h 246"/>
                <a:gd name="T26" fmla="*/ 15 w 246"/>
                <a:gd name="T27" fmla="*/ 182 h 246"/>
                <a:gd name="T28" fmla="*/ 5 w 246"/>
                <a:gd name="T29" fmla="*/ 160 h 246"/>
                <a:gd name="T30" fmla="*/ 0 w 246"/>
                <a:gd name="T31" fmla="*/ 135 h 246"/>
                <a:gd name="T32" fmla="*/ 0 w 246"/>
                <a:gd name="T33" fmla="*/ 111 h 246"/>
                <a:gd name="T34" fmla="*/ 5 w 246"/>
                <a:gd name="T35" fmla="*/ 86 h 246"/>
                <a:gd name="T36" fmla="*/ 15 w 246"/>
                <a:gd name="T37" fmla="*/ 64 h 246"/>
                <a:gd name="T38" fmla="*/ 27 w 246"/>
                <a:gd name="T39" fmla="*/ 44 h 246"/>
                <a:gd name="T40" fmla="*/ 44 w 246"/>
                <a:gd name="T41" fmla="*/ 27 h 246"/>
                <a:gd name="T42" fmla="*/ 64 w 246"/>
                <a:gd name="T43" fmla="*/ 15 h 246"/>
                <a:gd name="T44" fmla="*/ 86 w 246"/>
                <a:gd name="T45" fmla="*/ 5 h 246"/>
                <a:gd name="T46" fmla="*/ 109 w 246"/>
                <a:gd name="T47" fmla="*/ 0 h 246"/>
                <a:gd name="T48" fmla="*/ 135 w 246"/>
                <a:gd name="T49" fmla="*/ 0 h 246"/>
                <a:gd name="T50" fmla="*/ 159 w 246"/>
                <a:gd name="T51" fmla="*/ 5 h 246"/>
                <a:gd name="T52" fmla="*/ 181 w 246"/>
                <a:gd name="T53" fmla="*/ 15 h 246"/>
                <a:gd name="T54" fmla="*/ 201 w 246"/>
                <a:gd name="T55" fmla="*/ 27 h 246"/>
                <a:gd name="T56" fmla="*/ 218 w 246"/>
                <a:gd name="T57" fmla="*/ 44 h 246"/>
                <a:gd name="T58" fmla="*/ 231 w 246"/>
                <a:gd name="T59" fmla="*/ 64 h 246"/>
                <a:gd name="T60" fmla="*/ 240 w 246"/>
                <a:gd name="T61" fmla="*/ 86 h 246"/>
                <a:gd name="T62" fmla="*/ 245 w 246"/>
                <a:gd name="T63" fmla="*/ 111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46" h="246">
                  <a:moveTo>
                    <a:pt x="246" y="122"/>
                  </a:moveTo>
                  <a:lnTo>
                    <a:pt x="245" y="135"/>
                  </a:lnTo>
                  <a:lnTo>
                    <a:pt x="243" y="148"/>
                  </a:lnTo>
                  <a:lnTo>
                    <a:pt x="240" y="160"/>
                  </a:lnTo>
                  <a:lnTo>
                    <a:pt x="236" y="170"/>
                  </a:lnTo>
                  <a:lnTo>
                    <a:pt x="231" y="182"/>
                  </a:lnTo>
                  <a:lnTo>
                    <a:pt x="224" y="191"/>
                  </a:lnTo>
                  <a:lnTo>
                    <a:pt x="218" y="201"/>
                  </a:lnTo>
                  <a:lnTo>
                    <a:pt x="209" y="210"/>
                  </a:lnTo>
                  <a:lnTo>
                    <a:pt x="201" y="218"/>
                  </a:lnTo>
                  <a:lnTo>
                    <a:pt x="191" y="224"/>
                  </a:lnTo>
                  <a:lnTo>
                    <a:pt x="181" y="231"/>
                  </a:lnTo>
                  <a:lnTo>
                    <a:pt x="170" y="236"/>
                  </a:lnTo>
                  <a:lnTo>
                    <a:pt x="159" y="240"/>
                  </a:lnTo>
                  <a:lnTo>
                    <a:pt x="148" y="244"/>
                  </a:lnTo>
                  <a:lnTo>
                    <a:pt x="135" y="246"/>
                  </a:lnTo>
                  <a:lnTo>
                    <a:pt x="122" y="246"/>
                  </a:lnTo>
                  <a:lnTo>
                    <a:pt x="109" y="246"/>
                  </a:lnTo>
                  <a:lnTo>
                    <a:pt x="98" y="244"/>
                  </a:lnTo>
                  <a:lnTo>
                    <a:pt x="86" y="240"/>
                  </a:lnTo>
                  <a:lnTo>
                    <a:pt x="74" y="236"/>
                  </a:lnTo>
                  <a:lnTo>
                    <a:pt x="64" y="231"/>
                  </a:lnTo>
                  <a:lnTo>
                    <a:pt x="54" y="224"/>
                  </a:lnTo>
                  <a:lnTo>
                    <a:pt x="44" y="218"/>
                  </a:lnTo>
                  <a:lnTo>
                    <a:pt x="35" y="210"/>
                  </a:lnTo>
                  <a:lnTo>
                    <a:pt x="27" y="201"/>
                  </a:lnTo>
                  <a:lnTo>
                    <a:pt x="20" y="191"/>
                  </a:lnTo>
                  <a:lnTo>
                    <a:pt x="15" y="182"/>
                  </a:lnTo>
                  <a:lnTo>
                    <a:pt x="9" y="170"/>
                  </a:lnTo>
                  <a:lnTo>
                    <a:pt x="5" y="160"/>
                  </a:lnTo>
                  <a:lnTo>
                    <a:pt x="2" y="148"/>
                  </a:lnTo>
                  <a:lnTo>
                    <a:pt x="0" y="135"/>
                  </a:lnTo>
                  <a:lnTo>
                    <a:pt x="0" y="122"/>
                  </a:lnTo>
                  <a:lnTo>
                    <a:pt x="0" y="111"/>
                  </a:lnTo>
                  <a:lnTo>
                    <a:pt x="2" y="98"/>
                  </a:lnTo>
                  <a:lnTo>
                    <a:pt x="5" y="86"/>
                  </a:lnTo>
                  <a:lnTo>
                    <a:pt x="9" y="74"/>
                  </a:lnTo>
                  <a:lnTo>
                    <a:pt x="15" y="64"/>
                  </a:lnTo>
                  <a:lnTo>
                    <a:pt x="20" y="54"/>
                  </a:lnTo>
                  <a:lnTo>
                    <a:pt x="27" y="44"/>
                  </a:lnTo>
                  <a:lnTo>
                    <a:pt x="35" y="36"/>
                  </a:lnTo>
                  <a:lnTo>
                    <a:pt x="44" y="27"/>
                  </a:lnTo>
                  <a:lnTo>
                    <a:pt x="54" y="21"/>
                  </a:lnTo>
                  <a:lnTo>
                    <a:pt x="64" y="15"/>
                  </a:lnTo>
                  <a:lnTo>
                    <a:pt x="74" y="9"/>
                  </a:lnTo>
                  <a:lnTo>
                    <a:pt x="86" y="5"/>
                  </a:lnTo>
                  <a:lnTo>
                    <a:pt x="98" y="2"/>
                  </a:lnTo>
                  <a:lnTo>
                    <a:pt x="109" y="0"/>
                  </a:lnTo>
                  <a:lnTo>
                    <a:pt x="122" y="0"/>
                  </a:lnTo>
                  <a:lnTo>
                    <a:pt x="135" y="0"/>
                  </a:lnTo>
                  <a:lnTo>
                    <a:pt x="148" y="2"/>
                  </a:lnTo>
                  <a:lnTo>
                    <a:pt x="159" y="5"/>
                  </a:lnTo>
                  <a:lnTo>
                    <a:pt x="170" y="9"/>
                  </a:lnTo>
                  <a:lnTo>
                    <a:pt x="181" y="15"/>
                  </a:lnTo>
                  <a:lnTo>
                    <a:pt x="191" y="21"/>
                  </a:lnTo>
                  <a:lnTo>
                    <a:pt x="201" y="27"/>
                  </a:lnTo>
                  <a:lnTo>
                    <a:pt x="209" y="36"/>
                  </a:lnTo>
                  <a:lnTo>
                    <a:pt x="218" y="44"/>
                  </a:lnTo>
                  <a:lnTo>
                    <a:pt x="224" y="54"/>
                  </a:lnTo>
                  <a:lnTo>
                    <a:pt x="231" y="64"/>
                  </a:lnTo>
                  <a:lnTo>
                    <a:pt x="236" y="74"/>
                  </a:lnTo>
                  <a:lnTo>
                    <a:pt x="240" y="86"/>
                  </a:lnTo>
                  <a:lnTo>
                    <a:pt x="243" y="98"/>
                  </a:lnTo>
                  <a:lnTo>
                    <a:pt x="245" y="111"/>
                  </a:lnTo>
                  <a:lnTo>
                    <a:pt x="246" y="122"/>
                  </a:lnTo>
                  <a:close/>
                </a:path>
              </a:pathLst>
            </a:custGeom>
            <a:solidFill>
              <a:srgbClr val="BCBC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1" name="Freeform 119">
              <a:extLst>
                <a:ext uri="{FF2B5EF4-FFF2-40B4-BE49-F238E27FC236}">
                  <a16:creationId xmlns:a16="http://schemas.microsoft.com/office/drawing/2014/main" id="{4A4A544C-1458-43BC-883D-F190AD9868B4}"/>
                </a:ext>
              </a:extLst>
            </p:cNvPr>
            <p:cNvSpPr>
              <a:spLocks/>
            </p:cNvSpPr>
            <p:nvPr/>
          </p:nvSpPr>
          <p:spPr bwMode="auto">
            <a:xfrm>
              <a:off x="2005013" y="5899150"/>
              <a:ext cx="285750" cy="285750"/>
            </a:xfrm>
            <a:custGeom>
              <a:avLst/>
              <a:gdLst>
                <a:gd name="T0" fmla="*/ 897 w 900"/>
                <a:gd name="T1" fmla="*/ 497 h 900"/>
                <a:gd name="T2" fmla="*/ 885 w 900"/>
                <a:gd name="T3" fmla="*/ 563 h 900"/>
                <a:gd name="T4" fmla="*/ 864 w 900"/>
                <a:gd name="T5" fmla="*/ 626 h 900"/>
                <a:gd name="T6" fmla="*/ 834 w 900"/>
                <a:gd name="T7" fmla="*/ 684 h 900"/>
                <a:gd name="T8" fmla="*/ 797 w 900"/>
                <a:gd name="T9" fmla="*/ 736 h 900"/>
                <a:gd name="T10" fmla="*/ 752 w 900"/>
                <a:gd name="T11" fmla="*/ 783 h 900"/>
                <a:gd name="T12" fmla="*/ 701 w 900"/>
                <a:gd name="T13" fmla="*/ 824 h 900"/>
                <a:gd name="T14" fmla="*/ 645 w 900"/>
                <a:gd name="T15" fmla="*/ 857 h 900"/>
                <a:gd name="T16" fmla="*/ 583 w 900"/>
                <a:gd name="T17" fmla="*/ 880 h 900"/>
                <a:gd name="T18" fmla="*/ 518 w 900"/>
                <a:gd name="T19" fmla="*/ 895 h 900"/>
                <a:gd name="T20" fmla="*/ 450 w 900"/>
                <a:gd name="T21" fmla="*/ 900 h 900"/>
                <a:gd name="T22" fmla="*/ 381 w 900"/>
                <a:gd name="T23" fmla="*/ 895 h 900"/>
                <a:gd name="T24" fmla="*/ 316 w 900"/>
                <a:gd name="T25" fmla="*/ 880 h 900"/>
                <a:gd name="T26" fmla="*/ 254 w 900"/>
                <a:gd name="T27" fmla="*/ 857 h 900"/>
                <a:gd name="T28" fmla="*/ 198 w 900"/>
                <a:gd name="T29" fmla="*/ 824 h 900"/>
                <a:gd name="T30" fmla="*/ 147 w 900"/>
                <a:gd name="T31" fmla="*/ 783 h 900"/>
                <a:gd name="T32" fmla="*/ 102 w 900"/>
                <a:gd name="T33" fmla="*/ 736 h 900"/>
                <a:gd name="T34" fmla="*/ 65 w 900"/>
                <a:gd name="T35" fmla="*/ 684 h 900"/>
                <a:gd name="T36" fmla="*/ 35 w 900"/>
                <a:gd name="T37" fmla="*/ 626 h 900"/>
                <a:gd name="T38" fmla="*/ 14 w 900"/>
                <a:gd name="T39" fmla="*/ 563 h 900"/>
                <a:gd name="T40" fmla="*/ 2 w 900"/>
                <a:gd name="T41" fmla="*/ 497 h 900"/>
                <a:gd name="T42" fmla="*/ 0 w 900"/>
                <a:gd name="T43" fmla="*/ 428 h 900"/>
                <a:gd name="T44" fmla="*/ 8 w 900"/>
                <a:gd name="T45" fmla="*/ 359 h 900"/>
                <a:gd name="T46" fmla="*/ 26 w 900"/>
                <a:gd name="T47" fmla="*/ 295 h 900"/>
                <a:gd name="T48" fmla="*/ 54 w 900"/>
                <a:gd name="T49" fmla="*/ 236 h 900"/>
                <a:gd name="T50" fmla="*/ 89 w 900"/>
                <a:gd name="T51" fmla="*/ 180 h 900"/>
                <a:gd name="T52" fmla="*/ 132 w 900"/>
                <a:gd name="T53" fmla="*/ 131 h 900"/>
                <a:gd name="T54" fmla="*/ 181 w 900"/>
                <a:gd name="T55" fmla="*/ 90 h 900"/>
                <a:gd name="T56" fmla="*/ 235 w 900"/>
                <a:gd name="T57" fmla="*/ 55 h 900"/>
                <a:gd name="T58" fmla="*/ 295 w 900"/>
                <a:gd name="T59" fmla="*/ 27 h 900"/>
                <a:gd name="T60" fmla="*/ 359 w 900"/>
                <a:gd name="T61" fmla="*/ 9 h 900"/>
                <a:gd name="T62" fmla="*/ 427 w 900"/>
                <a:gd name="T63" fmla="*/ 0 h 900"/>
                <a:gd name="T64" fmla="*/ 496 w 900"/>
                <a:gd name="T65" fmla="*/ 3 h 900"/>
                <a:gd name="T66" fmla="*/ 562 w 900"/>
                <a:gd name="T67" fmla="*/ 14 h 900"/>
                <a:gd name="T68" fmla="*/ 625 w 900"/>
                <a:gd name="T69" fmla="*/ 36 h 900"/>
                <a:gd name="T70" fmla="*/ 683 w 900"/>
                <a:gd name="T71" fmla="*/ 65 h 900"/>
                <a:gd name="T72" fmla="*/ 736 w 900"/>
                <a:gd name="T73" fmla="*/ 103 h 900"/>
                <a:gd name="T74" fmla="*/ 783 w 900"/>
                <a:gd name="T75" fmla="*/ 147 h 900"/>
                <a:gd name="T76" fmla="*/ 823 w 900"/>
                <a:gd name="T77" fmla="*/ 199 h 900"/>
                <a:gd name="T78" fmla="*/ 856 w 900"/>
                <a:gd name="T79" fmla="*/ 255 h 900"/>
                <a:gd name="T80" fmla="*/ 880 w 900"/>
                <a:gd name="T81" fmla="*/ 317 h 900"/>
                <a:gd name="T82" fmla="*/ 895 w 900"/>
                <a:gd name="T83" fmla="*/ 382 h 900"/>
                <a:gd name="T84" fmla="*/ 900 w 900"/>
                <a:gd name="T85" fmla="*/ 450 h 9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00" h="900">
                  <a:moveTo>
                    <a:pt x="900" y="450"/>
                  </a:moveTo>
                  <a:lnTo>
                    <a:pt x="899" y="473"/>
                  </a:lnTo>
                  <a:lnTo>
                    <a:pt x="897" y="497"/>
                  </a:lnTo>
                  <a:lnTo>
                    <a:pt x="895" y="519"/>
                  </a:lnTo>
                  <a:lnTo>
                    <a:pt x="891" y="541"/>
                  </a:lnTo>
                  <a:lnTo>
                    <a:pt x="885" y="563"/>
                  </a:lnTo>
                  <a:lnTo>
                    <a:pt x="880" y="584"/>
                  </a:lnTo>
                  <a:lnTo>
                    <a:pt x="873" y="605"/>
                  </a:lnTo>
                  <a:lnTo>
                    <a:pt x="864" y="626"/>
                  </a:lnTo>
                  <a:lnTo>
                    <a:pt x="856" y="646"/>
                  </a:lnTo>
                  <a:lnTo>
                    <a:pt x="846" y="665"/>
                  </a:lnTo>
                  <a:lnTo>
                    <a:pt x="834" y="684"/>
                  </a:lnTo>
                  <a:lnTo>
                    <a:pt x="823" y="702"/>
                  </a:lnTo>
                  <a:lnTo>
                    <a:pt x="811" y="719"/>
                  </a:lnTo>
                  <a:lnTo>
                    <a:pt x="797" y="736"/>
                  </a:lnTo>
                  <a:lnTo>
                    <a:pt x="783" y="753"/>
                  </a:lnTo>
                  <a:lnTo>
                    <a:pt x="768" y="768"/>
                  </a:lnTo>
                  <a:lnTo>
                    <a:pt x="752" y="783"/>
                  </a:lnTo>
                  <a:lnTo>
                    <a:pt x="736" y="798"/>
                  </a:lnTo>
                  <a:lnTo>
                    <a:pt x="719" y="811"/>
                  </a:lnTo>
                  <a:lnTo>
                    <a:pt x="701" y="824"/>
                  </a:lnTo>
                  <a:lnTo>
                    <a:pt x="683" y="835"/>
                  </a:lnTo>
                  <a:lnTo>
                    <a:pt x="664" y="846"/>
                  </a:lnTo>
                  <a:lnTo>
                    <a:pt x="645" y="857"/>
                  </a:lnTo>
                  <a:lnTo>
                    <a:pt x="625" y="865"/>
                  </a:lnTo>
                  <a:lnTo>
                    <a:pt x="604" y="874"/>
                  </a:lnTo>
                  <a:lnTo>
                    <a:pt x="583" y="880"/>
                  </a:lnTo>
                  <a:lnTo>
                    <a:pt x="562" y="887"/>
                  </a:lnTo>
                  <a:lnTo>
                    <a:pt x="541" y="892"/>
                  </a:lnTo>
                  <a:lnTo>
                    <a:pt x="518" y="895"/>
                  </a:lnTo>
                  <a:lnTo>
                    <a:pt x="496" y="898"/>
                  </a:lnTo>
                  <a:lnTo>
                    <a:pt x="472" y="900"/>
                  </a:lnTo>
                  <a:lnTo>
                    <a:pt x="450" y="900"/>
                  </a:lnTo>
                  <a:lnTo>
                    <a:pt x="427" y="900"/>
                  </a:lnTo>
                  <a:lnTo>
                    <a:pt x="403" y="898"/>
                  </a:lnTo>
                  <a:lnTo>
                    <a:pt x="381" y="895"/>
                  </a:lnTo>
                  <a:lnTo>
                    <a:pt x="359" y="892"/>
                  </a:lnTo>
                  <a:lnTo>
                    <a:pt x="337" y="887"/>
                  </a:lnTo>
                  <a:lnTo>
                    <a:pt x="316" y="880"/>
                  </a:lnTo>
                  <a:lnTo>
                    <a:pt x="295" y="874"/>
                  </a:lnTo>
                  <a:lnTo>
                    <a:pt x="274" y="865"/>
                  </a:lnTo>
                  <a:lnTo>
                    <a:pt x="254" y="857"/>
                  </a:lnTo>
                  <a:lnTo>
                    <a:pt x="235" y="846"/>
                  </a:lnTo>
                  <a:lnTo>
                    <a:pt x="216" y="835"/>
                  </a:lnTo>
                  <a:lnTo>
                    <a:pt x="198" y="824"/>
                  </a:lnTo>
                  <a:lnTo>
                    <a:pt x="181" y="811"/>
                  </a:lnTo>
                  <a:lnTo>
                    <a:pt x="164" y="798"/>
                  </a:lnTo>
                  <a:lnTo>
                    <a:pt x="147" y="783"/>
                  </a:lnTo>
                  <a:lnTo>
                    <a:pt x="132" y="768"/>
                  </a:lnTo>
                  <a:lnTo>
                    <a:pt x="117" y="753"/>
                  </a:lnTo>
                  <a:lnTo>
                    <a:pt x="102" y="736"/>
                  </a:lnTo>
                  <a:lnTo>
                    <a:pt x="89" y="719"/>
                  </a:lnTo>
                  <a:lnTo>
                    <a:pt x="76" y="702"/>
                  </a:lnTo>
                  <a:lnTo>
                    <a:pt x="65" y="684"/>
                  </a:lnTo>
                  <a:lnTo>
                    <a:pt x="54" y="665"/>
                  </a:lnTo>
                  <a:lnTo>
                    <a:pt x="45" y="646"/>
                  </a:lnTo>
                  <a:lnTo>
                    <a:pt x="35" y="626"/>
                  </a:lnTo>
                  <a:lnTo>
                    <a:pt x="26" y="605"/>
                  </a:lnTo>
                  <a:lnTo>
                    <a:pt x="20" y="584"/>
                  </a:lnTo>
                  <a:lnTo>
                    <a:pt x="14" y="563"/>
                  </a:lnTo>
                  <a:lnTo>
                    <a:pt x="8" y="541"/>
                  </a:lnTo>
                  <a:lnTo>
                    <a:pt x="5" y="519"/>
                  </a:lnTo>
                  <a:lnTo>
                    <a:pt x="2" y="497"/>
                  </a:lnTo>
                  <a:lnTo>
                    <a:pt x="0" y="473"/>
                  </a:lnTo>
                  <a:lnTo>
                    <a:pt x="0" y="450"/>
                  </a:lnTo>
                  <a:lnTo>
                    <a:pt x="0" y="428"/>
                  </a:lnTo>
                  <a:lnTo>
                    <a:pt x="2" y="404"/>
                  </a:lnTo>
                  <a:lnTo>
                    <a:pt x="5" y="382"/>
                  </a:lnTo>
                  <a:lnTo>
                    <a:pt x="8" y="359"/>
                  </a:lnTo>
                  <a:lnTo>
                    <a:pt x="14" y="338"/>
                  </a:lnTo>
                  <a:lnTo>
                    <a:pt x="20" y="317"/>
                  </a:lnTo>
                  <a:lnTo>
                    <a:pt x="26" y="295"/>
                  </a:lnTo>
                  <a:lnTo>
                    <a:pt x="35" y="275"/>
                  </a:lnTo>
                  <a:lnTo>
                    <a:pt x="45" y="255"/>
                  </a:lnTo>
                  <a:lnTo>
                    <a:pt x="54" y="236"/>
                  </a:lnTo>
                  <a:lnTo>
                    <a:pt x="65" y="217"/>
                  </a:lnTo>
                  <a:lnTo>
                    <a:pt x="76" y="199"/>
                  </a:lnTo>
                  <a:lnTo>
                    <a:pt x="89" y="180"/>
                  </a:lnTo>
                  <a:lnTo>
                    <a:pt x="102" y="163"/>
                  </a:lnTo>
                  <a:lnTo>
                    <a:pt x="117" y="147"/>
                  </a:lnTo>
                  <a:lnTo>
                    <a:pt x="132" y="131"/>
                  </a:lnTo>
                  <a:lnTo>
                    <a:pt x="147" y="117"/>
                  </a:lnTo>
                  <a:lnTo>
                    <a:pt x="164" y="103"/>
                  </a:lnTo>
                  <a:lnTo>
                    <a:pt x="181" y="90"/>
                  </a:lnTo>
                  <a:lnTo>
                    <a:pt x="198" y="77"/>
                  </a:lnTo>
                  <a:lnTo>
                    <a:pt x="216" y="65"/>
                  </a:lnTo>
                  <a:lnTo>
                    <a:pt x="235" y="55"/>
                  </a:lnTo>
                  <a:lnTo>
                    <a:pt x="254" y="44"/>
                  </a:lnTo>
                  <a:lnTo>
                    <a:pt x="274" y="36"/>
                  </a:lnTo>
                  <a:lnTo>
                    <a:pt x="295" y="27"/>
                  </a:lnTo>
                  <a:lnTo>
                    <a:pt x="316" y="21"/>
                  </a:lnTo>
                  <a:lnTo>
                    <a:pt x="337" y="14"/>
                  </a:lnTo>
                  <a:lnTo>
                    <a:pt x="359" y="9"/>
                  </a:lnTo>
                  <a:lnTo>
                    <a:pt x="381" y="5"/>
                  </a:lnTo>
                  <a:lnTo>
                    <a:pt x="403" y="3"/>
                  </a:lnTo>
                  <a:lnTo>
                    <a:pt x="427" y="0"/>
                  </a:lnTo>
                  <a:lnTo>
                    <a:pt x="450" y="0"/>
                  </a:lnTo>
                  <a:lnTo>
                    <a:pt x="472" y="0"/>
                  </a:lnTo>
                  <a:lnTo>
                    <a:pt x="496" y="3"/>
                  </a:lnTo>
                  <a:lnTo>
                    <a:pt x="518" y="5"/>
                  </a:lnTo>
                  <a:lnTo>
                    <a:pt x="541" y="9"/>
                  </a:lnTo>
                  <a:lnTo>
                    <a:pt x="562" y="14"/>
                  </a:lnTo>
                  <a:lnTo>
                    <a:pt x="583" y="21"/>
                  </a:lnTo>
                  <a:lnTo>
                    <a:pt x="604" y="27"/>
                  </a:lnTo>
                  <a:lnTo>
                    <a:pt x="625" y="36"/>
                  </a:lnTo>
                  <a:lnTo>
                    <a:pt x="645" y="44"/>
                  </a:lnTo>
                  <a:lnTo>
                    <a:pt x="664" y="55"/>
                  </a:lnTo>
                  <a:lnTo>
                    <a:pt x="683" y="65"/>
                  </a:lnTo>
                  <a:lnTo>
                    <a:pt x="701" y="77"/>
                  </a:lnTo>
                  <a:lnTo>
                    <a:pt x="719" y="90"/>
                  </a:lnTo>
                  <a:lnTo>
                    <a:pt x="736" y="103"/>
                  </a:lnTo>
                  <a:lnTo>
                    <a:pt x="752" y="117"/>
                  </a:lnTo>
                  <a:lnTo>
                    <a:pt x="768" y="131"/>
                  </a:lnTo>
                  <a:lnTo>
                    <a:pt x="783" y="147"/>
                  </a:lnTo>
                  <a:lnTo>
                    <a:pt x="797" y="163"/>
                  </a:lnTo>
                  <a:lnTo>
                    <a:pt x="811" y="180"/>
                  </a:lnTo>
                  <a:lnTo>
                    <a:pt x="823" y="199"/>
                  </a:lnTo>
                  <a:lnTo>
                    <a:pt x="834" y="217"/>
                  </a:lnTo>
                  <a:lnTo>
                    <a:pt x="846" y="236"/>
                  </a:lnTo>
                  <a:lnTo>
                    <a:pt x="856" y="255"/>
                  </a:lnTo>
                  <a:lnTo>
                    <a:pt x="864" y="275"/>
                  </a:lnTo>
                  <a:lnTo>
                    <a:pt x="873" y="295"/>
                  </a:lnTo>
                  <a:lnTo>
                    <a:pt x="880" y="317"/>
                  </a:lnTo>
                  <a:lnTo>
                    <a:pt x="885" y="338"/>
                  </a:lnTo>
                  <a:lnTo>
                    <a:pt x="891" y="359"/>
                  </a:lnTo>
                  <a:lnTo>
                    <a:pt x="895" y="382"/>
                  </a:lnTo>
                  <a:lnTo>
                    <a:pt x="897" y="404"/>
                  </a:lnTo>
                  <a:lnTo>
                    <a:pt x="899" y="428"/>
                  </a:lnTo>
                  <a:lnTo>
                    <a:pt x="900" y="450"/>
                  </a:lnTo>
                  <a:close/>
                </a:path>
              </a:pathLst>
            </a:custGeom>
            <a:solidFill>
              <a:srgbClr val="BCBCBC">
                <a:alpha val="19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2" name="Freeform 120">
              <a:extLst>
                <a:ext uri="{FF2B5EF4-FFF2-40B4-BE49-F238E27FC236}">
                  <a16:creationId xmlns:a16="http://schemas.microsoft.com/office/drawing/2014/main" id="{3FB59A61-B448-4D07-92AA-9065C8B78E18}"/>
                </a:ext>
              </a:extLst>
            </p:cNvPr>
            <p:cNvSpPr>
              <a:spLocks/>
            </p:cNvSpPr>
            <p:nvPr/>
          </p:nvSpPr>
          <p:spPr bwMode="auto">
            <a:xfrm>
              <a:off x="5473700" y="4611688"/>
              <a:ext cx="285750" cy="285750"/>
            </a:xfrm>
            <a:custGeom>
              <a:avLst/>
              <a:gdLst>
                <a:gd name="T0" fmla="*/ 899 w 901"/>
                <a:gd name="T1" fmla="*/ 496 h 901"/>
                <a:gd name="T2" fmla="*/ 887 w 901"/>
                <a:gd name="T3" fmla="*/ 563 h 901"/>
                <a:gd name="T4" fmla="*/ 866 w 901"/>
                <a:gd name="T5" fmla="*/ 626 h 901"/>
                <a:gd name="T6" fmla="*/ 836 w 901"/>
                <a:gd name="T7" fmla="*/ 684 h 901"/>
                <a:gd name="T8" fmla="*/ 799 w 901"/>
                <a:gd name="T9" fmla="*/ 737 h 901"/>
                <a:gd name="T10" fmla="*/ 754 w 901"/>
                <a:gd name="T11" fmla="*/ 784 h 901"/>
                <a:gd name="T12" fmla="*/ 703 w 901"/>
                <a:gd name="T13" fmla="*/ 824 h 901"/>
                <a:gd name="T14" fmla="*/ 646 w 901"/>
                <a:gd name="T15" fmla="*/ 856 h 901"/>
                <a:gd name="T16" fmla="*/ 585 w 901"/>
                <a:gd name="T17" fmla="*/ 881 h 901"/>
                <a:gd name="T18" fmla="*/ 520 w 901"/>
                <a:gd name="T19" fmla="*/ 896 h 901"/>
                <a:gd name="T20" fmla="*/ 451 w 901"/>
                <a:gd name="T21" fmla="*/ 901 h 901"/>
                <a:gd name="T22" fmla="*/ 382 w 901"/>
                <a:gd name="T23" fmla="*/ 896 h 901"/>
                <a:gd name="T24" fmla="*/ 317 w 901"/>
                <a:gd name="T25" fmla="*/ 881 h 901"/>
                <a:gd name="T26" fmla="*/ 256 w 901"/>
                <a:gd name="T27" fmla="*/ 856 h 901"/>
                <a:gd name="T28" fmla="*/ 199 w 901"/>
                <a:gd name="T29" fmla="*/ 824 h 901"/>
                <a:gd name="T30" fmla="*/ 148 w 901"/>
                <a:gd name="T31" fmla="*/ 784 h 901"/>
                <a:gd name="T32" fmla="*/ 104 w 901"/>
                <a:gd name="T33" fmla="*/ 737 h 901"/>
                <a:gd name="T34" fmla="*/ 66 w 901"/>
                <a:gd name="T35" fmla="*/ 684 h 901"/>
                <a:gd name="T36" fmla="*/ 37 w 901"/>
                <a:gd name="T37" fmla="*/ 626 h 901"/>
                <a:gd name="T38" fmla="*/ 15 w 901"/>
                <a:gd name="T39" fmla="*/ 563 h 901"/>
                <a:gd name="T40" fmla="*/ 4 w 901"/>
                <a:gd name="T41" fmla="*/ 496 h 901"/>
                <a:gd name="T42" fmla="*/ 1 w 901"/>
                <a:gd name="T43" fmla="*/ 427 h 901"/>
                <a:gd name="T44" fmla="*/ 10 w 901"/>
                <a:gd name="T45" fmla="*/ 360 h 901"/>
                <a:gd name="T46" fmla="*/ 28 w 901"/>
                <a:gd name="T47" fmla="*/ 296 h 901"/>
                <a:gd name="T48" fmla="*/ 55 w 901"/>
                <a:gd name="T49" fmla="*/ 235 h 901"/>
                <a:gd name="T50" fmla="*/ 90 w 901"/>
                <a:gd name="T51" fmla="*/ 181 h 901"/>
                <a:gd name="T52" fmla="*/ 132 w 901"/>
                <a:gd name="T53" fmla="*/ 132 h 901"/>
                <a:gd name="T54" fmla="*/ 181 w 901"/>
                <a:gd name="T55" fmla="*/ 90 h 901"/>
                <a:gd name="T56" fmla="*/ 237 w 901"/>
                <a:gd name="T57" fmla="*/ 54 h 901"/>
                <a:gd name="T58" fmla="*/ 296 w 901"/>
                <a:gd name="T59" fmla="*/ 28 h 901"/>
                <a:gd name="T60" fmla="*/ 360 w 901"/>
                <a:gd name="T61" fmla="*/ 10 h 901"/>
                <a:gd name="T62" fmla="*/ 428 w 901"/>
                <a:gd name="T63" fmla="*/ 1 h 901"/>
                <a:gd name="T64" fmla="*/ 497 w 901"/>
                <a:gd name="T65" fmla="*/ 2 h 901"/>
                <a:gd name="T66" fmla="*/ 563 w 901"/>
                <a:gd name="T67" fmla="*/ 14 h 901"/>
                <a:gd name="T68" fmla="*/ 626 w 901"/>
                <a:gd name="T69" fmla="*/ 35 h 901"/>
                <a:gd name="T70" fmla="*/ 685 w 901"/>
                <a:gd name="T71" fmla="*/ 65 h 901"/>
                <a:gd name="T72" fmla="*/ 737 w 901"/>
                <a:gd name="T73" fmla="*/ 103 h 901"/>
                <a:gd name="T74" fmla="*/ 784 w 901"/>
                <a:gd name="T75" fmla="*/ 148 h 901"/>
                <a:gd name="T76" fmla="*/ 824 w 901"/>
                <a:gd name="T77" fmla="*/ 199 h 901"/>
                <a:gd name="T78" fmla="*/ 856 w 901"/>
                <a:gd name="T79" fmla="*/ 256 h 901"/>
                <a:gd name="T80" fmla="*/ 881 w 901"/>
                <a:gd name="T81" fmla="*/ 316 h 901"/>
                <a:gd name="T82" fmla="*/ 895 w 901"/>
                <a:gd name="T83" fmla="*/ 382 h 901"/>
                <a:gd name="T84" fmla="*/ 901 w 901"/>
                <a:gd name="T85" fmla="*/ 451 h 9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01" h="901">
                  <a:moveTo>
                    <a:pt x="901" y="451"/>
                  </a:moveTo>
                  <a:lnTo>
                    <a:pt x="901" y="474"/>
                  </a:lnTo>
                  <a:lnTo>
                    <a:pt x="899" y="496"/>
                  </a:lnTo>
                  <a:lnTo>
                    <a:pt x="895" y="519"/>
                  </a:lnTo>
                  <a:lnTo>
                    <a:pt x="892" y="541"/>
                  </a:lnTo>
                  <a:lnTo>
                    <a:pt x="887" y="563"/>
                  </a:lnTo>
                  <a:lnTo>
                    <a:pt x="881" y="585"/>
                  </a:lnTo>
                  <a:lnTo>
                    <a:pt x="874" y="605"/>
                  </a:lnTo>
                  <a:lnTo>
                    <a:pt x="866" y="626"/>
                  </a:lnTo>
                  <a:lnTo>
                    <a:pt x="856" y="645"/>
                  </a:lnTo>
                  <a:lnTo>
                    <a:pt x="846" y="666"/>
                  </a:lnTo>
                  <a:lnTo>
                    <a:pt x="836" y="684"/>
                  </a:lnTo>
                  <a:lnTo>
                    <a:pt x="824" y="702"/>
                  </a:lnTo>
                  <a:lnTo>
                    <a:pt x="811" y="720"/>
                  </a:lnTo>
                  <a:lnTo>
                    <a:pt x="799" y="737"/>
                  </a:lnTo>
                  <a:lnTo>
                    <a:pt x="784" y="753"/>
                  </a:lnTo>
                  <a:lnTo>
                    <a:pt x="769" y="769"/>
                  </a:lnTo>
                  <a:lnTo>
                    <a:pt x="754" y="784"/>
                  </a:lnTo>
                  <a:lnTo>
                    <a:pt x="737" y="798"/>
                  </a:lnTo>
                  <a:lnTo>
                    <a:pt x="720" y="812"/>
                  </a:lnTo>
                  <a:lnTo>
                    <a:pt x="703" y="824"/>
                  </a:lnTo>
                  <a:lnTo>
                    <a:pt x="685" y="836"/>
                  </a:lnTo>
                  <a:lnTo>
                    <a:pt x="666" y="847"/>
                  </a:lnTo>
                  <a:lnTo>
                    <a:pt x="646" y="856"/>
                  </a:lnTo>
                  <a:lnTo>
                    <a:pt x="626" y="866"/>
                  </a:lnTo>
                  <a:lnTo>
                    <a:pt x="606" y="873"/>
                  </a:lnTo>
                  <a:lnTo>
                    <a:pt x="585" y="881"/>
                  </a:lnTo>
                  <a:lnTo>
                    <a:pt x="563" y="887"/>
                  </a:lnTo>
                  <a:lnTo>
                    <a:pt x="542" y="891"/>
                  </a:lnTo>
                  <a:lnTo>
                    <a:pt x="520" y="896"/>
                  </a:lnTo>
                  <a:lnTo>
                    <a:pt x="497" y="899"/>
                  </a:lnTo>
                  <a:lnTo>
                    <a:pt x="474" y="900"/>
                  </a:lnTo>
                  <a:lnTo>
                    <a:pt x="451" y="901"/>
                  </a:lnTo>
                  <a:lnTo>
                    <a:pt x="428" y="900"/>
                  </a:lnTo>
                  <a:lnTo>
                    <a:pt x="405" y="899"/>
                  </a:lnTo>
                  <a:lnTo>
                    <a:pt x="382" y="896"/>
                  </a:lnTo>
                  <a:lnTo>
                    <a:pt x="360" y="891"/>
                  </a:lnTo>
                  <a:lnTo>
                    <a:pt x="339" y="887"/>
                  </a:lnTo>
                  <a:lnTo>
                    <a:pt x="317" y="881"/>
                  </a:lnTo>
                  <a:lnTo>
                    <a:pt x="296" y="873"/>
                  </a:lnTo>
                  <a:lnTo>
                    <a:pt x="276" y="866"/>
                  </a:lnTo>
                  <a:lnTo>
                    <a:pt x="256" y="856"/>
                  </a:lnTo>
                  <a:lnTo>
                    <a:pt x="237" y="847"/>
                  </a:lnTo>
                  <a:lnTo>
                    <a:pt x="217" y="836"/>
                  </a:lnTo>
                  <a:lnTo>
                    <a:pt x="199" y="824"/>
                  </a:lnTo>
                  <a:lnTo>
                    <a:pt x="181" y="812"/>
                  </a:lnTo>
                  <a:lnTo>
                    <a:pt x="164" y="798"/>
                  </a:lnTo>
                  <a:lnTo>
                    <a:pt x="148" y="784"/>
                  </a:lnTo>
                  <a:lnTo>
                    <a:pt x="132" y="769"/>
                  </a:lnTo>
                  <a:lnTo>
                    <a:pt x="117" y="753"/>
                  </a:lnTo>
                  <a:lnTo>
                    <a:pt x="104" y="737"/>
                  </a:lnTo>
                  <a:lnTo>
                    <a:pt x="90" y="720"/>
                  </a:lnTo>
                  <a:lnTo>
                    <a:pt x="78" y="702"/>
                  </a:lnTo>
                  <a:lnTo>
                    <a:pt x="66" y="684"/>
                  </a:lnTo>
                  <a:lnTo>
                    <a:pt x="55" y="666"/>
                  </a:lnTo>
                  <a:lnTo>
                    <a:pt x="45" y="645"/>
                  </a:lnTo>
                  <a:lnTo>
                    <a:pt x="37" y="626"/>
                  </a:lnTo>
                  <a:lnTo>
                    <a:pt x="28" y="605"/>
                  </a:lnTo>
                  <a:lnTo>
                    <a:pt x="21" y="585"/>
                  </a:lnTo>
                  <a:lnTo>
                    <a:pt x="15" y="563"/>
                  </a:lnTo>
                  <a:lnTo>
                    <a:pt x="10" y="541"/>
                  </a:lnTo>
                  <a:lnTo>
                    <a:pt x="6" y="519"/>
                  </a:lnTo>
                  <a:lnTo>
                    <a:pt x="4" y="496"/>
                  </a:lnTo>
                  <a:lnTo>
                    <a:pt x="1" y="474"/>
                  </a:lnTo>
                  <a:lnTo>
                    <a:pt x="0" y="451"/>
                  </a:lnTo>
                  <a:lnTo>
                    <a:pt x="1" y="427"/>
                  </a:lnTo>
                  <a:lnTo>
                    <a:pt x="4" y="405"/>
                  </a:lnTo>
                  <a:lnTo>
                    <a:pt x="6" y="382"/>
                  </a:lnTo>
                  <a:lnTo>
                    <a:pt x="10" y="360"/>
                  </a:lnTo>
                  <a:lnTo>
                    <a:pt x="15" y="338"/>
                  </a:lnTo>
                  <a:lnTo>
                    <a:pt x="21" y="316"/>
                  </a:lnTo>
                  <a:lnTo>
                    <a:pt x="28" y="296"/>
                  </a:lnTo>
                  <a:lnTo>
                    <a:pt x="37" y="275"/>
                  </a:lnTo>
                  <a:lnTo>
                    <a:pt x="45" y="256"/>
                  </a:lnTo>
                  <a:lnTo>
                    <a:pt x="55" y="235"/>
                  </a:lnTo>
                  <a:lnTo>
                    <a:pt x="66" y="217"/>
                  </a:lnTo>
                  <a:lnTo>
                    <a:pt x="78" y="199"/>
                  </a:lnTo>
                  <a:lnTo>
                    <a:pt x="90" y="181"/>
                  </a:lnTo>
                  <a:lnTo>
                    <a:pt x="104" y="164"/>
                  </a:lnTo>
                  <a:lnTo>
                    <a:pt x="117" y="148"/>
                  </a:lnTo>
                  <a:lnTo>
                    <a:pt x="132" y="132"/>
                  </a:lnTo>
                  <a:lnTo>
                    <a:pt x="148" y="117"/>
                  </a:lnTo>
                  <a:lnTo>
                    <a:pt x="164" y="103"/>
                  </a:lnTo>
                  <a:lnTo>
                    <a:pt x="181" y="90"/>
                  </a:lnTo>
                  <a:lnTo>
                    <a:pt x="199" y="77"/>
                  </a:lnTo>
                  <a:lnTo>
                    <a:pt x="217" y="65"/>
                  </a:lnTo>
                  <a:lnTo>
                    <a:pt x="237" y="54"/>
                  </a:lnTo>
                  <a:lnTo>
                    <a:pt x="256" y="45"/>
                  </a:lnTo>
                  <a:lnTo>
                    <a:pt x="276" y="35"/>
                  </a:lnTo>
                  <a:lnTo>
                    <a:pt x="296" y="28"/>
                  </a:lnTo>
                  <a:lnTo>
                    <a:pt x="317" y="20"/>
                  </a:lnTo>
                  <a:lnTo>
                    <a:pt x="339" y="14"/>
                  </a:lnTo>
                  <a:lnTo>
                    <a:pt x="360" y="10"/>
                  </a:lnTo>
                  <a:lnTo>
                    <a:pt x="382" y="5"/>
                  </a:lnTo>
                  <a:lnTo>
                    <a:pt x="405" y="2"/>
                  </a:lnTo>
                  <a:lnTo>
                    <a:pt x="428" y="1"/>
                  </a:lnTo>
                  <a:lnTo>
                    <a:pt x="451" y="0"/>
                  </a:lnTo>
                  <a:lnTo>
                    <a:pt x="474" y="1"/>
                  </a:lnTo>
                  <a:lnTo>
                    <a:pt x="497" y="2"/>
                  </a:lnTo>
                  <a:lnTo>
                    <a:pt x="520" y="5"/>
                  </a:lnTo>
                  <a:lnTo>
                    <a:pt x="542" y="10"/>
                  </a:lnTo>
                  <a:lnTo>
                    <a:pt x="563" y="14"/>
                  </a:lnTo>
                  <a:lnTo>
                    <a:pt x="585" y="20"/>
                  </a:lnTo>
                  <a:lnTo>
                    <a:pt x="606" y="28"/>
                  </a:lnTo>
                  <a:lnTo>
                    <a:pt x="626" y="35"/>
                  </a:lnTo>
                  <a:lnTo>
                    <a:pt x="646" y="45"/>
                  </a:lnTo>
                  <a:lnTo>
                    <a:pt x="666" y="54"/>
                  </a:lnTo>
                  <a:lnTo>
                    <a:pt x="685" y="65"/>
                  </a:lnTo>
                  <a:lnTo>
                    <a:pt x="703" y="77"/>
                  </a:lnTo>
                  <a:lnTo>
                    <a:pt x="720" y="90"/>
                  </a:lnTo>
                  <a:lnTo>
                    <a:pt x="737" y="103"/>
                  </a:lnTo>
                  <a:lnTo>
                    <a:pt x="754" y="117"/>
                  </a:lnTo>
                  <a:lnTo>
                    <a:pt x="769" y="132"/>
                  </a:lnTo>
                  <a:lnTo>
                    <a:pt x="784" y="148"/>
                  </a:lnTo>
                  <a:lnTo>
                    <a:pt x="799" y="164"/>
                  </a:lnTo>
                  <a:lnTo>
                    <a:pt x="811" y="181"/>
                  </a:lnTo>
                  <a:lnTo>
                    <a:pt x="824" y="199"/>
                  </a:lnTo>
                  <a:lnTo>
                    <a:pt x="836" y="217"/>
                  </a:lnTo>
                  <a:lnTo>
                    <a:pt x="846" y="235"/>
                  </a:lnTo>
                  <a:lnTo>
                    <a:pt x="856" y="256"/>
                  </a:lnTo>
                  <a:lnTo>
                    <a:pt x="866" y="275"/>
                  </a:lnTo>
                  <a:lnTo>
                    <a:pt x="874" y="296"/>
                  </a:lnTo>
                  <a:lnTo>
                    <a:pt x="881" y="316"/>
                  </a:lnTo>
                  <a:lnTo>
                    <a:pt x="887" y="338"/>
                  </a:lnTo>
                  <a:lnTo>
                    <a:pt x="892" y="360"/>
                  </a:lnTo>
                  <a:lnTo>
                    <a:pt x="895" y="382"/>
                  </a:lnTo>
                  <a:lnTo>
                    <a:pt x="899" y="405"/>
                  </a:lnTo>
                  <a:lnTo>
                    <a:pt x="901" y="427"/>
                  </a:lnTo>
                  <a:lnTo>
                    <a:pt x="901" y="451"/>
                  </a:lnTo>
                  <a:close/>
                </a:path>
              </a:pathLst>
            </a:custGeom>
            <a:solidFill>
              <a:srgbClr val="BCBCBC">
                <a:alpha val="19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3" name="Freeform 121">
              <a:extLst>
                <a:ext uri="{FF2B5EF4-FFF2-40B4-BE49-F238E27FC236}">
                  <a16:creationId xmlns:a16="http://schemas.microsoft.com/office/drawing/2014/main" id="{CD6F2338-BB44-48C7-A417-31F832B7F568}"/>
                </a:ext>
              </a:extLst>
            </p:cNvPr>
            <p:cNvSpPr>
              <a:spLocks/>
            </p:cNvSpPr>
            <p:nvPr/>
          </p:nvSpPr>
          <p:spPr bwMode="auto">
            <a:xfrm>
              <a:off x="1749425" y="1414463"/>
              <a:ext cx="469900" cy="469900"/>
            </a:xfrm>
            <a:custGeom>
              <a:avLst/>
              <a:gdLst>
                <a:gd name="T0" fmla="*/ 1473 w 1478"/>
                <a:gd name="T1" fmla="*/ 816 h 1480"/>
                <a:gd name="T2" fmla="*/ 1454 w 1478"/>
                <a:gd name="T3" fmla="*/ 925 h 1480"/>
                <a:gd name="T4" fmla="*/ 1419 w 1478"/>
                <a:gd name="T5" fmla="*/ 1028 h 1480"/>
                <a:gd name="T6" fmla="*/ 1370 w 1478"/>
                <a:gd name="T7" fmla="*/ 1124 h 1480"/>
                <a:gd name="T8" fmla="*/ 1308 w 1478"/>
                <a:gd name="T9" fmla="*/ 1210 h 1480"/>
                <a:gd name="T10" fmla="*/ 1235 w 1478"/>
                <a:gd name="T11" fmla="*/ 1287 h 1480"/>
                <a:gd name="T12" fmla="*/ 1152 w 1478"/>
                <a:gd name="T13" fmla="*/ 1353 h 1480"/>
                <a:gd name="T14" fmla="*/ 1059 w 1478"/>
                <a:gd name="T15" fmla="*/ 1406 h 1480"/>
                <a:gd name="T16" fmla="*/ 958 w 1478"/>
                <a:gd name="T17" fmla="*/ 1447 h 1480"/>
                <a:gd name="T18" fmla="*/ 851 w 1478"/>
                <a:gd name="T19" fmla="*/ 1471 h 1480"/>
                <a:gd name="T20" fmla="*/ 739 w 1478"/>
                <a:gd name="T21" fmla="*/ 1480 h 1480"/>
                <a:gd name="T22" fmla="*/ 626 w 1478"/>
                <a:gd name="T23" fmla="*/ 1471 h 1480"/>
                <a:gd name="T24" fmla="*/ 519 w 1478"/>
                <a:gd name="T25" fmla="*/ 1447 h 1480"/>
                <a:gd name="T26" fmla="*/ 419 w 1478"/>
                <a:gd name="T27" fmla="*/ 1406 h 1480"/>
                <a:gd name="T28" fmla="*/ 326 w 1478"/>
                <a:gd name="T29" fmla="*/ 1353 h 1480"/>
                <a:gd name="T30" fmla="*/ 242 w 1478"/>
                <a:gd name="T31" fmla="*/ 1287 h 1480"/>
                <a:gd name="T32" fmla="*/ 169 w 1478"/>
                <a:gd name="T33" fmla="*/ 1210 h 1480"/>
                <a:gd name="T34" fmla="*/ 107 w 1478"/>
                <a:gd name="T35" fmla="*/ 1124 h 1480"/>
                <a:gd name="T36" fmla="*/ 58 w 1478"/>
                <a:gd name="T37" fmla="*/ 1028 h 1480"/>
                <a:gd name="T38" fmla="*/ 24 w 1478"/>
                <a:gd name="T39" fmla="*/ 925 h 1480"/>
                <a:gd name="T40" fmla="*/ 4 w 1478"/>
                <a:gd name="T41" fmla="*/ 816 h 1480"/>
                <a:gd name="T42" fmla="*/ 1 w 1478"/>
                <a:gd name="T43" fmla="*/ 702 h 1480"/>
                <a:gd name="T44" fmla="*/ 15 w 1478"/>
                <a:gd name="T45" fmla="*/ 591 h 1480"/>
                <a:gd name="T46" fmla="*/ 45 w 1478"/>
                <a:gd name="T47" fmla="*/ 486 h 1480"/>
                <a:gd name="T48" fmla="*/ 89 w 1478"/>
                <a:gd name="T49" fmla="*/ 388 h 1480"/>
                <a:gd name="T50" fmla="*/ 147 w 1478"/>
                <a:gd name="T51" fmla="*/ 297 h 1480"/>
                <a:gd name="T52" fmla="*/ 216 w 1478"/>
                <a:gd name="T53" fmla="*/ 218 h 1480"/>
                <a:gd name="T54" fmla="*/ 296 w 1478"/>
                <a:gd name="T55" fmla="*/ 147 h 1480"/>
                <a:gd name="T56" fmla="*/ 387 w 1478"/>
                <a:gd name="T57" fmla="*/ 90 h 1480"/>
                <a:gd name="T58" fmla="*/ 485 w 1478"/>
                <a:gd name="T59" fmla="*/ 46 h 1480"/>
                <a:gd name="T60" fmla="*/ 590 w 1478"/>
                <a:gd name="T61" fmla="*/ 16 h 1480"/>
                <a:gd name="T62" fmla="*/ 701 w 1478"/>
                <a:gd name="T63" fmla="*/ 1 h 1480"/>
                <a:gd name="T64" fmla="*/ 815 w 1478"/>
                <a:gd name="T65" fmla="*/ 5 h 1480"/>
                <a:gd name="T66" fmla="*/ 923 w 1478"/>
                <a:gd name="T67" fmla="*/ 24 h 1480"/>
                <a:gd name="T68" fmla="*/ 1026 w 1478"/>
                <a:gd name="T69" fmla="*/ 59 h 1480"/>
                <a:gd name="T70" fmla="*/ 1122 w 1478"/>
                <a:gd name="T71" fmla="*/ 108 h 1480"/>
                <a:gd name="T72" fmla="*/ 1208 w 1478"/>
                <a:gd name="T73" fmla="*/ 170 h 1480"/>
                <a:gd name="T74" fmla="*/ 1286 w 1478"/>
                <a:gd name="T75" fmla="*/ 243 h 1480"/>
                <a:gd name="T76" fmla="*/ 1351 w 1478"/>
                <a:gd name="T77" fmla="*/ 327 h 1480"/>
                <a:gd name="T78" fmla="*/ 1404 w 1478"/>
                <a:gd name="T79" fmla="*/ 420 h 1480"/>
                <a:gd name="T80" fmla="*/ 1445 w 1478"/>
                <a:gd name="T81" fmla="*/ 520 h 1480"/>
                <a:gd name="T82" fmla="*/ 1469 w 1478"/>
                <a:gd name="T83" fmla="*/ 628 h 1480"/>
                <a:gd name="T84" fmla="*/ 1478 w 1478"/>
                <a:gd name="T85" fmla="*/ 740 h 14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78" h="1480">
                  <a:moveTo>
                    <a:pt x="1478" y="740"/>
                  </a:moveTo>
                  <a:lnTo>
                    <a:pt x="1477" y="778"/>
                  </a:lnTo>
                  <a:lnTo>
                    <a:pt x="1473" y="816"/>
                  </a:lnTo>
                  <a:lnTo>
                    <a:pt x="1469" y="852"/>
                  </a:lnTo>
                  <a:lnTo>
                    <a:pt x="1463" y="890"/>
                  </a:lnTo>
                  <a:lnTo>
                    <a:pt x="1454" y="925"/>
                  </a:lnTo>
                  <a:lnTo>
                    <a:pt x="1445" y="960"/>
                  </a:lnTo>
                  <a:lnTo>
                    <a:pt x="1433" y="994"/>
                  </a:lnTo>
                  <a:lnTo>
                    <a:pt x="1419" y="1028"/>
                  </a:lnTo>
                  <a:lnTo>
                    <a:pt x="1404" y="1061"/>
                  </a:lnTo>
                  <a:lnTo>
                    <a:pt x="1388" y="1092"/>
                  </a:lnTo>
                  <a:lnTo>
                    <a:pt x="1370" y="1124"/>
                  </a:lnTo>
                  <a:lnTo>
                    <a:pt x="1351" y="1154"/>
                  </a:lnTo>
                  <a:lnTo>
                    <a:pt x="1331" y="1182"/>
                  </a:lnTo>
                  <a:lnTo>
                    <a:pt x="1308" y="1210"/>
                  </a:lnTo>
                  <a:lnTo>
                    <a:pt x="1286" y="1237"/>
                  </a:lnTo>
                  <a:lnTo>
                    <a:pt x="1262" y="1262"/>
                  </a:lnTo>
                  <a:lnTo>
                    <a:pt x="1235" y="1287"/>
                  </a:lnTo>
                  <a:lnTo>
                    <a:pt x="1208" y="1310"/>
                  </a:lnTo>
                  <a:lnTo>
                    <a:pt x="1181" y="1333"/>
                  </a:lnTo>
                  <a:lnTo>
                    <a:pt x="1152" y="1353"/>
                  </a:lnTo>
                  <a:lnTo>
                    <a:pt x="1122" y="1372"/>
                  </a:lnTo>
                  <a:lnTo>
                    <a:pt x="1091" y="1390"/>
                  </a:lnTo>
                  <a:lnTo>
                    <a:pt x="1059" y="1406"/>
                  </a:lnTo>
                  <a:lnTo>
                    <a:pt x="1026" y="1421"/>
                  </a:lnTo>
                  <a:lnTo>
                    <a:pt x="992" y="1435"/>
                  </a:lnTo>
                  <a:lnTo>
                    <a:pt x="958" y="1447"/>
                  </a:lnTo>
                  <a:lnTo>
                    <a:pt x="923" y="1456"/>
                  </a:lnTo>
                  <a:lnTo>
                    <a:pt x="888" y="1465"/>
                  </a:lnTo>
                  <a:lnTo>
                    <a:pt x="851" y="1471"/>
                  </a:lnTo>
                  <a:lnTo>
                    <a:pt x="815" y="1475"/>
                  </a:lnTo>
                  <a:lnTo>
                    <a:pt x="776" y="1479"/>
                  </a:lnTo>
                  <a:lnTo>
                    <a:pt x="739" y="1480"/>
                  </a:lnTo>
                  <a:lnTo>
                    <a:pt x="701" y="1479"/>
                  </a:lnTo>
                  <a:lnTo>
                    <a:pt x="663" y="1475"/>
                  </a:lnTo>
                  <a:lnTo>
                    <a:pt x="626" y="1471"/>
                  </a:lnTo>
                  <a:lnTo>
                    <a:pt x="590" y="1465"/>
                  </a:lnTo>
                  <a:lnTo>
                    <a:pt x="554" y="1456"/>
                  </a:lnTo>
                  <a:lnTo>
                    <a:pt x="519" y="1447"/>
                  </a:lnTo>
                  <a:lnTo>
                    <a:pt x="485" y="1435"/>
                  </a:lnTo>
                  <a:lnTo>
                    <a:pt x="452" y="1421"/>
                  </a:lnTo>
                  <a:lnTo>
                    <a:pt x="419" y="1406"/>
                  </a:lnTo>
                  <a:lnTo>
                    <a:pt x="387" y="1390"/>
                  </a:lnTo>
                  <a:lnTo>
                    <a:pt x="356" y="1372"/>
                  </a:lnTo>
                  <a:lnTo>
                    <a:pt x="326" y="1353"/>
                  </a:lnTo>
                  <a:lnTo>
                    <a:pt x="296" y="1333"/>
                  </a:lnTo>
                  <a:lnTo>
                    <a:pt x="269" y="1310"/>
                  </a:lnTo>
                  <a:lnTo>
                    <a:pt x="242" y="1287"/>
                  </a:lnTo>
                  <a:lnTo>
                    <a:pt x="216" y="1262"/>
                  </a:lnTo>
                  <a:lnTo>
                    <a:pt x="192" y="1237"/>
                  </a:lnTo>
                  <a:lnTo>
                    <a:pt x="169" y="1210"/>
                  </a:lnTo>
                  <a:lnTo>
                    <a:pt x="147" y="1182"/>
                  </a:lnTo>
                  <a:lnTo>
                    <a:pt x="126" y="1154"/>
                  </a:lnTo>
                  <a:lnTo>
                    <a:pt x="107" y="1124"/>
                  </a:lnTo>
                  <a:lnTo>
                    <a:pt x="89" y="1092"/>
                  </a:lnTo>
                  <a:lnTo>
                    <a:pt x="73" y="1061"/>
                  </a:lnTo>
                  <a:lnTo>
                    <a:pt x="58" y="1028"/>
                  </a:lnTo>
                  <a:lnTo>
                    <a:pt x="45" y="994"/>
                  </a:lnTo>
                  <a:lnTo>
                    <a:pt x="33" y="960"/>
                  </a:lnTo>
                  <a:lnTo>
                    <a:pt x="24" y="925"/>
                  </a:lnTo>
                  <a:lnTo>
                    <a:pt x="15" y="890"/>
                  </a:lnTo>
                  <a:lnTo>
                    <a:pt x="9" y="852"/>
                  </a:lnTo>
                  <a:lnTo>
                    <a:pt x="4" y="816"/>
                  </a:lnTo>
                  <a:lnTo>
                    <a:pt x="1" y="778"/>
                  </a:lnTo>
                  <a:lnTo>
                    <a:pt x="0" y="740"/>
                  </a:lnTo>
                  <a:lnTo>
                    <a:pt x="1" y="702"/>
                  </a:lnTo>
                  <a:lnTo>
                    <a:pt x="4" y="665"/>
                  </a:lnTo>
                  <a:lnTo>
                    <a:pt x="9" y="628"/>
                  </a:lnTo>
                  <a:lnTo>
                    <a:pt x="15" y="591"/>
                  </a:lnTo>
                  <a:lnTo>
                    <a:pt x="24" y="555"/>
                  </a:lnTo>
                  <a:lnTo>
                    <a:pt x="33" y="520"/>
                  </a:lnTo>
                  <a:lnTo>
                    <a:pt x="45" y="486"/>
                  </a:lnTo>
                  <a:lnTo>
                    <a:pt x="58" y="452"/>
                  </a:lnTo>
                  <a:lnTo>
                    <a:pt x="73" y="420"/>
                  </a:lnTo>
                  <a:lnTo>
                    <a:pt x="89" y="388"/>
                  </a:lnTo>
                  <a:lnTo>
                    <a:pt x="107" y="357"/>
                  </a:lnTo>
                  <a:lnTo>
                    <a:pt x="126" y="327"/>
                  </a:lnTo>
                  <a:lnTo>
                    <a:pt x="147" y="297"/>
                  </a:lnTo>
                  <a:lnTo>
                    <a:pt x="169" y="270"/>
                  </a:lnTo>
                  <a:lnTo>
                    <a:pt x="192" y="243"/>
                  </a:lnTo>
                  <a:lnTo>
                    <a:pt x="216" y="218"/>
                  </a:lnTo>
                  <a:lnTo>
                    <a:pt x="242" y="193"/>
                  </a:lnTo>
                  <a:lnTo>
                    <a:pt x="269" y="170"/>
                  </a:lnTo>
                  <a:lnTo>
                    <a:pt x="296" y="147"/>
                  </a:lnTo>
                  <a:lnTo>
                    <a:pt x="326" y="127"/>
                  </a:lnTo>
                  <a:lnTo>
                    <a:pt x="356" y="108"/>
                  </a:lnTo>
                  <a:lnTo>
                    <a:pt x="387" y="90"/>
                  </a:lnTo>
                  <a:lnTo>
                    <a:pt x="419" y="74"/>
                  </a:lnTo>
                  <a:lnTo>
                    <a:pt x="452" y="59"/>
                  </a:lnTo>
                  <a:lnTo>
                    <a:pt x="485" y="46"/>
                  </a:lnTo>
                  <a:lnTo>
                    <a:pt x="519" y="34"/>
                  </a:lnTo>
                  <a:lnTo>
                    <a:pt x="554" y="24"/>
                  </a:lnTo>
                  <a:lnTo>
                    <a:pt x="590" y="16"/>
                  </a:lnTo>
                  <a:lnTo>
                    <a:pt x="626" y="9"/>
                  </a:lnTo>
                  <a:lnTo>
                    <a:pt x="663" y="5"/>
                  </a:lnTo>
                  <a:lnTo>
                    <a:pt x="701" y="1"/>
                  </a:lnTo>
                  <a:lnTo>
                    <a:pt x="739" y="0"/>
                  </a:lnTo>
                  <a:lnTo>
                    <a:pt x="776" y="1"/>
                  </a:lnTo>
                  <a:lnTo>
                    <a:pt x="815" y="5"/>
                  </a:lnTo>
                  <a:lnTo>
                    <a:pt x="851" y="9"/>
                  </a:lnTo>
                  <a:lnTo>
                    <a:pt x="888" y="16"/>
                  </a:lnTo>
                  <a:lnTo>
                    <a:pt x="923" y="24"/>
                  </a:lnTo>
                  <a:lnTo>
                    <a:pt x="958" y="34"/>
                  </a:lnTo>
                  <a:lnTo>
                    <a:pt x="992" y="46"/>
                  </a:lnTo>
                  <a:lnTo>
                    <a:pt x="1026" y="59"/>
                  </a:lnTo>
                  <a:lnTo>
                    <a:pt x="1059" y="74"/>
                  </a:lnTo>
                  <a:lnTo>
                    <a:pt x="1091" y="90"/>
                  </a:lnTo>
                  <a:lnTo>
                    <a:pt x="1122" y="108"/>
                  </a:lnTo>
                  <a:lnTo>
                    <a:pt x="1152" y="127"/>
                  </a:lnTo>
                  <a:lnTo>
                    <a:pt x="1181" y="147"/>
                  </a:lnTo>
                  <a:lnTo>
                    <a:pt x="1208" y="170"/>
                  </a:lnTo>
                  <a:lnTo>
                    <a:pt x="1235" y="193"/>
                  </a:lnTo>
                  <a:lnTo>
                    <a:pt x="1262" y="218"/>
                  </a:lnTo>
                  <a:lnTo>
                    <a:pt x="1286" y="243"/>
                  </a:lnTo>
                  <a:lnTo>
                    <a:pt x="1308" y="270"/>
                  </a:lnTo>
                  <a:lnTo>
                    <a:pt x="1331" y="297"/>
                  </a:lnTo>
                  <a:lnTo>
                    <a:pt x="1351" y="327"/>
                  </a:lnTo>
                  <a:lnTo>
                    <a:pt x="1370" y="357"/>
                  </a:lnTo>
                  <a:lnTo>
                    <a:pt x="1388" y="388"/>
                  </a:lnTo>
                  <a:lnTo>
                    <a:pt x="1404" y="420"/>
                  </a:lnTo>
                  <a:lnTo>
                    <a:pt x="1419" y="452"/>
                  </a:lnTo>
                  <a:lnTo>
                    <a:pt x="1433" y="486"/>
                  </a:lnTo>
                  <a:lnTo>
                    <a:pt x="1445" y="520"/>
                  </a:lnTo>
                  <a:lnTo>
                    <a:pt x="1454" y="555"/>
                  </a:lnTo>
                  <a:lnTo>
                    <a:pt x="1463" y="591"/>
                  </a:lnTo>
                  <a:lnTo>
                    <a:pt x="1469" y="628"/>
                  </a:lnTo>
                  <a:lnTo>
                    <a:pt x="1473" y="665"/>
                  </a:lnTo>
                  <a:lnTo>
                    <a:pt x="1477" y="702"/>
                  </a:lnTo>
                  <a:lnTo>
                    <a:pt x="1478" y="740"/>
                  </a:lnTo>
                  <a:close/>
                </a:path>
              </a:pathLst>
            </a:custGeom>
            <a:solidFill>
              <a:srgbClr val="BCBCBC">
                <a:alpha val="19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grpSp>
        <p:nvGrpSpPr>
          <p:cNvPr id="108" name="Group 136">
            <a:extLst>
              <a:ext uri="{FF2B5EF4-FFF2-40B4-BE49-F238E27FC236}">
                <a16:creationId xmlns:a16="http://schemas.microsoft.com/office/drawing/2014/main" id="{17E71DCE-8752-4761-8466-40DF6F220CB5}"/>
              </a:ext>
            </a:extLst>
          </p:cNvPr>
          <p:cNvGrpSpPr/>
          <p:nvPr/>
        </p:nvGrpSpPr>
        <p:grpSpPr>
          <a:xfrm>
            <a:off x="6134141" y="3575301"/>
            <a:ext cx="512690" cy="131061"/>
            <a:chOff x="795585" y="3421099"/>
            <a:chExt cx="1066015" cy="272508"/>
          </a:xfrm>
        </p:grpSpPr>
        <p:sp>
          <p:nvSpPr>
            <p:cNvPr id="109" name="Freeform 5">
              <a:extLst>
                <a:ext uri="{FF2B5EF4-FFF2-40B4-BE49-F238E27FC236}">
                  <a16:creationId xmlns:a16="http://schemas.microsoft.com/office/drawing/2014/main" id="{47834524-8351-4BA2-9805-3F8CE38B0B71}"/>
                </a:ext>
              </a:extLst>
            </p:cNvPr>
            <p:cNvSpPr>
              <a:spLocks/>
            </p:cNvSpPr>
            <p:nvPr/>
          </p:nvSpPr>
          <p:spPr bwMode="auto">
            <a:xfrm>
              <a:off x="795585" y="3421099"/>
              <a:ext cx="263057" cy="272508"/>
            </a:xfrm>
            <a:custGeom>
              <a:avLst/>
              <a:gdLst>
                <a:gd name="T0" fmla="*/ 7371 w 17675"/>
                <a:gd name="T1" fmla="*/ 1125 h 18310"/>
                <a:gd name="T2" fmla="*/ 5959 w 17675"/>
                <a:gd name="T3" fmla="*/ 593 h 18310"/>
                <a:gd name="T4" fmla="*/ 4735 w 17675"/>
                <a:gd name="T5" fmla="*/ 240 h 18310"/>
                <a:gd name="T6" fmla="*/ 3627 w 17675"/>
                <a:gd name="T7" fmla="*/ 54 h 18310"/>
                <a:gd name="T8" fmla="*/ 2806 w 17675"/>
                <a:gd name="T9" fmla="*/ 7 h 18310"/>
                <a:gd name="T10" fmla="*/ 2454 w 17675"/>
                <a:gd name="T11" fmla="*/ 85 h 18310"/>
                <a:gd name="T12" fmla="*/ 2132 w 17675"/>
                <a:gd name="T13" fmla="*/ 262 h 18310"/>
                <a:gd name="T14" fmla="*/ 1838 w 17675"/>
                <a:gd name="T15" fmla="*/ 533 h 18310"/>
                <a:gd name="T16" fmla="*/ 1454 w 17675"/>
                <a:gd name="T17" fmla="*/ 1111 h 18310"/>
                <a:gd name="T18" fmla="*/ 1261 w 17675"/>
                <a:gd name="T19" fmla="*/ 1545 h 18310"/>
                <a:gd name="T20" fmla="*/ 1008 w 17675"/>
                <a:gd name="T21" fmla="*/ 2315 h 18310"/>
                <a:gd name="T22" fmla="*/ 836 w 17675"/>
                <a:gd name="T23" fmla="*/ 2906 h 18310"/>
                <a:gd name="T24" fmla="*/ 683 w 17675"/>
                <a:gd name="T25" fmla="*/ 3519 h 18310"/>
                <a:gd name="T26" fmla="*/ 506 w 17675"/>
                <a:gd name="T27" fmla="*/ 4330 h 18310"/>
                <a:gd name="T28" fmla="*/ 356 w 17675"/>
                <a:gd name="T29" fmla="*/ 5177 h 18310"/>
                <a:gd name="T30" fmla="*/ 199 w 17675"/>
                <a:gd name="T31" fmla="*/ 6352 h 18310"/>
                <a:gd name="T32" fmla="*/ 65 w 17675"/>
                <a:gd name="T33" fmla="*/ 7805 h 18310"/>
                <a:gd name="T34" fmla="*/ 1 w 17675"/>
                <a:gd name="T35" fmla="*/ 9354 h 18310"/>
                <a:gd name="T36" fmla="*/ 54 w 17675"/>
                <a:gd name="T37" fmla="*/ 10490 h 18310"/>
                <a:gd name="T38" fmla="*/ 149 w 17675"/>
                <a:gd name="T39" fmla="*/ 11811 h 18310"/>
                <a:gd name="T40" fmla="*/ 298 w 17675"/>
                <a:gd name="T41" fmla="*/ 13066 h 18310"/>
                <a:gd name="T42" fmla="*/ 650 w 17675"/>
                <a:gd name="T43" fmla="*/ 14979 h 18310"/>
                <a:gd name="T44" fmla="*/ 991 w 17675"/>
                <a:gd name="T45" fmla="*/ 16266 h 18310"/>
                <a:gd name="T46" fmla="*/ 1332 w 17675"/>
                <a:gd name="T47" fmla="*/ 17156 h 18310"/>
                <a:gd name="T48" fmla="*/ 1598 w 17675"/>
                <a:gd name="T49" fmla="*/ 17614 h 18310"/>
                <a:gd name="T50" fmla="*/ 1917 w 17675"/>
                <a:gd name="T51" fmla="*/ 17970 h 18310"/>
                <a:gd name="T52" fmla="*/ 2349 w 17675"/>
                <a:gd name="T53" fmla="*/ 18232 h 18310"/>
                <a:gd name="T54" fmla="*/ 2745 w 17675"/>
                <a:gd name="T55" fmla="*/ 18309 h 18310"/>
                <a:gd name="T56" fmla="*/ 3384 w 17675"/>
                <a:gd name="T57" fmla="*/ 18287 h 18310"/>
                <a:gd name="T58" fmla="*/ 4157 w 17675"/>
                <a:gd name="T59" fmla="*/ 18192 h 18310"/>
                <a:gd name="T60" fmla="*/ 5006 w 17675"/>
                <a:gd name="T61" fmla="*/ 18009 h 18310"/>
                <a:gd name="T62" fmla="*/ 6483 w 17675"/>
                <a:gd name="T63" fmla="*/ 17544 h 18310"/>
                <a:gd name="T64" fmla="*/ 7200 w 17675"/>
                <a:gd name="T65" fmla="*/ 17277 h 18310"/>
                <a:gd name="T66" fmla="*/ 8295 w 17675"/>
                <a:gd name="T67" fmla="*/ 16841 h 18310"/>
                <a:gd name="T68" fmla="*/ 8872 w 17675"/>
                <a:gd name="T69" fmla="*/ 16605 h 18310"/>
                <a:gd name="T70" fmla="*/ 9346 w 17675"/>
                <a:gd name="T71" fmla="*/ 16391 h 18310"/>
                <a:gd name="T72" fmla="*/ 10057 w 17675"/>
                <a:gd name="T73" fmla="*/ 16048 h 18310"/>
                <a:gd name="T74" fmla="*/ 10903 w 17675"/>
                <a:gd name="T75" fmla="*/ 15584 h 18310"/>
                <a:gd name="T76" fmla="*/ 11867 w 17675"/>
                <a:gd name="T77" fmla="*/ 14997 h 18310"/>
                <a:gd name="T78" fmla="*/ 12590 w 17675"/>
                <a:gd name="T79" fmla="*/ 14528 h 18310"/>
                <a:gd name="T80" fmla="*/ 13212 w 17675"/>
                <a:gd name="T81" fmla="*/ 14088 h 18310"/>
                <a:gd name="T82" fmla="*/ 14481 w 17675"/>
                <a:gd name="T83" fmla="*/ 13112 h 18310"/>
                <a:gd name="T84" fmla="*/ 14802 w 17675"/>
                <a:gd name="T85" fmla="*/ 12854 h 18310"/>
                <a:gd name="T86" fmla="*/ 15451 w 17675"/>
                <a:gd name="T87" fmla="*/ 12291 h 18310"/>
                <a:gd name="T88" fmla="*/ 15927 w 17675"/>
                <a:gd name="T89" fmla="*/ 11853 h 18310"/>
                <a:gd name="T90" fmla="*/ 16443 w 17675"/>
                <a:gd name="T91" fmla="*/ 11335 h 18310"/>
                <a:gd name="T92" fmla="*/ 16856 w 17675"/>
                <a:gd name="T93" fmla="*/ 10896 h 18310"/>
                <a:gd name="T94" fmla="*/ 17295 w 17675"/>
                <a:gd name="T95" fmla="*/ 10296 h 18310"/>
                <a:gd name="T96" fmla="*/ 17543 w 17675"/>
                <a:gd name="T97" fmla="*/ 9805 h 18310"/>
                <a:gd name="T98" fmla="*/ 17675 w 17675"/>
                <a:gd name="T99" fmla="*/ 9283 h 18310"/>
                <a:gd name="T100" fmla="*/ 17609 w 17675"/>
                <a:gd name="T101" fmla="*/ 8895 h 18310"/>
                <a:gd name="T102" fmla="*/ 17328 w 17675"/>
                <a:gd name="T103" fmla="*/ 8254 h 18310"/>
                <a:gd name="T104" fmla="*/ 16958 w 17675"/>
                <a:gd name="T105" fmla="*/ 7727 h 18310"/>
                <a:gd name="T106" fmla="*/ 16207 w 17675"/>
                <a:gd name="T107" fmla="*/ 6899 h 18310"/>
                <a:gd name="T108" fmla="*/ 14144 w 17675"/>
                <a:gd name="T109" fmla="*/ 5052 h 18310"/>
                <a:gd name="T110" fmla="*/ 13172 w 17675"/>
                <a:gd name="T111" fmla="*/ 4299 h 18310"/>
                <a:gd name="T112" fmla="*/ 12177 w 17675"/>
                <a:gd name="T113" fmla="*/ 3589 h 18310"/>
                <a:gd name="T114" fmla="*/ 11125 w 17675"/>
                <a:gd name="T115" fmla="*/ 2920 h 18310"/>
                <a:gd name="T116" fmla="*/ 10015 w 17675"/>
                <a:gd name="T117" fmla="*/ 2305 h 18310"/>
                <a:gd name="T118" fmla="*/ 9091 w 17675"/>
                <a:gd name="T119" fmla="*/ 1855 h 18310"/>
                <a:gd name="T120" fmla="*/ 8300 w 17675"/>
                <a:gd name="T121" fmla="*/ 1511 h 18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7675" h="18310">
                  <a:moveTo>
                    <a:pt x="8078" y="1426"/>
                  </a:moveTo>
                  <a:lnTo>
                    <a:pt x="8047" y="1409"/>
                  </a:lnTo>
                  <a:lnTo>
                    <a:pt x="8014" y="1392"/>
                  </a:lnTo>
                  <a:lnTo>
                    <a:pt x="7978" y="1376"/>
                  </a:lnTo>
                  <a:lnTo>
                    <a:pt x="7940" y="1360"/>
                  </a:lnTo>
                  <a:lnTo>
                    <a:pt x="7901" y="1345"/>
                  </a:lnTo>
                  <a:lnTo>
                    <a:pt x="7862" y="1330"/>
                  </a:lnTo>
                  <a:lnTo>
                    <a:pt x="7825" y="1315"/>
                  </a:lnTo>
                  <a:lnTo>
                    <a:pt x="7791" y="1301"/>
                  </a:lnTo>
                  <a:lnTo>
                    <a:pt x="7583" y="1213"/>
                  </a:lnTo>
                  <a:lnTo>
                    <a:pt x="7371" y="1125"/>
                  </a:lnTo>
                  <a:lnTo>
                    <a:pt x="7158" y="1038"/>
                  </a:lnTo>
                  <a:lnTo>
                    <a:pt x="6943" y="953"/>
                  </a:lnTo>
                  <a:lnTo>
                    <a:pt x="6836" y="911"/>
                  </a:lnTo>
                  <a:lnTo>
                    <a:pt x="6727" y="869"/>
                  </a:lnTo>
                  <a:lnTo>
                    <a:pt x="6618" y="827"/>
                  </a:lnTo>
                  <a:lnTo>
                    <a:pt x="6508" y="787"/>
                  </a:lnTo>
                  <a:lnTo>
                    <a:pt x="6400" y="747"/>
                  </a:lnTo>
                  <a:lnTo>
                    <a:pt x="6290" y="707"/>
                  </a:lnTo>
                  <a:lnTo>
                    <a:pt x="6180" y="668"/>
                  </a:lnTo>
                  <a:lnTo>
                    <a:pt x="6070" y="631"/>
                  </a:lnTo>
                  <a:lnTo>
                    <a:pt x="5959" y="593"/>
                  </a:lnTo>
                  <a:lnTo>
                    <a:pt x="5848" y="556"/>
                  </a:lnTo>
                  <a:lnTo>
                    <a:pt x="5737" y="521"/>
                  </a:lnTo>
                  <a:lnTo>
                    <a:pt x="5626" y="485"/>
                  </a:lnTo>
                  <a:lnTo>
                    <a:pt x="5515" y="451"/>
                  </a:lnTo>
                  <a:lnTo>
                    <a:pt x="5404" y="418"/>
                  </a:lnTo>
                  <a:lnTo>
                    <a:pt x="5292" y="386"/>
                  </a:lnTo>
                  <a:lnTo>
                    <a:pt x="5181" y="355"/>
                  </a:lnTo>
                  <a:lnTo>
                    <a:pt x="5069" y="324"/>
                  </a:lnTo>
                  <a:lnTo>
                    <a:pt x="4958" y="295"/>
                  </a:lnTo>
                  <a:lnTo>
                    <a:pt x="4846" y="267"/>
                  </a:lnTo>
                  <a:lnTo>
                    <a:pt x="4735" y="240"/>
                  </a:lnTo>
                  <a:lnTo>
                    <a:pt x="4623" y="215"/>
                  </a:lnTo>
                  <a:lnTo>
                    <a:pt x="4511" y="191"/>
                  </a:lnTo>
                  <a:lnTo>
                    <a:pt x="4400" y="168"/>
                  </a:lnTo>
                  <a:lnTo>
                    <a:pt x="4287" y="146"/>
                  </a:lnTo>
                  <a:lnTo>
                    <a:pt x="4234" y="136"/>
                  </a:lnTo>
                  <a:lnTo>
                    <a:pt x="4162" y="125"/>
                  </a:lnTo>
                  <a:lnTo>
                    <a:pt x="4075" y="112"/>
                  </a:lnTo>
                  <a:lnTo>
                    <a:pt x="3975" y="98"/>
                  </a:lnTo>
                  <a:lnTo>
                    <a:pt x="3865" y="84"/>
                  </a:lnTo>
                  <a:lnTo>
                    <a:pt x="3749" y="69"/>
                  </a:lnTo>
                  <a:lnTo>
                    <a:pt x="3627" y="54"/>
                  </a:lnTo>
                  <a:lnTo>
                    <a:pt x="3504" y="40"/>
                  </a:lnTo>
                  <a:lnTo>
                    <a:pt x="3381" y="27"/>
                  </a:lnTo>
                  <a:lnTo>
                    <a:pt x="3262" y="17"/>
                  </a:lnTo>
                  <a:lnTo>
                    <a:pt x="3148" y="8"/>
                  </a:lnTo>
                  <a:lnTo>
                    <a:pt x="3043" y="2"/>
                  </a:lnTo>
                  <a:lnTo>
                    <a:pt x="2994" y="1"/>
                  </a:lnTo>
                  <a:lnTo>
                    <a:pt x="2949" y="0"/>
                  </a:lnTo>
                  <a:lnTo>
                    <a:pt x="2908" y="0"/>
                  </a:lnTo>
                  <a:lnTo>
                    <a:pt x="2869" y="1"/>
                  </a:lnTo>
                  <a:lnTo>
                    <a:pt x="2834" y="3"/>
                  </a:lnTo>
                  <a:lnTo>
                    <a:pt x="2806" y="7"/>
                  </a:lnTo>
                  <a:lnTo>
                    <a:pt x="2780" y="11"/>
                  </a:lnTo>
                  <a:lnTo>
                    <a:pt x="2761" y="17"/>
                  </a:lnTo>
                  <a:lnTo>
                    <a:pt x="2724" y="19"/>
                  </a:lnTo>
                  <a:lnTo>
                    <a:pt x="2689" y="24"/>
                  </a:lnTo>
                  <a:lnTo>
                    <a:pt x="2655" y="29"/>
                  </a:lnTo>
                  <a:lnTo>
                    <a:pt x="2620" y="35"/>
                  </a:lnTo>
                  <a:lnTo>
                    <a:pt x="2586" y="43"/>
                  </a:lnTo>
                  <a:lnTo>
                    <a:pt x="2552" y="53"/>
                  </a:lnTo>
                  <a:lnTo>
                    <a:pt x="2518" y="63"/>
                  </a:lnTo>
                  <a:lnTo>
                    <a:pt x="2486" y="73"/>
                  </a:lnTo>
                  <a:lnTo>
                    <a:pt x="2454" y="85"/>
                  </a:lnTo>
                  <a:lnTo>
                    <a:pt x="2423" y="97"/>
                  </a:lnTo>
                  <a:lnTo>
                    <a:pt x="2393" y="111"/>
                  </a:lnTo>
                  <a:lnTo>
                    <a:pt x="2363" y="125"/>
                  </a:lnTo>
                  <a:lnTo>
                    <a:pt x="2333" y="138"/>
                  </a:lnTo>
                  <a:lnTo>
                    <a:pt x="2306" y="153"/>
                  </a:lnTo>
                  <a:lnTo>
                    <a:pt x="2278" y="169"/>
                  </a:lnTo>
                  <a:lnTo>
                    <a:pt x="2252" y="184"/>
                  </a:lnTo>
                  <a:lnTo>
                    <a:pt x="2218" y="205"/>
                  </a:lnTo>
                  <a:lnTo>
                    <a:pt x="2187" y="224"/>
                  </a:lnTo>
                  <a:lnTo>
                    <a:pt x="2158" y="244"/>
                  </a:lnTo>
                  <a:lnTo>
                    <a:pt x="2132" y="262"/>
                  </a:lnTo>
                  <a:lnTo>
                    <a:pt x="2108" y="280"/>
                  </a:lnTo>
                  <a:lnTo>
                    <a:pt x="2086" y="298"/>
                  </a:lnTo>
                  <a:lnTo>
                    <a:pt x="2065" y="315"/>
                  </a:lnTo>
                  <a:lnTo>
                    <a:pt x="2046" y="332"/>
                  </a:lnTo>
                  <a:lnTo>
                    <a:pt x="2007" y="367"/>
                  </a:lnTo>
                  <a:lnTo>
                    <a:pt x="1968" y="405"/>
                  </a:lnTo>
                  <a:lnTo>
                    <a:pt x="1927" y="446"/>
                  </a:lnTo>
                  <a:lnTo>
                    <a:pt x="1878" y="491"/>
                  </a:lnTo>
                  <a:lnTo>
                    <a:pt x="1866" y="504"/>
                  </a:lnTo>
                  <a:lnTo>
                    <a:pt x="1853" y="517"/>
                  </a:lnTo>
                  <a:lnTo>
                    <a:pt x="1838" y="533"/>
                  </a:lnTo>
                  <a:lnTo>
                    <a:pt x="1823" y="550"/>
                  </a:lnTo>
                  <a:lnTo>
                    <a:pt x="1790" y="592"/>
                  </a:lnTo>
                  <a:lnTo>
                    <a:pt x="1754" y="637"/>
                  </a:lnTo>
                  <a:lnTo>
                    <a:pt x="1717" y="689"/>
                  </a:lnTo>
                  <a:lnTo>
                    <a:pt x="1679" y="744"/>
                  </a:lnTo>
                  <a:lnTo>
                    <a:pt x="1639" y="802"/>
                  </a:lnTo>
                  <a:lnTo>
                    <a:pt x="1600" y="863"/>
                  </a:lnTo>
                  <a:lnTo>
                    <a:pt x="1561" y="926"/>
                  </a:lnTo>
                  <a:lnTo>
                    <a:pt x="1524" y="988"/>
                  </a:lnTo>
                  <a:lnTo>
                    <a:pt x="1488" y="1051"/>
                  </a:lnTo>
                  <a:lnTo>
                    <a:pt x="1454" y="1111"/>
                  </a:lnTo>
                  <a:lnTo>
                    <a:pt x="1425" y="1170"/>
                  </a:lnTo>
                  <a:lnTo>
                    <a:pt x="1398" y="1226"/>
                  </a:lnTo>
                  <a:lnTo>
                    <a:pt x="1387" y="1252"/>
                  </a:lnTo>
                  <a:lnTo>
                    <a:pt x="1377" y="1277"/>
                  </a:lnTo>
                  <a:lnTo>
                    <a:pt x="1367" y="1301"/>
                  </a:lnTo>
                  <a:lnTo>
                    <a:pt x="1359" y="1323"/>
                  </a:lnTo>
                  <a:lnTo>
                    <a:pt x="1340" y="1362"/>
                  </a:lnTo>
                  <a:lnTo>
                    <a:pt x="1320" y="1404"/>
                  </a:lnTo>
                  <a:lnTo>
                    <a:pt x="1300" y="1449"/>
                  </a:lnTo>
                  <a:lnTo>
                    <a:pt x="1280" y="1496"/>
                  </a:lnTo>
                  <a:lnTo>
                    <a:pt x="1261" y="1545"/>
                  </a:lnTo>
                  <a:lnTo>
                    <a:pt x="1241" y="1596"/>
                  </a:lnTo>
                  <a:lnTo>
                    <a:pt x="1222" y="1648"/>
                  </a:lnTo>
                  <a:lnTo>
                    <a:pt x="1204" y="1702"/>
                  </a:lnTo>
                  <a:lnTo>
                    <a:pt x="1167" y="1808"/>
                  </a:lnTo>
                  <a:lnTo>
                    <a:pt x="1133" y="1915"/>
                  </a:lnTo>
                  <a:lnTo>
                    <a:pt x="1101" y="2016"/>
                  </a:lnTo>
                  <a:lnTo>
                    <a:pt x="1071" y="2110"/>
                  </a:lnTo>
                  <a:lnTo>
                    <a:pt x="1055" y="2162"/>
                  </a:lnTo>
                  <a:lnTo>
                    <a:pt x="1039" y="2213"/>
                  </a:lnTo>
                  <a:lnTo>
                    <a:pt x="1023" y="2264"/>
                  </a:lnTo>
                  <a:lnTo>
                    <a:pt x="1008" y="2315"/>
                  </a:lnTo>
                  <a:lnTo>
                    <a:pt x="992" y="2367"/>
                  </a:lnTo>
                  <a:lnTo>
                    <a:pt x="976" y="2418"/>
                  </a:lnTo>
                  <a:lnTo>
                    <a:pt x="960" y="2471"/>
                  </a:lnTo>
                  <a:lnTo>
                    <a:pt x="944" y="2523"/>
                  </a:lnTo>
                  <a:lnTo>
                    <a:pt x="929" y="2573"/>
                  </a:lnTo>
                  <a:lnTo>
                    <a:pt x="913" y="2626"/>
                  </a:lnTo>
                  <a:lnTo>
                    <a:pt x="896" y="2682"/>
                  </a:lnTo>
                  <a:lnTo>
                    <a:pt x="880" y="2740"/>
                  </a:lnTo>
                  <a:lnTo>
                    <a:pt x="864" y="2797"/>
                  </a:lnTo>
                  <a:lnTo>
                    <a:pt x="849" y="2852"/>
                  </a:lnTo>
                  <a:lnTo>
                    <a:pt x="836" y="2906"/>
                  </a:lnTo>
                  <a:lnTo>
                    <a:pt x="827" y="2955"/>
                  </a:lnTo>
                  <a:lnTo>
                    <a:pt x="818" y="2977"/>
                  </a:lnTo>
                  <a:lnTo>
                    <a:pt x="809" y="3003"/>
                  </a:lnTo>
                  <a:lnTo>
                    <a:pt x="800" y="3033"/>
                  </a:lnTo>
                  <a:lnTo>
                    <a:pt x="790" y="3067"/>
                  </a:lnTo>
                  <a:lnTo>
                    <a:pt x="770" y="3142"/>
                  </a:lnTo>
                  <a:lnTo>
                    <a:pt x="749" y="3225"/>
                  </a:lnTo>
                  <a:lnTo>
                    <a:pt x="730" y="3310"/>
                  </a:lnTo>
                  <a:lnTo>
                    <a:pt x="712" y="3390"/>
                  </a:lnTo>
                  <a:lnTo>
                    <a:pt x="696" y="3461"/>
                  </a:lnTo>
                  <a:lnTo>
                    <a:pt x="683" y="3519"/>
                  </a:lnTo>
                  <a:lnTo>
                    <a:pt x="666" y="3593"/>
                  </a:lnTo>
                  <a:lnTo>
                    <a:pt x="649" y="3667"/>
                  </a:lnTo>
                  <a:lnTo>
                    <a:pt x="633" y="3740"/>
                  </a:lnTo>
                  <a:lnTo>
                    <a:pt x="617" y="3813"/>
                  </a:lnTo>
                  <a:lnTo>
                    <a:pt x="601" y="3886"/>
                  </a:lnTo>
                  <a:lnTo>
                    <a:pt x="585" y="3960"/>
                  </a:lnTo>
                  <a:lnTo>
                    <a:pt x="569" y="4033"/>
                  </a:lnTo>
                  <a:lnTo>
                    <a:pt x="553" y="4108"/>
                  </a:lnTo>
                  <a:lnTo>
                    <a:pt x="537" y="4182"/>
                  </a:lnTo>
                  <a:lnTo>
                    <a:pt x="522" y="4256"/>
                  </a:lnTo>
                  <a:lnTo>
                    <a:pt x="506" y="4330"/>
                  </a:lnTo>
                  <a:lnTo>
                    <a:pt x="491" y="4406"/>
                  </a:lnTo>
                  <a:lnTo>
                    <a:pt x="476" y="4483"/>
                  </a:lnTo>
                  <a:lnTo>
                    <a:pt x="461" y="4559"/>
                  </a:lnTo>
                  <a:lnTo>
                    <a:pt x="447" y="4636"/>
                  </a:lnTo>
                  <a:lnTo>
                    <a:pt x="433" y="4714"/>
                  </a:lnTo>
                  <a:lnTo>
                    <a:pt x="419" y="4791"/>
                  </a:lnTo>
                  <a:lnTo>
                    <a:pt x="405" y="4868"/>
                  </a:lnTo>
                  <a:lnTo>
                    <a:pt x="392" y="4946"/>
                  </a:lnTo>
                  <a:lnTo>
                    <a:pt x="380" y="5024"/>
                  </a:lnTo>
                  <a:lnTo>
                    <a:pt x="367" y="5100"/>
                  </a:lnTo>
                  <a:lnTo>
                    <a:pt x="356" y="5177"/>
                  </a:lnTo>
                  <a:lnTo>
                    <a:pt x="346" y="5253"/>
                  </a:lnTo>
                  <a:lnTo>
                    <a:pt x="335" y="5328"/>
                  </a:lnTo>
                  <a:lnTo>
                    <a:pt x="320" y="5442"/>
                  </a:lnTo>
                  <a:lnTo>
                    <a:pt x="304" y="5555"/>
                  </a:lnTo>
                  <a:lnTo>
                    <a:pt x="289" y="5668"/>
                  </a:lnTo>
                  <a:lnTo>
                    <a:pt x="275" y="5781"/>
                  </a:lnTo>
                  <a:lnTo>
                    <a:pt x="259" y="5896"/>
                  </a:lnTo>
                  <a:lnTo>
                    <a:pt x="244" y="6009"/>
                  </a:lnTo>
                  <a:lnTo>
                    <a:pt x="229" y="6124"/>
                  </a:lnTo>
                  <a:lnTo>
                    <a:pt x="214" y="6238"/>
                  </a:lnTo>
                  <a:lnTo>
                    <a:pt x="199" y="6352"/>
                  </a:lnTo>
                  <a:lnTo>
                    <a:pt x="185" y="6467"/>
                  </a:lnTo>
                  <a:lnTo>
                    <a:pt x="173" y="6581"/>
                  </a:lnTo>
                  <a:lnTo>
                    <a:pt x="160" y="6697"/>
                  </a:lnTo>
                  <a:lnTo>
                    <a:pt x="148" y="6811"/>
                  </a:lnTo>
                  <a:lnTo>
                    <a:pt x="137" y="6927"/>
                  </a:lnTo>
                  <a:lnTo>
                    <a:pt x="127" y="7042"/>
                  </a:lnTo>
                  <a:lnTo>
                    <a:pt x="119" y="7158"/>
                  </a:lnTo>
                  <a:lnTo>
                    <a:pt x="105" y="7319"/>
                  </a:lnTo>
                  <a:lnTo>
                    <a:pt x="92" y="7481"/>
                  </a:lnTo>
                  <a:lnTo>
                    <a:pt x="79" y="7643"/>
                  </a:lnTo>
                  <a:lnTo>
                    <a:pt x="65" y="7805"/>
                  </a:lnTo>
                  <a:lnTo>
                    <a:pt x="54" y="7967"/>
                  </a:lnTo>
                  <a:lnTo>
                    <a:pt x="42" y="8130"/>
                  </a:lnTo>
                  <a:lnTo>
                    <a:pt x="31" y="8293"/>
                  </a:lnTo>
                  <a:lnTo>
                    <a:pt x="22" y="8456"/>
                  </a:lnTo>
                  <a:lnTo>
                    <a:pt x="14" y="8619"/>
                  </a:lnTo>
                  <a:lnTo>
                    <a:pt x="8" y="8782"/>
                  </a:lnTo>
                  <a:lnTo>
                    <a:pt x="3" y="8946"/>
                  </a:lnTo>
                  <a:lnTo>
                    <a:pt x="0" y="9109"/>
                  </a:lnTo>
                  <a:lnTo>
                    <a:pt x="0" y="9190"/>
                  </a:lnTo>
                  <a:lnTo>
                    <a:pt x="0" y="9273"/>
                  </a:lnTo>
                  <a:lnTo>
                    <a:pt x="1" y="9354"/>
                  </a:lnTo>
                  <a:lnTo>
                    <a:pt x="2" y="9437"/>
                  </a:lnTo>
                  <a:lnTo>
                    <a:pt x="3" y="9518"/>
                  </a:lnTo>
                  <a:lnTo>
                    <a:pt x="7" y="9599"/>
                  </a:lnTo>
                  <a:lnTo>
                    <a:pt x="10" y="9681"/>
                  </a:lnTo>
                  <a:lnTo>
                    <a:pt x="14" y="9763"/>
                  </a:lnTo>
                  <a:lnTo>
                    <a:pt x="21" y="9885"/>
                  </a:lnTo>
                  <a:lnTo>
                    <a:pt x="27" y="10006"/>
                  </a:lnTo>
                  <a:lnTo>
                    <a:pt x="34" y="10128"/>
                  </a:lnTo>
                  <a:lnTo>
                    <a:pt x="41" y="10249"/>
                  </a:lnTo>
                  <a:lnTo>
                    <a:pt x="47" y="10369"/>
                  </a:lnTo>
                  <a:lnTo>
                    <a:pt x="54" y="10490"/>
                  </a:lnTo>
                  <a:lnTo>
                    <a:pt x="61" y="10611"/>
                  </a:lnTo>
                  <a:lnTo>
                    <a:pt x="68" y="10731"/>
                  </a:lnTo>
                  <a:lnTo>
                    <a:pt x="74" y="10851"/>
                  </a:lnTo>
                  <a:lnTo>
                    <a:pt x="82" y="10971"/>
                  </a:lnTo>
                  <a:lnTo>
                    <a:pt x="90" y="11091"/>
                  </a:lnTo>
                  <a:lnTo>
                    <a:pt x="98" y="11213"/>
                  </a:lnTo>
                  <a:lnTo>
                    <a:pt x="108" y="11333"/>
                  </a:lnTo>
                  <a:lnTo>
                    <a:pt x="117" y="11454"/>
                  </a:lnTo>
                  <a:lnTo>
                    <a:pt x="127" y="11575"/>
                  </a:lnTo>
                  <a:lnTo>
                    <a:pt x="138" y="11697"/>
                  </a:lnTo>
                  <a:lnTo>
                    <a:pt x="149" y="11811"/>
                  </a:lnTo>
                  <a:lnTo>
                    <a:pt x="160" y="11926"/>
                  </a:lnTo>
                  <a:lnTo>
                    <a:pt x="172" y="12040"/>
                  </a:lnTo>
                  <a:lnTo>
                    <a:pt x="184" y="12154"/>
                  </a:lnTo>
                  <a:lnTo>
                    <a:pt x="197" y="12269"/>
                  </a:lnTo>
                  <a:lnTo>
                    <a:pt x="209" y="12383"/>
                  </a:lnTo>
                  <a:lnTo>
                    <a:pt x="223" y="12498"/>
                  </a:lnTo>
                  <a:lnTo>
                    <a:pt x="237" y="12611"/>
                  </a:lnTo>
                  <a:lnTo>
                    <a:pt x="252" y="12725"/>
                  </a:lnTo>
                  <a:lnTo>
                    <a:pt x="267" y="12839"/>
                  </a:lnTo>
                  <a:lnTo>
                    <a:pt x="281" y="12953"/>
                  </a:lnTo>
                  <a:lnTo>
                    <a:pt x="298" y="13066"/>
                  </a:lnTo>
                  <a:lnTo>
                    <a:pt x="314" y="13180"/>
                  </a:lnTo>
                  <a:lnTo>
                    <a:pt x="331" y="13293"/>
                  </a:lnTo>
                  <a:lnTo>
                    <a:pt x="349" y="13406"/>
                  </a:lnTo>
                  <a:lnTo>
                    <a:pt x="366" y="13519"/>
                  </a:lnTo>
                  <a:lnTo>
                    <a:pt x="398" y="13707"/>
                  </a:lnTo>
                  <a:lnTo>
                    <a:pt x="433" y="13905"/>
                  </a:lnTo>
                  <a:lnTo>
                    <a:pt x="470" y="14110"/>
                  </a:lnTo>
                  <a:lnTo>
                    <a:pt x="511" y="14322"/>
                  </a:lnTo>
                  <a:lnTo>
                    <a:pt x="555" y="14538"/>
                  </a:lnTo>
                  <a:lnTo>
                    <a:pt x="602" y="14757"/>
                  </a:lnTo>
                  <a:lnTo>
                    <a:pt x="650" y="14979"/>
                  </a:lnTo>
                  <a:lnTo>
                    <a:pt x="701" y="15200"/>
                  </a:lnTo>
                  <a:lnTo>
                    <a:pt x="729" y="15311"/>
                  </a:lnTo>
                  <a:lnTo>
                    <a:pt x="755" y="15420"/>
                  </a:lnTo>
                  <a:lnTo>
                    <a:pt x="784" y="15530"/>
                  </a:lnTo>
                  <a:lnTo>
                    <a:pt x="811" y="15639"/>
                  </a:lnTo>
                  <a:lnTo>
                    <a:pt x="840" y="15747"/>
                  </a:lnTo>
                  <a:lnTo>
                    <a:pt x="870" y="15854"/>
                  </a:lnTo>
                  <a:lnTo>
                    <a:pt x="899" y="15959"/>
                  </a:lnTo>
                  <a:lnTo>
                    <a:pt x="929" y="16064"/>
                  </a:lnTo>
                  <a:lnTo>
                    <a:pt x="960" y="16165"/>
                  </a:lnTo>
                  <a:lnTo>
                    <a:pt x="991" y="16266"/>
                  </a:lnTo>
                  <a:lnTo>
                    <a:pt x="1022" y="16365"/>
                  </a:lnTo>
                  <a:lnTo>
                    <a:pt x="1054" y="16461"/>
                  </a:lnTo>
                  <a:lnTo>
                    <a:pt x="1086" y="16556"/>
                  </a:lnTo>
                  <a:lnTo>
                    <a:pt x="1119" y="16646"/>
                  </a:lnTo>
                  <a:lnTo>
                    <a:pt x="1152" y="16735"/>
                  </a:lnTo>
                  <a:lnTo>
                    <a:pt x="1185" y="16821"/>
                  </a:lnTo>
                  <a:lnTo>
                    <a:pt x="1225" y="16920"/>
                  </a:lnTo>
                  <a:lnTo>
                    <a:pt x="1267" y="17017"/>
                  </a:lnTo>
                  <a:lnTo>
                    <a:pt x="1288" y="17064"/>
                  </a:lnTo>
                  <a:lnTo>
                    <a:pt x="1310" y="17111"/>
                  </a:lnTo>
                  <a:lnTo>
                    <a:pt x="1332" y="17156"/>
                  </a:lnTo>
                  <a:lnTo>
                    <a:pt x="1354" y="17202"/>
                  </a:lnTo>
                  <a:lnTo>
                    <a:pt x="1377" y="17247"/>
                  </a:lnTo>
                  <a:lnTo>
                    <a:pt x="1399" y="17290"/>
                  </a:lnTo>
                  <a:lnTo>
                    <a:pt x="1423" y="17334"/>
                  </a:lnTo>
                  <a:lnTo>
                    <a:pt x="1447" y="17376"/>
                  </a:lnTo>
                  <a:lnTo>
                    <a:pt x="1471" y="17417"/>
                  </a:lnTo>
                  <a:lnTo>
                    <a:pt x="1496" y="17459"/>
                  </a:lnTo>
                  <a:lnTo>
                    <a:pt x="1521" y="17499"/>
                  </a:lnTo>
                  <a:lnTo>
                    <a:pt x="1546" y="17538"/>
                  </a:lnTo>
                  <a:lnTo>
                    <a:pt x="1572" y="17576"/>
                  </a:lnTo>
                  <a:lnTo>
                    <a:pt x="1598" y="17614"/>
                  </a:lnTo>
                  <a:lnTo>
                    <a:pt x="1625" y="17651"/>
                  </a:lnTo>
                  <a:lnTo>
                    <a:pt x="1652" y="17687"/>
                  </a:lnTo>
                  <a:lnTo>
                    <a:pt x="1680" y="17722"/>
                  </a:lnTo>
                  <a:lnTo>
                    <a:pt x="1707" y="17756"/>
                  </a:lnTo>
                  <a:lnTo>
                    <a:pt x="1736" y="17789"/>
                  </a:lnTo>
                  <a:lnTo>
                    <a:pt x="1764" y="17822"/>
                  </a:lnTo>
                  <a:lnTo>
                    <a:pt x="1794" y="17853"/>
                  </a:lnTo>
                  <a:lnTo>
                    <a:pt x="1824" y="17884"/>
                  </a:lnTo>
                  <a:lnTo>
                    <a:pt x="1854" y="17914"/>
                  </a:lnTo>
                  <a:lnTo>
                    <a:pt x="1885" y="17943"/>
                  </a:lnTo>
                  <a:lnTo>
                    <a:pt x="1917" y="17970"/>
                  </a:lnTo>
                  <a:lnTo>
                    <a:pt x="1947" y="17998"/>
                  </a:lnTo>
                  <a:lnTo>
                    <a:pt x="1980" y="18023"/>
                  </a:lnTo>
                  <a:lnTo>
                    <a:pt x="2013" y="18048"/>
                  </a:lnTo>
                  <a:lnTo>
                    <a:pt x="2052" y="18075"/>
                  </a:lnTo>
                  <a:lnTo>
                    <a:pt x="2091" y="18102"/>
                  </a:lnTo>
                  <a:lnTo>
                    <a:pt x="2132" y="18127"/>
                  </a:lnTo>
                  <a:lnTo>
                    <a:pt x="2173" y="18151"/>
                  </a:lnTo>
                  <a:lnTo>
                    <a:pt x="2215" y="18174"/>
                  </a:lnTo>
                  <a:lnTo>
                    <a:pt x="2259" y="18194"/>
                  </a:lnTo>
                  <a:lnTo>
                    <a:pt x="2303" y="18214"/>
                  </a:lnTo>
                  <a:lnTo>
                    <a:pt x="2349" y="18232"/>
                  </a:lnTo>
                  <a:lnTo>
                    <a:pt x="2397" y="18249"/>
                  </a:lnTo>
                  <a:lnTo>
                    <a:pt x="2446" y="18264"/>
                  </a:lnTo>
                  <a:lnTo>
                    <a:pt x="2497" y="18277"/>
                  </a:lnTo>
                  <a:lnTo>
                    <a:pt x="2549" y="18287"/>
                  </a:lnTo>
                  <a:lnTo>
                    <a:pt x="2576" y="18292"/>
                  </a:lnTo>
                  <a:lnTo>
                    <a:pt x="2603" y="18296"/>
                  </a:lnTo>
                  <a:lnTo>
                    <a:pt x="2631" y="18300"/>
                  </a:lnTo>
                  <a:lnTo>
                    <a:pt x="2658" y="18303"/>
                  </a:lnTo>
                  <a:lnTo>
                    <a:pt x="2687" y="18305"/>
                  </a:lnTo>
                  <a:lnTo>
                    <a:pt x="2716" y="18308"/>
                  </a:lnTo>
                  <a:lnTo>
                    <a:pt x="2745" y="18309"/>
                  </a:lnTo>
                  <a:lnTo>
                    <a:pt x="2776" y="18309"/>
                  </a:lnTo>
                  <a:lnTo>
                    <a:pt x="2835" y="18310"/>
                  </a:lnTo>
                  <a:lnTo>
                    <a:pt x="2896" y="18310"/>
                  </a:lnTo>
                  <a:lnTo>
                    <a:pt x="2957" y="18309"/>
                  </a:lnTo>
                  <a:lnTo>
                    <a:pt x="3017" y="18308"/>
                  </a:lnTo>
                  <a:lnTo>
                    <a:pt x="3079" y="18305"/>
                  </a:lnTo>
                  <a:lnTo>
                    <a:pt x="3140" y="18303"/>
                  </a:lnTo>
                  <a:lnTo>
                    <a:pt x="3200" y="18300"/>
                  </a:lnTo>
                  <a:lnTo>
                    <a:pt x="3262" y="18296"/>
                  </a:lnTo>
                  <a:lnTo>
                    <a:pt x="3323" y="18292"/>
                  </a:lnTo>
                  <a:lnTo>
                    <a:pt x="3384" y="18287"/>
                  </a:lnTo>
                  <a:lnTo>
                    <a:pt x="3444" y="18283"/>
                  </a:lnTo>
                  <a:lnTo>
                    <a:pt x="3505" y="18277"/>
                  </a:lnTo>
                  <a:lnTo>
                    <a:pt x="3565" y="18271"/>
                  </a:lnTo>
                  <a:lnTo>
                    <a:pt x="3625" y="18264"/>
                  </a:lnTo>
                  <a:lnTo>
                    <a:pt x="3686" y="18257"/>
                  </a:lnTo>
                  <a:lnTo>
                    <a:pt x="3745" y="18250"/>
                  </a:lnTo>
                  <a:lnTo>
                    <a:pt x="3829" y="18240"/>
                  </a:lnTo>
                  <a:lnTo>
                    <a:pt x="3912" y="18230"/>
                  </a:lnTo>
                  <a:lnTo>
                    <a:pt x="3995" y="18218"/>
                  </a:lnTo>
                  <a:lnTo>
                    <a:pt x="4076" y="18206"/>
                  </a:lnTo>
                  <a:lnTo>
                    <a:pt x="4157" y="18192"/>
                  </a:lnTo>
                  <a:lnTo>
                    <a:pt x="4236" y="18178"/>
                  </a:lnTo>
                  <a:lnTo>
                    <a:pt x="4316" y="18165"/>
                  </a:lnTo>
                  <a:lnTo>
                    <a:pt x="4395" y="18150"/>
                  </a:lnTo>
                  <a:lnTo>
                    <a:pt x="4473" y="18134"/>
                  </a:lnTo>
                  <a:lnTo>
                    <a:pt x="4549" y="18118"/>
                  </a:lnTo>
                  <a:lnTo>
                    <a:pt x="4627" y="18101"/>
                  </a:lnTo>
                  <a:lnTo>
                    <a:pt x="4704" y="18083"/>
                  </a:lnTo>
                  <a:lnTo>
                    <a:pt x="4779" y="18066"/>
                  </a:lnTo>
                  <a:lnTo>
                    <a:pt x="4855" y="18048"/>
                  </a:lnTo>
                  <a:lnTo>
                    <a:pt x="4931" y="18028"/>
                  </a:lnTo>
                  <a:lnTo>
                    <a:pt x="5006" y="18009"/>
                  </a:lnTo>
                  <a:lnTo>
                    <a:pt x="5156" y="17969"/>
                  </a:lnTo>
                  <a:lnTo>
                    <a:pt x="5305" y="17927"/>
                  </a:lnTo>
                  <a:lnTo>
                    <a:pt x="5455" y="17882"/>
                  </a:lnTo>
                  <a:lnTo>
                    <a:pt x="5603" y="17836"/>
                  </a:lnTo>
                  <a:lnTo>
                    <a:pt x="5753" y="17789"/>
                  </a:lnTo>
                  <a:lnTo>
                    <a:pt x="5904" y="17741"/>
                  </a:lnTo>
                  <a:lnTo>
                    <a:pt x="6056" y="17691"/>
                  </a:lnTo>
                  <a:lnTo>
                    <a:pt x="6211" y="17639"/>
                  </a:lnTo>
                  <a:lnTo>
                    <a:pt x="6273" y="17619"/>
                  </a:lnTo>
                  <a:lnTo>
                    <a:pt x="6368" y="17586"/>
                  </a:lnTo>
                  <a:lnTo>
                    <a:pt x="6483" y="17544"/>
                  </a:lnTo>
                  <a:lnTo>
                    <a:pt x="6608" y="17501"/>
                  </a:lnTo>
                  <a:lnTo>
                    <a:pt x="6729" y="17456"/>
                  </a:lnTo>
                  <a:lnTo>
                    <a:pt x="6837" y="17415"/>
                  </a:lnTo>
                  <a:lnTo>
                    <a:pt x="6881" y="17398"/>
                  </a:lnTo>
                  <a:lnTo>
                    <a:pt x="6917" y="17382"/>
                  </a:lnTo>
                  <a:lnTo>
                    <a:pt x="6943" y="17369"/>
                  </a:lnTo>
                  <a:lnTo>
                    <a:pt x="6959" y="17361"/>
                  </a:lnTo>
                  <a:lnTo>
                    <a:pt x="6994" y="17351"/>
                  </a:lnTo>
                  <a:lnTo>
                    <a:pt x="7046" y="17333"/>
                  </a:lnTo>
                  <a:lnTo>
                    <a:pt x="7116" y="17308"/>
                  </a:lnTo>
                  <a:lnTo>
                    <a:pt x="7200" y="17277"/>
                  </a:lnTo>
                  <a:lnTo>
                    <a:pt x="7294" y="17240"/>
                  </a:lnTo>
                  <a:lnTo>
                    <a:pt x="7397" y="17200"/>
                  </a:lnTo>
                  <a:lnTo>
                    <a:pt x="7507" y="17156"/>
                  </a:lnTo>
                  <a:lnTo>
                    <a:pt x="7621" y="17112"/>
                  </a:lnTo>
                  <a:lnTo>
                    <a:pt x="7734" y="17066"/>
                  </a:lnTo>
                  <a:lnTo>
                    <a:pt x="7846" y="17021"/>
                  </a:lnTo>
                  <a:lnTo>
                    <a:pt x="7955" y="16977"/>
                  </a:lnTo>
                  <a:lnTo>
                    <a:pt x="8057" y="16937"/>
                  </a:lnTo>
                  <a:lnTo>
                    <a:pt x="8148" y="16899"/>
                  </a:lnTo>
                  <a:lnTo>
                    <a:pt x="8228" y="16867"/>
                  </a:lnTo>
                  <a:lnTo>
                    <a:pt x="8295" y="16841"/>
                  </a:lnTo>
                  <a:lnTo>
                    <a:pt x="8344" y="16821"/>
                  </a:lnTo>
                  <a:lnTo>
                    <a:pt x="8396" y="16799"/>
                  </a:lnTo>
                  <a:lnTo>
                    <a:pt x="8454" y="16778"/>
                  </a:lnTo>
                  <a:lnTo>
                    <a:pt x="8513" y="16755"/>
                  </a:lnTo>
                  <a:lnTo>
                    <a:pt x="8574" y="16731"/>
                  </a:lnTo>
                  <a:lnTo>
                    <a:pt x="8633" y="16707"/>
                  </a:lnTo>
                  <a:lnTo>
                    <a:pt x="8690" y="16682"/>
                  </a:lnTo>
                  <a:lnTo>
                    <a:pt x="8744" y="16658"/>
                  </a:lnTo>
                  <a:lnTo>
                    <a:pt x="8792" y="16633"/>
                  </a:lnTo>
                  <a:lnTo>
                    <a:pt x="8829" y="16621"/>
                  </a:lnTo>
                  <a:lnTo>
                    <a:pt x="8872" y="16605"/>
                  </a:lnTo>
                  <a:lnTo>
                    <a:pt x="8918" y="16587"/>
                  </a:lnTo>
                  <a:lnTo>
                    <a:pt x="8965" y="16565"/>
                  </a:lnTo>
                  <a:lnTo>
                    <a:pt x="9013" y="16543"/>
                  </a:lnTo>
                  <a:lnTo>
                    <a:pt x="9059" y="16522"/>
                  </a:lnTo>
                  <a:lnTo>
                    <a:pt x="9100" y="16502"/>
                  </a:lnTo>
                  <a:lnTo>
                    <a:pt x="9137" y="16485"/>
                  </a:lnTo>
                  <a:lnTo>
                    <a:pt x="9178" y="16465"/>
                  </a:lnTo>
                  <a:lnTo>
                    <a:pt x="9220" y="16447"/>
                  </a:lnTo>
                  <a:lnTo>
                    <a:pt x="9263" y="16429"/>
                  </a:lnTo>
                  <a:lnTo>
                    <a:pt x="9304" y="16409"/>
                  </a:lnTo>
                  <a:lnTo>
                    <a:pt x="9346" y="16391"/>
                  </a:lnTo>
                  <a:lnTo>
                    <a:pt x="9388" y="16371"/>
                  </a:lnTo>
                  <a:lnTo>
                    <a:pt x="9430" y="16352"/>
                  </a:lnTo>
                  <a:lnTo>
                    <a:pt x="9471" y="16331"/>
                  </a:lnTo>
                  <a:lnTo>
                    <a:pt x="9550" y="16292"/>
                  </a:lnTo>
                  <a:lnTo>
                    <a:pt x="9633" y="16254"/>
                  </a:lnTo>
                  <a:lnTo>
                    <a:pt x="9720" y="16214"/>
                  </a:lnTo>
                  <a:lnTo>
                    <a:pt x="9807" y="16173"/>
                  </a:lnTo>
                  <a:lnTo>
                    <a:pt x="9894" y="16132"/>
                  </a:lnTo>
                  <a:lnTo>
                    <a:pt x="9978" y="16091"/>
                  </a:lnTo>
                  <a:lnTo>
                    <a:pt x="10018" y="16069"/>
                  </a:lnTo>
                  <a:lnTo>
                    <a:pt x="10057" y="16048"/>
                  </a:lnTo>
                  <a:lnTo>
                    <a:pt x="10093" y="16026"/>
                  </a:lnTo>
                  <a:lnTo>
                    <a:pt x="10129" y="16004"/>
                  </a:lnTo>
                  <a:lnTo>
                    <a:pt x="10153" y="15994"/>
                  </a:lnTo>
                  <a:lnTo>
                    <a:pt x="10184" y="15979"/>
                  </a:lnTo>
                  <a:lnTo>
                    <a:pt x="10220" y="15962"/>
                  </a:lnTo>
                  <a:lnTo>
                    <a:pt x="10263" y="15939"/>
                  </a:lnTo>
                  <a:lnTo>
                    <a:pt x="10363" y="15886"/>
                  </a:lnTo>
                  <a:lnTo>
                    <a:pt x="10482" y="15821"/>
                  </a:lnTo>
                  <a:lnTo>
                    <a:pt x="10614" y="15748"/>
                  </a:lnTo>
                  <a:lnTo>
                    <a:pt x="10756" y="15669"/>
                  </a:lnTo>
                  <a:lnTo>
                    <a:pt x="10903" y="15584"/>
                  </a:lnTo>
                  <a:lnTo>
                    <a:pt x="11053" y="15498"/>
                  </a:lnTo>
                  <a:lnTo>
                    <a:pt x="11202" y="15411"/>
                  </a:lnTo>
                  <a:lnTo>
                    <a:pt x="11344" y="15328"/>
                  </a:lnTo>
                  <a:lnTo>
                    <a:pt x="11477" y="15249"/>
                  </a:lnTo>
                  <a:lnTo>
                    <a:pt x="11597" y="15176"/>
                  </a:lnTo>
                  <a:lnTo>
                    <a:pt x="11700" y="15111"/>
                  </a:lnTo>
                  <a:lnTo>
                    <a:pt x="11781" y="15060"/>
                  </a:lnTo>
                  <a:lnTo>
                    <a:pt x="11813" y="15038"/>
                  </a:lnTo>
                  <a:lnTo>
                    <a:pt x="11838" y="15021"/>
                  </a:lnTo>
                  <a:lnTo>
                    <a:pt x="11857" y="15007"/>
                  </a:lnTo>
                  <a:lnTo>
                    <a:pt x="11867" y="14997"/>
                  </a:lnTo>
                  <a:lnTo>
                    <a:pt x="11879" y="14991"/>
                  </a:lnTo>
                  <a:lnTo>
                    <a:pt x="11898" y="14982"/>
                  </a:lnTo>
                  <a:lnTo>
                    <a:pt x="11919" y="14970"/>
                  </a:lnTo>
                  <a:lnTo>
                    <a:pt x="11947" y="14954"/>
                  </a:lnTo>
                  <a:lnTo>
                    <a:pt x="12012" y="14913"/>
                  </a:lnTo>
                  <a:lnTo>
                    <a:pt x="12090" y="14864"/>
                  </a:lnTo>
                  <a:lnTo>
                    <a:pt x="12179" y="14806"/>
                  </a:lnTo>
                  <a:lnTo>
                    <a:pt x="12276" y="14741"/>
                  </a:lnTo>
                  <a:lnTo>
                    <a:pt x="12379" y="14672"/>
                  </a:lnTo>
                  <a:lnTo>
                    <a:pt x="12485" y="14600"/>
                  </a:lnTo>
                  <a:lnTo>
                    <a:pt x="12590" y="14528"/>
                  </a:lnTo>
                  <a:lnTo>
                    <a:pt x="12694" y="14457"/>
                  </a:lnTo>
                  <a:lnTo>
                    <a:pt x="12791" y="14388"/>
                  </a:lnTo>
                  <a:lnTo>
                    <a:pt x="12883" y="14324"/>
                  </a:lnTo>
                  <a:lnTo>
                    <a:pt x="12963" y="14267"/>
                  </a:lnTo>
                  <a:lnTo>
                    <a:pt x="13031" y="14218"/>
                  </a:lnTo>
                  <a:lnTo>
                    <a:pt x="13083" y="14179"/>
                  </a:lnTo>
                  <a:lnTo>
                    <a:pt x="13116" y="14152"/>
                  </a:lnTo>
                  <a:lnTo>
                    <a:pt x="13131" y="14143"/>
                  </a:lnTo>
                  <a:lnTo>
                    <a:pt x="13152" y="14131"/>
                  </a:lnTo>
                  <a:lnTo>
                    <a:pt x="13179" y="14112"/>
                  </a:lnTo>
                  <a:lnTo>
                    <a:pt x="13212" y="14088"/>
                  </a:lnTo>
                  <a:lnTo>
                    <a:pt x="13294" y="14030"/>
                  </a:lnTo>
                  <a:lnTo>
                    <a:pt x="13392" y="13958"/>
                  </a:lnTo>
                  <a:lnTo>
                    <a:pt x="13505" y="13873"/>
                  </a:lnTo>
                  <a:lnTo>
                    <a:pt x="13628" y="13779"/>
                  </a:lnTo>
                  <a:lnTo>
                    <a:pt x="13758" y="13680"/>
                  </a:lnTo>
                  <a:lnTo>
                    <a:pt x="13891" y="13578"/>
                  </a:lnTo>
                  <a:lnTo>
                    <a:pt x="14024" y="13475"/>
                  </a:lnTo>
                  <a:lnTo>
                    <a:pt x="14153" y="13374"/>
                  </a:lnTo>
                  <a:lnTo>
                    <a:pt x="14274" y="13278"/>
                  </a:lnTo>
                  <a:lnTo>
                    <a:pt x="14385" y="13190"/>
                  </a:lnTo>
                  <a:lnTo>
                    <a:pt x="14481" y="13112"/>
                  </a:lnTo>
                  <a:lnTo>
                    <a:pt x="14559" y="13048"/>
                  </a:lnTo>
                  <a:lnTo>
                    <a:pt x="14590" y="13022"/>
                  </a:lnTo>
                  <a:lnTo>
                    <a:pt x="14615" y="13000"/>
                  </a:lnTo>
                  <a:lnTo>
                    <a:pt x="14634" y="12982"/>
                  </a:lnTo>
                  <a:lnTo>
                    <a:pt x="14645" y="12970"/>
                  </a:lnTo>
                  <a:lnTo>
                    <a:pt x="14658" y="12963"/>
                  </a:lnTo>
                  <a:lnTo>
                    <a:pt x="14673" y="12954"/>
                  </a:lnTo>
                  <a:lnTo>
                    <a:pt x="14690" y="12942"/>
                  </a:lnTo>
                  <a:lnTo>
                    <a:pt x="14708" y="12928"/>
                  </a:lnTo>
                  <a:lnTo>
                    <a:pt x="14751" y="12895"/>
                  </a:lnTo>
                  <a:lnTo>
                    <a:pt x="14802" y="12854"/>
                  </a:lnTo>
                  <a:lnTo>
                    <a:pt x="14857" y="12807"/>
                  </a:lnTo>
                  <a:lnTo>
                    <a:pt x="14917" y="12756"/>
                  </a:lnTo>
                  <a:lnTo>
                    <a:pt x="14979" y="12701"/>
                  </a:lnTo>
                  <a:lnTo>
                    <a:pt x="15044" y="12645"/>
                  </a:lnTo>
                  <a:lnTo>
                    <a:pt x="15110" y="12587"/>
                  </a:lnTo>
                  <a:lnTo>
                    <a:pt x="15175" y="12530"/>
                  </a:lnTo>
                  <a:lnTo>
                    <a:pt x="15238" y="12475"/>
                  </a:lnTo>
                  <a:lnTo>
                    <a:pt x="15298" y="12421"/>
                  </a:lnTo>
                  <a:lnTo>
                    <a:pt x="15354" y="12372"/>
                  </a:lnTo>
                  <a:lnTo>
                    <a:pt x="15405" y="12328"/>
                  </a:lnTo>
                  <a:lnTo>
                    <a:pt x="15451" y="12291"/>
                  </a:lnTo>
                  <a:lnTo>
                    <a:pt x="15487" y="12261"/>
                  </a:lnTo>
                  <a:lnTo>
                    <a:pt x="15508" y="12245"/>
                  </a:lnTo>
                  <a:lnTo>
                    <a:pt x="15520" y="12233"/>
                  </a:lnTo>
                  <a:lnTo>
                    <a:pt x="15534" y="12220"/>
                  </a:lnTo>
                  <a:lnTo>
                    <a:pt x="15555" y="12200"/>
                  </a:lnTo>
                  <a:lnTo>
                    <a:pt x="15765" y="12013"/>
                  </a:lnTo>
                  <a:lnTo>
                    <a:pt x="15798" y="11979"/>
                  </a:lnTo>
                  <a:lnTo>
                    <a:pt x="15830" y="11947"/>
                  </a:lnTo>
                  <a:lnTo>
                    <a:pt x="15863" y="11915"/>
                  </a:lnTo>
                  <a:lnTo>
                    <a:pt x="15895" y="11884"/>
                  </a:lnTo>
                  <a:lnTo>
                    <a:pt x="15927" y="11853"/>
                  </a:lnTo>
                  <a:lnTo>
                    <a:pt x="15959" y="11823"/>
                  </a:lnTo>
                  <a:lnTo>
                    <a:pt x="15992" y="11790"/>
                  </a:lnTo>
                  <a:lnTo>
                    <a:pt x="16025" y="11758"/>
                  </a:lnTo>
                  <a:lnTo>
                    <a:pt x="16052" y="11733"/>
                  </a:lnTo>
                  <a:lnTo>
                    <a:pt x="16089" y="11696"/>
                  </a:lnTo>
                  <a:lnTo>
                    <a:pt x="16136" y="11649"/>
                  </a:lnTo>
                  <a:lnTo>
                    <a:pt x="16190" y="11595"/>
                  </a:lnTo>
                  <a:lnTo>
                    <a:pt x="16248" y="11535"/>
                  </a:lnTo>
                  <a:lnTo>
                    <a:pt x="16311" y="11470"/>
                  </a:lnTo>
                  <a:lnTo>
                    <a:pt x="16377" y="11403"/>
                  </a:lnTo>
                  <a:lnTo>
                    <a:pt x="16443" y="11335"/>
                  </a:lnTo>
                  <a:lnTo>
                    <a:pt x="16508" y="11268"/>
                  </a:lnTo>
                  <a:lnTo>
                    <a:pt x="16571" y="11202"/>
                  </a:lnTo>
                  <a:lnTo>
                    <a:pt x="16629" y="11140"/>
                  </a:lnTo>
                  <a:lnTo>
                    <a:pt x="16681" y="11084"/>
                  </a:lnTo>
                  <a:lnTo>
                    <a:pt x="16726" y="11036"/>
                  </a:lnTo>
                  <a:lnTo>
                    <a:pt x="16761" y="10997"/>
                  </a:lnTo>
                  <a:lnTo>
                    <a:pt x="16786" y="10969"/>
                  </a:lnTo>
                  <a:lnTo>
                    <a:pt x="16797" y="10953"/>
                  </a:lnTo>
                  <a:lnTo>
                    <a:pt x="16818" y="10935"/>
                  </a:lnTo>
                  <a:lnTo>
                    <a:pt x="16837" y="10915"/>
                  </a:lnTo>
                  <a:lnTo>
                    <a:pt x="16856" y="10896"/>
                  </a:lnTo>
                  <a:lnTo>
                    <a:pt x="16874" y="10875"/>
                  </a:lnTo>
                  <a:lnTo>
                    <a:pt x="16908" y="10833"/>
                  </a:lnTo>
                  <a:lnTo>
                    <a:pt x="16943" y="10789"/>
                  </a:lnTo>
                  <a:lnTo>
                    <a:pt x="17006" y="10707"/>
                  </a:lnTo>
                  <a:lnTo>
                    <a:pt x="17067" y="10626"/>
                  </a:lnTo>
                  <a:lnTo>
                    <a:pt x="17128" y="10543"/>
                  </a:lnTo>
                  <a:lnTo>
                    <a:pt x="17185" y="10462"/>
                  </a:lnTo>
                  <a:lnTo>
                    <a:pt x="17214" y="10421"/>
                  </a:lnTo>
                  <a:lnTo>
                    <a:pt x="17241" y="10379"/>
                  </a:lnTo>
                  <a:lnTo>
                    <a:pt x="17269" y="10337"/>
                  </a:lnTo>
                  <a:lnTo>
                    <a:pt x="17295" y="10296"/>
                  </a:lnTo>
                  <a:lnTo>
                    <a:pt x="17321" y="10254"/>
                  </a:lnTo>
                  <a:lnTo>
                    <a:pt x="17347" y="10211"/>
                  </a:lnTo>
                  <a:lnTo>
                    <a:pt x="17372" y="10169"/>
                  </a:lnTo>
                  <a:lnTo>
                    <a:pt x="17396" y="10125"/>
                  </a:lnTo>
                  <a:lnTo>
                    <a:pt x="17419" y="10081"/>
                  </a:lnTo>
                  <a:lnTo>
                    <a:pt x="17442" y="10037"/>
                  </a:lnTo>
                  <a:lnTo>
                    <a:pt x="17463" y="9992"/>
                  </a:lnTo>
                  <a:lnTo>
                    <a:pt x="17485" y="9946"/>
                  </a:lnTo>
                  <a:lnTo>
                    <a:pt x="17505" y="9900"/>
                  </a:lnTo>
                  <a:lnTo>
                    <a:pt x="17524" y="9853"/>
                  </a:lnTo>
                  <a:lnTo>
                    <a:pt x="17543" y="9805"/>
                  </a:lnTo>
                  <a:lnTo>
                    <a:pt x="17561" y="9757"/>
                  </a:lnTo>
                  <a:lnTo>
                    <a:pt x="17578" y="9708"/>
                  </a:lnTo>
                  <a:lnTo>
                    <a:pt x="17594" y="9657"/>
                  </a:lnTo>
                  <a:lnTo>
                    <a:pt x="17609" y="9606"/>
                  </a:lnTo>
                  <a:lnTo>
                    <a:pt x="17622" y="9553"/>
                  </a:lnTo>
                  <a:lnTo>
                    <a:pt x="17636" y="9501"/>
                  </a:lnTo>
                  <a:lnTo>
                    <a:pt x="17648" y="9446"/>
                  </a:lnTo>
                  <a:lnTo>
                    <a:pt x="17659" y="9391"/>
                  </a:lnTo>
                  <a:lnTo>
                    <a:pt x="17669" y="9334"/>
                  </a:lnTo>
                  <a:lnTo>
                    <a:pt x="17673" y="9309"/>
                  </a:lnTo>
                  <a:lnTo>
                    <a:pt x="17675" y="9283"/>
                  </a:lnTo>
                  <a:lnTo>
                    <a:pt x="17675" y="9255"/>
                  </a:lnTo>
                  <a:lnTo>
                    <a:pt x="17674" y="9226"/>
                  </a:lnTo>
                  <a:lnTo>
                    <a:pt x="17672" y="9196"/>
                  </a:lnTo>
                  <a:lnTo>
                    <a:pt x="17669" y="9165"/>
                  </a:lnTo>
                  <a:lnTo>
                    <a:pt x="17665" y="9133"/>
                  </a:lnTo>
                  <a:lnTo>
                    <a:pt x="17659" y="9101"/>
                  </a:lnTo>
                  <a:lnTo>
                    <a:pt x="17653" y="9068"/>
                  </a:lnTo>
                  <a:lnTo>
                    <a:pt x="17645" y="9034"/>
                  </a:lnTo>
                  <a:lnTo>
                    <a:pt x="17637" y="8999"/>
                  </a:lnTo>
                  <a:lnTo>
                    <a:pt x="17629" y="8965"/>
                  </a:lnTo>
                  <a:lnTo>
                    <a:pt x="17609" y="8895"/>
                  </a:lnTo>
                  <a:lnTo>
                    <a:pt x="17587" y="8825"/>
                  </a:lnTo>
                  <a:lnTo>
                    <a:pt x="17563" y="8757"/>
                  </a:lnTo>
                  <a:lnTo>
                    <a:pt x="17539" y="8689"/>
                  </a:lnTo>
                  <a:lnTo>
                    <a:pt x="17513" y="8624"/>
                  </a:lnTo>
                  <a:lnTo>
                    <a:pt x="17487" y="8563"/>
                  </a:lnTo>
                  <a:lnTo>
                    <a:pt x="17462" y="8506"/>
                  </a:lnTo>
                  <a:lnTo>
                    <a:pt x="17437" y="8455"/>
                  </a:lnTo>
                  <a:lnTo>
                    <a:pt x="17415" y="8408"/>
                  </a:lnTo>
                  <a:lnTo>
                    <a:pt x="17394" y="8369"/>
                  </a:lnTo>
                  <a:lnTo>
                    <a:pt x="17360" y="8310"/>
                  </a:lnTo>
                  <a:lnTo>
                    <a:pt x="17328" y="8254"/>
                  </a:lnTo>
                  <a:lnTo>
                    <a:pt x="17297" y="8203"/>
                  </a:lnTo>
                  <a:lnTo>
                    <a:pt x="17268" y="8155"/>
                  </a:lnTo>
                  <a:lnTo>
                    <a:pt x="17239" y="8109"/>
                  </a:lnTo>
                  <a:lnTo>
                    <a:pt x="17210" y="8066"/>
                  </a:lnTo>
                  <a:lnTo>
                    <a:pt x="17182" y="8023"/>
                  </a:lnTo>
                  <a:lnTo>
                    <a:pt x="17153" y="7981"/>
                  </a:lnTo>
                  <a:lnTo>
                    <a:pt x="17123" y="7941"/>
                  </a:lnTo>
                  <a:lnTo>
                    <a:pt x="17093" y="7900"/>
                  </a:lnTo>
                  <a:lnTo>
                    <a:pt x="17062" y="7858"/>
                  </a:lnTo>
                  <a:lnTo>
                    <a:pt x="17029" y="7816"/>
                  </a:lnTo>
                  <a:lnTo>
                    <a:pt x="16958" y="7727"/>
                  </a:lnTo>
                  <a:lnTo>
                    <a:pt x="16877" y="7627"/>
                  </a:lnTo>
                  <a:lnTo>
                    <a:pt x="16843" y="7585"/>
                  </a:lnTo>
                  <a:lnTo>
                    <a:pt x="16805" y="7540"/>
                  </a:lnTo>
                  <a:lnTo>
                    <a:pt x="16766" y="7493"/>
                  </a:lnTo>
                  <a:lnTo>
                    <a:pt x="16725" y="7446"/>
                  </a:lnTo>
                  <a:lnTo>
                    <a:pt x="16641" y="7350"/>
                  </a:lnTo>
                  <a:lnTo>
                    <a:pt x="16551" y="7253"/>
                  </a:lnTo>
                  <a:lnTo>
                    <a:pt x="16462" y="7157"/>
                  </a:lnTo>
                  <a:lnTo>
                    <a:pt x="16373" y="7065"/>
                  </a:lnTo>
                  <a:lnTo>
                    <a:pt x="16287" y="6978"/>
                  </a:lnTo>
                  <a:lnTo>
                    <a:pt x="16207" y="6899"/>
                  </a:lnTo>
                  <a:lnTo>
                    <a:pt x="16179" y="6872"/>
                  </a:lnTo>
                  <a:lnTo>
                    <a:pt x="16153" y="6842"/>
                  </a:lnTo>
                  <a:lnTo>
                    <a:pt x="16127" y="6811"/>
                  </a:lnTo>
                  <a:lnTo>
                    <a:pt x="16099" y="6779"/>
                  </a:lnTo>
                  <a:lnTo>
                    <a:pt x="16071" y="6747"/>
                  </a:lnTo>
                  <a:lnTo>
                    <a:pt x="16042" y="6715"/>
                  </a:lnTo>
                  <a:lnTo>
                    <a:pt x="16011" y="6683"/>
                  </a:lnTo>
                  <a:lnTo>
                    <a:pt x="15979" y="6652"/>
                  </a:lnTo>
                  <a:lnTo>
                    <a:pt x="14313" y="5186"/>
                  </a:lnTo>
                  <a:lnTo>
                    <a:pt x="14230" y="5121"/>
                  </a:lnTo>
                  <a:lnTo>
                    <a:pt x="14144" y="5052"/>
                  </a:lnTo>
                  <a:lnTo>
                    <a:pt x="14058" y="4981"/>
                  </a:lnTo>
                  <a:lnTo>
                    <a:pt x="13972" y="4911"/>
                  </a:lnTo>
                  <a:lnTo>
                    <a:pt x="13885" y="4840"/>
                  </a:lnTo>
                  <a:lnTo>
                    <a:pt x="13797" y="4769"/>
                  </a:lnTo>
                  <a:lnTo>
                    <a:pt x="13709" y="4700"/>
                  </a:lnTo>
                  <a:lnTo>
                    <a:pt x="13622" y="4634"/>
                  </a:lnTo>
                  <a:lnTo>
                    <a:pt x="13528" y="4565"/>
                  </a:lnTo>
                  <a:lnTo>
                    <a:pt x="13437" y="4496"/>
                  </a:lnTo>
                  <a:lnTo>
                    <a:pt x="13348" y="4430"/>
                  </a:lnTo>
                  <a:lnTo>
                    <a:pt x="13259" y="4364"/>
                  </a:lnTo>
                  <a:lnTo>
                    <a:pt x="13172" y="4299"/>
                  </a:lnTo>
                  <a:lnTo>
                    <a:pt x="13085" y="4234"/>
                  </a:lnTo>
                  <a:lnTo>
                    <a:pt x="12999" y="4170"/>
                  </a:lnTo>
                  <a:lnTo>
                    <a:pt x="12913" y="4107"/>
                  </a:lnTo>
                  <a:lnTo>
                    <a:pt x="12826" y="4043"/>
                  </a:lnTo>
                  <a:lnTo>
                    <a:pt x="12738" y="3980"/>
                  </a:lnTo>
                  <a:lnTo>
                    <a:pt x="12650" y="3916"/>
                  </a:lnTo>
                  <a:lnTo>
                    <a:pt x="12559" y="3852"/>
                  </a:lnTo>
                  <a:lnTo>
                    <a:pt x="12468" y="3787"/>
                  </a:lnTo>
                  <a:lnTo>
                    <a:pt x="12373" y="3722"/>
                  </a:lnTo>
                  <a:lnTo>
                    <a:pt x="12276" y="3655"/>
                  </a:lnTo>
                  <a:lnTo>
                    <a:pt x="12177" y="3589"/>
                  </a:lnTo>
                  <a:lnTo>
                    <a:pt x="12083" y="3525"/>
                  </a:lnTo>
                  <a:lnTo>
                    <a:pt x="11988" y="3463"/>
                  </a:lnTo>
                  <a:lnTo>
                    <a:pt x="11893" y="3402"/>
                  </a:lnTo>
                  <a:lnTo>
                    <a:pt x="11798" y="3340"/>
                  </a:lnTo>
                  <a:lnTo>
                    <a:pt x="11702" y="3280"/>
                  </a:lnTo>
                  <a:lnTo>
                    <a:pt x="11606" y="3219"/>
                  </a:lnTo>
                  <a:lnTo>
                    <a:pt x="11509" y="3158"/>
                  </a:lnTo>
                  <a:lnTo>
                    <a:pt x="11411" y="3097"/>
                  </a:lnTo>
                  <a:lnTo>
                    <a:pt x="11318" y="3037"/>
                  </a:lnTo>
                  <a:lnTo>
                    <a:pt x="11222" y="2979"/>
                  </a:lnTo>
                  <a:lnTo>
                    <a:pt x="11125" y="2920"/>
                  </a:lnTo>
                  <a:lnTo>
                    <a:pt x="11028" y="2863"/>
                  </a:lnTo>
                  <a:lnTo>
                    <a:pt x="10930" y="2806"/>
                  </a:lnTo>
                  <a:lnTo>
                    <a:pt x="10831" y="2749"/>
                  </a:lnTo>
                  <a:lnTo>
                    <a:pt x="10732" y="2692"/>
                  </a:lnTo>
                  <a:lnTo>
                    <a:pt x="10631" y="2635"/>
                  </a:lnTo>
                  <a:lnTo>
                    <a:pt x="10529" y="2579"/>
                  </a:lnTo>
                  <a:lnTo>
                    <a:pt x="10427" y="2523"/>
                  </a:lnTo>
                  <a:lnTo>
                    <a:pt x="10326" y="2468"/>
                  </a:lnTo>
                  <a:lnTo>
                    <a:pt x="10223" y="2413"/>
                  </a:lnTo>
                  <a:lnTo>
                    <a:pt x="10120" y="2359"/>
                  </a:lnTo>
                  <a:lnTo>
                    <a:pt x="10015" y="2305"/>
                  </a:lnTo>
                  <a:lnTo>
                    <a:pt x="9911" y="2251"/>
                  </a:lnTo>
                  <a:lnTo>
                    <a:pt x="9807" y="2198"/>
                  </a:lnTo>
                  <a:lnTo>
                    <a:pt x="9735" y="2162"/>
                  </a:lnTo>
                  <a:lnTo>
                    <a:pt x="9660" y="2124"/>
                  </a:lnTo>
                  <a:lnTo>
                    <a:pt x="9583" y="2086"/>
                  </a:lnTo>
                  <a:lnTo>
                    <a:pt x="9504" y="2047"/>
                  </a:lnTo>
                  <a:lnTo>
                    <a:pt x="9423" y="2010"/>
                  </a:lnTo>
                  <a:lnTo>
                    <a:pt x="9340" y="1971"/>
                  </a:lnTo>
                  <a:lnTo>
                    <a:pt x="9258" y="1932"/>
                  </a:lnTo>
                  <a:lnTo>
                    <a:pt x="9174" y="1893"/>
                  </a:lnTo>
                  <a:lnTo>
                    <a:pt x="9091" y="1855"/>
                  </a:lnTo>
                  <a:lnTo>
                    <a:pt x="9006" y="1816"/>
                  </a:lnTo>
                  <a:lnTo>
                    <a:pt x="8923" y="1780"/>
                  </a:lnTo>
                  <a:lnTo>
                    <a:pt x="8840" y="1743"/>
                  </a:lnTo>
                  <a:lnTo>
                    <a:pt x="8759" y="1707"/>
                  </a:lnTo>
                  <a:lnTo>
                    <a:pt x="8679" y="1673"/>
                  </a:lnTo>
                  <a:lnTo>
                    <a:pt x="8600" y="1640"/>
                  </a:lnTo>
                  <a:lnTo>
                    <a:pt x="8523" y="1608"/>
                  </a:lnTo>
                  <a:lnTo>
                    <a:pt x="8472" y="1587"/>
                  </a:lnTo>
                  <a:lnTo>
                    <a:pt x="8417" y="1562"/>
                  </a:lnTo>
                  <a:lnTo>
                    <a:pt x="8360" y="1537"/>
                  </a:lnTo>
                  <a:lnTo>
                    <a:pt x="8300" y="1511"/>
                  </a:lnTo>
                  <a:lnTo>
                    <a:pt x="8242" y="1485"/>
                  </a:lnTo>
                  <a:lnTo>
                    <a:pt x="8184" y="1461"/>
                  </a:lnTo>
                  <a:lnTo>
                    <a:pt x="8156" y="1451"/>
                  </a:lnTo>
                  <a:lnTo>
                    <a:pt x="8129" y="1442"/>
                  </a:lnTo>
                  <a:lnTo>
                    <a:pt x="8102" y="1433"/>
                  </a:lnTo>
                  <a:lnTo>
                    <a:pt x="8078" y="1426"/>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10" name="Freeform 5">
              <a:extLst>
                <a:ext uri="{FF2B5EF4-FFF2-40B4-BE49-F238E27FC236}">
                  <a16:creationId xmlns:a16="http://schemas.microsoft.com/office/drawing/2014/main" id="{E4D7EB7F-2982-4D8E-910B-5C26A8AF86EE}"/>
                </a:ext>
              </a:extLst>
            </p:cNvPr>
            <p:cNvSpPr>
              <a:spLocks/>
            </p:cNvSpPr>
            <p:nvPr/>
          </p:nvSpPr>
          <p:spPr bwMode="auto">
            <a:xfrm>
              <a:off x="1197064" y="3421099"/>
              <a:ext cx="263057" cy="272508"/>
            </a:xfrm>
            <a:custGeom>
              <a:avLst/>
              <a:gdLst>
                <a:gd name="T0" fmla="*/ 7371 w 17675"/>
                <a:gd name="T1" fmla="*/ 1125 h 18310"/>
                <a:gd name="T2" fmla="*/ 5959 w 17675"/>
                <a:gd name="T3" fmla="*/ 593 h 18310"/>
                <a:gd name="T4" fmla="*/ 4735 w 17675"/>
                <a:gd name="T5" fmla="*/ 240 h 18310"/>
                <a:gd name="T6" fmla="*/ 3627 w 17675"/>
                <a:gd name="T7" fmla="*/ 54 h 18310"/>
                <a:gd name="T8" fmla="*/ 2806 w 17675"/>
                <a:gd name="T9" fmla="*/ 7 h 18310"/>
                <a:gd name="T10" fmla="*/ 2454 w 17675"/>
                <a:gd name="T11" fmla="*/ 85 h 18310"/>
                <a:gd name="T12" fmla="*/ 2132 w 17675"/>
                <a:gd name="T13" fmla="*/ 262 h 18310"/>
                <a:gd name="T14" fmla="*/ 1838 w 17675"/>
                <a:gd name="T15" fmla="*/ 533 h 18310"/>
                <a:gd name="T16" fmla="*/ 1454 w 17675"/>
                <a:gd name="T17" fmla="*/ 1111 h 18310"/>
                <a:gd name="T18" fmla="*/ 1261 w 17675"/>
                <a:gd name="T19" fmla="*/ 1545 h 18310"/>
                <a:gd name="T20" fmla="*/ 1008 w 17675"/>
                <a:gd name="T21" fmla="*/ 2315 h 18310"/>
                <a:gd name="T22" fmla="*/ 836 w 17675"/>
                <a:gd name="T23" fmla="*/ 2906 h 18310"/>
                <a:gd name="T24" fmla="*/ 683 w 17675"/>
                <a:gd name="T25" fmla="*/ 3519 h 18310"/>
                <a:gd name="T26" fmla="*/ 506 w 17675"/>
                <a:gd name="T27" fmla="*/ 4330 h 18310"/>
                <a:gd name="T28" fmla="*/ 356 w 17675"/>
                <a:gd name="T29" fmla="*/ 5177 h 18310"/>
                <a:gd name="T30" fmla="*/ 199 w 17675"/>
                <a:gd name="T31" fmla="*/ 6352 h 18310"/>
                <a:gd name="T32" fmla="*/ 65 w 17675"/>
                <a:gd name="T33" fmla="*/ 7805 h 18310"/>
                <a:gd name="T34" fmla="*/ 1 w 17675"/>
                <a:gd name="T35" fmla="*/ 9354 h 18310"/>
                <a:gd name="T36" fmla="*/ 54 w 17675"/>
                <a:gd name="T37" fmla="*/ 10490 h 18310"/>
                <a:gd name="T38" fmla="*/ 149 w 17675"/>
                <a:gd name="T39" fmla="*/ 11811 h 18310"/>
                <a:gd name="T40" fmla="*/ 298 w 17675"/>
                <a:gd name="T41" fmla="*/ 13066 h 18310"/>
                <a:gd name="T42" fmla="*/ 650 w 17675"/>
                <a:gd name="T43" fmla="*/ 14979 h 18310"/>
                <a:gd name="T44" fmla="*/ 991 w 17675"/>
                <a:gd name="T45" fmla="*/ 16266 h 18310"/>
                <a:gd name="T46" fmla="*/ 1332 w 17675"/>
                <a:gd name="T47" fmla="*/ 17156 h 18310"/>
                <a:gd name="T48" fmla="*/ 1598 w 17675"/>
                <a:gd name="T49" fmla="*/ 17614 h 18310"/>
                <a:gd name="T50" fmla="*/ 1917 w 17675"/>
                <a:gd name="T51" fmla="*/ 17970 h 18310"/>
                <a:gd name="T52" fmla="*/ 2349 w 17675"/>
                <a:gd name="T53" fmla="*/ 18232 h 18310"/>
                <a:gd name="T54" fmla="*/ 2745 w 17675"/>
                <a:gd name="T55" fmla="*/ 18309 h 18310"/>
                <a:gd name="T56" fmla="*/ 3384 w 17675"/>
                <a:gd name="T57" fmla="*/ 18287 h 18310"/>
                <a:gd name="T58" fmla="*/ 4157 w 17675"/>
                <a:gd name="T59" fmla="*/ 18192 h 18310"/>
                <a:gd name="T60" fmla="*/ 5006 w 17675"/>
                <a:gd name="T61" fmla="*/ 18009 h 18310"/>
                <a:gd name="T62" fmla="*/ 6483 w 17675"/>
                <a:gd name="T63" fmla="*/ 17544 h 18310"/>
                <a:gd name="T64" fmla="*/ 7200 w 17675"/>
                <a:gd name="T65" fmla="*/ 17277 h 18310"/>
                <a:gd name="T66" fmla="*/ 8295 w 17675"/>
                <a:gd name="T67" fmla="*/ 16841 h 18310"/>
                <a:gd name="T68" fmla="*/ 8872 w 17675"/>
                <a:gd name="T69" fmla="*/ 16605 h 18310"/>
                <a:gd name="T70" fmla="*/ 9346 w 17675"/>
                <a:gd name="T71" fmla="*/ 16391 h 18310"/>
                <a:gd name="T72" fmla="*/ 10057 w 17675"/>
                <a:gd name="T73" fmla="*/ 16048 h 18310"/>
                <a:gd name="T74" fmla="*/ 10903 w 17675"/>
                <a:gd name="T75" fmla="*/ 15584 h 18310"/>
                <a:gd name="T76" fmla="*/ 11867 w 17675"/>
                <a:gd name="T77" fmla="*/ 14997 h 18310"/>
                <a:gd name="T78" fmla="*/ 12590 w 17675"/>
                <a:gd name="T79" fmla="*/ 14528 h 18310"/>
                <a:gd name="T80" fmla="*/ 13212 w 17675"/>
                <a:gd name="T81" fmla="*/ 14088 h 18310"/>
                <a:gd name="T82" fmla="*/ 14481 w 17675"/>
                <a:gd name="T83" fmla="*/ 13112 h 18310"/>
                <a:gd name="T84" fmla="*/ 14802 w 17675"/>
                <a:gd name="T85" fmla="*/ 12854 h 18310"/>
                <a:gd name="T86" fmla="*/ 15451 w 17675"/>
                <a:gd name="T87" fmla="*/ 12291 h 18310"/>
                <a:gd name="T88" fmla="*/ 15927 w 17675"/>
                <a:gd name="T89" fmla="*/ 11853 h 18310"/>
                <a:gd name="T90" fmla="*/ 16443 w 17675"/>
                <a:gd name="T91" fmla="*/ 11335 h 18310"/>
                <a:gd name="T92" fmla="*/ 16856 w 17675"/>
                <a:gd name="T93" fmla="*/ 10896 h 18310"/>
                <a:gd name="T94" fmla="*/ 17295 w 17675"/>
                <a:gd name="T95" fmla="*/ 10296 h 18310"/>
                <a:gd name="T96" fmla="*/ 17543 w 17675"/>
                <a:gd name="T97" fmla="*/ 9805 h 18310"/>
                <a:gd name="T98" fmla="*/ 17675 w 17675"/>
                <a:gd name="T99" fmla="*/ 9283 h 18310"/>
                <a:gd name="T100" fmla="*/ 17609 w 17675"/>
                <a:gd name="T101" fmla="*/ 8895 h 18310"/>
                <a:gd name="T102" fmla="*/ 17328 w 17675"/>
                <a:gd name="T103" fmla="*/ 8254 h 18310"/>
                <a:gd name="T104" fmla="*/ 16958 w 17675"/>
                <a:gd name="T105" fmla="*/ 7727 h 18310"/>
                <a:gd name="T106" fmla="*/ 16207 w 17675"/>
                <a:gd name="T107" fmla="*/ 6899 h 18310"/>
                <a:gd name="T108" fmla="*/ 14144 w 17675"/>
                <a:gd name="T109" fmla="*/ 5052 h 18310"/>
                <a:gd name="T110" fmla="*/ 13172 w 17675"/>
                <a:gd name="T111" fmla="*/ 4299 h 18310"/>
                <a:gd name="T112" fmla="*/ 12177 w 17675"/>
                <a:gd name="T113" fmla="*/ 3589 h 18310"/>
                <a:gd name="T114" fmla="*/ 11125 w 17675"/>
                <a:gd name="T115" fmla="*/ 2920 h 18310"/>
                <a:gd name="T116" fmla="*/ 10015 w 17675"/>
                <a:gd name="T117" fmla="*/ 2305 h 18310"/>
                <a:gd name="T118" fmla="*/ 9091 w 17675"/>
                <a:gd name="T119" fmla="*/ 1855 h 18310"/>
                <a:gd name="T120" fmla="*/ 8300 w 17675"/>
                <a:gd name="T121" fmla="*/ 1511 h 18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7675" h="18310">
                  <a:moveTo>
                    <a:pt x="8078" y="1426"/>
                  </a:moveTo>
                  <a:lnTo>
                    <a:pt x="8047" y="1409"/>
                  </a:lnTo>
                  <a:lnTo>
                    <a:pt x="8014" y="1392"/>
                  </a:lnTo>
                  <a:lnTo>
                    <a:pt x="7978" y="1376"/>
                  </a:lnTo>
                  <a:lnTo>
                    <a:pt x="7940" y="1360"/>
                  </a:lnTo>
                  <a:lnTo>
                    <a:pt x="7901" y="1345"/>
                  </a:lnTo>
                  <a:lnTo>
                    <a:pt x="7862" y="1330"/>
                  </a:lnTo>
                  <a:lnTo>
                    <a:pt x="7825" y="1315"/>
                  </a:lnTo>
                  <a:lnTo>
                    <a:pt x="7791" y="1301"/>
                  </a:lnTo>
                  <a:lnTo>
                    <a:pt x="7583" y="1213"/>
                  </a:lnTo>
                  <a:lnTo>
                    <a:pt x="7371" y="1125"/>
                  </a:lnTo>
                  <a:lnTo>
                    <a:pt x="7158" y="1038"/>
                  </a:lnTo>
                  <a:lnTo>
                    <a:pt x="6943" y="953"/>
                  </a:lnTo>
                  <a:lnTo>
                    <a:pt x="6836" y="911"/>
                  </a:lnTo>
                  <a:lnTo>
                    <a:pt x="6727" y="869"/>
                  </a:lnTo>
                  <a:lnTo>
                    <a:pt x="6618" y="827"/>
                  </a:lnTo>
                  <a:lnTo>
                    <a:pt x="6508" y="787"/>
                  </a:lnTo>
                  <a:lnTo>
                    <a:pt x="6400" y="747"/>
                  </a:lnTo>
                  <a:lnTo>
                    <a:pt x="6290" y="707"/>
                  </a:lnTo>
                  <a:lnTo>
                    <a:pt x="6180" y="668"/>
                  </a:lnTo>
                  <a:lnTo>
                    <a:pt x="6070" y="631"/>
                  </a:lnTo>
                  <a:lnTo>
                    <a:pt x="5959" y="593"/>
                  </a:lnTo>
                  <a:lnTo>
                    <a:pt x="5848" y="556"/>
                  </a:lnTo>
                  <a:lnTo>
                    <a:pt x="5737" y="521"/>
                  </a:lnTo>
                  <a:lnTo>
                    <a:pt x="5626" y="485"/>
                  </a:lnTo>
                  <a:lnTo>
                    <a:pt x="5515" y="451"/>
                  </a:lnTo>
                  <a:lnTo>
                    <a:pt x="5404" y="418"/>
                  </a:lnTo>
                  <a:lnTo>
                    <a:pt x="5292" y="386"/>
                  </a:lnTo>
                  <a:lnTo>
                    <a:pt x="5181" y="355"/>
                  </a:lnTo>
                  <a:lnTo>
                    <a:pt x="5069" y="324"/>
                  </a:lnTo>
                  <a:lnTo>
                    <a:pt x="4958" y="295"/>
                  </a:lnTo>
                  <a:lnTo>
                    <a:pt x="4846" y="267"/>
                  </a:lnTo>
                  <a:lnTo>
                    <a:pt x="4735" y="240"/>
                  </a:lnTo>
                  <a:lnTo>
                    <a:pt x="4623" y="215"/>
                  </a:lnTo>
                  <a:lnTo>
                    <a:pt x="4511" y="191"/>
                  </a:lnTo>
                  <a:lnTo>
                    <a:pt x="4400" y="168"/>
                  </a:lnTo>
                  <a:lnTo>
                    <a:pt x="4287" y="146"/>
                  </a:lnTo>
                  <a:lnTo>
                    <a:pt x="4234" y="136"/>
                  </a:lnTo>
                  <a:lnTo>
                    <a:pt x="4162" y="125"/>
                  </a:lnTo>
                  <a:lnTo>
                    <a:pt x="4075" y="112"/>
                  </a:lnTo>
                  <a:lnTo>
                    <a:pt x="3975" y="98"/>
                  </a:lnTo>
                  <a:lnTo>
                    <a:pt x="3865" y="84"/>
                  </a:lnTo>
                  <a:lnTo>
                    <a:pt x="3749" y="69"/>
                  </a:lnTo>
                  <a:lnTo>
                    <a:pt x="3627" y="54"/>
                  </a:lnTo>
                  <a:lnTo>
                    <a:pt x="3504" y="40"/>
                  </a:lnTo>
                  <a:lnTo>
                    <a:pt x="3381" y="27"/>
                  </a:lnTo>
                  <a:lnTo>
                    <a:pt x="3262" y="17"/>
                  </a:lnTo>
                  <a:lnTo>
                    <a:pt x="3148" y="8"/>
                  </a:lnTo>
                  <a:lnTo>
                    <a:pt x="3043" y="2"/>
                  </a:lnTo>
                  <a:lnTo>
                    <a:pt x="2994" y="1"/>
                  </a:lnTo>
                  <a:lnTo>
                    <a:pt x="2949" y="0"/>
                  </a:lnTo>
                  <a:lnTo>
                    <a:pt x="2908" y="0"/>
                  </a:lnTo>
                  <a:lnTo>
                    <a:pt x="2869" y="1"/>
                  </a:lnTo>
                  <a:lnTo>
                    <a:pt x="2834" y="3"/>
                  </a:lnTo>
                  <a:lnTo>
                    <a:pt x="2806" y="7"/>
                  </a:lnTo>
                  <a:lnTo>
                    <a:pt x="2780" y="11"/>
                  </a:lnTo>
                  <a:lnTo>
                    <a:pt x="2761" y="17"/>
                  </a:lnTo>
                  <a:lnTo>
                    <a:pt x="2724" y="19"/>
                  </a:lnTo>
                  <a:lnTo>
                    <a:pt x="2689" y="24"/>
                  </a:lnTo>
                  <a:lnTo>
                    <a:pt x="2655" y="29"/>
                  </a:lnTo>
                  <a:lnTo>
                    <a:pt x="2620" y="35"/>
                  </a:lnTo>
                  <a:lnTo>
                    <a:pt x="2586" y="43"/>
                  </a:lnTo>
                  <a:lnTo>
                    <a:pt x="2552" y="53"/>
                  </a:lnTo>
                  <a:lnTo>
                    <a:pt x="2518" y="63"/>
                  </a:lnTo>
                  <a:lnTo>
                    <a:pt x="2486" y="73"/>
                  </a:lnTo>
                  <a:lnTo>
                    <a:pt x="2454" y="85"/>
                  </a:lnTo>
                  <a:lnTo>
                    <a:pt x="2423" y="97"/>
                  </a:lnTo>
                  <a:lnTo>
                    <a:pt x="2393" y="111"/>
                  </a:lnTo>
                  <a:lnTo>
                    <a:pt x="2363" y="125"/>
                  </a:lnTo>
                  <a:lnTo>
                    <a:pt x="2333" y="138"/>
                  </a:lnTo>
                  <a:lnTo>
                    <a:pt x="2306" y="153"/>
                  </a:lnTo>
                  <a:lnTo>
                    <a:pt x="2278" y="169"/>
                  </a:lnTo>
                  <a:lnTo>
                    <a:pt x="2252" y="184"/>
                  </a:lnTo>
                  <a:lnTo>
                    <a:pt x="2218" y="205"/>
                  </a:lnTo>
                  <a:lnTo>
                    <a:pt x="2187" y="224"/>
                  </a:lnTo>
                  <a:lnTo>
                    <a:pt x="2158" y="244"/>
                  </a:lnTo>
                  <a:lnTo>
                    <a:pt x="2132" y="262"/>
                  </a:lnTo>
                  <a:lnTo>
                    <a:pt x="2108" y="280"/>
                  </a:lnTo>
                  <a:lnTo>
                    <a:pt x="2086" y="298"/>
                  </a:lnTo>
                  <a:lnTo>
                    <a:pt x="2065" y="315"/>
                  </a:lnTo>
                  <a:lnTo>
                    <a:pt x="2046" y="332"/>
                  </a:lnTo>
                  <a:lnTo>
                    <a:pt x="2007" y="367"/>
                  </a:lnTo>
                  <a:lnTo>
                    <a:pt x="1968" y="405"/>
                  </a:lnTo>
                  <a:lnTo>
                    <a:pt x="1927" y="446"/>
                  </a:lnTo>
                  <a:lnTo>
                    <a:pt x="1878" y="491"/>
                  </a:lnTo>
                  <a:lnTo>
                    <a:pt x="1866" y="504"/>
                  </a:lnTo>
                  <a:lnTo>
                    <a:pt x="1853" y="517"/>
                  </a:lnTo>
                  <a:lnTo>
                    <a:pt x="1838" y="533"/>
                  </a:lnTo>
                  <a:lnTo>
                    <a:pt x="1823" y="550"/>
                  </a:lnTo>
                  <a:lnTo>
                    <a:pt x="1790" y="592"/>
                  </a:lnTo>
                  <a:lnTo>
                    <a:pt x="1754" y="637"/>
                  </a:lnTo>
                  <a:lnTo>
                    <a:pt x="1717" y="689"/>
                  </a:lnTo>
                  <a:lnTo>
                    <a:pt x="1679" y="744"/>
                  </a:lnTo>
                  <a:lnTo>
                    <a:pt x="1639" y="802"/>
                  </a:lnTo>
                  <a:lnTo>
                    <a:pt x="1600" y="863"/>
                  </a:lnTo>
                  <a:lnTo>
                    <a:pt x="1561" y="926"/>
                  </a:lnTo>
                  <a:lnTo>
                    <a:pt x="1524" y="988"/>
                  </a:lnTo>
                  <a:lnTo>
                    <a:pt x="1488" y="1051"/>
                  </a:lnTo>
                  <a:lnTo>
                    <a:pt x="1454" y="1111"/>
                  </a:lnTo>
                  <a:lnTo>
                    <a:pt x="1425" y="1170"/>
                  </a:lnTo>
                  <a:lnTo>
                    <a:pt x="1398" y="1226"/>
                  </a:lnTo>
                  <a:lnTo>
                    <a:pt x="1387" y="1252"/>
                  </a:lnTo>
                  <a:lnTo>
                    <a:pt x="1377" y="1277"/>
                  </a:lnTo>
                  <a:lnTo>
                    <a:pt x="1367" y="1301"/>
                  </a:lnTo>
                  <a:lnTo>
                    <a:pt x="1359" y="1323"/>
                  </a:lnTo>
                  <a:lnTo>
                    <a:pt x="1340" y="1362"/>
                  </a:lnTo>
                  <a:lnTo>
                    <a:pt x="1320" y="1404"/>
                  </a:lnTo>
                  <a:lnTo>
                    <a:pt x="1300" y="1449"/>
                  </a:lnTo>
                  <a:lnTo>
                    <a:pt x="1280" y="1496"/>
                  </a:lnTo>
                  <a:lnTo>
                    <a:pt x="1261" y="1545"/>
                  </a:lnTo>
                  <a:lnTo>
                    <a:pt x="1241" y="1596"/>
                  </a:lnTo>
                  <a:lnTo>
                    <a:pt x="1222" y="1648"/>
                  </a:lnTo>
                  <a:lnTo>
                    <a:pt x="1204" y="1702"/>
                  </a:lnTo>
                  <a:lnTo>
                    <a:pt x="1167" y="1808"/>
                  </a:lnTo>
                  <a:lnTo>
                    <a:pt x="1133" y="1915"/>
                  </a:lnTo>
                  <a:lnTo>
                    <a:pt x="1101" y="2016"/>
                  </a:lnTo>
                  <a:lnTo>
                    <a:pt x="1071" y="2110"/>
                  </a:lnTo>
                  <a:lnTo>
                    <a:pt x="1055" y="2162"/>
                  </a:lnTo>
                  <a:lnTo>
                    <a:pt x="1039" y="2213"/>
                  </a:lnTo>
                  <a:lnTo>
                    <a:pt x="1023" y="2264"/>
                  </a:lnTo>
                  <a:lnTo>
                    <a:pt x="1008" y="2315"/>
                  </a:lnTo>
                  <a:lnTo>
                    <a:pt x="992" y="2367"/>
                  </a:lnTo>
                  <a:lnTo>
                    <a:pt x="976" y="2418"/>
                  </a:lnTo>
                  <a:lnTo>
                    <a:pt x="960" y="2471"/>
                  </a:lnTo>
                  <a:lnTo>
                    <a:pt x="944" y="2523"/>
                  </a:lnTo>
                  <a:lnTo>
                    <a:pt x="929" y="2573"/>
                  </a:lnTo>
                  <a:lnTo>
                    <a:pt x="913" y="2626"/>
                  </a:lnTo>
                  <a:lnTo>
                    <a:pt x="896" y="2682"/>
                  </a:lnTo>
                  <a:lnTo>
                    <a:pt x="880" y="2740"/>
                  </a:lnTo>
                  <a:lnTo>
                    <a:pt x="864" y="2797"/>
                  </a:lnTo>
                  <a:lnTo>
                    <a:pt x="849" y="2852"/>
                  </a:lnTo>
                  <a:lnTo>
                    <a:pt x="836" y="2906"/>
                  </a:lnTo>
                  <a:lnTo>
                    <a:pt x="827" y="2955"/>
                  </a:lnTo>
                  <a:lnTo>
                    <a:pt x="818" y="2977"/>
                  </a:lnTo>
                  <a:lnTo>
                    <a:pt x="809" y="3003"/>
                  </a:lnTo>
                  <a:lnTo>
                    <a:pt x="800" y="3033"/>
                  </a:lnTo>
                  <a:lnTo>
                    <a:pt x="790" y="3067"/>
                  </a:lnTo>
                  <a:lnTo>
                    <a:pt x="770" y="3142"/>
                  </a:lnTo>
                  <a:lnTo>
                    <a:pt x="749" y="3225"/>
                  </a:lnTo>
                  <a:lnTo>
                    <a:pt x="730" y="3310"/>
                  </a:lnTo>
                  <a:lnTo>
                    <a:pt x="712" y="3390"/>
                  </a:lnTo>
                  <a:lnTo>
                    <a:pt x="696" y="3461"/>
                  </a:lnTo>
                  <a:lnTo>
                    <a:pt x="683" y="3519"/>
                  </a:lnTo>
                  <a:lnTo>
                    <a:pt x="666" y="3593"/>
                  </a:lnTo>
                  <a:lnTo>
                    <a:pt x="649" y="3667"/>
                  </a:lnTo>
                  <a:lnTo>
                    <a:pt x="633" y="3740"/>
                  </a:lnTo>
                  <a:lnTo>
                    <a:pt x="617" y="3813"/>
                  </a:lnTo>
                  <a:lnTo>
                    <a:pt x="601" y="3886"/>
                  </a:lnTo>
                  <a:lnTo>
                    <a:pt x="585" y="3960"/>
                  </a:lnTo>
                  <a:lnTo>
                    <a:pt x="569" y="4033"/>
                  </a:lnTo>
                  <a:lnTo>
                    <a:pt x="553" y="4108"/>
                  </a:lnTo>
                  <a:lnTo>
                    <a:pt x="537" y="4182"/>
                  </a:lnTo>
                  <a:lnTo>
                    <a:pt x="522" y="4256"/>
                  </a:lnTo>
                  <a:lnTo>
                    <a:pt x="506" y="4330"/>
                  </a:lnTo>
                  <a:lnTo>
                    <a:pt x="491" y="4406"/>
                  </a:lnTo>
                  <a:lnTo>
                    <a:pt x="476" y="4483"/>
                  </a:lnTo>
                  <a:lnTo>
                    <a:pt x="461" y="4559"/>
                  </a:lnTo>
                  <a:lnTo>
                    <a:pt x="447" y="4636"/>
                  </a:lnTo>
                  <a:lnTo>
                    <a:pt x="433" y="4714"/>
                  </a:lnTo>
                  <a:lnTo>
                    <a:pt x="419" y="4791"/>
                  </a:lnTo>
                  <a:lnTo>
                    <a:pt x="405" y="4868"/>
                  </a:lnTo>
                  <a:lnTo>
                    <a:pt x="392" y="4946"/>
                  </a:lnTo>
                  <a:lnTo>
                    <a:pt x="380" y="5024"/>
                  </a:lnTo>
                  <a:lnTo>
                    <a:pt x="367" y="5100"/>
                  </a:lnTo>
                  <a:lnTo>
                    <a:pt x="356" y="5177"/>
                  </a:lnTo>
                  <a:lnTo>
                    <a:pt x="346" y="5253"/>
                  </a:lnTo>
                  <a:lnTo>
                    <a:pt x="335" y="5328"/>
                  </a:lnTo>
                  <a:lnTo>
                    <a:pt x="320" y="5442"/>
                  </a:lnTo>
                  <a:lnTo>
                    <a:pt x="304" y="5555"/>
                  </a:lnTo>
                  <a:lnTo>
                    <a:pt x="289" y="5668"/>
                  </a:lnTo>
                  <a:lnTo>
                    <a:pt x="275" y="5781"/>
                  </a:lnTo>
                  <a:lnTo>
                    <a:pt x="259" y="5896"/>
                  </a:lnTo>
                  <a:lnTo>
                    <a:pt x="244" y="6009"/>
                  </a:lnTo>
                  <a:lnTo>
                    <a:pt x="229" y="6124"/>
                  </a:lnTo>
                  <a:lnTo>
                    <a:pt x="214" y="6238"/>
                  </a:lnTo>
                  <a:lnTo>
                    <a:pt x="199" y="6352"/>
                  </a:lnTo>
                  <a:lnTo>
                    <a:pt x="185" y="6467"/>
                  </a:lnTo>
                  <a:lnTo>
                    <a:pt x="173" y="6581"/>
                  </a:lnTo>
                  <a:lnTo>
                    <a:pt x="160" y="6697"/>
                  </a:lnTo>
                  <a:lnTo>
                    <a:pt x="148" y="6811"/>
                  </a:lnTo>
                  <a:lnTo>
                    <a:pt x="137" y="6927"/>
                  </a:lnTo>
                  <a:lnTo>
                    <a:pt x="127" y="7042"/>
                  </a:lnTo>
                  <a:lnTo>
                    <a:pt x="119" y="7158"/>
                  </a:lnTo>
                  <a:lnTo>
                    <a:pt x="105" y="7319"/>
                  </a:lnTo>
                  <a:lnTo>
                    <a:pt x="92" y="7481"/>
                  </a:lnTo>
                  <a:lnTo>
                    <a:pt x="79" y="7643"/>
                  </a:lnTo>
                  <a:lnTo>
                    <a:pt x="65" y="7805"/>
                  </a:lnTo>
                  <a:lnTo>
                    <a:pt x="54" y="7967"/>
                  </a:lnTo>
                  <a:lnTo>
                    <a:pt x="42" y="8130"/>
                  </a:lnTo>
                  <a:lnTo>
                    <a:pt x="31" y="8293"/>
                  </a:lnTo>
                  <a:lnTo>
                    <a:pt x="22" y="8456"/>
                  </a:lnTo>
                  <a:lnTo>
                    <a:pt x="14" y="8619"/>
                  </a:lnTo>
                  <a:lnTo>
                    <a:pt x="8" y="8782"/>
                  </a:lnTo>
                  <a:lnTo>
                    <a:pt x="3" y="8946"/>
                  </a:lnTo>
                  <a:lnTo>
                    <a:pt x="0" y="9109"/>
                  </a:lnTo>
                  <a:lnTo>
                    <a:pt x="0" y="9190"/>
                  </a:lnTo>
                  <a:lnTo>
                    <a:pt x="0" y="9273"/>
                  </a:lnTo>
                  <a:lnTo>
                    <a:pt x="1" y="9354"/>
                  </a:lnTo>
                  <a:lnTo>
                    <a:pt x="2" y="9437"/>
                  </a:lnTo>
                  <a:lnTo>
                    <a:pt x="3" y="9518"/>
                  </a:lnTo>
                  <a:lnTo>
                    <a:pt x="7" y="9599"/>
                  </a:lnTo>
                  <a:lnTo>
                    <a:pt x="10" y="9681"/>
                  </a:lnTo>
                  <a:lnTo>
                    <a:pt x="14" y="9763"/>
                  </a:lnTo>
                  <a:lnTo>
                    <a:pt x="21" y="9885"/>
                  </a:lnTo>
                  <a:lnTo>
                    <a:pt x="27" y="10006"/>
                  </a:lnTo>
                  <a:lnTo>
                    <a:pt x="34" y="10128"/>
                  </a:lnTo>
                  <a:lnTo>
                    <a:pt x="41" y="10249"/>
                  </a:lnTo>
                  <a:lnTo>
                    <a:pt x="47" y="10369"/>
                  </a:lnTo>
                  <a:lnTo>
                    <a:pt x="54" y="10490"/>
                  </a:lnTo>
                  <a:lnTo>
                    <a:pt x="61" y="10611"/>
                  </a:lnTo>
                  <a:lnTo>
                    <a:pt x="68" y="10731"/>
                  </a:lnTo>
                  <a:lnTo>
                    <a:pt x="74" y="10851"/>
                  </a:lnTo>
                  <a:lnTo>
                    <a:pt x="82" y="10971"/>
                  </a:lnTo>
                  <a:lnTo>
                    <a:pt x="90" y="11091"/>
                  </a:lnTo>
                  <a:lnTo>
                    <a:pt x="98" y="11213"/>
                  </a:lnTo>
                  <a:lnTo>
                    <a:pt x="108" y="11333"/>
                  </a:lnTo>
                  <a:lnTo>
                    <a:pt x="117" y="11454"/>
                  </a:lnTo>
                  <a:lnTo>
                    <a:pt x="127" y="11575"/>
                  </a:lnTo>
                  <a:lnTo>
                    <a:pt x="138" y="11697"/>
                  </a:lnTo>
                  <a:lnTo>
                    <a:pt x="149" y="11811"/>
                  </a:lnTo>
                  <a:lnTo>
                    <a:pt x="160" y="11926"/>
                  </a:lnTo>
                  <a:lnTo>
                    <a:pt x="172" y="12040"/>
                  </a:lnTo>
                  <a:lnTo>
                    <a:pt x="184" y="12154"/>
                  </a:lnTo>
                  <a:lnTo>
                    <a:pt x="197" y="12269"/>
                  </a:lnTo>
                  <a:lnTo>
                    <a:pt x="209" y="12383"/>
                  </a:lnTo>
                  <a:lnTo>
                    <a:pt x="223" y="12498"/>
                  </a:lnTo>
                  <a:lnTo>
                    <a:pt x="237" y="12611"/>
                  </a:lnTo>
                  <a:lnTo>
                    <a:pt x="252" y="12725"/>
                  </a:lnTo>
                  <a:lnTo>
                    <a:pt x="267" y="12839"/>
                  </a:lnTo>
                  <a:lnTo>
                    <a:pt x="281" y="12953"/>
                  </a:lnTo>
                  <a:lnTo>
                    <a:pt x="298" y="13066"/>
                  </a:lnTo>
                  <a:lnTo>
                    <a:pt x="314" y="13180"/>
                  </a:lnTo>
                  <a:lnTo>
                    <a:pt x="331" y="13293"/>
                  </a:lnTo>
                  <a:lnTo>
                    <a:pt x="349" y="13406"/>
                  </a:lnTo>
                  <a:lnTo>
                    <a:pt x="366" y="13519"/>
                  </a:lnTo>
                  <a:lnTo>
                    <a:pt x="398" y="13707"/>
                  </a:lnTo>
                  <a:lnTo>
                    <a:pt x="433" y="13905"/>
                  </a:lnTo>
                  <a:lnTo>
                    <a:pt x="470" y="14110"/>
                  </a:lnTo>
                  <a:lnTo>
                    <a:pt x="511" y="14322"/>
                  </a:lnTo>
                  <a:lnTo>
                    <a:pt x="555" y="14538"/>
                  </a:lnTo>
                  <a:lnTo>
                    <a:pt x="602" y="14757"/>
                  </a:lnTo>
                  <a:lnTo>
                    <a:pt x="650" y="14979"/>
                  </a:lnTo>
                  <a:lnTo>
                    <a:pt x="701" y="15200"/>
                  </a:lnTo>
                  <a:lnTo>
                    <a:pt x="729" y="15311"/>
                  </a:lnTo>
                  <a:lnTo>
                    <a:pt x="755" y="15420"/>
                  </a:lnTo>
                  <a:lnTo>
                    <a:pt x="784" y="15530"/>
                  </a:lnTo>
                  <a:lnTo>
                    <a:pt x="811" y="15639"/>
                  </a:lnTo>
                  <a:lnTo>
                    <a:pt x="840" y="15747"/>
                  </a:lnTo>
                  <a:lnTo>
                    <a:pt x="870" y="15854"/>
                  </a:lnTo>
                  <a:lnTo>
                    <a:pt x="899" y="15959"/>
                  </a:lnTo>
                  <a:lnTo>
                    <a:pt x="929" y="16064"/>
                  </a:lnTo>
                  <a:lnTo>
                    <a:pt x="960" y="16165"/>
                  </a:lnTo>
                  <a:lnTo>
                    <a:pt x="991" y="16266"/>
                  </a:lnTo>
                  <a:lnTo>
                    <a:pt x="1022" y="16365"/>
                  </a:lnTo>
                  <a:lnTo>
                    <a:pt x="1054" y="16461"/>
                  </a:lnTo>
                  <a:lnTo>
                    <a:pt x="1086" y="16556"/>
                  </a:lnTo>
                  <a:lnTo>
                    <a:pt x="1119" y="16646"/>
                  </a:lnTo>
                  <a:lnTo>
                    <a:pt x="1152" y="16735"/>
                  </a:lnTo>
                  <a:lnTo>
                    <a:pt x="1185" y="16821"/>
                  </a:lnTo>
                  <a:lnTo>
                    <a:pt x="1225" y="16920"/>
                  </a:lnTo>
                  <a:lnTo>
                    <a:pt x="1267" y="17017"/>
                  </a:lnTo>
                  <a:lnTo>
                    <a:pt x="1288" y="17064"/>
                  </a:lnTo>
                  <a:lnTo>
                    <a:pt x="1310" y="17111"/>
                  </a:lnTo>
                  <a:lnTo>
                    <a:pt x="1332" y="17156"/>
                  </a:lnTo>
                  <a:lnTo>
                    <a:pt x="1354" y="17202"/>
                  </a:lnTo>
                  <a:lnTo>
                    <a:pt x="1377" y="17247"/>
                  </a:lnTo>
                  <a:lnTo>
                    <a:pt x="1399" y="17290"/>
                  </a:lnTo>
                  <a:lnTo>
                    <a:pt x="1423" y="17334"/>
                  </a:lnTo>
                  <a:lnTo>
                    <a:pt x="1447" y="17376"/>
                  </a:lnTo>
                  <a:lnTo>
                    <a:pt x="1471" y="17417"/>
                  </a:lnTo>
                  <a:lnTo>
                    <a:pt x="1496" y="17459"/>
                  </a:lnTo>
                  <a:lnTo>
                    <a:pt x="1521" y="17499"/>
                  </a:lnTo>
                  <a:lnTo>
                    <a:pt x="1546" y="17538"/>
                  </a:lnTo>
                  <a:lnTo>
                    <a:pt x="1572" y="17576"/>
                  </a:lnTo>
                  <a:lnTo>
                    <a:pt x="1598" y="17614"/>
                  </a:lnTo>
                  <a:lnTo>
                    <a:pt x="1625" y="17651"/>
                  </a:lnTo>
                  <a:lnTo>
                    <a:pt x="1652" y="17687"/>
                  </a:lnTo>
                  <a:lnTo>
                    <a:pt x="1680" y="17722"/>
                  </a:lnTo>
                  <a:lnTo>
                    <a:pt x="1707" y="17756"/>
                  </a:lnTo>
                  <a:lnTo>
                    <a:pt x="1736" y="17789"/>
                  </a:lnTo>
                  <a:lnTo>
                    <a:pt x="1764" y="17822"/>
                  </a:lnTo>
                  <a:lnTo>
                    <a:pt x="1794" y="17853"/>
                  </a:lnTo>
                  <a:lnTo>
                    <a:pt x="1824" y="17884"/>
                  </a:lnTo>
                  <a:lnTo>
                    <a:pt x="1854" y="17914"/>
                  </a:lnTo>
                  <a:lnTo>
                    <a:pt x="1885" y="17943"/>
                  </a:lnTo>
                  <a:lnTo>
                    <a:pt x="1917" y="17970"/>
                  </a:lnTo>
                  <a:lnTo>
                    <a:pt x="1947" y="17998"/>
                  </a:lnTo>
                  <a:lnTo>
                    <a:pt x="1980" y="18023"/>
                  </a:lnTo>
                  <a:lnTo>
                    <a:pt x="2013" y="18048"/>
                  </a:lnTo>
                  <a:lnTo>
                    <a:pt x="2052" y="18075"/>
                  </a:lnTo>
                  <a:lnTo>
                    <a:pt x="2091" y="18102"/>
                  </a:lnTo>
                  <a:lnTo>
                    <a:pt x="2132" y="18127"/>
                  </a:lnTo>
                  <a:lnTo>
                    <a:pt x="2173" y="18151"/>
                  </a:lnTo>
                  <a:lnTo>
                    <a:pt x="2215" y="18174"/>
                  </a:lnTo>
                  <a:lnTo>
                    <a:pt x="2259" y="18194"/>
                  </a:lnTo>
                  <a:lnTo>
                    <a:pt x="2303" y="18214"/>
                  </a:lnTo>
                  <a:lnTo>
                    <a:pt x="2349" y="18232"/>
                  </a:lnTo>
                  <a:lnTo>
                    <a:pt x="2397" y="18249"/>
                  </a:lnTo>
                  <a:lnTo>
                    <a:pt x="2446" y="18264"/>
                  </a:lnTo>
                  <a:lnTo>
                    <a:pt x="2497" y="18277"/>
                  </a:lnTo>
                  <a:lnTo>
                    <a:pt x="2549" y="18287"/>
                  </a:lnTo>
                  <a:lnTo>
                    <a:pt x="2576" y="18292"/>
                  </a:lnTo>
                  <a:lnTo>
                    <a:pt x="2603" y="18296"/>
                  </a:lnTo>
                  <a:lnTo>
                    <a:pt x="2631" y="18300"/>
                  </a:lnTo>
                  <a:lnTo>
                    <a:pt x="2658" y="18303"/>
                  </a:lnTo>
                  <a:lnTo>
                    <a:pt x="2687" y="18305"/>
                  </a:lnTo>
                  <a:lnTo>
                    <a:pt x="2716" y="18308"/>
                  </a:lnTo>
                  <a:lnTo>
                    <a:pt x="2745" y="18309"/>
                  </a:lnTo>
                  <a:lnTo>
                    <a:pt x="2776" y="18309"/>
                  </a:lnTo>
                  <a:lnTo>
                    <a:pt x="2835" y="18310"/>
                  </a:lnTo>
                  <a:lnTo>
                    <a:pt x="2896" y="18310"/>
                  </a:lnTo>
                  <a:lnTo>
                    <a:pt x="2957" y="18309"/>
                  </a:lnTo>
                  <a:lnTo>
                    <a:pt x="3017" y="18308"/>
                  </a:lnTo>
                  <a:lnTo>
                    <a:pt x="3079" y="18305"/>
                  </a:lnTo>
                  <a:lnTo>
                    <a:pt x="3140" y="18303"/>
                  </a:lnTo>
                  <a:lnTo>
                    <a:pt x="3200" y="18300"/>
                  </a:lnTo>
                  <a:lnTo>
                    <a:pt x="3262" y="18296"/>
                  </a:lnTo>
                  <a:lnTo>
                    <a:pt x="3323" y="18292"/>
                  </a:lnTo>
                  <a:lnTo>
                    <a:pt x="3384" y="18287"/>
                  </a:lnTo>
                  <a:lnTo>
                    <a:pt x="3444" y="18283"/>
                  </a:lnTo>
                  <a:lnTo>
                    <a:pt x="3505" y="18277"/>
                  </a:lnTo>
                  <a:lnTo>
                    <a:pt x="3565" y="18271"/>
                  </a:lnTo>
                  <a:lnTo>
                    <a:pt x="3625" y="18264"/>
                  </a:lnTo>
                  <a:lnTo>
                    <a:pt x="3686" y="18257"/>
                  </a:lnTo>
                  <a:lnTo>
                    <a:pt x="3745" y="18250"/>
                  </a:lnTo>
                  <a:lnTo>
                    <a:pt x="3829" y="18240"/>
                  </a:lnTo>
                  <a:lnTo>
                    <a:pt x="3912" y="18230"/>
                  </a:lnTo>
                  <a:lnTo>
                    <a:pt x="3995" y="18218"/>
                  </a:lnTo>
                  <a:lnTo>
                    <a:pt x="4076" y="18206"/>
                  </a:lnTo>
                  <a:lnTo>
                    <a:pt x="4157" y="18192"/>
                  </a:lnTo>
                  <a:lnTo>
                    <a:pt x="4236" y="18178"/>
                  </a:lnTo>
                  <a:lnTo>
                    <a:pt x="4316" y="18165"/>
                  </a:lnTo>
                  <a:lnTo>
                    <a:pt x="4395" y="18150"/>
                  </a:lnTo>
                  <a:lnTo>
                    <a:pt x="4473" y="18134"/>
                  </a:lnTo>
                  <a:lnTo>
                    <a:pt x="4549" y="18118"/>
                  </a:lnTo>
                  <a:lnTo>
                    <a:pt x="4627" y="18101"/>
                  </a:lnTo>
                  <a:lnTo>
                    <a:pt x="4704" y="18083"/>
                  </a:lnTo>
                  <a:lnTo>
                    <a:pt x="4779" y="18066"/>
                  </a:lnTo>
                  <a:lnTo>
                    <a:pt x="4855" y="18048"/>
                  </a:lnTo>
                  <a:lnTo>
                    <a:pt x="4931" y="18028"/>
                  </a:lnTo>
                  <a:lnTo>
                    <a:pt x="5006" y="18009"/>
                  </a:lnTo>
                  <a:lnTo>
                    <a:pt x="5156" y="17969"/>
                  </a:lnTo>
                  <a:lnTo>
                    <a:pt x="5305" y="17927"/>
                  </a:lnTo>
                  <a:lnTo>
                    <a:pt x="5455" y="17882"/>
                  </a:lnTo>
                  <a:lnTo>
                    <a:pt x="5603" y="17836"/>
                  </a:lnTo>
                  <a:lnTo>
                    <a:pt x="5753" y="17789"/>
                  </a:lnTo>
                  <a:lnTo>
                    <a:pt x="5904" y="17741"/>
                  </a:lnTo>
                  <a:lnTo>
                    <a:pt x="6056" y="17691"/>
                  </a:lnTo>
                  <a:lnTo>
                    <a:pt x="6211" y="17639"/>
                  </a:lnTo>
                  <a:lnTo>
                    <a:pt x="6273" y="17619"/>
                  </a:lnTo>
                  <a:lnTo>
                    <a:pt x="6368" y="17586"/>
                  </a:lnTo>
                  <a:lnTo>
                    <a:pt x="6483" y="17544"/>
                  </a:lnTo>
                  <a:lnTo>
                    <a:pt x="6608" y="17501"/>
                  </a:lnTo>
                  <a:lnTo>
                    <a:pt x="6729" y="17456"/>
                  </a:lnTo>
                  <a:lnTo>
                    <a:pt x="6837" y="17415"/>
                  </a:lnTo>
                  <a:lnTo>
                    <a:pt x="6881" y="17398"/>
                  </a:lnTo>
                  <a:lnTo>
                    <a:pt x="6917" y="17382"/>
                  </a:lnTo>
                  <a:lnTo>
                    <a:pt x="6943" y="17369"/>
                  </a:lnTo>
                  <a:lnTo>
                    <a:pt x="6959" y="17361"/>
                  </a:lnTo>
                  <a:lnTo>
                    <a:pt x="6994" y="17351"/>
                  </a:lnTo>
                  <a:lnTo>
                    <a:pt x="7046" y="17333"/>
                  </a:lnTo>
                  <a:lnTo>
                    <a:pt x="7116" y="17308"/>
                  </a:lnTo>
                  <a:lnTo>
                    <a:pt x="7200" y="17277"/>
                  </a:lnTo>
                  <a:lnTo>
                    <a:pt x="7294" y="17240"/>
                  </a:lnTo>
                  <a:lnTo>
                    <a:pt x="7397" y="17200"/>
                  </a:lnTo>
                  <a:lnTo>
                    <a:pt x="7507" y="17156"/>
                  </a:lnTo>
                  <a:lnTo>
                    <a:pt x="7621" y="17112"/>
                  </a:lnTo>
                  <a:lnTo>
                    <a:pt x="7734" y="17066"/>
                  </a:lnTo>
                  <a:lnTo>
                    <a:pt x="7846" y="17021"/>
                  </a:lnTo>
                  <a:lnTo>
                    <a:pt x="7955" y="16977"/>
                  </a:lnTo>
                  <a:lnTo>
                    <a:pt x="8057" y="16937"/>
                  </a:lnTo>
                  <a:lnTo>
                    <a:pt x="8148" y="16899"/>
                  </a:lnTo>
                  <a:lnTo>
                    <a:pt x="8228" y="16867"/>
                  </a:lnTo>
                  <a:lnTo>
                    <a:pt x="8295" y="16841"/>
                  </a:lnTo>
                  <a:lnTo>
                    <a:pt x="8344" y="16821"/>
                  </a:lnTo>
                  <a:lnTo>
                    <a:pt x="8396" y="16799"/>
                  </a:lnTo>
                  <a:lnTo>
                    <a:pt x="8454" y="16778"/>
                  </a:lnTo>
                  <a:lnTo>
                    <a:pt x="8513" y="16755"/>
                  </a:lnTo>
                  <a:lnTo>
                    <a:pt x="8574" y="16731"/>
                  </a:lnTo>
                  <a:lnTo>
                    <a:pt x="8633" y="16707"/>
                  </a:lnTo>
                  <a:lnTo>
                    <a:pt x="8690" y="16682"/>
                  </a:lnTo>
                  <a:lnTo>
                    <a:pt x="8744" y="16658"/>
                  </a:lnTo>
                  <a:lnTo>
                    <a:pt x="8792" y="16633"/>
                  </a:lnTo>
                  <a:lnTo>
                    <a:pt x="8829" y="16621"/>
                  </a:lnTo>
                  <a:lnTo>
                    <a:pt x="8872" y="16605"/>
                  </a:lnTo>
                  <a:lnTo>
                    <a:pt x="8918" y="16587"/>
                  </a:lnTo>
                  <a:lnTo>
                    <a:pt x="8965" y="16565"/>
                  </a:lnTo>
                  <a:lnTo>
                    <a:pt x="9013" y="16543"/>
                  </a:lnTo>
                  <a:lnTo>
                    <a:pt x="9059" y="16522"/>
                  </a:lnTo>
                  <a:lnTo>
                    <a:pt x="9100" y="16502"/>
                  </a:lnTo>
                  <a:lnTo>
                    <a:pt x="9137" y="16485"/>
                  </a:lnTo>
                  <a:lnTo>
                    <a:pt x="9178" y="16465"/>
                  </a:lnTo>
                  <a:lnTo>
                    <a:pt x="9220" y="16447"/>
                  </a:lnTo>
                  <a:lnTo>
                    <a:pt x="9263" y="16429"/>
                  </a:lnTo>
                  <a:lnTo>
                    <a:pt x="9304" y="16409"/>
                  </a:lnTo>
                  <a:lnTo>
                    <a:pt x="9346" y="16391"/>
                  </a:lnTo>
                  <a:lnTo>
                    <a:pt x="9388" y="16371"/>
                  </a:lnTo>
                  <a:lnTo>
                    <a:pt x="9430" y="16352"/>
                  </a:lnTo>
                  <a:lnTo>
                    <a:pt x="9471" y="16331"/>
                  </a:lnTo>
                  <a:lnTo>
                    <a:pt x="9550" y="16292"/>
                  </a:lnTo>
                  <a:lnTo>
                    <a:pt x="9633" y="16254"/>
                  </a:lnTo>
                  <a:lnTo>
                    <a:pt x="9720" y="16214"/>
                  </a:lnTo>
                  <a:lnTo>
                    <a:pt x="9807" y="16173"/>
                  </a:lnTo>
                  <a:lnTo>
                    <a:pt x="9894" y="16132"/>
                  </a:lnTo>
                  <a:lnTo>
                    <a:pt x="9978" y="16091"/>
                  </a:lnTo>
                  <a:lnTo>
                    <a:pt x="10018" y="16069"/>
                  </a:lnTo>
                  <a:lnTo>
                    <a:pt x="10057" y="16048"/>
                  </a:lnTo>
                  <a:lnTo>
                    <a:pt x="10093" y="16026"/>
                  </a:lnTo>
                  <a:lnTo>
                    <a:pt x="10129" y="16004"/>
                  </a:lnTo>
                  <a:lnTo>
                    <a:pt x="10153" y="15994"/>
                  </a:lnTo>
                  <a:lnTo>
                    <a:pt x="10184" y="15979"/>
                  </a:lnTo>
                  <a:lnTo>
                    <a:pt x="10220" y="15962"/>
                  </a:lnTo>
                  <a:lnTo>
                    <a:pt x="10263" y="15939"/>
                  </a:lnTo>
                  <a:lnTo>
                    <a:pt x="10363" y="15886"/>
                  </a:lnTo>
                  <a:lnTo>
                    <a:pt x="10482" y="15821"/>
                  </a:lnTo>
                  <a:lnTo>
                    <a:pt x="10614" y="15748"/>
                  </a:lnTo>
                  <a:lnTo>
                    <a:pt x="10756" y="15669"/>
                  </a:lnTo>
                  <a:lnTo>
                    <a:pt x="10903" y="15584"/>
                  </a:lnTo>
                  <a:lnTo>
                    <a:pt x="11053" y="15498"/>
                  </a:lnTo>
                  <a:lnTo>
                    <a:pt x="11202" y="15411"/>
                  </a:lnTo>
                  <a:lnTo>
                    <a:pt x="11344" y="15328"/>
                  </a:lnTo>
                  <a:lnTo>
                    <a:pt x="11477" y="15249"/>
                  </a:lnTo>
                  <a:lnTo>
                    <a:pt x="11597" y="15176"/>
                  </a:lnTo>
                  <a:lnTo>
                    <a:pt x="11700" y="15111"/>
                  </a:lnTo>
                  <a:lnTo>
                    <a:pt x="11781" y="15060"/>
                  </a:lnTo>
                  <a:lnTo>
                    <a:pt x="11813" y="15038"/>
                  </a:lnTo>
                  <a:lnTo>
                    <a:pt x="11838" y="15021"/>
                  </a:lnTo>
                  <a:lnTo>
                    <a:pt x="11857" y="15007"/>
                  </a:lnTo>
                  <a:lnTo>
                    <a:pt x="11867" y="14997"/>
                  </a:lnTo>
                  <a:lnTo>
                    <a:pt x="11879" y="14991"/>
                  </a:lnTo>
                  <a:lnTo>
                    <a:pt x="11898" y="14982"/>
                  </a:lnTo>
                  <a:lnTo>
                    <a:pt x="11919" y="14970"/>
                  </a:lnTo>
                  <a:lnTo>
                    <a:pt x="11947" y="14954"/>
                  </a:lnTo>
                  <a:lnTo>
                    <a:pt x="12012" y="14913"/>
                  </a:lnTo>
                  <a:lnTo>
                    <a:pt x="12090" y="14864"/>
                  </a:lnTo>
                  <a:lnTo>
                    <a:pt x="12179" y="14806"/>
                  </a:lnTo>
                  <a:lnTo>
                    <a:pt x="12276" y="14741"/>
                  </a:lnTo>
                  <a:lnTo>
                    <a:pt x="12379" y="14672"/>
                  </a:lnTo>
                  <a:lnTo>
                    <a:pt x="12485" y="14600"/>
                  </a:lnTo>
                  <a:lnTo>
                    <a:pt x="12590" y="14528"/>
                  </a:lnTo>
                  <a:lnTo>
                    <a:pt x="12694" y="14457"/>
                  </a:lnTo>
                  <a:lnTo>
                    <a:pt x="12791" y="14388"/>
                  </a:lnTo>
                  <a:lnTo>
                    <a:pt x="12883" y="14324"/>
                  </a:lnTo>
                  <a:lnTo>
                    <a:pt x="12963" y="14267"/>
                  </a:lnTo>
                  <a:lnTo>
                    <a:pt x="13031" y="14218"/>
                  </a:lnTo>
                  <a:lnTo>
                    <a:pt x="13083" y="14179"/>
                  </a:lnTo>
                  <a:lnTo>
                    <a:pt x="13116" y="14152"/>
                  </a:lnTo>
                  <a:lnTo>
                    <a:pt x="13131" y="14143"/>
                  </a:lnTo>
                  <a:lnTo>
                    <a:pt x="13152" y="14131"/>
                  </a:lnTo>
                  <a:lnTo>
                    <a:pt x="13179" y="14112"/>
                  </a:lnTo>
                  <a:lnTo>
                    <a:pt x="13212" y="14088"/>
                  </a:lnTo>
                  <a:lnTo>
                    <a:pt x="13294" y="14030"/>
                  </a:lnTo>
                  <a:lnTo>
                    <a:pt x="13392" y="13958"/>
                  </a:lnTo>
                  <a:lnTo>
                    <a:pt x="13505" y="13873"/>
                  </a:lnTo>
                  <a:lnTo>
                    <a:pt x="13628" y="13779"/>
                  </a:lnTo>
                  <a:lnTo>
                    <a:pt x="13758" y="13680"/>
                  </a:lnTo>
                  <a:lnTo>
                    <a:pt x="13891" y="13578"/>
                  </a:lnTo>
                  <a:lnTo>
                    <a:pt x="14024" y="13475"/>
                  </a:lnTo>
                  <a:lnTo>
                    <a:pt x="14153" y="13374"/>
                  </a:lnTo>
                  <a:lnTo>
                    <a:pt x="14274" y="13278"/>
                  </a:lnTo>
                  <a:lnTo>
                    <a:pt x="14385" y="13190"/>
                  </a:lnTo>
                  <a:lnTo>
                    <a:pt x="14481" y="13112"/>
                  </a:lnTo>
                  <a:lnTo>
                    <a:pt x="14559" y="13048"/>
                  </a:lnTo>
                  <a:lnTo>
                    <a:pt x="14590" y="13022"/>
                  </a:lnTo>
                  <a:lnTo>
                    <a:pt x="14615" y="13000"/>
                  </a:lnTo>
                  <a:lnTo>
                    <a:pt x="14634" y="12982"/>
                  </a:lnTo>
                  <a:lnTo>
                    <a:pt x="14645" y="12970"/>
                  </a:lnTo>
                  <a:lnTo>
                    <a:pt x="14658" y="12963"/>
                  </a:lnTo>
                  <a:lnTo>
                    <a:pt x="14673" y="12954"/>
                  </a:lnTo>
                  <a:lnTo>
                    <a:pt x="14690" y="12942"/>
                  </a:lnTo>
                  <a:lnTo>
                    <a:pt x="14708" y="12928"/>
                  </a:lnTo>
                  <a:lnTo>
                    <a:pt x="14751" y="12895"/>
                  </a:lnTo>
                  <a:lnTo>
                    <a:pt x="14802" y="12854"/>
                  </a:lnTo>
                  <a:lnTo>
                    <a:pt x="14857" y="12807"/>
                  </a:lnTo>
                  <a:lnTo>
                    <a:pt x="14917" y="12756"/>
                  </a:lnTo>
                  <a:lnTo>
                    <a:pt x="14979" y="12701"/>
                  </a:lnTo>
                  <a:lnTo>
                    <a:pt x="15044" y="12645"/>
                  </a:lnTo>
                  <a:lnTo>
                    <a:pt x="15110" y="12587"/>
                  </a:lnTo>
                  <a:lnTo>
                    <a:pt x="15175" y="12530"/>
                  </a:lnTo>
                  <a:lnTo>
                    <a:pt x="15238" y="12475"/>
                  </a:lnTo>
                  <a:lnTo>
                    <a:pt x="15298" y="12421"/>
                  </a:lnTo>
                  <a:lnTo>
                    <a:pt x="15354" y="12372"/>
                  </a:lnTo>
                  <a:lnTo>
                    <a:pt x="15405" y="12328"/>
                  </a:lnTo>
                  <a:lnTo>
                    <a:pt x="15451" y="12291"/>
                  </a:lnTo>
                  <a:lnTo>
                    <a:pt x="15487" y="12261"/>
                  </a:lnTo>
                  <a:lnTo>
                    <a:pt x="15508" y="12245"/>
                  </a:lnTo>
                  <a:lnTo>
                    <a:pt x="15520" y="12233"/>
                  </a:lnTo>
                  <a:lnTo>
                    <a:pt x="15534" y="12220"/>
                  </a:lnTo>
                  <a:lnTo>
                    <a:pt x="15555" y="12200"/>
                  </a:lnTo>
                  <a:lnTo>
                    <a:pt x="15765" y="12013"/>
                  </a:lnTo>
                  <a:lnTo>
                    <a:pt x="15798" y="11979"/>
                  </a:lnTo>
                  <a:lnTo>
                    <a:pt x="15830" y="11947"/>
                  </a:lnTo>
                  <a:lnTo>
                    <a:pt x="15863" y="11915"/>
                  </a:lnTo>
                  <a:lnTo>
                    <a:pt x="15895" y="11884"/>
                  </a:lnTo>
                  <a:lnTo>
                    <a:pt x="15927" y="11853"/>
                  </a:lnTo>
                  <a:lnTo>
                    <a:pt x="15959" y="11823"/>
                  </a:lnTo>
                  <a:lnTo>
                    <a:pt x="15992" y="11790"/>
                  </a:lnTo>
                  <a:lnTo>
                    <a:pt x="16025" y="11758"/>
                  </a:lnTo>
                  <a:lnTo>
                    <a:pt x="16052" y="11733"/>
                  </a:lnTo>
                  <a:lnTo>
                    <a:pt x="16089" y="11696"/>
                  </a:lnTo>
                  <a:lnTo>
                    <a:pt x="16136" y="11649"/>
                  </a:lnTo>
                  <a:lnTo>
                    <a:pt x="16190" y="11595"/>
                  </a:lnTo>
                  <a:lnTo>
                    <a:pt x="16248" y="11535"/>
                  </a:lnTo>
                  <a:lnTo>
                    <a:pt x="16311" y="11470"/>
                  </a:lnTo>
                  <a:lnTo>
                    <a:pt x="16377" y="11403"/>
                  </a:lnTo>
                  <a:lnTo>
                    <a:pt x="16443" y="11335"/>
                  </a:lnTo>
                  <a:lnTo>
                    <a:pt x="16508" y="11268"/>
                  </a:lnTo>
                  <a:lnTo>
                    <a:pt x="16571" y="11202"/>
                  </a:lnTo>
                  <a:lnTo>
                    <a:pt x="16629" y="11140"/>
                  </a:lnTo>
                  <a:lnTo>
                    <a:pt x="16681" y="11084"/>
                  </a:lnTo>
                  <a:lnTo>
                    <a:pt x="16726" y="11036"/>
                  </a:lnTo>
                  <a:lnTo>
                    <a:pt x="16761" y="10997"/>
                  </a:lnTo>
                  <a:lnTo>
                    <a:pt x="16786" y="10969"/>
                  </a:lnTo>
                  <a:lnTo>
                    <a:pt x="16797" y="10953"/>
                  </a:lnTo>
                  <a:lnTo>
                    <a:pt x="16818" y="10935"/>
                  </a:lnTo>
                  <a:lnTo>
                    <a:pt x="16837" y="10915"/>
                  </a:lnTo>
                  <a:lnTo>
                    <a:pt x="16856" y="10896"/>
                  </a:lnTo>
                  <a:lnTo>
                    <a:pt x="16874" y="10875"/>
                  </a:lnTo>
                  <a:lnTo>
                    <a:pt x="16908" y="10833"/>
                  </a:lnTo>
                  <a:lnTo>
                    <a:pt x="16943" y="10789"/>
                  </a:lnTo>
                  <a:lnTo>
                    <a:pt x="17006" y="10707"/>
                  </a:lnTo>
                  <a:lnTo>
                    <a:pt x="17067" y="10626"/>
                  </a:lnTo>
                  <a:lnTo>
                    <a:pt x="17128" y="10543"/>
                  </a:lnTo>
                  <a:lnTo>
                    <a:pt x="17185" y="10462"/>
                  </a:lnTo>
                  <a:lnTo>
                    <a:pt x="17214" y="10421"/>
                  </a:lnTo>
                  <a:lnTo>
                    <a:pt x="17241" y="10379"/>
                  </a:lnTo>
                  <a:lnTo>
                    <a:pt x="17269" y="10337"/>
                  </a:lnTo>
                  <a:lnTo>
                    <a:pt x="17295" y="10296"/>
                  </a:lnTo>
                  <a:lnTo>
                    <a:pt x="17321" y="10254"/>
                  </a:lnTo>
                  <a:lnTo>
                    <a:pt x="17347" y="10211"/>
                  </a:lnTo>
                  <a:lnTo>
                    <a:pt x="17372" y="10169"/>
                  </a:lnTo>
                  <a:lnTo>
                    <a:pt x="17396" y="10125"/>
                  </a:lnTo>
                  <a:lnTo>
                    <a:pt x="17419" y="10081"/>
                  </a:lnTo>
                  <a:lnTo>
                    <a:pt x="17442" y="10037"/>
                  </a:lnTo>
                  <a:lnTo>
                    <a:pt x="17463" y="9992"/>
                  </a:lnTo>
                  <a:lnTo>
                    <a:pt x="17485" y="9946"/>
                  </a:lnTo>
                  <a:lnTo>
                    <a:pt x="17505" y="9900"/>
                  </a:lnTo>
                  <a:lnTo>
                    <a:pt x="17524" y="9853"/>
                  </a:lnTo>
                  <a:lnTo>
                    <a:pt x="17543" y="9805"/>
                  </a:lnTo>
                  <a:lnTo>
                    <a:pt x="17561" y="9757"/>
                  </a:lnTo>
                  <a:lnTo>
                    <a:pt x="17578" y="9708"/>
                  </a:lnTo>
                  <a:lnTo>
                    <a:pt x="17594" y="9657"/>
                  </a:lnTo>
                  <a:lnTo>
                    <a:pt x="17609" y="9606"/>
                  </a:lnTo>
                  <a:lnTo>
                    <a:pt x="17622" y="9553"/>
                  </a:lnTo>
                  <a:lnTo>
                    <a:pt x="17636" y="9501"/>
                  </a:lnTo>
                  <a:lnTo>
                    <a:pt x="17648" y="9446"/>
                  </a:lnTo>
                  <a:lnTo>
                    <a:pt x="17659" y="9391"/>
                  </a:lnTo>
                  <a:lnTo>
                    <a:pt x="17669" y="9334"/>
                  </a:lnTo>
                  <a:lnTo>
                    <a:pt x="17673" y="9309"/>
                  </a:lnTo>
                  <a:lnTo>
                    <a:pt x="17675" y="9283"/>
                  </a:lnTo>
                  <a:lnTo>
                    <a:pt x="17675" y="9255"/>
                  </a:lnTo>
                  <a:lnTo>
                    <a:pt x="17674" y="9226"/>
                  </a:lnTo>
                  <a:lnTo>
                    <a:pt x="17672" y="9196"/>
                  </a:lnTo>
                  <a:lnTo>
                    <a:pt x="17669" y="9165"/>
                  </a:lnTo>
                  <a:lnTo>
                    <a:pt x="17665" y="9133"/>
                  </a:lnTo>
                  <a:lnTo>
                    <a:pt x="17659" y="9101"/>
                  </a:lnTo>
                  <a:lnTo>
                    <a:pt x="17653" y="9068"/>
                  </a:lnTo>
                  <a:lnTo>
                    <a:pt x="17645" y="9034"/>
                  </a:lnTo>
                  <a:lnTo>
                    <a:pt x="17637" y="8999"/>
                  </a:lnTo>
                  <a:lnTo>
                    <a:pt x="17629" y="8965"/>
                  </a:lnTo>
                  <a:lnTo>
                    <a:pt x="17609" y="8895"/>
                  </a:lnTo>
                  <a:lnTo>
                    <a:pt x="17587" y="8825"/>
                  </a:lnTo>
                  <a:lnTo>
                    <a:pt x="17563" y="8757"/>
                  </a:lnTo>
                  <a:lnTo>
                    <a:pt x="17539" y="8689"/>
                  </a:lnTo>
                  <a:lnTo>
                    <a:pt x="17513" y="8624"/>
                  </a:lnTo>
                  <a:lnTo>
                    <a:pt x="17487" y="8563"/>
                  </a:lnTo>
                  <a:lnTo>
                    <a:pt x="17462" y="8506"/>
                  </a:lnTo>
                  <a:lnTo>
                    <a:pt x="17437" y="8455"/>
                  </a:lnTo>
                  <a:lnTo>
                    <a:pt x="17415" y="8408"/>
                  </a:lnTo>
                  <a:lnTo>
                    <a:pt x="17394" y="8369"/>
                  </a:lnTo>
                  <a:lnTo>
                    <a:pt x="17360" y="8310"/>
                  </a:lnTo>
                  <a:lnTo>
                    <a:pt x="17328" y="8254"/>
                  </a:lnTo>
                  <a:lnTo>
                    <a:pt x="17297" y="8203"/>
                  </a:lnTo>
                  <a:lnTo>
                    <a:pt x="17268" y="8155"/>
                  </a:lnTo>
                  <a:lnTo>
                    <a:pt x="17239" y="8109"/>
                  </a:lnTo>
                  <a:lnTo>
                    <a:pt x="17210" y="8066"/>
                  </a:lnTo>
                  <a:lnTo>
                    <a:pt x="17182" y="8023"/>
                  </a:lnTo>
                  <a:lnTo>
                    <a:pt x="17153" y="7981"/>
                  </a:lnTo>
                  <a:lnTo>
                    <a:pt x="17123" y="7941"/>
                  </a:lnTo>
                  <a:lnTo>
                    <a:pt x="17093" y="7900"/>
                  </a:lnTo>
                  <a:lnTo>
                    <a:pt x="17062" y="7858"/>
                  </a:lnTo>
                  <a:lnTo>
                    <a:pt x="17029" y="7816"/>
                  </a:lnTo>
                  <a:lnTo>
                    <a:pt x="16958" y="7727"/>
                  </a:lnTo>
                  <a:lnTo>
                    <a:pt x="16877" y="7627"/>
                  </a:lnTo>
                  <a:lnTo>
                    <a:pt x="16843" y="7585"/>
                  </a:lnTo>
                  <a:lnTo>
                    <a:pt x="16805" y="7540"/>
                  </a:lnTo>
                  <a:lnTo>
                    <a:pt x="16766" y="7493"/>
                  </a:lnTo>
                  <a:lnTo>
                    <a:pt x="16725" y="7446"/>
                  </a:lnTo>
                  <a:lnTo>
                    <a:pt x="16641" y="7350"/>
                  </a:lnTo>
                  <a:lnTo>
                    <a:pt x="16551" y="7253"/>
                  </a:lnTo>
                  <a:lnTo>
                    <a:pt x="16462" y="7157"/>
                  </a:lnTo>
                  <a:lnTo>
                    <a:pt x="16373" y="7065"/>
                  </a:lnTo>
                  <a:lnTo>
                    <a:pt x="16287" y="6978"/>
                  </a:lnTo>
                  <a:lnTo>
                    <a:pt x="16207" y="6899"/>
                  </a:lnTo>
                  <a:lnTo>
                    <a:pt x="16179" y="6872"/>
                  </a:lnTo>
                  <a:lnTo>
                    <a:pt x="16153" y="6842"/>
                  </a:lnTo>
                  <a:lnTo>
                    <a:pt x="16127" y="6811"/>
                  </a:lnTo>
                  <a:lnTo>
                    <a:pt x="16099" y="6779"/>
                  </a:lnTo>
                  <a:lnTo>
                    <a:pt x="16071" y="6747"/>
                  </a:lnTo>
                  <a:lnTo>
                    <a:pt x="16042" y="6715"/>
                  </a:lnTo>
                  <a:lnTo>
                    <a:pt x="16011" y="6683"/>
                  </a:lnTo>
                  <a:lnTo>
                    <a:pt x="15979" y="6652"/>
                  </a:lnTo>
                  <a:lnTo>
                    <a:pt x="14313" y="5186"/>
                  </a:lnTo>
                  <a:lnTo>
                    <a:pt x="14230" y="5121"/>
                  </a:lnTo>
                  <a:lnTo>
                    <a:pt x="14144" y="5052"/>
                  </a:lnTo>
                  <a:lnTo>
                    <a:pt x="14058" y="4981"/>
                  </a:lnTo>
                  <a:lnTo>
                    <a:pt x="13972" y="4911"/>
                  </a:lnTo>
                  <a:lnTo>
                    <a:pt x="13885" y="4840"/>
                  </a:lnTo>
                  <a:lnTo>
                    <a:pt x="13797" y="4769"/>
                  </a:lnTo>
                  <a:lnTo>
                    <a:pt x="13709" y="4700"/>
                  </a:lnTo>
                  <a:lnTo>
                    <a:pt x="13622" y="4634"/>
                  </a:lnTo>
                  <a:lnTo>
                    <a:pt x="13528" y="4565"/>
                  </a:lnTo>
                  <a:lnTo>
                    <a:pt x="13437" y="4496"/>
                  </a:lnTo>
                  <a:lnTo>
                    <a:pt x="13348" y="4430"/>
                  </a:lnTo>
                  <a:lnTo>
                    <a:pt x="13259" y="4364"/>
                  </a:lnTo>
                  <a:lnTo>
                    <a:pt x="13172" y="4299"/>
                  </a:lnTo>
                  <a:lnTo>
                    <a:pt x="13085" y="4234"/>
                  </a:lnTo>
                  <a:lnTo>
                    <a:pt x="12999" y="4170"/>
                  </a:lnTo>
                  <a:lnTo>
                    <a:pt x="12913" y="4107"/>
                  </a:lnTo>
                  <a:lnTo>
                    <a:pt x="12826" y="4043"/>
                  </a:lnTo>
                  <a:lnTo>
                    <a:pt x="12738" y="3980"/>
                  </a:lnTo>
                  <a:lnTo>
                    <a:pt x="12650" y="3916"/>
                  </a:lnTo>
                  <a:lnTo>
                    <a:pt x="12559" y="3852"/>
                  </a:lnTo>
                  <a:lnTo>
                    <a:pt x="12468" y="3787"/>
                  </a:lnTo>
                  <a:lnTo>
                    <a:pt x="12373" y="3722"/>
                  </a:lnTo>
                  <a:lnTo>
                    <a:pt x="12276" y="3655"/>
                  </a:lnTo>
                  <a:lnTo>
                    <a:pt x="12177" y="3589"/>
                  </a:lnTo>
                  <a:lnTo>
                    <a:pt x="12083" y="3525"/>
                  </a:lnTo>
                  <a:lnTo>
                    <a:pt x="11988" y="3463"/>
                  </a:lnTo>
                  <a:lnTo>
                    <a:pt x="11893" y="3402"/>
                  </a:lnTo>
                  <a:lnTo>
                    <a:pt x="11798" y="3340"/>
                  </a:lnTo>
                  <a:lnTo>
                    <a:pt x="11702" y="3280"/>
                  </a:lnTo>
                  <a:lnTo>
                    <a:pt x="11606" y="3219"/>
                  </a:lnTo>
                  <a:lnTo>
                    <a:pt x="11509" y="3158"/>
                  </a:lnTo>
                  <a:lnTo>
                    <a:pt x="11411" y="3097"/>
                  </a:lnTo>
                  <a:lnTo>
                    <a:pt x="11318" y="3037"/>
                  </a:lnTo>
                  <a:lnTo>
                    <a:pt x="11222" y="2979"/>
                  </a:lnTo>
                  <a:lnTo>
                    <a:pt x="11125" y="2920"/>
                  </a:lnTo>
                  <a:lnTo>
                    <a:pt x="11028" y="2863"/>
                  </a:lnTo>
                  <a:lnTo>
                    <a:pt x="10930" y="2806"/>
                  </a:lnTo>
                  <a:lnTo>
                    <a:pt x="10831" y="2749"/>
                  </a:lnTo>
                  <a:lnTo>
                    <a:pt x="10732" y="2692"/>
                  </a:lnTo>
                  <a:lnTo>
                    <a:pt x="10631" y="2635"/>
                  </a:lnTo>
                  <a:lnTo>
                    <a:pt x="10529" y="2579"/>
                  </a:lnTo>
                  <a:lnTo>
                    <a:pt x="10427" y="2523"/>
                  </a:lnTo>
                  <a:lnTo>
                    <a:pt x="10326" y="2468"/>
                  </a:lnTo>
                  <a:lnTo>
                    <a:pt x="10223" y="2413"/>
                  </a:lnTo>
                  <a:lnTo>
                    <a:pt x="10120" y="2359"/>
                  </a:lnTo>
                  <a:lnTo>
                    <a:pt x="10015" y="2305"/>
                  </a:lnTo>
                  <a:lnTo>
                    <a:pt x="9911" y="2251"/>
                  </a:lnTo>
                  <a:lnTo>
                    <a:pt x="9807" y="2198"/>
                  </a:lnTo>
                  <a:lnTo>
                    <a:pt x="9735" y="2162"/>
                  </a:lnTo>
                  <a:lnTo>
                    <a:pt x="9660" y="2124"/>
                  </a:lnTo>
                  <a:lnTo>
                    <a:pt x="9583" y="2086"/>
                  </a:lnTo>
                  <a:lnTo>
                    <a:pt x="9504" y="2047"/>
                  </a:lnTo>
                  <a:lnTo>
                    <a:pt x="9423" y="2010"/>
                  </a:lnTo>
                  <a:lnTo>
                    <a:pt x="9340" y="1971"/>
                  </a:lnTo>
                  <a:lnTo>
                    <a:pt x="9258" y="1932"/>
                  </a:lnTo>
                  <a:lnTo>
                    <a:pt x="9174" y="1893"/>
                  </a:lnTo>
                  <a:lnTo>
                    <a:pt x="9091" y="1855"/>
                  </a:lnTo>
                  <a:lnTo>
                    <a:pt x="9006" y="1816"/>
                  </a:lnTo>
                  <a:lnTo>
                    <a:pt x="8923" y="1780"/>
                  </a:lnTo>
                  <a:lnTo>
                    <a:pt x="8840" y="1743"/>
                  </a:lnTo>
                  <a:lnTo>
                    <a:pt x="8759" y="1707"/>
                  </a:lnTo>
                  <a:lnTo>
                    <a:pt x="8679" y="1673"/>
                  </a:lnTo>
                  <a:lnTo>
                    <a:pt x="8600" y="1640"/>
                  </a:lnTo>
                  <a:lnTo>
                    <a:pt x="8523" y="1608"/>
                  </a:lnTo>
                  <a:lnTo>
                    <a:pt x="8472" y="1587"/>
                  </a:lnTo>
                  <a:lnTo>
                    <a:pt x="8417" y="1562"/>
                  </a:lnTo>
                  <a:lnTo>
                    <a:pt x="8360" y="1537"/>
                  </a:lnTo>
                  <a:lnTo>
                    <a:pt x="8300" y="1511"/>
                  </a:lnTo>
                  <a:lnTo>
                    <a:pt x="8242" y="1485"/>
                  </a:lnTo>
                  <a:lnTo>
                    <a:pt x="8184" y="1461"/>
                  </a:lnTo>
                  <a:lnTo>
                    <a:pt x="8156" y="1451"/>
                  </a:lnTo>
                  <a:lnTo>
                    <a:pt x="8129" y="1442"/>
                  </a:lnTo>
                  <a:lnTo>
                    <a:pt x="8102" y="1433"/>
                  </a:lnTo>
                  <a:lnTo>
                    <a:pt x="8078" y="1426"/>
                  </a:lnTo>
                  <a:close/>
                </a:path>
              </a:pathLst>
            </a:custGeom>
            <a:solidFill>
              <a:schemeClr val="bg1">
                <a:lumMod val="85000"/>
                <a:alpha val="98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11" name="Freeform 5">
              <a:extLst>
                <a:ext uri="{FF2B5EF4-FFF2-40B4-BE49-F238E27FC236}">
                  <a16:creationId xmlns:a16="http://schemas.microsoft.com/office/drawing/2014/main" id="{EDE705DF-59A6-403F-B8E8-698583AAE5B6}"/>
                </a:ext>
              </a:extLst>
            </p:cNvPr>
            <p:cNvSpPr>
              <a:spLocks/>
            </p:cNvSpPr>
            <p:nvPr/>
          </p:nvSpPr>
          <p:spPr bwMode="auto">
            <a:xfrm>
              <a:off x="1598543" y="3421099"/>
              <a:ext cx="263057" cy="272508"/>
            </a:xfrm>
            <a:custGeom>
              <a:avLst/>
              <a:gdLst>
                <a:gd name="T0" fmla="*/ 7371 w 17675"/>
                <a:gd name="T1" fmla="*/ 1125 h 18310"/>
                <a:gd name="T2" fmla="*/ 5959 w 17675"/>
                <a:gd name="T3" fmla="*/ 593 h 18310"/>
                <a:gd name="T4" fmla="*/ 4735 w 17675"/>
                <a:gd name="T5" fmla="*/ 240 h 18310"/>
                <a:gd name="T6" fmla="*/ 3627 w 17675"/>
                <a:gd name="T7" fmla="*/ 54 h 18310"/>
                <a:gd name="T8" fmla="*/ 2806 w 17675"/>
                <a:gd name="T9" fmla="*/ 7 h 18310"/>
                <a:gd name="T10" fmla="*/ 2454 w 17675"/>
                <a:gd name="T11" fmla="*/ 85 h 18310"/>
                <a:gd name="T12" fmla="*/ 2132 w 17675"/>
                <a:gd name="T13" fmla="*/ 262 h 18310"/>
                <a:gd name="T14" fmla="*/ 1838 w 17675"/>
                <a:gd name="T15" fmla="*/ 533 h 18310"/>
                <a:gd name="T16" fmla="*/ 1454 w 17675"/>
                <a:gd name="T17" fmla="*/ 1111 h 18310"/>
                <a:gd name="T18" fmla="*/ 1261 w 17675"/>
                <a:gd name="T19" fmla="*/ 1545 h 18310"/>
                <a:gd name="T20" fmla="*/ 1008 w 17675"/>
                <a:gd name="T21" fmla="*/ 2315 h 18310"/>
                <a:gd name="T22" fmla="*/ 836 w 17675"/>
                <a:gd name="T23" fmla="*/ 2906 h 18310"/>
                <a:gd name="T24" fmla="*/ 683 w 17675"/>
                <a:gd name="T25" fmla="*/ 3519 h 18310"/>
                <a:gd name="T26" fmla="*/ 506 w 17675"/>
                <a:gd name="T27" fmla="*/ 4330 h 18310"/>
                <a:gd name="T28" fmla="*/ 356 w 17675"/>
                <a:gd name="T29" fmla="*/ 5177 h 18310"/>
                <a:gd name="T30" fmla="*/ 199 w 17675"/>
                <a:gd name="T31" fmla="*/ 6352 h 18310"/>
                <a:gd name="T32" fmla="*/ 65 w 17675"/>
                <a:gd name="T33" fmla="*/ 7805 h 18310"/>
                <a:gd name="T34" fmla="*/ 1 w 17675"/>
                <a:gd name="T35" fmla="*/ 9354 h 18310"/>
                <a:gd name="T36" fmla="*/ 54 w 17675"/>
                <a:gd name="T37" fmla="*/ 10490 h 18310"/>
                <a:gd name="T38" fmla="*/ 149 w 17675"/>
                <a:gd name="T39" fmla="*/ 11811 h 18310"/>
                <a:gd name="T40" fmla="*/ 298 w 17675"/>
                <a:gd name="T41" fmla="*/ 13066 h 18310"/>
                <a:gd name="T42" fmla="*/ 650 w 17675"/>
                <a:gd name="T43" fmla="*/ 14979 h 18310"/>
                <a:gd name="T44" fmla="*/ 991 w 17675"/>
                <a:gd name="T45" fmla="*/ 16266 h 18310"/>
                <a:gd name="T46" fmla="*/ 1332 w 17675"/>
                <a:gd name="T47" fmla="*/ 17156 h 18310"/>
                <a:gd name="T48" fmla="*/ 1598 w 17675"/>
                <a:gd name="T49" fmla="*/ 17614 h 18310"/>
                <a:gd name="T50" fmla="*/ 1917 w 17675"/>
                <a:gd name="T51" fmla="*/ 17970 h 18310"/>
                <a:gd name="T52" fmla="*/ 2349 w 17675"/>
                <a:gd name="T53" fmla="*/ 18232 h 18310"/>
                <a:gd name="T54" fmla="*/ 2745 w 17675"/>
                <a:gd name="T55" fmla="*/ 18309 h 18310"/>
                <a:gd name="T56" fmla="*/ 3384 w 17675"/>
                <a:gd name="T57" fmla="*/ 18287 h 18310"/>
                <a:gd name="T58" fmla="*/ 4157 w 17675"/>
                <a:gd name="T59" fmla="*/ 18192 h 18310"/>
                <a:gd name="T60" fmla="*/ 5006 w 17675"/>
                <a:gd name="T61" fmla="*/ 18009 h 18310"/>
                <a:gd name="T62" fmla="*/ 6483 w 17675"/>
                <a:gd name="T63" fmla="*/ 17544 h 18310"/>
                <a:gd name="T64" fmla="*/ 7200 w 17675"/>
                <a:gd name="T65" fmla="*/ 17277 h 18310"/>
                <a:gd name="T66" fmla="*/ 8295 w 17675"/>
                <a:gd name="T67" fmla="*/ 16841 h 18310"/>
                <a:gd name="T68" fmla="*/ 8872 w 17675"/>
                <a:gd name="T69" fmla="*/ 16605 h 18310"/>
                <a:gd name="T70" fmla="*/ 9346 w 17675"/>
                <a:gd name="T71" fmla="*/ 16391 h 18310"/>
                <a:gd name="T72" fmla="*/ 10057 w 17675"/>
                <a:gd name="T73" fmla="*/ 16048 h 18310"/>
                <a:gd name="T74" fmla="*/ 10903 w 17675"/>
                <a:gd name="T75" fmla="*/ 15584 h 18310"/>
                <a:gd name="T76" fmla="*/ 11867 w 17675"/>
                <a:gd name="T77" fmla="*/ 14997 h 18310"/>
                <a:gd name="T78" fmla="*/ 12590 w 17675"/>
                <a:gd name="T79" fmla="*/ 14528 h 18310"/>
                <a:gd name="T80" fmla="*/ 13212 w 17675"/>
                <a:gd name="T81" fmla="*/ 14088 h 18310"/>
                <a:gd name="T82" fmla="*/ 14481 w 17675"/>
                <a:gd name="T83" fmla="*/ 13112 h 18310"/>
                <a:gd name="T84" fmla="*/ 14802 w 17675"/>
                <a:gd name="T85" fmla="*/ 12854 h 18310"/>
                <a:gd name="T86" fmla="*/ 15451 w 17675"/>
                <a:gd name="T87" fmla="*/ 12291 h 18310"/>
                <a:gd name="T88" fmla="*/ 15927 w 17675"/>
                <a:gd name="T89" fmla="*/ 11853 h 18310"/>
                <a:gd name="T90" fmla="*/ 16443 w 17675"/>
                <a:gd name="T91" fmla="*/ 11335 h 18310"/>
                <a:gd name="T92" fmla="*/ 16856 w 17675"/>
                <a:gd name="T93" fmla="*/ 10896 h 18310"/>
                <a:gd name="T94" fmla="*/ 17295 w 17675"/>
                <a:gd name="T95" fmla="*/ 10296 h 18310"/>
                <a:gd name="T96" fmla="*/ 17543 w 17675"/>
                <a:gd name="T97" fmla="*/ 9805 h 18310"/>
                <a:gd name="T98" fmla="*/ 17675 w 17675"/>
                <a:gd name="T99" fmla="*/ 9283 h 18310"/>
                <a:gd name="T100" fmla="*/ 17609 w 17675"/>
                <a:gd name="T101" fmla="*/ 8895 h 18310"/>
                <a:gd name="T102" fmla="*/ 17328 w 17675"/>
                <a:gd name="T103" fmla="*/ 8254 h 18310"/>
                <a:gd name="T104" fmla="*/ 16958 w 17675"/>
                <a:gd name="T105" fmla="*/ 7727 h 18310"/>
                <a:gd name="T106" fmla="*/ 16207 w 17675"/>
                <a:gd name="T107" fmla="*/ 6899 h 18310"/>
                <a:gd name="T108" fmla="*/ 14144 w 17675"/>
                <a:gd name="T109" fmla="*/ 5052 h 18310"/>
                <a:gd name="T110" fmla="*/ 13172 w 17675"/>
                <a:gd name="T111" fmla="*/ 4299 h 18310"/>
                <a:gd name="T112" fmla="*/ 12177 w 17675"/>
                <a:gd name="T113" fmla="*/ 3589 h 18310"/>
                <a:gd name="T114" fmla="*/ 11125 w 17675"/>
                <a:gd name="T115" fmla="*/ 2920 h 18310"/>
                <a:gd name="T116" fmla="*/ 10015 w 17675"/>
                <a:gd name="T117" fmla="*/ 2305 h 18310"/>
                <a:gd name="T118" fmla="*/ 9091 w 17675"/>
                <a:gd name="T119" fmla="*/ 1855 h 18310"/>
                <a:gd name="T120" fmla="*/ 8300 w 17675"/>
                <a:gd name="T121" fmla="*/ 1511 h 18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7675" h="18310">
                  <a:moveTo>
                    <a:pt x="8078" y="1426"/>
                  </a:moveTo>
                  <a:lnTo>
                    <a:pt x="8047" y="1409"/>
                  </a:lnTo>
                  <a:lnTo>
                    <a:pt x="8014" y="1392"/>
                  </a:lnTo>
                  <a:lnTo>
                    <a:pt x="7978" y="1376"/>
                  </a:lnTo>
                  <a:lnTo>
                    <a:pt x="7940" y="1360"/>
                  </a:lnTo>
                  <a:lnTo>
                    <a:pt x="7901" y="1345"/>
                  </a:lnTo>
                  <a:lnTo>
                    <a:pt x="7862" y="1330"/>
                  </a:lnTo>
                  <a:lnTo>
                    <a:pt x="7825" y="1315"/>
                  </a:lnTo>
                  <a:lnTo>
                    <a:pt x="7791" y="1301"/>
                  </a:lnTo>
                  <a:lnTo>
                    <a:pt x="7583" y="1213"/>
                  </a:lnTo>
                  <a:lnTo>
                    <a:pt x="7371" y="1125"/>
                  </a:lnTo>
                  <a:lnTo>
                    <a:pt x="7158" y="1038"/>
                  </a:lnTo>
                  <a:lnTo>
                    <a:pt x="6943" y="953"/>
                  </a:lnTo>
                  <a:lnTo>
                    <a:pt x="6836" y="911"/>
                  </a:lnTo>
                  <a:lnTo>
                    <a:pt x="6727" y="869"/>
                  </a:lnTo>
                  <a:lnTo>
                    <a:pt x="6618" y="827"/>
                  </a:lnTo>
                  <a:lnTo>
                    <a:pt x="6508" y="787"/>
                  </a:lnTo>
                  <a:lnTo>
                    <a:pt x="6400" y="747"/>
                  </a:lnTo>
                  <a:lnTo>
                    <a:pt x="6290" y="707"/>
                  </a:lnTo>
                  <a:lnTo>
                    <a:pt x="6180" y="668"/>
                  </a:lnTo>
                  <a:lnTo>
                    <a:pt x="6070" y="631"/>
                  </a:lnTo>
                  <a:lnTo>
                    <a:pt x="5959" y="593"/>
                  </a:lnTo>
                  <a:lnTo>
                    <a:pt x="5848" y="556"/>
                  </a:lnTo>
                  <a:lnTo>
                    <a:pt x="5737" y="521"/>
                  </a:lnTo>
                  <a:lnTo>
                    <a:pt x="5626" y="485"/>
                  </a:lnTo>
                  <a:lnTo>
                    <a:pt x="5515" y="451"/>
                  </a:lnTo>
                  <a:lnTo>
                    <a:pt x="5404" y="418"/>
                  </a:lnTo>
                  <a:lnTo>
                    <a:pt x="5292" y="386"/>
                  </a:lnTo>
                  <a:lnTo>
                    <a:pt x="5181" y="355"/>
                  </a:lnTo>
                  <a:lnTo>
                    <a:pt x="5069" y="324"/>
                  </a:lnTo>
                  <a:lnTo>
                    <a:pt x="4958" y="295"/>
                  </a:lnTo>
                  <a:lnTo>
                    <a:pt x="4846" y="267"/>
                  </a:lnTo>
                  <a:lnTo>
                    <a:pt x="4735" y="240"/>
                  </a:lnTo>
                  <a:lnTo>
                    <a:pt x="4623" y="215"/>
                  </a:lnTo>
                  <a:lnTo>
                    <a:pt x="4511" y="191"/>
                  </a:lnTo>
                  <a:lnTo>
                    <a:pt x="4400" y="168"/>
                  </a:lnTo>
                  <a:lnTo>
                    <a:pt x="4287" y="146"/>
                  </a:lnTo>
                  <a:lnTo>
                    <a:pt x="4234" y="136"/>
                  </a:lnTo>
                  <a:lnTo>
                    <a:pt x="4162" y="125"/>
                  </a:lnTo>
                  <a:lnTo>
                    <a:pt x="4075" y="112"/>
                  </a:lnTo>
                  <a:lnTo>
                    <a:pt x="3975" y="98"/>
                  </a:lnTo>
                  <a:lnTo>
                    <a:pt x="3865" y="84"/>
                  </a:lnTo>
                  <a:lnTo>
                    <a:pt x="3749" y="69"/>
                  </a:lnTo>
                  <a:lnTo>
                    <a:pt x="3627" y="54"/>
                  </a:lnTo>
                  <a:lnTo>
                    <a:pt x="3504" y="40"/>
                  </a:lnTo>
                  <a:lnTo>
                    <a:pt x="3381" y="27"/>
                  </a:lnTo>
                  <a:lnTo>
                    <a:pt x="3262" y="17"/>
                  </a:lnTo>
                  <a:lnTo>
                    <a:pt x="3148" y="8"/>
                  </a:lnTo>
                  <a:lnTo>
                    <a:pt x="3043" y="2"/>
                  </a:lnTo>
                  <a:lnTo>
                    <a:pt x="2994" y="1"/>
                  </a:lnTo>
                  <a:lnTo>
                    <a:pt x="2949" y="0"/>
                  </a:lnTo>
                  <a:lnTo>
                    <a:pt x="2908" y="0"/>
                  </a:lnTo>
                  <a:lnTo>
                    <a:pt x="2869" y="1"/>
                  </a:lnTo>
                  <a:lnTo>
                    <a:pt x="2834" y="3"/>
                  </a:lnTo>
                  <a:lnTo>
                    <a:pt x="2806" y="7"/>
                  </a:lnTo>
                  <a:lnTo>
                    <a:pt x="2780" y="11"/>
                  </a:lnTo>
                  <a:lnTo>
                    <a:pt x="2761" y="17"/>
                  </a:lnTo>
                  <a:lnTo>
                    <a:pt x="2724" y="19"/>
                  </a:lnTo>
                  <a:lnTo>
                    <a:pt x="2689" y="24"/>
                  </a:lnTo>
                  <a:lnTo>
                    <a:pt x="2655" y="29"/>
                  </a:lnTo>
                  <a:lnTo>
                    <a:pt x="2620" y="35"/>
                  </a:lnTo>
                  <a:lnTo>
                    <a:pt x="2586" y="43"/>
                  </a:lnTo>
                  <a:lnTo>
                    <a:pt x="2552" y="53"/>
                  </a:lnTo>
                  <a:lnTo>
                    <a:pt x="2518" y="63"/>
                  </a:lnTo>
                  <a:lnTo>
                    <a:pt x="2486" y="73"/>
                  </a:lnTo>
                  <a:lnTo>
                    <a:pt x="2454" y="85"/>
                  </a:lnTo>
                  <a:lnTo>
                    <a:pt x="2423" y="97"/>
                  </a:lnTo>
                  <a:lnTo>
                    <a:pt x="2393" y="111"/>
                  </a:lnTo>
                  <a:lnTo>
                    <a:pt x="2363" y="125"/>
                  </a:lnTo>
                  <a:lnTo>
                    <a:pt x="2333" y="138"/>
                  </a:lnTo>
                  <a:lnTo>
                    <a:pt x="2306" y="153"/>
                  </a:lnTo>
                  <a:lnTo>
                    <a:pt x="2278" y="169"/>
                  </a:lnTo>
                  <a:lnTo>
                    <a:pt x="2252" y="184"/>
                  </a:lnTo>
                  <a:lnTo>
                    <a:pt x="2218" y="205"/>
                  </a:lnTo>
                  <a:lnTo>
                    <a:pt x="2187" y="224"/>
                  </a:lnTo>
                  <a:lnTo>
                    <a:pt x="2158" y="244"/>
                  </a:lnTo>
                  <a:lnTo>
                    <a:pt x="2132" y="262"/>
                  </a:lnTo>
                  <a:lnTo>
                    <a:pt x="2108" y="280"/>
                  </a:lnTo>
                  <a:lnTo>
                    <a:pt x="2086" y="298"/>
                  </a:lnTo>
                  <a:lnTo>
                    <a:pt x="2065" y="315"/>
                  </a:lnTo>
                  <a:lnTo>
                    <a:pt x="2046" y="332"/>
                  </a:lnTo>
                  <a:lnTo>
                    <a:pt x="2007" y="367"/>
                  </a:lnTo>
                  <a:lnTo>
                    <a:pt x="1968" y="405"/>
                  </a:lnTo>
                  <a:lnTo>
                    <a:pt x="1927" y="446"/>
                  </a:lnTo>
                  <a:lnTo>
                    <a:pt x="1878" y="491"/>
                  </a:lnTo>
                  <a:lnTo>
                    <a:pt x="1866" y="504"/>
                  </a:lnTo>
                  <a:lnTo>
                    <a:pt x="1853" y="517"/>
                  </a:lnTo>
                  <a:lnTo>
                    <a:pt x="1838" y="533"/>
                  </a:lnTo>
                  <a:lnTo>
                    <a:pt x="1823" y="550"/>
                  </a:lnTo>
                  <a:lnTo>
                    <a:pt x="1790" y="592"/>
                  </a:lnTo>
                  <a:lnTo>
                    <a:pt x="1754" y="637"/>
                  </a:lnTo>
                  <a:lnTo>
                    <a:pt x="1717" y="689"/>
                  </a:lnTo>
                  <a:lnTo>
                    <a:pt x="1679" y="744"/>
                  </a:lnTo>
                  <a:lnTo>
                    <a:pt x="1639" y="802"/>
                  </a:lnTo>
                  <a:lnTo>
                    <a:pt x="1600" y="863"/>
                  </a:lnTo>
                  <a:lnTo>
                    <a:pt x="1561" y="926"/>
                  </a:lnTo>
                  <a:lnTo>
                    <a:pt x="1524" y="988"/>
                  </a:lnTo>
                  <a:lnTo>
                    <a:pt x="1488" y="1051"/>
                  </a:lnTo>
                  <a:lnTo>
                    <a:pt x="1454" y="1111"/>
                  </a:lnTo>
                  <a:lnTo>
                    <a:pt x="1425" y="1170"/>
                  </a:lnTo>
                  <a:lnTo>
                    <a:pt x="1398" y="1226"/>
                  </a:lnTo>
                  <a:lnTo>
                    <a:pt x="1387" y="1252"/>
                  </a:lnTo>
                  <a:lnTo>
                    <a:pt x="1377" y="1277"/>
                  </a:lnTo>
                  <a:lnTo>
                    <a:pt x="1367" y="1301"/>
                  </a:lnTo>
                  <a:lnTo>
                    <a:pt x="1359" y="1323"/>
                  </a:lnTo>
                  <a:lnTo>
                    <a:pt x="1340" y="1362"/>
                  </a:lnTo>
                  <a:lnTo>
                    <a:pt x="1320" y="1404"/>
                  </a:lnTo>
                  <a:lnTo>
                    <a:pt x="1300" y="1449"/>
                  </a:lnTo>
                  <a:lnTo>
                    <a:pt x="1280" y="1496"/>
                  </a:lnTo>
                  <a:lnTo>
                    <a:pt x="1261" y="1545"/>
                  </a:lnTo>
                  <a:lnTo>
                    <a:pt x="1241" y="1596"/>
                  </a:lnTo>
                  <a:lnTo>
                    <a:pt x="1222" y="1648"/>
                  </a:lnTo>
                  <a:lnTo>
                    <a:pt x="1204" y="1702"/>
                  </a:lnTo>
                  <a:lnTo>
                    <a:pt x="1167" y="1808"/>
                  </a:lnTo>
                  <a:lnTo>
                    <a:pt x="1133" y="1915"/>
                  </a:lnTo>
                  <a:lnTo>
                    <a:pt x="1101" y="2016"/>
                  </a:lnTo>
                  <a:lnTo>
                    <a:pt x="1071" y="2110"/>
                  </a:lnTo>
                  <a:lnTo>
                    <a:pt x="1055" y="2162"/>
                  </a:lnTo>
                  <a:lnTo>
                    <a:pt x="1039" y="2213"/>
                  </a:lnTo>
                  <a:lnTo>
                    <a:pt x="1023" y="2264"/>
                  </a:lnTo>
                  <a:lnTo>
                    <a:pt x="1008" y="2315"/>
                  </a:lnTo>
                  <a:lnTo>
                    <a:pt x="992" y="2367"/>
                  </a:lnTo>
                  <a:lnTo>
                    <a:pt x="976" y="2418"/>
                  </a:lnTo>
                  <a:lnTo>
                    <a:pt x="960" y="2471"/>
                  </a:lnTo>
                  <a:lnTo>
                    <a:pt x="944" y="2523"/>
                  </a:lnTo>
                  <a:lnTo>
                    <a:pt x="929" y="2573"/>
                  </a:lnTo>
                  <a:lnTo>
                    <a:pt x="913" y="2626"/>
                  </a:lnTo>
                  <a:lnTo>
                    <a:pt x="896" y="2682"/>
                  </a:lnTo>
                  <a:lnTo>
                    <a:pt x="880" y="2740"/>
                  </a:lnTo>
                  <a:lnTo>
                    <a:pt x="864" y="2797"/>
                  </a:lnTo>
                  <a:lnTo>
                    <a:pt x="849" y="2852"/>
                  </a:lnTo>
                  <a:lnTo>
                    <a:pt x="836" y="2906"/>
                  </a:lnTo>
                  <a:lnTo>
                    <a:pt x="827" y="2955"/>
                  </a:lnTo>
                  <a:lnTo>
                    <a:pt x="818" y="2977"/>
                  </a:lnTo>
                  <a:lnTo>
                    <a:pt x="809" y="3003"/>
                  </a:lnTo>
                  <a:lnTo>
                    <a:pt x="800" y="3033"/>
                  </a:lnTo>
                  <a:lnTo>
                    <a:pt x="790" y="3067"/>
                  </a:lnTo>
                  <a:lnTo>
                    <a:pt x="770" y="3142"/>
                  </a:lnTo>
                  <a:lnTo>
                    <a:pt x="749" y="3225"/>
                  </a:lnTo>
                  <a:lnTo>
                    <a:pt x="730" y="3310"/>
                  </a:lnTo>
                  <a:lnTo>
                    <a:pt x="712" y="3390"/>
                  </a:lnTo>
                  <a:lnTo>
                    <a:pt x="696" y="3461"/>
                  </a:lnTo>
                  <a:lnTo>
                    <a:pt x="683" y="3519"/>
                  </a:lnTo>
                  <a:lnTo>
                    <a:pt x="666" y="3593"/>
                  </a:lnTo>
                  <a:lnTo>
                    <a:pt x="649" y="3667"/>
                  </a:lnTo>
                  <a:lnTo>
                    <a:pt x="633" y="3740"/>
                  </a:lnTo>
                  <a:lnTo>
                    <a:pt x="617" y="3813"/>
                  </a:lnTo>
                  <a:lnTo>
                    <a:pt x="601" y="3886"/>
                  </a:lnTo>
                  <a:lnTo>
                    <a:pt x="585" y="3960"/>
                  </a:lnTo>
                  <a:lnTo>
                    <a:pt x="569" y="4033"/>
                  </a:lnTo>
                  <a:lnTo>
                    <a:pt x="553" y="4108"/>
                  </a:lnTo>
                  <a:lnTo>
                    <a:pt x="537" y="4182"/>
                  </a:lnTo>
                  <a:lnTo>
                    <a:pt x="522" y="4256"/>
                  </a:lnTo>
                  <a:lnTo>
                    <a:pt x="506" y="4330"/>
                  </a:lnTo>
                  <a:lnTo>
                    <a:pt x="491" y="4406"/>
                  </a:lnTo>
                  <a:lnTo>
                    <a:pt x="476" y="4483"/>
                  </a:lnTo>
                  <a:lnTo>
                    <a:pt x="461" y="4559"/>
                  </a:lnTo>
                  <a:lnTo>
                    <a:pt x="447" y="4636"/>
                  </a:lnTo>
                  <a:lnTo>
                    <a:pt x="433" y="4714"/>
                  </a:lnTo>
                  <a:lnTo>
                    <a:pt x="419" y="4791"/>
                  </a:lnTo>
                  <a:lnTo>
                    <a:pt x="405" y="4868"/>
                  </a:lnTo>
                  <a:lnTo>
                    <a:pt x="392" y="4946"/>
                  </a:lnTo>
                  <a:lnTo>
                    <a:pt x="380" y="5024"/>
                  </a:lnTo>
                  <a:lnTo>
                    <a:pt x="367" y="5100"/>
                  </a:lnTo>
                  <a:lnTo>
                    <a:pt x="356" y="5177"/>
                  </a:lnTo>
                  <a:lnTo>
                    <a:pt x="346" y="5253"/>
                  </a:lnTo>
                  <a:lnTo>
                    <a:pt x="335" y="5328"/>
                  </a:lnTo>
                  <a:lnTo>
                    <a:pt x="320" y="5442"/>
                  </a:lnTo>
                  <a:lnTo>
                    <a:pt x="304" y="5555"/>
                  </a:lnTo>
                  <a:lnTo>
                    <a:pt x="289" y="5668"/>
                  </a:lnTo>
                  <a:lnTo>
                    <a:pt x="275" y="5781"/>
                  </a:lnTo>
                  <a:lnTo>
                    <a:pt x="259" y="5896"/>
                  </a:lnTo>
                  <a:lnTo>
                    <a:pt x="244" y="6009"/>
                  </a:lnTo>
                  <a:lnTo>
                    <a:pt x="229" y="6124"/>
                  </a:lnTo>
                  <a:lnTo>
                    <a:pt x="214" y="6238"/>
                  </a:lnTo>
                  <a:lnTo>
                    <a:pt x="199" y="6352"/>
                  </a:lnTo>
                  <a:lnTo>
                    <a:pt x="185" y="6467"/>
                  </a:lnTo>
                  <a:lnTo>
                    <a:pt x="173" y="6581"/>
                  </a:lnTo>
                  <a:lnTo>
                    <a:pt x="160" y="6697"/>
                  </a:lnTo>
                  <a:lnTo>
                    <a:pt x="148" y="6811"/>
                  </a:lnTo>
                  <a:lnTo>
                    <a:pt x="137" y="6927"/>
                  </a:lnTo>
                  <a:lnTo>
                    <a:pt x="127" y="7042"/>
                  </a:lnTo>
                  <a:lnTo>
                    <a:pt x="119" y="7158"/>
                  </a:lnTo>
                  <a:lnTo>
                    <a:pt x="105" y="7319"/>
                  </a:lnTo>
                  <a:lnTo>
                    <a:pt x="92" y="7481"/>
                  </a:lnTo>
                  <a:lnTo>
                    <a:pt x="79" y="7643"/>
                  </a:lnTo>
                  <a:lnTo>
                    <a:pt x="65" y="7805"/>
                  </a:lnTo>
                  <a:lnTo>
                    <a:pt x="54" y="7967"/>
                  </a:lnTo>
                  <a:lnTo>
                    <a:pt x="42" y="8130"/>
                  </a:lnTo>
                  <a:lnTo>
                    <a:pt x="31" y="8293"/>
                  </a:lnTo>
                  <a:lnTo>
                    <a:pt x="22" y="8456"/>
                  </a:lnTo>
                  <a:lnTo>
                    <a:pt x="14" y="8619"/>
                  </a:lnTo>
                  <a:lnTo>
                    <a:pt x="8" y="8782"/>
                  </a:lnTo>
                  <a:lnTo>
                    <a:pt x="3" y="8946"/>
                  </a:lnTo>
                  <a:lnTo>
                    <a:pt x="0" y="9109"/>
                  </a:lnTo>
                  <a:lnTo>
                    <a:pt x="0" y="9190"/>
                  </a:lnTo>
                  <a:lnTo>
                    <a:pt x="0" y="9273"/>
                  </a:lnTo>
                  <a:lnTo>
                    <a:pt x="1" y="9354"/>
                  </a:lnTo>
                  <a:lnTo>
                    <a:pt x="2" y="9437"/>
                  </a:lnTo>
                  <a:lnTo>
                    <a:pt x="3" y="9518"/>
                  </a:lnTo>
                  <a:lnTo>
                    <a:pt x="7" y="9599"/>
                  </a:lnTo>
                  <a:lnTo>
                    <a:pt x="10" y="9681"/>
                  </a:lnTo>
                  <a:lnTo>
                    <a:pt x="14" y="9763"/>
                  </a:lnTo>
                  <a:lnTo>
                    <a:pt x="21" y="9885"/>
                  </a:lnTo>
                  <a:lnTo>
                    <a:pt x="27" y="10006"/>
                  </a:lnTo>
                  <a:lnTo>
                    <a:pt x="34" y="10128"/>
                  </a:lnTo>
                  <a:lnTo>
                    <a:pt x="41" y="10249"/>
                  </a:lnTo>
                  <a:lnTo>
                    <a:pt x="47" y="10369"/>
                  </a:lnTo>
                  <a:lnTo>
                    <a:pt x="54" y="10490"/>
                  </a:lnTo>
                  <a:lnTo>
                    <a:pt x="61" y="10611"/>
                  </a:lnTo>
                  <a:lnTo>
                    <a:pt x="68" y="10731"/>
                  </a:lnTo>
                  <a:lnTo>
                    <a:pt x="74" y="10851"/>
                  </a:lnTo>
                  <a:lnTo>
                    <a:pt x="82" y="10971"/>
                  </a:lnTo>
                  <a:lnTo>
                    <a:pt x="90" y="11091"/>
                  </a:lnTo>
                  <a:lnTo>
                    <a:pt x="98" y="11213"/>
                  </a:lnTo>
                  <a:lnTo>
                    <a:pt x="108" y="11333"/>
                  </a:lnTo>
                  <a:lnTo>
                    <a:pt x="117" y="11454"/>
                  </a:lnTo>
                  <a:lnTo>
                    <a:pt x="127" y="11575"/>
                  </a:lnTo>
                  <a:lnTo>
                    <a:pt x="138" y="11697"/>
                  </a:lnTo>
                  <a:lnTo>
                    <a:pt x="149" y="11811"/>
                  </a:lnTo>
                  <a:lnTo>
                    <a:pt x="160" y="11926"/>
                  </a:lnTo>
                  <a:lnTo>
                    <a:pt x="172" y="12040"/>
                  </a:lnTo>
                  <a:lnTo>
                    <a:pt x="184" y="12154"/>
                  </a:lnTo>
                  <a:lnTo>
                    <a:pt x="197" y="12269"/>
                  </a:lnTo>
                  <a:lnTo>
                    <a:pt x="209" y="12383"/>
                  </a:lnTo>
                  <a:lnTo>
                    <a:pt x="223" y="12498"/>
                  </a:lnTo>
                  <a:lnTo>
                    <a:pt x="237" y="12611"/>
                  </a:lnTo>
                  <a:lnTo>
                    <a:pt x="252" y="12725"/>
                  </a:lnTo>
                  <a:lnTo>
                    <a:pt x="267" y="12839"/>
                  </a:lnTo>
                  <a:lnTo>
                    <a:pt x="281" y="12953"/>
                  </a:lnTo>
                  <a:lnTo>
                    <a:pt x="298" y="13066"/>
                  </a:lnTo>
                  <a:lnTo>
                    <a:pt x="314" y="13180"/>
                  </a:lnTo>
                  <a:lnTo>
                    <a:pt x="331" y="13293"/>
                  </a:lnTo>
                  <a:lnTo>
                    <a:pt x="349" y="13406"/>
                  </a:lnTo>
                  <a:lnTo>
                    <a:pt x="366" y="13519"/>
                  </a:lnTo>
                  <a:lnTo>
                    <a:pt x="398" y="13707"/>
                  </a:lnTo>
                  <a:lnTo>
                    <a:pt x="433" y="13905"/>
                  </a:lnTo>
                  <a:lnTo>
                    <a:pt x="470" y="14110"/>
                  </a:lnTo>
                  <a:lnTo>
                    <a:pt x="511" y="14322"/>
                  </a:lnTo>
                  <a:lnTo>
                    <a:pt x="555" y="14538"/>
                  </a:lnTo>
                  <a:lnTo>
                    <a:pt x="602" y="14757"/>
                  </a:lnTo>
                  <a:lnTo>
                    <a:pt x="650" y="14979"/>
                  </a:lnTo>
                  <a:lnTo>
                    <a:pt x="701" y="15200"/>
                  </a:lnTo>
                  <a:lnTo>
                    <a:pt x="729" y="15311"/>
                  </a:lnTo>
                  <a:lnTo>
                    <a:pt x="755" y="15420"/>
                  </a:lnTo>
                  <a:lnTo>
                    <a:pt x="784" y="15530"/>
                  </a:lnTo>
                  <a:lnTo>
                    <a:pt x="811" y="15639"/>
                  </a:lnTo>
                  <a:lnTo>
                    <a:pt x="840" y="15747"/>
                  </a:lnTo>
                  <a:lnTo>
                    <a:pt x="870" y="15854"/>
                  </a:lnTo>
                  <a:lnTo>
                    <a:pt x="899" y="15959"/>
                  </a:lnTo>
                  <a:lnTo>
                    <a:pt x="929" y="16064"/>
                  </a:lnTo>
                  <a:lnTo>
                    <a:pt x="960" y="16165"/>
                  </a:lnTo>
                  <a:lnTo>
                    <a:pt x="991" y="16266"/>
                  </a:lnTo>
                  <a:lnTo>
                    <a:pt x="1022" y="16365"/>
                  </a:lnTo>
                  <a:lnTo>
                    <a:pt x="1054" y="16461"/>
                  </a:lnTo>
                  <a:lnTo>
                    <a:pt x="1086" y="16556"/>
                  </a:lnTo>
                  <a:lnTo>
                    <a:pt x="1119" y="16646"/>
                  </a:lnTo>
                  <a:lnTo>
                    <a:pt x="1152" y="16735"/>
                  </a:lnTo>
                  <a:lnTo>
                    <a:pt x="1185" y="16821"/>
                  </a:lnTo>
                  <a:lnTo>
                    <a:pt x="1225" y="16920"/>
                  </a:lnTo>
                  <a:lnTo>
                    <a:pt x="1267" y="17017"/>
                  </a:lnTo>
                  <a:lnTo>
                    <a:pt x="1288" y="17064"/>
                  </a:lnTo>
                  <a:lnTo>
                    <a:pt x="1310" y="17111"/>
                  </a:lnTo>
                  <a:lnTo>
                    <a:pt x="1332" y="17156"/>
                  </a:lnTo>
                  <a:lnTo>
                    <a:pt x="1354" y="17202"/>
                  </a:lnTo>
                  <a:lnTo>
                    <a:pt x="1377" y="17247"/>
                  </a:lnTo>
                  <a:lnTo>
                    <a:pt x="1399" y="17290"/>
                  </a:lnTo>
                  <a:lnTo>
                    <a:pt x="1423" y="17334"/>
                  </a:lnTo>
                  <a:lnTo>
                    <a:pt x="1447" y="17376"/>
                  </a:lnTo>
                  <a:lnTo>
                    <a:pt x="1471" y="17417"/>
                  </a:lnTo>
                  <a:lnTo>
                    <a:pt x="1496" y="17459"/>
                  </a:lnTo>
                  <a:lnTo>
                    <a:pt x="1521" y="17499"/>
                  </a:lnTo>
                  <a:lnTo>
                    <a:pt x="1546" y="17538"/>
                  </a:lnTo>
                  <a:lnTo>
                    <a:pt x="1572" y="17576"/>
                  </a:lnTo>
                  <a:lnTo>
                    <a:pt x="1598" y="17614"/>
                  </a:lnTo>
                  <a:lnTo>
                    <a:pt x="1625" y="17651"/>
                  </a:lnTo>
                  <a:lnTo>
                    <a:pt x="1652" y="17687"/>
                  </a:lnTo>
                  <a:lnTo>
                    <a:pt x="1680" y="17722"/>
                  </a:lnTo>
                  <a:lnTo>
                    <a:pt x="1707" y="17756"/>
                  </a:lnTo>
                  <a:lnTo>
                    <a:pt x="1736" y="17789"/>
                  </a:lnTo>
                  <a:lnTo>
                    <a:pt x="1764" y="17822"/>
                  </a:lnTo>
                  <a:lnTo>
                    <a:pt x="1794" y="17853"/>
                  </a:lnTo>
                  <a:lnTo>
                    <a:pt x="1824" y="17884"/>
                  </a:lnTo>
                  <a:lnTo>
                    <a:pt x="1854" y="17914"/>
                  </a:lnTo>
                  <a:lnTo>
                    <a:pt x="1885" y="17943"/>
                  </a:lnTo>
                  <a:lnTo>
                    <a:pt x="1917" y="17970"/>
                  </a:lnTo>
                  <a:lnTo>
                    <a:pt x="1947" y="17998"/>
                  </a:lnTo>
                  <a:lnTo>
                    <a:pt x="1980" y="18023"/>
                  </a:lnTo>
                  <a:lnTo>
                    <a:pt x="2013" y="18048"/>
                  </a:lnTo>
                  <a:lnTo>
                    <a:pt x="2052" y="18075"/>
                  </a:lnTo>
                  <a:lnTo>
                    <a:pt x="2091" y="18102"/>
                  </a:lnTo>
                  <a:lnTo>
                    <a:pt x="2132" y="18127"/>
                  </a:lnTo>
                  <a:lnTo>
                    <a:pt x="2173" y="18151"/>
                  </a:lnTo>
                  <a:lnTo>
                    <a:pt x="2215" y="18174"/>
                  </a:lnTo>
                  <a:lnTo>
                    <a:pt x="2259" y="18194"/>
                  </a:lnTo>
                  <a:lnTo>
                    <a:pt x="2303" y="18214"/>
                  </a:lnTo>
                  <a:lnTo>
                    <a:pt x="2349" y="18232"/>
                  </a:lnTo>
                  <a:lnTo>
                    <a:pt x="2397" y="18249"/>
                  </a:lnTo>
                  <a:lnTo>
                    <a:pt x="2446" y="18264"/>
                  </a:lnTo>
                  <a:lnTo>
                    <a:pt x="2497" y="18277"/>
                  </a:lnTo>
                  <a:lnTo>
                    <a:pt x="2549" y="18287"/>
                  </a:lnTo>
                  <a:lnTo>
                    <a:pt x="2576" y="18292"/>
                  </a:lnTo>
                  <a:lnTo>
                    <a:pt x="2603" y="18296"/>
                  </a:lnTo>
                  <a:lnTo>
                    <a:pt x="2631" y="18300"/>
                  </a:lnTo>
                  <a:lnTo>
                    <a:pt x="2658" y="18303"/>
                  </a:lnTo>
                  <a:lnTo>
                    <a:pt x="2687" y="18305"/>
                  </a:lnTo>
                  <a:lnTo>
                    <a:pt x="2716" y="18308"/>
                  </a:lnTo>
                  <a:lnTo>
                    <a:pt x="2745" y="18309"/>
                  </a:lnTo>
                  <a:lnTo>
                    <a:pt x="2776" y="18309"/>
                  </a:lnTo>
                  <a:lnTo>
                    <a:pt x="2835" y="18310"/>
                  </a:lnTo>
                  <a:lnTo>
                    <a:pt x="2896" y="18310"/>
                  </a:lnTo>
                  <a:lnTo>
                    <a:pt x="2957" y="18309"/>
                  </a:lnTo>
                  <a:lnTo>
                    <a:pt x="3017" y="18308"/>
                  </a:lnTo>
                  <a:lnTo>
                    <a:pt x="3079" y="18305"/>
                  </a:lnTo>
                  <a:lnTo>
                    <a:pt x="3140" y="18303"/>
                  </a:lnTo>
                  <a:lnTo>
                    <a:pt x="3200" y="18300"/>
                  </a:lnTo>
                  <a:lnTo>
                    <a:pt x="3262" y="18296"/>
                  </a:lnTo>
                  <a:lnTo>
                    <a:pt x="3323" y="18292"/>
                  </a:lnTo>
                  <a:lnTo>
                    <a:pt x="3384" y="18287"/>
                  </a:lnTo>
                  <a:lnTo>
                    <a:pt x="3444" y="18283"/>
                  </a:lnTo>
                  <a:lnTo>
                    <a:pt x="3505" y="18277"/>
                  </a:lnTo>
                  <a:lnTo>
                    <a:pt x="3565" y="18271"/>
                  </a:lnTo>
                  <a:lnTo>
                    <a:pt x="3625" y="18264"/>
                  </a:lnTo>
                  <a:lnTo>
                    <a:pt x="3686" y="18257"/>
                  </a:lnTo>
                  <a:lnTo>
                    <a:pt x="3745" y="18250"/>
                  </a:lnTo>
                  <a:lnTo>
                    <a:pt x="3829" y="18240"/>
                  </a:lnTo>
                  <a:lnTo>
                    <a:pt x="3912" y="18230"/>
                  </a:lnTo>
                  <a:lnTo>
                    <a:pt x="3995" y="18218"/>
                  </a:lnTo>
                  <a:lnTo>
                    <a:pt x="4076" y="18206"/>
                  </a:lnTo>
                  <a:lnTo>
                    <a:pt x="4157" y="18192"/>
                  </a:lnTo>
                  <a:lnTo>
                    <a:pt x="4236" y="18178"/>
                  </a:lnTo>
                  <a:lnTo>
                    <a:pt x="4316" y="18165"/>
                  </a:lnTo>
                  <a:lnTo>
                    <a:pt x="4395" y="18150"/>
                  </a:lnTo>
                  <a:lnTo>
                    <a:pt x="4473" y="18134"/>
                  </a:lnTo>
                  <a:lnTo>
                    <a:pt x="4549" y="18118"/>
                  </a:lnTo>
                  <a:lnTo>
                    <a:pt x="4627" y="18101"/>
                  </a:lnTo>
                  <a:lnTo>
                    <a:pt x="4704" y="18083"/>
                  </a:lnTo>
                  <a:lnTo>
                    <a:pt x="4779" y="18066"/>
                  </a:lnTo>
                  <a:lnTo>
                    <a:pt x="4855" y="18048"/>
                  </a:lnTo>
                  <a:lnTo>
                    <a:pt x="4931" y="18028"/>
                  </a:lnTo>
                  <a:lnTo>
                    <a:pt x="5006" y="18009"/>
                  </a:lnTo>
                  <a:lnTo>
                    <a:pt x="5156" y="17969"/>
                  </a:lnTo>
                  <a:lnTo>
                    <a:pt x="5305" y="17927"/>
                  </a:lnTo>
                  <a:lnTo>
                    <a:pt x="5455" y="17882"/>
                  </a:lnTo>
                  <a:lnTo>
                    <a:pt x="5603" y="17836"/>
                  </a:lnTo>
                  <a:lnTo>
                    <a:pt x="5753" y="17789"/>
                  </a:lnTo>
                  <a:lnTo>
                    <a:pt x="5904" y="17741"/>
                  </a:lnTo>
                  <a:lnTo>
                    <a:pt x="6056" y="17691"/>
                  </a:lnTo>
                  <a:lnTo>
                    <a:pt x="6211" y="17639"/>
                  </a:lnTo>
                  <a:lnTo>
                    <a:pt x="6273" y="17619"/>
                  </a:lnTo>
                  <a:lnTo>
                    <a:pt x="6368" y="17586"/>
                  </a:lnTo>
                  <a:lnTo>
                    <a:pt x="6483" y="17544"/>
                  </a:lnTo>
                  <a:lnTo>
                    <a:pt x="6608" y="17501"/>
                  </a:lnTo>
                  <a:lnTo>
                    <a:pt x="6729" y="17456"/>
                  </a:lnTo>
                  <a:lnTo>
                    <a:pt x="6837" y="17415"/>
                  </a:lnTo>
                  <a:lnTo>
                    <a:pt x="6881" y="17398"/>
                  </a:lnTo>
                  <a:lnTo>
                    <a:pt x="6917" y="17382"/>
                  </a:lnTo>
                  <a:lnTo>
                    <a:pt x="6943" y="17369"/>
                  </a:lnTo>
                  <a:lnTo>
                    <a:pt x="6959" y="17361"/>
                  </a:lnTo>
                  <a:lnTo>
                    <a:pt x="6994" y="17351"/>
                  </a:lnTo>
                  <a:lnTo>
                    <a:pt x="7046" y="17333"/>
                  </a:lnTo>
                  <a:lnTo>
                    <a:pt x="7116" y="17308"/>
                  </a:lnTo>
                  <a:lnTo>
                    <a:pt x="7200" y="17277"/>
                  </a:lnTo>
                  <a:lnTo>
                    <a:pt x="7294" y="17240"/>
                  </a:lnTo>
                  <a:lnTo>
                    <a:pt x="7397" y="17200"/>
                  </a:lnTo>
                  <a:lnTo>
                    <a:pt x="7507" y="17156"/>
                  </a:lnTo>
                  <a:lnTo>
                    <a:pt x="7621" y="17112"/>
                  </a:lnTo>
                  <a:lnTo>
                    <a:pt x="7734" y="17066"/>
                  </a:lnTo>
                  <a:lnTo>
                    <a:pt x="7846" y="17021"/>
                  </a:lnTo>
                  <a:lnTo>
                    <a:pt x="7955" y="16977"/>
                  </a:lnTo>
                  <a:lnTo>
                    <a:pt x="8057" y="16937"/>
                  </a:lnTo>
                  <a:lnTo>
                    <a:pt x="8148" y="16899"/>
                  </a:lnTo>
                  <a:lnTo>
                    <a:pt x="8228" y="16867"/>
                  </a:lnTo>
                  <a:lnTo>
                    <a:pt x="8295" y="16841"/>
                  </a:lnTo>
                  <a:lnTo>
                    <a:pt x="8344" y="16821"/>
                  </a:lnTo>
                  <a:lnTo>
                    <a:pt x="8396" y="16799"/>
                  </a:lnTo>
                  <a:lnTo>
                    <a:pt x="8454" y="16778"/>
                  </a:lnTo>
                  <a:lnTo>
                    <a:pt x="8513" y="16755"/>
                  </a:lnTo>
                  <a:lnTo>
                    <a:pt x="8574" y="16731"/>
                  </a:lnTo>
                  <a:lnTo>
                    <a:pt x="8633" y="16707"/>
                  </a:lnTo>
                  <a:lnTo>
                    <a:pt x="8690" y="16682"/>
                  </a:lnTo>
                  <a:lnTo>
                    <a:pt x="8744" y="16658"/>
                  </a:lnTo>
                  <a:lnTo>
                    <a:pt x="8792" y="16633"/>
                  </a:lnTo>
                  <a:lnTo>
                    <a:pt x="8829" y="16621"/>
                  </a:lnTo>
                  <a:lnTo>
                    <a:pt x="8872" y="16605"/>
                  </a:lnTo>
                  <a:lnTo>
                    <a:pt x="8918" y="16587"/>
                  </a:lnTo>
                  <a:lnTo>
                    <a:pt x="8965" y="16565"/>
                  </a:lnTo>
                  <a:lnTo>
                    <a:pt x="9013" y="16543"/>
                  </a:lnTo>
                  <a:lnTo>
                    <a:pt x="9059" y="16522"/>
                  </a:lnTo>
                  <a:lnTo>
                    <a:pt x="9100" y="16502"/>
                  </a:lnTo>
                  <a:lnTo>
                    <a:pt x="9137" y="16485"/>
                  </a:lnTo>
                  <a:lnTo>
                    <a:pt x="9178" y="16465"/>
                  </a:lnTo>
                  <a:lnTo>
                    <a:pt x="9220" y="16447"/>
                  </a:lnTo>
                  <a:lnTo>
                    <a:pt x="9263" y="16429"/>
                  </a:lnTo>
                  <a:lnTo>
                    <a:pt x="9304" y="16409"/>
                  </a:lnTo>
                  <a:lnTo>
                    <a:pt x="9346" y="16391"/>
                  </a:lnTo>
                  <a:lnTo>
                    <a:pt x="9388" y="16371"/>
                  </a:lnTo>
                  <a:lnTo>
                    <a:pt x="9430" y="16352"/>
                  </a:lnTo>
                  <a:lnTo>
                    <a:pt x="9471" y="16331"/>
                  </a:lnTo>
                  <a:lnTo>
                    <a:pt x="9550" y="16292"/>
                  </a:lnTo>
                  <a:lnTo>
                    <a:pt x="9633" y="16254"/>
                  </a:lnTo>
                  <a:lnTo>
                    <a:pt x="9720" y="16214"/>
                  </a:lnTo>
                  <a:lnTo>
                    <a:pt x="9807" y="16173"/>
                  </a:lnTo>
                  <a:lnTo>
                    <a:pt x="9894" y="16132"/>
                  </a:lnTo>
                  <a:lnTo>
                    <a:pt x="9978" y="16091"/>
                  </a:lnTo>
                  <a:lnTo>
                    <a:pt x="10018" y="16069"/>
                  </a:lnTo>
                  <a:lnTo>
                    <a:pt x="10057" y="16048"/>
                  </a:lnTo>
                  <a:lnTo>
                    <a:pt x="10093" y="16026"/>
                  </a:lnTo>
                  <a:lnTo>
                    <a:pt x="10129" y="16004"/>
                  </a:lnTo>
                  <a:lnTo>
                    <a:pt x="10153" y="15994"/>
                  </a:lnTo>
                  <a:lnTo>
                    <a:pt x="10184" y="15979"/>
                  </a:lnTo>
                  <a:lnTo>
                    <a:pt x="10220" y="15962"/>
                  </a:lnTo>
                  <a:lnTo>
                    <a:pt x="10263" y="15939"/>
                  </a:lnTo>
                  <a:lnTo>
                    <a:pt x="10363" y="15886"/>
                  </a:lnTo>
                  <a:lnTo>
                    <a:pt x="10482" y="15821"/>
                  </a:lnTo>
                  <a:lnTo>
                    <a:pt x="10614" y="15748"/>
                  </a:lnTo>
                  <a:lnTo>
                    <a:pt x="10756" y="15669"/>
                  </a:lnTo>
                  <a:lnTo>
                    <a:pt x="10903" y="15584"/>
                  </a:lnTo>
                  <a:lnTo>
                    <a:pt x="11053" y="15498"/>
                  </a:lnTo>
                  <a:lnTo>
                    <a:pt x="11202" y="15411"/>
                  </a:lnTo>
                  <a:lnTo>
                    <a:pt x="11344" y="15328"/>
                  </a:lnTo>
                  <a:lnTo>
                    <a:pt x="11477" y="15249"/>
                  </a:lnTo>
                  <a:lnTo>
                    <a:pt x="11597" y="15176"/>
                  </a:lnTo>
                  <a:lnTo>
                    <a:pt x="11700" y="15111"/>
                  </a:lnTo>
                  <a:lnTo>
                    <a:pt x="11781" y="15060"/>
                  </a:lnTo>
                  <a:lnTo>
                    <a:pt x="11813" y="15038"/>
                  </a:lnTo>
                  <a:lnTo>
                    <a:pt x="11838" y="15021"/>
                  </a:lnTo>
                  <a:lnTo>
                    <a:pt x="11857" y="15007"/>
                  </a:lnTo>
                  <a:lnTo>
                    <a:pt x="11867" y="14997"/>
                  </a:lnTo>
                  <a:lnTo>
                    <a:pt x="11879" y="14991"/>
                  </a:lnTo>
                  <a:lnTo>
                    <a:pt x="11898" y="14982"/>
                  </a:lnTo>
                  <a:lnTo>
                    <a:pt x="11919" y="14970"/>
                  </a:lnTo>
                  <a:lnTo>
                    <a:pt x="11947" y="14954"/>
                  </a:lnTo>
                  <a:lnTo>
                    <a:pt x="12012" y="14913"/>
                  </a:lnTo>
                  <a:lnTo>
                    <a:pt x="12090" y="14864"/>
                  </a:lnTo>
                  <a:lnTo>
                    <a:pt x="12179" y="14806"/>
                  </a:lnTo>
                  <a:lnTo>
                    <a:pt x="12276" y="14741"/>
                  </a:lnTo>
                  <a:lnTo>
                    <a:pt x="12379" y="14672"/>
                  </a:lnTo>
                  <a:lnTo>
                    <a:pt x="12485" y="14600"/>
                  </a:lnTo>
                  <a:lnTo>
                    <a:pt x="12590" y="14528"/>
                  </a:lnTo>
                  <a:lnTo>
                    <a:pt x="12694" y="14457"/>
                  </a:lnTo>
                  <a:lnTo>
                    <a:pt x="12791" y="14388"/>
                  </a:lnTo>
                  <a:lnTo>
                    <a:pt x="12883" y="14324"/>
                  </a:lnTo>
                  <a:lnTo>
                    <a:pt x="12963" y="14267"/>
                  </a:lnTo>
                  <a:lnTo>
                    <a:pt x="13031" y="14218"/>
                  </a:lnTo>
                  <a:lnTo>
                    <a:pt x="13083" y="14179"/>
                  </a:lnTo>
                  <a:lnTo>
                    <a:pt x="13116" y="14152"/>
                  </a:lnTo>
                  <a:lnTo>
                    <a:pt x="13131" y="14143"/>
                  </a:lnTo>
                  <a:lnTo>
                    <a:pt x="13152" y="14131"/>
                  </a:lnTo>
                  <a:lnTo>
                    <a:pt x="13179" y="14112"/>
                  </a:lnTo>
                  <a:lnTo>
                    <a:pt x="13212" y="14088"/>
                  </a:lnTo>
                  <a:lnTo>
                    <a:pt x="13294" y="14030"/>
                  </a:lnTo>
                  <a:lnTo>
                    <a:pt x="13392" y="13958"/>
                  </a:lnTo>
                  <a:lnTo>
                    <a:pt x="13505" y="13873"/>
                  </a:lnTo>
                  <a:lnTo>
                    <a:pt x="13628" y="13779"/>
                  </a:lnTo>
                  <a:lnTo>
                    <a:pt x="13758" y="13680"/>
                  </a:lnTo>
                  <a:lnTo>
                    <a:pt x="13891" y="13578"/>
                  </a:lnTo>
                  <a:lnTo>
                    <a:pt x="14024" y="13475"/>
                  </a:lnTo>
                  <a:lnTo>
                    <a:pt x="14153" y="13374"/>
                  </a:lnTo>
                  <a:lnTo>
                    <a:pt x="14274" y="13278"/>
                  </a:lnTo>
                  <a:lnTo>
                    <a:pt x="14385" y="13190"/>
                  </a:lnTo>
                  <a:lnTo>
                    <a:pt x="14481" y="13112"/>
                  </a:lnTo>
                  <a:lnTo>
                    <a:pt x="14559" y="13048"/>
                  </a:lnTo>
                  <a:lnTo>
                    <a:pt x="14590" y="13022"/>
                  </a:lnTo>
                  <a:lnTo>
                    <a:pt x="14615" y="13000"/>
                  </a:lnTo>
                  <a:lnTo>
                    <a:pt x="14634" y="12982"/>
                  </a:lnTo>
                  <a:lnTo>
                    <a:pt x="14645" y="12970"/>
                  </a:lnTo>
                  <a:lnTo>
                    <a:pt x="14658" y="12963"/>
                  </a:lnTo>
                  <a:lnTo>
                    <a:pt x="14673" y="12954"/>
                  </a:lnTo>
                  <a:lnTo>
                    <a:pt x="14690" y="12942"/>
                  </a:lnTo>
                  <a:lnTo>
                    <a:pt x="14708" y="12928"/>
                  </a:lnTo>
                  <a:lnTo>
                    <a:pt x="14751" y="12895"/>
                  </a:lnTo>
                  <a:lnTo>
                    <a:pt x="14802" y="12854"/>
                  </a:lnTo>
                  <a:lnTo>
                    <a:pt x="14857" y="12807"/>
                  </a:lnTo>
                  <a:lnTo>
                    <a:pt x="14917" y="12756"/>
                  </a:lnTo>
                  <a:lnTo>
                    <a:pt x="14979" y="12701"/>
                  </a:lnTo>
                  <a:lnTo>
                    <a:pt x="15044" y="12645"/>
                  </a:lnTo>
                  <a:lnTo>
                    <a:pt x="15110" y="12587"/>
                  </a:lnTo>
                  <a:lnTo>
                    <a:pt x="15175" y="12530"/>
                  </a:lnTo>
                  <a:lnTo>
                    <a:pt x="15238" y="12475"/>
                  </a:lnTo>
                  <a:lnTo>
                    <a:pt x="15298" y="12421"/>
                  </a:lnTo>
                  <a:lnTo>
                    <a:pt x="15354" y="12372"/>
                  </a:lnTo>
                  <a:lnTo>
                    <a:pt x="15405" y="12328"/>
                  </a:lnTo>
                  <a:lnTo>
                    <a:pt x="15451" y="12291"/>
                  </a:lnTo>
                  <a:lnTo>
                    <a:pt x="15487" y="12261"/>
                  </a:lnTo>
                  <a:lnTo>
                    <a:pt x="15508" y="12245"/>
                  </a:lnTo>
                  <a:lnTo>
                    <a:pt x="15520" y="12233"/>
                  </a:lnTo>
                  <a:lnTo>
                    <a:pt x="15534" y="12220"/>
                  </a:lnTo>
                  <a:lnTo>
                    <a:pt x="15555" y="12200"/>
                  </a:lnTo>
                  <a:lnTo>
                    <a:pt x="15765" y="12013"/>
                  </a:lnTo>
                  <a:lnTo>
                    <a:pt x="15798" y="11979"/>
                  </a:lnTo>
                  <a:lnTo>
                    <a:pt x="15830" y="11947"/>
                  </a:lnTo>
                  <a:lnTo>
                    <a:pt x="15863" y="11915"/>
                  </a:lnTo>
                  <a:lnTo>
                    <a:pt x="15895" y="11884"/>
                  </a:lnTo>
                  <a:lnTo>
                    <a:pt x="15927" y="11853"/>
                  </a:lnTo>
                  <a:lnTo>
                    <a:pt x="15959" y="11823"/>
                  </a:lnTo>
                  <a:lnTo>
                    <a:pt x="15992" y="11790"/>
                  </a:lnTo>
                  <a:lnTo>
                    <a:pt x="16025" y="11758"/>
                  </a:lnTo>
                  <a:lnTo>
                    <a:pt x="16052" y="11733"/>
                  </a:lnTo>
                  <a:lnTo>
                    <a:pt x="16089" y="11696"/>
                  </a:lnTo>
                  <a:lnTo>
                    <a:pt x="16136" y="11649"/>
                  </a:lnTo>
                  <a:lnTo>
                    <a:pt x="16190" y="11595"/>
                  </a:lnTo>
                  <a:lnTo>
                    <a:pt x="16248" y="11535"/>
                  </a:lnTo>
                  <a:lnTo>
                    <a:pt x="16311" y="11470"/>
                  </a:lnTo>
                  <a:lnTo>
                    <a:pt x="16377" y="11403"/>
                  </a:lnTo>
                  <a:lnTo>
                    <a:pt x="16443" y="11335"/>
                  </a:lnTo>
                  <a:lnTo>
                    <a:pt x="16508" y="11268"/>
                  </a:lnTo>
                  <a:lnTo>
                    <a:pt x="16571" y="11202"/>
                  </a:lnTo>
                  <a:lnTo>
                    <a:pt x="16629" y="11140"/>
                  </a:lnTo>
                  <a:lnTo>
                    <a:pt x="16681" y="11084"/>
                  </a:lnTo>
                  <a:lnTo>
                    <a:pt x="16726" y="11036"/>
                  </a:lnTo>
                  <a:lnTo>
                    <a:pt x="16761" y="10997"/>
                  </a:lnTo>
                  <a:lnTo>
                    <a:pt x="16786" y="10969"/>
                  </a:lnTo>
                  <a:lnTo>
                    <a:pt x="16797" y="10953"/>
                  </a:lnTo>
                  <a:lnTo>
                    <a:pt x="16818" y="10935"/>
                  </a:lnTo>
                  <a:lnTo>
                    <a:pt x="16837" y="10915"/>
                  </a:lnTo>
                  <a:lnTo>
                    <a:pt x="16856" y="10896"/>
                  </a:lnTo>
                  <a:lnTo>
                    <a:pt x="16874" y="10875"/>
                  </a:lnTo>
                  <a:lnTo>
                    <a:pt x="16908" y="10833"/>
                  </a:lnTo>
                  <a:lnTo>
                    <a:pt x="16943" y="10789"/>
                  </a:lnTo>
                  <a:lnTo>
                    <a:pt x="17006" y="10707"/>
                  </a:lnTo>
                  <a:lnTo>
                    <a:pt x="17067" y="10626"/>
                  </a:lnTo>
                  <a:lnTo>
                    <a:pt x="17128" y="10543"/>
                  </a:lnTo>
                  <a:lnTo>
                    <a:pt x="17185" y="10462"/>
                  </a:lnTo>
                  <a:lnTo>
                    <a:pt x="17214" y="10421"/>
                  </a:lnTo>
                  <a:lnTo>
                    <a:pt x="17241" y="10379"/>
                  </a:lnTo>
                  <a:lnTo>
                    <a:pt x="17269" y="10337"/>
                  </a:lnTo>
                  <a:lnTo>
                    <a:pt x="17295" y="10296"/>
                  </a:lnTo>
                  <a:lnTo>
                    <a:pt x="17321" y="10254"/>
                  </a:lnTo>
                  <a:lnTo>
                    <a:pt x="17347" y="10211"/>
                  </a:lnTo>
                  <a:lnTo>
                    <a:pt x="17372" y="10169"/>
                  </a:lnTo>
                  <a:lnTo>
                    <a:pt x="17396" y="10125"/>
                  </a:lnTo>
                  <a:lnTo>
                    <a:pt x="17419" y="10081"/>
                  </a:lnTo>
                  <a:lnTo>
                    <a:pt x="17442" y="10037"/>
                  </a:lnTo>
                  <a:lnTo>
                    <a:pt x="17463" y="9992"/>
                  </a:lnTo>
                  <a:lnTo>
                    <a:pt x="17485" y="9946"/>
                  </a:lnTo>
                  <a:lnTo>
                    <a:pt x="17505" y="9900"/>
                  </a:lnTo>
                  <a:lnTo>
                    <a:pt x="17524" y="9853"/>
                  </a:lnTo>
                  <a:lnTo>
                    <a:pt x="17543" y="9805"/>
                  </a:lnTo>
                  <a:lnTo>
                    <a:pt x="17561" y="9757"/>
                  </a:lnTo>
                  <a:lnTo>
                    <a:pt x="17578" y="9708"/>
                  </a:lnTo>
                  <a:lnTo>
                    <a:pt x="17594" y="9657"/>
                  </a:lnTo>
                  <a:lnTo>
                    <a:pt x="17609" y="9606"/>
                  </a:lnTo>
                  <a:lnTo>
                    <a:pt x="17622" y="9553"/>
                  </a:lnTo>
                  <a:lnTo>
                    <a:pt x="17636" y="9501"/>
                  </a:lnTo>
                  <a:lnTo>
                    <a:pt x="17648" y="9446"/>
                  </a:lnTo>
                  <a:lnTo>
                    <a:pt x="17659" y="9391"/>
                  </a:lnTo>
                  <a:lnTo>
                    <a:pt x="17669" y="9334"/>
                  </a:lnTo>
                  <a:lnTo>
                    <a:pt x="17673" y="9309"/>
                  </a:lnTo>
                  <a:lnTo>
                    <a:pt x="17675" y="9283"/>
                  </a:lnTo>
                  <a:lnTo>
                    <a:pt x="17675" y="9255"/>
                  </a:lnTo>
                  <a:lnTo>
                    <a:pt x="17674" y="9226"/>
                  </a:lnTo>
                  <a:lnTo>
                    <a:pt x="17672" y="9196"/>
                  </a:lnTo>
                  <a:lnTo>
                    <a:pt x="17669" y="9165"/>
                  </a:lnTo>
                  <a:lnTo>
                    <a:pt x="17665" y="9133"/>
                  </a:lnTo>
                  <a:lnTo>
                    <a:pt x="17659" y="9101"/>
                  </a:lnTo>
                  <a:lnTo>
                    <a:pt x="17653" y="9068"/>
                  </a:lnTo>
                  <a:lnTo>
                    <a:pt x="17645" y="9034"/>
                  </a:lnTo>
                  <a:lnTo>
                    <a:pt x="17637" y="8999"/>
                  </a:lnTo>
                  <a:lnTo>
                    <a:pt x="17629" y="8965"/>
                  </a:lnTo>
                  <a:lnTo>
                    <a:pt x="17609" y="8895"/>
                  </a:lnTo>
                  <a:lnTo>
                    <a:pt x="17587" y="8825"/>
                  </a:lnTo>
                  <a:lnTo>
                    <a:pt x="17563" y="8757"/>
                  </a:lnTo>
                  <a:lnTo>
                    <a:pt x="17539" y="8689"/>
                  </a:lnTo>
                  <a:lnTo>
                    <a:pt x="17513" y="8624"/>
                  </a:lnTo>
                  <a:lnTo>
                    <a:pt x="17487" y="8563"/>
                  </a:lnTo>
                  <a:lnTo>
                    <a:pt x="17462" y="8506"/>
                  </a:lnTo>
                  <a:lnTo>
                    <a:pt x="17437" y="8455"/>
                  </a:lnTo>
                  <a:lnTo>
                    <a:pt x="17415" y="8408"/>
                  </a:lnTo>
                  <a:lnTo>
                    <a:pt x="17394" y="8369"/>
                  </a:lnTo>
                  <a:lnTo>
                    <a:pt x="17360" y="8310"/>
                  </a:lnTo>
                  <a:lnTo>
                    <a:pt x="17328" y="8254"/>
                  </a:lnTo>
                  <a:lnTo>
                    <a:pt x="17297" y="8203"/>
                  </a:lnTo>
                  <a:lnTo>
                    <a:pt x="17268" y="8155"/>
                  </a:lnTo>
                  <a:lnTo>
                    <a:pt x="17239" y="8109"/>
                  </a:lnTo>
                  <a:lnTo>
                    <a:pt x="17210" y="8066"/>
                  </a:lnTo>
                  <a:lnTo>
                    <a:pt x="17182" y="8023"/>
                  </a:lnTo>
                  <a:lnTo>
                    <a:pt x="17153" y="7981"/>
                  </a:lnTo>
                  <a:lnTo>
                    <a:pt x="17123" y="7941"/>
                  </a:lnTo>
                  <a:lnTo>
                    <a:pt x="17093" y="7900"/>
                  </a:lnTo>
                  <a:lnTo>
                    <a:pt x="17062" y="7858"/>
                  </a:lnTo>
                  <a:lnTo>
                    <a:pt x="17029" y="7816"/>
                  </a:lnTo>
                  <a:lnTo>
                    <a:pt x="16958" y="7727"/>
                  </a:lnTo>
                  <a:lnTo>
                    <a:pt x="16877" y="7627"/>
                  </a:lnTo>
                  <a:lnTo>
                    <a:pt x="16843" y="7585"/>
                  </a:lnTo>
                  <a:lnTo>
                    <a:pt x="16805" y="7540"/>
                  </a:lnTo>
                  <a:lnTo>
                    <a:pt x="16766" y="7493"/>
                  </a:lnTo>
                  <a:lnTo>
                    <a:pt x="16725" y="7446"/>
                  </a:lnTo>
                  <a:lnTo>
                    <a:pt x="16641" y="7350"/>
                  </a:lnTo>
                  <a:lnTo>
                    <a:pt x="16551" y="7253"/>
                  </a:lnTo>
                  <a:lnTo>
                    <a:pt x="16462" y="7157"/>
                  </a:lnTo>
                  <a:lnTo>
                    <a:pt x="16373" y="7065"/>
                  </a:lnTo>
                  <a:lnTo>
                    <a:pt x="16287" y="6978"/>
                  </a:lnTo>
                  <a:lnTo>
                    <a:pt x="16207" y="6899"/>
                  </a:lnTo>
                  <a:lnTo>
                    <a:pt x="16179" y="6872"/>
                  </a:lnTo>
                  <a:lnTo>
                    <a:pt x="16153" y="6842"/>
                  </a:lnTo>
                  <a:lnTo>
                    <a:pt x="16127" y="6811"/>
                  </a:lnTo>
                  <a:lnTo>
                    <a:pt x="16099" y="6779"/>
                  </a:lnTo>
                  <a:lnTo>
                    <a:pt x="16071" y="6747"/>
                  </a:lnTo>
                  <a:lnTo>
                    <a:pt x="16042" y="6715"/>
                  </a:lnTo>
                  <a:lnTo>
                    <a:pt x="16011" y="6683"/>
                  </a:lnTo>
                  <a:lnTo>
                    <a:pt x="15979" y="6652"/>
                  </a:lnTo>
                  <a:lnTo>
                    <a:pt x="14313" y="5186"/>
                  </a:lnTo>
                  <a:lnTo>
                    <a:pt x="14230" y="5121"/>
                  </a:lnTo>
                  <a:lnTo>
                    <a:pt x="14144" y="5052"/>
                  </a:lnTo>
                  <a:lnTo>
                    <a:pt x="14058" y="4981"/>
                  </a:lnTo>
                  <a:lnTo>
                    <a:pt x="13972" y="4911"/>
                  </a:lnTo>
                  <a:lnTo>
                    <a:pt x="13885" y="4840"/>
                  </a:lnTo>
                  <a:lnTo>
                    <a:pt x="13797" y="4769"/>
                  </a:lnTo>
                  <a:lnTo>
                    <a:pt x="13709" y="4700"/>
                  </a:lnTo>
                  <a:lnTo>
                    <a:pt x="13622" y="4634"/>
                  </a:lnTo>
                  <a:lnTo>
                    <a:pt x="13528" y="4565"/>
                  </a:lnTo>
                  <a:lnTo>
                    <a:pt x="13437" y="4496"/>
                  </a:lnTo>
                  <a:lnTo>
                    <a:pt x="13348" y="4430"/>
                  </a:lnTo>
                  <a:lnTo>
                    <a:pt x="13259" y="4364"/>
                  </a:lnTo>
                  <a:lnTo>
                    <a:pt x="13172" y="4299"/>
                  </a:lnTo>
                  <a:lnTo>
                    <a:pt x="13085" y="4234"/>
                  </a:lnTo>
                  <a:lnTo>
                    <a:pt x="12999" y="4170"/>
                  </a:lnTo>
                  <a:lnTo>
                    <a:pt x="12913" y="4107"/>
                  </a:lnTo>
                  <a:lnTo>
                    <a:pt x="12826" y="4043"/>
                  </a:lnTo>
                  <a:lnTo>
                    <a:pt x="12738" y="3980"/>
                  </a:lnTo>
                  <a:lnTo>
                    <a:pt x="12650" y="3916"/>
                  </a:lnTo>
                  <a:lnTo>
                    <a:pt x="12559" y="3852"/>
                  </a:lnTo>
                  <a:lnTo>
                    <a:pt x="12468" y="3787"/>
                  </a:lnTo>
                  <a:lnTo>
                    <a:pt x="12373" y="3722"/>
                  </a:lnTo>
                  <a:lnTo>
                    <a:pt x="12276" y="3655"/>
                  </a:lnTo>
                  <a:lnTo>
                    <a:pt x="12177" y="3589"/>
                  </a:lnTo>
                  <a:lnTo>
                    <a:pt x="12083" y="3525"/>
                  </a:lnTo>
                  <a:lnTo>
                    <a:pt x="11988" y="3463"/>
                  </a:lnTo>
                  <a:lnTo>
                    <a:pt x="11893" y="3402"/>
                  </a:lnTo>
                  <a:lnTo>
                    <a:pt x="11798" y="3340"/>
                  </a:lnTo>
                  <a:lnTo>
                    <a:pt x="11702" y="3280"/>
                  </a:lnTo>
                  <a:lnTo>
                    <a:pt x="11606" y="3219"/>
                  </a:lnTo>
                  <a:lnTo>
                    <a:pt x="11509" y="3158"/>
                  </a:lnTo>
                  <a:lnTo>
                    <a:pt x="11411" y="3097"/>
                  </a:lnTo>
                  <a:lnTo>
                    <a:pt x="11318" y="3037"/>
                  </a:lnTo>
                  <a:lnTo>
                    <a:pt x="11222" y="2979"/>
                  </a:lnTo>
                  <a:lnTo>
                    <a:pt x="11125" y="2920"/>
                  </a:lnTo>
                  <a:lnTo>
                    <a:pt x="11028" y="2863"/>
                  </a:lnTo>
                  <a:lnTo>
                    <a:pt x="10930" y="2806"/>
                  </a:lnTo>
                  <a:lnTo>
                    <a:pt x="10831" y="2749"/>
                  </a:lnTo>
                  <a:lnTo>
                    <a:pt x="10732" y="2692"/>
                  </a:lnTo>
                  <a:lnTo>
                    <a:pt x="10631" y="2635"/>
                  </a:lnTo>
                  <a:lnTo>
                    <a:pt x="10529" y="2579"/>
                  </a:lnTo>
                  <a:lnTo>
                    <a:pt x="10427" y="2523"/>
                  </a:lnTo>
                  <a:lnTo>
                    <a:pt x="10326" y="2468"/>
                  </a:lnTo>
                  <a:lnTo>
                    <a:pt x="10223" y="2413"/>
                  </a:lnTo>
                  <a:lnTo>
                    <a:pt x="10120" y="2359"/>
                  </a:lnTo>
                  <a:lnTo>
                    <a:pt x="10015" y="2305"/>
                  </a:lnTo>
                  <a:lnTo>
                    <a:pt x="9911" y="2251"/>
                  </a:lnTo>
                  <a:lnTo>
                    <a:pt x="9807" y="2198"/>
                  </a:lnTo>
                  <a:lnTo>
                    <a:pt x="9735" y="2162"/>
                  </a:lnTo>
                  <a:lnTo>
                    <a:pt x="9660" y="2124"/>
                  </a:lnTo>
                  <a:lnTo>
                    <a:pt x="9583" y="2086"/>
                  </a:lnTo>
                  <a:lnTo>
                    <a:pt x="9504" y="2047"/>
                  </a:lnTo>
                  <a:lnTo>
                    <a:pt x="9423" y="2010"/>
                  </a:lnTo>
                  <a:lnTo>
                    <a:pt x="9340" y="1971"/>
                  </a:lnTo>
                  <a:lnTo>
                    <a:pt x="9258" y="1932"/>
                  </a:lnTo>
                  <a:lnTo>
                    <a:pt x="9174" y="1893"/>
                  </a:lnTo>
                  <a:lnTo>
                    <a:pt x="9091" y="1855"/>
                  </a:lnTo>
                  <a:lnTo>
                    <a:pt x="9006" y="1816"/>
                  </a:lnTo>
                  <a:lnTo>
                    <a:pt x="8923" y="1780"/>
                  </a:lnTo>
                  <a:lnTo>
                    <a:pt x="8840" y="1743"/>
                  </a:lnTo>
                  <a:lnTo>
                    <a:pt x="8759" y="1707"/>
                  </a:lnTo>
                  <a:lnTo>
                    <a:pt x="8679" y="1673"/>
                  </a:lnTo>
                  <a:lnTo>
                    <a:pt x="8600" y="1640"/>
                  </a:lnTo>
                  <a:lnTo>
                    <a:pt x="8523" y="1608"/>
                  </a:lnTo>
                  <a:lnTo>
                    <a:pt x="8472" y="1587"/>
                  </a:lnTo>
                  <a:lnTo>
                    <a:pt x="8417" y="1562"/>
                  </a:lnTo>
                  <a:lnTo>
                    <a:pt x="8360" y="1537"/>
                  </a:lnTo>
                  <a:lnTo>
                    <a:pt x="8300" y="1511"/>
                  </a:lnTo>
                  <a:lnTo>
                    <a:pt x="8242" y="1485"/>
                  </a:lnTo>
                  <a:lnTo>
                    <a:pt x="8184" y="1461"/>
                  </a:lnTo>
                  <a:lnTo>
                    <a:pt x="8156" y="1451"/>
                  </a:lnTo>
                  <a:lnTo>
                    <a:pt x="8129" y="1442"/>
                  </a:lnTo>
                  <a:lnTo>
                    <a:pt x="8102" y="1433"/>
                  </a:lnTo>
                  <a:lnTo>
                    <a:pt x="8078" y="1426"/>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sp>
        <p:nvSpPr>
          <p:cNvPr id="112" name="Rectangle 140">
            <a:extLst>
              <a:ext uri="{FF2B5EF4-FFF2-40B4-BE49-F238E27FC236}">
                <a16:creationId xmlns:a16="http://schemas.microsoft.com/office/drawing/2014/main" id="{44436319-4E07-460B-88D1-36CDA0F86396}"/>
              </a:ext>
            </a:extLst>
          </p:cNvPr>
          <p:cNvSpPr/>
          <p:nvPr/>
        </p:nvSpPr>
        <p:spPr>
          <a:xfrm>
            <a:off x="5998746" y="3797633"/>
            <a:ext cx="3684549" cy="1126462"/>
          </a:xfrm>
          <a:prstGeom prst="rect">
            <a:avLst/>
          </a:prstGeom>
        </p:spPr>
        <p:txBody>
          <a:bodyPr wrap="square">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id-ID" sz="1400" b="0" i="0" u="none" strike="noStrike" kern="1200" cap="none" spc="0" normalizeH="0" baseline="0" noProof="0" dirty="0">
                <a:ln>
                  <a:noFill/>
                </a:ln>
                <a:solidFill>
                  <a:srgbClr val="FFFFFF">
                    <a:lumMod val="65000"/>
                  </a:srgbClr>
                </a:solidFill>
                <a:effectLst/>
                <a:uLnTx/>
                <a:uFillTx/>
                <a:latin typeface="Segoe UI Light" panose="020B0502040204020203" pitchFamily="34" charset="0"/>
                <a:ea typeface="+mn-ea"/>
                <a:cs typeface="Segoe UI Light" panose="020B0502040204020203" pitchFamily="34" charset="0"/>
              </a:rPr>
              <a:t>The quick, brown fox jumps over a lazy dog. DJs flock by when MTV ax quiz prog. Junk MTV quiz graced by fox whelps. DJs flock by when MTV ax quiz prog. </a:t>
            </a:r>
            <a:endParaRPr kumimoji="0" lang="en-US" sz="1400" b="0" i="0" u="none" strike="noStrike" kern="1200" cap="none" spc="0" normalizeH="0" baseline="0" noProof="0" dirty="0">
              <a:ln>
                <a:noFill/>
              </a:ln>
              <a:solidFill>
                <a:srgbClr val="FFFFFF">
                  <a:lumMod val="65000"/>
                </a:srgbClr>
              </a:solidFill>
              <a:effectLst/>
              <a:uLnTx/>
              <a:uFillTx/>
              <a:latin typeface="Segoe UI Light" panose="020B0502040204020203" pitchFamily="34" charset="0"/>
              <a:ea typeface="+mn-ea"/>
              <a:cs typeface="Segoe UI Light" panose="020B0502040204020203" pitchFamily="34" charset="0"/>
            </a:endParaRPr>
          </a:p>
        </p:txBody>
      </p:sp>
      <p:sp>
        <p:nvSpPr>
          <p:cNvPr id="113" name="Freeform 28">
            <a:extLst>
              <a:ext uri="{FF2B5EF4-FFF2-40B4-BE49-F238E27FC236}">
                <a16:creationId xmlns:a16="http://schemas.microsoft.com/office/drawing/2014/main" id="{8EAC8D65-54C7-499A-9DC3-0FDAC242E777}"/>
              </a:ext>
            </a:extLst>
          </p:cNvPr>
          <p:cNvSpPr>
            <a:spLocks noChangeArrowheads="1"/>
          </p:cNvSpPr>
          <p:nvPr/>
        </p:nvSpPr>
        <p:spPr bwMode="auto">
          <a:xfrm>
            <a:off x="1031165" y="4523616"/>
            <a:ext cx="389983" cy="326367"/>
          </a:xfrm>
          <a:custGeom>
            <a:avLst/>
            <a:gdLst>
              <a:gd name="T0" fmla="*/ 55735 w 498"/>
              <a:gd name="T1" fmla="*/ 36300 h 418"/>
              <a:gd name="T2" fmla="*/ 55735 w 498"/>
              <a:gd name="T3" fmla="*/ 36300 h 418"/>
              <a:gd name="T4" fmla="*/ 16181 w 498"/>
              <a:gd name="T5" fmla="*/ 115622 h 418"/>
              <a:gd name="T6" fmla="*/ 155518 w 498"/>
              <a:gd name="T7" fmla="*/ 51985 h 418"/>
              <a:gd name="T8" fmla="*/ 4045 w 498"/>
              <a:gd name="T9" fmla="*/ 171192 h 418"/>
              <a:gd name="T10" fmla="*/ 19777 w 498"/>
              <a:gd name="T11" fmla="*/ 179258 h 418"/>
              <a:gd name="T12" fmla="*/ 43599 w 498"/>
              <a:gd name="T13" fmla="*/ 139373 h 418"/>
              <a:gd name="T14" fmla="*/ 131696 w 498"/>
              <a:gd name="T15" fmla="*/ 139373 h 418"/>
              <a:gd name="T16" fmla="*/ 210803 w 498"/>
              <a:gd name="T17" fmla="*/ 32267 h 418"/>
              <a:gd name="T18" fmla="*/ 55735 w 498"/>
              <a:gd name="T19" fmla="*/ 36300 h 41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98" h="418">
                <a:moveTo>
                  <a:pt x="124" y="81"/>
                </a:moveTo>
                <a:lnTo>
                  <a:pt x="124" y="81"/>
                </a:lnTo>
                <a:cubicBezTo>
                  <a:pt x="27" y="134"/>
                  <a:pt x="36" y="222"/>
                  <a:pt x="36" y="258"/>
                </a:cubicBezTo>
                <a:cubicBezTo>
                  <a:pt x="159" y="107"/>
                  <a:pt x="346" y="116"/>
                  <a:pt x="346" y="116"/>
                </a:cubicBezTo>
                <a:cubicBezTo>
                  <a:pt x="346" y="116"/>
                  <a:pt x="80" y="204"/>
                  <a:pt x="9" y="382"/>
                </a:cubicBezTo>
                <a:cubicBezTo>
                  <a:pt x="0" y="400"/>
                  <a:pt x="36" y="417"/>
                  <a:pt x="44" y="400"/>
                </a:cubicBezTo>
                <a:cubicBezTo>
                  <a:pt x="62" y="355"/>
                  <a:pt x="97" y="311"/>
                  <a:pt x="97" y="311"/>
                </a:cubicBezTo>
                <a:cubicBezTo>
                  <a:pt x="151" y="329"/>
                  <a:pt x="230" y="355"/>
                  <a:pt x="293" y="311"/>
                </a:cubicBezTo>
                <a:cubicBezTo>
                  <a:pt x="363" y="258"/>
                  <a:pt x="363" y="134"/>
                  <a:pt x="469" y="72"/>
                </a:cubicBezTo>
                <a:cubicBezTo>
                  <a:pt x="497" y="63"/>
                  <a:pt x="249" y="0"/>
                  <a:pt x="124" y="81"/>
                </a:cubicBezTo>
              </a:path>
            </a:pathLst>
          </a:custGeom>
          <a:solidFill>
            <a:schemeClr val="bg1"/>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7"/>
                    </a:srgbClr>
                  </a:outerShdw>
                </a:effectLst>
              </a14:hiddenEffects>
            </a:ext>
          </a:extLst>
        </p:spPr>
        <p:txBody>
          <a:bodyPr wrap="none" lIns="34290" tIns="17145" rIns="34290" bIns="17145"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114" name="Freeform 47">
            <a:extLst>
              <a:ext uri="{FF2B5EF4-FFF2-40B4-BE49-F238E27FC236}">
                <a16:creationId xmlns:a16="http://schemas.microsoft.com/office/drawing/2014/main" id="{D1E192E8-E23E-4478-910E-5F6ACAF70EA9}"/>
              </a:ext>
            </a:extLst>
          </p:cNvPr>
          <p:cNvSpPr>
            <a:spLocks noChangeArrowheads="1"/>
          </p:cNvSpPr>
          <p:nvPr/>
        </p:nvSpPr>
        <p:spPr bwMode="auto">
          <a:xfrm>
            <a:off x="2806679" y="1705993"/>
            <a:ext cx="373591" cy="328225"/>
          </a:xfrm>
          <a:custGeom>
            <a:avLst/>
            <a:gdLst>
              <a:gd name="T0" fmla="*/ 221804 w 498"/>
              <a:gd name="T1" fmla="*/ 194813 h 435"/>
              <a:gd name="T2" fmla="*/ 221804 w 498"/>
              <a:gd name="T3" fmla="*/ 194813 h 435"/>
              <a:gd name="T4" fmla="*/ 217341 w 498"/>
              <a:gd name="T5" fmla="*/ 147232 h 435"/>
              <a:gd name="T6" fmla="*/ 189671 w 498"/>
              <a:gd name="T7" fmla="*/ 131521 h 435"/>
              <a:gd name="T8" fmla="*/ 166018 w 498"/>
              <a:gd name="T9" fmla="*/ 103691 h 435"/>
              <a:gd name="T10" fmla="*/ 174051 w 498"/>
              <a:gd name="T11" fmla="*/ 87980 h 435"/>
              <a:gd name="T12" fmla="*/ 182084 w 498"/>
              <a:gd name="T13" fmla="*/ 71372 h 435"/>
              <a:gd name="T14" fmla="*/ 178068 w 498"/>
              <a:gd name="T15" fmla="*/ 67781 h 435"/>
              <a:gd name="T16" fmla="*/ 182084 w 498"/>
              <a:gd name="T17" fmla="*/ 51621 h 435"/>
              <a:gd name="T18" fmla="*/ 154415 w 498"/>
              <a:gd name="T19" fmla="*/ 27830 h 435"/>
              <a:gd name="T20" fmla="*/ 126745 w 498"/>
              <a:gd name="T21" fmla="*/ 51621 h 435"/>
              <a:gd name="T22" fmla="*/ 130762 w 498"/>
              <a:gd name="T23" fmla="*/ 67781 h 435"/>
              <a:gd name="T24" fmla="*/ 126745 w 498"/>
              <a:gd name="T25" fmla="*/ 71372 h 435"/>
              <a:gd name="T26" fmla="*/ 134778 w 498"/>
              <a:gd name="T27" fmla="*/ 87980 h 435"/>
              <a:gd name="T28" fmla="*/ 138795 w 498"/>
              <a:gd name="T29" fmla="*/ 103691 h 435"/>
              <a:gd name="T30" fmla="*/ 130762 w 498"/>
              <a:gd name="T31" fmla="*/ 123441 h 435"/>
              <a:gd name="T32" fmla="*/ 170035 w 498"/>
              <a:gd name="T33" fmla="*/ 163392 h 435"/>
              <a:gd name="T34" fmla="*/ 170035 w 498"/>
              <a:gd name="T35" fmla="*/ 194813 h 435"/>
              <a:gd name="T36" fmla="*/ 221804 w 498"/>
              <a:gd name="T37" fmla="*/ 194813 h 435"/>
              <a:gd name="T38" fmla="*/ 115142 w 498"/>
              <a:gd name="T39" fmla="*/ 135561 h 435"/>
              <a:gd name="T40" fmla="*/ 115142 w 498"/>
              <a:gd name="T41" fmla="*/ 135561 h 435"/>
              <a:gd name="T42" fmla="*/ 83455 w 498"/>
              <a:gd name="T43" fmla="*/ 103691 h 435"/>
              <a:gd name="T44" fmla="*/ 95059 w 498"/>
              <a:gd name="T45" fmla="*/ 75412 h 435"/>
              <a:gd name="T46" fmla="*/ 103092 w 498"/>
              <a:gd name="T47" fmla="*/ 59701 h 435"/>
              <a:gd name="T48" fmla="*/ 99075 w 498"/>
              <a:gd name="T49" fmla="*/ 51621 h 435"/>
              <a:gd name="T50" fmla="*/ 103092 w 498"/>
              <a:gd name="T51" fmla="*/ 31870 h 435"/>
              <a:gd name="T52" fmla="*/ 67389 w 498"/>
              <a:gd name="T53" fmla="*/ 0 h 435"/>
              <a:gd name="T54" fmla="*/ 31686 w 498"/>
              <a:gd name="T55" fmla="*/ 31870 h 435"/>
              <a:gd name="T56" fmla="*/ 31686 w 498"/>
              <a:gd name="T57" fmla="*/ 51621 h 435"/>
              <a:gd name="T58" fmla="*/ 31686 w 498"/>
              <a:gd name="T59" fmla="*/ 59701 h 435"/>
              <a:gd name="T60" fmla="*/ 39719 w 498"/>
              <a:gd name="T61" fmla="*/ 75412 h 435"/>
              <a:gd name="T62" fmla="*/ 47753 w 498"/>
              <a:gd name="T63" fmla="*/ 103691 h 435"/>
              <a:gd name="T64" fmla="*/ 20083 w 498"/>
              <a:gd name="T65" fmla="*/ 135561 h 435"/>
              <a:gd name="T66" fmla="*/ 0 w 498"/>
              <a:gd name="T67" fmla="*/ 155312 h 435"/>
              <a:gd name="T68" fmla="*/ 0 w 498"/>
              <a:gd name="T69" fmla="*/ 194813 h 435"/>
              <a:gd name="T70" fmla="*/ 154415 w 498"/>
              <a:gd name="T71" fmla="*/ 194813 h 435"/>
              <a:gd name="T72" fmla="*/ 154415 w 498"/>
              <a:gd name="T73" fmla="*/ 163392 h 435"/>
              <a:gd name="T74" fmla="*/ 115142 w 498"/>
              <a:gd name="T75" fmla="*/ 135561 h 435"/>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498" h="435">
                <a:moveTo>
                  <a:pt x="497" y="434"/>
                </a:moveTo>
                <a:lnTo>
                  <a:pt x="497" y="434"/>
                </a:lnTo>
                <a:cubicBezTo>
                  <a:pt x="497" y="434"/>
                  <a:pt x="497" y="337"/>
                  <a:pt x="487" y="328"/>
                </a:cubicBezTo>
                <a:cubicBezTo>
                  <a:pt x="479" y="319"/>
                  <a:pt x="462" y="302"/>
                  <a:pt x="425" y="293"/>
                </a:cubicBezTo>
                <a:cubicBezTo>
                  <a:pt x="390" y="275"/>
                  <a:pt x="372" y="257"/>
                  <a:pt x="372" y="231"/>
                </a:cubicBezTo>
                <a:cubicBezTo>
                  <a:pt x="372" y="213"/>
                  <a:pt x="390" y="222"/>
                  <a:pt x="390" y="196"/>
                </a:cubicBezTo>
                <a:cubicBezTo>
                  <a:pt x="390" y="178"/>
                  <a:pt x="408" y="196"/>
                  <a:pt x="408" y="159"/>
                </a:cubicBezTo>
                <a:cubicBezTo>
                  <a:pt x="408" y="151"/>
                  <a:pt x="399" y="151"/>
                  <a:pt x="399" y="151"/>
                </a:cubicBezTo>
                <a:cubicBezTo>
                  <a:pt x="399" y="151"/>
                  <a:pt x="408" y="133"/>
                  <a:pt x="408" y="115"/>
                </a:cubicBezTo>
                <a:cubicBezTo>
                  <a:pt x="408" y="98"/>
                  <a:pt x="399" y="62"/>
                  <a:pt x="346" y="62"/>
                </a:cubicBezTo>
                <a:cubicBezTo>
                  <a:pt x="293" y="62"/>
                  <a:pt x="284" y="98"/>
                  <a:pt x="284" y="115"/>
                </a:cubicBezTo>
                <a:cubicBezTo>
                  <a:pt x="284" y="133"/>
                  <a:pt x="293" y="151"/>
                  <a:pt x="293" y="151"/>
                </a:cubicBezTo>
                <a:cubicBezTo>
                  <a:pt x="293" y="151"/>
                  <a:pt x="284" y="151"/>
                  <a:pt x="284" y="159"/>
                </a:cubicBezTo>
                <a:cubicBezTo>
                  <a:pt x="284" y="196"/>
                  <a:pt x="293" y="178"/>
                  <a:pt x="302" y="196"/>
                </a:cubicBezTo>
                <a:cubicBezTo>
                  <a:pt x="302" y="222"/>
                  <a:pt x="311" y="213"/>
                  <a:pt x="311" y="231"/>
                </a:cubicBezTo>
                <a:cubicBezTo>
                  <a:pt x="311" y="249"/>
                  <a:pt x="311" y="266"/>
                  <a:pt x="293" y="275"/>
                </a:cubicBezTo>
                <a:cubicBezTo>
                  <a:pt x="372" y="319"/>
                  <a:pt x="381" y="319"/>
                  <a:pt x="381" y="364"/>
                </a:cubicBezTo>
                <a:cubicBezTo>
                  <a:pt x="381" y="434"/>
                  <a:pt x="381" y="434"/>
                  <a:pt x="381" y="434"/>
                </a:cubicBezTo>
                <a:lnTo>
                  <a:pt x="497" y="434"/>
                </a:lnTo>
                <a:close/>
                <a:moveTo>
                  <a:pt x="258" y="302"/>
                </a:moveTo>
                <a:lnTo>
                  <a:pt x="258" y="302"/>
                </a:lnTo>
                <a:cubicBezTo>
                  <a:pt x="204" y="284"/>
                  <a:pt x="187" y="266"/>
                  <a:pt x="187" y="231"/>
                </a:cubicBezTo>
                <a:cubicBezTo>
                  <a:pt x="187" y="204"/>
                  <a:pt x="204" y="213"/>
                  <a:pt x="213" y="168"/>
                </a:cubicBezTo>
                <a:cubicBezTo>
                  <a:pt x="213" y="159"/>
                  <a:pt x="231" y="168"/>
                  <a:pt x="231" y="133"/>
                </a:cubicBezTo>
                <a:cubicBezTo>
                  <a:pt x="231" y="115"/>
                  <a:pt x="222" y="115"/>
                  <a:pt x="222" y="115"/>
                </a:cubicBezTo>
                <a:cubicBezTo>
                  <a:pt x="222" y="115"/>
                  <a:pt x="222" y="89"/>
                  <a:pt x="231" y="71"/>
                </a:cubicBezTo>
                <a:cubicBezTo>
                  <a:pt x="231" y="53"/>
                  <a:pt x="213" y="0"/>
                  <a:pt x="151" y="0"/>
                </a:cubicBezTo>
                <a:cubicBezTo>
                  <a:pt x="80" y="0"/>
                  <a:pt x="71" y="53"/>
                  <a:pt x="71" y="71"/>
                </a:cubicBezTo>
                <a:cubicBezTo>
                  <a:pt x="71" y="89"/>
                  <a:pt x="71" y="115"/>
                  <a:pt x="71" y="115"/>
                </a:cubicBezTo>
                <a:cubicBezTo>
                  <a:pt x="71" y="115"/>
                  <a:pt x="71" y="115"/>
                  <a:pt x="71" y="133"/>
                </a:cubicBezTo>
                <a:cubicBezTo>
                  <a:pt x="71" y="168"/>
                  <a:pt x="80" y="159"/>
                  <a:pt x="89" y="168"/>
                </a:cubicBezTo>
                <a:cubicBezTo>
                  <a:pt x="89" y="213"/>
                  <a:pt x="107" y="204"/>
                  <a:pt x="107" y="231"/>
                </a:cubicBezTo>
                <a:cubicBezTo>
                  <a:pt x="107" y="266"/>
                  <a:pt x="89" y="284"/>
                  <a:pt x="45" y="302"/>
                </a:cubicBezTo>
                <a:cubicBezTo>
                  <a:pt x="27" y="310"/>
                  <a:pt x="0" y="319"/>
                  <a:pt x="0" y="346"/>
                </a:cubicBezTo>
                <a:cubicBezTo>
                  <a:pt x="0" y="434"/>
                  <a:pt x="0" y="434"/>
                  <a:pt x="0" y="434"/>
                </a:cubicBezTo>
                <a:cubicBezTo>
                  <a:pt x="346" y="434"/>
                  <a:pt x="346" y="434"/>
                  <a:pt x="346" y="434"/>
                </a:cubicBezTo>
                <a:cubicBezTo>
                  <a:pt x="346" y="434"/>
                  <a:pt x="346" y="381"/>
                  <a:pt x="346" y="364"/>
                </a:cubicBezTo>
                <a:cubicBezTo>
                  <a:pt x="346" y="346"/>
                  <a:pt x="302" y="328"/>
                  <a:pt x="258" y="302"/>
                </a:cubicBezTo>
                <a:close/>
              </a:path>
            </a:pathLst>
          </a:custGeom>
          <a:solidFill>
            <a:schemeClr val="bg1"/>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7"/>
                    </a:srgbClr>
                  </a:outerShdw>
                </a:effectLst>
              </a14:hiddenEffects>
            </a:ext>
          </a:extLst>
        </p:spPr>
        <p:txBody>
          <a:bodyPr wrap="none" lIns="34290" tIns="17145" rIns="34290" bIns="17145"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115" name="Freeform 117">
            <a:extLst>
              <a:ext uri="{FF2B5EF4-FFF2-40B4-BE49-F238E27FC236}">
                <a16:creationId xmlns:a16="http://schemas.microsoft.com/office/drawing/2014/main" id="{EB3703F4-8820-4328-989B-F20114CFDBEB}"/>
              </a:ext>
            </a:extLst>
          </p:cNvPr>
          <p:cNvSpPr>
            <a:spLocks noChangeArrowheads="1"/>
          </p:cNvSpPr>
          <p:nvPr/>
        </p:nvSpPr>
        <p:spPr bwMode="auto">
          <a:xfrm>
            <a:off x="1497422" y="2536075"/>
            <a:ext cx="349573" cy="322890"/>
          </a:xfrm>
          <a:custGeom>
            <a:avLst/>
            <a:gdLst>
              <a:gd name="T0" fmla="*/ 119736 w 462"/>
              <a:gd name="T1" fmla="*/ 0 h 427"/>
              <a:gd name="T2" fmla="*/ 119736 w 462"/>
              <a:gd name="T3" fmla="*/ 0 h 427"/>
              <a:gd name="T4" fmla="*/ 119736 w 462"/>
              <a:gd name="T5" fmla="*/ 0 h 427"/>
              <a:gd name="T6" fmla="*/ 31960 w 462"/>
              <a:gd name="T7" fmla="*/ 35988 h 427"/>
              <a:gd name="T8" fmla="*/ 36011 w 462"/>
              <a:gd name="T9" fmla="*/ 64329 h 427"/>
              <a:gd name="T10" fmla="*/ 0 w 462"/>
              <a:gd name="T11" fmla="*/ 107965 h 427"/>
              <a:gd name="T12" fmla="*/ 51765 w 462"/>
              <a:gd name="T13" fmla="*/ 143504 h 427"/>
              <a:gd name="T14" fmla="*/ 103981 w 462"/>
              <a:gd name="T15" fmla="*/ 119661 h 427"/>
              <a:gd name="T16" fmla="*/ 103981 w 462"/>
              <a:gd name="T17" fmla="*/ 112014 h 427"/>
              <a:gd name="T18" fmla="*/ 119736 w 462"/>
              <a:gd name="T19" fmla="*/ 95819 h 427"/>
              <a:gd name="T20" fmla="*/ 135941 w 462"/>
              <a:gd name="T21" fmla="*/ 112014 h 427"/>
              <a:gd name="T22" fmla="*/ 119736 w 462"/>
              <a:gd name="T23" fmla="*/ 127759 h 427"/>
              <a:gd name="T24" fmla="*/ 51765 w 462"/>
              <a:gd name="T25" fmla="*/ 159698 h 427"/>
              <a:gd name="T26" fmla="*/ 51765 w 462"/>
              <a:gd name="T27" fmla="*/ 167346 h 427"/>
              <a:gd name="T28" fmla="*/ 119736 w 462"/>
              <a:gd name="T29" fmla="*/ 191638 h 427"/>
              <a:gd name="T30" fmla="*/ 119736 w 462"/>
              <a:gd name="T31" fmla="*/ 191638 h 427"/>
              <a:gd name="T32" fmla="*/ 183655 w 462"/>
              <a:gd name="T33" fmla="*/ 167346 h 427"/>
              <a:gd name="T34" fmla="*/ 203911 w 462"/>
              <a:gd name="T35" fmla="*/ 35988 h 427"/>
              <a:gd name="T36" fmla="*/ 119736 w 462"/>
              <a:gd name="T37" fmla="*/ 0 h 427"/>
              <a:gd name="T38" fmla="*/ 16205 w 462"/>
              <a:gd name="T39" fmla="*/ 103916 h 427"/>
              <a:gd name="T40" fmla="*/ 16205 w 462"/>
              <a:gd name="T41" fmla="*/ 103916 h 427"/>
              <a:gd name="T42" fmla="*/ 40062 w 462"/>
              <a:gd name="T43" fmla="*/ 80074 h 427"/>
              <a:gd name="T44" fmla="*/ 47714 w 462"/>
              <a:gd name="T45" fmla="*/ 127759 h 427"/>
              <a:gd name="T46" fmla="*/ 16205 w 462"/>
              <a:gd name="T47" fmla="*/ 103916 h 427"/>
              <a:gd name="T48" fmla="*/ 119736 w 462"/>
              <a:gd name="T49" fmla="*/ 59831 h 427"/>
              <a:gd name="T50" fmla="*/ 119736 w 462"/>
              <a:gd name="T51" fmla="*/ 59831 h 427"/>
              <a:gd name="T52" fmla="*/ 47714 w 462"/>
              <a:gd name="T53" fmla="*/ 35988 h 427"/>
              <a:gd name="T54" fmla="*/ 119736 w 462"/>
              <a:gd name="T55" fmla="*/ 16195 h 427"/>
              <a:gd name="T56" fmla="*/ 187256 w 462"/>
              <a:gd name="T57" fmla="*/ 35988 h 427"/>
              <a:gd name="T58" fmla="*/ 119736 w 462"/>
              <a:gd name="T59" fmla="*/ 59831 h 427"/>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462" h="427">
                <a:moveTo>
                  <a:pt x="266" y="0"/>
                </a:moveTo>
                <a:lnTo>
                  <a:pt x="266" y="0"/>
                </a:lnTo>
                <a:cubicBezTo>
                  <a:pt x="142" y="0"/>
                  <a:pt x="62" y="45"/>
                  <a:pt x="71" y="80"/>
                </a:cubicBezTo>
                <a:cubicBezTo>
                  <a:pt x="71" y="89"/>
                  <a:pt x="71" y="116"/>
                  <a:pt x="80" y="143"/>
                </a:cubicBezTo>
                <a:cubicBezTo>
                  <a:pt x="18" y="169"/>
                  <a:pt x="0" y="205"/>
                  <a:pt x="0" y="240"/>
                </a:cubicBezTo>
                <a:cubicBezTo>
                  <a:pt x="9" y="275"/>
                  <a:pt x="36" y="311"/>
                  <a:pt x="115" y="319"/>
                </a:cubicBezTo>
                <a:cubicBezTo>
                  <a:pt x="151" y="319"/>
                  <a:pt x="204" y="302"/>
                  <a:pt x="231" y="266"/>
                </a:cubicBezTo>
                <a:cubicBezTo>
                  <a:pt x="231" y="258"/>
                  <a:pt x="231" y="249"/>
                  <a:pt x="231" y="249"/>
                </a:cubicBezTo>
                <a:cubicBezTo>
                  <a:pt x="231" y="222"/>
                  <a:pt x="249" y="213"/>
                  <a:pt x="266" y="213"/>
                </a:cubicBezTo>
                <a:cubicBezTo>
                  <a:pt x="284" y="213"/>
                  <a:pt x="302" y="222"/>
                  <a:pt x="302" y="249"/>
                </a:cubicBezTo>
                <a:cubicBezTo>
                  <a:pt x="302" y="266"/>
                  <a:pt x="284" y="284"/>
                  <a:pt x="266" y="284"/>
                </a:cubicBezTo>
                <a:cubicBezTo>
                  <a:pt x="222" y="328"/>
                  <a:pt x="169" y="355"/>
                  <a:pt x="115" y="355"/>
                </a:cubicBezTo>
                <a:cubicBezTo>
                  <a:pt x="115" y="364"/>
                  <a:pt x="115" y="364"/>
                  <a:pt x="115" y="372"/>
                </a:cubicBezTo>
                <a:cubicBezTo>
                  <a:pt x="115" y="381"/>
                  <a:pt x="178" y="426"/>
                  <a:pt x="266" y="426"/>
                </a:cubicBezTo>
                <a:cubicBezTo>
                  <a:pt x="355" y="426"/>
                  <a:pt x="408" y="381"/>
                  <a:pt x="408" y="372"/>
                </a:cubicBezTo>
                <a:cubicBezTo>
                  <a:pt x="416" y="355"/>
                  <a:pt x="453" y="116"/>
                  <a:pt x="453" y="80"/>
                </a:cubicBezTo>
                <a:cubicBezTo>
                  <a:pt x="461" y="45"/>
                  <a:pt x="381" y="0"/>
                  <a:pt x="266" y="0"/>
                </a:cubicBezTo>
                <a:close/>
                <a:moveTo>
                  <a:pt x="36" y="231"/>
                </a:moveTo>
                <a:lnTo>
                  <a:pt x="36" y="231"/>
                </a:lnTo>
                <a:cubicBezTo>
                  <a:pt x="36" y="222"/>
                  <a:pt x="53" y="196"/>
                  <a:pt x="89" y="178"/>
                </a:cubicBezTo>
                <a:cubicBezTo>
                  <a:pt x="89" y="213"/>
                  <a:pt x="98" y="249"/>
                  <a:pt x="106" y="284"/>
                </a:cubicBezTo>
                <a:cubicBezTo>
                  <a:pt x="62" y="275"/>
                  <a:pt x="44" y="258"/>
                  <a:pt x="36" y="231"/>
                </a:cubicBezTo>
                <a:close/>
                <a:moveTo>
                  <a:pt x="266" y="133"/>
                </a:moveTo>
                <a:lnTo>
                  <a:pt x="266" y="133"/>
                </a:lnTo>
                <a:cubicBezTo>
                  <a:pt x="178" y="133"/>
                  <a:pt x="106" y="98"/>
                  <a:pt x="106" y="80"/>
                </a:cubicBezTo>
                <a:cubicBezTo>
                  <a:pt x="106" y="71"/>
                  <a:pt x="178" y="36"/>
                  <a:pt x="266" y="36"/>
                </a:cubicBezTo>
                <a:cubicBezTo>
                  <a:pt x="355" y="36"/>
                  <a:pt x="416" y="71"/>
                  <a:pt x="416" y="80"/>
                </a:cubicBezTo>
                <a:cubicBezTo>
                  <a:pt x="416" y="98"/>
                  <a:pt x="355" y="133"/>
                  <a:pt x="266" y="133"/>
                </a:cubicBezTo>
                <a:close/>
              </a:path>
            </a:pathLst>
          </a:custGeom>
          <a:solidFill>
            <a:schemeClr val="bg1"/>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7"/>
                    </a:srgbClr>
                  </a:outerShdw>
                </a:effectLst>
              </a14:hiddenEffects>
            </a:ext>
          </a:extLst>
        </p:spPr>
        <p:txBody>
          <a:bodyPr wrap="none" lIns="34290" tIns="17145" rIns="34290" bIns="17145"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116" name="Freeform 151">
            <a:extLst>
              <a:ext uri="{FF2B5EF4-FFF2-40B4-BE49-F238E27FC236}">
                <a16:creationId xmlns:a16="http://schemas.microsoft.com/office/drawing/2014/main" id="{E27F9338-F8AF-479E-BA0F-6E3D1F6782EE}"/>
              </a:ext>
            </a:extLst>
          </p:cNvPr>
          <p:cNvSpPr>
            <a:spLocks noChangeArrowheads="1"/>
          </p:cNvSpPr>
          <p:nvPr/>
        </p:nvSpPr>
        <p:spPr bwMode="auto">
          <a:xfrm>
            <a:off x="4280327" y="2217274"/>
            <a:ext cx="376258" cy="218817"/>
          </a:xfrm>
          <a:custGeom>
            <a:avLst/>
            <a:gdLst>
              <a:gd name="T0" fmla="*/ 55847 w 497"/>
              <a:gd name="T1" fmla="*/ 98187 h 293"/>
              <a:gd name="T2" fmla="*/ 55847 w 497"/>
              <a:gd name="T3" fmla="*/ 98187 h 293"/>
              <a:gd name="T4" fmla="*/ 55847 w 497"/>
              <a:gd name="T5" fmla="*/ 43095 h 293"/>
              <a:gd name="T6" fmla="*/ 79717 w 497"/>
              <a:gd name="T7" fmla="*/ 43095 h 293"/>
              <a:gd name="T8" fmla="*/ 39633 w 497"/>
              <a:gd name="T9" fmla="*/ 0 h 293"/>
              <a:gd name="T10" fmla="*/ 0 w 497"/>
              <a:gd name="T11" fmla="*/ 43095 h 293"/>
              <a:gd name="T12" fmla="*/ 23870 w 497"/>
              <a:gd name="T13" fmla="*/ 43095 h 293"/>
              <a:gd name="T14" fmla="*/ 23870 w 497"/>
              <a:gd name="T15" fmla="*/ 110182 h 293"/>
              <a:gd name="T16" fmla="*/ 43686 w 497"/>
              <a:gd name="T17" fmla="*/ 129731 h 293"/>
              <a:gd name="T18" fmla="*/ 143670 w 497"/>
              <a:gd name="T19" fmla="*/ 129731 h 293"/>
              <a:gd name="T20" fmla="*/ 115296 w 497"/>
              <a:gd name="T21" fmla="*/ 98187 h 293"/>
              <a:gd name="T22" fmla="*/ 55847 w 497"/>
              <a:gd name="T23" fmla="*/ 98187 h 293"/>
              <a:gd name="T24" fmla="*/ 199517 w 497"/>
              <a:gd name="T25" fmla="*/ 86635 h 293"/>
              <a:gd name="T26" fmla="*/ 199517 w 497"/>
              <a:gd name="T27" fmla="*/ 86635 h 293"/>
              <a:gd name="T28" fmla="*/ 199517 w 497"/>
              <a:gd name="T29" fmla="*/ 19548 h 293"/>
              <a:gd name="T30" fmla="*/ 179700 w 497"/>
              <a:gd name="T31" fmla="*/ 0 h 293"/>
              <a:gd name="T32" fmla="*/ 79717 w 497"/>
              <a:gd name="T33" fmla="*/ 0 h 293"/>
              <a:gd name="T34" fmla="*/ 107640 w 497"/>
              <a:gd name="T35" fmla="*/ 27101 h 293"/>
              <a:gd name="T36" fmla="*/ 167540 w 497"/>
              <a:gd name="T37" fmla="*/ 27101 h 293"/>
              <a:gd name="T38" fmla="*/ 167540 w 497"/>
              <a:gd name="T39" fmla="*/ 86635 h 293"/>
              <a:gd name="T40" fmla="*/ 143670 w 497"/>
              <a:gd name="T41" fmla="*/ 86635 h 293"/>
              <a:gd name="T42" fmla="*/ 183303 w 497"/>
              <a:gd name="T43" fmla="*/ 129731 h 293"/>
              <a:gd name="T44" fmla="*/ 223387 w 497"/>
              <a:gd name="T45" fmla="*/ 86635 h 293"/>
              <a:gd name="T46" fmla="*/ 199517 w 497"/>
              <a:gd name="T47" fmla="*/ 86635 h 293"/>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497" h="293">
                <a:moveTo>
                  <a:pt x="124" y="221"/>
                </a:moveTo>
                <a:lnTo>
                  <a:pt x="124" y="221"/>
                </a:lnTo>
                <a:cubicBezTo>
                  <a:pt x="124" y="97"/>
                  <a:pt x="124" y="97"/>
                  <a:pt x="124" y="97"/>
                </a:cubicBezTo>
                <a:cubicBezTo>
                  <a:pt x="177" y="97"/>
                  <a:pt x="177" y="97"/>
                  <a:pt x="177" y="97"/>
                </a:cubicBezTo>
                <a:cubicBezTo>
                  <a:pt x="88" y="0"/>
                  <a:pt x="88" y="0"/>
                  <a:pt x="88" y="0"/>
                </a:cubicBezTo>
                <a:cubicBezTo>
                  <a:pt x="0" y="97"/>
                  <a:pt x="0" y="97"/>
                  <a:pt x="0" y="97"/>
                </a:cubicBezTo>
                <a:cubicBezTo>
                  <a:pt x="53" y="97"/>
                  <a:pt x="53" y="97"/>
                  <a:pt x="53" y="97"/>
                </a:cubicBezTo>
                <a:cubicBezTo>
                  <a:pt x="53" y="248"/>
                  <a:pt x="53" y="248"/>
                  <a:pt x="53" y="248"/>
                </a:cubicBezTo>
                <a:cubicBezTo>
                  <a:pt x="53" y="274"/>
                  <a:pt x="71" y="292"/>
                  <a:pt x="97" y="292"/>
                </a:cubicBezTo>
                <a:cubicBezTo>
                  <a:pt x="319" y="292"/>
                  <a:pt x="319" y="292"/>
                  <a:pt x="319" y="292"/>
                </a:cubicBezTo>
                <a:cubicBezTo>
                  <a:pt x="256" y="221"/>
                  <a:pt x="256" y="221"/>
                  <a:pt x="256" y="221"/>
                </a:cubicBezTo>
                <a:lnTo>
                  <a:pt x="124" y="221"/>
                </a:lnTo>
                <a:close/>
                <a:moveTo>
                  <a:pt x="443" y="195"/>
                </a:moveTo>
                <a:lnTo>
                  <a:pt x="443" y="195"/>
                </a:lnTo>
                <a:cubicBezTo>
                  <a:pt x="443" y="44"/>
                  <a:pt x="443" y="44"/>
                  <a:pt x="443" y="44"/>
                </a:cubicBezTo>
                <a:cubicBezTo>
                  <a:pt x="443" y="17"/>
                  <a:pt x="425" y="0"/>
                  <a:pt x="399" y="0"/>
                </a:cubicBezTo>
                <a:cubicBezTo>
                  <a:pt x="177" y="0"/>
                  <a:pt x="177" y="0"/>
                  <a:pt x="177" y="0"/>
                </a:cubicBezTo>
                <a:cubicBezTo>
                  <a:pt x="239" y="61"/>
                  <a:pt x="239" y="61"/>
                  <a:pt x="239" y="61"/>
                </a:cubicBezTo>
                <a:cubicBezTo>
                  <a:pt x="372" y="61"/>
                  <a:pt x="372" y="61"/>
                  <a:pt x="372" y="61"/>
                </a:cubicBezTo>
                <a:cubicBezTo>
                  <a:pt x="372" y="195"/>
                  <a:pt x="372" y="195"/>
                  <a:pt x="372" y="195"/>
                </a:cubicBezTo>
                <a:cubicBezTo>
                  <a:pt x="319" y="195"/>
                  <a:pt x="319" y="195"/>
                  <a:pt x="319" y="195"/>
                </a:cubicBezTo>
                <a:cubicBezTo>
                  <a:pt x="407" y="292"/>
                  <a:pt x="407" y="292"/>
                  <a:pt x="407" y="292"/>
                </a:cubicBezTo>
                <a:cubicBezTo>
                  <a:pt x="496" y="195"/>
                  <a:pt x="496" y="195"/>
                  <a:pt x="496" y="195"/>
                </a:cubicBezTo>
                <a:lnTo>
                  <a:pt x="443" y="195"/>
                </a:lnTo>
                <a:close/>
              </a:path>
            </a:pathLst>
          </a:custGeom>
          <a:solidFill>
            <a:schemeClr val="bg1"/>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7"/>
                    </a:srgbClr>
                  </a:outerShdw>
                </a:effectLst>
              </a14:hiddenEffects>
            </a:ext>
          </a:extLst>
        </p:spPr>
        <p:txBody>
          <a:bodyPr wrap="none" lIns="34290" tIns="17145" rIns="34290" bIns="17145"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117" name="Freeform 160">
            <a:extLst>
              <a:ext uri="{FF2B5EF4-FFF2-40B4-BE49-F238E27FC236}">
                <a16:creationId xmlns:a16="http://schemas.microsoft.com/office/drawing/2014/main" id="{71237794-A4BC-42A3-87E6-FAB3F856FF66}"/>
              </a:ext>
            </a:extLst>
          </p:cNvPr>
          <p:cNvSpPr>
            <a:spLocks noChangeArrowheads="1"/>
          </p:cNvSpPr>
          <p:nvPr/>
        </p:nvSpPr>
        <p:spPr bwMode="auto">
          <a:xfrm>
            <a:off x="5028975" y="3286579"/>
            <a:ext cx="264275" cy="227963"/>
          </a:xfrm>
          <a:custGeom>
            <a:avLst/>
            <a:gdLst>
              <a:gd name="T0" fmla="*/ 19849 w 461"/>
              <a:gd name="T1" fmla="*/ 55610 h 400"/>
              <a:gd name="T2" fmla="*/ 19849 w 461"/>
              <a:gd name="T3" fmla="*/ 55610 h 400"/>
              <a:gd name="T4" fmla="*/ 99696 w 461"/>
              <a:gd name="T5" fmla="*/ 47538 h 400"/>
              <a:gd name="T6" fmla="*/ 147965 w 461"/>
              <a:gd name="T7" fmla="*/ 63683 h 400"/>
              <a:gd name="T8" fmla="*/ 199843 w 461"/>
              <a:gd name="T9" fmla="*/ 39914 h 400"/>
              <a:gd name="T10" fmla="*/ 203452 w 461"/>
              <a:gd name="T11" fmla="*/ 23769 h 400"/>
              <a:gd name="T12" fmla="*/ 187663 w 461"/>
              <a:gd name="T13" fmla="*/ 23769 h 400"/>
              <a:gd name="T14" fmla="*/ 107816 w 461"/>
              <a:gd name="T15" fmla="*/ 27805 h 400"/>
              <a:gd name="T16" fmla="*/ 8120 w 461"/>
              <a:gd name="T17" fmla="*/ 39914 h 400"/>
              <a:gd name="T18" fmla="*/ 4060 w 461"/>
              <a:gd name="T19" fmla="*/ 55610 h 400"/>
              <a:gd name="T20" fmla="*/ 19849 w 461"/>
              <a:gd name="T21" fmla="*/ 55610 h 400"/>
              <a:gd name="T22" fmla="*/ 187663 w 461"/>
              <a:gd name="T23" fmla="*/ 79828 h 400"/>
              <a:gd name="T24" fmla="*/ 187663 w 461"/>
              <a:gd name="T25" fmla="*/ 79828 h 400"/>
              <a:gd name="T26" fmla="*/ 107816 w 461"/>
              <a:gd name="T27" fmla="*/ 87452 h 400"/>
              <a:gd name="T28" fmla="*/ 8120 w 461"/>
              <a:gd name="T29" fmla="*/ 95524 h 400"/>
              <a:gd name="T30" fmla="*/ 4060 w 461"/>
              <a:gd name="T31" fmla="*/ 111221 h 400"/>
              <a:gd name="T32" fmla="*/ 19849 w 461"/>
              <a:gd name="T33" fmla="*/ 111221 h 400"/>
              <a:gd name="T34" fmla="*/ 99696 w 461"/>
              <a:gd name="T35" fmla="*/ 107633 h 400"/>
              <a:gd name="T36" fmla="*/ 147965 w 461"/>
              <a:gd name="T37" fmla="*/ 123329 h 400"/>
              <a:gd name="T38" fmla="*/ 199843 w 461"/>
              <a:gd name="T39" fmla="*/ 99560 h 400"/>
              <a:gd name="T40" fmla="*/ 203452 w 461"/>
              <a:gd name="T41" fmla="*/ 83864 h 400"/>
              <a:gd name="T42" fmla="*/ 187663 w 461"/>
              <a:gd name="T43" fmla="*/ 79828 h 400"/>
              <a:gd name="T44" fmla="*/ 187663 w 461"/>
              <a:gd name="T45" fmla="*/ 135438 h 400"/>
              <a:gd name="T46" fmla="*/ 187663 w 461"/>
              <a:gd name="T47" fmla="*/ 135438 h 400"/>
              <a:gd name="T48" fmla="*/ 107816 w 461"/>
              <a:gd name="T49" fmla="*/ 143062 h 400"/>
              <a:gd name="T50" fmla="*/ 8120 w 461"/>
              <a:gd name="T51" fmla="*/ 151134 h 400"/>
              <a:gd name="T52" fmla="*/ 4060 w 461"/>
              <a:gd name="T53" fmla="*/ 166831 h 400"/>
              <a:gd name="T54" fmla="*/ 19849 w 461"/>
              <a:gd name="T55" fmla="*/ 170867 h 400"/>
              <a:gd name="T56" fmla="*/ 99696 w 461"/>
              <a:gd name="T57" fmla="*/ 162795 h 400"/>
              <a:gd name="T58" fmla="*/ 147965 w 461"/>
              <a:gd name="T59" fmla="*/ 178940 h 400"/>
              <a:gd name="T60" fmla="*/ 199843 w 461"/>
              <a:gd name="T61" fmla="*/ 155171 h 400"/>
              <a:gd name="T62" fmla="*/ 203452 w 461"/>
              <a:gd name="T63" fmla="*/ 139026 h 400"/>
              <a:gd name="T64" fmla="*/ 187663 w 461"/>
              <a:gd name="T65" fmla="*/ 135438 h 40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461" h="400">
                <a:moveTo>
                  <a:pt x="44" y="124"/>
                </a:moveTo>
                <a:lnTo>
                  <a:pt x="44" y="124"/>
                </a:lnTo>
                <a:cubicBezTo>
                  <a:pt x="88" y="89"/>
                  <a:pt x="124" y="62"/>
                  <a:pt x="221" y="106"/>
                </a:cubicBezTo>
                <a:cubicBezTo>
                  <a:pt x="266" y="133"/>
                  <a:pt x="301" y="142"/>
                  <a:pt x="328" y="142"/>
                </a:cubicBezTo>
                <a:cubicBezTo>
                  <a:pt x="381" y="142"/>
                  <a:pt x="416" y="115"/>
                  <a:pt x="443" y="89"/>
                </a:cubicBezTo>
                <a:cubicBezTo>
                  <a:pt x="451" y="80"/>
                  <a:pt x="460" y="62"/>
                  <a:pt x="451" y="53"/>
                </a:cubicBezTo>
                <a:cubicBezTo>
                  <a:pt x="443" y="44"/>
                  <a:pt x="425" y="44"/>
                  <a:pt x="416" y="53"/>
                </a:cubicBezTo>
                <a:cubicBezTo>
                  <a:pt x="372" y="89"/>
                  <a:pt x="337" y="115"/>
                  <a:pt x="239" y="62"/>
                </a:cubicBezTo>
                <a:cubicBezTo>
                  <a:pt x="124" y="0"/>
                  <a:pt x="62" y="44"/>
                  <a:pt x="18" y="89"/>
                </a:cubicBezTo>
                <a:cubicBezTo>
                  <a:pt x="9" y="97"/>
                  <a:pt x="0" y="115"/>
                  <a:pt x="9" y="124"/>
                </a:cubicBezTo>
                <a:cubicBezTo>
                  <a:pt x="18" y="133"/>
                  <a:pt x="35" y="133"/>
                  <a:pt x="44" y="124"/>
                </a:cubicBezTo>
                <a:close/>
                <a:moveTo>
                  <a:pt x="416" y="178"/>
                </a:moveTo>
                <a:lnTo>
                  <a:pt x="416" y="178"/>
                </a:lnTo>
                <a:cubicBezTo>
                  <a:pt x="372" y="213"/>
                  <a:pt x="337" y="248"/>
                  <a:pt x="239" y="195"/>
                </a:cubicBezTo>
                <a:cubicBezTo>
                  <a:pt x="124" y="124"/>
                  <a:pt x="62" y="178"/>
                  <a:pt x="18" y="213"/>
                </a:cubicBezTo>
                <a:cubicBezTo>
                  <a:pt x="9" y="222"/>
                  <a:pt x="0" y="240"/>
                  <a:pt x="9" y="248"/>
                </a:cubicBezTo>
                <a:cubicBezTo>
                  <a:pt x="18" y="257"/>
                  <a:pt x="35" y="257"/>
                  <a:pt x="44" y="248"/>
                </a:cubicBezTo>
                <a:cubicBezTo>
                  <a:pt x="88" y="213"/>
                  <a:pt x="124" y="187"/>
                  <a:pt x="221" y="240"/>
                </a:cubicBezTo>
                <a:cubicBezTo>
                  <a:pt x="266" y="266"/>
                  <a:pt x="301" y="275"/>
                  <a:pt x="328" y="275"/>
                </a:cubicBezTo>
                <a:cubicBezTo>
                  <a:pt x="381" y="275"/>
                  <a:pt x="416" y="240"/>
                  <a:pt x="443" y="222"/>
                </a:cubicBezTo>
                <a:cubicBezTo>
                  <a:pt x="451" y="213"/>
                  <a:pt x="460" y="195"/>
                  <a:pt x="451" y="187"/>
                </a:cubicBezTo>
                <a:cubicBezTo>
                  <a:pt x="443" y="168"/>
                  <a:pt x="425" y="168"/>
                  <a:pt x="416" y="178"/>
                </a:cubicBezTo>
                <a:close/>
                <a:moveTo>
                  <a:pt x="416" y="302"/>
                </a:moveTo>
                <a:lnTo>
                  <a:pt x="416" y="302"/>
                </a:lnTo>
                <a:cubicBezTo>
                  <a:pt x="372" y="346"/>
                  <a:pt x="337" y="372"/>
                  <a:pt x="239" y="319"/>
                </a:cubicBezTo>
                <a:cubicBezTo>
                  <a:pt x="124" y="248"/>
                  <a:pt x="62" y="302"/>
                  <a:pt x="18" y="337"/>
                </a:cubicBezTo>
                <a:cubicBezTo>
                  <a:pt x="9" y="346"/>
                  <a:pt x="0" y="363"/>
                  <a:pt x="9" y="372"/>
                </a:cubicBezTo>
                <a:cubicBezTo>
                  <a:pt x="18" y="390"/>
                  <a:pt x="35" y="390"/>
                  <a:pt x="44" y="381"/>
                </a:cubicBezTo>
                <a:cubicBezTo>
                  <a:pt x="88" y="337"/>
                  <a:pt x="124" y="310"/>
                  <a:pt x="221" y="363"/>
                </a:cubicBezTo>
                <a:cubicBezTo>
                  <a:pt x="266" y="390"/>
                  <a:pt x="301" y="399"/>
                  <a:pt x="328" y="399"/>
                </a:cubicBezTo>
                <a:cubicBezTo>
                  <a:pt x="381" y="399"/>
                  <a:pt x="416" y="372"/>
                  <a:pt x="443" y="346"/>
                </a:cubicBezTo>
                <a:cubicBezTo>
                  <a:pt x="451" y="337"/>
                  <a:pt x="460" y="319"/>
                  <a:pt x="451" y="310"/>
                </a:cubicBezTo>
                <a:cubicBezTo>
                  <a:pt x="443" y="302"/>
                  <a:pt x="425" y="293"/>
                  <a:pt x="416" y="302"/>
                </a:cubicBezTo>
                <a:close/>
              </a:path>
            </a:pathLst>
          </a:custGeom>
          <a:solidFill>
            <a:schemeClr val="bg1"/>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7"/>
                    </a:srgbClr>
                  </a:outerShdw>
                </a:effectLst>
              </a14:hiddenEffects>
            </a:ext>
          </a:extLst>
        </p:spPr>
        <p:txBody>
          <a:bodyPr wrap="none" lIns="34290" tIns="17145" rIns="34290" bIns="17145"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Tree>
    <p:extLst>
      <p:ext uri="{BB962C8B-B14F-4D97-AF65-F5344CB8AC3E}">
        <p14:creationId xmlns:p14="http://schemas.microsoft.com/office/powerpoint/2010/main" val="1029334789"/>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6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Shape 29">
            <a:extLst>
              <a:ext uri="{FF2B5EF4-FFF2-40B4-BE49-F238E27FC236}">
                <a16:creationId xmlns:a16="http://schemas.microsoft.com/office/drawing/2014/main" id="{37CDF62F-36A7-4BA7-9DB8-E6A25BCE62D8}"/>
              </a:ext>
            </a:extLst>
          </p:cNvPr>
          <p:cNvSpPr/>
          <p:nvPr/>
        </p:nvSpPr>
        <p:spPr>
          <a:xfrm flipH="1" flipV="1">
            <a:off x="0" y="2881426"/>
            <a:ext cx="4570634" cy="3976573"/>
          </a:xfrm>
          <a:custGeom>
            <a:avLst/>
            <a:gdLst>
              <a:gd name="connsiteX0" fmla="*/ 52588 w 7181850"/>
              <a:gd name="connsiteY0" fmla="*/ 0 h 6248400"/>
              <a:gd name="connsiteX1" fmla="*/ 7181850 w 7181850"/>
              <a:gd name="connsiteY1" fmla="*/ 0 h 6248400"/>
              <a:gd name="connsiteX2" fmla="*/ 7181850 w 7181850"/>
              <a:gd name="connsiteY2" fmla="*/ 5983853 h 6248400"/>
              <a:gd name="connsiteX3" fmla="*/ 7130245 w 7181850"/>
              <a:gd name="connsiteY3" fmla="*/ 6001314 h 6248400"/>
              <a:gd name="connsiteX4" fmla="*/ 5495925 w 7181850"/>
              <a:gd name="connsiteY4" fmla="*/ 6248400 h 6248400"/>
              <a:gd name="connsiteX5" fmla="*/ 0 w 7181850"/>
              <a:gd name="connsiteY5" fmla="*/ 752475 h 6248400"/>
              <a:gd name="connsiteX6" fmla="*/ 28375 w 7181850"/>
              <a:gd name="connsiteY6" fmla="*/ 190549 h 6248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181850" h="6248400">
                <a:moveTo>
                  <a:pt x="52588" y="0"/>
                </a:moveTo>
                <a:lnTo>
                  <a:pt x="7181850" y="0"/>
                </a:lnTo>
                <a:lnTo>
                  <a:pt x="7181850" y="5983853"/>
                </a:lnTo>
                <a:lnTo>
                  <a:pt x="7130245" y="6001314"/>
                </a:lnTo>
                <a:cubicBezTo>
                  <a:pt x="6613964" y="6161895"/>
                  <a:pt x="6065047" y="6248400"/>
                  <a:pt x="5495925" y="6248400"/>
                </a:cubicBezTo>
                <a:cubicBezTo>
                  <a:pt x="2460609" y="6248400"/>
                  <a:pt x="0" y="3787791"/>
                  <a:pt x="0" y="752475"/>
                </a:cubicBezTo>
                <a:cubicBezTo>
                  <a:pt x="0" y="562768"/>
                  <a:pt x="9612" y="375306"/>
                  <a:pt x="28375" y="190549"/>
                </a:cubicBez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等线" panose="020F0502020204030204"/>
              <a:ea typeface="+mn-ea"/>
              <a:cs typeface="+mn-cs"/>
            </a:endParaRPr>
          </a:p>
        </p:txBody>
      </p:sp>
      <p:grpSp>
        <p:nvGrpSpPr>
          <p:cNvPr id="3" name="Group 1">
            <a:extLst>
              <a:ext uri="{FF2B5EF4-FFF2-40B4-BE49-F238E27FC236}">
                <a16:creationId xmlns:a16="http://schemas.microsoft.com/office/drawing/2014/main" id="{45908CB0-29EB-4732-A8E6-FC64FBA21B09}"/>
              </a:ext>
            </a:extLst>
          </p:cNvPr>
          <p:cNvGrpSpPr/>
          <p:nvPr/>
        </p:nvGrpSpPr>
        <p:grpSpPr>
          <a:xfrm>
            <a:off x="473453" y="1562100"/>
            <a:ext cx="5671028" cy="5295901"/>
            <a:chOff x="5267271" y="969938"/>
            <a:chExt cx="6305136" cy="5888064"/>
          </a:xfrm>
        </p:grpSpPr>
        <p:sp>
          <p:nvSpPr>
            <p:cNvPr id="4" name="Freeform 5">
              <a:extLst>
                <a:ext uri="{FF2B5EF4-FFF2-40B4-BE49-F238E27FC236}">
                  <a16:creationId xmlns:a16="http://schemas.microsoft.com/office/drawing/2014/main" id="{6A99B06B-9ED6-4272-ABF3-4C43768C9A38}"/>
                </a:ext>
              </a:extLst>
            </p:cNvPr>
            <p:cNvSpPr>
              <a:spLocks/>
            </p:cNvSpPr>
            <p:nvPr/>
          </p:nvSpPr>
          <p:spPr bwMode="auto">
            <a:xfrm>
              <a:off x="6881037" y="2456947"/>
              <a:ext cx="2856801" cy="4401055"/>
            </a:xfrm>
            <a:custGeom>
              <a:avLst/>
              <a:gdLst>
                <a:gd name="T0" fmla="*/ 1952 w 2096"/>
                <a:gd name="T1" fmla="*/ 1854 h 3229"/>
                <a:gd name="T2" fmla="*/ 1703 w 2096"/>
                <a:gd name="T3" fmla="*/ 1908 h 3229"/>
                <a:gd name="T4" fmla="*/ 1478 w 2096"/>
                <a:gd name="T5" fmla="*/ 2014 h 3229"/>
                <a:gd name="T6" fmla="*/ 1373 w 2096"/>
                <a:gd name="T7" fmla="*/ 2094 h 3229"/>
                <a:gd name="T8" fmla="*/ 1315 w 2096"/>
                <a:gd name="T9" fmla="*/ 2100 h 3229"/>
                <a:gd name="T10" fmla="*/ 1269 w 2096"/>
                <a:gd name="T11" fmla="*/ 1927 h 3229"/>
                <a:gd name="T12" fmla="*/ 1219 w 2096"/>
                <a:gd name="T13" fmla="*/ 1418 h 3229"/>
                <a:gd name="T14" fmla="*/ 1225 w 2096"/>
                <a:gd name="T15" fmla="*/ 1178 h 3229"/>
                <a:gd name="T16" fmla="*/ 1265 w 2096"/>
                <a:gd name="T17" fmla="*/ 1098 h 3229"/>
                <a:gd name="T18" fmla="*/ 1436 w 2096"/>
                <a:gd name="T19" fmla="*/ 952 h 3229"/>
                <a:gd name="T20" fmla="*/ 1701 w 2096"/>
                <a:gd name="T21" fmla="*/ 796 h 3229"/>
                <a:gd name="T22" fmla="*/ 1841 w 2096"/>
                <a:gd name="T23" fmla="*/ 737 h 3229"/>
                <a:gd name="T24" fmla="*/ 1789 w 2096"/>
                <a:gd name="T25" fmla="*/ 739 h 3229"/>
                <a:gd name="T26" fmla="*/ 1586 w 2096"/>
                <a:gd name="T27" fmla="*/ 796 h 3229"/>
                <a:gd name="T28" fmla="*/ 1355 w 2096"/>
                <a:gd name="T29" fmla="*/ 908 h 3229"/>
                <a:gd name="T30" fmla="*/ 1244 w 2096"/>
                <a:gd name="T31" fmla="*/ 977 h 3229"/>
                <a:gd name="T32" fmla="*/ 1213 w 2096"/>
                <a:gd name="T33" fmla="*/ 958 h 3229"/>
                <a:gd name="T34" fmla="*/ 1165 w 2096"/>
                <a:gd name="T35" fmla="*/ 566 h 3229"/>
                <a:gd name="T36" fmla="*/ 1129 w 2096"/>
                <a:gd name="T37" fmla="*/ 236 h 3229"/>
                <a:gd name="T38" fmla="*/ 1089 w 2096"/>
                <a:gd name="T39" fmla="*/ 49 h 3229"/>
                <a:gd name="T40" fmla="*/ 1052 w 2096"/>
                <a:gd name="T41" fmla="*/ 0 h 3229"/>
                <a:gd name="T42" fmla="*/ 1045 w 2096"/>
                <a:gd name="T43" fmla="*/ 0 h 3229"/>
                <a:gd name="T44" fmla="*/ 1008 w 2096"/>
                <a:gd name="T45" fmla="*/ 49 h 3229"/>
                <a:gd name="T46" fmla="*/ 966 w 2096"/>
                <a:gd name="T47" fmla="*/ 234 h 3229"/>
                <a:gd name="T48" fmla="*/ 970 w 2096"/>
                <a:gd name="T49" fmla="*/ 620 h 3229"/>
                <a:gd name="T50" fmla="*/ 954 w 2096"/>
                <a:gd name="T51" fmla="*/ 1180 h 3229"/>
                <a:gd name="T52" fmla="*/ 920 w 2096"/>
                <a:gd name="T53" fmla="*/ 1420 h 3229"/>
                <a:gd name="T54" fmla="*/ 870 w 2096"/>
                <a:gd name="T55" fmla="*/ 1445 h 3229"/>
                <a:gd name="T56" fmla="*/ 741 w 2096"/>
                <a:gd name="T57" fmla="*/ 1349 h 3229"/>
                <a:gd name="T58" fmla="*/ 476 w 2096"/>
                <a:gd name="T59" fmla="*/ 1207 h 3229"/>
                <a:gd name="T60" fmla="*/ 261 w 2096"/>
                <a:gd name="T61" fmla="*/ 1144 h 3229"/>
                <a:gd name="T62" fmla="*/ 171 w 2096"/>
                <a:gd name="T63" fmla="*/ 1134 h 3229"/>
                <a:gd name="T64" fmla="*/ 311 w 2096"/>
                <a:gd name="T65" fmla="*/ 1196 h 3229"/>
                <a:gd name="T66" fmla="*/ 588 w 2096"/>
                <a:gd name="T67" fmla="*/ 1353 h 3229"/>
                <a:gd name="T68" fmla="*/ 768 w 2096"/>
                <a:gd name="T69" fmla="*/ 1507 h 3229"/>
                <a:gd name="T70" fmla="*/ 854 w 2096"/>
                <a:gd name="T71" fmla="*/ 1612 h 3229"/>
                <a:gd name="T72" fmla="*/ 876 w 2096"/>
                <a:gd name="T73" fmla="*/ 1666 h 3229"/>
                <a:gd name="T74" fmla="*/ 902 w 2096"/>
                <a:gd name="T75" fmla="*/ 2014 h 3229"/>
                <a:gd name="T76" fmla="*/ 878 w 2096"/>
                <a:gd name="T77" fmla="*/ 2217 h 3229"/>
                <a:gd name="T78" fmla="*/ 833 w 2096"/>
                <a:gd name="T79" fmla="*/ 2355 h 3229"/>
                <a:gd name="T80" fmla="*/ 776 w 2096"/>
                <a:gd name="T81" fmla="*/ 2386 h 3229"/>
                <a:gd name="T82" fmla="*/ 628 w 2096"/>
                <a:gd name="T83" fmla="*/ 2329 h 3229"/>
                <a:gd name="T84" fmla="*/ 336 w 2096"/>
                <a:gd name="T85" fmla="*/ 2252 h 3229"/>
                <a:gd name="T86" fmla="*/ 41 w 2096"/>
                <a:gd name="T87" fmla="*/ 2225 h 3229"/>
                <a:gd name="T88" fmla="*/ 0 w 2096"/>
                <a:gd name="T89" fmla="*/ 2229 h 3229"/>
                <a:gd name="T90" fmla="*/ 401 w 2096"/>
                <a:gd name="T91" fmla="*/ 2394 h 3229"/>
                <a:gd name="T92" fmla="*/ 613 w 2096"/>
                <a:gd name="T93" fmla="*/ 2515 h 3229"/>
                <a:gd name="T94" fmla="*/ 728 w 2096"/>
                <a:gd name="T95" fmla="*/ 2624 h 3229"/>
                <a:gd name="T96" fmla="*/ 739 w 2096"/>
                <a:gd name="T97" fmla="*/ 2678 h 3229"/>
                <a:gd name="T98" fmla="*/ 739 w 2096"/>
                <a:gd name="T99" fmla="*/ 2860 h 3229"/>
                <a:gd name="T100" fmla="*/ 684 w 2096"/>
                <a:gd name="T101" fmla="*/ 3114 h 3229"/>
                <a:gd name="T102" fmla="*/ 670 w 2096"/>
                <a:gd name="T103" fmla="*/ 3196 h 3229"/>
                <a:gd name="T104" fmla="*/ 718 w 2096"/>
                <a:gd name="T105" fmla="*/ 3229 h 3229"/>
                <a:gd name="T106" fmla="*/ 1513 w 2096"/>
                <a:gd name="T107" fmla="*/ 3216 h 3229"/>
                <a:gd name="T108" fmla="*/ 1528 w 2096"/>
                <a:gd name="T109" fmla="*/ 3160 h 3229"/>
                <a:gd name="T110" fmla="*/ 1432 w 2096"/>
                <a:gd name="T111" fmla="*/ 2847 h 3229"/>
                <a:gd name="T112" fmla="*/ 1371 w 2096"/>
                <a:gd name="T113" fmla="*/ 2507 h 3229"/>
                <a:gd name="T114" fmla="*/ 1359 w 2096"/>
                <a:gd name="T115" fmla="*/ 2357 h 3229"/>
                <a:gd name="T116" fmla="*/ 1382 w 2096"/>
                <a:gd name="T117" fmla="*/ 2298 h 3229"/>
                <a:gd name="T118" fmla="*/ 1463 w 2096"/>
                <a:gd name="T119" fmla="*/ 2213 h 3229"/>
                <a:gd name="T120" fmla="*/ 1643 w 2096"/>
                <a:gd name="T121" fmla="*/ 2073 h 3229"/>
                <a:gd name="T122" fmla="*/ 1903 w 2096"/>
                <a:gd name="T123" fmla="*/ 1931 h 3229"/>
                <a:gd name="T124" fmla="*/ 2096 w 2096"/>
                <a:gd name="T125" fmla="*/ 1849 h 3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96" h="3229">
                  <a:moveTo>
                    <a:pt x="2094" y="1847"/>
                  </a:moveTo>
                  <a:lnTo>
                    <a:pt x="2094" y="1847"/>
                  </a:lnTo>
                  <a:lnTo>
                    <a:pt x="2056" y="1847"/>
                  </a:lnTo>
                  <a:lnTo>
                    <a:pt x="1993" y="1850"/>
                  </a:lnTo>
                  <a:lnTo>
                    <a:pt x="1952" y="1854"/>
                  </a:lnTo>
                  <a:lnTo>
                    <a:pt x="1908" y="1858"/>
                  </a:lnTo>
                  <a:lnTo>
                    <a:pt x="1862" y="1868"/>
                  </a:lnTo>
                  <a:lnTo>
                    <a:pt x="1810" y="1877"/>
                  </a:lnTo>
                  <a:lnTo>
                    <a:pt x="1759" y="1891"/>
                  </a:lnTo>
                  <a:lnTo>
                    <a:pt x="1703" y="1908"/>
                  </a:lnTo>
                  <a:lnTo>
                    <a:pt x="1647" y="1927"/>
                  </a:lnTo>
                  <a:lnTo>
                    <a:pt x="1592" y="1952"/>
                  </a:lnTo>
                  <a:lnTo>
                    <a:pt x="1534" y="1979"/>
                  </a:lnTo>
                  <a:lnTo>
                    <a:pt x="1507" y="1996"/>
                  </a:lnTo>
                  <a:lnTo>
                    <a:pt x="1478" y="2014"/>
                  </a:lnTo>
                  <a:lnTo>
                    <a:pt x="1451" y="2031"/>
                  </a:lnTo>
                  <a:lnTo>
                    <a:pt x="1425" y="2052"/>
                  </a:lnTo>
                  <a:lnTo>
                    <a:pt x="1398" y="2073"/>
                  </a:lnTo>
                  <a:lnTo>
                    <a:pt x="1373" y="2094"/>
                  </a:lnTo>
                  <a:lnTo>
                    <a:pt x="1373" y="2094"/>
                  </a:lnTo>
                  <a:lnTo>
                    <a:pt x="1361" y="2102"/>
                  </a:lnTo>
                  <a:lnTo>
                    <a:pt x="1350" y="2106"/>
                  </a:lnTo>
                  <a:lnTo>
                    <a:pt x="1338" y="2108"/>
                  </a:lnTo>
                  <a:lnTo>
                    <a:pt x="1327" y="2104"/>
                  </a:lnTo>
                  <a:lnTo>
                    <a:pt x="1315" y="2100"/>
                  </a:lnTo>
                  <a:lnTo>
                    <a:pt x="1307" y="2092"/>
                  </a:lnTo>
                  <a:lnTo>
                    <a:pt x="1300" y="2081"/>
                  </a:lnTo>
                  <a:lnTo>
                    <a:pt x="1296" y="2069"/>
                  </a:lnTo>
                  <a:lnTo>
                    <a:pt x="1296" y="2069"/>
                  </a:lnTo>
                  <a:lnTo>
                    <a:pt x="1269" y="1927"/>
                  </a:lnTo>
                  <a:lnTo>
                    <a:pt x="1250" y="1804"/>
                  </a:lnTo>
                  <a:lnTo>
                    <a:pt x="1236" y="1699"/>
                  </a:lnTo>
                  <a:lnTo>
                    <a:pt x="1227" y="1601"/>
                  </a:lnTo>
                  <a:lnTo>
                    <a:pt x="1221" y="1509"/>
                  </a:lnTo>
                  <a:lnTo>
                    <a:pt x="1219" y="1418"/>
                  </a:lnTo>
                  <a:lnTo>
                    <a:pt x="1219" y="1321"/>
                  </a:lnTo>
                  <a:lnTo>
                    <a:pt x="1219" y="1215"/>
                  </a:lnTo>
                  <a:lnTo>
                    <a:pt x="1219" y="1215"/>
                  </a:lnTo>
                  <a:lnTo>
                    <a:pt x="1221" y="1196"/>
                  </a:lnTo>
                  <a:lnTo>
                    <a:pt x="1225" y="1178"/>
                  </a:lnTo>
                  <a:lnTo>
                    <a:pt x="1229" y="1161"/>
                  </a:lnTo>
                  <a:lnTo>
                    <a:pt x="1235" y="1144"/>
                  </a:lnTo>
                  <a:lnTo>
                    <a:pt x="1244" y="1127"/>
                  </a:lnTo>
                  <a:lnTo>
                    <a:pt x="1254" y="1111"/>
                  </a:lnTo>
                  <a:lnTo>
                    <a:pt x="1265" y="1098"/>
                  </a:lnTo>
                  <a:lnTo>
                    <a:pt x="1277" y="1084"/>
                  </a:lnTo>
                  <a:lnTo>
                    <a:pt x="1277" y="1084"/>
                  </a:lnTo>
                  <a:lnTo>
                    <a:pt x="1323" y="1042"/>
                  </a:lnTo>
                  <a:lnTo>
                    <a:pt x="1377" y="998"/>
                  </a:lnTo>
                  <a:lnTo>
                    <a:pt x="1436" y="952"/>
                  </a:lnTo>
                  <a:lnTo>
                    <a:pt x="1503" y="908"/>
                  </a:lnTo>
                  <a:lnTo>
                    <a:pt x="1578" y="862"/>
                  </a:lnTo>
                  <a:lnTo>
                    <a:pt x="1617" y="841"/>
                  </a:lnTo>
                  <a:lnTo>
                    <a:pt x="1659" y="817"/>
                  </a:lnTo>
                  <a:lnTo>
                    <a:pt x="1701" y="796"/>
                  </a:lnTo>
                  <a:lnTo>
                    <a:pt x="1745" y="777"/>
                  </a:lnTo>
                  <a:lnTo>
                    <a:pt x="1793" y="758"/>
                  </a:lnTo>
                  <a:lnTo>
                    <a:pt x="1841" y="739"/>
                  </a:lnTo>
                  <a:lnTo>
                    <a:pt x="1841" y="739"/>
                  </a:lnTo>
                  <a:lnTo>
                    <a:pt x="1841" y="737"/>
                  </a:lnTo>
                  <a:lnTo>
                    <a:pt x="1841" y="735"/>
                  </a:lnTo>
                  <a:lnTo>
                    <a:pt x="1841" y="735"/>
                  </a:lnTo>
                  <a:lnTo>
                    <a:pt x="1828" y="735"/>
                  </a:lnTo>
                  <a:lnTo>
                    <a:pt x="1810" y="735"/>
                  </a:lnTo>
                  <a:lnTo>
                    <a:pt x="1789" y="739"/>
                  </a:lnTo>
                  <a:lnTo>
                    <a:pt x="1764" y="743"/>
                  </a:lnTo>
                  <a:lnTo>
                    <a:pt x="1703" y="758"/>
                  </a:lnTo>
                  <a:lnTo>
                    <a:pt x="1666" y="769"/>
                  </a:lnTo>
                  <a:lnTo>
                    <a:pt x="1628" y="781"/>
                  </a:lnTo>
                  <a:lnTo>
                    <a:pt x="1586" y="796"/>
                  </a:lnTo>
                  <a:lnTo>
                    <a:pt x="1544" y="814"/>
                  </a:lnTo>
                  <a:lnTo>
                    <a:pt x="1498" y="835"/>
                  </a:lnTo>
                  <a:lnTo>
                    <a:pt x="1451" y="856"/>
                  </a:lnTo>
                  <a:lnTo>
                    <a:pt x="1403" y="881"/>
                  </a:lnTo>
                  <a:lnTo>
                    <a:pt x="1355" y="908"/>
                  </a:lnTo>
                  <a:lnTo>
                    <a:pt x="1307" y="938"/>
                  </a:lnTo>
                  <a:lnTo>
                    <a:pt x="1259" y="971"/>
                  </a:lnTo>
                  <a:lnTo>
                    <a:pt x="1259" y="971"/>
                  </a:lnTo>
                  <a:lnTo>
                    <a:pt x="1252" y="975"/>
                  </a:lnTo>
                  <a:lnTo>
                    <a:pt x="1244" y="977"/>
                  </a:lnTo>
                  <a:lnTo>
                    <a:pt x="1236" y="977"/>
                  </a:lnTo>
                  <a:lnTo>
                    <a:pt x="1229" y="975"/>
                  </a:lnTo>
                  <a:lnTo>
                    <a:pt x="1221" y="971"/>
                  </a:lnTo>
                  <a:lnTo>
                    <a:pt x="1217" y="965"/>
                  </a:lnTo>
                  <a:lnTo>
                    <a:pt x="1213" y="958"/>
                  </a:lnTo>
                  <a:lnTo>
                    <a:pt x="1210" y="950"/>
                  </a:lnTo>
                  <a:lnTo>
                    <a:pt x="1210" y="950"/>
                  </a:lnTo>
                  <a:lnTo>
                    <a:pt x="1200" y="858"/>
                  </a:lnTo>
                  <a:lnTo>
                    <a:pt x="1188" y="760"/>
                  </a:lnTo>
                  <a:lnTo>
                    <a:pt x="1165" y="566"/>
                  </a:lnTo>
                  <a:lnTo>
                    <a:pt x="1144" y="389"/>
                  </a:lnTo>
                  <a:lnTo>
                    <a:pt x="1137" y="318"/>
                  </a:lnTo>
                  <a:lnTo>
                    <a:pt x="1131" y="261"/>
                  </a:lnTo>
                  <a:lnTo>
                    <a:pt x="1131" y="261"/>
                  </a:lnTo>
                  <a:lnTo>
                    <a:pt x="1129" y="236"/>
                  </a:lnTo>
                  <a:lnTo>
                    <a:pt x="1125" y="199"/>
                  </a:lnTo>
                  <a:lnTo>
                    <a:pt x="1117" y="157"/>
                  </a:lnTo>
                  <a:lnTo>
                    <a:pt x="1106" y="113"/>
                  </a:lnTo>
                  <a:lnTo>
                    <a:pt x="1094" y="69"/>
                  </a:lnTo>
                  <a:lnTo>
                    <a:pt x="1089" y="49"/>
                  </a:lnTo>
                  <a:lnTo>
                    <a:pt x="1081" y="34"/>
                  </a:lnTo>
                  <a:lnTo>
                    <a:pt x="1073" y="19"/>
                  </a:lnTo>
                  <a:lnTo>
                    <a:pt x="1066" y="9"/>
                  </a:lnTo>
                  <a:lnTo>
                    <a:pt x="1058" y="1"/>
                  </a:lnTo>
                  <a:lnTo>
                    <a:pt x="1052" y="0"/>
                  </a:lnTo>
                  <a:lnTo>
                    <a:pt x="1048" y="0"/>
                  </a:lnTo>
                  <a:lnTo>
                    <a:pt x="1048" y="0"/>
                  </a:lnTo>
                  <a:lnTo>
                    <a:pt x="1048" y="0"/>
                  </a:lnTo>
                  <a:lnTo>
                    <a:pt x="1048" y="0"/>
                  </a:lnTo>
                  <a:lnTo>
                    <a:pt x="1045" y="0"/>
                  </a:lnTo>
                  <a:lnTo>
                    <a:pt x="1041" y="1"/>
                  </a:lnTo>
                  <a:lnTo>
                    <a:pt x="1031" y="9"/>
                  </a:lnTo>
                  <a:lnTo>
                    <a:pt x="1023" y="19"/>
                  </a:lnTo>
                  <a:lnTo>
                    <a:pt x="1016" y="32"/>
                  </a:lnTo>
                  <a:lnTo>
                    <a:pt x="1008" y="49"/>
                  </a:lnTo>
                  <a:lnTo>
                    <a:pt x="1002" y="69"/>
                  </a:lnTo>
                  <a:lnTo>
                    <a:pt x="989" y="111"/>
                  </a:lnTo>
                  <a:lnTo>
                    <a:pt x="979" y="155"/>
                  </a:lnTo>
                  <a:lnTo>
                    <a:pt x="972" y="197"/>
                  </a:lnTo>
                  <a:lnTo>
                    <a:pt x="966" y="234"/>
                  </a:lnTo>
                  <a:lnTo>
                    <a:pt x="964" y="257"/>
                  </a:lnTo>
                  <a:lnTo>
                    <a:pt x="964" y="257"/>
                  </a:lnTo>
                  <a:lnTo>
                    <a:pt x="966" y="355"/>
                  </a:lnTo>
                  <a:lnTo>
                    <a:pt x="968" y="478"/>
                  </a:lnTo>
                  <a:lnTo>
                    <a:pt x="970" y="620"/>
                  </a:lnTo>
                  <a:lnTo>
                    <a:pt x="970" y="775"/>
                  </a:lnTo>
                  <a:lnTo>
                    <a:pt x="968" y="937"/>
                  </a:lnTo>
                  <a:lnTo>
                    <a:pt x="964" y="1019"/>
                  </a:lnTo>
                  <a:lnTo>
                    <a:pt x="960" y="1100"/>
                  </a:lnTo>
                  <a:lnTo>
                    <a:pt x="954" y="1180"/>
                  </a:lnTo>
                  <a:lnTo>
                    <a:pt x="947" y="1259"/>
                  </a:lnTo>
                  <a:lnTo>
                    <a:pt x="935" y="1336"/>
                  </a:lnTo>
                  <a:lnTo>
                    <a:pt x="924" y="1409"/>
                  </a:lnTo>
                  <a:lnTo>
                    <a:pt x="924" y="1409"/>
                  </a:lnTo>
                  <a:lnTo>
                    <a:pt x="920" y="1420"/>
                  </a:lnTo>
                  <a:lnTo>
                    <a:pt x="912" y="1432"/>
                  </a:lnTo>
                  <a:lnTo>
                    <a:pt x="904" y="1440"/>
                  </a:lnTo>
                  <a:lnTo>
                    <a:pt x="893" y="1443"/>
                  </a:lnTo>
                  <a:lnTo>
                    <a:pt x="881" y="1447"/>
                  </a:lnTo>
                  <a:lnTo>
                    <a:pt x="870" y="1445"/>
                  </a:lnTo>
                  <a:lnTo>
                    <a:pt x="858" y="1441"/>
                  </a:lnTo>
                  <a:lnTo>
                    <a:pt x="847" y="1434"/>
                  </a:lnTo>
                  <a:lnTo>
                    <a:pt x="847" y="1434"/>
                  </a:lnTo>
                  <a:lnTo>
                    <a:pt x="795" y="1390"/>
                  </a:lnTo>
                  <a:lnTo>
                    <a:pt x="741" y="1349"/>
                  </a:lnTo>
                  <a:lnTo>
                    <a:pt x="687" y="1315"/>
                  </a:lnTo>
                  <a:lnTo>
                    <a:pt x="634" y="1282"/>
                  </a:lnTo>
                  <a:lnTo>
                    <a:pt x="580" y="1253"/>
                  </a:lnTo>
                  <a:lnTo>
                    <a:pt x="528" y="1228"/>
                  </a:lnTo>
                  <a:lnTo>
                    <a:pt x="476" y="1207"/>
                  </a:lnTo>
                  <a:lnTo>
                    <a:pt x="426" y="1188"/>
                  </a:lnTo>
                  <a:lnTo>
                    <a:pt x="380" y="1173"/>
                  </a:lnTo>
                  <a:lnTo>
                    <a:pt x="336" y="1161"/>
                  </a:lnTo>
                  <a:lnTo>
                    <a:pt x="298" y="1150"/>
                  </a:lnTo>
                  <a:lnTo>
                    <a:pt x="261" y="1144"/>
                  </a:lnTo>
                  <a:lnTo>
                    <a:pt x="231" y="1138"/>
                  </a:lnTo>
                  <a:lnTo>
                    <a:pt x="206" y="1134"/>
                  </a:lnTo>
                  <a:lnTo>
                    <a:pt x="185" y="1134"/>
                  </a:lnTo>
                  <a:lnTo>
                    <a:pt x="171" y="1134"/>
                  </a:lnTo>
                  <a:lnTo>
                    <a:pt x="171" y="1134"/>
                  </a:lnTo>
                  <a:lnTo>
                    <a:pt x="169" y="1136"/>
                  </a:lnTo>
                  <a:lnTo>
                    <a:pt x="171" y="1138"/>
                  </a:lnTo>
                  <a:lnTo>
                    <a:pt x="171" y="1138"/>
                  </a:lnTo>
                  <a:lnTo>
                    <a:pt x="244" y="1167"/>
                  </a:lnTo>
                  <a:lnTo>
                    <a:pt x="311" y="1196"/>
                  </a:lnTo>
                  <a:lnTo>
                    <a:pt x="377" y="1226"/>
                  </a:lnTo>
                  <a:lnTo>
                    <a:pt x="436" y="1257"/>
                  </a:lnTo>
                  <a:lnTo>
                    <a:pt x="490" y="1290"/>
                  </a:lnTo>
                  <a:lnTo>
                    <a:pt x="542" y="1321"/>
                  </a:lnTo>
                  <a:lnTo>
                    <a:pt x="588" y="1353"/>
                  </a:lnTo>
                  <a:lnTo>
                    <a:pt x="632" y="1384"/>
                  </a:lnTo>
                  <a:lnTo>
                    <a:pt x="670" y="1417"/>
                  </a:lnTo>
                  <a:lnTo>
                    <a:pt x="707" y="1447"/>
                  </a:lnTo>
                  <a:lnTo>
                    <a:pt x="739" y="1478"/>
                  </a:lnTo>
                  <a:lnTo>
                    <a:pt x="768" y="1507"/>
                  </a:lnTo>
                  <a:lnTo>
                    <a:pt x="795" y="1536"/>
                  </a:lnTo>
                  <a:lnTo>
                    <a:pt x="818" y="1562"/>
                  </a:lnTo>
                  <a:lnTo>
                    <a:pt x="837" y="1587"/>
                  </a:lnTo>
                  <a:lnTo>
                    <a:pt x="854" y="1612"/>
                  </a:lnTo>
                  <a:lnTo>
                    <a:pt x="854" y="1612"/>
                  </a:lnTo>
                  <a:lnTo>
                    <a:pt x="862" y="1624"/>
                  </a:lnTo>
                  <a:lnTo>
                    <a:pt x="868" y="1637"/>
                  </a:lnTo>
                  <a:lnTo>
                    <a:pt x="874" y="1651"/>
                  </a:lnTo>
                  <a:lnTo>
                    <a:pt x="876" y="1666"/>
                  </a:lnTo>
                  <a:lnTo>
                    <a:pt x="876" y="1666"/>
                  </a:lnTo>
                  <a:lnTo>
                    <a:pt x="887" y="1758"/>
                  </a:lnTo>
                  <a:lnTo>
                    <a:pt x="897" y="1845"/>
                  </a:lnTo>
                  <a:lnTo>
                    <a:pt x="902" y="1931"/>
                  </a:lnTo>
                  <a:lnTo>
                    <a:pt x="902" y="1971"/>
                  </a:lnTo>
                  <a:lnTo>
                    <a:pt x="902" y="2014"/>
                  </a:lnTo>
                  <a:lnTo>
                    <a:pt x="901" y="2054"/>
                  </a:lnTo>
                  <a:lnTo>
                    <a:pt x="897" y="2094"/>
                  </a:lnTo>
                  <a:lnTo>
                    <a:pt x="893" y="2135"/>
                  </a:lnTo>
                  <a:lnTo>
                    <a:pt x="885" y="2175"/>
                  </a:lnTo>
                  <a:lnTo>
                    <a:pt x="878" y="2217"/>
                  </a:lnTo>
                  <a:lnTo>
                    <a:pt x="868" y="2257"/>
                  </a:lnTo>
                  <a:lnTo>
                    <a:pt x="854" y="2300"/>
                  </a:lnTo>
                  <a:lnTo>
                    <a:pt x="839" y="2342"/>
                  </a:lnTo>
                  <a:lnTo>
                    <a:pt x="839" y="2342"/>
                  </a:lnTo>
                  <a:lnTo>
                    <a:pt x="833" y="2355"/>
                  </a:lnTo>
                  <a:lnTo>
                    <a:pt x="824" y="2365"/>
                  </a:lnTo>
                  <a:lnTo>
                    <a:pt x="814" y="2375"/>
                  </a:lnTo>
                  <a:lnTo>
                    <a:pt x="803" y="2380"/>
                  </a:lnTo>
                  <a:lnTo>
                    <a:pt x="789" y="2384"/>
                  </a:lnTo>
                  <a:lnTo>
                    <a:pt x="776" y="2386"/>
                  </a:lnTo>
                  <a:lnTo>
                    <a:pt x="762" y="2384"/>
                  </a:lnTo>
                  <a:lnTo>
                    <a:pt x="749" y="2378"/>
                  </a:lnTo>
                  <a:lnTo>
                    <a:pt x="749" y="2378"/>
                  </a:lnTo>
                  <a:lnTo>
                    <a:pt x="689" y="2352"/>
                  </a:lnTo>
                  <a:lnTo>
                    <a:pt x="628" y="2329"/>
                  </a:lnTo>
                  <a:lnTo>
                    <a:pt x="568" y="2307"/>
                  </a:lnTo>
                  <a:lnTo>
                    <a:pt x="509" y="2290"/>
                  </a:lnTo>
                  <a:lnTo>
                    <a:pt x="449" y="2275"/>
                  </a:lnTo>
                  <a:lnTo>
                    <a:pt x="392" y="2263"/>
                  </a:lnTo>
                  <a:lnTo>
                    <a:pt x="336" y="2252"/>
                  </a:lnTo>
                  <a:lnTo>
                    <a:pt x="282" y="2244"/>
                  </a:lnTo>
                  <a:lnTo>
                    <a:pt x="233" y="2238"/>
                  </a:lnTo>
                  <a:lnTo>
                    <a:pt x="185" y="2233"/>
                  </a:lnTo>
                  <a:lnTo>
                    <a:pt x="102" y="2227"/>
                  </a:lnTo>
                  <a:lnTo>
                    <a:pt x="41" y="2225"/>
                  </a:lnTo>
                  <a:lnTo>
                    <a:pt x="2" y="2225"/>
                  </a:lnTo>
                  <a:lnTo>
                    <a:pt x="2" y="2225"/>
                  </a:lnTo>
                  <a:lnTo>
                    <a:pt x="0" y="2227"/>
                  </a:lnTo>
                  <a:lnTo>
                    <a:pt x="0" y="2229"/>
                  </a:lnTo>
                  <a:lnTo>
                    <a:pt x="0" y="2229"/>
                  </a:lnTo>
                  <a:lnTo>
                    <a:pt x="154" y="2286"/>
                  </a:lnTo>
                  <a:lnTo>
                    <a:pt x="223" y="2315"/>
                  </a:lnTo>
                  <a:lnTo>
                    <a:pt x="286" y="2342"/>
                  </a:lnTo>
                  <a:lnTo>
                    <a:pt x="346" y="2367"/>
                  </a:lnTo>
                  <a:lnTo>
                    <a:pt x="401" y="2394"/>
                  </a:lnTo>
                  <a:lnTo>
                    <a:pt x="451" y="2419"/>
                  </a:lnTo>
                  <a:lnTo>
                    <a:pt x="497" y="2444"/>
                  </a:lnTo>
                  <a:lnTo>
                    <a:pt x="540" y="2467"/>
                  </a:lnTo>
                  <a:lnTo>
                    <a:pt x="578" y="2492"/>
                  </a:lnTo>
                  <a:lnTo>
                    <a:pt x="613" y="2515"/>
                  </a:lnTo>
                  <a:lnTo>
                    <a:pt x="643" y="2538"/>
                  </a:lnTo>
                  <a:lnTo>
                    <a:pt x="670" y="2559"/>
                  </a:lnTo>
                  <a:lnTo>
                    <a:pt x="691" y="2582"/>
                  </a:lnTo>
                  <a:lnTo>
                    <a:pt x="711" y="2603"/>
                  </a:lnTo>
                  <a:lnTo>
                    <a:pt x="728" y="2624"/>
                  </a:lnTo>
                  <a:lnTo>
                    <a:pt x="728" y="2624"/>
                  </a:lnTo>
                  <a:lnTo>
                    <a:pt x="732" y="2632"/>
                  </a:lnTo>
                  <a:lnTo>
                    <a:pt x="735" y="2641"/>
                  </a:lnTo>
                  <a:lnTo>
                    <a:pt x="735" y="2641"/>
                  </a:lnTo>
                  <a:lnTo>
                    <a:pt x="739" y="2678"/>
                  </a:lnTo>
                  <a:lnTo>
                    <a:pt x="743" y="2714"/>
                  </a:lnTo>
                  <a:lnTo>
                    <a:pt x="745" y="2751"/>
                  </a:lnTo>
                  <a:lnTo>
                    <a:pt x="745" y="2787"/>
                  </a:lnTo>
                  <a:lnTo>
                    <a:pt x="743" y="2824"/>
                  </a:lnTo>
                  <a:lnTo>
                    <a:pt x="739" y="2860"/>
                  </a:lnTo>
                  <a:lnTo>
                    <a:pt x="735" y="2895"/>
                  </a:lnTo>
                  <a:lnTo>
                    <a:pt x="730" y="2931"/>
                  </a:lnTo>
                  <a:lnTo>
                    <a:pt x="716" y="2999"/>
                  </a:lnTo>
                  <a:lnTo>
                    <a:pt x="701" y="3060"/>
                  </a:lnTo>
                  <a:lnTo>
                    <a:pt x="684" y="3114"/>
                  </a:lnTo>
                  <a:lnTo>
                    <a:pt x="668" y="3160"/>
                  </a:lnTo>
                  <a:lnTo>
                    <a:pt x="668" y="3160"/>
                  </a:lnTo>
                  <a:lnTo>
                    <a:pt x="666" y="3173"/>
                  </a:lnTo>
                  <a:lnTo>
                    <a:pt x="666" y="3185"/>
                  </a:lnTo>
                  <a:lnTo>
                    <a:pt x="670" y="3196"/>
                  </a:lnTo>
                  <a:lnTo>
                    <a:pt x="676" y="3208"/>
                  </a:lnTo>
                  <a:lnTo>
                    <a:pt x="684" y="3216"/>
                  </a:lnTo>
                  <a:lnTo>
                    <a:pt x="693" y="3223"/>
                  </a:lnTo>
                  <a:lnTo>
                    <a:pt x="705" y="3227"/>
                  </a:lnTo>
                  <a:lnTo>
                    <a:pt x="718" y="3229"/>
                  </a:lnTo>
                  <a:lnTo>
                    <a:pt x="1478" y="3229"/>
                  </a:lnTo>
                  <a:lnTo>
                    <a:pt x="1478" y="3229"/>
                  </a:lnTo>
                  <a:lnTo>
                    <a:pt x="1492" y="3227"/>
                  </a:lnTo>
                  <a:lnTo>
                    <a:pt x="1503" y="3223"/>
                  </a:lnTo>
                  <a:lnTo>
                    <a:pt x="1513" y="3216"/>
                  </a:lnTo>
                  <a:lnTo>
                    <a:pt x="1521" y="3206"/>
                  </a:lnTo>
                  <a:lnTo>
                    <a:pt x="1526" y="3196"/>
                  </a:lnTo>
                  <a:lnTo>
                    <a:pt x="1530" y="3185"/>
                  </a:lnTo>
                  <a:lnTo>
                    <a:pt x="1530" y="3171"/>
                  </a:lnTo>
                  <a:lnTo>
                    <a:pt x="1528" y="3160"/>
                  </a:lnTo>
                  <a:lnTo>
                    <a:pt x="1528" y="3160"/>
                  </a:lnTo>
                  <a:lnTo>
                    <a:pt x="1507" y="3102"/>
                  </a:lnTo>
                  <a:lnTo>
                    <a:pt x="1484" y="3029"/>
                  </a:lnTo>
                  <a:lnTo>
                    <a:pt x="1457" y="2943"/>
                  </a:lnTo>
                  <a:lnTo>
                    <a:pt x="1432" y="2847"/>
                  </a:lnTo>
                  <a:lnTo>
                    <a:pt x="1409" y="2741"/>
                  </a:lnTo>
                  <a:lnTo>
                    <a:pt x="1398" y="2686"/>
                  </a:lnTo>
                  <a:lnTo>
                    <a:pt x="1386" y="2628"/>
                  </a:lnTo>
                  <a:lnTo>
                    <a:pt x="1378" y="2569"/>
                  </a:lnTo>
                  <a:lnTo>
                    <a:pt x="1371" y="2507"/>
                  </a:lnTo>
                  <a:lnTo>
                    <a:pt x="1363" y="2446"/>
                  </a:lnTo>
                  <a:lnTo>
                    <a:pt x="1359" y="2384"/>
                  </a:lnTo>
                  <a:lnTo>
                    <a:pt x="1359" y="2384"/>
                  </a:lnTo>
                  <a:lnTo>
                    <a:pt x="1359" y="2371"/>
                  </a:lnTo>
                  <a:lnTo>
                    <a:pt x="1359" y="2357"/>
                  </a:lnTo>
                  <a:lnTo>
                    <a:pt x="1361" y="2346"/>
                  </a:lnTo>
                  <a:lnTo>
                    <a:pt x="1365" y="2332"/>
                  </a:lnTo>
                  <a:lnTo>
                    <a:pt x="1371" y="2321"/>
                  </a:lnTo>
                  <a:lnTo>
                    <a:pt x="1377" y="2309"/>
                  </a:lnTo>
                  <a:lnTo>
                    <a:pt x="1382" y="2298"/>
                  </a:lnTo>
                  <a:lnTo>
                    <a:pt x="1390" y="2288"/>
                  </a:lnTo>
                  <a:lnTo>
                    <a:pt x="1390" y="2288"/>
                  </a:lnTo>
                  <a:lnTo>
                    <a:pt x="1411" y="2265"/>
                  </a:lnTo>
                  <a:lnTo>
                    <a:pt x="1436" y="2240"/>
                  </a:lnTo>
                  <a:lnTo>
                    <a:pt x="1463" y="2213"/>
                  </a:lnTo>
                  <a:lnTo>
                    <a:pt x="1492" y="2186"/>
                  </a:lnTo>
                  <a:lnTo>
                    <a:pt x="1526" y="2160"/>
                  </a:lnTo>
                  <a:lnTo>
                    <a:pt x="1563" y="2131"/>
                  </a:lnTo>
                  <a:lnTo>
                    <a:pt x="1601" y="2102"/>
                  </a:lnTo>
                  <a:lnTo>
                    <a:pt x="1643" y="2073"/>
                  </a:lnTo>
                  <a:lnTo>
                    <a:pt x="1689" y="2044"/>
                  </a:lnTo>
                  <a:lnTo>
                    <a:pt x="1737" y="2016"/>
                  </a:lnTo>
                  <a:lnTo>
                    <a:pt x="1789" y="1987"/>
                  </a:lnTo>
                  <a:lnTo>
                    <a:pt x="1845" y="1958"/>
                  </a:lnTo>
                  <a:lnTo>
                    <a:pt x="1903" y="1931"/>
                  </a:lnTo>
                  <a:lnTo>
                    <a:pt x="1964" y="1902"/>
                  </a:lnTo>
                  <a:lnTo>
                    <a:pt x="2027" y="1875"/>
                  </a:lnTo>
                  <a:lnTo>
                    <a:pt x="2096" y="1850"/>
                  </a:lnTo>
                  <a:lnTo>
                    <a:pt x="2096" y="1850"/>
                  </a:lnTo>
                  <a:lnTo>
                    <a:pt x="2096" y="1849"/>
                  </a:lnTo>
                  <a:lnTo>
                    <a:pt x="2094" y="1847"/>
                  </a:lnTo>
                  <a:lnTo>
                    <a:pt x="2094" y="1847"/>
                  </a:lnTo>
                  <a:close/>
                </a:path>
              </a:pathLst>
            </a:custGeom>
            <a:solidFill>
              <a:schemeClr val="tx1">
                <a:lumMod val="75000"/>
                <a:lumOff val="25000"/>
              </a:schemeClr>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grpSp>
          <p:nvGrpSpPr>
            <p:cNvPr id="5" name="Group 3">
              <a:extLst>
                <a:ext uri="{FF2B5EF4-FFF2-40B4-BE49-F238E27FC236}">
                  <a16:creationId xmlns:a16="http://schemas.microsoft.com/office/drawing/2014/main" id="{D736FCC4-89F5-4271-BCE7-A707FA0E3376}"/>
                </a:ext>
              </a:extLst>
            </p:cNvPr>
            <p:cNvGrpSpPr/>
            <p:nvPr/>
          </p:nvGrpSpPr>
          <p:grpSpPr>
            <a:xfrm>
              <a:off x="5756581" y="2582341"/>
              <a:ext cx="2137150" cy="1928614"/>
              <a:chOff x="5756581" y="2582341"/>
              <a:chExt cx="2137150" cy="1928614"/>
            </a:xfrm>
          </p:grpSpPr>
          <p:sp>
            <p:nvSpPr>
              <p:cNvPr id="26" name="Freeform 8">
                <a:extLst>
                  <a:ext uri="{FF2B5EF4-FFF2-40B4-BE49-F238E27FC236}">
                    <a16:creationId xmlns:a16="http://schemas.microsoft.com/office/drawing/2014/main" id="{9DE64666-2F00-40E9-9D57-711E35AA2241}"/>
                  </a:ext>
                </a:extLst>
              </p:cNvPr>
              <p:cNvSpPr>
                <a:spLocks/>
              </p:cNvSpPr>
              <p:nvPr/>
            </p:nvSpPr>
            <p:spPr bwMode="auto">
              <a:xfrm>
                <a:off x="5756581" y="2582341"/>
                <a:ext cx="2137150" cy="1928614"/>
              </a:xfrm>
              <a:custGeom>
                <a:avLst/>
                <a:gdLst>
                  <a:gd name="T0" fmla="*/ 1169 w 1568"/>
                  <a:gd name="T1" fmla="*/ 80 h 1415"/>
                  <a:gd name="T2" fmla="*/ 1259 w 1568"/>
                  <a:gd name="T3" fmla="*/ 132 h 1415"/>
                  <a:gd name="T4" fmla="*/ 1342 w 1568"/>
                  <a:gd name="T5" fmla="*/ 197 h 1415"/>
                  <a:gd name="T6" fmla="*/ 1411 w 1568"/>
                  <a:gd name="T7" fmla="*/ 270 h 1415"/>
                  <a:gd name="T8" fmla="*/ 1470 w 1568"/>
                  <a:gd name="T9" fmla="*/ 353 h 1415"/>
                  <a:gd name="T10" fmla="*/ 1514 w 1568"/>
                  <a:gd name="T11" fmla="*/ 443 h 1415"/>
                  <a:gd name="T12" fmla="*/ 1547 w 1568"/>
                  <a:gd name="T13" fmla="*/ 539 h 1415"/>
                  <a:gd name="T14" fmla="*/ 1564 w 1568"/>
                  <a:gd name="T15" fmla="*/ 639 h 1415"/>
                  <a:gd name="T16" fmla="*/ 1568 w 1568"/>
                  <a:gd name="T17" fmla="*/ 741 h 1415"/>
                  <a:gd name="T18" fmla="*/ 1557 w 1568"/>
                  <a:gd name="T19" fmla="*/ 845 h 1415"/>
                  <a:gd name="T20" fmla="*/ 1530 w 1568"/>
                  <a:gd name="T21" fmla="*/ 946 h 1415"/>
                  <a:gd name="T22" fmla="*/ 1501 w 1568"/>
                  <a:gd name="T23" fmla="*/ 1013 h 1415"/>
                  <a:gd name="T24" fmla="*/ 1449 w 1568"/>
                  <a:gd name="T25" fmla="*/ 1106 h 1415"/>
                  <a:gd name="T26" fmla="*/ 1386 w 1568"/>
                  <a:gd name="T27" fmla="*/ 1186 h 1415"/>
                  <a:gd name="T28" fmla="*/ 1311 w 1568"/>
                  <a:gd name="T29" fmla="*/ 1255 h 1415"/>
                  <a:gd name="T30" fmla="*/ 1228 w 1568"/>
                  <a:gd name="T31" fmla="*/ 1315 h 1415"/>
                  <a:gd name="T32" fmla="*/ 1138 w 1568"/>
                  <a:gd name="T33" fmla="*/ 1359 h 1415"/>
                  <a:gd name="T34" fmla="*/ 1044 w 1568"/>
                  <a:gd name="T35" fmla="*/ 1392 h 1415"/>
                  <a:gd name="T36" fmla="*/ 944 w 1568"/>
                  <a:gd name="T37" fmla="*/ 1409 h 1415"/>
                  <a:gd name="T38" fmla="*/ 843 w 1568"/>
                  <a:gd name="T39" fmla="*/ 1413 h 1415"/>
                  <a:gd name="T40" fmla="*/ 739 w 1568"/>
                  <a:gd name="T41" fmla="*/ 1401 h 1415"/>
                  <a:gd name="T42" fmla="*/ 637 w 1568"/>
                  <a:gd name="T43" fmla="*/ 1374 h 1415"/>
                  <a:gd name="T44" fmla="*/ 570 w 1568"/>
                  <a:gd name="T45" fmla="*/ 1346 h 1415"/>
                  <a:gd name="T46" fmla="*/ 470 w 1568"/>
                  <a:gd name="T47" fmla="*/ 1292 h 1415"/>
                  <a:gd name="T48" fmla="*/ 374 w 1568"/>
                  <a:gd name="T49" fmla="*/ 1221 h 1415"/>
                  <a:gd name="T50" fmla="*/ 284 w 1568"/>
                  <a:gd name="T51" fmla="*/ 1138 h 1415"/>
                  <a:gd name="T52" fmla="*/ 201 w 1568"/>
                  <a:gd name="T53" fmla="*/ 1046 h 1415"/>
                  <a:gd name="T54" fmla="*/ 130 w 1568"/>
                  <a:gd name="T55" fmla="*/ 944 h 1415"/>
                  <a:gd name="T56" fmla="*/ 71 w 1568"/>
                  <a:gd name="T57" fmla="*/ 839 h 1415"/>
                  <a:gd name="T58" fmla="*/ 29 w 1568"/>
                  <a:gd name="T59" fmla="*/ 729 h 1415"/>
                  <a:gd name="T60" fmla="*/ 6 w 1568"/>
                  <a:gd name="T61" fmla="*/ 618 h 1415"/>
                  <a:gd name="T62" fmla="*/ 2 w 1568"/>
                  <a:gd name="T63" fmla="*/ 510 h 1415"/>
                  <a:gd name="T64" fmla="*/ 23 w 1568"/>
                  <a:gd name="T65" fmla="*/ 405 h 1415"/>
                  <a:gd name="T66" fmla="*/ 50 w 1568"/>
                  <a:gd name="T67" fmla="*/ 338 h 1415"/>
                  <a:gd name="T68" fmla="*/ 109 w 1568"/>
                  <a:gd name="T69" fmla="*/ 249 h 1415"/>
                  <a:gd name="T70" fmla="*/ 188 w 1568"/>
                  <a:gd name="T71" fmla="*/ 174 h 1415"/>
                  <a:gd name="T72" fmla="*/ 282 w 1568"/>
                  <a:gd name="T73" fmla="*/ 111 h 1415"/>
                  <a:gd name="T74" fmla="*/ 390 w 1568"/>
                  <a:gd name="T75" fmla="*/ 63 h 1415"/>
                  <a:gd name="T76" fmla="*/ 507 w 1568"/>
                  <a:gd name="T77" fmla="*/ 29 h 1415"/>
                  <a:gd name="T78" fmla="*/ 628 w 1568"/>
                  <a:gd name="T79" fmla="*/ 7 h 1415"/>
                  <a:gd name="T80" fmla="*/ 750 w 1568"/>
                  <a:gd name="T81" fmla="*/ 0 h 1415"/>
                  <a:gd name="T82" fmla="*/ 873 w 1568"/>
                  <a:gd name="T83" fmla="*/ 4 h 1415"/>
                  <a:gd name="T84" fmla="*/ 990 w 1568"/>
                  <a:gd name="T85" fmla="*/ 23 h 1415"/>
                  <a:gd name="T86" fmla="*/ 1102 w 1568"/>
                  <a:gd name="T87" fmla="*/ 53 h 14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568" h="1415">
                    <a:moveTo>
                      <a:pt x="1134" y="67"/>
                    </a:moveTo>
                    <a:lnTo>
                      <a:pt x="1134" y="67"/>
                    </a:lnTo>
                    <a:lnTo>
                      <a:pt x="1169" y="80"/>
                    </a:lnTo>
                    <a:lnTo>
                      <a:pt x="1200" y="96"/>
                    </a:lnTo>
                    <a:lnTo>
                      <a:pt x="1230" y="115"/>
                    </a:lnTo>
                    <a:lnTo>
                      <a:pt x="1259" y="132"/>
                    </a:lnTo>
                    <a:lnTo>
                      <a:pt x="1288" y="153"/>
                    </a:lnTo>
                    <a:lnTo>
                      <a:pt x="1315" y="174"/>
                    </a:lnTo>
                    <a:lnTo>
                      <a:pt x="1342" y="197"/>
                    </a:lnTo>
                    <a:lnTo>
                      <a:pt x="1367" y="221"/>
                    </a:lnTo>
                    <a:lnTo>
                      <a:pt x="1390" y="245"/>
                    </a:lnTo>
                    <a:lnTo>
                      <a:pt x="1411" y="270"/>
                    </a:lnTo>
                    <a:lnTo>
                      <a:pt x="1432" y="297"/>
                    </a:lnTo>
                    <a:lnTo>
                      <a:pt x="1451" y="326"/>
                    </a:lnTo>
                    <a:lnTo>
                      <a:pt x="1470" y="353"/>
                    </a:lnTo>
                    <a:lnTo>
                      <a:pt x="1486" y="384"/>
                    </a:lnTo>
                    <a:lnTo>
                      <a:pt x="1501" y="413"/>
                    </a:lnTo>
                    <a:lnTo>
                      <a:pt x="1514" y="443"/>
                    </a:lnTo>
                    <a:lnTo>
                      <a:pt x="1528" y="476"/>
                    </a:lnTo>
                    <a:lnTo>
                      <a:pt x="1537" y="507"/>
                    </a:lnTo>
                    <a:lnTo>
                      <a:pt x="1547" y="539"/>
                    </a:lnTo>
                    <a:lnTo>
                      <a:pt x="1555" y="572"/>
                    </a:lnTo>
                    <a:lnTo>
                      <a:pt x="1560" y="605"/>
                    </a:lnTo>
                    <a:lnTo>
                      <a:pt x="1564" y="639"/>
                    </a:lnTo>
                    <a:lnTo>
                      <a:pt x="1568" y="672"/>
                    </a:lnTo>
                    <a:lnTo>
                      <a:pt x="1568" y="706"/>
                    </a:lnTo>
                    <a:lnTo>
                      <a:pt x="1568" y="741"/>
                    </a:lnTo>
                    <a:lnTo>
                      <a:pt x="1566" y="775"/>
                    </a:lnTo>
                    <a:lnTo>
                      <a:pt x="1562" y="810"/>
                    </a:lnTo>
                    <a:lnTo>
                      <a:pt x="1557" y="845"/>
                    </a:lnTo>
                    <a:lnTo>
                      <a:pt x="1549" y="877"/>
                    </a:lnTo>
                    <a:lnTo>
                      <a:pt x="1539" y="912"/>
                    </a:lnTo>
                    <a:lnTo>
                      <a:pt x="1530" y="946"/>
                    </a:lnTo>
                    <a:lnTo>
                      <a:pt x="1516" y="979"/>
                    </a:lnTo>
                    <a:lnTo>
                      <a:pt x="1516" y="979"/>
                    </a:lnTo>
                    <a:lnTo>
                      <a:pt x="1501" y="1013"/>
                    </a:lnTo>
                    <a:lnTo>
                      <a:pt x="1486" y="1044"/>
                    </a:lnTo>
                    <a:lnTo>
                      <a:pt x="1468" y="1075"/>
                    </a:lnTo>
                    <a:lnTo>
                      <a:pt x="1449" y="1106"/>
                    </a:lnTo>
                    <a:lnTo>
                      <a:pt x="1430" y="1133"/>
                    </a:lnTo>
                    <a:lnTo>
                      <a:pt x="1409" y="1159"/>
                    </a:lnTo>
                    <a:lnTo>
                      <a:pt x="1386" y="1186"/>
                    </a:lnTo>
                    <a:lnTo>
                      <a:pt x="1363" y="1211"/>
                    </a:lnTo>
                    <a:lnTo>
                      <a:pt x="1338" y="1234"/>
                    </a:lnTo>
                    <a:lnTo>
                      <a:pt x="1311" y="1255"/>
                    </a:lnTo>
                    <a:lnTo>
                      <a:pt x="1284" y="1277"/>
                    </a:lnTo>
                    <a:lnTo>
                      <a:pt x="1257" y="1296"/>
                    </a:lnTo>
                    <a:lnTo>
                      <a:pt x="1228" y="1315"/>
                    </a:lnTo>
                    <a:lnTo>
                      <a:pt x="1200" y="1330"/>
                    </a:lnTo>
                    <a:lnTo>
                      <a:pt x="1169" y="1346"/>
                    </a:lnTo>
                    <a:lnTo>
                      <a:pt x="1138" y="1359"/>
                    </a:lnTo>
                    <a:lnTo>
                      <a:pt x="1107" y="1373"/>
                    </a:lnTo>
                    <a:lnTo>
                      <a:pt x="1075" y="1382"/>
                    </a:lnTo>
                    <a:lnTo>
                      <a:pt x="1044" y="1392"/>
                    </a:lnTo>
                    <a:lnTo>
                      <a:pt x="1010" y="1399"/>
                    </a:lnTo>
                    <a:lnTo>
                      <a:pt x="977" y="1405"/>
                    </a:lnTo>
                    <a:lnTo>
                      <a:pt x="944" y="1409"/>
                    </a:lnTo>
                    <a:lnTo>
                      <a:pt x="910" y="1413"/>
                    </a:lnTo>
                    <a:lnTo>
                      <a:pt x="875" y="1415"/>
                    </a:lnTo>
                    <a:lnTo>
                      <a:pt x="843" y="1413"/>
                    </a:lnTo>
                    <a:lnTo>
                      <a:pt x="808" y="1411"/>
                    </a:lnTo>
                    <a:lnTo>
                      <a:pt x="773" y="1407"/>
                    </a:lnTo>
                    <a:lnTo>
                      <a:pt x="739" y="1401"/>
                    </a:lnTo>
                    <a:lnTo>
                      <a:pt x="704" y="1394"/>
                    </a:lnTo>
                    <a:lnTo>
                      <a:pt x="670" y="1386"/>
                    </a:lnTo>
                    <a:lnTo>
                      <a:pt x="637" y="1374"/>
                    </a:lnTo>
                    <a:lnTo>
                      <a:pt x="603" y="1361"/>
                    </a:lnTo>
                    <a:lnTo>
                      <a:pt x="603" y="1361"/>
                    </a:lnTo>
                    <a:lnTo>
                      <a:pt x="570" y="1346"/>
                    </a:lnTo>
                    <a:lnTo>
                      <a:pt x="535" y="1330"/>
                    </a:lnTo>
                    <a:lnTo>
                      <a:pt x="503" y="1311"/>
                    </a:lnTo>
                    <a:lnTo>
                      <a:pt x="470" y="1292"/>
                    </a:lnTo>
                    <a:lnTo>
                      <a:pt x="438" y="1269"/>
                    </a:lnTo>
                    <a:lnTo>
                      <a:pt x="405" y="1246"/>
                    </a:lnTo>
                    <a:lnTo>
                      <a:pt x="374" y="1221"/>
                    </a:lnTo>
                    <a:lnTo>
                      <a:pt x="343" y="1194"/>
                    </a:lnTo>
                    <a:lnTo>
                      <a:pt x="313" y="1167"/>
                    </a:lnTo>
                    <a:lnTo>
                      <a:pt x="284" y="1138"/>
                    </a:lnTo>
                    <a:lnTo>
                      <a:pt x="255" y="1108"/>
                    </a:lnTo>
                    <a:lnTo>
                      <a:pt x="226" y="1077"/>
                    </a:lnTo>
                    <a:lnTo>
                      <a:pt x="201" y="1046"/>
                    </a:lnTo>
                    <a:lnTo>
                      <a:pt x="176" y="1013"/>
                    </a:lnTo>
                    <a:lnTo>
                      <a:pt x="152" y="979"/>
                    </a:lnTo>
                    <a:lnTo>
                      <a:pt x="130" y="944"/>
                    </a:lnTo>
                    <a:lnTo>
                      <a:pt x="109" y="910"/>
                    </a:lnTo>
                    <a:lnTo>
                      <a:pt x="90" y="875"/>
                    </a:lnTo>
                    <a:lnTo>
                      <a:pt x="71" y="839"/>
                    </a:lnTo>
                    <a:lnTo>
                      <a:pt x="56" y="802"/>
                    </a:lnTo>
                    <a:lnTo>
                      <a:pt x="42" y="766"/>
                    </a:lnTo>
                    <a:lnTo>
                      <a:pt x="29" y="729"/>
                    </a:lnTo>
                    <a:lnTo>
                      <a:pt x="19" y="693"/>
                    </a:lnTo>
                    <a:lnTo>
                      <a:pt x="11" y="656"/>
                    </a:lnTo>
                    <a:lnTo>
                      <a:pt x="6" y="618"/>
                    </a:lnTo>
                    <a:lnTo>
                      <a:pt x="2" y="581"/>
                    </a:lnTo>
                    <a:lnTo>
                      <a:pt x="0" y="545"/>
                    </a:lnTo>
                    <a:lnTo>
                      <a:pt x="2" y="510"/>
                    </a:lnTo>
                    <a:lnTo>
                      <a:pt x="6" y="474"/>
                    </a:lnTo>
                    <a:lnTo>
                      <a:pt x="13" y="439"/>
                    </a:lnTo>
                    <a:lnTo>
                      <a:pt x="23" y="405"/>
                    </a:lnTo>
                    <a:lnTo>
                      <a:pt x="34" y="370"/>
                    </a:lnTo>
                    <a:lnTo>
                      <a:pt x="34" y="370"/>
                    </a:lnTo>
                    <a:lnTo>
                      <a:pt x="50" y="338"/>
                    </a:lnTo>
                    <a:lnTo>
                      <a:pt x="67" y="307"/>
                    </a:lnTo>
                    <a:lnTo>
                      <a:pt x="86" y="276"/>
                    </a:lnTo>
                    <a:lnTo>
                      <a:pt x="109" y="249"/>
                    </a:lnTo>
                    <a:lnTo>
                      <a:pt x="134" y="222"/>
                    </a:lnTo>
                    <a:lnTo>
                      <a:pt x="159" y="197"/>
                    </a:lnTo>
                    <a:lnTo>
                      <a:pt x="188" y="174"/>
                    </a:lnTo>
                    <a:lnTo>
                      <a:pt x="219" y="151"/>
                    </a:lnTo>
                    <a:lnTo>
                      <a:pt x="249" y="130"/>
                    </a:lnTo>
                    <a:lnTo>
                      <a:pt x="282" y="111"/>
                    </a:lnTo>
                    <a:lnTo>
                      <a:pt x="317" y="94"/>
                    </a:lnTo>
                    <a:lnTo>
                      <a:pt x="353" y="78"/>
                    </a:lnTo>
                    <a:lnTo>
                      <a:pt x="390" y="63"/>
                    </a:lnTo>
                    <a:lnTo>
                      <a:pt x="428" y="52"/>
                    </a:lnTo>
                    <a:lnTo>
                      <a:pt x="466" y="40"/>
                    </a:lnTo>
                    <a:lnTo>
                      <a:pt x="507" y="29"/>
                    </a:lnTo>
                    <a:lnTo>
                      <a:pt x="545" y="21"/>
                    </a:lnTo>
                    <a:lnTo>
                      <a:pt x="587" y="13"/>
                    </a:lnTo>
                    <a:lnTo>
                      <a:pt x="628" y="7"/>
                    </a:lnTo>
                    <a:lnTo>
                      <a:pt x="668" y="4"/>
                    </a:lnTo>
                    <a:lnTo>
                      <a:pt x="710" y="2"/>
                    </a:lnTo>
                    <a:lnTo>
                      <a:pt x="750" y="0"/>
                    </a:lnTo>
                    <a:lnTo>
                      <a:pt x="793" y="0"/>
                    </a:lnTo>
                    <a:lnTo>
                      <a:pt x="833" y="2"/>
                    </a:lnTo>
                    <a:lnTo>
                      <a:pt x="873" y="4"/>
                    </a:lnTo>
                    <a:lnTo>
                      <a:pt x="914" y="9"/>
                    </a:lnTo>
                    <a:lnTo>
                      <a:pt x="952" y="15"/>
                    </a:lnTo>
                    <a:lnTo>
                      <a:pt x="990" y="23"/>
                    </a:lnTo>
                    <a:lnTo>
                      <a:pt x="1029" y="30"/>
                    </a:lnTo>
                    <a:lnTo>
                      <a:pt x="1065" y="42"/>
                    </a:lnTo>
                    <a:lnTo>
                      <a:pt x="1102" y="53"/>
                    </a:lnTo>
                    <a:lnTo>
                      <a:pt x="1134" y="67"/>
                    </a:lnTo>
                    <a:lnTo>
                      <a:pt x="1134" y="67"/>
                    </a:lnTo>
                    <a:close/>
                  </a:path>
                </a:pathLst>
              </a:custGeom>
              <a:solidFill>
                <a:schemeClr val="accent2"/>
              </a:solidFill>
              <a:ln w="76200">
                <a:solidFill>
                  <a:schemeClr val="bg1"/>
                </a:solidFill>
                <a:round/>
                <a:headEnd/>
                <a:tailEnd/>
              </a:ln>
              <a:effectLst>
                <a:outerShdw blurRad="1270000" dist="685800" dir="5400000" sx="84000" sy="84000" algn="t" rotWithShape="0">
                  <a:prstClr val="black">
                    <a:alpha val="15000"/>
                  </a:prstClr>
                </a:outerShdw>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nvGrpSpPr>
              <p:cNvPr id="27" name="Group 25">
                <a:extLst>
                  <a:ext uri="{FF2B5EF4-FFF2-40B4-BE49-F238E27FC236}">
                    <a16:creationId xmlns:a16="http://schemas.microsoft.com/office/drawing/2014/main" id="{B148A5D2-6ADB-4850-929F-C97320E01943}"/>
                  </a:ext>
                </a:extLst>
              </p:cNvPr>
              <p:cNvGrpSpPr/>
              <p:nvPr/>
            </p:nvGrpSpPr>
            <p:grpSpPr>
              <a:xfrm>
                <a:off x="5816238" y="2977766"/>
                <a:ext cx="1639700" cy="896529"/>
                <a:chOff x="5371172" y="4708892"/>
                <a:chExt cx="1639700" cy="896529"/>
              </a:xfrm>
            </p:grpSpPr>
            <p:sp>
              <p:nvSpPr>
                <p:cNvPr id="28" name="TextBox 26">
                  <a:extLst>
                    <a:ext uri="{FF2B5EF4-FFF2-40B4-BE49-F238E27FC236}">
                      <a16:creationId xmlns:a16="http://schemas.microsoft.com/office/drawing/2014/main" id="{8FE03247-7251-4BD8-95DD-27B12B214DB4}"/>
                    </a:ext>
                  </a:extLst>
                </p:cNvPr>
                <p:cNvSpPr txBox="1"/>
                <p:nvPr/>
              </p:nvSpPr>
              <p:spPr>
                <a:xfrm>
                  <a:off x="5534859" y="5042911"/>
                  <a:ext cx="1476013" cy="562510"/>
                </a:xfrm>
                <a:prstGeom prst="rect">
                  <a:avLst/>
                </a:prstGeom>
                <a:noFill/>
              </p:spPr>
              <p:txBody>
                <a:bodyPr wrap="square" rtlCol="0">
                  <a:spAutoFit/>
                </a:bodyPr>
                <a:lstStyle/>
                <a:p>
                  <a:pPr marL="0" marR="0" lvl="0" indent="0" algn="r" defTabSz="914400" rtl="0" eaLnBrk="1" fontAlgn="auto" latinLnBrk="0" hangingPunct="1">
                    <a:lnSpc>
                      <a:spcPct val="12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等线" panose="020F0502020204030204"/>
                      <a:ea typeface="+mn-ea"/>
                      <a:cs typeface="+mn-cs"/>
                    </a:rPr>
                    <a:t>Lorem ipsum dolor sit </a:t>
                  </a:r>
                  <a:r>
                    <a:rPr kumimoji="0" lang="en-US" sz="1200" b="0" i="0" u="none" strike="noStrike" kern="1200" cap="none" spc="0" normalizeH="0" baseline="0" noProof="0" dirty="0" err="1">
                      <a:ln>
                        <a:noFill/>
                      </a:ln>
                      <a:solidFill>
                        <a:srgbClr val="FFFFFF"/>
                      </a:solidFill>
                      <a:effectLst/>
                      <a:uLnTx/>
                      <a:uFillTx/>
                      <a:latin typeface="等线" panose="020F0502020204030204"/>
                      <a:ea typeface="+mn-ea"/>
                      <a:cs typeface="+mn-cs"/>
                    </a:rPr>
                    <a:t>amet</a:t>
                  </a:r>
                  <a:endParaRPr kumimoji="0" lang="en-US" sz="1200" b="0" i="0" u="none" strike="noStrike" kern="1200" cap="none" spc="0" normalizeH="0" baseline="0" noProof="0" dirty="0">
                    <a:ln>
                      <a:noFill/>
                    </a:ln>
                    <a:solidFill>
                      <a:srgbClr val="FFFFFF"/>
                    </a:solidFill>
                    <a:effectLst/>
                    <a:uLnTx/>
                    <a:uFillTx/>
                    <a:latin typeface="等线" panose="020F0502020204030204"/>
                    <a:ea typeface="+mn-ea"/>
                    <a:cs typeface="+mn-cs"/>
                  </a:endParaRPr>
                </a:p>
              </p:txBody>
            </p:sp>
            <p:sp>
              <p:nvSpPr>
                <p:cNvPr id="29" name="TextBox 27">
                  <a:extLst>
                    <a:ext uri="{FF2B5EF4-FFF2-40B4-BE49-F238E27FC236}">
                      <a16:creationId xmlns:a16="http://schemas.microsoft.com/office/drawing/2014/main" id="{586931E4-B49F-4522-87A5-F7CBC2BBC8ED}"/>
                    </a:ext>
                  </a:extLst>
                </p:cNvPr>
                <p:cNvSpPr txBox="1"/>
                <p:nvPr/>
              </p:nvSpPr>
              <p:spPr>
                <a:xfrm>
                  <a:off x="5371172" y="4708892"/>
                  <a:ext cx="1597245" cy="393721"/>
                </a:xfrm>
                <a:prstGeom prst="rect">
                  <a:avLst/>
                </a:prstGeom>
                <a:noFill/>
              </p:spPr>
              <p:txBody>
                <a:bodyPr wrap="square" rtlCol="0">
                  <a:spAutoFit/>
                </a:bodyPr>
                <a:lstStyle/>
                <a:p>
                  <a:pPr marL="0" marR="0" lvl="0" indent="0" algn="r" defTabSz="914400" rtl="0" eaLnBrk="1" fontAlgn="auto" latinLnBrk="0" hangingPunct="1">
                    <a:lnSpc>
                      <a:spcPct val="12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等线" panose="020F0502020204030204"/>
                      <a:ea typeface="+mn-ea"/>
                      <a:cs typeface="+mn-cs"/>
                    </a:rPr>
                    <a:t>Value 02</a:t>
                  </a:r>
                </a:p>
              </p:txBody>
            </p:sp>
          </p:grpSp>
        </p:grpSp>
        <p:grpSp>
          <p:nvGrpSpPr>
            <p:cNvPr id="6" name="Group 4">
              <a:extLst>
                <a:ext uri="{FF2B5EF4-FFF2-40B4-BE49-F238E27FC236}">
                  <a16:creationId xmlns:a16="http://schemas.microsoft.com/office/drawing/2014/main" id="{CF894F9C-CCB5-4EC6-ACD1-0E87EBAF7ECB}"/>
                </a:ext>
              </a:extLst>
            </p:cNvPr>
            <p:cNvGrpSpPr/>
            <p:nvPr/>
          </p:nvGrpSpPr>
          <p:grpSpPr>
            <a:xfrm>
              <a:off x="5267271" y="4235632"/>
              <a:ext cx="2176676" cy="1908168"/>
              <a:chOff x="5267271" y="4235632"/>
              <a:chExt cx="2176676" cy="1908168"/>
            </a:xfrm>
          </p:grpSpPr>
          <p:sp>
            <p:nvSpPr>
              <p:cNvPr id="22" name="Freeform 9">
                <a:extLst>
                  <a:ext uri="{FF2B5EF4-FFF2-40B4-BE49-F238E27FC236}">
                    <a16:creationId xmlns:a16="http://schemas.microsoft.com/office/drawing/2014/main" id="{EA933BDE-55AC-419A-BB28-7B7E786E122D}"/>
                  </a:ext>
                </a:extLst>
              </p:cNvPr>
              <p:cNvSpPr>
                <a:spLocks/>
              </p:cNvSpPr>
              <p:nvPr/>
            </p:nvSpPr>
            <p:spPr bwMode="auto">
              <a:xfrm>
                <a:off x="5267271" y="4235632"/>
                <a:ext cx="2176676" cy="1908168"/>
              </a:xfrm>
              <a:custGeom>
                <a:avLst/>
                <a:gdLst>
                  <a:gd name="T0" fmla="*/ 1021 w 1597"/>
                  <a:gd name="T1" fmla="*/ 12 h 1400"/>
                  <a:gd name="T2" fmla="*/ 1123 w 1597"/>
                  <a:gd name="T3" fmla="*/ 39 h 1400"/>
                  <a:gd name="T4" fmla="*/ 1219 w 1597"/>
                  <a:gd name="T5" fmla="*/ 79 h 1400"/>
                  <a:gd name="T6" fmla="*/ 1305 w 1597"/>
                  <a:gd name="T7" fmla="*/ 131 h 1400"/>
                  <a:gd name="T8" fmla="*/ 1384 w 1597"/>
                  <a:gd name="T9" fmla="*/ 196 h 1400"/>
                  <a:gd name="T10" fmla="*/ 1451 w 1597"/>
                  <a:gd name="T11" fmla="*/ 271 h 1400"/>
                  <a:gd name="T12" fmla="*/ 1507 w 1597"/>
                  <a:gd name="T13" fmla="*/ 355 h 1400"/>
                  <a:gd name="T14" fmla="*/ 1549 w 1597"/>
                  <a:gd name="T15" fmla="*/ 448 h 1400"/>
                  <a:gd name="T16" fmla="*/ 1580 w 1597"/>
                  <a:gd name="T17" fmla="*/ 544 h 1400"/>
                  <a:gd name="T18" fmla="*/ 1595 w 1597"/>
                  <a:gd name="T19" fmla="*/ 647 h 1400"/>
                  <a:gd name="T20" fmla="*/ 1595 w 1597"/>
                  <a:gd name="T21" fmla="*/ 753 h 1400"/>
                  <a:gd name="T22" fmla="*/ 1585 w 1597"/>
                  <a:gd name="T23" fmla="*/ 824 h 1400"/>
                  <a:gd name="T24" fmla="*/ 1561 w 1597"/>
                  <a:gd name="T25" fmla="*/ 928 h 1400"/>
                  <a:gd name="T26" fmla="*/ 1518 w 1597"/>
                  <a:gd name="T27" fmla="*/ 1022 h 1400"/>
                  <a:gd name="T28" fmla="*/ 1466 w 1597"/>
                  <a:gd name="T29" fmla="*/ 1110 h 1400"/>
                  <a:gd name="T30" fmla="*/ 1401 w 1597"/>
                  <a:gd name="T31" fmla="*/ 1187 h 1400"/>
                  <a:gd name="T32" fmla="*/ 1326 w 1597"/>
                  <a:gd name="T33" fmla="*/ 1254 h 1400"/>
                  <a:gd name="T34" fmla="*/ 1242 w 1597"/>
                  <a:gd name="T35" fmla="*/ 1310 h 1400"/>
                  <a:gd name="T36" fmla="*/ 1150 w 1597"/>
                  <a:gd name="T37" fmla="*/ 1354 h 1400"/>
                  <a:gd name="T38" fmla="*/ 1054 w 1597"/>
                  <a:gd name="T39" fmla="*/ 1383 h 1400"/>
                  <a:gd name="T40" fmla="*/ 950 w 1597"/>
                  <a:gd name="T41" fmla="*/ 1398 h 1400"/>
                  <a:gd name="T42" fmla="*/ 845 w 1597"/>
                  <a:gd name="T43" fmla="*/ 1398 h 1400"/>
                  <a:gd name="T44" fmla="*/ 773 w 1597"/>
                  <a:gd name="T45" fmla="*/ 1388 h 1400"/>
                  <a:gd name="T46" fmla="*/ 662 w 1597"/>
                  <a:gd name="T47" fmla="*/ 1361 h 1400"/>
                  <a:gd name="T48" fmla="*/ 551 w 1597"/>
                  <a:gd name="T49" fmla="*/ 1319 h 1400"/>
                  <a:gd name="T50" fmla="*/ 441 w 1597"/>
                  <a:gd name="T51" fmla="*/ 1264 h 1400"/>
                  <a:gd name="T52" fmla="*/ 338 w 1597"/>
                  <a:gd name="T53" fmla="*/ 1194 h 1400"/>
                  <a:gd name="T54" fmla="*/ 244 w 1597"/>
                  <a:gd name="T55" fmla="*/ 1116 h 1400"/>
                  <a:gd name="T56" fmla="*/ 159 w 1597"/>
                  <a:gd name="T57" fmla="*/ 1029 h 1400"/>
                  <a:gd name="T58" fmla="*/ 90 w 1597"/>
                  <a:gd name="T59" fmla="*/ 933 h 1400"/>
                  <a:gd name="T60" fmla="*/ 38 w 1597"/>
                  <a:gd name="T61" fmla="*/ 833 h 1400"/>
                  <a:gd name="T62" fmla="*/ 8 w 1597"/>
                  <a:gd name="T63" fmla="*/ 730 h 1400"/>
                  <a:gd name="T64" fmla="*/ 0 w 1597"/>
                  <a:gd name="T65" fmla="*/ 622 h 1400"/>
                  <a:gd name="T66" fmla="*/ 8 w 1597"/>
                  <a:gd name="T67" fmla="*/ 551 h 1400"/>
                  <a:gd name="T68" fmla="*/ 42 w 1597"/>
                  <a:gd name="T69" fmla="*/ 449 h 1400"/>
                  <a:gd name="T70" fmla="*/ 100 w 1597"/>
                  <a:gd name="T71" fmla="*/ 355 h 1400"/>
                  <a:gd name="T72" fmla="*/ 175 w 1597"/>
                  <a:gd name="T73" fmla="*/ 271 h 1400"/>
                  <a:gd name="T74" fmla="*/ 265 w 1597"/>
                  <a:gd name="T75" fmla="*/ 198 h 1400"/>
                  <a:gd name="T76" fmla="*/ 368 w 1597"/>
                  <a:gd name="T77" fmla="*/ 135 h 1400"/>
                  <a:gd name="T78" fmla="*/ 480 w 1597"/>
                  <a:gd name="T79" fmla="*/ 81 h 1400"/>
                  <a:gd name="T80" fmla="*/ 597 w 1597"/>
                  <a:gd name="T81" fmla="*/ 42 h 1400"/>
                  <a:gd name="T82" fmla="*/ 718 w 1597"/>
                  <a:gd name="T83" fmla="*/ 14 h 1400"/>
                  <a:gd name="T84" fmla="*/ 835 w 1597"/>
                  <a:gd name="T85" fmla="*/ 0 h 1400"/>
                  <a:gd name="T86" fmla="*/ 950 w 1597"/>
                  <a:gd name="T87" fmla="*/ 2 h 1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597" h="1400">
                    <a:moveTo>
                      <a:pt x="987" y="6"/>
                    </a:moveTo>
                    <a:lnTo>
                      <a:pt x="987" y="6"/>
                    </a:lnTo>
                    <a:lnTo>
                      <a:pt x="1021" y="12"/>
                    </a:lnTo>
                    <a:lnTo>
                      <a:pt x="1056" y="17"/>
                    </a:lnTo>
                    <a:lnTo>
                      <a:pt x="1090" y="27"/>
                    </a:lnTo>
                    <a:lnTo>
                      <a:pt x="1123" y="39"/>
                    </a:lnTo>
                    <a:lnTo>
                      <a:pt x="1155" y="50"/>
                    </a:lnTo>
                    <a:lnTo>
                      <a:pt x="1188" y="64"/>
                    </a:lnTo>
                    <a:lnTo>
                      <a:pt x="1219" y="79"/>
                    </a:lnTo>
                    <a:lnTo>
                      <a:pt x="1250" y="94"/>
                    </a:lnTo>
                    <a:lnTo>
                      <a:pt x="1278" y="113"/>
                    </a:lnTo>
                    <a:lnTo>
                      <a:pt x="1305" y="131"/>
                    </a:lnTo>
                    <a:lnTo>
                      <a:pt x="1332" y="152"/>
                    </a:lnTo>
                    <a:lnTo>
                      <a:pt x="1359" y="173"/>
                    </a:lnTo>
                    <a:lnTo>
                      <a:pt x="1384" y="196"/>
                    </a:lnTo>
                    <a:lnTo>
                      <a:pt x="1407" y="221"/>
                    </a:lnTo>
                    <a:lnTo>
                      <a:pt x="1430" y="246"/>
                    </a:lnTo>
                    <a:lnTo>
                      <a:pt x="1451" y="271"/>
                    </a:lnTo>
                    <a:lnTo>
                      <a:pt x="1470" y="298"/>
                    </a:lnTo>
                    <a:lnTo>
                      <a:pt x="1489" y="327"/>
                    </a:lnTo>
                    <a:lnTo>
                      <a:pt x="1507" y="355"/>
                    </a:lnTo>
                    <a:lnTo>
                      <a:pt x="1522" y="386"/>
                    </a:lnTo>
                    <a:lnTo>
                      <a:pt x="1537" y="415"/>
                    </a:lnTo>
                    <a:lnTo>
                      <a:pt x="1549" y="448"/>
                    </a:lnTo>
                    <a:lnTo>
                      <a:pt x="1561" y="478"/>
                    </a:lnTo>
                    <a:lnTo>
                      <a:pt x="1572" y="511"/>
                    </a:lnTo>
                    <a:lnTo>
                      <a:pt x="1580" y="544"/>
                    </a:lnTo>
                    <a:lnTo>
                      <a:pt x="1587" y="578"/>
                    </a:lnTo>
                    <a:lnTo>
                      <a:pt x="1591" y="613"/>
                    </a:lnTo>
                    <a:lnTo>
                      <a:pt x="1595" y="647"/>
                    </a:lnTo>
                    <a:lnTo>
                      <a:pt x="1597" y="682"/>
                    </a:lnTo>
                    <a:lnTo>
                      <a:pt x="1597" y="716"/>
                    </a:lnTo>
                    <a:lnTo>
                      <a:pt x="1595" y="753"/>
                    </a:lnTo>
                    <a:lnTo>
                      <a:pt x="1591" y="789"/>
                    </a:lnTo>
                    <a:lnTo>
                      <a:pt x="1591" y="789"/>
                    </a:lnTo>
                    <a:lnTo>
                      <a:pt x="1585" y="824"/>
                    </a:lnTo>
                    <a:lnTo>
                      <a:pt x="1580" y="858"/>
                    </a:lnTo>
                    <a:lnTo>
                      <a:pt x="1570" y="893"/>
                    </a:lnTo>
                    <a:lnTo>
                      <a:pt x="1561" y="928"/>
                    </a:lnTo>
                    <a:lnTo>
                      <a:pt x="1547" y="960"/>
                    </a:lnTo>
                    <a:lnTo>
                      <a:pt x="1534" y="991"/>
                    </a:lnTo>
                    <a:lnTo>
                      <a:pt x="1518" y="1022"/>
                    </a:lnTo>
                    <a:lnTo>
                      <a:pt x="1503" y="1052"/>
                    </a:lnTo>
                    <a:lnTo>
                      <a:pt x="1486" y="1081"/>
                    </a:lnTo>
                    <a:lnTo>
                      <a:pt x="1466" y="1110"/>
                    </a:lnTo>
                    <a:lnTo>
                      <a:pt x="1445" y="1137"/>
                    </a:lnTo>
                    <a:lnTo>
                      <a:pt x="1424" y="1162"/>
                    </a:lnTo>
                    <a:lnTo>
                      <a:pt x="1401" y="1187"/>
                    </a:lnTo>
                    <a:lnTo>
                      <a:pt x="1376" y="1210"/>
                    </a:lnTo>
                    <a:lnTo>
                      <a:pt x="1351" y="1233"/>
                    </a:lnTo>
                    <a:lnTo>
                      <a:pt x="1326" y="1254"/>
                    </a:lnTo>
                    <a:lnTo>
                      <a:pt x="1299" y="1273"/>
                    </a:lnTo>
                    <a:lnTo>
                      <a:pt x="1271" y="1292"/>
                    </a:lnTo>
                    <a:lnTo>
                      <a:pt x="1242" y="1310"/>
                    </a:lnTo>
                    <a:lnTo>
                      <a:pt x="1213" y="1325"/>
                    </a:lnTo>
                    <a:lnTo>
                      <a:pt x="1182" y="1340"/>
                    </a:lnTo>
                    <a:lnTo>
                      <a:pt x="1150" y="1354"/>
                    </a:lnTo>
                    <a:lnTo>
                      <a:pt x="1119" y="1365"/>
                    </a:lnTo>
                    <a:lnTo>
                      <a:pt x="1086" y="1375"/>
                    </a:lnTo>
                    <a:lnTo>
                      <a:pt x="1054" y="1383"/>
                    </a:lnTo>
                    <a:lnTo>
                      <a:pt x="1019" y="1390"/>
                    </a:lnTo>
                    <a:lnTo>
                      <a:pt x="985" y="1394"/>
                    </a:lnTo>
                    <a:lnTo>
                      <a:pt x="950" y="1398"/>
                    </a:lnTo>
                    <a:lnTo>
                      <a:pt x="916" y="1400"/>
                    </a:lnTo>
                    <a:lnTo>
                      <a:pt x="881" y="1400"/>
                    </a:lnTo>
                    <a:lnTo>
                      <a:pt x="845" y="1398"/>
                    </a:lnTo>
                    <a:lnTo>
                      <a:pt x="808" y="1394"/>
                    </a:lnTo>
                    <a:lnTo>
                      <a:pt x="808" y="1394"/>
                    </a:lnTo>
                    <a:lnTo>
                      <a:pt x="773" y="1388"/>
                    </a:lnTo>
                    <a:lnTo>
                      <a:pt x="735" y="1383"/>
                    </a:lnTo>
                    <a:lnTo>
                      <a:pt x="699" y="1373"/>
                    </a:lnTo>
                    <a:lnTo>
                      <a:pt x="662" y="1361"/>
                    </a:lnTo>
                    <a:lnTo>
                      <a:pt x="626" y="1350"/>
                    </a:lnTo>
                    <a:lnTo>
                      <a:pt x="587" y="1335"/>
                    </a:lnTo>
                    <a:lnTo>
                      <a:pt x="551" y="1319"/>
                    </a:lnTo>
                    <a:lnTo>
                      <a:pt x="514" y="1302"/>
                    </a:lnTo>
                    <a:lnTo>
                      <a:pt x="478" y="1283"/>
                    </a:lnTo>
                    <a:lnTo>
                      <a:pt x="441" y="1264"/>
                    </a:lnTo>
                    <a:lnTo>
                      <a:pt x="407" y="1240"/>
                    </a:lnTo>
                    <a:lnTo>
                      <a:pt x="372" y="1219"/>
                    </a:lnTo>
                    <a:lnTo>
                      <a:pt x="338" y="1194"/>
                    </a:lnTo>
                    <a:lnTo>
                      <a:pt x="305" y="1169"/>
                    </a:lnTo>
                    <a:lnTo>
                      <a:pt x="274" y="1143"/>
                    </a:lnTo>
                    <a:lnTo>
                      <a:pt x="244" y="1116"/>
                    </a:lnTo>
                    <a:lnTo>
                      <a:pt x="215" y="1087"/>
                    </a:lnTo>
                    <a:lnTo>
                      <a:pt x="186" y="1058"/>
                    </a:lnTo>
                    <a:lnTo>
                      <a:pt x="159" y="1029"/>
                    </a:lnTo>
                    <a:lnTo>
                      <a:pt x="134" y="999"/>
                    </a:lnTo>
                    <a:lnTo>
                      <a:pt x="111" y="966"/>
                    </a:lnTo>
                    <a:lnTo>
                      <a:pt x="90" y="933"/>
                    </a:lnTo>
                    <a:lnTo>
                      <a:pt x="71" y="901"/>
                    </a:lnTo>
                    <a:lnTo>
                      <a:pt x="54" y="868"/>
                    </a:lnTo>
                    <a:lnTo>
                      <a:pt x="38" y="833"/>
                    </a:lnTo>
                    <a:lnTo>
                      <a:pt x="25" y="799"/>
                    </a:lnTo>
                    <a:lnTo>
                      <a:pt x="15" y="764"/>
                    </a:lnTo>
                    <a:lnTo>
                      <a:pt x="8" y="730"/>
                    </a:lnTo>
                    <a:lnTo>
                      <a:pt x="2" y="693"/>
                    </a:lnTo>
                    <a:lnTo>
                      <a:pt x="0" y="659"/>
                    </a:lnTo>
                    <a:lnTo>
                      <a:pt x="0" y="622"/>
                    </a:lnTo>
                    <a:lnTo>
                      <a:pt x="2" y="586"/>
                    </a:lnTo>
                    <a:lnTo>
                      <a:pt x="2" y="586"/>
                    </a:lnTo>
                    <a:lnTo>
                      <a:pt x="8" y="551"/>
                    </a:lnTo>
                    <a:lnTo>
                      <a:pt x="17" y="517"/>
                    </a:lnTo>
                    <a:lnTo>
                      <a:pt x="29" y="482"/>
                    </a:lnTo>
                    <a:lnTo>
                      <a:pt x="42" y="449"/>
                    </a:lnTo>
                    <a:lnTo>
                      <a:pt x="59" y="417"/>
                    </a:lnTo>
                    <a:lnTo>
                      <a:pt x="79" y="386"/>
                    </a:lnTo>
                    <a:lnTo>
                      <a:pt x="100" y="355"/>
                    </a:lnTo>
                    <a:lnTo>
                      <a:pt x="123" y="327"/>
                    </a:lnTo>
                    <a:lnTo>
                      <a:pt x="148" y="300"/>
                    </a:lnTo>
                    <a:lnTo>
                      <a:pt x="175" y="271"/>
                    </a:lnTo>
                    <a:lnTo>
                      <a:pt x="203" y="246"/>
                    </a:lnTo>
                    <a:lnTo>
                      <a:pt x="234" y="221"/>
                    </a:lnTo>
                    <a:lnTo>
                      <a:pt x="265" y="198"/>
                    </a:lnTo>
                    <a:lnTo>
                      <a:pt x="299" y="175"/>
                    </a:lnTo>
                    <a:lnTo>
                      <a:pt x="334" y="154"/>
                    </a:lnTo>
                    <a:lnTo>
                      <a:pt x="368" y="135"/>
                    </a:lnTo>
                    <a:lnTo>
                      <a:pt x="405" y="115"/>
                    </a:lnTo>
                    <a:lnTo>
                      <a:pt x="441" y="98"/>
                    </a:lnTo>
                    <a:lnTo>
                      <a:pt x="480" y="81"/>
                    </a:lnTo>
                    <a:lnTo>
                      <a:pt x="518" y="67"/>
                    </a:lnTo>
                    <a:lnTo>
                      <a:pt x="559" y="54"/>
                    </a:lnTo>
                    <a:lnTo>
                      <a:pt x="597" y="42"/>
                    </a:lnTo>
                    <a:lnTo>
                      <a:pt x="637" y="31"/>
                    </a:lnTo>
                    <a:lnTo>
                      <a:pt x="678" y="21"/>
                    </a:lnTo>
                    <a:lnTo>
                      <a:pt x="718" y="14"/>
                    </a:lnTo>
                    <a:lnTo>
                      <a:pt x="756" y="8"/>
                    </a:lnTo>
                    <a:lnTo>
                      <a:pt x="797" y="4"/>
                    </a:lnTo>
                    <a:lnTo>
                      <a:pt x="835" y="0"/>
                    </a:lnTo>
                    <a:lnTo>
                      <a:pt x="873" y="0"/>
                    </a:lnTo>
                    <a:lnTo>
                      <a:pt x="912" y="0"/>
                    </a:lnTo>
                    <a:lnTo>
                      <a:pt x="950" y="2"/>
                    </a:lnTo>
                    <a:lnTo>
                      <a:pt x="987" y="6"/>
                    </a:lnTo>
                    <a:lnTo>
                      <a:pt x="987" y="6"/>
                    </a:lnTo>
                    <a:close/>
                  </a:path>
                </a:pathLst>
              </a:custGeom>
              <a:solidFill>
                <a:schemeClr val="accent1"/>
              </a:solidFill>
              <a:ln w="76200">
                <a:solidFill>
                  <a:schemeClr val="bg1"/>
                </a:solidFill>
                <a:round/>
                <a:headEnd/>
                <a:tailEnd/>
              </a:ln>
              <a:effectLst>
                <a:outerShdw blurRad="1270000" dist="685800" dir="5400000" sx="84000" sy="84000" algn="t" rotWithShape="0">
                  <a:prstClr val="black">
                    <a:alpha val="15000"/>
                  </a:prstClr>
                </a:outerShdw>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nvGrpSpPr>
              <p:cNvPr id="23" name="Group 21">
                <a:extLst>
                  <a:ext uri="{FF2B5EF4-FFF2-40B4-BE49-F238E27FC236}">
                    <a16:creationId xmlns:a16="http://schemas.microsoft.com/office/drawing/2014/main" id="{33D69F90-39A7-4C57-9C0B-B6C396FCC161}"/>
                  </a:ext>
                </a:extLst>
              </p:cNvPr>
              <p:cNvGrpSpPr/>
              <p:nvPr/>
            </p:nvGrpSpPr>
            <p:grpSpPr>
              <a:xfrm>
                <a:off x="5590394" y="4670676"/>
                <a:ext cx="1597245" cy="968625"/>
                <a:chOff x="5627784" y="4665247"/>
                <a:chExt cx="1597245" cy="968625"/>
              </a:xfrm>
            </p:grpSpPr>
            <p:sp>
              <p:nvSpPr>
                <p:cNvPr id="24" name="TextBox 22">
                  <a:extLst>
                    <a:ext uri="{FF2B5EF4-FFF2-40B4-BE49-F238E27FC236}">
                      <a16:creationId xmlns:a16="http://schemas.microsoft.com/office/drawing/2014/main" id="{88C92AF3-B2B7-46CB-B272-7078BAE74763}"/>
                    </a:ext>
                  </a:extLst>
                </p:cNvPr>
                <p:cNvSpPr txBox="1"/>
                <p:nvPr/>
              </p:nvSpPr>
              <p:spPr>
                <a:xfrm>
                  <a:off x="5707647" y="5071362"/>
                  <a:ext cx="1437518" cy="562510"/>
                </a:xfrm>
                <a:prstGeom prst="rect">
                  <a:avLst/>
                </a:prstGeom>
                <a:noFill/>
              </p:spPr>
              <p:txBody>
                <a:bodyPr wrap="square" rtlCol="0">
                  <a:spAutoFit/>
                </a:body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等线" panose="020F0502020204030204"/>
                      <a:ea typeface="+mn-ea"/>
                      <a:cs typeface="+mn-cs"/>
                    </a:rPr>
                    <a:t>Lorem ipsum dolor sit </a:t>
                  </a:r>
                  <a:r>
                    <a:rPr kumimoji="0" lang="en-US" sz="1200" b="0" i="0" u="none" strike="noStrike" kern="1200" cap="none" spc="0" normalizeH="0" baseline="0" noProof="0" dirty="0" err="1">
                      <a:ln>
                        <a:noFill/>
                      </a:ln>
                      <a:solidFill>
                        <a:srgbClr val="FFFFFF"/>
                      </a:solidFill>
                      <a:effectLst/>
                      <a:uLnTx/>
                      <a:uFillTx/>
                      <a:latin typeface="等线" panose="020F0502020204030204"/>
                      <a:ea typeface="+mn-ea"/>
                      <a:cs typeface="+mn-cs"/>
                    </a:rPr>
                    <a:t>amet</a:t>
                  </a:r>
                  <a:endParaRPr kumimoji="0" lang="en-US" sz="1200" b="0" i="0" u="none" strike="noStrike" kern="1200" cap="none" spc="0" normalizeH="0" baseline="0" noProof="0" dirty="0">
                    <a:ln>
                      <a:noFill/>
                    </a:ln>
                    <a:solidFill>
                      <a:srgbClr val="FFFFFF"/>
                    </a:solidFill>
                    <a:effectLst/>
                    <a:uLnTx/>
                    <a:uFillTx/>
                    <a:latin typeface="等线" panose="020F0502020204030204"/>
                    <a:ea typeface="+mn-ea"/>
                    <a:cs typeface="+mn-cs"/>
                  </a:endParaRPr>
                </a:p>
              </p:txBody>
            </p:sp>
            <p:sp>
              <p:nvSpPr>
                <p:cNvPr id="25" name="TextBox 23">
                  <a:extLst>
                    <a:ext uri="{FF2B5EF4-FFF2-40B4-BE49-F238E27FC236}">
                      <a16:creationId xmlns:a16="http://schemas.microsoft.com/office/drawing/2014/main" id="{D7033EB3-256E-4999-BDD0-64226C328783}"/>
                    </a:ext>
                  </a:extLst>
                </p:cNvPr>
                <p:cNvSpPr txBox="1"/>
                <p:nvPr/>
              </p:nvSpPr>
              <p:spPr>
                <a:xfrm>
                  <a:off x="5627784" y="4665247"/>
                  <a:ext cx="1597245" cy="393722"/>
                </a:xfrm>
                <a:prstGeom prst="rect">
                  <a:avLst/>
                </a:prstGeom>
                <a:noFill/>
              </p:spPr>
              <p:txBody>
                <a:bodyPr wrap="square" rtlCol="0">
                  <a:spAutoFit/>
                </a:body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等线" panose="020F0502020204030204"/>
                      <a:ea typeface="+mn-ea"/>
                      <a:cs typeface="+mn-cs"/>
                    </a:rPr>
                    <a:t>Value 01</a:t>
                  </a:r>
                </a:p>
              </p:txBody>
            </p:sp>
          </p:grpSp>
        </p:grpSp>
        <p:grpSp>
          <p:nvGrpSpPr>
            <p:cNvPr id="7" name="Group 5">
              <a:extLst>
                <a:ext uri="{FF2B5EF4-FFF2-40B4-BE49-F238E27FC236}">
                  <a16:creationId xmlns:a16="http://schemas.microsoft.com/office/drawing/2014/main" id="{95FC3AFD-8EEA-4249-9854-A7E322EEE0E0}"/>
                </a:ext>
              </a:extLst>
            </p:cNvPr>
            <p:cNvGrpSpPr/>
            <p:nvPr/>
          </p:nvGrpSpPr>
          <p:grpSpPr>
            <a:xfrm>
              <a:off x="9409360" y="3942593"/>
              <a:ext cx="2163047" cy="1913621"/>
              <a:chOff x="9409360" y="3942593"/>
              <a:chExt cx="2163047" cy="1913621"/>
            </a:xfrm>
          </p:grpSpPr>
          <p:sp>
            <p:nvSpPr>
              <p:cNvPr id="18" name="Freeform 7">
                <a:extLst>
                  <a:ext uri="{FF2B5EF4-FFF2-40B4-BE49-F238E27FC236}">
                    <a16:creationId xmlns:a16="http://schemas.microsoft.com/office/drawing/2014/main" id="{3DCD5572-F3A2-4D27-BBD5-72E9C0A18FC5}"/>
                  </a:ext>
                </a:extLst>
              </p:cNvPr>
              <p:cNvSpPr>
                <a:spLocks/>
              </p:cNvSpPr>
              <p:nvPr/>
            </p:nvSpPr>
            <p:spPr bwMode="auto">
              <a:xfrm>
                <a:off x="9409360" y="3942593"/>
                <a:ext cx="2163047" cy="1913621"/>
              </a:xfrm>
              <a:custGeom>
                <a:avLst/>
                <a:gdLst>
                  <a:gd name="T0" fmla="*/ 833 w 1587"/>
                  <a:gd name="T1" fmla="*/ 1392 h 1404"/>
                  <a:gd name="T2" fmla="*/ 727 w 1587"/>
                  <a:gd name="T3" fmla="*/ 1404 h 1404"/>
                  <a:gd name="T4" fmla="*/ 623 w 1587"/>
                  <a:gd name="T5" fmla="*/ 1400 h 1404"/>
                  <a:gd name="T6" fmla="*/ 524 w 1587"/>
                  <a:gd name="T7" fmla="*/ 1383 h 1404"/>
                  <a:gd name="T8" fmla="*/ 428 w 1587"/>
                  <a:gd name="T9" fmla="*/ 1350 h 1404"/>
                  <a:gd name="T10" fmla="*/ 337 w 1587"/>
                  <a:gd name="T11" fmla="*/ 1304 h 1404"/>
                  <a:gd name="T12" fmla="*/ 255 w 1587"/>
                  <a:gd name="T13" fmla="*/ 1246 h 1404"/>
                  <a:gd name="T14" fmla="*/ 182 w 1587"/>
                  <a:gd name="T15" fmla="*/ 1177 h 1404"/>
                  <a:gd name="T16" fmla="*/ 119 w 1587"/>
                  <a:gd name="T17" fmla="*/ 1096 h 1404"/>
                  <a:gd name="T18" fmla="*/ 67 w 1587"/>
                  <a:gd name="T19" fmla="*/ 1006 h 1404"/>
                  <a:gd name="T20" fmla="*/ 28 w 1587"/>
                  <a:gd name="T21" fmla="*/ 908 h 1404"/>
                  <a:gd name="T22" fmla="*/ 11 w 1587"/>
                  <a:gd name="T23" fmla="*/ 839 h 1404"/>
                  <a:gd name="T24" fmla="*/ 0 w 1587"/>
                  <a:gd name="T25" fmla="*/ 734 h 1404"/>
                  <a:gd name="T26" fmla="*/ 3 w 1587"/>
                  <a:gd name="T27" fmla="*/ 630 h 1404"/>
                  <a:gd name="T28" fmla="*/ 21 w 1587"/>
                  <a:gd name="T29" fmla="*/ 530 h 1404"/>
                  <a:gd name="T30" fmla="*/ 53 w 1587"/>
                  <a:gd name="T31" fmla="*/ 434 h 1404"/>
                  <a:gd name="T32" fmla="*/ 99 w 1587"/>
                  <a:gd name="T33" fmla="*/ 344 h 1404"/>
                  <a:gd name="T34" fmla="*/ 157 w 1587"/>
                  <a:gd name="T35" fmla="*/ 261 h 1404"/>
                  <a:gd name="T36" fmla="*/ 226 w 1587"/>
                  <a:gd name="T37" fmla="*/ 188 h 1404"/>
                  <a:gd name="T38" fmla="*/ 307 w 1587"/>
                  <a:gd name="T39" fmla="*/ 125 h 1404"/>
                  <a:gd name="T40" fmla="*/ 397 w 1587"/>
                  <a:gd name="T41" fmla="*/ 73 h 1404"/>
                  <a:gd name="T42" fmla="*/ 495 w 1587"/>
                  <a:gd name="T43" fmla="*/ 35 h 1404"/>
                  <a:gd name="T44" fmla="*/ 566 w 1587"/>
                  <a:gd name="T45" fmla="*/ 17 h 1404"/>
                  <a:gd name="T46" fmla="*/ 679 w 1587"/>
                  <a:gd name="T47" fmla="*/ 2 h 1404"/>
                  <a:gd name="T48" fmla="*/ 798 w 1587"/>
                  <a:gd name="T49" fmla="*/ 2 h 1404"/>
                  <a:gd name="T50" fmla="*/ 919 w 1587"/>
                  <a:gd name="T51" fmla="*/ 15 h 1404"/>
                  <a:gd name="T52" fmla="*/ 1040 w 1587"/>
                  <a:gd name="T53" fmla="*/ 40 h 1404"/>
                  <a:gd name="T54" fmla="*/ 1157 w 1587"/>
                  <a:gd name="T55" fmla="*/ 81 h 1404"/>
                  <a:gd name="T56" fmla="*/ 1266 w 1587"/>
                  <a:gd name="T57" fmla="*/ 131 h 1404"/>
                  <a:gd name="T58" fmla="*/ 1366 w 1587"/>
                  <a:gd name="T59" fmla="*/ 194 h 1404"/>
                  <a:gd name="T60" fmla="*/ 1451 w 1587"/>
                  <a:gd name="T61" fmla="*/ 269 h 1404"/>
                  <a:gd name="T62" fmla="*/ 1518 w 1587"/>
                  <a:gd name="T63" fmla="*/ 355 h 1404"/>
                  <a:gd name="T64" fmla="*/ 1564 w 1587"/>
                  <a:gd name="T65" fmla="*/ 451 h 1404"/>
                  <a:gd name="T66" fmla="*/ 1581 w 1587"/>
                  <a:gd name="T67" fmla="*/ 522 h 1404"/>
                  <a:gd name="T68" fmla="*/ 1587 w 1587"/>
                  <a:gd name="T69" fmla="*/ 628 h 1404"/>
                  <a:gd name="T70" fmla="*/ 1568 w 1587"/>
                  <a:gd name="T71" fmla="*/ 735 h 1404"/>
                  <a:gd name="T72" fmla="*/ 1527 w 1587"/>
                  <a:gd name="T73" fmla="*/ 841 h 1404"/>
                  <a:gd name="T74" fmla="*/ 1470 w 1587"/>
                  <a:gd name="T75" fmla="*/ 945 h 1404"/>
                  <a:gd name="T76" fmla="*/ 1397 w 1587"/>
                  <a:gd name="T77" fmla="*/ 1041 h 1404"/>
                  <a:gd name="T78" fmla="*/ 1313 w 1587"/>
                  <a:gd name="T79" fmla="*/ 1129 h 1404"/>
                  <a:gd name="T80" fmla="*/ 1217 w 1587"/>
                  <a:gd name="T81" fmla="*/ 1210 h 1404"/>
                  <a:gd name="T82" fmla="*/ 1115 w 1587"/>
                  <a:gd name="T83" fmla="*/ 1279 h 1404"/>
                  <a:gd name="T84" fmla="*/ 1009 w 1587"/>
                  <a:gd name="T85" fmla="*/ 1335 h 1404"/>
                  <a:gd name="T86" fmla="*/ 904 w 1587"/>
                  <a:gd name="T87" fmla="*/ 1375 h 1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587" h="1404">
                    <a:moveTo>
                      <a:pt x="867" y="1384"/>
                    </a:moveTo>
                    <a:lnTo>
                      <a:pt x="867" y="1384"/>
                    </a:lnTo>
                    <a:lnTo>
                      <a:pt x="833" y="1392"/>
                    </a:lnTo>
                    <a:lnTo>
                      <a:pt x="798" y="1398"/>
                    </a:lnTo>
                    <a:lnTo>
                      <a:pt x="764" y="1402"/>
                    </a:lnTo>
                    <a:lnTo>
                      <a:pt x="727" y="1404"/>
                    </a:lnTo>
                    <a:lnTo>
                      <a:pt x="692" y="1404"/>
                    </a:lnTo>
                    <a:lnTo>
                      <a:pt x="658" y="1404"/>
                    </a:lnTo>
                    <a:lnTo>
                      <a:pt x="623" y="1400"/>
                    </a:lnTo>
                    <a:lnTo>
                      <a:pt x="591" y="1396"/>
                    </a:lnTo>
                    <a:lnTo>
                      <a:pt x="556" y="1390"/>
                    </a:lnTo>
                    <a:lnTo>
                      <a:pt x="524" y="1383"/>
                    </a:lnTo>
                    <a:lnTo>
                      <a:pt x="491" y="1373"/>
                    </a:lnTo>
                    <a:lnTo>
                      <a:pt x="460" y="1361"/>
                    </a:lnTo>
                    <a:lnTo>
                      <a:pt x="428" y="1350"/>
                    </a:lnTo>
                    <a:lnTo>
                      <a:pt x="397" y="1336"/>
                    </a:lnTo>
                    <a:lnTo>
                      <a:pt x="368" y="1321"/>
                    </a:lnTo>
                    <a:lnTo>
                      <a:pt x="337" y="1304"/>
                    </a:lnTo>
                    <a:lnTo>
                      <a:pt x="311" y="1287"/>
                    </a:lnTo>
                    <a:lnTo>
                      <a:pt x="282" y="1267"/>
                    </a:lnTo>
                    <a:lnTo>
                      <a:pt x="255" y="1246"/>
                    </a:lnTo>
                    <a:lnTo>
                      <a:pt x="230" y="1225"/>
                    </a:lnTo>
                    <a:lnTo>
                      <a:pt x="205" y="1202"/>
                    </a:lnTo>
                    <a:lnTo>
                      <a:pt x="182" y="1177"/>
                    </a:lnTo>
                    <a:lnTo>
                      <a:pt x="161" y="1152"/>
                    </a:lnTo>
                    <a:lnTo>
                      <a:pt x="140" y="1125"/>
                    </a:lnTo>
                    <a:lnTo>
                      <a:pt x="119" y="1096"/>
                    </a:lnTo>
                    <a:lnTo>
                      <a:pt x="101" y="1068"/>
                    </a:lnTo>
                    <a:lnTo>
                      <a:pt x="84" y="1039"/>
                    </a:lnTo>
                    <a:lnTo>
                      <a:pt x="67" y="1006"/>
                    </a:lnTo>
                    <a:lnTo>
                      <a:pt x="53" y="975"/>
                    </a:lnTo>
                    <a:lnTo>
                      <a:pt x="40" y="943"/>
                    </a:lnTo>
                    <a:lnTo>
                      <a:pt x="28" y="908"/>
                    </a:lnTo>
                    <a:lnTo>
                      <a:pt x="19" y="874"/>
                    </a:lnTo>
                    <a:lnTo>
                      <a:pt x="19" y="874"/>
                    </a:lnTo>
                    <a:lnTo>
                      <a:pt x="11" y="839"/>
                    </a:lnTo>
                    <a:lnTo>
                      <a:pt x="5" y="803"/>
                    </a:lnTo>
                    <a:lnTo>
                      <a:pt x="1" y="768"/>
                    </a:lnTo>
                    <a:lnTo>
                      <a:pt x="0" y="734"/>
                    </a:lnTo>
                    <a:lnTo>
                      <a:pt x="0" y="699"/>
                    </a:lnTo>
                    <a:lnTo>
                      <a:pt x="0" y="664"/>
                    </a:lnTo>
                    <a:lnTo>
                      <a:pt x="3" y="630"/>
                    </a:lnTo>
                    <a:lnTo>
                      <a:pt x="7" y="595"/>
                    </a:lnTo>
                    <a:lnTo>
                      <a:pt x="13" y="563"/>
                    </a:lnTo>
                    <a:lnTo>
                      <a:pt x="21" y="530"/>
                    </a:lnTo>
                    <a:lnTo>
                      <a:pt x="30" y="497"/>
                    </a:lnTo>
                    <a:lnTo>
                      <a:pt x="42" y="465"/>
                    </a:lnTo>
                    <a:lnTo>
                      <a:pt x="53" y="434"/>
                    </a:lnTo>
                    <a:lnTo>
                      <a:pt x="67" y="403"/>
                    </a:lnTo>
                    <a:lnTo>
                      <a:pt x="82" y="373"/>
                    </a:lnTo>
                    <a:lnTo>
                      <a:pt x="99" y="344"/>
                    </a:lnTo>
                    <a:lnTo>
                      <a:pt x="117" y="315"/>
                    </a:lnTo>
                    <a:lnTo>
                      <a:pt x="136" y="288"/>
                    </a:lnTo>
                    <a:lnTo>
                      <a:pt x="157" y="261"/>
                    </a:lnTo>
                    <a:lnTo>
                      <a:pt x="178" y="236"/>
                    </a:lnTo>
                    <a:lnTo>
                      <a:pt x="201" y="211"/>
                    </a:lnTo>
                    <a:lnTo>
                      <a:pt x="226" y="188"/>
                    </a:lnTo>
                    <a:lnTo>
                      <a:pt x="251" y="165"/>
                    </a:lnTo>
                    <a:lnTo>
                      <a:pt x="278" y="144"/>
                    </a:lnTo>
                    <a:lnTo>
                      <a:pt x="307" y="125"/>
                    </a:lnTo>
                    <a:lnTo>
                      <a:pt x="335" y="106"/>
                    </a:lnTo>
                    <a:lnTo>
                      <a:pt x="366" y="88"/>
                    </a:lnTo>
                    <a:lnTo>
                      <a:pt x="397" y="73"/>
                    </a:lnTo>
                    <a:lnTo>
                      <a:pt x="428" y="58"/>
                    </a:lnTo>
                    <a:lnTo>
                      <a:pt x="460" y="46"/>
                    </a:lnTo>
                    <a:lnTo>
                      <a:pt x="495" y="35"/>
                    </a:lnTo>
                    <a:lnTo>
                      <a:pt x="529" y="25"/>
                    </a:lnTo>
                    <a:lnTo>
                      <a:pt x="529" y="25"/>
                    </a:lnTo>
                    <a:lnTo>
                      <a:pt x="566" y="17"/>
                    </a:lnTo>
                    <a:lnTo>
                      <a:pt x="602" y="10"/>
                    </a:lnTo>
                    <a:lnTo>
                      <a:pt x="641" y="6"/>
                    </a:lnTo>
                    <a:lnTo>
                      <a:pt x="679" y="2"/>
                    </a:lnTo>
                    <a:lnTo>
                      <a:pt x="717" y="0"/>
                    </a:lnTo>
                    <a:lnTo>
                      <a:pt x="758" y="0"/>
                    </a:lnTo>
                    <a:lnTo>
                      <a:pt x="798" y="2"/>
                    </a:lnTo>
                    <a:lnTo>
                      <a:pt x="838" y="4"/>
                    </a:lnTo>
                    <a:lnTo>
                      <a:pt x="879" y="10"/>
                    </a:lnTo>
                    <a:lnTo>
                      <a:pt x="919" y="15"/>
                    </a:lnTo>
                    <a:lnTo>
                      <a:pt x="959" y="23"/>
                    </a:lnTo>
                    <a:lnTo>
                      <a:pt x="1000" y="31"/>
                    </a:lnTo>
                    <a:lnTo>
                      <a:pt x="1040" y="40"/>
                    </a:lnTo>
                    <a:lnTo>
                      <a:pt x="1080" y="52"/>
                    </a:lnTo>
                    <a:lnTo>
                      <a:pt x="1119" y="65"/>
                    </a:lnTo>
                    <a:lnTo>
                      <a:pt x="1157" y="81"/>
                    </a:lnTo>
                    <a:lnTo>
                      <a:pt x="1195" y="96"/>
                    </a:lnTo>
                    <a:lnTo>
                      <a:pt x="1232" y="113"/>
                    </a:lnTo>
                    <a:lnTo>
                      <a:pt x="1266" y="131"/>
                    </a:lnTo>
                    <a:lnTo>
                      <a:pt x="1301" y="150"/>
                    </a:lnTo>
                    <a:lnTo>
                      <a:pt x="1336" y="171"/>
                    </a:lnTo>
                    <a:lnTo>
                      <a:pt x="1366" y="194"/>
                    </a:lnTo>
                    <a:lnTo>
                      <a:pt x="1397" y="217"/>
                    </a:lnTo>
                    <a:lnTo>
                      <a:pt x="1424" y="242"/>
                    </a:lnTo>
                    <a:lnTo>
                      <a:pt x="1451" y="269"/>
                    </a:lnTo>
                    <a:lnTo>
                      <a:pt x="1476" y="296"/>
                    </a:lnTo>
                    <a:lnTo>
                      <a:pt x="1499" y="325"/>
                    </a:lnTo>
                    <a:lnTo>
                      <a:pt x="1518" y="355"/>
                    </a:lnTo>
                    <a:lnTo>
                      <a:pt x="1535" y="386"/>
                    </a:lnTo>
                    <a:lnTo>
                      <a:pt x="1551" y="419"/>
                    </a:lnTo>
                    <a:lnTo>
                      <a:pt x="1564" y="451"/>
                    </a:lnTo>
                    <a:lnTo>
                      <a:pt x="1574" y="486"/>
                    </a:lnTo>
                    <a:lnTo>
                      <a:pt x="1574" y="486"/>
                    </a:lnTo>
                    <a:lnTo>
                      <a:pt x="1581" y="522"/>
                    </a:lnTo>
                    <a:lnTo>
                      <a:pt x="1585" y="557"/>
                    </a:lnTo>
                    <a:lnTo>
                      <a:pt x="1587" y="593"/>
                    </a:lnTo>
                    <a:lnTo>
                      <a:pt x="1587" y="628"/>
                    </a:lnTo>
                    <a:lnTo>
                      <a:pt x="1583" y="664"/>
                    </a:lnTo>
                    <a:lnTo>
                      <a:pt x="1575" y="701"/>
                    </a:lnTo>
                    <a:lnTo>
                      <a:pt x="1568" y="735"/>
                    </a:lnTo>
                    <a:lnTo>
                      <a:pt x="1556" y="772"/>
                    </a:lnTo>
                    <a:lnTo>
                      <a:pt x="1543" y="807"/>
                    </a:lnTo>
                    <a:lnTo>
                      <a:pt x="1527" y="841"/>
                    </a:lnTo>
                    <a:lnTo>
                      <a:pt x="1510" y="876"/>
                    </a:lnTo>
                    <a:lnTo>
                      <a:pt x="1491" y="910"/>
                    </a:lnTo>
                    <a:lnTo>
                      <a:pt x="1470" y="945"/>
                    </a:lnTo>
                    <a:lnTo>
                      <a:pt x="1447" y="977"/>
                    </a:lnTo>
                    <a:lnTo>
                      <a:pt x="1422" y="1010"/>
                    </a:lnTo>
                    <a:lnTo>
                      <a:pt x="1397" y="1041"/>
                    </a:lnTo>
                    <a:lnTo>
                      <a:pt x="1370" y="1071"/>
                    </a:lnTo>
                    <a:lnTo>
                      <a:pt x="1341" y="1100"/>
                    </a:lnTo>
                    <a:lnTo>
                      <a:pt x="1313" y="1129"/>
                    </a:lnTo>
                    <a:lnTo>
                      <a:pt x="1282" y="1158"/>
                    </a:lnTo>
                    <a:lnTo>
                      <a:pt x="1249" y="1185"/>
                    </a:lnTo>
                    <a:lnTo>
                      <a:pt x="1217" y="1210"/>
                    </a:lnTo>
                    <a:lnTo>
                      <a:pt x="1184" y="1235"/>
                    </a:lnTo>
                    <a:lnTo>
                      <a:pt x="1149" y="1258"/>
                    </a:lnTo>
                    <a:lnTo>
                      <a:pt x="1115" y="1279"/>
                    </a:lnTo>
                    <a:lnTo>
                      <a:pt x="1080" y="1298"/>
                    </a:lnTo>
                    <a:lnTo>
                      <a:pt x="1046" y="1317"/>
                    </a:lnTo>
                    <a:lnTo>
                      <a:pt x="1009" y="1335"/>
                    </a:lnTo>
                    <a:lnTo>
                      <a:pt x="975" y="1348"/>
                    </a:lnTo>
                    <a:lnTo>
                      <a:pt x="938" y="1361"/>
                    </a:lnTo>
                    <a:lnTo>
                      <a:pt x="904" y="1375"/>
                    </a:lnTo>
                    <a:lnTo>
                      <a:pt x="867" y="1384"/>
                    </a:lnTo>
                    <a:lnTo>
                      <a:pt x="867" y="1384"/>
                    </a:lnTo>
                    <a:close/>
                  </a:path>
                </a:pathLst>
              </a:custGeom>
              <a:solidFill>
                <a:schemeClr val="accent5"/>
              </a:solidFill>
              <a:ln w="76200">
                <a:solidFill>
                  <a:schemeClr val="bg1"/>
                </a:solidFill>
                <a:round/>
                <a:headEnd/>
                <a:tailEnd/>
              </a:ln>
              <a:effectLst>
                <a:outerShdw blurRad="1270000" dist="685800" dir="5400000" sx="84000" sy="84000" algn="t" rotWithShape="0">
                  <a:prstClr val="black">
                    <a:alpha val="15000"/>
                  </a:prstClr>
                </a:outerShdw>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nvGrpSpPr>
              <p:cNvPr id="19" name="Group 17">
                <a:extLst>
                  <a:ext uri="{FF2B5EF4-FFF2-40B4-BE49-F238E27FC236}">
                    <a16:creationId xmlns:a16="http://schemas.microsoft.com/office/drawing/2014/main" id="{17878067-CC22-48A0-B773-F5F9D5AFC702}"/>
                  </a:ext>
                </a:extLst>
              </p:cNvPr>
              <p:cNvGrpSpPr/>
              <p:nvPr/>
            </p:nvGrpSpPr>
            <p:grpSpPr>
              <a:xfrm>
                <a:off x="9872974" y="4419350"/>
                <a:ext cx="1597245" cy="966701"/>
                <a:chOff x="5849367" y="4709389"/>
                <a:chExt cx="1597245" cy="966701"/>
              </a:xfrm>
            </p:grpSpPr>
            <p:sp>
              <p:nvSpPr>
                <p:cNvPr id="20" name="TextBox 18">
                  <a:extLst>
                    <a:ext uri="{FF2B5EF4-FFF2-40B4-BE49-F238E27FC236}">
                      <a16:creationId xmlns:a16="http://schemas.microsoft.com/office/drawing/2014/main" id="{CBFAF660-19DA-498D-B673-7A2B7D94B329}"/>
                    </a:ext>
                  </a:extLst>
                </p:cNvPr>
                <p:cNvSpPr txBox="1"/>
                <p:nvPr/>
              </p:nvSpPr>
              <p:spPr>
                <a:xfrm>
                  <a:off x="5849367" y="5113580"/>
                  <a:ext cx="1464736" cy="562510"/>
                </a:xfrm>
                <a:prstGeom prst="rect">
                  <a:avLst/>
                </a:prstGeom>
                <a:noFill/>
              </p:spPr>
              <p:txBody>
                <a:bodyPr wrap="square" rtlCol="0">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等线" panose="020F0502020204030204"/>
                      <a:ea typeface="+mn-ea"/>
                      <a:cs typeface="+mn-cs"/>
                    </a:rPr>
                    <a:t>Lorem ipsum dolor sit </a:t>
                  </a:r>
                  <a:r>
                    <a:rPr kumimoji="0" lang="en-US" sz="1200" b="0" i="0" u="none" strike="noStrike" kern="1200" cap="none" spc="0" normalizeH="0" baseline="0" noProof="0" dirty="0" err="1">
                      <a:ln>
                        <a:noFill/>
                      </a:ln>
                      <a:solidFill>
                        <a:srgbClr val="FFFFFF"/>
                      </a:solidFill>
                      <a:effectLst/>
                      <a:uLnTx/>
                      <a:uFillTx/>
                      <a:latin typeface="等线" panose="020F0502020204030204"/>
                      <a:ea typeface="+mn-ea"/>
                      <a:cs typeface="+mn-cs"/>
                    </a:rPr>
                    <a:t>amet</a:t>
                  </a:r>
                  <a:endParaRPr kumimoji="0" lang="en-US" sz="1200" b="0" i="0" u="none" strike="noStrike" kern="1200" cap="none" spc="0" normalizeH="0" baseline="0" noProof="0" dirty="0">
                    <a:ln>
                      <a:noFill/>
                    </a:ln>
                    <a:solidFill>
                      <a:srgbClr val="FFFFFF"/>
                    </a:solidFill>
                    <a:effectLst/>
                    <a:uLnTx/>
                    <a:uFillTx/>
                    <a:latin typeface="等线" panose="020F0502020204030204"/>
                    <a:ea typeface="+mn-ea"/>
                    <a:cs typeface="+mn-cs"/>
                  </a:endParaRPr>
                </a:p>
              </p:txBody>
            </p:sp>
            <p:sp>
              <p:nvSpPr>
                <p:cNvPr id="21" name="TextBox 19">
                  <a:extLst>
                    <a:ext uri="{FF2B5EF4-FFF2-40B4-BE49-F238E27FC236}">
                      <a16:creationId xmlns:a16="http://schemas.microsoft.com/office/drawing/2014/main" id="{9A243499-189F-409D-9907-C7C8B85C22F5}"/>
                    </a:ext>
                  </a:extLst>
                </p:cNvPr>
                <p:cNvSpPr txBox="1"/>
                <p:nvPr/>
              </p:nvSpPr>
              <p:spPr>
                <a:xfrm>
                  <a:off x="5849367" y="4709389"/>
                  <a:ext cx="1597245" cy="393722"/>
                </a:xfrm>
                <a:prstGeom prst="rect">
                  <a:avLst/>
                </a:prstGeom>
                <a:noFill/>
              </p:spPr>
              <p:txBody>
                <a:bodyPr wrap="square" rtlCol="0">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等线" panose="020F0502020204030204"/>
                      <a:ea typeface="+mn-ea"/>
                      <a:cs typeface="+mn-cs"/>
                    </a:rPr>
                    <a:t>Value 05</a:t>
                  </a:r>
                </a:p>
              </p:txBody>
            </p:sp>
          </p:grpSp>
        </p:grpSp>
        <p:grpSp>
          <p:nvGrpSpPr>
            <p:cNvPr id="8" name="Group 6">
              <a:extLst>
                <a:ext uri="{FF2B5EF4-FFF2-40B4-BE49-F238E27FC236}">
                  <a16:creationId xmlns:a16="http://schemas.microsoft.com/office/drawing/2014/main" id="{C1ED30A8-0ADC-4929-B6BF-E51551015B8B}"/>
                </a:ext>
              </a:extLst>
            </p:cNvPr>
            <p:cNvGrpSpPr/>
            <p:nvPr/>
          </p:nvGrpSpPr>
          <p:grpSpPr>
            <a:xfrm>
              <a:off x="9003194" y="2017693"/>
              <a:ext cx="1990525" cy="2067637"/>
              <a:chOff x="9003194" y="1956733"/>
              <a:chExt cx="1990525" cy="2067637"/>
            </a:xfrm>
          </p:grpSpPr>
          <p:sp>
            <p:nvSpPr>
              <p:cNvPr id="14" name="Freeform 6">
                <a:extLst>
                  <a:ext uri="{FF2B5EF4-FFF2-40B4-BE49-F238E27FC236}">
                    <a16:creationId xmlns:a16="http://schemas.microsoft.com/office/drawing/2014/main" id="{5D705EB4-E5F6-4580-A1A3-194143452DE2}"/>
                  </a:ext>
                </a:extLst>
              </p:cNvPr>
              <p:cNvSpPr>
                <a:spLocks/>
              </p:cNvSpPr>
              <p:nvPr/>
            </p:nvSpPr>
            <p:spPr bwMode="auto">
              <a:xfrm>
                <a:off x="9003194" y="1956733"/>
                <a:ext cx="1983133" cy="2067637"/>
              </a:xfrm>
              <a:custGeom>
                <a:avLst/>
                <a:gdLst>
                  <a:gd name="T0" fmla="*/ 1234 w 1455"/>
                  <a:gd name="T1" fmla="*/ 1269 h 1517"/>
                  <a:gd name="T2" fmla="*/ 1159 w 1455"/>
                  <a:gd name="T3" fmla="*/ 1344 h 1517"/>
                  <a:gd name="T4" fmla="*/ 1077 w 1455"/>
                  <a:gd name="T5" fmla="*/ 1405 h 1517"/>
                  <a:gd name="T6" fmla="*/ 987 w 1455"/>
                  <a:gd name="T7" fmla="*/ 1455 h 1517"/>
                  <a:gd name="T8" fmla="*/ 893 w 1455"/>
                  <a:gd name="T9" fmla="*/ 1490 h 1517"/>
                  <a:gd name="T10" fmla="*/ 793 w 1455"/>
                  <a:gd name="T11" fmla="*/ 1509 h 1517"/>
                  <a:gd name="T12" fmla="*/ 693 w 1455"/>
                  <a:gd name="T13" fmla="*/ 1517 h 1517"/>
                  <a:gd name="T14" fmla="*/ 591 w 1455"/>
                  <a:gd name="T15" fmla="*/ 1507 h 1517"/>
                  <a:gd name="T16" fmla="*/ 493 w 1455"/>
                  <a:gd name="T17" fmla="*/ 1484 h 1517"/>
                  <a:gd name="T18" fmla="*/ 395 w 1455"/>
                  <a:gd name="T19" fmla="*/ 1448 h 1517"/>
                  <a:gd name="T20" fmla="*/ 305 w 1455"/>
                  <a:gd name="T21" fmla="*/ 1394 h 1517"/>
                  <a:gd name="T22" fmla="*/ 248 w 1455"/>
                  <a:gd name="T23" fmla="*/ 1350 h 1517"/>
                  <a:gd name="T24" fmla="*/ 173 w 1455"/>
                  <a:gd name="T25" fmla="*/ 1277 h 1517"/>
                  <a:gd name="T26" fmla="*/ 109 w 1455"/>
                  <a:gd name="T27" fmla="*/ 1192 h 1517"/>
                  <a:gd name="T28" fmla="*/ 61 w 1455"/>
                  <a:gd name="T29" fmla="*/ 1104 h 1517"/>
                  <a:gd name="T30" fmla="*/ 27 w 1455"/>
                  <a:gd name="T31" fmla="*/ 1008 h 1517"/>
                  <a:gd name="T32" fmla="*/ 6 w 1455"/>
                  <a:gd name="T33" fmla="*/ 910 h 1517"/>
                  <a:gd name="T34" fmla="*/ 0 w 1455"/>
                  <a:gd name="T35" fmla="*/ 808 h 1517"/>
                  <a:gd name="T36" fmla="*/ 8 w 1455"/>
                  <a:gd name="T37" fmla="*/ 708 h 1517"/>
                  <a:gd name="T38" fmla="*/ 31 w 1455"/>
                  <a:gd name="T39" fmla="*/ 608 h 1517"/>
                  <a:gd name="T40" fmla="*/ 69 w 1455"/>
                  <a:gd name="T41" fmla="*/ 512 h 1517"/>
                  <a:gd name="T42" fmla="*/ 121 w 1455"/>
                  <a:gd name="T43" fmla="*/ 420 h 1517"/>
                  <a:gd name="T44" fmla="*/ 165 w 1455"/>
                  <a:gd name="T45" fmla="*/ 363 h 1517"/>
                  <a:gd name="T46" fmla="*/ 246 w 1455"/>
                  <a:gd name="T47" fmla="*/ 280 h 1517"/>
                  <a:gd name="T48" fmla="*/ 338 w 1455"/>
                  <a:gd name="T49" fmla="*/ 205 h 1517"/>
                  <a:gd name="T50" fmla="*/ 440 w 1455"/>
                  <a:gd name="T51" fmla="*/ 140 h 1517"/>
                  <a:gd name="T52" fmla="*/ 551 w 1455"/>
                  <a:gd name="T53" fmla="*/ 84 h 1517"/>
                  <a:gd name="T54" fmla="*/ 666 w 1455"/>
                  <a:gd name="T55" fmla="*/ 42 h 1517"/>
                  <a:gd name="T56" fmla="*/ 785 w 1455"/>
                  <a:gd name="T57" fmla="*/ 13 h 1517"/>
                  <a:gd name="T58" fmla="*/ 900 w 1455"/>
                  <a:gd name="T59" fmla="*/ 0 h 1517"/>
                  <a:gd name="T60" fmla="*/ 1014 w 1455"/>
                  <a:gd name="T61" fmla="*/ 6 h 1517"/>
                  <a:gd name="T62" fmla="*/ 1121 w 1455"/>
                  <a:gd name="T63" fmla="*/ 31 h 1517"/>
                  <a:gd name="T64" fmla="*/ 1217 w 1455"/>
                  <a:gd name="T65" fmla="*/ 77 h 1517"/>
                  <a:gd name="T66" fmla="*/ 1275 w 1455"/>
                  <a:gd name="T67" fmla="*/ 121 h 1517"/>
                  <a:gd name="T68" fmla="*/ 1344 w 1455"/>
                  <a:gd name="T69" fmla="*/ 201 h 1517"/>
                  <a:gd name="T70" fmla="*/ 1397 w 1455"/>
                  <a:gd name="T71" fmla="*/ 297 h 1517"/>
                  <a:gd name="T72" fmla="*/ 1432 w 1455"/>
                  <a:gd name="T73" fmla="*/ 405 h 1517"/>
                  <a:gd name="T74" fmla="*/ 1451 w 1455"/>
                  <a:gd name="T75" fmla="*/ 520 h 1517"/>
                  <a:gd name="T76" fmla="*/ 1455 w 1455"/>
                  <a:gd name="T77" fmla="*/ 641 h 1517"/>
                  <a:gd name="T78" fmla="*/ 1444 w 1455"/>
                  <a:gd name="T79" fmla="*/ 764 h 1517"/>
                  <a:gd name="T80" fmla="*/ 1420 w 1455"/>
                  <a:gd name="T81" fmla="*/ 887 h 1517"/>
                  <a:gd name="T82" fmla="*/ 1384 w 1455"/>
                  <a:gd name="T83" fmla="*/ 1004 h 1517"/>
                  <a:gd name="T84" fmla="*/ 1336 w 1455"/>
                  <a:gd name="T85" fmla="*/ 1112 h 1517"/>
                  <a:gd name="T86" fmla="*/ 1278 w 1455"/>
                  <a:gd name="T87" fmla="*/ 1209 h 15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55" h="1517">
                    <a:moveTo>
                      <a:pt x="1257" y="1240"/>
                    </a:moveTo>
                    <a:lnTo>
                      <a:pt x="1257" y="1240"/>
                    </a:lnTo>
                    <a:lnTo>
                      <a:pt x="1234" y="1269"/>
                    </a:lnTo>
                    <a:lnTo>
                      <a:pt x="1209" y="1294"/>
                    </a:lnTo>
                    <a:lnTo>
                      <a:pt x="1186" y="1321"/>
                    </a:lnTo>
                    <a:lnTo>
                      <a:pt x="1159" y="1344"/>
                    </a:lnTo>
                    <a:lnTo>
                      <a:pt x="1133" y="1365"/>
                    </a:lnTo>
                    <a:lnTo>
                      <a:pt x="1106" y="1386"/>
                    </a:lnTo>
                    <a:lnTo>
                      <a:pt x="1077" y="1405"/>
                    </a:lnTo>
                    <a:lnTo>
                      <a:pt x="1048" y="1423"/>
                    </a:lnTo>
                    <a:lnTo>
                      <a:pt x="1017" y="1440"/>
                    </a:lnTo>
                    <a:lnTo>
                      <a:pt x="987" y="1455"/>
                    </a:lnTo>
                    <a:lnTo>
                      <a:pt x="956" y="1467"/>
                    </a:lnTo>
                    <a:lnTo>
                      <a:pt x="923" y="1478"/>
                    </a:lnTo>
                    <a:lnTo>
                      <a:pt x="893" y="1490"/>
                    </a:lnTo>
                    <a:lnTo>
                      <a:pt x="860" y="1497"/>
                    </a:lnTo>
                    <a:lnTo>
                      <a:pt x="827" y="1505"/>
                    </a:lnTo>
                    <a:lnTo>
                      <a:pt x="793" y="1509"/>
                    </a:lnTo>
                    <a:lnTo>
                      <a:pt x="760" y="1513"/>
                    </a:lnTo>
                    <a:lnTo>
                      <a:pt x="726" y="1515"/>
                    </a:lnTo>
                    <a:lnTo>
                      <a:pt x="693" y="1517"/>
                    </a:lnTo>
                    <a:lnTo>
                      <a:pt x="658" y="1515"/>
                    </a:lnTo>
                    <a:lnTo>
                      <a:pt x="626" y="1513"/>
                    </a:lnTo>
                    <a:lnTo>
                      <a:pt x="591" y="1507"/>
                    </a:lnTo>
                    <a:lnTo>
                      <a:pt x="559" y="1501"/>
                    </a:lnTo>
                    <a:lnTo>
                      <a:pt x="526" y="1494"/>
                    </a:lnTo>
                    <a:lnTo>
                      <a:pt x="493" y="1484"/>
                    </a:lnTo>
                    <a:lnTo>
                      <a:pt x="461" y="1474"/>
                    </a:lnTo>
                    <a:lnTo>
                      <a:pt x="428" y="1461"/>
                    </a:lnTo>
                    <a:lnTo>
                      <a:pt x="395" y="1448"/>
                    </a:lnTo>
                    <a:lnTo>
                      <a:pt x="365" y="1430"/>
                    </a:lnTo>
                    <a:lnTo>
                      <a:pt x="334" y="1413"/>
                    </a:lnTo>
                    <a:lnTo>
                      <a:pt x="305" y="1394"/>
                    </a:lnTo>
                    <a:lnTo>
                      <a:pt x="275" y="1373"/>
                    </a:lnTo>
                    <a:lnTo>
                      <a:pt x="275" y="1373"/>
                    </a:lnTo>
                    <a:lnTo>
                      <a:pt x="248" y="1350"/>
                    </a:lnTo>
                    <a:lnTo>
                      <a:pt x="221" y="1327"/>
                    </a:lnTo>
                    <a:lnTo>
                      <a:pt x="196" y="1302"/>
                    </a:lnTo>
                    <a:lnTo>
                      <a:pt x="173" y="1277"/>
                    </a:lnTo>
                    <a:lnTo>
                      <a:pt x="150" y="1250"/>
                    </a:lnTo>
                    <a:lnTo>
                      <a:pt x="129" y="1221"/>
                    </a:lnTo>
                    <a:lnTo>
                      <a:pt x="109" y="1192"/>
                    </a:lnTo>
                    <a:lnTo>
                      <a:pt x="92" y="1163"/>
                    </a:lnTo>
                    <a:lnTo>
                      <a:pt x="77" y="1135"/>
                    </a:lnTo>
                    <a:lnTo>
                      <a:pt x="61" y="1104"/>
                    </a:lnTo>
                    <a:lnTo>
                      <a:pt x="48" y="1071"/>
                    </a:lnTo>
                    <a:lnTo>
                      <a:pt x="36" y="1040"/>
                    </a:lnTo>
                    <a:lnTo>
                      <a:pt x="27" y="1008"/>
                    </a:lnTo>
                    <a:lnTo>
                      <a:pt x="17" y="975"/>
                    </a:lnTo>
                    <a:lnTo>
                      <a:pt x="12" y="943"/>
                    </a:lnTo>
                    <a:lnTo>
                      <a:pt x="6" y="910"/>
                    </a:lnTo>
                    <a:lnTo>
                      <a:pt x="2" y="875"/>
                    </a:lnTo>
                    <a:lnTo>
                      <a:pt x="0" y="843"/>
                    </a:lnTo>
                    <a:lnTo>
                      <a:pt x="0" y="808"/>
                    </a:lnTo>
                    <a:lnTo>
                      <a:pt x="0" y="776"/>
                    </a:lnTo>
                    <a:lnTo>
                      <a:pt x="4" y="741"/>
                    </a:lnTo>
                    <a:lnTo>
                      <a:pt x="8" y="708"/>
                    </a:lnTo>
                    <a:lnTo>
                      <a:pt x="13" y="676"/>
                    </a:lnTo>
                    <a:lnTo>
                      <a:pt x="21" y="641"/>
                    </a:lnTo>
                    <a:lnTo>
                      <a:pt x="31" y="608"/>
                    </a:lnTo>
                    <a:lnTo>
                      <a:pt x="42" y="576"/>
                    </a:lnTo>
                    <a:lnTo>
                      <a:pt x="54" y="543"/>
                    </a:lnTo>
                    <a:lnTo>
                      <a:pt x="69" y="512"/>
                    </a:lnTo>
                    <a:lnTo>
                      <a:pt x="84" y="482"/>
                    </a:lnTo>
                    <a:lnTo>
                      <a:pt x="102" y="451"/>
                    </a:lnTo>
                    <a:lnTo>
                      <a:pt x="121" y="420"/>
                    </a:lnTo>
                    <a:lnTo>
                      <a:pt x="142" y="392"/>
                    </a:lnTo>
                    <a:lnTo>
                      <a:pt x="142" y="392"/>
                    </a:lnTo>
                    <a:lnTo>
                      <a:pt x="165" y="363"/>
                    </a:lnTo>
                    <a:lnTo>
                      <a:pt x="190" y="336"/>
                    </a:lnTo>
                    <a:lnTo>
                      <a:pt x="217" y="307"/>
                    </a:lnTo>
                    <a:lnTo>
                      <a:pt x="246" y="280"/>
                    </a:lnTo>
                    <a:lnTo>
                      <a:pt x="275" y="255"/>
                    </a:lnTo>
                    <a:lnTo>
                      <a:pt x="305" y="230"/>
                    </a:lnTo>
                    <a:lnTo>
                      <a:pt x="338" y="205"/>
                    </a:lnTo>
                    <a:lnTo>
                      <a:pt x="370" y="182"/>
                    </a:lnTo>
                    <a:lnTo>
                      <a:pt x="405" y="161"/>
                    </a:lnTo>
                    <a:lnTo>
                      <a:pt x="440" y="140"/>
                    </a:lnTo>
                    <a:lnTo>
                      <a:pt x="476" y="121"/>
                    </a:lnTo>
                    <a:lnTo>
                      <a:pt x="514" y="102"/>
                    </a:lnTo>
                    <a:lnTo>
                      <a:pt x="551" y="84"/>
                    </a:lnTo>
                    <a:lnTo>
                      <a:pt x="589" y="69"/>
                    </a:lnTo>
                    <a:lnTo>
                      <a:pt x="628" y="54"/>
                    </a:lnTo>
                    <a:lnTo>
                      <a:pt x="666" y="42"/>
                    </a:lnTo>
                    <a:lnTo>
                      <a:pt x="706" y="31"/>
                    </a:lnTo>
                    <a:lnTo>
                      <a:pt x="745" y="21"/>
                    </a:lnTo>
                    <a:lnTo>
                      <a:pt x="785" y="13"/>
                    </a:lnTo>
                    <a:lnTo>
                      <a:pt x="823" y="8"/>
                    </a:lnTo>
                    <a:lnTo>
                      <a:pt x="862" y="2"/>
                    </a:lnTo>
                    <a:lnTo>
                      <a:pt x="900" y="0"/>
                    </a:lnTo>
                    <a:lnTo>
                      <a:pt x="939" y="0"/>
                    </a:lnTo>
                    <a:lnTo>
                      <a:pt x="977" y="2"/>
                    </a:lnTo>
                    <a:lnTo>
                      <a:pt x="1014" y="6"/>
                    </a:lnTo>
                    <a:lnTo>
                      <a:pt x="1050" y="11"/>
                    </a:lnTo>
                    <a:lnTo>
                      <a:pt x="1086" y="21"/>
                    </a:lnTo>
                    <a:lnTo>
                      <a:pt x="1121" y="31"/>
                    </a:lnTo>
                    <a:lnTo>
                      <a:pt x="1154" y="44"/>
                    </a:lnTo>
                    <a:lnTo>
                      <a:pt x="1186" y="59"/>
                    </a:lnTo>
                    <a:lnTo>
                      <a:pt x="1217" y="77"/>
                    </a:lnTo>
                    <a:lnTo>
                      <a:pt x="1246" y="98"/>
                    </a:lnTo>
                    <a:lnTo>
                      <a:pt x="1246" y="98"/>
                    </a:lnTo>
                    <a:lnTo>
                      <a:pt x="1275" y="121"/>
                    </a:lnTo>
                    <a:lnTo>
                      <a:pt x="1300" y="146"/>
                    </a:lnTo>
                    <a:lnTo>
                      <a:pt x="1323" y="173"/>
                    </a:lnTo>
                    <a:lnTo>
                      <a:pt x="1344" y="201"/>
                    </a:lnTo>
                    <a:lnTo>
                      <a:pt x="1365" y="232"/>
                    </a:lnTo>
                    <a:lnTo>
                      <a:pt x="1382" y="265"/>
                    </a:lnTo>
                    <a:lnTo>
                      <a:pt x="1397" y="297"/>
                    </a:lnTo>
                    <a:lnTo>
                      <a:pt x="1411" y="332"/>
                    </a:lnTo>
                    <a:lnTo>
                      <a:pt x="1422" y="368"/>
                    </a:lnTo>
                    <a:lnTo>
                      <a:pt x="1432" y="405"/>
                    </a:lnTo>
                    <a:lnTo>
                      <a:pt x="1440" y="443"/>
                    </a:lnTo>
                    <a:lnTo>
                      <a:pt x="1445" y="482"/>
                    </a:lnTo>
                    <a:lnTo>
                      <a:pt x="1451" y="520"/>
                    </a:lnTo>
                    <a:lnTo>
                      <a:pt x="1453" y="560"/>
                    </a:lnTo>
                    <a:lnTo>
                      <a:pt x="1455" y="601"/>
                    </a:lnTo>
                    <a:lnTo>
                      <a:pt x="1455" y="641"/>
                    </a:lnTo>
                    <a:lnTo>
                      <a:pt x="1453" y="683"/>
                    </a:lnTo>
                    <a:lnTo>
                      <a:pt x="1449" y="724"/>
                    </a:lnTo>
                    <a:lnTo>
                      <a:pt x="1444" y="764"/>
                    </a:lnTo>
                    <a:lnTo>
                      <a:pt x="1438" y="804"/>
                    </a:lnTo>
                    <a:lnTo>
                      <a:pt x="1430" y="847"/>
                    </a:lnTo>
                    <a:lnTo>
                      <a:pt x="1420" y="887"/>
                    </a:lnTo>
                    <a:lnTo>
                      <a:pt x="1409" y="925"/>
                    </a:lnTo>
                    <a:lnTo>
                      <a:pt x="1397" y="966"/>
                    </a:lnTo>
                    <a:lnTo>
                      <a:pt x="1384" y="1004"/>
                    </a:lnTo>
                    <a:lnTo>
                      <a:pt x="1369" y="1040"/>
                    </a:lnTo>
                    <a:lnTo>
                      <a:pt x="1353" y="1077"/>
                    </a:lnTo>
                    <a:lnTo>
                      <a:pt x="1336" y="1112"/>
                    </a:lnTo>
                    <a:lnTo>
                      <a:pt x="1317" y="1146"/>
                    </a:lnTo>
                    <a:lnTo>
                      <a:pt x="1298" y="1179"/>
                    </a:lnTo>
                    <a:lnTo>
                      <a:pt x="1278" y="1209"/>
                    </a:lnTo>
                    <a:lnTo>
                      <a:pt x="1257" y="1240"/>
                    </a:lnTo>
                    <a:lnTo>
                      <a:pt x="1257" y="1240"/>
                    </a:lnTo>
                    <a:close/>
                  </a:path>
                </a:pathLst>
              </a:custGeom>
              <a:solidFill>
                <a:schemeClr val="accent4"/>
              </a:solidFill>
              <a:ln w="76200">
                <a:solidFill>
                  <a:schemeClr val="bg1"/>
                </a:solidFill>
                <a:round/>
                <a:headEnd/>
                <a:tailEnd/>
              </a:ln>
              <a:effectLst>
                <a:outerShdw blurRad="1270000" dist="685800" dir="5400000" sx="84000" sy="84000" algn="t" rotWithShape="0">
                  <a:prstClr val="black">
                    <a:alpha val="15000"/>
                  </a:prstClr>
                </a:outerShdw>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nvGrpSpPr>
              <p:cNvPr id="15" name="Group 13">
                <a:extLst>
                  <a:ext uri="{FF2B5EF4-FFF2-40B4-BE49-F238E27FC236}">
                    <a16:creationId xmlns:a16="http://schemas.microsoft.com/office/drawing/2014/main" id="{CD6DF75F-C7BA-4287-8B79-D7AFE5A8606D}"/>
                  </a:ext>
                </a:extLst>
              </p:cNvPr>
              <p:cNvGrpSpPr/>
              <p:nvPr/>
            </p:nvGrpSpPr>
            <p:grpSpPr>
              <a:xfrm>
                <a:off x="9396473" y="2549298"/>
                <a:ext cx="1597246" cy="896530"/>
                <a:chOff x="5796112" y="4704909"/>
                <a:chExt cx="1597246" cy="896530"/>
              </a:xfrm>
            </p:grpSpPr>
            <p:sp>
              <p:nvSpPr>
                <p:cNvPr id="16" name="TextBox 14">
                  <a:extLst>
                    <a:ext uri="{FF2B5EF4-FFF2-40B4-BE49-F238E27FC236}">
                      <a16:creationId xmlns:a16="http://schemas.microsoft.com/office/drawing/2014/main" id="{0FA192BD-3CEE-40F2-8164-415E5D0DC1BD}"/>
                    </a:ext>
                  </a:extLst>
                </p:cNvPr>
                <p:cNvSpPr txBox="1"/>
                <p:nvPr/>
              </p:nvSpPr>
              <p:spPr>
                <a:xfrm>
                  <a:off x="5796112" y="5038929"/>
                  <a:ext cx="1504723" cy="562510"/>
                </a:xfrm>
                <a:prstGeom prst="rect">
                  <a:avLst/>
                </a:prstGeom>
                <a:noFill/>
              </p:spPr>
              <p:txBody>
                <a:bodyPr wrap="square" rtlCol="0">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等线" panose="020F0502020204030204"/>
                      <a:ea typeface="+mn-ea"/>
                      <a:cs typeface="+mn-cs"/>
                    </a:rPr>
                    <a:t>Lorem ipsum dolor sit </a:t>
                  </a:r>
                  <a:r>
                    <a:rPr kumimoji="0" lang="en-US" sz="1200" b="0" i="0" u="none" strike="noStrike" kern="1200" cap="none" spc="0" normalizeH="0" baseline="0" noProof="0" dirty="0" err="1">
                      <a:ln>
                        <a:noFill/>
                      </a:ln>
                      <a:solidFill>
                        <a:srgbClr val="FFFFFF"/>
                      </a:solidFill>
                      <a:effectLst/>
                      <a:uLnTx/>
                      <a:uFillTx/>
                      <a:latin typeface="等线" panose="020F0502020204030204"/>
                      <a:ea typeface="+mn-ea"/>
                      <a:cs typeface="+mn-cs"/>
                    </a:rPr>
                    <a:t>amet</a:t>
                  </a:r>
                  <a:endParaRPr kumimoji="0" lang="en-US" sz="1200" b="0" i="0" u="none" strike="noStrike" kern="1200" cap="none" spc="0" normalizeH="0" baseline="0" noProof="0" dirty="0">
                    <a:ln>
                      <a:noFill/>
                    </a:ln>
                    <a:solidFill>
                      <a:srgbClr val="FFFFFF"/>
                    </a:solidFill>
                    <a:effectLst/>
                    <a:uLnTx/>
                    <a:uFillTx/>
                    <a:latin typeface="等线" panose="020F0502020204030204"/>
                    <a:ea typeface="+mn-ea"/>
                    <a:cs typeface="+mn-cs"/>
                  </a:endParaRPr>
                </a:p>
              </p:txBody>
            </p:sp>
            <p:sp>
              <p:nvSpPr>
                <p:cNvPr id="17" name="TextBox 15">
                  <a:extLst>
                    <a:ext uri="{FF2B5EF4-FFF2-40B4-BE49-F238E27FC236}">
                      <a16:creationId xmlns:a16="http://schemas.microsoft.com/office/drawing/2014/main" id="{987BA876-450A-4F36-8353-57551C5F2F83}"/>
                    </a:ext>
                  </a:extLst>
                </p:cNvPr>
                <p:cNvSpPr txBox="1"/>
                <p:nvPr/>
              </p:nvSpPr>
              <p:spPr>
                <a:xfrm>
                  <a:off x="5796113" y="4704909"/>
                  <a:ext cx="1597245" cy="393722"/>
                </a:xfrm>
                <a:prstGeom prst="rect">
                  <a:avLst/>
                </a:prstGeom>
                <a:noFill/>
              </p:spPr>
              <p:txBody>
                <a:bodyPr wrap="square" rtlCol="0">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等线" panose="020F0502020204030204"/>
                      <a:ea typeface="+mn-ea"/>
                      <a:cs typeface="+mn-cs"/>
                    </a:rPr>
                    <a:t>Value 04</a:t>
                  </a:r>
                </a:p>
              </p:txBody>
            </p:sp>
          </p:grpSp>
        </p:grpSp>
        <p:grpSp>
          <p:nvGrpSpPr>
            <p:cNvPr id="9" name="Group 7">
              <a:extLst>
                <a:ext uri="{FF2B5EF4-FFF2-40B4-BE49-F238E27FC236}">
                  <a16:creationId xmlns:a16="http://schemas.microsoft.com/office/drawing/2014/main" id="{0686F3F8-6B10-4A0B-87FE-6DF3D4C3D7AC}"/>
                </a:ext>
              </a:extLst>
            </p:cNvPr>
            <p:cNvGrpSpPr/>
            <p:nvPr/>
          </p:nvGrpSpPr>
          <p:grpSpPr>
            <a:xfrm>
              <a:off x="7386702" y="969938"/>
              <a:ext cx="1906806" cy="2182127"/>
              <a:chOff x="7386702" y="969938"/>
              <a:chExt cx="1906806" cy="2182127"/>
            </a:xfrm>
          </p:grpSpPr>
          <p:sp>
            <p:nvSpPr>
              <p:cNvPr id="10" name="Freeform 10">
                <a:extLst>
                  <a:ext uri="{FF2B5EF4-FFF2-40B4-BE49-F238E27FC236}">
                    <a16:creationId xmlns:a16="http://schemas.microsoft.com/office/drawing/2014/main" id="{084AA9DD-22B7-4039-8999-850D2C5C0010}"/>
                  </a:ext>
                </a:extLst>
              </p:cNvPr>
              <p:cNvSpPr>
                <a:spLocks/>
              </p:cNvSpPr>
              <p:nvPr/>
            </p:nvSpPr>
            <p:spPr bwMode="auto">
              <a:xfrm>
                <a:off x="7386702" y="969938"/>
                <a:ext cx="1906806" cy="2182127"/>
              </a:xfrm>
              <a:custGeom>
                <a:avLst/>
                <a:gdLst>
                  <a:gd name="T0" fmla="*/ 1397 w 1399"/>
                  <a:gd name="T1" fmla="*/ 939 h 1601"/>
                  <a:gd name="T2" fmla="*/ 1384 w 1399"/>
                  <a:gd name="T3" fmla="*/ 1043 h 1601"/>
                  <a:gd name="T4" fmla="*/ 1357 w 1399"/>
                  <a:gd name="T5" fmla="*/ 1142 h 1601"/>
                  <a:gd name="T6" fmla="*/ 1315 w 1399"/>
                  <a:gd name="T7" fmla="*/ 1236 h 1601"/>
                  <a:gd name="T8" fmla="*/ 1259 w 1399"/>
                  <a:gd name="T9" fmla="*/ 1321 h 1601"/>
                  <a:gd name="T10" fmla="*/ 1194 w 1399"/>
                  <a:gd name="T11" fmla="*/ 1398 h 1601"/>
                  <a:gd name="T12" fmla="*/ 1117 w 1399"/>
                  <a:gd name="T13" fmla="*/ 1463 h 1601"/>
                  <a:gd name="T14" fmla="*/ 1032 w 1399"/>
                  <a:gd name="T15" fmla="*/ 1517 h 1601"/>
                  <a:gd name="T16" fmla="*/ 940 w 1399"/>
                  <a:gd name="T17" fmla="*/ 1559 h 1601"/>
                  <a:gd name="T18" fmla="*/ 840 w 1399"/>
                  <a:gd name="T19" fmla="*/ 1588 h 1601"/>
                  <a:gd name="T20" fmla="*/ 735 w 1399"/>
                  <a:gd name="T21" fmla="*/ 1601 h 1601"/>
                  <a:gd name="T22" fmla="*/ 662 w 1399"/>
                  <a:gd name="T23" fmla="*/ 1601 h 1601"/>
                  <a:gd name="T24" fmla="*/ 558 w 1399"/>
                  <a:gd name="T25" fmla="*/ 1588 h 1601"/>
                  <a:gd name="T26" fmla="*/ 459 w 1399"/>
                  <a:gd name="T27" fmla="*/ 1559 h 1601"/>
                  <a:gd name="T28" fmla="*/ 364 w 1399"/>
                  <a:gd name="T29" fmla="*/ 1517 h 1601"/>
                  <a:gd name="T30" fmla="*/ 280 w 1399"/>
                  <a:gd name="T31" fmla="*/ 1463 h 1601"/>
                  <a:gd name="T32" fmla="*/ 203 w 1399"/>
                  <a:gd name="T33" fmla="*/ 1398 h 1601"/>
                  <a:gd name="T34" fmla="*/ 138 w 1399"/>
                  <a:gd name="T35" fmla="*/ 1321 h 1601"/>
                  <a:gd name="T36" fmla="*/ 84 w 1399"/>
                  <a:gd name="T37" fmla="*/ 1236 h 1601"/>
                  <a:gd name="T38" fmla="*/ 42 w 1399"/>
                  <a:gd name="T39" fmla="*/ 1142 h 1601"/>
                  <a:gd name="T40" fmla="*/ 13 w 1399"/>
                  <a:gd name="T41" fmla="*/ 1043 h 1601"/>
                  <a:gd name="T42" fmla="*/ 0 w 1399"/>
                  <a:gd name="T43" fmla="*/ 939 h 1601"/>
                  <a:gd name="T44" fmla="*/ 0 w 1399"/>
                  <a:gd name="T45" fmla="*/ 866 h 1601"/>
                  <a:gd name="T46" fmla="*/ 13 w 1399"/>
                  <a:gd name="T47" fmla="*/ 753 h 1601"/>
                  <a:gd name="T48" fmla="*/ 42 w 1399"/>
                  <a:gd name="T49" fmla="*/ 636 h 1601"/>
                  <a:gd name="T50" fmla="*/ 84 w 1399"/>
                  <a:gd name="T51" fmla="*/ 522 h 1601"/>
                  <a:gd name="T52" fmla="*/ 138 w 1399"/>
                  <a:gd name="T53" fmla="*/ 411 h 1601"/>
                  <a:gd name="T54" fmla="*/ 203 w 1399"/>
                  <a:gd name="T55" fmla="*/ 305 h 1601"/>
                  <a:gd name="T56" fmla="*/ 280 w 1399"/>
                  <a:gd name="T57" fmla="*/ 211 h 1601"/>
                  <a:gd name="T58" fmla="*/ 364 w 1399"/>
                  <a:gd name="T59" fmla="*/ 131 h 1601"/>
                  <a:gd name="T60" fmla="*/ 459 w 1399"/>
                  <a:gd name="T61" fmla="*/ 67 h 1601"/>
                  <a:gd name="T62" fmla="*/ 558 w 1399"/>
                  <a:gd name="T63" fmla="*/ 23 h 1601"/>
                  <a:gd name="T64" fmla="*/ 662 w 1399"/>
                  <a:gd name="T65" fmla="*/ 2 h 1601"/>
                  <a:gd name="T66" fmla="*/ 735 w 1399"/>
                  <a:gd name="T67" fmla="*/ 2 h 1601"/>
                  <a:gd name="T68" fmla="*/ 840 w 1399"/>
                  <a:gd name="T69" fmla="*/ 23 h 1601"/>
                  <a:gd name="T70" fmla="*/ 940 w 1399"/>
                  <a:gd name="T71" fmla="*/ 67 h 1601"/>
                  <a:gd name="T72" fmla="*/ 1032 w 1399"/>
                  <a:gd name="T73" fmla="*/ 131 h 1601"/>
                  <a:gd name="T74" fmla="*/ 1117 w 1399"/>
                  <a:gd name="T75" fmla="*/ 211 h 1601"/>
                  <a:gd name="T76" fmla="*/ 1194 w 1399"/>
                  <a:gd name="T77" fmla="*/ 305 h 1601"/>
                  <a:gd name="T78" fmla="*/ 1259 w 1399"/>
                  <a:gd name="T79" fmla="*/ 411 h 1601"/>
                  <a:gd name="T80" fmla="*/ 1315 w 1399"/>
                  <a:gd name="T81" fmla="*/ 522 h 1601"/>
                  <a:gd name="T82" fmla="*/ 1357 w 1399"/>
                  <a:gd name="T83" fmla="*/ 636 h 1601"/>
                  <a:gd name="T84" fmla="*/ 1384 w 1399"/>
                  <a:gd name="T85" fmla="*/ 753 h 1601"/>
                  <a:gd name="T86" fmla="*/ 1397 w 1399"/>
                  <a:gd name="T87" fmla="*/ 866 h 16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99" h="1601">
                    <a:moveTo>
                      <a:pt x="1399" y="902"/>
                    </a:moveTo>
                    <a:lnTo>
                      <a:pt x="1399" y="902"/>
                    </a:lnTo>
                    <a:lnTo>
                      <a:pt x="1397" y="939"/>
                    </a:lnTo>
                    <a:lnTo>
                      <a:pt x="1395" y="973"/>
                    </a:lnTo>
                    <a:lnTo>
                      <a:pt x="1391" y="1008"/>
                    </a:lnTo>
                    <a:lnTo>
                      <a:pt x="1384" y="1043"/>
                    </a:lnTo>
                    <a:lnTo>
                      <a:pt x="1376" y="1077"/>
                    </a:lnTo>
                    <a:lnTo>
                      <a:pt x="1366" y="1110"/>
                    </a:lnTo>
                    <a:lnTo>
                      <a:pt x="1357" y="1142"/>
                    </a:lnTo>
                    <a:lnTo>
                      <a:pt x="1343" y="1175"/>
                    </a:lnTo>
                    <a:lnTo>
                      <a:pt x="1330" y="1206"/>
                    </a:lnTo>
                    <a:lnTo>
                      <a:pt x="1315" y="1236"/>
                    </a:lnTo>
                    <a:lnTo>
                      <a:pt x="1297" y="1265"/>
                    </a:lnTo>
                    <a:lnTo>
                      <a:pt x="1280" y="1294"/>
                    </a:lnTo>
                    <a:lnTo>
                      <a:pt x="1259" y="1321"/>
                    </a:lnTo>
                    <a:lnTo>
                      <a:pt x="1240" y="1348"/>
                    </a:lnTo>
                    <a:lnTo>
                      <a:pt x="1217" y="1373"/>
                    </a:lnTo>
                    <a:lnTo>
                      <a:pt x="1194" y="1398"/>
                    </a:lnTo>
                    <a:lnTo>
                      <a:pt x="1169" y="1421"/>
                    </a:lnTo>
                    <a:lnTo>
                      <a:pt x="1144" y="1442"/>
                    </a:lnTo>
                    <a:lnTo>
                      <a:pt x="1117" y="1463"/>
                    </a:lnTo>
                    <a:lnTo>
                      <a:pt x="1090" y="1482"/>
                    </a:lnTo>
                    <a:lnTo>
                      <a:pt x="1061" y="1501"/>
                    </a:lnTo>
                    <a:lnTo>
                      <a:pt x="1032" y="1517"/>
                    </a:lnTo>
                    <a:lnTo>
                      <a:pt x="1002" y="1532"/>
                    </a:lnTo>
                    <a:lnTo>
                      <a:pt x="971" y="1548"/>
                    </a:lnTo>
                    <a:lnTo>
                      <a:pt x="940" y="1559"/>
                    </a:lnTo>
                    <a:lnTo>
                      <a:pt x="908" y="1571"/>
                    </a:lnTo>
                    <a:lnTo>
                      <a:pt x="873" y="1580"/>
                    </a:lnTo>
                    <a:lnTo>
                      <a:pt x="840" y="1588"/>
                    </a:lnTo>
                    <a:lnTo>
                      <a:pt x="806" y="1594"/>
                    </a:lnTo>
                    <a:lnTo>
                      <a:pt x="771" y="1599"/>
                    </a:lnTo>
                    <a:lnTo>
                      <a:pt x="735" y="1601"/>
                    </a:lnTo>
                    <a:lnTo>
                      <a:pt x="698" y="1601"/>
                    </a:lnTo>
                    <a:lnTo>
                      <a:pt x="698" y="1601"/>
                    </a:lnTo>
                    <a:lnTo>
                      <a:pt x="662" y="1601"/>
                    </a:lnTo>
                    <a:lnTo>
                      <a:pt x="627" y="1599"/>
                    </a:lnTo>
                    <a:lnTo>
                      <a:pt x="593" y="1594"/>
                    </a:lnTo>
                    <a:lnTo>
                      <a:pt x="558" y="1588"/>
                    </a:lnTo>
                    <a:lnTo>
                      <a:pt x="524" y="1580"/>
                    </a:lnTo>
                    <a:lnTo>
                      <a:pt x="491" y="1571"/>
                    </a:lnTo>
                    <a:lnTo>
                      <a:pt x="459" y="1559"/>
                    </a:lnTo>
                    <a:lnTo>
                      <a:pt x="426" y="1548"/>
                    </a:lnTo>
                    <a:lnTo>
                      <a:pt x="395" y="1532"/>
                    </a:lnTo>
                    <a:lnTo>
                      <a:pt x="364" y="1517"/>
                    </a:lnTo>
                    <a:lnTo>
                      <a:pt x="336" y="1501"/>
                    </a:lnTo>
                    <a:lnTo>
                      <a:pt x="307" y="1482"/>
                    </a:lnTo>
                    <a:lnTo>
                      <a:pt x="280" y="1463"/>
                    </a:lnTo>
                    <a:lnTo>
                      <a:pt x="253" y="1442"/>
                    </a:lnTo>
                    <a:lnTo>
                      <a:pt x="228" y="1421"/>
                    </a:lnTo>
                    <a:lnTo>
                      <a:pt x="203" y="1398"/>
                    </a:lnTo>
                    <a:lnTo>
                      <a:pt x="180" y="1373"/>
                    </a:lnTo>
                    <a:lnTo>
                      <a:pt x="159" y="1348"/>
                    </a:lnTo>
                    <a:lnTo>
                      <a:pt x="138" y="1321"/>
                    </a:lnTo>
                    <a:lnTo>
                      <a:pt x="119" y="1294"/>
                    </a:lnTo>
                    <a:lnTo>
                      <a:pt x="100" y="1265"/>
                    </a:lnTo>
                    <a:lnTo>
                      <a:pt x="84" y="1236"/>
                    </a:lnTo>
                    <a:lnTo>
                      <a:pt x="69" y="1206"/>
                    </a:lnTo>
                    <a:lnTo>
                      <a:pt x="53" y="1175"/>
                    </a:lnTo>
                    <a:lnTo>
                      <a:pt x="42" y="1142"/>
                    </a:lnTo>
                    <a:lnTo>
                      <a:pt x="30" y="1110"/>
                    </a:lnTo>
                    <a:lnTo>
                      <a:pt x="21" y="1077"/>
                    </a:lnTo>
                    <a:lnTo>
                      <a:pt x="13" y="1043"/>
                    </a:lnTo>
                    <a:lnTo>
                      <a:pt x="7" y="1008"/>
                    </a:lnTo>
                    <a:lnTo>
                      <a:pt x="2" y="973"/>
                    </a:lnTo>
                    <a:lnTo>
                      <a:pt x="0" y="939"/>
                    </a:lnTo>
                    <a:lnTo>
                      <a:pt x="0" y="902"/>
                    </a:lnTo>
                    <a:lnTo>
                      <a:pt x="0" y="902"/>
                    </a:lnTo>
                    <a:lnTo>
                      <a:pt x="0" y="866"/>
                    </a:lnTo>
                    <a:lnTo>
                      <a:pt x="2" y="828"/>
                    </a:lnTo>
                    <a:lnTo>
                      <a:pt x="7" y="791"/>
                    </a:lnTo>
                    <a:lnTo>
                      <a:pt x="13" y="753"/>
                    </a:lnTo>
                    <a:lnTo>
                      <a:pt x="21" y="714"/>
                    </a:lnTo>
                    <a:lnTo>
                      <a:pt x="30" y="676"/>
                    </a:lnTo>
                    <a:lnTo>
                      <a:pt x="42" y="636"/>
                    </a:lnTo>
                    <a:lnTo>
                      <a:pt x="53" y="597"/>
                    </a:lnTo>
                    <a:lnTo>
                      <a:pt x="69" y="559"/>
                    </a:lnTo>
                    <a:lnTo>
                      <a:pt x="84" y="522"/>
                    </a:lnTo>
                    <a:lnTo>
                      <a:pt x="100" y="484"/>
                    </a:lnTo>
                    <a:lnTo>
                      <a:pt x="119" y="447"/>
                    </a:lnTo>
                    <a:lnTo>
                      <a:pt x="138" y="411"/>
                    </a:lnTo>
                    <a:lnTo>
                      <a:pt x="159" y="374"/>
                    </a:lnTo>
                    <a:lnTo>
                      <a:pt x="180" y="340"/>
                    </a:lnTo>
                    <a:lnTo>
                      <a:pt x="203" y="305"/>
                    </a:lnTo>
                    <a:lnTo>
                      <a:pt x="228" y="273"/>
                    </a:lnTo>
                    <a:lnTo>
                      <a:pt x="253" y="242"/>
                    </a:lnTo>
                    <a:lnTo>
                      <a:pt x="280" y="211"/>
                    </a:lnTo>
                    <a:lnTo>
                      <a:pt x="307" y="182"/>
                    </a:lnTo>
                    <a:lnTo>
                      <a:pt x="336" y="156"/>
                    </a:lnTo>
                    <a:lnTo>
                      <a:pt x="364" y="131"/>
                    </a:lnTo>
                    <a:lnTo>
                      <a:pt x="395" y="108"/>
                    </a:lnTo>
                    <a:lnTo>
                      <a:pt x="426" y="86"/>
                    </a:lnTo>
                    <a:lnTo>
                      <a:pt x="459" y="67"/>
                    </a:lnTo>
                    <a:lnTo>
                      <a:pt x="491" y="50"/>
                    </a:lnTo>
                    <a:lnTo>
                      <a:pt x="524" y="35"/>
                    </a:lnTo>
                    <a:lnTo>
                      <a:pt x="558" y="23"/>
                    </a:lnTo>
                    <a:lnTo>
                      <a:pt x="593" y="13"/>
                    </a:lnTo>
                    <a:lnTo>
                      <a:pt x="627" y="6"/>
                    </a:lnTo>
                    <a:lnTo>
                      <a:pt x="662" y="2"/>
                    </a:lnTo>
                    <a:lnTo>
                      <a:pt x="698" y="0"/>
                    </a:lnTo>
                    <a:lnTo>
                      <a:pt x="698" y="0"/>
                    </a:lnTo>
                    <a:lnTo>
                      <a:pt x="735" y="2"/>
                    </a:lnTo>
                    <a:lnTo>
                      <a:pt x="771" y="6"/>
                    </a:lnTo>
                    <a:lnTo>
                      <a:pt x="806" y="13"/>
                    </a:lnTo>
                    <a:lnTo>
                      <a:pt x="840" y="23"/>
                    </a:lnTo>
                    <a:lnTo>
                      <a:pt x="873" y="35"/>
                    </a:lnTo>
                    <a:lnTo>
                      <a:pt x="908" y="50"/>
                    </a:lnTo>
                    <a:lnTo>
                      <a:pt x="940" y="67"/>
                    </a:lnTo>
                    <a:lnTo>
                      <a:pt x="971" y="86"/>
                    </a:lnTo>
                    <a:lnTo>
                      <a:pt x="1002" y="108"/>
                    </a:lnTo>
                    <a:lnTo>
                      <a:pt x="1032" y="131"/>
                    </a:lnTo>
                    <a:lnTo>
                      <a:pt x="1061" y="156"/>
                    </a:lnTo>
                    <a:lnTo>
                      <a:pt x="1090" y="182"/>
                    </a:lnTo>
                    <a:lnTo>
                      <a:pt x="1117" y="211"/>
                    </a:lnTo>
                    <a:lnTo>
                      <a:pt x="1144" y="242"/>
                    </a:lnTo>
                    <a:lnTo>
                      <a:pt x="1169" y="273"/>
                    </a:lnTo>
                    <a:lnTo>
                      <a:pt x="1194" y="305"/>
                    </a:lnTo>
                    <a:lnTo>
                      <a:pt x="1217" y="340"/>
                    </a:lnTo>
                    <a:lnTo>
                      <a:pt x="1240" y="374"/>
                    </a:lnTo>
                    <a:lnTo>
                      <a:pt x="1259" y="411"/>
                    </a:lnTo>
                    <a:lnTo>
                      <a:pt x="1280" y="447"/>
                    </a:lnTo>
                    <a:lnTo>
                      <a:pt x="1297" y="484"/>
                    </a:lnTo>
                    <a:lnTo>
                      <a:pt x="1315" y="522"/>
                    </a:lnTo>
                    <a:lnTo>
                      <a:pt x="1330" y="559"/>
                    </a:lnTo>
                    <a:lnTo>
                      <a:pt x="1343" y="597"/>
                    </a:lnTo>
                    <a:lnTo>
                      <a:pt x="1357" y="636"/>
                    </a:lnTo>
                    <a:lnTo>
                      <a:pt x="1366" y="676"/>
                    </a:lnTo>
                    <a:lnTo>
                      <a:pt x="1376" y="714"/>
                    </a:lnTo>
                    <a:lnTo>
                      <a:pt x="1384" y="753"/>
                    </a:lnTo>
                    <a:lnTo>
                      <a:pt x="1391" y="791"/>
                    </a:lnTo>
                    <a:lnTo>
                      <a:pt x="1395" y="828"/>
                    </a:lnTo>
                    <a:lnTo>
                      <a:pt x="1397" y="866"/>
                    </a:lnTo>
                    <a:lnTo>
                      <a:pt x="1399" y="902"/>
                    </a:lnTo>
                    <a:lnTo>
                      <a:pt x="1399" y="902"/>
                    </a:lnTo>
                    <a:close/>
                  </a:path>
                </a:pathLst>
              </a:custGeom>
              <a:solidFill>
                <a:schemeClr val="accent3"/>
              </a:solidFill>
              <a:ln w="76200">
                <a:solidFill>
                  <a:schemeClr val="bg1"/>
                </a:solidFill>
                <a:round/>
                <a:headEnd/>
                <a:tailEnd/>
              </a:ln>
              <a:effectLst>
                <a:outerShdw blurRad="1270000" dist="685800" dir="5400000" sx="84000" sy="84000" algn="t" rotWithShape="0">
                  <a:prstClr val="black">
                    <a:alpha val="15000"/>
                  </a:prstClr>
                </a:outerShdw>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nvGrpSpPr>
              <p:cNvPr id="11" name="Group 9">
                <a:extLst>
                  <a:ext uri="{FF2B5EF4-FFF2-40B4-BE49-F238E27FC236}">
                    <a16:creationId xmlns:a16="http://schemas.microsoft.com/office/drawing/2014/main" id="{7EEF6BE9-3EEA-41D4-A260-D426DA5BE04D}"/>
                  </a:ext>
                </a:extLst>
              </p:cNvPr>
              <p:cNvGrpSpPr/>
              <p:nvPr/>
            </p:nvGrpSpPr>
            <p:grpSpPr>
              <a:xfrm>
                <a:off x="7521680" y="1603811"/>
                <a:ext cx="1597245" cy="964582"/>
                <a:chOff x="5691166" y="4639682"/>
                <a:chExt cx="1597245" cy="964582"/>
              </a:xfrm>
            </p:grpSpPr>
            <p:sp>
              <p:nvSpPr>
                <p:cNvPr id="12" name="TextBox 10">
                  <a:extLst>
                    <a:ext uri="{FF2B5EF4-FFF2-40B4-BE49-F238E27FC236}">
                      <a16:creationId xmlns:a16="http://schemas.microsoft.com/office/drawing/2014/main" id="{919F08A8-C7A5-40F5-80FC-5449FC226C1F}"/>
                    </a:ext>
                  </a:extLst>
                </p:cNvPr>
                <p:cNvSpPr txBox="1"/>
                <p:nvPr/>
              </p:nvSpPr>
              <p:spPr>
                <a:xfrm>
                  <a:off x="5806897" y="5041754"/>
                  <a:ext cx="1365782" cy="562510"/>
                </a:xfrm>
                <a:prstGeom prst="rect">
                  <a:avLst/>
                </a:prstGeom>
                <a:noFill/>
              </p:spPr>
              <p:txBody>
                <a:bodyPr wrap="square" rtlCol="0">
                  <a:spAutoFit/>
                </a:body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等线" panose="020F0502020204030204"/>
                      <a:ea typeface="+mn-ea"/>
                      <a:cs typeface="+mn-cs"/>
                    </a:rPr>
                    <a:t>Lorem ipsum dolor sit </a:t>
                  </a:r>
                  <a:r>
                    <a:rPr kumimoji="0" lang="en-US" sz="1200" b="0" i="0" u="none" strike="noStrike" kern="1200" cap="none" spc="0" normalizeH="0" baseline="0" noProof="0" dirty="0" err="1">
                      <a:ln>
                        <a:noFill/>
                      </a:ln>
                      <a:solidFill>
                        <a:srgbClr val="FFFFFF"/>
                      </a:solidFill>
                      <a:effectLst/>
                      <a:uLnTx/>
                      <a:uFillTx/>
                      <a:latin typeface="等线" panose="020F0502020204030204"/>
                      <a:ea typeface="+mn-ea"/>
                      <a:cs typeface="+mn-cs"/>
                    </a:rPr>
                    <a:t>amet</a:t>
                  </a:r>
                  <a:endParaRPr kumimoji="0" lang="en-US" sz="1200" b="0" i="0" u="none" strike="noStrike" kern="1200" cap="none" spc="0" normalizeH="0" baseline="0" noProof="0" dirty="0">
                    <a:ln>
                      <a:noFill/>
                    </a:ln>
                    <a:solidFill>
                      <a:srgbClr val="FFFFFF"/>
                    </a:solidFill>
                    <a:effectLst/>
                    <a:uLnTx/>
                    <a:uFillTx/>
                    <a:latin typeface="等线" panose="020F0502020204030204"/>
                    <a:ea typeface="+mn-ea"/>
                    <a:cs typeface="+mn-cs"/>
                  </a:endParaRPr>
                </a:p>
              </p:txBody>
            </p:sp>
            <p:sp>
              <p:nvSpPr>
                <p:cNvPr id="13" name="TextBox 11">
                  <a:extLst>
                    <a:ext uri="{FF2B5EF4-FFF2-40B4-BE49-F238E27FC236}">
                      <a16:creationId xmlns:a16="http://schemas.microsoft.com/office/drawing/2014/main" id="{45E35441-6E38-445C-AE1B-2AF6C453BBB4}"/>
                    </a:ext>
                  </a:extLst>
                </p:cNvPr>
                <p:cNvSpPr txBox="1"/>
                <p:nvPr/>
              </p:nvSpPr>
              <p:spPr>
                <a:xfrm>
                  <a:off x="5691166" y="4639682"/>
                  <a:ext cx="1597245" cy="393722"/>
                </a:xfrm>
                <a:prstGeom prst="rect">
                  <a:avLst/>
                </a:prstGeom>
                <a:noFill/>
              </p:spPr>
              <p:txBody>
                <a:bodyPr wrap="square" rtlCol="0">
                  <a:spAutoFit/>
                </a:body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等线" panose="020F0502020204030204"/>
                      <a:ea typeface="+mn-ea"/>
                      <a:cs typeface="+mn-cs"/>
                    </a:rPr>
                    <a:t>Value 03</a:t>
                  </a:r>
                </a:p>
              </p:txBody>
            </p:sp>
          </p:grpSp>
        </p:grpSp>
      </p:grpSp>
      <p:sp>
        <p:nvSpPr>
          <p:cNvPr id="30" name="TextBox 30">
            <a:extLst>
              <a:ext uri="{FF2B5EF4-FFF2-40B4-BE49-F238E27FC236}">
                <a16:creationId xmlns:a16="http://schemas.microsoft.com/office/drawing/2014/main" id="{4AC159A4-9249-4DC7-AD5E-7ADC571EC670}"/>
              </a:ext>
            </a:extLst>
          </p:cNvPr>
          <p:cNvSpPr txBox="1"/>
          <p:nvPr/>
        </p:nvSpPr>
        <p:spPr>
          <a:xfrm>
            <a:off x="6956693" y="2016247"/>
            <a:ext cx="4619626" cy="132343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0" b="1" i="0" u="none" strike="noStrike" kern="1200" cap="none" spc="0" normalizeH="0" baseline="0" noProof="0" dirty="0">
                <a:ln>
                  <a:noFill/>
                </a:ln>
                <a:solidFill>
                  <a:srgbClr val="000000">
                    <a:lumMod val="85000"/>
                    <a:lumOff val="15000"/>
                  </a:srgbClr>
                </a:solidFill>
                <a:effectLst/>
                <a:uLnTx/>
                <a:uFillTx/>
                <a:latin typeface="等线 Light" panose="020F0302020204030204"/>
                <a:ea typeface="+mn-ea"/>
                <a:cs typeface="Arial" panose="020B0604020202020204" pitchFamily="34" charset="0"/>
              </a:rPr>
              <a:t>Your Title </a:t>
            </a:r>
            <a:r>
              <a:rPr kumimoji="0" lang="en-US" sz="4000" b="1" i="0" u="none" strike="noStrike" kern="1200" cap="none" spc="0" normalizeH="0" baseline="0" noProof="0">
                <a:ln>
                  <a:noFill/>
                </a:ln>
                <a:solidFill>
                  <a:srgbClr val="000000">
                    <a:lumMod val="85000"/>
                    <a:lumOff val="15000"/>
                  </a:srgbClr>
                </a:solidFill>
                <a:effectLst/>
                <a:uLnTx/>
                <a:uFillTx/>
                <a:latin typeface="等线 Light" panose="020F0302020204030204"/>
                <a:ea typeface="+mn-ea"/>
                <a:cs typeface="Arial" panose="020B0604020202020204" pitchFamily="34" charset="0"/>
              </a:rPr>
              <a:t>Tex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0" b="1" i="0" u="none" strike="noStrike" kern="1200" cap="none" spc="0" normalizeH="0" baseline="0" noProof="0">
                <a:ln>
                  <a:noFill/>
                </a:ln>
                <a:solidFill>
                  <a:srgbClr val="000000">
                    <a:lumMod val="85000"/>
                    <a:lumOff val="15000"/>
                  </a:srgbClr>
                </a:solidFill>
                <a:effectLst/>
                <a:uLnTx/>
                <a:uFillTx/>
                <a:latin typeface="等线 Light" panose="020F0302020204030204"/>
                <a:ea typeface="+mn-ea"/>
                <a:cs typeface="Arial" panose="020B0604020202020204" pitchFamily="34" charset="0"/>
              </a:rPr>
              <a:t>Goes </a:t>
            </a:r>
            <a:r>
              <a:rPr kumimoji="0" lang="en-US" sz="4000" b="1" i="0" u="none" strike="noStrike" kern="1200" cap="none" spc="0" normalizeH="0" baseline="0" noProof="0" dirty="0">
                <a:ln>
                  <a:noFill/>
                </a:ln>
                <a:solidFill>
                  <a:srgbClr val="000000">
                    <a:lumMod val="85000"/>
                    <a:lumOff val="15000"/>
                  </a:srgbClr>
                </a:solidFill>
                <a:effectLst/>
                <a:uLnTx/>
                <a:uFillTx/>
                <a:latin typeface="等线 Light" panose="020F0302020204030204"/>
                <a:ea typeface="+mn-ea"/>
                <a:cs typeface="Arial" panose="020B0604020202020204" pitchFamily="34" charset="0"/>
              </a:rPr>
              <a:t>Here</a:t>
            </a:r>
          </a:p>
        </p:txBody>
      </p:sp>
      <p:sp>
        <p:nvSpPr>
          <p:cNvPr id="31" name="TextBox 31">
            <a:extLst>
              <a:ext uri="{FF2B5EF4-FFF2-40B4-BE49-F238E27FC236}">
                <a16:creationId xmlns:a16="http://schemas.microsoft.com/office/drawing/2014/main" id="{227FD115-2CFF-4F50-A266-3B08C8016885}"/>
              </a:ext>
            </a:extLst>
          </p:cNvPr>
          <p:cNvSpPr txBox="1"/>
          <p:nvPr/>
        </p:nvSpPr>
        <p:spPr>
          <a:xfrm>
            <a:off x="7004319" y="3451333"/>
            <a:ext cx="4619626" cy="1183466"/>
          </a:xfrm>
          <a:prstGeom prst="rect">
            <a:avLst/>
          </a:prstGeom>
          <a:noFill/>
        </p:spPr>
        <p:txBody>
          <a:bodyPr wrap="square" rtlCol="0">
            <a:spAutoFit/>
          </a:bodyPr>
          <a:lstStyle/>
          <a:p>
            <a:pPr marL="0" marR="0" lvl="0" indent="0" algn="l" defTabSz="914400" rtl="0" eaLnBrk="1" fontAlgn="auto" latinLnBrk="0" hangingPunct="1">
              <a:lnSpc>
                <a:spcPct val="13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000000">
                    <a:lumMod val="65000"/>
                    <a:lumOff val="35000"/>
                  </a:srgbClr>
                </a:solidFill>
                <a:effectLst/>
                <a:uLnTx/>
                <a:uFillTx/>
                <a:latin typeface="等线" panose="020F0502020204030204"/>
                <a:ea typeface="Open Sans" panose="020B0606030504020204" pitchFamily="34" charset="0"/>
                <a:cs typeface="Segoe UI" panose="020B0502040204020203" pitchFamily="34" charset="0"/>
              </a:rPr>
              <a:t>Leverage agile frameworks to provide a robust synopsis for high level overviews. Leverage agile frameworks to provide a robust synopsis for high level overviews.</a:t>
            </a:r>
          </a:p>
          <a:p>
            <a:pPr marL="0" marR="0" lvl="0" indent="0" algn="l" defTabSz="914400" rtl="0" eaLnBrk="1" fontAlgn="auto" latinLnBrk="0" hangingPunct="1">
              <a:lnSpc>
                <a:spcPct val="13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000000">
                  <a:lumMod val="65000"/>
                  <a:lumOff val="35000"/>
                </a:srgbClr>
              </a:solidFill>
              <a:effectLst/>
              <a:uLnTx/>
              <a:uFillTx/>
              <a:latin typeface="等线" panose="020F0502020204030204"/>
              <a:ea typeface="Open Sans" panose="020B0606030504020204" pitchFamily="34" charset="0"/>
              <a:cs typeface="Segoe UI" panose="020B0502040204020203" pitchFamily="34" charset="0"/>
            </a:endParaRPr>
          </a:p>
        </p:txBody>
      </p:sp>
      <p:grpSp>
        <p:nvGrpSpPr>
          <p:cNvPr id="32" name="Group 28">
            <a:extLst>
              <a:ext uri="{FF2B5EF4-FFF2-40B4-BE49-F238E27FC236}">
                <a16:creationId xmlns:a16="http://schemas.microsoft.com/office/drawing/2014/main" id="{BE4C8C08-9805-4631-8164-D858D334245B}"/>
              </a:ext>
            </a:extLst>
          </p:cNvPr>
          <p:cNvGrpSpPr/>
          <p:nvPr/>
        </p:nvGrpSpPr>
        <p:grpSpPr>
          <a:xfrm>
            <a:off x="7244874" y="5048250"/>
            <a:ext cx="4947125" cy="1809750"/>
            <a:chOff x="7244874" y="5048250"/>
            <a:chExt cx="4947125" cy="1809750"/>
          </a:xfrm>
        </p:grpSpPr>
        <p:sp>
          <p:nvSpPr>
            <p:cNvPr id="33" name="Rectangle: Single Corner Rounded 37">
              <a:extLst>
                <a:ext uri="{FF2B5EF4-FFF2-40B4-BE49-F238E27FC236}">
                  <a16:creationId xmlns:a16="http://schemas.microsoft.com/office/drawing/2014/main" id="{62052A50-A4AF-4A64-8551-72563D950373}"/>
                </a:ext>
              </a:extLst>
            </p:cNvPr>
            <p:cNvSpPr/>
            <p:nvPr/>
          </p:nvSpPr>
          <p:spPr>
            <a:xfrm flipH="1">
              <a:off x="7244874" y="5048250"/>
              <a:ext cx="4947125" cy="1809750"/>
            </a:xfrm>
            <a:prstGeom prst="round1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等线" panose="020F0502020204030204"/>
                <a:ea typeface="+mn-ea"/>
                <a:cs typeface="+mn-cs"/>
              </a:endParaRPr>
            </a:p>
          </p:txBody>
        </p:sp>
        <p:sp>
          <p:nvSpPr>
            <p:cNvPr id="34" name="Rectangle 38">
              <a:extLst>
                <a:ext uri="{FF2B5EF4-FFF2-40B4-BE49-F238E27FC236}">
                  <a16:creationId xmlns:a16="http://schemas.microsoft.com/office/drawing/2014/main" id="{D188DAF7-39CE-422D-A6D0-E286DDC7879F}"/>
                </a:ext>
              </a:extLst>
            </p:cNvPr>
            <p:cNvSpPr/>
            <p:nvPr/>
          </p:nvSpPr>
          <p:spPr>
            <a:xfrm>
              <a:off x="8106312" y="5511032"/>
              <a:ext cx="3344910" cy="1019253"/>
            </a:xfrm>
            <a:prstGeom prst="rect">
              <a:avLst/>
            </a:prstGeom>
          </p:spPr>
          <p:txBody>
            <a:bodyPr wrap="square">
              <a:spAutoFit/>
            </a:bodyPr>
            <a:lstStyle/>
            <a:p>
              <a:pPr marL="0" marR="0" lvl="0" indent="0" algn="l" defTabSz="914400" rtl="0" eaLnBrk="1" fontAlgn="auto" latinLnBrk="0" hangingPunct="1">
                <a:lnSpc>
                  <a:spcPct val="130000"/>
                </a:lnSpc>
                <a:spcBef>
                  <a:spcPts val="0"/>
                </a:spcBef>
                <a:spcAft>
                  <a:spcPts val="0"/>
                </a:spcAft>
                <a:buClrTx/>
                <a:buSzTx/>
                <a:buFontTx/>
                <a:buNone/>
                <a:tabLst/>
                <a:defRPr/>
              </a:pPr>
              <a:r>
                <a:rPr kumimoji="0" lang="en-US" sz="1600" b="0" i="1" u="none" strike="noStrike" kern="1200" cap="none" spc="0" normalizeH="0" baseline="0" noProof="0" dirty="0">
                  <a:ln>
                    <a:noFill/>
                  </a:ln>
                  <a:solidFill>
                    <a:srgbClr val="FFFFFF"/>
                  </a:solidFill>
                  <a:effectLst/>
                  <a:uLnTx/>
                  <a:uFillTx/>
                  <a:latin typeface="等线" panose="020F0502020204030204"/>
                  <a:ea typeface="Open Sans" panose="020B0606030504020204" pitchFamily="34" charset="0"/>
                  <a:cs typeface="Segoe UI" panose="020B0502040204020203" pitchFamily="34" charset="0"/>
                </a:rPr>
                <a:t>“Lorem ipsum dolor sit </a:t>
              </a:r>
              <a:r>
                <a:rPr kumimoji="0" lang="en-US" sz="1600" b="0" i="1" u="none" strike="noStrike" kern="1200" cap="none" spc="0" normalizeH="0" baseline="0" noProof="0" dirty="0" err="1">
                  <a:ln>
                    <a:noFill/>
                  </a:ln>
                  <a:solidFill>
                    <a:srgbClr val="FFFFFF"/>
                  </a:solidFill>
                  <a:effectLst/>
                  <a:uLnTx/>
                  <a:uFillTx/>
                  <a:latin typeface="等线" panose="020F0502020204030204"/>
                  <a:ea typeface="Open Sans" panose="020B0606030504020204" pitchFamily="34" charset="0"/>
                  <a:cs typeface="Segoe UI" panose="020B0502040204020203" pitchFamily="34" charset="0"/>
                </a:rPr>
                <a:t>amet</a:t>
              </a:r>
              <a:r>
                <a:rPr kumimoji="0" lang="en-US" sz="1600" b="0" i="1" u="none" strike="noStrike" kern="1200" cap="none" spc="0" normalizeH="0" baseline="0" noProof="0" dirty="0">
                  <a:ln>
                    <a:noFill/>
                  </a:ln>
                  <a:solidFill>
                    <a:srgbClr val="FFFFFF"/>
                  </a:solidFill>
                  <a:effectLst/>
                  <a:uLnTx/>
                  <a:uFillTx/>
                  <a:latin typeface="等线" panose="020F0502020204030204"/>
                  <a:ea typeface="Open Sans" panose="020B0606030504020204" pitchFamily="34" charset="0"/>
                  <a:cs typeface="Segoe UI" panose="020B0502040204020203" pitchFamily="34" charset="0"/>
                </a:rPr>
                <a:t>, </a:t>
              </a:r>
              <a:r>
                <a:rPr kumimoji="0" lang="en-US" sz="1600" b="0" i="1" u="none" strike="noStrike" kern="1200" cap="none" spc="0" normalizeH="0" baseline="0" noProof="0" dirty="0" err="1">
                  <a:ln>
                    <a:noFill/>
                  </a:ln>
                  <a:solidFill>
                    <a:srgbClr val="FFFFFF"/>
                  </a:solidFill>
                  <a:effectLst/>
                  <a:uLnTx/>
                  <a:uFillTx/>
                  <a:latin typeface="等线" panose="020F0502020204030204"/>
                  <a:ea typeface="Open Sans" panose="020B0606030504020204" pitchFamily="34" charset="0"/>
                  <a:cs typeface="Segoe UI" panose="020B0502040204020203" pitchFamily="34" charset="0"/>
                </a:rPr>
                <a:t>consectetuer</a:t>
              </a:r>
              <a:r>
                <a:rPr kumimoji="0" lang="en-US" sz="1600" b="0" i="1" u="none" strike="noStrike" kern="1200" cap="none" spc="0" normalizeH="0" baseline="0" noProof="0" dirty="0">
                  <a:ln>
                    <a:noFill/>
                  </a:ln>
                  <a:solidFill>
                    <a:srgbClr val="FFFFFF"/>
                  </a:solidFill>
                  <a:effectLst/>
                  <a:uLnTx/>
                  <a:uFillTx/>
                  <a:latin typeface="等线" panose="020F0502020204030204"/>
                  <a:ea typeface="Open Sans" panose="020B0606030504020204" pitchFamily="34" charset="0"/>
                  <a:cs typeface="Segoe UI" panose="020B0502040204020203" pitchFamily="34" charset="0"/>
                </a:rPr>
                <a:t> </a:t>
              </a:r>
              <a:r>
                <a:rPr kumimoji="0" lang="en-US" sz="1600" b="0" i="1" u="none" strike="noStrike" kern="1200" cap="none" spc="0" normalizeH="0" baseline="0" noProof="0" dirty="0" err="1">
                  <a:ln>
                    <a:noFill/>
                  </a:ln>
                  <a:solidFill>
                    <a:srgbClr val="FFFFFF"/>
                  </a:solidFill>
                  <a:effectLst/>
                  <a:uLnTx/>
                  <a:uFillTx/>
                  <a:latin typeface="等线" panose="020F0502020204030204"/>
                  <a:ea typeface="Open Sans" panose="020B0606030504020204" pitchFamily="34" charset="0"/>
                  <a:cs typeface="Segoe UI" panose="020B0502040204020203" pitchFamily="34" charset="0"/>
                </a:rPr>
                <a:t>adipiscing</a:t>
              </a:r>
              <a:r>
                <a:rPr kumimoji="0" lang="en-US" sz="1600" b="0" i="1" u="none" strike="noStrike" kern="1200" cap="none" spc="0" normalizeH="0" baseline="0" noProof="0" dirty="0">
                  <a:ln>
                    <a:noFill/>
                  </a:ln>
                  <a:solidFill>
                    <a:srgbClr val="FFFFFF"/>
                  </a:solidFill>
                  <a:effectLst/>
                  <a:uLnTx/>
                  <a:uFillTx/>
                  <a:latin typeface="等线" panose="020F0502020204030204"/>
                  <a:ea typeface="Open Sans" panose="020B0606030504020204" pitchFamily="34" charset="0"/>
                  <a:cs typeface="Segoe UI" panose="020B0502040204020203" pitchFamily="34" charset="0"/>
                </a:rPr>
                <a:t> </a:t>
              </a:r>
              <a:r>
                <a:rPr kumimoji="0" lang="en-US" sz="1600" b="0" i="1" u="none" strike="noStrike" kern="1200" cap="none" spc="0" normalizeH="0" baseline="0" noProof="0" dirty="0" err="1">
                  <a:ln>
                    <a:noFill/>
                  </a:ln>
                  <a:solidFill>
                    <a:srgbClr val="FFFFFF"/>
                  </a:solidFill>
                  <a:effectLst/>
                  <a:uLnTx/>
                  <a:uFillTx/>
                  <a:latin typeface="等线" panose="020F0502020204030204"/>
                  <a:ea typeface="Open Sans" panose="020B0606030504020204" pitchFamily="34" charset="0"/>
                  <a:cs typeface="Segoe UI" panose="020B0502040204020203" pitchFamily="34" charset="0"/>
                </a:rPr>
                <a:t>elit</a:t>
              </a:r>
              <a:r>
                <a:rPr kumimoji="0" lang="en-US" sz="1600" b="0" i="1" u="none" strike="noStrike" kern="1200" cap="none" spc="0" normalizeH="0" baseline="0" noProof="0" dirty="0">
                  <a:ln>
                    <a:noFill/>
                  </a:ln>
                  <a:solidFill>
                    <a:srgbClr val="FFFFFF"/>
                  </a:solidFill>
                  <a:effectLst/>
                  <a:uLnTx/>
                  <a:uFillTx/>
                  <a:latin typeface="等线" panose="020F0502020204030204"/>
                  <a:ea typeface="Open Sans" panose="020B0606030504020204" pitchFamily="34" charset="0"/>
                  <a:cs typeface="Segoe UI" panose="020B0502040204020203" pitchFamily="34" charset="0"/>
                </a:rPr>
                <a:t>. </a:t>
              </a:r>
              <a:r>
                <a:rPr kumimoji="0" lang="en-US" sz="1600" b="0" i="1" u="none" strike="noStrike" kern="1200" cap="none" spc="0" normalizeH="0" baseline="0" noProof="0" dirty="0" err="1">
                  <a:ln>
                    <a:noFill/>
                  </a:ln>
                  <a:solidFill>
                    <a:srgbClr val="FFFFFF"/>
                  </a:solidFill>
                  <a:effectLst/>
                  <a:uLnTx/>
                  <a:uFillTx/>
                  <a:latin typeface="等线" panose="020F0502020204030204"/>
                  <a:ea typeface="Open Sans" panose="020B0606030504020204" pitchFamily="34" charset="0"/>
                  <a:cs typeface="Segoe UI" panose="020B0502040204020203" pitchFamily="34" charset="0"/>
                </a:rPr>
                <a:t>Aenean</a:t>
              </a:r>
              <a:r>
                <a:rPr kumimoji="0" lang="en-US" sz="1600" b="0" i="1" u="none" strike="noStrike" kern="1200" cap="none" spc="0" normalizeH="0" baseline="0" noProof="0" dirty="0">
                  <a:ln>
                    <a:noFill/>
                  </a:ln>
                  <a:solidFill>
                    <a:srgbClr val="FFFFFF"/>
                  </a:solidFill>
                  <a:effectLst/>
                  <a:uLnTx/>
                  <a:uFillTx/>
                  <a:latin typeface="等线" panose="020F0502020204030204"/>
                  <a:ea typeface="Open Sans" panose="020B0606030504020204" pitchFamily="34" charset="0"/>
                  <a:cs typeface="Segoe UI" panose="020B0502040204020203" pitchFamily="34" charset="0"/>
                </a:rPr>
                <a:t> </a:t>
              </a:r>
              <a:r>
                <a:rPr kumimoji="0" lang="en-US" sz="1600" b="0" i="1" u="none" strike="noStrike" kern="1200" cap="none" spc="0" normalizeH="0" baseline="0" noProof="0" dirty="0" err="1">
                  <a:ln>
                    <a:noFill/>
                  </a:ln>
                  <a:solidFill>
                    <a:srgbClr val="FFFFFF"/>
                  </a:solidFill>
                  <a:effectLst/>
                  <a:uLnTx/>
                  <a:uFillTx/>
                  <a:latin typeface="等线" panose="020F0502020204030204"/>
                  <a:ea typeface="Open Sans" panose="020B0606030504020204" pitchFamily="34" charset="0"/>
                  <a:cs typeface="Segoe UI" panose="020B0502040204020203" pitchFamily="34" charset="0"/>
                </a:rPr>
                <a:t>commodo</a:t>
              </a:r>
              <a:endParaRPr kumimoji="0" lang="en-US" sz="1600" b="0" i="1" u="none" strike="noStrike" kern="1200" cap="none" spc="0" normalizeH="0" baseline="0" noProof="0" dirty="0">
                <a:ln>
                  <a:noFill/>
                </a:ln>
                <a:solidFill>
                  <a:srgbClr val="FFFFFF"/>
                </a:solidFill>
                <a:effectLst/>
                <a:uLnTx/>
                <a:uFillTx/>
                <a:latin typeface="等线" panose="020F0502020204030204"/>
                <a:ea typeface="Open Sans" panose="020B0606030504020204" pitchFamily="34" charset="0"/>
                <a:cs typeface="Segoe UI" panose="020B0502040204020203" pitchFamily="34" charset="0"/>
              </a:endParaRPr>
            </a:p>
          </p:txBody>
        </p:sp>
      </p:grpSp>
      <p:grpSp>
        <p:nvGrpSpPr>
          <p:cNvPr id="35" name="Group 39">
            <a:extLst>
              <a:ext uri="{FF2B5EF4-FFF2-40B4-BE49-F238E27FC236}">
                <a16:creationId xmlns:a16="http://schemas.microsoft.com/office/drawing/2014/main" id="{5912615D-2473-474C-AF72-B30222197DCD}"/>
              </a:ext>
            </a:extLst>
          </p:cNvPr>
          <p:cNvGrpSpPr/>
          <p:nvPr/>
        </p:nvGrpSpPr>
        <p:grpSpPr>
          <a:xfrm>
            <a:off x="7033781" y="4945655"/>
            <a:ext cx="834566" cy="834562"/>
            <a:chOff x="1276174" y="4407836"/>
            <a:chExt cx="697012" cy="697010"/>
          </a:xfrm>
        </p:grpSpPr>
        <p:sp>
          <p:nvSpPr>
            <p:cNvPr id="36" name="Oval 40">
              <a:extLst>
                <a:ext uri="{FF2B5EF4-FFF2-40B4-BE49-F238E27FC236}">
                  <a16:creationId xmlns:a16="http://schemas.microsoft.com/office/drawing/2014/main" id="{2885F85D-8CF7-4025-A78E-9D1F67316F03}"/>
                </a:ext>
              </a:extLst>
            </p:cNvPr>
            <p:cNvSpPr/>
            <p:nvPr/>
          </p:nvSpPr>
          <p:spPr>
            <a:xfrm>
              <a:off x="1276174" y="4407836"/>
              <a:ext cx="697012" cy="697010"/>
            </a:xfrm>
            <a:prstGeom prst="ellipse">
              <a:avLst/>
            </a:prstGeom>
            <a:solidFill>
              <a:schemeClr val="bg1"/>
            </a:solidFill>
            <a:ln>
              <a:noFill/>
            </a:ln>
            <a:effectLst>
              <a:outerShdw blurRad="838200" dist="381000" dir="5400000" sx="95000" sy="95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37" name="Rectangle 41">
              <a:extLst>
                <a:ext uri="{FF2B5EF4-FFF2-40B4-BE49-F238E27FC236}">
                  <a16:creationId xmlns:a16="http://schemas.microsoft.com/office/drawing/2014/main" id="{8B5F912E-0F99-4F55-8680-6F9A13F4E7F4}"/>
                </a:ext>
              </a:extLst>
            </p:cNvPr>
            <p:cNvSpPr/>
            <p:nvPr/>
          </p:nvSpPr>
          <p:spPr>
            <a:xfrm>
              <a:off x="1444607" y="4576268"/>
              <a:ext cx="360146" cy="360144"/>
            </a:xfrm>
            <a:prstGeom prst="rect">
              <a:avLst/>
            </a:prstGeom>
            <a:blipFill>
              <a:blip r:embed="rId4">
                <a:duotone>
                  <a:schemeClr val="accent3">
                    <a:shade val="45000"/>
                    <a:satMod val="135000"/>
                  </a:schemeClr>
                  <a:prstClr val="white"/>
                </a:duotone>
                <a:extLst>
                  <a:ext uri="{BEBA8EAE-BF5A-486C-A8C5-ECC9F3942E4B}">
                    <a14:imgProps xmlns:a14="http://schemas.microsoft.com/office/drawing/2010/main">
                      <a14:imgLayer r:embed="rId5">
                        <a14:imgEffect>
                          <a14:artisticPhotocopy/>
                        </a14:imgEffect>
                        <a14:imgEffect>
                          <a14:brightnessContrast bright="-100000" contrast="-70000"/>
                        </a14:imgEffect>
                      </a14:imgLayer>
                    </a14:imgProps>
                  </a:ext>
                </a:extLst>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等线" panose="020F0502020204030204"/>
                <a:ea typeface="+mn-ea"/>
                <a:cs typeface="+mn-cs"/>
              </a:endParaRPr>
            </a:p>
          </p:txBody>
        </p:sp>
      </p:grpSp>
    </p:spTree>
    <p:extLst>
      <p:ext uri="{BB962C8B-B14F-4D97-AF65-F5344CB8AC3E}">
        <p14:creationId xmlns:p14="http://schemas.microsoft.com/office/powerpoint/2010/main" val="17020579"/>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8" presetClass="entr" presetSubtype="3" fill="hold" grpId="0" nodeType="withEffect">
                                  <p:stCondLst>
                                    <p:cond delay="0"/>
                                  </p:stCondLst>
                                  <p:childTnLst>
                                    <p:set>
                                      <p:cBhvr>
                                        <p:cTn id="6" dur="1" fill="hold">
                                          <p:stCondLst>
                                            <p:cond delay="0"/>
                                          </p:stCondLst>
                                        </p:cTn>
                                        <p:tgtEl>
                                          <p:spTgt spid="30"/>
                                        </p:tgtEl>
                                        <p:attrNameLst>
                                          <p:attrName>style.visibility</p:attrName>
                                        </p:attrNameLst>
                                      </p:cBhvr>
                                      <p:to>
                                        <p:strVal val="visible"/>
                                      </p:to>
                                    </p:set>
                                    <p:animEffect transition="in" filter="strips(upRight)">
                                      <p:cBhvr>
                                        <p:cTn id="7" dur="500"/>
                                        <p:tgtEl>
                                          <p:spTgt spid="30"/>
                                        </p:tgtEl>
                                      </p:cBhvr>
                                    </p:animEffect>
                                  </p:childTnLst>
                                </p:cTn>
                              </p:par>
                              <p:par>
                                <p:cTn id="8" presetID="6" presetClass="emph" presetSubtype="0" accel="52000" decel="48000" autoRev="1" fill="hold" grpId="1" nodeType="withEffect">
                                  <p:stCondLst>
                                    <p:cond delay="0"/>
                                  </p:stCondLst>
                                  <p:childTnLst>
                                    <p:animScale>
                                      <p:cBhvr>
                                        <p:cTn id="9" dur="350" fill="hold"/>
                                        <p:tgtEl>
                                          <p:spTgt spid="30"/>
                                        </p:tgtEl>
                                      </p:cBhvr>
                                      <p:by x="110000" y="110000"/>
                                    </p:animScale>
                                  </p:childTnLst>
                                </p:cTn>
                              </p:par>
                              <p:par>
                                <p:cTn id="10" presetID="10" presetClass="entr" presetSubtype="0" fill="hold" grpId="0" nodeType="withEffect">
                                  <p:stCondLst>
                                    <p:cond delay="500"/>
                                  </p:stCondLst>
                                  <p:childTnLst>
                                    <p:set>
                                      <p:cBhvr>
                                        <p:cTn id="11" dur="1" fill="hold">
                                          <p:stCondLst>
                                            <p:cond delay="0"/>
                                          </p:stCondLst>
                                        </p:cTn>
                                        <p:tgtEl>
                                          <p:spTgt spid="31"/>
                                        </p:tgtEl>
                                        <p:attrNameLst>
                                          <p:attrName>style.visibility</p:attrName>
                                        </p:attrNameLst>
                                      </p:cBhvr>
                                      <p:to>
                                        <p:strVal val="visible"/>
                                      </p:to>
                                    </p:set>
                                    <p:animEffect transition="in" filter="fade">
                                      <p:cBhvr>
                                        <p:cTn id="12" dur="750"/>
                                        <p:tgtEl>
                                          <p:spTgt spid="31"/>
                                        </p:tgtEl>
                                      </p:cBhvr>
                                    </p:animEffect>
                                  </p:childTnLst>
                                </p:cTn>
                              </p:par>
                              <p:par>
                                <p:cTn id="13" presetID="18" presetClass="entr" presetSubtype="3" fill="hold" grpId="0" nodeType="withEffect">
                                  <p:stCondLst>
                                    <p:cond delay="500"/>
                                  </p:stCondLst>
                                  <p:childTnLst>
                                    <p:set>
                                      <p:cBhvr>
                                        <p:cTn id="14" dur="1" fill="hold">
                                          <p:stCondLst>
                                            <p:cond delay="0"/>
                                          </p:stCondLst>
                                        </p:cTn>
                                        <p:tgtEl>
                                          <p:spTgt spid="2"/>
                                        </p:tgtEl>
                                        <p:attrNameLst>
                                          <p:attrName>style.visibility</p:attrName>
                                        </p:attrNameLst>
                                      </p:cBhvr>
                                      <p:to>
                                        <p:strVal val="visible"/>
                                      </p:to>
                                    </p:set>
                                    <p:animEffect transition="in" filter="strips(upRight)">
                                      <p:cBhvr>
                                        <p:cTn id="15" dur="500"/>
                                        <p:tgtEl>
                                          <p:spTgt spid="2"/>
                                        </p:tgtEl>
                                      </p:cBhvr>
                                    </p:animEffect>
                                  </p:childTnLst>
                                </p:cTn>
                              </p:par>
                              <p:par>
                                <p:cTn id="16" presetID="6" presetClass="emph" presetSubtype="0" accel="52000" decel="48000" autoRev="1" fill="hold" grpId="1" nodeType="withEffect">
                                  <p:stCondLst>
                                    <p:cond delay="500"/>
                                  </p:stCondLst>
                                  <p:childTnLst>
                                    <p:animScale>
                                      <p:cBhvr>
                                        <p:cTn id="17" dur="350" fill="hold"/>
                                        <p:tgtEl>
                                          <p:spTgt spid="2"/>
                                        </p:tgtEl>
                                      </p:cBhvr>
                                      <p:by x="110000" y="110000"/>
                                    </p:animScale>
                                  </p:childTnLst>
                                </p:cTn>
                              </p:par>
                              <p:par>
                                <p:cTn id="18" presetID="18" presetClass="entr" presetSubtype="3" fill="hold" nodeType="withEffect">
                                  <p:stCondLst>
                                    <p:cond delay="500"/>
                                  </p:stCondLst>
                                  <p:childTnLst>
                                    <p:set>
                                      <p:cBhvr>
                                        <p:cTn id="19" dur="1" fill="hold">
                                          <p:stCondLst>
                                            <p:cond delay="0"/>
                                          </p:stCondLst>
                                        </p:cTn>
                                        <p:tgtEl>
                                          <p:spTgt spid="3"/>
                                        </p:tgtEl>
                                        <p:attrNameLst>
                                          <p:attrName>style.visibility</p:attrName>
                                        </p:attrNameLst>
                                      </p:cBhvr>
                                      <p:to>
                                        <p:strVal val="visible"/>
                                      </p:to>
                                    </p:set>
                                    <p:animEffect transition="in" filter="strips(upRight)">
                                      <p:cBhvr>
                                        <p:cTn id="20" dur="500"/>
                                        <p:tgtEl>
                                          <p:spTgt spid="3"/>
                                        </p:tgtEl>
                                      </p:cBhvr>
                                    </p:animEffect>
                                  </p:childTnLst>
                                </p:cTn>
                              </p:par>
                              <p:par>
                                <p:cTn id="21" presetID="6" presetClass="emph" presetSubtype="0" accel="52000" decel="48000" autoRev="1" fill="hold" nodeType="withEffect">
                                  <p:stCondLst>
                                    <p:cond delay="500"/>
                                  </p:stCondLst>
                                  <p:childTnLst>
                                    <p:animScale>
                                      <p:cBhvr>
                                        <p:cTn id="22" dur="350" fill="hold"/>
                                        <p:tgtEl>
                                          <p:spTgt spid="3"/>
                                        </p:tgtEl>
                                      </p:cBhvr>
                                      <p:by x="110000" y="110000"/>
                                    </p:animScale>
                                  </p:childTnLst>
                                </p:cTn>
                              </p:par>
                              <p:par>
                                <p:cTn id="23" presetID="18" presetClass="entr" presetSubtype="3" fill="hold" nodeType="withEffect">
                                  <p:stCondLst>
                                    <p:cond delay="750"/>
                                  </p:stCondLst>
                                  <p:childTnLst>
                                    <p:set>
                                      <p:cBhvr>
                                        <p:cTn id="24" dur="1" fill="hold">
                                          <p:stCondLst>
                                            <p:cond delay="0"/>
                                          </p:stCondLst>
                                        </p:cTn>
                                        <p:tgtEl>
                                          <p:spTgt spid="35"/>
                                        </p:tgtEl>
                                        <p:attrNameLst>
                                          <p:attrName>style.visibility</p:attrName>
                                        </p:attrNameLst>
                                      </p:cBhvr>
                                      <p:to>
                                        <p:strVal val="visible"/>
                                      </p:to>
                                    </p:set>
                                    <p:animEffect transition="in" filter="strips(upRight)">
                                      <p:cBhvr>
                                        <p:cTn id="25" dur="500"/>
                                        <p:tgtEl>
                                          <p:spTgt spid="35"/>
                                        </p:tgtEl>
                                      </p:cBhvr>
                                    </p:animEffect>
                                  </p:childTnLst>
                                </p:cTn>
                              </p:par>
                              <p:par>
                                <p:cTn id="26" presetID="6" presetClass="emph" presetSubtype="0" accel="52000" decel="48000" autoRev="1" fill="hold" nodeType="withEffect">
                                  <p:stCondLst>
                                    <p:cond delay="750"/>
                                  </p:stCondLst>
                                  <p:childTnLst>
                                    <p:animScale>
                                      <p:cBhvr>
                                        <p:cTn id="27" dur="350" fill="hold"/>
                                        <p:tgtEl>
                                          <p:spTgt spid="35"/>
                                        </p:tgtEl>
                                      </p:cBhvr>
                                      <p:by x="110000" y="110000"/>
                                    </p:animScale>
                                  </p:childTnLst>
                                </p:cTn>
                              </p:par>
                              <p:par>
                                <p:cTn id="28" presetID="2" presetClass="entr" presetSubtype="4" decel="100000" fill="hold" nodeType="withEffect">
                                  <p:stCondLst>
                                    <p:cond delay="0"/>
                                  </p:stCondLst>
                                  <p:childTnLst>
                                    <p:set>
                                      <p:cBhvr>
                                        <p:cTn id="29" dur="1" fill="hold">
                                          <p:stCondLst>
                                            <p:cond delay="0"/>
                                          </p:stCondLst>
                                        </p:cTn>
                                        <p:tgtEl>
                                          <p:spTgt spid="32"/>
                                        </p:tgtEl>
                                        <p:attrNameLst>
                                          <p:attrName>style.visibility</p:attrName>
                                        </p:attrNameLst>
                                      </p:cBhvr>
                                      <p:to>
                                        <p:strVal val="visible"/>
                                      </p:to>
                                    </p:set>
                                    <p:anim calcmode="lin" valueType="num">
                                      <p:cBhvr additive="base">
                                        <p:cTn id="30" dur="1250" fill="hold"/>
                                        <p:tgtEl>
                                          <p:spTgt spid="32"/>
                                        </p:tgtEl>
                                        <p:attrNameLst>
                                          <p:attrName>ppt_x</p:attrName>
                                        </p:attrNameLst>
                                      </p:cBhvr>
                                      <p:tavLst>
                                        <p:tav tm="0">
                                          <p:val>
                                            <p:strVal val="#ppt_x"/>
                                          </p:val>
                                        </p:tav>
                                        <p:tav tm="100000">
                                          <p:val>
                                            <p:strVal val="#ppt_x"/>
                                          </p:val>
                                        </p:tav>
                                      </p:tavLst>
                                    </p:anim>
                                    <p:anim calcmode="lin" valueType="num">
                                      <p:cBhvr additive="base">
                                        <p:cTn id="31" dur="1250" fill="hold"/>
                                        <p:tgtEl>
                                          <p:spTgt spid="3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2" grpId="1" animBg="1"/>
      <p:bldP spid="30" grpId="0"/>
      <p:bldP spid="30" grpId="1"/>
      <p:bldP spid="31" grpId="0"/>
    </p:bldLst>
  </p:timing>
</p:sld>
</file>

<file path=ppt/slides/slide6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52D327-AA98-4D53-B826-DD9D0A7D83FF}"/>
              </a:ext>
            </a:extLst>
          </p:cNvPr>
          <p:cNvSpPr txBox="1">
            <a:spLocks/>
          </p:cNvSpPr>
          <p:nvPr/>
        </p:nvSpPr>
        <p:spPr>
          <a:xfrm>
            <a:off x="6885214" y="762453"/>
            <a:ext cx="5144861" cy="1922688"/>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4000" b="0" i="0" u="none" strike="noStrike" kern="1200" cap="none" spc="0" normalizeH="0" baseline="0" noProof="0">
                <a:ln>
                  <a:noFill/>
                </a:ln>
                <a:solidFill>
                  <a:srgbClr val="000000"/>
                </a:solidFill>
                <a:effectLst/>
                <a:uLnTx/>
                <a:uFillTx/>
                <a:latin typeface="等线 Light" panose="020F0302020204030204"/>
                <a:ea typeface="+mj-ea"/>
                <a:cs typeface="+mj-cs"/>
              </a:rPr>
              <a:t>Special Tree Diagram</a:t>
            </a:r>
            <a:endParaRPr kumimoji="0" lang="en-US" sz="4000" b="0" i="0" u="none" strike="noStrike" kern="1200" cap="none" spc="0" normalizeH="0" baseline="0" noProof="0" dirty="0">
              <a:ln>
                <a:noFill/>
              </a:ln>
              <a:solidFill>
                <a:srgbClr val="000000"/>
              </a:solidFill>
              <a:effectLst/>
              <a:uLnTx/>
              <a:uFillTx/>
              <a:latin typeface="等线 Light" panose="020F0302020204030204"/>
              <a:ea typeface="+mj-ea"/>
              <a:cs typeface="+mj-cs"/>
            </a:endParaRPr>
          </a:p>
        </p:txBody>
      </p:sp>
      <p:grpSp>
        <p:nvGrpSpPr>
          <p:cNvPr id="4" name="Group 27">
            <a:extLst>
              <a:ext uri="{FF2B5EF4-FFF2-40B4-BE49-F238E27FC236}">
                <a16:creationId xmlns:a16="http://schemas.microsoft.com/office/drawing/2014/main" id="{02A0A1F4-5A90-4386-B583-93E379548590}"/>
              </a:ext>
            </a:extLst>
          </p:cNvPr>
          <p:cNvGrpSpPr/>
          <p:nvPr/>
        </p:nvGrpSpPr>
        <p:grpSpPr>
          <a:xfrm>
            <a:off x="806225" y="360450"/>
            <a:ext cx="5159147" cy="6497550"/>
            <a:chOff x="806225" y="360450"/>
            <a:chExt cx="5159147" cy="6497550"/>
          </a:xfrm>
        </p:grpSpPr>
        <p:sp>
          <p:nvSpPr>
            <p:cNvPr id="5" name="Freeform 7">
              <a:extLst>
                <a:ext uri="{FF2B5EF4-FFF2-40B4-BE49-F238E27FC236}">
                  <a16:creationId xmlns:a16="http://schemas.microsoft.com/office/drawing/2014/main" id="{8C9344C6-1BD7-4CB0-B951-FE7F2EA67AFB}"/>
                </a:ext>
              </a:extLst>
            </p:cNvPr>
            <p:cNvSpPr>
              <a:spLocks/>
            </p:cNvSpPr>
            <p:nvPr/>
          </p:nvSpPr>
          <p:spPr bwMode="auto">
            <a:xfrm rot="3600000">
              <a:off x="1085627" y="843598"/>
              <a:ext cx="1950690" cy="984393"/>
            </a:xfrm>
            <a:custGeom>
              <a:avLst/>
              <a:gdLst>
                <a:gd name="T0" fmla="*/ 4456 w 8085"/>
                <a:gd name="T1" fmla="*/ 75 h 16320"/>
                <a:gd name="T2" fmla="*/ 5053 w 8085"/>
                <a:gd name="T3" fmla="*/ 448 h 16320"/>
                <a:gd name="T4" fmla="*/ 5616 w 8085"/>
                <a:gd name="T5" fmla="*/ 1081 h 16320"/>
                <a:gd name="T6" fmla="*/ 6138 w 8085"/>
                <a:gd name="T7" fmla="*/ 1921 h 16320"/>
                <a:gd name="T8" fmla="*/ 6613 w 8085"/>
                <a:gd name="T9" fmla="*/ 2912 h 16320"/>
                <a:gd name="T10" fmla="*/ 7035 w 8085"/>
                <a:gd name="T11" fmla="*/ 4000 h 16320"/>
                <a:gd name="T12" fmla="*/ 7395 w 8085"/>
                <a:gd name="T13" fmla="*/ 5130 h 16320"/>
                <a:gd name="T14" fmla="*/ 7687 w 8085"/>
                <a:gd name="T15" fmla="*/ 6246 h 16320"/>
                <a:gd name="T16" fmla="*/ 7903 w 8085"/>
                <a:gd name="T17" fmla="*/ 7295 h 16320"/>
                <a:gd name="T18" fmla="*/ 8038 w 8085"/>
                <a:gd name="T19" fmla="*/ 8220 h 16320"/>
                <a:gd name="T20" fmla="*/ 8085 w 8085"/>
                <a:gd name="T21" fmla="*/ 8968 h 16320"/>
                <a:gd name="T22" fmla="*/ 8038 w 8085"/>
                <a:gd name="T23" fmla="*/ 9675 h 16320"/>
                <a:gd name="T24" fmla="*/ 7903 w 8085"/>
                <a:gd name="T25" fmla="*/ 10492 h 16320"/>
                <a:gd name="T26" fmla="*/ 7687 w 8085"/>
                <a:gd name="T27" fmla="*/ 11377 h 16320"/>
                <a:gd name="T28" fmla="*/ 7395 w 8085"/>
                <a:gd name="T29" fmla="*/ 12294 h 16320"/>
                <a:gd name="T30" fmla="*/ 7035 w 8085"/>
                <a:gd name="T31" fmla="*/ 13203 h 16320"/>
                <a:gd name="T32" fmla="*/ 6613 w 8085"/>
                <a:gd name="T33" fmla="*/ 14065 h 16320"/>
                <a:gd name="T34" fmla="*/ 6138 w 8085"/>
                <a:gd name="T35" fmla="*/ 14841 h 16320"/>
                <a:gd name="T36" fmla="*/ 5616 w 8085"/>
                <a:gd name="T37" fmla="*/ 15492 h 16320"/>
                <a:gd name="T38" fmla="*/ 5053 w 8085"/>
                <a:gd name="T39" fmla="*/ 15978 h 16320"/>
                <a:gd name="T40" fmla="*/ 4456 w 8085"/>
                <a:gd name="T41" fmla="*/ 16263 h 16320"/>
                <a:gd name="T42" fmla="*/ 3834 w 8085"/>
                <a:gd name="T43" fmla="*/ 16306 h 16320"/>
                <a:gd name="T44" fmla="*/ 3228 w 8085"/>
                <a:gd name="T45" fmla="*/ 16098 h 16320"/>
                <a:gd name="T46" fmla="*/ 2653 w 8085"/>
                <a:gd name="T47" fmla="*/ 15673 h 16320"/>
                <a:gd name="T48" fmla="*/ 2116 w 8085"/>
                <a:gd name="T49" fmla="*/ 15074 h 16320"/>
                <a:gd name="T50" fmla="*/ 1624 w 8085"/>
                <a:gd name="T51" fmla="*/ 14335 h 16320"/>
                <a:gd name="T52" fmla="*/ 1184 w 8085"/>
                <a:gd name="T53" fmla="*/ 13498 h 16320"/>
                <a:gd name="T54" fmla="*/ 803 w 8085"/>
                <a:gd name="T55" fmla="*/ 12600 h 16320"/>
                <a:gd name="T56" fmla="*/ 488 w 8085"/>
                <a:gd name="T57" fmla="*/ 11682 h 16320"/>
                <a:gd name="T58" fmla="*/ 245 w 8085"/>
                <a:gd name="T59" fmla="*/ 10781 h 16320"/>
                <a:gd name="T60" fmla="*/ 82 w 8085"/>
                <a:gd name="T61" fmla="*/ 9937 h 16320"/>
                <a:gd name="T62" fmla="*/ 5 w 8085"/>
                <a:gd name="T63" fmla="*/ 9189 h 16320"/>
                <a:gd name="T64" fmla="*/ 21 w 8085"/>
                <a:gd name="T65" fmla="*/ 8492 h 16320"/>
                <a:gd name="T66" fmla="*/ 127 w 8085"/>
                <a:gd name="T67" fmla="*/ 7619 h 16320"/>
                <a:gd name="T68" fmla="*/ 318 w 8085"/>
                <a:gd name="T69" fmla="*/ 6606 h 16320"/>
                <a:gd name="T70" fmla="*/ 585 w 8085"/>
                <a:gd name="T71" fmla="*/ 5506 h 16320"/>
                <a:gd name="T72" fmla="*/ 923 w 8085"/>
                <a:gd name="T73" fmla="*/ 4375 h 16320"/>
                <a:gd name="T74" fmla="*/ 1324 w 8085"/>
                <a:gd name="T75" fmla="*/ 3267 h 16320"/>
                <a:gd name="T76" fmla="*/ 1783 w 8085"/>
                <a:gd name="T77" fmla="*/ 2237 h 16320"/>
                <a:gd name="T78" fmla="*/ 2290 w 8085"/>
                <a:gd name="T79" fmla="*/ 1340 h 16320"/>
                <a:gd name="T80" fmla="*/ 2840 w 8085"/>
                <a:gd name="T81" fmla="*/ 632 h 16320"/>
                <a:gd name="T82" fmla="*/ 3427 w 8085"/>
                <a:gd name="T83" fmla="*/ 167 h 16320"/>
                <a:gd name="T84" fmla="*/ 4043 w 8085"/>
                <a:gd name="T85" fmla="*/ 0 h 16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085" h="16320">
                  <a:moveTo>
                    <a:pt x="4043" y="0"/>
                  </a:moveTo>
                  <a:lnTo>
                    <a:pt x="4251" y="19"/>
                  </a:lnTo>
                  <a:lnTo>
                    <a:pt x="4456" y="75"/>
                  </a:lnTo>
                  <a:lnTo>
                    <a:pt x="4658" y="167"/>
                  </a:lnTo>
                  <a:lnTo>
                    <a:pt x="4857" y="292"/>
                  </a:lnTo>
                  <a:lnTo>
                    <a:pt x="5053" y="448"/>
                  </a:lnTo>
                  <a:lnTo>
                    <a:pt x="5245" y="632"/>
                  </a:lnTo>
                  <a:lnTo>
                    <a:pt x="5432" y="845"/>
                  </a:lnTo>
                  <a:lnTo>
                    <a:pt x="5616" y="1081"/>
                  </a:lnTo>
                  <a:lnTo>
                    <a:pt x="5795" y="1340"/>
                  </a:lnTo>
                  <a:lnTo>
                    <a:pt x="5969" y="1622"/>
                  </a:lnTo>
                  <a:lnTo>
                    <a:pt x="6138" y="1921"/>
                  </a:lnTo>
                  <a:lnTo>
                    <a:pt x="6302" y="2237"/>
                  </a:lnTo>
                  <a:lnTo>
                    <a:pt x="6461" y="2568"/>
                  </a:lnTo>
                  <a:lnTo>
                    <a:pt x="6613" y="2912"/>
                  </a:lnTo>
                  <a:lnTo>
                    <a:pt x="6761" y="3267"/>
                  </a:lnTo>
                  <a:lnTo>
                    <a:pt x="6901" y="3630"/>
                  </a:lnTo>
                  <a:lnTo>
                    <a:pt x="7035" y="4000"/>
                  </a:lnTo>
                  <a:lnTo>
                    <a:pt x="7162" y="4375"/>
                  </a:lnTo>
                  <a:lnTo>
                    <a:pt x="7282" y="4752"/>
                  </a:lnTo>
                  <a:lnTo>
                    <a:pt x="7395" y="5130"/>
                  </a:lnTo>
                  <a:lnTo>
                    <a:pt x="7500" y="5506"/>
                  </a:lnTo>
                  <a:lnTo>
                    <a:pt x="7597" y="5879"/>
                  </a:lnTo>
                  <a:lnTo>
                    <a:pt x="7687" y="6246"/>
                  </a:lnTo>
                  <a:lnTo>
                    <a:pt x="7767" y="6606"/>
                  </a:lnTo>
                  <a:lnTo>
                    <a:pt x="7840" y="6956"/>
                  </a:lnTo>
                  <a:lnTo>
                    <a:pt x="7903" y="7295"/>
                  </a:lnTo>
                  <a:lnTo>
                    <a:pt x="7958" y="7619"/>
                  </a:lnTo>
                  <a:lnTo>
                    <a:pt x="8003" y="7928"/>
                  </a:lnTo>
                  <a:lnTo>
                    <a:pt x="8038" y="8220"/>
                  </a:lnTo>
                  <a:lnTo>
                    <a:pt x="8064" y="8492"/>
                  </a:lnTo>
                  <a:lnTo>
                    <a:pt x="8080" y="8741"/>
                  </a:lnTo>
                  <a:lnTo>
                    <a:pt x="8085" y="8968"/>
                  </a:lnTo>
                  <a:lnTo>
                    <a:pt x="8080" y="9189"/>
                  </a:lnTo>
                  <a:lnTo>
                    <a:pt x="8064" y="9426"/>
                  </a:lnTo>
                  <a:lnTo>
                    <a:pt x="8038" y="9675"/>
                  </a:lnTo>
                  <a:lnTo>
                    <a:pt x="8003" y="9937"/>
                  </a:lnTo>
                  <a:lnTo>
                    <a:pt x="7958" y="10210"/>
                  </a:lnTo>
                  <a:lnTo>
                    <a:pt x="7903" y="10492"/>
                  </a:lnTo>
                  <a:lnTo>
                    <a:pt x="7840" y="10781"/>
                  </a:lnTo>
                  <a:lnTo>
                    <a:pt x="7767" y="11077"/>
                  </a:lnTo>
                  <a:lnTo>
                    <a:pt x="7687" y="11377"/>
                  </a:lnTo>
                  <a:lnTo>
                    <a:pt x="7597" y="11682"/>
                  </a:lnTo>
                  <a:lnTo>
                    <a:pt x="7500" y="11988"/>
                  </a:lnTo>
                  <a:lnTo>
                    <a:pt x="7395" y="12294"/>
                  </a:lnTo>
                  <a:lnTo>
                    <a:pt x="7282" y="12600"/>
                  </a:lnTo>
                  <a:lnTo>
                    <a:pt x="7162" y="12904"/>
                  </a:lnTo>
                  <a:lnTo>
                    <a:pt x="7035" y="13203"/>
                  </a:lnTo>
                  <a:lnTo>
                    <a:pt x="6901" y="13498"/>
                  </a:lnTo>
                  <a:lnTo>
                    <a:pt x="6761" y="13785"/>
                  </a:lnTo>
                  <a:lnTo>
                    <a:pt x="6613" y="14065"/>
                  </a:lnTo>
                  <a:lnTo>
                    <a:pt x="6461" y="14335"/>
                  </a:lnTo>
                  <a:lnTo>
                    <a:pt x="6302" y="14594"/>
                  </a:lnTo>
                  <a:lnTo>
                    <a:pt x="6138" y="14841"/>
                  </a:lnTo>
                  <a:lnTo>
                    <a:pt x="5969" y="15074"/>
                  </a:lnTo>
                  <a:lnTo>
                    <a:pt x="5795" y="15291"/>
                  </a:lnTo>
                  <a:lnTo>
                    <a:pt x="5616" y="15492"/>
                  </a:lnTo>
                  <a:lnTo>
                    <a:pt x="5432" y="15673"/>
                  </a:lnTo>
                  <a:lnTo>
                    <a:pt x="5245" y="15837"/>
                  </a:lnTo>
                  <a:lnTo>
                    <a:pt x="5053" y="15978"/>
                  </a:lnTo>
                  <a:lnTo>
                    <a:pt x="4857" y="16098"/>
                  </a:lnTo>
                  <a:lnTo>
                    <a:pt x="4658" y="16193"/>
                  </a:lnTo>
                  <a:lnTo>
                    <a:pt x="4456" y="16263"/>
                  </a:lnTo>
                  <a:lnTo>
                    <a:pt x="4251" y="16306"/>
                  </a:lnTo>
                  <a:lnTo>
                    <a:pt x="4043" y="16320"/>
                  </a:lnTo>
                  <a:lnTo>
                    <a:pt x="3834" y="16306"/>
                  </a:lnTo>
                  <a:lnTo>
                    <a:pt x="3629" y="16263"/>
                  </a:lnTo>
                  <a:lnTo>
                    <a:pt x="3427" y="16193"/>
                  </a:lnTo>
                  <a:lnTo>
                    <a:pt x="3228" y="16098"/>
                  </a:lnTo>
                  <a:lnTo>
                    <a:pt x="3032" y="15978"/>
                  </a:lnTo>
                  <a:lnTo>
                    <a:pt x="2840" y="15837"/>
                  </a:lnTo>
                  <a:lnTo>
                    <a:pt x="2653" y="15673"/>
                  </a:lnTo>
                  <a:lnTo>
                    <a:pt x="2469" y="15492"/>
                  </a:lnTo>
                  <a:lnTo>
                    <a:pt x="2290" y="15291"/>
                  </a:lnTo>
                  <a:lnTo>
                    <a:pt x="2116" y="15074"/>
                  </a:lnTo>
                  <a:lnTo>
                    <a:pt x="1947" y="14841"/>
                  </a:lnTo>
                  <a:lnTo>
                    <a:pt x="1783" y="14594"/>
                  </a:lnTo>
                  <a:lnTo>
                    <a:pt x="1624" y="14335"/>
                  </a:lnTo>
                  <a:lnTo>
                    <a:pt x="1472" y="14065"/>
                  </a:lnTo>
                  <a:lnTo>
                    <a:pt x="1324" y="13785"/>
                  </a:lnTo>
                  <a:lnTo>
                    <a:pt x="1184" y="13498"/>
                  </a:lnTo>
                  <a:lnTo>
                    <a:pt x="1050" y="13203"/>
                  </a:lnTo>
                  <a:lnTo>
                    <a:pt x="923" y="12904"/>
                  </a:lnTo>
                  <a:lnTo>
                    <a:pt x="803" y="12600"/>
                  </a:lnTo>
                  <a:lnTo>
                    <a:pt x="690" y="12294"/>
                  </a:lnTo>
                  <a:lnTo>
                    <a:pt x="585" y="11988"/>
                  </a:lnTo>
                  <a:lnTo>
                    <a:pt x="488" y="11682"/>
                  </a:lnTo>
                  <a:lnTo>
                    <a:pt x="398" y="11377"/>
                  </a:lnTo>
                  <a:lnTo>
                    <a:pt x="318" y="11077"/>
                  </a:lnTo>
                  <a:lnTo>
                    <a:pt x="245" y="10781"/>
                  </a:lnTo>
                  <a:lnTo>
                    <a:pt x="182" y="10492"/>
                  </a:lnTo>
                  <a:lnTo>
                    <a:pt x="127" y="10210"/>
                  </a:lnTo>
                  <a:lnTo>
                    <a:pt x="82" y="9937"/>
                  </a:lnTo>
                  <a:lnTo>
                    <a:pt x="47" y="9675"/>
                  </a:lnTo>
                  <a:lnTo>
                    <a:pt x="21" y="9426"/>
                  </a:lnTo>
                  <a:lnTo>
                    <a:pt x="5" y="9189"/>
                  </a:lnTo>
                  <a:lnTo>
                    <a:pt x="0" y="8968"/>
                  </a:lnTo>
                  <a:lnTo>
                    <a:pt x="5" y="8741"/>
                  </a:lnTo>
                  <a:lnTo>
                    <a:pt x="21" y="8492"/>
                  </a:lnTo>
                  <a:lnTo>
                    <a:pt x="47" y="8220"/>
                  </a:lnTo>
                  <a:lnTo>
                    <a:pt x="82" y="7928"/>
                  </a:lnTo>
                  <a:lnTo>
                    <a:pt x="127" y="7619"/>
                  </a:lnTo>
                  <a:lnTo>
                    <a:pt x="182" y="7295"/>
                  </a:lnTo>
                  <a:lnTo>
                    <a:pt x="245" y="6956"/>
                  </a:lnTo>
                  <a:lnTo>
                    <a:pt x="318" y="6606"/>
                  </a:lnTo>
                  <a:lnTo>
                    <a:pt x="398" y="6246"/>
                  </a:lnTo>
                  <a:lnTo>
                    <a:pt x="488" y="5879"/>
                  </a:lnTo>
                  <a:lnTo>
                    <a:pt x="585" y="5506"/>
                  </a:lnTo>
                  <a:lnTo>
                    <a:pt x="690" y="5130"/>
                  </a:lnTo>
                  <a:lnTo>
                    <a:pt x="803" y="4752"/>
                  </a:lnTo>
                  <a:lnTo>
                    <a:pt x="923" y="4375"/>
                  </a:lnTo>
                  <a:lnTo>
                    <a:pt x="1050" y="4000"/>
                  </a:lnTo>
                  <a:lnTo>
                    <a:pt x="1184" y="3630"/>
                  </a:lnTo>
                  <a:lnTo>
                    <a:pt x="1324" y="3267"/>
                  </a:lnTo>
                  <a:lnTo>
                    <a:pt x="1472" y="2912"/>
                  </a:lnTo>
                  <a:lnTo>
                    <a:pt x="1624" y="2568"/>
                  </a:lnTo>
                  <a:lnTo>
                    <a:pt x="1783" y="2237"/>
                  </a:lnTo>
                  <a:lnTo>
                    <a:pt x="1947" y="1921"/>
                  </a:lnTo>
                  <a:lnTo>
                    <a:pt x="2116" y="1622"/>
                  </a:lnTo>
                  <a:lnTo>
                    <a:pt x="2290" y="1340"/>
                  </a:lnTo>
                  <a:lnTo>
                    <a:pt x="2469" y="1081"/>
                  </a:lnTo>
                  <a:lnTo>
                    <a:pt x="2653" y="845"/>
                  </a:lnTo>
                  <a:lnTo>
                    <a:pt x="2840" y="632"/>
                  </a:lnTo>
                  <a:lnTo>
                    <a:pt x="3032" y="448"/>
                  </a:lnTo>
                  <a:lnTo>
                    <a:pt x="3228" y="292"/>
                  </a:lnTo>
                  <a:lnTo>
                    <a:pt x="3427" y="167"/>
                  </a:lnTo>
                  <a:lnTo>
                    <a:pt x="3629" y="75"/>
                  </a:lnTo>
                  <a:lnTo>
                    <a:pt x="3834" y="19"/>
                  </a:lnTo>
                  <a:lnTo>
                    <a:pt x="4043" y="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6" name="Freeform 8">
              <a:extLst>
                <a:ext uri="{FF2B5EF4-FFF2-40B4-BE49-F238E27FC236}">
                  <a16:creationId xmlns:a16="http://schemas.microsoft.com/office/drawing/2014/main" id="{D2EA3C1B-3923-4510-B3C7-58C3CD49C740}"/>
                </a:ext>
              </a:extLst>
            </p:cNvPr>
            <p:cNvSpPr>
              <a:spLocks/>
            </p:cNvSpPr>
            <p:nvPr/>
          </p:nvSpPr>
          <p:spPr bwMode="auto">
            <a:xfrm rot="6300000">
              <a:off x="2382126" y="1366407"/>
              <a:ext cx="1392535" cy="702726"/>
            </a:xfrm>
            <a:custGeom>
              <a:avLst/>
              <a:gdLst>
                <a:gd name="T0" fmla="*/ 4456 w 8085"/>
                <a:gd name="T1" fmla="*/ 75 h 16320"/>
                <a:gd name="T2" fmla="*/ 5053 w 8085"/>
                <a:gd name="T3" fmla="*/ 448 h 16320"/>
                <a:gd name="T4" fmla="*/ 5616 w 8085"/>
                <a:gd name="T5" fmla="*/ 1081 h 16320"/>
                <a:gd name="T6" fmla="*/ 6138 w 8085"/>
                <a:gd name="T7" fmla="*/ 1921 h 16320"/>
                <a:gd name="T8" fmla="*/ 6613 w 8085"/>
                <a:gd name="T9" fmla="*/ 2912 h 16320"/>
                <a:gd name="T10" fmla="*/ 7035 w 8085"/>
                <a:gd name="T11" fmla="*/ 4000 h 16320"/>
                <a:gd name="T12" fmla="*/ 7395 w 8085"/>
                <a:gd name="T13" fmla="*/ 5130 h 16320"/>
                <a:gd name="T14" fmla="*/ 7687 w 8085"/>
                <a:gd name="T15" fmla="*/ 6246 h 16320"/>
                <a:gd name="T16" fmla="*/ 7903 w 8085"/>
                <a:gd name="T17" fmla="*/ 7295 h 16320"/>
                <a:gd name="T18" fmla="*/ 8038 w 8085"/>
                <a:gd name="T19" fmla="*/ 8220 h 16320"/>
                <a:gd name="T20" fmla="*/ 8085 w 8085"/>
                <a:gd name="T21" fmla="*/ 8968 h 16320"/>
                <a:gd name="T22" fmla="*/ 8038 w 8085"/>
                <a:gd name="T23" fmla="*/ 9675 h 16320"/>
                <a:gd name="T24" fmla="*/ 7903 w 8085"/>
                <a:gd name="T25" fmla="*/ 10492 h 16320"/>
                <a:gd name="T26" fmla="*/ 7687 w 8085"/>
                <a:gd name="T27" fmla="*/ 11377 h 16320"/>
                <a:gd name="T28" fmla="*/ 7395 w 8085"/>
                <a:gd name="T29" fmla="*/ 12294 h 16320"/>
                <a:gd name="T30" fmla="*/ 7035 w 8085"/>
                <a:gd name="T31" fmla="*/ 13203 h 16320"/>
                <a:gd name="T32" fmla="*/ 6613 w 8085"/>
                <a:gd name="T33" fmla="*/ 14065 h 16320"/>
                <a:gd name="T34" fmla="*/ 6138 w 8085"/>
                <a:gd name="T35" fmla="*/ 14841 h 16320"/>
                <a:gd name="T36" fmla="*/ 5616 w 8085"/>
                <a:gd name="T37" fmla="*/ 15492 h 16320"/>
                <a:gd name="T38" fmla="*/ 5053 w 8085"/>
                <a:gd name="T39" fmla="*/ 15978 h 16320"/>
                <a:gd name="T40" fmla="*/ 4456 w 8085"/>
                <a:gd name="T41" fmla="*/ 16263 h 16320"/>
                <a:gd name="T42" fmla="*/ 3834 w 8085"/>
                <a:gd name="T43" fmla="*/ 16306 h 16320"/>
                <a:gd name="T44" fmla="*/ 3228 w 8085"/>
                <a:gd name="T45" fmla="*/ 16098 h 16320"/>
                <a:gd name="T46" fmla="*/ 2653 w 8085"/>
                <a:gd name="T47" fmla="*/ 15673 h 16320"/>
                <a:gd name="T48" fmla="*/ 2116 w 8085"/>
                <a:gd name="T49" fmla="*/ 15074 h 16320"/>
                <a:gd name="T50" fmla="*/ 1624 w 8085"/>
                <a:gd name="T51" fmla="*/ 14335 h 16320"/>
                <a:gd name="T52" fmla="*/ 1184 w 8085"/>
                <a:gd name="T53" fmla="*/ 13498 h 16320"/>
                <a:gd name="T54" fmla="*/ 803 w 8085"/>
                <a:gd name="T55" fmla="*/ 12600 h 16320"/>
                <a:gd name="T56" fmla="*/ 488 w 8085"/>
                <a:gd name="T57" fmla="*/ 11682 h 16320"/>
                <a:gd name="T58" fmla="*/ 245 w 8085"/>
                <a:gd name="T59" fmla="*/ 10781 h 16320"/>
                <a:gd name="T60" fmla="*/ 82 w 8085"/>
                <a:gd name="T61" fmla="*/ 9937 h 16320"/>
                <a:gd name="T62" fmla="*/ 5 w 8085"/>
                <a:gd name="T63" fmla="*/ 9189 h 16320"/>
                <a:gd name="T64" fmla="*/ 21 w 8085"/>
                <a:gd name="T65" fmla="*/ 8492 h 16320"/>
                <a:gd name="T66" fmla="*/ 127 w 8085"/>
                <a:gd name="T67" fmla="*/ 7619 h 16320"/>
                <a:gd name="T68" fmla="*/ 318 w 8085"/>
                <a:gd name="T69" fmla="*/ 6606 h 16320"/>
                <a:gd name="T70" fmla="*/ 585 w 8085"/>
                <a:gd name="T71" fmla="*/ 5506 h 16320"/>
                <a:gd name="T72" fmla="*/ 923 w 8085"/>
                <a:gd name="T73" fmla="*/ 4375 h 16320"/>
                <a:gd name="T74" fmla="*/ 1324 w 8085"/>
                <a:gd name="T75" fmla="*/ 3267 h 16320"/>
                <a:gd name="T76" fmla="*/ 1783 w 8085"/>
                <a:gd name="T77" fmla="*/ 2237 h 16320"/>
                <a:gd name="T78" fmla="*/ 2290 w 8085"/>
                <a:gd name="T79" fmla="*/ 1340 h 16320"/>
                <a:gd name="T80" fmla="*/ 2840 w 8085"/>
                <a:gd name="T81" fmla="*/ 632 h 16320"/>
                <a:gd name="T82" fmla="*/ 3427 w 8085"/>
                <a:gd name="T83" fmla="*/ 167 h 16320"/>
                <a:gd name="T84" fmla="*/ 4043 w 8085"/>
                <a:gd name="T85" fmla="*/ 0 h 16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085" h="16320">
                  <a:moveTo>
                    <a:pt x="4043" y="0"/>
                  </a:moveTo>
                  <a:lnTo>
                    <a:pt x="4251" y="19"/>
                  </a:lnTo>
                  <a:lnTo>
                    <a:pt x="4456" y="75"/>
                  </a:lnTo>
                  <a:lnTo>
                    <a:pt x="4658" y="167"/>
                  </a:lnTo>
                  <a:lnTo>
                    <a:pt x="4857" y="292"/>
                  </a:lnTo>
                  <a:lnTo>
                    <a:pt x="5053" y="448"/>
                  </a:lnTo>
                  <a:lnTo>
                    <a:pt x="5245" y="632"/>
                  </a:lnTo>
                  <a:lnTo>
                    <a:pt x="5432" y="845"/>
                  </a:lnTo>
                  <a:lnTo>
                    <a:pt x="5616" y="1081"/>
                  </a:lnTo>
                  <a:lnTo>
                    <a:pt x="5795" y="1340"/>
                  </a:lnTo>
                  <a:lnTo>
                    <a:pt x="5969" y="1622"/>
                  </a:lnTo>
                  <a:lnTo>
                    <a:pt x="6138" y="1921"/>
                  </a:lnTo>
                  <a:lnTo>
                    <a:pt x="6302" y="2237"/>
                  </a:lnTo>
                  <a:lnTo>
                    <a:pt x="6461" y="2568"/>
                  </a:lnTo>
                  <a:lnTo>
                    <a:pt x="6613" y="2912"/>
                  </a:lnTo>
                  <a:lnTo>
                    <a:pt x="6761" y="3267"/>
                  </a:lnTo>
                  <a:lnTo>
                    <a:pt x="6901" y="3630"/>
                  </a:lnTo>
                  <a:lnTo>
                    <a:pt x="7035" y="4000"/>
                  </a:lnTo>
                  <a:lnTo>
                    <a:pt x="7162" y="4375"/>
                  </a:lnTo>
                  <a:lnTo>
                    <a:pt x="7282" y="4752"/>
                  </a:lnTo>
                  <a:lnTo>
                    <a:pt x="7395" y="5130"/>
                  </a:lnTo>
                  <a:lnTo>
                    <a:pt x="7500" y="5506"/>
                  </a:lnTo>
                  <a:lnTo>
                    <a:pt x="7597" y="5879"/>
                  </a:lnTo>
                  <a:lnTo>
                    <a:pt x="7687" y="6246"/>
                  </a:lnTo>
                  <a:lnTo>
                    <a:pt x="7767" y="6606"/>
                  </a:lnTo>
                  <a:lnTo>
                    <a:pt x="7840" y="6956"/>
                  </a:lnTo>
                  <a:lnTo>
                    <a:pt x="7903" y="7295"/>
                  </a:lnTo>
                  <a:lnTo>
                    <a:pt x="7958" y="7619"/>
                  </a:lnTo>
                  <a:lnTo>
                    <a:pt x="8003" y="7928"/>
                  </a:lnTo>
                  <a:lnTo>
                    <a:pt x="8038" y="8220"/>
                  </a:lnTo>
                  <a:lnTo>
                    <a:pt x="8064" y="8492"/>
                  </a:lnTo>
                  <a:lnTo>
                    <a:pt x="8080" y="8741"/>
                  </a:lnTo>
                  <a:lnTo>
                    <a:pt x="8085" y="8968"/>
                  </a:lnTo>
                  <a:lnTo>
                    <a:pt x="8080" y="9189"/>
                  </a:lnTo>
                  <a:lnTo>
                    <a:pt x="8064" y="9426"/>
                  </a:lnTo>
                  <a:lnTo>
                    <a:pt x="8038" y="9675"/>
                  </a:lnTo>
                  <a:lnTo>
                    <a:pt x="8003" y="9937"/>
                  </a:lnTo>
                  <a:lnTo>
                    <a:pt x="7958" y="10210"/>
                  </a:lnTo>
                  <a:lnTo>
                    <a:pt x="7903" y="10492"/>
                  </a:lnTo>
                  <a:lnTo>
                    <a:pt x="7840" y="10781"/>
                  </a:lnTo>
                  <a:lnTo>
                    <a:pt x="7767" y="11077"/>
                  </a:lnTo>
                  <a:lnTo>
                    <a:pt x="7687" y="11377"/>
                  </a:lnTo>
                  <a:lnTo>
                    <a:pt x="7597" y="11682"/>
                  </a:lnTo>
                  <a:lnTo>
                    <a:pt x="7500" y="11988"/>
                  </a:lnTo>
                  <a:lnTo>
                    <a:pt x="7395" y="12294"/>
                  </a:lnTo>
                  <a:lnTo>
                    <a:pt x="7282" y="12600"/>
                  </a:lnTo>
                  <a:lnTo>
                    <a:pt x="7162" y="12904"/>
                  </a:lnTo>
                  <a:lnTo>
                    <a:pt x="7035" y="13203"/>
                  </a:lnTo>
                  <a:lnTo>
                    <a:pt x="6901" y="13498"/>
                  </a:lnTo>
                  <a:lnTo>
                    <a:pt x="6761" y="13785"/>
                  </a:lnTo>
                  <a:lnTo>
                    <a:pt x="6613" y="14065"/>
                  </a:lnTo>
                  <a:lnTo>
                    <a:pt x="6461" y="14335"/>
                  </a:lnTo>
                  <a:lnTo>
                    <a:pt x="6302" y="14594"/>
                  </a:lnTo>
                  <a:lnTo>
                    <a:pt x="6138" y="14841"/>
                  </a:lnTo>
                  <a:lnTo>
                    <a:pt x="5969" y="15074"/>
                  </a:lnTo>
                  <a:lnTo>
                    <a:pt x="5795" y="15291"/>
                  </a:lnTo>
                  <a:lnTo>
                    <a:pt x="5616" y="15492"/>
                  </a:lnTo>
                  <a:lnTo>
                    <a:pt x="5432" y="15673"/>
                  </a:lnTo>
                  <a:lnTo>
                    <a:pt x="5245" y="15837"/>
                  </a:lnTo>
                  <a:lnTo>
                    <a:pt x="5053" y="15978"/>
                  </a:lnTo>
                  <a:lnTo>
                    <a:pt x="4857" y="16098"/>
                  </a:lnTo>
                  <a:lnTo>
                    <a:pt x="4658" y="16193"/>
                  </a:lnTo>
                  <a:lnTo>
                    <a:pt x="4456" y="16263"/>
                  </a:lnTo>
                  <a:lnTo>
                    <a:pt x="4251" y="16306"/>
                  </a:lnTo>
                  <a:lnTo>
                    <a:pt x="4043" y="16320"/>
                  </a:lnTo>
                  <a:lnTo>
                    <a:pt x="3834" y="16306"/>
                  </a:lnTo>
                  <a:lnTo>
                    <a:pt x="3629" y="16263"/>
                  </a:lnTo>
                  <a:lnTo>
                    <a:pt x="3427" y="16193"/>
                  </a:lnTo>
                  <a:lnTo>
                    <a:pt x="3228" y="16098"/>
                  </a:lnTo>
                  <a:lnTo>
                    <a:pt x="3032" y="15978"/>
                  </a:lnTo>
                  <a:lnTo>
                    <a:pt x="2840" y="15837"/>
                  </a:lnTo>
                  <a:lnTo>
                    <a:pt x="2653" y="15673"/>
                  </a:lnTo>
                  <a:lnTo>
                    <a:pt x="2469" y="15492"/>
                  </a:lnTo>
                  <a:lnTo>
                    <a:pt x="2290" y="15291"/>
                  </a:lnTo>
                  <a:lnTo>
                    <a:pt x="2116" y="15074"/>
                  </a:lnTo>
                  <a:lnTo>
                    <a:pt x="1947" y="14841"/>
                  </a:lnTo>
                  <a:lnTo>
                    <a:pt x="1783" y="14594"/>
                  </a:lnTo>
                  <a:lnTo>
                    <a:pt x="1624" y="14335"/>
                  </a:lnTo>
                  <a:lnTo>
                    <a:pt x="1472" y="14065"/>
                  </a:lnTo>
                  <a:lnTo>
                    <a:pt x="1324" y="13785"/>
                  </a:lnTo>
                  <a:lnTo>
                    <a:pt x="1184" y="13498"/>
                  </a:lnTo>
                  <a:lnTo>
                    <a:pt x="1050" y="13203"/>
                  </a:lnTo>
                  <a:lnTo>
                    <a:pt x="923" y="12904"/>
                  </a:lnTo>
                  <a:lnTo>
                    <a:pt x="803" y="12600"/>
                  </a:lnTo>
                  <a:lnTo>
                    <a:pt x="690" y="12294"/>
                  </a:lnTo>
                  <a:lnTo>
                    <a:pt x="585" y="11988"/>
                  </a:lnTo>
                  <a:lnTo>
                    <a:pt x="488" y="11682"/>
                  </a:lnTo>
                  <a:lnTo>
                    <a:pt x="398" y="11377"/>
                  </a:lnTo>
                  <a:lnTo>
                    <a:pt x="318" y="11077"/>
                  </a:lnTo>
                  <a:lnTo>
                    <a:pt x="245" y="10781"/>
                  </a:lnTo>
                  <a:lnTo>
                    <a:pt x="182" y="10492"/>
                  </a:lnTo>
                  <a:lnTo>
                    <a:pt x="127" y="10210"/>
                  </a:lnTo>
                  <a:lnTo>
                    <a:pt x="82" y="9937"/>
                  </a:lnTo>
                  <a:lnTo>
                    <a:pt x="47" y="9675"/>
                  </a:lnTo>
                  <a:lnTo>
                    <a:pt x="21" y="9426"/>
                  </a:lnTo>
                  <a:lnTo>
                    <a:pt x="5" y="9189"/>
                  </a:lnTo>
                  <a:lnTo>
                    <a:pt x="0" y="8968"/>
                  </a:lnTo>
                  <a:lnTo>
                    <a:pt x="5" y="8741"/>
                  </a:lnTo>
                  <a:lnTo>
                    <a:pt x="21" y="8492"/>
                  </a:lnTo>
                  <a:lnTo>
                    <a:pt x="47" y="8220"/>
                  </a:lnTo>
                  <a:lnTo>
                    <a:pt x="82" y="7928"/>
                  </a:lnTo>
                  <a:lnTo>
                    <a:pt x="127" y="7619"/>
                  </a:lnTo>
                  <a:lnTo>
                    <a:pt x="182" y="7295"/>
                  </a:lnTo>
                  <a:lnTo>
                    <a:pt x="245" y="6956"/>
                  </a:lnTo>
                  <a:lnTo>
                    <a:pt x="318" y="6606"/>
                  </a:lnTo>
                  <a:lnTo>
                    <a:pt x="398" y="6246"/>
                  </a:lnTo>
                  <a:lnTo>
                    <a:pt x="488" y="5879"/>
                  </a:lnTo>
                  <a:lnTo>
                    <a:pt x="585" y="5506"/>
                  </a:lnTo>
                  <a:lnTo>
                    <a:pt x="690" y="5130"/>
                  </a:lnTo>
                  <a:lnTo>
                    <a:pt x="803" y="4752"/>
                  </a:lnTo>
                  <a:lnTo>
                    <a:pt x="923" y="4375"/>
                  </a:lnTo>
                  <a:lnTo>
                    <a:pt x="1050" y="4000"/>
                  </a:lnTo>
                  <a:lnTo>
                    <a:pt x="1184" y="3630"/>
                  </a:lnTo>
                  <a:lnTo>
                    <a:pt x="1324" y="3267"/>
                  </a:lnTo>
                  <a:lnTo>
                    <a:pt x="1472" y="2912"/>
                  </a:lnTo>
                  <a:lnTo>
                    <a:pt x="1624" y="2568"/>
                  </a:lnTo>
                  <a:lnTo>
                    <a:pt x="1783" y="2237"/>
                  </a:lnTo>
                  <a:lnTo>
                    <a:pt x="1947" y="1921"/>
                  </a:lnTo>
                  <a:lnTo>
                    <a:pt x="2116" y="1622"/>
                  </a:lnTo>
                  <a:lnTo>
                    <a:pt x="2290" y="1340"/>
                  </a:lnTo>
                  <a:lnTo>
                    <a:pt x="2469" y="1081"/>
                  </a:lnTo>
                  <a:lnTo>
                    <a:pt x="2653" y="845"/>
                  </a:lnTo>
                  <a:lnTo>
                    <a:pt x="2840" y="632"/>
                  </a:lnTo>
                  <a:lnTo>
                    <a:pt x="3032" y="448"/>
                  </a:lnTo>
                  <a:lnTo>
                    <a:pt x="3228" y="292"/>
                  </a:lnTo>
                  <a:lnTo>
                    <a:pt x="3427" y="167"/>
                  </a:lnTo>
                  <a:lnTo>
                    <a:pt x="3629" y="75"/>
                  </a:lnTo>
                  <a:lnTo>
                    <a:pt x="3834" y="19"/>
                  </a:lnTo>
                  <a:lnTo>
                    <a:pt x="4043"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7" name="Freeform 9">
              <a:extLst>
                <a:ext uri="{FF2B5EF4-FFF2-40B4-BE49-F238E27FC236}">
                  <a16:creationId xmlns:a16="http://schemas.microsoft.com/office/drawing/2014/main" id="{01EA97C6-367D-48D1-B5A4-688C710F6671}"/>
                </a:ext>
              </a:extLst>
            </p:cNvPr>
            <p:cNvSpPr>
              <a:spLocks/>
            </p:cNvSpPr>
            <p:nvPr/>
          </p:nvSpPr>
          <p:spPr bwMode="auto">
            <a:xfrm rot="900000">
              <a:off x="1103703" y="2089812"/>
              <a:ext cx="1392535" cy="702726"/>
            </a:xfrm>
            <a:custGeom>
              <a:avLst/>
              <a:gdLst>
                <a:gd name="T0" fmla="*/ 4456 w 8085"/>
                <a:gd name="T1" fmla="*/ 75 h 16320"/>
                <a:gd name="T2" fmla="*/ 5053 w 8085"/>
                <a:gd name="T3" fmla="*/ 448 h 16320"/>
                <a:gd name="T4" fmla="*/ 5616 w 8085"/>
                <a:gd name="T5" fmla="*/ 1081 h 16320"/>
                <a:gd name="T6" fmla="*/ 6138 w 8085"/>
                <a:gd name="T7" fmla="*/ 1921 h 16320"/>
                <a:gd name="T8" fmla="*/ 6613 w 8085"/>
                <a:gd name="T9" fmla="*/ 2912 h 16320"/>
                <a:gd name="T10" fmla="*/ 7035 w 8085"/>
                <a:gd name="T11" fmla="*/ 4000 h 16320"/>
                <a:gd name="T12" fmla="*/ 7395 w 8085"/>
                <a:gd name="T13" fmla="*/ 5130 h 16320"/>
                <a:gd name="T14" fmla="*/ 7687 w 8085"/>
                <a:gd name="T15" fmla="*/ 6246 h 16320"/>
                <a:gd name="T16" fmla="*/ 7903 w 8085"/>
                <a:gd name="T17" fmla="*/ 7295 h 16320"/>
                <a:gd name="T18" fmla="*/ 8038 w 8085"/>
                <a:gd name="T19" fmla="*/ 8220 h 16320"/>
                <a:gd name="T20" fmla="*/ 8085 w 8085"/>
                <a:gd name="T21" fmla="*/ 8968 h 16320"/>
                <a:gd name="T22" fmla="*/ 8038 w 8085"/>
                <a:gd name="T23" fmla="*/ 9675 h 16320"/>
                <a:gd name="T24" fmla="*/ 7903 w 8085"/>
                <a:gd name="T25" fmla="*/ 10492 h 16320"/>
                <a:gd name="T26" fmla="*/ 7687 w 8085"/>
                <a:gd name="T27" fmla="*/ 11377 h 16320"/>
                <a:gd name="T28" fmla="*/ 7395 w 8085"/>
                <a:gd name="T29" fmla="*/ 12294 h 16320"/>
                <a:gd name="T30" fmla="*/ 7035 w 8085"/>
                <a:gd name="T31" fmla="*/ 13203 h 16320"/>
                <a:gd name="T32" fmla="*/ 6613 w 8085"/>
                <a:gd name="T33" fmla="*/ 14065 h 16320"/>
                <a:gd name="T34" fmla="*/ 6138 w 8085"/>
                <a:gd name="T35" fmla="*/ 14841 h 16320"/>
                <a:gd name="T36" fmla="*/ 5616 w 8085"/>
                <a:gd name="T37" fmla="*/ 15492 h 16320"/>
                <a:gd name="T38" fmla="*/ 5053 w 8085"/>
                <a:gd name="T39" fmla="*/ 15978 h 16320"/>
                <a:gd name="T40" fmla="*/ 4456 w 8085"/>
                <a:gd name="T41" fmla="*/ 16263 h 16320"/>
                <a:gd name="T42" fmla="*/ 3834 w 8085"/>
                <a:gd name="T43" fmla="*/ 16306 h 16320"/>
                <a:gd name="T44" fmla="*/ 3228 w 8085"/>
                <a:gd name="T45" fmla="*/ 16098 h 16320"/>
                <a:gd name="T46" fmla="*/ 2653 w 8085"/>
                <a:gd name="T47" fmla="*/ 15673 h 16320"/>
                <a:gd name="T48" fmla="*/ 2116 w 8085"/>
                <a:gd name="T49" fmla="*/ 15074 h 16320"/>
                <a:gd name="T50" fmla="*/ 1624 w 8085"/>
                <a:gd name="T51" fmla="*/ 14335 h 16320"/>
                <a:gd name="T52" fmla="*/ 1184 w 8085"/>
                <a:gd name="T53" fmla="*/ 13498 h 16320"/>
                <a:gd name="T54" fmla="*/ 803 w 8085"/>
                <a:gd name="T55" fmla="*/ 12600 h 16320"/>
                <a:gd name="T56" fmla="*/ 488 w 8085"/>
                <a:gd name="T57" fmla="*/ 11682 h 16320"/>
                <a:gd name="T58" fmla="*/ 245 w 8085"/>
                <a:gd name="T59" fmla="*/ 10781 h 16320"/>
                <a:gd name="T60" fmla="*/ 82 w 8085"/>
                <a:gd name="T61" fmla="*/ 9937 h 16320"/>
                <a:gd name="T62" fmla="*/ 5 w 8085"/>
                <a:gd name="T63" fmla="*/ 9189 h 16320"/>
                <a:gd name="T64" fmla="*/ 21 w 8085"/>
                <a:gd name="T65" fmla="*/ 8492 h 16320"/>
                <a:gd name="T66" fmla="*/ 127 w 8085"/>
                <a:gd name="T67" fmla="*/ 7619 h 16320"/>
                <a:gd name="T68" fmla="*/ 318 w 8085"/>
                <a:gd name="T69" fmla="*/ 6606 h 16320"/>
                <a:gd name="T70" fmla="*/ 585 w 8085"/>
                <a:gd name="T71" fmla="*/ 5506 h 16320"/>
                <a:gd name="T72" fmla="*/ 923 w 8085"/>
                <a:gd name="T73" fmla="*/ 4375 h 16320"/>
                <a:gd name="T74" fmla="*/ 1324 w 8085"/>
                <a:gd name="T75" fmla="*/ 3267 h 16320"/>
                <a:gd name="T76" fmla="*/ 1783 w 8085"/>
                <a:gd name="T77" fmla="*/ 2237 h 16320"/>
                <a:gd name="T78" fmla="*/ 2290 w 8085"/>
                <a:gd name="T79" fmla="*/ 1340 h 16320"/>
                <a:gd name="T80" fmla="*/ 2840 w 8085"/>
                <a:gd name="T81" fmla="*/ 632 h 16320"/>
                <a:gd name="T82" fmla="*/ 3427 w 8085"/>
                <a:gd name="T83" fmla="*/ 167 h 16320"/>
                <a:gd name="T84" fmla="*/ 4043 w 8085"/>
                <a:gd name="T85" fmla="*/ 0 h 16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085" h="16320">
                  <a:moveTo>
                    <a:pt x="4043" y="0"/>
                  </a:moveTo>
                  <a:lnTo>
                    <a:pt x="4251" y="19"/>
                  </a:lnTo>
                  <a:lnTo>
                    <a:pt x="4456" y="75"/>
                  </a:lnTo>
                  <a:lnTo>
                    <a:pt x="4658" y="167"/>
                  </a:lnTo>
                  <a:lnTo>
                    <a:pt x="4857" y="292"/>
                  </a:lnTo>
                  <a:lnTo>
                    <a:pt x="5053" y="448"/>
                  </a:lnTo>
                  <a:lnTo>
                    <a:pt x="5245" y="632"/>
                  </a:lnTo>
                  <a:lnTo>
                    <a:pt x="5432" y="845"/>
                  </a:lnTo>
                  <a:lnTo>
                    <a:pt x="5616" y="1081"/>
                  </a:lnTo>
                  <a:lnTo>
                    <a:pt x="5795" y="1340"/>
                  </a:lnTo>
                  <a:lnTo>
                    <a:pt x="5969" y="1622"/>
                  </a:lnTo>
                  <a:lnTo>
                    <a:pt x="6138" y="1921"/>
                  </a:lnTo>
                  <a:lnTo>
                    <a:pt x="6302" y="2237"/>
                  </a:lnTo>
                  <a:lnTo>
                    <a:pt x="6461" y="2568"/>
                  </a:lnTo>
                  <a:lnTo>
                    <a:pt x="6613" y="2912"/>
                  </a:lnTo>
                  <a:lnTo>
                    <a:pt x="6761" y="3267"/>
                  </a:lnTo>
                  <a:lnTo>
                    <a:pt x="6901" y="3630"/>
                  </a:lnTo>
                  <a:lnTo>
                    <a:pt x="7035" y="4000"/>
                  </a:lnTo>
                  <a:lnTo>
                    <a:pt x="7162" y="4375"/>
                  </a:lnTo>
                  <a:lnTo>
                    <a:pt x="7282" y="4752"/>
                  </a:lnTo>
                  <a:lnTo>
                    <a:pt x="7395" y="5130"/>
                  </a:lnTo>
                  <a:lnTo>
                    <a:pt x="7500" y="5506"/>
                  </a:lnTo>
                  <a:lnTo>
                    <a:pt x="7597" y="5879"/>
                  </a:lnTo>
                  <a:lnTo>
                    <a:pt x="7687" y="6246"/>
                  </a:lnTo>
                  <a:lnTo>
                    <a:pt x="7767" y="6606"/>
                  </a:lnTo>
                  <a:lnTo>
                    <a:pt x="7840" y="6956"/>
                  </a:lnTo>
                  <a:lnTo>
                    <a:pt x="7903" y="7295"/>
                  </a:lnTo>
                  <a:lnTo>
                    <a:pt x="7958" y="7619"/>
                  </a:lnTo>
                  <a:lnTo>
                    <a:pt x="8003" y="7928"/>
                  </a:lnTo>
                  <a:lnTo>
                    <a:pt x="8038" y="8220"/>
                  </a:lnTo>
                  <a:lnTo>
                    <a:pt x="8064" y="8492"/>
                  </a:lnTo>
                  <a:lnTo>
                    <a:pt x="8080" y="8741"/>
                  </a:lnTo>
                  <a:lnTo>
                    <a:pt x="8085" y="8968"/>
                  </a:lnTo>
                  <a:lnTo>
                    <a:pt x="8080" y="9189"/>
                  </a:lnTo>
                  <a:lnTo>
                    <a:pt x="8064" y="9426"/>
                  </a:lnTo>
                  <a:lnTo>
                    <a:pt x="8038" y="9675"/>
                  </a:lnTo>
                  <a:lnTo>
                    <a:pt x="8003" y="9937"/>
                  </a:lnTo>
                  <a:lnTo>
                    <a:pt x="7958" y="10210"/>
                  </a:lnTo>
                  <a:lnTo>
                    <a:pt x="7903" y="10492"/>
                  </a:lnTo>
                  <a:lnTo>
                    <a:pt x="7840" y="10781"/>
                  </a:lnTo>
                  <a:lnTo>
                    <a:pt x="7767" y="11077"/>
                  </a:lnTo>
                  <a:lnTo>
                    <a:pt x="7687" y="11377"/>
                  </a:lnTo>
                  <a:lnTo>
                    <a:pt x="7597" y="11682"/>
                  </a:lnTo>
                  <a:lnTo>
                    <a:pt x="7500" y="11988"/>
                  </a:lnTo>
                  <a:lnTo>
                    <a:pt x="7395" y="12294"/>
                  </a:lnTo>
                  <a:lnTo>
                    <a:pt x="7282" y="12600"/>
                  </a:lnTo>
                  <a:lnTo>
                    <a:pt x="7162" y="12904"/>
                  </a:lnTo>
                  <a:lnTo>
                    <a:pt x="7035" y="13203"/>
                  </a:lnTo>
                  <a:lnTo>
                    <a:pt x="6901" y="13498"/>
                  </a:lnTo>
                  <a:lnTo>
                    <a:pt x="6761" y="13785"/>
                  </a:lnTo>
                  <a:lnTo>
                    <a:pt x="6613" y="14065"/>
                  </a:lnTo>
                  <a:lnTo>
                    <a:pt x="6461" y="14335"/>
                  </a:lnTo>
                  <a:lnTo>
                    <a:pt x="6302" y="14594"/>
                  </a:lnTo>
                  <a:lnTo>
                    <a:pt x="6138" y="14841"/>
                  </a:lnTo>
                  <a:lnTo>
                    <a:pt x="5969" y="15074"/>
                  </a:lnTo>
                  <a:lnTo>
                    <a:pt x="5795" y="15291"/>
                  </a:lnTo>
                  <a:lnTo>
                    <a:pt x="5616" y="15492"/>
                  </a:lnTo>
                  <a:lnTo>
                    <a:pt x="5432" y="15673"/>
                  </a:lnTo>
                  <a:lnTo>
                    <a:pt x="5245" y="15837"/>
                  </a:lnTo>
                  <a:lnTo>
                    <a:pt x="5053" y="15978"/>
                  </a:lnTo>
                  <a:lnTo>
                    <a:pt x="4857" y="16098"/>
                  </a:lnTo>
                  <a:lnTo>
                    <a:pt x="4658" y="16193"/>
                  </a:lnTo>
                  <a:lnTo>
                    <a:pt x="4456" y="16263"/>
                  </a:lnTo>
                  <a:lnTo>
                    <a:pt x="4251" y="16306"/>
                  </a:lnTo>
                  <a:lnTo>
                    <a:pt x="4043" y="16320"/>
                  </a:lnTo>
                  <a:lnTo>
                    <a:pt x="3834" y="16306"/>
                  </a:lnTo>
                  <a:lnTo>
                    <a:pt x="3629" y="16263"/>
                  </a:lnTo>
                  <a:lnTo>
                    <a:pt x="3427" y="16193"/>
                  </a:lnTo>
                  <a:lnTo>
                    <a:pt x="3228" y="16098"/>
                  </a:lnTo>
                  <a:lnTo>
                    <a:pt x="3032" y="15978"/>
                  </a:lnTo>
                  <a:lnTo>
                    <a:pt x="2840" y="15837"/>
                  </a:lnTo>
                  <a:lnTo>
                    <a:pt x="2653" y="15673"/>
                  </a:lnTo>
                  <a:lnTo>
                    <a:pt x="2469" y="15492"/>
                  </a:lnTo>
                  <a:lnTo>
                    <a:pt x="2290" y="15291"/>
                  </a:lnTo>
                  <a:lnTo>
                    <a:pt x="2116" y="15074"/>
                  </a:lnTo>
                  <a:lnTo>
                    <a:pt x="1947" y="14841"/>
                  </a:lnTo>
                  <a:lnTo>
                    <a:pt x="1783" y="14594"/>
                  </a:lnTo>
                  <a:lnTo>
                    <a:pt x="1624" y="14335"/>
                  </a:lnTo>
                  <a:lnTo>
                    <a:pt x="1472" y="14065"/>
                  </a:lnTo>
                  <a:lnTo>
                    <a:pt x="1324" y="13785"/>
                  </a:lnTo>
                  <a:lnTo>
                    <a:pt x="1184" y="13498"/>
                  </a:lnTo>
                  <a:lnTo>
                    <a:pt x="1050" y="13203"/>
                  </a:lnTo>
                  <a:lnTo>
                    <a:pt x="923" y="12904"/>
                  </a:lnTo>
                  <a:lnTo>
                    <a:pt x="803" y="12600"/>
                  </a:lnTo>
                  <a:lnTo>
                    <a:pt x="690" y="12294"/>
                  </a:lnTo>
                  <a:lnTo>
                    <a:pt x="585" y="11988"/>
                  </a:lnTo>
                  <a:lnTo>
                    <a:pt x="488" y="11682"/>
                  </a:lnTo>
                  <a:lnTo>
                    <a:pt x="398" y="11377"/>
                  </a:lnTo>
                  <a:lnTo>
                    <a:pt x="318" y="11077"/>
                  </a:lnTo>
                  <a:lnTo>
                    <a:pt x="245" y="10781"/>
                  </a:lnTo>
                  <a:lnTo>
                    <a:pt x="182" y="10492"/>
                  </a:lnTo>
                  <a:lnTo>
                    <a:pt x="127" y="10210"/>
                  </a:lnTo>
                  <a:lnTo>
                    <a:pt x="82" y="9937"/>
                  </a:lnTo>
                  <a:lnTo>
                    <a:pt x="47" y="9675"/>
                  </a:lnTo>
                  <a:lnTo>
                    <a:pt x="21" y="9426"/>
                  </a:lnTo>
                  <a:lnTo>
                    <a:pt x="5" y="9189"/>
                  </a:lnTo>
                  <a:lnTo>
                    <a:pt x="0" y="8968"/>
                  </a:lnTo>
                  <a:lnTo>
                    <a:pt x="5" y="8741"/>
                  </a:lnTo>
                  <a:lnTo>
                    <a:pt x="21" y="8492"/>
                  </a:lnTo>
                  <a:lnTo>
                    <a:pt x="47" y="8220"/>
                  </a:lnTo>
                  <a:lnTo>
                    <a:pt x="82" y="7928"/>
                  </a:lnTo>
                  <a:lnTo>
                    <a:pt x="127" y="7619"/>
                  </a:lnTo>
                  <a:lnTo>
                    <a:pt x="182" y="7295"/>
                  </a:lnTo>
                  <a:lnTo>
                    <a:pt x="245" y="6956"/>
                  </a:lnTo>
                  <a:lnTo>
                    <a:pt x="318" y="6606"/>
                  </a:lnTo>
                  <a:lnTo>
                    <a:pt x="398" y="6246"/>
                  </a:lnTo>
                  <a:lnTo>
                    <a:pt x="488" y="5879"/>
                  </a:lnTo>
                  <a:lnTo>
                    <a:pt x="585" y="5506"/>
                  </a:lnTo>
                  <a:lnTo>
                    <a:pt x="690" y="5130"/>
                  </a:lnTo>
                  <a:lnTo>
                    <a:pt x="803" y="4752"/>
                  </a:lnTo>
                  <a:lnTo>
                    <a:pt x="923" y="4375"/>
                  </a:lnTo>
                  <a:lnTo>
                    <a:pt x="1050" y="4000"/>
                  </a:lnTo>
                  <a:lnTo>
                    <a:pt x="1184" y="3630"/>
                  </a:lnTo>
                  <a:lnTo>
                    <a:pt x="1324" y="3267"/>
                  </a:lnTo>
                  <a:lnTo>
                    <a:pt x="1472" y="2912"/>
                  </a:lnTo>
                  <a:lnTo>
                    <a:pt x="1624" y="2568"/>
                  </a:lnTo>
                  <a:lnTo>
                    <a:pt x="1783" y="2237"/>
                  </a:lnTo>
                  <a:lnTo>
                    <a:pt x="1947" y="1921"/>
                  </a:lnTo>
                  <a:lnTo>
                    <a:pt x="2116" y="1622"/>
                  </a:lnTo>
                  <a:lnTo>
                    <a:pt x="2290" y="1340"/>
                  </a:lnTo>
                  <a:lnTo>
                    <a:pt x="2469" y="1081"/>
                  </a:lnTo>
                  <a:lnTo>
                    <a:pt x="2653" y="845"/>
                  </a:lnTo>
                  <a:lnTo>
                    <a:pt x="2840" y="632"/>
                  </a:lnTo>
                  <a:lnTo>
                    <a:pt x="3032" y="448"/>
                  </a:lnTo>
                  <a:lnTo>
                    <a:pt x="3228" y="292"/>
                  </a:lnTo>
                  <a:lnTo>
                    <a:pt x="3427" y="167"/>
                  </a:lnTo>
                  <a:lnTo>
                    <a:pt x="3629" y="75"/>
                  </a:lnTo>
                  <a:lnTo>
                    <a:pt x="3834" y="19"/>
                  </a:lnTo>
                  <a:lnTo>
                    <a:pt x="4043" y="0"/>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8" name="Freeform 10">
              <a:extLst>
                <a:ext uri="{FF2B5EF4-FFF2-40B4-BE49-F238E27FC236}">
                  <a16:creationId xmlns:a16="http://schemas.microsoft.com/office/drawing/2014/main" id="{28725FEC-2272-462F-8BCC-A322442EDDBB}"/>
                </a:ext>
              </a:extLst>
            </p:cNvPr>
            <p:cNvSpPr>
              <a:spLocks/>
            </p:cNvSpPr>
            <p:nvPr/>
          </p:nvSpPr>
          <p:spPr bwMode="auto">
            <a:xfrm rot="9000000">
              <a:off x="2969967" y="2112969"/>
              <a:ext cx="981179" cy="495141"/>
            </a:xfrm>
            <a:custGeom>
              <a:avLst/>
              <a:gdLst>
                <a:gd name="T0" fmla="*/ 4456 w 8085"/>
                <a:gd name="T1" fmla="*/ 75 h 16320"/>
                <a:gd name="T2" fmla="*/ 5053 w 8085"/>
                <a:gd name="T3" fmla="*/ 448 h 16320"/>
                <a:gd name="T4" fmla="*/ 5616 w 8085"/>
                <a:gd name="T5" fmla="*/ 1081 h 16320"/>
                <a:gd name="T6" fmla="*/ 6138 w 8085"/>
                <a:gd name="T7" fmla="*/ 1921 h 16320"/>
                <a:gd name="T8" fmla="*/ 6613 w 8085"/>
                <a:gd name="T9" fmla="*/ 2912 h 16320"/>
                <a:gd name="T10" fmla="*/ 7035 w 8085"/>
                <a:gd name="T11" fmla="*/ 4000 h 16320"/>
                <a:gd name="T12" fmla="*/ 7395 w 8085"/>
                <a:gd name="T13" fmla="*/ 5130 h 16320"/>
                <a:gd name="T14" fmla="*/ 7687 w 8085"/>
                <a:gd name="T15" fmla="*/ 6246 h 16320"/>
                <a:gd name="T16" fmla="*/ 7903 w 8085"/>
                <a:gd name="T17" fmla="*/ 7295 h 16320"/>
                <a:gd name="T18" fmla="*/ 8038 w 8085"/>
                <a:gd name="T19" fmla="*/ 8220 h 16320"/>
                <a:gd name="T20" fmla="*/ 8085 w 8085"/>
                <a:gd name="T21" fmla="*/ 8968 h 16320"/>
                <a:gd name="T22" fmla="*/ 8038 w 8085"/>
                <a:gd name="T23" fmla="*/ 9675 h 16320"/>
                <a:gd name="T24" fmla="*/ 7903 w 8085"/>
                <a:gd name="T25" fmla="*/ 10492 h 16320"/>
                <a:gd name="T26" fmla="*/ 7687 w 8085"/>
                <a:gd name="T27" fmla="*/ 11377 h 16320"/>
                <a:gd name="T28" fmla="*/ 7395 w 8085"/>
                <a:gd name="T29" fmla="*/ 12294 h 16320"/>
                <a:gd name="T30" fmla="*/ 7035 w 8085"/>
                <a:gd name="T31" fmla="*/ 13203 h 16320"/>
                <a:gd name="T32" fmla="*/ 6613 w 8085"/>
                <a:gd name="T33" fmla="*/ 14065 h 16320"/>
                <a:gd name="T34" fmla="*/ 6138 w 8085"/>
                <a:gd name="T35" fmla="*/ 14841 h 16320"/>
                <a:gd name="T36" fmla="*/ 5616 w 8085"/>
                <a:gd name="T37" fmla="*/ 15492 h 16320"/>
                <a:gd name="T38" fmla="*/ 5053 w 8085"/>
                <a:gd name="T39" fmla="*/ 15978 h 16320"/>
                <a:gd name="T40" fmla="*/ 4456 w 8085"/>
                <a:gd name="T41" fmla="*/ 16263 h 16320"/>
                <a:gd name="T42" fmla="*/ 3834 w 8085"/>
                <a:gd name="T43" fmla="*/ 16306 h 16320"/>
                <a:gd name="T44" fmla="*/ 3228 w 8085"/>
                <a:gd name="T45" fmla="*/ 16098 h 16320"/>
                <a:gd name="T46" fmla="*/ 2653 w 8085"/>
                <a:gd name="T47" fmla="*/ 15673 h 16320"/>
                <a:gd name="T48" fmla="*/ 2116 w 8085"/>
                <a:gd name="T49" fmla="*/ 15074 h 16320"/>
                <a:gd name="T50" fmla="*/ 1624 w 8085"/>
                <a:gd name="T51" fmla="*/ 14335 h 16320"/>
                <a:gd name="T52" fmla="*/ 1184 w 8085"/>
                <a:gd name="T53" fmla="*/ 13498 h 16320"/>
                <a:gd name="T54" fmla="*/ 803 w 8085"/>
                <a:gd name="T55" fmla="*/ 12600 h 16320"/>
                <a:gd name="T56" fmla="*/ 488 w 8085"/>
                <a:gd name="T57" fmla="*/ 11682 h 16320"/>
                <a:gd name="T58" fmla="*/ 245 w 8085"/>
                <a:gd name="T59" fmla="*/ 10781 h 16320"/>
                <a:gd name="T60" fmla="*/ 82 w 8085"/>
                <a:gd name="T61" fmla="*/ 9937 h 16320"/>
                <a:gd name="T62" fmla="*/ 5 w 8085"/>
                <a:gd name="T63" fmla="*/ 9189 h 16320"/>
                <a:gd name="T64" fmla="*/ 21 w 8085"/>
                <a:gd name="T65" fmla="*/ 8492 h 16320"/>
                <a:gd name="T66" fmla="*/ 127 w 8085"/>
                <a:gd name="T67" fmla="*/ 7619 h 16320"/>
                <a:gd name="T68" fmla="*/ 318 w 8085"/>
                <a:gd name="T69" fmla="*/ 6606 h 16320"/>
                <a:gd name="T70" fmla="*/ 585 w 8085"/>
                <a:gd name="T71" fmla="*/ 5506 h 16320"/>
                <a:gd name="T72" fmla="*/ 923 w 8085"/>
                <a:gd name="T73" fmla="*/ 4375 h 16320"/>
                <a:gd name="T74" fmla="*/ 1324 w 8085"/>
                <a:gd name="T75" fmla="*/ 3267 h 16320"/>
                <a:gd name="T76" fmla="*/ 1783 w 8085"/>
                <a:gd name="T77" fmla="*/ 2237 h 16320"/>
                <a:gd name="T78" fmla="*/ 2290 w 8085"/>
                <a:gd name="T79" fmla="*/ 1340 h 16320"/>
                <a:gd name="T80" fmla="*/ 2840 w 8085"/>
                <a:gd name="T81" fmla="*/ 632 h 16320"/>
                <a:gd name="T82" fmla="*/ 3427 w 8085"/>
                <a:gd name="T83" fmla="*/ 167 h 16320"/>
                <a:gd name="T84" fmla="*/ 4043 w 8085"/>
                <a:gd name="T85" fmla="*/ 0 h 16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085" h="16320">
                  <a:moveTo>
                    <a:pt x="4043" y="0"/>
                  </a:moveTo>
                  <a:lnTo>
                    <a:pt x="4251" y="19"/>
                  </a:lnTo>
                  <a:lnTo>
                    <a:pt x="4456" y="75"/>
                  </a:lnTo>
                  <a:lnTo>
                    <a:pt x="4658" y="167"/>
                  </a:lnTo>
                  <a:lnTo>
                    <a:pt x="4857" y="292"/>
                  </a:lnTo>
                  <a:lnTo>
                    <a:pt x="5053" y="448"/>
                  </a:lnTo>
                  <a:lnTo>
                    <a:pt x="5245" y="632"/>
                  </a:lnTo>
                  <a:lnTo>
                    <a:pt x="5432" y="845"/>
                  </a:lnTo>
                  <a:lnTo>
                    <a:pt x="5616" y="1081"/>
                  </a:lnTo>
                  <a:lnTo>
                    <a:pt x="5795" y="1340"/>
                  </a:lnTo>
                  <a:lnTo>
                    <a:pt x="5969" y="1622"/>
                  </a:lnTo>
                  <a:lnTo>
                    <a:pt x="6138" y="1921"/>
                  </a:lnTo>
                  <a:lnTo>
                    <a:pt x="6302" y="2237"/>
                  </a:lnTo>
                  <a:lnTo>
                    <a:pt x="6461" y="2568"/>
                  </a:lnTo>
                  <a:lnTo>
                    <a:pt x="6613" y="2912"/>
                  </a:lnTo>
                  <a:lnTo>
                    <a:pt x="6761" y="3267"/>
                  </a:lnTo>
                  <a:lnTo>
                    <a:pt x="6901" y="3630"/>
                  </a:lnTo>
                  <a:lnTo>
                    <a:pt x="7035" y="4000"/>
                  </a:lnTo>
                  <a:lnTo>
                    <a:pt x="7162" y="4375"/>
                  </a:lnTo>
                  <a:lnTo>
                    <a:pt x="7282" y="4752"/>
                  </a:lnTo>
                  <a:lnTo>
                    <a:pt x="7395" y="5130"/>
                  </a:lnTo>
                  <a:lnTo>
                    <a:pt x="7500" y="5506"/>
                  </a:lnTo>
                  <a:lnTo>
                    <a:pt x="7597" y="5879"/>
                  </a:lnTo>
                  <a:lnTo>
                    <a:pt x="7687" y="6246"/>
                  </a:lnTo>
                  <a:lnTo>
                    <a:pt x="7767" y="6606"/>
                  </a:lnTo>
                  <a:lnTo>
                    <a:pt x="7840" y="6956"/>
                  </a:lnTo>
                  <a:lnTo>
                    <a:pt x="7903" y="7295"/>
                  </a:lnTo>
                  <a:lnTo>
                    <a:pt x="7958" y="7619"/>
                  </a:lnTo>
                  <a:lnTo>
                    <a:pt x="8003" y="7928"/>
                  </a:lnTo>
                  <a:lnTo>
                    <a:pt x="8038" y="8220"/>
                  </a:lnTo>
                  <a:lnTo>
                    <a:pt x="8064" y="8492"/>
                  </a:lnTo>
                  <a:lnTo>
                    <a:pt x="8080" y="8741"/>
                  </a:lnTo>
                  <a:lnTo>
                    <a:pt x="8085" y="8968"/>
                  </a:lnTo>
                  <a:lnTo>
                    <a:pt x="8080" y="9189"/>
                  </a:lnTo>
                  <a:lnTo>
                    <a:pt x="8064" y="9426"/>
                  </a:lnTo>
                  <a:lnTo>
                    <a:pt x="8038" y="9675"/>
                  </a:lnTo>
                  <a:lnTo>
                    <a:pt x="8003" y="9937"/>
                  </a:lnTo>
                  <a:lnTo>
                    <a:pt x="7958" y="10210"/>
                  </a:lnTo>
                  <a:lnTo>
                    <a:pt x="7903" y="10492"/>
                  </a:lnTo>
                  <a:lnTo>
                    <a:pt x="7840" y="10781"/>
                  </a:lnTo>
                  <a:lnTo>
                    <a:pt x="7767" y="11077"/>
                  </a:lnTo>
                  <a:lnTo>
                    <a:pt x="7687" y="11377"/>
                  </a:lnTo>
                  <a:lnTo>
                    <a:pt x="7597" y="11682"/>
                  </a:lnTo>
                  <a:lnTo>
                    <a:pt x="7500" y="11988"/>
                  </a:lnTo>
                  <a:lnTo>
                    <a:pt x="7395" y="12294"/>
                  </a:lnTo>
                  <a:lnTo>
                    <a:pt x="7282" y="12600"/>
                  </a:lnTo>
                  <a:lnTo>
                    <a:pt x="7162" y="12904"/>
                  </a:lnTo>
                  <a:lnTo>
                    <a:pt x="7035" y="13203"/>
                  </a:lnTo>
                  <a:lnTo>
                    <a:pt x="6901" y="13498"/>
                  </a:lnTo>
                  <a:lnTo>
                    <a:pt x="6761" y="13785"/>
                  </a:lnTo>
                  <a:lnTo>
                    <a:pt x="6613" y="14065"/>
                  </a:lnTo>
                  <a:lnTo>
                    <a:pt x="6461" y="14335"/>
                  </a:lnTo>
                  <a:lnTo>
                    <a:pt x="6302" y="14594"/>
                  </a:lnTo>
                  <a:lnTo>
                    <a:pt x="6138" y="14841"/>
                  </a:lnTo>
                  <a:lnTo>
                    <a:pt x="5969" y="15074"/>
                  </a:lnTo>
                  <a:lnTo>
                    <a:pt x="5795" y="15291"/>
                  </a:lnTo>
                  <a:lnTo>
                    <a:pt x="5616" y="15492"/>
                  </a:lnTo>
                  <a:lnTo>
                    <a:pt x="5432" y="15673"/>
                  </a:lnTo>
                  <a:lnTo>
                    <a:pt x="5245" y="15837"/>
                  </a:lnTo>
                  <a:lnTo>
                    <a:pt x="5053" y="15978"/>
                  </a:lnTo>
                  <a:lnTo>
                    <a:pt x="4857" y="16098"/>
                  </a:lnTo>
                  <a:lnTo>
                    <a:pt x="4658" y="16193"/>
                  </a:lnTo>
                  <a:lnTo>
                    <a:pt x="4456" y="16263"/>
                  </a:lnTo>
                  <a:lnTo>
                    <a:pt x="4251" y="16306"/>
                  </a:lnTo>
                  <a:lnTo>
                    <a:pt x="4043" y="16320"/>
                  </a:lnTo>
                  <a:lnTo>
                    <a:pt x="3834" y="16306"/>
                  </a:lnTo>
                  <a:lnTo>
                    <a:pt x="3629" y="16263"/>
                  </a:lnTo>
                  <a:lnTo>
                    <a:pt x="3427" y="16193"/>
                  </a:lnTo>
                  <a:lnTo>
                    <a:pt x="3228" y="16098"/>
                  </a:lnTo>
                  <a:lnTo>
                    <a:pt x="3032" y="15978"/>
                  </a:lnTo>
                  <a:lnTo>
                    <a:pt x="2840" y="15837"/>
                  </a:lnTo>
                  <a:lnTo>
                    <a:pt x="2653" y="15673"/>
                  </a:lnTo>
                  <a:lnTo>
                    <a:pt x="2469" y="15492"/>
                  </a:lnTo>
                  <a:lnTo>
                    <a:pt x="2290" y="15291"/>
                  </a:lnTo>
                  <a:lnTo>
                    <a:pt x="2116" y="15074"/>
                  </a:lnTo>
                  <a:lnTo>
                    <a:pt x="1947" y="14841"/>
                  </a:lnTo>
                  <a:lnTo>
                    <a:pt x="1783" y="14594"/>
                  </a:lnTo>
                  <a:lnTo>
                    <a:pt x="1624" y="14335"/>
                  </a:lnTo>
                  <a:lnTo>
                    <a:pt x="1472" y="14065"/>
                  </a:lnTo>
                  <a:lnTo>
                    <a:pt x="1324" y="13785"/>
                  </a:lnTo>
                  <a:lnTo>
                    <a:pt x="1184" y="13498"/>
                  </a:lnTo>
                  <a:lnTo>
                    <a:pt x="1050" y="13203"/>
                  </a:lnTo>
                  <a:lnTo>
                    <a:pt x="923" y="12904"/>
                  </a:lnTo>
                  <a:lnTo>
                    <a:pt x="803" y="12600"/>
                  </a:lnTo>
                  <a:lnTo>
                    <a:pt x="690" y="12294"/>
                  </a:lnTo>
                  <a:lnTo>
                    <a:pt x="585" y="11988"/>
                  </a:lnTo>
                  <a:lnTo>
                    <a:pt x="488" y="11682"/>
                  </a:lnTo>
                  <a:lnTo>
                    <a:pt x="398" y="11377"/>
                  </a:lnTo>
                  <a:lnTo>
                    <a:pt x="318" y="11077"/>
                  </a:lnTo>
                  <a:lnTo>
                    <a:pt x="245" y="10781"/>
                  </a:lnTo>
                  <a:lnTo>
                    <a:pt x="182" y="10492"/>
                  </a:lnTo>
                  <a:lnTo>
                    <a:pt x="127" y="10210"/>
                  </a:lnTo>
                  <a:lnTo>
                    <a:pt x="82" y="9937"/>
                  </a:lnTo>
                  <a:lnTo>
                    <a:pt x="47" y="9675"/>
                  </a:lnTo>
                  <a:lnTo>
                    <a:pt x="21" y="9426"/>
                  </a:lnTo>
                  <a:lnTo>
                    <a:pt x="5" y="9189"/>
                  </a:lnTo>
                  <a:lnTo>
                    <a:pt x="0" y="8968"/>
                  </a:lnTo>
                  <a:lnTo>
                    <a:pt x="5" y="8741"/>
                  </a:lnTo>
                  <a:lnTo>
                    <a:pt x="21" y="8492"/>
                  </a:lnTo>
                  <a:lnTo>
                    <a:pt x="47" y="8220"/>
                  </a:lnTo>
                  <a:lnTo>
                    <a:pt x="82" y="7928"/>
                  </a:lnTo>
                  <a:lnTo>
                    <a:pt x="127" y="7619"/>
                  </a:lnTo>
                  <a:lnTo>
                    <a:pt x="182" y="7295"/>
                  </a:lnTo>
                  <a:lnTo>
                    <a:pt x="245" y="6956"/>
                  </a:lnTo>
                  <a:lnTo>
                    <a:pt x="318" y="6606"/>
                  </a:lnTo>
                  <a:lnTo>
                    <a:pt x="398" y="6246"/>
                  </a:lnTo>
                  <a:lnTo>
                    <a:pt x="488" y="5879"/>
                  </a:lnTo>
                  <a:lnTo>
                    <a:pt x="585" y="5506"/>
                  </a:lnTo>
                  <a:lnTo>
                    <a:pt x="690" y="5130"/>
                  </a:lnTo>
                  <a:lnTo>
                    <a:pt x="803" y="4752"/>
                  </a:lnTo>
                  <a:lnTo>
                    <a:pt x="923" y="4375"/>
                  </a:lnTo>
                  <a:lnTo>
                    <a:pt x="1050" y="4000"/>
                  </a:lnTo>
                  <a:lnTo>
                    <a:pt x="1184" y="3630"/>
                  </a:lnTo>
                  <a:lnTo>
                    <a:pt x="1324" y="3267"/>
                  </a:lnTo>
                  <a:lnTo>
                    <a:pt x="1472" y="2912"/>
                  </a:lnTo>
                  <a:lnTo>
                    <a:pt x="1624" y="2568"/>
                  </a:lnTo>
                  <a:lnTo>
                    <a:pt x="1783" y="2237"/>
                  </a:lnTo>
                  <a:lnTo>
                    <a:pt x="1947" y="1921"/>
                  </a:lnTo>
                  <a:lnTo>
                    <a:pt x="2116" y="1622"/>
                  </a:lnTo>
                  <a:lnTo>
                    <a:pt x="2290" y="1340"/>
                  </a:lnTo>
                  <a:lnTo>
                    <a:pt x="2469" y="1081"/>
                  </a:lnTo>
                  <a:lnTo>
                    <a:pt x="2653" y="845"/>
                  </a:lnTo>
                  <a:lnTo>
                    <a:pt x="2840" y="632"/>
                  </a:lnTo>
                  <a:lnTo>
                    <a:pt x="3032" y="448"/>
                  </a:lnTo>
                  <a:lnTo>
                    <a:pt x="3228" y="292"/>
                  </a:lnTo>
                  <a:lnTo>
                    <a:pt x="3427" y="167"/>
                  </a:lnTo>
                  <a:lnTo>
                    <a:pt x="3629" y="75"/>
                  </a:lnTo>
                  <a:lnTo>
                    <a:pt x="3834" y="19"/>
                  </a:lnTo>
                  <a:lnTo>
                    <a:pt x="4043" y="0"/>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9" name="Freeform 12">
              <a:extLst>
                <a:ext uri="{FF2B5EF4-FFF2-40B4-BE49-F238E27FC236}">
                  <a16:creationId xmlns:a16="http://schemas.microsoft.com/office/drawing/2014/main" id="{9579FB46-6929-4241-A0BE-D959FD1BCB50}"/>
                </a:ext>
              </a:extLst>
            </p:cNvPr>
            <p:cNvSpPr>
              <a:spLocks/>
            </p:cNvSpPr>
            <p:nvPr/>
          </p:nvSpPr>
          <p:spPr bwMode="auto">
            <a:xfrm rot="9000000">
              <a:off x="4314801" y="2573372"/>
              <a:ext cx="1650571" cy="832943"/>
            </a:xfrm>
            <a:custGeom>
              <a:avLst/>
              <a:gdLst>
                <a:gd name="T0" fmla="*/ 4456 w 8085"/>
                <a:gd name="T1" fmla="*/ 75 h 16320"/>
                <a:gd name="T2" fmla="*/ 5053 w 8085"/>
                <a:gd name="T3" fmla="*/ 448 h 16320"/>
                <a:gd name="T4" fmla="*/ 5616 w 8085"/>
                <a:gd name="T5" fmla="*/ 1081 h 16320"/>
                <a:gd name="T6" fmla="*/ 6138 w 8085"/>
                <a:gd name="T7" fmla="*/ 1921 h 16320"/>
                <a:gd name="T8" fmla="*/ 6613 w 8085"/>
                <a:gd name="T9" fmla="*/ 2912 h 16320"/>
                <a:gd name="T10" fmla="*/ 7035 w 8085"/>
                <a:gd name="T11" fmla="*/ 4000 h 16320"/>
                <a:gd name="T12" fmla="*/ 7395 w 8085"/>
                <a:gd name="T13" fmla="*/ 5130 h 16320"/>
                <a:gd name="T14" fmla="*/ 7687 w 8085"/>
                <a:gd name="T15" fmla="*/ 6246 h 16320"/>
                <a:gd name="T16" fmla="*/ 7903 w 8085"/>
                <a:gd name="T17" fmla="*/ 7295 h 16320"/>
                <a:gd name="T18" fmla="*/ 8038 w 8085"/>
                <a:gd name="T19" fmla="*/ 8220 h 16320"/>
                <a:gd name="T20" fmla="*/ 8085 w 8085"/>
                <a:gd name="T21" fmla="*/ 8968 h 16320"/>
                <a:gd name="T22" fmla="*/ 8038 w 8085"/>
                <a:gd name="T23" fmla="*/ 9675 h 16320"/>
                <a:gd name="T24" fmla="*/ 7903 w 8085"/>
                <a:gd name="T25" fmla="*/ 10492 h 16320"/>
                <a:gd name="T26" fmla="*/ 7687 w 8085"/>
                <a:gd name="T27" fmla="*/ 11377 h 16320"/>
                <a:gd name="T28" fmla="*/ 7395 w 8085"/>
                <a:gd name="T29" fmla="*/ 12294 h 16320"/>
                <a:gd name="T30" fmla="*/ 7035 w 8085"/>
                <a:gd name="T31" fmla="*/ 13203 h 16320"/>
                <a:gd name="T32" fmla="*/ 6613 w 8085"/>
                <a:gd name="T33" fmla="*/ 14065 h 16320"/>
                <a:gd name="T34" fmla="*/ 6138 w 8085"/>
                <a:gd name="T35" fmla="*/ 14841 h 16320"/>
                <a:gd name="T36" fmla="*/ 5616 w 8085"/>
                <a:gd name="T37" fmla="*/ 15492 h 16320"/>
                <a:gd name="T38" fmla="*/ 5053 w 8085"/>
                <a:gd name="T39" fmla="*/ 15978 h 16320"/>
                <a:gd name="T40" fmla="*/ 4456 w 8085"/>
                <a:gd name="T41" fmla="*/ 16263 h 16320"/>
                <a:gd name="T42" fmla="*/ 3834 w 8085"/>
                <a:gd name="T43" fmla="*/ 16306 h 16320"/>
                <a:gd name="T44" fmla="*/ 3228 w 8085"/>
                <a:gd name="T45" fmla="*/ 16098 h 16320"/>
                <a:gd name="T46" fmla="*/ 2653 w 8085"/>
                <a:gd name="T47" fmla="*/ 15673 h 16320"/>
                <a:gd name="T48" fmla="*/ 2116 w 8085"/>
                <a:gd name="T49" fmla="*/ 15074 h 16320"/>
                <a:gd name="T50" fmla="*/ 1624 w 8085"/>
                <a:gd name="T51" fmla="*/ 14335 h 16320"/>
                <a:gd name="T52" fmla="*/ 1184 w 8085"/>
                <a:gd name="T53" fmla="*/ 13498 h 16320"/>
                <a:gd name="T54" fmla="*/ 803 w 8085"/>
                <a:gd name="T55" fmla="*/ 12600 h 16320"/>
                <a:gd name="T56" fmla="*/ 488 w 8085"/>
                <a:gd name="T57" fmla="*/ 11682 h 16320"/>
                <a:gd name="T58" fmla="*/ 245 w 8085"/>
                <a:gd name="T59" fmla="*/ 10781 h 16320"/>
                <a:gd name="T60" fmla="*/ 82 w 8085"/>
                <a:gd name="T61" fmla="*/ 9937 h 16320"/>
                <a:gd name="T62" fmla="*/ 5 w 8085"/>
                <a:gd name="T63" fmla="*/ 9189 h 16320"/>
                <a:gd name="T64" fmla="*/ 21 w 8085"/>
                <a:gd name="T65" fmla="*/ 8492 h 16320"/>
                <a:gd name="T66" fmla="*/ 127 w 8085"/>
                <a:gd name="T67" fmla="*/ 7619 h 16320"/>
                <a:gd name="T68" fmla="*/ 318 w 8085"/>
                <a:gd name="T69" fmla="*/ 6606 h 16320"/>
                <a:gd name="T70" fmla="*/ 585 w 8085"/>
                <a:gd name="T71" fmla="*/ 5506 h 16320"/>
                <a:gd name="T72" fmla="*/ 923 w 8085"/>
                <a:gd name="T73" fmla="*/ 4375 h 16320"/>
                <a:gd name="T74" fmla="*/ 1324 w 8085"/>
                <a:gd name="T75" fmla="*/ 3267 h 16320"/>
                <a:gd name="T76" fmla="*/ 1783 w 8085"/>
                <a:gd name="T77" fmla="*/ 2237 h 16320"/>
                <a:gd name="T78" fmla="*/ 2290 w 8085"/>
                <a:gd name="T79" fmla="*/ 1340 h 16320"/>
                <a:gd name="T80" fmla="*/ 2840 w 8085"/>
                <a:gd name="T81" fmla="*/ 632 h 16320"/>
                <a:gd name="T82" fmla="*/ 3427 w 8085"/>
                <a:gd name="T83" fmla="*/ 167 h 16320"/>
                <a:gd name="T84" fmla="*/ 4043 w 8085"/>
                <a:gd name="T85" fmla="*/ 0 h 16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085" h="16320">
                  <a:moveTo>
                    <a:pt x="4043" y="0"/>
                  </a:moveTo>
                  <a:lnTo>
                    <a:pt x="4251" y="19"/>
                  </a:lnTo>
                  <a:lnTo>
                    <a:pt x="4456" y="75"/>
                  </a:lnTo>
                  <a:lnTo>
                    <a:pt x="4658" y="167"/>
                  </a:lnTo>
                  <a:lnTo>
                    <a:pt x="4857" y="292"/>
                  </a:lnTo>
                  <a:lnTo>
                    <a:pt x="5053" y="448"/>
                  </a:lnTo>
                  <a:lnTo>
                    <a:pt x="5245" y="632"/>
                  </a:lnTo>
                  <a:lnTo>
                    <a:pt x="5432" y="845"/>
                  </a:lnTo>
                  <a:lnTo>
                    <a:pt x="5616" y="1081"/>
                  </a:lnTo>
                  <a:lnTo>
                    <a:pt x="5795" y="1340"/>
                  </a:lnTo>
                  <a:lnTo>
                    <a:pt x="5969" y="1622"/>
                  </a:lnTo>
                  <a:lnTo>
                    <a:pt x="6138" y="1921"/>
                  </a:lnTo>
                  <a:lnTo>
                    <a:pt x="6302" y="2237"/>
                  </a:lnTo>
                  <a:lnTo>
                    <a:pt x="6461" y="2568"/>
                  </a:lnTo>
                  <a:lnTo>
                    <a:pt x="6613" y="2912"/>
                  </a:lnTo>
                  <a:lnTo>
                    <a:pt x="6761" y="3267"/>
                  </a:lnTo>
                  <a:lnTo>
                    <a:pt x="6901" y="3630"/>
                  </a:lnTo>
                  <a:lnTo>
                    <a:pt x="7035" y="4000"/>
                  </a:lnTo>
                  <a:lnTo>
                    <a:pt x="7162" y="4375"/>
                  </a:lnTo>
                  <a:lnTo>
                    <a:pt x="7282" y="4752"/>
                  </a:lnTo>
                  <a:lnTo>
                    <a:pt x="7395" y="5130"/>
                  </a:lnTo>
                  <a:lnTo>
                    <a:pt x="7500" y="5506"/>
                  </a:lnTo>
                  <a:lnTo>
                    <a:pt x="7597" y="5879"/>
                  </a:lnTo>
                  <a:lnTo>
                    <a:pt x="7687" y="6246"/>
                  </a:lnTo>
                  <a:lnTo>
                    <a:pt x="7767" y="6606"/>
                  </a:lnTo>
                  <a:lnTo>
                    <a:pt x="7840" y="6956"/>
                  </a:lnTo>
                  <a:lnTo>
                    <a:pt x="7903" y="7295"/>
                  </a:lnTo>
                  <a:lnTo>
                    <a:pt x="7958" y="7619"/>
                  </a:lnTo>
                  <a:lnTo>
                    <a:pt x="8003" y="7928"/>
                  </a:lnTo>
                  <a:lnTo>
                    <a:pt x="8038" y="8220"/>
                  </a:lnTo>
                  <a:lnTo>
                    <a:pt x="8064" y="8492"/>
                  </a:lnTo>
                  <a:lnTo>
                    <a:pt x="8080" y="8741"/>
                  </a:lnTo>
                  <a:lnTo>
                    <a:pt x="8085" y="8968"/>
                  </a:lnTo>
                  <a:lnTo>
                    <a:pt x="8080" y="9189"/>
                  </a:lnTo>
                  <a:lnTo>
                    <a:pt x="8064" y="9426"/>
                  </a:lnTo>
                  <a:lnTo>
                    <a:pt x="8038" y="9675"/>
                  </a:lnTo>
                  <a:lnTo>
                    <a:pt x="8003" y="9937"/>
                  </a:lnTo>
                  <a:lnTo>
                    <a:pt x="7958" y="10210"/>
                  </a:lnTo>
                  <a:lnTo>
                    <a:pt x="7903" y="10492"/>
                  </a:lnTo>
                  <a:lnTo>
                    <a:pt x="7840" y="10781"/>
                  </a:lnTo>
                  <a:lnTo>
                    <a:pt x="7767" y="11077"/>
                  </a:lnTo>
                  <a:lnTo>
                    <a:pt x="7687" y="11377"/>
                  </a:lnTo>
                  <a:lnTo>
                    <a:pt x="7597" y="11682"/>
                  </a:lnTo>
                  <a:lnTo>
                    <a:pt x="7500" y="11988"/>
                  </a:lnTo>
                  <a:lnTo>
                    <a:pt x="7395" y="12294"/>
                  </a:lnTo>
                  <a:lnTo>
                    <a:pt x="7282" y="12600"/>
                  </a:lnTo>
                  <a:lnTo>
                    <a:pt x="7162" y="12904"/>
                  </a:lnTo>
                  <a:lnTo>
                    <a:pt x="7035" y="13203"/>
                  </a:lnTo>
                  <a:lnTo>
                    <a:pt x="6901" y="13498"/>
                  </a:lnTo>
                  <a:lnTo>
                    <a:pt x="6761" y="13785"/>
                  </a:lnTo>
                  <a:lnTo>
                    <a:pt x="6613" y="14065"/>
                  </a:lnTo>
                  <a:lnTo>
                    <a:pt x="6461" y="14335"/>
                  </a:lnTo>
                  <a:lnTo>
                    <a:pt x="6302" y="14594"/>
                  </a:lnTo>
                  <a:lnTo>
                    <a:pt x="6138" y="14841"/>
                  </a:lnTo>
                  <a:lnTo>
                    <a:pt x="5969" y="15074"/>
                  </a:lnTo>
                  <a:lnTo>
                    <a:pt x="5795" y="15291"/>
                  </a:lnTo>
                  <a:lnTo>
                    <a:pt x="5616" y="15492"/>
                  </a:lnTo>
                  <a:lnTo>
                    <a:pt x="5432" y="15673"/>
                  </a:lnTo>
                  <a:lnTo>
                    <a:pt x="5245" y="15837"/>
                  </a:lnTo>
                  <a:lnTo>
                    <a:pt x="5053" y="15978"/>
                  </a:lnTo>
                  <a:lnTo>
                    <a:pt x="4857" y="16098"/>
                  </a:lnTo>
                  <a:lnTo>
                    <a:pt x="4658" y="16193"/>
                  </a:lnTo>
                  <a:lnTo>
                    <a:pt x="4456" y="16263"/>
                  </a:lnTo>
                  <a:lnTo>
                    <a:pt x="4251" y="16306"/>
                  </a:lnTo>
                  <a:lnTo>
                    <a:pt x="4043" y="16320"/>
                  </a:lnTo>
                  <a:lnTo>
                    <a:pt x="3834" y="16306"/>
                  </a:lnTo>
                  <a:lnTo>
                    <a:pt x="3629" y="16263"/>
                  </a:lnTo>
                  <a:lnTo>
                    <a:pt x="3427" y="16193"/>
                  </a:lnTo>
                  <a:lnTo>
                    <a:pt x="3228" y="16098"/>
                  </a:lnTo>
                  <a:lnTo>
                    <a:pt x="3032" y="15978"/>
                  </a:lnTo>
                  <a:lnTo>
                    <a:pt x="2840" y="15837"/>
                  </a:lnTo>
                  <a:lnTo>
                    <a:pt x="2653" y="15673"/>
                  </a:lnTo>
                  <a:lnTo>
                    <a:pt x="2469" y="15492"/>
                  </a:lnTo>
                  <a:lnTo>
                    <a:pt x="2290" y="15291"/>
                  </a:lnTo>
                  <a:lnTo>
                    <a:pt x="2116" y="15074"/>
                  </a:lnTo>
                  <a:lnTo>
                    <a:pt x="1947" y="14841"/>
                  </a:lnTo>
                  <a:lnTo>
                    <a:pt x="1783" y="14594"/>
                  </a:lnTo>
                  <a:lnTo>
                    <a:pt x="1624" y="14335"/>
                  </a:lnTo>
                  <a:lnTo>
                    <a:pt x="1472" y="14065"/>
                  </a:lnTo>
                  <a:lnTo>
                    <a:pt x="1324" y="13785"/>
                  </a:lnTo>
                  <a:lnTo>
                    <a:pt x="1184" y="13498"/>
                  </a:lnTo>
                  <a:lnTo>
                    <a:pt x="1050" y="13203"/>
                  </a:lnTo>
                  <a:lnTo>
                    <a:pt x="923" y="12904"/>
                  </a:lnTo>
                  <a:lnTo>
                    <a:pt x="803" y="12600"/>
                  </a:lnTo>
                  <a:lnTo>
                    <a:pt x="690" y="12294"/>
                  </a:lnTo>
                  <a:lnTo>
                    <a:pt x="585" y="11988"/>
                  </a:lnTo>
                  <a:lnTo>
                    <a:pt x="488" y="11682"/>
                  </a:lnTo>
                  <a:lnTo>
                    <a:pt x="398" y="11377"/>
                  </a:lnTo>
                  <a:lnTo>
                    <a:pt x="318" y="11077"/>
                  </a:lnTo>
                  <a:lnTo>
                    <a:pt x="245" y="10781"/>
                  </a:lnTo>
                  <a:lnTo>
                    <a:pt x="182" y="10492"/>
                  </a:lnTo>
                  <a:lnTo>
                    <a:pt x="127" y="10210"/>
                  </a:lnTo>
                  <a:lnTo>
                    <a:pt x="82" y="9937"/>
                  </a:lnTo>
                  <a:lnTo>
                    <a:pt x="47" y="9675"/>
                  </a:lnTo>
                  <a:lnTo>
                    <a:pt x="21" y="9426"/>
                  </a:lnTo>
                  <a:lnTo>
                    <a:pt x="5" y="9189"/>
                  </a:lnTo>
                  <a:lnTo>
                    <a:pt x="0" y="8968"/>
                  </a:lnTo>
                  <a:lnTo>
                    <a:pt x="5" y="8741"/>
                  </a:lnTo>
                  <a:lnTo>
                    <a:pt x="21" y="8492"/>
                  </a:lnTo>
                  <a:lnTo>
                    <a:pt x="47" y="8220"/>
                  </a:lnTo>
                  <a:lnTo>
                    <a:pt x="82" y="7928"/>
                  </a:lnTo>
                  <a:lnTo>
                    <a:pt x="127" y="7619"/>
                  </a:lnTo>
                  <a:lnTo>
                    <a:pt x="182" y="7295"/>
                  </a:lnTo>
                  <a:lnTo>
                    <a:pt x="245" y="6956"/>
                  </a:lnTo>
                  <a:lnTo>
                    <a:pt x="318" y="6606"/>
                  </a:lnTo>
                  <a:lnTo>
                    <a:pt x="398" y="6246"/>
                  </a:lnTo>
                  <a:lnTo>
                    <a:pt x="488" y="5879"/>
                  </a:lnTo>
                  <a:lnTo>
                    <a:pt x="585" y="5506"/>
                  </a:lnTo>
                  <a:lnTo>
                    <a:pt x="690" y="5130"/>
                  </a:lnTo>
                  <a:lnTo>
                    <a:pt x="803" y="4752"/>
                  </a:lnTo>
                  <a:lnTo>
                    <a:pt x="923" y="4375"/>
                  </a:lnTo>
                  <a:lnTo>
                    <a:pt x="1050" y="4000"/>
                  </a:lnTo>
                  <a:lnTo>
                    <a:pt x="1184" y="3630"/>
                  </a:lnTo>
                  <a:lnTo>
                    <a:pt x="1324" y="3267"/>
                  </a:lnTo>
                  <a:lnTo>
                    <a:pt x="1472" y="2912"/>
                  </a:lnTo>
                  <a:lnTo>
                    <a:pt x="1624" y="2568"/>
                  </a:lnTo>
                  <a:lnTo>
                    <a:pt x="1783" y="2237"/>
                  </a:lnTo>
                  <a:lnTo>
                    <a:pt x="1947" y="1921"/>
                  </a:lnTo>
                  <a:lnTo>
                    <a:pt x="2116" y="1622"/>
                  </a:lnTo>
                  <a:lnTo>
                    <a:pt x="2290" y="1340"/>
                  </a:lnTo>
                  <a:lnTo>
                    <a:pt x="2469" y="1081"/>
                  </a:lnTo>
                  <a:lnTo>
                    <a:pt x="2653" y="845"/>
                  </a:lnTo>
                  <a:lnTo>
                    <a:pt x="2840" y="632"/>
                  </a:lnTo>
                  <a:lnTo>
                    <a:pt x="3032" y="448"/>
                  </a:lnTo>
                  <a:lnTo>
                    <a:pt x="3228" y="292"/>
                  </a:lnTo>
                  <a:lnTo>
                    <a:pt x="3427" y="167"/>
                  </a:lnTo>
                  <a:lnTo>
                    <a:pt x="3629" y="75"/>
                  </a:lnTo>
                  <a:lnTo>
                    <a:pt x="3834" y="19"/>
                  </a:lnTo>
                  <a:lnTo>
                    <a:pt x="4043" y="0"/>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0" name="Freeform 13">
              <a:extLst>
                <a:ext uri="{FF2B5EF4-FFF2-40B4-BE49-F238E27FC236}">
                  <a16:creationId xmlns:a16="http://schemas.microsoft.com/office/drawing/2014/main" id="{9EA0BA0B-AE97-4054-B89D-AC1C5CCF7330}"/>
                </a:ext>
              </a:extLst>
            </p:cNvPr>
            <p:cNvSpPr>
              <a:spLocks/>
            </p:cNvSpPr>
            <p:nvPr/>
          </p:nvSpPr>
          <p:spPr bwMode="auto">
            <a:xfrm rot="11700000">
              <a:off x="4227735" y="3553426"/>
              <a:ext cx="1178290" cy="594611"/>
            </a:xfrm>
            <a:custGeom>
              <a:avLst/>
              <a:gdLst>
                <a:gd name="T0" fmla="*/ 4456 w 8085"/>
                <a:gd name="T1" fmla="*/ 75 h 16320"/>
                <a:gd name="T2" fmla="*/ 5053 w 8085"/>
                <a:gd name="T3" fmla="*/ 448 h 16320"/>
                <a:gd name="T4" fmla="*/ 5616 w 8085"/>
                <a:gd name="T5" fmla="*/ 1081 h 16320"/>
                <a:gd name="T6" fmla="*/ 6138 w 8085"/>
                <a:gd name="T7" fmla="*/ 1921 h 16320"/>
                <a:gd name="T8" fmla="*/ 6613 w 8085"/>
                <a:gd name="T9" fmla="*/ 2912 h 16320"/>
                <a:gd name="T10" fmla="*/ 7035 w 8085"/>
                <a:gd name="T11" fmla="*/ 4000 h 16320"/>
                <a:gd name="T12" fmla="*/ 7395 w 8085"/>
                <a:gd name="T13" fmla="*/ 5130 h 16320"/>
                <a:gd name="T14" fmla="*/ 7687 w 8085"/>
                <a:gd name="T15" fmla="*/ 6246 h 16320"/>
                <a:gd name="T16" fmla="*/ 7903 w 8085"/>
                <a:gd name="T17" fmla="*/ 7295 h 16320"/>
                <a:gd name="T18" fmla="*/ 8038 w 8085"/>
                <a:gd name="T19" fmla="*/ 8220 h 16320"/>
                <a:gd name="T20" fmla="*/ 8085 w 8085"/>
                <a:gd name="T21" fmla="*/ 8968 h 16320"/>
                <a:gd name="T22" fmla="*/ 8038 w 8085"/>
                <a:gd name="T23" fmla="*/ 9675 h 16320"/>
                <a:gd name="T24" fmla="*/ 7903 w 8085"/>
                <a:gd name="T25" fmla="*/ 10492 h 16320"/>
                <a:gd name="T26" fmla="*/ 7687 w 8085"/>
                <a:gd name="T27" fmla="*/ 11377 h 16320"/>
                <a:gd name="T28" fmla="*/ 7395 w 8085"/>
                <a:gd name="T29" fmla="*/ 12294 h 16320"/>
                <a:gd name="T30" fmla="*/ 7035 w 8085"/>
                <a:gd name="T31" fmla="*/ 13203 h 16320"/>
                <a:gd name="T32" fmla="*/ 6613 w 8085"/>
                <a:gd name="T33" fmla="*/ 14065 h 16320"/>
                <a:gd name="T34" fmla="*/ 6138 w 8085"/>
                <a:gd name="T35" fmla="*/ 14841 h 16320"/>
                <a:gd name="T36" fmla="*/ 5616 w 8085"/>
                <a:gd name="T37" fmla="*/ 15492 h 16320"/>
                <a:gd name="T38" fmla="*/ 5053 w 8085"/>
                <a:gd name="T39" fmla="*/ 15978 h 16320"/>
                <a:gd name="T40" fmla="*/ 4456 w 8085"/>
                <a:gd name="T41" fmla="*/ 16263 h 16320"/>
                <a:gd name="T42" fmla="*/ 3834 w 8085"/>
                <a:gd name="T43" fmla="*/ 16306 h 16320"/>
                <a:gd name="T44" fmla="*/ 3228 w 8085"/>
                <a:gd name="T45" fmla="*/ 16098 h 16320"/>
                <a:gd name="T46" fmla="*/ 2653 w 8085"/>
                <a:gd name="T47" fmla="*/ 15673 h 16320"/>
                <a:gd name="T48" fmla="*/ 2116 w 8085"/>
                <a:gd name="T49" fmla="*/ 15074 h 16320"/>
                <a:gd name="T50" fmla="*/ 1624 w 8085"/>
                <a:gd name="T51" fmla="*/ 14335 h 16320"/>
                <a:gd name="T52" fmla="*/ 1184 w 8085"/>
                <a:gd name="T53" fmla="*/ 13498 h 16320"/>
                <a:gd name="T54" fmla="*/ 803 w 8085"/>
                <a:gd name="T55" fmla="*/ 12600 h 16320"/>
                <a:gd name="T56" fmla="*/ 488 w 8085"/>
                <a:gd name="T57" fmla="*/ 11682 h 16320"/>
                <a:gd name="T58" fmla="*/ 245 w 8085"/>
                <a:gd name="T59" fmla="*/ 10781 h 16320"/>
                <a:gd name="T60" fmla="*/ 82 w 8085"/>
                <a:gd name="T61" fmla="*/ 9937 h 16320"/>
                <a:gd name="T62" fmla="*/ 5 w 8085"/>
                <a:gd name="T63" fmla="*/ 9189 h 16320"/>
                <a:gd name="T64" fmla="*/ 21 w 8085"/>
                <a:gd name="T65" fmla="*/ 8492 h 16320"/>
                <a:gd name="T66" fmla="*/ 127 w 8085"/>
                <a:gd name="T67" fmla="*/ 7619 h 16320"/>
                <a:gd name="T68" fmla="*/ 318 w 8085"/>
                <a:gd name="T69" fmla="*/ 6606 h 16320"/>
                <a:gd name="T70" fmla="*/ 585 w 8085"/>
                <a:gd name="T71" fmla="*/ 5506 h 16320"/>
                <a:gd name="T72" fmla="*/ 923 w 8085"/>
                <a:gd name="T73" fmla="*/ 4375 h 16320"/>
                <a:gd name="T74" fmla="*/ 1324 w 8085"/>
                <a:gd name="T75" fmla="*/ 3267 h 16320"/>
                <a:gd name="T76" fmla="*/ 1783 w 8085"/>
                <a:gd name="T77" fmla="*/ 2237 h 16320"/>
                <a:gd name="T78" fmla="*/ 2290 w 8085"/>
                <a:gd name="T79" fmla="*/ 1340 h 16320"/>
                <a:gd name="T80" fmla="*/ 2840 w 8085"/>
                <a:gd name="T81" fmla="*/ 632 h 16320"/>
                <a:gd name="T82" fmla="*/ 3427 w 8085"/>
                <a:gd name="T83" fmla="*/ 167 h 16320"/>
                <a:gd name="T84" fmla="*/ 4043 w 8085"/>
                <a:gd name="T85" fmla="*/ 0 h 16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085" h="16320">
                  <a:moveTo>
                    <a:pt x="4043" y="0"/>
                  </a:moveTo>
                  <a:lnTo>
                    <a:pt x="4251" y="19"/>
                  </a:lnTo>
                  <a:lnTo>
                    <a:pt x="4456" y="75"/>
                  </a:lnTo>
                  <a:lnTo>
                    <a:pt x="4658" y="167"/>
                  </a:lnTo>
                  <a:lnTo>
                    <a:pt x="4857" y="292"/>
                  </a:lnTo>
                  <a:lnTo>
                    <a:pt x="5053" y="448"/>
                  </a:lnTo>
                  <a:lnTo>
                    <a:pt x="5245" y="632"/>
                  </a:lnTo>
                  <a:lnTo>
                    <a:pt x="5432" y="845"/>
                  </a:lnTo>
                  <a:lnTo>
                    <a:pt x="5616" y="1081"/>
                  </a:lnTo>
                  <a:lnTo>
                    <a:pt x="5795" y="1340"/>
                  </a:lnTo>
                  <a:lnTo>
                    <a:pt x="5969" y="1622"/>
                  </a:lnTo>
                  <a:lnTo>
                    <a:pt x="6138" y="1921"/>
                  </a:lnTo>
                  <a:lnTo>
                    <a:pt x="6302" y="2237"/>
                  </a:lnTo>
                  <a:lnTo>
                    <a:pt x="6461" y="2568"/>
                  </a:lnTo>
                  <a:lnTo>
                    <a:pt x="6613" y="2912"/>
                  </a:lnTo>
                  <a:lnTo>
                    <a:pt x="6761" y="3267"/>
                  </a:lnTo>
                  <a:lnTo>
                    <a:pt x="6901" y="3630"/>
                  </a:lnTo>
                  <a:lnTo>
                    <a:pt x="7035" y="4000"/>
                  </a:lnTo>
                  <a:lnTo>
                    <a:pt x="7162" y="4375"/>
                  </a:lnTo>
                  <a:lnTo>
                    <a:pt x="7282" y="4752"/>
                  </a:lnTo>
                  <a:lnTo>
                    <a:pt x="7395" y="5130"/>
                  </a:lnTo>
                  <a:lnTo>
                    <a:pt x="7500" y="5506"/>
                  </a:lnTo>
                  <a:lnTo>
                    <a:pt x="7597" y="5879"/>
                  </a:lnTo>
                  <a:lnTo>
                    <a:pt x="7687" y="6246"/>
                  </a:lnTo>
                  <a:lnTo>
                    <a:pt x="7767" y="6606"/>
                  </a:lnTo>
                  <a:lnTo>
                    <a:pt x="7840" y="6956"/>
                  </a:lnTo>
                  <a:lnTo>
                    <a:pt x="7903" y="7295"/>
                  </a:lnTo>
                  <a:lnTo>
                    <a:pt x="7958" y="7619"/>
                  </a:lnTo>
                  <a:lnTo>
                    <a:pt x="8003" y="7928"/>
                  </a:lnTo>
                  <a:lnTo>
                    <a:pt x="8038" y="8220"/>
                  </a:lnTo>
                  <a:lnTo>
                    <a:pt x="8064" y="8492"/>
                  </a:lnTo>
                  <a:lnTo>
                    <a:pt x="8080" y="8741"/>
                  </a:lnTo>
                  <a:lnTo>
                    <a:pt x="8085" y="8968"/>
                  </a:lnTo>
                  <a:lnTo>
                    <a:pt x="8080" y="9189"/>
                  </a:lnTo>
                  <a:lnTo>
                    <a:pt x="8064" y="9426"/>
                  </a:lnTo>
                  <a:lnTo>
                    <a:pt x="8038" y="9675"/>
                  </a:lnTo>
                  <a:lnTo>
                    <a:pt x="8003" y="9937"/>
                  </a:lnTo>
                  <a:lnTo>
                    <a:pt x="7958" y="10210"/>
                  </a:lnTo>
                  <a:lnTo>
                    <a:pt x="7903" y="10492"/>
                  </a:lnTo>
                  <a:lnTo>
                    <a:pt x="7840" y="10781"/>
                  </a:lnTo>
                  <a:lnTo>
                    <a:pt x="7767" y="11077"/>
                  </a:lnTo>
                  <a:lnTo>
                    <a:pt x="7687" y="11377"/>
                  </a:lnTo>
                  <a:lnTo>
                    <a:pt x="7597" y="11682"/>
                  </a:lnTo>
                  <a:lnTo>
                    <a:pt x="7500" y="11988"/>
                  </a:lnTo>
                  <a:lnTo>
                    <a:pt x="7395" y="12294"/>
                  </a:lnTo>
                  <a:lnTo>
                    <a:pt x="7282" y="12600"/>
                  </a:lnTo>
                  <a:lnTo>
                    <a:pt x="7162" y="12904"/>
                  </a:lnTo>
                  <a:lnTo>
                    <a:pt x="7035" y="13203"/>
                  </a:lnTo>
                  <a:lnTo>
                    <a:pt x="6901" y="13498"/>
                  </a:lnTo>
                  <a:lnTo>
                    <a:pt x="6761" y="13785"/>
                  </a:lnTo>
                  <a:lnTo>
                    <a:pt x="6613" y="14065"/>
                  </a:lnTo>
                  <a:lnTo>
                    <a:pt x="6461" y="14335"/>
                  </a:lnTo>
                  <a:lnTo>
                    <a:pt x="6302" y="14594"/>
                  </a:lnTo>
                  <a:lnTo>
                    <a:pt x="6138" y="14841"/>
                  </a:lnTo>
                  <a:lnTo>
                    <a:pt x="5969" y="15074"/>
                  </a:lnTo>
                  <a:lnTo>
                    <a:pt x="5795" y="15291"/>
                  </a:lnTo>
                  <a:lnTo>
                    <a:pt x="5616" y="15492"/>
                  </a:lnTo>
                  <a:lnTo>
                    <a:pt x="5432" y="15673"/>
                  </a:lnTo>
                  <a:lnTo>
                    <a:pt x="5245" y="15837"/>
                  </a:lnTo>
                  <a:lnTo>
                    <a:pt x="5053" y="15978"/>
                  </a:lnTo>
                  <a:lnTo>
                    <a:pt x="4857" y="16098"/>
                  </a:lnTo>
                  <a:lnTo>
                    <a:pt x="4658" y="16193"/>
                  </a:lnTo>
                  <a:lnTo>
                    <a:pt x="4456" y="16263"/>
                  </a:lnTo>
                  <a:lnTo>
                    <a:pt x="4251" y="16306"/>
                  </a:lnTo>
                  <a:lnTo>
                    <a:pt x="4043" y="16320"/>
                  </a:lnTo>
                  <a:lnTo>
                    <a:pt x="3834" y="16306"/>
                  </a:lnTo>
                  <a:lnTo>
                    <a:pt x="3629" y="16263"/>
                  </a:lnTo>
                  <a:lnTo>
                    <a:pt x="3427" y="16193"/>
                  </a:lnTo>
                  <a:lnTo>
                    <a:pt x="3228" y="16098"/>
                  </a:lnTo>
                  <a:lnTo>
                    <a:pt x="3032" y="15978"/>
                  </a:lnTo>
                  <a:lnTo>
                    <a:pt x="2840" y="15837"/>
                  </a:lnTo>
                  <a:lnTo>
                    <a:pt x="2653" y="15673"/>
                  </a:lnTo>
                  <a:lnTo>
                    <a:pt x="2469" y="15492"/>
                  </a:lnTo>
                  <a:lnTo>
                    <a:pt x="2290" y="15291"/>
                  </a:lnTo>
                  <a:lnTo>
                    <a:pt x="2116" y="15074"/>
                  </a:lnTo>
                  <a:lnTo>
                    <a:pt x="1947" y="14841"/>
                  </a:lnTo>
                  <a:lnTo>
                    <a:pt x="1783" y="14594"/>
                  </a:lnTo>
                  <a:lnTo>
                    <a:pt x="1624" y="14335"/>
                  </a:lnTo>
                  <a:lnTo>
                    <a:pt x="1472" y="14065"/>
                  </a:lnTo>
                  <a:lnTo>
                    <a:pt x="1324" y="13785"/>
                  </a:lnTo>
                  <a:lnTo>
                    <a:pt x="1184" y="13498"/>
                  </a:lnTo>
                  <a:lnTo>
                    <a:pt x="1050" y="13203"/>
                  </a:lnTo>
                  <a:lnTo>
                    <a:pt x="923" y="12904"/>
                  </a:lnTo>
                  <a:lnTo>
                    <a:pt x="803" y="12600"/>
                  </a:lnTo>
                  <a:lnTo>
                    <a:pt x="690" y="12294"/>
                  </a:lnTo>
                  <a:lnTo>
                    <a:pt x="585" y="11988"/>
                  </a:lnTo>
                  <a:lnTo>
                    <a:pt x="488" y="11682"/>
                  </a:lnTo>
                  <a:lnTo>
                    <a:pt x="398" y="11377"/>
                  </a:lnTo>
                  <a:lnTo>
                    <a:pt x="318" y="11077"/>
                  </a:lnTo>
                  <a:lnTo>
                    <a:pt x="245" y="10781"/>
                  </a:lnTo>
                  <a:lnTo>
                    <a:pt x="182" y="10492"/>
                  </a:lnTo>
                  <a:lnTo>
                    <a:pt x="127" y="10210"/>
                  </a:lnTo>
                  <a:lnTo>
                    <a:pt x="82" y="9937"/>
                  </a:lnTo>
                  <a:lnTo>
                    <a:pt x="47" y="9675"/>
                  </a:lnTo>
                  <a:lnTo>
                    <a:pt x="21" y="9426"/>
                  </a:lnTo>
                  <a:lnTo>
                    <a:pt x="5" y="9189"/>
                  </a:lnTo>
                  <a:lnTo>
                    <a:pt x="0" y="8968"/>
                  </a:lnTo>
                  <a:lnTo>
                    <a:pt x="5" y="8741"/>
                  </a:lnTo>
                  <a:lnTo>
                    <a:pt x="21" y="8492"/>
                  </a:lnTo>
                  <a:lnTo>
                    <a:pt x="47" y="8220"/>
                  </a:lnTo>
                  <a:lnTo>
                    <a:pt x="82" y="7928"/>
                  </a:lnTo>
                  <a:lnTo>
                    <a:pt x="127" y="7619"/>
                  </a:lnTo>
                  <a:lnTo>
                    <a:pt x="182" y="7295"/>
                  </a:lnTo>
                  <a:lnTo>
                    <a:pt x="245" y="6956"/>
                  </a:lnTo>
                  <a:lnTo>
                    <a:pt x="318" y="6606"/>
                  </a:lnTo>
                  <a:lnTo>
                    <a:pt x="398" y="6246"/>
                  </a:lnTo>
                  <a:lnTo>
                    <a:pt x="488" y="5879"/>
                  </a:lnTo>
                  <a:lnTo>
                    <a:pt x="585" y="5506"/>
                  </a:lnTo>
                  <a:lnTo>
                    <a:pt x="690" y="5130"/>
                  </a:lnTo>
                  <a:lnTo>
                    <a:pt x="803" y="4752"/>
                  </a:lnTo>
                  <a:lnTo>
                    <a:pt x="923" y="4375"/>
                  </a:lnTo>
                  <a:lnTo>
                    <a:pt x="1050" y="4000"/>
                  </a:lnTo>
                  <a:lnTo>
                    <a:pt x="1184" y="3630"/>
                  </a:lnTo>
                  <a:lnTo>
                    <a:pt x="1324" y="3267"/>
                  </a:lnTo>
                  <a:lnTo>
                    <a:pt x="1472" y="2912"/>
                  </a:lnTo>
                  <a:lnTo>
                    <a:pt x="1624" y="2568"/>
                  </a:lnTo>
                  <a:lnTo>
                    <a:pt x="1783" y="2237"/>
                  </a:lnTo>
                  <a:lnTo>
                    <a:pt x="1947" y="1921"/>
                  </a:lnTo>
                  <a:lnTo>
                    <a:pt x="2116" y="1622"/>
                  </a:lnTo>
                  <a:lnTo>
                    <a:pt x="2290" y="1340"/>
                  </a:lnTo>
                  <a:lnTo>
                    <a:pt x="2469" y="1081"/>
                  </a:lnTo>
                  <a:lnTo>
                    <a:pt x="2653" y="845"/>
                  </a:lnTo>
                  <a:lnTo>
                    <a:pt x="2840" y="632"/>
                  </a:lnTo>
                  <a:lnTo>
                    <a:pt x="3032" y="448"/>
                  </a:lnTo>
                  <a:lnTo>
                    <a:pt x="3228" y="292"/>
                  </a:lnTo>
                  <a:lnTo>
                    <a:pt x="3427" y="167"/>
                  </a:lnTo>
                  <a:lnTo>
                    <a:pt x="3629" y="75"/>
                  </a:lnTo>
                  <a:lnTo>
                    <a:pt x="3834" y="19"/>
                  </a:lnTo>
                  <a:lnTo>
                    <a:pt x="4043"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1" name="Freeform 14">
              <a:extLst>
                <a:ext uri="{FF2B5EF4-FFF2-40B4-BE49-F238E27FC236}">
                  <a16:creationId xmlns:a16="http://schemas.microsoft.com/office/drawing/2014/main" id="{06D634CE-8290-4836-99B2-E357ACED8729}"/>
                </a:ext>
              </a:extLst>
            </p:cNvPr>
            <p:cNvSpPr>
              <a:spLocks/>
            </p:cNvSpPr>
            <p:nvPr/>
          </p:nvSpPr>
          <p:spPr bwMode="auto">
            <a:xfrm rot="6300000">
              <a:off x="3615627" y="2471691"/>
              <a:ext cx="1178290" cy="594611"/>
            </a:xfrm>
            <a:custGeom>
              <a:avLst/>
              <a:gdLst>
                <a:gd name="T0" fmla="*/ 4456 w 8085"/>
                <a:gd name="T1" fmla="*/ 75 h 16320"/>
                <a:gd name="T2" fmla="*/ 5053 w 8085"/>
                <a:gd name="T3" fmla="*/ 448 h 16320"/>
                <a:gd name="T4" fmla="*/ 5616 w 8085"/>
                <a:gd name="T5" fmla="*/ 1081 h 16320"/>
                <a:gd name="T6" fmla="*/ 6138 w 8085"/>
                <a:gd name="T7" fmla="*/ 1921 h 16320"/>
                <a:gd name="T8" fmla="*/ 6613 w 8085"/>
                <a:gd name="T9" fmla="*/ 2912 h 16320"/>
                <a:gd name="T10" fmla="*/ 7035 w 8085"/>
                <a:gd name="T11" fmla="*/ 4000 h 16320"/>
                <a:gd name="T12" fmla="*/ 7395 w 8085"/>
                <a:gd name="T13" fmla="*/ 5130 h 16320"/>
                <a:gd name="T14" fmla="*/ 7687 w 8085"/>
                <a:gd name="T15" fmla="*/ 6246 h 16320"/>
                <a:gd name="T16" fmla="*/ 7903 w 8085"/>
                <a:gd name="T17" fmla="*/ 7295 h 16320"/>
                <a:gd name="T18" fmla="*/ 8038 w 8085"/>
                <a:gd name="T19" fmla="*/ 8220 h 16320"/>
                <a:gd name="T20" fmla="*/ 8085 w 8085"/>
                <a:gd name="T21" fmla="*/ 8968 h 16320"/>
                <a:gd name="T22" fmla="*/ 8038 w 8085"/>
                <a:gd name="T23" fmla="*/ 9675 h 16320"/>
                <a:gd name="T24" fmla="*/ 7903 w 8085"/>
                <a:gd name="T25" fmla="*/ 10492 h 16320"/>
                <a:gd name="T26" fmla="*/ 7687 w 8085"/>
                <a:gd name="T27" fmla="*/ 11377 h 16320"/>
                <a:gd name="T28" fmla="*/ 7395 w 8085"/>
                <a:gd name="T29" fmla="*/ 12294 h 16320"/>
                <a:gd name="T30" fmla="*/ 7035 w 8085"/>
                <a:gd name="T31" fmla="*/ 13203 h 16320"/>
                <a:gd name="T32" fmla="*/ 6613 w 8085"/>
                <a:gd name="T33" fmla="*/ 14065 h 16320"/>
                <a:gd name="T34" fmla="*/ 6138 w 8085"/>
                <a:gd name="T35" fmla="*/ 14841 h 16320"/>
                <a:gd name="T36" fmla="*/ 5616 w 8085"/>
                <a:gd name="T37" fmla="*/ 15492 h 16320"/>
                <a:gd name="T38" fmla="*/ 5053 w 8085"/>
                <a:gd name="T39" fmla="*/ 15978 h 16320"/>
                <a:gd name="T40" fmla="*/ 4456 w 8085"/>
                <a:gd name="T41" fmla="*/ 16263 h 16320"/>
                <a:gd name="T42" fmla="*/ 3834 w 8085"/>
                <a:gd name="T43" fmla="*/ 16306 h 16320"/>
                <a:gd name="T44" fmla="*/ 3228 w 8085"/>
                <a:gd name="T45" fmla="*/ 16098 h 16320"/>
                <a:gd name="T46" fmla="*/ 2653 w 8085"/>
                <a:gd name="T47" fmla="*/ 15673 h 16320"/>
                <a:gd name="T48" fmla="*/ 2116 w 8085"/>
                <a:gd name="T49" fmla="*/ 15074 h 16320"/>
                <a:gd name="T50" fmla="*/ 1624 w 8085"/>
                <a:gd name="T51" fmla="*/ 14335 h 16320"/>
                <a:gd name="T52" fmla="*/ 1184 w 8085"/>
                <a:gd name="T53" fmla="*/ 13498 h 16320"/>
                <a:gd name="T54" fmla="*/ 803 w 8085"/>
                <a:gd name="T55" fmla="*/ 12600 h 16320"/>
                <a:gd name="T56" fmla="*/ 488 w 8085"/>
                <a:gd name="T57" fmla="*/ 11682 h 16320"/>
                <a:gd name="T58" fmla="*/ 245 w 8085"/>
                <a:gd name="T59" fmla="*/ 10781 h 16320"/>
                <a:gd name="T60" fmla="*/ 82 w 8085"/>
                <a:gd name="T61" fmla="*/ 9937 h 16320"/>
                <a:gd name="T62" fmla="*/ 5 w 8085"/>
                <a:gd name="T63" fmla="*/ 9189 h 16320"/>
                <a:gd name="T64" fmla="*/ 21 w 8085"/>
                <a:gd name="T65" fmla="*/ 8492 h 16320"/>
                <a:gd name="T66" fmla="*/ 127 w 8085"/>
                <a:gd name="T67" fmla="*/ 7619 h 16320"/>
                <a:gd name="T68" fmla="*/ 318 w 8085"/>
                <a:gd name="T69" fmla="*/ 6606 h 16320"/>
                <a:gd name="T70" fmla="*/ 585 w 8085"/>
                <a:gd name="T71" fmla="*/ 5506 h 16320"/>
                <a:gd name="T72" fmla="*/ 923 w 8085"/>
                <a:gd name="T73" fmla="*/ 4375 h 16320"/>
                <a:gd name="T74" fmla="*/ 1324 w 8085"/>
                <a:gd name="T75" fmla="*/ 3267 h 16320"/>
                <a:gd name="T76" fmla="*/ 1783 w 8085"/>
                <a:gd name="T77" fmla="*/ 2237 h 16320"/>
                <a:gd name="T78" fmla="*/ 2290 w 8085"/>
                <a:gd name="T79" fmla="*/ 1340 h 16320"/>
                <a:gd name="T80" fmla="*/ 2840 w 8085"/>
                <a:gd name="T81" fmla="*/ 632 h 16320"/>
                <a:gd name="T82" fmla="*/ 3427 w 8085"/>
                <a:gd name="T83" fmla="*/ 167 h 16320"/>
                <a:gd name="T84" fmla="*/ 4043 w 8085"/>
                <a:gd name="T85" fmla="*/ 0 h 16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085" h="16320">
                  <a:moveTo>
                    <a:pt x="4043" y="0"/>
                  </a:moveTo>
                  <a:lnTo>
                    <a:pt x="4251" y="19"/>
                  </a:lnTo>
                  <a:lnTo>
                    <a:pt x="4456" y="75"/>
                  </a:lnTo>
                  <a:lnTo>
                    <a:pt x="4658" y="167"/>
                  </a:lnTo>
                  <a:lnTo>
                    <a:pt x="4857" y="292"/>
                  </a:lnTo>
                  <a:lnTo>
                    <a:pt x="5053" y="448"/>
                  </a:lnTo>
                  <a:lnTo>
                    <a:pt x="5245" y="632"/>
                  </a:lnTo>
                  <a:lnTo>
                    <a:pt x="5432" y="845"/>
                  </a:lnTo>
                  <a:lnTo>
                    <a:pt x="5616" y="1081"/>
                  </a:lnTo>
                  <a:lnTo>
                    <a:pt x="5795" y="1340"/>
                  </a:lnTo>
                  <a:lnTo>
                    <a:pt x="5969" y="1622"/>
                  </a:lnTo>
                  <a:lnTo>
                    <a:pt x="6138" y="1921"/>
                  </a:lnTo>
                  <a:lnTo>
                    <a:pt x="6302" y="2237"/>
                  </a:lnTo>
                  <a:lnTo>
                    <a:pt x="6461" y="2568"/>
                  </a:lnTo>
                  <a:lnTo>
                    <a:pt x="6613" y="2912"/>
                  </a:lnTo>
                  <a:lnTo>
                    <a:pt x="6761" y="3267"/>
                  </a:lnTo>
                  <a:lnTo>
                    <a:pt x="6901" y="3630"/>
                  </a:lnTo>
                  <a:lnTo>
                    <a:pt x="7035" y="4000"/>
                  </a:lnTo>
                  <a:lnTo>
                    <a:pt x="7162" y="4375"/>
                  </a:lnTo>
                  <a:lnTo>
                    <a:pt x="7282" y="4752"/>
                  </a:lnTo>
                  <a:lnTo>
                    <a:pt x="7395" y="5130"/>
                  </a:lnTo>
                  <a:lnTo>
                    <a:pt x="7500" y="5506"/>
                  </a:lnTo>
                  <a:lnTo>
                    <a:pt x="7597" y="5879"/>
                  </a:lnTo>
                  <a:lnTo>
                    <a:pt x="7687" y="6246"/>
                  </a:lnTo>
                  <a:lnTo>
                    <a:pt x="7767" y="6606"/>
                  </a:lnTo>
                  <a:lnTo>
                    <a:pt x="7840" y="6956"/>
                  </a:lnTo>
                  <a:lnTo>
                    <a:pt x="7903" y="7295"/>
                  </a:lnTo>
                  <a:lnTo>
                    <a:pt x="7958" y="7619"/>
                  </a:lnTo>
                  <a:lnTo>
                    <a:pt x="8003" y="7928"/>
                  </a:lnTo>
                  <a:lnTo>
                    <a:pt x="8038" y="8220"/>
                  </a:lnTo>
                  <a:lnTo>
                    <a:pt x="8064" y="8492"/>
                  </a:lnTo>
                  <a:lnTo>
                    <a:pt x="8080" y="8741"/>
                  </a:lnTo>
                  <a:lnTo>
                    <a:pt x="8085" y="8968"/>
                  </a:lnTo>
                  <a:lnTo>
                    <a:pt x="8080" y="9189"/>
                  </a:lnTo>
                  <a:lnTo>
                    <a:pt x="8064" y="9426"/>
                  </a:lnTo>
                  <a:lnTo>
                    <a:pt x="8038" y="9675"/>
                  </a:lnTo>
                  <a:lnTo>
                    <a:pt x="8003" y="9937"/>
                  </a:lnTo>
                  <a:lnTo>
                    <a:pt x="7958" y="10210"/>
                  </a:lnTo>
                  <a:lnTo>
                    <a:pt x="7903" y="10492"/>
                  </a:lnTo>
                  <a:lnTo>
                    <a:pt x="7840" y="10781"/>
                  </a:lnTo>
                  <a:lnTo>
                    <a:pt x="7767" y="11077"/>
                  </a:lnTo>
                  <a:lnTo>
                    <a:pt x="7687" y="11377"/>
                  </a:lnTo>
                  <a:lnTo>
                    <a:pt x="7597" y="11682"/>
                  </a:lnTo>
                  <a:lnTo>
                    <a:pt x="7500" y="11988"/>
                  </a:lnTo>
                  <a:lnTo>
                    <a:pt x="7395" y="12294"/>
                  </a:lnTo>
                  <a:lnTo>
                    <a:pt x="7282" y="12600"/>
                  </a:lnTo>
                  <a:lnTo>
                    <a:pt x="7162" y="12904"/>
                  </a:lnTo>
                  <a:lnTo>
                    <a:pt x="7035" y="13203"/>
                  </a:lnTo>
                  <a:lnTo>
                    <a:pt x="6901" y="13498"/>
                  </a:lnTo>
                  <a:lnTo>
                    <a:pt x="6761" y="13785"/>
                  </a:lnTo>
                  <a:lnTo>
                    <a:pt x="6613" y="14065"/>
                  </a:lnTo>
                  <a:lnTo>
                    <a:pt x="6461" y="14335"/>
                  </a:lnTo>
                  <a:lnTo>
                    <a:pt x="6302" y="14594"/>
                  </a:lnTo>
                  <a:lnTo>
                    <a:pt x="6138" y="14841"/>
                  </a:lnTo>
                  <a:lnTo>
                    <a:pt x="5969" y="15074"/>
                  </a:lnTo>
                  <a:lnTo>
                    <a:pt x="5795" y="15291"/>
                  </a:lnTo>
                  <a:lnTo>
                    <a:pt x="5616" y="15492"/>
                  </a:lnTo>
                  <a:lnTo>
                    <a:pt x="5432" y="15673"/>
                  </a:lnTo>
                  <a:lnTo>
                    <a:pt x="5245" y="15837"/>
                  </a:lnTo>
                  <a:lnTo>
                    <a:pt x="5053" y="15978"/>
                  </a:lnTo>
                  <a:lnTo>
                    <a:pt x="4857" y="16098"/>
                  </a:lnTo>
                  <a:lnTo>
                    <a:pt x="4658" y="16193"/>
                  </a:lnTo>
                  <a:lnTo>
                    <a:pt x="4456" y="16263"/>
                  </a:lnTo>
                  <a:lnTo>
                    <a:pt x="4251" y="16306"/>
                  </a:lnTo>
                  <a:lnTo>
                    <a:pt x="4043" y="16320"/>
                  </a:lnTo>
                  <a:lnTo>
                    <a:pt x="3834" y="16306"/>
                  </a:lnTo>
                  <a:lnTo>
                    <a:pt x="3629" y="16263"/>
                  </a:lnTo>
                  <a:lnTo>
                    <a:pt x="3427" y="16193"/>
                  </a:lnTo>
                  <a:lnTo>
                    <a:pt x="3228" y="16098"/>
                  </a:lnTo>
                  <a:lnTo>
                    <a:pt x="3032" y="15978"/>
                  </a:lnTo>
                  <a:lnTo>
                    <a:pt x="2840" y="15837"/>
                  </a:lnTo>
                  <a:lnTo>
                    <a:pt x="2653" y="15673"/>
                  </a:lnTo>
                  <a:lnTo>
                    <a:pt x="2469" y="15492"/>
                  </a:lnTo>
                  <a:lnTo>
                    <a:pt x="2290" y="15291"/>
                  </a:lnTo>
                  <a:lnTo>
                    <a:pt x="2116" y="15074"/>
                  </a:lnTo>
                  <a:lnTo>
                    <a:pt x="1947" y="14841"/>
                  </a:lnTo>
                  <a:lnTo>
                    <a:pt x="1783" y="14594"/>
                  </a:lnTo>
                  <a:lnTo>
                    <a:pt x="1624" y="14335"/>
                  </a:lnTo>
                  <a:lnTo>
                    <a:pt x="1472" y="14065"/>
                  </a:lnTo>
                  <a:lnTo>
                    <a:pt x="1324" y="13785"/>
                  </a:lnTo>
                  <a:lnTo>
                    <a:pt x="1184" y="13498"/>
                  </a:lnTo>
                  <a:lnTo>
                    <a:pt x="1050" y="13203"/>
                  </a:lnTo>
                  <a:lnTo>
                    <a:pt x="923" y="12904"/>
                  </a:lnTo>
                  <a:lnTo>
                    <a:pt x="803" y="12600"/>
                  </a:lnTo>
                  <a:lnTo>
                    <a:pt x="690" y="12294"/>
                  </a:lnTo>
                  <a:lnTo>
                    <a:pt x="585" y="11988"/>
                  </a:lnTo>
                  <a:lnTo>
                    <a:pt x="488" y="11682"/>
                  </a:lnTo>
                  <a:lnTo>
                    <a:pt x="398" y="11377"/>
                  </a:lnTo>
                  <a:lnTo>
                    <a:pt x="318" y="11077"/>
                  </a:lnTo>
                  <a:lnTo>
                    <a:pt x="245" y="10781"/>
                  </a:lnTo>
                  <a:lnTo>
                    <a:pt x="182" y="10492"/>
                  </a:lnTo>
                  <a:lnTo>
                    <a:pt x="127" y="10210"/>
                  </a:lnTo>
                  <a:lnTo>
                    <a:pt x="82" y="9937"/>
                  </a:lnTo>
                  <a:lnTo>
                    <a:pt x="47" y="9675"/>
                  </a:lnTo>
                  <a:lnTo>
                    <a:pt x="21" y="9426"/>
                  </a:lnTo>
                  <a:lnTo>
                    <a:pt x="5" y="9189"/>
                  </a:lnTo>
                  <a:lnTo>
                    <a:pt x="0" y="8968"/>
                  </a:lnTo>
                  <a:lnTo>
                    <a:pt x="5" y="8741"/>
                  </a:lnTo>
                  <a:lnTo>
                    <a:pt x="21" y="8492"/>
                  </a:lnTo>
                  <a:lnTo>
                    <a:pt x="47" y="8220"/>
                  </a:lnTo>
                  <a:lnTo>
                    <a:pt x="82" y="7928"/>
                  </a:lnTo>
                  <a:lnTo>
                    <a:pt x="127" y="7619"/>
                  </a:lnTo>
                  <a:lnTo>
                    <a:pt x="182" y="7295"/>
                  </a:lnTo>
                  <a:lnTo>
                    <a:pt x="245" y="6956"/>
                  </a:lnTo>
                  <a:lnTo>
                    <a:pt x="318" y="6606"/>
                  </a:lnTo>
                  <a:lnTo>
                    <a:pt x="398" y="6246"/>
                  </a:lnTo>
                  <a:lnTo>
                    <a:pt x="488" y="5879"/>
                  </a:lnTo>
                  <a:lnTo>
                    <a:pt x="585" y="5506"/>
                  </a:lnTo>
                  <a:lnTo>
                    <a:pt x="690" y="5130"/>
                  </a:lnTo>
                  <a:lnTo>
                    <a:pt x="803" y="4752"/>
                  </a:lnTo>
                  <a:lnTo>
                    <a:pt x="923" y="4375"/>
                  </a:lnTo>
                  <a:lnTo>
                    <a:pt x="1050" y="4000"/>
                  </a:lnTo>
                  <a:lnTo>
                    <a:pt x="1184" y="3630"/>
                  </a:lnTo>
                  <a:lnTo>
                    <a:pt x="1324" y="3267"/>
                  </a:lnTo>
                  <a:lnTo>
                    <a:pt x="1472" y="2912"/>
                  </a:lnTo>
                  <a:lnTo>
                    <a:pt x="1624" y="2568"/>
                  </a:lnTo>
                  <a:lnTo>
                    <a:pt x="1783" y="2237"/>
                  </a:lnTo>
                  <a:lnTo>
                    <a:pt x="1947" y="1921"/>
                  </a:lnTo>
                  <a:lnTo>
                    <a:pt x="2116" y="1622"/>
                  </a:lnTo>
                  <a:lnTo>
                    <a:pt x="2290" y="1340"/>
                  </a:lnTo>
                  <a:lnTo>
                    <a:pt x="2469" y="1081"/>
                  </a:lnTo>
                  <a:lnTo>
                    <a:pt x="2653" y="845"/>
                  </a:lnTo>
                  <a:lnTo>
                    <a:pt x="2840" y="632"/>
                  </a:lnTo>
                  <a:lnTo>
                    <a:pt x="3032" y="448"/>
                  </a:lnTo>
                  <a:lnTo>
                    <a:pt x="3228" y="292"/>
                  </a:lnTo>
                  <a:lnTo>
                    <a:pt x="3427" y="167"/>
                  </a:lnTo>
                  <a:lnTo>
                    <a:pt x="3629" y="75"/>
                  </a:lnTo>
                  <a:lnTo>
                    <a:pt x="3834" y="19"/>
                  </a:lnTo>
                  <a:lnTo>
                    <a:pt x="4043" y="0"/>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2" name="Freeform 15">
              <a:extLst>
                <a:ext uri="{FF2B5EF4-FFF2-40B4-BE49-F238E27FC236}">
                  <a16:creationId xmlns:a16="http://schemas.microsoft.com/office/drawing/2014/main" id="{F89AB0FF-ED0C-4CB8-AB49-6B2275113B0C}"/>
                </a:ext>
              </a:extLst>
            </p:cNvPr>
            <p:cNvSpPr>
              <a:spLocks/>
            </p:cNvSpPr>
            <p:nvPr/>
          </p:nvSpPr>
          <p:spPr bwMode="auto">
            <a:xfrm rot="14400000">
              <a:off x="3857890" y="3964617"/>
              <a:ext cx="830223" cy="418962"/>
            </a:xfrm>
            <a:custGeom>
              <a:avLst/>
              <a:gdLst>
                <a:gd name="T0" fmla="*/ 4456 w 8085"/>
                <a:gd name="T1" fmla="*/ 75 h 16320"/>
                <a:gd name="T2" fmla="*/ 5053 w 8085"/>
                <a:gd name="T3" fmla="*/ 448 h 16320"/>
                <a:gd name="T4" fmla="*/ 5616 w 8085"/>
                <a:gd name="T5" fmla="*/ 1081 h 16320"/>
                <a:gd name="T6" fmla="*/ 6138 w 8085"/>
                <a:gd name="T7" fmla="*/ 1921 h 16320"/>
                <a:gd name="T8" fmla="*/ 6613 w 8085"/>
                <a:gd name="T9" fmla="*/ 2912 h 16320"/>
                <a:gd name="T10" fmla="*/ 7035 w 8085"/>
                <a:gd name="T11" fmla="*/ 4000 h 16320"/>
                <a:gd name="T12" fmla="*/ 7395 w 8085"/>
                <a:gd name="T13" fmla="*/ 5130 h 16320"/>
                <a:gd name="T14" fmla="*/ 7687 w 8085"/>
                <a:gd name="T15" fmla="*/ 6246 h 16320"/>
                <a:gd name="T16" fmla="*/ 7903 w 8085"/>
                <a:gd name="T17" fmla="*/ 7295 h 16320"/>
                <a:gd name="T18" fmla="*/ 8038 w 8085"/>
                <a:gd name="T19" fmla="*/ 8220 h 16320"/>
                <a:gd name="T20" fmla="*/ 8085 w 8085"/>
                <a:gd name="T21" fmla="*/ 8968 h 16320"/>
                <a:gd name="T22" fmla="*/ 8038 w 8085"/>
                <a:gd name="T23" fmla="*/ 9675 h 16320"/>
                <a:gd name="T24" fmla="*/ 7903 w 8085"/>
                <a:gd name="T25" fmla="*/ 10492 h 16320"/>
                <a:gd name="T26" fmla="*/ 7687 w 8085"/>
                <a:gd name="T27" fmla="*/ 11377 h 16320"/>
                <a:gd name="T28" fmla="*/ 7395 w 8085"/>
                <a:gd name="T29" fmla="*/ 12294 h 16320"/>
                <a:gd name="T30" fmla="*/ 7035 w 8085"/>
                <a:gd name="T31" fmla="*/ 13203 h 16320"/>
                <a:gd name="T32" fmla="*/ 6613 w 8085"/>
                <a:gd name="T33" fmla="*/ 14065 h 16320"/>
                <a:gd name="T34" fmla="*/ 6138 w 8085"/>
                <a:gd name="T35" fmla="*/ 14841 h 16320"/>
                <a:gd name="T36" fmla="*/ 5616 w 8085"/>
                <a:gd name="T37" fmla="*/ 15492 h 16320"/>
                <a:gd name="T38" fmla="*/ 5053 w 8085"/>
                <a:gd name="T39" fmla="*/ 15978 h 16320"/>
                <a:gd name="T40" fmla="*/ 4456 w 8085"/>
                <a:gd name="T41" fmla="*/ 16263 h 16320"/>
                <a:gd name="T42" fmla="*/ 3834 w 8085"/>
                <a:gd name="T43" fmla="*/ 16306 h 16320"/>
                <a:gd name="T44" fmla="*/ 3228 w 8085"/>
                <a:gd name="T45" fmla="*/ 16098 h 16320"/>
                <a:gd name="T46" fmla="*/ 2653 w 8085"/>
                <a:gd name="T47" fmla="*/ 15673 h 16320"/>
                <a:gd name="T48" fmla="*/ 2116 w 8085"/>
                <a:gd name="T49" fmla="*/ 15074 h 16320"/>
                <a:gd name="T50" fmla="*/ 1624 w 8085"/>
                <a:gd name="T51" fmla="*/ 14335 h 16320"/>
                <a:gd name="T52" fmla="*/ 1184 w 8085"/>
                <a:gd name="T53" fmla="*/ 13498 h 16320"/>
                <a:gd name="T54" fmla="*/ 803 w 8085"/>
                <a:gd name="T55" fmla="*/ 12600 h 16320"/>
                <a:gd name="T56" fmla="*/ 488 w 8085"/>
                <a:gd name="T57" fmla="*/ 11682 h 16320"/>
                <a:gd name="T58" fmla="*/ 245 w 8085"/>
                <a:gd name="T59" fmla="*/ 10781 h 16320"/>
                <a:gd name="T60" fmla="*/ 82 w 8085"/>
                <a:gd name="T61" fmla="*/ 9937 h 16320"/>
                <a:gd name="T62" fmla="*/ 5 w 8085"/>
                <a:gd name="T63" fmla="*/ 9189 h 16320"/>
                <a:gd name="T64" fmla="*/ 21 w 8085"/>
                <a:gd name="T65" fmla="*/ 8492 h 16320"/>
                <a:gd name="T66" fmla="*/ 127 w 8085"/>
                <a:gd name="T67" fmla="*/ 7619 h 16320"/>
                <a:gd name="T68" fmla="*/ 318 w 8085"/>
                <a:gd name="T69" fmla="*/ 6606 h 16320"/>
                <a:gd name="T70" fmla="*/ 585 w 8085"/>
                <a:gd name="T71" fmla="*/ 5506 h 16320"/>
                <a:gd name="T72" fmla="*/ 923 w 8085"/>
                <a:gd name="T73" fmla="*/ 4375 h 16320"/>
                <a:gd name="T74" fmla="*/ 1324 w 8085"/>
                <a:gd name="T75" fmla="*/ 3267 h 16320"/>
                <a:gd name="T76" fmla="*/ 1783 w 8085"/>
                <a:gd name="T77" fmla="*/ 2237 h 16320"/>
                <a:gd name="T78" fmla="*/ 2290 w 8085"/>
                <a:gd name="T79" fmla="*/ 1340 h 16320"/>
                <a:gd name="T80" fmla="*/ 2840 w 8085"/>
                <a:gd name="T81" fmla="*/ 632 h 16320"/>
                <a:gd name="T82" fmla="*/ 3427 w 8085"/>
                <a:gd name="T83" fmla="*/ 167 h 16320"/>
                <a:gd name="T84" fmla="*/ 4043 w 8085"/>
                <a:gd name="T85" fmla="*/ 0 h 16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085" h="16320">
                  <a:moveTo>
                    <a:pt x="4043" y="0"/>
                  </a:moveTo>
                  <a:lnTo>
                    <a:pt x="4251" y="19"/>
                  </a:lnTo>
                  <a:lnTo>
                    <a:pt x="4456" y="75"/>
                  </a:lnTo>
                  <a:lnTo>
                    <a:pt x="4658" y="167"/>
                  </a:lnTo>
                  <a:lnTo>
                    <a:pt x="4857" y="292"/>
                  </a:lnTo>
                  <a:lnTo>
                    <a:pt x="5053" y="448"/>
                  </a:lnTo>
                  <a:lnTo>
                    <a:pt x="5245" y="632"/>
                  </a:lnTo>
                  <a:lnTo>
                    <a:pt x="5432" y="845"/>
                  </a:lnTo>
                  <a:lnTo>
                    <a:pt x="5616" y="1081"/>
                  </a:lnTo>
                  <a:lnTo>
                    <a:pt x="5795" y="1340"/>
                  </a:lnTo>
                  <a:lnTo>
                    <a:pt x="5969" y="1622"/>
                  </a:lnTo>
                  <a:lnTo>
                    <a:pt x="6138" y="1921"/>
                  </a:lnTo>
                  <a:lnTo>
                    <a:pt x="6302" y="2237"/>
                  </a:lnTo>
                  <a:lnTo>
                    <a:pt x="6461" y="2568"/>
                  </a:lnTo>
                  <a:lnTo>
                    <a:pt x="6613" y="2912"/>
                  </a:lnTo>
                  <a:lnTo>
                    <a:pt x="6761" y="3267"/>
                  </a:lnTo>
                  <a:lnTo>
                    <a:pt x="6901" y="3630"/>
                  </a:lnTo>
                  <a:lnTo>
                    <a:pt x="7035" y="4000"/>
                  </a:lnTo>
                  <a:lnTo>
                    <a:pt x="7162" y="4375"/>
                  </a:lnTo>
                  <a:lnTo>
                    <a:pt x="7282" y="4752"/>
                  </a:lnTo>
                  <a:lnTo>
                    <a:pt x="7395" y="5130"/>
                  </a:lnTo>
                  <a:lnTo>
                    <a:pt x="7500" y="5506"/>
                  </a:lnTo>
                  <a:lnTo>
                    <a:pt x="7597" y="5879"/>
                  </a:lnTo>
                  <a:lnTo>
                    <a:pt x="7687" y="6246"/>
                  </a:lnTo>
                  <a:lnTo>
                    <a:pt x="7767" y="6606"/>
                  </a:lnTo>
                  <a:lnTo>
                    <a:pt x="7840" y="6956"/>
                  </a:lnTo>
                  <a:lnTo>
                    <a:pt x="7903" y="7295"/>
                  </a:lnTo>
                  <a:lnTo>
                    <a:pt x="7958" y="7619"/>
                  </a:lnTo>
                  <a:lnTo>
                    <a:pt x="8003" y="7928"/>
                  </a:lnTo>
                  <a:lnTo>
                    <a:pt x="8038" y="8220"/>
                  </a:lnTo>
                  <a:lnTo>
                    <a:pt x="8064" y="8492"/>
                  </a:lnTo>
                  <a:lnTo>
                    <a:pt x="8080" y="8741"/>
                  </a:lnTo>
                  <a:lnTo>
                    <a:pt x="8085" y="8968"/>
                  </a:lnTo>
                  <a:lnTo>
                    <a:pt x="8080" y="9189"/>
                  </a:lnTo>
                  <a:lnTo>
                    <a:pt x="8064" y="9426"/>
                  </a:lnTo>
                  <a:lnTo>
                    <a:pt x="8038" y="9675"/>
                  </a:lnTo>
                  <a:lnTo>
                    <a:pt x="8003" y="9937"/>
                  </a:lnTo>
                  <a:lnTo>
                    <a:pt x="7958" y="10210"/>
                  </a:lnTo>
                  <a:lnTo>
                    <a:pt x="7903" y="10492"/>
                  </a:lnTo>
                  <a:lnTo>
                    <a:pt x="7840" y="10781"/>
                  </a:lnTo>
                  <a:lnTo>
                    <a:pt x="7767" y="11077"/>
                  </a:lnTo>
                  <a:lnTo>
                    <a:pt x="7687" y="11377"/>
                  </a:lnTo>
                  <a:lnTo>
                    <a:pt x="7597" y="11682"/>
                  </a:lnTo>
                  <a:lnTo>
                    <a:pt x="7500" y="11988"/>
                  </a:lnTo>
                  <a:lnTo>
                    <a:pt x="7395" y="12294"/>
                  </a:lnTo>
                  <a:lnTo>
                    <a:pt x="7282" y="12600"/>
                  </a:lnTo>
                  <a:lnTo>
                    <a:pt x="7162" y="12904"/>
                  </a:lnTo>
                  <a:lnTo>
                    <a:pt x="7035" y="13203"/>
                  </a:lnTo>
                  <a:lnTo>
                    <a:pt x="6901" y="13498"/>
                  </a:lnTo>
                  <a:lnTo>
                    <a:pt x="6761" y="13785"/>
                  </a:lnTo>
                  <a:lnTo>
                    <a:pt x="6613" y="14065"/>
                  </a:lnTo>
                  <a:lnTo>
                    <a:pt x="6461" y="14335"/>
                  </a:lnTo>
                  <a:lnTo>
                    <a:pt x="6302" y="14594"/>
                  </a:lnTo>
                  <a:lnTo>
                    <a:pt x="6138" y="14841"/>
                  </a:lnTo>
                  <a:lnTo>
                    <a:pt x="5969" y="15074"/>
                  </a:lnTo>
                  <a:lnTo>
                    <a:pt x="5795" y="15291"/>
                  </a:lnTo>
                  <a:lnTo>
                    <a:pt x="5616" y="15492"/>
                  </a:lnTo>
                  <a:lnTo>
                    <a:pt x="5432" y="15673"/>
                  </a:lnTo>
                  <a:lnTo>
                    <a:pt x="5245" y="15837"/>
                  </a:lnTo>
                  <a:lnTo>
                    <a:pt x="5053" y="15978"/>
                  </a:lnTo>
                  <a:lnTo>
                    <a:pt x="4857" y="16098"/>
                  </a:lnTo>
                  <a:lnTo>
                    <a:pt x="4658" y="16193"/>
                  </a:lnTo>
                  <a:lnTo>
                    <a:pt x="4456" y="16263"/>
                  </a:lnTo>
                  <a:lnTo>
                    <a:pt x="4251" y="16306"/>
                  </a:lnTo>
                  <a:lnTo>
                    <a:pt x="4043" y="16320"/>
                  </a:lnTo>
                  <a:lnTo>
                    <a:pt x="3834" y="16306"/>
                  </a:lnTo>
                  <a:lnTo>
                    <a:pt x="3629" y="16263"/>
                  </a:lnTo>
                  <a:lnTo>
                    <a:pt x="3427" y="16193"/>
                  </a:lnTo>
                  <a:lnTo>
                    <a:pt x="3228" y="16098"/>
                  </a:lnTo>
                  <a:lnTo>
                    <a:pt x="3032" y="15978"/>
                  </a:lnTo>
                  <a:lnTo>
                    <a:pt x="2840" y="15837"/>
                  </a:lnTo>
                  <a:lnTo>
                    <a:pt x="2653" y="15673"/>
                  </a:lnTo>
                  <a:lnTo>
                    <a:pt x="2469" y="15492"/>
                  </a:lnTo>
                  <a:lnTo>
                    <a:pt x="2290" y="15291"/>
                  </a:lnTo>
                  <a:lnTo>
                    <a:pt x="2116" y="15074"/>
                  </a:lnTo>
                  <a:lnTo>
                    <a:pt x="1947" y="14841"/>
                  </a:lnTo>
                  <a:lnTo>
                    <a:pt x="1783" y="14594"/>
                  </a:lnTo>
                  <a:lnTo>
                    <a:pt x="1624" y="14335"/>
                  </a:lnTo>
                  <a:lnTo>
                    <a:pt x="1472" y="14065"/>
                  </a:lnTo>
                  <a:lnTo>
                    <a:pt x="1324" y="13785"/>
                  </a:lnTo>
                  <a:lnTo>
                    <a:pt x="1184" y="13498"/>
                  </a:lnTo>
                  <a:lnTo>
                    <a:pt x="1050" y="13203"/>
                  </a:lnTo>
                  <a:lnTo>
                    <a:pt x="923" y="12904"/>
                  </a:lnTo>
                  <a:lnTo>
                    <a:pt x="803" y="12600"/>
                  </a:lnTo>
                  <a:lnTo>
                    <a:pt x="690" y="12294"/>
                  </a:lnTo>
                  <a:lnTo>
                    <a:pt x="585" y="11988"/>
                  </a:lnTo>
                  <a:lnTo>
                    <a:pt x="488" y="11682"/>
                  </a:lnTo>
                  <a:lnTo>
                    <a:pt x="398" y="11377"/>
                  </a:lnTo>
                  <a:lnTo>
                    <a:pt x="318" y="11077"/>
                  </a:lnTo>
                  <a:lnTo>
                    <a:pt x="245" y="10781"/>
                  </a:lnTo>
                  <a:lnTo>
                    <a:pt x="182" y="10492"/>
                  </a:lnTo>
                  <a:lnTo>
                    <a:pt x="127" y="10210"/>
                  </a:lnTo>
                  <a:lnTo>
                    <a:pt x="82" y="9937"/>
                  </a:lnTo>
                  <a:lnTo>
                    <a:pt x="47" y="9675"/>
                  </a:lnTo>
                  <a:lnTo>
                    <a:pt x="21" y="9426"/>
                  </a:lnTo>
                  <a:lnTo>
                    <a:pt x="5" y="9189"/>
                  </a:lnTo>
                  <a:lnTo>
                    <a:pt x="0" y="8968"/>
                  </a:lnTo>
                  <a:lnTo>
                    <a:pt x="5" y="8741"/>
                  </a:lnTo>
                  <a:lnTo>
                    <a:pt x="21" y="8492"/>
                  </a:lnTo>
                  <a:lnTo>
                    <a:pt x="47" y="8220"/>
                  </a:lnTo>
                  <a:lnTo>
                    <a:pt x="82" y="7928"/>
                  </a:lnTo>
                  <a:lnTo>
                    <a:pt x="127" y="7619"/>
                  </a:lnTo>
                  <a:lnTo>
                    <a:pt x="182" y="7295"/>
                  </a:lnTo>
                  <a:lnTo>
                    <a:pt x="245" y="6956"/>
                  </a:lnTo>
                  <a:lnTo>
                    <a:pt x="318" y="6606"/>
                  </a:lnTo>
                  <a:lnTo>
                    <a:pt x="398" y="6246"/>
                  </a:lnTo>
                  <a:lnTo>
                    <a:pt x="488" y="5879"/>
                  </a:lnTo>
                  <a:lnTo>
                    <a:pt x="585" y="5506"/>
                  </a:lnTo>
                  <a:lnTo>
                    <a:pt x="690" y="5130"/>
                  </a:lnTo>
                  <a:lnTo>
                    <a:pt x="803" y="4752"/>
                  </a:lnTo>
                  <a:lnTo>
                    <a:pt x="923" y="4375"/>
                  </a:lnTo>
                  <a:lnTo>
                    <a:pt x="1050" y="4000"/>
                  </a:lnTo>
                  <a:lnTo>
                    <a:pt x="1184" y="3630"/>
                  </a:lnTo>
                  <a:lnTo>
                    <a:pt x="1324" y="3267"/>
                  </a:lnTo>
                  <a:lnTo>
                    <a:pt x="1472" y="2912"/>
                  </a:lnTo>
                  <a:lnTo>
                    <a:pt x="1624" y="2568"/>
                  </a:lnTo>
                  <a:lnTo>
                    <a:pt x="1783" y="2237"/>
                  </a:lnTo>
                  <a:lnTo>
                    <a:pt x="1947" y="1921"/>
                  </a:lnTo>
                  <a:lnTo>
                    <a:pt x="2116" y="1622"/>
                  </a:lnTo>
                  <a:lnTo>
                    <a:pt x="2290" y="1340"/>
                  </a:lnTo>
                  <a:lnTo>
                    <a:pt x="2469" y="1081"/>
                  </a:lnTo>
                  <a:lnTo>
                    <a:pt x="2653" y="845"/>
                  </a:lnTo>
                  <a:lnTo>
                    <a:pt x="2840" y="632"/>
                  </a:lnTo>
                  <a:lnTo>
                    <a:pt x="3032" y="448"/>
                  </a:lnTo>
                  <a:lnTo>
                    <a:pt x="3228" y="292"/>
                  </a:lnTo>
                  <a:lnTo>
                    <a:pt x="3427" y="167"/>
                  </a:lnTo>
                  <a:lnTo>
                    <a:pt x="3629" y="75"/>
                  </a:lnTo>
                  <a:lnTo>
                    <a:pt x="3834" y="19"/>
                  </a:lnTo>
                  <a:lnTo>
                    <a:pt x="4043" y="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3" name="Freeform 16">
              <a:extLst>
                <a:ext uri="{FF2B5EF4-FFF2-40B4-BE49-F238E27FC236}">
                  <a16:creationId xmlns:a16="http://schemas.microsoft.com/office/drawing/2014/main" id="{A897EE82-4503-4AAC-840B-423C74DC7D0B}"/>
                </a:ext>
              </a:extLst>
            </p:cNvPr>
            <p:cNvSpPr>
              <a:spLocks/>
            </p:cNvSpPr>
            <p:nvPr/>
          </p:nvSpPr>
          <p:spPr bwMode="auto">
            <a:xfrm rot="2700000">
              <a:off x="541328" y="3488073"/>
              <a:ext cx="1650573" cy="832943"/>
            </a:xfrm>
            <a:custGeom>
              <a:avLst/>
              <a:gdLst>
                <a:gd name="T0" fmla="*/ 4456 w 8085"/>
                <a:gd name="T1" fmla="*/ 75 h 16320"/>
                <a:gd name="T2" fmla="*/ 5053 w 8085"/>
                <a:gd name="T3" fmla="*/ 448 h 16320"/>
                <a:gd name="T4" fmla="*/ 5616 w 8085"/>
                <a:gd name="T5" fmla="*/ 1081 h 16320"/>
                <a:gd name="T6" fmla="*/ 6138 w 8085"/>
                <a:gd name="T7" fmla="*/ 1921 h 16320"/>
                <a:gd name="T8" fmla="*/ 6613 w 8085"/>
                <a:gd name="T9" fmla="*/ 2912 h 16320"/>
                <a:gd name="T10" fmla="*/ 7035 w 8085"/>
                <a:gd name="T11" fmla="*/ 4000 h 16320"/>
                <a:gd name="T12" fmla="*/ 7395 w 8085"/>
                <a:gd name="T13" fmla="*/ 5130 h 16320"/>
                <a:gd name="T14" fmla="*/ 7687 w 8085"/>
                <a:gd name="T15" fmla="*/ 6246 h 16320"/>
                <a:gd name="T16" fmla="*/ 7903 w 8085"/>
                <a:gd name="T17" fmla="*/ 7295 h 16320"/>
                <a:gd name="T18" fmla="*/ 8038 w 8085"/>
                <a:gd name="T19" fmla="*/ 8220 h 16320"/>
                <a:gd name="T20" fmla="*/ 8085 w 8085"/>
                <a:gd name="T21" fmla="*/ 8968 h 16320"/>
                <a:gd name="T22" fmla="*/ 8038 w 8085"/>
                <a:gd name="T23" fmla="*/ 9675 h 16320"/>
                <a:gd name="T24" fmla="*/ 7903 w 8085"/>
                <a:gd name="T25" fmla="*/ 10492 h 16320"/>
                <a:gd name="T26" fmla="*/ 7687 w 8085"/>
                <a:gd name="T27" fmla="*/ 11377 h 16320"/>
                <a:gd name="T28" fmla="*/ 7395 w 8085"/>
                <a:gd name="T29" fmla="*/ 12294 h 16320"/>
                <a:gd name="T30" fmla="*/ 7035 w 8085"/>
                <a:gd name="T31" fmla="*/ 13203 h 16320"/>
                <a:gd name="T32" fmla="*/ 6613 w 8085"/>
                <a:gd name="T33" fmla="*/ 14065 h 16320"/>
                <a:gd name="T34" fmla="*/ 6138 w 8085"/>
                <a:gd name="T35" fmla="*/ 14841 h 16320"/>
                <a:gd name="T36" fmla="*/ 5616 w 8085"/>
                <a:gd name="T37" fmla="*/ 15492 h 16320"/>
                <a:gd name="T38" fmla="*/ 5053 w 8085"/>
                <a:gd name="T39" fmla="*/ 15978 h 16320"/>
                <a:gd name="T40" fmla="*/ 4456 w 8085"/>
                <a:gd name="T41" fmla="*/ 16263 h 16320"/>
                <a:gd name="T42" fmla="*/ 3834 w 8085"/>
                <a:gd name="T43" fmla="*/ 16306 h 16320"/>
                <a:gd name="T44" fmla="*/ 3228 w 8085"/>
                <a:gd name="T45" fmla="*/ 16098 h 16320"/>
                <a:gd name="T46" fmla="*/ 2653 w 8085"/>
                <a:gd name="T47" fmla="*/ 15673 h 16320"/>
                <a:gd name="T48" fmla="*/ 2116 w 8085"/>
                <a:gd name="T49" fmla="*/ 15074 h 16320"/>
                <a:gd name="T50" fmla="*/ 1624 w 8085"/>
                <a:gd name="T51" fmla="*/ 14335 h 16320"/>
                <a:gd name="T52" fmla="*/ 1184 w 8085"/>
                <a:gd name="T53" fmla="*/ 13498 h 16320"/>
                <a:gd name="T54" fmla="*/ 803 w 8085"/>
                <a:gd name="T55" fmla="*/ 12600 h 16320"/>
                <a:gd name="T56" fmla="*/ 488 w 8085"/>
                <a:gd name="T57" fmla="*/ 11682 h 16320"/>
                <a:gd name="T58" fmla="*/ 245 w 8085"/>
                <a:gd name="T59" fmla="*/ 10781 h 16320"/>
                <a:gd name="T60" fmla="*/ 82 w 8085"/>
                <a:gd name="T61" fmla="*/ 9937 h 16320"/>
                <a:gd name="T62" fmla="*/ 5 w 8085"/>
                <a:gd name="T63" fmla="*/ 9189 h 16320"/>
                <a:gd name="T64" fmla="*/ 21 w 8085"/>
                <a:gd name="T65" fmla="*/ 8492 h 16320"/>
                <a:gd name="T66" fmla="*/ 127 w 8085"/>
                <a:gd name="T67" fmla="*/ 7619 h 16320"/>
                <a:gd name="T68" fmla="*/ 318 w 8085"/>
                <a:gd name="T69" fmla="*/ 6606 h 16320"/>
                <a:gd name="T70" fmla="*/ 585 w 8085"/>
                <a:gd name="T71" fmla="*/ 5506 h 16320"/>
                <a:gd name="T72" fmla="*/ 923 w 8085"/>
                <a:gd name="T73" fmla="*/ 4375 h 16320"/>
                <a:gd name="T74" fmla="*/ 1324 w 8085"/>
                <a:gd name="T75" fmla="*/ 3267 h 16320"/>
                <a:gd name="T76" fmla="*/ 1783 w 8085"/>
                <a:gd name="T77" fmla="*/ 2237 h 16320"/>
                <a:gd name="T78" fmla="*/ 2290 w 8085"/>
                <a:gd name="T79" fmla="*/ 1340 h 16320"/>
                <a:gd name="T80" fmla="*/ 2840 w 8085"/>
                <a:gd name="T81" fmla="*/ 632 h 16320"/>
                <a:gd name="T82" fmla="*/ 3427 w 8085"/>
                <a:gd name="T83" fmla="*/ 167 h 16320"/>
                <a:gd name="T84" fmla="*/ 4043 w 8085"/>
                <a:gd name="T85" fmla="*/ 0 h 16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085" h="16320">
                  <a:moveTo>
                    <a:pt x="4043" y="0"/>
                  </a:moveTo>
                  <a:lnTo>
                    <a:pt x="4251" y="19"/>
                  </a:lnTo>
                  <a:lnTo>
                    <a:pt x="4456" y="75"/>
                  </a:lnTo>
                  <a:lnTo>
                    <a:pt x="4658" y="167"/>
                  </a:lnTo>
                  <a:lnTo>
                    <a:pt x="4857" y="292"/>
                  </a:lnTo>
                  <a:lnTo>
                    <a:pt x="5053" y="448"/>
                  </a:lnTo>
                  <a:lnTo>
                    <a:pt x="5245" y="632"/>
                  </a:lnTo>
                  <a:lnTo>
                    <a:pt x="5432" y="845"/>
                  </a:lnTo>
                  <a:lnTo>
                    <a:pt x="5616" y="1081"/>
                  </a:lnTo>
                  <a:lnTo>
                    <a:pt x="5795" y="1340"/>
                  </a:lnTo>
                  <a:lnTo>
                    <a:pt x="5969" y="1622"/>
                  </a:lnTo>
                  <a:lnTo>
                    <a:pt x="6138" y="1921"/>
                  </a:lnTo>
                  <a:lnTo>
                    <a:pt x="6302" y="2237"/>
                  </a:lnTo>
                  <a:lnTo>
                    <a:pt x="6461" y="2568"/>
                  </a:lnTo>
                  <a:lnTo>
                    <a:pt x="6613" y="2912"/>
                  </a:lnTo>
                  <a:lnTo>
                    <a:pt x="6761" y="3267"/>
                  </a:lnTo>
                  <a:lnTo>
                    <a:pt x="6901" y="3630"/>
                  </a:lnTo>
                  <a:lnTo>
                    <a:pt x="7035" y="4000"/>
                  </a:lnTo>
                  <a:lnTo>
                    <a:pt x="7162" y="4375"/>
                  </a:lnTo>
                  <a:lnTo>
                    <a:pt x="7282" y="4752"/>
                  </a:lnTo>
                  <a:lnTo>
                    <a:pt x="7395" y="5130"/>
                  </a:lnTo>
                  <a:lnTo>
                    <a:pt x="7500" y="5506"/>
                  </a:lnTo>
                  <a:lnTo>
                    <a:pt x="7597" y="5879"/>
                  </a:lnTo>
                  <a:lnTo>
                    <a:pt x="7687" y="6246"/>
                  </a:lnTo>
                  <a:lnTo>
                    <a:pt x="7767" y="6606"/>
                  </a:lnTo>
                  <a:lnTo>
                    <a:pt x="7840" y="6956"/>
                  </a:lnTo>
                  <a:lnTo>
                    <a:pt x="7903" y="7295"/>
                  </a:lnTo>
                  <a:lnTo>
                    <a:pt x="7958" y="7619"/>
                  </a:lnTo>
                  <a:lnTo>
                    <a:pt x="8003" y="7928"/>
                  </a:lnTo>
                  <a:lnTo>
                    <a:pt x="8038" y="8220"/>
                  </a:lnTo>
                  <a:lnTo>
                    <a:pt x="8064" y="8492"/>
                  </a:lnTo>
                  <a:lnTo>
                    <a:pt x="8080" y="8741"/>
                  </a:lnTo>
                  <a:lnTo>
                    <a:pt x="8085" y="8968"/>
                  </a:lnTo>
                  <a:lnTo>
                    <a:pt x="8080" y="9189"/>
                  </a:lnTo>
                  <a:lnTo>
                    <a:pt x="8064" y="9426"/>
                  </a:lnTo>
                  <a:lnTo>
                    <a:pt x="8038" y="9675"/>
                  </a:lnTo>
                  <a:lnTo>
                    <a:pt x="8003" y="9937"/>
                  </a:lnTo>
                  <a:lnTo>
                    <a:pt x="7958" y="10210"/>
                  </a:lnTo>
                  <a:lnTo>
                    <a:pt x="7903" y="10492"/>
                  </a:lnTo>
                  <a:lnTo>
                    <a:pt x="7840" y="10781"/>
                  </a:lnTo>
                  <a:lnTo>
                    <a:pt x="7767" y="11077"/>
                  </a:lnTo>
                  <a:lnTo>
                    <a:pt x="7687" y="11377"/>
                  </a:lnTo>
                  <a:lnTo>
                    <a:pt x="7597" y="11682"/>
                  </a:lnTo>
                  <a:lnTo>
                    <a:pt x="7500" y="11988"/>
                  </a:lnTo>
                  <a:lnTo>
                    <a:pt x="7395" y="12294"/>
                  </a:lnTo>
                  <a:lnTo>
                    <a:pt x="7282" y="12600"/>
                  </a:lnTo>
                  <a:lnTo>
                    <a:pt x="7162" y="12904"/>
                  </a:lnTo>
                  <a:lnTo>
                    <a:pt x="7035" y="13203"/>
                  </a:lnTo>
                  <a:lnTo>
                    <a:pt x="6901" y="13498"/>
                  </a:lnTo>
                  <a:lnTo>
                    <a:pt x="6761" y="13785"/>
                  </a:lnTo>
                  <a:lnTo>
                    <a:pt x="6613" y="14065"/>
                  </a:lnTo>
                  <a:lnTo>
                    <a:pt x="6461" y="14335"/>
                  </a:lnTo>
                  <a:lnTo>
                    <a:pt x="6302" y="14594"/>
                  </a:lnTo>
                  <a:lnTo>
                    <a:pt x="6138" y="14841"/>
                  </a:lnTo>
                  <a:lnTo>
                    <a:pt x="5969" y="15074"/>
                  </a:lnTo>
                  <a:lnTo>
                    <a:pt x="5795" y="15291"/>
                  </a:lnTo>
                  <a:lnTo>
                    <a:pt x="5616" y="15492"/>
                  </a:lnTo>
                  <a:lnTo>
                    <a:pt x="5432" y="15673"/>
                  </a:lnTo>
                  <a:lnTo>
                    <a:pt x="5245" y="15837"/>
                  </a:lnTo>
                  <a:lnTo>
                    <a:pt x="5053" y="15978"/>
                  </a:lnTo>
                  <a:lnTo>
                    <a:pt x="4857" y="16098"/>
                  </a:lnTo>
                  <a:lnTo>
                    <a:pt x="4658" y="16193"/>
                  </a:lnTo>
                  <a:lnTo>
                    <a:pt x="4456" y="16263"/>
                  </a:lnTo>
                  <a:lnTo>
                    <a:pt x="4251" y="16306"/>
                  </a:lnTo>
                  <a:lnTo>
                    <a:pt x="4043" y="16320"/>
                  </a:lnTo>
                  <a:lnTo>
                    <a:pt x="3834" y="16306"/>
                  </a:lnTo>
                  <a:lnTo>
                    <a:pt x="3629" y="16263"/>
                  </a:lnTo>
                  <a:lnTo>
                    <a:pt x="3427" y="16193"/>
                  </a:lnTo>
                  <a:lnTo>
                    <a:pt x="3228" y="16098"/>
                  </a:lnTo>
                  <a:lnTo>
                    <a:pt x="3032" y="15978"/>
                  </a:lnTo>
                  <a:lnTo>
                    <a:pt x="2840" y="15837"/>
                  </a:lnTo>
                  <a:lnTo>
                    <a:pt x="2653" y="15673"/>
                  </a:lnTo>
                  <a:lnTo>
                    <a:pt x="2469" y="15492"/>
                  </a:lnTo>
                  <a:lnTo>
                    <a:pt x="2290" y="15291"/>
                  </a:lnTo>
                  <a:lnTo>
                    <a:pt x="2116" y="15074"/>
                  </a:lnTo>
                  <a:lnTo>
                    <a:pt x="1947" y="14841"/>
                  </a:lnTo>
                  <a:lnTo>
                    <a:pt x="1783" y="14594"/>
                  </a:lnTo>
                  <a:lnTo>
                    <a:pt x="1624" y="14335"/>
                  </a:lnTo>
                  <a:lnTo>
                    <a:pt x="1472" y="14065"/>
                  </a:lnTo>
                  <a:lnTo>
                    <a:pt x="1324" y="13785"/>
                  </a:lnTo>
                  <a:lnTo>
                    <a:pt x="1184" y="13498"/>
                  </a:lnTo>
                  <a:lnTo>
                    <a:pt x="1050" y="13203"/>
                  </a:lnTo>
                  <a:lnTo>
                    <a:pt x="923" y="12904"/>
                  </a:lnTo>
                  <a:lnTo>
                    <a:pt x="803" y="12600"/>
                  </a:lnTo>
                  <a:lnTo>
                    <a:pt x="690" y="12294"/>
                  </a:lnTo>
                  <a:lnTo>
                    <a:pt x="585" y="11988"/>
                  </a:lnTo>
                  <a:lnTo>
                    <a:pt x="488" y="11682"/>
                  </a:lnTo>
                  <a:lnTo>
                    <a:pt x="398" y="11377"/>
                  </a:lnTo>
                  <a:lnTo>
                    <a:pt x="318" y="11077"/>
                  </a:lnTo>
                  <a:lnTo>
                    <a:pt x="245" y="10781"/>
                  </a:lnTo>
                  <a:lnTo>
                    <a:pt x="182" y="10492"/>
                  </a:lnTo>
                  <a:lnTo>
                    <a:pt x="127" y="10210"/>
                  </a:lnTo>
                  <a:lnTo>
                    <a:pt x="82" y="9937"/>
                  </a:lnTo>
                  <a:lnTo>
                    <a:pt x="47" y="9675"/>
                  </a:lnTo>
                  <a:lnTo>
                    <a:pt x="21" y="9426"/>
                  </a:lnTo>
                  <a:lnTo>
                    <a:pt x="5" y="9189"/>
                  </a:lnTo>
                  <a:lnTo>
                    <a:pt x="0" y="8968"/>
                  </a:lnTo>
                  <a:lnTo>
                    <a:pt x="5" y="8741"/>
                  </a:lnTo>
                  <a:lnTo>
                    <a:pt x="21" y="8492"/>
                  </a:lnTo>
                  <a:lnTo>
                    <a:pt x="47" y="8220"/>
                  </a:lnTo>
                  <a:lnTo>
                    <a:pt x="82" y="7928"/>
                  </a:lnTo>
                  <a:lnTo>
                    <a:pt x="127" y="7619"/>
                  </a:lnTo>
                  <a:lnTo>
                    <a:pt x="182" y="7295"/>
                  </a:lnTo>
                  <a:lnTo>
                    <a:pt x="245" y="6956"/>
                  </a:lnTo>
                  <a:lnTo>
                    <a:pt x="318" y="6606"/>
                  </a:lnTo>
                  <a:lnTo>
                    <a:pt x="398" y="6246"/>
                  </a:lnTo>
                  <a:lnTo>
                    <a:pt x="488" y="5879"/>
                  </a:lnTo>
                  <a:lnTo>
                    <a:pt x="585" y="5506"/>
                  </a:lnTo>
                  <a:lnTo>
                    <a:pt x="690" y="5130"/>
                  </a:lnTo>
                  <a:lnTo>
                    <a:pt x="803" y="4752"/>
                  </a:lnTo>
                  <a:lnTo>
                    <a:pt x="923" y="4375"/>
                  </a:lnTo>
                  <a:lnTo>
                    <a:pt x="1050" y="4000"/>
                  </a:lnTo>
                  <a:lnTo>
                    <a:pt x="1184" y="3630"/>
                  </a:lnTo>
                  <a:lnTo>
                    <a:pt x="1324" y="3267"/>
                  </a:lnTo>
                  <a:lnTo>
                    <a:pt x="1472" y="2912"/>
                  </a:lnTo>
                  <a:lnTo>
                    <a:pt x="1624" y="2568"/>
                  </a:lnTo>
                  <a:lnTo>
                    <a:pt x="1783" y="2237"/>
                  </a:lnTo>
                  <a:lnTo>
                    <a:pt x="1947" y="1921"/>
                  </a:lnTo>
                  <a:lnTo>
                    <a:pt x="2116" y="1622"/>
                  </a:lnTo>
                  <a:lnTo>
                    <a:pt x="2290" y="1340"/>
                  </a:lnTo>
                  <a:lnTo>
                    <a:pt x="2469" y="1081"/>
                  </a:lnTo>
                  <a:lnTo>
                    <a:pt x="2653" y="845"/>
                  </a:lnTo>
                  <a:lnTo>
                    <a:pt x="2840" y="632"/>
                  </a:lnTo>
                  <a:lnTo>
                    <a:pt x="3032" y="448"/>
                  </a:lnTo>
                  <a:lnTo>
                    <a:pt x="3228" y="292"/>
                  </a:lnTo>
                  <a:lnTo>
                    <a:pt x="3427" y="167"/>
                  </a:lnTo>
                  <a:lnTo>
                    <a:pt x="3629" y="75"/>
                  </a:lnTo>
                  <a:lnTo>
                    <a:pt x="3834" y="19"/>
                  </a:lnTo>
                  <a:lnTo>
                    <a:pt x="4043"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4" name="Freeform 17">
              <a:extLst>
                <a:ext uri="{FF2B5EF4-FFF2-40B4-BE49-F238E27FC236}">
                  <a16:creationId xmlns:a16="http://schemas.microsoft.com/office/drawing/2014/main" id="{62A5B8D1-99F6-4996-9663-388D7002031E}"/>
                </a:ext>
              </a:extLst>
            </p:cNvPr>
            <p:cNvSpPr>
              <a:spLocks/>
            </p:cNvSpPr>
            <p:nvPr/>
          </p:nvSpPr>
          <p:spPr bwMode="auto">
            <a:xfrm rot="5400000">
              <a:off x="1692676" y="3696619"/>
              <a:ext cx="1178290" cy="594611"/>
            </a:xfrm>
            <a:custGeom>
              <a:avLst/>
              <a:gdLst>
                <a:gd name="T0" fmla="*/ 4456 w 8085"/>
                <a:gd name="T1" fmla="*/ 75 h 16320"/>
                <a:gd name="T2" fmla="*/ 5053 w 8085"/>
                <a:gd name="T3" fmla="*/ 448 h 16320"/>
                <a:gd name="T4" fmla="*/ 5616 w 8085"/>
                <a:gd name="T5" fmla="*/ 1081 h 16320"/>
                <a:gd name="T6" fmla="*/ 6138 w 8085"/>
                <a:gd name="T7" fmla="*/ 1921 h 16320"/>
                <a:gd name="T8" fmla="*/ 6613 w 8085"/>
                <a:gd name="T9" fmla="*/ 2912 h 16320"/>
                <a:gd name="T10" fmla="*/ 7035 w 8085"/>
                <a:gd name="T11" fmla="*/ 4000 h 16320"/>
                <a:gd name="T12" fmla="*/ 7395 w 8085"/>
                <a:gd name="T13" fmla="*/ 5130 h 16320"/>
                <a:gd name="T14" fmla="*/ 7687 w 8085"/>
                <a:gd name="T15" fmla="*/ 6246 h 16320"/>
                <a:gd name="T16" fmla="*/ 7903 w 8085"/>
                <a:gd name="T17" fmla="*/ 7295 h 16320"/>
                <a:gd name="T18" fmla="*/ 8038 w 8085"/>
                <a:gd name="T19" fmla="*/ 8220 h 16320"/>
                <a:gd name="T20" fmla="*/ 8085 w 8085"/>
                <a:gd name="T21" fmla="*/ 8968 h 16320"/>
                <a:gd name="T22" fmla="*/ 8038 w 8085"/>
                <a:gd name="T23" fmla="*/ 9675 h 16320"/>
                <a:gd name="T24" fmla="*/ 7903 w 8085"/>
                <a:gd name="T25" fmla="*/ 10492 h 16320"/>
                <a:gd name="T26" fmla="*/ 7687 w 8085"/>
                <a:gd name="T27" fmla="*/ 11377 h 16320"/>
                <a:gd name="T28" fmla="*/ 7395 w 8085"/>
                <a:gd name="T29" fmla="*/ 12294 h 16320"/>
                <a:gd name="T30" fmla="*/ 7035 w 8085"/>
                <a:gd name="T31" fmla="*/ 13203 h 16320"/>
                <a:gd name="T32" fmla="*/ 6613 w 8085"/>
                <a:gd name="T33" fmla="*/ 14065 h 16320"/>
                <a:gd name="T34" fmla="*/ 6138 w 8085"/>
                <a:gd name="T35" fmla="*/ 14841 h 16320"/>
                <a:gd name="T36" fmla="*/ 5616 w 8085"/>
                <a:gd name="T37" fmla="*/ 15492 h 16320"/>
                <a:gd name="T38" fmla="*/ 5053 w 8085"/>
                <a:gd name="T39" fmla="*/ 15978 h 16320"/>
                <a:gd name="T40" fmla="*/ 4456 w 8085"/>
                <a:gd name="T41" fmla="*/ 16263 h 16320"/>
                <a:gd name="T42" fmla="*/ 3834 w 8085"/>
                <a:gd name="T43" fmla="*/ 16306 h 16320"/>
                <a:gd name="T44" fmla="*/ 3228 w 8085"/>
                <a:gd name="T45" fmla="*/ 16098 h 16320"/>
                <a:gd name="T46" fmla="*/ 2653 w 8085"/>
                <a:gd name="T47" fmla="*/ 15673 h 16320"/>
                <a:gd name="T48" fmla="*/ 2116 w 8085"/>
                <a:gd name="T49" fmla="*/ 15074 h 16320"/>
                <a:gd name="T50" fmla="*/ 1624 w 8085"/>
                <a:gd name="T51" fmla="*/ 14335 h 16320"/>
                <a:gd name="T52" fmla="*/ 1184 w 8085"/>
                <a:gd name="T53" fmla="*/ 13498 h 16320"/>
                <a:gd name="T54" fmla="*/ 803 w 8085"/>
                <a:gd name="T55" fmla="*/ 12600 h 16320"/>
                <a:gd name="T56" fmla="*/ 488 w 8085"/>
                <a:gd name="T57" fmla="*/ 11682 h 16320"/>
                <a:gd name="T58" fmla="*/ 245 w 8085"/>
                <a:gd name="T59" fmla="*/ 10781 h 16320"/>
                <a:gd name="T60" fmla="*/ 82 w 8085"/>
                <a:gd name="T61" fmla="*/ 9937 h 16320"/>
                <a:gd name="T62" fmla="*/ 5 w 8085"/>
                <a:gd name="T63" fmla="*/ 9189 h 16320"/>
                <a:gd name="T64" fmla="*/ 21 w 8085"/>
                <a:gd name="T65" fmla="*/ 8492 h 16320"/>
                <a:gd name="T66" fmla="*/ 127 w 8085"/>
                <a:gd name="T67" fmla="*/ 7619 h 16320"/>
                <a:gd name="T68" fmla="*/ 318 w 8085"/>
                <a:gd name="T69" fmla="*/ 6606 h 16320"/>
                <a:gd name="T70" fmla="*/ 585 w 8085"/>
                <a:gd name="T71" fmla="*/ 5506 h 16320"/>
                <a:gd name="T72" fmla="*/ 923 w 8085"/>
                <a:gd name="T73" fmla="*/ 4375 h 16320"/>
                <a:gd name="T74" fmla="*/ 1324 w 8085"/>
                <a:gd name="T75" fmla="*/ 3267 h 16320"/>
                <a:gd name="T76" fmla="*/ 1783 w 8085"/>
                <a:gd name="T77" fmla="*/ 2237 h 16320"/>
                <a:gd name="T78" fmla="*/ 2290 w 8085"/>
                <a:gd name="T79" fmla="*/ 1340 h 16320"/>
                <a:gd name="T80" fmla="*/ 2840 w 8085"/>
                <a:gd name="T81" fmla="*/ 632 h 16320"/>
                <a:gd name="T82" fmla="*/ 3427 w 8085"/>
                <a:gd name="T83" fmla="*/ 167 h 16320"/>
                <a:gd name="T84" fmla="*/ 4043 w 8085"/>
                <a:gd name="T85" fmla="*/ 0 h 16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085" h="16320">
                  <a:moveTo>
                    <a:pt x="4043" y="0"/>
                  </a:moveTo>
                  <a:lnTo>
                    <a:pt x="4251" y="19"/>
                  </a:lnTo>
                  <a:lnTo>
                    <a:pt x="4456" y="75"/>
                  </a:lnTo>
                  <a:lnTo>
                    <a:pt x="4658" y="167"/>
                  </a:lnTo>
                  <a:lnTo>
                    <a:pt x="4857" y="292"/>
                  </a:lnTo>
                  <a:lnTo>
                    <a:pt x="5053" y="448"/>
                  </a:lnTo>
                  <a:lnTo>
                    <a:pt x="5245" y="632"/>
                  </a:lnTo>
                  <a:lnTo>
                    <a:pt x="5432" y="845"/>
                  </a:lnTo>
                  <a:lnTo>
                    <a:pt x="5616" y="1081"/>
                  </a:lnTo>
                  <a:lnTo>
                    <a:pt x="5795" y="1340"/>
                  </a:lnTo>
                  <a:lnTo>
                    <a:pt x="5969" y="1622"/>
                  </a:lnTo>
                  <a:lnTo>
                    <a:pt x="6138" y="1921"/>
                  </a:lnTo>
                  <a:lnTo>
                    <a:pt x="6302" y="2237"/>
                  </a:lnTo>
                  <a:lnTo>
                    <a:pt x="6461" y="2568"/>
                  </a:lnTo>
                  <a:lnTo>
                    <a:pt x="6613" y="2912"/>
                  </a:lnTo>
                  <a:lnTo>
                    <a:pt x="6761" y="3267"/>
                  </a:lnTo>
                  <a:lnTo>
                    <a:pt x="6901" y="3630"/>
                  </a:lnTo>
                  <a:lnTo>
                    <a:pt x="7035" y="4000"/>
                  </a:lnTo>
                  <a:lnTo>
                    <a:pt x="7162" y="4375"/>
                  </a:lnTo>
                  <a:lnTo>
                    <a:pt x="7282" y="4752"/>
                  </a:lnTo>
                  <a:lnTo>
                    <a:pt x="7395" y="5130"/>
                  </a:lnTo>
                  <a:lnTo>
                    <a:pt x="7500" y="5506"/>
                  </a:lnTo>
                  <a:lnTo>
                    <a:pt x="7597" y="5879"/>
                  </a:lnTo>
                  <a:lnTo>
                    <a:pt x="7687" y="6246"/>
                  </a:lnTo>
                  <a:lnTo>
                    <a:pt x="7767" y="6606"/>
                  </a:lnTo>
                  <a:lnTo>
                    <a:pt x="7840" y="6956"/>
                  </a:lnTo>
                  <a:lnTo>
                    <a:pt x="7903" y="7295"/>
                  </a:lnTo>
                  <a:lnTo>
                    <a:pt x="7958" y="7619"/>
                  </a:lnTo>
                  <a:lnTo>
                    <a:pt x="8003" y="7928"/>
                  </a:lnTo>
                  <a:lnTo>
                    <a:pt x="8038" y="8220"/>
                  </a:lnTo>
                  <a:lnTo>
                    <a:pt x="8064" y="8492"/>
                  </a:lnTo>
                  <a:lnTo>
                    <a:pt x="8080" y="8741"/>
                  </a:lnTo>
                  <a:lnTo>
                    <a:pt x="8085" y="8968"/>
                  </a:lnTo>
                  <a:lnTo>
                    <a:pt x="8080" y="9189"/>
                  </a:lnTo>
                  <a:lnTo>
                    <a:pt x="8064" y="9426"/>
                  </a:lnTo>
                  <a:lnTo>
                    <a:pt x="8038" y="9675"/>
                  </a:lnTo>
                  <a:lnTo>
                    <a:pt x="8003" y="9937"/>
                  </a:lnTo>
                  <a:lnTo>
                    <a:pt x="7958" y="10210"/>
                  </a:lnTo>
                  <a:lnTo>
                    <a:pt x="7903" y="10492"/>
                  </a:lnTo>
                  <a:lnTo>
                    <a:pt x="7840" y="10781"/>
                  </a:lnTo>
                  <a:lnTo>
                    <a:pt x="7767" y="11077"/>
                  </a:lnTo>
                  <a:lnTo>
                    <a:pt x="7687" y="11377"/>
                  </a:lnTo>
                  <a:lnTo>
                    <a:pt x="7597" y="11682"/>
                  </a:lnTo>
                  <a:lnTo>
                    <a:pt x="7500" y="11988"/>
                  </a:lnTo>
                  <a:lnTo>
                    <a:pt x="7395" y="12294"/>
                  </a:lnTo>
                  <a:lnTo>
                    <a:pt x="7282" y="12600"/>
                  </a:lnTo>
                  <a:lnTo>
                    <a:pt x="7162" y="12904"/>
                  </a:lnTo>
                  <a:lnTo>
                    <a:pt x="7035" y="13203"/>
                  </a:lnTo>
                  <a:lnTo>
                    <a:pt x="6901" y="13498"/>
                  </a:lnTo>
                  <a:lnTo>
                    <a:pt x="6761" y="13785"/>
                  </a:lnTo>
                  <a:lnTo>
                    <a:pt x="6613" y="14065"/>
                  </a:lnTo>
                  <a:lnTo>
                    <a:pt x="6461" y="14335"/>
                  </a:lnTo>
                  <a:lnTo>
                    <a:pt x="6302" y="14594"/>
                  </a:lnTo>
                  <a:lnTo>
                    <a:pt x="6138" y="14841"/>
                  </a:lnTo>
                  <a:lnTo>
                    <a:pt x="5969" y="15074"/>
                  </a:lnTo>
                  <a:lnTo>
                    <a:pt x="5795" y="15291"/>
                  </a:lnTo>
                  <a:lnTo>
                    <a:pt x="5616" y="15492"/>
                  </a:lnTo>
                  <a:lnTo>
                    <a:pt x="5432" y="15673"/>
                  </a:lnTo>
                  <a:lnTo>
                    <a:pt x="5245" y="15837"/>
                  </a:lnTo>
                  <a:lnTo>
                    <a:pt x="5053" y="15978"/>
                  </a:lnTo>
                  <a:lnTo>
                    <a:pt x="4857" y="16098"/>
                  </a:lnTo>
                  <a:lnTo>
                    <a:pt x="4658" y="16193"/>
                  </a:lnTo>
                  <a:lnTo>
                    <a:pt x="4456" y="16263"/>
                  </a:lnTo>
                  <a:lnTo>
                    <a:pt x="4251" y="16306"/>
                  </a:lnTo>
                  <a:lnTo>
                    <a:pt x="4043" y="16320"/>
                  </a:lnTo>
                  <a:lnTo>
                    <a:pt x="3834" y="16306"/>
                  </a:lnTo>
                  <a:lnTo>
                    <a:pt x="3629" y="16263"/>
                  </a:lnTo>
                  <a:lnTo>
                    <a:pt x="3427" y="16193"/>
                  </a:lnTo>
                  <a:lnTo>
                    <a:pt x="3228" y="16098"/>
                  </a:lnTo>
                  <a:lnTo>
                    <a:pt x="3032" y="15978"/>
                  </a:lnTo>
                  <a:lnTo>
                    <a:pt x="2840" y="15837"/>
                  </a:lnTo>
                  <a:lnTo>
                    <a:pt x="2653" y="15673"/>
                  </a:lnTo>
                  <a:lnTo>
                    <a:pt x="2469" y="15492"/>
                  </a:lnTo>
                  <a:lnTo>
                    <a:pt x="2290" y="15291"/>
                  </a:lnTo>
                  <a:lnTo>
                    <a:pt x="2116" y="15074"/>
                  </a:lnTo>
                  <a:lnTo>
                    <a:pt x="1947" y="14841"/>
                  </a:lnTo>
                  <a:lnTo>
                    <a:pt x="1783" y="14594"/>
                  </a:lnTo>
                  <a:lnTo>
                    <a:pt x="1624" y="14335"/>
                  </a:lnTo>
                  <a:lnTo>
                    <a:pt x="1472" y="14065"/>
                  </a:lnTo>
                  <a:lnTo>
                    <a:pt x="1324" y="13785"/>
                  </a:lnTo>
                  <a:lnTo>
                    <a:pt x="1184" y="13498"/>
                  </a:lnTo>
                  <a:lnTo>
                    <a:pt x="1050" y="13203"/>
                  </a:lnTo>
                  <a:lnTo>
                    <a:pt x="923" y="12904"/>
                  </a:lnTo>
                  <a:lnTo>
                    <a:pt x="803" y="12600"/>
                  </a:lnTo>
                  <a:lnTo>
                    <a:pt x="690" y="12294"/>
                  </a:lnTo>
                  <a:lnTo>
                    <a:pt x="585" y="11988"/>
                  </a:lnTo>
                  <a:lnTo>
                    <a:pt x="488" y="11682"/>
                  </a:lnTo>
                  <a:lnTo>
                    <a:pt x="398" y="11377"/>
                  </a:lnTo>
                  <a:lnTo>
                    <a:pt x="318" y="11077"/>
                  </a:lnTo>
                  <a:lnTo>
                    <a:pt x="245" y="10781"/>
                  </a:lnTo>
                  <a:lnTo>
                    <a:pt x="182" y="10492"/>
                  </a:lnTo>
                  <a:lnTo>
                    <a:pt x="127" y="10210"/>
                  </a:lnTo>
                  <a:lnTo>
                    <a:pt x="82" y="9937"/>
                  </a:lnTo>
                  <a:lnTo>
                    <a:pt x="47" y="9675"/>
                  </a:lnTo>
                  <a:lnTo>
                    <a:pt x="21" y="9426"/>
                  </a:lnTo>
                  <a:lnTo>
                    <a:pt x="5" y="9189"/>
                  </a:lnTo>
                  <a:lnTo>
                    <a:pt x="0" y="8968"/>
                  </a:lnTo>
                  <a:lnTo>
                    <a:pt x="5" y="8741"/>
                  </a:lnTo>
                  <a:lnTo>
                    <a:pt x="21" y="8492"/>
                  </a:lnTo>
                  <a:lnTo>
                    <a:pt x="47" y="8220"/>
                  </a:lnTo>
                  <a:lnTo>
                    <a:pt x="82" y="7928"/>
                  </a:lnTo>
                  <a:lnTo>
                    <a:pt x="127" y="7619"/>
                  </a:lnTo>
                  <a:lnTo>
                    <a:pt x="182" y="7295"/>
                  </a:lnTo>
                  <a:lnTo>
                    <a:pt x="245" y="6956"/>
                  </a:lnTo>
                  <a:lnTo>
                    <a:pt x="318" y="6606"/>
                  </a:lnTo>
                  <a:lnTo>
                    <a:pt x="398" y="6246"/>
                  </a:lnTo>
                  <a:lnTo>
                    <a:pt x="488" y="5879"/>
                  </a:lnTo>
                  <a:lnTo>
                    <a:pt x="585" y="5506"/>
                  </a:lnTo>
                  <a:lnTo>
                    <a:pt x="690" y="5130"/>
                  </a:lnTo>
                  <a:lnTo>
                    <a:pt x="803" y="4752"/>
                  </a:lnTo>
                  <a:lnTo>
                    <a:pt x="923" y="4375"/>
                  </a:lnTo>
                  <a:lnTo>
                    <a:pt x="1050" y="4000"/>
                  </a:lnTo>
                  <a:lnTo>
                    <a:pt x="1184" y="3630"/>
                  </a:lnTo>
                  <a:lnTo>
                    <a:pt x="1324" y="3267"/>
                  </a:lnTo>
                  <a:lnTo>
                    <a:pt x="1472" y="2912"/>
                  </a:lnTo>
                  <a:lnTo>
                    <a:pt x="1624" y="2568"/>
                  </a:lnTo>
                  <a:lnTo>
                    <a:pt x="1783" y="2237"/>
                  </a:lnTo>
                  <a:lnTo>
                    <a:pt x="1947" y="1921"/>
                  </a:lnTo>
                  <a:lnTo>
                    <a:pt x="2116" y="1622"/>
                  </a:lnTo>
                  <a:lnTo>
                    <a:pt x="2290" y="1340"/>
                  </a:lnTo>
                  <a:lnTo>
                    <a:pt x="2469" y="1081"/>
                  </a:lnTo>
                  <a:lnTo>
                    <a:pt x="2653" y="845"/>
                  </a:lnTo>
                  <a:lnTo>
                    <a:pt x="2840" y="632"/>
                  </a:lnTo>
                  <a:lnTo>
                    <a:pt x="3032" y="448"/>
                  </a:lnTo>
                  <a:lnTo>
                    <a:pt x="3228" y="292"/>
                  </a:lnTo>
                  <a:lnTo>
                    <a:pt x="3427" y="167"/>
                  </a:lnTo>
                  <a:lnTo>
                    <a:pt x="3629" y="75"/>
                  </a:lnTo>
                  <a:lnTo>
                    <a:pt x="3834" y="19"/>
                  </a:lnTo>
                  <a:lnTo>
                    <a:pt x="4043" y="0"/>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5" name="Freeform 18">
              <a:extLst>
                <a:ext uri="{FF2B5EF4-FFF2-40B4-BE49-F238E27FC236}">
                  <a16:creationId xmlns:a16="http://schemas.microsoft.com/office/drawing/2014/main" id="{6E690670-6BA9-4489-81F6-72FFE409E37E}"/>
                </a:ext>
              </a:extLst>
            </p:cNvPr>
            <p:cNvSpPr>
              <a:spLocks/>
            </p:cNvSpPr>
            <p:nvPr/>
          </p:nvSpPr>
          <p:spPr bwMode="auto">
            <a:xfrm>
              <a:off x="806225" y="4567846"/>
              <a:ext cx="1178290" cy="594611"/>
            </a:xfrm>
            <a:custGeom>
              <a:avLst/>
              <a:gdLst>
                <a:gd name="T0" fmla="*/ 4456 w 8085"/>
                <a:gd name="T1" fmla="*/ 75 h 16320"/>
                <a:gd name="T2" fmla="*/ 5053 w 8085"/>
                <a:gd name="T3" fmla="*/ 448 h 16320"/>
                <a:gd name="T4" fmla="*/ 5616 w 8085"/>
                <a:gd name="T5" fmla="*/ 1081 h 16320"/>
                <a:gd name="T6" fmla="*/ 6138 w 8085"/>
                <a:gd name="T7" fmla="*/ 1921 h 16320"/>
                <a:gd name="T8" fmla="*/ 6613 w 8085"/>
                <a:gd name="T9" fmla="*/ 2912 h 16320"/>
                <a:gd name="T10" fmla="*/ 7035 w 8085"/>
                <a:gd name="T11" fmla="*/ 4000 h 16320"/>
                <a:gd name="T12" fmla="*/ 7395 w 8085"/>
                <a:gd name="T13" fmla="*/ 5130 h 16320"/>
                <a:gd name="T14" fmla="*/ 7687 w 8085"/>
                <a:gd name="T15" fmla="*/ 6246 h 16320"/>
                <a:gd name="T16" fmla="*/ 7903 w 8085"/>
                <a:gd name="T17" fmla="*/ 7295 h 16320"/>
                <a:gd name="T18" fmla="*/ 8038 w 8085"/>
                <a:gd name="T19" fmla="*/ 8220 h 16320"/>
                <a:gd name="T20" fmla="*/ 8085 w 8085"/>
                <a:gd name="T21" fmla="*/ 8968 h 16320"/>
                <a:gd name="T22" fmla="*/ 8038 w 8085"/>
                <a:gd name="T23" fmla="*/ 9675 h 16320"/>
                <a:gd name="T24" fmla="*/ 7903 w 8085"/>
                <a:gd name="T25" fmla="*/ 10492 h 16320"/>
                <a:gd name="T26" fmla="*/ 7687 w 8085"/>
                <a:gd name="T27" fmla="*/ 11377 h 16320"/>
                <a:gd name="T28" fmla="*/ 7395 w 8085"/>
                <a:gd name="T29" fmla="*/ 12294 h 16320"/>
                <a:gd name="T30" fmla="*/ 7035 w 8085"/>
                <a:gd name="T31" fmla="*/ 13203 h 16320"/>
                <a:gd name="T32" fmla="*/ 6613 w 8085"/>
                <a:gd name="T33" fmla="*/ 14065 h 16320"/>
                <a:gd name="T34" fmla="*/ 6138 w 8085"/>
                <a:gd name="T35" fmla="*/ 14841 h 16320"/>
                <a:gd name="T36" fmla="*/ 5616 w 8085"/>
                <a:gd name="T37" fmla="*/ 15492 h 16320"/>
                <a:gd name="T38" fmla="*/ 5053 w 8085"/>
                <a:gd name="T39" fmla="*/ 15978 h 16320"/>
                <a:gd name="T40" fmla="*/ 4456 w 8085"/>
                <a:gd name="T41" fmla="*/ 16263 h 16320"/>
                <a:gd name="T42" fmla="*/ 3834 w 8085"/>
                <a:gd name="T43" fmla="*/ 16306 h 16320"/>
                <a:gd name="T44" fmla="*/ 3228 w 8085"/>
                <a:gd name="T45" fmla="*/ 16098 h 16320"/>
                <a:gd name="T46" fmla="*/ 2653 w 8085"/>
                <a:gd name="T47" fmla="*/ 15673 h 16320"/>
                <a:gd name="T48" fmla="*/ 2116 w 8085"/>
                <a:gd name="T49" fmla="*/ 15074 h 16320"/>
                <a:gd name="T50" fmla="*/ 1624 w 8085"/>
                <a:gd name="T51" fmla="*/ 14335 h 16320"/>
                <a:gd name="T52" fmla="*/ 1184 w 8085"/>
                <a:gd name="T53" fmla="*/ 13498 h 16320"/>
                <a:gd name="T54" fmla="*/ 803 w 8085"/>
                <a:gd name="T55" fmla="*/ 12600 h 16320"/>
                <a:gd name="T56" fmla="*/ 488 w 8085"/>
                <a:gd name="T57" fmla="*/ 11682 h 16320"/>
                <a:gd name="T58" fmla="*/ 245 w 8085"/>
                <a:gd name="T59" fmla="*/ 10781 h 16320"/>
                <a:gd name="T60" fmla="*/ 82 w 8085"/>
                <a:gd name="T61" fmla="*/ 9937 h 16320"/>
                <a:gd name="T62" fmla="*/ 5 w 8085"/>
                <a:gd name="T63" fmla="*/ 9189 h 16320"/>
                <a:gd name="T64" fmla="*/ 21 w 8085"/>
                <a:gd name="T65" fmla="*/ 8492 h 16320"/>
                <a:gd name="T66" fmla="*/ 127 w 8085"/>
                <a:gd name="T67" fmla="*/ 7619 h 16320"/>
                <a:gd name="T68" fmla="*/ 318 w 8085"/>
                <a:gd name="T69" fmla="*/ 6606 h 16320"/>
                <a:gd name="T70" fmla="*/ 585 w 8085"/>
                <a:gd name="T71" fmla="*/ 5506 h 16320"/>
                <a:gd name="T72" fmla="*/ 923 w 8085"/>
                <a:gd name="T73" fmla="*/ 4375 h 16320"/>
                <a:gd name="T74" fmla="*/ 1324 w 8085"/>
                <a:gd name="T75" fmla="*/ 3267 h 16320"/>
                <a:gd name="T76" fmla="*/ 1783 w 8085"/>
                <a:gd name="T77" fmla="*/ 2237 h 16320"/>
                <a:gd name="T78" fmla="*/ 2290 w 8085"/>
                <a:gd name="T79" fmla="*/ 1340 h 16320"/>
                <a:gd name="T80" fmla="*/ 2840 w 8085"/>
                <a:gd name="T81" fmla="*/ 632 h 16320"/>
                <a:gd name="T82" fmla="*/ 3427 w 8085"/>
                <a:gd name="T83" fmla="*/ 167 h 16320"/>
                <a:gd name="T84" fmla="*/ 4043 w 8085"/>
                <a:gd name="T85" fmla="*/ 0 h 16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085" h="16320">
                  <a:moveTo>
                    <a:pt x="4043" y="0"/>
                  </a:moveTo>
                  <a:lnTo>
                    <a:pt x="4251" y="19"/>
                  </a:lnTo>
                  <a:lnTo>
                    <a:pt x="4456" y="75"/>
                  </a:lnTo>
                  <a:lnTo>
                    <a:pt x="4658" y="167"/>
                  </a:lnTo>
                  <a:lnTo>
                    <a:pt x="4857" y="292"/>
                  </a:lnTo>
                  <a:lnTo>
                    <a:pt x="5053" y="448"/>
                  </a:lnTo>
                  <a:lnTo>
                    <a:pt x="5245" y="632"/>
                  </a:lnTo>
                  <a:lnTo>
                    <a:pt x="5432" y="845"/>
                  </a:lnTo>
                  <a:lnTo>
                    <a:pt x="5616" y="1081"/>
                  </a:lnTo>
                  <a:lnTo>
                    <a:pt x="5795" y="1340"/>
                  </a:lnTo>
                  <a:lnTo>
                    <a:pt x="5969" y="1622"/>
                  </a:lnTo>
                  <a:lnTo>
                    <a:pt x="6138" y="1921"/>
                  </a:lnTo>
                  <a:lnTo>
                    <a:pt x="6302" y="2237"/>
                  </a:lnTo>
                  <a:lnTo>
                    <a:pt x="6461" y="2568"/>
                  </a:lnTo>
                  <a:lnTo>
                    <a:pt x="6613" y="2912"/>
                  </a:lnTo>
                  <a:lnTo>
                    <a:pt x="6761" y="3267"/>
                  </a:lnTo>
                  <a:lnTo>
                    <a:pt x="6901" y="3630"/>
                  </a:lnTo>
                  <a:lnTo>
                    <a:pt x="7035" y="4000"/>
                  </a:lnTo>
                  <a:lnTo>
                    <a:pt x="7162" y="4375"/>
                  </a:lnTo>
                  <a:lnTo>
                    <a:pt x="7282" y="4752"/>
                  </a:lnTo>
                  <a:lnTo>
                    <a:pt x="7395" y="5130"/>
                  </a:lnTo>
                  <a:lnTo>
                    <a:pt x="7500" y="5506"/>
                  </a:lnTo>
                  <a:lnTo>
                    <a:pt x="7597" y="5879"/>
                  </a:lnTo>
                  <a:lnTo>
                    <a:pt x="7687" y="6246"/>
                  </a:lnTo>
                  <a:lnTo>
                    <a:pt x="7767" y="6606"/>
                  </a:lnTo>
                  <a:lnTo>
                    <a:pt x="7840" y="6956"/>
                  </a:lnTo>
                  <a:lnTo>
                    <a:pt x="7903" y="7295"/>
                  </a:lnTo>
                  <a:lnTo>
                    <a:pt x="7958" y="7619"/>
                  </a:lnTo>
                  <a:lnTo>
                    <a:pt x="8003" y="7928"/>
                  </a:lnTo>
                  <a:lnTo>
                    <a:pt x="8038" y="8220"/>
                  </a:lnTo>
                  <a:lnTo>
                    <a:pt x="8064" y="8492"/>
                  </a:lnTo>
                  <a:lnTo>
                    <a:pt x="8080" y="8741"/>
                  </a:lnTo>
                  <a:lnTo>
                    <a:pt x="8085" y="8968"/>
                  </a:lnTo>
                  <a:lnTo>
                    <a:pt x="8080" y="9189"/>
                  </a:lnTo>
                  <a:lnTo>
                    <a:pt x="8064" y="9426"/>
                  </a:lnTo>
                  <a:lnTo>
                    <a:pt x="8038" y="9675"/>
                  </a:lnTo>
                  <a:lnTo>
                    <a:pt x="8003" y="9937"/>
                  </a:lnTo>
                  <a:lnTo>
                    <a:pt x="7958" y="10210"/>
                  </a:lnTo>
                  <a:lnTo>
                    <a:pt x="7903" y="10492"/>
                  </a:lnTo>
                  <a:lnTo>
                    <a:pt x="7840" y="10781"/>
                  </a:lnTo>
                  <a:lnTo>
                    <a:pt x="7767" y="11077"/>
                  </a:lnTo>
                  <a:lnTo>
                    <a:pt x="7687" y="11377"/>
                  </a:lnTo>
                  <a:lnTo>
                    <a:pt x="7597" y="11682"/>
                  </a:lnTo>
                  <a:lnTo>
                    <a:pt x="7500" y="11988"/>
                  </a:lnTo>
                  <a:lnTo>
                    <a:pt x="7395" y="12294"/>
                  </a:lnTo>
                  <a:lnTo>
                    <a:pt x="7282" y="12600"/>
                  </a:lnTo>
                  <a:lnTo>
                    <a:pt x="7162" y="12904"/>
                  </a:lnTo>
                  <a:lnTo>
                    <a:pt x="7035" y="13203"/>
                  </a:lnTo>
                  <a:lnTo>
                    <a:pt x="6901" y="13498"/>
                  </a:lnTo>
                  <a:lnTo>
                    <a:pt x="6761" y="13785"/>
                  </a:lnTo>
                  <a:lnTo>
                    <a:pt x="6613" y="14065"/>
                  </a:lnTo>
                  <a:lnTo>
                    <a:pt x="6461" y="14335"/>
                  </a:lnTo>
                  <a:lnTo>
                    <a:pt x="6302" y="14594"/>
                  </a:lnTo>
                  <a:lnTo>
                    <a:pt x="6138" y="14841"/>
                  </a:lnTo>
                  <a:lnTo>
                    <a:pt x="5969" y="15074"/>
                  </a:lnTo>
                  <a:lnTo>
                    <a:pt x="5795" y="15291"/>
                  </a:lnTo>
                  <a:lnTo>
                    <a:pt x="5616" y="15492"/>
                  </a:lnTo>
                  <a:lnTo>
                    <a:pt x="5432" y="15673"/>
                  </a:lnTo>
                  <a:lnTo>
                    <a:pt x="5245" y="15837"/>
                  </a:lnTo>
                  <a:lnTo>
                    <a:pt x="5053" y="15978"/>
                  </a:lnTo>
                  <a:lnTo>
                    <a:pt x="4857" y="16098"/>
                  </a:lnTo>
                  <a:lnTo>
                    <a:pt x="4658" y="16193"/>
                  </a:lnTo>
                  <a:lnTo>
                    <a:pt x="4456" y="16263"/>
                  </a:lnTo>
                  <a:lnTo>
                    <a:pt x="4251" y="16306"/>
                  </a:lnTo>
                  <a:lnTo>
                    <a:pt x="4043" y="16320"/>
                  </a:lnTo>
                  <a:lnTo>
                    <a:pt x="3834" y="16306"/>
                  </a:lnTo>
                  <a:lnTo>
                    <a:pt x="3629" y="16263"/>
                  </a:lnTo>
                  <a:lnTo>
                    <a:pt x="3427" y="16193"/>
                  </a:lnTo>
                  <a:lnTo>
                    <a:pt x="3228" y="16098"/>
                  </a:lnTo>
                  <a:lnTo>
                    <a:pt x="3032" y="15978"/>
                  </a:lnTo>
                  <a:lnTo>
                    <a:pt x="2840" y="15837"/>
                  </a:lnTo>
                  <a:lnTo>
                    <a:pt x="2653" y="15673"/>
                  </a:lnTo>
                  <a:lnTo>
                    <a:pt x="2469" y="15492"/>
                  </a:lnTo>
                  <a:lnTo>
                    <a:pt x="2290" y="15291"/>
                  </a:lnTo>
                  <a:lnTo>
                    <a:pt x="2116" y="15074"/>
                  </a:lnTo>
                  <a:lnTo>
                    <a:pt x="1947" y="14841"/>
                  </a:lnTo>
                  <a:lnTo>
                    <a:pt x="1783" y="14594"/>
                  </a:lnTo>
                  <a:lnTo>
                    <a:pt x="1624" y="14335"/>
                  </a:lnTo>
                  <a:lnTo>
                    <a:pt x="1472" y="14065"/>
                  </a:lnTo>
                  <a:lnTo>
                    <a:pt x="1324" y="13785"/>
                  </a:lnTo>
                  <a:lnTo>
                    <a:pt x="1184" y="13498"/>
                  </a:lnTo>
                  <a:lnTo>
                    <a:pt x="1050" y="13203"/>
                  </a:lnTo>
                  <a:lnTo>
                    <a:pt x="923" y="12904"/>
                  </a:lnTo>
                  <a:lnTo>
                    <a:pt x="803" y="12600"/>
                  </a:lnTo>
                  <a:lnTo>
                    <a:pt x="690" y="12294"/>
                  </a:lnTo>
                  <a:lnTo>
                    <a:pt x="585" y="11988"/>
                  </a:lnTo>
                  <a:lnTo>
                    <a:pt x="488" y="11682"/>
                  </a:lnTo>
                  <a:lnTo>
                    <a:pt x="398" y="11377"/>
                  </a:lnTo>
                  <a:lnTo>
                    <a:pt x="318" y="11077"/>
                  </a:lnTo>
                  <a:lnTo>
                    <a:pt x="245" y="10781"/>
                  </a:lnTo>
                  <a:lnTo>
                    <a:pt x="182" y="10492"/>
                  </a:lnTo>
                  <a:lnTo>
                    <a:pt x="127" y="10210"/>
                  </a:lnTo>
                  <a:lnTo>
                    <a:pt x="82" y="9937"/>
                  </a:lnTo>
                  <a:lnTo>
                    <a:pt x="47" y="9675"/>
                  </a:lnTo>
                  <a:lnTo>
                    <a:pt x="21" y="9426"/>
                  </a:lnTo>
                  <a:lnTo>
                    <a:pt x="5" y="9189"/>
                  </a:lnTo>
                  <a:lnTo>
                    <a:pt x="0" y="8968"/>
                  </a:lnTo>
                  <a:lnTo>
                    <a:pt x="5" y="8741"/>
                  </a:lnTo>
                  <a:lnTo>
                    <a:pt x="21" y="8492"/>
                  </a:lnTo>
                  <a:lnTo>
                    <a:pt x="47" y="8220"/>
                  </a:lnTo>
                  <a:lnTo>
                    <a:pt x="82" y="7928"/>
                  </a:lnTo>
                  <a:lnTo>
                    <a:pt x="127" y="7619"/>
                  </a:lnTo>
                  <a:lnTo>
                    <a:pt x="182" y="7295"/>
                  </a:lnTo>
                  <a:lnTo>
                    <a:pt x="245" y="6956"/>
                  </a:lnTo>
                  <a:lnTo>
                    <a:pt x="318" y="6606"/>
                  </a:lnTo>
                  <a:lnTo>
                    <a:pt x="398" y="6246"/>
                  </a:lnTo>
                  <a:lnTo>
                    <a:pt x="488" y="5879"/>
                  </a:lnTo>
                  <a:lnTo>
                    <a:pt x="585" y="5506"/>
                  </a:lnTo>
                  <a:lnTo>
                    <a:pt x="690" y="5130"/>
                  </a:lnTo>
                  <a:lnTo>
                    <a:pt x="803" y="4752"/>
                  </a:lnTo>
                  <a:lnTo>
                    <a:pt x="923" y="4375"/>
                  </a:lnTo>
                  <a:lnTo>
                    <a:pt x="1050" y="4000"/>
                  </a:lnTo>
                  <a:lnTo>
                    <a:pt x="1184" y="3630"/>
                  </a:lnTo>
                  <a:lnTo>
                    <a:pt x="1324" y="3267"/>
                  </a:lnTo>
                  <a:lnTo>
                    <a:pt x="1472" y="2912"/>
                  </a:lnTo>
                  <a:lnTo>
                    <a:pt x="1624" y="2568"/>
                  </a:lnTo>
                  <a:lnTo>
                    <a:pt x="1783" y="2237"/>
                  </a:lnTo>
                  <a:lnTo>
                    <a:pt x="1947" y="1921"/>
                  </a:lnTo>
                  <a:lnTo>
                    <a:pt x="2116" y="1622"/>
                  </a:lnTo>
                  <a:lnTo>
                    <a:pt x="2290" y="1340"/>
                  </a:lnTo>
                  <a:lnTo>
                    <a:pt x="2469" y="1081"/>
                  </a:lnTo>
                  <a:lnTo>
                    <a:pt x="2653" y="845"/>
                  </a:lnTo>
                  <a:lnTo>
                    <a:pt x="2840" y="632"/>
                  </a:lnTo>
                  <a:lnTo>
                    <a:pt x="3032" y="448"/>
                  </a:lnTo>
                  <a:lnTo>
                    <a:pt x="3228" y="292"/>
                  </a:lnTo>
                  <a:lnTo>
                    <a:pt x="3427" y="167"/>
                  </a:lnTo>
                  <a:lnTo>
                    <a:pt x="3629" y="75"/>
                  </a:lnTo>
                  <a:lnTo>
                    <a:pt x="3834" y="19"/>
                  </a:lnTo>
                  <a:lnTo>
                    <a:pt x="4043" y="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6" name="Freeform 19">
              <a:extLst>
                <a:ext uri="{FF2B5EF4-FFF2-40B4-BE49-F238E27FC236}">
                  <a16:creationId xmlns:a16="http://schemas.microsoft.com/office/drawing/2014/main" id="{C3B2EE7A-85D1-4931-82AB-5C75EEBA731E}"/>
                </a:ext>
              </a:extLst>
            </p:cNvPr>
            <p:cNvSpPr>
              <a:spLocks/>
            </p:cNvSpPr>
            <p:nvPr/>
          </p:nvSpPr>
          <p:spPr bwMode="auto">
            <a:xfrm rot="9000000">
              <a:off x="1444495" y="5148671"/>
              <a:ext cx="830223" cy="418962"/>
            </a:xfrm>
            <a:custGeom>
              <a:avLst/>
              <a:gdLst>
                <a:gd name="T0" fmla="*/ 4456 w 8085"/>
                <a:gd name="T1" fmla="*/ 75 h 16320"/>
                <a:gd name="T2" fmla="*/ 5053 w 8085"/>
                <a:gd name="T3" fmla="*/ 448 h 16320"/>
                <a:gd name="T4" fmla="*/ 5616 w 8085"/>
                <a:gd name="T5" fmla="*/ 1081 h 16320"/>
                <a:gd name="T6" fmla="*/ 6138 w 8085"/>
                <a:gd name="T7" fmla="*/ 1921 h 16320"/>
                <a:gd name="T8" fmla="*/ 6613 w 8085"/>
                <a:gd name="T9" fmla="*/ 2912 h 16320"/>
                <a:gd name="T10" fmla="*/ 7035 w 8085"/>
                <a:gd name="T11" fmla="*/ 4000 h 16320"/>
                <a:gd name="T12" fmla="*/ 7395 w 8085"/>
                <a:gd name="T13" fmla="*/ 5130 h 16320"/>
                <a:gd name="T14" fmla="*/ 7687 w 8085"/>
                <a:gd name="T15" fmla="*/ 6246 h 16320"/>
                <a:gd name="T16" fmla="*/ 7903 w 8085"/>
                <a:gd name="T17" fmla="*/ 7295 h 16320"/>
                <a:gd name="T18" fmla="*/ 8038 w 8085"/>
                <a:gd name="T19" fmla="*/ 8220 h 16320"/>
                <a:gd name="T20" fmla="*/ 8085 w 8085"/>
                <a:gd name="T21" fmla="*/ 8968 h 16320"/>
                <a:gd name="T22" fmla="*/ 8038 w 8085"/>
                <a:gd name="T23" fmla="*/ 9675 h 16320"/>
                <a:gd name="T24" fmla="*/ 7903 w 8085"/>
                <a:gd name="T25" fmla="*/ 10492 h 16320"/>
                <a:gd name="T26" fmla="*/ 7687 w 8085"/>
                <a:gd name="T27" fmla="*/ 11377 h 16320"/>
                <a:gd name="T28" fmla="*/ 7395 w 8085"/>
                <a:gd name="T29" fmla="*/ 12294 h 16320"/>
                <a:gd name="T30" fmla="*/ 7035 w 8085"/>
                <a:gd name="T31" fmla="*/ 13203 h 16320"/>
                <a:gd name="T32" fmla="*/ 6613 w 8085"/>
                <a:gd name="T33" fmla="*/ 14065 h 16320"/>
                <a:gd name="T34" fmla="*/ 6138 w 8085"/>
                <a:gd name="T35" fmla="*/ 14841 h 16320"/>
                <a:gd name="T36" fmla="*/ 5616 w 8085"/>
                <a:gd name="T37" fmla="*/ 15492 h 16320"/>
                <a:gd name="T38" fmla="*/ 5053 w 8085"/>
                <a:gd name="T39" fmla="*/ 15978 h 16320"/>
                <a:gd name="T40" fmla="*/ 4456 w 8085"/>
                <a:gd name="T41" fmla="*/ 16263 h 16320"/>
                <a:gd name="T42" fmla="*/ 3834 w 8085"/>
                <a:gd name="T43" fmla="*/ 16306 h 16320"/>
                <a:gd name="T44" fmla="*/ 3228 w 8085"/>
                <a:gd name="T45" fmla="*/ 16098 h 16320"/>
                <a:gd name="T46" fmla="*/ 2653 w 8085"/>
                <a:gd name="T47" fmla="*/ 15673 h 16320"/>
                <a:gd name="T48" fmla="*/ 2116 w 8085"/>
                <a:gd name="T49" fmla="*/ 15074 h 16320"/>
                <a:gd name="T50" fmla="*/ 1624 w 8085"/>
                <a:gd name="T51" fmla="*/ 14335 h 16320"/>
                <a:gd name="T52" fmla="*/ 1184 w 8085"/>
                <a:gd name="T53" fmla="*/ 13498 h 16320"/>
                <a:gd name="T54" fmla="*/ 803 w 8085"/>
                <a:gd name="T55" fmla="*/ 12600 h 16320"/>
                <a:gd name="T56" fmla="*/ 488 w 8085"/>
                <a:gd name="T57" fmla="*/ 11682 h 16320"/>
                <a:gd name="T58" fmla="*/ 245 w 8085"/>
                <a:gd name="T59" fmla="*/ 10781 h 16320"/>
                <a:gd name="T60" fmla="*/ 82 w 8085"/>
                <a:gd name="T61" fmla="*/ 9937 h 16320"/>
                <a:gd name="T62" fmla="*/ 5 w 8085"/>
                <a:gd name="T63" fmla="*/ 9189 h 16320"/>
                <a:gd name="T64" fmla="*/ 21 w 8085"/>
                <a:gd name="T65" fmla="*/ 8492 h 16320"/>
                <a:gd name="T66" fmla="*/ 127 w 8085"/>
                <a:gd name="T67" fmla="*/ 7619 h 16320"/>
                <a:gd name="T68" fmla="*/ 318 w 8085"/>
                <a:gd name="T69" fmla="*/ 6606 h 16320"/>
                <a:gd name="T70" fmla="*/ 585 w 8085"/>
                <a:gd name="T71" fmla="*/ 5506 h 16320"/>
                <a:gd name="T72" fmla="*/ 923 w 8085"/>
                <a:gd name="T73" fmla="*/ 4375 h 16320"/>
                <a:gd name="T74" fmla="*/ 1324 w 8085"/>
                <a:gd name="T75" fmla="*/ 3267 h 16320"/>
                <a:gd name="T76" fmla="*/ 1783 w 8085"/>
                <a:gd name="T77" fmla="*/ 2237 h 16320"/>
                <a:gd name="T78" fmla="*/ 2290 w 8085"/>
                <a:gd name="T79" fmla="*/ 1340 h 16320"/>
                <a:gd name="T80" fmla="*/ 2840 w 8085"/>
                <a:gd name="T81" fmla="*/ 632 h 16320"/>
                <a:gd name="T82" fmla="*/ 3427 w 8085"/>
                <a:gd name="T83" fmla="*/ 167 h 16320"/>
                <a:gd name="T84" fmla="*/ 4043 w 8085"/>
                <a:gd name="T85" fmla="*/ 0 h 16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085" h="16320">
                  <a:moveTo>
                    <a:pt x="4043" y="0"/>
                  </a:moveTo>
                  <a:lnTo>
                    <a:pt x="4251" y="19"/>
                  </a:lnTo>
                  <a:lnTo>
                    <a:pt x="4456" y="75"/>
                  </a:lnTo>
                  <a:lnTo>
                    <a:pt x="4658" y="167"/>
                  </a:lnTo>
                  <a:lnTo>
                    <a:pt x="4857" y="292"/>
                  </a:lnTo>
                  <a:lnTo>
                    <a:pt x="5053" y="448"/>
                  </a:lnTo>
                  <a:lnTo>
                    <a:pt x="5245" y="632"/>
                  </a:lnTo>
                  <a:lnTo>
                    <a:pt x="5432" y="845"/>
                  </a:lnTo>
                  <a:lnTo>
                    <a:pt x="5616" y="1081"/>
                  </a:lnTo>
                  <a:lnTo>
                    <a:pt x="5795" y="1340"/>
                  </a:lnTo>
                  <a:lnTo>
                    <a:pt x="5969" y="1622"/>
                  </a:lnTo>
                  <a:lnTo>
                    <a:pt x="6138" y="1921"/>
                  </a:lnTo>
                  <a:lnTo>
                    <a:pt x="6302" y="2237"/>
                  </a:lnTo>
                  <a:lnTo>
                    <a:pt x="6461" y="2568"/>
                  </a:lnTo>
                  <a:lnTo>
                    <a:pt x="6613" y="2912"/>
                  </a:lnTo>
                  <a:lnTo>
                    <a:pt x="6761" y="3267"/>
                  </a:lnTo>
                  <a:lnTo>
                    <a:pt x="6901" y="3630"/>
                  </a:lnTo>
                  <a:lnTo>
                    <a:pt x="7035" y="4000"/>
                  </a:lnTo>
                  <a:lnTo>
                    <a:pt x="7162" y="4375"/>
                  </a:lnTo>
                  <a:lnTo>
                    <a:pt x="7282" y="4752"/>
                  </a:lnTo>
                  <a:lnTo>
                    <a:pt x="7395" y="5130"/>
                  </a:lnTo>
                  <a:lnTo>
                    <a:pt x="7500" y="5506"/>
                  </a:lnTo>
                  <a:lnTo>
                    <a:pt x="7597" y="5879"/>
                  </a:lnTo>
                  <a:lnTo>
                    <a:pt x="7687" y="6246"/>
                  </a:lnTo>
                  <a:lnTo>
                    <a:pt x="7767" y="6606"/>
                  </a:lnTo>
                  <a:lnTo>
                    <a:pt x="7840" y="6956"/>
                  </a:lnTo>
                  <a:lnTo>
                    <a:pt x="7903" y="7295"/>
                  </a:lnTo>
                  <a:lnTo>
                    <a:pt x="7958" y="7619"/>
                  </a:lnTo>
                  <a:lnTo>
                    <a:pt x="8003" y="7928"/>
                  </a:lnTo>
                  <a:lnTo>
                    <a:pt x="8038" y="8220"/>
                  </a:lnTo>
                  <a:lnTo>
                    <a:pt x="8064" y="8492"/>
                  </a:lnTo>
                  <a:lnTo>
                    <a:pt x="8080" y="8741"/>
                  </a:lnTo>
                  <a:lnTo>
                    <a:pt x="8085" y="8968"/>
                  </a:lnTo>
                  <a:lnTo>
                    <a:pt x="8080" y="9189"/>
                  </a:lnTo>
                  <a:lnTo>
                    <a:pt x="8064" y="9426"/>
                  </a:lnTo>
                  <a:lnTo>
                    <a:pt x="8038" y="9675"/>
                  </a:lnTo>
                  <a:lnTo>
                    <a:pt x="8003" y="9937"/>
                  </a:lnTo>
                  <a:lnTo>
                    <a:pt x="7958" y="10210"/>
                  </a:lnTo>
                  <a:lnTo>
                    <a:pt x="7903" y="10492"/>
                  </a:lnTo>
                  <a:lnTo>
                    <a:pt x="7840" y="10781"/>
                  </a:lnTo>
                  <a:lnTo>
                    <a:pt x="7767" y="11077"/>
                  </a:lnTo>
                  <a:lnTo>
                    <a:pt x="7687" y="11377"/>
                  </a:lnTo>
                  <a:lnTo>
                    <a:pt x="7597" y="11682"/>
                  </a:lnTo>
                  <a:lnTo>
                    <a:pt x="7500" y="11988"/>
                  </a:lnTo>
                  <a:lnTo>
                    <a:pt x="7395" y="12294"/>
                  </a:lnTo>
                  <a:lnTo>
                    <a:pt x="7282" y="12600"/>
                  </a:lnTo>
                  <a:lnTo>
                    <a:pt x="7162" y="12904"/>
                  </a:lnTo>
                  <a:lnTo>
                    <a:pt x="7035" y="13203"/>
                  </a:lnTo>
                  <a:lnTo>
                    <a:pt x="6901" y="13498"/>
                  </a:lnTo>
                  <a:lnTo>
                    <a:pt x="6761" y="13785"/>
                  </a:lnTo>
                  <a:lnTo>
                    <a:pt x="6613" y="14065"/>
                  </a:lnTo>
                  <a:lnTo>
                    <a:pt x="6461" y="14335"/>
                  </a:lnTo>
                  <a:lnTo>
                    <a:pt x="6302" y="14594"/>
                  </a:lnTo>
                  <a:lnTo>
                    <a:pt x="6138" y="14841"/>
                  </a:lnTo>
                  <a:lnTo>
                    <a:pt x="5969" y="15074"/>
                  </a:lnTo>
                  <a:lnTo>
                    <a:pt x="5795" y="15291"/>
                  </a:lnTo>
                  <a:lnTo>
                    <a:pt x="5616" y="15492"/>
                  </a:lnTo>
                  <a:lnTo>
                    <a:pt x="5432" y="15673"/>
                  </a:lnTo>
                  <a:lnTo>
                    <a:pt x="5245" y="15837"/>
                  </a:lnTo>
                  <a:lnTo>
                    <a:pt x="5053" y="15978"/>
                  </a:lnTo>
                  <a:lnTo>
                    <a:pt x="4857" y="16098"/>
                  </a:lnTo>
                  <a:lnTo>
                    <a:pt x="4658" y="16193"/>
                  </a:lnTo>
                  <a:lnTo>
                    <a:pt x="4456" y="16263"/>
                  </a:lnTo>
                  <a:lnTo>
                    <a:pt x="4251" y="16306"/>
                  </a:lnTo>
                  <a:lnTo>
                    <a:pt x="4043" y="16320"/>
                  </a:lnTo>
                  <a:lnTo>
                    <a:pt x="3834" y="16306"/>
                  </a:lnTo>
                  <a:lnTo>
                    <a:pt x="3629" y="16263"/>
                  </a:lnTo>
                  <a:lnTo>
                    <a:pt x="3427" y="16193"/>
                  </a:lnTo>
                  <a:lnTo>
                    <a:pt x="3228" y="16098"/>
                  </a:lnTo>
                  <a:lnTo>
                    <a:pt x="3032" y="15978"/>
                  </a:lnTo>
                  <a:lnTo>
                    <a:pt x="2840" y="15837"/>
                  </a:lnTo>
                  <a:lnTo>
                    <a:pt x="2653" y="15673"/>
                  </a:lnTo>
                  <a:lnTo>
                    <a:pt x="2469" y="15492"/>
                  </a:lnTo>
                  <a:lnTo>
                    <a:pt x="2290" y="15291"/>
                  </a:lnTo>
                  <a:lnTo>
                    <a:pt x="2116" y="15074"/>
                  </a:lnTo>
                  <a:lnTo>
                    <a:pt x="1947" y="14841"/>
                  </a:lnTo>
                  <a:lnTo>
                    <a:pt x="1783" y="14594"/>
                  </a:lnTo>
                  <a:lnTo>
                    <a:pt x="1624" y="14335"/>
                  </a:lnTo>
                  <a:lnTo>
                    <a:pt x="1472" y="14065"/>
                  </a:lnTo>
                  <a:lnTo>
                    <a:pt x="1324" y="13785"/>
                  </a:lnTo>
                  <a:lnTo>
                    <a:pt x="1184" y="13498"/>
                  </a:lnTo>
                  <a:lnTo>
                    <a:pt x="1050" y="13203"/>
                  </a:lnTo>
                  <a:lnTo>
                    <a:pt x="923" y="12904"/>
                  </a:lnTo>
                  <a:lnTo>
                    <a:pt x="803" y="12600"/>
                  </a:lnTo>
                  <a:lnTo>
                    <a:pt x="690" y="12294"/>
                  </a:lnTo>
                  <a:lnTo>
                    <a:pt x="585" y="11988"/>
                  </a:lnTo>
                  <a:lnTo>
                    <a:pt x="488" y="11682"/>
                  </a:lnTo>
                  <a:lnTo>
                    <a:pt x="398" y="11377"/>
                  </a:lnTo>
                  <a:lnTo>
                    <a:pt x="318" y="11077"/>
                  </a:lnTo>
                  <a:lnTo>
                    <a:pt x="245" y="10781"/>
                  </a:lnTo>
                  <a:lnTo>
                    <a:pt x="182" y="10492"/>
                  </a:lnTo>
                  <a:lnTo>
                    <a:pt x="127" y="10210"/>
                  </a:lnTo>
                  <a:lnTo>
                    <a:pt x="82" y="9937"/>
                  </a:lnTo>
                  <a:lnTo>
                    <a:pt x="47" y="9675"/>
                  </a:lnTo>
                  <a:lnTo>
                    <a:pt x="21" y="9426"/>
                  </a:lnTo>
                  <a:lnTo>
                    <a:pt x="5" y="9189"/>
                  </a:lnTo>
                  <a:lnTo>
                    <a:pt x="0" y="8968"/>
                  </a:lnTo>
                  <a:lnTo>
                    <a:pt x="5" y="8741"/>
                  </a:lnTo>
                  <a:lnTo>
                    <a:pt x="21" y="8492"/>
                  </a:lnTo>
                  <a:lnTo>
                    <a:pt x="47" y="8220"/>
                  </a:lnTo>
                  <a:lnTo>
                    <a:pt x="82" y="7928"/>
                  </a:lnTo>
                  <a:lnTo>
                    <a:pt x="127" y="7619"/>
                  </a:lnTo>
                  <a:lnTo>
                    <a:pt x="182" y="7295"/>
                  </a:lnTo>
                  <a:lnTo>
                    <a:pt x="245" y="6956"/>
                  </a:lnTo>
                  <a:lnTo>
                    <a:pt x="318" y="6606"/>
                  </a:lnTo>
                  <a:lnTo>
                    <a:pt x="398" y="6246"/>
                  </a:lnTo>
                  <a:lnTo>
                    <a:pt x="488" y="5879"/>
                  </a:lnTo>
                  <a:lnTo>
                    <a:pt x="585" y="5506"/>
                  </a:lnTo>
                  <a:lnTo>
                    <a:pt x="690" y="5130"/>
                  </a:lnTo>
                  <a:lnTo>
                    <a:pt x="803" y="4752"/>
                  </a:lnTo>
                  <a:lnTo>
                    <a:pt x="923" y="4375"/>
                  </a:lnTo>
                  <a:lnTo>
                    <a:pt x="1050" y="4000"/>
                  </a:lnTo>
                  <a:lnTo>
                    <a:pt x="1184" y="3630"/>
                  </a:lnTo>
                  <a:lnTo>
                    <a:pt x="1324" y="3267"/>
                  </a:lnTo>
                  <a:lnTo>
                    <a:pt x="1472" y="2912"/>
                  </a:lnTo>
                  <a:lnTo>
                    <a:pt x="1624" y="2568"/>
                  </a:lnTo>
                  <a:lnTo>
                    <a:pt x="1783" y="2237"/>
                  </a:lnTo>
                  <a:lnTo>
                    <a:pt x="1947" y="1921"/>
                  </a:lnTo>
                  <a:lnTo>
                    <a:pt x="2116" y="1622"/>
                  </a:lnTo>
                  <a:lnTo>
                    <a:pt x="2290" y="1340"/>
                  </a:lnTo>
                  <a:lnTo>
                    <a:pt x="2469" y="1081"/>
                  </a:lnTo>
                  <a:lnTo>
                    <a:pt x="2653" y="845"/>
                  </a:lnTo>
                  <a:lnTo>
                    <a:pt x="2840" y="632"/>
                  </a:lnTo>
                  <a:lnTo>
                    <a:pt x="3032" y="448"/>
                  </a:lnTo>
                  <a:lnTo>
                    <a:pt x="3228" y="292"/>
                  </a:lnTo>
                  <a:lnTo>
                    <a:pt x="3427" y="167"/>
                  </a:lnTo>
                  <a:lnTo>
                    <a:pt x="3629" y="75"/>
                  </a:lnTo>
                  <a:lnTo>
                    <a:pt x="3834" y="19"/>
                  </a:lnTo>
                  <a:lnTo>
                    <a:pt x="4043" y="0"/>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nvGrpSpPr>
            <p:cNvPr id="17" name="Group 15">
              <a:extLst>
                <a:ext uri="{FF2B5EF4-FFF2-40B4-BE49-F238E27FC236}">
                  <a16:creationId xmlns:a16="http://schemas.microsoft.com/office/drawing/2014/main" id="{B409227F-FE4D-47ED-99E7-0151D13FB4DB}"/>
                </a:ext>
              </a:extLst>
            </p:cNvPr>
            <p:cNvGrpSpPr/>
            <p:nvPr/>
          </p:nvGrpSpPr>
          <p:grpSpPr>
            <a:xfrm>
              <a:off x="2382870" y="2735420"/>
              <a:ext cx="1597313" cy="4122580"/>
              <a:chOff x="6421351" y="1894996"/>
              <a:chExt cx="983278" cy="2537788"/>
            </a:xfrm>
            <a:gradFill>
              <a:gsLst>
                <a:gs pos="28000">
                  <a:schemeClr val="accent1"/>
                </a:gs>
                <a:gs pos="82000">
                  <a:schemeClr val="accent5"/>
                </a:gs>
              </a:gsLst>
              <a:lin ang="2700000" scaled="1"/>
            </a:gradFill>
          </p:grpSpPr>
          <p:sp>
            <p:nvSpPr>
              <p:cNvPr id="21" name="Freeform 6">
                <a:extLst>
                  <a:ext uri="{FF2B5EF4-FFF2-40B4-BE49-F238E27FC236}">
                    <a16:creationId xmlns:a16="http://schemas.microsoft.com/office/drawing/2014/main" id="{5766AF58-5DB5-4993-9D0F-E6413B1E0E54}"/>
                  </a:ext>
                </a:extLst>
              </p:cNvPr>
              <p:cNvSpPr>
                <a:spLocks/>
              </p:cNvSpPr>
              <p:nvPr/>
            </p:nvSpPr>
            <p:spPr bwMode="auto">
              <a:xfrm>
                <a:off x="6707365" y="1991742"/>
                <a:ext cx="549306" cy="2441042"/>
              </a:xfrm>
              <a:custGeom>
                <a:avLst/>
                <a:gdLst>
                  <a:gd name="T0" fmla="*/ 943 w 3675"/>
                  <a:gd name="T1" fmla="*/ 0 h 17136"/>
                  <a:gd name="T2" fmla="*/ 2235 w 3675"/>
                  <a:gd name="T3" fmla="*/ 0 h 17136"/>
                  <a:gd name="T4" fmla="*/ 3675 w 3675"/>
                  <a:gd name="T5" fmla="*/ 17136 h 17136"/>
                  <a:gd name="T6" fmla="*/ 0 w 3675"/>
                  <a:gd name="T7" fmla="*/ 17136 h 17136"/>
                  <a:gd name="T8" fmla="*/ 943 w 3675"/>
                  <a:gd name="T9" fmla="*/ 0 h 17136"/>
                </a:gdLst>
                <a:ahLst/>
                <a:cxnLst>
                  <a:cxn ang="0">
                    <a:pos x="T0" y="T1"/>
                  </a:cxn>
                  <a:cxn ang="0">
                    <a:pos x="T2" y="T3"/>
                  </a:cxn>
                  <a:cxn ang="0">
                    <a:pos x="T4" y="T5"/>
                  </a:cxn>
                  <a:cxn ang="0">
                    <a:pos x="T6" y="T7"/>
                  </a:cxn>
                  <a:cxn ang="0">
                    <a:pos x="T8" y="T9"/>
                  </a:cxn>
                </a:cxnLst>
                <a:rect l="0" t="0" r="r" b="b"/>
                <a:pathLst>
                  <a:path w="3675" h="17136">
                    <a:moveTo>
                      <a:pt x="943" y="0"/>
                    </a:moveTo>
                    <a:lnTo>
                      <a:pt x="2235" y="0"/>
                    </a:lnTo>
                    <a:lnTo>
                      <a:pt x="3675" y="17136"/>
                    </a:lnTo>
                    <a:lnTo>
                      <a:pt x="0" y="17136"/>
                    </a:lnTo>
                    <a:lnTo>
                      <a:pt x="94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2" name="Freeform 8">
                <a:extLst>
                  <a:ext uri="{FF2B5EF4-FFF2-40B4-BE49-F238E27FC236}">
                    <a16:creationId xmlns:a16="http://schemas.microsoft.com/office/drawing/2014/main" id="{38F8DA93-8792-4347-9F49-086F1CC4970C}"/>
                  </a:ext>
                </a:extLst>
              </p:cNvPr>
              <p:cNvSpPr>
                <a:spLocks/>
              </p:cNvSpPr>
              <p:nvPr/>
            </p:nvSpPr>
            <p:spPr bwMode="auto">
              <a:xfrm rot="900000">
                <a:off x="6525445" y="1894996"/>
                <a:ext cx="455560" cy="540664"/>
              </a:xfrm>
              <a:custGeom>
                <a:avLst/>
                <a:gdLst>
                  <a:gd name="T0" fmla="*/ 0 w 3279"/>
                  <a:gd name="T1" fmla="*/ 391 h 3884"/>
                  <a:gd name="T2" fmla="*/ 163 w 3279"/>
                  <a:gd name="T3" fmla="*/ 0 h 3884"/>
                  <a:gd name="T4" fmla="*/ 3279 w 3279"/>
                  <a:gd name="T5" fmla="*/ 2771 h 3884"/>
                  <a:gd name="T6" fmla="*/ 2816 w 3279"/>
                  <a:gd name="T7" fmla="*/ 3884 h 3884"/>
                  <a:gd name="T8" fmla="*/ 0 w 3279"/>
                  <a:gd name="T9" fmla="*/ 391 h 3884"/>
                </a:gdLst>
                <a:ahLst/>
                <a:cxnLst>
                  <a:cxn ang="0">
                    <a:pos x="T0" y="T1"/>
                  </a:cxn>
                  <a:cxn ang="0">
                    <a:pos x="T2" y="T3"/>
                  </a:cxn>
                  <a:cxn ang="0">
                    <a:pos x="T4" y="T5"/>
                  </a:cxn>
                  <a:cxn ang="0">
                    <a:pos x="T6" y="T7"/>
                  </a:cxn>
                  <a:cxn ang="0">
                    <a:pos x="T8" y="T9"/>
                  </a:cxn>
                </a:cxnLst>
                <a:rect l="0" t="0" r="r" b="b"/>
                <a:pathLst>
                  <a:path w="3279" h="3884">
                    <a:moveTo>
                      <a:pt x="0" y="391"/>
                    </a:moveTo>
                    <a:lnTo>
                      <a:pt x="163" y="0"/>
                    </a:lnTo>
                    <a:lnTo>
                      <a:pt x="3279" y="2771"/>
                    </a:lnTo>
                    <a:lnTo>
                      <a:pt x="2816" y="3884"/>
                    </a:lnTo>
                    <a:lnTo>
                      <a:pt x="0" y="39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3" name="Freeform 8">
                <a:extLst>
                  <a:ext uri="{FF2B5EF4-FFF2-40B4-BE49-F238E27FC236}">
                    <a16:creationId xmlns:a16="http://schemas.microsoft.com/office/drawing/2014/main" id="{A970949C-4564-433A-B9EF-443DF3FC922F}"/>
                  </a:ext>
                </a:extLst>
              </p:cNvPr>
              <p:cNvSpPr>
                <a:spLocks/>
              </p:cNvSpPr>
              <p:nvPr/>
            </p:nvSpPr>
            <p:spPr bwMode="auto">
              <a:xfrm rot="5400000">
                <a:off x="7023977" y="2399969"/>
                <a:ext cx="338693" cy="422611"/>
              </a:xfrm>
              <a:custGeom>
                <a:avLst/>
                <a:gdLst>
                  <a:gd name="T0" fmla="*/ 0 w 3279"/>
                  <a:gd name="T1" fmla="*/ 391 h 3884"/>
                  <a:gd name="T2" fmla="*/ 163 w 3279"/>
                  <a:gd name="T3" fmla="*/ 0 h 3884"/>
                  <a:gd name="T4" fmla="*/ 3279 w 3279"/>
                  <a:gd name="T5" fmla="*/ 2771 h 3884"/>
                  <a:gd name="T6" fmla="*/ 2816 w 3279"/>
                  <a:gd name="T7" fmla="*/ 3884 h 3884"/>
                  <a:gd name="T8" fmla="*/ 0 w 3279"/>
                  <a:gd name="T9" fmla="*/ 391 h 3884"/>
                </a:gdLst>
                <a:ahLst/>
                <a:cxnLst>
                  <a:cxn ang="0">
                    <a:pos x="T0" y="T1"/>
                  </a:cxn>
                  <a:cxn ang="0">
                    <a:pos x="T2" y="T3"/>
                  </a:cxn>
                  <a:cxn ang="0">
                    <a:pos x="T4" y="T5"/>
                  </a:cxn>
                  <a:cxn ang="0">
                    <a:pos x="T6" y="T7"/>
                  </a:cxn>
                  <a:cxn ang="0">
                    <a:pos x="T8" y="T9"/>
                  </a:cxn>
                </a:cxnLst>
                <a:rect l="0" t="0" r="r" b="b"/>
                <a:pathLst>
                  <a:path w="3279" h="3884">
                    <a:moveTo>
                      <a:pt x="0" y="391"/>
                    </a:moveTo>
                    <a:lnTo>
                      <a:pt x="163" y="0"/>
                    </a:lnTo>
                    <a:lnTo>
                      <a:pt x="3279" y="2771"/>
                    </a:lnTo>
                    <a:lnTo>
                      <a:pt x="2816" y="3884"/>
                    </a:lnTo>
                    <a:lnTo>
                      <a:pt x="0" y="39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4" name="Freeform 8">
                <a:extLst>
                  <a:ext uri="{FF2B5EF4-FFF2-40B4-BE49-F238E27FC236}">
                    <a16:creationId xmlns:a16="http://schemas.microsoft.com/office/drawing/2014/main" id="{F3E18E65-7ABB-48B1-8466-621211E106A0}"/>
                  </a:ext>
                </a:extLst>
              </p:cNvPr>
              <p:cNvSpPr>
                <a:spLocks/>
              </p:cNvSpPr>
              <p:nvPr/>
            </p:nvSpPr>
            <p:spPr bwMode="auto">
              <a:xfrm rot="20700000">
                <a:off x="6421351" y="3116141"/>
                <a:ext cx="455560" cy="540664"/>
              </a:xfrm>
              <a:custGeom>
                <a:avLst/>
                <a:gdLst>
                  <a:gd name="T0" fmla="*/ 0 w 3279"/>
                  <a:gd name="T1" fmla="*/ 391 h 3884"/>
                  <a:gd name="T2" fmla="*/ 163 w 3279"/>
                  <a:gd name="T3" fmla="*/ 0 h 3884"/>
                  <a:gd name="T4" fmla="*/ 3279 w 3279"/>
                  <a:gd name="T5" fmla="*/ 2771 h 3884"/>
                  <a:gd name="T6" fmla="*/ 2816 w 3279"/>
                  <a:gd name="T7" fmla="*/ 3884 h 3884"/>
                  <a:gd name="T8" fmla="*/ 0 w 3279"/>
                  <a:gd name="T9" fmla="*/ 391 h 3884"/>
                </a:gdLst>
                <a:ahLst/>
                <a:cxnLst>
                  <a:cxn ang="0">
                    <a:pos x="T0" y="T1"/>
                  </a:cxn>
                  <a:cxn ang="0">
                    <a:pos x="T2" y="T3"/>
                  </a:cxn>
                  <a:cxn ang="0">
                    <a:pos x="T4" y="T5"/>
                  </a:cxn>
                  <a:cxn ang="0">
                    <a:pos x="T6" y="T7"/>
                  </a:cxn>
                  <a:cxn ang="0">
                    <a:pos x="T8" y="T9"/>
                  </a:cxn>
                </a:cxnLst>
                <a:rect l="0" t="0" r="r" b="b"/>
                <a:pathLst>
                  <a:path w="3279" h="3884">
                    <a:moveTo>
                      <a:pt x="0" y="391"/>
                    </a:moveTo>
                    <a:lnTo>
                      <a:pt x="163" y="0"/>
                    </a:lnTo>
                    <a:lnTo>
                      <a:pt x="3279" y="2771"/>
                    </a:lnTo>
                    <a:lnTo>
                      <a:pt x="2816" y="3884"/>
                    </a:lnTo>
                    <a:lnTo>
                      <a:pt x="0" y="39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sp>
          <p:nvSpPr>
            <p:cNvPr id="18" name="Freeform 28">
              <a:extLst>
                <a:ext uri="{FF2B5EF4-FFF2-40B4-BE49-F238E27FC236}">
                  <a16:creationId xmlns:a16="http://schemas.microsoft.com/office/drawing/2014/main" id="{190598AB-DC57-4A6E-8DC2-3EBB2FB78176}"/>
                </a:ext>
              </a:extLst>
            </p:cNvPr>
            <p:cNvSpPr>
              <a:spLocks noChangeArrowheads="1"/>
            </p:cNvSpPr>
            <p:nvPr/>
          </p:nvSpPr>
          <p:spPr bwMode="auto">
            <a:xfrm>
              <a:off x="1144496" y="3701093"/>
              <a:ext cx="501748" cy="419900"/>
            </a:xfrm>
            <a:custGeom>
              <a:avLst/>
              <a:gdLst>
                <a:gd name="T0" fmla="*/ 55735 w 498"/>
                <a:gd name="T1" fmla="*/ 36300 h 418"/>
                <a:gd name="T2" fmla="*/ 55735 w 498"/>
                <a:gd name="T3" fmla="*/ 36300 h 418"/>
                <a:gd name="T4" fmla="*/ 16181 w 498"/>
                <a:gd name="T5" fmla="*/ 115622 h 418"/>
                <a:gd name="T6" fmla="*/ 155518 w 498"/>
                <a:gd name="T7" fmla="*/ 51985 h 418"/>
                <a:gd name="T8" fmla="*/ 4045 w 498"/>
                <a:gd name="T9" fmla="*/ 171192 h 418"/>
                <a:gd name="T10" fmla="*/ 19777 w 498"/>
                <a:gd name="T11" fmla="*/ 179258 h 418"/>
                <a:gd name="T12" fmla="*/ 43599 w 498"/>
                <a:gd name="T13" fmla="*/ 139373 h 418"/>
                <a:gd name="T14" fmla="*/ 131696 w 498"/>
                <a:gd name="T15" fmla="*/ 139373 h 418"/>
                <a:gd name="T16" fmla="*/ 210803 w 498"/>
                <a:gd name="T17" fmla="*/ 32267 h 418"/>
                <a:gd name="T18" fmla="*/ 55735 w 498"/>
                <a:gd name="T19" fmla="*/ 36300 h 41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98" h="418">
                  <a:moveTo>
                    <a:pt x="124" y="81"/>
                  </a:moveTo>
                  <a:lnTo>
                    <a:pt x="124" y="81"/>
                  </a:lnTo>
                  <a:cubicBezTo>
                    <a:pt x="27" y="134"/>
                    <a:pt x="36" y="222"/>
                    <a:pt x="36" y="258"/>
                  </a:cubicBezTo>
                  <a:cubicBezTo>
                    <a:pt x="159" y="107"/>
                    <a:pt x="346" y="116"/>
                    <a:pt x="346" y="116"/>
                  </a:cubicBezTo>
                  <a:cubicBezTo>
                    <a:pt x="346" y="116"/>
                    <a:pt x="80" y="204"/>
                    <a:pt x="9" y="382"/>
                  </a:cubicBezTo>
                  <a:cubicBezTo>
                    <a:pt x="0" y="400"/>
                    <a:pt x="36" y="417"/>
                    <a:pt x="44" y="400"/>
                  </a:cubicBezTo>
                  <a:cubicBezTo>
                    <a:pt x="62" y="355"/>
                    <a:pt x="97" y="311"/>
                    <a:pt x="97" y="311"/>
                  </a:cubicBezTo>
                  <a:cubicBezTo>
                    <a:pt x="151" y="329"/>
                    <a:pt x="230" y="355"/>
                    <a:pt x="293" y="311"/>
                  </a:cubicBezTo>
                  <a:cubicBezTo>
                    <a:pt x="363" y="258"/>
                    <a:pt x="363" y="134"/>
                    <a:pt x="469" y="72"/>
                  </a:cubicBezTo>
                  <a:cubicBezTo>
                    <a:pt x="497" y="63"/>
                    <a:pt x="249" y="0"/>
                    <a:pt x="124" y="81"/>
                  </a:cubicBezTo>
                </a:path>
              </a:pathLst>
            </a:custGeom>
            <a:solidFill>
              <a:schemeClr val="bg1"/>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7"/>
                      </a:srgbClr>
                    </a:outerShdw>
                  </a:effectLst>
                </a14:hiddenEffects>
              </a:ext>
            </a:extLst>
          </p:spPr>
          <p:txBody>
            <a:bodyPr wrap="none" lIns="34290" tIns="17145" rIns="34290" bIns="17145"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19" name="Freeform 79">
              <a:extLst>
                <a:ext uri="{FF2B5EF4-FFF2-40B4-BE49-F238E27FC236}">
                  <a16:creationId xmlns:a16="http://schemas.microsoft.com/office/drawing/2014/main" id="{EFA13E79-9B35-4782-8542-BEC3C6972C98}"/>
                </a:ext>
              </a:extLst>
            </p:cNvPr>
            <p:cNvSpPr>
              <a:spLocks noChangeArrowheads="1"/>
            </p:cNvSpPr>
            <p:nvPr/>
          </p:nvSpPr>
          <p:spPr bwMode="auto">
            <a:xfrm>
              <a:off x="1829225" y="1102332"/>
              <a:ext cx="463493" cy="466924"/>
            </a:xfrm>
            <a:custGeom>
              <a:avLst/>
              <a:gdLst>
                <a:gd name="T0" fmla="*/ 106933 w 479"/>
                <a:gd name="T1" fmla="*/ 0 h 479"/>
                <a:gd name="T2" fmla="*/ 106933 w 479"/>
                <a:gd name="T3" fmla="*/ 0 h 479"/>
                <a:gd name="T4" fmla="*/ 0 w 479"/>
                <a:gd name="T5" fmla="*/ 107725 h 479"/>
                <a:gd name="T6" fmla="*/ 106933 w 479"/>
                <a:gd name="T7" fmla="*/ 215449 h 479"/>
                <a:gd name="T8" fmla="*/ 213866 w 479"/>
                <a:gd name="T9" fmla="*/ 107725 h 479"/>
                <a:gd name="T10" fmla="*/ 106933 w 479"/>
                <a:gd name="T11" fmla="*/ 0 h 479"/>
                <a:gd name="T12" fmla="*/ 198206 w 479"/>
                <a:gd name="T13" fmla="*/ 107725 h 479"/>
                <a:gd name="T14" fmla="*/ 198206 w 479"/>
                <a:gd name="T15" fmla="*/ 107725 h 479"/>
                <a:gd name="T16" fmla="*/ 178520 w 479"/>
                <a:gd name="T17" fmla="*/ 163615 h 479"/>
                <a:gd name="T18" fmla="*/ 174493 w 479"/>
                <a:gd name="T19" fmla="*/ 147840 h 479"/>
                <a:gd name="T20" fmla="*/ 178520 w 479"/>
                <a:gd name="T21" fmla="*/ 115838 h 479"/>
                <a:gd name="T22" fmla="*/ 166439 w 479"/>
                <a:gd name="T23" fmla="*/ 91949 h 479"/>
                <a:gd name="T24" fmla="*/ 142726 w 479"/>
                <a:gd name="T25" fmla="*/ 80230 h 479"/>
                <a:gd name="T26" fmla="*/ 154806 w 479"/>
                <a:gd name="T27" fmla="*/ 39664 h 479"/>
                <a:gd name="T28" fmla="*/ 131093 w 479"/>
                <a:gd name="T29" fmla="*/ 27945 h 479"/>
                <a:gd name="T30" fmla="*/ 134673 w 479"/>
                <a:gd name="T31" fmla="*/ 23889 h 479"/>
                <a:gd name="T32" fmla="*/ 198206 w 479"/>
                <a:gd name="T33" fmla="*/ 107725 h 479"/>
                <a:gd name="T34" fmla="*/ 94853 w 479"/>
                <a:gd name="T35" fmla="*/ 19832 h 479"/>
                <a:gd name="T36" fmla="*/ 94853 w 479"/>
                <a:gd name="T37" fmla="*/ 19832 h 479"/>
                <a:gd name="T38" fmla="*/ 83220 w 479"/>
                <a:gd name="T39" fmla="*/ 27945 h 479"/>
                <a:gd name="T40" fmla="*/ 67113 w 479"/>
                <a:gd name="T41" fmla="*/ 39664 h 479"/>
                <a:gd name="T42" fmla="*/ 51453 w 479"/>
                <a:gd name="T43" fmla="*/ 59947 h 479"/>
                <a:gd name="T44" fmla="*/ 59507 w 479"/>
                <a:gd name="T45" fmla="*/ 71666 h 479"/>
                <a:gd name="T46" fmla="*/ 79193 w 479"/>
                <a:gd name="T47" fmla="*/ 71666 h 479"/>
                <a:gd name="T48" fmla="*/ 110960 w 479"/>
                <a:gd name="T49" fmla="*/ 107725 h 479"/>
                <a:gd name="T50" fmla="*/ 83220 w 479"/>
                <a:gd name="T51" fmla="*/ 131613 h 479"/>
                <a:gd name="T52" fmla="*/ 79193 w 479"/>
                <a:gd name="T53" fmla="*/ 151896 h 479"/>
                <a:gd name="T54" fmla="*/ 79193 w 479"/>
                <a:gd name="T55" fmla="*/ 175785 h 479"/>
                <a:gd name="T56" fmla="*/ 59507 w 479"/>
                <a:gd name="T57" fmla="*/ 155502 h 479"/>
                <a:gd name="T58" fmla="*/ 55480 w 479"/>
                <a:gd name="T59" fmla="*/ 128008 h 479"/>
                <a:gd name="T60" fmla="*/ 39373 w 479"/>
                <a:gd name="T61" fmla="*/ 107725 h 479"/>
                <a:gd name="T62" fmla="*/ 47426 w 479"/>
                <a:gd name="T63" fmla="*/ 83836 h 479"/>
                <a:gd name="T64" fmla="*/ 23713 w 479"/>
                <a:gd name="T65" fmla="*/ 76173 h 479"/>
                <a:gd name="T66" fmla="*/ 94853 w 479"/>
                <a:gd name="T67" fmla="*/ 19832 h 479"/>
                <a:gd name="T68" fmla="*/ 79193 w 479"/>
                <a:gd name="T69" fmla="*/ 195617 h 479"/>
                <a:gd name="T70" fmla="*/ 79193 w 479"/>
                <a:gd name="T71" fmla="*/ 195617 h 479"/>
                <a:gd name="T72" fmla="*/ 91273 w 479"/>
                <a:gd name="T73" fmla="*/ 187504 h 479"/>
                <a:gd name="T74" fmla="*/ 106933 w 479"/>
                <a:gd name="T75" fmla="*/ 183447 h 479"/>
                <a:gd name="T76" fmla="*/ 131093 w 479"/>
                <a:gd name="T77" fmla="*/ 175785 h 479"/>
                <a:gd name="T78" fmla="*/ 158386 w 479"/>
                <a:gd name="T79" fmla="*/ 183447 h 479"/>
                <a:gd name="T80" fmla="*/ 106933 w 479"/>
                <a:gd name="T81" fmla="*/ 199674 h 479"/>
                <a:gd name="T82" fmla="*/ 79193 w 479"/>
                <a:gd name="T83" fmla="*/ 195617 h 479"/>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479" h="479">
                  <a:moveTo>
                    <a:pt x="239" y="0"/>
                  </a:moveTo>
                  <a:lnTo>
                    <a:pt x="239" y="0"/>
                  </a:lnTo>
                  <a:cubicBezTo>
                    <a:pt x="106" y="0"/>
                    <a:pt x="0" y="106"/>
                    <a:pt x="0" y="239"/>
                  </a:cubicBezTo>
                  <a:cubicBezTo>
                    <a:pt x="0" y="372"/>
                    <a:pt x="106" y="478"/>
                    <a:pt x="239" y="478"/>
                  </a:cubicBezTo>
                  <a:cubicBezTo>
                    <a:pt x="372" y="478"/>
                    <a:pt x="478" y="372"/>
                    <a:pt x="478" y="239"/>
                  </a:cubicBezTo>
                  <a:cubicBezTo>
                    <a:pt x="478" y="106"/>
                    <a:pt x="372" y="0"/>
                    <a:pt x="239" y="0"/>
                  </a:cubicBezTo>
                  <a:close/>
                  <a:moveTo>
                    <a:pt x="443" y="239"/>
                  </a:moveTo>
                  <a:lnTo>
                    <a:pt x="443" y="239"/>
                  </a:lnTo>
                  <a:cubicBezTo>
                    <a:pt x="443" y="292"/>
                    <a:pt x="425" y="328"/>
                    <a:pt x="399" y="363"/>
                  </a:cubicBezTo>
                  <a:cubicBezTo>
                    <a:pt x="390" y="363"/>
                    <a:pt x="381" y="345"/>
                    <a:pt x="390" y="328"/>
                  </a:cubicBezTo>
                  <a:cubicBezTo>
                    <a:pt x="399" y="310"/>
                    <a:pt x="399" y="275"/>
                    <a:pt x="399" y="257"/>
                  </a:cubicBezTo>
                  <a:cubicBezTo>
                    <a:pt x="399" y="239"/>
                    <a:pt x="390" y="204"/>
                    <a:pt x="372" y="204"/>
                  </a:cubicBezTo>
                  <a:cubicBezTo>
                    <a:pt x="346" y="204"/>
                    <a:pt x="337" y="204"/>
                    <a:pt x="319" y="178"/>
                  </a:cubicBezTo>
                  <a:cubicBezTo>
                    <a:pt x="301" y="124"/>
                    <a:pt x="372" y="115"/>
                    <a:pt x="346" y="88"/>
                  </a:cubicBezTo>
                  <a:cubicBezTo>
                    <a:pt x="337" y="80"/>
                    <a:pt x="301" y="115"/>
                    <a:pt x="293" y="62"/>
                  </a:cubicBezTo>
                  <a:lnTo>
                    <a:pt x="301" y="53"/>
                  </a:lnTo>
                  <a:cubicBezTo>
                    <a:pt x="381" y="80"/>
                    <a:pt x="443" y="150"/>
                    <a:pt x="443" y="239"/>
                  </a:cubicBezTo>
                  <a:close/>
                  <a:moveTo>
                    <a:pt x="212" y="44"/>
                  </a:moveTo>
                  <a:lnTo>
                    <a:pt x="212" y="44"/>
                  </a:lnTo>
                  <a:cubicBezTo>
                    <a:pt x="204" y="53"/>
                    <a:pt x="194" y="53"/>
                    <a:pt x="186" y="62"/>
                  </a:cubicBezTo>
                  <a:cubicBezTo>
                    <a:pt x="168" y="80"/>
                    <a:pt x="159" y="71"/>
                    <a:pt x="150" y="88"/>
                  </a:cubicBezTo>
                  <a:cubicBezTo>
                    <a:pt x="141" y="106"/>
                    <a:pt x="115" y="124"/>
                    <a:pt x="115" y="133"/>
                  </a:cubicBezTo>
                  <a:cubicBezTo>
                    <a:pt x="115" y="142"/>
                    <a:pt x="133" y="159"/>
                    <a:pt x="133" y="159"/>
                  </a:cubicBezTo>
                  <a:cubicBezTo>
                    <a:pt x="141" y="150"/>
                    <a:pt x="159" y="150"/>
                    <a:pt x="177" y="159"/>
                  </a:cubicBezTo>
                  <a:cubicBezTo>
                    <a:pt x="186" y="159"/>
                    <a:pt x="275" y="169"/>
                    <a:pt x="248" y="239"/>
                  </a:cubicBezTo>
                  <a:cubicBezTo>
                    <a:pt x="239" y="266"/>
                    <a:pt x="194" y="257"/>
                    <a:pt x="186" y="292"/>
                  </a:cubicBezTo>
                  <a:cubicBezTo>
                    <a:pt x="186" y="301"/>
                    <a:pt x="186" y="328"/>
                    <a:pt x="177" y="337"/>
                  </a:cubicBezTo>
                  <a:cubicBezTo>
                    <a:pt x="177" y="345"/>
                    <a:pt x="186" y="390"/>
                    <a:pt x="177" y="390"/>
                  </a:cubicBezTo>
                  <a:cubicBezTo>
                    <a:pt x="168" y="390"/>
                    <a:pt x="133" y="345"/>
                    <a:pt x="133" y="345"/>
                  </a:cubicBezTo>
                  <a:cubicBezTo>
                    <a:pt x="133" y="337"/>
                    <a:pt x="124" y="310"/>
                    <a:pt x="124" y="284"/>
                  </a:cubicBezTo>
                  <a:cubicBezTo>
                    <a:pt x="124" y="266"/>
                    <a:pt x="88" y="266"/>
                    <a:pt x="88" y="239"/>
                  </a:cubicBezTo>
                  <a:cubicBezTo>
                    <a:pt x="88" y="213"/>
                    <a:pt x="106" y="195"/>
                    <a:pt x="106" y="186"/>
                  </a:cubicBezTo>
                  <a:cubicBezTo>
                    <a:pt x="97" y="169"/>
                    <a:pt x="62" y="169"/>
                    <a:pt x="53" y="169"/>
                  </a:cubicBezTo>
                  <a:cubicBezTo>
                    <a:pt x="80" y="97"/>
                    <a:pt x="141" y="53"/>
                    <a:pt x="212" y="44"/>
                  </a:cubicBezTo>
                  <a:close/>
                  <a:moveTo>
                    <a:pt x="177" y="434"/>
                  </a:moveTo>
                  <a:lnTo>
                    <a:pt x="177" y="434"/>
                  </a:lnTo>
                  <a:cubicBezTo>
                    <a:pt x="186" y="425"/>
                    <a:pt x="186" y="416"/>
                    <a:pt x="204" y="416"/>
                  </a:cubicBezTo>
                  <a:cubicBezTo>
                    <a:pt x="212" y="416"/>
                    <a:pt x="221" y="416"/>
                    <a:pt x="239" y="407"/>
                  </a:cubicBezTo>
                  <a:cubicBezTo>
                    <a:pt x="248" y="407"/>
                    <a:pt x="275" y="398"/>
                    <a:pt x="293" y="390"/>
                  </a:cubicBezTo>
                  <a:cubicBezTo>
                    <a:pt x="310" y="390"/>
                    <a:pt x="346" y="398"/>
                    <a:pt x="354" y="407"/>
                  </a:cubicBezTo>
                  <a:cubicBezTo>
                    <a:pt x="319" y="434"/>
                    <a:pt x="284" y="443"/>
                    <a:pt x="239" y="443"/>
                  </a:cubicBezTo>
                  <a:cubicBezTo>
                    <a:pt x="221" y="443"/>
                    <a:pt x="194" y="443"/>
                    <a:pt x="177" y="434"/>
                  </a:cubicBezTo>
                  <a:close/>
                </a:path>
              </a:pathLst>
            </a:custGeom>
            <a:solidFill>
              <a:schemeClr val="bg1"/>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7"/>
                      </a:srgbClr>
                    </a:outerShdw>
                  </a:effectLst>
                </a14:hiddenEffects>
              </a:ext>
            </a:extLst>
          </p:spPr>
          <p:txBody>
            <a:bodyPr wrap="none" lIns="34290" tIns="17145" rIns="34290" bIns="17145"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20" name="Freeform 117">
              <a:extLst>
                <a:ext uri="{FF2B5EF4-FFF2-40B4-BE49-F238E27FC236}">
                  <a16:creationId xmlns:a16="http://schemas.microsoft.com/office/drawing/2014/main" id="{31CD3FF9-73F8-4380-A1D0-057159532967}"/>
                </a:ext>
              </a:extLst>
            </p:cNvPr>
            <p:cNvSpPr>
              <a:spLocks noChangeArrowheads="1"/>
            </p:cNvSpPr>
            <p:nvPr/>
          </p:nvSpPr>
          <p:spPr bwMode="auto">
            <a:xfrm>
              <a:off x="4901108" y="2776116"/>
              <a:ext cx="449757" cy="415427"/>
            </a:xfrm>
            <a:custGeom>
              <a:avLst/>
              <a:gdLst>
                <a:gd name="T0" fmla="*/ 119736 w 462"/>
                <a:gd name="T1" fmla="*/ 0 h 427"/>
                <a:gd name="T2" fmla="*/ 119736 w 462"/>
                <a:gd name="T3" fmla="*/ 0 h 427"/>
                <a:gd name="T4" fmla="*/ 119736 w 462"/>
                <a:gd name="T5" fmla="*/ 0 h 427"/>
                <a:gd name="T6" fmla="*/ 31960 w 462"/>
                <a:gd name="T7" fmla="*/ 35988 h 427"/>
                <a:gd name="T8" fmla="*/ 36011 w 462"/>
                <a:gd name="T9" fmla="*/ 64329 h 427"/>
                <a:gd name="T10" fmla="*/ 0 w 462"/>
                <a:gd name="T11" fmla="*/ 107965 h 427"/>
                <a:gd name="T12" fmla="*/ 51765 w 462"/>
                <a:gd name="T13" fmla="*/ 143504 h 427"/>
                <a:gd name="T14" fmla="*/ 103981 w 462"/>
                <a:gd name="T15" fmla="*/ 119661 h 427"/>
                <a:gd name="T16" fmla="*/ 103981 w 462"/>
                <a:gd name="T17" fmla="*/ 112014 h 427"/>
                <a:gd name="T18" fmla="*/ 119736 w 462"/>
                <a:gd name="T19" fmla="*/ 95819 h 427"/>
                <a:gd name="T20" fmla="*/ 135941 w 462"/>
                <a:gd name="T21" fmla="*/ 112014 h 427"/>
                <a:gd name="T22" fmla="*/ 119736 w 462"/>
                <a:gd name="T23" fmla="*/ 127759 h 427"/>
                <a:gd name="T24" fmla="*/ 51765 w 462"/>
                <a:gd name="T25" fmla="*/ 159698 h 427"/>
                <a:gd name="T26" fmla="*/ 51765 w 462"/>
                <a:gd name="T27" fmla="*/ 167346 h 427"/>
                <a:gd name="T28" fmla="*/ 119736 w 462"/>
                <a:gd name="T29" fmla="*/ 191638 h 427"/>
                <a:gd name="T30" fmla="*/ 119736 w 462"/>
                <a:gd name="T31" fmla="*/ 191638 h 427"/>
                <a:gd name="T32" fmla="*/ 183655 w 462"/>
                <a:gd name="T33" fmla="*/ 167346 h 427"/>
                <a:gd name="T34" fmla="*/ 203911 w 462"/>
                <a:gd name="T35" fmla="*/ 35988 h 427"/>
                <a:gd name="T36" fmla="*/ 119736 w 462"/>
                <a:gd name="T37" fmla="*/ 0 h 427"/>
                <a:gd name="T38" fmla="*/ 16205 w 462"/>
                <a:gd name="T39" fmla="*/ 103916 h 427"/>
                <a:gd name="T40" fmla="*/ 16205 w 462"/>
                <a:gd name="T41" fmla="*/ 103916 h 427"/>
                <a:gd name="T42" fmla="*/ 40062 w 462"/>
                <a:gd name="T43" fmla="*/ 80074 h 427"/>
                <a:gd name="T44" fmla="*/ 47714 w 462"/>
                <a:gd name="T45" fmla="*/ 127759 h 427"/>
                <a:gd name="T46" fmla="*/ 16205 w 462"/>
                <a:gd name="T47" fmla="*/ 103916 h 427"/>
                <a:gd name="T48" fmla="*/ 119736 w 462"/>
                <a:gd name="T49" fmla="*/ 59831 h 427"/>
                <a:gd name="T50" fmla="*/ 119736 w 462"/>
                <a:gd name="T51" fmla="*/ 59831 h 427"/>
                <a:gd name="T52" fmla="*/ 47714 w 462"/>
                <a:gd name="T53" fmla="*/ 35988 h 427"/>
                <a:gd name="T54" fmla="*/ 119736 w 462"/>
                <a:gd name="T55" fmla="*/ 16195 h 427"/>
                <a:gd name="T56" fmla="*/ 187256 w 462"/>
                <a:gd name="T57" fmla="*/ 35988 h 427"/>
                <a:gd name="T58" fmla="*/ 119736 w 462"/>
                <a:gd name="T59" fmla="*/ 59831 h 427"/>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462" h="427">
                  <a:moveTo>
                    <a:pt x="266" y="0"/>
                  </a:moveTo>
                  <a:lnTo>
                    <a:pt x="266" y="0"/>
                  </a:lnTo>
                  <a:cubicBezTo>
                    <a:pt x="142" y="0"/>
                    <a:pt x="62" y="45"/>
                    <a:pt x="71" y="80"/>
                  </a:cubicBezTo>
                  <a:cubicBezTo>
                    <a:pt x="71" y="89"/>
                    <a:pt x="71" y="116"/>
                    <a:pt x="80" y="143"/>
                  </a:cubicBezTo>
                  <a:cubicBezTo>
                    <a:pt x="18" y="169"/>
                    <a:pt x="0" y="205"/>
                    <a:pt x="0" y="240"/>
                  </a:cubicBezTo>
                  <a:cubicBezTo>
                    <a:pt x="9" y="275"/>
                    <a:pt x="36" y="311"/>
                    <a:pt x="115" y="319"/>
                  </a:cubicBezTo>
                  <a:cubicBezTo>
                    <a:pt x="151" y="319"/>
                    <a:pt x="204" y="302"/>
                    <a:pt x="231" y="266"/>
                  </a:cubicBezTo>
                  <a:cubicBezTo>
                    <a:pt x="231" y="258"/>
                    <a:pt x="231" y="249"/>
                    <a:pt x="231" y="249"/>
                  </a:cubicBezTo>
                  <a:cubicBezTo>
                    <a:pt x="231" y="222"/>
                    <a:pt x="249" y="213"/>
                    <a:pt x="266" y="213"/>
                  </a:cubicBezTo>
                  <a:cubicBezTo>
                    <a:pt x="284" y="213"/>
                    <a:pt x="302" y="222"/>
                    <a:pt x="302" y="249"/>
                  </a:cubicBezTo>
                  <a:cubicBezTo>
                    <a:pt x="302" y="266"/>
                    <a:pt x="284" y="284"/>
                    <a:pt x="266" y="284"/>
                  </a:cubicBezTo>
                  <a:cubicBezTo>
                    <a:pt x="222" y="328"/>
                    <a:pt x="169" y="355"/>
                    <a:pt x="115" y="355"/>
                  </a:cubicBezTo>
                  <a:cubicBezTo>
                    <a:pt x="115" y="364"/>
                    <a:pt x="115" y="364"/>
                    <a:pt x="115" y="372"/>
                  </a:cubicBezTo>
                  <a:cubicBezTo>
                    <a:pt x="115" y="381"/>
                    <a:pt x="178" y="426"/>
                    <a:pt x="266" y="426"/>
                  </a:cubicBezTo>
                  <a:cubicBezTo>
                    <a:pt x="355" y="426"/>
                    <a:pt x="408" y="381"/>
                    <a:pt x="408" y="372"/>
                  </a:cubicBezTo>
                  <a:cubicBezTo>
                    <a:pt x="416" y="355"/>
                    <a:pt x="453" y="116"/>
                    <a:pt x="453" y="80"/>
                  </a:cubicBezTo>
                  <a:cubicBezTo>
                    <a:pt x="461" y="45"/>
                    <a:pt x="381" y="0"/>
                    <a:pt x="266" y="0"/>
                  </a:cubicBezTo>
                  <a:close/>
                  <a:moveTo>
                    <a:pt x="36" y="231"/>
                  </a:moveTo>
                  <a:lnTo>
                    <a:pt x="36" y="231"/>
                  </a:lnTo>
                  <a:cubicBezTo>
                    <a:pt x="36" y="222"/>
                    <a:pt x="53" y="196"/>
                    <a:pt x="89" y="178"/>
                  </a:cubicBezTo>
                  <a:cubicBezTo>
                    <a:pt x="89" y="213"/>
                    <a:pt x="98" y="249"/>
                    <a:pt x="106" y="284"/>
                  </a:cubicBezTo>
                  <a:cubicBezTo>
                    <a:pt x="62" y="275"/>
                    <a:pt x="44" y="258"/>
                    <a:pt x="36" y="231"/>
                  </a:cubicBezTo>
                  <a:close/>
                  <a:moveTo>
                    <a:pt x="266" y="133"/>
                  </a:moveTo>
                  <a:lnTo>
                    <a:pt x="266" y="133"/>
                  </a:lnTo>
                  <a:cubicBezTo>
                    <a:pt x="178" y="133"/>
                    <a:pt x="106" y="98"/>
                    <a:pt x="106" y="80"/>
                  </a:cubicBezTo>
                  <a:cubicBezTo>
                    <a:pt x="106" y="71"/>
                    <a:pt x="178" y="36"/>
                    <a:pt x="266" y="36"/>
                  </a:cubicBezTo>
                  <a:cubicBezTo>
                    <a:pt x="355" y="36"/>
                    <a:pt x="416" y="71"/>
                    <a:pt x="416" y="80"/>
                  </a:cubicBezTo>
                  <a:cubicBezTo>
                    <a:pt x="416" y="98"/>
                    <a:pt x="355" y="133"/>
                    <a:pt x="266" y="133"/>
                  </a:cubicBezTo>
                  <a:close/>
                </a:path>
              </a:pathLst>
            </a:custGeom>
            <a:solidFill>
              <a:schemeClr val="bg1"/>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7"/>
                      </a:srgbClr>
                    </a:outerShdw>
                  </a:effectLst>
                </a14:hiddenEffects>
              </a:ext>
            </a:extLst>
          </p:spPr>
          <p:txBody>
            <a:bodyPr wrap="none" lIns="34290" tIns="17145" rIns="34290" bIns="17145"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grpSp>
      <p:grpSp>
        <p:nvGrpSpPr>
          <p:cNvPr id="25" name="Group 28">
            <a:extLst>
              <a:ext uri="{FF2B5EF4-FFF2-40B4-BE49-F238E27FC236}">
                <a16:creationId xmlns:a16="http://schemas.microsoft.com/office/drawing/2014/main" id="{6C534EAA-2DAB-49C1-A2BB-4EBD67B82AD4}"/>
              </a:ext>
            </a:extLst>
          </p:cNvPr>
          <p:cNvGrpSpPr/>
          <p:nvPr/>
        </p:nvGrpSpPr>
        <p:grpSpPr>
          <a:xfrm>
            <a:off x="6993235" y="1962888"/>
            <a:ext cx="512690" cy="131061"/>
            <a:chOff x="795585" y="3421099"/>
            <a:chExt cx="1066015" cy="272508"/>
          </a:xfrm>
        </p:grpSpPr>
        <p:sp>
          <p:nvSpPr>
            <p:cNvPr id="26" name="Freeform 5">
              <a:extLst>
                <a:ext uri="{FF2B5EF4-FFF2-40B4-BE49-F238E27FC236}">
                  <a16:creationId xmlns:a16="http://schemas.microsoft.com/office/drawing/2014/main" id="{9A651272-F4BA-4215-BED9-37EC932FD772}"/>
                </a:ext>
              </a:extLst>
            </p:cNvPr>
            <p:cNvSpPr>
              <a:spLocks/>
            </p:cNvSpPr>
            <p:nvPr/>
          </p:nvSpPr>
          <p:spPr bwMode="auto">
            <a:xfrm>
              <a:off x="795585" y="3421099"/>
              <a:ext cx="263057" cy="272508"/>
            </a:xfrm>
            <a:custGeom>
              <a:avLst/>
              <a:gdLst>
                <a:gd name="T0" fmla="*/ 7371 w 17675"/>
                <a:gd name="T1" fmla="*/ 1125 h 18310"/>
                <a:gd name="T2" fmla="*/ 5959 w 17675"/>
                <a:gd name="T3" fmla="*/ 593 h 18310"/>
                <a:gd name="T4" fmla="*/ 4735 w 17675"/>
                <a:gd name="T5" fmla="*/ 240 h 18310"/>
                <a:gd name="T6" fmla="*/ 3627 w 17675"/>
                <a:gd name="T7" fmla="*/ 54 h 18310"/>
                <a:gd name="T8" fmla="*/ 2806 w 17675"/>
                <a:gd name="T9" fmla="*/ 7 h 18310"/>
                <a:gd name="T10" fmla="*/ 2454 w 17675"/>
                <a:gd name="T11" fmla="*/ 85 h 18310"/>
                <a:gd name="T12" fmla="*/ 2132 w 17675"/>
                <a:gd name="T13" fmla="*/ 262 h 18310"/>
                <a:gd name="T14" fmla="*/ 1838 w 17675"/>
                <a:gd name="T15" fmla="*/ 533 h 18310"/>
                <a:gd name="T16" fmla="*/ 1454 w 17675"/>
                <a:gd name="T17" fmla="*/ 1111 h 18310"/>
                <a:gd name="T18" fmla="*/ 1261 w 17675"/>
                <a:gd name="T19" fmla="*/ 1545 h 18310"/>
                <a:gd name="T20" fmla="*/ 1008 w 17675"/>
                <a:gd name="T21" fmla="*/ 2315 h 18310"/>
                <a:gd name="T22" fmla="*/ 836 w 17675"/>
                <a:gd name="T23" fmla="*/ 2906 h 18310"/>
                <a:gd name="T24" fmla="*/ 683 w 17675"/>
                <a:gd name="T25" fmla="*/ 3519 h 18310"/>
                <a:gd name="T26" fmla="*/ 506 w 17675"/>
                <a:gd name="T27" fmla="*/ 4330 h 18310"/>
                <a:gd name="T28" fmla="*/ 356 w 17675"/>
                <a:gd name="T29" fmla="*/ 5177 h 18310"/>
                <a:gd name="T30" fmla="*/ 199 w 17675"/>
                <a:gd name="T31" fmla="*/ 6352 h 18310"/>
                <a:gd name="T32" fmla="*/ 65 w 17675"/>
                <a:gd name="T33" fmla="*/ 7805 h 18310"/>
                <a:gd name="T34" fmla="*/ 1 w 17675"/>
                <a:gd name="T35" fmla="*/ 9354 h 18310"/>
                <a:gd name="T36" fmla="*/ 54 w 17675"/>
                <a:gd name="T37" fmla="*/ 10490 h 18310"/>
                <a:gd name="T38" fmla="*/ 149 w 17675"/>
                <a:gd name="T39" fmla="*/ 11811 h 18310"/>
                <a:gd name="T40" fmla="*/ 298 w 17675"/>
                <a:gd name="T41" fmla="*/ 13066 h 18310"/>
                <a:gd name="T42" fmla="*/ 650 w 17675"/>
                <a:gd name="T43" fmla="*/ 14979 h 18310"/>
                <a:gd name="T44" fmla="*/ 991 w 17675"/>
                <a:gd name="T45" fmla="*/ 16266 h 18310"/>
                <a:gd name="T46" fmla="*/ 1332 w 17675"/>
                <a:gd name="T47" fmla="*/ 17156 h 18310"/>
                <a:gd name="T48" fmla="*/ 1598 w 17675"/>
                <a:gd name="T49" fmla="*/ 17614 h 18310"/>
                <a:gd name="T50" fmla="*/ 1917 w 17675"/>
                <a:gd name="T51" fmla="*/ 17970 h 18310"/>
                <a:gd name="T52" fmla="*/ 2349 w 17675"/>
                <a:gd name="T53" fmla="*/ 18232 h 18310"/>
                <a:gd name="T54" fmla="*/ 2745 w 17675"/>
                <a:gd name="T55" fmla="*/ 18309 h 18310"/>
                <a:gd name="T56" fmla="*/ 3384 w 17675"/>
                <a:gd name="T57" fmla="*/ 18287 h 18310"/>
                <a:gd name="T58" fmla="*/ 4157 w 17675"/>
                <a:gd name="T59" fmla="*/ 18192 h 18310"/>
                <a:gd name="T60" fmla="*/ 5006 w 17675"/>
                <a:gd name="T61" fmla="*/ 18009 h 18310"/>
                <a:gd name="T62" fmla="*/ 6483 w 17675"/>
                <a:gd name="T63" fmla="*/ 17544 h 18310"/>
                <a:gd name="T64" fmla="*/ 7200 w 17675"/>
                <a:gd name="T65" fmla="*/ 17277 h 18310"/>
                <a:gd name="T66" fmla="*/ 8295 w 17675"/>
                <a:gd name="T67" fmla="*/ 16841 h 18310"/>
                <a:gd name="T68" fmla="*/ 8872 w 17675"/>
                <a:gd name="T69" fmla="*/ 16605 h 18310"/>
                <a:gd name="T70" fmla="*/ 9346 w 17675"/>
                <a:gd name="T71" fmla="*/ 16391 h 18310"/>
                <a:gd name="T72" fmla="*/ 10057 w 17675"/>
                <a:gd name="T73" fmla="*/ 16048 h 18310"/>
                <a:gd name="T74" fmla="*/ 10903 w 17675"/>
                <a:gd name="T75" fmla="*/ 15584 h 18310"/>
                <a:gd name="T76" fmla="*/ 11867 w 17675"/>
                <a:gd name="T77" fmla="*/ 14997 h 18310"/>
                <a:gd name="T78" fmla="*/ 12590 w 17675"/>
                <a:gd name="T79" fmla="*/ 14528 h 18310"/>
                <a:gd name="T80" fmla="*/ 13212 w 17675"/>
                <a:gd name="T81" fmla="*/ 14088 h 18310"/>
                <a:gd name="T82" fmla="*/ 14481 w 17675"/>
                <a:gd name="T83" fmla="*/ 13112 h 18310"/>
                <a:gd name="T84" fmla="*/ 14802 w 17675"/>
                <a:gd name="T85" fmla="*/ 12854 h 18310"/>
                <a:gd name="T86" fmla="*/ 15451 w 17675"/>
                <a:gd name="T87" fmla="*/ 12291 h 18310"/>
                <a:gd name="T88" fmla="*/ 15927 w 17675"/>
                <a:gd name="T89" fmla="*/ 11853 h 18310"/>
                <a:gd name="T90" fmla="*/ 16443 w 17675"/>
                <a:gd name="T91" fmla="*/ 11335 h 18310"/>
                <a:gd name="T92" fmla="*/ 16856 w 17675"/>
                <a:gd name="T93" fmla="*/ 10896 h 18310"/>
                <a:gd name="T94" fmla="*/ 17295 w 17675"/>
                <a:gd name="T95" fmla="*/ 10296 h 18310"/>
                <a:gd name="T96" fmla="*/ 17543 w 17675"/>
                <a:gd name="T97" fmla="*/ 9805 h 18310"/>
                <a:gd name="T98" fmla="*/ 17675 w 17675"/>
                <a:gd name="T99" fmla="*/ 9283 h 18310"/>
                <a:gd name="T100" fmla="*/ 17609 w 17675"/>
                <a:gd name="T101" fmla="*/ 8895 h 18310"/>
                <a:gd name="T102" fmla="*/ 17328 w 17675"/>
                <a:gd name="T103" fmla="*/ 8254 h 18310"/>
                <a:gd name="T104" fmla="*/ 16958 w 17675"/>
                <a:gd name="T105" fmla="*/ 7727 h 18310"/>
                <a:gd name="T106" fmla="*/ 16207 w 17675"/>
                <a:gd name="T107" fmla="*/ 6899 h 18310"/>
                <a:gd name="T108" fmla="*/ 14144 w 17675"/>
                <a:gd name="T109" fmla="*/ 5052 h 18310"/>
                <a:gd name="T110" fmla="*/ 13172 w 17675"/>
                <a:gd name="T111" fmla="*/ 4299 h 18310"/>
                <a:gd name="T112" fmla="*/ 12177 w 17675"/>
                <a:gd name="T113" fmla="*/ 3589 h 18310"/>
                <a:gd name="T114" fmla="*/ 11125 w 17675"/>
                <a:gd name="T115" fmla="*/ 2920 h 18310"/>
                <a:gd name="T116" fmla="*/ 10015 w 17675"/>
                <a:gd name="T117" fmla="*/ 2305 h 18310"/>
                <a:gd name="T118" fmla="*/ 9091 w 17675"/>
                <a:gd name="T119" fmla="*/ 1855 h 18310"/>
                <a:gd name="T120" fmla="*/ 8300 w 17675"/>
                <a:gd name="T121" fmla="*/ 1511 h 18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7675" h="18310">
                  <a:moveTo>
                    <a:pt x="8078" y="1426"/>
                  </a:moveTo>
                  <a:lnTo>
                    <a:pt x="8047" y="1409"/>
                  </a:lnTo>
                  <a:lnTo>
                    <a:pt x="8014" y="1392"/>
                  </a:lnTo>
                  <a:lnTo>
                    <a:pt x="7978" y="1376"/>
                  </a:lnTo>
                  <a:lnTo>
                    <a:pt x="7940" y="1360"/>
                  </a:lnTo>
                  <a:lnTo>
                    <a:pt x="7901" y="1345"/>
                  </a:lnTo>
                  <a:lnTo>
                    <a:pt x="7862" y="1330"/>
                  </a:lnTo>
                  <a:lnTo>
                    <a:pt x="7825" y="1315"/>
                  </a:lnTo>
                  <a:lnTo>
                    <a:pt x="7791" y="1301"/>
                  </a:lnTo>
                  <a:lnTo>
                    <a:pt x="7583" y="1213"/>
                  </a:lnTo>
                  <a:lnTo>
                    <a:pt x="7371" y="1125"/>
                  </a:lnTo>
                  <a:lnTo>
                    <a:pt x="7158" y="1038"/>
                  </a:lnTo>
                  <a:lnTo>
                    <a:pt x="6943" y="953"/>
                  </a:lnTo>
                  <a:lnTo>
                    <a:pt x="6836" y="911"/>
                  </a:lnTo>
                  <a:lnTo>
                    <a:pt x="6727" y="869"/>
                  </a:lnTo>
                  <a:lnTo>
                    <a:pt x="6618" y="827"/>
                  </a:lnTo>
                  <a:lnTo>
                    <a:pt x="6508" y="787"/>
                  </a:lnTo>
                  <a:lnTo>
                    <a:pt x="6400" y="747"/>
                  </a:lnTo>
                  <a:lnTo>
                    <a:pt x="6290" y="707"/>
                  </a:lnTo>
                  <a:lnTo>
                    <a:pt x="6180" y="668"/>
                  </a:lnTo>
                  <a:lnTo>
                    <a:pt x="6070" y="631"/>
                  </a:lnTo>
                  <a:lnTo>
                    <a:pt x="5959" y="593"/>
                  </a:lnTo>
                  <a:lnTo>
                    <a:pt x="5848" y="556"/>
                  </a:lnTo>
                  <a:lnTo>
                    <a:pt x="5737" y="521"/>
                  </a:lnTo>
                  <a:lnTo>
                    <a:pt x="5626" y="485"/>
                  </a:lnTo>
                  <a:lnTo>
                    <a:pt x="5515" y="451"/>
                  </a:lnTo>
                  <a:lnTo>
                    <a:pt x="5404" y="418"/>
                  </a:lnTo>
                  <a:lnTo>
                    <a:pt x="5292" y="386"/>
                  </a:lnTo>
                  <a:lnTo>
                    <a:pt x="5181" y="355"/>
                  </a:lnTo>
                  <a:lnTo>
                    <a:pt x="5069" y="324"/>
                  </a:lnTo>
                  <a:lnTo>
                    <a:pt x="4958" y="295"/>
                  </a:lnTo>
                  <a:lnTo>
                    <a:pt x="4846" y="267"/>
                  </a:lnTo>
                  <a:lnTo>
                    <a:pt x="4735" y="240"/>
                  </a:lnTo>
                  <a:lnTo>
                    <a:pt x="4623" y="215"/>
                  </a:lnTo>
                  <a:lnTo>
                    <a:pt x="4511" y="191"/>
                  </a:lnTo>
                  <a:lnTo>
                    <a:pt x="4400" y="168"/>
                  </a:lnTo>
                  <a:lnTo>
                    <a:pt x="4287" y="146"/>
                  </a:lnTo>
                  <a:lnTo>
                    <a:pt x="4234" y="136"/>
                  </a:lnTo>
                  <a:lnTo>
                    <a:pt x="4162" y="125"/>
                  </a:lnTo>
                  <a:lnTo>
                    <a:pt x="4075" y="112"/>
                  </a:lnTo>
                  <a:lnTo>
                    <a:pt x="3975" y="98"/>
                  </a:lnTo>
                  <a:lnTo>
                    <a:pt x="3865" y="84"/>
                  </a:lnTo>
                  <a:lnTo>
                    <a:pt x="3749" y="69"/>
                  </a:lnTo>
                  <a:lnTo>
                    <a:pt x="3627" y="54"/>
                  </a:lnTo>
                  <a:lnTo>
                    <a:pt x="3504" y="40"/>
                  </a:lnTo>
                  <a:lnTo>
                    <a:pt x="3381" y="27"/>
                  </a:lnTo>
                  <a:lnTo>
                    <a:pt x="3262" y="17"/>
                  </a:lnTo>
                  <a:lnTo>
                    <a:pt x="3148" y="8"/>
                  </a:lnTo>
                  <a:lnTo>
                    <a:pt x="3043" y="2"/>
                  </a:lnTo>
                  <a:lnTo>
                    <a:pt x="2994" y="1"/>
                  </a:lnTo>
                  <a:lnTo>
                    <a:pt x="2949" y="0"/>
                  </a:lnTo>
                  <a:lnTo>
                    <a:pt x="2908" y="0"/>
                  </a:lnTo>
                  <a:lnTo>
                    <a:pt x="2869" y="1"/>
                  </a:lnTo>
                  <a:lnTo>
                    <a:pt x="2834" y="3"/>
                  </a:lnTo>
                  <a:lnTo>
                    <a:pt x="2806" y="7"/>
                  </a:lnTo>
                  <a:lnTo>
                    <a:pt x="2780" y="11"/>
                  </a:lnTo>
                  <a:lnTo>
                    <a:pt x="2761" y="17"/>
                  </a:lnTo>
                  <a:lnTo>
                    <a:pt x="2724" y="19"/>
                  </a:lnTo>
                  <a:lnTo>
                    <a:pt x="2689" y="24"/>
                  </a:lnTo>
                  <a:lnTo>
                    <a:pt x="2655" y="29"/>
                  </a:lnTo>
                  <a:lnTo>
                    <a:pt x="2620" y="35"/>
                  </a:lnTo>
                  <a:lnTo>
                    <a:pt x="2586" y="43"/>
                  </a:lnTo>
                  <a:lnTo>
                    <a:pt x="2552" y="53"/>
                  </a:lnTo>
                  <a:lnTo>
                    <a:pt x="2518" y="63"/>
                  </a:lnTo>
                  <a:lnTo>
                    <a:pt x="2486" y="73"/>
                  </a:lnTo>
                  <a:lnTo>
                    <a:pt x="2454" y="85"/>
                  </a:lnTo>
                  <a:lnTo>
                    <a:pt x="2423" y="97"/>
                  </a:lnTo>
                  <a:lnTo>
                    <a:pt x="2393" y="111"/>
                  </a:lnTo>
                  <a:lnTo>
                    <a:pt x="2363" y="125"/>
                  </a:lnTo>
                  <a:lnTo>
                    <a:pt x="2333" y="138"/>
                  </a:lnTo>
                  <a:lnTo>
                    <a:pt x="2306" y="153"/>
                  </a:lnTo>
                  <a:lnTo>
                    <a:pt x="2278" y="169"/>
                  </a:lnTo>
                  <a:lnTo>
                    <a:pt x="2252" y="184"/>
                  </a:lnTo>
                  <a:lnTo>
                    <a:pt x="2218" y="205"/>
                  </a:lnTo>
                  <a:lnTo>
                    <a:pt x="2187" y="224"/>
                  </a:lnTo>
                  <a:lnTo>
                    <a:pt x="2158" y="244"/>
                  </a:lnTo>
                  <a:lnTo>
                    <a:pt x="2132" y="262"/>
                  </a:lnTo>
                  <a:lnTo>
                    <a:pt x="2108" y="280"/>
                  </a:lnTo>
                  <a:lnTo>
                    <a:pt x="2086" y="298"/>
                  </a:lnTo>
                  <a:lnTo>
                    <a:pt x="2065" y="315"/>
                  </a:lnTo>
                  <a:lnTo>
                    <a:pt x="2046" y="332"/>
                  </a:lnTo>
                  <a:lnTo>
                    <a:pt x="2007" y="367"/>
                  </a:lnTo>
                  <a:lnTo>
                    <a:pt x="1968" y="405"/>
                  </a:lnTo>
                  <a:lnTo>
                    <a:pt x="1927" y="446"/>
                  </a:lnTo>
                  <a:lnTo>
                    <a:pt x="1878" y="491"/>
                  </a:lnTo>
                  <a:lnTo>
                    <a:pt x="1866" y="504"/>
                  </a:lnTo>
                  <a:lnTo>
                    <a:pt x="1853" y="517"/>
                  </a:lnTo>
                  <a:lnTo>
                    <a:pt x="1838" y="533"/>
                  </a:lnTo>
                  <a:lnTo>
                    <a:pt x="1823" y="550"/>
                  </a:lnTo>
                  <a:lnTo>
                    <a:pt x="1790" y="592"/>
                  </a:lnTo>
                  <a:lnTo>
                    <a:pt x="1754" y="637"/>
                  </a:lnTo>
                  <a:lnTo>
                    <a:pt x="1717" y="689"/>
                  </a:lnTo>
                  <a:lnTo>
                    <a:pt x="1679" y="744"/>
                  </a:lnTo>
                  <a:lnTo>
                    <a:pt x="1639" y="802"/>
                  </a:lnTo>
                  <a:lnTo>
                    <a:pt x="1600" y="863"/>
                  </a:lnTo>
                  <a:lnTo>
                    <a:pt x="1561" y="926"/>
                  </a:lnTo>
                  <a:lnTo>
                    <a:pt x="1524" y="988"/>
                  </a:lnTo>
                  <a:lnTo>
                    <a:pt x="1488" y="1051"/>
                  </a:lnTo>
                  <a:lnTo>
                    <a:pt x="1454" y="1111"/>
                  </a:lnTo>
                  <a:lnTo>
                    <a:pt x="1425" y="1170"/>
                  </a:lnTo>
                  <a:lnTo>
                    <a:pt x="1398" y="1226"/>
                  </a:lnTo>
                  <a:lnTo>
                    <a:pt x="1387" y="1252"/>
                  </a:lnTo>
                  <a:lnTo>
                    <a:pt x="1377" y="1277"/>
                  </a:lnTo>
                  <a:lnTo>
                    <a:pt x="1367" y="1301"/>
                  </a:lnTo>
                  <a:lnTo>
                    <a:pt x="1359" y="1323"/>
                  </a:lnTo>
                  <a:lnTo>
                    <a:pt x="1340" y="1362"/>
                  </a:lnTo>
                  <a:lnTo>
                    <a:pt x="1320" y="1404"/>
                  </a:lnTo>
                  <a:lnTo>
                    <a:pt x="1300" y="1449"/>
                  </a:lnTo>
                  <a:lnTo>
                    <a:pt x="1280" y="1496"/>
                  </a:lnTo>
                  <a:lnTo>
                    <a:pt x="1261" y="1545"/>
                  </a:lnTo>
                  <a:lnTo>
                    <a:pt x="1241" y="1596"/>
                  </a:lnTo>
                  <a:lnTo>
                    <a:pt x="1222" y="1648"/>
                  </a:lnTo>
                  <a:lnTo>
                    <a:pt x="1204" y="1702"/>
                  </a:lnTo>
                  <a:lnTo>
                    <a:pt x="1167" y="1808"/>
                  </a:lnTo>
                  <a:lnTo>
                    <a:pt x="1133" y="1915"/>
                  </a:lnTo>
                  <a:lnTo>
                    <a:pt x="1101" y="2016"/>
                  </a:lnTo>
                  <a:lnTo>
                    <a:pt x="1071" y="2110"/>
                  </a:lnTo>
                  <a:lnTo>
                    <a:pt x="1055" y="2162"/>
                  </a:lnTo>
                  <a:lnTo>
                    <a:pt x="1039" y="2213"/>
                  </a:lnTo>
                  <a:lnTo>
                    <a:pt x="1023" y="2264"/>
                  </a:lnTo>
                  <a:lnTo>
                    <a:pt x="1008" y="2315"/>
                  </a:lnTo>
                  <a:lnTo>
                    <a:pt x="992" y="2367"/>
                  </a:lnTo>
                  <a:lnTo>
                    <a:pt x="976" y="2418"/>
                  </a:lnTo>
                  <a:lnTo>
                    <a:pt x="960" y="2471"/>
                  </a:lnTo>
                  <a:lnTo>
                    <a:pt x="944" y="2523"/>
                  </a:lnTo>
                  <a:lnTo>
                    <a:pt x="929" y="2573"/>
                  </a:lnTo>
                  <a:lnTo>
                    <a:pt x="913" y="2626"/>
                  </a:lnTo>
                  <a:lnTo>
                    <a:pt x="896" y="2682"/>
                  </a:lnTo>
                  <a:lnTo>
                    <a:pt x="880" y="2740"/>
                  </a:lnTo>
                  <a:lnTo>
                    <a:pt x="864" y="2797"/>
                  </a:lnTo>
                  <a:lnTo>
                    <a:pt x="849" y="2852"/>
                  </a:lnTo>
                  <a:lnTo>
                    <a:pt x="836" y="2906"/>
                  </a:lnTo>
                  <a:lnTo>
                    <a:pt x="827" y="2955"/>
                  </a:lnTo>
                  <a:lnTo>
                    <a:pt x="818" y="2977"/>
                  </a:lnTo>
                  <a:lnTo>
                    <a:pt x="809" y="3003"/>
                  </a:lnTo>
                  <a:lnTo>
                    <a:pt x="800" y="3033"/>
                  </a:lnTo>
                  <a:lnTo>
                    <a:pt x="790" y="3067"/>
                  </a:lnTo>
                  <a:lnTo>
                    <a:pt x="770" y="3142"/>
                  </a:lnTo>
                  <a:lnTo>
                    <a:pt x="749" y="3225"/>
                  </a:lnTo>
                  <a:lnTo>
                    <a:pt x="730" y="3310"/>
                  </a:lnTo>
                  <a:lnTo>
                    <a:pt x="712" y="3390"/>
                  </a:lnTo>
                  <a:lnTo>
                    <a:pt x="696" y="3461"/>
                  </a:lnTo>
                  <a:lnTo>
                    <a:pt x="683" y="3519"/>
                  </a:lnTo>
                  <a:lnTo>
                    <a:pt x="666" y="3593"/>
                  </a:lnTo>
                  <a:lnTo>
                    <a:pt x="649" y="3667"/>
                  </a:lnTo>
                  <a:lnTo>
                    <a:pt x="633" y="3740"/>
                  </a:lnTo>
                  <a:lnTo>
                    <a:pt x="617" y="3813"/>
                  </a:lnTo>
                  <a:lnTo>
                    <a:pt x="601" y="3886"/>
                  </a:lnTo>
                  <a:lnTo>
                    <a:pt x="585" y="3960"/>
                  </a:lnTo>
                  <a:lnTo>
                    <a:pt x="569" y="4033"/>
                  </a:lnTo>
                  <a:lnTo>
                    <a:pt x="553" y="4108"/>
                  </a:lnTo>
                  <a:lnTo>
                    <a:pt x="537" y="4182"/>
                  </a:lnTo>
                  <a:lnTo>
                    <a:pt x="522" y="4256"/>
                  </a:lnTo>
                  <a:lnTo>
                    <a:pt x="506" y="4330"/>
                  </a:lnTo>
                  <a:lnTo>
                    <a:pt x="491" y="4406"/>
                  </a:lnTo>
                  <a:lnTo>
                    <a:pt x="476" y="4483"/>
                  </a:lnTo>
                  <a:lnTo>
                    <a:pt x="461" y="4559"/>
                  </a:lnTo>
                  <a:lnTo>
                    <a:pt x="447" y="4636"/>
                  </a:lnTo>
                  <a:lnTo>
                    <a:pt x="433" y="4714"/>
                  </a:lnTo>
                  <a:lnTo>
                    <a:pt x="419" y="4791"/>
                  </a:lnTo>
                  <a:lnTo>
                    <a:pt x="405" y="4868"/>
                  </a:lnTo>
                  <a:lnTo>
                    <a:pt x="392" y="4946"/>
                  </a:lnTo>
                  <a:lnTo>
                    <a:pt x="380" y="5024"/>
                  </a:lnTo>
                  <a:lnTo>
                    <a:pt x="367" y="5100"/>
                  </a:lnTo>
                  <a:lnTo>
                    <a:pt x="356" y="5177"/>
                  </a:lnTo>
                  <a:lnTo>
                    <a:pt x="346" y="5253"/>
                  </a:lnTo>
                  <a:lnTo>
                    <a:pt x="335" y="5328"/>
                  </a:lnTo>
                  <a:lnTo>
                    <a:pt x="320" y="5442"/>
                  </a:lnTo>
                  <a:lnTo>
                    <a:pt x="304" y="5555"/>
                  </a:lnTo>
                  <a:lnTo>
                    <a:pt x="289" y="5668"/>
                  </a:lnTo>
                  <a:lnTo>
                    <a:pt x="275" y="5781"/>
                  </a:lnTo>
                  <a:lnTo>
                    <a:pt x="259" y="5896"/>
                  </a:lnTo>
                  <a:lnTo>
                    <a:pt x="244" y="6009"/>
                  </a:lnTo>
                  <a:lnTo>
                    <a:pt x="229" y="6124"/>
                  </a:lnTo>
                  <a:lnTo>
                    <a:pt x="214" y="6238"/>
                  </a:lnTo>
                  <a:lnTo>
                    <a:pt x="199" y="6352"/>
                  </a:lnTo>
                  <a:lnTo>
                    <a:pt x="185" y="6467"/>
                  </a:lnTo>
                  <a:lnTo>
                    <a:pt x="173" y="6581"/>
                  </a:lnTo>
                  <a:lnTo>
                    <a:pt x="160" y="6697"/>
                  </a:lnTo>
                  <a:lnTo>
                    <a:pt x="148" y="6811"/>
                  </a:lnTo>
                  <a:lnTo>
                    <a:pt x="137" y="6927"/>
                  </a:lnTo>
                  <a:lnTo>
                    <a:pt x="127" y="7042"/>
                  </a:lnTo>
                  <a:lnTo>
                    <a:pt x="119" y="7158"/>
                  </a:lnTo>
                  <a:lnTo>
                    <a:pt x="105" y="7319"/>
                  </a:lnTo>
                  <a:lnTo>
                    <a:pt x="92" y="7481"/>
                  </a:lnTo>
                  <a:lnTo>
                    <a:pt x="79" y="7643"/>
                  </a:lnTo>
                  <a:lnTo>
                    <a:pt x="65" y="7805"/>
                  </a:lnTo>
                  <a:lnTo>
                    <a:pt x="54" y="7967"/>
                  </a:lnTo>
                  <a:lnTo>
                    <a:pt x="42" y="8130"/>
                  </a:lnTo>
                  <a:lnTo>
                    <a:pt x="31" y="8293"/>
                  </a:lnTo>
                  <a:lnTo>
                    <a:pt x="22" y="8456"/>
                  </a:lnTo>
                  <a:lnTo>
                    <a:pt x="14" y="8619"/>
                  </a:lnTo>
                  <a:lnTo>
                    <a:pt x="8" y="8782"/>
                  </a:lnTo>
                  <a:lnTo>
                    <a:pt x="3" y="8946"/>
                  </a:lnTo>
                  <a:lnTo>
                    <a:pt x="0" y="9109"/>
                  </a:lnTo>
                  <a:lnTo>
                    <a:pt x="0" y="9190"/>
                  </a:lnTo>
                  <a:lnTo>
                    <a:pt x="0" y="9273"/>
                  </a:lnTo>
                  <a:lnTo>
                    <a:pt x="1" y="9354"/>
                  </a:lnTo>
                  <a:lnTo>
                    <a:pt x="2" y="9437"/>
                  </a:lnTo>
                  <a:lnTo>
                    <a:pt x="3" y="9518"/>
                  </a:lnTo>
                  <a:lnTo>
                    <a:pt x="7" y="9599"/>
                  </a:lnTo>
                  <a:lnTo>
                    <a:pt x="10" y="9681"/>
                  </a:lnTo>
                  <a:lnTo>
                    <a:pt x="14" y="9763"/>
                  </a:lnTo>
                  <a:lnTo>
                    <a:pt x="21" y="9885"/>
                  </a:lnTo>
                  <a:lnTo>
                    <a:pt x="27" y="10006"/>
                  </a:lnTo>
                  <a:lnTo>
                    <a:pt x="34" y="10128"/>
                  </a:lnTo>
                  <a:lnTo>
                    <a:pt x="41" y="10249"/>
                  </a:lnTo>
                  <a:lnTo>
                    <a:pt x="47" y="10369"/>
                  </a:lnTo>
                  <a:lnTo>
                    <a:pt x="54" y="10490"/>
                  </a:lnTo>
                  <a:lnTo>
                    <a:pt x="61" y="10611"/>
                  </a:lnTo>
                  <a:lnTo>
                    <a:pt x="68" y="10731"/>
                  </a:lnTo>
                  <a:lnTo>
                    <a:pt x="74" y="10851"/>
                  </a:lnTo>
                  <a:lnTo>
                    <a:pt x="82" y="10971"/>
                  </a:lnTo>
                  <a:lnTo>
                    <a:pt x="90" y="11091"/>
                  </a:lnTo>
                  <a:lnTo>
                    <a:pt x="98" y="11213"/>
                  </a:lnTo>
                  <a:lnTo>
                    <a:pt x="108" y="11333"/>
                  </a:lnTo>
                  <a:lnTo>
                    <a:pt x="117" y="11454"/>
                  </a:lnTo>
                  <a:lnTo>
                    <a:pt x="127" y="11575"/>
                  </a:lnTo>
                  <a:lnTo>
                    <a:pt x="138" y="11697"/>
                  </a:lnTo>
                  <a:lnTo>
                    <a:pt x="149" y="11811"/>
                  </a:lnTo>
                  <a:lnTo>
                    <a:pt x="160" y="11926"/>
                  </a:lnTo>
                  <a:lnTo>
                    <a:pt x="172" y="12040"/>
                  </a:lnTo>
                  <a:lnTo>
                    <a:pt x="184" y="12154"/>
                  </a:lnTo>
                  <a:lnTo>
                    <a:pt x="197" y="12269"/>
                  </a:lnTo>
                  <a:lnTo>
                    <a:pt x="209" y="12383"/>
                  </a:lnTo>
                  <a:lnTo>
                    <a:pt x="223" y="12498"/>
                  </a:lnTo>
                  <a:lnTo>
                    <a:pt x="237" y="12611"/>
                  </a:lnTo>
                  <a:lnTo>
                    <a:pt x="252" y="12725"/>
                  </a:lnTo>
                  <a:lnTo>
                    <a:pt x="267" y="12839"/>
                  </a:lnTo>
                  <a:lnTo>
                    <a:pt x="281" y="12953"/>
                  </a:lnTo>
                  <a:lnTo>
                    <a:pt x="298" y="13066"/>
                  </a:lnTo>
                  <a:lnTo>
                    <a:pt x="314" y="13180"/>
                  </a:lnTo>
                  <a:lnTo>
                    <a:pt x="331" y="13293"/>
                  </a:lnTo>
                  <a:lnTo>
                    <a:pt x="349" y="13406"/>
                  </a:lnTo>
                  <a:lnTo>
                    <a:pt x="366" y="13519"/>
                  </a:lnTo>
                  <a:lnTo>
                    <a:pt x="398" y="13707"/>
                  </a:lnTo>
                  <a:lnTo>
                    <a:pt x="433" y="13905"/>
                  </a:lnTo>
                  <a:lnTo>
                    <a:pt x="470" y="14110"/>
                  </a:lnTo>
                  <a:lnTo>
                    <a:pt x="511" y="14322"/>
                  </a:lnTo>
                  <a:lnTo>
                    <a:pt x="555" y="14538"/>
                  </a:lnTo>
                  <a:lnTo>
                    <a:pt x="602" y="14757"/>
                  </a:lnTo>
                  <a:lnTo>
                    <a:pt x="650" y="14979"/>
                  </a:lnTo>
                  <a:lnTo>
                    <a:pt x="701" y="15200"/>
                  </a:lnTo>
                  <a:lnTo>
                    <a:pt x="729" y="15311"/>
                  </a:lnTo>
                  <a:lnTo>
                    <a:pt x="755" y="15420"/>
                  </a:lnTo>
                  <a:lnTo>
                    <a:pt x="784" y="15530"/>
                  </a:lnTo>
                  <a:lnTo>
                    <a:pt x="811" y="15639"/>
                  </a:lnTo>
                  <a:lnTo>
                    <a:pt x="840" y="15747"/>
                  </a:lnTo>
                  <a:lnTo>
                    <a:pt x="870" y="15854"/>
                  </a:lnTo>
                  <a:lnTo>
                    <a:pt x="899" y="15959"/>
                  </a:lnTo>
                  <a:lnTo>
                    <a:pt x="929" y="16064"/>
                  </a:lnTo>
                  <a:lnTo>
                    <a:pt x="960" y="16165"/>
                  </a:lnTo>
                  <a:lnTo>
                    <a:pt x="991" y="16266"/>
                  </a:lnTo>
                  <a:lnTo>
                    <a:pt x="1022" y="16365"/>
                  </a:lnTo>
                  <a:lnTo>
                    <a:pt x="1054" y="16461"/>
                  </a:lnTo>
                  <a:lnTo>
                    <a:pt x="1086" y="16556"/>
                  </a:lnTo>
                  <a:lnTo>
                    <a:pt x="1119" y="16646"/>
                  </a:lnTo>
                  <a:lnTo>
                    <a:pt x="1152" y="16735"/>
                  </a:lnTo>
                  <a:lnTo>
                    <a:pt x="1185" y="16821"/>
                  </a:lnTo>
                  <a:lnTo>
                    <a:pt x="1225" y="16920"/>
                  </a:lnTo>
                  <a:lnTo>
                    <a:pt x="1267" y="17017"/>
                  </a:lnTo>
                  <a:lnTo>
                    <a:pt x="1288" y="17064"/>
                  </a:lnTo>
                  <a:lnTo>
                    <a:pt x="1310" y="17111"/>
                  </a:lnTo>
                  <a:lnTo>
                    <a:pt x="1332" y="17156"/>
                  </a:lnTo>
                  <a:lnTo>
                    <a:pt x="1354" y="17202"/>
                  </a:lnTo>
                  <a:lnTo>
                    <a:pt x="1377" y="17247"/>
                  </a:lnTo>
                  <a:lnTo>
                    <a:pt x="1399" y="17290"/>
                  </a:lnTo>
                  <a:lnTo>
                    <a:pt x="1423" y="17334"/>
                  </a:lnTo>
                  <a:lnTo>
                    <a:pt x="1447" y="17376"/>
                  </a:lnTo>
                  <a:lnTo>
                    <a:pt x="1471" y="17417"/>
                  </a:lnTo>
                  <a:lnTo>
                    <a:pt x="1496" y="17459"/>
                  </a:lnTo>
                  <a:lnTo>
                    <a:pt x="1521" y="17499"/>
                  </a:lnTo>
                  <a:lnTo>
                    <a:pt x="1546" y="17538"/>
                  </a:lnTo>
                  <a:lnTo>
                    <a:pt x="1572" y="17576"/>
                  </a:lnTo>
                  <a:lnTo>
                    <a:pt x="1598" y="17614"/>
                  </a:lnTo>
                  <a:lnTo>
                    <a:pt x="1625" y="17651"/>
                  </a:lnTo>
                  <a:lnTo>
                    <a:pt x="1652" y="17687"/>
                  </a:lnTo>
                  <a:lnTo>
                    <a:pt x="1680" y="17722"/>
                  </a:lnTo>
                  <a:lnTo>
                    <a:pt x="1707" y="17756"/>
                  </a:lnTo>
                  <a:lnTo>
                    <a:pt x="1736" y="17789"/>
                  </a:lnTo>
                  <a:lnTo>
                    <a:pt x="1764" y="17822"/>
                  </a:lnTo>
                  <a:lnTo>
                    <a:pt x="1794" y="17853"/>
                  </a:lnTo>
                  <a:lnTo>
                    <a:pt x="1824" y="17884"/>
                  </a:lnTo>
                  <a:lnTo>
                    <a:pt x="1854" y="17914"/>
                  </a:lnTo>
                  <a:lnTo>
                    <a:pt x="1885" y="17943"/>
                  </a:lnTo>
                  <a:lnTo>
                    <a:pt x="1917" y="17970"/>
                  </a:lnTo>
                  <a:lnTo>
                    <a:pt x="1947" y="17998"/>
                  </a:lnTo>
                  <a:lnTo>
                    <a:pt x="1980" y="18023"/>
                  </a:lnTo>
                  <a:lnTo>
                    <a:pt x="2013" y="18048"/>
                  </a:lnTo>
                  <a:lnTo>
                    <a:pt x="2052" y="18075"/>
                  </a:lnTo>
                  <a:lnTo>
                    <a:pt x="2091" y="18102"/>
                  </a:lnTo>
                  <a:lnTo>
                    <a:pt x="2132" y="18127"/>
                  </a:lnTo>
                  <a:lnTo>
                    <a:pt x="2173" y="18151"/>
                  </a:lnTo>
                  <a:lnTo>
                    <a:pt x="2215" y="18174"/>
                  </a:lnTo>
                  <a:lnTo>
                    <a:pt x="2259" y="18194"/>
                  </a:lnTo>
                  <a:lnTo>
                    <a:pt x="2303" y="18214"/>
                  </a:lnTo>
                  <a:lnTo>
                    <a:pt x="2349" y="18232"/>
                  </a:lnTo>
                  <a:lnTo>
                    <a:pt x="2397" y="18249"/>
                  </a:lnTo>
                  <a:lnTo>
                    <a:pt x="2446" y="18264"/>
                  </a:lnTo>
                  <a:lnTo>
                    <a:pt x="2497" y="18277"/>
                  </a:lnTo>
                  <a:lnTo>
                    <a:pt x="2549" y="18287"/>
                  </a:lnTo>
                  <a:lnTo>
                    <a:pt x="2576" y="18292"/>
                  </a:lnTo>
                  <a:lnTo>
                    <a:pt x="2603" y="18296"/>
                  </a:lnTo>
                  <a:lnTo>
                    <a:pt x="2631" y="18300"/>
                  </a:lnTo>
                  <a:lnTo>
                    <a:pt x="2658" y="18303"/>
                  </a:lnTo>
                  <a:lnTo>
                    <a:pt x="2687" y="18305"/>
                  </a:lnTo>
                  <a:lnTo>
                    <a:pt x="2716" y="18308"/>
                  </a:lnTo>
                  <a:lnTo>
                    <a:pt x="2745" y="18309"/>
                  </a:lnTo>
                  <a:lnTo>
                    <a:pt x="2776" y="18309"/>
                  </a:lnTo>
                  <a:lnTo>
                    <a:pt x="2835" y="18310"/>
                  </a:lnTo>
                  <a:lnTo>
                    <a:pt x="2896" y="18310"/>
                  </a:lnTo>
                  <a:lnTo>
                    <a:pt x="2957" y="18309"/>
                  </a:lnTo>
                  <a:lnTo>
                    <a:pt x="3017" y="18308"/>
                  </a:lnTo>
                  <a:lnTo>
                    <a:pt x="3079" y="18305"/>
                  </a:lnTo>
                  <a:lnTo>
                    <a:pt x="3140" y="18303"/>
                  </a:lnTo>
                  <a:lnTo>
                    <a:pt x="3200" y="18300"/>
                  </a:lnTo>
                  <a:lnTo>
                    <a:pt x="3262" y="18296"/>
                  </a:lnTo>
                  <a:lnTo>
                    <a:pt x="3323" y="18292"/>
                  </a:lnTo>
                  <a:lnTo>
                    <a:pt x="3384" y="18287"/>
                  </a:lnTo>
                  <a:lnTo>
                    <a:pt x="3444" y="18283"/>
                  </a:lnTo>
                  <a:lnTo>
                    <a:pt x="3505" y="18277"/>
                  </a:lnTo>
                  <a:lnTo>
                    <a:pt x="3565" y="18271"/>
                  </a:lnTo>
                  <a:lnTo>
                    <a:pt x="3625" y="18264"/>
                  </a:lnTo>
                  <a:lnTo>
                    <a:pt x="3686" y="18257"/>
                  </a:lnTo>
                  <a:lnTo>
                    <a:pt x="3745" y="18250"/>
                  </a:lnTo>
                  <a:lnTo>
                    <a:pt x="3829" y="18240"/>
                  </a:lnTo>
                  <a:lnTo>
                    <a:pt x="3912" y="18230"/>
                  </a:lnTo>
                  <a:lnTo>
                    <a:pt x="3995" y="18218"/>
                  </a:lnTo>
                  <a:lnTo>
                    <a:pt x="4076" y="18206"/>
                  </a:lnTo>
                  <a:lnTo>
                    <a:pt x="4157" y="18192"/>
                  </a:lnTo>
                  <a:lnTo>
                    <a:pt x="4236" y="18178"/>
                  </a:lnTo>
                  <a:lnTo>
                    <a:pt x="4316" y="18165"/>
                  </a:lnTo>
                  <a:lnTo>
                    <a:pt x="4395" y="18150"/>
                  </a:lnTo>
                  <a:lnTo>
                    <a:pt x="4473" y="18134"/>
                  </a:lnTo>
                  <a:lnTo>
                    <a:pt x="4549" y="18118"/>
                  </a:lnTo>
                  <a:lnTo>
                    <a:pt x="4627" y="18101"/>
                  </a:lnTo>
                  <a:lnTo>
                    <a:pt x="4704" y="18083"/>
                  </a:lnTo>
                  <a:lnTo>
                    <a:pt x="4779" y="18066"/>
                  </a:lnTo>
                  <a:lnTo>
                    <a:pt x="4855" y="18048"/>
                  </a:lnTo>
                  <a:lnTo>
                    <a:pt x="4931" y="18028"/>
                  </a:lnTo>
                  <a:lnTo>
                    <a:pt x="5006" y="18009"/>
                  </a:lnTo>
                  <a:lnTo>
                    <a:pt x="5156" y="17969"/>
                  </a:lnTo>
                  <a:lnTo>
                    <a:pt x="5305" y="17927"/>
                  </a:lnTo>
                  <a:lnTo>
                    <a:pt x="5455" y="17882"/>
                  </a:lnTo>
                  <a:lnTo>
                    <a:pt x="5603" y="17836"/>
                  </a:lnTo>
                  <a:lnTo>
                    <a:pt x="5753" y="17789"/>
                  </a:lnTo>
                  <a:lnTo>
                    <a:pt x="5904" y="17741"/>
                  </a:lnTo>
                  <a:lnTo>
                    <a:pt x="6056" y="17691"/>
                  </a:lnTo>
                  <a:lnTo>
                    <a:pt x="6211" y="17639"/>
                  </a:lnTo>
                  <a:lnTo>
                    <a:pt x="6273" y="17619"/>
                  </a:lnTo>
                  <a:lnTo>
                    <a:pt x="6368" y="17586"/>
                  </a:lnTo>
                  <a:lnTo>
                    <a:pt x="6483" y="17544"/>
                  </a:lnTo>
                  <a:lnTo>
                    <a:pt x="6608" y="17501"/>
                  </a:lnTo>
                  <a:lnTo>
                    <a:pt x="6729" y="17456"/>
                  </a:lnTo>
                  <a:lnTo>
                    <a:pt x="6837" y="17415"/>
                  </a:lnTo>
                  <a:lnTo>
                    <a:pt x="6881" y="17398"/>
                  </a:lnTo>
                  <a:lnTo>
                    <a:pt x="6917" y="17382"/>
                  </a:lnTo>
                  <a:lnTo>
                    <a:pt x="6943" y="17369"/>
                  </a:lnTo>
                  <a:lnTo>
                    <a:pt x="6959" y="17361"/>
                  </a:lnTo>
                  <a:lnTo>
                    <a:pt x="6994" y="17351"/>
                  </a:lnTo>
                  <a:lnTo>
                    <a:pt x="7046" y="17333"/>
                  </a:lnTo>
                  <a:lnTo>
                    <a:pt x="7116" y="17308"/>
                  </a:lnTo>
                  <a:lnTo>
                    <a:pt x="7200" y="17277"/>
                  </a:lnTo>
                  <a:lnTo>
                    <a:pt x="7294" y="17240"/>
                  </a:lnTo>
                  <a:lnTo>
                    <a:pt x="7397" y="17200"/>
                  </a:lnTo>
                  <a:lnTo>
                    <a:pt x="7507" y="17156"/>
                  </a:lnTo>
                  <a:lnTo>
                    <a:pt x="7621" y="17112"/>
                  </a:lnTo>
                  <a:lnTo>
                    <a:pt x="7734" y="17066"/>
                  </a:lnTo>
                  <a:lnTo>
                    <a:pt x="7846" y="17021"/>
                  </a:lnTo>
                  <a:lnTo>
                    <a:pt x="7955" y="16977"/>
                  </a:lnTo>
                  <a:lnTo>
                    <a:pt x="8057" y="16937"/>
                  </a:lnTo>
                  <a:lnTo>
                    <a:pt x="8148" y="16899"/>
                  </a:lnTo>
                  <a:lnTo>
                    <a:pt x="8228" y="16867"/>
                  </a:lnTo>
                  <a:lnTo>
                    <a:pt x="8295" y="16841"/>
                  </a:lnTo>
                  <a:lnTo>
                    <a:pt x="8344" y="16821"/>
                  </a:lnTo>
                  <a:lnTo>
                    <a:pt x="8396" y="16799"/>
                  </a:lnTo>
                  <a:lnTo>
                    <a:pt x="8454" y="16778"/>
                  </a:lnTo>
                  <a:lnTo>
                    <a:pt x="8513" y="16755"/>
                  </a:lnTo>
                  <a:lnTo>
                    <a:pt x="8574" y="16731"/>
                  </a:lnTo>
                  <a:lnTo>
                    <a:pt x="8633" y="16707"/>
                  </a:lnTo>
                  <a:lnTo>
                    <a:pt x="8690" y="16682"/>
                  </a:lnTo>
                  <a:lnTo>
                    <a:pt x="8744" y="16658"/>
                  </a:lnTo>
                  <a:lnTo>
                    <a:pt x="8792" y="16633"/>
                  </a:lnTo>
                  <a:lnTo>
                    <a:pt x="8829" y="16621"/>
                  </a:lnTo>
                  <a:lnTo>
                    <a:pt x="8872" y="16605"/>
                  </a:lnTo>
                  <a:lnTo>
                    <a:pt x="8918" y="16587"/>
                  </a:lnTo>
                  <a:lnTo>
                    <a:pt x="8965" y="16565"/>
                  </a:lnTo>
                  <a:lnTo>
                    <a:pt x="9013" y="16543"/>
                  </a:lnTo>
                  <a:lnTo>
                    <a:pt x="9059" y="16522"/>
                  </a:lnTo>
                  <a:lnTo>
                    <a:pt x="9100" y="16502"/>
                  </a:lnTo>
                  <a:lnTo>
                    <a:pt x="9137" y="16485"/>
                  </a:lnTo>
                  <a:lnTo>
                    <a:pt x="9178" y="16465"/>
                  </a:lnTo>
                  <a:lnTo>
                    <a:pt x="9220" y="16447"/>
                  </a:lnTo>
                  <a:lnTo>
                    <a:pt x="9263" y="16429"/>
                  </a:lnTo>
                  <a:lnTo>
                    <a:pt x="9304" y="16409"/>
                  </a:lnTo>
                  <a:lnTo>
                    <a:pt x="9346" y="16391"/>
                  </a:lnTo>
                  <a:lnTo>
                    <a:pt x="9388" y="16371"/>
                  </a:lnTo>
                  <a:lnTo>
                    <a:pt x="9430" y="16352"/>
                  </a:lnTo>
                  <a:lnTo>
                    <a:pt x="9471" y="16331"/>
                  </a:lnTo>
                  <a:lnTo>
                    <a:pt x="9550" y="16292"/>
                  </a:lnTo>
                  <a:lnTo>
                    <a:pt x="9633" y="16254"/>
                  </a:lnTo>
                  <a:lnTo>
                    <a:pt x="9720" y="16214"/>
                  </a:lnTo>
                  <a:lnTo>
                    <a:pt x="9807" y="16173"/>
                  </a:lnTo>
                  <a:lnTo>
                    <a:pt x="9894" y="16132"/>
                  </a:lnTo>
                  <a:lnTo>
                    <a:pt x="9978" y="16091"/>
                  </a:lnTo>
                  <a:lnTo>
                    <a:pt x="10018" y="16069"/>
                  </a:lnTo>
                  <a:lnTo>
                    <a:pt x="10057" y="16048"/>
                  </a:lnTo>
                  <a:lnTo>
                    <a:pt x="10093" y="16026"/>
                  </a:lnTo>
                  <a:lnTo>
                    <a:pt x="10129" y="16004"/>
                  </a:lnTo>
                  <a:lnTo>
                    <a:pt x="10153" y="15994"/>
                  </a:lnTo>
                  <a:lnTo>
                    <a:pt x="10184" y="15979"/>
                  </a:lnTo>
                  <a:lnTo>
                    <a:pt x="10220" y="15962"/>
                  </a:lnTo>
                  <a:lnTo>
                    <a:pt x="10263" y="15939"/>
                  </a:lnTo>
                  <a:lnTo>
                    <a:pt x="10363" y="15886"/>
                  </a:lnTo>
                  <a:lnTo>
                    <a:pt x="10482" y="15821"/>
                  </a:lnTo>
                  <a:lnTo>
                    <a:pt x="10614" y="15748"/>
                  </a:lnTo>
                  <a:lnTo>
                    <a:pt x="10756" y="15669"/>
                  </a:lnTo>
                  <a:lnTo>
                    <a:pt x="10903" y="15584"/>
                  </a:lnTo>
                  <a:lnTo>
                    <a:pt x="11053" y="15498"/>
                  </a:lnTo>
                  <a:lnTo>
                    <a:pt x="11202" y="15411"/>
                  </a:lnTo>
                  <a:lnTo>
                    <a:pt x="11344" y="15328"/>
                  </a:lnTo>
                  <a:lnTo>
                    <a:pt x="11477" y="15249"/>
                  </a:lnTo>
                  <a:lnTo>
                    <a:pt x="11597" y="15176"/>
                  </a:lnTo>
                  <a:lnTo>
                    <a:pt x="11700" y="15111"/>
                  </a:lnTo>
                  <a:lnTo>
                    <a:pt x="11781" y="15060"/>
                  </a:lnTo>
                  <a:lnTo>
                    <a:pt x="11813" y="15038"/>
                  </a:lnTo>
                  <a:lnTo>
                    <a:pt x="11838" y="15021"/>
                  </a:lnTo>
                  <a:lnTo>
                    <a:pt x="11857" y="15007"/>
                  </a:lnTo>
                  <a:lnTo>
                    <a:pt x="11867" y="14997"/>
                  </a:lnTo>
                  <a:lnTo>
                    <a:pt x="11879" y="14991"/>
                  </a:lnTo>
                  <a:lnTo>
                    <a:pt x="11898" y="14982"/>
                  </a:lnTo>
                  <a:lnTo>
                    <a:pt x="11919" y="14970"/>
                  </a:lnTo>
                  <a:lnTo>
                    <a:pt x="11947" y="14954"/>
                  </a:lnTo>
                  <a:lnTo>
                    <a:pt x="12012" y="14913"/>
                  </a:lnTo>
                  <a:lnTo>
                    <a:pt x="12090" y="14864"/>
                  </a:lnTo>
                  <a:lnTo>
                    <a:pt x="12179" y="14806"/>
                  </a:lnTo>
                  <a:lnTo>
                    <a:pt x="12276" y="14741"/>
                  </a:lnTo>
                  <a:lnTo>
                    <a:pt x="12379" y="14672"/>
                  </a:lnTo>
                  <a:lnTo>
                    <a:pt x="12485" y="14600"/>
                  </a:lnTo>
                  <a:lnTo>
                    <a:pt x="12590" y="14528"/>
                  </a:lnTo>
                  <a:lnTo>
                    <a:pt x="12694" y="14457"/>
                  </a:lnTo>
                  <a:lnTo>
                    <a:pt x="12791" y="14388"/>
                  </a:lnTo>
                  <a:lnTo>
                    <a:pt x="12883" y="14324"/>
                  </a:lnTo>
                  <a:lnTo>
                    <a:pt x="12963" y="14267"/>
                  </a:lnTo>
                  <a:lnTo>
                    <a:pt x="13031" y="14218"/>
                  </a:lnTo>
                  <a:lnTo>
                    <a:pt x="13083" y="14179"/>
                  </a:lnTo>
                  <a:lnTo>
                    <a:pt x="13116" y="14152"/>
                  </a:lnTo>
                  <a:lnTo>
                    <a:pt x="13131" y="14143"/>
                  </a:lnTo>
                  <a:lnTo>
                    <a:pt x="13152" y="14131"/>
                  </a:lnTo>
                  <a:lnTo>
                    <a:pt x="13179" y="14112"/>
                  </a:lnTo>
                  <a:lnTo>
                    <a:pt x="13212" y="14088"/>
                  </a:lnTo>
                  <a:lnTo>
                    <a:pt x="13294" y="14030"/>
                  </a:lnTo>
                  <a:lnTo>
                    <a:pt x="13392" y="13958"/>
                  </a:lnTo>
                  <a:lnTo>
                    <a:pt x="13505" y="13873"/>
                  </a:lnTo>
                  <a:lnTo>
                    <a:pt x="13628" y="13779"/>
                  </a:lnTo>
                  <a:lnTo>
                    <a:pt x="13758" y="13680"/>
                  </a:lnTo>
                  <a:lnTo>
                    <a:pt x="13891" y="13578"/>
                  </a:lnTo>
                  <a:lnTo>
                    <a:pt x="14024" y="13475"/>
                  </a:lnTo>
                  <a:lnTo>
                    <a:pt x="14153" y="13374"/>
                  </a:lnTo>
                  <a:lnTo>
                    <a:pt x="14274" y="13278"/>
                  </a:lnTo>
                  <a:lnTo>
                    <a:pt x="14385" y="13190"/>
                  </a:lnTo>
                  <a:lnTo>
                    <a:pt x="14481" y="13112"/>
                  </a:lnTo>
                  <a:lnTo>
                    <a:pt x="14559" y="13048"/>
                  </a:lnTo>
                  <a:lnTo>
                    <a:pt x="14590" y="13022"/>
                  </a:lnTo>
                  <a:lnTo>
                    <a:pt x="14615" y="13000"/>
                  </a:lnTo>
                  <a:lnTo>
                    <a:pt x="14634" y="12982"/>
                  </a:lnTo>
                  <a:lnTo>
                    <a:pt x="14645" y="12970"/>
                  </a:lnTo>
                  <a:lnTo>
                    <a:pt x="14658" y="12963"/>
                  </a:lnTo>
                  <a:lnTo>
                    <a:pt x="14673" y="12954"/>
                  </a:lnTo>
                  <a:lnTo>
                    <a:pt x="14690" y="12942"/>
                  </a:lnTo>
                  <a:lnTo>
                    <a:pt x="14708" y="12928"/>
                  </a:lnTo>
                  <a:lnTo>
                    <a:pt x="14751" y="12895"/>
                  </a:lnTo>
                  <a:lnTo>
                    <a:pt x="14802" y="12854"/>
                  </a:lnTo>
                  <a:lnTo>
                    <a:pt x="14857" y="12807"/>
                  </a:lnTo>
                  <a:lnTo>
                    <a:pt x="14917" y="12756"/>
                  </a:lnTo>
                  <a:lnTo>
                    <a:pt x="14979" y="12701"/>
                  </a:lnTo>
                  <a:lnTo>
                    <a:pt x="15044" y="12645"/>
                  </a:lnTo>
                  <a:lnTo>
                    <a:pt x="15110" y="12587"/>
                  </a:lnTo>
                  <a:lnTo>
                    <a:pt x="15175" y="12530"/>
                  </a:lnTo>
                  <a:lnTo>
                    <a:pt x="15238" y="12475"/>
                  </a:lnTo>
                  <a:lnTo>
                    <a:pt x="15298" y="12421"/>
                  </a:lnTo>
                  <a:lnTo>
                    <a:pt x="15354" y="12372"/>
                  </a:lnTo>
                  <a:lnTo>
                    <a:pt x="15405" y="12328"/>
                  </a:lnTo>
                  <a:lnTo>
                    <a:pt x="15451" y="12291"/>
                  </a:lnTo>
                  <a:lnTo>
                    <a:pt x="15487" y="12261"/>
                  </a:lnTo>
                  <a:lnTo>
                    <a:pt x="15508" y="12245"/>
                  </a:lnTo>
                  <a:lnTo>
                    <a:pt x="15520" y="12233"/>
                  </a:lnTo>
                  <a:lnTo>
                    <a:pt x="15534" y="12220"/>
                  </a:lnTo>
                  <a:lnTo>
                    <a:pt x="15555" y="12200"/>
                  </a:lnTo>
                  <a:lnTo>
                    <a:pt x="15765" y="12013"/>
                  </a:lnTo>
                  <a:lnTo>
                    <a:pt x="15798" y="11979"/>
                  </a:lnTo>
                  <a:lnTo>
                    <a:pt x="15830" y="11947"/>
                  </a:lnTo>
                  <a:lnTo>
                    <a:pt x="15863" y="11915"/>
                  </a:lnTo>
                  <a:lnTo>
                    <a:pt x="15895" y="11884"/>
                  </a:lnTo>
                  <a:lnTo>
                    <a:pt x="15927" y="11853"/>
                  </a:lnTo>
                  <a:lnTo>
                    <a:pt x="15959" y="11823"/>
                  </a:lnTo>
                  <a:lnTo>
                    <a:pt x="15992" y="11790"/>
                  </a:lnTo>
                  <a:lnTo>
                    <a:pt x="16025" y="11758"/>
                  </a:lnTo>
                  <a:lnTo>
                    <a:pt x="16052" y="11733"/>
                  </a:lnTo>
                  <a:lnTo>
                    <a:pt x="16089" y="11696"/>
                  </a:lnTo>
                  <a:lnTo>
                    <a:pt x="16136" y="11649"/>
                  </a:lnTo>
                  <a:lnTo>
                    <a:pt x="16190" y="11595"/>
                  </a:lnTo>
                  <a:lnTo>
                    <a:pt x="16248" y="11535"/>
                  </a:lnTo>
                  <a:lnTo>
                    <a:pt x="16311" y="11470"/>
                  </a:lnTo>
                  <a:lnTo>
                    <a:pt x="16377" y="11403"/>
                  </a:lnTo>
                  <a:lnTo>
                    <a:pt x="16443" y="11335"/>
                  </a:lnTo>
                  <a:lnTo>
                    <a:pt x="16508" y="11268"/>
                  </a:lnTo>
                  <a:lnTo>
                    <a:pt x="16571" y="11202"/>
                  </a:lnTo>
                  <a:lnTo>
                    <a:pt x="16629" y="11140"/>
                  </a:lnTo>
                  <a:lnTo>
                    <a:pt x="16681" y="11084"/>
                  </a:lnTo>
                  <a:lnTo>
                    <a:pt x="16726" y="11036"/>
                  </a:lnTo>
                  <a:lnTo>
                    <a:pt x="16761" y="10997"/>
                  </a:lnTo>
                  <a:lnTo>
                    <a:pt x="16786" y="10969"/>
                  </a:lnTo>
                  <a:lnTo>
                    <a:pt x="16797" y="10953"/>
                  </a:lnTo>
                  <a:lnTo>
                    <a:pt x="16818" y="10935"/>
                  </a:lnTo>
                  <a:lnTo>
                    <a:pt x="16837" y="10915"/>
                  </a:lnTo>
                  <a:lnTo>
                    <a:pt x="16856" y="10896"/>
                  </a:lnTo>
                  <a:lnTo>
                    <a:pt x="16874" y="10875"/>
                  </a:lnTo>
                  <a:lnTo>
                    <a:pt x="16908" y="10833"/>
                  </a:lnTo>
                  <a:lnTo>
                    <a:pt x="16943" y="10789"/>
                  </a:lnTo>
                  <a:lnTo>
                    <a:pt x="17006" y="10707"/>
                  </a:lnTo>
                  <a:lnTo>
                    <a:pt x="17067" y="10626"/>
                  </a:lnTo>
                  <a:lnTo>
                    <a:pt x="17128" y="10543"/>
                  </a:lnTo>
                  <a:lnTo>
                    <a:pt x="17185" y="10462"/>
                  </a:lnTo>
                  <a:lnTo>
                    <a:pt x="17214" y="10421"/>
                  </a:lnTo>
                  <a:lnTo>
                    <a:pt x="17241" y="10379"/>
                  </a:lnTo>
                  <a:lnTo>
                    <a:pt x="17269" y="10337"/>
                  </a:lnTo>
                  <a:lnTo>
                    <a:pt x="17295" y="10296"/>
                  </a:lnTo>
                  <a:lnTo>
                    <a:pt x="17321" y="10254"/>
                  </a:lnTo>
                  <a:lnTo>
                    <a:pt x="17347" y="10211"/>
                  </a:lnTo>
                  <a:lnTo>
                    <a:pt x="17372" y="10169"/>
                  </a:lnTo>
                  <a:lnTo>
                    <a:pt x="17396" y="10125"/>
                  </a:lnTo>
                  <a:lnTo>
                    <a:pt x="17419" y="10081"/>
                  </a:lnTo>
                  <a:lnTo>
                    <a:pt x="17442" y="10037"/>
                  </a:lnTo>
                  <a:lnTo>
                    <a:pt x="17463" y="9992"/>
                  </a:lnTo>
                  <a:lnTo>
                    <a:pt x="17485" y="9946"/>
                  </a:lnTo>
                  <a:lnTo>
                    <a:pt x="17505" y="9900"/>
                  </a:lnTo>
                  <a:lnTo>
                    <a:pt x="17524" y="9853"/>
                  </a:lnTo>
                  <a:lnTo>
                    <a:pt x="17543" y="9805"/>
                  </a:lnTo>
                  <a:lnTo>
                    <a:pt x="17561" y="9757"/>
                  </a:lnTo>
                  <a:lnTo>
                    <a:pt x="17578" y="9708"/>
                  </a:lnTo>
                  <a:lnTo>
                    <a:pt x="17594" y="9657"/>
                  </a:lnTo>
                  <a:lnTo>
                    <a:pt x="17609" y="9606"/>
                  </a:lnTo>
                  <a:lnTo>
                    <a:pt x="17622" y="9553"/>
                  </a:lnTo>
                  <a:lnTo>
                    <a:pt x="17636" y="9501"/>
                  </a:lnTo>
                  <a:lnTo>
                    <a:pt x="17648" y="9446"/>
                  </a:lnTo>
                  <a:lnTo>
                    <a:pt x="17659" y="9391"/>
                  </a:lnTo>
                  <a:lnTo>
                    <a:pt x="17669" y="9334"/>
                  </a:lnTo>
                  <a:lnTo>
                    <a:pt x="17673" y="9309"/>
                  </a:lnTo>
                  <a:lnTo>
                    <a:pt x="17675" y="9283"/>
                  </a:lnTo>
                  <a:lnTo>
                    <a:pt x="17675" y="9255"/>
                  </a:lnTo>
                  <a:lnTo>
                    <a:pt x="17674" y="9226"/>
                  </a:lnTo>
                  <a:lnTo>
                    <a:pt x="17672" y="9196"/>
                  </a:lnTo>
                  <a:lnTo>
                    <a:pt x="17669" y="9165"/>
                  </a:lnTo>
                  <a:lnTo>
                    <a:pt x="17665" y="9133"/>
                  </a:lnTo>
                  <a:lnTo>
                    <a:pt x="17659" y="9101"/>
                  </a:lnTo>
                  <a:lnTo>
                    <a:pt x="17653" y="9068"/>
                  </a:lnTo>
                  <a:lnTo>
                    <a:pt x="17645" y="9034"/>
                  </a:lnTo>
                  <a:lnTo>
                    <a:pt x="17637" y="8999"/>
                  </a:lnTo>
                  <a:lnTo>
                    <a:pt x="17629" y="8965"/>
                  </a:lnTo>
                  <a:lnTo>
                    <a:pt x="17609" y="8895"/>
                  </a:lnTo>
                  <a:lnTo>
                    <a:pt x="17587" y="8825"/>
                  </a:lnTo>
                  <a:lnTo>
                    <a:pt x="17563" y="8757"/>
                  </a:lnTo>
                  <a:lnTo>
                    <a:pt x="17539" y="8689"/>
                  </a:lnTo>
                  <a:lnTo>
                    <a:pt x="17513" y="8624"/>
                  </a:lnTo>
                  <a:lnTo>
                    <a:pt x="17487" y="8563"/>
                  </a:lnTo>
                  <a:lnTo>
                    <a:pt x="17462" y="8506"/>
                  </a:lnTo>
                  <a:lnTo>
                    <a:pt x="17437" y="8455"/>
                  </a:lnTo>
                  <a:lnTo>
                    <a:pt x="17415" y="8408"/>
                  </a:lnTo>
                  <a:lnTo>
                    <a:pt x="17394" y="8369"/>
                  </a:lnTo>
                  <a:lnTo>
                    <a:pt x="17360" y="8310"/>
                  </a:lnTo>
                  <a:lnTo>
                    <a:pt x="17328" y="8254"/>
                  </a:lnTo>
                  <a:lnTo>
                    <a:pt x="17297" y="8203"/>
                  </a:lnTo>
                  <a:lnTo>
                    <a:pt x="17268" y="8155"/>
                  </a:lnTo>
                  <a:lnTo>
                    <a:pt x="17239" y="8109"/>
                  </a:lnTo>
                  <a:lnTo>
                    <a:pt x="17210" y="8066"/>
                  </a:lnTo>
                  <a:lnTo>
                    <a:pt x="17182" y="8023"/>
                  </a:lnTo>
                  <a:lnTo>
                    <a:pt x="17153" y="7981"/>
                  </a:lnTo>
                  <a:lnTo>
                    <a:pt x="17123" y="7941"/>
                  </a:lnTo>
                  <a:lnTo>
                    <a:pt x="17093" y="7900"/>
                  </a:lnTo>
                  <a:lnTo>
                    <a:pt x="17062" y="7858"/>
                  </a:lnTo>
                  <a:lnTo>
                    <a:pt x="17029" y="7816"/>
                  </a:lnTo>
                  <a:lnTo>
                    <a:pt x="16958" y="7727"/>
                  </a:lnTo>
                  <a:lnTo>
                    <a:pt x="16877" y="7627"/>
                  </a:lnTo>
                  <a:lnTo>
                    <a:pt x="16843" y="7585"/>
                  </a:lnTo>
                  <a:lnTo>
                    <a:pt x="16805" y="7540"/>
                  </a:lnTo>
                  <a:lnTo>
                    <a:pt x="16766" y="7493"/>
                  </a:lnTo>
                  <a:lnTo>
                    <a:pt x="16725" y="7446"/>
                  </a:lnTo>
                  <a:lnTo>
                    <a:pt x="16641" y="7350"/>
                  </a:lnTo>
                  <a:lnTo>
                    <a:pt x="16551" y="7253"/>
                  </a:lnTo>
                  <a:lnTo>
                    <a:pt x="16462" y="7157"/>
                  </a:lnTo>
                  <a:lnTo>
                    <a:pt x="16373" y="7065"/>
                  </a:lnTo>
                  <a:lnTo>
                    <a:pt x="16287" y="6978"/>
                  </a:lnTo>
                  <a:lnTo>
                    <a:pt x="16207" y="6899"/>
                  </a:lnTo>
                  <a:lnTo>
                    <a:pt x="16179" y="6872"/>
                  </a:lnTo>
                  <a:lnTo>
                    <a:pt x="16153" y="6842"/>
                  </a:lnTo>
                  <a:lnTo>
                    <a:pt x="16127" y="6811"/>
                  </a:lnTo>
                  <a:lnTo>
                    <a:pt x="16099" y="6779"/>
                  </a:lnTo>
                  <a:lnTo>
                    <a:pt x="16071" y="6747"/>
                  </a:lnTo>
                  <a:lnTo>
                    <a:pt x="16042" y="6715"/>
                  </a:lnTo>
                  <a:lnTo>
                    <a:pt x="16011" y="6683"/>
                  </a:lnTo>
                  <a:lnTo>
                    <a:pt x="15979" y="6652"/>
                  </a:lnTo>
                  <a:lnTo>
                    <a:pt x="14313" y="5186"/>
                  </a:lnTo>
                  <a:lnTo>
                    <a:pt x="14230" y="5121"/>
                  </a:lnTo>
                  <a:lnTo>
                    <a:pt x="14144" y="5052"/>
                  </a:lnTo>
                  <a:lnTo>
                    <a:pt x="14058" y="4981"/>
                  </a:lnTo>
                  <a:lnTo>
                    <a:pt x="13972" y="4911"/>
                  </a:lnTo>
                  <a:lnTo>
                    <a:pt x="13885" y="4840"/>
                  </a:lnTo>
                  <a:lnTo>
                    <a:pt x="13797" y="4769"/>
                  </a:lnTo>
                  <a:lnTo>
                    <a:pt x="13709" y="4700"/>
                  </a:lnTo>
                  <a:lnTo>
                    <a:pt x="13622" y="4634"/>
                  </a:lnTo>
                  <a:lnTo>
                    <a:pt x="13528" y="4565"/>
                  </a:lnTo>
                  <a:lnTo>
                    <a:pt x="13437" y="4496"/>
                  </a:lnTo>
                  <a:lnTo>
                    <a:pt x="13348" y="4430"/>
                  </a:lnTo>
                  <a:lnTo>
                    <a:pt x="13259" y="4364"/>
                  </a:lnTo>
                  <a:lnTo>
                    <a:pt x="13172" y="4299"/>
                  </a:lnTo>
                  <a:lnTo>
                    <a:pt x="13085" y="4234"/>
                  </a:lnTo>
                  <a:lnTo>
                    <a:pt x="12999" y="4170"/>
                  </a:lnTo>
                  <a:lnTo>
                    <a:pt x="12913" y="4107"/>
                  </a:lnTo>
                  <a:lnTo>
                    <a:pt x="12826" y="4043"/>
                  </a:lnTo>
                  <a:lnTo>
                    <a:pt x="12738" y="3980"/>
                  </a:lnTo>
                  <a:lnTo>
                    <a:pt x="12650" y="3916"/>
                  </a:lnTo>
                  <a:lnTo>
                    <a:pt x="12559" y="3852"/>
                  </a:lnTo>
                  <a:lnTo>
                    <a:pt x="12468" y="3787"/>
                  </a:lnTo>
                  <a:lnTo>
                    <a:pt x="12373" y="3722"/>
                  </a:lnTo>
                  <a:lnTo>
                    <a:pt x="12276" y="3655"/>
                  </a:lnTo>
                  <a:lnTo>
                    <a:pt x="12177" y="3589"/>
                  </a:lnTo>
                  <a:lnTo>
                    <a:pt x="12083" y="3525"/>
                  </a:lnTo>
                  <a:lnTo>
                    <a:pt x="11988" y="3463"/>
                  </a:lnTo>
                  <a:lnTo>
                    <a:pt x="11893" y="3402"/>
                  </a:lnTo>
                  <a:lnTo>
                    <a:pt x="11798" y="3340"/>
                  </a:lnTo>
                  <a:lnTo>
                    <a:pt x="11702" y="3280"/>
                  </a:lnTo>
                  <a:lnTo>
                    <a:pt x="11606" y="3219"/>
                  </a:lnTo>
                  <a:lnTo>
                    <a:pt x="11509" y="3158"/>
                  </a:lnTo>
                  <a:lnTo>
                    <a:pt x="11411" y="3097"/>
                  </a:lnTo>
                  <a:lnTo>
                    <a:pt x="11318" y="3037"/>
                  </a:lnTo>
                  <a:lnTo>
                    <a:pt x="11222" y="2979"/>
                  </a:lnTo>
                  <a:lnTo>
                    <a:pt x="11125" y="2920"/>
                  </a:lnTo>
                  <a:lnTo>
                    <a:pt x="11028" y="2863"/>
                  </a:lnTo>
                  <a:lnTo>
                    <a:pt x="10930" y="2806"/>
                  </a:lnTo>
                  <a:lnTo>
                    <a:pt x="10831" y="2749"/>
                  </a:lnTo>
                  <a:lnTo>
                    <a:pt x="10732" y="2692"/>
                  </a:lnTo>
                  <a:lnTo>
                    <a:pt x="10631" y="2635"/>
                  </a:lnTo>
                  <a:lnTo>
                    <a:pt x="10529" y="2579"/>
                  </a:lnTo>
                  <a:lnTo>
                    <a:pt x="10427" y="2523"/>
                  </a:lnTo>
                  <a:lnTo>
                    <a:pt x="10326" y="2468"/>
                  </a:lnTo>
                  <a:lnTo>
                    <a:pt x="10223" y="2413"/>
                  </a:lnTo>
                  <a:lnTo>
                    <a:pt x="10120" y="2359"/>
                  </a:lnTo>
                  <a:lnTo>
                    <a:pt x="10015" y="2305"/>
                  </a:lnTo>
                  <a:lnTo>
                    <a:pt x="9911" y="2251"/>
                  </a:lnTo>
                  <a:lnTo>
                    <a:pt x="9807" y="2198"/>
                  </a:lnTo>
                  <a:lnTo>
                    <a:pt x="9735" y="2162"/>
                  </a:lnTo>
                  <a:lnTo>
                    <a:pt x="9660" y="2124"/>
                  </a:lnTo>
                  <a:lnTo>
                    <a:pt x="9583" y="2086"/>
                  </a:lnTo>
                  <a:lnTo>
                    <a:pt x="9504" y="2047"/>
                  </a:lnTo>
                  <a:lnTo>
                    <a:pt x="9423" y="2010"/>
                  </a:lnTo>
                  <a:lnTo>
                    <a:pt x="9340" y="1971"/>
                  </a:lnTo>
                  <a:lnTo>
                    <a:pt x="9258" y="1932"/>
                  </a:lnTo>
                  <a:lnTo>
                    <a:pt x="9174" y="1893"/>
                  </a:lnTo>
                  <a:lnTo>
                    <a:pt x="9091" y="1855"/>
                  </a:lnTo>
                  <a:lnTo>
                    <a:pt x="9006" y="1816"/>
                  </a:lnTo>
                  <a:lnTo>
                    <a:pt x="8923" y="1780"/>
                  </a:lnTo>
                  <a:lnTo>
                    <a:pt x="8840" y="1743"/>
                  </a:lnTo>
                  <a:lnTo>
                    <a:pt x="8759" y="1707"/>
                  </a:lnTo>
                  <a:lnTo>
                    <a:pt x="8679" y="1673"/>
                  </a:lnTo>
                  <a:lnTo>
                    <a:pt x="8600" y="1640"/>
                  </a:lnTo>
                  <a:lnTo>
                    <a:pt x="8523" y="1608"/>
                  </a:lnTo>
                  <a:lnTo>
                    <a:pt x="8472" y="1587"/>
                  </a:lnTo>
                  <a:lnTo>
                    <a:pt x="8417" y="1562"/>
                  </a:lnTo>
                  <a:lnTo>
                    <a:pt x="8360" y="1537"/>
                  </a:lnTo>
                  <a:lnTo>
                    <a:pt x="8300" y="1511"/>
                  </a:lnTo>
                  <a:lnTo>
                    <a:pt x="8242" y="1485"/>
                  </a:lnTo>
                  <a:lnTo>
                    <a:pt x="8184" y="1461"/>
                  </a:lnTo>
                  <a:lnTo>
                    <a:pt x="8156" y="1451"/>
                  </a:lnTo>
                  <a:lnTo>
                    <a:pt x="8129" y="1442"/>
                  </a:lnTo>
                  <a:lnTo>
                    <a:pt x="8102" y="1433"/>
                  </a:lnTo>
                  <a:lnTo>
                    <a:pt x="8078" y="1426"/>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7" name="Freeform 5">
              <a:extLst>
                <a:ext uri="{FF2B5EF4-FFF2-40B4-BE49-F238E27FC236}">
                  <a16:creationId xmlns:a16="http://schemas.microsoft.com/office/drawing/2014/main" id="{A35AACCA-8698-4408-9E99-1151D320AEAC}"/>
                </a:ext>
              </a:extLst>
            </p:cNvPr>
            <p:cNvSpPr>
              <a:spLocks/>
            </p:cNvSpPr>
            <p:nvPr/>
          </p:nvSpPr>
          <p:spPr bwMode="auto">
            <a:xfrm>
              <a:off x="1197064" y="3421099"/>
              <a:ext cx="263057" cy="272508"/>
            </a:xfrm>
            <a:custGeom>
              <a:avLst/>
              <a:gdLst>
                <a:gd name="T0" fmla="*/ 7371 w 17675"/>
                <a:gd name="T1" fmla="*/ 1125 h 18310"/>
                <a:gd name="T2" fmla="*/ 5959 w 17675"/>
                <a:gd name="T3" fmla="*/ 593 h 18310"/>
                <a:gd name="T4" fmla="*/ 4735 w 17675"/>
                <a:gd name="T5" fmla="*/ 240 h 18310"/>
                <a:gd name="T6" fmla="*/ 3627 w 17675"/>
                <a:gd name="T7" fmla="*/ 54 h 18310"/>
                <a:gd name="T8" fmla="*/ 2806 w 17675"/>
                <a:gd name="T9" fmla="*/ 7 h 18310"/>
                <a:gd name="T10" fmla="*/ 2454 w 17675"/>
                <a:gd name="T11" fmla="*/ 85 h 18310"/>
                <a:gd name="T12" fmla="*/ 2132 w 17675"/>
                <a:gd name="T13" fmla="*/ 262 h 18310"/>
                <a:gd name="T14" fmla="*/ 1838 w 17675"/>
                <a:gd name="T15" fmla="*/ 533 h 18310"/>
                <a:gd name="T16" fmla="*/ 1454 w 17675"/>
                <a:gd name="T17" fmla="*/ 1111 h 18310"/>
                <a:gd name="T18" fmla="*/ 1261 w 17675"/>
                <a:gd name="T19" fmla="*/ 1545 h 18310"/>
                <a:gd name="T20" fmla="*/ 1008 w 17675"/>
                <a:gd name="T21" fmla="*/ 2315 h 18310"/>
                <a:gd name="T22" fmla="*/ 836 w 17675"/>
                <a:gd name="T23" fmla="*/ 2906 h 18310"/>
                <a:gd name="T24" fmla="*/ 683 w 17675"/>
                <a:gd name="T25" fmla="*/ 3519 h 18310"/>
                <a:gd name="T26" fmla="*/ 506 w 17675"/>
                <a:gd name="T27" fmla="*/ 4330 h 18310"/>
                <a:gd name="T28" fmla="*/ 356 w 17675"/>
                <a:gd name="T29" fmla="*/ 5177 h 18310"/>
                <a:gd name="T30" fmla="*/ 199 w 17675"/>
                <a:gd name="T31" fmla="*/ 6352 h 18310"/>
                <a:gd name="T32" fmla="*/ 65 w 17675"/>
                <a:gd name="T33" fmla="*/ 7805 h 18310"/>
                <a:gd name="T34" fmla="*/ 1 w 17675"/>
                <a:gd name="T35" fmla="*/ 9354 h 18310"/>
                <a:gd name="T36" fmla="*/ 54 w 17675"/>
                <a:gd name="T37" fmla="*/ 10490 h 18310"/>
                <a:gd name="T38" fmla="*/ 149 w 17675"/>
                <a:gd name="T39" fmla="*/ 11811 h 18310"/>
                <a:gd name="T40" fmla="*/ 298 w 17675"/>
                <a:gd name="T41" fmla="*/ 13066 h 18310"/>
                <a:gd name="T42" fmla="*/ 650 w 17675"/>
                <a:gd name="T43" fmla="*/ 14979 h 18310"/>
                <a:gd name="T44" fmla="*/ 991 w 17675"/>
                <a:gd name="T45" fmla="*/ 16266 h 18310"/>
                <a:gd name="T46" fmla="*/ 1332 w 17675"/>
                <a:gd name="T47" fmla="*/ 17156 h 18310"/>
                <a:gd name="T48" fmla="*/ 1598 w 17675"/>
                <a:gd name="T49" fmla="*/ 17614 h 18310"/>
                <a:gd name="T50" fmla="*/ 1917 w 17675"/>
                <a:gd name="T51" fmla="*/ 17970 h 18310"/>
                <a:gd name="T52" fmla="*/ 2349 w 17675"/>
                <a:gd name="T53" fmla="*/ 18232 h 18310"/>
                <a:gd name="T54" fmla="*/ 2745 w 17675"/>
                <a:gd name="T55" fmla="*/ 18309 h 18310"/>
                <a:gd name="T56" fmla="*/ 3384 w 17675"/>
                <a:gd name="T57" fmla="*/ 18287 h 18310"/>
                <a:gd name="T58" fmla="*/ 4157 w 17675"/>
                <a:gd name="T59" fmla="*/ 18192 h 18310"/>
                <a:gd name="T60" fmla="*/ 5006 w 17675"/>
                <a:gd name="T61" fmla="*/ 18009 h 18310"/>
                <a:gd name="T62" fmla="*/ 6483 w 17675"/>
                <a:gd name="T63" fmla="*/ 17544 h 18310"/>
                <a:gd name="T64" fmla="*/ 7200 w 17675"/>
                <a:gd name="T65" fmla="*/ 17277 h 18310"/>
                <a:gd name="T66" fmla="*/ 8295 w 17675"/>
                <a:gd name="T67" fmla="*/ 16841 h 18310"/>
                <a:gd name="T68" fmla="*/ 8872 w 17675"/>
                <a:gd name="T69" fmla="*/ 16605 h 18310"/>
                <a:gd name="T70" fmla="*/ 9346 w 17675"/>
                <a:gd name="T71" fmla="*/ 16391 h 18310"/>
                <a:gd name="T72" fmla="*/ 10057 w 17675"/>
                <a:gd name="T73" fmla="*/ 16048 h 18310"/>
                <a:gd name="T74" fmla="*/ 10903 w 17675"/>
                <a:gd name="T75" fmla="*/ 15584 h 18310"/>
                <a:gd name="T76" fmla="*/ 11867 w 17675"/>
                <a:gd name="T77" fmla="*/ 14997 h 18310"/>
                <a:gd name="T78" fmla="*/ 12590 w 17675"/>
                <a:gd name="T79" fmla="*/ 14528 h 18310"/>
                <a:gd name="T80" fmla="*/ 13212 w 17675"/>
                <a:gd name="T81" fmla="*/ 14088 h 18310"/>
                <a:gd name="T82" fmla="*/ 14481 w 17675"/>
                <a:gd name="T83" fmla="*/ 13112 h 18310"/>
                <a:gd name="T84" fmla="*/ 14802 w 17675"/>
                <a:gd name="T85" fmla="*/ 12854 h 18310"/>
                <a:gd name="T86" fmla="*/ 15451 w 17675"/>
                <a:gd name="T87" fmla="*/ 12291 h 18310"/>
                <a:gd name="T88" fmla="*/ 15927 w 17675"/>
                <a:gd name="T89" fmla="*/ 11853 h 18310"/>
                <a:gd name="T90" fmla="*/ 16443 w 17675"/>
                <a:gd name="T91" fmla="*/ 11335 h 18310"/>
                <a:gd name="T92" fmla="*/ 16856 w 17675"/>
                <a:gd name="T93" fmla="*/ 10896 h 18310"/>
                <a:gd name="T94" fmla="*/ 17295 w 17675"/>
                <a:gd name="T95" fmla="*/ 10296 h 18310"/>
                <a:gd name="T96" fmla="*/ 17543 w 17675"/>
                <a:gd name="T97" fmla="*/ 9805 h 18310"/>
                <a:gd name="T98" fmla="*/ 17675 w 17675"/>
                <a:gd name="T99" fmla="*/ 9283 h 18310"/>
                <a:gd name="T100" fmla="*/ 17609 w 17675"/>
                <a:gd name="T101" fmla="*/ 8895 h 18310"/>
                <a:gd name="T102" fmla="*/ 17328 w 17675"/>
                <a:gd name="T103" fmla="*/ 8254 h 18310"/>
                <a:gd name="T104" fmla="*/ 16958 w 17675"/>
                <a:gd name="T105" fmla="*/ 7727 h 18310"/>
                <a:gd name="T106" fmla="*/ 16207 w 17675"/>
                <a:gd name="T107" fmla="*/ 6899 h 18310"/>
                <a:gd name="T108" fmla="*/ 14144 w 17675"/>
                <a:gd name="T109" fmla="*/ 5052 h 18310"/>
                <a:gd name="T110" fmla="*/ 13172 w 17675"/>
                <a:gd name="T111" fmla="*/ 4299 h 18310"/>
                <a:gd name="T112" fmla="*/ 12177 w 17675"/>
                <a:gd name="T113" fmla="*/ 3589 h 18310"/>
                <a:gd name="T114" fmla="*/ 11125 w 17675"/>
                <a:gd name="T115" fmla="*/ 2920 h 18310"/>
                <a:gd name="T116" fmla="*/ 10015 w 17675"/>
                <a:gd name="T117" fmla="*/ 2305 h 18310"/>
                <a:gd name="T118" fmla="*/ 9091 w 17675"/>
                <a:gd name="T119" fmla="*/ 1855 h 18310"/>
                <a:gd name="T120" fmla="*/ 8300 w 17675"/>
                <a:gd name="T121" fmla="*/ 1511 h 18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7675" h="18310">
                  <a:moveTo>
                    <a:pt x="8078" y="1426"/>
                  </a:moveTo>
                  <a:lnTo>
                    <a:pt x="8047" y="1409"/>
                  </a:lnTo>
                  <a:lnTo>
                    <a:pt x="8014" y="1392"/>
                  </a:lnTo>
                  <a:lnTo>
                    <a:pt x="7978" y="1376"/>
                  </a:lnTo>
                  <a:lnTo>
                    <a:pt x="7940" y="1360"/>
                  </a:lnTo>
                  <a:lnTo>
                    <a:pt x="7901" y="1345"/>
                  </a:lnTo>
                  <a:lnTo>
                    <a:pt x="7862" y="1330"/>
                  </a:lnTo>
                  <a:lnTo>
                    <a:pt x="7825" y="1315"/>
                  </a:lnTo>
                  <a:lnTo>
                    <a:pt x="7791" y="1301"/>
                  </a:lnTo>
                  <a:lnTo>
                    <a:pt x="7583" y="1213"/>
                  </a:lnTo>
                  <a:lnTo>
                    <a:pt x="7371" y="1125"/>
                  </a:lnTo>
                  <a:lnTo>
                    <a:pt x="7158" y="1038"/>
                  </a:lnTo>
                  <a:lnTo>
                    <a:pt x="6943" y="953"/>
                  </a:lnTo>
                  <a:lnTo>
                    <a:pt x="6836" y="911"/>
                  </a:lnTo>
                  <a:lnTo>
                    <a:pt x="6727" y="869"/>
                  </a:lnTo>
                  <a:lnTo>
                    <a:pt x="6618" y="827"/>
                  </a:lnTo>
                  <a:lnTo>
                    <a:pt x="6508" y="787"/>
                  </a:lnTo>
                  <a:lnTo>
                    <a:pt x="6400" y="747"/>
                  </a:lnTo>
                  <a:lnTo>
                    <a:pt x="6290" y="707"/>
                  </a:lnTo>
                  <a:lnTo>
                    <a:pt x="6180" y="668"/>
                  </a:lnTo>
                  <a:lnTo>
                    <a:pt x="6070" y="631"/>
                  </a:lnTo>
                  <a:lnTo>
                    <a:pt x="5959" y="593"/>
                  </a:lnTo>
                  <a:lnTo>
                    <a:pt x="5848" y="556"/>
                  </a:lnTo>
                  <a:lnTo>
                    <a:pt x="5737" y="521"/>
                  </a:lnTo>
                  <a:lnTo>
                    <a:pt x="5626" y="485"/>
                  </a:lnTo>
                  <a:lnTo>
                    <a:pt x="5515" y="451"/>
                  </a:lnTo>
                  <a:lnTo>
                    <a:pt x="5404" y="418"/>
                  </a:lnTo>
                  <a:lnTo>
                    <a:pt x="5292" y="386"/>
                  </a:lnTo>
                  <a:lnTo>
                    <a:pt x="5181" y="355"/>
                  </a:lnTo>
                  <a:lnTo>
                    <a:pt x="5069" y="324"/>
                  </a:lnTo>
                  <a:lnTo>
                    <a:pt x="4958" y="295"/>
                  </a:lnTo>
                  <a:lnTo>
                    <a:pt x="4846" y="267"/>
                  </a:lnTo>
                  <a:lnTo>
                    <a:pt x="4735" y="240"/>
                  </a:lnTo>
                  <a:lnTo>
                    <a:pt x="4623" y="215"/>
                  </a:lnTo>
                  <a:lnTo>
                    <a:pt x="4511" y="191"/>
                  </a:lnTo>
                  <a:lnTo>
                    <a:pt x="4400" y="168"/>
                  </a:lnTo>
                  <a:lnTo>
                    <a:pt x="4287" y="146"/>
                  </a:lnTo>
                  <a:lnTo>
                    <a:pt x="4234" y="136"/>
                  </a:lnTo>
                  <a:lnTo>
                    <a:pt x="4162" y="125"/>
                  </a:lnTo>
                  <a:lnTo>
                    <a:pt x="4075" y="112"/>
                  </a:lnTo>
                  <a:lnTo>
                    <a:pt x="3975" y="98"/>
                  </a:lnTo>
                  <a:lnTo>
                    <a:pt x="3865" y="84"/>
                  </a:lnTo>
                  <a:lnTo>
                    <a:pt x="3749" y="69"/>
                  </a:lnTo>
                  <a:lnTo>
                    <a:pt x="3627" y="54"/>
                  </a:lnTo>
                  <a:lnTo>
                    <a:pt x="3504" y="40"/>
                  </a:lnTo>
                  <a:lnTo>
                    <a:pt x="3381" y="27"/>
                  </a:lnTo>
                  <a:lnTo>
                    <a:pt x="3262" y="17"/>
                  </a:lnTo>
                  <a:lnTo>
                    <a:pt x="3148" y="8"/>
                  </a:lnTo>
                  <a:lnTo>
                    <a:pt x="3043" y="2"/>
                  </a:lnTo>
                  <a:lnTo>
                    <a:pt x="2994" y="1"/>
                  </a:lnTo>
                  <a:lnTo>
                    <a:pt x="2949" y="0"/>
                  </a:lnTo>
                  <a:lnTo>
                    <a:pt x="2908" y="0"/>
                  </a:lnTo>
                  <a:lnTo>
                    <a:pt x="2869" y="1"/>
                  </a:lnTo>
                  <a:lnTo>
                    <a:pt x="2834" y="3"/>
                  </a:lnTo>
                  <a:lnTo>
                    <a:pt x="2806" y="7"/>
                  </a:lnTo>
                  <a:lnTo>
                    <a:pt x="2780" y="11"/>
                  </a:lnTo>
                  <a:lnTo>
                    <a:pt x="2761" y="17"/>
                  </a:lnTo>
                  <a:lnTo>
                    <a:pt x="2724" y="19"/>
                  </a:lnTo>
                  <a:lnTo>
                    <a:pt x="2689" y="24"/>
                  </a:lnTo>
                  <a:lnTo>
                    <a:pt x="2655" y="29"/>
                  </a:lnTo>
                  <a:lnTo>
                    <a:pt x="2620" y="35"/>
                  </a:lnTo>
                  <a:lnTo>
                    <a:pt x="2586" y="43"/>
                  </a:lnTo>
                  <a:lnTo>
                    <a:pt x="2552" y="53"/>
                  </a:lnTo>
                  <a:lnTo>
                    <a:pt x="2518" y="63"/>
                  </a:lnTo>
                  <a:lnTo>
                    <a:pt x="2486" y="73"/>
                  </a:lnTo>
                  <a:lnTo>
                    <a:pt x="2454" y="85"/>
                  </a:lnTo>
                  <a:lnTo>
                    <a:pt x="2423" y="97"/>
                  </a:lnTo>
                  <a:lnTo>
                    <a:pt x="2393" y="111"/>
                  </a:lnTo>
                  <a:lnTo>
                    <a:pt x="2363" y="125"/>
                  </a:lnTo>
                  <a:lnTo>
                    <a:pt x="2333" y="138"/>
                  </a:lnTo>
                  <a:lnTo>
                    <a:pt x="2306" y="153"/>
                  </a:lnTo>
                  <a:lnTo>
                    <a:pt x="2278" y="169"/>
                  </a:lnTo>
                  <a:lnTo>
                    <a:pt x="2252" y="184"/>
                  </a:lnTo>
                  <a:lnTo>
                    <a:pt x="2218" y="205"/>
                  </a:lnTo>
                  <a:lnTo>
                    <a:pt x="2187" y="224"/>
                  </a:lnTo>
                  <a:lnTo>
                    <a:pt x="2158" y="244"/>
                  </a:lnTo>
                  <a:lnTo>
                    <a:pt x="2132" y="262"/>
                  </a:lnTo>
                  <a:lnTo>
                    <a:pt x="2108" y="280"/>
                  </a:lnTo>
                  <a:lnTo>
                    <a:pt x="2086" y="298"/>
                  </a:lnTo>
                  <a:lnTo>
                    <a:pt x="2065" y="315"/>
                  </a:lnTo>
                  <a:lnTo>
                    <a:pt x="2046" y="332"/>
                  </a:lnTo>
                  <a:lnTo>
                    <a:pt x="2007" y="367"/>
                  </a:lnTo>
                  <a:lnTo>
                    <a:pt x="1968" y="405"/>
                  </a:lnTo>
                  <a:lnTo>
                    <a:pt x="1927" y="446"/>
                  </a:lnTo>
                  <a:lnTo>
                    <a:pt x="1878" y="491"/>
                  </a:lnTo>
                  <a:lnTo>
                    <a:pt x="1866" y="504"/>
                  </a:lnTo>
                  <a:lnTo>
                    <a:pt x="1853" y="517"/>
                  </a:lnTo>
                  <a:lnTo>
                    <a:pt x="1838" y="533"/>
                  </a:lnTo>
                  <a:lnTo>
                    <a:pt x="1823" y="550"/>
                  </a:lnTo>
                  <a:lnTo>
                    <a:pt x="1790" y="592"/>
                  </a:lnTo>
                  <a:lnTo>
                    <a:pt x="1754" y="637"/>
                  </a:lnTo>
                  <a:lnTo>
                    <a:pt x="1717" y="689"/>
                  </a:lnTo>
                  <a:lnTo>
                    <a:pt x="1679" y="744"/>
                  </a:lnTo>
                  <a:lnTo>
                    <a:pt x="1639" y="802"/>
                  </a:lnTo>
                  <a:lnTo>
                    <a:pt x="1600" y="863"/>
                  </a:lnTo>
                  <a:lnTo>
                    <a:pt x="1561" y="926"/>
                  </a:lnTo>
                  <a:lnTo>
                    <a:pt x="1524" y="988"/>
                  </a:lnTo>
                  <a:lnTo>
                    <a:pt x="1488" y="1051"/>
                  </a:lnTo>
                  <a:lnTo>
                    <a:pt x="1454" y="1111"/>
                  </a:lnTo>
                  <a:lnTo>
                    <a:pt x="1425" y="1170"/>
                  </a:lnTo>
                  <a:lnTo>
                    <a:pt x="1398" y="1226"/>
                  </a:lnTo>
                  <a:lnTo>
                    <a:pt x="1387" y="1252"/>
                  </a:lnTo>
                  <a:lnTo>
                    <a:pt x="1377" y="1277"/>
                  </a:lnTo>
                  <a:lnTo>
                    <a:pt x="1367" y="1301"/>
                  </a:lnTo>
                  <a:lnTo>
                    <a:pt x="1359" y="1323"/>
                  </a:lnTo>
                  <a:lnTo>
                    <a:pt x="1340" y="1362"/>
                  </a:lnTo>
                  <a:lnTo>
                    <a:pt x="1320" y="1404"/>
                  </a:lnTo>
                  <a:lnTo>
                    <a:pt x="1300" y="1449"/>
                  </a:lnTo>
                  <a:lnTo>
                    <a:pt x="1280" y="1496"/>
                  </a:lnTo>
                  <a:lnTo>
                    <a:pt x="1261" y="1545"/>
                  </a:lnTo>
                  <a:lnTo>
                    <a:pt x="1241" y="1596"/>
                  </a:lnTo>
                  <a:lnTo>
                    <a:pt x="1222" y="1648"/>
                  </a:lnTo>
                  <a:lnTo>
                    <a:pt x="1204" y="1702"/>
                  </a:lnTo>
                  <a:lnTo>
                    <a:pt x="1167" y="1808"/>
                  </a:lnTo>
                  <a:lnTo>
                    <a:pt x="1133" y="1915"/>
                  </a:lnTo>
                  <a:lnTo>
                    <a:pt x="1101" y="2016"/>
                  </a:lnTo>
                  <a:lnTo>
                    <a:pt x="1071" y="2110"/>
                  </a:lnTo>
                  <a:lnTo>
                    <a:pt x="1055" y="2162"/>
                  </a:lnTo>
                  <a:lnTo>
                    <a:pt x="1039" y="2213"/>
                  </a:lnTo>
                  <a:lnTo>
                    <a:pt x="1023" y="2264"/>
                  </a:lnTo>
                  <a:lnTo>
                    <a:pt x="1008" y="2315"/>
                  </a:lnTo>
                  <a:lnTo>
                    <a:pt x="992" y="2367"/>
                  </a:lnTo>
                  <a:lnTo>
                    <a:pt x="976" y="2418"/>
                  </a:lnTo>
                  <a:lnTo>
                    <a:pt x="960" y="2471"/>
                  </a:lnTo>
                  <a:lnTo>
                    <a:pt x="944" y="2523"/>
                  </a:lnTo>
                  <a:lnTo>
                    <a:pt x="929" y="2573"/>
                  </a:lnTo>
                  <a:lnTo>
                    <a:pt x="913" y="2626"/>
                  </a:lnTo>
                  <a:lnTo>
                    <a:pt x="896" y="2682"/>
                  </a:lnTo>
                  <a:lnTo>
                    <a:pt x="880" y="2740"/>
                  </a:lnTo>
                  <a:lnTo>
                    <a:pt x="864" y="2797"/>
                  </a:lnTo>
                  <a:lnTo>
                    <a:pt x="849" y="2852"/>
                  </a:lnTo>
                  <a:lnTo>
                    <a:pt x="836" y="2906"/>
                  </a:lnTo>
                  <a:lnTo>
                    <a:pt x="827" y="2955"/>
                  </a:lnTo>
                  <a:lnTo>
                    <a:pt x="818" y="2977"/>
                  </a:lnTo>
                  <a:lnTo>
                    <a:pt x="809" y="3003"/>
                  </a:lnTo>
                  <a:lnTo>
                    <a:pt x="800" y="3033"/>
                  </a:lnTo>
                  <a:lnTo>
                    <a:pt x="790" y="3067"/>
                  </a:lnTo>
                  <a:lnTo>
                    <a:pt x="770" y="3142"/>
                  </a:lnTo>
                  <a:lnTo>
                    <a:pt x="749" y="3225"/>
                  </a:lnTo>
                  <a:lnTo>
                    <a:pt x="730" y="3310"/>
                  </a:lnTo>
                  <a:lnTo>
                    <a:pt x="712" y="3390"/>
                  </a:lnTo>
                  <a:lnTo>
                    <a:pt x="696" y="3461"/>
                  </a:lnTo>
                  <a:lnTo>
                    <a:pt x="683" y="3519"/>
                  </a:lnTo>
                  <a:lnTo>
                    <a:pt x="666" y="3593"/>
                  </a:lnTo>
                  <a:lnTo>
                    <a:pt x="649" y="3667"/>
                  </a:lnTo>
                  <a:lnTo>
                    <a:pt x="633" y="3740"/>
                  </a:lnTo>
                  <a:lnTo>
                    <a:pt x="617" y="3813"/>
                  </a:lnTo>
                  <a:lnTo>
                    <a:pt x="601" y="3886"/>
                  </a:lnTo>
                  <a:lnTo>
                    <a:pt x="585" y="3960"/>
                  </a:lnTo>
                  <a:lnTo>
                    <a:pt x="569" y="4033"/>
                  </a:lnTo>
                  <a:lnTo>
                    <a:pt x="553" y="4108"/>
                  </a:lnTo>
                  <a:lnTo>
                    <a:pt x="537" y="4182"/>
                  </a:lnTo>
                  <a:lnTo>
                    <a:pt x="522" y="4256"/>
                  </a:lnTo>
                  <a:lnTo>
                    <a:pt x="506" y="4330"/>
                  </a:lnTo>
                  <a:lnTo>
                    <a:pt x="491" y="4406"/>
                  </a:lnTo>
                  <a:lnTo>
                    <a:pt x="476" y="4483"/>
                  </a:lnTo>
                  <a:lnTo>
                    <a:pt x="461" y="4559"/>
                  </a:lnTo>
                  <a:lnTo>
                    <a:pt x="447" y="4636"/>
                  </a:lnTo>
                  <a:lnTo>
                    <a:pt x="433" y="4714"/>
                  </a:lnTo>
                  <a:lnTo>
                    <a:pt x="419" y="4791"/>
                  </a:lnTo>
                  <a:lnTo>
                    <a:pt x="405" y="4868"/>
                  </a:lnTo>
                  <a:lnTo>
                    <a:pt x="392" y="4946"/>
                  </a:lnTo>
                  <a:lnTo>
                    <a:pt x="380" y="5024"/>
                  </a:lnTo>
                  <a:lnTo>
                    <a:pt x="367" y="5100"/>
                  </a:lnTo>
                  <a:lnTo>
                    <a:pt x="356" y="5177"/>
                  </a:lnTo>
                  <a:lnTo>
                    <a:pt x="346" y="5253"/>
                  </a:lnTo>
                  <a:lnTo>
                    <a:pt x="335" y="5328"/>
                  </a:lnTo>
                  <a:lnTo>
                    <a:pt x="320" y="5442"/>
                  </a:lnTo>
                  <a:lnTo>
                    <a:pt x="304" y="5555"/>
                  </a:lnTo>
                  <a:lnTo>
                    <a:pt x="289" y="5668"/>
                  </a:lnTo>
                  <a:lnTo>
                    <a:pt x="275" y="5781"/>
                  </a:lnTo>
                  <a:lnTo>
                    <a:pt x="259" y="5896"/>
                  </a:lnTo>
                  <a:lnTo>
                    <a:pt x="244" y="6009"/>
                  </a:lnTo>
                  <a:lnTo>
                    <a:pt x="229" y="6124"/>
                  </a:lnTo>
                  <a:lnTo>
                    <a:pt x="214" y="6238"/>
                  </a:lnTo>
                  <a:lnTo>
                    <a:pt x="199" y="6352"/>
                  </a:lnTo>
                  <a:lnTo>
                    <a:pt x="185" y="6467"/>
                  </a:lnTo>
                  <a:lnTo>
                    <a:pt x="173" y="6581"/>
                  </a:lnTo>
                  <a:lnTo>
                    <a:pt x="160" y="6697"/>
                  </a:lnTo>
                  <a:lnTo>
                    <a:pt x="148" y="6811"/>
                  </a:lnTo>
                  <a:lnTo>
                    <a:pt x="137" y="6927"/>
                  </a:lnTo>
                  <a:lnTo>
                    <a:pt x="127" y="7042"/>
                  </a:lnTo>
                  <a:lnTo>
                    <a:pt x="119" y="7158"/>
                  </a:lnTo>
                  <a:lnTo>
                    <a:pt x="105" y="7319"/>
                  </a:lnTo>
                  <a:lnTo>
                    <a:pt x="92" y="7481"/>
                  </a:lnTo>
                  <a:lnTo>
                    <a:pt x="79" y="7643"/>
                  </a:lnTo>
                  <a:lnTo>
                    <a:pt x="65" y="7805"/>
                  </a:lnTo>
                  <a:lnTo>
                    <a:pt x="54" y="7967"/>
                  </a:lnTo>
                  <a:lnTo>
                    <a:pt x="42" y="8130"/>
                  </a:lnTo>
                  <a:lnTo>
                    <a:pt x="31" y="8293"/>
                  </a:lnTo>
                  <a:lnTo>
                    <a:pt x="22" y="8456"/>
                  </a:lnTo>
                  <a:lnTo>
                    <a:pt x="14" y="8619"/>
                  </a:lnTo>
                  <a:lnTo>
                    <a:pt x="8" y="8782"/>
                  </a:lnTo>
                  <a:lnTo>
                    <a:pt x="3" y="8946"/>
                  </a:lnTo>
                  <a:lnTo>
                    <a:pt x="0" y="9109"/>
                  </a:lnTo>
                  <a:lnTo>
                    <a:pt x="0" y="9190"/>
                  </a:lnTo>
                  <a:lnTo>
                    <a:pt x="0" y="9273"/>
                  </a:lnTo>
                  <a:lnTo>
                    <a:pt x="1" y="9354"/>
                  </a:lnTo>
                  <a:lnTo>
                    <a:pt x="2" y="9437"/>
                  </a:lnTo>
                  <a:lnTo>
                    <a:pt x="3" y="9518"/>
                  </a:lnTo>
                  <a:lnTo>
                    <a:pt x="7" y="9599"/>
                  </a:lnTo>
                  <a:lnTo>
                    <a:pt x="10" y="9681"/>
                  </a:lnTo>
                  <a:lnTo>
                    <a:pt x="14" y="9763"/>
                  </a:lnTo>
                  <a:lnTo>
                    <a:pt x="21" y="9885"/>
                  </a:lnTo>
                  <a:lnTo>
                    <a:pt x="27" y="10006"/>
                  </a:lnTo>
                  <a:lnTo>
                    <a:pt x="34" y="10128"/>
                  </a:lnTo>
                  <a:lnTo>
                    <a:pt x="41" y="10249"/>
                  </a:lnTo>
                  <a:lnTo>
                    <a:pt x="47" y="10369"/>
                  </a:lnTo>
                  <a:lnTo>
                    <a:pt x="54" y="10490"/>
                  </a:lnTo>
                  <a:lnTo>
                    <a:pt x="61" y="10611"/>
                  </a:lnTo>
                  <a:lnTo>
                    <a:pt x="68" y="10731"/>
                  </a:lnTo>
                  <a:lnTo>
                    <a:pt x="74" y="10851"/>
                  </a:lnTo>
                  <a:lnTo>
                    <a:pt x="82" y="10971"/>
                  </a:lnTo>
                  <a:lnTo>
                    <a:pt x="90" y="11091"/>
                  </a:lnTo>
                  <a:lnTo>
                    <a:pt x="98" y="11213"/>
                  </a:lnTo>
                  <a:lnTo>
                    <a:pt x="108" y="11333"/>
                  </a:lnTo>
                  <a:lnTo>
                    <a:pt x="117" y="11454"/>
                  </a:lnTo>
                  <a:lnTo>
                    <a:pt x="127" y="11575"/>
                  </a:lnTo>
                  <a:lnTo>
                    <a:pt x="138" y="11697"/>
                  </a:lnTo>
                  <a:lnTo>
                    <a:pt x="149" y="11811"/>
                  </a:lnTo>
                  <a:lnTo>
                    <a:pt x="160" y="11926"/>
                  </a:lnTo>
                  <a:lnTo>
                    <a:pt x="172" y="12040"/>
                  </a:lnTo>
                  <a:lnTo>
                    <a:pt x="184" y="12154"/>
                  </a:lnTo>
                  <a:lnTo>
                    <a:pt x="197" y="12269"/>
                  </a:lnTo>
                  <a:lnTo>
                    <a:pt x="209" y="12383"/>
                  </a:lnTo>
                  <a:lnTo>
                    <a:pt x="223" y="12498"/>
                  </a:lnTo>
                  <a:lnTo>
                    <a:pt x="237" y="12611"/>
                  </a:lnTo>
                  <a:lnTo>
                    <a:pt x="252" y="12725"/>
                  </a:lnTo>
                  <a:lnTo>
                    <a:pt x="267" y="12839"/>
                  </a:lnTo>
                  <a:lnTo>
                    <a:pt x="281" y="12953"/>
                  </a:lnTo>
                  <a:lnTo>
                    <a:pt x="298" y="13066"/>
                  </a:lnTo>
                  <a:lnTo>
                    <a:pt x="314" y="13180"/>
                  </a:lnTo>
                  <a:lnTo>
                    <a:pt x="331" y="13293"/>
                  </a:lnTo>
                  <a:lnTo>
                    <a:pt x="349" y="13406"/>
                  </a:lnTo>
                  <a:lnTo>
                    <a:pt x="366" y="13519"/>
                  </a:lnTo>
                  <a:lnTo>
                    <a:pt x="398" y="13707"/>
                  </a:lnTo>
                  <a:lnTo>
                    <a:pt x="433" y="13905"/>
                  </a:lnTo>
                  <a:lnTo>
                    <a:pt x="470" y="14110"/>
                  </a:lnTo>
                  <a:lnTo>
                    <a:pt x="511" y="14322"/>
                  </a:lnTo>
                  <a:lnTo>
                    <a:pt x="555" y="14538"/>
                  </a:lnTo>
                  <a:lnTo>
                    <a:pt x="602" y="14757"/>
                  </a:lnTo>
                  <a:lnTo>
                    <a:pt x="650" y="14979"/>
                  </a:lnTo>
                  <a:lnTo>
                    <a:pt x="701" y="15200"/>
                  </a:lnTo>
                  <a:lnTo>
                    <a:pt x="729" y="15311"/>
                  </a:lnTo>
                  <a:lnTo>
                    <a:pt x="755" y="15420"/>
                  </a:lnTo>
                  <a:lnTo>
                    <a:pt x="784" y="15530"/>
                  </a:lnTo>
                  <a:lnTo>
                    <a:pt x="811" y="15639"/>
                  </a:lnTo>
                  <a:lnTo>
                    <a:pt x="840" y="15747"/>
                  </a:lnTo>
                  <a:lnTo>
                    <a:pt x="870" y="15854"/>
                  </a:lnTo>
                  <a:lnTo>
                    <a:pt x="899" y="15959"/>
                  </a:lnTo>
                  <a:lnTo>
                    <a:pt x="929" y="16064"/>
                  </a:lnTo>
                  <a:lnTo>
                    <a:pt x="960" y="16165"/>
                  </a:lnTo>
                  <a:lnTo>
                    <a:pt x="991" y="16266"/>
                  </a:lnTo>
                  <a:lnTo>
                    <a:pt x="1022" y="16365"/>
                  </a:lnTo>
                  <a:lnTo>
                    <a:pt x="1054" y="16461"/>
                  </a:lnTo>
                  <a:lnTo>
                    <a:pt x="1086" y="16556"/>
                  </a:lnTo>
                  <a:lnTo>
                    <a:pt x="1119" y="16646"/>
                  </a:lnTo>
                  <a:lnTo>
                    <a:pt x="1152" y="16735"/>
                  </a:lnTo>
                  <a:lnTo>
                    <a:pt x="1185" y="16821"/>
                  </a:lnTo>
                  <a:lnTo>
                    <a:pt x="1225" y="16920"/>
                  </a:lnTo>
                  <a:lnTo>
                    <a:pt x="1267" y="17017"/>
                  </a:lnTo>
                  <a:lnTo>
                    <a:pt x="1288" y="17064"/>
                  </a:lnTo>
                  <a:lnTo>
                    <a:pt x="1310" y="17111"/>
                  </a:lnTo>
                  <a:lnTo>
                    <a:pt x="1332" y="17156"/>
                  </a:lnTo>
                  <a:lnTo>
                    <a:pt x="1354" y="17202"/>
                  </a:lnTo>
                  <a:lnTo>
                    <a:pt x="1377" y="17247"/>
                  </a:lnTo>
                  <a:lnTo>
                    <a:pt x="1399" y="17290"/>
                  </a:lnTo>
                  <a:lnTo>
                    <a:pt x="1423" y="17334"/>
                  </a:lnTo>
                  <a:lnTo>
                    <a:pt x="1447" y="17376"/>
                  </a:lnTo>
                  <a:lnTo>
                    <a:pt x="1471" y="17417"/>
                  </a:lnTo>
                  <a:lnTo>
                    <a:pt x="1496" y="17459"/>
                  </a:lnTo>
                  <a:lnTo>
                    <a:pt x="1521" y="17499"/>
                  </a:lnTo>
                  <a:lnTo>
                    <a:pt x="1546" y="17538"/>
                  </a:lnTo>
                  <a:lnTo>
                    <a:pt x="1572" y="17576"/>
                  </a:lnTo>
                  <a:lnTo>
                    <a:pt x="1598" y="17614"/>
                  </a:lnTo>
                  <a:lnTo>
                    <a:pt x="1625" y="17651"/>
                  </a:lnTo>
                  <a:lnTo>
                    <a:pt x="1652" y="17687"/>
                  </a:lnTo>
                  <a:lnTo>
                    <a:pt x="1680" y="17722"/>
                  </a:lnTo>
                  <a:lnTo>
                    <a:pt x="1707" y="17756"/>
                  </a:lnTo>
                  <a:lnTo>
                    <a:pt x="1736" y="17789"/>
                  </a:lnTo>
                  <a:lnTo>
                    <a:pt x="1764" y="17822"/>
                  </a:lnTo>
                  <a:lnTo>
                    <a:pt x="1794" y="17853"/>
                  </a:lnTo>
                  <a:lnTo>
                    <a:pt x="1824" y="17884"/>
                  </a:lnTo>
                  <a:lnTo>
                    <a:pt x="1854" y="17914"/>
                  </a:lnTo>
                  <a:lnTo>
                    <a:pt x="1885" y="17943"/>
                  </a:lnTo>
                  <a:lnTo>
                    <a:pt x="1917" y="17970"/>
                  </a:lnTo>
                  <a:lnTo>
                    <a:pt x="1947" y="17998"/>
                  </a:lnTo>
                  <a:lnTo>
                    <a:pt x="1980" y="18023"/>
                  </a:lnTo>
                  <a:lnTo>
                    <a:pt x="2013" y="18048"/>
                  </a:lnTo>
                  <a:lnTo>
                    <a:pt x="2052" y="18075"/>
                  </a:lnTo>
                  <a:lnTo>
                    <a:pt x="2091" y="18102"/>
                  </a:lnTo>
                  <a:lnTo>
                    <a:pt x="2132" y="18127"/>
                  </a:lnTo>
                  <a:lnTo>
                    <a:pt x="2173" y="18151"/>
                  </a:lnTo>
                  <a:lnTo>
                    <a:pt x="2215" y="18174"/>
                  </a:lnTo>
                  <a:lnTo>
                    <a:pt x="2259" y="18194"/>
                  </a:lnTo>
                  <a:lnTo>
                    <a:pt x="2303" y="18214"/>
                  </a:lnTo>
                  <a:lnTo>
                    <a:pt x="2349" y="18232"/>
                  </a:lnTo>
                  <a:lnTo>
                    <a:pt x="2397" y="18249"/>
                  </a:lnTo>
                  <a:lnTo>
                    <a:pt x="2446" y="18264"/>
                  </a:lnTo>
                  <a:lnTo>
                    <a:pt x="2497" y="18277"/>
                  </a:lnTo>
                  <a:lnTo>
                    <a:pt x="2549" y="18287"/>
                  </a:lnTo>
                  <a:lnTo>
                    <a:pt x="2576" y="18292"/>
                  </a:lnTo>
                  <a:lnTo>
                    <a:pt x="2603" y="18296"/>
                  </a:lnTo>
                  <a:lnTo>
                    <a:pt x="2631" y="18300"/>
                  </a:lnTo>
                  <a:lnTo>
                    <a:pt x="2658" y="18303"/>
                  </a:lnTo>
                  <a:lnTo>
                    <a:pt x="2687" y="18305"/>
                  </a:lnTo>
                  <a:lnTo>
                    <a:pt x="2716" y="18308"/>
                  </a:lnTo>
                  <a:lnTo>
                    <a:pt x="2745" y="18309"/>
                  </a:lnTo>
                  <a:lnTo>
                    <a:pt x="2776" y="18309"/>
                  </a:lnTo>
                  <a:lnTo>
                    <a:pt x="2835" y="18310"/>
                  </a:lnTo>
                  <a:lnTo>
                    <a:pt x="2896" y="18310"/>
                  </a:lnTo>
                  <a:lnTo>
                    <a:pt x="2957" y="18309"/>
                  </a:lnTo>
                  <a:lnTo>
                    <a:pt x="3017" y="18308"/>
                  </a:lnTo>
                  <a:lnTo>
                    <a:pt x="3079" y="18305"/>
                  </a:lnTo>
                  <a:lnTo>
                    <a:pt x="3140" y="18303"/>
                  </a:lnTo>
                  <a:lnTo>
                    <a:pt x="3200" y="18300"/>
                  </a:lnTo>
                  <a:lnTo>
                    <a:pt x="3262" y="18296"/>
                  </a:lnTo>
                  <a:lnTo>
                    <a:pt x="3323" y="18292"/>
                  </a:lnTo>
                  <a:lnTo>
                    <a:pt x="3384" y="18287"/>
                  </a:lnTo>
                  <a:lnTo>
                    <a:pt x="3444" y="18283"/>
                  </a:lnTo>
                  <a:lnTo>
                    <a:pt x="3505" y="18277"/>
                  </a:lnTo>
                  <a:lnTo>
                    <a:pt x="3565" y="18271"/>
                  </a:lnTo>
                  <a:lnTo>
                    <a:pt x="3625" y="18264"/>
                  </a:lnTo>
                  <a:lnTo>
                    <a:pt x="3686" y="18257"/>
                  </a:lnTo>
                  <a:lnTo>
                    <a:pt x="3745" y="18250"/>
                  </a:lnTo>
                  <a:lnTo>
                    <a:pt x="3829" y="18240"/>
                  </a:lnTo>
                  <a:lnTo>
                    <a:pt x="3912" y="18230"/>
                  </a:lnTo>
                  <a:lnTo>
                    <a:pt x="3995" y="18218"/>
                  </a:lnTo>
                  <a:lnTo>
                    <a:pt x="4076" y="18206"/>
                  </a:lnTo>
                  <a:lnTo>
                    <a:pt x="4157" y="18192"/>
                  </a:lnTo>
                  <a:lnTo>
                    <a:pt x="4236" y="18178"/>
                  </a:lnTo>
                  <a:lnTo>
                    <a:pt x="4316" y="18165"/>
                  </a:lnTo>
                  <a:lnTo>
                    <a:pt x="4395" y="18150"/>
                  </a:lnTo>
                  <a:lnTo>
                    <a:pt x="4473" y="18134"/>
                  </a:lnTo>
                  <a:lnTo>
                    <a:pt x="4549" y="18118"/>
                  </a:lnTo>
                  <a:lnTo>
                    <a:pt x="4627" y="18101"/>
                  </a:lnTo>
                  <a:lnTo>
                    <a:pt x="4704" y="18083"/>
                  </a:lnTo>
                  <a:lnTo>
                    <a:pt x="4779" y="18066"/>
                  </a:lnTo>
                  <a:lnTo>
                    <a:pt x="4855" y="18048"/>
                  </a:lnTo>
                  <a:lnTo>
                    <a:pt x="4931" y="18028"/>
                  </a:lnTo>
                  <a:lnTo>
                    <a:pt x="5006" y="18009"/>
                  </a:lnTo>
                  <a:lnTo>
                    <a:pt x="5156" y="17969"/>
                  </a:lnTo>
                  <a:lnTo>
                    <a:pt x="5305" y="17927"/>
                  </a:lnTo>
                  <a:lnTo>
                    <a:pt x="5455" y="17882"/>
                  </a:lnTo>
                  <a:lnTo>
                    <a:pt x="5603" y="17836"/>
                  </a:lnTo>
                  <a:lnTo>
                    <a:pt x="5753" y="17789"/>
                  </a:lnTo>
                  <a:lnTo>
                    <a:pt x="5904" y="17741"/>
                  </a:lnTo>
                  <a:lnTo>
                    <a:pt x="6056" y="17691"/>
                  </a:lnTo>
                  <a:lnTo>
                    <a:pt x="6211" y="17639"/>
                  </a:lnTo>
                  <a:lnTo>
                    <a:pt x="6273" y="17619"/>
                  </a:lnTo>
                  <a:lnTo>
                    <a:pt x="6368" y="17586"/>
                  </a:lnTo>
                  <a:lnTo>
                    <a:pt x="6483" y="17544"/>
                  </a:lnTo>
                  <a:lnTo>
                    <a:pt x="6608" y="17501"/>
                  </a:lnTo>
                  <a:lnTo>
                    <a:pt x="6729" y="17456"/>
                  </a:lnTo>
                  <a:lnTo>
                    <a:pt x="6837" y="17415"/>
                  </a:lnTo>
                  <a:lnTo>
                    <a:pt x="6881" y="17398"/>
                  </a:lnTo>
                  <a:lnTo>
                    <a:pt x="6917" y="17382"/>
                  </a:lnTo>
                  <a:lnTo>
                    <a:pt x="6943" y="17369"/>
                  </a:lnTo>
                  <a:lnTo>
                    <a:pt x="6959" y="17361"/>
                  </a:lnTo>
                  <a:lnTo>
                    <a:pt x="6994" y="17351"/>
                  </a:lnTo>
                  <a:lnTo>
                    <a:pt x="7046" y="17333"/>
                  </a:lnTo>
                  <a:lnTo>
                    <a:pt x="7116" y="17308"/>
                  </a:lnTo>
                  <a:lnTo>
                    <a:pt x="7200" y="17277"/>
                  </a:lnTo>
                  <a:lnTo>
                    <a:pt x="7294" y="17240"/>
                  </a:lnTo>
                  <a:lnTo>
                    <a:pt x="7397" y="17200"/>
                  </a:lnTo>
                  <a:lnTo>
                    <a:pt x="7507" y="17156"/>
                  </a:lnTo>
                  <a:lnTo>
                    <a:pt x="7621" y="17112"/>
                  </a:lnTo>
                  <a:lnTo>
                    <a:pt x="7734" y="17066"/>
                  </a:lnTo>
                  <a:lnTo>
                    <a:pt x="7846" y="17021"/>
                  </a:lnTo>
                  <a:lnTo>
                    <a:pt x="7955" y="16977"/>
                  </a:lnTo>
                  <a:lnTo>
                    <a:pt x="8057" y="16937"/>
                  </a:lnTo>
                  <a:lnTo>
                    <a:pt x="8148" y="16899"/>
                  </a:lnTo>
                  <a:lnTo>
                    <a:pt x="8228" y="16867"/>
                  </a:lnTo>
                  <a:lnTo>
                    <a:pt x="8295" y="16841"/>
                  </a:lnTo>
                  <a:lnTo>
                    <a:pt x="8344" y="16821"/>
                  </a:lnTo>
                  <a:lnTo>
                    <a:pt x="8396" y="16799"/>
                  </a:lnTo>
                  <a:lnTo>
                    <a:pt x="8454" y="16778"/>
                  </a:lnTo>
                  <a:lnTo>
                    <a:pt x="8513" y="16755"/>
                  </a:lnTo>
                  <a:lnTo>
                    <a:pt x="8574" y="16731"/>
                  </a:lnTo>
                  <a:lnTo>
                    <a:pt x="8633" y="16707"/>
                  </a:lnTo>
                  <a:lnTo>
                    <a:pt x="8690" y="16682"/>
                  </a:lnTo>
                  <a:lnTo>
                    <a:pt x="8744" y="16658"/>
                  </a:lnTo>
                  <a:lnTo>
                    <a:pt x="8792" y="16633"/>
                  </a:lnTo>
                  <a:lnTo>
                    <a:pt x="8829" y="16621"/>
                  </a:lnTo>
                  <a:lnTo>
                    <a:pt x="8872" y="16605"/>
                  </a:lnTo>
                  <a:lnTo>
                    <a:pt x="8918" y="16587"/>
                  </a:lnTo>
                  <a:lnTo>
                    <a:pt x="8965" y="16565"/>
                  </a:lnTo>
                  <a:lnTo>
                    <a:pt x="9013" y="16543"/>
                  </a:lnTo>
                  <a:lnTo>
                    <a:pt x="9059" y="16522"/>
                  </a:lnTo>
                  <a:lnTo>
                    <a:pt x="9100" y="16502"/>
                  </a:lnTo>
                  <a:lnTo>
                    <a:pt x="9137" y="16485"/>
                  </a:lnTo>
                  <a:lnTo>
                    <a:pt x="9178" y="16465"/>
                  </a:lnTo>
                  <a:lnTo>
                    <a:pt x="9220" y="16447"/>
                  </a:lnTo>
                  <a:lnTo>
                    <a:pt x="9263" y="16429"/>
                  </a:lnTo>
                  <a:lnTo>
                    <a:pt x="9304" y="16409"/>
                  </a:lnTo>
                  <a:lnTo>
                    <a:pt x="9346" y="16391"/>
                  </a:lnTo>
                  <a:lnTo>
                    <a:pt x="9388" y="16371"/>
                  </a:lnTo>
                  <a:lnTo>
                    <a:pt x="9430" y="16352"/>
                  </a:lnTo>
                  <a:lnTo>
                    <a:pt x="9471" y="16331"/>
                  </a:lnTo>
                  <a:lnTo>
                    <a:pt x="9550" y="16292"/>
                  </a:lnTo>
                  <a:lnTo>
                    <a:pt x="9633" y="16254"/>
                  </a:lnTo>
                  <a:lnTo>
                    <a:pt x="9720" y="16214"/>
                  </a:lnTo>
                  <a:lnTo>
                    <a:pt x="9807" y="16173"/>
                  </a:lnTo>
                  <a:lnTo>
                    <a:pt x="9894" y="16132"/>
                  </a:lnTo>
                  <a:lnTo>
                    <a:pt x="9978" y="16091"/>
                  </a:lnTo>
                  <a:lnTo>
                    <a:pt x="10018" y="16069"/>
                  </a:lnTo>
                  <a:lnTo>
                    <a:pt x="10057" y="16048"/>
                  </a:lnTo>
                  <a:lnTo>
                    <a:pt x="10093" y="16026"/>
                  </a:lnTo>
                  <a:lnTo>
                    <a:pt x="10129" y="16004"/>
                  </a:lnTo>
                  <a:lnTo>
                    <a:pt x="10153" y="15994"/>
                  </a:lnTo>
                  <a:lnTo>
                    <a:pt x="10184" y="15979"/>
                  </a:lnTo>
                  <a:lnTo>
                    <a:pt x="10220" y="15962"/>
                  </a:lnTo>
                  <a:lnTo>
                    <a:pt x="10263" y="15939"/>
                  </a:lnTo>
                  <a:lnTo>
                    <a:pt x="10363" y="15886"/>
                  </a:lnTo>
                  <a:lnTo>
                    <a:pt x="10482" y="15821"/>
                  </a:lnTo>
                  <a:lnTo>
                    <a:pt x="10614" y="15748"/>
                  </a:lnTo>
                  <a:lnTo>
                    <a:pt x="10756" y="15669"/>
                  </a:lnTo>
                  <a:lnTo>
                    <a:pt x="10903" y="15584"/>
                  </a:lnTo>
                  <a:lnTo>
                    <a:pt x="11053" y="15498"/>
                  </a:lnTo>
                  <a:lnTo>
                    <a:pt x="11202" y="15411"/>
                  </a:lnTo>
                  <a:lnTo>
                    <a:pt x="11344" y="15328"/>
                  </a:lnTo>
                  <a:lnTo>
                    <a:pt x="11477" y="15249"/>
                  </a:lnTo>
                  <a:lnTo>
                    <a:pt x="11597" y="15176"/>
                  </a:lnTo>
                  <a:lnTo>
                    <a:pt x="11700" y="15111"/>
                  </a:lnTo>
                  <a:lnTo>
                    <a:pt x="11781" y="15060"/>
                  </a:lnTo>
                  <a:lnTo>
                    <a:pt x="11813" y="15038"/>
                  </a:lnTo>
                  <a:lnTo>
                    <a:pt x="11838" y="15021"/>
                  </a:lnTo>
                  <a:lnTo>
                    <a:pt x="11857" y="15007"/>
                  </a:lnTo>
                  <a:lnTo>
                    <a:pt x="11867" y="14997"/>
                  </a:lnTo>
                  <a:lnTo>
                    <a:pt x="11879" y="14991"/>
                  </a:lnTo>
                  <a:lnTo>
                    <a:pt x="11898" y="14982"/>
                  </a:lnTo>
                  <a:lnTo>
                    <a:pt x="11919" y="14970"/>
                  </a:lnTo>
                  <a:lnTo>
                    <a:pt x="11947" y="14954"/>
                  </a:lnTo>
                  <a:lnTo>
                    <a:pt x="12012" y="14913"/>
                  </a:lnTo>
                  <a:lnTo>
                    <a:pt x="12090" y="14864"/>
                  </a:lnTo>
                  <a:lnTo>
                    <a:pt x="12179" y="14806"/>
                  </a:lnTo>
                  <a:lnTo>
                    <a:pt x="12276" y="14741"/>
                  </a:lnTo>
                  <a:lnTo>
                    <a:pt x="12379" y="14672"/>
                  </a:lnTo>
                  <a:lnTo>
                    <a:pt x="12485" y="14600"/>
                  </a:lnTo>
                  <a:lnTo>
                    <a:pt x="12590" y="14528"/>
                  </a:lnTo>
                  <a:lnTo>
                    <a:pt x="12694" y="14457"/>
                  </a:lnTo>
                  <a:lnTo>
                    <a:pt x="12791" y="14388"/>
                  </a:lnTo>
                  <a:lnTo>
                    <a:pt x="12883" y="14324"/>
                  </a:lnTo>
                  <a:lnTo>
                    <a:pt x="12963" y="14267"/>
                  </a:lnTo>
                  <a:lnTo>
                    <a:pt x="13031" y="14218"/>
                  </a:lnTo>
                  <a:lnTo>
                    <a:pt x="13083" y="14179"/>
                  </a:lnTo>
                  <a:lnTo>
                    <a:pt x="13116" y="14152"/>
                  </a:lnTo>
                  <a:lnTo>
                    <a:pt x="13131" y="14143"/>
                  </a:lnTo>
                  <a:lnTo>
                    <a:pt x="13152" y="14131"/>
                  </a:lnTo>
                  <a:lnTo>
                    <a:pt x="13179" y="14112"/>
                  </a:lnTo>
                  <a:lnTo>
                    <a:pt x="13212" y="14088"/>
                  </a:lnTo>
                  <a:lnTo>
                    <a:pt x="13294" y="14030"/>
                  </a:lnTo>
                  <a:lnTo>
                    <a:pt x="13392" y="13958"/>
                  </a:lnTo>
                  <a:lnTo>
                    <a:pt x="13505" y="13873"/>
                  </a:lnTo>
                  <a:lnTo>
                    <a:pt x="13628" y="13779"/>
                  </a:lnTo>
                  <a:lnTo>
                    <a:pt x="13758" y="13680"/>
                  </a:lnTo>
                  <a:lnTo>
                    <a:pt x="13891" y="13578"/>
                  </a:lnTo>
                  <a:lnTo>
                    <a:pt x="14024" y="13475"/>
                  </a:lnTo>
                  <a:lnTo>
                    <a:pt x="14153" y="13374"/>
                  </a:lnTo>
                  <a:lnTo>
                    <a:pt x="14274" y="13278"/>
                  </a:lnTo>
                  <a:lnTo>
                    <a:pt x="14385" y="13190"/>
                  </a:lnTo>
                  <a:lnTo>
                    <a:pt x="14481" y="13112"/>
                  </a:lnTo>
                  <a:lnTo>
                    <a:pt x="14559" y="13048"/>
                  </a:lnTo>
                  <a:lnTo>
                    <a:pt x="14590" y="13022"/>
                  </a:lnTo>
                  <a:lnTo>
                    <a:pt x="14615" y="13000"/>
                  </a:lnTo>
                  <a:lnTo>
                    <a:pt x="14634" y="12982"/>
                  </a:lnTo>
                  <a:lnTo>
                    <a:pt x="14645" y="12970"/>
                  </a:lnTo>
                  <a:lnTo>
                    <a:pt x="14658" y="12963"/>
                  </a:lnTo>
                  <a:lnTo>
                    <a:pt x="14673" y="12954"/>
                  </a:lnTo>
                  <a:lnTo>
                    <a:pt x="14690" y="12942"/>
                  </a:lnTo>
                  <a:lnTo>
                    <a:pt x="14708" y="12928"/>
                  </a:lnTo>
                  <a:lnTo>
                    <a:pt x="14751" y="12895"/>
                  </a:lnTo>
                  <a:lnTo>
                    <a:pt x="14802" y="12854"/>
                  </a:lnTo>
                  <a:lnTo>
                    <a:pt x="14857" y="12807"/>
                  </a:lnTo>
                  <a:lnTo>
                    <a:pt x="14917" y="12756"/>
                  </a:lnTo>
                  <a:lnTo>
                    <a:pt x="14979" y="12701"/>
                  </a:lnTo>
                  <a:lnTo>
                    <a:pt x="15044" y="12645"/>
                  </a:lnTo>
                  <a:lnTo>
                    <a:pt x="15110" y="12587"/>
                  </a:lnTo>
                  <a:lnTo>
                    <a:pt x="15175" y="12530"/>
                  </a:lnTo>
                  <a:lnTo>
                    <a:pt x="15238" y="12475"/>
                  </a:lnTo>
                  <a:lnTo>
                    <a:pt x="15298" y="12421"/>
                  </a:lnTo>
                  <a:lnTo>
                    <a:pt x="15354" y="12372"/>
                  </a:lnTo>
                  <a:lnTo>
                    <a:pt x="15405" y="12328"/>
                  </a:lnTo>
                  <a:lnTo>
                    <a:pt x="15451" y="12291"/>
                  </a:lnTo>
                  <a:lnTo>
                    <a:pt x="15487" y="12261"/>
                  </a:lnTo>
                  <a:lnTo>
                    <a:pt x="15508" y="12245"/>
                  </a:lnTo>
                  <a:lnTo>
                    <a:pt x="15520" y="12233"/>
                  </a:lnTo>
                  <a:lnTo>
                    <a:pt x="15534" y="12220"/>
                  </a:lnTo>
                  <a:lnTo>
                    <a:pt x="15555" y="12200"/>
                  </a:lnTo>
                  <a:lnTo>
                    <a:pt x="15765" y="12013"/>
                  </a:lnTo>
                  <a:lnTo>
                    <a:pt x="15798" y="11979"/>
                  </a:lnTo>
                  <a:lnTo>
                    <a:pt x="15830" y="11947"/>
                  </a:lnTo>
                  <a:lnTo>
                    <a:pt x="15863" y="11915"/>
                  </a:lnTo>
                  <a:lnTo>
                    <a:pt x="15895" y="11884"/>
                  </a:lnTo>
                  <a:lnTo>
                    <a:pt x="15927" y="11853"/>
                  </a:lnTo>
                  <a:lnTo>
                    <a:pt x="15959" y="11823"/>
                  </a:lnTo>
                  <a:lnTo>
                    <a:pt x="15992" y="11790"/>
                  </a:lnTo>
                  <a:lnTo>
                    <a:pt x="16025" y="11758"/>
                  </a:lnTo>
                  <a:lnTo>
                    <a:pt x="16052" y="11733"/>
                  </a:lnTo>
                  <a:lnTo>
                    <a:pt x="16089" y="11696"/>
                  </a:lnTo>
                  <a:lnTo>
                    <a:pt x="16136" y="11649"/>
                  </a:lnTo>
                  <a:lnTo>
                    <a:pt x="16190" y="11595"/>
                  </a:lnTo>
                  <a:lnTo>
                    <a:pt x="16248" y="11535"/>
                  </a:lnTo>
                  <a:lnTo>
                    <a:pt x="16311" y="11470"/>
                  </a:lnTo>
                  <a:lnTo>
                    <a:pt x="16377" y="11403"/>
                  </a:lnTo>
                  <a:lnTo>
                    <a:pt x="16443" y="11335"/>
                  </a:lnTo>
                  <a:lnTo>
                    <a:pt x="16508" y="11268"/>
                  </a:lnTo>
                  <a:lnTo>
                    <a:pt x="16571" y="11202"/>
                  </a:lnTo>
                  <a:lnTo>
                    <a:pt x="16629" y="11140"/>
                  </a:lnTo>
                  <a:lnTo>
                    <a:pt x="16681" y="11084"/>
                  </a:lnTo>
                  <a:lnTo>
                    <a:pt x="16726" y="11036"/>
                  </a:lnTo>
                  <a:lnTo>
                    <a:pt x="16761" y="10997"/>
                  </a:lnTo>
                  <a:lnTo>
                    <a:pt x="16786" y="10969"/>
                  </a:lnTo>
                  <a:lnTo>
                    <a:pt x="16797" y="10953"/>
                  </a:lnTo>
                  <a:lnTo>
                    <a:pt x="16818" y="10935"/>
                  </a:lnTo>
                  <a:lnTo>
                    <a:pt x="16837" y="10915"/>
                  </a:lnTo>
                  <a:lnTo>
                    <a:pt x="16856" y="10896"/>
                  </a:lnTo>
                  <a:lnTo>
                    <a:pt x="16874" y="10875"/>
                  </a:lnTo>
                  <a:lnTo>
                    <a:pt x="16908" y="10833"/>
                  </a:lnTo>
                  <a:lnTo>
                    <a:pt x="16943" y="10789"/>
                  </a:lnTo>
                  <a:lnTo>
                    <a:pt x="17006" y="10707"/>
                  </a:lnTo>
                  <a:lnTo>
                    <a:pt x="17067" y="10626"/>
                  </a:lnTo>
                  <a:lnTo>
                    <a:pt x="17128" y="10543"/>
                  </a:lnTo>
                  <a:lnTo>
                    <a:pt x="17185" y="10462"/>
                  </a:lnTo>
                  <a:lnTo>
                    <a:pt x="17214" y="10421"/>
                  </a:lnTo>
                  <a:lnTo>
                    <a:pt x="17241" y="10379"/>
                  </a:lnTo>
                  <a:lnTo>
                    <a:pt x="17269" y="10337"/>
                  </a:lnTo>
                  <a:lnTo>
                    <a:pt x="17295" y="10296"/>
                  </a:lnTo>
                  <a:lnTo>
                    <a:pt x="17321" y="10254"/>
                  </a:lnTo>
                  <a:lnTo>
                    <a:pt x="17347" y="10211"/>
                  </a:lnTo>
                  <a:lnTo>
                    <a:pt x="17372" y="10169"/>
                  </a:lnTo>
                  <a:lnTo>
                    <a:pt x="17396" y="10125"/>
                  </a:lnTo>
                  <a:lnTo>
                    <a:pt x="17419" y="10081"/>
                  </a:lnTo>
                  <a:lnTo>
                    <a:pt x="17442" y="10037"/>
                  </a:lnTo>
                  <a:lnTo>
                    <a:pt x="17463" y="9992"/>
                  </a:lnTo>
                  <a:lnTo>
                    <a:pt x="17485" y="9946"/>
                  </a:lnTo>
                  <a:lnTo>
                    <a:pt x="17505" y="9900"/>
                  </a:lnTo>
                  <a:lnTo>
                    <a:pt x="17524" y="9853"/>
                  </a:lnTo>
                  <a:lnTo>
                    <a:pt x="17543" y="9805"/>
                  </a:lnTo>
                  <a:lnTo>
                    <a:pt x="17561" y="9757"/>
                  </a:lnTo>
                  <a:lnTo>
                    <a:pt x="17578" y="9708"/>
                  </a:lnTo>
                  <a:lnTo>
                    <a:pt x="17594" y="9657"/>
                  </a:lnTo>
                  <a:lnTo>
                    <a:pt x="17609" y="9606"/>
                  </a:lnTo>
                  <a:lnTo>
                    <a:pt x="17622" y="9553"/>
                  </a:lnTo>
                  <a:lnTo>
                    <a:pt x="17636" y="9501"/>
                  </a:lnTo>
                  <a:lnTo>
                    <a:pt x="17648" y="9446"/>
                  </a:lnTo>
                  <a:lnTo>
                    <a:pt x="17659" y="9391"/>
                  </a:lnTo>
                  <a:lnTo>
                    <a:pt x="17669" y="9334"/>
                  </a:lnTo>
                  <a:lnTo>
                    <a:pt x="17673" y="9309"/>
                  </a:lnTo>
                  <a:lnTo>
                    <a:pt x="17675" y="9283"/>
                  </a:lnTo>
                  <a:lnTo>
                    <a:pt x="17675" y="9255"/>
                  </a:lnTo>
                  <a:lnTo>
                    <a:pt x="17674" y="9226"/>
                  </a:lnTo>
                  <a:lnTo>
                    <a:pt x="17672" y="9196"/>
                  </a:lnTo>
                  <a:lnTo>
                    <a:pt x="17669" y="9165"/>
                  </a:lnTo>
                  <a:lnTo>
                    <a:pt x="17665" y="9133"/>
                  </a:lnTo>
                  <a:lnTo>
                    <a:pt x="17659" y="9101"/>
                  </a:lnTo>
                  <a:lnTo>
                    <a:pt x="17653" y="9068"/>
                  </a:lnTo>
                  <a:lnTo>
                    <a:pt x="17645" y="9034"/>
                  </a:lnTo>
                  <a:lnTo>
                    <a:pt x="17637" y="8999"/>
                  </a:lnTo>
                  <a:lnTo>
                    <a:pt x="17629" y="8965"/>
                  </a:lnTo>
                  <a:lnTo>
                    <a:pt x="17609" y="8895"/>
                  </a:lnTo>
                  <a:lnTo>
                    <a:pt x="17587" y="8825"/>
                  </a:lnTo>
                  <a:lnTo>
                    <a:pt x="17563" y="8757"/>
                  </a:lnTo>
                  <a:lnTo>
                    <a:pt x="17539" y="8689"/>
                  </a:lnTo>
                  <a:lnTo>
                    <a:pt x="17513" y="8624"/>
                  </a:lnTo>
                  <a:lnTo>
                    <a:pt x="17487" y="8563"/>
                  </a:lnTo>
                  <a:lnTo>
                    <a:pt x="17462" y="8506"/>
                  </a:lnTo>
                  <a:lnTo>
                    <a:pt x="17437" y="8455"/>
                  </a:lnTo>
                  <a:lnTo>
                    <a:pt x="17415" y="8408"/>
                  </a:lnTo>
                  <a:lnTo>
                    <a:pt x="17394" y="8369"/>
                  </a:lnTo>
                  <a:lnTo>
                    <a:pt x="17360" y="8310"/>
                  </a:lnTo>
                  <a:lnTo>
                    <a:pt x="17328" y="8254"/>
                  </a:lnTo>
                  <a:lnTo>
                    <a:pt x="17297" y="8203"/>
                  </a:lnTo>
                  <a:lnTo>
                    <a:pt x="17268" y="8155"/>
                  </a:lnTo>
                  <a:lnTo>
                    <a:pt x="17239" y="8109"/>
                  </a:lnTo>
                  <a:lnTo>
                    <a:pt x="17210" y="8066"/>
                  </a:lnTo>
                  <a:lnTo>
                    <a:pt x="17182" y="8023"/>
                  </a:lnTo>
                  <a:lnTo>
                    <a:pt x="17153" y="7981"/>
                  </a:lnTo>
                  <a:lnTo>
                    <a:pt x="17123" y="7941"/>
                  </a:lnTo>
                  <a:lnTo>
                    <a:pt x="17093" y="7900"/>
                  </a:lnTo>
                  <a:lnTo>
                    <a:pt x="17062" y="7858"/>
                  </a:lnTo>
                  <a:lnTo>
                    <a:pt x="17029" y="7816"/>
                  </a:lnTo>
                  <a:lnTo>
                    <a:pt x="16958" y="7727"/>
                  </a:lnTo>
                  <a:lnTo>
                    <a:pt x="16877" y="7627"/>
                  </a:lnTo>
                  <a:lnTo>
                    <a:pt x="16843" y="7585"/>
                  </a:lnTo>
                  <a:lnTo>
                    <a:pt x="16805" y="7540"/>
                  </a:lnTo>
                  <a:lnTo>
                    <a:pt x="16766" y="7493"/>
                  </a:lnTo>
                  <a:lnTo>
                    <a:pt x="16725" y="7446"/>
                  </a:lnTo>
                  <a:lnTo>
                    <a:pt x="16641" y="7350"/>
                  </a:lnTo>
                  <a:lnTo>
                    <a:pt x="16551" y="7253"/>
                  </a:lnTo>
                  <a:lnTo>
                    <a:pt x="16462" y="7157"/>
                  </a:lnTo>
                  <a:lnTo>
                    <a:pt x="16373" y="7065"/>
                  </a:lnTo>
                  <a:lnTo>
                    <a:pt x="16287" y="6978"/>
                  </a:lnTo>
                  <a:lnTo>
                    <a:pt x="16207" y="6899"/>
                  </a:lnTo>
                  <a:lnTo>
                    <a:pt x="16179" y="6872"/>
                  </a:lnTo>
                  <a:lnTo>
                    <a:pt x="16153" y="6842"/>
                  </a:lnTo>
                  <a:lnTo>
                    <a:pt x="16127" y="6811"/>
                  </a:lnTo>
                  <a:lnTo>
                    <a:pt x="16099" y="6779"/>
                  </a:lnTo>
                  <a:lnTo>
                    <a:pt x="16071" y="6747"/>
                  </a:lnTo>
                  <a:lnTo>
                    <a:pt x="16042" y="6715"/>
                  </a:lnTo>
                  <a:lnTo>
                    <a:pt x="16011" y="6683"/>
                  </a:lnTo>
                  <a:lnTo>
                    <a:pt x="15979" y="6652"/>
                  </a:lnTo>
                  <a:lnTo>
                    <a:pt x="14313" y="5186"/>
                  </a:lnTo>
                  <a:lnTo>
                    <a:pt x="14230" y="5121"/>
                  </a:lnTo>
                  <a:lnTo>
                    <a:pt x="14144" y="5052"/>
                  </a:lnTo>
                  <a:lnTo>
                    <a:pt x="14058" y="4981"/>
                  </a:lnTo>
                  <a:lnTo>
                    <a:pt x="13972" y="4911"/>
                  </a:lnTo>
                  <a:lnTo>
                    <a:pt x="13885" y="4840"/>
                  </a:lnTo>
                  <a:lnTo>
                    <a:pt x="13797" y="4769"/>
                  </a:lnTo>
                  <a:lnTo>
                    <a:pt x="13709" y="4700"/>
                  </a:lnTo>
                  <a:lnTo>
                    <a:pt x="13622" y="4634"/>
                  </a:lnTo>
                  <a:lnTo>
                    <a:pt x="13528" y="4565"/>
                  </a:lnTo>
                  <a:lnTo>
                    <a:pt x="13437" y="4496"/>
                  </a:lnTo>
                  <a:lnTo>
                    <a:pt x="13348" y="4430"/>
                  </a:lnTo>
                  <a:lnTo>
                    <a:pt x="13259" y="4364"/>
                  </a:lnTo>
                  <a:lnTo>
                    <a:pt x="13172" y="4299"/>
                  </a:lnTo>
                  <a:lnTo>
                    <a:pt x="13085" y="4234"/>
                  </a:lnTo>
                  <a:lnTo>
                    <a:pt x="12999" y="4170"/>
                  </a:lnTo>
                  <a:lnTo>
                    <a:pt x="12913" y="4107"/>
                  </a:lnTo>
                  <a:lnTo>
                    <a:pt x="12826" y="4043"/>
                  </a:lnTo>
                  <a:lnTo>
                    <a:pt x="12738" y="3980"/>
                  </a:lnTo>
                  <a:lnTo>
                    <a:pt x="12650" y="3916"/>
                  </a:lnTo>
                  <a:lnTo>
                    <a:pt x="12559" y="3852"/>
                  </a:lnTo>
                  <a:lnTo>
                    <a:pt x="12468" y="3787"/>
                  </a:lnTo>
                  <a:lnTo>
                    <a:pt x="12373" y="3722"/>
                  </a:lnTo>
                  <a:lnTo>
                    <a:pt x="12276" y="3655"/>
                  </a:lnTo>
                  <a:lnTo>
                    <a:pt x="12177" y="3589"/>
                  </a:lnTo>
                  <a:lnTo>
                    <a:pt x="12083" y="3525"/>
                  </a:lnTo>
                  <a:lnTo>
                    <a:pt x="11988" y="3463"/>
                  </a:lnTo>
                  <a:lnTo>
                    <a:pt x="11893" y="3402"/>
                  </a:lnTo>
                  <a:lnTo>
                    <a:pt x="11798" y="3340"/>
                  </a:lnTo>
                  <a:lnTo>
                    <a:pt x="11702" y="3280"/>
                  </a:lnTo>
                  <a:lnTo>
                    <a:pt x="11606" y="3219"/>
                  </a:lnTo>
                  <a:lnTo>
                    <a:pt x="11509" y="3158"/>
                  </a:lnTo>
                  <a:lnTo>
                    <a:pt x="11411" y="3097"/>
                  </a:lnTo>
                  <a:lnTo>
                    <a:pt x="11318" y="3037"/>
                  </a:lnTo>
                  <a:lnTo>
                    <a:pt x="11222" y="2979"/>
                  </a:lnTo>
                  <a:lnTo>
                    <a:pt x="11125" y="2920"/>
                  </a:lnTo>
                  <a:lnTo>
                    <a:pt x="11028" y="2863"/>
                  </a:lnTo>
                  <a:lnTo>
                    <a:pt x="10930" y="2806"/>
                  </a:lnTo>
                  <a:lnTo>
                    <a:pt x="10831" y="2749"/>
                  </a:lnTo>
                  <a:lnTo>
                    <a:pt x="10732" y="2692"/>
                  </a:lnTo>
                  <a:lnTo>
                    <a:pt x="10631" y="2635"/>
                  </a:lnTo>
                  <a:lnTo>
                    <a:pt x="10529" y="2579"/>
                  </a:lnTo>
                  <a:lnTo>
                    <a:pt x="10427" y="2523"/>
                  </a:lnTo>
                  <a:lnTo>
                    <a:pt x="10326" y="2468"/>
                  </a:lnTo>
                  <a:lnTo>
                    <a:pt x="10223" y="2413"/>
                  </a:lnTo>
                  <a:lnTo>
                    <a:pt x="10120" y="2359"/>
                  </a:lnTo>
                  <a:lnTo>
                    <a:pt x="10015" y="2305"/>
                  </a:lnTo>
                  <a:lnTo>
                    <a:pt x="9911" y="2251"/>
                  </a:lnTo>
                  <a:lnTo>
                    <a:pt x="9807" y="2198"/>
                  </a:lnTo>
                  <a:lnTo>
                    <a:pt x="9735" y="2162"/>
                  </a:lnTo>
                  <a:lnTo>
                    <a:pt x="9660" y="2124"/>
                  </a:lnTo>
                  <a:lnTo>
                    <a:pt x="9583" y="2086"/>
                  </a:lnTo>
                  <a:lnTo>
                    <a:pt x="9504" y="2047"/>
                  </a:lnTo>
                  <a:lnTo>
                    <a:pt x="9423" y="2010"/>
                  </a:lnTo>
                  <a:lnTo>
                    <a:pt x="9340" y="1971"/>
                  </a:lnTo>
                  <a:lnTo>
                    <a:pt x="9258" y="1932"/>
                  </a:lnTo>
                  <a:lnTo>
                    <a:pt x="9174" y="1893"/>
                  </a:lnTo>
                  <a:lnTo>
                    <a:pt x="9091" y="1855"/>
                  </a:lnTo>
                  <a:lnTo>
                    <a:pt x="9006" y="1816"/>
                  </a:lnTo>
                  <a:lnTo>
                    <a:pt x="8923" y="1780"/>
                  </a:lnTo>
                  <a:lnTo>
                    <a:pt x="8840" y="1743"/>
                  </a:lnTo>
                  <a:lnTo>
                    <a:pt x="8759" y="1707"/>
                  </a:lnTo>
                  <a:lnTo>
                    <a:pt x="8679" y="1673"/>
                  </a:lnTo>
                  <a:lnTo>
                    <a:pt x="8600" y="1640"/>
                  </a:lnTo>
                  <a:lnTo>
                    <a:pt x="8523" y="1608"/>
                  </a:lnTo>
                  <a:lnTo>
                    <a:pt x="8472" y="1587"/>
                  </a:lnTo>
                  <a:lnTo>
                    <a:pt x="8417" y="1562"/>
                  </a:lnTo>
                  <a:lnTo>
                    <a:pt x="8360" y="1537"/>
                  </a:lnTo>
                  <a:lnTo>
                    <a:pt x="8300" y="1511"/>
                  </a:lnTo>
                  <a:lnTo>
                    <a:pt x="8242" y="1485"/>
                  </a:lnTo>
                  <a:lnTo>
                    <a:pt x="8184" y="1461"/>
                  </a:lnTo>
                  <a:lnTo>
                    <a:pt x="8156" y="1451"/>
                  </a:lnTo>
                  <a:lnTo>
                    <a:pt x="8129" y="1442"/>
                  </a:lnTo>
                  <a:lnTo>
                    <a:pt x="8102" y="1433"/>
                  </a:lnTo>
                  <a:lnTo>
                    <a:pt x="8078" y="1426"/>
                  </a:lnTo>
                  <a:close/>
                </a:path>
              </a:pathLst>
            </a:custGeom>
            <a:solidFill>
              <a:schemeClr val="bg1">
                <a:lumMod val="85000"/>
                <a:alpha val="98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8" name="Freeform 5">
              <a:extLst>
                <a:ext uri="{FF2B5EF4-FFF2-40B4-BE49-F238E27FC236}">
                  <a16:creationId xmlns:a16="http://schemas.microsoft.com/office/drawing/2014/main" id="{CD883217-F926-4D59-B67F-72D3006CF3A5}"/>
                </a:ext>
              </a:extLst>
            </p:cNvPr>
            <p:cNvSpPr>
              <a:spLocks/>
            </p:cNvSpPr>
            <p:nvPr/>
          </p:nvSpPr>
          <p:spPr bwMode="auto">
            <a:xfrm>
              <a:off x="1598543" y="3421099"/>
              <a:ext cx="263057" cy="272508"/>
            </a:xfrm>
            <a:custGeom>
              <a:avLst/>
              <a:gdLst>
                <a:gd name="T0" fmla="*/ 7371 w 17675"/>
                <a:gd name="T1" fmla="*/ 1125 h 18310"/>
                <a:gd name="T2" fmla="*/ 5959 w 17675"/>
                <a:gd name="T3" fmla="*/ 593 h 18310"/>
                <a:gd name="T4" fmla="*/ 4735 w 17675"/>
                <a:gd name="T5" fmla="*/ 240 h 18310"/>
                <a:gd name="T6" fmla="*/ 3627 w 17675"/>
                <a:gd name="T7" fmla="*/ 54 h 18310"/>
                <a:gd name="T8" fmla="*/ 2806 w 17675"/>
                <a:gd name="T9" fmla="*/ 7 h 18310"/>
                <a:gd name="T10" fmla="*/ 2454 w 17675"/>
                <a:gd name="T11" fmla="*/ 85 h 18310"/>
                <a:gd name="T12" fmla="*/ 2132 w 17675"/>
                <a:gd name="T13" fmla="*/ 262 h 18310"/>
                <a:gd name="T14" fmla="*/ 1838 w 17675"/>
                <a:gd name="T15" fmla="*/ 533 h 18310"/>
                <a:gd name="T16" fmla="*/ 1454 w 17675"/>
                <a:gd name="T17" fmla="*/ 1111 h 18310"/>
                <a:gd name="T18" fmla="*/ 1261 w 17675"/>
                <a:gd name="T19" fmla="*/ 1545 h 18310"/>
                <a:gd name="T20" fmla="*/ 1008 w 17675"/>
                <a:gd name="T21" fmla="*/ 2315 h 18310"/>
                <a:gd name="T22" fmla="*/ 836 w 17675"/>
                <a:gd name="T23" fmla="*/ 2906 h 18310"/>
                <a:gd name="T24" fmla="*/ 683 w 17675"/>
                <a:gd name="T25" fmla="*/ 3519 h 18310"/>
                <a:gd name="T26" fmla="*/ 506 w 17675"/>
                <a:gd name="T27" fmla="*/ 4330 h 18310"/>
                <a:gd name="T28" fmla="*/ 356 w 17675"/>
                <a:gd name="T29" fmla="*/ 5177 h 18310"/>
                <a:gd name="T30" fmla="*/ 199 w 17675"/>
                <a:gd name="T31" fmla="*/ 6352 h 18310"/>
                <a:gd name="T32" fmla="*/ 65 w 17675"/>
                <a:gd name="T33" fmla="*/ 7805 h 18310"/>
                <a:gd name="T34" fmla="*/ 1 w 17675"/>
                <a:gd name="T35" fmla="*/ 9354 h 18310"/>
                <a:gd name="T36" fmla="*/ 54 w 17675"/>
                <a:gd name="T37" fmla="*/ 10490 h 18310"/>
                <a:gd name="T38" fmla="*/ 149 w 17675"/>
                <a:gd name="T39" fmla="*/ 11811 h 18310"/>
                <a:gd name="T40" fmla="*/ 298 w 17675"/>
                <a:gd name="T41" fmla="*/ 13066 h 18310"/>
                <a:gd name="T42" fmla="*/ 650 w 17675"/>
                <a:gd name="T43" fmla="*/ 14979 h 18310"/>
                <a:gd name="T44" fmla="*/ 991 w 17675"/>
                <a:gd name="T45" fmla="*/ 16266 h 18310"/>
                <a:gd name="T46" fmla="*/ 1332 w 17675"/>
                <a:gd name="T47" fmla="*/ 17156 h 18310"/>
                <a:gd name="T48" fmla="*/ 1598 w 17675"/>
                <a:gd name="T49" fmla="*/ 17614 h 18310"/>
                <a:gd name="T50" fmla="*/ 1917 w 17675"/>
                <a:gd name="T51" fmla="*/ 17970 h 18310"/>
                <a:gd name="T52" fmla="*/ 2349 w 17675"/>
                <a:gd name="T53" fmla="*/ 18232 h 18310"/>
                <a:gd name="T54" fmla="*/ 2745 w 17675"/>
                <a:gd name="T55" fmla="*/ 18309 h 18310"/>
                <a:gd name="T56" fmla="*/ 3384 w 17675"/>
                <a:gd name="T57" fmla="*/ 18287 h 18310"/>
                <a:gd name="T58" fmla="*/ 4157 w 17675"/>
                <a:gd name="T59" fmla="*/ 18192 h 18310"/>
                <a:gd name="T60" fmla="*/ 5006 w 17675"/>
                <a:gd name="T61" fmla="*/ 18009 h 18310"/>
                <a:gd name="T62" fmla="*/ 6483 w 17675"/>
                <a:gd name="T63" fmla="*/ 17544 h 18310"/>
                <a:gd name="T64" fmla="*/ 7200 w 17675"/>
                <a:gd name="T65" fmla="*/ 17277 h 18310"/>
                <a:gd name="T66" fmla="*/ 8295 w 17675"/>
                <a:gd name="T67" fmla="*/ 16841 h 18310"/>
                <a:gd name="T68" fmla="*/ 8872 w 17675"/>
                <a:gd name="T69" fmla="*/ 16605 h 18310"/>
                <a:gd name="T70" fmla="*/ 9346 w 17675"/>
                <a:gd name="T71" fmla="*/ 16391 h 18310"/>
                <a:gd name="T72" fmla="*/ 10057 w 17675"/>
                <a:gd name="T73" fmla="*/ 16048 h 18310"/>
                <a:gd name="T74" fmla="*/ 10903 w 17675"/>
                <a:gd name="T75" fmla="*/ 15584 h 18310"/>
                <a:gd name="T76" fmla="*/ 11867 w 17675"/>
                <a:gd name="T77" fmla="*/ 14997 h 18310"/>
                <a:gd name="T78" fmla="*/ 12590 w 17675"/>
                <a:gd name="T79" fmla="*/ 14528 h 18310"/>
                <a:gd name="T80" fmla="*/ 13212 w 17675"/>
                <a:gd name="T81" fmla="*/ 14088 h 18310"/>
                <a:gd name="T82" fmla="*/ 14481 w 17675"/>
                <a:gd name="T83" fmla="*/ 13112 h 18310"/>
                <a:gd name="T84" fmla="*/ 14802 w 17675"/>
                <a:gd name="T85" fmla="*/ 12854 h 18310"/>
                <a:gd name="T86" fmla="*/ 15451 w 17675"/>
                <a:gd name="T87" fmla="*/ 12291 h 18310"/>
                <a:gd name="T88" fmla="*/ 15927 w 17675"/>
                <a:gd name="T89" fmla="*/ 11853 h 18310"/>
                <a:gd name="T90" fmla="*/ 16443 w 17675"/>
                <a:gd name="T91" fmla="*/ 11335 h 18310"/>
                <a:gd name="T92" fmla="*/ 16856 w 17675"/>
                <a:gd name="T93" fmla="*/ 10896 h 18310"/>
                <a:gd name="T94" fmla="*/ 17295 w 17675"/>
                <a:gd name="T95" fmla="*/ 10296 h 18310"/>
                <a:gd name="T96" fmla="*/ 17543 w 17675"/>
                <a:gd name="T97" fmla="*/ 9805 h 18310"/>
                <a:gd name="T98" fmla="*/ 17675 w 17675"/>
                <a:gd name="T99" fmla="*/ 9283 h 18310"/>
                <a:gd name="T100" fmla="*/ 17609 w 17675"/>
                <a:gd name="T101" fmla="*/ 8895 h 18310"/>
                <a:gd name="T102" fmla="*/ 17328 w 17675"/>
                <a:gd name="T103" fmla="*/ 8254 h 18310"/>
                <a:gd name="T104" fmla="*/ 16958 w 17675"/>
                <a:gd name="T105" fmla="*/ 7727 h 18310"/>
                <a:gd name="T106" fmla="*/ 16207 w 17675"/>
                <a:gd name="T107" fmla="*/ 6899 h 18310"/>
                <a:gd name="T108" fmla="*/ 14144 w 17675"/>
                <a:gd name="T109" fmla="*/ 5052 h 18310"/>
                <a:gd name="T110" fmla="*/ 13172 w 17675"/>
                <a:gd name="T111" fmla="*/ 4299 h 18310"/>
                <a:gd name="T112" fmla="*/ 12177 w 17675"/>
                <a:gd name="T113" fmla="*/ 3589 h 18310"/>
                <a:gd name="T114" fmla="*/ 11125 w 17675"/>
                <a:gd name="T115" fmla="*/ 2920 h 18310"/>
                <a:gd name="T116" fmla="*/ 10015 w 17675"/>
                <a:gd name="T117" fmla="*/ 2305 h 18310"/>
                <a:gd name="T118" fmla="*/ 9091 w 17675"/>
                <a:gd name="T119" fmla="*/ 1855 h 18310"/>
                <a:gd name="T120" fmla="*/ 8300 w 17675"/>
                <a:gd name="T121" fmla="*/ 1511 h 18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7675" h="18310">
                  <a:moveTo>
                    <a:pt x="8078" y="1426"/>
                  </a:moveTo>
                  <a:lnTo>
                    <a:pt x="8047" y="1409"/>
                  </a:lnTo>
                  <a:lnTo>
                    <a:pt x="8014" y="1392"/>
                  </a:lnTo>
                  <a:lnTo>
                    <a:pt x="7978" y="1376"/>
                  </a:lnTo>
                  <a:lnTo>
                    <a:pt x="7940" y="1360"/>
                  </a:lnTo>
                  <a:lnTo>
                    <a:pt x="7901" y="1345"/>
                  </a:lnTo>
                  <a:lnTo>
                    <a:pt x="7862" y="1330"/>
                  </a:lnTo>
                  <a:lnTo>
                    <a:pt x="7825" y="1315"/>
                  </a:lnTo>
                  <a:lnTo>
                    <a:pt x="7791" y="1301"/>
                  </a:lnTo>
                  <a:lnTo>
                    <a:pt x="7583" y="1213"/>
                  </a:lnTo>
                  <a:lnTo>
                    <a:pt x="7371" y="1125"/>
                  </a:lnTo>
                  <a:lnTo>
                    <a:pt x="7158" y="1038"/>
                  </a:lnTo>
                  <a:lnTo>
                    <a:pt x="6943" y="953"/>
                  </a:lnTo>
                  <a:lnTo>
                    <a:pt x="6836" y="911"/>
                  </a:lnTo>
                  <a:lnTo>
                    <a:pt x="6727" y="869"/>
                  </a:lnTo>
                  <a:lnTo>
                    <a:pt x="6618" y="827"/>
                  </a:lnTo>
                  <a:lnTo>
                    <a:pt x="6508" y="787"/>
                  </a:lnTo>
                  <a:lnTo>
                    <a:pt x="6400" y="747"/>
                  </a:lnTo>
                  <a:lnTo>
                    <a:pt x="6290" y="707"/>
                  </a:lnTo>
                  <a:lnTo>
                    <a:pt x="6180" y="668"/>
                  </a:lnTo>
                  <a:lnTo>
                    <a:pt x="6070" y="631"/>
                  </a:lnTo>
                  <a:lnTo>
                    <a:pt x="5959" y="593"/>
                  </a:lnTo>
                  <a:lnTo>
                    <a:pt x="5848" y="556"/>
                  </a:lnTo>
                  <a:lnTo>
                    <a:pt x="5737" y="521"/>
                  </a:lnTo>
                  <a:lnTo>
                    <a:pt x="5626" y="485"/>
                  </a:lnTo>
                  <a:lnTo>
                    <a:pt x="5515" y="451"/>
                  </a:lnTo>
                  <a:lnTo>
                    <a:pt x="5404" y="418"/>
                  </a:lnTo>
                  <a:lnTo>
                    <a:pt x="5292" y="386"/>
                  </a:lnTo>
                  <a:lnTo>
                    <a:pt x="5181" y="355"/>
                  </a:lnTo>
                  <a:lnTo>
                    <a:pt x="5069" y="324"/>
                  </a:lnTo>
                  <a:lnTo>
                    <a:pt x="4958" y="295"/>
                  </a:lnTo>
                  <a:lnTo>
                    <a:pt x="4846" y="267"/>
                  </a:lnTo>
                  <a:lnTo>
                    <a:pt x="4735" y="240"/>
                  </a:lnTo>
                  <a:lnTo>
                    <a:pt x="4623" y="215"/>
                  </a:lnTo>
                  <a:lnTo>
                    <a:pt x="4511" y="191"/>
                  </a:lnTo>
                  <a:lnTo>
                    <a:pt x="4400" y="168"/>
                  </a:lnTo>
                  <a:lnTo>
                    <a:pt x="4287" y="146"/>
                  </a:lnTo>
                  <a:lnTo>
                    <a:pt x="4234" y="136"/>
                  </a:lnTo>
                  <a:lnTo>
                    <a:pt x="4162" y="125"/>
                  </a:lnTo>
                  <a:lnTo>
                    <a:pt x="4075" y="112"/>
                  </a:lnTo>
                  <a:lnTo>
                    <a:pt x="3975" y="98"/>
                  </a:lnTo>
                  <a:lnTo>
                    <a:pt x="3865" y="84"/>
                  </a:lnTo>
                  <a:lnTo>
                    <a:pt x="3749" y="69"/>
                  </a:lnTo>
                  <a:lnTo>
                    <a:pt x="3627" y="54"/>
                  </a:lnTo>
                  <a:lnTo>
                    <a:pt x="3504" y="40"/>
                  </a:lnTo>
                  <a:lnTo>
                    <a:pt x="3381" y="27"/>
                  </a:lnTo>
                  <a:lnTo>
                    <a:pt x="3262" y="17"/>
                  </a:lnTo>
                  <a:lnTo>
                    <a:pt x="3148" y="8"/>
                  </a:lnTo>
                  <a:lnTo>
                    <a:pt x="3043" y="2"/>
                  </a:lnTo>
                  <a:lnTo>
                    <a:pt x="2994" y="1"/>
                  </a:lnTo>
                  <a:lnTo>
                    <a:pt x="2949" y="0"/>
                  </a:lnTo>
                  <a:lnTo>
                    <a:pt x="2908" y="0"/>
                  </a:lnTo>
                  <a:lnTo>
                    <a:pt x="2869" y="1"/>
                  </a:lnTo>
                  <a:lnTo>
                    <a:pt x="2834" y="3"/>
                  </a:lnTo>
                  <a:lnTo>
                    <a:pt x="2806" y="7"/>
                  </a:lnTo>
                  <a:lnTo>
                    <a:pt x="2780" y="11"/>
                  </a:lnTo>
                  <a:lnTo>
                    <a:pt x="2761" y="17"/>
                  </a:lnTo>
                  <a:lnTo>
                    <a:pt x="2724" y="19"/>
                  </a:lnTo>
                  <a:lnTo>
                    <a:pt x="2689" y="24"/>
                  </a:lnTo>
                  <a:lnTo>
                    <a:pt x="2655" y="29"/>
                  </a:lnTo>
                  <a:lnTo>
                    <a:pt x="2620" y="35"/>
                  </a:lnTo>
                  <a:lnTo>
                    <a:pt x="2586" y="43"/>
                  </a:lnTo>
                  <a:lnTo>
                    <a:pt x="2552" y="53"/>
                  </a:lnTo>
                  <a:lnTo>
                    <a:pt x="2518" y="63"/>
                  </a:lnTo>
                  <a:lnTo>
                    <a:pt x="2486" y="73"/>
                  </a:lnTo>
                  <a:lnTo>
                    <a:pt x="2454" y="85"/>
                  </a:lnTo>
                  <a:lnTo>
                    <a:pt x="2423" y="97"/>
                  </a:lnTo>
                  <a:lnTo>
                    <a:pt x="2393" y="111"/>
                  </a:lnTo>
                  <a:lnTo>
                    <a:pt x="2363" y="125"/>
                  </a:lnTo>
                  <a:lnTo>
                    <a:pt x="2333" y="138"/>
                  </a:lnTo>
                  <a:lnTo>
                    <a:pt x="2306" y="153"/>
                  </a:lnTo>
                  <a:lnTo>
                    <a:pt x="2278" y="169"/>
                  </a:lnTo>
                  <a:lnTo>
                    <a:pt x="2252" y="184"/>
                  </a:lnTo>
                  <a:lnTo>
                    <a:pt x="2218" y="205"/>
                  </a:lnTo>
                  <a:lnTo>
                    <a:pt x="2187" y="224"/>
                  </a:lnTo>
                  <a:lnTo>
                    <a:pt x="2158" y="244"/>
                  </a:lnTo>
                  <a:lnTo>
                    <a:pt x="2132" y="262"/>
                  </a:lnTo>
                  <a:lnTo>
                    <a:pt x="2108" y="280"/>
                  </a:lnTo>
                  <a:lnTo>
                    <a:pt x="2086" y="298"/>
                  </a:lnTo>
                  <a:lnTo>
                    <a:pt x="2065" y="315"/>
                  </a:lnTo>
                  <a:lnTo>
                    <a:pt x="2046" y="332"/>
                  </a:lnTo>
                  <a:lnTo>
                    <a:pt x="2007" y="367"/>
                  </a:lnTo>
                  <a:lnTo>
                    <a:pt x="1968" y="405"/>
                  </a:lnTo>
                  <a:lnTo>
                    <a:pt x="1927" y="446"/>
                  </a:lnTo>
                  <a:lnTo>
                    <a:pt x="1878" y="491"/>
                  </a:lnTo>
                  <a:lnTo>
                    <a:pt x="1866" y="504"/>
                  </a:lnTo>
                  <a:lnTo>
                    <a:pt x="1853" y="517"/>
                  </a:lnTo>
                  <a:lnTo>
                    <a:pt x="1838" y="533"/>
                  </a:lnTo>
                  <a:lnTo>
                    <a:pt x="1823" y="550"/>
                  </a:lnTo>
                  <a:lnTo>
                    <a:pt x="1790" y="592"/>
                  </a:lnTo>
                  <a:lnTo>
                    <a:pt x="1754" y="637"/>
                  </a:lnTo>
                  <a:lnTo>
                    <a:pt x="1717" y="689"/>
                  </a:lnTo>
                  <a:lnTo>
                    <a:pt x="1679" y="744"/>
                  </a:lnTo>
                  <a:lnTo>
                    <a:pt x="1639" y="802"/>
                  </a:lnTo>
                  <a:lnTo>
                    <a:pt x="1600" y="863"/>
                  </a:lnTo>
                  <a:lnTo>
                    <a:pt x="1561" y="926"/>
                  </a:lnTo>
                  <a:lnTo>
                    <a:pt x="1524" y="988"/>
                  </a:lnTo>
                  <a:lnTo>
                    <a:pt x="1488" y="1051"/>
                  </a:lnTo>
                  <a:lnTo>
                    <a:pt x="1454" y="1111"/>
                  </a:lnTo>
                  <a:lnTo>
                    <a:pt x="1425" y="1170"/>
                  </a:lnTo>
                  <a:lnTo>
                    <a:pt x="1398" y="1226"/>
                  </a:lnTo>
                  <a:lnTo>
                    <a:pt x="1387" y="1252"/>
                  </a:lnTo>
                  <a:lnTo>
                    <a:pt x="1377" y="1277"/>
                  </a:lnTo>
                  <a:lnTo>
                    <a:pt x="1367" y="1301"/>
                  </a:lnTo>
                  <a:lnTo>
                    <a:pt x="1359" y="1323"/>
                  </a:lnTo>
                  <a:lnTo>
                    <a:pt x="1340" y="1362"/>
                  </a:lnTo>
                  <a:lnTo>
                    <a:pt x="1320" y="1404"/>
                  </a:lnTo>
                  <a:lnTo>
                    <a:pt x="1300" y="1449"/>
                  </a:lnTo>
                  <a:lnTo>
                    <a:pt x="1280" y="1496"/>
                  </a:lnTo>
                  <a:lnTo>
                    <a:pt x="1261" y="1545"/>
                  </a:lnTo>
                  <a:lnTo>
                    <a:pt x="1241" y="1596"/>
                  </a:lnTo>
                  <a:lnTo>
                    <a:pt x="1222" y="1648"/>
                  </a:lnTo>
                  <a:lnTo>
                    <a:pt x="1204" y="1702"/>
                  </a:lnTo>
                  <a:lnTo>
                    <a:pt x="1167" y="1808"/>
                  </a:lnTo>
                  <a:lnTo>
                    <a:pt x="1133" y="1915"/>
                  </a:lnTo>
                  <a:lnTo>
                    <a:pt x="1101" y="2016"/>
                  </a:lnTo>
                  <a:lnTo>
                    <a:pt x="1071" y="2110"/>
                  </a:lnTo>
                  <a:lnTo>
                    <a:pt x="1055" y="2162"/>
                  </a:lnTo>
                  <a:lnTo>
                    <a:pt x="1039" y="2213"/>
                  </a:lnTo>
                  <a:lnTo>
                    <a:pt x="1023" y="2264"/>
                  </a:lnTo>
                  <a:lnTo>
                    <a:pt x="1008" y="2315"/>
                  </a:lnTo>
                  <a:lnTo>
                    <a:pt x="992" y="2367"/>
                  </a:lnTo>
                  <a:lnTo>
                    <a:pt x="976" y="2418"/>
                  </a:lnTo>
                  <a:lnTo>
                    <a:pt x="960" y="2471"/>
                  </a:lnTo>
                  <a:lnTo>
                    <a:pt x="944" y="2523"/>
                  </a:lnTo>
                  <a:lnTo>
                    <a:pt x="929" y="2573"/>
                  </a:lnTo>
                  <a:lnTo>
                    <a:pt x="913" y="2626"/>
                  </a:lnTo>
                  <a:lnTo>
                    <a:pt x="896" y="2682"/>
                  </a:lnTo>
                  <a:lnTo>
                    <a:pt x="880" y="2740"/>
                  </a:lnTo>
                  <a:lnTo>
                    <a:pt x="864" y="2797"/>
                  </a:lnTo>
                  <a:lnTo>
                    <a:pt x="849" y="2852"/>
                  </a:lnTo>
                  <a:lnTo>
                    <a:pt x="836" y="2906"/>
                  </a:lnTo>
                  <a:lnTo>
                    <a:pt x="827" y="2955"/>
                  </a:lnTo>
                  <a:lnTo>
                    <a:pt x="818" y="2977"/>
                  </a:lnTo>
                  <a:lnTo>
                    <a:pt x="809" y="3003"/>
                  </a:lnTo>
                  <a:lnTo>
                    <a:pt x="800" y="3033"/>
                  </a:lnTo>
                  <a:lnTo>
                    <a:pt x="790" y="3067"/>
                  </a:lnTo>
                  <a:lnTo>
                    <a:pt x="770" y="3142"/>
                  </a:lnTo>
                  <a:lnTo>
                    <a:pt x="749" y="3225"/>
                  </a:lnTo>
                  <a:lnTo>
                    <a:pt x="730" y="3310"/>
                  </a:lnTo>
                  <a:lnTo>
                    <a:pt x="712" y="3390"/>
                  </a:lnTo>
                  <a:lnTo>
                    <a:pt x="696" y="3461"/>
                  </a:lnTo>
                  <a:lnTo>
                    <a:pt x="683" y="3519"/>
                  </a:lnTo>
                  <a:lnTo>
                    <a:pt x="666" y="3593"/>
                  </a:lnTo>
                  <a:lnTo>
                    <a:pt x="649" y="3667"/>
                  </a:lnTo>
                  <a:lnTo>
                    <a:pt x="633" y="3740"/>
                  </a:lnTo>
                  <a:lnTo>
                    <a:pt x="617" y="3813"/>
                  </a:lnTo>
                  <a:lnTo>
                    <a:pt x="601" y="3886"/>
                  </a:lnTo>
                  <a:lnTo>
                    <a:pt x="585" y="3960"/>
                  </a:lnTo>
                  <a:lnTo>
                    <a:pt x="569" y="4033"/>
                  </a:lnTo>
                  <a:lnTo>
                    <a:pt x="553" y="4108"/>
                  </a:lnTo>
                  <a:lnTo>
                    <a:pt x="537" y="4182"/>
                  </a:lnTo>
                  <a:lnTo>
                    <a:pt x="522" y="4256"/>
                  </a:lnTo>
                  <a:lnTo>
                    <a:pt x="506" y="4330"/>
                  </a:lnTo>
                  <a:lnTo>
                    <a:pt x="491" y="4406"/>
                  </a:lnTo>
                  <a:lnTo>
                    <a:pt x="476" y="4483"/>
                  </a:lnTo>
                  <a:lnTo>
                    <a:pt x="461" y="4559"/>
                  </a:lnTo>
                  <a:lnTo>
                    <a:pt x="447" y="4636"/>
                  </a:lnTo>
                  <a:lnTo>
                    <a:pt x="433" y="4714"/>
                  </a:lnTo>
                  <a:lnTo>
                    <a:pt x="419" y="4791"/>
                  </a:lnTo>
                  <a:lnTo>
                    <a:pt x="405" y="4868"/>
                  </a:lnTo>
                  <a:lnTo>
                    <a:pt x="392" y="4946"/>
                  </a:lnTo>
                  <a:lnTo>
                    <a:pt x="380" y="5024"/>
                  </a:lnTo>
                  <a:lnTo>
                    <a:pt x="367" y="5100"/>
                  </a:lnTo>
                  <a:lnTo>
                    <a:pt x="356" y="5177"/>
                  </a:lnTo>
                  <a:lnTo>
                    <a:pt x="346" y="5253"/>
                  </a:lnTo>
                  <a:lnTo>
                    <a:pt x="335" y="5328"/>
                  </a:lnTo>
                  <a:lnTo>
                    <a:pt x="320" y="5442"/>
                  </a:lnTo>
                  <a:lnTo>
                    <a:pt x="304" y="5555"/>
                  </a:lnTo>
                  <a:lnTo>
                    <a:pt x="289" y="5668"/>
                  </a:lnTo>
                  <a:lnTo>
                    <a:pt x="275" y="5781"/>
                  </a:lnTo>
                  <a:lnTo>
                    <a:pt x="259" y="5896"/>
                  </a:lnTo>
                  <a:lnTo>
                    <a:pt x="244" y="6009"/>
                  </a:lnTo>
                  <a:lnTo>
                    <a:pt x="229" y="6124"/>
                  </a:lnTo>
                  <a:lnTo>
                    <a:pt x="214" y="6238"/>
                  </a:lnTo>
                  <a:lnTo>
                    <a:pt x="199" y="6352"/>
                  </a:lnTo>
                  <a:lnTo>
                    <a:pt x="185" y="6467"/>
                  </a:lnTo>
                  <a:lnTo>
                    <a:pt x="173" y="6581"/>
                  </a:lnTo>
                  <a:lnTo>
                    <a:pt x="160" y="6697"/>
                  </a:lnTo>
                  <a:lnTo>
                    <a:pt x="148" y="6811"/>
                  </a:lnTo>
                  <a:lnTo>
                    <a:pt x="137" y="6927"/>
                  </a:lnTo>
                  <a:lnTo>
                    <a:pt x="127" y="7042"/>
                  </a:lnTo>
                  <a:lnTo>
                    <a:pt x="119" y="7158"/>
                  </a:lnTo>
                  <a:lnTo>
                    <a:pt x="105" y="7319"/>
                  </a:lnTo>
                  <a:lnTo>
                    <a:pt x="92" y="7481"/>
                  </a:lnTo>
                  <a:lnTo>
                    <a:pt x="79" y="7643"/>
                  </a:lnTo>
                  <a:lnTo>
                    <a:pt x="65" y="7805"/>
                  </a:lnTo>
                  <a:lnTo>
                    <a:pt x="54" y="7967"/>
                  </a:lnTo>
                  <a:lnTo>
                    <a:pt x="42" y="8130"/>
                  </a:lnTo>
                  <a:lnTo>
                    <a:pt x="31" y="8293"/>
                  </a:lnTo>
                  <a:lnTo>
                    <a:pt x="22" y="8456"/>
                  </a:lnTo>
                  <a:lnTo>
                    <a:pt x="14" y="8619"/>
                  </a:lnTo>
                  <a:lnTo>
                    <a:pt x="8" y="8782"/>
                  </a:lnTo>
                  <a:lnTo>
                    <a:pt x="3" y="8946"/>
                  </a:lnTo>
                  <a:lnTo>
                    <a:pt x="0" y="9109"/>
                  </a:lnTo>
                  <a:lnTo>
                    <a:pt x="0" y="9190"/>
                  </a:lnTo>
                  <a:lnTo>
                    <a:pt x="0" y="9273"/>
                  </a:lnTo>
                  <a:lnTo>
                    <a:pt x="1" y="9354"/>
                  </a:lnTo>
                  <a:lnTo>
                    <a:pt x="2" y="9437"/>
                  </a:lnTo>
                  <a:lnTo>
                    <a:pt x="3" y="9518"/>
                  </a:lnTo>
                  <a:lnTo>
                    <a:pt x="7" y="9599"/>
                  </a:lnTo>
                  <a:lnTo>
                    <a:pt x="10" y="9681"/>
                  </a:lnTo>
                  <a:lnTo>
                    <a:pt x="14" y="9763"/>
                  </a:lnTo>
                  <a:lnTo>
                    <a:pt x="21" y="9885"/>
                  </a:lnTo>
                  <a:lnTo>
                    <a:pt x="27" y="10006"/>
                  </a:lnTo>
                  <a:lnTo>
                    <a:pt x="34" y="10128"/>
                  </a:lnTo>
                  <a:lnTo>
                    <a:pt x="41" y="10249"/>
                  </a:lnTo>
                  <a:lnTo>
                    <a:pt x="47" y="10369"/>
                  </a:lnTo>
                  <a:lnTo>
                    <a:pt x="54" y="10490"/>
                  </a:lnTo>
                  <a:lnTo>
                    <a:pt x="61" y="10611"/>
                  </a:lnTo>
                  <a:lnTo>
                    <a:pt x="68" y="10731"/>
                  </a:lnTo>
                  <a:lnTo>
                    <a:pt x="74" y="10851"/>
                  </a:lnTo>
                  <a:lnTo>
                    <a:pt x="82" y="10971"/>
                  </a:lnTo>
                  <a:lnTo>
                    <a:pt x="90" y="11091"/>
                  </a:lnTo>
                  <a:lnTo>
                    <a:pt x="98" y="11213"/>
                  </a:lnTo>
                  <a:lnTo>
                    <a:pt x="108" y="11333"/>
                  </a:lnTo>
                  <a:lnTo>
                    <a:pt x="117" y="11454"/>
                  </a:lnTo>
                  <a:lnTo>
                    <a:pt x="127" y="11575"/>
                  </a:lnTo>
                  <a:lnTo>
                    <a:pt x="138" y="11697"/>
                  </a:lnTo>
                  <a:lnTo>
                    <a:pt x="149" y="11811"/>
                  </a:lnTo>
                  <a:lnTo>
                    <a:pt x="160" y="11926"/>
                  </a:lnTo>
                  <a:lnTo>
                    <a:pt x="172" y="12040"/>
                  </a:lnTo>
                  <a:lnTo>
                    <a:pt x="184" y="12154"/>
                  </a:lnTo>
                  <a:lnTo>
                    <a:pt x="197" y="12269"/>
                  </a:lnTo>
                  <a:lnTo>
                    <a:pt x="209" y="12383"/>
                  </a:lnTo>
                  <a:lnTo>
                    <a:pt x="223" y="12498"/>
                  </a:lnTo>
                  <a:lnTo>
                    <a:pt x="237" y="12611"/>
                  </a:lnTo>
                  <a:lnTo>
                    <a:pt x="252" y="12725"/>
                  </a:lnTo>
                  <a:lnTo>
                    <a:pt x="267" y="12839"/>
                  </a:lnTo>
                  <a:lnTo>
                    <a:pt x="281" y="12953"/>
                  </a:lnTo>
                  <a:lnTo>
                    <a:pt x="298" y="13066"/>
                  </a:lnTo>
                  <a:lnTo>
                    <a:pt x="314" y="13180"/>
                  </a:lnTo>
                  <a:lnTo>
                    <a:pt x="331" y="13293"/>
                  </a:lnTo>
                  <a:lnTo>
                    <a:pt x="349" y="13406"/>
                  </a:lnTo>
                  <a:lnTo>
                    <a:pt x="366" y="13519"/>
                  </a:lnTo>
                  <a:lnTo>
                    <a:pt x="398" y="13707"/>
                  </a:lnTo>
                  <a:lnTo>
                    <a:pt x="433" y="13905"/>
                  </a:lnTo>
                  <a:lnTo>
                    <a:pt x="470" y="14110"/>
                  </a:lnTo>
                  <a:lnTo>
                    <a:pt x="511" y="14322"/>
                  </a:lnTo>
                  <a:lnTo>
                    <a:pt x="555" y="14538"/>
                  </a:lnTo>
                  <a:lnTo>
                    <a:pt x="602" y="14757"/>
                  </a:lnTo>
                  <a:lnTo>
                    <a:pt x="650" y="14979"/>
                  </a:lnTo>
                  <a:lnTo>
                    <a:pt x="701" y="15200"/>
                  </a:lnTo>
                  <a:lnTo>
                    <a:pt x="729" y="15311"/>
                  </a:lnTo>
                  <a:lnTo>
                    <a:pt x="755" y="15420"/>
                  </a:lnTo>
                  <a:lnTo>
                    <a:pt x="784" y="15530"/>
                  </a:lnTo>
                  <a:lnTo>
                    <a:pt x="811" y="15639"/>
                  </a:lnTo>
                  <a:lnTo>
                    <a:pt x="840" y="15747"/>
                  </a:lnTo>
                  <a:lnTo>
                    <a:pt x="870" y="15854"/>
                  </a:lnTo>
                  <a:lnTo>
                    <a:pt x="899" y="15959"/>
                  </a:lnTo>
                  <a:lnTo>
                    <a:pt x="929" y="16064"/>
                  </a:lnTo>
                  <a:lnTo>
                    <a:pt x="960" y="16165"/>
                  </a:lnTo>
                  <a:lnTo>
                    <a:pt x="991" y="16266"/>
                  </a:lnTo>
                  <a:lnTo>
                    <a:pt x="1022" y="16365"/>
                  </a:lnTo>
                  <a:lnTo>
                    <a:pt x="1054" y="16461"/>
                  </a:lnTo>
                  <a:lnTo>
                    <a:pt x="1086" y="16556"/>
                  </a:lnTo>
                  <a:lnTo>
                    <a:pt x="1119" y="16646"/>
                  </a:lnTo>
                  <a:lnTo>
                    <a:pt x="1152" y="16735"/>
                  </a:lnTo>
                  <a:lnTo>
                    <a:pt x="1185" y="16821"/>
                  </a:lnTo>
                  <a:lnTo>
                    <a:pt x="1225" y="16920"/>
                  </a:lnTo>
                  <a:lnTo>
                    <a:pt x="1267" y="17017"/>
                  </a:lnTo>
                  <a:lnTo>
                    <a:pt x="1288" y="17064"/>
                  </a:lnTo>
                  <a:lnTo>
                    <a:pt x="1310" y="17111"/>
                  </a:lnTo>
                  <a:lnTo>
                    <a:pt x="1332" y="17156"/>
                  </a:lnTo>
                  <a:lnTo>
                    <a:pt x="1354" y="17202"/>
                  </a:lnTo>
                  <a:lnTo>
                    <a:pt x="1377" y="17247"/>
                  </a:lnTo>
                  <a:lnTo>
                    <a:pt x="1399" y="17290"/>
                  </a:lnTo>
                  <a:lnTo>
                    <a:pt x="1423" y="17334"/>
                  </a:lnTo>
                  <a:lnTo>
                    <a:pt x="1447" y="17376"/>
                  </a:lnTo>
                  <a:lnTo>
                    <a:pt x="1471" y="17417"/>
                  </a:lnTo>
                  <a:lnTo>
                    <a:pt x="1496" y="17459"/>
                  </a:lnTo>
                  <a:lnTo>
                    <a:pt x="1521" y="17499"/>
                  </a:lnTo>
                  <a:lnTo>
                    <a:pt x="1546" y="17538"/>
                  </a:lnTo>
                  <a:lnTo>
                    <a:pt x="1572" y="17576"/>
                  </a:lnTo>
                  <a:lnTo>
                    <a:pt x="1598" y="17614"/>
                  </a:lnTo>
                  <a:lnTo>
                    <a:pt x="1625" y="17651"/>
                  </a:lnTo>
                  <a:lnTo>
                    <a:pt x="1652" y="17687"/>
                  </a:lnTo>
                  <a:lnTo>
                    <a:pt x="1680" y="17722"/>
                  </a:lnTo>
                  <a:lnTo>
                    <a:pt x="1707" y="17756"/>
                  </a:lnTo>
                  <a:lnTo>
                    <a:pt x="1736" y="17789"/>
                  </a:lnTo>
                  <a:lnTo>
                    <a:pt x="1764" y="17822"/>
                  </a:lnTo>
                  <a:lnTo>
                    <a:pt x="1794" y="17853"/>
                  </a:lnTo>
                  <a:lnTo>
                    <a:pt x="1824" y="17884"/>
                  </a:lnTo>
                  <a:lnTo>
                    <a:pt x="1854" y="17914"/>
                  </a:lnTo>
                  <a:lnTo>
                    <a:pt x="1885" y="17943"/>
                  </a:lnTo>
                  <a:lnTo>
                    <a:pt x="1917" y="17970"/>
                  </a:lnTo>
                  <a:lnTo>
                    <a:pt x="1947" y="17998"/>
                  </a:lnTo>
                  <a:lnTo>
                    <a:pt x="1980" y="18023"/>
                  </a:lnTo>
                  <a:lnTo>
                    <a:pt x="2013" y="18048"/>
                  </a:lnTo>
                  <a:lnTo>
                    <a:pt x="2052" y="18075"/>
                  </a:lnTo>
                  <a:lnTo>
                    <a:pt x="2091" y="18102"/>
                  </a:lnTo>
                  <a:lnTo>
                    <a:pt x="2132" y="18127"/>
                  </a:lnTo>
                  <a:lnTo>
                    <a:pt x="2173" y="18151"/>
                  </a:lnTo>
                  <a:lnTo>
                    <a:pt x="2215" y="18174"/>
                  </a:lnTo>
                  <a:lnTo>
                    <a:pt x="2259" y="18194"/>
                  </a:lnTo>
                  <a:lnTo>
                    <a:pt x="2303" y="18214"/>
                  </a:lnTo>
                  <a:lnTo>
                    <a:pt x="2349" y="18232"/>
                  </a:lnTo>
                  <a:lnTo>
                    <a:pt x="2397" y="18249"/>
                  </a:lnTo>
                  <a:lnTo>
                    <a:pt x="2446" y="18264"/>
                  </a:lnTo>
                  <a:lnTo>
                    <a:pt x="2497" y="18277"/>
                  </a:lnTo>
                  <a:lnTo>
                    <a:pt x="2549" y="18287"/>
                  </a:lnTo>
                  <a:lnTo>
                    <a:pt x="2576" y="18292"/>
                  </a:lnTo>
                  <a:lnTo>
                    <a:pt x="2603" y="18296"/>
                  </a:lnTo>
                  <a:lnTo>
                    <a:pt x="2631" y="18300"/>
                  </a:lnTo>
                  <a:lnTo>
                    <a:pt x="2658" y="18303"/>
                  </a:lnTo>
                  <a:lnTo>
                    <a:pt x="2687" y="18305"/>
                  </a:lnTo>
                  <a:lnTo>
                    <a:pt x="2716" y="18308"/>
                  </a:lnTo>
                  <a:lnTo>
                    <a:pt x="2745" y="18309"/>
                  </a:lnTo>
                  <a:lnTo>
                    <a:pt x="2776" y="18309"/>
                  </a:lnTo>
                  <a:lnTo>
                    <a:pt x="2835" y="18310"/>
                  </a:lnTo>
                  <a:lnTo>
                    <a:pt x="2896" y="18310"/>
                  </a:lnTo>
                  <a:lnTo>
                    <a:pt x="2957" y="18309"/>
                  </a:lnTo>
                  <a:lnTo>
                    <a:pt x="3017" y="18308"/>
                  </a:lnTo>
                  <a:lnTo>
                    <a:pt x="3079" y="18305"/>
                  </a:lnTo>
                  <a:lnTo>
                    <a:pt x="3140" y="18303"/>
                  </a:lnTo>
                  <a:lnTo>
                    <a:pt x="3200" y="18300"/>
                  </a:lnTo>
                  <a:lnTo>
                    <a:pt x="3262" y="18296"/>
                  </a:lnTo>
                  <a:lnTo>
                    <a:pt x="3323" y="18292"/>
                  </a:lnTo>
                  <a:lnTo>
                    <a:pt x="3384" y="18287"/>
                  </a:lnTo>
                  <a:lnTo>
                    <a:pt x="3444" y="18283"/>
                  </a:lnTo>
                  <a:lnTo>
                    <a:pt x="3505" y="18277"/>
                  </a:lnTo>
                  <a:lnTo>
                    <a:pt x="3565" y="18271"/>
                  </a:lnTo>
                  <a:lnTo>
                    <a:pt x="3625" y="18264"/>
                  </a:lnTo>
                  <a:lnTo>
                    <a:pt x="3686" y="18257"/>
                  </a:lnTo>
                  <a:lnTo>
                    <a:pt x="3745" y="18250"/>
                  </a:lnTo>
                  <a:lnTo>
                    <a:pt x="3829" y="18240"/>
                  </a:lnTo>
                  <a:lnTo>
                    <a:pt x="3912" y="18230"/>
                  </a:lnTo>
                  <a:lnTo>
                    <a:pt x="3995" y="18218"/>
                  </a:lnTo>
                  <a:lnTo>
                    <a:pt x="4076" y="18206"/>
                  </a:lnTo>
                  <a:lnTo>
                    <a:pt x="4157" y="18192"/>
                  </a:lnTo>
                  <a:lnTo>
                    <a:pt x="4236" y="18178"/>
                  </a:lnTo>
                  <a:lnTo>
                    <a:pt x="4316" y="18165"/>
                  </a:lnTo>
                  <a:lnTo>
                    <a:pt x="4395" y="18150"/>
                  </a:lnTo>
                  <a:lnTo>
                    <a:pt x="4473" y="18134"/>
                  </a:lnTo>
                  <a:lnTo>
                    <a:pt x="4549" y="18118"/>
                  </a:lnTo>
                  <a:lnTo>
                    <a:pt x="4627" y="18101"/>
                  </a:lnTo>
                  <a:lnTo>
                    <a:pt x="4704" y="18083"/>
                  </a:lnTo>
                  <a:lnTo>
                    <a:pt x="4779" y="18066"/>
                  </a:lnTo>
                  <a:lnTo>
                    <a:pt x="4855" y="18048"/>
                  </a:lnTo>
                  <a:lnTo>
                    <a:pt x="4931" y="18028"/>
                  </a:lnTo>
                  <a:lnTo>
                    <a:pt x="5006" y="18009"/>
                  </a:lnTo>
                  <a:lnTo>
                    <a:pt x="5156" y="17969"/>
                  </a:lnTo>
                  <a:lnTo>
                    <a:pt x="5305" y="17927"/>
                  </a:lnTo>
                  <a:lnTo>
                    <a:pt x="5455" y="17882"/>
                  </a:lnTo>
                  <a:lnTo>
                    <a:pt x="5603" y="17836"/>
                  </a:lnTo>
                  <a:lnTo>
                    <a:pt x="5753" y="17789"/>
                  </a:lnTo>
                  <a:lnTo>
                    <a:pt x="5904" y="17741"/>
                  </a:lnTo>
                  <a:lnTo>
                    <a:pt x="6056" y="17691"/>
                  </a:lnTo>
                  <a:lnTo>
                    <a:pt x="6211" y="17639"/>
                  </a:lnTo>
                  <a:lnTo>
                    <a:pt x="6273" y="17619"/>
                  </a:lnTo>
                  <a:lnTo>
                    <a:pt x="6368" y="17586"/>
                  </a:lnTo>
                  <a:lnTo>
                    <a:pt x="6483" y="17544"/>
                  </a:lnTo>
                  <a:lnTo>
                    <a:pt x="6608" y="17501"/>
                  </a:lnTo>
                  <a:lnTo>
                    <a:pt x="6729" y="17456"/>
                  </a:lnTo>
                  <a:lnTo>
                    <a:pt x="6837" y="17415"/>
                  </a:lnTo>
                  <a:lnTo>
                    <a:pt x="6881" y="17398"/>
                  </a:lnTo>
                  <a:lnTo>
                    <a:pt x="6917" y="17382"/>
                  </a:lnTo>
                  <a:lnTo>
                    <a:pt x="6943" y="17369"/>
                  </a:lnTo>
                  <a:lnTo>
                    <a:pt x="6959" y="17361"/>
                  </a:lnTo>
                  <a:lnTo>
                    <a:pt x="6994" y="17351"/>
                  </a:lnTo>
                  <a:lnTo>
                    <a:pt x="7046" y="17333"/>
                  </a:lnTo>
                  <a:lnTo>
                    <a:pt x="7116" y="17308"/>
                  </a:lnTo>
                  <a:lnTo>
                    <a:pt x="7200" y="17277"/>
                  </a:lnTo>
                  <a:lnTo>
                    <a:pt x="7294" y="17240"/>
                  </a:lnTo>
                  <a:lnTo>
                    <a:pt x="7397" y="17200"/>
                  </a:lnTo>
                  <a:lnTo>
                    <a:pt x="7507" y="17156"/>
                  </a:lnTo>
                  <a:lnTo>
                    <a:pt x="7621" y="17112"/>
                  </a:lnTo>
                  <a:lnTo>
                    <a:pt x="7734" y="17066"/>
                  </a:lnTo>
                  <a:lnTo>
                    <a:pt x="7846" y="17021"/>
                  </a:lnTo>
                  <a:lnTo>
                    <a:pt x="7955" y="16977"/>
                  </a:lnTo>
                  <a:lnTo>
                    <a:pt x="8057" y="16937"/>
                  </a:lnTo>
                  <a:lnTo>
                    <a:pt x="8148" y="16899"/>
                  </a:lnTo>
                  <a:lnTo>
                    <a:pt x="8228" y="16867"/>
                  </a:lnTo>
                  <a:lnTo>
                    <a:pt x="8295" y="16841"/>
                  </a:lnTo>
                  <a:lnTo>
                    <a:pt x="8344" y="16821"/>
                  </a:lnTo>
                  <a:lnTo>
                    <a:pt x="8396" y="16799"/>
                  </a:lnTo>
                  <a:lnTo>
                    <a:pt x="8454" y="16778"/>
                  </a:lnTo>
                  <a:lnTo>
                    <a:pt x="8513" y="16755"/>
                  </a:lnTo>
                  <a:lnTo>
                    <a:pt x="8574" y="16731"/>
                  </a:lnTo>
                  <a:lnTo>
                    <a:pt x="8633" y="16707"/>
                  </a:lnTo>
                  <a:lnTo>
                    <a:pt x="8690" y="16682"/>
                  </a:lnTo>
                  <a:lnTo>
                    <a:pt x="8744" y="16658"/>
                  </a:lnTo>
                  <a:lnTo>
                    <a:pt x="8792" y="16633"/>
                  </a:lnTo>
                  <a:lnTo>
                    <a:pt x="8829" y="16621"/>
                  </a:lnTo>
                  <a:lnTo>
                    <a:pt x="8872" y="16605"/>
                  </a:lnTo>
                  <a:lnTo>
                    <a:pt x="8918" y="16587"/>
                  </a:lnTo>
                  <a:lnTo>
                    <a:pt x="8965" y="16565"/>
                  </a:lnTo>
                  <a:lnTo>
                    <a:pt x="9013" y="16543"/>
                  </a:lnTo>
                  <a:lnTo>
                    <a:pt x="9059" y="16522"/>
                  </a:lnTo>
                  <a:lnTo>
                    <a:pt x="9100" y="16502"/>
                  </a:lnTo>
                  <a:lnTo>
                    <a:pt x="9137" y="16485"/>
                  </a:lnTo>
                  <a:lnTo>
                    <a:pt x="9178" y="16465"/>
                  </a:lnTo>
                  <a:lnTo>
                    <a:pt x="9220" y="16447"/>
                  </a:lnTo>
                  <a:lnTo>
                    <a:pt x="9263" y="16429"/>
                  </a:lnTo>
                  <a:lnTo>
                    <a:pt x="9304" y="16409"/>
                  </a:lnTo>
                  <a:lnTo>
                    <a:pt x="9346" y="16391"/>
                  </a:lnTo>
                  <a:lnTo>
                    <a:pt x="9388" y="16371"/>
                  </a:lnTo>
                  <a:lnTo>
                    <a:pt x="9430" y="16352"/>
                  </a:lnTo>
                  <a:lnTo>
                    <a:pt x="9471" y="16331"/>
                  </a:lnTo>
                  <a:lnTo>
                    <a:pt x="9550" y="16292"/>
                  </a:lnTo>
                  <a:lnTo>
                    <a:pt x="9633" y="16254"/>
                  </a:lnTo>
                  <a:lnTo>
                    <a:pt x="9720" y="16214"/>
                  </a:lnTo>
                  <a:lnTo>
                    <a:pt x="9807" y="16173"/>
                  </a:lnTo>
                  <a:lnTo>
                    <a:pt x="9894" y="16132"/>
                  </a:lnTo>
                  <a:lnTo>
                    <a:pt x="9978" y="16091"/>
                  </a:lnTo>
                  <a:lnTo>
                    <a:pt x="10018" y="16069"/>
                  </a:lnTo>
                  <a:lnTo>
                    <a:pt x="10057" y="16048"/>
                  </a:lnTo>
                  <a:lnTo>
                    <a:pt x="10093" y="16026"/>
                  </a:lnTo>
                  <a:lnTo>
                    <a:pt x="10129" y="16004"/>
                  </a:lnTo>
                  <a:lnTo>
                    <a:pt x="10153" y="15994"/>
                  </a:lnTo>
                  <a:lnTo>
                    <a:pt x="10184" y="15979"/>
                  </a:lnTo>
                  <a:lnTo>
                    <a:pt x="10220" y="15962"/>
                  </a:lnTo>
                  <a:lnTo>
                    <a:pt x="10263" y="15939"/>
                  </a:lnTo>
                  <a:lnTo>
                    <a:pt x="10363" y="15886"/>
                  </a:lnTo>
                  <a:lnTo>
                    <a:pt x="10482" y="15821"/>
                  </a:lnTo>
                  <a:lnTo>
                    <a:pt x="10614" y="15748"/>
                  </a:lnTo>
                  <a:lnTo>
                    <a:pt x="10756" y="15669"/>
                  </a:lnTo>
                  <a:lnTo>
                    <a:pt x="10903" y="15584"/>
                  </a:lnTo>
                  <a:lnTo>
                    <a:pt x="11053" y="15498"/>
                  </a:lnTo>
                  <a:lnTo>
                    <a:pt x="11202" y="15411"/>
                  </a:lnTo>
                  <a:lnTo>
                    <a:pt x="11344" y="15328"/>
                  </a:lnTo>
                  <a:lnTo>
                    <a:pt x="11477" y="15249"/>
                  </a:lnTo>
                  <a:lnTo>
                    <a:pt x="11597" y="15176"/>
                  </a:lnTo>
                  <a:lnTo>
                    <a:pt x="11700" y="15111"/>
                  </a:lnTo>
                  <a:lnTo>
                    <a:pt x="11781" y="15060"/>
                  </a:lnTo>
                  <a:lnTo>
                    <a:pt x="11813" y="15038"/>
                  </a:lnTo>
                  <a:lnTo>
                    <a:pt x="11838" y="15021"/>
                  </a:lnTo>
                  <a:lnTo>
                    <a:pt x="11857" y="15007"/>
                  </a:lnTo>
                  <a:lnTo>
                    <a:pt x="11867" y="14997"/>
                  </a:lnTo>
                  <a:lnTo>
                    <a:pt x="11879" y="14991"/>
                  </a:lnTo>
                  <a:lnTo>
                    <a:pt x="11898" y="14982"/>
                  </a:lnTo>
                  <a:lnTo>
                    <a:pt x="11919" y="14970"/>
                  </a:lnTo>
                  <a:lnTo>
                    <a:pt x="11947" y="14954"/>
                  </a:lnTo>
                  <a:lnTo>
                    <a:pt x="12012" y="14913"/>
                  </a:lnTo>
                  <a:lnTo>
                    <a:pt x="12090" y="14864"/>
                  </a:lnTo>
                  <a:lnTo>
                    <a:pt x="12179" y="14806"/>
                  </a:lnTo>
                  <a:lnTo>
                    <a:pt x="12276" y="14741"/>
                  </a:lnTo>
                  <a:lnTo>
                    <a:pt x="12379" y="14672"/>
                  </a:lnTo>
                  <a:lnTo>
                    <a:pt x="12485" y="14600"/>
                  </a:lnTo>
                  <a:lnTo>
                    <a:pt x="12590" y="14528"/>
                  </a:lnTo>
                  <a:lnTo>
                    <a:pt x="12694" y="14457"/>
                  </a:lnTo>
                  <a:lnTo>
                    <a:pt x="12791" y="14388"/>
                  </a:lnTo>
                  <a:lnTo>
                    <a:pt x="12883" y="14324"/>
                  </a:lnTo>
                  <a:lnTo>
                    <a:pt x="12963" y="14267"/>
                  </a:lnTo>
                  <a:lnTo>
                    <a:pt x="13031" y="14218"/>
                  </a:lnTo>
                  <a:lnTo>
                    <a:pt x="13083" y="14179"/>
                  </a:lnTo>
                  <a:lnTo>
                    <a:pt x="13116" y="14152"/>
                  </a:lnTo>
                  <a:lnTo>
                    <a:pt x="13131" y="14143"/>
                  </a:lnTo>
                  <a:lnTo>
                    <a:pt x="13152" y="14131"/>
                  </a:lnTo>
                  <a:lnTo>
                    <a:pt x="13179" y="14112"/>
                  </a:lnTo>
                  <a:lnTo>
                    <a:pt x="13212" y="14088"/>
                  </a:lnTo>
                  <a:lnTo>
                    <a:pt x="13294" y="14030"/>
                  </a:lnTo>
                  <a:lnTo>
                    <a:pt x="13392" y="13958"/>
                  </a:lnTo>
                  <a:lnTo>
                    <a:pt x="13505" y="13873"/>
                  </a:lnTo>
                  <a:lnTo>
                    <a:pt x="13628" y="13779"/>
                  </a:lnTo>
                  <a:lnTo>
                    <a:pt x="13758" y="13680"/>
                  </a:lnTo>
                  <a:lnTo>
                    <a:pt x="13891" y="13578"/>
                  </a:lnTo>
                  <a:lnTo>
                    <a:pt x="14024" y="13475"/>
                  </a:lnTo>
                  <a:lnTo>
                    <a:pt x="14153" y="13374"/>
                  </a:lnTo>
                  <a:lnTo>
                    <a:pt x="14274" y="13278"/>
                  </a:lnTo>
                  <a:lnTo>
                    <a:pt x="14385" y="13190"/>
                  </a:lnTo>
                  <a:lnTo>
                    <a:pt x="14481" y="13112"/>
                  </a:lnTo>
                  <a:lnTo>
                    <a:pt x="14559" y="13048"/>
                  </a:lnTo>
                  <a:lnTo>
                    <a:pt x="14590" y="13022"/>
                  </a:lnTo>
                  <a:lnTo>
                    <a:pt x="14615" y="13000"/>
                  </a:lnTo>
                  <a:lnTo>
                    <a:pt x="14634" y="12982"/>
                  </a:lnTo>
                  <a:lnTo>
                    <a:pt x="14645" y="12970"/>
                  </a:lnTo>
                  <a:lnTo>
                    <a:pt x="14658" y="12963"/>
                  </a:lnTo>
                  <a:lnTo>
                    <a:pt x="14673" y="12954"/>
                  </a:lnTo>
                  <a:lnTo>
                    <a:pt x="14690" y="12942"/>
                  </a:lnTo>
                  <a:lnTo>
                    <a:pt x="14708" y="12928"/>
                  </a:lnTo>
                  <a:lnTo>
                    <a:pt x="14751" y="12895"/>
                  </a:lnTo>
                  <a:lnTo>
                    <a:pt x="14802" y="12854"/>
                  </a:lnTo>
                  <a:lnTo>
                    <a:pt x="14857" y="12807"/>
                  </a:lnTo>
                  <a:lnTo>
                    <a:pt x="14917" y="12756"/>
                  </a:lnTo>
                  <a:lnTo>
                    <a:pt x="14979" y="12701"/>
                  </a:lnTo>
                  <a:lnTo>
                    <a:pt x="15044" y="12645"/>
                  </a:lnTo>
                  <a:lnTo>
                    <a:pt x="15110" y="12587"/>
                  </a:lnTo>
                  <a:lnTo>
                    <a:pt x="15175" y="12530"/>
                  </a:lnTo>
                  <a:lnTo>
                    <a:pt x="15238" y="12475"/>
                  </a:lnTo>
                  <a:lnTo>
                    <a:pt x="15298" y="12421"/>
                  </a:lnTo>
                  <a:lnTo>
                    <a:pt x="15354" y="12372"/>
                  </a:lnTo>
                  <a:lnTo>
                    <a:pt x="15405" y="12328"/>
                  </a:lnTo>
                  <a:lnTo>
                    <a:pt x="15451" y="12291"/>
                  </a:lnTo>
                  <a:lnTo>
                    <a:pt x="15487" y="12261"/>
                  </a:lnTo>
                  <a:lnTo>
                    <a:pt x="15508" y="12245"/>
                  </a:lnTo>
                  <a:lnTo>
                    <a:pt x="15520" y="12233"/>
                  </a:lnTo>
                  <a:lnTo>
                    <a:pt x="15534" y="12220"/>
                  </a:lnTo>
                  <a:lnTo>
                    <a:pt x="15555" y="12200"/>
                  </a:lnTo>
                  <a:lnTo>
                    <a:pt x="15765" y="12013"/>
                  </a:lnTo>
                  <a:lnTo>
                    <a:pt x="15798" y="11979"/>
                  </a:lnTo>
                  <a:lnTo>
                    <a:pt x="15830" y="11947"/>
                  </a:lnTo>
                  <a:lnTo>
                    <a:pt x="15863" y="11915"/>
                  </a:lnTo>
                  <a:lnTo>
                    <a:pt x="15895" y="11884"/>
                  </a:lnTo>
                  <a:lnTo>
                    <a:pt x="15927" y="11853"/>
                  </a:lnTo>
                  <a:lnTo>
                    <a:pt x="15959" y="11823"/>
                  </a:lnTo>
                  <a:lnTo>
                    <a:pt x="15992" y="11790"/>
                  </a:lnTo>
                  <a:lnTo>
                    <a:pt x="16025" y="11758"/>
                  </a:lnTo>
                  <a:lnTo>
                    <a:pt x="16052" y="11733"/>
                  </a:lnTo>
                  <a:lnTo>
                    <a:pt x="16089" y="11696"/>
                  </a:lnTo>
                  <a:lnTo>
                    <a:pt x="16136" y="11649"/>
                  </a:lnTo>
                  <a:lnTo>
                    <a:pt x="16190" y="11595"/>
                  </a:lnTo>
                  <a:lnTo>
                    <a:pt x="16248" y="11535"/>
                  </a:lnTo>
                  <a:lnTo>
                    <a:pt x="16311" y="11470"/>
                  </a:lnTo>
                  <a:lnTo>
                    <a:pt x="16377" y="11403"/>
                  </a:lnTo>
                  <a:lnTo>
                    <a:pt x="16443" y="11335"/>
                  </a:lnTo>
                  <a:lnTo>
                    <a:pt x="16508" y="11268"/>
                  </a:lnTo>
                  <a:lnTo>
                    <a:pt x="16571" y="11202"/>
                  </a:lnTo>
                  <a:lnTo>
                    <a:pt x="16629" y="11140"/>
                  </a:lnTo>
                  <a:lnTo>
                    <a:pt x="16681" y="11084"/>
                  </a:lnTo>
                  <a:lnTo>
                    <a:pt x="16726" y="11036"/>
                  </a:lnTo>
                  <a:lnTo>
                    <a:pt x="16761" y="10997"/>
                  </a:lnTo>
                  <a:lnTo>
                    <a:pt x="16786" y="10969"/>
                  </a:lnTo>
                  <a:lnTo>
                    <a:pt x="16797" y="10953"/>
                  </a:lnTo>
                  <a:lnTo>
                    <a:pt x="16818" y="10935"/>
                  </a:lnTo>
                  <a:lnTo>
                    <a:pt x="16837" y="10915"/>
                  </a:lnTo>
                  <a:lnTo>
                    <a:pt x="16856" y="10896"/>
                  </a:lnTo>
                  <a:lnTo>
                    <a:pt x="16874" y="10875"/>
                  </a:lnTo>
                  <a:lnTo>
                    <a:pt x="16908" y="10833"/>
                  </a:lnTo>
                  <a:lnTo>
                    <a:pt x="16943" y="10789"/>
                  </a:lnTo>
                  <a:lnTo>
                    <a:pt x="17006" y="10707"/>
                  </a:lnTo>
                  <a:lnTo>
                    <a:pt x="17067" y="10626"/>
                  </a:lnTo>
                  <a:lnTo>
                    <a:pt x="17128" y="10543"/>
                  </a:lnTo>
                  <a:lnTo>
                    <a:pt x="17185" y="10462"/>
                  </a:lnTo>
                  <a:lnTo>
                    <a:pt x="17214" y="10421"/>
                  </a:lnTo>
                  <a:lnTo>
                    <a:pt x="17241" y="10379"/>
                  </a:lnTo>
                  <a:lnTo>
                    <a:pt x="17269" y="10337"/>
                  </a:lnTo>
                  <a:lnTo>
                    <a:pt x="17295" y="10296"/>
                  </a:lnTo>
                  <a:lnTo>
                    <a:pt x="17321" y="10254"/>
                  </a:lnTo>
                  <a:lnTo>
                    <a:pt x="17347" y="10211"/>
                  </a:lnTo>
                  <a:lnTo>
                    <a:pt x="17372" y="10169"/>
                  </a:lnTo>
                  <a:lnTo>
                    <a:pt x="17396" y="10125"/>
                  </a:lnTo>
                  <a:lnTo>
                    <a:pt x="17419" y="10081"/>
                  </a:lnTo>
                  <a:lnTo>
                    <a:pt x="17442" y="10037"/>
                  </a:lnTo>
                  <a:lnTo>
                    <a:pt x="17463" y="9992"/>
                  </a:lnTo>
                  <a:lnTo>
                    <a:pt x="17485" y="9946"/>
                  </a:lnTo>
                  <a:lnTo>
                    <a:pt x="17505" y="9900"/>
                  </a:lnTo>
                  <a:lnTo>
                    <a:pt x="17524" y="9853"/>
                  </a:lnTo>
                  <a:lnTo>
                    <a:pt x="17543" y="9805"/>
                  </a:lnTo>
                  <a:lnTo>
                    <a:pt x="17561" y="9757"/>
                  </a:lnTo>
                  <a:lnTo>
                    <a:pt x="17578" y="9708"/>
                  </a:lnTo>
                  <a:lnTo>
                    <a:pt x="17594" y="9657"/>
                  </a:lnTo>
                  <a:lnTo>
                    <a:pt x="17609" y="9606"/>
                  </a:lnTo>
                  <a:lnTo>
                    <a:pt x="17622" y="9553"/>
                  </a:lnTo>
                  <a:lnTo>
                    <a:pt x="17636" y="9501"/>
                  </a:lnTo>
                  <a:lnTo>
                    <a:pt x="17648" y="9446"/>
                  </a:lnTo>
                  <a:lnTo>
                    <a:pt x="17659" y="9391"/>
                  </a:lnTo>
                  <a:lnTo>
                    <a:pt x="17669" y="9334"/>
                  </a:lnTo>
                  <a:lnTo>
                    <a:pt x="17673" y="9309"/>
                  </a:lnTo>
                  <a:lnTo>
                    <a:pt x="17675" y="9283"/>
                  </a:lnTo>
                  <a:lnTo>
                    <a:pt x="17675" y="9255"/>
                  </a:lnTo>
                  <a:lnTo>
                    <a:pt x="17674" y="9226"/>
                  </a:lnTo>
                  <a:lnTo>
                    <a:pt x="17672" y="9196"/>
                  </a:lnTo>
                  <a:lnTo>
                    <a:pt x="17669" y="9165"/>
                  </a:lnTo>
                  <a:lnTo>
                    <a:pt x="17665" y="9133"/>
                  </a:lnTo>
                  <a:lnTo>
                    <a:pt x="17659" y="9101"/>
                  </a:lnTo>
                  <a:lnTo>
                    <a:pt x="17653" y="9068"/>
                  </a:lnTo>
                  <a:lnTo>
                    <a:pt x="17645" y="9034"/>
                  </a:lnTo>
                  <a:lnTo>
                    <a:pt x="17637" y="8999"/>
                  </a:lnTo>
                  <a:lnTo>
                    <a:pt x="17629" y="8965"/>
                  </a:lnTo>
                  <a:lnTo>
                    <a:pt x="17609" y="8895"/>
                  </a:lnTo>
                  <a:lnTo>
                    <a:pt x="17587" y="8825"/>
                  </a:lnTo>
                  <a:lnTo>
                    <a:pt x="17563" y="8757"/>
                  </a:lnTo>
                  <a:lnTo>
                    <a:pt x="17539" y="8689"/>
                  </a:lnTo>
                  <a:lnTo>
                    <a:pt x="17513" y="8624"/>
                  </a:lnTo>
                  <a:lnTo>
                    <a:pt x="17487" y="8563"/>
                  </a:lnTo>
                  <a:lnTo>
                    <a:pt x="17462" y="8506"/>
                  </a:lnTo>
                  <a:lnTo>
                    <a:pt x="17437" y="8455"/>
                  </a:lnTo>
                  <a:lnTo>
                    <a:pt x="17415" y="8408"/>
                  </a:lnTo>
                  <a:lnTo>
                    <a:pt x="17394" y="8369"/>
                  </a:lnTo>
                  <a:lnTo>
                    <a:pt x="17360" y="8310"/>
                  </a:lnTo>
                  <a:lnTo>
                    <a:pt x="17328" y="8254"/>
                  </a:lnTo>
                  <a:lnTo>
                    <a:pt x="17297" y="8203"/>
                  </a:lnTo>
                  <a:lnTo>
                    <a:pt x="17268" y="8155"/>
                  </a:lnTo>
                  <a:lnTo>
                    <a:pt x="17239" y="8109"/>
                  </a:lnTo>
                  <a:lnTo>
                    <a:pt x="17210" y="8066"/>
                  </a:lnTo>
                  <a:lnTo>
                    <a:pt x="17182" y="8023"/>
                  </a:lnTo>
                  <a:lnTo>
                    <a:pt x="17153" y="7981"/>
                  </a:lnTo>
                  <a:lnTo>
                    <a:pt x="17123" y="7941"/>
                  </a:lnTo>
                  <a:lnTo>
                    <a:pt x="17093" y="7900"/>
                  </a:lnTo>
                  <a:lnTo>
                    <a:pt x="17062" y="7858"/>
                  </a:lnTo>
                  <a:lnTo>
                    <a:pt x="17029" y="7816"/>
                  </a:lnTo>
                  <a:lnTo>
                    <a:pt x="16958" y="7727"/>
                  </a:lnTo>
                  <a:lnTo>
                    <a:pt x="16877" y="7627"/>
                  </a:lnTo>
                  <a:lnTo>
                    <a:pt x="16843" y="7585"/>
                  </a:lnTo>
                  <a:lnTo>
                    <a:pt x="16805" y="7540"/>
                  </a:lnTo>
                  <a:lnTo>
                    <a:pt x="16766" y="7493"/>
                  </a:lnTo>
                  <a:lnTo>
                    <a:pt x="16725" y="7446"/>
                  </a:lnTo>
                  <a:lnTo>
                    <a:pt x="16641" y="7350"/>
                  </a:lnTo>
                  <a:lnTo>
                    <a:pt x="16551" y="7253"/>
                  </a:lnTo>
                  <a:lnTo>
                    <a:pt x="16462" y="7157"/>
                  </a:lnTo>
                  <a:lnTo>
                    <a:pt x="16373" y="7065"/>
                  </a:lnTo>
                  <a:lnTo>
                    <a:pt x="16287" y="6978"/>
                  </a:lnTo>
                  <a:lnTo>
                    <a:pt x="16207" y="6899"/>
                  </a:lnTo>
                  <a:lnTo>
                    <a:pt x="16179" y="6872"/>
                  </a:lnTo>
                  <a:lnTo>
                    <a:pt x="16153" y="6842"/>
                  </a:lnTo>
                  <a:lnTo>
                    <a:pt x="16127" y="6811"/>
                  </a:lnTo>
                  <a:lnTo>
                    <a:pt x="16099" y="6779"/>
                  </a:lnTo>
                  <a:lnTo>
                    <a:pt x="16071" y="6747"/>
                  </a:lnTo>
                  <a:lnTo>
                    <a:pt x="16042" y="6715"/>
                  </a:lnTo>
                  <a:lnTo>
                    <a:pt x="16011" y="6683"/>
                  </a:lnTo>
                  <a:lnTo>
                    <a:pt x="15979" y="6652"/>
                  </a:lnTo>
                  <a:lnTo>
                    <a:pt x="14313" y="5186"/>
                  </a:lnTo>
                  <a:lnTo>
                    <a:pt x="14230" y="5121"/>
                  </a:lnTo>
                  <a:lnTo>
                    <a:pt x="14144" y="5052"/>
                  </a:lnTo>
                  <a:lnTo>
                    <a:pt x="14058" y="4981"/>
                  </a:lnTo>
                  <a:lnTo>
                    <a:pt x="13972" y="4911"/>
                  </a:lnTo>
                  <a:lnTo>
                    <a:pt x="13885" y="4840"/>
                  </a:lnTo>
                  <a:lnTo>
                    <a:pt x="13797" y="4769"/>
                  </a:lnTo>
                  <a:lnTo>
                    <a:pt x="13709" y="4700"/>
                  </a:lnTo>
                  <a:lnTo>
                    <a:pt x="13622" y="4634"/>
                  </a:lnTo>
                  <a:lnTo>
                    <a:pt x="13528" y="4565"/>
                  </a:lnTo>
                  <a:lnTo>
                    <a:pt x="13437" y="4496"/>
                  </a:lnTo>
                  <a:lnTo>
                    <a:pt x="13348" y="4430"/>
                  </a:lnTo>
                  <a:lnTo>
                    <a:pt x="13259" y="4364"/>
                  </a:lnTo>
                  <a:lnTo>
                    <a:pt x="13172" y="4299"/>
                  </a:lnTo>
                  <a:lnTo>
                    <a:pt x="13085" y="4234"/>
                  </a:lnTo>
                  <a:lnTo>
                    <a:pt x="12999" y="4170"/>
                  </a:lnTo>
                  <a:lnTo>
                    <a:pt x="12913" y="4107"/>
                  </a:lnTo>
                  <a:lnTo>
                    <a:pt x="12826" y="4043"/>
                  </a:lnTo>
                  <a:lnTo>
                    <a:pt x="12738" y="3980"/>
                  </a:lnTo>
                  <a:lnTo>
                    <a:pt x="12650" y="3916"/>
                  </a:lnTo>
                  <a:lnTo>
                    <a:pt x="12559" y="3852"/>
                  </a:lnTo>
                  <a:lnTo>
                    <a:pt x="12468" y="3787"/>
                  </a:lnTo>
                  <a:lnTo>
                    <a:pt x="12373" y="3722"/>
                  </a:lnTo>
                  <a:lnTo>
                    <a:pt x="12276" y="3655"/>
                  </a:lnTo>
                  <a:lnTo>
                    <a:pt x="12177" y="3589"/>
                  </a:lnTo>
                  <a:lnTo>
                    <a:pt x="12083" y="3525"/>
                  </a:lnTo>
                  <a:lnTo>
                    <a:pt x="11988" y="3463"/>
                  </a:lnTo>
                  <a:lnTo>
                    <a:pt x="11893" y="3402"/>
                  </a:lnTo>
                  <a:lnTo>
                    <a:pt x="11798" y="3340"/>
                  </a:lnTo>
                  <a:lnTo>
                    <a:pt x="11702" y="3280"/>
                  </a:lnTo>
                  <a:lnTo>
                    <a:pt x="11606" y="3219"/>
                  </a:lnTo>
                  <a:lnTo>
                    <a:pt x="11509" y="3158"/>
                  </a:lnTo>
                  <a:lnTo>
                    <a:pt x="11411" y="3097"/>
                  </a:lnTo>
                  <a:lnTo>
                    <a:pt x="11318" y="3037"/>
                  </a:lnTo>
                  <a:lnTo>
                    <a:pt x="11222" y="2979"/>
                  </a:lnTo>
                  <a:lnTo>
                    <a:pt x="11125" y="2920"/>
                  </a:lnTo>
                  <a:lnTo>
                    <a:pt x="11028" y="2863"/>
                  </a:lnTo>
                  <a:lnTo>
                    <a:pt x="10930" y="2806"/>
                  </a:lnTo>
                  <a:lnTo>
                    <a:pt x="10831" y="2749"/>
                  </a:lnTo>
                  <a:lnTo>
                    <a:pt x="10732" y="2692"/>
                  </a:lnTo>
                  <a:lnTo>
                    <a:pt x="10631" y="2635"/>
                  </a:lnTo>
                  <a:lnTo>
                    <a:pt x="10529" y="2579"/>
                  </a:lnTo>
                  <a:lnTo>
                    <a:pt x="10427" y="2523"/>
                  </a:lnTo>
                  <a:lnTo>
                    <a:pt x="10326" y="2468"/>
                  </a:lnTo>
                  <a:lnTo>
                    <a:pt x="10223" y="2413"/>
                  </a:lnTo>
                  <a:lnTo>
                    <a:pt x="10120" y="2359"/>
                  </a:lnTo>
                  <a:lnTo>
                    <a:pt x="10015" y="2305"/>
                  </a:lnTo>
                  <a:lnTo>
                    <a:pt x="9911" y="2251"/>
                  </a:lnTo>
                  <a:lnTo>
                    <a:pt x="9807" y="2198"/>
                  </a:lnTo>
                  <a:lnTo>
                    <a:pt x="9735" y="2162"/>
                  </a:lnTo>
                  <a:lnTo>
                    <a:pt x="9660" y="2124"/>
                  </a:lnTo>
                  <a:lnTo>
                    <a:pt x="9583" y="2086"/>
                  </a:lnTo>
                  <a:lnTo>
                    <a:pt x="9504" y="2047"/>
                  </a:lnTo>
                  <a:lnTo>
                    <a:pt x="9423" y="2010"/>
                  </a:lnTo>
                  <a:lnTo>
                    <a:pt x="9340" y="1971"/>
                  </a:lnTo>
                  <a:lnTo>
                    <a:pt x="9258" y="1932"/>
                  </a:lnTo>
                  <a:lnTo>
                    <a:pt x="9174" y="1893"/>
                  </a:lnTo>
                  <a:lnTo>
                    <a:pt x="9091" y="1855"/>
                  </a:lnTo>
                  <a:lnTo>
                    <a:pt x="9006" y="1816"/>
                  </a:lnTo>
                  <a:lnTo>
                    <a:pt x="8923" y="1780"/>
                  </a:lnTo>
                  <a:lnTo>
                    <a:pt x="8840" y="1743"/>
                  </a:lnTo>
                  <a:lnTo>
                    <a:pt x="8759" y="1707"/>
                  </a:lnTo>
                  <a:lnTo>
                    <a:pt x="8679" y="1673"/>
                  </a:lnTo>
                  <a:lnTo>
                    <a:pt x="8600" y="1640"/>
                  </a:lnTo>
                  <a:lnTo>
                    <a:pt x="8523" y="1608"/>
                  </a:lnTo>
                  <a:lnTo>
                    <a:pt x="8472" y="1587"/>
                  </a:lnTo>
                  <a:lnTo>
                    <a:pt x="8417" y="1562"/>
                  </a:lnTo>
                  <a:lnTo>
                    <a:pt x="8360" y="1537"/>
                  </a:lnTo>
                  <a:lnTo>
                    <a:pt x="8300" y="1511"/>
                  </a:lnTo>
                  <a:lnTo>
                    <a:pt x="8242" y="1485"/>
                  </a:lnTo>
                  <a:lnTo>
                    <a:pt x="8184" y="1461"/>
                  </a:lnTo>
                  <a:lnTo>
                    <a:pt x="8156" y="1451"/>
                  </a:lnTo>
                  <a:lnTo>
                    <a:pt x="8129" y="1442"/>
                  </a:lnTo>
                  <a:lnTo>
                    <a:pt x="8102" y="1433"/>
                  </a:lnTo>
                  <a:lnTo>
                    <a:pt x="8078" y="1426"/>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grpSp>
        <p:nvGrpSpPr>
          <p:cNvPr id="29" name="Group 33">
            <a:extLst>
              <a:ext uri="{FF2B5EF4-FFF2-40B4-BE49-F238E27FC236}">
                <a16:creationId xmlns:a16="http://schemas.microsoft.com/office/drawing/2014/main" id="{D908064D-EBE8-4619-BCEF-9E5566405082}"/>
              </a:ext>
            </a:extLst>
          </p:cNvPr>
          <p:cNvGrpSpPr/>
          <p:nvPr/>
        </p:nvGrpSpPr>
        <p:grpSpPr>
          <a:xfrm>
            <a:off x="6999033" y="2571050"/>
            <a:ext cx="259660" cy="259660"/>
            <a:chOff x="2288721" y="2772229"/>
            <a:chExt cx="2471965" cy="2471965"/>
          </a:xfrm>
        </p:grpSpPr>
        <p:sp>
          <p:nvSpPr>
            <p:cNvPr id="30" name="Oval 34">
              <a:extLst>
                <a:ext uri="{FF2B5EF4-FFF2-40B4-BE49-F238E27FC236}">
                  <a16:creationId xmlns:a16="http://schemas.microsoft.com/office/drawing/2014/main" id="{4B05B0CA-68D5-4DDD-8CDA-DB2F1A861BB3}"/>
                </a:ext>
              </a:extLst>
            </p:cNvPr>
            <p:cNvSpPr/>
            <p:nvPr/>
          </p:nvSpPr>
          <p:spPr>
            <a:xfrm>
              <a:off x="2288721" y="2772229"/>
              <a:ext cx="2471965" cy="2471965"/>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等线" panose="020F0502020204030204"/>
                <a:ea typeface="+mn-ea"/>
                <a:cs typeface="+mn-cs"/>
              </a:endParaRPr>
            </a:p>
          </p:txBody>
        </p:sp>
        <p:sp>
          <p:nvSpPr>
            <p:cNvPr id="31" name="Freeform 29">
              <a:extLst>
                <a:ext uri="{FF2B5EF4-FFF2-40B4-BE49-F238E27FC236}">
                  <a16:creationId xmlns:a16="http://schemas.microsoft.com/office/drawing/2014/main" id="{9E191373-80F9-4497-8587-6D24FC0DFC74}"/>
                </a:ext>
              </a:extLst>
            </p:cNvPr>
            <p:cNvSpPr>
              <a:spLocks/>
            </p:cNvSpPr>
            <p:nvPr/>
          </p:nvSpPr>
          <p:spPr bwMode="auto">
            <a:xfrm>
              <a:off x="2804183" y="3513718"/>
              <a:ext cx="1503332" cy="1160049"/>
            </a:xfrm>
            <a:custGeom>
              <a:avLst/>
              <a:gdLst>
                <a:gd name="T0" fmla="*/ 198196 w 59"/>
                <a:gd name="T1" fmla="*/ 41487 h 45"/>
                <a:gd name="T2" fmla="*/ 102515 w 59"/>
                <a:gd name="T3" fmla="*/ 134832 h 45"/>
                <a:gd name="T4" fmla="*/ 85429 w 59"/>
                <a:gd name="T5" fmla="*/ 152118 h 45"/>
                <a:gd name="T6" fmla="*/ 78595 w 59"/>
                <a:gd name="T7" fmla="*/ 155575 h 45"/>
                <a:gd name="T8" fmla="*/ 68343 w 59"/>
                <a:gd name="T9" fmla="*/ 152118 h 45"/>
                <a:gd name="T10" fmla="*/ 51258 w 59"/>
                <a:gd name="T11" fmla="*/ 134832 h 45"/>
                <a:gd name="T12" fmla="*/ 3417 w 59"/>
                <a:gd name="T13" fmla="*/ 89888 h 45"/>
                <a:gd name="T14" fmla="*/ 0 w 59"/>
                <a:gd name="T15" fmla="*/ 79516 h 45"/>
                <a:gd name="T16" fmla="*/ 3417 w 59"/>
                <a:gd name="T17" fmla="*/ 69144 h 45"/>
                <a:gd name="T18" fmla="*/ 20503 w 59"/>
                <a:gd name="T19" fmla="*/ 51858 h 45"/>
                <a:gd name="T20" fmla="*/ 30755 w 59"/>
                <a:gd name="T21" fmla="*/ 48401 h 45"/>
                <a:gd name="T22" fmla="*/ 37589 w 59"/>
                <a:gd name="T23" fmla="*/ 51858 h 45"/>
                <a:gd name="T24" fmla="*/ 78595 w 59"/>
                <a:gd name="T25" fmla="*/ 89888 h 45"/>
                <a:gd name="T26" fmla="*/ 160607 w 59"/>
                <a:gd name="T27" fmla="*/ 3457 h 45"/>
                <a:gd name="T28" fmla="*/ 170858 w 59"/>
                <a:gd name="T29" fmla="*/ 0 h 45"/>
                <a:gd name="T30" fmla="*/ 181110 w 59"/>
                <a:gd name="T31" fmla="*/ 3457 h 45"/>
                <a:gd name="T32" fmla="*/ 198196 w 59"/>
                <a:gd name="T33" fmla="*/ 24201 h 45"/>
                <a:gd name="T34" fmla="*/ 201613 w 59"/>
                <a:gd name="T35" fmla="*/ 31115 h 45"/>
                <a:gd name="T36" fmla="*/ 198196 w 59"/>
                <a:gd name="T37" fmla="*/ 41487 h 4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9" h="45">
                  <a:moveTo>
                    <a:pt x="58" y="12"/>
                  </a:moveTo>
                  <a:cubicBezTo>
                    <a:pt x="30" y="39"/>
                    <a:pt x="30" y="39"/>
                    <a:pt x="30" y="39"/>
                  </a:cubicBezTo>
                  <a:cubicBezTo>
                    <a:pt x="25" y="44"/>
                    <a:pt x="25" y="44"/>
                    <a:pt x="25" y="44"/>
                  </a:cubicBezTo>
                  <a:cubicBezTo>
                    <a:pt x="24" y="45"/>
                    <a:pt x="24" y="45"/>
                    <a:pt x="23" y="45"/>
                  </a:cubicBezTo>
                  <a:cubicBezTo>
                    <a:pt x="22" y="45"/>
                    <a:pt x="21" y="45"/>
                    <a:pt x="20" y="44"/>
                  </a:cubicBezTo>
                  <a:cubicBezTo>
                    <a:pt x="15" y="39"/>
                    <a:pt x="15" y="39"/>
                    <a:pt x="15" y="39"/>
                  </a:cubicBezTo>
                  <a:cubicBezTo>
                    <a:pt x="1" y="26"/>
                    <a:pt x="1" y="26"/>
                    <a:pt x="1" y="26"/>
                  </a:cubicBezTo>
                  <a:cubicBezTo>
                    <a:pt x="0" y="25"/>
                    <a:pt x="0" y="24"/>
                    <a:pt x="0" y="23"/>
                  </a:cubicBezTo>
                  <a:cubicBezTo>
                    <a:pt x="0" y="22"/>
                    <a:pt x="0" y="21"/>
                    <a:pt x="1" y="20"/>
                  </a:cubicBezTo>
                  <a:cubicBezTo>
                    <a:pt x="6" y="15"/>
                    <a:pt x="6" y="15"/>
                    <a:pt x="6" y="15"/>
                  </a:cubicBezTo>
                  <a:cubicBezTo>
                    <a:pt x="7" y="14"/>
                    <a:pt x="8" y="14"/>
                    <a:pt x="9" y="14"/>
                  </a:cubicBezTo>
                  <a:cubicBezTo>
                    <a:pt x="10" y="14"/>
                    <a:pt x="11" y="14"/>
                    <a:pt x="11" y="15"/>
                  </a:cubicBezTo>
                  <a:cubicBezTo>
                    <a:pt x="23" y="26"/>
                    <a:pt x="23" y="26"/>
                    <a:pt x="23" y="26"/>
                  </a:cubicBezTo>
                  <a:cubicBezTo>
                    <a:pt x="47" y="1"/>
                    <a:pt x="47" y="1"/>
                    <a:pt x="47" y="1"/>
                  </a:cubicBezTo>
                  <a:cubicBezTo>
                    <a:pt x="48" y="1"/>
                    <a:pt x="49" y="0"/>
                    <a:pt x="50" y="0"/>
                  </a:cubicBezTo>
                  <a:cubicBezTo>
                    <a:pt x="51" y="0"/>
                    <a:pt x="52" y="1"/>
                    <a:pt x="53" y="1"/>
                  </a:cubicBezTo>
                  <a:cubicBezTo>
                    <a:pt x="58" y="7"/>
                    <a:pt x="58" y="7"/>
                    <a:pt x="58" y="7"/>
                  </a:cubicBezTo>
                  <a:cubicBezTo>
                    <a:pt x="58" y="7"/>
                    <a:pt x="59" y="8"/>
                    <a:pt x="59" y="9"/>
                  </a:cubicBezTo>
                  <a:cubicBezTo>
                    <a:pt x="59" y="10"/>
                    <a:pt x="58" y="11"/>
                    <a:pt x="58" y="12"/>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grpSp>
      <p:grpSp>
        <p:nvGrpSpPr>
          <p:cNvPr id="32" name="Group 36">
            <a:extLst>
              <a:ext uri="{FF2B5EF4-FFF2-40B4-BE49-F238E27FC236}">
                <a16:creationId xmlns:a16="http://schemas.microsoft.com/office/drawing/2014/main" id="{0EC75E94-D366-4917-BFA9-9B472084D884}"/>
              </a:ext>
            </a:extLst>
          </p:cNvPr>
          <p:cNvGrpSpPr/>
          <p:nvPr/>
        </p:nvGrpSpPr>
        <p:grpSpPr>
          <a:xfrm>
            <a:off x="7312838" y="2494167"/>
            <a:ext cx="3921219" cy="975323"/>
            <a:chOff x="1090766" y="688621"/>
            <a:chExt cx="3921219" cy="975323"/>
          </a:xfrm>
        </p:grpSpPr>
        <p:sp>
          <p:nvSpPr>
            <p:cNvPr id="33" name="Rectangle 37">
              <a:extLst>
                <a:ext uri="{FF2B5EF4-FFF2-40B4-BE49-F238E27FC236}">
                  <a16:creationId xmlns:a16="http://schemas.microsoft.com/office/drawing/2014/main" id="{AD1B1D56-6C45-41C0-8D0A-9B5123215EF5}"/>
                </a:ext>
              </a:extLst>
            </p:cNvPr>
            <p:cNvSpPr/>
            <p:nvPr/>
          </p:nvSpPr>
          <p:spPr>
            <a:xfrm>
              <a:off x="1090766" y="688621"/>
              <a:ext cx="2132703" cy="368114"/>
            </a:xfrm>
            <a:prstGeom prst="rect">
              <a:avLst/>
            </a:prstGeom>
          </p:spPr>
          <p:txBody>
            <a:bodyPr wrap="square">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lumMod val="75000"/>
                      <a:lumOff val="25000"/>
                    </a:srgbClr>
                  </a:solidFill>
                  <a:effectLst/>
                  <a:uLnTx/>
                  <a:uFillTx/>
                  <a:latin typeface="Inter SemiBold" panose="020B0502030000000004" pitchFamily="34" charset="0"/>
                  <a:ea typeface="+mn-ea"/>
                  <a:cs typeface="Open Sans Light" panose="020B0306030504020204" pitchFamily="34" charset="0"/>
                </a:rPr>
                <a:t>Your Title Text</a:t>
              </a:r>
            </a:p>
          </p:txBody>
        </p:sp>
        <p:sp>
          <p:nvSpPr>
            <p:cNvPr id="34" name="Rectangle 38">
              <a:extLst>
                <a:ext uri="{FF2B5EF4-FFF2-40B4-BE49-F238E27FC236}">
                  <a16:creationId xmlns:a16="http://schemas.microsoft.com/office/drawing/2014/main" id="{038F8C36-6B17-4D72-AD18-EF7264857FA0}"/>
                </a:ext>
              </a:extLst>
            </p:cNvPr>
            <p:cNvSpPr/>
            <p:nvPr/>
          </p:nvSpPr>
          <p:spPr>
            <a:xfrm>
              <a:off x="1090766" y="1054546"/>
              <a:ext cx="3921219" cy="609398"/>
            </a:xfrm>
            <a:prstGeom prst="rect">
              <a:avLst/>
            </a:prstGeom>
          </p:spPr>
          <p:txBody>
            <a:bodyPr wrap="square">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id-ID" sz="1400" b="0" i="0" u="none" strike="noStrike" kern="1200" cap="none" spc="0" normalizeH="0" baseline="0" noProof="0" dirty="0">
                  <a:ln>
                    <a:noFill/>
                  </a:ln>
                  <a:solidFill>
                    <a:srgbClr val="FFFFFF">
                      <a:lumMod val="65000"/>
                    </a:srgbClr>
                  </a:solidFill>
                  <a:effectLst/>
                  <a:uLnTx/>
                  <a:uFillTx/>
                  <a:latin typeface="Segoe UI Light" panose="020B0502040204020203" pitchFamily="34" charset="0"/>
                  <a:ea typeface="+mn-ea"/>
                  <a:cs typeface="Segoe UI Light" panose="020B0502040204020203" pitchFamily="34" charset="0"/>
                </a:rPr>
                <a:t>The quick, brown fox jumps over a lazy dog. DJs flock by when MTV ax quiz prog. </a:t>
              </a:r>
              <a:endParaRPr kumimoji="0" lang="en-US" sz="1400" b="0" i="0" u="none" strike="noStrike" kern="1200" cap="none" spc="0" normalizeH="0" baseline="0" noProof="0" dirty="0">
                <a:ln>
                  <a:noFill/>
                </a:ln>
                <a:solidFill>
                  <a:srgbClr val="FFFFFF">
                    <a:lumMod val="65000"/>
                  </a:srgbClr>
                </a:solidFill>
                <a:effectLst/>
                <a:uLnTx/>
                <a:uFillTx/>
                <a:latin typeface="Segoe UI Light" panose="020B0502040204020203" pitchFamily="34" charset="0"/>
                <a:ea typeface="+mn-ea"/>
                <a:cs typeface="Segoe UI Light" panose="020B0502040204020203" pitchFamily="34" charset="0"/>
              </a:endParaRPr>
            </a:p>
          </p:txBody>
        </p:sp>
      </p:grpSp>
      <p:grpSp>
        <p:nvGrpSpPr>
          <p:cNvPr id="35" name="Group 39">
            <a:extLst>
              <a:ext uri="{FF2B5EF4-FFF2-40B4-BE49-F238E27FC236}">
                <a16:creationId xmlns:a16="http://schemas.microsoft.com/office/drawing/2014/main" id="{1686525B-814D-4705-AB4E-C52DBF4BBBDE}"/>
              </a:ext>
            </a:extLst>
          </p:cNvPr>
          <p:cNvGrpSpPr/>
          <p:nvPr/>
        </p:nvGrpSpPr>
        <p:grpSpPr>
          <a:xfrm>
            <a:off x="6999033" y="3764097"/>
            <a:ext cx="259660" cy="259660"/>
            <a:chOff x="2288721" y="2772229"/>
            <a:chExt cx="2471965" cy="2471965"/>
          </a:xfrm>
        </p:grpSpPr>
        <p:sp>
          <p:nvSpPr>
            <p:cNvPr id="36" name="Oval 40">
              <a:extLst>
                <a:ext uri="{FF2B5EF4-FFF2-40B4-BE49-F238E27FC236}">
                  <a16:creationId xmlns:a16="http://schemas.microsoft.com/office/drawing/2014/main" id="{12A726DE-D0B2-46D7-85D4-FEFFF0F85BA0}"/>
                </a:ext>
              </a:extLst>
            </p:cNvPr>
            <p:cNvSpPr/>
            <p:nvPr/>
          </p:nvSpPr>
          <p:spPr>
            <a:xfrm>
              <a:off x="2288721" y="2772229"/>
              <a:ext cx="2471965" cy="2471965"/>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等线" panose="020F0502020204030204"/>
                <a:ea typeface="+mn-ea"/>
                <a:cs typeface="+mn-cs"/>
              </a:endParaRPr>
            </a:p>
          </p:txBody>
        </p:sp>
        <p:sp>
          <p:nvSpPr>
            <p:cNvPr id="37" name="Freeform 29">
              <a:extLst>
                <a:ext uri="{FF2B5EF4-FFF2-40B4-BE49-F238E27FC236}">
                  <a16:creationId xmlns:a16="http://schemas.microsoft.com/office/drawing/2014/main" id="{989797E8-456F-491E-8F9C-0317F6C7C98F}"/>
                </a:ext>
              </a:extLst>
            </p:cNvPr>
            <p:cNvSpPr>
              <a:spLocks/>
            </p:cNvSpPr>
            <p:nvPr/>
          </p:nvSpPr>
          <p:spPr bwMode="auto">
            <a:xfrm>
              <a:off x="2804183" y="3513718"/>
              <a:ext cx="1503332" cy="1160049"/>
            </a:xfrm>
            <a:custGeom>
              <a:avLst/>
              <a:gdLst>
                <a:gd name="T0" fmla="*/ 198196 w 59"/>
                <a:gd name="T1" fmla="*/ 41487 h 45"/>
                <a:gd name="T2" fmla="*/ 102515 w 59"/>
                <a:gd name="T3" fmla="*/ 134832 h 45"/>
                <a:gd name="T4" fmla="*/ 85429 w 59"/>
                <a:gd name="T5" fmla="*/ 152118 h 45"/>
                <a:gd name="T6" fmla="*/ 78595 w 59"/>
                <a:gd name="T7" fmla="*/ 155575 h 45"/>
                <a:gd name="T8" fmla="*/ 68343 w 59"/>
                <a:gd name="T9" fmla="*/ 152118 h 45"/>
                <a:gd name="T10" fmla="*/ 51258 w 59"/>
                <a:gd name="T11" fmla="*/ 134832 h 45"/>
                <a:gd name="T12" fmla="*/ 3417 w 59"/>
                <a:gd name="T13" fmla="*/ 89888 h 45"/>
                <a:gd name="T14" fmla="*/ 0 w 59"/>
                <a:gd name="T15" fmla="*/ 79516 h 45"/>
                <a:gd name="T16" fmla="*/ 3417 w 59"/>
                <a:gd name="T17" fmla="*/ 69144 h 45"/>
                <a:gd name="T18" fmla="*/ 20503 w 59"/>
                <a:gd name="T19" fmla="*/ 51858 h 45"/>
                <a:gd name="T20" fmla="*/ 30755 w 59"/>
                <a:gd name="T21" fmla="*/ 48401 h 45"/>
                <a:gd name="T22" fmla="*/ 37589 w 59"/>
                <a:gd name="T23" fmla="*/ 51858 h 45"/>
                <a:gd name="T24" fmla="*/ 78595 w 59"/>
                <a:gd name="T25" fmla="*/ 89888 h 45"/>
                <a:gd name="T26" fmla="*/ 160607 w 59"/>
                <a:gd name="T27" fmla="*/ 3457 h 45"/>
                <a:gd name="T28" fmla="*/ 170858 w 59"/>
                <a:gd name="T29" fmla="*/ 0 h 45"/>
                <a:gd name="T30" fmla="*/ 181110 w 59"/>
                <a:gd name="T31" fmla="*/ 3457 h 45"/>
                <a:gd name="T32" fmla="*/ 198196 w 59"/>
                <a:gd name="T33" fmla="*/ 24201 h 45"/>
                <a:gd name="T34" fmla="*/ 201613 w 59"/>
                <a:gd name="T35" fmla="*/ 31115 h 45"/>
                <a:gd name="T36" fmla="*/ 198196 w 59"/>
                <a:gd name="T37" fmla="*/ 41487 h 4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9" h="45">
                  <a:moveTo>
                    <a:pt x="58" y="12"/>
                  </a:moveTo>
                  <a:cubicBezTo>
                    <a:pt x="30" y="39"/>
                    <a:pt x="30" y="39"/>
                    <a:pt x="30" y="39"/>
                  </a:cubicBezTo>
                  <a:cubicBezTo>
                    <a:pt x="25" y="44"/>
                    <a:pt x="25" y="44"/>
                    <a:pt x="25" y="44"/>
                  </a:cubicBezTo>
                  <a:cubicBezTo>
                    <a:pt x="24" y="45"/>
                    <a:pt x="24" y="45"/>
                    <a:pt x="23" y="45"/>
                  </a:cubicBezTo>
                  <a:cubicBezTo>
                    <a:pt x="22" y="45"/>
                    <a:pt x="21" y="45"/>
                    <a:pt x="20" y="44"/>
                  </a:cubicBezTo>
                  <a:cubicBezTo>
                    <a:pt x="15" y="39"/>
                    <a:pt x="15" y="39"/>
                    <a:pt x="15" y="39"/>
                  </a:cubicBezTo>
                  <a:cubicBezTo>
                    <a:pt x="1" y="26"/>
                    <a:pt x="1" y="26"/>
                    <a:pt x="1" y="26"/>
                  </a:cubicBezTo>
                  <a:cubicBezTo>
                    <a:pt x="0" y="25"/>
                    <a:pt x="0" y="24"/>
                    <a:pt x="0" y="23"/>
                  </a:cubicBezTo>
                  <a:cubicBezTo>
                    <a:pt x="0" y="22"/>
                    <a:pt x="0" y="21"/>
                    <a:pt x="1" y="20"/>
                  </a:cubicBezTo>
                  <a:cubicBezTo>
                    <a:pt x="6" y="15"/>
                    <a:pt x="6" y="15"/>
                    <a:pt x="6" y="15"/>
                  </a:cubicBezTo>
                  <a:cubicBezTo>
                    <a:pt x="7" y="14"/>
                    <a:pt x="8" y="14"/>
                    <a:pt x="9" y="14"/>
                  </a:cubicBezTo>
                  <a:cubicBezTo>
                    <a:pt x="10" y="14"/>
                    <a:pt x="11" y="14"/>
                    <a:pt x="11" y="15"/>
                  </a:cubicBezTo>
                  <a:cubicBezTo>
                    <a:pt x="23" y="26"/>
                    <a:pt x="23" y="26"/>
                    <a:pt x="23" y="26"/>
                  </a:cubicBezTo>
                  <a:cubicBezTo>
                    <a:pt x="47" y="1"/>
                    <a:pt x="47" y="1"/>
                    <a:pt x="47" y="1"/>
                  </a:cubicBezTo>
                  <a:cubicBezTo>
                    <a:pt x="48" y="1"/>
                    <a:pt x="49" y="0"/>
                    <a:pt x="50" y="0"/>
                  </a:cubicBezTo>
                  <a:cubicBezTo>
                    <a:pt x="51" y="0"/>
                    <a:pt x="52" y="1"/>
                    <a:pt x="53" y="1"/>
                  </a:cubicBezTo>
                  <a:cubicBezTo>
                    <a:pt x="58" y="7"/>
                    <a:pt x="58" y="7"/>
                    <a:pt x="58" y="7"/>
                  </a:cubicBezTo>
                  <a:cubicBezTo>
                    <a:pt x="58" y="7"/>
                    <a:pt x="59" y="8"/>
                    <a:pt x="59" y="9"/>
                  </a:cubicBezTo>
                  <a:cubicBezTo>
                    <a:pt x="59" y="10"/>
                    <a:pt x="58" y="11"/>
                    <a:pt x="58" y="12"/>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grpSp>
      <p:grpSp>
        <p:nvGrpSpPr>
          <p:cNvPr id="38" name="Group 42">
            <a:extLst>
              <a:ext uri="{FF2B5EF4-FFF2-40B4-BE49-F238E27FC236}">
                <a16:creationId xmlns:a16="http://schemas.microsoft.com/office/drawing/2014/main" id="{F2C985F0-09D7-4EDF-9A69-093A9AF12624}"/>
              </a:ext>
            </a:extLst>
          </p:cNvPr>
          <p:cNvGrpSpPr/>
          <p:nvPr/>
        </p:nvGrpSpPr>
        <p:grpSpPr>
          <a:xfrm>
            <a:off x="7312838" y="3687214"/>
            <a:ext cx="3921219" cy="975323"/>
            <a:chOff x="1090766" y="688621"/>
            <a:chExt cx="3921219" cy="975323"/>
          </a:xfrm>
        </p:grpSpPr>
        <p:sp>
          <p:nvSpPr>
            <p:cNvPr id="39" name="Rectangle 43">
              <a:extLst>
                <a:ext uri="{FF2B5EF4-FFF2-40B4-BE49-F238E27FC236}">
                  <a16:creationId xmlns:a16="http://schemas.microsoft.com/office/drawing/2014/main" id="{76922051-295D-4362-864C-E02601700504}"/>
                </a:ext>
              </a:extLst>
            </p:cNvPr>
            <p:cNvSpPr/>
            <p:nvPr/>
          </p:nvSpPr>
          <p:spPr>
            <a:xfrm>
              <a:off x="1090766" y="688621"/>
              <a:ext cx="2132703" cy="368114"/>
            </a:xfrm>
            <a:prstGeom prst="rect">
              <a:avLst/>
            </a:prstGeom>
          </p:spPr>
          <p:txBody>
            <a:bodyPr wrap="square">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lumMod val="75000"/>
                      <a:lumOff val="25000"/>
                    </a:srgbClr>
                  </a:solidFill>
                  <a:effectLst/>
                  <a:uLnTx/>
                  <a:uFillTx/>
                  <a:latin typeface="Inter SemiBold" panose="020B0502030000000004" pitchFamily="34" charset="0"/>
                  <a:ea typeface="+mn-ea"/>
                  <a:cs typeface="Open Sans Light" panose="020B0306030504020204" pitchFamily="34" charset="0"/>
                </a:rPr>
                <a:t>Your Title Text</a:t>
              </a:r>
            </a:p>
          </p:txBody>
        </p:sp>
        <p:sp>
          <p:nvSpPr>
            <p:cNvPr id="40" name="Rectangle 44">
              <a:extLst>
                <a:ext uri="{FF2B5EF4-FFF2-40B4-BE49-F238E27FC236}">
                  <a16:creationId xmlns:a16="http://schemas.microsoft.com/office/drawing/2014/main" id="{DE833726-EA1E-4F85-92EC-065BFB0A6B3A}"/>
                </a:ext>
              </a:extLst>
            </p:cNvPr>
            <p:cNvSpPr/>
            <p:nvPr/>
          </p:nvSpPr>
          <p:spPr>
            <a:xfrm>
              <a:off x="1090766" y="1054546"/>
              <a:ext cx="3921219" cy="609398"/>
            </a:xfrm>
            <a:prstGeom prst="rect">
              <a:avLst/>
            </a:prstGeom>
          </p:spPr>
          <p:txBody>
            <a:bodyPr wrap="square">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id-ID" sz="1400" b="0" i="0" u="none" strike="noStrike" kern="1200" cap="none" spc="0" normalizeH="0" baseline="0" noProof="0" dirty="0">
                  <a:ln>
                    <a:noFill/>
                  </a:ln>
                  <a:solidFill>
                    <a:srgbClr val="FFFFFF">
                      <a:lumMod val="65000"/>
                    </a:srgbClr>
                  </a:solidFill>
                  <a:effectLst/>
                  <a:uLnTx/>
                  <a:uFillTx/>
                  <a:latin typeface="Segoe UI Light" panose="020B0502040204020203" pitchFamily="34" charset="0"/>
                  <a:ea typeface="+mn-ea"/>
                  <a:cs typeface="Segoe UI Light" panose="020B0502040204020203" pitchFamily="34" charset="0"/>
                </a:rPr>
                <a:t>The quick, brown fox jumps over a lazy dog. DJs flock by when MTV ax quiz prog. </a:t>
              </a:r>
              <a:endParaRPr kumimoji="0" lang="en-US" sz="1400" b="0" i="0" u="none" strike="noStrike" kern="1200" cap="none" spc="0" normalizeH="0" baseline="0" noProof="0" dirty="0">
                <a:ln>
                  <a:noFill/>
                </a:ln>
                <a:solidFill>
                  <a:srgbClr val="FFFFFF">
                    <a:lumMod val="65000"/>
                  </a:srgbClr>
                </a:solidFill>
                <a:effectLst/>
                <a:uLnTx/>
                <a:uFillTx/>
                <a:latin typeface="Segoe UI Light" panose="020B0502040204020203" pitchFamily="34" charset="0"/>
                <a:ea typeface="+mn-ea"/>
                <a:cs typeface="Segoe UI Light" panose="020B0502040204020203" pitchFamily="34" charset="0"/>
              </a:endParaRPr>
            </a:p>
          </p:txBody>
        </p:sp>
      </p:grpSp>
      <p:grpSp>
        <p:nvGrpSpPr>
          <p:cNvPr id="41" name="Group 45">
            <a:extLst>
              <a:ext uri="{FF2B5EF4-FFF2-40B4-BE49-F238E27FC236}">
                <a16:creationId xmlns:a16="http://schemas.microsoft.com/office/drawing/2014/main" id="{E2F3F9F0-B228-448B-8869-0EAA98335432}"/>
              </a:ext>
            </a:extLst>
          </p:cNvPr>
          <p:cNvGrpSpPr/>
          <p:nvPr/>
        </p:nvGrpSpPr>
        <p:grpSpPr>
          <a:xfrm>
            <a:off x="6999033" y="4895969"/>
            <a:ext cx="259660" cy="259660"/>
            <a:chOff x="2288721" y="2772229"/>
            <a:chExt cx="2471965" cy="2471965"/>
          </a:xfrm>
        </p:grpSpPr>
        <p:sp>
          <p:nvSpPr>
            <p:cNvPr id="42" name="Oval 46">
              <a:extLst>
                <a:ext uri="{FF2B5EF4-FFF2-40B4-BE49-F238E27FC236}">
                  <a16:creationId xmlns:a16="http://schemas.microsoft.com/office/drawing/2014/main" id="{8CBA2FF7-2AFB-4ADC-A827-A1803400E3F3}"/>
                </a:ext>
              </a:extLst>
            </p:cNvPr>
            <p:cNvSpPr/>
            <p:nvPr/>
          </p:nvSpPr>
          <p:spPr>
            <a:xfrm>
              <a:off x="2288721" y="2772229"/>
              <a:ext cx="2471965" cy="2471965"/>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等线" panose="020F0502020204030204"/>
                <a:ea typeface="+mn-ea"/>
                <a:cs typeface="+mn-cs"/>
              </a:endParaRPr>
            </a:p>
          </p:txBody>
        </p:sp>
        <p:sp>
          <p:nvSpPr>
            <p:cNvPr id="43" name="Freeform 29">
              <a:extLst>
                <a:ext uri="{FF2B5EF4-FFF2-40B4-BE49-F238E27FC236}">
                  <a16:creationId xmlns:a16="http://schemas.microsoft.com/office/drawing/2014/main" id="{21A730B4-5888-4EE2-BF80-21DAAB2D7897}"/>
                </a:ext>
              </a:extLst>
            </p:cNvPr>
            <p:cNvSpPr>
              <a:spLocks/>
            </p:cNvSpPr>
            <p:nvPr/>
          </p:nvSpPr>
          <p:spPr bwMode="auto">
            <a:xfrm>
              <a:off x="2804183" y="3513718"/>
              <a:ext cx="1503332" cy="1160049"/>
            </a:xfrm>
            <a:custGeom>
              <a:avLst/>
              <a:gdLst>
                <a:gd name="T0" fmla="*/ 198196 w 59"/>
                <a:gd name="T1" fmla="*/ 41487 h 45"/>
                <a:gd name="T2" fmla="*/ 102515 w 59"/>
                <a:gd name="T3" fmla="*/ 134832 h 45"/>
                <a:gd name="T4" fmla="*/ 85429 w 59"/>
                <a:gd name="T5" fmla="*/ 152118 h 45"/>
                <a:gd name="T6" fmla="*/ 78595 w 59"/>
                <a:gd name="T7" fmla="*/ 155575 h 45"/>
                <a:gd name="T8" fmla="*/ 68343 w 59"/>
                <a:gd name="T9" fmla="*/ 152118 h 45"/>
                <a:gd name="T10" fmla="*/ 51258 w 59"/>
                <a:gd name="T11" fmla="*/ 134832 h 45"/>
                <a:gd name="T12" fmla="*/ 3417 w 59"/>
                <a:gd name="T13" fmla="*/ 89888 h 45"/>
                <a:gd name="T14" fmla="*/ 0 w 59"/>
                <a:gd name="T15" fmla="*/ 79516 h 45"/>
                <a:gd name="T16" fmla="*/ 3417 w 59"/>
                <a:gd name="T17" fmla="*/ 69144 h 45"/>
                <a:gd name="T18" fmla="*/ 20503 w 59"/>
                <a:gd name="T19" fmla="*/ 51858 h 45"/>
                <a:gd name="T20" fmla="*/ 30755 w 59"/>
                <a:gd name="T21" fmla="*/ 48401 h 45"/>
                <a:gd name="T22" fmla="*/ 37589 w 59"/>
                <a:gd name="T23" fmla="*/ 51858 h 45"/>
                <a:gd name="T24" fmla="*/ 78595 w 59"/>
                <a:gd name="T25" fmla="*/ 89888 h 45"/>
                <a:gd name="T26" fmla="*/ 160607 w 59"/>
                <a:gd name="T27" fmla="*/ 3457 h 45"/>
                <a:gd name="T28" fmla="*/ 170858 w 59"/>
                <a:gd name="T29" fmla="*/ 0 h 45"/>
                <a:gd name="T30" fmla="*/ 181110 w 59"/>
                <a:gd name="T31" fmla="*/ 3457 h 45"/>
                <a:gd name="T32" fmla="*/ 198196 w 59"/>
                <a:gd name="T33" fmla="*/ 24201 h 45"/>
                <a:gd name="T34" fmla="*/ 201613 w 59"/>
                <a:gd name="T35" fmla="*/ 31115 h 45"/>
                <a:gd name="T36" fmla="*/ 198196 w 59"/>
                <a:gd name="T37" fmla="*/ 41487 h 4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9" h="45">
                  <a:moveTo>
                    <a:pt x="58" y="12"/>
                  </a:moveTo>
                  <a:cubicBezTo>
                    <a:pt x="30" y="39"/>
                    <a:pt x="30" y="39"/>
                    <a:pt x="30" y="39"/>
                  </a:cubicBezTo>
                  <a:cubicBezTo>
                    <a:pt x="25" y="44"/>
                    <a:pt x="25" y="44"/>
                    <a:pt x="25" y="44"/>
                  </a:cubicBezTo>
                  <a:cubicBezTo>
                    <a:pt x="24" y="45"/>
                    <a:pt x="24" y="45"/>
                    <a:pt x="23" y="45"/>
                  </a:cubicBezTo>
                  <a:cubicBezTo>
                    <a:pt x="22" y="45"/>
                    <a:pt x="21" y="45"/>
                    <a:pt x="20" y="44"/>
                  </a:cubicBezTo>
                  <a:cubicBezTo>
                    <a:pt x="15" y="39"/>
                    <a:pt x="15" y="39"/>
                    <a:pt x="15" y="39"/>
                  </a:cubicBezTo>
                  <a:cubicBezTo>
                    <a:pt x="1" y="26"/>
                    <a:pt x="1" y="26"/>
                    <a:pt x="1" y="26"/>
                  </a:cubicBezTo>
                  <a:cubicBezTo>
                    <a:pt x="0" y="25"/>
                    <a:pt x="0" y="24"/>
                    <a:pt x="0" y="23"/>
                  </a:cubicBezTo>
                  <a:cubicBezTo>
                    <a:pt x="0" y="22"/>
                    <a:pt x="0" y="21"/>
                    <a:pt x="1" y="20"/>
                  </a:cubicBezTo>
                  <a:cubicBezTo>
                    <a:pt x="6" y="15"/>
                    <a:pt x="6" y="15"/>
                    <a:pt x="6" y="15"/>
                  </a:cubicBezTo>
                  <a:cubicBezTo>
                    <a:pt x="7" y="14"/>
                    <a:pt x="8" y="14"/>
                    <a:pt x="9" y="14"/>
                  </a:cubicBezTo>
                  <a:cubicBezTo>
                    <a:pt x="10" y="14"/>
                    <a:pt x="11" y="14"/>
                    <a:pt x="11" y="15"/>
                  </a:cubicBezTo>
                  <a:cubicBezTo>
                    <a:pt x="23" y="26"/>
                    <a:pt x="23" y="26"/>
                    <a:pt x="23" y="26"/>
                  </a:cubicBezTo>
                  <a:cubicBezTo>
                    <a:pt x="47" y="1"/>
                    <a:pt x="47" y="1"/>
                    <a:pt x="47" y="1"/>
                  </a:cubicBezTo>
                  <a:cubicBezTo>
                    <a:pt x="48" y="1"/>
                    <a:pt x="49" y="0"/>
                    <a:pt x="50" y="0"/>
                  </a:cubicBezTo>
                  <a:cubicBezTo>
                    <a:pt x="51" y="0"/>
                    <a:pt x="52" y="1"/>
                    <a:pt x="53" y="1"/>
                  </a:cubicBezTo>
                  <a:cubicBezTo>
                    <a:pt x="58" y="7"/>
                    <a:pt x="58" y="7"/>
                    <a:pt x="58" y="7"/>
                  </a:cubicBezTo>
                  <a:cubicBezTo>
                    <a:pt x="58" y="7"/>
                    <a:pt x="59" y="8"/>
                    <a:pt x="59" y="9"/>
                  </a:cubicBezTo>
                  <a:cubicBezTo>
                    <a:pt x="59" y="10"/>
                    <a:pt x="58" y="11"/>
                    <a:pt x="58" y="12"/>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grpSp>
      <p:grpSp>
        <p:nvGrpSpPr>
          <p:cNvPr id="44" name="Group 48">
            <a:extLst>
              <a:ext uri="{FF2B5EF4-FFF2-40B4-BE49-F238E27FC236}">
                <a16:creationId xmlns:a16="http://schemas.microsoft.com/office/drawing/2014/main" id="{7D4B8EF3-25F9-4877-B041-7F7AFE2273E5}"/>
              </a:ext>
            </a:extLst>
          </p:cNvPr>
          <p:cNvGrpSpPr/>
          <p:nvPr/>
        </p:nvGrpSpPr>
        <p:grpSpPr>
          <a:xfrm>
            <a:off x="7312838" y="4819086"/>
            <a:ext cx="3921219" cy="975323"/>
            <a:chOff x="1090766" y="688621"/>
            <a:chExt cx="3921219" cy="975323"/>
          </a:xfrm>
        </p:grpSpPr>
        <p:sp>
          <p:nvSpPr>
            <p:cNvPr id="45" name="Rectangle 49">
              <a:extLst>
                <a:ext uri="{FF2B5EF4-FFF2-40B4-BE49-F238E27FC236}">
                  <a16:creationId xmlns:a16="http://schemas.microsoft.com/office/drawing/2014/main" id="{A1C17CC6-33D9-402D-B0CA-C3A32275900F}"/>
                </a:ext>
              </a:extLst>
            </p:cNvPr>
            <p:cNvSpPr/>
            <p:nvPr/>
          </p:nvSpPr>
          <p:spPr>
            <a:xfrm>
              <a:off x="1090766" y="688621"/>
              <a:ext cx="2132703" cy="368114"/>
            </a:xfrm>
            <a:prstGeom prst="rect">
              <a:avLst/>
            </a:prstGeom>
          </p:spPr>
          <p:txBody>
            <a:bodyPr wrap="square">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lumMod val="75000"/>
                      <a:lumOff val="25000"/>
                    </a:srgbClr>
                  </a:solidFill>
                  <a:effectLst/>
                  <a:uLnTx/>
                  <a:uFillTx/>
                  <a:latin typeface="Inter SemiBold" panose="020B0502030000000004" pitchFamily="34" charset="0"/>
                  <a:ea typeface="+mn-ea"/>
                  <a:cs typeface="Open Sans Light" panose="020B0306030504020204" pitchFamily="34" charset="0"/>
                </a:rPr>
                <a:t>Your Title Text</a:t>
              </a:r>
            </a:p>
          </p:txBody>
        </p:sp>
        <p:sp>
          <p:nvSpPr>
            <p:cNvPr id="46" name="Rectangle 50">
              <a:extLst>
                <a:ext uri="{FF2B5EF4-FFF2-40B4-BE49-F238E27FC236}">
                  <a16:creationId xmlns:a16="http://schemas.microsoft.com/office/drawing/2014/main" id="{B0B26FBF-0F8C-4B05-B6F5-75514AE7F939}"/>
                </a:ext>
              </a:extLst>
            </p:cNvPr>
            <p:cNvSpPr/>
            <p:nvPr/>
          </p:nvSpPr>
          <p:spPr>
            <a:xfrm>
              <a:off x="1090766" y="1054546"/>
              <a:ext cx="3921219" cy="609398"/>
            </a:xfrm>
            <a:prstGeom prst="rect">
              <a:avLst/>
            </a:prstGeom>
          </p:spPr>
          <p:txBody>
            <a:bodyPr wrap="square">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id-ID" sz="1400" b="0" i="0" u="none" strike="noStrike" kern="1200" cap="none" spc="0" normalizeH="0" baseline="0" noProof="0" dirty="0">
                  <a:ln>
                    <a:noFill/>
                  </a:ln>
                  <a:solidFill>
                    <a:srgbClr val="FFFFFF">
                      <a:lumMod val="65000"/>
                    </a:srgbClr>
                  </a:solidFill>
                  <a:effectLst/>
                  <a:uLnTx/>
                  <a:uFillTx/>
                  <a:latin typeface="Segoe UI Light" panose="020B0502040204020203" pitchFamily="34" charset="0"/>
                  <a:ea typeface="+mn-ea"/>
                  <a:cs typeface="Segoe UI Light" panose="020B0502040204020203" pitchFamily="34" charset="0"/>
                </a:rPr>
                <a:t>The quick, brown fox jumps over a lazy dog. DJs flock by when MTV ax quiz prog. </a:t>
              </a:r>
              <a:endParaRPr kumimoji="0" lang="en-US" sz="1400" b="0" i="0" u="none" strike="noStrike" kern="1200" cap="none" spc="0" normalizeH="0" baseline="0" noProof="0" dirty="0">
                <a:ln>
                  <a:noFill/>
                </a:ln>
                <a:solidFill>
                  <a:srgbClr val="FFFFFF">
                    <a:lumMod val="65000"/>
                  </a:srgbClr>
                </a:solidFill>
                <a:effectLst/>
                <a:uLnTx/>
                <a:uFillTx/>
                <a:latin typeface="Segoe UI Light" panose="020B0502040204020203" pitchFamily="34" charset="0"/>
                <a:ea typeface="+mn-ea"/>
                <a:cs typeface="Segoe UI Light" panose="020B0502040204020203" pitchFamily="34" charset="0"/>
              </a:endParaRPr>
            </a:p>
          </p:txBody>
        </p:sp>
      </p:grpSp>
    </p:spTree>
    <p:extLst>
      <p:ext uri="{BB962C8B-B14F-4D97-AF65-F5344CB8AC3E}">
        <p14:creationId xmlns:p14="http://schemas.microsoft.com/office/powerpoint/2010/main" val="3018325885"/>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6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82">
            <a:extLst>
              <a:ext uri="{FF2B5EF4-FFF2-40B4-BE49-F238E27FC236}">
                <a16:creationId xmlns:a16="http://schemas.microsoft.com/office/drawing/2014/main" id="{7D52ECBD-7B80-4368-9FD8-B542C051F98E}"/>
              </a:ext>
            </a:extLst>
          </p:cNvPr>
          <p:cNvGrpSpPr/>
          <p:nvPr/>
        </p:nvGrpSpPr>
        <p:grpSpPr>
          <a:xfrm>
            <a:off x="433388" y="1563690"/>
            <a:ext cx="5662613" cy="5303839"/>
            <a:chOff x="433387" y="1563688"/>
            <a:chExt cx="5662613" cy="5303838"/>
          </a:xfrm>
        </p:grpSpPr>
        <p:sp>
          <p:nvSpPr>
            <p:cNvPr id="4" name="Freeform 5">
              <a:extLst>
                <a:ext uri="{FF2B5EF4-FFF2-40B4-BE49-F238E27FC236}">
                  <a16:creationId xmlns:a16="http://schemas.microsoft.com/office/drawing/2014/main" id="{B608E715-B724-418C-8A2A-41C2FA795BA0}"/>
                </a:ext>
              </a:extLst>
            </p:cNvPr>
            <p:cNvSpPr>
              <a:spLocks/>
            </p:cNvSpPr>
            <p:nvPr/>
          </p:nvSpPr>
          <p:spPr bwMode="auto">
            <a:xfrm>
              <a:off x="2127250" y="2544763"/>
              <a:ext cx="2341563" cy="4322763"/>
            </a:xfrm>
            <a:custGeom>
              <a:avLst/>
              <a:gdLst>
                <a:gd name="T0" fmla="*/ 1168 w 1239"/>
                <a:gd name="T1" fmla="*/ 1177 h 2293"/>
                <a:gd name="T2" fmla="*/ 977 w 1239"/>
                <a:gd name="T3" fmla="*/ 1191 h 2293"/>
                <a:gd name="T4" fmla="*/ 900 w 1239"/>
                <a:gd name="T5" fmla="*/ 1140 h 2293"/>
                <a:gd name="T6" fmla="*/ 1172 w 1239"/>
                <a:gd name="T7" fmla="*/ 763 h 2293"/>
                <a:gd name="T8" fmla="*/ 1035 w 1239"/>
                <a:gd name="T9" fmla="*/ 943 h 2293"/>
                <a:gd name="T10" fmla="*/ 767 w 1239"/>
                <a:gd name="T11" fmla="*/ 1162 h 2293"/>
                <a:gd name="T12" fmla="*/ 646 w 1239"/>
                <a:gd name="T13" fmla="*/ 1320 h 2293"/>
                <a:gd name="T14" fmla="*/ 633 w 1239"/>
                <a:gd name="T15" fmla="*/ 1064 h 2293"/>
                <a:gd name="T16" fmla="*/ 691 w 1239"/>
                <a:gd name="T17" fmla="*/ 925 h 2293"/>
                <a:gd name="T18" fmla="*/ 789 w 1239"/>
                <a:gd name="T19" fmla="*/ 561 h 2293"/>
                <a:gd name="T20" fmla="*/ 1045 w 1239"/>
                <a:gd name="T21" fmla="*/ 179 h 2293"/>
                <a:gd name="T22" fmla="*/ 911 w 1239"/>
                <a:gd name="T23" fmla="*/ 369 h 2293"/>
                <a:gd name="T24" fmla="*/ 695 w 1239"/>
                <a:gd name="T25" fmla="*/ 770 h 2293"/>
                <a:gd name="T26" fmla="*/ 604 w 1239"/>
                <a:gd name="T27" fmla="*/ 998 h 2293"/>
                <a:gd name="T28" fmla="*/ 536 w 1239"/>
                <a:gd name="T29" fmla="*/ 753 h 2293"/>
                <a:gd name="T30" fmla="*/ 556 w 1239"/>
                <a:gd name="T31" fmla="*/ 478 h 2293"/>
                <a:gd name="T32" fmla="*/ 631 w 1239"/>
                <a:gd name="T33" fmla="*/ 245 h 2293"/>
                <a:gd name="T34" fmla="*/ 558 w 1239"/>
                <a:gd name="T35" fmla="*/ 340 h 2293"/>
                <a:gd name="T36" fmla="*/ 469 w 1239"/>
                <a:gd name="T37" fmla="*/ 579 h 2293"/>
                <a:gd name="T38" fmla="*/ 483 w 1239"/>
                <a:gd name="T39" fmla="*/ 264 h 2293"/>
                <a:gd name="T40" fmla="*/ 433 w 1239"/>
                <a:gd name="T41" fmla="*/ 645 h 2293"/>
                <a:gd name="T42" fmla="*/ 446 w 1239"/>
                <a:gd name="T43" fmla="*/ 736 h 2293"/>
                <a:gd name="T44" fmla="*/ 354 w 1239"/>
                <a:gd name="T45" fmla="*/ 550 h 2293"/>
                <a:gd name="T46" fmla="*/ 266 w 1239"/>
                <a:gd name="T47" fmla="*/ 218 h 2293"/>
                <a:gd name="T48" fmla="*/ 187 w 1239"/>
                <a:gd name="T49" fmla="*/ 65 h 2293"/>
                <a:gd name="T50" fmla="*/ 157 w 1239"/>
                <a:gd name="T51" fmla="*/ 16 h 2293"/>
                <a:gd name="T52" fmla="*/ 220 w 1239"/>
                <a:gd name="T53" fmla="*/ 244 h 2293"/>
                <a:gd name="T54" fmla="*/ 296 w 1239"/>
                <a:gd name="T55" fmla="*/ 474 h 2293"/>
                <a:gd name="T56" fmla="*/ 414 w 1239"/>
                <a:gd name="T57" fmla="*/ 805 h 2293"/>
                <a:gd name="T58" fmla="*/ 481 w 1239"/>
                <a:gd name="T59" fmla="*/ 867 h 2293"/>
                <a:gd name="T60" fmla="*/ 524 w 1239"/>
                <a:gd name="T61" fmla="*/ 1075 h 2293"/>
                <a:gd name="T62" fmla="*/ 517 w 1239"/>
                <a:gd name="T63" fmla="*/ 1153 h 2293"/>
                <a:gd name="T64" fmla="*/ 194 w 1239"/>
                <a:gd name="T65" fmla="*/ 861 h 2293"/>
                <a:gd name="T66" fmla="*/ 4 w 1239"/>
                <a:gd name="T67" fmla="*/ 860 h 2293"/>
                <a:gd name="T68" fmla="*/ 52 w 1239"/>
                <a:gd name="T69" fmla="*/ 878 h 2293"/>
                <a:gd name="T70" fmla="*/ 197 w 1239"/>
                <a:gd name="T71" fmla="*/ 921 h 2293"/>
                <a:gd name="T72" fmla="*/ 492 w 1239"/>
                <a:gd name="T73" fmla="*/ 1203 h 2293"/>
                <a:gd name="T74" fmla="*/ 513 w 1239"/>
                <a:gd name="T75" fmla="*/ 1271 h 2293"/>
                <a:gd name="T76" fmla="*/ 498 w 1239"/>
                <a:gd name="T77" fmla="*/ 1301 h 2293"/>
                <a:gd name="T78" fmla="*/ 227 w 1239"/>
                <a:gd name="T79" fmla="*/ 1044 h 2293"/>
                <a:gd name="T80" fmla="*/ 53 w 1239"/>
                <a:gd name="T81" fmla="*/ 1058 h 2293"/>
                <a:gd name="T82" fmla="*/ 355 w 1239"/>
                <a:gd name="T83" fmla="*/ 1219 h 2293"/>
                <a:gd name="T84" fmla="*/ 541 w 1239"/>
                <a:gd name="T85" fmla="*/ 1439 h 2293"/>
                <a:gd name="T86" fmla="*/ 554 w 1239"/>
                <a:gd name="T87" fmla="*/ 1498 h 2293"/>
                <a:gd name="T88" fmla="*/ 489 w 1239"/>
                <a:gd name="T89" fmla="*/ 2125 h 2293"/>
                <a:gd name="T90" fmla="*/ 470 w 1239"/>
                <a:gd name="T91" fmla="*/ 2266 h 2293"/>
                <a:gd name="T92" fmla="*/ 758 w 1239"/>
                <a:gd name="T93" fmla="*/ 2260 h 2293"/>
                <a:gd name="T94" fmla="*/ 761 w 1239"/>
                <a:gd name="T95" fmla="*/ 2198 h 2293"/>
                <a:gd name="T96" fmla="*/ 702 w 1239"/>
                <a:gd name="T97" fmla="*/ 1967 h 2293"/>
                <a:gd name="T98" fmla="*/ 677 w 1239"/>
                <a:gd name="T99" fmla="*/ 1498 h 2293"/>
                <a:gd name="T100" fmla="*/ 732 w 1239"/>
                <a:gd name="T101" fmla="*/ 1265 h 2293"/>
                <a:gd name="T102" fmla="*/ 869 w 1239"/>
                <a:gd name="T103" fmla="*/ 1167 h 2293"/>
                <a:gd name="T104" fmla="*/ 1036 w 1239"/>
                <a:gd name="T105" fmla="*/ 1229 h 2293"/>
                <a:gd name="T106" fmla="*/ 1183 w 1239"/>
                <a:gd name="T107" fmla="*/ 1229 h 2293"/>
                <a:gd name="T108" fmla="*/ 1235 w 1239"/>
                <a:gd name="T109" fmla="*/ 1238 h 2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239" h="2293">
                  <a:moveTo>
                    <a:pt x="1235" y="1238"/>
                  </a:moveTo>
                  <a:cubicBezTo>
                    <a:pt x="1223" y="1205"/>
                    <a:pt x="1192" y="1186"/>
                    <a:pt x="1168" y="1177"/>
                  </a:cubicBezTo>
                  <a:cubicBezTo>
                    <a:pt x="1138" y="1166"/>
                    <a:pt x="1107" y="1168"/>
                    <a:pt x="1076" y="1174"/>
                  </a:cubicBezTo>
                  <a:cubicBezTo>
                    <a:pt x="1043" y="1181"/>
                    <a:pt x="1010" y="1195"/>
                    <a:pt x="977" y="1191"/>
                  </a:cubicBezTo>
                  <a:cubicBezTo>
                    <a:pt x="945" y="1188"/>
                    <a:pt x="922" y="1167"/>
                    <a:pt x="897" y="1143"/>
                  </a:cubicBezTo>
                  <a:cubicBezTo>
                    <a:pt x="898" y="1142"/>
                    <a:pt x="899" y="1141"/>
                    <a:pt x="900" y="1140"/>
                  </a:cubicBezTo>
                  <a:cubicBezTo>
                    <a:pt x="956" y="1093"/>
                    <a:pt x="1013" y="1049"/>
                    <a:pt x="1063" y="989"/>
                  </a:cubicBezTo>
                  <a:cubicBezTo>
                    <a:pt x="1109" y="931"/>
                    <a:pt x="1159" y="852"/>
                    <a:pt x="1172" y="763"/>
                  </a:cubicBezTo>
                  <a:cubicBezTo>
                    <a:pt x="1174" y="752"/>
                    <a:pt x="1165" y="744"/>
                    <a:pt x="1160" y="752"/>
                  </a:cubicBezTo>
                  <a:cubicBezTo>
                    <a:pt x="1117" y="814"/>
                    <a:pt x="1083" y="888"/>
                    <a:pt x="1035" y="943"/>
                  </a:cubicBezTo>
                  <a:cubicBezTo>
                    <a:pt x="982" y="1003"/>
                    <a:pt x="918" y="1046"/>
                    <a:pt x="860" y="1094"/>
                  </a:cubicBezTo>
                  <a:cubicBezTo>
                    <a:pt x="829" y="1118"/>
                    <a:pt x="800" y="1143"/>
                    <a:pt x="767" y="1162"/>
                  </a:cubicBezTo>
                  <a:cubicBezTo>
                    <a:pt x="739" y="1178"/>
                    <a:pt x="712" y="1195"/>
                    <a:pt x="690" y="1226"/>
                  </a:cubicBezTo>
                  <a:cubicBezTo>
                    <a:pt x="671" y="1253"/>
                    <a:pt x="657" y="1285"/>
                    <a:pt x="646" y="1320"/>
                  </a:cubicBezTo>
                  <a:cubicBezTo>
                    <a:pt x="644" y="1284"/>
                    <a:pt x="643" y="1249"/>
                    <a:pt x="641" y="1214"/>
                  </a:cubicBezTo>
                  <a:cubicBezTo>
                    <a:pt x="638" y="1166"/>
                    <a:pt x="633" y="1114"/>
                    <a:pt x="633" y="1064"/>
                  </a:cubicBezTo>
                  <a:cubicBezTo>
                    <a:pt x="635" y="1051"/>
                    <a:pt x="637" y="1039"/>
                    <a:pt x="639" y="1027"/>
                  </a:cubicBezTo>
                  <a:cubicBezTo>
                    <a:pt x="649" y="985"/>
                    <a:pt x="674" y="960"/>
                    <a:pt x="691" y="925"/>
                  </a:cubicBezTo>
                  <a:cubicBezTo>
                    <a:pt x="708" y="889"/>
                    <a:pt x="719" y="848"/>
                    <a:pt x="728" y="807"/>
                  </a:cubicBezTo>
                  <a:cubicBezTo>
                    <a:pt x="747" y="725"/>
                    <a:pt x="756" y="635"/>
                    <a:pt x="789" y="561"/>
                  </a:cubicBezTo>
                  <a:cubicBezTo>
                    <a:pt x="823" y="485"/>
                    <a:pt x="886" y="459"/>
                    <a:pt x="933" y="404"/>
                  </a:cubicBezTo>
                  <a:cubicBezTo>
                    <a:pt x="984" y="345"/>
                    <a:pt x="1024" y="269"/>
                    <a:pt x="1045" y="179"/>
                  </a:cubicBezTo>
                  <a:cubicBezTo>
                    <a:pt x="1048" y="167"/>
                    <a:pt x="1036" y="161"/>
                    <a:pt x="1032" y="171"/>
                  </a:cubicBezTo>
                  <a:cubicBezTo>
                    <a:pt x="1001" y="247"/>
                    <a:pt x="961" y="318"/>
                    <a:pt x="911" y="369"/>
                  </a:cubicBezTo>
                  <a:cubicBezTo>
                    <a:pt x="860" y="422"/>
                    <a:pt x="799" y="445"/>
                    <a:pt x="761" y="522"/>
                  </a:cubicBezTo>
                  <a:cubicBezTo>
                    <a:pt x="725" y="595"/>
                    <a:pt x="713" y="686"/>
                    <a:pt x="695" y="770"/>
                  </a:cubicBezTo>
                  <a:cubicBezTo>
                    <a:pt x="686" y="812"/>
                    <a:pt x="675" y="854"/>
                    <a:pt x="658" y="892"/>
                  </a:cubicBezTo>
                  <a:cubicBezTo>
                    <a:pt x="640" y="929"/>
                    <a:pt x="615" y="954"/>
                    <a:pt x="604" y="998"/>
                  </a:cubicBezTo>
                  <a:cubicBezTo>
                    <a:pt x="603" y="1001"/>
                    <a:pt x="602" y="1004"/>
                    <a:pt x="601" y="1007"/>
                  </a:cubicBezTo>
                  <a:cubicBezTo>
                    <a:pt x="583" y="920"/>
                    <a:pt x="554" y="840"/>
                    <a:pt x="536" y="753"/>
                  </a:cubicBezTo>
                  <a:cubicBezTo>
                    <a:pt x="525" y="704"/>
                    <a:pt x="519" y="653"/>
                    <a:pt x="524" y="602"/>
                  </a:cubicBezTo>
                  <a:cubicBezTo>
                    <a:pt x="528" y="557"/>
                    <a:pt x="541" y="517"/>
                    <a:pt x="556" y="478"/>
                  </a:cubicBezTo>
                  <a:cubicBezTo>
                    <a:pt x="571" y="441"/>
                    <a:pt x="588" y="406"/>
                    <a:pt x="602" y="368"/>
                  </a:cubicBezTo>
                  <a:cubicBezTo>
                    <a:pt x="617" y="331"/>
                    <a:pt x="633" y="288"/>
                    <a:pt x="631" y="245"/>
                  </a:cubicBezTo>
                  <a:cubicBezTo>
                    <a:pt x="630" y="233"/>
                    <a:pt x="622" y="228"/>
                    <a:pt x="615" y="236"/>
                  </a:cubicBezTo>
                  <a:cubicBezTo>
                    <a:pt x="592" y="264"/>
                    <a:pt x="576" y="305"/>
                    <a:pt x="558" y="340"/>
                  </a:cubicBezTo>
                  <a:cubicBezTo>
                    <a:pt x="539" y="377"/>
                    <a:pt x="520" y="414"/>
                    <a:pt x="504" y="454"/>
                  </a:cubicBezTo>
                  <a:cubicBezTo>
                    <a:pt x="487" y="495"/>
                    <a:pt x="475" y="536"/>
                    <a:pt x="469" y="579"/>
                  </a:cubicBezTo>
                  <a:cubicBezTo>
                    <a:pt x="462" y="539"/>
                    <a:pt x="458" y="498"/>
                    <a:pt x="457" y="455"/>
                  </a:cubicBezTo>
                  <a:cubicBezTo>
                    <a:pt x="457" y="388"/>
                    <a:pt x="470" y="327"/>
                    <a:pt x="483" y="264"/>
                  </a:cubicBezTo>
                  <a:cubicBezTo>
                    <a:pt x="486" y="251"/>
                    <a:pt x="474" y="241"/>
                    <a:pt x="468" y="251"/>
                  </a:cubicBezTo>
                  <a:cubicBezTo>
                    <a:pt x="402" y="348"/>
                    <a:pt x="413" y="524"/>
                    <a:pt x="433" y="645"/>
                  </a:cubicBezTo>
                  <a:cubicBezTo>
                    <a:pt x="438" y="677"/>
                    <a:pt x="444" y="709"/>
                    <a:pt x="451" y="741"/>
                  </a:cubicBezTo>
                  <a:cubicBezTo>
                    <a:pt x="449" y="739"/>
                    <a:pt x="448" y="738"/>
                    <a:pt x="446" y="736"/>
                  </a:cubicBezTo>
                  <a:cubicBezTo>
                    <a:pt x="423" y="714"/>
                    <a:pt x="391" y="695"/>
                    <a:pt x="373" y="663"/>
                  </a:cubicBezTo>
                  <a:cubicBezTo>
                    <a:pt x="357" y="632"/>
                    <a:pt x="356" y="587"/>
                    <a:pt x="354" y="550"/>
                  </a:cubicBezTo>
                  <a:cubicBezTo>
                    <a:pt x="350" y="509"/>
                    <a:pt x="347" y="467"/>
                    <a:pt x="341" y="427"/>
                  </a:cubicBezTo>
                  <a:cubicBezTo>
                    <a:pt x="330" y="347"/>
                    <a:pt x="308" y="273"/>
                    <a:pt x="266" y="218"/>
                  </a:cubicBezTo>
                  <a:cubicBezTo>
                    <a:pt x="245" y="188"/>
                    <a:pt x="223" y="165"/>
                    <a:pt x="207" y="127"/>
                  </a:cubicBezTo>
                  <a:cubicBezTo>
                    <a:pt x="199" y="107"/>
                    <a:pt x="192" y="86"/>
                    <a:pt x="187" y="65"/>
                  </a:cubicBezTo>
                  <a:cubicBezTo>
                    <a:pt x="182" y="46"/>
                    <a:pt x="179" y="26"/>
                    <a:pt x="171" y="10"/>
                  </a:cubicBezTo>
                  <a:cubicBezTo>
                    <a:pt x="167" y="0"/>
                    <a:pt x="157" y="4"/>
                    <a:pt x="157" y="16"/>
                  </a:cubicBezTo>
                  <a:cubicBezTo>
                    <a:pt x="154" y="53"/>
                    <a:pt x="167" y="102"/>
                    <a:pt x="176" y="136"/>
                  </a:cubicBezTo>
                  <a:cubicBezTo>
                    <a:pt x="186" y="177"/>
                    <a:pt x="201" y="211"/>
                    <a:pt x="220" y="244"/>
                  </a:cubicBezTo>
                  <a:cubicBezTo>
                    <a:pt x="239" y="278"/>
                    <a:pt x="259" y="308"/>
                    <a:pt x="272" y="349"/>
                  </a:cubicBezTo>
                  <a:cubicBezTo>
                    <a:pt x="284" y="388"/>
                    <a:pt x="291" y="431"/>
                    <a:pt x="296" y="474"/>
                  </a:cubicBezTo>
                  <a:cubicBezTo>
                    <a:pt x="305" y="555"/>
                    <a:pt x="300" y="654"/>
                    <a:pt x="339" y="720"/>
                  </a:cubicBezTo>
                  <a:cubicBezTo>
                    <a:pt x="359" y="754"/>
                    <a:pt x="389" y="779"/>
                    <a:pt x="414" y="805"/>
                  </a:cubicBezTo>
                  <a:cubicBezTo>
                    <a:pt x="435" y="826"/>
                    <a:pt x="457" y="848"/>
                    <a:pt x="480" y="866"/>
                  </a:cubicBezTo>
                  <a:cubicBezTo>
                    <a:pt x="480" y="866"/>
                    <a:pt x="480" y="867"/>
                    <a:pt x="481" y="867"/>
                  </a:cubicBezTo>
                  <a:cubicBezTo>
                    <a:pt x="490" y="908"/>
                    <a:pt x="499" y="949"/>
                    <a:pt x="510" y="990"/>
                  </a:cubicBezTo>
                  <a:cubicBezTo>
                    <a:pt x="515" y="1018"/>
                    <a:pt x="520" y="1047"/>
                    <a:pt x="524" y="1075"/>
                  </a:cubicBezTo>
                  <a:cubicBezTo>
                    <a:pt x="530" y="1111"/>
                    <a:pt x="534" y="1147"/>
                    <a:pt x="538" y="1183"/>
                  </a:cubicBezTo>
                  <a:cubicBezTo>
                    <a:pt x="531" y="1173"/>
                    <a:pt x="525" y="1163"/>
                    <a:pt x="517" y="1153"/>
                  </a:cubicBezTo>
                  <a:cubicBezTo>
                    <a:pt x="471" y="1090"/>
                    <a:pt x="420" y="1034"/>
                    <a:pt x="367" y="985"/>
                  </a:cubicBezTo>
                  <a:cubicBezTo>
                    <a:pt x="313" y="935"/>
                    <a:pt x="254" y="893"/>
                    <a:pt x="194" y="861"/>
                  </a:cubicBezTo>
                  <a:cubicBezTo>
                    <a:pt x="162" y="844"/>
                    <a:pt x="130" y="833"/>
                    <a:pt x="96" y="830"/>
                  </a:cubicBezTo>
                  <a:cubicBezTo>
                    <a:pt x="67" y="827"/>
                    <a:pt x="25" y="830"/>
                    <a:pt x="4" y="860"/>
                  </a:cubicBezTo>
                  <a:cubicBezTo>
                    <a:pt x="0" y="865"/>
                    <a:pt x="1" y="876"/>
                    <a:pt x="7" y="878"/>
                  </a:cubicBezTo>
                  <a:cubicBezTo>
                    <a:pt x="22" y="882"/>
                    <a:pt x="37" y="877"/>
                    <a:pt x="52" y="878"/>
                  </a:cubicBezTo>
                  <a:cubicBezTo>
                    <a:pt x="69" y="878"/>
                    <a:pt x="87" y="880"/>
                    <a:pt x="104" y="884"/>
                  </a:cubicBezTo>
                  <a:cubicBezTo>
                    <a:pt x="136" y="892"/>
                    <a:pt x="167" y="905"/>
                    <a:pt x="197" y="921"/>
                  </a:cubicBezTo>
                  <a:cubicBezTo>
                    <a:pt x="253" y="950"/>
                    <a:pt x="306" y="991"/>
                    <a:pt x="356" y="1038"/>
                  </a:cubicBezTo>
                  <a:cubicBezTo>
                    <a:pt x="406" y="1085"/>
                    <a:pt x="451" y="1141"/>
                    <a:pt x="492" y="1203"/>
                  </a:cubicBezTo>
                  <a:cubicBezTo>
                    <a:pt x="496" y="1208"/>
                    <a:pt x="499" y="1213"/>
                    <a:pt x="502" y="1218"/>
                  </a:cubicBezTo>
                  <a:cubicBezTo>
                    <a:pt x="505" y="1236"/>
                    <a:pt x="510" y="1254"/>
                    <a:pt x="513" y="1271"/>
                  </a:cubicBezTo>
                  <a:cubicBezTo>
                    <a:pt x="518" y="1292"/>
                    <a:pt x="523" y="1313"/>
                    <a:pt x="527" y="1335"/>
                  </a:cubicBezTo>
                  <a:cubicBezTo>
                    <a:pt x="517" y="1324"/>
                    <a:pt x="508" y="1312"/>
                    <a:pt x="498" y="1301"/>
                  </a:cubicBezTo>
                  <a:cubicBezTo>
                    <a:pt x="456" y="1250"/>
                    <a:pt x="416" y="1196"/>
                    <a:pt x="372" y="1149"/>
                  </a:cubicBezTo>
                  <a:cubicBezTo>
                    <a:pt x="328" y="1102"/>
                    <a:pt x="280" y="1062"/>
                    <a:pt x="227" y="1044"/>
                  </a:cubicBezTo>
                  <a:cubicBezTo>
                    <a:pt x="171" y="1025"/>
                    <a:pt x="114" y="1036"/>
                    <a:pt x="57" y="1037"/>
                  </a:cubicBezTo>
                  <a:cubicBezTo>
                    <a:pt x="49" y="1037"/>
                    <a:pt x="47" y="1052"/>
                    <a:pt x="53" y="1058"/>
                  </a:cubicBezTo>
                  <a:cubicBezTo>
                    <a:pt x="101" y="1107"/>
                    <a:pt x="161" y="1087"/>
                    <a:pt x="215" y="1108"/>
                  </a:cubicBezTo>
                  <a:cubicBezTo>
                    <a:pt x="267" y="1128"/>
                    <a:pt x="314" y="1172"/>
                    <a:pt x="355" y="1219"/>
                  </a:cubicBezTo>
                  <a:cubicBezTo>
                    <a:pt x="398" y="1267"/>
                    <a:pt x="436" y="1322"/>
                    <a:pt x="478" y="1371"/>
                  </a:cubicBezTo>
                  <a:cubicBezTo>
                    <a:pt x="498" y="1395"/>
                    <a:pt x="519" y="1418"/>
                    <a:pt x="541" y="1439"/>
                  </a:cubicBezTo>
                  <a:cubicBezTo>
                    <a:pt x="543" y="1441"/>
                    <a:pt x="545" y="1443"/>
                    <a:pt x="547" y="1444"/>
                  </a:cubicBezTo>
                  <a:cubicBezTo>
                    <a:pt x="550" y="1462"/>
                    <a:pt x="552" y="1480"/>
                    <a:pt x="554" y="1498"/>
                  </a:cubicBezTo>
                  <a:cubicBezTo>
                    <a:pt x="553" y="1598"/>
                    <a:pt x="557" y="1699"/>
                    <a:pt x="549" y="1799"/>
                  </a:cubicBezTo>
                  <a:cubicBezTo>
                    <a:pt x="540" y="1911"/>
                    <a:pt x="520" y="2022"/>
                    <a:pt x="489" y="2125"/>
                  </a:cubicBezTo>
                  <a:cubicBezTo>
                    <a:pt x="474" y="2157"/>
                    <a:pt x="463" y="2192"/>
                    <a:pt x="455" y="2228"/>
                  </a:cubicBezTo>
                  <a:cubicBezTo>
                    <a:pt x="451" y="2244"/>
                    <a:pt x="459" y="2263"/>
                    <a:pt x="470" y="2266"/>
                  </a:cubicBezTo>
                  <a:cubicBezTo>
                    <a:pt x="520" y="2282"/>
                    <a:pt x="569" y="2287"/>
                    <a:pt x="621" y="2287"/>
                  </a:cubicBezTo>
                  <a:cubicBezTo>
                    <a:pt x="667" y="2288"/>
                    <a:pt x="716" y="2293"/>
                    <a:pt x="758" y="2260"/>
                  </a:cubicBezTo>
                  <a:cubicBezTo>
                    <a:pt x="774" y="2249"/>
                    <a:pt x="774" y="2219"/>
                    <a:pt x="764" y="2202"/>
                  </a:cubicBezTo>
                  <a:cubicBezTo>
                    <a:pt x="763" y="2201"/>
                    <a:pt x="762" y="2200"/>
                    <a:pt x="761" y="2198"/>
                  </a:cubicBezTo>
                  <a:cubicBezTo>
                    <a:pt x="761" y="2196"/>
                    <a:pt x="761" y="2193"/>
                    <a:pt x="760" y="2190"/>
                  </a:cubicBezTo>
                  <a:cubicBezTo>
                    <a:pt x="739" y="2117"/>
                    <a:pt x="717" y="2044"/>
                    <a:pt x="702" y="1967"/>
                  </a:cubicBezTo>
                  <a:cubicBezTo>
                    <a:pt x="686" y="1889"/>
                    <a:pt x="681" y="1808"/>
                    <a:pt x="679" y="1726"/>
                  </a:cubicBezTo>
                  <a:cubicBezTo>
                    <a:pt x="677" y="1651"/>
                    <a:pt x="676" y="1574"/>
                    <a:pt x="677" y="1498"/>
                  </a:cubicBezTo>
                  <a:cubicBezTo>
                    <a:pt x="678" y="1446"/>
                    <a:pt x="683" y="1396"/>
                    <a:pt x="689" y="1346"/>
                  </a:cubicBezTo>
                  <a:cubicBezTo>
                    <a:pt x="700" y="1315"/>
                    <a:pt x="713" y="1286"/>
                    <a:pt x="732" y="1265"/>
                  </a:cubicBezTo>
                  <a:cubicBezTo>
                    <a:pt x="755" y="1240"/>
                    <a:pt x="784" y="1228"/>
                    <a:pt x="810" y="1212"/>
                  </a:cubicBezTo>
                  <a:cubicBezTo>
                    <a:pt x="830" y="1199"/>
                    <a:pt x="850" y="1183"/>
                    <a:pt x="869" y="1167"/>
                  </a:cubicBezTo>
                  <a:cubicBezTo>
                    <a:pt x="869" y="1168"/>
                    <a:pt x="870" y="1169"/>
                    <a:pt x="870" y="1170"/>
                  </a:cubicBezTo>
                  <a:cubicBezTo>
                    <a:pt x="909" y="1238"/>
                    <a:pt x="982" y="1244"/>
                    <a:pt x="1036" y="1229"/>
                  </a:cubicBezTo>
                  <a:cubicBezTo>
                    <a:pt x="1069" y="1221"/>
                    <a:pt x="1102" y="1205"/>
                    <a:pt x="1136" y="1211"/>
                  </a:cubicBezTo>
                  <a:cubicBezTo>
                    <a:pt x="1152" y="1213"/>
                    <a:pt x="1168" y="1220"/>
                    <a:pt x="1183" y="1229"/>
                  </a:cubicBezTo>
                  <a:cubicBezTo>
                    <a:pt x="1197" y="1238"/>
                    <a:pt x="1210" y="1252"/>
                    <a:pt x="1225" y="1258"/>
                  </a:cubicBezTo>
                  <a:cubicBezTo>
                    <a:pt x="1232" y="1261"/>
                    <a:pt x="1239" y="1248"/>
                    <a:pt x="1235" y="1238"/>
                  </a:cubicBezTo>
                  <a:close/>
                </a:path>
              </a:pathLst>
            </a:custGeom>
            <a:solidFill>
              <a:schemeClr val="accent3">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grpSp>
          <p:nvGrpSpPr>
            <p:cNvPr id="5" name="Group 75">
              <a:extLst>
                <a:ext uri="{FF2B5EF4-FFF2-40B4-BE49-F238E27FC236}">
                  <a16:creationId xmlns:a16="http://schemas.microsoft.com/office/drawing/2014/main" id="{4938BC51-D3CF-4525-A6A0-33CCB719A17B}"/>
                </a:ext>
              </a:extLst>
            </p:cNvPr>
            <p:cNvGrpSpPr/>
            <p:nvPr/>
          </p:nvGrpSpPr>
          <p:grpSpPr>
            <a:xfrm>
              <a:off x="2405062" y="1563688"/>
              <a:ext cx="1414463" cy="1411288"/>
              <a:chOff x="2405062" y="1563688"/>
              <a:chExt cx="1414463" cy="1411288"/>
            </a:xfrm>
          </p:grpSpPr>
          <p:sp>
            <p:nvSpPr>
              <p:cNvPr id="57" name="Oval 10">
                <a:extLst>
                  <a:ext uri="{FF2B5EF4-FFF2-40B4-BE49-F238E27FC236}">
                    <a16:creationId xmlns:a16="http://schemas.microsoft.com/office/drawing/2014/main" id="{3CF8A351-FE41-45DD-B367-F9A0ECCFE1FC}"/>
                  </a:ext>
                </a:extLst>
              </p:cNvPr>
              <p:cNvSpPr>
                <a:spLocks noChangeArrowheads="1"/>
              </p:cNvSpPr>
              <p:nvPr/>
            </p:nvSpPr>
            <p:spPr bwMode="auto">
              <a:xfrm>
                <a:off x="2405062" y="1563688"/>
                <a:ext cx="1414463" cy="1411288"/>
              </a:xfrm>
              <a:prstGeom prst="ellipse">
                <a:avLst/>
              </a:pr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58" name="Oval 11">
                <a:extLst>
                  <a:ext uri="{FF2B5EF4-FFF2-40B4-BE49-F238E27FC236}">
                    <a16:creationId xmlns:a16="http://schemas.microsoft.com/office/drawing/2014/main" id="{04CB3904-67DF-4DEF-BD35-8157F4219D9C}"/>
                  </a:ext>
                </a:extLst>
              </p:cNvPr>
              <p:cNvSpPr>
                <a:spLocks noChangeArrowheads="1"/>
              </p:cNvSpPr>
              <p:nvPr/>
            </p:nvSpPr>
            <p:spPr bwMode="auto">
              <a:xfrm>
                <a:off x="2568575" y="1725613"/>
                <a:ext cx="1089025" cy="108743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grpSp>
        <p:grpSp>
          <p:nvGrpSpPr>
            <p:cNvPr id="6" name="Group 81">
              <a:extLst>
                <a:ext uri="{FF2B5EF4-FFF2-40B4-BE49-F238E27FC236}">
                  <a16:creationId xmlns:a16="http://schemas.microsoft.com/office/drawing/2014/main" id="{CB1009B5-61A6-4E98-B40C-48D76EF63595}"/>
                </a:ext>
              </a:extLst>
            </p:cNvPr>
            <p:cNvGrpSpPr/>
            <p:nvPr/>
          </p:nvGrpSpPr>
          <p:grpSpPr>
            <a:xfrm>
              <a:off x="433387" y="3636963"/>
              <a:ext cx="2179638" cy="2174875"/>
              <a:chOff x="433387" y="3636963"/>
              <a:chExt cx="2179638" cy="2174875"/>
            </a:xfrm>
          </p:grpSpPr>
          <p:grpSp>
            <p:nvGrpSpPr>
              <p:cNvPr id="46" name="Group 80">
                <a:extLst>
                  <a:ext uri="{FF2B5EF4-FFF2-40B4-BE49-F238E27FC236}">
                    <a16:creationId xmlns:a16="http://schemas.microsoft.com/office/drawing/2014/main" id="{63518E18-96AC-4FD8-87DB-5AD4DACF2471}"/>
                  </a:ext>
                </a:extLst>
              </p:cNvPr>
              <p:cNvGrpSpPr/>
              <p:nvPr/>
            </p:nvGrpSpPr>
            <p:grpSpPr>
              <a:xfrm>
                <a:off x="433387" y="3636963"/>
                <a:ext cx="2179638" cy="2174875"/>
                <a:chOff x="433387" y="3636963"/>
                <a:chExt cx="2179638" cy="2174875"/>
              </a:xfrm>
            </p:grpSpPr>
            <p:sp>
              <p:nvSpPr>
                <p:cNvPr id="55" name="Oval 6">
                  <a:extLst>
                    <a:ext uri="{FF2B5EF4-FFF2-40B4-BE49-F238E27FC236}">
                      <a16:creationId xmlns:a16="http://schemas.microsoft.com/office/drawing/2014/main" id="{0FB96859-F66E-4BF6-A8F5-3074DF7C7B86}"/>
                    </a:ext>
                  </a:extLst>
                </p:cNvPr>
                <p:cNvSpPr>
                  <a:spLocks noChangeArrowheads="1"/>
                </p:cNvSpPr>
                <p:nvPr/>
              </p:nvSpPr>
              <p:spPr bwMode="auto">
                <a:xfrm>
                  <a:off x="433387" y="3636963"/>
                  <a:ext cx="2179638" cy="2174875"/>
                </a:xfrm>
                <a:prstGeom prst="ellipse">
                  <a:avLst/>
                </a:pr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56" name="Oval 7">
                  <a:extLst>
                    <a:ext uri="{FF2B5EF4-FFF2-40B4-BE49-F238E27FC236}">
                      <a16:creationId xmlns:a16="http://schemas.microsoft.com/office/drawing/2014/main" id="{D1A2C1ED-8284-43DA-9251-8D73851901EB}"/>
                    </a:ext>
                  </a:extLst>
                </p:cNvPr>
                <p:cNvSpPr>
                  <a:spLocks noChangeArrowheads="1"/>
                </p:cNvSpPr>
                <p:nvPr/>
              </p:nvSpPr>
              <p:spPr bwMode="auto">
                <a:xfrm>
                  <a:off x="682625" y="3886200"/>
                  <a:ext cx="1679575" cy="16748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grpSp>
          <p:grpSp>
            <p:nvGrpSpPr>
              <p:cNvPr id="47" name="Group 17">
                <a:extLst>
                  <a:ext uri="{FF2B5EF4-FFF2-40B4-BE49-F238E27FC236}">
                    <a16:creationId xmlns:a16="http://schemas.microsoft.com/office/drawing/2014/main" id="{CABBEF60-0389-4BCE-97AB-77BF9B2D4C5C}"/>
                  </a:ext>
                </a:extLst>
              </p:cNvPr>
              <p:cNvGrpSpPr/>
              <p:nvPr/>
            </p:nvGrpSpPr>
            <p:grpSpPr>
              <a:xfrm>
                <a:off x="1009719" y="4158570"/>
                <a:ext cx="1026974" cy="1131660"/>
                <a:chOff x="6705600" y="744538"/>
                <a:chExt cx="327025" cy="360362"/>
              </a:xfrm>
              <a:solidFill>
                <a:schemeClr val="accent5">
                  <a:lumMod val="60000"/>
                  <a:lumOff val="40000"/>
                </a:schemeClr>
              </a:solidFill>
            </p:grpSpPr>
            <p:sp>
              <p:nvSpPr>
                <p:cNvPr id="48" name="Freeform 384">
                  <a:extLst>
                    <a:ext uri="{FF2B5EF4-FFF2-40B4-BE49-F238E27FC236}">
                      <a16:creationId xmlns:a16="http://schemas.microsoft.com/office/drawing/2014/main" id="{6C50ED73-E083-4DC5-BAB6-5CBCD3D73225}"/>
                    </a:ext>
                  </a:extLst>
                </p:cNvPr>
                <p:cNvSpPr>
                  <a:spLocks noEditPoints="1"/>
                </p:cNvSpPr>
                <p:nvPr/>
              </p:nvSpPr>
              <p:spPr bwMode="auto">
                <a:xfrm>
                  <a:off x="6705600" y="773113"/>
                  <a:ext cx="84137" cy="80963"/>
                </a:xfrm>
                <a:custGeom>
                  <a:avLst/>
                  <a:gdLst>
                    <a:gd name="T0" fmla="*/ 13 w 26"/>
                    <a:gd name="T1" fmla="*/ 25 h 25"/>
                    <a:gd name="T2" fmla="*/ 26 w 26"/>
                    <a:gd name="T3" fmla="*/ 13 h 25"/>
                    <a:gd name="T4" fmla="*/ 13 w 26"/>
                    <a:gd name="T5" fmla="*/ 0 h 25"/>
                    <a:gd name="T6" fmla="*/ 0 w 26"/>
                    <a:gd name="T7" fmla="*/ 13 h 25"/>
                    <a:gd name="T8" fmla="*/ 13 w 26"/>
                    <a:gd name="T9" fmla="*/ 25 h 25"/>
                    <a:gd name="T10" fmla="*/ 13 w 26"/>
                    <a:gd name="T11" fmla="*/ 25 h 25"/>
                    <a:gd name="T12" fmla="*/ 13 w 26"/>
                    <a:gd name="T13" fmla="*/ 25 h 25"/>
                  </a:gdLst>
                  <a:ahLst/>
                  <a:cxnLst>
                    <a:cxn ang="0">
                      <a:pos x="T0" y="T1"/>
                    </a:cxn>
                    <a:cxn ang="0">
                      <a:pos x="T2" y="T3"/>
                    </a:cxn>
                    <a:cxn ang="0">
                      <a:pos x="T4" y="T5"/>
                    </a:cxn>
                    <a:cxn ang="0">
                      <a:pos x="T6" y="T7"/>
                    </a:cxn>
                    <a:cxn ang="0">
                      <a:pos x="T8" y="T9"/>
                    </a:cxn>
                    <a:cxn ang="0">
                      <a:pos x="T10" y="T11"/>
                    </a:cxn>
                    <a:cxn ang="0">
                      <a:pos x="T12" y="T13"/>
                    </a:cxn>
                  </a:cxnLst>
                  <a:rect l="0" t="0" r="r" b="b"/>
                  <a:pathLst>
                    <a:path w="26" h="25">
                      <a:moveTo>
                        <a:pt x="13" y="25"/>
                      </a:moveTo>
                      <a:cubicBezTo>
                        <a:pt x="20" y="25"/>
                        <a:pt x="26" y="19"/>
                        <a:pt x="26" y="13"/>
                      </a:cubicBezTo>
                      <a:cubicBezTo>
                        <a:pt x="26" y="6"/>
                        <a:pt x="20" y="0"/>
                        <a:pt x="13" y="0"/>
                      </a:cubicBezTo>
                      <a:cubicBezTo>
                        <a:pt x="6" y="0"/>
                        <a:pt x="0" y="6"/>
                        <a:pt x="0" y="13"/>
                      </a:cubicBezTo>
                      <a:cubicBezTo>
                        <a:pt x="0" y="19"/>
                        <a:pt x="6" y="25"/>
                        <a:pt x="13" y="25"/>
                      </a:cubicBezTo>
                      <a:close/>
                      <a:moveTo>
                        <a:pt x="13" y="25"/>
                      </a:moveTo>
                      <a:cubicBezTo>
                        <a:pt x="13" y="25"/>
                        <a:pt x="13" y="25"/>
                        <a:pt x="13" y="2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49" name="Freeform 385">
                  <a:extLst>
                    <a:ext uri="{FF2B5EF4-FFF2-40B4-BE49-F238E27FC236}">
                      <a16:creationId xmlns:a16="http://schemas.microsoft.com/office/drawing/2014/main" id="{C40EBBC4-6061-4498-AD93-9A6BF0D2B62C}"/>
                    </a:ext>
                  </a:extLst>
                </p:cNvPr>
                <p:cNvSpPr>
                  <a:spLocks noEditPoints="1"/>
                </p:cNvSpPr>
                <p:nvPr/>
              </p:nvSpPr>
              <p:spPr bwMode="auto">
                <a:xfrm>
                  <a:off x="6711950" y="863600"/>
                  <a:ext cx="136525" cy="241300"/>
                </a:xfrm>
                <a:custGeom>
                  <a:avLst/>
                  <a:gdLst>
                    <a:gd name="T0" fmla="*/ 0 w 42"/>
                    <a:gd name="T1" fmla="*/ 11 h 74"/>
                    <a:gd name="T2" fmla="*/ 0 w 42"/>
                    <a:gd name="T3" fmla="*/ 35 h 74"/>
                    <a:gd name="T4" fmla="*/ 11 w 42"/>
                    <a:gd name="T5" fmla="*/ 46 h 74"/>
                    <a:gd name="T6" fmla="*/ 25 w 42"/>
                    <a:gd name="T7" fmla="*/ 46 h 74"/>
                    <a:gd name="T8" fmla="*/ 25 w 42"/>
                    <a:gd name="T9" fmla="*/ 71 h 74"/>
                    <a:gd name="T10" fmla="*/ 27 w 42"/>
                    <a:gd name="T11" fmla="*/ 74 h 74"/>
                    <a:gd name="T12" fmla="*/ 40 w 42"/>
                    <a:gd name="T13" fmla="*/ 74 h 74"/>
                    <a:gd name="T14" fmla="*/ 42 w 42"/>
                    <a:gd name="T15" fmla="*/ 71 h 74"/>
                    <a:gd name="T16" fmla="*/ 42 w 42"/>
                    <a:gd name="T17" fmla="*/ 37 h 74"/>
                    <a:gd name="T18" fmla="*/ 33 w 42"/>
                    <a:gd name="T19" fmla="*/ 28 h 74"/>
                    <a:gd name="T20" fmla="*/ 22 w 42"/>
                    <a:gd name="T21" fmla="*/ 28 h 74"/>
                    <a:gd name="T22" fmla="*/ 22 w 42"/>
                    <a:gd name="T23" fmla="*/ 11 h 74"/>
                    <a:gd name="T24" fmla="*/ 11 w 42"/>
                    <a:gd name="T25" fmla="*/ 0 h 74"/>
                    <a:gd name="T26" fmla="*/ 0 w 42"/>
                    <a:gd name="T27" fmla="*/ 11 h 74"/>
                    <a:gd name="T28" fmla="*/ 0 w 42"/>
                    <a:gd name="T29" fmla="*/ 11 h 74"/>
                    <a:gd name="T30" fmla="*/ 0 w 42"/>
                    <a:gd name="T31" fmla="*/ 11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2" h="74">
                      <a:moveTo>
                        <a:pt x="0" y="11"/>
                      </a:moveTo>
                      <a:cubicBezTo>
                        <a:pt x="0" y="35"/>
                        <a:pt x="0" y="35"/>
                        <a:pt x="0" y="35"/>
                      </a:cubicBezTo>
                      <a:cubicBezTo>
                        <a:pt x="0" y="41"/>
                        <a:pt x="5" y="46"/>
                        <a:pt x="11" y="46"/>
                      </a:cubicBezTo>
                      <a:cubicBezTo>
                        <a:pt x="25" y="46"/>
                        <a:pt x="25" y="46"/>
                        <a:pt x="25" y="46"/>
                      </a:cubicBezTo>
                      <a:cubicBezTo>
                        <a:pt x="25" y="71"/>
                        <a:pt x="25" y="71"/>
                        <a:pt x="25" y="71"/>
                      </a:cubicBezTo>
                      <a:cubicBezTo>
                        <a:pt x="25" y="73"/>
                        <a:pt x="26" y="74"/>
                        <a:pt x="27" y="74"/>
                      </a:cubicBezTo>
                      <a:cubicBezTo>
                        <a:pt x="40" y="74"/>
                        <a:pt x="40" y="74"/>
                        <a:pt x="40" y="74"/>
                      </a:cubicBezTo>
                      <a:cubicBezTo>
                        <a:pt x="41" y="74"/>
                        <a:pt x="42" y="73"/>
                        <a:pt x="42" y="71"/>
                      </a:cubicBezTo>
                      <a:cubicBezTo>
                        <a:pt x="42" y="37"/>
                        <a:pt x="42" y="37"/>
                        <a:pt x="42" y="37"/>
                      </a:cubicBezTo>
                      <a:cubicBezTo>
                        <a:pt x="42" y="32"/>
                        <a:pt x="38" y="28"/>
                        <a:pt x="33" y="28"/>
                      </a:cubicBezTo>
                      <a:cubicBezTo>
                        <a:pt x="22" y="28"/>
                        <a:pt x="22" y="28"/>
                        <a:pt x="22" y="28"/>
                      </a:cubicBezTo>
                      <a:cubicBezTo>
                        <a:pt x="22" y="11"/>
                        <a:pt x="22" y="11"/>
                        <a:pt x="22" y="11"/>
                      </a:cubicBezTo>
                      <a:cubicBezTo>
                        <a:pt x="22" y="5"/>
                        <a:pt x="17" y="0"/>
                        <a:pt x="11" y="0"/>
                      </a:cubicBezTo>
                      <a:cubicBezTo>
                        <a:pt x="5" y="0"/>
                        <a:pt x="0" y="5"/>
                        <a:pt x="0" y="11"/>
                      </a:cubicBezTo>
                      <a:close/>
                      <a:moveTo>
                        <a:pt x="0" y="11"/>
                      </a:moveTo>
                      <a:cubicBezTo>
                        <a:pt x="0" y="11"/>
                        <a:pt x="0" y="11"/>
                        <a:pt x="0" y="1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50" name="Freeform 386">
                  <a:extLst>
                    <a:ext uri="{FF2B5EF4-FFF2-40B4-BE49-F238E27FC236}">
                      <a16:creationId xmlns:a16="http://schemas.microsoft.com/office/drawing/2014/main" id="{FA5941C4-98F7-424A-95A7-16BCD12A0EBA}"/>
                    </a:ext>
                  </a:extLst>
                </p:cNvPr>
                <p:cNvSpPr>
                  <a:spLocks noEditPoints="1"/>
                </p:cNvSpPr>
                <p:nvPr/>
              </p:nvSpPr>
              <p:spPr bwMode="auto">
                <a:xfrm>
                  <a:off x="6919913" y="744538"/>
                  <a:ext cx="65087" cy="123825"/>
                </a:xfrm>
                <a:custGeom>
                  <a:avLst/>
                  <a:gdLst>
                    <a:gd name="T0" fmla="*/ 2 w 20"/>
                    <a:gd name="T1" fmla="*/ 38 h 38"/>
                    <a:gd name="T2" fmla="*/ 3 w 20"/>
                    <a:gd name="T3" fmla="*/ 38 h 38"/>
                    <a:gd name="T4" fmla="*/ 6 w 20"/>
                    <a:gd name="T5" fmla="*/ 36 h 38"/>
                    <a:gd name="T6" fmla="*/ 19 w 20"/>
                    <a:gd name="T7" fmla="*/ 4 h 38"/>
                    <a:gd name="T8" fmla="*/ 17 w 20"/>
                    <a:gd name="T9" fmla="*/ 0 h 38"/>
                    <a:gd name="T10" fmla="*/ 13 w 20"/>
                    <a:gd name="T11" fmla="*/ 2 h 38"/>
                    <a:gd name="T12" fmla="*/ 0 w 20"/>
                    <a:gd name="T13" fmla="*/ 33 h 38"/>
                    <a:gd name="T14" fmla="*/ 2 w 20"/>
                    <a:gd name="T15" fmla="*/ 38 h 38"/>
                    <a:gd name="T16" fmla="*/ 2 w 20"/>
                    <a:gd name="T17" fmla="*/ 38 h 38"/>
                    <a:gd name="T18" fmla="*/ 2 w 20"/>
                    <a:gd name="T19" fmla="*/ 3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 h="38">
                      <a:moveTo>
                        <a:pt x="2" y="38"/>
                      </a:moveTo>
                      <a:cubicBezTo>
                        <a:pt x="3" y="38"/>
                        <a:pt x="3" y="38"/>
                        <a:pt x="3" y="38"/>
                      </a:cubicBezTo>
                      <a:cubicBezTo>
                        <a:pt x="5" y="38"/>
                        <a:pt x="6" y="37"/>
                        <a:pt x="6" y="36"/>
                      </a:cubicBezTo>
                      <a:cubicBezTo>
                        <a:pt x="19" y="4"/>
                        <a:pt x="19" y="4"/>
                        <a:pt x="19" y="4"/>
                      </a:cubicBezTo>
                      <a:cubicBezTo>
                        <a:pt x="20" y="3"/>
                        <a:pt x="19" y="1"/>
                        <a:pt x="17" y="0"/>
                      </a:cubicBezTo>
                      <a:cubicBezTo>
                        <a:pt x="16" y="0"/>
                        <a:pt x="14" y="0"/>
                        <a:pt x="13" y="2"/>
                      </a:cubicBezTo>
                      <a:cubicBezTo>
                        <a:pt x="0" y="33"/>
                        <a:pt x="0" y="33"/>
                        <a:pt x="0" y="33"/>
                      </a:cubicBezTo>
                      <a:cubicBezTo>
                        <a:pt x="0" y="35"/>
                        <a:pt x="1" y="37"/>
                        <a:pt x="2" y="38"/>
                      </a:cubicBezTo>
                      <a:close/>
                      <a:moveTo>
                        <a:pt x="2" y="38"/>
                      </a:moveTo>
                      <a:cubicBezTo>
                        <a:pt x="2" y="38"/>
                        <a:pt x="2" y="38"/>
                        <a:pt x="2" y="3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51" name="Freeform 387">
                  <a:extLst>
                    <a:ext uri="{FF2B5EF4-FFF2-40B4-BE49-F238E27FC236}">
                      <a16:creationId xmlns:a16="http://schemas.microsoft.com/office/drawing/2014/main" id="{207F7D75-3CF7-46CF-87D5-32DF27D5A0D8}"/>
                    </a:ext>
                  </a:extLst>
                </p:cNvPr>
                <p:cNvSpPr>
                  <a:spLocks noEditPoints="1"/>
                </p:cNvSpPr>
                <p:nvPr/>
              </p:nvSpPr>
              <p:spPr bwMode="auto">
                <a:xfrm>
                  <a:off x="6913563" y="825500"/>
                  <a:ext cx="60325" cy="80963"/>
                </a:xfrm>
                <a:custGeom>
                  <a:avLst/>
                  <a:gdLst>
                    <a:gd name="T0" fmla="*/ 3 w 19"/>
                    <a:gd name="T1" fmla="*/ 25 h 25"/>
                    <a:gd name="T2" fmla="*/ 15 w 19"/>
                    <a:gd name="T3" fmla="*/ 25 h 25"/>
                    <a:gd name="T4" fmla="*/ 19 w 19"/>
                    <a:gd name="T5" fmla="*/ 22 h 25"/>
                    <a:gd name="T6" fmla="*/ 19 w 19"/>
                    <a:gd name="T7" fmla="*/ 3 h 25"/>
                    <a:gd name="T8" fmla="*/ 15 w 19"/>
                    <a:gd name="T9" fmla="*/ 0 h 25"/>
                    <a:gd name="T10" fmla="*/ 12 w 19"/>
                    <a:gd name="T11" fmla="*/ 3 h 25"/>
                    <a:gd name="T12" fmla="*/ 12 w 19"/>
                    <a:gd name="T13" fmla="*/ 19 h 25"/>
                    <a:gd name="T14" fmla="*/ 3 w 19"/>
                    <a:gd name="T15" fmla="*/ 19 h 25"/>
                    <a:gd name="T16" fmla="*/ 0 w 19"/>
                    <a:gd name="T17" fmla="*/ 22 h 25"/>
                    <a:gd name="T18" fmla="*/ 3 w 19"/>
                    <a:gd name="T19" fmla="*/ 25 h 25"/>
                    <a:gd name="T20" fmla="*/ 3 w 19"/>
                    <a:gd name="T21" fmla="*/ 25 h 25"/>
                    <a:gd name="T22" fmla="*/ 3 w 19"/>
                    <a:gd name="T23"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5">
                      <a:moveTo>
                        <a:pt x="3" y="25"/>
                      </a:moveTo>
                      <a:cubicBezTo>
                        <a:pt x="15" y="25"/>
                        <a:pt x="15" y="25"/>
                        <a:pt x="15" y="25"/>
                      </a:cubicBezTo>
                      <a:cubicBezTo>
                        <a:pt x="17" y="25"/>
                        <a:pt x="19" y="24"/>
                        <a:pt x="19" y="22"/>
                      </a:cubicBezTo>
                      <a:cubicBezTo>
                        <a:pt x="19" y="3"/>
                        <a:pt x="19" y="3"/>
                        <a:pt x="19" y="3"/>
                      </a:cubicBezTo>
                      <a:cubicBezTo>
                        <a:pt x="19" y="2"/>
                        <a:pt x="17" y="0"/>
                        <a:pt x="15" y="0"/>
                      </a:cubicBezTo>
                      <a:cubicBezTo>
                        <a:pt x="14" y="0"/>
                        <a:pt x="12" y="2"/>
                        <a:pt x="12" y="3"/>
                      </a:cubicBezTo>
                      <a:cubicBezTo>
                        <a:pt x="12" y="19"/>
                        <a:pt x="12" y="19"/>
                        <a:pt x="12" y="19"/>
                      </a:cubicBezTo>
                      <a:cubicBezTo>
                        <a:pt x="3" y="19"/>
                        <a:pt x="3" y="19"/>
                        <a:pt x="3" y="19"/>
                      </a:cubicBezTo>
                      <a:cubicBezTo>
                        <a:pt x="1" y="19"/>
                        <a:pt x="0" y="20"/>
                        <a:pt x="0" y="22"/>
                      </a:cubicBezTo>
                      <a:cubicBezTo>
                        <a:pt x="0" y="24"/>
                        <a:pt x="1" y="25"/>
                        <a:pt x="3" y="25"/>
                      </a:cubicBezTo>
                      <a:close/>
                      <a:moveTo>
                        <a:pt x="3" y="25"/>
                      </a:moveTo>
                      <a:cubicBezTo>
                        <a:pt x="3" y="25"/>
                        <a:pt x="3" y="25"/>
                        <a:pt x="3" y="2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52" name="Freeform 388">
                  <a:extLst>
                    <a:ext uri="{FF2B5EF4-FFF2-40B4-BE49-F238E27FC236}">
                      <a16:creationId xmlns:a16="http://schemas.microsoft.com/office/drawing/2014/main" id="{49E8EE79-65F8-4DDE-BC06-8E1E1BD59EC6}"/>
                    </a:ext>
                  </a:extLst>
                </p:cNvPr>
                <p:cNvSpPr>
                  <a:spLocks noEditPoints="1"/>
                </p:cNvSpPr>
                <p:nvPr/>
              </p:nvSpPr>
              <p:spPr bwMode="auto">
                <a:xfrm>
                  <a:off x="7013575" y="984250"/>
                  <a:ext cx="19050" cy="120650"/>
                </a:xfrm>
                <a:custGeom>
                  <a:avLst/>
                  <a:gdLst>
                    <a:gd name="T0" fmla="*/ 0 w 6"/>
                    <a:gd name="T1" fmla="*/ 34 h 37"/>
                    <a:gd name="T2" fmla="*/ 3 w 6"/>
                    <a:gd name="T3" fmla="*/ 37 h 37"/>
                    <a:gd name="T4" fmla="*/ 6 w 6"/>
                    <a:gd name="T5" fmla="*/ 34 h 37"/>
                    <a:gd name="T6" fmla="*/ 6 w 6"/>
                    <a:gd name="T7" fmla="*/ 0 h 37"/>
                    <a:gd name="T8" fmla="*/ 0 w 6"/>
                    <a:gd name="T9" fmla="*/ 0 h 37"/>
                    <a:gd name="T10" fmla="*/ 0 w 6"/>
                    <a:gd name="T11" fmla="*/ 34 h 37"/>
                    <a:gd name="T12" fmla="*/ 0 w 6"/>
                    <a:gd name="T13" fmla="*/ 34 h 37"/>
                    <a:gd name="T14" fmla="*/ 0 w 6"/>
                    <a:gd name="T15" fmla="*/ 34 h 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37">
                      <a:moveTo>
                        <a:pt x="0" y="34"/>
                      </a:moveTo>
                      <a:cubicBezTo>
                        <a:pt x="0" y="36"/>
                        <a:pt x="1" y="37"/>
                        <a:pt x="3" y="37"/>
                      </a:cubicBezTo>
                      <a:cubicBezTo>
                        <a:pt x="5" y="37"/>
                        <a:pt x="6" y="36"/>
                        <a:pt x="6" y="34"/>
                      </a:cubicBezTo>
                      <a:cubicBezTo>
                        <a:pt x="6" y="0"/>
                        <a:pt x="6" y="0"/>
                        <a:pt x="6" y="0"/>
                      </a:cubicBezTo>
                      <a:cubicBezTo>
                        <a:pt x="0" y="0"/>
                        <a:pt x="0" y="0"/>
                        <a:pt x="0" y="0"/>
                      </a:cubicBezTo>
                      <a:lnTo>
                        <a:pt x="0" y="34"/>
                      </a:lnTo>
                      <a:close/>
                      <a:moveTo>
                        <a:pt x="0" y="34"/>
                      </a:moveTo>
                      <a:cubicBezTo>
                        <a:pt x="0" y="34"/>
                        <a:pt x="0" y="34"/>
                        <a:pt x="0" y="3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53" name="Freeform 389">
                  <a:extLst>
                    <a:ext uri="{FF2B5EF4-FFF2-40B4-BE49-F238E27FC236}">
                      <a16:creationId xmlns:a16="http://schemas.microsoft.com/office/drawing/2014/main" id="{7602F945-6816-4FE5-989D-05EFDE012338}"/>
                    </a:ext>
                  </a:extLst>
                </p:cNvPr>
                <p:cNvSpPr>
                  <a:spLocks noEditPoints="1"/>
                </p:cNvSpPr>
                <p:nvPr/>
              </p:nvSpPr>
              <p:spPr bwMode="auto">
                <a:xfrm>
                  <a:off x="6870700" y="922338"/>
                  <a:ext cx="161925" cy="42863"/>
                </a:xfrm>
                <a:custGeom>
                  <a:avLst/>
                  <a:gdLst>
                    <a:gd name="T0" fmla="*/ 47 w 50"/>
                    <a:gd name="T1" fmla="*/ 0 h 13"/>
                    <a:gd name="T2" fmla="*/ 3 w 50"/>
                    <a:gd name="T3" fmla="*/ 0 h 13"/>
                    <a:gd name="T4" fmla="*/ 0 w 50"/>
                    <a:gd name="T5" fmla="*/ 3 h 13"/>
                    <a:gd name="T6" fmla="*/ 0 w 50"/>
                    <a:gd name="T7" fmla="*/ 13 h 13"/>
                    <a:gd name="T8" fmla="*/ 50 w 50"/>
                    <a:gd name="T9" fmla="*/ 13 h 13"/>
                    <a:gd name="T10" fmla="*/ 50 w 50"/>
                    <a:gd name="T11" fmla="*/ 3 h 13"/>
                    <a:gd name="T12" fmla="*/ 47 w 50"/>
                    <a:gd name="T13" fmla="*/ 0 h 13"/>
                    <a:gd name="T14" fmla="*/ 47 w 50"/>
                    <a:gd name="T15" fmla="*/ 0 h 13"/>
                    <a:gd name="T16" fmla="*/ 47 w 50"/>
                    <a:gd name="T17"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13">
                      <a:moveTo>
                        <a:pt x="47" y="0"/>
                      </a:moveTo>
                      <a:cubicBezTo>
                        <a:pt x="3" y="0"/>
                        <a:pt x="3" y="0"/>
                        <a:pt x="3" y="0"/>
                      </a:cubicBezTo>
                      <a:cubicBezTo>
                        <a:pt x="2" y="0"/>
                        <a:pt x="0" y="2"/>
                        <a:pt x="0" y="3"/>
                      </a:cubicBezTo>
                      <a:cubicBezTo>
                        <a:pt x="0" y="13"/>
                        <a:pt x="0" y="13"/>
                        <a:pt x="0" y="13"/>
                      </a:cubicBezTo>
                      <a:cubicBezTo>
                        <a:pt x="50" y="13"/>
                        <a:pt x="50" y="13"/>
                        <a:pt x="50" y="13"/>
                      </a:cubicBezTo>
                      <a:cubicBezTo>
                        <a:pt x="50" y="3"/>
                        <a:pt x="50" y="3"/>
                        <a:pt x="50" y="3"/>
                      </a:cubicBezTo>
                      <a:cubicBezTo>
                        <a:pt x="50" y="2"/>
                        <a:pt x="49" y="0"/>
                        <a:pt x="47" y="0"/>
                      </a:cubicBezTo>
                      <a:close/>
                      <a:moveTo>
                        <a:pt x="47" y="0"/>
                      </a:moveTo>
                      <a:cubicBezTo>
                        <a:pt x="47" y="0"/>
                        <a:pt x="47" y="0"/>
                        <a:pt x="4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54" name="Freeform 390">
                  <a:extLst>
                    <a:ext uri="{FF2B5EF4-FFF2-40B4-BE49-F238E27FC236}">
                      <a16:creationId xmlns:a16="http://schemas.microsoft.com/office/drawing/2014/main" id="{CDFE589F-0255-438C-9F7B-DEBF8F690AFE}"/>
                    </a:ext>
                  </a:extLst>
                </p:cNvPr>
                <p:cNvSpPr>
                  <a:spLocks noEditPoints="1"/>
                </p:cNvSpPr>
                <p:nvPr/>
              </p:nvSpPr>
              <p:spPr bwMode="auto">
                <a:xfrm>
                  <a:off x="6870700" y="984250"/>
                  <a:ext cx="22225" cy="120650"/>
                </a:xfrm>
                <a:custGeom>
                  <a:avLst/>
                  <a:gdLst>
                    <a:gd name="T0" fmla="*/ 0 w 7"/>
                    <a:gd name="T1" fmla="*/ 34 h 37"/>
                    <a:gd name="T2" fmla="*/ 3 w 7"/>
                    <a:gd name="T3" fmla="*/ 37 h 37"/>
                    <a:gd name="T4" fmla="*/ 7 w 7"/>
                    <a:gd name="T5" fmla="*/ 34 h 37"/>
                    <a:gd name="T6" fmla="*/ 7 w 7"/>
                    <a:gd name="T7" fmla="*/ 0 h 37"/>
                    <a:gd name="T8" fmla="*/ 0 w 7"/>
                    <a:gd name="T9" fmla="*/ 0 h 37"/>
                    <a:gd name="T10" fmla="*/ 0 w 7"/>
                    <a:gd name="T11" fmla="*/ 34 h 37"/>
                    <a:gd name="T12" fmla="*/ 0 w 7"/>
                    <a:gd name="T13" fmla="*/ 34 h 37"/>
                    <a:gd name="T14" fmla="*/ 0 w 7"/>
                    <a:gd name="T15" fmla="*/ 34 h 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37">
                      <a:moveTo>
                        <a:pt x="0" y="34"/>
                      </a:moveTo>
                      <a:cubicBezTo>
                        <a:pt x="0" y="36"/>
                        <a:pt x="2" y="37"/>
                        <a:pt x="3" y="37"/>
                      </a:cubicBezTo>
                      <a:cubicBezTo>
                        <a:pt x="5" y="37"/>
                        <a:pt x="7" y="36"/>
                        <a:pt x="7" y="34"/>
                      </a:cubicBezTo>
                      <a:cubicBezTo>
                        <a:pt x="7" y="0"/>
                        <a:pt x="7" y="0"/>
                        <a:pt x="7" y="0"/>
                      </a:cubicBezTo>
                      <a:cubicBezTo>
                        <a:pt x="0" y="0"/>
                        <a:pt x="0" y="0"/>
                        <a:pt x="0" y="0"/>
                      </a:cubicBezTo>
                      <a:lnTo>
                        <a:pt x="0" y="34"/>
                      </a:lnTo>
                      <a:close/>
                      <a:moveTo>
                        <a:pt x="0" y="34"/>
                      </a:moveTo>
                      <a:cubicBezTo>
                        <a:pt x="0" y="34"/>
                        <a:pt x="0" y="34"/>
                        <a:pt x="0" y="3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grpSp>
        <p:grpSp>
          <p:nvGrpSpPr>
            <p:cNvPr id="7" name="Group 74">
              <a:extLst>
                <a:ext uri="{FF2B5EF4-FFF2-40B4-BE49-F238E27FC236}">
                  <a16:creationId xmlns:a16="http://schemas.microsoft.com/office/drawing/2014/main" id="{98D9354B-A8B4-4A4D-A221-F12B2F87F6B6}"/>
                </a:ext>
              </a:extLst>
            </p:cNvPr>
            <p:cNvGrpSpPr/>
            <p:nvPr/>
          </p:nvGrpSpPr>
          <p:grpSpPr>
            <a:xfrm>
              <a:off x="941387" y="2054225"/>
              <a:ext cx="1541463" cy="1536700"/>
              <a:chOff x="941387" y="2054225"/>
              <a:chExt cx="1541463" cy="1536700"/>
            </a:xfrm>
          </p:grpSpPr>
          <p:grpSp>
            <p:nvGrpSpPr>
              <p:cNvPr id="37" name="Group 73">
                <a:extLst>
                  <a:ext uri="{FF2B5EF4-FFF2-40B4-BE49-F238E27FC236}">
                    <a16:creationId xmlns:a16="http://schemas.microsoft.com/office/drawing/2014/main" id="{F58944BC-DC4F-41E2-B4BA-9E55CB5B3C7E}"/>
                  </a:ext>
                </a:extLst>
              </p:cNvPr>
              <p:cNvGrpSpPr/>
              <p:nvPr/>
            </p:nvGrpSpPr>
            <p:grpSpPr>
              <a:xfrm>
                <a:off x="941387" y="2054225"/>
                <a:ext cx="1541463" cy="1536700"/>
                <a:chOff x="941387" y="2054225"/>
                <a:chExt cx="1541463" cy="1536700"/>
              </a:xfrm>
            </p:grpSpPr>
            <p:sp>
              <p:nvSpPr>
                <p:cNvPr id="44" name="Oval 8">
                  <a:extLst>
                    <a:ext uri="{FF2B5EF4-FFF2-40B4-BE49-F238E27FC236}">
                      <a16:creationId xmlns:a16="http://schemas.microsoft.com/office/drawing/2014/main" id="{8A8293C7-0B47-41E3-815A-3C27988ADA18}"/>
                    </a:ext>
                  </a:extLst>
                </p:cNvPr>
                <p:cNvSpPr>
                  <a:spLocks noChangeArrowheads="1"/>
                </p:cNvSpPr>
                <p:nvPr/>
              </p:nvSpPr>
              <p:spPr bwMode="auto">
                <a:xfrm>
                  <a:off x="941387" y="2054225"/>
                  <a:ext cx="1541463" cy="1536700"/>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45" name="Oval 9">
                  <a:extLst>
                    <a:ext uri="{FF2B5EF4-FFF2-40B4-BE49-F238E27FC236}">
                      <a16:creationId xmlns:a16="http://schemas.microsoft.com/office/drawing/2014/main" id="{0130EA7D-2CB6-486E-956B-90B98098E1CF}"/>
                    </a:ext>
                  </a:extLst>
                </p:cNvPr>
                <p:cNvSpPr>
                  <a:spLocks noChangeArrowheads="1"/>
                </p:cNvSpPr>
                <p:nvPr/>
              </p:nvSpPr>
              <p:spPr bwMode="auto">
                <a:xfrm>
                  <a:off x="1117600" y="2228850"/>
                  <a:ext cx="1187450" cy="11858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grpSp>
          <p:grpSp>
            <p:nvGrpSpPr>
              <p:cNvPr id="38" name="Group 3">
                <a:extLst>
                  <a:ext uri="{FF2B5EF4-FFF2-40B4-BE49-F238E27FC236}">
                    <a16:creationId xmlns:a16="http://schemas.microsoft.com/office/drawing/2014/main" id="{917962EE-B6F3-498B-BCDB-68F6A4E979B3}"/>
                  </a:ext>
                </a:extLst>
              </p:cNvPr>
              <p:cNvGrpSpPr/>
              <p:nvPr/>
            </p:nvGrpSpPr>
            <p:grpSpPr>
              <a:xfrm>
                <a:off x="1481567" y="2522594"/>
                <a:ext cx="461102" cy="599962"/>
                <a:chOff x="1488348" y="2527540"/>
                <a:chExt cx="461102" cy="599962"/>
              </a:xfrm>
            </p:grpSpPr>
            <p:sp>
              <p:nvSpPr>
                <p:cNvPr id="39" name="Freeform 201">
                  <a:extLst>
                    <a:ext uri="{FF2B5EF4-FFF2-40B4-BE49-F238E27FC236}">
                      <a16:creationId xmlns:a16="http://schemas.microsoft.com/office/drawing/2014/main" id="{FDA2231F-919E-48A5-B12A-A0FED82DA769}"/>
                    </a:ext>
                  </a:extLst>
                </p:cNvPr>
                <p:cNvSpPr>
                  <a:spLocks noEditPoints="1"/>
                </p:cNvSpPr>
                <p:nvPr/>
              </p:nvSpPr>
              <p:spPr bwMode="auto">
                <a:xfrm>
                  <a:off x="1535506" y="2527540"/>
                  <a:ext cx="133614" cy="138856"/>
                </a:xfrm>
                <a:custGeom>
                  <a:avLst/>
                  <a:gdLst>
                    <a:gd name="T0" fmla="*/ 12 w 25"/>
                    <a:gd name="T1" fmla="*/ 26 h 26"/>
                    <a:gd name="T2" fmla="*/ 25 w 25"/>
                    <a:gd name="T3" fmla="*/ 13 h 26"/>
                    <a:gd name="T4" fmla="*/ 12 w 25"/>
                    <a:gd name="T5" fmla="*/ 0 h 26"/>
                    <a:gd name="T6" fmla="*/ 0 w 25"/>
                    <a:gd name="T7" fmla="*/ 13 h 26"/>
                    <a:gd name="T8" fmla="*/ 12 w 25"/>
                    <a:gd name="T9" fmla="*/ 26 h 26"/>
                    <a:gd name="T10" fmla="*/ 12 w 25"/>
                    <a:gd name="T11" fmla="*/ 26 h 26"/>
                    <a:gd name="T12" fmla="*/ 12 w 25"/>
                    <a:gd name="T13" fmla="*/ 26 h 26"/>
                  </a:gdLst>
                  <a:ahLst/>
                  <a:cxnLst>
                    <a:cxn ang="0">
                      <a:pos x="T0" y="T1"/>
                    </a:cxn>
                    <a:cxn ang="0">
                      <a:pos x="T2" y="T3"/>
                    </a:cxn>
                    <a:cxn ang="0">
                      <a:pos x="T4" y="T5"/>
                    </a:cxn>
                    <a:cxn ang="0">
                      <a:pos x="T6" y="T7"/>
                    </a:cxn>
                    <a:cxn ang="0">
                      <a:pos x="T8" y="T9"/>
                    </a:cxn>
                    <a:cxn ang="0">
                      <a:pos x="T10" y="T11"/>
                    </a:cxn>
                    <a:cxn ang="0">
                      <a:pos x="T12" y="T13"/>
                    </a:cxn>
                  </a:cxnLst>
                  <a:rect l="0" t="0" r="r" b="b"/>
                  <a:pathLst>
                    <a:path w="25" h="26">
                      <a:moveTo>
                        <a:pt x="12" y="26"/>
                      </a:moveTo>
                      <a:cubicBezTo>
                        <a:pt x="19" y="26"/>
                        <a:pt x="25" y="20"/>
                        <a:pt x="25" y="13"/>
                      </a:cubicBezTo>
                      <a:cubicBezTo>
                        <a:pt x="25" y="6"/>
                        <a:pt x="19" y="0"/>
                        <a:pt x="12" y="0"/>
                      </a:cubicBezTo>
                      <a:cubicBezTo>
                        <a:pt x="5" y="0"/>
                        <a:pt x="0" y="6"/>
                        <a:pt x="0" y="13"/>
                      </a:cubicBezTo>
                      <a:cubicBezTo>
                        <a:pt x="0" y="20"/>
                        <a:pt x="5" y="26"/>
                        <a:pt x="12" y="26"/>
                      </a:cubicBezTo>
                      <a:close/>
                      <a:moveTo>
                        <a:pt x="12" y="26"/>
                      </a:moveTo>
                      <a:cubicBezTo>
                        <a:pt x="12" y="26"/>
                        <a:pt x="12" y="26"/>
                        <a:pt x="12" y="26"/>
                      </a:cubicBezTo>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40" name="Freeform 202">
                  <a:extLst>
                    <a:ext uri="{FF2B5EF4-FFF2-40B4-BE49-F238E27FC236}">
                      <a16:creationId xmlns:a16="http://schemas.microsoft.com/office/drawing/2014/main" id="{9C7BDB7D-8A17-4362-96B7-2CCA2BABC0FD}"/>
                    </a:ext>
                  </a:extLst>
                </p:cNvPr>
                <p:cNvSpPr>
                  <a:spLocks noEditPoints="1"/>
                </p:cNvSpPr>
                <p:nvPr/>
              </p:nvSpPr>
              <p:spPr bwMode="auto">
                <a:xfrm>
                  <a:off x="1810596" y="2527540"/>
                  <a:ext cx="138854" cy="138856"/>
                </a:xfrm>
                <a:custGeom>
                  <a:avLst/>
                  <a:gdLst>
                    <a:gd name="T0" fmla="*/ 13 w 26"/>
                    <a:gd name="T1" fmla="*/ 26 h 26"/>
                    <a:gd name="T2" fmla="*/ 26 w 26"/>
                    <a:gd name="T3" fmla="*/ 13 h 26"/>
                    <a:gd name="T4" fmla="*/ 13 w 26"/>
                    <a:gd name="T5" fmla="*/ 0 h 26"/>
                    <a:gd name="T6" fmla="*/ 0 w 26"/>
                    <a:gd name="T7" fmla="*/ 13 h 26"/>
                    <a:gd name="T8" fmla="*/ 13 w 26"/>
                    <a:gd name="T9" fmla="*/ 26 h 26"/>
                    <a:gd name="T10" fmla="*/ 13 w 26"/>
                    <a:gd name="T11" fmla="*/ 26 h 26"/>
                    <a:gd name="T12" fmla="*/ 13 w 26"/>
                    <a:gd name="T13" fmla="*/ 26 h 26"/>
                  </a:gdLst>
                  <a:ahLst/>
                  <a:cxnLst>
                    <a:cxn ang="0">
                      <a:pos x="T0" y="T1"/>
                    </a:cxn>
                    <a:cxn ang="0">
                      <a:pos x="T2" y="T3"/>
                    </a:cxn>
                    <a:cxn ang="0">
                      <a:pos x="T4" y="T5"/>
                    </a:cxn>
                    <a:cxn ang="0">
                      <a:pos x="T6" y="T7"/>
                    </a:cxn>
                    <a:cxn ang="0">
                      <a:pos x="T8" y="T9"/>
                    </a:cxn>
                    <a:cxn ang="0">
                      <a:pos x="T10" y="T11"/>
                    </a:cxn>
                    <a:cxn ang="0">
                      <a:pos x="T12" y="T13"/>
                    </a:cxn>
                  </a:cxnLst>
                  <a:rect l="0" t="0" r="r" b="b"/>
                  <a:pathLst>
                    <a:path w="26" h="26">
                      <a:moveTo>
                        <a:pt x="13" y="26"/>
                      </a:moveTo>
                      <a:cubicBezTo>
                        <a:pt x="20" y="26"/>
                        <a:pt x="26" y="20"/>
                        <a:pt x="26" y="13"/>
                      </a:cubicBezTo>
                      <a:cubicBezTo>
                        <a:pt x="26" y="6"/>
                        <a:pt x="20" y="0"/>
                        <a:pt x="13" y="0"/>
                      </a:cubicBezTo>
                      <a:cubicBezTo>
                        <a:pt x="6" y="0"/>
                        <a:pt x="0" y="6"/>
                        <a:pt x="0" y="13"/>
                      </a:cubicBezTo>
                      <a:cubicBezTo>
                        <a:pt x="0" y="20"/>
                        <a:pt x="6" y="26"/>
                        <a:pt x="13" y="26"/>
                      </a:cubicBezTo>
                      <a:close/>
                      <a:moveTo>
                        <a:pt x="13" y="26"/>
                      </a:moveTo>
                      <a:cubicBezTo>
                        <a:pt x="13" y="26"/>
                        <a:pt x="13" y="26"/>
                        <a:pt x="13" y="26"/>
                      </a:cubicBezTo>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41" name="Freeform 203">
                  <a:extLst>
                    <a:ext uri="{FF2B5EF4-FFF2-40B4-BE49-F238E27FC236}">
                      <a16:creationId xmlns:a16="http://schemas.microsoft.com/office/drawing/2014/main" id="{80BB742E-17D1-4773-BA07-B0B12BCF5820}"/>
                    </a:ext>
                  </a:extLst>
                </p:cNvPr>
                <p:cNvSpPr>
                  <a:spLocks noEditPoints="1"/>
                </p:cNvSpPr>
                <p:nvPr/>
              </p:nvSpPr>
              <p:spPr bwMode="auto">
                <a:xfrm>
                  <a:off x="1810596" y="2692596"/>
                  <a:ext cx="138854" cy="434906"/>
                </a:xfrm>
                <a:custGeom>
                  <a:avLst/>
                  <a:gdLst>
                    <a:gd name="T0" fmla="*/ 13 w 26"/>
                    <a:gd name="T1" fmla="*/ 0 h 81"/>
                    <a:gd name="T2" fmla="*/ 0 w 26"/>
                    <a:gd name="T3" fmla="*/ 13 h 81"/>
                    <a:gd name="T4" fmla="*/ 0 w 26"/>
                    <a:gd name="T5" fmla="*/ 77 h 81"/>
                    <a:gd name="T6" fmla="*/ 3 w 26"/>
                    <a:gd name="T7" fmla="*/ 81 h 81"/>
                    <a:gd name="T8" fmla="*/ 18 w 26"/>
                    <a:gd name="T9" fmla="*/ 81 h 81"/>
                    <a:gd name="T10" fmla="*/ 21 w 26"/>
                    <a:gd name="T11" fmla="*/ 77 h 81"/>
                    <a:gd name="T12" fmla="*/ 21 w 26"/>
                    <a:gd name="T13" fmla="*/ 47 h 81"/>
                    <a:gd name="T14" fmla="*/ 25 w 26"/>
                    <a:gd name="T15" fmla="*/ 35 h 81"/>
                    <a:gd name="T16" fmla="*/ 26 w 26"/>
                    <a:gd name="T17" fmla="*/ 34 h 81"/>
                    <a:gd name="T18" fmla="*/ 26 w 26"/>
                    <a:gd name="T19" fmla="*/ 13 h 81"/>
                    <a:gd name="T20" fmla="*/ 13 w 26"/>
                    <a:gd name="T21" fmla="*/ 0 h 81"/>
                    <a:gd name="T22" fmla="*/ 13 w 26"/>
                    <a:gd name="T23" fmla="*/ 0 h 81"/>
                    <a:gd name="T24" fmla="*/ 13 w 26"/>
                    <a:gd name="T25" fmla="*/ 0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 h="81">
                      <a:moveTo>
                        <a:pt x="13" y="0"/>
                      </a:moveTo>
                      <a:cubicBezTo>
                        <a:pt x="6" y="0"/>
                        <a:pt x="0" y="6"/>
                        <a:pt x="0" y="13"/>
                      </a:cubicBezTo>
                      <a:cubicBezTo>
                        <a:pt x="0" y="77"/>
                        <a:pt x="0" y="77"/>
                        <a:pt x="0" y="77"/>
                      </a:cubicBezTo>
                      <a:cubicBezTo>
                        <a:pt x="0" y="79"/>
                        <a:pt x="1" y="81"/>
                        <a:pt x="3" y="81"/>
                      </a:cubicBezTo>
                      <a:cubicBezTo>
                        <a:pt x="18" y="81"/>
                        <a:pt x="18" y="81"/>
                        <a:pt x="18" y="81"/>
                      </a:cubicBezTo>
                      <a:cubicBezTo>
                        <a:pt x="20" y="81"/>
                        <a:pt x="21" y="79"/>
                        <a:pt x="21" y="77"/>
                      </a:cubicBezTo>
                      <a:cubicBezTo>
                        <a:pt x="21" y="47"/>
                        <a:pt x="21" y="47"/>
                        <a:pt x="21" y="47"/>
                      </a:cubicBezTo>
                      <a:cubicBezTo>
                        <a:pt x="25" y="35"/>
                        <a:pt x="25" y="35"/>
                        <a:pt x="25" y="35"/>
                      </a:cubicBezTo>
                      <a:cubicBezTo>
                        <a:pt x="25" y="35"/>
                        <a:pt x="26" y="34"/>
                        <a:pt x="26" y="34"/>
                      </a:cubicBezTo>
                      <a:cubicBezTo>
                        <a:pt x="26" y="13"/>
                        <a:pt x="26" y="13"/>
                        <a:pt x="26" y="13"/>
                      </a:cubicBezTo>
                      <a:cubicBezTo>
                        <a:pt x="26" y="6"/>
                        <a:pt x="20" y="0"/>
                        <a:pt x="13" y="0"/>
                      </a:cubicBezTo>
                      <a:close/>
                      <a:moveTo>
                        <a:pt x="13" y="0"/>
                      </a:moveTo>
                      <a:cubicBezTo>
                        <a:pt x="13" y="0"/>
                        <a:pt x="13" y="0"/>
                        <a:pt x="13" y="0"/>
                      </a:cubicBezTo>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42" name="Freeform 204">
                  <a:extLst>
                    <a:ext uri="{FF2B5EF4-FFF2-40B4-BE49-F238E27FC236}">
                      <a16:creationId xmlns:a16="http://schemas.microsoft.com/office/drawing/2014/main" id="{69979208-1980-4095-B436-FD20FFAA0545}"/>
                    </a:ext>
                  </a:extLst>
                </p:cNvPr>
                <p:cNvSpPr>
                  <a:spLocks noEditPoints="1"/>
                </p:cNvSpPr>
                <p:nvPr/>
              </p:nvSpPr>
              <p:spPr bwMode="auto">
                <a:xfrm>
                  <a:off x="1488348" y="2692596"/>
                  <a:ext cx="230552" cy="419187"/>
                </a:xfrm>
                <a:custGeom>
                  <a:avLst/>
                  <a:gdLst>
                    <a:gd name="T0" fmla="*/ 35 w 43"/>
                    <a:gd name="T1" fmla="*/ 1 h 78"/>
                    <a:gd name="T2" fmla="*/ 35 w 43"/>
                    <a:gd name="T3" fmla="*/ 1 h 78"/>
                    <a:gd name="T4" fmla="*/ 32 w 43"/>
                    <a:gd name="T5" fmla="*/ 0 h 78"/>
                    <a:gd name="T6" fmla="*/ 30 w 43"/>
                    <a:gd name="T7" fmla="*/ 0 h 78"/>
                    <a:gd name="T8" fmla="*/ 23 w 43"/>
                    <a:gd name="T9" fmla="*/ 21 h 78"/>
                    <a:gd name="T10" fmla="*/ 20 w 43"/>
                    <a:gd name="T11" fmla="*/ 21 h 78"/>
                    <a:gd name="T12" fmla="*/ 12 w 43"/>
                    <a:gd name="T13" fmla="*/ 0 h 78"/>
                    <a:gd name="T14" fmla="*/ 11 w 43"/>
                    <a:gd name="T15" fmla="*/ 0 h 78"/>
                    <a:gd name="T16" fmla="*/ 11 w 43"/>
                    <a:gd name="T17" fmla="*/ 0 h 78"/>
                    <a:gd name="T18" fmla="*/ 7 w 43"/>
                    <a:gd name="T19" fmla="*/ 1 h 78"/>
                    <a:gd name="T20" fmla="*/ 0 w 43"/>
                    <a:gd name="T21" fmla="*/ 12 h 78"/>
                    <a:gd name="T22" fmla="*/ 0 w 43"/>
                    <a:gd name="T23" fmla="*/ 34 h 78"/>
                    <a:gd name="T24" fmla="*/ 0 w 43"/>
                    <a:gd name="T25" fmla="*/ 34 h 78"/>
                    <a:gd name="T26" fmla="*/ 8 w 43"/>
                    <a:gd name="T27" fmla="*/ 47 h 78"/>
                    <a:gd name="T28" fmla="*/ 8 w 43"/>
                    <a:gd name="T29" fmla="*/ 77 h 78"/>
                    <a:gd name="T30" fmla="*/ 9 w 43"/>
                    <a:gd name="T31" fmla="*/ 78 h 78"/>
                    <a:gd name="T32" fmla="*/ 34 w 43"/>
                    <a:gd name="T33" fmla="*/ 78 h 78"/>
                    <a:gd name="T34" fmla="*/ 35 w 43"/>
                    <a:gd name="T35" fmla="*/ 77 h 78"/>
                    <a:gd name="T36" fmla="*/ 35 w 43"/>
                    <a:gd name="T37" fmla="*/ 47 h 78"/>
                    <a:gd name="T38" fmla="*/ 43 w 43"/>
                    <a:gd name="T39" fmla="*/ 34 h 78"/>
                    <a:gd name="T40" fmla="*/ 43 w 43"/>
                    <a:gd name="T41" fmla="*/ 34 h 78"/>
                    <a:gd name="T42" fmla="*/ 43 w 43"/>
                    <a:gd name="T43" fmla="*/ 12 h 78"/>
                    <a:gd name="T44" fmla="*/ 35 w 43"/>
                    <a:gd name="T45" fmla="*/ 1 h 78"/>
                    <a:gd name="T46" fmla="*/ 35 w 43"/>
                    <a:gd name="T47" fmla="*/ 1 h 78"/>
                    <a:gd name="T48" fmla="*/ 35 w 43"/>
                    <a:gd name="T49" fmla="*/ 1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3" h="78">
                      <a:moveTo>
                        <a:pt x="35" y="1"/>
                      </a:moveTo>
                      <a:cubicBezTo>
                        <a:pt x="35" y="1"/>
                        <a:pt x="35" y="1"/>
                        <a:pt x="35" y="1"/>
                      </a:cubicBezTo>
                      <a:cubicBezTo>
                        <a:pt x="32" y="0"/>
                        <a:pt x="32" y="0"/>
                        <a:pt x="32" y="0"/>
                      </a:cubicBezTo>
                      <a:cubicBezTo>
                        <a:pt x="31" y="0"/>
                        <a:pt x="31" y="0"/>
                        <a:pt x="30" y="0"/>
                      </a:cubicBezTo>
                      <a:cubicBezTo>
                        <a:pt x="23" y="21"/>
                        <a:pt x="23" y="21"/>
                        <a:pt x="23" y="21"/>
                      </a:cubicBezTo>
                      <a:cubicBezTo>
                        <a:pt x="22" y="23"/>
                        <a:pt x="21" y="23"/>
                        <a:pt x="20" y="21"/>
                      </a:cubicBezTo>
                      <a:cubicBezTo>
                        <a:pt x="12" y="0"/>
                        <a:pt x="12" y="0"/>
                        <a:pt x="12" y="0"/>
                      </a:cubicBezTo>
                      <a:cubicBezTo>
                        <a:pt x="12" y="0"/>
                        <a:pt x="12" y="0"/>
                        <a:pt x="11" y="0"/>
                      </a:cubicBezTo>
                      <a:cubicBezTo>
                        <a:pt x="11" y="0"/>
                        <a:pt x="11" y="0"/>
                        <a:pt x="11" y="0"/>
                      </a:cubicBezTo>
                      <a:cubicBezTo>
                        <a:pt x="7" y="1"/>
                        <a:pt x="7" y="1"/>
                        <a:pt x="7" y="1"/>
                      </a:cubicBezTo>
                      <a:cubicBezTo>
                        <a:pt x="3" y="2"/>
                        <a:pt x="0" y="7"/>
                        <a:pt x="0" y="12"/>
                      </a:cubicBezTo>
                      <a:cubicBezTo>
                        <a:pt x="0" y="34"/>
                        <a:pt x="0" y="34"/>
                        <a:pt x="0" y="34"/>
                      </a:cubicBezTo>
                      <a:cubicBezTo>
                        <a:pt x="0" y="34"/>
                        <a:pt x="0" y="34"/>
                        <a:pt x="0" y="34"/>
                      </a:cubicBezTo>
                      <a:cubicBezTo>
                        <a:pt x="8" y="47"/>
                        <a:pt x="8" y="47"/>
                        <a:pt x="8" y="47"/>
                      </a:cubicBezTo>
                      <a:cubicBezTo>
                        <a:pt x="8" y="77"/>
                        <a:pt x="8" y="77"/>
                        <a:pt x="8" y="77"/>
                      </a:cubicBezTo>
                      <a:cubicBezTo>
                        <a:pt x="8" y="78"/>
                        <a:pt x="8" y="78"/>
                        <a:pt x="9" y="78"/>
                      </a:cubicBezTo>
                      <a:cubicBezTo>
                        <a:pt x="34" y="78"/>
                        <a:pt x="34" y="78"/>
                        <a:pt x="34" y="78"/>
                      </a:cubicBezTo>
                      <a:cubicBezTo>
                        <a:pt x="34" y="78"/>
                        <a:pt x="35" y="78"/>
                        <a:pt x="35" y="77"/>
                      </a:cubicBezTo>
                      <a:cubicBezTo>
                        <a:pt x="35" y="47"/>
                        <a:pt x="35" y="47"/>
                        <a:pt x="35" y="47"/>
                      </a:cubicBezTo>
                      <a:cubicBezTo>
                        <a:pt x="43" y="34"/>
                        <a:pt x="43" y="34"/>
                        <a:pt x="43" y="34"/>
                      </a:cubicBezTo>
                      <a:cubicBezTo>
                        <a:pt x="43" y="34"/>
                        <a:pt x="43" y="34"/>
                        <a:pt x="43" y="34"/>
                      </a:cubicBezTo>
                      <a:cubicBezTo>
                        <a:pt x="43" y="12"/>
                        <a:pt x="43" y="12"/>
                        <a:pt x="43" y="12"/>
                      </a:cubicBezTo>
                      <a:cubicBezTo>
                        <a:pt x="43" y="7"/>
                        <a:pt x="40" y="2"/>
                        <a:pt x="35" y="1"/>
                      </a:cubicBezTo>
                      <a:close/>
                      <a:moveTo>
                        <a:pt x="35" y="1"/>
                      </a:moveTo>
                      <a:cubicBezTo>
                        <a:pt x="35" y="1"/>
                        <a:pt x="35" y="1"/>
                        <a:pt x="35" y="1"/>
                      </a:cubicBezTo>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43" name="Freeform 206">
                  <a:extLst>
                    <a:ext uri="{FF2B5EF4-FFF2-40B4-BE49-F238E27FC236}">
                      <a16:creationId xmlns:a16="http://schemas.microsoft.com/office/drawing/2014/main" id="{9BD7AD2F-96B0-40F7-BA6D-94F7592CE0A9}"/>
                    </a:ext>
                  </a:extLst>
                </p:cNvPr>
                <p:cNvSpPr>
                  <a:spLocks noEditPoints="1"/>
                </p:cNvSpPr>
                <p:nvPr/>
              </p:nvSpPr>
              <p:spPr bwMode="auto">
                <a:xfrm>
                  <a:off x="1585284" y="2687356"/>
                  <a:ext cx="36679" cy="86458"/>
                </a:xfrm>
                <a:custGeom>
                  <a:avLst/>
                  <a:gdLst>
                    <a:gd name="T0" fmla="*/ 6 w 7"/>
                    <a:gd name="T1" fmla="*/ 0 h 16"/>
                    <a:gd name="T2" fmla="*/ 5 w 7"/>
                    <a:gd name="T3" fmla="*/ 0 h 16"/>
                    <a:gd name="T4" fmla="*/ 2 w 7"/>
                    <a:gd name="T5" fmla="*/ 0 h 16"/>
                    <a:gd name="T6" fmla="*/ 1 w 7"/>
                    <a:gd name="T7" fmla="*/ 0 h 16"/>
                    <a:gd name="T8" fmla="*/ 1 w 7"/>
                    <a:gd name="T9" fmla="*/ 2 h 16"/>
                    <a:gd name="T10" fmla="*/ 2 w 7"/>
                    <a:gd name="T11" fmla="*/ 5 h 16"/>
                    <a:gd name="T12" fmla="*/ 1 w 7"/>
                    <a:gd name="T13" fmla="*/ 12 h 16"/>
                    <a:gd name="T14" fmla="*/ 3 w 7"/>
                    <a:gd name="T15" fmla="*/ 16 h 16"/>
                    <a:gd name="T16" fmla="*/ 4 w 7"/>
                    <a:gd name="T17" fmla="*/ 16 h 16"/>
                    <a:gd name="T18" fmla="*/ 6 w 7"/>
                    <a:gd name="T19" fmla="*/ 12 h 16"/>
                    <a:gd name="T20" fmla="*/ 5 w 7"/>
                    <a:gd name="T21" fmla="*/ 5 h 16"/>
                    <a:gd name="T22" fmla="*/ 7 w 7"/>
                    <a:gd name="T23" fmla="*/ 2 h 16"/>
                    <a:gd name="T24" fmla="*/ 6 w 7"/>
                    <a:gd name="T25" fmla="*/ 0 h 16"/>
                    <a:gd name="T26" fmla="*/ 6 w 7"/>
                    <a:gd name="T27" fmla="*/ 0 h 16"/>
                    <a:gd name="T28" fmla="*/ 6 w 7"/>
                    <a:gd name="T29"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 h="16">
                      <a:moveTo>
                        <a:pt x="6" y="0"/>
                      </a:moveTo>
                      <a:cubicBezTo>
                        <a:pt x="6" y="0"/>
                        <a:pt x="6" y="0"/>
                        <a:pt x="5" y="0"/>
                      </a:cubicBezTo>
                      <a:cubicBezTo>
                        <a:pt x="2" y="0"/>
                        <a:pt x="2" y="0"/>
                        <a:pt x="2" y="0"/>
                      </a:cubicBezTo>
                      <a:cubicBezTo>
                        <a:pt x="1" y="0"/>
                        <a:pt x="1" y="0"/>
                        <a:pt x="1" y="0"/>
                      </a:cubicBezTo>
                      <a:cubicBezTo>
                        <a:pt x="0" y="1"/>
                        <a:pt x="0" y="2"/>
                        <a:pt x="1" y="2"/>
                      </a:cubicBezTo>
                      <a:cubicBezTo>
                        <a:pt x="2" y="5"/>
                        <a:pt x="2" y="5"/>
                        <a:pt x="2" y="5"/>
                      </a:cubicBezTo>
                      <a:cubicBezTo>
                        <a:pt x="1" y="12"/>
                        <a:pt x="1" y="12"/>
                        <a:pt x="1" y="12"/>
                      </a:cubicBezTo>
                      <a:cubicBezTo>
                        <a:pt x="3" y="16"/>
                        <a:pt x="3" y="16"/>
                        <a:pt x="3" y="16"/>
                      </a:cubicBezTo>
                      <a:cubicBezTo>
                        <a:pt x="3" y="16"/>
                        <a:pt x="4" y="16"/>
                        <a:pt x="4" y="16"/>
                      </a:cubicBezTo>
                      <a:cubicBezTo>
                        <a:pt x="6" y="12"/>
                        <a:pt x="6" y="12"/>
                        <a:pt x="6" y="12"/>
                      </a:cubicBezTo>
                      <a:cubicBezTo>
                        <a:pt x="5" y="5"/>
                        <a:pt x="5" y="5"/>
                        <a:pt x="5" y="5"/>
                      </a:cubicBezTo>
                      <a:cubicBezTo>
                        <a:pt x="7" y="2"/>
                        <a:pt x="7" y="2"/>
                        <a:pt x="7" y="2"/>
                      </a:cubicBezTo>
                      <a:cubicBezTo>
                        <a:pt x="7" y="2"/>
                        <a:pt x="7" y="1"/>
                        <a:pt x="6" y="0"/>
                      </a:cubicBezTo>
                      <a:close/>
                      <a:moveTo>
                        <a:pt x="6" y="0"/>
                      </a:moveTo>
                      <a:cubicBezTo>
                        <a:pt x="6" y="0"/>
                        <a:pt x="6" y="0"/>
                        <a:pt x="6" y="0"/>
                      </a:cubicBezTo>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grpSp>
        <p:grpSp>
          <p:nvGrpSpPr>
            <p:cNvPr id="8" name="Group 79">
              <a:extLst>
                <a:ext uri="{FF2B5EF4-FFF2-40B4-BE49-F238E27FC236}">
                  <a16:creationId xmlns:a16="http://schemas.microsoft.com/office/drawing/2014/main" id="{8732E74D-F86C-45F1-AF8E-2647A88A203B}"/>
                </a:ext>
              </a:extLst>
            </p:cNvPr>
            <p:cNvGrpSpPr/>
            <p:nvPr/>
          </p:nvGrpSpPr>
          <p:grpSpPr>
            <a:xfrm>
              <a:off x="4148137" y="3868738"/>
              <a:ext cx="1947863" cy="1943100"/>
              <a:chOff x="4148137" y="3868738"/>
              <a:chExt cx="1947863" cy="1943100"/>
            </a:xfrm>
          </p:grpSpPr>
          <p:grpSp>
            <p:nvGrpSpPr>
              <p:cNvPr id="26" name="Group 78">
                <a:extLst>
                  <a:ext uri="{FF2B5EF4-FFF2-40B4-BE49-F238E27FC236}">
                    <a16:creationId xmlns:a16="http://schemas.microsoft.com/office/drawing/2014/main" id="{FC7686F2-A735-4DDE-B757-5F2FAC5AC7C3}"/>
                  </a:ext>
                </a:extLst>
              </p:cNvPr>
              <p:cNvGrpSpPr/>
              <p:nvPr/>
            </p:nvGrpSpPr>
            <p:grpSpPr>
              <a:xfrm>
                <a:off x="4148137" y="3868738"/>
                <a:ext cx="1947863" cy="1943100"/>
                <a:chOff x="4148137" y="3868738"/>
                <a:chExt cx="1947863" cy="1943100"/>
              </a:xfrm>
            </p:grpSpPr>
            <p:sp>
              <p:nvSpPr>
                <p:cNvPr id="35" name="Oval 14">
                  <a:extLst>
                    <a:ext uri="{FF2B5EF4-FFF2-40B4-BE49-F238E27FC236}">
                      <a16:creationId xmlns:a16="http://schemas.microsoft.com/office/drawing/2014/main" id="{6BE010B6-4121-40EA-8054-B3FCACFD6144}"/>
                    </a:ext>
                  </a:extLst>
                </p:cNvPr>
                <p:cNvSpPr>
                  <a:spLocks noChangeArrowheads="1"/>
                </p:cNvSpPr>
                <p:nvPr/>
              </p:nvSpPr>
              <p:spPr bwMode="auto">
                <a:xfrm>
                  <a:off x="4148137" y="3868738"/>
                  <a:ext cx="1947863" cy="1943100"/>
                </a:xfrm>
                <a:prstGeom prst="ellipse">
                  <a:avLst/>
                </a:pr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36" name="Oval 15">
                  <a:extLst>
                    <a:ext uri="{FF2B5EF4-FFF2-40B4-BE49-F238E27FC236}">
                      <a16:creationId xmlns:a16="http://schemas.microsoft.com/office/drawing/2014/main" id="{B6A4AEC8-583B-4A93-B993-D4A2BE0D58BA}"/>
                    </a:ext>
                  </a:extLst>
                </p:cNvPr>
                <p:cNvSpPr>
                  <a:spLocks noChangeArrowheads="1"/>
                </p:cNvSpPr>
                <p:nvPr/>
              </p:nvSpPr>
              <p:spPr bwMode="auto">
                <a:xfrm>
                  <a:off x="4371975" y="4090988"/>
                  <a:ext cx="1501775" cy="14970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grpSp>
          <p:grpSp>
            <p:nvGrpSpPr>
              <p:cNvPr id="27" name="Group 31">
                <a:extLst>
                  <a:ext uri="{FF2B5EF4-FFF2-40B4-BE49-F238E27FC236}">
                    <a16:creationId xmlns:a16="http://schemas.microsoft.com/office/drawing/2014/main" id="{00C15D11-4245-440E-AE39-502A5D297758}"/>
                  </a:ext>
                </a:extLst>
              </p:cNvPr>
              <p:cNvGrpSpPr/>
              <p:nvPr/>
            </p:nvGrpSpPr>
            <p:grpSpPr>
              <a:xfrm>
                <a:off x="4772363" y="4196831"/>
                <a:ext cx="699410" cy="1286914"/>
                <a:chOff x="4333479" y="5446713"/>
                <a:chExt cx="198437" cy="365125"/>
              </a:xfrm>
              <a:solidFill>
                <a:schemeClr val="accent4">
                  <a:lumMod val="60000"/>
                  <a:lumOff val="40000"/>
                </a:schemeClr>
              </a:solidFill>
            </p:grpSpPr>
            <p:sp>
              <p:nvSpPr>
                <p:cNvPr id="28" name="Freeform 168">
                  <a:extLst>
                    <a:ext uri="{FF2B5EF4-FFF2-40B4-BE49-F238E27FC236}">
                      <a16:creationId xmlns:a16="http://schemas.microsoft.com/office/drawing/2014/main" id="{0CEB79CE-C51E-4B2B-B5C9-EFC22694A087}"/>
                    </a:ext>
                  </a:extLst>
                </p:cNvPr>
                <p:cNvSpPr>
                  <a:spLocks noEditPoints="1"/>
                </p:cNvSpPr>
                <p:nvPr/>
              </p:nvSpPr>
              <p:spPr bwMode="auto">
                <a:xfrm>
                  <a:off x="4420792" y="5446713"/>
                  <a:ext cx="19050" cy="36513"/>
                </a:xfrm>
                <a:custGeom>
                  <a:avLst/>
                  <a:gdLst>
                    <a:gd name="T0" fmla="*/ 3 w 6"/>
                    <a:gd name="T1" fmla="*/ 11 h 11"/>
                    <a:gd name="T2" fmla="*/ 6 w 6"/>
                    <a:gd name="T3" fmla="*/ 8 h 11"/>
                    <a:gd name="T4" fmla="*/ 6 w 6"/>
                    <a:gd name="T5" fmla="*/ 3 h 11"/>
                    <a:gd name="T6" fmla="*/ 3 w 6"/>
                    <a:gd name="T7" fmla="*/ 0 h 11"/>
                    <a:gd name="T8" fmla="*/ 0 w 6"/>
                    <a:gd name="T9" fmla="*/ 3 h 11"/>
                    <a:gd name="T10" fmla="*/ 0 w 6"/>
                    <a:gd name="T11" fmla="*/ 8 h 11"/>
                    <a:gd name="T12" fmla="*/ 3 w 6"/>
                    <a:gd name="T13" fmla="*/ 11 h 11"/>
                    <a:gd name="T14" fmla="*/ 3 w 6"/>
                    <a:gd name="T15" fmla="*/ 11 h 11"/>
                    <a:gd name="T16" fmla="*/ 3 w 6"/>
                    <a:gd name="T17"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1">
                      <a:moveTo>
                        <a:pt x="3" y="11"/>
                      </a:moveTo>
                      <a:cubicBezTo>
                        <a:pt x="5" y="11"/>
                        <a:pt x="6" y="10"/>
                        <a:pt x="6" y="8"/>
                      </a:cubicBezTo>
                      <a:cubicBezTo>
                        <a:pt x="6" y="3"/>
                        <a:pt x="6" y="3"/>
                        <a:pt x="6" y="3"/>
                      </a:cubicBezTo>
                      <a:cubicBezTo>
                        <a:pt x="6" y="2"/>
                        <a:pt x="5" y="0"/>
                        <a:pt x="3" y="0"/>
                      </a:cubicBezTo>
                      <a:cubicBezTo>
                        <a:pt x="2" y="0"/>
                        <a:pt x="0" y="2"/>
                        <a:pt x="0" y="3"/>
                      </a:cubicBezTo>
                      <a:cubicBezTo>
                        <a:pt x="0" y="8"/>
                        <a:pt x="0" y="8"/>
                        <a:pt x="0" y="8"/>
                      </a:cubicBezTo>
                      <a:cubicBezTo>
                        <a:pt x="0" y="10"/>
                        <a:pt x="2" y="11"/>
                        <a:pt x="3" y="11"/>
                      </a:cubicBezTo>
                      <a:close/>
                      <a:moveTo>
                        <a:pt x="3" y="11"/>
                      </a:moveTo>
                      <a:cubicBezTo>
                        <a:pt x="3" y="11"/>
                        <a:pt x="3" y="11"/>
                        <a:pt x="3" y="1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9" name="Freeform 169">
                  <a:extLst>
                    <a:ext uri="{FF2B5EF4-FFF2-40B4-BE49-F238E27FC236}">
                      <a16:creationId xmlns:a16="http://schemas.microsoft.com/office/drawing/2014/main" id="{32E63176-5426-4BD9-8B20-361FC8856E80}"/>
                    </a:ext>
                  </a:extLst>
                </p:cNvPr>
                <p:cNvSpPr>
                  <a:spLocks noEditPoints="1"/>
                </p:cNvSpPr>
                <p:nvPr/>
              </p:nvSpPr>
              <p:spPr bwMode="auto">
                <a:xfrm>
                  <a:off x="4333479" y="5538788"/>
                  <a:ext cx="31750" cy="19050"/>
                </a:xfrm>
                <a:custGeom>
                  <a:avLst/>
                  <a:gdLst>
                    <a:gd name="T0" fmla="*/ 7 w 10"/>
                    <a:gd name="T1" fmla="*/ 0 h 6"/>
                    <a:gd name="T2" fmla="*/ 3 w 10"/>
                    <a:gd name="T3" fmla="*/ 0 h 6"/>
                    <a:gd name="T4" fmla="*/ 0 w 10"/>
                    <a:gd name="T5" fmla="*/ 3 h 6"/>
                    <a:gd name="T6" fmla="*/ 3 w 10"/>
                    <a:gd name="T7" fmla="*/ 6 h 6"/>
                    <a:gd name="T8" fmla="*/ 7 w 10"/>
                    <a:gd name="T9" fmla="*/ 6 h 6"/>
                    <a:gd name="T10" fmla="*/ 10 w 10"/>
                    <a:gd name="T11" fmla="*/ 3 h 6"/>
                    <a:gd name="T12" fmla="*/ 7 w 10"/>
                    <a:gd name="T13" fmla="*/ 0 h 6"/>
                    <a:gd name="T14" fmla="*/ 7 w 10"/>
                    <a:gd name="T15" fmla="*/ 0 h 6"/>
                    <a:gd name="T16" fmla="*/ 7 w 10"/>
                    <a:gd name="T17"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6">
                      <a:moveTo>
                        <a:pt x="7" y="0"/>
                      </a:moveTo>
                      <a:cubicBezTo>
                        <a:pt x="3" y="0"/>
                        <a:pt x="3" y="0"/>
                        <a:pt x="3" y="0"/>
                      </a:cubicBezTo>
                      <a:cubicBezTo>
                        <a:pt x="1" y="0"/>
                        <a:pt x="0" y="1"/>
                        <a:pt x="0" y="3"/>
                      </a:cubicBezTo>
                      <a:cubicBezTo>
                        <a:pt x="0" y="5"/>
                        <a:pt x="1" y="6"/>
                        <a:pt x="3" y="6"/>
                      </a:cubicBezTo>
                      <a:cubicBezTo>
                        <a:pt x="7" y="6"/>
                        <a:pt x="7" y="6"/>
                        <a:pt x="7" y="6"/>
                      </a:cubicBezTo>
                      <a:cubicBezTo>
                        <a:pt x="9" y="6"/>
                        <a:pt x="10" y="5"/>
                        <a:pt x="10" y="3"/>
                      </a:cubicBezTo>
                      <a:cubicBezTo>
                        <a:pt x="10" y="1"/>
                        <a:pt x="9" y="0"/>
                        <a:pt x="7" y="0"/>
                      </a:cubicBezTo>
                      <a:close/>
                      <a:moveTo>
                        <a:pt x="7" y="0"/>
                      </a:moveTo>
                      <a:cubicBezTo>
                        <a:pt x="7" y="0"/>
                        <a:pt x="7" y="0"/>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0" name="Freeform 170">
                  <a:extLst>
                    <a:ext uri="{FF2B5EF4-FFF2-40B4-BE49-F238E27FC236}">
                      <a16:creationId xmlns:a16="http://schemas.microsoft.com/office/drawing/2014/main" id="{E728061B-D9F9-4326-B13F-4536F4DB2FF2}"/>
                    </a:ext>
                  </a:extLst>
                </p:cNvPr>
                <p:cNvSpPr>
                  <a:spLocks noEditPoints="1"/>
                </p:cNvSpPr>
                <p:nvPr/>
              </p:nvSpPr>
              <p:spPr bwMode="auto">
                <a:xfrm>
                  <a:off x="4495404" y="5538788"/>
                  <a:ext cx="36512" cy="19050"/>
                </a:xfrm>
                <a:custGeom>
                  <a:avLst/>
                  <a:gdLst>
                    <a:gd name="T0" fmla="*/ 8 w 11"/>
                    <a:gd name="T1" fmla="*/ 0 h 6"/>
                    <a:gd name="T2" fmla="*/ 3 w 11"/>
                    <a:gd name="T3" fmla="*/ 0 h 6"/>
                    <a:gd name="T4" fmla="*/ 0 w 11"/>
                    <a:gd name="T5" fmla="*/ 3 h 6"/>
                    <a:gd name="T6" fmla="*/ 3 w 11"/>
                    <a:gd name="T7" fmla="*/ 6 h 6"/>
                    <a:gd name="T8" fmla="*/ 8 w 11"/>
                    <a:gd name="T9" fmla="*/ 6 h 6"/>
                    <a:gd name="T10" fmla="*/ 11 w 11"/>
                    <a:gd name="T11" fmla="*/ 3 h 6"/>
                    <a:gd name="T12" fmla="*/ 8 w 11"/>
                    <a:gd name="T13" fmla="*/ 0 h 6"/>
                    <a:gd name="T14" fmla="*/ 8 w 11"/>
                    <a:gd name="T15" fmla="*/ 0 h 6"/>
                    <a:gd name="T16" fmla="*/ 8 w 11"/>
                    <a:gd name="T17"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6">
                      <a:moveTo>
                        <a:pt x="8" y="0"/>
                      </a:moveTo>
                      <a:cubicBezTo>
                        <a:pt x="3" y="0"/>
                        <a:pt x="3" y="0"/>
                        <a:pt x="3" y="0"/>
                      </a:cubicBezTo>
                      <a:cubicBezTo>
                        <a:pt x="2" y="0"/>
                        <a:pt x="0" y="1"/>
                        <a:pt x="0" y="3"/>
                      </a:cubicBezTo>
                      <a:cubicBezTo>
                        <a:pt x="0" y="5"/>
                        <a:pt x="2" y="6"/>
                        <a:pt x="3" y="6"/>
                      </a:cubicBezTo>
                      <a:cubicBezTo>
                        <a:pt x="8" y="6"/>
                        <a:pt x="8" y="6"/>
                        <a:pt x="8" y="6"/>
                      </a:cubicBezTo>
                      <a:cubicBezTo>
                        <a:pt x="10" y="6"/>
                        <a:pt x="11" y="5"/>
                        <a:pt x="11" y="3"/>
                      </a:cubicBezTo>
                      <a:cubicBezTo>
                        <a:pt x="11" y="1"/>
                        <a:pt x="10" y="0"/>
                        <a:pt x="8" y="0"/>
                      </a:cubicBezTo>
                      <a:close/>
                      <a:moveTo>
                        <a:pt x="8" y="0"/>
                      </a:moveTo>
                      <a:cubicBezTo>
                        <a:pt x="8" y="0"/>
                        <a:pt x="8"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1" name="Freeform 171">
                  <a:extLst>
                    <a:ext uri="{FF2B5EF4-FFF2-40B4-BE49-F238E27FC236}">
                      <a16:creationId xmlns:a16="http://schemas.microsoft.com/office/drawing/2014/main" id="{C6BEF872-107C-4A28-AFEE-436120281A7E}"/>
                    </a:ext>
                  </a:extLst>
                </p:cNvPr>
                <p:cNvSpPr>
                  <a:spLocks noEditPoints="1"/>
                </p:cNvSpPr>
                <p:nvPr/>
              </p:nvSpPr>
              <p:spPr bwMode="auto">
                <a:xfrm>
                  <a:off x="4476354" y="5470525"/>
                  <a:ext cx="34925" cy="31750"/>
                </a:xfrm>
                <a:custGeom>
                  <a:avLst/>
                  <a:gdLst>
                    <a:gd name="T0" fmla="*/ 4 w 11"/>
                    <a:gd name="T1" fmla="*/ 10 h 10"/>
                    <a:gd name="T2" fmla="*/ 6 w 11"/>
                    <a:gd name="T3" fmla="*/ 9 h 10"/>
                    <a:gd name="T4" fmla="*/ 9 w 11"/>
                    <a:gd name="T5" fmla="*/ 6 h 10"/>
                    <a:gd name="T6" fmla="*/ 9 w 11"/>
                    <a:gd name="T7" fmla="*/ 1 h 10"/>
                    <a:gd name="T8" fmla="*/ 5 w 11"/>
                    <a:gd name="T9" fmla="*/ 1 h 10"/>
                    <a:gd name="T10" fmla="*/ 2 w 11"/>
                    <a:gd name="T11" fmla="*/ 5 h 10"/>
                    <a:gd name="T12" fmla="*/ 2 w 11"/>
                    <a:gd name="T13" fmla="*/ 9 h 10"/>
                    <a:gd name="T14" fmla="*/ 4 w 11"/>
                    <a:gd name="T15" fmla="*/ 10 h 10"/>
                    <a:gd name="T16" fmla="*/ 4 w 11"/>
                    <a:gd name="T17" fmla="*/ 10 h 10"/>
                    <a:gd name="T18" fmla="*/ 4 w 11"/>
                    <a:gd name="T19"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 h="10">
                      <a:moveTo>
                        <a:pt x="4" y="10"/>
                      </a:moveTo>
                      <a:cubicBezTo>
                        <a:pt x="5" y="10"/>
                        <a:pt x="5" y="10"/>
                        <a:pt x="6" y="9"/>
                      </a:cubicBezTo>
                      <a:cubicBezTo>
                        <a:pt x="9" y="6"/>
                        <a:pt x="9" y="6"/>
                        <a:pt x="9" y="6"/>
                      </a:cubicBezTo>
                      <a:cubicBezTo>
                        <a:pt x="11" y="5"/>
                        <a:pt x="11" y="3"/>
                        <a:pt x="9" y="1"/>
                      </a:cubicBezTo>
                      <a:cubicBezTo>
                        <a:pt x="8" y="0"/>
                        <a:pt x="6" y="0"/>
                        <a:pt x="5" y="1"/>
                      </a:cubicBezTo>
                      <a:cubicBezTo>
                        <a:pt x="2" y="5"/>
                        <a:pt x="2" y="5"/>
                        <a:pt x="2" y="5"/>
                      </a:cubicBezTo>
                      <a:cubicBezTo>
                        <a:pt x="0" y="6"/>
                        <a:pt x="0" y="8"/>
                        <a:pt x="2" y="9"/>
                      </a:cubicBezTo>
                      <a:cubicBezTo>
                        <a:pt x="2" y="10"/>
                        <a:pt x="3" y="10"/>
                        <a:pt x="4" y="10"/>
                      </a:cubicBezTo>
                      <a:close/>
                      <a:moveTo>
                        <a:pt x="4" y="10"/>
                      </a:moveTo>
                      <a:cubicBezTo>
                        <a:pt x="4" y="10"/>
                        <a:pt x="4" y="10"/>
                        <a:pt x="4" y="1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2" name="Freeform 172">
                  <a:extLst>
                    <a:ext uri="{FF2B5EF4-FFF2-40B4-BE49-F238E27FC236}">
                      <a16:creationId xmlns:a16="http://schemas.microsoft.com/office/drawing/2014/main" id="{CC1B0FC9-877D-4F87-AD7E-EE765DB9D9AD}"/>
                    </a:ext>
                  </a:extLst>
                </p:cNvPr>
                <p:cNvSpPr>
                  <a:spLocks noEditPoints="1"/>
                </p:cNvSpPr>
                <p:nvPr/>
              </p:nvSpPr>
              <p:spPr bwMode="auto">
                <a:xfrm>
                  <a:off x="4352529" y="5470525"/>
                  <a:ext cx="33337" cy="31750"/>
                </a:xfrm>
                <a:custGeom>
                  <a:avLst/>
                  <a:gdLst>
                    <a:gd name="T0" fmla="*/ 4 w 10"/>
                    <a:gd name="T1" fmla="*/ 9 h 10"/>
                    <a:gd name="T2" fmla="*/ 7 w 10"/>
                    <a:gd name="T3" fmla="*/ 10 h 10"/>
                    <a:gd name="T4" fmla="*/ 9 w 10"/>
                    <a:gd name="T5" fmla="*/ 9 h 10"/>
                    <a:gd name="T6" fmla="*/ 9 w 10"/>
                    <a:gd name="T7" fmla="*/ 5 h 10"/>
                    <a:gd name="T8" fmla="*/ 6 w 10"/>
                    <a:gd name="T9" fmla="*/ 1 h 10"/>
                    <a:gd name="T10" fmla="*/ 1 w 10"/>
                    <a:gd name="T11" fmla="*/ 1 h 10"/>
                    <a:gd name="T12" fmla="*/ 1 w 10"/>
                    <a:gd name="T13" fmla="*/ 6 h 10"/>
                    <a:gd name="T14" fmla="*/ 4 w 10"/>
                    <a:gd name="T15" fmla="*/ 9 h 10"/>
                    <a:gd name="T16" fmla="*/ 4 w 10"/>
                    <a:gd name="T17" fmla="*/ 9 h 10"/>
                    <a:gd name="T18" fmla="*/ 4 w 10"/>
                    <a:gd name="T19" fmla="*/ 9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 h="10">
                      <a:moveTo>
                        <a:pt x="4" y="9"/>
                      </a:moveTo>
                      <a:cubicBezTo>
                        <a:pt x="5" y="10"/>
                        <a:pt x="6" y="10"/>
                        <a:pt x="7" y="10"/>
                      </a:cubicBezTo>
                      <a:cubicBezTo>
                        <a:pt x="8" y="10"/>
                        <a:pt x="8" y="10"/>
                        <a:pt x="9" y="9"/>
                      </a:cubicBezTo>
                      <a:cubicBezTo>
                        <a:pt x="10" y="8"/>
                        <a:pt x="10" y="6"/>
                        <a:pt x="9" y="5"/>
                      </a:cubicBezTo>
                      <a:cubicBezTo>
                        <a:pt x="6" y="1"/>
                        <a:pt x="6" y="1"/>
                        <a:pt x="6" y="1"/>
                      </a:cubicBezTo>
                      <a:cubicBezTo>
                        <a:pt x="4" y="0"/>
                        <a:pt x="2" y="0"/>
                        <a:pt x="1" y="1"/>
                      </a:cubicBezTo>
                      <a:cubicBezTo>
                        <a:pt x="0" y="3"/>
                        <a:pt x="0" y="5"/>
                        <a:pt x="1" y="6"/>
                      </a:cubicBezTo>
                      <a:lnTo>
                        <a:pt x="4" y="9"/>
                      </a:lnTo>
                      <a:close/>
                      <a:moveTo>
                        <a:pt x="4" y="9"/>
                      </a:moveTo>
                      <a:cubicBezTo>
                        <a:pt x="4" y="9"/>
                        <a:pt x="4" y="9"/>
                        <a:pt x="4" y="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3" name="Freeform 173">
                  <a:extLst>
                    <a:ext uri="{FF2B5EF4-FFF2-40B4-BE49-F238E27FC236}">
                      <a16:creationId xmlns:a16="http://schemas.microsoft.com/office/drawing/2014/main" id="{A2F1393D-D610-45A0-B1ED-3C300F80F137}"/>
                    </a:ext>
                  </a:extLst>
                </p:cNvPr>
                <p:cNvSpPr>
                  <a:spLocks noEditPoints="1"/>
                </p:cNvSpPr>
                <p:nvPr/>
              </p:nvSpPr>
              <p:spPr bwMode="auto">
                <a:xfrm>
                  <a:off x="4398567" y="5508625"/>
                  <a:ext cx="68262" cy="71438"/>
                </a:xfrm>
                <a:custGeom>
                  <a:avLst/>
                  <a:gdLst>
                    <a:gd name="T0" fmla="*/ 10 w 21"/>
                    <a:gd name="T1" fmla="*/ 22 h 22"/>
                    <a:gd name="T2" fmla="*/ 21 w 21"/>
                    <a:gd name="T3" fmla="*/ 11 h 22"/>
                    <a:gd name="T4" fmla="*/ 10 w 21"/>
                    <a:gd name="T5" fmla="*/ 0 h 22"/>
                    <a:gd name="T6" fmla="*/ 0 w 21"/>
                    <a:gd name="T7" fmla="*/ 11 h 22"/>
                    <a:gd name="T8" fmla="*/ 10 w 21"/>
                    <a:gd name="T9" fmla="*/ 22 h 22"/>
                    <a:gd name="T10" fmla="*/ 10 w 21"/>
                    <a:gd name="T11" fmla="*/ 22 h 22"/>
                    <a:gd name="T12" fmla="*/ 10 w 21"/>
                    <a:gd name="T13" fmla="*/ 22 h 22"/>
                  </a:gdLst>
                  <a:ahLst/>
                  <a:cxnLst>
                    <a:cxn ang="0">
                      <a:pos x="T0" y="T1"/>
                    </a:cxn>
                    <a:cxn ang="0">
                      <a:pos x="T2" y="T3"/>
                    </a:cxn>
                    <a:cxn ang="0">
                      <a:pos x="T4" y="T5"/>
                    </a:cxn>
                    <a:cxn ang="0">
                      <a:pos x="T6" y="T7"/>
                    </a:cxn>
                    <a:cxn ang="0">
                      <a:pos x="T8" y="T9"/>
                    </a:cxn>
                    <a:cxn ang="0">
                      <a:pos x="T10" y="T11"/>
                    </a:cxn>
                    <a:cxn ang="0">
                      <a:pos x="T12" y="T13"/>
                    </a:cxn>
                  </a:cxnLst>
                  <a:rect l="0" t="0" r="r" b="b"/>
                  <a:pathLst>
                    <a:path w="21" h="22">
                      <a:moveTo>
                        <a:pt x="10" y="22"/>
                      </a:moveTo>
                      <a:cubicBezTo>
                        <a:pt x="16" y="22"/>
                        <a:pt x="21" y="17"/>
                        <a:pt x="21" y="11"/>
                      </a:cubicBezTo>
                      <a:cubicBezTo>
                        <a:pt x="21" y="5"/>
                        <a:pt x="16" y="0"/>
                        <a:pt x="10" y="0"/>
                      </a:cubicBezTo>
                      <a:cubicBezTo>
                        <a:pt x="4" y="0"/>
                        <a:pt x="0" y="5"/>
                        <a:pt x="0" y="11"/>
                      </a:cubicBezTo>
                      <a:cubicBezTo>
                        <a:pt x="0" y="17"/>
                        <a:pt x="4" y="22"/>
                        <a:pt x="10" y="22"/>
                      </a:cubicBezTo>
                      <a:close/>
                      <a:moveTo>
                        <a:pt x="10" y="22"/>
                      </a:moveTo>
                      <a:cubicBezTo>
                        <a:pt x="10" y="22"/>
                        <a:pt x="10" y="22"/>
                        <a:pt x="10" y="2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4" name="Freeform 174">
                  <a:extLst>
                    <a:ext uri="{FF2B5EF4-FFF2-40B4-BE49-F238E27FC236}">
                      <a16:creationId xmlns:a16="http://schemas.microsoft.com/office/drawing/2014/main" id="{592E5FB9-8F0C-49D5-B1E0-D195DFA56B60}"/>
                    </a:ext>
                  </a:extLst>
                </p:cNvPr>
                <p:cNvSpPr>
                  <a:spLocks noEditPoints="1"/>
                </p:cNvSpPr>
                <p:nvPr/>
              </p:nvSpPr>
              <p:spPr bwMode="auto">
                <a:xfrm>
                  <a:off x="4371579" y="5592763"/>
                  <a:ext cx="120650" cy="219075"/>
                </a:xfrm>
                <a:custGeom>
                  <a:avLst/>
                  <a:gdLst>
                    <a:gd name="T0" fmla="*/ 30 w 37"/>
                    <a:gd name="T1" fmla="*/ 1 h 67"/>
                    <a:gd name="T2" fmla="*/ 30 w 37"/>
                    <a:gd name="T3" fmla="*/ 1 h 67"/>
                    <a:gd name="T4" fmla="*/ 27 w 37"/>
                    <a:gd name="T5" fmla="*/ 0 h 67"/>
                    <a:gd name="T6" fmla="*/ 26 w 37"/>
                    <a:gd name="T7" fmla="*/ 1 h 67"/>
                    <a:gd name="T8" fmla="*/ 19 w 37"/>
                    <a:gd name="T9" fmla="*/ 9 h 67"/>
                    <a:gd name="T10" fmla="*/ 17 w 37"/>
                    <a:gd name="T11" fmla="*/ 9 h 67"/>
                    <a:gd name="T12" fmla="*/ 11 w 37"/>
                    <a:gd name="T13" fmla="*/ 1 h 67"/>
                    <a:gd name="T14" fmla="*/ 10 w 37"/>
                    <a:gd name="T15" fmla="*/ 0 h 67"/>
                    <a:gd name="T16" fmla="*/ 6 w 37"/>
                    <a:gd name="T17" fmla="*/ 1 h 67"/>
                    <a:gd name="T18" fmla="*/ 0 w 37"/>
                    <a:gd name="T19" fmla="*/ 10 h 67"/>
                    <a:gd name="T20" fmla="*/ 0 w 37"/>
                    <a:gd name="T21" fmla="*/ 29 h 67"/>
                    <a:gd name="T22" fmla="*/ 0 w 37"/>
                    <a:gd name="T23" fmla="*/ 29 h 67"/>
                    <a:gd name="T24" fmla="*/ 7 w 37"/>
                    <a:gd name="T25" fmla="*/ 40 h 67"/>
                    <a:gd name="T26" fmla="*/ 7 w 37"/>
                    <a:gd name="T27" fmla="*/ 66 h 67"/>
                    <a:gd name="T28" fmla="*/ 8 w 37"/>
                    <a:gd name="T29" fmla="*/ 67 h 67"/>
                    <a:gd name="T30" fmla="*/ 29 w 37"/>
                    <a:gd name="T31" fmla="*/ 67 h 67"/>
                    <a:gd name="T32" fmla="*/ 30 w 37"/>
                    <a:gd name="T33" fmla="*/ 66 h 67"/>
                    <a:gd name="T34" fmla="*/ 30 w 37"/>
                    <a:gd name="T35" fmla="*/ 40 h 67"/>
                    <a:gd name="T36" fmla="*/ 36 w 37"/>
                    <a:gd name="T37" fmla="*/ 29 h 67"/>
                    <a:gd name="T38" fmla="*/ 37 w 37"/>
                    <a:gd name="T39" fmla="*/ 29 h 67"/>
                    <a:gd name="T40" fmla="*/ 37 w 37"/>
                    <a:gd name="T41" fmla="*/ 10 h 67"/>
                    <a:gd name="T42" fmla="*/ 30 w 37"/>
                    <a:gd name="T43" fmla="*/ 1 h 67"/>
                    <a:gd name="T44" fmla="*/ 30 w 37"/>
                    <a:gd name="T45" fmla="*/ 1 h 67"/>
                    <a:gd name="T46" fmla="*/ 30 w 37"/>
                    <a:gd name="T47" fmla="*/ 1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7" h="67">
                      <a:moveTo>
                        <a:pt x="30" y="1"/>
                      </a:moveTo>
                      <a:cubicBezTo>
                        <a:pt x="30" y="1"/>
                        <a:pt x="30" y="1"/>
                        <a:pt x="30" y="1"/>
                      </a:cubicBezTo>
                      <a:cubicBezTo>
                        <a:pt x="27" y="0"/>
                        <a:pt x="27" y="0"/>
                        <a:pt x="27" y="0"/>
                      </a:cubicBezTo>
                      <a:cubicBezTo>
                        <a:pt x="27" y="0"/>
                        <a:pt x="26" y="0"/>
                        <a:pt x="26" y="1"/>
                      </a:cubicBezTo>
                      <a:cubicBezTo>
                        <a:pt x="25" y="3"/>
                        <a:pt x="21" y="7"/>
                        <a:pt x="19" y="9"/>
                      </a:cubicBezTo>
                      <a:cubicBezTo>
                        <a:pt x="19" y="10"/>
                        <a:pt x="18" y="10"/>
                        <a:pt x="17" y="9"/>
                      </a:cubicBezTo>
                      <a:cubicBezTo>
                        <a:pt x="15" y="7"/>
                        <a:pt x="12" y="3"/>
                        <a:pt x="11" y="1"/>
                      </a:cubicBezTo>
                      <a:cubicBezTo>
                        <a:pt x="11" y="0"/>
                        <a:pt x="10" y="0"/>
                        <a:pt x="10" y="0"/>
                      </a:cubicBezTo>
                      <a:cubicBezTo>
                        <a:pt x="10" y="0"/>
                        <a:pt x="6" y="1"/>
                        <a:pt x="6" y="1"/>
                      </a:cubicBezTo>
                      <a:cubicBezTo>
                        <a:pt x="3" y="2"/>
                        <a:pt x="0" y="6"/>
                        <a:pt x="0" y="10"/>
                      </a:cubicBezTo>
                      <a:cubicBezTo>
                        <a:pt x="0" y="29"/>
                        <a:pt x="0" y="29"/>
                        <a:pt x="0" y="29"/>
                      </a:cubicBezTo>
                      <a:cubicBezTo>
                        <a:pt x="0" y="29"/>
                        <a:pt x="0" y="29"/>
                        <a:pt x="0" y="29"/>
                      </a:cubicBezTo>
                      <a:cubicBezTo>
                        <a:pt x="7" y="40"/>
                        <a:pt x="7" y="40"/>
                        <a:pt x="7" y="40"/>
                      </a:cubicBezTo>
                      <a:cubicBezTo>
                        <a:pt x="7" y="66"/>
                        <a:pt x="7" y="66"/>
                        <a:pt x="7" y="66"/>
                      </a:cubicBezTo>
                      <a:cubicBezTo>
                        <a:pt x="7" y="66"/>
                        <a:pt x="7" y="67"/>
                        <a:pt x="8" y="67"/>
                      </a:cubicBezTo>
                      <a:cubicBezTo>
                        <a:pt x="29" y="67"/>
                        <a:pt x="29" y="67"/>
                        <a:pt x="29" y="67"/>
                      </a:cubicBezTo>
                      <a:cubicBezTo>
                        <a:pt x="29" y="67"/>
                        <a:pt x="30" y="66"/>
                        <a:pt x="30" y="66"/>
                      </a:cubicBezTo>
                      <a:cubicBezTo>
                        <a:pt x="30" y="40"/>
                        <a:pt x="30" y="40"/>
                        <a:pt x="30" y="40"/>
                      </a:cubicBezTo>
                      <a:cubicBezTo>
                        <a:pt x="36" y="29"/>
                        <a:pt x="36" y="29"/>
                        <a:pt x="36" y="29"/>
                      </a:cubicBezTo>
                      <a:cubicBezTo>
                        <a:pt x="37" y="29"/>
                        <a:pt x="37" y="29"/>
                        <a:pt x="37" y="29"/>
                      </a:cubicBezTo>
                      <a:cubicBezTo>
                        <a:pt x="37" y="10"/>
                        <a:pt x="37" y="10"/>
                        <a:pt x="37" y="10"/>
                      </a:cubicBezTo>
                      <a:cubicBezTo>
                        <a:pt x="37" y="6"/>
                        <a:pt x="34" y="2"/>
                        <a:pt x="30" y="1"/>
                      </a:cubicBezTo>
                      <a:close/>
                      <a:moveTo>
                        <a:pt x="30" y="1"/>
                      </a:moveTo>
                      <a:cubicBezTo>
                        <a:pt x="30" y="1"/>
                        <a:pt x="30" y="1"/>
                        <a:pt x="30"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grpSp>
        <p:grpSp>
          <p:nvGrpSpPr>
            <p:cNvPr id="9" name="Group 77">
              <a:extLst>
                <a:ext uri="{FF2B5EF4-FFF2-40B4-BE49-F238E27FC236}">
                  <a16:creationId xmlns:a16="http://schemas.microsoft.com/office/drawing/2014/main" id="{AE7DC9EF-72BB-4EA3-B3E8-E0443FFA395E}"/>
                </a:ext>
              </a:extLst>
            </p:cNvPr>
            <p:cNvGrpSpPr/>
            <p:nvPr/>
          </p:nvGrpSpPr>
          <p:grpSpPr>
            <a:xfrm>
              <a:off x="3386137" y="2582863"/>
              <a:ext cx="1541463" cy="1538288"/>
              <a:chOff x="3386137" y="2582863"/>
              <a:chExt cx="1541463" cy="1538288"/>
            </a:xfrm>
          </p:grpSpPr>
          <p:grpSp>
            <p:nvGrpSpPr>
              <p:cNvPr id="17" name="Group 76">
                <a:extLst>
                  <a:ext uri="{FF2B5EF4-FFF2-40B4-BE49-F238E27FC236}">
                    <a16:creationId xmlns:a16="http://schemas.microsoft.com/office/drawing/2014/main" id="{2FAAC526-80E0-4892-9E63-E876F79CE9F8}"/>
                  </a:ext>
                </a:extLst>
              </p:cNvPr>
              <p:cNvGrpSpPr/>
              <p:nvPr/>
            </p:nvGrpSpPr>
            <p:grpSpPr>
              <a:xfrm>
                <a:off x="3386137" y="2582863"/>
                <a:ext cx="1541463" cy="1538288"/>
                <a:chOff x="3386137" y="2582863"/>
                <a:chExt cx="1541463" cy="1538288"/>
              </a:xfrm>
            </p:grpSpPr>
            <p:sp>
              <p:nvSpPr>
                <p:cNvPr id="24" name="Oval 12">
                  <a:extLst>
                    <a:ext uri="{FF2B5EF4-FFF2-40B4-BE49-F238E27FC236}">
                      <a16:creationId xmlns:a16="http://schemas.microsoft.com/office/drawing/2014/main" id="{31582F19-A0A1-4E34-AB54-F68B60E47191}"/>
                    </a:ext>
                  </a:extLst>
                </p:cNvPr>
                <p:cNvSpPr>
                  <a:spLocks noChangeArrowheads="1"/>
                </p:cNvSpPr>
                <p:nvPr/>
              </p:nvSpPr>
              <p:spPr bwMode="auto">
                <a:xfrm>
                  <a:off x="3386137" y="2582863"/>
                  <a:ext cx="1541463" cy="1538288"/>
                </a:xfrm>
                <a:prstGeom prst="ellipse">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25" name="Oval 13">
                  <a:extLst>
                    <a:ext uri="{FF2B5EF4-FFF2-40B4-BE49-F238E27FC236}">
                      <a16:creationId xmlns:a16="http://schemas.microsoft.com/office/drawing/2014/main" id="{0AE00D90-5ADD-4F2F-BB5F-A57D8ACAEBDC}"/>
                    </a:ext>
                  </a:extLst>
                </p:cNvPr>
                <p:cNvSpPr>
                  <a:spLocks noChangeArrowheads="1"/>
                </p:cNvSpPr>
                <p:nvPr/>
              </p:nvSpPr>
              <p:spPr bwMode="auto">
                <a:xfrm>
                  <a:off x="3563937" y="2760663"/>
                  <a:ext cx="1185863" cy="118268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grpSp>
          <p:grpSp>
            <p:nvGrpSpPr>
              <p:cNvPr id="18" name="Group 39">
                <a:extLst>
                  <a:ext uri="{FF2B5EF4-FFF2-40B4-BE49-F238E27FC236}">
                    <a16:creationId xmlns:a16="http://schemas.microsoft.com/office/drawing/2014/main" id="{B7BFB135-657C-454E-A5C5-AA9CC8C787E7}"/>
                  </a:ext>
                </a:extLst>
              </p:cNvPr>
              <p:cNvGrpSpPr/>
              <p:nvPr/>
            </p:nvGrpSpPr>
            <p:grpSpPr>
              <a:xfrm>
                <a:off x="3907631" y="2986139"/>
                <a:ext cx="498474" cy="731736"/>
                <a:chOff x="8531225" y="744538"/>
                <a:chExt cx="247650" cy="363538"/>
              </a:xfrm>
              <a:solidFill>
                <a:schemeClr val="accent2">
                  <a:lumMod val="60000"/>
                  <a:lumOff val="40000"/>
                </a:schemeClr>
              </a:solidFill>
            </p:grpSpPr>
            <p:sp>
              <p:nvSpPr>
                <p:cNvPr id="19" name="Freeform 149">
                  <a:extLst>
                    <a:ext uri="{FF2B5EF4-FFF2-40B4-BE49-F238E27FC236}">
                      <a16:creationId xmlns:a16="http://schemas.microsoft.com/office/drawing/2014/main" id="{5A4E06E2-5F0F-40CB-9AB0-82561AB10A65}"/>
                    </a:ext>
                  </a:extLst>
                </p:cNvPr>
                <p:cNvSpPr>
                  <a:spLocks noEditPoints="1"/>
                </p:cNvSpPr>
                <p:nvPr/>
              </p:nvSpPr>
              <p:spPr bwMode="auto">
                <a:xfrm>
                  <a:off x="8599488" y="1039813"/>
                  <a:ext cx="114300" cy="12700"/>
                </a:xfrm>
                <a:custGeom>
                  <a:avLst/>
                  <a:gdLst>
                    <a:gd name="T0" fmla="*/ 0 w 35"/>
                    <a:gd name="T1" fmla="*/ 4 h 4"/>
                    <a:gd name="T2" fmla="*/ 34 w 35"/>
                    <a:gd name="T3" fmla="*/ 4 h 4"/>
                    <a:gd name="T4" fmla="*/ 35 w 35"/>
                    <a:gd name="T5" fmla="*/ 0 h 4"/>
                    <a:gd name="T6" fmla="*/ 0 w 35"/>
                    <a:gd name="T7" fmla="*/ 0 h 4"/>
                    <a:gd name="T8" fmla="*/ 0 w 35"/>
                    <a:gd name="T9" fmla="*/ 4 h 4"/>
                    <a:gd name="T10" fmla="*/ 0 w 35"/>
                    <a:gd name="T11" fmla="*/ 4 h 4"/>
                    <a:gd name="T12" fmla="*/ 0 w 35"/>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35" h="4">
                      <a:moveTo>
                        <a:pt x="0" y="4"/>
                      </a:moveTo>
                      <a:cubicBezTo>
                        <a:pt x="34" y="4"/>
                        <a:pt x="34" y="4"/>
                        <a:pt x="34" y="4"/>
                      </a:cubicBezTo>
                      <a:cubicBezTo>
                        <a:pt x="34" y="3"/>
                        <a:pt x="34" y="2"/>
                        <a:pt x="35" y="0"/>
                      </a:cubicBezTo>
                      <a:cubicBezTo>
                        <a:pt x="0" y="0"/>
                        <a:pt x="0" y="0"/>
                        <a:pt x="0" y="0"/>
                      </a:cubicBezTo>
                      <a:cubicBezTo>
                        <a:pt x="0" y="2"/>
                        <a:pt x="0" y="3"/>
                        <a:pt x="0" y="4"/>
                      </a:cubicBezTo>
                      <a:close/>
                      <a:moveTo>
                        <a:pt x="0" y="4"/>
                      </a:moveTo>
                      <a:cubicBezTo>
                        <a:pt x="0" y="4"/>
                        <a:pt x="0" y="4"/>
                        <a:pt x="0" y="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0" name="Freeform 150">
                  <a:extLst>
                    <a:ext uri="{FF2B5EF4-FFF2-40B4-BE49-F238E27FC236}">
                      <a16:creationId xmlns:a16="http://schemas.microsoft.com/office/drawing/2014/main" id="{FB24F16E-69DD-43BC-9E2F-19B836669F63}"/>
                    </a:ext>
                  </a:extLst>
                </p:cNvPr>
                <p:cNvSpPr>
                  <a:spLocks noEditPoints="1"/>
                </p:cNvSpPr>
                <p:nvPr/>
              </p:nvSpPr>
              <p:spPr bwMode="auto">
                <a:xfrm>
                  <a:off x="8629650" y="887413"/>
                  <a:ext cx="55562" cy="139700"/>
                </a:xfrm>
                <a:custGeom>
                  <a:avLst/>
                  <a:gdLst>
                    <a:gd name="T0" fmla="*/ 12 w 17"/>
                    <a:gd name="T1" fmla="*/ 43 h 43"/>
                    <a:gd name="T2" fmla="*/ 12 w 17"/>
                    <a:gd name="T3" fmla="*/ 21 h 43"/>
                    <a:gd name="T4" fmla="*/ 13 w 17"/>
                    <a:gd name="T5" fmla="*/ 20 h 43"/>
                    <a:gd name="T6" fmla="*/ 17 w 17"/>
                    <a:gd name="T7" fmla="*/ 14 h 43"/>
                    <a:gd name="T8" fmla="*/ 17 w 17"/>
                    <a:gd name="T9" fmla="*/ 3 h 43"/>
                    <a:gd name="T10" fmla="*/ 15 w 17"/>
                    <a:gd name="T11" fmla="*/ 0 h 43"/>
                    <a:gd name="T12" fmla="*/ 14 w 17"/>
                    <a:gd name="T13" fmla="*/ 0 h 43"/>
                    <a:gd name="T14" fmla="*/ 10 w 17"/>
                    <a:gd name="T15" fmla="*/ 3 h 43"/>
                    <a:gd name="T16" fmla="*/ 7 w 17"/>
                    <a:gd name="T17" fmla="*/ 3 h 43"/>
                    <a:gd name="T18" fmla="*/ 2 w 17"/>
                    <a:gd name="T19" fmla="*/ 0 h 43"/>
                    <a:gd name="T20" fmla="*/ 2 w 17"/>
                    <a:gd name="T21" fmla="*/ 0 h 43"/>
                    <a:gd name="T22" fmla="*/ 0 w 17"/>
                    <a:gd name="T23" fmla="*/ 3 h 43"/>
                    <a:gd name="T24" fmla="*/ 0 w 17"/>
                    <a:gd name="T25" fmla="*/ 14 h 43"/>
                    <a:gd name="T26" fmla="*/ 4 w 17"/>
                    <a:gd name="T27" fmla="*/ 20 h 43"/>
                    <a:gd name="T28" fmla="*/ 4 w 17"/>
                    <a:gd name="T29" fmla="*/ 21 h 43"/>
                    <a:gd name="T30" fmla="*/ 4 w 17"/>
                    <a:gd name="T31" fmla="*/ 43 h 43"/>
                    <a:gd name="T32" fmla="*/ 12 w 17"/>
                    <a:gd name="T33" fmla="*/ 43 h 43"/>
                    <a:gd name="T34" fmla="*/ 12 w 17"/>
                    <a:gd name="T35" fmla="*/ 43 h 43"/>
                    <a:gd name="T36" fmla="*/ 12 w 17"/>
                    <a:gd name="T37"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7" h="43">
                      <a:moveTo>
                        <a:pt x="12" y="43"/>
                      </a:moveTo>
                      <a:cubicBezTo>
                        <a:pt x="12" y="21"/>
                        <a:pt x="12" y="21"/>
                        <a:pt x="12" y="21"/>
                      </a:cubicBezTo>
                      <a:cubicBezTo>
                        <a:pt x="12" y="21"/>
                        <a:pt x="12" y="20"/>
                        <a:pt x="13" y="20"/>
                      </a:cubicBezTo>
                      <a:cubicBezTo>
                        <a:pt x="17" y="14"/>
                        <a:pt x="17" y="14"/>
                        <a:pt x="17" y="14"/>
                      </a:cubicBezTo>
                      <a:cubicBezTo>
                        <a:pt x="17" y="3"/>
                        <a:pt x="17" y="3"/>
                        <a:pt x="17" y="3"/>
                      </a:cubicBezTo>
                      <a:cubicBezTo>
                        <a:pt x="17" y="2"/>
                        <a:pt x="16" y="0"/>
                        <a:pt x="15" y="0"/>
                      </a:cubicBezTo>
                      <a:cubicBezTo>
                        <a:pt x="14" y="0"/>
                        <a:pt x="14" y="0"/>
                        <a:pt x="14" y="0"/>
                      </a:cubicBezTo>
                      <a:cubicBezTo>
                        <a:pt x="10" y="3"/>
                        <a:pt x="10" y="3"/>
                        <a:pt x="10" y="3"/>
                      </a:cubicBezTo>
                      <a:cubicBezTo>
                        <a:pt x="9" y="4"/>
                        <a:pt x="8" y="4"/>
                        <a:pt x="7" y="3"/>
                      </a:cubicBezTo>
                      <a:cubicBezTo>
                        <a:pt x="2" y="0"/>
                        <a:pt x="2" y="0"/>
                        <a:pt x="2" y="0"/>
                      </a:cubicBezTo>
                      <a:cubicBezTo>
                        <a:pt x="2" y="0"/>
                        <a:pt x="2" y="0"/>
                        <a:pt x="2" y="0"/>
                      </a:cubicBezTo>
                      <a:cubicBezTo>
                        <a:pt x="1" y="0"/>
                        <a:pt x="0" y="2"/>
                        <a:pt x="0" y="3"/>
                      </a:cubicBezTo>
                      <a:cubicBezTo>
                        <a:pt x="0" y="14"/>
                        <a:pt x="0" y="14"/>
                        <a:pt x="0" y="14"/>
                      </a:cubicBezTo>
                      <a:cubicBezTo>
                        <a:pt x="4" y="20"/>
                        <a:pt x="4" y="20"/>
                        <a:pt x="4" y="20"/>
                      </a:cubicBezTo>
                      <a:cubicBezTo>
                        <a:pt x="4" y="20"/>
                        <a:pt x="4" y="21"/>
                        <a:pt x="4" y="21"/>
                      </a:cubicBezTo>
                      <a:cubicBezTo>
                        <a:pt x="4" y="43"/>
                        <a:pt x="4" y="43"/>
                        <a:pt x="4" y="43"/>
                      </a:cubicBezTo>
                      <a:lnTo>
                        <a:pt x="12" y="43"/>
                      </a:lnTo>
                      <a:close/>
                      <a:moveTo>
                        <a:pt x="12" y="43"/>
                      </a:moveTo>
                      <a:cubicBezTo>
                        <a:pt x="12" y="43"/>
                        <a:pt x="12" y="43"/>
                        <a:pt x="12" y="4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1" name="Freeform 151">
                  <a:extLst>
                    <a:ext uri="{FF2B5EF4-FFF2-40B4-BE49-F238E27FC236}">
                      <a16:creationId xmlns:a16="http://schemas.microsoft.com/office/drawing/2014/main" id="{7C4CB3B1-2A4D-4C82-8AFB-1D4CC4A49BE3}"/>
                    </a:ext>
                  </a:extLst>
                </p:cNvPr>
                <p:cNvSpPr>
                  <a:spLocks noEditPoints="1"/>
                </p:cNvSpPr>
                <p:nvPr/>
              </p:nvSpPr>
              <p:spPr bwMode="auto">
                <a:xfrm>
                  <a:off x="8599488" y="1065213"/>
                  <a:ext cx="111125" cy="42863"/>
                </a:xfrm>
                <a:custGeom>
                  <a:avLst/>
                  <a:gdLst>
                    <a:gd name="T0" fmla="*/ 0 w 34"/>
                    <a:gd name="T1" fmla="*/ 0 h 13"/>
                    <a:gd name="T2" fmla="*/ 17 w 34"/>
                    <a:gd name="T3" fmla="*/ 13 h 13"/>
                    <a:gd name="T4" fmla="*/ 34 w 34"/>
                    <a:gd name="T5" fmla="*/ 0 h 13"/>
                    <a:gd name="T6" fmla="*/ 0 w 34"/>
                    <a:gd name="T7" fmla="*/ 0 h 13"/>
                    <a:gd name="T8" fmla="*/ 0 w 34"/>
                    <a:gd name="T9" fmla="*/ 0 h 13"/>
                    <a:gd name="T10" fmla="*/ 0 w 34"/>
                    <a:gd name="T11" fmla="*/ 0 h 13"/>
                  </a:gdLst>
                  <a:ahLst/>
                  <a:cxnLst>
                    <a:cxn ang="0">
                      <a:pos x="T0" y="T1"/>
                    </a:cxn>
                    <a:cxn ang="0">
                      <a:pos x="T2" y="T3"/>
                    </a:cxn>
                    <a:cxn ang="0">
                      <a:pos x="T4" y="T5"/>
                    </a:cxn>
                    <a:cxn ang="0">
                      <a:pos x="T6" y="T7"/>
                    </a:cxn>
                    <a:cxn ang="0">
                      <a:pos x="T8" y="T9"/>
                    </a:cxn>
                    <a:cxn ang="0">
                      <a:pos x="T10" y="T11"/>
                    </a:cxn>
                  </a:cxnLst>
                  <a:rect l="0" t="0" r="r" b="b"/>
                  <a:pathLst>
                    <a:path w="34" h="13">
                      <a:moveTo>
                        <a:pt x="0" y="0"/>
                      </a:moveTo>
                      <a:cubicBezTo>
                        <a:pt x="2" y="13"/>
                        <a:pt x="11" y="13"/>
                        <a:pt x="17" y="13"/>
                      </a:cubicBezTo>
                      <a:cubicBezTo>
                        <a:pt x="23" y="13"/>
                        <a:pt x="33" y="13"/>
                        <a:pt x="34" y="0"/>
                      </a:cubicBezTo>
                      <a:lnTo>
                        <a:pt x="0" y="0"/>
                      </a:lnTo>
                      <a:close/>
                      <a:moveTo>
                        <a:pt x="0" y="0"/>
                      </a:move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2" name="Freeform 152">
                  <a:extLst>
                    <a:ext uri="{FF2B5EF4-FFF2-40B4-BE49-F238E27FC236}">
                      <a16:creationId xmlns:a16="http://schemas.microsoft.com/office/drawing/2014/main" id="{EB72B512-E96D-4089-8F0F-561F3B8CA95B}"/>
                    </a:ext>
                  </a:extLst>
                </p:cNvPr>
                <p:cNvSpPr>
                  <a:spLocks noEditPoints="1"/>
                </p:cNvSpPr>
                <p:nvPr/>
              </p:nvSpPr>
              <p:spPr bwMode="auto">
                <a:xfrm>
                  <a:off x="8645525" y="828675"/>
                  <a:ext cx="19050" cy="19050"/>
                </a:xfrm>
                <a:custGeom>
                  <a:avLst/>
                  <a:gdLst>
                    <a:gd name="T0" fmla="*/ 3 w 6"/>
                    <a:gd name="T1" fmla="*/ 0 h 6"/>
                    <a:gd name="T2" fmla="*/ 0 w 6"/>
                    <a:gd name="T3" fmla="*/ 3 h 6"/>
                    <a:gd name="T4" fmla="*/ 3 w 6"/>
                    <a:gd name="T5" fmla="*/ 6 h 6"/>
                    <a:gd name="T6" fmla="*/ 6 w 6"/>
                    <a:gd name="T7" fmla="*/ 3 h 6"/>
                    <a:gd name="T8" fmla="*/ 3 w 6"/>
                    <a:gd name="T9" fmla="*/ 0 h 6"/>
                    <a:gd name="T10" fmla="*/ 3 w 6"/>
                    <a:gd name="T11" fmla="*/ 0 h 6"/>
                    <a:gd name="T12" fmla="*/ 3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3" y="0"/>
                      </a:moveTo>
                      <a:cubicBezTo>
                        <a:pt x="2" y="0"/>
                        <a:pt x="0" y="1"/>
                        <a:pt x="0" y="3"/>
                      </a:cubicBezTo>
                      <a:cubicBezTo>
                        <a:pt x="0" y="4"/>
                        <a:pt x="2" y="6"/>
                        <a:pt x="3" y="6"/>
                      </a:cubicBezTo>
                      <a:cubicBezTo>
                        <a:pt x="5" y="6"/>
                        <a:pt x="6" y="4"/>
                        <a:pt x="6" y="3"/>
                      </a:cubicBezTo>
                      <a:cubicBezTo>
                        <a:pt x="6" y="1"/>
                        <a:pt x="5" y="0"/>
                        <a:pt x="3" y="0"/>
                      </a:cubicBezTo>
                      <a:close/>
                      <a:moveTo>
                        <a:pt x="3" y="0"/>
                      </a:moveTo>
                      <a:cubicBezTo>
                        <a:pt x="3" y="0"/>
                        <a:pt x="3"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3" name="Freeform 153">
                  <a:extLst>
                    <a:ext uri="{FF2B5EF4-FFF2-40B4-BE49-F238E27FC236}">
                      <a16:creationId xmlns:a16="http://schemas.microsoft.com/office/drawing/2014/main" id="{9283857B-B4ED-4015-9CB2-EE8FBD213795}"/>
                    </a:ext>
                  </a:extLst>
                </p:cNvPr>
                <p:cNvSpPr>
                  <a:spLocks noEditPoints="1"/>
                </p:cNvSpPr>
                <p:nvPr/>
              </p:nvSpPr>
              <p:spPr bwMode="auto">
                <a:xfrm>
                  <a:off x="8531225" y="744538"/>
                  <a:ext cx="247650" cy="282575"/>
                </a:xfrm>
                <a:custGeom>
                  <a:avLst/>
                  <a:gdLst>
                    <a:gd name="T0" fmla="*/ 38 w 76"/>
                    <a:gd name="T1" fmla="*/ 0 h 87"/>
                    <a:gd name="T2" fmla="*/ 0 w 76"/>
                    <a:gd name="T3" fmla="*/ 38 h 87"/>
                    <a:gd name="T4" fmla="*/ 12 w 76"/>
                    <a:gd name="T5" fmla="*/ 64 h 87"/>
                    <a:gd name="T6" fmla="*/ 17 w 76"/>
                    <a:gd name="T7" fmla="*/ 70 h 87"/>
                    <a:gd name="T8" fmla="*/ 21 w 76"/>
                    <a:gd name="T9" fmla="*/ 87 h 87"/>
                    <a:gd name="T10" fmla="*/ 29 w 76"/>
                    <a:gd name="T11" fmla="*/ 87 h 87"/>
                    <a:gd name="T12" fmla="*/ 29 w 76"/>
                    <a:gd name="T13" fmla="*/ 66 h 87"/>
                    <a:gd name="T14" fmla="*/ 25 w 76"/>
                    <a:gd name="T15" fmla="*/ 60 h 87"/>
                    <a:gd name="T16" fmla="*/ 25 w 76"/>
                    <a:gd name="T17" fmla="*/ 59 h 87"/>
                    <a:gd name="T18" fmla="*/ 25 w 76"/>
                    <a:gd name="T19" fmla="*/ 47 h 87"/>
                    <a:gd name="T20" fmla="*/ 30 w 76"/>
                    <a:gd name="T21" fmla="*/ 39 h 87"/>
                    <a:gd name="T22" fmla="*/ 32 w 76"/>
                    <a:gd name="T23" fmla="*/ 38 h 87"/>
                    <a:gd name="T24" fmla="*/ 34 w 76"/>
                    <a:gd name="T25" fmla="*/ 39 h 87"/>
                    <a:gd name="T26" fmla="*/ 38 w 76"/>
                    <a:gd name="T27" fmla="*/ 42 h 87"/>
                    <a:gd name="T28" fmla="*/ 42 w 76"/>
                    <a:gd name="T29" fmla="*/ 39 h 87"/>
                    <a:gd name="T30" fmla="*/ 44 w 76"/>
                    <a:gd name="T31" fmla="*/ 38 h 87"/>
                    <a:gd name="T32" fmla="*/ 46 w 76"/>
                    <a:gd name="T33" fmla="*/ 39 h 87"/>
                    <a:gd name="T34" fmla="*/ 52 w 76"/>
                    <a:gd name="T35" fmla="*/ 47 h 87"/>
                    <a:gd name="T36" fmla="*/ 52 w 76"/>
                    <a:gd name="T37" fmla="*/ 59 h 87"/>
                    <a:gd name="T38" fmla="*/ 51 w 76"/>
                    <a:gd name="T39" fmla="*/ 60 h 87"/>
                    <a:gd name="T40" fmla="*/ 48 w 76"/>
                    <a:gd name="T41" fmla="*/ 66 h 87"/>
                    <a:gd name="T42" fmla="*/ 48 w 76"/>
                    <a:gd name="T43" fmla="*/ 87 h 87"/>
                    <a:gd name="T44" fmla="*/ 56 w 76"/>
                    <a:gd name="T45" fmla="*/ 87 h 87"/>
                    <a:gd name="T46" fmla="*/ 59 w 76"/>
                    <a:gd name="T47" fmla="*/ 70 h 87"/>
                    <a:gd name="T48" fmla="*/ 65 w 76"/>
                    <a:gd name="T49" fmla="*/ 64 h 87"/>
                    <a:gd name="T50" fmla="*/ 76 w 76"/>
                    <a:gd name="T51" fmla="*/ 38 h 87"/>
                    <a:gd name="T52" fmla="*/ 38 w 76"/>
                    <a:gd name="T53" fmla="*/ 0 h 87"/>
                    <a:gd name="T54" fmla="*/ 38 w 76"/>
                    <a:gd name="T55" fmla="*/ 37 h 87"/>
                    <a:gd name="T56" fmla="*/ 30 w 76"/>
                    <a:gd name="T57" fmla="*/ 29 h 87"/>
                    <a:gd name="T58" fmla="*/ 38 w 76"/>
                    <a:gd name="T59" fmla="*/ 21 h 87"/>
                    <a:gd name="T60" fmla="*/ 46 w 76"/>
                    <a:gd name="T61" fmla="*/ 29 h 87"/>
                    <a:gd name="T62" fmla="*/ 38 w 76"/>
                    <a:gd name="T63" fmla="*/ 37 h 87"/>
                    <a:gd name="T64" fmla="*/ 38 w 76"/>
                    <a:gd name="T65" fmla="*/ 37 h 87"/>
                    <a:gd name="T66" fmla="*/ 38 w 76"/>
                    <a:gd name="T67" fmla="*/ 3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6" h="87">
                      <a:moveTo>
                        <a:pt x="38" y="0"/>
                      </a:moveTo>
                      <a:cubicBezTo>
                        <a:pt x="17" y="0"/>
                        <a:pt x="0" y="17"/>
                        <a:pt x="0" y="38"/>
                      </a:cubicBezTo>
                      <a:cubicBezTo>
                        <a:pt x="0" y="49"/>
                        <a:pt x="6" y="57"/>
                        <a:pt x="12" y="64"/>
                      </a:cubicBezTo>
                      <a:cubicBezTo>
                        <a:pt x="14" y="66"/>
                        <a:pt x="15" y="68"/>
                        <a:pt x="17" y="70"/>
                      </a:cubicBezTo>
                      <a:cubicBezTo>
                        <a:pt x="19" y="73"/>
                        <a:pt x="20" y="80"/>
                        <a:pt x="21" y="87"/>
                      </a:cubicBezTo>
                      <a:cubicBezTo>
                        <a:pt x="29" y="87"/>
                        <a:pt x="29" y="87"/>
                        <a:pt x="29" y="87"/>
                      </a:cubicBezTo>
                      <a:cubicBezTo>
                        <a:pt x="29" y="66"/>
                        <a:pt x="29" y="66"/>
                        <a:pt x="29" y="66"/>
                      </a:cubicBezTo>
                      <a:cubicBezTo>
                        <a:pt x="25" y="60"/>
                        <a:pt x="25" y="60"/>
                        <a:pt x="25" y="60"/>
                      </a:cubicBezTo>
                      <a:cubicBezTo>
                        <a:pt x="25" y="60"/>
                        <a:pt x="25" y="59"/>
                        <a:pt x="25" y="59"/>
                      </a:cubicBezTo>
                      <a:cubicBezTo>
                        <a:pt x="25" y="47"/>
                        <a:pt x="25" y="47"/>
                        <a:pt x="25" y="47"/>
                      </a:cubicBezTo>
                      <a:cubicBezTo>
                        <a:pt x="25" y="43"/>
                        <a:pt x="27" y="40"/>
                        <a:pt x="30" y="39"/>
                      </a:cubicBezTo>
                      <a:cubicBezTo>
                        <a:pt x="30" y="39"/>
                        <a:pt x="32" y="38"/>
                        <a:pt x="32" y="38"/>
                      </a:cubicBezTo>
                      <a:cubicBezTo>
                        <a:pt x="33" y="38"/>
                        <a:pt x="34" y="38"/>
                        <a:pt x="34" y="39"/>
                      </a:cubicBezTo>
                      <a:cubicBezTo>
                        <a:pt x="38" y="42"/>
                        <a:pt x="38" y="42"/>
                        <a:pt x="38" y="42"/>
                      </a:cubicBezTo>
                      <a:cubicBezTo>
                        <a:pt x="42" y="39"/>
                        <a:pt x="42" y="39"/>
                        <a:pt x="42" y="39"/>
                      </a:cubicBezTo>
                      <a:cubicBezTo>
                        <a:pt x="43" y="38"/>
                        <a:pt x="44" y="38"/>
                        <a:pt x="44" y="38"/>
                      </a:cubicBezTo>
                      <a:cubicBezTo>
                        <a:pt x="44" y="38"/>
                        <a:pt x="46" y="39"/>
                        <a:pt x="46" y="39"/>
                      </a:cubicBezTo>
                      <a:cubicBezTo>
                        <a:pt x="50" y="40"/>
                        <a:pt x="52" y="43"/>
                        <a:pt x="52" y="47"/>
                      </a:cubicBezTo>
                      <a:cubicBezTo>
                        <a:pt x="52" y="59"/>
                        <a:pt x="52" y="59"/>
                        <a:pt x="52" y="59"/>
                      </a:cubicBezTo>
                      <a:cubicBezTo>
                        <a:pt x="52" y="59"/>
                        <a:pt x="52" y="60"/>
                        <a:pt x="51" y="60"/>
                      </a:cubicBezTo>
                      <a:cubicBezTo>
                        <a:pt x="48" y="66"/>
                        <a:pt x="48" y="66"/>
                        <a:pt x="48" y="66"/>
                      </a:cubicBezTo>
                      <a:cubicBezTo>
                        <a:pt x="48" y="87"/>
                        <a:pt x="48" y="87"/>
                        <a:pt x="48" y="87"/>
                      </a:cubicBezTo>
                      <a:cubicBezTo>
                        <a:pt x="56" y="87"/>
                        <a:pt x="56" y="87"/>
                        <a:pt x="56" y="87"/>
                      </a:cubicBezTo>
                      <a:cubicBezTo>
                        <a:pt x="56" y="80"/>
                        <a:pt x="58" y="73"/>
                        <a:pt x="59" y="70"/>
                      </a:cubicBezTo>
                      <a:cubicBezTo>
                        <a:pt x="61" y="68"/>
                        <a:pt x="63" y="66"/>
                        <a:pt x="65" y="64"/>
                      </a:cubicBezTo>
                      <a:cubicBezTo>
                        <a:pt x="70" y="57"/>
                        <a:pt x="76" y="49"/>
                        <a:pt x="76" y="38"/>
                      </a:cubicBezTo>
                      <a:cubicBezTo>
                        <a:pt x="76" y="17"/>
                        <a:pt x="59" y="0"/>
                        <a:pt x="38" y="0"/>
                      </a:cubicBezTo>
                      <a:close/>
                      <a:moveTo>
                        <a:pt x="38" y="37"/>
                      </a:moveTo>
                      <a:cubicBezTo>
                        <a:pt x="34" y="37"/>
                        <a:pt x="30" y="33"/>
                        <a:pt x="30" y="29"/>
                      </a:cubicBezTo>
                      <a:cubicBezTo>
                        <a:pt x="30" y="24"/>
                        <a:pt x="34" y="21"/>
                        <a:pt x="38" y="21"/>
                      </a:cubicBezTo>
                      <a:cubicBezTo>
                        <a:pt x="43" y="21"/>
                        <a:pt x="46" y="24"/>
                        <a:pt x="46" y="29"/>
                      </a:cubicBezTo>
                      <a:cubicBezTo>
                        <a:pt x="46" y="33"/>
                        <a:pt x="43" y="37"/>
                        <a:pt x="38" y="37"/>
                      </a:cubicBezTo>
                      <a:close/>
                      <a:moveTo>
                        <a:pt x="38" y="37"/>
                      </a:moveTo>
                      <a:cubicBezTo>
                        <a:pt x="38" y="37"/>
                        <a:pt x="38" y="37"/>
                        <a:pt x="38" y="3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grpSp>
        <p:grpSp>
          <p:nvGrpSpPr>
            <p:cNvPr id="10" name="Group 45">
              <a:extLst>
                <a:ext uri="{FF2B5EF4-FFF2-40B4-BE49-F238E27FC236}">
                  <a16:creationId xmlns:a16="http://schemas.microsoft.com/office/drawing/2014/main" id="{3520D188-354E-4692-B0A6-D94417DE368B}"/>
                </a:ext>
              </a:extLst>
            </p:cNvPr>
            <p:cNvGrpSpPr/>
            <p:nvPr/>
          </p:nvGrpSpPr>
          <p:grpSpPr>
            <a:xfrm>
              <a:off x="2801938" y="1930628"/>
              <a:ext cx="620710" cy="677408"/>
              <a:chOff x="10621963" y="114300"/>
              <a:chExt cx="330199" cy="360363"/>
            </a:xfrm>
            <a:solidFill>
              <a:schemeClr val="accent3">
                <a:lumMod val="60000"/>
                <a:lumOff val="40000"/>
              </a:schemeClr>
            </a:solidFill>
          </p:grpSpPr>
          <p:sp>
            <p:nvSpPr>
              <p:cNvPr id="11" name="Freeform 295">
                <a:extLst>
                  <a:ext uri="{FF2B5EF4-FFF2-40B4-BE49-F238E27FC236}">
                    <a16:creationId xmlns:a16="http://schemas.microsoft.com/office/drawing/2014/main" id="{9AB55392-8C28-4A2D-8121-F34671D61919}"/>
                  </a:ext>
                </a:extLst>
              </p:cNvPr>
              <p:cNvSpPr>
                <a:spLocks noEditPoints="1"/>
              </p:cNvSpPr>
              <p:nvPr/>
            </p:nvSpPr>
            <p:spPr bwMode="auto">
              <a:xfrm>
                <a:off x="10650538" y="114300"/>
                <a:ext cx="84137" cy="84138"/>
              </a:xfrm>
              <a:custGeom>
                <a:avLst/>
                <a:gdLst>
                  <a:gd name="T0" fmla="*/ 13 w 26"/>
                  <a:gd name="T1" fmla="*/ 26 h 26"/>
                  <a:gd name="T2" fmla="*/ 26 w 26"/>
                  <a:gd name="T3" fmla="*/ 13 h 26"/>
                  <a:gd name="T4" fmla="*/ 13 w 26"/>
                  <a:gd name="T5" fmla="*/ 0 h 26"/>
                  <a:gd name="T6" fmla="*/ 0 w 26"/>
                  <a:gd name="T7" fmla="*/ 13 h 26"/>
                  <a:gd name="T8" fmla="*/ 13 w 26"/>
                  <a:gd name="T9" fmla="*/ 26 h 26"/>
                  <a:gd name="T10" fmla="*/ 13 w 26"/>
                  <a:gd name="T11" fmla="*/ 26 h 26"/>
                  <a:gd name="T12" fmla="*/ 13 w 26"/>
                  <a:gd name="T13" fmla="*/ 26 h 26"/>
                </a:gdLst>
                <a:ahLst/>
                <a:cxnLst>
                  <a:cxn ang="0">
                    <a:pos x="T0" y="T1"/>
                  </a:cxn>
                  <a:cxn ang="0">
                    <a:pos x="T2" y="T3"/>
                  </a:cxn>
                  <a:cxn ang="0">
                    <a:pos x="T4" y="T5"/>
                  </a:cxn>
                  <a:cxn ang="0">
                    <a:pos x="T6" y="T7"/>
                  </a:cxn>
                  <a:cxn ang="0">
                    <a:pos x="T8" y="T9"/>
                  </a:cxn>
                  <a:cxn ang="0">
                    <a:pos x="T10" y="T11"/>
                  </a:cxn>
                  <a:cxn ang="0">
                    <a:pos x="T12" y="T13"/>
                  </a:cxn>
                </a:cxnLst>
                <a:rect l="0" t="0" r="r" b="b"/>
                <a:pathLst>
                  <a:path w="26" h="26">
                    <a:moveTo>
                      <a:pt x="13" y="26"/>
                    </a:moveTo>
                    <a:cubicBezTo>
                      <a:pt x="20" y="26"/>
                      <a:pt x="26" y="20"/>
                      <a:pt x="26" y="13"/>
                    </a:cubicBezTo>
                    <a:cubicBezTo>
                      <a:pt x="26" y="6"/>
                      <a:pt x="20" y="0"/>
                      <a:pt x="13" y="0"/>
                    </a:cubicBezTo>
                    <a:cubicBezTo>
                      <a:pt x="6" y="0"/>
                      <a:pt x="0" y="6"/>
                      <a:pt x="0" y="13"/>
                    </a:cubicBezTo>
                    <a:cubicBezTo>
                      <a:pt x="0" y="20"/>
                      <a:pt x="6" y="26"/>
                      <a:pt x="13" y="26"/>
                    </a:cubicBezTo>
                    <a:close/>
                    <a:moveTo>
                      <a:pt x="13" y="26"/>
                    </a:moveTo>
                    <a:cubicBezTo>
                      <a:pt x="13" y="26"/>
                      <a:pt x="13" y="26"/>
                      <a:pt x="13" y="2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2" name="Freeform 296">
                <a:extLst>
                  <a:ext uri="{FF2B5EF4-FFF2-40B4-BE49-F238E27FC236}">
                    <a16:creationId xmlns:a16="http://schemas.microsoft.com/office/drawing/2014/main" id="{AA7DBEE3-DE84-4FF9-839F-A90F760091F0}"/>
                  </a:ext>
                </a:extLst>
              </p:cNvPr>
              <p:cNvSpPr>
                <a:spLocks noEditPoints="1"/>
              </p:cNvSpPr>
              <p:nvPr/>
            </p:nvSpPr>
            <p:spPr bwMode="auto">
              <a:xfrm>
                <a:off x="10621963" y="214313"/>
                <a:ext cx="142875" cy="260350"/>
              </a:xfrm>
              <a:custGeom>
                <a:avLst/>
                <a:gdLst>
                  <a:gd name="T0" fmla="*/ 36 w 44"/>
                  <a:gd name="T1" fmla="*/ 1 h 80"/>
                  <a:gd name="T2" fmla="*/ 36 w 44"/>
                  <a:gd name="T3" fmla="*/ 1 h 80"/>
                  <a:gd name="T4" fmla="*/ 33 w 44"/>
                  <a:gd name="T5" fmla="*/ 0 h 80"/>
                  <a:gd name="T6" fmla="*/ 31 w 44"/>
                  <a:gd name="T7" fmla="*/ 1 h 80"/>
                  <a:gd name="T8" fmla="*/ 23 w 44"/>
                  <a:gd name="T9" fmla="*/ 22 h 80"/>
                  <a:gd name="T10" fmla="*/ 21 w 44"/>
                  <a:gd name="T11" fmla="*/ 22 h 80"/>
                  <a:gd name="T12" fmla="*/ 13 w 44"/>
                  <a:gd name="T13" fmla="*/ 1 h 80"/>
                  <a:gd name="T14" fmla="*/ 12 w 44"/>
                  <a:gd name="T15" fmla="*/ 0 h 80"/>
                  <a:gd name="T16" fmla="*/ 8 w 44"/>
                  <a:gd name="T17" fmla="*/ 1 h 80"/>
                  <a:gd name="T18" fmla="*/ 0 w 44"/>
                  <a:gd name="T19" fmla="*/ 12 h 80"/>
                  <a:gd name="T20" fmla="*/ 0 w 44"/>
                  <a:gd name="T21" fmla="*/ 35 h 80"/>
                  <a:gd name="T22" fmla="*/ 0 w 44"/>
                  <a:gd name="T23" fmla="*/ 35 h 80"/>
                  <a:gd name="T24" fmla="*/ 8 w 44"/>
                  <a:gd name="T25" fmla="*/ 48 h 80"/>
                  <a:gd name="T26" fmla="*/ 8 w 44"/>
                  <a:gd name="T27" fmla="*/ 79 h 80"/>
                  <a:gd name="T28" fmla="*/ 9 w 44"/>
                  <a:gd name="T29" fmla="*/ 80 h 80"/>
                  <a:gd name="T30" fmla="*/ 35 w 44"/>
                  <a:gd name="T31" fmla="*/ 80 h 80"/>
                  <a:gd name="T32" fmla="*/ 36 w 44"/>
                  <a:gd name="T33" fmla="*/ 79 h 80"/>
                  <a:gd name="T34" fmla="*/ 36 w 44"/>
                  <a:gd name="T35" fmla="*/ 48 h 80"/>
                  <a:gd name="T36" fmla="*/ 44 w 44"/>
                  <a:gd name="T37" fmla="*/ 35 h 80"/>
                  <a:gd name="T38" fmla="*/ 44 w 44"/>
                  <a:gd name="T39" fmla="*/ 35 h 80"/>
                  <a:gd name="T40" fmla="*/ 44 w 44"/>
                  <a:gd name="T41" fmla="*/ 12 h 80"/>
                  <a:gd name="T42" fmla="*/ 36 w 44"/>
                  <a:gd name="T43" fmla="*/ 1 h 80"/>
                  <a:gd name="T44" fmla="*/ 36 w 44"/>
                  <a:gd name="T45" fmla="*/ 1 h 80"/>
                  <a:gd name="T46" fmla="*/ 36 w 44"/>
                  <a:gd name="T47" fmla="*/ 1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4" h="80">
                    <a:moveTo>
                      <a:pt x="36" y="1"/>
                    </a:moveTo>
                    <a:cubicBezTo>
                      <a:pt x="36" y="1"/>
                      <a:pt x="36" y="1"/>
                      <a:pt x="36" y="1"/>
                    </a:cubicBezTo>
                    <a:cubicBezTo>
                      <a:pt x="33" y="0"/>
                      <a:pt x="33" y="0"/>
                      <a:pt x="33" y="0"/>
                    </a:cubicBezTo>
                    <a:cubicBezTo>
                      <a:pt x="32" y="0"/>
                      <a:pt x="31" y="0"/>
                      <a:pt x="31" y="1"/>
                    </a:cubicBezTo>
                    <a:cubicBezTo>
                      <a:pt x="23" y="22"/>
                      <a:pt x="23" y="22"/>
                      <a:pt x="23" y="22"/>
                    </a:cubicBezTo>
                    <a:cubicBezTo>
                      <a:pt x="23" y="23"/>
                      <a:pt x="21" y="23"/>
                      <a:pt x="21" y="22"/>
                    </a:cubicBezTo>
                    <a:cubicBezTo>
                      <a:pt x="13" y="1"/>
                      <a:pt x="13" y="1"/>
                      <a:pt x="13" y="1"/>
                    </a:cubicBezTo>
                    <a:cubicBezTo>
                      <a:pt x="13" y="0"/>
                      <a:pt x="12" y="0"/>
                      <a:pt x="12" y="0"/>
                    </a:cubicBezTo>
                    <a:cubicBezTo>
                      <a:pt x="12" y="0"/>
                      <a:pt x="8" y="1"/>
                      <a:pt x="8" y="1"/>
                    </a:cubicBezTo>
                    <a:cubicBezTo>
                      <a:pt x="3" y="3"/>
                      <a:pt x="0" y="7"/>
                      <a:pt x="0" y="12"/>
                    </a:cubicBezTo>
                    <a:cubicBezTo>
                      <a:pt x="0" y="35"/>
                      <a:pt x="0" y="35"/>
                      <a:pt x="0" y="35"/>
                    </a:cubicBezTo>
                    <a:cubicBezTo>
                      <a:pt x="0" y="35"/>
                      <a:pt x="0" y="35"/>
                      <a:pt x="0" y="35"/>
                    </a:cubicBezTo>
                    <a:cubicBezTo>
                      <a:pt x="8" y="48"/>
                      <a:pt x="8" y="48"/>
                      <a:pt x="8" y="48"/>
                    </a:cubicBezTo>
                    <a:cubicBezTo>
                      <a:pt x="8" y="79"/>
                      <a:pt x="8" y="79"/>
                      <a:pt x="8" y="79"/>
                    </a:cubicBezTo>
                    <a:cubicBezTo>
                      <a:pt x="8" y="80"/>
                      <a:pt x="9" y="80"/>
                      <a:pt x="9" y="80"/>
                    </a:cubicBezTo>
                    <a:cubicBezTo>
                      <a:pt x="35" y="80"/>
                      <a:pt x="35" y="80"/>
                      <a:pt x="35" y="80"/>
                    </a:cubicBezTo>
                    <a:cubicBezTo>
                      <a:pt x="35" y="80"/>
                      <a:pt x="36" y="80"/>
                      <a:pt x="36" y="79"/>
                    </a:cubicBezTo>
                    <a:cubicBezTo>
                      <a:pt x="36" y="48"/>
                      <a:pt x="36" y="48"/>
                      <a:pt x="36" y="48"/>
                    </a:cubicBezTo>
                    <a:cubicBezTo>
                      <a:pt x="44" y="35"/>
                      <a:pt x="44" y="35"/>
                      <a:pt x="44" y="35"/>
                    </a:cubicBezTo>
                    <a:cubicBezTo>
                      <a:pt x="44" y="35"/>
                      <a:pt x="44" y="35"/>
                      <a:pt x="44" y="35"/>
                    </a:cubicBezTo>
                    <a:cubicBezTo>
                      <a:pt x="44" y="12"/>
                      <a:pt x="44" y="12"/>
                      <a:pt x="44" y="12"/>
                    </a:cubicBezTo>
                    <a:cubicBezTo>
                      <a:pt x="44" y="7"/>
                      <a:pt x="41" y="3"/>
                      <a:pt x="36" y="1"/>
                    </a:cubicBezTo>
                    <a:close/>
                    <a:moveTo>
                      <a:pt x="36" y="1"/>
                    </a:moveTo>
                    <a:cubicBezTo>
                      <a:pt x="36" y="1"/>
                      <a:pt x="36" y="1"/>
                      <a:pt x="36"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13" name="Freeform 297">
                <a:extLst>
                  <a:ext uri="{FF2B5EF4-FFF2-40B4-BE49-F238E27FC236}">
                    <a16:creationId xmlns:a16="http://schemas.microsoft.com/office/drawing/2014/main" id="{E501E621-5287-465A-9ACF-065CDAB40933}"/>
                  </a:ext>
                </a:extLst>
              </p:cNvPr>
              <p:cNvSpPr>
                <a:spLocks noEditPoints="1"/>
              </p:cNvSpPr>
              <p:nvPr/>
            </p:nvSpPr>
            <p:spPr bwMode="auto">
              <a:xfrm>
                <a:off x="10771188" y="139700"/>
                <a:ext cx="139700" cy="104775"/>
              </a:xfrm>
              <a:custGeom>
                <a:avLst/>
                <a:gdLst>
                  <a:gd name="T0" fmla="*/ 43 w 43"/>
                  <a:gd name="T1" fmla="*/ 10 h 32"/>
                  <a:gd name="T2" fmla="*/ 0 w 43"/>
                  <a:gd name="T3" fmla="*/ 11 h 32"/>
                  <a:gd name="T4" fmla="*/ 21 w 43"/>
                  <a:gd name="T5" fmla="*/ 32 h 32"/>
                  <a:gd name="T6" fmla="*/ 43 w 43"/>
                  <a:gd name="T7" fmla="*/ 10 h 32"/>
                  <a:gd name="T8" fmla="*/ 43 w 43"/>
                  <a:gd name="T9" fmla="*/ 10 h 32"/>
                  <a:gd name="T10" fmla="*/ 43 w 43"/>
                  <a:gd name="T11" fmla="*/ 10 h 32"/>
                </a:gdLst>
                <a:ahLst/>
                <a:cxnLst>
                  <a:cxn ang="0">
                    <a:pos x="T0" y="T1"/>
                  </a:cxn>
                  <a:cxn ang="0">
                    <a:pos x="T2" y="T3"/>
                  </a:cxn>
                  <a:cxn ang="0">
                    <a:pos x="T4" y="T5"/>
                  </a:cxn>
                  <a:cxn ang="0">
                    <a:pos x="T6" y="T7"/>
                  </a:cxn>
                  <a:cxn ang="0">
                    <a:pos x="T8" y="T9"/>
                  </a:cxn>
                  <a:cxn ang="0">
                    <a:pos x="T10" y="T11"/>
                  </a:cxn>
                </a:cxnLst>
                <a:rect l="0" t="0" r="r" b="b"/>
                <a:pathLst>
                  <a:path w="43" h="32">
                    <a:moveTo>
                      <a:pt x="43" y="10"/>
                    </a:moveTo>
                    <a:cubicBezTo>
                      <a:pt x="30" y="0"/>
                      <a:pt x="12" y="0"/>
                      <a:pt x="0" y="11"/>
                    </a:cubicBezTo>
                    <a:cubicBezTo>
                      <a:pt x="21" y="32"/>
                      <a:pt x="21" y="32"/>
                      <a:pt x="21" y="32"/>
                    </a:cubicBezTo>
                    <a:lnTo>
                      <a:pt x="43" y="10"/>
                    </a:lnTo>
                    <a:close/>
                    <a:moveTo>
                      <a:pt x="43" y="10"/>
                    </a:moveTo>
                    <a:cubicBezTo>
                      <a:pt x="43" y="10"/>
                      <a:pt x="43" y="10"/>
                      <a:pt x="43" y="1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4" name="Freeform 298">
                <a:extLst>
                  <a:ext uri="{FF2B5EF4-FFF2-40B4-BE49-F238E27FC236}">
                    <a16:creationId xmlns:a16="http://schemas.microsoft.com/office/drawing/2014/main" id="{056B0956-8C41-43A6-A7F6-9FB30413ADF6}"/>
                  </a:ext>
                </a:extLst>
              </p:cNvPr>
              <p:cNvSpPr>
                <a:spLocks noEditPoints="1"/>
              </p:cNvSpPr>
              <p:nvPr/>
            </p:nvSpPr>
            <p:spPr bwMode="auto">
              <a:xfrm>
                <a:off x="10861675" y="188913"/>
                <a:ext cx="90487" cy="87313"/>
              </a:xfrm>
              <a:custGeom>
                <a:avLst/>
                <a:gdLst>
                  <a:gd name="T0" fmla="*/ 20 w 28"/>
                  <a:gd name="T1" fmla="*/ 0 h 27"/>
                  <a:gd name="T2" fmla="*/ 0 w 28"/>
                  <a:gd name="T3" fmla="*/ 20 h 27"/>
                  <a:gd name="T4" fmla="*/ 27 w 28"/>
                  <a:gd name="T5" fmla="*/ 27 h 27"/>
                  <a:gd name="T6" fmla="*/ 20 w 28"/>
                  <a:gd name="T7" fmla="*/ 0 h 27"/>
                  <a:gd name="T8" fmla="*/ 20 w 28"/>
                  <a:gd name="T9" fmla="*/ 0 h 27"/>
                  <a:gd name="T10" fmla="*/ 20 w 28"/>
                  <a:gd name="T11" fmla="*/ 0 h 27"/>
                </a:gdLst>
                <a:ahLst/>
                <a:cxnLst>
                  <a:cxn ang="0">
                    <a:pos x="T0" y="T1"/>
                  </a:cxn>
                  <a:cxn ang="0">
                    <a:pos x="T2" y="T3"/>
                  </a:cxn>
                  <a:cxn ang="0">
                    <a:pos x="T4" y="T5"/>
                  </a:cxn>
                  <a:cxn ang="0">
                    <a:pos x="T6" y="T7"/>
                  </a:cxn>
                  <a:cxn ang="0">
                    <a:pos x="T8" y="T9"/>
                  </a:cxn>
                  <a:cxn ang="0">
                    <a:pos x="T10" y="T11"/>
                  </a:cxn>
                </a:cxnLst>
                <a:rect l="0" t="0" r="r" b="b"/>
                <a:pathLst>
                  <a:path w="28" h="27">
                    <a:moveTo>
                      <a:pt x="20" y="0"/>
                    </a:moveTo>
                    <a:cubicBezTo>
                      <a:pt x="0" y="20"/>
                      <a:pt x="0" y="20"/>
                      <a:pt x="0" y="20"/>
                    </a:cubicBezTo>
                    <a:cubicBezTo>
                      <a:pt x="27" y="27"/>
                      <a:pt x="27" y="27"/>
                      <a:pt x="27" y="27"/>
                    </a:cubicBezTo>
                    <a:cubicBezTo>
                      <a:pt x="28" y="18"/>
                      <a:pt x="26" y="8"/>
                      <a:pt x="20" y="0"/>
                    </a:cubicBezTo>
                    <a:close/>
                    <a:moveTo>
                      <a:pt x="20" y="0"/>
                    </a:moveTo>
                    <a:cubicBezTo>
                      <a:pt x="20" y="0"/>
                      <a:pt x="20" y="0"/>
                      <a:pt x="2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5" name="Freeform 299">
                <a:extLst>
                  <a:ext uri="{FF2B5EF4-FFF2-40B4-BE49-F238E27FC236}">
                    <a16:creationId xmlns:a16="http://schemas.microsoft.com/office/drawing/2014/main" id="{31120D8C-4186-48B9-8E21-967F874C270C}"/>
                  </a:ext>
                </a:extLst>
              </p:cNvPr>
              <p:cNvSpPr>
                <a:spLocks noEditPoints="1"/>
              </p:cNvSpPr>
              <p:nvPr/>
            </p:nvSpPr>
            <p:spPr bwMode="auto">
              <a:xfrm>
                <a:off x="10744200" y="188913"/>
                <a:ext cx="198437" cy="192088"/>
              </a:xfrm>
              <a:custGeom>
                <a:avLst/>
                <a:gdLst>
                  <a:gd name="T0" fmla="*/ 27 w 61"/>
                  <a:gd name="T1" fmla="*/ 24 h 59"/>
                  <a:gd name="T2" fmla="*/ 3 w 61"/>
                  <a:gd name="T3" fmla="*/ 0 h 59"/>
                  <a:gd name="T4" fmla="*/ 0 w 61"/>
                  <a:gd name="T5" fmla="*/ 5 h 59"/>
                  <a:gd name="T6" fmla="*/ 10 w 61"/>
                  <a:gd name="T7" fmla="*/ 20 h 59"/>
                  <a:gd name="T8" fmla="*/ 10 w 61"/>
                  <a:gd name="T9" fmla="*/ 43 h 59"/>
                  <a:gd name="T10" fmla="*/ 9 w 61"/>
                  <a:gd name="T11" fmla="*/ 45 h 59"/>
                  <a:gd name="T12" fmla="*/ 8 w 61"/>
                  <a:gd name="T13" fmla="*/ 48 h 59"/>
                  <a:gd name="T14" fmla="*/ 53 w 61"/>
                  <a:gd name="T15" fmla="*/ 45 h 59"/>
                  <a:gd name="T16" fmla="*/ 61 w 61"/>
                  <a:gd name="T17" fmla="*/ 33 h 59"/>
                  <a:gd name="T18" fmla="*/ 28 w 61"/>
                  <a:gd name="T19" fmla="*/ 25 h 59"/>
                  <a:gd name="T20" fmla="*/ 27 w 61"/>
                  <a:gd name="T21" fmla="*/ 24 h 59"/>
                  <a:gd name="T22" fmla="*/ 27 w 61"/>
                  <a:gd name="T23" fmla="*/ 24 h 59"/>
                  <a:gd name="T24" fmla="*/ 27 w 61"/>
                  <a:gd name="T25" fmla="*/ 24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1" h="59">
                    <a:moveTo>
                      <a:pt x="27" y="24"/>
                    </a:moveTo>
                    <a:cubicBezTo>
                      <a:pt x="3" y="0"/>
                      <a:pt x="3" y="0"/>
                      <a:pt x="3" y="0"/>
                    </a:cubicBezTo>
                    <a:cubicBezTo>
                      <a:pt x="2" y="2"/>
                      <a:pt x="1" y="4"/>
                      <a:pt x="0" y="5"/>
                    </a:cubicBezTo>
                    <a:cubicBezTo>
                      <a:pt x="6" y="8"/>
                      <a:pt x="10" y="13"/>
                      <a:pt x="10" y="20"/>
                    </a:cubicBezTo>
                    <a:cubicBezTo>
                      <a:pt x="10" y="43"/>
                      <a:pt x="10" y="43"/>
                      <a:pt x="10" y="43"/>
                    </a:cubicBezTo>
                    <a:cubicBezTo>
                      <a:pt x="10" y="44"/>
                      <a:pt x="10" y="45"/>
                      <a:pt x="9" y="45"/>
                    </a:cubicBezTo>
                    <a:cubicBezTo>
                      <a:pt x="8" y="48"/>
                      <a:pt x="8" y="48"/>
                      <a:pt x="8" y="48"/>
                    </a:cubicBezTo>
                    <a:cubicBezTo>
                      <a:pt x="21" y="59"/>
                      <a:pt x="41" y="58"/>
                      <a:pt x="53" y="45"/>
                    </a:cubicBezTo>
                    <a:cubicBezTo>
                      <a:pt x="57" y="42"/>
                      <a:pt x="59" y="38"/>
                      <a:pt x="61" y="33"/>
                    </a:cubicBezTo>
                    <a:cubicBezTo>
                      <a:pt x="28" y="25"/>
                      <a:pt x="28" y="25"/>
                      <a:pt x="28" y="25"/>
                    </a:cubicBezTo>
                    <a:cubicBezTo>
                      <a:pt x="28" y="25"/>
                      <a:pt x="27" y="24"/>
                      <a:pt x="27" y="24"/>
                    </a:cubicBezTo>
                    <a:close/>
                    <a:moveTo>
                      <a:pt x="27" y="24"/>
                    </a:moveTo>
                    <a:cubicBezTo>
                      <a:pt x="27" y="24"/>
                      <a:pt x="27" y="24"/>
                      <a:pt x="27" y="2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6" name="Freeform 300">
                <a:extLst>
                  <a:ext uri="{FF2B5EF4-FFF2-40B4-BE49-F238E27FC236}">
                    <a16:creationId xmlns:a16="http://schemas.microsoft.com/office/drawing/2014/main" id="{7B189846-22AA-4637-A7DB-FDEE6B65A5E4}"/>
                  </a:ext>
                </a:extLst>
              </p:cNvPr>
              <p:cNvSpPr>
                <a:spLocks noEditPoints="1"/>
              </p:cNvSpPr>
              <p:nvPr/>
            </p:nvSpPr>
            <p:spPr bwMode="auto">
              <a:xfrm>
                <a:off x="10680700" y="207963"/>
                <a:ext cx="25400" cy="61913"/>
              </a:xfrm>
              <a:custGeom>
                <a:avLst/>
                <a:gdLst>
                  <a:gd name="T0" fmla="*/ 7 w 8"/>
                  <a:gd name="T1" fmla="*/ 1 h 19"/>
                  <a:gd name="T2" fmla="*/ 6 w 8"/>
                  <a:gd name="T3" fmla="*/ 0 h 19"/>
                  <a:gd name="T4" fmla="*/ 2 w 8"/>
                  <a:gd name="T5" fmla="*/ 0 h 19"/>
                  <a:gd name="T6" fmla="*/ 1 w 8"/>
                  <a:gd name="T7" fmla="*/ 1 h 19"/>
                  <a:gd name="T8" fmla="*/ 1 w 8"/>
                  <a:gd name="T9" fmla="*/ 3 h 19"/>
                  <a:gd name="T10" fmla="*/ 3 w 8"/>
                  <a:gd name="T11" fmla="*/ 6 h 19"/>
                  <a:gd name="T12" fmla="*/ 2 w 8"/>
                  <a:gd name="T13" fmla="*/ 13 h 19"/>
                  <a:gd name="T14" fmla="*/ 3 w 8"/>
                  <a:gd name="T15" fmla="*/ 18 h 19"/>
                  <a:gd name="T16" fmla="*/ 5 w 8"/>
                  <a:gd name="T17" fmla="*/ 18 h 19"/>
                  <a:gd name="T18" fmla="*/ 6 w 8"/>
                  <a:gd name="T19" fmla="*/ 13 h 19"/>
                  <a:gd name="T20" fmla="*/ 5 w 8"/>
                  <a:gd name="T21" fmla="*/ 6 h 19"/>
                  <a:gd name="T22" fmla="*/ 7 w 8"/>
                  <a:gd name="T23" fmla="*/ 3 h 19"/>
                  <a:gd name="T24" fmla="*/ 7 w 8"/>
                  <a:gd name="T25" fmla="*/ 1 h 19"/>
                  <a:gd name="T26" fmla="*/ 7 w 8"/>
                  <a:gd name="T27" fmla="*/ 1 h 19"/>
                  <a:gd name="T28" fmla="*/ 7 w 8"/>
                  <a:gd name="T29" fmla="*/ 1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19">
                    <a:moveTo>
                      <a:pt x="7" y="1"/>
                    </a:moveTo>
                    <a:cubicBezTo>
                      <a:pt x="7" y="1"/>
                      <a:pt x="6" y="0"/>
                      <a:pt x="6" y="0"/>
                    </a:cubicBezTo>
                    <a:cubicBezTo>
                      <a:pt x="2" y="0"/>
                      <a:pt x="2" y="0"/>
                      <a:pt x="2" y="0"/>
                    </a:cubicBezTo>
                    <a:cubicBezTo>
                      <a:pt x="2" y="0"/>
                      <a:pt x="1" y="1"/>
                      <a:pt x="1" y="1"/>
                    </a:cubicBezTo>
                    <a:cubicBezTo>
                      <a:pt x="0" y="1"/>
                      <a:pt x="0" y="2"/>
                      <a:pt x="1" y="3"/>
                    </a:cubicBezTo>
                    <a:cubicBezTo>
                      <a:pt x="3" y="6"/>
                      <a:pt x="3" y="6"/>
                      <a:pt x="3" y="6"/>
                    </a:cubicBezTo>
                    <a:cubicBezTo>
                      <a:pt x="2" y="13"/>
                      <a:pt x="2" y="13"/>
                      <a:pt x="2" y="13"/>
                    </a:cubicBezTo>
                    <a:cubicBezTo>
                      <a:pt x="3" y="18"/>
                      <a:pt x="3" y="18"/>
                      <a:pt x="3" y="18"/>
                    </a:cubicBezTo>
                    <a:cubicBezTo>
                      <a:pt x="4" y="19"/>
                      <a:pt x="4" y="19"/>
                      <a:pt x="5" y="18"/>
                    </a:cubicBezTo>
                    <a:cubicBezTo>
                      <a:pt x="6" y="13"/>
                      <a:pt x="6" y="13"/>
                      <a:pt x="6" y="13"/>
                    </a:cubicBezTo>
                    <a:cubicBezTo>
                      <a:pt x="5" y="6"/>
                      <a:pt x="5" y="6"/>
                      <a:pt x="5" y="6"/>
                    </a:cubicBezTo>
                    <a:cubicBezTo>
                      <a:pt x="7" y="3"/>
                      <a:pt x="7" y="3"/>
                      <a:pt x="7" y="3"/>
                    </a:cubicBezTo>
                    <a:cubicBezTo>
                      <a:pt x="8" y="2"/>
                      <a:pt x="8" y="1"/>
                      <a:pt x="7" y="1"/>
                    </a:cubicBezTo>
                    <a:close/>
                    <a:moveTo>
                      <a:pt x="7" y="1"/>
                    </a:moveTo>
                    <a:cubicBezTo>
                      <a:pt x="7" y="1"/>
                      <a:pt x="7" y="1"/>
                      <a:pt x="7"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grpSp>
      <p:sp>
        <p:nvSpPr>
          <p:cNvPr id="59" name="Rectangle 52">
            <a:extLst>
              <a:ext uri="{FF2B5EF4-FFF2-40B4-BE49-F238E27FC236}">
                <a16:creationId xmlns:a16="http://schemas.microsoft.com/office/drawing/2014/main" id="{983F3302-4ED2-4848-88E4-392A3CDFAA64}"/>
              </a:ext>
            </a:extLst>
          </p:cNvPr>
          <p:cNvSpPr/>
          <p:nvPr/>
        </p:nvSpPr>
        <p:spPr>
          <a:xfrm>
            <a:off x="7300687" y="2466790"/>
            <a:ext cx="3439884" cy="693395"/>
          </a:xfrm>
          <a:prstGeom prst="rect">
            <a:avLst/>
          </a:prstGeom>
        </p:spPr>
        <p:txBody>
          <a:bodyPr wrap="square">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lumMod val="50000"/>
                    <a:lumOff val="50000"/>
                  </a:srgbClr>
                </a:solidFill>
                <a:effectLst/>
                <a:uLnTx/>
                <a:uFillTx/>
                <a:latin typeface="等线" panose="020F0502020204030204"/>
                <a:ea typeface="+mn-ea"/>
                <a:cs typeface="+mn-cs"/>
              </a:rPr>
              <a:t>Lorem Ipsum is simply dummy text of the printing and typesetting industry. Lorem Ipsum has been the industry's standard dummy text ever since the.</a:t>
            </a:r>
          </a:p>
        </p:txBody>
      </p:sp>
      <p:grpSp>
        <p:nvGrpSpPr>
          <p:cNvPr id="60" name="Group 54">
            <a:extLst>
              <a:ext uri="{FF2B5EF4-FFF2-40B4-BE49-F238E27FC236}">
                <a16:creationId xmlns:a16="http://schemas.microsoft.com/office/drawing/2014/main" id="{F5624757-F5FB-4EE8-B8F3-75FB091ACB7D}"/>
              </a:ext>
            </a:extLst>
          </p:cNvPr>
          <p:cNvGrpSpPr/>
          <p:nvPr/>
        </p:nvGrpSpPr>
        <p:grpSpPr>
          <a:xfrm flipH="1">
            <a:off x="6676935" y="2649609"/>
            <a:ext cx="329932" cy="327755"/>
            <a:chOff x="7148513" y="4037013"/>
            <a:chExt cx="481013" cy="477838"/>
          </a:xfrm>
          <a:solidFill>
            <a:schemeClr val="tx2"/>
          </a:solidFill>
        </p:grpSpPr>
        <p:sp>
          <p:nvSpPr>
            <p:cNvPr id="61" name="Freeform 298">
              <a:extLst>
                <a:ext uri="{FF2B5EF4-FFF2-40B4-BE49-F238E27FC236}">
                  <a16:creationId xmlns:a16="http://schemas.microsoft.com/office/drawing/2014/main" id="{1E329105-B705-4848-B00A-B0F51C044B0D}"/>
                </a:ext>
              </a:extLst>
            </p:cNvPr>
            <p:cNvSpPr>
              <a:spLocks/>
            </p:cNvSpPr>
            <p:nvPr/>
          </p:nvSpPr>
          <p:spPr bwMode="auto">
            <a:xfrm>
              <a:off x="7148513" y="4110038"/>
              <a:ext cx="406400" cy="404813"/>
            </a:xfrm>
            <a:custGeom>
              <a:avLst/>
              <a:gdLst>
                <a:gd name="T0" fmla="*/ 910 w 2818"/>
                <a:gd name="T1" fmla="*/ 10 h 2801"/>
                <a:gd name="T2" fmla="*/ 1156 w 2818"/>
                <a:gd name="T3" fmla="*/ 65 h 2801"/>
                <a:gd name="T4" fmla="*/ 1408 w 2818"/>
                <a:gd name="T5" fmla="*/ 164 h 2801"/>
                <a:gd name="T6" fmla="*/ 1660 w 2818"/>
                <a:gd name="T7" fmla="*/ 305 h 2801"/>
                <a:gd name="T8" fmla="*/ 1667 w 2818"/>
                <a:gd name="T9" fmla="*/ 440 h 2801"/>
                <a:gd name="T10" fmla="*/ 1530 w 2818"/>
                <a:gd name="T11" fmla="*/ 624 h 2801"/>
                <a:gd name="T12" fmla="*/ 1309 w 2818"/>
                <a:gd name="T13" fmla="*/ 493 h 2801"/>
                <a:gd name="T14" fmla="*/ 1092 w 2818"/>
                <a:gd name="T15" fmla="*/ 400 h 2801"/>
                <a:gd name="T16" fmla="*/ 884 w 2818"/>
                <a:gd name="T17" fmla="*/ 348 h 2801"/>
                <a:gd name="T18" fmla="*/ 697 w 2818"/>
                <a:gd name="T19" fmla="*/ 340 h 2801"/>
                <a:gd name="T20" fmla="*/ 554 w 2818"/>
                <a:gd name="T21" fmla="*/ 372 h 2801"/>
                <a:gd name="T22" fmla="*/ 445 w 2818"/>
                <a:gd name="T23" fmla="*/ 444 h 2801"/>
                <a:gd name="T24" fmla="*/ 377 w 2818"/>
                <a:gd name="T25" fmla="*/ 547 h 2801"/>
                <a:gd name="T26" fmla="*/ 344 w 2818"/>
                <a:gd name="T27" fmla="*/ 684 h 2801"/>
                <a:gd name="T28" fmla="*/ 348 w 2818"/>
                <a:gd name="T29" fmla="*/ 849 h 2801"/>
                <a:gd name="T30" fmla="*/ 388 w 2818"/>
                <a:gd name="T31" fmla="*/ 1035 h 2801"/>
                <a:gd name="T32" fmla="*/ 465 w 2818"/>
                <a:gd name="T33" fmla="*/ 1236 h 2801"/>
                <a:gd name="T34" fmla="*/ 580 w 2818"/>
                <a:gd name="T35" fmla="*/ 1449 h 2801"/>
                <a:gd name="T36" fmla="*/ 734 w 2818"/>
                <a:gd name="T37" fmla="*/ 1665 h 2801"/>
                <a:gd name="T38" fmla="*/ 927 w 2818"/>
                <a:gd name="T39" fmla="*/ 1879 h 2801"/>
                <a:gd name="T40" fmla="*/ 1138 w 2818"/>
                <a:gd name="T41" fmla="*/ 2066 h 2801"/>
                <a:gd name="T42" fmla="*/ 1357 w 2818"/>
                <a:gd name="T43" fmla="*/ 2222 h 2801"/>
                <a:gd name="T44" fmla="*/ 1578 w 2818"/>
                <a:gd name="T45" fmla="*/ 2342 h 2801"/>
                <a:gd name="T46" fmla="*/ 1795 w 2818"/>
                <a:gd name="T47" fmla="*/ 2422 h 2801"/>
                <a:gd name="T48" fmla="*/ 2000 w 2818"/>
                <a:gd name="T49" fmla="*/ 2461 h 2801"/>
                <a:gd name="T50" fmla="*/ 2171 w 2818"/>
                <a:gd name="T51" fmla="*/ 2454 h 2801"/>
                <a:gd name="T52" fmla="*/ 2303 w 2818"/>
                <a:gd name="T53" fmla="*/ 2409 h 2801"/>
                <a:gd name="T54" fmla="*/ 2399 w 2818"/>
                <a:gd name="T55" fmla="*/ 2326 h 2801"/>
                <a:gd name="T56" fmla="*/ 2455 w 2818"/>
                <a:gd name="T57" fmla="*/ 2214 h 2801"/>
                <a:gd name="T58" fmla="*/ 2477 w 2818"/>
                <a:gd name="T59" fmla="*/ 2073 h 2801"/>
                <a:gd name="T60" fmla="*/ 2465 w 2818"/>
                <a:gd name="T61" fmla="*/ 1906 h 2801"/>
                <a:gd name="T62" fmla="*/ 2410 w 2818"/>
                <a:gd name="T63" fmla="*/ 1701 h 2801"/>
                <a:gd name="T64" fmla="*/ 2294 w 2818"/>
                <a:gd name="T65" fmla="*/ 1449 h 2801"/>
                <a:gd name="T66" fmla="*/ 2252 w 2818"/>
                <a:gd name="T67" fmla="*/ 1241 h 2801"/>
                <a:gd name="T68" fmla="*/ 2436 w 2818"/>
                <a:gd name="T69" fmla="*/ 1087 h 2801"/>
                <a:gd name="T70" fmla="*/ 2568 w 2818"/>
                <a:gd name="T71" fmla="*/ 1244 h 2801"/>
                <a:gd name="T72" fmla="*/ 2701 w 2818"/>
                <a:gd name="T73" fmla="*/ 1513 h 2801"/>
                <a:gd name="T74" fmla="*/ 2785 w 2818"/>
                <a:gd name="T75" fmla="*/ 1772 h 2801"/>
                <a:gd name="T76" fmla="*/ 2817 w 2818"/>
                <a:gd name="T77" fmla="*/ 2001 h 2801"/>
                <a:gd name="T78" fmla="*/ 2807 w 2818"/>
                <a:gd name="T79" fmla="*/ 2209 h 2801"/>
                <a:gd name="T80" fmla="*/ 2751 w 2818"/>
                <a:gd name="T81" fmla="*/ 2393 h 2801"/>
                <a:gd name="T82" fmla="*/ 2654 w 2818"/>
                <a:gd name="T83" fmla="*/ 2550 h 2801"/>
                <a:gd name="T84" fmla="*/ 2525 w 2818"/>
                <a:gd name="T85" fmla="*/ 2669 h 2801"/>
                <a:gd name="T86" fmla="*/ 2371 w 2818"/>
                <a:gd name="T87" fmla="*/ 2749 h 2801"/>
                <a:gd name="T88" fmla="*/ 2194 w 2818"/>
                <a:gd name="T89" fmla="*/ 2792 h 2801"/>
                <a:gd name="T90" fmla="*/ 1982 w 2818"/>
                <a:gd name="T91" fmla="*/ 2799 h 2801"/>
                <a:gd name="T92" fmla="*/ 1727 w 2818"/>
                <a:gd name="T93" fmla="*/ 2755 h 2801"/>
                <a:gd name="T94" fmla="*/ 1464 w 2818"/>
                <a:gd name="T95" fmla="*/ 2661 h 2801"/>
                <a:gd name="T96" fmla="*/ 1198 w 2818"/>
                <a:gd name="T97" fmla="*/ 2522 h 2801"/>
                <a:gd name="T98" fmla="*/ 936 w 2818"/>
                <a:gd name="T99" fmla="*/ 2340 h 2801"/>
                <a:gd name="T100" fmla="*/ 686 w 2818"/>
                <a:gd name="T101" fmla="*/ 2118 h 2801"/>
                <a:gd name="T102" fmla="*/ 486 w 2818"/>
                <a:gd name="T103" fmla="*/ 1897 h 2801"/>
                <a:gd name="T104" fmla="*/ 317 w 2818"/>
                <a:gd name="T105" fmla="*/ 1669 h 2801"/>
                <a:gd name="T106" fmla="*/ 184 w 2818"/>
                <a:gd name="T107" fmla="*/ 1438 h 2801"/>
                <a:gd name="T108" fmla="*/ 86 w 2818"/>
                <a:gd name="T109" fmla="*/ 1209 h 2801"/>
                <a:gd name="T110" fmla="*/ 24 w 2818"/>
                <a:gd name="T111" fmla="*/ 987 h 2801"/>
                <a:gd name="T112" fmla="*/ 0 w 2818"/>
                <a:gd name="T113" fmla="*/ 776 h 2801"/>
                <a:gd name="T114" fmla="*/ 14 w 2818"/>
                <a:gd name="T115" fmla="*/ 579 h 2801"/>
                <a:gd name="T116" fmla="*/ 68 w 2818"/>
                <a:gd name="T117" fmla="*/ 401 h 2801"/>
                <a:gd name="T118" fmla="*/ 163 w 2818"/>
                <a:gd name="T119" fmla="*/ 249 h 2801"/>
                <a:gd name="T120" fmla="*/ 292 w 2818"/>
                <a:gd name="T121" fmla="*/ 132 h 2801"/>
                <a:gd name="T122" fmla="*/ 445 w 2818"/>
                <a:gd name="T123" fmla="*/ 52 h 2801"/>
                <a:gd name="T124" fmla="*/ 623 w 2818"/>
                <a:gd name="T125" fmla="*/ 8 h 2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818" h="2801">
                  <a:moveTo>
                    <a:pt x="753" y="0"/>
                  </a:moveTo>
                  <a:lnTo>
                    <a:pt x="830" y="2"/>
                  </a:lnTo>
                  <a:lnTo>
                    <a:pt x="910" y="10"/>
                  </a:lnTo>
                  <a:lnTo>
                    <a:pt x="991" y="24"/>
                  </a:lnTo>
                  <a:lnTo>
                    <a:pt x="1073" y="41"/>
                  </a:lnTo>
                  <a:lnTo>
                    <a:pt x="1156" y="65"/>
                  </a:lnTo>
                  <a:lnTo>
                    <a:pt x="1240" y="93"/>
                  </a:lnTo>
                  <a:lnTo>
                    <a:pt x="1323" y="127"/>
                  </a:lnTo>
                  <a:lnTo>
                    <a:pt x="1408" y="164"/>
                  </a:lnTo>
                  <a:lnTo>
                    <a:pt x="1492" y="207"/>
                  </a:lnTo>
                  <a:lnTo>
                    <a:pt x="1577" y="254"/>
                  </a:lnTo>
                  <a:lnTo>
                    <a:pt x="1660" y="305"/>
                  </a:lnTo>
                  <a:lnTo>
                    <a:pt x="1744" y="360"/>
                  </a:lnTo>
                  <a:lnTo>
                    <a:pt x="1724" y="379"/>
                  </a:lnTo>
                  <a:lnTo>
                    <a:pt x="1667" y="440"/>
                  </a:lnTo>
                  <a:lnTo>
                    <a:pt x="1615" y="500"/>
                  </a:lnTo>
                  <a:lnTo>
                    <a:pt x="1570" y="563"/>
                  </a:lnTo>
                  <a:lnTo>
                    <a:pt x="1530" y="624"/>
                  </a:lnTo>
                  <a:lnTo>
                    <a:pt x="1456" y="576"/>
                  </a:lnTo>
                  <a:lnTo>
                    <a:pt x="1383" y="532"/>
                  </a:lnTo>
                  <a:lnTo>
                    <a:pt x="1309" y="493"/>
                  </a:lnTo>
                  <a:lnTo>
                    <a:pt x="1236" y="457"/>
                  </a:lnTo>
                  <a:lnTo>
                    <a:pt x="1163" y="426"/>
                  </a:lnTo>
                  <a:lnTo>
                    <a:pt x="1092" y="400"/>
                  </a:lnTo>
                  <a:lnTo>
                    <a:pt x="1021" y="378"/>
                  </a:lnTo>
                  <a:lnTo>
                    <a:pt x="952" y="361"/>
                  </a:lnTo>
                  <a:lnTo>
                    <a:pt x="884" y="348"/>
                  </a:lnTo>
                  <a:lnTo>
                    <a:pt x="817" y="340"/>
                  </a:lnTo>
                  <a:lnTo>
                    <a:pt x="753" y="338"/>
                  </a:lnTo>
                  <a:lnTo>
                    <a:pt x="697" y="340"/>
                  </a:lnTo>
                  <a:lnTo>
                    <a:pt x="646" y="346"/>
                  </a:lnTo>
                  <a:lnTo>
                    <a:pt x="598" y="358"/>
                  </a:lnTo>
                  <a:lnTo>
                    <a:pt x="554" y="372"/>
                  </a:lnTo>
                  <a:lnTo>
                    <a:pt x="514" y="392"/>
                  </a:lnTo>
                  <a:lnTo>
                    <a:pt x="477" y="416"/>
                  </a:lnTo>
                  <a:lnTo>
                    <a:pt x="445" y="444"/>
                  </a:lnTo>
                  <a:lnTo>
                    <a:pt x="419" y="474"/>
                  </a:lnTo>
                  <a:lnTo>
                    <a:pt x="396" y="508"/>
                  </a:lnTo>
                  <a:lnTo>
                    <a:pt x="377" y="547"/>
                  </a:lnTo>
                  <a:lnTo>
                    <a:pt x="362" y="590"/>
                  </a:lnTo>
                  <a:lnTo>
                    <a:pt x="352" y="635"/>
                  </a:lnTo>
                  <a:lnTo>
                    <a:pt x="344" y="684"/>
                  </a:lnTo>
                  <a:lnTo>
                    <a:pt x="341" y="736"/>
                  </a:lnTo>
                  <a:lnTo>
                    <a:pt x="343" y="791"/>
                  </a:lnTo>
                  <a:lnTo>
                    <a:pt x="348" y="849"/>
                  </a:lnTo>
                  <a:lnTo>
                    <a:pt x="357" y="908"/>
                  </a:lnTo>
                  <a:lnTo>
                    <a:pt x="371" y="970"/>
                  </a:lnTo>
                  <a:lnTo>
                    <a:pt x="388" y="1035"/>
                  </a:lnTo>
                  <a:lnTo>
                    <a:pt x="409" y="1100"/>
                  </a:lnTo>
                  <a:lnTo>
                    <a:pt x="436" y="1168"/>
                  </a:lnTo>
                  <a:lnTo>
                    <a:pt x="465" y="1236"/>
                  </a:lnTo>
                  <a:lnTo>
                    <a:pt x="499" y="1306"/>
                  </a:lnTo>
                  <a:lnTo>
                    <a:pt x="538" y="1377"/>
                  </a:lnTo>
                  <a:lnTo>
                    <a:pt x="580" y="1449"/>
                  </a:lnTo>
                  <a:lnTo>
                    <a:pt x="627" y="1520"/>
                  </a:lnTo>
                  <a:lnTo>
                    <a:pt x="678" y="1592"/>
                  </a:lnTo>
                  <a:lnTo>
                    <a:pt x="734" y="1665"/>
                  </a:lnTo>
                  <a:lnTo>
                    <a:pt x="794" y="1737"/>
                  </a:lnTo>
                  <a:lnTo>
                    <a:pt x="859" y="1807"/>
                  </a:lnTo>
                  <a:lnTo>
                    <a:pt x="927" y="1879"/>
                  </a:lnTo>
                  <a:lnTo>
                    <a:pt x="996" y="1945"/>
                  </a:lnTo>
                  <a:lnTo>
                    <a:pt x="1066" y="2007"/>
                  </a:lnTo>
                  <a:lnTo>
                    <a:pt x="1138" y="2066"/>
                  </a:lnTo>
                  <a:lnTo>
                    <a:pt x="1210" y="2123"/>
                  </a:lnTo>
                  <a:lnTo>
                    <a:pt x="1284" y="2173"/>
                  </a:lnTo>
                  <a:lnTo>
                    <a:pt x="1357" y="2222"/>
                  </a:lnTo>
                  <a:lnTo>
                    <a:pt x="1431" y="2266"/>
                  </a:lnTo>
                  <a:lnTo>
                    <a:pt x="1504" y="2306"/>
                  </a:lnTo>
                  <a:lnTo>
                    <a:pt x="1578" y="2342"/>
                  </a:lnTo>
                  <a:lnTo>
                    <a:pt x="1651" y="2373"/>
                  </a:lnTo>
                  <a:lnTo>
                    <a:pt x="1723" y="2400"/>
                  </a:lnTo>
                  <a:lnTo>
                    <a:pt x="1795" y="2422"/>
                  </a:lnTo>
                  <a:lnTo>
                    <a:pt x="1865" y="2440"/>
                  </a:lnTo>
                  <a:lnTo>
                    <a:pt x="1933" y="2452"/>
                  </a:lnTo>
                  <a:lnTo>
                    <a:pt x="2000" y="2461"/>
                  </a:lnTo>
                  <a:lnTo>
                    <a:pt x="2065" y="2463"/>
                  </a:lnTo>
                  <a:lnTo>
                    <a:pt x="2119" y="2461"/>
                  </a:lnTo>
                  <a:lnTo>
                    <a:pt x="2171" y="2454"/>
                  </a:lnTo>
                  <a:lnTo>
                    <a:pt x="2220" y="2443"/>
                  </a:lnTo>
                  <a:lnTo>
                    <a:pt x="2264" y="2428"/>
                  </a:lnTo>
                  <a:lnTo>
                    <a:pt x="2303" y="2409"/>
                  </a:lnTo>
                  <a:lnTo>
                    <a:pt x="2340" y="2385"/>
                  </a:lnTo>
                  <a:lnTo>
                    <a:pt x="2371" y="2357"/>
                  </a:lnTo>
                  <a:lnTo>
                    <a:pt x="2399" y="2326"/>
                  </a:lnTo>
                  <a:lnTo>
                    <a:pt x="2421" y="2293"/>
                  </a:lnTo>
                  <a:lnTo>
                    <a:pt x="2439" y="2256"/>
                  </a:lnTo>
                  <a:lnTo>
                    <a:pt x="2455" y="2214"/>
                  </a:lnTo>
                  <a:lnTo>
                    <a:pt x="2467" y="2170"/>
                  </a:lnTo>
                  <a:lnTo>
                    <a:pt x="2474" y="2123"/>
                  </a:lnTo>
                  <a:lnTo>
                    <a:pt x="2477" y="2073"/>
                  </a:lnTo>
                  <a:lnTo>
                    <a:pt x="2477" y="2020"/>
                  </a:lnTo>
                  <a:lnTo>
                    <a:pt x="2473" y="1964"/>
                  </a:lnTo>
                  <a:lnTo>
                    <a:pt x="2465" y="1906"/>
                  </a:lnTo>
                  <a:lnTo>
                    <a:pt x="2453" y="1847"/>
                  </a:lnTo>
                  <a:lnTo>
                    <a:pt x="2436" y="1785"/>
                  </a:lnTo>
                  <a:lnTo>
                    <a:pt x="2410" y="1701"/>
                  </a:lnTo>
                  <a:lnTo>
                    <a:pt x="2377" y="1618"/>
                  </a:lnTo>
                  <a:lnTo>
                    <a:pt x="2338" y="1533"/>
                  </a:lnTo>
                  <a:lnTo>
                    <a:pt x="2294" y="1449"/>
                  </a:lnTo>
                  <a:lnTo>
                    <a:pt x="2245" y="1364"/>
                  </a:lnTo>
                  <a:lnTo>
                    <a:pt x="2190" y="1280"/>
                  </a:lnTo>
                  <a:lnTo>
                    <a:pt x="2252" y="1241"/>
                  </a:lnTo>
                  <a:lnTo>
                    <a:pt x="2314" y="1195"/>
                  </a:lnTo>
                  <a:lnTo>
                    <a:pt x="2376" y="1144"/>
                  </a:lnTo>
                  <a:lnTo>
                    <a:pt x="2436" y="1087"/>
                  </a:lnTo>
                  <a:lnTo>
                    <a:pt x="2455" y="1068"/>
                  </a:lnTo>
                  <a:lnTo>
                    <a:pt x="2514" y="1155"/>
                  </a:lnTo>
                  <a:lnTo>
                    <a:pt x="2568" y="1244"/>
                  </a:lnTo>
                  <a:lnTo>
                    <a:pt x="2617" y="1333"/>
                  </a:lnTo>
                  <a:lnTo>
                    <a:pt x="2662" y="1424"/>
                  </a:lnTo>
                  <a:lnTo>
                    <a:pt x="2701" y="1513"/>
                  </a:lnTo>
                  <a:lnTo>
                    <a:pt x="2736" y="1603"/>
                  </a:lnTo>
                  <a:lnTo>
                    <a:pt x="2764" y="1692"/>
                  </a:lnTo>
                  <a:lnTo>
                    <a:pt x="2785" y="1772"/>
                  </a:lnTo>
                  <a:lnTo>
                    <a:pt x="2801" y="1850"/>
                  </a:lnTo>
                  <a:lnTo>
                    <a:pt x="2812" y="1927"/>
                  </a:lnTo>
                  <a:lnTo>
                    <a:pt x="2817" y="2001"/>
                  </a:lnTo>
                  <a:lnTo>
                    <a:pt x="2818" y="2073"/>
                  </a:lnTo>
                  <a:lnTo>
                    <a:pt x="2815" y="2142"/>
                  </a:lnTo>
                  <a:lnTo>
                    <a:pt x="2807" y="2209"/>
                  </a:lnTo>
                  <a:lnTo>
                    <a:pt x="2793" y="2273"/>
                  </a:lnTo>
                  <a:lnTo>
                    <a:pt x="2774" y="2335"/>
                  </a:lnTo>
                  <a:lnTo>
                    <a:pt x="2751" y="2393"/>
                  </a:lnTo>
                  <a:lnTo>
                    <a:pt x="2724" y="2449"/>
                  </a:lnTo>
                  <a:lnTo>
                    <a:pt x="2692" y="2501"/>
                  </a:lnTo>
                  <a:lnTo>
                    <a:pt x="2654" y="2550"/>
                  </a:lnTo>
                  <a:lnTo>
                    <a:pt x="2612" y="2596"/>
                  </a:lnTo>
                  <a:lnTo>
                    <a:pt x="2570" y="2634"/>
                  </a:lnTo>
                  <a:lnTo>
                    <a:pt x="2525" y="2669"/>
                  </a:lnTo>
                  <a:lnTo>
                    <a:pt x="2477" y="2700"/>
                  </a:lnTo>
                  <a:lnTo>
                    <a:pt x="2426" y="2726"/>
                  </a:lnTo>
                  <a:lnTo>
                    <a:pt x="2371" y="2749"/>
                  </a:lnTo>
                  <a:lnTo>
                    <a:pt x="2315" y="2767"/>
                  </a:lnTo>
                  <a:lnTo>
                    <a:pt x="2256" y="2782"/>
                  </a:lnTo>
                  <a:lnTo>
                    <a:pt x="2194" y="2792"/>
                  </a:lnTo>
                  <a:lnTo>
                    <a:pt x="2131" y="2799"/>
                  </a:lnTo>
                  <a:lnTo>
                    <a:pt x="2065" y="2801"/>
                  </a:lnTo>
                  <a:lnTo>
                    <a:pt x="1982" y="2799"/>
                  </a:lnTo>
                  <a:lnTo>
                    <a:pt x="1898" y="2789"/>
                  </a:lnTo>
                  <a:lnTo>
                    <a:pt x="1813" y="2775"/>
                  </a:lnTo>
                  <a:lnTo>
                    <a:pt x="1727" y="2755"/>
                  </a:lnTo>
                  <a:lnTo>
                    <a:pt x="1640" y="2729"/>
                  </a:lnTo>
                  <a:lnTo>
                    <a:pt x="1552" y="2698"/>
                  </a:lnTo>
                  <a:lnTo>
                    <a:pt x="1464" y="2661"/>
                  </a:lnTo>
                  <a:lnTo>
                    <a:pt x="1375" y="2620"/>
                  </a:lnTo>
                  <a:lnTo>
                    <a:pt x="1286" y="2574"/>
                  </a:lnTo>
                  <a:lnTo>
                    <a:pt x="1198" y="2522"/>
                  </a:lnTo>
                  <a:lnTo>
                    <a:pt x="1110" y="2466"/>
                  </a:lnTo>
                  <a:lnTo>
                    <a:pt x="1022" y="2405"/>
                  </a:lnTo>
                  <a:lnTo>
                    <a:pt x="936" y="2340"/>
                  </a:lnTo>
                  <a:lnTo>
                    <a:pt x="851" y="2270"/>
                  </a:lnTo>
                  <a:lnTo>
                    <a:pt x="767" y="2196"/>
                  </a:lnTo>
                  <a:lnTo>
                    <a:pt x="686" y="2118"/>
                  </a:lnTo>
                  <a:lnTo>
                    <a:pt x="616" y="2046"/>
                  </a:lnTo>
                  <a:lnTo>
                    <a:pt x="549" y="1972"/>
                  </a:lnTo>
                  <a:lnTo>
                    <a:pt x="486" y="1897"/>
                  </a:lnTo>
                  <a:lnTo>
                    <a:pt x="426" y="1822"/>
                  </a:lnTo>
                  <a:lnTo>
                    <a:pt x="370" y="1746"/>
                  </a:lnTo>
                  <a:lnTo>
                    <a:pt x="317" y="1669"/>
                  </a:lnTo>
                  <a:lnTo>
                    <a:pt x="269" y="1592"/>
                  </a:lnTo>
                  <a:lnTo>
                    <a:pt x="225" y="1515"/>
                  </a:lnTo>
                  <a:lnTo>
                    <a:pt x="184" y="1438"/>
                  </a:lnTo>
                  <a:lnTo>
                    <a:pt x="148" y="1362"/>
                  </a:lnTo>
                  <a:lnTo>
                    <a:pt x="114" y="1285"/>
                  </a:lnTo>
                  <a:lnTo>
                    <a:pt x="86" y="1209"/>
                  </a:lnTo>
                  <a:lnTo>
                    <a:pt x="61" y="1135"/>
                  </a:lnTo>
                  <a:lnTo>
                    <a:pt x="41" y="1061"/>
                  </a:lnTo>
                  <a:lnTo>
                    <a:pt x="24" y="987"/>
                  </a:lnTo>
                  <a:lnTo>
                    <a:pt x="12" y="915"/>
                  </a:lnTo>
                  <a:lnTo>
                    <a:pt x="3" y="844"/>
                  </a:lnTo>
                  <a:lnTo>
                    <a:pt x="0" y="776"/>
                  </a:lnTo>
                  <a:lnTo>
                    <a:pt x="0" y="708"/>
                  </a:lnTo>
                  <a:lnTo>
                    <a:pt x="5" y="643"/>
                  </a:lnTo>
                  <a:lnTo>
                    <a:pt x="14" y="579"/>
                  </a:lnTo>
                  <a:lnTo>
                    <a:pt x="27" y="518"/>
                  </a:lnTo>
                  <a:lnTo>
                    <a:pt x="46" y="459"/>
                  </a:lnTo>
                  <a:lnTo>
                    <a:pt x="68" y="401"/>
                  </a:lnTo>
                  <a:lnTo>
                    <a:pt x="95" y="348"/>
                  </a:lnTo>
                  <a:lnTo>
                    <a:pt x="127" y="297"/>
                  </a:lnTo>
                  <a:lnTo>
                    <a:pt x="163" y="249"/>
                  </a:lnTo>
                  <a:lnTo>
                    <a:pt x="204" y="205"/>
                  </a:lnTo>
                  <a:lnTo>
                    <a:pt x="247" y="166"/>
                  </a:lnTo>
                  <a:lnTo>
                    <a:pt x="292" y="132"/>
                  </a:lnTo>
                  <a:lnTo>
                    <a:pt x="340" y="101"/>
                  </a:lnTo>
                  <a:lnTo>
                    <a:pt x="392" y="75"/>
                  </a:lnTo>
                  <a:lnTo>
                    <a:pt x="445" y="52"/>
                  </a:lnTo>
                  <a:lnTo>
                    <a:pt x="501" y="33"/>
                  </a:lnTo>
                  <a:lnTo>
                    <a:pt x="561" y="19"/>
                  </a:lnTo>
                  <a:lnTo>
                    <a:pt x="623" y="8"/>
                  </a:lnTo>
                  <a:lnTo>
                    <a:pt x="687" y="2"/>
                  </a:lnTo>
                  <a:lnTo>
                    <a:pt x="75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62" name="Freeform 299">
              <a:extLst>
                <a:ext uri="{FF2B5EF4-FFF2-40B4-BE49-F238E27FC236}">
                  <a16:creationId xmlns:a16="http://schemas.microsoft.com/office/drawing/2014/main" id="{C49BA69D-E58A-4556-9548-5B2C0766A7C3}"/>
                </a:ext>
              </a:extLst>
            </p:cNvPr>
            <p:cNvSpPr>
              <a:spLocks/>
            </p:cNvSpPr>
            <p:nvPr/>
          </p:nvSpPr>
          <p:spPr bwMode="auto">
            <a:xfrm>
              <a:off x="7251701" y="4195763"/>
              <a:ext cx="217488" cy="215900"/>
            </a:xfrm>
            <a:custGeom>
              <a:avLst/>
              <a:gdLst>
                <a:gd name="T0" fmla="*/ 370 w 1504"/>
                <a:gd name="T1" fmla="*/ 2 h 1493"/>
                <a:gd name="T2" fmla="*/ 469 w 1504"/>
                <a:gd name="T3" fmla="*/ 22 h 1493"/>
                <a:gd name="T4" fmla="*/ 576 w 1504"/>
                <a:gd name="T5" fmla="*/ 60 h 1493"/>
                <a:gd name="T6" fmla="*/ 688 w 1504"/>
                <a:gd name="T7" fmla="*/ 115 h 1493"/>
                <a:gd name="T8" fmla="*/ 717 w 1504"/>
                <a:gd name="T9" fmla="*/ 206 h 1493"/>
                <a:gd name="T10" fmla="*/ 674 w 1504"/>
                <a:gd name="T11" fmla="*/ 315 h 1493"/>
                <a:gd name="T12" fmla="*/ 644 w 1504"/>
                <a:gd name="T13" fmla="*/ 413 h 1493"/>
                <a:gd name="T14" fmla="*/ 624 w 1504"/>
                <a:gd name="T15" fmla="*/ 497 h 1493"/>
                <a:gd name="T16" fmla="*/ 614 w 1504"/>
                <a:gd name="T17" fmla="*/ 562 h 1493"/>
                <a:gd name="T18" fmla="*/ 608 w 1504"/>
                <a:gd name="T19" fmla="*/ 606 h 1493"/>
                <a:gd name="T20" fmla="*/ 606 w 1504"/>
                <a:gd name="T21" fmla="*/ 626 h 1493"/>
                <a:gd name="T22" fmla="*/ 614 w 1504"/>
                <a:gd name="T23" fmla="*/ 695 h 1493"/>
                <a:gd name="T24" fmla="*/ 639 w 1504"/>
                <a:gd name="T25" fmla="*/ 761 h 1493"/>
                <a:gd name="T26" fmla="*/ 682 w 1504"/>
                <a:gd name="T27" fmla="*/ 816 h 1493"/>
                <a:gd name="T28" fmla="*/ 737 w 1504"/>
                <a:gd name="T29" fmla="*/ 859 h 1493"/>
                <a:gd name="T30" fmla="*/ 802 w 1504"/>
                <a:gd name="T31" fmla="*/ 884 h 1493"/>
                <a:gd name="T32" fmla="*/ 872 w 1504"/>
                <a:gd name="T33" fmla="*/ 890 h 1493"/>
                <a:gd name="T34" fmla="*/ 892 w 1504"/>
                <a:gd name="T35" fmla="*/ 889 h 1493"/>
                <a:gd name="T36" fmla="*/ 937 w 1504"/>
                <a:gd name="T37" fmla="*/ 884 h 1493"/>
                <a:gd name="T38" fmla="*/ 1003 w 1504"/>
                <a:gd name="T39" fmla="*/ 872 h 1493"/>
                <a:gd name="T40" fmla="*/ 1088 w 1504"/>
                <a:gd name="T41" fmla="*/ 853 h 1493"/>
                <a:gd name="T42" fmla="*/ 1186 w 1504"/>
                <a:gd name="T43" fmla="*/ 823 h 1493"/>
                <a:gd name="T44" fmla="*/ 1296 w 1504"/>
                <a:gd name="T45" fmla="*/ 780 h 1493"/>
                <a:gd name="T46" fmla="*/ 1386 w 1504"/>
                <a:gd name="T47" fmla="*/ 807 h 1493"/>
                <a:gd name="T48" fmla="*/ 1440 w 1504"/>
                <a:gd name="T49" fmla="*/ 911 h 1493"/>
                <a:gd name="T50" fmla="*/ 1477 w 1504"/>
                <a:gd name="T51" fmla="*/ 1011 h 1493"/>
                <a:gd name="T52" fmla="*/ 1497 w 1504"/>
                <a:gd name="T53" fmla="*/ 1098 h 1493"/>
                <a:gd name="T54" fmla="*/ 1504 w 1504"/>
                <a:gd name="T55" fmla="*/ 1175 h 1493"/>
                <a:gd name="T56" fmla="*/ 1497 w 1504"/>
                <a:gd name="T57" fmla="*/ 1240 h 1493"/>
                <a:gd name="T58" fmla="*/ 1483 w 1504"/>
                <a:gd name="T59" fmla="*/ 1295 h 1493"/>
                <a:gd name="T60" fmla="*/ 1463 w 1504"/>
                <a:gd name="T61" fmla="*/ 1340 h 1493"/>
                <a:gd name="T62" fmla="*/ 1439 w 1504"/>
                <a:gd name="T63" fmla="*/ 1377 h 1493"/>
                <a:gd name="T64" fmla="*/ 1414 w 1504"/>
                <a:gd name="T65" fmla="*/ 1405 h 1493"/>
                <a:gd name="T66" fmla="*/ 1382 w 1504"/>
                <a:gd name="T67" fmla="*/ 1432 h 1493"/>
                <a:gd name="T68" fmla="*/ 1339 w 1504"/>
                <a:gd name="T69" fmla="*/ 1458 h 1493"/>
                <a:gd name="T70" fmla="*/ 1285 w 1504"/>
                <a:gd name="T71" fmla="*/ 1479 h 1493"/>
                <a:gd name="T72" fmla="*/ 1219 w 1504"/>
                <a:gd name="T73" fmla="*/ 1491 h 1493"/>
                <a:gd name="T74" fmla="*/ 1134 w 1504"/>
                <a:gd name="T75" fmla="*/ 1491 h 1493"/>
                <a:gd name="T76" fmla="*/ 1036 w 1504"/>
                <a:gd name="T77" fmla="*/ 1471 h 1493"/>
                <a:gd name="T78" fmla="*/ 930 w 1504"/>
                <a:gd name="T79" fmla="*/ 1435 h 1493"/>
                <a:gd name="T80" fmla="*/ 819 w 1504"/>
                <a:gd name="T81" fmla="*/ 1381 h 1493"/>
                <a:gd name="T82" fmla="*/ 706 w 1504"/>
                <a:gd name="T83" fmla="*/ 1311 h 1493"/>
                <a:gd name="T84" fmla="*/ 591 w 1504"/>
                <a:gd name="T85" fmla="*/ 1227 h 1493"/>
                <a:gd name="T86" fmla="*/ 477 w 1504"/>
                <a:gd name="T87" fmla="*/ 1129 h 1493"/>
                <a:gd name="T88" fmla="*/ 362 w 1504"/>
                <a:gd name="T89" fmla="*/ 1015 h 1493"/>
                <a:gd name="T90" fmla="*/ 257 w 1504"/>
                <a:gd name="T91" fmla="*/ 892 h 1493"/>
                <a:gd name="T92" fmla="*/ 166 w 1504"/>
                <a:gd name="T93" fmla="*/ 766 h 1493"/>
                <a:gd name="T94" fmla="*/ 93 w 1504"/>
                <a:gd name="T95" fmla="*/ 642 h 1493"/>
                <a:gd name="T96" fmla="*/ 43 w 1504"/>
                <a:gd name="T97" fmla="*/ 531 h 1493"/>
                <a:gd name="T98" fmla="*/ 15 w 1504"/>
                <a:gd name="T99" fmla="*/ 437 h 1493"/>
                <a:gd name="T100" fmla="*/ 1 w 1504"/>
                <a:gd name="T101" fmla="*/ 355 h 1493"/>
                <a:gd name="T102" fmla="*/ 2 w 1504"/>
                <a:gd name="T103" fmla="*/ 285 h 1493"/>
                <a:gd name="T104" fmla="*/ 13 w 1504"/>
                <a:gd name="T105" fmla="*/ 224 h 1493"/>
                <a:gd name="T106" fmla="*/ 31 w 1504"/>
                <a:gd name="T107" fmla="*/ 173 h 1493"/>
                <a:gd name="T108" fmla="*/ 53 w 1504"/>
                <a:gd name="T109" fmla="*/ 133 h 1493"/>
                <a:gd name="T110" fmla="*/ 78 w 1504"/>
                <a:gd name="T111" fmla="*/ 102 h 1493"/>
                <a:gd name="T112" fmla="*/ 105 w 1504"/>
                <a:gd name="T113" fmla="*/ 75 h 1493"/>
                <a:gd name="T114" fmla="*/ 142 w 1504"/>
                <a:gd name="T115" fmla="*/ 48 h 1493"/>
                <a:gd name="T116" fmla="*/ 190 w 1504"/>
                <a:gd name="T117" fmla="*/ 24 h 1493"/>
                <a:gd name="T118" fmla="*/ 250 w 1504"/>
                <a:gd name="T119" fmla="*/ 6 h 1493"/>
                <a:gd name="T120" fmla="*/ 323 w 1504"/>
                <a:gd name="T121" fmla="*/ 0 h 14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504" h="1493">
                  <a:moveTo>
                    <a:pt x="323" y="0"/>
                  </a:moveTo>
                  <a:lnTo>
                    <a:pt x="370" y="2"/>
                  </a:lnTo>
                  <a:lnTo>
                    <a:pt x="418" y="10"/>
                  </a:lnTo>
                  <a:lnTo>
                    <a:pt x="469" y="22"/>
                  </a:lnTo>
                  <a:lnTo>
                    <a:pt x="522" y="39"/>
                  </a:lnTo>
                  <a:lnTo>
                    <a:pt x="576" y="60"/>
                  </a:lnTo>
                  <a:lnTo>
                    <a:pt x="631" y="86"/>
                  </a:lnTo>
                  <a:lnTo>
                    <a:pt x="688" y="115"/>
                  </a:lnTo>
                  <a:lnTo>
                    <a:pt x="745" y="148"/>
                  </a:lnTo>
                  <a:lnTo>
                    <a:pt x="717" y="206"/>
                  </a:lnTo>
                  <a:lnTo>
                    <a:pt x="694" y="262"/>
                  </a:lnTo>
                  <a:lnTo>
                    <a:pt x="674" y="315"/>
                  </a:lnTo>
                  <a:lnTo>
                    <a:pt x="658" y="366"/>
                  </a:lnTo>
                  <a:lnTo>
                    <a:pt x="644" y="413"/>
                  </a:lnTo>
                  <a:lnTo>
                    <a:pt x="634" y="456"/>
                  </a:lnTo>
                  <a:lnTo>
                    <a:pt x="624" y="497"/>
                  </a:lnTo>
                  <a:lnTo>
                    <a:pt x="618" y="531"/>
                  </a:lnTo>
                  <a:lnTo>
                    <a:pt x="614" y="562"/>
                  </a:lnTo>
                  <a:lnTo>
                    <a:pt x="611" y="587"/>
                  </a:lnTo>
                  <a:lnTo>
                    <a:pt x="608" y="606"/>
                  </a:lnTo>
                  <a:lnTo>
                    <a:pt x="607" y="620"/>
                  </a:lnTo>
                  <a:lnTo>
                    <a:pt x="606" y="626"/>
                  </a:lnTo>
                  <a:lnTo>
                    <a:pt x="607" y="661"/>
                  </a:lnTo>
                  <a:lnTo>
                    <a:pt x="614" y="695"/>
                  </a:lnTo>
                  <a:lnTo>
                    <a:pt x="624" y="729"/>
                  </a:lnTo>
                  <a:lnTo>
                    <a:pt x="639" y="761"/>
                  </a:lnTo>
                  <a:lnTo>
                    <a:pt x="658" y="790"/>
                  </a:lnTo>
                  <a:lnTo>
                    <a:pt x="682" y="816"/>
                  </a:lnTo>
                  <a:lnTo>
                    <a:pt x="708" y="839"/>
                  </a:lnTo>
                  <a:lnTo>
                    <a:pt x="737" y="859"/>
                  </a:lnTo>
                  <a:lnTo>
                    <a:pt x="769" y="873"/>
                  </a:lnTo>
                  <a:lnTo>
                    <a:pt x="802" y="884"/>
                  </a:lnTo>
                  <a:lnTo>
                    <a:pt x="838" y="890"/>
                  </a:lnTo>
                  <a:lnTo>
                    <a:pt x="872" y="890"/>
                  </a:lnTo>
                  <a:lnTo>
                    <a:pt x="880" y="890"/>
                  </a:lnTo>
                  <a:lnTo>
                    <a:pt x="892" y="889"/>
                  </a:lnTo>
                  <a:lnTo>
                    <a:pt x="912" y="887"/>
                  </a:lnTo>
                  <a:lnTo>
                    <a:pt x="937" y="884"/>
                  </a:lnTo>
                  <a:lnTo>
                    <a:pt x="968" y="880"/>
                  </a:lnTo>
                  <a:lnTo>
                    <a:pt x="1003" y="872"/>
                  </a:lnTo>
                  <a:lnTo>
                    <a:pt x="1044" y="864"/>
                  </a:lnTo>
                  <a:lnTo>
                    <a:pt x="1088" y="853"/>
                  </a:lnTo>
                  <a:lnTo>
                    <a:pt x="1136" y="839"/>
                  </a:lnTo>
                  <a:lnTo>
                    <a:pt x="1186" y="823"/>
                  </a:lnTo>
                  <a:lnTo>
                    <a:pt x="1241" y="804"/>
                  </a:lnTo>
                  <a:lnTo>
                    <a:pt x="1296" y="780"/>
                  </a:lnTo>
                  <a:lnTo>
                    <a:pt x="1355" y="753"/>
                  </a:lnTo>
                  <a:lnTo>
                    <a:pt x="1386" y="807"/>
                  </a:lnTo>
                  <a:lnTo>
                    <a:pt x="1415" y="859"/>
                  </a:lnTo>
                  <a:lnTo>
                    <a:pt x="1440" y="911"/>
                  </a:lnTo>
                  <a:lnTo>
                    <a:pt x="1461" y="962"/>
                  </a:lnTo>
                  <a:lnTo>
                    <a:pt x="1477" y="1011"/>
                  </a:lnTo>
                  <a:lnTo>
                    <a:pt x="1489" y="1056"/>
                  </a:lnTo>
                  <a:lnTo>
                    <a:pt x="1497" y="1098"/>
                  </a:lnTo>
                  <a:lnTo>
                    <a:pt x="1502" y="1137"/>
                  </a:lnTo>
                  <a:lnTo>
                    <a:pt x="1504" y="1175"/>
                  </a:lnTo>
                  <a:lnTo>
                    <a:pt x="1502" y="1208"/>
                  </a:lnTo>
                  <a:lnTo>
                    <a:pt x="1497" y="1240"/>
                  </a:lnTo>
                  <a:lnTo>
                    <a:pt x="1491" y="1269"/>
                  </a:lnTo>
                  <a:lnTo>
                    <a:pt x="1483" y="1295"/>
                  </a:lnTo>
                  <a:lnTo>
                    <a:pt x="1473" y="1318"/>
                  </a:lnTo>
                  <a:lnTo>
                    <a:pt x="1463" y="1340"/>
                  </a:lnTo>
                  <a:lnTo>
                    <a:pt x="1450" y="1360"/>
                  </a:lnTo>
                  <a:lnTo>
                    <a:pt x="1439" y="1377"/>
                  </a:lnTo>
                  <a:lnTo>
                    <a:pt x="1426" y="1391"/>
                  </a:lnTo>
                  <a:lnTo>
                    <a:pt x="1414" y="1405"/>
                  </a:lnTo>
                  <a:lnTo>
                    <a:pt x="1399" y="1418"/>
                  </a:lnTo>
                  <a:lnTo>
                    <a:pt x="1382" y="1432"/>
                  </a:lnTo>
                  <a:lnTo>
                    <a:pt x="1361" y="1445"/>
                  </a:lnTo>
                  <a:lnTo>
                    <a:pt x="1339" y="1458"/>
                  </a:lnTo>
                  <a:lnTo>
                    <a:pt x="1313" y="1469"/>
                  </a:lnTo>
                  <a:lnTo>
                    <a:pt x="1285" y="1479"/>
                  </a:lnTo>
                  <a:lnTo>
                    <a:pt x="1253" y="1487"/>
                  </a:lnTo>
                  <a:lnTo>
                    <a:pt x="1219" y="1491"/>
                  </a:lnTo>
                  <a:lnTo>
                    <a:pt x="1180" y="1493"/>
                  </a:lnTo>
                  <a:lnTo>
                    <a:pt x="1134" y="1491"/>
                  </a:lnTo>
                  <a:lnTo>
                    <a:pt x="1086" y="1484"/>
                  </a:lnTo>
                  <a:lnTo>
                    <a:pt x="1036" y="1471"/>
                  </a:lnTo>
                  <a:lnTo>
                    <a:pt x="983" y="1456"/>
                  </a:lnTo>
                  <a:lnTo>
                    <a:pt x="930" y="1435"/>
                  </a:lnTo>
                  <a:lnTo>
                    <a:pt x="875" y="1410"/>
                  </a:lnTo>
                  <a:lnTo>
                    <a:pt x="819" y="1381"/>
                  </a:lnTo>
                  <a:lnTo>
                    <a:pt x="762" y="1348"/>
                  </a:lnTo>
                  <a:lnTo>
                    <a:pt x="706" y="1311"/>
                  </a:lnTo>
                  <a:lnTo>
                    <a:pt x="648" y="1271"/>
                  </a:lnTo>
                  <a:lnTo>
                    <a:pt x="591" y="1227"/>
                  </a:lnTo>
                  <a:lnTo>
                    <a:pt x="533" y="1180"/>
                  </a:lnTo>
                  <a:lnTo>
                    <a:pt x="477" y="1129"/>
                  </a:lnTo>
                  <a:lnTo>
                    <a:pt x="421" y="1075"/>
                  </a:lnTo>
                  <a:lnTo>
                    <a:pt x="362" y="1015"/>
                  </a:lnTo>
                  <a:lnTo>
                    <a:pt x="308" y="954"/>
                  </a:lnTo>
                  <a:lnTo>
                    <a:pt x="257" y="892"/>
                  </a:lnTo>
                  <a:lnTo>
                    <a:pt x="210" y="830"/>
                  </a:lnTo>
                  <a:lnTo>
                    <a:pt x="166" y="766"/>
                  </a:lnTo>
                  <a:lnTo>
                    <a:pt x="127" y="705"/>
                  </a:lnTo>
                  <a:lnTo>
                    <a:pt x="93" y="642"/>
                  </a:lnTo>
                  <a:lnTo>
                    <a:pt x="64" y="582"/>
                  </a:lnTo>
                  <a:lnTo>
                    <a:pt x="43" y="531"/>
                  </a:lnTo>
                  <a:lnTo>
                    <a:pt x="26" y="482"/>
                  </a:lnTo>
                  <a:lnTo>
                    <a:pt x="15" y="437"/>
                  </a:lnTo>
                  <a:lnTo>
                    <a:pt x="6" y="395"/>
                  </a:lnTo>
                  <a:lnTo>
                    <a:pt x="1" y="355"/>
                  </a:lnTo>
                  <a:lnTo>
                    <a:pt x="0" y="318"/>
                  </a:lnTo>
                  <a:lnTo>
                    <a:pt x="2" y="285"/>
                  </a:lnTo>
                  <a:lnTo>
                    <a:pt x="6" y="252"/>
                  </a:lnTo>
                  <a:lnTo>
                    <a:pt x="13" y="224"/>
                  </a:lnTo>
                  <a:lnTo>
                    <a:pt x="21" y="197"/>
                  </a:lnTo>
                  <a:lnTo>
                    <a:pt x="31" y="173"/>
                  </a:lnTo>
                  <a:lnTo>
                    <a:pt x="41" y="153"/>
                  </a:lnTo>
                  <a:lnTo>
                    <a:pt x="53" y="133"/>
                  </a:lnTo>
                  <a:lnTo>
                    <a:pt x="65" y="116"/>
                  </a:lnTo>
                  <a:lnTo>
                    <a:pt x="78" y="102"/>
                  </a:lnTo>
                  <a:lnTo>
                    <a:pt x="89" y="88"/>
                  </a:lnTo>
                  <a:lnTo>
                    <a:pt x="105" y="75"/>
                  </a:lnTo>
                  <a:lnTo>
                    <a:pt x="122" y="61"/>
                  </a:lnTo>
                  <a:lnTo>
                    <a:pt x="142" y="48"/>
                  </a:lnTo>
                  <a:lnTo>
                    <a:pt x="165" y="35"/>
                  </a:lnTo>
                  <a:lnTo>
                    <a:pt x="190" y="24"/>
                  </a:lnTo>
                  <a:lnTo>
                    <a:pt x="219" y="14"/>
                  </a:lnTo>
                  <a:lnTo>
                    <a:pt x="250" y="6"/>
                  </a:lnTo>
                  <a:lnTo>
                    <a:pt x="285" y="2"/>
                  </a:lnTo>
                  <a:lnTo>
                    <a:pt x="32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63" name="Freeform 300">
              <a:extLst>
                <a:ext uri="{FF2B5EF4-FFF2-40B4-BE49-F238E27FC236}">
                  <a16:creationId xmlns:a16="http://schemas.microsoft.com/office/drawing/2014/main" id="{B0FD9239-5C2F-4C9B-AA41-9A14A1EBAFDA}"/>
                </a:ext>
              </a:extLst>
            </p:cNvPr>
            <p:cNvSpPr>
              <a:spLocks/>
            </p:cNvSpPr>
            <p:nvPr/>
          </p:nvSpPr>
          <p:spPr bwMode="auto">
            <a:xfrm>
              <a:off x="7364413" y="4037013"/>
              <a:ext cx="265113" cy="263525"/>
            </a:xfrm>
            <a:custGeom>
              <a:avLst/>
              <a:gdLst>
                <a:gd name="T0" fmla="*/ 1289 w 1835"/>
                <a:gd name="T1" fmla="*/ 2 h 1823"/>
                <a:gd name="T2" fmla="*/ 1327 w 1835"/>
                <a:gd name="T3" fmla="*/ 23 h 1823"/>
                <a:gd name="T4" fmla="*/ 1350 w 1835"/>
                <a:gd name="T5" fmla="*/ 60 h 1823"/>
                <a:gd name="T6" fmla="*/ 1776 w 1835"/>
                <a:gd name="T7" fmla="*/ 482 h 1823"/>
                <a:gd name="T8" fmla="*/ 1812 w 1835"/>
                <a:gd name="T9" fmla="*/ 505 h 1823"/>
                <a:gd name="T10" fmla="*/ 1833 w 1835"/>
                <a:gd name="T11" fmla="*/ 543 h 1823"/>
                <a:gd name="T12" fmla="*/ 1832 w 1835"/>
                <a:gd name="T13" fmla="*/ 586 h 1823"/>
                <a:gd name="T14" fmla="*/ 1810 w 1835"/>
                <a:gd name="T15" fmla="*/ 622 h 1823"/>
                <a:gd name="T16" fmla="*/ 1498 w 1835"/>
                <a:gd name="T17" fmla="*/ 929 h 1823"/>
                <a:gd name="T18" fmla="*/ 1459 w 1835"/>
                <a:gd name="T19" fmla="*/ 942 h 1823"/>
                <a:gd name="T20" fmla="*/ 1253 w 1835"/>
                <a:gd name="T21" fmla="*/ 903 h 1823"/>
                <a:gd name="T22" fmla="*/ 1194 w 1835"/>
                <a:gd name="T23" fmla="*/ 1011 h 1823"/>
                <a:gd name="T24" fmla="*/ 1118 w 1835"/>
                <a:gd name="T25" fmla="*/ 1126 h 1823"/>
                <a:gd name="T26" fmla="*/ 1030 w 1835"/>
                <a:gd name="T27" fmla="*/ 1243 h 1823"/>
                <a:gd name="T28" fmla="*/ 930 w 1835"/>
                <a:gd name="T29" fmla="*/ 1362 h 1823"/>
                <a:gd name="T30" fmla="*/ 823 w 1835"/>
                <a:gd name="T31" fmla="*/ 1475 h 1823"/>
                <a:gd name="T32" fmla="*/ 705 w 1835"/>
                <a:gd name="T33" fmla="*/ 1578 h 1823"/>
                <a:gd name="T34" fmla="*/ 585 w 1835"/>
                <a:gd name="T35" fmla="*/ 1659 h 1823"/>
                <a:gd name="T36" fmla="*/ 470 w 1835"/>
                <a:gd name="T37" fmla="*/ 1719 h 1823"/>
                <a:gd name="T38" fmla="*/ 363 w 1835"/>
                <a:gd name="T39" fmla="*/ 1763 h 1823"/>
                <a:gd name="T40" fmla="*/ 268 w 1835"/>
                <a:gd name="T41" fmla="*/ 1792 h 1823"/>
                <a:gd name="T42" fmla="*/ 187 w 1835"/>
                <a:gd name="T43" fmla="*/ 1810 h 1823"/>
                <a:gd name="T44" fmla="*/ 130 w 1835"/>
                <a:gd name="T45" fmla="*/ 1819 h 1823"/>
                <a:gd name="T46" fmla="*/ 95 w 1835"/>
                <a:gd name="T47" fmla="*/ 1823 h 1823"/>
                <a:gd name="T48" fmla="*/ 71 w 1835"/>
                <a:gd name="T49" fmla="*/ 1822 h 1823"/>
                <a:gd name="T50" fmla="*/ 39 w 1835"/>
                <a:gd name="T51" fmla="*/ 1810 h 1823"/>
                <a:gd name="T52" fmla="*/ 14 w 1835"/>
                <a:gd name="T53" fmla="*/ 1785 h 1823"/>
                <a:gd name="T54" fmla="*/ 1 w 1835"/>
                <a:gd name="T55" fmla="*/ 1753 h 1823"/>
                <a:gd name="T56" fmla="*/ 0 w 1835"/>
                <a:gd name="T57" fmla="*/ 1729 h 1823"/>
                <a:gd name="T58" fmla="*/ 3 w 1835"/>
                <a:gd name="T59" fmla="*/ 1695 h 1823"/>
                <a:gd name="T60" fmla="*/ 13 w 1835"/>
                <a:gd name="T61" fmla="*/ 1636 h 1823"/>
                <a:gd name="T62" fmla="*/ 30 w 1835"/>
                <a:gd name="T63" fmla="*/ 1557 h 1823"/>
                <a:gd name="T64" fmla="*/ 61 w 1835"/>
                <a:gd name="T65" fmla="*/ 1463 h 1823"/>
                <a:gd name="T66" fmla="*/ 105 w 1835"/>
                <a:gd name="T67" fmla="*/ 1357 h 1823"/>
                <a:gd name="T68" fmla="*/ 165 w 1835"/>
                <a:gd name="T69" fmla="*/ 1242 h 1823"/>
                <a:gd name="T70" fmla="*/ 247 w 1835"/>
                <a:gd name="T71" fmla="*/ 1124 h 1823"/>
                <a:gd name="T72" fmla="*/ 351 w 1835"/>
                <a:gd name="T73" fmla="*/ 1007 h 1823"/>
                <a:gd name="T74" fmla="*/ 465 w 1835"/>
                <a:gd name="T75" fmla="*/ 899 h 1823"/>
                <a:gd name="T76" fmla="*/ 583 w 1835"/>
                <a:gd name="T77" fmla="*/ 800 h 1823"/>
                <a:gd name="T78" fmla="*/ 703 w 1835"/>
                <a:gd name="T79" fmla="*/ 712 h 1823"/>
                <a:gd name="T80" fmla="*/ 818 w 1835"/>
                <a:gd name="T81" fmla="*/ 637 h 1823"/>
                <a:gd name="T82" fmla="*/ 927 w 1835"/>
                <a:gd name="T83" fmla="*/ 579 h 1823"/>
                <a:gd name="T84" fmla="*/ 888 w 1835"/>
                <a:gd name="T85" fmla="*/ 374 h 1823"/>
                <a:gd name="T86" fmla="*/ 900 w 1835"/>
                <a:gd name="T87" fmla="*/ 335 h 1823"/>
                <a:gd name="T88" fmla="*/ 1208 w 1835"/>
                <a:gd name="T89" fmla="*/ 25 h 1823"/>
                <a:gd name="T90" fmla="*/ 1246 w 1835"/>
                <a:gd name="T91" fmla="*/ 3 h 18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835" h="1823">
                  <a:moveTo>
                    <a:pt x="1267" y="0"/>
                  </a:moveTo>
                  <a:lnTo>
                    <a:pt x="1289" y="2"/>
                  </a:lnTo>
                  <a:lnTo>
                    <a:pt x="1310" y="11"/>
                  </a:lnTo>
                  <a:lnTo>
                    <a:pt x="1327" y="23"/>
                  </a:lnTo>
                  <a:lnTo>
                    <a:pt x="1341" y="40"/>
                  </a:lnTo>
                  <a:lnTo>
                    <a:pt x="1350" y="60"/>
                  </a:lnTo>
                  <a:lnTo>
                    <a:pt x="1451" y="381"/>
                  </a:lnTo>
                  <a:lnTo>
                    <a:pt x="1776" y="482"/>
                  </a:lnTo>
                  <a:lnTo>
                    <a:pt x="1796" y="491"/>
                  </a:lnTo>
                  <a:lnTo>
                    <a:pt x="1812" y="505"/>
                  </a:lnTo>
                  <a:lnTo>
                    <a:pt x="1825" y="522"/>
                  </a:lnTo>
                  <a:lnTo>
                    <a:pt x="1833" y="543"/>
                  </a:lnTo>
                  <a:lnTo>
                    <a:pt x="1835" y="565"/>
                  </a:lnTo>
                  <a:lnTo>
                    <a:pt x="1832" y="586"/>
                  </a:lnTo>
                  <a:lnTo>
                    <a:pt x="1824" y="606"/>
                  </a:lnTo>
                  <a:lnTo>
                    <a:pt x="1810" y="622"/>
                  </a:lnTo>
                  <a:lnTo>
                    <a:pt x="1515" y="917"/>
                  </a:lnTo>
                  <a:lnTo>
                    <a:pt x="1498" y="929"/>
                  </a:lnTo>
                  <a:lnTo>
                    <a:pt x="1479" y="937"/>
                  </a:lnTo>
                  <a:lnTo>
                    <a:pt x="1459" y="942"/>
                  </a:lnTo>
                  <a:lnTo>
                    <a:pt x="1439" y="939"/>
                  </a:lnTo>
                  <a:lnTo>
                    <a:pt x="1253" y="903"/>
                  </a:lnTo>
                  <a:lnTo>
                    <a:pt x="1226" y="956"/>
                  </a:lnTo>
                  <a:lnTo>
                    <a:pt x="1194" y="1011"/>
                  </a:lnTo>
                  <a:lnTo>
                    <a:pt x="1158" y="1067"/>
                  </a:lnTo>
                  <a:lnTo>
                    <a:pt x="1118" y="1126"/>
                  </a:lnTo>
                  <a:lnTo>
                    <a:pt x="1075" y="1184"/>
                  </a:lnTo>
                  <a:lnTo>
                    <a:pt x="1030" y="1243"/>
                  </a:lnTo>
                  <a:lnTo>
                    <a:pt x="981" y="1302"/>
                  </a:lnTo>
                  <a:lnTo>
                    <a:pt x="930" y="1362"/>
                  </a:lnTo>
                  <a:lnTo>
                    <a:pt x="877" y="1419"/>
                  </a:lnTo>
                  <a:lnTo>
                    <a:pt x="823" y="1475"/>
                  </a:lnTo>
                  <a:lnTo>
                    <a:pt x="763" y="1529"/>
                  </a:lnTo>
                  <a:lnTo>
                    <a:pt x="705" y="1578"/>
                  </a:lnTo>
                  <a:lnTo>
                    <a:pt x="645" y="1622"/>
                  </a:lnTo>
                  <a:lnTo>
                    <a:pt x="585" y="1659"/>
                  </a:lnTo>
                  <a:lnTo>
                    <a:pt x="528" y="1691"/>
                  </a:lnTo>
                  <a:lnTo>
                    <a:pt x="470" y="1719"/>
                  </a:lnTo>
                  <a:lnTo>
                    <a:pt x="416" y="1743"/>
                  </a:lnTo>
                  <a:lnTo>
                    <a:pt x="363" y="1763"/>
                  </a:lnTo>
                  <a:lnTo>
                    <a:pt x="314" y="1780"/>
                  </a:lnTo>
                  <a:lnTo>
                    <a:pt x="268" y="1792"/>
                  </a:lnTo>
                  <a:lnTo>
                    <a:pt x="226" y="1803"/>
                  </a:lnTo>
                  <a:lnTo>
                    <a:pt x="187" y="1810"/>
                  </a:lnTo>
                  <a:lnTo>
                    <a:pt x="156" y="1816"/>
                  </a:lnTo>
                  <a:lnTo>
                    <a:pt x="130" y="1819"/>
                  </a:lnTo>
                  <a:lnTo>
                    <a:pt x="109" y="1821"/>
                  </a:lnTo>
                  <a:lnTo>
                    <a:pt x="95" y="1823"/>
                  </a:lnTo>
                  <a:lnTo>
                    <a:pt x="88" y="1823"/>
                  </a:lnTo>
                  <a:lnTo>
                    <a:pt x="71" y="1822"/>
                  </a:lnTo>
                  <a:lnTo>
                    <a:pt x="54" y="1817"/>
                  </a:lnTo>
                  <a:lnTo>
                    <a:pt x="39" y="1810"/>
                  </a:lnTo>
                  <a:lnTo>
                    <a:pt x="25" y="1799"/>
                  </a:lnTo>
                  <a:lnTo>
                    <a:pt x="14" y="1785"/>
                  </a:lnTo>
                  <a:lnTo>
                    <a:pt x="5" y="1769"/>
                  </a:lnTo>
                  <a:lnTo>
                    <a:pt x="1" y="1753"/>
                  </a:lnTo>
                  <a:lnTo>
                    <a:pt x="0" y="1735"/>
                  </a:lnTo>
                  <a:lnTo>
                    <a:pt x="0" y="1729"/>
                  </a:lnTo>
                  <a:lnTo>
                    <a:pt x="1" y="1715"/>
                  </a:lnTo>
                  <a:lnTo>
                    <a:pt x="3" y="1695"/>
                  </a:lnTo>
                  <a:lnTo>
                    <a:pt x="7" y="1669"/>
                  </a:lnTo>
                  <a:lnTo>
                    <a:pt x="13" y="1636"/>
                  </a:lnTo>
                  <a:lnTo>
                    <a:pt x="21" y="1599"/>
                  </a:lnTo>
                  <a:lnTo>
                    <a:pt x="30" y="1557"/>
                  </a:lnTo>
                  <a:lnTo>
                    <a:pt x="44" y="1511"/>
                  </a:lnTo>
                  <a:lnTo>
                    <a:pt x="61" y="1463"/>
                  </a:lnTo>
                  <a:lnTo>
                    <a:pt x="81" y="1411"/>
                  </a:lnTo>
                  <a:lnTo>
                    <a:pt x="105" y="1357"/>
                  </a:lnTo>
                  <a:lnTo>
                    <a:pt x="133" y="1299"/>
                  </a:lnTo>
                  <a:lnTo>
                    <a:pt x="165" y="1242"/>
                  </a:lnTo>
                  <a:lnTo>
                    <a:pt x="203" y="1183"/>
                  </a:lnTo>
                  <a:lnTo>
                    <a:pt x="247" y="1124"/>
                  </a:lnTo>
                  <a:lnTo>
                    <a:pt x="295" y="1065"/>
                  </a:lnTo>
                  <a:lnTo>
                    <a:pt x="351" y="1007"/>
                  </a:lnTo>
                  <a:lnTo>
                    <a:pt x="407" y="952"/>
                  </a:lnTo>
                  <a:lnTo>
                    <a:pt x="465" y="899"/>
                  </a:lnTo>
                  <a:lnTo>
                    <a:pt x="525" y="849"/>
                  </a:lnTo>
                  <a:lnTo>
                    <a:pt x="583" y="800"/>
                  </a:lnTo>
                  <a:lnTo>
                    <a:pt x="643" y="754"/>
                  </a:lnTo>
                  <a:lnTo>
                    <a:pt x="703" y="712"/>
                  </a:lnTo>
                  <a:lnTo>
                    <a:pt x="761" y="673"/>
                  </a:lnTo>
                  <a:lnTo>
                    <a:pt x="818" y="637"/>
                  </a:lnTo>
                  <a:lnTo>
                    <a:pt x="873" y="606"/>
                  </a:lnTo>
                  <a:lnTo>
                    <a:pt x="927" y="579"/>
                  </a:lnTo>
                  <a:lnTo>
                    <a:pt x="890" y="395"/>
                  </a:lnTo>
                  <a:lnTo>
                    <a:pt x="888" y="374"/>
                  </a:lnTo>
                  <a:lnTo>
                    <a:pt x="892" y="354"/>
                  </a:lnTo>
                  <a:lnTo>
                    <a:pt x="900" y="335"/>
                  </a:lnTo>
                  <a:lnTo>
                    <a:pt x="913" y="319"/>
                  </a:lnTo>
                  <a:lnTo>
                    <a:pt x="1208" y="25"/>
                  </a:lnTo>
                  <a:lnTo>
                    <a:pt x="1226" y="12"/>
                  </a:lnTo>
                  <a:lnTo>
                    <a:pt x="1246" y="3"/>
                  </a:lnTo>
                  <a:lnTo>
                    <a:pt x="126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grpSp>
      <p:sp>
        <p:nvSpPr>
          <p:cNvPr id="64" name="Rectangle 58">
            <a:extLst>
              <a:ext uri="{FF2B5EF4-FFF2-40B4-BE49-F238E27FC236}">
                <a16:creationId xmlns:a16="http://schemas.microsoft.com/office/drawing/2014/main" id="{E759D819-10D8-44BB-A868-010CF4728474}"/>
              </a:ext>
            </a:extLst>
          </p:cNvPr>
          <p:cNvSpPr/>
          <p:nvPr/>
        </p:nvSpPr>
        <p:spPr>
          <a:xfrm>
            <a:off x="7300687" y="3455710"/>
            <a:ext cx="3439884" cy="693395"/>
          </a:xfrm>
          <a:prstGeom prst="rect">
            <a:avLst/>
          </a:prstGeom>
        </p:spPr>
        <p:txBody>
          <a:bodyPr wrap="square">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lumMod val="50000"/>
                    <a:lumOff val="50000"/>
                  </a:srgbClr>
                </a:solidFill>
                <a:effectLst/>
                <a:uLnTx/>
                <a:uFillTx/>
                <a:latin typeface="等线" panose="020F0502020204030204"/>
                <a:ea typeface="+mn-ea"/>
                <a:cs typeface="+mn-cs"/>
              </a:rPr>
              <a:t>Lorem Ipsum is simply dummy text of the printing and typesetting industry. Lorem Ipsum has been the industry's standard dummy text ever since the.</a:t>
            </a:r>
          </a:p>
        </p:txBody>
      </p:sp>
      <p:grpSp>
        <p:nvGrpSpPr>
          <p:cNvPr id="65" name="Group 59">
            <a:extLst>
              <a:ext uri="{FF2B5EF4-FFF2-40B4-BE49-F238E27FC236}">
                <a16:creationId xmlns:a16="http://schemas.microsoft.com/office/drawing/2014/main" id="{01BD9196-C587-43E6-8680-AB5FE19C786F}"/>
              </a:ext>
            </a:extLst>
          </p:cNvPr>
          <p:cNvGrpSpPr/>
          <p:nvPr/>
        </p:nvGrpSpPr>
        <p:grpSpPr>
          <a:xfrm flipH="1">
            <a:off x="6676935" y="3638529"/>
            <a:ext cx="329932" cy="327755"/>
            <a:chOff x="7148513" y="4037013"/>
            <a:chExt cx="481013" cy="477838"/>
          </a:xfrm>
          <a:solidFill>
            <a:schemeClr val="tx2"/>
          </a:solidFill>
        </p:grpSpPr>
        <p:sp>
          <p:nvSpPr>
            <p:cNvPr id="66" name="Freeform 298">
              <a:extLst>
                <a:ext uri="{FF2B5EF4-FFF2-40B4-BE49-F238E27FC236}">
                  <a16:creationId xmlns:a16="http://schemas.microsoft.com/office/drawing/2014/main" id="{33EDDC54-EEE2-481A-9EA8-180894FAD3C6}"/>
                </a:ext>
              </a:extLst>
            </p:cNvPr>
            <p:cNvSpPr>
              <a:spLocks/>
            </p:cNvSpPr>
            <p:nvPr/>
          </p:nvSpPr>
          <p:spPr bwMode="auto">
            <a:xfrm>
              <a:off x="7148513" y="4110038"/>
              <a:ext cx="406400" cy="404813"/>
            </a:xfrm>
            <a:custGeom>
              <a:avLst/>
              <a:gdLst>
                <a:gd name="T0" fmla="*/ 910 w 2818"/>
                <a:gd name="T1" fmla="*/ 10 h 2801"/>
                <a:gd name="T2" fmla="*/ 1156 w 2818"/>
                <a:gd name="T3" fmla="*/ 65 h 2801"/>
                <a:gd name="T4" fmla="*/ 1408 w 2818"/>
                <a:gd name="T5" fmla="*/ 164 h 2801"/>
                <a:gd name="T6" fmla="*/ 1660 w 2818"/>
                <a:gd name="T7" fmla="*/ 305 h 2801"/>
                <a:gd name="T8" fmla="*/ 1667 w 2818"/>
                <a:gd name="T9" fmla="*/ 440 h 2801"/>
                <a:gd name="T10" fmla="*/ 1530 w 2818"/>
                <a:gd name="T11" fmla="*/ 624 h 2801"/>
                <a:gd name="T12" fmla="*/ 1309 w 2818"/>
                <a:gd name="T13" fmla="*/ 493 h 2801"/>
                <a:gd name="T14" fmla="*/ 1092 w 2818"/>
                <a:gd name="T15" fmla="*/ 400 h 2801"/>
                <a:gd name="T16" fmla="*/ 884 w 2818"/>
                <a:gd name="T17" fmla="*/ 348 h 2801"/>
                <a:gd name="T18" fmla="*/ 697 w 2818"/>
                <a:gd name="T19" fmla="*/ 340 h 2801"/>
                <a:gd name="T20" fmla="*/ 554 w 2818"/>
                <a:gd name="T21" fmla="*/ 372 h 2801"/>
                <a:gd name="T22" fmla="*/ 445 w 2818"/>
                <a:gd name="T23" fmla="*/ 444 h 2801"/>
                <a:gd name="T24" fmla="*/ 377 w 2818"/>
                <a:gd name="T25" fmla="*/ 547 h 2801"/>
                <a:gd name="T26" fmla="*/ 344 w 2818"/>
                <a:gd name="T27" fmla="*/ 684 h 2801"/>
                <a:gd name="T28" fmla="*/ 348 w 2818"/>
                <a:gd name="T29" fmla="*/ 849 h 2801"/>
                <a:gd name="T30" fmla="*/ 388 w 2818"/>
                <a:gd name="T31" fmla="*/ 1035 h 2801"/>
                <a:gd name="T32" fmla="*/ 465 w 2818"/>
                <a:gd name="T33" fmla="*/ 1236 h 2801"/>
                <a:gd name="T34" fmla="*/ 580 w 2818"/>
                <a:gd name="T35" fmla="*/ 1449 h 2801"/>
                <a:gd name="T36" fmla="*/ 734 w 2818"/>
                <a:gd name="T37" fmla="*/ 1665 h 2801"/>
                <a:gd name="T38" fmla="*/ 927 w 2818"/>
                <a:gd name="T39" fmla="*/ 1879 h 2801"/>
                <a:gd name="T40" fmla="*/ 1138 w 2818"/>
                <a:gd name="T41" fmla="*/ 2066 h 2801"/>
                <a:gd name="T42" fmla="*/ 1357 w 2818"/>
                <a:gd name="T43" fmla="*/ 2222 h 2801"/>
                <a:gd name="T44" fmla="*/ 1578 w 2818"/>
                <a:gd name="T45" fmla="*/ 2342 h 2801"/>
                <a:gd name="T46" fmla="*/ 1795 w 2818"/>
                <a:gd name="T47" fmla="*/ 2422 h 2801"/>
                <a:gd name="T48" fmla="*/ 2000 w 2818"/>
                <a:gd name="T49" fmla="*/ 2461 h 2801"/>
                <a:gd name="T50" fmla="*/ 2171 w 2818"/>
                <a:gd name="T51" fmla="*/ 2454 h 2801"/>
                <a:gd name="T52" fmla="*/ 2303 w 2818"/>
                <a:gd name="T53" fmla="*/ 2409 h 2801"/>
                <a:gd name="T54" fmla="*/ 2399 w 2818"/>
                <a:gd name="T55" fmla="*/ 2326 h 2801"/>
                <a:gd name="T56" fmla="*/ 2455 w 2818"/>
                <a:gd name="T57" fmla="*/ 2214 h 2801"/>
                <a:gd name="T58" fmla="*/ 2477 w 2818"/>
                <a:gd name="T59" fmla="*/ 2073 h 2801"/>
                <a:gd name="T60" fmla="*/ 2465 w 2818"/>
                <a:gd name="T61" fmla="*/ 1906 h 2801"/>
                <a:gd name="T62" fmla="*/ 2410 w 2818"/>
                <a:gd name="T63" fmla="*/ 1701 h 2801"/>
                <a:gd name="T64" fmla="*/ 2294 w 2818"/>
                <a:gd name="T65" fmla="*/ 1449 h 2801"/>
                <a:gd name="T66" fmla="*/ 2252 w 2818"/>
                <a:gd name="T67" fmla="*/ 1241 h 2801"/>
                <a:gd name="T68" fmla="*/ 2436 w 2818"/>
                <a:gd name="T69" fmla="*/ 1087 h 2801"/>
                <a:gd name="T70" fmla="*/ 2568 w 2818"/>
                <a:gd name="T71" fmla="*/ 1244 h 2801"/>
                <a:gd name="T72" fmla="*/ 2701 w 2818"/>
                <a:gd name="T73" fmla="*/ 1513 h 2801"/>
                <a:gd name="T74" fmla="*/ 2785 w 2818"/>
                <a:gd name="T75" fmla="*/ 1772 h 2801"/>
                <a:gd name="T76" fmla="*/ 2817 w 2818"/>
                <a:gd name="T77" fmla="*/ 2001 h 2801"/>
                <a:gd name="T78" fmla="*/ 2807 w 2818"/>
                <a:gd name="T79" fmla="*/ 2209 h 2801"/>
                <a:gd name="T80" fmla="*/ 2751 w 2818"/>
                <a:gd name="T81" fmla="*/ 2393 h 2801"/>
                <a:gd name="T82" fmla="*/ 2654 w 2818"/>
                <a:gd name="T83" fmla="*/ 2550 h 2801"/>
                <a:gd name="T84" fmla="*/ 2525 w 2818"/>
                <a:gd name="T85" fmla="*/ 2669 h 2801"/>
                <a:gd name="T86" fmla="*/ 2371 w 2818"/>
                <a:gd name="T87" fmla="*/ 2749 h 2801"/>
                <a:gd name="T88" fmla="*/ 2194 w 2818"/>
                <a:gd name="T89" fmla="*/ 2792 h 2801"/>
                <a:gd name="T90" fmla="*/ 1982 w 2818"/>
                <a:gd name="T91" fmla="*/ 2799 h 2801"/>
                <a:gd name="T92" fmla="*/ 1727 w 2818"/>
                <a:gd name="T93" fmla="*/ 2755 h 2801"/>
                <a:gd name="T94" fmla="*/ 1464 w 2818"/>
                <a:gd name="T95" fmla="*/ 2661 h 2801"/>
                <a:gd name="T96" fmla="*/ 1198 w 2818"/>
                <a:gd name="T97" fmla="*/ 2522 h 2801"/>
                <a:gd name="T98" fmla="*/ 936 w 2818"/>
                <a:gd name="T99" fmla="*/ 2340 h 2801"/>
                <a:gd name="T100" fmla="*/ 686 w 2818"/>
                <a:gd name="T101" fmla="*/ 2118 h 2801"/>
                <a:gd name="T102" fmla="*/ 486 w 2818"/>
                <a:gd name="T103" fmla="*/ 1897 h 2801"/>
                <a:gd name="T104" fmla="*/ 317 w 2818"/>
                <a:gd name="T105" fmla="*/ 1669 h 2801"/>
                <a:gd name="T106" fmla="*/ 184 w 2818"/>
                <a:gd name="T107" fmla="*/ 1438 h 2801"/>
                <a:gd name="T108" fmla="*/ 86 w 2818"/>
                <a:gd name="T109" fmla="*/ 1209 h 2801"/>
                <a:gd name="T110" fmla="*/ 24 w 2818"/>
                <a:gd name="T111" fmla="*/ 987 h 2801"/>
                <a:gd name="T112" fmla="*/ 0 w 2818"/>
                <a:gd name="T113" fmla="*/ 776 h 2801"/>
                <a:gd name="T114" fmla="*/ 14 w 2818"/>
                <a:gd name="T115" fmla="*/ 579 h 2801"/>
                <a:gd name="T116" fmla="*/ 68 w 2818"/>
                <a:gd name="T117" fmla="*/ 401 h 2801"/>
                <a:gd name="T118" fmla="*/ 163 w 2818"/>
                <a:gd name="T119" fmla="*/ 249 h 2801"/>
                <a:gd name="T120" fmla="*/ 292 w 2818"/>
                <a:gd name="T121" fmla="*/ 132 h 2801"/>
                <a:gd name="T122" fmla="*/ 445 w 2818"/>
                <a:gd name="T123" fmla="*/ 52 h 2801"/>
                <a:gd name="T124" fmla="*/ 623 w 2818"/>
                <a:gd name="T125" fmla="*/ 8 h 2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818" h="2801">
                  <a:moveTo>
                    <a:pt x="753" y="0"/>
                  </a:moveTo>
                  <a:lnTo>
                    <a:pt x="830" y="2"/>
                  </a:lnTo>
                  <a:lnTo>
                    <a:pt x="910" y="10"/>
                  </a:lnTo>
                  <a:lnTo>
                    <a:pt x="991" y="24"/>
                  </a:lnTo>
                  <a:lnTo>
                    <a:pt x="1073" y="41"/>
                  </a:lnTo>
                  <a:lnTo>
                    <a:pt x="1156" y="65"/>
                  </a:lnTo>
                  <a:lnTo>
                    <a:pt x="1240" y="93"/>
                  </a:lnTo>
                  <a:lnTo>
                    <a:pt x="1323" y="127"/>
                  </a:lnTo>
                  <a:lnTo>
                    <a:pt x="1408" y="164"/>
                  </a:lnTo>
                  <a:lnTo>
                    <a:pt x="1492" y="207"/>
                  </a:lnTo>
                  <a:lnTo>
                    <a:pt x="1577" y="254"/>
                  </a:lnTo>
                  <a:lnTo>
                    <a:pt x="1660" y="305"/>
                  </a:lnTo>
                  <a:lnTo>
                    <a:pt x="1744" y="360"/>
                  </a:lnTo>
                  <a:lnTo>
                    <a:pt x="1724" y="379"/>
                  </a:lnTo>
                  <a:lnTo>
                    <a:pt x="1667" y="440"/>
                  </a:lnTo>
                  <a:lnTo>
                    <a:pt x="1615" y="500"/>
                  </a:lnTo>
                  <a:lnTo>
                    <a:pt x="1570" y="563"/>
                  </a:lnTo>
                  <a:lnTo>
                    <a:pt x="1530" y="624"/>
                  </a:lnTo>
                  <a:lnTo>
                    <a:pt x="1456" y="576"/>
                  </a:lnTo>
                  <a:lnTo>
                    <a:pt x="1383" y="532"/>
                  </a:lnTo>
                  <a:lnTo>
                    <a:pt x="1309" y="493"/>
                  </a:lnTo>
                  <a:lnTo>
                    <a:pt x="1236" y="457"/>
                  </a:lnTo>
                  <a:lnTo>
                    <a:pt x="1163" y="426"/>
                  </a:lnTo>
                  <a:lnTo>
                    <a:pt x="1092" y="400"/>
                  </a:lnTo>
                  <a:lnTo>
                    <a:pt x="1021" y="378"/>
                  </a:lnTo>
                  <a:lnTo>
                    <a:pt x="952" y="361"/>
                  </a:lnTo>
                  <a:lnTo>
                    <a:pt x="884" y="348"/>
                  </a:lnTo>
                  <a:lnTo>
                    <a:pt x="817" y="340"/>
                  </a:lnTo>
                  <a:lnTo>
                    <a:pt x="753" y="338"/>
                  </a:lnTo>
                  <a:lnTo>
                    <a:pt x="697" y="340"/>
                  </a:lnTo>
                  <a:lnTo>
                    <a:pt x="646" y="346"/>
                  </a:lnTo>
                  <a:lnTo>
                    <a:pt x="598" y="358"/>
                  </a:lnTo>
                  <a:lnTo>
                    <a:pt x="554" y="372"/>
                  </a:lnTo>
                  <a:lnTo>
                    <a:pt x="514" y="392"/>
                  </a:lnTo>
                  <a:lnTo>
                    <a:pt x="477" y="416"/>
                  </a:lnTo>
                  <a:lnTo>
                    <a:pt x="445" y="444"/>
                  </a:lnTo>
                  <a:lnTo>
                    <a:pt x="419" y="474"/>
                  </a:lnTo>
                  <a:lnTo>
                    <a:pt x="396" y="508"/>
                  </a:lnTo>
                  <a:lnTo>
                    <a:pt x="377" y="547"/>
                  </a:lnTo>
                  <a:lnTo>
                    <a:pt x="362" y="590"/>
                  </a:lnTo>
                  <a:lnTo>
                    <a:pt x="352" y="635"/>
                  </a:lnTo>
                  <a:lnTo>
                    <a:pt x="344" y="684"/>
                  </a:lnTo>
                  <a:lnTo>
                    <a:pt x="341" y="736"/>
                  </a:lnTo>
                  <a:lnTo>
                    <a:pt x="343" y="791"/>
                  </a:lnTo>
                  <a:lnTo>
                    <a:pt x="348" y="849"/>
                  </a:lnTo>
                  <a:lnTo>
                    <a:pt x="357" y="908"/>
                  </a:lnTo>
                  <a:lnTo>
                    <a:pt x="371" y="970"/>
                  </a:lnTo>
                  <a:lnTo>
                    <a:pt x="388" y="1035"/>
                  </a:lnTo>
                  <a:lnTo>
                    <a:pt x="409" y="1100"/>
                  </a:lnTo>
                  <a:lnTo>
                    <a:pt x="436" y="1168"/>
                  </a:lnTo>
                  <a:lnTo>
                    <a:pt x="465" y="1236"/>
                  </a:lnTo>
                  <a:lnTo>
                    <a:pt x="499" y="1306"/>
                  </a:lnTo>
                  <a:lnTo>
                    <a:pt x="538" y="1377"/>
                  </a:lnTo>
                  <a:lnTo>
                    <a:pt x="580" y="1449"/>
                  </a:lnTo>
                  <a:lnTo>
                    <a:pt x="627" y="1520"/>
                  </a:lnTo>
                  <a:lnTo>
                    <a:pt x="678" y="1592"/>
                  </a:lnTo>
                  <a:lnTo>
                    <a:pt x="734" y="1665"/>
                  </a:lnTo>
                  <a:lnTo>
                    <a:pt x="794" y="1737"/>
                  </a:lnTo>
                  <a:lnTo>
                    <a:pt x="859" y="1807"/>
                  </a:lnTo>
                  <a:lnTo>
                    <a:pt x="927" y="1879"/>
                  </a:lnTo>
                  <a:lnTo>
                    <a:pt x="996" y="1945"/>
                  </a:lnTo>
                  <a:lnTo>
                    <a:pt x="1066" y="2007"/>
                  </a:lnTo>
                  <a:lnTo>
                    <a:pt x="1138" y="2066"/>
                  </a:lnTo>
                  <a:lnTo>
                    <a:pt x="1210" y="2123"/>
                  </a:lnTo>
                  <a:lnTo>
                    <a:pt x="1284" y="2173"/>
                  </a:lnTo>
                  <a:lnTo>
                    <a:pt x="1357" y="2222"/>
                  </a:lnTo>
                  <a:lnTo>
                    <a:pt x="1431" y="2266"/>
                  </a:lnTo>
                  <a:lnTo>
                    <a:pt x="1504" y="2306"/>
                  </a:lnTo>
                  <a:lnTo>
                    <a:pt x="1578" y="2342"/>
                  </a:lnTo>
                  <a:lnTo>
                    <a:pt x="1651" y="2373"/>
                  </a:lnTo>
                  <a:lnTo>
                    <a:pt x="1723" y="2400"/>
                  </a:lnTo>
                  <a:lnTo>
                    <a:pt x="1795" y="2422"/>
                  </a:lnTo>
                  <a:lnTo>
                    <a:pt x="1865" y="2440"/>
                  </a:lnTo>
                  <a:lnTo>
                    <a:pt x="1933" y="2452"/>
                  </a:lnTo>
                  <a:lnTo>
                    <a:pt x="2000" y="2461"/>
                  </a:lnTo>
                  <a:lnTo>
                    <a:pt x="2065" y="2463"/>
                  </a:lnTo>
                  <a:lnTo>
                    <a:pt x="2119" y="2461"/>
                  </a:lnTo>
                  <a:lnTo>
                    <a:pt x="2171" y="2454"/>
                  </a:lnTo>
                  <a:lnTo>
                    <a:pt x="2220" y="2443"/>
                  </a:lnTo>
                  <a:lnTo>
                    <a:pt x="2264" y="2428"/>
                  </a:lnTo>
                  <a:lnTo>
                    <a:pt x="2303" y="2409"/>
                  </a:lnTo>
                  <a:lnTo>
                    <a:pt x="2340" y="2385"/>
                  </a:lnTo>
                  <a:lnTo>
                    <a:pt x="2371" y="2357"/>
                  </a:lnTo>
                  <a:lnTo>
                    <a:pt x="2399" y="2326"/>
                  </a:lnTo>
                  <a:lnTo>
                    <a:pt x="2421" y="2293"/>
                  </a:lnTo>
                  <a:lnTo>
                    <a:pt x="2439" y="2256"/>
                  </a:lnTo>
                  <a:lnTo>
                    <a:pt x="2455" y="2214"/>
                  </a:lnTo>
                  <a:lnTo>
                    <a:pt x="2467" y="2170"/>
                  </a:lnTo>
                  <a:lnTo>
                    <a:pt x="2474" y="2123"/>
                  </a:lnTo>
                  <a:lnTo>
                    <a:pt x="2477" y="2073"/>
                  </a:lnTo>
                  <a:lnTo>
                    <a:pt x="2477" y="2020"/>
                  </a:lnTo>
                  <a:lnTo>
                    <a:pt x="2473" y="1964"/>
                  </a:lnTo>
                  <a:lnTo>
                    <a:pt x="2465" y="1906"/>
                  </a:lnTo>
                  <a:lnTo>
                    <a:pt x="2453" y="1847"/>
                  </a:lnTo>
                  <a:lnTo>
                    <a:pt x="2436" y="1785"/>
                  </a:lnTo>
                  <a:lnTo>
                    <a:pt x="2410" y="1701"/>
                  </a:lnTo>
                  <a:lnTo>
                    <a:pt x="2377" y="1618"/>
                  </a:lnTo>
                  <a:lnTo>
                    <a:pt x="2338" y="1533"/>
                  </a:lnTo>
                  <a:lnTo>
                    <a:pt x="2294" y="1449"/>
                  </a:lnTo>
                  <a:lnTo>
                    <a:pt x="2245" y="1364"/>
                  </a:lnTo>
                  <a:lnTo>
                    <a:pt x="2190" y="1280"/>
                  </a:lnTo>
                  <a:lnTo>
                    <a:pt x="2252" y="1241"/>
                  </a:lnTo>
                  <a:lnTo>
                    <a:pt x="2314" y="1195"/>
                  </a:lnTo>
                  <a:lnTo>
                    <a:pt x="2376" y="1144"/>
                  </a:lnTo>
                  <a:lnTo>
                    <a:pt x="2436" y="1087"/>
                  </a:lnTo>
                  <a:lnTo>
                    <a:pt x="2455" y="1068"/>
                  </a:lnTo>
                  <a:lnTo>
                    <a:pt x="2514" y="1155"/>
                  </a:lnTo>
                  <a:lnTo>
                    <a:pt x="2568" y="1244"/>
                  </a:lnTo>
                  <a:lnTo>
                    <a:pt x="2617" y="1333"/>
                  </a:lnTo>
                  <a:lnTo>
                    <a:pt x="2662" y="1424"/>
                  </a:lnTo>
                  <a:lnTo>
                    <a:pt x="2701" y="1513"/>
                  </a:lnTo>
                  <a:lnTo>
                    <a:pt x="2736" y="1603"/>
                  </a:lnTo>
                  <a:lnTo>
                    <a:pt x="2764" y="1692"/>
                  </a:lnTo>
                  <a:lnTo>
                    <a:pt x="2785" y="1772"/>
                  </a:lnTo>
                  <a:lnTo>
                    <a:pt x="2801" y="1850"/>
                  </a:lnTo>
                  <a:lnTo>
                    <a:pt x="2812" y="1927"/>
                  </a:lnTo>
                  <a:lnTo>
                    <a:pt x="2817" y="2001"/>
                  </a:lnTo>
                  <a:lnTo>
                    <a:pt x="2818" y="2073"/>
                  </a:lnTo>
                  <a:lnTo>
                    <a:pt x="2815" y="2142"/>
                  </a:lnTo>
                  <a:lnTo>
                    <a:pt x="2807" y="2209"/>
                  </a:lnTo>
                  <a:lnTo>
                    <a:pt x="2793" y="2273"/>
                  </a:lnTo>
                  <a:lnTo>
                    <a:pt x="2774" y="2335"/>
                  </a:lnTo>
                  <a:lnTo>
                    <a:pt x="2751" y="2393"/>
                  </a:lnTo>
                  <a:lnTo>
                    <a:pt x="2724" y="2449"/>
                  </a:lnTo>
                  <a:lnTo>
                    <a:pt x="2692" y="2501"/>
                  </a:lnTo>
                  <a:lnTo>
                    <a:pt x="2654" y="2550"/>
                  </a:lnTo>
                  <a:lnTo>
                    <a:pt x="2612" y="2596"/>
                  </a:lnTo>
                  <a:lnTo>
                    <a:pt x="2570" y="2634"/>
                  </a:lnTo>
                  <a:lnTo>
                    <a:pt x="2525" y="2669"/>
                  </a:lnTo>
                  <a:lnTo>
                    <a:pt x="2477" y="2700"/>
                  </a:lnTo>
                  <a:lnTo>
                    <a:pt x="2426" y="2726"/>
                  </a:lnTo>
                  <a:lnTo>
                    <a:pt x="2371" y="2749"/>
                  </a:lnTo>
                  <a:lnTo>
                    <a:pt x="2315" y="2767"/>
                  </a:lnTo>
                  <a:lnTo>
                    <a:pt x="2256" y="2782"/>
                  </a:lnTo>
                  <a:lnTo>
                    <a:pt x="2194" y="2792"/>
                  </a:lnTo>
                  <a:lnTo>
                    <a:pt x="2131" y="2799"/>
                  </a:lnTo>
                  <a:lnTo>
                    <a:pt x="2065" y="2801"/>
                  </a:lnTo>
                  <a:lnTo>
                    <a:pt x="1982" y="2799"/>
                  </a:lnTo>
                  <a:lnTo>
                    <a:pt x="1898" y="2789"/>
                  </a:lnTo>
                  <a:lnTo>
                    <a:pt x="1813" y="2775"/>
                  </a:lnTo>
                  <a:lnTo>
                    <a:pt x="1727" y="2755"/>
                  </a:lnTo>
                  <a:lnTo>
                    <a:pt x="1640" y="2729"/>
                  </a:lnTo>
                  <a:lnTo>
                    <a:pt x="1552" y="2698"/>
                  </a:lnTo>
                  <a:lnTo>
                    <a:pt x="1464" y="2661"/>
                  </a:lnTo>
                  <a:lnTo>
                    <a:pt x="1375" y="2620"/>
                  </a:lnTo>
                  <a:lnTo>
                    <a:pt x="1286" y="2574"/>
                  </a:lnTo>
                  <a:lnTo>
                    <a:pt x="1198" y="2522"/>
                  </a:lnTo>
                  <a:lnTo>
                    <a:pt x="1110" y="2466"/>
                  </a:lnTo>
                  <a:lnTo>
                    <a:pt x="1022" y="2405"/>
                  </a:lnTo>
                  <a:lnTo>
                    <a:pt x="936" y="2340"/>
                  </a:lnTo>
                  <a:lnTo>
                    <a:pt x="851" y="2270"/>
                  </a:lnTo>
                  <a:lnTo>
                    <a:pt x="767" y="2196"/>
                  </a:lnTo>
                  <a:lnTo>
                    <a:pt x="686" y="2118"/>
                  </a:lnTo>
                  <a:lnTo>
                    <a:pt x="616" y="2046"/>
                  </a:lnTo>
                  <a:lnTo>
                    <a:pt x="549" y="1972"/>
                  </a:lnTo>
                  <a:lnTo>
                    <a:pt x="486" y="1897"/>
                  </a:lnTo>
                  <a:lnTo>
                    <a:pt x="426" y="1822"/>
                  </a:lnTo>
                  <a:lnTo>
                    <a:pt x="370" y="1746"/>
                  </a:lnTo>
                  <a:lnTo>
                    <a:pt x="317" y="1669"/>
                  </a:lnTo>
                  <a:lnTo>
                    <a:pt x="269" y="1592"/>
                  </a:lnTo>
                  <a:lnTo>
                    <a:pt x="225" y="1515"/>
                  </a:lnTo>
                  <a:lnTo>
                    <a:pt x="184" y="1438"/>
                  </a:lnTo>
                  <a:lnTo>
                    <a:pt x="148" y="1362"/>
                  </a:lnTo>
                  <a:lnTo>
                    <a:pt x="114" y="1285"/>
                  </a:lnTo>
                  <a:lnTo>
                    <a:pt x="86" y="1209"/>
                  </a:lnTo>
                  <a:lnTo>
                    <a:pt x="61" y="1135"/>
                  </a:lnTo>
                  <a:lnTo>
                    <a:pt x="41" y="1061"/>
                  </a:lnTo>
                  <a:lnTo>
                    <a:pt x="24" y="987"/>
                  </a:lnTo>
                  <a:lnTo>
                    <a:pt x="12" y="915"/>
                  </a:lnTo>
                  <a:lnTo>
                    <a:pt x="3" y="844"/>
                  </a:lnTo>
                  <a:lnTo>
                    <a:pt x="0" y="776"/>
                  </a:lnTo>
                  <a:lnTo>
                    <a:pt x="0" y="708"/>
                  </a:lnTo>
                  <a:lnTo>
                    <a:pt x="5" y="643"/>
                  </a:lnTo>
                  <a:lnTo>
                    <a:pt x="14" y="579"/>
                  </a:lnTo>
                  <a:lnTo>
                    <a:pt x="27" y="518"/>
                  </a:lnTo>
                  <a:lnTo>
                    <a:pt x="46" y="459"/>
                  </a:lnTo>
                  <a:lnTo>
                    <a:pt x="68" y="401"/>
                  </a:lnTo>
                  <a:lnTo>
                    <a:pt x="95" y="348"/>
                  </a:lnTo>
                  <a:lnTo>
                    <a:pt x="127" y="297"/>
                  </a:lnTo>
                  <a:lnTo>
                    <a:pt x="163" y="249"/>
                  </a:lnTo>
                  <a:lnTo>
                    <a:pt x="204" y="205"/>
                  </a:lnTo>
                  <a:lnTo>
                    <a:pt x="247" y="166"/>
                  </a:lnTo>
                  <a:lnTo>
                    <a:pt x="292" y="132"/>
                  </a:lnTo>
                  <a:lnTo>
                    <a:pt x="340" y="101"/>
                  </a:lnTo>
                  <a:lnTo>
                    <a:pt x="392" y="75"/>
                  </a:lnTo>
                  <a:lnTo>
                    <a:pt x="445" y="52"/>
                  </a:lnTo>
                  <a:lnTo>
                    <a:pt x="501" y="33"/>
                  </a:lnTo>
                  <a:lnTo>
                    <a:pt x="561" y="19"/>
                  </a:lnTo>
                  <a:lnTo>
                    <a:pt x="623" y="8"/>
                  </a:lnTo>
                  <a:lnTo>
                    <a:pt x="687" y="2"/>
                  </a:lnTo>
                  <a:lnTo>
                    <a:pt x="75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67" name="Freeform 299">
              <a:extLst>
                <a:ext uri="{FF2B5EF4-FFF2-40B4-BE49-F238E27FC236}">
                  <a16:creationId xmlns:a16="http://schemas.microsoft.com/office/drawing/2014/main" id="{14C46D57-DAC8-4682-B0DC-46F573B8E147}"/>
                </a:ext>
              </a:extLst>
            </p:cNvPr>
            <p:cNvSpPr>
              <a:spLocks/>
            </p:cNvSpPr>
            <p:nvPr/>
          </p:nvSpPr>
          <p:spPr bwMode="auto">
            <a:xfrm>
              <a:off x="7251701" y="4195763"/>
              <a:ext cx="217488" cy="215900"/>
            </a:xfrm>
            <a:custGeom>
              <a:avLst/>
              <a:gdLst>
                <a:gd name="T0" fmla="*/ 370 w 1504"/>
                <a:gd name="T1" fmla="*/ 2 h 1493"/>
                <a:gd name="T2" fmla="*/ 469 w 1504"/>
                <a:gd name="T3" fmla="*/ 22 h 1493"/>
                <a:gd name="T4" fmla="*/ 576 w 1504"/>
                <a:gd name="T5" fmla="*/ 60 h 1493"/>
                <a:gd name="T6" fmla="*/ 688 w 1504"/>
                <a:gd name="T7" fmla="*/ 115 h 1493"/>
                <a:gd name="T8" fmla="*/ 717 w 1504"/>
                <a:gd name="T9" fmla="*/ 206 h 1493"/>
                <a:gd name="T10" fmla="*/ 674 w 1504"/>
                <a:gd name="T11" fmla="*/ 315 h 1493"/>
                <a:gd name="T12" fmla="*/ 644 w 1504"/>
                <a:gd name="T13" fmla="*/ 413 h 1493"/>
                <a:gd name="T14" fmla="*/ 624 w 1504"/>
                <a:gd name="T15" fmla="*/ 497 h 1493"/>
                <a:gd name="T16" fmla="*/ 614 w 1504"/>
                <a:gd name="T17" fmla="*/ 562 h 1493"/>
                <a:gd name="T18" fmla="*/ 608 w 1504"/>
                <a:gd name="T19" fmla="*/ 606 h 1493"/>
                <a:gd name="T20" fmla="*/ 606 w 1504"/>
                <a:gd name="T21" fmla="*/ 626 h 1493"/>
                <a:gd name="T22" fmla="*/ 614 w 1504"/>
                <a:gd name="T23" fmla="*/ 695 h 1493"/>
                <a:gd name="T24" fmla="*/ 639 w 1504"/>
                <a:gd name="T25" fmla="*/ 761 h 1493"/>
                <a:gd name="T26" fmla="*/ 682 w 1504"/>
                <a:gd name="T27" fmla="*/ 816 h 1493"/>
                <a:gd name="T28" fmla="*/ 737 w 1504"/>
                <a:gd name="T29" fmla="*/ 859 h 1493"/>
                <a:gd name="T30" fmla="*/ 802 w 1504"/>
                <a:gd name="T31" fmla="*/ 884 h 1493"/>
                <a:gd name="T32" fmla="*/ 872 w 1504"/>
                <a:gd name="T33" fmla="*/ 890 h 1493"/>
                <a:gd name="T34" fmla="*/ 892 w 1504"/>
                <a:gd name="T35" fmla="*/ 889 h 1493"/>
                <a:gd name="T36" fmla="*/ 937 w 1504"/>
                <a:gd name="T37" fmla="*/ 884 h 1493"/>
                <a:gd name="T38" fmla="*/ 1003 w 1504"/>
                <a:gd name="T39" fmla="*/ 872 h 1493"/>
                <a:gd name="T40" fmla="*/ 1088 w 1504"/>
                <a:gd name="T41" fmla="*/ 853 h 1493"/>
                <a:gd name="T42" fmla="*/ 1186 w 1504"/>
                <a:gd name="T43" fmla="*/ 823 h 1493"/>
                <a:gd name="T44" fmla="*/ 1296 w 1504"/>
                <a:gd name="T45" fmla="*/ 780 h 1493"/>
                <a:gd name="T46" fmla="*/ 1386 w 1504"/>
                <a:gd name="T47" fmla="*/ 807 h 1493"/>
                <a:gd name="T48" fmla="*/ 1440 w 1504"/>
                <a:gd name="T49" fmla="*/ 911 h 1493"/>
                <a:gd name="T50" fmla="*/ 1477 w 1504"/>
                <a:gd name="T51" fmla="*/ 1011 h 1493"/>
                <a:gd name="T52" fmla="*/ 1497 w 1504"/>
                <a:gd name="T53" fmla="*/ 1098 h 1493"/>
                <a:gd name="T54" fmla="*/ 1504 w 1504"/>
                <a:gd name="T55" fmla="*/ 1175 h 1493"/>
                <a:gd name="T56" fmla="*/ 1497 w 1504"/>
                <a:gd name="T57" fmla="*/ 1240 h 1493"/>
                <a:gd name="T58" fmla="*/ 1483 w 1504"/>
                <a:gd name="T59" fmla="*/ 1295 h 1493"/>
                <a:gd name="T60" fmla="*/ 1463 w 1504"/>
                <a:gd name="T61" fmla="*/ 1340 h 1493"/>
                <a:gd name="T62" fmla="*/ 1439 w 1504"/>
                <a:gd name="T63" fmla="*/ 1377 h 1493"/>
                <a:gd name="T64" fmla="*/ 1414 w 1504"/>
                <a:gd name="T65" fmla="*/ 1405 h 1493"/>
                <a:gd name="T66" fmla="*/ 1382 w 1504"/>
                <a:gd name="T67" fmla="*/ 1432 h 1493"/>
                <a:gd name="T68" fmla="*/ 1339 w 1504"/>
                <a:gd name="T69" fmla="*/ 1458 h 1493"/>
                <a:gd name="T70" fmla="*/ 1285 w 1504"/>
                <a:gd name="T71" fmla="*/ 1479 h 1493"/>
                <a:gd name="T72" fmla="*/ 1219 w 1504"/>
                <a:gd name="T73" fmla="*/ 1491 h 1493"/>
                <a:gd name="T74" fmla="*/ 1134 w 1504"/>
                <a:gd name="T75" fmla="*/ 1491 h 1493"/>
                <a:gd name="T76" fmla="*/ 1036 w 1504"/>
                <a:gd name="T77" fmla="*/ 1471 h 1493"/>
                <a:gd name="T78" fmla="*/ 930 w 1504"/>
                <a:gd name="T79" fmla="*/ 1435 h 1493"/>
                <a:gd name="T80" fmla="*/ 819 w 1504"/>
                <a:gd name="T81" fmla="*/ 1381 h 1493"/>
                <a:gd name="T82" fmla="*/ 706 w 1504"/>
                <a:gd name="T83" fmla="*/ 1311 h 1493"/>
                <a:gd name="T84" fmla="*/ 591 w 1504"/>
                <a:gd name="T85" fmla="*/ 1227 h 1493"/>
                <a:gd name="T86" fmla="*/ 477 w 1504"/>
                <a:gd name="T87" fmla="*/ 1129 h 1493"/>
                <a:gd name="T88" fmla="*/ 362 w 1504"/>
                <a:gd name="T89" fmla="*/ 1015 h 1493"/>
                <a:gd name="T90" fmla="*/ 257 w 1504"/>
                <a:gd name="T91" fmla="*/ 892 h 1493"/>
                <a:gd name="T92" fmla="*/ 166 w 1504"/>
                <a:gd name="T93" fmla="*/ 766 h 1493"/>
                <a:gd name="T94" fmla="*/ 93 w 1504"/>
                <a:gd name="T95" fmla="*/ 642 h 1493"/>
                <a:gd name="T96" fmla="*/ 43 w 1504"/>
                <a:gd name="T97" fmla="*/ 531 h 1493"/>
                <a:gd name="T98" fmla="*/ 15 w 1504"/>
                <a:gd name="T99" fmla="*/ 437 h 1493"/>
                <a:gd name="T100" fmla="*/ 1 w 1504"/>
                <a:gd name="T101" fmla="*/ 355 h 1493"/>
                <a:gd name="T102" fmla="*/ 2 w 1504"/>
                <a:gd name="T103" fmla="*/ 285 h 1493"/>
                <a:gd name="T104" fmla="*/ 13 w 1504"/>
                <a:gd name="T105" fmla="*/ 224 h 1493"/>
                <a:gd name="T106" fmla="*/ 31 w 1504"/>
                <a:gd name="T107" fmla="*/ 173 h 1493"/>
                <a:gd name="T108" fmla="*/ 53 w 1504"/>
                <a:gd name="T109" fmla="*/ 133 h 1493"/>
                <a:gd name="T110" fmla="*/ 78 w 1504"/>
                <a:gd name="T111" fmla="*/ 102 h 1493"/>
                <a:gd name="T112" fmla="*/ 105 w 1504"/>
                <a:gd name="T113" fmla="*/ 75 h 1493"/>
                <a:gd name="T114" fmla="*/ 142 w 1504"/>
                <a:gd name="T115" fmla="*/ 48 h 1493"/>
                <a:gd name="T116" fmla="*/ 190 w 1504"/>
                <a:gd name="T117" fmla="*/ 24 h 1493"/>
                <a:gd name="T118" fmla="*/ 250 w 1504"/>
                <a:gd name="T119" fmla="*/ 6 h 1493"/>
                <a:gd name="T120" fmla="*/ 323 w 1504"/>
                <a:gd name="T121" fmla="*/ 0 h 14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504" h="1493">
                  <a:moveTo>
                    <a:pt x="323" y="0"/>
                  </a:moveTo>
                  <a:lnTo>
                    <a:pt x="370" y="2"/>
                  </a:lnTo>
                  <a:lnTo>
                    <a:pt x="418" y="10"/>
                  </a:lnTo>
                  <a:lnTo>
                    <a:pt x="469" y="22"/>
                  </a:lnTo>
                  <a:lnTo>
                    <a:pt x="522" y="39"/>
                  </a:lnTo>
                  <a:lnTo>
                    <a:pt x="576" y="60"/>
                  </a:lnTo>
                  <a:lnTo>
                    <a:pt x="631" y="86"/>
                  </a:lnTo>
                  <a:lnTo>
                    <a:pt x="688" y="115"/>
                  </a:lnTo>
                  <a:lnTo>
                    <a:pt x="745" y="148"/>
                  </a:lnTo>
                  <a:lnTo>
                    <a:pt x="717" y="206"/>
                  </a:lnTo>
                  <a:lnTo>
                    <a:pt x="694" y="262"/>
                  </a:lnTo>
                  <a:lnTo>
                    <a:pt x="674" y="315"/>
                  </a:lnTo>
                  <a:lnTo>
                    <a:pt x="658" y="366"/>
                  </a:lnTo>
                  <a:lnTo>
                    <a:pt x="644" y="413"/>
                  </a:lnTo>
                  <a:lnTo>
                    <a:pt x="634" y="456"/>
                  </a:lnTo>
                  <a:lnTo>
                    <a:pt x="624" y="497"/>
                  </a:lnTo>
                  <a:lnTo>
                    <a:pt x="618" y="531"/>
                  </a:lnTo>
                  <a:lnTo>
                    <a:pt x="614" y="562"/>
                  </a:lnTo>
                  <a:lnTo>
                    <a:pt x="611" y="587"/>
                  </a:lnTo>
                  <a:lnTo>
                    <a:pt x="608" y="606"/>
                  </a:lnTo>
                  <a:lnTo>
                    <a:pt x="607" y="620"/>
                  </a:lnTo>
                  <a:lnTo>
                    <a:pt x="606" y="626"/>
                  </a:lnTo>
                  <a:lnTo>
                    <a:pt x="607" y="661"/>
                  </a:lnTo>
                  <a:lnTo>
                    <a:pt x="614" y="695"/>
                  </a:lnTo>
                  <a:lnTo>
                    <a:pt x="624" y="729"/>
                  </a:lnTo>
                  <a:lnTo>
                    <a:pt x="639" y="761"/>
                  </a:lnTo>
                  <a:lnTo>
                    <a:pt x="658" y="790"/>
                  </a:lnTo>
                  <a:lnTo>
                    <a:pt x="682" y="816"/>
                  </a:lnTo>
                  <a:lnTo>
                    <a:pt x="708" y="839"/>
                  </a:lnTo>
                  <a:lnTo>
                    <a:pt x="737" y="859"/>
                  </a:lnTo>
                  <a:lnTo>
                    <a:pt x="769" y="873"/>
                  </a:lnTo>
                  <a:lnTo>
                    <a:pt x="802" y="884"/>
                  </a:lnTo>
                  <a:lnTo>
                    <a:pt x="838" y="890"/>
                  </a:lnTo>
                  <a:lnTo>
                    <a:pt x="872" y="890"/>
                  </a:lnTo>
                  <a:lnTo>
                    <a:pt x="880" y="890"/>
                  </a:lnTo>
                  <a:lnTo>
                    <a:pt x="892" y="889"/>
                  </a:lnTo>
                  <a:lnTo>
                    <a:pt x="912" y="887"/>
                  </a:lnTo>
                  <a:lnTo>
                    <a:pt x="937" y="884"/>
                  </a:lnTo>
                  <a:lnTo>
                    <a:pt x="968" y="880"/>
                  </a:lnTo>
                  <a:lnTo>
                    <a:pt x="1003" y="872"/>
                  </a:lnTo>
                  <a:lnTo>
                    <a:pt x="1044" y="864"/>
                  </a:lnTo>
                  <a:lnTo>
                    <a:pt x="1088" y="853"/>
                  </a:lnTo>
                  <a:lnTo>
                    <a:pt x="1136" y="839"/>
                  </a:lnTo>
                  <a:lnTo>
                    <a:pt x="1186" y="823"/>
                  </a:lnTo>
                  <a:lnTo>
                    <a:pt x="1241" y="804"/>
                  </a:lnTo>
                  <a:lnTo>
                    <a:pt x="1296" y="780"/>
                  </a:lnTo>
                  <a:lnTo>
                    <a:pt x="1355" y="753"/>
                  </a:lnTo>
                  <a:lnTo>
                    <a:pt x="1386" y="807"/>
                  </a:lnTo>
                  <a:lnTo>
                    <a:pt x="1415" y="859"/>
                  </a:lnTo>
                  <a:lnTo>
                    <a:pt x="1440" y="911"/>
                  </a:lnTo>
                  <a:lnTo>
                    <a:pt x="1461" y="962"/>
                  </a:lnTo>
                  <a:lnTo>
                    <a:pt x="1477" y="1011"/>
                  </a:lnTo>
                  <a:lnTo>
                    <a:pt x="1489" y="1056"/>
                  </a:lnTo>
                  <a:lnTo>
                    <a:pt x="1497" y="1098"/>
                  </a:lnTo>
                  <a:lnTo>
                    <a:pt x="1502" y="1137"/>
                  </a:lnTo>
                  <a:lnTo>
                    <a:pt x="1504" y="1175"/>
                  </a:lnTo>
                  <a:lnTo>
                    <a:pt x="1502" y="1208"/>
                  </a:lnTo>
                  <a:lnTo>
                    <a:pt x="1497" y="1240"/>
                  </a:lnTo>
                  <a:lnTo>
                    <a:pt x="1491" y="1269"/>
                  </a:lnTo>
                  <a:lnTo>
                    <a:pt x="1483" y="1295"/>
                  </a:lnTo>
                  <a:lnTo>
                    <a:pt x="1473" y="1318"/>
                  </a:lnTo>
                  <a:lnTo>
                    <a:pt x="1463" y="1340"/>
                  </a:lnTo>
                  <a:lnTo>
                    <a:pt x="1450" y="1360"/>
                  </a:lnTo>
                  <a:lnTo>
                    <a:pt x="1439" y="1377"/>
                  </a:lnTo>
                  <a:lnTo>
                    <a:pt x="1426" y="1391"/>
                  </a:lnTo>
                  <a:lnTo>
                    <a:pt x="1414" y="1405"/>
                  </a:lnTo>
                  <a:lnTo>
                    <a:pt x="1399" y="1418"/>
                  </a:lnTo>
                  <a:lnTo>
                    <a:pt x="1382" y="1432"/>
                  </a:lnTo>
                  <a:lnTo>
                    <a:pt x="1361" y="1445"/>
                  </a:lnTo>
                  <a:lnTo>
                    <a:pt x="1339" y="1458"/>
                  </a:lnTo>
                  <a:lnTo>
                    <a:pt x="1313" y="1469"/>
                  </a:lnTo>
                  <a:lnTo>
                    <a:pt x="1285" y="1479"/>
                  </a:lnTo>
                  <a:lnTo>
                    <a:pt x="1253" y="1487"/>
                  </a:lnTo>
                  <a:lnTo>
                    <a:pt x="1219" y="1491"/>
                  </a:lnTo>
                  <a:lnTo>
                    <a:pt x="1180" y="1493"/>
                  </a:lnTo>
                  <a:lnTo>
                    <a:pt x="1134" y="1491"/>
                  </a:lnTo>
                  <a:lnTo>
                    <a:pt x="1086" y="1484"/>
                  </a:lnTo>
                  <a:lnTo>
                    <a:pt x="1036" y="1471"/>
                  </a:lnTo>
                  <a:lnTo>
                    <a:pt x="983" y="1456"/>
                  </a:lnTo>
                  <a:lnTo>
                    <a:pt x="930" y="1435"/>
                  </a:lnTo>
                  <a:lnTo>
                    <a:pt x="875" y="1410"/>
                  </a:lnTo>
                  <a:lnTo>
                    <a:pt x="819" y="1381"/>
                  </a:lnTo>
                  <a:lnTo>
                    <a:pt x="762" y="1348"/>
                  </a:lnTo>
                  <a:lnTo>
                    <a:pt x="706" y="1311"/>
                  </a:lnTo>
                  <a:lnTo>
                    <a:pt x="648" y="1271"/>
                  </a:lnTo>
                  <a:lnTo>
                    <a:pt x="591" y="1227"/>
                  </a:lnTo>
                  <a:lnTo>
                    <a:pt x="533" y="1180"/>
                  </a:lnTo>
                  <a:lnTo>
                    <a:pt x="477" y="1129"/>
                  </a:lnTo>
                  <a:lnTo>
                    <a:pt x="421" y="1075"/>
                  </a:lnTo>
                  <a:lnTo>
                    <a:pt x="362" y="1015"/>
                  </a:lnTo>
                  <a:lnTo>
                    <a:pt x="308" y="954"/>
                  </a:lnTo>
                  <a:lnTo>
                    <a:pt x="257" y="892"/>
                  </a:lnTo>
                  <a:lnTo>
                    <a:pt x="210" y="830"/>
                  </a:lnTo>
                  <a:lnTo>
                    <a:pt x="166" y="766"/>
                  </a:lnTo>
                  <a:lnTo>
                    <a:pt x="127" y="705"/>
                  </a:lnTo>
                  <a:lnTo>
                    <a:pt x="93" y="642"/>
                  </a:lnTo>
                  <a:lnTo>
                    <a:pt x="64" y="582"/>
                  </a:lnTo>
                  <a:lnTo>
                    <a:pt x="43" y="531"/>
                  </a:lnTo>
                  <a:lnTo>
                    <a:pt x="26" y="482"/>
                  </a:lnTo>
                  <a:lnTo>
                    <a:pt x="15" y="437"/>
                  </a:lnTo>
                  <a:lnTo>
                    <a:pt x="6" y="395"/>
                  </a:lnTo>
                  <a:lnTo>
                    <a:pt x="1" y="355"/>
                  </a:lnTo>
                  <a:lnTo>
                    <a:pt x="0" y="318"/>
                  </a:lnTo>
                  <a:lnTo>
                    <a:pt x="2" y="285"/>
                  </a:lnTo>
                  <a:lnTo>
                    <a:pt x="6" y="252"/>
                  </a:lnTo>
                  <a:lnTo>
                    <a:pt x="13" y="224"/>
                  </a:lnTo>
                  <a:lnTo>
                    <a:pt x="21" y="197"/>
                  </a:lnTo>
                  <a:lnTo>
                    <a:pt x="31" y="173"/>
                  </a:lnTo>
                  <a:lnTo>
                    <a:pt x="41" y="153"/>
                  </a:lnTo>
                  <a:lnTo>
                    <a:pt x="53" y="133"/>
                  </a:lnTo>
                  <a:lnTo>
                    <a:pt x="65" y="116"/>
                  </a:lnTo>
                  <a:lnTo>
                    <a:pt x="78" y="102"/>
                  </a:lnTo>
                  <a:lnTo>
                    <a:pt x="89" y="88"/>
                  </a:lnTo>
                  <a:lnTo>
                    <a:pt x="105" y="75"/>
                  </a:lnTo>
                  <a:lnTo>
                    <a:pt x="122" y="61"/>
                  </a:lnTo>
                  <a:lnTo>
                    <a:pt x="142" y="48"/>
                  </a:lnTo>
                  <a:lnTo>
                    <a:pt x="165" y="35"/>
                  </a:lnTo>
                  <a:lnTo>
                    <a:pt x="190" y="24"/>
                  </a:lnTo>
                  <a:lnTo>
                    <a:pt x="219" y="14"/>
                  </a:lnTo>
                  <a:lnTo>
                    <a:pt x="250" y="6"/>
                  </a:lnTo>
                  <a:lnTo>
                    <a:pt x="285" y="2"/>
                  </a:lnTo>
                  <a:lnTo>
                    <a:pt x="32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68" name="Freeform 300">
              <a:extLst>
                <a:ext uri="{FF2B5EF4-FFF2-40B4-BE49-F238E27FC236}">
                  <a16:creationId xmlns:a16="http://schemas.microsoft.com/office/drawing/2014/main" id="{2683CC66-861C-4799-B942-DF5054727D27}"/>
                </a:ext>
              </a:extLst>
            </p:cNvPr>
            <p:cNvSpPr>
              <a:spLocks/>
            </p:cNvSpPr>
            <p:nvPr/>
          </p:nvSpPr>
          <p:spPr bwMode="auto">
            <a:xfrm>
              <a:off x="7364413" y="4037013"/>
              <a:ext cx="265113" cy="263525"/>
            </a:xfrm>
            <a:custGeom>
              <a:avLst/>
              <a:gdLst>
                <a:gd name="T0" fmla="*/ 1289 w 1835"/>
                <a:gd name="T1" fmla="*/ 2 h 1823"/>
                <a:gd name="T2" fmla="*/ 1327 w 1835"/>
                <a:gd name="T3" fmla="*/ 23 h 1823"/>
                <a:gd name="T4" fmla="*/ 1350 w 1835"/>
                <a:gd name="T5" fmla="*/ 60 h 1823"/>
                <a:gd name="T6" fmla="*/ 1776 w 1835"/>
                <a:gd name="T7" fmla="*/ 482 h 1823"/>
                <a:gd name="T8" fmla="*/ 1812 w 1835"/>
                <a:gd name="T9" fmla="*/ 505 h 1823"/>
                <a:gd name="T10" fmla="*/ 1833 w 1835"/>
                <a:gd name="T11" fmla="*/ 543 h 1823"/>
                <a:gd name="T12" fmla="*/ 1832 w 1835"/>
                <a:gd name="T13" fmla="*/ 586 h 1823"/>
                <a:gd name="T14" fmla="*/ 1810 w 1835"/>
                <a:gd name="T15" fmla="*/ 622 h 1823"/>
                <a:gd name="T16" fmla="*/ 1498 w 1835"/>
                <a:gd name="T17" fmla="*/ 929 h 1823"/>
                <a:gd name="T18" fmla="*/ 1459 w 1835"/>
                <a:gd name="T19" fmla="*/ 942 h 1823"/>
                <a:gd name="T20" fmla="*/ 1253 w 1835"/>
                <a:gd name="T21" fmla="*/ 903 h 1823"/>
                <a:gd name="T22" fmla="*/ 1194 w 1835"/>
                <a:gd name="T23" fmla="*/ 1011 h 1823"/>
                <a:gd name="T24" fmla="*/ 1118 w 1835"/>
                <a:gd name="T25" fmla="*/ 1126 h 1823"/>
                <a:gd name="T26" fmla="*/ 1030 w 1835"/>
                <a:gd name="T27" fmla="*/ 1243 h 1823"/>
                <a:gd name="T28" fmla="*/ 930 w 1835"/>
                <a:gd name="T29" fmla="*/ 1362 h 1823"/>
                <a:gd name="T30" fmla="*/ 823 w 1835"/>
                <a:gd name="T31" fmla="*/ 1475 h 1823"/>
                <a:gd name="T32" fmla="*/ 705 w 1835"/>
                <a:gd name="T33" fmla="*/ 1578 h 1823"/>
                <a:gd name="T34" fmla="*/ 585 w 1835"/>
                <a:gd name="T35" fmla="*/ 1659 h 1823"/>
                <a:gd name="T36" fmla="*/ 470 w 1835"/>
                <a:gd name="T37" fmla="*/ 1719 h 1823"/>
                <a:gd name="T38" fmla="*/ 363 w 1835"/>
                <a:gd name="T39" fmla="*/ 1763 h 1823"/>
                <a:gd name="T40" fmla="*/ 268 w 1835"/>
                <a:gd name="T41" fmla="*/ 1792 h 1823"/>
                <a:gd name="T42" fmla="*/ 187 w 1835"/>
                <a:gd name="T43" fmla="*/ 1810 h 1823"/>
                <a:gd name="T44" fmla="*/ 130 w 1835"/>
                <a:gd name="T45" fmla="*/ 1819 h 1823"/>
                <a:gd name="T46" fmla="*/ 95 w 1835"/>
                <a:gd name="T47" fmla="*/ 1823 h 1823"/>
                <a:gd name="T48" fmla="*/ 71 w 1835"/>
                <a:gd name="T49" fmla="*/ 1822 h 1823"/>
                <a:gd name="T50" fmla="*/ 39 w 1835"/>
                <a:gd name="T51" fmla="*/ 1810 h 1823"/>
                <a:gd name="T52" fmla="*/ 14 w 1835"/>
                <a:gd name="T53" fmla="*/ 1785 h 1823"/>
                <a:gd name="T54" fmla="*/ 1 w 1835"/>
                <a:gd name="T55" fmla="*/ 1753 h 1823"/>
                <a:gd name="T56" fmla="*/ 0 w 1835"/>
                <a:gd name="T57" fmla="*/ 1729 h 1823"/>
                <a:gd name="T58" fmla="*/ 3 w 1835"/>
                <a:gd name="T59" fmla="*/ 1695 h 1823"/>
                <a:gd name="T60" fmla="*/ 13 w 1835"/>
                <a:gd name="T61" fmla="*/ 1636 h 1823"/>
                <a:gd name="T62" fmla="*/ 30 w 1835"/>
                <a:gd name="T63" fmla="*/ 1557 h 1823"/>
                <a:gd name="T64" fmla="*/ 61 w 1835"/>
                <a:gd name="T65" fmla="*/ 1463 h 1823"/>
                <a:gd name="T66" fmla="*/ 105 w 1835"/>
                <a:gd name="T67" fmla="*/ 1357 h 1823"/>
                <a:gd name="T68" fmla="*/ 165 w 1835"/>
                <a:gd name="T69" fmla="*/ 1242 h 1823"/>
                <a:gd name="T70" fmla="*/ 247 w 1835"/>
                <a:gd name="T71" fmla="*/ 1124 h 1823"/>
                <a:gd name="T72" fmla="*/ 351 w 1835"/>
                <a:gd name="T73" fmla="*/ 1007 h 1823"/>
                <a:gd name="T74" fmla="*/ 465 w 1835"/>
                <a:gd name="T75" fmla="*/ 899 h 1823"/>
                <a:gd name="T76" fmla="*/ 583 w 1835"/>
                <a:gd name="T77" fmla="*/ 800 h 1823"/>
                <a:gd name="T78" fmla="*/ 703 w 1835"/>
                <a:gd name="T79" fmla="*/ 712 h 1823"/>
                <a:gd name="T80" fmla="*/ 818 w 1835"/>
                <a:gd name="T81" fmla="*/ 637 h 1823"/>
                <a:gd name="T82" fmla="*/ 927 w 1835"/>
                <a:gd name="T83" fmla="*/ 579 h 1823"/>
                <a:gd name="T84" fmla="*/ 888 w 1835"/>
                <a:gd name="T85" fmla="*/ 374 h 1823"/>
                <a:gd name="T86" fmla="*/ 900 w 1835"/>
                <a:gd name="T87" fmla="*/ 335 h 1823"/>
                <a:gd name="T88" fmla="*/ 1208 w 1835"/>
                <a:gd name="T89" fmla="*/ 25 h 1823"/>
                <a:gd name="T90" fmla="*/ 1246 w 1835"/>
                <a:gd name="T91" fmla="*/ 3 h 18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835" h="1823">
                  <a:moveTo>
                    <a:pt x="1267" y="0"/>
                  </a:moveTo>
                  <a:lnTo>
                    <a:pt x="1289" y="2"/>
                  </a:lnTo>
                  <a:lnTo>
                    <a:pt x="1310" y="11"/>
                  </a:lnTo>
                  <a:lnTo>
                    <a:pt x="1327" y="23"/>
                  </a:lnTo>
                  <a:lnTo>
                    <a:pt x="1341" y="40"/>
                  </a:lnTo>
                  <a:lnTo>
                    <a:pt x="1350" y="60"/>
                  </a:lnTo>
                  <a:lnTo>
                    <a:pt x="1451" y="381"/>
                  </a:lnTo>
                  <a:lnTo>
                    <a:pt x="1776" y="482"/>
                  </a:lnTo>
                  <a:lnTo>
                    <a:pt x="1796" y="491"/>
                  </a:lnTo>
                  <a:lnTo>
                    <a:pt x="1812" y="505"/>
                  </a:lnTo>
                  <a:lnTo>
                    <a:pt x="1825" y="522"/>
                  </a:lnTo>
                  <a:lnTo>
                    <a:pt x="1833" y="543"/>
                  </a:lnTo>
                  <a:lnTo>
                    <a:pt x="1835" y="565"/>
                  </a:lnTo>
                  <a:lnTo>
                    <a:pt x="1832" y="586"/>
                  </a:lnTo>
                  <a:lnTo>
                    <a:pt x="1824" y="606"/>
                  </a:lnTo>
                  <a:lnTo>
                    <a:pt x="1810" y="622"/>
                  </a:lnTo>
                  <a:lnTo>
                    <a:pt x="1515" y="917"/>
                  </a:lnTo>
                  <a:lnTo>
                    <a:pt x="1498" y="929"/>
                  </a:lnTo>
                  <a:lnTo>
                    <a:pt x="1479" y="937"/>
                  </a:lnTo>
                  <a:lnTo>
                    <a:pt x="1459" y="942"/>
                  </a:lnTo>
                  <a:lnTo>
                    <a:pt x="1439" y="939"/>
                  </a:lnTo>
                  <a:lnTo>
                    <a:pt x="1253" y="903"/>
                  </a:lnTo>
                  <a:lnTo>
                    <a:pt x="1226" y="956"/>
                  </a:lnTo>
                  <a:lnTo>
                    <a:pt x="1194" y="1011"/>
                  </a:lnTo>
                  <a:lnTo>
                    <a:pt x="1158" y="1067"/>
                  </a:lnTo>
                  <a:lnTo>
                    <a:pt x="1118" y="1126"/>
                  </a:lnTo>
                  <a:lnTo>
                    <a:pt x="1075" y="1184"/>
                  </a:lnTo>
                  <a:lnTo>
                    <a:pt x="1030" y="1243"/>
                  </a:lnTo>
                  <a:lnTo>
                    <a:pt x="981" y="1302"/>
                  </a:lnTo>
                  <a:lnTo>
                    <a:pt x="930" y="1362"/>
                  </a:lnTo>
                  <a:lnTo>
                    <a:pt x="877" y="1419"/>
                  </a:lnTo>
                  <a:lnTo>
                    <a:pt x="823" y="1475"/>
                  </a:lnTo>
                  <a:lnTo>
                    <a:pt x="763" y="1529"/>
                  </a:lnTo>
                  <a:lnTo>
                    <a:pt x="705" y="1578"/>
                  </a:lnTo>
                  <a:lnTo>
                    <a:pt x="645" y="1622"/>
                  </a:lnTo>
                  <a:lnTo>
                    <a:pt x="585" y="1659"/>
                  </a:lnTo>
                  <a:lnTo>
                    <a:pt x="528" y="1691"/>
                  </a:lnTo>
                  <a:lnTo>
                    <a:pt x="470" y="1719"/>
                  </a:lnTo>
                  <a:lnTo>
                    <a:pt x="416" y="1743"/>
                  </a:lnTo>
                  <a:lnTo>
                    <a:pt x="363" y="1763"/>
                  </a:lnTo>
                  <a:lnTo>
                    <a:pt x="314" y="1780"/>
                  </a:lnTo>
                  <a:lnTo>
                    <a:pt x="268" y="1792"/>
                  </a:lnTo>
                  <a:lnTo>
                    <a:pt x="226" y="1803"/>
                  </a:lnTo>
                  <a:lnTo>
                    <a:pt x="187" y="1810"/>
                  </a:lnTo>
                  <a:lnTo>
                    <a:pt x="156" y="1816"/>
                  </a:lnTo>
                  <a:lnTo>
                    <a:pt x="130" y="1819"/>
                  </a:lnTo>
                  <a:lnTo>
                    <a:pt x="109" y="1821"/>
                  </a:lnTo>
                  <a:lnTo>
                    <a:pt x="95" y="1823"/>
                  </a:lnTo>
                  <a:lnTo>
                    <a:pt x="88" y="1823"/>
                  </a:lnTo>
                  <a:lnTo>
                    <a:pt x="71" y="1822"/>
                  </a:lnTo>
                  <a:lnTo>
                    <a:pt x="54" y="1817"/>
                  </a:lnTo>
                  <a:lnTo>
                    <a:pt x="39" y="1810"/>
                  </a:lnTo>
                  <a:lnTo>
                    <a:pt x="25" y="1799"/>
                  </a:lnTo>
                  <a:lnTo>
                    <a:pt x="14" y="1785"/>
                  </a:lnTo>
                  <a:lnTo>
                    <a:pt x="5" y="1769"/>
                  </a:lnTo>
                  <a:lnTo>
                    <a:pt x="1" y="1753"/>
                  </a:lnTo>
                  <a:lnTo>
                    <a:pt x="0" y="1735"/>
                  </a:lnTo>
                  <a:lnTo>
                    <a:pt x="0" y="1729"/>
                  </a:lnTo>
                  <a:lnTo>
                    <a:pt x="1" y="1715"/>
                  </a:lnTo>
                  <a:lnTo>
                    <a:pt x="3" y="1695"/>
                  </a:lnTo>
                  <a:lnTo>
                    <a:pt x="7" y="1669"/>
                  </a:lnTo>
                  <a:lnTo>
                    <a:pt x="13" y="1636"/>
                  </a:lnTo>
                  <a:lnTo>
                    <a:pt x="21" y="1599"/>
                  </a:lnTo>
                  <a:lnTo>
                    <a:pt x="30" y="1557"/>
                  </a:lnTo>
                  <a:lnTo>
                    <a:pt x="44" y="1511"/>
                  </a:lnTo>
                  <a:lnTo>
                    <a:pt x="61" y="1463"/>
                  </a:lnTo>
                  <a:lnTo>
                    <a:pt x="81" y="1411"/>
                  </a:lnTo>
                  <a:lnTo>
                    <a:pt x="105" y="1357"/>
                  </a:lnTo>
                  <a:lnTo>
                    <a:pt x="133" y="1299"/>
                  </a:lnTo>
                  <a:lnTo>
                    <a:pt x="165" y="1242"/>
                  </a:lnTo>
                  <a:lnTo>
                    <a:pt x="203" y="1183"/>
                  </a:lnTo>
                  <a:lnTo>
                    <a:pt x="247" y="1124"/>
                  </a:lnTo>
                  <a:lnTo>
                    <a:pt x="295" y="1065"/>
                  </a:lnTo>
                  <a:lnTo>
                    <a:pt x="351" y="1007"/>
                  </a:lnTo>
                  <a:lnTo>
                    <a:pt x="407" y="952"/>
                  </a:lnTo>
                  <a:lnTo>
                    <a:pt x="465" y="899"/>
                  </a:lnTo>
                  <a:lnTo>
                    <a:pt x="525" y="849"/>
                  </a:lnTo>
                  <a:lnTo>
                    <a:pt x="583" y="800"/>
                  </a:lnTo>
                  <a:lnTo>
                    <a:pt x="643" y="754"/>
                  </a:lnTo>
                  <a:lnTo>
                    <a:pt x="703" y="712"/>
                  </a:lnTo>
                  <a:lnTo>
                    <a:pt x="761" y="673"/>
                  </a:lnTo>
                  <a:lnTo>
                    <a:pt x="818" y="637"/>
                  </a:lnTo>
                  <a:lnTo>
                    <a:pt x="873" y="606"/>
                  </a:lnTo>
                  <a:lnTo>
                    <a:pt x="927" y="579"/>
                  </a:lnTo>
                  <a:lnTo>
                    <a:pt x="890" y="395"/>
                  </a:lnTo>
                  <a:lnTo>
                    <a:pt x="888" y="374"/>
                  </a:lnTo>
                  <a:lnTo>
                    <a:pt x="892" y="354"/>
                  </a:lnTo>
                  <a:lnTo>
                    <a:pt x="900" y="335"/>
                  </a:lnTo>
                  <a:lnTo>
                    <a:pt x="913" y="319"/>
                  </a:lnTo>
                  <a:lnTo>
                    <a:pt x="1208" y="25"/>
                  </a:lnTo>
                  <a:lnTo>
                    <a:pt x="1226" y="12"/>
                  </a:lnTo>
                  <a:lnTo>
                    <a:pt x="1246" y="3"/>
                  </a:lnTo>
                  <a:lnTo>
                    <a:pt x="126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grpSp>
      <p:sp>
        <p:nvSpPr>
          <p:cNvPr id="69" name="Rectangle 63">
            <a:extLst>
              <a:ext uri="{FF2B5EF4-FFF2-40B4-BE49-F238E27FC236}">
                <a16:creationId xmlns:a16="http://schemas.microsoft.com/office/drawing/2014/main" id="{6E4F484D-78BA-4D4F-812F-5D4952E68152}"/>
              </a:ext>
            </a:extLst>
          </p:cNvPr>
          <p:cNvSpPr/>
          <p:nvPr/>
        </p:nvSpPr>
        <p:spPr>
          <a:xfrm>
            <a:off x="7300687" y="4444630"/>
            <a:ext cx="3439884" cy="693395"/>
          </a:xfrm>
          <a:prstGeom prst="rect">
            <a:avLst/>
          </a:prstGeom>
        </p:spPr>
        <p:txBody>
          <a:bodyPr wrap="square">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lumMod val="50000"/>
                    <a:lumOff val="50000"/>
                  </a:srgbClr>
                </a:solidFill>
                <a:effectLst/>
                <a:uLnTx/>
                <a:uFillTx/>
                <a:latin typeface="等线" panose="020F0502020204030204"/>
                <a:ea typeface="+mn-ea"/>
                <a:cs typeface="+mn-cs"/>
              </a:rPr>
              <a:t>Lorem Ipsum is simply dummy text of the printing and typesetting industry. Lorem Ipsum has been the industry's standard dummy text ever since the.</a:t>
            </a:r>
          </a:p>
        </p:txBody>
      </p:sp>
      <p:grpSp>
        <p:nvGrpSpPr>
          <p:cNvPr id="70" name="Group 64">
            <a:extLst>
              <a:ext uri="{FF2B5EF4-FFF2-40B4-BE49-F238E27FC236}">
                <a16:creationId xmlns:a16="http://schemas.microsoft.com/office/drawing/2014/main" id="{85668CF2-B2A3-49BC-9E87-D8DA818A87B6}"/>
              </a:ext>
            </a:extLst>
          </p:cNvPr>
          <p:cNvGrpSpPr/>
          <p:nvPr/>
        </p:nvGrpSpPr>
        <p:grpSpPr>
          <a:xfrm flipH="1">
            <a:off x="6676935" y="4627449"/>
            <a:ext cx="329932" cy="327755"/>
            <a:chOff x="7148513" y="4037013"/>
            <a:chExt cx="481013" cy="477838"/>
          </a:xfrm>
          <a:solidFill>
            <a:schemeClr val="tx2"/>
          </a:solidFill>
        </p:grpSpPr>
        <p:sp>
          <p:nvSpPr>
            <p:cNvPr id="71" name="Freeform 298">
              <a:extLst>
                <a:ext uri="{FF2B5EF4-FFF2-40B4-BE49-F238E27FC236}">
                  <a16:creationId xmlns:a16="http://schemas.microsoft.com/office/drawing/2014/main" id="{212F0182-E507-4969-ACB4-E95AAF91B95F}"/>
                </a:ext>
              </a:extLst>
            </p:cNvPr>
            <p:cNvSpPr>
              <a:spLocks/>
            </p:cNvSpPr>
            <p:nvPr/>
          </p:nvSpPr>
          <p:spPr bwMode="auto">
            <a:xfrm>
              <a:off x="7148513" y="4110038"/>
              <a:ext cx="406400" cy="404813"/>
            </a:xfrm>
            <a:custGeom>
              <a:avLst/>
              <a:gdLst>
                <a:gd name="T0" fmla="*/ 910 w 2818"/>
                <a:gd name="T1" fmla="*/ 10 h 2801"/>
                <a:gd name="T2" fmla="*/ 1156 w 2818"/>
                <a:gd name="T3" fmla="*/ 65 h 2801"/>
                <a:gd name="T4" fmla="*/ 1408 w 2818"/>
                <a:gd name="T5" fmla="*/ 164 h 2801"/>
                <a:gd name="T6" fmla="*/ 1660 w 2818"/>
                <a:gd name="T7" fmla="*/ 305 h 2801"/>
                <a:gd name="T8" fmla="*/ 1667 w 2818"/>
                <a:gd name="T9" fmla="*/ 440 h 2801"/>
                <a:gd name="T10" fmla="*/ 1530 w 2818"/>
                <a:gd name="T11" fmla="*/ 624 h 2801"/>
                <a:gd name="T12" fmla="*/ 1309 w 2818"/>
                <a:gd name="T13" fmla="*/ 493 h 2801"/>
                <a:gd name="T14" fmla="*/ 1092 w 2818"/>
                <a:gd name="T15" fmla="*/ 400 h 2801"/>
                <a:gd name="T16" fmla="*/ 884 w 2818"/>
                <a:gd name="T17" fmla="*/ 348 h 2801"/>
                <a:gd name="T18" fmla="*/ 697 w 2818"/>
                <a:gd name="T19" fmla="*/ 340 h 2801"/>
                <a:gd name="T20" fmla="*/ 554 w 2818"/>
                <a:gd name="T21" fmla="*/ 372 h 2801"/>
                <a:gd name="T22" fmla="*/ 445 w 2818"/>
                <a:gd name="T23" fmla="*/ 444 h 2801"/>
                <a:gd name="T24" fmla="*/ 377 w 2818"/>
                <a:gd name="T25" fmla="*/ 547 h 2801"/>
                <a:gd name="T26" fmla="*/ 344 w 2818"/>
                <a:gd name="T27" fmla="*/ 684 h 2801"/>
                <a:gd name="T28" fmla="*/ 348 w 2818"/>
                <a:gd name="T29" fmla="*/ 849 h 2801"/>
                <a:gd name="T30" fmla="*/ 388 w 2818"/>
                <a:gd name="T31" fmla="*/ 1035 h 2801"/>
                <a:gd name="T32" fmla="*/ 465 w 2818"/>
                <a:gd name="T33" fmla="*/ 1236 h 2801"/>
                <a:gd name="T34" fmla="*/ 580 w 2818"/>
                <a:gd name="T35" fmla="*/ 1449 h 2801"/>
                <a:gd name="T36" fmla="*/ 734 w 2818"/>
                <a:gd name="T37" fmla="*/ 1665 h 2801"/>
                <a:gd name="T38" fmla="*/ 927 w 2818"/>
                <a:gd name="T39" fmla="*/ 1879 h 2801"/>
                <a:gd name="T40" fmla="*/ 1138 w 2818"/>
                <a:gd name="T41" fmla="*/ 2066 h 2801"/>
                <a:gd name="T42" fmla="*/ 1357 w 2818"/>
                <a:gd name="T43" fmla="*/ 2222 h 2801"/>
                <a:gd name="T44" fmla="*/ 1578 w 2818"/>
                <a:gd name="T45" fmla="*/ 2342 h 2801"/>
                <a:gd name="T46" fmla="*/ 1795 w 2818"/>
                <a:gd name="T47" fmla="*/ 2422 h 2801"/>
                <a:gd name="T48" fmla="*/ 2000 w 2818"/>
                <a:gd name="T49" fmla="*/ 2461 h 2801"/>
                <a:gd name="T50" fmla="*/ 2171 w 2818"/>
                <a:gd name="T51" fmla="*/ 2454 h 2801"/>
                <a:gd name="T52" fmla="*/ 2303 w 2818"/>
                <a:gd name="T53" fmla="*/ 2409 h 2801"/>
                <a:gd name="T54" fmla="*/ 2399 w 2818"/>
                <a:gd name="T55" fmla="*/ 2326 h 2801"/>
                <a:gd name="T56" fmla="*/ 2455 w 2818"/>
                <a:gd name="T57" fmla="*/ 2214 h 2801"/>
                <a:gd name="T58" fmla="*/ 2477 w 2818"/>
                <a:gd name="T59" fmla="*/ 2073 h 2801"/>
                <a:gd name="T60" fmla="*/ 2465 w 2818"/>
                <a:gd name="T61" fmla="*/ 1906 h 2801"/>
                <a:gd name="T62" fmla="*/ 2410 w 2818"/>
                <a:gd name="T63" fmla="*/ 1701 h 2801"/>
                <a:gd name="T64" fmla="*/ 2294 w 2818"/>
                <a:gd name="T65" fmla="*/ 1449 h 2801"/>
                <a:gd name="T66" fmla="*/ 2252 w 2818"/>
                <a:gd name="T67" fmla="*/ 1241 h 2801"/>
                <a:gd name="T68" fmla="*/ 2436 w 2818"/>
                <a:gd name="T69" fmla="*/ 1087 h 2801"/>
                <a:gd name="T70" fmla="*/ 2568 w 2818"/>
                <a:gd name="T71" fmla="*/ 1244 h 2801"/>
                <a:gd name="T72" fmla="*/ 2701 w 2818"/>
                <a:gd name="T73" fmla="*/ 1513 h 2801"/>
                <a:gd name="T74" fmla="*/ 2785 w 2818"/>
                <a:gd name="T75" fmla="*/ 1772 h 2801"/>
                <a:gd name="T76" fmla="*/ 2817 w 2818"/>
                <a:gd name="T77" fmla="*/ 2001 h 2801"/>
                <a:gd name="T78" fmla="*/ 2807 w 2818"/>
                <a:gd name="T79" fmla="*/ 2209 h 2801"/>
                <a:gd name="T80" fmla="*/ 2751 w 2818"/>
                <a:gd name="T81" fmla="*/ 2393 h 2801"/>
                <a:gd name="T82" fmla="*/ 2654 w 2818"/>
                <a:gd name="T83" fmla="*/ 2550 h 2801"/>
                <a:gd name="T84" fmla="*/ 2525 w 2818"/>
                <a:gd name="T85" fmla="*/ 2669 h 2801"/>
                <a:gd name="T86" fmla="*/ 2371 w 2818"/>
                <a:gd name="T87" fmla="*/ 2749 h 2801"/>
                <a:gd name="T88" fmla="*/ 2194 w 2818"/>
                <a:gd name="T89" fmla="*/ 2792 h 2801"/>
                <a:gd name="T90" fmla="*/ 1982 w 2818"/>
                <a:gd name="T91" fmla="*/ 2799 h 2801"/>
                <a:gd name="T92" fmla="*/ 1727 w 2818"/>
                <a:gd name="T93" fmla="*/ 2755 h 2801"/>
                <a:gd name="T94" fmla="*/ 1464 w 2818"/>
                <a:gd name="T95" fmla="*/ 2661 h 2801"/>
                <a:gd name="T96" fmla="*/ 1198 w 2818"/>
                <a:gd name="T97" fmla="*/ 2522 h 2801"/>
                <a:gd name="T98" fmla="*/ 936 w 2818"/>
                <a:gd name="T99" fmla="*/ 2340 h 2801"/>
                <a:gd name="T100" fmla="*/ 686 w 2818"/>
                <a:gd name="T101" fmla="*/ 2118 h 2801"/>
                <a:gd name="T102" fmla="*/ 486 w 2818"/>
                <a:gd name="T103" fmla="*/ 1897 h 2801"/>
                <a:gd name="T104" fmla="*/ 317 w 2818"/>
                <a:gd name="T105" fmla="*/ 1669 h 2801"/>
                <a:gd name="T106" fmla="*/ 184 w 2818"/>
                <a:gd name="T107" fmla="*/ 1438 h 2801"/>
                <a:gd name="T108" fmla="*/ 86 w 2818"/>
                <a:gd name="T109" fmla="*/ 1209 h 2801"/>
                <a:gd name="T110" fmla="*/ 24 w 2818"/>
                <a:gd name="T111" fmla="*/ 987 h 2801"/>
                <a:gd name="T112" fmla="*/ 0 w 2818"/>
                <a:gd name="T113" fmla="*/ 776 h 2801"/>
                <a:gd name="T114" fmla="*/ 14 w 2818"/>
                <a:gd name="T115" fmla="*/ 579 h 2801"/>
                <a:gd name="T116" fmla="*/ 68 w 2818"/>
                <a:gd name="T117" fmla="*/ 401 h 2801"/>
                <a:gd name="T118" fmla="*/ 163 w 2818"/>
                <a:gd name="T119" fmla="*/ 249 h 2801"/>
                <a:gd name="T120" fmla="*/ 292 w 2818"/>
                <a:gd name="T121" fmla="*/ 132 h 2801"/>
                <a:gd name="T122" fmla="*/ 445 w 2818"/>
                <a:gd name="T123" fmla="*/ 52 h 2801"/>
                <a:gd name="T124" fmla="*/ 623 w 2818"/>
                <a:gd name="T125" fmla="*/ 8 h 2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818" h="2801">
                  <a:moveTo>
                    <a:pt x="753" y="0"/>
                  </a:moveTo>
                  <a:lnTo>
                    <a:pt x="830" y="2"/>
                  </a:lnTo>
                  <a:lnTo>
                    <a:pt x="910" y="10"/>
                  </a:lnTo>
                  <a:lnTo>
                    <a:pt x="991" y="24"/>
                  </a:lnTo>
                  <a:lnTo>
                    <a:pt x="1073" y="41"/>
                  </a:lnTo>
                  <a:lnTo>
                    <a:pt x="1156" y="65"/>
                  </a:lnTo>
                  <a:lnTo>
                    <a:pt x="1240" y="93"/>
                  </a:lnTo>
                  <a:lnTo>
                    <a:pt x="1323" y="127"/>
                  </a:lnTo>
                  <a:lnTo>
                    <a:pt x="1408" y="164"/>
                  </a:lnTo>
                  <a:lnTo>
                    <a:pt x="1492" y="207"/>
                  </a:lnTo>
                  <a:lnTo>
                    <a:pt x="1577" y="254"/>
                  </a:lnTo>
                  <a:lnTo>
                    <a:pt x="1660" y="305"/>
                  </a:lnTo>
                  <a:lnTo>
                    <a:pt x="1744" y="360"/>
                  </a:lnTo>
                  <a:lnTo>
                    <a:pt x="1724" y="379"/>
                  </a:lnTo>
                  <a:lnTo>
                    <a:pt x="1667" y="440"/>
                  </a:lnTo>
                  <a:lnTo>
                    <a:pt x="1615" y="500"/>
                  </a:lnTo>
                  <a:lnTo>
                    <a:pt x="1570" y="563"/>
                  </a:lnTo>
                  <a:lnTo>
                    <a:pt x="1530" y="624"/>
                  </a:lnTo>
                  <a:lnTo>
                    <a:pt x="1456" y="576"/>
                  </a:lnTo>
                  <a:lnTo>
                    <a:pt x="1383" y="532"/>
                  </a:lnTo>
                  <a:lnTo>
                    <a:pt x="1309" y="493"/>
                  </a:lnTo>
                  <a:lnTo>
                    <a:pt x="1236" y="457"/>
                  </a:lnTo>
                  <a:lnTo>
                    <a:pt x="1163" y="426"/>
                  </a:lnTo>
                  <a:lnTo>
                    <a:pt x="1092" y="400"/>
                  </a:lnTo>
                  <a:lnTo>
                    <a:pt x="1021" y="378"/>
                  </a:lnTo>
                  <a:lnTo>
                    <a:pt x="952" y="361"/>
                  </a:lnTo>
                  <a:lnTo>
                    <a:pt x="884" y="348"/>
                  </a:lnTo>
                  <a:lnTo>
                    <a:pt x="817" y="340"/>
                  </a:lnTo>
                  <a:lnTo>
                    <a:pt x="753" y="338"/>
                  </a:lnTo>
                  <a:lnTo>
                    <a:pt x="697" y="340"/>
                  </a:lnTo>
                  <a:lnTo>
                    <a:pt x="646" y="346"/>
                  </a:lnTo>
                  <a:lnTo>
                    <a:pt x="598" y="358"/>
                  </a:lnTo>
                  <a:lnTo>
                    <a:pt x="554" y="372"/>
                  </a:lnTo>
                  <a:lnTo>
                    <a:pt x="514" y="392"/>
                  </a:lnTo>
                  <a:lnTo>
                    <a:pt x="477" y="416"/>
                  </a:lnTo>
                  <a:lnTo>
                    <a:pt x="445" y="444"/>
                  </a:lnTo>
                  <a:lnTo>
                    <a:pt x="419" y="474"/>
                  </a:lnTo>
                  <a:lnTo>
                    <a:pt x="396" y="508"/>
                  </a:lnTo>
                  <a:lnTo>
                    <a:pt x="377" y="547"/>
                  </a:lnTo>
                  <a:lnTo>
                    <a:pt x="362" y="590"/>
                  </a:lnTo>
                  <a:lnTo>
                    <a:pt x="352" y="635"/>
                  </a:lnTo>
                  <a:lnTo>
                    <a:pt x="344" y="684"/>
                  </a:lnTo>
                  <a:lnTo>
                    <a:pt x="341" y="736"/>
                  </a:lnTo>
                  <a:lnTo>
                    <a:pt x="343" y="791"/>
                  </a:lnTo>
                  <a:lnTo>
                    <a:pt x="348" y="849"/>
                  </a:lnTo>
                  <a:lnTo>
                    <a:pt x="357" y="908"/>
                  </a:lnTo>
                  <a:lnTo>
                    <a:pt x="371" y="970"/>
                  </a:lnTo>
                  <a:lnTo>
                    <a:pt x="388" y="1035"/>
                  </a:lnTo>
                  <a:lnTo>
                    <a:pt x="409" y="1100"/>
                  </a:lnTo>
                  <a:lnTo>
                    <a:pt x="436" y="1168"/>
                  </a:lnTo>
                  <a:lnTo>
                    <a:pt x="465" y="1236"/>
                  </a:lnTo>
                  <a:lnTo>
                    <a:pt x="499" y="1306"/>
                  </a:lnTo>
                  <a:lnTo>
                    <a:pt x="538" y="1377"/>
                  </a:lnTo>
                  <a:lnTo>
                    <a:pt x="580" y="1449"/>
                  </a:lnTo>
                  <a:lnTo>
                    <a:pt x="627" y="1520"/>
                  </a:lnTo>
                  <a:lnTo>
                    <a:pt x="678" y="1592"/>
                  </a:lnTo>
                  <a:lnTo>
                    <a:pt x="734" y="1665"/>
                  </a:lnTo>
                  <a:lnTo>
                    <a:pt x="794" y="1737"/>
                  </a:lnTo>
                  <a:lnTo>
                    <a:pt x="859" y="1807"/>
                  </a:lnTo>
                  <a:lnTo>
                    <a:pt x="927" y="1879"/>
                  </a:lnTo>
                  <a:lnTo>
                    <a:pt x="996" y="1945"/>
                  </a:lnTo>
                  <a:lnTo>
                    <a:pt x="1066" y="2007"/>
                  </a:lnTo>
                  <a:lnTo>
                    <a:pt x="1138" y="2066"/>
                  </a:lnTo>
                  <a:lnTo>
                    <a:pt x="1210" y="2123"/>
                  </a:lnTo>
                  <a:lnTo>
                    <a:pt x="1284" y="2173"/>
                  </a:lnTo>
                  <a:lnTo>
                    <a:pt x="1357" y="2222"/>
                  </a:lnTo>
                  <a:lnTo>
                    <a:pt x="1431" y="2266"/>
                  </a:lnTo>
                  <a:lnTo>
                    <a:pt x="1504" y="2306"/>
                  </a:lnTo>
                  <a:lnTo>
                    <a:pt x="1578" y="2342"/>
                  </a:lnTo>
                  <a:lnTo>
                    <a:pt x="1651" y="2373"/>
                  </a:lnTo>
                  <a:lnTo>
                    <a:pt x="1723" y="2400"/>
                  </a:lnTo>
                  <a:lnTo>
                    <a:pt x="1795" y="2422"/>
                  </a:lnTo>
                  <a:lnTo>
                    <a:pt x="1865" y="2440"/>
                  </a:lnTo>
                  <a:lnTo>
                    <a:pt x="1933" y="2452"/>
                  </a:lnTo>
                  <a:lnTo>
                    <a:pt x="2000" y="2461"/>
                  </a:lnTo>
                  <a:lnTo>
                    <a:pt x="2065" y="2463"/>
                  </a:lnTo>
                  <a:lnTo>
                    <a:pt x="2119" y="2461"/>
                  </a:lnTo>
                  <a:lnTo>
                    <a:pt x="2171" y="2454"/>
                  </a:lnTo>
                  <a:lnTo>
                    <a:pt x="2220" y="2443"/>
                  </a:lnTo>
                  <a:lnTo>
                    <a:pt x="2264" y="2428"/>
                  </a:lnTo>
                  <a:lnTo>
                    <a:pt x="2303" y="2409"/>
                  </a:lnTo>
                  <a:lnTo>
                    <a:pt x="2340" y="2385"/>
                  </a:lnTo>
                  <a:lnTo>
                    <a:pt x="2371" y="2357"/>
                  </a:lnTo>
                  <a:lnTo>
                    <a:pt x="2399" y="2326"/>
                  </a:lnTo>
                  <a:lnTo>
                    <a:pt x="2421" y="2293"/>
                  </a:lnTo>
                  <a:lnTo>
                    <a:pt x="2439" y="2256"/>
                  </a:lnTo>
                  <a:lnTo>
                    <a:pt x="2455" y="2214"/>
                  </a:lnTo>
                  <a:lnTo>
                    <a:pt x="2467" y="2170"/>
                  </a:lnTo>
                  <a:lnTo>
                    <a:pt x="2474" y="2123"/>
                  </a:lnTo>
                  <a:lnTo>
                    <a:pt x="2477" y="2073"/>
                  </a:lnTo>
                  <a:lnTo>
                    <a:pt x="2477" y="2020"/>
                  </a:lnTo>
                  <a:lnTo>
                    <a:pt x="2473" y="1964"/>
                  </a:lnTo>
                  <a:lnTo>
                    <a:pt x="2465" y="1906"/>
                  </a:lnTo>
                  <a:lnTo>
                    <a:pt x="2453" y="1847"/>
                  </a:lnTo>
                  <a:lnTo>
                    <a:pt x="2436" y="1785"/>
                  </a:lnTo>
                  <a:lnTo>
                    <a:pt x="2410" y="1701"/>
                  </a:lnTo>
                  <a:lnTo>
                    <a:pt x="2377" y="1618"/>
                  </a:lnTo>
                  <a:lnTo>
                    <a:pt x="2338" y="1533"/>
                  </a:lnTo>
                  <a:lnTo>
                    <a:pt x="2294" y="1449"/>
                  </a:lnTo>
                  <a:lnTo>
                    <a:pt x="2245" y="1364"/>
                  </a:lnTo>
                  <a:lnTo>
                    <a:pt x="2190" y="1280"/>
                  </a:lnTo>
                  <a:lnTo>
                    <a:pt x="2252" y="1241"/>
                  </a:lnTo>
                  <a:lnTo>
                    <a:pt x="2314" y="1195"/>
                  </a:lnTo>
                  <a:lnTo>
                    <a:pt x="2376" y="1144"/>
                  </a:lnTo>
                  <a:lnTo>
                    <a:pt x="2436" y="1087"/>
                  </a:lnTo>
                  <a:lnTo>
                    <a:pt x="2455" y="1068"/>
                  </a:lnTo>
                  <a:lnTo>
                    <a:pt x="2514" y="1155"/>
                  </a:lnTo>
                  <a:lnTo>
                    <a:pt x="2568" y="1244"/>
                  </a:lnTo>
                  <a:lnTo>
                    <a:pt x="2617" y="1333"/>
                  </a:lnTo>
                  <a:lnTo>
                    <a:pt x="2662" y="1424"/>
                  </a:lnTo>
                  <a:lnTo>
                    <a:pt x="2701" y="1513"/>
                  </a:lnTo>
                  <a:lnTo>
                    <a:pt x="2736" y="1603"/>
                  </a:lnTo>
                  <a:lnTo>
                    <a:pt x="2764" y="1692"/>
                  </a:lnTo>
                  <a:lnTo>
                    <a:pt x="2785" y="1772"/>
                  </a:lnTo>
                  <a:lnTo>
                    <a:pt x="2801" y="1850"/>
                  </a:lnTo>
                  <a:lnTo>
                    <a:pt x="2812" y="1927"/>
                  </a:lnTo>
                  <a:lnTo>
                    <a:pt x="2817" y="2001"/>
                  </a:lnTo>
                  <a:lnTo>
                    <a:pt x="2818" y="2073"/>
                  </a:lnTo>
                  <a:lnTo>
                    <a:pt x="2815" y="2142"/>
                  </a:lnTo>
                  <a:lnTo>
                    <a:pt x="2807" y="2209"/>
                  </a:lnTo>
                  <a:lnTo>
                    <a:pt x="2793" y="2273"/>
                  </a:lnTo>
                  <a:lnTo>
                    <a:pt x="2774" y="2335"/>
                  </a:lnTo>
                  <a:lnTo>
                    <a:pt x="2751" y="2393"/>
                  </a:lnTo>
                  <a:lnTo>
                    <a:pt x="2724" y="2449"/>
                  </a:lnTo>
                  <a:lnTo>
                    <a:pt x="2692" y="2501"/>
                  </a:lnTo>
                  <a:lnTo>
                    <a:pt x="2654" y="2550"/>
                  </a:lnTo>
                  <a:lnTo>
                    <a:pt x="2612" y="2596"/>
                  </a:lnTo>
                  <a:lnTo>
                    <a:pt x="2570" y="2634"/>
                  </a:lnTo>
                  <a:lnTo>
                    <a:pt x="2525" y="2669"/>
                  </a:lnTo>
                  <a:lnTo>
                    <a:pt x="2477" y="2700"/>
                  </a:lnTo>
                  <a:lnTo>
                    <a:pt x="2426" y="2726"/>
                  </a:lnTo>
                  <a:lnTo>
                    <a:pt x="2371" y="2749"/>
                  </a:lnTo>
                  <a:lnTo>
                    <a:pt x="2315" y="2767"/>
                  </a:lnTo>
                  <a:lnTo>
                    <a:pt x="2256" y="2782"/>
                  </a:lnTo>
                  <a:lnTo>
                    <a:pt x="2194" y="2792"/>
                  </a:lnTo>
                  <a:lnTo>
                    <a:pt x="2131" y="2799"/>
                  </a:lnTo>
                  <a:lnTo>
                    <a:pt x="2065" y="2801"/>
                  </a:lnTo>
                  <a:lnTo>
                    <a:pt x="1982" y="2799"/>
                  </a:lnTo>
                  <a:lnTo>
                    <a:pt x="1898" y="2789"/>
                  </a:lnTo>
                  <a:lnTo>
                    <a:pt x="1813" y="2775"/>
                  </a:lnTo>
                  <a:lnTo>
                    <a:pt x="1727" y="2755"/>
                  </a:lnTo>
                  <a:lnTo>
                    <a:pt x="1640" y="2729"/>
                  </a:lnTo>
                  <a:lnTo>
                    <a:pt x="1552" y="2698"/>
                  </a:lnTo>
                  <a:lnTo>
                    <a:pt x="1464" y="2661"/>
                  </a:lnTo>
                  <a:lnTo>
                    <a:pt x="1375" y="2620"/>
                  </a:lnTo>
                  <a:lnTo>
                    <a:pt x="1286" y="2574"/>
                  </a:lnTo>
                  <a:lnTo>
                    <a:pt x="1198" y="2522"/>
                  </a:lnTo>
                  <a:lnTo>
                    <a:pt x="1110" y="2466"/>
                  </a:lnTo>
                  <a:lnTo>
                    <a:pt x="1022" y="2405"/>
                  </a:lnTo>
                  <a:lnTo>
                    <a:pt x="936" y="2340"/>
                  </a:lnTo>
                  <a:lnTo>
                    <a:pt x="851" y="2270"/>
                  </a:lnTo>
                  <a:lnTo>
                    <a:pt x="767" y="2196"/>
                  </a:lnTo>
                  <a:lnTo>
                    <a:pt x="686" y="2118"/>
                  </a:lnTo>
                  <a:lnTo>
                    <a:pt x="616" y="2046"/>
                  </a:lnTo>
                  <a:lnTo>
                    <a:pt x="549" y="1972"/>
                  </a:lnTo>
                  <a:lnTo>
                    <a:pt x="486" y="1897"/>
                  </a:lnTo>
                  <a:lnTo>
                    <a:pt x="426" y="1822"/>
                  </a:lnTo>
                  <a:lnTo>
                    <a:pt x="370" y="1746"/>
                  </a:lnTo>
                  <a:lnTo>
                    <a:pt x="317" y="1669"/>
                  </a:lnTo>
                  <a:lnTo>
                    <a:pt x="269" y="1592"/>
                  </a:lnTo>
                  <a:lnTo>
                    <a:pt x="225" y="1515"/>
                  </a:lnTo>
                  <a:lnTo>
                    <a:pt x="184" y="1438"/>
                  </a:lnTo>
                  <a:lnTo>
                    <a:pt x="148" y="1362"/>
                  </a:lnTo>
                  <a:lnTo>
                    <a:pt x="114" y="1285"/>
                  </a:lnTo>
                  <a:lnTo>
                    <a:pt x="86" y="1209"/>
                  </a:lnTo>
                  <a:lnTo>
                    <a:pt x="61" y="1135"/>
                  </a:lnTo>
                  <a:lnTo>
                    <a:pt x="41" y="1061"/>
                  </a:lnTo>
                  <a:lnTo>
                    <a:pt x="24" y="987"/>
                  </a:lnTo>
                  <a:lnTo>
                    <a:pt x="12" y="915"/>
                  </a:lnTo>
                  <a:lnTo>
                    <a:pt x="3" y="844"/>
                  </a:lnTo>
                  <a:lnTo>
                    <a:pt x="0" y="776"/>
                  </a:lnTo>
                  <a:lnTo>
                    <a:pt x="0" y="708"/>
                  </a:lnTo>
                  <a:lnTo>
                    <a:pt x="5" y="643"/>
                  </a:lnTo>
                  <a:lnTo>
                    <a:pt x="14" y="579"/>
                  </a:lnTo>
                  <a:lnTo>
                    <a:pt x="27" y="518"/>
                  </a:lnTo>
                  <a:lnTo>
                    <a:pt x="46" y="459"/>
                  </a:lnTo>
                  <a:lnTo>
                    <a:pt x="68" y="401"/>
                  </a:lnTo>
                  <a:lnTo>
                    <a:pt x="95" y="348"/>
                  </a:lnTo>
                  <a:lnTo>
                    <a:pt x="127" y="297"/>
                  </a:lnTo>
                  <a:lnTo>
                    <a:pt x="163" y="249"/>
                  </a:lnTo>
                  <a:lnTo>
                    <a:pt x="204" y="205"/>
                  </a:lnTo>
                  <a:lnTo>
                    <a:pt x="247" y="166"/>
                  </a:lnTo>
                  <a:lnTo>
                    <a:pt x="292" y="132"/>
                  </a:lnTo>
                  <a:lnTo>
                    <a:pt x="340" y="101"/>
                  </a:lnTo>
                  <a:lnTo>
                    <a:pt x="392" y="75"/>
                  </a:lnTo>
                  <a:lnTo>
                    <a:pt x="445" y="52"/>
                  </a:lnTo>
                  <a:lnTo>
                    <a:pt x="501" y="33"/>
                  </a:lnTo>
                  <a:lnTo>
                    <a:pt x="561" y="19"/>
                  </a:lnTo>
                  <a:lnTo>
                    <a:pt x="623" y="8"/>
                  </a:lnTo>
                  <a:lnTo>
                    <a:pt x="687" y="2"/>
                  </a:lnTo>
                  <a:lnTo>
                    <a:pt x="75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72" name="Freeform 299">
              <a:extLst>
                <a:ext uri="{FF2B5EF4-FFF2-40B4-BE49-F238E27FC236}">
                  <a16:creationId xmlns:a16="http://schemas.microsoft.com/office/drawing/2014/main" id="{63AF90CE-E65C-4A62-ADCE-0BEF2906E58D}"/>
                </a:ext>
              </a:extLst>
            </p:cNvPr>
            <p:cNvSpPr>
              <a:spLocks/>
            </p:cNvSpPr>
            <p:nvPr/>
          </p:nvSpPr>
          <p:spPr bwMode="auto">
            <a:xfrm>
              <a:off x="7251701" y="4195763"/>
              <a:ext cx="217488" cy="215900"/>
            </a:xfrm>
            <a:custGeom>
              <a:avLst/>
              <a:gdLst>
                <a:gd name="T0" fmla="*/ 370 w 1504"/>
                <a:gd name="T1" fmla="*/ 2 h 1493"/>
                <a:gd name="T2" fmla="*/ 469 w 1504"/>
                <a:gd name="T3" fmla="*/ 22 h 1493"/>
                <a:gd name="T4" fmla="*/ 576 w 1504"/>
                <a:gd name="T5" fmla="*/ 60 h 1493"/>
                <a:gd name="T6" fmla="*/ 688 w 1504"/>
                <a:gd name="T7" fmla="*/ 115 h 1493"/>
                <a:gd name="T8" fmla="*/ 717 w 1504"/>
                <a:gd name="T9" fmla="*/ 206 h 1493"/>
                <a:gd name="T10" fmla="*/ 674 w 1504"/>
                <a:gd name="T11" fmla="*/ 315 h 1493"/>
                <a:gd name="T12" fmla="*/ 644 w 1504"/>
                <a:gd name="T13" fmla="*/ 413 h 1493"/>
                <a:gd name="T14" fmla="*/ 624 w 1504"/>
                <a:gd name="T15" fmla="*/ 497 h 1493"/>
                <a:gd name="T16" fmla="*/ 614 w 1504"/>
                <a:gd name="T17" fmla="*/ 562 h 1493"/>
                <a:gd name="T18" fmla="*/ 608 w 1504"/>
                <a:gd name="T19" fmla="*/ 606 h 1493"/>
                <a:gd name="T20" fmla="*/ 606 w 1504"/>
                <a:gd name="T21" fmla="*/ 626 h 1493"/>
                <a:gd name="T22" fmla="*/ 614 w 1504"/>
                <a:gd name="T23" fmla="*/ 695 h 1493"/>
                <a:gd name="T24" fmla="*/ 639 w 1504"/>
                <a:gd name="T25" fmla="*/ 761 h 1493"/>
                <a:gd name="T26" fmla="*/ 682 w 1504"/>
                <a:gd name="T27" fmla="*/ 816 h 1493"/>
                <a:gd name="T28" fmla="*/ 737 w 1504"/>
                <a:gd name="T29" fmla="*/ 859 h 1493"/>
                <a:gd name="T30" fmla="*/ 802 w 1504"/>
                <a:gd name="T31" fmla="*/ 884 h 1493"/>
                <a:gd name="T32" fmla="*/ 872 w 1504"/>
                <a:gd name="T33" fmla="*/ 890 h 1493"/>
                <a:gd name="T34" fmla="*/ 892 w 1504"/>
                <a:gd name="T35" fmla="*/ 889 h 1493"/>
                <a:gd name="T36" fmla="*/ 937 w 1504"/>
                <a:gd name="T37" fmla="*/ 884 h 1493"/>
                <a:gd name="T38" fmla="*/ 1003 w 1504"/>
                <a:gd name="T39" fmla="*/ 872 h 1493"/>
                <a:gd name="T40" fmla="*/ 1088 w 1504"/>
                <a:gd name="T41" fmla="*/ 853 h 1493"/>
                <a:gd name="T42" fmla="*/ 1186 w 1504"/>
                <a:gd name="T43" fmla="*/ 823 h 1493"/>
                <a:gd name="T44" fmla="*/ 1296 w 1504"/>
                <a:gd name="T45" fmla="*/ 780 h 1493"/>
                <a:gd name="T46" fmla="*/ 1386 w 1504"/>
                <a:gd name="T47" fmla="*/ 807 h 1493"/>
                <a:gd name="T48" fmla="*/ 1440 w 1504"/>
                <a:gd name="T49" fmla="*/ 911 h 1493"/>
                <a:gd name="T50" fmla="*/ 1477 w 1504"/>
                <a:gd name="T51" fmla="*/ 1011 h 1493"/>
                <a:gd name="T52" fmla="*/ 1497 w 1504"/>
                <a:gd name="T53" fmla="*/ 1098 h 1493"/>
                <a:gd name="T54" fmla="*/ 1504 w 1504"/>
                <a:gd name="T55" fmla="*/ 1175 h 1493"/>
                <a:gd name="T56" fmla="*/ 1497 w 1504"/>
                <a:gd name="T57" fmla="*/ 1240 h 1493"/>
                <a:gd name="T58" fmla="*/ 1483 w 1504"/>
                <a:gd name="T59" fmla="*/ 1295 h 1493"/>
                <a:gd name="T60" fmla="*/ 1463 w 1504"/>
                <a:gd name="T61" fmla="*/ 1340 h 1493"/>
                <a:gd name="T62" fmla="*/ 1439 w 1504"/>
                <a:gd name="T63" fmla="*/ 1377 h 1493"/>
                <a:gd name="T64" fmla="*/ 1414 w 1504"/>
                <a:gd name="T65" fmla="*/ 1405 h 1493"/>
                <a:gd name="T66" fmla="*/ 1382 w 1504"/>
                <a:gd name="T67" fmla="*/ 1432 h 1493"/>
                <a:gd name="T68" fmla="*/ 1339 w 1504"/>
                <a:gd name="T69" fmla="*/ 1458 h 1493"/>
                <a:gd name="T70" fmla="*/ 1285 w 1504"/>
                <a:gd name="T71" fmla="*/ 1479 h 1493"/>
                <a:gd name="T72" fmla="*/ 1219 w 1504"/>
                <a:gd name="T73" fmla="*/ 1491 h 1493"/>
                <a:gd name="T74" fmla="*/ 1134 w 1504"/>
                <a:gd name="T75" fmla="*/ 1491 h 1493"/>
                <a:gd name="T76" fmla="*/ 1036 w 1504"/>
                <a:gd name="T77" fmla="*/ 1471 h 1493"/>
                <a:gd name="T78" fmla="*/ 930 w 1504"/>
                <a:gd name="T79" fmla="*/ 1435 h 1493"/>
                <a:gd name="T80" fmla="*/ 819 w 1504"/>
                <a:gd name="T81" fmla="*/ 1381 h 1493"/>
                <a:gd name="T82" fmla="*/ 706 w 1504"/>
                <a:gd name="T83" fmla="*/ 1311 h 1493"/>
                <a:gd name="T84" fmla="*/ 591 w 1504"/>
                <a:gd name="T85" fmla="*/ 1227 h 1493"/>
                <a:gd name="T86" fmla="*/ 477 w 1504"/>
                <a:gd name="T87" fmla="*/ 1129 h 1493"/>
                <a:gd name="T88" fmla="*/ 362 w 1504"/>
                <a:gd name="T89" fmla="*/ 1015 h 1493"/>
                <a:gd name="T90" fmla="*/ 257 w 1504"/>
                <a:gd name="T91" fmla="*/ 892 h 1493"/>
                <a:gd name="T92" fmla="*/ 166 w 1504"/>
                <a:gd name="T93" fmla="*/ 766 h 1493"/>
                <a:gd name="T94" fmla="*/ 93 w 1504"/>
                <a:gd name="T95" fmla="*/ 642 h 1493"/>
                <a:gd name="T96" fmla="*/ 43 w 1504"/>
                <a:gd name="T97" fmla="*/ 531 h 1493"/>
                <a:gd name="T98" fmla="*/ 15 w 1504"/>
                <a:gd name="T99" fmla="*/ 437 h 1493"/>
                <a:gd name="T100" fmla="*/ 1 w 1504"/>
                <a:gd name="T101" fmla="*/ 355 h 1493"/>
                <a:gd name="T102" fmla="*/ 2 w 1504"/>
                <a:gd name="T103" fmla="*/ 285 h 1493"/>
                <a:gd name="T104" fmla="*/ 13 w 1504"/>
                <a:gd name="T105" fmla="*/ 224 h 1493"/>
                <a:gd name="T106" fmla="*/ 31 w 1504"/>
                <a:gd name="T107" fmla="*/ 173 h 1493"/>
                <a:gd name="T108" fmla="*/ 53 w 1504"/>
                <a:gd name="T109" fmla="*/ 133 h 1493"/>
                <a:gd name="T110" fmla="*/ 78 w 1504"/>
                <a:gd name="T111" fmla="*/ 102 h 1493"/>
                <a:gd name="T112" fmla="*/ 105 w 1504"/>
                <a:gd name="T113" fmla="*/ 75 h 1493"/>
                <a:gd name="T114" fmla="*/ 142 w 1504"/>
                <a:gd name="T115" fmla="*/ 48 h 1493"/>
                <a:gd name="T116" fmla="*/ 190 w 1504"/>
                <a:gd name="T117" fmla="*/ 24 h 1493"/>
                <a:gd name="T118" fmla="*/ 250 w 1504"/>
                <a:gd name="T119" fmla="*/ 6 h 1493"/>
                <a:gd name="T120" fmla="*/ 323 w 1504"/>
                <a:gd name="T121" fmla="*/ 0 h 14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504" h="1493">
                  <a:moveTo>
                    <a:pt x="323" y="0"/>
                  </a:moveTo>
                  <a:lnTo>
                    <a:pt x="370" y="2"/>
                  </a:lnTo>
                  <a:lnTo>
                    <a:pt x="418" y="10"/>
                  </a:lnTo>
                  <a:lnTo>
                    <a:pt x="469" y="22"/>
                  </a:lnTo>
                  <a:lnTo>
                    <a:pt x="522" y="39"/>
                  </a:lnTo>
                  <a:lnTo>
                    <a:pt x="576" y="60"/>
                  </a:lnTo>
                  <a:lnTo>
                    <a:pt x="631" y="86"/>
                  </a:lnTo>
                  <a:lnTo>
                    <a:pt x="688" y="115"/>
                  </a:lnTo>
                  <a:lnTo>
                    <a:pt x="745" y="148"/>
                  </a:lnTo>
                  <a:lnTo>
                    <a:pt x="717" y="206"/>
                  </a:lnTo>
                  <a:lnTo>
                    <a:pt x="694" y="262"/>
                  </a:lnTo>
                  <a:lnTo>
                    <a:pt x="674" y="315"/>
                  </a:lnTo>
                  <a:lnTo>
                    <a:pt x="658" y="366"/>
                  </a:lnTo>
                  <a:lnTo>
                    <a:pt x="644" y="413"/>
                  </a:lnTo>
                  <a:lnTo>
                    <a:pt x="634" y="456"/>
                  </a:lnTo>
                  <a:lnTo>
                    <a:pt x="624" y="497"/>
                  </a:lnTo>
                  <a:lnTo>
                    <a:pt x="618" y="531"/>
                  </a:lnTo>
                  <a:lnTo>
                    <a:pt x="614" y="562"/>
                  </a:lnTo>
                  <a:lnTo>
                    <a:pt x="611" y="587"/>
                  </a:lnTo>
                  <a:lnTo>
                    <a:pt x="608" y="606"/>
                  </a:lnTo>
                  <a:lnTo>
                    <a:pt x="607" y="620"/>
                  </a:lnTo>
                  <a:lnTo>
                    <a:pt x="606" y="626"/>
                  </a:lnTo>
                  <a:lnTo>
                    <a:pt x="607" y="661"/>
                  </a:lnTo>
                  <a:lnTo>
                    <a:pt x="614" y="695"/>
                  </a:lnTo>
                  <a:lnTo>
                    <a:pt x="624" y="729"/>
                  </a:lnTo>
                  <a:lnTo>
                    <a:pt x="639" y="761"/>
                  </a:lnTo>
                  <a:lnTo>
                    <a:pt x="658" y="790"/>
                  </a:lnTo>
                  <a:lnTo>
                    <a:pt x="682" y="816"/>
                  </a:lnTo>
                  <a:lnTo>
                    <a:pt x="708" y="839"/>
                  </a:lnTo>
                  <a:lnTo>
                    <a:pt x="737" y="859"/>
                  </a:lnTo>
                  <a:lnTo>
                    <a:pt x="769" y="873"/>
                  </a:lnTo>
                  <a:lnTo>
                    <a:pt x="802" y="884"/>
                  </a:lnTo>
                  <a:lnTo>
                    <a:pt x="838" y="890"/>
                  </a:lnTo>
                  <a:lnTo>
                    <a:pt x="872" y="890"/>
                  </a:lnTo>
                  <a:lnTo>
                    <a:pt x="880" y="890"/>
                  </a:lnTo>
                  <a:lnTo>
                    <a:pt x="892" y="889"/>
                  </a:lnTo>
                  <a:lnTo>
                    <a:pt x="912" y="887"/>
                  </a:lnTo>
                  <a:lnTo>
                    <a:pt x="937" y="884"/>
                  </a:lnTo>
                  <a:lnTo>
                    <a:pt x="968" y="880"/>
                  </a:lnTo>
                  <a:lnTo>
                    <a:pt x="1003" y="872"/>
                  </a:lnTo>
                  <a:lnTo>
                    <a:pt x="1044" y="864"/>
                  </a:lnTo>
                  <a:lnTo>
                    <a:pt x="1088" y="853"/>
                  </a:lnTo>
                  <a:lnTo>
                    <a:pt x="1136" y="839"/>
                  </a:lnTo>
                  <a:lnTo>
                    <a:pt x="1186" y="823"/>
                  </a:lnTo>
                  <a:lnTo>
                    <a:pt x="1241" y="804"/>
                  </a:lnTo>
                  <a:lnTo>
                    <a:pt x="1296" y="780"/>
                  </a:lnTo>
                  <a:lnTo>
                    <a:pt x="1355" y="753"/>
                  </a:lnTo>
                  <a:lnTo>
                    <a:pt x="1386" y="807"/>
                  </a:lnTo>
                  <a:lnTo>
                    <a:pt x="1415" y="859"/>
                  </a:lnTo>
                  <a:lnTo>
                    <a:pt x="1440" y="911"/>
                  </a:lnTo>
                  <a:lnTo>
                    <a:pt x="1461" y="962"/>
                  </a:lnTo>
                  <a:lnTo>
                    <a:pt x="1477" y="1011"/>
                  </a:lnTo>
                  <a:lnTo>
                    <a:pt x="1489" y="1056"/>
                  </a:lnTo>
                  <a:lnTo>
                    <a:pt x="1497" y="1098"/>
                  </a:lnTo>
                  <a:lnTo>
                    <a:pt x="1502" y="1137"/>
                  </a:lnTo>
                  <a:lnTo>
                    <a:pt x="1504" y="1175"/>
                  </a:lnTo>
                  <a:lnTo>
                    <a:pt x="1502" y="1208"/>
                  </a:lnTo>
                  <a:lnTo>
                    <a:pt x="1497" y="1240"/>
                  </a:lnTo>
                  <a:lnTo>
                    <a:pt x="1491" y="1269"/>
                  </a:lnTo>
                  <a:lnTo>
                    <a:pt x="1483" y="1295"/>
                  </a:lnTo>
                  <a:lnTo>
                    <a:pt x="1473" y="1318"/>
                  </a:lnTo>
                  <a:lnTo>
                    <a:pt x="1463" y="1340"/>
                  </a:lnTo>
                  <a:lnTo>
                    <a:pt x="1450" y="1360"/>
                  </a:lnTo>
                  <a:lnTo>
                    <a:pt x="1439" y="1377"/>
                  </a:lnTo>
                  <a:lnTo>
                    <a:pt x="1426" y="1391"/>
                  </a:lnTo>
                  <a:lnTo>
                    <a:pt x="1414" y="1405"/>
                  </a:lnTo>
                  <a:lnTo>
                    <a:pt x="1399" y="1418"/>
                  </a:lnTo>
                  <a:lnTo>
                    <a:pt x="1382" y="1432"/>
                  </a:lnTo>
                  <a:lnTo>
                    <a:pt x="1361" y="1445"/>
                  </a:lnTo>
                  <a:lnTo>
                    <a:pt x="1339" y="1458"/>
                  </a:lnTo>
                  <a:lnTo>
                    <a:pt x="1313" y="1469"/>
                  </a:lnTo>
                  <a:lnTo>
                    <a:pt x="1285" y="1479"/>
                  </a:lnTo>
                  <a:lnTo>
                    <a:pt x="1253" y="1487"/>
                  </a:lnTo>
                  <a:lnTo>
                    <a:pt x="1219" y="1491"/>
                  </a:lnTo>
                  <a:lnTo>
                    <a:pt x="1180" y="1493"/>
                  </a:lnTo>
                  <a:lnTo>
                    <a:pt x="1134" y="1491"/>
                  </a:lnTo>
                  <a:lnTo>
                    <a:pt x="1086" y="1484"/>
                  </a:lnTo>
                  <a:lnTo>
                    <a:pt x="1036" y="1471"/>
                  </a:lnTo>
                  <a:lnTo>
                    <a:pt x="983" y="1456"/>
                  </a:lnTo>
                  <a:lnTo>
                    <a:pt x="930" y="1435"/>
                  </a:lnTo>
                  <a:lnTo>
                    <a:pt x="875" y="1410"/>
                  </a:lnTo>
                  <a:lnTo>
                    <a:pt x="819" y="1381"/>
                  </a:lnTo>
                  <a:lnTo>
                    <a:pt x="762" y="1348"/>
                  </a:lnTo>
                  <a:lnTo>
                    <a:pt x="706" y="1311"/>
                  </a:lnTo>
                  <a:lnTo>
                    <a:pt x="648" y="1271"/>
                  </a:lnTo>
                  <a:lnTo>
                    <a:pt x="591" y="1227"/>
                  </a:lnTo>
                  <a:lnTo>
                    <a:pt x="533" y="1180"/>
                  </a:lnTo>
                  <a:lnTo>
                    <a:pt x="477" y="1129"/>
                  </a:lnTo>
                  <a:lnTo>
                    <a:pt x="421" y="1075"/>
                  </a:lnTo>
                  <a:lnTo>
                    <a:pt x="362" y="1015"/>
                  </a:lnTo>
                  <a:lnTo>
                    <a:pt x="308" y="954"/>
                  </a:lnTo>
                  <a:lnTo>
                    <a:pt x="257" y="892"/>
                  </a:lnTo>
                  <a:lnTo>
                    <a:pt x="210" y="830"/>
                  </a:lnTo>
                  <a:lnTo>
                    <a:pt x="166" y="766"/>
                  </a:lnTo>
                  <a:lnTo>
                    <a:pt x="127" y="705"/>
                  </a:lnTo>
                  <a:lnTo>
                    <a:pt x="93" y="642"/>
                  </a:lnTo>
                  <a:lnTo>
                    <a:pt x="64" y="582"/>
                  </a:lnTo>
                  <a:lnTo>
                    <a:pt x="43" y="531"/>
                  </a:lnTo>
                  <a:lnTo>
                    <a:pt x="26" y="482"/>
                  </a:lnTo>
                  <a:lnTo>
                    <a:pt x="15" y="437"/>
                  </a:lnTo>
                  <a:lnTo>
                    <a:pt x="6" y="395"/>
                  </a:lnTo>
                  <a:lnTo>
                    <a:pt x="1" y="355"/>
                  </a:lnTo>
                  <a:lnTo>
                    <a:pt x="0" y="318"/>
                  </a:lnTo>
                  <a:lnTo>
                    <a:pt x="2" y="285"/>
                  </a:lnTo>
                  <a:lnTo>
                    <a:pt x="6" y="252"/>
                  </a:lnTo>
                  <a:lnTo>
                    <a:pt x="13" y="224"/>
                  </a:lnTo>
                  <a:lnTo>
                    <a:pt x="21" y="197"/>
                  </a:lnTo>
                  <a:lnTo>
                    <a:pt x="31" y="173"/>
                  </a:lnTo>
                  <a:lnTo>
                    <a:pt x="41" y="153"/>
                  </a:lnTo>
                  <a:lnTo>
                    <a:pt x="53" y="133"/>
                  </a:lnTo>
                  <a:lnTo>
                    <a:pt x="65" y="116"/>
                  </a:lnTo>
                  <a:lnTo>
                    <a:pt x="78" y="102"/>
                  </a:lnTo>
                  <a:lnTo>
                    <a:pt x="89" y="88"/>
                  </a:lnTo>
                  <a:lnTo>
                    <a:pt x="105" y="75"/>
                  </a:lnTo>
                  <a:lnTo>
                    <a:pt x="122" y="61"/>
                  </a:lnTo>
                  <a:lnTo>
                    <a:pt x="142" y="48"/>
                  </a:lnTo>
                  <a:lnTo>
                    <a:pt x="165" y="35"/>
                  </a:lnTo>
                  <a:lnTo>
                    <a:pt x="190" y="24"/>
                  </a:lnTo>
                  <a:lnTo>
                    <a:pt x="219" y="14"/>
                  </a:lnTo>
                  <a:lnTo>
                    <a:pt x="250" y="6"/>
                  </a:lnTo>
                  <a:lnTo>
                    <a:pt x="285" y="2"/>
                  </a:lnTo>
                  <a:lnTo>
                    <a:pt x="32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73" name="Freeform 300">
              <a:extLst>
                <a:ext uri="{FF2B5EF4-FFF2-40B4-BE49-F238E27FC236}">
                  <a16:creationId xmlns:a16="http://schemas.microsoft.com/office/drawing/2014/main" id="{860AAE2A-6BE8-4DDA-BEB8-E9AE2F98176A}"/>
                </a:ext>
              </a:extLst>
            </p:cNvPr>
            <p:cNvSpPr>
              <a:spLocks/>
            </p:cNvSpPr>
            <p:nvPr/>
          </p:nvSpPr>
          <p:spPr bwMode="auto">
            <a:xfrm>
              <a:off x="7364413" y="4037013"/>
              <a:ext cx="265113" cy="263525"/>
            </a:xfrm>
            <a:custGeom>
              <a:avLst/>
              <a:gdLst>
                <a:gd name="T0" fmla="*/ 1289 w 1835"/>
                <a:gd name="T1" fmla="*/ 2 h 1823"/>
                <a:gd name="T2" fmla="*/ 1327 w 1835"/>
                <a:gd name="T3" fmla="*/ 23 h 1823"/>
                <a:gd name="T4" fmla="*/ 1350 w 1835"/>
                <a:gd name="T5" fmla="*/ 60 h 1823"/>
                <a:gd name="T6" fmla="*/ 1776 w 1835"/>
                <a:gd name="T7" fmla="*/ 482 h 1823"/>
                <a:gd name="T8" fmla="*/ 1812 w 1835"/>
                <a:gd name="T9" fmla="*/ 505 h 1823"/>
                <a:gd name="T10" fmla="*/ 1833 w 1835"/>
                <a:gd name="T11" fmla="*/ 543 h 1823"/>
                <a:gd name="T12" fmla="*/ 1832 w 1835"/>
                <a:gd name="T13" fmla="*/ 586 h 1823"/>
                <a:gd name="T14" fmla="*/ 1810 w 1835"/>
                <a:gd name="T15" fmla="*/ 622 h 1823"/>
                <a:gd name="T16" fmla="*/ 1498 w 1835"/>
                <a:gd name="T17" fmla="*/ 929 h 1823"/>
                <a:gd name="T18" fmla="*/ 1459 w 1835"/>
                <a:gd name="T19" fmla="*/ 942 h 1823"/>
                <a:gd name="T20" fmla="*/ 1253 w 1835"/>
                <a:gd name="T21" fmla="*/ 903 h 1823"/>
                <a:gd name="T22" fmla="*/ 1194 w 1835"/>
                <a:gd name="T23" fmla="*/ 1011 h 1823"/>
                <a:gd name="T24" fmla="*/ 1118 w 1835"/>
                <a:gd name="T25" fmla="*/ 1126 h 1823"/>
                <a:gd name="T26" fmla="*/ 1030 w 1835"/>
                <a:gd name="T27" fmla="*/ 1243 h 1823"/>
                <a:gd name="T28" fmla="*/ 930 w 1835"/>
                <a:gd name="T29" fmla="*/ 1362 h 1823"/>
                <a:gd name="T30" fmla="*/ 823 w 1835"/>
                <a:gd name="T31" fmla="*/ 1475 h 1823"/>
                <a:gd name="T32" fmla="*/ 705 w 1835"/>
                <a:gd name="T33" fmla="*/ 1578 h 1823"/>
                <a:gd name="T34" fmla="*/ 585 w 1835"/>
                <a:gd name="T35" fmla="*/ 1659 h 1823"/>
                <a:gd name="T36" fmla="*/ 470 w 1835"/>
                <a:gd name="T37" fmla="*/ 1719 h 1823"/>
                <a:gd name="T38" fmla="*/ 363 w 1835"/>
                <a:gd name="T39" fmla="*/ 1763 h 1823"/>
                <a:gd name="T40" fmla="*/ 268 w 1835"/>
                <a:gd name="T41" fmla="*/ 1792 h 1823"/>
                <a:gd name="T42" fmla="*/ 187 w 1835"/>
                <a:gd name="T43" fmla="*/ 1810 h 1823"/>
                <a:gd name="T44" fmla="*/ 130 w 1835"/>
                <a:gd name="T45" fmla="*/ 1819 h 1823"/>
                <a:gd name="T46" fmla="*/ 95 w 1835"/>
                <a:gd name="T47" fmla="*/ 1823 h 1823"/>
                <a:gd name="T48" fmla="*/ 71 w 1835"/>
                <a:gd name="T49" fmla="*/ 1822 h 1823"/>
                <a:gd name="T50" fmla="*/ 39 w 1835"/>
                <a:gd name="T51" fmla="*/ 1810 h 1823"/>
                <a:gd name="T52" fmla="*/ 14 w 1835"/>
                <a:gd name="T53" fmla="*/ 1785 h 1823"/>
                <a:gd name="T54" fmla="*/ 1 w 1835"/>
                <a:gd name="T55" fmla="*/ 1753 h 1823"/>
                <a:gd name="T56" fmla="*/ 0 w 1835"/>
                <a:gd name="T57" fmla="*/ 1729 h 1823"/>
                <a:gd name="T58" fmla="*/ 3 w 1835"/>
                <a:gd name="T59" fmla="*/ 1695 h 1823"/>
                <a:gd name="T60" fmla="*/ 13 w 1835"/>
                <a:gd name="T61" fmla="*/ 1636 h 1823"/>
                <a:gd name="T62" fmla="*/ 30 w 1835"/>
                <a:gd name="T63" fmla="*/ 1557 h 1823"/>
                <a:gd name="T64" fmla="*/ 61 w 1835"/>
                <a:gd name="T65" fmla="*/ 1463 h 1823"/>
                <a:gd name="T66" fmla="*/ 105 w 1835"/>
                <a:gd name="T67" fmla="*/ 1357 h 1823"/>
                <a:gd name="T68" fmla="*/ 165 w 1835"/>
                <a:gd name="T69" fmla="*/ 1242 h 1823"/>
                <a:gd name="T70" fmla="*/ 247 w 1835"/>
                <a:gd name="T71" fmla="*/ 1124 h 1823"/>
                <a:gd name="T72" fmla="*/ 351 w 1835"/>
                <a:gd name="T73" fmla="*/ 1007 h 1823"/>
                <a:gd name="T74" fmla="*/ 465 w 1835"/>
                <a:gd name="T75" fmla="*/ 899 h 1823"/>
                <a:gd name="T76" fmla="*/ 583 w 1835"/>
                <a:gd name="T77" fmla="*/ 800 h 1823"/>
                <a:gd name="T78" fmla="*/ 703 w 1835"/>
                <a:gd name="T79" fmla="*/ 712 h 1823"/>
                <a:gd name="T80" fmla="*/ 818 w 1835"/>
                <a:gd name="T81" fmla="*/ 637 h 1823"/>
                <a:gd name="T82" fmla="*/ 927 w 1835"/>
                <a:gd name="T83" fmla="*/ 579 h 1823"/>
                <a:gd name="T84" fmla="*/ 888 w 1835"/>
                <a:gd name="T85" fmla="*/ 374 h 1823"/>
                <a:gd name="T86" fmla="*/ 900 w 1835"/>
                <a:gd name="T87" fmla="*/ 335 h 1823"/>
                <a:gd name="T88" fmla="*/ 1208 w 1835"/>
                <a:gd name="T89" fmla="*/ 25 h 1823"/>
                <a:gd name="T90" fmla="*/ 1246 w 1835"/>
                <a:gd name="T91" fmla="*/ 3 h 18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835" h="1823">
                  <a:moveTo>
                    <a:pt x="1267" y="0"/>
                  </a:moveTo>
                  <a:lnTo>
                    <a:pt x="1289" y="2"/>
                  </a:lnTo>
                  <a:lnTo>
                    <a:pt x="1310" y="11"/>
                  </a:lnTo>
                  <a:lnTo>
                    <a:pt x="1327" y="23"/>
                  </a:lnTo>
                  <a:lnTo>
                    <a:pt x="1341" y="40"/>
                  </a:lnTo>
                  <a:lnTo>
                    <a:pt x="1350" y="60"/>
                  </a:lnTo>
                  <a:lnTo>
                    <a:pt x="1451" y="381"/>
                  </a:lnTo>
                  <a:lnTo>
                    <a:pt x="1776" y="482"/>
                  </a:lnTo>
                  <a:lnTo>
                    <a:pt x="1796" y="491"/>
                  </a:lnTo>
                  <a:lnTo>
                    <a:pt x="1812" y="505"/>
                  </a:lnTo>
                  <a:lnTo>
                    <a:pt x="1825" y="522"/>
                  </a:lnTo>
                  <a:lnTo>
                    <a:pt x="1833" y="543"/>
                  </a:lnTo>
                  <a:lnTo>
                    <a:pt x="1835" y="565"/>
                  </a:lnTo>
                  <a:lnTo>
                    <a:pt x="1832" y="586"/>
                  </a:lnTo>
                  <a:lnTo>
                    <a:pt x="1824" y="606"/>
                  </a:lnTo>
                  <a:lnTo>
                    <a:pt x="1810" y="622"/>
                  </a:lnTo>
                  <a:lnTo>
                    <a:pt x="1515" y="917"/>
                  </a:lnTo>
                  <a:lnTo>
                    <a:pt x="1498" y="929"/>
                  </a:lnTo>
                  <a:lnTo>
                    <a:pt x="1479" y="937"/>
                  </a:lnTo>
                  <a:lnTo>
                    <a:pt x="1459" y="942"/>
                  </a:lnTo>
                  <a:lnTo>
                    <a:pt x="1439" y="939"/>
                  </a:lnTo>
                  <a:lnTo>
                    <a:pt x="1253" y="903"/>
                  </a:lnTo>
                  <a:lnTo>
                    <a:pt x="1226" y="956"/>
                  </a:lnTo>
                  <a:lnTo>
                    <a:pt x="1194" y="1011"/>
                  </a:lnTo>
                  <a:lnTo>
                    <a:pt x="1158" y="1067"/>
                  </a:lnTo>
                  <a:lnTo>
                    <a:pt x="1118" y="1126"/>
                  </a:lnTo>
                  <a:lnTo>
                    <a:pt x="1075" y="1184"/>
                  </a:lnTo>
                  <a:lnTo>
                    <a:pt x="1030" y="1243"/>
                  </a:lnTo>
                  <a:lnTo>
                    <a:pt x="981" y="1302"/>
                  </a:lnTo>
                  <a:lnTo>
                    <a:pt x="930" y="1362"/>
                  </a:lnTo>
                  <a:lnTo>
                    <a:pt x="877" y="1419"/>
                  </a:lnTo>
                  <a:lnTo>
                    <a:pt x="823" y="1475"/>
                  </a:lnTo>
                  <a:lnTo>
                    <a:pt x="763" y="1529"/>
                  </a:lnTo>
                  <a:lnTo>
                    <a:pt x="705" y="1578"/>
                  </a:lnTo>
                  <a:lnTo>
                    <a:pt x="645" y="1622"/>
                  </a:lnTo>
                  <a:lnTo>
                    <a:pt x="585" y="1659"/>
                  </a:lnTo>
                  <a:lnTo>
                    <a:pt x="528" y="1691"/>
                  </a:lnTo>
                  <a:lnTo>
                    <a:pt x="470" y="1719"/>
                  </a:lnTo>
                  <a:lnTo>
                    <a:pt x="416" y="1743"/>
                  </a:lnTo>
                  <a:lnTo>
                    <a:pt x="363" y="1763"/>
                  </a:lnTo>
                  <a:lnTo>
                    <a:pt x="314" y="1780"/>
                  </a:lnTo>
                  <a:lnTo>
                    <a:pt x="268" y="1792"/>
                  </a:lnTo>
                  <a:lnTo>
                    <a:pt x="226" y="1803"/>
                  </a:lnTo>
                  <a:lnTo>
                    <a:pt x="187" y="1810"/>
                  </a:lnTo>
                  <a:lnTo>
                    <a:pt x="156" y="1816"/>
                  </a:lnTo>
                  <a:lnTo>
                    <a:pt x="130" y="1819"/>
                  </a:lnTo>
                  <a:lnTo>
                    <a:pt x="109" y="1821"/>
                  </a:lnTo>
                  <a:lnTo>
                    <a:pt x="95" y="1823"/>
                  </a:lnTo>
                  <a:lnTo>
                    <a:pt x="88" y="1823"/>
                  </a:lnTo>
                  <a:lnTo>
                    <a:pt x="71" y="1822"/>
                  </a:lnTo>
                  <a:lnTo>
                    <a:pt x="54" y="1817"/>
                  </a:lnTo>
                  <a:lnTo>
                    <a:pt x="39" y="1810"/>
                  </a:lnTo>
                  <a:lnTo>
                    <a:pt x="25" y="1799"/>
                  </a:lnTo>
                  <a:lnTo>
                    <a:pt x="14" y="1785"/>
                  </a:lnTo>
                  <a:lnTo>
                    <a:pt x="5" y="1769"/>
                  </a:lnTo>
                  <a:lnTo>
                    <a:pt x="1" y="1753"/>
                  </a:lnTo>
                  <a:lnTo>
                    <a:pt x="0" y="1735"/>
                  </a:lnTo>
                  <a:lnTo>
                    <a:pt x="0" y="1729"/>
                  </a:lnTo>
                  <a:lnTo>
                    <a:pt x="1" y="1715"/>
                  </a:lnTo>
                  <a:lnTo>
                    <a:pt x="3" y="1695"/>
                  </a:lnTo>
                  <a:lnTo>
                    <a:pt x="7" y="1669"/>
                  </a:lnTo>
                  <a:lnTo>
                    <a:pt x="13" y="1636"/>
                  </a:lnTo>
                  <a:lnTo>
                    <a:pt x="21" y="1599"/>
                  </a:lnTo>
                  <a:lnTo>
                    <a:pt x="30" y="1557"/>
                  </a:lnTo>
                  <a:lnTo>
                    <a:pt x="44" y="1511"/>
                  </a:lnTo>
                  <a:lnTo>
                    <a:pt x="61" y="1463"/>
                  </a:lnTo>
                  <a:lnTo>
                    <a:pt x="81" y="1411"/>
                  </a:lnTo>
                  <a:lnTo>
                    <a:pt x="105" y="1357"/>
                  </a:lnTo>
                  <a:lnTo>
                    <a:pt x="133" y="1299"/>
                  </a:lnTo>
                  <a:lnTo>
                    <a:pt x="165" y="1242"/>
                  </a:lnTo>
                  <a:lnTo>
                    <a:pt x="203" y="1183"/>
                  </a:lnTo>
                  <a:lnTo>
                    <a:pt x="247" y="1124"/>
                  </a:lnTo>
                  <a:lnTo>
                    <a:pt x="295" y="1065"/>
                  </a:lnTo>
                  <a:lnTo>
                    <a:pt x="351" y="1007"/>
                  </a:lnTo>
                  <a:lnTo>
                    <a:pt x="407" y="952"/>
                  </a:lnTo>
                  <a:lnTo>
                    <a:pt x="465" y="899"/>
                  </a:lnTo>
                  <a:lnTo>
                    <a:pt x="525" y="849"/>
                  </a:lnTo>
                  <a:lnTo>
                    <a:pt x="583" y="800"/>
                  </a:lnTo>
                  <a:lnTo>
                    <a:pt x="643" y="754"/>
                  </a:lnTo>
                  <a:lnTo>
                    <a:pt x="703" y="712"/>
                  </a:lnTo>
                  <a:lnTo>
                    <a:pt x="761" y="673"/>
                  </a:lnTo>
                  <a:lnTo>
                    <a:pt x="818" y="637"/>
                  </a:lnTo>
                  <a:lnTo>
                    <a:pt x="873" y="606"/>
                  </a:lnTo>
                  <a:lnTo>
                    <a:pt x="927" y="579"/>
                  </a:lnTo>
                  <a:lnTo>
                    <a:pt x="890" y="395"/>
                  </a:lnTo>
                  <a:lnTo>
                    <a:pt x="888" y="374"/>
                  </a:lnTo>
                  <a:lnTo>
                    <a:pt x="892" y="354"/>
                  </a:lnTo>
                  <a:lnTo>
                    <a:pt x="900" y="335"/>
                  </a:lnTo>
                  <a:lnTo>
                    <a:pt x="913" y="319"/>
                  </a:lnTo>
                  <a:lnTo>
                    <a:pt x="1208" y="25"/>
                  </a:lnTo>
                  <a:lnTo>
                    <a:pt x="1226" y="12"/>
                  </a:lnTo>
                  <a:lnTo>
                    <a:pt x="1246" y="3"/>
                  </a:lnTo>
                  <a:lnTo>
                    <a:pt x="126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grpSp>
      <p:sp>
        <p:nvSpPr>
          <p:cNvPr id="74" name="Rectangle 68">
            <a:extLst>
              <a:ext uri="{FF2B5EF4-FFF2-40B4-BE49-F238E27FC236}">
                <a16:creationId xmlns:a16="http://schemas.microsoft.com/office/drawing/2014/main" id="{88E9D491-F524-4F74-9393-69BF47B2B2A4}"/>
              </a:ext>
            </a:extLst>
          </p:cNvPr>
          <p:cNvSpPr/>
          <p:nvPr/>
        </p:nvSpPr>
        <p:spPr>
          <a:xfrm>
            <a:off x="7300687" y="5474766"/>
            <a:ext cx="3439884" cy="693395"/>
          </a:xfrm>
          <a:prstGeom prst="rect">
            <a:avLst/>
          </a:prstGeom>
        </p:spPr>
        <p:txBody>
          <a:bodyPr wrap="square">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lumMod val="50000"/>
                    <a:lumOff val="50000"/>
                  </a:srgbClr>
                </a:solidFill>
                <a:effectLst/>
                <a:uLnTx/>
                <a:uFillTx/>
                <a:latin typeface="等线" panose="020F0502020204030204"/>
                <a:ea typeface="+mn-ea"/>
                <a:cs typeface="+mn-cs"/>
              </a:rPr>
              <a:t>Lorem Ipsum is simply dummy text of the printing and typesetting industry. Lorem Ipsum has been the industry's standard dummy text ever since the.</a:t>
            </a:r>
          </a:p>
        </p:txBody>
      </p:sp>
      <p:grpSp>
        <p:nvGrpSpPr>
          <p:cNvPr id="75" name="Group 69">
            <a:extLst>
              <a:ext uri="{FF2B5EF4-FFF2-40B4-BE49-F238E27FC236}">
                <a16:creationId xmlns:a16="http://schemas.microsoft.com/office/drawing/2014/main" id="{1CF08533-43A1-48CC-ACC3-7C6B5BE24082}"/>
              </a:ext>
            </a:extLst>
          </p:cNvPr>
          <p:cNvGrpSpPr/>
          <p:nvPr/>
        </p:nvGrpSpPr>
        <p:grpSpPr>
          <a:xfrm flipH="1">
            <a:off x="6676935" y="5657585"/>
            <a:ext cx="329932" cy="327755"/>
            <a:chOff x="7148513" y="4037013"/>
            <a:chExt cx="481013" cy="477838"/>
          </a:xfrm>
          <a:solidFill>
            <a:schemeClr val="tx2"/>
          </a:solidFill>
        </p:grpSpPr>
        <p:sp>
          <p:nvSpPr>
            <p:cNvPr id="76" name="Freeform 298">
              <a:extLst>
                <a:ext uri="{FF2B5EF4-FFF2-40B4-BE49-F238E27FC236}">
                  <a16:creationId xmlns:a16="http://schemas.microsoft.com/office/drawing/2014/main" id="{8C14CDC7-54FF-441E-9602-7032E06491A0}"/>
                </a:ext>
              </a:extLst>
            </p:cNvPr>
            <p:cNvSpPr>
              <a:spLocks/>
            </p:cNvSpPr>
            <p:nvPr/>
          </p:nvSpPr>
          <p:spPr bwMode="auto">
            <a:xfrm>
              <a:off x="7148513" y="4110038"/>
              <a:ext cx="406400" cy="404813"/>
            </a:xfrm>
            <a:custGeom>
              <a:avLst/>
              <a:gdLst>
                <a:gd name="T0" fmla="*/ 910 w 2818"/>
                <a:gd name="T1" fmla="*/ 10 h 2801"/>
                <a:gd name="T2" fmla="*/ 1156 w 2818"/>
                <a:gd name="T3" fmla="*/ 65 h 2801"/>
                <a:gd name="T4" fmla="*/ 1408 w 2818"/>
                <a:gd name="T5" fmla="*/ 164 h 2801"/>
                <a:gd name="T6" fmla="*/ 1660 w 2818"/>
                <a:gd name="T7" fmla="*/ 305 h 2801"/>
                <a:gd name="T8" fmla="*/ 1667 w 2818"/>
                <a:gd name="T9" fmla="*/ 440 h 2801"/>
                <a:gd name="T10" fmla="*/ 1530 w 2818"/>
                <a:gd name="T11" fmla="*/ 624 h 2801"/>
                <a:gd name="T12" fmla="*/ 1309 w 2818"/>
                <a:gd name="T13" fmla="*/ 493 h 2801"/>
                <a:gd name="T14" fmla="*/ 1092 w 2818"/>
                <a:gd name="T15" fmla="*/ 400 h 2801"/>
                <a:gd name="T16" fmla="*/ 884 w 2818"/>
                <a:gd name="T17" fmla="*/ 348 h 2801"/>
                <a:gd name="T18" fmla="*/ 697 w 2818"/>
                <a:gd name="T19" fmla="*/ 340 h 2801"/>
                <a:gd name="T20" fmla="*/ 554 w 2818"/>
                <a:gd name="T21" fmla="*/ 372 h 2801"/>
                <a:gd name="T22" fmla="*/ 445 w 2818"/>
                <a:gd name="T23" fmla="*/ 444 h 2801"/>
                <a:gd name="T24" fmla="*/ 377 w 2818"/>
                <a:gd name="T25" fmla="*/ 547 h 2801"/>
                <a:gd name="T26" fmla="*/ 344 w 2818"/>
                <a:gd name="T27" fmla="*/ 684 h 2801"/>
                <a:gd name="T28" fmla="*/ 348 w 2818"/>
                <a:gd name="T29" fmla="*/ 849 h 2801"/>
                <a:gd name="T30" fmla="*/ 388 w 2818"/>
                <a:gd name="T31" fmla="*/ 1035 h 2801"/>
                <a:gd name="T32" fmla="*/ 465 w 2818"/>
                <a:gd name="T33" fmla="*/ 1236 h 2801"/>
                <a:gd name="T34" fmla="*/ 580 w 2818"/>
                <a:gd name="T35" fmla="*/ 1449 h 2801"/>
                <a:gd name="T36" fmla="*/ 734 w 2818"/>
                <a:gd name="T37" fmla="*/ 1665 h 2801"/>
                <a:gd name="T38" fmla="*/ 927 w 2818"/>
                <a:gd name="T39" fmla="*/ 1879 h 2801"/>
                <a:gd name="T40" fmla="*/ 1138 w 2818"/>
                <a:gd name="T41" fmla="*/ 2066 h 2801"/>
                <a:gd name="T42" fmla="*/ 1357 w 2818"/>
                <a:gd name="T43" fmla="*/ 2222 h 2801"/>
                <a:gd name="T44" fmla="*/ 1578 w 2818"/>
                <a:gd name="T45" fmla="*/ 2342 h 2801"/>
                <a:gd name="T46" fmla="*/ 1795 w 2818"/>
                <a:gd name="T47" fmla="*/ 2422 h 2801"/>
                <a:gd name="T48" fmla="*/ 2000 w 2818"/>
                <a:gd name="T49" fmla="*/ 2461 h 2801"/>
                <a:gd name="T50" fmla="*/ 2171 w 2818"/>
                <a:gd name="T51" fmla="*/ 2454 h 2801"/>
                <a:gd name="T52" fmla="*/ 2303 w 2818"/>
                <a:gd name="T53" fmla="*/ 2409 h 2801"/>
                <a:gd name="T54" fmla="*/ 2399 w 2818"/>
                <a:gd name="T55" fmla="*/ 2326 h 2801"/>
                <a:gd name="T56" fmla="*/ 2455 w 2818"/>
                <a:gd name="T57" fmla="*/ 2214 h 2801"/>
                <a:gd name="T58" fmla="*/ 2477 w 2818"/>
                <a:gd name="T59" fmla="*/ 2073 h 2801"/>
                <a:gd name="T60" fmla="*/ 2465 w 2818"/>
                <a:gd name="T61" fmla="*/ 1906 h 2801"/>
                <a:gd name="T62" fmla="*/ 2410 w 2818"/>
                <a:gd name="T63" fmla="*/ 1701 h 2801"/>
                <a:gd name="T64" fmla="*/ 2294 w 2818"/>
                <a:gd name="T65" fmla="*/ 1449 h 2801"/>
                <a:gd name="T66" fmla="*/ 2252 w 2818"/>
                <a:gd name="T67" fmla="*/ 1241 h 2801"/>
                <a:gd name="T68" fmla="*/ 2436 w 2818"/>
                <a:gd name="T69" fmla="*/ 1087 h 2801"/>
                <a:gd name="T70" fmla="*/ 2568 w 2818"/>
                <a:gd name="T71" fmla="*/ 1244 h 2801"/>
                <a:gd name="T72" fmla="*/ 2701 w 2818"/>
                <a:gd name="T73" fmla="*/ 1513 h 2801"/>
                <a:gd name="T74" fmla="*/ 2785 w 2818"/>
                <a:gd name="T75" fmla="*/ 1772 h 2801"/>
                <a:gd name="T76" fmla="*/ 2817 w 2818"/>
                <a:gd name="T77" fmla="*/ 2001 h 2801"/>
                <a:gd name="T78" fmla="*/ 2807 w 2818"/>
                <a:gd name="T79" fmla="*/ 2209 h 2801"/>
                <a:gd name="T80" fmla="*/ 2751 w 2818"/>
                <a:gd name="T81" fmla="*/ 2393 h 2801"/>
                <a:gd name="T82" fmla="*/ 2654 w 2818"/>
                <a:gd name="T83" fmla="*/ 2550 h 2801"/>
                <a:gd name="T84" fmla="*/ 2525 w 2818"/>
                <a:gd name="T85" fmla="*/ 2669 h 2801"/>
                <a:gd name="T86" fmla="*/ 2371 w 2818"/>
                <a:gd name="T87" fmla="*/ 2749 h 2801"/>
                <a:gd name="T88" fmla="*/ 2194 w 2818"/>
                <a:gd name="T89" fmla="*/ 2792 h 2801"/>
                <a:gd name="T90" fmla="*/ 1982 w 2818"/>
                <a:gd name="T91" fmla="*/ 2799 h 2801"/>
                <a:gd name="T92" fmla="*/ 1727 w 2818"/>
                <a:gd name="T93" fmla="*/ 2755 h 2801"/>
                <a:gd name="T94" fmla="*/ 1464 w 2818"/>
                <a:gd name="T95" fmla="*/ 2661 h 2801"/>
                <a:gd name="T96" fmla="*/ 1198 w 2818"/>
                <a:gd name="T97" fmla="*/ 2522 h 2801"/>
                <a:gd name="T98" fmla="*/ 936 w 2818"/>
                <a:gd name="T99" fmla="*/ 2340 h 2801"/>
                <a:gd name="T100" fmla="*/ 686 w 2818"/>
                <a:gd name="T101" fmla="*/ 2118 h 2801"/>
                <a:gd name="T102" fmla="*/ 486 w 2818"/>
                <a:gd name="T103" fmla="*/ 1897 h 2801"/>
                <a:gd name="T104" fmla="*/ 317 w 2818"/>
                <a:gd name="T105" fmla="*/ 1669 h 2801"/>
                <a:gd name="T106" fmla="*/ 184 w 2818"/>
                <a:gd name="T107" fmla="*/ 1438 h 2801"/>
                <a:gd name="T108" fmla="*/ 86 w 2818"/>
                <a:gd name="T109" fmla="*/ 1209 h 2801"/>
                <a:gd name="T110" fmla="*/ 24 w 2818"/>
                <a:gd name="T111" fmla="*/ 987 h 2801"/>
                <a:gd name="T112" fmla="*/ 0 w 2818"/>
                <a:gd name="T113" fmla="*/ 776 h 2801"/>
                <a:gd name="T114" fmla="*/ 14 w 2818"/>
                <a:gd name="T115" fmla="*/ 579 h 2801"/>
                <a:gd name="T116" fmla="*/ 68 w 2818"/>
                <a:gd name="T117" fmla="*/ 401 h 2801"/>
                <a:gd name="T118" fmla="*/ 163 w 2818"/>
                <a:gd name="T119" fmla="*/ 249 h 2801"/>
                <a:gd name="T120" fmla="*/ 292 w 2818"/>
                <a:gd name="T121" fmla="*/ 132 h 2801"/>
                <a:gd name="T122" fmla="*/ 445 w 2818"/>
                <a:gd name="T123" fmla="*/ 52 h 2801"/>
                <a:gd name="T124" fmla="*/ 623 w 2818"/>
                <a:gd name="T125" fmla="*/ 8 h 2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818" h="2801">
                  <a:moveTo>
                    <a:pt x="753" y="0"/>
                  </a:moveTo>
                  <a:lnTo>
                    <a:pt x="830" y="2"/>
                  </a:lnTo>
                  <a:lnTo>
                    <a:pt x="910" y="10"/>
                  </a:lnTo>
                  <a:lnTo>
                    <a:pt x="991" y="24"/>
                  </a:lnTo>
                  <a:lnTo>
                    <a:pt x="1073" y="41"/>
                  </a:lnTo>
                  <a:lnTo>
                    <a:pt x="1156" y="65"/>
                  </a:lnTo>
                  <a:lnTo>
                    <a:pt x="1240" y="93"/>
                  </a:lnTo>
                  <a:lnTo>
                    <a:pt x="1323" y="127"/>
                  </a:lnTo>
                  <a:lnTo>
                    <a:pt x="1408" y="164"/>
                  </a:lnTo>
                  <a:lnTo>
                    <a:pt x="1492" y="207"/>
                  </a:lnTo>
                  <a:lnTo>
                    <a:pt x="1577" y="254"/>
                  </a:lnTo>
                  <a:lnTo>
                    <a:pt x="1660" y="305"/>
                  </a:lnTo>
                  <a:lnTo>
                    <a:pt x="1744" y="360"/>
                  </a:lnTo>
                  <a:lnTo>
                    <a:pt x="1724" y="379"/>
                  </a:lnTo>
                  <a:lnTo>
                    <a:pt x="1667" y="440"/>
                  </a:lnTo>
                  <a:lnTo>
                    <a:pt x="1615" y="500"/>
                  </a:lnTo>
                  <a:lnTo>
                    <a:pt x="1570" y="563"/>
                  </a:lnTo>
                  <a:lnTo>
                    <a:pt x="1530" y="624"/>
                  </a:lnTo>
                  <a:lnTo>
                    <a:pt x="1456" y="576"/>
                  </a:lnTo>
                  <a:lnTo>
                    <a:pt x="1383" y="532"/>
                  </a:lnTo>
                  <a:lnTo>
                    <a:pt x="1309" y="493"/>
                  </a:lnTo>
                  <a:lnTo>
                    <a:pt x="1236" y="457"/>
                  </a:lnTo>
                  <a:lnTo>
                    <a:pt x="1163" y="426"/>
                  </a:lnTo>
                  <a:lnTo>
                    <a:pt x="1092" y="400"/>
                  </a:lnTo>
                  <a:lnTo>
                    <a:pt x="1021" y="378"/>
                  </a:lnTo>
                  <a:lnTo>
                    <a:pt x="952" y="361"/>
                  </a:lnTo>
                  <a:lnTo>
                    <a:pt x="884" y="348"/>
                  </a:lnTo>
                  <a:lnTo>
                    <a:pt x="817" y="340"/>
                  </a:lnTo>
                  <a:lnTo>
                    <a:pt x="753" y="338"/>
                  </a:lnTo>
                  <a:lnTo>
                    <a:pt x="697" y="340"/>
                  </a:lnTo>
                  <a:lnTo>
                    <a:pt x="646" y="346"/>
                  </a:lnTo>
                  <a:lnTo>
                    <a:pt x="598" y="358"/>
                  </a:lnTo>
                  <a:lnTo>
                    <a:pt x="554" y="372"/>
                  </a:lnTo>
                  <a:lnTo>
                    <a:pt x="514" y="392"/>
                  </a:lnTo>
                  <a:lnTo>
                    <a:pt x="477" y="416"/>
                  </a:lnTo>
                  <a:lnTo>
                    <a:pt x="445" y="444"/>
                  </a:lnTo>
                  <a:lnTo>
                    <a:pt x="419" y="474"/>
                  </a:lnTo>
                  <a:lnTo>
                    <a:pt x="396" y="508"/>
                  </a:lnTo>
                  <a:lnTo>
                    <a:pt x="377" y="547"/>
                  </a:lnTo>
                  <a:lnTo>
                    <a:pt x="362" y="590"/>
                  </a:lnTo>
                  <a:lnTo>
                    <a:pt x="352" y="635"/>
                  </a:lnTo>
                  <a:lnTo>
                    <a:pt x="344" y="684"/>
                  </a:lnTo>
                  <a:lnTo>
                    <a:pt x="341" y="736"/>
                  </a:lnTo>
                  <a:lnTo>
                    <a:pt x="343" y="791"/>
                  </a:lnTo>
                  <a:lnTo>
                    <a:pt x="348" y="849"/>
                  </a:lnTo>
                  <a:lnTo>
                    <a:pt x="357" y="908"/>
                  </a:lnTo>
                  <a:lnTo>
                    <a:pt x="371" y="970"/>
                  </a:lnTo>
                  <a:lnTo>
                    <a:pt x="388" y="1035"/>
                  </a:lnTo>
                  <a:lnTo>
                    <a:pt x="409" y="1100"/>
                  </a:lnTo>
                  <a:lnTo>
                    <a:pt x="436" y="1168"/>
                  </a:lnTo>
                  <a:lnTo>
                    <a:pt x="465" y="1236"/>
                  </a:lnTo>
                  <a:lnTo>
                    <a:pt x="499" y="1306"/>
                  </a:lnTo>
                  <a:lnTo>
                    <a:pt x="538" y="1377"/>
                  </a:lnTo>
                  <a:lnTo>
                    <a:pt x="580" y="1449"/>
                  </a:lnTo>
                  <a:lnTo>
                    <a:pt x="627" y="1520"/>
                  </a:lnTo>
                  <a:lnTo>
                    <a:pt x="678" y="1592"/>
                  </a:lnTo>
                  <a:lnTo>
                    <a:pt x="734" y="1665"/>
                  </a:lnTo>
                  <a:lnTo>
                    <a:pt x="794" y="1737"/>
                  </a:lnTo>
                  <a:lnTo>
                    <a:pt x="859" y="1807"/>
                  </a:lnTo>
                  <a:lnTo>
                    <a:pt x="927" y="1879"/>
                  </a:lnTo>
                  <a:lnTo>
                    <a:pt x="996" y="1945"/>
                  </a:lnTo>
                  <a:lnTo>
                    <a:pt x="1066" y="2007"/>
                  </a:lnTo>
                  <a:lnTo>
                    <a:pt x="1138" y="2066"/>
                  </a:lnTo>
                  <a:lnTo>
                    <a:pt x="1210" y="2123"/>
                  </a:lnTo>
                  <a:lnTo>
                    <a:pt x="1284" y="2173"/>
                  </a:lnTo>
                  <a:lnTo>
                    <a:pt x="1357" y="2222"/>
                  </a:lnTo>
                  <a:lnTo>
                    <a:pt x="1431" y="2266"/>
                  </a:lnTo>
                  <a:lnTo>
                    <a:pt x="1504" y="2306"/>
                  </a:lnTo>
                  <a:lnTo>
                    <a:pt x="1578" y="2342"/>
                  </a:lnTo>
                  <a:lnTo>
                    <a:pt x="1651" y="2373"/>
                  </a:lnTo>
                  <a:lnTo>
                    <a:pt x="1723" y="2400"/>
                  </a:lnTo>
                  <a:lnTo>
                    <a:pt x="1795" y="2422"/>
                  </a:lnTo>
                  <a:lnTo>
                    <a:pt x="1865" y="2440"/>
                  </a:lnTo>
                  <a:lnTo>
                    <a:pt x="1933" y="2452"/>
                  </a:lnTo>
                  <a:lnTo>
                    <a:pt x="2000" y="2461"/>
                  </a:lnTo>
                  <a:lnTo>
                    <a:pt x="2065" y="2463"/>
                  </a:lnTo>
                  <a:lnTo>
                    <a:pt x="2119" y="2461"/>
                  </a:lnTo>
                  <a:lnTo>
                    <a:pt x="2171" y="2454"/>
                  </a:lnTo>
                  <a:lnTo>
                    <a:pt x="2220" y="2443"/>
                  </a:lnTo>
                  <a:lnTo>
                    <a:pt x="2264" y="2428"/>
                  </a:lnTo>
                  <a:lnTo>
                    <a:pt x="2303" y="2409"/>
                  </a:lnTo>
                  <a:lnTo>
                    <a:pt x="2340" y="2385"/>
                  </a:lnTo>
                  <a:lnTo>
                    <a:pt x="2371" y="2357"/>
                  </a:lnTo>
                  <a:lnTo>
                    <a:pt x="2399" y="2326"/>
                  </a:lnTo>
                  <a:lnTo>
                    <a:pt x="2421" y="2293"/>
                  </a:lnTo>
                  <a:lnTo>
                    <a:pt x="2439" y="2256"/>
                  </a:lnTo>
                  <a:lnTo>
                    <a:pt x="2455" y="2214"/>
                  </a:lnTo>
                  <a:lnTo>
                    <a:pt x="2467" y="2170"/>
                  </a:lnTo>
                  <a:lnTo>
                    <a:pt x="2474" y="2123"/>
                  </a:lnTo>
                  <a:lnTo>
                    <a:pt x="2477" y="2073"/>
                  </a:lnTo>
                  <a:lnTo>
                    <a:pt x="2477" y="2020"/>
                  </a:lnTo>
                  <a:lnTo>
                    <a:pt x="2473" y="1964"/>
                  </a:lnTo>
                  <a:lnTo>
                    <a:pt x="2465" y="1906"/>
                  </a:lnTo>
                  <a:lnTo>
                    <a:pt x="2453" y="1847"/>
                  </a:lnTo>
                  <a:lnTo>
                    <a:pt x="2436" y="1785"/>
                  </a:lnTo>
                  <a:lnTo>
                    <a:pt x="2410" y="1701"/>
                  </a:lnTo>
                  <a:lnTo>
                    <a:pt x="2377" y="1618"/>
                  </a:lnTo>
                  <a:lnTo>
                    <a:pt x="2338" y="1533"/>
                  </a:lnTo>
                  <a:lnTo>
                    <a:pt x="2294" y="1449"/>
                  </a:lnTo>
                  <a:lnTo>
                    <a:pt x="2245" y="1364"/>
                  </a:lnTo>
                  <a:lnTo>
                    <a:pt x="2190" y="1280"/>
                  </a:lnTo>
                  <a:lnTo>
                    <a:pt x="2252" y="1241"/>
                  </a:lnTo>
                  <a:lnTo>
                    <a:pt x="2314" y="1195"/>
                  </a:lnTo>
                  <a:lnTo>
                    <a:pt x="2376" y="1144"/>
                  </a:lnTo>
                  <a:lnTo>
                    <a:pt x="2436" y="1087"/>
                  </a:lnTo>
                  <a:lnTo>
                    <a:pt x="2455" y="1068"/>
                  </a:lnTo>
                  <a:lnTo>
                    <a:pt x="2514" y="1155"/>
                  </a:lnTo>
                  <a:lnTo>
                    <a:pt x="2568" y="1244"/>
                  </a:lnTo>
                  <a:lnTo>
                    <a:pt x="2617" y="1333"/>
                  </a:lnTo>
                  <a:lnTo>
                    <a:pt x="2662" y="1424"/>
                  </a:lnTo>
                  <a:lnTo>
                    <a:pt x="2701" y="1513"/>
                  </a:lnTo>
                  <a:lnTo>
                    <a:pt x="2736" y="1603"/>
                  </a:lnTo>
                  <a:lnTo>
                    <a:pt x="2764" y="1692"/>
                  </a:lnTo>
                  <a:lnTo>
                    <a:pt x="2785" y="1772"/>
                  </a:lnTo>
                  <a:lnTo>
                    <a:pt x="2801" y="1850"/>
                  </a:lnTo>
                  <a:lnTo>
                    <a:pt x="2812" y="1927"/>
                  </a:lnTo>
                  <a:lnTo>
                    <a:pt x="2817" y="2001"/>
                  </a:lnTo>
                  <a:lnTo>
                    <a:pt x="2818" y="2073"/>
                  </a:lnTo>
                  <a:lnTo>
                    <a:pt x="2815" y="2142"/>
                  </a:lnTo>
                  <a:lnTo>
                    <a:pt x="2807" y="2209"/>
                  </a:lnTo>
                  <a:lnTo>
                    <a:pt x="2793" y="2273"/>
                  </a:lnTo>
                  <a:lnTo>
                    <a:pt x="2774" y="2335"/>
                  </a:lnTo>
                  <a:lnTo>
                    <a:pt x="2751" y="2393"/>
                  </a:lnTo>
                  <a:lnTo>
                    <a:pt x="2724" y="2449"/>
                  </a:lnTo>
                  <a:lnTo>
                    <a:pt x="2692" y="2501"/>
                  </a:lnTo>
                  <a:lnTo>
                    <a:pt x="2654" y="2550"/>
                  </a:lnTo>
                  <a:lnTo>
                    <a:pt x="2612" y="2596"/>
                  </a:lnTo>
                  <a:lnTo>
                    <a:pt x="2570" y="2634"/>
                  </a:lnTo>
                  <a:lnTo>
                    <a:pt x="2525" y="2669"/>
                  </a:lnTo>
                  <a:lnTo>
                    <a:pt x="2477" y="2700"/>
                  </a:lnTo>
                  <a:lnTo>
                    <a:pt x="2426" y="2726"/>
                  </a:lnTo>
                  <a:lnTo>
                    <a:pt x="2371" y="2749"/>
                  </a:lnTo>
                  <a:lnTo>
                    <a:pt x="2315" y="2767"/>
                  </a:lnTo>
                  <a:lnTo>
                    <a:pt x="2256" y="2782"/>
                  </a:lnTo>
                  <a:lnTo>
                    <a:pt x="2194" y="2792"/>
                  </a:lnTo>
                  <a:lnTo>
                    <a:pt x="2131" y="2799"/>
                  </a:lnTo>
                  <a:lnTo>
                    <a:pt x="2065" y="2801"/>
                  </a:lnTo>
                  <a:lnTo>
                    <a:pt x="1982" y="2799"/>
                  </a:lnTo>
                  <a:lnTo>
                    <a:pt x="1898" y="2789"/>
                  </a:lnTo>
                  <a:lnTo>
                    <a:pt x="1813" y="2775"/>
                  </a:lnTo>
                  <a:lnTo>
                    <a:pt x="1727" y="2755"/>
                  </a:lnTo>
                  <a:lnTo>
                    <a:pt x="1640" y="2729"/>
                  </a:lnTo>
                  <a:lnTo>
                    <a:pt x="1552" y="2698"/>
                  </a:lnTo>
                  <a:lnTo>
                    <a:pt x="1464" y="2661"/>
                  </a:lnTo>
                  <a:lnTo>
                    <a:pt x="1375" y="2620"/>
                  </a:lnTo>
                  <a:lnTo>
                    <a:pt x="1286" y="2574"/>
                  </a:lnTo>
                  <a:lnTo>
                    <a:pt x="1198" y="2522"/>
                  </a:lnTo>
                  <a:lnTo>
                    <a:pt x="1110" y="2466"/>
                  </a:lnTo>
                  <a:lnTo>
                    <a:pt x="1022" y="2405"/>
                  </a:lnTo>
                  <a:lnTo>
                    <a:pt x="936" y="2340"/>
                  </a:lnTo>
                  <a:lnTo>
                    <a:pt x="851" y="2270"/>
                  </a:lnTo>
                  <a:lnTo>
                    <a:pt x="767" y="2196"/>
                  </a:lnTo>
                  <a:lnTo>
                    <a:pt x="686" y="2118"/>
                  </a:lnTo>
                  <a:lnTo>
                    <a:pt x="616" y="2046"/>
                  </a:lnTo>
                  <a:lnTo>
                    <a:pt x="549" y="1972"/>
                  </a:lnTo>
                  <a:lnTo>
                    <a:pt x="486" y="1897"/>
                  </a:lnTo>
                  <a:lnTo>
                    <a:pt x="426" y="1822"/>
                  </a:lnTo>
                  <a:lnTo>
                    <a:pt x="370" y="1746"/>
                  </a:lnTo>
                  <a:lnTo>
                    <a:pt x="317" y="1669"/>
                  </a:lnTo>
                  <a:lnTo>
                    <a:pt x="269" y="1592"/>
                  </a:lnTo>
                  <a:lnTo>
                    <a:pt x="225" y="1515"/>
                  </a:lnTo>
                  <a:lnTo>
                    <a:pt x="184" y="1438"/>
                  </a:lnTo>
                  <a:lnTo>
                    <a:pt x="148" y="1362"/>
                  </a:lnTo>
                  <a:lnTo>
                    <a:pt x="114" y="1285"/>
                  </a:lnTo>
                  <a:lnTo>
                    <a:pt x="86" y="1209"/>
                  </a:lnTo>
                  <a:lnTo>
                    <a:pt x="61" y="1135"/>
                  </a:lnTo>
                  <a:lnTo>
                    <a:pt x="41" y="1061"/>
                  </a:lnTo>
                  <a:lnTo>
                    <a:pt x="24" y="987"/>
                  </a:lnTo>
                  <a:lnTo>
                    <a:pt x="12" y="915"/>
                  </a:lnTo>
                  <a:lnTo>
                    <a:pt x="3" y="844"/>
                  </a:lnTo>
                  <a:lnTo>
                    <a:pt x="0" y="776"/>
                  </a:lnTo>
                  <a:lnTo>
                    <a:pt x="0" y="708"/>
                  </a:lnTo>
                  <a:lnTo>
                    <a:pt x="5" y="643"/>
                  </a:lnTo>
                  <a:lnTo>
                    <a:pt x="14" y="579"/>
                  </a:lnTo>
                  <a:lnTo>
                    <a:pt x="27" y="518"/>
                  </a:lnTo>
                  <a:lnTo>
                    <a:pt x="46" y="459"/>
                  </a:lnTo>
                  <a:lnTo>
                    <a:pt x="68" y="401"/>
                  </a:lnTo>
                  <a:lnTo>
                    <a:pt x="95" y="348"/>
                  </a:lnTo>
                  <a:lnTo>
                    <a:pt x="127" y="297"/>
                  </a:lnTo>
                  <a:lnTo>
                    <a:pt x="163" y="249"/>
                  </a:lnTo>
                  <a:lnTo>
                    <a:pt x="204" y="205"/>
                  </a:lnTo>
                  <a:lnTo>
                    <a:pt x="247" y="166"/>
                  </a:lnTo>
                  <a:lnTo>
                    <a:pt x="292" y="132"/>
                  </a:lnTo>
                  <a:lnTo>
                    <a:pt x="340" y="101"/>
                  </a:lnTo>
                  <a:lnTo>
                    <a:pt x="392" y="75"/>
                  </a:lnTo>
                  <a:lnTo>
                    <a:pt x="445" y="52"/>
                  </a:lnTo>
                  <a:lnTo>
                    <a:pt x="501" y="33"/>
                  </a:lnTo>
                  <a:lnTo>
                    <a:pt x="561" y="19"/>
                  </a:lnTo>
                  <a:lnTo>
                    <a:pt x="623" y="8"/>
                  </a:lnTo>
                  <a:lnTo>
                    <a:pt x="687" y="2"/>
                  </a:lnTo>
                  <a:lnTo>
                    <a:pt x="75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77" name="Freeform 299">
              <a:extLst>
                <a:ext uri="{FF2B5EF4-FFF2-40B4-BE49-F238E27FC236}">
                  <a16:creationId xmlns:a16="http://schemas.microsoft.com/office/drawing/2014/main" id="{4C70F009-CC1E-4D3B-880B-411264798EF5}"/>
                </a:ext>
              </a:extLst>
            </p:cNvPr>
            <p:cNvSpPr>
              <a:spLocks/>
            </p:cNvSpPr>
            <p:nvPr/>
          </p:nvSpPr>
          <p:spPr bwMode="auto">
            <a:xfrm>
              <a:off x="7251701" y="4195763"/>
              <a:ext cx="217488" cy="215900"/>
            </a:xfrm>
            <a:custGeom>
              <a:avLst/>
              <a:gdLst>
                <a:gd name="T0" fmla="*/ 370 w 1504"/>
                <a:gd name="T1" fmla="*/ 2 h 1493"/>
                <a:gd name="T2" fmla="*/ 469 w 1504"/>
                <a:gd name="T3" fmla="*/ 22 h 1493"/>
                <a:gd name="T4" fmla="*/ 576 w 1504"/>
                <a:gd name="T5" fmla="*/ 60 h 1493"/>
                <a:gd name="T6" fmla="*/ 688 w 1504"/>
                <a:gd name="T7" fmla="*/ 115 h 1493"/>
                <a:gd name="T8" fmla="*/ 717 w 1504"/>
                <a:gd name="T9" fmla="*/ 206 h 1493"/>
                <a:gd name="T10" fmla="*/ 674 w 1504"/>
                <a:gd name="T11" fmla="*/ 315 h 1493"/>
                <a:gd name="T12" fmla="*/ 644 w 1504"/>
                <a:gd name="T13" fmla="*/ 413 h 1493"/>
                <a:gd name="T14" fmla="*/ 624 w 1504"/>
                <a:gd name="T15" fmla="*/ 497 h 1493"/>
                <a:gd name="T16" fmla="*/ 614 w 1504"/>
                <a:gd name="T17" fmla="*/ 562 h 1493"/>
                <a:gd name="T18" fmla="*/ 608 w 1504"/>
                <a:gd name="T19" fmla="*/ 606 h 1493"/>
                <a:gd name="T20" fmla="*/ 606 w 1504"/>
                <a:gd name="T21" fmla="*/ 626 h 1493"/>
                <a:gd name="T22" fmla="*/ 614 w 1504"/>
                <a:gd name="T23" fmla="*/ 695 h 1493"/>
                <a:gd name="T24" fmla="*/ 639 w 1504"/>
                <a:gd name="T25" fmla="*/ 761 h 1493"/>
                <a:gd name="T26" fmla="*/ 682 w 1504"/>
                <a:gd name="T27" fmla="*/ 816 h 1493"/>
                <a:gd name="T28" fmla="*/ 737 w 1504"/>
                <a:gd name="T29" fmla="*/ 859 h 1493"/>
                <a:gd name="T30" fmla="*/ 802 w 1504"/>
                <a:gd name="T31" fmla="*/ 884 h 1493"/>
                <a:gd name="T32" fmla="*/ 872 w 1504"/>
                <a:gd name="T33" fmla="*/ 890 h 1493"/>
                <a:gd name="T34" fmla="*/ 892 w 1504"/>
                <a:gd name="T35" fmla="*/ 889 h 1493"/>
                <a:gd name="T36" fmla="*/ 937 w 1504"/>
                <a:gd name="T37" fmla="*/ 884 h 1493"/>
                <a:gd name="T38" fmla="*/ 1003 w 1504"/>
                <a:gd name="T39" fmla="*/ 872 h 1493"/>
                <a:gd name="T40" fmla="*/ 1088 w 1504"/>
                <a:gd name="T41" fmla="*/ 853 h 1493"/>
                <a:gd name="T42" fmla="*/ 1186 w 1504"/>
                <a:gd name="T43" fmla="*/ 823 h 1493"/>
                <a:gd name="T44" fmla="*/ 1296 w 1504"/>
                <a:gd name="T45" fmla="*/ 780 h 1493"/>
                <a:gd name="T46" fmla="*/ 1386 w 1504"/>
                <a:gd name="T47" fmla="*/ 807 h 1493"/>
                <a:gd name="T48" fmla="*/ 1440 w 1504"/>
                <a:gd name="T49" fmla="*/ 911 h 1493"/>
                <a:gd name="T50" fmla="*/ 1477 w 1504"/>
                <a:gd name="T51" fmla="*/ 1011 h 1493"/>
                <a:gd name="T52" fmla="*/ 1497 w 1504"/>
                <a:gd name="T53" fmla="*/ 1098 h 1493"/>
                <a:gd name="T54" fmla="*/ 1504 w 1504"/>
                <a:gd name="T55" fmla="*/ 1175 h 1493"/>
                <a:gd name="T56" fmla="*/ 1497 w 1504"/>
                <a:gd name="T57" fmla="*/ 1240 h 1493"/>
                <a:gd name="T58" fmla="*/ 1483 w 1504"/>
                <a:gd name="T59" fmla="*/ 1295 h 1493"/>
                <a:gd name="T60" fmla="*/ 1463 w 1504"/>
                <a:gd name="T61" fmla="*/ 1340 h 1493"/>
                <a:gd name="T62" fmla="*/ 1439 w 1504"/>
                <a:gd name="T63" fmla="*/ 1377 h 1493"/>
                <a:gd name="T64" fmla="*/ 1414 w 1504"/>
                <a:gd name="T65" fmla="*/ 1405 h 1493"/>
                <a:gd name="T66" fmla="*/ 1382 w 1504"/>
                <a:gd name="T67" fmla="*/ 1432 h 1493"/>
                <a:gd name="T68" fmla="*/ 1339 w 1504"/>
                <a:gd name="T69" fmla="*/ 1458 h 1493"/>
                <a:gd name="T70" fmla="*/ 1285 w 1504"/>
                <a:gd name="T71" fmla="*/ 1479 h 1493"/>
                <a:gd name="T72" fmla="*/ 1219 w 1504"/>
                <a:gd name="T73" fmla="*/ 1491 h 1493"/>
                <a:gd name="T74" fmla="*/ 1134 w 1504"/>
                <a:gd name="T75" fmla="*/ 1491 h 1493"/>
                <a:gd name="T76" fmla="*/ 1036 w 1504"/>
                <a:gd name="T77" fmla="*/ 1471 h 1493"/>
                <a:gd name="T78" fmla="*/ 930 w 1504"/>
                <a:gd name="T79" fmla="*/ 1435 h 1493"/>
                <a:gd name="T80" fmla="*/ 819 w 1504"/>
                <a:gd name="T81" fmla="*/ 1381 h 1493"/>
                <a:gd name="T82" fmla="*/ 706 w 1504"/>
                <a:gd name="T83" fmla="*/ 1311 h 1493"/>
                <a:gd name="T84" fmla="*/ 591 w 1504"/>
                <a:gd name="T85" fmla="*/ 1227 h 1493"/>
                <a:gd name="T86" fmla="*/ 477 w 1504"/>
                <a:gd name="T87" fmla="*/ 1129 h 1493"/>
                <a:gd name="T88" fmla="*/ 362 w 1504"/>
                <a:gd name="T89" fmla="*/ 1015 h 1493"/>
                <a:gd name="T90" fmla="*/ 257 w 1504"/>
                <a:gd name="T91" fmla="*/ 892 h 1493"/>
                <a:gd name="T92" fmla="*/ 166 w 1504"/>
                <a:gd name="T93" fmla="*/ 766 h 1493"/>
                <a:gd name="T94" fmla="*/ 93 w 1504"/>
                <a:gd name="T95" fmla="*/ 642 h 1493"/>
                <a:gd name="T96" fmla="*/ 43 w 1504"/>
                <a:gd name="T97" fmla="*/ 531 h 1493"/>
                <a:gd name="T98" fmla="*/ 15 w 1504"/>
                <a:gd name="T99" fmla="*/ 437 h 1493"/>
                <a:gd name="T100" fmla="*/ 1 w 1504"/>
                <a:gd name="T101" fmla="*/ 355 h 1493"/>
                <a:gd name="T102" fmla="*/ 2 w 1504"/>
                <a:gd name="T103" fmla="*/ 285 h 1493"/>
                <a:gd name="T104" fmla="*/ 13 w 1504"/>
                <a:gd name="T105" fmla="*/ 224 h 1493"/>
                <a:gd name="T106" fmla="*/ 31 w 1504"/>
                <a:gd name="T107" fmla="*/ 173 h 1493"/>
                <a:gd name="T108" fmla="*/ 53 w 1504"/>
                <a:gd name="T109" fmla="*/ 133 h 1493"/>
                <a:gd name="T110" fmla="*/ 78 w 1504"/>
                <a:gd name="T111" fmla="*/ 102 h 1493"/>
                <a:gd name="T112" fmla="*/ 105 w 1504"/>
                <a:gd name="T113" fmla="*/ 75 h 1493"/>
                <a:gd name="T114" fmla="*/ 142 w 1504"/>
                <a:gd name="T115" fmla="*/ 48 h 1493"/>
                <a:gd name="T116" fmla="*/ 190 w 1504"/>
                <a:gd name="T117" fmla="*/ 24 h 1493"/>
                <a:gd name="T118" fmla="*/ 250 w 1504"/>
                <a:gd name="T119" fmla="*/ 6 h 1493"/>
                <a:gd name="T120" fmla="*/ 323 w 1504"/>
                <a:gd name="T121" fmla="*/ 0 h 14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504" h="1493">
                  <a:moveTo>
                    <a:pt x="323" y="0"/>
                  </a:moveTo>
                  <a:lnTo>
                    <a:pt x="370" y="2"/>
                  </a:lnTo>
                  <a:lnTo>
                    <a:pt x="418" y="10"/>
                  </a:lnTo>
                  <a:lnTo>
                    <a:pt x="469" y="22"/>
                  </a:lnTo>
                  <a:lnTo>
                    <a:pt x="522" y="39"/>
                  </a:lnTo>
                  <a:lnTo>
                    <a:pt x="576" y="60"/>
                  </a:lnTo>
                  <a:lnTo>
                    <a:pt x="631" y="86"/>
                  </a:lnTo>
                  <a:lnTo>
                    <a:pt x="688" y="115"/>
                  </a:lnTo>
                  <a:lnTo>
                    <a:pt x="745" y="148"/>
                  </a:lnTo>
                  <a:lnTo>
                    <a:pt x="717" y="206"/>
                  </a:lnTo>
                  <a:lnTo>
                    <a:pt x="694" y="262"/>
                  </a:lnTo>
                  <a:lnTo>
                    <a:pt x="674" y="315"/>
                  </a:lnTo>
                  <a:lnTo>
                    <a:pt x="658" y="366"/>
                  </a:lnTo>
                  <a:lnTo>
                    <a:pt x="644" y="413"/>
                  </a:lnTo>
                  <a:lnTo>
                    <a:pt x="634" y="456"/>
                  </a:lnTo>
                  <a:lnTo>
                    <a:pt x="624" y="497"/>
                  </a:lnTo>
                  <a:lnTo>
                    <a:pt x="618" y="531"/>
                  </a:lnTo>
                  <a:lnTo>
                    <a:pt x="614" y="562"/>
                  </a:lnTo>
                  <a:lnTo>
                    <a:pt x="611" y="587"/>
                  </a:lnTo>
                  <a:lnTo>
                    <a:pt x="608" y="606"/>
                  </a:lnTo>
                  <a:lnTo>
                    <a:pt x="607" y="620"/>
                  </a:lnTo>
                  <a:lnTo>
                    <a:pt x="606" y="626"/>
                  </a:lnTo>
                  <a:lnTo>
                    <a:pt x="607" y="661"/>
                  </a:lnTo>
                  <a:lnTo>
                    <a:pt x="614" y="695"/>
                  </a:lnTo>
                  <a:lnTo>
                    <a:pt x="624" y="729"/>
                  </a:lnTo>
                  <a:lnTo>
                    <a:pt x="639" y="761"/>
                  </a:lnTo>
                  <a:lnTo>
                    <a:pt x="658" y="790"/>
                  </a:lnTo>
                  <a:lnTo>
                    <a:pt x="682" y="816"/>
                  </a:lnTo>
                  <a:lnTo>
                    <a:pt x="708" y="839"/>
                  </a:lnTo>
                  <a:lnTo>
                    <a:pt x="737" y="859"/>
                  </a:lnTo>
                  <a:lnTo>
                    <a:pt x="769" y="873"/>
                  </a:lnTo>
                  <a:lnTo>
                    <a:pt x="802" y="884"/>
                  </a:lnTo>
                  <a:lnTo>
                    <a:pt x="838" y="890"/>
                  </a:lnTo>
                  <a:lnTo>
                    <a:pt x="872" y="890"/>
                  </a:lnTo>
                  <a:lnTo>
                    <a:pt x="880" y="890"/>
                  </a:lnTo>
                  <a:lnTo>
                    <a:pt x="892" y="889"/>
                  </a:lnTo>
                  <a:lnTo>
                    <a:pt x="912" y="887"/>
                  </a:lnTo>
                  <a:lnTo>
                    <a:pt x="937" y="884"/>
                  </a:lnTo>
                  <a:lnTo>
                    <a:pt x="968" y="880"/>
                  </a:lnTo>
                  <a:lnTo>
                    <a:pt x="1003" y="872"/>
                  </a:lnTo>
                  <a:lnTo>
                    <a:pt x="1044" y="864"/>
                  </a:lnTo>
                  <a:lnTo>
                    <a:pt x="1088" y="853"/>
                  </a:lnTo>
                  <a:lnTo>
                    <a:pt x="1136" y="839"/>
                  </a:lnTo>
                  <a:lnTo>
                    <a:pt x="1186" y="823"/>
                  </a:lnTo>
                  <a:lnTo>
                    <a:pt x="1241" y="804"/>
                  </a:lnTo>
                  <a:lnTo>
                    <a:pt x="1296" y="780"/>
                  </a:lnTo>
                  <a:lnTo>
                    <a:pt x="1355" y="753"/>
                  </a:lnTo>
                  <a:lnTo>
                    <a:pt x="1386" y="807"/>
                  </a:lnTo>
                  <a:lnTo>
                    <a:pt x="1415" y="859"/>
                  </a:lnTo>
                  <a:lnTo>
                    <a:pt x="1440" y="911"/>
                  </a:lnTo>
                  <a:lnTo>
                    <a:pt x="1461" y="962"/>
                  </a:lnTo>
                  <a:lnTo>
                    <a:pt x="1477" y="1011"/>
                  </a:lnTo>
                  <a:lnTo>
                    <a:pt x="1489" y="1056"/>
                  </a:lnTo>
                  <a:lnTo>
                    <a:pt x="1497" y="1098"/>
                  </a:lnTo>
                  <a:lnTo>
                    <a:pt x="1502" y="1137"/>
                  </a:lnTo>
                  <a:lnTo>
                    <a:pt x="1504" y="1175"/>
                  </a:lnTo>
                  <a:lnTo>
                    <a:pt x="1502" y="1208"/>
                  </a:lnTo>
                  <a:lnTo>
                    <a:pt x="1497" y="1240"/>
                  </a:lnTo>
                  <a:lnTo>
                    <a:pt x="1491" y="1269"/>
                  </a:lnTo>
                  <a:lnTo>
                    <a:pt x="1483" y="1295"/>
                  </a:lnTo>
                  <a:lnTo>
                    <a:pt x="1473" y="1318"/>
                  </a:lnTo>
                  <a:lnTo>
                    <a:pt x="1463" y="1340"/>
                  </a:lnTo>
                  <a:lnTo>
                    <a:pt x="1450" y="1360"/>
                  </a:lnTo>
                  <a:lnTo>
                    <a:pt x="1439" y="1377"/>
                  </a:lnTo>
                  <a:lnTo>
                    <a:pt x="1426" y="1391"/>
                  </a:lnTo>
                  <a:lnTo>
                    <a:pt x="1414" y="1405"/>
                  </a:lnTo>
                  <a:lnTo>
                    <a:pt x="1399" y="1418"/>
                  </a:lnTo>
                  <a:lnTo>
                    <a:pt x="1382" y="1432"/>
                  </a:lnTo>
                  <a:lnTo>
                    <a:pt x="1361" y="1445"/>
                  </a:lnTo>
                  <a:lnTo>
                    <a:pt x="1339" y="1458"/>
                  </a:lnTo>
                  <a:lnTo>
                    <a:pt x="1313" y="1469"/>
                  </a:lnTo>
                  <a:lnTo>
                    <a:pt x="1285" y="1479"/>
                  </a:lnTo>
                  <a:lnTo>
                    <a:pt x="1253" y="1487"/>
                  </a:lnTo>
                  <a:lnTo>
                    <a:pt x="1219" y="1491"/>
                  </a:lnTo>
                  <a:lnTo>
                    <a:pt x="1180" y="1493"/>
                  </a:lnTo>
                  <a:lnTo>
                    <a:pt x="1134" y="1491"/>
                  </a:lnTo>
                  <a:lnTo>
                    <a:pt x="1086" y="1484"/>
                  </a:lnTo>
                  <a:lnTo>
                    <a:pt x="1036" y="1471"/>
                  </a:lnTo>
                  <a:lnTo>
                    <a:pt x="983" y="1456"/>
                  </a:lnTo>
                  <a:lnTo>
                    <a:pt x="930" y="1435"/>
                  </a:lnTo>
                  <a:lnTo>
                    <a:pt x="875" y="1410"/>
                  </a:lnTo>
                  <a:lnTo>
                    <a:pt x="819" y="1381"/>
                  </a:lnTo>
                  <a:lnTo>
                    <a:pt x="762" y="1348"/>
                  </a:lnTo>
                  <a:lnTo>
                    <a:pt x="706" y="1311"/>
                  </a:lnTo>
                  <a:lnTo>
                    <a:pt x="648" y="1271"/>
                  </a:lnTo>
                  <a:lnTo>
                    <a:pt x="591" y="1227"/>
                  </a:lnTo>
                  <a:lnTo>
                    <a:pt x="533" y="1180"/>
                  </a:lnTo>
                  <a:lnTo>
                    <a:pt x="477" y="1129"/>
                  </a:lnTo>
                  <a:lnTo>
                    <a:pt x="421" y="1075"/>
                  </a:lnTo>
                  <a:lnTo>
                    <a:pt x="362" y="1015"/>
                  </a:lnTo>
                  <a:lnTo>
                    <a:pt x="308" y="954"/>
                  </a:lnTo>
                  <a:lnTo>
                    <a:pt x="257" y="892"/>
                  </a:lnTo>
                  <a:lnTo>
                    <a:pt x="210" y="830"/>
                  </a:lnTo>
                  <a:lnTo>
                    <a:pt x="166" y="766"/>
                  </a:lnTo>
                  <a:lnTo>
                    <a:pt x="127" y="705"/>
                  </a:lnTo>
                  <a:lnTo>
                    <a:pt x="93" y="642"/>
                  </a:lnTo>
                  <a:lnTo>
                    <a:pt x="64" y="582"/>
                  </a:lnTo>
                  <a:lnTo>
                    <a:pt x="43" y="531"/>
                  </a:lnTo>
                  <a:lnTo>
                    <a:pt x="26" y="482"/>
                  </a:lnTo>
                  <a:lnTo>
                    <a:pt x="15" y="437"/>
                  </a:lnTo>
                  <a:lnTo>
                    <a:pt x="6" y="395"/>
                  </a:lnTo>
                  <a:lnTo>
                    <a:pt x="1" y="355"/>
                  </a:lnTo>
                  <a:lnTo>
                    <a:pt x="0" y="318"/>
                  </a:lnTo>
                  <a:lnTo>
                    <a:pt x="2" y="285"/>
                  </a:lnTo>
                  <a:lnTo>
                    <a:pt x="6" y="252"/>
                  </a:lnTo>
                  <a:lnTo>
                    <a:pt x="13" y="224"/>
                  </a:lnTo>
                  <a:lnTo>
                    <a:pt x="21" y="197"/>
                  </a:lnTo>
                  <a:lnTo>
                    <a:pt x="31" y="173"/>
                  </a:lnTo>
                  <a:lnTo>
                    <a:pt x="41" y="153"/>
                  </a:lnTo>
                  <a:lnTo>
                    <a:pt x="53" y="133"/>
                  </a:lnTo>
                  <a:lnTo>
                    <a:pt x="65" y="116"/>
                  </a:lnTo>
                  <a:lnTo>
                    <a:pt x="78" y="102"/>
                  </a:lnTo>
                  <a:lnTo>
                    <a:pt x="89" y="88"/>
                  </a:lnTo>
                  <a:lnTo>
                    <a:pt x="105" y="75"/>
                  </a:lnTo>
                  <a:lnTo>
                    <a:pt x="122" y="61"/>
                  </a:lnTo>
                  <a:lnTo>
                    <a:pt x="142" y="48"/>
                  </a:lnTo>
                  <a:lnTo>
                    <a:pt x="165" y="35"/>
                  </a:lnTo>
                  <a:lnTo>
                    <a:pt x="190" y="24"/>
                  </a:lnTo>
                  <a:lnTo>
                    <a:pt x="219" y="14"/>
                  </a:lnTo>
                  <a:lnTo>
                    <a:pt x="250" y="6"/>
                  </a:lnTo>
                  <a:lnTo>
                    <a:pt x="285" y="2"/>
                  </a:lnTo>
                  <a:lnTo>
                    <a:pt x="32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78" name="Freeform 300">
              <a:extLst>
                <a:ext uri="{FF2B5EF4-FFF2-40B4-BE49-F238E27FC236}">
                  <a16:creationId xmlns:a16="http://schemas.microsoft.com/office/drawing/2014/main" id="{BC34C1D8-8AF1-4C2A-9D0D-1D210DA265F3}"/>
                </a:ext>
              </a:extLst>
            </p:cNvPr>
            <p:cNvSpPr>
              <a:spLocks/>
            </p:cNvSpPr>
            <p:nvPr/>
          </p:nvSpPr>
          <p:spPr bwMode="auto">
            <a:xfrm>
              <a:off x="7364413" y="4037013"/>
              <a:ext cx="265113" cy="263525"/>
            </a:xfrm>
            <a:custGeom>
              <a:avLst/>
              <a:gdLst>
                <a:gd name="T0" fmla="*/ 1289 w 1835"/>
                <a:gd name="T1" fmla="*/ 2 h 1823"/>
                <a:gd name="T2" fmla="*/ 1327 w 1835"/>
                <a:gd name="T3" fmla="*/ 23 h 1823"/>
                <a:gd name="T4" fmla="*/ 1350 w 1835"/>
                <a:gd name="T5" fmla="*/ 60 h 1823"/>
                <a:gd name="T6" fmla="*/ 1776 w 1835"/>
                <a:gd name="T7" fmla="*/ 482 h 1823"/>
                <a:gd name="T8" fmla="*/ 1812 w 1835"/>
                <a:gd name="T9" fmla="*/ 505 h 1823"/>
                <a:gd name="T10" fmla="*/ 1833 w 1835"/>
                <a:gd name="T11" fmla="*/ 543 h 1823"/>
                <a:gd name="T12" fmla="*/ 1832 w 1835"/>
                <a:gd name="T13" fmla="*/ 586 h 1823"/>
                <a:gd name="T14" fmla="*/ 1810 w 1835"/>
                <a:gd name="T15" fmla="*/ 622 h 1823"/>
                <a:gd name="T16" fmla="*/ 1498 w 1835"/>
                <a:gd name="T17" fmla="*/ 929 h 1823"/>
                <a:gd name="T18" fmla="*/ 1459 w 1835"/>
                <a:gd name="T19" fmla="*/ 942 h 1823"/>
                <a:gd name="T20" fmla="*/ 1253 w 1835"/>
                <a:gd name="T21" fmla="*/ 903 h 1823"/>
                <a:gd name="T22" fmla="*/ 1194 w 1835"/>
                <a:gd name="T23" fmla="*/ 1011 h 1823"/>
                <a:gd name="T24" fmla="*/ 1118 w 1835"/>
                <a:gd name="T25" fmla="*/ 1126 h 1823"/>
                <a:gd name="T26" fmla="*/ 1030 w 1835"/>
                <a:gd name="T27" fmla="*/ 1243 h 1823"/>
                <a:gd name="T28" fmla="*/ 930 w 1835"/>
                <a:gd name="T29" fmla="*/ 1362 h 1823"/>
                <a:gd name="T30" fmla="*/ 823 w 1835"/>
                <a:gd name="T31" fmla="*/ 1475 h 1823"/>
                <a:gd name="T32" fmla="*/ 705 w 1835"/>
                <a:gd name="T33" fmla="*/ 1578 h 1823"/>
                <a:gd name="T34" fmla="*/ 585 w 1835"/>
                <a:gd name="T35" fmla="*/ 1659 h 1823"/>
                <a:gd name="T36" fmla="*/ 470 w 1835"/>
                <a:gd name="T37" fmla="*/ 1719 h 1823"/>
                <a:gd name="T38" fmla="*/ 363 w 1835"/>
                <a:gd name="T39" fmla="*/ 1763 h 1823"/>
                <a:gd name="T40" fmla="*/ 268 w 1835"/>
                <a:gd name="T41" fmla="*/ 1792 h 1823"/>
                <a:gd name="T42" fmla="*/ 187 w 1835"/>
                <a:gd name="T43" fmla="*/ 1810 h 1823"/>
                <a:gd name="T44" fmla="*/ 130 w 1835"/>
                <a:gd name="T45" fmla="*/ 1819 h 1823"/>
                <a:gd name="T46" fmla="*/ 95 w 1835"/>
                <a:gd name="T47" fmla="*/ 1823 h 1823"/>
                <a:gd name="T48" fmla="*/ 71 w 1835"/>
                <a:gd name="T49" fmla="*/ 1822 h 1823"/>
                <a:gd name="T50" fmla="*/ 39 w 1835"/>
                <a:gd name="T51" fmla="*/ 1810 h 1823"/>
                <a:gd name="T52" fmla="*/ 14 w 1835"/>
                <a:gd name="T53" fmla="*/ 1785 h 1823"/>
                <a:gd name="T54" fmla="*/ 1 w 1835"/>
                <a:gd name="T55" fmla="*/ 1753 h 1823"/>
                <a:gd name="T56" fmla="*/ 0 w 1835"/>
                <a:gd name="T57" fmla="*/ 1729 h 1823"/>
                <a:gd name="T58" fmla="*/ 3 w 1835"/>
                <a:gd name="T59" fmla="*/ 1695 h 1823"/>
                <a:gd name="T60" fmla="*/ 13 w 1835"/>
                <a:gd name="T61" fmla="*/ 1636 h 1823"/>
                <a:gd name="T62" fmla="*/ 30 w 1835"/>
                <a:gd name="T63" fmla="*/ 1557 h 1823"/>
                <a:gd name="T64" fmla="*/ 61 w 1835"/>
                <a:gd name="T65" fmla="*/ 1463 h 1823"/>
                <a:gd name="T66" fmla="*/ 105 w 1835"/>
                <a:gd name="T67" fmla="*/ 1357 h 1823"/>
                <a:gd name="T68" fmla="*/ 165 w 1835"/>
                <a:gd name="T69" fmla="*/ 1242 h 1823"/>
                <a:gd name="T70" fmla="*/ 247 w 1835"/>
                <a:gd name="T71" fmla="*/ 1124 h 1823"/>
                <a:gd name="T72" fmla="*/ 351 w 1835"/>
                <a:gd name="T73" fmla="*/ 1007 h 1823"/>
                <a:gd name="T74" fmla="*/ 465 w 1835"/>
                <a:gd name="T75" fmla="*/ 899 h 1823"/>
                <a:gd name="T76" fmla="*/ 583 w 1835"/>
                <a:gd name="T77" fmla="*/ 800 h 1823"/>
                <a:gd name="T78" fmla="*/ 703 w 1835"/>
                <a:gd name="T79" fmla="*/ 712 h 1823"/>
                <a:gd name="T80" fmla="*/ 818 w 1835"/>
                <a:gd name="T81" fmla="*/ 637 h 1823"/>
                <a:gd name="T82" fmla="*/ 927 w 1835"/>
                <a:gd name="T83" fmla="*/ 579 h 1823"/>
                <a:gd name="T84" fmla="*/ 888 w 1835"/>
                <a:gd name="T85" fmla="*/ 374 h 1823"/>
                <a:gd name="T86" fmla="*/ 900 w 1835"/>
                <a:gd name="T87" fmla="*/ 335 h 1823"/>
                <a:gd name="T88" fmla="*/ 1208 w 1835"/>
                <a:gd name="T89" fmla="*/ 25 h 1823"/>
                <a:gd name="T90" fmla="*/ 1246 w 1835"/>
                <a:gd name="T91" fmla="*/ 3 h 18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835" h="1823">
                  <a:moveTo>
                    <a:pt x="1267" y="0"/>
                  </a:moveTo>
                  <a:lnTo>
                    <a:pt x="1289" y="2"/>
                  </a:lnTo>
                  <a:lnTo>
                    <a:pt x="1310" y="11"/>
                  </a:lnTo>
                  <a:lnTo>
                    <a:pt x="1327" y="23"/>
                  </a:lnTo>
                  <a:lnTo>
                    <a:pt x="1341" y="40"/>
                  </a:lnTo>
                  <a:lnTo>
                    <a:pt x="1350" y="60"/>
                  </a:lnTo>
                  <a:lnTo>
                    <a:pt x="1451" y="381"/>
                  </a:lnTo>
                  <a:lnTo>
                    <a:pt x="1776" y="482"/>
                  </a:lnTo>
                  <a:lnTo>
                    <a:pt x="1796" y="491"/>
                  </a:lnTo>
                  <a:lnTo>
                    <a:pt x="1812" y="505"/>
                  </a:lnTo>
                  <a:lnTo>
                    <a:pt x="1825" y="522"/>
                  </a:lnTo>
                  <a:lnTo>
                    <a:pt x="1833" y="543"/>
                  </a:lnTo>
                  <a:lnTo>
                    <a:pt x="1835" y="565"/>
                  </a:lnTo>
                  <a:lnTo>
                    <a:pt x="1832" y="586"/>
                  </a:lnTo>
                  <a:lnTo>
                    <a:pt x="1824" y="606"/>
                  </a:lnTo>
                  <a:lnTo>
                    <a:pt x="1810" y="622"/>
                  </a:lnTo>
                  <a:lnTo>
                    <a:pt x="1515" y="917"/>
                  </a:lnTo>
                  <a:lnTo>
                    <a:pt x="1498" y="929"/>
                  </a:lnTo>
                  <a:lnTo>
                    <a:pt x="1479" y="937"/>
                  </a:lnTo>
                  <a:lnTo>
                    <a:pt x="1459" y="942"/>
                  </a:lnTo>
                  <a:lnTo>
                    <a:pt x="1439" y="939"/>
                  </a:lnTo>
                  <a:lnTo>
                    <a:pt x="1253" y="903"/>
                  </a:lnTo>
                  <a:lnTo>
                    <a:pt x="1226" y="956"/>
                  </a:lnTo>
                  <a:lnTo>
                    <a:pt x="1194" y="1011"/>
                  </a:lnTo>
                  <a:lnTo>
                    <a:pt x="1158" y="1067"/>
                  </a:lnTo>
                  <a:lnTo>
                    <a:pt x="1118" y="1126"/>
                  </a:lnTo>
                  <a:lnTo>
                    <a:pt x="1075" y="1184"/>
                  </a:lnTo>
                  <a:lnTo>
                    <a:pt x="1030" y="1243"/>
                  </a:lnTo>
                  <a:lnTo>
                    <a:pt x="981" y="1302"/>
                  </a:lnTo>
                  <a:lnTo>
                    <a:pt x="930" y="1362"/>
                  </a:lnTo>
                  <a:lnTo>
                    <a:pt x="877" y="1419"/>
                  </a:lnTo>
                  <a:lnTo>
                    <a:pt x="823" y="1475"/>
                  </a:lnTo>
                  <a:lnTo>
                    <a:pt x="763" y="1529"/>
                  </a:lnTo>
                  <a:lnTo>
                    <a:pt x="705" y="1578"/>
                  </a:lnTo>
                  <a:lnTo>
                    <a:pt x="645" y="1622"/>
                  </a:lnTo>
                  <a:lnTo>
                    <a:pt x="585" y="1659"/>
                  </a:lnTo>
                  <a:lnTo>
                    <a:pt x="528" y="1691"/>
                  </a:lnTo>
                  <a:lnTo>
                    <a:pt x="470" y="1719"/>
                  </a:lnTo>
                  <a:lnTo>
                    <a:pt x="416" y="1743"/>
                  </a:lnTo>
                  <a:lnTo>
                    <a:pt x="363" y="1763"/>
                  </a:lnTo>
                  <a:lnTo>
                    <a:pt x="314" y="1780"/>
                  </a:lnTo>
                  <a:lnTo>
                    <a:pt x="268" y="1792"/>
                  </a:lnTo>
                  <a:lnTo>
                    <a:pt x="226" y="1803"/>
                  </a:lnTo>
                  <a:lnTo>
                    <a:pt x="187" y="1810"/>
                  </a:lnTo>
                  <a:lnTo>
                    <a:pt x="156" y="1816"/>
                  </a:lnTo>
                  <a:lnTo>
                    <a:pt x="130" y="1819"/>
                  </a:lnTo>
                  <a:lnTo>
                    <a:pt x="109" y="1821"/>
                  </a:lnTo>
                  <a:lnTo>
                    <a:pt x="95" y="1823"/>
                  </a:lnTo>
                  <a:lnTo>
                    <a:pt x="88" y="1823"/>
                  </a:lnTo>
                  <a:lnTo>
                    <a:pt x="71" y="1822"/>
                  </a:lnTo>
                  <a:lnTo>
                    <a:pt x="54" y="1817"/>
                  </a:lnTo>
                  <a:lnTo>
                    <a:pt x="39" y="1810"/>
                  </a:lnTo>
                  <a:lnTo>
                    <a:pt x="25" y="1799"/>
                  </a:lnTo>
                  <a:lnTo>
                    <a:pt x="14" y="1785"/>
                  </a:lnTo>
                  <a:lnTo>
                    <a:pt x="5" y="1769"/>
                  </a:lnTo>
                  <a:lnTo>
                    <a:pt x="1" y="1753"/>
                  </a:lnTo>
                  <a:lnTo>
                    <a:pt x="0" y="1735"/>
                  </a:lnTo>
                  <a:lnTo>
                    <a:pt x="0" y="1729"/>
                  </a:lnTo>
                  <a:lnTo>
                    <a:pt x="1" y="1715"/>
                  </a:lnTo>
                  <a:lnTo>
                    <a:pt x="3" y="1695"/>
                  </a:lnTo>
                  <a:lnTo>
                    <a:pt x="7" y="1669"/>
                  </a:lnTo>
                  <a:lnTo>
                    <a:pt x="13" y="1636"/>
                  </a:lnTo>
                  <a:lnTo>
                    <a:pt x="21" y="1599"/>
                  </a:lnTo>
                  <a:lnTo>
                    <a:pt x="30" y="1557"/>
                  </a:lnTo>
                  <a:lnTo>
                    <a:pt x="44" y="1511"/>
                  </a:lnTo>
                  <a:lnTo>
                    <a:pt x="61" y="1463"/>
                  </a:lnTo>
                  <a:lnTo>
                    <a:pt x="81" y="1411"/>
                  </a:lnTo>
                  <a:lnTo>
                    <a:pt x="105" y="1357"/>
                  </a:lnTo>
                  <a:lnTo>
                    <a:pt x="133" y="1299"/>
                  </a:lnTo>
                  <a:lnTo>
                    <a:pt x="165" y="1242"/>
                  </a:lnTo>
                  <a:lnTo>
                    <a:pt x="203" y="1183"/>
                  </a:lnTo>
                  <a:lnTo>
                    <a:pt x="247" y="1124"/>
                  </a:lnTo>
                  <a:lnTo>
                    <a:pt x="295" y="1065"/>
                  </a:lnTo>
                  <a:lnTo>
                    <a:pt x="351" y="1007"/>
                  </a:lnTo>
                  <a:lnTo>
                    <a:pt x="407" y="952"/>
                  </a:lnTo>
                  <a:lnTo>
                    <a:pt x="465" y="899"/>
                  </a:lnTo>
                  <a:lnTo>
                    <a:pt x="525" y="849"/>
                  </a:lnTo>
                  <a:lnTo>
                    <a:pt x="583" y="800"/>
                  </a:lnTo>
                  <a:lnTo>
                    <a:pt x="643" y="754"/>
                  </a:lnTo>
                  <a:lnTo>
                    <a:pt x="703" y="712"/>
                  </a:lnTo>
                  <a:lnTo>
                    <a:pt x="761" y="673"/>
                  </a:lnTo>
                  <a:lnTo>
                    <a:pt x="818" y="637"/>
                  </a:lnTo>
                  <a:lnTo>
                    <a:pt x="873" y="606"/>
                  </a:lnTo>
                  <a:lnTo>
                    <a:pt x="927" y="579"/>
                  </a:lnTo>
                  <a:lnTo>
                    <a:pt x="890" y="395"/>
                  </a:lnTo>
                  <a:lnTo>
                    <a:pt x="888" y="374"/>
                  </a:lnTo>
                  <a:lnTo>
                    <a:pt x="892" y="354"/>
                  </a:lnTo>
                  <a:lnTo>
                    <a:pt x="900" y="335"/>
                  </a:lnTo>
                  <a:lnTo>
                    <a:pt x="913" y="319"/>
                  </a:lnTo>
                  <a:lnTo>
                    <a:pt x="1208" y="25"/>
                  </a:lnTo>
                  <a:lnTo>
                    <a:pt x="1226" y="12"/>
                  </a:lnTo>
                  <a:lnTo>
                    <a:pt x="1246" y="3"/>
                  </a:lnTo>
                  <a:lnTo>
                    <a:pt x="126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grpSp>
      <p:sp>
        <p:nvSpPr>
          <p:cNvPr id="79" name="TextBox 25">
            <a:extLst>
              <a:ext uri="{FF2B5EF4-FFF2-40B4-BE49-F238E27FC236}">
                <a16:creationId xmlns:a16="http://schemas.microsoft.com/office/drawing/2014/main" id="{3AC4C495-4D44-4998-81A8-2F6ACBD3E46D}"/>
              </a:ext>
            </a:extLst>
          </p:cNvPr>
          <p:cNvSpPr txBox="1"/>
          <p:nvPr/>
        </p:nvSpPr>
        <p:spPr>
          <a:xfrm>
            <a:off x="6676935" y="1174212"/>
            <a:ext cx="3714671" cy="107721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000000">
                    <a:lumMod val="85000"/>
                    <a:lumOff val="15000"/>
                  </a:srgbClr>
                </a:solidFill>
                <a:effectLst/>
                <a:uLnTx/>
                <a:uFillTx/>
                <a:latin typeface="等线 Light" panose="020F0302020204030204"/>
                <a:ea typeface="+mn-ea"/>
                <a:cs typeface="+mn-cs"/>
              </a:rPr>
              <a:t>INFOGRAPHIC</a:t>
            </a:r>
            <a:endParaRPr kumimoji="0" lang="en-US" sz="3200" b="1" i="0" u="none" strike="noStrike" kern="1200" cap="none" spc="0" normalizeH="0" baseline="0" noProof="0" dirty="0">
              <a:ln>
                <a:noFill/>
              </a:ln>
              <a:solidFill>
                <a:srgbClr val="000000">
                  <a:lumMod val="85000"/>
                  <a:lumOff val="15000"/>
                </a:srgbClr>
              </a:solidFill>
              <a:effectLst/>
              <a:uLnTx/>
              <a:uFillTx/>
              <a:latin typeface="等线"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000000">
                    <a:lumMod val="85000"/>
                    <a:lumOff val="15000"/>
                  </a:srgbClr>
                </a:solidFill>
                <a:effectLst/>
                <a:uLnTx/>
                <a:uFillTx/>
                <a:latin typeface="等线 Light" panose="020F0302020204030204"/>
                <a:ea typeface="+mn-ea"/>
                <a:cs typeface="+mn-cs"/>
              </a:rPr>
              <a:t>TREE</a:t>
            </a:r>
          </a:p>
        </p:txBody>
      </p:sp>
    </p:spTree>
    <p:extLst>
      <p:ext uri="{BB962C8B-B14F-4D97-AF65-F5344CB8AC3E}">
        <p14:creationId xmlns:p14="http://schemas.microsoft.com/office/powerpoint/2010/main" val="3765820845"/>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down)">
                                      <p:cBhvr>
                                        <p:cTn id="7" dur="500"/>
                                        <p:tgtEl>
                                          <p:spTgt spid="3"/>
                                        </p:tgtEl>
                                      </p:cBhvr>
                                    </p:animEffect>
                                  </p:childTnLst>
                                </p:cTn>
                              </p:par>
                            </p:childTnLst>
                          </p:cTn>
                        </p:par>
                        <p:par>
                          <p:cTn id="8" fill="hold">
                            <p:stCondLst>
                              <p:cond delay="500"/>
                            </p:stCondLst>
                            <p:childTnLst>
                              <p:par>
                                <p:cTn id="9" presetID="53" presetClass="entr" presetSubtype="16" fill="hold" nodeType="afterEffect">
                                  <p:stCondLst>
                                    <p:cond delay="0"/>
                                  </p:stCondLst>
                                  <p:childTnLst>
                                    <p:set>
                                      <p:cBhvr>
                                        <p:cTn id="10" dur="1" fill="hold">
                                          <p:stCondLst>
                                            <p:cond delay="0"/>
                                          </p:stCondLst>
                                        </p:cTn>
                                        <p:tgtEl>
                                          <p:spTgt spid="60"/>
                                        </p:tgtEl>
                                        <p:attrNameLst>
                                          <p:attrName>style.visibility</p:attrName>
                                        </p:attrNameLst>
                                      </p:cBhvr>
                                      <p:to>
                                        <p:strVal val="visible"/>
                                      </p:to>
                                    </p:set>
                                    <p:anim calcmode="lin" valueType="num">
                                      <p:cBhvr>
                                        <p:cTn id="11" dur="500" fill="hold"/>
                                        <p:tgtEl>
                                          <p:spTgt spid="60"/>
                                        </p:tgtEl>
                                        <p:attrNameLst>
                                          <p:attrName>ppt_w</p:attrName>
                                        </p:attrNameLst>
                                      </p:cBhvr>
                                      <p:tavLst>
                                        <p:tav tm="0">
                                          <p:val>
                                            <p:fltVal val="0"/>
                                          </p:val>
                                        </p:tav>
                                        <p:tav tm="100000">
                                          <p:val>
                                            <p:strVal val="#ppt_w"/>
                                          </p:val>
                                        </p:tav>
                                      </p:tavLst>
                                    </p:anim>
                                    <p:anim calcmode="lin" valueType="num">
                                      <p:cBhvr>
                                        <p:cTn id="12" dur="500" fill="hold"/>
                                        <p:tgtEl>
                                          <p:spTgt spid="60"/>
                                        </p:tgtEl>
                                        <p:attrNameLst>
                                          <p:attrName>ppt_h</p:attrName>
                                        </p:attrNameLst>
                                      </p:cBhvr>
                                      <p:tavLst>
                                        <p:tav tm="0">
                                          <p:val>
                                            <p:fltVal val="0"/>
                                          </p:val>
                                        </p:tav>
                                        <p:tav tm="100000">
                                          <p:val>
                                            <p:strVal val="#ppt_h"/>
                                          </p:val>
                                        </p:tav>
                                      </p:tavLst>
                                    </p:anim>
                                    <p:animEffect transition="in" filter="fade">
                                      <p:cBhvr>
                                        <p:cTn id="13" dur="500"/>
                                        <p:tgtEl>
                                          <p:spTgt spid="60"/>
                                        </p:tgtEl>
                                      </p:cBhvr>
                                    </p:animEffect>
                                  </p:childTnLst>
                                </p:cTn>
                              </p:par>
                            </p:childTnLst>
                          </p:cTn>
                        </p:par>
                        <p:par>
                          <p:cTn id="14" fill="hold">
                            <p:stCondLst>
                              <p:cond delay="1000"/>
                            </p:stCondLst>
                            <p:childTnLst>
                              <p:par>
                                <p:cTn id="15" presetID="42" presetClass="entr" presetSubtype="0" fill="hold" grpId="0" nodeType="afterEffect">
                                  <p:stCondLst>
                                    <p:cond delay="0"/>
                                  </p:stCondLst>
                                  <p:childTnLst>
                                    <p:set>
                                      <p:cBhvr>
                                        <p:cTn id="16" dur="1" fill="hold">
                                          <p:stCondLst>
                                            <p:cond delay="0"/>
                                          </p:stCondLst>
                                        </p:cTn>
                                        <p:tgtEl>
                                          <p:spTgt spid="59"/>
                                        </p:tgtEl>
                                        <p:attrNameLst>
                                          <p:attrName>style.visibility</p:attrName>
                                        </p:attrNameLst>
                                      </p:cBhvr>
                                      <p:to>
                                        <p:strVal val="visible"/>
                                      </p:to>
                                    </p:set>
                                    <p:animEffect transition="in" filter="fade">
                                      <p:cBhvr>
                                        <p:cTn id="17" dur="500"/>
                                        <p:tgtEl>
                                          <p:spTgt spid="59"/>
                                        </p:tgtEl>
                                      </p:cBhvr>
                                    </p:animEffect>
                                    <p:anim calcmode="lin" valueType="num">
                                      <p:cBhvr>
                                        <p:cTn id="18" dur="500" fill="hold"/>
                                        <p:tgtEl>
                                          <p:spTgt spid="59"/>
                                        </p:tgtEl>
                                        <p:attrNameLst>
                                          <p:attrName>ppt_x</p:attrName>
                                        </p:attrNameLst>
                                      </p:cBhvr>
                                      <p:tavLst>
                                        <p:tav tm="0">
                                          <p:val>
                                            <p:strVal val="#ppt_x"/>
                                          </p:val>
                                        </p:tav>
                                        <p:tav tm="100000">
                                          <p:val>
                                            <p:strVal val="#ppt_x"/>
                                          </p:val>
                                        </p:tav>
                                      </p:tavLst>
                                    </p:anim>
                                    <p:anim calcmode="lin" valueType="num">
                                      <p:cBhvr>
                                        <p:cTn id="19" dur="500" fill="hold"/>
                                        <p:tgtEl>
                                          <p:spTgt spid="59"/>
                                        </p:tgtEl>
                                        <p:attrNameLst>
                                          <p:attrName>ppt_y</p:attrName>
                                        </p:attrNameLst>
                                      </p:cBhvr>
                                      <p:tavLst>
                                        <p:tav tm="0">
                                          <p:val>
                                            <p:strVal val="#ppt_y+.1"/>
                                          </p:val>
                                        </p:tav>
                                        <p:tav tm="100000">
                                          <p:val>
                                            <p:strVal val="#ppt_y"/>
                                          </p:val>
                                        </p:tav>
                                      </p:tavLst>
                                    </p:anim>
                                  </p:childTnLst>
                                </p:cTn>
                              </p:par>
                            </p:childTnLst>
                          </p:cTn>
                        </p:par>
                        <p:par>
                          <p:cTn id="20" fill="hold">
                            <p:stCondLst>
                              <p:cond delay="1500"/>
                            </p:stCondLst>
                            <p:childTnLst>
                              <p:par>
                                <p:cTn id="21" presetID="53" presetClass="entr" presetSubtype="16" fill="hold" nodeType="afterEffect">
                                  <p:stCondLst>
                                    <p:cond delay="0"/>
                                  </p:stCondLst>
                                  <p:childTnLst>
                                    <p:set>
                                      <p:cBhvr>
                                        <p:cTn id="22" dur="1" fill="hold">
                                          <p:stCondLst>
                                            <p:cond delay="0"/>
                                          </p:stCondLst>
                                        </p:cTn>
                                        <p:tgtEl>
                                          <p:spTgt spid="65"/>
                                        </p:tgtEl>
                                        <p:attrNameLst>
                                          <p:attrName>style.visibility</p:attrName>
                                        </p:attrNameLst>
                                      </p:cBhvr>
                                      <p:to>
                                        <p:strVal val="visible"/>
                                      </p:to>
                                    </p:set>
                                    <p:anim calcmode="lin" valueType="num">
                                      <p:cBhvr>
                                        <p:cTn id="23" dur="500" fill="hold"/>
                                        <p:tgtEl>
                                          <p:spTgt spid="65"/>
                                        </p:tgtEl>
                                        <p:attrNameLst>
                                          <p:attrName>ppt_w</p:attrName>
                                        </p:attrNameLst>
                                      </p:cBhvr>
                                      <p:tavLst>
                                        <p:tav tm="0">
                                          <p:val>
                                            <p:fltVal val="0"/>
                                          </p:val>
                                        </p:tav>
                                        <p:tav tm="100000">
                                          <p:val>
                                            <p:strVal val="#ppt_w"/>
                                          </p:val>
                                        </p:tav>
                                      </p:tavLst>
                                    </p:anim>
                                    <p:anim calcmode="lin" valueType="num">
                                      <p:cBhvr>
                                        <p:cTn id="24" dur="500" fill="hold"/>
                                        <p:tgtEl>
                                          <p:spTgt spid="65"/>
                                        </p:tgtEl>
                                        <p:attrNameLst>
                                          <p:attrName>ppt_h</p:attrName>
                                        </p:attrNameLst>
                                      </p:cBhvr>
                                      <p:tavLst>
                                        <p:tav tm="0">
                                          <p:val>
                                            <p:fltVal val="0"/>
                                          </p:val>
                                        </p:tav>
                                        <p:tav tm="100000">
                                          <p:val>
                                            <p:strVal val="#ppt_h"/>
                                          </p:val>
                                        </p:tav>
                                      </p:tavLst>
                                    </p:anim>
                                    <p:animEffect transition="in" filter="fade">
                                      <p:cBhvr>
                                        <p:cTn id="25" dur="500"/>
                                        <p:tgtEl>
                                          <p:spTgt spid="65"/>
                                        </p:tgtEl>
                                      </p:cBhvr>
                                    </p:animEffect>
                                  </p:childTnLst>
                                </p:cTn>
                              </p:par>
                            </p:childTnLst>
                          </p:cTn>
                        </p:par>
                        <p:par>
                          <p:cTn id="26" fill="hold">
                            <p:stCondLst>
                              <p:cond delay="2000"/>
                            </p:stCondLst>
                            <p:childTnLst>
                              <p:par>
                                <p:cTn id="27" presetID="42" presetClass="entr" presetSubtype="0" fill="hold" grpId="0" nodeType="afterEffect">
                                  <p:stCondLst>
                                    <p:cond delay="0"/>
                                  </p:stCondLst>
                                  <p:childTnLst>
                                    <p:set>
                                      <p:cBhvr>
                                        <p:cTn id="28" dur="1" fill="hold">
                                          <p:stCondLst>
                                            <p:cond delay="0"/>
                                          </p:stCondLst>
                                        </p:cTn>
                                        <p:tgtEl>
                                          <p:spTgt spid="64"/>
                                        </p:tgtEl>
                                        <p:attrNameLst>
                                          <p:attrName>style.visibility</p:attrName>
                                        </p:attrNameLst>
                                      </p:cBhvr>
                                      <p:to>
                                        <p:strVal val="visible"/>
                                      </p:to>
                                    </p:set>
                                    <p:animEffect transition="in" filter="fade">
                                      <p:cBhvr>
                                        <p:cTn id="29" dur="500"/>
                                        <p:tgtEl>
                                          <p:spTgt spid="64"/>
                                        </p:tgtEl>
                                      </p:cBhvr>
                                    </p:animEffect>
                                    <p:anim calcmode="lin" valueType="num">
                                      <p:cBhvr>
                                        <p:cTn id="30" dur="500" fill="hold"/>
                                        <p:tgtEl>
                                          <p:spTgt spid="64"/>
                                        </p:tgtEl>
                                        <p:attrNameLst>
                                          <p:attrName>ppt_x</p:attrName>
                                        </p:attrNameLst>
                                      </p:cBhvr>
                                      <p:tavLst>
                                        <p:tav tm="0">
                                          <p:val>
                                            <p:strVal val="#ppt_x"/>
                                          </p:val>
                                        </p:tav>
                                        <p:tav tm="100000">
                                          <p:val>
                                            <p:strVal val="#ppt_x"/>
                                          </p:val>
                                        </p:tav>
                                      </p:tavLst>
                                    </p:anim>
                                    <p:anim calcmode="lin" valueType="num">
                                      <p:cBhvr>
                                        <p:cTn id="31" dur="500" fill="hold"/>
                                        <p:tgtEl>
                                          <p:spTgt spid="64"/>
                                        </p:tgtEl>
                                        <p:attrNameLst>
                                          <p:attrName>ppt_y</p:attrName>
                                        </p:attrNameLst>
                                      </p:cBhvr>
                                      <p:tavLst>
                                        <p:tav tm="0">
                                          <p:val>
                                            <p:strVal val="#ppt_y+.1"/>
                                          </p:val>
                                        </p:tav>
                                        <p:tav tm="100000">
                                          <p:val>
                                            <p:strVal val="#ppt_y"/>
                                          </p:val>
                                        </p:tav>
                                      </p:tavLst>
                                    </p:anim>
                                  </p:childTnLst>
                                </p:cTn>
                              </p:par>
                            </p:childTnLst>
                          </p:cTn>
                        </p:par>
                        <p:par>
                          <p:cTn id="32" fill="hold">
                            <p:stCondLst>
                              <p:cond delay="2500"/>
                            </p:stCondLst>
                            <p:childTnLst>
                              <p:par>
                                <p:cTn id="33" presetID="53" presetClass="entr" presetSubtype="16" fill="hold" nodeType="afterEffect">
                                  <p:stCondLst>
                                    <p:cond delay="0"/>
                                  </p:stCondLst>
                                  <p:childTnLst>
                                    <p:set>
                                      <p:cBhvr>
                                        <p:cTn id="34" dur="1" fill="hold">
                                          <p:stCondLst>
                                            <p:cond delay="0"/>
                                          </p:stCondLst>
                                        </p:cTn>
                                        <p:tgtEl>
                                          <p:spTgt spid="70"/>
                                        </p:tgtEl>
                                        <p:attrNameLst>
                                          <p:attrName>style.visibility</p:attrName>
                                        </p:attrNameLst>
                                      </p:cBhvr>
                                      <p:to>
                                        <p:strVal val="visible"/>
                                      </p:to>
                                    </p:set>
                                    <p:anim calcmode="lin" valueType="num">
                                      <p:cBhvr>
                                        <p:cTn id="35" dur="500" fill="hold"/>
                                        <p:tgtEl>
                                          <p:spTgt spid="70"/>
                                        </p:tgtEl>
                                        <p:attrNameLst>
                                          <p:attrName>ppt_w</p:attrName>
                                        </p:attrNameLst>
                                      </p:cBhvr>
                                      <p:tavLst>
                                        <p:tav tm="0">
                                          <p:val>
                                            <p:fltVal val="0"/>
                                          </p:val>
                                        </p:tav>
                                        <p:tav tm="100000">
                                          <p:val>
                                            <p:strVal val="#ppt_w"/>
                                          </p:val>
                                        </p:tav>
                                      </p:tavLst>
                                    </p:anim>
                                    <p:anim calcmode="lin" valueType="num">
                                      <p:cBhvr>
                                        <p:cTn id="36" dur="500" fill="hold"/>
                                        <p:tgtEl>
                                          <p:spTgt spid="70"/>
                                        </p:tgtEl>
                                        <p:attrNameLst>
                                          <p:attrName>ppt_h</p:attrName>
                                        </p:attrNameLst>
                                      </p:cBhvr>
                                      <p:tavLst>
                                        <p:tav tm="0">
                                          <p:val>
                                            <p:fltVal val="0"/>
                                          </p:val>
                                        </p:tav>
                                        <p:tav tm="100000">
                                          <p:val>
                                            <p:strVal val="#ppt_h"/>
                                          </p:val>
                                        </p:tav>
                                      </p:tavLst>
                                    </p:anim>
                                    <p:animEffect transition="in" filter="fade">
                                      <p:cBhvr>
                                        <p:cTn id="37" dur="500"/>
                                        <p:tgtEl>
                                          <p:spTgt spid="70"/>
                                        </p:tgtEl>
                                      </p:cBhvr>
                                    </p:animEffect>
                                  </p:childTnLst>
                                </p:cTn>
                              </p:par>
                            </p:childTnLst>
                          </p:cTn>
                        </p:par>
                        <p:par>
                          <p:cTn id="38" fill="hold">
                            <p:stCondLst>
                              <p:cond delay="3000"/>
                            </p:stCondLst>
                            <p:childTnLst>
                              <p:par>
                                <p:cTn id="39" presetID="42" presetClass="entr" presetSubtype="0" fill="hold" grpId="0" nodeType="afterEffect">
                                  <p:stCondLst>
                                    <p:cond delay="0"/>
                                  </p:stCondLst>
                                  <p:childTnLst>
                                    <p:set>
                                      <p:cBhvr>
                                        <p:cTn id="40" dur="1" fill="hold">
                                          <p:stCondLst>
                                            <p:cond delay="0"/>
                                          </p:stCondLst>
                                        </p:cTn>
                                        <p:tgtEl>
                                          <p:spTgt spid="69"/>
                                        </p:tgtEl>
                                        <p:attrNameLst>
                                          <p:attrName>style.visibility</p:attrName>
                                        </p:attrNameLst>
                                      </p:cBhvr>
                                      <p:to>
                                        <p:strVal val="visible"/>
                                      </p:to>
                                    </p:set>
                                    <p:animEffect transition="in" filter="fade">
                                      <p:cBhvr>
                                        <p:cTn id="41" dur="500"/>
                                        <p:tgtEl>
                                          <p:spTgt spid="69"/>
                                        </p:tgtEl>
                                      </p:cBhvr>
                                    </p:animEffect>
                                    <p:anim calcmode="lin" valueType="num">
                                      <p:cBhvr>
                                        <p:cTn id="42" dur="500" fill="hold"/>
                                        <p:tgtEl>
                                          <p:spTgt spid="69"/>
                                        </p:tgtEl>
                                        <p:attrNameLst>
                                          <p:attrName>ppt_x</p:attrName>
                                        </p:attrNameLst>
                                      </p:cBhvr>
                                      <p:tavLst>
                                        <p:tav tm="0">
                                          <p:val>
                                            <p:strVal val="#ppt_x"/>
                                          </p:val>
                                        </p:tav>
                                        <p:tav tm="100000">
                                          <p:val>
                                            <p:strVal val="#ppt_x"/>
                                          </p:val>
                                        </p:tav>
                                      </p:tavLst>
                                    </p:anim>
                                    <p:anim calcmode="lin" valueType="num">
                                      <p:cBhvr>
                                        <p:cTn id="43" dur="500" fill="hold"/>
                                        <p:tgtEl>
                                          <p:spTgt spid="69"/>
                                        </p:tgtEl>
                                        <p:attrNameLst>
                                          <p:attrName>ppt_y</p:attrName>
                                        </p:attrNameLst>
                                      </p:cBhvr>
                                      <p:tavLst>
                                        <p:tav tm="0">
                                          <p:val>
                                            <p:strVal val="#ppt_y+.1"/>
                                          </p:val>
                                        </p:tav>
                                        <p:tav tm="100000">
                                          <p:val>
                                            <p:strVal val="#ppt_y"/>
                                          </p:val>
                                        </p:tav>
                                      </p:tavLst>
                                    </p:anim>
                                  </p:childTnLst>
                                </p:cTn>
                              </p:par>
                            </p:childTnLst>
                          </p:cTn>
                        </p:par>
                        <p:par>
                          <p:cTn id="44" fill="hold">
                            <p:stCondLst>
                              <p:cond delay="3500"/>
                            </p:stCondLst>
                            <p:childTnLst>
                              <p:par>
                                <p:cTn id="45" presetID="53" presetClass="entr" presetSubtype="16" fill="hold" nodeType="afterEffect">
                                  <p:stCondLst>
                                    <p:cond delay="0"/>
                                  </p:stCondLst>
                                  <p:childTnLst>
                                    <p:set>
                                      <p:cBhvr>
                                        <p:cTn id="46" dur="1" fill="hold">
                                          <p:stCondLst>
                                            <p:cond delay="0"/>
                                          </p:stCondLst>
                                        </p:cTn>
                                        <p:tgtEl>
                                          <p:spTgt spid="75"/>
                                        </p:tgtEl>
                                        <p:attrNameLst>
                                          <p:attrName>style.visibility</p:attrName>
                                        </p:attrNameLst>
                                      </p:cBhvr>
                                      <p:to>
                                        <p:strVal val="visible"/>
                                      </p:to>
                                    </p:set>
                                    <p:anim calcmode="lin" valueType="num">
                                      <p:cBhvr>
                                        <p:cTn id="47" dur="500" fill="hold"/>
                                        <p:tgtEl>
                                          <p:spTgt spid="75"/>
                                        </p:tgtEl>
                                        <p:attrNameLst>
                                          <p:attrName>ppt_w</p:attrName>
                                        </p:attrNameLst>
                                      </p:cBhvr>
                                      <p:tavLst>
                                        <p:tav tm="0">
                                          <p:val>
                                            <p:fltVal val="0"/>
                                          </p:val>
                                        </p:tav>
                                        <p:tav tm="100000">
                                          <p:val>
                                            <p:strVal val="#ppt_w"/>
                                          </p:val>
                                        </p:tav>
                                      </p:tavLst>
                                    </p:anim>
                                    <p:anim calcmode="lin" valueType="num">
                                      <p:cBhvr>
                                        <p:cTn id="48" dur="500" fill="hold"/>
                                        <p:tgtEl>
                                          <p:spTgt spid="75"/>
                                        </p:tgtEl>
                                        <p:attrNameLst>
                                          <p:attrName>ppt_h</p:attrName>
                                        </p:attrNameLst>
                                      </p:cBhvr>
                                      <p:tavLst>
                                        <p:tav tm="0">
                                          <p:val>
                                            <p:fltVal val="0"/>
                                          </p:val>
                                        </p:tav>
                                        <p:tav tm="100000">
                                          <p:val>
                                            <p:strVal val="#ppt_h"/>
                                          </p:val>
                                        </p:tav>
                                      </p:tavLst>
                                    </p:anim>
                                    <p:animEffect transition="in" filter="fade">
                                      <p:cBhvr>
                                        <p:cTn id="49" dur="500"/>
                                        <p:tgtEl>
                                          <p:spTgt spid="75"/>
                                        </p:tgtEl>
                                      </p:cBhvr>
                                    </p:animEffect>
                                  </p:childTnLst>
                                </p:cTn>
                              </p:par>
                            </p:childTnLst>
                          </p:cTn>
                        </p:par>
                        <p:par>
                          <p:cTn id="50" fill="hold">
                            <p:stCondLst>
                              <p:cond delay="4000"/>
                            </p:stCondLst>
                            <p:childTnLst>
                              <p:par>
                                <p:cTn id="51" presetID="42" presetClass="entr" presetSubtype="0" fill="hold" grpId="0" nodeType="afterEffect">
                                  <p:stCondLst>
                                    <p:cond delay="0"/>
                                  </p:stCondLst>
                                  <p:childTnLst>
                                    <p:set>
                                      <p:cBhvr>
                                        <p:cTn id="52" dur="1" fill="hold">
                                          <p:stCondLst>
                                            <p:cond delay="0"/>
                                          </p:stCondLst>
                                        </p:cTn>
                                        <p:tgtEl>
                                          <p:spTgt spid="74"/>
                                        </p:tgtEl>
                                        <p:attrNameLst>
                                          <p:attrName>style.visibility</p:attrName>
                                        </p:attrNameLst>
                                      </p:cBhvr>
                                      <p:to>
                                        <p:strVal val="visible"/>
                                      </p:to>
                                    </p:set>
                                    <p:animEffect transition="in" filter="fade">
                                      <p:cBhvr>
                                        <p:cTn id="53" dur="500"/>
                                        <p:tgtEl>
                                          <p:spTgt spid="74"/>
                                        </p:tgtEl>
                                      </p:cBhvr>
                                    </p:animEffect>
                                    <p:anim calcmode="lin" valueType="num">
                                      <p:cBhvr>
                                        <p:cTn id="54" dur="500" fill="hold"/>
                                        <p:tgtEl>
                                          <p:spTgt spid="74"/>
                                        </p:tgtEl>
                                        <p:attrNameLst>
                                          <p:attrName>ppt_x</p:attrName>
                                        </p:attrNameLst>
                                      </p:cBhvr>
                                      <p:tavLst>
                                        <p:tav tm="0">
                                          <p:val>
                                            <p:strVal val="#ppt_x"/>
                                          </p:val>
                                        </p:tav>
                                        <p:tav tm="100000">
                                          <p:val>
                                            <p:strVal val="#ppt_x"/>
                                          </p:val>
                                        </p:tav>
                                      </p:tavLst>
                                    </p:anim>
                                    <p:anim calcmode="lin" valueType="num">
                                      <p:cBhvr>
                                        <p:cTn id="55" dur="500" fill="hold"/>
                                        <p:tgtEl>
                                          <p:spTgt spid="74"/>
                                        </p:tgtEl>
                                        <p:attrNameLst>
                                          <p:attrName>ppt_y</p:attrName>
                                        </p:attrNameLst>
                                      </p:cBhvr>
                                      <p:tavLst>
                                        <p:tav tm="0">
                                          <p:val>
                                            <p:strVal val="#ppt_y+.1"/>
                                          </p:val>
                                        </p:tav>
                                        <p:tav tm="100000">
                                          <p:val>
                                            <p:strVal val="#ppt_y"/>
                                          </p:val>
                                        </p:tav>
                                      </p:tavLst>
                                    </p:anim>
                                  </p:childTnLst>
                                </p:cTn>
                              </p:par>
                            </p:childTnLst>
                          </p:cTn>
                        </p:par>
                        <p:par>
                          <p:cTn id="56" fill="hold">
                            <p:stCondLst>
                              <p:cond delay="4500"/>
                            </p:stCondLst>
                            <p:childTnLst>
                              <p:par>
                                <p:cTn id="57" presetID="22" presetClass="entr" presetSubtype="8" fill="hold" grpId="0" nodeType="afterEffect">
                                  <p:stCondLst>
                                    <p:cond delay="0"/>
                                  </p:stCondLst>
                                  <p:childTnLst>
                                    <p:set>
                                      <p:cBhvr>
                                        <p:cTn id="58" dur="1" fill="hold">
                                          <p:stCondLst>
                                            <p:cond delay="0"/>
                                          </p:stCondLst>
                                        </p:cTn>
                                        <p:tgtEl>
                                          <p:spTgt spid="79"/>
                                        </p:tgtEl>
                                        <p:attrNameLst>
                                          <p:attrName>style.visibility</p:attrName>
                                        </p:attrNameLst>
                                      </p:cBhvr>
                                      <p:to>
                                        <p:strVal val="visible"/>
                                      </p:to>
                                    </p:set>
                                    <p:animEffect transition="in" filter="wipe(left)">
                                      <p:cBhvr>
                                        <p:cTn id="59" dur="500"/>
                                        <p:tgtEl>
                                          <p:spTgt spid="7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9" grpId="0"/>
      <p:bldP spid="64" grpId="0"/>
      <p:bldP spid="69" grpId="0"/>
      <p:bldP spid="74" grpId="0"/>
      <p:bldP spid="79" grpId="0"/>
    </p:bld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a:extLst>
              <a:ext uri="{FF2B5EF4-FFF2-40B4-BE49-F238E27FC236}">
                <a16:creationId xmlns:a16="http://schemas.microsoft.com/office/drawing/2014/main" id="{56A670B2-CA81-4818-A1D8-31BF030A05AB}"/>
              </a:ext>
            </a:extLst>
          </p:cNvPr>
          <p:cNvSpPr txBox="1"/>
          <p:nvPr/>
        </p:nvSpPr>
        <p:spPr>
          <a:xfrm>
            <a:off x="4759151" y="768880"/>
            <a:ext cx="2673698" cy="1354217"/>
          </a:xfrm>
          <a:prstGeom prst="rect">
            <a:avLst/>
          </a:prstGeom>
          <a:noFill/>
        </p:spPr>
        <p:txBody>
          <a:bodyPr wrap="square" lIns="0" tIns="0" rIns="0" bIns="0" rtlCol="0" anchor="t">
            <a:spAutoFit/>
          </a:bodyPr>
          <a:lstStyle/>
          <a:p>
            <a:pPr algn="dist"/>
            <a:r>
              <a:rPr lang="zh-CN" altLang="en-US" sz="8800" dirty="0">
                <a:solidFill>
                  <a:schemeClr val="accent1"/>
                </a:solidFill>
                <a:latin typeface="+mj-ea"/>
                <a:ea typeface="+mj-ea"/>
              </a:rPr>
              <a:t>目录</a:t>
            </a:r>
          </a:p>
        </p:txBody>
      </p:sp>
      <p:sp>
        <p:nvSpPr>
          <p:cNvPr id="17" name="文本框 16">
            <a:extLst>
              <a:ext uri="{FF2B5EF4-FFF2-40B4-BE49-F238E27FC236}">
                <a16:creationId xmlns:a16="http://schemas.microsoft.com/office/drawing/2014/main" id="{4FB963FB-0304-40B7-BDDD-D0DDC45CB261}"/>
              </a:ext>
            </a:extLst>
          </p:cNvPr>
          <p:cNvSpPr txBox="1"/>
          <p:nvPr/>
        </p:nvSpPr>
        <p:spPr>
          <a:xfrm>
            <a:off x="4895849" y="2241782"/>
            <a:ext cx="2531437" cy="276999"/>
          </a:xfrm>
          <a:prstGeom prst="rect">
            <a:avLst/>
          </a:prstGeom>
          <a:noFill/>
        </p:spPr>
        <p:txBody>
          <a:bodyPr wrap="square" lIns="0" tIns="0" rIns="0" bIns="0" rtlCol="0" anchor="t">
            <a:spAutoFit/>
          </a:bodyPr>
          <a:lstStyle/>
          <a:p>
            <a:pPr algn="dist"/>
            <a:r>
              <a:rPr lang="en-US" altLang="zh-CN" dirty="0">
                <a:solidFill>
                  <a:schemeClr val="accent1"/>
                </a:solidFill>
              </a:rPr>
              <a:t>CONTENTS</a:t>
            </a:r>
            <a:endParaRPr lang="zh-CN" altLang="en-US" dirty="0">
              <a:solidFill>
                <a:schemeClr val="accent1"/>
              </a:solidFill>
            </a:endParaRPr>
          </a:p>
        </p:txBody>
      </p:sp>
      <p:cxnSp>
        <p:nvCxnSpPr>
          <p:cNvPr id="5" name="直接连接符 4">
            <a:extLst>
              <a:ext uri="{FF2B5EF4-FFF2-40B4-BE49-F238E27FC236}">
                <a16:creationId xmlns:a16="http://schemas.microsoft.com/office/drawing/2014/main" id="{57A653E9-F46F-4D1B-8837-9DA96B7C1CE4}"/>
              </a:ext>
            </a:extLst>
          </p:cNvPr>
          <p:cNvCxnSpPr>
            <a:cxnSpLocks/>
          </p:cNvCxnSpPr>
          <p:nvPr/>
        </p:nvCxnSpPr>
        <p:spPr>
          <a:xfrm>
            <a:off x="4962525" y="1918236"/>
            <a:ext cx="2386013" cy="0"/>
          </a:xfrm>
          <a:prstGeom prst="line">
            <a:avLst/>
          </a:prstGeom>
          <a:ln w="254000" cap="rnd">
            <a:solidFill>
              <a:schemeClr val="accent1">
                <a:alpha val="40000"/>
              </a:schemeClr>
            </a:solidFill>
          </a:ln>
        </p:spPr>
        <p:style>
          <a:lnRef idx="1">
            <a:schemeClr val="accent1"/>
          </a:lnRef>
          <a:fillRef idx="0">
            <a:schemeClr val="accent1"/>
          </a:fillRef>
          <a:effectRef idx="0">
            <a:schemeClr val="accent1"/>
          </a:effectRef>
          <a:fontRef idx="minor">
            <a:schemeClr val="tx1"/>
          </a:fontRef>
        </p:style>
      </p:cxnSp>
      <p:sp>
        <p:nvSpPr>
          <p:cNvPr id="9" name="泪滴形 8">
            <a:extLst>
              <a:ext uri="{FF2B5EF4-FFF2-40B4-BE49-F238E27FC236}">
                <a16:creationId xmlns:a16="http://schemas.microsoft.com/office/drawing/2014/main" id="{6DD9FF72-AB8D-484B-BEA6-93603F0CB0B1}"/>
              </a:ext>
            </a:extLst>
          </p:cNvPr>
          <p:cNvSpPr/>
          <p:nvPr/>
        </p:nvSpPr>
        <p:spPr>
          <a:xfrm>
            <a:off x="1516523" y="3200400"/>
            <a:ext cx="876300" cy="876300"/>
          </a:xfrm>
          <a:prstGeom prst="teardrop">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000" dirty="0"/>
              <a:t>01</a:t>
            </a:r>
            <a:endParaRPr lang="zh-CN" altLang="en-US" sz="2000" dirty="0"/>
          </a:p>
        </p:txBody>
      </p:sp>
      <p:sp>
        <p:nvSpPr>
          <p:cNvPr id="34" name="文本框 33">
            <a:extLst>
              <a:ext uri="{FF2B5EF4-FFF2-40B4-BE49-F238E27FC236}">
                <a16:creationId xmlns:a16="http://schemas.microsoft.com/office/drawing/2014/main" id="{22862CCD-EE20-4B9E-A2B5-592405C7B270}"/>
              </a:ext>
            </a:extLst>
          </p:cNvPr>
          <p:cNvSpPr txBox="1"/>
          <p:nvPr/>
        </p:nvSpPr>
        <p:spPr>
          <a:xfrm>
            <a:off x="1031344" y="4244036"/>
            <a:ext cx="1846659" cy="369332"/>
          </a:xfrm>
          <a:prstGeom prst="rect">
            <a:avLst/>
          </a:prstGeom>
          <a:noFill/>
        </p:spPr>
        <p:txBody>
          <a:bodyPr wrap="none" lIns="0" tIns="0" rIns="0" bIns="0" rtlCol="0" anchor="t">
            <a:spAutoFit/>
          </a:bodyPr>
          <a:lstStyle/>
          <a:p>
            <a:pPr algn="ctr"/>
            <a:r>
              <a:rPr lang="zh-CN" altLang="en-US" sz="2400" dirty="0">
                <a:solidFill>
                  <a:schemeClr val="accent1"/>
                </a:solidFill>
                <a:latin typeface="+mj-ea"/>
                <a:ea typeface="+mj-ea"/>
              </a:rPr>
              <a:t>输入目录标题</a:t>
            </a:r>
          </a:p>
        </p:txBody>
      </p:sp>
      <p:sp>
        <p:nvSpPr>
          <p:cNvPr id="10" name="文本框 9">
            <a:extLst>
              <a:ext uri="{FF2B5EF4-FFF2-40B4-BE49-F238E27FC236}">
                <a16:creationId xmlns:a16="http://schemas.microsoft.com/office/drawing/2014/main" id="{C73690E0-9C6F-44BC-9902-1834F18F266F}"/>
              </a:ext>
            </a:extLst>
          </p:cNvPr>
          <p:cNvSpPr txBox="1"/>
          <p:nvPr/>
        </p:nvSpPr>
        <p:spPr>
          <a:xfrm>
            <a:off x="1031344" y="4705218"/>
            <a:ext cx="1846660" cy="215444"/>
          </a:xfrm>
          <a:prstGeom prst="rect">
            <a:avLst/>
          </a:prstGeom>
          <a:noFill/>
        </p:spPr>
        <p:txBody>
          <a:bodyPr wrap="square" lIns="0" tIns="0" rIns="0" bIns="0" rtlCol="0" anchor="t">
            <a:spAutoFit/>
          </a:bodyPr>
          <a:lstStyle/>
          <a:p>
            <a:pPr algn="dist"/>
            <a:r>
              <a:rPr lang="en-US" altLang="zh-CN" sz="1400" dirty="0">
                <a:solidFill>
                  <a:schemeClr val="accent1"/>
                </a:solidFill>
              </a:rPr>
              <a:t>Contents Title Here</a:t>
            </a:r>
            <a:endParaRPr lang="zh-CN" altLang="en-US" sz="1400" dirty="0">
              <a:solidFill>
                <a:schemeClr val="accent1"/>
              </a:solidFill>
            </a:endParaRPr>
          </a:p>
        </p:txBody>
      </p:sp>
      <p:sp>
        <p:nvSpPr>
          <p:cNvPr id="48" name="泪滴形 47">
            <a:extLst>
              <a:ext uri="{FF2B5EF4-FFF2-40B4-BE49-F238E27FC236}">
                <a16:creationId xmlns:a16="http://schemas.microsoft.com/office/drawing/2014/main" id="{4069AB96-EF85-4906-9AE7-7C890C4E145F}"/>
              </a:ext>
            </a:extLst>
          </p:cNvPr>
          <p:cNvSpPr/>
          <p:nvPr/>
        </p:nvSpPr>
        <p:spPr>
          <a:xfrm>
            <a:off x="4277407" y="3200400"/>
            <a:ext cx="876300" cy="876300"/>
          </a:xfrm>
          <a:prstGeom prst="teardrop">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000" dirty="0"/>
              <a:t>02</a:t>
            </a:r>
            <a:endParaRPr lang="zh-CN" altLang="en-US" sz="2000" dirty="0"/>
          </a:p>
        </p:txBody>
      </p:sp>
      <p:sp>
        <p:nvSpPr>
          <p:cNvPr id="49" name="文本框 48">
            <a:extLst>
              <a:ext uri="{FF2B5EF4-FFF2-40B4-BE49-F238E27FC236}">
                <a16:creationId xmlns:a16="http://schemas.microsoft.com/office/drawing/2014/main" id="{E8926490-787B-474F-ACF2-249EDA1984F4}"/>
              </a:ext>
            </a:extLst>
          </p:cNvPr>
          <p:cNvSpPr txBox="1"/>
          <p:nvPr/>
        </p:nvSpPr>
        <p:spPr>
          <a:xfrm>
            <a:off x="3792228" y="4244036"/>
            <a:ext cx="1846659" cy="369332"/>
          </a:xfrm>
          <a:prstGeom prst="rect">
            <a:avLst/>
          </a:prstGeom>
          <a:noFill/>
        </p:spPr>
        <p:txBody>
          <a:bodyPr wrap="none" lIns="0" tIns="0" rIns="0" bIns="0" rtlCol="0" anchor="t">
            <a:spAutoFit/>
          </a:bodyPr>
          <a:lstStyle/>
          <a:p>
            <a:pPr algn="ctr"/>
            <a:r>
              <a:rPr lang="zh-CN" altLang="en-US" sz="2400" dirty="0">
                <a:solidFill>
                  <a:schemeClr val="accent1"/>
                </a:solidFill>
                <a:latin typeface="+mj-ea"/>
                <a:ea typeface="+mj-ea"/>
              </a:rPr>
              <a:t>输入目录标题</a:t>
            </a:r>
          </a:p>
        </p:txBody>
      </p:sp>
      <p:sp>
        <p:nvSpPr>
          <p:cNvPr id="50" name="文本框 49">
            <a:extLst>
              <a:ext uri="{FF2B5EF4-FFF2-40B4-BE49-F238E27FC236}">
                <a16:creationId xmlns:a16="http://schemas.microsoft.com/office/drawing/2014/main" id="{693FBA7E-B1DD-46C0-B6EC-1ABF6940AEB0}"/>
              </a:ext>
            </a:extLst>
          </p:cNvPr>
          <p:cNvSpPr txBox="1"/>
          <p:nvPr/>
        </p:nvSpPr>
        <p:spPr>
          <a:xfrm>
            <a:off x="3792228" y="4705218"/>
            <a:ext cx="1846660" cy="215444"/>
          </a:xfrm>
          <a:prstGeom prst="rect">
            <a:avLst/>
          </a:prstGeom>
          <a:noFill/>
        </p:spPr>
        <p:txBody>
          <a:bodyPr wrap="square" lIns="0" tIns="0" rIns="0" bIns="0" rtlCol="0" anchor="t">
            <a:spAutoFit/>
          </a:bodyPr>
          <a:lstStyle/>
          <a:p>
            <a:pPr algn="dist"/>
            <a:r>
              <a:rPr lang="en-US" altLang="zh-CN" sz="1400" dirty="0">
                <a:solidFill>
                  <a:schemeClr val="accent1"/>
                </a:solidFill>
              </a:rPr>
              <a:t>Contents Title Here</a:t>
            </a:r>
            <a:endParaRPr lang="zh-CN" altLang="en-US" sz="1400" dirty="0">
              <a:solidFill>
                <a:schemeClr val="accent1"/>
              </a:solidFill>
            </a:endParaRPr>
          </a:p>
        </p:txBody>
      </p:sp>
      <p:sp>
        <p:nvSpPr>
          <p:cNvPr id="52" name="泪滴形 51">
            <a:extLst>
              <a:ext uri="{FF2B5EF4-FFF2-40B4-BE49-F238E27FC236}">
                <a16:creationId xmlns:a16="http://schemas.microsoft.com/office/drawing/2014/main" id="{A91E42EC-6BED-4E7C-B43E-B5C33EE22B3C}"/>
              </a:ext>
            </a:extLst>
          </p:cNvPr>
          <p:cNvSpPr/>
          <p:nvPr/>
        </p:nvSpPr>
        <p:spPr>
          <a:xfrm>
            <a:off x="7038291" y="3200400"/>
            <a:ext cx="876300" cy="876300"/>
          </a:xfrm>
          <a:prstGeom prst="teardrop">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000" dirty="0"/>
              <a:t>03</a:t>
            </a:r>
            <a:endParaRPr lang="zh-CN" altLang="en-US" sz="2000" dirty="0"/>
          </a:p>
        </p:txBody>
      </p:sp>
      <p:sp>
        <p:nvSpPr>
          <p:cNvPr id="53" name="文本框 52">
            <a:extLst>
              <a:ext uri="{FF2B5EF4-FFF2-40B4-BE49-F238E27FC236}">
                <a16:creationId xmlns:a16="http://schemas.microsoft.com/office/drawing/2014/main" id="{C2018C74-8F3A-42AF-8E93-81B64A54D0F7}"/>
              </a:ext>
            </a:extLst>
          </p:cNvPr>
          <p:cNvSpPr txBox="1"/>
          <p:nvPr/>
        </p:nvSpPr>
        <p:spPr>
          <a:xfrm>
            <a:off x="6553112" y="4244036"/>
            <a:ext cx="1846659" cy="369332"/>
          </a:xfrm>
          <a:prstGeom prst="rect">
            <a:avLst/>
          </a:prstGeom>
          <a:noFill/>
        </p:spPr>
        <p:txBody>
          <a:bodyPr wrap="none" lIns="0" tIns="0" rIns="0" bIns="0" rtlCol="0" anchor="t">
            <a:spAutoFit/>
          </a:bodyPr>
          <a:lstStyle/>
          <a:p>
            <a:pPr algn="ctr"/>
            <a:r>
              <a:rPr lang="zh-CN" altLang="en-US" sz="2400" dirty="0">
                <a:solidFill>
                  <a:schemeClr val="accent1"/>
                </a:solidFill>
                <a:latin typeface="+mj-ea"/>
                <a:ea typeface="+mj-ea"/>
              </a:rPr>
              <a:t>输入目录标题</a:t>
            </a:r>
          </a:p>
        </p:txBody>
      </p:sp>
      <p:sp>
        <p:nvSpPr>
          <p:cNvPr id="54" name="文本框 53">
            <a:extLst>
              <a:ext uri="{FF2B5EF4-FFF2-40B4-BE49-F238E27FC236}">
                <a16:creationId xmlns:a16="http://schemas.microsoft.com/office/drawing/2014/main" id="{C217C541-064E-426C-8136-4B1E0853557B}"/>
              </a:ext>
            </a:extLst>
          </p:cNvPr>
          <p:cNvSpPr txBox="1"/>
          <p:nvPr/>
        </p:nvSpPr>
        <p:spPr>
          <a:xfrm>
            <a:off x="6553112" y="4705218"/>
            <a:ext cx="1846660" cy="215444"/>
          </a:xfrm>
          <a:prstGeom prst="rect">
            <a:avLst/>
          </a:prstGeom>
          <a:noFill/>
        </p:spPr>
        <p:txBody>
          <a:bodyPr wrap="square" lIns="0" tIns="0" rIns="0" bIns="0" rtlCol="0" anchor="t">
            <a:spAutoFit/>
          </a:bodyPr>
          <a:lstStyle/>
          <a:p>
            <a:pPr algn="dist"/>
            <a:r>
              <a:rPr lang="en-US" altLang="zh-CN" sz="1400" dirty="0">
                <a:solidFill>
                  <a:schemeClr val="accent1"/>
                </a:solidFill>
              </a:rPr>
              <a:t>Contents Title Here</a:t>
            </a:r>
            <a:endParaRPr lang="zh-CN" altLang="en-US" sz="1400" dirty="0">
              <a:solidFill>
                <a:schemeClr val="accent1"/>
              </a:solidFill>
            </a:endParaRPr>
          </a:p>
        </p:txBody>
      </p:sp>
      <p:sp>
        <p:nvSpPr>
          <p:cNvPr id="56" name="泪滴形 55">
            <a:extLst>
              <a:ext uri="{FF2B5EF4-FFF2-40B4-BE49-F238E27FC236}">
                <a16:creationId xmlns:a16="http://schemas.microsoft.com/office/drawing/2014/main" id="{06CFA02D-B250-4AD4-BA45-031E7C3FBBE0}"/>
              </a:ext>
            </a:extLst>
          </p:cNvPr>
          <p:cNvSpPr/>
          <p:nvPr/>
        </p:nvSpPr>
        <p:spPr>
          <a:xfrm>
            <a:off x="9799175" y="3200400"/>
            <a:ext cx="876300" cy="876300"/>
          </a:xfrm>
          <a:prstGeom prst="teardrop">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000" dirty="0"/>
              <a:t>04</a:t>
            </a:r>
            <a:endParaRPr lang="zh-CN" altLang="en-US" sz="2000" dirty="0"/>
          </a:p>
        </p:txBody>
      </p:sp>
      <p:sp>
        <p:nvSpPr>
          <p:cNvPr id="57" name="文本框 56">
            <a:extLst>
              <a:ext uri="{FF2B5EF4-FFF2-40B4-BE49-F238E27FC236}">
                <a16:creationId xmlns:a16="http://schemas.microsoft.com/office/drawing/2014/main" id="{DC63D895-D761-42E6-9FDF-2C9FF3DFD07F}"/>
              </a:ext>
            </a:extLst>
          </p:cNvPr>
          <p:cNvSpPr txBox="1"/>
          <p:nvPr/>
        </p:nvSpPr>
        <p:spPr>
          <a:xfrm>
            <a:off x="9313996" y="4244036"/>
            <a:ext cx="1846659" cy="369332"/>
          </a:xfrm>
          <a:prstGeom prst="rect">
            <a:avLst/>
          </a:prstGeom>
          <a:noFill/>
        </p:spPr>
        <p:txBody>
          <a:bodyPr wrap="none" lIns="0" tIns="0" rIns="0" bIns="0" rtlCol="0" anchor="t">
            <a:spAutoFit/>
          </a:bodyPr>
          <a:lstStyle/>
          <a:p>
            <a:pPr algn="ctr"/>
            <a:r>
              <a:rPr lang="zh-CN" altLang="en-US" sz="2400" dirty="0">
                <a:solidFill>
                  <a:schemeClr val="accent1"/>
                </a:solidFill>
                <a:latin typeface="+mj-ea"/>
                <a:ea typeface="+mj-ea"/>
              </a:rPr>
              <a:t>输入目录标题</a:t>
            </a:r>
          </a:p>
        </p:txBody>
      </p:sp>
      <p:sp>
        <p:nvSpPr>
          <p:cNvPr id="58" name="文本框 57">
            <a:extLst>
              <a:ext uri="{FF2B5EF4-FFF2-40B4-BE49-F238E27FC236}">
                <a16:creationId xmlns:a16="http://schemas.microsoft.com/office/drawing/2014/main" id="{877A37D7-BC6F-47DC-83D9-D4B172DA043C}"/>
              </a:ext>
            </a:extLst>
          </p:cNvPr>
          <p:cNvSpPr txBox="1"/>
          <p:nvPr/>
        </p:nvSpPr>
        <p:spPr>
          <a:xfrm>
            <a:off x="9313996" y="4705218"/>
            <a:ext cx="1846660" cy="215444"/>
          </a:xfrm>
          <a:prstGeom prst="rect">
            <a:avLst/>
          </a:prstGeom>
          <a:noFill/>
        </p:spPr>
        <p:txBody>
          <a:bodyPr wrap="square" lIns="0" tIns="0" rIns="0" bIns="0" rtlCol="0" anchor="t">
            <a:spAutoFit/>
          </a:bodyPr>
          <a:lstStyle/>
          <a:p>
            <a:pPr algn="dist"/>
            <a:r>
              <a:rPr lang="en-US" altLang="zh-CN" sz="1400" dirty="0">
                <a:solidFill>
                  <a:schemeClr val="accent1"/>
                </a:solidFill>
              </a:rPr>
              <a:t>Contents Title Here</a:t>
            </a:r>
            <a:endParaRPr lang="zh-CN" altLang="en-US" sz="1400" dirty="0">
              <a:solidFill>
                <a:schemeClr val="accent1"/>
              </a:solidFill>
            </a:endParaRPr>
          </a:p>
        </p:txBody>
      </p:sp>
      <p:sp>
        <p:nvSpPr>
          <p:cNvPr id="59" name="任意多边形: 形状 58">
            <a:extLst>
              <a:ext uri="{FF2B5EF4-FFF2-40B4-BE49-F238E27FC236}">
                <a16:creationId xmlns:a16="http://schemas.microsoft.com/office/drawing/2014/main" id="{D900D631-27CC-466B-B52A-96DE102B2C34}"/>
              </a:ext>
            </a:extLst>
          </p:cNvPr>
          <p:cNvSpPr/>
          <p:nvPr/>
        </p:nvSpPr>
        <p:spPr>
          <a:xfrm rot="5400000">
            <a:off x="-1124501" y="1124501"/>
            <a:ext cx="4076700" cy="1827698"/>
          </a:xfrm>
          <a:custGeom>
            <a:avLst/>
            <a:gdLst>
              <a:gd name="connsiteX0" fmla="*/ 0 w 4076700"/>
              <a:gd name="connsiteY0" fmla="*/ 1827698 h 1827698"/>
              <a:gd name="connsiteX1" fmla="*/ 0 w 4076700"/>
              <a:gd name="connsiteY1" fmla="*/ 0 h 1827698"/>
              <a:gd name="connsiteX2" fmla="*/ 36085 w 4076700"/>
              <a:gd name="connsiteY2" fmla="*/ 28459 h 1827698"/>
              <a:gd name="connsiteX3" fmla="*/ 2608491 w 4076700"/>
              <a:gd name="connsiteY3" fmla="*/ 1363043 h 1827698"/>
              <a:gd name="connsiteX4" fmla="*/ 3759978 w 4076700"/>
              <a:gd name="connsiteY4" fmla="*/ 1738682 h 1827698"/>
              <a:gd name="connsiteX5" fmla="*/ 4059114 w 4076700"/>
              <a:gd name="connsiteY5" fmla="*/ 1816164 h 1827698"/>
              <a:gd name="connsiteX6" fmla="*/ 4076700 w 4076700"/>
              <a:gd name="connsiteY6" fmla="*/ 1827698 h 18276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76700" h="1827698">
                <a:moveTo>
                  <a:pt x="0" y="1827698"/>
                </a:moveTo>
                <a:lnTo>
                  <a:pt x="0" y="0"/>
                </a:lnTo>
                <a:lnTo>
                  <a:pt x="36085" y="28459"/>
                </a:lnTo>
                <a:cubicBezTo>
                  <a:pt x="650490" y="487036"/>
                  <a:pt x="1556501" y="968129"/>
                  <a:pt x="2608491" y="1363043"/>
                </a:cubicBezTo>
                <a:cubicBezTo>
                  <a:pt x="3002987" y="1511136"/>
                  <a:pt x="3390001" y="1636595"/>
                  <a:pt x="3759978" y="1738682"/>
                </a:cubicBezTo>
                <a:lnTo>
                  <a:pt x="4059114" y="1816164"/>
                </a:lnTo>
                <a:lnTo>
                  <a:pt x="4076700" y="1827698"/>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6000" dirty="0"/>
          </a:p>
        </p:txBody>
      </p:sp>
      <p:sp>
        <p:nvSpPr>
          <p:cNvPr id="60" name="任意多边形: 形状 59">
            <a:extLst>
              <a:ext uri="{FF2B5EF4-FFF2-40B4-BE49-F238E27FC236}">
                <a16:creationId xmlns:a16="http://schemas.microsoft.com/office/drawing/2014/main" id="{AD5D725B-F156-4442-A027-0EFCDCF00C2E}"/>
              </a:ext>
            </a:extLst>
          </p:cNvPr>
          <p:cNvSpPr/>
          <p:nvPr/>
        </p:nvSpPr>
        <p:spPr>
          <a:xfrm rot="16200000">
            <a:off x="9804951" y="4470951"/>
            <a:ext cx="2946400" cy="1827698"/>
          </a:xfrm>
          <a:custGeom>
            <a:avLst/>
            <a:gdLst>
              <a:gd name="connsiteX0" fmla="*/ 0 w 4076700"/>
              <a:gd name="connsiteY0" fmla="*/ 1827698 h 1827698"/>
              <a:gd name="connsiteX1" fmla="*/ 0 w 4076700"/>
              <a:gd name="connsiteY1" fmla="*/ 0 h 1827698"/>
              <a:gd name="connsiteX2" fmla="*/ 36085 w 4076700"/>
              <a:gd name="connsiteY2" fmla="*/ 28459 h 1827698"/>
              <a:gd name="connsiteX3" fmla="*/ 2608491 w 4076700"/>
              <a:gd name="connsiteY3" fmla="*/ 1363043 h 1827698"/>
              <a:gd name="connsiteX4" fmla="*/ 3759978 w 4076700"/>
              <a:gd name="connsiteY4" fmla="*/ 1738682 h 1827698"/>
              <a:gd name="connsiteX5" fmla="*/ 4059114 w 4076700"/>
              <a:gd name="connsiteY5" fmla="*/ 1816164 h 1827698"/>
              <a:gd name="connsiteX6" fmla="*/ 4076700 w 4076700"/>
              <a:gd name="connsiteY6" fmla="*/ 1827698 h 18276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76700" h="1827698">
                <a:moveTo>
                  <a:pt x="0" y="1827698"/>
                </a:moveTo>
                <a:lnTo>
                  <a:pt x="0" y="0"/>
                </a:lnTo>
                <a:lnTo>
                  <a:pt x="36085" y="28459"/>
                </a:lnTo>
                <a:cubicBezTo>
                  <a:pt x="650490" y="487036"/>
                  <a:pt x="1556501" y="968129"/>
                  <a:pt x="2608491" y="1363043"/>
                </a:cubicBezTo>
                <a:cubicBezTo>
                  <a:pt x="3002987" y="1511136"/>
                  <a:pt x="3390001" y="1636595"/>
                  <a:pt x="3759978" y="1738682"/>
                </a:cubicBezTo>
                <a:lnTo>
                  <a:pt x="4059114" y="1816164"/>
                </a:lnTo>
                <a:lnTo>
                  <a:pt x="4076700" y="1827698"/>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6000" dirty="0"/>
          </a:p>
        </p:txBody>
      </p:sp>
    </p:spTree>
    <p:extLst>
      <p:ext uri="{BB962C8B-B14F-4D97-AF65-F5344CB8AC3E}">
        <p14:creationId xmlns:p14="http://schemas.microsoft.com/office/powerpoint/2010/main" val="180565038"/>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6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29">
            <a:extLst>
              <a:ext uri="{FF2B5EF4-FFF2-40B4-BE49-F238E27FC236}">
                <a16:creationId xmlns:a16="http://schemas.microsoft.com/office/drawing/2014/main" id="{497BF7A4-C259-4EC3-B1EC-91FC42633A72}"/>
              </a:ext>
            </a:extLst>
          </p:cNvPr>
          <p:cNvSpPr/>
          <p:nvPr/>
        </p:nvSpPr>
        <p:spPr>
          <a:xfrm>
            <a:off x="7817692" y="2983669"/>
            <a:ext cx="3401497" cy="2096600"/>
          </a:xfrm>
          <a:prstGeom prst="rect">
            <a:avLst/>
          </a:prstGeom>
        </p:spPr>
        <p:txBody>
          <a:bodyPr wrap="square">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0F0F0">
                    <a:lumMod val="75000"/>
                  </a:srgbClr>
                </a:solidFill>
                <a:effectLst/>
                <a:uLnTx/>
                <a:uFillTx/>
                <a:latin typeface="等线" panose="020F0502020204030204"/>
                <a:ea typeface="+mn-ea"/>
                <a:cs typeface="+mn-cs"/>
              </a:rPr>
              <a:t>Lorem Ipsum is simply dummy text of the printing and typesetting industry. Lorem Ipsum has been the industry's standard dummy text ever since the 1500s, when an unknown printer took a galley of type and scrambled it to make a type specimen book. It has survived not only five centuries, but also the leap into electronic typesetting, remaining essentially unchanged. </a:t>
            </a:r>
          </a:p>
        </p:txBody>
      </p:sp>
      <p:sp>
        <p:nvSpPr>
          <p:cNvPr id="3" name="TextBox 85">
            <a:extLst>
              <a:ext uri="{FF2B5EF4-FFF2-40B4-BE49-F238E27FC236}">
                <a16:creationId xmlns:a16="http://schemas.microsoft.com/office/drawing/2014/main" id="{EEDF67E5-B4C6-441C-86DD-A7E322E29376}"/>
              </a:ext>
            </a:extLst>
          </p:cNvPr>
          <p:cNvSpPr txBox="1"/>
          <p:nvPr/>
        </p:nvSpPr>
        <p:spPr>
          <a:xfrm>
            <a:off x="7817691" y="1186160"/>
            <a:ext cx="3666575" cy="107721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000000">
                    <a:lumMod val="85000"/>
                    <a:lumOff val="15000"/>
                  </a:srgbClr>
                </a:solidFill>
                <a:effectLst/>
                <a:uLnTx/>
                <a:uFillTx/>
                <a:latin typeface="等线 Light" panose="020F0302020204030204"/>
                <a:ea typeface="+mn-ea"/>
                <a:cs typeface="+mn-cs"/>
              </a:rPr>
              <a:t>INFOGRAPHIC</a:t>
            </a:r>
            <a:endParaRPr kumimoji="0" lang="en-US" sz="3200" b="1" i="0" u="none" strike="noStrike" kern="1200" cap="none" spc="0" normalizeH="0" baseline="0" noProof="0" dirty="0">
              <a:ln>
                <a:noFill/>
              </a:ln>
              <a:solidFill>
                <a:srgbClr val="000000">
                  <a:lumMod val="85000"/>
                  <a:lumOff val="15000"/>
                </a:srgbClr>
              </a:solidFill>
              <a:effectLst/>
              <a:uLnTx/>
              <a:uFillTx/>
              <a:latin typeface="等线"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000000">
                    <a:lumMod val="85000"/>
                    <a:lumOff val="15000"/>
                  </a:srgbClr>
                </a:solidFill>
                <a:effectLst/>
                <a:uLnTx/>
                <a:uFillTx/>
                <a:latin typeface="等线 Light" panose="020F0302020204030204"/>
                <a:ea typeface="+mn-ea"/>
                <a:cs typeface="+mn-cs"/>
              </a:rPr>
              <a:t>TREE</a:t>
            </a:r>
          </a:p>
        </p:txBody>
      </p:sp>
      <p:sp>
        <p:nvSpPr>
          <p:cNvPr id="4" name="Rectangle 87">
            <a:extLst>
              <a:ext uri="{FF2B5EF4-FFF2-40B4-BE49-F238E27FC236}">
                <a16:creationId xmlns:a16="http://schemas.microsoft.com/office/drawing/2014/main" id="{A66814A5-89C8-48F2-B493-3D4AFE879CB1}"/>
              </a:ext>
            </a:extLst>
          </p:cNvPr>
          <p:cNvSpPr/>
          <p:nvPr/>
        </p:nvSpPr>
        <p:spPr>
          <a:xfrm>
            <a:off x="7831546" y="5671843"/>
            <a:ext cx="2916143" cy="573106"/>
          </a:xfrm>
          <a:prstGeom prst="rect">
            <a:avLst/>
          </a:prstGeom>
        </p:spPr>
        <p:txBody>
          <a:bodyPr wrap="square">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FFFFF">
                    <a:lumMod val="65000"/>
                  </a:srgbClr>
                </a:solidFill>
                <a:effectLst/>
                <a:uLnTx/>
                <a:uFillTx/>
                <a:latin typeface="等线" panose="020F0502020204030204"/>
                <a:ea typeface="+mn-ea"/>
                <a:cs typeface="+mn-cs"/>
              </a:rPr>
              <a:t>Lorem Ipsum is simply dummy text of the printing and typesetting industry</a:t>
            </a:r>
          </a:p>
        </p:txBody>
      </p:sp>
      <p:sp>
        <p:nvSpPr>
          <p:cNvPr id="5" name="TextBox 88">
            <a:extLst>
              <a:ext uri="{FF2B5EF4-FFF2-40B4-BE49-F238E27FC236}">
                <a16:creationId xmlns:a16="http://schemas.microsoft.com/office/drawing/2014/main" id="{19A27AF9-B99A-4531-AAFD-4863DEBBE566}"/>
              </a:ext>
            </a:extLst>
          </p:cNvPr>
          <p:cNvSpPr txBox="1"/>
          <p:nvPr/>
        </p:nvSpPr>
        <p:spPr>
          <a:xfrm>
            <a:off x="7859257" y="5344549"/>
            <a:ext cx="2170359"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lumMod val="85000"/>
                    <a:lumOff val="15000"/>
                  </a:srgbClr>
                </a:solidFill>
                <a:effectLst/>
                <a:uLnTx/>
                <a:uFillTx/>
                <a:latin typeface="等线 Light" panose="020F0302020204030204"/>
                <a:ea typeface="+mn-ea"/>
                <a:cs typeface="+mn-cs"/>
              </a:rPr>
              <a:t>Subtitle Here</a:t>
            </a:r>
          </a:p>
        </p:txBody>
      </p:sp>
      <p:sp>
        <p:nvSpPr>
          <p:cNvPr id="6" name="Freeform 5">
            <a:extLst>
              <a:ext uri="{FF2B5EF4-FFF2-40B4-BE49-F238E27FC236}">
                <a16:creationId xmlns:a16="http://schemas.microsoft.com/office/drawing/2014/main" id="{AEAFAF30-F377-4066-B3CD-9B31AB223E0F}"/>
              </a:ext>
            </a:extLst>
          </p:cNvPr>
          <p:cNvSpPr>
            <a:spLocks/>
          </p:cNvSpPr>
          <p:nvPr/>
        </p:nvSpPr>
        <p:spPr bwMode="auto">
          <a:xfrm>
            <a:off x="2109051" y="2667358"/>
            <a:ext cx="3160157" cy="4190644"/>
          </a:xfrm>
          <a:custGeom>
            <a:avLst/>
            <a:gdLst>
              <a:gd name="T0" fmla="*/ 957 w 1339"/>
              <a:gd name="T1" fmla="*/ 893 h 1779"/>
              <a:gd name="T2" fmla="*/ 1139 w 1339"/>
              <a:gd name="T3" fmla="*/ 770 h 1779"/>
              <a:gd name="T4" fmla="*/ 1301 w 1339"/>
              <a:gd name="T5" fmla="*/ 672 h 1779"/>
              <a:gd name="T6" fmla="*/ 1307 w 1339"/>
              <a:gd name="T7" fmla="*/ 613 h 1779"/>
              <a:gd name="T8" fmla="*/ 1151 w 1339"/>
              <a:gd name="T9" fmla="*/ 691 h 1779"/>
              <a:gd name="T10" fmla="*/ 1128 w 1339"/>
              <a:gd name="T11" fmla="*/ 594 h 1779"/>
              <a:gd name="T12" fmla="*/ 1132 w 1339"/>
              <a:gd name="T13" fmla="*/ 306 h 1779"/>
              <a:gd name="T14" fmla="*/ 1092 w 1339"/>
              <a:gd name="T15" fmla="*/ 261 h 1779"/>
              <a:gd name="T16" fmla="*/ 1074 w 1339"/>
              <a:gd name="T17" fmla="*/ 557 h 1779"/>
              <a:gd name="T18" fmla="*/ 816 w 1339"/>
              <a:gd name="T19" fmla="*/ 867 h 1779"/>
              <a:gd name="T20" fmla="*/ 717 w 1339"/>
              <a:gd name="T21" fmla="*/ 830 h 1779"/>
              <a:gd name="T22" fmla="*/ 798 w 1339"/>
              <a:gd name="T23" fmla="*/ 665 h 1779"/>
              <a:gd name="T24" fmla="*/ 859 w 1339"/>
              <a:gd name="T25" fmla="*/ 356 h 1779"/>
              <a:gd name="T26" fmla="*/ 876 w 1339"/>
              <a:gd name="T27" fmla="*/ 226 h 1779"/>
              <a:gd name="T28" fmla="*/ 980 w 1339"/>
              <a:gd name="T29" fmla="*/ 70 h 1779"/>
              <a:gd name="T30" fmla="*/ 1001 w 1339"/>
              <a:gd name="T31" fmla="*/ 5 h 1779"/>
              <a:gd name="T32" fmla="*/ 953 w 1339"/>
              <a:gd name="T33" fmla="*/ 73 h 1779"/>
              <a:gd name="T34" fmla="*/ 861 w 1339"/>
              <a:gd name="T35" fmla="*/ 183 h 1779"/>
              <a:gd name="T36" fmla="*/ 804 w 1339"/>
              <a:gd name="T37" fmla="*/ 125 h 1779"/>
              <a:gd name="T38" fmla="*/ 815 w 1339"/>
              <a:gd name="T39" fmla="*/ 251 h 1779"/>
              <a:gd name="T40" fmla="*/ 769 w 1339"/>
              <a:gd name="T41" fmla="*/ 527 h 1779"/>
              <a:gd name="T42" fmla="*/ 624 w 1339"/>
              <a:gd name="T43" fmla="*/ 653 h 1779"/>
              <a:gd name="T44" fmla="*/ 637 w 1339"/>
              <a:gd name="T45" fmla="*/ 411 h 1779"/>
              <a:gd name="T46" fmla="*/ 738 w 1339"/>
              <a:gd name="T47" fmla="*/ 199 h 1779"/>
              <a:gd name="T48" fmla="*/ 618 w 1339"/>
              <a:gd name="T49" fmla="*/ 342 h 1779"/>
              <a:gd name="T50" fmla="*/ 567 w 1339"/>
              <a:gd name="T51" fmla="*/ 179 h 1779"/>
              <a:gd name="T52" fmla="*/ 538 w 1339"/>
              <a:gd name="T53" fmla="*/ 126 h 1779"/>
              <a:gd name="T54" fmla="*/ 539 w 1339"/>
              <a:gd name="T55" fmla="*/ 246 h 1779"/>
              <a:gd name="T56" fmla="*/ 600 w 1339"/>
              <a:gd name="T57" fmla="*/ 386 h 1779"/>
              <a:gd name="T58" fmla="*/ 567 w 1339"/>
              <a:gd name="T59" fmla="*/ 575 h 1779"/>
              <a:gd name="T60" fmla="*/ 272 w 1339"/>
              <a:gd name="T61" fmla="*/ 298 h 1779"/>
              <a:gd name="T62" fmla="*/ 231 w 1339"/>
              <a:gd name="T63" fmla="*/ 315 h 1779"/>
              <a:gd name="T64" fmla="*/ 350 w 1339"/>
              <a:gd name="T65" fmla="*/ 534 h 1779"/>
              <a:gd name="T66" fmla="*/ 540 w 1339"/>
              <a:gd name="T67" fmla="*/ 952 h 1779"/>
              <a:gd name="T68" fmla="*/ 451 w 1339"/>
              <a:gd name="T69" fmla="*/ 867 h 1779"/>
              <a:gd name="T70" fmla="*/ 346 w 1339"/>
              <a:gd name="T71" fmla="*/ 702 h 1779"/>
              <a:gd name="T72" fmla="*/ 175 w 1339"/>
              <a:gd name="T73" fmla="*/ 423 h 1779"/>
              <a:gd name="T74" fmla="*/ 291 w 1339"/>
              <a:gd name="T75" fmla="*/ 676 h 1779"/>
              <a:gd name="T76" fmla="*/ 126 w 1339"/>
              <a:gd name="T77" fmla="*/ 712 h 1779"/>
              <a:gd name="T78" fmla="*/ 257 w 1339"/>
              <a:gd name="T79" fmla="*/ 743 h 1779"/>
              <a:gd name="T80" fmla="*/ 372 w 1339"/>
              <a:gd name="T81" fmla="*/ 884 h 1779"/>
              <a:gd name="T82" fmla="*/ 520 w 1339"/>
              <a:gd name="T83" fmla="*/ 1073 h 1779"/>
              <a:gd name="T84" fmla="*/ 520 w 1339"/>
              <a:gd name="T85" fmla="*/ 1310 h 1779"/>
              <a:gd name="T86" fmla="*/ 350 w 1339"/>
              <a:gd name="T87" fmla="*/ 1283 h 1779"/>
              <a:gd name="T88" fmla="*/ 185 w 1339"/>
              <a:gd name="T89" fmla="*/ 1155 h 1779"/>
              <a:gd name="T90" fmla="*/ 28 w 1339"/>
              <a:gd name="T91" fmla="*/ 817 h 1779"/>
              <a:gd name="T92" fmla="*/ 139 w 1339"/>
              <a:gd name="T93" fmla="*/ 1186 h 1779"/>
              <a:gd name="T94" fmla="*/ 164 w 1339"/>
              <a:gd name="T95" fmla="*/ 1280 h 1779"/>
              <a:gd name="T96" fmla="*/ 312 w 1339"/>
              <a:gd name="T97" fmla="*/ 1355 h 1779"/>
              <a:gd name="T98" fmla="*/ 453 w 1339"/>
              <a:gd name="T99" fmla="*/ 1382 h 1779"/>
              <a:gd name="T100" fmla="*/ 532 w 1339"/>
              <a:gd name="T101" fmla="*/ 1779 h 1779"/>
              <a:gd name="T102" fmla="*/ 862 w 1339"/>
              <a:gd name="T103" fmla="*/ 1478 h 1779"/>
              <a:gd name="T104" fmla="*/ 846 w 1339"/>
              <a:gd name="T105" fmla="*/ 1045 h 1779"/>
              <a:gd name="T106" fmla="*/ 1144 w 1339"/>
              <a:gd name="T107" fmla="*/ 947 h 1779"/>
              <a:gd name="T108" fmla="*/ 1339 w 1339"/>
              <a:gd name="T109" fmla="*/ 892 h 17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339" h="1779">
                <a:moveTo>
                  <a:pt x="1244" y="878"/>
                </a:moveTo>
                <a:cubicBezTo>
                  <a:pt x="1210" y="873"/>
                  <a:pt x="1174" y="866"/>
                  <a:pt x="1140" y="867"/>
                </a:cubicBezTo>
                <a:cubicBezTo>
                  <a:pt x="1105" y="868"/>
                  <a:pt x="1076" y="883"/>
                  <a:pt x="1044" y="893"/>
                </a:cubicBezTo>
                <a:cubicBezTo>
                  <a:pt x="1015" y="902"/>
                  <a:pt x="986" y="896"/>
                  <a:pt x="957" y="893"/>
                </a:cubicBezTo>
                <a:cubicBezTo>
                  <a:pt x="954" y="893"/>
                  <a:pt x="951" y="892"/>
                  <a:pt x="948" y="892"/>
                </a:cubicBezTo>
                <a:cubicBezTo>
                  <a:pt x="968" y="876"/>
                  <a:pt x="987" y="859"/>
                  <a:pt x="1005" y="843"/>
                </a:cubicBezTo>
                <a:cubicBezTo>
                  <a:pt x="1030" y="820"/>
                  <a:pt x="1047" y="791"/>
                  <a:pt x="1062" y="761"/>
                </a:cubicBezTo>
                <a:cubicBezTo>
                  <a:pt x="1085" y="775"/>
                  <a:pt x="1117" y="778"/>
                  <a:pt x="1139" y="770"/>
                </a:cubicBezTo>
                <a:cubicBezTo>
                  <a:pt x="1160" y="762"/>
                  <a:pt x="1175" y="746"/>
                  <a:pt x="1191" y="731"/>
                </a:cubicBezTo>
                <a:cubicBezTo>
                  <a:pt x="1210" y="713"/>
                  <a:pt x="1229" y="696"/>
                  <a:pt x="1248" y="679"/>
                </a:cubicBezTo>
                <a:cubicBezTo>
                  <a:pt x="1255" y="672"/>
                  <a:pt x="1261" y="667"/>
                  <a:pt x="1271" y="667"/>
                </a:cubicBezTo>
                <a:cubicBezTo>
                  <a:pt x="1281" y="668"/>
                  <a:pt x="1290" y="673"/>
                  <a:pt x="1301" y="672"/>
                </a:cubicBezTo>
                <a:cubicBezTo>
                  <a:pt x="1304" y="672"/>
                  <a:pt x="1307" y="671"/>
                  <a:pt x="1309" y="671"/>
                </a:cubicBezTo>
                <a:cubicBezTo>
                  <a:pt x="1306" y="669"/>
                  <a:pt x="1304" y="665"/>
                  <a:pt x="1304" y="660"/>
                </a:cubicBezTo>
                <a:cubicBezTo>
                  <a:pt x="1304" y="644"/>
                  <a:pt x="1306" y="628"/>
                  <a:pt x="1307" y="613"/>
                </a:cubicBezTo>
                <a:cubicBezTo>
                  <a:pt x="1307" y="613"/>
                  <a:pt x="1307" y="613"/>
                  <a:pt x="1307" y="613"/>
                </a:cubicBezTo>
                <a:cubicBezTo>
                  <a:pt x="1297" y="622"/>
                  <a:pt x="1294" y="618"/>
                  <a:pt x="1282" y="615"/>
                </a:cubicBezTo>
                <a:cubicBezTo>
                  <a:pt x="1272" y="613"/>
                  <a:pt x="1261" y="612"/>
                  <a:pt x="1251" y="615"/>
                </a:cubicBezTo>
                <a:cubicBezTo>
                  <a:pt x="1232" y="620"/>
                  <a:pt x="1218" y="633"/>
                  <a:pt x="1204" y="646"/>
                </a:cubicBezTo>
                <a:cubicBezTo>
                  <a:pt x="1186" y="661"/>
                  <a:pt x="1169" y="676"/>
                  <a:pt x="1151" y="691"/>
                </a:cubicBezTo>
                <a:cubicBezTo>
                  <a:pt x="1142" y="699"/>
                  <a:pt x="1126" y="718"/>
                  <a:pt x="1114" y="711"/>
                </a:cubicBezTo>
                <a:cubicBezTo>
                  <a:pt x="1108" y="708"/>
                  <a:pt x="1103" y="701"/>
                  <a:pt x="1098" y="697"/>
                </a:cubicBezTo>
                <a:cubicBezTo>
                  <a:pt x="1097" y="695"/>
                  <a:pt x="1095" y="694"/>
                  <a:pt x="1093" y="693"/>
                </a:cubicBezTo>
                <a:cubicBezTo>
                  <a:pt x="1108" y="661"/>
                  <a:pt x="1123" y="630"/>
                  <a:pt x="1128" y="594"/>
                </a:cubicBezTo>
                <a:cubicBezTo>
                  <a:pt x="1131" y="572"/>
                  <a:pt x="1130" y="550"/>
                  <a:pt x="1130" y="527"/>
                </a:cubicBezTo>
                <a:cubicBezTo>
                  <a:pt x="1131" y="502"/>
                  <a:pt x="1139" y="483"/>
                  <a:pt x="1148" y="461"/>
                </a:cubicBezTo>
                <a:cubicBezTo>
                  <a:pt x="1158" y="435"/>
                  <a:pt x="1160" y="410"/>
                  <a:pt x="1155" y="384"/>
                </a:cubicBezTo>
                <a:cubicBezTo>
                  <a:pt x="1150" y="357"/>
                  <a:pt x="1136" y="333"/>
                  <a:pt x="1132" y="306"/>
                </a:cubicBezTo>
                <a:cubicBezTo>
                  <a:pt x="1130" y="293"/>
                  <a:pt x="1132" y="281"/>
                  <a:pt x="1135" y="269"/>
                </a:cubicBezTo>
                <a:cubicBezTo>
                  <a:pt x="1134" y="269"/>
                  <a:pt x="1133" y="268"/>
                  <a:pt x="1132" y="268"/>
                </a:cubicBezTo>
                <a:cubicBezTo>
                  <a:pt x="1120" y="268"/>
                  <a:pt x="1109" y="267"/>
                  <a:pt x="1098" y="265"/>
                </a:cubicBezTo>
                <a:cubicBezTo>
                  <a:pt x="1095" y="264"/>
                  <a:pt x="1093" y="263"/>
                  <a:pt x="1092" y="261"/>
                </a:cubicBezTo>
                <a:cubicBezTo>
                  <a:pt x="1082" y="291"/>
                  <a:pt x="1084" y="319"/>
                  <a:pt x="1094" y="349"/>
                </a:cubicBezTo>
                <a:cubicBezTo>
                  <a:pt x="1099" y="366"/>
                  <a:pt x="1105" y="384"/>
                  <a:pt x="1107" y="402"/>
                </a:cubicBezTo>
                <a:cubicBezTo>
                  <a:pt x="1108" y="420"/>
                  <a:pt x="1102" y="436"/>
                  <a:pt x="1095" y="453"/>
                </a:cubicBezTo>
                <a:cubicBezTo>
                  <a:pt x="1080" y="487"/>
                  <a:pt x="1076" y="520"/>
                  <a:pt x="1074" y="557"/>
                </a:cubicBezTo>
                <a:cubicBezTo>
                  <a:pt x="1071" y="592"/>
                  <a:pt x="1058" y="624"/>
                  <a:pt x="1041" y="654"/>
                </a:cubicBezTo>
                <a:cubicBezTo>
                  <a:pt x="1026" y="683"/>
                  <a:pt x="1010" y="714"/>
                  <a:pt x="986" y="737"/>
                </a:cubicBezTo>
                <a:cubicBezTo>
                  <a:pt x="960" y="762"/>
                  <a:pt x="931" y="781"/>
                  <a:pt x="903" y="802"/>
                </a:cubicBezTo>
                <a:cubicBezTo>
                  <a:pt x="875" y="824"/>
                  <a:pt x="848" y="851"/>
                  <a:pt x="816" y="867"/>
                </a:cubicBezTo>
                <a:cubicBezTo>
                  <a:pt x="802" y="874"/>
                  <a:pt x="788" y="874"/>
                  <a:pt x="773" y="875"/>
                </a:cubicBezTo>
                <a:cubicBezTo>
                  <a:pt x="752" y="877"/>
                  <a:pt x="732" y="880"/>
                  <a:pt x="714" y="889"/>
                </a:cubicBezTo>
                <a:cubicBezTo>
                  <a:pt x="715" y="884"/>
                  <a:pt x="715" y="878"/>
                  <a:pt x="715" y="873"/>
                </a:cubicBezTo>
                <a:cubicBezTo>
                  <a:pt x="716" y="859"/>
                  <a:pt x="717" y="844"/>
                  <a:pt x="717" y="830"/>
                </a:cubicBezTo>
                <a:cubicBezTo>
                  <a:pt x="730" y="821"/>
                  <a:pt x="741" y="810"/>
                  <a:pt x="749" y="796"/>
                </a:cubicBezTo>
                <a:cubicBezTo>
                  <a:pt x="759" y="780"/>
                  <a:pt x="763" y="763"/>
                  <a:pt x="766" y="745"/>
                </a:cubicBezTo>
                <a:cubicBezTo>
                  <a:pt x="767" y="730"/>
                  <a:pt x="766" y="714"/>
                  <a:pt x="771" y="701"/>
                </a:cubicBezTo>
                <a:cubicBezTo>
                  <a:pt x="777" y="688"/>
                  <a:pt x="789" y="676"/>
                  <a:pt x="798" y="665"/>
                </a:cubicBezTo>
                <a:cubicBezTo>
                  <a:pt x="808" y="651"/>
                  <a:pt x="816" y="636"/>
                  <a:pt x="822" y="620"/>
                </a:cubicBezTo>
                <a:cubicBezTo>
                  <a:pt x="835" y="587"/>
                  <a:pt x="841" y="550"/>
                  <a:pt x="849" y="515"/>
                </a:cubicBezTo>
                <a:cubicBezTo>
                  <a:pt x="858" y="479"/>
                  <a:pt x="870" y="441"/>
                  <a:pt x="869" y="404"/>
                </a:cubicBezTo>
                <a:cubicBezTo>
                  <a:pt x="869" y="387"/>
                  <a:pt x="865" y="371"/>
                  <a:pt x="859" y="356"/>
                </a:cubicBezTo>
                <a:cubicBezTo>
                  <a:pt x="853" y="341"/>
                  <a:pt x="844" y="326"/>
                  <a:pt x="843" y="309"/>
                </a:cubicBezTo>
                <a:cubicBezTo>
                  <a:pt x="843" y="294"/>
                  <a:pt x="853" y="282"/>
                  <a:pt x="860" y="270"/>
                </a:cubicBezTo>
                <a:cubicBezTo>
                  <a:pt x="867" y="257"/>
                  <a:pt x="872" y="243"/>
                  <a:pt x="873" y="228"/>
                </a:cubicBezTo>
                <a:cubicBezTo>
                  <a:pt x="874" y="228"/>
                  <a:pt x="875" y="227"/>
                  <a:pt x="876" y="226"/>
                </a:cubicBezTo>
                <a:cubicBezTo>
                  <a:pt x="887" y="218"/>
                  <a:pt x="891" y="204"/>
                  <a:pt x="898" y="193"/>
                </a:cubicBezTo>
                <a:cubicBezTo>
                  <a:pt x="906" y="181"/>
                  <a:pt x="915" y="169"/>
                  <a:pt x="928" y="162"/>
                </a:cubicBezTo>
                <a:cubicBezTo>
                  <a:pt x="951" y="151"/>
                  <a:pt x="978" y="149"/>
                  <a:pt x="978" y="116"/>
                </a:cubicBezTo>
                <a:cubicBezTo>
                  <a:pt x="977" y="99"/>
                  <a:pt x="970" y="86"/>
                  <a:pt x="980" y="70"/>
                </a:cubicBezTo>
                <a:cubicBezTo>
                  <a:pt x="987" y="58"/>
                  <a:pt x="996" y="49"/>
                  <a:pt x="1003" y="37"/>
                </a:cubicBezTo>
                <a:cubicBezTo>
                  <a:pt x="1004" y="33"/>
                  <a:pt x="1006" y="29"/>
                  <a:pt x="1007" y="25"/>
                </a:cubicBezTo>
                <a:cubicBezTo>
                  <a:pt x="1005" y="23"/>
                  <a:pt x="1004" y="21"/>
                  <a:pt x="1003" y="18"/>
                </a:cubicBezTo>
                <a:cubicBezTo>
                  <a:pt x="1003" y="14"/>
                  <a:pt x="1002" y="10"/>
                  <a:pt x="1001" y="5"/>
                </a:cubicBezTo>
                <a:cubicBezTo>
                  <a:pt x="1000" y="4"/>
                  <a:pt x="998" y="3"/>
                  <a:pt x="997" y="0"/>
                </a:cubicBezTo>
                <a:cubicBezTo>
                  <a:pt x="996" y="3"/>
                  <a:pt x="996" y="7"/>
                  <a:pt x="995" y="10"/>
                </a:cubicBezTo>
                <a:cubicBezTo>
                  <a:pt x="991" y="24"/>
                  <a:pt x="982" y="35"/>
                  <a:pt x="972" y="46"/>
                </a:cubicBezTo>
                <a:cubicBezTo>
                  <a:pt x="964" y="54"/>
                  <a:pt x="957" y="63"/>
                  <a:pt x="953" y="73"/>
                </a:cubicBezTo>
                <a:cubicBezTo>
                  <a:pt x="948" y="86"/>
                  <a:pt x="951" y="97"/>
                  <a:pt x="950" y="110"/>
                </a:cubicBezTo>
                <a:cubicBezTo>
                  <a:pt x="947" y="127"/>
                  <a:pt x="929" y="125"/>
                  <a:pt x="916" y="131"/>
                </a:cubicBezTo>
                <a:cubicBezTo>
                  <a:pt x="905" y="135"/>
                  <a:pt x="896" y="142"/>
                  <a:pt x="887" y="151"/>
                </a:cubicBezTo>
                <a:cubicBezTo>
                  <a:pt x="879" y="159"/>
                  <a:pt x="869" y="171"/>
                  <a:pt x="861" y="183"/>
                </a:cubicBezTo>
                <a:cubicBezTo>
                  <a:pt x="854" y="167"/>
                  <a:pt x="843" y="151"/>
                  <a:pt x="835" y="135"/>
                </a:cubicBezTo>
                <a:cubicBezTo>
                  <a:pt x="830" y="124"/>
                  <a:pt x="826" y="114"/>
                  <a:pt x="823" y="103"/>
                </a:cubicBezTo>
                <a:cubicBezTo>
                  <a:pt x="822" y="103"/>
                  <a:pt x="822" y="103"/>
                  <a:pt x="822" y="103"/>
                </a:cubicBezTo>
                <a:cubicBezTo>
                  <a:pt x="817" y="111"/>
                  <a:pt x="811" y="118"/>
                  <a:pt x="804" y="125"/>
                </a:cubicBezTo>
                <a:cubicBezTo>
                  <a:pt x="801" y="129"/>
                  <a:pt x="796" y="130"/>
                  <a:pt x="792" y="129"/>
                </a:cubicBezTo>
                <a:cubicBezTo>
                  <a:pt x="795" y="140"/>
                  <a:pt x="799" y="151"/>
                  <a:pt x="804" y="161"/>
                </a:cubicBezTo>
                <a:cubicBezTo>
                  <a:pt x="810" y="176"/>
                  <a:pt x="819" y="190"/>
                  <a:pt x="823" y="206"/>
                </a:cubicBezTo>
                <a:cubicBezTo>
                  <a:pt x="828" y="223"/>
                  <a:pt x="824" y="236"/>
                  <a:pt x="815" y="251"/>
                </a:cubicBezTo>
                <a:cubicBezTo>
                  <a:pt x="799" y="277"/>
                  <a:pt x="791" y="301"/>
                  <a:pt x="798" y="331"/>
                </a:cubicBezTo>
                <a:cubicBezTo>
                  <a:pt x="801" y="345"/>
                  <a:pt x="806" y="359"/>
                  <a:pt x="809" y="373"/>
                </a:cubicBezTo>
                <a:cubicBezTo>
                  <a:pt x="812" y="391"/>
                  <a:pt x="810" y="408"/>
                  <a:pt x="805" y="425"/>
                </a:cubicBezTo>
                <a:cubicBezTo>
                  <a:pt x="795" y="460"/>
                  <a:pt x="781" y="493"/>
                  <a:pt x="769" y="527"/>
                </a:cubicBezTo>
                <a:cubicBezTo>
                  <a:pt x="759" y="554"/>
                  <a:pt x="750" y="583"/>
                  <a:pt x="732" y="606"/>
                </a:cubicBezTo>
                <a:cubicBezTo>
                  <a:pt x="718" y="624"/>
                  <a:pt x="705" y="638"/>
                  <a:pt x="694" y="655"/>
                </a:cubicBezTo>
                <a:cubicBezTo>
                  <a:pt x="673" y="656"/>
                  <a:pt x="653" y="663"/>
                  <a:pt x="637" y="679"/>
                </a:cubicBezTo>
                <a:cubicBezTo>
                  <a:pt x="633" y="670"/>
                  <a:pt x="628" y="661"/>
                  <a:pt x="624" y="653"/>
                </a:cubicBezTo>
                <a:cubicBezTo>
                  <a:pt x="628" y="626"/>
                  <a:pt x="624" y="598"/>
                  <a:pt x="630" y="571"/>
                </a:cubicBezTo>
                <a:cubicBezTo>
                  <a:pt x="637" y="544"/>
                  <a:pt x="652" y="522"/>
                  <a:pt x="646" y="493"/>
                </a:cubicBezTo>
                <a:cubicBezTo>
                  <a:pt x="644" y="481"/>
                  <a:pt x="638" y="471"/>
                  <a:pt x="634" y="461"/>
                </a:cubicBezTo>
                <a:cubicBezTo>
                  <a:pt x="633" y="444"/>
                  <a:pt x="633" y="427"/>
                  <a:pt x="637" y="411"/>
                </a:cubicBezTo>
                <a:cubicBezTo>
                  <a:pt x="641" y="393"/>
                  <a:pt x="651" y="383"/>
                  <a:pt x="662" y="370"/>
                </a:cubicBezTo>
                <a:cubicBezTo>
                  <a:pt x="674" y="355"/>
                  <a:pt x="682" y="338"/>
                  <a:pt x="690" y="320"/>
                </a:cubicBezTo>
                <a:cubicBezTo>
                  <a:pt x="707" y="283"/>
                  <a:pt x="731" y="246"/>
                  <a:pt x="755" y="213"/>
                </a:cubicBezTo>
                <a:cubicBezTo>
                  <a:pt x="762" y="202"/>
                  <a:pt x="746" y="191"/>
                  <a:pt x="738" y="199"/>
                </a:cubicBezTo>
                <a:cubicBezTo>
                  <a:pt x="710" y="229"/>
                  <a:pt x="682" y="256"/>
                  <a:pt x="662" y="292"/>
                </a:cubicBezTo>
                <a:cubicBezTo>
                  <a:pt x="652" y="310"/>
                  <a:pt x="645" y="329"/>
                  <a:pt x="631" y="344"/>
                </a:cubicBezTo>
                <a:cubicBezTo>
                  <a:pt x="629" y="346"/>
                  <a:pt x="626" y="349"/>
                  <a:pt x="624" y="351"/>
                </a:cubicBezTo>
                <a:cubicBezTo>
                  <a:pt x="622" y="348"/>
                  <a:pt x="620" y="345"/>
                  <a:pt x="618" y="342"/>
                </a:cubicBezTo>
                <a:cubicBezTo>
                  <a:pt x="602" y="322"/>
                  <a:pt x="577" y="309"/>
                  <a:pt x="567" y="286"/>
                </a:cubicBezTo>
                <a:cubicBezTo>
                  <a:pt x="559" y="266"/>
                  <a:pt x="570" y="259"/>
                  <a:pt x="578" y="244"/>
                </a:cubicBezTo>
                <a:cubicBezTo>
                  <a:pt x="584" y="234"/>
                  <a:pt x="585" y="223"/>
                  <a:pt x="583" y="212"/>
                </a:cubicBezTo>
                <a:cubicBezTo>
                  <a:pt x="580" y="200"/>
                  <a:pt x="573" y="189"/>
                  <a:pt x="567" y="179"/>
                </a:cubicBezTo>
                <a:cubicBezTo>
                  <a:pt x="559" y="162"/>
                  <a:pt x="558" y="146"/>
                  <a:pt x="559" y="128"/>
                </a:cubicBezTo>
                <a:cubicBezTo>
                  <a:pt x="563" y="96"/>
                  <a:pt x="567" y="64"/>
                  <a:pt x="570" y="32"/>
                </a:cubicBezTo>
                <a:cubicBezTo>
                  <a:pt x="571" y="25"/>
                  <a:pt x="561" y="24"/>
                  <a:pt x="559" y="30"/>
                </a:cubicBezTo>
                <a:cubicBezTo>
                  <a:pt x="551" y="62"/>
                  <a:pt x="543" y="93"/>
                  <a:pt x="538" y="126"/>
                </a:cubicBezTo>
                <a:cubicBezTo>
                  <a:pt x="536" y="139"/>
                  <a:pt x="535" y="153"/>
                  <a:pt x="537" y="167"/>
                </a:cubicBezTo>
                <a:cubicBezTo>
                  <a:pt x="540" y="182"/>
                  <a:pt x="547" y="193"/>
                  <a:pt x="551" y="207"/>
                </a:cubicBezTo>
                <a:cubicBezTo>
                  <a:pt x="555" y="218"/>
                  <a:pt x="556" y="223"/>
                  <a:pt x="550" y="233"/>
                </a:cubicBezTo>
                <a:cubicBezTo>
                  <a:pt x="547" y="238"/>
                  <a:pt x="542" y="242"/>
                  <a:pt x="539" y="246"/>
                </a:cubicBezTo>
                <a:cubicBezTo>
                  <a:pt x="533" y="257"/>
                  <a:pt x="532" y="269"/>
                  <a:pt x="533" y="280"/>
                </a:cubicBezTo>
                <a:cubicBezTo>
                  <a:pt x="537" y="305"/>
                  <a:pt x="554" y="324"/>
                  <a:pt x="571" y="341"/>
                </a:cubicBezTo>
                <a:cubicBezTo>
                  <a:pt x="581" y="351"/>
                  <a:pt x="593" y="361"/>
                  <a:pt x="598" y="374"/>
                </a:cubicBezTo>
                <a:cubicBezTo>
                  <a:pt x="599" y="378"/>
                  <a:pt x="599" y="382"/>
                  <a:pt x="600" y="386"/>
                </a:cubicBezTo>
                <a:cubicBezTo>
                  <a:pt x="600" y="386"/>
                  <a:pt x="600" y="386"/>
                  <a:pt x="599" y="386"/>
                </a:cubicBezTo>
                <a:cubicBezTo>
                  <a:pt x="582" y="428"/>
                  <a:pt x="592" y="472"/>
                  <a:pt x="594" y="515"/>
                </a:cubicBezTo>
                <a:cubicBezTo>
                  <a:pt x="590" y="522"/>
                  <a:pt x="586" y="529"/>
                  <a:pt x="582" y="536"/>
                </a:cubicBezTo>
                <a:cubicBezTo>
                  <a:pt x="576" y="548"/>
                  <a:pt x="571" y="562"/>
                  <a:pt x="567" y="575"/>
                </a:cubicBezTo>
                <a:cubicBezTo>
                  <a:pt x="527" y="531"/>
                  <a:pt x="477" y="497"/>
                  <a:pt x="416" y="490"/>
                </a:cubicBezTo>
                <a:cubicBezTo>
                  <a:pt x="388" y="488"/>
                  <a:pt x="364" y="481"/>
                  <a:pt x="349" y="455"/>
                </a:cubicBezTo>
                <a:cubicBezTo>
                  <a:pt x="335" y="432"/>
                  <a:pt x="328" y="406"/>
                  <a:pt x="319" y="381"/>
                </a:cubicBezTo>
                <a:cubicBezTo>
                  <a:pt x="308" y="350"/>
                  <a:pt x="292" y="324"/>
                  <a:pt x="272" y="298"/>
                </a:cubicBezTo>
                <a:cubicBezTo>
                  <a:pt x="265" y="289"/>
                  <a:pt x="258" y="281"/>
                  <a:pt x="251" y="272"/>
                </a:cubicBezTo>
                <a:cubicBezTo>
                  <a:pt x="249" y="277"/>
                  <a:pt x="246" y="282"/>
                  <a:pt x="243" y="287"/>
                </a:cubicBezTo>
                <a:cubicBezTo>
                  <a:pt x="251" y="293"/>
                  <a:pt x="251" y="308"/>
                  <a:pt x="239" y="310"/>
                </a:cubicBezTo>
                <a:cubicBezTo>
                  <a:pt x="236" y="312"/>
                  <a:pt x="234" y="313"/>
                  <a:pt x="231" y="315"/>
                </a:cubicBezTo>
                <a:cubicBezTo>
                  <a:pt x="238" y="326"/>
                  <a:pt x="245" y="337"/>
                  <a:pt x="253" y="347"/>
                </a:cubicBezTo>
                <a:cubicBezTo>
                  <a:pt x="261" y="361"/>
                  <a:pt x="268" y="375"/>
                  <a:pt x="273" y="391"/>
                </a:cubicBezTo>
                <a:cubicBezTo>
                  <a:pt x="281" y="417"/>
                  <a:pt x="286" y="443"/>
                  <a:pt x="297" y="469"/>
                </a:cubicBezTo>
                <a:cubicBezTo>
                  <a:pt x="308" y="495"/>
                  <a:pt x="325" y="519"/>
                  <a:pt x="350" y="534"/>
                </a:cubicBezTo>
                <a:cubicBezTo>
                  <a:pt x="377" y="550"/>
                  <a:pt x="408" y="553"/>
                  <a:pt x="436" y="566"/>
                </a:cubicBezTo>
                <a:cubicBezTo>
                  <a:pt x="488" y="592"/>
                  <a:pt x="533" y="651"/>
                  <a:pt x="556" y="704"/>
                </a:cubicBezTo>
                <a:cubicBezTo>
                  <a:pt x="582" y="765"/>
                  <a:pt x="575" y="824"/>
                  <a:pt x="558" y="886"/>
                </a:cubicBezTo>
                <a:cubicBezTo>
                  <a:pt x="552" y="908"/>
                  <a:pt x="546" y="930"/>
                  <a:pt x="540" y="952"/>
                </a:cubicBezTo>
                <a:cubicBezTo>
                  <a:pt x="524" y="946"/>
                  <a:pt x="508" y="937"/>
                  <a:pt x="492" y="929"/>
                </a:cubicBezTo>
                <a:cubicBezTo>
                  <a:pt x="489" y="927"/>
                  <a:pt x="486" y="925"/>
                  <a:pt x="482" y="924"/>
                </a:cubicBezTo>
                <a:cubicBezTo>
                  <a:pt x="475" y="916"/>
                  <a:pt x="467" y="908"/>
                  <a:pt x="460" y="900"/>
                </a:cubicBezTo>
                <a:cubicBezTo>
                  <a:pt x="449" y="887"/>
                  <a:pt x="452" y="883"/>
                  <a:pt x="451" y="867"/>
                </a:cubicBezTo>
                <a:cubicBezTo>
                  <a:pt x="450" y="849"/>
                  <a:pt x="442" y="834"/>
                  <a:pt x="433" y="819"/>
                </a:cubicBezTo>
                <a:cubicBezTo>
                  <a:pt x="416" y="790"/>
                  <a:pt x="396" y="762"/>
                  <a:pt x="373" y="738"/>
                </a:cubicBezTo>
                <a:cubicBezTo>
                  <a:pt x="367" y="731"/>
                  <a:pt x="360" y="724"/>
                  <a:pt x="353" y="717"/>
                </a:cubicBezTo>
                <a:cubicBezTo>
                  <a:pt x="350" y="712"/>
                  <a:pt x="348" y="707"/>
                  <a:pt x="346" y="702"/>
                </a:cubicBezTo>
                <a:cubicBezTo>
                  <a:pt x="341" y="685"/>
                  <a:pt x="335" y="669"/>
                  <a:pt x="332" y="652"/>
                </a:cubicBezTo>
                <a:cubicBezTo>
                  <a:pt x="325" y="619"/>
                  <a:pt x="327" y="586"/>
                  <a:pt x="316" y="554"/>
                </a:cubicBezTo>
                <a:cubicBezTo>
                  <a:pt x="306" y="525"/>
                  <a:pt x="287" y="505"/>
                  <a:pt x="260" y="490"/>
                </a:cubicBezTo>
                <a:cubicBezTo>
                  <a:pt x="228" y="472"/>
                  <a:pt x="197" y="453"/>
                  <a:pt x="175" y="423"/>
                </a:cubicBezTo>
                <a:cubicBezTo>
                  <a:pt x="169" y="415"/>
                  <a:pt x="156" y="422"/>
                  <a:pt x="161" y="431"/>
                </a:cubicBezTo>
                <a:cubicBezTo>
                  <a:pt x="176" y="459"/>
                  <a:pt x="194" y="484"/>
                  <a:pt x="219" y="504"/>
                </a:cubicBezTo>
                <a:cubicBezTo>
                  <a:pt x="248" y="526"/>
                  <a:pt x="275" y="538"/>
                  <a:pt x="283" y="576"/>
                </a:cubicBezTo>
                <a:cubicBezTo>
                  <a:pt x="290" y="609"/>
                  <a:pt x="288" y="643"/>
                  <a:pt x="291" y="676"/>
                </a:cubicBezTo>
                <a:cubicBezTo>
                  <a:pt x="291" y="676"/>
                  <a:pt x="291" y="677"/>
                  <a:pt x="291" y="677"/>
                </a:cubicBezTo>
                <a:cubicBezTo>
                  <a:pt x="256" y="668"/>
                  <a:pt x="224" y="683"/>
                  <a:pt x="193" y="698"/>
                </a:cubicBezTo>
                <a:cubicBezTo>
                  <a:pt x="179" y="705"/>
                  <a:pt x="163" y="715"/>
                  <a:pt x="147" y="716"/>
                </a:cubicBezTo>
                <a:cubicBezTo>
                  <a:pt x="139" y="717"/>
                  <a:pt x="133" y="715"/>
                  <a:pt x="126" y="712"/>
                </a:cubicBezTo>
                <a:cubicBezTo>
                  <a:pt x="117" y="726"/>
                  <a:pt x="108" y="739"/>
                  <a:pt x="99" y="753"/>
                </a:cubicBezTo>
                <a:cubicBezTo>
                  <a:pt x="106" y="757"/>
                  <a:pt x="114" y="762"/>
                  <a:pt x="122" y="764"/>
                </a:cubicBezTo>
                <a:cubicBezTo>
                  <a:pt x="136" y="768"/>
                  <a:pt x="152" y="769"/>
                  <a:pt x="167" y="768"/>
                </a:cubicBezTo>
                <a:cubicBezTo>
                  <a:pt x="198" y="764"/>
                  <a:pt x="226" y="745"/>
                  <a:pt x="257" y="743"/>
                </a:cubicBezTo>
                <a:cubicBezTo>
                  <a:pt x="283" y="741"/>
                  <a:pt x="310" y="778"/>
                  <a:pt x="325" y="796"/>
                </a:cubicBezTo>
                <a:cubicBezTo>
                  <a:pt x="342" y="816"/>
                  <a:pt x="365" y="844"/>
                  <a:pt x="373" y="870"/>
                </a:cubicBezTo>
                <a:cubicBezTo>
                  <a:pt x="373" y="871"/>
                  <a:pt x="373" y="872"/>
                  <a:pt x="373" y="873"/>
                </a:cubicBezTo>
                <a:cubicBezTo>
                  <a:pt x="373" y="877"/>
                  <a:pt x="372" y="881"/>
                  <a:pt x="372" y="884"/>
                </a:cubicBezTo>
                <a:cubicBezTo>
                  <a:pt x="371" y="894"/>
                  <a:pt x="373" y="904"/>
                  <a:pt x="376" y="913"/>
                </a:cubicBezTo>
                <a:cubicBezTo>
                  <a:pt x="382" y="929"/>
                  <a:pt x="393" y="943"/>
                  <a:pt x="404" y="956"/>
                </a:cubicBezTo>
                <a:cubicBezTo>
                  <a:pt x="428" y="984"/>
                  <a:pt x="454" y="1009"/>
                  <a:pt x="480" y="1034"/>
                </a:cubicBezTo>
                <a:cubicBezTo>
                  <a:pt x="493" y="1047"/>
                  <a:pt x="507" y="1060"/>
                  <a:pt x="520" y="1073"/>
                </a:cubicBezTo>
                <a:cubicBezTo>
                  <a:pt x="522" y="1075"/>
                  <a:pt x="524" y="1077"/>
                  <a:pt x="527" y="1079"/>
                </a:cubicBezTo>
                <a:cubicBezTo>
                  <a:pt x="527" y="1087"/>
                  <a:pt x="527" y="1096"/>
                  <a:pt x="528" y="1104"/>
                </a:cubicBezTo>
                <a:cubicBezTo>
                  <a:pt x="530" y="1142"/>
                  <a:pt x="534" y="1181"/>
                  <a:pt x="533" y="1219"/>
                </a:cubicBezTo>
                <a:cubicBezTo>
                  <a:pt x="532" y="1250"/>
                  <a:pt x="525" y="1280"/>
                  <a:pt x="520" y="1310"/>
                </a:cubicBezTo>
                <a:cubicBezTo>
                  <a:pt x="495" y="1291"/>
                  <a:pt x="468" y="1281"/>
                  <a:pt x="435" y="1287"/>
                </a:cubicBezTo>
                <a:cubicBezTo>
                  <a:pt x="420" y="1290"/>
                  <a:pt x="407" y="1297"/>
                  <a:pt x="393" y="1303"/>
                </a:cubicBezTo>
                <a:cubicBezTo>
                  <a:pt x="385" y="1306"/>
                  <a:pt x="383" y="1308"/>
                  <a:pt x="378" y="1305"/>
                </a:cubicBezTo>
                <a:cubicBezTo>
                  <a:pt x="368" y="1301"/>
                  <a:pt x="359" y="1289"/>
                  <a:pt x="350" y="1283"/>
                </a:cubicBezTo>
                <a:cubicBezTo>
                  <a:pt x="337" y="1274"/>
                  <a:pt x="322" y="1269"/>
                  <a:pt x="308" y="1265"/>
                </a:cubicBezTo>
                <a:cubicBezTo>
                  <a:pt x="296" y="1262"/>
                  <a:pt x="285" y="1260"/>
                  <a:pt x="276" y="1252"/>
                </a:cubicBezTo>
                <a:cubicBezTo>
                  <a:pt x="267" y="1243"/>
                  <a:pt x="260" y="1231"/>
                  <a:pt x="252" y="1221"/>
                </a:cubicBezTo>
                <a:cubicBezTo>
                  <a:pt x="233" y="1196"/>
                  <a:pt x="208" y="1176"/>
                  <a:pt x="185" y="1155"/>
                </a:cubicBezTo>
                <a:cubicBezTo>
                  <a:pt x="160" y="1134"/>
                  <a:pt x="143" y="1110"/>
                  <a:pt x="132" y="1079"/>
                </a:cubicBezTo>
                <a:cubicBezTo>
                  <a:pt x="122" y="1050"/>
                  <a:pt x="114" y="1020"/>
                  <a:pt x="107" y="990"/>
                </a:cubicBezTo>
                <a:cubicBezTo>
                  <a:pt x="98" y="953"/>
                  <a:pt x="95" y="914"/>
                  <a:pt x="85" y="878"/>
                </a:cubicBezTo>
                <a:cubicBezTo>
                  <a:pt x="76" y="849"/>
                  <a:pt x="58" y="824"/>
                  <a:pt x="28" y="817"/>
                </a:cubicBezTo>
                <a:cubicBezTo>
                  <a:pt x="8" y="812"/>
                  <a:pt x="0" y="842"/>
                  <a:pt x="19" y="848"/>
                </a:cubicBezTo>
                <a:cubicBezTo>
                  <a:pt x="50" y="858"/>
                  <a:pt x="49" y="902"/>
                  <a:pt x="53" y="928"/>
                </a:cubicBezTo>
                <a:cubicBezTo>
                  <a:pt x="58" y="961"/>
                  <a:pt x="66" y="992"/>
                  <a:pt x="73" y="1024"/>
                </a:cubicBezTo>
                <a:cubicBezTo>
                  <a:pt x="87" y="1080"/>
                  <a:pt x="103" y="1140"/>
                  <a:pt x="139" y="1186"/>
                </a:cubicBezTo>
                <a:cubicBezTo>
                  <a:pt x="157" y="1209"/>
                  <a:pt x="180" y="1227"/>
                  <a:pt x="197" y="1250"/>
                </a:cubicBezTo>
                <a:cubicBezTo>
                  <a:pt x="202" y="1257"/>
                  <a:pt x="207" y="1265"/>
                  <a:pt x="211" y="1272"/>
                </a:cubicBezTo>
                <a:cubicBezTo>
                  <a:pt x="195" y="1276"/>
                  <a:pt x="178" y="1277"/>
                  <a:pt x="161" y="1270"/>
                </a:cubicBezTo>
                <a:cubicBezTo>
                  <a:pt x="162" y="1273"/>
                  <a:pt x="163" y="1276"/>
                  <a:pt x="164" y="1280"/>
                </a:cubicBezTo>
                <a:cubicBezTo>
                  <a:pt x="169" y="1293"/>
                  <a:pt x="172" y="1308"/>
                  <a:pt x="174" y="1323"/>
                </a:cubicBezTo>
                <a:cubicBezTo>
                  <a:pt x="198" y="1328"/>
                  <a:pt x="222" y="1326"/>
                  <a:pt x="243" y="1314"/>
                </a:cubicBezTo>
                <a:cubicBezTo>
                  <a:pt x="244" y="1315"/>
                  <a:pt x="246" y="1316"/>
                  <a:pt x="247" y="1317"/>
                </a:cubicBezTo>
                <a:cubicBezTo>
                  <a:pt x="267" y="1334"/>
                  <a:pt x="294" y="1335"/>
                  <a:pt x="312" y="1355"/>
                </a:cubicBezTo>
                <a:cubicBezTo>
                  <a:pt x="333" y="1377"/>
                  <a:pt x="352" y="1396"/>
                  <a:pt x="385" y="1395"/>
                </a:cubicBezTo>
                <a:cubicBezTo>
                  <a:pt x="402" y="1395"/>
                  <a:pt x="418" y="1390"/>
                  <a:pt x="434" y="1385"/>
                </a:cubicBezTo>
                <a:cubicBezTo>
                  <a:pt x="439" y="1384"/>
                  <a:pt x="446" y="1381"/>
                  <a:pt x="450" y="1380"/>
                </a:cubicBezTo>
                <a:cubicBezTo>
                  <a:pt x="451" y="1381"/>
                  <a:pt x="452" y="1381"/>
                  <a:pt x="453" y="1382"/>
                </a:cubicBezTo>
                <a:cubicBezTo>
                  <a:pt x="476" y="1399"/>
                  <a:pt x="497" y="1433"/>
                  <a:pt x="525" y="1448"/>
                </a:cubicBezTo>
                <a:cubicBezTo>
                  <a:pt x="535" y="1484"/>
                  <a:pt x="552" y="1516"/>
                  <a:pt x="565" y="1551"/>
                </a:cubicBezTo>
                <a:cubicBezTo>
                  <a:pt x="589" y="1614"/>
                  <a:pt x="590" y="1681"/>
                  <a:pt x="543" y="1734"/>
                </a:cubicBezTo>
                <a:cubicBezTo>
                  <a:pt x="531" y="1746"/>
                  <a:pt x="527" y="1764"/>
                  <a:pt x="532" y="1779"/>
                </a:cubicBezTo>
                <a:cubicBezTo>
                  <a:pt x="885" y="1779"/>
                  <a:pt x="885" y="1779"/>
                  <a:pt x="885" y="1779"/>
                </a:cubicBezTo>
                <a:cubicBezTo>
                  <a:pt x="892" y="1756"/>
                  <a:pt x="890" y="1729"/>
                  <a:pt x="891" y="1708"/>
                </a:cubicBezTo>
                <a:cubicBezTo>
                  <a:pt x="893" y="1669"/>
                  <a:pt x="893" y="1631"/>
                  <a:pt x="889" y="1592"/>
                </a:cubicBezTo>
                <a:cubicBezTo>
                  <a:pt x="885" y="1553"/>
                  <a:pt x="877" y="1514"/>
                  <a:pt x="862" y="1478"/>
                </a:cubicBezTo>
                <a:cubicBezTo>
                  <a:pt x="847" y="1440"/>
                  <a:pt x="822" y="1409"/>
                  <a:pt x="805" y="1372"/>
                </a:cubicBezTo>
                <a:cubicBezTo>
                  <a:pt x="789" y="1336"/>
                  <a:pt x="781" y="1292"/>
                  <a:pt x="775" y="1253"/>
                </a:cubicBezTo>
                <a:cubicBezTo>
                  <a:pt x="769" y="1215"/>
                  <a:pt x="770" y="1178"/>
                  <a:pt x="784" y="1142"/>
                </a:cubicBezTo>
                <a:cubicBezTo>
                  <a:pt x="797" y="1106"/>
                  <a:pt x="821" y="1075"/>
                  <a:pt x="846" y="1045"/>
                </a:cubicBezTo>
                <a:cubicBezTo>
                  <a:pt x="869" y="1018"/>
                  <a:pt x="893" y="993"/>
                  <a:pt x="920" y="972"/>
                </a:cubicBezTo>
                <a:cubicBezTo>
                  <a:pt x="941" y="970"/>
                  <a:pt x="962" y="974"/>
                  <a:pt x="983" y="976"/>
                </a:cubicBezTo>
                <a:cubicBezTo>
                  <a:pt x="1020" y="981"/>
                  <a:pt x="1054" y="976"/>
                  <a:pt x="1089" y="962"/>
                </a:cubicBezTo>
                <a:cubicBezTo>
                  <a:pt x="1107" y="955"/>
                  <a:pt x="1124" y="948"/>
                  <a:pt x="1144" y="947"/>
                </a:cubicBezTo>
                <a:cubicBezTo>
                  <a:pt x="1162" y="945"/>
                  <a:pt x="1181" y="947"/>
                  <a:pt x="1199" y="948"/>
                </a:cubicBezTo>
                <a:cubicBezTo>
                  <a:pt x="1229" y="950"/>
                  <a:pt x="1259" y="952"/>
                  <a:pt x="1289" y="953"/>
                </a:cubicBezTo>
                <a:cubicBezTo>
                  <a:pt x="1289" y="951"/>
                  <a:pt x="1290" y="949"/>
                  <a:pt x="1292" y="947"/>
                </a:cubicBezTo>
                <a:cubicBezTo>
                  <a:pt x="1306" y="929"/>
                  <a:pt x="1322" y="909"/>
                  <a:pt x="1339" y="892"/>
                </a:cubicBezTo>
                <a:cubicBezTo>
                  <a:pt x="1308" y="887"/>
                  <a:pt x="1276" y="882"/>
                  <a:pt x="1244" y="878"/>
                </a:cubicBezTo>
                <a:close/>
              </a:path>
            </a:pathLst>
          </a:custGeom>
          <a:solidFill>
            <a:schemeClr val="accent3">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7" name="Freeform 6">
            <a:extLst>
              <a:ext uri="{FF2B5EF4-FFF2-40B4-BE49-F238E27FC236}">
                <a16:creationId xmlns:a16="http://schemas.microsoft.com/office/drawing/2014/main" id="{79B3D2FD-EA0A-4C03-94FC-2447AFB7F381}"/>
              </a:ext>
            </a:extLst>
          </p:cNvPr>
          <p:cNvSpPr>
            <a:spLocks/>
          </p:cNvSpPr>
          <p:nvPr/>
        </p:nvSpPr>
        <p:spPr bwMode="auto">
          <a:xfrm>
            <a:off x="5368324" y="2006003"/>
            <a:ext cx="563405" cy="292767"/>
          </a:xfrm>
          <a:custGeom>
            <a:avLst/>
            <a:gdLst>
              <a:gd name="T0" fmla="*/ 247 w 247"/>
              <a:gd name="T1" fmla="*/ 78 h 129"/>
              <a:gd name="T2" fmla="*/ 246 w 247"/>
              <a:gd name="T3" fmla="*/ 76 h 129"/>
              <a:gd name="T4" fmla="*/ 198 w 247"/>
              <a:gd name="T5" fmla="*/ 35 h 129"/>
              <a:gd name="T6" fmla="*/ 150 w 247"/>
              <a:gd name="T7" fmla="*/ 7 h 129"/>
              <a:gd name="T8" fmla="*/ 94 w 247"/>
              <a:gd name="T9" fmla="*/ 4 h 129"/>
              <a:gd name="T10" fmla="*/ 51 w 247"/>
              <a:gd name="T11" fmla="*/ 24 h 129"/>
              <a:gd name="T12" fmla="*/ 31 w 247"/>
              <a:gd name="T13" fmla="*/ 70 h 129"/>
              <a:gd name="T14" fmla="*/ 1 w 247"/>
              <a:gd name="T15" fmla="*/ 88 h 129"/>
              <a:gd name="T16" fmla="*/ 1 w 247"/>
              <a:gd name="T17" fmla="*/ 89 h 129"/>
              <a:gd name="T18" fmla="*/ 8 w 247"/>
              <a:gd name="T19" fmla="*/ 98 h 129"/>
              <a:gd name="T20" fmla="*/ 10 w 247"/>
              <a:gd name="T21" fmla="*/ 98 h 129"/>
              <a:gd name="T22" fmla="*/ 134 w 247"/>
              <a:gd name="T23" fmla="*/ 53 h 129"/>
              <a:gd name="T24" fmla="*/ 142 w 247"/>
              <a:gd name="T25" fmla="*/ 53 h 129"/>
              <a:gd name="T26" fmla="*/ 65 w 247"/>
              <a:gd name="T27" fmla="*/ 74 h 129"/>
              <a:gd name="T28" fmla="*/ 38 w 247"/>
              <a:gd name="T29" fmla="*/ 91 h 129"/>
              <a:gd name="T30" fmla="*/ 38 w 247"/>
              <a:gd name="T31" fmla="*/ 92 h 129"/>
              <a:gd name="T32" fmla="*/ 38 w 247"/>
              <a:gd name="T33" fmla="*/ 93 h 129"/>
              <a:gd name="T34" fmla="*/ 69 w 247"/>
              <a:gd name="T35" fmla="*/ 121 h 129"/>
              <a:gd name="T36" fmla="*/ 111 w 247"/>
              <a:gd name="T37" fmla="*/ 128 h 129"/>
              <a:gd name="T38" fmla="*/ 155 w 247"/>
              <a:gd name="T39" fmla="*/ 120 h 129"/>
              <a:gd name="T40" fmla="*/ 175 w 247"/>
              <a:gd name="T41" fmla="*/ 111 h 129"/>
              <a:gd name="T42" fmla="*/ 195 w 247"/>
              <a:gd name="T43" fmla="*/ 99 h 129"/>
              <a:gd name="T44" fmla="*/ 219 w 247"/>
              <a:gd name="T45" fmla="*/ 85 h 129"/>
              <a:gd name="T46" fmla="*/ 246 w 247"/>
              <a:gd name="T47" fmla="*/ 79 h 129"/>
              <a:gd name="T48" fmla="*/ 247 w 247"/>
              <a:gd name="T49" fmla="*/ 78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47" h="129">
                <a:moveTo>
                  <a:pt x="247" y="78"/>
                </a:moveTo>
                <a:cubicBezTo>
                  <a:pt x="247" y="77"/>
                  <a:pt x="246" y="77"/>
                  <a:pt x="246" y="76"/>
                </a:cubicBezTo>
                <a:cubicBezTo>
                  <a:pt x="231" y="62"/>
                  <a:pt x="215" y="48"/>
                  <a:pt x="198" y="35"/>
                </a:cubicBezTo>
                <a:cubicBezTo>
                  <a:pt x="183" y="24"/>
                  <a:pt x="168" y="13"/>
                  <a:pt x="150" y="7"/>
                </a:cubicBezTo>
                <a:cubicBezTo>
                  <a:pt x="132" y="0"/>
                  <a:pt x="113" y="1"/>
                  <a:pt x="94" y="4"/>
                </a:cubicBezTo>
                <a:cubicBezTo>
                  <a:pt x="78" y="6"/>
                  <a:pt x="63" y="12"/>
                  <a:pt x="51" y="24"/>
                </a:cubicBezTo>
                <a:cubicBezTo>
                  <a:pt x="39" y="36"/>
                  <a:pt x="32" y="53"/>
                  <a:pt x="31" y="70"/>
                </a:cubicBezTo>
                <a:cubicBezTo>
                  <a:pt x="20" y="74"/>
                  <a:pt x="10" y="80"/>
                  <a:pt x="1" y="88"/>
                </a:cubicBezTo>
                <a:cubicBezTo>
                  <a:pt x="0" y="88"/>
                  <a:pt x="0" y="89"/>
                  <a:pt x="1" y="89"/>
                </a:cubicBezTo>
                <a:cubicBezTo>
                  <a:pt x="3" y="92"/>
                  <a:pt x="5" y="95"/>
                  <a:pt x="8" y="98"/>
                </a:cubicBezTo>
                <a:cubicBezTo>
                  <a:pt x="9" y="98"/>
                  <a:pt x="10" y="98"/>
                  <a:pt x="10" y="98"/>
                </a:cubicBezTo>
                <a:cubicBezTo>
                  <a:pt x="45" y="69"/>
                  <a:pt x="89" y="53"/>
                  <a:pt x="134" y="53"/>
                </a:cubicBezTo>
                <a:cubicBezTo>
                  <a:pt x="137" y="53"/>
                  <a:pt x="139" y="53"/>
                  <a:pt x="142" y="53"/>
                </a:cubicBezTo>
                <a:cubicBezTo>
                  <a:pt x="115" y="54"/>
                  <a:pt x="89" y="62"/>
                  <a:pt x="65" y="74"/>
                </a:cubicBezTo>
                <a:cubicBezTo>
                  <a:pt x="56" y="79"/>
                  <a:pt x="47" y="84"/>
                  <a:pt x="38" y="91"/>
                </a:cubicBezTo>
                <a:cubicBezTo>
                  <a:pt x="38" y="91"/>
                  <a:pt x="38" y="91"/>
                  <a:pt x="38" y="92"/>
                </a:cubicBezTo>
                <a:cubicBezTo>
                  <a:pt x="38" y="92"/>
                  <a:pt x="38" y="93"/>
                  <a:pt x="38" y="93"/>
                </a:cubicBezTo>
                <a:cubicBezTo>
                  <a:pt x="46" y="105"/>
                  <a:pt x="56" y="115"/>
                  <a:pt x="69" y="121"/>
                </a:cubicBezTo>
                <a:cubicBezTo>
                  <a:pt x="82" y="128"/>
                  <a:pt x="96" y="129"/>
                  <a:pt x="111" y="128"/>
                </a:cubicBezTo>
                <a:cubicBezTo>
                  <a:pt x="126" y="127"/>
                  <a:pt x="141" y="125"/>
                  <a:pt x="155" y="120"/>
                </a:cubicBezTo>
                <a:cubicBezTo>
                  <a:pt x="162" y="118"/>
                  <a:pt x="169" y="115"/>
                  <a:pt x="175" y="111"/>
                </a:cubicBezTo>
                <a:cubicBezTo>
                  <a:pt x="182" y="108"/>
                  <a:pt x="188" y="103"/>
                  <a:pt x="195" y="99"/>
                </a:cubicBezTo>
                <a:cubicBezTo>
                  <a:pt x="203" y="93"/>
                  <a:pt x="210" y="89"/>
                  <a:pt x="219" y="85"/>
                </a:cubicBezTo>
                <a:cubicBezTo>
                  <a:pt x="228" y="83"/>
                  <a:pt x="237" y="81"/>
                  <a:pt x="246" y="79"/>
                </a:cubicBezTo>
                <a:cubicBezTo>
                  <a:pt x="247" y="79"/>
                  <a:pt x="247" y="78"/>
                  <a:pt x="247" y="78"/>
                </a:cubicBezTo>
                <a:close/>
              </a:path>
            </a:pathLst>
          </a:custGeom>
          <a:solidFill>
            <a:schemeClr val="accent6">
              <a:lumMod val="60000"/>
              <a:lumOff val="40000"/>
            </a:schemeClr>
          </a:solidFill>
          <a:ln w="1270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8" name="Freeform 7">
            <a:extLst>
              <a:ext uri="{FF2B5EF4-FFF2-40B4-BE49-F238E27FC236}">
                <a16:creationId xmlns:a16="http://schemas.microsoft.com/office/drawing/2014/main" id="{2B4EFC86-5C44-4DEF-BF9B-A84F964303C4}"/>
              </a:ext>
            </a:extLst>
          </p:cNvPr>
          <p:cNvSpPr>
            <a:spLocks/>
          </p:cNvSpPr>
          <p:nvPr/>
        </p:nvSpPr>
        <p:spPr bwMode="auto">
          <a:xfrm>
            <a:off x="6415134" y="2314088"/>
            <a:ext cx="560001" cy="294469"/>
          </a:xfrm>
          <a:custGeom>
            <a:avLst/>
            <a:gdLst>
              <a:gd name="T0" fmla="*/ 246 w 246"/>
              <a:gd name="T1" fmla="*/ 77 h 129"/>
              <a:gd name="T2" fmla="*/ 245 w 246"/>
              <a:gd name="T3" fmla="*/ 76 h 129"/>
              <a:gd name="T4" fmla="*/ 197 w 246"/>
              <a:gd name="T5" fmla="*/ 35 h 129"/>
              <a:gd name="T6" fmla="*/ 149 w 246"/>
              <a:gd name="T7" fmla="*/ 7 h 129"/>
              <a:gd name="T8" fmla="*/ 93 w 246"/>
              <a:gd name="T9" fmla="*/ 3 h 129"/>
              <a:gd name="T10" fmla="*/ 50 w 246"/>
              <a:gd name="T11" fmla="*/ 24 h 129"/>
              <a:gd name="T12" fmla="*/ 30 w 246"/>
              <a:gd name="T13" fmla="*/ 70 h 129"/>
              <a:gd name="T14" fmla="*/ 0 w 246"/>
              <a:gd name="T15" fmla="*/ 87 h 129"/>
              <a:gd name="T16" fmla="*/ 0 w 246"/>
              <a:gd name="T17" fmla="*/ 89 h 129"/>
              <a:gd name="T18" fmla="*/ 8 w 246"/>
              <a:gd name="T19" fmla="*/ 97 h 129"/>
              <a:gd name="T20" fmla="*/ 9 w 246"/>
              <a:gd name="T21" fmla="*/ 97 h 129"/>
              <a:gd name="T22" fmla="*/ 133 w 246"/>
              <a:gd name="T23" fmla="*/ 53 h 129"/>
              <a:gd name="T24" fmla="*/ 141 w 246"/>
              <a:gd name="T25" fmla="*/ 53 h 129"/>
              <a:gd name="T26" fmla="*/ 64 w 246"/>
              <a:gd name="T27" fmla="*/ 74 h 129"/>
              <a:gd name="T28" fmla="*/ 38 w 246"/>
              <a:gd name="T29" fmla="*/ 90 h 129"/>
              <a:gd name="T30" fmla="*/ 37 w 246"/>
              <a:gd name="T31" fmla="*/ 92 h 129"/>
              <a:gd name="T32" fmla="*/ 37 w 246"/>
              <a:gd name="T33" fmla="*/ 93 h 129"/>
              <a:gd name="T34" fmla="*/ 68 w 246"/>
              <a:gd name="T35" fmla="*/ 121 h 129"/>
              <a:gd name="T36" fmla="*/ 110 w 246"/>
              <a:gd name="T37" fmla="*/ 128 h 129"/>
              <a:gd name="T38" fmla="*/ 154 w 246"/>
              <a:gd name="T39" fmla="*/ 120 h 129"/>
              <a:gd name="T40" fmla="*/ 175 w 246"/>
              <a:gd name="T41" fmla="*/ 111 h 129"/>
              <a:gd name="T42" fmla="*/ 194 w 246"/>
              <a:gd name="T43" fmla="*/ 99 h 129"/>
              <a:gd name="T44" fmla="*/ 219 w 246"/>
              <a:gd name="T45" fmla="*/ 85 h 129"/>
              <a:gd name="T46" fmla="*/ 245 w 246"/>
              <a:gd name="T47" fmla="*/ 79 h 129"/>
              <a:gd name="T48" fmla="*/ 246 w 246"/>
              <a:gd name="T49" fmla="*/ 77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46" h="129">
                <a:moveTo>
                  <a:pt x="246" y="77"/>
                </a:moveTo>
                <a:cubicBezTo>
                  <a:pt x="246" y="77"/>
                  <a:pt x="246" y="77"/>
                  <a:pt x="245" y="76"/>
                </a:cubicBezTo>
                <a:cubicBezTo>
                  <a:pt x="230" y="61"/>
                  <a:pt x="214" y="47"/>
                  <a:pt x="197" y="35"/>
                </a:cubicBezTo>
                <a:cubicBezTo>
                  <a:pt x="182" y="24"/>
                  <a:pt x="167" y="13"/>
                  <a:pt x="149" y="7"/>
                </a:cubicBezTo>
                <a:cubicBezTo>
                  <a:pt x="131" y="0"/>
                  <a:pt x="112" y="1"/>
                  <a:pt x="93" y="3"/>
                </a:cubicBezTo>
                <a:cubicBezTo>
                  <a:pt x="77" y="6"/>
                  <a:pt x="62" y="12"/>
                  <a:pt x="50" y="24"/>
                </a:cubicBezTo>
                <a:cubicBezTo>
                  <a:pt x="38" y="36"/>
                  <a:pt x="31" y="53"/>
                  <a:pt x="30" y="70"/>
                </a:cubicBezTo>
                <a:cubicBezTo>
                  <a:pt x="19" y="74"/>
                  <a:pt x="9" y="80"/>
                  <a:pt x="0" y="87"/>
                </a:cubicBezTo>
                <a:cubicBezTo>
                  <a:pt x="0" y="88"/>
                  <a:pt x="0" y="89"/>
                  <a:pt x="0" y="89"/>
                </a:cubicBezTo>
                <a:cubicBezTo>
                  <a:pt x="2" y="92"/>
                  <a:pt x="5" y="95"/>
                  <a:pt x="8" y="97"/>
                </a:cubicBezTo>
                <a:cubicBezTo>
                  <a:pt x="8" y="98"/>
                  <a:pt x="9" y="98"/>
                  <a:pt x="9" y="97"/>
                </a:cubicBezTo>
                <a:cubicBezTo>
                  <a:pt x="44" y="69"/>
                  <a:pt x="88" y="53"/>
                  <a:pt x="133" y="53"/>
                </a:cubicBezTo>
                <a:cubicBezTo>
                  <a:pt x="136" y="53"/>
                  <a:pt x="139" y="53"/>
                  <a:pt x="141" y="53"/>
                </a:cubicBezTo>
                <a:cubicBezTo>
                  <a:pt x="115" y="54"/>
                  <a:pt x="88" y="62"/>
                  <a:pt x="64" y="74"/>
                </a:cubicBezTo>
                <a:cubicBezTo>
                  <a:pt x="55" y="79"/>
                  <a:pt x="46" y="84"/>
                  <a:pt x="38" y="90"/>
                </a:cubicBezTo>
                <a:cubicBezTo>
                  <a:pt x="37" y="91"/>
                  <a:pt x="37" y="91"/>
                  <a:pt x="37" y="92"/>
                </a:cubicBezTo>
                <a:cubicBezTo>
                  <a:pt x="37" y="92"/>
                  <a:pt x="37" y="92"/>
                  <a:pt x="37" y="93"/>
                </a:cubicBezTo>
                <a:cubicBezTo>
                  <a:pt x="45" y="105"/>
                  <a:pt x="56" y="115"/>
                  <a:pt x="68" y="121"/>
                </a:cubicBezTo>
                <a:cubicBezTo>
                  <a:pt x="81" y="128"/>
                  <a:pt x="95" y="129"/>
                  <a:pt x="110" y="128"/>
                </a:cubicBezTo>
                <a:cubicBezTo>
                  <a:pt x="125" y="127"/>
                  <a:pt x="140" y="124"/>
                  <a:pt x="154" y="120"/>
                </a:cubicBezTo>
                <a:cubicBezTo>
                  <a:pt x="161" y="117"/>
                  <a:pt x="168" y="114"/>
                  <a:pt x="175" y="111"/>
                </a:cubicBezTo>
                <a:cubicBezTo>
                  <a:pt x="181" y="107"/>
                  <a:pt x="188" y="103"/>
                  <a:pt x="194" y="99"/>
                </a:cubicBezTo>
                <a:cubicBezTo>
                  <a:pt x="202" y="93"/>
                  <a:pt x="210" y="88"/>
                  <a:pt x="219" y="85"/>
                </a:cubicBezTo>
                <a:cubicBezTo>
                  <a:pt x="227" y="82"/>
                  <a:pt x="236" y="81"/>
                  <a:pt x="245" y="79"/>
                </a:cubicBezTo>
                <a:cubicBezTo>
                  <a:pt x="246" y="79"/>
                  <a:pt x="246" y="78"/>
                  <a:pt x="246" y="77"/>
                </a:cubicBezTo>
                <a:close/>
              </a:path>
            </a:pathLst>
          </a:custGeom>
          <a:solidFill>
            <a:schemeClr val="accent6">
              <a:lumMod val="60000"/>
              <a:lumOff val="40000"/>
            </a:schemeClr>
          </a:solidFill>
          <a:ln w="1270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9" name="Freeform 8">
            <a:extLst>
              <a:ext uri="{FF2B5EF4-FFF2-40B4-BE49-F238E27FC236}">
                <a16:creationId xmlns:a16="http://schemas.microsoft.com/office/drawing/2014/main" id="{8E40F005-AC87-49CE-B770-339DCEBC57D3}"/>
              </a:ext>
            </a:extLst>
          </p:cNvPr>
          <p:cNvSpPr>
            <a:spLocks/>
          </p:cNvSpPr>
          <p:nvPr/>
        </p:nvSpPr>
        <p:spPr bwMode="auto">
          <a:xfrm>
            <a:off x="3245769" y="2142174"/>
            <a:ext cx="291065" cy="554895"/>
          </a:xfrm>
          <a:custGeom>
            <a:avLst/>
            <a:gdLst>
              <a:gd name="T0" fmla="*/ 99 w 128"/>
              <a:gd name="T1" fmla="*/ 0 h 244"/>
              <a:gd name="T2" fmla="*/ 98 w 128"/>
              <a:gd name="T3" fmla="*/ 0 h 244"/>
              <a:gd name="T4" fmla="*/ 49 w 128"/>
              <a:gd name="T5" fmla="*/ 40 h 244"/>
              <a:gd name="T6" fmla="*/ 13 w 128"/>
              <a:gd name="T7" fmla="*/ 83 h 244"/>
              <a:gd name="T8" fmla="*/ 0 w 128"/>
              <a:gd name="T9" fmla="*/ 138 h 244"/>
              <a:gd name="T10" fmla="*/ 13 w 128"/>
              <a:gd name="T11" fmla="*/ 183 h 244"/>
              <a:gd name="T12" fmla="*/ 55 w 128"/>
              <a:gd name="T13" fmla="*/ 211 h 244"/>
              <a:gd name="T14" fmla="*/ 67 w 128"/>
              <a:gd name="T15" fmla="*/ 243 h 244"/>
              <a:gd name="T16" fmla="*/ 69 w 128"/>
              <a:gd name="T17" fmla="*/ 244 h 244"/>
              <a:gd name="T18" fmla="*/ 79 w 128"/>
              <a:gd name="T19" fmla="*/ 238 h 244"/>
              <a:gd name="T20" fmla="*/ 79 w 128"/>
              <a:gd name="T21" fmla="*/ 236 h 244"/>
              <a:gd name="T22" fmla="*/ 56 w 128"/>
              <a:gd name="T23" fmla="*/ 106 h 244"/>
              <a:gd name="T24" fmla="*/ 57 w 128"/>
              <a:gd name="T25" fmla="*/ 98 h 244"/>
              <a:gd name="T26" fmla="*/ 65 w 128"/>
              <a:gd name="T27" fmla="*/ 178 h 244"/>
              <a:gd name="T28" fmla="*/ 77 w 128"/>
              <a:gd name="T29" fmla="*/ 207 h 244"/>
              <a:gd name="T30" fmla="*/ 78 w 128"/>
              <a:gd name="T31" fmla="*/ 208 h 244"/>
              <a:gd name="T32" fmla="*/ 79 w 128"/>
              <a:gd name="T33" fmla="*/ 208 h 244"/>
              <a:gd name="T34" fmla="*/ 112 w 128"/>
              <a:gd name="T35" fmla="*/ 182 h 244"/>
              <a:gd name="T36" fmla="*/ 126 w 128"/>
              <a:gd name="T37" fmla="*/ 142 h 244"/>
              <a:gd name="T38" fmla="*/ 125 w 128"/>
              <a:gd name="T39" fmla="*/ 97 h 244"/>
              <a:gd name="T40" fmla="*/ 120 w 128"/>
              <a:gd name="T41" fmla="*/ 76 h 244"/>
              <a:gd name="T42" fmla="*/ 111 w 128"/>
              <a:gd name="T43" fmla="*/ 54 h 244"/>
              <a:gd name="T44" fmla="*/ 102 w 128"/>
              <a:gd name="T45" fmla="*/ 28 h 244"/>
              <a:gd name="T46" fmla="*/ 101 w 128"/>
              <a:gd name="T47" fmla="*/ 1 h 244"/>
              <a:gd name="T48" fmla="*/ 99 w 128"/>
              <a:gd name="T49" fmla="*/ 0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8" h="244">
                <a:moveTo>
                  <a:pt x="99" y="0"/>
                </a:moveTo>
                <a:cubicBezTo>
                  <a:pt x="99" y="0"/>
                  <a:pt x="98" y="0"/>
                  <a:pt x="98" y="0"/>
                </a:cubicBezTo>
                <a:cubicBezTo>
                  <a:pt x="81" y="12"/>
                  <a:pt x="64" y="26"/>
                  <a:pt x="49" y="40"/>
                </a:cubicBezTo>
                <a:cubicBezTo>
                  <a:pt x="35" y="53"/>
                  <a:pt x="22" y="66"/>
                  <a:pt x="13" y="83"/>
                </a:cubicBezTo>
                <a:cubicBezTo>
                  <a:pt x="4" y="100"/>
                  <a:pt x="1" y="119"/>
                  <a:pt x="0" y="138"/>
                </a:cubicBezTo>
                <a:cubicBezTo>
                  <a:pt x="0" y="154"/>
                  <a:pt x="4" y="170"/>
                  <a:pt x="13" y="183"/>
                </a:cubicBezTo>
                <a:cubicBezTo>
                  <a:pt x="23" y="197"/>
                  <a:pt x="38" y="207"/>
                  <a:pt x="55" y="211"/>
                </a:cubicBezTo>
                <a:cubicBezTo>
                  <a:pt x="58" y="222"/>
                  <a:pt x="62" y="233"/>
                  <a:pt x="67" y="243"/>
                </a:cubicBezTo>
                <a:cubicBezTo>
                  <a:pt x="68" y="244"/>
                  <a:pt x="69" y="244"/>
                  <a:pt x="69" y="244"/>
                </a:cubicBezTo>
                <a:cubicBezTo>
                  <a:pt x="73" y="242"/>
                  <a:pt x="76" y="240"/>
                  <a:pt x="79" y="238"/>
                </a:cubicBezTo>
                <a:cubicBezTo>
                  <a:pt x="79" y="237"/>
                  <a:pt x="79" y="237"/>
                  <a:pt x="79" y="236"/>
                </a:cubicBezTo>
                <a:cubicBezTo>
                  <a:pt x="57" y="197"/>
                  <a:pt x="49" y="151"/>
                  <a:pt x="56" y="106"/>
                </a:cubicBezTo>
                <a:cubicBezTo>
                  <a:pt x="56" y="104"/>
                  <a:pt x="57" y="101"/>
                  <a:pt x="57" y="98"/>
                </a:cubicBezTo>
                <a:cubicBezTo>
                  <a:pt x="54" y="125"/>
                  <a:pt x="57" y="152"/>
                  <a:pt x="65" y="178"/>
                </a:cubicBezTo>
                <a:cubicBezTo>
                  <a:pt x="68" y="188"/>
                  <a:pt x="72" y="198"/>
                  <a:pt x="77" y="207"/>
                </a:cubicBezTo>
                <a:cubicBezTo>
                  <a:pt x="77" y="207"/>
                  <a:pt x="77" y="208"/>
                  <a:pt x="78" y="208"/>
                </a:cubicBezTo>
                <a:cubicBezTo>
                  <a:pt x="78" y="208"/>
                  <a:pt x="79" y="208"/>
                  <a:pt x="79" y="208"/>
                </a:cubicBezTo>
                <a:cubicBezTo>
                  <a:pt x="92" y="202"/>
                  <a:pt x="104" y="193"/>
                  <a:pt x="112" y="182"/>
                </a:cubicBezTo>
                <a:cubicBezTo>
                  <a:pt x="121" y="170"/>
                  <a:pt x="125" y="157"/>
                  <a:pt x="126" y="142"/>
                </a:cubicBezTo>
                <a:cubicBezTo>
                  <a:pt x="128" y="127"/>
                  <a:pt x="128" y="112"/>
                  <a:pt x="125" y="97"/>
                </a:cubicBezTo>
                <a:cubicBezTo>
                  <a:pt x="124" y="90"/>
                  <a:pt x="123" y="83"/>
                  <a:pt x="120" y="76"/>
                </a:cubicBezTo>
                <a:cubicBezTo>
                  <a:pt x="118" y="68"/>
                  <a:pt x="115" y="61"/>
                  <a:pt x="111" y="54"/>
                </a:cubicBezTo>
                <a:cubicBezTo>
                  <a:pt x="107" y="46"/>
                  <a:pt x="104" y="37"/>
                  <a:pt x="102" y="28"/>
                </a:cubicBezTo>
                <a:cubicBezTo>
                  <a:pt x="101" y="19"/>
                  <a:pt x="101" y="10"/>
                  <a:pt x="101" y="1"/>
                </a:cubicBezTo>
                <a:cubicBezTo>
                  <a:pt x="101" y="0"/>
                  <a:pt x="100" y="0"/>
                  <a:pt x="99" y="0"/>
                </a:cubicBezTo>
                <a:close/>
              </a:path>
            </a:pathLst>
          </a:custGeom>
          <a:solidFill>
            <a:schemeClr val="accent3">
              <a:lumMod val="60000"/>
              <a:lumOff val="40000"/>
            </a:schemeClr>
          </a:solidFill>
          <a:ln w="1270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0" name="Freeform 9">
            <a:extLst>
              <a:ext uri="{FF2B5EF4-FFF2-40B4-BE49-F238E27FC236}">
                <a16:creationId xmlns:a16="http://schemas.microsoft.com/office/drawing/2014/main" id="{2C8D47B0-224F-463A-AF75-AB6B180E05B7}"/>
              </a:ext>
            </a:extLst>
          </p:cNvPr>
          <p:cNvSpPr>
            <a:spLocks/>
          </p:cNvSpPr>
          <p:nvPr/>
        </p:nvSpPr>
        <p:spPr bwMode="auto">
          <a:xfrm>
            <a:off x="3708749" y="1665578"/>
            <a:ext cx="291065" cy="560001"/>
          </a:xfrm>
          <a:custGeom>
            <a:avLst/>
            <a:gdLst>
              <a:gd name="T0" fmla="*/ 100 w 128"/>
              <a:gd name="T1" fmla="*/ 0 h 246"/>
              <a:gd name="T2" fmla="*/ 99 w 128"/>
              <a:gd name="T3" fmla="*/ 0 h 246"/>
              <a:gd name="T4" fmla="*/ 49 w 128"/>
              <a:gd name="T5" fmla="*/ 41 h 246"/>
              <a:gd name="T6" fmla="*/ 13 w 128"/>
              <a:gd name="T7" fmla="*/ 83 h 246"/>
              <a:gd name="T8" fmla="*/ 1 w 128"/>
              <a:gd name="T9" fmla="*/ 138 h 246"/>
              <a:gd name="T10" fmla="*/ 14 w 128"/>
              <a:gd name="T11" fmla="*/ 184 h 246"/>
              <a:gd name="T12" fmla="*/ 56 w 128"/>
              <a:gd name="T13" fmla="*/ 212 h 246"/>
              <a:gd name="T14" fmla="*/ 68 w 128"/>
              <a:gd name="T15" fmla="*/ 245 h 246"/>
              <a:gd name="T16" fmla="*/ 70 w 128"/>
              <a:gd name="T17" fmla="*/ 245 h 246"/>
              <a:gd name="T18" fmla="*/ 79 w 128"/>
              <a:gd name="T19" fmla="*/ 239 h 246"/>
              <a:gd name="T20" fmla="*/ 80 w 128"/>
              <a:gd name="T21" fmla="*/ 237 h 246"/>
              <a:gd name="T22" fmla="*/ 56 w 128"/>
              <a:gd name="T23" fmla="*/ 107 h 246"/>
              <a:gd name="T24" fmla="*/ 58 w 128"/>
              <a:gd name="T25" fmla="*/ 99 h 246"/>
              <a:gd name="T26" fmla="*/ 65 w 128"/>
              <a:gd name="T27" fmla="*/ 179 h 246"/>
              <a:gd name="T28" fmla="*/ 77 w 128"/>
              <a:gd name="T29" fmla="*/ 208 h 246"/>
              <a:gd name="T30" fmla="*/ 78 w 128"/>
              <a:gd name="T31" fmla="*/ 209 h 246"/>
              <a:gd name="T32" fmla="*/ 80 w 128"/>
              <a:gd name="T33" fmla="*/ 209 h 246"/>
              <a:gd name="T34" fmla="*/ 113 w 128"/>
              <a:gd name="T35" fmla="*/ 183 h 246"/>
              <a:gd name="T36" fmla="*/ 127 w 128"/>
              <a:gd name="T37" fmla="*/ 143 h 246"/>
              <a:gd name="T38" fmla="*/ 126 w 128"/>
              <a:gd name="T39" fmla="*/ 98 h 246"/>
              <a:gd name="T40" fmla="*/ 121 w 128"/>
              <a:gd name="T41" fmla="*/ 76 h 246"/>
              <a:gd name="T42" fmla="*/ 112 w 128"/>
              <a:gd name="T43" fmla="*/ 55 h 246"/>
              <a:gd name="T44" fmla="*/ 103 w 128"/>
              <a:gd name="T45" fmla="*/ 28 h 246"/>
              <a:gd name="T46" fmla="*/ 101 w 128"/>
              <a:gd name="T47" fmla="*/ 1 h 246"/>
              <a:gd name="T48" fmla="*/ 100 w 128"/>
              <a:gd name="T49" fmla="*/ 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8" h="246">
                <a:moveTo>
                  <a:pt x="100" y="0"/>
                </a:moveTo>
                <a:cubicBezTo>
                  <a:pt x="100" y="0"/>
                  <a:pt x="99" y="0"/>
                  <a:pt x="99" y="0"/>
                </a:cubicBezTo>
                <a:cubicBezTo>
                  <a:pt x="81" y="13"/>
                  <a:pt x="65" y="26"/>
                  <a:pt x="49" y="41"/>
                </a:cubicBezTo>
                <a:cubicBezTo>
                  <a:pt x="36" y="54"/>
                  <a:pt x="22" y="67"/>
                  <a:pt x="13" y="83"/>
                </a:cubicBezTo>
                <a:cubicBezTo>
                  <a:pt x="4" y="100"/>
                  <a:pt x="2" y="119"/>
                  <a:pt x="1" y="138"/>
                </a:cubicBezTo>
                <a:cubicBezTo>
                  <a:pt x="0" y="155"/>
                  <a:pt x="4" y="171"/>
                  <a:pt x="14" y="184"/>
                </a:cubicBezTo>
                <a:cubicBezTo>
                  <a:pt x="24" y="198"/>
                  <a:pt x="39" y="208"/>
                  <a:pt x="56" y="212"/>
                </a:cubicBezTo>
                <a:cubicBezTo>
                  <a:pt x="58" y="223"/>
                  <a:pt x="62" y="235"/>
                  <a:pt x="68" y="245"/>
                </a:cubicBezTo>
                <a:cubicBezTo>
                  <a:pt x="68" y="245"/>
                  <a:pt x="69" y="246"/>
                  <a:pt x="70" y="245"/>
                </a:cubicBezTo>
                <a:cubicBezTo>
                  <a:pt x="73" y="244"/>
                  <a:pt x="76" y="242"/>
                  <a:pt x="79" y="239"/>
                </a:cubicBezTo>
                <a:cubicBezTo>
                  <a:pt x="80" y="239"/>
                  <a:pt x="80" y="238"/>
                  <a:pt x="80" y="237"/>
                </a:cubicBezTo>
                <a:cubicBezTo>
                  <a:pt x="57" y="198"/>
                  <a:pt x="49" y="152"/>
                  <a:pt x="56" y="107"/>
                </a:cubicBezTo>
                <a:cubicBezTo>
                  <a:pt x="57" y="105"/>
                  <a:pt x="57" y="102"/>
                  <a:pt x="58" y="99"/>
                </a:cubicBezTo>
                <a:cubicBezTo>
                  <a:pt x="55" y="126"/>
                  <a:pt x="57" y="153"/>
                  <a:pt x="65" y="179"/>
                </a:cubicBezTo>
                <a:cubicBezTo>
                  <a:pt x="69" y="189"/>
                  <a:pt x="73" y="199"/>
                  <a:pt x="77" y="208"/>
                </a:cubicBezTo>
                <a:cubicBezTo>
                  <a:pt x="78" y="209"/>
                  <a:pt x="78" y="209"/>
                  <a:pt x="78" y="209"/>
                </a:cubicBezTo>
                <a:cubicBezTo>
                  <a:pt x="79" y="209"/>
                  <a:pt x="79" y="209"/>
                  <a:pt x="80" y="209"/>
                </a:cubicBezTo>
                <a:cubicBezTo>
                  <a:pt x="93" y="203"/>
                  <a:pt x="104" y="195"/>
                  <a:pt x="113" y="183"/>
                </a:cubicBezTo>
                <a:cubicBezTo>
                  <a:pt x="122" y="171"/>
                  <a:pt x="126" y="158"/>
                  <a:pt x="127" y="143"/>
                </a:cubicBezTo>
                <a:cubicBezTo>
                  <a:pt x="128" y="128"/>
                  <a:pt x="128" y="113"/>
                  <a:pt x="126" y="98"/>
                </a:cubicBezTo>
                <a:cubicBezTo>
                  <a:pt x="125" y="90"/>
                  <a:pt x="123" y="83"/>
                  <a:pt x="121" y="76"/>
                </a:cubicBezTo>
                <a:cubicBezTo>
                  <a:pt x="119" y="69"/>
                  <a:pt x="115" y="62"/>
                  <a:pt x="112" y="55"/>
                </a:cubicBezTo>
                <a:cubicBezTo>
                  <a:pt x="108" y="46"/>
                  <a:pt x="105" y="38"/>
                  <a:pt x="103" y="28"/>
                </a:cubicBezTo>
                <a:cubicBezTo>
                  <a:pt x="102" y="19"/>
                  <a:pt x="101" y="10"/>
                  <a:pt x="101" y="1"/>
                </a:cubicBezTo>
                <a:cubicBezTo>
                  <a:pt x="101" y="0"/>
                  <a:pt x="101" y="0"/>
                  <a:pt x="100" y="0"/>
                </a:cubicBezTo>
                <a:close/>
              </a:path>
            </a:pathLst>
          </a:custGeom>
          <a:solidFill>
            <a:schemeClr val="accent3">
              <a:lumMod val="75000"/>
            </a:schemeClr>
          </a:solidFill>
          <a:ln w="1270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1" name="Freeform 10">
            <a:extLst>
              <a:ext uri="{FF2B5EF4-FFF2-40B4-BE49-F238E27FC236}">
                <a16:creationId xmlns:a16="http://schemas.microsoft.com/office/drawing/2014/main" id="{D915EC57-8081-4C3D-B530-4B74C27D2008}"/>
              </a:ext>
            </a:extLst>
          </p:cNvPr>
          <p:cNvSpPr>
            <a:spLocks/>
          </p:cNvSpPr>
          <p:nvPr/>
        </p:nvSpPr>
        <p:spPr bwMode="auto">
          <a:xfrm>
            <a:off x="6404921" y="3127705"/>
            <a:ext cx="577023" cy="296171"/>
          </a:xfrm>
          <a:custGeom>
            <a:avLst/>
            <a:gdLst>
              <a:gd name="T0" fmla="*/ 253 w 253"/>
              <a:gd name="T1" fmla="*/ 93 h 130"/>
              <a:gd name="T2" fmla="*/ 253 w 253"/>
              <a:gd name="T3" fmla="*/ 92 h 130"/>
              <a:gd name="T4" fmla="*/ 208 w 253"/>
              <a:gd name="T5" fmla="*/ 44 h 130"/>
              <a:gd name="T6" fmla="*/ 163 w 253"/>
              <a:gd name="T7" fmla="*/ 10 h 130"/>
              <a:gd name="T8" fmla="*/ 106 w 253"/>
              <a:gd name="T9" fmla="*/ 0 h 130"/>
              <a:gd name="T10" fmla="*/ 60 w 253"/>
              <a:gd name="T11" fmla="*/ 16 h 130"/>
              <a:gd name="T12" fmla="*/ 34 w 253"/>
              <a:gd name="T13" fmla="*/ 60 h 130"/>
              <a:gd name="T14" fmla="*/ 1 w 253"/>
              <a:gd name="T15" fmla="*/ 75 h 130"/>
              <a:gd name="T16" fmla="*/ 1 w 253"/>
              <a:gd name="T17" fmla="*/ 76 h 130"/>
              <a:gd name="T18" fmla="*/ 7 w 253"/>
              <a:gd name="T19" fmla="*/ 86 h 130"/>
              <a:gd name="T20" fmla="*/ 9 w 253"/>
              <a:gd name="T21" fmla="*/ 86 h 130"/>
              <a:gd name="T22" fmla="*/ 141 w 253"/>
              <a:gd name="T23" fmla="*/ 55 h 130"/>
              <a:gd name="T24" fmla="*/ 149 w 253"/>
              <a:gd name="T25" fmla="*/ 56 h 130"/>
              <a:gd name="T26" fmla="*/ 68 w 253"/>
              <a:gd name="T27" fmla="*/ 68 h 130"/>
              <a:gd name="T28" fmla="*/ 39 w 253"/>
              <a:gd name="T29" fmla="*/ 82 h 130"/>
              <a:gd name="T30" fmla="*/ 38 w 253"/>
              <a:gd name="T31" fmla="*/ 83 h 130"/>
              <a:gd name="T32" fmla="*/ 38 w 253"/>
              <a:gd name="T33" fmla="*/ 85 h 130"/>
              <a:gd name="T34" fmla="*/ 67 w 253"/>
              <a:gd name="T35" fmla="*/ 117 h 130"/>
              <a:gd name="T36" fmla="*/ 108 w 253"/>
              <a:gd name="T37" fmla="*/ 129 h 130"/>
              <a:gd name="T38" fmla="*/ 155 w 253"/>
              <a:gd name="T39" fmla="*/ 126 h 130"/>
              <a:gd name="T40" fmla="*/ 176 w 253"/>
              <a:gd name="T41" fmla="*/ 119 h 130"/>
              <a:gd name="T42" fmla="*/ 198 w 253"/>
              <a:gd name="T43" fmla="*/ 109 h 130"/>
              <a:gd name="T44" fmla="*/ 224 w 253"/>
              <a:gd name="T45" fmla="*/ 98 h 130"/>
              <a:gd name="T46" fmla="*/ 252 w 253"/>
              <a:gd name="T47" fmla="*/ 95 h 130"/>
              <a:gd name="T48" fmla="*/ 253 w 253"/>
              <a:gd name="T49" fmla="*/ 93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53" h="130">
                <a:moveTo>
                  <a:pt x="253" y="93"/>
                </a:moveTo>
                <a:cubicBezTo>
                  <a:pt x="253" y="93"/>
                  <a:pt x="253" y="93"/>
                  <a:pt x="253" y="92"/>
                </a:cubicBezTo>
                <a:cubicBezTo>
                  <a:pt x="239" y="75"/>
                  <a:pt x="224" y="59"/>
                  <a:pt x="208" y="44"/>
                </a:cubicBezTo>
                <a:cubicBezTo>
                  <a:pt x="195" y="31"/>
                  <a:pt x="180" y="18"/>
                  <a:pt x="163" y="10"/>
                </a:cubicBezTo>
                <a:cubicBezTo>
                  <a:pt x="145" y="1"/>
                  <a:pt x="125" y="0"/>
                  <a:pt x="106" y="0"/>
                </a:cubicBezTo>
                <a:cubicBezTo>
                  <a:pt x="89" y="0"/>
                  <a:pt x="73" y="5"/>
                  <a:pt x="60" y="16"/>
                </a:cubicBezTo>
                <a:cubicBezTo>
                  <a:pt x="46" y="27"/>
                  <a:pt x="37" y="43"/>
                  <a:pt x="34" y="60"/>
                </a:cubicBezTo>
                <a:cubicBezTo>
                  <a:pt x="22" y="64"/>
                  <a:pt x="11" y="68"/>
                  <a:pt x="1" y="75"/>
                </a:cubicBezTo>
                <a:cubicBezTo>
                  <a:pt x="0" y="75"/>
                  <a:pt x="0" y="76"/>
                  <a:pt x="1" y="76"/>
                </a:cubicBezTo>
                <a:cubicBezTo>
                  <a:pt x="2" y="80"/>
                  <a:pt x="5" y="83"/>
                  <a:pt x="7" y="86"/>
                </a:cubicBezTo>
                <a:cubicBezTo>
                  <a:pt x="8" y="86"/>
                  <a:pt x="9" y="87"/>
                  <a:pt x="9" y="86"/>
                </a:cubicBezTo>
                <a:cubicBezTo>
                  <a:pt x="48" y="61"/>
                  <a:pt x="95" y="50"/>
                  <a:pt x="141" y="55"/>
                </a:cubicBezTo>
                <a:cubicBezTo>
                  <a:pt x="144" y="55"/>
                  <a:pt x="147" y="55"/>
                  <a:pt x="149" y="56"/>
                </a:cubicBezTo>
                <a:cubicBezTo>
                  <a:pt x="122" y="54"/>
                  <a:pt x="94" y="59"/>
                  <a:pt x="68" y="68"/>
                </a:cubicBezTo>
                <a:cubicBezTo>
                  <a:pt x="58" y="72"/>
                  <a:pt x="48" y="77"/>
                  <a:pt x="39" y="82"/>
                </a:cubicBezTo>
                <a:cubicBezTo>
                  <a:pt x="38" y="82"/>
                  <a:pt x="38" y="83"/>
                  <a:pt x="38" y="83"/>
                </a:cubicBezTo>
                <a:cubicBezTo>
                  <a:pt x="38" y="84"/>
                  <a:pt x="38" y="84"/>
                  <a:pt x="38" y="85"/>
                </a:cubicBezTo>
                <a:cubicBezTo>
                  <a:pt x="45" y="97"/>
                  <a:pt x="54" y="109"/>
                  <a:pt x="67" y="117"/>
                </a:cubicBezTo>
                <a:cubicBezTo>
                  <a:pt x="79" y="126"/>
                  <a:pt x="93" y="129"/>
                  <a:pt x="108" y="129"/>
                </a:cubicBezTo>
                <a:cubicBezTo>
                  <a:pt x="124" y="130"/>
                  <a:pt x="139" y="129"/>
                  <a:pt x="155" y="126"/>
                </a:cubicBezTo>
                <a:cubicBezTo>
                  <a:pt x="162" y="124"/>
                  <a:pt x="169" y="122"/>
                  <a:pt x="176" y="119"/>
                </a:cubicBezTo>
                <a:cubicBezTo>
                  <a:pt x="184" y="116"/>
                  <a:pt x="191" y="113"/>
                  <a:pt x="198" y="109"/>
                </a:cubicBezTo>
                <a:cubicBezTo>
                  <a:pt x="206" y="104"/>
                  <a:pt x="215" y="100"/>
                  <a:pt x="224" y="98"/>
                </a:cubicBezTo>
                <a:cubicBezTo>
                  <a:pt x="233" y="96"/>
                  <a:pt x="243" y="96"/>
                  <a:pt x="252" y="95"/>
                </a:cubicBezTo>
                <a:cubicBezTo>
                  <a:pt x="253" y="95"/>
                  <a:pt x="253" y="94"/>
                  <a:pt x="253" y="93"/>
                </a:cubicBezTo>
                <a:close/>
              </a:path>
            </a:pathLst>
          </a:custGeom>
          <a:solidFill>
            <a:schemeClr val="accent4">
              <a:lumMod val="40000"/>
              <a:lumOff val="60000"/>
            </a:schemeClr>
          </a:solidFill>
          <a:ln w="1270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2" name="Freeform 11">
            <a:extLst>
              <a:ext uri="{FF2B5EF4-FFF2-40B4-BE49-F238E27FC236}">
                <a16:creationId xmlns:a16="http://schemas.microsoft.com/office/drawing/2014/main" id="{BD764759-D2C7-4831-88AE-0F60AB17637F}"/>
              </a:ext>
            </a:extLst>
          </p:cNvPr>
          <p:cNvSpPr>
            <a:spLocks/>
          </p:cNvSpPr>
          <p:nvPr/>
        </p:nvSpPr>
        <p:spPr bwMode="auto">
          <a:xfrm>
            <a:off x="6765773" y="4494517"/>
            <a:ext cx="577023" cy="296171"/>
          </a:xfrm>
          <a:custGeom>
            <a:avLst/>
            <a:gdLst>
              <a:gd name="T0" fmla="*/ 253 w 253"/>
              <a:gd name="T1" fmla="*/ 93 h 130"/>
              <a:gd name="T2" fmla="*/ 252 w 253"/>
              <a:gd name="T3" fmla="*/ 92 h 130"/>
              <a:gd name="T4" fmla="*/ 208 w 253"/>
              <a:gd name="T5" fmla="*/ 44 h 130"/>
              <a:gd name="T6" fmla="*/ 163 w 253"/>
              <a:gd name="T7" fmla="*/ 10 h 130"/>
              <a:gd name="T8" fmla="*/ 106 w 253"/>
              <a:gd name="T9" fmla="*/ 0 h 130"/>
              <a:gd name="T10" fmla="*/ 59 w 253"/>
              <a:gd name="T11" fmla="*/ 16 h 130"/>
              <a:gd name="T12" fmla="*/ 34 w 253"/>
              <a:gd name="T13" fmla="*/ 60 h 130"/>
              <a:gd name="T14" fmla="*/ 1 w 253"/>
              <a:gd name="T15" fmla="*/ 75 h 130"/>
              <a:gd name="T16" fmla="*/ 0 w 253"/>
              <a:gd name="T17" fmla="*/ 76 h 130"/>
              <a:gd name="T18" fmla="*/ 7 w 253"/>
              <a:gd name="T19" fmla="*/ 86 h 130"/>
              <a:gd name="T20" fmla="*/ 9 w 253"/>
              <a:gd name="T21" fmla="*/ 86 h 130"/>
              <a:gd name="T22" fmla="*/ 141 w 253"/>
              <a:gd name="T23" fmla="*/ 55 h 130"/>
              <a:gd name="T24" fmla="*/ 149 w 253"/>
              <a:gd name="T25" fmla="*/ 56 h 130"/>
              <a:gd name="T26" fmla="*/ 68 w 253"/>
              <a:gd name="T27" fmla="*/ 68 h 130"/>
              <a:gd name="T28" fmla="*/ 39 w 253"/>
              <a:gd name="T29" fmla="*/ 82 h 130"/>
              <a:gd name="T30" fmla="*/ 38 w 253"/>
              <a:gd name="T31" fmla="*/ 83 h 130"/>
              <a:gd name="T32" fmla="*/ 38 w 253"/>
              <a:gd name="T33" fmla="*/ 85 h 130"/>
              <a:gd name="T34" fmla="*/ 66 w 253"/>
              <a:gd name="T35" fmla="*/ 117 h 130"/>
              <a:gd name="T36" fmla="*/ 108 w 253"/>
              <a:gd name="T37" fmla="*/ 129 h 130"/>
              <a:gd name="T38" fmla="*/ 154 w 253"/>
              <a:gd name="T39" fmla="*/ 126 h 130"/>
              <a:gd name="T40" fmla="*/ 176 w 253"/>
              <a:gd name="T41" fmla="*/ 119 h 130"/>
              <a:gd name="T42" fmla="*/ 197 w 253"/>
              <a:gd name="T43" fmla="*/ 109 h 130"/>
              <a:gd name="T44" fmla="*/ 224 w 253"/>
              <a:gd name="T45" fmla="*/ 98 h 130"/>
              <a:gd name="T46" fmla="*/ 252 w 253"/>
              <a:gd name="T47" fmla="*/ 95 h 130"/>
              <a:gd name="T48" fmla="*/ 253 w 253"/>
              <a:gd name="T49" fmla="*/ 93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53" h="130">
                <a:moveTo>
                  <a:pt x="253" y="93"/>
                </a:moveTo>
                <a:cubicBezTo>
                  <a:pt x="253" y="93"/>
                  <a:pt x="253" y="93"/>
                  <a:pt x="252" y="92"/>
                </a:cubicBezTo>
                <a:cubicBezTo>
                  <a:pt x="239" y="75"/>
                  <a:pt x="224" y="59"/>
                  <a:pt x="208" y="44"/>
                </a:cubicBezTo>
                <a:cubicBezTo>
                  <a:pt x="194" y="31"/>
                  <a:pt x="180" y="18"/>
                  <a:pt x="163" y="10"/>
                </a:cubicBezTo>
                <a:cubicBezTo>
                  <a:pt x="145" y="1"/>
                  <a:pt x="125" y="0"/>
                  <a:pt x="106" y="0"/>
                </a:cubicBezTo>
                <a:cubicBezTo>
                  <a:pt x="89" y="0"/>
                  <a:pt x="73" y="5"/>
                  <a:pt x="59" y="16"/>
                </a:cubicBezTo>
                <a:cubicBezTo>
                  <a:pt x="46" y="27"/>
                  <a:pt x="36" y="43"/>
                  <a:pt x="34" y="60"/>
                </a:cubicBezTo>
                <a:cubicBezTo>
                  <a:pt x="22" y="64"/>
                  <a:pt x="11" y="68"/>
                  <a:pt x="1" y="75"/>
                </a:cubicBezTo>
                <a:cubicBezTo>
                  <a:pt x="0" y="75"/>
                  <a:pt x="0" y="76"/>
                  <a:pt x="0" y="76"/>
                </a:cubicBezTo>
                <a:cubicBezTo>
                  <a:pt x="2" y="80"/>
                  <a:pt x="4" y="83"/>
                  <a:pt x="7" y="86"/>
                </a:cubicBezTo>
                <a:cubicBezTo>
                  <a:pt x="8" y="86"/>
                  <a:pt x="8" y="86"/>
                  <a:pt x="9" y="86"/>
                </a:cubicBezTo>
                <a:cubicBezTo>
                  <a:pt x="48" y="61"/>
                  <a:pt x="95" y="50"/>
                  <a:pt x="141" y="55"/>
                </a:cubicBezTo>
                <a:cubicBezTo>
                  <a:pt x="143" y="55"/>
                  <a:pt x="146" y="55"/>
                  <a:pt x="149" y="56"/>
                </a:cubicBezTo>
                <a:cubicBezTo>
                  <a:pt x="121" y="54"/>
                  <a:pt x="94" y="59"/>
                  <a:pt x="68" y="68"/>
                </a:cubicBezTo>
                <a:cubicBezTo>
                  <a:pt x="58" y="72"/>
                  <a:pt x="48" y="77"/>
                  <a:pt x="39" y="82"/>
                </a:cubicBezTo>
                <a:cubicBezTo>
                  <a:pt x="38" y="82"/>
                  <a:pt x="38" y="83"/>
                  <a:pt x="38" y="83"/>
                </a:cubicBezTo>
                <a:cubicBezTo>
                  <a:pt x="38" y="84"/>
                  <a:pt x="38" y="84"/>
                  <a:pt x="38" y="85"/>
                </a:cubicBezTo>
                <a:cubicBezTo>
                  <a:pt x="45" y="97"/>
                  <a:pt x="54" y="109"/>
                  <a:pt x="66" y="117"/>
                </a:cubicBezTo>
                <a:cubicBezTo>
                  <a:pt x="79" y="126"/>
                  <a:pt x="93" y="129"/>
                  <a:pt x="108" y="129"/>
                </a:cubicBezTo>
                <a:cubicBezTo>
                  <a:pt x="123" y="130"/>
                  <a:pt x="139" y="129"/>
                  <a:pt x="154" y="126"/>
                </a:cubicBezTo>
                <a:cubicBezTo>
                  <a:pt x="162" y="124"/>
                  <a:pt x="169" y="122"/>
                  <a:pt x="176" y="119"/>
                </a:cubicBezTo>
                <a:cubicBezTo>
                  <a:pt x="183" y="116"/>
                  <a:pt x="190" y="113"/>
                  <a:pt x="197" y="109"/>
                </a:cubicBezTo>
                <a:cubicBezTo>
                  <a:pt x="206" y="104"/>
                  <a:pt x="215" y="100"/>
                  <a:pt x="224" y="98"/>
                </a:cubicBezTo>
                <a:cubicBezTo>
                  <a:pt x="233" y="96"/>
                  <a:pt x="242" y="96"/>
                  <a:pt x="252" y="95"/>
                </a:cubicBezTo>
                <a:cubicBezTo>
                  <a:pt x="253" y="95"/>
                  <a:pt x="253" y="94"/>
                  <a:pt x="253" y="93"/>
                </a:cubicBezTo>
                <a:close/>
              </a:path>
            </a:pathLst>
          </a:custGeom>
          <a:solidFill>
            <a:schemeClr val="accent4">
              <a:lumMod val="40000"/>
              <a:lumOff val="60000"/>
            </a:schemeClr>
          </a:solidFill>
          <a:ln w="1270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3" name="Freeform 12">
            <a:extLst>
              <a:ext uri="{FF2B5EF4-FFF2-40B4-BE49-F238E27FC236}">
                <a16:creationId xmlns:a16="http://schemas.microsoft.com/office/drawing/2014/main" id="{31D07EC5-4CB8-44D1-B950-9DE535E3D7EE}"/>
              </a:ext>
            </a:extLst>
          </p:cNvPr>
          <p:cNvSpPr>
            <a:spLocks/>
          </p:cNvSpPr>
          <p:nvPr/>
        </p:nvSpPr>
        <p:spPr bwMode="auto">
          <a:xfrm>
            <a:off x="3027895" y="1418769"/>
            <a:ext cx="313192" cy="554895"/>
          </a:xfrm>
          <a:custGeom>
            <a:avLst/>
            <a:gdLst>
              <a:gd name="T0" fmla="*/ 12 w 137"/>
              <a:gd name="T1" fmla="*/ 0 h 244"/>
              <a:gd name="T2" fmla="*/ 13 w 137"/>
              <a:gd name="T3" fmla="*/ 0 h 244"/>
              <a:gd name="T4" fmla="*/ 70 w 137"/>
              <a:gd name="T5" fmla="*/ 34 h 244"/>
              <a:gd name="T6" fmla="*/ 112 w 137"/>
              <a:gd name="T7" fmla="*/ 71 h 244"/>
              <a:gd name="T8" fmla="*/ 133 w 137"/>
              <a:gd name="T9" fmla="*/ 125 h 244"/>
              <a:gd name="T10" fmla="*/ 127 w 137"/>
              <a:gd name="T11" fmla="*/ 173 h 244"/>
              <a:gd name="T12" fmla="*/ 89 w 137"/>
              <a:gd name="T13" fmla="*/ 208 h 244"/>
              <a:gd name="T14" fmla="*/ 81 w 137"/>
              <a:gd name="T15" fmla="*/ 243 h 244"/>
              <a:gd name="T16" fmla="*/ 80 w 137"/>
              <a:gd name="T17" fmla="*/ 244 h 244"/>
              <a:gd name="T18" fmla="*/ 69 w 137"/>
              <a:gd name="T19" fmla="*/ 239 h 244"/>
              <a:gd name="T20" fmla="*/ 69 w 137"/>
              <a:gd name="T21" fmla="*/ 237 h 244"/>
              <a:gd name="T22" fmla="*/ 73 w 137"/>
              <a:gd name="T23" fmla="*/ 102 h 244"/>
              <a:gd name="T24" fmla="*/ 70 w 137"/>
              <a:gd name="T25" fmla="*/ 94 h 244"/>
              <a:gd name="T26" fmla="*/ 74 w 137"/>
              <a:gd name="T27" fmla="*/ 176 h 244"/>
              <a:gd name="T28" fmla="*/ 66 w 137"/>
              <a:gd name="T29" fmla="*/ 207 h 244"/>
              <a:gd name="T30" fmla="*/ 65 w 137"/>
              <a:gd name="T31" fmla="*/ 208 h 244"/>
              <a:gd name="T32" fmla="*/ 64 w 137"/>
              <a:gd name="T33" fmla="*/ 209 h 244"/>
              <a:gd name="T34" fmla="*/ 26 w 137"/>
              <a:gd name="T35" fmla="*/ 187 h 244"/>
              <a:gd name="T36" fmla="*/ 6 w 137"/>
              <a:gd name="T37" fmla="*/ 149 h 244"/>
              <a:gd name="T38" fmla="*/ 0 w 137"/>
              <a:gd name="T39" fmla="*/ 103 h 244"/>
              <a:gd name="T40" fmla="*/ 2 w 137"/>
              <a:gd name="T41" fmla="*/ 80 h 244"/>
              <a:gd name="T42" fmla="*/ 8 w 137"/>
              <a:gd name="T43" fmla="*/ 57 h 244"/>
              <a:gd name="T44" fmla="*/ 13 w 137"/>
              <a:gd name="T45" fmla="*/ 29 h 244"/>
              <a:gd name="T46" fmla="*/ 11 w 137"/>
              <a:gd name="T47" fmla="*/ 1 h 244"/>
              <a:gd name="T48" fmla="*/ 12 w 137"/>
              <a:gd name="T49" fmla="*/ 0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37" h="244">
                <a:moveTo>
                  <a:pt x="12" y="0"/>
                </a:moveTo>
                <a:cubicBezTo>
                  <a:pt x="13" y="0"/>
                  <a:pt x="13" y="0"/>
                  <a:pt x="13" y="0"/>
                </a:cubicBezTo>
                <a:cubicBezTo>
                  <a:pt x="33" y="10"/>
                  <a:pt x="52" y="21"/>
                  <a:pt x="70" y="34"/>
                </a:cubicBezTo>
                <a:cubicBezTo>
                  <a:pt x="85" y="44"/>
                  <a:pt x="101" y="56"/>
                  <a:pt x="112" y="71"/>
                </a:cubicBezTo>
                <a:cubicBezTo>
                  <a:pt x="124" y="87"/>
                  <a:pt x="130" y="106"/>
                  <a:pt x="133" y="125"/>
                </a:cubicBezTo>
                <a:cubicBezTo>
                  <a:pt x="137" y="142"/>
                  <a:pt x="135" y="158"/>
                  <a:pt x="127" y="173"/>
                </a:cubicBezTo>
                <a:cubicBezTo>
                  <a:pt x="119" y="189"/>
                  <a:pt x="106" y="202"/>
                  <a:pt x="89" y="208"/>
                </a:cubicBezTo>
                <a:cubicBezTo>
                  <a:pt x="88" y="220"/>
                  <a:pt x="86" y="232"/>
                  <a:pt x="81" y="243"/>
                </a:cubicBezTo>
                <a:cubicBezTo>
                  <a:pt x="81" y="243"/>
                  <a:pt x="80" y="244"/>
                  <a:pt x="80" y="244"/>
                </a:cubicBezTo>
                <a:cubicBezTo>
                  <a:pt x="76" y="243"/>
                  <a:pt x="73" y="241"/>
                  <a:pt x="69" y="239"/>
                </a:cubicBezTo>
                <a:cubicBezTo>
                  <a:pt x="68" y="238"/>
                  <a:pt x="68" y="238"/>
                  <a:pt x="69" y="237"/>
                </a:cubicBezTo>
                <a:cubicBezTo>
                  <a:pt x="85" y="194"/>
                  <a:pt x="87" y="146"/>
                  <a:pt x="73" y="102"/>
                </a:cubicBezTo>
                <a:cubicBezTo>
                  <a:pt x="72" y="99"/>
                  <a:pt x="71" y="96"/>
                  <a:pt x="70" y="94"/>
                </a:cubicBezTo>
                <a:cubicBezTo>
                  <a:pt x="77" y="120"/>
                  <a:pt x="78" y="149"/>
                  <a:pt x="74" y="176"/>
                </a:cubicBezTo>
                <a:cubicBezTo>
                  <a:pt x="72" y="186"/>
                  <a:pt x="70" y="197"/>
                  <a:pt x="66" y="207"/>
                </a:cubicBezTo>
                <a:cubicBezTo>
                  <a:pt x="66" y="208"/>
                  <a:pt x="66" y="208"/>
                  <a:pt x="65" y="208"/>
                </a:cubicBezTo>
                <a:cubicBezTo>
                  <a:pt x="65" y="208"/>
                  <a:pt x="65" y="209"/>
                  <a:pt x="64" y="209"/>
                </a:cubicBezTo>
                <a:cubicBezTo>
                  <a:pt x="50" y="204"/>
                  <a:pt x="37" y="198"/>
                  <a:pt x="26" y="187"/>
                </a:cubicBezTo>
                <a:cubicBezTo>
                  <a:pt x="16" y="177"/>
                  <a:pt x="10" y="163"/>
                  <a:pt x="6" y="149"/>
                </a:cubicBezTo>
                <a:cubicBezTo>
                  <a:pt x="3" y="134"/>
                  <a:pt x="0" y="118"/>
                  <a:pt x="0" y="103"/>
                </a:cubicBezTo>
                <a:cubicBezTo>
                  <a:pt x="0" y="95"/>
                  <a:pt x="1" y="88"/>
                  <a:pt x="2" y="80"/>
                </a:cubicBezTo>
                <a:cubicBezTo>
                  <a:pt x="4" y="72"/>
                  <a:pt x="6" y="65"/>
                  <a:pt x="8" y="57"/>
                </a:cubicBezTo>
                <a:cubicBezTo>
                  <a:pt x="11" y="48"/>
                  <a:pt x="13" y="39"/>
                  <a:pt x="13" y="29"/>
                </a:cubicBezTo>
                <a:cubicBezTo>
                  <a:pt x="13" y="20"/>
                  <a:pt x="12" y="10"/>
                  <a:pt x="11" y="1"/>
                </a:cubicBezTo>
                <a:cubicBezTo>
                  <a:pt x="11" y="0"/>
                  <a:pt x="11" y="0"/>
                  <a:pt x="12" y="0"/>
                </a:cubicBezTo>
                <a:close/>
              </a:path>
            </a:pathLst>
          </a:custGeom>
          <a:solidFill>
            <a:schemeClr val="accent4">
              <a:lumMod val="40000"/>
              <a:lumOff val="60000"/>
            </a:schemeClr>
          </a:solidFill>
          <a:ln w="1270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4" name="Freeform 13">
            <a:extLst>
              <a:ext uri="{FF2B5EF4-FFF2-40B4-BE49-F238E27FC236}">
                <a16:creationId xmlns:a16="http://schemas.microsoft.com/office/drawing/2014/main" id="{3AA03396-2226-41BA-B23B-D29DD7EBD9C0}"/>
              </a:ext>
            </a:extLst>
          </p:cNvPr>
          <p:cNvSpPr>
            <a:spLocks/>
          </p:cNvSpPr>
          <p:nvPr/>
        </p:nvSpPr>
        <p:spPr bwMode="auto">
          <a:xfrm>
            <a:off x="1735979" y="2184727"/>
            <a:ext cx="309788" cy="554895"/>
          </a:xfrm>
          <a:custGeom>
            <a:avLst/>
            <a:gdLst>
              <a:gd name="T0" fmla="*/ 12 w 136"/>
              <a:gd name="T1" fmla="*/ 0 h 244"/>
              <a:gd name="T2" fmla="*/ 13 w 136"/>
              <a:gd name="T3" fmla="*/ 0 h 244"/>
              <a:gd name="T4" fmla="*/ 69 w 136"/>
              <a:gd name="T5" fmla="*/ 34 h 244"/>
              <a:gd name="T6" fmla="*/ 112 w 136"/>
              <a:gd name="T7" fmla="*/ 72 h 244"/>
              <a:gd name="T8" fmla="*/ 133 w 136"/>
              <a:gd name="T9" fmla="*/ 125 h 244"/>
              <a:gd name="T10" fmla="*/ 127 w 136"/>
              <a:gd name="T11" fmla="*/ 174 h 244"/>
              <a:gd name="T12" fmla="*/ 89 w 136"/>
              <a:gd name="T13" fmla="*/ 208 h 244"/>
              <a:gd name="T14" fmla="*/ 81 w 136"/>
              <a:gd name="T15" fmla="*/ 243 h 244"/>
              <a:gd name="T16" fmla="*/ 79 w 136"/>
              <a:gd name="T17" fmla="*/ 244 h 244"/>
              <a:gd name="T18" fmla="*/ 69 w 136"/>
              <a:gd name="T19" fmla="*/ 239 h 244"/>
              <a:gd name="T20" fmla="*/ 68 w 136"/>
              <a:gd name="T21" fmla="*/ 237 h 244"/>
              <a:gd name="T22" fmla="*/ 72 w 136"/>
              <a:gd name="T23" fmla="*/ 102 h 244"/>
              <a:gd name="T24" fmla="*/ 69 w 136"/>
              <a:gd name="T25" fmla="*/ 94 h 244"/>
              <a:gd name="T26" fmla="*/ 74 w 136"/>
              <a:gd name="T27" fmla="*/ 176 h 244"/>
              <a:gd name="T28" fmla="*/ 66 w 136"/>
              <a:gd name="T29" fmla="*/ 208 h 244"/>
              <a:gd name="T30" fmla="*/ 65 w 136"/>
              <a:gd name="T31" fmla="*/ 209 h 244"/>
              <a:gd name="T32" fmla="*/ 64 w 136"/>
              <a:gd name="T33" fmla="*/ 209 h 244"/>
              <a:gd name="T34" fmla="*/ 26 w 136"/>
              <a:gd name="T35" fmla="*/ 188 h 244"/>
              <a:gd name="T36" fmla="*/ 6 w 136"/>
              <a:gd name="T37" fmla="*/ 149 h 244"/>
              <a:gd name="T38" fmla="*/ 0 w 136"/>
              <a:gd name="T39" fmla="*/ 103 h 244"/>
              <a:gd name="T40" fmla="*/ 2 w 136"/>
              <a:gd name="T41" fmla="*/ 81 h 244"/>
              <a:gd name="T42" fmla="*/ 8 w 136"/>
              <a:gd name="T43" fmla="*/ 58 h 244"/>
              <a:gd name="T44" fmla="*/ 13 w 136"/>
              <a:gd name="T45" fmla="*/ 29 h 244"/>
              <a:gd name="T46" fmla="*/ 10 w 136"/>
              <a:gd name="T47" fmla="*/ 2 h 244"/>
              <a:gd name="T48" fmla="*/ 12 w 136"/>
              <a:gd name="T49" fmla="*/ 0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36" h="244">
                <a:moveTo>
                  <a:pt x="12" y="0"/>
                </a:moveTo>
                <a:cubicBezTo>
                  <a:pt x="12" y="0"/>
                  <a:pt x="12" y="0"/>
                  <a:pt x="13" y="0"/>
                </a:cubicBezTo>
                <a:cubicBezTo>
                  <a:pt x="32" y="10"/>
                  <a:pt x="51" y="22"/>
                  <a:pt x="69" y="34"/>
                </a:cubicBezTo>
                <a:cubicBezTo>
                  <a:pt x="85" y="45"/>
                  <a:pt x="100" y="56"/>
                  <a:pt x="112" y="72"/>
                </a:cubicBezTo>
                <a:cubicBezTo>
                  <a:pt x="124" y="87"/>
                  <a:pt x="129" y="106"/>
                  <a:pt x="133" y="125"/>
                </a:cubicBezTo>
                <a:cubicBezTo>
                  <a:pt x="136" y="142"/>
                  <a:pt x="135" y="159"/>
                  <a:pt x="127" y="174"/>
                </a:cubicBezTo>
                <a:cubicBezTo>
                  <a:pt x="119" y="189"/>
                  <a:pt x="105" y="202"/>
                  <a:pt x="89" y="208"/>
                </a:cubicBezTo>
                <a:cubicBezTo>
                  <a:pt x="87" y="220"/>
                  <a:pt x="85" y="232"/>
                  <a:pt x="81" y="243"/>
                </a:cubicBezTo>
                <a:cubicBezTo>
                  <a:pt x="81" y="244"/>
                  <a:pt x="80" y="244"/>
                  <a:pt x="79" y="244"/>
                </a:cubicBezTo>
                <a:cubicBezTo>
                  <a:pt x="76" y="243"/>
                  <a:pt x="72" y="241"/>
                  <a:pt x="69" y="239"/>
                </a:cubicBezTo>
                <a:cubicBezTo>
                  <a:pt x="68" y="239"/>
                  <a:pt x="68" y="238"/>
                  <a:pt x="68" y="237"/>
                </a:cubicBezTo>
                <a:cubicBezTo>
                  <a:pt x="85" y="195"/>
                  <a:pt x="86" y="146"/>
                  <a:pt x="72" y="102"/>
                </a:cubicBezTo>
                <a:cubicBezTo>
                  <a:pt x="71" y="100"/>
                  <a:pt x="70" y="97"/>
                  <a:pt x="69" y="94"/>
                </a:cubicBezTo>
                <a:cubicBezTo>
                  <a:pt x="76" y="121"/>
                  <a:pt x="78" y="149"/>
                  <a:pt x="74" y="176"/>
                </a:cubicBezTo>
                <a:cubicBezTo>
                  <a:pt x="72" y="187"/>
                  <a:pt x="69" y="197"/>
                  <a:pt x="66" y="208"/>
                </a:cubicBezTo>
                <a:cubicBezTo>
                  <a:pt x="66" y="208"/>
                  <a:pt x="65" y="208"/>
                  <a:pt x="65" y="209"/>
                </a:cubicBezTo>
                <a:cubicBezTo>
                  <a:pt x="65" y="209"/>
                  <a:pt x="64" y="209"/>
                  <a:pt x="64" y="209"/>
                </a:cubicBezTo>
                <a:cubicBezTo>
                  <a:pt x="50" y="205"/>
                  <a:pt x="36" y="198"/>
                  <a:pt x="26" y="188"/>
                </a:cubicBezTo>
                <a:cubicBezTo>
                  <a:pt x="15" y="177"/>
                  <a:pt x="9" y="164"/>
                  <a:pt x="6" y="149"/>
                </a:cubicBezTo>
                <a:cubicBezTo>
                  <a:pt x="2" y="134"/>
                  <a:pt x="0" y="119"/>
                  <a:pt x="0" y="103"/>
                </a:cubicBezTo>
                <a:cubicBezTo>
                  <a:pt x="0" y="96"/>
                  <a:pt x="0" y="88"/>
                  <a:pt x="2" y="81"/>
                </a:cubicBezTo>
                <a:cubicBezTo>
                  <a:pt x="3" y="73"/>
                  <a:pt x="5" y="65"/>
                  <a:pt x="8" y="58"/>
                </a:cubicBezTo>
                <a:cubicBezTo>
                  <a:pt x="10" y="48"/>
                  <a:pt x="13" y="39"/>
                  <a:pt x="13" y="29"/>
                </a:cubicBezTo>
                <a:cubicBezTo>
                  <a:pt x="13" y="20"/>
                  <a:pt x="12" y="11"/>
                  <a:pt x="10" y="2"/>
                </a:cubicBezTo>
                <a:cubicBezTo>
                  <a:pt x="10" y="1"/>
                  <a:pt x="11" y="0"/>
                  <a:pt x="12" y="0"/>
                </a:cubicBezTo>
                <a:close/>
              </a:path>
            </a:pathLst>
          </a:custGeom>
          <a:solidFill>
            <a:srgbClr val="278D8E"/>
          </a:solidFill>
          <a:ln w="1270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5" name="Freeform 14">
            <a:extLst>
              <a:ext uri="{FF2B5EF4-FFF2-40B4-BE49-F238E27FC236}">
                <a16:creationId xmlns:a16="http://schemas.microsoft.com/office/drawing/2014/main" id="{DC340F09-B3C7-4242-AE63-255CA36943A5}"/>
              </a:ext>
            </a:extLst>
          </p:cNvPr>
          <p:cNvSpPr>
            <a:spLocks/>
          </p:cNvSpPr>
          <p:nvPr/>
        </p:nvSpPr>
        <p:spPr bwMode="auto">
          <a:xfrm>
            <a:off x="1952150" y="3143025"/>
            <a:ext cx="309788" cy="558299"/>
          </a:xfrm>
          <a:custGeom>
            <a:avLst/>
            <a:gdLst>
              <a:gd name="T0" fmla="*/ 12 w 136"/>
              <a:gd name="T1" fmla="*/ 0 h 245"/>
              <a:gd name="T2" fmla="*/ 13 w 136"/>
              <a:gd name="T3" fmla="*/ 0 h 245"/>
              <a:gd name="T4" fmla="*/ 69 w 136"/>
              <a:gd name="T5" fmla="*/ 34 h 245"/>
              <a:gd name="T6" fmla="*/ 112 w 136"/>
              <a:gd name="T7" fmla="*/ 72 h 245"/>
              <a:gd name="T8" fmla="*/ 133 w 136"/>
              <a:gd name="T9" fmla="*/ 126 h 245"/>
              <a:gd name="T10" fmla="*/ 127 w 136"/>
              <a:gd name="T11" fmla="*/ 174 h 245"/>
              <a:gd name="T12" fmla="*/ 89 w 136"/>
              <a:gd name="T13" fmla="*/ 208 h 245"/>
              <a:gd name="T14" fmla="*/ 81 w 136"/>
              <a:gd name="T15" fmla="*/ 244 h 245"/>
              <a:gd name="T16" fmla="*/ 79 w 136"/>
              <a:gd name="T17" fmla="*/ 244 h 245"/>
              <a:gd name="T18" fmla="*/ 69 w 136"/>
              <a:gd name="T19" fmla="*/ 240 h 245"/>
              <a:gd name="T20" fmla="*/ 68 w 136"/>
              <a:gd name="T21" fmla="*/ 238 h 245"/>
              <a:gd name="T22" fmla="*/ 72 w 136"/>
              <a:gd name="T23" fmla="*/ 103 h 245"/>
              <a:gd name="T24" fmla="*/ 69 w 136"/>
              <a:gd name="T25" fmla="*/ 94 h 245"/>
              <a:gd name="T26" fmla="*/ 74 w 136"/>
              <a:gd name="T27" fmla="*/ 176 h 245"/>
              <a:gd name="T28" fmla="*/ 66 w 136"/>
              <a:gd name="T29" fmla="*/ 208 h 245"/>
              <a:gd name="T30" fmla="*/ 65 w 136"/>
              <a:gd name="T31" fmla="*/ 209 h 245"/>
              <a:gd name="T32" fmla="*/ 64 w 136"/>
              <a:gd name="T33" fmla="*/ 209 h 245"/>
              <a:gd name="T34" fmla="*/ 26 w 136"/>
              <a:gd name="T35" fmla="*/ 188 h 245"/>
              <a:gd name="T36" fmla="*/ 6 w 136"/>
              <a:gd name="T37" fmla="*/ 149 h 245"/>
              <a:gd name="T38" fmla="*/ 0 w 136"/>
              <a:gd name="T39" fmla="*/ 104 h 245"/>
              <a:gd name="T40" fmla="*/ 2 w 136"/>
              <a:gd name="T41" fmla="*/ 81 h 245"/>
              <a:gd name="T42" fmla="*/ 8 w 136"/>
              <a:gd name="T43" fmla="*/ 58 h 245"/>
              <a:gd name="T44" fmla="*/ 13 w 136"/>
              <a:gd name="T45" fmla="*/ 29 h 245"/>
              <a:gd name="T46" fmla="*/ 10 w 136"/>
              <a:gd name="T47" fmla="*/ 2 h 245"/>
              <a:gd name="T48" fmla="*/ 12 w 136"/>
              <a:gd name="T49" fmla="*/ 0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36" h="245">
                <a:moveTo>
                  <a:pt x="12" y="0"/>
                </a:moveTo>
                <a:cubicBezTo>
                  <a:pt x="12" y="0"/>
                  <a:pt x="12" y="0"/>
                  <a:pt x="13" y="0"/>
                </a:cubicBezTo>
                <a:cubicBezTo>
                  <a:pt x="32" y="11"/>
                  <a:pt x="51" y="22"/>
                  <a:pt x="69" y="34"/>
                </a:cubicBezTo>
                <a:cubicBezTo>
                  <a:pt x="85" y="45"/>
                  <a:pt x="100" y="57"/>
                  <a:pt x="112" y="72"/>
                </a:cubicBezTo>
                <a:cubicBezTo>
                  <a:pt x="124" y="88"/>
                  <a:pt x="129" y="107"/>
                  <a:pt x="133" y="126"/>
                </a:cubicBezTo>
                <a:cubicBezTo>
                  <a:pt x="136" y="142"/>
                  <a:pt x="135" y="159"/>
                  <a:pt x="127" y="174"/>
                </a:cubicBezTo>
                <a:cubicBezTo>
                  <a:pt x="119" y="190"/>
                  <a:pt x="105" y="202"/>
                  <a:pt x="89" y="208"/>
                </a:cubicBezTo>
                <a:cubicBezTo>
                  <a:pt x="87" y="220"/>
                  <a:pt x="85" y="232"/>
                  <a:pt x="81" y="244"/>
                </a:cubicBezTo>
                <a:cubicBezTo>
                  <a:pt x="81" y="244"/>
                  <a:pt x="80" y="245"/>
                  <a:pt x="79" y="244"/>
                </a:cubicBezTo>
                <a:cubicBezTo>
                  <a:pt x="76" y="243"/>
                  <a:pt x="72" y="242"/>
                  <a:pt x="69" y="240"/>
                </a:cubicBezTo>
                <a:cubicBezTo>
                  <a:pt x="68" y="239"/>
                  <a:pt x="68" y="238"/>
                  <a:pt x="68" y="238"/>
                </a:cubicBezTo>
                <a:cubicBezTo>
                  <a:pt x="85" y="195"/>
                  <a:pt x="86" y="146"/>
                  <a:pt x="72" y="103"/>
                </a:cubicBezTo>
                <a:cubicBezTo>
                  <a:pt x="71" y="100"/>
                  <a:pt x="70" y="97"/>
                  <a:pt x="69" y="94"/>
                </a:cubicBezTo>
                <a:cubicBezTo>
                  <a:pt x="76" y="121"/>
                  <a:pt x="78" y="149"/>
                  <a:pt x="74" y="176"/>
                </a:cubicBezTo>
                <a:cubicBezTo>
                  <a:pt x="72" y="187"/>
                  <a:pt x="69" y="198"/>
                  <a:pt x="66" y="208"/>
                </a:cubicBezTo>
                <a:cubicBezTo>
                  <a:pt x="66" y="208"/>
                  <a:pt x="65" y="209"/>
                  <a:pt x="65" y="209"/>
                </a:cubicBezTo>
                <a:cubicBezTo>
                  <a:pt x="65" y="209"/>
                  <a:pt x="64" y="209"/>
                  <a:pt x="64" y="209"/>
                </a:cubicBezTo>
                <a:cubicBezTo>
                  <a:pt x="50" y="205"/>
                  <a:pt x="36" y="198"/>
                  <a:pt x="26" y="188"/>
                </a:cubicBezTo>
                <a:cubicBezTo>
                  <a:pt x="15" y="177"/>
                  <a:pt x="9" y="164"/>
                  <a:pt x="6" y="149"/>
                </a:cubicBezTo>
                <a:cubicBezTo>
                  <a:pt x="2" y="134"/>
                  <a:pt x="0" y="119"/>
                  <a:pt x="0" y="104"/>
                </a:cubicBezTo>
                <a:cubicBezTo>
                  <a:pt x="0" y="96"/>
                  <a:pt x="0" y="88"/>
                  <a:pt x="2" y="81"/>
                </a:cubicBezTo>
                <a:cubicBezTo>
                  <a:pt x="3" y="73"/>
                  <a:pt x="5" y="65"/>
                  <a:pt x="8" y="58"/>
                </a:cubicBezTo>
                <a:cubicBezTo>
                  <a:pt x="10" y="49"/>
                  <a:pt x="13" y="39"/>
                  <a:pt x="13" y="29"/>
                </a:cubicBezTo>
                <a:cubicBezTo>
                  <a:pt x="13" y="20"/>
                  <a:pt x="12" y="11"/>
                  <a:pt x="10" y="2"/>
                </a:cubicBezTo>
                <a:cubicBezTo>
                  <a:pt x="10" y="1"/>
                  <a:pt x="11" y="0"/>
                  <a:pt x="12" y="0"/>
                </a:cubicBezTo>
                <a:close/>
              </a:path>
            </a:pathLst>
          </a:custGeom>
          <a:solidFill>
            <a:schemeClr val="accent4">
              <a:lumMod val="60000"/>
              <a:lumOff val="40000"/>
            </a:schemeClr>
          </a:solidFill>
          <a:ln w="1270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6" name="Freeform 15">
            <a:extLst>
              <a:ext uri="{FF2B5EF4-FFF2-40B4-BE49-F238E27FC236}">
                <a16:creationId xmlns:a16="http://schemas.microsoft.com/office/drawing/2014/main" id="{941D990C-F9A1-4837-8C9C-E7DB970EA405}"/>
              </a:ext>
            </a:extLst>
          </p:cNvPr>
          <p:cNvSpPr>
            <a:spLocks/>
          </p:cNvSpPr>
          <p:nvPr/>
        </p:nvSpPr>
        <p:spPr bwMode="auto">
          <a:xfrm>
            <a:off x="1174275" y="2959196"/>
            <a:ext cx="527660" cy="325107"/>
          </a:xfrm>
          <a:custGeom>
            <a:avLst/>
            <a:gdLst>
              <a:gd name="T0" fmla="*/ 1 w 231"/>
              <a:gd name="T1" fmla="*/ 32 h 143"/>
              <a:gd name="T2" fmla="*/ 1 w 231"/>
              <a:gd name="T3" fmla="*/ 31 h 143"/>
              <a:gd name="T4" fmla="*/ 63 w 231"/>
              <a:gd name="T5" fmla="*/ 10 h 143"/>
              <a:gd name="T6" fmla="*/ 120 w 231"/>
              <a:gd name="T7" fmla="*/ 1 h 143"/>
              <a:gd name="T8" fmla="*/ 174 w 231"/>
              <a:gd name="T9" fmla="*/ 20 h 143"/>
              <a:gd name="T10" fmla="*/ 207 w 231"/>
              <a:gd name="T11" fmla="*/ 56 h 143"/>
              <a:gd name="T12" fmla="*/ 209 w 231"/>
              <a:gd name="T13" fmla="*/ 107 h 143"/>
              <a:gd name="T14" fmla="*/ 231 w 231"/>
              <a:gd name="T15" fmla="*/ 136 h 143"/>
              <a:gd name="T16" fmla="*/ 231 w 231"/>
              <a:gd name="T17" fmla="*/ 137 h 143"/>
              <a:gd name="T18" fmla="*/ 220 w 231"/>
              <a:gd name="T19" fmla="*/ 142 h 143"/>
              <a:gd name="T20" fmla="*/ 218 w 231"/>
              <a:gd name="T21" fmla="*/ 142 h 143"/>
              <a:gd name="T22" fmla="*/ 118 w 231"/>
              <a:gd name="T23" fmla="*/ 51 h 143"/>
              <a:gd name="T24" fmla="*/ 110 w 231"/>
              <a:gd name="T25" fmla="*/ 48 h 143"/>
              <a:gd name="T26" fmla="*/ 175 w 231"/>
              <a:gd name="T27" fmla="*/ 98 h 143"/>
              <a:gd name="T28" fmla="*/ 194 w 231"/>
              <a:gd name="T29" fmla="*/ 124 h 143"/>
              <a:gd name="T30" fmla="*/ 194 w 231"/>
              <a:gd name="T31" fmla="*/ 125 h 143"/>
              <a:gd name="T32" fmla="*/ 194 w 231"/>
              <a:gd name="T33" fmla="*/ 127 h 143"/>
              <a:gd name="T34" fmla="*/ 153 w 231"/>
              <a:gd name="T35" fmla="*/ 142 h 143"/>
              <a:gd name="T36" fmla="*/ 111 w 231"/>
              <a:gd name="T37" fmla="*/ 132 h 143"/>
              <a:gd name="T38" fmla="*/ 72 w 231"/>
              <a:gd name="T39" fmla="*/ 107 h 143"/>
              <a:gd name="T40" fmla="*/ 56 w 231"/>
              <a:gd name="T41" fmla="*/ 91 h 143"/>
              <a:gd name="T42" fmla="*/ 42 w 231"/>
              <a:gd name="T43" fmla="*/ 72 h 143"/>
              <a:gd name="T44" fmla="*/ 23 w 231"/>
              <a:gd name="T45" fmla="*/ 50 h 143"/>
              <a:gd name="T46" fmla="*/ 1 w 231"/>
              <a:gd name="T47" fmla="*/ 34 h 143"/>
              <a:gd name="T48" fmla="*/ 1 w 231"/>
              <a:gd name="T49" fmla="*/ 32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31" h="143">
                <a:moveTo>
                  <a:pt x="1" y="32"/>
                </a:moveTo>
                <a:cubicBezTo>
                  <a:pt x="1" y="31"/>
                  <a:pt x="1" y="31"/>
                  <a:pt x="1" y="31"/>
                </a:cubicBezTo>
                <a:cubicBezTo>
                  <a:pt x="22" y="22"/>
                  <a:pt x="42" y="15"/>
                  <a:pt x="63" y="10"/>
                </a:cubicBezTo>
                <a:cubicBezTo>
                  <a:pt x="82" y="5"/>
                  <a:pt x="101" y="0"/>
                  <a:pt x="120" y="1"/>
                </a:cubicBezTo>
                <a:cubicBezTo>
                  <a:pt x="139" y="2"/>
                  <a:pt x="157" y="10"/>
                  <a:pt x="174" y="20"/>
                </a:cubicBezTo>
                <a:cubicBezTo>
                  <a:pt x="189" y="28"/>
                  <a:pt x="201" y="40"/>
                  <a:pt x="207" y="56"/>
                </a:cubicBezTo>
                <a:cubicBezTo>
                  <a:pt x="214" y="72"/>
                  <a:pt x="215" y="90"/>
                  <a:pt x="209" y="107"/>
                </a:cubicBezTo>
                <a:cubicBezTo>
                  <a:pt x="218" y="116"/>
                  <a:pt x="225" y="125"/>
                  <a:pt x="231" y="136"/>
                </a:cubicBezTo>
                <a:cubicBezTo>
                  <a:pt x="231" y="136"/>
                  <a:pt x="231" y="137"/>
                  <a:pt x="231" y="137"/>
                </a:cubicBezTo>
                <a:cubicBezTo>
                  <a:pt x="227" y="139"/>
                  <a:pt x="224" y="141"/>
                  <a:pt x="220" y="142"/>
                </a:cubicBezTo>
                <a:cubicBezTo>
                  <a:pt x="219" y="143"/>
                  <a:pt x="219" y="142"/>
                  <a:pt x="218" y="142"/>
                </a:cubicBezTo>
                <a:cubicBezTo>
                  <a:pt x="196" y="101"/>
                  <a:pt x="160" y="69"/>
                  <a:pt x="118" y="51"/>
                </a:cubicBezTo>
                <a:cubicBezTo>
                  <a:pt x="115" y="50"/>
                  <a:pt x="112" y="49"/>
                  <a:pt x="110" y="48"/>
                </a:cubicBezTo>
                <a:cubicBezTo>
                  <a:pt x="135" y="60"/>
                  <a:pt x="157" y="77"/>
                  <a:pt x="175" y="98"/>
                </a:cubicBezTo>
                <a:cubicBezTo>
                  <a:pt x="182" y="106"/>
                  <a:pt x="188" y="115"/>
                  <a:pt x="194" y="124"/>
                </a:cubicBezTo>
                <a:cubicBezTo>
                  <a:pt x="194" y="124"/>
                  <a:pt x="194" y="125"/>
                  <a:pt x="194" y="125"/>
                </a:cubicBezTo>
                <a:cubicBezTo>
                  <a:pt x="194" y="126"/>
                  <a:pt x="194" y="126"/>
                  <a:pt x="194" y="127"/>
                </a:cubicBezTo>
                <a:cubicBezTo>
                  <a:pt x="182" y="135"/>
                  <a:pt x="168" y="140"/>
                  <a:pt x="153" y="142"/>
                </a:cubicBezTo>
                <a:cubicBezTo>
                  <a:pt x="138" y="143"/>
                  <a:pt x="124" y="139"/>
                  <a:pt x="111" y="132"/>
                </a:cubicBezTo>
                <a:cubicBezTo>
                  <a:pt x="97" y="125"/>
                  <a:pt x="84" y="117"/>
                  <a:pt x="72" y="107"/>
                </a:cubicBezTo>
                <a:cubicBezTo>
                  <a:pt x="66" y="102"/>
                  <a:pt x="60" y="97"/>
                  <a:pt x="56" y="91"/>
                </a:cubicBezTo>
                <a:cubicBezTo>
                  <a:pt x="50" y="85"/>
                  <a:pt x="46" y="78"/>
                  <a:pt x="42" y="72"/>
                </a:cubicBezTo>
                <a:cubicBezTo>
                  <a:pt x="36" y="64"/>
                  <a:pt x="31" y="56"/>
                  <a:pt x="23" y="50"/>
                </a:cubicBezTo>
                <a:cubicBezTo>
                  <a:pt x="16" y="44"/>
                  <a:pt x="9" y="39"/>
                  <a:pt x="1" y="34"/>
                </a:cubicBezTo>
                <a:cubicBezTo>
                  <a:pt x="0" y="33"/>
                  <a:pt x="0" y="32"/>
                  <a:pt x="1" y="32"/>
                </a:cubicBezTo>
                <a:close/>
              </a:path>
            </a:pathLst>
          </a:custGeom>
          <a:solidFill>
            <a:schemeClr val="accent6">
              <a:lumMod val="60000"/>
              <a:lumOff val="40000"/>
            </a:schemeClr>
          </a:solidFill>
          <a:ln w="1270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7" name="Freeform 16">
            <a:extLst>
              <a:ext uri="{FF2B5EF4-FFF2-40B4-BE49-F238E27FC236}">
                <a16:creationId xmlns:a16="http://schemas.microsoft.com/office/drawing/2014/main" id="{3A00454F-1A9A-4983-9E4E-02AAF12331F6}"/>
              </a:ext>
            </a:extLst>
          </p:cNvPr>
          <p:cNvSpPr>
            <a:spLocks/>
          </p:cNvSpPr>
          <p:nvPr/>
        </p:nvSpPr>
        <p:spPr bwMode="auto">
          <a:xfrm>
            <a:off x="534276" y="4470685"/>
            <a:ext cx="553193" cy="311491"/>
          </a:xfrm>
          <a:custGeom>
            <a:avLst/>
            <a:gdLst>
              <a:gd name="T0" fmla="*/ 0 w 243"/>
              <a:gd name="T1" fmla="*/ 125 h 137"/>
              <a:gd name="T2" fmla="*/ 0 w 243"/>
              <a:gd name="T3" fmla="*/ 124 h 137"/>
              <a:gd name="T4" fmla="*/ 33 w 243"/>
              <a:gd name="T5" fmla="*/ 68 h 137"/>
              <a:gd name="T6" fmla="*/ 71 w 243"/>
              <a:gd name="T7" fmla="*/ 25 h 137"/>
              <a:gd name="T8" fmla="*/ 124 w 243"/>
              <a:gd name="T9" fmla="*/ 3 h 137"/>
              <a:gd name="T10" fmla="*/ 173 w 243"/>
              <a:gd name="T11" fmla="*/ 9 h 137"/>
              <a:gd name="T12" fmla="*/ 207 w 243"/>
              <a:gd name="T13" fmla="*/ 47 h 137"/>
              <a:gd name="T14" fmla="*/ 243 w 243"/>
              <a:gd name="T15" fmla="*/ 55 h 137"/>
              <a:gd name="T16" fmla="*/ 243 w 243"/>
              <a:gd name="T17" fmla="*/ 56 h 137"/>
              <a:gd name="T18" fmla="*/ 239 w 243"/>
              <a:gd name="T19" fmla="*/ 67 h 137"/>
              <a:gd name="T20" fmla="*/ 237 w 243"/>
              <a:gd name="T21" fmla="*/ 68 h 137"/>
              <a:gd name="T22" fmla="*/ 101 w 243"/>
              <a:gd name="T23" fmla="*/ 64 h 137"/>
              <a:gd name="T24" fmla="*/ 93 w 243"/>
              <a:gd name="T25" fmla="*/ 67 h 137"/>
              <a:gd name="T26" fmla="*/ 175 w 243"/>
              <a:gd name="T27" fmla="*/ 63 h 137"/>
              <a:gd name="T28" fmla="*/ 207 w 243"/>
              <a:gd name="T29" fmla="*/ 70 h 137"/>
              <a:gd name="T30" fmla="*/ 208 w 243"/>
              <a:gd name="T31" fmla="*/ 71 h 137"/>
              <a:gd name="T32" fmla="*/ 208 w 243"/>
              <a:gd name="T33" fmla="*/ 72 h 137"/>
              <a:gd name="T34" fmla="*/ 187 w 243"/>
              <a:gd name="T35" fmla="*/ 110 h 137"/>
              <a:gd name="T36" fmla="*/ 149 w 243"/>
              <a:gd name="T37" fmla="*/ 130 h 137"/>
              <a:gd name="T38" fmla="*/ 103 w 243"/>
              <a:gd name="T39" fmla="*/ 137 h 137"/>
              <a:gd name="T40" fmla="*/ 80 w 243"/>
              <a:gd name="T41" fmla="*/ 135 h 137"/>
              <a:gd name="T42" fmla="*/ 57 w 243"/>
              <a:gd name="T43" fmla="*/ 129 h 137"/>
              <a:gd name="T44" fmla="*/ 29 w 243"/>
              <a:gd name="T45" fmla="*/ 124 h 137"/>
              <a:gd name="T46" fmla="*/ 1 w 243"/>
              <a:gd name="T47" fmla="*/ 127 h 137"/>
              <a:gd name="T48" fmla="*/ 0 w 243"/>
              <a:gd name="T49" fmla="*/ 125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43" h="137">
                <a:moveTo>
                  <a:pt x="0" y="125"/>
                </a:moveTo>
                <a:cubicBezTo>
                  <a:pt x="0" y="125"/>
                  <a:pt x="0" y="124"/>
                  <a:pt x="0" y="124"/>
                </a:cubicBezTo>
                <a:cubicBezTo>
                  <a:pt x="10" y="105"/>
                  <a:pt x="21" y="86"/>
                  <a:pt x="33" y="68"/>
                </a:cubicBezTo>
                <a:cubicBezTo>
                  <a:pt x="44" y="52"/>
                  <a:pt x="56" y="37"/>
                  <a:pt x="71" y="25"/>
                </a:cubicBezTo>
                <a:cubicBezTo>
                  <a:pt x="86" y="13"/>
                  <a:pt x="105" y="7"/>
                  <a:pt x="124" y="3"/>
                </a:cubicBezTo>
                <a:cubicBezTo>
                  <a:pt x="141" y="0"/>
                  <a:pt x="158" y="2"/>
                  <a:pt x="173" y="9"/>
                </a:cubicBezTo>
                <a:cubicBezTo>
                  <a:pt x="188" y="17"/>
                  <a:pt x="201" y="31"/>
                  <a:pt x="207" y="47"/>
                </a:cubicBezTo>
                <a:cubicBezTo>
                  <a:pt x="219" y="48"/>
                  <a:pt x="231" y="51"/>
                  <a:pt x="243" y="55"/>
                </a:cubicBezTo>
                <a:cubicBezTo>
                  <a:pt x="243" y="55"/>
                  <a:pt x="243" y="56"/>
                  <a:pt x="243" y="56"/>
                </a:cubicBezTo>
                <a:cubicBezTo>
                  <a:pt x="242" y="60"/>
                  <a:pt x="241" y="64"/>
                  <a:pt x="239" y="67"/>
                </a:cubicBezTo>
                <a:cubicBezTo>
                  <a:pt x="238" y="68"/>
                  <a:pt x="237" y="68"/>
                  <a:pt x="237" y="68"/>
                </a:cubicBezTo>
                <a:cubicBezTo>
                  <a:pt x="194" y="51"/>
                  <a:pt x="145" y="50"/>
                  <a:pt x="101" y="64"/>
                </a:cubicBezTo>
                <a:cubicBezTo>
                  <a:pt x="99" y="65"/>
                  <a:pt x="96" y="66"/>
                  <a:pt x="93" y="67"/>
                </a:cubicBezTo>
                <a:cubicBezTo>
                  <a:pt x="120" y="60"/>
                  <a:pt x="148" y="58"/>
                  <a:pt x="175" y="63"/>
                </a:cubicBezTo>
                <a:cubicBezTo>
                  <a:pt x="186" y="64"/>
                  <a:pt x="197" y="67"/>
                  <a:pt x="207" y="70"/>
                </a:cubicBezTo>
                <a:cubicBezTo>
                  <a:pt x="207" y="70"/>
                  <a:pt x="208" y="71"/>
                  <a:pt x="208" y="71"/>
                </a:cubicBezTo>
                <a:cubicBezTo>
                  <a:pt x="208" y="71"/>
                  <a:pt x="208" y="72"/>
                  <a:pt x="208" y="72"/>
                </a:cubicBezTo>
                <a:cubicBezTo>
                  <a:pt x="204" y="86"/>
                  <a:pt x="197" y="100"/>
                  <a:pt x="187" y="110"/>
                </a:cubicBezTo>
                <a:cubicBezTo>
                  <a:pt x="177" y="121"/>
                  <a:pt x="163" y="127"/>
                  <a:pt x="149" y="130"/>
                </a:cubicBezTo>
                <a:cubicBezTo>
                  <a:pt x="134" y="134"/>
                  <a:pt x="118" y="137"/>
                  <a:pt x="103" y="137"/>
                </a:cubicBezTo>
                <a:cubicBezTo>
                  <a:pt x="95" y="137"/>
                  <a:pt x="88" y="136"/>
                  <a:pt x="80" y="135"/>
                </a:cubicBezTo>
                <a:cubicBezTo>
                  <a:pt x="72" y="134"/>
                  <a:pt x="65" y="131"/>
                  <a:pt x="57" y="129"/>
                </a:cubicBezTo>
                <a:cubicBezTo>
                  <a:pt x="48" y="126"/>
                  <a:pt x="38" y="124"/>
                  <a:pt x="29" y="124"/>
                </a:cubicBezTo>
                <a:cubicBezTo>
                  <a:pt x="19" y="124"/>
                  <a:pt x="10" y="125"/>
                  <a:pt x="1" y="127"/>
                </a:cubicBezTo>
                <a:cubicBezTo>
                  <a:pt x="0" y="127"/>
                  <a:pt x="0" y="126"/>
                  <a:pt x="0" y="125"/>
                </a:cubicBezTo>
                <a:close/>
              </a:path>
            </a:pathLst>
          </a:custGeom>
          <a:solidFill>
            <a:schemeClr val="accent6">
              <a:lumMod val="60000"/>
              <a:lumOff val="40000"/>
            </a:schemeClr>
          </a:solidFill>
          <a:ln w="1270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8" name="Freeform 17">
            <a:extLst>
              <a:ext uri="{FF2B5EF4-FFF2-40B4-BE49-F238E27FC236}">
                <a16:creationId xmlns:a16="http://schemas.microsoft.com/office/drawing/2014/main" id="{5F8CABEE-8732-4E95-BA37-2D41677844D2}"/>
              </a:ext>
            </a:extLst>
          </p:cNvPr>
          <p:cNvSpPr>
            <a:spLocks/>
          </p:cNvSpPr>
          <p:nvPr/>
        </p:nvSpPr>
        <p:spPr bwMode="auto">
          <a:xfrm>
            <a:off x="187041" y="4055368"/>
            <a:ext cx="577023" cy="297873"/>
          </a:xfrm>
          <a:custGeom>
            <a:avLst/>
            <a:gdLst>
              <a:gd name="T0" fmla="*/ 0 w 253"/>
              <a:gd name="T1" fmla="*/ 86 h 131"/>
              <a:gd name="T2" fmla="*/ 0 w 253"/>
              <a:gd name="T3" fmla="*/ 85 h 131"/>
              <a:gd name="T4" fmla="*/ 47 w 253"/>
              <a:gd name="T5" fmla="*/ 40 h 131"/>
              <a:gd name="T6" fmla="*/ 95 w 253"/>
              <a:gd name="T7" fmla="*/ 8 h 131"/>
              <a:gd name="T8" fmla="*/ 152 w 253"/>
              <a:gd name="T9" fmla="*/ 2 h 131"/>
              <a:gd name="T10" fmla="*/ 197 w 253"/>
              <a:gd name="T11" fmla="*/ 20 h 131"/>
              <a:gd name="T12" fmla="*/ 221 w 253"/>
              <a:gd name="T13" fmla="*/ 66 h 131"/>
              <a:gd name="T14" fmla="*/ 253 w 253"/>
              <a:gd name="T15" fmla="*/ 82 h 131"/>
              <a:gd name="T16" fmla="*/ 253 w 253"/>
              <a:gd name="T17" fmla="*/ 84 h 131"/>
              <a:gd name="T18" fmla="*/ 246 w 253"/>
              <a:gd name="T19" fmla="*/ 93 h 131"/>
              <a:gd name="T20" fmla="*/ 244 w 253"/>
              <a:gd name="T21" fmla="*/ 93 h 131"/>
              <a:gd name="T22" fmla="*/ 114 w 253"/>
              <a:gd name="T23" fmla="*/ 54 h 131"/>
              <a:gd name="T24" fmla="*/ 106 w 253"/>
              <a:gd name="T25" fmla="*/ 55 h 131"/>
              <a:gd name="T26" fmla="*/ 186 w 253"/>
              <a:gd name="T27" fmla="*/ 72 h 131"/>
              <a:gd name="T28" fmla="*/ 214 w 253"/>
              <a:gd name="T29" fmla="*/ 88 h 131"/>
              <a:gd name="T30" fmla="*/ 215 w 253"/>
              <a:gd name="T31" fmla="*/ 89 h 131"/>
              <a:gd name="T32" fmla="*/ 215 w 253"/>
              <a:gd name="T33" fmla="*/ 90 h 131"/>
              <a:gd name="T34" fmla="*/ 185 w 253"/>
              <a:gd name="T35" fmla="*/ 121 h 131"/>
              <a:gd name="T36" fmla="*/ 142 w 253"/>
              <a:gd name="T37" fmla="*/ 131 h 131"/>
              <a:gd name="T38" fmla="*/ 96 w 253"/>
              <a:gd name="T39" fmla="*/ 124 h 131"/>
              <a:gd name="T40" fmla="*/ 75 w 253"/>
              <a:gd name="T41" fmla="*/ 117 h 131"/>
              <a:gd name="T42" fmla="*/ 54 w 253"/>
              <a:gd name="T43" fmla="*/ 105 h 131"/>
              <a:gd name="T44" fmla="*/ 28 w 253"/>
              <a:gd name="T45" fmla="*/ 93 h 131"/>
              <a:gd name="T46" fmla="*/ 1 w 253"/>
              <a:gd name="T47" fmla="*/ 88 h 131"/>
              <a:gd name="T48" fmla="*/ 0 w 253"/>
              <a:gd name="T49" fmla="*/ 86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53" h="131">
                <a:moveTo>
                  <a:pt x="0" y="86"/>
                </a:moveTo>
                <a:cubicBezTo>
                  <a:pt x="0" y="86"/>
                  <a:pt x="0" y="86"/>
                  <a:pt x="0" y="85"/>
                </a:cubicBezTo>
                <a:cubicBezTo>
                  <a:pt x="15" y="69"/>
                  <a:pt x="31" y="54"/>
                  <a:pt x="47" y="40"/>
                </a:cubicBezTo>
                <a:cubicBezTo>
                  <a:pt x="62" y="27"/>
                  <a:pt x="77" y="16"/>
                  <a:pt x="95" y="8"/>
                </a:cubicBezTo>
                <a:cubicBezTo>
                  <a:pt x="113" y="1"/>
                  <a:pt x="133" y="0"/>
                  <a:pt x="152" y="2"/>
                </a:cubicBezTo>
                <a:cubicBezTo>
                  <a:pt x="169" y="3"/>
                  <a:pt x="185" y="9"/>
                  <a:pt x="197" y="20"/>
                </a:cubicBezTo>
                <a:cubicBezTo>
                  <a:pt x="210" y="32"/>
                  <a:pt x="219" y="48"/>
                  <a:pt x="221" y="66"/>
                </a:cubicBezTo>
                <a:cubicBezTo>
                  <a:pt x="232" y="70"/>
                  <a:pt x="243" y="75"/>
                  <a:pt x="253" y="82"/>
                </a:cubicBezTo>
                <a:cubicBezTo>
                  <a:pt x="253" y="83"/>
                  <a:pt x="253" y="84"/>
                  <a:pt x="253" y="84"/>
                </a:cubicBezTo>
                <a:cubicBezTo>
                  <a:pt x="251" y="87"/>
                  <a:pt x="248" y="90"/>
                  <a:pt x="246" y="93"/>
                </a:cubicBezTo>
                <a:cubicBezTo>
                  <a:pt x="245" y="94"/>
                  <a:pt x="244" y="94"/>
                  <a:pt x="244" y="93"/>
                </a:cubicBezTo>
                <a:cubicBezTo>
                  <a:pt x="206" y="66"/>
                  <a:pt x="160" y="52"/>
                  <a:pt x="114" y="54"/>
                </a:cubicBezTo>
                <a:cubicBezTo>
                  <a:pt x="111" y="54"/>
                  <a:pt x="108" y="55"/>
                  <a:pt x="106" y="55"/>
                </a:cubicBezTo>
                <a:cubicBezTo>
                  <a:pt x="133" y="55"/>
                  <a:pt x="161" y="61"/>
                  <a:pt x="186" y="72"/>
                </a:cubicBezTo>
                <a:cubicBezTo>
                  <a:pt x="196" y="76"/>
                  <a:pt x="205" y="82"/>
                  <a:pt x="214" y="88"/>
                </a:cubicBezTo>
                <a:cubicBezTo>
                  <a:pt x="215" y="88"/>
                  <a:pt x="215" y="88"/>
                  <a:pt x="215" y="89"/>
                </a:cubicBezTo>
                <a:cubicBezTo>
                  <a:pt x="215" y="89"/>
                  <a:pt x="215" y="90"/>
                  <a:pt x="215" y="90"/>
                </a:cubicBezTo>
                <a:cubicBezTo>
                  <a:pt x="207" y="103"/>
                  <a:pt x="197" y="114"/>
                  <a:pt x="185" y="121"/>
                </a:cubicBezTo>
                <a:cubicBezTo>
                  <a:pt x="172" y="129"/>
                  <a:pt x="157" y="131"/>
                  <a:pt x="142" y="131"/>
                </a:cubicBezTo>
                <a:cubicBezTo>
                  <a:pt x="127" y="130"/>
                  <a:pt x="111" y="129"/>
                  <a:pt x="96" y="124"/>
                </a:cubicBezTo>
                <a:cubicBezTo>
                  <a:pt x="89" y="122"/>
                  <a:pt x="82" y="120"/>
                  <a:pt x="75" y="117"/>
                </a:cubicBezTo>
                <a:cubicBezTo>
                  <a:pt x="68" y="113"/>
                  <a:pt x="61" y="109"/>
                  <a:pt x="54" y="105"/>
                </a:cubicBezTo>
                <a:cubicBezTo>
                  <a:pt x="46" y="100"/>
                  <a:pt x="38" y="96"/>
                  <a:pt x="28" y="93"/>
                </a:cubicBezTo>
                <a:cubicBezTo>
                  <a:pt x="19" y="90"/>
                  <a:pt x="10" y="89"/>
                  <a:pt x="1" y="88"/>
                </a:cubicBezTo>
                <a:cubicBezTo>
                  <a:pt x="0" y="88"/>
                  <a:pt x="0" y="87"/>
                  <a:pt x="0" y="86"/>
                </a:cubicBezTo>
                <a:close/>
              </a:path>
            </a:pathLst>
          </a:custGeom>
          <a:solidFill>
            <a:schemeClr val="accent4">
              <a:lumMod val="40000"/>
              <a:lumOff val="60000"/>
            </a:schemeClr>
          </a:solidFill>
          <a:ln w="1270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9" name="Freeform 18">
            <a:extLst>
              <a:ext uri="{FF2B5EF4-FFF2-40B4-BE49-F238E27FC236}">
                <a16:creationId xmlns:a16="http://schemas.microsoft.com/office/drawing/2014/main" id="{EE0FA483-E5CC-4D8E-B07A-906A9F656824}"/>
              </a:ext>
            </a:extLst>
          </p:cNvPr>
          <p:cNvSpPr>
            <a:spLocks/>
          </p:cNvSpPr>
          <p:nvPr/>
        </p:nvSpPr>
        <p:spPr bwMode="auto">
          <a:xfrm>
            <a:off x="4374279" y="5585581"/>
            <a:ext cx="445959" cy="406811"/>
          </a:xfrm>
          <a:custGeom>
            <a:avLst/>
            <a:gdLst>
              <a:gd name="T0" fmla="*/ 195 w 196"/>
              <a:gd name="T1" fmla="*/ 178 h 179"/>
              <a:gd name="T2" fmla="*/ 196 w 196"/>
              <a:gd name="T3" fmla="*/ 176 h 179"/>
              <a:gd name="T4" fmla="*/ 188 w 196"/>
              <a:gd name="T5" fmla="*/ 111 h 179"/>
              <a:gd name="T6" fmla="*/ 171 w 196"/>
              <a:gd name="T7" fmla="*/ 57 h 179"/>
              <a:gd name="T8" fmla="*/ 131 w 196"/>
              <a:gd name="T9" fmla="*/ 16 h 179"/>
              <a:gd name="T10" fmla="*/ 84 w 196"/>
              <a:gd name="T11" fmla="*/ 1 h 179"/>
              <a:gd name="T12" fmla="*/ 37 w 196"/>
              <a:gd name="T13" fmla="*/ 22 h 179"/>
              <a:gd name="T14" fmla="*/ 2 w 196"/>
              <a:gd name="T15" fmla="*/ 14 h 179"/>
              <a:gd name="T16" fmla="*/ 1 w 196"/>
              <a:gd name="T17" fmla="*/ 16 h 179"/>
              <a:gd name="T18" fmla="*/ 1 w 196"/>
              <a:gd name="T19" fmla="*/ 27 h 179"/>
              <a:gd name="T20" fmla="*/ 2 w 196"/>
              <a:gd name="T21" fmla="*/ 29 h 179"/>
              <a:gd name="T22" fmla="*/ 127 w 196"/>
              <a:gd name="T23" fmla="*/ 80 h 179"/>
              <a:gd name="T24" fmla="*/ 133 w 196"/>
              <a:gd name="T25" fmla="*/ 86 h 179"/>
              <a:gd name="T26" fmla="*/ 60 w 196"/>
              <a:gd name="T27" fmla="*/ 49 h 179"/>
              <a:gd name="T28" fmla="*/ 28 w 196"/>
              <a:gd name="T29" fmla="*/ 43 h 179"/>
              <a:gd name="T30" fmla="*/ 27 w 196"/>
              <a:gd name="T31" fmla="*/ 43 h 179"/>
              <a:gd name="T32" fmla="*/ 26 w 196"/>
              <a:gd name="T33" fmla="*/ 44 h 179"/>
              <a:gd name="T34" fmla="*/ 30 w 196"/>
              <a:gd name="T35" fmla="*/ 87 h 179"/>
              <a:gd name="T36" fmla="*/ 57 w 196"/>
              <a:gd name="T37" fmla="*/ 122 h 179"/>
              <a:gd name="T38" fmla="*/ 96 w 196"/>
              <a:gd name="T39" fmla="*/ 146 h 179"/>
              <a:gd name="T40" fmla="*/ 118 w 196"/>
              <a:gd name="T41" fmla="*/ 154 h 179"/>
              <a:gd name="T42" fmla="*/ 141 w 196"/>
              <a:gd name="T43" fmla="*/ 158 h 179"/>
              <a:gd name="T44" fmla="*/ 169 w 196"/>
              <a:gd name="T45" fmla="*/ 165 h 179"/>
              <a:gd name="T46" fmla="*/ 193 w 196"/>
              <a:gd name="T47" fmla="*/ 178 h 179"/>
              <a:gd name="T48" fmla="*/ 195 w 196"/>
              <a:gd name="T49" fmla="*/ 17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96" h="179">
                <a:moveTo>
                  <a:pt x="195" y="178"/>
                </a:moveTo>
                <a:cubicBezTo>
                  <a:pt x="195" y="177"/>
                  <a:pt x="196" y="177"/>
                  <a:pt x="196" y="176"/>
                </a:cubicBezTo>
                <a:cubicBezTo>
                  <a:pt x="194" y="155"/>
                  <a:pt x="192" y="133"/>
                  <a:pt x="188" y="111"/>
                </a:cubicBezTo>
                <a:cubicBezTo>
                  <a:pt x="185" y="93"/>
                  <a:pt x="180" y="74"/>
                  <a:pt x="171" y="57"/>
                </a:cubicBezTo>
                <a:cubicBezTo>
                  <a:pt x="162" y="39"/>
                  <a:pt x="147" y="27"/>
                  <a:pt x="131" y="16"/>
                </a:cubicBezTo>
                <a:cubicBezTo>
                  <a:pt x="117" y="6"/>
                  <a:pt x="101" y="0"/>
                  <a:pt x="84" y="1"/>
                </a:cubicBezTo>
                <a:cubicBezTo>
                  <a:pt x="67" y="2"/>
                  <a:pt x="50" y="9"/>
                  <a:pt x="37" y="22"/>
                </a:cubicBezTo>
                <a:cubicBezTo>
                  <a:pt x="26" y="18"/>
                  <a:pt x="14" y="15"/>
                  <a:pt x="2" y="14"/>
                </a:cubicBezTo>
                <a:cubicBezTo>
                  <a:pt x="1" y="14"/>
                  <a:pt x="1" y="15"/>
                  <a:pt x="1" y="16"/>
                </a:cubicBezTo>
                <a:cubicBezTo>
                  <a:pt x="0" y="19"/>
                  <a:pt x="0" y="23"/>
                  <a:pt x="1" y="27"/>
                </a:cubicBezTo>
                <a:cubicBezTo>
                  <a:pt x="1" y="28"/>
                  <a:pt x="1" y="29"/>
                  <a:pt x="2" y="29"/>
                </a:cubicBezTo>
                <a:cubicBezTo>
                  <a:pt x="48" y="31"/>
                  <a:pt x="93" y="50"/>
                  <a:pt x="127" y="80"/>
                </a:cubicBezTo>
                <a:cubicBezTo>
                  <a:pt x="129" y="82"/>
                  <a:pt x="131" y="84"/>
                  <a:pt x="133" y="86"/>
                </a:cubicBezTo>
                <a:cubicBezTo>
                  <a:pt x="112" y="69"/>
                  <a:pt x="87" y="56"/>
                  <a:pt x="60" y="49"/>
                </a:cubicBezTo>
                <a:cubicBezTo>
                  <a:pt x="50" y="46"/>
                  <a:pt x="39" y="44"/>
                  <a:pt x="28" y="43"/>
                </a:cubicBezTo>
                <a:cubicBezTo>
                  <a:pt x="28" y="43"/>
                  <a:pt x="27" y="43"/>
                  <a:pt x="27" y="43"/>
                </a:cubicBezTo>
                <a:cubicBezTo>
                  <a:pt x="27" y="43"/>
                  <a:pt x="26" y="44"/>
                  <a:pt x="26" y="44"/>
                </a:cubicBezTo>
                <a:cubicBezTo>
                  <a:pt x="24" y="59"/>
                  <a:pt x="25" y="74"/>
                  <a:pt x="30" y="87"/>
                </a:cubicBezTo>
                <a:cubicBezTo>
                  <a:pt x="35" y="102"/>
                  <a:pt x="45" y="112"/>
                  <a:pt x="57" y="122"/>
                </a:cubicBezTo>
                <a:cubicBezTo>
                  <a:pt x="69" y="131"/>
                  <a:pt x="82" y="140"/>
                  <a:pt x="96" y="146"/>
                </a:cubicBezTo>
                <a:cubicBezTo>
                  <a:pt x="103" y="149"/>
                  <a:pt x="110" y="152"/>
                  <a:pt x="118" y="154"/>
                </a:cubicBezTo>
                <a:cubicBezTo>
                  <a:pt x="125" y="156"/>
                  <a:pt x="133" y="157"/>
                  <a:pt x="141" y="158"/>
                </a:cubicBezTo>
                <a:cubicBezTo>
                  <a:pt x="151" y="159"/>
                  <a:pt x="160" y="161"/>
                  <a:pt x="169" y="165"/>
                </a:cubicBezTo>
                <a:cubicBezTo>
                  <a:pt x="178" y="168"/>
                  <a:pt x="185" y="173"/>
                  <a:pt x="193" y="178"/>
                </a:cubicBezTo>
                <a:cubicBezTo>
                  <a:pt x="194" y="179"/>
                  <a:pt x="195" y="178"/>
                  <a:pt x="195" y="178"/>
                </a:cubicBezTo>
                <a:close/>
              </a:path>
            </a:pathLst>
          </a:custGeom>
          <a:solidFill>
            <a:schemeClr val="accent6">
              <a:lumMod val="60000"/>
              <a:lumOff val="40000"/>
            </a:schemeClr>
          </a:solidFill>
          <a:ln w="1270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0" name="Freeform 19">
            <a:extLst>
              <a:ext uri="{FF2B5EF4-FFF2-40B4-BE49-F238E27FC236}">
                <a16:creationId xmlns:a16="http://schemas.microsoft.com/office/drawing/2014/main" id="{DF66908F-62C0-428D-98E0-B59ABD4E60BB}"/>
              </a:ext>
            </a:extLst>
          </p:cNvPr>
          <p:cNvSpPr>
            <a:spLocks/>
          </p:cNvSpPr>
          <p:nvPr/>
        </p:nvSpPr>
        <p:spPr bwMode="auto">
          <a:xfrm>
            <a:off x="4813427" y="5337071"/>
            <a:ext cx="527660" cy="337023"/>
          </a:xfrm>
          <a:custGeom>
            <a:avLst/>
            <a:gdLst>
              <a:gd name="T0" fmla="*/ 231 w 231"/>
              <a:gd name="T1" fmla="*/ 147 h 148"/>
              <a:gd name="T2" fmla="*/ 231 w 231"/>
              <a:gd name="T3" fmla="*/ 146 h 148"/>
              <a:gd name="T4" fmla="*/ 206 w 231"/>
              <a:gd name="T5" fmla="*/ 85 h 148"/>
              <a:gd name="T6" fmla="*/ 176 w 231"/>
              <a:gd name="T7" fmla="*/ 37 h 148"/>
              <a:gd name="T8" fmla="*/ 126 w 231"/>
              <a:gd name="T9" fmla="*/ 7 h 148"/>
              <a:gd name="T10" fmla="*/ 77 w 231"/>
              <a:gd name="T11" fmla="*/ 6 h 148"/>
              <a:gd name="T12" fmla="*/ 38 w 231"/>
              <a:gd name="T13" fmla="*/ 38 h 148"/>
              <a:gd name="T14" fmla="*/ 2 w 231"/>
              <a:gd name="T15" fmla="*/ 40 h 148"/>
              <a:gd name="T16" fmla="*/ 1 w 231"/>
              <a:gd name="T17" fmla="*/ 42 h 148"/>
              <a:gd name="T18" fmla="*/ 4 w 231"/>
              <a:gd name="T19" fmla="*/ 53 h 148"/>
              <a:gd name="T20" fmla="*/ 5 w 231"/>
              <a:gd name="T21" fmla="*/ 54 h 148"/>
              <a:gd name="T22" fmla="*/ 140 w 231"/>
              <a:gd name="T23" fmla="*/ 71 h 148"/>
              <a:gd name="T24" fmla="*/ 147 w 231"/>
              <a:gd name="T25" fmla="*/ 75 h 148"/>
              <a:gd name="T26" fmla="*/ 67 w 231"/>
              <a:gd name="T27" fmla="*/ 58 h 148"/>
              <a:gd name="T28" fmla="*/ 34 w 231"/>
              <a:gd name="T29" fmla="*/ 61 h 148"/>
              <a:gd name="T30" fmla="*/ 33 w 231"/>
              <a:gd name="T31" fmla="*/ 61 h 148"/>
              <a:gd name="T32" fmla="*/ 33 w 231"/>
              <a:gd name="T33" fmla="*/ 63 h 148"/>
              <a:gd name="T34" fmla="*/ 48 w 231"/>
              <a:gd name="T35" fmla="*/ 103 h 148"/>
              <a:gd name="T36" fmla="*/ 83 w 231"/>
              <a:gd name="T37" fmla="*/ 129 h 148"/>
              <a:gd name="T38" fmla="*/ 127 w 231"/>
              <a:gd name="T39" fmla="*/ 142 h 148"/>
              <a:gd name="T40" fmla="*/ 150 w 231"/>
              <a:gd name="T41" fmla="*/ 144 h 148"/>
              <a:gd name="T42" fmla="*/ 173 w 231"/>
              <a:gd name="T43" fmla="*/ 142 h 148"/>
              <a:gd name="T44" fmla="*/ 202 w 231"/>
              <a:gd name="T45" fmla="*/ 141 h 148"/>
              <a:gd name="T46" fmla="*/ 229 w 231"/>
              <a:gd name="T47" fmla="*/ 148 h 148"/>
              <a:gd name="T48" fmla="*/ 231 w 231"/>
              <a:gd name="T49" fmla="*/ 147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31" h="148">
                <a:moveTo>
                  <a:pt x="231" y="147"/>
                </a:moveTo>
                <a:cubicBezTo>
                  <a:pt x="231" y="146"/>
                  <a:pt x="231" y="146"/>
                  <a:pt x="231" y="146"/>
                </a:cubicBezTo>
                <a:cubicBezTo>
                  <a:pt x="224" y="125"/>
                  <a:pt x="216" y="104"/>
                  <a:pt x="206" y="85"/>
                </a:cubicBezTo>
                <a:cubicBezTo>
                  <a:pt x="198" y="68"/>
                  <a:pt x="189" y="51"/>
                  <a:pt x="176" y="37"/>
                </a:cubicBezTo>
                <a:cubicBezTo>
                  <a:pt x="162" y="22"/>
                  <a:pt x="145" y="14"/>
                  <a:pt x="126" y="7"/>
                </a:cubicBezTo>
                <a:cubicBezTo>
                  <a:pt x="110" y="1"/>
                  <a:pt x="94" y="0"/>
                  <a:pt x="77" y="6"/>
                </a:cubicBezTo>
                <a:cubicBezTo>
                  <a:pt x="61" y="11"/>
                  <a:pt x="46" y="23"/>
                  <a:pt x="38" y="38"/>
                </a:cubicBezTo>
                <a:cubicBezTo>
                  <a:pt x="25" y="37"/>
                  <a:pt x="14" y="38"/>
                  <a:pt x="2" y="40"/>
                </a:cubicBezTo>
                <a:cubicBezTo>
                  <a:pt x="1" y="40"/>
                  <a:pt x="0" y="41"/>
                  <a:pt x="1" y="42"/>
                </a:cubicBezTo>
                <a:cubicBezTo>
                  <a:pt x="1" y="45"/>
                  <a:pt x="2" y="49"/>
                  <a:pt x="4" y="53"/>
                </a:cubicBezTo>
                <a:cubicBezTo>
                  <a:pt x="4" y="54"/>
                  <a:pt x="5" y="54"/>
                  <a:pt x="5" y="54"/>
                </a:cubicBezTo>
                <a:cubicBezTo>
                  <a:pt x="50" y="44"/>
                  <a:pt x="98" y="50"/>
                  <a:pt x="140" y="71"/>
                </a:cubicBezTo>
                <a:cubicBezTo>
                  <a:pt x="142" y="72"/>
                  <a:pt x="145" y="74"/>
                  <a:pt x="147" y="75"/>
                </a:cubicBezTo>
                <a:cubicBezTo>
                  <a:pt x="122" y="64"/>
                  <a:pt x="94" y="58"/>
                  <a:pt x="67" y="58"/>
                </a:cubicBezTo>
                <a:cubicBezTo>
                  <a:pt x="56" y="58"/>
                  <a:pt x="45" y="59"/>
                  <a:pt x="34" y="61"/>
                </a:cubicBezTo>
                <a:cubicBezTo>
                  <a:pt x="34" y="61"/>
                  <a:pt x="34" y="61"/>
                  <a:pt x="33" y="61"/>
                </a:cubicBezTo>
                <a:cubicBezTo>
                  <a:pt x="33" y="62"/>
                  <a:pt x="33" y="62"/>
                  <a:pt x="33" y="63"/>
                </a:cubicBezTo>
                <a:cubicBezTo>
                  <a:pt x="35" y="77"/>
                  <a:pt x="39" y="91"/>
                  <a:pt x="48" y="103"/>
                </a:cubicBezTo>
                <a:cubicBezTo>
                  <a:pt x="57" y="116"/>
                  <a:pt x="69" y="123"/>
                  <a:pt x="83" y="129"/>
                </a:cubicBezTo>
                <a:cubicBezTo>
                  <a:pt x="97" y="135"/>
                  <a:pt x="112" y="140"/>
                  <a:pt x="127" y="142"/>
                </a:cubicBezTo>
                <a:cubicBezTo>
                  <a:pt x="135" y="143"/>
                  <a:pt x="142" y="144"/>
                  <a:pt x="150" y="144"/>
                </a:cubicBezTo>
                <a:cubicBezTo>
                  <a:pt x="158" y="144"/>
                  <a:pt x="166" y="143"/>
                  <a:pt x="173" y="142"/>
                </a:cubicBezTo>
                <a:cubicBezTo>
                  <a:pt x="183" y="141"/>
                  <a:pt x="193" y="140"/>
                  <a:pt x="202" y="141"/>
                </a:cubicBezTo>
                <a:cubicBezTo>
                  <a:pt x="211" y="143"/>
                  <a:pt x="220" y="145"/>
                  <a:pt x="229" y="148"/>
                </a:cubicBezTo>
                <a:cubicBezTo>
                  <a:pt x="230" y="148"/>
                  <a:pt x="231" y="148"/>
                  <a:pt x="231" y="147"/>
                </a:cubicBezTo>
                <a:close/>
              </a:path>
            </a:pathLst>
          </a:custGeom>
          <a:solidFill>
            <a:srgbClr val="EE7335"/>
          </a:solidFill>
          <a:ln w="1270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nvGrpSpPr>
          <p:cNvPr id="21" name="Group 89">
            <a:extLst>
              <a:ext uri="{FF2B5EF4-FFF2-40B4-BE49-F238E27FC236}">
                <a16:creationId xmlns:a16="http://schemas.microsoft.com/office/drawing/2014/main" id="{52728401-E653-418F-B72B-EE593EA66615}"/>
              </a:ext>
            </a:extLst>
          </p:cNvPr>
          <p:cNvGrpSpPr/>
          <p:nvPr/>
        </p:nvGrpSpPr>
        <p:grpSpPr>
          <a:xfrm>
            <a:off x="5104494" y="4431671"/>
            <a:ext cx="1870641" cy="1005959"/>
            <a:chOff x="5104492" y="4431668"/>
            <a:chExt cx="1870641" cy="1005959"/>
          </a:xfrm>
        </p:grpSpPr>
        <p:sp>
          <p:nvSpPr>
            <p:cNvPr id="22" name="Freeform 20">
              <a:extLst>
                <a:ext uri="{FF2B5EF4-FFF2-40B4-BE49-F238E27FC236}">
                  <a16:creationId xmlns:a16="http://schemas.microsoft.com/office/drawing/2014/main" id="{05162970-77BC-40DF-9CF1-B18C44DCF2D6}"/>
                </a:ext>
              </a:extLst>
            </p:cNvPr>
            <p:cNvSpPr>
              <a:spLocks/>
            </p:cNvSpPr>
            <p:nvPr/>
          </p:nvSpPr>
          <p:spPr bwMode="auto">
            <a:xfrm>
              <a:off x="5104492" y="4431668"/>
              <a:ext cx="1870641" cy="1005959"/>
            </a:xfrm>
            <a:custGeom>
              <a:avLst/>
              <a:gdLst>
                <a:gd name="T0" fmla="*/ 816 w 821"/>
                <a:gd name="T1" fmla="*/ 391 h 442"/>
                <a:gd name="T2" fmla="*/ 747 w 821"/>
                <a:gd name="T3" fmla="*/ 317 h 442"/>
                <a:gd name="T4" fmla="*/ 696 w 821"/>
                <a:gd name="T5" fmla="*/ 242 h 442"/>
                <a:gd name="T6" fmla="*/ 586 w 821"/>
                <a:gd name="T7" fmla="*/ 101 h 442"/>
                <a:gd name="T8" fmla="*/ 441 w 821"/>
                <a:gd name="T9" fmla="*/ 15 h 442"/>
                <a:gd name="T10" fmla="*/ 277 w 821"/>
                <a:gd name="T11" fmla="*/ 15 h 442"/>
                <a:gd name="T12" fmla="*/ 117 w 821"/>
                <a:gd name="T13" fmla="*/ 128 h 442"/>
                <a:gd name="T14" fmla="*/ 116 w 821"/>
                <a:gd name="T15" fmla="*/ 128 h 442"/>
                <a:gd name="T16" fmla="*/ 3 w 821"/>
                <a:gd name="T17" fmla="*/ 176 h 442"/>
                <a:gd name="T18" fmla="*/ 2 w 821"/>
                <a:gd name="T19" fmla="*/ 183 h 442"/>
                <a:gd name="T20" fmla="*/ 27 w 821"/>
                <a:gd name="T21" fmla="*/ 210 h 442"/>
                <a:gd name="T22" fmla="*/ 32 w 821"/>
                <a:gd name="T23" fmla="*/ 211 h 442"/>
                <a:gd name="T24" fmla="*/ 129 w 821"/>
                <a:gd name="T25" fmla="*/ 174 h 442"/>
                <a:gd name="T26" fmla="*/ 297 w 821"/>
                <a:gd name="T27" fmla="*/ 418 h 442"/>
                <a:gd name="T28" fmla="*/ 449 w 821"/>
                <a:gd name="T29" fmla="*/ 434 h 442"/>
                <a:gd name="T30" fmla="*/ 539 w 821"/>
                <a:gd name="T31" fmla="*/ 414 h 442"/>
                <a:gd name="T32" fmla="*/ 636 w 821"/>
                <a:gd name="T33" fmla="*/ 393 h 442"/>
                <a:gd name="T34" fmla="*/ 812 w 821"/>
                <a:gd name="T35" fmla="*/ 399 h 442"/>
                <a:gd name="T36" fmla="*/ 816 w 821"/>
                <a:gd name="T37" fmla="*/ 391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21" h="442">
                  <a:moveTo>
                    <a:pt x="816" y="391"/>
                  </a:moveTo>
                  <a:cubicBezTo>
                    <a:pt x="788" y="372"/>
                    <a:pt x="767" y="345"/>
                    <a:pt x="747" y="317"/>
                  </a:cubicBezTo>
                  <a:cubicBezTo>
                    <a:pt x="730" y="293"/>
                    <a:pt x="713" y="267"/>
                    <a:pt x="696" y="242"/>
                  </a:cubicBezTo>
                  <a:cubicBezTo>
                    <a:pt x="663" y="193"/>
                    <a:pt x="628" y="143"/>
                    <a:pt x="586" y="101"/>
                  </a:cubicBezTo>
                  <a:cubicBezTo>
                    <a:pt x="545" y="61"/>
                    <a:pt x="496" y="30"/>
                    <a:pt x="441" y="15"/>
                  </a:cubicBezTo>
                  <a:cubicBezTo>
                    <a:pt x="388" y="0"/>
                    <a:pt x="331" y="0"/>
                    <a:pt x="277" y="15"/>
                  </a:cubicBezTo>
                  <a:cubicBezTo>
                    <a:pt x="213" y="34"/>
                    <a:pt x="156" y="74"/>
                    <a:pt x="117" y="128"/>
                  </a:cubicBezTo>
                  <a:cubicBezTo>
                    <a:pt x="117" y="128"/>
                    <a:pt x="117" y="128"/>
                    <a:pt x="116" y="128"/>
                  </a:cubicBezTo>
                  <a:cubicBezTo>
                    <a:pt x="77" y="139"/>
                    <a:pt x="39" y="155"/>
                    <a:pt x="3" y="176"/>
                  </a:cubicBezTo>
                  <a:cubicBezTo>
                    <a:pt x="0" y="177"/>
                    <a:pt x="0" y="180"/>
                    <a:pt x="2" y="183"/>
                  </a:cubicBezTo>
                  <a:cubicBezTo>
                    <a:pt x="10" y="192"/>
                    <a:pt x="19" y="201"/>
                    <a:pt x="27" y="210"/>
                  </a:cubicBezTo>
                  <a:cubicBezTo>
                    <a:pt x="28" y="212"/>
                    <a:pt x="31" y="212"/>
                    <a:pt x="32" y="211"/>
                  </a:cubicBezTo>
                  <a:cubicBezTo>
                    <a:pt x="63" y="195"/>
                    <a:pt x="96" y="183"/>
                    <a:pt x="129" y="174"/>
                  </a:cubicBezTo>
                  <a:cubicBezTo>
                    <a:pt x="132" y="280"/>
                    <a:pt x="198" y="377"/>
                    <a:pt x="297" y="418"/>
                  </a:cubicBezTo>
                  <a:cubicBezTo>
                    <a:pt x="346" y="438"/>
                    <a:pt x="397" y="442"/>
                    <a:pt x="449" y="434"/>
                  </a:cubicBezTo>
                  <a:cubicBezTo>
                    <a:pt x="480" y="429"/>
                    <a:pt x="510" y="421"/>
                    <a:pt x="539" y="414"/>
                  </a:cubicBezTo>
                  <a:cubicBezTo>
                    <a:pt x="571" y="407"/>
                    <a:pt x="603" y="400"/>
                    <a:pt x="636" y="393"/>
                  </a:cubicBezTo>
                  <a:cubicBezTo>
                    <a:pt x="692" y="382"/>
                    <a:pt x="759" y="367"/>
                    <a:pt x="812" y="399"/>
                  </a:cubicBezTo>
                  <a:cubicBezTo>
                    <a:pt x="817" y="402"/>
                    <a:pt x="821" y="394"/>
                    <a:pt x="816" y="391"/>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grpSp>
          <p:nvGrpSpPr>
            <p:cNvPr id="23" name="Group 60">
              <a:extLst>
                <a:ext uri="{FF2B5EF4-FFF2-40B4-BE49-F238E27FC236}">
                  <a16:creationId xmlns:a16="http://schemas.microsoft.com/office/drawing/2014/main" id="{C6EC9048-D7FE-4B58-A950-6A78917876E5}"/>
                </a:ext>
              </a:extLst>
            </p:cNvPr>
            <p:cNvGrpSpPr/>
            <p:nvPr/>
          </p:nvGrpSpPr>
          <p:grpSpPr>
            <a:xfrm>
              <a:off x="5832685" y="4702136"/>
              <a:ext cx="414255" cy="465022"/>
              <a:chOff x="11303000" y="1377950"/>
              <a:chExt cx="323850" cy="363538"/>
            </a:xfrm>
            <a:solidFill>
              <a:schemeClr val="bg1"/>
            </a:solidFill>
          </p:grpSpPr>
          <p:sp>
            <p:nvSpPr>
              <p:cNvPr id="24" name="Freeform 164">
                <a:extLst>
                  <a:ext uri="{FF2B5EF4-FFF2-40B4-BE49-F238E27FC236}">
                    <a16:creationId xmlns:a16="http://schemas.microsoft.com/office/drawing/2014/main" id="{32E242F7-A268-4129-AD1B-098AF81B6698}"/>
                  </a:ext>
                </a:extLst>
              </p:cNvPr>
              <p:cNvSpPr>
                <a:spLocks noEditPoints="1"/>
              </p:cNvSpPr>
              <p:nvPr/>
            </p:nvSpPr>
            <p:spPr bwMode="auto">
              <a:xfrm>
                <a:off x="11358563" y="1377950"/>
                <a:ext cx="119062" cy="120650"/>
              </a:xfrm>
              <a:custGeom>
                <a:avLst/>
                <a:gdLst>
                  <a:gd name="T0" fmla="*/ 19 w 37"/>
                  <a:gd name="T1" fmla="*/ 37 h 37"/>
                  <a:gd name="T2" fmla="*/ 37 w 37"/>
                  <a:gd name="T3" fmla="*/ 19 h 37"/>
                  <a:gd name="T4" fmla="*/ 19 w 37"/>
                  <a:gd name="T5" fmla="*/ 0 h 37"/>
                  <a:gd name="T6" fmla="*/ 0 w 37"/>
                  <a:gd name="T7" fmla="*/ 19 h 37"/>
                  <a:gd name="T8" fmla="*/ 19 w 37"/>
                  <a:gd name="T9" fmla="*/ 37 h 37"/>
                  <a:gd name="T10" fmla="*/ 19 w 37"/>
                  <a:gd name="T11" fmla="*/ 37 h 37"/>
                  <a:gd name="T12" fmla="*/ 19 w 37"/>
                  <a:gd name="T13" fmla="*/ 37 h 37"/>
                </a:gdLst>
                <a:ahLst/>
                <a:cxnLst>
                  <a:cxn ang="0">
                    <a:pos x="T0" y="T1"/>
                  </a:cxn>
                  <a:cxn ang="0">
                    <a:pos x="T2" y="T3"/>
                  </a:cxn>
                  <a:cxn ang="0">
                    <a:pos x="T4" y="T5"/>
                  </a:cxn>
                  <a:cxn ang="0">
                    <a:pos x="T6" y="T7"/>
                  </a:cxn>
                  <a:cxn ang="0">
                    <a:pos x="T8" y="T9"/>
                  </a:cxn>
                  <a:cxn ang="0">
                    <a:pos x="T10" y="T11"/>
                  </a:cxn>
                  <a:cxn ang="0">
                    <a:pos x="T12" y="T13"/>
                  </a:cxn>
                </a:cxnLst>
                <a:rect l="0" t="0" r="r" b="b"/>
                <a:pathLst>
                  <a:path w="37" h="37">
                    <a:moveTo>
                      <a:pt x="19" y="37"/>
                    </a:moveTo>
                    <a:cubicBezTo>
                      <a:pt x="29" y="37"/>
                      <a:pt x="37" y="29"/>
                      <a:pt x="37" y="19"/>
                    </a:cubicBezTo>
                    <a:cubicBezTo>
                      <a:pt x="37" y="9"/>
                      <a:pt x="29" y="0"/>
                      <a:pt x="19" y="0"/>
                    </a:cubicBezTo>
                    <a:cubicBezTo>
                      <a:pt x="9" y="0"/>
                      <a:pt x="0" y="9"/>
                      <a:pt x="0" y="19"/>
                    </a:cubicBezTo>
                    <a:cubicBezTo>
                      <a:pt x="0" y="29"/>
                      <a:pt x="9" y="37"/>
                      <a:pt x="19" y="37"/>
                    </a:cubicBezTo>
                    <a:close/>
                    <a:moveTo>
                      <a:pt x="19" y="37"/>
                    </a:moveTo>
                    <a:cubicBezTo>
                      <a:pt x="19" y="37"/>
                      <a:pt x="19" y="37"/>
                      <a:pt x="19" y="3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5" name="Freeform 165">
                <a:extLst>
                  <a:ext uri="{FF2B5EF4-FFF2-40B4-BE49-F238E27FC236}">
                    <a16:creationId xmlns:a16="http://schemas.microsoft.com/office/drawing/2014/main" id="{67584F5F-F8F1-4AA1-BC41-878AF92821C5}"/>
                  </a:ext>
                </a:extLst>
              </p:cNvPr>
              <p:cNvSpPr>
                <a:spLocks noEditPoints="1"/>
              </p:cNvSpPr>
              <p:nvPr/>
            </p:nvSpPr>
            <p:spPr bwMode="auto">
              <a:xfrm>
                <a:off x="11495088" y="1604963"/>
                <a:ext cx="131762" cy="136525"/>
              </a:xfrm>
              <a:custGeom>
                <a:avLst/>
                <a:gdLst>
                  <a:gd name="T0" fmla="*/ 20 w 41"/>
                  <a:gd name="T1" fmla="*/ 0 h 42"/>
                  <a:gd name="T2" fmla="*/ 0 w 41"/>
                  <a:gd name="T3" fmla="*/ 21 h 42"/>
                  <a:gd name="T4" fmla="*/ 20 w 41"/>
                  <a:gd name="T5" fmla="*/ 42 h 42"/>
                  <a:gd name="T6" fmla="*/ 41 w 41"/>
                  <a:gd name="T7" fmla="*/ 21 h 42"/>
                  <a:gd name="T8" fmla="*/ 20 w 41"/>
                  <a:gd name="T9" fmla="*/ 0 h 42"/>
                  <a:gd name="T10" fmla="*/ 33 w 41"/>
                  <a:gd name="T11" fmla="*/ 16 h 42"/>
                  <a:gd name="T12" fmla="*/ 20 w 41"/>
                  <a:gd name="T13" fmla="*/ 30 h 42"/>
                  <a:gd name="T14" fmla="*/ 17 w 41"/>
                  <a:gd name="T15" fmla="*/ 31 h 42"/>
                  <a:gd name="T16" fmla="*/ 15 w 41"/>
                  <a:gd name="T17" fmla="*/ 30 h 42"/>
                  <a:gd name="T18" fmla="*/ 8 w 41"/>
                  <a:gd name="T19" fmla="*/ 23 h 42"/>
                  <a:gd name="T20" fmla="*/ 8 w 41"/>
                  <a:gd name="T21" fmla="*/ 18 h 42"/>
                  <a:gd name="T22" fmla="*/ 13 w 41"/>
                  <a:gd name="T23" fmla="*/ 18 h 42"/>
                  <a:gd name="T24" fmla="*/ 17 w 41"/>
                  <a:gd name="T25" fmla="*/ 22 h 42"/>
                  <a:gd name="T26" fmla="*/ 28 w 41"/>
                  <a:gd name="T27" fmla="*/ 11 h 42"/>
                  <a:gd name="T28" fmla="*/ 33 w 41"/>
                  <a:gd name="T29" fmla="*/ 11 h 42"/>
                  <a:gd name="T30" fmla="*/ 33 w 41"/>
                  <a:gd name="T31" fmla="*/ 16 h 42"/>
                  <a:gd name="T32" fmla="*/ 33 w 41"/>
                  <a:gd name="T33" fmla="*/ 16 h 42"/>
                  <a:gd name="T34" fmla="*/ 33 w 41"/>
                  <a:gd name="T35" fmla="*/ 1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1" h="42">
                    <a:moveTo>
                      <a:pt x="20" y="0"/>
                    </a:moveTo>
                    <a:cubicBezTo>
                      <a:pt x="9" y="0"/>
                      <a:pt x="0" y="9"/>
                      <a:pt x="0" y="21"/>
                    </a:cubicBezTo>
                    <a:cubicBezTo>
                      <a:pt x="0" y="32"/>
                      <a:pt x="9" y="42"/>
                      <a:pt x="20" y="42"/>
                    </a:cubicBezTo>
                    <a:cubicBezTo>
                      <a:pt x="32" y="42"/>
                      <a:pt x="41" y="32"/>
                      <a:pt x="41" y="21"/>
                    </a:cubicBezTo>
                    <a:cubicBezTo>
                      <a:pt x="41" y="9"/>
                      <a:pt x="32" y="0"/>
                      <a:pt x="20" y="0"/>
                    </a:cubicBezTo>
                    <a:close/>
                    <a:moveTo>
                      <a:pt x="33" y="16"/>
                    </a:moveTo>
                    <a:cubicBezTo>
                      <a:pt x="20" y="30"/>
                      <a:pt x="20" y="30"/>
                      <a:pt x="20" y="30"/>
                    </a:cubicBezTo>
                    <a:cubicBezTo>
                      <a:pt x="19" y="31"/>
                      <a:pt x="18" y="31"/>
                      <a:pt x="17" y="31"/>
                    </a:cubicBezTo>
                    <a:cubicBezTo>
                      <a:pt x="16" y="31"/>
                      <a:pt x="15" y="31"/>
                      <a:pt x="15" y="30"/>
                    </a:cubicBezTo>
                    <a:cubicBezTo>
                      <a:pt x="8" y="23"/>
                      <a:pt x="8" y="23"/>
                      <a:pt x="8" y="23"/>
                    </a:cubicBezTo>
                    <a:cubicBezTo>
                      <a:pt x="6" y="22"/>
                      <a:pt x="6" y="20"/>
                      <a:pt x="8" y="18"/>
                    </a:cubicBezTo>
                    <a:cubicBezTo>
                      <a:pt x="9" y="17"/>
                      <a:pt x="11" y="17"/>
                      <a:pt x="13" y="18"/>
                    </a:cubicBezTo>
                    <a:cubicBezTo>
                      <a:pt x="17" y="22"/>
                      <a:pt x="17" y="22"/>
                      <a:pt x="17" y="22"/>
                    </a:cubicBezTo>
                    <a:cubicBezTo>
                      <a:pt x="28" y="11"/>
                      <a:pt x="28" y="11"/>
                      <a:pt x="28" y="11"/>
                    </a:cubicBezTo>
                    <a:cubicBezTo>
                      <a:pt x="30" y="10"/>
                      <a:pt x="32" y="10"/>
                      <a:pt x="33" y="11"/>
                    </a:cubicBezTo>
                    <a:cubicBezTo>
                      <a:pt x="35" y="13"/>
                      <a:pt x="35" y="15"/>
                      <a:pt x="33" y="16"/>
                    </a:cubicBezTo>
                    <a:close/>
                    <a:moveTo>
                      <a:pt x="33" y="16"/>
                    </a:moveTo>
                    <a:cubicBezTo>
                      <a:pt x="33" y="16"/>
                      <a:pt x="33" y="16"/>
                      <a:pt x="33" y="1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6" name="Freeform 166">
                <a:extLst>
                  <a:ext uri="{FF2B5EF4-FFF2-40B4-BE49-F238E27FC236}">
                    <a16:creationId xmlns:a16="http://schemas.microsoft.com/office/drawing/2014/main" id="{DCC9FB07-D6BB-4DDF-9D7A-2719C9BCDBFF}"/>
                  </a:ext>
                </a:extLst>
              </p:cNvPr>
              <p:cNvSpPr>
                <a:spLocks noEditPoints="1"/>
              </p:cNvSpPr>
              <p:nvPr/>
            </p:nvSpPr>
            <p:spPr bwMode="auto">
              <a:xfrm>
                <a:off x="11303000" y="1520825"/>
                <a:ext cx="233362" cy="161925"/>
              </a:xfrm>
              <a:custGeom>
                <a:avLst/>
                <a:gdLst>
                  <a:gd name="T0" fmla="*/ 72 w 72"/>
                  <a:gd name="T1" fmla="*/ 21 h 50"/>
                  <a:gd name="T2" fmla="*/ 72 w 72"/>
                  <a:gd name="T3" fmla="*/ 18 h 50"/>
                  <a:gd name="T4" fmla="*/ 61 w 72"/>
                  <a:gd name="T5" fmla="*/ 2 h 50"/>
                  <a:gd name="T6" fmla="*/ 61 w 72"/>
                  <a:gd name="T7" fmla="*/ 2 h 50"/>
                  <a:gd name="T8" fmla="*/ 51 w 72"/>
                  <a:gd name="T9" fmla="*/ 1 h 50"/>
                  <a:gd name="T10" fmla="*/ 49 w 72"/>
                  <a:gd name="T11" fmla="*/ 2 h 50"/>
                  <a:gd name="T12" fmla="*/ 38 w 72"/>
                  <a:gd name="T13" fmla="*/ 32 h 50"/>
                  <a:gd name="T14" fmla="*/ 34 w 72"/>
                  <a:gd name="T15" fmla="*/ 32 h 50"/>
                  <a:gd name="T16" fmla="*/ 23 w 72"/>
                  <a:gd name="T17" fmla="*/ 2 h 50"/>
                  <a:gd name="T18" fmla="*/ 21 w 72"/>
                  <a:gd name="T19" fmla="*/ 1 h 50"/>
                  <a:gd name="T20" fmla="*/ 11 w 72"/>
                  <a:gd name="T21" fmla="*/ 2 h 50"/>
                  <a:gd name="T22" fmla="*/ 0 w 72"/>
                  <a:gd name="T23" fmla="*/ 18 h 50"/>
                  <a:gd name="T24" fmla="*/ 0 w 72"/>
                  <a:gd name="T25" fmla="*/ 43 h 50"/>
                  <a:gd name="T26" fmla="*/ 7 w 72"/>
                  <a:gd name="T27" fmla="*/ 50 h 50"/>
                  <a:gd name="T28" fmla="*/ 53 w 72"/>
                  <a:gd name="T29" fmla="*/ 50 h 50"/>
                  <a:gd name="T30" fmla="*/ 53 w 72"/>
                  <a:gd name="T31" fmla="*/ 47 h 50"/>
                  <a:gd name="T32" fmla="*/ 72 w 72"/>
                  <a:gd name="T33" fmla="*/ 21 h 50"/>
                  <a:gd name="T34" fmla="*/ 72 w 72"/>
                  <a:gd name="T35" fmla="*/ 21 h 50"/>
                  <a:gd name="T36" fmla="*/ 72 w 72"/>
                  <a:gd name="T37" fmla="*/ 2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2" h="50">
                    <a:moveTo>
                      <a:pt x="72" y="21"/>
                    </a:moveTo>
                    <a:cubicBezTo>
                      <a:pt x="72" y="18"/>
                      <a:pt x="72" y="18"/>
                      <a:pt x="72" y="18"/>
                    </a:cubicBezTo>
                    <a:cubicBezTo>
                      <a:pt x="72" y="11"/>
                      <a:pt x="67" y="4"/>
                      <a:pt x="61" y="2"/>
                    </a:cubicBezTo>
                    <a:cubicBezTo>
                      <a:pt x="61" y="2"/>
                      <a:pt x="61" y="2"/>
                      <a:pt x="61" y="2"/>
                    </a:cubicBezTo>
                    <a:cubicBezTo>
                      <a:pt x="51" y="1"/>
                      <a:pt x="51" y="1"/>
                      <a:pt x="51" y="1"/>
                    </a:cubicBezTo>
                    <a:cubicBezTo>
                      <a:pt x="50" y="0"/>
                      <a:pt x="49" y="1"/>
                      <a:pt x="49" y="2"/>
                    </a:cubicBezTo>
                    <a:cubicBezTo>
                      <a:pt x="38" y="32"/>
                      <a:pt x="38" y="32"/>
                      <a:pt x="38" y="32"/>
                    </a:cubicBezTo>
                    <a:cubicBezTo>
                      <a:pt x="37" y="34"/>
                      <a:pt x="35" y="34"/>
                      <a:pt x="34" y="32"/>
                    </a:cubicBezTo>
                    <a:cubicBezTo>
                      <a:pt x="23" y="2"/>
                      <a:pt x="23" y="2"/>
                      <a:pt x="23" y="2"/>
                    </a:cubicBezTo>
                    <a:cubicBezTo>
                      <a:pt x="23" y="1"/>
                      <a:pt x="22" y="1"/>
                      <a:pt x="21" y="1"/>
                    </a:cubicBezTo>
                    <a:cubicBezTo>
                      <a:pt x="21" y="1"/>
                      <a:pt x="11" y="2"/>
                      <a:pt x="11" y="2"/>
                    </a:cubicBezTo>
                    <a:cubicBezTo>
                      <a:pt x="4" y="4"/>
                      <a:pt x="0" y="11"/>
                      <a:pt x="0" y="18"/>
                    </a:cubicBezTo>
                    <a:cubicBezTo>
                      <a:pt x="0" y="43"/>
                      <a:pt x="0" y="43"/>
                      <a:pt x="0" y="43"/>
                    </a:cubicBezTo>
                    <a:cubicBezTo>
                      <a:pt x="0" y="47"/>
                      <a:pt x="3" y="50"/>
                      <a:pt x="7" y="50"/>
                    </a:cubicBezTo>
                    <a:cubicBezTo>
                      <a:pt x="53" y="50"/>
                      <a:pt x="53" y="50"/>
                      <a:pt x="53" y="50"/>
                    </a:cubicBezTo>
                    <a:cubicBezTo>
                      <a:pt x="53" y="49"/>
                      <a:pt x="53" y="48"/>
                      <a:pt x="53" y="47"/>
                    </a:cubicBezTo>
                    <a:cubicBezTo>
                      <a:pt x="53" y="35"/>
                      <a:pt x="61" y="24"/>
                      <a:pt x="72" y="21"/>
                    </a:cubicBezTo>
                    <a:close/>
                    <a:moveTo>
                      <a:pt x="72" y="21"/>
                    </a:moveTo>
                    <a:cubicBezTo>
                      <a:pt x="72" y="21"/>
                      <a:pt x="72" y="21"/>
                      <a:pt x="72" y="2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7" name="Freeform 167">
                <a:extLst>
                  <a:ext uri="{FF2B5EF4-FFF2-40B4-BE49-F238E27FC236}">
                    <a16:creationId xmlns:a16="http://schemas.microsoft.com/office/drawing/2014/main" id="{554AF0A0-E7E2-4460-AB51-98AA856EAC30}"/>
                  </a:ext>
                </a:extLst>
              </p:cNvPr>
              <p:cNvSpPr>
                <a:spLocks noEditPoints="1"/>
              </p:cNvSpPr>
              <p:nvPr/>
            </p:nvSpPr>
            <p:spPr bwMode="auto">
              <a:xfrm>
                <a:off x="11403013" y="1514475"/>
                <a:ext cx="33337" cy="77788"/>
              </a:xfrm>
              <a:custGeom>
                <a:avLst/>
                <a:gdLst>
                  <a:gd name="T0" fmla="*/ 9 w 10"/>
                  <a:gd name="T1" fmla="*/ 1 h 24"/>
                  <a:gd name="T2" fmla="*/ 7 w 10"/>
                  <a:gd name="T3" fmla="*/ 0 h 24"/>
                  <a:gd name="T4" fmla="*/ 2 w 10"/>
                  <a:gd name="T5" fmla="*/ 0 h 24"/>
                  <a:gd name="T6" fmla="*/ 1 w 10"/>
                  <a:gd name="T7" fmla="*/ 1 h 24"/>
                  <a:gd name="T8" fmla="*/ 0 w 10"/>
                  <a:gd name="T9" fmla="*/ 3 h 24"/>
                  <a:gd name="T10" fmla="*/ 3 w 10"/>
                  <a:gd name="T11" fmla="*/ 7 h 24"/>
                  <a:gd name="T12" fmla="*/ 2 w 10"/>
                  <a:gd name="T13" fmla="*/ 17 h 24"/>
                  <a:gd name="T14" fmla="*/ 4 w 10"/>
                  <a:gd name="T15" fmla="*/ 24 h 24"/>
                  <a:gd name="T16" fmla="*/ 6 w 10"/>
                  <a:gd name="T17" fmla="*/ 24 h 24"/>
                  <a:gd name="T18" fmla="*/ 8 w 10"/>
                  <a:gd name="T19" fmla="*/ 17 h 24"/>
                  <a:gd name="T20" fmla="*/ 7 w 10"/>
                  <a:gd name="T21" fmla="*/ 7 h 24"/>
                  <a:gd name="T22" fmla="*/ 9 w 10"/>
                  <a:gd name="T23" fmla="*/ 3 h 24"/>
                  <a:gd name="T24" fmla="*/ 9 w 10"/>
                  <a:gd name="T25" fmla="*/ 1 h 24"/>
                  <a:gd name="T26" fmla="*/ 9 w 10"/>
                  <a:gd name="T27" fmla="*/ 1 h 24"/>
                  <a:gd name="T28" fmla="*/ 9 w 10"/>
                  <a:gd name="T29" fmla="*/ 1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 h="24">
                    <a:moveTo>
                      <a:pt x="9" y="1"/>
                    </a:moveTo>
                    <a:cubicBezTo>
                      <a:pt x="9" y="0"/>
                      <a:pt x="8" y="0"/>
                      <a:pt x="7" y="0"/>
                    </a:cubicBezTo>
                    <a:cubicBezTo>
                      <a:pt x="2" y="0"/>
                      <a:pt x="2" y="0"/>
                      <a:pt x="2" y="0"/>
                    </a:cubicBezTo>
                    <a:cubicBezTo>
                      <a:pt x="2" y="0"/>
                      <a:pt x="1" y="0"/>
                      <a:pt x="1" y="1"/>
                    </a:cubicBezTo>
                    <a:cubicBezTo>
                      <a:pt x="0" y="1"/>
                      <a:pt x="0" y="3"/>
                      <a:pt x="0" y="3"/>
                    </a:cubicBezTo>
                    <a:cubicBezTo>
                      <a:pt x="3" y="7"/>
                      <a:pt x="3" y="7"/>
                      <a:pt x="3" y="7"/>
                    </a:cubicBezTo>
                    <a:cubicBezTo>
                      <a:pt x="2" y="17"/>
                      <a:pt x="2" y="17"/>
                      <a:pt x="2" y="17"/>
                    </a:cubicBezTo>
                    <a:cubicBezTo>
                      <a:pt x="4" y="24"/>
                      <a:pt x="4" y="24"/>
                      <a:pt x="4" y="24"/>
                    </a:cubicBezTo>
                    <a:cubicBezTo>
                      <a:pt x="4" y="24"/>
                      <a:pt x="5" y="24"/>
                      <a:pt x="6" y="24"/>
                    </a:cubicBezTo>
                    <a:cubicBezTo>
                      <a:pt x="8" y="17"/>
                      <a:pt x="8" y="17"/>
                      <a:pt x="8" y="17"/>
                    </a:cubicBezTo>
                    <a:cubicBezTo>
                      <a:pt x="7" y="7"/>
                      <a:pt x="7" y="7"/>
                      <a:pt x="7" y="7"/>
                    </a:cubicBezTo>
                    <a:cubicBezTo>
                      <a:pt x="9" y="3"/>
                      <a:pt x="9" y="3"/>
                      <a:pt x="9" y="3"/>
                    </a:cubicBezTo>
                    <a:cubicBezTo>
                      <a:pt x="10" y="3"/>
                      <a:pt x="10" y="1"/>
                      <a:pt x="9" y="1"/>
                    </a:cubicBezTo>
                    <a:close/>
                    <a:moveTo>
                      <a:pt x="9" y="1"/>
                    </a:moveTo>
                    <a:cubicBezTo>
                      <a:pt x="9" y="1"/>
                      <a:pt x="9" y="1"/>
                      <a:pt x="9"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grpSp>
      <p:grpSp>
        <p:nvGrpSpPr>
          <p:cNvPr id="28" name="Group 2">
            <a:extLst>
              <a:ext uri="{FF2B5EF4-FFF2-40B4-BE49-F238E27FC236}">
                <a16:creationId xmlns:a16="http://schemas.microsoft.com/office/drawing/2014/main" id="{AB756BD0-6A10-4223-A1A8-AC89C70BC872}"/>
              </a:ext>
            </a:extLst>
          </p:cNvPr>
          <p:cNvGrpSpPr/>
          <p:nvPr/>
        </p:nvGrpSpPr>
        <p:grpSpPr>
          <a:xfrm>
            <a:off x="2199609" y="1562402"/>
            <a:ext cx="1004256" cy="1906385"/>
            <a:chOff x="2199609" y="1562399"/>
            <a:chExt cx="1004256" cy="1906385"/>
          </a:xfrm>
        </p:grpSpPr>
        <p:sp>
          <p:nvSpPr>
            <p:cNvPr id="29" name="Freeform 24">
              <a:extLst>
                <a:ext uri="{FF2B5EF4-FFF2-40B4-BE49-F238E27FC236}">
                  <a16:creationId xmlns:a16="http://schemas.microsoft.com/office/drawing/2014/main" id="{98155CCD-B5F2-417D-AC70-06F994643672}"/>
                </a:ext>
              </a:extLst>
            </p:cNvPr>
            <p:cNvSpPr>
              <a:spLocks/>
            </p:cNvSpPr>
            <p:nvPr/>
          </p:nvSpPr>
          <p:spPr bwMode="auto">
            <a:xfrm>
              <a:off x="2199609" y="1562399"/>
              <a:ext cx="1004256" cy="1906385"/>
            </a:xfrm>
            <a:custGeom>
              <a:avLst/>
              <a:gdLst>
                <a:gd name="T0" fmla="*/ 91 w 440"/>
                <a:gd name="T1" fmla="*/ 5 h 837"/>
                <a:gd name="T2" fmla="*/ 158 w 440"/>
                <a:gd name="T3" fmla="*/ 80 h 837"/>
                <a:gd name="T4" fmla="*/ 228 w 440"/>
                <a:gd name="T5" fmla="*/ 138 h 837"/>
                <a:gd name="T6" fmla="*/ 358 w 440"/>
                <a:gd name="T7" fmla="*/ 261 h 837"/>
                <a:gd name="T8" fmla="*/ 430 w 440"/>
                <a:gd name="T9" fmla="*/ 414 h 837"/>
                <a:gd name="T10" fmla="*/ 414 w 440"/>
                <a:gd name="T11" fmla="*/ 576 h 837"/>
                <a:gd name="T12" fmla="*/ 287 w 440"/>
                <a:gd name="T13" fmla="*/ 726 h 837"/>
                <a:gd name="T14" fmla="*/ 287 w 440"/>
                <a:gd name="T15" fmla="*/ 726 h 837"/>
                <a:gd name="T16" fmla="*/ 229 w 440"/>
                <a:gd name="T17" fmla="*/ 835 h 837"/>
                <a:gd name="T18" fmla="*/ 222 w 440"/>
                <a:gd name="T19" fmla="*/ 835 h 837"/>
                <a:gd name="T20" fmla="*/ 197 w 440"/>
                <a:gd name="T21" fmla="*/ 807 h 837"/>
                <a:gd name="T22" fmla="*/ 197 w 440"/>
                <a:gd name="T23" fmla="*/ 802 h 837"/>
                <a:gd name="T24" fmla="*/ 242 w 440"/>
                <a:gd name="T25" fmla="*/ 709 h 837"/>
                <a:gd name="T26" fmla="*/ 16 w 440"/>
                <a:gd name="T27" fmla="*/ 519 h 837"/>
                <a:gd name="T28" fmla="*/ 14 w 440"/>
                <a:gd name="T29" fmla="*/ 366 h 837"/>
                <a:gd name="T30" fmla="*/ 42 w 440"/>
                <a:gd name="T31" fmla="*/ 278 h 837"/>
                <a:gd name="T32" fmla="*/ 72 w 440"/>
                <a:gd name="T33" fmla="*/ 184 h 837"/>
                <a:gd name="T34" fmla="*/ 83 w 440"/>
                <a:gd name="T35" fmla="*/ 8 h 837"/>
                <a:gd name="T36" fmla="*/ 91 w 440"/>
                <a:gd name="T37" fmla="*/ 5 h 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40" h="837">
                  <a:moveTo>
                    <a:pt x="91" y="5"/>
                  </a:moveTo>
                  <a:cubicBezTo>
                    <a:pt x="108" y="35"/>
                    <a:pt x="132" y="58"/>
                    <a:pt x="158" y="80"/>
                  </a:cubicBezTo>
                  <a:cubicBezTo>
                    <a:pt x="181" y="100"/>
                    <a:pt x="204" y="119"/>
                    <a:pt x="228" y="138"/>
                  </a:cubicBezTo>
                  <a:cubicBezTo>
                    <a:pt x="274" y="176"/>
                    <a:pt x="320" y="215"/>
                    <a:pt x="358" y="261"/>
                  </a:cubicBezTo>
                  <a:cubicBezTo>
                    <a:pt x="394" y="306"/>
                    <a:pt x="421" y="357"/>
                    <a:pt x="430" y="414"/>
                  </a:cubicBezTo>
                  <a:cubicBezTo>
                    <a:pt x="440" y="468"/>
                    <a:pt x="435" y="525"/>
                    <a:pt x="414" y="576"/>
                  </a:cubicBezTo>
                  <a:cubicBezTo>
                    <a:pt x="390" y="639"/>
                    <a:pt x="344" y="691"/>
                    <a:pt x="287" y="726"/>
                  </a:cubicBezTo>
                  <a:cubicBezTo>
                    <a:pt x="287" y="726"/>
                    <a:pt x="287" y="726"/>
                    <a:pt x="287" y="726"/>
                  </a:cubicBezTo>
                  <a:cubicBezTo>
                    <a:pt x="272" y="765"/>
                    <a:pt x="253" y="801"/>
                    <a:pt x="229" y="835"/>
                  </a:cubicBezTo>
                  <a:cubicBezTo>
                    <a:pt x="227" y="837"/>
                    <a:pt x="224" y="837"/>
                    <a:pt x="222" y="835"/>
                  </a:cubicBezTo>
                  <a:cubicBezTo>
                    <a:pt x="213" y="826"/>
                    <a:pt x="205" y="817"/>
                    <a:pt x="197" y="807"/>
                  </a:cubicBezTo>
                  <a:cubicBezTo>
                    <a:pt x="195" y="806"/>
                    <a:pt x="196" y="804"/>
                    <a:pt x="197" y="802"/>
                  </a:cubicBezTo>
                  <a:cubicBezTo>
                    <a:pt x="215" y="773"/>
                    <a:pt x="230" y="742"/>
                    <a:pt x="242" y="709"/>
                  </a:cubicBezTo>
                  <a:cubicBezTo>
                    <a:pt x="137" y="696"/>
                    <a:pt x="46" y="621"/>
                    <a:pt x="16" y="519"/>
                  </a:cubicBezTo>
                  <a:cubicBezTo>
                    <a:pt x="0" y="469"/>
                    <a:pt x="1" y="417"/>
                    <a:pt x="14" y="366"/>
                  </a:cubicBezTo>
                  <a:cubicBezTo>
                    <a:pt x="21" y="336"/>
                    <a:pt x="32" y="307"/>
                    <a:pt x="42" y="278"/>
                  </a:cubicBezTo>
                  <a:cubicBezTo>
                    <a:pt x="52" y="247"/>
                    <a:pt x="62" y="216"/>
                    <a:pt x="72" y="184"/>
                  </a:cubicBezTo>
                  <a:cubicBezTo>
                    <a:pt x="88" y="129"/>
                    <a:pt x="110" y="64"/>
                    <a:pt x="83" y="8"/>
                  </a:cubicBezTo>
                  <a:cubicBezTo>
                    <a:pt x="81" y="3"/>
                    <a:pt x="88" y="0"/>
                    <a:pt x="91" y="5"/>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grpSp>
          <p:nvGrpSpPr>
            <p:cNvPr id="30" name="Group 30">
              <a:extLst>
                <a:ext uri="{FF2B5EF4-FFF2-40B4-BE49-F238E27FC236}">
                  <a16:creationId xmlns:a16="http://schemas.microsoft.com/office/drawing/2014/main" id="{7813CDBD-BA7B-46F8-AAE2-54C1319EF80E}"/>
                </a:ext>
              </a:extLst>
            </p:cNvPr>
            <p:cNvGrpSpPr/>
            <p:nvPr/>
          </p:nvGrpSpPr>
          <p:grpSpPr>
            <a:xfrm>
              <a:off x="2470998" y="2316198"/>
              <a:ext cx="461478" cy="457414"/>
              <a:chOff x="6111875" y="1384300"/>
              <a:chExt cx="360363" cy="357188"/>
            </a:xfrm>
            <a:solidFill>
              <a:schemeClr val="bg1"/>
            </a:solidFill>
          </p:grpSpPr>
          <p:sp>
            <p:nvSpPr>
              <p:cNvPr id="31" name="Freeform 256">
                <a:extLst>
                  <a:ext uri="{FF2B5EF4-FFF2-40B4-BE49-F238E27FC236}">
                    <a16:creationId xmlns:a16="http://schemas.microsoft.com/office/drawing/2014/main" id="{73DD58CD-305F-4163-9F1C-70D23CF61150}"/>
                  </a:ext>
                </a:extLst>
              </p:cNvPr>
              <p:cNvSpPr>
                <a:spLocks noEditPoints="1"/>
              </p:cNvSpPr>
              <p:nvPr/>
            </p:nvSpPr>
            <p:spPr bwMode="auto">
              <a:xfrm>
                <a:off x="6319838" y="1481138"/>
                <a:ext cx="38100" cy="39688"/>
              </a:xfrm>
              <a:custGeom>
                <a:avLst/>
                <a:gdLst>
                  <a:gd name="T0" fmla="*/ 12 w 12"/>
                  <a:gd name="T1" fmla="*/ 6 h 12"/>
                  <a:gd name="T2" fmla="*/ 6 w 12"/>
                  <a:gd name="T3" fmla="*/ 12 h 12"/>
                  <a:gd name="T4" fmla="*/ 0 w 12"/>
                  <a:gd name="T5" fmla="*/ 6 h 12"/>
                  <a:gd name="T6" fmla="*/ 6 w 12"/>
                  <a:gd name="T7" fmla="*/ 0 h 12"/>
                  <a:gd name="T8" fmla="*/ 12 w 12"/>
                  <a:gd name="T9" fmla="*/ 6 h 12"/>
                  <a:gd name="T10" fmla="*/ 12 w 12"/>
                  <a:gd name="T11" fmla="*/ 6 h 12"/>
                  <a:gd name="T12" fmla="*/ 12 w 12"/>
                  <a:gd name="T13" fmla="*/ 6 h 12"/>
                </a:gdLst>
                <a:ahLst/>
                <a:cxnLst>
                  <a:cxn ang="0">
                    <a:pos x="T0" y="T1"/>
                  </a:cxn>
                  <a:cxn ang="0">
                    <a:pos x="T2" y="T3"/>
                  </a:cxn>
                  <a:cxn ang="0">
                    <a:pos x="T4" y="T5"/>
                  </a:cxn>
                  <a:cxn ang="0">
                    <a:pos x="T6" y="T7"/>
                  </a:cxn>
                  <a:cxn ang="0">
                    <a:pos x="T8" y="T9"/>
                  </a:cxn>
                  <a:cxn ang="0">
                    <a:pos x="T10" y="T11"/>
                  </a:cxn>
                  <a:cxn ang="0">
                    <a:pos x="T12" y="T13"/>
                  </a:cxn>
                </a:cxnLst>
                <a:rect l="0" t="0" r="r" b="b"/>
                <a:pathLst>
                  <a:path w="12" h="12">
                    <a:moveTo>
                      <a:pt x="12" y="6"/>
                    </a:moveTo>
                    <a:cubicBezTo>
                      <a:pt x="12" y="10"/>
                      <a:pt x="9" y="12"/>
                      <a:pt x="6" y="12"/>
                    </a:cubicBezTo>
                    <a:cubicBezTo>
                      <a:pt x="3" y="12"/>
                      <a:pt x="0" y="10"/>
                      <a:pt x="0" y="6"/>
                    </a:cubicBezTo>
                    <a:cubicBezTo>
                      <a:pt x="0" y="3"/>
                      <a:pt x="3" y="0"/>
                      <a:pt x="6" y="0"/>
                    </a:cubicBezTo>
                    <a:cubicBezTo>
                      <a:pt x="9" y="0"/>
                      <a:pt x="12" y="3"/>
                      <a:pt x="12" y="6"/>
                    </a:cubicBezTo>
                    <a:close/>
                    <a:moveTo>
                      <a:pt x="12" y="6"/>
                    </a:moveTo>
                    <a:cubicBezTo>
                      <a:pt x="12" y="6"/>
                      <a:pt x="12" y="6"/>
                      <a:pt x="12"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2" name="Freeform 257">
                <a:extLst>
                  <a:ext uri="{FF2B5EF4-FFF2-40B4-BE49-F238E27FC236}">
                    <a16:creationId xmlns:a16="http://schemas.microsoft.com/office/drawing/2014/main" id="{5CE61254-91CF-4535-9C33-98925B6E9A91}"/>
                  </a:ext>
                </a:extLst>
              </p:cNvPr>
              <p:cNvSpPr>
                <a:spLocks noEditPoints="1"/>
              </p:cNvSpPr>
              <p:nvPr/>
            </p:nvSpPr>
            <p:spPr bwMode="auto">
              <a:xfrm>
                <a:off x="6205538" y="1384300"/>
                <a:ext cx="266700" cy="266700"/>
              </a:xfrm>
              <a:custGeom>
                <a:avLst/>
                <a:gdLst>
                  <a:gd name="T0" fmla="*/ 79 w 82"/>
                  <a:gd name="T1" fmla="*/ 30 h 82"/>
                  <a:gd name="T2" fmla="*/ 73 w 82"/>
                  <a:gd name="T3" fmla="*/ 30 h 82"/>
                  <a:gd name="T4" fmla="*/ 71 w 82"/>
                  <a:gd name="T5" fmla="*/ 26 h 82"/>
                  <a:gd name="T6" fmla="*/ 75 w 82"/>
                  <a:gd name="T7" fmla="*/ 21 h 82"/>
                  <a:gd name="T8" fmla="*/ 75 w 82"/>
                  <a:gd name="T9" fmla="*/ 17 h 82"/>
                  <a:gd name="T10" fmla="*/ 65 w 82"/>
                  <a:gd name="T11" fmla="*/ 6 h 82"/>
                  <a:gd name="T12" fmla="*/ 61 w 82"/>
                  <a:gd name="T13" fmla="*/ 6 h 82"/>
                  <a:gd name="T14" fmla="*/ 56 w 82"/>
                  <a:gd name="T15" fmla="*/ 11 h 82"/>
                  <a:gd name="T16" fmla="*/ 51 w 82"/>
                  <a:gd name="T17" fmla="*/ 9 h 82"/>
                  <a:gd name="T18" fmla="*/ 51 w 82"/>
                  <a:gd name="T19" fmla="*/ 2 h 82"/>
                  <a:gd name="T20" fmla="*/ 49 w 82"/>
                  <a:gd name="T21" fmla="*/ 0 h 82"/>
                  <a:gd name="T22" fmla="*/ 33 w 82"/>
                  <a:gd name="T23" fmla="*/ 0 h 82"/>
                  <a:gd name="T24" fmla="*/ 31 w 82"/>
                  <a:gd name="T25" fmla="*/ 2 h 82"/>
                  <a:gd name="T26" fmla="*/ 31 w 82"/>
                  <a:gd name="T27" fmla="*/ 9 h 82"/>
                  <a:gd name="T28" fmla="*/ 26 w 82"/>
                  <a:gd name="T29" fmla="*/ 11 h 82"/>
                  <a:gd name="T30" fmla="*/ 21 w 82"/>
                  <a:gd name="T31" fmla="*/ 6 h 82"/>
                  <a:gd name="T32" fmla="*/ 19 w 82"/>
                  <a:gd name="T33" fmla="*/ 6 h 82"/>
                  <a:gd name="T34" fmla="*/ 17 w 82"/>
                  <a:gd name="T35" fmla="*/ 6 h 82"/>
                  <a:gd name="T36" fmla="*/ 6 w 82"/>
                  <a:gd name="T37" fmla="*/ 17 h 82"/>
                  <a:gd name="T38" fmla="*/ 6 w 82"/>
                  <a:gd name="T39" fmla="*/ 21 h 82"/>
                  <a:gd name="T40" fmla="*/ 11 w 82"/>
                  <a:gd name="T41" fmla="*/ 26 h 82"/>
                  <a:gd name="T42" fmla="*/ 9 w 82"/>
                  <a:gd name="T43" fmla="*/ 30 h 82"/>
                  <a:gd name="T44" fmla="*/ 2 w 82"/>
                  <a:gd name="T45" fmla="*/ 30 h 82"/>
                  <a:gd name="T46" fmla="*/ 0 w 82"/>
                  <a:gd name="T47" fmla="*/ 33 h 82"/>
                  <a:gd name="T48" fmla="*/ 0 w 82"/>
                  <a:gd name="T49" fmla="*/ 49 h 82"/>
                  <a:gd name="T50" fmla="*/ 2 w 82"/>
                  <a:gd name="T51" fmla="*/ 51 h 82"/>
                  <a:gd name="T52" fmla="*/ 9 w 82"/>
                  <a:gd name="T53" fmla="*/ 51 h 82"/>
                  <a:gd name="T54" fmla="*/ 11 w 82"/>
                  <a:gd name="T55" fmla="*/ 56 h 82"/>
                  <a:gd name="T56" fmla="*/ 6 w 82"/>
                  <a:gd name="T57" fmla="*/ 61 h 82"/>
                  <a:gd name="T58" fmla="*/ 6 w 82"/>
                  <a:gd name="T59" fmla="*/ 63 h 82"/>
                  <a:gd name="T60" fmla="*/ 6 w 82"/>
                  <a:gd name="T61" fmla="*/ 64 h 82"/>
                  <a:gd name="T62" fmla="*/ 17 w 82"/>
                  <a:gd name="T63" fmla="*/ 75 h 82"/>
                  <a:gd name="T64" fmla="*/ 21 w 82"/>
                  <a:gd name="T65" fmla="*/ 75 h 82"/>
                  <a:gd name="T66" fmla="*/ 26 w 82"/>
                  <a:gd name="T67" fmla="*/ 71 h 82"/>
                  <a:gd name="T68" fmla="*/ 31 w 82"/>
                  <a:gd name="T69" fmla="*/ 73 h 82"/>
                  <a:gd name="T70" fmla="*/ 31 w 82"/>
                  <a:gd name="T71" fmla="*/ 79 h 82"/>
                  <a:gd name="T72" fmla="*/ 33 w 82"/>
                  <a:gd name="T73" fmla="*/ 82 h 82"/>
                  <a:gd name="T74" fmla="*/ 49 w 82"/>
                  <a:gd name="T75" fmla="*/ 82 h 82"/>
                  <a:gd name="T76" fmla="*/ 51 w 82"/>
                  <a:gd name="T77" fmla="*/ 79 h 82"/>
                  <a:gd name="T78" fmla="*/ 51 w 82"/>
                  <a:gd name="T79" fmla="*/ 73 h 82"/>
                  <a:gd name="T80" fmla="*/ 56 w 82"/>
                  <a:gd name="T81" fmla="*/ 71 h 82"/>
                  <a:gd name="T82" fmla="*/ 61 w 82"/>
                  <a:gd name="T83" fmla="*/ 75 h 82"/>
                  <a:gd name="T84" fmla="*/ 65 w 82"/>
                  <a:gd name="T85" fmla="*/ 75 h 82"/>
                  <a:gd name="T86" fmla="*/ 75 w 82"/>
                  <a:gd name="T87" fmla="*/ 64 h 82"/>
                  <a:gd name="T88" fmla="*/ 75 w 82"/>
                  <a:gd name="T89" fmla="*/ 61 h 82"/>
                  <a:gd name="T90" fmla="*/ 71 w 82"/>
                  <a:gd name="T91" fmla="*/ 56 h 82"/>
                  <a:gd name="T92" fmla="*/ 73 w 82"/>
                  <a:gd name="T93" fmla="*/ 51 h 82"/>
                  <a:gd name="T94" fmla="*/ 79 w 82"/>
                  <a:gd name="T95" fmla="*/ 51 h 82"/>
                  <a:gd name="T96" fmla="*/ 82 w 82"/>
                  <a:gd name="T97" fmla="*/ 49 h 82"/>
                  <a:gd name="T98" fmla="*/ 82 w 82"/>
                  <a:gd name="T99" fmla="*/ 33 h 82"/>
                  <a:gd name="T100" fmla="*/ 79 w 82"/>
                  <a:gd name="T101" fmla="*/ 30 h 82"/>
                  <a:gd name="T102" fmla="*/ 41 w 82"/>
                  <a:gd name="T103" fmla="*/ 59 h 82"/>
                  <a:gd name="T104" fmla="*/ 23 w 82"/>
                  <a:gd name="T105" fmla="*/ 41 h 82"/>
                  <a:gd name="T106" fmla="*/ 41 w 82"/>
                  <a:gd name="T107" fmla="*/ 23 h 82"/>
                  <a:gd name="T108" fmla="*/ 59 w 82"/>
                  <a:gd name="T109" fmla="*/ 41 h 82"/>
                  <a:gd name="T110" fmla="*/ 41 w 82"/>
                  <a:gd name="T111" fmla="*/ 59 h 82"/>
                  <a:gd name="T112" fmla="*/ 41 w 82"/>
                  <a:gd name="T113" fmla="*/ 59 h 82"/>
                  <a:gd name="T114" fmla="*/ 41 w 82"/>
                  <a:gd name="T115" fmla="*/ 59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2" h="82">
                    <a:moveTo>
                      <a:pt x="79" y="30"/>
                    </a:moveTo>
                    <a:cubicBezTo>
                      <a:pt x="73" y="30"/>
                      <a:pt x="73" y="30"/>
                      <a:pt x="73" y="30"/>
                    </a:cubicBezTo>
                    <a:cubicBezTo>
                      <a:pt x="72" y="29"/>
                      <a:pt x="71" y="27"/>
                      <a:pt x="71" y="26"/>
                    </a:cubicBezTo>
                    <a:cubicBezTo>
                      <a:pt x="75" y="21"/>
                      <a:pt x="75" y="21"/>
                      <a:pt x="75" y="21"/>
                    </a:cubicBezTo>
                    <a:cubicBezTo>
                      <a:pt x="76" y="20"/>
                      <a:pt x="76" y="18"/>
                      <a:pt x="75" y="17"/>
                    </a:cubicBezTo>
                    <a:cubicBezTo>
                      <a:pt x="65" y="6"/>
                      <a:pt x="65" y="6"/>
                      <a:pt x="65" y="6"/>
                    </a:cubicBezTo>
                    <a:cubicBezTo>
                      <a:pt x="63" y="5"/>
                      <a:pt x="62" y="5"/>
                      <a:pt x="61" y="6"/>
                    </a:cubicBezTo>
                    <a:cubicBezTo>
                      <a:pt x="56" y="11"/>
                      <a:pt x="56" y="11"/>
                      <a:pt x="56" y="11"/>
                    </a:cubicBezTo>
                    <a:cubicBezTo>
                      <a:pt x="54" y="10"/>
                      <a:pt x="53" y="10"/>
                      <a:pt x="51" y="9"/>
                    </a:cubicBezTo>
                    <a:cubicBezTo>
                      <a:pt x="51" y="2"/>
                      <a:pt x="51" y="2"/>
                      <a:pt x="51" y="2"/>
                    </a:cubicBezTo>
                    <a:cubicBezTo>
                      <a:pt x="51" y="1"/>
                      <a:pt x="50" y="0"/>
                      <a:pt x="49" y="0"/>
                    </a:cubicBezTo>
                    <a:cubicBezTo>
                      <a:pt x="33" y="0"/>
                      <a:pt x="33" y="0"/>
                      <a:pt x="33" y="0"/>
                    </a:cubicBezTo>
                    <a:cubicBezTo>
                      <a:pt x="32" y="0"/>
                      <a:pt x="31" y="1"/>
                      <a:pt x="31" y="2"/>
                    </a:cubicBezTo>
                    <a:cubicBezTo>
                      <a:pt x="31" y="9"/>
                      <a:pt x="31" y="9"/>
                      <a:pt x="31" y="9"/>
                    </a:cubicBezTo>
                    <a:cubicBezTo>
                      <a:pt x="29" y="10"/>
                      <a:pt x="27" y="10"/>
                      <a:pt x="26" y="11"/>
                    </a:cubicBezTo>
                    <a:cubicBezTo>
                      <a:pt x="21" y="6"/>
                      <a:pt x="21" y="6"/>
                      <a:pt x="21" y="6"/>
                    </a:cubicBezTo>
                    <a:cubicBezTo>
                      <a:pt x="21" y="6"/>
                      <a:pt x="20" y="6"/>
                      <a:pt x="19" y="6"/>
                    </a:cubicBezTo>
                    <a:cubicBezTo>
                      <a:pt x="18" y="6"/>
                      <a:pt x="18" y="6"/>
                      <a:pt x="17" y="6"/>
                    </a:cubicBezTo>
                    <a:cubicBezTo>
                      <a:pt x="6" y="17"/>
                      <a:pt x="6" y="17"/>
                      <a:pt x="6" y="17"/>
                    </a:cubicBezTo>
                    <a:cubicBezTo>
                      <a:pt x="5" y="18"/>
                      <a:pt x="5" y="20"/>
                      <a:pt x="6" y="21"/>
                    </a:cubicBezTo>
                    <a:cubicBezTo>
                      <a:pt x="11" y="26"/>
                      <a:pt x="11" y="26"/>
                      <a:pt x="11" y="26"/>
                    </a:cubicBezTo>
                    <a:cubicBezTo>
                      <a:pt x="10" y="27"/>
                      <a:pt x="10" y="29"/>
                      <a:pt x="9" y="30"/>
                    </a:cubicBezTo>
                    <a:cubicBezTo>
                      <a:pt x="2" y="30"/>
                      <a:pt x="2" y="30"/>
                      <a:pt x="2" y="30"/>
                    </a:cubicBezTo>
                    <a:cubicBezTo>
                      <a:pt x="1" y="30"/>
                      <a:pt x="0" y="32"/>
                      <a:pt x="0" y="33"/>
                    </a:cubicBezTo>
                    <a:cubicBezTo>
                      <a:pt x="0" y="49"/>
                      <a:pt x="0" y="49"/>
                      <a:pt x="0" y="49"/>
                    </a:cubicBezTo>
                    <a:cubicBezTo>
                      <a:pt x="0" y="50"/>
                      <a:pt x="1" y="51"/>
                      <a:pt x="2" y="51"/>
                    </a:cubicBezTo>
                    <a:cubicBezTo>
                      <a:pt x="9" y="51"/>
                      <a:pt x="9" y="51"/>
                      <a:pt x="9" y="51"/>
                    </a:cubicBezTo>
                    <a:cubicBezTo>
                      <a:pt x="10" y="53"/>
                      <a:pt x="10" y="54"/>
                      <a:pt x="11" y="56"/>
                    </a:cubicBezTo>
                    <a:cubicBezTo>
                      <a:pt x="6" y="61"/>
                      <a:pt x="6" y="61"/>
                      <a:pt x="6" y="61"/>
                    </a:cubicBezTo>
                    <a:cubicBezTo>
                      <a:pt x="6" y="61"/>
                      <a:pt x="6" y="62"/>
                      <a:pt x="6" y="63"/>
                    </a:cubicBezTo>
                    <a:cubicBezTo>
                      <a:pt x="6" y="63"/>
                      <a:pt x="6" y="64"/>
                      <a:pt x="6" y="64"/>
                    </a:cubicBezTo>
                    <a:cubicBezTo>
                      <a:pt x="17" y="75"/>
                      <a:pt x="17" y="75"/>
                      <a:pt x="17" y="75"/>
                    </a:cubicBezTo>
                    <a:cubicBezTo>
                      <a:pt x="18" y="76"/>
                      <a:pt x="20" y="76"/>
                      <a:pt x="21" y="75"/>
                    </a:cubicBezTo>
                    <a:cubicBezTo>
                      <a:pt x="26" y="71"/>
                      <a:pt x="26" y="71"/>
                      <a:pt x="26" y="71"/>
                    </a:cubicBezTo>
                    <a:cubicBezTo>
                      <a:pt x="27" y="71"/>
                      <a:pt x="29" y="72"/>
                      <a:pt x="31" y="73"/>
                    </a:cubicBezTo>
                    <a:cubicBezTo>
                      <a:pt x="31" y="79"/>
                      <a:pt x="31" y="79"/>
                      <a:pt x="31" y="79"/>
                    </a:cubicBezTo>
                    <a:cubicBezTo>
                      <a:pt x="31" y="81"/>
                      <a:pt x="32" y="82"/>
                      <a:pt x="33" y="82"/>
                    </a:cubicBezTo>
                    <a:cubicBezTo>
                      <a:pt x="49" y="82"/>
                      <a:pt x="49" y="82"/>
                      <a:pt x="49" y="82"/>
                    </a:cubicBezTo>
                    <a:cubicBezTo>
                      <a:pt x="50" y="82"/>
                      <a:pt x="51" y="81"/>
                      <a:pt x="51" y="79"/>
                    </a:cubicBezTo>
                    <a:cubicBezTo>
                      <a:pt x="51" y="73"/>
                      <a:pt x="51" y="73"/>
                      <a:pt x="51" y="73"/>
                    </a:cubicBezTo>
                    <a:cubicBezTo>
                      <a:pt x="53" y="72"/>
                      <a:pt x="54" y="71"/>
                      <a:pt x="56" y="71"/>
                    </a:cubicBezTo>
                    <a:cubicBezTo>
                      <a:pt x="61" y="75"/>
                      <a:pt x="61" y="75"/>
                      <a:pt x="61" y="75"/>
                    </a:cubicBezTo>
                    <a:cubicBezTo>
                      <a:pt x="62" y="76"/>
                      <a:pt x="63" y="76"/>
                      <a:pt x="65" y="75"/>
                    </a:cubicBezTo>
                    <a:cubicBezTo>
                      <a:pt x="75" y="64"/>
                      <a:pt x="75" y="64"/>
                      <a:pt x="75" y="64"/>
                    </a:cubicBezTo>
                    <a:cubicBezTo>
                      <a:pt x="76" y="63"/>
                      <a:pt x="76" y="62"/>
                      <a:pt x="75" y="61"/>
                    </a:cubicBezTo>
                    <a:cubicBezTo>
                      <a:pt x="71" y="56"/>
                      <a:pt x="71" y="56"/>
                      <a:pt x="71" y="56"/>
                    </a:cubicBezTo>
                    <a:cubicBezTo>
                      <a:pt x="71" y="54"/>
                      <a:pt x="72" y="53"/>
                      <a:pt x="73" y="51"/>
                    </a:cubicBezTo>
                    <a:cubicBezTo>
                      <a:pt x="79" y="51"/>
                      <a:pt x="79" y="51"/>
                      <a:pt x="79" y="51"/>
                    </a:cubicBezTo>
                    <a:cubicBezTo>
                      <a:pt x="81" y="51"/>
                      <a:pt x="82" y="50"/>
                      <a:pt x="82" y="49"/>
                    </a:cubicBezTo>
                    <a:cubicBezTo>
                      <a:pt x="82" y="33"/>
                      <a:pt x="82" y="33"/>
                      <a:pt x="82" y="33"/>
                    </a:cubicBezTo>
                    <a:cubicBezTo>
                      <a:pt x="82" y="32"/>
                      <a:pt x="81" y="30"/>
                      <a:pt x="79" y="30"/>
                    </a:cubicBezTo>
                    <a:close/>
                    <a:moveTo>
                      <a:pt x="41" y="59"/>
                    </a:moveTo>
                    <a:cubicBezTo>
                      <a:pt x="31" y="59"/>
                      <a:pt x="23" y="51"/>
                      <a:pt x="23" y="41"/>
                    </a:cubicBezTo>
                    <a:cubicBezTo>
                      <a:pt x="23" y="31"/>
                      <a:pt x="31" y="23"/>
                      <a:pt x="41" y="23"/>
                    </a:cubicBezTo>
                    <a:cubicBezTo>
                      <a:pt x="51" y="23"/>
                      <a:pt x="59" y="31"/>
                      <a:pt x="59" y="41"/>
                    </a:cubicBezTo>
                    <a:cubicBezTo>
                      <a:pt x="59" y="51"/>
                      <a:pt x="51" y="59"/>
                      <a:pt x="41" y="59"/>
                    </a:cubicBezTo>
                    <a:close/>
                    <a:moveTo>
                      <a:pt x="41" y="59"/>
                    </a:moveTo>
                    <a:cubicBezTo>
                      <a:pt x="41" y="59"/>
                      <a:pt x="41" y="59"/>
                      <a:pt x="41" y="5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3" name="Freeform 258">
                <a:extLst>
                  <a:ext uri="{FF2B5EF4-FFF2-40B4-BE49-F238E27FC236}">
                    <a16:creationId xmlns:a16="http://schemas.microsoft.com/office/drawing/2014/main" id="{0DBAA618-62C7-4B7A-9E0F-3F81D4975918}"/>
                  </a:ext>
                </a:extLst>
              </p:cNvPr>
              <p:cNvSpPr>
                <a:spLocks noEditPoints="1"/>
              </p:cNvSpPr>
              <p:nvPr/>
            </p:nvSpPr>
            <p:spPr bwMode="auto">
              <a:xfrm>
                <a:off x="6111875" y="1595438"/>
                <a:ext cx="142875" cy="146050"/>
              </a:xfrm>
              <a:custGeom>
                <a:avLst/>
                <a:gdLst>
                  <a:gd name="T0" fmla="*/ 42 w 44"/>
                  <a:gd name="T1" fmla="*/ 16 h 45"/>
                  <a:gd name="T2" fmla="*/ 39 w 44"/>
                  <a:gd name="T3" fmla="*/ 16 h 45"/>
                  <a:gd name="T4" fmla="*/ 39 w 44"/>
                  <a:gd name="T5" fmla="*/ 15 h 45"/>
                  <a:gd name="T6" fmla="*/ 41 w 44"/>
                  <a:gd name="T7" fmla="*/ 13 h 45"/>
                  <a:gd name="T8" fmla="*/ 41 w 44"/>
                  <a:gd name="T9" fmla="*/ 9 h 45"/>
                  <a:gd name="T10" fmla="*/ 35 w 44"/>
                  <a:gd name="T11" fmla="*/ 4 h 45"/>
                  <a:gd name="T12" fmla="*/ 31 w 44"/>
                  <a:gd name="T13" fmla="*/ 4 h 45"/>
                  <a:gd name="T14" fmla="*/ 29 w 44"/>
                  <a:gd name="T15" fmla="*/ 5 h 45"/>
                  <a:gd name="T16" fmla="*/ 29 w 44"/>
                  <a:gd name="T17" fmla="*/ 5 h 45"/>
                  <a:gd name="T18" fmla="*/ 29 w 44"/>
                  <a:gd name="T19" fmla="*/ 3 h 45"/>
                  <a:gd name="T20" fmla="*/ 26 w 44"/>
                  <a:gd name="T21" fmla="*/ 0 h 45"/>
                  <a:gd name="T22" fmla="*/ 18 w 44"/>
                  <a:gd name="T23" fmla="*/ 0 h 45"/>
                  <a:gd name="T24" fmla="*/ 15 w 44"/>
                  <a:gd name="T25" fmla="*/ 3 h 45"/>
                  <a:gd name="T26" fmla="*/ 15 w 44"/>
                  <a:gd name="T27" fmla="*/ 5 h 45"/>
                  <a:gd name="T28" fmla="*/ 15 w 44"/>
                  <a:gd name="T29" fmla="*/ 5 h 45"/>
                  <a:gd name="T30" fmla="*/ 13 w 44"/>
                  <a:gd name="T31" fmla="*/ 4 h 45"/>
                  <a:gd name="T32" fmla="*/ 9 w 44"/>
                  <a:gd name="T33" fmla="*/ 4 h 45"/>
                  <a:gd name="T34" fmla="*/ 3 w 44"/>
                  <a:gd name="T35" fmla="*/ 9 h 45"/>
                  <a:gd name="T36" fmla="*/ 3 w 44"/>
                  <a:gd name="T37" fmla="*/ 13 h 45"/>
                  <a:gd name="T38" fmla="*/ 5 w 44"/>
                  <a:gd name="T39" fmla="*/ 15 h 45"/>
                  <a:gd name="T40" fmla="*/ 5 w 44"/>
                  <a:gd name="T41" fmla="*/ 16 h 45"/>
                  <a:gd name="T42" fmla="*/ 2 w 44"/>
                  <a:gd name="T43" fmla="*/ 16 h 45"/>
                  <a:gd name="T44" fmla="*/ 0 w 44"/>
                  <a:gd name="T45" fmla="*/ 18 h 45"/>
                  <a:gd name="T46" fmla="*/ 0 w 44"/>
                  <a:gd name="T47" fmla="*/ 26 h 45"/>
                  <a:gd name="T48" fmla="*/ 2 w 44"/>
                  <a:gd name="T49" fmla="*/ 29 h 45"/>
                  <a:gd name="T50" fmla="*/ 5 w 44"/>
                  <a:gd name="T51" fmla="*/ 29 h 45"/>
                  <a:gd name="T52" fmla="*/ 5 w 44"/>
                  <a:gd name="T53" fmla="*/ 30 h 45"/>
                  <a:gd name="T54" fmla="*/ 3 w 44"/>
                  <a:gd name="T55" fmla="*/ 31 h 45"/>
                  <a:gd name="T56" fmla="*/ 3 w 44"/>
                  <a:gd name="T57" fmla="*/ 35 h 45"/>
                  <a:gd name="T58" fmla="*/ 9 w 44"/>
                  <a:gd name="T59" fmla="*/ 41 h 45"/>
                  <a:gd name="T60" fmla="*/ 13 w 44"/>
                  <a:gd name="T61" fmla="*/ 41 h 45"/>
                  <a:gd name="T62" fmla="*/ 15 w 44"/>
                  <a:gd name="T63" fmla="*/ 39 h 45"/>
                  <a:gd name="T64" fmla="*/ 15 w 44"/>
                  <a:gd name="T65" fmla="*/ 39 h 45"/>
                  <a:gd name="T66" fmla="*/ 15 w 44"/>
                  <a:gd name="T67" fmla="*/ 42 h 45"/>
                  <a:gd name="T68" fmla="*/ 18 w 44"/>
                  <a:gd name="T69" fmla="*/ 45 h 45"/>
                  <a:gd name="T70" fmla="*/ 26 w 44"/>
                  <a:gd name="T71" fmla="*/ 45 h 45"/>
                  <a:gd name="T72" fmla="*/ 29 w 44"/>
                  <a:gd name="T73" fmla="*/ 42 h 45"/>
                  <a:gd name="T74" fmla="*/ 29 w 44"/>
                  <a:gd name="T75" fmla="*/ 39 h 45"/>
                  <a:gd name="T76" fmla="*/ 29 w 44"/>
                  <a:gd name="T77" fmla="*/ 39 h 45"/>
                  <a:gd name="T78" fmla="*/ 31 w 44"/>
                  <a:gd name="T79" fmla="*/ 41 h 45"/>
                  <a:gd name="T80" fmla="*/ 35 w 44"/>
                  <a:gd name="T81" fmla="*/ 41 h 45"/>
                  <a:gd name="T82" fmla="*/ 41 w 44"/>
                  <a:gd name="T83" fmla="*/ 35 h 45"/>
                  <a:gd name="T84" fmla="*/ 41 w 44"/>
                  <a:gd name="T85" fmla="*/ 31 h 45"/>
                  <a:gd name="T86" fmla="*/ 39 w 44"/>
                  <a:gd name="T87" fmla="*/ 30 h 45"/>
                  <a:gd name="T88" fmla="*/ 39 w 44"/>
                  <a:gd name="T89" fmla="*/ 29 h 45"/>
                  <a:gd name="T90" fmla="*/ 42 w 44"/>
                  <a:gd name="T91" fmla="*/ 29 h 45"/>
                  <a:gd name="T92" fmla="*/ 44 w 44"/>
                  <a:gd name="T93" fmla="*/ 26 h 45"/>
                  <a:gd name="T94" fmla="*/ 44 w 44"/>
                  <a:gd name="T95" fmla="*/ 18 h 45"/>
                  <a:gd name="T96" fmla="*/ 42 w 44"/>
                  <a:gd name="T97" fmla="*/ 16 h 45"/>
                  <a:gd name="T98" fmla="*/ 22 w 44"/>
                  <a:gd name="T99" fmla="*/ 31 h 45"/>
                  <a:gd name="T100" fmla="*/ 13 w 44"/>
                  <a:gd name="T101" fmla="*/ 22 h 45"/>
                  <a:gd name="T102" fmla="*/ 22 w 44"/>
                  <a:gd name="T103" fmla="*/ 13 h 45"/>
                  <a:gd name="T104" fmla="*/ 31 w 44"/>
                  <a:gd name="T105" fmla="*/ 22 h 45"/>
                  <a:gd name="T106" fmla="*/ 22 w 44"/>
                  <a:gd name="T107" fmla="*/ 31 h 45"/>
                  <a:gd name="T108" fmla="*/ 22 w 44"/>
                  <a:gd name="T109" fmla="*/ 31 h 45"/>
                  <a:gd name="T110" fmla="*/ 22 w 44"/>
                  <a:gd name="T111" fmla="*/ 3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4" h="45">
                    <a:moveTo>
                      <a:pt x="42" y="16"/>
                    </a:moveTo>
                    <a:cubicBezTo>
                      <a:pt x="39" y="16"/>
                      <a:pt x="39" y="16"/>
                      <a:pt x="39" y="16"/>
                    </a:cubicBezTo>
                    <a:cubicBezTo>
                      <a:pt x="39" y="15"/>
                      <a:pt x="39" y="15"/>
                      <a:pt x="39" y="15"/>
                    </a:cubicBezTo>
                    <a:cubicBezTo>
                      <a:pt x="41" y="13"/>
                      <a:pt x="41" y="13"/>
                      <a:pt x="41" y="13"/>
                    </a:cubicBezTo>
                    <a:cubicBezTo>
                      <a:pt x="42" y="12"/>
                      <a:pt x="42" y="10"/>
                      <a:pt x="41" y="9"/>
                    </a:cubicBezTo>
                    <a:cubicBezTo>
                      <a:pt x="35" y="4"/>
                      <a:pt x="35" y="4"/>
                      <a:pt x="35" y="4"/>
                    </a:cubicBezTo>
                    <a:cubicBezTo>
                      <a:pt x="34" y="3"/>
                      <a:pt x="32" y="3"/>
                      <a:pt x="31" y="4"/>
                    </a:cubicBezTo>
                    <a:cubicBezTo>
                      <a:pt x="29" y="5"/>
                      <a:pt x="29" y="5"/>
                      <a:pt x="29" y="5"/>
                    </a:cubicBezTo>
                    <a:cubicBezTo>
                      <a:pt x="29" y="5"/>
                      <a:pt x="29" y="5"/>
                      <a:pt x="29" y="5"/>
                    </a:cubicBezTo>
                    <a:cubicBezTo>
                      <a:pt x="29" y="3"/>
                      <a:pt x="29" y="3"/>
                      <a:pt x="29" y="3"/>
                    </a:cubicBezTo>
                    <a:cubicBezTo>
                      <a:pt x="29" y="1"/>
                      <a:pt x="27" y="0"/>
                      <a:pt x="26" y="0"/>
                    </a:cubicBezTo>
                    <a:cubicBezTo>
                      <a:pt x="18" y="0"/>
                      <a:pt x="18" y="0"/>
                      <a:pt x="18" y="0"/>
                    </a:cubicBezTo>
                    <a:cubicBezTo>
                      <a:pt x="17" y="0"/>
                      <a:pt x="15" y="1"/>
                      <a:pt x="15" y="3"/>
                    </a:cubicBezTo>
                    <a:cubicBezTo>
                      <a:pt x="15" y="5"/>
                      <a:pt x="15" y="5"/>
                      <a:pt x="15" y="5"/>
                    </a:cubicBezTo>
                    <a:cubicBezTo>
                      <a:pt x="15" y="5"/>
                      <a:pt x="15" y="5"/>
                      <a:pt x="15" y="5"/>
                    </a:cubicBezTo>
                    <a:cubicBezTo>
                      <a:pt x="13" y="4"/>
                      <a:pt x="13" y="4"/>
                      <a:pt x="13" y="4"/>
                    </a:cubicBezTo>
                    <a:cubicBezTo>
                      <a:pt x="12" y="3"/>
                      <a:pt x="10" y="3"/>
                      <a:pt x="9" y="4"/>
                    </a:cubicBezTo>
                    <a:cubicBezTo>
                      <a:pt x="3" y="9"/>
                      <a:pt x="3" y="9"/>
                      <a:pt x="3" y="9"/>
                    </a:cubicBezTo>
                    <a:cubicBezTo>
                      <a:pt x="2" y="10"/>
                      <a:pt x="2" y="12"/>
                      <a:pt x="3" y="13"/>
                    </a:cubicBezTo>
                    <a:cubicBezTo>
                      <a:pt x="5" y="15"/>
                      <a:pt x="5" y="15"/>
                      <a:pt x="5" y="15"/>
                    </a:cubicBezTo>
                    <a:cubicBezTo>
                      <a:pt x="5" y="15"/>
                      <a:pt x="5" y="15"/>
                      <a:pt x="5" y="16"/>
                    </a:cubicBezTo>
                    <a:cubicBezTo>
                      <a:pt x="2" y="16"/>
                      <a:pt x="2" y="16"/>
                      <a:pt x="2" y="16"/>
                    </a:cubicBezTo>
                    <a:cubicBezTo>
                      <a:pt x="1" y="16"/>
                      <a:pt x="0" y="17"/>
                      <a:pt x="0" y="18"/>
                    </a:cubicBezTo>
                    <a:cubicBezTo>
                      <a:pt x="0" y="26"/>
                      <a:pt x="0" y="26"/>
                      <a:pt x="0" y="26"/>
                    </a:cubicBezTo>
                    <a:cubicBezTo>
                      <a:pt x="0" y="28"/>
                      <a:pt x="1" y="29"/>
                      <a:pt x="2" y="29"/>
                    </a:cubicBezTo>
                    <a:cubicBezTo>
                      <a:pt x="5" y="29"/>
                      <a:pt x="5" y="29"/>
                      <a:pt x="5" y="29"/>
                    </a:cubicBezTo>
                    <a:cubicBezTo>
                      <a:pt x="5" y="29"/>
                      <a:pt x="5" y="29"/>
                      <a:pt x="5" y="30"/>
                    </a:cubicBezTo>
                    <a:cubicBezTo>
                      <a:pt x="3" y="31"/>
                      <a:pt x="3" y="31"/>
                      <a:pt x="3" y="31"/>
                    </a:cubicBezTo>
                    <a:cubicBezTo>
                      <a:pt x="2" y="33"/>
                      <a:pt x="2" y="34"/>
                      <a:pt x="3" y="35"/>
                    </a:cubicBezTo>
                    <a:cubicBezTo>
                      <a:pt x="9" y="41"/>
                      <a:pt x="9" y="41"/>
                      <a:pt x="9" y="41"/>
                    </a:cubicBezTo>
                    <a:cubicBezTo>
                      <a:pt x="10" y="42"/>
                      <a:pt x="12" y="42"/>
                      <a:pt x="13" y="41"/>
                    </a:cubicBezTo>
                    <a:cubicBezTo>
                      <a:pt x="15" y="39"/>
                      <a:pt x="15" y="39"/>
                      <a:pt x="15" y="39"/>
                    </a:cubicBezTo>
                    <a:cubicBezTo>
                      <a:pt x="15" y="39"/>
                      <a:pt x="15" y="39"/>
                      <a:pt x="15" y="39"/>
                    </a:cubicBezTo>
                    <a:cubicBezTo>
                      <a:pt x="15" y="42"/>
                      <a:pt x="15" y="42"/>
                      <a:pt x="15" y="42"/>
                    </a:cubicBezTo>
                    <a:cubicBezTo>
                      <a:pt x="15" y="43"/>
                      <a:pt x="17" y="45"/>
                      <a:pt x="18" y="45"/>
                    </a:cubicBezTo>
                    <a:cubicBezTo>
                      <a:pt x="26" y="45"/>
                      <a:pt x="26" y="45"/>
                      <a:pt x="26" y="45"/>
                    </a:cubicBezTo>
                    <a:cubicBezTo>
                      <a:pt x="27" y="45"/>
                      <a:pt x="29" y="43"/>
                      <a:pt x="29" y="42"/>
                    </a:cubicBezTo>
                    <a:cubicBezTo>
                      <a:pt x="29" y="39"/>
                      <a:pt x="29" y="39"/>
                      <a:pt x="29" y="39"/>
                    </a:cubicBezTo>
                    <a:cubicBezTo>
                      <a:pt x="29" y="39"/>
                      <a:pt x="29" y="39"/>
                      <a:pt x="29" y="39"/>
                    </a:cubicBezTo>
                    <a:cubicBezTo>
                      <a:pt x="31" y="41"/>
                      <a:pt x="31" y="41"/>
                      <a:pt x="31" y="41"/>
                    </a:cubicBezTo>
                    <a:cubicBezTo>
                      <a:pt x="32" y="42"/>
                      <a:pt x="34" y="42"/>
                      <a:pt x="35" y="41"/>
                    </a:cubicBezTo>
                    <a:cubicBezTo>
                      <a:pt x="41" y="35"/>
                      <a:pt x="41" y="35"/>
                      <a:pt x="41" y="35"/>
                    </a:cubicBezTo>
                    <a:cubicBezTo>
                      <a:pt x="42" y="34"/>
                      <a:pt x="42" y="33"/>
                      <a:pt x="41" y="31"/>
                    </a:cubicBezTo>
                    <a:cubicBezTo>
                      <a:pt x="39" y="30"/>
                      <a:pt x="39" y="30"/>
                      <a:pt x="39" y="30"/>
                    </a:cubicBezTo>
                    <a:cubicBezTo>
                      <a:pt x="39" y="29"/>
                      <a:pt x="39" y="29"/>
                      <a:pt x="39" y="29"/>
                    </a:cubicBezTo>
                    <a:cubicBezTo>
                      <a:pt x="42" y="29"/>
                      <a:pt x="42" y="29"/>
                      <a:pt x="42" y="29"/>
                    </a:cubicBezTo>
                    <a:cubicBezTo>
                      <a:pt x="43" y="29"/>
                      <a:pt x="44" y="28"/>
                      <a:pt x="44" y="26"/>
                    </a:cubicBezTo>
                    <a:cubicBezTo>
                      <a:pt x="44" y="18"/>
                      <a:pt x="44" y="18"/>
                      <a:pt x="44" y="18"/>
                    </a:cubicBezTo>
                    <a:cubicBezTo>
                      <a:pt x="44" y="17"/>
                      <a:pt x="43" y="16"/>
                      <a:pt x="42" y="16"/>
                    </a:cubicBezTo>
                    <a:close/>
                    <a:moveTo>
                      <a:pt x="22" y="31"/>
                    </a:moveTo>
                    <a:cubicBezTo>
                      <a:pt x="17" y="31"/>
                      <a:pt x="13" y="27"/>
                      <a:pt x="13" y="22"/>
                    </a:cubicBezTo>
                    <a:cubicBezTo>
                      <a:pt x="13" y="17"/>
                      <a:pt x="17" y="13"/>
                      <a:pt x="22" y="13"/>
                    </a:cubicBezTo>
                    <a:cubicBezTo>
                      <a:pt x="27" y="13"/>
                      <a:pt x="31" y="17"/>
                      <a:pt x="31" y="22"/>
                    </a:cubicBezTo>
                    <a:cubicBezTo>
                      <a:pt x="31" y="27"/>
                      <a:pt x="27" y="31"/>
                      <a:pt x="22" y="31"/>
                    </a:cubicBezTo>
                    <a:close/>
                    <a:moveTo>
                      <a:pt x="22" y="31"/>
                    </a:moveTo>
                    <a:cubicBezTo>
                      <a:pt x="22" y="31"/>
                      <a:pt x="22" y="31"/>
                      <a:pt x="22" y="3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4" name="Freeform 259">
                <a:extLst>
                  <a:ext uri="{FF2B5EF4-FFF2-40B4-BE49-F238E27FC236}">
                    <a16:creationId xmlns:a16="http://schemas.microsoft.com/office/drawing/2014/main" id="{E94DB817-226A-4725-9AD4-B87D78C31FB1}"/>
                  </a:ext>
                </a:extLst>
              </p:cNvPr>
              <p:cNvSpPr>
                <a:spLocks noEditPoints="1"/>
              </p:cNvSpPr>
              <p:nvPr/>
            </p:nvSpPr>
            <p:spPr bwMode="auto">
              <a:xfrm>
                <a:off x="6305550" y="1530350"/>
                <a:ext cx="65087" cy="28575"/>
              </a:xfrm>
              <a:custGeom>
                <a:avLst/>
                <a:gdLst>
                  <a:gd name="T0" fmla="*/ 16 w 20"/>
                  <a:gd name="T1" fmla="*/ 0 h 9"/>
                  <a:gd name="T2" fmla="*/ 15 w 20"/>
                  <a:gd name="T3" fmla="*/ 0 h 9"/>
                  <a:gd name="T4" fmla="*/ 10 w 20"/>
                  <a:gd name="T5" fmla="*/ 2 h 9"/>
                  <a:gd name="T6" fmla="*/ 5 w 20"/>
                  <a:gd name="T7" fmla="*/ 0 h 9"/>
                  <a:gd name="T8" fmla="*/ 3 w 20"/>
                  <a:gd name="T9" fmla="*/ 0 h 9"/>
                  <a:gd name="T10" fmla="*/ 0 w 20"/>
                  <a:gd name="T11" fmla="*/ 5 h 9"/>
                  <a:gd name="T12" fmla="*/ 10 w 20"/>
                  <a:gd name="T13" fmla="*/ 9 h 9"/>
                  <a:gd name="T14" fmla="*/ 20 w 20"/>
                  <a:gd name="T15" fmla="*/ 5 h 9"/>
                  <a:gd name="T16" fmla="*/ 16 w 20"/>
                  <a:gd name="T17" fmla="*/ 0 h 9"/>
                  <a:gd name="T18" fmla="*/ 16 w 20"/>
                  <a:gd name="T19" fmla="*/ 0 h 9"/>
                  <a:gd name="T20" fmla="*/ 16 w 20"/>
                  <a:gd name="T21"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9">
                    <a:moveTo>
                      <a:pt x="16" y="0"/>
                    </a:moveTo>
                    <a:cubicBezTo>
                      <a:pt x="15" y="0"/>
                      <a:pt x="15" y="0"/>
                      <a:pt x="15" y="0"/>
                    </a:cubicBezTo>
                    <a:cubicBezTo>
                      <a:pt x="10" y="2"/>
                      <a:pt x="10" y="2"/>
                      <a:pt x="10" y="2"/>
                    </a:cubicBezTo>
                    <a:cubicBezTo>
                      <a:pt x="5" y="0"/>
                      <a:pt x="5" y="0"/>
                      <a:pt x="5" y="0"/>
                    </a:cubicBezTo>
                    <a:cubicBezTo>
                      <a:pt x="3" y="0"/>
                      <a:pt x="3" y="0"/>
                      <a:pt x="3" y="0"/>
                    </a:cubicBezTo>
                    <a:cubicBezTo>
                      <a:pt x="1" y="1"/>
                      <a:pt x="0" y="3"/>
                      <a:pt x="0" y="5"/>
                    </a:cubicBezTo>
                    <a:cubicBezTo>
                      <a:pt x="2" y="7"/>
                      <a:pt x="6" y="9"/>
                      <a:pt x="10" y="9"/>
                    </a:cubicBezTo>
                    <a:cubicBezTo>
                      <a:pt x="14" y="9"/>
                      <a:pt x="17" y="7"/>
                      <a:pt x="20" y="5"/>
                    </a:cubicBezTo>
                    <a:cubicBezTo>
                      <a:pt x="20" y="3"/>
                      <a:pt x="18" y="1"/>
                      <a:pt x="16" y="0"/>
                    </a:cubicBezTo>
                    <a:close/>
                    <a:moveTo>
                      <a:pt x="16" y="0"/>
                    </a:moveTo>
                    <a:cubicBezTo>
                      <a:pt x="16" y="0"/>
                      <a:pt x="16" y="0"/>
                      <a:pt x="1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grpSp>
      <p:grpSp>
        <p:nvGrpSpPr>
          <p:cNvPr id="35" name="Group 27">
            <a:extLst>
              <a:ext uri="{FF2B5EF4-FFF2-40B4-BE49-F238E27FC236}">
                <a16:creationId xmlns:a16="http://schemas.microsoft.com/office/drawing/2014/main" id="{62269014-EE25-448F-AA83-E417DFDBAA8B}"/>
              </a:ext>
            </a:extLst>
          </p:cNvPr>
          <p:cNvGrpSpPr/>
          <p:nvPr/>
        </p:nvGrpSpPr>
        <p:grpSpPr>
          <a:xfrm>
            <a:off x="3912692" y="1589217"/>
            <a:ext cx="1400853" cy="1395747"/>
            <a:chOff x="3912690" y="1589218"/>
            <a:chExt cx="1400853" cy="1395746"/>
          </a:xfrm>
        </p:grpSpPr>
        <p:sp>
          <p:nvSpPr>
            <p:cNvPr id="36" name="Freeform 23">
              <a:extLst>
                <a:ext uri="{FF2B5EF4-FFF2-40B4-BE49-F238E27FC236}">
                  <a16:creationId xmlns:a16="http://schemas.microsoft.com/office/drawing/2014/main" id="{EC4AC006-2193-49C6-B5E4-047E9FE2FB4D}"/>
                </a:ext>
              </a:extLst>
            </p:cNvPr>
            <p:cNvSpPr>
              <a:spLocks/>
            </p:cNvSpPr>
            <p:nvPr/>
          </p:nvSpPr>
          <p:spPr bwMode="auto">
            <a:xfrm>
              <a:off x="3912690" y="1589218"/>
              <a:ext cx="1400853" cy="1395746"/>
            </a:xfrm>
            <a:custGeom>
              <a:avLst/>
              <a:gdLst>
                <a:gd name="T0" fmla="*/ 606 w 615"/>
                <a:gd name="T1" fmla="*/ 2 h 613"/>
                <a:gd name="T2" fmla="*/ 508 w 615"/>
                <a:gd name="T3" fmla="*/ 27 h 613"/>
                <a:gd name="T4" fmla="*/ 417 w 615"/>
                <a:gd name="T5" fmla="*/ 35 h 613"/>
                <a:gd name="T6" fmla="*/ 240 w 615"/>
                <a:gd name="T7" fmla="*/ 63 h 613"/>
                <a:gd name="T8" fmla="*/ 94 w 615"/>
                <a:gd name="T9" fmla="*/ 147 h 613"/>
                <a:gd name="T10" fmla="*/ 15 w 615"/>
                <a:gd name="T11" fmla="*/ 290 h 613"/>
                <a:gd name="T12" fmla="*/ 35 w 615"/>
                <a:gd name="T13" fmla="*/ 485 h 613"/>
                <a:gd name="T14" fmla="*/ 35 w 615"/>
                <a:gd name="T15" fmla="*/ 485 h 613"/>
                <a:gd name="T16" fmla="*/ 21 w 615"/>
                <a:gd name="T17" fmla="*/ 608 h 613"/>
                <a:gd name="T18" fmla="*/ 27 w 615"/>
                <a:gd name="T19" fmla="*/ 612 h 613"/>
                <a:gd name="T20" fmla="*/ 63 w 615"/>
                <a:gd name="T21" fmla="*/ 603 h 613"/>
                <a:gd name="T22" fmla="*/ 66 w 615"/>
                <a:gd name="T23" fmla="*/ 599 h 613"/>
                <a:gd name="T24" fmla="*/ 82 w 615"/>
                <a:gd name="T25" fmla="*/ 497 h 613"/>
                <a:gd name="T26" fmla="*/ 376 w 615"/>
                <a:gd name="T27" fmla="*/ 469 h 613"/>
                <a:gd name="T28" fmla="*/ 464 w 615"/>
                <a:gd name="T29" fmla="*/ 344 h 613"/>
                <a:gd name="T30" fmla="*/ 491 w 615"/>
                <a:gd name="T31" fmla="*/ 256 h 613"/>
                <a:gd name="T32" fmla="*/ 520 w 615"/>
                <a:gd name="T33" fmla="*/ 161 h 613"/>
                <a:gd name="T34" fmla="*/ 610 w 615"/>
                <a:gd name="T35" fmla="*/ 10 h 613"/>
                <a:gd name="T36" fmla="*/ 606 w 615"/>
                <a:gd name="T37" fmla="*/ 2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5" h="613">
                  <a:moveTo>
                    <a:pt x="606" y="2"/>
                  </a:moveTo>
                  <a:cubicBezTo>
                    <a:pt x="575" y="18"/>
                    <a:pt x="541" y="23"/>
                    <a:pt x="508" y="27"/>
                  </a:cubicBezTo>
                  <a:cubicBezTo>
                    <a:pt x="478" y="30"/>
                    <a:pt x="447" y="32"/>
                    <a:pt x="417" y="35"/>
                  </a:cubicBezTo>
                  <a:cubicBezTo>
                    <a:pt x="358" y="40"/>
                    <a:pt x="298" y="46"/>
                    <a:pt x="240" y="63"/>
                  </a:cubicBezTo>
                  <a:cubicBezTo>
                    <a:pt x="186" y="79"/>
                    <a:pt x="134" y="106"/>
                    <a:pt x="94" y="147"/>
                  </a:cubicBezTo>
                  <a:cubicBezTo>
                    <a:pt x="55" y="186"/>
                    <a:pt x="27" y="236"/>
                    <a:pt x="15" y="290"/>
                  </a:cubicBezTo>
                  <a:cubicBezTo>
                    <a:pt x="0" y="355"/>
                    <a:pt x="7" y="424"/>
                    <a:pt x="35" y="485"/>
                  </a:cubicBezTo>
                  <a:cubicBezTo>
                    <a:pt x="35" y="485"/>
                    <a:pt x="35" y="485"/>
                    <a:pt x="35" y="485"/>
                  </a:cubicBezTo>
                  <a:cubicBezTo>
                    <a:pt x="26" y="526"/>
                    <a:pt x="21" y="567"/>
                    <a:pt x="21" y="608"/>
                  </a:cubicBezTo>
                  <a:cubicBezTo>
                    <a:pt x="21" y="611"/>
                    <a:pt x="24" y="613"/>
                    <a:pt x="27" y="612"/>
                  </a:cubicBezTo>
                  <a:cubicBezTo>
                    <a:pt x="39" y="609"/>
                    <a:pt x="51" y="606"/>
                    <a:pt x="63" y="603"/>
                  </a:cubicBezTo>
                  <a:cubicBezTo>
                    <a:pt x="65" y="603"/>
                    <a:pt x="66" y="601"/>
                    <a:pt x="66" y="599"/>
                  </a:cubicBezTo>
                  <a:cubicBezTo>
                    <a:pt x="68" y="565"/>
                    <a:pt x="73" y="530"/>
                    <a:pt x="82" y="497"/>
                  </a:cubicBezTo>
                  <a:cubicBezTo>
                    <a:pt x="176" y="546"/>
                    <a:pt x="293" y="536"/>
                    <a:pt x="376" y="469"/>
                  </a:cubicBezTo>
                  <a:cubicBezTo>
                    <a:pt x="417" y="436"/>
                    <a:pt x="446" y="393"/>
                    <a:pt x="464" y="344"/>
                  </a:cubicBezTo>
                  <a:cubicBezTo>
                    <a:pt x="475" y="315"/>
                    <a:pt x="483" y="285"/>
                    <a:pt x="491" y="256"/>
                  </a:cubicBezTo>
                  <a:cubicBezTo>
                    <a:pt x="500" y="224"/>
                    <a:pt x="510" y="193"/>
                    <a:pt x="520" y="161"/>
                  </a:cubicBezTo>
                  <a:cubicBezTo>
                    <a:pt x="538" y="106"/>
                    <a:pt x="557" y="41"/>
                    <a:pt x="610" y="10"/>
                  </a:cubicBezTo>
                  <a:cubicBezTo>
                    <a:pt x="615" y="7"/>
                    <a:pt x="611" y="0"/>
                    <a:pt x="606" y="2"/>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nvGrpSpPr>
            <p:cNvPr id="37" name="Group 35">
              <a:extLst>
                <a:ext uri="{FF2B5EF4-FFF2-40B4-BE49-F238E27FC236}">
                  <a16:creationId xmlns:a16="http://schemas.microsoft.com/office/drawing/2014/main" id="{3954AC42-316E-4D46-9F46-FF99972B74A9}"/>
                </a:ext>
              </a:extLst>
            </p:cNvPr>
            <p:cNvGrpSpPr/>
            <p:nvPr/>
          </p:nvGrpSpPr>
          <p:grpSpPr>
            <a:xfrm>
              <a:off x="4217410" y="1911340"/>
              <a:ext cx="548049" cy="519075"/>
              <a:chOff x="6731000" y="2046288"/>
              <a:chExt cx="360363" cy="341312"/>
            </a:xfrm>
            <a:solidFill>
              <a:schemeClr val="bg1"/>
            </a:solidFill>
          </p:grpSpPr>
          <p:sp>
            <p:nvSpPr>
              <p:cNvPr id="38" name="Freeform 43">
                <a:extLst>
                  <a:ext uri="{FF2B5EF4-FFF2-40B4-BE49-F238E27FC236}">
                    <a16:creationId xmlns:a16="http://schemas.microsoft.com/office/drawing/2014/main" id="{3F999825-1179-482E-B2D8-8DA082244EFA}"/>
                  </a:ext>
                </a:extLst>
              </p:cNvPr>
              <p:cNvSpPr>
                <a:spLocks noEditPoints="1"/>
              </p:cNvSpPr>
              <p:nvPr/>
            </p:nvSpPr>
            <p:spPr bwMode="auto">
              <a:xfrm>
                <a:off x="6886575" y="2141538"/>
                <a:ext cx="49212" cy="49213"/>
              </a:xfrm>
              <a:custGeom>
                <a:avLst/>
                <a:gdLst>
                  <a:gd name="T0" fmla="*/ 13 w 15"/>
                  <a:gd name="T1" fmla="*/ 0 h 15"/>
                  <a:gd name="T2" fmla="*/ 9 w 15"/>
                  <a:gd name="T3" fmla="*/ 2 h 15"/>
                  <a:gd name="T4" fmla="*/ 6 w 15"/>
                  <a:gd name="T5" fmla="*/ 2 h 15"/>
                  <a:gd name="T6" fmla="*/ 2 w 15"/>
                  <a:gd name="T7" fmla="*/ 0 h 15"/>
                  <a:gd name="T8" fmla="*/ 2 w 15"/>
                  <a:gd name="T9" fmla="*/ 1 h 15"/>
                  <a:gd name="T10" fmla="*/ 0 w 15"/>
                  <a:gd name="T11" fmla="*/ 3 h 15"/>
                  <a:gd name="T12" fmla="*/ 0 w 15"/>
                  <a:gd name="T13" fmla="*/ 13 h 15"/>
                  <a:gd name="T14" fmla="*/ 8 w 15"/>
                  <a:gd name="T15" fmla="*/ 15 h 15"/>
                  <a:gd name="T16" fmla="*/ 15 w 15"/>
                  <a:gd name="T17" fmla="*/ 13 h 15"/>
                  <a:gd name="T18" fmla="*/ 15 w 15"/>
                  <a:gd name="T19" fmla="*/ 3 h 15"/>
                  <a:gd name="T20" fmla="*/ 14 w 15"/>
                  <a:gd name="T21" fmla="*/ 1 h 15"/>
                  <a:gd name="T22" fmla="*/ 13 w 15"/>
                  <a:gd name="T23" fmla="*/ 0 h 15"/>
                  <a:gd name="T24" fmla="*/ 13 w 15"/>
                  <a:gd name="T25" fmla="*/ 0 h 15"/>
                  <a:gd name="T26" fmla="*/ 13 w 15"/>
                  <a:gd name="T27"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 h="15">
                    <a:moveTo>
                      <a:pt x="13" y="0"/>
                    </a:moveTo>
                    <a:cubicBezTo>
                      <a:pt x="9" y="2"/>
                      <a:pt x="9" y="2"/>
                      <a:pt x="9" y="2"/>
                    </a:cubicBezTo>
                    <a:cubicBezTo>
                      <a:pt x="8" y="3"/>
                      <a:pt x="7" y="3"/>
                      <a:pt x="6" y="2"/>
                    </a:cubicBezTo>
                    <a:cubicBezTo>
                      <a:pt x="2" y="0"/>
                      <a:pt x="2" y="0"/>
                      <a:pt x="2" y="0"/>
                    </a:cubicBezTo>
                    <a:cubicBezTo>
                      <a:pt x="2" y="1"/>
                      <a:pt x="2" y="1"/>
                      <a:pt x="2" y="1"/>
                    </a:cubicBezTo>
                    <a:cubicBezTo>
                      <a:pt x="1" y="1"/>
                      <a:pt x="0" y="2"/>
                      <a:pt x="0" y="3"/>
                    </a:cubicBezTo>
                    <a:cubicBezTo>
                      <a:pt x="0" y="13"/>
                      <a:pt x="0" y="13"/>
                      <a:pt x="0" y="13"/>
                    </a:cubicBezTo>
                    <a:cubicBezTo>
                      <a:pt x="2" y="14"/>
                      <a:pt x="5" y="15"/>
                      <a:pt x="8" y="15"/>
                    </a:cubicBezTo>
                    <a:cubicBezTo>
                      <a:pt x="10" y="15"/>
                      <a:pt x="13" y="14"/>
                      <a:pt x="15" y="13"/>
                    </a:cubicBezTo>
                    <a:cubicBezTo>
                      <a:pt x="15" y="3"/>
                      <a:pt x="15" y="3"/>
                      <a:pt x="15" y="3"/>
                    </a:cubicBezTo>
                    <a:cubicBezTo>
                      <a:pt x="15" y="2"/>
                      <a:pt x="15" y="1"/>
                      <a:pt x="14" y="1"/>
                    </a:cubicBezTo>
                    <a:lnTo>
                      <a:pt x="13" y="0"/>
                    </a:lnTo>
                    <a:close/>
                    <a:moveTo>
                      <a:pt x="13" y="0"/>
                    </a:moveTo>
                    <a:cubicBezTo>
                      <a:pt x="13" y="0"/>
                      <a:pt x="13" y="0"/>
                      <a:pt x="1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9" name="Freeform 44">
                <a:extLst>
                  <a:ext uri="{FF2B5EF4-FFF2-40B4-BE49-F238E27FC236}">
                    <a16:creationId xmlns:a16="http://schemas.microsoft.com/office/drawing/2014/main" id="{3775F22A-E438-454D-9A9A-3C04E97121BA}"/>
                  </a:ext>
                </a:extLst>
              </p:cNvPr>
              <p:cNvSpPr>
                <a:spLocks noEditPoints="1"/>
              </p:cNvSpPr>
              <p:nvPr/>
            </p:nvSpPr>
            <p:spPr bwMode="auto">
              <a:xfrm>
                <a:off x="6899275" y="2076450"/>
                <a:ext cx="23812" cy="22225"/>
              </a:xfrm>
              <a:custGeom>
                <a:avLst/>
                <a:gdLst>
                  <a:gd name="T0" fmla="*/ 4 w 7"/>
                  <a:gd name="T1" fmla="*/ 7 h 7"/>
                  <a:gd name="T2" fmla="*/ 7 w 7"/>
                  <a:gd name="T3" fmla="*/ 3 h 7"/>
                  <a:gd name="T4" fmla="*/ 4 w 7"/>
                  <a:gd name="T5" fmla="*/ 0 h 7"/>
                  <a:gd name="T6" fmla="*/ 0 w 7"/>
                  <a:gd name="T7" fmla="*/ 3 h 7"/>
                  <a:gd name="T8" fmla="*/ 4 w 7"/>
                  <a:gd name="T9" fmla="*/ 7 h 7"/>
                  <a:gd name="T10" fmla="*/ 4 w 7"/>
                  <a:gd name="T11" fmla="*/ 7 h 7"/>
                  <a:gd name="T12" fmla="*/ 4 w 7"/>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7" h="7">
                    <a:moveTo>
                      <a:pt x="4" y="7"/>
                    </a:moveTo>
                    <a:cubicBezTo>
                      <a:pt x="5" y="7"/>
                      <a:pt x="7" y="5"/>
                      <a:pt x="7" y="3"/>
                    </a:cubicBezTo>
                    <a:cubicBezTo>
                      <a:pt x="7" y="2"/>
                      <a:pt x="5" y="0"/>
                      <a:pt x="4" y="0"/>
                    </a:cubicBezTo>
                    <a:cubicBezTo>
                      <a:pt x="2" y="0"/>
                      <a:pt x="0" y="2"/>
                      <a:pt x="0" y="3"/>
                    </a:cubicBezTo>
                    <a:cubicBezTo>
                      <a:pt x="0" y="5"/>
                      <a:pt x="2" y="7"/>
                      <a:pt x="4" y="7"/>
                    </a:cubicBezTo>
                    <a:close/>
                    <a:moveTo>
                      <a:pt x="4" y="7"/>
                    </a:moveTo>
                    <a:cubicBezTo>
                      <a:pt x="4" y="7"/>
                      <a:pt x="4" y="7"/>
                      <a:pt x="4" y="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40" name="Freeform 45">
                <a:extLst>
                  <a:ext uri="{FF2B5EF4-FFF2-40B4-BE49-F238E27FC236}">
                    <a16:creationId xmlns:a16="http://schemas.microsoft.com/office/drawing/2014/main" id="{A8879B7A-5899-4B38-9652-C3EE4826A56D}"/>
                  </a:ext>
                </a:extLst>
              </p:cNvPr>
              <p:cNvSpPr>
                <a:spLocks noEditPoints="1"/>
              </p:cNvSpPr>
              <p:nvPr/>
            </p:nvSpPr>
            <p:spPr bwMode="auto">
              <a:xfrm>
                <a:off x="6789738" y="2278063"/>
                <a:ext cx="22225" cy="22225"/>
              </a:xfrm>
              <a:custGeom>
                <a:avLst/>
                <a:gdLst>
                  <a:gd name="T0" fmla="*/ 4 w 7"/>
                  <a:gd name="T1" fmla="*/ 0 h 7"/>
                  <a:gd name="T2" fmla="*/ 0 w 7"/>
                  <a:gd name="T3" fmla="*/ 3 h 7"/>
                  <a:gd name="T4" fmla="*/ 4 w 7"/>
                  <a:gd name="T5" fmla="*/ 7 h 7"/>
                  <a:gd name="T6" fmla="*/ 7 w 7"/>
                  <a:gd name="T7" fmla="*/ 3 h 7"/>
                  <a:gd name="T8" fmla="*/ 4 w 7"/>
                  <a:gd name="T9" fmla="*/ 0 h 7"/>
                  <a:gd name="T10" fmla="*/ 4 w 7"/>
                  <a:gd name="T11" fmla="*/ 0 h 7"/>
                  <a:gd name="T12" fmla="*/ 4 w 7"/>
                  <a:gd name="T13" fmla="*/ 0 h 7"/>
                </a:gdLst>
                <a:ahLst/>
                <a:cxnLst>
                  <a:cxn ang="0">
                    <a:pos x="T0" y="T1"/>
                  </a:cxn>
                  <a:cxn ang="0">
                    <a:pos x="T2" y="T3"/>
                  </a:cxn>
                  <a:cxn ang="0">
                    <a:pos x="T4" y="T5"/>
                  </a:cxn>
                  <a:cxn ang="0">
                    <a:pos x="T6" y="T7"/>
                  </a:cxn>
                  <a:cxn ang="0">
                    <a:pos x="T8" y="T9"/>
                  </a:cxn>
                  <a:cxn ang="0">
                    <a:pos x="T10" y="T11"/>
                  </a:cxn>
                  <a:cxn ang="0">
                    <a:pos x="T12" y="T13"/>
                  </a:cxn>
                </a:cxnLst>
                <a:rect l="0" t="0" r="r" b="b"/>
                <a:pathLst>
                  <a:path w="7" h="7">
                    <a:moveTo>
                      <a:pt x="4" y="0"/>
                    </a:moveTo>
                    <a:cubicBezTo>
                      <a:pt x="2" y="0"/>
                      <a:pt x="0" y="1"/>
                      <a:pt x="0" y="3"/>
                    </a:cubicBezTo>
                    <a:cubicBezTo>
                      <a:pt x="0" y="5"/>
                      <a:pt x="2" y="7"/>
                      <a:pt x="4" y="7"/>
                    </a:cubicBezTo>
                    <a:cubicBezTo>
                      <a:pt x="5" y="7"/>
                      <a:pt x="7" y="5"/>
                      <a:pt x="7" y="3"/>
                    </a:cubicBezTo>
                    <a:cubicBezTo>
                      <a:pt x="7" y="1"/>
                      <a:pt x="5" y="0"/>
                      <a:pt x="4" y="0"/>
                    </a:cubicBezTo>
                    <a:close/>
                    <a:moveTo>
                      <a:pt x="4" y="0"/>
                    </a:moveTo>
                    <a:cubicBezTo>
                      <a:pt x="4" y="0"/>
                      <a:pt x="4"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41" name="Freeform 46">
                <a:extLst>
                  <a:ext uri="{FF2B5EF4-FFF2-40B4-BE49-F238E27FC236}">
                    <a16:creationId xmlns:a16="http://schemas.microsoft.com/office/drawing/2014/main" id="{53CF454F-7C1E-443A-B2A6-CBC70A30F70E}"/>
                  </a:ext>
                </a:extLst>
              </p:cNvPr>
              <p:cNvSpPr>
                <a:spLocks noEditPoints="1"/>
              </p:cNvSpPr>
              <p:nvPr/>
            </p:nvSpPr>
            <p:spPr bwMode="auto">
              <a:xfrm>
                <a:off x="6731000" y="2247900"/>
                <a:ext cx="139700" cy="127000"/>
              </a:xfrm>
              <a:custGeom>
                <a:avLst/>
                <a:gdLst>
                  <a:gd name="T0" fmla="*/ 22 w 43"/>
                  <a:gd name="T1" fmla="*/ 0 h 39"/>
                  <a:gd name="T2" fmla="*/ 0 w 43"/>
                  <a:gd name="T3" fmla="*/ 22 h 39"/>
                  <a:gd name="T4" fmla="*/ 8 w 43"/>
                  <a:gd name="T5" fmla="*/ 39 h 39"/>
                  <a:gd name="T6" fmla="*/ 8 w 43"/>
                  <a:gd name="T7" fmla="*/ 32 h 39"/>
                  <a:gd name="T8" fmla="*/ 14 w 43"/>
                  <a:gd name="T9" fmla="*/ 24 h 39"/>
                  <a:gd name="T10" fmla="*/ 16 w 43"/>
                  <a:gd name="T11" fmla="*/ 23 h 39"/>
                  <a:gd name="T12" fmla="*/ 18 w 43"/>
                  <a:gd name="T13" fmla="*/ 24 h 39"/>
                  <a:gd name="T14" fmla="*/ 22 w 43"/>
                  <a:gd name="T15" fmla="*/ 25 h 39"/>
                  <a:gd name="T16" fmla="*/ 25 w 43"/>
                  <a:gd name="T17" fmla="*/ 24 h 39"/>
                  <a:gd name="T18" fmla="*/ 28 w 43"/>
                  <a:gd name="T19" fmla="*/ 23 h 39"/>
                  <a:gd name="T20" fmla="*/ 29 w 43"/>
                  <a:gd name="T21" fmla="*/ 24 h 39"/>
                  <a:gd name="T22" fmla="*/ 35 w 43"/>
                  <a:gd name="T23" fmla="*/ 32 h 39"/>
                  <a:gd name="T24" fmla="*/ 35 w 43"/>
                  <a:gd name="T25" fmla="*/ 39 h 39"/>
                  <a:gd name="T26" fmla="*/ 43 w 43"/>
                  <a:gd name="T27" fmla="*/ 22 h 39"/>
                  <a:gd name="T28" fmla="*/ 22 w 43"/>
                  <a:gd name="T29" fmla="*/ 0 h 39"/>
                  <a:gd name="T30" fmla="*/ 22 w 43"/>
                  <a:gd name="T31" fmla="*/ 21 h 39"/>
                  <a:gd name="T32" fmla="*/ 13 w 43"/>
                  <a:gd name="T33" fmla="*/ 12 h 39"/>
                  <a:gd name="T34" fmla="*/ 22 w 43"/>
                  <a:gd name="T35" fmla="*/ 3 h 39"/>
                  <a:gd name="T36" fmla="*/ 31 w 43"/>
                  <a:gd name="T37" fmla="*/ 12 h 39"/>
                  <a:gd name="T38" fmla="*/ 22 w 43"/>
                  <a:gd name="T39" fmla="*/ 21 h 39"/>
                  <a:gd name="T40" fmla="*/ 22 w 43"/>
                  <a:gd name="T41" fmla="*/ 21 h 39"/>
                  <a:gd name="T42" fmla="*/ 22 w 43"/>
                  <a:gd name="T43" fmla="*/ 2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3" h="39">
                    <a:moveTo>
                      <a:pt x="22" y="0"/>
                    </a:moveTo>
                    <a:cubicBezTo>
                      <a:pt x="10" y="0"/>
                      <a:pt x="0" y="10"/>
                      <a:pt x="0" y="22"/>
                    </a:cubicBezTo>
                    <a:cubicBezTo>
                      <a:pt x="0" y="29"/>
                      <a:pt x="3" y="35"/>
                      <a:pt x="8" y="39"/>
                    </a:cubicBezTo>
                    <a:cubicBezTo>
                      <a:pt x="8" y="32"/>
                      <a:pt x="8" y="32"/>
                      <a:pt x="8" y="32"/>
                    </a:cubicBezTo>
                    <a:cubicBezTo>
                      <a:pt x="8" y="28"/>
                      <a:pt x="10" y="25"/>
                      <a:pt x="14" y="24"/>
                    </a:cubicBezTo>
                    <a:cubicBezTo>
                      <a:pt x="14" y="24"/>
                      <a:pt x="16" y="23"/>
                      <a:pt x="16" y="23"/>
                    </a:cubicBezTo>
                    <a:cubicBezTo>
                      <a:pt x="16" y="23"/>
                      <a:pt x="17" y="23"/>
                      <a:pt x="18" y="24"/>
                    </a:cubicBezTo>
                    <a:cubicBezTo>
                      <a:pt x="22" y="25"/>
                      <a:pt x="22" y="25"/>
                      <a:pt x="22" y="25"/>
                    </a:cubicBezTo>
                    <a:cubicBezTo>
                      <a:pt x="25" y="24"/>
                      <a:pt x="25" y="24"/>
                      <a:pt x="25" y="24"/>
                    </a:cubicBezTo>
                    <a:cubicBezTo>
                      <a:pt x="26" y="23"/>
                      <a:pt x="27" y="23"/>
                      <a:pt x="28" y="23"/>
                    </a:cubicBezTo>
                    <a:cubicBezTo>
                      <a:pt x="28" y="23"/>
                      <a:pt x="29" y="24"/>
                      <a:pt x="29" y="24"/>
                    </a:cubicBezTo>
                    <a:cubicBezTo>
                      <a:pt x="33" y="25"/>
                      <a:pt x="35" y="28"/>
                      <a:pt x="35" y="32"/>
                    </a:cubicBezTo>
                    <a:cubicBezTo>
                      <a:pt x="35" y="39"/>
                      <a:pt x="35" y="39"/>
                      <a:pt x="35" y="39"/>
                    </a:cubicBezTo>
                    <a:cubicBezTo>
                      <a:pt x="40" y="35"/>
                      <a:pt x="43" y="29"/>
                      <a:pt x="43" y="22"/>
                    </a:cubicBezTo>
                    <a:cubicBezTo>
                      <a:pt x="43" y="10"/>
                      <a:pt x="34" y="0"/>
                      <a:pt x="22" y="0"/>
                    </a:cubicBezTo>
                    <a:close/>
                    <a:moveTo>
                      <a:pt x="22" y="21"/>
                    </a:moveTo>
                    <a:cubicBezTo>
                      <a:pt x="17" y="21"/>
                      <a:pt x="13" y="17"/>
                      <a:pt x="13" y="12"/>
                    </a:cubicBezTo>
                    <a:cubicBezTo>
                      <a:pt x="13" y="7"/>
                      <a:pt x="17" y="3"/>
                      <a:pt x="22" y="3"/>
                    </a:cubicBezTo>
                    <a:cubicBezTo>
                      <a:pt x="27" y="3"/>
                      <a:pt x="31" y="7"/>
                      <a:pt x="31" y="12"/>
                    </a:cubicBezTo>
                    <a:cubicBezTo>
                      <a:pt x="31" y="17"/>
                      <a:pt x="27" y="21"/>
                      <a:pt x="22" y="21"/>
                    </a:cubicBezTo>
                    <a:close/>
                    <a:moveTo>
                      <a:pt x="22" y="21"/>
                    </a:moveTo>
                    <a:cubicBezTo>
                      <a:pt x="22" y="21"/>
                      <a:pt x="22" y="21"/>
                      <a:pt x="22" y="2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42" name="Freeform 47">
                <a:extLst>
                  <a:ext uri="{FF2B5EF4-FFF2-40B4-BE49-F238E27FC236}">
                    <a16:creationId xmlns:a16="http://schemas.microsoft.com/office/drawing/2014/main" id="{5C0103E2-4D1C-4E28-A183-F55184596F63}"/>
                  </a:ext>
                </a:extLst>
              </p:cNvPr>
              <p:cNvSpPr>
                <a:spLocks noEditPoints="1"/>
              </p:cNvSpPr>
              <p:nvPr/>
            </p:nvSpPr>
            <p:spPr bwMode="auto">
              <a:xfrm>
                <a:off x="6777038" y="2343150"/>
                <a:ext cx="47625" cy="44450"/>
              </a:xfrm>
              <a:custGeom>
                <a:avLst/>
                <a:gdLst>
                  <a:gd name="T0" fmla="*/ 14 w 15"/>
                  <a:gd name="T1" fmla="*/ 1 h 14"/>
                  <a:gd name="T2" fmla="*/ 13 w 15"/>
                  <a:gd name="T3" fmla="*/ 0 h 14"/>
                  <a:gd name="T4" fmla="*/ 9 w 15"/>
                  <a:gd name="T5" fmla="*/ 2 h 14"/>
                  <a:gd name="T6" fmla="*/ 6 w 15"/>
                  <a:gd name="T7" fmla="*/ 2 h 14"/>
                  <a:gd name="T8" fmla="*/ 2 w 15"/>
                  <a:gd name="T9" fmla="*/ 0 h 14"/>
                  <a:gd name="T10" fmla="*/ 2 w 15"/>
                  <a:gd name="T11" fmla="*/ 1 h 14"/>
                  <a:gd name="T12" fmla="*/ 0 w 15"/>
                  <a:gd name="T13" fmla="*/ 3 h 14"/>
                  <a:gd name="T14" fmla="*/ 0 w 15"/>
                  <a:gd name="T15" fmla="*/ 13 h 14"/>
                  <a:gd name="T16" fmla="*/ 8 w 15"/>
                  <a:gd name="T17" fmla="*/ 14 h 14"/>
                  <a:gd name="T18" fmla="*/ 15 w 15"/>
                  <a:gd name="T19" fmla="*/ 13 h 14"/>
                  <a:gd name="T20" fmla="*/ 15 w 15"/>
                  <a:gd name="T21" fmla="*/ 3 h 14"/>
                  <a:gd name="T22" fmla="*/ 14 w 15"/>
                  <a:gd name="T23" fmla="*/ 1 h 14"/>
                  <a:gd name="T24" fmla="*/ 14 w 15"/>
                  <a:gd name="T25" fmla="*/ 1 h 14"/>
                  <a:gd name="T26" fmla="*/ 14 w 15"/>
                  <a:gd name="T27" fmla="*/ 1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 h="14">
                    <a:moveTo>
                      <a:pt x="14" y="1"/>
                    </a:moveTo>
                    <a:cubicBezTo>
                      <a:pt x="13" y="0"/>
                      <a:pt x="13" y="0"/>
                      <a:pt x="13" y="0"/>
                    </a:cubicBezTo>
                    <a:cubicBezTo>
                      <a:pt x="9" y="2"/>
                      <a:pt x="9" y="2"/>
                      <a:pt x="9" y="2"/>
                    </a:cubicBezTo>
                    <a:cubicBezTo>
                      <a:pt x="8" y="3"/>
                      <a:pt x="7" y="3"/>
                      <a:pt x="6" y="2"/>
                    </a:cubicBezTo>
                    <a:cubicBezTo>
                      <a:pt x="2" y="0"/>
                      <a:pt x="2" y="0"/>
                      <a:pt x="2" y="0"/>
                    </a:cubicBezTo>
                    <a:cubicBezTo>
                      <a:pt x="2" y="1"/>
                      <a:pt x="2" y="1"/>
                      <a:pt x="2" y="1"/>
                    </a:cubicBezTo>
                    <a:cubicBezTo>
                      <a:pt x="1" y="1"/>
                      <a:pt x="0" y="2"/>
                      <a:pt x="0" y="3"/>
                    </a:cubicBezTo>
                    <a:cubicBezTo>
                      <a:pt x="0" y="13"/>
                      <a:pt x="0" y="13"/>
                      <a:pt x="0" y="13"/>
                    </a:cubicBezTo>
                    <a:cubicBezTo>
                      <a:pt x="2" y="14"/>
                      <a:pt x="5" y="14"/>
                      <a:pt x="8" y="14"/>
                    </a:cubicBezTo>
                    <a:cubicBezTo>
                      <a:pt x="10" y="14"/>
                      <a:pt x="13" y="14"/>
                      <a:pt x="15" y="13"/>
                    </a:cubicBezTo>
                    <a:cubicBezTo>
                      <a:pt x="15" y="3"/>
                      <a:pt x="15" y="3"/>
                      <a:pt x="15" y="3"/>
                    </a:cubicBezTo>
                    <a:cubicBezTo>
                      <a:pt x="15" y="2"/>
                      <a:pt x="15" y="1"/>
                      <a:pt x="14" y="1"/>
                    </a:cubicBezTo>
                    <a:close/>
                    <a:moveTo>
                      <a:pt x="14" y="1"/>
                    </a:moveTo>
                    <a:cubicBezTo>
                      <a:pt x="14" y="1"/>
                      <a:pt x="14" y="1"/>
                      <a:pt x="14"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43" name="Freeform 48">
                <a:extLst>
                  <a:ext uri="{FF2B5EF4-FFF2-40B4-BE49-F238E27FC236}">
                    <a16:creationId xmlns:a16="http://schemas.microsoft.com/office/drawing/2014/main" id="{285ABF47-BF55-49B6-A12F-163B2E192E5D}"/>
                  </a:ext>
                </a:extLst>
              </p:cNvPr>
              <p:cNvSpPr>
                <a:spLocks noEditPoints="1"/>
              </p:cNvSpPr>
              <p:nvPr/>
            </p:nvSpPr>
            <p:spPr bwMode="auto">
              <a:xfrm>
                <a:off x="6842125" y="2046288"/>
                <a:ext cx="138112" cy="127000"/>
              </a:xfrm>
              <a:custGeom>
                <a:avLst/>
                <a:gdLst>
                  <a:gd name="T0" fmla="*/ 8 w 43"/>
                  <a:gd name="T1" fmla="*/ 39 h 39"/>
                  <a:gd name="T2" fmla="*/ 8 w 43"/>
                  <a:gd name="T3" fmla="*/ 32 h 39"/>
                  <a:gd name="T4" fmla="*/ 14 w 43"/>
                  <a:gd name="T5" fmla="*/ 24 h 39"/>
                  <a:gd name="T6" fmla="*/ 16 w 43"/>
                  <a:gd name="T7" fmla="*/ 24 h 39"/>
                  <a:gd name="T8" fmla="*/ 18 w 43"/>
                  <a:gd name="T9" fmla="*/ 24 h 39"/>
                  <a:gd name="T10" fmla="*/ 22 w 43"/>
                  <a:gd name="T11" fmla="*/ 26 h 39"/>
                  <a:gd name="T12" fmla="*/ 25 w 43"/>
                  <a:gd name="T13" fmla="*/ 24 h 39"/>
                  <a:gd name="T14" fmla="*/ 28 w 43"/>
                  <a:gd name="T15" fmla="*/ 24 h 39"/>
                  <a:gd name="T16" fmla="*/ 29 w 43"/>
                  <a:gd name="T17" fmla="*/ 24 h 39"/>
                  <a:gd name="T18" fmla="*/ 35 w 43"/>
                  <a:gd name="T19" fmla="*/ 32 h 39"/>
                  <a:gd name="T20" fmla="*/ 35 w 43"/>
                  <a:gd name="T21" fmla="*/ 39 h 39"/>
                  <a:gd name="T22" fmla="*/ 43 w 43"/>
                  <a:gd name="T23" fmla="*/ 22 h 39"/>
                  <a:gd name="T24" fmla="*/ 22 w 43"/>
                  <a:gd name="T25" fmla="*/ 0 h 39"/>
                  <a:gd name="T26" fmla="*/ 0 w 43"/>
                  <a:gd name="T27" fmla="*/ 22 h 39"/>
                  <a:gd name="T28" fmla="*/ 8 w 43"/>
                  <a:gd name="T29" fmla="*/ 39 h 39"/>
                  <a:gd name="T30" fmla="*/ 22 w 43"/>
                  <a:gd name="T31" fmla="*/ 3 h 39"/>
                  <a:gd name="T32" fmla="*/ 31 w 43"/>
                  <a:gd name="T33" fmla="*/ 12 h 39"/>
                  <a:gd name="T34" fmla="*/ 22 w 43"/>
                  <a:gd name="T35" fmla="*/ 21 h 39"/>
                  <a:gd name="T36" fmla="*/ 13 w 43"/>
                  <a:gd name="T37" fmla="*/ 12 h 39"/>
                  <a:gd name="T38" fmla="*/ 22 w 43"/>
                  <a:gd name="T39" fmla="*/ 3 h 39"/>
                  <a:gd name="T40" fmla="*/ 22 w 43"/>
                  <a:gd name="T41" fmla="*/ 3 h 39"/>
                  <a:gd name="T42" fmla="*/ 22 w 43"/>
                  <a:gd name="T43" fmla="*/ 3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3" h="39">
                    <a:moveTo>
                      <a:pt x="8" y="39"/>
                    </a:moveTo>
                    <a:cubicBezTo>
                      <a:pt x="8" y="32"/>
                      <a:pt x="8" y="32"/>
                      <a:pt x="8" y="32"/>
                    </a:cubicBezTo>
                    <a:cubicBezTo>
                      <a:pt x="8" y="28"/>
                      <a:pt x="10" y="25"/>
                      <a:pt x="14" y="24"/>
                    </a:cubicBezTo>
                    <a:cubicBezTo>
                      <a:pt x="14" y="24"/>
                      <a:pt x="16" y="24"/>
                      <a:pt x="16" y="24"/>
                    </a:cubicBezTo>
                    <a:cubicBezTo>
                      <a:pt x="16" y="23"/>
                      <a:pt x="17" y="23"/>
                      <a:pt x="18" y="24"/>
                    </a:cubicBezTo>
                    <a:cubicBezTo>
                      <a:pt x="22" y="26"/>
                      <a:pt x="22" y="26"/>
                      <a:pt x="22" y="26"/>
                    </a:cubicBezTo>
                    <a:cubicBezTo>
                      <a:pt x="25" y="24"/>
                      <a:pt x="25" y="24"/>
                      <a:pt x="25" y="24"/>
                    </a:cubicBezTo>
                    <a:cubicBezTo>
                      <a:pt x="26" y="23"/>
                      <a:pt x="27" y="23"/>
                      <a:pt x="28" y="24"/>
                    </a:cubicBezTo>
                    <a:cubicBezTo>
                      <a:pt x="28" y="24"/>
                      <a:pt x="29" y="24"/>
                      <a:pt x="29" y="24"/>
                    </a:cubicBezTo>
                    <a:cubicBezTo>
                      <a:pt x="33" y="25"/>
                      <a:pt x="35" y="28"/>
                      <a:pt x="35" y="32"/>
                    </a:cubicBezTo>
                    <a:cubicBezTo>
                      <a:pt x="35" y="39"/>
                      <a:pt x="35" y="39"/>
                      <a:pt x="35" y="39"/>
                    </a:cubicBezTo>
                    <a:cubicBezTo>
                      <a:pt x="40" y="35"/>
                      <a:pt x="43" y="29"/>
                      <a:pt x="43" y="22"/>
                    </a:cubicBezTo>
                    <a:cubicBezTo>
                      <a:pt x="43" y="10"/>
                      <a:pt x="34" y="0"/>
                      <a:pt x="22" y="0"/>
                    </a:cubicBezTo>
                    <a:cubicBezTo>
                      <a:pt x="10" y="0"/>
                      <a:pt x="0" y="10"/>
                      <a:pt x="0" y="22"/>
                    </a:cubicBezTo>
                    <a:cubicBezTo>
                      <a:pt x="0" y="29"/>
                      <a:pt x="3" y="35"/>
                      <a:pt x="8" y="39"/>
                    </a:cubicBezTo>
                    <a:close/>
                    <a:moveTo>
                      <a:pt x="22" y="3"/>
                    </a:moveTo>
                    <a:cubicBezTo>
                      <a:pt x="27" y="3"/>
                      <a:pt x="31" y="7"/>
                      <a:pt x="31" y="12"/>
                    </a:cubicBezTo>
                    <a:cubicBezTo>
                      <a:pt x="31" y="17"/>
                      <a:pt x="27" y="21"/>
                      <a:pt x="22" y="21"/>
                    </a:cubicBezTo>
                    <a:cubicBezTo>
                      <a:pt x="17" y="21"/>
                      <a:pt x="13" y="17"/>
                      <a:pt x="13" y="12"/>
                    </a:cubicBezTo>
                    <a:cubicBezTo>
                      <a:pt x="13" y="7"/>
                      <a:pt x="17" y="3"/>
                      <a:pt x="22" y="3"/>
                    </a:cubicBezTo>
                    <a:close/>
                    <a:moveTo>
                      <a:pt x="22" y="3"/>
                    </a:moveTo>
                    <a:cubicBezTo>
                      <a:pt x="22" y="3"/>
                      <a:pt x="22" y="3"/>
                      <a:pt x="22" y="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44" name="Freeform 49">
                <a:extLst>
                  <a:ext uri="{FF2B5EF4-FFF2-40B4-BE49-F238E27FC236}">
                    <a16:creationId xmlns:a16="http://schemas.microsoft.com/office/drawing/2014/main" id="{294CEB5B-7EBC-4F72-8943-A4CF11C93A23}"/>
                  </a:ext>
                </a:extLst>
              </p:cNvPr>
              <p:cNvSpPr>
                <a:spLocks noEditPoints="1"/>
              </p:cNvSpPr>
              <p:nvPr/>
            </p:nvSpPr>
            <p:spPr bwMode="auto">
              <a:xfrm>
                <a:off x="6951663" y="2247900"/>
                <a:ext cx="139700" cy="127000"/>
              </a:xfrm>
              <a:custGeom>
                <a:avLst/>
                <a:gdLst>
                  <a:gd name="T0" fmla="*/ 22 w 43"/>
                  <a:gd name="T1" fmla="*/ 0 h 39"/>
                  <a:gd name="T2" fmla="*/ 0 w 43"/>
                  <a:gd name="T3" fmla="*/ 22 h 39"/>
                  <a:gd name="T4" fmla="*/ 8 w 43"/>
                  <a:gd name="T5" fmla="*/ 39 h 39"/>
                  <a:gd name="T6" fmla="*/ 8 w 43"/>
                  <a:gd name="T7" fmla="*/ 32 h 39"/>
                  <a:gd name="T8" fmla="*/ 14 w 43"/>
                  <a:gd name="T9" fmla="*/ 24 h 39"/>
                  <a:gd name="T10" fmla="*/ 16 w 43"/>
                  <a:gd name="T11" fmla="*/ 23 h 39"/>
                  <a:gd name="T12" fmla="*/ 18 w 43"/>
                  <a:gd name="T13" fmla="*/ 24 h 39"/>
                  <a:gd name="T14" fmla="*/ 22 w 43"/>
                  <a:gd name="T15" fmla="*/ 25 h 39"/>
                  <a:gd name="T16" fmla="*/ 25 w 43"/>
                  <a:gd name="T17" fmla="*/ 24 h 39"/>
                  <a:gd name="T18" fmla="*/ 28 w 43"/>
                  <a:gd name="T19" fmla="*/ 23 h 39"/>
                  <a:gd name="T20" fmla="*/ 29 w 43"/>
                  <a:gd name="T21" fmla="*/ 24 h 39"/>
                  <a:gd name="T22" fmla="*/ 35 w 43"/>
                  <a:gd name="T23" fmla="*/ 32 h 39"/>
                  <a:gd name="T24" fmla="*/ 35 w 43"/>
                  <a:gd name="T25" fmla="*/ 39 h 39"/>
                  <a:gd name="T26" fmla="*/ 43 w 43"/>
                  <a:gd name="T27" fmla="*/ 22 h 39"/>
                  <a:gd name="T28" fmla="*/ 22 w 43"/>
                  <a:gd name="T29" fmla="*/ 0 h 39"/>
                  <a:gd name="T30" fmla="*/ 22 w 43"/>
                  <a:gd name="T31" fmla="*/ 21 h 39"/>
                  <a:gd name="T32" fmla="*/ 13 w 43"/>
                  <a:gd name="T33" fmla="*/ 12 h 39"/>
                  <a:gd name="T34" fmla="*/ 22 w 43"/>
                  <a:gd name="T35" fmla="*/ 3 h 39"/>
                  <a:gd name="T36" fmla="*/ 31 w 43"/>
                  <a:gd name="T37" fmla="*/ 12 h 39"/>
                  <a:gd name="T38" fmla="*/ 22 w 43"/>
                  <a:gd name="T39" fmla="*/ 21 h 39"/>
                  <a:gd name="T40" fmla="*/ 22 w 43"/>
                  <a:gd name="T41" fmla="*/ 21 h 39"/>
                  <a:gd name="T42" fmla="*/ 22 w 43"/>
                  <a:gd name="T43" fmla="*/ 2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3" h="39">
                    <a:moveTo>
                      <a:pt x="22" y="0"/>
                    </a:moveTo>
                    <a:cubicBezTo>
                      <a:pt x="10" y="0"/>
                      <a:pt x="0" y="10"/>
                      <a:pt x="0" y="22"/>
                    </a:cubicBezTo>
                    <a:cubicBezTo>
                      <a:pt x="0" y="29"/>
                      <a:pt x="3" y="35"/>
                      <a:pt x="8" y="39"/>
                    </a:cubicBezTo>
                    <a:cubicBezTo>
                      <a:pt x="8" y="32"/>
                      <a:pt x="8" y="32"/>
                      <a:pt x="8" y="32"/>
                    </a:cubicBezTo>
                    <a:cubicBezTo>
                      <a:pt x="8" y="28"/>
                      <a:pt x="10" y="25"/>
                      <a:pt x="14" y="24"/>
                    </a:cubicBezTo>
                    <a:cubicBezTo>
                      <a:pt x="14" y="24"/>
                      <a:pt x="16" y="23"/>
                      <a:pt x="16" y="23"/>
                    </a:cubicBezTo>
                    <a:cubicBezTo>
                      <a:pt x="16" y="23"/>
                      <a:pt x="17" y="23"/>
                      <a:pt x="18" y="24"/>
                    </a:cubicBezTo>
                    <a:cubicBezTo>
                      <a:pt x="22" y="25"/>
                      <a:pt x="22" y="25"/>
                      <a:pt x="22" y="25"/>
                    </a:cubicBezTo>
                    <a:cubicBezTo>
                      <a:pt x="25" y="24"/>
                      <a:pt x="25" y="24"/>
                      <a:pt x="25" y="24"/>
                    </a:cubicBezTo>
                    <a:cubicBezTo>
                      <a:pt x="26" y="23"/>
                      <a:pt x="27" y="23"/>
                      <a:pt x="28" y="23"/>
                    </a:cubicBezTo>
                    <a:cubicBezTo>
                      <a:pt x="28" y="23"/>
                      <a:pt x="29" y="24"/>
                      <a:pt x="29" y="24"/>
                    </a:cubicBezTo>
                    <a:cubicBezTo>
                      <a:pt x="33" y="25"/>
                      <a:pt x="35" y="28"/>
                      <a:pt x="35" y="32"/>
                    </a:cubicBezTo>
                    <a:cubicBezTo>
                      <a:pt x="35" y="39"/>
                      <a:pt x="35" y="39"/>
                      <a:pt x="35" y="39"/>
                    </a:cubicBezTo>
                    <a:cubicBezTo>
                      <a:pt x="40" y="35"/>
                      <a:pt x="43" y="29"/>
                      <a:pt x="43" y="22"/>
                    </a:cubicBezTo>
                    <a:cubicBezTo>
                      <a:pt x="43" y="10"/>
                      <a:pt x="34" y="0"/>
                      <a:pt x="22" y="0"/>
                    </a:cubicBezTo>
                    <a:close/>
                    <a:moveTo>
                      <a:pt x="22" y="21"/>
                    </a:moveTo>
                    <a:cubicBezTo>
                      <a:pt x="17" y="21"/>
                      <a:pt x="13" y="17"/>
                      <a:pt x="13" y="12"/>
                    </a:cubicBezTo>
                    <a:cubicBezTo>
                      <a:pt x="13" y="7"/>
                      <a:pt x="17" y="3"/>
                      <a:pt x="22" y="3"/>
                    </a:cubicBezTo>
                    <a:cubicBezTo>
                      <a:pt x="27" y="3"/>
                      <a:pt x="31" y="7"/>
                      <a:pt x="31" y="12"/>
                    </a:cubicBezTo>
                    <a:cubicBezTo>
                      <a:pt x="31" y="17"/>
                      <a:pt x="27" y="21"/>
                      <a:pt x="22" y="21"/>
                    </a:cubicBezTo>
                    <a:close/>
                    <a:moveTo>
                      <a:pt x="22" y="21"/>
                    </a:moveTo>
                    <a:cubicBezTo>
                      <a:pt x="22" y="21"/>
                      <a:pt x="22" y="21"/>
                      <a:pt x="22" y="2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45" name="Freeform 50">
                <a:extLst>
                  <a:ext uri="{FF2B5EF4-FFF2-40B4-BE49-F238E27FC236}">
                    <a16:creationId xmlns:a16="http://schemas.microsoft.com/office/drawing/2014/main" id="{511C114E-CDE1-4CA5-A947-910519462BDC}"/>
                  </a:ext>
                </a:extLst>
              </p:cNvPr>
              <p:cNvSpPr>
                <a:spLocks noEditPoints="1"/>
              </p:cNvSpPr>
              <p:nvPr/>
            </p:nvSpPr>
            <p:spPr bwMode="auto">
              <a:xfrm>
                <a:off x="6997700" y="2343150"/>
                <a:ext cx="47625" cy="44450"/>
              </a:xfrm>
              <a:custGeom>
                <a:avLst/>
                <a:gdLst>
                  <a:gd name="T0" fmla="*/ 14 w 15"/>
                  <a:gd name="T1" fmla="*/ 1 h 14"/>
                  <a:gd name="T2" fmla="*/ 13 w 15"/>
                  <a:gd name="T3" fmla="*/ 0 h 14"/>
                  <a:gd name="T4" fmla="*/ 9 w 15"/>
                  <a:gd name="T5" fmla="*/ 2 h 14"/>
                  <a:gd name="T6" fmla="*/ 6 w 15"/>
                  <a:gd name="T7" fmla="*/ 2 h 14"/>
                  <a:gd name="T8" fmla="*/ 2 w 15"/>
                  <a:gd name="T9" fmla="*/ 0 h 14"/>
                  <a:gd name="T10" fmla="*/ 2 w 15"/>
                  <a:gd name="T11" fmla="*/ 1 h 14"/>
                  <a:gd name="T12" fmla="*/ 0 w 15"/>
                  <a:gd name="T13" fmla="*/ 3 h 14"/>
                  <a:gd name="T14" fmla="*/ 0 w 15"/>
                  <a:gd name="T15" fmla="*/ 13 h 14"/>
                  <a:gd name="T16" fmla="*/ 8 w 15"/>
                  <a:gd name="T17" fmla="*/ 14 h 14"/>
                  <a:gd name="T18" fmla="*/ 15 w 15"/>
                  <a:gd name="T19" fmla="*/ 13 h 14"/>
                  <a:gd name="T20" fmla="*/ 15 w 15"/>
                  <a:gd name="T21" fmla="*/ 3 h 14"/>
                  <a:gd name="T22" fmla="*/ 14 w 15"/>
                  <a:gd name="T23" fmla="*/ 1 h 14"/>
                  <a:gd name="T24" fmla="*/ 14 w 15"/>
                  <a:gd name="T25" fmla="*/ 1 h 14"/>
                  <a:gd name="T26" fmla="*/ 14 w 15"/>
                  <a:gd name="T27" fmla="*/ 1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 h="14">
                    <a:moveTo>
                      <a:pt x="14" y="1"/>
                    </a:moveTo>
                    <a:cubicBezTo>
                      <a:pt x="13" y="0"/>
                      <a:pt x="13" y="0"/>
                      <a:pt x="13" y="0"/>
                    </a:cubicBezTo>
                    <a:cubicBezTo>
                      <a:pt x="9" y="2"/>
                      <a:pt x="9" y="2"/>
                      <a:pt x="9" y="2"/>
                    </a:cubicBezTo>
                    <a:cubicBezTo>
                      <a:pt x="8" y="3"/>
                      <a:pt x="7" y="3"/>
                      <a:pt x="6" y="2"/>
                    </a:cubicBezTo>
                    <a:cubicBezTo>
                      <a:pt x="2" y="0"/>
                      <a:pt x="2" y="0"/>
                      <a:pt x="2" y="0"/>
                    </a:cubicBezTo>
                    <a:cubicBezTo>
                      <a:pt x="2" y="1"/>
                      <a:pt x="2" y="1"/>
                      <a:pt x="2" y="1"/>
                    </a:cubicBezTo>
                    <a:cubicBezTo>
                      <a:pt x="1" y="1"/>
                      <a:pt x="0" y="2"/>
                      <a:pt x="0" y="3"/>
                    </a:cubicBezTo>
                    <a:cubicBezTo>
                      <a:pt x="0" y="13"/>
                      <a:pt x="0" y="13"/>
                      <a:pt x="0" y="13"/>
                    </a:cubicBezTo>
                    <a:cubicBezTo>
                      <a:pt x="2" y="14"/>
                      <a:pt x="5" y="14"/>
                      <a:pt x="8" y="14"/>
                    </a:cubicBezTo>
                    <a:cubicBezTo>
                      <a:pt x="10" y="14"/>
                      <a:pt x="13" y="14"/>
                      <a:pt x="15" y="13"/>
                    </a:cubicBezTo>
                    <a:cubicBezTo>
                      <a:pt x="15" y="3"/>
                      <a:pt x="15" y="3"/>
                      <a:pt x="15" y="3"/>
                    </a:cubicBezTo>
                    <a:cubicBezTo>
                      <a:pt x="15" y="2"/>
                      <a:pt x="15" y="1"/>
                      <a:pt x="14" y="1"/>
                    </a:cubicBezTo>
                    <a:close/>
                    <a:moveTo>
                      <a:pt x="14" y="1"/>
                    </a:moveTo>
                    <a:cubicBezTo>
                      <a:pt x="14" y="1"/>
                      <a:pt x="14" y="1"/>
                      <a:pt x="14"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46" name="Freeform 51">
                <a:extLst>
                  <a:ext uri="{FF2B5EF4-FFF2-40B4-BE49-F238E27FC236}">
                    <a16:creationId xmlns:a16="http://schemas.microsoft.com/office/drawing/2014/main" id="{2826F4D5-12FC-471E-89A6-8DE3A857232F}"/>
                  </a:ext>
                </a:extLst>
              </p:cNvPr>
              <p:cNvSpPr>
                <a:spLocks noEditPoints="1"/>
              </p:cNvSpPr>
              <p:nvPr/>
            </p:nvSpPr>
            <p:spPr bwMode="auto">
              <a:xfrm>
                <a:off x="7010400" y="2278063"/>
                <a:ext cx="22225" cy="22225"/>
              </a:xfrm>
              <a:custGeom>
                <a:avLst/>
                <a:gdLst>
                  <a:gd name="T0" fmla="*/ 4 w 7"/>
                  <a:gd name="T1" fmla="*/ 0 h 7"/>
                  <a:gd name="T2" fmla="*/ 0 w 7"/>
                  <a:gd name="T3" fmla="*/ 3 h 7"/>
                  <a:gd name="T4" fmla="*/ 4 w 7"/>
                  <a:gd name="T5" fmla="*/ 7 h 7"/>
                  <a:gd name="T6" fmla="*/ 7 w 7"/>
                  <a:gd name="T7" fmla="*/ 3 h 7"/>
                  <a:gd name="T8" fmla="*/ 4 w 7"/>
                  <a:gd name="T9" fmla="*/ 0 h 7"/>
                  <a:gd name="T10" fmla="*/ 4 w 7"/>
                  <a:gd name="T11" fmla="*/ 0 h 7"/>
                  <a:gd name="T12" fmla="*/ 4 w 7"/>
                  <a:gd name="T13" fmla="*/ 0 h 7"/>
                </a:gdLst>
                <a:ahLst/>
                <a:cxnLst>
                  <a:cxn ang="0">
                    <a:pos x="T0" y="T1"/>
                  </a:cxn>
                  <a:cxn ang="0">
                    <a:pos x="T2" y="T3"/>
                  </a:cxn>
                  <a:cxn ang="0">
                    <a:pos x="T4" y="T5"/>
                  </a:cxn>
                  <a:cxn ang="0">
                    <a:pos x="T6" y="T7"/>
                  </a:cxn>
                  <a:cxn ang="0">
                    <a:pos x="T8" y="T9"/>
                  </a:cxn>
                  <a:cxn ang="0">
                    <a:pos x="T10" y="T11"/>
                  </a:cxn>
                  <a:cxn ang="0">
                    <a:pos x="T12" y="T13"/>
                  </a:cxn>
                </a:cxnLst>
                <a:rect l="0" t="0" r="r" b="b"/>
                <a:pathLst>
                  <a:path w="7" h="7">
                    <a:moveTo>
                      <a:pt x="4" y="0"/>
                    </a:moveTo>
                    <a:cubicBezTo>
                      <a:pt x="2" y="0"/>
                      <a:pt x="0" y="1"/>
                      <a:pt x="0" y="3"/>
                    </a:cubicBezTo>
                    <a:cubicBezTo>
                      <a:pt x="0" y="5"/>
                      <a:pt x="2" y="7"/>
                      <a:pt x="4" y="7"/>
                    </a:cubicBezTo>
                    <a:cubicBezTo>
                      <a:pt x="5" y="7"/>
                      <a:pt x="7" y="5"/>
                      <a:pt x="7" y="3"/>
                    </a:cubicBezTo>
                    <a:cubicBezTo>
                      <a:pt x="7" y="1"/>
                      <a:pt x="5" y="0"/>
                      <a:pt x="4" y="0"/>
                    </a:cubicBezTo>
                    <a:close/>
                    <a:moveTo>
                      <a:pt x="4" y="0"/>
                    </a:moveTo>
                    <a:cubicBezTo>
                      <a:pt x="4" y="0"/>
                      <a:pt x="4"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47" name="Freeform 52">
                <a:extLst>
                  <a:ext uri="{FF2B5EF4-FFF2-40B4-BE49-F238E27FC236}">
                    <a16:creationId xmlns:a16="http://schemas.microsoft.com/office/drawing/2014/main" id="{4B2012ED-B8CB-44D3-8872-6DAD44C6EEC9}"/>
                  </a:ext>
                </a:extLst>
              </p:cNvPr>
              <p:cNvSpPr>
                <a:spLocks noEditPoints="1"/>
              </p:cNvSpPr>
              <p:nvPr/>
            </p:nvSpPr>
            <p:spPr bwMode="auto">
              <a:xfrm>
                <a:off x="6864350" y="2206625"/>
                <a:ext cx="93662" cy="65088"/>
              </a:xfrm>
              <a:custGeom>
                <a:avLst/>
                <a:gdLst>
                  <a:gd name="T0" fmla="*/ 17 w 29"/>
                  <a:gd name="T1" fmla="*/ 9 h 20"/>
                  <a:gd name="T2" fmla="*/ 17 w 29"/>
                  <a:gd name="T3" fmla="*/ 0 h 20"/>
                  <a:gd name="T4" fmla="*/ 15 w 29"/>
                  <a:gd name="T5" fmla="*/ 0 h 20"/>
                  <a:gd name="T6" fmla="*/ 12 w 29"/>
                  <a:gd name="T7" fmla="*/ 0 h 20"/>
                  <a:gd name="T8" fmla="*/ 12 w 29"/>
                  <a:gd name="T9" fmla="*/ 9 h 20"/>
                  <a:gd name="T10" fmla="*/ 0 w 29"/>
                  <a:gd name="T11" fmla="*/ 15 h 20"/>
                  <a:gd name="T12" fmla="*/ 4 w 29"/>
                  <a:gd name="T13" fmla="*/ 20 h 20"/>
                  <a:gd name="T14" fmla="*/ 15 w 29"/>
                  <a:gd name="T15" fmla="*/ 14 h 20"/>
                  <a:gd name="T16" fmla="*/ 26 w 29"/>
                  <a:gd name="T17" fmla="*/ 20 h 20"/>
                  <a:gd name="T18" fmla="*/ 29 w 29"/>
                  <a:gd name="T19" fmla="*/ 15 h 20"/>
                  <a:gd name="T20" fmla="*/ 17 w 29"/>
                  <a:gd name="T21" fmla="*/ 9 h 20"/>
                  <a:gd name="T22" fmla="*/ 17 w 29"/>
                  <a:gd name="T23" fmla="*/ 9 h 20"/>
                  <a:gd name="T24" fmla="*/ 17 w 29"/>
                  <a:gd name="T25" fmla="*/ 9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9" h="20">
                    <a:moveTo>
                      <a:pt x="17" y="9"/>
                    </a:moveTo>
                    <a:cubicBezTo>
                      <a:pt x="17" y="0"/>
                      <a:pt x="17" y="0"/>
                      <a:pt x="17" y="0"/>
                    </a:cubicBezTo>
                    <a:cubicBezTo>
                      <a:pt x="17" y="0"/>
                      <a:pt x="16" y="0"/>
                      <a:pt x="15" y="0"/>
                    </a:cubicBezTo>
                    <a:cubicBezTo>
                      <a:pt x="14" y="0"/>
                      <a:pt x="13" y="0"/>
                      <a:pt x="12" y="0"/>
                    </a:cubicBezTo>
                    <a:cubicBezTo>
                      <a:pt x="12" y="9"/>
                      <a:pt x="12" y="9"/>
                      <a:pt x="12" y="9"/>
                    </a:cubicBezTo>
                    <a:cubicBezTo>
                      <a:pt x="0" y="15"/>
                      <a:pt x="0" y="15"/>
                      <a:pt x="0" y="15"/>
                    </a:cubicBezTo>
                    <a:cubicBezTo>
                      <a:pt x="1" y="17"/>
                      <a:pt x="2" y="18"/>
                      <a:pt x="4" y="20"/>
                    </a:cubicBezTo>
                    <a:cubicBezTo>
                      <a:pt x="15" y="14"/>
                      <a:pt x="15" y="14"/>
                      <a:pt x="15" y="14"/>
                    </a:cubicBezTo>
                    <a:cubicBezTo>
                      <a:pt x="26" y="20"/>
                      <a:pt x="26" y="20"/>
                      <a:pt x="26" y="20"/>
                    </a:cubicBezTo>
                    <a:cubicBezTo>
                      <a:pt x="27" y="18"/>
                      <a:pt x="28" y="17"/>
                      <a:pt x="29" y="15"/>
                    </a:cubicBezTo>
                    <a:lnTo>
                      <a:pt x="17" y="9"/>
                    </a:lnTo>
                    <a:close/>
                    <a:moveTo>
                      <a:pt x="17" y="9"/>
                    </a:moveTo>
                    <a:cubicBezTo>
                      <a:pt x="17" y="9"/>
                      <a:pt x="17" y="9"/>
                      <a:pt x="17" y="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grpSp>
      <p:grpSp>
        <p:nvGrpSpPr>
          <p:cNvPr id="48" name="Group 28">
            <a:extLst>
              <a:ext uri="{FF2B5EF4-FFF2-40B4-BE49-F238E27FC236}">
                <a16:creationId xmlns:a16="http://schemas.microsoft.com/office/drawing/2014/main" id="{95201487-B192-4921-891B-F15589020CC4}"/>
              </a:ext>
            </a:extLst>
          </p:cNvPr>
          <p:cNvGrpSpPr/>
          <p:nvPr/>
        </p:nvGrpSpPr>
        <p:grpSpPr>
          <a:xfrm>
            <a:off x="4678341" y="2371961"/>
            <a:ext cx="1804257" cy="1046811"/>
            <a:chOff x="4678338" y="2371960"/>
            <a:chExt cx="1804257" cy="1046810"/>
          </a:xfrm>
        </p:grpSpPr>
        <p:sp>
          <p:nvSpPr>
            <p:cNvPr id="49" name="Freeform 22">
              <a:extLst>
                <a:ext uri="{FF2B5EF4-FFF2-40B4-BE49-F238E27FC236}">
                  <a16:creationId xmlns:a16="http://schemas.microsoft.com/office/drawing/2014/main" id="{4612A761-C6C1-4D78-9283-9E3510DCD998}"/>
                </a:ext>
              </a:extLst>
            </p:cNvPr>
            <p:cNvSpPr>
              <a:spLocks/>
            </p:cNvSpPr>
            <p:nvPr/>
          </p:nvSpPr>
          <p:spPr bwMode="auto">
            <a:xfrm>
              <a:off x="4678338" y="2371960"/>
              <a:ext cx="1804257" cy="1046810"/>
            </a:xfrm>
            <a:custGeom>
              <a:avLst/>
              <a:gdLst>
                <a:gd name="T0" fmla="*/ 784 w 791"/>
                <a:gd name="T1" fmla="*/ 106 h 460"/>
                <a:gd name="T2" fmla="*/ 685 w 791"/>
                <a:gd name="T3" fmla="*/ 87 h 460"/>
                <a:gd name="T4" fmla="*/ 600 w 791"/>
                <a:gd name="T5" fmla="*/ 57 h 460"/>
                <a:gd name="T6" fmla="*/ 427 w 791"/>
                <a:gd name="T7" fmla="*/ 8 h 460"/>
                <a:gd name="T8" fmla="*/ 259 w 791"/>
                <a:gd name="T9" fmla="*/ 24 h 460"/>
                <a:gd name="T10" fmla="*/ 128 w 791"/>
                <a:gd name="T11" fmla="*/ 121 h 460"/>
                <a:gd name="T12" fmla="*/ 65 w 791"/>
                <a:gd name="T13" fmla="*/ 307 h 460"/>
                <a:gd name="T14" fmla="*/ 64 w 791"/>
                <a:gd name="T15" fmla="*/ 307 h 460"/>
                <a:gd name="T16" fmla="*/ 1 w 791"/>
                <a:gd name="T17" fmla="*/ 413 h 460"/>
                <a:gd name="T18" fmla="*/ 4 w 791"/>
                <a:gd name="T19" fmla="*/ 419 h 460"/>
                <a:gd name="T20" fmla="*/ 41 w 791"/>
                <a:gd name="T21" fmla="*/ 426 h 460"/>
                <a:gd name="T22" fmla="*/ 46 w 791"/>
                <a:gd name="T23" fmla="*/ 424 h 460"/>
                <a:gd name="T24" fmla="*/ 102 w 791"/>
                <a:gd name="T25" fmla="*/ 337 h 460"/>
                <a:gd name="T26" fmla="*/ 381 w 791"/>
                <a:gd name="T27" fmla="*/ 434 h 460"/>
                <a:gd name="T28" fmla="*/ 514 w 791"/>
                <a:gd name="T29" fmla="*/ 357 h 460"/>
                <a:gd name="T30" fmla="*/ 575 w 791"/>
                <a:gd name="T31" fmla="*/ 288 h 460"/>
                <a:gd name="T32" fmla="*/ 640 w 791"/>
                <a:gd name="T33" fmla="*/ 214 h 460"/>
                <a:gd name="T34" fmla="*/ 785 w 791"/>
                <a:gd name="T35" fmla="*/ 114 h 460"/>
                <a:gd name="T36" fmla="*/ 784 w 791"/>
                <a:gd name="T37" fmla="*/ 106 h 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91" h="460">
                  <a:moveTo>
                    <a:pt x="784" y="106"/>
                  </a:moveTo>
                  <a:cubicBezTo>
                    <a:pt x="750" y="107"/>
                    <a:pt x="717" y="98"/>
                    <a:pt x="685" y="87"/>
                  </a:cubicBezTo>
                  <a:cubicBezTo>
                    <a:pt x="656" y="78"/>
                    <a:pt x="628" y="67"/>
                    <a:pt x="600" y="57"/>
                  </a:cubicBezTo>
                  <a:cubicBezTo>
                    <a:pt x="544" y="37"/>
                    <a:pt x="487" y="17"/>
                    <a:pt x="427" y="8"/>
                  </a:cubicBezTo>
                  <a:cubicBezTo>
                    <a:pt x="371" y="0"/>
                    <a:pt x="313" y="3"/>
                    <a:pt x="259" y="24"/>
                  </a:cubicBezTo>
                  <a:cubicBezTo>
                    <a:pt x="208" y="43"/>
                    <a:pt x="161" y="77"/>
                    <a:pt x="128" y="121"/>
                  </a:cubicBezTo>
                  <a:cubicBezTo>
                    <a:pt x="87" y="174"/>
                    <a:pt x="65" y="240"/>
                    <a:pt x="65" y="307"/>
                  </a:cubicBezTo>
                  <a:cubicBezTo>
                    <a:pt x="65" y="307"/>
                    <a:pt x="64" y="307"/>
                    <a:pt x="64" y="307"/>
                  </a:cubicBezTo>
                  <a:cubicBezTo>
                    <a:pt x="39" y="340"/>
                    <a:pt x="18" y="375"/>
                    <a:pt x="1" y="413"/>
                  </a:cubicBezTo>
                  <a:cubicBezTo>
                    <a:pt x="0" y="416"/>
                    <a:pt x="1" y="418"/>
                    <a:pt x="4" y="419"/>
                  </a:cubicBezTo>
                  <a:cubicBezTo>
                    <a:pt x="16" y="421"/>
                    <a:pt x="29" y="424"/>
                    <a:pt x="41" y="426"/>
                  </a:cubicBezTo>
                  <a:cubicBezTo>
                    <a:pt x="43" y="427"/>
                    <a:pt x="45" y="425"/>
                    <a:pt x="46" y="424"/>
                  </a:cubicBezTo>
                  <a:cubicBezTo>
                    <a:pt x="61" y="393"/>
                    <a:pt x="80" y="364"/>
                    <a:pt x="102" y="337"/>
                  </a:cubicBezTo>
                  <a:cubicBezTo>
                    <a:pt x="167" y="421"/>
                    <a:pt x="278" y="460"/>
                    <a:pt x="381" y="434"/>
                  </a:cubicBezTo>
                  <a:cubicBezTo>
                    <a:pt x="432" y="421"/>
                    <a:pt x="476" y="394"/>
                    <a:pt x="514" y="357"/>
                  </a:cubicBezTo>
                  <a:cubicBezTo>
                    <a:pt x="536" y="335"/>
                    <a:pt x="555" y="312"/>
                    <a:pt x="575" y="288"/>
                  </a:cubicBezTo>
                  <a:cubicBezTo>
                    <a:pt x="596" y="263"/>
                    <a:pt x="618" y="239"/>
                    <a:pt x="640" y="214"/>
                  </a:cubicBezTo>
                  <a:cubicBezTo>
                    <a:pt x="679" y="172"/>
                    <a:pt x="724" y="120"/>
                    <a:pt x="785" y="114"/>
                  </a:cubicBezTo>
                  <a:cubicBezTo>
                    <a:pt x="791" y="114"/>
                    <a:pt x="790" y="106"/>
                    <a:pt x="784" y="106"/>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nvGrpSpPr>
            <p:cNvPr id="50" name="Group 46">
              <a:extLst>
                <a:ext uri="{FF2B5EF4-FFF2-40B4-BE49-F238E27FC236}">
                  <a16:creationId xmlns:a16="http://schemas.microsoft.com/office/drawing/2014/main" id="{1F2DAE03-4C94-47A4-B7A8-DE424DFB50D9}"/>
                </a:ext>
              </a:extLst>
            </p:cNvPr>
            <p:cNvGrpSpPr/>
            <p:nvPr/>
          </p:nvGrpSpPr>
          <p:grpSpPr>
            <a:xfrm>
              <a:off x="5215271" y="2600567"/>
              <a:ext cx="531017" cy="487204"/>
              <a:chOff x="10579100" y="1296988"/>
              <a:chExt cx="481012" cy="441325"/>
            </a:xfrm>
            <a:solidFill>
              <a:schemeClr val="bg1"/>
            </a:solidFill>
          </p:grpSpPr>
          <p:sp>
            <p:nvSpPr>
              <p:cNvPr id="51" name="Freeform 108">
                <a:extLst>
                  <a:ext uri="{FF2B5EF4-FFF2-40B4-BE49-F238E27FC236}">
                    <a16:creationId xmlns:a16="http://schemas.microsoft.com/office/drawing/2014/main" id="{85CE9EE2-B75A-448B-8B0E-E7DDE38689E1}"/>
                  </a:ext>
                </a:extLst>
              </p:cNvPr>
              <p:cNvSpPr>
                <a:spLocks noEditPoints="1"/>
              </p:cNvSpPr>
              <p:nvPr/>
            </p:nvSpPr>
            <p:spPr bwMode="auto">
              <a:xfrm>
                <a:off x="10907713" y="1517650"/>
                <a:ext cx="146050" cy="220663"/>
              </a:xfrm>
              <a:custGeom>
                <a:avLst/>
                <a:gdLst>
                  <a:gd name="T0" fmla="*/ 42 w 45"/>
                  <a:gd name="T1" fmla="*/ 54 h 68"/>
                  <a:gd name="T2" fmla="*/ 24 w 45"/>
                  <a:gd name="T3" fmla="*/ 42 h 68"/>
                  <a:gd name="T4" fmla="*/ 23 w 45"/>
                  <a:gd name="T5" fmla="*/ 42 h 68"/>
                  <a:gd name="T6" fmla="*/ 23 w 45"/>
                  <a:gd name="T7" fmla="*/ 29 h 68"/>
                  <a:gd name="T8" fmla="*/ 26 w 45"/>
                  <a:gd name="T9" fmla="*/ 24 h 68"/>
                  <a:gd name="T10" fmla="*/ 26 w 45"/>
                  <a:gd name="T11" fmla="*/ 11 h 68"/>
                  <a:gd name="T12" fmla="*/ 14 w 45"/>
                  <a:gd name="T13" fmla="*/ 0 h 68"/>
                  <a:gd name="T14" fmla="*/ 11 w 45"/>
                  <a:gd name="T15" fmla="*/ 0 h 68"/>
                  <a:gd name="T16" fmla="*/ 0 w 45"/>
                  <a:gd name="T17" fmla="*/ 11 h 68"/>
                  <a:gd name="T18" fmla="*/ 0 w 45"/>
                  <a:gd name="T19" fmla="*/ 24 h 68"/>
                  <a:gd name="T20" fmla="*/ 2 w 45"/>
                  <a:gd name="T21" fmla="*/ 29 h 68"/>
                  <a:gd name="T22" fmla="*/ 2 w 45"/>
                  <a:gd name="T23" fmla="*/ 42 h 68"/>
                  <a:gd name="T24" fmla="*/ 2 w 45"/>
                  <a:gd name="T25" fmla="*/ 42 h 68"/>
                  <a:gd name="T26" fmla="*/ 10 w 45"/>
                  <a:gd name="T27" fmla="*/ 48 h 68"/>
                  <a:gd name="T28" fmla="*/ 15 w 45"/>
                  <a:gd name="T29" fmla="*/ 58 h 68"/>
                  <a:gd name="T30" fmla="*/ 15 w 45"/>
                  <a:gd name="T31" fmla="*/ 68 h 68"/>
                  <a:gd name="T32" fmla="*/ 45 w 45"/>
                  <a:gd name="T33" fmla="*/ 68 h 68"/>
                  <a:gd name="T34" fmla="*/ 45 w 45"/>
                  <a:gd name="T35" fmla="*/ 59 h 68"/>
                  <a:gd name="T36" fmla="*/ 42 w 45"/>
                  <a:gd name="T37" fmla="*/ 54 h 68"/>
                  <a:gd name="T38" fmla="*/ 42 w 45"/>
                  <a:gd name="T39" fmla="*/ 54 h 68"/>
                  <a:gd name="T40" fmla="*/ 42 w 45"/>
                  <a:gd name="T41" fmla="*/ 54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5" h="68">
                    <a:moveTo>
                      <a:pt x="42" y="54"/>
                    </a:moveTo>
                    <a:cubicBezTo>
                      <a:pt x="34" y="48"/>
                      <a:pt x="26" y="43"/>
                      <a:pt x="24" y="42"/>
                    </a:cubicBezTo>
                    <a:cubicBezTo>
                      <a:pt x="24" y="42"/>
                      <a:pt x="23" y="42"/>
                      <a:pt x="23" y="42"/>
                    </a:cubicBezTo>
                    <a:cubicBezTo>
                      <a:pt x="23" y="29"/>
                      <a:pt x="23" y="29"/>
                      <a:pt x="23" y="29"/>
                    </a:cubicBezTo>
                    <a:cubicBezTo>
                      <a:pt x="25" y="28"/>
                      <a:pt x="26" y="26"/>
                      <a:pt x="26" y="24"/>
                    </a:cubicBezTo>
                    <a:cubicBezTo>
                      <a:pt x="26" y="11"/>
                      <a:pt x="26" y="11"/>
                      <a:pt x="26" y="11"/>
                    </a:cubicBezTo>
                    <a:cubicBezTo>
                      <a:pt x="26" y="5"/>
                      <a:pt x="21" y="0"/>
                      <a:pt x="14" y="0"/>
                    </a:cubicBezTo>
                    <a:cubicBezTo>
                      <a:pt x="11" y="0"/>
                      <a:pt x="11" y="0"/>
                      <a:pt x="11" y="0"/>
                    </a:cubicBezTo>
                    <a:cubicBezTo>
                      <a:pt x="5" y="0"/>
                      <a:pt x="0" y="5"/>
                      <a:pt x="0" y="11"/>
                    </a:cubicBezTo>
                    <a:cubicBezTo>
                      <a:pt x="0" y="24"/>
                      <a:pt x="0" y="24"/>
                      <a:pt x="0" y="24"/>
                    </a:cubicBezTo>
                    <a:cubicBezTo>
                      <a:pt x="0" y="26"/>
                      <a:pt x="1" y="28"/>
                      <a:pt x="2" y="29"/>
                    </a:cubicBezTo>
                    <a:cubicBezTo>
                      <a:pt x="2" y="42"/>
                      <a:pt x="2" y="42"/>
                      <a:pt x="2" y="42"/>
                    </a:cubicBezTo>
                    <a:cubicBezTo>
                      <a:pt x="2" y="42"/>
                      <a:pt x="2" y="42"/>
                      <a:pt x="2" y="42"/>
                    </a:cubicBezTo>
                    <a:cubicBezTo>
                      <a:pt x="5" y="44"/>
                      <a:pt x="7" y="46"/>
                      <a:pt x="10" y="48"/>
                    </a:cubicBezTo>
                    <a:cubicBezTo>
                      <a:pt x="13" y="50"/>
                      <a:pt x="15" y="54"/>
                      <a:pt x="15" y="58"/>
                    </a:cubicBezTo>
                    <a:cubicBezTo>
                      <a:pt x="15" y="68"/>
                      <a:pt x="15" y="68"/>
                      <a:pt x="15" y="68"/>
                    </a:cubicBezTo>
                    <a:cubicBezTo>
                      <a:pt x="45" y="68"/>
                      <a:pt x="45" y="68"/>
                      <a:pt x="45" y="68"/>
                    </a:cubicBezTo>
                    <a:cubicBezTo>
                      <a:pt x="45" y="59"/>
                      <a:pt x="45" y="59"/>
                      <a:pt x="45" y="59"/>
                    </a:cubicBezTo>
                    <a:cubicBezTo>
                      <a:pt x="45" y="57"/>
                      <a:pt x="44" y="56"/>
                      <a:pt x="42" y="54"/>
                    </a:cubicBezTo>
                    <a:close/>
                    <a:moveTo>
                      <a:pt x="42" y="54"/>
                    </a:moveTo>
                    <a:cubicBezTo>
                      <a:pt x="42" y="54"/>
                      <a:pt x="42" y="54"/>
                      <a:pt x="42" y="5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52" name="Freeform 109">
                <a:extLst>
                  <a:ext uri="{FF2B5EF4-FFF2-40B4-BE49-F238E27FC236}">
                    <a16:creationId xmlns:a16="http://schemas.microsoft.com/office/drawing/2014/main" id="{904A04EF-78E6-4E95-910B-BDE0BCB918CD}"/>
                  </a:ext>
                </a:extLst>
              </p:cNvPr>
              <p:cNvSpPr>
                <a:spLocks noEditPoints="1"/>
              </p:cNvSpPr>
              <p:nvPr/>
            </p:nvSpPr>
            <p:spPr bwMode="auto">
              <a:xfrm>
                <a:off x="10579100" y="1517650"/>
                <a:ext cx="146050" cy="220663"/>
              </a:xfrm>
              <a:custGeom>
                <a:avLst/>
                <a:gdLst>
                  <a:gd name="T0" fmla="*/ 42 w 45"/>
                  <a:gd name="T1" fmla="*/ 42 h 68"/>
                  <a:gd name="T2" fmla="*/ 42 w 45"/>
                  <a:gd name="T3" fmla="*/ 29 h 68"/>
                  <a:gd name="T4" fmla="*/ 45 w 45"/>
                  <a:gd name="T5" fmla="*/ 24 h 68"/>
                  <a:gd name="T6" fmla="*/ 45 w 45"/>
                  <a:gd name="T7" fmla="*/ 11 h 68"/>
                  <a:gd name="T8" fmla="*/ 33 w 45"/>
                  <a:gd name="T9" fmla="*/ 0 h 68"/>
                  <a:gd name="T10" fmla="*/ 31 w 45"/>
                  <a:gd name="T11" fmla="*/ 0 h 68"/>
                  <a:gd name="T12" fmla="*/ 19 w 45"/>
                  <a:gd name="T13" fmla="*/ 11 h 68"/>
                  <a:gd name="T14" fmla="*/ 19 w 45"/>
                  <a:gd name="T15" fmla="*/ 24 h 68"/>
                  <a:gd name="T16" fmla="*/ 21 w 45"/>
                  <a:gd name="T17" fmla="*/ 29 h 68"/>
                  <a:gd name="T18" fmla="*/ 21 w 45"/>
                  <a:gd name="T19" fmla="*/ 42 h 68"/>
                  <a:gd name="T20" fmla="*/ 21 w 45"/>
                  <a:gd name="T21" fmla="*/ 42 h 68"/>
                  <a:gd name="T22" fmla="*/ 3 w 45"/>
                  <a:gd name="T23" fmla="*/ 54 h 68"/>
                  <a:gd name="T24" fmla="*/ 0 w 45"/>
                  <a:gd name="T25" fmla="*/ 59 h 68"/>
                  <a:gd name="T26" fmla="*/ 0 w 45"/>
                  <a:gd name="T27" fmla="*/ 68 h 68"/>
                  <a:gd name="T28" fmla="*/ 30 w 45"/>
                  <a:gd name="T29" fmla="*/ 68 h 68"/>
                  <a:gd name="T30" fmla="*/ 30 w 45"/>
                  <a:gd name="T31" fmla="*/ 58 h 68"/>
                  <a:gd name="T32" fmla="*/ 35 w 45"/>
                  <a:gd name="T33" fmla="*/ 48 h 68"/>
                  <a:gd name="T34" fmla="*/ 43 w 45"/>
                  <a:gd name="T35" fmla="*/ 42 h 68"/>
                  <a:gd name="T36" fmla="*/ 42 w 45"/>
                  <a:gd name="T37" fmla="*/ 42 h 68"/>
                  <a:gd name="T38" fmla="*/ 42 w 45"/>
                  <a:gd name="T39" fmla="*/ 42 h 68"/>
                  <a:gd name="T40" fmla="*/ 42 w 45"/>
                  <a:gd name="T41" fmla="*/ 42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5" h="68">
                    <a:moveTo>
                      <a:pt x="42" y="42"/>
                    </a:moveTo>
                    <a:cubicBezTo>
                      <a:pt x="42" y="29"/>
                      <a:pt x="42" y="29"/>
                      <a:pt x="42" y="29"/>
                    </a:cubicBezTo>
                    <a:cubicBezTo>
                      <a:pt x="44" y="28"/>
                      <a:pt x="45" y="26"/>
                      <a:pt x="45" y="24"/>
                    </a:cubicBezTo>
                    <a:cubicBezTo>
                      <a:pt x="45" y="11"/>
                      <a:pt x="45" y="11"/>
                      <a:pt x="45" y="11"/>
                    </a:cubicBezTo>
                    <a:cubicBezTo>
                      <a:pt x="45" y="5"/>
                      <a:pt x="40" y="0"/>
                      <a:pt x="33" y="0"/>
                    </a:cubicBezTo>
                    <a:cubicBezTo>
                      <a:pt x="31" y="0"/>
                      <a:pt x="31" y="0"/>
                      <a:pt x="31" y="0"/>
                    </a:cubicBezTo>
                    <a:cubicBezTo>
                      <a:pt x="24" y="0"/>
                      <a:pt x="19" y="5"/>
                      <a:pt x="19" y="11"/>
                    </a:cubicBezTo>
                    <a:cubicBezTo>
                      <a:pt x="19" y="24"/>
                      <a:pt x="19" y="24"/>
                      <a:pt x="19" y="24"/>
                    </a:cubicBezTo>
                    <a:cubicBezTo>
                      <a:pt x="19" y="26"/>
                      <a:pt x="20" y="28"/>
                      <a:pt x="21" y="29"/>
                    </a:cubicBezTo>
                    <a:cubicBezTo>
                      <a:pt x="21" y="42"/>
                      <a:pt x="21" y="42"/>
                      <a:pt x="21" y="42"/>
                    </a:cubicBezTo>
                    <a:cubicBezTo>
                      <a:pt x="21" y="42"/>
                      <a:pt x="21" y="42"/>
                      <a:pt x="21" y="42"/>
                    </a:cubicBezTo>
                    <a:cubicBezTo>
                      <a:pt x="19" y="43"/>
                      <a:pt x="11" y="48"/>
                      <a:pt x="3" y="54"/>
                    </a:cubicBezTo>
                    <a:cubicBezTo>
                      <a:pt x="1" y="56"/>
                      <a:pt x="0" y="57"/>
                      <a:pt x="0" y="59"/>
                    </a:cubicBezTo>
                    <a:cubicBezTo>
                      <a:pt x="0" y="68"/>
                      <a:pt x="0" y="68"/>
                      <a:pt x="0" y="68"/>
                    </a:cubicBezTo>
                    <a:cubicBezTo>
                      <a:pt x="30" y="68"/>
                      <a:pt x="30" y="68"/>
                      <a:pt x="30" y="68"/>
                    </a:cubicBezTo>
                    <a:cubicBezTo>
                      <a:pt x="30" y="58"/>
                      <a:pt x="30" y="58"/>
                      <a:pt x="30" y="58"/>
                    </a:cubicBezTo>
                    <a:cubicBezTo>
                      <a:pt x="30" y="54"/>
                      <a:pt x="32" y="50"/>
                      <a:pt x="35" y="48"/>
                    </a:cubicBezTo>
                    <a:cubicBezTo>
                      <a:pt x="37" y="46"/>
                      <a:pt x="40" y="44"/>
                      <a:pt x="43" y="42"/>
                    </a:cubicBezTo>
                    <a:cubicBezTo>
                      <a:pt x="42" y="42"/>
                      <a:pt x="42" y="42"/>
                      <a:pt x="42" y="42"/>
                    </a:cubicBezTo>
                    <a:close/>
                    <a:moveTo>
                      <a:pt x="42" y="42"/>
                    </a:moveTo>
                    <a:cubicBezTo>
                      <a:pt x="42" y="42"/>
                      <a:pt x="42" y="42"/>
                      <a:pt x="42" y="4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53" name="Freeform 110">
                <a:extLst>
                  <a:ext uri="{FF2B5EF4-FFF2-40B4-BE49-F238E27FC236}">
                    <a16:creationId xmlns:a16="http://schemas.microsoft.com/office/drawing/2014/main" id="{6B9EB19E-DC85-4274-925F-BC71A03AA946}"/>
                  </a:ext>
                </a:extLst>
              </p:cNvPr>
              <p:cNvSpPr>
                <a:spLocks noEditPoints="1"/>
              </p:cNvSpPr>
              <p:nvPr/>
            </p:nvSpPr>
            <p:spPr bwMode="auto">
              <a:xfrm>
                <a:off x="10936288" y="1362075"/>
                <a:ext cx="55562" cy="57150"/>
              </a:xfrm>
              <a:custGeom>
                <a:avLst/>
                <a:gdLst>
                  <a:gd name="T0" fmla="*/ 17 w 17"/>
                  <a:gd name="T1" fmla="*/ 9 h 18"/>
                  <a:gd name="T2" fmla="*/ 9 w 17"/>
                  <a:gd name="T3" fmla="*/ 18 h 18"/>
                  <a:gd name="T4" fmla="*/ 0 w 17"/>
                  <a:gd name="T5" fmla="*/ 9 h 18"/>
                  <a:gd name="T6" fmla="*/ 9 w 17"/>
                  <a:gd name="T7" fmla="*/ 0 h 18"/>
                  <a:gd name="T8" fmla="*/ 17 w 17"/>
                  <a:gd name="T9" fmla="*/ 9 h 18"/>
                  <a:gd name="T10" fmla="*/ 17 w 17"/>
                  <a:gd name="T11" fmla="*/ 9 h 18"/>
                  <a:gd name="T12" fmla="*/ 17 w 17"/>
                  <a:gd name="T13" fmla="*/ 9 h 18"/>
                </a:gdLst>
                <a:ahLst/>
                <a:cxnLst>
                  <a:cxn ang="0">
                    <a:pos x="T0" y="T1"/>
                  </a:cxn>
                  <a:cxn ang="0">
                    <a:pos x="T2" y="T3"/>
                  </a:cxn>
                  <a:cxn ang="0">
                    <a:pos x="T4" y="T5"/>
                  </a:cxn>
                  <a:cxn ang="0">
                    <a:pos x="T6" y="T7"/>
                  </a:cxn>
                  <a:cxn ang="0">
                    <a:pos x="T8" y="T9"/>
                  </a:cxn>
                  <a:cxn ang="0">
                    <a:pos x="T10" y="T11"/>
                  </a:cxn>
                  <a:cxn ang="0">
                    <a:pos x="T12" y="T13"/>
                  </a:cxn>
                </a:cxnLst>
                <a:rect l="0" t="0" r="r" b="b"/>
                <a:pathLst>
                  <a:path w="17" h="18">
                    <a:moveTo>
                      <a:pt x="17" y="9"/>
                    </a:moveTo>
                    <a:cubicBezTo>
                      <a:pt x="17" y="14"/>
                      <a:pt x="14" y="18"/>
                      <a:pt x="9" y="18"/>
                    </a:cubicBezTo>
                    <a:cubicBezTo>
                      <a:pt x="4" y="18"/>
                      <a:pt x="0" y="14"/>
                      <a:pt x="0" y="9"/>
                    </a:cubicBezTo>
                    <a:cubicBezTo>
                      <a:pt x="0" y="4"/>
                      <a:pt x="4" y="0"/>
                      <a:pt x="9" y="0"/>
                    </a:cubicBezTo>
                    <a:cubicBezTo>
                      <a:pt x="14" y="0"/>
                      <a:pt x="17" y="4"/>
                      <a:pt x="17" y="9"/>
                    </a:cubicBezTo>
                    <a:close/>
                    <a:moveTo>
                      <a:pt x="17" y="9"/>
                    </a:moveTo>
                    <a:cubicBezTo>
                      <a:pt x="17" y="9"/>
                      <a:pt x="17" y="9"/>
                      <a:pt x="17" y="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54" name="Freeform 111">
                <a:extLst>
                  <a:ext uri="{FF2B5EF4-FFF2-40B4-BE49-F238E27FC236}">
                    <a16:creationId xmlns:a16="http://schemas.microsoft.com/office/drawing/2014/main" id="{5A4B7E37-577F-41C9-9B31-6EF7C7457934}"/>
                  </a:ext>
                </a:extLst>
              </p:cNvPr>
              <p:cNvSpPr>
                <a:spLocks noEditPoints="1"/>
              </p:cNvSpPr>
              <p:nvPr/>
            </p:nvSpPr>
            <p:spPr bwMode="auto">
              <a:xfrm>
                <a:off x="10868025" y="1296988"/>
                <a:ext cx="192087" cy="190500"/>
              </a:xfrm>
              <a:custGeom>
                <a:avLst/>
                <a:gdLst>
                  <a:gd name="T0" fmla="*/ 10 w 59"/>
                  <a:gd name="T1" fmla="*/ 47 h 59"/>
                  <a:gd name="T2" fmla="*/ 4 w 59"/>
                  <a:gd name="T3" fmla="*/ 54 h 59"/>
                  <a:gd name="T4" fmla="*/ 5 w 59"/>
                  <a:gd name="T5" fmla="*/ 56 h 59"/>
                  <a:gd name="T6" fmla="*/ 16 w 59"/>
                  <a:gd name="T7" fmla="*/ 52 h 59"/>
                  <a:gd name="T8" fmla="*/ 16 w 59"/>
                  <a:gd name="T9" fmla="*/ 52 h 59"/>
                  <a:gd name="T10" fmla="*/ 49 w 59"/>
                  <a:gd name="T11" fmla="*/ 48 h 59"/>
                  <a:gd name="T12" fmla="*/ 49 w 59"/>
                  <a:gd name="T13" fmla="*/ 10 h 59"/>
                  <a:gd name="T14" fmla="*/ 11 w 59"/>
                  <a:gd name="T15" fmla="*/ 10 h 59"/>
                  <a:gd name="T16" fmla="*/ 10 w 59"/>
                  <a:gd name="T17" fmla="*/ 47 h 59"/>
                  <a:gd name="T18" fmla="*/ 10 w 59"/>
                  <a:gd name="T19" fmla="*/ 27 h 59"/>
                  <a:gd name="T20" fmla="*/ 11 w 59"/>
                  <a:gd name="T21" fmla="*/ 26 h 59"/>
                  <a:gd name="T22" fmla="*/ 14 w 59"/>
                  <a:gd name="T23" fmla="*/ 26 h 59"/>
                  <a:gd name="T24" fmla="*/ 17 w 59"/>
                  <a:gd name="T25" fmla="*/ 20 h 59"/>
                  <a:gd name="T26" fmla="*/ 15 w 59"/>
                  <a:gd name="T27" fmla="*/ 18 h 59"/>
                  <a:gd name="T28" fmla="*/ 15 w 59"/>
                  <a:gd name="T29" fmla="*/ 16 h 59"/>
                  <a:gd name="T30" fmla="*/ 17 w 59"/>
                  <a:gd name="T31" fmla="*/ 14 h 59"/>
                  <a:gd name="T32" fmla="*/ 19 w 59"/>
                  <a:gd name="T33" fmla="*/ 14 h 59"/>
                  <a:gd name="T34" fmla="*/ 21 w 59"/>
                  <a:gd name="T35" fmla="*/ 16 h 59"/>
                  <a:gd name="T36" fmla="*/ 27 w 59"/>
                  <a:gd name="T37" fmla="*/ 13 h 59"/>
                  <a:gd name="T38" fmla="*/ 27 w 59"/>
                  <a:gd name="T39" fmla="*/ 11 h 59"/>
                  <a:gd name="T40" fmla="*/ 29 w 59"/>
                  <a:gd name="T41" fmla="*/ 9 h 59"/>
                  <a:gd name="T42" fmla="*/ 31 w 59"/>
                  <a:gd name="T43" fmla="*/ 9 h 59"/>
                  <a:gd name="T44" fmla="*/ 33 w 59"/>
                  <a:gd name="T45" fmla="*/ 11 h 59"/>
                  <a:gd name="T46" fmla="*/ 33 w 59"/>
                  <a:gd name="T47" fmla="*/ 14 h 59"/>
                  <a:gd name="T48" fmla="*/ 39 w 59"/>
                  <a:gd name="T49" fmla="*/ 16 h 59"/>
                  <a:gd name="T50" fmla="*/ 41 w 59"/>
                  <a:gd name="T51" fmla="*/ 14 h 59"/>
                  <a:gd name="T52" fmla="*/ 43 w 59"/>
                  <a:gd name="T53" fmla="*/ 14 h 59"/>
                  <a:gd name="T54" fmla="*/ 45 w 59"/>
                  <a:gd name="T55" fmla="*/ 16 h 59"/>
                  <a:gd name="T56" fmla="*/ 45 w 59"/>
                  <a:gd name="T57" fmla="*/ 19 h 59"/>
                  <a:gd name="T58" fmla="*/ 43 w 59"/>
                  <a:gd name="T59" fmla="*/ 21 h 59"/>
                  <a:gd name="T60" fmla="*/ 46 w 59"/>
                  <a:gd name="T61" fmla="*/ 27 h 59"/>
                  <a:gd name="T62" fmla="*/ 48 w 59"/>
                  <a:gd name="T63" fmla="*/ 27 h 59"/>
                  <a:gd name="T64" fmla="*/ 50 w 59"/>
                  <a:gd name="T65" fmla="*/ 28 h 59"/>
                  <a:gd name="T66" fmla="*/ 50 w 59"/>
                  <a:gd name="T67" fmla="*/ 31 h 59"/>
                  <a:gd name="T68" fmla="*/ 48 w 59"/>
                  <a:gd name="T69" fmla="*/ 33 h 59"/>
                  <a:gd name="T70" fmla="*/ 45 w 59"/>
                  <a:gd name="T71" fmla="*/ 33 h 59"/>
                  <a:gd name="T72" fmla="*/ 43 w 59"/>
                  <a:gd name="T73" fmla="*/ 39 h 59"/>
                  <a:gd name="T74" fmla="*/ 45 w 59"/>
                  <a:gd name="T75" fmla="*/ 40 h 59"/>
                  <a:gd name="T76" fmla="*/ 45 w 59"/>
                  <a:gd name="T77" fmla="*/ 43 h 59"/>
                  <a:gd name="T78" fmla="*/ 43 w 59"/>
                  <a:gd name="T79" fmla="*/ 45 h 59"/>
                  <a:gd name="T80" fmla="*/ 40 w 59"/>
                  <a:gd name="T81" fmla="*/ 45 h 59"/>
                  <a:gd name="T82" fmla="*/ 38 w 59"/>
                  <a:gd name="T83" fmla="*/ 43 h 59"/>
                  <a:gd name="T84" fmla="*/ 32 w 59"/>
                  <a:gd name="T85" fmla="*/ 45 h 59"/>
                  <a:gd name="T86" fmla="*/ 32 w 59"/>
                  <a:gd name="T87" fmla="*/ 48 h 59"/>
                  <a:gd name="T88" fmla="*/ 31 w 59"/>
                  <a:gd name="T89" fmla="*/ 49 h 59"/>
                  <a:gd name="T90" fmla="*/ 28 w 59"/>
                  <a:gd name="T91" fmla="*/ 49 h 59"/>
                  <a:gd name="T92" fmla="*/ 26 w 59"/>
                  <a:gd name="T93" fmla="*/ 48 h 59"/>
                  <a:gd name="T94" fmla="*/ 26 w 59"/>
                  <a:gd name="T95" fmla="*/ 45 h 59"/>
                  <a:gd name="T96" fmla="*/ 20 w 59"/>
                  <a:gd name="T97" fmla="*/ 42 h 59"/>
                  <a:gd name="T98" fmla="*/ 19 w 59"/>
                  <a:gd name="T99" fmla="*/ 44 h 59"/>
                  <a:gd name="T100" fmla="*/ 16 w 59"/>
                  <a:gd name="T101" fmla="*/ 44 h 59"/>
                  <a:gd name="T102" fmla="*/ 14 w 59"/>
                  <a:gd name="T103" fmla="*/ 42 h 59"/>
                  <a:gd name="T104" fmla="*/ 14 w 59"/>
                  <a:gd name="T105" fmla="*/ 40 h 59"/>
                  <a:gd name="T106" fmla="*/ 16 w 59"/>
                  <a:gd name="T107" fmla="*/ 38 h 59"/>
                  <a:gd name="T108" fmla="*/ 14 w 59"/>
                  <a:gd name="T109" fmla="*/ 32 h 59"/>
                  <a:gd name="T110" fmla="*/ 11 w 59"/>
                  <a:gd name="T111" fmla="*/ 32 h 59"/>
                  <a:gd name="T112" fmla="*/ 10 w 59"/>
                  <a:gd name="T113" fmla="*/ 30 h 59"/>
                  <a:gd name="T114" fmla="*/ 10 w 59"/>
                  <a:gd name="T115" fmla="*/ 27 h 59"/>
                  <a:gd name="T116" fmla="*/ 10 w 59"/>
                  <a:gd name="T117" fmla="*/ 27 h 59"/>
                  <a:gd name="T118" fmla="*/ 10 w 59"/>
                  <a:gd name="T119" fmla="*/ 2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9" h="59">
                    <a:moveTo>
                      <a:pt x="10" y="47"/>
                    </a:moveTo>
                    <a:cubicBezTo>
                      <a:pt x="9" y="49"/>
                      <a:pt x="7" y="52"/>
                      <a:pt x="4" y="54"/>
                    </a:cubicBezTo>
                    <a:cubicBezTo>
                      <a:pt x="3" y="54"/>
                      <a:pt x="4" y="55"/>
                      <a:pt x="5" y="56"/>
                    </a:cubicBezTo>
                    <a:cubicBezTo>
                      <a:pt x="8" y="56"/>
                      <a:pt x="12" y="55"/>
                      <a:pt x="16" y="52"/>
                    </a:cubicBezTo>
                    <a:cubicBezTo>
                      <a:pt x="16" y="52"/>
                      <a:pt x="16" y="52"/>
                      <a:pt x="16" y="52"/>
                    </a:cubicBezTo>
                    <a:cubicBezTo>
                      <a:pt x="26" y="59"/>
                      <a:pt x="40" y="57"/>
                      <a:pt x="49" y="48"/>
                    </a:cubicBezTo>
                    <a:cubicBezTo>
                      <a:pt x="59" y="38"/>
                      <a:pt x="59" y="21"/>
                      <a:pt x="49" y="10"/>
                    </a:cubicBezTo>
                    <a:cubicBezTo>
                      <a:pt x="38" y="0"/>
                      <a:pt x="21" y="0"/>
                      <a:pt x="11" y="10"/>
                    </a:cubicBezTo>
                    <a:cubicBezTo>
                      <a:pt x="1" y="20"/>
                      <a:pt x="0" y="36"/>
                      <a:pt x="10" y="47"/>
                    </a:cubicBezTo>
                    <a:close/>
                    <a:moveTo>
                      <a:pt x="10" y="27"/>
                    </a:moveTo>
                    <a:cubicBezTo>
                      <a:pt x="10" y="27"/>
                      <a:pt x="10" y="26"/>
                      <a:pt x="11" y="26"/>
                    </a:cubicBezTo>
                    <a:cubicBezTo>
                      <a:pt x="14" y="26"/>
                      <a:pt x="14" y="26"/>
                      <a:pt x="14" y="26"/>
                    </a:cubicBezTo>
                    <a:cubicBezTo>
                      <a:pt x="14" y="24"/>
                      <a:pt x="15" y="22"/>
                      <a:pt x="17" y="20"/>
                    </a:cubicBezTo>
                    <a:cubicBezTo>
                      <a:pt x="15" y="18"/>
                      <a:pt x="15" y="18"/>
                      <a:pt x="15" y="18"/>
                    </a:cubicBezTo>
                    <a:cubicBezTo>
                      <a:pt x="14" y="17"/>
                      <a:pt x="14" y="16"/>
                      <a:pt x="15" y="16"/>
                    </a:cubicBezTo>
                    <a:cubicBezTo>
                      <a:pt x="17" y="14"/>
                      <a:pt x="17" y="14"/>
                      <a:pt x="17" y="14"/>
                    </a:cubicBezTo>
                    <a:cubicBezTo>
                      <a:pt x="17" y="13"/>
                      <a:pt x="19" y="13"/>
                      <a:pt x="19" y="14"/>
                    </a:cubicBezTo>
                    <a:cubicBezTo>
                      <a:pt x="21" y="16"/>
                      <a:pt x="21" y="16"/>
                      <a:pt x="21" y="16"/>
                    </a:cubicBezTo>
                    <a:cubicBezTo>
                      <a:pt x="23" y="15"/>
                      <a:pt x="25" y="14"/>
                      <a:pt x="27" y="13"/>
                    </a:cubicBezTo>
                    <a:cubicBezTo>
                      <a:pt x="27" y="11"/>
                      <a:pt x="27" y="11"/>
                      <a:pt x="27" y="11"/>
                    </a:cubicBezTo>
                    <a:cubicBezTo>
                      <a:pt x="27" y="10"/>
                      <a:pt x="28" y="9"/>
                      <a:pt x="29" y="9"/>
                    </a:cubicBezTo>
                    <a:cubicBezTo>
                      <a:pt x="31" y="9"/>
                      <a:pt x="31" y="9"/>
                      <a:pt x="31" y="9"/>
                    </a:cubicBezTo>
                    <a:cubicBezTo>
                      <a:pt x="32" y="9"/>
                      <a:pt x="33" y="10"/>
                      <a:pt x="33" y="11"/>
                    </a:cubicBezTo>
                    <a:cubicBezTo>
                      <a:pt x="33" y="14"/>
                      <a:pt x="33" y="14"/>
                      <a:pt x="33" y="14"/>
                    </a:cubicBezTo>
                    <a:cubicBezTo>
                      <a:pt x="35" y="14"/>
                      <a:pt x="37" y="15"/>
                      <a:pt x="39" y="16"/>
                    </a:cubicBezTo>
                    <a:cubicBezTo>
                      <a:pt x="41" y="14"/>
                      <a:pt x="41" y="14"/>
                      <a:pt x="41" y="14"/>
                    </a:cubicBezTo>
                    <a:cubicBezTo>
                      <a:pt x="42" y="14"/>
                      <a:pt x="43" y="14"/>
                      <a:pt x="43" y="14"/>
                    </a:cubicBezTo>
                    <a:cubicBezTo>
                      <a:pt x="45" y="16"/>
                      <a:pt x="45" y="16"/>
                      <a:pt x="45" y="16"/>
                    </a:cubicBezTo>
                    <a:cubicBezTo>
                      <a:pt x="46" y="17"/>
                      <a:pt x="46" y="18"/>
                      <a:pt x="45" y="19"/>
                    </a:cubicBezTo>
                    <a:cubicBezTo>
                      <a:pt x="43" y="21"/>
                      <a:pt x="43" y="21"/>
                      <a:pt x="43" y="21"/>
                    </a:cubicBezTo>
                    <a:cubicBezTo>
                      <a:pt x="44" y="22"/>
                      <a:pt x="45" y="24"/>
                      <a:pt x="46" y="27"/>
                    </a:cubicBezTo>
                    <a:cubicBezTo>
                      <a:pt x="48" y="27"/>
                      <a:pt x="48" y="27"/>
                      <a:pt x="48" y="27"/>
                    </a:cubicBezTo>
                    <a:cubicBezTo>
                      <a:pt x="49" y="27"/>
                      <a:pt x="50" y="27"/>
                      <a:pt x="50" y="28"/>
                    </a:cubicBezTo>
                    <a:cubicBezTo>
                      <a:pt x="50" y="31"/>
                      <a:pt x="50" y="31"/>
                      <a:pt x="50" y="31"/>
                    </a:cubicBezTo>
                    <a:cubicBezTo>
                      <a:pt x="50" y="32"/>
                      <a:pt x="49" y="33"/>
                      <a:pt x="48" y="33"/>
                    </a:cubicBezTo>
                    <a:cubicBezTo>
                      <a:pt x="45" y="33"/>
                      <a:pt x="45" y="33"/>
                      <a:pt x="45" y="33"/>
                    </a:cubicBezTo>
                    <a:cubicBezTo>
                      <a:pt x="45" y="35"/>
                      <a:pt x="44" y="37"/>
                      <a:pt x="43" y="39"/>
                    </a:cubicBezTo>
                    <a:cubicBezTo>
                      <a:pt x="45" y="40"/>
                      <a:pt x="45" y="40"/>
                      <a:pt x="45" y="40"/>
                    </a:cubicBezTo>
                    <a:cubicBezTo>
                      <a:pt x="45" y="41"/>
                      <a:pt x="45" y="42"/>
                      <a:pt x="45" y="43"/>
                    </a:cubicBezTo>
                    <a:cubicBezTo>
                      <a:pt x="43" y="45"/>
                      <a:pt x="43" y="45"/>
                      <a:pt x="43" y="45"/>
                    </a:cubicBezTo>
                    <a:cubicBezTo>
                      <a:pt x="42" y="45"/>
                      <a:pt x="41" y="45"/>
                      <a:pt x="40" y="45"/>
                    </a:cubicBezTo>
                    <a:cubicBezTo>
                      <a:pt x="38" y="43"/>
                      <a:pt x="38" y="43"/>
                      <a:pt x="38" y="43"/>
                    </a:cubicBezTo>
                    <a:cubicBezTo>
                      <a:pt x="37" y="44"/>
                      <a:pt x="34" y="45"/>
                      <a:pt x="32" y="45"/>
                    </a:cubicBezTo>
                    <a:cubicBezTo>
                      <a:pt x="32" y="48"/>
                      <a:pt x="32" y="48"/>
                      <a:pt x="32" y="48"/>
                    </a:cubicBezTo>
                    <a:cubicBezTo>
                      <a:pt x="32" y="49"/>
                      <a:pt x="31" y="49"/>
                      <a:pt x="31" y="49"/>
                    </a:cubicBezTo>
                    <a:cubicBezTo>
                      <a:pt x="28" y="49"/>
                      <a:pt x="28" y="49"/>
                      <a:pt x="28" y="49"/>
                    </a:cubicBezTo>
                    <a:cubicBezTo>
                      <a:pt x="27" y="49"/>
                      <a:pt x="26" y="49"/>
                      <a:pt x="26" y="48"/>
                    </a:cubicBezTo>
                    <a:cubicBezTo>
                      <a:pt x="26" y="45"/>
                      <a:pt x="26" y="45"/>
                      <a:pt x="26" y="45"/>
                    </a:cubicBezTo>
                    <a:cubicBezTo>
                      <a:pt x="24" y="45"/>
                      <a:pt x="22" y="44"/>
                      <a:pt x="20" y="42"/>
                    </a:cubicBezTo>
                    <a:cubicBezTo>
                      <a:pt x="19" y="44"/>
                      <a:pt x="19" y="44"/>
                      <a:pt x="19" y="44"/>
                    </a:cubicBezTo>
                    <a:cubicBezTo>
                      <a:pt x="18" y="45"/>
                      <a:pt x="17" y="45"/>
                      <a:pt x="16" y="44"/>
                    </a:cubicBezTo>
                    <a:cubicBezTo>
                      <a:pt x="14" y="42"/>
                      <a:pt x="14" y="42"/>
                      <a:pt x="14" y="42"/>
                    </a:cubicBezTo>
                    <a:cubicBezTo>
                      <a:pt x="14" y="42"/>
                      <a:pt x="14" y="40"/>
                      <a:pt x="14" y="40"/>
                    </a:cubicBezTo>
                    <a:cubicBezTo>
                      <a:pt x="16" y="38"/>
                      <a:pt x="16" y="38"/>
                      <a:pt x="16" y="38"/>
                    </a:cubicBezTo>
                    <a:cubicBezTo>
                      <a:pt x="15" y="36"/>
                      <a:pt x="14" y="34"/>
                      <a:pt x="14" y="32"/>
                    </a:cubicBezTo>
                    <a:cubicBezTo>
                      <a:pt x="11" y="32"/>
                      <a:pt x="11" y="32"/>
                      <a:pt x="11" y="32"/>
                    </a:cubicBezTo>
                    <a:cubicBezTo>
                      <a:pt x="10" y="32"/>
                      <a:pt x="10" y="31"/>
                      <a:pt x="10" y="30"/>
                    </a:cubicBezTo>
                    <a:lnTo>
                      <a:pt x="10" y="27"/>
                    </a:lnTo>
                    <a:close/>
                    <a:moveTo>
                      <a:pt x="10" y="27"/>
                    </a:moveTo>
                    <a:cubicBezTo>
                      <a:pt x="10" y="27"/>
                      <a:pt x="10" y="27"/>
                      <a:pt x="10" y="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55" name="Freeform 112">
                <a:extLst>
                  <a:ext uri="{FF2B5EF4-FFF2-40B4-BE49-F238E27FC236}">
                    <a16:creationId xmlns:a16="http://schemas.microsoft.com/office/drawing/2014/main" id="{8E6C70FF-BAAA-4F66-90F7-46410270C105}"/>
                  </a:ext>
                </a:extLst>
              </p:cNvPr>
              <p:cNvSpPr>
                <a:spLocks noEditPoints="1"/>
              </p:cNvSpPr>
              <p:nvPr/>
            </p:nvSpPr>
            <p:spPr bwMode="auto">
              <a:xfrm>
                <a:off x="10696575" y="1477963"/>
                <a:ext cx="239712" cy="260350"/>
              </a:xfrm>
              <a:custGeom>
                <a:avLst/>
                <a:gdLst>
                  <a:gd name="T0" fmla="*/ 72 w 74"/>
                  <a:gd name="T1" fmla="*/ 64 h 80"/>
                  <a:gd name="T2" fmla="*/ 50 w 74"/>
                  <a:gd name="T3" fmla="*/ 50 h 80"/>
                  <a:gd name="T4" fmla="*/ 49 w 74"/>
                  <a:gd name="T5" fmla="*/ 49 h 80"/>
                  <a:gd name="T6" fmla="*/ 49 w 74"/>
                  <a:gd name="T7" fmla="*/ 35 h 80"/>
                  <a:gd name="T8" fmla="*/ 52 w 74"/>
                  <a:gd name="T9" fmla="*/ 29 h 80"/>
                  <a:gd name="T10" fmla="*/ 52 w 74"/>
                  <a:gd name="T11" fmla="*/ 13 h 80"/>
                  <a:gd name="T12" fmla="*/ 39 w 74"/>
                  <a:gd name="T13" fmla="*/ 0 h 80"/>
                  <a:gd name="T14" fmla="*/ 35 w 74"/>
                  <a:gd name="T15" fmla="*/ 0 h 80"/>
                  <a:gd name="T16" fmla="*/ 21 w 74"/>
                  <a:gd name="T17" fmla="*/ 13 h 80"/>
                  <a:gd name="T18" fmla="*/ 21 w 74"/>
                  <a:gd name="T19" fmla="*/ 29 h 80"/>
                  <a:gd name="T20" fmla="*/ 25 w 74"/>
                  <a:gd name="T21" fmla="*/ 35 h 80"/>
                  <a:gd name="T22" fmla="*/ 25 w 74"/>
                  <a:gd name="T23" fmla="*/ 49 h 80"/>
                  <a:gd name="T24" fmla="*/ 24 w 74"/>
                  <a:gd name="T25" fmla="*/ 50 h 80"/>
                  <a:gd name="T26" fmla="*/ 2 w 74"/>
                  <a:gd name="T27" fmla="*/ 64 h 80"/>
                  <a:gd name="T28" fmla="*/ 0 w 74"/>
                  <a:gd name="T29" fmla="*/ 70 h 80"/>
                  <a:gd name="T30" fmla="*/ 0 w 74"/>
                  <a:gd name="T31" fmla="*/ 80 h 80"/>
                  <a:gd name="T32" fmla="*/ 32 w 74"/>
                  <a:gd name="T33" fmla="*/ 80 h 80"/>
                  <a:gd name="T34" fmla="*/ 35 w 74"/>
                  <a:gd name="T35" fmla="*/ 66 h 80"/>
                  <a:gd name="T36" fmla="*/ 37 w 74"/>
                  <a:gd name="T37" fmla="*/ 56 h 80"/>
                  <a:gd name="T38" fmla="*/ 39 w 74"/>
                  <a:gd name="T39" fmla="*/ 66 h 80"/>
                  <a:gd name="T40" fmla="*/ 42 w 74"/>
                  <a:gd name="T41" fmla="*/ 80 h 80"/>
                  <a:gd name="T42" fmla="*/ 74 w 74"/>
                  <a:gd name="T43" fmla="*/ 80 h 80"/>
                  <a:gd name="T44" fmla="*/ 74 w 74"/>
                  <a:gd name="T45" fmla="*/ 70 h 80"/>
                  <a:gd name="T46" fmla="*/ 72 w 74"/>
                  <a:gd name="T47" fmla="*/ 64 h 80"/>
                  <a:gd name="T48" fmla="*/ 72 w 74"/>
                  <a:gd name="T49" fmla="*/ 64 h 80"/>
                  <a:gd name="T50" fmla="*/ 72 w 74"/>
                  <a:gd name="T51" fmla="*/ 64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4" h="80">
                    <a:moveTo>
                      <a:pt x="72" y="64"/>
                    </a:moveTo>
                    <a:cubicBezTo>
                      <a:pt x="62" y="56"/>
                      <a:pt x="52" y="51"/>
                      <a:pt x="50" y="50"/>
                    </a:cubicBezTo>
                    <a:cubicBezTo>
                      <a:pt x="49" y="50"/>
                      <a:pt x="49" y="50"/>
                      <a:pt x="49" y="49"/>
                    </a:cubicBezTo>
                    <a:cubicBezTo>
                      <a:pt x="49" y="35"/>
                      <a:pt x="49" y="35"/>
                      <a:pt x="49" y="35"/>
                    </a:cubicBezTo>
                    <a:cubicBezTo>
                      <a:pt x="51" y="33"/>
                      <a:pt x="52" y="31"/>
                      <a:pt x="52" y="29"/>
                    </a:cubicBezTo>
                    <a:cubicBezTo>
                      <a:pt x="52" y="13"/>
                      <a:pt x="52" y="13"/>
                      <a:pt x="52" y="13"/>
                    </a:cubicBezTo>
                    <a:cubicBezTo>
                      <a:pt x="52" y="6"/>
                      <a:pt x="46" y="0"/>
                      <a:pt x="39" y="0"/>
                    </a:cubicBezTo>
                    <a:cubicBezTo>
                      <a:pt x="35" y="0"/>
                      <a:pt x="35" y="0"/>
                      <a:pt x="35" y="0"/>
                    </a:cubicBezTo>
                    <a:cubicBezTo>
                      <a:pt x="28" y="0"/>
                      <a:pt x="21" y="6"/>
                      <a:pt x="21" y="13"/>
                    </a:cubicBezTo>
                    <a:cubicBezTo>
                      <a:pt x="21" y="29"/>
                      <a:pt x="21" y="29"/>
                      <a:pt x="21" y="29"/>
                    </a:cubicBezTo>
                    <a:cubicBezTo>
                      <a:pt x="21" y="31"/>
                      <a:pt x="23" y="33"/>
                      <a:pt x="25" y="35"/>
                    </a:cubicBezTo>
                    <a:cubicBezTo>
                      <a:pt x="25" y="49"/>
                      <a:pt x="25" y="49"/>
                      <a:pt x="25" y="49"/>
                    </a:cubicBezTo>
                    <a:cubicBezTo>
                      <a:pt x="25" y="50"/>
                      <a:pt x="24" y="50"/>
                      <a:pt x="24" y="50"/>
                    </a:cubicBezTo>
                    <a:cubicBezTo>
                      <a:pt x="22" y="51"/>
                      <a:pt x="12" y="56"/>
                      <a:pt x="2" y="64"/>
                    </a:cubicBezTo>
                    <a:cubicBezTo>
                      <a:pt x="1" y="65"/>
                      <a:pt x="0" y="67"/>
                      <a:pt x="0" y="70"/>
                    </a:cubicBezTo>
                    <a:cubicBezTo>
                      <a:pt x="0" y="80"/>
                      <a:pt x="0" y="80"/>
                      <a:pt x="0" y="80"/>
                    </a:cubicBezTo>
                    <a:cubicBezTo>
                      <a:pt x="32" y="80"/>
                      <a:pt x="32" y="80"/>
                      <a:pt x="32" y="80"/>
                    </a:cubicBezTo>
                    <a:cubicBezTo>
                      <a:pt x="35" y="66"/>
                      <a:pt x="35" y="66"/>
                      <a:pt x="35" y="66"/>
                    </a:cubicBezTo>
                    <a:cubicBezTo>
                      <a:pt x="29" y="57"/>
                      <a:pt x="36" y="56"/>
                      <a:pt x="37" y="56"/>
                    </a:cubicBezTo>
                    <a:cubicBezTo>
                      <a:pt x="38" y="56"/>
                      <a:pt x="45" y="57"/>
                      <a:pt x="39" y="66"/>
                    </a:cubicBezTo>
                    <a:cubicBezTo>
                      <a:pt x="42" y="80"/>
                      <a:pt x="42" y="80"/>
                      <a:pt x="42" y="80"/>
                    </a:cubicBezTo>
                    <a:cubicBezTo>
                      <a:pt x="74" y="80"/>
                      <a:pt x="74" y="80"/>
                      <a:pt x="74" y="80"/>
                    </a:cubicBezTo>
                    <a:cubicBezTo>
                      <a:pt x="74" y="70"/>
                      <a:pt x="74" y="70"/>
                      <a:pt x="74" y="70"/>
                    </a:cubicBezTo>
                    <a:cubicBezTo>
                      <a:pt x="74" y="67"/>
                      <a:pt x="73" y="65"/>
                      <a:pt x="72" y="64"/>
                    </a:cubicBezTo>
                    <a:close/>
                    <a:moveTo>
                      <a:pt x="72" y="64"/>
                    </a:moveTo>
                    <a:cubicBezTo>
                      <a:pt x="72" y="64"/>
                      <a:pt x="72" y="64"/>
                      <a:pt x="72" y="6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grpSp>
      <p:grpSp>
        <p:nvGrpSpPr>
          <p:cNvPr id="56" name="Group 90">
            <a:extLst>
              <a:ext uri="{FF2B5EF4-FFF2-40B4-BE49-F238E27FC236}">
                <a16:creationId xmlns:a16="http://schemas.microsoft.com/office/drawing/2014/main" id="{058C0D66-424F-4431-9A35-44100AE1E0DD}"/>
              </a:ext>
            </a:extLst>
          </p:cNvPr>
          <p:cNvGrpSpPr/>
          <p:nvPr/>
        </p:nvGrpSpPr>
        <p:grpSpPr>
          <a:xfrm>
            <a:off x="5102659" y="3535631"/>
            <a:ext cx="1931919" cy="990639"/>
            <a:chOff x="5102657" y="3535628"/>
            <a:chExt cx="1931918" cy="990639"/>
          </a:xfrm>
        </p:grpSpPr>
        <p:sp>
          <p:nvSpPr>
            <p:cNvPr id="57" name="Freeform 21">
              <a:extLst>
                <a:ext uri="{FF2B5EF4-FFF2-40B4-BE49-F238E27FC236}">
                  <a16:creationId xmlns:a16="http://schemas.microsoft.com/office/drawing/2014/main" id="{7AC981CF-6651-4576-AF23-F5E988C5F287}"/>
                </a:ext>
              </a:extLst>
            </p:cNvPr>
            <p:cNvSpPr>
              <a:spLocks/>
            </p:cNvSpPr>
            <p:nvPr/>
          </p:nvSpPr>
          <p:spPr bwMode="auto">
            <a:xfrm>
              <a:off x="5102657" y="3535628"/>
              <a:ext cx="1931918" cy="990639"/>
            </a:xfrm>
            <a:custGeom>
              <a:avLst/>
              <a:gdLst>
                <a:gd name="T0" fmla="*/ 841 w 847"/>
                <a:gd name="T1" fmla="*/ 236 h 435"/>
                <a:gd name="T2" fmla="*/ 752 w 847"/>
                <a:gd name="T3" fmla="*/ 189 h 435"/>
                <a:gd name="T4" fmla="*/ 679 w 847"/>
                <a:gd name="T5" fmla="*/ 135 h 435"/>
                <a:gd name="T6" fmla="*/ 528 w 847"/>
                <a:gd name="T7" fmla="*/ 38 h 435"/>
                <a:gd name="T8" fmla="*/ 363 w 847"/>
                <a:gd name="T9" fmla="*/ 4 h 435"/>
                <a:gd name="T10" fmla="*/ 209 w 847"/>
                <a:gd name="T11" fmla="*/ 58 h 435"/>
                <a:gd name="T12" fmla="*/ 94 w 847"/>
                <a:gd name="T13" fmla="*/ 218 h 435"/>
                <a:gd name="T14" fmla="*/ 94 w 847"/>
                <a:gd name="T15" fmla="*/ 218 h 435"/>
                <a:gd name="T16" fmla="*/ 2 w 847"/>
                <a:gd name="T17" fmla="*/ 301 h 435"/>
                <a:gd name="T18" fmla="*/ 4 w 847"/>
                <a:gd name="T19" fmla="*/ 307 h 435"/>
                <a:gd name="T20" fmla="*/ 37 w 847"/>
                <a:gd name="T21" fmla="*/ 325 h 435"/>
                <a:gd name="T22" fmla="*/ 42 w 847"/>
                <a:gd name="T23" fmla="*/ 324 h 435"/>
                <a:gd name="T24" fmla="*/ 121 w 847"/>
                <a:gd name="T25" fmla="*/ 257 h 435"/>
                <a:gd name="T26" fmla="*/ 360 w 847"/>
                <a:gd name="T27" fmla="*/ 432 h 435"/>
                <a:gd name="T28" fmla="*/ 509 w 847"/>
                <a:gd name="T29" fmla="*/ 397 h 435"/>
                <a:gd name="T30" fmla="*/ 588 w 847"/>
                <a:gd name="T31" fmla="*/ 349 h 435"/>
                <a:gd name="T32" fmla="*/ 672 w 847"/>
                <a:gd name="T33" fmla="*/ 297 h 435"/>
                <a:gd name="T34" fmla="*/ 840 w 847"/>
                <a:gd name="T35" fmla="*/ 244 h 435"/>
                <a:gd name="T36" fmla="*/ 841 w 847"/>
                <a:gd name="T37" fmla="*/ 236 h 4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47" h="435">
                  <a:moveTo>
                    <a:pt x="841" y="236"/>
                  </a:moveTo>
                  <a:cubicBezTo>
                    <a:pt x="809" y="227"/>
                    <a:pt x="779" y="208"/>
                    <a:pt x="752" y="189"/>
                  </a:cubicBezTo>
                  <a:cubicBezTo>
                    <a:pt x="727" y="171"/>
                    <a:pt x="703" y="153"/>
                    <a:pt x="679" y="135"/>
                  </a:cubicBezTo>
                  <a:cubicBezTo>
                    <a:pt x="631" y="99"/>
                    <a:pt x="583" y="64"/>
                    <a:pt x="528" y="38"/>
                  </a:cubicBezTo>
                  <a:cubicBezTo>
                    <a:pt x="477" y="14"/>
                    <a:pt x="420" y="0"/>
                    <a:pt x="363" y="4"/>
                  </a:cubicBezTo>
                  <a:cubicBezTo>
                    <a:pt x="308" y="8"/>
                    <a:pt x="254" y="26"/>
                    <a:pt x="209" y="58"/>
                  </a:cubicBezTo>
                  <a:cubicBezTo>
                    <a:pt x="154" y="97"/>
                    <a:pt x="114" y="154"/>
                    <a:pt x="94" y="218"/>
                  </a:cubicBezTo>
                  <a:cubicBezTo>
                    <a:pt x="94" y="218"/>
                    <a:pt x="94" y="218"/>
                    <a:pt x="94" y="218"/>
                  </a:cubicBezTo>
                  <a:cubicBezTo>
                    <a:pt x="60" y="242"/>
                    <a:pt x="30" y="269"/>
                    <a:pt x="2" y="301"/>
                  </a:cubicBezTo>
                  <a:cubicBezTo>
                    <a:pt x="0" y="303"/>
                    <a:pt x="1" y="306"/>
                    <a:pt x="4" y="307"/>
                  </a:cubicBezTo>
                  <a:cubicBezTo>
                    <a:pt x="15" y="313"/>
                    <a:pt x="26" y="319"/>
                    <a:pt x="37" y="325"/>
                  </a:cubicBezTo>
                  <a:cubicBezTo>
                    <a:pt x="39" y="326"/>
                    <a:pt x="41" y="325"/>
                    <a:pt x="42" y="324"/>
                  </a:cubicBezTo>
                  <a:cubicBezTo>
                    <a:pt x="66" y="299"/>
                    <a:pt x="93" y="277"/>
                    <a:pt x="121" y="257"/>
                  </a:cubicBezTo>
                  <a:cubicBezTo>
                    <a:pt x="159" y="357"/>
                    <a:pt x="253" y="427"/>
                    <a:pt x="360" y="432"/>
                  </a:cubicBezTo>
                  <a:cubicBezTo>
                    <a:pt x="413" y="435"/>
                    <a:pt x="463" y="421"/>
                    <a:pt x="509" y="397"/>
                  </a:cubicBezTo>
                  <a:cubicBezTo>
                    <a:pt x="536" y="383"/>
                    <a:pt x="562" y="366"/>
                    <a:pt x="588" y="349"/>
                  </a:cubicBezTo>
                  <a:cubicBezTo>
                    <a:pt x="616" y="331"/>
                    <a:pt x="643" y="314"/>
                    <a:pt x="672" y="297"/>
                  </a:cubicBezTo>
                  <a:cubicBezTo>
                    <a:pt x="721" y="268"/>
                    <a:pt x="779" y="232"/>
                    <a:pt x="840" y="244"/>
                  </a:cubicBezTo>
                  <a:cubicBezTo>
                    <a:pt x="845" y="245"/>
                    <a:pt x="847" y="237"/>
                    <a:pt x="841" y="236"/>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grpSp>
          <p:nvGrpSpPr>
            <p:cNvPr id="58" name="Group 52">
              <a:extLst>
                <a:ext uri="{FF2B5EF4-FFF2-40B4-BE49-F238E27FC236}">
                  <a16:creationId xmlns:a16="http://schemas.microsoft.com/office/drawing/2014/main" id="{EF9E16ED-214C-4F45-BEC3-3679DCD2ABEF}"/>
                </a:ext>
              </a:extLst>
            </p:cNvPr>
            <p:cNvGrpSpPr/>
            <p:nvPr/>
          </p:nvGrpSpPr>
          <p:grpSpPr>
            <a:xfrm>
              <a:off x="5867951" y="3814722"/>
              <a:ext cx="401330" cy="359270"/>
              <a:chOff x="5335588" y="763588"/>
              <a:chExt cx="363537" cy="325438"/>
            </a:xfrm>
            <a:solidFill>
              <a:schemeClr val="bg1"/>
            </a:solidFill>
          </p:grpSpPr>
          <p:sp>
            <p:nvSpPr>
              <p:cNvPr id="59" name="Freeform 309">
                <a:extLst>
                  <a:ext uri="{FF2B5EF4-FFF2-40B4-BE49-F238E27FC236}">
                    <a16:creationId xmlns:a16="http://schemas.microsoft.com/office/drawing/2014/main" id="{BF7A3F44-EC3F-4821-99F1-1798054F08C1}"/>
                  </a:ext>
                </a:extLst>
              </p:cNvPr>
              <p:cNvSpPr>
                <a:spLocks noEditPoints="1"/>
              </p:cNvSpPr>
              <p:nvPr/>
            </p:nvSpPr>
            <p:spPr bwMode="auto">
              <a:xfrm>
                <a:off x="5387975" y="968375"/>
                <a:ext cx="28575" cy="28575"/>
              </a:xfrm>
              <a:custGeom>
                <a:avLst/>
                <a:gdLst>
                  <a:gd name="T0" fmla="*/ 5 w 9"/>
                  <a:gd name="T1" fmla="*/ 0 h 9"/>
                  <a:gd name="T2" fmla="*/ 0 w 9"/>
                  <a:gd name="T3" fmla="*/ 5 h 9"/>
                  <a:gd name="T4" fmla="*/ 5 w 9"/>
                  <a:gd name="T5" fmla="*/ 9 h 9"/>
                  <a:gd name="T6" fmla="*/ 9 w 9"/>
                  <a:gd name="T7" fmla="*/ 5 h 9"/>
                  <a:gd name="T8" fmla="*/ 5 w 9"/>
                  <a:gd name="T9" fmla="*/ 0 h 9"/>
                  <a:gd name="T10" fmla="*/ 5 w 9"/>
                  <a:gd name="T11" fmla="*/ 0 h 9"/>
                  <a:gd name="T12" fmla="*/ 5 w 9"/>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9" h="9">
                    <a:moveTo>
                      <a:pt x="5" y="0"/>
                    </a:moveTo>
                    <a:cubicBezTo>
                      <a:pt x="2" y="0"/>
                      <a:pt x="0" y="2"/>
                      <a:pt x="0" y="5"/>
                    </a:cubicBezTo>
                    <a:cubicBezTo>
                      <a:pt x="0" y="7"/>
                      <a:pt x="2" y="9"/>
                      <a:pt x="5" y="9"/>
                    </a:cubicBezTo>
                    <a:cubicBezTo>
                      <a:pt x="7" y="9"/>
                      <a:pt x="9" y="7"/>
                      <a:pt x="9" y="5"/>
                    </a:cubicBezTo>
                    <a:cubicBezTo>
                      <a:pt x="9" y="2"/>
                      <a:pt x="7" y="0"/>
                      <a:pt x="5" y="0"/>
                    </a:cubicBezTo>
                    <a:close/>
                    <a:moveTo>
                      <a:pt x="5" y="0"/>
                    </a:moveTo>
                    <a:cubicBezTo>
                      <a:pt x="5" y="0"/>
                      <a:pt x="5"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60" name="Freeform 310">
                <a:extLst>
                  <a:ext uri="{FF2B5EF4-FFF2-40B4-BE49-F238E27FC236}">
                    <a16:creationId xmlns:a16="http://schemas.microsoft.com/office/drawing/2014/main" id="{CC889769-F93E-4EC5-A985-ED9C59C706E8}"/>
                  </a:ext>
                </a:extLst>
              </p:cNvPr>
              <p:cNvSpPr>
                <a:spLocks noEditPoints="1"/>
              </p:cNvSpPr>
              <p:nvPr/>
            </p:nvSpPr>
            <p:spPr bwMode="auto">
              <a:xfrm>
                <a:off x="5592763" y="1036638"/>
                <a:ext cx="77787" cy="52388"/>
              </a:xfrm>
              <a:custGeom>
                <a:avLst/>
                <a:gdLst>
                  <a:gd name="T0" fmla="*/ 21 w 24"/>
                  <a:gd name="T1" fmla="*/ 0 h 16"/>
                  <a:gd name="T2" fmla="*/ 19 w 24"/>
                  <a:gd name="T3" fmla="*/ 0 h 16"/>
                  <a:gd name="T4" fmla="*/ 13 w 24"/>
                  <a:gd name="T5" fmla="*/ 2 h 16"/>
                  <a:gd name="T6" fmla="*/ 11 w 24"/>
                  <a:gd name="T7" fmla="*/ 2 h 16"/>
                  <a:gd name="T8" fmla="*/ 5 w 24"/>
                  <a:gd name="T9" fmla="*/ 0 h 16"/>
                  <a:gd name="T10" fmla="*/ 3 w 24"/>
                  <a:gd name="T11" fmla="*/ 0 h 16"/>
                  <a:gd name="T12" fmla="*/ 0 w 24"/>
                  <a:gd name="T13" fmla="*/ 4 h 16"/>
                  <a:gd name="T14" fmla="*/ 0 w 24"/>
                  <a:gd name="T15" fmla="*/ 13 h 16"/>
                  <a:gd name="T16" fmla="*/ 3 w 24"/>
                  <a:gd name="T17" fmla="*/ 16 h 16"/>
                  <a:gd name="T18" fmla="*/ 21 w 24"/>
                  <a:gd name="T19" fmla="*/ 16 h 16"/>
                  <a:gd name="T20" fmla="*/ 24 w 24"/>
                  <a:gd name="T21" fmla="*/ 13 h 16"/>
                  <a:gd name="T22" fmla="*/ 24 w 24"/>
                  <a:gd name="T23" fmla="*/ 4 h 16"/>
                  <a:gd name="T24" fmla="*/ 21 w 24"/>
                  <a:gd name="T25" fmla="*/ 0 h 16"/>
                  <a:gd name="T26" fmla="*/ 21 w 24"/>
                  <a:gd name="T27" fmla="*/ 0 h 16"/>
                  <a:gd name="T28" fmla="*/ 21 w 24"/>
                  <a:gd name="T29"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 h="16">
                    <a:moveTo>
                      <a:pt x="21" y="0"/>
                    </a:moveTo>
                    <a:cubicBezTo>
                      <a:pt x="19" y="0"/>
                      <a:pt x="19" y="0"/>
                      <a:pt x="19" y="0"/>
                    </a:cubicBezTo>
                    <a:cubicBezTo>
                      <a:pt x="13" y="2"/>
                      <a:pt x="13" y="2"/>
                      <a:pt x="13" y="2"/>
                    </a:cubicBezTo>
                    <a:cubicBezTo>
                      <a:pt x="12" y="3"/>
                      <a:pt x="12" y="3"/>
                      <a:pt x="11" y="2"/>
                    </a:cubicBezTo>
                    <a:cubicBezTo>
                      <a:pt x="5" y="0"/>
                      <a:pt x="5" y="0"/>
                      <a:pt x="5" y="0"/>
                    </a:cubicBezTo>
                    <a:cubicBezTo>
                      <a:pt x="3" y="0"/>
                      <a:pt x="3" y="0"/>
                      <a:pt x="3" y="0"/>
                    </a:cubicBezTo>
                    <a:cubicBezTo>
                      <a:pt x="2" y="1"/>
                      <a:pt x="0" y="3"/>
                      <a:pt x="0" y="4"/>
                    </a:cubicBezTo>
                    <a:cubicBezTo>
                      <a:pt x="0" y="13"/>
                      <a:pt x="0" y="13"/>
                      <a:pt x="0" y="13"/>
                    </a:cubicBezTo>
                    <a:cubicBezTo>
                      <a:pt x="0" y="15"/>
                      <a:pt x="2" y="16"/>
                      <a:pt x="3" y="16"/>
                    </a:cubicBezTo>
                    <a:cubicBezTo>
                      <a:pt x="21" y="16"/>
                      <a:pt x="21" y="16"/>
                      <a:pt x="21" y="16"/>
                    </a:cubicBezTo>
                    <a:cubicBezTo>
                      <a:pt x="22" y="16"/>
                      <a:pt x="24" y="15"/>
                      <a:pt x="24" y="13"/>
                    </a:cubicBezTo>
                    <a:cubicBezTo>
                      <a:pt x="24" y="4"/>
                      <a:pt x="24" y="4"/>
                      <a:pt x="24" y="4"/>
                    </a:cubicBezTo>
                    <a:cubicBezTo>
                      <a:pt x="24" y="3"/>
                      <a:pt x="23" y="1"/>
                      <a:pt x="21" y="0"/>
                    </a:cubicBezTo>
                    <a:close/>
                    <a:moveTo>
                      <a:pt x="21" y="0"/>
                    </a:moveTo>
                    <a:cubicBezTo>
                      <a:pt x="21" y="0"/>
                      <a:pt x="21" y="0"/>
                      <a:pt x="2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61" name="Freeform 311">
                <a:extLst>
                  <a:ext uri="{FF2B5EF4-FFF2-40B4-BE49-F238E27FC236}">
                    <a16:creationId xmlns:a16="http://schemas.microsoft.com/office/drawing/2014/main" id="{DE2E2FAB-36C6-464C-8772-929B7FD2C085}"/>
                  </a:ext>
                </a:extLst>
              </p:cNvPr>
              <p:cNvSpPr>
                <a:spLocks noEditPoints="1"/>
              </p:cNvSpPr>
              <p:nvPr/>
            </p:nvSpPr>
            <p:spPr bwMode="auto">
              <a:xfrm>
                <a:off x="5462588" y="1011238"/>
                <a:ext cx="109537" cy="77788"/>
              </a:xfrm>
              <a:custGeom>
                <a:avLst/>
                <a:gdLst>
                  <a:gd name="T0" fmla="*/ 29 w 34"/>
                  <a:gd name="T1" fmla="*/ 1 h 24"/>
                  <a:gd name="T2" fmla="*/ 27 w 34"/>
                  <a:gd name="T3" fmla="*/ 0 h 24"/>
                  <a:gd name="T4" fmla="*/ 18 w 34"/>
                  <a:gd name="T5" fmla="*/ 4 h 24"/>
                  <a:gd name="T6" fmla="*/ 16 w 34"/>
                  <a:gd name="T7" fmla="*/ 4 h 24"/>
                  <a:gd name="T8" fmla="*/ 7 w 34"/>
                  <a:gd name="T9" fmla="*/ 0 h 24"/>
                  <a:gd name="T10" fmla="*/ 5 w 34"/>
                  <a:gd name="T11" fmla="*/ 1 h 24"/>
                  <a:gd name="T12" fmla="*/ 0 w 34"/>
                  <a:gd name="T13" fmla="*/ 7 h 24"/>
                  <a:gd name="T14" fmla="*/ 0 w 34"/>
                  <a:gd name="T15" fmla="*/ 21 h 24"/>
                  <a:gd name="T16" fmla="*/ 3 w 34"/>
                  <a:gd name="T17" fmla="*/ 24 h 24"/>
                  <a:gd name="T18" fmla="*/ 31 w 34"/>
                  <a:gd name="T19" fmla="*/ 24 h 24"/>
                  <a:gd name="T20" fmla="*/ 34 w 34"/>
                  <a:gd name="T21" fmla="*/ 21 h 24"/>
                  <a:gd name="T22" fmla="*/ 34 w 34"/>
                  <a:gd name="T23" fmla="*/ 7 h 24"/>
                  <a:gd name="T24" fmla="*/ 29 w 34"/>
                  <a:gd name="T25" fmla="*/ 1 h 24"/>
                  <a:gd name="T26" fmla="*/ 29 w 34"/>
                  <a:gd name="T27" fmla="*/ 1 h 24"/>
                  <a:gd name="T28" fmla="*/ 29 w 34"/>
                  <a:gd name="T29" fmla="*/ 1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4" h="24">
                    <a:moveTo>
                      <a:pt x="29" y="1"/>
                    </a:moveTo>
                    <a:cubicBezTo>
                      <a:pt x="27" y="0"/>
                      <a:pt x="27" y="0"/>
                      <a:pt x="27" y="0"/>
                    </a:cubicBezTo>
                    <a:cubicBezTo>
                      <a:pt x="18" y="4"/>
                      <a:pt x="18" y="4"/>
                      <a:pt x="18" y="4"/>
                    </a:cubicBezTo>
                    <a:cubicBezTo>
                      <a:pt x="17" y="4"/>
                      <a:pt x="17" y="4"/>
                      <a:pt x="16" y="4"/>
                    </a:cubicBezTo>
                    <a:cubicBezTo>
                      <a:pt x="7" y="0"/>
                      <a:pt x="7" y="0"/>
                      <a:pt x="7" y="0"/>
                    </a:cubicBezTo>
                    <a:cubicBezTo>
                      <a:pt x="5" y="1"/>
                      <a:pt x="5" y="1"/>
                      <a:pt x="5" y="1"/>
                    </a:cubicBezTo>
                    <a:cubicBezTo>
                      <a:pt x="2" y="2"/>
                      <a:pt x="0" y="4"/>
                      <a:pt x="0" y="7"/>
                    </a:cubicBezTo>
                    <a:cubicBezTo>
                      <a:pt x="0" y="21"/>
                      <a:pt x="0" y="21"/>
                      <a:pt x="0" y="21"/>
                    </a:cubicBezTo>
                    <a:cubicBezTo>
                      <a:pt x="0" y="23"/>
                      <a:pt x="1" y="24"/>
                      <a:pt x="3" y="24"/>
                    </a:cubicBezTo>
                    <a:cubicBezTo>
                      <a:pt x="31" y="24"/>
                      <a:pt x="31" y="24"/>
                      <a:pt x="31" y="24"/>
                    </a:cubicBezTo>
                    <a:cubicBezTo>
                      <a:pt x="33" y="24"/>
                      <a:pt x="34" y="23"/>
                      <a:pt x="34" y="21"/>
                    </a:cubicBezTo>
                    <a:cubicBezTo>
                      <a:pt x="34" y="7"/>
                      <a:pt x="34" y="7"/>
                      <a:pt x="34" y="7"/>
                    </a:cubicBezTo>
                    <a:cubicBezTo>
                      <a:pt x="34" y="4"/>
                      <a:pt x="32" y="2"/>
                      <a:pt x="29" y="1"/>
                    </a:cubicBezTo>
                    <a:close/>
                    <a:moveTo>
                      <a:pt x="29" y="1"/>
                    </a:moveTo>
                    <a:cubicBezTo>
                      <a:pt x="29" y="1"/>
                      <a:pt x="29" y="1"/>
                      <a:pt x="29"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62" name="Freeform 312">
                <a:extLst>
                  <a:ext uri="{FF2B5EF4-FFF2-40B4-BE49-F238E27FC236}">
                    <a16:creationId xmlns:a16="http://schemas.microsoft.com/office/drawing/2014/main" id="{B8BD3989-3F7C-43D5-A120-7BD753E8BC58}"/>
                  </a:ext>
                </a:extLst>
              </p:cNvPr>
              <p:cNvSpPr>
                <a:spLocks noEditPoints="1"/>
              </p:cNvSpPr>
              <p:nvPr/>
            </p:nvSpPr>
            <p:spPr bwMode="auto">
              <a:xfrm>
                <a:off x="5494338" y="919163"/>
                <a:ext cx="46037" cy="46038"/>
              </a:xfrm>
              <a:custGeom>
                <a:avLst/>
                <a:gdLst>
                  <a:gd name="T0" fmla="*/ 7 w 14"/>
                  <a:gd name="T1" fmla="*/ 0 h 14"/>
                  <a:gd name="T2" fmla="*/ 0 w 14"/>
                  <a:gd name="T3" fmla="*/ 7 h 14"/>
                  <a:gd name="T4" fmla="*/ 7 w 14"/>
                  <a:gd name="T5" fmla="*/ 14 h 14"/>
                  <a:gd name="T6" fmla="*/ 14 w 14"/>
                  <a:gd name="T7" fmla="*/ 7 h 14"/>
                  <a:gd name="T8" fmla="*/ 7 w 14"/>
                  <a:gd name="T9" fmla="*/ 0 h 14"/>
                  <a:gd name="T10" fmla="*/ 7 w 14"/>
                  <a:gd name="T11" fmla="*/ 0 h 14"/>
                  <a:gd name="T12" fmla="*/ 7 w 14"/>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14" h="14">
                    <a:moveTo>
                      <a:pt x="7" y="0"/>
                    </a:moveTo>
                    <a:cubicBezTo>
                      <a:pt x="3" y="0"/>
                      <a:pt x="0" y="3"/>
                      <a:pt x="0" y="7"/>
                    </a:cubicBezTo>
                    <a:cubicBezTo>
                      <a:pt x="0" y="11"/>
                      <a:pt x="3" y="14"/>
                      <a:pt x="7" y="14"/>
                    </a:cubicBezTo>
                    <a:cubicBezTo>
                      <a:pt x="11" y="14"/>
                      <a:pt x="14" y="11"/>
                      <a:pt x="14" y="7"/>
                    </a:cubicBezTo>
                    <a:cubicBezTo>
                      <a:pt x="14" y="3"/>
                      <a:pt x="11" y="0"/>
                      <a:pt x="7" y="0"/>
                    </a:cubicBezTo>
                    <a:close/>
                    <a:moveTo>
                      <a:pt x="7" y="0"/>
                    </a:moveTo>
                    <a:cubicBezTo>
                      <a:pt x="7" y="0"/>
                      <a:pt x="7" y="0"/>
                      <a:pt x="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63" name="Freeform 313">
                <a:extLst>
                  <a:ext uri="{FF2B5EF4-FFF2-40B4-BE49-F238E27FC236}">
                    <a16:creationId xmlns:a16="http://schemas.microsoft.com/office/drawing/2014/main" id="{26D99181-52E0-450D-9503-4CFD40A89BD0}"/>
                  </a:ext>
                </a:extLst>
              </p:cNvPr>
              <p:cNvSpPr>
                <a:spLocks noEditPoints="1"/>
              </p:cNvSpPr>
              <p:nvPr/>
            </p:nvSpPr>
            <p:spPr bwMode="auto">
              <a:xfrm>
                <a:off x="5365750" y="1036638"/>
                <a:ext cx="77787" cy="52388"/>
              </a:xfrm>
              <a:custGeom>
                <a:avLst/>
                <a:gdLst>
                  <a:gd name="T0" fmla="*/ 21 w 24"/>
                  <a:gd name="T1" fmla="*/ 0 h 16"/>
                  <a:gd name="T2" fmla="*/ 19 w 24"/>
                  <a:gd name="T3" fmla="*/ 0 h 16"/>
                  <a:gd name="T4" fmla="*/ 13 w 24"/>
                  <a:gd name="T5" fmla="*/ 2 h 16"/>
                  <a:gd name="T6" fmla="*/ 11 w 24"/>
                  <a:gd name="T7" fmla="*/ 2 h 16"/>
                  <a:gd name="T8" fmla="*/ 5 w 24"/>
                  <a:gd name="T9" fmla="*/ 0 h 16"/>
                  <a:gd name="T10" fmla="*/ 3 w 24"/>
                  <a:gd name="T11" fmla="*/ 0 h 16"/>
                  <a:gd name="T12" fmla="*/ 0 w 24"/>
                  <a:gd name="T13" fmla="*/ 4 h 16"/>
                  <a:gd name="T14" fmla="*/ 0 w 24"/>
                  <a:gd name="T15" fmla="*/ 13 h 16"/>
                  <a:gd name="T16" fmla="*/ 3 w 24"/>
                  <a:gd name="T17" fmla="*/ 16 h 16"/>
                  <a:gd name="T18" fmla="*/ 21 w 24"/>
                  <a:gd name="T19" fmla="*/ 16 h 16"/>
                  <a:gd name="T20" fmla="*/ 24 w 24"/>
                  <a:gd name="T21" fmla="*/ 13 h 16"/>
                  <a:gd name="T22" fmla="*/ 24 w 24"/>
                  <a:gd name="T23" fmla="*/ 4 h 16"/>
                  <a:gd name="T24" fmla="*/ 21 w 24"/>
                  <a:gd name="T25" fmla="*/ 0 h 16"/>
                  <a:gd name="T26" fmla="*/ 21 w 24"/>
                  <a:gd name="T27" fmla="*/ 0 h 16"/>
                  <a:gd name="T28" fmla="*/ 21 w 24"/>
                  <a:gd name="T29"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 h="16">
                    <a:moveTo>
                      <a:pt x="21" y="0"/>
                    </a:moveTo>
                    <a:cubicBezTo>
                      <a:pt x="19" y="0"/>
                      <a:pt x="19" y="0"/>
                      <a:pt x="19" y="0"/>
                    </a:cubicBezTo>
                    <a:cubicBezTo>
                      <a:pt x="13" y="2"/>
                      <a:pt x="13" y="2"/>
                      <a:pt x="13" y="2"/>
                    </a:cubicBezTo>
                    <a:cubicBezTo>
                      <a:pt x="12" y="3"/>
                      <a:pt x="11" y="3"/>
                      <a:pt x="11" y="2"/>
                    </a:cubicBezTo>
                    <a:cubicBezTo>
                      <a:pt x="5" y="0"/>
                      <a:pt x="5" y="0"/>
                      <a:pt x="5" y="0"/>
                    </a:cubicBezTo>
                    <a:cubicBezTo>
                      <a:pt x="3" y="0"/>
                      <a:pt x="3" y="0"/>
                      <a:pt x="3" y="0"/>
                    </a:cubicBezTo>
                    <a:cubicBezTo>
                      <a:pt x="1" y="1"/>
                      <a:pt x="0" y="3"/>
                      <a:pt x="0" y="4"/>
                    </a:cubicBezTo>
                    <a:cubicBezTo>
                      <a:pt x="0" y="13"/>
                      <a:pt x="0" y="13"/>
                      <a:pt x="0" y="13"/>
                    </a:cubicBezTo>
                    <a:cubicBezTo>
                      <a:pt x="0" y="15"/>
                      <a:pt x="1" y="16"/>
                      <a:pt x="3" y="16"/>
                    </a:cubicBezTo>
                    <a:cubicBezTo>
                      <a:pt x="21" y="16"/>
                      <a:pt x="21" y="16"/>
                      <a:pt x="21" y="16"/>
                    </a:cubicBezTo>
                    <a:cubicBezTo>
                      <a:pt x="22" y="16"/>
                      <a:pt x="24" y="15"/>
                      <a:pt x="24" y="13"/>
                    </a:cubicBezTo>
                    <a:cubicBezTo>
                      <a:pt x="24" y="4"/>
                      <a:pt x="24" y="4"/>
                      <a:pt x="24" y="4"/>
                    </a:cubicBezTo>
                    <a:cubicBezTo>
                      <a:pt x="24" y="3"/>
                      <a:pt x="22" y="1"/>
                      <a:pt x="21" y="0"/>
                    </a:cubicBezTo>
                    <a:close/>
                    <a:moveTo>
                      <a:pt x="21" y="0"/>
                    </a:moveTo>
                    <a:cubicBezTo>
                      <a:pt x="21" y="0"/>
                      <a:pt x="21" y="0"/>
                      <a:pt x="2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64" name="Freeform 314">
                <a:extLst>
                  <a:ext uri="{FF2B5EF4-FFF2-40B4-BE49-F238E27FC236}">
                    <a16:creationId xmlns:a16="http://schemas.microsoft.com/office/drawing/2014/main" id="{9FB6B51A-7AB2-4B4B-9BCF-3BF04E1E1B87}"/>
                  </a:ext>
                </a:extLst>
              </p:cNvPr>
              <p:cNvSpPr>
                <a:spLocks noEditPoints="1"/>
              </p:cNvSpPr>
              <p:nvPr/>
            </p:nvSpPr>
            <p:spPr bwMode="auto">
              <a:xfrm>
                <a:off x="5618163" y="968375"/>
                <a:ext cx="28575" cy="28575"/>
              </a:xfrm>
              <a:custGeom>
                <a:avLst/>
                <a:gdLst>
                  <a:gd name="T0" fmla="*/ 4 w 9"/>
                  <a:gd name="T1" fmla="*/ 0 h 9"/>
                  <a:gd name="T2" fmla="*/ 0 w 9"/>
                  <a:gd name="T3" fmla="*/ 5 h 9"/>
                  <a:gd name="T4" fmla="*/ 4 w 9"/>
                  <a:gd name="T5" fmla="*/ 9 h 9"/>
                  <a:gd name="T6" fmla="*/ 9 w 9"/>
                  <a:gd name="T7" fmla="*/ 5 h 9"/>
                  <a:gd name="T8" fmla="*/ 4 w 9"/>
                  <a:gd name="T9" fmla="*/ 0 h 9"/>
                  <a:gd name="T10" fmla="*/ 4 w 9"/>
                  <a:gd name="T11" fmla="*/ 0 h 9"/>
                  <a:gd name="T12" fmla="*/ 4 w 9"/>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9" h="9">
                    <a:moveTo>
                      <a:pt x="4" y="0"/>
                    </a:moveTo>
                    <a:cubicBezTo>
                      <a:pt x="2" y="0"/>
                      <a:pt x="0" y="2"/>
                      <a:pt x="0" y="5"/>
                    </a:cubicBezTo>
                    <a:cubicBezTo>
                      <a:pt x="0" y="7"/>
                      <a:pt x="2" y="9"/>
                      <a:pt x="4" y="9"/>
                    </a:cubicBezTo>
                    <a:cubicBezTo>
                      <a:pt x="7" y="9"/>
                      <a:pt x="9" y="7"/>
                      <a:pt x="9" y="5"/>
                    </a:cubicBezTo>
                    <a:cubicBezTo>
                      <a:pt x="9" y="2"/>
                      <a:pt x="7" y="0"/>
                      <a:pt x="4" y="0"/>
                    </a:cubicBezTo>
                    <a:close/>
                    <a:moveTo>
                      <a:pt x="4" y="0"/>
                    </a:moveTo>
                    <a:cubicBezTo>
                      <a:pt x="4" y="0"/>
                      <a:pt x="4"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65" name="Freeform 315">
                <a:extLst>
                  <a:ext uri="{FF2B5EF4-FFF2-40B4-BE49-F238E27FC236}">
                    <a16:creationId xmlns:a16="http://schemas.microsoft.com/office/drawing/2014/main" id="{E4C029CD-1E1D-4482-AC3C-59AE42E75F81}"/>
                  </a:ext>
                </a:extLst>
              </p:cNvPr>
              <p:cNvSpPr>
                <a:spLocks noEditPoints="1"/>
              </p:cNvSpPr>
              <p:nvPr/>
            </p:nvSpPr>
            <p:spPr bwMode="auto">
              <a:xfrm>
                <a:off x="5335588" y="763588"/>
                <a:ext cx="363537" cy="301625"/>
              </a:xfrm>
              <a:custGeom>
                <a:avLst/>
                <a:gdLst>
                  <a:gd name="T0" fmla="*/ 4 w 112"/>
                  <a:gd name="T1" fmla="*/ 0 h 93"/>
                  <a:gd name="T2" fmla="*/ 0 w 112"/>
                  <a:gd name="T3" fmla="*/ 90 h 93"/>
                  <a:gd name="T4" fmla="*/ 4 w 112"/>
                  <a:gd name="T5" fmla="*/ 93 h 93"/>
                  <a:gd name="T6" fmla="*/ 11 w 112"/>
                  <a:gd name="T7" fmla="*/ 79 h 93"/>
                  <a:gd name="T8" fmla="*/ 13 w 112"/>
                  <a:gd name="T9" fmla="*/ 78 h 93"/>
                  <a:gd name="T10" fmla="*/ 21 w 112"/>
                  <a:gd name="T11" fmla="*/ 81 h 93"/>
                  <a:gd name="T12" fmla="*/ 29 w 112"/>
                  <a:gd name="T13" fmla="*/ 78 h 93"/>
                  <a:gd name="T14" fmla="*/ 31 w 112"/>
                  <a:gd name="T15" fmla="*/ 79 h 93"/>
                  <a:gd name="T16" fmla="*/ 42 w 112"/>
                  <a:gd name="T17" fmla="*/ 72 h 93"/>
                  <a:gd name="T18" fmla="*/ 46 w 112"/>
                  <a:gd name="T19" fmla="*/ 71 h 93"/>
                  <a:gd name="T20" fmla="*/ 56 w 112"/>
                  <a:gd name="T21" fmla="*/ 74 h 93"/>
                  <a:gd name="T22" fmla="*/ 66 w 112"/>
                  <a:gd name="T23" fmla="*/ 71 h 93"/>
                  <a:gd name="T24" fmla="*/ 70 w 112"/>
                  <a:gd name="T25" fmla="*/ 72 h 93"/>
                  <a:gd name="T26" fmla="*/ 81 w 112"/>
                  <a:gd name="T27" fmla="*/ 79 h 93"/>
                  <a:gd name="T28" fmla="*/ 83 w 112"/>
                  <a:gd name="T29" fmla="*/ 78 h 93"/>
                  <a:gd name="T30" fmla="*/ 91 w 112"/>
                  <a:gd name="T31" fmla="*/ 81 h 93"/>
                  <a:gd name="T32" fmla="*/ 99 w 112"/>
                  <a:gd name="T33" fmla="*/ 78 h 93"/>
                  <a:gd name="T34" fmla="*/ 101 w 112"/>
                  <a:gd name="T35" fmla="*/ 79 h 93"/>
                  <a:gd name="T36" fmla="*/ 108 w 112"/>
                  <a:gd name="T37" fmla="*/ 93 h 93"/>
                  <a:gd name="T38" fmla="*/ 112 w 112"/>
                  <a:gd name="T39" fmla="*/ 90 h 93"/>
                  <a:gd name="T40" fmla="*/ 108 w 112"/>
                  <a:gd name="T41" fmla="*/ 0 h 93"/>
                  <a:gd name="T42" fmla="*/ 11 w 112"/>
                  <a:gd name="T43" fmla="*/ 68 h 93"/>
                  <a:gd name="T44" fmla="*/ 31 w 112"/>
                  <a:gd name="T45" fmla="*/ 68 h 93"/>
                  <a:gd name="T46" fmla="*/ 56 w 112"/>
                  <a:gd name="T47" fmla="*/ 68 h 93"/>
                  <a:gd name="T48" fmla="*/ 56 w 112"/>
                  <a:gd name="T49" fmla="*/ 43 h 93"/>
                  <a:gd name="T50" fmla="*/ 56 w 112"/>
                  <a:gd name="T51" fmla="*/ 68 h 93"/>
                  <a:gd name="T52" fmla="*/ 75 w 112"/>
                  <a:gd name="T53" fmla="*/ 35 h 93"/>
                  <a:gd name="T54" fmla="*/ 72 w 112"/>
                  <a:gd name="T55" fmla="*/ 31 h 93"/>
                  <a:gd name="T56" fmla="*/ 56 w 112"/>
                  <a:gd name="T57" fmla="*/ 35 h 93"/>
                  <a:gd name="T58" fmla="*/ 54 w 112"/>
                  <a:gd name="T59" fmla="*/ 35 h 93"/>
                  <a:gd name="T60" fmla="*/ 50 w 112"/>
                  <a:gd name="T61" fmla="*/ 28 h 93"/>
                  <a:gd name="T62" fmla="*/ 33 w 112"/>
                  <a:gd name="T63" fmla="*/ 32 h 93"/>
                  <a:gd name="T64" fmla="*/ 50 w 112"/>
                  <a:gd name="T65" fmla="*/ 21 h 93"/>
                  <a:gd name="T66" fmla="*/ 55 w 112"/>
                  <a:gd name="T67" fmla="*/ 23 h 93"/>
                  <a:gd name="T68" fmla="*/ 72 w 112"/>
                  <a:gd name="T69" fmla="*/ 21 h 93"/>
                  <a:gd name="T70" fmla="*/ 65 w 112"/>
                  <a:gd name="T71" fmla="*/ 15 h 93"/>
                  <a:gd name="T72" fmla="*/ 81 w 112"/>
                  <a:gd name="T73" fmla="*/ 18 h 93"/>
                  <a:gd name="T74" fmla="*/ 78 w 112"/>
                  <a:gd name="T75" fmla="*/ 33 h 93"/>
                  <a:gd name="T76" fmla="*/ 81 w 112"/>
                  <a:gd name="T77" fmla="*/ 68 h 93"/>
                  <a:gd name="T78" fmla="*/ 101 w 112"/>
                  <a:gd name="T79" fmla="*/ 68 h 93"/>
                  <a:gd name="T80" fmla="*/ 91 w 112"/>
                  <a:gd name="T81" fmla="*/ 78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12" h="93">
                    <a:moveTo>
                      <a:pt x="108" y="0"/>
                    </a:moveTo>
                    <a:cubicBezTo>
                      <a:pt x="4" y="0"/>
                      <a:pt x="4" y="0"/>
                      <a:pt x="4" y="0"/>
                    </a:cubicBezTo>
                    <a:cubicBezTo>
                      <a:pt x="2" y="0"/>
                      <a:pt x="0" y="1"/>
                      <a:pt x="0" y="3"/>
                    </a:cubicBezTo>
                    <a:cubicBezTo>
                      <a:pt x="0" y="90"/>
                      <a:pt x="0" y="90"/>
                      <a:pt x="0" y="90"/>
                    </a:cubicBezTo>
                    <a:cubicBezTo>
                      <a:pt x="0" y="92"/>
                      <a:pt x="2" y="93"/>
                      <a:pt x="4" y="93"/>
                    </a:cubicBezTo>
                    <a:cubicBezTo>
                      <a:pt x="4" y="93"/>
                      <a:pt x="4" y="93"/>
                      <a:pt x="4" y="93"/>
                    </a:cubicBezTo>
                    <a:cubicBezTo>
                      <a:pt x="4" y="88"/>
                      <a:pt x="4" y="88"/>
                      <a:pt x="4" y="88"/>
                    </a:cubicBezTo>
                    <a:cubicBezTo>
                      <a:pt x="4" y="84"/>
                      <a:pt x="7" y="81"/>
                      <a:pt x="11" y="79"/>
                    </a:cubicBezTo>
                    <a:cubicBezTo>
                      <a:pt x="11" y="79"/>
                      <a:pt x="11" y="79"/>
                      <a:pt x="11" y="79"/>
                    </a:cubicBezTo>
                    <a:cubicBezTo>
                      <a:pt x="13" y="78"/>
                      <a:pt x="13" y="78"/>
                      <a:pt x="13" y="78"/>
                    </a:cubicBezTo>
                    <a:cubicBezTo>
                      <a:pt x="14" y="78"/>
                      <a:pt x="14" y="78"/>
                      <a:pt x="15" y="79"/>
                    </a:cubicBezTo>
                    <a:cubicBezTo>
                      <a:pt x="21" y="81"/>
                      <a:pt x="21" y="81"/>
                      <a:pt x="21" y="81"/>
                    </a:cubicBezTo>
                    <a:cubicBezTo>
                      <a:pt x="27" y="79"/>
                      <a:pt x="27" y="79"/>
                      <a:pt x="27" y="79"/>
                    </a:cubicBezTo>
                    <a:cubicBezTo>
                      <a:pt x="27" y="78"/>
                      <a:pt x="28" y="78"/>
                      <a:pt x="29" y="78"/>
                    </a:cubicBezTo>
                    <a:cubicBezTo>
                      <a:pt x="31" y="79"/>
                      <a:pt x="31" y="79"/>
                      <a:pt x="31" y="79"/>
                    </a:cubicBezTo>
                    <a:cubicBezTo>
                      <a:pt x="31" y="79"/>
                      <a:pt x="31" y="79"/>
                      <a:pt x="31" y="79"/>
                    </a:cubicBezTo>
                    <a:cubicBezTo>
                      <a:pt x="32" y="80"/>
                      <a:pt x="33" y="80"/>
                      <a:pt x="34" y="81"/>
                    </a:cubicBezTo>
                    <a:cubicBezTo>
                      <a:pt x="35" y="77"/>
                      <a:pt x="38" y="73"/>
                      <a:pt x="42" y="72"/>
                    </a:cubicBezTo>
                    <a:cubicBezTo>
                      <a:pt x="42" y="72"/>
                      <a:pt x="42" y="72"/>
                      <a:pt x="42" y="72"/>
                    </a:cubicBezTo>
                    <a:cubicBezTo>
                      <a:pt x="46" y="71"/>
                      <a:pt x="46" y="71"/>
                      <a:pt x="46" y="71"/>
                    </a:cubicBezTo>
                    <a:cubicBezTo>
                      <a:pt x="46" y="70"/>
                      <a:pt x="47" y="71"/>
                      <a:pt x="48" y="71"/>
                    </a:cubicBezTo>
                    <a:cubicBezTo>
                      <a:pt x="56" y="74"/>
                      <a:pt x="56" y="74"/>
                      <a:pt x="56" y="74"/>
                    </a:cubicBezTo>
                    <a:cubicBezTo>
                      <a:pt x="64" y="71"/>
                      <a:pt x="64" y="71"/>
                      <a:pt x="64" y="71"/>
                    </a:cubicBezTo>
                    <a:cubicBezTo>
                      <a:pt x="65" y="71"/>
                      <a:pt x="66" y="70"/>
                      <a:pt x="66" y="71"/>
                    </a:cubicBezTo>
                    <a:cubicBezTo>
                      <a:pt x="70" y="72"/>
                      <a:pt x="70" y="72"/>
                      <a:pt x="70" y="72"/>
                    </a:cubicBezTo>
                    <a:cubicBezTo>
                      <a:pt x="70" y="72"/>
                      <a:pt x="70" y="72"/>
                      <a:pt x="70" y="72"/>
                    </a:cubicBezTo>
                    <a:cubicBezTo>
                      <a:pt x="74" y="73"/>
                      <a:pt x="77" y="77"/>
                      <a:pt x="78" y="81"/>
                    </a:cubicBezTo>
                    <a:cubicBezTo>
                      <a:pt x="79" y="80"/>
                      <a:pt x="80" y="80"/>
                      <a:pt x="81" y="79"/>
                    </a:cubicBezTo>
                    <a:cubicBezTo>
                      <a:pt x="81" y="79"/>
                      <a:pt x="81" y="79"/>
                      <a:pt x="81" y="79"/>
                    </a:cubicBezTo>
                    <a:cubicBezTo>
                      <a:pt x="83" y="78"/>
                      <a:pt x="83" y="78"/>
                      <a:pt x="83" y="78"/>
                    </a:cubicBezTo>
                    <a:cubicBezTo>
                      <a:pt x="84" y="78"/>
                      <a:pt x="85" y="78"/>
                      <a:pt x="85" y="79"/>
                    </a:cubicBezTo>
                    <a:cubicBezTo>
                      <a:pt x="91" y="81"/>
                      <a:pt x="91" y="81"/>
                      <a:pt x="91" y="81"/>
                    </a:cubicBezTo>
                    <a:cubicBezTo>
                      <a:pt x="97" y="79"/>
                      <a:pt x="97" y="79"/>
                      <a:pt x="97" y="79"/>
                    </a:cubicBezTo>
                    <a:cubicBezTo>
                      <a:pt x="98" y="78"/>
                      <a:pt x="98" y="78"/>
                      <a:pt x="99" y="78"/>
                    </a:cubicBezTo>
                    <a:cubicBezTo>
                      <a:pt x="101" y="79"/>
                      <a:pt x="101" y="79"/>
                      <a:pt x="101" y="79"/>
                    </a:cubicBezTo>
                    <a:cubicBezTo>
                      <a:pt x="101" y="79"/>
                      <a:pt x="101" y="79"/>
                      <a:pt x="101" y="79"/>
                    </a:cubicBezTo>
                    <a:cubicBezTo>
                      <a:pt x="105" y="81"/>
                      <a:pt x="108" y="84"/>
                      <a:pt x="108" y="88"/>
                    </a:cubicBezTo>
                    <a:cubicBezTo>
                      <a:pt x="108" y="93"/>
                      <a:pt x="108" y="93"/>
                      <a:pt x="108" y="93"/>
                    </a:cubicBezTo>
                    <a:cubicBezTo>
                      <a:pt x="108" y="93"/>
                      <a:pt x="108" y="93"/>
                      <a:pt x="108" y="93"/>
                    </a:cubicBezTo>
                    <a:cubicBezTo>
                      <a:pt x="110" y="93"/>
                      <a:pt x="112" y="92"/>
                      <a:pt x="112" y="90"/>
                    </a:cubicBezTo>
                    <a:cubicBezTo>
                      <a:pt x="112" y="3"/>
                      <a:pt x="112" y="3"/>
                      <a:pt x="112" y="3"/>
                    </a:cubicBezTo>
                    <a:cubicBezTo>
                      <a:pt x="112" y="1"/>
                      <a:pt x="110" y="0"/>
                      <a:pt x="108" y="0"/>
                    </a:cubicBezTo>
                    <a:close/>
                    <a:moveTo>
                      <a:pt x="21" y="78"/>
                    </a:moveTo>
                    <a:cubicBezTo>
                      <a:pt x="15" y="78"/>
                      <a:pt x="11" y="73"/>
                      <a:pt x="11" y="68"/>
                    </a:cubicBezTo>
                    <a:cubicBezTo>
                      <a:pt x="11" y="62"/>
                      <a:pt x="15" y="58"/>
                      <a:pt x="21" y="58"/>
                    </a:cubicBezTo>
                    <a:cubicBezTo>
                      <a:pt x="26" y="58"/>
                      <a:pt x="31" y="62"/>
                      <a:pt x="31" y="68"/>
                    </a:cubicBezTo>
                    <a:cubicBezTo>
                      <a:pt x="31" y="73"/>
                      <a:pt x="26" y="78"/>
                      <a:pt x="21" y="78"/>
                    </a:cubicBezTo>
                    <a:close/>
                    <a:moveTo>
                      <a:pt x="56" y="68"/>
                    </a:moveTo>
                    <a:cubicBezTo>
                      <a:pt x="49" y="68"/>
                      <a:pt x="44" y="62"/>
                      <a:pt x="44" y="55"/>
                    </a:cubicBezTo>
                    <a:cubicBezTo>
                      <a:pt x="44" y="48"/>
                      <a:pt x="49" y="43"/>
                      <a:pt x="56" y="43"/>
                    </a:cubicBezTo>
                    <a:cubicBezTo>
                      <a:pt x="63" y="43"/>
                      <a:pt x="68" y="48"/>
                      <a:pt x="68" y="55"/>
                    </a:cubicBezTo>
                    <a:cubicBezTo>
                      <a:pt x="68" y="62"/>
                      <a:pt x="63" y="68"/>
                      <a:pt x="56" y="68"/>
                    </a:cubicBezTo>
                    <a:close/>
                    <a:moveTo>
                      <a:pt x="78" y="33"/>
                    </a:moveTo>
                    <a:cubicBezTo>
                      <a:pt x="78" y="35"/>
                      <a:pt x="77" y="35"/>
                      <a:pt x="75" y="35"/>
                    </a:cubicBezTo>
                    <a:cubicBezTo>
                      <a:pt x="75" y="35"/>
                      <a:pt x="75" y="35"/>
                      <a:pt x="74" y="35"/>
                    </a:cubicBezTo>
                    <a:cubicBezTo>
                      <a:pt x="72" y="35"/>
                      <a:pt x="72" y="33"/>
                      <a:pt x="72" y="31"/>
                    </a:cubicBezTo>
                    <a:cubicBezTo>
                      <a:pt x="74" y="27"/>
                      <a:pt x="74" y="27"/>
                      <a:pt x="74" y="27"/>
                    </a:cubicBezTo>
                    <a:cubicBezTo>
                      <a:pt x="56" y="35"/>
                      <a:pt x="56" y="35"/>
                      <a:pt x="56" y="35"/>
                    </a:cubicBezTo>
                    <a:cubicBezTo>
                      <a:pt x="56" y="35"/>
                      <a:pt x="56" y="35"/>
                      <a:pt x="55" y="35"/>
                    </a:cubicBezTo>
                    <a:cubicBezTo>
                      <a:pt x="55" y="35"/>
                      <a:pt x="54" y="35"/>
                      <a:pt x="54" y="35"/>
                    </a:cubicBezTo>
                    <a:cubicBezTo>
                      <a:pt x="53" y="35"/>
                      <a:pt x="53" y="34"/>
                      <a:pt x="52" y="33"/>
                    </a:cubicBezTo>
                    <a:cubicBezTo>
                      <a:pt x="50" y="28"/>
                      <a:pt x="50" y="28"/>
                      <a:pt x="50" y="28"/>
                    </a:cubicBezTo>
                    <a:cubicBezTo>
                      <a:pt x="37" y="34"/>
                      <a:pt x="37" y="34"/>
                      <a:pt x="37" y="34"/>
                    </a:cubicBezTo>
                    <a:cubicBezTo>
                      <a:pt x="35" y="34"/>
                      <a:pt x="33" y="34"/>
                      <a:pt x="33" y="32"/>
                    </a:cubicBezTo>
                    <a:cubicBezTo>
                      <a:pt x="32" y="31"/>
                      <a:pt x="33" y="29"/>
                      <a:pt x="34" y="28"/>
                    </a:cubicBezTo>
                    <a:cubicBezTo>
                      <a:pt x="50" y="21"/>
                      <a:pt x="50" y="21"/>
                      <a:pt x="50" y="21"/>
                    </a:cubicBezTo>
                    <a:cubicBezTo>
                      <a:pt x="51" y="21"/>
                      <a:pt x="52" y="21"/>
                      <a:pt x="53" y="21"/>
                    </a:cubicBezTo>
                    <a:cubicBezTo>
                      <a:pt x="54" y="21"/>
                      <a:pt x="54" y="22"/>
                      <a:pt x="55" y="23"/>
                    </a:cubicBezTo>
                    <a:cubicBezTo>
                      <a:pt x="57" y="28"/>
                      <a:pt x="57" y="28"/>
                      <a:pt x="57" y="28"/>
                    </a:cubicBezTo>
                    <a:cubicBezTo>
                      <a:pt x="72" y="21"/>
                      <a:pt x="72" y="21"/>
                      <a:pt x="72" y="21"/>
                    </a:cubicBezTo>
                    <a:cubicBezTo>
                      <a:pt x="67" y="19"/>
                      <a:pt x="67" y="19"/>
                      <a:pt x="67" y="19"/>
                    </a:cubicBezTo>
                    <a:cubicBezTo>
                      <a:pt x="66" y="19"/>
                      <a:pt x="65" y="17"/>
                      <a:pt x="65" y="15"/>
                    </a:cubicBezTo>
                    <a:cubicBezTo>
                      <a:pt x="66" y="13"/>
                      <a:pt x="68" y="13"/>
                      <a:pt x="69" y="13"/>
                    </a:cubicBezTo>
                    <a:cubicBezTo>
                      <a:pt x="81" y="18"/>
                      <a:pt x="81" y="18"/>
                      <a:pt x="81" y="18"/>
                    </a:cubicBezTo>
                    <a:cubicBezTo>
                      <a:pt x="83" y="18"/>
                      <a:pt x="83" y="20"/>
                      <a:pt x="83" y="22"/>
                    </a:cubicBezTo>
                    <a:lnTo>
                      <a:pt x="78" y="33"/>
                    </a:lnTo>
                    <a:close/>
                    <a:moveTo>
                      <a:pt x="91" y="78"/>
                    </a:moveTo>
                    <a:cubicBezTo>
                      <a:pt x="86" y="78"/>
                      <a:pt x="81" y="73"/>
                      <a:pt x="81" y="68"/>
                    </a:cubicBezTo>
                    <a:cubicBezTo>
                      <a:pt x="81" y="62"/>
                      <a:pt x="86" y="58"/>
                      <a:pt x="91" y="58"/>
                    </a:cubicBezTo>
                    <a:cubicBezTo>
                      <a:pt x="96" y="58"/>
                      <a:pt x="101" y="62"/>
                      <a:pt x="101" y="68"/>
                    </a:cubicBezTo>
                    <a:cubicBezTo>
                      <a:pt x="101" y="73"/>
                      <a:pt x="96" y="78"/>
                      <a:pt x="91" y="78"/>
                    </a:cubicBezTo>
                    <a:close/>
                    <a:moveTo>
                      <a:pt x="91" y="78"/>
                    </a:moveTo>
                    <a:cubicBezTo>
                      <a:pt x="91" y="78"/>
                      <a:pt x="91" y="78"/>
                      <a:pt x="91" y="7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grpSp>
      <p:grpSp>
        <p:nvGrpSpPr>
          <p:cNvPr id="66" name="Group 1">
            <a:extLst>
              <a:ext uri="{FF2B5EF4-FFF2-40B4-BE49-F238E27FC236}">
                <a16:creationId xmlns:a16="http://schemas.microsoft.com/office/drawing/2014/main" id="{3EEFEF55-051D-4F08-9227-A9A34BA15975}"/>
              </a:ext>
            </a:extLst>
          </p:cNvPr>
          <p:cNvGrpSpPr/>
          <p:nvPr/>
        </p:nvGrpSpPr>
        <p:grpSpPr>
          <a:xfrm>
            <a:off x="702631" y="3483140"/>
            <a:ext cx="1758300" cy="1058725"/>
            <a:chOff x="702631" y="3483139"/>
            <a:chExt cx="1758300" cy="1058725"/>
          </a:xfrm>
        </p:grpSpPr>
        <p:sp>
          <p:nvSpPr>
            <p:cNvPr id="67" name="Freeform 25">
              <a:extLst>
                <a:ext uri="{FF2B5EF4-FFF2-40B4-BE49-F238E27FC236}">
                  <a16:creationId xmlns:a16="http://schemas.microsoft.com/office/drawing/2014/main" id="{1CE32642-C517-4040-8A59-180C1CC8F09D}"/>
                </a:ext>
              </a:extLst>
            </p:cNvPr>
            <p:cNvSpPr>
              <a:spLocks/>
            </p:cNvSpPr>
            <p:nvPr/>
          </p:nvSpPr>
          <p:spPr bwMode="auto">
            <a:xfrm>
              <a:off x="702631" y="3483139"/>
              <a:ext cx="1758300" cy="1058725"/>
            </a:xfrm>
            <a:custGeom>
              <a:avLst/>
              <a:gdLst>
                <a:gd name="T0" fmla="*/ 8 w 771"/>
                <a:gd name="T1" fmla="*/ 79 h 465"/>
                <a:gd name="T2" fmla="*/ 108 w 771"/>
                <a:gd name="T3" fmla="*/ 67 h 465"/>
                <a:gd name="T4" fmla="*/ 195 w 771"/>
                <a:gd name="T5" fmla="*/ 42 h 465"/>
                <a:gd name="T6" fmla="*/ 370 w 771"/>
                <a:gd name="T7" fmla="*/ 4 h 465"/>
                <a:gd name="T8" fmla="*/ 537 w 771"/>
                <a:gd name="T9" fmla="*/ 30 h 465"/>
                <a:gd name="T10" fmla="*/ 662 w 771"/>
                <a:gd name="T11" fmla="*/ 136 h 465"/>
                <a:gd name="T12" fmla="*/ 713 w 771"/>
                <a:gd name="T13" fmla="*/ 325 h 465"/>
                <a:gd name="T14" fmla="*/ 713 w 771"/>
                <a:gd name="T15" fmla="*/ 325 h 465"/>
                <a:gd name="T16" fmla="*/ 770 w 771"/>
                <a:gd name="T17" fmla="*/ 435 h 465"/>
                <a:gd name="T18" fmla="*/ 766 w 771"/>
                <a:gd name="T19" fmla="*/ 441 h 465"/>
                <a:gd name="T20" fmla="*/ 729 w 771"/>
                <a:gd name="T21" fmla="*/ 446 h 465"/>
                <a:gd name="T22" fmla="*/ 725 w 771"/>
                <a:gd name="T23" fmla="*/ 443 h 465"/>
                <a:gd name="T24" fmla="*/ 674 w 771"/>
                <a:gd name="T25" fmla="*/ 353 h 465"/>
                <a:gd name="T26" fmla="*/ 389 w 771"/>
                <a:gd name="T27" fmla="*/ 432 h 465"/>
                <a:gd name="T28" fmla="*/ 262 w 771"/>
                <a:gd name="T29" fmla="*/ 347 h 465"/>
                <a:gd name="T30" fmla="*/ 205 w 771"/>
                <a:gd name="T31" fmla="*/ 274 h 465"/>
                <a:gd name="T32" fmla="*/ 145 w 771"/>
                <a:gd name="T33" fmla="*/ 196 h 465"/>
                <a:gd name="T34" fmla="*/ 6 w 771"/>
                <a:gd name="T35" fmla="*/ 87 h 465"/>
                <a:gd name="T36" fmla="*/ 8 w 771"/>
                <a:gd name="T37" fmla="*/ 79 h 4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71" h="465">
                  <a:moveTo>
                    <a:pt x="8" y="79"/>
                  </a:moveTo>
                  <a:cubicBezTo>
                    <a:pt x="42" y="82"/>
                    <a:pt x="75" y="75"/>
                    <a:pt x="108" y="67"/>
                  </a:cubicBezTo>
                  <a:cubicBezTo>
                    <a:pt x="137" y="59"/>
                    <a:pt x="166" y="50"/>
                    <a:pt x="195" y="42"/>
                  </a:cubicBezTo>
                  <a:cubicBezTo>
                    <a:pt x="252" y="25"/>
                    <a:pt x="311" y="9"/>
                    <a:pt x="370" y="4"/>
                  </a:cubicBezTo>
                  <a:cubicBezTo>
                    <a:pt x="427" y="0"/>
                    <a:pt x="485" y="7"/>
                    <a:pt x="537" y="30"/>
                  </a:cubicBezTo>
                  <a:cubicBezTo>
                    <a:pt x="587" y="53"/>
                    <a:pt x="631" y="90"/>
                    <a:pt x="662" y="136"/>
                  </a:cubicBezTo>
                  <a:cubicBezTo>
                    <a:pt x="700" y="191"/>
                    <a:pt x="717" y="258"/>
                    <a:pt x="713" y="325"/>
                  </a:cubicBezTo>
                  <a:cubicBezTo>
                    <a:pt x="713" y="325"/>
                    <a:pt x="713" y="325"/>
                    <a:pt x="713" y="325"/>
                  </a:cubicBezTo>
                  <a:cubicBezTo>
                    <a:pt x="737" y="360"/>
                    <a:pt x="756" y="396"/>
                    <a:pt x="770" y="435"/>
                  </a:cubicBezTo>
                  <a:cubicBezTo>
                    <a:pt x="771" y="438"/>
                    <a:pt x="769" y="441"/>
                    <a:pt x="766" y="441"/>
                  </a:cubicBezTo>
                  <a:cubicBezTo>
                    <a:pt x="754" y="443"/>
                    <a:pt x="742" y="444"/>
                    <a:pt x="729" y="446"/>
                  </a:cubicBezTo>
                  <a:cubicBezTo>
                    <a:pt x="727" y="446"/>
                    <a:pt x="726" y="445"/>
                    <a:pt x="725" y="443"/>
                  </a:cubicBezTo>
                  <a:cubicBezTo>
                    <a:pt x="711" y="411"/>
                    <a:pt x="694" y="381"/>
                    <a:pt x="674" y="353"/>
                  </a:cubicBezTo>
                  <a:cubicBezTo>
                    <a:pt x="604" y="432"/>
                    <a:pt x="491" y="465"/>
                    <a:pt x="389" y="432"/>
                  </a:cubicBezTo>
                  <a:cubicBezTo>
                    <a:pt x="339" y="416"/>
                    <a:pt x="297" y="386"/>
                    <a:pt x="262" y="347"/>
                  </a:cubicBezTo>
                  <a:cubicBezTo>
                    <a:pt x="241" y="324"/>
                    <a:pt x="223" y="299"/>
                    <a:pt x="205" y="274"/>
                  </a:cubicBezTo>
                  <a:cubicBezTo>
                    <a:pt x="185" y="248"/>
                    <a:pt x="165" y="222"/>
                    <a:pt x="145" y="196"/>
                  </a:cubicBezTo>
                  <a:cubicBezTo>
                    <a:pt x="108" y="152"/>
                    <a:pt x="67" y="97"/>
                    <a:pt x="6" y="87"/>
                  </a:cubicBezTo>
                  <a:cubicBezTo>
                    <a:pt x="0" y="87"/>
                    <a:pt x="2" y="78"/>
                    <a:pt x="8" y="79"/>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nvGrpSpPr>
            <p:cNvPr id="68" name="Group 65">
              <a:extLst>
                <a:ext uri="{FF2B5EF4-FFF2-40B4-BE49-F238E27FC236}">
                  <a16:creationId xmlns:a16="http://schemas.microsoft.com/office/drawing/2014/main" id="{A5EDDAC3-ED95-4C02-869D-03FA13037623}"/>
                </a:ext>
              </a:extLst>
            </p:cNvPr>
            <p:cNvGrpSpPr/>
            <p:nvPr/>
          </p:nvGrpSpPr>
          <p:grpSpPr>
            <a:xfrm>
              <a:off x="1526244" y="3727137"/>
              <a:ext cx="382051" cy="401331"/>
              <a:chOff x="3078163" y="744538"/>
              <a:chExt cx="346074" cy="363538"/>
            </a:xfrm>
            <a:solidFill>
              <a:schemeClr val="bg1"/>
            </a:solidFill>
          </p:grpSpPr>
          <p:sp>
            <p:nvSpPr>
              <p:cNvPr id="69" name="Freeform 328">
                <a:extLst>
                  <a:ext uri="{FF2B5EF4-FFF2-40B4-BE49-F238E27FC236}">
                    <a16:creationId xmlns:a16="http://schemas.microsoft.com/office/drawing/2014/main" id="{12C3582C-873C-4F76-B3BD-84DF93918DC9}"/>
                  </a:ext>
                </a:extLst>
              </p:cNvPr>
              <p:cNvSpPr>
                <a:spLocks noEditPoints="1"/>
              </p:cNvSpPr>
              <p:nvPr/>
            </p:nvSpPr>
            <p:spPr bwMode="auto">
              <a:xfrm>
                <a:off x="3221038" y="744538"/>
                <a:ext cx="60325" cy="61913"/>
              </a:xfrm>
              <a:custGeom>
                <a:avLst/>
                <a:gdLst>
                  <a:gd name="T0" fmla="*/ 9 w 19"/>
                  <a:gd name="T1" fmla="*/ 19 h 19"/>
                  <a:gd name="T2" fmla="*/ 19 w 19"/>
                  <a:gd name="T3" fmla="*/ 10 h 19"/>
                  <a:gd name="T4" fmla="*/ 9 w 19"/>
                  <a:gd name="T5" fmla="*/ 0 h 19"/>
                  <a:gd name="T6" fmla="*/ 0 w 19"/>
                  <a:gd name="T7" fmla="*/ 10 h 19"/>
                  <a:gd name="T8" fmla="*/ 9 w 19"/>
                  <a:gd name="T9" fmla="*/ 19 h 19"/>
                  <a:gd name="T10" fmla="*/ 9 w 19"/>
                  <a:gd name="T11" fmla="*/ 19 h 19"/>
                  <a:gd name="T12" fmla="*/ 9 w 19"/>
                  <a:gd name="T13" fmla="*/ 19 h 19"/>
                </a:gdLst>
                <a:ahLst/>
                <a:cxnLst>
                  <a:cxn ang="0">
                    <a:pos x="T0" y="T1"/>
                  </a:cxn>
                  <a:cxn ang="0">
                    <a:pos x="T2" y="T3"/>
                  </a:cxn>
                  <a:cxn ang="0">
                    <a:pos x="T4" y="T5"/>
                  </a:cxn>
                  <a:cxn ang="0">
                    <a:pos x="T6" y="T7"/>
                  </a:cxn>
                  <a:cxn ang="0">
                    <a:pos x="T8" y="T9"/>
                  </a:cxn>
                  <a:cxn ang="0">
                    <a:pos x="T10" y="T11"/>
                  </a:cxn>
                  <a:cxn ang="0">
                    <a:pos x="T12" y="T13"/>
                  </a:cxn>
                </a:cxnLst>
                <a:rect l="0" t="0" r="r" b="b"/>
                <a:pathLst>
                  <a:path w="19" h="19">
                    <a:moveTo>
                      <a:pt x="9" y="19"/>
                    </a:moveTo>
                    <a:cubicBezTo>
                      <a:pt x="15" y="19"/>
                      <a:pt x="19" y="15"/>
                      <a:pt x="19" y="10"/>
                    </a:cubicBezTo>
                    <a:cubicBezTo>
                      <a:pt x="19" y="4"/>
                      <a:pt x="15" y="0"/>
                      <a:pt x="9" y="0"/>
                    </a:cubicBezTo>
                    <a:cubicBezTo>
                      <a:pt x="4" y="0"/>
                      <a:pt x="0" y="4"/>
                      <a:pt x="0" y="10"/>
                    </a:cubicBezTo>
                    <a:cubicBezTo>
                      <a:pt x="0" y="15"/>
                      <a:pt x="4" y="19"/>
                      <a:pt x="9" y="19"/>
                    </a:cubicBezTo>
                    <a:close/>
                    <a:moveTo>
                      <a:pt x="9" y="19"/>
                    </a:moveTo>
                    <a:cubicBezTo>
                      <a:pt x="9" y="19"/>
                      <a:pt x="9" y="19"/>
                      <a:pt x="9" y="1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nvGrpSpPr>
              <p:cNvPr id="70" name="Group 67">
                <a:extLst>
                  <a:ext uri="{FF2B5EF4-FFF2-40B4-BE49-F238E27FC236}">
                    <a16:creationId xmlns:a16="http://schemas.microsoft.com/office/drawing/2014/main" id="{36CD2A46-4052-4D98-81FC-98F3E9E01638}"/>
                  </a:ext>
                </a:extLst>
              </p:cNvPr>
              <p:cNvGrpSpPr/>
              <p:nvPr/>
            </p:nvGrpSpPr>
            <p:grpSpPr>
              <a:xfrm>
                <a:off x="3078163" y="809625"/>
                <a:ext cx="346074" cy="298451"/>
                <a:chOff x="3078163" y="809625"/>
                <a:chExt cx="346074" cy="298451"/>
              </a:xfrm>
              <a:grpFill/>
            </p:grpSpPr>
            <p:sp>
              <p:nvSpPr>
                <p:cNvPr id="71" name="Freeform 329">
                  <a:extLst>
                    <a:ext uri="{FF2B5EF4-FFF2-40B4-BE49-F238E27FC236}">
                      <a16:creationId xmlns:a16="http://schemas.microsoft.com/office/drawing/2014/main" id="{BB5D3A4F-B3F0-4943-AB79-DDF5623167E9}"/>
                    </a:ext>
                  </a:extLst>
                </p:cNvPr>
                <p:cNvSpPr>
                  <a:spLocks noEditPoints="1"/>
                </p:cNvSpPr>
                <p:nvPr/>
              </p:nvSpPr>
              <p:spPr bwMode="auto">
                <a:xfrm>
                  <a:off x="3197225" y="812800"/>
                  <a:ext cx="104775" cy="80963"/>
                </a:xfrm>
                <a:custGeom>
                  <a:avLst/>
                  <a:gdLst>
                    <a:gd name="T0" fmla="*/ 26 w 32"/>
                    <a:gd name="T1" fmla="*/ 1 h 25"/>
                    <a:gd name="T2" fmla="*/ 24 w 32"/>
                    <a:gd name="T3" fmla="*/ 0 h 25"/>
                    <a:gd name="T4" fmla="*/ 22 w 32"/>
                    <a:gd name="T5" fmla="*/ 0 h 25"/>
                    <a:gd name="T6" fmla="*/ 16 w 32"/>
                    <a:gd name="T7" fmla="*/ 3 h 25"/>
                    <a:gd name="T8" fmla="*/ 11 w 32"/>
                    <a:gd name="T9" fmla="*/ 0 h 25"/>
                    <a:gd name="T10" fmla="*/ 9 w 32"/>
                    <a:gd name="T11" fmla="*/ 0 h 25"/>
                    <a:gd name="T12" fmla="*/ 7 w 32"/>
                    <a:gd name="T13" fmla="*/ 1 h 25"/>
                    <a:gd name="T14" fmla="*/ 0 w 32"/>
                    <a:gd name="T15" fmla="*/ 10 h 25"/>
                    <a:gd name="T16" fmla="*/ 0 w 32"/>
                    <a:gd name="T17" fmla="*/ 23 h 25"/>
                    <a:gd name="T18" fmla="*/ 3 w 32"/>
                    <a:gd name="T19" fmla="*/ 25 h 25"/>
                    <a:gd name="T20" fmla="*/ 30 w 32"/>
                    <a:gd name="T21" fmla="*/ 25 h 25"/>
                    <a:gd name="T22" fmla="*/ 32 w 32"/>
                    <a:gd name="T23" fmla="*/ 23 h 25"/>
                    <a:gd name="T24" fmla="*/ 32 w 32"/>
                    <a:gd name="T25" fmla="*/ 10 h 25"/>
                    <a:gd name="T26" fmla="*/ 26 w 32"/>
                    <a:gd name="T27" fmla="*/ 1 h 25"/>
                    <a:gd name="T28" fmla="*/ 26 w 32"/>
                    <a:gd name="T29" fmla="*/ 1 h 25"/>
                    <a:gd name="T30" fmla="*/ 26 w 32"/>
                    <a:gd name="T31" fmla="*/ 1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2" h="25">
                      <a:moveTo>
                        <a:pt x="26" y="1"/>
                      </a:moveTo>
                      <a:cubicBezTo>
                        <a:pt x="26" y="1"/>
                        <a:pt x="24" y="0"/>
                        <a:pt x="24" y="0"/>
                      </a:cubicBezTo>
                      <a:cubicBezTo>
                        <a:pt x="23" y="0"/>
                        <a:pt x="22" y="0"/>
                        <a:pt x="22" y="0"/>
                      </a:cubicBezTo>
                      <a:cubicBezTo>
                        <a:pt x="16" y="3"/>
                        <a:pt x="16" y="3"/>
                        <a:pt x="16" y="3"/>
                      </a:cubicBezTo>
                      <a:cubicBezTo>
                        <a:pt x="11" y="0"/>
                        <a:pt x="11" y="0"/>
                        <a:pt x="11" y="0"/>
                      </a:cubicBezTo>
                      <a:cubicBezTo>
                        <a:pt x="10" y="0"/>
                        <a:pt x="10" y="0"/>
                        <a:pt x="9" y="0"/>
                      </a:cubicBezTo>
                      <a:cubicBezTo>
                        <a:pt x="9" y="0"/>
                        <a:pt x="7" y="1"/>
                        <a:pt x="7" y="1"/>
                      </a:cubicBezTo>
                      <a:cubicBezTo>
                        <a:pt x="3" y="2"/>
                        <a:pt x="0" y="6"/>
                        <a:pt x="0" y="10"/>
                      </a:cubicBezTo>
                      <a:cubicBezTo>
                        <a:pt x="0" y="23"/>
                        <a:pt x="0" y="23"/>
                        <a:pt x="0" y="23"/>
                      </a:cubicBezTo>
                      <a:cubicBezTo>
                        <a:pt x="0" y="24"/>
                        <a:pt x="1" y="25"/>
                        <a:pt x="3" y="25"/>
                      </a:cubicBezTo>
                      <a:cubicBezTo>
                        <a:pt x="30" y="25"/>
                        <a:pt x="30" y="25"/>
                        <a:pt x="30" y="25"/>
                      </a:cubicBezTo>
                      <a:cubicBezTo>
                        <a:pt x="31" y="25"/>
                        <a:pt x="32" y="24"/>
                        <a:pt x="32" y="23"/>
                      </a:cubicBezTo>
                      <a:cubicBezTo>
                        <a:pt x="32" y="10"/>
                        <a:pt x="32" y="10"/>
                        <a:pt x="32" y="10"/>
                      </a:cubicBezTo>
                      <a:cubicBezTo>
                        <a:pt x="32" y="6"/>
                        <a:pt x="30" y="2"/>
                        <a:pt x="26" y="1"/>
                      </a:cubicBezTo>
                      <a:close/>
                      <a:moveTo>
                        <a:pt x="26" y="1"/>
                      </a:moveTo>
                      <a:cubicBezTo>
                        <a:pt x="26" y="1"/>
                        <a:pt x="26" y="1"/>
                        <a:pt x="26"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72" name="Freeform 330">
                  <a:extLst>
                    <a:ext uri="{FF2B5EF4-FFF2-40B4-BE49-F238E27FC236}">
                      <a16:creationId xmlns:a16="http://schemas.microsoft.com/office/drawing/2014/main" id="{DB1FF21F-3D2C-4281-9791-18469FC98568}"/>
                    </a:ext>
                  </a:extLst>
                </p:cNvPr>
                <p:cNvSpPr>
                  <a:spLocks noEditPoints="1"/>
                </p:cNvSpPr>
                <p:nvPr/>
              </p:nvSpPr>
              <p:spPr bwMode="auto">
                <a:xfrm>
                  <a:off x="3197225" y="912813"/>
                  <a:ext cx="104775" cy="195263"/>
                </a:xfrm>
                <a:custGeom>
                  <a:avLst/>
                  <a:gdLst>
                    <a:gd name="T0" fmla="*/ 30 w 32"/>
                    <a:gd name="T1" fmla="*/ 0 h 60"/>
                    <a:gd name="T2" fmla="*/ 3 w 32"/>
                    <a:gd name="T3" fmla="*/ 0 h 60"/>
                    <a:gd name="T4" fmla="*/ 0 w 32"/>
                    <a:gd name="T5" fmla="*/ 3 h 60"/>
                    <a:gd name="T6" fmla="*/ 0 w 32"/>
                    <a:gd name="T7" fmla="*/ 57 h 60"/>
                    <a:gd name="T8" fmla="*/ 3 w 32"/>
                    <a:gd name="T9" fmla="*/ 60 h 60"/>
                    <a:gd name="T10" fmla="*/ 30 w 32"/>
                    <a:gd name="T11" fmla="*/ 60 h 60"/>
                    <a:gd name="T12" fmla="*/ 32 w 32"/>
                    <a:gd name="T13" fmla="*/ 57 h 60"/>
                    <a:gd name="T14" fmla="*/ 32 w 32"/>
                    <a:gd name="T15" fmla="*/ 3 h 60"/>
                    <a:gd name="T16" fmla="*/ 30 w 32"/>
                    <a:gd name="T17" fmla="*/ 0 h 60"/>
                    <a:gd name="T18" fmla="*/ 30 w 32"/>
                    <a:gd name="T19" fmla="*/ 0 h 60"/>
                    <a:gd name="T20" fmla="*/ 30 w 32"/>
                    <a:gd name="T21"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 h="60">
                      <a:moveTo>
                        <a:pt x="30" y="0"/>
                      </a:moveTo>
                      <a:cubicBezTo>
                        <a:pt x="3" y="0"/>
                        <a:pt x="3" y="0"/>
                        <a:pt x="3" y="0"/>
                      </a:cubicBezTo>
                      <a:cubicBezTo>
                        <a:pt x="1" y="0"/>
                        <a:pt x="0" y="1"/>
                        <a:pt x="0" y="3"/>
                      </a:cubicBezTo>
                      <a:cubicBezTo>
                        <a:pt x="0" y="57"/>
                        <a:pt x="0" y="57"/>
                        <a:pt x="0" y="57"/>
                      </a:cubicBezTo>
                      <a:cubicBezTo>
                        <a:pt x="0" y="58"/>
                        <a:pt x="1" y="60"/>
                        <a:pt x="3" y="60"/>
                      </a:cubicBezTo>
                      <a:cubicBezTo>
                        <a:pt x="30" y="60"/>
                        <a:pt x="30" y="60"/>
                        <a:pt x="30" y="60"/>
                      </a:cubicBezTo>
                      <a:cubicBezTo>
                        <a:pt x="31" y="60"/>
                        <a:pt x="32" y="58"/>
                        <a:pt x="32" y="57"/>
                      </a:cubicBezTo>
                      <a:cubicBezTo>
                        <a:pt x="32" y="3"/>
                        <a:pt x="32" y="3"/>
                        <a:pt x="32" y="3"/>
                      </a:cubicBezTo>
                      <a:cubicBezTo>
                        <a:pt x="32" y="1"/>
                        <a:pt x="31" y="0"/>
                        <a:pt x="30" y="0"/>
                      </a:cubicBezTo>
                      <a:close/>
                      <a:moveTo>
                        <a:pt x="30" y="0"/>
                      </a:moveTo>
                      <a:cubicBezTo>
                        <a:pt x="30" y="0"/>
                        <a:pt x="30" y="0"/>
                        <a:pt x="3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73" name="Freeform 331">
                  <a:extLst>
                    <a:ext uri="{FF2B5EF4-FFF2-40B4-BE49-F238E27FC236}">
                      <a16:creationId xmlns:a16="http://schemas.microsoft.com/office/drawing/2014/main" id="{906866D2-ED84-4818-8DDC-FDF7521734B0}"/>
                    </a:ext>
                  </a:extLst>
                </p:cNvPr>
                <p:cNvSpPr>
                  <a:spLocks noEditPoints="1"/>
                </p:cNvSpPr>
                <p:nvPr/>
              </p:nvSpPr>
              <p:spPr bwMode="auto">
                <a:xfrm>
                  <a:off x="3340100" y="809625"/>
                  <a:ext cx="61912" cy="61913"/>
                </a:xfrm>
                <a:custGeom>
                  <a:avLst/>
                  <a:gdLst>
                    <a:gd name="T0" fmla="*/ 9 w 19"/>
                    <a:gd name="T1" fmla="*/ 19 h 19"/>
                    <a:gd name="T2" fmla="*/ 19 w 19"/>
                    <a:gd name="T3" fmla="*/ 9 h 19"/>
                    <a:gd name="T4" fmla="*/ 9 w 19"/>
                    <a:gd name="T5" fmla="*/ 0 h 19"/>
                    <a:gd name="T6" fmla="*/ 0 w 19"/>
                    <a:gd name="T7" fmla="*/ 9 h 19"/>
                    <a:gd name="T8" fmla="*/ 9 w 19"/>
                    <a:gd name="T9" fmla="*/ 19 h 19"/>
                    <a:gd name="T10" fmla="*/ 9 w 19"/>
                    <a:gd name="T11" fmla="*/ 19 h 19"/>
                    <a:gd name="T12" fmla="*/ 9 w 19"/>
                    <a:gd name="T13" fmla="*/ 19 h 19"/>
                  </a:gdLst>
                  <a:ahLst/>
                  <a:cxnLst>
                    <a:cxn ang="0">
                      <a:pos x="T0" y="T1"/>
                    </a:cxn>
                    <a:cxn ang="0">
                      <a:pos x="T2" y="T3"/>
                    </a:cxn>
                    <a:cxn ang="0">
                      <a:pos x="T4" y="T5"/>
                    </a:cxn>
                    <a:cxn ang="0">
                      <a:pos x="T6" y="T7"/>
                    </a:cxn>
                    <a:cxn ang="0">
                      <a:pos x="T8" y="T9"/>
                    </a:cxn>
                    <a:cxn ang="0">
                      <a:pos x="T10" y="T11"/>
                    </a:cxn>
                    <a:cxn ang="0">
                      <a:pos x="T12" y="T13"/>
                    </a:cxn>
                  </a:cxnLst>
                  <a:rect l="0" t="0" r="r" b="b"/>
                  <a:pathLst>
                    <a:path w="19" h="19">
                      <a:moveTo>
                        <a:pt x="9" y="19"/>
                      </a:moveTo>
                      <a:cubicBezTo>
                        <a:pt x="15" y="19"/>
                        <a:pt x="19" y="14"/>
                        <a:pt x="19" y="9"/>
                      </a:cubicBezTo>
                      <a:cubicBezTo>
                        <a:pt x="19" y="4"/>
                        <a:pt x="15" y="0"/>
                        <a:pt x="9" y="0"/>
                      </a:cubicBezTo>
                      <a:cubicBezTo>
                        <a:pt x="4" y="0"/>
                        <a:pt x="0" y="4"/>
                        <a:pt x="0" y="9"/>
                      </a:cubicBezTo>
                      <a:cubicBezTo>
                        <a:pt x="0" y="14"/>
                        <a:pt x="4" y="19"/>
                        <a:pt x="9" y="19"/>
                      </a:cubicBezTo>
                      <a:close/>
                      <a:moveTo>
                        <a:pt x="9" y="19"/>
                      </a:moveTo>
                      <a:cubicBezTo>
                        <a:pt x="9" y="19"/>
                        <a:pt x="9" y="19"/>
                        <a:pt x="9" y="1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74" name="Freeform 332">
                  <a:extLst>
                    <a:ext uri="{FF2B5EF4-FFF2-40B4-BE49-F238E27FC236}">
                      <a16:creationId xmlns:a16="http://schemas.microsoft.com/office/drawing/2014/main" id="{D28B027C-77A8-41C8-A346-29DA3395B129}"/>
                    </a:ext>
                  </a:extLst>
                </p:cNvPr>
                <p:cNvSpPr>
                  <a:spLocks noEditPoints="1"/>
                </p:cNvSpPr>
                <p:nvPr/>
              </p:nvSpPr>
              <p:spPr bwMode="auto">
                <a:xfrm>
                  <a:off x="3317875" y="874713"/>
                  <a:ext cx="106362" cy="84138"/>
                </a:xfrm>
                <a:custGeom>
                  <a:avLst/>
                  <a:gdLst>
                    <a:gd name="T0" fmla="*/ 26 w 33"/>
                    <a:gd name="T1" fmla="*/ 1 h 26"/>
                    <a:gd name="T2" fmla="*/ 24 w 33"/>
                    <a:gd name="T3" fmla="*/ 1 h 26"/>
                    <a:gd name="T4" fmla="*/ 22 w 33"/>
                    <a:gd name="T5" fmla="*/ 1 h 26"/>
                    <a:gd name="T6" fmla="*/ 16 w 33"/>
                    <a:gd name="T7" fmla="*/ 3 h 26"/>
                    <a:gd name="T8" fmla="*/ 11 w 33"/>
                    <a:gd name="T9" fmla="*/ 1 h 26"/>
                    <a:gd name="T10" fmla="*/ 9 w 33"/>
                    <a:gd name="T11" fmla="*/ 1 h 26"/>
                    <a:gd name="T12" fmla="*/ 7 w 33"/>
                    <a:gd name="T13" fmla="*/ 1 h 26"/>
                    <a:gd name="T14" fmla="*/ 0 w 33"/>
                    <a:gd name="T15" fmla="*/ 10 h 26"/>
                    <a:gd name="T16" fmla="*/ 0 w 33"/>
                    <a:gd name="T17" fmla="*/ 23 h 26"/>
                    <a:gd name="T18" fmla="*/ 3 w 33"/>
                    <a:gd name="T19" fmla="*/ 26 h 26"/>
                    <a:gd name="T20" fmla="*/ 30 w 33"/>
                    <a:gd name="T21" fmla="*/ 26 h 26"/>
                    <a:gd name="T22" fmla="*/ 33 w 33"/>
                    <a:gd name="T23" fmla="*/ 23 h 26"/>
                    <a:gd name="T24" fmla="*/ 33 w 33"/>
                    <a:gd name="T25" fmla="*/ 10 h 26"/>
                    <a:gd name="T26" fmla="*/ 26 w 33"/>
                    <a:gd name="T27" fmla="*/ 1 h 26"/>
                    <a:gd name="T28" fmla="*/ 26 w 33"/>
                    <a:gd name="T29" fmla="*/ 1 h 26"/>
                    <a:gd name="T30" fmla="*/ 26 w 33"/>
                    <a:gd name="T31" fmla="*/ 1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3" h="26">
                      <a:moveTo>
                        <a:pt x="26" y="1"/>
                      </a:moveTo>
                      <a:cubicBezTo>
                        <a:pt x="26" y="1"/>
                        <a:pt x="24" y="1"/>
                        <a:pt x="24" y="1"/>
                      </a:cubicBezTo>
                      <a:cubicBezTo>
                        <a:pt x="23" y="0"/>
                        <a:pt x="23" y="0"/>
                        <a:pt x="22" y="1"/>
                      </a:cubicBezTo>
                      <a:cubicBezTo>
                        <a:pt x="16" y="3"/>
                        <a:pt x="16" y="3"/>
                        <a:pt x="16" y="3"/>
                      </a:cubicBezTo>
                      <a:cubicBezTo>
                        <a:pt x="11" y="1"/>
                        <a:pt x="11" y="1"/>
                        <a:pt x="11" y="1"/>
                      </a:cubicBezTo>
                      <a:cubicBezTo>
                        <a:pt x="10" y="0"/>
                        <a:pt x="10" y="0"/>
                        <a:pt x="9" y="1"/>
                      </a:cubicBezTo>
                      <a:cubicBezTo>
                        <a:pt x="9" y="1"/>
                        <a:pt x="7" y="1"/>
                        <a:pt x="7" y="1"/>
                      </a:cubicBezTo>
                      <a:cubicBezTo>
                        <a:pt x="3" y="3"/>
                        <a:pt x="0" y="6"/>
                        <a:pt x="0" y="10"/>
                      </a:cubicBezTo>
                      <a:cubicBezTo>
                        <a:pt x="0" y="23"/>
                        <a:pt x="0" y="23"/>
                        <a:pt x="0" y="23"/>
                      </a:cubicBezTo>
                      <a:cubicBezTo>
                        <a:pt x="0" y="25"/>
                        <a:pt x="2" y="26"/>
                        <a:pt x="3" y="26"/>
                      </a:cubicBezTo>
                      <a:cubicBezTo>
                        <a:pt x="30" y="26"/>
                        <a:pt x="30" y="26"/>
                        <a:pt x="30" y="26"/>
                      </a:cubicBezTo>
                      <a:cubicBezTo>
                        <a:pt x="31" y="26"/>
                        <a:pt x="33" y="25"/>
                        <a:pt x="33" y="23"/>
                      </a:cubicBezTo>
                      <a:cubicBezTo>
                        <a:pt x="33" y="10"/>
                        <a:pt x="33" y="10"/>
                        <a:pt x="33" y="10"/>
                      </a:cubicBezTo>
                      <a:cubicBezTo>
                        <a:pt x="33" y="6"/>
                        <a:pt x="30" y="3"/>
                        <a:pt x="26" y="1"/>
                      </a:cubicBezTo>
                      <a:close/>
                      <a:moveTo>
                        <a:pt x="26" y="1"/>
                      </a:moveTo>
                      <a:cubicBezTo>
                        <a:pt x="26" y="1"/>
                        <a:pt x="26" y="1"/>
                        <a:pt x="26"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75" name="Freeform 333">
                  <a:extLst>
                    <a:ext uri="{FF2B5EF4-FFF2-40B4-BE49-F238E27FC236}">
                      <a16:creationId xmlns:a16="http://schemas.microsoft.com/office/drawing/2014/main" id="{B45715C8-A8BB-4E70-9C56-B1E42C5C105A}"/>
                    </a:ext>
                  </a:extLst>
                </p:cNvPr>
                <p:cNvSpPr>
                  <a:spLocks noEditPoints="1"/>
                </p:cNvSpPr>
                <p:nvPr/>
              </p:nvSpPr>
              <p:spPr bwMode="auto">
                <a:xfrm>
                  <a:off x="3317875" y="977900"/>
                  <a:ext cx="106362" cy="130175"/>
                </a:xfrm>
                <a:custGeom>
                  <a:avLst/>
                  <a:gdLst>
                    <a:gd name="T0" fmla="*/ 30 w 33"/>
                    <a:gd name="T1" fmla="*/ 0 h 40"/>
                    <a:gd name="T2" fmla="*/ 3 w 33"/>
                    <a:gd name="T3" fmla="*/ 0 h 40"/>
                    <a:gd name="T4" fmla="*/ 0 w 33"/>
                    <a:gd name="T5" fmla="*/ 2 h 40"/>
                    <a:gd name="T6" fmla="*/ 0 w 33"/>
                    <a:gd name="T7" fmla="*/ 37 h 40"/>
                    <a:gd name="T8" fmla="*/ 3 w 33"/>
                    <a:gd name="T9" fmla="*/ 40 h 40"/>
                    <a:gd name="T10" fmla="*/ 30 w 33"/>
                    <a:gd name="T11" fmla="*/ 40 h 40"/>
                    <a:gd name="T12" fmla="*/ 33 w 33"/>
                    <a:gd name="T13" fmla="*/ 37 h 40"/>
                    <a:gd name="T14" fmla="*/ 33 w 33"/>
                    <a:gd name="T15" fmla="*/ 2 h 40"/>
                    <a:gd name="T16" fmla="*/ 30 w 33"/>
                    <a:gd name="T17" fmla="*/ 0 h 40"/>
                    <a:gd name="T18" fmla="*/ 30 w 33"/>
                    <a:gd name="T19" fmla="*/ 0 h 40"/>
                    <a:gd name="T20" fmla="*/ 30 w 33"/>
                    <a:gd name="T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 h="40">
                      <a:moveTo>
                        <a:pt x="30" y="0"/>
                      </a:moveTo>
                      <a:cubicBezTo>
                        <a:pt x="3" y="0"/>
                        <a:pt x="3" y="0"/>
                        <a:pt x="3" y="0"/>
                      </a:cubicBezTo>
                      <a:cubicBezTo>
                        <a:pt x="2" y="0"/>
                        <a:pt x="0" y="1"/>
                        <a:pt x="0" y="2"/>
                      </a:cubicBezTo>
                      <a:cubicBezTo>
                        <a:pt x="0" y="37"/>
                        <a:pt x="0" y="37"/>
                        <a:pt x="0" y="37"/>
                      </a:cubicBezTo>
                      <a:cubicBezTo>
                        <a:pt x="0" y="38"/>
                        <a:pt x="2" y="40"/>
                        <a:pt x="3" y="40"/>
                      </a:cubicBezTo>
                      <a:cubicBezTo>
                        <a:pt x="30" y="40"/>
                        <a:pt x="30" y="40"/>
                        <a:pt x="30" y="40"/>
                      </a:cubicBezTo>
                      <a:cubicBezTo>
                        <a:pt x="31" y="40"/>
                        <a:pt x="33" y="38"/>
                        <a:pt x="33" y="37"/>
                      </a:cubicBezTo>
                      <a:cubicBezTo>
                        <a:pt x="33" y="2"/>
                        <a:pt x="33" y="2"/>
                        <a:pt x="33" y="2"/>
                      </a:cubicBezTo>
                      <a:cubicBezTo>
                        <a:pt x="33" y="1"/>
                        <a:pt x="31" y="0"/>
                        <a:pt x="30" y="0"/>
                      </a:cubicBezTo>
                      <a:close/>
                      <a:moveTo>
                        <a:pt x="30" y="0"/>
                      </a:moveTo>
                      <a:cubicBezTo>
                        <a:pt x="30" y="0"/>
                        <a:pt x="30" y="0"/>
                        <a:pt x="3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76" name="Freeform 334">
                  <a:extLst>
                    <a:ext uri="{FF2B5EF4-FFF2-40B4-BE49-F238E27FC236}">
                      <a16:creationId xmlns:a16="http://schemas.microsoft.com/office/drawing/2014/main" id="{F66D6604-7DC1-4DAC-9E52-7D3EB11C7B02}"/>
                    </a:ext>
                  </a:extLst>
                </p:cNvPr>
                <p:cNvSpPr>
                  <a:spLocks noEditPoints="1"/>
                </p:cNvSpPr>
                <p:nvPr/>
              </p:nvSpPr>
              <p:spPr bwMode="auto">
                <a:xfrm>
                  <a:off x="3100388" y="868363"/>
                  <a:ext cx="61912" cy="60325"/>
                </a:xfrm>
                <a:custGeom>
                  <a:avLst/>
                  <a:gdLst>
                    <a:gd name="T0" fmla="*/ 9 w 19"/>
                    <a:gd name="T1" fmla="*/ 19 h 19"/>
                    <a:gd name="T2" fmla="*/ 19 w 19"/>
                    <a:gd name="T3" fmla="*/ 9 h 19"/>
                    <a:gd name="T4" fmla="*/ 9 w 19"/>
                    <a:gd name="T5" fmla="*/ 0 h 19"/>
                    <a:gd name="T6" fmla="*/ 0 w 19"/>
                    <a:gd name="T7" fmla="*/ 9 h 19"/>
                    <a:gd name="T8" fmla="*/ 9 w 19"/>
                    <a:gd name="T9" fmla="*/ 19 h 19"/>
                    <a:gd name="T10" fmla="*/ 9 w 19"/>
                    <a:gd name="T11" fmla="*/ 19 h 19"/>
                    <a:gd name="T12" fmla="*/ 9 w 19"/>
                    <a:gd name="T13" fmla="*/ 19 h 19"/>
                  </a:gdLst>
                  <a:ahLst/>
                  <a:cxnLst>
                    <a:cxn ang="0">
                      <a:pos x="T0" y="T1"/>
                    </a:cxn>
                    <a:cxn ang="0">
                      <a:pos x="T2" y="T3"/>
                    </a:cxn>
                    <a:cxn ang="0">
                      <a:pos x="T4" y="T5"/>
                    </a:cxn>
                    <a:cxn ang="0">
                      <a:pos x="T6" y="T7"/>
                    </a:cxn>
                    <a:cxn ang="0">
                      <a:pos x="T8" y="T9"/>
                    </a:cxn>
                    <a:cxn ang="0">
                      <a:pos x="T10" y="T11"/>
                    </a:cxn>
                    <a:cxn ang="0">
                      <a:pos x="T12" y="T13"/>
                    </a:cxn>
                  </a:cxnLst>
                  <a:rect l="0" t="0" r="r" b="b"/>
                  <a:pathLst>
                    <a:path w="19" h="19">
                      <a:moveTo>
                        <a:pt x="9" y="19"/>
                      </a:moveTo>
                      <a:cubicBezTo>
                        <a:pt x="14" y="19"/>
                        <a:pt x="19" y="15"/>
                        <a:pt x="19" y="9"/>
                      </a:cubicBezTo>
                      <a:cubicBezTo>
                        <a:pt x="19" y="4"/>
                        <a:pt x="14" y="0"/>
                        <a:pt x="9" y="0"/>
                      </a:cubicBezTo>
                      <a:cubicBezTo>
                        <a:pt x="4" y="0"/>
                        <a:pt x="0" y="4"/>
                        <a:pt x="0" y="9"/>
                      </a:cubicBezTo>
                      <a:cubicBezTo>
                        <a:pt x="0" y="15"/>
                        <a:pt x="4" y="19"/>
                        <a:pt x="9" y="19"/>
                      </a:cubicBezTo>
                      <a:close/>
                      <a:moveTo>
                        <a:pt x="9" y="19"/>
                      </a:moveTo>
                      <a:cubicBezTo>
                        <a:pt x="9" y="19"/>
                        <a:pt x="9" y="19"/>
                        <a:pt x="9" y="1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77" name="Freeform 335">
                  <a:extLst>
                    <a:ext uri="{FF2B5EF4-FFF2-40B4-BE49-F238E27FC236}">
                      <a16:creationId xmlns:a16="http://schemas.microsoft.com/office/drawing/2014/main" id="{D3FA217A-7B59-4F68-B5D5-B52F89DA2199}"/>
                    </a:ext>
                  </a:extLst>
                </p:cNvPr>
                <p:cNvSpPr>
                  <a:spLocks noEditPoints="1"/>
                </p:cNvSpPr>
                <p:nvPr/>
              </p:nvSpPr>
              <p:spPr bwMode="auto">
                <a:xfrm>
                  <a:off x="3078163" y="935038"/>
                  <a:ext cx="103187" cy="82550"/>
                </a:xfrm>
                <a:custGeom>
                  <a:avLst/>
                  <a:gdLst>
                    <a:gd name="T0" fmla="*/ 26 w 32"/>
                    <a:gd name="T1" fmla="*/ 1 h 25"/>
                    <a:gd name="T2" fmla="*/ 24 w 32"/>
                    <a:gd name="T3" fmla="*/ 0 h 25"/>
                    <a:gd name="T4" fmla="*/ 22 w 32"/>
                    <a:gd name="T5" fmla="*/ 0 h 25"/>
                    <a:gd name="T6" fmla="*/ 16 w 32"/>
                    <a:gd name="T7" fmla="*/ 2 h 25"/>
                    <a:gd name="T8" fmla="*/ 11 w 32"/>
                    <a:gd name="T9" fmla="*/ 0 h 25"/>
                    <a:gd name="T10" fmla="*/ 9 w 32"/>
                    <a:gd name="T11" fmla="*/ 0 h 25"/>
                    <a:gd name="T12" fmla="*/ 7 w 32"/>
                    <a:gd name="T13" fmla="*/ 1 h 25"/>
                    <a:gd name="T14" fmla="*/ 0 w 32"/>
                    <a:gd name="T15" fmla="*/ 10 h 25"/>
                    <a:gd name="T16" fmla="*/ 0 w 32"/>
                    <a:gd name="T17" fmla="*/ 23 h 25"/>
                    <a:gd name="T18" fmla="*/ 3 w 32"/>
                    <a:gd name="T19" fmla="*/ 25 h 25"/>
                    <a:gd name="T20" fmla="*/ 30 w 32"/>
                    <a:gd name="T21" fmla="*/ 25 h 25"/>
                    <a:gd name="T22" fmla="*/ 32 w 32"/>
                    <a:gd name="T23" fmla="*/ 23 h 25"/>
                    <a:gd name="T24" fmla="*/ 32 w 32"/>
                    <a:gd name="T25" fmla="*/ 10 h 25"/>
                    <a:gd name="T26" fmla="*/ 26 w 32"/>
                    <a:gd name="T27" fmla="*/ 1 h 25"/>
                    <a:gd name="T28" fmla="*/ 26 w 32"/>
                    <a:gd name="T29" fmla="*/ 1 h 25"/>
                    <a:gd name="T30" fmla="*/ 26 w 32"/>
                    <a:gd name="T31" fmla="*/ 1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2" h="25">
                      <a:moveTo>
                        <a:pt x="26" y="1"/>
                      </a:moveTo>
                      <a:cubicBezTo>
                        <a:pt x="26" y="1"/>
                        <a:pt x="24" y="0"/>
                        <a:pt x="24" y="0"/>
                      </a:cubicBezTo>
                      <a:cubicBezTo>
                        <a:pt x="23" y="0"/>
                        <a:pt x="22" y="0"/>
                        <a:pt x="22" y="0"/>
                      </a:cubicBezTo>
                      <a:cubicBezTo>
                        <a:pt x="16" y="2"/>
                        <a:pt x="16" y="2"/>
                        <a:pt x="16" y="2"/>
                      </a:cubicBezTo>
                      <a:cubicBezTo>
                        <a:pt x="11" y="0"/>
                        <a:pt x="11" y="0"/>
                        <a:pt x="11" y="0"/>
                      </a:cubicBezTo>
                      <a:cubicBezTo>
                        <a:pt x="10" y="0"/>
                        <a:pt x="10" y="0"/>
                        <a:pt x="9" y="0"/>
                      </a:cubicBezTo>
                      <a:cubicBezTo>
                        <a:pt x="9" y="0"/>
                        <a:pt x="7" y="1"/>
                        <a:pt x="7" y="1"/>
                      </a:cubicBezTo>
                      <a:cubicBezTo>
                        <a:pt x="3" y="2"/>
                        <a:pt x="0" y="5"/>
                        <a:pt x="0" y="10"/>
                      </a:cubicBezTo>
                      <a:cubicBezTo>
                        <a:pt x="0" y="23"/>
                        <a:pt x="0" y="23"/>
                        <a:pt x="0" y="23"/>
                      </a:cubicBezTo>
                      <a:cubicBezTo>
                        <a:pt x="0" y="24"/>
                        <a:pt x="1" y="25"/>
                        <a:pt x="3" y="25"/>
                      </a:cubicBezTo>
                      <a:cubicBezTo>
                        <a:pt x="30" y="25"/>
                        <a:pt x="30" y="25"/>
                        <a:pt x="30" y="25"/>
                      </a:cubicBezTo>
                      <a:cubicBezTo>
                        <a:pt x="31" y="25"/>
                        <a:pt x="32" y="24"/>
                        <a:pt x="32" y="23"/>
                      </a:cubicBezTo>
                      <a:cubicBezTo>
                        <a:pt x="32" y="10"/>
                        <a:pt x="32" y="10"/>
                        <a:pt x="32" y="10"/>
                      </a:cubicBezTo>
                      <a:cubicBezTo>
                        <a:pt x="32" y="5"/>
                        <a:pt x="30" y="2"/>
                        <a:pt x="26" y="1"/>
                      </a:cubicBezTo>
                      <a:close/>
                      <a:moveTo>
                        <a:pt x="26" y="1"/>
                      </a:moveTo>
                      <a:cubicBezTo>
                        <a:pt x="26" y="1"/>
                        <a:pt x="26" y="1"/>
                        <a:pt x="26"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78" name="Freeform 336">
                  <a:extLst>
                    <a:ext uri="{FF2B5EF4-FFF2-40B4-BE49-F238E27FC236}">
                      <a16:creationId xmlns:a16="http://schemas.microsoft.com/office/drawing/2014/main" id="{B2137400-4913-4EB4-9E51-CE9A95A7E7A4}"/>
                    </a:ext>
                  </a:extLst>
                </p:cNvPr>
                <p:cNvSpPr>
                  <a:spLocks noEditPoints="1"/>
                </p:cNvSpPr>
                <p:nvPr/>
              </p:nvSpPr>
              <p:spPr bwMode="auto">
                <a:xfrm>
                  <a:off x="3078163" y="1036638"/>
                  <a:ext cx="103187" cy="71438"/>
                </a:xfrm>
                <a:custGeom>
                  <a:avLst/>
                  <a:gdLst>
                    <a:gd name="T0" fmla="*/ 30 w 32"/>
                    <a:gd name="T1" fmla="*/ 0 h 22"/>
                    <a:gd name="T2" fmla="*/ 3 w 32"/>
                    <a:gd name="T3" fmla="*/ 0 h 22"/>
                    <a:gd name="T4" fmla="*/ 0 w 32"/>
                    <a:gd name="T5" fmla="*/ 2 h 22"/>
                    <a:gd name="T6" fmla="*/ 0 w 32"/>
                    <a:gd name="T7" fmla="*/ 19 h 22"/>
                    <a:gd name="T8" fmla="*/ 3 w 32"/>
                    <a:gd name="T9" fmla="*/ 22 h 22"/>
                    <a:gd name="T10" fmla="*/ 30 w 32"/>
                    <a:gd name="T11" fmla="*/ 22 h 22"/>
                    <a:gd name="T12" fmla="*/ 32 w 32"/>
                    <a:gd name="T13" fmla="*/ 19 h 22"/>
                    <a:gd name="T14" fmla="*/ 32 w 32"/>
                    <a:gd name="T15" fmla="*/ 2 h 22"/>
                    <a:gd name="T16" fmla="*/ 30 w 32"/>
                    <a:gd name="T17" fmla="*/ 0 h 22"/>
                    <a:gd name="T18" fmla="*/ 30 w 32"/>
                    <a:gd name="T19" fmla="*/ 0 h 22"/>
                    <a:gd name="T20" fmla="*/ 30 w 32"/>
                    <a:gd name="T2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 h="22">
                      <a:moveTo>
                        <a:pt x="30" y="0"/>
                      </a:moveTo>
                      <a:cubicBezTo>
                        <a:pt x="3" y="0"/>
                        <a:pt x="3" y="0"/>
                        <a:pt x="3" y="0"/>
                      </a:cubicBezTo>
                      <a:cubicBezTo>
                        <a:pt x="1" y="0"/>
                        <a:pt x="0" y="1"/>
                        <a:pt x="0" y="2"/>
                      </a:cubicBezTo>
                      <a:cubicBezTo>
                        <a:pt x="0" y="19"/>
                        <a:pt x="0" y="19"/>
                        <a:pt x="0" y="19"/>
                      </a:cubicBezTo>
                      <a:cubicBezTo>
                        <a:pt x="0" y="20"/>
                        <a:pt x="1" y="22"/>
                        <a:pt x="3" y="22"/>
                      </a:cubicBezTo>
                      <a:cubicBezTo>
                        <a:pt x="30" y="22"/>
                        <a:pt x="30" y="22"/>
                        <a:pt x="30" y="22"/>
                      </a:cubicBezTo>
                      <a:cubicBezTo>
                        <a:pt x="31" y="22"/>
                        <a:pt x="32" y="20"/>
                        <a:pt x="32" y="19"/>
                      </a:cubicBezTo>
                      <a:cubicBezTo>
                        <a:pt x="32" y="2"/>
                        <a:pt x="32" y="2"/>
                        <a:pt x="32" y="2"/>
                      </a:cubicBezTo>
                      <a:cubicBezTo>
                        <a:pt x="32" y="1"/>
                        <a:pt x="31" y="0"/>
                        <a:pt x="30" y="0"/>
                      </a:cubicBezTo>
                      <a:close/>
                      <a:moveTo>
                        <a:pt x="30" y="0"/>
                      </a:moveTo>
                      <a:cubicBezTo>
                        <a:pt x="30" y="0"/>
                        <a:pt x="30" y="0"/>
                        <a:pt x="3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grpSp>
      </p:grpSp>
      <p:grpSp>
        <p:nvGrpSpPr>
          <p:cNvPr id="79" name="Group 26">
            <a:extLst>
              <a:ext uri="{FF2B5EF4-FFF2-40B4-BE49-F238E27FC236}">
                <a16:creationId xmlns:a16="http://schemas.microsoft.com/office/drawing/2014/main" id="{BA83AD71-40A4-40DB-88AC-66E0A150B97E}"/>
              </a:ext>
            </a:extLst>
          </p:cNvPr>
          <p:cNvGrpSpPr/>
          <p:nvPr/>
        </p:nvGrpSpPr>
        <p:grpSpPr>
          <a:xfrm>
            <a:off x="663637" y="5077572"/>
            <a:ext cx="1931919" cy="988939"/>
            <a:chOff x="663635" y="5077571"/>
            <a:chExt cx="1931918" cy="988938"/>
          </a:xfrm>
        </p:grpSpPr>
        <p:sp>
          <p:nvSpPr>
            <p:cNvPr id="80" name="Freeform 26">
              <a:extLst>
                <a:ext uri="{FF2B5EF4-FFF2-40B4-BE49-F238E27FC236}">
                  <a16:creationId xmlns:a16="http://schemas.microsoft.com/office/drawing/2014/main" id="{A89436A5-AA22-4123-A5D2-47FF7CAA8127}"/>
                </a:ext>
              </a:extLst>
            </p:cNvPr>
            <p:cNvSpPr>
              <a:spLocks/>
            </p:cNvSpPr>
            <p:nvPr/>
          </p:nvSpPr>
          <p:spPr bwMode="auto">
            <a:xfrm>
              <a:off x="663635" y="5077571"/>
              <a:ext cx="1931918" cy="988938"/>
            </a:xfrm>
            <a:custGeom>
              <a:avLst/>
              <a:gdLst>
                <a:gd name="T0" fmla="*/ 5 w 847"/>
                <a:gd name="T1" fmla="*/ 244 h 435"/>
                <a:gd name="T2" fmla="*/ 93 w 847"/>
                <a:gd name="T3" fmla="*/ 196 h 435"/>
                <a:gd name="T4" fmla="*/ 165 w 847"/>
                <a:gd name="T5" fmla="*/ 140 h 435"/>
                <a:gd name="T6" fmla="*/ 314 w 847"/>
                <a:gd name="T7" fmla="*/ 41 h 435"/>
                <a:gd name="T8" fmla="*/ 478 w 847"/>
                <a:gd name="T9" fmla="*/ 3 h 435"/>
                <a:gd name="T10" fmla="*/ 634 w 847"/>
                <a:gd name="T11" fmla="*/ 54 h 435"/>
                <a:gd name="T12" fmla="*/ 751 w 847"/>
                <a:gd name="T13" fmla="*/ 211 h 435"/>
                <a:gd name="T14" fmla="*/ 752 w 847"/>
                <a:gd name="T15" fmla="*/ 212 h 435"/>
                <a:gd name="T16" fmla="*/ 845 w 847"/>
                <a:gd name="T17" fmla="*/ 292 h 435"/>
                <a:gd name="T18" fmla="*/ 844 w 847"/>
                <a:gd name="T19" fmla="*/ 299 h 435"/>
                <a:gd name="T20" fmla="*/ 811 w 847"/>
                <a:gd name="T21" fmla="*/ 318 h 435"/>
                <a:gd name="T22" fmla="*/ 806 w 847"/>
                <a:gd name="T23" fmla="*/ 317 h 435"/>
                <a:gd name="T24" fmla="*/ 725 w 847"/>
                <a:gd name="T25" fmla="*/ 252 h 435"/>
                <a:gd name="T26" fmla="*/ 490 w 847"/>
                <a:gd name="T27" fmla="*/ 431 h 435"/>
                <a:gd name="T28" fmla="*/ 340 w 847"/>
                <a:gd name="T29" fmla="*/ 399 h 435"/>
                <a:gd name="T30" fmla="*/ 261 w 847"/>
                <a:gd name="T31" fmla="*/ 353 h 435"/>
                <a:gd name="T32" fmla="*/ 176 w 847"/>
                <a:gd name="T33" fmla="*/ 303 h 435"/>
                <a:gd name="T34" fmla="*/ 7 w 847"/>
                <a:gd name="T35" fmla="*/ 253 h 435"/>
                <a:gd name="T36" fmla="*/ 5 w 847"/>
                <a:gd name="T37" fmla="*/ 244 h 4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47" h="435">
                  <a:moveTo>
                    <a:pt x="5" y="244"/>
                  </a:moveTo>
                  <a:cubicBezTo>
                    <a:pt x="38" y="234"/>
                    <a:pt x="66" y="216"/>
                    <a:pt x="93" y="196"/>
                  </a:cubicBezTo>
                  <a:cubicBezTo>
                    <a:pt x="118" y="178"/>
                    <a:pt x="141" y="159"/>
                    <a:pt x="165" y="140"/>
                  </a:cubicBezTo>
                  <a:cubicBezTo>
                    <a:pt x="212" y="104"/>
                    <a:pt x="260" y="67"/>
                    <a:pt x="314" y="41"/>
                  </a:cubicBezTo>
                  <a:cubicBezTo>
                    <a:pt x="365" y="15"/>
                    <a:pt x="421" y="0"/>
                    <a:pt x="478" y="3"/>
                  </a:cubicBezTo>
                  <a:cubicBezTo>
                    <a:pt x="534" y="6"/>
                    <a:pt x="588" y="23"/>
                    <a:pt x="634" y="54"/>
                  </a:cubicBezTo>
                  <a:cubicBezTo>
                    <a:pt x="689" y="92"/>
                    <a:pt x="731" y="148"/>
                    <a:pt x="751" y="211"/>
                  </a:cubicBezTo>
                  <a:cubicBezTo>
                    <a:pt x="752" y="212"/>
                    <a:pt x="752" y="212"/>
                    <a:pt x="752" y="212"/>
                  </a:cubicBezTo>
                  <a:cubicBezTo>
                    <a:pt x="786" y="235"/>
                    <a:pt x="817" y="262"/>
                    <a:pt x="845" y="292"/>
                  </a:cubicBezTo>
                  <a:cubicBezTo>
                    <a:pt x="847" y="295"/>
                    <a:pt x="846" y="298"/>
                    <a:pt x="844" y="299"/>
                  </a:cubicBezTo>
                  <a:cubicBezTo>
                    <a:pt x="833" y="305"/>
                    <a:pt x="822" y="312"/>
                    <a:pt x="811" y="318"/>
                  </a:cubicBezTo>
                  <a:cubicBezTo>
                    <a:pt x="809" y="319"/>
                    <a:pt x="807" y="318"/>
                    <a:pt x="806" y="317"/>
                  </a:cubicBezTo>
                  <a:cubicBezTo>
                    <a:pt x="781" y="292"/>
                    <a:pt x="754" y="270"/>
                    <a:pt x="725" y="252"/>
                  </a:cubicBezTo>
                  <a:cubicBezTo>
                    <a:pt x="689" y="352"/>
                    <a:pt x="597" y="424"/>
                    <a:pt x="490" y="431"/>
                  </a:cubicBezTo>
                  <a:cubicBezTo>
                    <a:pt x="438" y="435"/>
                    <a:pt x="387" y="422"/>
                    <a:pt x="340" y="399"/>
                  </a:cubicBezTo>
                  <a:cubicBezTo>
                    <a:pt x="313" y="385"/>
                    <a:pt x="287" y="369"/>
                    <a:pt x="261" y="353"/>
                  </a:cubicBezTo>
                  <a:cubicBezTo>
                    <a:pt x="233" y="335"/>
                    <a:pt x="204" y="319"/>
                    <a:pt x="176" y="303"/>
                  </a:cubicBezTo>
                  <a:cubicBezTo>
                    <a:pt x="125" y="274"/>
                    <a:pt x="67" y="239"/>
                    <a:pt x="7" y="253"/>
                  </a:cubicBezTo>
                  <a:cubicBezTo>
                    <a:pt x="1" y="254"/>
                    <a:pt x="0" y="246"/>
                    <a:pt x="5" y="244"/>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nvGrpSpPr>
            <p:cNvPr id="81" name="Group 76">
              <a:extLst>
                <a:ext uri="{FF2B5EF4-FFF2-40B4-BE49-F238E27FC236}">
                  <a16:creationId xmlns:a16="http://schemas.microsoft.com/office/drawing/2014/main" id="{C9A66D93-AA19-4D87-A58F-0C3D29296CE1}"/>
                </a:ext>
              </a:extLst>
            </p:cNvPr>
            <p:cNvGrpSpPr/>
            <p:nvPr/>
          </p:nvGrpSpPr>
          <p:grpSpPr>
            <a:xfrm>
              <a:off x="1433750" y="5344546"/>
              <a:ext cx="422359" cy="490620"/>
              <a:chOff x="3892550" y="2036763"/>
              <a:chExt cx="314325" cy="365125"/>
            </a:xfrm>
            <a:solidFill>
              <a:schemeClr val="bg1"/>
            </a:solidFill>
          </p:grpSpPr>
          <p:sp>
            <p:nvSpPr>
              <p:cNvPr id="82" name="Freeform 178">
                <a:extLst>
                  <a:ext uri="{FF2B5EF4-FFF2-40B4-BE49-F238E27FC236}">
                    <a16:creationId xmlns:a16="http://schemas.microsoft.com/office/drawing/2014/main" id="{4E38F4CD-FF7A-4848-9074-E2DDC89B7E55}"/>
                  </a:ext>
                </a:extLst>
              </p:cNvPr>
              <p:cNvSpPr>
                <a:spLocks noEditPoints="1"/>
              </p:cNvSpPr>
              <p:nvPr/>
            </p:nvSpPr>
            <p:spPr bwMode="auto">
              <a:xfrm>
                <a:off x="4164013" y="2355850"/>
                <a:ext cx="42862" cy="38100"/>
              </a:xfrm>
              <a:custGeom>
                <a:avLst/>
                <a:gdLst>
                  <a:gd name="T0" fmla="*/ 13 w 13"/>
                  <a:gd name="T1" fmla="*/ 6 h 12"/>
                  <a:gd name="T2" fmla="*/ 6 w 13"/>
                  <a:gd name="T3" fmla="*/ 12 h 12"/>
                  <a:gd name="T4" fmla="*/ 0 w 13"/>
                  <a:gd name="T5" fmla="*/ 6 h 12"/>
                  <a:gd name="T6" fmla="*/ 6 w 13"/>
                  <a:gd name="T7" fmla="*/ 0 h 12"/>
                  <a:gd name="T8" fmla="*/ 13 w 13"/>
                  <a:gd name="T9" fmla="*/ 6 h 12"/>
                  <a:gd name="T10" fmla="*/ 13 w 13"/>
                  <a:gd name="T11" fmla="*/ 6 h 12"/>
                  <a:gd name="T12" fmla="*/ 13 w 13"/>
                  <a:gd name="T13" fmla="*/ 6 h 12"/>
                </a:gdLst>
                <a:ahLst/>
                <a:cxnLst>
                  <a:cxn ang="0">
                    <a:pos x="T0" y="T1"/>
                  </a:cxn>
                  <a:cxn ang="0">
                    <a:pos x="T2" y="T3"/>
                  </a:cxn>
                  <a:cxn ang="0">
                    <a:pos x="T4" y="T5"/>
                  </a:cxn>
                  <a:cxn ang="0">
                    <a:pos x="T6" y="T7"/>
                  </a:cxn>
                  <a:cxn ang="0">
                    <a:pos x="T8" y="T9"/>
                  </a:cxn>
                  <a:cxn ang="0">
                    <a:pos x="T10" y="T11"/>
                  </a:cxn>
                  <a:cxn ang="0">
                    <a:pos x="T12" y="T13"/>
                  </a:cxn>
                </a:cxnLst>
                <a:rect l="0" t="0" r="r" b="b"/>
                <a:pathLst>
                  <a:path w="13" h="12">
                    <a:moveTo>
                      <a:pt x="13" y="6"/>
                    </a:moveTo>
                    <a:cubicBezTo>
                      <a:pt x="13" y="10"/>
                      <a:pt x="10" y="12"/>
                      <a:pt x="6" y="12"/>
                    </a:cubicBezTo>
                    <a:cubicBezTo>
                      <a:pt x="3" y="12"/>
                      <a:pt x="0" y="10"/>
                      <a:pt x="0" y="6"/>
                    </a:cubicBezTo>
                    <a:cubicBezTo>
                      <a:pt x="0" y="3"/>
                      <a:pt x="3" y="0"/>
                      <a:pt x="6" y="0"/>
                    </a:cubicBezTo>
                    <a:cubicBezTo>
                      <a:pt x="10" y="0"/>
                      <a:pt x="13" y="3"/>
                      <a:pt x="13" y="6"/>
                    </a:cubicBezTo>
                    <a:close/>
                    <a:moveTo>
                      <a:pt x="13" y="6"/>
                    </a:moveTo>
                    <a:cubicBezTo>
                      <a:pt x="13" y="6"/>
                      <a:pt x="13" y="6"/>
                      <a:pt x="13"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83" name="Freeform 179">
                <a:extLst>
                  <a:ext uri="{FF2B5EF4-FFF2-40B4-BE49-F238E27FC236}">
                    <a16:creationId xmlns:a16="http://schemas.microsoft.com/office/drawing/2014/main" id="{810B6C55-96D6-49A9-87F3-41BAB3B55E1A}"/>
                  </a:ext>
                </a:extLst>
              </p:cNvPr>
              <p:cNvSpPr>
                <a:spLocks noEditPoints="1"/>
              </p:cNvSpPr>
              <p:nvPr/>
            </p:nvSpPr>
            <p:spPr bwMode="auto">
              <a:xfrm>
                <a:off x="4164013" y="2190750"/>
                <a:ext cx="42862" cy="41275"/>
              </a:xfrm>
              <a:custGeom>
                <a:avLst/>
                <a:gdLst>
                  <a:gd name="T0" fmla="*/ 13 w 13"/>
                  <a:gd name="T1" fmla="*/ 6 h 13"/>
                  <a:gd name="T2" fmla="*/ 6 w 13"/>
                  <a:gd name="T3" fmla="*/ 13 h 13"/>
                  <a:gd name="T4" fmla="*/ 0 w 13"/>
                  <a:gd name="T5" fmla="*/ 6 h 13"/>
                  <a:gd name="T6" fmla="*/ 6 w 13"/>
                  <a:gd name="T7" fmla="*/ 0 h 13"/>
                  <a:gd name="T8" fmla="*/ 13 w 13"/>
                  <a:gd name="T9" fmla="*/ 6 h 13"/>
                  <a:gd name="T10" fmla="*/ 13 w 13"/>
                  <a:gd name="T11" fmla="*/ 6 h 13"/>
                  <a:gd name="T12" fmla="*/ 13 w 13"/>
                  <a:gd name="T13" fmla="*/ 6 h 13"/>
                </a:gdLst>
                <a:ahLst/>
                <a:cxnLst>
                  <a:cxn ang="0">
                    <a:pos x="T0" y="T1"/>
                  </a:cxn>
                  <a:cxn ang="0">
                    <a:pos x="T2" y="T3"/>
                  </a:cxn>
                  <a:cxn ang="0">
                    <a:pos x="T4" y="T5"/>
                  </a:cxn>
                  <a:cxn ang="0">
                    <a:pos x="T6" y="T7"/>
                  </a:cxn>
                  <a:cxn ang="0">
                    <a:pos x="T8" y="T9"/>
                  </a:cxn>
                  <a:cxn ang="0">
                    <a:pos x="T10" y="T11"/>
                  </a:cxn>
                  <a:cxn ang="0">
                    <a:pos x="T12" y="T13"/>
                  </a:cxn>
                </a:cxnLst>
                <a:rect l="0" t="0" r="r" b="b"/>
                <a:pathLst>
                  <a:path w="13" h="13">
                    <a:moveTo>
                      <a:pt x="13" y="6"/>
                    </a:moveTo>
                    <a:cubicBezTo>
                      <a:pt x="13" y="10"/>
                      <a:pt x="10" y="13"/>
                      <a:pt x="6" y="13"/>
                    </a:cubicBezTo>
                    <a:cubicBezTo>
                      <a:pt x="3" y="13"/>
                      <a:pt x="0" y="10"/>
                      <a:pt x="0" y="6"/>
                    </a:cubicBezTo>
                    <a:cubicBezTo>
                      <a:pt x="0" y="3"/>
                      <a:pt x="3" y="0"/>
                      <a:pt x="6" y="0"/>
                    </a:cubicBezTo>
                    <a:cubicBezTo>
                      <a:pt x="10" y="0"/>
                      <a:pt x="13" y="3"/>
                      <a:pt x="13" y="6"/>
                    </a:cubicBezTo>
                    <a:close/>
                    <a:moveTo>
                      <a:pt x="13" y="6"/>
                    </a:moveTo>
                    <a:cubicBezTo>
                      <a:pt x="13" y="6"/>
                      <a:pt x="13" y="6"/>
                      <a:pt x="13"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84" name="Freeform 180">
                <a:extLst>
                  <a:ext uri="{FF2B5EF4-FFF2-40B4-BE49-F238E27FC236}">
                    <a16:creationId xmlns:a16="http://schemas.microsoft.com/office/drawing/2014/main" id="{6C5D81C0-1299-4EA8-BEDA-892159D918FD}"/>
                  </a:ext>
                </a:extLst>
              </p:cNvPr>
              <p:cNvSpPr>
                <a:spLocks noEditPoints="1"/>
              </p:cNvSpPr>
              <p:nvPr/>
            </p:nvSpPr>
            <p:spPr bwMode="auto">
              <a:xfrm>
                <a:off x="4164013" y="2046288"/>
                <a:ext cx="42862" cy="39688"/>
              </a:xfrm>
              <a:custGeom>
                <a:avLst/>
                <a:gdLst>
                  <a:gd name="T0" fmla="*/ 13 w 13"/>
                  <a:gd name="T1" fmla="*/ 6 h 12"/>
                  <a:gd name="T2" fmla="*/ 6 w 13"/>
                  <a:gd name="T3" fmla="*/ 12 h 12"/>
                  <a:gd name="T4" fmla="*/ 0 w 13"/>
                  <a:gd name="T5" fmla="*/ 6 h 12"/>
                  <a:gd name="T6" fmla="*/ 6 w 13"/>
                  <a:gd name="T7" fmla="*/ 0 h 12"/>
                  <a:gd name="T8" fmla="*/ 13 w 13"/>
                  <a:gd name="T9" fmla="*/ 6 h 12"/>
                  <a:gd name="T10" fmla="*/ 13 w 13"/>
                  <a:gd name="T11" fmla="*/ 6 h 12"/>
                  <a:gd name="T12" fmla="*/ 13 w 13"/>
                  <a:gd name="T13" fmla="*/ 6 h 12"/>
                </a:gdLst>
                <a:ahLst/>
                <a:cxnLst>
                  <a:cxn ang="0">
                    <a:pos x="T0" y="T1"/>
                  </a:cxn>
                  <a:cxn ang="0">
                    <a:pos x="T2" y="T3"/>
                  </a:cxn>
                  <a:cxn ang="0">
                    <a:pos x="T4" y="T5"/>
                  </a:cxn>
                  <a:cxn ang="0">
                    <a:pos x="T6" y="T7"/>
                  </a:cxn>
                  <a:cxn ang="0">
                    <a:pos x="T8" y="T9"/>
                  </a:cxn>
                  <a:cxn ang="0">
                    <a:pos x="T10" y="T11"/>
                  </a:cxn>
                  <a:cxn ang="0">
                    <a:pos x="T12" y="T13"/>
                  </a:cxn>
                </a:cxnLst>
                <a:rect l="0" t="0" r="r" b="b"/>
                <a:pathLst>
                  <a:path w="13" h="12">
                    <a:moveTo>
                      <a:pt x="13" y="6"/>
                    </a:moveTo>
                    <a:cubicBezTo>
                      <a:pt x="13" y="10"/>
                      <a:pt x="10" y="12"/>
                      <a:pt x="6" y="12"/>
                    </a:cubicBezTo>
                    <a:cubicBezTo>
                      <a:pt x="3" y="12"/>
                      <a:pt x="0" y="10"/>
                      <a:pt x="0" y="6"/>
                    </a:cubicBezTo>
                    <a:cubicBezTo>
                      <a:pt x="0" y="3"/>
                      <a:pt x="3" y="0"/>
                      <a:pt x="6" y="0"/>
                    </a:cubicBezTo>
                    <a:cubicBezTo>
                      <a:pt x="10" y="0"/>
                      <a:pt x="13" y="3"/>
                      <a:pt x="13" y="6"/>
                    </a:cubicBezTo>
                    <a:close/>
                    <a:moveTo>
                      <a:pt x="13" y="6"/>
                    </a:moveTo>
                    <a:cubicBezTo>
                      <a:pt x="13" y="6"/>
                      <a:pt x="13" y="6"/>
                      <a:pt x="13"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85" name="Freeform 181">
                <a:extLst>
                  <a:ext uri="{FF2B5EF4-FFF2-40B4-BE49-F238E27FC236}">
                    <a16:creationId xmlns:a16="http://schemas.microsoft.com/office/drawing/2014/main" id="{F4FD877C-AB05-448F-85FB-26568F88FDE6}"/>
                  </a:ext>
                </a:extLst>
              </p:cNvPr>
              <p:cNvSpPr>
                <a:spLocks noEditPoints="1"/>
              </p:cNvSpPr>
              <p:nvPr/>
            </p:nvSpPr>
            <p:spPr bwMode="auto">
              <a:xfrm>
                <a:off x="4070350" y="2057400"/>
                <a:ext cx="77787" cy="327025"/>
              </a:xfrm>
              <a:custGeom>
                <a:avLst/>
                <a:gdLst>
                  <a:gd name="T0" fmla="*/ 10 w 24"/>
                  <a:gd name="T1" fmla="*/ 0 h 101"/>
                  <a:gd name="T2" fmla="*/ 7 w 24"/>
                  <a:gd name="T3" fmla="*/ 3 h 101"/>
                  <a:gd name="T4" fmla="*/ 7 w 24"/>
                  <a:gd name="T5" fmla="*/ 44 h 101"/>
                  <a:gd name="T6" fmla="*/ 4 w 24"/>
                  <a:gd name="T7" fmla="*/ 44 h 101"/>
                  <a:gd name="T8" fmla="*/ 0 w 24"/>
                  <a:gd name="T9" fmla="*/ 47 h 101"/>
                  <a:gd name="T10" fmla="*/ 4 w 24"/>
                  <a:gd name="T11" fmla="*/ 51 h 101"/>
                  <a:gd name="T12" fmla="*/ 7 w 24"/>
                  <a:gd name="T13" fmla="*/ 51 h 101"/>
                  <a:gd name="T14" fmla="*/ 7 w 24"/>
                  <a:gd name="T15" fmla="*/ 98 h 101"/>
                  <a:gd name="T16" fmla="*/ 10 w 24"/>
                  <a:gd name="T17" fmla="*/ 101 h 101"/>
                  <a:gd name="T18" fmla="*/ 24 w 24"/>
                  <a:gd name="T19" fmla="*/ 101 h 101"/>
                  <a:gd name="T20" fmla="*/ 24 w 24"/>
                  <a:gd name="T21" fmla="*/ 98 h 101"/>
                  <a:gd name="T22" fmla="*/ 24 w 24"/>
                  <a:gd name="T23" fmla="*/ 95 h 101"/>
                  <a:gd name="T24" fmla="*/ 13 w 24"/>
                  <a:gd name="T25" fmla="*/ 95 h 101"/>
                  <a:gd name="T26" fmla="*/ 13 w 24"/>
                  <a:gd name="T27" fmla="*/ 51 h 101"/>
                  <a:gd name="T28" fmla="*/ 24 w 24"/>
                  <a:gd name="T29" fmla="*/ 51 h 101"/>
                  <a:gd name="T30" fmla="*/ 24 w 24"/>
                  <a:gd name="T31" fmla="*/ 47 h 101"/>
                  <a:gd name="T32" fmla="*/ 24 w 24"/>
                  <a:gd name="T33" fmla="*/ 44 h 101"/>
                  <a:gd name="T34" fmla="*/ 13 w 24"/>
                  <a:gd name="T35" fmla="*/ 44 h 101"/>
                  <a:gd name="T36" fmla="*/ 13 w 24"/>
                  <a:gd name="T37" fmla="*/ 6 h 101"/>
                  <a:gd name="T38" fmla="*/ 24 w 24"/>
                  <a:gd name="T39" fmla="*/ 6 h 101"/>
                  <a:gd name="T40" fmla="*/ 24 w 24"/>
                  <a:gd name="T41" fmla="*/ 3 h 101"/>
                  <a:gd name="T42" fmla="*/ 24 w 24"/>
                  <a:gd name="T43" fmla="*/ 0 h 101"/>
                  <a:gd name="T44" fmla="*/ 10 w 24"/>
                  <a:gd name="T45" fmla="*/ 0 h 101"/>
                  <a:gd name="T46" fmla="*/ 10 w 24"/>
                  <a:gd name="T47" fmla="*/ 0 h 101"/>
                  <a:gd name="T48" fmla="*/ 10 w 24"/>
                  <a:gd name="T49"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4" h="101">
                    <a:moveTo>
                      <a:pt x="10" y="0"/>
                    </a:moveTo>
                    <a:cubicBezTo>
                      <a:pt x="8" y="0"/>
                      <a:pt x="7" y="1"/>
                      <a:pt x="7" y="3"/>
                    </a:cubicBezTo>
                    <a:cubicBezTo>
                      <a:pt x="7" y="44"/>
                      <a:pt x="7" y="44"/>
                      <a:pt x="7" y="44"/>
                    </a:cubicBezTo>
                    <a:cubicBezTo>
                      <a:pt x="4" y="44"/>
                      <a:pt x="4" y="44"/>
                      <a:pt x="4" y="44"/>
                    </a:cubicBezTo>
                    <a:cubicBezTo>
                      <a:pt x="2" y="44"/>
                      <a:pt x="0" y="46"/>
                      <a:pt x="0" y="47"/>
                    </a:cubicBezTo>
                    <a:cubicBezTo>
                      <a:pt x="0" y="49"/>
                      <a:pt x="2" y="51"/>
                      <a:pt x="4" y="51"/>
                    </a:cubicBezTo>
                    <a:cubicBezTo>
                      <a:pt x="7" y="51"/>
                      <a:pt x="7" y="51"/>
                      <a:pt x="7" y="51"/>
                    </a:cubicBezTo>
                    <a:cubicBezTo>
                      <a:pt x="7" y="98"/>
                      <a:pt x="7" y="98"/>
                      <a:pt x="7" y="98"/>
                    </a:cubicBezTo>
                    <a:cubicBezTo>
                      <a:pt x="7" y="100"/>
                      <a:pt x="8" y="101"/>
                      <a:pt x="10" y="101"/>
                    </a:cubicBezTo>
                    <a:cubicBezTo>
                      <a:pt x="24" y="101"/>
                      <a:pt x="24" y="101"/>
                      <a:pt x="24" y="101"/>
                    </a:cubicBezTo>
                    <a:cubicBezTo>
                      <a:pt x="24" y="100"/>
                      <a:pt x="24" y="99"/>
                      <a:pt x="24" y="98"/>
                    </a:cubicBezTo>
                    <a:cubicBezTo>
                      <a:pt x="24" y="97"/>
                      <a:pt x="24" y="96"/>
                      <a:pt x="24" y="95"/>
                    </a:cubicBezTo>
                    <a:cubicBezTo>
                      <a:pt x="13" y="95"/>
                      <a:pt x="13" y="95"/>
                      <a:pt x="13" y="95"/>
                    </a:cubicBezTo>
                    <a:cubicBezTo>
                      <a:pt x="13" y="51"/>
                      <a:pt x="13" y="51"/>
                      <a:pt x="13" y="51"/>
                    </a:cubicBezTo>
                    <a:cubicBezTo>
                      <a:pt x="24" y="51"/>
                      <a:pt x="24" y="51"/>
                      <a:pt x="24" y="51"/>
                    </a:cubicBezTo>
                    <a:cubicBezTo>
                      <a:pt x="24" y="50"/>
                      <a:pt x="24" y="49"/>
                      <a:pt x="24" y="47"/>
                    </a:cubicBezTo>
                    <a:cubicBezTo>
                      <a:pt x="24" y="46"/>
                      <a:pt x="24" y="45"/>
                      <a:pt x="24" y="44"/>
                    </a:cubicBezTo>
                    <a:cubicBezTo>
                      <a:pt x="13" y="44"/>
                      <a:pt x="13" y="44"/>
                      <a:pt x="13" y="44"/>
                    </a:cubicBezTo>
                    <a:cubicBezTo>
                      <a:pt x="13" y="6"/>
                      <a:pt x="13" y="6"/>
                      <a:pt x="13" y="6"/>
                    </a:cubicBezTo>
                    <a:cubicBezTo>
                      <a:pt x="24" y="6"/>
                      <a:pt x="24" y="6"/>
                      <a:pt x="24" y="6"/>
                    </a:cubicBezTo>
                    <a:cubicBezTo>
                      <a:pt x="24" y="5"/>
                      <a:pt x="24" y="4"/>
                      <a:pt x="24" y="3"/>
                    </a:cubicBezTo>
                    <a:cubicBezTo>
                      <a:pt x="24" y="2"/>
                      <a:pt x="24" y="1"/>
                      <a:pt x="24" y="0"/>
                    </a:cubicBezTo>
                    <a:lnTo>
                      <a:pt x="10" y="0"/>
                    </a:lnTo>
                    <a:close/>
                    <a:moveTo>
                      <a:pt x="10" y="0"/>
                    </a:moveTo>
                    <a:cubicBezTo>
                      <a:pt x="10" y="0"/>
                      <a:pt x="10" y="0"/>
                      <a:pt x="1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86" name="Freeform 182">
                <a:extLst>
                  <a:ext uri="{FF2B5EF4-FFF2-40B4-BE49-F238E27FC236}">
                    <a16:creationId xmlns:a16="http://schemas.microsoft.com/office/drawing/2014/main" id="{9B28FF08-F3E0-4777-B369-E2AE2BC333EF}"/>
                  </a:ext>
                </a:extLst>
              </p:cNvPr>
              <p:cNvSpPr>
                <a:spLocks noEditPoints="1"/>
              </p:cNvSpPr>
              <p:nvPr/>
            </p:nvSpPr>
            <p:spPr bwMode="auto">
              <a:xfrm>
                <a:off x="3924300" y="2036763"/>
                <a:ext cx="84137" cy="85725"/>
              </a:xfrm>
              <a:custGeom>
                <a:avLst/>
                <a:gdLst>
                  <a:gd name="T0" fmla="*/ 13 w 26"/>
                  <a:gd name="T1" fmla="*/ 26 h 26"/>
                  <a:gd name="T2" fmla="*/ 26 w 26"/>
                  <a:gd name="T3" fmla="*/ 13 h 26"/>
                  <a:gd name="T4" fmla="*/ 13 w 26"/>
                  <a:gd name="T5" fmla="*/ 0 h 26"/>
                  <a:gd name="T6" fmla="*/ 0 w 26"/>
                  <a:gd name="T7" fmla="*/ 13 h 26"/>
                  <a:gd name="T8" fmla="*/ 13 w 26"/>
                  <a:gd name="T9" fmla="*/ 26 h 26"/>
                  <a:gd name="T10" fmla="*/ 13 w 26"/>
                  <a:gd name="T11" fmla="*/ 26 h 26"/>
                  <a:gd name="T12" fmla="*/ 13 w 26"/>
                  <a:gd name="T13" fmla="*/ 26 h 26"/>
                </a:gdLst>
                <a:ahLst/>
                <a:cxnLst>
                  <a:cxn ang="0">
                    <a:pos x="T0" y="T1"/>
                  </a:cxn>
                  <a:cxn ang="0">
                    <a:pos x="T2" y="T3"/>
                  </a:cxn>
                  <a:cxn ang="0">
                    <a:pos x="T4" y="T5"/>
                  </a:cxn>
                  <a:cxn ang="0">
                    <a:pos x="T6" y="T7"/>
                  </a:cxn>
                  <a:cxn ang="0">
                    <a:pos x="T8" y="T9"/>
                  </a:cxn>
                  <a:cxn ang="0">
                    <a:pos x="T10" y="T11"/>
                  </a:cxn>
                  <a:cxn ang="0">
                    <a:pos x="T12" y="T13"/>
                  </a:cxn>
                </a:cxnLst>
                <a:rect l="0" t="0" r="r" b="b"/>
                <a:pathLst>
                  <a:path w="26" h="26">
                    <a:moveTo>
                      <a:pt x="13" y="26"/>
                    </a:moveTo>
                    <a:cubicBezTo>
                      <a:pt x="20" y="26"/>
                      <a:pt x="26" y="20"/>
                      <a:pt x="26" y="13"/>
                    </a:cubicBezTo>
                    <a:cubicBezTo>
                      <a:pt x="26" y="6"/>
                      <a:pt x="20" y="0"/>
                      <a:pt x="13" y="0"/>
                    </a:cubicBezTo>
                    <a:cubicBezTo>
                      <a:pt x="5" y="0"/>
                      <a:pt x="0" y="6"/>
                      <a:pt x="0" y="13"/>
                    </a:cubicBezTo>
                    <a:cubicBezTo>
                      <a:pt x="0" y="20"/>
                      <a:pt x="5" y="26"/>
                      <a:pt x="13" y="26"/>
                    </a:cubicBezTo>
                    <a:close/>
                    <a:moveTo>
                      <a:pt x="13" y="26"/>
                    </a:moveTo>
                    <a:cubicBezTo>
                      <a:pt x="13" y="26"/>
                      <a:pt x="13" y="26"/>
                      <a:pt x="13" y="2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87" name="Freeform 183">
                <a:extLst>
                  <a:ext uri="{FF2B5EF4-FFF2-40B4-BE49-F238E27FC236}">
                    <a16:creationId xmlns:a16="http://schemas.microsoft.com/office/drawing/2014/main" id="{DE12B7F8-68E2-4157-BE79-9ACADEA8DC1A}"/>
                  </a:ext>
                </a:extLst>
              </p:cNvPr>
              <p:cNvSpPr>
                <a:spLocks noEditPoints="1"/>
              </p:cNvSpPr>
              <p:nvPr/>
            </p:nvSpPr>
            <p:spPr bwMode="auto">
              <a:xfrm>
                <a:off x="3892550" y="2138363"/>
                <a:ext cx="146050" cy="263525"/>
              </a:xfrm>
              <a:custGeom>
                <a:avLst/>
                <a:gdLst>
                  <a:gd name="T0" fmla="*/ 37 w 45"/>
                  <a:gd name="T1" fmla="*/ 1 h 81"/>
                  <a:gd name="T2" fmla="*/ 37 w 45"/>
                  <a:gd name="T3" fmla="*/ 1 h 81"/>
                  <a:gd name="T4" fmla="*/ 33 w 45"/>
                  <a:gd name="T5" fmla="*/ 0 h 81"/>
                  <a:gd name="T6" fmla="*/ 32 w 45"/>
                  <a:gd name="T7" fmla="*/ 1 h 81"/>
                  <a:gd name="T8" fmla="*/ 24 w 45"/>
                  <a:gd name="T9" fmla="*/ 22 h 81"/>
                  <a:gd name="T10" fmla="*/ 21 w 45"/>
                  <a:gd name="T11" fmla="*/ 22 h 81"/>
                  <a:gd name="T12" fmla="*/ 13 w 45"/>
                  <a:gd name="T13" fmla="*/ 1 h 81"/>
                  <a:gd name="T14" fmla="*/ 12 w 45"/>
                  <a:gd name="T15" fmla="*/ 0 h 81"/>
                  <a:gd name="T16" fmla="*/ 12 w 45"/>
                  <a:gd name="T17" fmla="*/ 0 h 81"/>
                  <a:gd name="T18" fmla="*/ 8 w 45"/>
                  <a:gd name="T19" fmla="*/ 1 h 81"/>
                  <a:gd name="T20" fmla="*/ 0 w 45"/>
                  <a:gd name="T21" fmla="*/ 12 h 81"/>
                  <a:gd name="T22" fmla="*/ 0 w 45"/>
                  <a:gd name="T23" fmla="*/ 35 h 81"/>
                  <a:gd name="T24" fmla="*/ 1 w 45"/>
                  <a:gd name="T25" fmla="*/ 36 h 81"/>
                  <a:gd name="T26" fmla="*/ 9 w 45"/>
                  <a:gd name="T27" fmla="*/ 48 h 81"/>
                  <a:gd name="T28" fmla="*/ 9 w 45"/>
                  <a:gd name="T29" fmla="*/ 79 h 81"/>
                  <a:gd name="T30" fmla="*/ 10 w 45"/>
                  <a:gd name="T31" fmla="*/ 81 h 81"/>
                  <a:gd name="T32" fmla="*/ 35 w 45"/>
                  <a:gd name="T33" fmla="*/ 81 h 81"/>
                  <a:gd name="T34" fmla="*/ 36 w 45"/>
                  <a:gd name="T35" fmla="*/ 79 h 81"/>
                  <a:gd name="T36" fmla="*/ 36 w 45"/>
                  <a:gd name="T37" fmla="*/ 48 h 81"/>
                  <a:gd name="T38" fmla="*/ 45 w 45"/>
                  <a:gd name="T39" fmla="*/ 36 h 81"/>
                  <a:gd name="T40" fmla="*/ 45 w 45"/>
                  <a:gd name="T41" fmla="*/ 35 h 81"/>
                  <a:gd name="T42" fmla="*/ 45 w 45"/>
                  <a:gd name="T43" fmla="*/ 12 h 81"/>
                  <a:gd name="T44" fmla="*/ 37 w 45"/>
                  <a:gd name="T45" fmla="*/ 1 h 81"/>
                  <a:gd name="T46" fmla="*/ 37 w 45"/>
                  <a:gd name="T47" fmla="*/ 1 h 81"/>
                  <a:gd name="T48" fmla="*/ 37 w 45"/>
                  <a:gd name="T49" fmla="*/ 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5" h="81">
                    <a:moveTo>
                      <a:pt x="37" y="1"/>
                    </a:moveTo>
                    <a:cubicBezTo>
                      <a:pt x="37" y="1"/>
                      <a:pt x="37" y="1"/>
                      <a:pt x="37" y="1"/>
                    </a:cubicBezTo>
                    <a:cubicBezTo>
                      <a:pt x="33" y="0"/>
                      <a:pt x="33" y="0"/>
                      <a:pt x="33" y="0"/>
                    </a:cubicBezTo>
                    <a:cubicBezTo>
                      <a:pt x="33" y="0"/>
                      <a:pt x="32" y="0"/>
                      <a:pt x="32" y="1"/>
                    </a:cubicBezTo>
                    <a:cubicBezTo>
                      <a:pt x="24" y="22"/>
                      <a:pt x="24" y="22"/>
                      <a:pt x="24" y="22"/>
                    </a:cubicBezTo>
                    <a:cubicBezTo>
                      <a:pt x="23" y="24"/>
                      <a:pt x="22" y="24"/>
                      <a:pt x="21" y="22"/>
                    </a:cubicBezTo>
                    <a:cubicBezTo>
                      <a:pt x="13" y="1"/>
                      <a:pt x="13" y="1"/>
                      <a:pt x="13" y="1"/>
                    </a:cubicBezTo>
                    <a:cubicBezTo>
                      <a:pt x="13" y="1"/>
                      <a:pt x="13" y="0"/>
                      <a:pt x="12" y="0"/>
                    </a:cubicBezTo>
                    <a:cubicBezTo>
                      <a:pt x="12" y="0"/>
                      <a:pt x="12" y="0"/>
                      <a:pt x="12" y="0"/>
                    </a:cubicBezTo>
                    <a:cubicBezTo>
                      <a:pt x="8" y="1"/>
                      <a:pt x="8" y="1"/>
                      <a:pt x="8" y="1"/>
                    </a:cubicBezTo>
                    <a:cubicBezTo>
                      <a:pt x="4" y="3"/>
                      <a:pt x="0" y="7"/>
                      <a:pt x="0" y="12"/>
                    </a:cubicBezTo>
                    <a:cubicBezTo>
                      <a:pt x="0" y="35"/>
                      <a:pt x="0" y="35"/>
                      <a:pt x="0" y="35"/>
                    </a:cubicBezTo>
                    <a:cubicBezTo>
                      <a:pt x="0" y="35"/>
                      <a:pt x="1" y="35"/>
                      <a:pt x="1" y="36"/>
                    </a:cubicBezTo>
                    <a:cubicBezTo>
                      <a:pt x="9" y="48"/>
                      <a:pt x="9" y="48"/>
                      <a:pt x="9" y="48"/>
                    </a:cubicBezTo>
                    <a:cubicBezTo>
                      <a:pt x="9" y="79"/>
                      <a:pt x="9" y="79"/>
                      <a:pt x="9" y="79"/>
                    </a:cubicBezTo>
                    <a:cubicBezTo>
                      <a:pt x="9" y="80"/>
                      <a:pt x="9" y="81"/>
                      <a:pt x="10" y="81"/>
                    </a:cubicBezTo>
                    <a:cubicBezTo>
                      <a:pt x="35" y="81"/>
                      <a:pt x="35" y="81"/>
                      <a:pt x="35" y="81"/>
                    </a:cubicBezTo>
                    <a:cubicBezTo>
                      <a:pt x="36" y="81"/>
                      <a:pt x="36" y="80"/>
                      <a:pt x="36" y="79"/>
                    </a:cubicBezTo>
                    <a:cubicBezTo>
                      <a:pt x="36" y="48"/>
                      <a:pt x="36" y="48"/>
                      <a:pt x="36" y="48"/>
                    </a:cubicBezTo>
                    <a:cubicBezTo>
                      <a:pt x="45" y="36"/>
                      <a:pt x="45" y="36"/>
                      <a:pt x="45" y="36"/>
                    </a:cubicBezTo>
                    <a:cubicBezTo>
                      <a:pt x="45" y="35"/>
                      <a:pt x="45" y="35"/>
                      <a:pt x="45" y="35"/>
                    </a:cubicBezTo>
                    <a:cubicBezTo>
                      <a:pt x="45" y="12"/>
                      <a:pt x="45" y="12"/>
                      <a:pt x="45" y="12"/>
                    </a:cubicBezTo>
                    <a:cubicBezTo>
                      <a:pt x="45" y="7"/>
                      <a:pt x="42" y="3"/>
                      <a:pt x="37" y="1"/>
                    </a:cubicBezTo>
                    <a:close/>
                    <a:moveTo>
                      <a:pt x="37" y="1"/>
                    </a:moveTo>
                    <a:cubicBezTo>
                      <a:pt x="37" y="1"/>
                      <a:pt x="37" y="1"/>
                      <a:pt x="37"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88" name="Freeform 184">
                <a:extLst>
                  <a:ext uri="{FF2B5EF4-FFF2-40B4-BE49-F238E27FC236}">
                    <a16:creationId xmlns:a16="http://schemas.microsoft.com/office/drawing/2014/main" id="{48DEA135-309C-4883-9CB2-98C7F96778D2}"/>
                  </a:ext>
                </a:extLst>
              </p:cNvPr>
              <p:cNvSpPr>
                <a:spLocks noEditPoints="1"/>
              </p:cNvSpPr>
              <p:nvPr/>
            </p:nvSpPr>
            <p:spPr bwMode="auto">
              <a:xfrm>
                <a:off x="3954463" y="2135188"/>
                <a:ext cx="22225" cy="55563"/>
              </a:xfrm>
              <a:custGeom>
                <a:avLst/>
                <a:gdLst>
                  <a:gd name="T0" fmla="*/ 6 w 7"/>
                  <a:gd name="T1" fmla="*/ 1 h 17"/>
                  <a:gd name="T2" fmla="*/ 5 w 7"/>
                  <a:gd name="T3" fmla="*/ 0 h 17"/>
                  <a:gd name="T4" fmla="*/ 2 w 7"/>
                  <a:gd name="T5" fmla="*/ 0 h 17"/>
                  <a:gd name="T6" fmla="*/ 1 w 7"/>
                  <a:gd name="T7" fmla="*/ 1 h 17"/>
                  <a:gd name="T8" fmla="*/ 1 w 7"/>
                  <a:gd name="T9" fmla="*/ 3 h 17"/>
                  <a:gd name="T10" fmla="*/ 2 w 7"/>
                  <a:gd name="T11" fmla="*/ 5 h 17"/>
                  <a:gd name="T12" fmla="*/ 2 w 7"/>
                  <a:gd name="T13" fmla="*/ 12 h 17"/>
                  <a:gd name="T14" fmla="*/ 3 w 7"/>
                  <a:gd name="T15" fmla="*/ 16 h 17"/>
                  <a:gd name="T16" fmla="*/ 4 w 7"/>
                  <a:gd name="T17" fmla="*/ 16 h 17"/>
                  <a:gd name="T18" fmla="*/ 6 w 7"/>
                  <a:gd name="T19" fmla="*/ 12 h 17"/>
                  <a:gd name="T20" fmla="*/ 5 w 7"/>
                  <a:gd name="T21" fmla="*/ 5 h 17"/>
                  <a:gd name="T22" fmla="*/ 7 w 7"/>
                  <a:gd name="T23" fmla="*/ 3 h 17"/>
                  <a:gd name="T24" fmla="*/ 6 w 7"/>
                  <a:gd name="T25" fmla="*/ 1 h 17"/>
                  <a:gd name="T26" fmla="*/ 6 w 7"/>
                  <a:gd name="T27" fmla="*/ 1 h 17"/>
                  <a:gd name="T28" fmla="*/ 6 w 7"/>
                  <a:gd name="T29" fmla="*/ 1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 h="17">
                    <a:moveTo>
                      <a:pt x="6" y="1"/>
                    </a:moveTo>
                    <a:cubicBezTo>
                      <a:pt x="6" y="0"/>
                      <a:pt x="6" y="0"/>
                      <a:pt x="5" y="0"/>
                    </a:cubicBezTo>
                    <a:cubicBezTo>
                      <a:pt x="2" y="0"/>
                      <a:pt x="2" y="0"/>
                      <a:pt x="2" y="0"/>
                    </a:cubicBezTo>
                    <a:cubicBezTo>
                      <a:pt x="2" y="0"/>
                      <a:pt x="1" y="0"/>
                      <a:pt x="1" y="1"/>
                    </a:cubicBezTo>
                    <a:cubicBezTo>
                      <a:pt x="0" y="1"/>
                      <a:pt x="0" y="2"/>
                      <a:pt x="1" y="3"/>
                    </a:cubicBezTo>
                    <a:cubicBezTo>
                      <a:pt x="2" y="5"/>
                      <a:pt x="2" y="5"/>
                      <a:pt x="2" y="5"/>
                    </a:cubicBezTo>
                    <a:cubicBezTo>
                      <a:pt x="2" y="12"/>
                      <a:pt x="2" y="12"/>
                      <a:pt x="2" y="12"/>
                    </a:cubicBezTo>
                    <a:cubicBezTo>
                      <a:pt x="3" y="16"/>
                      <a:pt x="3" y="16"/>
                      <a:pt x="3" y="16"/>
                    </a:cubicBezTo>
                    <a:cubicBezTo>
                      <a:pt x="3" y="17"/>
                      <a:pt x="4" y="17"/>
                      <a:pt x="4" y="16"/>
                    </a:cubicBezTo>
                    <a:cubicBezTo>
                      <a:pt x="6" y="12"/>
                      <a:pt x="6" y="12"/>
                      <a:pt x="6" y="12"/>
                    </a:cubicBezTo>
                    <a:cubicBezTo>
                      <a:pt x="5" y="5"/>
                      <a:pt x="5" y="5"/>
                      <a:pt x="5" y="5"/>
                    </a:cubicBezTo>
                    <a:cubicBezTo>
                      <a:pt x="7" y="3"/>
                      <a:pt x="7" y="3"/>
                      <a:pt x="7" y="3"/>
                    </a:cubicBezTo>
                    <a:cubicBezTo>
                      <a:pt x="7" y="2"/>
                      <a:pt x="7" y="1"/>
                      <a:pt x="6" y="1"/>
                    </a:cubicBezTo>
                    <a:close/>
                    <a:moveTo>
                      <a:pt x="6" y="1"/>
                    </a:moveTo>
                    <a:cubicBezTo>
                      <a:pt x="6" y="1"/>
                      <a:pt x="6" y="1"/>
                      <a:pt x="6"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grpSp>
    </p:spTree>
    <p:extLst>
      <p:ext uri="{BB962C8B-B14F-4D97-AF65-F5344CB8AC3E}">
        <p14:creationId xmlns:p14="http://schemas.microsoft.com/office/powerpoint/2010/main" val="1033495413"/>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wipe(down)">
                                      <p:cBhvr>
                                        <p:cTn id="7" dur="500"/>
                                        <p:tgtEl>
                                          <p:spTgt spid="6"/>
                                        </p:tgtEl>
                                      </p:cBhvr>
                                    </p:animEffect>
                                  </p:childTnLst>
                                </p:cTn>
                              </p:par>
                            </p:childTnLst>
                          </p:cTn>
                        </p:par>
                        <p:par>
                          <p:cTn id="8" fill="hold">
                            <p:stCondLst>
                              <p:cond delay="500"/>
                            </p:stCondLst>
                            <p:childTnLst>
                              <p:par>
                                <p:cTn id="9" presetID="22" presetClass="entr" presetSubtype="2" fill="hold" nodeType="afterEffect">
                                  <p:stCondLst>
                                    <p:cond delay="0"/>
                                  </p:stCondLst>
                                  <p:childTnLst>
                                    <p:set>
                                      <p:cBhvr>
                                        <p:cTn id="10" dur="1" fill="hold">
                                          <p:stCondLst>
                                            <p:cond delay="0"/>
                                          </p:stCondLst>
                                        </p:cTn>
                                        <p:tgtEl>
                                          <p:spTgt spid="79"/>
                                        </p:tgtEl>
                                        <p:attrNameLst>
                                          <p:attrName>style.visibility</p:attrName>
                                        </p:attrNameLst>
                                      </p:cBhvr>
                                      <p:to>
                                        <p:strVal val="visible"/>
                                      </p:to>
                                    </p:set>
                                    <p:animEffect transition="in" filter="wipe(right)">
                                      <p:cBhvr>
                                        <p:cTn id="11" dur="500"/>
                                        <p:tgtEl>
                                          <p:spTgt spid="79"/>
                                        </p:tgtEl>
                                      </p:cBhvr>
                                    </p:animEffect>
                                  </p:childTnLst>
                                </p:cTn>
                              </p:par>
                            </p:childTnLst>
                          </p:cTn>
                        </p:par>
                        <p:par>
                          <p:cTn id="12" fill="hold">
                            <p:stCondLst>
                              <p:cond delay="1000"/>
                            </p:stCondLst>
                            <p:childTnLst>
                              <p:par>
                                <p:cTn id="13" presetID="22" presetClass="entr" presetSubtype="2" fill="hold" nodeType="afterEffect">
                                  <p:stCondLst>
                                    <p:cond delay="0"/>
                                  </p:stCondLst>
                                  <p:childTnLst>
                                    <p:set>
                                      <p:cBhvr>
                                        <p:cTn id="14" dur="1" fill="hold">
                                          <p:stCondLst>
                                            <p:cond delay="0"/>
                                          </p:stCondLst>
                                        </p:cTn>
                                        <p:tgtEl>
                                          <p:spTgt spid="66"/>
                                        </p:tgtEl>
                                        <p:attrNameLst>
                                          <p:attrName>style.visibility</p:attrName>
                                        </p:attrNameLst>
                                      </p:cBhvr>
                                      <p:to>
                                        <p:strVal val="visible"/>
                                      </p:to>
                                    </p:set>
                                    <p:animEffect transition="in" filter="wipe(right)">
                                      <p:cBhvr>
                                        <p:cTn id="15" dur="500"/>
                                        <p:tgtEl>
                                          <p:spTgt spid="66"/>
                                        </p:tgtEl>
                                      </p:cBhvr>
                                    </p:animEffect>
                                  </p:childTnLst>
                                </p:cTn>
                              </p:par>
                            </p:childTnLst>
                          </p:cTn>
                        </p:par>
                        <p:par>
                          <p:cTn id="16" fill="hold">
                            <p:stCondLst>
                              <p:cond delay="1500"/>
                            </p:stCondLst>
                            <p:childTnLst>
                              <p:par>
                                <p:cTn id="17" presetID="22" presetClass="entr" presetSubtype="4" fill="hold" nodeType="afterEffect">
                                  <p:stCondLst>
                                    <p:cond delay="0"/>
                                  </p:stCondLst>
                                  <p:childTnLst>
                                    <p:set>
                                      <p:cBhvr>
                                        <p:cTn id="18" dur="1" fill="hold">
                                          <p:stCondLst>
                                            <p:cond delay="0"/>
                                          </p:stCondLst>
                                        </p:cTn>
                                        <p:tgtEl>
                                          <p:spTgt spid="28"/>
                                        </p:tgtEl>
                                        <p:attrNameLst>
                                          <p:attrName>style.visibility</p:attrName>
                                        </p:attrNameLst>
                                      </p:cBhvr>
                                      <p:to>
                                        <p:strVal val="visible"/>
                                      </p:to>
                                    </p:set>
                                    <p:animEffect transition="in" filter="wipe(down)">
                                      <p:cBhvr>
                                        <p:cTn id="19" dur="500"/>
                                        <p:tgtEl>
                                          <p:spTgt spid="28"/>
                                        </p:tgtEl>
                                      </p:cBhvr>
                                    </p:animEffect>
                                  </p:childTnLst>
                                </p:cTn>
                              </p:par>
                            </p:childTnLst>
                          </p:cTn>
                        </p:par>
                        <p:par>
                          <p:cTn id="20" fill="hold">
                            <p:stCondLst>
                              <p:cond delay="2000"/>
                            </p:stCondLst>
                            <p:childTnLst>
                              <p:par>
                                <p:cTn id="21" presetID="22" presetClass="entr" presetSubtype="4" fill="hold" nodeType="afterEffect">
                                  <p:stCondLst>
                                    <p:cond delay="0"/>
                                  </p:stCondLst>
                                  <p:childTnLst>
                                    <p:set>
                                      <p:cBhvr>
                                        <p:cTn id="22" dur="1" fill="hold">
                                          <p:stCondLst>
                                            <p:cond delay="0"/>
                                          </p:stCondLst>
                                        </p:cTn>
                                        <p:tgtEl>
                                          <p:spTgt spid="35"/>
                                        </p:tgtEl>
                                        <p:attrNameLst>
                                          <p:attrName>style.visibility</p:attrName>
                                        </p:attrNameLst>
                                      </p:cBhvr>
                                      <p:to>
                                        <p:strVal val="visible"/>
                                      </p:to>
                                    </p:set>
                                    <p:animEffect transition="in" filter="wipe(down)">
                                      <p:cBhvr>
                                        <p:cTn id="23" dur="500"/>
                                        <p:tgtEl>
                                          <p:spTgt spid="35"/>
                                        </p:tgtEl>
                                      </p:cBhvr>
                                    </p:animEffect>
                                  </p:childTnLst>
                                </p:cTn>
                              </p:par>
                            </p:childTnLst>
                          </p:cTn>
                        </p:par>
                        <p:par>
                          <p:cTn id="24" fill="hold">
                            <p:stCondLst>
                              <p:cond delay="2500"/>
                            </p:stCondLst>
                            <p:childTnLst>
                              <p:par>
                                <p:cTn id="25" presetID="22" presetClass="entr" presetSubtype="8" fill="hold" nodeType="afterEffect">
                                  <p:stCondLst>
                                    <p:cond delay="0"/>
                                  </p:stCondLst>
                                  <p:childTnLst>
                                    <p:set>
                                      <p:cBhvr>
                                        <p:cTn id="26" dur="1" fill="hold">
                                          <p:stCondLst>
                                            <p:cond delay="0"/>
                                          </p:stCondLst>
                                        </p:cTn>
                                        <p:tgtEl>
                                          <p:spTgt spid="48"/>
                                        </p:tgtEl>
                                        <p:attrNameLst>
                                          <p:attrName>style.visibility</p:attrName>
                                        </p:attrNameLst>
                                      </p:cBhvr>
                                      <p:to>
                                        <p:strVal val="visible"/>
                                      </p:to>
                                    </p:set>
                                    <p:animEffect transition="in" filter="wipe(left)">
                                      <p:cBhvr>
                                        <p:cTn id="27" dur="500"/>
                                        <p:tgtEl>
                                          <p:spTgt spid="48"/>
                                        </p:tgtEl>
                                      </p:cBhvr>
                                    </p:animEffect>
                                  </p:childTnLst>
                                </p:cTn>
                              </p:par>
                            </p:childTnLst>
                          </p:cTn>
                        </p:par>
                        <p:par>
                          <p:cTn id="28" fill="hold">
                            <p:stCondLst>
                              <p:cond delay="3000"/>
                            </p:stCondLst>
                            <p:childTnLst>
                              <p:par>
                                <p:cTn id="29" presetID="22" presetClass="entr" presetSubtype="8" fill="hold" nodeType="afterEffect">
                                  <p:stCondLst>
                                    <p:cond delay="0"/>
                                  </p:stCondLst>
                                  <p:childTnLst>
                                    <p:set>
                                      <p:cBhvr>
                                        <p:cTn id="30" dur="1" fill="hold">
                                          <p:stCondLst>
                                            <p:cond delay="0"/>
                                          </p:stCondLst>
                                        </p:cTn>
                                        <p:tgtEl>
                                          <p:spTgt spid="56"/>
                                        </p:tgtEl>
                                        <p:attrNameLst>
                                          <p:attrName>style.visibility</p:attrName>
                                        </p:attrNameLst>
                                      </p:cBhvr>
                                      <p:to>
                                        <p:strVal val="visible"/>
                                      </p:to>
                                    </p:set>
                                    <p:animEffect transition="in" filter="wipe(left)">
                                      <p:cBhvr>
                                        <p:cTn id="31" dur="500"/>
                                        <p:tgtEl>
                                          <p:spTgt spid="56"/>
                                        </p:tgtEl>
                                      </p:cBhvr>
                                    </p:animEffect>
                                  </p:childTnLst>
                                </p:cTn>
                              </p:par>
                            </p:childTnLst>
                          </p:cTn>
                        </p:par>
                        <p:par>
                          <p:cTn id="32" fill="hold">
                            <p:stCondLst>
                              <p:cond delay="3500"/>
                            </p:stCondLst>
                            <p:childTnLst>
                              <p:par>
                                <p:cTn id="33" presetID="22" presetClass="entr" presetSubtype="8" fill="hold" nodeType="afterEffect">
                                  <p:stCondLst>
                                    <p:cond delay="0"/>
                                  </p:stCondLst>
                                  <p:childTnLst>
                                    <p:set>
                                      <p:cBhvr>
                                        <p:cTn id="34" dur="1" fill="hold">
                                          <p:stCondLst>
                                            <p:cond delay="0"/>
                                          </p:stCondLst>
                                        </p:cTn>
                                        <p:tgtEl>
                                          <p:spTgt spid="21"/>
                                        </p:tgtEl>
                                        <p:attrNameLst>
                                          <p:attrName>style.visibility</p:attrName>
                                        </p:attrNameLst>
                                      </p:cBhvr>
                                      <p:to>
                                        <p:strVal val="visible"/>
                                      </p:to>
                                    </p:set>
                                    <p:animEffect transition="in" filter="wipe(left)">
                                      <p:cBhvr>
                                        <p:cTn id="35" dur="500"/>
                                        <p:tgtEl>
                                          <p:spTgt spid="21"/>
                                        </p:tgtEl>
                                      </p:cBhvr>
                                    </p:animEffect>
                                  </p:childTnLst>
                                </p:cTn>
                              </p:par>
                            </p:childTnLst>
                          </p:cTn>
                        </p:par>
                        <p:par>
                          <p:cTn id="36" fill="hold">
                            <p:stCondLst>
                              <p:cond delay="4000"/>
                            </p:stCondLst>
                            <p:childTnLst>
                              <p:par>
                                <p:cTn id="37" presetID="53" presetClass="entr" presetSubtype="16" fill="hold" grpId="0" nodeType="afterEffect">
                                  <p:stCondLst>
                                    <p:cond delay="0"/>
                                  </p:stCondLst>
                                  <p:childTnLst>
                                    <p:set>
                                      <p:cBhvr>
                                        <p:cTn id="38" dur="1" fill="hold">
                                          <p:stCondLst>
                                            <p:cond delay="0"/>
                                          </p:stCondLst>
                                        </p:cTn>
                                        <p:tgtEl>
                                          <p:spTgt spid="19"/>
                                        </p:tgtEl>
                                        <p:attrNameLst>
                                          <p:attrName>style.visibility</p:attrName>
                                        </p:attrNameLst>
                                      </p:cBhvr>
                                      <p:to>
                                        <p:strVal val="visible"/>
                                      </p:to>
                                    </p:set>
                                    <p:anim calcmode="lin" valueType="num">
                                      <p:cBhvr>
                                        <p:cTn id="39" dur="500" fill="hold"/>
                                        <p:tgtEl>
                                          <p:spTgt spid="19"/>
                                        </p:tgtEl>
                                        <p:attrNameLst>
                                          <p:attrName>ppt_w</p:attrName>
                                        </p:attrNameLst>
                                      </p:cBhvr>
                                      <p:tavLst>
                                        <p:tav tm="0">
                                          <p:val>
                                            <p:fltVal val="0"/>
                                          </p:val>
                                        </p:tav>
                                        <p:tav tm="100000">
                                          <p:val>
                                            <p:strVal val="#ppt_w"/>
                                          </p:val>
                                        </p:tav>
                                      </p:tavLst>
                                    </p:anim>
                                    <p:anim calcmode="lin" valueType="num">
                                      <p:cBhvr>
                                        <p:cTn id="40" dur="500" fill="hold"/>
                                        <p:tgtEl>
                                          <p:spTgt spid="19"/>
                                        </p:tgtEl>
                                        <p:attrNameLst>
                                          <p:attrName>ppt_h</p:attrName>
                                        </p:attrNameLst>
                                      </p:cBhvr>
                                      <p:tavLst>
                                        <p:tav tm="0">
                                          <p:val>
                                            <p:fltVal val="0"/>
                                          </p:val>
                                        </p:tav>
                                        <p:tav tm="100000">
                                          <p:val>
                                            <p:strVal val="#ppt_h"/>
                                          </p:val>
                                        </p:tav>
                                      </p:tavLst>
                                    </p:anim>
                                    <p:animEffect transition="in" filter="fade">
                                      <p:cBhvr>
                                        <p:cTn id="41" dur="500"/>
                                        <p:tgtEl>
                                          <p:spTgt spid="19"/>
                                        </p:tgtEl>
                                      </p:cBhvr>
                                    </p:animEffect>
                                  </p:childTnLst>
                                </p:cTn>
                              </p:par>
                            </p:childTnLst>
                          </p:cTn>
                        </p:par>
                        <p:par>
                          <p:cTn id="42" fill="hold">
                            <p:stCondLst>
                              <p:cond delay="4500"/>
                            </p:stCondLst>
                            <p:childTnLst>
                              <p:par>
                                <p:cTn id="43" presetID="53" presetClass="entr" presetSubtype="16" fill="hold" grpId="0" nodeType="afterEffect">
                                  <p:stCondLst>
                                    <p:cond delay="0"/>
                                  </p:stCondLst>
                                  <p:childTnLst>
                                    <p:set>
                                      <p:cBhvr>
                                        <p:cTn id="44" dur="1" fill="hold">
                                          <p:stCondLst>
                                            <p:cond delay="0"/>
                                          </p:stCondLst>
                                        </p:cTn>
                                        <p:tgtEl>
                                          <p:spTgt spid="20"/>
                                        </p:tgtEl>
                                        <p:attrNameLst>
                                          <p:attrName>style.visibility</p:attrName>
                                        </p:attrNameLst>
                                      </p:cBhvr>
                                      <p:to>
                                        <p:strVal val="visible"/>
                                      </p:to>
                                    </p:set>
                                    <p:anim calcmode="lin" valueType="num">
                                      <p:cBhvr>
                                        <p:cTn id="45" dur="500" fill="hold"/>
                                        <p:tgtEl>
                                          <p:spTgt spid="20"/>
                                        </p:tgtEl>
                                        <p:attrNameLst>
                                          <p:attrName>ppt_w</p:attrName>
                                        </p:attrNameLst>
                                      </p:cBhvr>
                                      <p:tavLst>
                                        <p:tav tm="0">
                                          <p:val>
                                            <p:fltVal val="0"/>
                                          </p:val>
                                        </p:tav>
                                        <p:tav tm="100000">
                                          <p:val>
                                            <p:strVal val="#ppt_w"/>
                                          </p:val>
                                        </p:tav>
                                      </p:tavLst>
                                    </p:anim>
                                    <p:anim calcmode="lin" valueType="num">
                                      <p:cBhvr>
                                        <p:cTn id="46" dur="500" fill="hold"/>
                                        <p:tgtEl>
                                          <p:spTgt spid="20"/>
                                        </p:tgtEl>
                                        <p:attrNameLst>
                                          <p:attrName>ppt_h</p:attrName>
                                        </p:attrNameLst>
                                      </p:cBhvr>
                                      <p:tavLst>
                                        <p:tav tm="0">
                                          <p:val>
                                            <p:fltVal val="0"/>
                                          </p:val>
                                        </p:tav>
                                        <p:tav tm="100000">
                                          <p:val>
                                            <p:strVal val="#ppt_h"/>
                                          </p:val>
                                        </p:tav>
                                      </p:tavLst>
                                    </p:anim>
                                    <p:animEffect transition="in" filter="fade">
                                      <p:cBhvr>
                                        <p:cTn id="47" dur="500"/>
                                        <p:tgtEl>
                                          <p:spTgt spid="20"/>
                                        </p:tgtEl>
                                      </p:cBhvr>
                                    </p:animEffect>
                                  </p:childTnLst>
                                </p:cTn>
                              </p:par>
                            </p:childTnLst>
                          </p:cTn>
                        </p:par>
                        <p:par>
                          <p:cTn id="48" fill="hold">
                            <p:stCondLst>
                              <p:cond delay="5000"/>
                            </p:stCondLst>
                            <p:childTnLst>
                              <p:par>
                                <p:cTn id="49" presetID="53" presetClass="entr" presetSubtype="16" fill="hold" grpId="0" nodeType="afterEffect">
                                  <p:stCondLst>
                                    <p:cond delay="0"/>
                                  </p:stCondLst>
                                  <p:childTnLst>
                                    <p:set>
                                      <p:cBhvr>
                                        <p:cTn id="50" dur="1" fill="hold">
                                          <p:stCondLst>
                                            <p:cond delay="0"/>
                                          </p:stCondLst>
                                        </p:cTn>
                                        <p:tgtEl>
                                          <p:spTgt spid="12"/>
                                        </p:tgtEl>
                                        <p:attrNameLst>
                                          <p:attrName>style.visibility</p:attrName>
                                        </p:attrNameLst>
                                      </p:cBhvr>
                                      <p:to>
                                        <p:strVal val="visible"/>
                                      </p:to>
                                    </p:set>
                                    <p:anim calcmode="lin" valueType="num">
                                      <p:cBhvr>
                                        <p:cTn id="51" dur="500" fill="hold"/>
                                        <p:tgtEl>
                                          <p:spTgt spid="12"/>
                                        </p:tgtEl>
                                        <p:attrNameLst>
                                          <p:attrName>ppt_w</p:attrName>
                                        </p:attrNameLst>
                                      </p:cBhvr>
                                      <p:tavLst>
                                        <p:tav tm="0">
                                          <p:val>
                                            <p:fltVal val="0"/>
                                          </p:val>
                                        </p:tav>
                                        <p:tav tm="100000">
                                          <p:val>
                                            <p:strVal val="#ppt_w"/>
                                          </p:val>
                                        </p:tav>
                                      </p:tavLst>
                                    </p:anim>
                                    <p:anim calcmode="lin" valueType="num">
                                      <p:cBhvr>
                                        <p:cTn id="52" dur="500" fill="hold"/>
                                        <p:tgtEl>
                                          <p:spTgt spid="12"/>
                                        </p:tgtEl>
                                        <p:attrNameLst>
                                          <p:attrName>ppt_h</p:attrName>
                                        </p:attrNameLst>
                                      </p:cBhvr>
                                      <p:tavLst>
                                        <p:tav tm="0">
                                          <p:val>
                                            <p:fltVal val="0"/>
                                          </p:val>
                                        </p:tav>
                                        <p:tav tm="100000">
                                          <p:val>
                                            <p:strVal val="#ppt_h"/>
                                          </p:val>
                                        </p:tav>
                                      </p:tavLst>
                                    </p:anim>
                                    <p:animEffect transition="in" filter="fade">
                                      <p:cBhvr>
                                        <p:cTn id="53" dur="500"/>
                                        <p:tgtEl>
                                          <p:spTgt spid="12"/>
                                        </p:tgtEl>
                                      </p:cBhvr>
                                    </p:animEffect>
                                  </p:childTnLst>
                                </p:cTn>
                              </p:par>
                            </p:childTnLst>
                          </p:cTn>
                        </p:par>
                        <p:par>
                          <p:cTn id="54" fill="hold">
                            <p:stCondLst>
                              <p:cond delay="5500"/>
                            </p:stCondLst>
                            <p:childTnLst>
                              <p:par>
                                <p:cTn id="55" presetID="53" presetClass="entr" presetSubtype="16" fill="hold" grpId="0" nodeType="afterEffect">
                                  <p:stCondLst>
                                    <p:cond delay="0"/>
                                  </p:stCondLst>
                                  <p:childTnLst>
                                    <p:set>
                                      <p:cBhvr>
                                        <p:cTn id="56" dur="1" fill="hold">
                                          <p:stCondLst>
                                            <p:cond delay="0"/>
                                          </p:stCondLst>
                                        </p:cTn>
                                        <p:tgtEl>
                                          <p:spTgt spid="11"/>
                                        </p:tgtEl>
                                        <p:attrNameLst>
                                          <p:attrName>style.visibility</p:attrName>
                                        </p:attrNameLst>
                                      </p:cBhvr>
                                      <p:to>
                                        <p:strVal val="visible"/>
                                      </p:to>
                                    </p:set>
                                    <p:anim calcmode="lin" valueType="num">
                                      <p:cBhvr>
                                        <p:cTn id="57" dur="500" fill="hold"/>
                                        <p:tgtEl>
                                          <p:spTgt spid="11"/>
                                        </p:tgtEl>
                                        <p:attrNameLst>
                                          <p:attrName>ppt_w</p:attrName>
                                        </p:attrNameLst>
                                      </p:cBhvr>
                                      <p:tavLst>
                                        <p:tav tm="0">
                                          <p:val>
                                            <p:fltVal val="0"/>
                                          </p:val>
                                        </p:tav>
                                        <p:tav tm="100000">
                                          <p:val>
                                            <p:strVal val="#ppt_w"/>
                                          </p:val>
                                        </p:tav>
                                      </p:tavLst>
                                    </p:anim>
                                    <p:anim calcmode="lin" valueType="num">
                                      <p:cBhvr>
                                        <p:cTn id="58" dur="500" fill="hold"/>
                                        <p:tgtEl>
                                          <p:spTgt spid="11"/>
                                        </p:tgtEl>
                                        <p:attrNameLst>
                                          <p:attrName>ppt_h</p:attrName>
                                        </p:attrNameLst>
                                      </p:cBhvr>
                                      <p:tavLst>
                                        <p:tav tm="0">
                                          <p:val>
                                            <p:fltVal val="0"/>
                                          </p:val>
                                        </p:tav>
                                        <p:tav tm="100000">
                                          <p:val>
                                            <p:strVal val="#ppt_h"/>
                                          </p:val>
                                        </p:tav>
                                      </p:tavLst>
                                    </p:anim>
                                    <p:animEffect transition="in" filter="fade">
                                      <p:cBhvr>
                                        <p:cTn id="59" dur="500"/>
                                        <p:tgtEl>
                                          <p:spTgt spid="11"/>
                                        </p:tgtEl>
                                      </p:cBhvr>
                                    </p:animEffect>
                                  </p:childTnLst>
                                </p:cTn>
                              </p:par>
                            </p:childTnLst>
                          </p:cTn>
                        </p:par>
                        <p:par>
                          <p:cTn id="60" fill="hold">
                            <p:stCondLst>
                              <p:cond delay="6000"/>
                            </p:stCondLst>
                            <p:childTnLst>
                              <p:par>
                                <p:cTn id="61" presetID="53" presetClass="entr" presetSubtype="16" fill="hold" grpId="0" nodeType="afterEffect">
                                  <p:stCondLst>
                                    <p:cond delay="0"/>
                                  </p:stCondLst>
                                  <p:childTnLst>
                                    <p:set>
                                      <p:cBhvr>
                                        <p:cTn id="62" dur="1" fill="hold">
                                          <p:stCondLst>
                                            <p:cond delay="0"/>
                                          </p:stCondLst>
                                        </p:cTn>
                                        <p:tgtEl>
                                          <p:spTgt spid="8"/>
                                        </p:tgtEl>
                                        <p:attrNameLst>
                                          <p:attrName>style.visibility</p:attrName>
                                        </p:attrNameLst>
                                      </p:cBhvr>
                                      <p:to>
                                        <p:strVal val="visible"/>
                                      </p:to>
                                    </p:set>
                                    <p:anim calcmode="lin" valueType="num">
                                      <p:cBhvr>
                                        <p:cTn id="63" dur="500" fill="hold"/>
                                        <p:tgtEl>
                                          <p:spTgt spid="8"/>
                                        </p:tgtEl>
                                        <p:attrNameLst>
                                          <p:attrName>ppt_w</p:attrName>
                                        </p:attrNameLst>
                                      </p:cBhvr>
                                      <p:tavLst>
                                        <p:tav tm="0">
                                          <p:val>
                                            <p:fltVal val="0"/>
                                          </p:val>
                                        </p:tav>
                                        <p:tav tm="100000">
                                          <p:val>
                                            <p:strVal val="#ppt_w"/>
                                          </p:val>
                                        </p:tav>
                                      </p:tavLst>
                                    </p:anim>
                                    <p:anim calcmode="lin" valueType="num">
                                      <p:cBhvr>
                                        <p:cTn id="64" dur="500" fill="hold"/>
                                        <p:tgtEl>
                                          <p:spTgt spid="8"/>
                                        </p:tgtEl>
                                        <p:attrNameLst>
                                          <p:attrName>ppt_h</p:attrName>
                                        </p:attrNameLst>
                                      </p:cBhvr>
                                      <p:tavLst>
                                        <p:tav tm="0">
                                          <p:val>
                                            <p:fltVal val="0"/>
                                          </p:val>
                                        </p:tav>
                                        <p:tav tm="100000">
                                          <p:val>
                                            <p:strVal val="#ppt_h"/>
                                          </p:val>
                                        </p:tav>
                                      </p:tavLst>
                                    </p:anim>
                                    <p:animEffect transition="in" filter="fade">
                                      <p:cBhvr>
                                        <p:cTn id="65" dur="500"/>
                                        <p:tgtEl>
                                          <p:spTgt spid="8"/>
                                        </p:tgtEl>
                                      </p:cBhvr>
                                    </p:animEffect>
                                  </p:childTnLst>
                                </p:cTn>
                              </p:par>
                            </p:childTnLst>
                          </p:cTn>
                        </p:par>
                        <p:par>
                          <p:cTn id="66" fill="hold">
                            <p:stCondLst>
                              <p:cond delay="6500"/>
                            </p:stCondLst>
                            <p:childTnLst>
                              <p:par>
                                <p:cTn id="67" presetID="53" presetClass="entr" presetSubtype="16" fill="hold" grpId="0" nodeType="afterEffect">
                                  <p:stCondLst>
                                    <p:cond delay="0"/>
                                  </p:stCondLst>
                                  <p:childTnLst>
                                    <p:set>
                                      <p:cBhvr>
                                        <p:cTn id="68" dur="1" fill="hold">
                                          <p:stCondLst>
                                            <p:cond delay="0"/>
                                          </p:stCondLst>
                                        </p:cTn>
                                        <p:tgtEl>
                                          <p:spTgt spid="7"/>
                                        </p:tgtEl>
                                        <p:attrNameLst>
                                          <p:attrName>style.visibility</p:attrName>
                                        </p:attrNameLst>
                                      </p:cBhvr>
                                      <p:to>
                                        <p:strVal val="visible"/>
                                      </p:to>
                                    </p:set>
                                    <p:anim calcmode="lin" valueType="num">
                                      <p:cBhvr>
                                        <p:cTn id="69" dur="500" fill="hold"/>
                                        <p:tgtEl>
                                          <p:spTgt spid="7"/>
                                        </p:tgtEl>
                                        <p:attrNameLst>
                                          <p:attrName>ppt_w</p:attrName>
                                        </p:attrNameLst>
                                      </p:cBhvr>
                                      <p:tavLst>
                                        <p:tav tm="0">
                                          <p:val>
                                            <p:fltVal val="0"/>
                                          </p:val>
                                        </p:tav>
                                        <p:tav tm="100000">
                                          <p:val>
                                            <p:strVal val="#ppt_w"/>
                                          </p:val>
                                        </p:tav>
                                      </p:tavLst>
                                    </p:anim>
                                    <p:anim calcmode="lin" valueType="num">
                                      <p:cBhvr>
                                        <p:cTn id="70" dur="500" fill="hold"/>
                                        <p:tgtEl>
                                          <p:spTgt spid="7"/>
                                        </p:tgtEl>
                                        <p:attrNameLst>
                                          <p:attrName>ppt_h</p:attrName>
                                        </p:attrNameLst>
                                      </p:cBhvr>
                                      <p:tavLst>
                                        <p:tav tm="0">
                                          <p:val>
                                            <p:fltVal val="0"/>
                                          </p:val>
                                        </p:tav>
                                        <p:tav tm="100000">
                                          <p:val>
                                            <p:strVal val="#ppt_h"/>
                                          </p:val>
                                        </p:tav>
                                      </p:tavLst>
                                    </p:anim>
                                    <p:animEffect transition="in" filter="fade">
                                      <p:cBhvr>
                                        <p:cTn id="71" dur="500"/>
                                        <p:tgtEl>
                                          <p:spTgt spid="7"/>
                                        </p:tgtEl>
                                      </p:cBhvr>
                                    </p:animEffect>
                                  </p:childTnLst>
                                </p:cTn>
                              </p:par>
                            </p:childTnLst>
                          </p:cTn>
                        </p:par>
                        <p:par>
                          <p:cTn id="72" fill="hold">
                            <p:stCondLst>
                              <p:cond delay="7000"/>
                            </p:stCondLst>
                            <p:childTnLst>
                              <p:par>
                                <p:cTn id="73" presetID="53" presetClass="entr" presetSubtype="16" fill="hold" grpId="0" nodeType="afterEffect">
                                  <p:stCondLst>
                                    <p:cond delay="0"/>
                                  </p:stCondLst>
                                  <p:childTnLst>
                                    <p:set>
                                      <p:cBhvr>
                                        <p:cTn id="74" dur="1" fill="hold">
                                          <p:stCondLst>
                                            <p:cond delay="0"/>
                                          </p:stCondLst>
                                        </p:cTn>
                                        <p:tgtEl>
                                          <p:spTgt spid="10"/>
                                        </p:tgtEl>
                                        <p:attrNameLst>
                                          <p:attrName>style.visibility</p:attrName>
                                        </p:attrNameLst>
                                      </p:cBhvr>
                                      <p:to>
                                        <p:strVal val="visible"/>
                                      </p:to>
                                    </p:set>
                                    <p:anim calcmode="lin" valueType="num">
                                      <p:cBhvr>
                                        <p:cTn id="75" dur="500" fill="hold"/>
                                        <p:tgtEl>
                                          <p:spTgt spid="10"/>
                                        </p:tgtEl>
                                        <p:attrNameLst>
                                          <p:attrName>ppt_w</p:attrName>
                                        </p:attrNameLst>
                                      </p:cBhvr>
                                      <p:tavLst>
                                        <p:tav tm="0">
                                          <p:val>
                                            <p:fltVal val="0"/>
                                          </p:val>
                                        </p:tav>
                                        <p:tav tm="100000">
                                          <p:val>
                                            <p:strVal val="#ppt_w"/>
                                          </p:val>
                                        </p:tav>
                                      </p:tavLst>
                                    </p:anim>
                                    <p:anim calcmode="lin" valueType="num">
                                      <p:cBhvr>
                                        <p:cTn id="76" dur="500" fill="hold"/>
                                        <p:tgtEl>
                                          <p:spTgt spid="10"/>
                                        </p:tgtEl>
                                        <p:attrNameLst>
                                          <p:attrName>ppt_h</p:attrName>
                                        </p:attrNameLst>
                                      </p:cBhvr>
                                      <p:tavLst>
                                        <p:tav tm="0">
                                          <p:val>
                                            <p:fltVal val="0"/>
                                          </p:val>
                                        </p:tav>
                                        <p:tav tm="100000">
                                          <p:val>
                                            <p:strVal val="#ppt_h"/>
                                          </p:val>
                                        </p:tav>
                                      </p:tavLst>
                                    </p:anim>
                                    <p:animEffect transition="in" filter="fade">
                                      <p:cBhvr>
                                        <p:cTn id="77" dur="500"/>
                                        <p:tgtEl>
                                          <p:spTgt spid="10"/>
                                        </p:tgtEl>
                                      </p:cBhvr>
                                    </p:animEffect>
                                  </p:childTnLst>
                                </p:cTn>
                              </p:par>
                            </p:childTnLst>
                          </p:cTn>
                        </p:par>
                        <p:par>
                          <p:cTn id="78" fill="hold">
                            <p:stCondLst>
                              <p:cond delay="7500"/>
                            </p:stCondLst>
                            <p:childTnLst>
                              <p:par>
                                <p:cTn id="79" presetID="53" presetClass="entr" presetSubtype="16" fill="hold" grpId="0" nodeType="afterEffect">
                                  <p:stCondLst>
                                    <p:cond delay="0"/>
                                  </p:stCondLst>
                                  <p:childTnLst>
                                    <p:set>
                                      <p:cBhvr>
                                        <p:cTn id="80" dur="1" fill="hold">
                                          <p:stCondLst>
                                            <p:cond delay="0"/>
                                          </p:stCondLst>
                                        </p:cTn>
                                        <p:tgtEl>
                                          <p:spTgt spid="9"/>
                                        </p:tgtEl>
                                        <p:attrNameLst>
                                          <p:attrName>style.visibility</p:attrName>
                                        </p:attrNameLst>
                                      </p:cBhvr>
                                      <p:to>
                                        <p:strVal val="visible"/>
                                      </p:to>
                                    </p:set>
                                    <p:anim calcmode="lin" valueType="num">
                                      <p:cBhvr>
                                        <p:cTn id="81" dur="500" fill="hold"/>
                                        <p:tgtEl>
                                          <p:spTgt spid="9"/>
                                        </p:tgtEl>
                                        <p:attrNameLst>
                                          <p:attrName>ppt_w</p:attrName>
                                        </p:attrNameLst>
                                      </p:cBhvr>
                                      <p:tavLst>
                                        <p:tav tm="0">
                                          <p:val>
                                            <p:fltVal val="0"/>
                                          </p:val>
                                        </p:tav>
                                        <p:tav tm="100000">
                                          <p:val>
                                            <p:strVal val="#ppt_w"/>
                                          </p:val>
                                        </p:tav>
                                      </p:tavLst>
                                    </p:anim>
                                    <p:anim calcmode="lin" valueType="num">
                                      <p:cBhvr>
                                        <p:cTn id="82" dur="500" fill="hold"/>
                                        <p:tgtEl>
                                          <p:spTgt spid="9"/>
                                        </p:tgtEl>
                                        <p:attrNameLst>
                                          <p:attrName>ppt_h</p:attrName>
                                        </p:attrNameLst>
                                      </p:cBhvr>
                                      <p:tavLst>
                                        <p:tav tm="0">
                                          <p:val>
                                            <p:fltVal val="0"/>
                                          </p:val>
                                        </p:tav>
                                        <p:tav tm="100000">
                                          <p:val>
                                            <p:strVal val="#ppt_h"/>
                                          </p:val>
                                        </p:tav>
                                      </p:tavLst>
                                    </p:anim>
                                    <p:animEffect transition="in" filter="fade">
                                      <p:cBhvr>
                                        <p:cTn id="83" dur="500"/>
                                        <p:tgtEl>
                                          <p:spTgt spid="9"/>
                                        </p:tgtEl>
                                      </p:cBhvr>
                                    </p:animEffect>
                                  </p:childTnLst>
                                </p:cTn>
                              </p:par>
                            </p:childTnLst>
                          </p:cTn>
                        </p:par>
                        <p:par>
                          <p:cTn id="84" fill="hold">
                            <p:stCondLst>
                              <p:cond delay="8000"/>
                            </p:stCondLst>
                            <p:childTnLst>
                              <p:par>
                                <p:cTn id="85" presetID="53" presetClass="entr" presetSubtype="16" fill="hold" grpId="0" nodeType="afterEffect">
                                  <p:stCondLst>
                                    <p:cond delay="0"/>
                                  </p:stCondLst>
                                  <p:childTnLst>
                                    <p:set>
                                      <p:cBhvr>
                                        <p:cTn id="86" dur="1" fill="hold">
                                          <p:stCondLst>
                                            <p:cond delay="0"/>
                                          </p:stCondLst>
                                        </p:cTn>
                                        <p:tgtEl>
                                          <p:spTgt spid="13"/>
                                        </p:tgtEl>
                                        <p:attrNameLst>
                                          <p:attrName>style.visibility</p:attrName>
                                        </p:attrNameLst>
                                      </p:cBhvr>
                                      <p:to>
                                        <p:strVal val="visible"/>
                                      </p:to>
                                    </p:set>
                                    <p:anim calcmode="lin" valueType="num">
                                      <p:cBhvr>
                                        <p:cTn id="87" dur="500" fill="hold"/>
                                        <p:tgtEl>
                                          <p:spTgt spid="13"/>
                                        </p:tgtEl>
                                        <p:attrNameLst>
                                          <p:attrName>ppt_w</p:attrName>
                                        </p:attrNameLst>
                                      </p:cBhvr>
                                      <p:tavLst>
                                        <p:tav tm="0">
                                          <p:val>
                                            <p:fltVal val="0"/>
                                          </p:val>
                                        </p:tav>
                                        <p:tav tm="100000">
                                          <p:val>
                                            <p:strVal val="#ppt_w"/>
                                          </p:val>
                                        </p:tav>
                                      </p:tavLst>
                                    </p:anim>
                                    <p:anim calcmode="lin" valueType="num">
                                      <p:cBhvr>
                                        <p:cTn id="88" dur="500" fill="hold"/>
                                        <p:tgtEl>
                                          <p:spTgt spid="13"/>
                                        </p:tgtEl>
                                        <p:attrNameLst>
                                          <p:attrName>ppt_h</p:attrName>
                                        </p:attrNameLst>
                                      </p:cBhvr>
                                      <p:tavLst>
                                        <p:tav tm="0">
                                          <p:val>
                                            <p:fltVal val="0"/>
                                          </p:val>
                                        </p:tav>
                                        <p:tav tm="100000">
                                          <p:val>
                                            <p:strVal val="#ppt_h"/>
                                          </p:val>
                                        </p:tav>
                                      </p:tavLst>
                                    </p:anim>
                                    <p:animEffect transition="in" filter="fade">
                                      <p:cBhvr>
                                        <p:cTn id="89" dur="500"/>
                                        <p:tgtEl>
                                          <p:spTgt spid="13"/>
                                        </p:tgtEl>
                                      </p:cBhvr>
                                    </p:animEffect>
                                  </p:childTnLst>
                                </p:cTn>
                              </p:par>
                            </p:childTnLst>
                          </p:cTn>
                        </p:par>
                        <p:par>
                          <p:cTn id="90" fill="hold">
                            <p:stCondLst>
                              <p:cond delay="8500"/>
                            </p:stCondLst>
                            <p:childTnLst>
                              <p:par>
                                <p:cTn id="91" presetID="53" presetClass="entr" presetSubtype="16" fill="hold" grpId="0" nodeType="afterEffect">
                                  <p:stCondLst>
                                    <p:cond delay="0"/>
                                  </p:stCondLst>
                                  <p:childTnLst>
                                    <p:set>
                                      <p:cBhvr>
                                        <p:cTn id="92" dur="1" fill="hold">
                                          <p:stCondLst>
                                            <p:cond delay="0"/>
                                          </p:stCondLst>
                                        </p:cTn>
                                        <p:tgtEl>
                                          <p:spTgt spid="14"/>
                                        </p:tgtEl>
                                        <p:attrNameLst>
                                          <p:attrName>style.visibility</p:attrName>
                                        </p:attrNameLst>
                                      </p:cBhvr>
                                      <p:to>
                                        <p:strVal val="visible"/>
                                      </p:to>
                                    </p:set>
                                    <p:anim calcmode="lin" valueType="num">
                                      <p:cBhvr>
                                        <p:cTn id="93" dur="500" fill="hold"/>
                                        <p:tgtEl>
                                          <p:spTgt spid="14"/>
                                        </p:tgtEl>
                                        <p:attrNameLst>
                                          <p:attrName>ppt_w</p:attrName>
                                        </p:attrNameLst>
                                      </p:cBhvr>
                                      <p:tavLst>
                                        <p:tav tm="0">
                                          <p:val>
                                            <p:fltVal val="0"/>
                                          </p:val>
                                        </p:tav>
                                        <p:tav tm="100000">
                                          <p:val>
                                            <p:strVal val="#ppt_w"/>
                                          </p:val>
                                        </p:tav>
                                      </p:tavLst>
                                    </p:anim>
                                    <p:anim calcmode="lin" valueType="num">
                                      <p:cBhvr>
                                        <p:cTn id="94" dur="500" fill="hold"/>
                                        <p:tgtEl>
                                          <p:spTgt spid="14"/>
                                        </p:tgtEl>
                                        <p:attrNameLst>
                                          <p:attrName>ppt_h</p:attrName>
                                        </p:attrNameLst>
                                      </p:cBhvr>
                                      <p:tavLst>
                                        <p:tav tm="0">
                                          <p:val>
                                            <p:fltVal val="0"/>
                                          </p:val>
                                        </p:tav>
                                        <p:tav tm="100000">
                                          <p:val>
                                            <p:strVal val="#ppt_h"/>
                                          </p:val>
                                        </p:tav>
                                      </p:tavLst>
                                    </p:anim>
                                    <p:animEffect transition="in" filter="fade">
                                      <p:cBhvr>
                                        <p:cTn id="95" dur="500"/>
                                        <p:tgtEl>
                                          <p:spTgt spid="14"/>
                                        </p:tgtEl>
                                      </p:cBhvr>
                                    </p:animEffect>
                                  </p:childTnLst>
                                </p:cTn>
                              </p:par>
                            </p:childTnLst>
                          </p:cTn>
                        </p:par>
                        <p:par>
                          <p:cTn id="96" fill="hold">
                            <p:stCondLst>
                              <p:cond delay="9000"/>
                            </p:stCondLst>
                            <p:childTnLst>
                              <p:par>
                                <p:cTn id="97" presetID="53" presetClass="entr" presetSubtype="16" fill="hold" grpId="0" nodeType="afterEffect">
                                  <p:stCondLst>
                                    <p:cond delay="0"/>
                                  </p:stCondLst>
                                  <p:childTnLst>
                                    <p:set>
                                      <p:cBhvr>
                                        <p:cTn id="98" dur="1" fill="hold">
                                          <p:stCondLst>
                                            <p:cond delay="0"/>
                                          </p:stCondLst>
                                        </p:cTn>
                                        <p:tgtEl>
                                          <p:spTgt spid="16"/>
                                        </p:tgtEl>
                                        <p:attrNameLst>
                                          <p:attrName>style.visibility</p:attrName>
                                        </p:attrNameLst>
                                      </p:cBhvr>
                                      <p:to>
                                        <p:strVal val="visible"/>
                                      </p:to>
                                    </p:set>
                                    <p:anim calcmode="lin" valueType="num">
                                      <p:cBhvr>
                                        <p:cTn id="99" dur="500" fill="hold"/>
                                        <p:tgtEl>
                                          <p:spTgt spid="16"/>
                                        </p:tgtEl>
                                        <p:attrNameLst>
                                          <p:attrName>ppt_w</p:attrName>
                                        </p:attrNameLst>
                                      </p:cBhvr>
                                      <p:tavLst>
                                        <p:tav tm="0">
                                          <p:val>
                                            <p:fltVal val="0"/>
                                          </p:val>
                                        </p:tav>
                                        <p:tav tm="100000">
                                          <p:val>
                                            <p:strVal val="#ppt_w"/>
                                          </p:val>
                                        </p:tav>
                                      </p:tavLst>
                                    </p:anim>
                                    <p:anim calcmode="lin" valueType="num">
                                      <p:cBhvr>
                                        <p:cTn id="100" dur="500" fill="hold"/>
                                        <p:tgtEl>
                                          <p:spTgt spid="16"/>
                                        </p:tgtEl>
                                        <p:attrNameLst>
                                          <p:attrName>ppt_h</p:attrName>
                                        </p:attrNameLst>
                                      </p:cBhvr>
                                      <p:tavLst>
                                        <p:tav tm="0">
                                          <p:val>
                                            <p:fltVal val="0"/>
                                          </p:val>
                                        </p:tav>
                                        <p:tav tm="100000">
                                          <p:val>
                                            <p:strVal val="#ppt_h"/>
                                          </p:val>
                                        </p:tav>
                                      </p:tavLst>
                                    </p:anim>
                                    <p:animEffect transition="in" filter="fade">
                                      <p:cBhvr>
                                        <p:cTn id="101" dur="500"/>
                                        <p:tgtEl>
                                          <p:spTgt spid="16"/>
                                        </p:tgtEl>
                                      </p:cBhvr>
                                    </p:animEffect>
                                  </p:childTnLst>
                                </p:cTn>
                              </p:par>
                            </p:childTnLst>
                          </p:cTn>
                        </p:par>
                        <p:par>
                          <p:cTn id="102" fill="hold">
                            <p:stCondLst>
                              <p:cond delay="9500"/>
                            </p:stCondLst>
                            <p:childTnLst>
                              <p:par>
                                <p:cTn id="103" presetID="53" presetClass="entr" presetSubtype="16" fill="hold" grpId="0" nodeType="afterEffect">
                                  <p:stCondLst>
                                    <p:cond delay="0"/>
                                  </p:stCondLst>
                                  <p:childTnLst>
                                    <p:set>
                                      <p:cBhvr>
                                        <p:cTn id="104" dur="1" fill="hold">
                                          <p:stCondLst>
                                            <p:cond delay="0"/>
                                          </p:stCondLst>
                                        </p:cTn>
                                        <p:tgtEl>
                                          <p:spTgt spid="15"/>
                                        </p:tgtEl>
                                        <p:attrNameLst>
                                          <p:attrName>style.visibility</p:attrName>
                                        </p:attrNameLst>
                                      </p:cBhvr>
                                      <p:to>
                                        <p:strVal val="visible"/>
                                      </p:to>
                                    </p:set>
                                    <p:anim calcmode="lin" valueType="num">
                                      <p:cBhvr>
                                        <p:cTn id="105" dur="500" fill="hold"/>
                                        <p:tgtEl>
                                          <p:spTgt spid="15"/>
                                        </p:tgtEl>
                                        <p:attrNameLst>
                                          <p:attrName>ppt_w</p:attrName>
                                        </p:attrNameLst>
                                      </p:cBhvr>
                                      <p:tavLst>
                                        <p:tav tm="0">
                                          <p:val>
                                            <p:fltVal val="0"/>
                                          </p:val>
                                        </p:tav>
                                        <p:tav tm="100000">
                                          <p:val>
                                            <p:strVal val="#ppt_w"/>
                                          </p:val>
                                        </p:tav>
                                      </p:tavLst>
                                    </p:anim>
                                    <p:anim calcmode="lin" valueType="num">
                                      <p:cBhvr>
                                        <p:cTn id="106" dur="500" fill="hold"/>
                                        <p:tgtEl>
                                          <p:spTgt spid="15"/>
                                        </p:tgtEl>
                                        <p:attrNameLst>
                                          <p:attrName>ppt_h</p:attrName>
                                        </p:attrNameLst>
                                      </p:cBhvr>
                                      <p:tavLst>
                                        <p:tav tm="0">
                                          <p:val>
                                            <p:fltVal val="0"/>
                                          </p:val>
                                        </p:tav>
                                        <p:tav tm="100000">
                                          <p:val>
                                            <p:strVal val="#ppt_h"/>
                                          </p:val>
                                        </p:tav>
                                      </p:tavLst>
                                    </p:anim>
                                    <p:animEffect transition="in" filter="fade">
                                      <p:cBhvr>
                                        <p:cTn id="107" dur="500"/>
                                        <p:tgtEl>
                                          <p:spTgt spid="15"/>
                                        </p:tgtEl>
                                      </p:cBhvr>
                                    </p:animEffect>
                                  </p:childTnLst>
                                </p:cTn>
                              </p:par>
                            </p:childTnLst>
                          </p:cTn>
                        </p:par>
                        <p:par>
                          <p:cTn id="108" fill="hold">
                            <p:stCondLst>
                              <p:cond delay="10000"/>
                            </p:stCondLst>
                            <p:childTnLst>
                              <p:par>
                                <p:cTn id="109" presetID="53" presetClass="entr" presetSubtype="16" fill="hold" grpId="0" nodeType="afterEffect">
                                  <p:stCondLst>
                                    <p:cond delay="0"/>
                                  </p:stCondLst>
                                  <p:childTnLst>
                                    <p:set>
                                      <p:cBhvr>
                                        <p:cTn id="110" dur="1" fill="hold">
                                          <p:stCondLst>
                                            <p:cond delay="0"/>
                                          </p:stCondLst>
                                        </p:cTn>
                                        <p:tgtEl>
                                          <p:spTgt spid="17"/>
                                        </p:tgtEl>
                                        <p:attrNameLst>
                                          <p:attrName>style.visibility</p:attrName>
                                        </p:attrNameLst>
                                      </p:cBhvr>
                                      <p:to>
                                        <p:strVal val="visible"/>
                                      </p:to>
                                    </p:set>
                                    <p:anim calcmode="lin" valueType="num">
                                      <p:cBhvr>
                                        <p:cTn id="111" dur="500" fill="hold"/>
                                        <p:tgtEl>
                                          <p:spTgt spid="17"/>
                                        </p:tgtEl>
                                        <p:attrNameLst>
                                          <p:attrName>ppt_w</p:attrName>
                                        </p:attrNameLst>
                                      </p:cBhvr>
                                      <p:tavLst>
                                        <p:tav tm="0">
                                          <p:val>
                                            <p:fltVal val="0"/>
                                          </p:val>
                                        </p:tav>
                                        <p:tav tm="100000">
                                          <p:val>
                                            <p:strVal val="#ppt_w"/>
                                          </p:val>
                                        </p:tav>
                                      </p:tavLst>
                                    </p:anim>
                                    <p:anim calcmode="lin" valueType="num">
                                      <p:cBhvr>
                                        <p:cTn id="112" dur="500" fill="hold"/>
                                        <p:tgtEl>
                                          <p:spTgt spid="17"/>
                                        </p:tgtEl>
                                        <p:attrNameLst>
                                          <p:attrName>ppt_h</p:attrName>
                                        </p:attrNameLst>
                                      </p:cBhvr>
                                      <p:tavLst>
                                        <p:tav tm="0">
                                          <p:val>
                                            <p:fltVal val="0"/>
                                          </p:val>
                                        </p:tav>
                                        <p:tav tm="100000">
                                          <p:val>
                                            <p:strVal val="#ppt_h"/>
                                          </p:val>
                                        </p:tav>
                                      </p:tavLst>
                                    </p:anim>
                                    <p:animEffect transition="in" filter="fade">
                                      <p:cBhvr>
                                        <p:cTn id="113" dur="500"/>
                                        <p:tgtEl>
                                          <p:spTgt spid="17"/>
                                        </p:tgtEl>
                                      </p:cBhvr>
                                    </p:animEffect>
                                  </p:childTnLst>
                                </p:cTn>
                              </p:par>
                            </p:childTnLst>
                          </p:cTn>
                        </p:par>
                        <p:par>
                          <p:cTn id="114" fill="hold">
                            <p:stCondLst>
                              <p:cond delay="10500"/>
                            </p:stCondLst>
                            <p:childTnLst>
                              <p:par>
                                <p:cTn id="115" presetID="53" presetClass="entr" presetSubtype="16" fill="hold" grpId="0" nodeType="afterEffect">
                                  <p:stCondLst>
                                    <p:cond delay="0"/>
                                  </p:stCondLst>
                                  <p:childTnLst>
                                    <p:set>
                                      <p:cBhvr>
                                        <p:cTn id="116" dur="1" fill="hold">
                                          <p:stCondLst>
                                            <p:cond delay="0"/>
                                          </p:stCondLst>
                                        </p:cTn>
                                        <p:tgtEl>
                                          <p:spTgt spid="18"/>
                                        </p:tgtEl>
                                        <p:attrNameLst>
                                          <p:attrName>style.visibility</p:attrName>
                                        </p:attrNameLst>
                                      </p:cBhvr>
                                      <p:to>
                                        <p:strVal val="visible"/>
                                      </p:to>
                                    </p:set>
                                    <p:anim calcmode="lin" valueType="num">
                                      <p:cBhvr>
                                        <p:cTn id="117" dur="500" fill="hold"/>
                                        <p:tgtEl>
                                          <p:spTgt spid="18"/>
                                        </p:tgtEl>
                                        <p:attrNameLst>
                                          <p:attrName>ppt_w</p:attrName>
                                        </p:attrNameLst>
                                      </p:cBhvr>
                                      <p:tavLst>
                                        <p:tav tm="0">
                                          <p:val>
                                            <p:fltVal val="0"/>
                                          </p:val>
                                        </p:tav>
                                        <p:tav tm="100000">
                                          <p:val>
                                            <p:strVal val="#ppt_w"/>
                                          </p:val>
                                        </p:tav>
                                      </p:tavLst>
                                    </p:anim>
                                    <p:anim calcmode="lin" valueType="num">
                                      <p:cBhvr>
                                        <p:cTn id="118" dur="500" fill="hold"/>
                                        <p:tgtEl>
                                          <p:spTgt spid="18"/>
                                        </p:tgtEl>
                                        <p:attrNameLst>
                                          <p:attrName>ppt_h</p:attrName>
                                        </p:attrNameLst>
                                      </p:cBhvr>
                                      <p:tavLst>
                                        <p:tav tm="0">
                                          <p:val>
                                            <p:fltVal val="0"/>
                                          </p:val>
                                        </p:tav>
                                        <p:tav tm="100000">
                                          <p:val>
                                            <p:strVal val="#ppt_h"/>
                                          </p:val>
                                        </p:tav>
                                      </p:tavLst>
                                    </p:anim>
                                    <p:animEffect transition="in" filter="fade">
                                      <p:cBhvr>
                                        <p:cTn id="119" dur="500"/>
                                        <p:tgtEl>
                                          <p:spTgt spid="18"/>
                                        </p:tgtEl>
                                      </p:cBhvr>
                                    </p:animEffect>
                                  </p:childTnLst>
                                </p:cTn>
                              </p:par>
                            </p:childTnLst>
                          </p:cTn>
                        </p:par>
                        <p:par>
                          <p:cTn id="120" fill="hold">
                            <p:stCondLst>
                              <p:cond delay="11000"/>
                            </p:stCondLst>
                            <p:childTnLst>
                              <p:par>
                                <p:cTn id="121" presetID="22" presetClass="entr" presetSubtype="8" fill="hold" grpId="0" nodeType="afterEffect">
                                  <p:stCondLst>
                                    <p:cond delay="0"/>
                                  </p:stCondLst>
                                  <p:childTnLst>
                                    <p:set>
                                      <p:cBhvr>
                                        <p:cTn id="122" dur="1" fill="hold">
                                          <p:stCondLst>
                                            <p:cond delay="0"/>
                                          </p:stCondLst>
                                        </p:cTn>
                                        <p:tgtEl>
                                          <p:spTgt spid="3"/>
                                        </p:tgtEl>
                                        <p:attrNameLst>
                                          <p:attrName>style.visibility</p:attrName>
                                        </p:attrNameLst>
                                      </p:cBhvr>
                                      <p:to>
                                        <p:strVal val="visible"/>
                                      </p:to>
                                    </p:set>
                                    <p:animEffect transition="in" filter="wipe(left)">
                                      <p:cBhvr>
                                        <p:cTn id="123" dur="500"/>
                                        <p:tgtEl>
                                          <p:spTgt spid="3"/>
                                        </p:tgtEl>
                                      </p:cBhvr>
                                    </p:animEffect>
                                  </p:childTnLst>
                                </p:cTn>
                              </p:par>
                            </p:childTnLst>
                          </p:cTn>
                        </p:par>
                        <p:par>
                          <p:cTn id="124" fill="hold">
                            <p:stCondLst>
                              <p:cond delay="11500"/>
                            </p:stCondLst>
                            <p:childTnLst>
                              <p:par>
                                <p:cTn id="125" presetID="42" presetClass="entr" presetSubtype="0" fill="hold" grpId="0" nodeType="afterEffect">
                                  <p:stCondLst>
                                    <p:cond delay="0"/>
                                  </p:stCondLst>
                                  <p:childTnLst>
                                    <p:set>
                                      <p:cBhvr>
                                        <p:cTn id="126" dur="1" fill="hold">
                                          <p:stCondLst>
                                            <p:cond delay="0"/>
                                          </p:stCondLst>
                                        </p:cTn>
                                        <p:tgtEl>
                                          <p:spTgt spid="2"/>
                                        </p:tgtEl>
                                        <p:attrNameLst>
                                          <p:attrName>style.visibility</p:attrName>
                                        </p:attrNameLst>
                                      </p:cBhvr>
                                      <p:to>
                                        <p:strVal val="visible"/>
                                      </p:to>
                                    </p:set>
                                    <p:animEffect transition="in" filter="fade">
                                      <p:cBhvr>
                                        <p:cTn id="127" dur="500"/>
                                        <p:tgtEl>
                                          <p:spTgt spid="2"/>
                                        </p:tgtEl>
                                      </p:cBhvr>
                                    </p:animEffect>
                                    <p:anim calcmode="lin" valueType="num">
                                      <p:cBhvr>
                                        <p:cTn id="128" dur="500" fill="hold"/>
                                        <p:tgtEl>
                                          <p:spTgt spid="2"/>
                                        </p:tgtEl>
                                        <p:attrNameLst>
                                          <p:attrName>ppt_x</p:attrName>
                                        </p:attrNameLst>
                                      </p:cBhvr>
                                      <p:tavLst>
                                        <p:tav tm="0">
                                          <p:val>
                                            <p:strVal val="#ppt_x"/>
                                          </p:val>
                                        </p:tav>
                                        <p:tav tm="100000">
                                          <p:val>
                                            <p:strVal val="#ppt_x"/>
                                          </p:val>
                                        </p:tav>
                                      </p:tavLst>
                                    </p:anim>
                                    <p:anim calcmode="lin" valueType="num">
                                      <p:cBhvr>
                                        <p:cTn id="129" dur="500" fill="hold"/>
                                        <p:tgtEl>
                                          <p:spTgt spid="2"/>
                                        </p:tgtEl>
                                        <p:attrNameLst>
                                          <p:attrName>ppt_y</p:attrName>
                                        </p:attrNameLst>
                                      </p:cBhvr>
                                      <p:tavLst>
                                        <p:tav tm="0">
                                          <p:val>
                                            <p:strVal val="#ppt_y+.1"/>
                                          </p:val>
                                        </p:tav>
                                        <p:tav tm="100000">
                                          <p:val>
                                            <p:strVal val="#ppt_y"/>
                                          </p:val>
                                        </p:tav>
                                      </p:tavLst>
                                    </p:anim>
                                  </p:childTnLst>
                                </p:cTn>
                              </p:par>
                            </p:childTnLst>
                          </p:cTn>
                        </p:par>
                        <p:par>
                          <p:cTn id="130" fill="hold">
                            <p:stCondLst>
                              <p:cond delay="12000"/>
                            </p:stCondLst>
                            <p:childTnLst>
                              <p:par>
                                <p:cTn id="131" presetID="22" presetClass="entr" presetSubtype="8" fill="hold" grpId="0" nodeType="afterEffect">
                                  <p:stCondLst>
                                    <p:cond delay="0"/>
                                  </p:stCondLst>
                                  <p:childTnLst>
                                    <p:set>
                                      <p:cBhvr>
                                        <p:cTn id="132" dur="1" fill="hold">
                                          <p:stCondLst>
                                            <p:cond delay="0"/>
                                          </p:stCondLst>
                                        </p:cTn>
                                        <p:tgtEl>
                                          <p:spTgt spid="5"/>
                                        </p:tgtEl>
                                        <p:attrNameLst>
                                          <p:attrName>style.visibility</p:attrName>
                                        </p:attrNameLst>
                                      </p:cBhvr>
                                      <p:to>
                                        <p:strVal val="visible"/>
                                      </p:to>
                                    </p:set>
                                    <p:animEffect transition="in" filter="wipe(left)">
                                      <p:cBhvr>
                                        <p:cTn id="133" dur="500"/>
                                        <p:tgtEl>
                                          <p:spTgt spid="5"/>
                                        </p:tgtEl>
                                      </p:cBhvr>
                                    </p:animEffect>
                                  </p:childTnLst>
                                </p:cTn>
                              </p:par>
                            </p:childTnLst>
                          </p:cTn>
                        </p:par>
                        <p:par>
                          <p:cTn id="134" fill="hold">
                            <p:stCondLst>
                              <p:cond delay="12500"/>
                            </p:stCondLst>
                            <p:childTnLst>
                              <p:par>
                                <p:cTn id="135" presetID="42" presetClass="entr" presetSubtype="0" fill="hold" grpId="0" nodeType="afterEffect">
                                  <p:stCondLst>
                                    <p:cond delay="0"/>
                                  </p:stCondLst>
                                  <p:childTnLst>
                                    <p:set>
                                      <p:cBhvr>
                                        <p:cTn id="136" dur="1" fill="hold">
                                          <p:stCondLst>
                                            <p:cond delay="0"/>
                                          </p:stCondLst>
                                        </p:cTn>
                                        <p:tgtEl>
                                          <p:spTgt spid="4"/>
                                        </p:tgtEl>
                                        <p:attrNameLst>
                                          <p:attrName>style.visibility</p:attrName>
                                        </p:attrNameLst>
                                      </p:cBhvr>
                                      <p:to>
                                        <p:strVal val="visible"/>
                                      </p:to>
                                    </p:set>
                                    <p:animEffect transition="in" filter="fade">
                                      <p:cBhvr>
                                        <p:cTn id="137" dur="500"/>
                                        <p:tgtEl>
                                          <p:spTgt spid="4"/>
                                        </p:tgtEl>
                                      </p:cBhvr>
                                    </p:animEffect>
                                    <p:anim calcmode="lin" valueType="num">
                                      <p:cBhvr>
                                        <p:cTn id="138" dur="500" fill="hold"/>
                                        <p:tgtEl>
                                          <p:spTgt spid="4"/>
                                        </p:tgtEl>
                                        <p:attrNameLst>
                                          <p:attrName>ppt_x</p:attrName>
                                        </p:attrNameLst>
                                      </p:cBhvr>
                                      <p:tavLst>
                                        <p:tav tm="0">
                                          <p:val>
                                            <p:strVal val="#ppt_x"/>
                                          </p:val>
                                        </p:tav>
                                        <p:tav tm="100000">
                                          <p:val>
                                            <p:strVal val="#ppt_x"/>
                                          </p:val>
                                        </p:tav>
                                      </p:tavLst>
                                    </p:anim>
                                    <p:anim calcmode="lin" valueType="num">
                                      <p:cBhvr>
                                        <p:cTn id="139" dur="500" fill="hold"/>
                                        <p:tgtEl>
                                          <p:spTgt spid="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p:bldP spid="4" grpId="0"/>
      <p:bldP spid="5" grpId="0"/>
      <p:bldP spid="6" grpId="0" animBg="1"/>
      <p:bldP spid="7" grpId="0" animBg="1"/>
      <p:bldP spid="8" grpId="0" animBg="1"/>
      <p:bldP spid="9" grpId="0" animBg="1"/>
      <p:bldP spid="10"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Lst>
  </p:timing>
</p:sld>
</file>

<file path=ppt/slides/slide6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2BDD9F-2B45-441E-93DC-2D7694315BFA}"/>
              </a:ext>
            </a:extLst>
          </p:cNvPr>
          <p:cNvSpPr txBox="1">
            <a:spLocks/>
          </p:cNvSpPr>
          <p:nvPr/>
        </p:nvSpPr>
        <p:spPr>
          <a:xfrm>
            <a:off x="2043113" y="304800"/>
            <a:ext cx="8105775" cy="1105808"/>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4400" b="0" i="0" u="none" strike="noStrike" kern="1200" cap="none" spc="0" normalizeH="0" baseline="0" noProof="0">
                <a:ln>
                  <a:noFill/>
                </a:ln>
                <a:solidFill>
                  <a:srgbClr val="000000"/>
                </a:solidFill>
                <a:effectLst/>
                <a:uLnTx/>
                <a:uFillTx/>
                <a:latin typeface="等线 Light" panose="020F0302020204030204"/>
                <a:ea typeface="+mj-ea"/>
                <a:cs typeface="+mj-cs"/>
              </a:rPr>
              <a:t>Tree Infographic</a:t>
            </a:r>
            <a:endParaRPr kumimoji="0" lang="en-ID" sz="4400" b="0" i="0" u="none" strike="noStrike" kern="1200" cap="none" spc="0" normalizeH="0" baseline="0" noProof="0">
              <a:ln>
                <a:noFill/>
              </a:ln>
              <a:solidFill>
                <a:srgbClr val="000000"/>
              </a:solidFill>
              <a:effectLst/>
              <a:uLnTx/>
              <a:uFillTx/>
              <a:latin typeface="等线 Light" panose="020F0302020204030204"/>
              <a:ea typeface="+mj-ea"/>
              <a:cs typeface="+mj-cs"/>
            </a:endParaRPr>
          </a:p>
        </p:txBody>
      </p:sp>
      <p:sp>
        <p:nvSpPr>
          <p:cNvPr id="3" name="Freeform: Shape 4">
            <a:extLst>
              <a:ext uri="{FF2B5EF4-FFF2-40B4-BE49-F238E27FC236}">
                <a16:creationId xmlns:a16="http://schemas.microsoft.com/office/drawing/2014/main" id="{FF494E2B-BBB4-4CAD-8336-DB6FA392833E}"/>
              </a:ext>
            </a:extLst>
          </p:cNvPr>
          <p:cNvSpPr/>
          <p:nvPr/>
        </p:nvSpPr>
        <p:spPr>
          <a:xfrm>
            <a:off x="1283775" y="2375127"/>
            <a:ext cx="4036050" cy="4485230"/>
          </a:xfrm>
          <a:custGeom>
            <a:avLst/>
            <a:gdLst>
              <a:gd name="connsiteX0" fmla="*/ 4099560 w 4099560"/>
              <a:gd name="connsiteY0" fmla="*/ 2041208 h 4555807"/>
              <a:gd name="connsiteX1" fmla="*/ 3823335 w 4099560"/>
              <a:gd name="connsiteY1" fmla="*/ 2250758 h 4555807"/>
              <a:gd name="connsiteX2" fmla="*/ 3675698 w 4099560"/>
              <a:gd name="connsiteY2" fmla="*/ 2349818 h 4555807"/>
              <a:gd name="connsiteX3" fmla="*/ 3478530 w 4099560"/>
              <a:gd name="connsiteY3" fmla="*/ 2436495 h 4555807"/>
              <a:gd name="connsiteX4" fmla="*/ 3358515 w 4099560"/>
              <a:gd name="connsiteY4" fmla="*/ 2456497 h 4555807"/>
              <a:gd name="connsiteX5" fmla="*/ 3235643 w 4099560"/>
              <a:gd name="connsiteY5" fmla="*/ 2456497 h 4555807"/>
              <a:gd name="connsiteX6" fmla="*/ 2998470 w 4099560"/>
              <a:gd name="connsiteY6" fmla="*/ 2428875 h 4555807"/>
              <a:gd name="connsiteX7" fmla="*/ 2573655 w 4099560"/>
              <a:gd name="connsiteY7" fmla="*/ 2436495 h 4555807"/>
              <a:gd name="connsiteX8" fmla="*/ 2549843 w 4099560"/>
              <a:gd name="connsiteY8" fmla="*/ 2441258 h 4555807"/>
              <a:gd name="connsiteX9" fmla="*/ 2526983 w 4099560"/>
              <a:gd name="connsiteY9" fmla="*/ 2446972 h 4555807"/>
              <a:gd name="connsiteX10" fmla="*/ 2482215 w 4099560"/>
              <a:gd name="connsiteY10" fmla="*/ 2460308 h 4555807"/>
              <a:gd name="connsiteX11" fmla="*/ 2399348 w 4099560"/>
              <a:gd name="connsiteY11" fmla="*/ 2491740 h 4555807"/>
              <a:gd name="connsiteX12" fmla="*/ 2262188 w 4099560"/>
              <a:gd name="connsiteY12" fmla="*/ 2575560 h 4555807"/>
              <a:gd name="connsiteX13" fmla="*/ 2262188 w 4099560"/>
              <a:gd name="connsiteY13" fmla="*/ 2575560 h 4555807"/>
              <a:gd name="connsiteX14" fmla="*/ 2203133 w 4099560"/>
              <a:gd name="connsiteY14" fmla="*/ 2677478 h 4555807"/>
              <a:gd name="connsiteX15" fmla="*/ 2165985 w 4099560"/>
              <a:gd name="connsiteY15" fmla="*/ 2758440 h 4555807"/>
              <a:gd name="connsiteX16" fmla="*/ 2161223 w 4099560"/>
              <a:gd name="connsiteY16" fmla="*/ 2778443 h 4555807"/>
              <a:gd name="connsiteX17" fmla="*/ 2152650 w 4099560"/>
              <a:gd name="connsiteY17" fmla="*/ 2791778 h 4555807"/>
              <a:gd name="connsiteX18" fmla="*/ 2085975 w 4099560"/>
              <a:gd name="connsiteY18" fmla="*/ 3034665 h 4555807"/>
              <a:gd name="connsiteX19" fmla="*/ 2066925 w 4099560"/>
              <a:gd name="connsiteY19" fmla="*/ 3390900 h 4555807"/>
              <a:gd name="connsiteX20" fmla="*/ 2114550 w 4099560"/>
              <a:gd name="connsiteY20" fmla="*/ 3715703 h 4555807"/>
              <a:gd name="connsiteX21" fmla="*/ 2195513 w 4099560"/>
              <a:gd name="connsiteY21" fmla="*/ 3994785 h 4555807"/>
              <a:gd name="connsiteX22" fmla="*/ 2249805 w 4099560"/>
              <a:gd name="connsiteY22" fmla="*/ 4150995 h 4555807"/>
              <a:gd name="connsiteX23" fmla="*/ 2252663 w 4099560"/>
              <a:gd name="connsiteY23" fmla="*/ 4157663 h 4555807"/>
              <a:gd name="connsiteX24" fmla="*/ 2406968 w 4099560"/>
              <a:gd name="connsiteY24" fmla="*/ 4555808 h 4555807"/>
              <a:gd name="connsiteX25" fmla="*/ 1535430 w 4099560"/>
              <a:gd name="connsiteY25" fmla="*/ 4555808 h 4555807"/>
              <a:gd name="connsiteX26" fmla="*/ 1602105 w 4099560"/>
              <a:gd name="connsiteY26" fmla="*/ 4283393 h 4555807"/>
              <a:gd name="connsiteX27" fmla="*/ 1634490 w 4099560"/>
              <a:gd name="connsiteY27" fmla="*/ 4118610 h 4555807"/>
              <a:gd name="connsiteX28" fmla="*/ 1641158 w 4099560"/>
              <a:gd name="connsiteY28" fmla="*/ 4074795 h 4555807"/>
              <a:gd name="connsiteX29" fmla="*/ 1644015 w 4099560"/>
              <a:gd name="connsiteY29" fmla="*/ 4052888 h 4555807"/>
              <a:gd name="connsiteX30" fmla="*/ 1644967 w 4099560"/>
              <a:gd name="connsiteY30" fmla="*/ 4043363 h 4555807"/>
              <a:gd name="connsiteX31" fmla="*/ 1654492 w 4099560"/>
              <a:gd name="connsiteY31" fmla="*/ 3962400 h 4555807"/>
              <a:gd name="connsiteX32" fmla="*/ 1656398 w 4099560"/>
              <a:gd name="connsiteY32" fmla="*/ 3627120 h 4555807"/>
              <a:gd name="connsiteX33" fmla="*/ 1651635 w 4099560"/>
              <a:gd name="connsiteY33" fmla="*/ 3587115 h 4555807"/>
              <a:gd name="connsiteX34" fmla="*/ 1650683 w 4099560"/>
              <a:gd name="connsiteY34" fmla="*/ 3580447 h 4555807"/>
              <a:gd name="connsiteX35" fmla="*/ 1650683 w 4099560"/>
              <a:gd name="connsiteY35" fmla="*/ 3578543 h 4555807"/>
              <a:gd name="connsiteX36" fmla="*/ 1647825 w 4099560"/>
              <a:gd name="connsiteY36" fmla="*/ 3560445 h 4555807"/>
              <a:gd name="connsiteX37" fmla="*/ 1633538 w 4099560"/>
              <a:gd name="connsiteY37" fmla="*/ 3478530 h 4555807"/>
              <a:gd name="connsiteX38" fmla="*/ 1598295 w 4099560"/>
              <a:gd name="connsiteY38" fmla="*/ 3318510 h 4555807"/>
              <a:gd name="connsiteX39" fmla="*/ 1564958 w 4099560"/>
              <a:gd name="connsiteY39" fmla="*/ 3179445 h 4555807"/>
              <a:gd name="connsiteX40" fmla="*/ 1504950 w 4099560"/>
              <a:gd name="connsiteY40" fmla="*/ 3092768 h 4555807"/>
              <a:gd name="connsiteX41" fmla="*/ 1431608 w 4099560"/>
              <a:gd name="connsiteY41" fmla="*/ 3006090 h 4555807"/>
              <a:gd name="connsiteX42" fmla="*/ 1241108 w 4099560"/>
              <a:gd name="connsiteY42" fmla="*/ 2906078 h 4555807"/>
              <a:gd name="connsiteX43" fmla="*/ 910590 w 4099560"/>
              <a:gd name="connsiteY43" fmla="*/ 2756535 h 4555807"/>
              <a:gd name="connsiteX44" fmla="*/ 735330 w 4099560"/>
              <a:gd name="connsiteY44" fmla="*/ 2698433 h 4555807"/>
              <a:gd name="connsiteX45" fmla="*/ 567690 w 4099560"/>
              <a:gd name="connsiteY45" fmla="*/ 2659380 h 4555807"/>
              <a:gd name="connsiteX46" fmla="*/ 527685 w 4099560"/>
              <a:gd name="connsiteY46" fmla="*/ 2652713 h 4555807"/>
              <a:gd name="connsiteX47" fmla="*/ 488632 w 4099560"/>
              <a:gd name="connsiteY47" fmla="*/ 2646997 h 4555807"/>
              <a:gd name="connsiteX48" fmla="*/ 413385 w 4099560"/>
              <a:gd name="connsiteY48" fmla="*/ 2639378 h 4555807"/>
              <a:gd name="connsiteX49" fmla="*/ 377190 w 4099560"/>
              <a:gd name="connsiteY49" fmla="*/ 2637472 h 4555807"/>
              <a:gd name="connsiteX50" fmla="*/ 341948 w 4099560"/>
              <a:gd name="connsiteY50" fmla="*/ 2635568 h 4555807"/>
              <a:gd name="connsiteX51" fmla="*/ 308610 w 4099560"/>
              <a:gd name="connsiteY51" fmla="*/ 2635568 h 4555807"/>
              <a:gd name="connsiteX52" fmla="*/ 292418 w 4099560"/>
              <a:gd name="connsiteY52" fmla="*/ 2635568 h 4555807"/>
              <a:gd name="connsiteX53" fmla="*/ 276225 w 4099560"/>
              <a:gd name="connsiteY53" fmla="*/ 2636520 h 4555807"/>
              <a:gd name="connsiteX54" fmla="*/ 216218 w 4099560"/>
              <a:gd name="connsiteY54" fmla="*/ 2640330 h 4555807"/>
              <a:gd name="connsiteX55" fmla="*/ 161925 w 4099560"/>
              <a:gd name="connsiteY55" fmla="*/ 2646045 h 4555807"/>
              <a:gd name="connsiteX56" fmla="*/ 114300 w 4099560"/>
              <a:gd name="connsiteY56" fmla="*/ 2652713 h 4555807"/>
              <a:gd name="connsiteX57" fmla="*/ 74295 w 4099560"/>
              <a:gd name="connsiteY57" fmla="*/ 2660333 h 4555807"/>
              <a:gd name="connsiteX58" fmla="*/ 57150 w 4099560"/>
              <a:gd name="connsiteY58" fmla="*/ 2663190 h 4555807"/>
              <a:gd name="connsiteX59" fmla="*/ 42863 w 4099560"/>
              <a:gd name="connsiteY59" fmla="*/ 2667000 h 4555807"/>
              <a:gd name="connsiteX60" fmla="*/ 19050 w 4099560"/>
              <a:gd name="connsiteY60" fmla="*/ 2672715 h 4555807"/>
              <a:gd name="connsiteX61" fmla="*/ 0 w 4099560"/>
              <a:gd name="connsiteY61" fmla="*/ 2677478 h 4555807"/>
              <a:gd name="connsiteX62" fmla="*/ 16193 w 4099560"/>
              <a:gd name="connsiteY62" fmla="*/ 2666047 h 4555807"/>
              <a:gd name="connsiteX63" fmla="*/ 36195 w 4099560"/>
              <a:gd name="connsiteY63" fmla="*/ 2652713 h 4555807"/>
              <a:gd name="connsiteX64" fmla="*/ 49530 w 4099560"/>
              <a:gd name="connsiteY64" fmla="*/ 2644140 h 4555807"/>
              <a:gd name="connsiteX65" fmla="*/ 64770 w 4099560"/>
              <a:gd name="connsiteY65" fmla="*/ 2635568 h 4555807"/>
              <a:gd name="connsiteX66" fmla="*/ 100965 w 4099560"/>
              <a:gd name="connsiteY66" fmla="*/ 2614613 h 4555807"/>
              <a:gd name="connsiteX67" fmla="*/ 146685 w 4099560"/>
              <a:gd name="connsiteY67" fmla="*/ 2592705 h 4555807"/>
              <a:gd name="connsiteX68" fmla="*/ 200977 w 4099560"/>
              <a:gd name="connsiteY68" fmla="*/ 2570797 h 4555807"/>
              <a:gd name="connsiteX69" fmla="*/ 262890 w 4099560"/>
              <a:gd name="connsiteY69" fmla="*/ 2550795 h 4555807"/>
              <a:gd name="connsiteX70" fmla="*/ 280035 w 4099560"/>
              <a:gd name="connsiteY70" fmla="*/ 2546033 h 4555807"/>
              <a:gd name="connsiteX71" fmla="*/ 297180 w 4099560"/>
              <a:gd name="connsiteY71" fmla="*/ 2542222 h 4555807"/>
              <a:gd name="connsiteX72" fmla="*/ 333375 w 4099560"/>
              <a:gd name="connsiteY72" fmla="*/ 2533650 h 4555807"/>
              <a:gd name="connsiteX73" fmla="*/ 371475 w 4099560"/>
              <a:gd name="connsiteY73" fmla="*/ 2526983 h 4555807"/>
              <a:gd name="connsiteX74" fmla="*/ 411480 w 4099560"/>
              <a:gd name="connsiteY74" fmla="*/ 2521268 h 4555807"/>
              <a:gd name="connsiteX75" fmla="*/ 495300 w 4099560"/>
              <a:gd name="connsiteY75" fmla="*/ 2514600 h 4555807"/>
              <a:gd name="connsiteX76" fmla="*/ 539115 w 4099560"/>
              <a:gd name="connsiteY76" fmla="*/ 2513647 h 4555807"/>
              <a:gd name="connsiteX77" fmla="*/ 584835 w 4099560"/>
              <a:gd name="connsiteY77" fmla="*/ 2514600 h 4555807"/>
              <a:gd name="connsiteX78" fmla="*/ 775335 w 4099560"/>
              <a:gd name="connsiteY78" fmla="*/ 2538413 h 4555807"/>
              <a:gd name="connsiteX79" fmla="*/ 867728 w 4099560"/>
              <a:gd name="connsiteY79" fmla="*/ 2561272 h 4555807"/>
              <a:gd name="connsiteX80" fmla="*/ 729615 w 4099560"/>
              <a:gd name="connsiteY80" fmla="*/ 2466975 h 4555807"/>
              <a:gd name="connsiteX81" fmla="*/ 488632 w 4099560"/>
              <a:gd name="connsiteY81" fmla="*/ 2285047 h 4555807"/>
              <a:gd name="connsiteX82" fmla="*/ 298133 w 4099560"/>
              <a:gd name="connsiteY82" fmla="*/ 2100263 h 4555807"/>
              <a:gd name="connsiteX83" fmla="*/ 165735 w 4099560"/>
              <a:gd name="connsiteY83" fmla="*/ 1926908 h 4555807"/>
              <a:gd name="connsiteX84" fmla="*/ 80963 w 4099560"/>
              <a:gd name="connsiteY84" fmla="*/ 1787843 h 4555807"/>
              <a:gd name="connsiteX85" fmla="*/ 33338 w 4099560"/>
              <a:gd name="connsiteY85" fmla="*/ 1697355 h 4555807"/>
              <a:gd name="connsiteX86" fmla="*/ 17145 w 4099560"/>
              <a:gd name="connsiteY86" fmla="*/ 1665923 h 4555807"/>
              <a:gd name="connsiteX87" fmla="*/ 39052 w 4099560"/>
              <a:gd name="connsiteY87" fmla="*/ 1693545 h 4555807"/>
              <a:gd name="connsiteX88" fmla="*/ 102870 w 4099560"/>
              <a:gd name="connsiteY88" fmla="*/ 1772603 h 4555807"/>
              <a:gd name="connsiteX89" fmla="*/ 207645 w 4099560"/>
              <a:gd name="connsiteY89" fmla="*/ 1893570 h 4555807"/>
              <a:gd name="connsiteX90" fmla="*/ 357188 w 4099560"/>
              <a:gd name="connsiteY90" fmla="*/ 2039303 h 4555807"/>
              <a:gd name="connsiteX91" fmla="*/ 558165 w 4099560"/>
              <a:gd name="connsiteY91" fmla="*/ 2191703 h 4555807"/>
              <a:gd name="connsiteX92" fmla="*/ 806768 w 4099560"/>
              <a:gd name="connsiteY92" fmla="*/ 2345055 h 4555807"/>
              <a:gd name="connsiteX93" fmla="*/ 1089660 w 4099560"/>
              <a:gd name="connsiteY93" fmla="*/ 2512695 h 4555807"/>
              <a:gd name="connsiteX94" fmla="*/ 1383983 w 4099560"/>
              <a:gd name="connsiteY94" fmla="*/ 2723197 h 4555807"/>
              <a:gd name="connsiteX95" fmla="*/ 1502093 w 4099560"/>
              <a:gd name="connsiteY95" fmla="*/ 2832735 h 4555807"/>
              <a:gd name="connsiteX96" fmla="*/ 1510665 w 4099560"/>
              <a:gd name="connsiteY96" fmla="*/ 2352675 h 4555807"/>
              <a:gd name="connsiteX97" fmla="*/ 1597342 w 4099560"/>
              <a:gd name="connsiteY97" fmla="*/ 1985962 h 4555807"/>
              <a:gd name="connsiteX98" fmla="*/ 1600200 w 4099560"/>
              <a:gd name="connsiteY98" fmla="*/ 1971675 h 4555807"/>
              <a:gd name="connsiteX99" fmla="*/ 1507808 w 4099560"/>
              <a:gd name="connsiteY99" fmla="*/ 1624965 h 4555807"/>
              <a:gd name="connsiteX100" fmla="*/ 1384935 w 4099560"/>
              <a:gd name="connsiteY100" fmla="*/ 1303020 h 4555807"/>
              <a:gd name="connsiteX101" fmla="*/ 1349693 w 4099560"/>
              <a:gd name="connsiteY101" fmla="*/ 1230630 h 4555807"/>
              <a:gd name="connsiteX102" fmla="*/ 1331595 w 4099560"/>
              <a:gd name="connsiteY102" fmla="*/ 1195387 h 4555807"/>
              <a:gd name="connsiteX103" fmla="*/ 1312545 w 4099560"/>
              <a:gd name="connsiteY103" fmla="*/ 1161098 h 4555807"/>
              <a:gd name="connsiteX104" fmla="*/ 1233488 w 4099560"/>
              <a:gd name="connsiteY104" fmla="*/ 1031557 h 4555807"/>
              <a:gd name="connsiteX105" fmla="*/ 1070610 w 4099560"/>
              <a:gd name="connsiteY105" fmla="*/ 808673 h 4555807"/>
              <a:gd name="connsiteX106" fmla="*/ 805815 w 4099560"/>
              <a:gd name="connsiteY106" fmla="*/ 504825 h 4555807"/>
              <a:gd name="connsiteX107" fmla="*/ 728663 w 4099560"/>
              <a:gd name="connsiteY107" fmla="*/ 425767 h 4555807"/>
              <a:gd name="connsiteX108" fmla="*/ 701040 w 4099560"/>
              <a:gd name="connsiteY108" fmla="*/ 398145 h 4555807"/>
              <a:gd name="connsiteX109" fmla="*/ 733425 w 4099560"/>
              <a:gd name="connsiteY109" fmla="*/ 420053 h 4555807"/>
              <a:gd name="connsiteX110" fmla="*/ 823913 w 4099560"/>
              <a:gd name="connsiteY110" fmla="*/ 484823 h 4555807"/>
              <a:gd name="connsiteX111" fmla="*/ 1135380 w 4099560"/>
              <a:gd name="connsiteY111" fmla="*/ 751523 h 4555807"/>
              <a:gd name="connsiteX112" fmla="*/ 1328738 w 4099560"/>
              <a:gd name="connsiteY112" fmla="*/ 962025 h 4555807"/>
              <a:gd name="connsiteX113" fmla="*/ 1424940 w 4099560"/>
              <a:gd name="connsiteY113" fmla="*/ 1091565 h 4555807"/>
              <a:gd name="connsiteX114" fmla="*/ 1448753 w 4099560"/>
              <a:gd name="connsiteY114" fmla="*/ 1126808 h 4555807"/>
              <a:gd name="connsiteX115" fmla="*/ 1470660 w 4099560"/>
              <a:gd name="connsiteY115" fmla="*/ 1163003 h 4555807"/>
              <a:gd name="connsiteX116" fmla="*/ 1514475 w 4099560"/>
              <a:gd name="connsiteY116" fmla="*/ 1238250 h 4555807"/>
              <a:gd name="connsiteX117" fmla="*/ 1664017 w 4099560"/>
              <a:gd name="connsiteY117" fmla="*/ 1573530 h 4555807"/>
              <a:gd name="connsiteX118" fmla="*/ 1681163 w 4099560"/>
              <a:gd name="connsiteY118" fmla="*/ 1622108 h 4555807"/>
              <a:gd name="connsiteX119" fmla="*/ 1823085 w 4099560"/>
              <a:gd name="connsiteY119" fmla="*/ 1110615 h 4555807"/>
              <a:gd name="connsiteX120" fmla="*/ 2148840 w 4099560"/>
              <a:gd name="connsiteY120" fmla="*/ 487680 h 4555807"/>
              <a:gd name="connsiteX121" fmla="*/ 2309813 w 4099560"/>
              <a:gd name="connsiteY121" fmla="*/ 272415 h 4555807"/>
              <a:gd name="connsiteX122" fmla="*/ 2381250 w 4099560"/>
              <a:gd name="connsiteY122" fmla="*/ 188595 h 4555807"/>
              <a:gd name="connsiteX123" fmla="*/ 2443163 w 4099560"/>
              <a:gd name="connsiteY123" fmla="*/ 120967 h 4555807"/>
              <a:gd name="connsiteX124" fmla="*/ 2532698 w 4099560"/>
              <a:gd name="connsiteY124" fmla="*/ 30480 h 4555807"/>
              <a:gd name="connsiteX125" fmla="*/ 2564130 w 4099560"/>
              <a:gd name="connsiteY125" fmla="*/ 0 h 4555807"/>
              <a:gd name="connsiteX126" fmla="*/ 2539365 w 4099560"/>
              <a:gd name="connsiteY126" fmla="*/ 36195 h 4555807"/>
              <a:gd name="connsiteX127" fmla="*/ 2468880 w 4099560"/>
              <a:gd name="connsiteY127" fmla="*/ 140970 h 4555807"/>
              <a:gd name="connsiteX128" fmla="*/ 2420303 w 4099560"/>
              <a:gd name="connsiteY128" fmla="*/ 218123 h 4555807"/>
              <a:gd name="connsiteX129" fmla="*/ 2365058 w 4099560"/>
              <a:gd name="connsiteY129" fmla="*/ 310515 h 4555807"/>
              <a:gd name="connsiteX130" fmla="*/ 2241233 w 4099560"/>
              <a:gd name="connsiteY130" fmla="*/ 541020 h 4555807"/>
              <a:gd name="connsiteX131" fmla="*/ 1995488 w 4099560"/>
              <a:gd name="connsiteY131" fmla="*/ 1167765 h 4555807"/>
              <a:gd name="connsiteX132" fmla="*/ 1858328 w 4099560"/>
              <a:gd name="connsiteY132" fmla="*/ 1968818 h 4555807"/>
              <a:gd name="connsiteX133" fmla="*/ 1855470 w 4099560"/>
              <a:gd name="connsiteY133" fmla="*/ 2182178 h 4555807"/>
              <a:gd name="connsiteX134" fmla="*/ 1859280 w 4099560"/>
              <a:gd name="connsiteY134" fmla="*/ 2286000 h 4555807"/>
              <a:gd name="connsiteX135" fmla="*/ 1863090 w 4099560"/>
              <a:gd name="connsiteY135" fmla="*/ 2337435 h 4555807"/>
              <a:gd name="connsiteX136" fmla="*/ 1866900 w 4099560"/>
              <a:gd name="connsiteY136" fmla="*/ 2387918 h 4555807"/>
              <a:gd name="connsiteX137" fmla="*/ 1924050 w 4099560"/>
              <a:gd name="connsiteY137" fmla="*/ 2780347 h 4555807"/>
              <a:gd name="connsiteX138" fmla="*/ 1937385 w 4099560"/>
              <a:gd name="connsiteY138" fmla="*/ 2852738 h 4555807"/>
              <a:gd name="connsiteX139" fmla="*/ 1937385 w 4099560"/>
              <a:gd name="connsiteY139" fmla="*/ 2849880 h 4555807"/>
              <a:gd name="connsiteX140" fmla="*/ 1990725 w 4099560"/>
              <a:gd name="connsiteY140" fmla="*/ 2619375 h 4555807"/>
              <a:gd name="connsiteX141" fmla="*/ 2002155 w 4099560"/>
              <a:gd name="connsiteY141" fmla="*/ 2589847 h 4555807"/>
              <a:gd name="connsiteX142" fmla="*/ 2015490 w 4099560"/>
              <a:gd name="connsiteY142" fmla="*/ 2560320 h 4555807"/>
              <a:gd name="connsiteX143" fmla="*/ 2028825 w 4099560"/>
              <a:gd name="connsiteY143" fmla="*/ 2530793 h 4555807"/>
              <a:gd name="connsiteX144" fmla="*/ 2044065 w 4099560"/>
              <a:gd name="connsiteY144" fmla="*/ 2501265 h 4555807"/>
              <a:gd name="connsiteX145" fmla="*/ 2115503 w 4099560"/>
              <a:gd name="connsiteY145" fmla="*/ 2387918 h 4555807"/>
              <a:gd name="connsiteX146" fmla="*/ 2272665 w 4099560"/>
              <a:gd name="connsiteY146" fmla="*/ 2177415 h 4555807"/>
              <a:gd name="connsiteX147" fmla="*/ 2532698 w 4099560"/>
              <a:gd name="connsiteY147" fmla="*/ 1753553 h 4555807"/>
              <a:gd name="connsiteX148" fmla="*/ 2722245 w 4099560"/>
              <a:gd name="connsiteY148" fmla="*/ 1392555 h 4555807"/>
              <a:gd name="connsiteX149" fmla="*/ 2797493 w 4099560"/>
              <a:gd name="connsiteY149" fmla="*/ 1129665 h 4555807"/>
              <a:gd name="connsiteX150" fmla="*/ 2802255 w 4099560"/>
              <a:gd name="connsiteY150" fmla="*/ 1085850 h 4555807"/>
              <a:gd name="connsiteX151" fmla="*/ 2804160 w 4099560"/>
              <a:gd name="connsiteY151" fmla="*/ 1053465 h 4555807"/>
              <a:gd name="connsiteX152" fmla="*/ 2805113 w 4099560"/>
              <a:gd name="connsiteY152" fmla="*/ 1026795 h 4555807"/>
              <a:gd name="connsiteX153" fmla="*/ 2810828 w 4099560"/>
              <a:gd name="connsiteY153" fmla="*/ 1053465 h 4555807"/>
              <a:gd name="connsiteX154" fmla="*/ 2817495 w 4099560"/>
              <a:gd name="connsiteY154" fmla="*/ 1085850 h 4555807"/>
              <a:gd name="connsiteX155" fmla="*/ 2824163 w 4099560"/>
              <a:gd name="connsiteY155" fmla="*/ 1130618 h 4555807"/>
              <a:gd name="connsiteX156" fmla="*/ 2804160 w 4099560"/>
              <a:gd name="connsiteY156" fmla="*/ 1418273 h 4555807"/>
              <a:gd name="connsiteX157" fmla="*/ 2747963 w 4099560"/>
              <a:gd name="connsiteY157" fmla="*/ 1610678 h 4555807"/>
              <a:gd name="connsiteX158" fmla="*/ 2661285 w 4099560"/>
              <a:gd name="connsiteY158" fmla="*/ 1820228 h 4555807"/>
              <a:gd name="connsiteX159" fmla="*/ 2553653 w 4099560"/>
              <a:gd name="connsiteY159" fmla="*/ 2044065 h 4555807"/>
              <a:gd name="connsiteX160" fmla="*/ 2539365 w 4099560"/>
              <a:gd name="connsiteY160" fmla="*/ 2070735 h 4555807"/>
              <a:gd name="connsiteX161" fmla="*/ 2614613 w 4099560"/>
              <a:gd name="connsiteY161" fmla="*/ 2018347 h 4555807"/>
              <a:gd name="connsiteX162" fmla="*/ 2899410 w 4099560"/>
              <a:gd name="connsiteY162" fmla="*/ 1831658 h 4555807"/>
              <a:gd name="connsiteX163" fmla="*/ 3135630 w 4099560"/>
              <a:gd name="connsiteY163" fmla="*/ 1660208 h 4555807"/>
              <a:gd name="connsiteX164" fmla="*/ 3310890 w 4099560"/>
              <a:gd name="connsiteY164" fmla="*/ 1496378 h 4555807"/>
              <a:gd name="connsiteX165" fmla="*/ 3422333 w 4099560"/>
              <a:gd name="connsiteY165" fmla="*/ 1352550 h 4555807"/>
              <a:gd name="connsiteX166" fmla="*/ 3441383 w 4099560"/>
              <a:gd name="connsiteY166" fmla="*/ 1322070 h 4555807"/>
              <a:gd name="connsiteX167" fmla="*/ 3456623 w 4099560"/>
              <a:gd name="connsiteY167" fmla="*/ 1294448 h 4555807"/>
              <a:gd name="connsiteX168" fmla="*/ 3469958 w 4099560"/>
              <a:gd name="connsiteY168" fmla="*/ 1270635 h 4555807"/>
              <a:gd name="connsiteX169" fmla="*/ 3479483 w 4099560"/>
              <a:gd name="connsiteY169" fmla="*/ 1250633 h 4555807"/>
              <a:gd name="connsiteX170" fmla="*/ 3496628 w 4099560"/>
              <a:gd name="connsiteY170" fmla="*/ 1213485 h 4555807"/>
              <a:gd name="connsiteX171" fmla="*/ 3486150 w 4099560"/>
              <a:gd name="connsiteY171" fmla="*/ 1252537 h 4555807"/>
              <a:gd name="connsiteX172" fmla="*/ 3479483 w 4099560"/>
              <a:gd name="connsiteY172" fmla="*/ 1274445 h 4555807"/>
              <a:gd name="connsiteX173" fmla="*/ 3470910 w 4099560"/>
              <a:gd name="connsiteY173" fmla="*/ 1300162 h 4555807"/>
              <a:gd name="connsiteX174" fmla="*/ 3460433 w 4099560"/>
              <a:gd name="connsiteY174" fmla="*/ 1330643 h 4555807"/>
              <a:gd name="connsiteX175" fmla="*/ 3446145 w 4099560"/>
              <a:gd name="connsiteY175" fmla="*/ 1363980 h 4555807"/>
              <a:gd name="connsiteX176" fmla="*/ 3353753 w 4099560"/>
              <a:gd name="connsiteY176" fmla="*/ 1528762 h 4555807"/>
              <a:gd name="connsiteX177" fmla="*/ 3193733 w 4099560"/>
              <a:gd name="connsiteY177" fmla="*/ 1722120 h 4555807"/>
              <a:gd name="connsiteX178" fmla="*/ 2968943 w 4099560"/>
              <a:gd name="connsiteY178" fmla="*/ 1925003 h 4555807"/>
              <a:gd name="connsiteX179" fmla="*/ 2699385 w 4099560"/>
              <a:gd name="connsiteY179" fmla="*/ 2134553 h 4555807"/>
              <a:gd name="connsiteX180" fmla="*/ 2487930 w 4099560"/>
              <a:gd name="connsiteY180" fmla="*/ 2311718 h 4555807"/>
              <a:gd name="connsiteX181" fmla="*/ 2508885 w 4099560"/>
              <a:gd name="connsiteY181" fmla="*/ 2304097 h 4555807"/>
              <a:gd name="connsiteX182" fmla="*/ 2535555 w 4099560"/>
              <a:gd name="connsiteY182" fmla="*/ 2294572 h 4555807"/>
              <a:gd name="connsiteX183" fmla="*/ 2767965 w 4099560"/>
              <a:gd name="connsiteY183" fmla="*/ 2249805 h 4555807"/>
              <a:gd name="connsiteX184" fmla="*/ 2891790 w 4099560"/>
              <a:gd name="connsiteY184" fmla="*/ 2246947 h 4555807"/>
              <a:gd name="connsiteX185" fmla="*/ 3017520 w 4099560"/>
              <a:gd name="connsiteY185" fmla="*/ 2256472 h 4555807"/>
              <a:gd name="connsiteX186" fmla="*/ 3249930 w 4099560"/>
              <a:gd name="connsiteY186" fmla="*/ 2290763 h 4555807"/>
              <a:gd name="connsiteX187" fmla="*/ 3446145 w 4099560"/>
              <a:gd name="connsiteY187" fmla="*/ 2292668 h 4555807"/>
              <a:gd name="connsiteX188" fmla="*/ 3622358 w 4099560"/>
              <a:gd name="connsiteY188" fmla="*/ 2242185 h 4555807"/>
              <a:gd name="connsiteX189" fmla="*/ 3778568 w 4099560"/>
              <a:gd name="connsiteY189" fmla="*/ 2174558 h 4555807"/>
              <a:gd name="connsiteX190" fmla="*/ 4099560 w 4099560"/>
              <a:gd name="connsiteY190" fmla="*/ 2041208 h 4555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Lst>
            <a:rect l="l" t="t" r="r" b="b"/>
            <a:pathLst>
              <a:path w="4099560" h="4555807">
                <a:moveTo>
                  <a:pt x="4099560" y="2041208"/>
                </a:moveTo>
                <a:cubicBezTo>
                  <a:pt x="4099560" y="2041208"/>
                  <a:pt x="3996690" y="2125980"/>
                  <a:pt x="3823335" y="2250758"/>
                </a:cubicBezTo>
                <a:cubicBezTo>
                  <a:pt x="3779520" y="2282190"/>
                  <a:pt x="3731895" y="2316480"/>
                  <a:pt x="3675698" y="2349818"/>
                </a:cubicBezTo>
                <a:cubicBezTo>
                  <a:pt x="3619500" y="2383155"/>
                  <a:pt x="3554730" y="2415540"/>
                  <a:pt x="3478530" y="2436495"/>
                </a:cubicBezTo>
                <a:cubicBezTo>
                  <a:pt x="3440430" y="2446972"/>
                  <a:pt x="3399473" y="2453640"/>
                  <a:pt x="3358515" y="2456497"/>
                </a:cubicBezTo>
                <a:cubicBezTo>
                  <a:pt x="3317558" y="2459355"/>
                  <a:pt x="3276600" y="2459355"/>
                  <a:pt x="3235643" y="2456497"/>
                </a:cubicBezTo>
                <a:cubicBezTo>
                  <a:pt x="3154680" y="2450783"/>
                  <a:pt x="3075623" y="2437447"/>
                  <a:pt x="2998470" y="2428875"/>
                </a:cubicBezTo>
                <a:cubicBezTo>
                  <a:pt x="2846070" y="2410778"/>
                  <a:pt x="2700338" y="2410778"/>
                  <a:pt x="2573655" y="2436495"/>
                </a:cubicBezTo>
                <a:cubicBezTo>
                  <a:pt x="2566035" y="2437447"/>
                  <a:pt x="2557463" y="2439353"/>
                  <a:pt x="2549843" y="2441258"/>
                </a:cubicBezTo>
                <a:cubicBezTo>
                  <a:pt x="2542223" y="2443163"/>
                  <a:pt x="2534603" y="2445068"/>
                  <a:pt x="2526983" y="2446972"/>
                </a:cubicBezTo>
                <a:cubicBezTo>
                  <a:pt x="2511743" y="2451735"/>
                  <a:pt x="2496503" y="2454593"/>
                  <a:pt x="2482215" y="2460308"/>
                </a:cubicBezTo>
                <a:cubicBezTo>
                  <a:pt x="2452688" y="2468880"/>
                  <a:pt x="2426018" y="2480310"/>
                  <a:pt x="2399348" y="2491740"/>
                </a:cubicBezTo>
                <a:cubicBezTo>
                  <a:pt x="2346960" y="2516505"/>
                  <a:pt x="2301240" y="2545080"/>
                  <a:pt x="2262188" y="2575560"/>
                </a:cubicBezTo>
                <a:cubicBezTo>
                  <a:pt x="2262188" y="2575560"/>
                  <a:pt x="2262188" y="2575560"/>
                  <a:pt x="2262188" y="2575560"/>
                </a:cubicBezTo>
                <a:cubicBezTo>
                  <a:pt x="2241233" y="2607945"/>
                  <a:pt x="2221230" y="2642235"/>
                  <a:pt x="2203133" y="2677478"/>
                </a:cubicBezTo>
                <a:cubicBezTo>
                  <a:pt x="2189798" y="2704147"/>
                  <a:pt x="2177415" y="2730818"/>
                  <a:pt x="2165985" y="2758440"/>
                </a:cubicBezTo>
                <a:cubicBezTo>
                  <a:pt x="2165985" y="2765108"/>
                  <a:pt x="2164080" y="2772728"/>
                  <a:pt x="2161223" y="2778443"/>
                </a:cubicBezTo>
                <a:cubicBezTo>
                  <a:pt x="2159318" y="2783205"/>
                  <a:pt x="2156460" y="2787968"/>
                  <a:pt x="2152650" y="2791778"/>
                </a:cubicBezTo>
                <a:cubicBezTo>
                  <a:pt x="2122170" y="2871788"/>
                  <a:pt x="2100263" y="2953703"/>
                  <a:pt x="2085975" y="3034665"/>
                </a:cubicBezTo>
                <a:cubicBezTo>
                  <a:pt x="2065020" y="3155633"/>
                  <a:pt x="2060258" y="3275647"/>
                  <a:pt x="2066925" y="3390900"/>
                </a:cubicBezTo>
                <a:cubicBezTo>
                  <a:pt x="2073592" y="3505200"/>
                  <a:pt x="2091690" y="3614738"/>
                  <a:pt x="2114550" y="3715703"/>
                </a:cubicBezTo>
                <a:cubicBezTo>
                  <a:pt x="2137410" y="3816668"/>
                  <a:pt x="2165985" y="3910013"/>
                  <a:pt x="2195513" y="3994785"/>
                </a:cubicBezTo>
                <a:cubicBezTo>
                  <a:pt x="2214563" y="4050030"/>
                  <a:pt x="2233613" y="4102418"/>
                  <a:pt x="2249805" y="4150995"/>
                </a:cubicBezTo>
                <a:cubicBezTo>
                  <a:pt x="2250758" y="4152900"/>
                  <a:pt x="2251710" y="4154805"/>
                  <a:pt x="2252663" y="4157663"/>
                </a:cubicBezTo>
                <a:cubicBezTo>
                  <a:pt x="2306003" y="4290060"/>
                  <a:pt x="2356485" y="4422458"/>
                  <a:pt x="2406968" y="4555808"/>
                </a:cubicBezTo>
                <a:lnTo>
                  <a:pt x="1535430" y="4555808"/>
                </a:lnTo>
                <a:cubicBezTo>
                  <a:pt x="1559242" y="4465320"/>
                  <a:pt x="1582103" y="4374833"/>
                  <a:pt x="1602105" y="4283393"/>
                </a:cubicBezTo>
                <a:cubicBezTo>
                  <a:pt x="1614488" y="4229100"/>
                  <a:pt x="1624965" y="4173855"/>
                  <a:pt x="1634490" y="4118610"/>
                </a:cubicBezTo>
                <a:cubicBezTo>
                  <a:pt x="1637348" y="4104322"/>
                  <a:pt x="1639253" y="4090035"/>
                  <a:pt x="1641158" y="4074795"/>
                </a:cubicBezTo>
                <a:cubicBezTo>
                  <a:pt x="1642110" y="4067175"/>
                  <a:pt x="1643063" y="4060508"/>
                  <a:pt x="1644015" y="4052888"/>
                </a:cubicBezTo>
                <a:cubicBezTo>
                  <a:pt x="1644015" y="4050030"/>
                  <a:pt x="1644967" y="4047172"/>
                  <a:pt x="1644967" y="4043363"/>
                </a:cubicBezTo>
                <a:cubicBezTo>
                  <a:pt x="1648778" y="4016693"/>
                  <a:pt x="1651635" y="3989070"/>
                  <a:pt x="1654492" y="3962400"/>
                </a:cubicBezTo>
                <a:cubicBezTo>
                  <a:pt x="1664970" y="3850958"/>
                  <a:pt x="1666875" y="3738563"/>
                  <a:pt x="1656398" y="3627120"/>
                </a:cubicBezTo>
                <a:cubicBezTo>
                  <a:pt x="1655445" y="3613785"/>
                  <a:pt x="1653540" y="3600450"/>
                  <a:pt x="1651635" y="3587115"/>
                </a:cubicBezTo>
                <a:cubicBezTo>
                  <a:pt x="1651635" y="3586163"/>
                  <a:pt x="1650683" y="3582353"/>
                  <a:pt x="1650683" y="3580447"/>
                </a:cubicBezTo>
                <a:cubicBezTo>
                  <a:pt x="1650683" y="3579495"/>
                  <a:pt x="1650683" y="3578543"/>
                  <a:pt x="1650683" y="3578543"/>
                </a:cubicBezTo>
                <a:cubicBezTo>
                  <a:pt x="1649730" y="3572828"/>
                  <a:pt x="1648778" y="3566160"/>
                  <a:pt x="1647825" y="3560445"/>
                </a:cubicBezTo>
                <a:cubicBezTo>
                  <a:pt x="1644015" y="3532822"/>
                  <a:pt x="1639253" y="3505200"/>
                  <a:pt x="1633538" y="3478530"/>
                </a:cubicBezTo>
                <a:cubicBezTo>
                  <a:pt x="1623060" y="3425190"/>
                  <a:pt x="1610678" y="3371850"/>
                  <a:pt x="1598295" y="3318510"/>
                </a:cubicBezTo>
                <a:cubicBezTo>
                  <a:pt x="1586865" y="3271838"/>
                  <a:pt x="1575435" y="3226118"/>
                  <a:pt x="1564958" y="3179445"/>
                </a:cubicBezTo>
                <a:cubicBezTo>
                  <a:pt x="1546860" y="3149918"/>
                  <a:pt x="1526858" y="3121343"/>
                  <a:pt x="1504950" y="3092768"/>
                </a:cubicBezTo>
                <a:cubicBezTo>
                  <a:pt x="1482090" y="3063240"/>
                  <a:pt x="1457325" y="3034665"/>
                  <a:pt x="1431608" y="3006090"/>
                </a:cubicBezTo>
                <a:cubicBezTo>
                  <a:pt x="1373505" y="2974658"/>
                  <a:pt x="1309688" y="2941320"/>
                  <a:pt x="1241108" y="2906078"/>
                </a:cubicBezTo>
                <a:cubicBezTo>
                  <a:pt x="1140143" y="2854643"/>
                  <a:pt x="1028700" y="2803208"/>
                  <a:pt x="910590" y="2756535"/>
                </a:cubicBezTo>
                <a:cubicBezTo>
                  <a:pt x="851535" y="2733675"/>
                  <a:pt x="792480" y="2714625"/>
                  <a:pt x="735330" y="2698433"/>
                </a:cubicBezTo>
                <a:cubicBezTo>
                  <a:pt x="678180" y="2681288"/>
                  <a:pt x="621982" y="2669858"/>
                  <a:pt x="567690" y="2659380"/>
                </a:cubicBezTo>
                <a:cubicBezTo>
                  <a:pt x="554355" y="2656522"/>
                  <a:pt x="541020" y="2654618"/>
                  <a:pt x="527685" y="2652713"/>
                </a:cubicBezTo>
                <a:cubicBezTo>
                  <a:pt x="514350" y="2649855"/>
                  <a:pt x="501015" y="2648903"/>
                  <a:pt x="488632" y="2646997"/>
                </a:cubicBezTo>
                <a:cubicBezTo>
                  <a:pt x="462915" y="2643188"/>
                  <a:pt x="437198" y="2641283"/>
                  <a:pt x="413385" y="2639378"/>
                </a:cubicBezTo>
                <a:cubicBezTo>
                  <a:pt x="401003" y="2638425"/>
                  <a:pt x="389573" y="2638425"/>
                  <a:pt x="377190" y="2637472"/>
                </a:cubicBezTo>
                <a:cubicBezTo>
                  <a:pt x="365760" y="2637472"/>
                  <a:pt x="353378" y="2635568"/>
                  <a:pt x="341948" y="2635568"/>
                </a:cubicBezTo>
                <a:cubicBezTo>
                  <a:pt x="330518" y="2635568"/>
                  <a:pt x="319088" y="2635568"/>
                  <a:pt x="308610" y="2635568"/>
                </a:cubicBezTo>
                <a:cubicBezTo>
                  <a:pt x="302895" y="2635568"/>
                  <a:pt x="297180" y="2635568"/>
                  <a:pt x="292418" y="2635568"/>
                </a:cubicBezTo>
                <a:cubicBezTo>
                  <a:pt x="286703" y="2635568"/>
                  <a:pt x="281940" y="2635568"/>
                  <a:pt x="276225" y="2636520"/>
                </a:cubicBezTo>
                <a:cubicBezTo>
                  <a:pt x="255270" y="2637472"/>
                  <a:pt x="234315" y="2637472"/>
                  <a:pt x="216218" y="2640330"/>
                </a:cubicBezTo>
                <a:cubicBezTo>
                  <a:pt x="197168" y="2642235"/>
                  <a:pt x="179070" y="2643188"/>
                  <a:pt x="161925" y="2646045"/>
                </a:cubicBezTo>
                <a:cubicBezTo>
                  <a:pt x="144780" y="2648903"/>
                  <a:pt x="128588" y="2650808"/>
                  <a:pt x="114300" y="2652713"/>
                </a:cubicBezTo>
                <a:cubicBezTo>
                  <a:pt x="100013" y="2655570"/>
                  <a:pt x="86677" y="2658428"/>
                  <a:pt x="74295" y="2660333"/>
                </a:cubicBezTo>
                <a:cubicBezTo>
                  <a:pt x="68580" y="2661285"/>
                  <a:pt x="62865" y="2662238"/>
                  <a:pt x="57150" y="2663190"/>
                </a:cubicBezTo>
                <a:cubicBezTo>
                  <a:pt x="52388" y="2665095"/>
                  <a:pt x="46673" y="2666047"/>
                  <a:pt x="42863" y="2667000"/>
                </a:cubicBezTo>
                <a:cubicBezTo>
                  <a:pt x="33338" y="2668905"/>
                  <a:pt x="25718" y="2671763"/>
                  <a:pt x="19050" y="2672715"/>
                </a:cubicBezTo>
                <a:cubicBezTo>
                  <a:pt x="6668" y="2675572"/>
                  <a:pt x="0" y="2677478"/>
                  <a:pt x="0" y="2677478"/>
                </a:cubicBezTo>
                <a:cubicBezTo>
                  <a:pt x="0" y="2677478"/>
                  <a:pt x="5715" y="2673668"/>
                  <a:pt x="16193" y="2666047"/>
                </a:cubicBezTo>
                <a:cubicBezTo>
                  <a:pt x="21908" y="2662238"/>
                  <a:pt x="28575" y="2657475"/>
                  <a:pt x="36195" y="2652713"/>
                </a:cubicBezTo>
                <a:cubicBezTo>
                  <a:pt x="40005" y="2649855"/>
                  <a:pt x="44768" y="2646997"/>
                  <a:pt x="49530" y="2644140"/>
                </a:cubicBezTo>
                <a:cubicBezTo>
                  <a:pt x="54293" y="2641283"/>
                  <a:pt x="59055" y="2638425"/>
                  <a:pt x="64770" y="2635568"/>
                </a:cubicBezTo>
                <a:cubicBezTo>
                  <a:pt x="75248" y="2628900"/>
                  <a:pt x="87630" y="2622233"/>
                  <a:pt x="100965" y="2614613"/>
                </a:cubicBezTo>
                <a:cubicBezTo>
                  <a:pt x="114300" y="2607945"/>
                  <a:pt x="129540" y="2600325"/>
                  <a:pt x="146685" y="2592705"/>
                </a:cubicBezTo>
                <a:cubicBezTo>
                  <a:pt x="162877" y="2585085"/>
                  <a:pt x="180975" y="2578418"/>
                  <a:pt x="200977" y="2570797"/>
                </a:cubicBezTo>
                <a:cubicBezTo>
                  <a:pt x="220027" y="2563178"/>
                  <a:pt x="240983" y="2557463"/>
                  <a:pt x="262890" y="2550795"/>
                </a:cubicBezTo>
                <a:cubicBezTo>
                  <a:pt x="268605" y="2548890"/>
                  <a:pt x="274320" y="2547938"/>
                  <a:pt x="280035" y="2546033"/>
                </a:cubicBezTo>
                <a:cubicBezTo>
                  <a:pt x="285750" y="2545080"/>
                  <a:pt x="291465" y="2543175"/>
                  <a:pt x="297180" y="2542222"/>
                </a:cubicBezTo>
                <a:cubicBezTo>
                  <a:pt x="308610" y="2539365"/>
                  <a:pt x="320993" y="2536508"/>
                  <a:pt x="333375" y="2533650"/>
                </a:cubicBezTo>
                <a:cubicBezTo>
                  <a:pt x="345757" y="2530793"/>
                  <a:pt x="358140" y="2529840"/>
                  <a:pt x="371475" y="2526983"/>
                </a:cubicBezTo>
                <a:cubicBezTo>
                  <a:pt x="384810" y="2525078"/>
                  <a:pt x="397193" y="2522220"/>
                  <a:pt x="411480" y="2521268"/>
                </a:cubicBezTo>
                <a:cubicBezTo>
                  <a:pt x="438150" y="2518410"/>
                  <a:pt x="466725" y="2515553"/>
                  <a:pt x="495300" y="2514600"/>
                </a:cubicBezTo>
                <a:cubicBezTo>
                  <a:pt x="509588" y="2514600"/>
                  <a:pt x="524828" y="2513647"/>
                  <a:pt x="539115" y="2513647"/>
                </a:cubicBezTo>
                <a:cubicBezTo>
                  <a:pt x="554355" y="2513647"/>
                  <a:pt x="569595" y="2514600"/>
                  <a:pt x="584835" y="2514600"/>
                </a:cubicBezTo>
                <a:cubicBezTo>
                  <a:pt x="645795" y="2517458"/>
                  <a:pt x="710565" y="2524125"/>
                  <a:pt x="775335" y="2538413"/>
                </a:cubicBezTo>
                <a:cubicBezTo>
                  <a:pt x="805815" y="2545080"/>
                  <a:pt x="837248" y="2552700"/>
                  <a:pt x="867728" y="2561272"/>
                </a:cubicBezTo>
                <a:cubicBezTo>
                  <a:pt x="821055" y="2529840"/>
                  <a:pt x="774382" y="2498408"/>
                  <a:pt x="729615" y="2466975"/>
                </a:cubicBezTo>
                <a:cubicBezTo>
                  <a:pt x="642938" y="2406968"/>
                  <a:pt x="561023" y="2346008"/>
                  <a:pt x="488632" y="2285047"/>
                </a:cubicBezTo>
                <a:cubicBezTo>
                  <a:pt x="415290" y="2223135"/>
                  <a:pt x="351473" y="2161222"/>
                  <a:pt x="298133" y="2100263"/>
                </a:cubicBezTo>
                <a:cubicBezTo>
                  <a:pt x="243840" y="2039303"/>
                  <a:pt x="200977" y="1980247"/>
                  <a:pt x="165735" y="1926908"/>
                </a:cubicBezTo>
                <a:cubicBezTo>
                  <a:pt x="130493" y="1873568"/>
                  <a:pt x="102870" y="1825943"/>
                  <a:pt x="80963" y="1787843"/>
                </a:cubicBezTo>
                <a:cubicBezTo>
                  <a:pt x="59055" y="1748790"/>
                  <a:pt x="43815" y="1718310"/>
                  <a:pt x="33338" y="1697355"/>
                </a:cubicBezTo>
                <a:cubicBezTo>
                  <a:pt x="23813" y="1677353"/>
                  <a:pt x="18098" y="1666875"/>
                  <a:pt x="17145" y="1665923"/>
                </a:cubicBezTo>
                <a:cubicBezTo>
                  <a:pt x="18098" y="1666875"/>
                  <a:pt x="25718" y="1676400"/>
                  <a:pt x="39052" y="1693545"/>
                </a:cubicBezTo>
                <a:cubicBezTo>
                  <a:pt x="53340" y="1711643"/>
                  <a:pt x="75248" y="1739265"/>
                  <a:pt x="102870" y="1772603"/>
                </a:cubicBezTo>
                <a:cubicBezTo>
                  <a:pt x="131445" y="1806893"/>
                  <a:pt x="165735" y="1847850"/>
                  <a:pt x="207645" y="1893570"/>
                </a:cubicBezTo>
                <a:cubicBezTo>
                  <a:pt x="249555" y="1939290"/>
                  <a:pt x="299085" y="1989772"/>
                  <a:pt x="357188" y="2039303"/>
                </a:cubicBezTo>
                <a:cubicBezTo>
                  <a:pt x="415290" y="2089785"/>
                  <a:pt x="482918" y="2140268"/>
                  <a:pt x="558165" y="2191703"/>
                </a:cubicBezTo>
                <a:cubicBezTo>
                  <a:pt x="633413" y="2242185"/>
                  <a:pt x="717232" y="2292668"/>
                  <a:pt x="806768" y="2345055"/>
                </a:cubicBezTo>
                <a:cubicBezTo>
                  <a:pt x="896303" y="2397443"/>
                  <a:pt x="991553" y="2451735"/>
                  <a:pt x="1089660" y="2512695"/>
                </a:cubicBezTo>
                <a:cubicBezTo>
                  <a:pt x="1187768" y="2573655"/>
                  <a:pt x="1287780" y="2642235"/>
                  <a:pt x="1383983" y="2723197"/>
                </a:cubicBezTo>
                <a:cubicBezTo>
                  <a:pt x="1424940" y="2757488"/>
                  <a:pt x="1464945" y="2794635"/>
                  <a:pt x="1502093" y="2832735"/>
                </a:cubicBezTo>
                <a:cubicBezTo>
                  <a:pt x="1485900" y="2672715"/>
                  <a:pt x="1488758" y="2512695"/>
                  <a:pt x="1510665" y="2352675"/>
                </a:cubicBezTo>
                <a:cubicBezTo>
                  <a:pt x="1527810" y="2227897"/>
                  <a:pt x="1557338" y="2105025"/>
                  <a:pt x="1597342" y="1985962"/>
                </a:cubicBezTo>
                <a:cubicBezTo>
                  <a:pt x="1598295" y="1981200"/>
                  <a:pt x="1599248" y="1976437"/>
                  <a:pt x="1600200" y="1971675"/>
                </a:cubicBezTo>
                <a:cubicBezTo>
                  <a:pt x="1572578" y="1851660"/>
                  <a:pt x="1542098" y="1734503"/>
                  <a:pt x="1507808" y="1624965"/>
                </a:cubicBezTo>
                <a:cubicBezTo>
                  <a:pt x="1471613" y="1510665"/>
                  <a:pt x="1431608" y="1403033"/>
                  <a:pt x="1384935" y="1303020"/>
                </a:cubicBezTo>
                <a:cubicBezTo>
                  <a:pt x="1374458" y="1278255"/>
                  <a:pt x="1361123" y="1253490"/>
                  <a:pt x="1349693" y="1230630"/>
                </a:cubicBezTo>
                <a:cubicBezTo>
                  <a:pt x="1343978" y="1218248"/>
                  <a:pt x="1338263" y="1206818"/>
                  <a:pt x="1331595" y="1195387"/>
                </a:cubicBezTo>
                <a:cubicBezTo>
                  <a:pt x="1324928" y="1183958"/>
                  <a:pt x="1318260" y="1172528"/>
                  <a:pt x="1312545" y="1161098"/>
                </a:cubicBezTo>
                <a:cubicBezTo>
                  <a:pt x="1287780" y="1115378"/>
                  <a:pt x="1261110" y="1072515"/>
                  <a:pt x="1233488" y="1031557"/>
                </a:cubicBezTo>
                <a:cubicBezTo>
                  <a:pt x="1179195" y="949643"/>
                  <a:pt x="1122998" y="875348"/>
                  <a:pt x="1070610" y="808673"/>
                </a:cubicBezTo>
                <a:cubicBezTo>
                  <a:pt x="965835" y="675323"/>
                  <a:pt x="871538" y="573405"/>
                  <a:pt x="805815" y="504825"/>
                </a:cubicBezTo>
                <a:cubicBezTo>
                  <a:pt x="772478" y="470535"/>
                  <a:pt x="745807" y="443865"/>
                  <a:pt x="728663" y="425767"/>
                </a:cubicBezTo>
                <a:cubicBezTo>
                  <a:pt x="711518" y="408623"/>
                  <a:pt x="701993" y="400050"/>
                  <a:pt x="701040" y="398145"/>
                </a:cubicBezTo>
                <a:cubicBezTo>
                  <a:pt x="701993" y="399098"/>
                  <a:pt x="713423" y="406717"/>
                  <a:pt x="733425" y="420053"/>
                </a:cubicBezTo>
                <a:cubicBezTo>
                  <a:pt x="754380" y="434340"/>
                  <a:pt x="784860" y="455295"/>
                  <a:pt x="823913" y="484823"/>
                </a:cubicBezTo>
                <a:cubicBezTo>
                  <a:pt x="901065" y="541973"/>
                  <a:pt x="1011555" y="629603"/>
                  <a:pt x="1135380" y="751523"/>
                </a:cubicBezTo>
                <a:cubicBezTo>
                  <a:pt x="1197293" y="812482"/>
                  <a:pt x="1263015" y="882015"/>
                  <a:pt x="1328738" y="962025"/>
                </a:cubicBezTo>
                <a:cubicBezTo>
                  <a:pt x="1361123" y="1002030"/>
                  <a:pt x="1394460" y="1044893"/>
                  <a:pt x="1424940" y="1091565"/>
                </a:cubicBezTo>
                <a:cubicBezTo>
                  <a:pt x="1432560" y="1102995"/>
                  <a:pt x="1440180" y="1114425"/>
                  <a:pt x="1448753" y="1126808"/>
                </a:cubicBezTo>
                <a:cubicBezTo>
                  <a:pt x="1456373" y="1138237"/>
                  <a:pt x="1463993" y="1150620"/>
                  <a:pt x="1470660" y="1163003"/>
                </a:cubicBezTo>
                <a:cubicBezTo>
                  <a:pt x="1485900" y="1187768"/>
                  <a:pt x="1501140" y="1212533"/>
                  <a:pt x="1514475" y="1238250"/>
                </a:cubicBezTo>
                <a:cubicBezTo>
                  <a:pt x="1571625" y="1341120"/>
                  <a:pt x="1621155" y="1453515"/>
                  <a:pt x="1664017" y="1573530"/>
                </a:cubicBezTo>
                <a:cubicBezTo>
                  <a:pt x="1669733" y="1589723"/>
                  <a:pt x="1675448" y="1605915"/>
                  <a:pt x="1681163" y="1622108"/>
                </a:cubicBezTo>
                <a:cubicBezTo>
                  <a:pt x="1713548" y="1439228"/>
                  <a:pt x="1763078" y="1266825"/>
                  <a:pt x="1823085" y="1110615"/>
                </a:cubicBezTo>
                <a:cubicBezTo>
                  <a:pt x="1918335" y="861060"/>
                  <a:pt x="2036445" y="652462"/>
                  <a:pt x="2148840" y="487680"/>
                </a:cubicBezTo>
                <a:cubicBezTo>
                  <a:pt x="2205038" y="404813"/>
                  <a:pt x="2259330" y="333375"/>
                  <a:pt x="2309813" y="272415"/>
                </a:cubicBezTo>
                <a:cubicBezTo>
                  <a:pt x="2334578" y="241935"/>
                  <a:pt x="2359343" y="214313"/>
                  <a:pt x="2381250" y="188595"/>
                </a:cubicBezTo>
                <a:cubicBezTo>
                  <a:pt x="2404110" y="163830"/>
                  <a:pt x="2425065" y="140970"/>
                  <a:pt x="2443163" y="120967"/>
                </a:cubicBezTo>
                <a:cubicBezTo>
                  <a:pt x="2481263" y="80963"/>
                  <a:pt x="2511743" y="50482"/>
                  <a:pt x="2532698" y="30480"/>
                </a:cubicBezTo>
                <a:cubicBezTo>
                  <a:pt x="2552700" y="11430"/>
                  <a:pt x="2563178" y="952"/>
                  <a:pt x="2564130" y="0"/>
                </a:cubicBezTo>
                <a:cubicBezTo>
                  <a:pt x="2563178" y="1905"/>
                  <a:pt x="2554605" y="14288"/>
                  <a:pt x="2539365" y="36195"/>
                </a:cubicBezTo>
                <a:cubicBezTo>
                  <a:pt x="2522220" y="60007"/>
                  <a:pt x="2499360" y="95250"/>
                  <a:pt x="2468880" y="140970"/>
                </a:cubicBezTo>
                <a:cubicBezTo>
                  <a:pt x="2454593" y="163830"/>
                  <a:pt x="2437448" y="189548"/>
                  <a:pt x="2420303" y="218123"/>
                </a:cubicBezTo>
                <a:cubicBezTo>
                  <a:pt x="2403158" y="246698"/>
                  <a:pt x="2384108" y="277178"/>
                  <a:pt x="2365058" y="310515"/>
                </a:cubicBezTo>
                <a:cubicBezTo>
                  <a:pt x="2326005" y="377190"/>
                  <a:pt x="2284095" y="454342"/>
                  <a:pt x="2241233" y="541020"/>
                </a:cubicBezTo>
                <a:cubicBezTo>
                  <a:pt x="2155508" y="714375"/>
                  <a:pt x="2065973" y="925830"/>
                  <a:pt x="1995488" y="1167765"/>
                </a:cubicBezTo>
                <a:cubicBezTo>
                  <a:pt x="1924050" y="1409700"/>
                  <a:pt x="1872615" y="1682115"/>
                  <a:pt x="1858328" y="1968818"/>
                </a:cubicBezTo>
                <a:cubicBezTo>
                  <a:pt x="1855470" y="2040255"/>
                  <a:pt x="1853565" y="2111693"/>
                  <a:pt x="1855470" y="2182178"/>
                </a:cubicBezTo>
                <a:cubicBezTo>
                  <a:pt x="1855470" y="2217420"/>
                  <a:pt x="1858328" y="2251710"/>
                  <a:pt x="1859280" y="2286000"/>
                </a:cubicBezTo>
                <a:cubicBezTo>
                  <a:pt x="1860233" y="2303145"/>
                  <a:pt x="1862138" y="2320290"/>
                  <a:pt x="1863090" y="2337435"/>
                </a:cubicBezTo>
                <a:cubicBezTo>
                  <a:pt x="1864042" y="2354580"/>
                  <a:pt x="1864995" y="2371725"/>
                  <a:pt x="1866900" y="2387918"/>
                </a:cubicBezTo>
                <a:cubicBezTo>
                  <a:pt x="1878330" y="2522220"/>
                  <a:pt x="1901190" y="2653665"/>
                  <a:pt x="1924050" y="2780347"/>
                </a:cubicBezTo>
                <a:cubicBezTo>
                  <a:pt x="1928813" y="2805113"/>
                  <a:pt x="1932623" y="2828925"/>
                  <a:pt x="1937385" y="2852738"/>
                </a:cubicBezTo>
                <a:cubicBezTo>
                  <a:pt x="1937385" y="2851785"/>
                  <a:pt x="1937385" y="2850833"/>
                  <a:pt x="1937385" y="2849880"/>
                </a:cubicBezTo>
                <a:cubicBezTo>
                  <a:pt x="1945958" y="2777490"/>
                  <a:pt x="1962150" y="2699385"/>
                  <a:pt x="1990725" y="2619375"/>
                </a:cubicBezTo>
                <a:cubicBezTo>
                  <a:pt x="1994535" y="2609850"/>
                  <a:pt x="1998345" y="2599372"/>
                  <a:pt x="2002155" y="2589847"/>
                </a:cubicBezTo>
                <a:cubicBezTo>
                  <a:pt x="2005965" y="2579370"/>
                  <a:pt x="2010728" y="2569845"/>
                  <a:pt x="2015490" y="2560320"/>
                </a:cubicBezTo>
                <a:cubicBezTo>
                  <a:pt x="2020253" y="2550795"/>
                  <a:pt x="2025015" y="2540318"/>
                  <a:pt x="2028825" y="2530793"/>
                </a:cubicBezTo>
                <a:cubicBezTo>
                  <a:pt x="2033588" y="2521268"/>
                  <a:pt x="2039303" y="2510790"/>
                  <a:pt x="2044065" y="2501265"/>
                </a:cubicBezTo>
                <a:cubicBezTo>
                  <a:pt x="2065973" y="2462213"/>
                  <a:pt x="2089785" y="2425065"/>
                  <a:pt x="2115503" y="2387918"/>
                </a:cubicBezTo>
                <a:cubicBezTo>
                  <a:pt x="2166938" y="2315528"/>
                  <a:pt x="2223135" y="2246947"/>
                  <a:pt x="2272665" y="2177415"/>
                </a:cubicBezTo>
                <a:cubicBezTo>
                  <a:pt x="2372678" y="2038350"/>
                  <a:pt x="2452688" y="1887855"/>
                  <a:pt x="2532698" y="1753553"/>
                </a:cubicBezTo>
                <a:cubicBezTo>
                  <a:pt x="2611755" y="1619250"/>
                  <a:pt x="2678430" y="1499235"/>
                  <a:pt x="2722245" y="1392555"/>
                </a:cubicBezTo>
                <a:cubicBezTo>
                  <a:pt x="2767013" y="1286828"/>
                  <a:pt x="2788920" y="1194435"/>
                  <a:pt x="2797493" y="1129665"/>
                </a:cubicBezTo>
                <a:cubicBezTo>
                  <a:pt x="2799398" y="1113473"/>
                  <a:pt x="2800350" y="1098233"/>
                  <a:pt x="2802255" y="1085850"/>
                </a:cubicBezTo>
                <a:cubicBezTo>
                  <a:pt x="2803208" y="1073468"/>
                  <a:pt x="2803208" y="1062037"/>
                  <a:pt x="2804160" y="1053465"/>
                </a:cubicBezTo>
                <a:cubicBezTo>
                  <a:pt x="2805113" y="1036320"/>
                  <a:pt x="2805113" y="1026795"/>
                  <a:pt x="2805113" y="1026795"/>
                </a:cubicBezTo>
                <a:cubicBezTo>
                  <a:pt x="2805113" y="1026795"/>
                  <a:pt x="2807018" y="1035368"/>
                  <a:pt x="2810828" y="1053465"/>
                </a:cubicBezTo>
                <a:cubicBezTo>
                  <a:pt x="2812733" y="1062037"/>
                  <a:pt x="2815590" y="1072515"/>
                  <a:pt x="2817495" y="1085850"/>
                </a:cubicBezTo>
                <a:cubicBezTo>
                  <a:pt x="2819400" y="1099185"/>
                  <a:pt x="2821305" y="1113473"/>
                  <a:pt x="2824163" y="1130618"/>
                </a:cubicBezTo>
                <a:cubicBezTo>
                  <a:pt x="2831783" y="1198245"/>
                  <a:pt x="2829878" y="1298258"/>
                  <a:pt x="2804160" y="1418273"/>
                </a:cubicBezTo>
                <a:cubicBezTo>
                  <a:pt x="2790825" y="1478280"/>
                  <a:pt x="2772728" y="1543050"/>
                  <a:pt x="2747963" y="1610678"/>
                </a:cubicBezTo>
                <a:cubicBezTo>
                  <a:pt x="2724150" y="1678305"/>
                  <a:pt x="2694623" y="1747837"/>
                  <a:pt x="2661285" y="1820228"/>
                </a:cubicBezTo>
                <a:cubicBezTo>
                  <a:pt x="2628900" y="1891665"/>
                  <a:pt x="2593658" y="1966912"/>
                  <a:pt x="2553653" y="2044065"/>
                </a:cubicBezTo>
                <a:cubicBezTo>
                  <a:pt x="2548890" y="2052637"/>
                  <a:pt x="2544128" y="2062162"/>
                  <a:pt x="2539365" y="2070735"/>
                </a:cubicBezTo>
                <a:cubicBezTo>
                  <a:pt x="2565083" y="2052637"/>
                  <a:pt x="2589848" y="2035493"/>
                  <a:pt x="2614613" y="2018347"/>
                </a:cubicBezTo>
                <a:cubicBezTo>
                  <a:pt x="2715578" y="1950720"/>
                  <a:pt x="2811780" y="1889760"/>
                  <a:pt x="2899410" y="1831658"/>
                </a:cubicBezTo>
                <a:cubicBezTo>
                  <a:pt x="2987040" y="1773555"/>
                  <a:pt x="3066098" y="1716405"/>
                  <a:pt x="3135630" y="1660208"/>
                </a:cubicBezTo>
                <a:cubicBezTo>
                  <a:pt x="3205163" y="1604010"/>
                  <a:pt x="3263265" y="1548765"/>
                  <a:pt x="3310890" y="1496378"/>
                </a:cubicBezTo>
                <a:cubicBezTo>
                  <a:pt x="3358515" y="1443990"/>
                  <a:pt x="3394710" y="1394460"/>
                  <a:pt x="3422333" y="1352550"/>
                </a:cubicBezTo>
                <a:cubicBezTo>
                  <a:pt x="3429000" y="1342073"/>
                  <a:pt x="3435668" y="1331595"/>
                  <a:pt x="3441383" y="1322070"/>
                </a:cubicBezTo>
                <a:cubicBezTo>
                  <a:pt x="3447098" y="1312545"/>
                  <a:pt x="3451860" y="1303020"/>
                  <a:pt x="3456623" y="1294448"/>
                </a:cubicBezTo>
                <a:cubicBezTo>
                  <a:pt x="3461385" y="1285875"/>
                  <a:pt x="3465195" y="1278255"/>
                  <a:pt x="3469958" y="1270635"/>
                </a:cubicBezTo>
                <a:cubicBezTo>
                  <a:pt x="3473768" y="1263015"/>
                  <a:pt x="3476625" y="1256348"/>
                  <a:pt x="3479483" y="1250633"/>
                </a:cubicBezTo>
                <a:cubicBezTo>
                  <a:pt x="3489960" y="1227773"/>
                  <a:pt x="3496628" y="1215390"/>
                  <a:pt x="3496628" y="1213485"/>
                </a:cubicBezTo>
                <a:cubicBezTo>
                  <a:pt x="3496628" y="1215390"/>
                  <a:pt x="3492818" y="1228725"/>
                  <a:pt x="3486150" y="1252537"/>
                </a:cubicBezTo>
                <a:cubicBezTo>
                  <a:pt x="3484245" y="1259205"/>
                  <a:pt x="3482340" y="1266825"/>
                  <a:pt x="3479483" y="1274445"/>
                </a:cubicBezTo>
                <a:cubicBezTo>
                  <a:pt x="3476625" y="1282065"/>
                  <a:pt x="3473768" y="1290637"/>
                  <a:pt x="3470910" y="1300162"/>
                </a:cubicBezTo>
                <a:cubicBezTo>
                  <a:pt x="3467100" y="1309687"/>
                  <a:pt x="3464243" y="1319212"/>
                  <a:pt x="3460433" y="1330643"/>
                </a:cubicBezTo>
                <a:cubicBezTo>
                  <a:pt x="3455670" y="1341120"/>
                  <a:pt x="3450908" y="1352550"/>
                  <a:pt x="3446145" y="1363980"/>
                </a:cubicBezTo>
                <a:cubicBezTo>
                  <a:pt x="3425190" y="1410653"/>
                  <a:pt x="3395663" y="1467803"/>
                  <a:pt x="3353753" y="1528762"/>
                </a:cubicBezTo>
                <a:cubicBezTo>
                  <a:pt x="3311843" y="1589723"/>
                  <a:pt x="3259455" y="1655445"/>
                  <a:pt x="3193733" y="1722120"/>
                </a:cubicBezTo>
                <a:cubicBezTo>
                  <a:pt x="3128963" y="1788795"/>
                  <a:pt x="3053715" y="1856422"/>
                  <a:pt x="2968943" y="1925003"/>
                </a:cubicBezTo>
                <a:cubicBezTo>
                  <a:pt x="2885123" y="1992630"/>
                  <a:pt x="2792730" y="2061210"/>
                  <a:pt x="2699385" y="2134553"/>
                </a:cubicBezTo>
                <a:cubicBezTo>
                  <a:pt x="2628900" y="2189797"/>
                  <a:pt x="2556510" y="2247900"/>
                  <a:pt x="2487930" y="2311718"/>
                </a:cubicBezTo>
                <a:cubicBezTo>
                  <a:pt x="2494598" y="2308860"/>
                  <a:pt x="2501265" y="2306955"/>
                  <a:pt x="2508885" y="2304097"/>
                </a:cubicBezTo>
                <a:cubicBezTo>
                  <a:pt x="2517458" y="2300288"/>
                  <a:pt x="2526983" y="2297430"/>
                  <a:pt x="2535555" y="2294572"/>
                </a:cubicBezTo>
                <a:cubicBezTo>
                  <a:pt x="2607945" y="2270760"/>
                  <a:pt x="2687003" y="2255520"/>
                  <a:pt x="2767965" y="2249805"/>
                </a:cubicBezTo>
                <a:cubicBezTo>
                  <a:pt x="2808923" y="2246947"/>
                  <a:pt x="2849880" y="2245995"/>
                  <a:pt x="2891790" y="2246947"/>
                </a:cubicBezTo>
                <a:cubicBezTo>
                  <a:pt x="2933700" y="2247900"/>
                  <a:pt x="2975610" y="2250758"/>
                  <a:pt x="3017520" y="2256472"/>
                </a:cubicBezTo>
                <a:cubicBezTo>
                  <a:pt x="3102293" y="2266950"/>
                  <a:pt x="3178493" y="2282190"/>
                  <a:pt x="3249930" y="2290763"/>
                </a:cubicBezTo>
                <a:cubicBezTo>
                  <a:pt x="3321368" y="2300288"/>
                  <a:pt x="3385185" y="2302193"/>
                  <a:pt x="3446145" y="2292668"/>
                </a:cubicBezTo>
                <a:cubicBezTo>
                  <a:pt x="3507105" y="2283143"/>
                  <a:pt x="3567113" y="2264093"/>
                  <a:pt x="3622358" y="2242185"/>
                </a:cubicBezTo>
                <a:cubicBezTo>
                  <a:pt x="3678555" y="2220278"/>
                  <a:pt x="3729990" y="2196465"/>
                  <a:pt x="3778568" y="2174558"/>
                </a:cubicBezTo>
                <a:cubicBezTo>
                  <a:pt x="3974783" y="2088833"/>
                  <a:pt x="4099560" y="2041208"/>
                  <a:pt x="4099560" y="2041208"/>
                </a:cubicBezTo>
                <a:close/>
              </a:path>
            </a:pathLst>
          </a:custGeom>
          <a:solidFill>
            <a:srgbClr val="60391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4" name="Freeform: Shape 8">
            <a:extLst>
              <a:ext uri="{FF2B5EF4-FFF2-40B4-BE49-F238E27FC236}">
                <a16:creationId xmlns:a16="http://schemas.microsoft.com/office/drawing/2014/main" id="{FE2C15D5-9CED-45E3-9296-223EEB3A623B}"/>
              </a:ext>
            </a:extLst>
          </p:cNvPr>
          <p:cNvSpPr/>
          <p:nvPr/>
        </p:nvSpPr>
        <p:spPr>
          <a:xfrm>
            <a:off x="535242" y="3940899"/>
            <a:ext cx="1319530" cy="1324144"/>
          </a:xfrm>
          <a:custGeom>
            <a:avLst/>
            <a:gdLst>
              <a:gd name="connsiteX0" fmla="*/ 1089660 w 1089660"/>
              <a:gd name="connsiteY0" fmla="*/ 546735 h 1093469"/>
              <a:gd name="connsiteX1" fmla="*/ 544830 w 1089660"/>
              <a:gd name="connsiteY1" fmla="*/ 1093470 h 1093469"/>
              <a:gd name="connsiteX2" fmla="*/ 0 w 1089660"/>
              <a:gd name="connsiteY2" fmla="*/ 546735 h 1093469"/>
              <a:gd name="connsiteX3" fmla="*/ 544830 w 1089660"/>
              <a:gd name="connsiteY3" fmla="*/ 0 h 1093469"/>
              <a:gd name="connsiteX4" fmla="*/ 1089660 w 1089660"/>
              <a:gd name="connsiteY4" fmla="*/ 546735 h 10934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9660" h="1093469">
                <a:moveTo>
                  <a:pt x="1089660" y="546735"/>
                </a:moveTo>
                <a:cubicBezTo>
                  <a:pt x="1089660" y="848689"/>
                  <a:pt x="845731" y="1093470"/>
                  <a:pt x="544830" y="1093470"/>
                </a:cubicBezTo>
                <a:cubicBezTo>
                  <a:pt x="243928" y="1093470"/>
                  <a:pt x="0" y="848689"/>
                  <a:pt x="0" y="546735"/>
                </a:cubicBezTo>
                <a:cubicBezTo>
                  <a:pt x="0" y="244782"/>
                  <a:pt x="243928" y="0"/>
                  <a:pt x="544830" y="0"/>
                </a:cubicBezTo>
                <a:cubicBezTo>
                  <a:pt x="845731" y="0"/>
                  <a:pt x="1089660" y="244782"/>
                  <a:pt x="1089660" y="546735"/>
                </a:cubicBezTo>
                <a:close/>
              </a:path>
            </a:pathLst>
          </a:custGeom>
          <a:solidFill>
            <a:schemeClr val="accent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5" name="Oval 32">
            <a:extLst>
              <a:ext uri="{FF2B5EF4-FFF2-40B4-BE49-F238E27FC236}">
                <a16:creationId xmlns:a16="http://schemas.microsoft.com/office/drawing/2014/main" id="{B0993BB3-A2BC-419F-B43A-756F0ABF82D3}"/>
              </a:ext>
            </a:extLst>
          </p:cNvPr>
          <p:cNvSpPr>
            <a:spLocks noChangeArrowheads="1"/>
          </p:cNvSpPr>
          <p:nvPr/>
        </p:nvSpPr>
        <p:spPr bwMode="auto">
          <a:xfrm>
            <a:off x="6192188" y="2223027"/>
            <a:ext cx="211134" cy="211134"/>
          </a:xfrm>
          <a:prstGeom prst="ellipse">
            <a:avLst/>
          </a:pr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24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6" name="Oval 33">
            <a:extLst>
              <a:ext uri="{FF2B5EF4-FFF2-40B4-BE49-F238E27FC236}">
                <a16:creationId xmlns:a16="http://schemas.microsoft.com/office/drawing/2014/main" id="{28DA09A3-DAE7-4547-8576-BC1753AB88B5}"/>
              </a:ext>
            </a:extLst>
          </p:cNvPr>
          <p:cNvSpPr>
            <a:spLocks noChangeArrowheads="1"/>
          </p:cNvSpPr>
          <p:nvPr/>
        </p:nvSpPr>
        <p:spPr bwMode="auto">
          <a:xfrm>
            <a:off x="6192188" y="3461130"/>
            <a:ext cx="211134" cy="211134"/>
          </a:xfrm>
          <a:prstGeom prst="ellipse">
            <a:avLst/>
          </a:prstGeom>
          <a:solidFill>
            <a:schemeClr val="accent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24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7" name="Oval 34">
            <a:extLst>
              <a:ext uri="{FF2B5EF4-FFF2-40B4-BE49-F238E27FC236}">
                <a16:creationId xmlns:a16="http://schemas.microsoft.com/office/drawing/2014/main" id="{24F28003-649E-4B58-AB8E-563F98EEF4EA}"/>
              </a:ext>
            </a:extLst>
          </p:cNvPr>
          <p:cNvSpPr>
            <a:spLocks noChangeArrowheads="1"/>
          </p:cNvSpPr>
          <p:nvPr/>
        </p:nvSpPr>
        <p:spPr bwMode="auto">
          <a:xfrm>
            <a:off x="6192188" y="4686791"/>
            <a:ext cx="211134" cy="211134"/>
          </a:xfrm>
          <a:prstGeom prst="ellipse">
            <a:avLst/>
          </a:prstGeom>
          <a:solidFill>
            <a:schemeClr val="accent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24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8" name="TextBox 35">
            <a:extLst>
              <a:ext uri="{FF2B5EF4-FFF2-40B4-BE49-F238E27FC236}">
                <a16:creationId xmlns:a16="http://schemas.microsoft.com/office/drawing/2014/main" id="{E776AD51-5C62-413A-A810-269DC52EEA89}"/>
              </a:ext>
            </a:extLst>
          </p:cNvPr>
          <p:cNvSpPr txBox="1"/>
          <p:nvPr/>
        </p:nvSpPr>
        <p:spPr>
          <a:xfrm>
            <a:off x="6432351" y="2138414"/>
            <a:ext cx="1260281"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D" sz="1600" b="1" i="0" u="none" strike="noStrike" kern="1200" cap="none" spc="0" normalizeH="0" baseline="0" noProof="0">
                <a:ln>
                  <a:noFill/>
                </a:ln>
                <a:solidFill>
                  <a:srgbClr val="000000"/>
                </a:solidFill>
                <a:effectLst/>
                <a:uLnTx/>
                <a:uFillTx/>
                <a:latin typeface="等线 Light" panose="020F0302020204030204"/>
                <a:ea typeface="+mn-ea"/>
                <a:cs typeface="+mn-cs"/>
              </a:rPr>
              <a:t>Description</a:t>
            </a:r>
            <a:endParaRPr kumimoji="0" lang="id-ID" sz="1600" b="1" i="0" u="none" strike="noStrike" kern="1200" cap="none" spc="0" normalizeH="0" baseline="0" noProof="0" dirty="0">
              <a:ln>
                <a:noFill/>
              </a:ln>
              <a:solidFill>
                <a:srgbClr val="000000"/>
              </a:solidFill>
              <a:effectLst/>
              <a:uLnTx/>
              <a:uFillTx/>
              <a:latin typeface="等线 Light" panose="020F0302020204030204"/>
              <a:ea typeface="+mn-ea"/>
              <a:cs typeface="+mn-cs"/>
            </a:endParaRPr>
          </a:p>
        </p:txBody>
      </p:sp>
      <p:sp>
        <p:nvSpPr>
          <p:cNvPr id="9" name="TextBox 36">
            <a:extLst>
              <a:ext uri="{FF2B5EF4-FFF2-40B4-BE49-F238E27FC236}">
                <a16:creationId xmlns:a16="http://schemas.microsoft.com/office/drawing/2014/main" id="{E5007911-4B79-4693-B29E-9607B5FAF5E2}"/>
              </a:ext>
            </a:extLst>
          </p:cNvPr>
          <p:cNvSpPr txBox="1"/>
          <p:nvPr/>
        </p:nvSpPr>
        <p:spPr>
          <a:xfrm>
            <a:off x="6432353" y="2420203"/>
            <a:ext cx="2049070" cy="616836"/>
          </a:xfrm>
          <a:prstGeom prst="rect">
            <a:avLst/>
          </a:prstGeom>
          <a:noFill/>
        </p:spPr>
        <p:txBody>
          <a:bodyPr wrap="square" rtlCol="0">
            <a:spAutoFit/>
          </a:bodyPr>
          <a:lstStyle/>
          <a:p>
            <a:pPr marL="0" marR="0" lvl="0" indent="0" algn="just" defTabSz="914400" rtl="0" eaLnBrk="1" fontAlgn="auto" latinLnBrk="0" hangingPunct="1">
              <a:lnSpc>
                <a:spcPct val="15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等线" panose="020F0502020204030204"/>
                <a:ea typeface="+mn-ea"/>
                <a:cs typeface="+mn-cs"/>
              </a:rPr>
              <a:t>sweet mornings of spring which I enjoy with my whole </a:t>
            </a:r>
            <a:endParaRPr kumimoji="0" lang="en-US" sz="1200" b="1"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10" name="TextBox 37">
            <a:extLst>
              <a:ext uri="{FF2B5EF4-FFF2-40B4-BE49-F238E27FC236}">
                <a16:creationId xmlns:a16="http://schemas.microsoft.com/office/drawing/2014/main" id="{74B62981-BA34-486D-B183-E4A14426A870}"/>
              </a:ext>
            </a:extLst>
          </p:cNvPr>
          <p:cNvSpPr txBox="1"/>
          <p:nvPr/>
        </p:nvSpPr>
        <p:spPr>
          <a:xfrm>
            <a:off x="6432351" y="3383689"/>
            <a:ext cx="1279517"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D" sz="1600" b="1" i="0" u="none" strike="noStrike" kern="1200" cap="none" spc="0" normalizeH="0" baseline="0" noProof="0">
                <a:ln>
                  <a:noFill/>
                </a:ln>
                <a:solidFill>
                  <a:srgbClr val="000000"/>
                </a:solidFill>
                <a:effectLst/>
                <a:uLnTx/>
                <a:uFillTx/>
                <a:latin typeface="等线 Light" panose="020F0302020204030204"/>
                <a:ea typeface="+mn-ea"/>
                <a:cs typeface="+mn-cs"/>
              </a:rPr>
              <a:t>Description</a:t>
            </a:r>
            <a:endParaRPr kumimoji="0" lang="id-ID" sz="1600" b="1" i="0" u="none" strike="noStrike" kern="1200" cap="none" spc="0" normalizeH="0" baseline="0" noProof="0" dirty="0">
              <a:ln>
                <a:noFill/>
              </a:ln>
              <a:solidFill>
                <a:srgbClr val="000000"/>
              </a:solidFill>
              <a:effectLst/>
              <a:uLnTx/>
              <a:uFillTx/>
              <a:latin typeface="等线 Light" panose="020F0302020204030204"/>
              <a:ea typeface="+mn-ea"/>
              <a:cs typeface="+mn-cs"/>
            </a:endParaRPr>
          </a:p>
        </p:txBody>
      </p:sp>
      <p:sp>
        <p:nvSpPr>
          <p:cNvPr id="11" name="TextBox 38">
            <a:extLst>
              <a:ext uri="{FF2B5EF4-FFF2-40B4-BE49-F238E27FC236}">
                <a16:creationId xmlns:a16="http://schemas.microsoft.com/office/drawing/2014/main" id="{A612CCEF-3D05-499C-ACE7-9D7D4B63A039}"/>
              </a:ext>
            </a:extLst>
          </p:cNvPr>
          <p:cNvSpPr txBox="1"/>
          <p:nvPr/>
        </p:nvSpPr>
        <p:spPr>
          <a:xfrm>
            <a:off x="6432353" y="3665478"/>
            <a:ext cx="2049070" cy="616836"/>
          </a:xfrm>
          <a:prstGeom prst="rect">
            <a:avLst/>
          </a:prstGeom>
          <a:noFill/>
        </p:spPr>
        <p:txBody>
          <a:bodyPr wrap="square" rtlCol="0">
            <a:spAutoFit/>
          </a:bodyPr>
          <a:lstStyle/>
          <a:p>
            <a:pPr marL="0" marR="0" lvl="0" indent="0" algn="just" defTabSz="914400" rtl="0" eaLnBrk="1" fontAlgn="auto" latinLnBrk="0" hangingPunct="1">
              <a:lnSpc>
                <a:spcPct val="15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等线" panose="020F0502020204030204"/>
                <a:ea typeface="+mn-ea"/>
                <a:cs typeface="+mn-cs"/>
              </a:rPr>
              <a:t>sweet mornings of spring which I enjoy with my whole</a:t>
            </a:r>
            <a:endParaRPr kumimoji="0" lang="en-US" sz="1200" b="1"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12" name="TextBox 39">
            <a:extLst>
              <a:ext uri="{FF2B5EF4-FFF2-40B4-BE49-F238E27FC236}">
                <a16:creationId xmlns:a16="http://schemas.microsoft.com/office/drawing/2014/main" id="{A640CF72-71BC-4D66-B89E-502DC8A2A149}"/>
              </a:ext>
            </a:extLst>
          </p:cNvPr>
          <p:cNvSpPr txBox="1"/>
          <p:nvPr/>
        </p:nvSpPr>
        <p:spPr>
          <a:xfrm>
            <a:off x="6432352" y="4630260"/>
            <a:ext cx="1279517"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D" sz="1600" b="1" i="0" u="none" strike="noStrike" kern="1200" cap="none" spc="0" normalizeH="0" baseline="0" noProof="0">
                <a:ln>
                  <a:noFill/>
                </a:ln>
                <a:solidFill>
                  <a:srgbClr val="000000"/>
                </a:solidFill>
                <a:effectLst/>
                <a:uLnTx/>
                <a:uFillTx/>
                <a:latin typeface="等线 Light" panose="020F0302020204030204"/>
                <a:ea typeface="+mn-ea"/>
                <a:cs typeface="+mn-cs"/>
              </a:rPr>
              <a:t>Description</a:t>
            </a:r>
            <a:endParaRPr kumimoji="0" lang="id-ID" sz="1600" b="1" i="0" u="none" strike="noStrike" kern="1200" cap="none" spc="0" normalizeH="0" baseline="0" noProof="0" dirty="0">
              <a:ln>
                <a:noFill/>
              </a:ln>
              <a:solidFill>
                <a:srgbClr val="000000"/>
              </a:solidFill>
              <a:effectLst/>
              <a:uLnTx/>
              <a:uFillTx/>
              <a:latin typeface="等线 Light" panose="020F0302020204030204"/>
              <a:ea typeface="+mn-ea"/>
              <a:cs typeface="+mn-cs"/>
            </a:endParaRPr>
          </a:p>
        </p:txBody>
      </p:sp>
      <p:sp>
        <p:nvSpPr>
          <p:cNvPr id="13" name="TextBox 40">
            <a:extLst>
              <a:ext uri="{FF2B5EF4-FFF2-40B4-BE49-F238E27FC236}">
                <a16:creationId xmlns:a16="http://schemas.microsoft.com/office/drawing/2014/main" id="{A427DFDF-3DB1-4807-BA06-13A495AB7727}"/>
              </a:ext>
            </a:extLst>
          </p:cNvPr>
          <p:cNvSpPr txBox="1"/>
          <p:nvPr/>
        </p:nvSpPr>
        <p:spPr>
          <a:xfrm>
            <a:off x="6432353" y="4912049"/>
            <a:ext cx="2049070" cy="616836"/>
          </a:xfrm>
          <a:prstGeom prst="rect">
            <a:avLst/>
          </a:prstGeom>
          <a:noFill/>
        </p:spPr>
        <p:txBody>
          <a:bodyPr wrap="square" rtlCol="0">
            <a:spAutoFit/>
          </a:bodyPr>
          <a:lstStyle/>
          <a:p>
            <a:pPr marL="0" marR="0" lvl="0" indent="0" algn="just" defTabSz="914400" rtl="0" eaLnBrk="1" fontAlgn="auto" latinLnBrk="0" hangingPunct="1">
              <a:lnSpc>
                <a:spcPct val="15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等线" panose="020F0502020204030204"/>
                <a:ea typeface="+mn-ea"/>
                <a:cs typeface="+mn-cs"/>
              </a:rPr>
              <a:t>sweet mornings of spring which I enjoy with my whole</a:t>
            </a:r>
            <a:endParaRPr kumimoji="0" lang="en-US" sz="1200" b="1"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14" name="Oval 41">
            <a:extLst>
              <a:ext uri="{FF2B5EF4-FFF2-40B4-BE49-F238E27FC236}">
                <a16:creationId xmlns:a16="http://schemas.microsoft.com/office/drawing/2014/main" id="{30240478-4F16-4D73-BEF8-F88D4AA5031E}"/>
              </a:ext>
            </a:extLst>
          </p:cNvPr>
          <p:cNvSpPr>
            <a:spLocks noChangeArrowheads="1"/>
          </p:cNvSpPr>
          <p:nvPr/>
        </p:nvSpPr>
        <p:spPr bwMode="auto">
          <a:xfrm>
            <a:off x="9023153" y="2223027"/>
            <a:ext cx="211134" cy="211134"/>
          </a:xfrm>
          <a:prstGeom prst="ellipse">
            <a:avLst/>
          </a:prstGeom>
          <a:solidFill>
            <a:schemeClr val="accent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24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5" name="Oval 42">
            <a:extLst>
              <a:ext uri="{FF2B5EF4-FFF2-40B4-BE49-F238E27FC236}">
                <a16:creationId xmlns:a16="http://schemas.microsoft.com/office/drawing/2014/main" id="{B13EAE94-A3D4-428C-B9C0-5B1F4461A3C6}"/>
              </a:ext>
            </a:extLst>
          </p:cNvPr>
          <p:cNvSpPr>
            <a:spLocks noChangeArrowheads="1"/>
          </p:cNvSpPr>
          <p:nvPr/>
        </p:nvSpPr>
        <p:spPr bwMode="auto">
          <a:xfrm>
            <a:off x="9023153" y="3461130"/>
            <a:ext cx="211134" cy="211134"/>
          </a:xfrm>
          <a:prstGeom prst="ellipse">
            <a:avLst/>
          </a:prstGeom>
          <a:solidFill>
            <a:schemeClr val="accent5"/>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24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6" name="TextBox 43">
            <a:extLst>
              <a:ext uri="{FF2B5EF4-FFF2-40B4-BE49-F238E27FC236}">
                <a16:creationId xmlns:a16="http://schemas.microsoft.com/office/drawing/2014/main" id="{2651DCD2-0D16-40FA-90E8-C34770F97681}"/>
              </a:ext>
            </a:extLst>
          </p:cNvPr>
          <p:cNvSpPr txBox="1"/>
          <p:nvPr/>
        </p:nvSpPr>
        <p:spPr>
          <a:xfrm>
            <a:off x="9263316" y="2138414"/>
            <a:ext cx="1279517"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D" sz="1600" b="1" i="0" u="none" strike="noStrike" kern="1200" cap="none" spc="0" normalizeH="0" baseline="0" noProof="0">
                <a:ln>
                  <a:noFill/>
                </a:ln>
                <a:solidFill>
                  <a:srgbClr val="000000"/>
                </a:solidFill>
                <a:effectLst/>
                <a:uLnTx/>
                <a:uFillTx/>
                <a:latin typeface="等线 Light" panose="020F0302020204030204"/>
                <a:ea typeface="+mn-ea"/>
                <a:cs typeface="+mn-cs"/>
              </a:rPr>
              <a:t>Description</a:t>
            </a:r>
            <a:endParaRPr kumimoji="0" lang="id-ID" sz="1600" b="1" i="0" u="none" strike="noStrike" kern="1200" cap="none" spc="0" normalizeH="0" baseline="0" noProof="0" dirty="0">
              <a:ln>
                <a:noFill/>
              </a:ln>
              <a:solidFill>
                <a:srgbClr val="000000"/>
              </a:solidFill>
              <a:effectLst/>
              <a:uLnTx/>
              <a:uFillTx/>
              <a:latin typeface="等线 Light" panose="020F0302020204030204"/>
              <a:ea typeface="+mn-ea"/>
              <a:cs typeface="+mn-cs"/>
            </a:endParaRPr>
          </a:p>
        </p:txBody>
      </p:sp>
      <p:sp>
        <p:nvSpPr>
          <p:cNvPr id="17" name="TextBox 44">
            <a:extLst>
              <a:ext uri="{FF2B5EF4-FFF2-40B4-BE49-F238E27FC236}">
                <a16:creationId xmlns:a16="http://schemas.microsoft.com/office/drawing/2014/main" id="{BDF6CF50-2EEF-4141-A0E5-E63F491F7E74}"/>
              </a:ext>
            </a:extLst>
          </p:cNvPr>
          <p:cNvSpPr txBox="1"/>
          <p:nvPr/>
        </p:nvSpPr>
        <p:spPr>
          <a:xfrm>
            <a:off x="9263317" y="2420203"/>
            <a:ext cx="2039683" cy="616836"/>
          </a:xfrm>
          <a:prstGeom prst="rect">
            <a:avLst/>
          </a:prstGeom>
          <a:noFill/>
        </p:spPr>
        <p:txBody>
          <a:bodyPr wrap="square" rtlCol="0">
            <a:spAutoFit/>
          </a:bodyPr>
          <a:lstStyle/>
          <a:p>
            <a:pPr marL="0" marR="0" lvl="0" indent="0" algn="just" defTabSz="914400" rtl="0" eaLnBrk="1" fontAlgn="auto" latinLnBrk="0" hangingPunct="1">
              <a:lnSpc>
                <a:spcPct val="15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等线" panose="020F0502020204030204"/>
                <a:ea typeface="+mn-ea"/>
                <a:cs typeface="+mn-cs"/>
              </a:rPr>
              <a:t>sweet mornings of spring which I enjoy with my whole</a:t>
            </a:r>
            <a:endParaRPr kumimoji="0" lang="en-US" sz="1200" b="1"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18" name="TextBox 45">
            <a:extLst>
              <a:ext uri="{FF2B5EF4-FFF2-40B4-BE49-F238E27FC236}">
                <a16:creationId xmlns:a16="http://schemas.microsoft.com/office/drawing/2014/main" id="{FD711789-D41C-4FD4-8C63-B1DBEC53EEDC}"/>
              </a:ext>
            </a:extLst>
          </p:cNvPr>
          <p:cNvSpPr txBox="1"/>
          <p:nvPr/>
        </p:nvSpPr>
        <p:spPr>
          <a:xfrm>
            <a:off x="9263317" y="3383689"/>
            <a:ext cx="1279517"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D" sz="1600" b="1" i="0" u="none" strike="noStrike" kern="1200" cap="none" spc="0" normalizeH="0" baseline="0" noProof="0">
                <a:ln>
                  <a:noFill/>
                </a:ln>
                <a:solidFill>
                  <a:srgbClr val="000000"/>
                </a:solidFill>
                <a:effectLst/>
                <a:uLnTx/>
                <a:uFillTx/>
                <a:latin typeface="等线 Light" panose="020F0302020204030204"/>
                <a:ea typeface="+mn-ea"/>
                <a:cs typeface="+mn-cs"/>
              </a:rPr>
              <a:t>Description</a:t>
            </a:r>
            <a:endParaRPr kumimoji="0" lang="id-ID" sz="1600" b="1" i="0" u="none" strike="noStrike" kern="1200" cap="none" spc="0" normalizeH="0" baseline="0" noProof="0" dirty="0">
              <a:ln>
                <a:noFill/>
              </a:ln>
              <a:solidFill>
                <a:srgbClr val="000000"/>
              </a:solidFill>
              <a:effectLst/>
              <a:uLnTx/>
              <a:uFillTx/>
              <a:latin typeface="等线 Light" panose="020F0302020204030204"/>
              <a:ea typeface="+mn-ea"/>
              <a:cs typeface="+mn-cs"/>
            </a:endParaRPr>
          </a:p>
        </p:txBody>
      </p:sp>
      <p:sp>
        <p:nvSpPr>
          <p:cNvPr id="19" name="TextBox 46">
            <a:extLst>
              <a:ext uri="{FF2B5EF4-FFF2-40B4-BE49-F238E27FC236}">
                <a16:creationId xmlns:a16="http://schemas.microsoft.com/office/drawing/2014/main" id="{79840953-BB06-41BA-964C-9A0810E21198}"/>
              </a:ext>
            </a:extLst>
          </p:cNvPr>
          <p:cNvSpPr txBox="1"/>
          <p:nvPr/>
        </p:nvSpPr>
        <p:spPr>
          <a:xfrm>
            <a:off x="9263318" y="3665478"/>
            <a:ext cx="2049070" cy="616836"/>
          </a:xfrm>
          <a:prstGeom prst="rect">
            <a:avLst/>
          </a:prstGeom>
          <a:noFill/>
        </p:spPr>
        <p:txBody>
          <a:bodyPr wrap="square" rtlCol="0">
            <a:spAutoFit/>
          </a:bodyPr>
          <a:lstStyle/>
          <a:p>
            <a:pPr marL="0" marR="0" lvl="0" indent="0" algn="just" defTabSz="914400" rtl="0" eaLnBrk="1" fontAlgn="auto" latinLnBrk="0" hangingPunct="1">
              <a:lnSpc>
                <a:spcPct val="15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等线" panose="020F0502020204030204"/>
                <a:ea typeface="+mn-ea"/>
                <a:cs typeface="+mn-cs"/>
              </a:rPr>
              <a:t>sweet mornings of spring which I enjoy with my whole</a:t>
            </a:r>
            <a:endParaRPr kumimoji="0" lang="en-US" sz="1200" b="1"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20" name="Oval 47">
            <a:extLst>
              <a:ext uri="{FF2B5EF4-FFF2-40B4-BE49-F238E27FC236}">
                <a16:creationId xmlns:a16="http://schemas.microsoft.com/office/drawing/2014/main" id="{E81A93D1-26B2-4EDE-A484-F707EC04282D}"/>
              </a:ext>
            </a:extLst>
          </p:cNvPr>
          <p:cNvSpPr>
            <a:spLocks noChangeArrowheads="1"/>
          </p:cNvSpPr>
          <p:nvPr/>
        </p:nvSpPr>
        <p:spPr bwMode="auto">
          <a:xfrm>
            <a:off x="9023153" y="4707701"/>
            <a:ext cx="211134" cy="211134"/>
          </a:xfrm>
          <a:prstGeom prst="ellipse">
            <a:avLst/>
          </a:prstGeom>
          <a:solidFill>
            <a:schemeClr val="accent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24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1" name="TextBox 48">
            <a:extLst>
              <a:ext uri="{FF2B5EF4-FFF2-40B4-BE49-F238E27FC236}">
                <a16:creationId xmlns:a16="http://schemas.microsoft.com/office/drawing/2014/main" id="{13D7387F-F2FC-4F44-8800-F2BDCA993625}"/>
              </a:ext>
            </a:extLst>
          </p:cNvPr>
          <p:cNvSpPr txBox="1"/>
          <p:nvPr/>
        </p:nvSpPr>
        <p:spPr>
          <a:xfrm>
            <a:off x="9263317" y="4630260"/>
            <a:ext cx="1279517"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D" sz="1600" b="1" i="0" u="none" strike="noStrike" kern="1200" cap="none" spc="0" normalizeH="0" baseline="0" noProof="0">
                <a:ln>
                  <a:noFill/>
                </a:ln>
                <a:solidFill>
                  <a:srgbClr val="000000"/>
                </a:solidFill>
                <a:effectLst/>
                <a:uLnTx/>
                <a:uFillTx/>
                <a:latin typeface="等线 Light" panose="020F0302020204030204"/>
                <a:ea typeface="+mn-ea"/>
                <a:cs typeface="+mn-cs"/>
              </a:rPr>
              <a:t>Description</a:t>
            </a:r>
            <a:endParaRPr kumimoji="0" lang="id-ID" sz="1600" b="1" i="0" u="none" strike="noStrike" kern="1200" cap="none" spc="0" normalizeH="0" baseline="0" noProof="0" dirty="0">
              <a:ln>
                <a:noFill/>
              </a:ln>
              <a:solidFill>
                <a:srgbClr val="000000"/>
              </a:solidFill>
              <a:effectLst/>
              <a:uLnTx/>
              <a:uFillTx/>
              <a:latin typeface="等线 Light" panose="020F0302020204030204"/>
              <a:ea typeface="+mn-ea"/>
              <a:cs typeface="+mn-cs"/>
            </a:endParaRPr>
          </a:p>
        </p:txBody>
      </p:sp>
      <p:sp>
        <p:nvSpPr>
          <p:cNvPr id="22" name="TextBox 49">
            <a:extLst>
              <a:ext uri="{FF2B5EF4-FFF2-40B4-BE49-F238E27FC236}">
                <a16:creationId xmlns:a16="http://schemas.microsoft.com/office/drawing/2014/main" id="{6E8F8022-20C9-4477-BB47-BC3339D1F72F}"/>
              </a:ext>
            </a:extLst>
          </p:cNvPr>
          <p:cNvSpPr txBox="1"/>
          <p:nvPr/>
        </p:nvSpPr>
        <p:spPr>
          <a:xfrm>
            <a:off x="9263318" y="4912049"/>
            <a:ext cx="2049070" cy="616836"/>
          </a:xfrm>
          <a:prstGeom prst="rect">
            <a:avLst/>
          </a:prstGeom>
          <a:noFill/>
        </p:spPr>
        <p:txBody>
          <a:bodyPr wrap="square" rtlCol="0">
            <a:spAutoFit/>
          </a:bodyPr>
          <a:lstStyle/>
          <a:p>
            <a:pPr marL="0" marR="0" lvl="0" indent="0" algn="just" defTabSz="914400" rtl="0" eaLnBrk="1" fontAlgn="auto" latinLnBrk="0" hangingPunct="1">
              <a:lnSpc>
                <a:spcPct val="15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等线" panose="020F0502020204030204"/>
                <a:ea typeface="+mn-ea"/>
                <a:cs typeface="+mn-cs"/>
              </a:rPr>
              <a:t>sweet mornings of spring which I enjoy with my whole</a:t>
            </a:r>
            <a:endParaRPr kumimoji="0" lang="en-US" sz="1200" b="1"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23" name="Freeform: Shape 50">
            <a:extLst>
              <a:ext uri="{FF2B5EF4-FFF2-40B4-BE49-F238E27FC236}">
                <a16:creationId xmlns:a16="http://schemas.microsoft.com/office/drawing/2014/main" id="{D43577FA-D34C-4C23-B70C-FBDF305E33A2}"/>
              </a:ext>
            </a:extLst>
          </p:cNvPr>
          <p:cNvSpPr/>
          <p:nvPr/>
        </p:nvSpPr>
        <p:spPr>
          <a:xfrm>
            <a:off x="1163031" y="2393148"/>
            <a:ext cx="1319530" cy="1324144"/>
          </a:xfrm>
          <a:custGeom>
            <a:avLst/>
            <a:gdLst>
              <a:gd name="connsiteX0" fmla="*/ 1089660 w 1089660"/>
              <a:gd name="connsiteY0" fmla="*/ 546735 h 1093469"/>
              <a:gd name="connsiteX1" fmla="*/ 544830 w 1089660"/>
              <a:gd name="connsiteY1" fmla="*/ 1093470 h 1093469"/>
              <a:gd name="connsiteX2" fmla="*/ 0 w 1089660"/>
              <a:gd name="connsiteY2" fmla="*/ 546735 h 1093469"/>
              <a:gd name="connsiteX3" fmla="*/ 544830 w 1089660"/>
              <a:gd name="connsiteY3" fmla="*/ 0 h 1093469"/>
              <a:gd name="connsiteX4" fmla="*/ 1089660 w 1089660"/>
              <a:gd name="connsiteY4" fmla="*/ 546735 h 10934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9660" h="1093469">
                <a:moveTo>
                  <a:pt x="1089660" y="546735"/>
                </a:moveTo>
                <a:cubicBezTo>
                  <a:pt x="1089660" y="848689"/>
                  <a:pt x="845731" y="1093470"/>
                  <a:pt x="544830" y="1093470"/>
                </a:cubicBezTo>
                <a:cubicBezTo>
                  <a:pt x="243928" y="1093470"/>
                  <a:pt x="0" y="848689"/>
                  <a:pt x="0" y="546735"/>
                </a:cubicBezTo>
                <a:cubicBezTo>
                  <a:pt x="0" y="244782"/>
                  <a:pt x="243928" y="0"/>
                  <a:pt x="544830" y="0"/>
                </a:cubicBezTo>
                <a:cubicBezTo>
                  <a:pt x="845731" y="0"/>
                  <a:pt x="1089660" y="244782"/>
                  <a:pt x="1089660" y="546735"/>
                </a:cubicBezTo>
                <a:close/>
              </a:path>
            </a:pathLst>
          </a:custGeom>
          <a:solidFill>
            <a:schemeClr val="accent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4" name="Freeform: Shape 51">
            <a:extLst>
              <a:ext uri="{FF2B5EF4-FFF2-40B4-BE49-F238E27FC236}">
                <a16:creationId xmlns:a16="http://schemas.microsoft.com/office/drawing/2014/main" id="{397DA9E2-DB3F-4B8D-9C02-E09A2C27C489}"/>
              </a:ext>
            </a:extLst>
          </p:cNvPr>
          <p:cNvSpPr/>
          <p:nvPr/>
        </p:nvSpPr>
        <p:spPr>
          <a:xfrm>
            <a:off x="2912166" y="1614260"/>
            <a:ext cx="1319530" cy="1324144"/>
          </a:xfrm>
          <a:custGeom>
            <a:avLst/>
            <a:gdLst>
              <a:gd name="connsiteX0" fmla="*/ 1089660 w 1089660"/>
              <a:gd name="connsiteY0" fmla="*/ 546735 h 1093469"/>
              <a:gd name="connsiteX1" fmla="*/ 544830 w 1089660"/>
              <a:gd name="connsiteY1" fmla="*/ 1093470 h 1093469"/>
              <a:gd name="connsiteX2" fmla="*/ 0 w 1089660"/>
              <a:gd name="connsiteY2" fmla="*/ 546735 h 1093469"/>
              <a:gd name="connsiteX3" fmla="*/ 544830 w 1089660"/>
              <a:gd name="connsiteY3" fmla="*/ 0 h 1093469"/>
              <a:gd name="connsiteX4" fmla="*/ 1089660 w 1089660"/>
              <a:gd name="connsiteY4" fmla="*/ 546735 h 10934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9660" h="1093469">
                <a:moveTo>
                  <a:pt x="1089660" y="546735"/>
                </a:moveTo>
                <a:cubicBezTo>
                  <a:pt x="1089660" y="848689"/>
                  <a:pt x="845731" y="1093470"/>
                  <a:pt x="544830" y="1093470"/>
                </a:cubicBezTo>
                <a:cubicBezTo>
                  <a:pt x="243928" y="1093470"/>
                  <a:pt x="0" y="848689"/>
                  <a:pt x="0" y="546735"/>
                </a:cubicBezTo>
                <a:cubicBezTo>
                  <a:pt x="0" y="244782"/>
                  <a:pt x="243928" y="0"/>
                  <a:pt x="544830" y="0"/>
                </a:cubicBezTo>
                <a:cubicBezTo>
                  <a:pt x="845731" y="0"/>
                  <a:pt x="1089660" y="244782"/>
                  <a:pt x="1089660" y="546735"/>
                </a:cubicBezTo>
                <a:close/>
              </a:path>
            </a:pathLst>
          </a:custGeom>
          <a:solidFill>
            <a:schemeClr val="accent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5" name="Freeform: Shape 52">
            <a:extLst>
              <a:ext uri="{FF2B5EF4-FFF2-40B4-BE49-F238E27FC236}">
                <a16:creationId xmlns:a16="http://schemas.microsoft.com/office/drawing/2014/main" id="{4F6158B7-2B07-44FC-BAEB-4F0932898F9D}"/>
              </a:ext>
            </a:extLst>
          </p:cNvPr>
          <p:cNvSpPr/>
          <p:nvPr/>
        </p:nvSpPr>
        <p:spPr>
          <a:xfrm>
            <a:off x="2386150" y="3612863"/>
            <a:ext cx="1319530" cy="1324144"/>
          </a:xfrm>
          <a:custGeom>
            <a:avLst/>
            <a:gdLst>
              <a:gd name="connsiteX0" fmla="*/ 1089660 w 1089660"/>
              <a:gd name="connsiteY0" fmla="*/ 546735 h 1093469"/>
              <a:gd name="connsiteX1" fmla="*/ 544830 w 1089660"/>
              <a:gd name="connsiteY1" fmla="*/ 1093470 h 1093469"/>
              <a:gd name="connsiteX2" fmla="*/ 0 w 1089660"/>
              <a:gd name="connsiteY2" fmla="*/ 546735 h 1093469"/>
              <a:gd name="connsiteX3" fmla="*/ 544830 w 1089660"/>
              <a:gd name="connsiteY3" fmla="*/ 0 h 1093469"/>
              <a:gd name="connsiteX4" fmla="*/ 1089660 w 1089660"/>
              <a:gd name="connsiteY4" fmla="*/ 546735 h 10934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9660" h="1093469">
                <a:moveTo>
                  <a:pt x="1089660" y="546735"/>
                </a:moveTo>
                <a:cubicBezTo>
                  <a:pt x="1089660" y="848689"/>
                  <a:pt x="845731" y="1093470"/>
                  <a:pt x="544830" y="1093470"/>
                </a:cubicBezTo>
                <a:cubicBezTo>
                  <a:pt x="243928" y="1093470"/>
                  <a:pt x="0" y="848689"/>
                  <a:pt x="0" y="546735"/>
                </a:cubicBezTo>
                <a:cubicBezTo>
                  <a:pt x="0" y="244782"/>
                  <a:pt x="243928" y="0"/>
                  <a:pt x="544830" y="0"/>
                </a:cubicBezTo>
                <a:cubicBezTo>
                  <a:pt x="845731" y="0"/>
                  <a:pt x="1089660" y="244782"/>
                  <a:pt x="1089660" y="546735"/>
                </a:cubicBezTo>
                <a:close/>
              </a:path>
            </a:pathLst>
          </a:custGeom>
          <a:solidFill>
            <a:schemeClr val="accent4"/>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6" name="Freeform: Shape 53">
            <a:extLst>
              <a:ext uri="{FF2B5EF4-FFF2-40B4-BE49-F238E27FC236}">
                <a16:creationId xmlns:a16="http://schemas.microsoft.com/office/drawing/2014/main" id="{7373D622-13FF-4090-8E71-F07765E2A2FD}"/>
              </a:ext>
            </a:extLst>
          </p:cNvPr>
          <p:cNvSpPr/>
          <p:nvPr/>
        </p:nvSpPr>
        <p:spPr>
          <a:xfrm>
            <a:off x="3830672" y="2644801"/>
            <a:ext cx="1319530" cy="1324144"/>
          </a:xfrm>
          <a:custGeom>
            <a:avLst/>
            <a:gdLst>
              <a:gd name="connsiteX0" fmla="*/ 1089660 w 1089660"/>
              <a:gd name="connsiteY0" fmla="*/ 546735 h 1093469"/>
              <a:gd name="connsiteX1" fmla="*/ 544830 w 1089660"/>
              <a:gd name="connsiteY1" fmla="*/ 1093470 h 1093469"/>
              <a:gd name="connsiteX2" fmla="*/ 0 w 1089660"/>
              <a:gd name="connsiteY2" fmla="*/ 546735 h 1093469"/>
              <a:gd name="connsiteX3" fmla="*/ 544830 w 1089660"/>
              <a:gd name="connsiteY3" fmla="*/ 0 h 1093469"/>
              <a:gd name="connsiteX4" fmla="*/ 1089660 w 1089660"/>
              <a:gd name="connsiteY4" fmla="*/ 546735 h 10934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9660" h="1093469">
                <a:moveTo>
                  <a:pt x="1089660" y="546735"/>
                </a:moveTo>
                <a:cubicBezTo>
                  <a:pt x="1089660" y="848689"/>
                  <a:pt x="845731" y="1093470"/>
                  <a:pt x="544830" y="1093470"/>
                </a:cubicBezTo>
                <a:cubicBezTo>
                  <a:pt x="243928" y="1093470"/>
                  <a:pt x="0" y="848689"/>
                  <a:pt x="0" y="546735"/>
                </a:cubicBezTo>
                <a:cubicBezTo>
                  <a:pt x="0" y="244782"/>
                  <a:pt x="243928" y="0"/>
                  <a:pt x="544830" y="0"/>
                </a:cubicBezTo>
                <a:cubicBezTo>
                  <a:pt x="845731" y="0"/>
                  <a:pt x="1089660" y="244782"/>
                  <a:pt x="1089660" y="546735"/>
                </a:cubicBezTo>
                <a:close/>
              </a:path>
            </a:pathLst>
          </a:custGeom>
          <a:solidFill>
            <a:schemeClr val="accent5"/>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7" name="Freeform: Shape 54">
            <a:extLst>
              <a:ext uri="{FF2B5EF4-FFF2-40B4-BE49-F238E27FC236}">
                <a16:creationId xmlns:a16="http://schemas.microsoft.com/office/drawing/2014/main" id="{120C7632-C559-40AF-962A-857B56B4906F}"/>
              </a:ext>
            </a:extLst>
          </p:cNvPr>
          <p:cNvSpPr/>
          <p:nvPr/>
        </p:nvSpPr>
        <p:spPr>
          <a:xfrm>
            <a:off x="4237059" y="4120921"/>
            <a:ext cx="1319530" cy="1324144"/>
          </a:xfrm>
          <a:custGeom>
            <a:avLst/>
            <a:gdLst>
              <a:gd name="connsiteX0" fmla="*/ 1089660 w 1089660"/>
              <a:gd name="connsiteY0" fmla="*/ 546735 h 1093469"/>
              <a:gd name="connsiteX1" fmla="*/ 544830 w 1089660"/>
              <a:gd name="connsiteY1" fmla="*/ 1093470 h 1093469"/>
              <a:gd name="connsiteX2" fmla="*/ 0 w 1089660"/>
              <a:gd name="connsiteY2" fmla="*/ 546735 h 1093469"/>
              <a:gd name="connsiteX3" fmla="*/ 544830 w 1089660"/>
              <a:gd name="connsiteY3" fmla="*/ 0 h 1093469"/>
              <a:gd name="connsiteX4" fmla="*/ 1089660 w 1089660"/>
              <a:gd name="connsiteY4" fmla="*/ 546735 h 10934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9660" h="1093469">
                <a:moveTo>
                  <a:pt x="1089660" y="546735"/>
                </a:moveTo>
                <a:cubicBezTo>
                  <a:pt x="1089660" y="848689"/>
                  <a:pt x="845731" y="1093470"/>
                  <a:pt x="544830" y="1093470"/>
                </a:cubicBezTo>
                <a:cubicBezTo>
                  <a:pt x="243928" y="1093470"/>
                  <a:pt x="0" y="848689"/>
                  <a:pt x="0" y="546735"/>
                </a:cubicBezTo>
                <a:cubicBezTo>
                  <a:pt x="0" y="244782"/>
                  <a:pt x="243928" y="0"/>
                  <a:pt x="544830" y="0"/>
                </a:cubicBezTo>
                <a:cubicBezTo>
                  <a:pt x="845731" y="0"/>
                  <a:pt x="1089660" y="244782"/>
                  <a:pt x="1089660" y="546735"/>
                </a:cubicBezTo>
                <a:close/>
              </a:path>
            </a:pathLst>
          </a:custGeom>
          <a:solidFill>
            <a:schemeClr val="accent6"/>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8" name="Freeform: Shape 55">
            <a:extLst>
              <a:ext uri="{FF2B5EF4-FFF2-40B4-BE49-F238E27FC236}">
                <a16:creationId xmlns:a16="http://schemas.microsoft.com/office/drawing/2014/main" id="{18842412-96C1-4AE1-9504-28F0403E4B29}"/>
              </a:ext>
            </a:extLst>
          </p:cNvPr>
          <p:cNvSpPr/>
          <p:nvPr/>
        </p:nvSpPr>
        <p:spPr>
          <a:xfrm>
            <a:off x="1926645" y="4516399"/>
            <a:ext cx="531330" cy="533188"/>
          </a:xfrm>
          <a:custGeom>
            <a:avLst/>
            <a:gdLst>
              <a:gd name="connsiteX0" fmla="*/ 1089660 w 1089660"/>
              <a:gd name="connsiteY0" fmla="*/ 546735 h 1093469"/>
              <a:gd name="connsiteX1" fmla="*/ 544830 w 1089660"/>
              <a:gd name="connsiteY1" fmla="*/ 1093470 h 1093469"/>
              <a:gd name="connsiteX2" fmla="*/ 0 w 1089660"/>
              <a:gd name="connsiteY2" fmla="*/ 546735 h 1093469"/>
              <a:gd name="connsiteX3" fmla="*/ 544830 w 1089660"/>
              <a:gd name="connsiteY3" fmla="*/ 0 h 1093469"/>
              <a:gd name="connsiteX4" fmla="*/ 1089660 w 1089660"/>
              <a:gd name="connsiteY4" fmla="*/ 546735 h 10934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9660" h="1093469">
                <a:moveTo>
                  <a:pt x="1089660" y="546735"/>
                </a:moveTo>
                <a:cubicBezTo>
                  <a:pt x="1089660" y="848689"/>
                  <a:pt x="845731" y="1093470"/>
                  <a:pt x="544830" y="1093470"/>
                </a:cubicBezTo>
                <a:cubicBezTo>
                  <a:pt x="243928" y="1093470"/>
                  <a:pt x="0" y="848689"/>
                  <a:pt x="0" y="546735"/>
                </a:cubicBezTo>
                <a:cubicBezTo>
                  <a:pt x="0" y="244782"/>
                  <a:pt x="243928" y="0"/>
                  <a:pt x="544830" y="0"/>
                </a:cubicBezTo>
                <a:cubicBezTo>
                  <a:pt x="845731" y="0"/>
                  <a:pt x="1089660" y="244782"/>
                  <a:pt x="1089660" y="546735"/>
                </a:cubicBezTo>
                <a:close/>
              </a:path>
            </a:pathLst>
          </a:custGeom>
          <a:solidFill>
            <a:schemeClr val="accent2">
              <a:alpha val="84000"/>
            </a:scheme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9" name="Freeform: Shape 56">
            <a:extLst>
              <a:ext uri="{FF2B5EF4-FFF2-40B4-BE49-F238E27FC236}">
                <a16:creationId xmlns:a16="http://schemas.microsoft.com/office/drawing/2014/main" id="{DF8154F9-7D0E-45D4-A691-BC062F6F1F5D}"/>
              </a:ext>
            </a:extLst>
          </p:cNvPr>
          <p:cNvSpPr/>
          <p:nvPr/>
        </p:nvSpPr>
        <p:spPr>
          <a:xfrm>
            <a:off x="1775840" y="3794188"/>
            <a:ext cx="531330" cy="533188"/>
          </a:xfrm>
          <a:custGeom>
            <a:avLst/>
            <a:gdLst>
              <a:gd name="connsiteX0" fmla="*/ 1089660 w 1089660"/>
              <a:gd name="connsiteY0" fmla="*/ 546735 h 1093469"/>
              <a:gd name="connsiteX1" fmla="*/ 544830 w 1089660"/>
              <a:gd name="connsiteY1" fmla="*/ 1093470 h 1093469"/>
              <a:gd name="connsiteX2" fmla="*/ 0 w 1089660"/>
              <a:gd name="connsiteY2" fmla="*/ 546735 h 1093469"/>
              <a:gd name="connsiteX3" fmla="*/ 544830 w 1089660"/>
              <a:gd name="connsiteY3" fmla="*/ 0 h 1093469"/>
              <a:gd name="connsiteX4" fmla="*/ 1089660 w 1089660"/>
              <a:gd name="connsiteY4" fmla="*/ 546735 h 10934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9660" h="1093469">
                <a:moveTo>
                  <a:pt x="1089660" y="546735"/>
                </a:moveTo>
                <a:cubicBezTo>
                  <a:pt x="1089660" y="848689"/>
                  <a:pt x="845731" y="1093470"/>
                  <a:pt x="544830" y="1093470"/>
                </a:cubicBezTo>
                <a:cubicBezTo>
                  <a:pt x="243928" y="1093470"/>
                  <a:pt x="0" y="848689"/>
                  <a:pt x="0" y="546735"/>
                </a:cubicBezTo>
                <a:cubicBezTo>
                  <a:pt x="0" y="244782"/>
                  <a:pt x="243928" y="0"/>
                  <a:pt x="544830" y="0"/>
                </a:cubicBezTo>
                <a:cubicBezTo>
                  <a:pt x="845731" y="0"/>
                  <a:pt x="1089660" y="244782"/>
                  <a:pt x="1089660" y="546735"/>
                </a:cubicBezTo>
                <a:close/>
              </a:path>
            </a:pathLst>
          </a:custGeom>
          <a:solidFill>
            <a:schemeClr val="accent1">
              <a:alpha val="84000"/>
            </a:scheme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0" name="Freeform: Shape 57">
            <a:extLst>
              <a:ext uri="{FF2B5EF4-FFF2-40B4-BE49-F238E27FC236}">
                <a16:creationId xmlns:a16="http://schemas.microsoft.com/office/drawing/2014/main" id="{8BD07F32-48E6-46C3-A6B5-4C31BCFBB0BD}"/>
              </a:ext>
            </a:extLst>
          </p:cNvPr>
          <p:cNvSpPr/>
          <p:nvPr/>
        </p:nvSpPr>
        <p:spPr>
          <a:xfrm>
            <a:off x="2553551" y="2938404"/>
            <a:ext cx="531330" cy="533188"/>
          </a:xfrm>
          <a:custGeom>
            <a:avLst/>
            <a:gdLst>
              <a:gd name="connsiteX0" fmla="*/ 1089660 w 1089660"/>
              <a:gd name="connsiteY0" fmla="*/ 546735 h 1093469"/>
              <a:gd name="connsiteX1" fmla="*/ 544830 w 1089660"/>
              <a:gd name="connsiteY1" fmla="*/ 1093470 h 1093469"/>
              <a:gd name="connsiteX2" fmla="*/ 0 w 1089660"/>
              <a:gd name="connsiteY2" fmla="*/ 546735 h 1093469"/>
              <a:gd name="connsiteX3" fmla="*/ 544830 w 1089660"/>
              <a:gd name="connsiteY3" fmla="*/ 0 h 1093469"/>
              <a:gd name="connsiteX4" fmla="*/ 1089660 w 1089660"/>
              <a:gd name="connsiteY4" fmla="*/ 546735 h 10934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9660" h="1093469">
                <a:moveTo>
                  <a:pt x="1089660" y="546735"/>
                </a:moveTo>
                <a:cubicBezTo>
                  <a:pt x="1089660" y="848689"/>
                  <a:pt x="845731" y="1093470"/>
                  <a:pt x="544830" y="1093470"/>
                </a:cubicBezTo>
                <a:cubicBezTo>
                  <a:pt x="243928" y="1093470"/>
                  <a:pt x="0" y="848689"/>
                  <a:pt x="0" y="546735"/>
                </a:cubicBezTo>
                <a:cubicBezTo>
                  <a:pt x="0" y="244782"/>
                  <a:pt x="243928" y="0"/>
                  <a:pt x="544830" y="0"/>
                </a:cubicBezTo>
                <a:cubicBezTo>
                  <a:pt x="845731" y="0"/>
                  <a:pt x="1089660" y="244782"/>
                  <a:pt x="1089660" y="546735"/>
                </a:cubicBezTo>
                <a:close/>
              </a:path>
            </a:pathLst>
          </a:custGeom>
          <a:solidFill>
            <a:schemeClr val="accent3">
              <a:alpha val="84000"/>
            </a:scheme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1" name="Freeform: Shape 58">
            <a:extLst>
              <a:ext uri="{FF2B5EF4-FFF2-40B4-BE49-F238E27FC236}">
                <a16:creationId xmlns:a16="http://schemas.microsoft.com/office/drawing/2014/main" id="{59EEE8E3-8F34-4628-B5BB-A5128A50A264}"/>
              </a:ext>
            </a:extLst>
          </p:cNvPr>
          <p:cNvSpPr/>
          <p:nvPr/>
        </p:nvSpPr>
        <p:spPr>
          <a:xfrm>
            <a:off x="3190741" y="3073631"/>
            <a:ext cx="531330" cy="533188"/>
          </a:xfrm>
          <a:custGeom>
            <a:avLst/>
            <a:gdLst>
              <a:gd name="connsiteX0" fmla="*/ 1089660 w 1089660"/>
              <a:gd name="connsiteY0" fmla="*/ 546735 h 1093469"/>
              <a:gd name="connsiteX1" fmla="*/ 544830 w 1089660"/>
              <a:gd name="connsiteY1" fmla="*/ 1093470 h 1093469"/>
              <a:gd name="connsiteX2" fmla="*/ 0 w 1089660"/>
              <a:gd name="connsiteY2" fmla="*/ 546735 h 1093469"/>
              <a:gd name="connsiteX3" fmla="*/ 544830 w 1089660"/>
              <a:gd name="connsiteY3" fmla="*/ 0 h 1093469"/>
              <a:gd name="connsiteX4" fmla="*/ 1089660 w 1089660"/>
              <a:gd name="connsiteY4" fmla="*/ 546735 h 10934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9660" h="1093469">
                <a:moveTo>
                  <a:pt x="1089660" y="546735"/>
                </a:moveTo>
                <a:cubicBezTo>
                  <a:pt x="1089660" y="848689"/>
                  <a:pt x="845731" y="1093470"/>
                  <a:pt x="544830" y="1093470"/>
                </a:cubicBezTo>
                <a:cubicBezTo>
                  <a:pt x="243928" y="1093470"/>
                  <a:pt x="0" y="848689"/>
                  <a:pt x="0" y="546735"/>
                </a:cubicBezTo>
                <a:cubicBezTo>
                  <a:pt x="0" y="244782"/>
                  <a:pt x="243928" y="0"/>
                  <a:pt x="544830" y="0"/>
                </a:cubicBezTo>
                <a:cubicBezTo>
                  <a:pt x="845731" y="0"/>
                  <a:pt x="1089660" y="244782"/>
                  <a:pt x="1089660" y="546735"/>
                </a:cubicBezTo>
                <a:close/>
              </a:path>
            </a:pathLst>
          </a:custGeom>
          <a:solidFill>
            <a:schemeClr val="accent6">
              <a:alpha val="84000"/>
            </a:scheme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2" name="Freeform: Shape 59">
            <a:extLst>
              <a:ext uri="{FF2B5EF4-FFF2-40B4-BE49-F238E27FC236}">
                <a16:creationId xmlns:a16="http://schemas.microsoft.com/office/drawing/2014/main" id="{5556EDC4-4716-4AD9-ADC8-5864356B4077}"/>
              </a:ext>
            </a:extLst>
          </p:cNvPr>
          <p:cNvSpPr/>
          <p:nvPr/>
        </p:nvSpPr>
        <p:spPr>
          <a:xfrm>
            <a:off x="3745170" y="3890076"/>
            <a:ext cx="531330" cy="533188"/>
          </a:xfrm>
          <a:custGeom>
            <a:avLst/>
            <a:gdLst>
              <a:gd name="connsiteX0" fmla="*/ 1089660 w 1089660"/>
              <a:gd name="connsiteY0" fmla="*/ 546735 h 1093469"/>
              <a:gd name="connsiteX1" fmla="*/ 544830 w 1089660"/>
              <a:gd name="connsiteY1" fmla="*/ 1093470 h 1093469"/>
              <a:gd name="connsiteX2" fmla="*/ 0 w 1089660"/>
              <a:gd name="connsiteY2" fmla="*/ 546735 h 1093469"/>
              <a:gd name="connsiteX3" fmla="*/ 544830 w 1089660"/>
              <a:gd name="connsiteY3" fmla="*/ 0 h 1093469"/>
              <a:gd name="connsiteX4" fmla="*/ 1089660 w 1089660"/>
              <a:gd name="connsiteY4" fmla="*/ 546735 h 10934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9660" h="1093469">
                <a:moveTo>
                  <a:pt x="1089660" y="546735"/>
                </a:moveTo>
                <a:cubicBezTo>
                  <a:pt x="1089660" y="848689"/>
                  <a:pt x="845731" y="1093470"/>
                  <a:pt x="544830" y="1093470"/>
                </a:cubicBezTo>
                <a:cubicBezTo>
                  <a:pt x="243928" y="1093470"/>
                  <a:pt x="0" y="848689"/>
                  <a:pt x="0" y="546735"/>
                </a:cubicBezTo>
                <a:cubicBezTo>
                  <a:pt x="0" y="244782"/>
                  <a:pt x="243928" y="0"/>
                  <a:pt x="544830" y="0"/>
                </a:cubicBezTo>
                <a:cubicBezTo>
                  <a:pt x="845731" y="0"/>
                  <a:pt x="1089660" y="244782"/>
                  <a:pt x="1089660" y="546735"/>
                </a:cubicBezTo>
                <a:close/>
              </a:path>
            </a:pathLst>
          </a:custGeom>
          <a:solidFill>
            <a:schemeClr val="accent4">
              <a:alpha val="84000"/>
            </a:scheme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3" name="Freeform: Shape 60">
            <a:extLst>
              <a:ext uri="{FF2B5EF4-FFF2-40B4-BE49-F238E27FC236}">
                <a16:creationId xmlns:a16="http://schemas.microsoft.com/office/drawing/2014/main" id="{A4381604-B433-4FDB-ABE8-C6C05F26F2A3}"/>
              </a:ext>
            </a:extLst>
          </p:cNvPr>
          <p:cNvSpPr/>
          <p:nvPr/>
        </p:nvSpPr>
        <p:spPr>
          <a:xfrm>
            <a:off x="3613310" y="4707514"/>
            <a:ext cx="531330" cy="533188"/>
          </a:xfrm>
          <a:custGeom>
            <a:avLst/>
            <a:gdLst>
              <a:gd name="connsiteX0" fmla="*/ 1089660 w 1089660"/>
              <a:gd name="connsiteY0" fmla="*/ 546735 h 1093469"/>
              <a:gd name="connsiteX1" fmla="*/ 544830 w 1089660"/>
              <a:gd name="connsiteY1" fmla="*/ 1093470 h 1093469"/>
              <a:gd name="connsiteX2" fmla="*/ 0 w 1089660"/>
              <a:gd name="connsiteY2" fmla="*/ 546735 h 1093469"/>
              <a:gd name="connsiteX3" fmla="*/ 544830 w 1089660"/>
              <a:gd name="connsiteY3" fmla="*/ 0 h 1093469"/>
              <a:gd name="connsiteX4" fmla="*/ 1089660 w 1089660"/>
              <a:gd name="connsiteY4" fmla="*/ 546735 h 10934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9660" h="1093469">
                <a:moveTo>
                  <a:pt x="1089660" y="546735"/>
                </a:moveTo>
                <a:cubicBezTo>
                  <a:pt x="1089660" y="848689"/>
                  <a:pt x="845731" y="1093470"/>
                  <a:pt x="544830" y="1093470"/>
                </a:cubicBezTo>
                <a:cubicBezTo>
                  <a:pt x="243928" y="1093470"/>
                  <a:pt x="0" y="848689"/>
                  <a:pt x="0" y="546735"/>
                </a:cubicBezTo>
                <a:cubicBezTo>
                  <a:pt x="0" y="244782"/>
                  <a:pt x="243928" y="0"/>
                  <a:pt x="544830" y="0"/>
                </a:cubicBezTo>
                <a:cubicBezTo>
                  <a:pt x="845731" y="0"/>
                  <a:pt x="1089660" y="244782"/>
                  <a:pt x="1089660" y="546735"/>
                </a:cubicBezTo>
                <a:close/>
              </a:path>
            </a:pathLst>
          </a:custGeom>
          <a:solidFill>
            <a:schemeClr val="accent1">
              <a:alpha val="84000"/>
            </a:scheme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4" name="Freeform: Shape 61">
            <a:extLst>
              <a:ext uri="{FF2B5EF4-FFF2-40B4-BE49-F238E27FC236}">
                <a16:creationId xmlns:a16="http://schemas.microsoft.com/office/drawing/2014/main" id="{E2F92705-53B0-48C3-A750-39444BC5BB49}"/>
              </a:ext>
            </a:extLst>
          </p:cNvPr>
          <p:cNvSpPr/>
          <p:nvPr/>
        </p:nvSpPr>
        <p:spPr>
          <a:xfrm>
            <a:off x="698145" y="3330815"/>
            <a:ext cx="531330" cy="533188"/>
          </a:xfrm>
          <a:custGeom>
            <a:avLst/>
            <a:gdLst>
              <a:gd name="connsiteX0" fmla="*/ 1089660 w 1089660"/>
              <a:gd name="connsiteY0" fmla="*/ 546735 h 1093469"/>
              <a:gd name="connsiteX1" fmla="*/ 544830 w 1089660"/>
              <a:gd name="connsiteY1" fmla="*/ 1093470 h 1093469"/>
              <a:gd name="connsiteX2" fmla="*/ 0 w 1089660"/>
              <a:gd name="connsiteY2" fmla="*/ 546735 h 1093469"/>
              <a:gd name="connsiteX3" fmla="*/ 544830 w 1089660"/>
              <a:gd name="connsiteY3" fmla="*/ 0 h 1093469"/>
              <a:gd name="connsiteX4" fmla="*/ 1089660 w 1089660"/>
              <a:gd name="connsiteY4" fmla="*/ 546735 h 10934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9660" h="1093469">
                <a:moveTo>
                  <a:pt x="1089660" y="546735"/>
                </a:moveTo>
                <a:cubicBezTo>
                  <a:pt x="1089660" y="848689"/>
                  <a:pt x="845731" y="1093470"/>
                  <a:pt x="544830" y="1093470"/>
                </a:cubicBezTo>
                <a:cubicBezTo>
                  <a:pt x="243928" y="1093470"/>
                  <a:pt x="0" y="848689"/>
                  <a:pt x="0" y="546735"/>
                </a:cubicBezTo>
                <a:cubicBezTo>
                  <a:pt x="0" y="244782"/>
                  <a:pt x="243928" y="0"/>
                  <a:pt x="544830" y="0"/>
                </a:cubicBezTo>
                <a:cubicBezTo>
                  <a:pt x="845731" y="0"/>
                  <a:pt x="1089660" y="244782"/>
                  <a:pt x="1089660" y="546735"/>
                </a:cubicBezTo>
                <a:close/>
              </a:path>
            </a:pathLst>
          </a:custGeom>
          <a:solidFill>
            <a:schemeClr val="accent2">
              <a:alpha val="84000"/>
            </a:scheme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5" name="Freeform: Shape 62">
            <a:extLst>
              <a:ext uri="{FF2B5EF4-FFF2-40B4-BE49-F238E27FC236}">
                <a16:creationId xmlns:a16="http://schemas.microsoft.com/office/drawing/2014/main" id="{4A91BDFC-82C2-40A4-822E-EC643EF7BF92}"/>
              </a:ext>
            </a:extLst>
          </p:cNvPr>
          <p:cNvSpPr/>
          <p:nvPr/>
        </p:nvSpPr>
        <p:spPr>
          <a:xfrm>
            <a:off x="2309846" y="2024783"/>
            <a:ext cx="531330" cy="533188"/>
          </a:xfrm>
          <a:custGeom>
            <a:avLst/>
            <a:gdLst>
              <a:gd name="connsiteX0" fmla="*/ 1089660 w 1089660"/>
              <a:gd name="connsiteY0" fmla="*/ 546735 h 1093469"/>
              <a:gd name="connsiteX1" fmla="*/ 544830 w 1089660"/>
              <a:gd name="connsiteY1" fmla="*/ 1093470 h 1093469"/>
              <a:gd name="connsiteX2" fmla="*/ 0 w 1089660"/>
              <a:gd name="connsiteY2" fmla="*/ 546735 h 1093469"/>
              <a:gd name="connsiteX3" fmla="*/ 544830 w 1089660"/>
              <a:gd name="connsiteY3" fmla="*/ 0 h 1093469"/>
              <a:gd name="connsiteX4" fmla="*/ 1089660 w 1089660"/>
              <a:gd name="connsiteY4" fmla="*/ 546735 h 10934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9660" h="1093469">
                <a:moveTo>
                  <a:pt x="1089660" y="546735"/>
                </a:moveTo>
                <a:cubicBezTo>
                  <a:pt x="1089660" y="848689"/>
                  <a:pt x="845731" y="1093470"/>
                  <a:pt x="544830" y="1093470"/>
                </a:cubicBezTo>
                <a:cubicBezTo>
                  <a:pt x="243928" y="1093470"/>
                  <a:pt x="0" y="848689"/>
                  <a:pt x="0" y="546735"/>
                </a:cubicBezTo>
                <a:cubicBezTo>
                  <a:pt x="0" y="244782"/>
                  <a:pt x="243928" y="0"/>
                  <a:pt x="544830" y="0"/>
                </a:cubicBezTo>
                <a:cubicBezTo>
                  <a:pt x="845731" y="0"/>
                  <a:pt x="1089660" y="244782"/>
                  <a:pt x="1089660" y="546735"/>
                </a:cubicBezTo>
                <a:close/>
              </a:path>
            </a:pathLst>
          </a:custGeom>
          <a:solidFill>
            <a:schemeClr val="accent4">
              <a:alpha val="84000"/>
            </a:scheme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6" name="Freeform: Shape 63">
            <a:extLst>
              <a:ext uri="{FF2B5EF4-FFF2-40B4-BE49-F238E27FC236}">
                <a16:creationId xmlns:a16="http://schemas.microsoft.com/office/drawing/2014/main" id="{7E9F79EB-3366-4F07-8632-84D9513302D8}"/>
              </a:ext>
            </a:extLst>
          </p:cNvPr>
          <p:cNvSpPr/>
          <p:nvPr/>
        </p:nvSpPr>
        <p:spPr>
          <a:xfrm>
            <a:off x="4371758" y="2024783"/>
            <a:ext cx="531330" cy="533188"/>
          </a:xfrm>
          <a:custGeom>
            <a:avLst/>
            <a:gdLst>
              <a:gd name="connsiteX0" fmla="*/ 1089660 w 1089660"/>
              <a:gd name="connsiteY0" fmla="*/ 546735 h 1093469"/>
              <a:gd name="connsiteX1" fmla="*/ 544830 w 1089660"/>
              <a:gd name="connsiteY1" fmla="*/ 1093470 h 1093469"/>
              <a:gd name="connsiteX2" fmla="*/ 0 w 1089660"/>
              <a:gd name="connsiteY2" fmla="*/ 546735 h 1093469"/>
              <a:gd name="connsiteX3" fmla="*/ 544830 w 1089660"/>
              <a:gd name="connsiteY3" fmla="*/ 0 h 1093469"/>
              <a:gd name="connsiteX4" fmla="*/ 1089660 w 1089660"/>
              <a:gd name="connsiteY4" fmla="*/ 546735 h 10934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9660" h="1093469">
                <a:moveTo>
                  <a:pt x="1089660" y="546735"/>
                </a:moveTo>
                <a:cubicBezTo>
                  <a:pt x="1089660" y="848689"/>
                  <a:pt x="845731" y="1093470"/>
                  <a:pt x="544830" y="1093470"/>
                </a:cubicBezTo>
                <a:cubicBezTo>
                  <a:pt x="243928" y="1093470"/>
                  <a:pt x="0" y="848689"/>
                  <a:pt x="0" y="546735"/>
                </a:cubicBezTo>
                <a:cubicBezTo>
                  <a:pt x="0" y="244782"/>
                  <a:pt x="243928" y="0"/>
                  <a:pt x="544830" y="0"/>
                </a:cubicBezTo>
                <a:cubicBezTo>
                  <a:pt x="845731" y="0"/>
                  <a:pt x="1089660" y="244782"/>
                  <a:pt x="1089660" y="546735"/>
                </a:cubicBezTo>
                <a:close/>
              </a:path>
            </a:pathLst>
          </a:custGeom>
          <a:solidFill>
            <a:schemeClr val="accent6">
              <a:alpha val="84000"/>
            </a:scheme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7" name="Freeform: Shape 64">
            <a:extLst>
              <a:ext uri="{FF2B5EF4-FFF2-40B4-BE49-F238E27FC236}">
                <a16:creationId xmlns:a16="http://schemas.microsoft.com/office/drawing/2014/main" id="{78568DE4-FAB0-4FF5-BDAE-06AE496F4B13}"/>
              </a:ext>
            </a:extLst>
          </p:cNvPr>
          <p:cNvSpPr/>
          <p:nvPr/>
        </p:nvSpPr>
        <p:spPr>
          <a:xfrm>
            <a:off x="5087228" y="3578655"/>
            <a:ext cx="531330" cy="533188"/>
          </a:xfrm>
          <a:custGeom>
            <a:avLst/>
            <a:gdLst>
              <a:gd name="connsiteX0" fmla="*/ 1089660 w 1089660"/>
              <a:gd name="connsiteY0" fmla="*/ 546735 h 1093469"/>
              <a:gd name="connsiteX1" fmla="*/ 544830 w 1089660"/>
              <a:gd name="connsiteY1" fmla="*/ 1093470 h 1093469"/>
              <a:gd name="connsiteX2" fmla="*/ 0 w 1089660"/>
              <a:gd name="connsiteY2" fmla="*/ 546735 h 1093469"/>
              <a:gd name="connsiteX3" fmla="*/ 544830 w 1089660"/>
              <a:gd name="connsiteY3" fmla="*/ 0 h 1093469"/>
              <a:gd name="connsiteX4" fmla="*/ 1089660 w 1089660"/>
              <a:gd name="connsiteY4" fmla="*/ 546735 h 10934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9660" h="1093469">
                <a:moveTo>
                  <a:pt x="1089660" y="546735"/>
                </a:moveTo>
                <a:cubicBezTo>
                  <a:pt x="1089660" y="848689"/>
                  <a:pt x="845731" y="1093470"/>
                  <a:pt x="544830" y="1093470"/>
                </a:cubicBezTo>
                <a:cubicBezTo>
                  <a:pt x="243928" y="1093470"/>
                  <a:pt x="0" y="848689"/>
                  <a:pt x="0" y="546735"/>
                </a:cubicBezTo>
                <a:cubicBezTo>
                  <a:pt x="0" y="244782"/>
                  <a:pt x="243928" y="0"/>
                  <a:pt x="544830" y="0"/>
                </a:cubicBezTo>
                <a:cubicBezTo>
                  <a:pt x="845731" y="0"/>
                  <a:pt x="1089660" y="244782"/>
                  <a:pt x="1089660" y="546735"/>
                </a:cubicBezTo>
                <a:close/>
              </a:path>
            </a:pathLst>
          </a:custGeom>
          <a:solidFill>
            <a:schemeClr val="accent5">
              <a:alpha val="84000"/>
            </a:scheme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8" name="Freeform: Shape 65">
            <a:extLst>
              <a:ext uri="{FF2B5EF4-FFF2-40B4-BE49-F238E27FC236}">
                <a16:creationId xmlns:a16="http://schemas.microsoft.com/office/drawing/2014/main" id="{25B21B69-442B-4288-AC18-07EACA9B0D82}"/>
              </a:ext>
            </a:extLst>
          </p:cNvPr>
          <p:cNvSpPr/>
          <p:nvPr/>
        </p:nvSpPr>
        <p:spPr>
          <a:xfrm>
            <a:off x="1648643" y="5133337"/>
            <a:ext cx="531330" cy="533188"/>
          </a:xfrm>
          <a:custGeom>
            <a:avLst/>
            <a:gdLst>
              <a:gd name="connsiteX0" fmla="*/ 1089660 w 1089660"/>
              <a:gd name="connsiteY0" fmla="*/ 546735 h 1093469"/>
              <a:gd name="connsiteX1" fmla="*/ 544830 w 1089660"/>
              <a:gd name="connsiteY1" fmla="*/ 1093470 h 1093469"/>
              <a:gd name="connsiteX2" fmla="*/ 0 w 1089660"/>
              <a:gd name="connsiteY2" fmla="*/ 546735 h 1093469"/>
              <a:gd name="connsiteX3" fmla="*/ 544830 w 1089660"/>
              <a:gd name="connsiteY3" fmla="*/ 0 h 1093469"/>
              <a:gd name="connsiteX4" fmla="*/ 1089660 w 1089660"/>
              <a:gd name="connsiteY4" fmla="*/ 546735 h 10934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9660" h="1093469">
                <a:moveTo>
                  <a:pt x="1089660" y="546735"/>
                </a:moveTo>
                <a:cubicBezTo>
                  <a:pt x="1089660" y="848689"/>
                  <a:pt x="845731" y="1093470"/>
                  <a:pt x="544830" y="1093470"/>
                </a:cubicBezTo>
                <a:cubicBezTo>
                  <a:pt x="243928" y="1093470"/>
                  <a:pt x="0" y="848689"/>
                  <a:pt x="0" y="546735"/>
                </a:cubicBezTo>
                <a:cubicBezTo>
                  <a:pt x="0" y="244782"/>
                  <a:pt x="243928" y="0"/>
                  <a:pt x="544830" y="0"/>
                </a:cubicBezTo>
                <a:cubicBezTo>
                  <a:pt x="845731" y="0"/>
                  <a:pt x="1089660" y="244782"/>
                  <a:pt x="1089660" y="546735"/>
                </a:cubicBezTo>
                <a:close/>
              </a:path>
            </a:pathLst>
          </a:custGeom>
          <a:solidFill>
            <a:schemeClr val="accent6">
              <a:alpha val="84000"/>
            </a:scheme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9" name="Freeform: Shape 66">
            <a:extLst>
              <a:ext uri="{FF2B5EF4-FFF2-40B4-BE49-F238E27FC236}">
                <a16:creationId xmlns:a16="http://schemas.microsoft.com/office/drawing/2014/main" id="{FF6EF69D-6DB0-4074-95E5-12FE4BFADFA5}"/>
              </a:ext>
            </a:extLst>
          </p:cNvPr>
          <p:cNvSpPr/>
          <p:nvPr/>
        </p:nvSpPr>
        <p:spPr>
          <a:xfrm>
            <a:off x="1462330" y="1765043"/>
            <a:ext cx="531330" cy="533188"/>
          </a:xfrm>
          <a:custGeom>
            <a:avLst/>
            <a:gdLst>
              <a:gd name="connsiteX0" fmla="*/ 1089660 w 1089660"/>
              <a:gd name="connsiteY0" fmla="*/ 546735 h 1093469"/>
              <a:gd name="connsiteX1" fmla="*/ 544830 w 1089660"/>
              <a:gd name="connsiteY1" fmla="*/ 1093470 h 1093469"/>
              <a:gd name="connsiteX2" fmla="*/ 0 w 1089660"/>
              <a:gd name="connsiteY2" fmla="*/ 546735 h 1093469"/>
              <a:gd name="connsiteX3" fmla="*/ 544830 w 1089660"/>
              <a:gd name="connsiteY3" fmla="*/ 0 h 1093469"/>
              <a:gd name="connsiteX4" fmla="*/ 1089660 w 1089660"/>
              <a:gd name="connsiteY4" fmla="*/ 546735 h 10934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9660" h="1093469">
                <a:moveTo>
                  <a:pt x="1089660" y="546735"/>
                </a:moveTo>
                <a:cubicBezTo>
                  <a:pt x="1089660" y="848689"/>
                  <a:pt x="845731" y="1093470"/>
                  <a:pt x="544830" y="1093470"/>
                </a:cubicBezTo>
                <a:cubicBezTo>
                  <a:pt x="243928" y="1093470"/>
                  <a:pt x="0" y="848689"/>
                  <a:pt x="0" y="546735"/>
                </a:cubicBezTo>
                <a:cubicBezTo>
                  <a:pt x="0" y="244782"/>
                  <a:pt x="243928" y="0"/>
                  <a:pt x="544830" y="0"/>
                </a:cubicBezTo>
                <a:cubicBezTo>
                  <a:pt x="845731" y="0"/>
                  <a:pt x="1089660" y="244782"/>
                  <a:pt x="1089660" y="546735"/>
                </a:cubicBezTo>
                <a:close/>
              </a:path>
            </a:pathLst>
          </a:custGeom>
          <a:solidFill>
            <a:schemeClr val="accent1">
              <a:alpha val="84000"/>
            </a:scheme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40" name="Freeform: Shape 67">
            <a:extLst>
              <a:ext uri="{FF2B5EF4-FFF2-40B4-BE49-F238E27FC236}">
                <a16:creationId xmlns:a16="http://schemas.microsoft.com/office/drawing/2014/main" id="{350E32ED-B372-4879-99AC-DF811C9695B4}"/>
              </a:ext>
            </a:extLst>
          </p:cNvPr>
          <p:cNvSpPr/>
          <p:nvPr/>
        </p:nvSpPr>
        <p:spPr>
          <a:xfrm>
            <a:off x="2527231" y="1314493"/>
            <a:ext cx="531330" cy="533188"/>
          </a:xfrm>
          <a:custGeom>
            <a:avLst/>
            <a:gdLst>
              <a:gd name="connsiteX0" fmla="*/ 1089660 w 1089660"/>
              <a:gd name="connsiteY0" fmla="*/ 546735 h 1093469"/>
              <a:gd name="connsiteX1" fmla="*/ 544830 w 1089660"/>
              <a:gd name="connsiteY1" fmla="*/ 1093470 h 1093469"/>
              <a:gd name="connsiteX2" fmla="*/ 0 w 1089660"/>
              <a:gd name="connsiteY2" fmla="*/ 546735 h 1093469"/>
              <a:gd name="connsiteX3" fmla="*/ 544830 w 1089660"/>
              <a:gd name="connsiteY3" fmla="*/ 0 h 1093469"/>
              <a:gd name="connsiteX4" fmla="*/ 1089660 w 1089660"/>
              <a:gd name="connsiteY4" fmla="*/ 546735 h 10934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9660" h="1093469">
                <a:moveTo>
                  <a:pt x="1089660" y="546735"/>
                </a:moveTo>
                <a:cubicBezTo>
                  <a:pt x="1089660" y="848689"/>
                  <a:pt x="845731" y="1093470"/>
                  <a:pt x="544830" y="1093470"/>
                </a:cubicBezTo>
                <a:cubicBezTo>
                  <a:pt x="243928" y="1093470"/>
                  <a:pt x="0" y="848689"/>
                  <a:pt x="0" y="546735"/>
                </a:cubicBezTo>
                <a:cubicBezTo>
                  <a:pt x="0" y="244782"/>
                  <a:pt x="243928" y="0"/>
                  <a:pt x="544830" y="0"/>
                </a:cubicBezTo>
                <a:cubicBezTo>
                  <a:pt x="845731" y="0"/>
                  <a:pt x="1089660" y="244782"/>
                  <a:pt x="1089660" y="546735"/>
                </a:cubicBezTo>
                <a:close/>
              </a:path>
            </a:pathLst>
          </a:custGeom>
          <a:solidFill>
            <a:schemeClr val="accent5">
              <a:alpha val="84000"/>
            </a:scheme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41" name="Freeform: Shape 68">
            <a:extLst>
              <a:ext uri="{FF2B5EF4-FFF2-40B4-BE49-F238E27FC236}">
                <a16:creationId xmlns:a16="http://schemas.microsoft.com/office/drawing/2014/main" id="{6ECFAAEA-89F6-4CD7-B363-AC698D23DEB8}"/>
              </a:ext>
            </a:extLst>
          </p:cNvPr>
          <p:cNvSpPr/>
          <p:nvPr/>
        </p:nvSpPr>
        <p:spPr>
          <a:xfrm>
            <a:off x="670582" y="2227045"/>
            <a:ext cx="531330" cy="533188"/>
          </a:xfrm>
          <a:custGeom>
            <a:avLst/>
            <a:gdLst>
              <a:gd name="connsiteX0" fmla="*/ 1089660 w 1089660"/>
              <a:gd name="connsiteY0" fmla="*/ 546735 h 1093469"/>
              <a:gd name="connsiteX1" fmla="*/ 544830 w 1089660"/>
              <a:gd name="connsiteY1" fmla="*/ 1093470 h 1093469"/>
              <a:gd name="connsiteX2" fmla="*/ 0 w 1089660"/>
              <a:gd name="connsiteY2" fmla="*/ 546735 h 1093469"/>
              <a:gd name="connsiteX3" fmla="*/ 544830 w 1089660"/>
              <a:gd name="connsiteY3" fmla="*/ 0 h 1093469"/>
              <a:gd name="connsiteX4" fmla="*/ 1089660 w 1089660"/>
              <a:gd name="connsiteY4" fmla="*/ 546735 h 10934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9660" h="1093469">
                <a:moveTo>
                  <a:pt x="1089660" y="546735"/>
                </a:moveTo>
                <a:cubicBezTo>
                  <a:pt x="1089660" y="848689"/>
                  <a:pt x="845731" y="1093470"/>
                  <a:pt x="544830" y="1093470"/>
                </a:cubicBezTo>
                <a:cubicBezTo>
                  <a:pt x="243928" y="1093470"/>
                  <a:pt x="0" y="848689"/>
                  <a:pt x="0" y="546735"/>
                </a:cubicBezTo>
                <a:cubicBezTo>
                  <a:pt x="0" y="244782"/>
                  <a:pt x="243928" y="0"/>
                  <a:pt x="544830" y="0"/>
                </a:cubicBezTo>
                <a:cubicBezTo>
                  <a:pt x="845731" y="0"/>
                  <a:pt x="1089660" y="244782"/>
                  <a:pt x="1089660" y="546735"/>
                </a:cubicBezTo>
                <a:close/>
              </a:path>
            </a:pathLst>
          </a:custGeom>
          <a:solidFill>
            <a:schemeClr val="accent3">
              <a:alpha val="84000"/>
            </a:scheme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42" name="Freeform: Shape 70">
            <a:extLst>
              <a:ext uri="{FF2B5EF4-FFF2-40B4-BE49-F238E27FC236}">
                <a16:creationId xmlns:a16="http://schemas.microsoft.com/office/drawing/2014/main" id="{8AD6D77E-7833-4C22-B8E7-207D17E2F427}"/>
              </a:ext>
            </a:extLst>
          </p:cNvPr>
          <p:cNvSpPr/>
          <p:nvPr/>
        </p:nvSpPr>
        <p:spPr>
          <a:xfrm>
            <a:off x="5089655" y="2555815"/>
            <a:ext cx="531330" cy="533188"/>
          </a:xfrm>
          <a:custGeom>
            <a:avLst/>
            <a:gdLst>
              <a:gd name="connsiteX0" fmla="*/ 1089660 w 1089660"/>
              <a:gd name="connsiteY0" fmla="*/ 546735 h 1093469"/>
              <a:gd name="connsiteX1" fmla="*/ 544830 w 1089660"/>
              <a:gd name="connsiteY1" fmla="*/ 1093470 h 1093469"/>
              <a:gd name="connsiteX2" fmla="*/ 0 w 1089660"/>
              <a:gd name="connsiteY2" fmla="*/ 546735 h 1093469"/>
              <a:gd name="connsiteX3" fmla="*/ 544830 w 1089660"/>
              <a:gd name="connsiteY3" fmla="*/ 0 h 1093469"/>
              <a:gd name="connsiteX4" fmla="*/ 1089660 w 1089660"/>
              <a:gd name="connsiteY4" fmla="*/ 546735 h 10934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9660" h="1093469">
                <a:moveTo>
                  <a:pt x="1089660" y="546735"/>
                </a:moveTo>
                <a:cubicBezTo>
                  <a:pt x="1089660" y="848689"/>
                  <a:pt x="845731" y="1093470"/>
                  <a:pt x="544830" y="1093470"/>
                </a:cubicBezTo>
                <a:cubicBezTo>
                  <a:pt x="243928" y="1093470"/>
                  <a:pt x="0" y="848689"/>
                  <a:pt x="0" y="546735"/>
                </a:cubicBezTo>
                <a:cubicBezTo>
                  <a:pt x="0" y="244782"/>
                  <a:pt x="243928" y="0"/>
                  <a:pt x="544830" y="0"/>
                </a:cubicBezTo>
                <a:cubicBezTo>
                  <a:pt x="845731" y="0"/>
                  <a:pt x="1089660" y="244782"/>
                  <a:pt x="1089660" y="546735"/>
                </a:cubicBezTo>
                <a:close/>
              </a:path>
            </a:pathLst>
          </a:custGeom>
          <a:solidFill>
            <a:schemeClr val="accent1">
              <a:alpha val="84000"/>
            </a:scheme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43" name="Freeform: Shape 71">
            <a:extLst>
              <a:ext uri="{FF2B5EF4-FFF2-40B4-BE49-F238E27FC236}">
                <a16:creationId xmlns:a16="http://schemas.microsoft.com/office/drawing/2014/main" id="{F3B7A8A2-F537-423C-9FD4-592C101CA451}"/>
              </a:ext>
            </a:extLst>
          </p:cNvPr>
          <p:cNvSpPr/>
          <p:nvPr/>
        </p:nvSpPr>
        <p:spPr>
          <a:xfrm>
            <a:off x="1593244" y="2730995"/>
            <a:ext cx="459104" cy="648450"/>
          </a:xfrm>
          <a:custGeom>
            <a:avLst/>
            <a:gdLst>
              <a:gd name="connsiteX0" fmla="*/ 337185 w 674370"/>
              <a:gd name="connsiteY0" fmla="*/ 0 h 952500"/>
              <a:gd name="connsiteX1" fmla="*/ 0 w 674370"/>
              <a:gd name="connsiteY1" fmla="*/ 615315 h 952500"/>
              <a:gd name="connsiteX2" fmla="*/ 337185 w 674370"/>
              <a:gd name="connsiteY2" fmla="*/ 952500 h 952500"/>
              <a:gd name="connsiteX3" fmla="*/ 674370 w 674370"/>
              <a:gd name="connsiteY3" fmla="*/ 615315 h 952500"/>
              <a:gd name="connsiteX4" fmla="*/ 337185 w 674370"/>
              <a:gd name="connsiteY4" fmla="*/ 0 h 952500"/>
              <a:gd name="connsiteX5" fmla="*/ 332423 w 674370"/>
              <a:gd name="connsiteY5" fmla="*/ 876300 h 952500"/>
              <a:gd name="connsiteX6" fmla="*/ 76200 w 674370"/>
              <a:gd name="connsiteY6" fmla="*/ 654368 h 952500"/>
              <a:gd name="connsiteX7" fmla="*/ 121920 w 674370"/>
              <a:gd name="connsiteY7" fmla="*/ 641985 h 952500"/>
              <a:gd name="connsiteX8" fmla="*/ 341948 w 674370"/>
              <a:gd name="connsiteY8" fmla="*/ 830580 h 952500"/>
              <a:gd name="connsiteX9" fmla="*/ 332423 w 674370"/>
              <a:gd name="connsiteY9" fmla="*/ 876300 h 952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74370" h="952500">
                <a:moveTo>
                  <a:pt x="337185" y="0"/>
                </a:moveTo>
                <a:cubicBezTo>
                  <a:pt x="337185" y="0"/>
                  <a:pt x="0" y="429578"/>
                  <a:pt x="0" y="615315"/>
                </a:cubicBezTo>
                <a:cubicBezTo>
                  <a:pt x="0" y="801053"/>
                  <a:pt x="150495" y="952500"/>
                  <a:pt x="337185" y="952500"/>
                </a:cubicBezTo>
                <a:cubicBezTo>
                  <a:pt x="522923" y="952500"/>
                  <a:pt x="674370" y="802005"/>
                  <a:pt x="674370" y="615315"/>
                </a:cubicBezTo>
                <a:cubicBezTo>
                  <a:pt x="674370" y="429578"/>
                  <a:pt x="337185" y="0"/>
                  <a:pt x="337185" y="0"/>
                </a:cubicBezTo>
                <a:close/>
                <a:moveTo>
                  <a:pt x="332423" y="876300"/>
                </a:moveTo>
                <a:cubicBezTo>
                  <a:pt x="128588" y="834390"/>
                  <a:pt x="78105" y="661988"/>
                  <a:pt x="76200" y="654368"/>
                </a:cubicBezTo>
                <a:lnTo>
                  <a:pt x="121920" y="641985"/>
                </a:lnTo>
                <a:cubicBezTo>
                  <a:pt x="123825" y="648653"/>
                  <a:pt x="167640" y="794385"/>
                  <a:pt x="341948" y="830580"/>
                </a:cubicBezTo>
                <a:lnTo>
                  <a:pt x="332423" y="876300"/>
                </a:lnTo>
                <a:close/>
              </a:path>
            </a:pathLst>
          </a:custGeom>
          <a:solidFill>
            <a:schemeClr val="bg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nvGrpSpPr>
          <p:cNvPr id="44" name="Graphic 1">
            <a:extLst>
              <a:ext uri="{FF2B5EF4-FFF2-40B4-BE49-F238E27FC236}">
                <a16:creationId xmlns:a16="http://schemas.microsoft.com/office/drawing/2014/main" id="{26A2AB09-9B15-4382-96E5-D32627750C92}"/>
              </a:ext>
            </a:extLst>
          </p:cNvPr>
          <p:cNvGrpSpPr/>
          <p:nvPr/>
        </p:nvGrpSpPr>
        <p:grpSpPr>
          <a:xfrm>
            <a:off x="2722014" y="3950709"/>
            <a:ext cx="647802" cy="648452"/>
            <a:chOff x="3504247" y="1264920"/>
            <a:chExt cx="951547" cy="952500"/>
          </a:xfrm>
          <a:solidFill>
            <a:schemeClr val="bg2"/>
          </a:solidFill>
        </p:grpSpPr>
        <p:sp>
          <p:nvSpPr>
            <p:cNvPr id="45" name="Freeform: Shape 73">
              <a:extLst>
                <a:ext uri="{FF2B5EF4-FFF2-40B4-BE49-F238E27FC236}">
                  <a16:creationId xmlns:a16="http://schemas.microsoft.com/office/drawing/2014/main" id="{F37E5E95-FB5A-41D5-8E32-E381D535ADC0}"/>
                </a:ext>
              </a:extLst>
            </p:cNvPr>
            <p:cNvSpPr/>
            <p:nvPr/>
          </p:nvSpPr>
          <p:spPr>
            <a:xfrm>
              <a:off x="3643311" y="1403985"/>
              <a:ext cx="674369" cy="674369"/>
            </a:xfrm>
            <a:custGeom>
              <a:avLst/>
              <a:gdLst>
                <a:gd name="connsiteX0" fmla="*/ 674370 w 674369"/>
                <a:gd name="connsiteY0" fmla="*/ 337185 h 674369"/>
                <a:gd name="connsiteX1" fmla="*/ 337185 w 674369"/>
                <a:gd name="connsiteY1" fmla="*/ 674370 h 674369"/>
                <a:gd name="connsiteX2" fmla="*/ 0 w 674369"/>
                <a:gd name="connsiteY2" fmla="*/ 337185 h 674369"/>
                <a:gd name="connsiteX3" fmla="*/ 337185 w 674369"/>
                <a:gd name="connsiteY3" fmla="*/ 0 h 674369"/>
                <a:gd name="connsiteX4" fmla="*/ 674370 w 674369"/>
                <a:gd name="connsiteY4" fmla="*/ 337185 h 6743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4369" h="674369">
                  <a:moveTo>
                    <a:pt x="674370" y="337185"/>
                  </a:moveTo>
                  <a:cubicBezTo>
                    <a:pt x="674370" y="523407"/>
                    <a:pt x="523407" y="674370"/>
                    <a:pt x="337185" y="674370"/>
                  </a:cubicBezTo>
                  <a:cubicBezTo>
                    <a:pt x="150963" y="674370"/>
                    <a:pt x="0" y="523407"/>
                    <a:pt x="0" y="337185"/>
                  </a:cubicBezTo>
                  <a:cubicBezTo>
                    <a:pt x="0" y="150963"/>
                    <a:pt x="150963" y="0"/>
                    <a:pt x="337185" y="0"/>
                  </a:cubicBezTo>
                  <a:cubicBezTo>
                    <a:pt x="523407" y="0"/>
                    <a:pt x="674370" y="150963"/>
                    <a:pt x="674370" y="337185"/>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46" name="Freeform: Shape 74">
              <a:extLst>
                <a:ext uri="{FF2B5EF4-FFF2-40B4-BE49-F238E27FC236}">
                  <a16:creationId xmlns:a16="http://schemas.microsoft.com/office/drawing/2014/main" id="{6C2D2284-A10F-4932-98AC-30CE2A3FD74D}"/>
                </a:ext>
              </a:extLst>
            </p:cNvPr>
            <p:cNvSpPr/>
            <p:nvPr/>
          </p:nvSpPr>
          <p:spPr>
            <a:xfrm>
              <a:off x="3956684" y="1264920"/>
              <a:ext cx="47625" cy="75247"/>
            </a:xfrm>
            <a:custGeom>
              <a:avLst/>
              <a:gdLst>
                <a:gd name="connsiteX0" fmla="*/ 0 w 47625"/>
                <a:gd name="connsiteY0" fmla="*/ 0 h 75247"/>
                <a:gd name="connsiteX1" fmla="*/ 47625 w 47625"/>
                <a:gd name="connsiteY1" fmla="*/ 0 h 75247"/>
                <a:gd name="connsiteX2" fmla="*/ 47625 w 47625"/>
                <a:gd name="connsiteY2" fmla="*/ 75248 h 75247"/>
                <a:gd name="connsiteX3" fmla="*/ 0 w 47625"/>
                <a:gd name="connsiteY3" fmla="*/ 75248 h 75247"/>
              </a:gdLst>
              <a:ahLst/>
              <a:cxnLst>
                <a:cxn ang="0">
                  <a:pos x="connsiteX0" y="connsiteY0"/>
                </a:cxn>
                <a:cxn ang="0">
                  <a:pos x="connsiteX1" y="connsiteY1"/>
                </a:cxn>
                <a:cxn ang="0">
                  <a:pos x="connsiteX2" y="connsiteY2"/>
                </a:cxn>
                <a:cxn ang="0">
                  <a:pos x="connsiteX3" y="connsiteY3"/>
                </a:cxn>
              </a:cxnLst>
              <a:rect l="l" t="t" r="r" b="b"/>
              <a:pathLst>
                <a:path w="47625" h="75247">
                  <a:moveTo>
                    <a:pt x="0" y="0"/>
                  </a:moveTo>
                  <a:lnTo>
                    <a:pt x="47625" y="0"/>
                  </a:lnTo>
                  <a:lnTo>
                    <a:pt x="47625" y="75248"/>
                  </a:lnTo>
                  <a:lnTo>
                    <a:pt x="0" y="75248"/>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47" name="Freeform: Shape 75">
              <a:extLst>
                <a:ext uri="{FF2B5EF4-FFF2-40B4-BE49-F238E27FC236}">
                  <a16:creationId xmlns:a16="http://schemas.microsoft.com/office/drawing/2014/main" id="{ECFA0D07-DA61-4923-B576-38BD088CB9C6}"/>
                </a:ext>
              </a:extLst>
            </p:cNvPr>
            <p:cNvSpPr/>
            <p:nvPr/>
          </p:nvSpPr>
          <p:spPr>
            <a:xfrm rot="-2700000">
              <a:off x="3646166" y="1393671"/>
              <a:ext cx="47624" cy="75246"/>
            </a:xfrm>
            <a:custGeom>
              <a:avLst/>
              <a:gdLst>
                <a:gd name="connsiteX0" fmla="*/ 0 w 47624"/>
                <a:gd name="connsiteY0" fmla="*/ 0 h 75246"/>
                <a:gd name="connsiteX1" fmla="*/ 47625 w 47624"/>
                <a:gd name="connsiteY1" fmla="*/ 0 h 75246"/>
                <a:gd name="connsiteX2" fmla="*/ 47625 w 47624"/>
                <a:gd name="connsiteY2" fmla="*/ 75247 h 75246"/>
                <a:gd name="connsiteX3" fmla="*/ 0 w 47624"/>
                <a:gd name="connsiteY3" fmla="*/ 75247 h 75246"/>
              </a:gdLst>
              <a:ahLst/>
              <a:cxnLst>
                <a:cxn ang="0">
                  <a:pos x="connsiteX0" y="connsiteY0"/>
                </a:cxn>
                <a:cxn ang="0">
                  <a:pos x="connsiteX1" y="connsiteY1"/>
                </a:cxn>
                <a:cxn ang="0">
                  <a:pos x="connsiteX2" y="connsiteY2"/>
                </a:cxn>
                <a:cxn ang="0">
                  <a:pos x="connsiteX3" y="connsiteY3"/>
                </a:cxn>
              </a:cxnLst>
              <a:rect l="l" t="t" r="r" b="b"/>
              <a:pathLst>
                <a:path w="47624" h="75246">
                  <a:moveTo>
                    <a:pt x="0" y="0"/>
                  </a:moveTo>
                  <a:lnTo>
                    <a:pt x="47625" y="0"/>
                  </a:lnTo>
                  <a:lnTo>
                    <a:pt x="47625" y="75247"/>
                  </a:lnTo>
                  <a:lnTo>
                    <a:pt x="0" y="75247"/>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48" name="Freeform: Shape 76">
              <a:extLst>
                <a:ext uri="{FF2B5EF4-FFF2-40B4-BE49-F238E27FC236}">
                  <a16:creationId xmlns:a16="http://schemas.microsoft.com/office/drawing/2014/main" id="{512C431F-FD2F-419F-898A-F010C2A31852}"/>
                </a:ext>
              </a:extLst>
            </p:cNvPr>
            <p:cNvSpPr/>
            <p:nvPr/>
          </p:nvSpPr>
          <p:spPr>
            <a:xfrm>
              <a:off x="3504247" y="1717357"/>
              <a:ext cx="75247" cy="47625"/>
            </a:xfrm>
            <a:custGeom>
              <a:avLst/>
              <a:gdLst>
                <a:gd name="connsiteX0" fmla="*/ 0 w 75247"/>
                <a:gd name="connsiteY0" fmla="*/ 0 h 47625"/>
                <a:gd name="connsiteX1" fmla="*/ 75247 w 75247"/>
                <a:gd name="connsiteY1" fmla="*/ 0 h 47625"/>
                <a:gd name="connsiteX2" fmla="*/ 75247 w 75247"/>
                <a:gd name="connsiteY2" fmla="*/ 47625 h 47625"/>
                <a:gd name="connsiteX3" fmla="*/ 0 w 75247"/>
                <a:gd name="connsiteY3" fmla="*/ 47625 h 47625"/>
              </a:gdLst>
              <a:ahLst/>
              <a:cxnLst>
                <a:cxn ang="0">
                  <a:pos x="connsiteX0" y="connsiteY0"/>
                </a:cxn>
                <a:cxn ang="0">
                  <a:pos x="connsiteX1" y="connsiteY1"/>
                </a:cxn>
                <a:cxn ang="0">
                  <a:pos x="connsiteX2" y="connsiteY2"/>
                </a:cxn>
                <a:cxn ang="0">
                  <a:pos x="connsiteX3" y="connsiteY3"/>
                </a:cxn>
              </a:cxnLst>
              <a:rect l="l" t="t" r="r" b="b"/>
              <a:pathLst>
                <a:path w="75247" h="47625">
                  <a:moveTo>
                    <a:pt x="0" y="0"/>
                  </a:moveTo>
                  <a:lnTo>
                    <a:pt x="75247" y="0"/>
                  </a:lnTo>
                  <a:lnTo>
                    <a:pt x="75247" y="47625"/>
                  </a:lnTo>
                  <a:lnTo>
                    <a:pt x="0" y="47625"/>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49" name="Freeform: Shape 77">
              <a:extLst>
                <a:ext uri="{FF2B5EF4-FFF2-40B4-BE49-F238E27FC236}">
                  <a16:creationId xmlns:a16="http://schemas.microsoft.com/office/drawing/2014/main" id="{DF3688B3-F4FC-4280-AD11-C104E22A7EA3}"/>
                </a:ext>
              </a:extLst>
            </p:cNvPr>
            <p:cNvSpPr/>
            <p:nvPr/>
          </p:nvSpPr>
          <p:spPr>
            <a:xfrm rot="-2700000">
              <a:off x="3632314" y="2028140"/>
              <a:ext cx="75246" cy="47624"/>
            </a:xfrm>
            <a:custGeom>
              <a:avLst/>
              <a:gdLst>
                <a:gd name="connsiteX0" fmla="*/ 0 w 75246"/>
                <a:gd name="connsiteY0" fmla="*/ 0 h 47624"/>
                <a:gd name="connsiteX1" fmla="*/ 75247 w 75246"/>
                <a:gd name="connsiteY1" fmla="*/ 0 h 47624"/>
                <a:gd name="connsiteX2" fmla="*/ 75247 w 75246"/>
                <a:gd name="connsiteY2" fmla="*/ 47625 h 47624"/>
                <a:gd name="connsiteX3" fmla="*/ 0 w 75246"/>
                <a:gd name="connsiteY3" fmla="*/ 47625 h 47624"/>
              </a:gdLst>
              <a:ahLst/>
              <a:cxnLst>
                <a:cxn ang="0">
                  <a:pos x="connsiteX0" y="connsiteY0"/>
                </a:cxn>
                <a:cxn ang="0">
                  <a:pos x="connsiteX1" y="connsiteY1"/>
                </a:cxn>
                <a:cxn ang="0">
                  <a:pos x="connsiteX2" y="connsiteY2"/>
                </a:cxn>
                <a:cxn ang="0">
                  <a:pos x="connsiteX3" y="connsiteY3"/>
                </a:cxn>
              </a:cxnLst>
              <a:rect l="l" t="t" r="r" b="b"/>
              <a:pathLst>
                <a:path w="75246" h="47624">
                  <a:moveTo>
                    <a:pt x="0" y="0"/>
                  </a:moveTo>
                  <a:lnTo>
                    <a:pt x="75247" y="0"/>
                  </a:lnTo>
                  <a:lnTo>
                    <a:pt x="75247" y="47625"/>
                  </a:lnTo>
                  <a:lnTo>
                    <a:pt x="0" y="47625"/>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50" name="Freeform: Shape 78">
              <a:extLst>
                <a:ext uri="{FF2B5EF4-FFF2-40B4-BE49-F238E27FC236}">
                  <a16:creationId xmlns:a16="http://schemas.microsoft.com/office/drawing/2014/main" id="{034E591E-6137-4FEF-9AAF-2B3F3FE8BD90}"/>
                </a:ext>
              </a:extLst>
            </p:cNvPr>
            <p:cNvSpPr/>
            <p:nvPr/>
          </p:nvSpPr>
          <p:spPr>
            <a:xfrm>
              <a:off x="3956684" y="2142172"/>
              <a:ext cx="47625" cy="75247"/>
            </a:xfrm>
            <a:custGeom>
              <a:avLst/>
              <a:gdLst>
                <a:gd name="connsiteX0" fmla="*/ 0 w 47625"/>
                <a:gd name="connsiteY0" fmla="*/ 0 h 75247"/>
                <a:gd name="connsiteX1" fmla="*/ 47625 w 47625"/>
                <a:gd name="connsiteY1" fmla="*/ 0 h 75247"/>
                <a:gd name="connsiteX2" fmla="*/ 47625 w 47625"/>
                <a:gd name="connsiteY2" fmla="*/ 75248 h 75247"/>
                <a:gd name="connsiteX3" fmla="*/ 0 w 47625"/>
                <a:gd name="connsiteY3" fmla="*/ 75248 h 75247"/>
              </a:gdLst>
              <a:ahLst/>
              <a:cxnLst>
                <a:cxn ang="0">
                  <a:pos x="connsiteX0" y="connsiteY0"/>
                </a:cxn>
                <a:cxn ang="0">
                  <a:pos x="connsiteX1" y="connsiteY1"/>
                </a:cxn>
                <a:cxn ang="0">
                  <a:pos x="connsiteX2" y="connsiteY2"/>
                </a:cxn>
                <a:cxn ang="0">
                  <a:pos x="connsiteX3" y="connsiteY3"/>
                </a:cxn>
              </a:cxnLst>
              <a:rect l="l" t="t" r="r" b="b"/>
              <a:pathLst>
                <a:path w="47625" h="75247">
                  <a:moveTo>
                    <a:pt x="0" y="0"/>
                  </a:moveTo>
                  <a:lnTo>
                    <a:pt x="47625" y="0"/>
                  </a:lnTo>
                  <a:lnTo>
                    <a:pt x="47625" y="75248"/>
                  </a:lnTo>
                  <a:lnTo>
                    <a:pt x="0" y="75248"/>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51" name="Freeform: Shape 79">
              <a:extLst>
                <a:ext uri="{FF2B5EF4-FFF2-40B4-BE49-F238E27FC236}">
                  <a16:creationId xmlns:a16="http://schemas.microsoft.com/office/drawing/2014/main" id="{FA2676C5-CECA-4E91-A0ED-079C5B4D8148}"/>
                </a:ext>
              </a:extLst>
            </p:cNvPr>
            <p:cNvSpPr/>
            <p:nvPr/>
          </p:nvSpPr>
          <p:spPr>
            <a:xfrm rot="-2699514">
              <a:off x="4266268" y="2013785"/>
              <a:ext cx="47624" cy="75246"/>
            </a:xfrm>
            <a:custGeom>
              <a:avLst/>
              <a:gdLst>
                <a:gd name="connsiteX0" fmla="*/ 0 w 47624"/>
                <a:gd name="connsiteY0" fmla="*/ 0 h 75246"/>
                <a:gd name="connsiteX1" fmla="*/ 47624 w 47624"/>
                <a:gd name="connsiteY1" fmla="*/ 0 h 75246"/>
                <a:gd name="connsiteX2" fmla="*/ 47624 w 47624"/>
                <a:gd name="connsiteY2" fmla="*/ 75247 h 75246"/>
                <a:gd name="connsiteX3" fmla="*/ 0 w 47624"/>
                <a:gd name="connsiteY3" fmla="*/ 75247 h 75246"/>
              </a:gdLst>
              <a:ahLst/>
              <a:cxnLst>
                <a:cxn ang="0">
                  <a:pos x="connsiteX0" y="connsiteY0"/>
                </a:cxn>
                <a:cxn ang="0">
                  <a:pos x="connsiteX1" y="connsiteY1"/>
                </a:cxn>
                <a:cxn ang="0">
                  <a:pos x="connsiteX2" y="connsiteY2"/>
                </a:cxn>
                <a:cxn ang="0">
                  <a:pos x="connsiteX3" y="connsiteY3"/>
                </a:cxn>
              </a:cxnLst>
              <a:rect l="l" t="t" r="r" b="b"/>
              <a:pathLst>
                <a:path w="47624" h="75246">
                  <a:moveTo>
                    <a:pt x="0" y="0"/>
                  </a:moveTo>
                  <a:lnTo>
                    <a:pt x="47624" y="0"/>
                  </a:lnTo>
                  <a:lnTo>
                    <a:pt x="47624" y="75247"/>
                  </a:lnTo>
                  <a:lnTo>
                    <a:pt x="0" y="75247"/>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52" name="Freeform: Shape 80">
              <a:extLst>
                <a:ext uri="{FF2B5EF4-FFF2-40B4-BE49-F238E27FC236}">
                  <a16:creationId xmlns:a16="http://schemas.microsoft.com/office/drawing/2014/main" id="{BBB99AFB-E4BD-4C24-A4CC-1EA0160458DF}"/>
                </a:ext>
              </a:extLst>
            </p:cNvPr>
            <p:cNvSpPr/>
            <p:nvPr/>
          </p:nvSpPr>
          <p:spPr>
            <a:xfrm>
              <a:off x="4380547" y="1717357"/>
              <a:ext cx="75247" cy="47625"/>
            </a:xfrm>
            <a:custGeom>
              <a:avLst/>
              <a:gdLst>
                <a:gd name="connsiteX0" fmla="*/ 0 w 75247"/>
                <a:gd name="connsiteY0" fmla="*/ 0 h 47625"/>
                <a:gd name="connsiteX1" fmla="*/ 75247 w 75247"/>
                <a:gd name="connsiteY1" fmla="*/ 0 h 47625"/>
                <a:gd name="connsiteX2" fmla="*/ 75247 w 75247"/>
                <a:gd name="connsiteY2" fmla="*/ 47625 h 47625"/>
                <a:gd name="connsiteX3" fmla="*/ 0 w 75247"/>
                <a:gd name="connsiteY3" fmla="*/ 47625 h 47625"/>
              </a:gdLst>
              <a:ahLst/>
              <a:cxnLst>
                <a:cxn ang="0">
                  <a:pos x="connsiteX0" y="connsiteY0"/>
                </a:cxn>
                <a:cxn ang="0">
                  <a:pos x="connsiteX1" y="connsiteY1"/>
                </a:cxn>
                <a:cxn ang="0">
                  <a:pos x="connsiteX2" y="connsiteY2"/>
                </a:cxn>
                <a:cxn ang="0">
                  <a:pos x="connsiteX3" y="connsiteY3"/>
                </a:cxn>
              </a:cxnLst>
              <a:rect l="l" t="t" r="r" b="b"/>
              <a:pathLst>
                <a:path w="75247" h="47625">
                  <a:moveTo>
                    <a:pt x="0" y="0"/>
                  </a:moveTo>
                  <a:lnTo>
                    <a:pt x="75247" y="0"/>
                  </a:lnTo>
                  <a:lnTo>
                    <a:pt x="75247" y="47625"/>
                  </a:lnTo>
                  <a:lnTo>
                    <a:pt x="0" y="47625"/>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53" name="Freeform: Shape 81">
              <a:extLst>
                <a:ext uri="{FF2B5EF4-FFF2-40B4-BE49-F238E27FC236}">
                  <a16:creationId xmlns:a16="http://schemas.microsoft.com/office/drawing/2014/main" id="{FF1C9105-52C0-4782-8CC0-C018389EED35}"/>
                </a:ext>
              </a:extLst>
            </p:cNvPr>
            <p:cNvSpPr/>
            <p:nvPr/>
          </p:nvSpPr>
          <p:spPr>
            <a:xfrm rot="-2700000">
              <a:off x="4252353" y="1408059"/>
              <a:ext cx="75246" cy="47624"/>
            </a:xfrm>
            <a:custGeom>
              <a:avLst/>
              <a:gdLst>
                <a:gd name="connsiteX0" fmla="*/ 0 w 75246"/>
                <a:gd name="connsiteY0" fmla="*/ 0 h 47624"/>
                <a:gd name="connsiteX1" fmla="*/ 75247 w 75246"/>
                <a:gd name="connsiteY1" fmla="*/ 0 h 47624"/>
                <a:gd name="connsiteX2" fmla="*/ 75247 w 75246"/>
                <a:gd name="connsiteY2" fmla="*/ 47625 h 47624"/>
                <a:gd name="connsiteX3" fmla="*/ 0 w 75246"/>
                <a:gd name="connsiteY3" fmla="*/ 47625 h 47624"/>
              </a:gdLst>
              <a:ahLst/>
              <a:cxnLst>
                <a:cxn ang="0">
                  <a:pos x="connsiteX0" y="connsiteY0"/>
                </a:cxn>
                <a:cxn ang="0">
                  <a:pos x="connsiteX1" y="connsiteY1"/>
                </a:cxn>
                <a:cxn ang="0">
                  <a:pos x="connsiteX2" y="connsiteY2"/>
                </a:cxn>
                <a:cxn ang="0">
                  <a:pos x="connsiteX3" y="connsiteY3"/>
                </a:cxn>
              </a:cxnLst>
              <a:rect l="l" t="t" r="r" b="b"/>
              <a:pathLst>
                <a:path w="75246" h="47624">
                  <a:moveTo>
                    <a:pt x="0" y="0"/>
                  </a:moveTo>
                  <a:lnTo>
                    <a:pt x="75247" y="0"/>
                  </a:lnTo>
                  <a:lnTo>
                    <a:pt x="75247" y="47625"/>
                  </a:lnTo>
                  <a:lnTo>
                    <a:pt x="0" y="47625"/>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grpSp>
        <p:nvGrpSpPr>
          <p:cNvPr id="54" name="Graphic 1">
            <a:extLst>
              <a:ext uri="{FF2B5EF4-FFF2-40B4-BE49-F238E27FC236}">
                <a16:creationId xmlns:a16="http://schemas.microsoft.com/office/drawing/2014/main" id="{D8DEAB2E-C0FB-4373-8A92-A5C50C4239A1}"/>
              </a:ext>
            </a:extLst>
          </p:cNvPr>
          <p:cNvGrpSpPr/>
          <p:nvPr/>
        </p:nvGrpSpPr>
        <p:grpSpPr>
          <a:xfrm>
            <a:off x="3292124" y="1996850"/>
            <a:ext cx="559614" cy="558964"/>
            <a:chOff x="3634739" y="2474595"/>
            <a:chExt cx="822007" cy="821054"/>
          </a:xfrm>
          <a:solidFill>
            <a:schemeClr val="bg2"/>
          </a:solidFill>
        </p:grpSpPr>
        <p:sp>
          <p:nvSpPr>
            <p:cNvPr id="55" name="Freeform: Shape 83">
              <a:extLst>
                <a:ext uri="{FF2B5EF4-FFF2-40B4-BE49-F238E27FC236}">
                  <a16:creationId xmlns:a16="http://schemas.microsoft.com/office/drawing/2014/main" id="{BD2E16F4-6517-4F0D-9621-358347BFD774}"/>
                </a:ext>
              </a:extLst>
            </p:cNvPr>
            <p:cNvSpPr/>
            <p:nvPr/>
          </p:nvSpPr>
          <p:spPr>
            <a:xfrm>
              <a:off x="3672702" y="2474595"/>
              <a:ext cx="784044" cy="784044"/>
            </a:xfrm>
            <a:custGeom>
              <a:avLst/>
              <a:gdLst>
                <a:gd name="connsiteX0" fmla="*/ 784045 w 784044"/>
                <a:gd name="connsiteY0" fmla="*/ 0 h 784044"/>
                <a:gd name="connsiteX1" fmla="*/ 584020 w 784044"/>
                <a:gd name="connsiteY1" fmla="*/ 683895 h 784044"/>
                <a:gd name="connsiteX2" fmla="*/ 115390 w 784044"/>
                <a:gd name="connsiteY2" fmla="*/ 698183 h 784044"/>
                <a:gd name="connsiteX3" fmla="*/ 180160 w 784044"/>
                <a:gd name="connsiteY3" fmla="*/ 633413 h 784044"/>
                <a:gd name="connsiteX4" fmla="*/ 387805 w 784044"/>
                <a:gd name="connsiteY4" fmla="*/ 609600 h 784044"/>
                <a:gd name="connsiteX5" fmla="*/ 383042 w 784044"/>
                <a:gd name="connsiteY5" fmla="*/ 568643 h 784044"/>
                <a:gd name="connsiteX6" fmla="*/ 226832 w 784044"/>
                <a:gd name="connsiteY6" fmla="*/ 586740 h 784044"/>
                <a:gd name="connsiteX7" fmla="*/ 302080 w 784044"/>
                <a:gd name="connsiteY7" fmla="*/ 511492 h 784044"/>
                <a:gd name="connsiteX8" fmla="*/ 509725 w 784044"/>
                <a:gd name="connsiteY8" fmla="*/ 487680 h 784044"/>
                <a:gd name="connsiteX9" fmla="*/ 504962 w 784044"/>
                <a:gd name="connsiteY9" fmla="*/ 446722 h 784044"/>
                <a:gd name="connsiteX10" fmla="*/ 348752 w 784044"/>
                <a:gd name="connsiteY10" fmla="*/ 464820 h 784044"/>
                <a:gd name="connsiteX11" fmla="*/ 504962 w 784044"/>
                <a:gd name="connsiteY11" fmla="*/ 308610 h 784044"/>
                <a:gd name="connsiteX12" fmla="*/ 475435 w 784044"/>
                <a:gd name="connsiteY12" fmla="*/ 279083 h 784044"/>
                <a:gd name="connsiteX13" fmla="*/ 323035 w 784044"/>
                <a:gd name="connsiteY13" fmla="*/ 431483 h 784044"/>
                <a:gd name="connsiteX14" fmla="*/ 344942 w 784044"/>
                <a:gd name="connsiteY14" fmla="*/ 293370 h 784044"/>
                <a:gd name="connsiteX15" fmla="*/ 303985 w 784044"/>
                <a:gd name="connsiteY15" fmla="*/ 286702 h 784044"/>
                <a:gd name="connsiteX16" fmla="*/ 273505 w 784044"/>
                <a:gd name="connsiteY16" fmla="*/ 481013 h 784044"/>
                <a:gd name="connsiteX17" fmla="*/ 201115 w 784044"/>
                <a:gd name="connsiteY17" fmla="*/ 553402 h 784044"/>
                <a:gd name="connsiteX18" fmla="*/ 223022 w 784044"/>
                <a:gd name="connsiteY18" fmla="*/ 415290 h 784044"/>
                <a:gd name="connsiteX19" fmla="*/ 182065 w 784044"/>
                <a:gd name="connsiteY19" fmla="*/ 408622 h 784044"/>
                <a:gd name="connsiteX20" fmla="*/ 151585 w 784044"/>
                <a:gd name="connsiteY20" fmla="*/ 602933 h 784044"/>
                <a:gd name="connsiteX21" fmla="*/ 85862 w 784044"/>
                <a:gd name="connsiteY21" fmla="*/ 668655 h 784044"/>
                <a:gd name="connsiteX22" fmla="*/ 100150 w 784044"/>
                <a:gd name="connsiteY22" fmla="*/ 200025 h 784044"/>
                <a:gd name="connsiteX23" fmla="*/ 784045 w 784044"/>
                <a:gd name="connsiteY23" fmla="*/ 0 h 784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784044" h="784044">
                  <a:moveTo>
                    <a:pt x="784045" y="0"/>
                  </a:moveTo>
                  <a:cubicBezTo>
                    <a:pt x="784045" y="0"/>
                    <a:pt x="717370" y="549593"/>
                    <a:pt x="584020" y="683895"/>
                  </a:cubicBezTo>
                  <a:cubicBezTo>
                    <a:pt x="455432" y="812483"/>
                    <a:pt x="249692" y="817245"/>
                    <a:pt x="115390" y="698183"/>
                  </a:cubicBezTo>
                  <a:lnTo>
                    <a:pt x="180160" y="633413"/>
                  </a:lnTo>
                  <a:lnTo>
                    <a:pt x="387805" y="609600"/>
                  </a:lnTo>
                  <a:lnTo>
                    <a:pt x="383042" y="568643"/>
                  </a:lnTo>
                  <a:lnTo>
                    <a:pt x="226832" y="586740"/>
                  </a:lnTo>
                  <a:lnTo>
                    <a:pt x="302080" y="511492"/>
                  </a:lnTo>
                  <a:lnTo>
                    <a:pt x="509725" y="487680"/>
                  </a:lnTo>
                  <a:lnTo>
                    <a:pt x="504962" y="446722"/>
                  </a:lnTo>
                  <a:lnTo>
                    <a:pt x="348752" y="464820"/>
                  </a:lnTo>
                  <a:lnTo>
                    <a:pt x="504962" y="308610"/>
                  </a:lnTo>
                  <a:lnTo>
                    <a:pt x="475435" y="279083"/>
                  </a:lnTo>
                  <a:lnTo>
                    <a:pt x="323035" y="431483"/>
                  </a:lnTo>
                  <a:lnTo>
                    <a:pt x="344942" y="293370"/>
                  </a:lnTo>
                  <a:lnTo>
                    <a:pt x="303985" y="286702"/>
                  </a:lnTo>
                  <a:lnTo>
                    <a:pt x="273505" y="481013"/>
                  </a:lnTo>
                  <a:lnTo>
                    <a:pt x="201115" y="553402"/>
                  </a:lnTo>
                  <a:lnTo>
                    <a:pt x="223022" y="415290"/>
                  </a:lnTo>
                  <a:lnTo>
                    <a:pt x="182065" y="408622"/>
                  </a:lnTo>
                  <a:lnTo>
                    <a:pt x="151585" y="602933"/>
                  </a:lnTo>
                  <a:lnTo>
                    <a:pt x="85862" y="668655"/>
                  </a:lnTo>
                  <a:cubicBezTo>
                    <a:pt x="-33200" y="534352"/>
                    <a:pt x="-28438" y="328613"/>
                    <a:pt x="100150" y="200025"/>
                  </a:cubicBezTo>
                  <a:cubicBezTo>
                    <a:pt x="233500" y="66675"/>
                    <a:pt x="784045" y="0"/>
                    <a:pt x="784045" y="0"/>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56" name="Freeform: Shape 84">
              <a:extLst>
                <a:ext uri="{FF2B5EF4-FFF2-40B4-BE49-F238E27FC236}">
                  <a16:creationId xmlns:a16="http://schemas.microsoft.com/office/drawing/2014/main" id="{4DD6030D-A138-4444-BF71-0A1988C97F85}"/>
                </a:ext>
              </a:extLst>
            </p:cNvPr>
            <p:cNvSpPr/>
            <p:nvPr/>
          </p:nvSpPr>
          <p:spPr>
            <a:xfrm>
              <a:off x="3634739" y="3143250"/>
              <a:ext cx="153352" cy="152400"/>
            </a:xfrm>
            <a:custGeom>
              <a:avLst/>
              <a:gdLst>
                <a:gd name="connsiteX0" fmla="*/ 153353 w 153352"/>
                <a:gd name="connsiteY0" fmla="*/ 29528 h 152400"/>
                <a:gd name="connsiteX1" fmla="*/ 29527 w 153352"/>
                <a:gd name="connsiteY1" fmla="*/ 152400 h 152400"/>
                <a:gd name="connsiteX2" fmla="*/ 0 w 153352"/>
                <a:gd name="connsiteY2" fmla="*/ 122872 h 152400"/>
                <a:gd name="connsiteX3" fmla="*/ 122872 w 153352"/>
                <a:gd name="connsiteY3" fmla="*/ 0 h 152400"/>
                <a:gd name="connsiteX4" fmla="*/ 137160 w 153352"/>
                <a:gd name="connsiteY4" fmla="*/ 15240 h 152400"/>
                <a:gd name="connsiteX5" fmla="*/ 153353 w 153352"/>
                <a:gd name="connsiteY5" fmla="*/ 29528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3352" h="152400">
                  <a:moveTo>
                    <a:pt x="153353" y="29528"/>
                  </a:moveTo>
                  <a:lnTo>
                    <a:pt x="29527" y="152400"/>
                  </a:lnTo>
                  <a:lnTo>
                    <a:pt x="0" y="122872"/>
                  </a:lnTo>
                  <a:lnTo>
                    <a:pt x="122872" y="0"/>
                  </a:lnTo>
                  <a:cubicBezTo>
                    <a:pt x="127635" y="4763"/>
                    <a:pt x="132397" y="10478"/>
                    <a:pt x="137160" y="15240"/>
                  </a:cubicBezTo>
                  <a:cubicBezTo>
                    <a:pt x="142875" y="20003"/>
                    <a:pt x="147638" y="24765"/>
                    <a:pt x="153353" y="2952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grpSp>
        <p:nvGrpSpPr>
          <p:cNvPr id="57" name="Graphic 1">
            <a:extLst>
              <a:ext uri="{FF2B5EF4-FFF2-40B4-BE49-F238E27FC236}">
                <a16:creationId xmlns:a16="http://schemas.microsoft.com/office/drawing/2014/main" id="{D4CEECC0-8C47-48AA-AF49-9646F1E0E44D}"/>
              </a:ext>
            </a:extLst>
          </p:cNvPr>
          <p:cNvGrpSpPr/>
          <p:nvPr/>
        </p:nvGrpSpPr>
        <p:grpSpPr>
          <a:xfrm>
            <a:off x="1005011" y="4244377"/>
            <a:ext cx="379992" cy="717188"/>
            <a:chOff x="1558289" y="3338512"/>
            <a:chExt cx="558164" cy="1053465"/>
          </a:xfrm>
          <a:solidFill>
            <a:schemeClr val="bg2"/>
          </a:solidFill>
        </p:grpSpPr>
        <p:sp>
          <p:nvSpPr>
            <p:cNvPr id="58" name="Freeform: Shape 86">
              <a:extLst>
                <a:ext uri="{FF2B5EF4-FFF2-40B4-BE49-F238E27FC236}">
                  <a16:creationId xmlns:a16="http://schemas.microsoft.com/office/drawing/2014/main" id="{50ADBC48-D4E1-47A1-9DED-1133109CDE34}"/>
                </a:ext>
              </a:extLst>
            </p:cNvPr>
            <p:cNvSpPr/>
            <p:nvPr/>
          </p:nvSpPr>
          <p:spPr>
            <a:xfrm>
              <a:off x="1558289" y="3338512"/>
              <a:ext cx="558164" cy="781050"/>
            </a:xfrm>
            <a:custGeom>
              <a:avLst/>
              <a:gdLst>
                <a:gd name="connsiteX0" fmla="*/ 558165 w 558164"/>
                <a:gd name="connsiteY0" fmla="*/ 503872 h 781050"/>
                <a:gd name="connsiteX1" fmla="*/ 304800 w 558164"/>
                <a:gd name="connsiteY1" fmla="*/ 781050 h 781050"/>
                <a:gd name="connsiteX2" fmla="*/ 304800 w 558164"/>
                <a:gd name="connsiteY2" fmla="*/ 702945 h 781050"/>
                <a:gd name="connsiteX3" fmla="*/ 426720 w 558164"/>
                <a:gd name="connsiteY3" fmla="*/ 549593 h 781050"/>
                <a:gd name="connsiteX4" fmla="*/ 386715 w 558164"/>
                <a:gd name="connsiteY4" fmla="*/ 518160 h 781050"/>
                <a:gd name="connsiteX5" fmla="*/ 303848 w 558164"/>
                <a:gd name="connsiteY5" fmla="*/ 621982 h 781050"/>
                <a:gd name="connsiteX6" fmla="*/ 303848 w 558164"/>
                <a:gd name="connsiteY6" fmla="*/ 347663 h 781050"/>
                <a:gd name="connsiteX7" fmla="*/ 253365 w 558164"/>
                <a:gd name="connsiteY7" fmla="*/ 347663 h 781050"/>
                <a:gd name="connsiteX8" fmla="*/ 253365 w 558164"/>
                <a:gd name="connsiteY8" fmla="*/ 461010 h 781050"/>
                <a:gd name="connsiteX9" fmla="*/ 213360 w 558164"/>
                <a:gd name="connsiteY9" fmla="*/ 406718 h 781050"/>
                <a:gd name="connsiteX10" fmla="*/ 172403 w 558164"/>
                <a:gd name="connsiteY10" fmla="*/ 436245 h 781050"/>
                <a:gd name="connsiteX11" fmla="*/ 253365 w 558164"/>
                <a:gd name="connsiteY11" fmla="*/ 546735 h 781050"/>
                <a:gd name="connsiteX12" fmla="*/ 253365 w 558164"/>
                <a:gd name="connsiteY12" fmla="*/ 781050 h 781050"/>
                <a:gd name="connsiteX13" fmla="*/ 0 w 558164"/>
                <a:gd name="connsiteY13" fmla="*/ 503872 h 781050"/>
                <a:gd name="connsiteX14" fmla="*/ 258128 w 558164"/>
                <a:gd name="connsiteY14" fmla="*/ 25717 h 781050"/>
                <a:gd name="connsiteX15" fmla="*/ 278130 w 558164"/>
                <a:gd name="connsiteY15" fmla="*/ 0 h 781050"/>
                <a:gd name="connsiteX16" fmla="*/ 298133 w 558164"/>
                <a:gd name="connsiteY16" fmla="*/ 25717 h 781050"/>
                <a:gd name="connsiteX17" fmla="*/ 558165 w 558164"/>
                <a:gd name="connsiteY17" fmla="*/ 503872 h 781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58164" h="781050">
                  <a:moveTo>
                    <a:pt x="558165" y="503872"/>
                  </a:moveTo>
                  <a:cubicBezTo>
                    <a:pt x="558165" y="648653"/>
                    <a:pt x="446723" y="768668"/>
                    <a:pt x="304800" y="781050"/>
                  </a:cubicBezTo>
                  <a:lnTo>
                    <a:pt x="304800" y="702945"/>
                  </a:lnTo>
                  <a:lnTo>
                    <a:pt x="426720" y="549593"/>
                  </a:lnTo>
                  <a:lnTo>
                    <a:pt x="386715" y="518160"/>
                  </a:lnTo>
                  <a:lnTo>
                    <a:pt x="303848" y="621982"/>
                  </a:lnTo>
                  <a:lnTo>
                    <a:pt x="303848" y="347663"/>
                  </a:lnTo>
                  <a:lnTo>
                    <a:pt x="253365" y="347663"/>
                  </a:lnTo>
                  <a:lnTo>
                    <a:pt x="253365" y="461010"/>
                  </a:lnTo>
                  <a:lnTo>
                    <a:pt x="213360" y="406718"/>
                  </a:lnTo>
                  <a:lnTo>
                    <a:pt x="172403" y="436245"/>
                  </a:lnTo>
                  <a:lnTo>
                    <a:pt x="253365" y="546735"/>
                  </a:lnTo>
                  <a:lnTo>
                    <a:pt x="253365" y="781050"/>
                  </a:lnTo>
                  <a:cubicBezTo>
                    <a:pt x="111442" y="768668"/>
                    <a:pt x="0" y="648653"/>
                    <a:pt x="0" y="503872"/>
                  </a:cubicBezTo>
                  <a:cubicBezTo>
                    <a:pt x="0" y="357188"/>
                    <a:pt x="247650" y="39053"/>
                    <a:pt x="258128" y="25717"/>
                  </a:cubicBezTo>
                  <a:lnTo>
                    <a:pt x="278130" y="0"/>
                  </a:lnTo>
                  <a:lnTo>
                    <a:pt x="298133" y="25717"/>
                  </a:lnTo>
                  <a:cubicBezTo>
                    <a:pt x="309562" y="40005"/>
                    <a:pt x="558165" y="357188"/>
                    <a:pt x="558165" y="503872"/>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59" name="Freeform: Shape 87">
              <a:extLst>
                <a:ext uri="{FF2B5EF4-FFF2-40B4-BE49-F238E27FC236}">
                  <a16:creationId xmlns:a16="http://schemas.microsoft.com/office/drawing/2014/main" id="{DA152FF7-6D42-4264-8049-58065D21C385}"/>
                </a:ext>
              </a:extLst>
            </p:cNvPr>
            <p:cNvSpPr/>
            <p:nvPr/>
          </p:nvSpPr>
          <p:spPr>
            <a:xfrm>
              <a:off x="1812606" y="4119562"/>
              <a:ext cx="50482" cy="272415"/>
            </a:xfrm>
            <a:custGeom>
              <a:avLst/>
              <a:gdLst>
                <a:gd name="connsiteX0" fmla="*/ 50482 w 50482"/>
                <a:gd name="connsiteY0" fmla="*/ 0 h 272415"/>
                <a:gd name="connsiteX1" fmla="*/ 50482 w 50482"/>
                <a:gd name="connsiteY1" fmla="*/ 272415 h 272415"/>
                <a:gd name="connsiteX2" fmla="*/ 0 w 50482"/>
                <a:gd name="connsiteY2" fmla="*/ 272415 h 272415"/>
                <a:gd name="connsiteX3" fmla="*/ 0 w 50482"/>
                <a:gd name="connsiteY3" fmla="*/ 0 h 272415"/>
                <a:gd name="connsiteX4" fmla="*/ 25718 w 50482"/>
                <a:gd name="connsiteY4" fmla="*/ 953 h 272415"/>
                <a:gd name="connsiteX5" fmla="*/ 50482 w 50482"/>
                <a:gd name="connsiteY5" fmla="*/ 0 h 2724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482" h="272415">
                  <a:moveTo>
                    <a:pt x="50482" y="0"/>
                  </a:moveTo>
                  <a:lnTo>
                    <a:pt x="50482" y="272415"/>
                  </a:lnTo>
                  <a:lnTo>
                    <a:pt x="0" y="272415"/>
                  </a:lnTo>
                  <a:lnTo>
                    <a:pt x="0" y="0"/>
                  </a:lnTo>
                  <a:cubicBezTo>
                    <a:pt x="8573" y="953"/>
                    <a:pt x="17145" y="953"/>
                    <a:pt x="25718" y="953"/>
                  </a:cubicBezTo>
                  <a:cubicBezTo>
                    <a:pt x="33338" y="1905"/>
                    <a:pt x="41910" y="953"/>
                    <a:pt x="50482" y="0"/>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grpSp>
        <p:nvGrpSpPr>
          <p:cNvPr id="60" name="Graphic 1">
            <a:extLst>
              <a:ext uri="{FF2B5EF4-FFF2-40B4-BE49-F238E27FC236}">
                <a16:creationId xmlns:a16="http://schemas.microsoft.com/office/drawing/2014/main" id="{BC1DB891-A472-41AD-9D31-1700DBCBB563}"/>
              </a:ext>
            </a:extLst>
          </p:cNvPr>
          <p:cNvGrpSpPr/>
          <p:nvPr/>
        </p:nvGrpSpPr>
        <p:grpSpPr>
          <a:xfrm>
            <a:off x="4649116" y="4534637"/>
            <a:ext cx="495416" cy="496712"/>
            <a:chOff x="8959214" y="2548890"/>
            <a:chExt cx="727710" cy="729614"/>
          </a:xfrm>
          <a:solidFill>
            <a:schemeClr val="bg2"/>
          </a:solidFill>
        </p:grpSpPr>
        <p:sp>
          <p:nvSpPr>
            <p:cNvPr id="61" name="Freeform: Shape 89">
              <a:extLst>
                <a:ext uri="{FF2B5EF4-FFF2-40B4-BE49-F238E27FC236}">
                  <a16:creationId xmlns:a16="http://schemas.microsoft.com/office/drawing/2014/main" id="{7AA3B112-C0E3-45D1-82AE-2A31A5404332}"/>
                </a:ext>
              </a:extLst>
            </p:cNvPr>
            <p:cNvSpPr/>
            <p:nvPr/>
          </p:nvSpPr>
          <p:spPr>
            <a:xfrm>
              <a:off x="8959214" y="3156584"/>
              <a:ext cx="120967" cy="121920"/>
            </a:xfrm>
            <a:custGeom>
              <a:avLst/>
              <a:gdLst>
                <a:gd name="connsiteX0" fmla="*/ 120968 w 120967"/>
                <a:gd name="connsiteY0" fmla="*/ 33338 h 121920"/>
                <a:gd name="connsiteX1" fmla="*/ 33338 w 120967"/>
                <a:gd name="connsiteY1" fmla="*/ 121920 h 121920"/>
                <a:gd name="connsiteX2" fmla="*/ 0 w 120967"/>
                <a:gd name="connsiteY2" fmla="*/ 88583 h 121920"/>
                <a:gd name="connsiteX3" fmla="*/ 87630 w 120967"/>
                <a:gd name="connsiteY3" fmla="*/ 0 h 121920"/>
                <a:gd name="connsiteX4" fmla="*/ 103823 w 120967"/>
                <a:gd name="connsiteY4" fmla="*/ 18098 h 121920"/>
                <a:gd name="connsiteX5" fmla="*/ 120968 w 120967"/>
                <a:gd name="connsiteY5" fmla="*/ 33338 h 121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0967" h="121920">
                  <a:moveTo>
                    <a:pt x="120968" y="33338"/>
                  </a:moveTo>
                  <a:lnTo>
                    <a:pt x="33338" y="121920"/>
                  </a:lnTo>
                  <a:lnTo>
                    <a:pt x="0" y="88583"/>
                  </a:lnTo>
                  <a:lnTo>
                    <a:pt x="87630" y="0"/>
                  </a:lnTo>
                  <a:cubicBezTo>
                    <a:pt x="92393" y="5715"/>
                    <a:pt x="98108" y="12383"/>
                    <a:pt x="103823" y="18098"/>
                  </a:cubicBezTo>
                  <a:cubicBezTo>
                    <a:pt x="109538" y="22860"/>
                    <a:pt x="115253" y="27623"/>
                    <a:pt x="120968" y="3333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nvGrpSpPr>
            <p:cNvPr id="62" name="Graphic 1">
              <a:extLst>
                <a:ext uri="{FF2B5EF4-FFF2-40B4-BE49-F238E27FC236}">
                  <a16:creationId xmlns:a16="http://schemas.microsoft.com/office/drawing/2014/main" id="{2080BCB3-44A7-460A-96FC-986C0643809A}"/>
                </a:ext>
              </a:extLst>
            </p:cNvPr>
            <p:cNvGrpSpPr/>
            <p:nvPr/>
          </p:nvGrpSpPr>
          <p:grpSpPr>
            <a:xfrm>
              <a:off x="8971174" y="2548890"/>
              <a:ext cx="715750" cy="716279"/>
              <a:chOff x="8971174" y="2548890"/>
              <a:chExt cx="715750" cy="716279"/>
            </a:xfrm>
            <a:grpFill/>
          </p:grpSpPr>
          <p:sp>
            <p:nvSpPr>
              <p:cNvPr id="63" name="Freeform: Shape 91">
                <a:extLst>
                  <a:ext uri="{FF2B5EF4-FFF2-40B4-BE49-F238E27FC236}">
                    <a16:creationId xmlns:a16="http://schemas.microsoft.com/office/drawing/2014/main" id="{AC2B3A0A-ECB8-4404-AFC7-C28E6ABE00AF}"/>
                  </a:ext>
                </a:extLst>
              </p:cNvPr>
              <p:cNvSpPr/>
              <p:nvPr/>
            </p:nvSpPr>
            <p:spPr>
              <a:xfrm>
                <a:off x="8971174" y="2548890"/>
                <a:ext cx="715750" cy="716279"/>
              </a:xfrm>
              <a:custGeom>
                <a:avLst/>
                <a:gdLst>
                  <a:gd name="connsiteX0" fmla="*/ 686223 w 715750"/>
                  <a:gd name="connsiteY0" fmla="*/ 3810 h 716279"/>
                  <a:gd name="connsiteX1" fmla="*/ 91863 w 715750"/>
                  <a:gd name="connsiteY1" fmla="*/ 180975 h 716279"/>
                  <a:gd name="connsiteX2" fmla="*/ 75670 w 715750"/>
                  <a:gd name="connsiteY2" fmla="*/ 606743 h 716279"/>
                  <a:gd name="connsiteX3" fmla="*/ 149965 w 715750"/>
                  <a:gd name="connsiteY3" fmla="*/ 532447 h 716279"/>
                  <a:gd name="connsiteX4" fmla="*/ 183303 w 715750"/>
                  <a:gd name="connsiteY4" fmla="*/ 565785 h 716279"/>
                  <a:gd name="connsiteX5" fmla="*/ 109008 w 715750"/>
                  <a:gd name="connsiteY5" fmla="*/ 640080 h 716279"/>
                  <a:gd name="connsiteX6" fmla="*/ 313795 w 715750"/>
                  <a:gd name="connsiteY6" fmla="*/ 716280 h 716279"/>
                  <a:gd name="connsiteX7" fmla="*/ 535728 w 715750"/>
                  <a:gd name="connsiteY7" fmla="*/ 624840 h 716279"/>
                  <a:gd name="connsiteX8" fmla="*/ 711940 w 715750"/>
                  <a:gd name="connsiteY8" fmla="*/ 30480 h 716279"/>
                  <a:gd name="connsiteX9" fmla="*/ 715750 w 715750"/>
                  <a:gd name="connsiteY9" fmla="*/ 0 h 716279"/>
                  <a:gd name="connsiteX10" fmla="*/ 686223 w 715750"/>
                  <a:gd name="connsiteY10" fmla="*/ 3810 h 716279"/>
                  <a:gd name="connsiteX11" fmla="*/ 390948 w 715750"/>
                  <a:gd name="connsiteY11" fmla="*/ 454342 h 716279"/>
                  <a:gd name="connsiteX12" fmla="*/ 303318 w 715750"/>
                  <a:gd name="connsiteY12" fmla="*/ 488632 h 716279"/>
                  <a:gd name="connsiteX13" fmla="*/ 215688 w 715750"/>
                  <a:gd name="connsiteY13" fmla="*/ 455295 h 716279"/>
                  <a:gd name="connsiteX14" fmla="*/ 183303 w 715750"/>
                  <a:gd name="connsiteY14" fmla="*/ 362902 h 716279"/>
                  <a:gd name="connsiteX15" fmla="*/ 194733 w 715750"/>
                  <a:gd name="connsiteY15" fmla="*/ 299085 h 716279"/>
                  <a:gd name="connsiteX16" fmla="*/ 217593 w 715750"/>
                  <a:gd name="connsiteY16" fmla="*/ 264795 h 716279"/>
                  <a:gd name="connsiteX17" fmla="*/ 249978 w 715750"/>
                  <a:gd name="connsiteY17" fmla="*/ 242888 h 716279"/>
                  <a:gd name="connsiteX18" fmla="*/ 303318 w 715750"/>
                  <a:gd name="connsiteY18" fmla="*/ 233363 h 716279"/>
                  <a:gd name="connsiteX19" fmla="*/ 390948 w 715750"/>
                  <a:gd name="connsiteY19" fmla="*/ 267652 h 716279"/>
                  <a:gd name="connsiteX20" fmla="*/ 424286 w 715750"/>
                  <a:gd name="connsiteY20" fmla="*/ 361950 h 716279"/>
                  <a:gd name="connsiteX21" fmla="*/ 390948 w 715750"/>
                  <a:gd name="connsiteY21" fmla="*/ 454342 h 716279"/>
                  <a:gd name="connsiteX22" fmla="*/ 500486 w 715750"/>
                  <a:gd name="connsiteY22" fmla="*/ 500063 h 716279"/>
                  <a:gd name="connsiteX23" fmla="*/ 500486 w 715750"/>
                  <a:gd name="connsiteY23" fmla="*/ 516255 h 716279"/>
                  <a:gd name="connsiteX24" fmla="*/ 439525 w 715750"/>
                  <a:gd name="connsiteY24" fmla="*/ 516255 h 716279"/>
                  <a:gd name="connsiteX25" fmla="*/ 445240 w 715750"/>
                  <a:gd name="connsiteY25" fmla="*/ 499110 h 716279"/>
                  <a:gd name="connsiteX26" fmla="*/ 465243 w 715750"/>
                  <a:gd name="connsiteY26" fmla="*/ 477202 h 716279"/>
                  <a:gd name="connsiteX27" fmla="*/ 479530 w 715750"/>
                  <a:gd name="connsiteY27" fmla="*/ 461963 h 716279"/>
                  <a:gd name="connsiteX28" fmla="*/ 483340 w 715750"/>
                  <a:gd name="connsiteY28" fmla="*/ 451485 h 716279"/>
                  <a:gd name="connsiteX29" fmla="*/ 480483 w 715750"/>
                  <a:gd name="connsiteY29" fmla="*/ 442913 h 716279"/>
                  <a:gd name="connsiteX30" fmla="*/ 471911 w 715750"/>
                  <a:gd name="connsiteY30" fmla="*/ 440055 h 716279"/>
                  <a:gd name="connsiteX31" fmla="*/ 463338 w 715750"/>
                  <a:gd name="connsiteY31" fmla="*/ 442913 h 716279"/>
                  <a:gd name="connsiteX32" fmla="*/ 459528 w 715750"/>
                  <a:gd name="connsiteY32" fmla="*/ 454342 h 716279"/>
                  <a:gd name="connsiteX33" fmla="*/ 442383 w 715750"/>
                  <a:gd name="connsiteY33" fmla="*/ 452438 h 716279"/>
                  <a:gd name="connsiteX34" fmla="*/ 451908 w 715750"/>
                  <a:gd name="connsiteY34" fmla="*/ 431482 h 716279"/>
                  <a:gd name="connsiteX35" fmla="*/ 472863 w 715750"/>
                  <a:gd name="connsiteY35" fmla="*/ 424815 h 716279"/>
                  <a:gd name="connsiteX36" fmla="*/ 493818 w 715750"/>
                  <a:gd name="connsiteY36" fmla="*/ 432435 h 716279"/>
                  <a:gd name="connsiteX37" fmla="*/ 501438 w 715750"/>
                  <a:gd name="connsiteY37" fmla="*/ 450532 h 716279"/>
                  <a:gd name="connsiteX38" fmla="*/ 499533 w 715750"/>
                  <a:gd name="connsiteY38" fmla="*/ 461963 h 716279"/>
                  <a:gd name="connsiteX39" fmla="*/ 492865 w 715750"/>
                  <a:gd name="connsiteY39" fmla="*/ 473392 h 716279"/>
                  <a:gd name="connsiteX40" fmla="*/ 481436 w 715750"/>
                  <a:gd name="connsiteY40" fmla="*/ 484822 h 716279"/>
                  <a:gd name="connsiteX41" fmla="*/ 470958 w 715750"/>
                  <a:gd name="connsiteY41" fmla="*/ 495300 h 716279"/>
                  <a:gd name="connsiteX42" fmla="*/ 467148 w 715750"/>
                  <a:gd name="connsiteY42" fmla="*/ 500063 h 716279"/>
                  <a:gd name="connsiteX43" fmla="*/ 500486 w 715750"/>
                  <a:gd name="connsiteY43" fmla="*/ 500063 h 716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715750" h="716279">
                    <a:moveTo>
                      <a:pt x="686223" y="3810"/>
                    </a:moveTo>
                    <a:cubicBezTo>
                      <a:pt x="667173" y="6667"/>
                      <a:pt x="209973" y="62865"/>
                      <a:pt x="91863" y="180975"/>
                    </a:cubicBezTo>
                    <a:cubicBezTo>
                      <a:pt x="-25295" y="297180"/>
                      <a:pt x="-30057" y="483870"/>
                      <a:pt x="75670" y="606743"/>
                    </a:cubicBezTo>
                    <a:lnTo>
                      <a:pt x="149965" y="532447"/>
                    </a:lnTo>
                    <a:lnTo>
                      <a:pt x="183303" y="565785"/>
                    </a:lnTo>
                    <a:lnTo>
                      <a:pt x="109008" y="640080"/>
                    </a:lnTo>
                    <a:cubicBezTo>
                      <a:pt x="168063" y="690563"/>
                      <a:pt x="240453" y="716280"/>
                      <a:pt x="313795" y="716280"/>
                    </a:cubicBezTo>
                    <a:cubicBezTo>
                      <a:pt x="393805" y="716280"/>
                      <a:pt x="474768" y="685800"/>
                      <a:pt x="535728" y="624840"/>
                    </a:cubicBezTo>
                    <a:cubicBezTo>
                      <a:pt x="653838" y="506730"/>
                      <a:pt x="710036" y="50482"/>
                      <a:pt x="711940" y="30480"/>
                    </a:cubicBezTo>
                    <a:lnTo>
                      <a:pt x="715750" y="0"/>
                    </a:lnTo>
                    <a:lnTo>
                      <a:pt x="686223" y="3810"/>
                    </a:lnTo>
                    <a:close/>
                    <a:moveTo>
                      <a:pt x="390948" y="454342"/>
                    </a:moveTo>
                    <a:cubicBezTo>
                      <a:pt x="369040" y="477202"/>
                      <a:pt x="340465" y="488632"/>
                      <a:pt x="303318" y="488632"/>
                    </a:cubicBezTo>
                    <a:cubicBezTo>
                      <a:pt x="266170" y="488632"/>
                      <a:pt x="237595" y="477202"/>
                      <a:pt x="215688" y="455295"/>
                    </a:cubicBezTo>
                    <a:cubicBezTo>
                      <a:pt x="193780" y="432435"/>
                      <a:pt x="183303" y="401955"/>
                      <a:pt x="183303" y="362902"/>
                    </a:cubicBezTo>
                    <a:cubicBezTo>
                      <a:pt x="183303" y="338138"/>
                      <a:pt x="187113" y="316230"/>
                      <a:pt x="194733" y="299085"/>
                    </a:cubicBezTo>
                    <a:cubicBezTo>
                      <a:pt x="200448" y="286702"/>
                      <a:pt x="208068" y="275272"/>
                      <a:pt x="217593" y="264795"/>
                    </a:cubicBezTo>
                    <a:cubicBezTo>
                      <a:pt x="227118" y="254317"/>
                      <a:pt x="237595" y="247650"/>
                      <a:pt x="249978" y="242888"/>
                    </a:cubicBezTo>
                    <a:cubicBezTo>
                      <a:pt x="265218" y="236220"/>
                      <a:pt x="283315" y="233363"/>
                      <a:pt x="303318" y="233363"/>
                    </a:cubicBezTo>
                    <a:cubicBezTo>
                      <a:pt x="339513" y="233363"/>
                      <a:pt x="369040" y="244792"/>
                      <a:pt x="390948" y="267652"/>
                    </a:cubicBezTo>
                    <a:cubicBezTo>
                      <a:pt x="412855" y="290513"/>
                      <a:pt x="424286" y="321945"/>
                      <a:pt x="424286" y="361950"/>
                    </a:cubicBezTo>
                    <a:cubicBezTo>
                      <a:pt x="423333" y="400050"/>
                      <a:pt x="412855" y="431482"/>
                      <a:pt x="390948" y="454342"/>
                    </a:cubicBezTo>
                    <a:close/>
                    <a:moveTo>
                      <a:pt x="500486" y="500063"/>
                    </a:moveTo>
                    <a:lnTo>
                      <a:pt x="500486" y="516255"/>
                    </a:lnTo>
                    <a:lnTo>
                      <a:pt x="439525" y="516255"/>
                    </a:lnTo>
                    <a:cubicBezTo>
                      <a:pt x="440478" y="510540"/>
                      <a:pt x="442383" y="503872"/>
                      <a:pt x="445240" y="499110"/>
                    </a:cubicBezTo>
                    <a:cubicBezTo>
                      <a:pt x="448098" y="493395"/>
                      <a:pt x="454765" y="486727"/>
                      <a:pt x="465243" y="477202"/>
                    </a:cubicBezTo>
                    <a:cubicBezTo>
                      <a:pt x="472863" y="469582"/>
                      <a:pt x="477625" y="464820"/>
                      <a:pt x="479530" y="461963"/>
                    </a:cubicBezTo>
                    <a:cubicBezTo>
                      <a:pt x="482388" y="458152"/>
                      <a:pt x="483340" y="454342"/>
                      <a:pt x="483340" y="451485"/>
                    </a:cubicBezTo>
                    <a:cubicBezTo>
                      <a:pt x="483340" y="447675"/>
                      <a:pt x="482388" y="444817"/>
                      <a:pt x="480483" y="442913"/>
                    </a:cubicBezTo>
                    <a:cubicBezTo>
                      <a:pt x="478578" y="441007"/>
                      <a:pt x="475720" y="440055"/>
                      <a:pt x="471911" y="440055"/>
                    </a:cubicBezTo>
                    <a:cubicBezTo>
                      <a:pt x="468100" y="440055"/>
                      <a:pt x="465243" y="441007"/>
                      <a:pt x="463338" y="442913"/>
                    </a:cubicBezTo>
                    <a:cubicBezTo>
                      <a:pt x="461433" y="444817"/>
                      <a:pt x="459528" y="448627"/>
                      <a:pt x="459528" y="454342"/>
                    </a:cubicBezTo>
                    <a:lnTo>
                      <a:pt x="442383" y="452438"/>
                    </a:lnTo>
                    <a:cubicBezTo>
                      <a:pt x="443336" y="442913"/>
                      <a:pt x="447145" y="436245"/>
                      <a:pt x="451908" y="431482"/>
                    </a:cubicBezTo>
                    <a:cubicBezTo>
                      <a:pt x="456670" y="426720"/>
                      <a:pt x="464290" y="424815"/>
                      <a:pt x="472863" y="424815"/>
                    </a:cubicBezTo>
                    <a:cubicBezTo>
                      <a:pt x="481436" y="424815"/>
                      <a:pt x="489055" y="427672"/>
                      <a:pt x="493818" y="432435"/>
                    </a:cubicBezTo>
                    <a:cubicBezTo>
                      <a:pt x="498580" y="437197"/>
                      <a:pt x="501438" y="442913"/>
                      <a:pt x="501438" y="450532"/>
                    </a:cubicBezTo>
                    <a:cubicBezTo>
                      <a:pt x="501438" y="454342"/>
                      <a:pt x="500486" y="458152"/>
                      <a:pt x="499533" y="461963"/>
                    </a:cubicBezTo>
                    <a:cubicBezTo>
                      <a:pt x="497628" y="465772"/>
                      <a:pt x="495723" y="469582"/>
                      <a:pt x="492865" y="473392"/>
                    </a:cubicBezTo>
                    <a:cubicBezTo>
                      <a:pt x="490961" y="476250"/>
                      <a:pt x="487150" y="480060"/>
                      <a:pt x="481436" y="484822"/>
                    </a:cubicBezTo>
                    <a:cubicBezTo>
                      <a:pt x="475720" y="489585"/>
                      <a:pt x="472863" y="493395"/>
                      <a:pt x="470958" y="495300"/>
                    </a:cubicBezTo>
                    <a:cubicBezTo>
                      <a:pt x="469053" y="497205"/>
                      <a:pt x="468100" y="498157"/>
                      <a:pt x="467148" y="500063"/>
                    </a:cubicBezTo>
                    <a:lnTo>
                      <a:pt x="500486" y="500063"/>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64" name="Freeform: Shape 92">
                <a:extLst>
                  <a:ext uri="{FF2B5EF4-FFF2-40B4-BE49-F238E27FC236}">
                    <a16:creationId xmlns:a16="http://schemas.microsoft.com/office/drawing/2014/main" id="{E878F24A-C707-4857-8ED3-C120CDAE7A1F}"/>
                  </a:ext>
                </a:extLst>
              </p:cNvPr>
              <p:cNvSpPr/>
              <p:nvPr/>
            </p:nvSpPr>
            <p:spPr>
              <a:xfrm>
                <a:off x="9205912" y="2824162"/>
                <a:ext cx="137160" cy="170497"/>
              </a:xfrm>
              <a:custGeom>
                <a:avLst/>
                <a:gdLst>
                  <a:gd name="connsiteX0" fmla="*/ 68580 w 137160"/>
                  <a:gd name="connsiteY0" fmla="*/ 0 h 170497"/>
                  <a:gd name="connsiteX1" fmla="*/ 19050 w 137160"/>
                  <a:gd name="connsiteY1" fmla="*/ 20955 h 170497"/>
                  <a:gd name="connsiteX2" fmla="*/ 0 w 137160"/>
                  <a:gd name="connsiteY2" fmla="*/ 84772 h 170497"/>
                  <a:gd name="connsiteX3" fmla="*/ 19050 w 137160"/>
                  <a:gd name="connsiteY3" fmla="*/ 148590 h 170497"/>
                  <a:gd name="connsiteX4" fmla="*/ 68580 w 137160"/>
                  <a:gd name="connsiteY4" fmla="*/ 170497 h 170497"/>
                  <a:gd name="connsiteX5" fmla="*/ 118110 w 137160"/>
                  <a:gd name="connsiteY5" fmla="*/ 148590 h 170497"/>
                  <a:gd name="connsiteX6" fmla="*/ 137160 w 137160"/>
                  <a:gd name="connsiteY6" fmla="*/ 83820 h 170497"/>
                  <a:gd name="connsiteX7" fmla="*/ 118110 w 137160"/>
                  <a:gd name="connsiteY7" fmla="*/ 20003 h 170497"/>
                  <a:gd name="connsiteX8" fmla="*/ 68580 w 137160"/>
                  <a:gd name="connsiteY8" fmla="*/ 0 h 1704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7160" h="170497">
                    <a:moveTo>
                      <a:pt x="68580" y="0"/>
                    </a:moveTo>
                    <a:cubicBezTo>
                      <a:pt x="47625" y="0"/>
                      <a:pt x="31432" y="6667"/>
                      <a:pt x="19050" y="20955"/>
                    </a:cubicBezTo>
                    <a:cubicBezTo>
                      <a:pt x="6668" y="35242"/>
                      <a:pt x="0" y="56197"/>
                      <a:pt x="0" y="84772"/>
                    </a:cubicBezTo>
                    <a:cubicBezTo>
                      <a:pt x="0" y="112395"/>
                      <a:pt x="6668" y="134303"/>
                      <a:pt x="19050" y="148590"/>
                    </a:cubicBezTo>
                    <a:cubicBezTo>
                      <a:pt x="32385" y="162878"/>
                      <a:pt x="48577" y="170497"/>
                      <a:pt x="68580" y="170497"/>
                    </a:cubicBezTo>
                    <a:cubicBezTo>
                      <a:pt x="88582" y="170497"/>
                      <a:pt x="104775" y="162878"/>
                      <a:pt x="118110" y="148590"/>
                    </a:cubicBezTo>
                    <a:cubicBezTo>
                      <a:pt x="130493" y="134303"/>
                      <a:pt x="137160" y="112395"/>
                      <a:pt x="137160" y="83820"/>
                    </a:cubicBezTo>
                    <a:cubicBezTo>
                      <a:pt x="137160" y="55245"/>
                      <a:pt x="130493" y="34290"/>
                      <a:pt x="118110" y="20003"/>
                    </a:cubicBezTo>
                    <a:cubicBezTo>
                      <a:pt x="105727" y="6667"/>
                      <a:pt x="89535" y="0"/>
                      <a:pt x="68580" y="0"/>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grpSp>
      <p:grpSp>
        <p:nvGrpSpPr>
          <p:cNvPr id="65" name="Graphic 1">
            <a:extLst>
              <a:ext uri="{FF2B5EF4-FFF2-40B4-BE49-F238E27FC236}">
                <a16:creationId xmlns:a16="http://schemas.microsoft.com/office/drawing/2014/main" id="{1732C3FB-4C98-423B-9144-B5290D128105}"/>
              </a:ext>
            </a:extLst>
          </p:cNvPr>
          <p:cNvGrpSpPr/>
          <p:nvPr/>
        </p:nvGrpSpPr>
        <p:grpSpPr>
          <a:xfrm>
            <a:off x="4131262" y="3018584"/>
            <a:ext cx="718350" cy="576578"/>
            <a:chOff x="6348412" y="2426970"/>
            <a:chExt cx="1081087" cy="867727"/>
          </a:xfrm>
          <a:solidFill>
            <a:schemeClr val="bg2"/>
          </a:solidFill>
        </p:grpSpPr>
        <p:grpSp>
          <p:nvGrpSpPr>
            <p:cNvPr id="66" name="Graphic 1">
              <a:extLst>
                <a:ext uri="{FF2B5EF4-FFF2-40B4-BE49-F238E27FC236}">
                  <a16:creationId xmlns:a16="http://schemas.microsoft.com/office/drawing/2014/main" id="{131708BB-AECC-4D58-AD5C-8FBFFCF8C3C2}"/>
                </a:ext>
              </a:extLst>
            </p:cNvPr>
            <p:cNvGrpSpPr/>
            <p:nvPr/>
          </p:nvGrpSpPr>
          <p:grpSpPr>
            <a:xfrm>
              <a:off x="6348412" y="2426970"/>
              <a:ext cx="1081087" cy="529589"/>
              <a:chOff x="6348412" y="2426970"/>
              <a:chExt cx="1081087" cy="529589"/>
            </a:xfrm>
            <a:grpFill/>
          </p:grpSpPr>
          <p:sp>
            <p:nvSpPr>
              <p:cNvPr id="68" name="Freeform: Shape 96">
                <a:extLst>
                  <a:ext uri="{FF2B5EF4-FFF2-40B4-BE49-F238E27FC236}">
                    <a16:creationId xmlns:a16="http://schemas.microsoft.com/office/drawing/2014/main" id="{57ED1D73-B262-4F34-A0F4-EE6FBC3C6F47}"/>
                  </a:ext>
                </a:extLst>
              </p:cNvPr>
              <p:cNvSpPr/>
              <p:nvPr/>
            </p:nvSpPr>
            <p:spPr>
              <a:xfrm>
                <a:off x="6348412" y="2426970"/>
                <a:ext cx="463867" cy="333375"/>
              </a:xfrm>
              <a:custGeom>
                <a:avLst/>
                <a:gdLst>
                  <a:gd name="connsiteX0" fmla="*/ 442913 w 463867"/>
                  <a:gd name="connsiteY0" fmla="*/ 189547 h 333375"/>
                  <a:gd name="connsiteX1" fmla="*/ 462915 w 463867"/>
                  <a:gd name="connsiteY1" fmla="*/ 194310 h 333375"/>
                  <a:gd name="connsiteX2" fmla="*/ 299085 w 463867"/>
                  <a:gd name="connsiteY2" fmla="*/ 333375 h 333375"/>
                  <a:gd name="connsiteX3" fmla="*/ 22860 w 463867"/>
                  <a:gd name="connsiteY3" fmla="*/ 184785 h 333375"/>
                  <a:gd name="connsiteX4" fmla="*/ 0 w 463867"/>
                  <a:gd name="connsiteY4" fmla="*/ 166688 h 333375"/>
                  <a:gd name="connsiteX5" fmla="*/ 22860 w 463867"/>
                  <a:gd name="connsiteY5" fmla="*/ 148590 h 333375"/>
                  <a:gd name="connsiteX6" fmla="*/ 299085 w 463867"/>
                  <a:gd name="connsiteY6" fmla="*/ 0 h 333375"/>
                  <a:gd name="connsiteX7" fmla="*/ 463868 w 463867"/>
                  <a:gd name="connsiteY7" fmla="*/ 146685 h 333375"/>
                  <a:gd name="connsiteX8" fmla="*/ 442913 w 463867"/>
                  <a:gd name="connsiteY8" fmla="*/ 143827 h 333375"/>
                  <a:gd name="connsiteX9" fmla="*/ 293370 w 463867"/>
                  <a:gd name="connsiteY9" fmla="*/ 143827 h 333375"/>
                  <a:gd name="connsiteX10" fmla="*/ 293370 w 463867"/>
                  <a:gd name="connsiteY10" fmla="*/ 189547 h 333375"/>
                  <a:gd name="connsiteX11" fmla="*/ 442913 w 463867"/>
                  <a:gd name="connsiteY11" fmla="*/ 189547 h 333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63867" h="333375">
                    <a:moveTo>
                      <a:pt x="442913" y="189547"/>
                    </a:moveTo>
                    <a:cubicBezTo>
                      <a:pt x="450532" y="189547"/>
                      <a:pt x="457200" y="191452"/>
                      <a:pt x="462915" y="194310"/>
                    </a:cubicBezTo>
                    <a:cubicBezTo>
                      <a:pt x="449580" y="273367"/>
                      <a:pt x="381000" y="333375"/>
                      <a:pt x="299085" y="333375"/>
                    </a:cubicBezTo>
                    <a:cubicBezTo>
                      <a:pt x="214313" y="333375"/>
                      <a:pt x="41910" y="200025"/>
                      <a:pt x="22860" y="184785"/>
                    </a:cubicBezTo>
                    <a:lnTo>
                      <a:pt x="0" y="166688"/>
                    </a:lnTo>
                    <a:lnTo>
                      <a:pt x="22860" y="148590"/>
                    </a:lnTo>
                    <a:cubicBezTo>
                      <a:pt x="41910" y="133350"/>
                      <a:pt x="215265" y="0"/>
                      <a:pt x="299085" y="0"/>
                    </a:cubicBezTo>
                    <a:cubicBezTo>
                      <a:pt x="383857" y="0"/>
                      <a:pt x="454343" y="63817"/>
                      <a:pt x="463868" y="146685"/>
                    </a:cubicBezTo>
                    <a:cubicBezTo>
                      <a:pt x="457200" y="144780"/>
                      <a:pt x="449580" y="143827"/>
                      <a:pt x="442913" y="143827"/>
                    </a:cubicBezTo>
                    <a:lnTo>
                      <a:pt x="293370" y="143827"/>
                    </a:lnTo>
                    <a:lnTo>
                      <a:pt x="293370" y="189547"/>
                    </a:lnTo>
                    <a:lnTo>
                      <a:pt x="442913" y="189547"/>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69" name="Freeform: Shape 97">
                <a:extLst>
                  <a:ext uri="{FF2B5EF4-FFF2-40B4-BE49-F238E27FC236}">
                    <a16:creationId xmlns:a16="http://schemas.microsoft.com/office/drawing/2014/main" id="{21F5399A-9B79-4713-9122-4D7C9592C6FE}"/>
                  </a:ext>
                </a:extLst>
              </p:cNvPr>
              <p:cNvSpPr/>
              <p:nvPr/>
            </p:nvSpPr>
            <p:spPr>
              <a:xfrm>
                <a:off x="7052309" y="2685097"/>
                <a:ext cx="377189" cy="271462"/>
              </a:xfrm>
              <a:custGeom>
                <a:avLst/>
                <a:gdLst>
                  <a:gd name="connsiteX0" fmla="*/ 377190 w 377189"/>
                  <a:gd name="connsiteY0" fmla="*/ 135255 h 271462"/>
                  <a:gd name="connsiteX1" fmla="*/ 354330 w 377189"/>
                  <a:gd name="connsiteY1" fmla="*/ 153353 h 271462"/>
                  <a:gd name="connsiteX2" fmla="*/ 133350 w 377189"/>
                  <a:gd name="connsiteY2" fmla="*/ 271463 h 271462"/>
                  <a:gd name="connsiteX3" fmla="*/ 0 w 377189"/>
                  <a:gd name="connsiteY3" fmla="*/ 160973 h 271462"/>
                  <a:gd name="connsiteX4" fmla="*/ 28575 w 377189"/>
                  <a:gd name="connsiteY4" fmla="*/ 158115 h 271462"/>
                  <a:gd name="connsiteX5" fmla="*/ 155257 w 377189"/>
                  <a:gd name="connsiteY5" fmla="*/ 158115 h 271462"/>
                  <a:gd name="connsiteX6" fmla="*/ 155257 w 377189"/>
                  <a:gd name="connsiteY6" fmla="*/ 112395 h 271462"/>
                  <a:gd name="connsiteX7" fmla="*/ 29527 w 377189"/>
                  <a:gd name="connsiteY7" fmla="*/ 112395 h 271462"/>
                  <a:gd name="connsiteX8" fmla="*/ 0 w 377189"/>
                  <a:gd name="connsiteY8" fmla="*/ 115253 h 271462"/>
                  <a:gd name="connsiteX9" fmla="*/ 134302 w 377189"/>
                  <a:gd name="connsiteY9" fmla="*/ 0 h 271462"/>
                  <a:gd name="connsiteX10" fmla="*/ 355282 w 377189"/>
                  <a:gd name="connsiteY10" fmla="*/ 118110 h 271462"/>
                  <a:gd name="connsiteX11" fmla="*/ 377190 w 377189"/>
                  <a:gd name="connsiteY11" fmla="*/ 135255 h 2714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77189" h="271462">
                    <a:moveTo>
                      <a:pt x="377190" y="135255"/>
                    </a:moveTo>
                    <a:lnTo>
                      <a:pt x="354330" y="153353"/>
                    </a:lnTo>
                    <a:cubicBezTo>
                      <a:pt x="339090" y="165735"/>
                      <a:pt x="201930" y="271463"/>
                      <a:pt x="133350" y="271463"/>
                    </a:cubicBezTo>
                    <a:cubicBezTo>
                      <a:pt x="67627" y="271463"/>
                      <a:pt x="12382" y="223838"/>
                      <a:pt x="0" y="160973"/>
                    </a:cubicBezTo>
                    <a:cubicBezTo>
                      <a:pt x="8572" y="159068"/>
                      <a:pt x="18097" y="158115"/>
                      <a:pt x="28575" y="158115"/>
                    </a:cubicBezTo>
                    <a:lnTo>
                      <a:pt x="155257" y="158115"/>
                    </a:lnTo>
                    <a:lnTo>
                      <a:pt x="155257" y="112395"/>
                    </a:lnTo>
                    <a:lnTo>
                      <a:pt x="29527" y="112395"/>
                    </a:lnTo>
                    <a:cubicBezTo>
                      <a:pt x="19050" y="112395"/>
                      <a:pt x="9525" y="113348"/>
                      <a:pt x="0" y="115253"/>
                    </a:cubicBezTo>
                    <a:cubicBezTo>
                      <a:pt x="9525" y="49530"/>
                      <a:pt x="66675" y="0"/>
                      <a:pt x="134302" y="0"/>
                    </a:cubicBezTo>
                    <a:cubicBezTo>
                      <a:pt x="202882" y="0"/>
                      <a:pt x="340042" y="105728"/>
                      <a:pt x="355282" y="118110"/>
                    </a:cubicBezTo>
                    <a:lnTo>
                      <a:pt x="377190" y="135255"/>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sp>
          <p:nvSpPr>
            <p:cNvPr id="67" name="Freeform: Shape 95">
              <a:extLst>
                <a:ext uri="{FF2B5EF4-FFF2-40B4-BE49-F238E27FC236}">
                  <a16:creationId xmlns:a16="http://schemas.microsoft.com/office/drawing/2014/main" id="{669D564C-99F3-45AD-96E9-966EB3789A62}"/>
                </a:ext>
              </a:extLst>
            </p:cNvPr>
            <p:cNvSpPr/>
            <p:nvPr/>
          </p:nvSpPr>
          <p:spPr>
            <a:xfrm>
              <a:off x="6679881" y="2572702"/>
              <a:ext cx="498157" cy="721994"/>
            </a:xfrm>
            <a:custGeom>
              <a:avLst/>
              <a:gdLst>
                <a:gd name="connsiteX0" fmla="*/ 272415 w 498157"/>
                <a:gd name="connsiteY0" fmla="*/ 452438 h 721994"/>
                <a:gd name="connsiteX1" fmla="*/ 324803 w 498157"/>
                <a:gd name="connsiteY1" fmla="*/ 300990 h 721994"/>
                <a:gd name="connsiteX2" fmla="*/ 373380 w 498157"/>
                <a:gd name="connsiteY2" fmla="*/ 273367 h 721994"/>
                <a:gd name="connsiteX3" fmla="*/ 370523 w 498157"/>
                <a:gd name="connsiteY3" fmla="*/ 247650 h 721994"/>
                <a:gd name="connsiteX4" fmla="*/ 372428 w 498157"/>
                <a:gd name="connsiteY4" fmla="*/ 227647 h 721994"/>
                <a:gd name="connsiteX5" fmla="*/ 292418 w 498157"/>
                <a:gd name="connsiteY5" fmla="*/ 269557 h 721994"/>
                <a:gd name="connsiteX6" fmla="*/ 265748 w 498157"/>
                <a:gd name="connsiteY6" fmla="*/ 304800 h 721994"/>
                <a:gd name="connsiteX7" fmla="*/ 181928 w 498157"/>
                <a:gd name="connsiteY7" fmla="*/ 29527 h 721994"/>
                <a:gd name="connsiteX8" fmla="*/ 132398 w 498157"/>
                <a:gd name="connsiteY8" fmla="*/ 0 h 721994"/>
                <a:gd name="connsiteX9" fmla="*/ 133350 w 498157"/>
                <a:gd name="connsiteY9" fmla="*/ 20002 h 721994"/>
                <a:gd name="connsiteX10" fmla="*/ 131445 w 498157"/>
                <a:gd name="connsiteY10" fmla="*/ 47625 h 721994"/>
                <a:gd name="connsiteX11" fmla="*/ 149543 w 498157"/>
                <a:gd name="connsiteY11" fmla="*/ 60960 h 721994"/>
                <a:gd name="connsiteX12" fmla="*/ 226695 w 498157"/>
                <a:gd name="connsiteY12" fmla="*/ 451485 h 721994"/>
                <a:gd name="connsiteX13" fmla="*/ 0 w 498157"/>
                <a:gd name="connsiteY13" fmla="*/ 699135 h 721994"/>
                <a:gd name="connsiteX14" fmla="*/ 0 w 498157"/>
                <a:gd name="connsiteY14" fmla="*/ 721995 h 721994"/>
                <a:gd name="connsiteX15" fmla="*/ 498157 w 498157"/>
                <a:gd name="connsiteY15" fmla="*/ 721995 h 721994"/>
                <a:gd name="connsiteX16" fmla="*/ 498157 w 498157"/>
                <a:gd name="connsiteY16" fmla="*/ 699135 h 721994"/>
                <a:gd name="connsiteX17" fmla="*/ 272415 w 498157"/>
                <a:gd name="connsiteY17" fmla="*/ 452438 h 721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98157" h="721994">
                  <a:moveTo>
                    <a:pt x="272415" y="452438"/>
                  </a:moveTo>
                  <a:cubicBezTo>
                    <a:pt x="274320" y="416242"/>
                    <a:pt x="283845" y="342900"/>
                    <a:pt x="324803" y="300990"/>
                  </a:cubicBezTo>
                  <a:cubicBezTo>
                    <a:pt x="339090" y="286702"/>
                    <a:pt x="354330" y="277177"/>
                    <a:pt x="373380" y="273367"/>
                  </a:cubicBezTo>
                  <a:cubicBezTo>
                    <a:pt x="371475" y="264795"/>
                    <a:pt x="370523" y="256222"/>
                    <a:pt x="370523" y="247650"/>
                  </a:cubicBezTo>
                  <a:cubicBezTo>
                    <a:pt x="370523" y="240982"/>
                    <a:pt x="371475" y="234315"/>
                    <a:pt x="372428" y="227647"/>
                  </a:cubicBezTo>
                  <a:cubicBezTo>
                    <a:pt x="340995" y="233363"/>
                    <a:pt x="314325" y="247650"/>
                    <a:pt x="292418" y="269557"/>
                  </a:cubicBezTo>
                  <a:cubicBezTo>
                    <a:pt x="281940" y="280035"/>
                    <a:pt x="273368" y="292417"/>
                    <a:pt x="265748" y="304800"/>
                  </a:cubicBezTo>
                  <a:cubicBezTo>
                    <a:pt x="256223" y="202882"/>
                    <a:pt x="234315" y="83820"/>
                    <a:pt x="181928" y="29527"/>
                  </a:cubicBezTo>
                  <a:cubicBezTo>
                    <a:pt x="167640" y="14288"/>
                    <a:pt x="150495" y="4763"/>
                    <a:pt x="132398" y="0"/>
                  </a:cubicBezTo>
                  <a:cubicBezTo>
                    <a:pt x="133350" y="6667"/>
                    <a:pt x="133350" y="13335"/>
                    <a:pt x="133350" y="20002"/>
                  </a:cubicBezTo>
                  <a:cubicBezTo>
                    <a:pt x="133350" y="29527"/>
                    <a:pt x="132398" y="38100"/>
                    <a:pt x="131445" y="47625"/>
                  </a:cubicBezTo>
                  <a:cubicBezTo>
                    <a:pt x="137160" y="50482"/>
                    <a:pt x="143828" y="55245"/>
                    <a:pt x="149543" y="60960"/>
                  </a:cubicBezTo>
                  <a:cubicBezTo>
                    <a:pt x="214313" y="127635"/>
                    <a:pt x="227648" y="348615"/>
                    <a:pt x="226695" y="451485"/>
                  </a:cubicBezTo>
                  <a:cubicBezTo>
                    <a:pt x="100013" y="462915"/>
                    <a:pt x="0" y="569595"/>
                    <a:pt x="0" y="699135"/>
                  </a:cubicBezTo>
                  <a:lnTo>
                    <a:pt x="0" y="721995"/>
                  </a:lnTo>
                  <a:lnTo>
                    <a:pt x="498157" y="721995"/>
                  </a:lnTo>
                  <a:lnTo>
                    <a:pt x="498157" y="699135"/>
                  </a:lnTo>
                  <a:cubicBezTo>
                    <a:pt x="498157" y="571500"/>
                    <a:pt x="398145" y="464820"/>
                    <a:pt x="272415" y="45243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spTree>
    <p:extLst>
      <p:ext uri="{BB962C8B-B14F-4D97-AF65-F5344CB8AC3E}">
        <p14:creationId xmlns:p14="http://schemas.microsoft.com/office/powerpoint/2010/main" val="2588553798"/>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par>
                          <p:cTn id="8" fill="hold">
                            <p:stCondLst>
                              <p:cond delay="500"/>
                            </p:stCondLst>
                            <p:childTnLst>
                              <p:par>
                                <p:cTn id="9" presetID="22" presetClass="entr" presetSubtype="4" fill="hold" grpId="0" nodeType="afterEffect">
                                  <p:stCondLst>
                                    <p:cond delay="0"/>
                                  </p:stCondLst>
                                  <p:childTnLst>
                                    <p:set>
                                      <p:cBhvr>
                                        <p:cTn id="10" dur="1" fill="hold">
                                          <p:stCondLst>
                                            <p:cond delay="0"/>
                                          </p:stCondLst>
                                        </p:cTn>
                                        <p:tgtEl>
                                          <p:spTgt spid="3"/>
                                        </p:tgtEl>
                                        <p:attrNameLst>
                                          <p:attrName>style.visibility</p:attrName>
                                        </p:attrNameLst>
                                      </p:cBhvr>
                                      <p:to>
                                        <p:strVal val="visible"/>
                                      </p:to>
                                    </p:set>
                                    <p:animEffect transition="in" filter="wipe(down)">
                                      <p:cBhvr>
                                        <p:cTn id="11" dur="500"/>
                                        <p:tgtEl>
                                          <p:spTgt spid="3"/>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4"/>
                                        </p:tgtEl>
                                        <p:attrNameLst>
                                          <p:attrName>style.visibility</p:attrName>
                                        </p:attrNameLst>
                                      </p:cBhvr>
                                      <p:to>
                                        <p:strVal val="visible"/>
                                      </p:to>
                                    </p:set>
                                    <p:animEffect transition="in" filter="fade">
                                      <p:cBhvr>
                                        <p:cTn id="15" dur="500"/>
                                        <p:tgtEl>
                                          <p:spTgt spid="4"/>
                                        </p:tgtEl>
                                      </p:cBhvr>
                                    </p:animEffect>
                                  </p:childTnLst>
                                </p:cTn>
                              </p:par>
                              <p:par>
                                <p:cTn id="16" presetID="10" presetClass="entr" presetSubtype="0" fill="hold" nodeType="withEffect">
                                  <p:stCondLst>
                                    <p:cond delay="0"/>
                                  </p:stCondLst>
                                  <p:childTnLst>
                                    <p:set>
                                      <p:cBhvr>
                                        <p:cTn id="17" dur="1" fill="hold">
                                          <p:stCondLst>
                                            <p:cond delay="0"/>
                                          </p:stCondLst>
                                        </p:cTn>
                                        <p:tgtEl>
                                          <p:spTgt spid="57"/>
                                        </p:tgtEl>
                                        <p:attrNameLst>
                                          <p:attrName>style.visibility</p:attrName>
                                        </p:attrNameLst>
                                      </p:cBhvr>
                                      <p:to>
                                        <p:strVal val="visible"/>
                                      </p:to>
                                    </p:set>
                                    <p:animEffect transition="in" filter="fade">
                                      <p:cBhvr>
                                        <p:cTn id="18" dur="500"/>
                                        <p:tgtEl>
                                          <p:spTgt spid="57"/>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23"/>
                                        </p:tgtEl>
                                        <p:attrNameLst>
                                          <p:attrName>style.visibility</p:attrName>
                                        </p:attrNameLst>
                                      </p:cBhvr>
                                      <p:to>
                                        <p:strVal val="visible"/>
                                      </p:to>
                                    </p:set>
                                    <p:animEffect transition="in" filter="fade">
                                      <p:cBhvr>
                                        <p:cTn id="21" dur="500"/>
                                        <p:tgtEl>
                                          <p:spTgt spid="23"/>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43"/>
                                        </p:tgtEl>
                                        <p:attrNameLst>
                                          <p:attrName>style.visibility</p:attrName>
                                        </p:attrNameLst>
                                      </p:cBhvr>
                                      <p:to>
                                        <p:strVal val="visible"/>
                                      </p:to>
                                    </p:set>
                                    <p:animEffect transition="in" filter="fade">
                                      <p:cBhvr>
                                        <p:cTn id="24" dur="500"/>
                                        <p:tgtEl>
                                          <p:spTgt spid="43"/>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24"/>
                                        </p:tgtEl>
                                        <p:attrNameLst>
                                          <p:attrName>style.visibility</p:attrName>
                                        </p:attrNameLst>
                                      </p:cBhvr>
                                      <p:to>
                                        <p:strVal val="visible"/>
                                      </p:to>
                                    </p:set>
                                    <p:animEffect transition="in" filter="fade">
                                      <p:cBhvr>
                                        <p:cTn id="27" dur="500"/>
                                        <p:tgtEl>
                                          <p:spTgt spid="24"/>
                                        </p:tgtEl>
                                      </p:cBhvr>
                                    </p:animEffect>
                                  </p:childTnLst>
                                </p:cTn>
                              </p:par>
                              <p:par>
                                <p:cTn id="28" presetID="10" presetClass="entr" presetSubtype="0" fill="hold" nodeType="withEffect">
                                  <p:stCondLst>
                                    <p:cond delay="0"/>
                                  </p:stCondLst>
                                  <p:childTnLst>
                                    <p:set>
                                      <p:cBhvr>
                                        <p:cTn id="29" dur="1" fill="hold">
                                          <p:stCondLst>
                                            <p:cond delay="0"/>
                                          </p:stCondLst>
                                        </p:cTn>
                                        <p:tgtEl>
                                          <p:spTgt spid="54"/>
                                        </p:tgtEl>
                                        <p:attrNameLst>
                                          <p:attrName>style.visibility</p:attrName>
                                        </p:attrNameLst>
                                      </p:cBhvr>
                                      <p:to>
                                        <p:strVal val="visible"/>
                                      </p:to>
                                    </p:set>
                                    <p:animEffect transition="in" filter="fade">
                                      <p:cBhvr>
                                        <p:cTn id="30" dur="500"/>
                                        <p:tgtEl>
                                          <p:spTgt spid="54"/>
                                        </p:tgtEl>
                                      </p:cBhvr>
                                    </p:animEffect>
                                  </p:childTnLst>
                                </p:cTn>
                              </p:par>
                              <p:par>
                                <p:cTn id="31" presetID="10" presetClass="entr" presetSubtype="0" fill="hold" nodeType="withEffect">
                                  <p:stCondLst>
                                    <p:cond delay="0"/>
                                  </p:stCondLst>
                                  <p:childTnLst>
                                    <p:set>
                                      <p:cBhvr>
                                        <p:cTn id="32" dur="1" fill="hold">
                                          <p:stCondLst>
                                            <p:cond delay="0"/>
                                          </p:stCondLst>
                                        </p:cTn>
                                        <p:tgtEl>
                                          <p:spTgt spid="44"/>
                                        </p:tgtEl>
                                        <p:attrNameLst>
                                          <p:attrName>style.visibility</p:attrName>
                                        </p:attrNameLst>
                                      </p:cBhvr>
                                      <p:to>
                                        <p:strVal val="visible"/>
                                      </p:to>
                                    </p:set>
                                    <p:animEffect transition="in" filter="fade">
                                      <p:cBhvr>
                                        <p:cTn id="33" dur="500"/>
                                        <p:tgtEl>
                                          <p:spTgt spid="44"/>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25"/>
                                        </p:tgtEl>
                                        <p:attrNameLst>
                                          <p:attrName>style.visibility</p:attrName>
                                        </p:attrNameLst>
                                      </p:cBhvr>
                                      <p:to>
                                        <p:strVal val="visible"/>
                                      </p:to>
                                    </p:set>
                                    <p:animEffect transition="in" filter="fade">
                                      <p:cBhvr>
                                        <p:cTn id="36" dur="500"/>
                                        <p:tgtEl>
                                          <p:spTgt spid="25"/>
                                        </p:tgtEl>
                                      </p:cBhvr>
                                    </p:animEffect>
                                  </p:childTnLst>
                                </p:cTn>
                              </p:par>
                              <p:par>
                                <p:cTn id="37" presetID="10" presetClass="entr" presetSubtype="0" fill="hold" nodeType="withEffect">
                                  <p:stCondLst>
                                    <p:cond delay="0"/>
                                  </p:stCondLst>
                                  <p:childTnLst>
                                    <p:set>
                                      <p:cBhvr>
                                        <p:cTn id="38" dur="1" fill="hold">
                                          <p:stCondLst>
                                            <p:cond delay="0"/>
                                          </p:stCondLst>
                                        </p:cTn>
                                        <p:tgtEl>
                                          <p:spTgt spid="65"/>
                                        </p:tgtEl>
                                        <p:attrNameLst>
                                          <p:attrName>style.visibility</p:attrName>
                                        </p:attrNameLst>
                                      </p:cBhvr>
                                      <p:to>
                                        <p:strVal val="visible"/>
                                      </p:to>
                                    </p:set>
                                    <p:animEffect transition="in" filter="fade">
                                      <p:cBhvr>
                                        <p:cTn id="39" dur="500"/>
                                        <p:tgtEl>
                                          <p:spTgt spid="65"/>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26"/>
                                        </p:tgtEl>
                                        <p:attrNameLst>
                                          <p:attrName>style.visibility</p:attrName>
                                        </p:attrNameLst>
                                      </p:cBhvr>
                                      <p:to>
                                        <p:strVal val="visible"/>
                                      </p:to>
                                    </p:set>
                                    <p:animEffect transition="in" filter="fade">
                                      <p:cBhvr>
                                        <p:cTn id="42" dur="500"/>
                                        <p:tgtEl>
                                          <p:spTgt spid="26"/>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27"/>
                                        </p:tgtEl>
                                        <p:attrNameLst>
                                          <p:attrName>style.visibility</p:attrName>
                                        </p:attrNameLst>
                                      </p:cBhvr>
                                      <p:to>
                                        <p:strVal val="visible"/>
                                      </p:to>
                                    </p:set>
                                    <p:animEffect transition="in" filter="fade">
                                      <p:cBhvr>
                                        <p:cTn id="45" dur="500"/>
                                        <p:tgtEl>
                                          <p:spTgt spid="27"/>
                                        </p:tgtEl>
                                      </p:cBhvr>
                                    </p:animEffect>
                                  </p:childTnLst>
                                </p:cTn>
                              </p:par>
                              <p:par>
                                <p:cTn id="46" presetID="10" presetClass="entr" presetSubtype="0" fill="hold" nodeType="withEffect">
                                  <p:stCondLst>
                                    <p:cond delay="0"/>
                                  </p:stCondLst>
                                  <p:childTnLst>
                                    <p:set>
                                      <p:cBhvr>
                                        <p:cTn id="47" dur="1" fill="hold">
                                          <p:stCondLst>
                                            <p:cond delay="0"/>
                                          </p:stCondLst>
                                        </p:cTn>
                                        <p:tgtEl>
                                          <p:spTgt spid="60"/>
                                        </p:tgtEl>
                                        <p:attrNameLst>
                                          <p:attrName>style.visibility</p:attrName>
                                        </p:attrNameLst>
                                      </p:cBhvr>
                                      <p:to>
                                        <p:strVal val="visible"/>
                                      </p:to>
                                    </p:set>
                                    <p:animEffect transition="in" filter="fade">
                                      <p:cBhvr>
                                        <p:cTn id="48" dur="500"/>
                                        <p:tgtEl>
                                          <p:spTgt spid="60"/>
                                        </p:tgtEl>
                                      </p:cBhvr>
                                    </p:animEffect>
                                  </p:childTnLst>
                                </p:cTn>
                              </p:par>
                            </p:childTnLst>
                          </p:cTn>
                        </p:par>
                        <p:par>
                          <p:cTn id="49" fill="hold">
                            <p:stCondLst>
                              <p:cond delay="1500"/>
                            </p:stCondLst>
                            <p:childTnLst>
                              <p:par>
                                <p:cTn id="50" presetID="10" presetClass="entr" presetSubtype="0" fill="hold" grpId="0" nodeType="afterEffect">
                                  <p:stCondLst>
                                    <p:cond delay="0"/>
                                  </p:stCondLst>
                                  <p:childTnLst>
                                    <p:set>
                                      <p:cBhvr>
                                        <p:cTn id="51" dur="1" fill="hold">
                                          <p:stCondLst>
                                            <p:cond delay="0"/>
                                          </p:stCondLst>
                                        </p:cTn>
                                        <p:tgtEl>
                                          <p:spTgt spid="41"/>
                                        </p:tgtEl>
                                        <p:attrNameLst>
                                          <p:attrName>style.visibility</p:attrName>
                                        </p:attrNameLst>
                                      </p:cBhvr>
                                      <p:to>
                                        <p:strVal val="visible"/>
                                      </p:to>
                                    </p:set>
                                    <p:animEffect transition="in" filter="fade">
                                      <p:cBhvr>
                                        <p:cTn id="52" dur="500"/>
                                        <p:tgtEl>
                                          <p:spTgt spid="41"/>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33"/>
                                        </p:tgtEl>
                                        <p:attrNameLst>
                                          <p:attrName>style.visibility</p:attrName>
                                        </p:attrNameLst>
                                      </p:cBhvr>
                                      <p:to>
                                        <p:strVal val="visible"/>
                                      </p:to>
                                    </p:set>
                                    <p:animEffect transition="in" filter="fade">
                                      <p:cBhvr>
                                        <p:cTn id="55" dur="500"/>
                                        <p:tgtEl>
                                          <p:spTgt spid="33"/>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38"/>
                                        </p:tgtEl>
                                        <p:attrNameLst>
                                          <p:attrName>style.visibility</p:attrName>
                                        </p:attrNameLst>
                                      </p:cBhvr>
                                      <p:to>
                                        <p:strVal val="visible"/>
                                      </p:to>
                                    </p:set>
                                    <p:animEffect transition="in" filter="fade">
                                      <p:cBhvr>
                                        <p:cTn id="58" dur="500"/>
                                        <p:tgtEl>
                                          <p:spTgt spid="38"/>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36"/>
                                        </p:tgtEl>
                                        <p:attrNameLst>
                                          <p:attrName>style.visibility</p:attrName>
                                        </p:attrNameLst>
                                      </p:cBhvr>
                                      <p:to>
                                        <p:strVal val="visible"/>
                                      </p:to>
                                    </p:set>
                                    <p:animEffect transition="in" filter="fade">
                                      <p:cBhvr>
                                        <p:cTn id="61" dur="500"/>
                                        <p:tgtEl>
                                          <p:spTgt spid="36"/>
                                        </p:tgtEl>
                                      </p:cBhvr>
                                    </p:animEffect>
                                  </p:childTnLst>
                                </p:cTn>
                              </p:par>
                              <p:par>
                                <p:cTn id="62" presetID="10" presetClass="entr" presetSubtype="0" fill="hold" grpId="0" nodeType="withEffect">
                                  <p:stCondLst>
                                    <p:cond delay="0"/>
                                  </p:stCondLst>
                                  <p:childTnLst>
                                    <p:set>
                                      <p:cBhvr>
                                        <p:cTn id="63" dur="1" fill="hold">
                                          <p:stCondLst>
                                            <p:cond delay="0"/>
                                          </p:stCondLst>
                                        </p:cTn>
                                        <p:tgtEl>
                                          <p:spTgt spid="30"/>
                                        </p:tgtEl>
                                        <p:attrNameLst>
                                          <p:attrName>style.visibility</p:attrName>
                                        </p:attrNameLst>
                                      </p:cBhvr>
                                      <p:to>
                                        <p:strVal val="visible"/>
                                      </p:to>
                                    </p:set>
                                    <p:animEffect transition="in" filter="fade">
                                      <p:cBhvr>
                                        <p:cTn id="64" dur="500"/>
                                        <p:tgtEl>
                                          <p:spTgt spid="30"/>
                                        </p:tgtEl>
                                      </p:cBhvr>
                                    </p:animEffect>
                                  </p:childTnLst>
                                </p:cTn>
                              </p:par>
                              <p:par>
                                <p:cTn id="65" presetID="10" presetClass="entr" presetSubtype="0" fill="hold" grpId="0" nodeType="withEffect">
                                  <p:stCondLst>
                                    <p:cond delay="0"/>
                                  </p:stCondLst>
                                  <p:childTnLst>
                                    <p:set>
                                      <p:cBhvr>
                                        <p:cTn id="66" dur="1" fill="hold">
                                          <p:stCondLst>
                                            <p:cond delay="0"/>
                                          </p:stCondLst>
                                        </p:cTn>
                                        <p:tgtEl>
                                          <p:spTgt spid="40"/>
                                        </p:tgtEl>
                                        <p:attrNameLst>
                                          <p:attrName>style.visibility</p:attrName>
                                        </p:attrNameLst>
                                      </p:cBhvr>
                                      <p:to>
                                        <p:strVal val="visible"/>
                                      </p:to>
                                    </p:set>
                                    <p:animEffect transition="in" filter="fade">
                                      <p:cBhvr>
                                        <p:cTn id="67" dur="500"/>
                                        <p:tgtEl>
                                          <p:spTgt spid="40"/>
                                        </p:tgtEl>
                                      </p:cBhvr>
                                    </p:animEffect>
                                  </p:childTnLst>
                                </p:cTn>
                              </p:par>
                              <p:par>
                                <p:cTn id="68" presetID="10" presetClass="entr" presetSubtype="0" fill="hold" grpId="0" nodeType="withEffect">
                                  <p:stCondLst>
                                    <p:cond delay="0"/>
                                  </p:stCondLst>
                                  <p:childTnLst>
                                    <p:set>
                                      <p:cBhvr>
                                        <p:cTn id="69" dur="1" fill="hold">
                                          <p:stCondLst>
                                            <p:cond delay="0"/>
                                          </p:stCondLst>
                                        </p:cTn>
                                        <p:tgtEl>
                                          <p:spTgt spid="34"/>
                                        </p:tgtEl>
                                        <p:attrNameLst>
                                          <p:attrName>style.visibility</p:attrName>
                                        </p:attrNameLst>
                                      </p:cBhvr>
                                      <p:to>
                                        <p:strVal val="visible"/>
                                      </p:to>
                                    </p:set>
                                    <p:animEffect transition="in" filter="fade">
                                      <p:cBhvr>
                                        <p:cTn id="70" dur="500"/>
                                        <p:tgtEl>
                                          <p:spTgt spid="34"/>
                                        </p:tgtEl>
                                      </p:cBhvr>
                                    </p:animEffect>
                                  </p:childTnLst>
                                </p:cTn>
                              </p:par>
                              <p:par>
                                <p:cTn id="71" presetID="10" presetClass="entr" presetSubtype="0" fill="hold" grpId="0" nodeType="withEffect">
                                  <p:stCondLst>
                                    <p:cond delay="0"/>
                                  </p:stCondLst>
                                  <p:childTnLst>
                                    <p:set>
                                      <p:cBhvr>
                                        <p:cTn id="72" dur="1" fill="hold">
                                          <p:stCondLst>
                                            <p:cond delay="0"/>
                                          </p:stCondLst>
                                        </p:cTn>
                                        <p:tgtEl>
                                          <p:spTgt spid="37"/>
                                        </p:tgtEl>
                                        <p:attrNameLst>
                                          <p:attrName>style.visibility</p:attrName>
                                        </p:attrNameLst>
                                      </p:cBhvr>
                                      <p:to>
                                        <p:strVal val="visible"/>
                                      </p:to>
                                    </p:set>
                                    <p:animEffect transition="in" filter="fade">
                                      <p:cBhvr>
                                        <p:cTn id="73" dur="500"/>
                                        <p:tgtEl>
                                          <p:spTgt spid="37"/>
                                        </p:tgtEl>
                                      </p:cBhvr>
                                    </p:animEffect>
                                  </p:childTnLst>
                                </p:cTn>
                              </p:par>
                            </p:childTnLst>
                          </p:cTn>
                        </p:par>
                        <p:par>
                          <p:cTn id="74" fill="hold">
                            <p:stCondLst>
                              <p:cond delay="2000"/>
                            </p:stCondLst>
                            <p:childTnLst>
                              <p:par>
                                <p:cTn id="75" presetID="12" presetClass="entr" presetSubtype="8" fill="hold" grpId="0" nodeType="afterEffect">
                                  <p:stCondLst>
                                    <p:cond delay="0"/>
                                  </p:stCondLst>
                                  <p:childTnLst>
                                    <p:set>
                                      <p:cBhvr>
                                        <p:cTn id="76" dur="1" fill="hold">
                                          <p:stCondLst>
                                            <p:cond delay="0"/>
                                          </p:stCondLst>
                                        </p:cTn>
                                        <p:tgtEl>
                                          <p:spTgt spid="5"/>
                                        </p:tgtEl>
                                        <p:attrNameLst>
                                          <p:attrName>style.visibility</p:attrName>
                                        </p:attrNameLst>
                                      </p:cBhvr>
                                      <p:to>
                                        <p:strVal val="visible"/>
                                      </p:to>
                                    </p:set>
                                    <p:anim calcmode="lin" valueType="num">
                                      <p:cBhvr additive="base">
                                        <p:cTn id="77" dur="500"/>
                                        <p:tgtEl>
                                          <p:spTgt spid="5"/>
                                        </p:tgtEl>
                                        <p:attrNameLst>
                                          <p:attrName>ppt_x</p:attrName>
                                        </p:attrNameLst>
                                      </p:cBhvr>
                                      <p:tavLst>
                                        <p:tav tm="0">
                                          <p:val>
                                            <p:strVal val="#ppt_x-#ppt_w*1.125000"/>
                                          </p:val>
                                        </p:tav>
                                        <p:tav tm="100000">
                                          <p:val>
                                            <p:strVal val="#ppt_x"/>
                                          </p:val>
                                        </p:tav>
                                      </p:tavLst>
                                    </p:anim>
                                    <p:animEffect transition="in" filter="wipe(right)">
                                      <p:cBhvr>
                                        <p:cTn id="78" dur="500"/>
                                        <p:tgtEl>
                                          <p:spTgt spid="5"/>
                                        </p:tgtEl>
                                      </p:cBhvr>
                                    </p:animEffect>
                                  </p:childTnLst>
                                </p:cTn>
                              </p:par>
                              <p:par>
                                <p:cTn id="79" presetID="12" presetClass="entr" presetSubtype="8" fill="hold" grpId="0" nodeType="withEffect">
                                  <p:stCondLst>
                                    <p:cond delay="0"/>
                                  </p:stCondLst>
                                  <p:childTnLst>
                                    <p:set>
                                      <p:cBhvr>
                                        <p:cTn id="80" dur="1" fill="hold">
                                          <p:stCondLst>
                                            <p:cond delay="0"/>
                                          </p:stCondLst>
                                        </p:cTn>
                                        <p:tgtEl>
                                          <p:spTgt spid="6"/>
                                        </p:tgtEl>
                                        <p:attrNameLst>
                                          <p:attrName>style.visibility</p:attrName>
                                        </p:attrNameLst>
                                      </p:cBhvr>
                                      <p:to>
                                        <p:strVal val="visible"/>
                                      </p:to>
                                    </p:set>
                                    <p:anim calcmode="lin" valueType="num">
                                      <p:cBhvr additive="base">
                                        <p:cTn id="81" dur="500"/>
                                        <p:tgtEl>
                                          <p:spTgt spid="6"/>
                                        </p:tgtEl>
                                        <p:attrNameLst>
                                          <p:attrName>ppt_x</p:attrName>
                                        </p:attrNameLst>
                                      </p:cBhvr>
                                      <p:tavLst>
                                        <p:tav tm="0">
                                          <p:val>
                                            <p:strVal val="#ppt_x-#ppt_w*1.125000"/>
                                          </p:val>
                                        </p:tav>
                                        <p:tav tm="100000">
                                          <p:val>
                                            <p:strVal val="#ppt_x"/>
                                          </p:val>
                                        </p:tav>
                                      </p:tavLst>
                                    </p:anim>
                                    <p:animEffect transition="in" filter="wipe(right)">
                                      <p:cBhvr>
                                        <p:cTn id="82" dur="500"/>
                                        <p:tgtEl>
                                          <p:spTgt spid="6"/>
                                        </p:tgtEl>
                                      </p:cBhvr>
                                    </p:animEffect>
                                  </p:childTnLst>
                                </p:cTn>
                              </p:par>
                              <p:par>
                                <p:cTn id="83" presetID="12" presetClass="entr" presetSubtype="8" fill="hold" grpId="0" nodeType="withEffect">
                                  <p:stCondLst>
                                    <p:cond delay="0"/>
                                  </p:stCondLst>
                                  <p:childTnLst>
                                    <p:set>
                                      <p:cBhvr>
                                        <p:cTn id="84" dur="1" fill="hold">
                                          <p:stCondLst>
                                            <p:cond delay="0"/>
                                          </p:stCondLst>
                                        </p:cTn>
                                        <p:tgtEl>
                                          <p:spTgt spid="7"/>
                                        </p:tgtEl>
                                        <p:attrNameLst>
                                          <p:attrName>style.visibility</p:attrName>
                                        </p:attrNameLst>
                                      </p:cBhvr>
                                      <p:to>
                                        <p:strVal val="visible"/>
                                      </p:to>
                                    </p:set>
                                    <p:anim calcmode="lin" valueType="num">
                                      <p:cBhvr additive="base">
                                        <p:cTn id="85" dur="500"/>
                                        <p:tgtEl>
                                          <p:spTgt spid="7"/>
                                        </p:tgtEl>
                                        <p:attrNameLst>
                                          <p:attrName>ppt_x</p:attrName>
                                        </p:attrNameLst>
                                      </p:cBhvr>
                                      <p:tavLst>
                                        <p:tav tm="0">
                                          <p:val>
                                            <p:strVal val="#ppt_x-#ppt_w*1.125000"/>
                                          </p:val>
                                        </p:tav>
                                        <p:tav tm="100000">
                                          <p:val>
                                            <p:strVal val="#ppt_x"/>
                                          </p:val>
                                        </p:tav>
                                      </p:tavLst>
                                    </p:anim>
                                    <p:animEffect transition="in" filter="wipe(right)">
                                      <p:cBhvr>
                                        <p:cTn id="86" dur="500"/>
                                        <p:tgtEl>
                                          <p:spTgt spid="7"/>
                                        </p:tgtEl>
                                      </p:cBhvr>
                                    </p:animEffect>
                                  </p:childTnLst>
                                </p:cTn>
                              </p:par>
                              <p:par>
                                <p:cTn id="87" presetID="12" presetClass="entr" presetSubtype="8" fill="hold" grpId="0" nodeType="withEffect">
                                  <p:stCondLst>
                                    <p:cond delay="0"/>
                                  </p:stCondLst>
                                  <p:childTnLst>
                                    <p:set>
                                      <p:cBhvr>
                                        <p:cTn id="88" dur="1" fill="hold">
                                          <p:stCondLst>
                                            <p:cond delay="0"/>
                                          </p:stCondLst>
                                        </p:cTn>
                                        <p:tgtEl>
                                          <p:spTgt spid="14"/>
                                        </p:tgtEl>
                                        <p:attrNameLst>
                                          <p:attrName>style.visibility</p:attrName>
                                        </p:attrNameLst>
                                      </p:cBhvr>
                                      <p:to>
                                        <p:strVal val="visible"/>
                                      </p:to>
                                    </p:set>
                                    <p:anim calcmode="lin" valueType="num">
                                      <p:cBhvr additive="base">
                                        <p:cTn id="89" dur="500"/>
                                        <p:tgtEl>
                                          <p:spTgt spid="14"/>
                                        </p:tgtEl>
                                        <p:attrNameLst>
                                          <p:attrName>ppt_x</p:attrName>
                                        </p:attrNameLst>
                                      </p:cBhvr>
                                      <p:tavLst>
                                        <p:tav tm="0">
                                          <p:val>
                                            <p:strVal val="#ppt_x-#ppt_w*1.125000"/>
                                          </p:val>
                                        </p:tav>
                                        <p:tav tm="100000">
                                          <p:val>
                                            <p:strVal val="#ppt_x"/>
                                          </p:val>
                                        </p:tav>
                                      </p:tavLst>
                                    </p:anim>
                                    <p:animEffect transition="in" filter="wipe(right)">
                                      <p:cBhvr>
                                        <p:cTn id="90" dur="500"/>
                                        <p:tgtEl>
                                          <p:spTgt spid="14"/>
                                        </p:tgtEl>
                                      </p:cBhvr>
                                    </p:animEffect>
                                  </p:childTnLst>
                                </p:cTn>
                              </p:par>
                              <p:par>
                                <p:cTn id="91" presetID="12" presetClass="entr" presetSubtype="8" fill="hold" grpId="0" nodeType="withEffect">
                                  <p:stCondLst>
                                    <p:cond delay="0"/>
                                  </p:stCondLst>
                                  <p:childTnLst>
                                    <p:set>
                                      <p:cBhvr>
                                        <p:cTn id="92" dur="1" fill="hold">
                                          <p:stCondLst>
                                            <p:cond delay="0"/>
                                          </p:stCondLst>
                                        </p:cTn>
                                        <p:tgtEl>
                                          <p:spTgt spid="15"/>
                                        </p:tgtEl>
                                        <p:attrNameLst>
                                          <p:attrName>style.visibility</p:attrName>
                                        </p:attrNameLst>
                                      </p:cBhvr>
                                      <p:to>
                                        <p:strVal val="visible"/>
                                      </p:to>
                                    </p:set>
                                    <p:anim calcmode="lin" valueType="num">
                                      <p:cBhvr additive="base">
                                        <p:cTn id="93" dur="500"/>
                                        <p:tgtEl>
                                          <p:spTgt spid="15"/>
                                        </p:tgtEl>
                                        <p:attrNameLst>
                                          <p:attrName>ppt_x</p:attrName>
                                        </p:attrNameLst>
                                      </p:cBhvr>
                                      <p:tavLst>
                                        <p:tav tm="0">
                                          <p:val>
                                            <p:strVal val="#ppt_x-#ppt_w*1.125000"/>
                                          </p:val>
                                        </p:tav>
                                        <p:tav tm="100000">
                                          <p:val>
                                            <p:strVal val="#ppt_x"/>
                                          </p:val>
                                        </p:tav>
                                      </p:tavLst>
                                    </p:anim>
                                    <p:animEffect transition="in" filter="wipe(right)">
                                      <p:cBhvr>
                                        <p:cTn id="94" dur="500"/>
                                        <p:tgtEl>
                                          <p:spTgt spid="15"/>
                                        </p:tgtEl>
                                      </p:cBhvr>
                                    </p:animEffect>
                                  </p:childTnLst>
                                </p:cTn>
                              </p:par>
                              <p:par>
                                <p:cTn id="95" presetID="12" presetClass="entr" presetSubtype="8" fill="hold" grpId="0" nodeType="withEffect">
                                  <p:stCondLst>
                                    <p:cond delay="0"/>
                                  </p:stCondLst>
                                  <p:childTnLst>
                                    <p:set>
                                      <p:cBhvr>
                                        <p:cTn id="96" dur="1" fill="hold">
                                          <p:stCondLst>
                                            <p:cond delay="0"/>
                                          </p:stCondLst>
                                        </p:cTn>
                                        <p:tgtEl>
                                          <p:spTgt spid="20"/>
                                        </p:tgtEl>
                                        <p:attrNameLst>
                                          <p:attrName>style.visibility</p:attrName>
                                        </p:attrNameLst>
                                      </p:cBhvr>
                                      <p:to>
                                        <p:strVal val="visible"/>
                                      </p:to>
                                    </p:set>
                                    <p:anim calcmode="lin" valueType="num">
                                      <p:cBhvr additive="base">
                                        <p:cTn id="97" dur="500"/>
                                        <p:tgtEl>
                                          <p:spTgt spid="20"/>
                                        </p:tgtEl>
                                        <p:attrNameLst>
                                          <p:attrName>ppt_x</p:attrName>
                                        </p:attrNameLst>
                                      </p:cBhvr>
                                      <p:tavLst>
                                        <p:tav tm="0">
                                          <p:val>
                                            <p:strVal val="#ppt_x-#ppt_w*1.125000"/>
                                          </p:val>
                                        </p:tav>
                                        <p:tav tm="100000">
                                          <p:val>
                                            <p:strVal val="#ppt_x"/>
                                          </p:val>
                                        </p:tav>
                                      </p:tavLst>
                                    </p:anim>
                                    <p:animEffect transition="in" filter="wipe(right)">
                                      <p:cBhvr>
                                        <p:cTn id="98" dur="500"/>
                                        <p:tgtEl>
                                          <p:spTgt spid="20"/>
                                        </p:tgtEl>
                                      </p:cBhvr>
                                    </p:animEffect>
                                  </p:childTnLst>
                                </p:cTn>
                              </p:par>
                              <p:par>
                                <p:cTn id="99" presetID="10" presetClass="entr" presetSubtype="0" fill="hold" grpId="0" nodeType="withEffect">
                                  <p:stCondLst>
                                    <p:cond delay="0"/>
                                  </p:stCondLst>
                                  <p:childTnLst>
                                    <p:set>
                                      <p:cBhvr>
                                        <p:cTn id="100" dur="1" fill="hold">
                                          <p:stCondLst>
                                            <p:cond delay="0"/>
                                          </p:stCondLst>
                                        </p:cTn>
                                        <p:tgtEl>
                                          <p:spTgt spid="29"/>
                                        </p:tgtEl>
                                        <p:attrNameLst>
                                          <p:attrName>style.visibility</p:attrName>
                                        </p:attrNameLst>
                                      </p:cBhvr>
                                      <p:to>
                                        <p:strVal val="visible"/>
                                      </p:to>
                                    </p:set>
                                    <p:animEffect transition="in" filter="fade">
                                      <p:cBhvr>
                                        <p:cTn id="101" dur="500"/>
                                        <p:tgtEl>
                                          <p:spTgt spid="29"/>
                                        </p:tgtEl>
                                      </p:cBhvr>
                                    </p:animEffect>
                                  </p:childTnLst>
                                </p:cTn>
                              </p:par>
                              <p:par>
                                <p:cTn id="102" presetID="10" presetClass="entr" presetSubtype="0" fill="hold" grpId="0" nodeType="withEffect">
                                  <p:stCondLst>
                                    <p:cond delay="0"/>
                                  </p:stCondLst>
                                  <p:childTnLst>
                                    <p:set>
                                      <p:cBhvr>
                                        <p:cTn id="103" dur="1" fill="hold">
                                          <p:stCondLst>
                                            <p:cond delay="0"/>
                                          </p:stCondLst>
                                        </p:cTn>
                                        <p:tgtEl>
                                          <p:spTgt spid="28"/>
                                        </p:tgtEl>
                                        <p:attrNameLst>
                                          <p:attrName>style.visibility</p:attrName>
                                        </p:attrNameLst>
                                      </p:cBhvr>
                                      <p:to>
                                        <p:strVal val="visible"/>
                                      </p:to>
                                    </p:set>
                                    <p:animEffect transition="in" filter="fade">
                                      <p:cBhvr>
                                        <p:cTn id="104" dur="500"/>
                                        <p:tgtEl>
                                          <p:spTgt spid="28"/>
                                        </p:tgtEl>
                                      </p:cBhvr>
                                    </p:animEffect>
                                  </p:childTnLst>
                                </p:cTn>
                              </p:par>
                              <p:par>
                                <p:cTn id="105" presetID="10" presetClass="entr" presetSubtype="0" fill="hold" grpId="0" nodeType="withEffect">
                                  <p:stCondLst>
                                    <p:cond delay="0"/>
                                  </p:stCondLst>
                                  <p:childTnLst>
                                    <p:set>
                                      <p:cBhvr>
                                        <p:cTn id="106" dur="1" fill="hold">
                                          <p:stCondLst>
                                            <p:cond delay="0"/>
                                          </p:stCondLst>
                                        </p:cTn>
                                        <p:tgtEl>
                                          <p:spTgt spid="31"/>
                                        </p:tgtEl>
                                        <p:attrNameLst>
                                          <p:attrName>style.visibility</p:attrName>
                                        </p:attrNameLst>
                                      </p:cBhvr>
                                      <p:to>
                                        <p:strVal val="visible"/>
                                      </p:to>
                                    </p:set>
                                    <p:animEffect transition="in" filter="fade">
                                      <p:cBhvr>
                                        <p:cTn id="107" dur="500"/>
                                        <p:tgtEl>
                                          <p:spTgt spid="31"/>
                                        </p:tgtEl>
                                      </p:cBhvr>
                                    </p:animEffect>
                                  </p:childTnLst>
                                </p:cTn>
                              </p:par>
                              <p:par>
                                <p:cTn id="108" presetID="10" presetClass="entr" presetSubtype="0" fill="hold" grpId="0" nodeType="withEffect">
                                  <p:stCondLst>
                                    <p:cond delay="0"/>
                                  </p:stCondLst>
                                  <p:childTnLst>
                                    <p:set>
                                      <p:cBhvr>
                                        <p:cTn id="109" dur="1" fill="hold">
                                          <p:stCondLst>
                                            <p:cond delay="0"/>
                                          </p:stCondLst>
                                        </p:cTn>
                                        <p:tgtEl>
                                          <p:spTgt spid="35"/>
                                        </p:tgtEl>
                                        <p:attrNameLst>
                                          <p:attrName>style.visibility</p:attrName>
                                        </p:attrNameLst>
                                      </p:cBhvr>
                                      <p:to>
                                        <p:strVal val="visible"/>
                                      </p:to>
                                    </p:set>
                                    <p:animEffect transition="in" filter="fade">
                                      <p:cBhvr>
                                        <p:cTn id="110" dur="500"/>
                                        <p:tgtEl>
                                          <p:spTgt spid="35"/>
                                        </p:tgtEl>
                                      </p:cBhvr>
                                    </p:animEffect>
                                  </p:childTnLst>
                                </p:cTn>
                              </p:par>
                              <p:par>
                                <p:cTn id="111" presetID="10" presetClass="entr" presetSubtype="0" fill="hold" grpId="0" nodeType="withEffect">
                                  <p:stCondLst>
                                    <p:cond delay="0"/>
                                  </p:stCondLst>
                                  <p:childTnLst>
                                    <p:set>
                                      <p:cBhvr>
                                        <p:cTn id="112" dur="1" fill="hold">
                                          <p:stCondLst>
                                            <p:cond delay="0"/>
                                          </p:stCondLst>
                                        </p:cTn>
                                        <p:tgtEl>
                                          <p:spTgt spid="32"/>
                                        </p:tgtEl>
                                        <p:attrNameLst>
                                          <p:attrName>style.visibility</p:attrName>
                                        </p:attrNameLst>
                                      </p:cBhvr>
                                      <p:to>
                                        <p:strVal val="visible"/>
                                      </p:to>
                                    </p:set>
                                    <p:animEffect transition="in" filter="fade">
                                      <p:cBhvr>
                                        <p:cTn id="113" dur="500"/>
                                        <p:tgtEl>
                                          <p:spTgt spid="32"/>
                                        </p:tgtEl>
                                      </p:cBhvr>
                                    </p:animEffect>
                                  </p:childTnLst>
                                </p:cTn>
                              </p:par>
                              <p:par>
                                <p:cTn id="114" presetID="10" presetClass="entr" presetSubtype="0" fill="hold" grpId="0" nodeType="withEffect">
                                  <p:stCondLst>
                                    <p:cond delay="0"/>
                                  </p:stCondLst>
                                  <p:childTnLst>
                                    <p:set>
                                      <p:cBhvr>
                                        <p:cTn id="115" dur="1" fill="hold">
                                          <p:stCondLst>
                                            <p:cond delay="0"/>
                                          </p:stCondLst>
                                        </p:cTn>
                                        <p:tgtEl>
                                          <p:spTgt spid="39"/>
                                        </p:tgtEl>
                                        <p:attrNameLst>
                                          <p:attrName>style.visibility</p:attrName>
                                        </p:attrNameLst>
                                      </p:cBhvr>
                                      <p:to>
                                        <p:strVal val="visible"/>
                                      </p:to>
                                    </p:set>
                                    <p:animEffect transition="in" filter="fade">
                                      <p:cBhvr>
                                        <p:cTn id="116" dur="500"/>
                                        <p:tgtEl>
                                          <p:spTgt spid="39"/>
                                        </p:tgtEl>
                                      </p:cBhvr>
                                    </p:animEffect>
                                  </p:childTnLst>
                                </p:cTn>
                              </p:par>
                              <p:par>
                                <p:cTn id="117" presetID="10" presetClass="entr" presetSubtype="0" fill="hold" grpId="0" nodeType="withEffect">
                                  <p:stCondLst>
                                    <p:cond delay="0"/>
                                  </p:stCondLst>
                                  <p:childTnLst>
                                    <p:set>
                                      <p:cBhvr>
                                        <p:cTn id="118" dur="1" fill="hold">
                                          <p:stCondLst>
                                            <p:cond delay="0"/>
                                          </p:stCondLst>
                                        </p:cTn>
                                        <p:tgtEl>
                                          <p:spTgt spid="42"/>
                                        </p:tgtEl>
                                        <p:attrNameLst>
                                          <p:attrName>style.visibility</p:attrName>
                                        </p:attrNameLst>
                                      </p:cBhvr>
                                      <p:to>
                                        <p:strVal val="visible"/>
                                      </p:to>
                                    </p:set>
                                    <p:animEffect transition="in" filter="fade">
                                      <p:cBhvr>
                                        <p:cTn id="119" dur="500"/>
                                        <p:tgtEl>
                                          <p:spTgt spid="42"/>
                                        </p:tgtEl>
                                      </p:cBhvr>
                                    </p:animEffect>
                                  </p:childTnLst>
                                </p:cTn>
                              </p:par>
                            </p:childTnLst>
                          </p:cTn>
                        </p:par>
                        <p:par>
                          <p:cTn id="120" fill="hold">
                            <p:stCondLst>
                              <p:cond delay="2500"/>
                            </p:stCondLst>
                            <p:childTnLst>
                              <p:par>
                                <p:cTn id="121" presetID="10" presetClass="entr" presetSubtype="0" fill="hold" grpId="0" nodeType="afterEffect">
                                  <p:stCondLst>
                                    <p:cond delay="0"/>
                                  </p:stCondLst>
                                  <p:childTnLst>
                                    <p:set>
                                      <p:cBhvr>
                                        <p:cTn id="122" dur="1" fill="hold">
                                          <p:stCondLst>
                                            <p:cond delay="0"/>
                                          </p:stCondLst>
                                        </p:cTn>
                                        <p:tgtEl>
                                          <p:spTgt spid="8"/>
                                        </p:tgtEl>
                                        <p:attrNameLst>
                                          <p:attrName>style.visibility</p:attrName>
                                        </p:attrNameLst>
                                      </p:cBhvr>
                                      <p:to>
                                        <p:strVal val="visible"/>
                                      </p:to>
                                    </p:set>
                                    <p:animEffect transition="in" filter="fade">
                                      <p:cBhvr>
                                        <p:cTn id="123" dur="500"/>
                                        <p:tgtEl>
                                          <p:spTgt spid="8"/>
                                        </p:tgtEl>
                                      </p:cBhvr>
                                    </p:animEffect>
                                  </p:childTnLst>
                                </p:cTn>
                              </p:par>
                              <p:par>
                                <p:cTn id="124" presetID="10" presetClass="entr" presetSubtype="0" fill="hold" grpId="0" nodeType="withEffect">
                                  <p:stCondLst>
                                    <p:cond delay="0"/>
                                  </p:stCondLst>
                                  <p:childTnLst>
                                    <p:set>
                                      <p:cBhvr>
                                        <p:cTn id="125" dur="1" fill="hold">
                                          <p:stCondLst>
                                            <p:cond delay="0"/>
                                          </p:stCondLst>
                                        </p:cTn>
                                        <p:tgtEl>
                                          <p:spTgt spid="10"/>
                                        </p:tgtEl>
                                        <p:attrNameLst>
                                          <p:attrName>style.visibility</p:attrName>
                                        </p:attrNameLst>
                                      </p:cBhvr>
                                      <p:to>
                                        <p:strVal val="visible"/>
                                      </p:to>
                                    </p:set>
                                    <p:animEffect transition="in" filter="fade">
                                      <p:cBhvr>
                                        <p:cTn id="126" dur="500"/>
                                        <p:tgtEl>
                                          <p:spTgt spid="10"/>
                                        </p:tgtEl>
                                      </p:cBhvr>
                                    </p:animEffect>
                                  </p:childTnLst>
                                </p:cTn>
                              </p:par>
                              <p:par>
                                <p:cTn id="127" presetID="10" presetClass="entr" presetSubtype="0" fill="hold" grpId="0" nodeType="withEffect">
                                  <p:stCondLst>
                                    <p:cond delay="0"/>
                                  </p:stCondLst>
                                  <p:childTnLst>
                                    <p:set>
                                      <p:cBhvr>
                                        <p:cTn id="128" dur="1" fill="hold">
                                          <p:stCondLst>
                                            <p:cond delay="0"/>
                                          </p:stCondLst>
                                        </p:cTn>
                                        <p:tgtEl>
                                          <p:spTgt spid="12"/>
                                        </p:tgtEl>
                                        <p:attrNameLst>
                                          <p:attrName>style.visibility</p:attrName>
                                        </p:attrNameLst>
                                      </p:cBhvr>
                                      <p:to>
                                        <p:strVal val="visible"/>
                                      </p:to>
                                    </p:set>
                                    <p:animEffect transition="in" filter="fade">
                                      <p:cBhvr>
                                        <p:cTn id="129" dur="500"/>
                                        <p:tgtEl>
                                          <p:spTgt spid="12"/>
                                        </p:tgtEl>
                                      </p:cBhvr>
                                    </p:animEffect>
                                  </p:childTnLst>
                                </p:cTn>
                              </p:par>
                              <p:par>
                                <p:cTn id="130" presetID="10" presetClass="entr" presetSubtype="0" fill="hold" grpId="0" nodeType="withEffect">
                                  <p:stCondLst>
                                    <p:cond delay="0"/>
                                  </p:stCondLst>
                                  <p:childTnLst>
                                    <p:set>
                                      <p:cBhvr>
                                        <p:cTn id="131" dur="1" fill="hold">
                                          <p:stCondLst>
                                            <p:cond delay="0"/>
                                          </p:stCondLst>
                                        </p:cTn>
                                        <p:tgtEl>
                                          <p:spTgt spid="16"/>
                                        </p:tgtEl>
                                        <p:attrNameLst>
                                          <p:attrName>style.visibility</p:attrName>
                                        </p:attrNameLst>
                                      </p:cBhvr>
                                      <p:to>
                                        <p:strVal val="visible"/>
                                      </p:to>
                                    </p:set>
                                    <p:animEffect transition="in" filter="fade">
                                      <p:cBhvr>
                                        <p:cTn id="132" dur="500"/>
                                        <p:tgtEl>
                                          <p:spTgt spid="16"/>
                                        </p:tgtEl>
                                      </p:cBhvr>
                                    </p:animEffect>
                                  </p:childTnLst>
                                </p:cTn>
                              </p:par>
                              <p:par>
                                <p:cTn id="133" presetID="10" presetClass="entr" presetSubtype="0" fill="hold" grpId="0" nodeType="withEffect">
                                  <p:stCondLst>
                                    <p:cond delay="0"/>
                                  </p:stCondLst>
                                  <p:childTnLst>
                                    <p:set>
                                      <p:cBhvr>
                                        <p:cTn id="134" dur="1" fill="hold">
                                          <p:stCondLst>
                                            <p:cond delay="0"/>
                                          </p:stCondLst>
                                        </p:cTn>
                                        <p:tgtEl>
                                          <p:spTgt spid="18"/>
                                        </p:tgtEl>
                                        <p:attrNameLst>
                                          <p:attrName>style.visibility</p:attrName>
                                        </p:attrNameLst>
                                      </p:cBhvr>
                                      <p:to>
                                        <p:strVal val="visible"/>
                                      </p:to>
                                    </p:set>
                                    <p:animEffect transition="in" filter="fade">
                                      <p:cBhvr>
                                        <p:cTn id="135" dur="500"/>
                                        <p:tgtEl>
                                          <p:spTgt spid="18"/>
                                        </p:tgtEl>
                                      </p:cBhvr>
                                    </p:animEffect>
                                  </p:childTnLst>
                                </p:cTn>
                              </p:par>
                              <p:par>
                                <p:cTn id="136" presetID="10" presetClass="entr" presetSubtype="0" fill="hold" grpId="0" nodeType="withEffect">
                                  <p:stCondLst>
                                    <p:cond delay="0"/>
                                  </p:stCondLst>
                                  <p:childTnLst>
                                    <p:set>
                                      <p:cBhvr>
                                        <p:cTn id="137" dur="1" fill="hold">
                                          <p:stCondLst>
                                            <p:cond delay="0"/>
                                          </p:stCondLst>
                                        </p:cTn>
                                        <p:tgtEl>
                                          <p:spTgt spid="21"/>
                                        </p:tgtEl>
                                        <p:attrNameLst>
                                          <p:attrName>style.visibility</p:attrName>
                                        </p:attrNameLst>
                                      </p:cBhvr>
                                      <p:to>
                                        <p:strVal val="visible"/>
                                      </p:to>
                                    </p:set>
                                    <p:animEffect transition="in" filter="fade">
                                      <p:cBhvr>
                                        <p:cTn id="138" dur="500"/>
                                        <p:tgtEl>
                                          <p:spTgt spid="21"/>
                                        </p:tgtEl>
                                      </p:cBhvr>
                                    </p:animEffect>
                                  </p:childTnLst>
                                </p:cTn>
                              </p:par>
                            </p:childTnLst>
                          </p:cTn>
                        </p:par>
                        <p:par>
                          <p:cTn id="139" fill="hold">
                            <p:stCondLst>
                              <p:cond delay="3000"/>
                            </p:stCondLst>
                            <p:childTnLst>
                              <p:par>
                                <p:cTn id="140" presetID="10" presetClass="entr" presetSubtype="0" fill="hold" grpId="0" nodeType="afterEffect">
                                  <p:stCondLst>
                                    <p:cond delay="0"/>
                                  </p:stCondLst>
                                  <p:childTnLst>
                                    <p:set>
                                      <p:cBhvr>
                                        <p:cTn id="141" dur="1" fill="hold">
                                          <p:stCondLst>
                                            <p:cond delay="0"/>
                                          </p:stCondLst>
                                        </p:cTn>
                                        <p:tgtEl>
                                          <p:spTgt spid="9"/>
                                        </p:tgtEl>
                                        <p:attrNameLst>
                                          <p:attrName>style.visibility</p:attrName>
                                        </p:attrNameLst>
                                      </p:cBhvr>
                                      <p:to>
                                        <p:strVal val="visible"/>
                                      </p:to>
                                    </p:set>
                                    <p:animEffect transition="in" filter="fade">
                                      <p:cBhvr>
                                        <p:cTn id="142" dur="500"/>
                                        <p:tgtEl>
                                          <p:spTgt spid="9"/>
                                        </p:tgtEl>
                                      </p:cBhvr>
                                    </p:animEffect>
                                  </p:childTnLst>
                                </p:cTn>
                              </p:par>
                              <p:par>
                                <p:cTn id="143" presetID="10" presetClass="entr" presetSubtype="0" fill="hold" grpId="0" nodeType="withEffect">
                                  <p:stCondLst>
                                    <p:cond delay="0"/>
                                  </p:stCondLst>
                                  <p:childTnLst>
                                    <p:set>
                                      <p:cBhvr>
                                        <p:cTn id="144" dur="1" fill="hold">
                                          <p:stCondLst>
                                            <p:cond delay="0"/>
                                          </p:stCondLst>
                                        </p:cTn>
                                        <p:tgtEl>
                                          <p:spTgt spid="11"/>
                                        </p:tgtEl>
                                        <p:attrNameLst>
                                          <p:attrName>style.visibility</p:attrName>
                                        </p:attrNameLst>
                                      </p:cBhvr>
                                      <p:to>
                                        <p:strVal val="visible"/>
                                      </p:to>
                                    </p:set>
                                    <p:animEffect transition="in" filter="fade">
                                      <p:cBhvr>
                                        <p:cTn id="145" dur="500"/>
                                        <p:tgtEl>
                                          <p:spTgt spid="11"/>
                                        </p:tgtEl>
                                      </p:cBhvr>
                                    </p:animEffect>
                                  </p:childTnLst>
                                </p:cTn>
                              </p:par>
                              <p:par>
                                <p:cTn id="146" presetID="10" presetClass="entr" presetSubtype="0" fill="hold" grpId="0" nodeType="withEffect">
                                  <p:stCondLst>
                                    <p:cond delay="0"/>
                                  </p:stCondLst>
                                  <p:childTnLst>
                                    <p:set>
                                      <p:cBhvr>
                                        <p:cTn id="147" dur="1" fill="hold">
                                          <p:stCondLst>
                                            <p:cond delay="0"/>
                                          </p:stCondLst>
                                        </p:cTn>
                                        <p:tgtEl>
                                          <p:spTgt spid="13"/>
                                        </p:tgtEl>
                                        <p:attrNameLst>
                                          <p:attrName>style.visibility</p:attrName>
                                        </p:attrNameLst>
                                      </p:cBhvr>
                                      <p:to>
                                        <p:strVal val="visible"/>
                                      </p:to>
                                    </p:set>
                                    <p:animEffect transition="in" filter="fade">
                                      <p:cBhvr>
                                        <p:cTn id="148" dur="500"/>
                                        <p:tgtEl>
                                          <p:spTgt spid="13"/>
                                        </p:tgtEl>
                                      </p:cBhvr>
                                    </p:animEffect>
                                  </p:childTnLst>
                                </p:cTn>
                              </p:par>
                              <p:par>
                                <p:cTn id="149" presetID="10" presetClass="entr" presetSubtype="0" fill="hold" grpId="0" nodeType="withEffect">
                                  <p:stCondLst>
                                    <p:cond delay="0"/>
                                  </p:stCondLst>
                                  <p:childTnLst>
                                    <p:set>
                                      <p:cBhvr>
                                        <p:cTn id="150" dur="1" fill="hold">
                                          <p:stCondLst>
                                            <p:cond delay="0"/>
                                          </p:stCondLst>
                                        </p:cTn>
                                        <p:tgtEl>
                                          <p:spTgt spid="17"/>
                                        </p:tgtEl>
                                        <p:attrNameLst>
                                          <p:attrName>style.visibility</p:attrName>
                                        </p:attrNameLst>
                                      </p:cBhvr>
                                      <p:to>
                                        <p:strVal val="visible"/>
                                      </p:to>
                                    </p:set>
                                    <p:animEffect transition="in" filter="fade">
                                      <p:cBhvr>
                                        <p:cTn id="151" dur="500"/>
                                        <p:tgtEl>
                                          <p:spTgt spid="17"/>
                                        </p:tgtEl>
                                      </p:cBhvr>
                                    </p:animEffect>
                                  </p:childTnLst>
                                </p:cTn>
                              </p:par>
                              <p:par>
                                <p:cTn id="152" presetID="10" presetClass="entr" presetSubtype="0" fill="hold" grpId="0" nodeType="withEffect">
                                  <p:stCondLst>
                                    <p:cond delay="0"/>
                                  </p:stCondLst>
                                  <p:childTnLst>
                                    <p:set>
                                      <p:cBhvr>
                                        <p:cTn id="153" dur="1" fill="hold">
                                          <p:stCondLst>
                                            <p:cond delay="0"/>
                                          </p:stCondLst>
                                        </p:cTn>
                                        <p:tgtEl>
                                          <p:spTgt spid="19"/>
                                        </p:tgtEl>
                                        <p:attrNameLst>
                                          <p:attrName>style.visibility</p:attrName>
                                        </p:attrNameLst>
                                      </p:cBhvr>
                                      <p:to>
                                        <p:strVal val="visible"/>
                                      </p:to>
                                    </p:set>
                                    <p:animEffect transition="in" filter="fade">
                                      <p:cBhvr>
                                        <p:cTn id="154" dur="500"/>
                                        <p:tgtEl>
                                          <p:spTgt spid="19"/>
                                        </p:tgtEl>
                                      </p:cBhvr>
                                    </p:animEffect>
                                  </p:childTnLst>
                                </p:cTn>
                              </p:par>
                              <p:par>
                                <p:cTn id="155" presetID="10" presetClass="entr" presetSubtype="0" fill="hold" grpId="0" nodeType="withEffect">
                                  <p:stCondLst>
                                    <p:cond delay="0"/>
                                  </p:stCondLst>
                                  <p:childTnLst>
                                    <p:set>
                                      <p:cBhvr>
                                        <p:cTn id="156" dur="1" fill="hold">
                                          <p:stCondLst>
                                            <p:cond delay="0"/>
                                          </p:stCondLst>
                                        </p:cTn>
                                        <p:tgtEl>
                                          <p:spTgt spid="22"/>
                                        </p:tgtEl>
                                        <p:attrNameLst>
                                          <p:attrName>style.visibility</p:attrName>
                                        </p:attrNameLst>
                                      </p:cBhvr>
                                      <p:to>
                                        <p:strVal val="visible"/>
                                      </p:to>
                                    </p:set>
                                    <p:animEffect transition="in" filter="fade">
                                      <p:cBhvr>
                                        <p:cTn id="157"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animBg="1"/>
      <p:bldP spid="4" grpId="0" animBg="1"/>
      <p:bldP spid="5" grpId="0" animBg="1"/>
      <p:bldP spid="6" grpId="0" animBg="1"/>
      <p:bldP spid="7" grpId="0" animBg="1"/>
      <p:bldP spid="8" grpId="0"/>
      <p:bldP spid="9" grpId="0"/>
      <p:bldP spid="10" grpId="0"/>
      <p:bldP spid="11" grpId="0"/>
      <p:bldP spid="12" grpId="0"/>
      <p:bldP spid="13" grpId="0"/>
      <p:bldP spid="14" grpId="0" animBg="1"/>
      <p:bldP spid="15" grpId="0" animBg="1"/>
      <p:bldP spid="16" grpId="0"/>
      <p:bldP spid="17" grpId="0"/>
      <p:bldP spid="18" grpId="0"/>
      <p:bldP spid="19" grpId="0"/>
      <p:bldP spid="20" grpId="0" animBg="1"/>
      <p:bldP spid="21" grpId="0"/>
      <p:bldP spid="22" grpId="0"/>
      <p:bldP spid="23" grpId="0" animBg="1"/>
      <p:bldP spid="24" grpId="0" animBg="1"/>
      <p:bldP spid="25" grpId="0" animBg="1"/>
      <p:bldP spid="26" grpId="0" animBg="1"/>
      <p:bldP spid="27" grpId="0" animBg="1"/>
      <p:bldP spid="28" grpId="0" animBg="1"/>
      <p:bldP spid="29" grpId="0" animBg="1"/>
      <p:bldP spid="30" grpId="0" animBg="1"/>
      <p:bldP spid="31" grpId="0" animBg="1"/>
      <p:bldP spid="32" grpId="0" animBg="1"/>
      <p:bldP spid="33" grpId="0" animBg="1"/>
      <p:bldP spid="34" grpId="0" animBg="1"/>
      <p:bldP spid="35" grpId="0" animBg="1"/>
      <p:bldP spid="36" grpId="0" animBg="1"/>
      <p:bldP spid="37" grpId="0" animBg="1"/>
      <p:bldP spid="38" grpId="0" animBg="1"/>
      <p:bldP spid="39" grpId="0" animBg="1"/>
      <p:bldP spid="40" grpId="0" animBg="1"/>
      <p:bldP spid="41" grpId="0" animBg="1"/>
      <p:bldP spid="42" grpId="0" animBg="1"/>
      <p:bldP spid="43" grpId="0" animBg="1"/>
    </p:bldLst>
  </p:timing>
</p:sld>
</file>

<file path=ppt/slides/slide6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BEF985-4077-410D-94B6-CB4EBE20BD89}"/>
              </a:ext>
            </a:extLst>
          </p:cNvPr>
          <p:cNvSpPr txBox="1">
            <a:spLocks/>
          </p:cNvSpPr>
          <p:nvPr/>
        </p:nvSpPr>
        <p:spPr>
          <a:xfrm>
            <a:off x="2043113" y="304800"/>
            <a:ext cx="8105775" cy="1105808"/>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ID" sz="4400" b="0" i="0" u="none" strike="noStrike" kern="1200" cap="none" spc="0" normalizeH="0" baseline="0" noProof="0">
                <a:ln>
                  <a:noFill/>
                </a:ln>
                <a:solidFill>
                  <a:srgbClr val="000000"/>
                </a:solidFill>
                <a:effectLst/>
                <a:uLnTx/>
                <a:uFillTx/>
                <a:latin typeface="等线 Light" panose="020F0302020204030204"/>
                <a:ea typeface="+mj-ea"/>
                <a:cs typeface="+mj-cs"/>
              </a:rPr>
              <a:t>Tree Infographic</a:t>
            </a:r>
          </a:p>
        </p:txBody>
      </p:sp>
      <p:sp>
        <p:nvSpPr>
          <p:cNvPr id="3" name="Freeform: Shape 5">
            <a:extLst>
              <a:ext uri="{FF2B5EF4-FFF2-40B4-BE49-F238E27FC236}">
                <a16:creationId xmlns:a16="http://schemas.microsoft.com/office/drawing/2014/main" id="{579230FC-6FB4-4803-89AA-838EC3585CE5}"/>
              </a:ext>
            </a:extLst>
          </p:cNvPr>
          <p:cNvSpPr/>
          <p:nvPr/>
        </p:nvSpPr>
        <p:spPr>
          <a:xfrm>
            <a:off x="1122120" y="2126642"/>
            <a:ext cx="4707737" cy="4731358"/>
          </a:xfrm>
          <a:custGeom>
            <a:avLst/>
            <a:gdLst>
              <a:gd name="connsiteX0" fmla="*/ 5099685 w 5125402"/>
              <a:gd name="connsiteY0" fmla="*/ 2830830 h 5151119"/>
              <a:gd name="connsiteX1" fmla="*/ 5072063 w 5125402"/>
              <a:gd name="connsiteY1" fmla="*/ 2844165 h 5151119"/>
              <a:gd name="connsiteX2" fmla="*/ 5054918 w 5125402"/>
              <a:gd name="connsiteY2" fmla="*/ 2852738 h 5151119"/>
              <a:gd name="connsiteX3" fmla="*/ 5034915 w 5125402"/>
              <a:gd name="connsiteY3" fmla="*/ 2861310 h 5151119"/>
              <a:gd name="connsiteX4" fmla="*/ 4987290 w 5125402"/>
              <a:gd name="connsiteY4" fmla="*/ 2881313 h 5151119"/>
              <a:gd name="connsiteX5" fmla="*/ 4930140 w 5125402"/>
              <a:gd name="connsiteY5" fmla="*/ 2903220 h 5151119"/>
              <a:gd name="connsiteX6" fmla="*/ 4789170 w 5125402"/>
              <a:gd name="connsiteY6" fmla="*/ 2948940 h 5151119"/>
              <a:gd name="connsiteX7" fmla="*/ 4411028 w 5125402"/>
              <a:gd name="connsiteY7" fmla="*/ 3011805 h 5151119"/>
              <a:gd name="connsiteX8" fmla="*/ 4186238 w 5125402"/>
              <a:gd name="connsiteY8" fmla="*/ 3011805 h 5151119"/>
              <a:gd name="connsiteX9" fmla="*/ 3947160 w 5125402"/>
              <a:gd name="connsiteY9" fmla="*/ 2980373 h 5151119"/>
              <a:gd name="connsiteX10" fmla="*/ 3702368 w 5125402"/>
              <a:gd name="connsiteY10" fmla="*/ 2931795 h 5151119"/>
              <a:gd name="connsiteX11" fmla="*/ 3550920 w 5125402"/>
              <a:gd name="connsiteY11" fmla="*/ 2921318 h 5151119"/>
              <a:gd name="connsiteX12" fmla="*/ 3623310 w 5125402"/>
              <a:gd name="connsiteY12" fmla="*/ 2896553 h 5151119"/>
              <a:gd name="connsiteX13" fmla="*/ 3787140 w 5125402"/>
              <a:gd name="connsiteY13" fmla="*/ 2831783 h 5151119"/>
              <a:gd name="connsiteX14" fmla="*/ 3864293 w 5125402"/>
              <a:gd name="connsiteY14" fmla="*/ 2796540 h 5151119"/>
              <a:gd name="connsiteX15" fmla="*/ 3937635 w 5125402"/>
              <a:gd name="connsiteY15" fmla="*/ 2759393 h 5151119"/>
              <a:gd name="connsiteX16" fmla="*/ 4072890 w 5125402"/>
              <a:gd name="connsiteY16" fmla="*/ 2681288 h 5151119"/>
              <a:gd name="connsiteX17" fmla="*/ 4191000 w 5125402"/>
              <a:gd name="connsiteY17" fmla="*/ 2596515 h 5151119"/>
              <a:gd name="connsiteX18" fmla="*/ 4288155 w 5125402"/>
              <a:gd name="connsiteY18" fmla="*/ 2507933 h 5151119"/>
              <a:gd name="connsiteX19" fmla="*/ 4364355 w 5125402"/>
              <a:gd name="connsiteY19" fmla="*/ 2417445 h 5151119"/>
              <a:gd name="connsiteX20" fmla="*/ 4453890 w 5125402"/>
              <a:gd name="connsiteY20" fmla="*/ 2253615 h 5151119"/>
              <a:gd name="connsiteX21" fmla="*/ 4460558 w 5125402"/>
              <a:gd name="connsiteY21" fmla="*/ 2236470 h 5151119"/>
              <a:gd name="connsiteX22" fmla="*/ 4465320 w 5125402"/>
              <a:gd name="connsiteY22" fmla="*/ 2219325 h 5151119"/>
              <a:gd name="connsiteX23" fmla="*/ 4473893 w 5125402"/>
              <a:gd name="connsiteY23" fmla="*/ 2188845 h 5151119"/>
              <a:gd name="connsiteX24" fmla="*/ 4482465 w 5125402"/>
              <a:gd name="connsiteY24" fmla="*/ 2140268 h 5151119"/>
              <a:gd name="connsiteX25" fmla="*/ 4486275 w 5125402"/>
              <a:gd name="connsiteY25" fmla="*/ 2100263 h 5151119"/>
              <a:gd name="connsiteX26" fmla="*/ 4475798 w 5125402"/>
              <a:gd name="connsiteY26" fmla="*/ 2138363 h 5151119"/>
              <a:gd name="connsiteX27" fmla="*/ 4459605 w 5125402"/>
              <a:gd name="connsiteY27" fmla="*/ 2184083 h 5151119"/>
              <a:gd name="connsiteX28" fmla="*/ 4446270 w 5125402"/>
              <a:gd name="connsiteY28" fmla="*/ 2211705 h 5151119"/>
              <a:gd name="connsiteX29" fmla="*/ 4438650 w 5125402"/>
              <a:gd name="connsiteY29" fmla="*/ 2226945 h 5151119"/>
              <a:gd name="connsiteX30" fmla="*/ 4430078 w 5125402"/>
              <a:gd name="connsiteY30" fmla="*/ 2242185 h 5151119"/>
              <a:gd name="connsiteX31" fmla="*/ 4323398 w 5125402"/>
              <a:gd name="connsiteY31" fmla="*/ 2382203 h 5151119"/>
              <a:gd name="connsiteX32" fmla="*/ 4242435 w 5125402"/>
              <a:gd name="connsiteY32" fmla="*/ 2455545 h 5151119"/>
              <a:gd name="connsiteX33" fmla="*/ 4142423 w 5125402"/>
              <a:gd name="connsiteY33" fmla="*/ 2526030 h 5151119"/>
              <a:gd name="connsiteX34" fmla="*/ 4024313 w 5125402"/>
              <a:gd name="connsiteY34" fmla="*/ 2591753 h 5151119"/>
              <a:gd name="connsiteX35" fmla="*/ 3890010 w 5125402"/>
              <a:gd name="connsiteY35" fmla="*/ 2651760 h 5151119"/>
              <a:gd name="connsiteX36" fmla="*/ 3817620 w 5125402"/>
              <a:gd name="connsiteY36" fmla="*/ 2680335 h 5151119"/>
              <a:gd name="connsiteX37" fmla="*/ 3741420 w 5125402"/>
              <a:gd name="connsiteY37" fmla="*/ 2707005 h 5151119"/>
              <a:gd name="connsiteX38" fmla="*/ 3580448 w 5125402"/>
              <a:gd name="connsiteY38" fmla="*/ 2757488 h 5151119"/>
              <a:gd name="connsiteX39" fmla="*/ 3226118 w 5125402"/>
              <a:gd name="connsiteY39" fmla="*/ 2848928 h 5151119"/>
              <a:gd name="connsiteX40" fmla="*/ 3156585 w 5125402"/>
              <a:gd name="connsiteY40" fmla="*/ 2866073 h 5151119"/>
              <a:gd name="connsiteX41" fmla="*/ 3165158 w 5125402"/>
              <a:gd name="connsiteY41" fmla="*/ 2826068 h 5151119"/>
              <a:gd name="connsiteX42" fmla="*/ 3159443 w 5125402"/>
              <a:gd name="connsiteY42" fmla="*/ 2761298 h 5151119"/>
              <a:gd name="connsiteX43" fmla="*/ 3138488 w 5125402"/>
              <a:gd name="connsiteY43" fmla="*/ 2711768 h 5151119"/>
              <a:gd name="connsiteX44" fmla="*/ 3138488 w 5125402"/>
              <a:gd name="connsiteY44" fmla="*/ 2710815 h 5151119"/>
              <a:gd name="connsiteX45" fmla="*/ 3135630 w 5125402"/>
              <a:gd name="connsiteY45" fmla="*/ 2579370 h 5151119"/>
              <a:gd name="connsiteX46" fmla="*/ 3137535 w 5125402"/>
              <a:gd name="connsiteY46" fmla="*/ 2327910 h 5151119"/>
              <a:gd name="connsiteX47" fmla="*/ 3149918 w 5125402"/>
              <a:gd name="connsiteY47" fmla="*/ 2078355 h 5151119"/>
              <a:gd name="connsiteX48" fmla="*/ 3179445 w 5125402"/>
              <a:gd name="connsiteY48" fmla="*/ 1876425 h 5151119"/>
              <a:gd name="connsiteX49" fmla="*/ 3216593 w 5125402"/>
              <a:gd name="connsiteY49" fmla="*/ 1743075 h 5151119"/>
              <a:gd name="connsiteX50" fmla="*/ 3228975 w 5125402"/>
              <a:gd name="connsiteY50" fmla="*/ 1706880 h 5151119"/>
              <a:gd name="connsiteX51" fmla="*/ 3233738 w 5125402"/>
              <a:gd name="connsiteY51" fmla="*/ 1694498 h 5151119"/>
              <a:gd name="connsiteX52" fmla="*/ 3226118 w 5125402"/>
              <a:gd name="connsiteY52" fmla="*/ 1704975 h 5151119"/>
              <a:gd name="connsiteX53" fmla="*/ 3204210 w 5125402"/>
              <a:gd name="connsiteY53" fmla="*/ 1737360 h 5151119"/>
              <a:gd name="connsiteX54" fmla="*/ 3138488 w 5125402"/>
              <a:gd name="connsiteY54" fmla="*/ 1864043 h 5151119"/>
              <a:gd name="connsiteX55" fmla="*/ 3078480 w 5125402"/>
              <a:gd name="connsiteY55" fmla="*/ 2067878 h 5151119"/>
              <a:gd name="connsiteX56" fmla="*/ 3051810 w 5125402"/>
              <a:gd name="connsiteY56" fmla="*/ 2325053 h 5151119"/>
              <a:gd name="connsiteX57" fmla="*/ 3062288 w 5125402"/>
              <a:gd name="connsiteY57" fmla="*/ 2570798 h 5151119"/>
              <a:gd name="connsiteX58" fmla="*/ 3041333 w 5125402"/>
              <a:gd name="connsiteY58" fmla="*/ 2533650 h 5151119"/>
              <a:gd name="connsiteX59" fmla="*/ 2876550 w 5125402"/>
              <a:gd name="connsiteY59" fmla="*/ 2350770 h 5151119"/>
              <a:gd name="connsiteX60" fmla="*/ 2736533 w 5125402"/>
              <a:gd name="connsiteY60" fmla="*/ 2265998 h 5151119"/>
              <a:gd name="connsiteX61" fmla="*/ 2695575 w 5125402"/>
              <a:gd name="connsiteY61" fmla="*/ 2249805 h 5151119"/>
              <a:gd name="connsiteX62" fmla="*/ 2681288 w 5125402"/>
              <a:gd name="connsiteY62" fmla="*/ 2245043 h 5151119"/>
              <a:gd name="connsiteX63" fmla="*/ 2693670 w 5125402"/>
              <a:gd name="connsiteY63" fmla="*/ 2253615 h 5151119"/>
              <a:gd name="connsiteX64" fmla="*/ 2729865 w 5125402"/>
              <a:gd name="connsiteY64" fmla="*/ 2278380 h 5151119"/>
              <a:gd name="connsiteX65" fmla="*/ 2847975 w 5125402"/>
              <a:gd name="connsiteY65" fmla="*/ 2383155 h 5151119"/>
              <a:gd name="connsiteX66" fmla="*/ 2978468 w 5125402"/>
              <a:gd name="connsiteY66" fmla="*/ 2569845 h 5151119"/>
              <a:gd name="connsiteX67" fmla="*/ 3023235 w 5125402"/>
              <a:gd name="connsiteY67" fmla="*/ 2691765 h 5151119"/>
              <a:gd name="connsiteX68" fmla="*/ 3027045 w 5125402"/>
              <a:gd name="connsiteY68" fmla="*/ 2823210 h 5151119"/>
              <a:gd name="connsiteX69" fmla="*/ 2996565 w 5125402"/>
              <a:gd name="connsiteY69" fmla="*/ 2907983 h 5151119"/>
              <a:gd name="connsiteX70" fmla="*/ 2836545 w 5125402"/>
              <a:gd name="connsiteY70" fmla="*/ 2962275 h 5151119"/>
              <a:gd name="connsiteX71" fmla="*/ 2643188 w 5125402"/>
              <a:gd name="connsiteY71" fmla="*/ 3060383 h 5151119"/>
              <a:gd name="connsiteX72" fmla="*/ 2555558 w 5125402"/>
              <a:gd name="connsiteY72" fmla="*/ 3124200 h 5151119"/>
              <a:gd name="connsiteX73" fmla="*/ 2477453 w 5125402"/>
              <a:gd name="connsiteY73" fmla="*/ 3198495 h 5151119"/>
              <a:gd name="connsiteX74" fmla="*/ 2410778 w 5125402"/>
              <a:gd name="connsiteY74" fmla="*/ 3283268 h 5151119"/>
              <a:gd name="connsiteX75" fmla="*/ 2361248 w 5125402"/>
              <a:gd name="connsiteY75" fmla="*/ 3373755 h 5151119"/>
              <a:gd name="connsiteX76" fmla="*/ 2350770 w 5125402"/>
              <a:gd name="connsiteY76" fmla="*/ 3325178 h 5151119"/>
              <a:gd name="connsiteX77" fmla="*/ 2334578 w 5125402"/>
              <a:gd name="connsiteY77" fmla="*/ 3266123 h 5151119"/>
              <a:gd name="connsiteX78" fmla="*/ 2325053 w 5125402"/>
              <a:gd name="connsiteY78" fmla="*/ 3236595 h 5151119"/>
              <a:gd name="connsiteX79" fmla="*/ 2314575 w 5125402"/>
              <a:gd name="connsiteY79" fmla="*/ 3207068 h 5151119"/>
              <a:gd name="connsiteX80" fmla="*/ 2264093 w 5125402"/>
              <a:gd name="connsiteY80" fmla="*/ 3093720 h 5151119"/>
              <a:gd name="connsiteX81" fmla="*/ 2145030 w 5125402"/>
              <a:gd name="connsiteY81" fmla="*/ 2881313 h 5151119"/>
              <a:gd name="connsiteX82" fmla="*/ 2088833 w 5125402"/>
              <a:gd name="connsiteY82" fmla="*/ 2776538 h 5151119"/>
              <a:gd name="connsiteX83" fmla="*/ 2064068 w 5125402"/>
              <a:gd name="connsiteY83" fmla="*/ 2724150 h 5151119"/>
              <a:gd name="connsiteX84" fmla="*/ 2043113 w 5125402"/>
              <a:gd name="connsiteY84" fmla="*/ 2670810 h 5151119"/>
              <a:gd name="connsiteX85" fmla="*/ 2001203 w 5125402"/>
              <a:gd name="connsiteY85" fmla="*/ 2446973 h 5151119"/>
              <a:gd name="connsiteX86" fmla="*/ 2030730 w 5125402"/>
              <a:gd name="connsiteY86" fmla="*/ 2221230 h 5151119"/>
              <a:gd name="connsiteX87" fmla="*/ 2125028 w 5125402"/>
              <a:gd name="connsiteY87" fmla="*/ 2015490 h 5151119"/>
              <a:gd name="connsiteX88" fmla="*/ 2405063 w 5125402"/>
              <a:gd name="connsiteY88" fmla="*/ 1653540 h 5151119"/>
              <a:gd name="connsiteX89" fmla="*/ 2543175 w 5125402"/>
              <a:gd name="connsiteY89" fmla="*/ 1476375 h 5151119"/>
              <a:gd name="connsiteX90" fmla="*/ 2599373 w 5125402"/>
              <a:gd name="connsiteY90" fmla="*/ 1390650 h 5151119"/>
              <a:gd name="connsiteX91" fmla="*/ 2704148 w 5125402"/>
              <a:gd name="connsiteY91" fmla="*/ 1293495 h 5151119"/>
              <a:gd name="connsiteX92" fmla="*/ 2938463 w 5125402"/>
              <a:gd name="connsiteY92" fmla="*/ 1108710 h 5151119"/>
              <a:gd name="connsiteX93" fmla="*/ 3224213 w 5125402"/>
              <a:gd name="connsiteY93" fmla="*/ 968693 h 5151119"/>
              <a:gd name="connsiteX94" fmla="*/ 3534728 w 5125402"/>
              <a:gd name="connsiteY94" fmla="*/ 865823 h 5151119"/>
              <a:gd name="connsiteX95" fmla="*/ 3830955 w 5125402"/>
              <a:gd name="connsiteY95" fmla="*/ 769620 h 5151119"/>
              <a:gd name="connsiteX96" fmla="*/ 4301490 w 5125402"/>
              <a:gd name="connsiteY96" fmla="*/ 512445 h 5151119"/>
              <a:gd name="connsiteX97" fmla="*/ 4446270 w 5125402"/>
              <a:gd name="connsiteY97" fmla="*/ 364808 h 5151119"/>
              <a:gd name="connsiteX98" fmla="*/ 4472940 w 5125402"/>
              <a:gd name="connsiteY98" fmla="*/ 329565 h 5151119"/>
              <a:gd name="connsiteX99" fmla="*/ 4494848 w 5125402"/>
              <a:gd name="connsiteY99" fmla="*/ 295275 h 5151119"/>
              <a:gd name="connsiteX100" fmla="*/ 4504373 w 5125402"/>
              <a:gd name="connsiteY100" fmla="*/ 279083 h 5151119"/>
              <a:gd name="connsiteX101" fmla="*/ 4512945 w 5125402"/>
              <a:gd name="connsiteY101" fmla="*/ 262890 h 5151119"/>
              <a:gd name="connsiteX102" fmla="*/ 4528185 w 5125402"/>
              <a:gd name="connsiteY102" fmla="*/ 233363 h 5151119"/>
              <a:gd name="connsiteX103" fmla="*/ 4563428 w 5125402"/>
              <a:gd name="connsiteY103" fmla="*/ 142875 h 5151119"/>
              <a:gd name="connsiteX104" fmla="*/ 4572953 w 5125402"/>
              <a:gd name="connsiteY104" fmla="*/ 111443 h 5151119"/>
              <a:gd name="connsiteX105" fmla="*/ 4558665 w 5125402"/>
              <a:gd name="connsiteY105" fmla="*/ 140970 h 5151119"/>
              <a:gd name="connsiteX106" fmla="*/ 4511040 w 5125402"/>
              <a:gd name="connsiteY106" fmla="*/ 223838 h 5151119"/>
              <a:gd name="connsiteX107" fmla="*/ 4263390 w 5125402"/>
              <a:gd name="connsiteY107" fmla="*/ 461963 h 5151119"/>
              <a:gd name="connsiteX108" fmla="*/ 3797618 w 5125402"/>
              <a:gd name="connsiteY108" fmla="*/ 666750 h 5151119"/>
              <a:gd name="connsiteX109" fmla="*/ 3500438 w 5125402"/>
              <a:gd name="connsiteY109" fmla="*/ 747713 h 5151119"/>
              <a:gd name="connsiteX110" fmla="*/ 3178493 w 5125402"/>
              <a:gd name="connsiteY110" fmla="*/ 848677 h 5151119"/>
              <a:gd name="connsiteX111" fmla="*/ 2870835 w 5125402"/>
              <a:gd name="connsiteY111" fmla="*/ 1005840 h 5151119"/>
              <a:gd name="connsiteX112" fmla="*/ 2737485 w 5125402"/>
              <a:gd name="connsiteY112" fmla="*/ 1111568 h 5151119"/>
              <a:gd name="connsiteX113" fmla="*/ 2792730 w 5125402"/>
              <a:gd name="connsiteY113" fmla="*/ 936308 h 5151119"/>
              <a:gd name="connsiteX114" fmla="*/ 2828925 w 5125402"/>
              <a:gd name="connsiteY114" fmla="*/ 742950 h 5151119"/>
              <a:gd name="connsiteX115" fmla="*/ 2832735 w 5125402"/>
              <a:gd name="connsiteY115" fmla="*/ 719138 h 5151119"/>
              <a:gd name="connsiteX116" fmla="*/ 2838450 w 5125402"/>
              <a:gd name="connsiteY116" fmla="*/ 677228 h 5151119"/>
              <a:gd name="connsiteX117" fmla="*/ 2842260 w 5125402"/>
              <a:gd name="connsiteY117" fmla="*/ 635318 h 5151119"/>
              <a:gd name="connsiteX118" fmla="*/ 2850833 w 5125402"/>
              <a:gd name="connsiteY118" fmla="*/ 478155 h 5151119"/>
              <a:gd name="connsiteX119" fmla="*/ 2862263 w 5125402"/>
              <a:gd name="connsiteY119" fmla="*/ 339090 h 5151119"/>
              <a:gd name="connsiteX120" fmla="*/ 2888933 w 5125402"/>
              <a:gd name="connsiteY120" fmla="*/ 220028 h 5151119"/>
              <a:gd name="connsiteX121" fmla="*/ 2957513 w 5125402"/>
              <a:gd name="connsiteY121" fmla="*/ 56198 h 5151119"/>
              <a:gd name="connsiteX122" fmla="*/ 2982278 w 5125402"/>
              <a:gd name="connsiteY122" fmla="*/ 14288 h 5151119"/>
              <a:gd name="connsiteX123" fmla="*/ 2990850 w 5125402"/>
              <a:gd name="connsiteY123" fmla="*/ 0 h 5151119"/>
              <a:gd name="connsiteX124" fmla="*/ 2980373 w 5125402"/>
              <a:gd name="connsiteY124" fmla="*/ 13335 h 5151119"/>
              <a:gd name="connsiteX125" fmla="*/ 2951798 w 5125402"/>
              <a:gd name="connsiteY125" fmla="*/ 52388 h 5151119"/>
              <a:gd name="connsiteX126" fmla="*/ 2868930 w 5125402"/>
              <a:gd name="connsiteY126" fmla="*/ 212408 h 5151119"/>
              <a:gd name="connsiteX127" fmla="*/ 2840355 w 5125402"/>
              <a:gd name="connsiteY127" fmla="*/ 302895 h 5151119"/>
              <a:gd name="connsiteX128" fmla="*/ 2819400 w 5125402"/>
              <a:gd name="connsiteY128" fmla="*/ 390525 h 5151119"/>
              <a:gd name="connsiteX129" fmla="*/ 2803208 w 5125402"/>
              <a:gd name="connsiteY129" fmla="*/ 495300 h 5151119"/>
              <a:gd name="connsiteX130" fmla="*/ 2786063 w 5125402"/>
              <a:gd name="connsiteY130" fmla="*/ 619125 h 5151119"/>
              <a:gd name="connsiteX131" fmla="*/ 2711768 w 5125402"/>
              <a:gd name="connsiteY131" fmla="*/ 909638 h 5151119"/>
              <a:gd name="connsiteX132" fmla="*/ 2555558 w 5125402"/>
              <a:gd name="connsiteY132" fmla="*/ 1232535 h 5151119"/>
              <a:gd name="connsiteX133" fmla="*/ 2439353 w 5125402"/>
              <a:gd name="connsiteY133" fmla="*/ 1394460 h 5151119"/>
              <a:gd name="connsiteX134" fmla="*/ 2297430 w 5125402"/>
              <a:gd name="connsiteY134" fmla="*/ 1555433 h 5151119"/>
              <a:gd name="connsiteX135" fmla="*/ 2252663 w 5125402"/>
              <a:gd name="connsiteY135" fmla="*/ 1603058 h 5151119"/>
              <a:gd name="connsiteX136" fmla="*/ 2252663 w 5125402"/>
              <a:gd name="connsiteY136" fmla="*/ 1587818 h 5151119"/>
              <a:gd name="connsiteX137" fmla="*/ 2252663 w 5125402"/>
              <a:gd name="connsiteY137" fmla="*/ 1579245 h 5151119"/>
              <a:gd name="connsiteX138" fmla="*/ 2252663 w 5125402"/>
              <a:gd name="connsiteY138" fmla="*/ 1576388 h 5151119"/>
              <a:gd name="connsiteX139" fmla="*/ 2208848 w 5125402"/>
              <a:gd name="connsiteY139" fmla="*/ 1228725 h 5151119"/>
              <a:gd name="connsiteX140" fmla="*/ 2198370 w 5125402"/>
              <a:gd name="connsiteY140" fmla="*/ 1105853 h 5151119"/>
              <a:gd name="connsiteX141" fmla="*/ 2200275 w 5125402"/>
              <a:gd name="connsiteY141" fmla="*/ 914400 h 5151119"/>
              <a:gd name="connsiteX142" fmla="*/ 2193608 w 5125402"/>
              <a:gd name="connsiteY142" fmla="*/ 715328 h 5151119"/>
              <a:gd name="connsiteX143" fmla="*/ 2146935 w 5125402"/>
              <a:gd name="connsiteY143" fmla="*/ 531495 h 5151119"/>
              <a:gd name="connsiteX144" fmla="*/ 2065020 w 5125402"/>
              <a:gd name="connsiteY144" fmla="*/ 381953 h 5151119"/>
              <a:gd name="connsiteX145" fmla="*/ 2053590 w 5125402"/>
              <a:gd name="connsiteY145" fmla="*/ 365760 h 5151119"/>
              <a:gd name="connsiteX146" fmla="*/ 2041208 w 5125402"/>
              <a:gd name="connsiteY146" fmla="*/ 350520 h 5151119"/>
              <a:gd name="connsiteX147" fmla="*/ 2017395 w 5125402"/>
              <a:gd name="connsiteY147" fmla="*/ 321945 h 5151119"/>
              <a:gd name="connsiteX148" fmla="*/ 1993583 w 5125402"/>
              <a:gd name="connsiteY148" fmla="*/ 295275 h 5151119"/>
              <a:gd name="connsiteX149" fmla="*/ 1968818 w 5125402"/>
              <a:gd name="connsiteY149" fmla="*/ 271463 h 5151119"/>
              <a:gd name="connsiteX150" fmla="*/ 1944053 w 5125402"/>
              <a:gd name="connsiteY150" fmla="*/ 249555 h 5151119"/>
              <a:gd name="connsiteX151" fmla="*/ 1920240 w 5125402"/>
              <a:gd name="connsiteY151" fmla="*/ 229553 h 5151119"/>
              <a:gd name="connsiteX152" fmla="*/ 1874520 w 5125402"/>
              <a:gd name="connsiteY152" fmla="*/ 196215 h 5151119"/>
              <a:gd name="connsiteX153" fmla="*/ 1852613 w 5125402"/>
              <a:gd name="connsiteY153" fmla="*/ 181928 h 5151119"/>
              <a:gd name="connsiteX154" fmla="*/ 1831658 w 5125402"/>
              <a:gd name="connsiteY154" fmla="*/ 170498 h 5151119"/>
              <a:gd name="connsiteX155" fmla="*/ 1795463 w 5125402"/>
              <a:gd name="connsiteY155" fmla="*/ 151448 h 5151119"/>
              <a:gd name="connsiteX156" fmla="*/ 1765935 w 5125402"/>
              <a:gd name="connsiteY156" fmla="*/ 137160 h 5151119"/>
              <a:gd name="connsiteX157" fmla="*/ 1744028 w 5125402"/>
              <a:gd name="connsiteY157" fmla="*/ 128588 h 5151119"/>
              <a:gd name="connsiteX158" fmla="*/ 1725930 w 5125402"/>
              <a:gd name="connsiteY158" fmla="*/ 121920 h 5151119"/>
              <a:gd name="connsiteX159" fmla="*/ 1743075 w 5125402"/>
              <a:gd name="connsiteY159" fmla="*/ 132398 h 5151119"/>
              <a:gd name="connsiteX160" fmla="*/ 1763078 w 5125402"/>
              <a:gd name="connsiteY160" fmla="*/ 144780 h 5151119"/>
              <a:gd name="connsiteX161" fmla="*/ 1789748 w 5125402"/>
              <a:gd name="connsiteY161" fmla="*/ 162878 h 5151119"/>
              <a:gd name="connsiteX162" fmla="*/ 1937385 w 5125402"/>
              <a:gd name="connsiteY162" fmla="*/ 300990 h 5151119"/>
              <a:gd name="connsiteX163" fmla="*/ 2079308 w 5125402"/>
              <a:gd name="connsiteY163" fmla="*/ 557213 h 5151119"/>
              <a:gd name="connsiteX164" fmla="*/ 2111693 w 5125402"/>
              <a:gd name="connsiteY164" fmla="*/ 724853 h 5151119"/>
              <a:gd name="connsiteX165" fmla="*/ 2114550 w 5125402"/>
              <a:gd name="connsiteY165" fmla="*/ 913448 h 5151119"/>
              <a:gd name="connsiteX166" fmla="*/ 2114550 w 5125402"/>
              <a:gd name="connsiteY166" fmla="*/ 1066800 h 5151119"/>
              <a:gd name="connsiteX167" fmla="*/ 2097405 w 5125402"/>
              <a:gd name="connsiteY167" fmla="*/ 1044893 h 5151119"/>
              <a:gd name="connsiteX168" fmla="*/ 2078355 w 5125402"/>
              <a:gd name="connsiteY168" fmla="*/ 1024890 h 5151119"/>
              <a:gd name="connsiteX169" fmla="*/ 2068830 w 5125402"/>
              <a:gd name="connsiteY169" fmla="*/ 1015365 h 5151119"/>
              <a:gd name="connsiteX170" fmla="*/ 2058353 w 5125402"/>
              <a:gd name="connsiteY170" fmla="*/ 1004888 h 5151119"/>
              <a:gd name="connsiteX171" fmla="*/ 2033588 w 5125402"/>
              <a:gd name="connsiteY171" fmla="*/ 985838 h 5151119"/>
              <a:gd name="connsiteX172" fmla="*/ 1945005 w 5125402"/>
              <a:gd name="connsiteY172" fmla="*/ 932498 h 5151119"/>
              <a:gd name="connsiteX173" fmla="*/ 1858328 w 5125402"/>
              <a:gd name="connsiteY173" fmla="*/ 883920 h 5151119"/>
              <a:gd name="connsiteX174" fmla="*/ 1524000 w 5125402"/>
              <a:gd name="connsiteY174" fmla="*/ 705803 h 5151119"/>
              <a:gd name="connsiteX175" fmla="*/ 953453 w 5125402"/>
              <a:gd name="connsiteY175" fmla="*/ 416243 h 5151119"/>
              <a:gd name="connsiteX176" fmla="*/ 838200 w 5125402"/>
              <a:gd name="connsiteY176" fmla="*/ 357188 h 5151119"/>
              <a:gd name="connsiteX177" fmla="*/ 741045 w 5125402"/>
              <a:gd name="connsiteY177" fmla="*/ 297180 h 5151119"/>
              <a:gd name="connsiteX178" fmla="*/ 599123 w 5125402"/>
              <a:gd name="connsiteY178" fmla="*/ 182880 h 5151119"/>
              <a:gd name="connsiteX179" fmla="*/ 531495 w 5125402"/>
              <a:gd name="connsiteY179" fmla="*/ 88582 h 5151119"/>
              <a:gd name="connsiteX180" fmla="*/ 517208 w 5125402"/>
              <a:gd name="connsiteY180" fmla="*/ 61913 h 5151119"/>
              <a:gd name="connsiteX181" fmla="*/ 512445 w 5125402"/>
              <a:gd name="connsiteY181" fmla="*/ 53340 h 5151119"/>
              <a:gd name="connsiteX182" fmla="*/ 516255 w 5125402"/>
              <a:gd name="connsiteY182" fmla="*/ 62865 h 5151119"/>
              <a:gd name="connsiteX183" fmla="*/ 528638 w 5125402"/>
              <a:gd name="connsiteY183" fmla="*/ 91440 h 5151119"/>
              <a:gd name="connsiteX184" fmla="*/ 589598 w 5125402"/>
              <a:gd name="connsiteY184" fmla="*/ 192405 h 5151119"/>
              <a:gd name="connsiteX185" fmla="*/ 721043 w 5125402"/>
              <a:gd name="connsiteY185" fmla="*/ 326708 h 5151119"/>
              <a:gd name="connsiteX186" fmla="*/ 817245 w 5125402"/>
              <a:gd name="connsiteY186" fmla="*/ 394335 h 5151119"/>
              <a:gd name="connsiteX187" fmla="*/ 929640 w 5125402"/>
              <a:gd name="connsiteY187" fmla="*/ 461010 h 5151119"/>
              <a:gd name="connsiteX188" fmla="*/ 1485900 w 5125402"/>
              <a:gd name="connsiteY188" fmla="*/ 776288 h 5151119"/>
              <a:gd name="connsiteX189" fmla="*/ 1813560 w 5125402"/>
              <a:gd name="connsiteY189" fmla="*/ 962025 h 5151119"/>
              <a:gd name="connsiteX190" fmla="*/ 1898333 w 5125402"/>
              <a:gd name="connsiteY190" fmla="*/ 1011555 h 5151119"/>
              <a:gd name="connsiteX191" fmla="*/ 1981200 w 5125402"/>
              <a:gd name="connsiteY191" fmla="*/ 1062990 h 5151119"/>
              <a:gd name="connsiteX192" fmla="*/ 1996440 w 5125402"/>
              <a:gd name="connsiteY192" fmla="*/ 1074420 h 5151119"/>
              <a:gd name="connsiteX193" fmla="*/ 2004060 w 5125402"/>
              <a:gd name="connsiteY193" fmla="*/ 1082040 h 5151119"/>
              <a:gd name="connsiteX194" fmla="*/ 2011680 w 5125402"/>
              <a:gd name="connsiteY194" fmla="*/ 1090613 h 5151119"/>
              <a:gd name="connsiteX195" fmla="*/ 2027873 w 5125402"/>
              <a:gd name="connsiteY195" fmla="*/ 1107758 h 5151119"/>
              <a:gd name="connsiteX196" fmla="*/ 2042160 w 5125402"/>
              <a:gd name="connsiteY196" fmla="*/ 1126808 h 5151119"/>
              <a:gd name="connsiteX197" fmla="*/ 2056448 w 5125402"/>
              <a:gd name="connsiteY197" fmla="*/ 1145858 h 5151119"/>
              <a:gd name="connsiteX198" fmla="*/ 2069783 w 5125402"/>
              <a:gd name="connsiteY198" fmla="*/ 1165860 h 5151119"/>
              <a:gd name="connsiteX199" fmla="*/ 2094548 w 5125402"/>
              <a:gd name="connsiteY199" fmla="*/ 1206818 h 5151119"/>
              <a:gd name="connsiteX200" fmla="*/ 2165033 w 5125402"/>
              <a:gd name="connsiteY200" fmla="*/ 1572578 h 5151119"/>
              <a:gd name="connsiteX201" fmla="*/ 2116455 w 5125402"/>
              <a:gd name="connsiteY201" fmla="*/ 1744980 h 5151119"/>
              <a:gd name="connsiteX202" fmla="*/ 2107883 w 5125402"/>
              <a:gd name="connsiteY202" fmla="*/ 1763078 h 5151119"/>
              <a:gd name="connsiteX203" fmla="*/ 1980248 w 5125402"/>
              <a:gd name="connsiteY203" fmla="*/ 1930718 h 5151119"/>
              <a:gd name="connsiteX204" fmla="*/ 1862138 w 5125402"/>
              <a:gd name="connsiteY204" fmla="*/ 2174558 h 5151119"/>
              <a:gd name="connsiteX205" fmla="*/ 1823085 w 5125402"/>
              <a:gd name="connsiteY205" fmla="*/ 2454593 h 5151119"/>
              <a:gd name="connsiteX206" fmla="*/ 1827848 w 5125402"/>
              <a:gd name="connsiteY206" fmla="*/ 2523173 h 5151119"/>
              <a:gd name="connsiteX207" fmla="*/ 1579245 w 5125402"/>
              <a:gd name="connsiteY207" fmla="*/ 2358390 h 5151119"/>
              <a:gd name="connsiteX208" fmla="*/ 1465898 w 5125402"/>
              <a:gd name="connsiteY208" fmla="*/ 2313623 h 5151119"/>
              <a:gd name="connsiteX209" fmla="*/ 1461135 w 5125402"/>
              <a:gd name="connsiteY209" fmla="*/ 2309813 h 5151119"/>
              <a:gd name="connsiteX210" fmla="*/ 1247775 w 5125402"/>
              <a:gd name="connsiteY210" fmla="*/ 2120265 h 5151119"/>
              <a:gd name="connsiteX211" fmla="*/ 1142048 w 5125402"/>
              <a:gd name="connsiteY211" fmla="*/ 1996440 h 5151119"/>
              <a:gd name="connsiteX212" fmla="*/ 1069658 w 5125402"/>
              <a:gd name="connsiteY212" fmla="*/ 1845945 h 5151119"/>
              <a:gd name="connsiteX213" fmla="*/ 1063943 w 5125402"/>
              <a:gd name="connsiteY213" fmla="*/ 1825943 h 5151119"/>
              <a:gd name="connsiteX214" fmla="*/ 1060133 w 5125402"/>
              <a:gd name="connsiteY214" fmla="*/ 1804988 h 5151119"/>
              <a:gd name="connsiteX215" fmla="*/ 1055370 w 5125402"/>
              <a:gd name="connsiteY215" fmla="*/ 1764030 h 5151119"/>
              <a:gd name="connsiteX216" fmla="*/ 1054418 w 5125402"/>
              <a:gd name="connsiteY216" fmla="*/ 1678305 h 5151119"/>
              <a:gd name="connsiteX217" fmla="*/ 1044893 w 5125402"/>
              <a:gd name="connsiteY217" fmla="*/ 1501140 h 5151119"/>
              <a:gd name="connsiteX218" fmla="*/ 983933 w 5125402"/>
              <a:gd name="connsiteY218" fmla="*/ 1348740 h 5151119"/>
              <a:gd name="connsiteX219" fmla="*/ 894398 w 5125402"/>
              <a:gd name="connsiteY219" fmla="*/ 1240155 h 5151119"/>
              <a:gd name="connsiteX220" fmla="*/ 802958 w 5125402"/>
              <a:gd name="connsiteY220" fmla="*/ 1171575 h 5151119"/>
              <a:gd name="connsiteX221" fmla="*/ 762000 w 5125402"/>
              <a:gd name="connsiteY221" fmla="*/ 1149668 h 5151119"/>
              <a:gd name="connsiteX222" fmla="*/ 726758 w 5125402"/>
              <a:gd name="connsiteY222" fmla="*/ 1133475 h 5151119"/>
              <a:gd name="connsiteX223" fmla="*/ 697230 w 5125402"/>
              <a:gd name="connsiteY223" fmla="*/ 1122998 h 5151119"/>
              <a:gd name="connsiteX224" fmla="*/ 675323 w 5125402"/>
              <a:gd name="connsiteY224" fmla="*/ 1116330 h 5151119"/>
              <a:gd name="connsiteX225" fmla="*/ 658178 w 5125402"/>
              <a:gd name="connsiteY225" fmla="*/ 1111568 h 5151119"/>
              <a:gd name="connsiteX226" fmla="*/ 674370 w 5125402"/>
              <a:gd name="connsiteY226" fmla="*/ 1120140 h 5151119"/>
              <a:gd name="connsiteX227" fmla="*/ 694373 w 5125402"/>
              <a:gd name="connsiteY227" fmla="*/ 1130618 h 5151119"/>
              <a:gd name="connsiteX228" fmla="*/ 721043 w 5125402"/>
              <a:gd name="connsiteY228" fmla="*/ 1145858 h 5151119"/>
              <a:gd name="connsiteX229" fmla="*/ 863918 w 5125402"/>
              <a:gd name="connsiteY229" fmla="*/ 1269683 h 5151119"/>
              <a:gd name="connsiteX230" fmla="*/ 933450 w 5125402"/>
              <a:gd name="connsiteY230" fmla="*/ 1376363 h 5151119"/>
              <a:gd name="connsiteX231" fmla="*/ 974408 w 5125402"/>
              <a:gd name="connsiteY231" fmla="*/ 1512570 h 5151119"/>
              <a:gd name="connsiteX232" fmla="*/ 973455 w 5125402"/>
              <a:gd name="connsiteY232" fmla="*/ 1674495 h 5151119"/>
              <a:gd name="connsiteX233" fmla="*/ 971550 w 5125402"/>
              <a:gd name="connsiteY233" fmla="*/ 1768793 h 5151119"/>
              <a:gd name="connsiteX234" fmla="*/ 977265 w 5125402"/>
              <a:gd name="connsiteY234" fmla="*/ 1819275 h 5151119"/>
              <a:gd name="connsiteX235" fmla="*/ 982028 w 5125402"/>
              <a:gd name="connsiteY235" fmla="*/ 1844993 h 5151119"/>
              <a:gd name="connsiteX236" fmla="*/ 988695 w 5125402"/>
              <a:gd name="connsiteY236" fmla="*/ 1869758 h 5151119"/>
              <a:gd name="connsiteX237" fmla="*/ 1078230 w 5125402"/>
              <a:gd name="connsiteY237" fmla="*/ 2045018 h 5151119"/>
              <a:gd name="connsiteX238" fmla="*/ 1201103 w 5125402"/>
              <a:gd name="connsiteY238" fmla="*/ 2173605 h 5151119"/>
              <a:gd name="connsiteX239" fmla="*/ 1342073 w 5125402"/>
              <a:gd name="connsiteY239" fmla="*/ 2280285 h 5151119"/>
              <a:gd name="connsiteX240" fmla="*/ 1242060 w 5125402"/>
              <a:gd name="connsiteY240" fmla="*/ 2265998 h 5151119"/>
              <a:gd name="connsiteX241" fmla="*/ 1085850 w 5125402"/>
              <a:gd name="connsiteY241" fmla="*/ 2262188 h 5151119"/>
              <a:gd name="connsiteX242" fmla="*/ 950595 w 5125402"/>
              <a:gd name="connsiteY242" fmla="*/ 2262188 h 5151119"/>
              <a:gd name="connsiteX243" fmla="*/ 868680 w 5125402"/>
              <a:gd name="connsiteY243" fmla="*/ 2253615 h 5151119"/>
              <a:gd name="connsiteX244" fmla="*/ 806768 w 5125402"/>
              <a:gd name="connsiteY244" fmla="*/ 2233613 h 5151119"/>
              <a:gd name="connsiteX245" fmla="*/ 563880 w 5125402"/>
              <a:gd name="connsiteY245" fmla="*/ 2097405 h 5151119"/>
              <a:gd name="connsiteX246" fmla="*/ 333375 w 5125402"/>
              <a:gd name="connsiteY246" fmla="*/ 1924050 h 5151119"/>
              <a:gd name="connsiteX247" fmla="*/ 149543 w 5125402"/>
              <a:gd name="connsiteY247" fmla="*/ 1776413 h 5151119"/>
              <a:gd name="connsiteX248" fmla="*/ 37147 w 5125402"/>
              <a:gd name="connsiteY248" fmla="*/ 1664018 h 5151119"/>
              <a:gd name="connsiteX249" fmla="*/ 20955 w 5125402"/>
              <a:gd name="connsiteY249" fmla="*/ 1644968 h 5151119"/>
              <a:gd name="connsiteX250" fmla="*/ 9525 w 5125402"/>
              <a:gd name="connsiteY250" fmla="*/ 1630680 h 5151119"/>
              <a:gd name="connsiteX251" fmla="*/ 0 w 5125402"/>
              <a:gd name="connsiteY251" fmla="*/ 1619250 h 5151119"/>
              <a:gd name="connsiteX252" fmla="*/ 6668 w 5125402"/>
              <a:gd name="connsiteY252" fmla="*/ 1632585 h 5151119"/>
              <a:gd name="connsiteX253" fmla="*/ 14288 w 5125402"/>
              <a:gd name="connsiteY253" fmla="*/ 1649730 h 5151119"/>
              <a:gd name="connsiteX254" fmla="*/ 26670 w 5125402"/>
              <a:gd name="connsiteY254" fmla="*/ 1672590 h 5151119"/>
              <a:gd name="connsiteX255" fmla="*/ 119063 w 5125402"/>
              <a:gd name="connsiteY255" fmla="*/ 1806893 h 5151119"/>
              <a:gd name="connsiteX256" fmla="*/ 287655 w 5125402"/>
              <a:gd name="connsiteY256" fmla="*/ 1980248 h 5151119"/>
              <a:gd name="connsiteX257" fmla="*/ 393383 w 5125402"/>
              <a:gd name="connsiteY257" fmla="*/ 2073593 h 5151119"/>
              <a:gd name="connsiteX258" fmla="*/ 514350 w 5125402"/>
              <a:gd name="connsiteY258" fmla="*/ 2167890 h 5151119"/>
              <a:gd name="connsiteX259" fmla="*/ 784860 w 5125402"/>
              <a:gd name="connsiteY259" fmla="*/ 2303145 h 5151119"/>
              <a:gd name="connsiteX260" fmla="*/ 786765 w 5125402"/>
              <a:gd name="connsiteY260" fmla="*/ 2304098 h 5151119"/>
              <a:gd name="connsiteX261" fmla="*/ 812483 w 5125402"/>
              <a:gd name="connsiteY261" fmla="*/ 2314575 h 5151119"/>
              <a:gd name="connsiteX262" fmla="*/ 941070 w 5125402"/>
              <a:gd name="connsiteY262" fmla="*/ 2348865 h 5151119"/>
              <a:gd name="connsiteX263" fmla="*/ 1160145 w 5125402"/>
              <a:gd name="connsiteY263" fmla="*/ 2373630 h 5151119"/>
              <a:gd name="connsiteX264" fmla="*/ 1158240 w 5125402"/>
              <a:gd name="connsiteY264" fmla="*/ 2374583 h 5151119"/>
              <a:gd name="connsiteX265" fmla="*/ 1023938 w 5125402"/>
              <a:gd name="connsiteY265" fmla="*/ 2462213 h 5151119"/>
              <a:gd name="connsiteX266" fmla="*/ 889635 w 5125402"/>
              <a:gd name="connsiteY266" fmla="*/ 2533650 h 5151119"/>
              <a:gd name="connsiteX267" fmla="*/ 755333 w 5125402"/>
              <a:gd name="connsiteY267" fmla="*/ 2581275 h 5151119"/>
              <a:gd name="connsiteX268" fmla="*/ 722948 w 5125402"/>
              <a:gd name="connsiteY268" fmla="*/ 2589848 h 5151119"/>
              <a:gd name="connsiteX269" fmla="*/ 690563 w 5125402"/>
              <a:gd name="connsiteY269" fmla="*/ 2597468 h 5151119"/>
              <a:gd name="connsiteX270" fmla="*/ 659130 w 5125402"/>
              <a:gd name="connsiteY270" fmla="*/ 2603183 h 5151119"/>
              <a:gd name="connsiteX271" fmla="*/ 628650 w 5125402"/>
              <a:gd name="connsiteY271" fmla="*/ 2608898 h 5151119"/>
              <a:gd name="connsiteX272" fmla="*/ 514350 w 5125402"/>
              <a:gd name="connsiteY272" fmla="*/ 2619375 h 5151119"/>
              <a:gd name="connsiteX273" fmla="*/ 346710 w 5125402"/>
              <a:gd name="connsiteY273" fmla="*/ 2611755 h 5151119"/>
              <a:gd name="connsiteX274" fmla="*/ 320040 w 5125402"/>
              <a:gd name="connsiteY274" fmla="*/ 2607945 h 5151119"/>
              <a:gd name="connsiteX275" fmla="*/ 300990 w 5125402"/>
              <a:gd name="connsiteY275" fmla="*/ 2605088 h 5151119"/>
              <a:gd name="connsiteX276" fmla="*/ 284798 w 5125402"/>
              <a:gd name="connsiteY276" fmla="*/ 2602230 h 5151119"/>
              <a:gd name="connsiteX277" fmla="*/ 299085 w 5125402"/>
              <a:gd name="connsiteY277" fmla="*/ 2607945 h 5151119"/>
              <a:gd name="connsiteX278" fmla="*/ 317183 w 5125402"/>
              <a:gd name="connsiteY278" fmla="*/ 2615565 h 5151119"/>
              <a:gd name="connsiteX279" fmla="*/ 342900 w 5125402"/>
              <a:gd name="connsiteY279" fmla="*/ 2625090 h 5151119"/>
              <a:gd name="connsiteX280" fmla="*/ 375285 w 5125402"/>
              <a:gd name="connsiteY280" fmla="*/ 2635568 h 5151119"/>
              <a:gd name="connsiteX281" fmla="*/ 414338 w 5125402"/>
              <a:gd name="connsiteY281" fmla="*/ 2646045 h 5151119"/>
              <a:gd name="connsiteX282" fmla="*/ 460058 w 5125402"/>
              <a:gd name="connsiteY282" fmla="*/ 2655570 h 5151119"/>
              <a:gd name="connsiteX283" fmla="*/ 512445 w 5125402"/>
              <a:gd name="connsiteY283" fmla="*/ 2663190 h 5151119"/>
              <a:gd name="connsiteX284" fmla="*/ 633413 w 5125402"/>
              <a:gd name="connsiteY284" fmla="*/ 2668905 h 5151119"/>
              <a:gd name="connsiteX285" fmla="*/ 666750 w 5125402"/>
              <a:gd name="connsiteY285" fmla="*/ 2667000 h 5151119"/>
              <a:gd name="connsiteX286" fmla="*/ 701040 w 5125402"/>
              <a:gd name="connsiteY286" fmla="*/ 2664143 h 5151119"/>
              <a:gd name="connsiteX287" fmla="*/ 736283 w 5125402"/>
              <a:gd name="connsiteY287" fmla="*/ 2660333 h 5151119"/>
              <a:gd name="connsiteX288" fmla="*/ 772478 w 5125402"/>
              <a:gd name="connsiteY288" fmla="*/ 2653665 h 5151119"/>
              <a:gd name="connsiteX289" fmla="*/ 922020 w 5125402"/>
              <a:gd name="connsiteY289" fmla="*/ 2610803 h 5151119"/>
              <a:gd name="connsiteX290" fmla="*/ 1071563 w 5125402"/>
              <a:gd name="connsiteY290" fmla="*/ 2535555 h 5151119"/>
              <a:gd name="connsiteX291" fmla="*/ 1203008 w 5125402"/>
              <a:gd name="connsiteY291" fmla="*/ 2445068 h 5151119"/>
              <a:gd name="connsiteX292" fmla="*/ 1291590 w 5125402"/>
              <a:gd name="connsiteY292" fmla="*/ 2399348 h 5151119"/>
              <a:gd name="connsiteX293" fmla="*/ 1518285 w 5125402"/>
              <a:gd name="connsiteY293" fmla="*/ 2490788 h 5151119"/>
              <a:gd name="connsiteX294" fmla="*/ 1779270 w 5125402"/>
              <a:gd name="connsiteY294" fmla="*/ 2704148 h 5151119"/>
              <a:gd name="connsiteX295" fmla="*/ 1835468 w 5125402"/>
              <a:gd name="connsiteY295" fmla="*/ 2773680 h 5151119"/>
              <a:gd name="connsiteX296" fmla="*/ 1861185 w 5125402"/>
              <a:gd name="connsiteY296" fmla="*/ 2810828 h 5151119"/>
              <a:gd name="connsiteX297" fmla="*/ 1874520 w 5125402"/>
              <a:gd name="connsiteY297" fmla="*/ 2829878 h 5151119"/>
              <a:gd name="connsiteX298" fmla="*/ 1886903 w 5125402"/>
              <a:gd name="connsiteY298" fmla="*/ 2849880 h 5151119"/>
              <a:gd name="connsiteX299" fmla="*/ 1910715 w 5125402"/>
              <a:gd name="connsiteY299" fmla="*/ 2888933 h 5151119"/>
              <a:gd name="connsiteX300" fmla="*/ 1932623 w 5125402"/>
              <a:gd name="connsiteY300" fmla="*/ 2929890 h 5151119"/>
              <a:gd name="connsiteX301" fmla="*/ 1953578 w 5125402"/>
              <a:gd name="connsiteY301" fmla="*/ 2971800 h 5151119"/>
              <a:gd name="connsiteX302" fmla="*/ 1973580 w 5125402"/>
              <a:gd name="connsiteY302" fmla="*/ 3014663 h 5151119"/>
              <a:gd name="connsiteX303" fmla="*/ 1992630 w 5125402"/>
              <a:gd name="connsiteY303" fmla="*/ 3058478 h 5151119"/>
              <a:gd name="connsiteX304" fmla="*/ 2009775 w 5125402"/>
              <a:gd name="connsiteY304" fmla="*/ 3102293 h 5151119"/>
              <a:gd name="connsiteX305" fmla="*/ 2018348 w 5125402"/>
              <a:gd name="connsiteY305" fmla="*/ 3124200 h 5151119"/>
              <a:gd name="connsiteX306" fmla="*/ 2025968 w 5125402"/>
              <a:gd name="connsiteY306" fmla="*/ 3147060 h 5151119"/>
              <a:gd name="connsiteX307" fmla="*/ 2041208 w 5125402"/>
              <a:gd name="connsiteY307" fmla="*/ 3191828 h 5151119"/>
              <a:gd name="connsiteX308" fmla="*/ 2066925 w 5125402"/>
              <a:gd name="connsiteY308" fmla="*/ 3281363 h 5151119"/>
              <a:gd name="connsiteX309" fmla="*/ 2078355 w 5125402"/>
              <a:gd name="connsiteY309" fmla="*/ 3326130 h 5151119"/>
              <a:gd name="connsiteX310" fmla="*/ 2088833 w 5125402"/>
              <a:gd name="connsiteY310" fmla="*/ 3370898 h 5151119"/>
              <a:gd name="connsiteX311" fmla="*/ 2098358 w 5125402"/>
              <a:gd name="connsiteY311" fmla="*/ 3415665 h 5151119"/>
              <a:gd name="connsiteX312" fmla="*/ 2106930 w 5125402"/>
              <a:gd name="connsiteY312" fmla="*/ 3460433 h 5151119"/>
              <a:gd name="connsiteX313" fmla="*/ 2120265 w 5125402"/>
              <a:gd name="connsiteY313" fmla="*/ 3549015 h 5151119"/>
              <a:gd name="connsiteX314" fmla="*/ 2139315 w 5125402"/>
              <a:gd name="connsiteY314" fmla="*/ 3723323 h 5151119"/>
              <a:gd name="connsiteX315" fmla="*/ 2149793 w 5125402"/>
              <a:gd name="connsiteY315" fmla="*/ 3888105 h 5151119"/>
              <a:gd name="connsiteX316" fmla="*/ 2145030 w 5125402"/>
              <a:gd name="connsiteY316" fmla="*/ 4189095 h 5151119"/>
              <a:gd name="connsiteX317" fmla="*/ 2135505 w 5125402"/>
              <a:gd name="connsiteY317" fmla="*/ 4428173 h 5151119"/>
              <a:gd name="connsiteX318" fmla="*/ 2120265 w 5125402"/>
              <a:gd name="connsiteY318" fmla="*/ 4692968 h 5151119"/>
              <a:gd name="connsiteX319" fmla="*/ 2108835 w 5125402"/>
              <a:gd name="connsiteY319" fmla="*/ 4855845 h 5151119"/>
              <a:gd name="connsiteX320" fmla="*/ 2080260 w 5125402"/>
              <a:gd name="connsiteY320" fmla="*/ 4999673 h 5151119"/>
              <a:gd name="connsiteX321" fmla="*/ 2016443 w 5125402"/>
              <a:gd name="connsiteY321" fmla="*/ 5151120 h 5151119"/>
              <a:gd name="connsiteX322" fmla="*/ 2686050 w 5125402"/>
              <a:gd name="connsiteY322" fmla="*/ 5151120 h 5151119"/>
              <a:gd name="connsiteX323" fmla="*/ 2649855 w 5125402"/>
              <a:gd name="connsiteY323" fmla="*/ 5114925 h 5151119"/>
              <a:gd name="connsiteX324" fmla="*/ 2568893 w 5125402"/>
              <a:gd name="connsiteY324" fmla="*/ 5013008 h 5151119"/>
              <a:gd name="connsiteX325" fmla="*/ 2509838 w 5125402"/>
              <a:gd name="connsiteY325" fmla="*/ 4881563 h 5151119"/>
              <a:gd name="connsiteX326" fmla="*/ 2482215 w 5125402"/>
              <a:gd name="connsiteY326" fmla="*/ 4720590 h 5151119"/>
              <a:gd name="connsiteX327" fmla="*/ 2466975 w 5125402"/>
              <a:gd name="connsiteY327" fmla="*/ 4545330 h 5151119"/>
              <a:gd name="connsiteX328" fmla="*/ 2477453 w 5125402"/>
              <a:gd name="connsiteY328" fmla="*/ 4519613 h 5151119"/>
              <a:gd name="connsiteX329" fmla="*/ 2549843 w 5125402"/>
              <a:gd name="connsiteY329" fmla="*/ 4368165 h 5151119"/>
              <a:gd name="connsiteX330" fmla="*/ 2605088 w 5125402"/>
              <a:gd name="connsiteY330" fmla="*/ 4293870 h 5151119"/>
              <a:gd name="connsiteX331" fmla="*/ 2621280 w 5125402"/>
              <a:gd name="connsiteY331" fmla="*/ 4282440 h 5151119"/>
              <a:gd name="connsiteX332" fmla="*/ 2643188 w 5125402"/>
              <a:gd name="connsiteY332" fmla="*/ 4253865 h 5151119"/>
              <a:gd name="connsiteX333" fmla="*/ 2651760 w 5125402"/>
              <a:gd name="connsiteY333" fmla="*/ 4245293 h 5151119"/>
              <a:gd name="connsiteX334" fmla="*/ 2764155 w 5125402"/>
              <a:gd name="connsiteY334" fmla="*/ 4163378 h 5151119"/>
              <a:gd name="connsiteX335" fmla="*/ 2827020 w 5125402"/>
              <a:gd name="connsiteY335" fmla="*/ 4131945 h 5151119"/>
              <a:gd name="connsiteX336" fmla="*/ 2844165 w 5125402"/>
              <a:gd name="connsiteY336" fmla="*/ 4130993 h 5151119"/>
              <a:gd name="connsiteX337" fmla="*/ 2960370 w 5125402"/>
              <a:gd name="connsiteY337" fmla="*/ 4141470 h 5151119"/>
              <a:gd name="connsiteX338" fmla="*/ 3090863 w 5125402"/>
              <a:gd name="connsiteY338" fmla="*/ 4166235 h 5151119"/>
              <a:gd name="connsiteX339" fmla="*/ 3236595 w 5125402"/>
              <a:gd name="connsiteY339" fmla="*/ 4173855 h 5151119"/>
              <a:gd name="connsiteX340" fmla="*/ 3376613 w 5125402"/>
              <a:gd name="connsiteY340" fmla="*/ 4147185 h 5151119"/>
              <a:gd name="connsiteX341" fmla="*/ 3501390 w 5125402"/>
              <a:gd name="connsiteY341" fmla="*/ 4090988 h 5151119"/>
              <a:gd name="connsiteX342" fmla="*/ 3604260 w 5125402"/>
              <a:gd name="connsiteY342" fmla="*/ 4013835 h 5151119"/>
              <a:gd name="connsiteX343" fmla="*/ 3688080 w 5125402"/>
              <a:gd name="connsiteY343" fmla="*/ 3935730 h 5151119"/>
              <a:gd name="connsiteX344" fmla="*/ 3765233 w 5125402"/>
              <a:gd name="connsiteY344" fmla="*/ 3869055 h 5151119"/>
              <a:gd name="connsiteX345" fmla="*/ 3921443 w 5125402"/>
              <a:gd name="connsiteY345" fmla="*/ 3771900 h 5151119"/>
              <a:gd name="connsiteX346" fmla="*/ 4064318 w 5125402"/>
              <a:gd name="connsiteY346" fmla="*/ 3714750 h 5151119"/>
              <a:gd name="connsiteX347" fmla="*/ 4126230 w 5125402"/>
              <a:gd name="connsiteY347" fmla="*/ 3697605 h 5151119"/>
              <a:gd name="connsiteX348" fmla="*/ 4179570 w 5125402"/>
              <a:gd name="connsiteY348" fmla="*/ 3686175 h 5151119"/>
              <a:gd name="connsiteX349" fmla="*/ 4202430 w 5125402"/>
              <a:gd name="connsiteY349" fmla="*/ 3682365 h 5151119"/>
              <a:gd name="connsiteX350" fmla="*/ 4222433 w 5125402"/>
              <a:gd name="connsiteY350" fmla="*/ 3679508 h 5151119"/>
              <a:gd name="connsiteX351" fmla="*/ 4253865 w 5125402"/>
              <a:gd name="connsiteY351" fmla="*/ 3675698 h 5151119"/>
              <a:gd name="connsiteX352" fmla="*/ 4280535 w 5125402"/>
              <a:gd name="connsiteY352" fmla="*/ 3672840 h 5151119"/>
              <a:gd name="connsiteX353" fmla="*/ 4253865 w 5125402"/>
              <a:gd name="connsiteY353" fmla="*/ 3669983 h 5151119"/>
              <a:gd name="connsiteX354" fmla="*/ 4221480 w 5125402"/>
              <a:gd name="connsiteY354" fmla="*/ 3667125 h 5151119"/>
              <a:gd name="connsiteX355" fmla="*/ 4200525 w 5125402"/>
              <a:gd name="connsiteY355" fmla="*/ 3666173 h 5151119"/>
              <a:gd name="connsiteX356" fmla="*/ 4176713 w 5125402"/>
              <a:gd name="connsiteY356" fmla="*/ 3666173 h 5151119"/>
              <a:gd name="connsiteX357" fmla="*/ 4121468 w 5125402"/>
              <a:gd name="connsiteY357" fmla="*/ 3668078 h 5151119"/>
              <a:gd name="connsiteX358" fmla="*/ 4055745 w 5125402"/>
              <a:gd name="connsiteY358" fmla="*/ 3674745 h 5151119"/>
              <a:gd name="connsiteX359" fmla="*/ 3896678 w 5125402"/>
              <a:gd name="connsiteY359" fmla="*/ 3711893 h 5151119"/>
              <a:gd name="connsiteX360" fmla="*/ 3715703 w 5125402"/>
              <a:gd name="connsiteY360" fmla="*/ 3796665 h 5151119"/>
              <a:gd name="connsiteX361" fmla="*/ 3669030 w 5125402"/>
              <a:gd name="connsiteY361" fmla="*/ 3827145 h 5151119"/>
              <a:gd name="connsiteX362" fmla="*/ 3623310 w 5125402"/>
              <a:gd name="connsiteY362" fmla="*/ 3860483 h 5151119"/>
              <a:gd name="connsiteX363" fmla="*/ 3534728 w 5125402"/>
              <a:gd name="connsiteY363" fmla="*/ 3930015 h 5151119"/>
              <a:gd name="connsiteX364" fmla="*/ 3443288 w 5125402"/>
              <a:gd name="connsiteY364" fmla="*/ 3989070 h 5151119"/>
              <a:gd name="connsiteX365" fmla="*/ 3340418 w 5125402"/>
              <a:gd name="connsiteY365" fmla="*/ 4029075 h 5151119"/>
              <a:gd name="connsiteX366" fmla="*/ 3228023 w 5125402"/>
              <a:gd name="connsiteY366" fmla="*/ 4047173 h 5151119"/>
              <a:gd name="connsiteX367" fmla="*/ 3109913 w 5125402"/>
              <a:gd name="connsiteY367" fmla="*/ 4039553 h 5151119"/>
              <a:gd name="connsiteX368" fmla="*/ 2979420 w 5125402"/>
              <a:gd name="connsiteY368" fmla="*/ 4016693 h 5151119"/>
              <a:gd name="connsiteX369" fmla="*/ 2909888 w 5125402"/>
              <a:gd name="connsiteY369" fmla="*/ 4009073 h 5151119"/>
              <a:gd name="connsiteX370" fmla="*/ 2839403 w 5125402"/>
              <a:gd name="connsiteY370" fmla="*/ 4009073 h 5151119"/>
              <a:gd name="connsiteX371" fmla="*/ 2707005 w 5125402"/>
              <a:gd name="connsiteY371" fmla="*/ 4028123 h 5151119"/>
              <a:gd name="connsiteX372" fmla="*/ 2587943 w 5125402"/>
              <a:gd name="connsiteY372" fmla="*/ 4062413 h 5151119"/>
              <a:gd name="connsiteX373" fmla="*/ 2532698 w 5125402"/>
              <a:gd name="connsiteY373" fmla="*/ 4081463 h 5151119"/>
              <a:gd name="connsiteX374" fmla="*/ 2478405 w 5125402"/>
              <a:gd name="connsiteY374" fmla="*/ 4101465 h 5151119"/>
              <a:gd name="connsiteX375" fmla="*/ 2453640 w 5125402"/>
              <a:gd name="connsiteY375" fmla="*/ 4111943 h 5151119"/>
              <a:gd name="connsiteX376" fmla="*/ 2446973 w 5125402"/>
              <a:gd name="connsiteY376" fmla="*/ 3919538 h 5151119"/>
              <a:gd name="connsiteX377" fmla="*/ 2442210 w 5125402"/>
              <a:gd name="connsiteY377" fmla="*/ 3760470 h 5151119"/>
              <a:gd name="connsiteX378" fmla="*/ 2453640 w 5125402"/>
              <a:gd name="connsiteY378" fmla="*/ 3600450 h 5151119"/>
              <a:gd name="connsiteX379" fmla="*/ 2471738 w 5125402"/>
              <a:gd name="connsiteY379" fmla="*/ 3523298 h 5151119"/>
              <a:gd name="connsiteX380" fmla="*/ 2500313 w 5125402"/>
              <a:gd name="connsiteY380" fmla="*/ 3449955 h 5151119"/>
              <a:gd name="connsiteX381" fmla="*/ 2542223 w 5125402"/>
              <a:gd name="connsiteY381" fmla="*/ 3381375 h 5151119"/>
              <a:gd name="connsiteX382" fmla="*/ 2596515 w 5125402"/>
              <a:gd name="connsiteY382" fmla="*/ 3318510 h 5151119"/>
              <a:gd name="connsiteX383" fmla="*/ 2660333 w 5125402"/>
              <a:gd name="connsiteY383" fmla="*/ 3261360 h 5151119"/>
              <a:gd name="connsiteX384" fmla="*/ 2732723 w 5125402"/>
              <a:gd name="connsiteY384" fmla="*/ 3210878 h 5151119"/>
              <a:gd name="connsiteX385" fmla="*/ 2899410 w 5125402"/>
              <a:gd name="connsiteY385" fmla="*/ 3128963 h 5151119"/>
              <a:gd name="connsiteX386" fmla="*/ 3247073 w 5125402"/>
              <a:gd name="connsiteY386" fmla="*/ 3020378 h 5151119"/>
              <a:gd name="connsiteX387" fmla="*/ 3267075 w 5125402"/>
              <a:gd name="connsiteY387" fmla="*/ 3017520 h 5151119"/>
              <a:gd name="connsiteX388" fmla="*/ 3470910 w 5125402"/>
              <a:gd name="connsiteY388" fmla="*/ 3002280 h 5151119"/>
              <a:gd name="connsiteX389" fmla="*/ 3692843 w 5125402"/>
              <a:gd name="connsiteY389" fmla="*/ 3018473 h 5151119"/>
              <a:gd name="connsiteX390" fmla="*/ 3932873 w 5125402"/>
              <a:gd name="connsiteY390" fmla="*/ 3069908 h 5151119"/>
              <a:gd name="connsiteX391" fmla="*/ 4185285 w 5125402"/>
              <a:gd name="connsiteY391" fmla="*/ 3099435 h 5151119"/>
              <a:gd name="connsiteX392" fmla="*/ 4420553 w 5125402"/>
              <a:gd name="connsiteY392" fmla="*/ 3089910 h 5151119"/>
              <a:gd name="connsiteX393" fmla="*/ 4805363 w 5125402"/>
              <a:gd name="connsiteY393" fmla="*/ 2995613 h 5151119"/>
              <a:gd name="connsiteX394" fmla="*/ 4944428 w 5125402"/>
              <a:gd name="connsiteY394" fmla="*/ 2934653 h 5151119"/>
              <a:gd name="connsiteX395" fmla="*/ 4999673 w 5125402"/>
              <a:gd name="connsiteY395" fmla="*/ 2906078 h 5151119"/>
              <a:gd name="connsiteX396" fmla="*/ 5044440 w 5125402"/>
              <a:gd name="connsiteY396" fmla="*/ 2879408 h 5151119"/>
              <a:gd name="connsiteX397" fmla="*/ 5063490 w 5125402"/>
              <a:gd name="connsiteY397" fmla="*/ 2867978 h 5151119"/>
              <a:gd name="connsiteX398" fmla="*/ 5079683 w 5125402"/>
              <a:gd name="connsiteY398" fmla="*/ 2857500 h 5151119"/>
              <a:gd name="connsiteX399" fmla="*/ 5105400 w 5125402"/>
              <a:gd name="connsiteY399" fmla="*/ 2840355 h 5151119"/>
              <a:gd name="connsiteX400" fmla="*/ 5125403 w 5125402"/>
              <a:gd name="connsiteY400" fmla="*/ 2827020 h 5151119"/>
              <a:gd name="connsiteX401" fmla="*/ 5099685 w 5125402"/>
              <a:gd name="connsiteY401" fmla="*/ 2830830 h 5151119"/>
              <a:gd name="connsiteX402" fmla="*/ 2508885 w 5125402"/>
              <a:gd name="connsiteY402" fmla="*/ 4188143 h 5151119"/>
              <a:gd name="connsiteX403" fmla="*/ 2532698 w 5125402"/>
              <a:gd name="connsiteY403" fmla="*/ 4181475 h 5151119"/>
              <a:gd name="connsiteX404" fmla="*/ 2514600 w 5125402"/>
              <a:gd name="connsiteY404" fmla="*/ 4204335 h 5151119"/>
              <a:gd name="connsiteX405" fmla="*/ 2452688 w 5125402"/>
              <a:gd name="connsiteY405" fmla="*/ 4273868 h 5151119"/>
              <a:gd name="connsiteX406" fmla="*/ 2453640 w 5125402"/>
              <a:gd name="connsiteY406" fmla="*/ 4212908 h 5151119"/>
              <a:gd name="connsiteX407" fmla="*/ 2468880 w 5125402"/>
              <a:gd name="connsiteY407" fmla="*/ 4203383 h 5151119"/>
              <a:gd name="connsiteX408" fmla="*/ 2508885 w 5125402"/>
              <a:gd name="connsiteY408" fmla="*/ 4188143 h 5151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Lst>
            <a:rect l="l" t="t" r="r" b="b"/>
            <a:pathLst>
              <a:path w="5125402" h="5151119">
                <a:moveTo>
                  <a:pt x="5099685" y="2830830"/>
                </a:moveTo>
                <a:cubicBezTo>
                  <a:pt x="5092065" y="2834640"/>
                  <a:pt x="5083493" y="2838450"/>
                  <a:pt x="5072063" y="2844165"/>
                </a:cubicBezTo>
                <a:cubicBezTo>
                  <a:pt x="5066348" y="2847023"/>
                  <a:pt x="5060633" y="2849880"/>
                  <a:pt x="5054918" y="2852738"/>
                </a:cubicBezTo>
                <a:cubicBezTo>
                  <a:pt x="5048250" y="2855595"/>
                  <a:pt x="5041583" y="2858453"/>
                  <a:pt x="5034915" y="2861310"/>
                </a:cubicBezTo>
                <a:cubicBezTo>
                  <a:pt x="5020628" y="2867025"/>
                  <a:pt x="5004435" y="2873693"/>
                  <a:pt x="4987290" y="2881313"/>
                </a:cubicBezTo>
                <a:cubicBezTo>
                  <a:pt x="4970145" y="2887980"/>
                  <a:pt x="4951095" y="2895600"/>
                  <a:pt x="4930140" y="2903220"/>
                </a:cubicBezTo>
                <a:cubicBezTo>
                  <a:pt x="4889183" y="2918460"/>
                  <a:pt x="4841558" y="2933700"/>
                  <a:pt x="4789170" y="2948940"/>
                </a:cubicBezTo>
                <a:cubicBezTo>
                  <a:pt x="4683443" y="2978468"/>
                  <a:pt x="4554855" y="3002280"/>
                  <a:pt x="4411028" y="3011805"/>
                </a:cubicBezTo>
                <a:cubicBezTo>
                  <a:pt x="4339590" y="3015615"/>
                  <a:pt x="4263390" y="3015615"/>
                  <a:pt x="4186238" y="3011805"/>
                </a:cubicBezTo>
                <a:cubicBezTo>
                  <a:pt x="4108133" y="3007043"/>
                  <a:pt x="4028123" y="2995613"/>
                  <a:pt x="3947160" y="2980373"/>
                </a:cubicBezTo>
                <a:cubicBezTo>
                  <a:pt x="3866198" y="2964180"/>
                  <a:pt x="3784283" y="2943225"/>
                  <a:pt x="3702368" y="2931795"/>
                </a:cubicBezTo>
                <a:cubicBezTo>
                  <a:pt x="3650933" y="2925128"/>
                  <a:pt x="3600450" y="2921318"/>
                  <a:pt x="3550920" y="2921318"/>
                </a:cubicBezTo>
                <a:cubicBezTo>
                  <a:pt x="3574733" y="2912745"/>
                  <a:pt x="3599498" y="2904173"/>
                  <a:pt x="3623310" y="2896553"/>
                </a:cubicBezTo>
                <a:cubicBezTo>
                  <a:pt x="3679508" y="2876550"/>
                  <a:pt x="3734753" y="2854643"/>
                  <a:pt x="3787140" y="2831783"/>
                </a:cubicBezTo>
                <a:cubicBezTo>
                  <a:pt x="3813810" y="2820353"/>
                  <a:pt x="3839528" y="2808923"/>
                  <a:pt x="3864293" y="2796540"/>
                </a:cubicBezTo>
                <a:cubicBezTo>
                  <a:pt x="3889058" y="2784158"/>
                  <a:pt x="3913823" y="2772728"/>
                  <a:pt x="3937635" y="2759393"/>
                </a:cubicBezTo>
                <a:cubicBezTo>
                  <a:pt x="3985260" y="2734628"/>
                  <a:pt x="4030028" y="2707958"/>
                  <a:pt x="4072890" y="2681288"/>
                </a:cubicBezTo>
                <a:cubicBezTo>
                  <a:pt x="4115753" y="2654618"/>
                  <a:pt x="4154805" y="2625090"/>
                  <a:pt x="4191000" y="2596515"/>
                </a:cubicBezTo>
                <a:cubicBezTo>
                  <a:pt x="4227195" y="2567940"/>
                  <a:pt x="4259580" y="2537460"/>
                  <a:pt x="4288155" y="2507933"/>
                </a:cubicBezTo>
                <a:cubicBezTo>
                  <a:pt x="4316730" y="2477453"/>
                  <a:pt x="4342448" y="2447925"/>
                  <a:pt x="4364355" y="2417445"/>
                </a:cubicBezTo>
                <a:cubicBezTo>
                  <a:pt x="4408170" y="2358390"/>
                  <a:pt x="4436745" y="2301240"/>
                  <a:pt x="4453890" y="2253615"/>
                </a:cubicBezTo>
                <a:cubicBezTo>
                  <a:pt x="4455795" y="2247900"/>
                  <a:pt x="4458653" y="2242185"/>
                  <a:pt x="4460558" y="2236470"/>
                </a:cubicBezTo>
                <a:cubicBezTo>
                  <a:pt x="4462463" y="2230755"/>
                  <a:pt x="4463415" y="2225040"/>
                  <a:pt x="4465320" y="2219325"/>
                </a:cubicBezTo>
                <a:cubicBezTo>
                  <a:pt x="4468178" y="2208848"/>
                  <a:pt x="4471035" y="2198370"/>
                  <a:pt x="4473893" y="2188845"/>
                </a:cubicBezTo>
                <a:cubicBezTo>
                  <a:pt x="4477703" y="2169795"/>
                  <a:pt x="4480560" y="2153603"/>
                  <a:pt x="4482465" y="2140268"/>
                </a:cubicBezTo>
                <a:cubicBezTo>
                  <a:pt x="4485323" y="2113598"/>
                  <a:pt x="4486275" y="2100263"/>
                  <a:pt x="4486275" y="2100263"/>
                </a:cubicBezTo>
                <a:cubicBezTo>
                  <a:pt x="4486275" y="2100263"/>
                  <a:pt x="4482465" y="2113598"/>
                  <a:pt x="4475798" y="2138363"/>
                </a:cubicBezTo>
                <a:cubicBezTo>
                  <a:pt x="4471988" y="2150745"/>
                  <a:pt x="4465320" y="2165985"/>
                  <a:pt x="4459605" y="2184083"/>
                </a:cubicBezTo>
                <a:cubicBezTo>
                  <a:pt x="4455795" y="2192655"/>
                  <a:pt x="4451033" y="2202180"/>
                  <a:pt x="4446270" y="2211705"/>
                </a:cubicBezTo>
                <a:cubicBezTo>
                  <a:pt x="4443413" y="2216468"/>
                  <a:pt x="4441508" y="2222183"/>
                  <a:pt x="4438650" y="2226945"/>
                </a:cubicBezTo>
                <a:cubicBezTo>
                  <a:pt x="4435793" y="2231708"/>
                  <a:pt x="4432935" y="2237423"/>
                  <a:pt x="4430078" y="2242185"/>
                </a:cubicBezTo>
                <a:cubicBezTo>
                  <a:pt x="4406265" y="2285048"/>
                  <a:pt x="4371023" y="2333625"/>
                  <a:pt x="4323398" y="2382203"/>
                </a:cubicBezTo>
                <a:cubicBezTo>
                  <a:pt x="4299585" y="2406968"/>
                  <a:pt x="4271963" y="2430780"/>
                  <a:pt x="4242435" y="2455545"/>
                </a:cubicBezTo>
                <a:cubicBezTo>
                  <a:pt x="4211955" y="2479358"/>
                  <a:pt x="4178618" y="2503170"/>
                  <a:pt x="4142423" y="2526030"/>
                </a:cubicBezTo>
                <a:cubicBezTo>
                  <a:pt x="4106228" y="2548890"/>
                  <a:pt x="4066223" y="2570798"/>
                  <a:pt x="4024313" y="2591753"/>
                </a:cubicBezTo>
                <a:cubicBezTo>
                  <a:pt x="3981450" y="2612708"/>
                  <a:pt x="3936683" y="2633663"/>
                  <a:pt x="3890010" y="2651760"/>
                </a:cubicBezTo>
                <a:cubicBezTo>
                  <a:pt x="3866198" y="2661285"/>
                  <a:pt x="3842385" y="2670810"/>
                  <a:pt x="3817620" y="2680335"/>
                </a:cubicBezTo>
                <a:cubicBezTo>
                  <a:pt x="3792855" y="2688908"/>
                  <a:pt x="3767138" y="2698433"/>
                  <a:pt x="3741420" y="2707005"/>
                </a:cubicBezTo>
                <a:cubicBezTo>
                  <a:pt x="3689985" y="2724150"/>
                  <a:pt x="3635693" y="2741295"/>
                  <a:pt x="3580448" y="2757488"/>
                </a:cubicBezTo>
                <a:cubicBezTo>
                  <a:pt x="3469005" y="2789873"/>
                  <a:pt x="3350895" y="2818448"/>
                  <a:pt x="3226118" y="2848928"/>
                </a:cubicBezTo>
                <a:cubicBezTo>
                  <a:pt x="3203258" y="2854643"/>
                  <a:pt x="3179445" y="2860358"/>
                  <a:pt x="3156585" y="2866073"/>
                </a:cubicBezTo>
                <a:cubicBezTo>
                  <a:pt x="3160395" y="2853690"/>
                  <a:pt x="3164205" y="2840355"/>
                  <a:pt x="3165158" y="2826068"/>
                </a:cubicBezTo>
                <a:cubicBezTo>
                  <a:pt x="3167063" y="2803208"/>
                  <a:pt x="3165158" y="2781300"/>
                  <a:pt x="3159443" y="2761298"/>
                </a:cubicBezTo>
                <a:cubicBezTo>
                  <a:pt x="3154680" y="2742248"/>
                  <a:pt x="3147060" y="2725103"/>
                  <a:pt x="3138488" y="2711768"/>
                </a:cubicBezTo>
                <a:cubicBezTo>
                  <a:pt x="3138488" y="2711768"/>
                  <a:pt x="3138488" y="2711768"/>
                  <a:pt x="3138488" y="2710815"/>
                </a:cubicBezTo>
                <a:cubicBezTo>
                  <a:pt x="3137535" y="2669858"/>
                  <a:pt x="3136583" y="2626043"/>
                  <a:pt x="3135630" y="2579370"/>
                </a:cubicBezTo>
                <a:cubicBezTo>
                  <a:pt x="3134678" y="2502218"/>
                  <a:pt x="3135630" y="2417445"/>
                  <a:pt x="3137535" y="2327910"/>
                </a:cubicBezTo>
                <a:cubicBezTo>
                  <a:pt x="3139440" y="2239328"/>
                  <a:pt x="3143250" y="2154555"/>
                  <a:pt x="3149918" y="2078355"/>
                </a:cubicBezTo>
                <a:cubicBezTo>
                  <a:pt x="3156585" y="2002155"/>
                  <a:pt x="3167063" y="1933575"/>
                  <a:pt x="3179445" y="1876425"/>
                </a:cubicBezTo>
                <a:cubicBezTo>
                  <a:pt x="3191828" y="1819275"/>
                  <a:pt x="3205163" y="1773555"/>
                  <a:pt x="3216593" y="1743075"/>
                </a:cubicBezTo>
                <a:cubicBezTo>
                  <a:pt x="3221355" y="1726883"/>
                  <a:pt x="3226118" y="1715453"/>
                  <a:pt x="3228975" y="1706880"/>
                </a:cubicBezTo>
                <a:cubicBezTo>
                  <a:pt x="3231833" y="1699260"/>
                  <a:pt x="3232785" y="1695450"/>
                  <a:pt x="3233738" y="1694498"/>
                </a:cubicBezTo>
                <a:cubicBezTo>
                  <a:pt x="3232785" y="1695450"/>
                  <a:pt x="3230880" y="1699260"/>
                  <a:pt x="3226118" y="1704975"/>
                </a:cubicBezTo>
                <a:cubicBezTo>
                  <a:pt x="3221355" y="1712595"/>
                  <a:pt x="3212783" y="1723073"/>
                  <a:pt x="3204210" y="1737360"/>
                </a:cubicBezTo>
                <a:cubicBezTo>
                  <a:pt x="3186113" y="1764983"/>
                  <a:pt x="3161348" y="1807845"/>
                  <a:pt x="3138488" y="1864043"/>
                </a:cubicBezTo>
                <a:cubicBezTo>
                  <a:pt x="3115628" y="1920240"/>
                  <a:pt x="3093720" y="1989773"/>
                  <a:pt x="3078480" y="2067878"/>
                </a:cubicBezTo>
                <a:cubicBezTo>
                  <a:pt x="3063240" y="2146935"/>
                  <a:pt x="3053715" y="2234565"/>
                  <a:pt x="3051810" y="2325053"/>
                </a:cubicBezTo>
                <a:cubicBezTo>
                  <a:pt x="3049905" y="2411730"/>
                  <a:pt x="3053715" y="2494598"/>
                  <a:pt x="3062288" y="2570798"/>
                </a:cubicBezTo>
                <a:cubicBezTo>
                  <a:pt x="3055620" y="2557463"/>
                  <a:pt x="3048000" y="2545080"/>
                  <a:pt x="3041333" y="2533650"/>
                </a:cubicBezTo>
                <a:cubicBezTo>
                  <a:pt x="2990850" y="2453640"/>
                  <a:pt x="2931795" y="2393633"/>
                  <a:pt x="2876550" y="2350770"/>
                </a:cubicBezTo>
                <a:cubicBezTo>
                  <a:pt x="2821305" y="2307908"/>
                  <a:pt x="2771775" y="2282190"/>
                  <a:pt x="2736533" y="2265998"/>
                </a:cubicBezTo>
                <a:cubicBezTo>
                  <a:pt x="2718435" y="2258378"/>
                  <a:pt x="2705100" y="2252663"/>
                  <a:pt x="2695575" y="2249805"/>
                </a:cubicBezTo>
                <a:cubicBezTo>
                  <a:pt x="2687003" y="2246948"/>
                  <a:pt x="2682240" y="2245043"/>
                  <a:pt x="2681288" y="2245043"/>
                </a:cubicBezTo>
                <a:cubicBezTo>
                  <a:pt x="2682240" y="2245995"/>
                  <a:pt x="2686050" y="2248853"/>
                  <a:pt x="2693670" y="2253615"/>
                </a:cubicBezTo>
                <a:cubicBezTo>
                  <a:pt x="2702243" y="2259330"/>
                  <a:pt x="2714625" y="2267903"/>
                  <a:pt x="2729865" y="2278380"/>
                </a:cubicBezTo>
                <a:cubicBezTo>
                  <a:pt x="2760345" y="2300288"/>
                  <a:pt x="2803208" y="2334578"/>
                  <a:pt x="2847975" y="2383155"/>
                </a:cubicBezTo>
                <a:cubicBezTo>
                  <a:pt x="2892743" y="2430780"/>
                  <a:pt x="2940368" y="2493645"/>
                  <a:pt x="2978468" y="2569845"/>
                </a:cubicBezTo>
                <a:cubicBezTo>
                  <a:pt x="2997518" y="2607945"/>
                  <a:pt x="3013710" y="2648903"/>
                  <a:pt x="3023235" y="2691765"/>
                </a:cubicBezTo>
                <a:cubicBezTo>
                  <a:pt x="3032760" y="2734628"/>
                  <a:pt x="3035618" y="2779395"/>
                  <a:pt x="3027045" y="2823210"/>
                </a:cubicBezTo>
                <a:cubicBezTo>
                  <a:pt x="3021330" y="2853690"/>
                  <a:pt x="3010853" y="2883218"/>
                  <a:pt x="2996565" y="2907983"/>
                </a:cubicBezTo>
                <a:cubicBezTo>
                  <a:pt x="2944178" y="2923223"/>
                  <a:pt x="2889885" y="2941320"/>
                  <a:pt x="2836545" y="2962275"/>
                </a:cubicBezTo>
                <a:cubicBezTo>
                  <a:pt x="2769870" y="2988945"/>
                  <a:pt x="2704148" y="3020378"/>
                  <a:pt x="2643188" y="3060383"/>
                </a:cubicBezTo>
                <a:cubicBezTo>
                  <a:pt x="2612708" y="3079433"/>
                  <a:pt x="2583180" y="3101340"/>
                  <a:pt x="2555558" y="3124200"/>
                </a:cubicBezTo>
                <a:cubicBezTo>
                  <a:pt x="2527935" y="3147060"/>
                  <a:pt x="2501265" y="3171825"/>
                  <a:pt x="2477453" y="3198495"/>
                </a:cubicBezTo>
                <a:cubicBezTo>
                  <a:pt x="2453640" y="3225165"/>
                  <a:pt x="2430780" y="3252788"/>
                  <a:pt x="2410778" y="3283268"/>
                </a:cubicBezTo>
                <a:cubicBezTo>
                  <a:pt x="2391728" y="3311843"/>
                  <a:pt x="2374583" y="3342323"/>
                  <a:pt x="2361248" y="3373755"/>
                </a:cubicBezTo>
                <a:cubicBezTo>
                  <a:pt x="2358390" y="3357563"/>
                  <a:pt x="2354580" y="3341370"/>
                  <a:pt x="2350770" y="3325178"/>
                </a:cubicBezTo>
                <a:cubicBezTo>
                  <a:pt x="2346008" y="3305175"/>
                  <a:pt x="2340293" y="3286125"/>
                  <a:pt x="2334578" y="3266123"/>
                </a:cubicBezTo>
                <a:cubicBezTo>
                  <a:pt x="2331720" y="3256598"/>
                  <a:pt x="2327910" y="3247073"/>
                  <a:pt x="2325053" y="3236595"/>
                </a:cubicBezTo>
                <a:cubicBezTo>
                  <a:pt x="2321243" y="3227070"/>
                  <a:pt x="2318385" y="3216593"/>
                  <a:pt x="2314575" y="3207068"/>
                </a:cubicBezTo>
                <a:cubicBezTo>
                  <a:pt x="2299335" y="3168015"/>
                  <a:pt x="2282190" y="3130868"/>
                  <a:pt x="2264093" y="3093720"/>
                </a:cubicBezTo>
                <a:cubicBezTo>
                  <a:pt x="2226945" y="3020378"/>
                  <a:pt x="2184083" y="2950845"/>
                  <a:pt x="2145030" y="2881313"/>
                </a:cubicBezTo>
                <a:cubicBezTo>
                  <a:pt x="2125028" y="2846070"/>
                  <a:pt x="2105978" y="2811780"/>
                  <a:pt x="2088833" y="2776538"/>
                </a:cubicBezTo>
                <a:cubicBezTo>
                  <a:pt x="2079308" y="2759393"/>
                  <a:pt x="2072640" y="2741295"/>
                  <a:pt x="2064068" y="2724150"/>
                </a:cubicBezTo>
                <a:cubicBezTo>
                  <a:pt x="2057400" y="2706053"/>
                  <a:pt x="2048828" y="2688908"/>
                  <a:pt x="2043113" y="2670810"/>
                </a:cubicBezTo>
                <a:cubicBezTo>
                  <a:pt x="2017395" y="2600325"/>
                  <a:pt x="2003108" y="2524125"/>
                  <a:pt x="2001203" y="2446973"/>
                </a:cubicBezTo>
                <a:cubicBezTo>
                  <a:pt x="1999298" y="2369820"/>
                  <a:pt x="2009775" y="2292668"/>
                  <a:pt x="2030730" y="2221230"/>
                </a:cubicBezTo>
                <a:cubicBezTo>
                  <a:pt x="2052638" y="2149793"/>
                  <a:pt x="2085023" y="2080260"/>
                  <a:pt x="2125028" y="2015490"/>
                </a:cubicBezTo>
                <a:cubicBezTo>
                  <a:pt x="2205038" y="1884998"/>
                  <a:pt x="2308860" y="1769745"/>
                  <a:pt x="2405063" y="1653540"/>
                </a:cubicBezTo>
                <a:cubicBezTo>
                  <a:pt x="2453640" y="1595438"/>
                  <a:pt x="2500313" y="1536383"/>
                  <a:pt x="2543175" y="1476375"/>
                </a:cubicBezTo>
                <a:cubicBezTo>
                  <a:pt x="2563178" y="1447800"/>
                  <a:pt x="2582228" y="1420178"/>
                  <a:pt x="2599373" y="1390650"/>
                </a:cubicBezTo>
                <a:cubicBezTo>
                  <a:pt x="2632710" y="1359218"/>
                  <a:pt x="2667953" y="1326833"/>
                  <a:pt x="2704148" y="1293495"/>
                </a:cubicBezTo>
                <a:cubicBezTo>
                  <a:pt x="2776538" y="1228725"/>
                  <a:pt x="2852738" y="1163003"/>
                  <a:pt x="2938463" y="1108710"/>
                </a:cubicBezTo>
                <a:cubicBezTo>
                  <a:pt x="3024188" y="1054418"/>
                  <a:pt x="3120390" y="1007745"/>
                  <a:pt x="3224213" y="968693"/>
                </a:cubicBezTo>
                <a:cubicBezTo>
                  <a:pt x="3327083" y="928688"/>
                  <a:pt x="3432810" y="897255"/>
                  <a:pt x="3534728" y="865823"/>
                </a:cubicBezTo>
                <a:cubicBezTo>
                  <a:pt x="3636645" y="834390"/>
                  <a:pt x="3737610" y="803910"/>
                  <a:pt x="3830955" y="769620"/>
                </a:cubicBezTo>
                <a:cubicBezTo>
                  <a:pt x="4021455" y="701993"/>
                  <a:pt x="4183380" y="610553"/>
                  <a:pt x="4301490" y="512445"/>
                </a:cubicBezTo>
                <a:cubicBezTo>
                  <a:pt x="4360545" y="463868"/>
                  <a:pt x="4408170" y="412433"/>
                  <a:pt x="4446270" y="364808"/>
                </a:cubicBezTo>
                <a:cubicBezTo>
                  <a:pt x="4455795" y="352425"/>
                  <a:pt x="4464368" y="340995"/>
                  <a:pt x="4472940" y="329565"/>
                </a:cubicBezTo>
                <a:cubicBezTo>
                  <a:pt x="4480560" y="317183"/>
                  <a:pt x="4488180" y="305753"/>
                  <a:pt x="4494848" y="295275"/>
                </a:cubicBezTo>
                <a:cubicBezTo>
                  <a:pt x="4498658" y="289560"/>
                  <a:pt x="4501515" y="284797"/>
                  <a:pt x="4504373" y="279083"/>
                </a:cubicBezTo>
                <a:cubicBezTo>
                  <a:pt x="4507230" y="273368"/>
                  <a:pt x="4510088" y="268605"/>
                  <a:pt x="4512945" y="262890"/>
                </a:cubicBezTo>
                <a:cubicBezTo>
                  <a:pt x="4518660" y="252413"/>
                  <a:pt x="4523423" y="242888"/>
                  <a:pt x="4528185" y="233363"/>
                </a:cubicBezTo>
                <a:cubicBezTo>
                  <a:pt x="4546283" y="194310"/>
                  <a:pt x="4557713" y="163830"/>
                  <a:pt x="4563428" y="142875"/>
                </a:cubicBezTo>
                <a:cubicBezTo>
                  <a:pt x="4569143" y="124778"/>
                  <a:pt x="4572000" y="113348"/>
                  <a:pt x="4572953" y="111443"/>
                </a:cubicBezTo>
                <a:cubicBezTo>
                  <a:pt x="4572000" y="113348"/>
                  <a:pt x="4566285" y="123825"/>
                  <a:pt x="4558665" y="140970"/>
                </a:cubicBezTo>
                <a:cubicBezTo>
                  <a:pt x="4550093" y="160973"/>
                  <a:pt x="4532948" y="188595"/>
                  <a:pt x="4511040" y="223838"/>
                </a:cubicBezTo>
                <a:cubicBezTo>
                  <a:pt x="4465320" y="292418"/>
                  <a:pt x="4384358" y="381953"/>
                  <a:pt x="4263390" y="461963"/>
                </a:cubicBezTo>
                <a:cubicBezTo>
                  <a:pt x="4142423" y="541973"/>
                  <a:pt x="3982403" y="613410"/>
                  <a:pt x="3797618" y="666750"/>
                </a:cubicBezTo>
                <a:cubicBezTo>
                  <a:pt x="3704273" y="694373"/>
                  <a:pt x="3605213" y="719138"/>
                  <a:pt x="3500438" y="747713"/>
                </a:cubicBezTo>
                <a:cubicBezTo>
                  <a:pt x="3396615" y="776288"/>
                  <a:pt x="3288030" y="806768"/>
                  <a:pt x="3178493" y="848677"/>
                </a:cubicBezTo>
                <a:cubicBezTo>
                  <a:pt x="3068955" y="889635"/>
                  <a:pt x="2964180" y="942023"/>
                  <a:pt x="2870835" y="1005840"/>
                </a:cubicBezTo>
                <a:cubicBezTo>
                  <a:pt x="2822258" y="1039177"/>
                  <a:pt x="2778443" y="1074420"/>
                  <a:pt x="2737485" y="1111568"/>
                </a:cubicBezTo>
                <a:cubicBezTo>
                  <a:pt x="2760345" y="1051560"/>
                  <a:pt x="2778443" y="992505"/>
                  <a:pt x="2792730" y="936308"/>
                </a:cubicBezTo>
                <a:cubicBezTo>
                  <a:pt x="2809875" y="868680"/>
                  <a:pt x="2821305" y="803910"/>
                  <a:pt x="2828925" y="742950"/>
                </a:cubicBezTo>
                <a:cubicBezTo>
                  <a:pt x="2829878" y="735330"/>
                  <a:pt x="2831783" y="727710"/>
                  <a:pt x="2832735" y="719138"/>
                </a:cubicBezTo>
                <a:cubicBezTo>
                  <a:pt x="2834640" y="704850"/>
                  <a:pt x="2837498" y="690563"/>
                  <a:pt x="2838450" y="677228"/>
                </a:cubicBezTo>
                <a:cubicBezTo>
                  <a:pt x="2839403" y="662940"/>
                  <a:pt x="2841308" y="649605"/>
                  <a:pt x="2842260" y="635318"/>
                </a:cubicBezTo>
                <a:cubicBezTo>
                  <a:pt x="2847975" y="580073"/>
                  <a:pt x="2847975" y="527685"/>
                  <a:pt x="2850833" y="478155"/>
                </a:cubicBezTo>
                <a:cubicBezTo>
                  <a:pt x="2852738" y="428625"/>
                  <a:pt x="2855595" y="381953"/>
                  <a:pt x="2862263" y="339090"/>
                </a:cubicBezTo>
                <a:cubicBezTo>
                  <a:pt x="2868930" y="296228"/>
                  <a:pt x="2878455" y="256222"/>
                  <a:pt x="2888933" y="220028"/>
                </a:cubicBezTo>
                <a:cubicBezTo>
                  <a:pt x="2909888" y="148590"/>
                  <a:pt x="2937510" y="93345"/>
                  <a:pt x="2957513" y="56198"/>
                </a:cubicBezTo>
                <a:cubicBezTo>
                  <a:pt x="2967990" y="38100"/>
                  <a:pt x="2976563" y="23813"/>
                  <a:pt x="2982278" y="14288"/>
                </a:cubicBezTo>
                <a:cubicBezTo>
                  <a:pt x="2987040" y="5715"/>
                  <a:pt x="2990850" y="953"/>
                  <a:pt x="2990850" y="0"/>
                </a:cubicBezTo>
                <a:cubicBezTo>
                  <a:pt x="2989898" y="953"/>
                  <a:pt x="2987040" y="4763"/>
                  <a:pt x="2980373" y="13335"/>
                </a:cubicBezTo>
                <a:cubicBezTo>
                  <a:pt x="2973705" y="21907"/>
                  <a:pt x="2963228" y="35243"/>
                  <a:pt x="2951798" y="52388"/>
                </a:cubicBezTo>
                <a:cubicBezTo>
                  <a:pt x="2927985" y="87630"/>
                  <a:pt x="2895600" y="140970"/>
                  <a:pt x="2868930" y="212408"/>
                </a:cubicBezTo>
                <a:cubicBezTo>
                  <a:pt x="2858453" y="240030"/>
                  <a:pt x="2848928" y="270510"/>
                  <a:pt x="2840355" y="302895"/>
                </a:cubicBezTo>
                <a:cubicBezTo>
                  <a:pt x="2832735" y="327660"/>
                  <a:pt x="2825115" y="356235"/>
                  <a:pt x="2819400" y="390525"/>
                </a:cubicBezTo>
                <a:cubicBezTo>
                  <a:pt x="2813685" y="421958"/>
                  <a:pt x="2807970" y="457200"/>
                  <a:pt x="2803208" y="495300"/>
                </a:cubicBezTo>
                <a:cubicBezTo>
                  <a:pt x="2798445" y="533400"/>
                  <a:pt x="2792730" y="575310"/>
                  <a:pt x="2786063" y="619125"/>
                </a:cubicBezTo>
                <a:cubicBezTo>
                  <a:pt x="2771775" y="706755"/>
                  <a:pt x="2748915" y="804863"/>
                  <a:pt x="2711768" y="909638"/>
                </a:cubicBezTo>
                <a:cubicBezTo>
                  <a:pt x="2674620" y="1013460"/>
                  <a:pt x="2624138" y="1123950"/>
                  <a:pt x="2555558" y="1232535"/>
                </a:cubicBezTo>
                <a:cubicBezTo>
                  <a:pt x="2521268" y="1286828"/>
                  <a:pt x="2483168" y="1341120"/>
                  <a:pt x="2439353" y="1394460"/>
                </a:cubicBezTo>
                <a:cubicBezTo>
                  <a:pt x="2396490" y="1447800"/>
                  <a:pt x="2348865" y="1501140"/>
                  <a:pt x="2297430" y="1555433"/>
                </a:cubicBezTo>
                <a:cubicBezTo>
                  <a:pt x="2283143" y="1571625"/>
                  <a:pt x="2267903" y="1586865"/>
                  <a:pt x="2252663" y="1603058"/>
                </a:cubicBezTo>
                <a:cubicBezTo>
                  <a:pt x="2252663" y="1598295"/>
                  <a:pt x="2252663" y="1593533"/>
                  <a:pt x="2252663" y="1587818"/>
                </a:cubicBezTo>
                <a:cubicBezTo>
                  <a:pt x="2252663" y="1584960"/>
                  <a:pt x="2252663" y="1582103"/>
                  <a:pt x="2252663" y="1579245"/>
                </a:cubicBezTo>
                <a:cubicBezTo>
                  <a:pt x="2252663" y="1578293"/>
                  <a:pt x="2252663" y="1577340"/>
                  <a:pt x="2252663" y="1576388"/>
                </a:cubicBezTo>
                <a:cubicBezTo>
                  <a:pt x="2268855" y="1462088"/>
                  <a:pt x="2254568" y="1341120"/>
                  <a:pt x="2208848" y="1228725"/>
                </a:cubicBezTo>
                <a:cubicBezTo>
                  <a:pt x="2203133" y="1188720"/>
                  <a:pt x="2199323" y="1147763"/>
                  <a:pt x="2198370" y="1105853"/>
                </a:cubicBezTo>
                <a:cubicBezTo>
                  <a:pt x="2196465" y="1045845"/>
                  <a:pt x="2199323" y="982027"/>
                  <a:pt x="2200275" y="914400"/>
                </a:cubicBezTo>
                <a:cubicBezTo>
                  <a:pt x="2201228" y="847725"/>
                  <a:pt x="2201228" y="781050"/>
                  <a:pt x="2193608" y="715328"/>
                </a:cubicBezTo>
                <a:cubicBezTo>
                  <a:pt x="2185988" y="650558"/>
                  <a:pt x="2169795" y="586740"/>
                  <a:pt x="2146935" y="531495"/>
                </a:cubicBezTo>
                <a:cubicBezTo>
                  <a:pt x="2124075" y="475297"/>
                  <a:pt x="2095500" y="425768"/>
                  <a:pt x="2065020" y="381953"/>
                </a:cubicBezTo>
                <a:cubicBezTo>
                  <a:pt x="2061210" y="376238"/>
                  <a:pt x="2057400" y="371475"/>
                  <a:pt x="2053590" y="365760"/>
                </a:cubicBezTo>
                <a:cubicBezTo>
                  <a:pt x="2049780" y="360997"/>
                  <a:pt x="2045018" y="355283"/>
                  <a:pt x="2041208" y="350520"/>
                </a:cubicBezTo>
                <a:cubicBezTo>
                  <a:pt x="2032635" y="340995"/>
                  <a:pt x="2025968" y="330518"/>
                  <a:pt x="2017395" y="321945"/>
                </a:cubicBezTo>
                <a:cubicBezTo>
                  <a:pt x="2008823" y="312420"/>
                  <a:pt x="2001203" y="303847"/>
                  <a:pt x="1993583" y="295275"/>
                </a:cubicBezTo>
                <a:cubicBezTo>
                  <a:pt x="1985010" y="286703"/>
                  <a:pt x="1976438" y="279083"/>
                  <a:pt x="1968818" y="271463"/>
                </a:cubicBezTo>
                <a:cubicBezTo>
                  <a:pt x="1961198" y="263843"/>
                  <a:pt x="1952625" y="256222"/>
                  <a:pt x="1944053" y="249555"/>
                </a:cubicBezTo>
                <a:cubicBezTo>
                  <a:pt x="1935480" y="242888"/>
                  <a:pt x="1927860" y="235268"/>
                  <a:pt x="1920240" y="229553"/>
                </a:cubicBezTo>
                <a:cubicBezTo>
                  <a:pt x="1904048" y="217170"/>
                  <a:pt x="1889760" y="205740"/>
                  <a:pt x="1874520" y="196215"/>
                </a:cubicBezTo>
                <a:cubicBezTo>
                  <a:pt x="1866900" y="191453"/>
                  <a:pt x="1860233" y="186690"/>
                  <a:pt x="1852613" y="181928"/>
                </a:cubicBezTo>
                <a:cubicBezTo>
                  <a:pt x="1845945" y="177165"/>
                  <a:pt x="1838325" y="174308"/>
                  <a:pt x="1831658" y="170498"/>
                </a:cubicBezTo>
                <a:cubicBezTo>
                  <a:pt x="1818323" y="162878"/>
                  <a:pt x="1806893" y="156210"/>
                  <a:pt x="1795463" y="151448"/>
                </a:cubicBezTo>
                <a:cubicBezTo>
                  <a:pt x="1784033" y="145733"/>
                  <a:pt x="1774508" y="140970"/>
                  <a:pt x="1765935" y="137160"/>
                </a:cubicBezTo>
                <a:cubicBezTo>
                  <a:pt x="1757363" y="133350"/>
                  <a:pt x="1749743" y="130493"/>
                  <a:pt x="1744028" y="128588"/>
                </a:cubicBezTo>
                <a:cubicBezTo>
                  <a:pt x="1731645" y="123825"/>
                  <a:pt x="1725930" y="121920"/>
                  <a:pt x="1725930" y="121920"/>
                </a:cubicBezTo>
                <a:cubicBezTo>
                  <a:pt x="1725930" y="121920"/>
                  <a:pt x="1731645" y="125730"/>
                  <a:pt x="1743075" y="132398"/>
                </a:cubicBezTo>
                <a:cubicBezTo>
                  <a:pt x="1748790" y="135255"/>
                  <a:pt x="1755458" y="140018"/>
                  <a:pt x="1763078" y="144780"/>
                </a:cubicBezTo>
                <a:cubicBezTo>
                  <a:pt x="1770698" y="149543"/>
                  <a:pt x="1779270" y="156210"/>
                  <a:pt x="1789748" y="162878"/>
                </a:cubicBezTo>
                <a:cubicBezTo>
                  <a:pt x="1828800" y="191453"/>
                  <a:pt x="1884045" y="235268"/>
                  <a:pt x="1937385" y="300990"/>
                </a:cubicBezTo>
                <a:cubicBezTo>
                  <a:pt x="1991678" y="365760"/>
                  <a:pt x="2045018" y="452438"/>
                  <a:pt x="2079308" y="557213"/>
                </a:cubicBezTo>
                <a:cubicBezTo>
                  <a:pt x="2096453" y="609600"/>
                  <a:pt x="2107883" y="664845"/>
                  <a:pt x="2111693" y="724853"/>
                </a:cubicBezTo>
                <a:cubicBezTo>
                  <a:pt x="2116455" y="784860"/>
                  <a:pt x="2115503" y="847725"/>
                  <a:pt x="2114550" y="913448"/>
                </a:cubicBezTo>
                <a:cubicBezTo>
                  <a:pt x="2113598" y="964883"/>
                  <a:pt x="2112645" y="1016318"/>
                  <a:pt x="2114550" y="1066800"/>
                </a:cubicBezTo>
                <a:lnTo>
                  <a:pt x="2097405" y="1044893"/>
                </a:lnTo>
                <a:lnTo>
                  <a:pt x="2078355" y="1024890"/>
                </a:lnTo>
                <a:lnTo>
                  <a:pt x="2068830" y="1015365"/>
                </a:lnTo>
                <a:cubicBezTo>
                  <a:pt x="2065020" y="1011555"/>
                  <a:pt x="2063115" y="1008698"/>
                  <a:pt x="2058353" y="1004888"/>
                </a:cubicBezTo>
                <a:cubicBezTo>
                  <a:pt x="2047875" y="996315"/>
                  <a:pt x="2041208" y="992505"/>
                  <a:pt x="2033588" y="985838"/>
                </a:cubicBezTo>
                <a:cubicBezTo>
                  <a:pt x="2003108" y="965835"/>
                  <a:pt x="1974533" y="949643"/>
                  <a:pt x="1945005" y="932498"/>
                </a:cubicBezTo>
                <a:cubicBezTo>
                  <a:pt x="1915478" y="915352"/>
                  <a:pt x="1886903" y="899160"/>
                  <a:pt x="1858328" y="883920"/>
                </a:cubicBezTo>
                <a:cubicBezTo>
                  <a:pt x="1743075" y="820103"/>
                  <a:pt x="1630680" y="762000"/>
                  <a:pt x="1524000" y="705803"/>
                </a:cubicBezTo>
                <a:cubicBezTo>
                  <a:pt x="1309688" y="595313"/>
                  <a:pt x="1116330" y="498158"/>
                  <a:pt x="953453" y="416243"/>
                </a:cubicBezTo>
                <a:cubicBezTo>
                  <a:pt x="912495" y="396240"/>
                  <a:pt x="874395" y="376238"/>
                  <a:pt x="838200" y="357188"/>
                </a:cubicBezTo>
                <a:cubicBezTo>
                  <a:pt x="802958" y="338138"/>
                  <a:pt x="770573" y="318135"/>
                  <a:pt x="741045" y="297180"/>
                </a:cubicBezTo>
                <a:cubicBezTo>
                  <a:pt x="677228" y="262890"/>
                  <a:pt x="632460" y="220980"/>
                  <a:pt x="599123" y="182880"/>
                </a:cubicBezTo>
                <a:cubicBezTo>
                  <a:pt x="565785" y="144780"/>
                  <a:pt x="544830" y="111443"/>
                  <a:pt x="531495" y="88582"/>
                </a:cubicBezTo>
                <a:cubicBezTo>
                  <a:pt x="524828" y="77153"/>
                  <a:pt x="520065" y="67628"/>
                  <a:pt x="517208" y="61913"/>
                </a:cubicBezTo>
                <a:cubicBezTo>
                  <a:pt x="515303" y="57150"/>
                  <a:pt x="513398" y="54293"/>
                  <a:pt x="512445" y="53340"/>
                </a:cubicBezTo>
                <a:cubicBezTo>
                  <a:pt x="512445" y="54293"/>
                  <a:pt x="514350" y="58103"/>
                  <a:pt x="516255" y="62865"/>
                </a:cubicBezTo>
                <a:cubicBezTo>
                  <a:pt x="519113" y="69532"/>
                  <a:pt x="521970" y="79057"/>
                  <a:pt x="528638" y="91440"/>
                </a:cubicBezTo>
                <a:cubicBezTo>
                  <a:pt x="540068" y="116205"/>
                  <a:pt x="558165" y="151448"/>
                  <a:pt x="589598" y="192405"/>
                </a:cubicBezTo>
                <a:cubicBezTo>
                  <a:pt x="620078" y="233363"/>
                  <a:pt x="663893" y="280035"/>
                  <a:pt x="721043" y="326708"/>
                </a:cubicBezTo>
                <a:cubicBezTo>
                  <a:pt x="749618" y="349568"/>
                  <a:pt x="782003" y="372428"/>
                  <a:pt x="817245" y="394335"/>
                </a:cubicBezTo>
                <a:cubicBezTo>
                  <a:pt x="852488" y="416243"/>
                  <a:pt x="889635" y="438150"/>
                  <a:pt x="929640" y="461010"/>
                </a:cubicBezTo>
                <a:cubicBezTo>
                  <a:pt x="1087755" y="552450"/>
                  <a:pt x="1276350" y="659130"/>
                  <a:pt x="1485900" y="776288"/>
                </a:cubicBezTo>
                <a:cubicBezTo>
                  <a:pt x="1590675" y="835343"/>
                  <a:pt x="1701165" y="897255"/>
                  <a:pt x="1813560" y="962025"/>
                </a:cubicBezTo>
                <a:cubicBezTo>
                  <a:pt x="1842135" y="978218"/>
                  <a:pt x="1870710" y="994410"/>
                  <a:pt x="1898333" y="1011555"/>
                </a:cubicBezTo>
                <a:cubicBezTo>
                  <a:pt x="1926908" y="1028700"/>
                  <a:pt x="1955483" y="1045845"/>
                  <a:pt x="1981200" y="1062990"/>
                </a:cubicBezTo>
                <a:cubicBezTo>
                  <a:pt x="1986915" y="1066800"/>
                  <a:pt x="1994535" y="1072515"/>
                  <a:pt x="1996440" y="1074420"/>
                </a:cubicBezTo>
                <a:cubicBezTo>
                  <a:pt x="1998345" y="1075373"/>
                  <a:pt x="2001203" y="1079183"/>
                  <a:pt x="2004060" y="1082040"/>
                </a:cubicBezTo>
                <a:lnTo>
                  <a:pt x="2011680" y="1090613"/>
                </a:lnTo>
                <a:lnTo>
                  <a:pt x="2027873" y="1107758"/>
                </a:lnTo>
                <a:lnTo>
                  <a:pt x="2042160" y="1126808"/>
                </a:lnTo>
                <a:cubicBezTo>
                  <a:pt x="2046923" y="1133475"/>
                  <a:pt x="2052638" y="1139190"/>
                  <a:pt x="2056448" y="1145858"/>
                </a:cubicBezTo>
                <a:lnTo>
                  <a:pt x="2069783" y="1165860"/>
                </a:lnTo>
                <a:cubicBezTo>
                  <a:pt x="2079308" y="1179195"/>
                  <a:pt x="2086928" y="1193483"/>
                  <a:pt x="2094548" y="1206818"/>
                </a:cubicBezTo>
                <a:cubicBezTo>
                  <a:pt x="2157413" y="1320165"/>
                  <a:pt x="2180273" y="1451610"/>
                  <a:pt x="2165033" y="1572578"/>
                </a:cubicBezTo>
                <a:cubicBezTo>
                  <a:pt x="2157413" y="1633538"/>
                  <a:pt x="2140268" y="1691640"/>
                  <a:pt x="2116455" y="1744980"/>
                </a:cubicBezTo>
                <a:cubicBezTo>
                  <a:pt x="2113598" y="1750695"/>
                  <a:pt x="2110740" y="1757363"/>
                  <a:pt x="2107883" y="1763078"/>
                </a:cubicBezTo>
                <a:cubicBezTo>
                  <a:pt x="2064068" y="1814513"/>
                  <a:pt x="2020253" y="1869758"/>
                  <a:pt x="1980248" y="1930718"/>
                </a:cubicBezTo>
                <a:cubicBezTo>
                  <a:pt x="1932623" y="2003108"/>
                  <a:pt x="1890713" y="2085023"/>
                  <a:pt x="1862138" y="2174558"/>
                </a:cubicBezTo>
                <a:cubicBezTo>
                  <a:pt x="1833563" y="2264093"/>
                  <a:pt x="1821180" y="2358390"/>
                  <a:pt x="1823085" y="2454593"/>
                </a:cubicBezTo>
                <a:cubicBezTo>
                  <a:pt x="1824038" y="2477453"/>
                  <a:pt x="1824990" y="2500313"/>
                  <a:pt x="1827848" y="2523173"/>
                </a:cubicBezTo>
                <a:cubicBezTo>
                  <a:pt x="1750695" y="2454593"/>
                  <a:pt x="1665923" y="2399348"/>
                  <a:pt x="1579245" y="2358390"/>
                </a:cubicBezTo>
                <a:cubicBezTo>
                  <a:pt x="1542098" y="2341245"/>
                  <a:pt x="1503998" y="2326005"/>
                  <a:pt x="1465898" y="2313623"/>
                </a:cubicBezTo>
                <a:cubicBezTo>
                  <a:pt x="1463993" y="2312670"/>
                  <a:pt x="1463040" y="2310765"/>
                  <a:pt x="1461135" y="2309813"/>
                </a:cubicBezTo>
                <a:cubicBezTo>
                  <a:pt x="1398270" y="2256473"/>
                  <a:pt x="1322070" y="2195513"/>
                  <a:pt x="1247775" y="2120265"/>
                </a:cubicBezTo>
                <a:cubicBezTo>
                  <a:pt x="1210628" y="2083118"/>
                  <a:pt x="1173480" y="2042160"/>
                  <a:pt x="1142048" y="1996440"/>
                </a:cubicBezTo>
                <a:cubicBezTo>
                  <a:pt x="1109663" y="1950720"/>
                  <a:pt x="1083945" y="1900238"/>
                  <a:pt x="1069658" y="1845945"/>
                </a:cubicBezTo>
                <a:cubicBezTo>
                  <a:pt x="1067753" y="1839278"/>
                  <a:pt x="1065848" y="1832610"/>
                  <a:pt x="1063943" y="1825943"/>
                </a:cubicBezTo>
                <a:cubicBezTo>
                  <a:pt x="1062990" y="1819275"/>
                  <a:pt x="1061085" y="1812608"/>
                  <a:pt x="1060133" y="1804988"/>
                </a:cubicBezTo>
                <a:cubicBezTo>
                  <a:pt x="1057275" y="1791653"/>
                  <a:pt x="1056323" y="1777365"/>
                  <a:pt x="1055370" y="1764030"/>
                </a:cubicBezTo>
                <a:cubicBezTo>
                  <a:pt x="1053465" y="1735455"/>
                  <a:pt x="1053465" y="1706880"/>
                  <a:pt x="1054418" y="1678305"/>
                </a:cubicBezTo>
                <a:cubicBezTo>
                  <a:pt x="1055370" y="1620203"/>
                  <a:pt x="1057275" y="1559243"/>
                  <a:pt x="1044893" y="1501140"/>
                </a:cubicBezTo>
                <a:cubicBezTo>
                  <a:pt x="1033463" y="1443038"/>
                  <a:pt x="1010603" y="1391603"/>
                  <a:pt x="983933" y="1348740"/>
                </a:cubicBezTo>
                <a:cubicBezTo>
                  <a:pt x="957263" y="1304925"/>
                  <a:pt x="925830" y="1269683"/>
                  <a:pt x="894398" y="1240155"/>
                </a:cubicBezTo>
                <a:cubicBezTo>
                  <a:pt x="862965" y="1211580"/>
                  <a:pt x="831533" y="1188720"/>
                  <a:pt x="802958" y="1171575"/>
                </a:cubicBezTo>
                <a:cubicBezTo>
                  <a:pt x="788670" y="1163003"/>
                  <a:pt x="774383" y="1156335"/>
                  <a:pt x="762000" y="1149668"/>
                </a:cubicBezTo>
                <a:cubicBezTo>
                  <a:pt x="748665" y="1143953"/>
                  <a:pt x="737235" y="1138238"/>
                  <a:pt x="726758" y="1133475"/>
                </a:cubicBezTo>
                <a:cubicBezTo>
                  <a:pt x="715328" y="1129665"/>
                  <a:pt x="705803" y="1125855"/>
                  <a:pt x="697230" y="1122998"/>
                </a:cubicBezTo>
                <a:cubicBezTo>
                  <a:pt x="688658" y="1120140"/>
                  <a:pt x="681038" y="1118235"/>
                  <a:pt x="675323" y="1116330"/>
                </a:cubicBezTo>
                <a:cubicBezTo>
                  <a:pt x="664845" y="1113473"/>
                  <a:pt x="659130" y="1111568"/>
                  <a:pt x="658178" y="1111568"/>
                </a:cubicBezTo>
                <a:cubicBezTo>
                  <a:pt x="659130" y="1112520"/>
                  <a:pt x="664845" y="1115378"/>
                  <a:pt x="674370" y="1120140"/>
                </a:cubicBezTo>
                <a:cubicBezTo>
                  <a:pt x="680085" y="1122998"/>
                  <a:pt x="686753" y="1125855"/>
                  <a:pt x="694373" y="1130618"/>
                </a:cubicBezTo>
                <a:cubicBezTo>
                  <a:pt x="701993" y="1135380"/>
                  <a:pt x="710565" y="1140143"/>
                  <a:pt x="721043" y="1145858"/>
                </a:cubicBezTo>
                <a:cubicBezTo>
                  <a:pt x="760095" y="1169670"/>
                  <a:pt x="813435" y="1208723"/>
                  <a:pt x="863918" y="1269683"/>
                </a:cubicBezTo>
                <a:cubicBezTo>
                  <a:pt x="889635" y="1300163"/>
                  <a:pt x="913448" y="1335405"/>
                  <a:pt x="933450" y="1376363"/>
                </a:cubicBezTo>
                <a:cubicBezTo>
                  <a:pt x="953453" y="1417320"/>
                  <a:pt x="968693" y="1463040"/>
                  <a:pt x="974408" y="1512570"/>
                </a:cubicBezTo>
                <a:cubicBezTo>
                  <a:pt x="981075" y="1561148"/>
                  <a:pt x="976313" y="1615440"/>
                  <a:pt x="973455" y="1674495"/>
                </a:cubicBezTo>
                <a:cubicBezTo>
                  <a:pt x="971550" y="1704023"/>
                  <a:pt x="970598" y="1735455"/>
                  <a:pt x="971550" y="1768793"/>
                </a:cubicBezTo>
                <a:cubicBezTo>
                  <a:pt x="972503" y="1784985"/>
                  <a:pt x="973455" y="1802130"/>
                  <a:pt x="977265" y="1819275"/>
                </a:cubicBezTo>
                <a:cubicBezTo>
                  <a:pt x="978218" y="1827848"/>
                  <a:pt x="980123" y="1836420"/>
                  <a:pt x="982028" y="1844993"/>
                </a:cubicBezTo>
                <a:cubicBezTo>
                  <a:pt x="983933" y="1853565"/>
                  <a:pt x="986790" y="1862138"/>
                  <a:pt x="988695" y="1869758"/>
                </a:cubicBezTo>
                <a:cubicBezTo>
                  <a:pt x="1006793" y="1936433"/>
                  <a:pt x="1040130" y="1995488"/>
                  <a:pt x="1078230" y="2045018"/>
                </a:cubicBezTo>
                <a:cubicBezTo>
                  <a:pt x="1116330" y="2094548"/>
                  <a:pt x="1159193" y="2136458"/>
                  <a:pt x="1201103" y="2173605"/>
                </a:cubicBezTo>
                <a:cubicBezTo>
                  <a:pt x="1249680" y="2214563"/>
                  <a:pt x="1297305" y="2249805"/>
                  <a:pt x="1342073" y="2280285"/>
                </a:cubicBezTo>
                <a:cubicBezTo>
                  <a:pt x="1307783" y="2273618"/>
                  <a:pt x="1274445" y="2268855"/>
                  <a:pt x="1242060" y="2265998"/>
                </a:cubicBezTo>
                <a:cubicBezTo>
                  <a:pt x="1186815" y="2260283"/>
                  <a:pt x="1134428" y="2261235"/>
                  <a:pt x="1085850" y="2262188"/>
                </a:cubicBezTo>
                <a:cubicBezTo>
                  <a:pt x="1037273" y="2263140"/>
                  <a:pt x="992505" y="2264093"/>
                  <a:pt x="950595" y="2262188"/>
                </a:cubicBezTo>
                <a:cubicBezTo>
                  <a:pt x="922020" y="2261235"/>
                  <a:pt x="894398" y="2257425"/>
                  <a:pt x="868680" y="2253615"/>
                </a:cubicBezTo>
                <a:cubicBezTo>
                  <a:pt x="848678" y="2247900"/>
                  <a:pt x="827723" y="2241233"/>
                  <a:pt x="806768" y="2233613"/>
                </a:cubicBezTo>
                <a:cubicBezTo>
                  <a:pt x="726758" y="2203133"/>
                  <a:pt x="645795" y="2155508"/>
                  <a:pt x="563880" y="2097405"/>
                </a:cubicBezTo>
                <a:cubicBezTo>
                  <a:pt x="481965" y="2039303"/>
                  <a:pt x="404813" y="1977390"/>
                  <a:pt x="333375" y="1924050"/>
                </a:cubicBezTo>
                <a:cubicBezTo>
                  <a:pt x="261938" y="1870710"/>
                  <a:pt x="200025" y="1821180"/>
                  <a:pt x="149543" y="1776413"/>
                </a:cubicBezTo>
                <a:cubicBezTo>
                  <a:pt x="99060" y="1732598"/>
                  <a:pt x="61913" y="1692593"/>
                  <a:pt x="37147" y="1664018"/>
                </a:cubicBezTo>
                <a:cubicBezTo>
                  <a:pt x="31432" y="1656398"/>
                  <a:pt x="25718" y="1650683"/>
                  <a:pt x="20955" y="1644968"/>
                </a:cubicBezTo>
                <a:cubicBezTo>
                  <a:pt x="16193" y="1639253"/>
                  <a:pt x="12382" y="1634490"/>
                  <a:pt x="9525" y="1630680"/>
                </a:cubicBezTo>
                <a:cubicBezTo>
                  <a:pt x="3810" y="1624013"/>
                  <a:pt x="953" y="1619250"/>
                  <a:pt x="0" y="1619250"/>
                </a:cubicBezTo>
                <a:cubicBezTo>
                  <a:pt x="0" y="1620203"/>
                  <a:pt x="2857" y="1624965"/>
                  <a:pt x="6668" y="1632585"/>
                </a:cubicBezTo>
                <a:cubicBezTo>
                  <a:pt x="8572" y="1637348"/>
                  <a:pt x="11430" y="1643063"/>
                  <a:pt x="14288" y="1649730"/>
                </a:cubicBezTo>
                <a:cubicBezTo>
                  <a:pt x="18097" y="1656398"/>
                  <a:pt x="21907" y="1664018"/>
                  <a:pt x="26670" y="1672590"/>
                </a:cubicBezTo>
                <a:cubicBezTo>
                  <a:pt x="44768" y="1705928"/>
                  <a:pt x="74295" y="1753553"/>
                  <a:pt x="119063" y="1806893"/>
                </a:cubicBezTo>
                <a:cubicBezTo>
                  <a:pt x="162877" y="1860233"/>
                  <a:pt x="220027" y="1919288"/>
                  <a:pt x="287655" y="1980248"/>
                </a:cubicBezTo>
                <a:cubicBezTo>
                  <a:pt x="320993" y="2010728"/>
                  <a:pt x="356235" y="2042160"/>
                  <a:pt x="393383" y="2073593"/>
                </a:cubicBezTo>
                <a:cubicBezTo>
                  <a:pt x="431483" y="2105025"/>
                  <a:pt x="471488" y="2137410"/>
                  <a:pt x="514350" y="2167890"/>
                </a:cubicBezTo>
                <a:cubicBezTo>
                  <a:pt x="601028" y="2229803"/>
                  <a:pt x="693420" y="2278380"/>
                  <a:pt x="784860" y="2303145"/>
                </a:cubicBezTo>
                <a:cubicBezTo>
                  <a:pt x="785813" y="2303145"/>
                  <a:pt x="786765" y="2303145"/>
                  <a:pt x="786765" y="2304098"/>
                </a:cubicBezTo>
                <a:cubicBezTo>
                  <a:pt x="795338" y="2307908"/>
                  <a:pt x="803910" y="2310765"/>
                  <a:pt x="812483" y="2314575"/>
                </a:cubicBezTo>
                <a:cubicBezTo>
                  <a:pt x="851535" y="2329815"/>
                  <a:pt x="895350" y="2341245"/>
                  <a:pt x="941070" y="2348865"/>
                </a:cubicBezTo>
                <a:cubicBezTo>
                  <a:pt x="1011555" y="2361248"/>
                  <a:pt x="1086803" y="2364105"/>
                  <a:pt x="1160145" y="2373630"/>
                </a:cubicBezTo>
                <a:cubicBezTo>
                  <a:pt x="1159193" y="2373630"/>
                  <a:pt x="1159193" y="2374583"/>
                  <a:pt x="1158240" y="2374583"/>
                </a:cubicBezTo>
                <a:cubicBezTo>
                  <a:pt x="1111568" y="2402205"/>
                  <a:pt x="1067753" y="2434590"/>
                  <a:pt x="1023938" y="2462213"/>
                </a:cubicBezTo>
                <a:cubicBezTo>
                  <a:pt x="980123" y="2490788"/>
                  <a:pt x="934403" y="2513648"/>
                  <a:pt x="889635" y="2533650"/>
                </a:cubicBezTo>
                <a:cubicBezTo>
                  <a:pt x="844868" y="2553653"/>
                  <a:pt x="799148" y="2568893"/>
                  <a:pt x="755333" y="2581275"/>
                </a:cubicBezTo>
                <a:cubicBezTo>
                  <a:pt x="743903" y="2584133"/>
                  <a:pt x="733425" y="2586990"/>
                  <a:pt x="722948" y="2589848"/>
                </a:cubicBezTo>
                <a:cubicBezTo>
                  <a:pt x="712470" y="2592705"/>
                  <a:pt x="701040" y="2594610"/>
                  <a:pt x="690563" y="2597468"/>
                </a:cubicBezTo>
                <a:cubicBezTo>
                  <a:pt x="680085" y="2600325"/>
                  <a:pt x="669608" y="2602230"/>
                  <a:pt x="659130" y="2603183"/>
                </a:cubicBezTo>
                <a:cubicBezTo>
                  <a:pt x="648653" y="2605088"/>
                  <a:pt x="638175" y="2606993"/>
                  <a:pt x="628650" y="2608898"/>
                </a:cubicBezTo>
                <a:cubicBezTo>
                  <a:pt x="587693" y="2614613"/>
                  <a:pt x="549593" y="2618423"/>
                  <a:pt x="514350" y="2619375"/>
                </a:cubicBezTo>
                <a:cubicBezTo>
                  <a:pt x="443865" y="2622233"/>
                  <a:pt x="385763" y="2617470"/>
                  <a:pt x="346710" y="2611755"/>
                </a:cubicBezTo>
                <a:cubicBezTo>
                  <a:pt x="336233" y="2610803"/>
                  <a:pt x="327660" y="2608898"/>
                  <a:pt x="320040" y="2607945"/>
                </a:cubicBezTo>
                <a:cubicBezTo>
                  <a:pt x="312420" y="2606993"/>
                  <a:pt x="305753" y="2606040"/>
                  <a:pt x="300990" y="2605088"/>
                </a:cubicBezTo>
                <a:cubicBezTo>
                  <a:pt x="291465" y="2604135"/>
                  <a:pt x="286703" y="2603183"/>
                  <a:pt x="284798" y="2602230"/>
                </a:cubicBezTo>
                <a:cubicBezTo>
                  <a:pt x="285750" y="2603183"/>
                  <a:pt x="290513" y="2605088"/>
                  <a:pt x="299085" y="2607945"/>
                </a:cubicBezTo>
                <a:cubicBezTo>
                  <a:pt x="303848" y="2609850"/>
                  <a:pt x="310515" y="2612708"/>
                  <a:pt x="317183" y="2615565"/>
                </a:cubicBezTo>
                <a:cubicBezTo>
                  <a:pt x="324803" y="2618423"/>
                  <a:pt x="332423" y="2622233"/>
                  <a:pt x="342900" y="2625090"/>
                </a:cubicBezTo>
                <a:cubicBezTo>
                  <a:pt x="352425" y="2627948"/>
                  <a:pt x="363855" y="2631758"/>
                  <a:pt x="375285" y="2635568"/>
                </a:cubicBezTo>
                <a:cubicBezTo>
                  <a:pt x="387668" y="2639378"/>
                  <a:pt x="400050" y="2642235"/>
                  <a:pt x="414338" y="2646045"/>
                </a:cubicBezTo>
                <a:cubicBezTo>
                  <a:pt x="428625" y="2649855"/>
                  <a:pt x="443865" y="2652713"/>
                  <a:pt x="460058" y="2655570"/>
                </a:cubicBezTo>
                <a:cubicBezTo>
                  <a:pt x="476250" y="2658428"/>
                  <a:pt x="493395" y="2661285"/>
                  <a:pt x="512445" y="2663190"/>
                </a:cubicBezTo>
                <a:cubicBezTo>
                  <a:pt x="549593" y="2667953"/>
                  <a:pt x="589598" y="2668905"/>
                  <a:pt x="633413" y="2668905"/>
                </a:cubicBezTo>
                <a:cubicBezTo>
                  <a:pt x="644843" y="2667953"/>
                  <a:pt x="655320" y="2667953"/>
                  <a:pt x="666750" y="2667000"/>
                </a:cubicBezTo>
                <a:cubicBezTo>
                  <a:pt x="678180" y="2666048"/>
                  <a:pt x="689610" y="2666048"/>
                  <a:pt x="701040" y="2664143"/>
                </a:cubicBezTo>
                <a:cubicBezTo>
                  <a:pt x="712470" y="2663190"/>
                  <a:pt x="724853" y="2661285"/>
                  <a:pt x="736283" y="2660333"/>
                </a:cubicBezTo>
                <a:cubicBezTo>
                  <a:pt x="747713" y="2658428"/>
                  <a:pt x="760095" y="2656523"/>
                  <a:pt x="772478" y="2653665"/>
                </a:cubicBezTo>
                <a:cubicBezTo>
                  <a:pt x="821055" y="2644140"/>
                  <a:pt x="871538" y="2630805"/>
                  <a:pt x="922020" y="2610803"/>
                </a:cubicBezTo>
                <a:cubicBezTo>
                  <a:pt x="972503" y="2590800"/>
                  <a:pt x="1022985" y="2566988"/>
                  <a:pt x="1071563" y="2535555"/>
                </a:cubicBezTo>
                <a:cubicBezTo>
                  <a:pt x="1120140" y="2505075"/>
                  <a:pt x="1162050" y="2471738"/>
                  <a:pt x="1203008" y="2445068"/>
                </a:cubicBezTo>
                <a:cubicBezTo>
                  <a:pt x="1232535" y="2426018"/>
                  <a:pt x="1262063" y="2409825"/>
                  <a:pt x="1291590" y="2399348"/>
                </a:cubicBezTo>
                <a:cubicBezTo>
                  <a:pt x="1367790" y="2419350"/>
                  <a:pt x="1443990" y="2448878"/>
                  <a:pt x="1518285" y="2490788"/>
                </a:cubicBezTo>
                <a:cubicBezTo>
                  <a:pt x="1613535" y="2543175"/>
                  <a:pt x="1702118" y="2614613"/>
                  <a:pt x="1779270" y="2704148"/>
                </a:cubicBezTo>
                <a:cubicBezTo>
                  <a:pt x="1799273" y="2726055"/>
                  <a:pt x="1816418" y="2749868"/>
                  <a:pt x="1835468" y="2773680"/>
                </a:cubicBezTo>
                <a:cubicBezTo>
                  <a:pt x="1844993" y="2786063"/>
                  <a:pt x="1852613" y="2798445"/>
                  <a:pt x="1861185" y="2810828"/>
                </a:cubicBezTo>
                <a:lnTo>
                  <a:pt x="1874520" y="2829878"/>
                </a:lnTo>
                <a:cubicBezTo>
                  <a:pt x="1878330" y="2836545"/>
                  <a:pt x="1882140" y="2843213"/>
                  <a:pt x="1886903" y="2849880"/>
                </a:cubicBezTo>
                <a:cubicBezTo>
                  <a:pt x="1894523" y="2863215"/>
                  <a:pt x="1903095" y="2876550"/>
                  <a:pt x="1910715" y="2888933"/>
                </a:cubicBezTo>
                <a:cubicBezTo>
                  <a:pt x="1918335" y="2902268"/>
                  <a:pt x="1925955" y="2916555"/>
                  <a:pt x="1932623" y="2929890"/>
                </a:cubicBezTo>
                <a:cubicBezTo>
                  <a:pt x="1940243" y="2943225"/>
                  <a:pt x="1946910" y="2957513"/>
                  <a:pt x="1953578" y="2971800"/>
                </a:cubicBezTo>
                <a:cubicBezTo>
                  <a:pt x="1960245" y="2986088"/>
                  <a:pt x="1967865" y="3000375"/>
                  <a:pt x="1973580" y="3014663"/>
                </a:cubicBezTo>
                <a:cubicBezTo>
                  <a:pt x="1980248" y="3028950"/>
                  <a:pt x="1985963" y="3044190"/>
                  <a:pt x="1992630" y="3058478"/>
                </a:cubicBezTo>
                <a:cubicBezTo>
                  <a:pt x="1999298" y="3072765"/>
                  <a:pt x="2004060" y="3088005"/>
                  <a:pt x="2009775" y="3102293"/>
                </a:cubicBezTo>
                <a:lnTo>
                  <a:pt x="2018348" y="3124200"/>
                </a:lnTo>
                <a:lnTo>
                  <a:pt x="2025968" y="3147060"/>
                </a:lnTo>
                <a:cubicBezTo>
                  <a:pt x="2030730" y="3162300"/>
                  <a:pt x="2035493" y="3176588"/>
                  <a:pt x="2041208" y="3191828"/>
                </a:cubicBezTo>
                <a:cubicBezTo>
                  <a:pt x="2049780" y="3222308"/>
                  <a:pt x="2059305" y="3251835"/>
                  <a:pt x="2066925" y="3281363"/>
                </a:cubicBezTo>
                <a:cubicBezTo>
                  <a:pt x="2070735" y="3296603"/>
                  <a:pt x="2074545" y="3310890"/>
                  <a:pt x="2078355" y="3326130"/>
                </a:cubicBezTo>
                <a:cubicBezTo>
                  <a:pt x="2082165" y="3341370"/>
                  <a:pt x="2085023" y="3356610"/>
                  <a:pt x="2088833" y="3370898"/>
                </a:cubicBezTo>
                <a:cubicBezTo>
                  <a:pt x="2092643" y="3386138"/>
                  <a:pt x="2095500" y="3400425"/>
                  <a:pt x="2098358" y="3415665"/>
                </a:cubicBezTo>
                <a:cubicBezTo>
                  <a:pt x="2101215" y="3430905"/>
                  <a:pt x="2104073" y="3445193"/>
                  <a:pt x="2106930" y="3460433"/>
                </a:cubicBezTo>
                <a:cubicBezTo>
                  <a:pt x="2111693" y="3489960"/>
                  <a:pt x="2116455" y="3519488"/>
                  <a:pt x="2120265" y="3549015"/>
                </a:cubicBezTo>
                <a:cubicBezTo>
                  <a:pt x="2128838" y="3608070"/>
                  <a:pt x="2134553" y="3666173"/>
                  <a:pt x="2139315" y="3723323"/>
                </a:cubicBezTo>
                <a:cubicBezTo>
                  <a:pt x="2144078" y="3779520"/>
                  <a:pt x="2146935" y="3834765"/>
                  <a:pt x="2149793" y="3888105"/>
                </a:cubicBezTo>
                <a:cubicBezTo>
                  <a:pt x="2149793" y="3984308"/>
                  <a:pt x="2148840" y="4085273"/>
                  <a:pt x="2145030" y="4189095"/>
                </a:cubicBezTo>
                <a:cubicBezTo>
                  <a:pt x="2142173" y="4271010"/>
                  <a:pt x="2138363" y="4351020"/>
                  <a:pt x="2135505" y="4428173"/>
                </a:cubicBezTo>
                <a:cubicBezTo>
                  <a:pt x="2129790" y="4511040"/>
                  <a:pt x="2125028" y="4600575"/>
                  <a:pt x="2120265" y="4692968"/>
                </a:cubicBezTo>
                <a:cubicBezTo>
                  <a:pt x="2117408" y="4750118"/>
                  <a:pt x="2114550" y="4804410"/>
                  <a:pt x="2108835" y="4855845"/>
                </a:cubicBezTo>
                <a:cubicBezTo>
                  <a:pt x="2103120" y="4907280"/>
                  <a:pt x="2094548" y="4955858"/>
                  <a:pt x="2080260" y="4999673"/>
                </a:cubicBezTo>
                <a:cubicBezTo>
                  <a:pt x="2063115" y="5054918"/>
                  <a:pt x="2040255" y="5105400"/>
                  <a:pt x="2016443" y="5151120"/>
                </a:cubicBezTo>
                <a:lnTo>
                  <a:pt x="2686050" y="5151120"/>
                </a:lnTo>
                <a:cubicBezTo>
                  <a:pt x="2674620" y="5139690"/>
                  <a:pt x="2662238" y="5128260"/>
                  <a:pt x="2649855" y="5114925"/>
                </a:cubicBezTo>
                <a:cubicBezTo>
                  <a:pt x="2622233" y="5085398"/>
                  <a:pt x="2593658" y="5052060"/>
                  <a:pt x="2568893" y="5013008"/>
                </a:cubicBezTo>
                <a:cubicBezTo>
                  <a:pt x="2544128" y="4973955"/>
                  <a:pt x="2523173" y="4930140"/>
                  <a:pt x="2509838" y="4881563"/>
                </a:cubicBezTo>
                <a:cubicBezTo>
                  <a:pt x="2495550" y="4832033"/>
                  <a:pt x="2487930" y="4777740"/>
                  <a:pt x="2482215" y="4720590"/>
                </a:cubicBezTo>
                <a:cubicBezTo>
                  <a:pt x="2476500" y="4664393"/>
                  <a:pt x="2471738" y="4605338"/>
                  <a:pt x="2466975" y="4545330"/>
                </a:cubicBezTo>
                <a:cubicBezTo>
                  <a:pt x="2470785" y="4536758"/>
                  <a:pt x="2473643" y="4528185"/>
                  <a:pt x="2477453" y="4519613"/>
                </a:cubicBezTo>
                <a:cubicBezTo>
                  <a:pt x="2499360" y="4468178"/>
                  <a:pt x="2520315" y="4414838"/>
                  <a:pt x="2549843" y="4368165"/>
                </a:cubicBezTo>
                <a:cubicBezTo>
                  <a:pt x="2566035" y="4341495"/>
                  <a:pt x="2585085" y="4316730"/>
                  <a:pt x="2605088" y="4293870"/>
                </a:cubicBezTo>
                <a:cubicBezTo>
                  <a:pt x="2610803" y="4291013"/>
                  <a:pt x="2616518" y="4287203"/>
                  <a:pt x="2621280" y="4282440"/>
                </a:cubicBezTo>
                <a:cubicBezTo>
                  <a:pt x="2630805" y="4273868"/>
                  <a:pt x="2638425" y="4264343"/>
                  <a:pt x="2643188" y="4253865"/>
                </a:cubicBezTo>
                <a:cubicBezTo>
                  <a:pt x="2646045" y="4251008"/>
                  <a:pt x="2648903" y="4248150"/>
                  <a:pt x="2651760" y="4245293"/>
                </a:cubicBezTo>
                <a:cubicBezTo>
                  <a:pt x="2688908" y="4211003"/>
                  <a:pt x="2727960" y="4184333"/>
                  <a:pt x="2764155" y="4163378"/>
                </a:cubicBezTo>
                <a:cubicBezTo>
                  <a:pt x="2787015" y="4150043"/>
                  <a:pt x="2808923" y="4139565"/>
                  <a:pt x="2827020" y="4131945"/>
                </a:cubicBezTo>
                <a:cubicBezTo>
                  <a:pt x="2832735" y="4131945"/>
                  <a:pt x="2838450" y="4130993"/>
                  <a:pt x="2844165" y="4130993"/>
                </a:cubicBezTo>
                <a:cubicBezTo>
                  <a:pt x="2882265" y="4130040"/>
                  <a:pt x="2919413" y="4134803"/>
                  <a:pt x="2960370" y="4141470"/>
                </a:cubicBezTo>
                <a:cubicBezTo>
                  <a:pt x="3001328" y="4148138"/>
                  <a:pt x="3044190" y="4158615"/>
                  <a:pt x="3090863" y="4166235"/>
                </a:cubicBezTo>
                <a:cubicBezTo>
                  <a:pt x="3137535" y="4173855"/>
                  <a:pt x="3188018" y="4176713"/>
                  <a:pt x="3236595" y="4173855"/>
                </a:cubicBezTo>
                <a:cubicBezTo>
                  <a:pt x="3285173" y="4170045"/>
                  <a:pt x="3331845" y="4161473"/>
                  <a:pt x="3376613" y="4147185"/>
                </a:cubicBezTo>
                <a:cubicBezTo>
                  <a:pt x="3421380" y="4132898"/>
                  <a:pt x="3463290" y="4113848"/>
                  <a:pt x="3501390" y="4090988"/>
                </a:cubicBezTo>
                <a:cubicBezTo>
                  <a:pt x="3540443" y="4068128"/>
                  <a:pt x="3574733" y="4040505"/>
                  <a:pt x="3604260" y="4013835"/>
                </a:cubicBezTo>
                <a:cubicBezTo>
                  <a:pt x="3634740" y="3987165"/>
                  <a:pt x="3661410" y="3960495"/>
                  <a:pt x="3688080" y="3935730"/>
                </a:cubicBezTo>
                <a:cubicBezTo>
                  <a:pt x="3713798" y="3910965"/>
                  <a:pt x="3739515" y="3889058"/>
                  <a:pt x="3765233" y="3869055"/>
                </a:cubicBezTo>
                <a:cubicBezTo>
                  <a:pt x="3817620" y="3829050"/>
                  <a:pt x="3870008" y="3796665"/>
                  <a:pt x="3921443" y="3771900"/>
                </a:cubicBezTo>
                <a:cubicBezTo>
                  <a:pt x="3971925" y="3747135"/>
                  <a:pt x="4020503" y="3728085"/>
                  <a:pt x="4064318" y="3714750"/>
                </a:cubicBezTo>
                <a:cubicBezTo>
                  <a:pt x="4086225" y="3708083"/>
                  <a:pt x="4107180" y="3702368"/>
                  <a:pt x="4126230" y="3697605"/>
                </a:cubicBezTo>
                <a:cubicBezTo>
                  <a:pt x="4145280" y="3693795"/>
                  <a:pt x="4163378" y="3689033"/>
                  <a:pt x="4179570" y="3686175"/>
                </a:cubicBezTo>
                <a:cubicBezTo>
                  <a:pt x="4187190" y="3684270"/>
                  <a:pt x="4194810" y="3683318"/>
                  <a:pt x="4202430" y="3682365"/>
                </a:cubicBezTo>
                <a:cubicBezTo>
                  <a:pt x="4210050" y="3681413"/>
                  <a:pt x="4216718" y="3680460"/>
                  <a:pt x="4222433" y="3679508"/>
                </a:cubicBezTo>
                <a:cubicBezTo>
                  <a:pt x="4234815" y="3677603"/>
                  <a:pt x="4245293" y="3676650"/>
                  <a:pt x="4253865" y="3675698"/>
                </a:cubicBezTo>
                <a:cubicBezTo>
                  <a:pt x="4271010" y="3673793"/>
                  <a:pt x="4280535" y="3672840"/>
                  <a:pt x="4280535" y="3672840"/>
                </a:cubicBezTo>
                <a:cubicBezTo>
                  <a:pt x="4280535" y="3672840"/>
                  <a:pt x="4271010" y="3671888"/>
                  <a:pt x="4253865" y="3669983"/>
                </a:cubicBezTo>
                <a:cubicBezTo>
                  <a:pt x="4245293" y="3669030"/>
                  <a:pt x="4234815" y="3668078"/>
                  <a:pt x="4221480" y="3667125"/>
                </a:cubicBezTo>
                <a:cubicBezTo>
                  <a:pt x="4214813" y="3667125"/>
                  <a:pt x="4208145" y="3666173"/>
                  <a:pt x="4200525" y="3666173"/>
                </a:cubicBezTo>
                <a:cubicBezTo>
                  <a:pt x="4192905" y="3666173"/>
                  <a:pt x="4185285" y="3666173"/>
                  <a:pt x="4176713" y="3666173"/>
                </a:cubicBezTo>
                <a:cubicBezTo>
                  <a:pt x="4159568" y="3666173"/>
                  <a:pt x="4141470" y="3667125"/>
                  <a:pt x="4121468" y="3668078"/>
                </a:cubicBezTo>
                <a:cubicBezTo>
                  <a:pt x="4101465" y="3669983"/>
                  <a:pt x="4078605" y="3671888"/>
                  <a:pt x="4055745" y="3674745"/>
                </a:cubicBezTo>
                <a:cubicBezTo>
                  <a:pt x="4008120" y="3681413"/>
                  <a:pt x="3954780" y="3692843"/>
                  <a:pt x="3896678" y="3711893"/>
                </a:cubicBezTo>
                <a:cubicBezTo>
                  <a:pt x="3838575" y="3730943"/>
                  <a:pt x="3777615" y="3758565"/>
                  <a:pt x="3715703" y="3796665"/>
                </a:cubicBezTo>
                <a:cubicBezTo>
                  <a:pt x="3699510" y="3806190"/>
                  <a:pt x="3685223" y="3816668"/>
                  <a:pt x="3669030" y="3827145"/>
                </a:cubicBezTo>
                <a:cubicBezTo>
                  <a:pt x="3653790" y="3837623"/>
                  <a:pt x="3638550" y="3849053"/>
                  <a:pt x="3623310" y="3860483"/>
                </a:cubicBezTo>
                <a:cubicBezTo>
                  <a:pt x="3593783" y="3883343"/>
                  <a:pt x="3564255" y="3907155"/>
                  <a:pt x="3534728" y="3930015"/>
                </a:cubicBezTo>
                <a:cubicBezTo>
                  <a:pt x="3505200" y="3951923"/>
                  <a:pt x="3474720" y="3972878"/>
                  <a:pt x="3443288" y="3989070"/>
                </a:cubicBezTo>
                <a:cubicBezTo>
                  <a:pt x="3410903" y="4006215"/>
                  <a:pt x="3376613" y="4019550"/>
                  <a:pt x="3340418" y="4029075"/>
                </a:cubicBezTo>
                <a:cubicBezTo>
                  <a:pt x="3304223" y="4038600"/>
                  <a:pt x="3266123" y="4045268"/>
                  <a:pt x="3228023" y="4047173"/>
                </a:cubicBezTo>
                <a:cubicBezTo>
                  <a:pt x="3188970" y="4049078"/>
                  <a:pt x="3150870" y="4046220"/>
                  <a:pt x="3109913" y="4039553"/>
                </a:cubicBezTo>
                <a:cubicBezTo>
                  <a:pt x="3068003" y="4032885"/>
                  <a:pt x="3025140" y="4023360"/>
                  <a:pt x="2979420" y="4016693"/>
                </a:cubicBezTo>
                <a:cubicBezTo>
                  <a:pt x="2956560" y="4012883"/>
                  <a:pt x="2933700" y="4010025"/>
                  <a:pt x="2909888" y="4009073"/>
                </a:cubicBezTo>
                <a:cubicBezTo>
                  <a:pt x="2886075" y="4007168"/>
                  <a:pt x="2862263" y="4007168"/>
                  <a:pt x="2839403" y="4009073"/>
                </a:cubicBezTo>
                <a:cubicBezTo>
                  <a:pt x="2792730" y="4011930"/>
                  <a:pt x="2748915" y="4018598"/>
                  <a:pt x="2707005" y="4028123"/>
                </a:cubicBezTo>
                <a:cubicBezTo>
                  <a:pt x="2665095" y="4037648"/>
                  <a:pt x="2625090" y="4049078"/>
                  <a:pt x="2587943" y="4062413"/>
                </a:cubicBezTo>
                <a:cubicBezTo>
                  <a:pt x="2568893" y="4068128"/>
                  <a:pt x="2550795" y="4074795"/>
                  <a:pt x="2532698" y="4081463"/>
                </a:cubicBezTo>
                <a:cubicBezTo>
                  <a:pt x="2514600" y="4088130"/>
                  <a:pt x="2497455" y="4093845"/>
                  <a:pt x="2478405" y="4101465"/>
                </a:cubicBezTo>
                <a:cubicBezTo>
                  <a:pt x="2469833" y="4104323"/>
                  <a:pt x="2462213" y="4108133"/>
                  <a:pt x="2453640" y="4111943"/>
                </a:cubicBezTo>
                <a:cubicBezTo>
                  <a:pt x="2452688" y="4050983"/>
                  <a:pt x="2449830" y="3986213"/>
                  <a:pt x="2446973" y="3919538"/>
                </a:cubicBezTo>
                <a:cubicBezTo>
                  <a:pt x="2444115" y="3867150"/>
                  <a:pt x="2442210" y="3813810"/>
                  <a:pt x="2442210" y="3760470"/>
                </a:cubicBezTo>
                <a:cubicBezTo>
                  <a:pt x="2442210" y="3707130"/>
                  <a:pt x="2445068" y="3652838"/>
                  <a:pt x="2453640" y="3600450"/>
                </a:cubicBezTo>
                <a:cubicBezTo>
                  <a:pt x="2458403" y="3573780"/>
                  <a:pt x="2464118" y="3548063"/>
                  <a:pt x="2471738" y="3523298"/>
                </a:cubicBezTo>
                <a:cubicBezTo>
                  <a:pt x="2479358" y="3498533"/>
                  <a:pt x="2488883" y="3473768"/>
                  <a:pt x="2500313" y="3449955"/>
                </a:cubicBezTo>
                <a:cubicBezTo>
                  <a:pt x="2512695" y="3427095"/>
                  <a:pt x="2526030" y="3404235"/>
                  <a:pt x="2542223" y="3381375"/>
                </a:cubicBezTo>
                <a:cubicBezTo>
                  <a:pt x="2558415" y="3359468"/>
                  <a:pt x="2576513" y="3338513"/>
                  <a:pt x="2596515" y="3318510"/>
                </a:cubicBezTo>
                <a:cubicBezTo>
                  <a:pt x="2616518" y="3298508"/>
                  <a:pt x="2637473" y="3279458"/>
                  <a:pt x="2660333" y="3261360"/>
                </a:cubicBezTo>
                <a:cubicBezTo>
                  <a:pt x="2683193" y="3243263"/>
                  <a:pt x="2707005" y="3226118"/>
                  <a:pt x="2732723" y="3210878"/>
                </a:cubicBezTo>
                <a:cubicBezTo>
                  <a:pt x="2783205" y="3179445"/>
                  <a:pt x="2839403" y="3152775"/>
                  <a:pt x="2899410" y="3128963"/>
                </a:cubicBezTo>
                <a:cubicBezTo>
                  <a:pt x="3010853" y="3085148"/>
                  <a:pt x="3129915" y="3053715"/>
                  <a:pt x="3247073" y="3020378"/>
                </a:cubicBezTo>
                <a:cubicBezTo>
                  <a:pt x="3253740" y="3019425"/>
                  <a:pt x="3260408" y="3018473"/>
                  <a:pt x="3267075" y="3017520"/>
                </a:cubicBezTo>
                <a:cubicBezTo>
                  <a:pt x="3330893" y="3008948"/>
                  <a:pt x="3399473" y="3003233"/>
                  <a:pt x="3470910" y="3002280"/>
                </a:cubicBezTo>
                <a:cubicBezTo>
                  <a:pt x="3542348" y="3001328"/>
                  <a:pt x="3616643" y="3006090"/>
                  <a:pt x="3692843" y="3018473"/>
                </a:cubicBezTo>
                <a:cubicBezTo>
                  <a:pt x="3769043" y="3031808"/>
                  <a:pt x="3848100" y="3052763"/>
                  <a:pt x="3932873" y="3069908"/>
                </a:cubicBezTo>
                <a:cubicBezTo>
                  <a:pt x="4018598" y="3086100"/>
                  <a:pt x="4103370" y="3096578"/>
                  <a:pt x="4185285" y="3099435"/>
                </a:cubicBezTo>
                <a:cubicBezTo>
                  <a:pt x="4267200" y="3102293"/>
                  <a:pt x="4346258" y="3097530"/>
                  <a:pt x="4420553" y="3089910"/>
                </a:cubicBezTo>
                <a:cubicBezTo>
                  <a:pt x="4570095" y="3071813"/>
                  <a:pt x="4700588" y="3036570"/>
                  <a:pt x="4805363" y="2995613"/>
                </a:cubicBezTo>
                <a:cubicBezTo>
                  <a:pt x="4857750" y="2975610"/>
                  <a:pt x="4904423" y="2954655"/>
                  <a:pt x="4944428" y="2934653"/>
                </a:cubicBezTo>
                <a:cubicBezTo>
                  <a:pt x="4964430" y="2924175"/>
                  <a:pt x="4982528" y="2914650"/>
                  <a:pt x="4999673" y="2906078"/>
                </a:cubicBezTo>
                <a:cubicBezTo>
                  <a:pt x="5015865" y="2896553"/>
                  <a:pt x="5031105" y="2887980"/>
                  <a:pt x="5044440" y="2879408"/>
                </a:cubicBezTo>
                <a:cubicBezTo>
                  <a:pt x="5051108" y="2875598"/>
                  <a:pt x="5057775" y="2871788"/>
                  <a:pt x="5063490" y="2867978"/>
                </a:cubicBezTo>
                <a:cubicBezTo>
                  <a:pt x="5069205" y="2864168"/>
                  <a:pt x="5074920" y="2860358"/>
                  <a:pt x="5079683" y="2857500"/>
                </a:cubicBezTo>
                <a:cubicBezTo>
                  <a:pt x="5090160" y="2850833"/>
                  <a:pt x="5098733" y="2845118"/>
                  <a:pt x="5105400" y="2840355"/>
                </a:cubicBezTo>
                <a:cubicBezTo>
                  <a:pt x="5117783" y="2832735"/>
                  <a:pt x="5124450" y="2827973"/>
                  <a:pt x="5125403" y="2827020"/>
                </a:cubicBezTo>
                <a:cubicBezTo>
                  <a:pt x="5120640" y="2821305"/>
                  <a:pt x="5113020" y="2825115"/>
                  <a:pt x="5099685" y="2830830"/>
                </a:cubicBezTo>
                <a:close/>
                <a:moveTo>
                  <a:pt x="2508885" y="4188143"/>
                </a:moveTo>
                <a:cubicBezTo>
                  <a:pt x="2516505" y="4186238"/>
                  <a:pt x="2524125" y="4184333"/>
                  <a:pt x="2532698" y="4181475"/>
                </a:cubicBezTo>
                <a:cubicBezTo>
                  <a:pt x="2525078" y="4188143"/>
                  <a:pt x="2519363" y="4195763"/>
                  <a:pt x="2514600" y="4204335"/>
                </a:cubicBezTo>
                <a:cubicBezTo>
                  <a:pt x="2492693" y="4224338"/>
                  <a:pt x="2470785" y="4247198"/>
                  <a:pt x="2452688" y="4273868"/>
                </a:cubicBezTo>
                <a:cubicBezTo>
                  <a:pt x="2452688" y="4253865"/>
                  <a:pt x="2453640" y="4233863"/>
                  <a:pt x="2453640" y="4212908"/>
                </a:cubicBezTo>
                <a:cubicBezTo>
                  <a:pt x="2458403" y="4209098"/>
                  <a:pt x="2463165" y="4206240"/>
                  <a:pt x="2468880" y="4203383"/>
                </a:cubicBezTo>
                <a:cubicBezTo>
                  <a:pt x="2479358" y="4197668"/>
                  <a:pt x="2492693" y="4192905"/>
                  <a:pt x="2508885" y="4188143"/>
                </a:cubicBezTo>
                <a:close/>
              </a:path>
            </a:pathLst>
          </a:custGeom>
          <a:solidFill>
            <a:schemeClr val="bg2">
              <a:lumMod val="75000"/>
            </a:scheme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4" name="Freeform: Shape 10">
            <a:extLst>
              <a:ext uri="{FF2B5EF4-FFF2-40B4-BE49-F238E27FC236}">
                <a16:creationId xmlns:a16="http://schemas.microsoft.com/office/drawing/2014/main" id="{1AFBA5E3-5AD7-4589-BFFF-E19A1E9D3053}"/>
              </a:ext>
            </a:extLst>
          </p:cNvPr>
          <p:cNvSpPr/>
          <p:nvPr/>
        </p:nvSpPr>
        <p:spPr>
          <a:xfrm>
            <a:off x="2644414" y="4530818"/>
            <a:ext cx="1046358" cy="1046359"/>
          </a:xfrm>
          <a:custGeom>
            <a:avLst/>
            <a:gdLst>
              <a:gd name="connsiteX0" fmla="*/ 1139190 w 1139190"/>
              <a:gd name="connsiteY0" fmla="*/ 569595 h 1139190"/>
              <a:gd name="connsiteX1" fmla="*/ 569595 w 1139190"/>
              <a:gd name="connsiteY1" fmla="*/ 1139190 h 1139190"/>
              <a:gd name="connsiteX2" fmla="*/ 0 w 1139190"/>
              <a:gd name="connsiteY2" fmla="*/ 569595 h 1139190"/>
              <a:gd name="connsiteX3" fmla="*/ 569595 w 1139190"/>
              <a:gd name="connsiteY3" fmla="*/ 0 h 1139190"/>
              <a:gd name="connsiteX4" fmla="*/ 1139190 w 1139190"/>
              <a:gd name="connsiteY4" fmla="*/ 569595 h 11391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9190" h="1139190">
                <a:moveTo>
                  <a:pt x="1139190" y="569595"/>
                </a:moveTo>
                <a:cubicBezTo>
                  <a:pt x="1139190" y="884174"/>
                  <a:pt x="884174" y="1139190"/>
                  <a:pt x="569595" y="1139190"/>
                </a:cubicBezTo>
                <a:cubicBezTo>
                  <a:pt x="255016" y="1139190"/>
                  <a:pt x="0" y="884173"/>
                  <a:pt x="0" y="569595"/>
                </a:cubicBezTo>
                <a:cubicBezTo>
                  <a:pt x="0" y="255016"/>
                  <a:pt x="255016" y="0"/>
                  <a:pt x="569595" y="0"/>
                </a:cubicBezTo>
                <a:cubicBezTo>
                  <a:pt x="884174" y="0"/>
                  <a:pt x="1139190" y="255016"/>
                  <a:pt x="1139190" y="569595"/>
                </a:cubicBezTo>
                <a:close/>
              </a:path>
            </a:pathLst>
          </a:custGeom>
          <a:solidFill>
            <a:schemeClr val="accent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5" name="Freeform: Shape 11">
            <a:extLst>
              <a:ext uri="{FF2B5EF4-FFF2-40B4-BE49-F238E27FC236}">
                <a16:creationId xmlns:a16="http://schemas.microsoft.com/office/drawing/2014/main" id="{007FD701-65AE-42D8-ACF8-66BB43DF17CA}"/>
              </a:ext>
            </a:extLst>
          </p:cNvPr>
          <p:cNvSpPr/>
          <p:nvPr/>
        </p:nvSpPr>
        <p:spPr>
          <a:xfrm>
            <a:off x="3617282" y="5543930"/>
            <a:ext cx="717403" cy="717403"/>
          </a:xfrm>
          <a:custGeom>
            <a:avLst/>
            <a:gdLst>
              <a:gd name="connsiteX0" fmla="*/ 781050 w 781050"/>
              <a:gd name="connsiteY0" fmla="*/ 390525 h 781050"/>
              <a:gd name="connsiteX1" fmla="*/ 390525 w 781050"/>
              <a:gd name="connsiteY1" fmla="*/ 781050 h 781050"/>
              <a:gd name="connsiteX2" fmla="*/ 0 w 781050"/>
              <a:gd name="connsiteY2" fmla="*/ 390525 h 781050"/>
              <a:gd name="connsiteX3" fmla="*/ 390525 w 781050"/>
              <a:gd name="connsiteY3" fmla="*/ 0 h 781050"/>
              <a:gd name="connsiteX4" fmla="*/ 781050 w 781050"/>
              <a:gd name="connsiteY4" fmla="*/ 390525 h 781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050" h="781050">
                <a:moveTo>
                  <a:pt x="781050" y="390525"/>
                </a:moveTo>
                <a:cubicBezTo>
                  <a:pt x="781050" y="606206"/>
                  <a:pt x="606206" y="781050"/>
                  <a:pt x="390525" y="781050"/>
                </a:cubicBezTo>
                <a:cubicBezTo>
                  <a:pt x="174844" y="781050"/>
                  <a:pt x="0" y="606206"/>
                  <a:pt x="0" y="390525"/>
                </a:cubicBezTo>
                <a:cubicBezTo>
                  <a:pt x="0" y="174844"/>
                  <a:pt x="174844" y="0"/>
                  <a:pt x="390525" y="0"/>
                </a:cubicBezTo>
                <a:cubicBezTo>
                  <a:pt x="606206" y="0"/>
                  <a:pt x="781050" y="174844"/>
                  <a:pt x="781050" y="390525"/>
                </a:cubicBezTo>
                <a:close/>
              </a:path>
            </a:pathLst>
          </a:custGeom>
          <a:solidFill>
            <a:schemeClr val="accent4"/>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6" name="Freeform: Shape 14">
            <a:extLst>
              <a:ext uri="{FF2B5EF4-FFF2-40B4-BE49-F238E27FC236}">
                <a16:creationId xmlns:a16="http://schemas.microsoft.com/office/drawing/2014/main" id="{5DCB4336-5AD6-4ED8-8263-D1F7E929DBDD}"/>
              </a:ext>
            </a:extLst>
          </p:cNvPr>
          <p:cNvSpPr/>
          <p:nvPr/>
        </p:nvSpPr>
        <p:spPr>
          <a:xfrm>
            <a:off x="5063823" y="4908071"/>
            <a:ext cx="450930" cy="450928"/>
          </a:xfrm>
          <a:custGeom>
            <a:avLst/>
            <a:gdLst>
              <a:gd name="connsiteX0" fmla="*/ 794385 w 794385"/>
              <a:gd name="connsiteY0" fmla="*/ 397193 h 794384"/>
              <a:gd name="connsiteX1" fmla="*/ 397192 w 794385"/>
              <a:gd name="connsiteY1" fmla="*/ 794385 h 794384"/>
              <a:gd name="connsiteX2" fmla="*/ 0 w 794385"/>
              <a:gd name="connsiteY2" fmla="*/ 397193 h 794384"/>
              <a:gd name="connsiteX3" fmla="*/ 397192 w 794385"/>
              <a:gd name="connsiteY3" fmla="*/ 0 h 794384"/>
              <a:gd name="connsiteX4" fmla="*/ 794385 w 794385"/>
              <a:gd name="connsiteY4" fmla="*/ 397193 h 7943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4385" h="794384">
                <a:moveTo>
                  <a:pt x="794385" y="397193"/>
                </a:moveTo>
                <a:cubicBezTo>
                  <a:pt x="794385" y="616556"/>
                  <a:pt x="616556" y="794385"/>
                  <a:pt x="397192" y="794385"/>
                </a:cubicBezTo>
                <a:cubicBezTo>
                  <a:pt x="177829" y="794385"/>
                  <a:pt x="0" y="616556"/>
                  <a:pt x="0" y="397193"/>
                </a:cubicBezTo>
                <a:cubicBezTo>
                  <a:pt x="0" y="177829"/>
                  <a:pt x="177829" y="0"/>
                  <a:pt x="397192" y="0"/>
                </a:cubicBezTo>
                <a:cubicBezTo>
                  <a:pt x="616556" y="0"/>
                  <a:pt x="794385" y="177829"/>
                  <a:pt x="794385" y="397193"/>
                </a:cubicBezTo>
                <a:close/>
              </a:path>
            </a:pathLst>
          </a:custGeom>
          <a:solidFill>
            <a:schemeClr val="accent4"/>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7" name="Freeform: Shape 15">
            <a:extLst>
              <a:ext uri="{FF2B5EF4-FFF2-40B4-BE49-F238E27FC236}">
                <a16:creationId xmlns:a16="http://schemas.microsoft.com/office/drawing/2014/main" id="{64529FFF-7AD5-44BB-B6EA-2C95F3038404}"/>
              </a:ext>
            </a:extLst>
          </p:cNvPr>
          <p:cNvSpPr/>
          <p:nvPr/>
        </p:nvSpPr>
        <p:spPr>
          <a:xfrm>
            <a:off x="3728295" y="2446312"/>
            <a:ext cx="998004" cy="998006"/>
          </a:xfrm>
          <a:custGeom>
            <a:avLst/>
            <a:gdLst>
              <a:gd name="connsiteX0" fmla="*/ 794385 w 794384"/>
              <a:gd name="connsiteY0" fmla="*/ 397193 h 794385"/>
              <a:gd name="connsiteX1" fmla="*/ 397192 w 794384"/>
              <a:gd name="connsiteY1" fmla="*/ 794385 h 794385"/>
              <a:gd name="connsiteX2" fmla="*/ 0 w 794384"/>
              <a:gd name="connsiteY2" fmla="*/ 397193 h 794385"/>
              <a:gd name="connsiteX3" fmla="*/ 397192 w 794384"/>
              <a:gd name="connsiteY3" fmla="*/ 0 h 794385"/>
              <a:gd name="connsiteX4" fmla="*/ 794385 w 794384"/>
              <a:gd name="connsiteY4" fmla="*/ 397193 h 7943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4384" h="794385">
                <a:moveTo>
                  <a:pt x="794385" y="397193"/>
                </a:moveTo>
                <a:cubicBezTo>
                  <a:pt x="794385" y="616556"/>
                  <a:pt x="616556" y="794385"/>
                  <a:pt x="397192" y="794385"/>
                </a:cubicBezTo>
                <a:cubicBezTo>
                  <a:pt x="177829" y="794385"/>
                  <a:pt x="0" y="616556"/>
                  <a:pt x="0" y="397193"/>
                </a:cubicBezTo>
                <a:cubicBezTo>
                  <a:pt x="0" y="177829"/>
                  <a:pt x="177829" y="0"/>
                  <a:pt x="397192" y="0"/>
                </a:cubicBezTo>
                <a:cubicBezTo>
                  <a:pt x="616556" y="0"/>
                  <a:pt x="794385" y="177829"/>
                  <a:pt x="794385" y="397193"/>
                </a:cubicBezTo>
                <a:close/>
              </a:path>
            </a:pathLst>
          </a:custGeom>
          <a:solidFill>
            <a:schemeClr val="accent4"/>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8" name="Freeform: Shape 77">
            <a:extLst>
              <a:ext uri="{FF2B5EF4-FFF2-40B4-BE49-F238E27FC236}">
                <a16:creationId xmlns:a16="http://schemas.microsoft.com/office/drawing/2014/main" id="{68CEBA4E-0BAF-4298-9AF6-541E48919272}"/>
              </a:ext>
            </a:extLst>
          </p:cNvPr>
          <p:cNvSpPr/>
          <p:nvPr/>
        </p:nvSpPr>
        <p:spPr>
          <a:xfrm>
            <a:off x="4867186" y="3772048"/>
            <a:ext cx="969132" cy="969130"/>
          </a:xfrm>
          <a:custGeom>
            <a:avLst/>
            <a:gdLst>
              <a:gd name="connsiteX0" fmla="*/ 794385 w 794385"/>
              <a:gd name="connsiteY0" fmla="*/ 397193 h 794384"/>
              <a:gd name="connsiteX1" fmla="*/ 397193 w 794385"/>
              <a:gd name="connsiteY1" fmla="*/ 794385 h 794384"/>
              <a:gd name="connsiteX2" fmla="*/ 0 w 794385"/>
              <a:gd name="connsiteY2" fmla="*/ 397193 h 794384"/>
              <a:gd name="connsiteX3" fmla="*/ 397193 w 794385"/>
              <a:gd name="connsiteY3" fmla="*/ 0 h 794384"/>
              <a:gd name="connsiteX4" fmla="*/ 794385 w 794385"/>
              <a:gd name="connsiteY4" fmla="*/ 397193 h 7943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4385" h="794384">
                <a:moveTo>
                  <a:pt x="794385" y="397193"/>
                </a:moveTo>
                <a:cubicBezTo>
                  <a:pt x="794385" y="616556"/>
                  <a:pt x="616556" y="794385"/>
                  <a:pt x="397193" y="794385"/>
                </a:cubicBezTo>
                <a:cubicBezTo>
                  <a:pt x="177829" y="794385"/>
                  <a:pt x="0" y="616556"/>
                  <a:pt x="0" y="397193"/>
                </a:cubicBezTo>
                <a:cubicBezTo>
                  <a:pt x="0" y="177829"/>
                  <a:pt x="177829" y="0"/>
                  <a:pt x="397193" y="0"/>
                </a:cubicBezTo>
                <a:cubicBezTo>
                  <a:pt x="616556" y="0"/>
                  <a:pt x="794385" y="177829"/>
                  <a:pt x="794385" y="397193"/>
                </a:cubicBezTo>
                <a:close/>
              </a:path>
            </a:pathLst>
          </a:custGeom>
          <a:solidFill>
            <a:schemeClr val="accent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9" name="Freeform: Shape 78">
            <a:extLst>
              <a:ext uri="{FF2B5EF4-FFF2-40B4-BE49-F238E27FC236}">
                <a16:creationId xmlns:a16="http://schemas.microsoft.com/office/drawing/2014/main" id="{A97441D8-2F6E-4932-85A1-47A5DCCE9F58}"/>
              </a:ext>
            </a:extLst>
          </p:cNvPr>
          <p:cNvSpPr/>
          <p:nvPr/>
        </p:nvSpPr>
        <p:spPr>
          <a:xfrm>
            <a:off x="1277850" y="2833547"/>
            <a:ext cx="729651" cy="729650"/>
          </a:xfrm>
          <a:custGeom>
            <a:avLst/>
            <a:gdLst>
              <a:gd name="connsiteX0" fmla="*/ 794385 w 794385"/>
              <a:gd name="connsiteY0" fmla="*/ 397193 h 794384"/>
              <a:gd name="connsiteX1" fmla="*/ 397193 w 794385"/>
              <a:gd name="connsiteY1" fmla="*/ 794385 h 794384"/>
              <a:gd name="connsiteX2" fmla="*/ 0 w 794385"/>
              <a:gd name="connsiteY2" fmla="*/ 397193 h 794384"/>
              <a:gd name="connsiteX3" fmla="*/ 397193 w 794385"/>
              <a:gd name="connsiteY3" fmla="*/ 0 h 794384"/>
              <a:gd name="connsiteX4" fmla="*/ 794385 w 794385"/>
              <a:gd name="connsiteY4" fmla="*/ 397193 h 7943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4385" h="794384">
                <a:moveTo>
                  <a:pt x="794385" y="397193"/>
                </a:moveTo>
                <a:cubicBezTo>
                  <a:pt x="794385" y="616556"/>
                  <a:pt x="616556" y="794385"/>
                  <a:pt x="397193" y="794385"/>
                </a:cubicBezTo>
                <a:cubicBezTo>
                  <a:pt x="177829" y="794385"/>
                  <a:pt x="0" y="616556"/>
                  <a:pt x="0" y="397193"/>
                </a:cubicBezTo>
                <a:cubicBezTo>
                  <a:pt x="0" y="177829"/>
                  <a:pt x="177829" y="0"/>
                  <a:pt x="397193" y="0"/>
                </a:cubicBezTo>
                <a:cubicBezTo>
                  <a:pt x="616556" y="0"/>
                  <a:pt x="794385" y="177829"/>
                  <a:pt x="794385" y="397193"/>
                </a:cubicBezTo>
                <a:close/>
              </a:path>
            </a:pathLst>
          </a:custGeom>
          <a:solidFill>
            <a:schemeClr val="accent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0" name="Freeform: Shape 79">
            <a:extLst>
              <a:ext uri="{FF2B5EF4-FFF2-40B4-BE49-F238E27FC236}">
                <a16:creationId xmlns:a16="http://schemas.microsoft.com/office/drawing/2014/main" id="{156DD89A-55CC-4CCC-B9C9-FDEE61DAC80A}"/>
              </a:ext>
            </a:extLst>
          </p:cNvPr>
          <p:cNvSpPr/>
          <p:nvPr/>
        </p:nvSpPr>
        <p:spPr>
          <a:xfrm>
            <a:off x="1262977" y="1843181"/>
            <a:ext cx="729651" cy="729651"/>
          </a:xfrm>
          <a:custGeom>
            <a:avLst/>
            <a:gdLst>
              <a:gd name="connsiteX0" fmla="*/ 794385 w 794385"/>
              <a:gd name="connsiteY0" fmla="*/ 397193 h 794385"/>
              <a:gd name="connsiteX1" fmla="*/ 397193 w 794385"/>
              <a:gd name="connsiteY1" fmla="*/ 794385 h 794385"/>
              <a:gd name="connsiteX2" fmla="*/ 0 w 794385"/>
              <a:gd name="connsiteY2" fmla="*/ 397192 h 794385"/>
              <a:gd name="connsiteX3" fmla="*/ 397193 w 794385"/>
              <a:gd name="connsiteY3" fmla="*/ 0 h 794385"/>
              <a:gd name="connsiteX4" fmla="*/ 794385 w 794385"/>
              <a:gd name="connsiteY4" fmla="*/ 397193 h 7943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4385" h="794385">
                <a:moveTo>
                  <a:pt x="794385" y="397193"/>
                </a:moveTo>
                <a:cubicBezTo>
                  <a:pt x="794385" y="616556"/>
                  <a:pt x="616556" y="794385"/>
                  <a:pt x="397193" y="794385"/>
                </a:cubicBezTo>
                <a:cubicBezTo>
                  <a:pt x="177829" y="794385"/>
                  <a:pt x="0" y="616556"/>
                  <a:pt x="0" y="397192"/>
                </a:cubicBezTo>
                <a:cubicBezTo>
                  <a:pt x="0" y="177829"/>
                  <a:pt x="177829" y="0"/>
                  <a:pt x="397193" y="0"/>
                </a:cubicBezTo>
                <a:cubicBezTo>
                  <a:pt x="616556" y="0"/>
                  <a:pt x="794385" y="177829"/>
                  <a:pt x="794385" y="397193"/>
                </a:cubicBezTo>
                <a:close/>
              </a:path>
            </a:pathLst>
          </a:custGeom>
          <a:solidFill>
            <a:schemeClr val="accent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1" name="Freeform: Shape 80">
            <a:extLst>
              <a:ext uri="{FF2B5EF4-FFF2-40B4-BE49-F238E27FC236}">
                <a16:creationId xmlns:a16="http://schemas.microsoft.com/office/drawing/2014/main" id="{882642D2-7455-414C-9AA1-B949F5ED60C1}"/>
              </a:ext>
            </a:extLst>
          </p:cNvPr>
          <p:cNvSpPr/>
          <p:nvPr/>
        </p:nvSpPr>
        <p:spPr>
          <a:xfrm>
            <a:off x="3628656" y="3510706"/>
            <a:ext cx="729650" cy="729650"/>
          </a:xfrm>
          <a:custGeom>
            <a:avLst/>
            <a:gdLst>
              <a:gd name="connsiteX0" fmla="*/ 794385 w 794384"/>
              <a:gd name="connsiteY0" fmla="*/ 397192 h 794384"/>
              <a:gd name="connsiteX1" fmla="*/ 397192 w 794384"/>
              <a:gd name="connsiteY1" fmla="*/ 794385 h 794384"/>
              <a:gd name="connsiteX2" fmla="*/ 0 w 794384"/>
              <a:gd name="connsiteY2" fmla="*/ 397192 h 794384"/>
              <a:gd name="connsiteX3" fmla="*/ 397192 w 794384"/>
              <a:gd name="connsiteY3" fmla="*/ 0 h 794384"/>
              <a:gd name="connsiteX4" fmla="*/ 794385 w 794384"/>
              <a:gd name="connsiteY4" fmla="*/ 397192 h 7943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4384" h="794384">
                <a:moveTo>
                  <a:pt x="794385" y="397192"/>
                </a:moveTo>
                <a:cubicBezTo>
                  <a:pt x="794385" y="616556"/>
                  <a:pt x="616556" y="794385"/>
                  <a:pt x="397192" y="794385"/>
                </a:cubicBezTo>
                <a:cubicBezTo>
                  <a:pt x="177829" y="794385"/>
                  <a:pt x="0" y="616556"/>
                  <a:pt x="0" y="397192"/>
                </a:cubicBezTo>
                <a:cubicBezTo>
                  <a:pt x="0" y="177829"/>
                  <a:pt x="177829" y="0"/>
                  <a:pt x="397192" y="0"/>
                </a:cubicBezTo>
                <a:cubicBezTo>
                  <a:pt x="616556" y="0"/>
                  <a:pt x="794385" y="177829"/>
                  <a:pt x="794385" y="397192"/>
                </a:cubicBezTo>
                <a:close/>
              </a:path>
            </a:pathLst>
          </a:custGeom>
          <a:solidFill>
            <a:schemeClr val="accent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2" name="Freeform: Shape 81">
            <a:extLst>
              <a:ext uri="{FF2B5EF4-FFF2-40B4-BE49-F238E27FC236}">
                <a16:creationId xmlns:a16="http://schemas.microsoft.com/office/drawing/2014/main" id="{0E11EF93-9808-41B6-9445-390F024A7A93}"/>
              </a:ext>
            </a:extLst>
          </p:cNvPr>
          <p:cNvSpPr/>
          <p:nvPr/>
        </p:nvSpPr>
        <p:spPr>
          <a:xfrm>
            <a:off x="4968890" y="2118844"/>
            <a:ext cx="509332" cy="509332"/>
          </a:xfrm>
          <a:custGeom>
            <a:avLst/>
            <a:gdLst>
              <a:gd name="connsiteX0" fmla="*/ 794385 w 794385"/>
              <a:gd name="connsiteY0" fmla="*/ 397193 h 794385"/>
              <a:gd name="connsiteX1" fmla="*/ 397193 w 794385"/>
              <a:gd name="connsiteY1" fmla="*/ 794385 h 794385"/>
              <a:gd name="connsiteX2" fmla="*/ 0 w 794385"/>
              <a:gd name="connsiteY2" fmla="*/ 397192 h 794385"/>
              <a:gd name="connsiteX3" fmla="*/ 397193 w 794385"/>
              <a:gd name="connsiteY3" fmla="*/ 0 h 794385"/>
              <a:gd name="connsiteX4" fmla="*/ 794385 w 794385"/>
              <a:gd name="connsiteY4" fmla="*/ 397193 h 7943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4385" h="794385">
                <a:moveTo>
                  <a:pt x="794385" y="397193"/>
                </a:moveTo>
                <a:cubicBezTo>
                  <a:pt x="794385" y="616556"/>
                  <a:pt x="616556" y="794385"/>
                  <a:pt x="397193" y="794385"/>
                </a:cubicBezTo>
                <a:cubicBezTo>
                  <a:pt x="177829" y="794385"/>
                  <a:pt x="0" y="616556"/>
                  <a:pt x="0" y="397192"/>
                </a:cubicBezTo>
                <a:cubicBezTo>
                  <a:pt x="0" y="177829"/>
                  <a:pt x="177829" y="0"/>
                  <a:pt x="397193" y="0"/>
                </a:cubicBezTo>
                <a:cubicBezTo>
                  <a:pt x="616556" y="0"/>
                  <a:pt x="794385" y="177829"/>
                  <a:pt x="794385" y="397193"/>
                </a:cubicBezTo>
                <a:close/>
              </a:path>
            </a:pathLst>
          </a:custGeom>
          <a:solidFill>
            <a:schemeClr val="accent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3" name="Freeform: Shape 82">
            <a:extLst>
              <a:ext uri="{FF2B5EF4-FFF2-40B4-BE49-F238E27FC236}">
                <a16:creationId xmlns:a16="http://schemas.microsoft.com/office/drawing/2014/main" id="{B29E30B3-2658-4B83-B13C-E8CBE765CD1E}"/>
              </a:ext>
            </a:extLst>
          </p:cNvPr>
          <p:cNvSpPr/>
          <p:nvPr/>
        </p:nvSpPr>
        <p:spPr>
          <a:xfrm>
            <a:off x="4607510" y="5322589"/>
            <a:ext cx="671812" cy="671812"/>
          </a:xfrm>
          <a:custGeom>
            <a:avLst/>
            <a:gdLst>
              <a:gd name="connsiteX0" fmla="*/ 638175 w 638175"/>
              <a:gd name="connsiteY0" fmla="*/ 319088 h 638175"/>
              <a:gd name="connsiteX1" fmla="*/ 319087 w 638175"/>
              <a:gd name="connsiteY1" fmla="*/ 638175 h 638175"/>
              <a:gd name="connsiteX2" fmla="*/ 0 w 638175"/>
              <a:gd name="connsiteY2" fmla="*/ 319088 h 638175"/>
              <a:gd name="connsiteX3" fmla="*/ 319087 w 638175"/>
              <a:gd name="connsiteY3" fmla="*/ 0 h 638175"/>
              <a:gd name="connsiteX4" fmla="*/ 638175 w 638175"/>
              <a:gd name="connsiteY4" fmla="*/ 319088 h 63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8175" h="638175">
                <a:moveTo>
                  <a:pt x="638175" y="319088"/>
                </a:moveTo>
                <a:cubicBezTo>
                  <a:pt x="638175" y="495315"/>
                  <a:pt x="495314" y="638175"/>
                  <a:pt x="319087" y="638175"/>
                </a:cubicBezTo>
                <a:cubicBezTo>
                  <a:pt x="142860" y="638175"/>
                  <a:pt x="0" y="495315"/>
                  <a:pt x="0" y="319088"/>
                </a:cubicBezTo>
                <a:cubicBezTo>
                  <a:pt x="0" y="142860"/>
                  <a:pt x="142860" y="0"/>
                  <a:pt x="319087" y="0"/>
                </a:cubicBezTo>
                <a:cubicBezTo>
                  <a:pt x="495314" y="0"/>
                  <a:pt x="638175" y="142860"/>
                  <a:pt x="638175" y="319088"/>
                </a:cubicBezTo>
                <a:close/>
              </a:path>
            </a:pathLst>
          </a:custGeom>
          <a:solidFill>
            <a:schemeClr val="accent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4" name="Freeform: Shape 83">
            <a:extLst>
              <a:ext uri="{FF2B5EF4-FFF2-40B4-BE49-F238E27FC236}">
                <a16:creationId xmlns:a16="http://schemas.microsoft.com/office/drawing/2014/main" id="{FFB57E1A-B42D-4EA7-AB16-447F3ACCBB68}"/>
              </a:ext>
            </a:extLst>
          </p:cNvPr>
          <p:cNvSpPr/>
          <p:nvPr/>
        </p:nvSpPr>
        <p:spPr>
          <a:xfrm>
            <a:off x="3521045" y="1778440"/>
            <a:ext cx="664910" cy="664910"/>
          </a:xfrm>
          <a:custGeom>
            <a:avLst/>
            <a:gdLst>
              <a:gd name="connsiteX0" fmla="*/ 723900 w 723900"/>
              <a:gd name="connsiteY0" fmla="*/ 361950 h 723900"/>
              <a:gd name="connsiteX1" fmla="*/ 361950 w 723900"/>
              <a:gd name="connsiteY1" fmla="*/ 723900 h 723900"/>
              <a:gd name="connsiteX2" fmla="*/ 0 w 723900"/>
              <a:gd name="connsiteY2" fmla="*/ 361950 h 723900"/>
              <a:gd name="connsiteX3" fmla="*/ 361950 w 723900"/>
              <a:gd name="connsiteY3" fmla="*/ 0 h 723900"/>
              <a:gd name="connsiteX4" fmla="*/ 723900 w 723900"/>
              <a:gd name="connsiteY4" fmla="*/ 361950 h 723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3900" h="723900">
                <a:moveTo>
                  <a:pt x="723900" y="361950"/>
                </a:moveTo>
                <a:cubicBezTo>
                  <a:pt x="723900" y="561849"/>
                  <a:pt x="561850" y="723900"/>
                  <a:pt x="361950" y="723900"/>
                </a:cubicBezTo>
                <a:cubicBezTo>
                  <a:pt x="162051" y="723900"/>
                  <a:pt x="0" y="561849"/>
                  <a:pt x="0" y="361950"/>
                </a:cubicBezTo>
                <a:cubicBezTo>
                  <a:pt x="0" y="162051"/>
                  <a:pt x="162051" y="0"/>
                  <a:pt x="361950" y="0"/>
                </a:cubicBezTo>
                <a:cubicBezTo>
                  <a:pt x="561850" y="0"/>
                  <a:pt x="723900" y="162051"/>
                  <a:pt x="723900" y="361950"/>
                </a:cubicBezTo>
                <a:close/>
              </a:path>
            </a:pathLst>
          </a:custGeom>
          <a:solidFill>
            <a:schemeClr val="accent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5" name="Freeform: Shape 84">
            <a:extLst>
              <a:ext uri="{FF2B5EF4-FFF2-40B4-BE49-F238E27FC236}">
                <a16:creationId xmlns:a16="http://schemas.microsoft.com/office/drawing/2014/main" id="{2D2DD033-213A-4F06-95B1-E8F8D10E9779}"/>
              </a:ext>
            </a:extLst>
          </p:cNvPr>
          <p:cNvSpPr/>
          <p:nvPr/>
        </p:nvSpPr>
        <p:spPr>
          <a:xfrm>
            <a:off x="969016" y="4212360"/>
            <a:ext cx="664910" cy="664910"/>
          </a:xfrm>
          <a:custGeom>
            <a:avLst/>
            <a:gdLst>
              <a:gd name="connsiteX0" fmla="*/ 723900 w 723900"/>
              <a:gd name="connsiteY0" fmla="*/ 361950 h 723900"/>
              <a:gd name="connsiteX1" fmla="*/ 361950 w 723900"/>
              <a:gd name="connsiteY1" fmla="*/ 723900 h 723900"/>
              <a:gd name="connsiteX2" fmla="*/ 0 w 723900"/>
              <a:gd name="connsiteY2" fmla="*/ 361950 h 723900"/>
              <a:gd name="connsiteX3" fmla="*/ 361950 w 723900"/>
              <a:gd name="connsiteY3" fmla="*/ 0 h 723900"/>
              <a:gd name="connsiteX4" fmla="*/ 723900 w 723900"/>
              <a:gd name="connsiteY4" fmla="*/ 361950 h 723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3900" h="723900">
                <a:moveTo>
                  <a:pt x="723900" y="361950"/>
                </a:moveTo>
                <a:cubicBezTo>
                  <a:pt x="723900" y="561850"/>
                  <a:pt x="561849" y="723900"/>
                  <a:pt x="361950" y="723900"/>
                </a:cubicBezTo>
                <a:cubicBezTo>
                  <a:pt x="162051" y="723900"/>
                  <a:pt x="0" y="561850"/>
                  <a:pt x="0" y="361950"/>
                </a:cubicBezTo>
                <a:cubicBezTo>
                  <a:pt x="0" y="162051"/>
                  <a:pt x="162051" y="0"/>
                  <a:pt x="361950" y="0"/>
                </a:cubicBezTo>
                <a:cubicBezTo>
                  <a:pt x="561849" y="0"/>
                  <a:pt x="723900" y="162051"/>
                  <a:pt x="723900" y="361950"/>
                </a:cubicBezTo>
                <a:close/>
              </a:path>
            </a:pathLst>
          </a:custGeom>
          <a:solidFill>
            <a:schemeClr val="accent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6" name="Freeform: Shape 85">
            <a:extLst>
              <a:ext uri="{FF2B5EF4-FFF2-40B4-BE49-F238E27FC236}">
                <a16:creationId xmlns:a16="http://schemas.microsoft.com/office/drawing/2014/main" id="{E65E7BA0-5484-4257-9DF7-4BD3B52074D4}"/>
              </a:ext>
            </a:extLst>
          </p:cNvPr>
          <p:cNvSpPr/>
          <p:nvPr/>
        </p:nvSpPr>
        <p:spPr>
          <a:xfrm>
            <a:off x="2297713" y="1494845"/>
            <a:ext cx="1017090" cy="1017090"/>
          </a:xfrm>
          <a:custGeom>
            <a:avLst/>
            <a:gdLst>
              <a:gd name="connsiteX0" fmla="*/ 794385 w 794385"/>
              <a:gd name="connsiteY0" fmla="*/ 397193 h 794385"/>
              <a:gd name="connsiteX1" fmla="*/ 397193 w 794385"/>
              <a:gd name="connsiteY1" fmla="*/ 794385 h 794385"/>
              <a:gd name="connsiteX2" fmla="*/ 0 w 794385"/>
              <a:gd name="connsiteY2" fmla="*/ 397192 h 794385"/>
              <a:gd name="connsiteX3" fmla="*/ 397193 w 794385"/>
              <a:gd name="connsiteY3" fmla="*/ 0 h 794385"/>
              <a:gd name="connsiteX4" fmla="*/ 794385 w 794385"/>
              <a:gd name="connsiteY4" fmla="*/ 397193 h 7943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4385" h="794385">
                <a:moveTo>
                  <a:pt x="794385" y="397193"/>
                </a:moveTo>
                <a:cubicBezTo>
                  <a:pt x="794385" y="616556"/>
                  <a:pt x="616556" y="794385"/>
                  <a:pt x="397193" y="794385"/>
                </a:cubicBezTo>
                <a:cubicBezTo>
                  <a:pt x="177829" y="794385"/>
                  <a:pt x="0" y="616556"/>
                  <a:pt x="0" y="397192"/>
                </a:cubicBezTo>
                <a:cubicBezTo>
                  <a:pt x="0" y="177829"/>
                  <a:pt x="177829" y="0"/>
                  <a:pt x="397193" y="0"/>
                </a:cubicBezTo>
                <a:cubicBezTo>
                  <a:pt x="616556" y="0"/>
                  <a:pt x="794385" y="177829"/>
                  <a:pt x="794385" y="397193"/>
                </a:cubicBezTo>
                <a:close/>
              </a:path>
            </a:pathLst>
          </a:custGeom>
          <a:solidFill>
            <a:schemeClr val="accent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7" name="Freeform: Shape 86">
            <a:extLst>
              <a:ext uri="{FF2B5EF4-FFF2-40B4-BE49-F238E27FC236}">
                <a16:creationId xmlns:a16="http://schemas.microsoft.com/office/drawing/2014/main" id="{F10D2116-EFDA-4BC9-B5F7-D172E92B3CBC}"/>
              </a:ext>
            </a:extLst>
          </p:cNvPr>
          <p:cNvSpPr/>
          <p:nvPr/>
        </p:nvSpPr>
        <p:spPr>
          <a:xfrm>
            <a:off x="539402" y="3329751"/>
            <a:ext cx="761022" cy="761022"/>
          </a:xfrm>
          <a:custGeom>
            <a:avLst/>
            <a:gdLst>
              <a:gd name="connsiteX0" fmla="*/ 638175 w 638175"/>
              <a:gd name="connsiteY0" fmla="*/ 319088 h 638175"/>
              <a:gd name="connsiteX1" fmla="*/ 319087 w 638175"/>
              <a:gd name="connsiteY1" fmla="*/ 638175 h 638175"/>
              <a:gd name="connsiteX2" fmla="*/ 0 w 638175"/>
              <a:gd name="connsiteY2" fmla="*/ 319088 h 638175"/>
              <a:gd name="connsiteX3" fmla="*/ 319087 w 638175"/>
              <a:gd name="connsiteY3" fmla="*/ 0 h 638175"/>
              <a:gd name="connsiteX4" fmla="*/ 638175 w 638175"/>
              <a:gd name="connsiteY4" fmla="*/ 319088 h 63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8175" h="638175">
                <a:moveTo>
                  <a:pt x="638175" y="319088"/>
                </a:moveTo>
                <a:cubicBezTo>
                  <a:pt x="638175" y="495315"/>
                  <a:pt x="495314" y="638175"/>
                  <a:pt x="319087" y="638175"/>
                </a:cubicBezTo>
                <a:cubicBezTo>
                  <a:pt x="142860" y="638175"/>
                  <a:pt x="0" y="495315"/>
                  <a:pt x="0" y="319088"/>
                </a:cubicBezTo>
                <a:cubicBezTo>
                  <a:pt x="0" y="142860"/>
                  <a:pt x="142860" y="0"/>
                  <a:pt x="319087" y="0"/>
                </a:cubicBezTo>
                <a:cubicBezTo>
                  <a:pt x="495314" y="0"/>
                  <a:pt x="638175" y="142860"/>
                  <a:pt x="638175" y="319088"/>
                </a:cubicBezTo>
                <a:close/>
              </a:path>
            </a:pathLst>
          </a:custGeom>
          <a:solidFill>
            <a:schemeClr val="accent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8" name="Freeform: Shape 87">
            <a:extLst>
              <a:ext uri="{FF2B5EF4-FFF2-40B4-BE49-F238E27FC236}">
                <a16:creationId xmlns:a16="http://schemas.microsoft.com/office/drawing/2014/main" id="{8D991435-E9E8-46B4-8112-3679AA2DC971}"/>
              </a:ext>
            </a:extLst>
          </p:cNvPr>
          <p:cNvSpPr/>
          <p:nvPr/>
        </p:nvSpPr>
        <p:spPr>
          <a:xfrm>
            <a:off x="2876458" y="3062060"/>
            <a:ext cx="717000" cy="717000"/>
          </a:xfrm>
          <a:custGeom>
            <a:avLst/>
            <a:gdLst>
              <a:gd name="connsiteX0" fmla="*/ 1139190 w 1139190"/>
              <a:gd name="connsiteY0" fmla="*/ 569595 h 1139190"/>
              <a:gd name="connsiteX1" fmla="*/ 569595 w 1139190"/>
              <a:gd name="connsiteY1" fmla="*/ 1139190 h 1139190"/>
              <a:gd name="connsiteX2" fmla="*/ 0 w 1139190"/>
              <a:gd name="connsiteY2" fmla="*/ 569595 h 1139190"/>
              <a:gd name="connsiteX3" fmla="*/ 569595 w 1139190"/>
              <a:gd name="connsiteY3" fmla="*/ 0 h 1139190"/>
              <a:gd name="connsiteX4" fmla="*/ 1139190 w 1139190"/>
              <a:gd name="connsiteY4" fmla="*/ 569595 h 11391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9190" h="1139190">
                <a:moveTo>
                  <a:pt x="1139190" y="569595"/>
                </a:moveTo>
                <a:cubicBezTo>
                  <a:pt x="1139190" y="884174"/>
                  <a:pt x="884174" y="1139190"/>
                  <a:pt x="569595" y="1139190"/>
                </a:cubicBezTo>
                <a:cubicBezTo>
                  <a:pt x="255016" y="1139190"/>
                  <a:pt x="0" y="884173"/>
                  <a:pt x="0" y="569595"/>
                </a:cubicBezTo>
                <a:cubicBezTo>
                  <a:pt x="0" y="255016"/>
                  <a:pt x="255016" y="0"/>
                  <a:pt x="569595" y="0"/>
                </a:cubicBezTo>
                <a:cubicBezTo>
                  <a:pt x="884174" y="0"/>
                  <a:pt x="1139190" y="255016"/>
                  <a:pt x="1139190" y="569595"/>
                </a:cubicBezTo>
                <a:close/>
              </a:path>
            </a:pathLst>
          </a:custGeom>
          <a:solidFill>
            <a:schemeClr val="accent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9" name="Freeform: Shape 88">
            <a:extLst>
              <a:ext uri="{FF2B5EF4-FFF2-40B4-BE49-F238E27FC236}">
                <a16:creationId xmlns:a16="http://schemas.microsoft.com/office/drawing/2014/main" id="{42B45D46-6528-48FD-9694-9DD01745276E}"/>
              </a:ext>
            </a:extLst>
          </p:cNvPr>
          <p:cNvSpPr/>
          <p:nvPr/>
        </p:nvSpPr>
        <p:spPr>
          <a:xfrm>
            <a:off x="3326822" y="4050548"/>
            <a:ext cx="338540" cy="338540"/>
          </a:xfrm>
          <a:custGeom>
            <a:avLst/>
            <a:gdLst>
              <a:gd name="connsiteX0" fmla="*/ 638175 w 638175"/>
              <a:gd name="connsiteY0" fmla="*/ 319088 h 638175"/>
              <a:gd name="connsiteX1" fmla="*/ 319087 w 638175"/>
              <a:gd name="connsiteY1" fmla="*/ 638175 h 638175"/>
              <a:gd name="connsiteX2" fmla="*/ 0 w 638175"/>
              <a:gd name="connsiteY2" fmla="*/ 319088 h 638175"/>
              <a:gd name="connsiteX3" fmla="*/ 319087 w 638175"/>
              <a:gd name="connsiteY3" fmla="*/ 0 h 638175"/>
              <a:gd name="connsiteX4" fmla="*/ 638175 w 638175"/>
              <a:gd name="connsiteY4" fmla="*/ 319088 h 638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8175" h="638175">
                <a:moveTo>
                  <a:pt x="638175" y="319088"/>
                </a:moveTo>
                <a:cubicBezTo>
                  <a:pt x="638175" y="495315"/>
                  <a:pt x="495314" y="638175"/>
                  <a:pt x="319087" y="638175"/>
                </a:cubicBezTo>
                <a:cubicBezTo>
                  <a:pt x="142860" y="638175"/>
                  <a:pt x="0" y="495315"/>
                  <a:pt x="0" y="319088"/>
                </a:cubicBezTo>
                <a:cubicBezTo>
                  <a:pt x="0" y="142860"/>
                  <a:pt x="142860" y="0"/>
                  <a:pt x="319087" y="0"/>
                </a:cubicBezTo>
                <a:cubicBezTo>
                  <a:pt x="495314" y="0"/>
                  <a:pt x="638175" y="142860"/>
                  <a:pt x="638175" y="319088"/>
                </a:cubicBezTo>
                <a:close/>
              </a:path>
            </a:pathLst>
          </a:custGeom>
          <a:solidFill>
            <a:schemeClr val="accent4"/>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0" name="Freeform: Shape 89">
            <a:extLst>
              <a:ext uri="{FF2B5EF4-FFF2-40B4-BE49-F238E27FC236}">
                <a16:creationId xmlns:a16="http://schemas.microsoft.com/office/drawing/2014/main" id="{97A3B2EF-17EF-41DE-9EB5-FCD01893E881}"/>
              </a:ext>
            </a:extLst>
          </p:cNvPr>
          <p:cNvSpPr/>
          <p:nvPr/>
        </p:nvSpPr>
        <p:spPr>
          <a:xfrm>
            <a:off x="1440481" y="4815425"/>
            <a:ext cx="512100" cy="513891"/>
          </a:xfrm>
          <a:custGeom>
            <a:avLst/>
            <a:gdLst>
              <a:gd name="connsiteX0" fmla="*/ 1089660 w 1089660"/>
              <a:gd name="connsiteY0" fmla="*/ 546735 h 1093469"/>
              <a:gd name="connsiteX1" fmla="*/ 544830 w 1089660"/>
              <a:gd name="connsiteY1" fmla="*/ 1093470 h 1093469"/>
              <a:gd name="connsiteX2" fmla="*/ 0 w 1089660"/>
              <a:gd name="connsiteY2" fmla="*/ 546735 h 1093469"/>
              <a:gd name="connsiteX3" fmla="*/ 544830 w 1089660"/>
              <a:gd name="connsiteY3" fmla="*/ 0 h 1093469"/>
              <a:gd name="connsiteX4" fmla="*/ 1089660 w 1089660"/>
              <a:gd name="connsiteY4" fmla="*/ 546735 h 10934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9660" h="1093469">
                <a:moveTo>
                  <a:pt x="1089660" y="546735"/>
                </a:moveTo>
                <a:cubicBezTo>
                  <a:pt x="1089660" y="848689"/>
                  <a:pt x="845731" y="1093470"/>
                  <a:pt x="544830" y="1093470"/>
                </a:cubicBezTo>
                <a:cubicBezTo>
                  <a:pt x="243928" y="1093470"/>
                  <a:pt x="0" y="848689"/>
                  <a:pt x="0" y="546735"/>
                </a:cubicBezTo>
                <a:cubicBezTo>
                  <a:pt x="0" y="244782"/>
                  <a:pt x="243928" y="0"/>
                  <a:pt x="544830" y="0"/>
                </a:cubicBezTo>
                <a:cubicBezTo>
                  <a:pt x="845731" y="0"/>
                  <a:pt x="1089660" y="244782"/>
                  <a:pt x="1089660" y="546735"/>
                </a:cubicBezTo>
                <a:close/>
              </a:path>
            </a:pathLst>
          </a:custGeom>
          <a:solidFill>
            <a:schemeClr val="accent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1" name="Freeform: Shape 90">
            <a:extLst>
              <a:ext uri="{FF2B5EF4-FFF2-40B4-BE49-F238E27FC236}">
                <a16:creationId xmlns:a16="http://schemas.microsoft.com/office/drawing/2014/main" id="{BFD85CCA-BC7E-4E1A-BF20-61BB41670DE2}"/>
              </a:ext>
            </a:extLst>
          </p:cNvPr>
          <p:cNvSpPr/>
          <p:nvPr/>
        </p:nvSpPr>
        <p:spPr>
          <a:xfrm>
            <a:off x="4048773" y="4963848"/>
            <a:ext cx="512100" cy="513891"/>
          </a:xfrm>
          <a:custGeom>
            <a:avLst/>
            <a:gdLst>
              <a:gd name="connsiteX0" fmla="*/ 1089660 w 1089660"/>
              <a:gd name="connsiteY0" fmla="*/ 546735 h 1093469"/>
              <a:gd name="connsiteX1" fmla="*/ 544830 w 1089660"/>
              <a:gd name="connsiteY1" fmla="*/ 1093470 h 1093469"/>
              <a:gd name="connsiteX2" fmla="*/ 0 w 1089660"/>
              <a:gd name="connsiteY2" fmla="*/ 546735 h 1093469"/>
              <a:gd name="connsiteX3" fmla="*/ 544830 w 1089660"/>
              <a:gd name="connsiteY3" fmla="*/ 0 h 1093469"/>
              <a:gd name="connsiteX4" fmla="*/ 1089660 w 1089660"/>
              <a:gd name="connsiteY4" fmla="*/ 546735 h 10934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9660" h="1093469">
                <a:moveTo>
                  <a:pt x="1089660" y="546735"/>
                </a:moveTo>
                <a:cubicBezTo>
                  <a:pt x="1089660" y="848689"/>
                  <a:pt x="845731" y="1093470"/>
                  <a:pt x="544830" y="1093470"/>
                </a:cubicBezTo>
                <a:cubicBezTo>
                  <a:pt x="243928" y="1093470"/>
                  <a:pt x="0" y="848689"/>
                  <a:pt x="0" y="546735"/>
                </a:cubicBezTo>
                <a:cubicBezTo>
                  <a:pt x="0" y="244782"/>
                  <a:pt x="243928" y="0"/>
                  <a:pt x="544830" y="0"/>
                </a:cubicBezTo>
                <a:cubicBezTo>
                  <a:pt x="845731" y="0"/>
                  <a:pt x="1089660" y="244782"/>
                  <a:pt x="1089660" y="546735"/>
                </a:cubicBezTo>
                <a:close/>
              </a:path>
            </a:pathLst>
          </a:custGeom>
          <a:solidFill>
            <a:schemeClr val="accent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2" name="Freeform: Shape 91">
            <a:extLst>
              <a:ext uri="{FF2B5EF4-FFF2-40B4-BE49-F238E27FC236}">
                <a16:creationId xmlns:a16="http://schemas.microsoft.com/office/drawing/2014/main" id="{DC12A7A2-07F1-4E7B-9709-954AA1D859D3}"/>
              </a:ext>
            </a:extLst>
          </p:cNvPr>
          <p:cNvSpPr/>
          <p:nvPr/>
        </p:nvSpPr>
        <p:spPr>
          <a:xfrm>
            <a:off x="2044830" y="4474824"/>
            <a:ext cx="512100" cy="513891"/>
          </a:xfrm>
          <a:custGeom>
            <a:avLst/>
            <a:gdLst>
              <a:gd name="connsiteX0" fmla="*/ 1089660 w 1089660"/>
              <a:gd name="connsiteY0" fmla="*/ 546735 h 1093469"/>
              <a:gd name="connsiteX1" fmla="*/ 544830 w 1089660"/>
              <a:gd name="connsiteY1" fmla="*/ 1093470 h 1093469"/>
              <a:gd name="connsiteX2" fmla="*/ 0 w 1089660"/>
              <a:gd name="connsiteY2" fmla="*/ 546735 h 1093469"/>
              <a:gd name="connsiteX3" fmla="*/ 544830 w 1089660"/>
              <a:gd name="connsiteY3" fmla="*/ 0 h 1093469"/>
              <a:gd name="connsiteX4" fmla="*/ 1089660 w 1089660"/>
              <a:gd name="connsiteY4" fmla="*/ 546735 h 10934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9660" h="1093469">
                <a:moveTo>
                  <a:pt x="1089660" y="546735"/>
                </a:moveTo>
                <a:cubicBezTo>
                  <a:pt x="1089660" y="848689"/>
                  <a:pt x="845731" y="1093470"/>
                  <a:pt x="544830" y="1093470"/>
                </a:cubicBezTo>
                <a:cubicBezTo>
                  <a:pt x="243928" y="1093470"/>
                  <a:pt x="0" y="848689"/>
                  <a:pt x="0" y="546735"/>
                </a:cubicBezTo>
                <a:cubicBezTo>
                  <a:pt x="0" y="244782"/>
                  <a:pt x="243928" y="0"/>
                  <a:pt x="544830" y="0"/>
                </a:cubicBezTo>
                <a:cubicBezTo>
                  <a:pt x="845731" y="0"/>
                  <a:pt x="1089660" y="244782"/>
                  <a:pt x="1089660" y="546735"/>
                </a:cubicBezTo>
                <a:close/>
              </a:path>
            </a:pathLst>
          </a:custGeom>
          <a:solidFill>
            <a:schemeClr val="accent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3" name="Freeform: Shape 92">
            <a:extLst>
              <a:ext uri="{FF2B5EF4-FFF2-40B4-BE49-F238E27FC236}">
                <a16:creationId xmlns:a16="http://schemas.microsoft.com/office/drawing/2014/main" id="{68C0BCAA-586F-4AC2-8F58-7CE52E047FFC}"/>
              </a:ext>
            </a:extLst>
          </p:cNvPr>
          <p:cNvSpPr/>
          <p:nvPr/>
        </p:nvSpPr>
        <p:spPr>
          <a:xfrm>
            <a:off x="3212941" y="2489289"/>
            <a:ext cx="276756" cy="277723"/>
          </a:xfrm>
          <a:custGeom>
            <a:avLst/>
            <a:gdLst>
              <a:gd name="connsiteX0" fmla="*/ 1089660 w 1089660"/>
              <a:gd name="connsiteY0" fmla="*/ 546735 h 1093469"/>
              <a:gd name="connsiteX1" fmla="*/ 544830 w 1089660"/>
              <a:gd name="connsiteY1" fmla="*/ 1093470 h 1093469"/>
              <a:gd name="connsiteX2" fmla="*/ 0 w 1089660"/>
              <a:gd name="connsiteY2" fmla="*/ 546735 h 1093469"/>
              <a:gd name="connsiteX3" fmla="*/ 544830 w 1089660"/>
              <a:gd name="connsiteY3" fmla="*/ 0 h 1093469"/>
              <a:gd name="connsiteX4" fmla="*/ 1089660 w 1089660"/>
              <a:gd name="connsiteY4" fmla="*/ 546735 h 10934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9660" h="1093469">
                <a:moveTo>
                  <a:pt x="1089660" y="546735"/>
                </a:moveTo>
                <a:cubicBezTo>
                  <a:pt x="1089660" y="848689"/>
                  <a:pt x="845731" y="1093470"/>
                  <a:pt x="544830" y="1093470"/>
                </a:cubicBezTo>
                <a:cubicBezTo>
                  <a:pt x="243928" y="1093470"/>
                  <a:pt x="0" y="848689"/>
                  <a:pt x="0" y="546735"/>
                </a:cubicBezTo>
                <a:cubicBezTo>
                  <a:pt x="0" y="244782"/>
                  <a:pt x="243928" y="0"/>
                  <a:pt x="544830" y="0"/>
                </a:cubicBezTo>
                <a:cubicBezTo>
                  <a:pt x="845731" y="0"/>
                  <a:pt x="1089660" y="244782"/>
                  <a:pt x="1089660" y="546735"/>
                </a:cubicBezTo>
                <a:close/>
              </a:path>
            </a:pathLst>
          </a:custGeom>
          <a:solidFill>
            <a:schemeClr val="accent4"/>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4" name="Freeform: Shape 93">
            <a:extLst>
              <a:ext uri="{FF2B5EF4-FFF2-40B4-BE49-F238E27FC236}">
                <a16:creationId xmlns:a16="http://schemas.microsoft.com/office/drawing/2014/main" id="{AAEC3CBC-BE35-440E-83F2-A76B50D17810}"/>
              </a:ext>
            </a:extLst>
          </p:cNvPr>
          <p:cNvSpPr/>
          <p:nvPr/>
        </p:nvSpPr>
        <p:spPr>
          <a:xfrm>
            <a:off x="937622" y="2561452"/>
            <a:ext cx="368996" cy="370286"/>
          </a:xfrm>
          <a:custGeom>
            <a:avLst/>
            <a:gdLst>
              <a:gd name="connsiteX0" fmla="*/ 1089660 w 1089660"/>
              <a:gd name="connsiteY0" fmla="*/ 546735 h 1093469"/>
              <a:gd name="connsiteX1" fmla="*/ 544830 w 1089660"/>
              <a:gd name="connsiteY1" fmla="*/ 1093470 h 1093469"/>
              <a:gd name="connsiteX2" fmla="*/ 0 w 1089660"/>
              <a:gd name="connsiteY2" fmla="*/ 546735 h 1093469"/>
              <a:gd name="connsiteX3" fmla="*/ 544830 w 1089660"/>
              <a:gd name="connsiteY3" fmla="*/ 0 h 1093469"/>
              <a:gd name="connsiteX4" fmla="*/ 1089660 w 1089660"/>
              <a:gd name="connsiteY4" fmla="*/ 546735 h 10934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9660" h="1093469">
                <a:moveTo>
                  <a:pt x="1089660" y="546735"/>
                </a:moveTo>
                <a:cubicBezTo>
                  <a:pt x="1089660" y="848689"/>
                  <a:pt x="845731" y="1093470"/>
                  <a:pt x="544830" y="1093470"/>
                </a:cubicBezTo>
                <a:cubicBezTo>
                  <a:pt x="243928" y="1093470"/>
                  <a:pt x="0" y="848689"/>
                  <a:pt x="0" y="546735"/>
                </a:cubicBezTo>
                <a:cubicBezTo>
                  <a:pt x="0" y="244782"/>
                  <a:pt x="243928" y="0"/>
                  <a:pt x="544830" y="0"/>
                </a:cubicBezTo>
                <a:cubicBezTo>
                  <a:pt x="845731" y="0"/>
                  <a:pt x="1089660" y="244782"/>
                  <a:pt x="1089660" y="546735"/>
                </a:cubicBezTo>
                <a:close/>
              </a:path>
            </a:pathLst>
          </a:custGeom>
          <a:solidFill>
            <a:schemeClr val="accent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5" name="Freeform: Shape 94">
            <a:extLst>
              <a:ext uri="{FF2B5EF4-FFF2-40B4-BE49-F238E27FC236}">
                <a16:creationId xmlns:a16="http://schemas.microsoft.com/office/drawing/2014/main" id="{322A3899-3167-4D8B-9F08-7F6C5835465D}"/>
              </a:ext>
            </a:extLst>
          </p:cNvPr>
          <p:cNvSpPr/>
          <p:nvPr/>
        </p:nvSpPr>
        <p:spPr>
          <a:xfrm>
            <a:off x="2153212" y="2856293"/>
            <a:ext cx="428041" cy="429539"/>
          </a:xfrm>
          <a:custGeom>
            <a:avLst/>
            <a:gdLst>
              <a:gd name="connsiteX0" fmla="*/ 1089660 w 1089660"/>
              <a:gd name="connsiteY0" fmla="*/ 546735 h 1093469"/>
              <a:gd name="connsiteX1" fmla="*/ 544830 w 1089660"/>
              <a:gd name="connsiteY1" fmla="*/ 1093470 h 1093469"/>
              <a:gd name="connsiteX2" fmla="*/ 0 w 1089660"/>
              <a:gd name="connsiteY2" fmla="*/ 546735 h 1093469"/>
              <a:gd name="connsiteX3" fmla="*/ 544830 w 1089660"/>
              <a:gd name="connsiteY3" fmla="*/ 0 h 1093469"/>
              <a:gd name="connsiteX4" fmla="*/ 1089660 w 1089660"/>
              <a:gd name="connsiteY4" fmla="*/ 546735 h 10934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9660" h="1093469">
                <a:moveTo>
                  <a:pt x="1089660" y="546735"/>
                </a:moveTo>
                <a:cubicBezTo>
                  <a:pt x="1089660" y="848689"/>
                  <a:pt x="845731" y="1093470"/>
                  <a:pt x="544830" y="1093470"/>
                </a:cubicBezTo>
                <a:cubicBezTo>
                  <a:pt x="243928" y="1093470"/>
                  <a:pt x="0" y="848689"/>
                  <a:pt x="0" y="546735"/>
                </a:cubicBezTo>
                <a:cubicBezTo>
                  <a:pt x="0" y="244782"/>
                  <a:pt x="243928" y="0"/>
                  <a:pt x="544830" y="0"/>
                </a:cubicBezTo>
                <a:cubicBezTo>
                  <a:pt x="845731" y="0"/>
                  <a:pt x="1089660" y="244782"/>
                  <a:pt x="1089660" y="546735"/>
                </a:cubicBezTo>
                <a:close/>
              </a:path>
            </a:pathLst>
          </a:custGeom>
          <a:solidFill>
            <a:schemeClr val="accent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6" name="Freeform: Shape 95">
            <a:extLst>
              <a:ext uri="{FF2B5EF4-FFF2-40B4-BE49-F238E27FC236}">
                <a16:creationId xmlns:a16="http://schemas.microsoft.com/office/drawing/2014/main" id="{57CDF481-2EF2-44E9-A849-31743FB403D2}"/>
              </a:ext>
            </a:extLst>
          </p:cNvPr>
          <p:cNvSpPr/>
          <p:nvPr/>
        </p:nvSpPr>
        <p:spPr>
          <a:xfrm>
            <a:off x="4455727" y="2051731"/>
            <a:ext cx="285606" cy="286606"/>
          </a:xfrm>
          <a:custGeom>
            <a:avLst/>
            <a:gdLst>
              <a:gd name="connsiteX0" fmla="*/ 1089660 w 1089660"/>
              <a:gd name="connsiteY0" fmla="*/ 546735 h 1093469"/>
              <a:gd name="connsiteX1" fmla="*/ 544830 w 1089660"/>
              <a:gd name="connsiteY1" fmla="*/ 1093470 h 1093469"/>
              <a:gd name="connsiteX2" fmla="*/ 0 w 1089660"/>
              <a:gd name="connsiteY2" fmla="*/ 546735 h 1093469"/>
              <a:gd name="connsiteX3" fmla="*/ 544830 w 1089660"/>
              <a:gd name="connsiteY3" fmla="*/ 0 h 1093469"/>
              <a:gd name="connsiteX4" fmla="*/ 1089660 w 1089660"/>
              <a:gd name="connsiteY4" fmla="*/ 546735 h 10934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9660" h="1093469">
                <a:moveTo>
                  <a:pt x="1089660" y="546735"/>
                </a:moveTo>
                <a:cubicBezTo>
                  <a:pt x="1089660" y="848689"/>
                  <a:pt x="845731" y="1093470"/>
                  <a:pt x="544830" y="1093470"/>
                </a:cubicBezTo>
                <a:cubicBezTo>
                  <a:pt x="243928" y="1093470"/>
                  <a:pt x="0" y="848689"/>
                  <a:pt x="0" y="546735"/>
                </a:cubicBezTo>
                <a:cubicBezTo>
                  <a:pt x="0" y="244782"/>
                  <a:pt x="243928" y="0"/>
                  <a:pt x="544830" y="0"/>
                </a:cubicBezTo>
                <a:cubicBezTo>
                  <a:pt x="845731" y="0"/>
                  <a:pt x="1089660" y="244782"/>
                  <a:pt x="1089660" y="546735"/>
                </a:cubicBezTo>
                <a:close/>
              </a:path>
            </a:pathLst>
          </a:custGeom>
          <a:solidFill>
            <a:schemeClr val="accent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7" name="Freeform: Shape 96">
            <a:extLst>
              <a:ext uri="{FF2B5EF4-FFF2-40B4-BE49-F238E27FC236}">
                <a16:creationId xmlns:a16="http://schemas.microsoft.com/office/drawing/2014/main" id="{63EF1144-9021-4835-ACBB-C8EDB4ABF5F8}"/>
              </a:ext>
            </a:extLst>
          </p:cNvPr>
          <p:cNvSpPr/>
          <p:nvPr/>
        </p:nvSpPr>
        <p:spPr>
          <a:xfrm>
            <a:off x="2025319" y="2182244"/>
            <a:ext cx="209954" cy="210688"/>
          </a:xfrm>
          <a:custGeom>
            <a:avLst/>
            <a:gdLst>
              <a:gd name="connsiteX0" fmla="*/ 1089660 w 1089660"/>
              <a:gd name="connsiteY0" fmla="*/ 546735 h 1093469"/>
              <a:gd name="connsiteX1" fmla="*/ 544830 w 1089660"/>
              <a:gd name="connsiteY1" fmla="*/ 1093470 h 1093469"/>
              <a:gd name="connsiteX2" fmla="*/ 0 w 1089660"/>
              <a:gd name="connsiteY2" fmla="*/ 546735 h 1093469"/>
              <a:gd name="connsiteX3" fmla="*/ 544830 w 1089660"/>
              <a:gd name="connsiteY3" fmla="*/ 0 h 1093469"/>
              <a:gd name="connsiteX4" fmla="*/ 1089660 w 1089660"/>
              <a:gd name="connsiteY4" fmla="*/ 546735 h 10934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9660" h="1093469">
                <a:moveTo>
                  <a:pt x="1089660" y="546735"/>
                </a:moveTo>
                <a:cubicBezTo>
                  <a:pt x="1089660" y="848689"/>
                  <a:pt x="845731" y="1093470"/>
                  <a:pt x="544830" y="1093470"/>
                </a:cubicBezTo>
                <a:cubicBezTo>
                  <a:pt x="243928" y="1093470"/>
                  <a:pt x="0" y="848689"/>
                  <a:pt x="0" y="546735"/>
                </a:cubicBezTo>
                <a:cubicBezTo>
                  <a:pt x="0" y="244782"/>
                  <a:pt x="243928" y="0"/>
                  <a:pt x="544830" y="0"/>
                </a:cubicBezTo>
                <a:cubicBezTo>
                  <a:pt x="845731" y="0"/>
                  <a:pt x="1089660" y="244782"/>
                  <a:pt x="1089660" y="546735"/>
                </a:cubicBezTo>
                <a:close/>
              </a:path>
            </a:pathLst>
          </a:custGeom>
          <a:solidFill>
            <a:schemeClr val="accent4"/>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8" name="Freeform: Shape 97">
            <a:extLst>
              <a:ext uri="{FF2B5EF4-FFF2-40B4-BE49-F238E27FC236}">
                <a16:creationId xmlns:a16="http://schemas.microsoft.com/office/drawing/2014/main" id="{EF95B491-1ADF-43CB-AD36-05C86B72E6D0}"/>
              </a:ext>
            </a:extLst>
          </p:cNvPr>
          <p:cNvSpPr/>
          <p:nvPr/>
        </p:nvSpPr>
        <p:spPr>
          <a:xfrm>
            <a:off x="1650259" y="3693146"/>
            <a:ext cx="260621" cy="261533"/>
          </a:xfrm>
          <a:custGeom>
            <a:avLst/>
            <a:gdLst>
              <a:gd name="connsiteX0" fmla="*/ 1089660 w 1089660"/>
              <a:gd name="connsiteY0" fmla="*/ 546735 h 1093469"/>
              <a:gd name="connsiteX1" fmla="*/ 544830 w 1089660"/>
              <a:gd name="connsiteY1" fmla="*/ 1093470 h 1093469"/>
              <a:gd name="connsiteX2" fmla="*/ 0 w 1089660"/>
              <a:gd name="connsiteY2" fmla="*/ 546735 h 1093469"/>
              <a:gd name="connsiteX3" fmla="*/ 544830 w 1089660"/>
              <a:gd name="connsiteY3" fmla="*/ 0 h 1093469"/>
              <a:gd name="connsiteX4" fmla="*/ 1089660 w 1089660"/>
              <a:gd name="connsiteY4" fmla="*/ 546735 h 10934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9660" h="1093469">
                <a:moveTo>
                  <a:pt x="1089660" y="546735"/>
                </a:moveTo>
                <a:cubicBezTo>
                  <a:pt x="1089660" y="848689"/>
                  <a:pt x="845731" y="1093470"/>
                  <a:pt x="544830" y="1093470"/>
                </a:cubicBezTo>
                <a:cubicBezTo>
                  <a:pt x="243928" y="1093470"/>
                  <a:pt x="0" y="848689"/>
                  <a:pt x="0" y="546735"/>
                </a:cubicBezTo>
                <a:cubicBezTo>
                  <a:pt x="0" y="244782"/>
                  <a:pt x="243928" y="0"/>
                  <a:pt x="544830" y="0"/>
                </a:cubicBezTo>
                <a:cubicBezTo>
                  <a:pt x="845731" y="0"/>
                  <a:pt x="1089660" y="244782"/>
                  <a:pt x="1089660" y="546735"/>
                </a:cubicBezTo>
                <a:close/>
              </a:path>
            </a:pathLst>
          </a:custGeom>
          <a:solidFill>
            <a:schemeClr val="accent4"/>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9" name="Freeform: Shape 98">
            <a:extLst>
              <a:ext uri="{FF2B5EF4-FFF2-40B4-BE49-F238E27FC236}">
                <a16:creationId xmlns:a16="http://schemas.microsoft.com/office/drawing/2014/main" id="{58A91936-A67D-4EEF-94A6-CFA1F14989F0}"/>
              </a:ext>
            </a:extLst>
          </p:cNvPr>
          <p:cNvSpPr/>
          <p:nvPr/>
        </p:nvSpPr>
        <p:spPr>
          <a:xfrm>
            <a:off x="2190243" y="5152620"/>
            <a:ext cx="276131" cy="258490"/>
          </a:xfrm>
          <a:custGeom>
            <a:avLst/>
            <a:gdLst>
              <a:gd name="connsiteX0" fmla="*/ 1089660 w 1089660"/>
              <a:gd name="connsiteY0" fmla="*/ 546735 h 1093469"/>
              <a:gd name="connsiteX1" fmla="*/ 544830 w 1089660"/>
              <a:gd name="connsiteY1" fmla="*/ 1093470 h 1093469"/>
              <a:gd name="connsiteX2" fmla="*/ 0 w 1089660"/>
              <a:gd name="connsiteY2" fmla="*/ 546735 h 1093469"/>
              <a:gd name="connsiteX3" fmla="*/ 544830 w 1089660"/>
              <a:gd name="connsiteY3" fmla="*/ 0 h 1093469"/>
              <a:gd name="connsiteX4" fmla="*/ 1089660 w 1089660"/>
              <a:gd name="connsiteY4" fmla="*/ 546735 h 10934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9660" h="1093469">
                <a:moveTo>
                  <a:pt x="1089660" y="546735"/>
                </a:moveTo>
                <a:cubicBezTo>
                  <a:pt x="1089660" y="848689"/>
                  <a:pt x="845731" y="1093470"/>
                  <a:pt x="544830" y="1093470"/>
                </a:cubicBezTo>
                <a:cubicBezTo>
                  <a:pt x="243928" y="1093470"/>
                  <a:pt x="0" y="848689"/>
                  <a:pt x="0" y="546735"/>
                </a:cubicBezTo>
                <a:cubicBezTo>
                  <a:pt x="0" y="244782"/>
                  <a:pt x="243928" y="0"/>
                  <a:pt x="544830" y="0"/>
                </a:cubicBezTo>
                <a:cubicBezTo>
                  <a:pt x="845731" y="0"/>
                  <a:pt x="1089660" y="244782"/>
                  <a:pt x="1089660" y="546735"/>
                </a:cubicBezTo>
                <a:close/>
              </a:path>
            </a:pathLst>
          </a:custGeom>
          <a:solidFill>
            <a:schemeClr val="accent4"/>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0" name="Freeform: Shape 99">
            <a:extLst>
              <a:ext uri="{FF2B5EF4-FFF2-40B4-BE49-F238E27FC236}">
                <a16:creationId xmlns:a16="http://schemas.microsoft.com/office/drawing/2014/main" id="{BDE5247E-3E32-4D38-BC37-71A44E046111}"/>
              </a:ext>
            </a:extLst>
          </p:cNvPr>
          <p:cNvSpPr/>
          <p:nvPr/>
        </p:nvSpPr>
        <p:spPr>
          <a:xfrm>
            <a:off x="4322300" y="4115208"/>
            <a:ext cx="407184" cy="408609"/>
          </a:xfrm>
          <a:custGeom>
            <a:avLst/>
            <a:gdLst>
              <a:gd name="connsiteX0" fmla="*/ 1089660 w 1089660"/>
              <a:gd name="connsiteY0" fmla="*/ 546735 h 1093469"/>
              <a:gd name="connsiteX1" fmla="*/ 544830 w 1089660"/>
              <a:gd name="connsiteY1" fmla="*/ 1093470 h 1093469"/>
              <a:gd name="connsiteX2" fmla="*/ 0 w 1089660"/>
              <a:gd name="connsiteY2" fmla="*/ 546735 h 1093469"/>
              <a:gd name="connsiteX3" fmla="*/ 544830 w 1089660"/>
              <a:gd name="connsiteY3" fmla="*/ 0 h 1093469"/>
              <a:gd name="connsiteX4" fmla="*/ 1089660 w 1089660"/>
              <a:gd name="connsiteY4" fmla="*/ 546735 h 10934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9660" h="1093469">
                <a:moveTo>
                  <a:pt x="1089660" y="546735"/>
                </a:moveTo>
                <a:cubicBezTo>
                  <a:pt x="1089660" y="848689"/>
                  <a:pt x="845731" y="1093470"/>
                  <a:pt x="544830" y="1093470"/>
                </a:cubicBezTo>
                <a:cubicBezTo>
                  <a:pt x="243928" y="1093470"/>
                  <a:pt x="0" y="848689"/>
                  <a:pt x="0" y="546735"/>
                </a:cubicBezTo>
                <a:cubicBezTo>
                  <a:pt x="0" y="244782"/>
                  <a:pt x="243928" y="0"/>
                  <a:pt x="544830" y="0"/>
                </a:cubicBezTo>
                <a:cubicBezTo>
                  <a:pt x="845731" y="0"/>
                  <a:pt x="1089660" y="244782"/>
                  <a:pt x="1089660" y="546735"/>
                </a:cubicBezTo>
                <a:close/>
              </a:path>
            </a:pathLst>
          </a:custGeom>
          <a:solidFill>
            <a:schemeClr val="accent4"/>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1" name="Freeform: Shape 100">
            <a:extLst>
              <a:ext uri="{FF2B5EF4-FFF2-40B4-BE49-F238E27FC236}">
                <a16:creationId xmlns:a16="http://schemas.microsoft.com/office/drawing/2014/main" id="{F1CC30B1-5BCB-4ACC-ADCA-F6BA9D8B022F}"/>
              </a:ext>
            </a:extLst>
          </p:cNvPr>
          <p:cNvSpPr/>
          <p:nvPr/>
        </p:nvSpPr>
        <p:spPr>
          <a:xfrm>
            <a:off x="4726299" y="3058470"/>
            <a:ext cx="512100" cy="513891"/>
          </a:xfrm>
          <a:custGeom>
            <a:avLst/>
            <a:gdLst>
              <a:gd name="connsiteX0" fmla="*/ 1089660 w 1089660"/>
              <a:gd name="connsiteY0" fmla="*/ 546735 h 1093469"/>
              <a:gd name="connsiteX1" fmla="*/ 544830 w 1089660"/>
              <a:gd name="connsiteY1" fmla="*/ 1093470 h 1093469"/>
              <a:gd name="connsiteX2" fmla="*/ 0 w 1089660"/>
              <a:gd name="connsiteY2" fmla="*/ 546735 h 1093469"/>
              <a:gd name="connsiteX3" fmla="*/ 544830 w 1089660"/>
              <a:gd name="connsiteY3" fmla="*/ 0 h 1093469"/>
              <a:gd name="connsiteX4" fmla="*/ 1089660 w 1089660"/>
              <a:gd name="connsiteY4" fmla="*/ 546735 h 10934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9660" h="1093469">
                <a:moveTo>
                  <a:pt x="1089660" y="546735"/>
                </a:moveTo>
                <a:cubicBezTo>
                  <a:pt x="1089660" y="848689"/>
                  <a:pt x="845731" y="1093470"/>
                  <a:pt x="544830" y="1093470"/>
                </a:cubicBezTo>
                <a:cubicBezTo>
                  <a:pt x="243928" y="1093470"/>
                  <a:pt x="0" y="848689"/>
                  <a:pt x="0" y="546735"/>
                </a:cubicBezTo>
                <a:cubicBezTo>
                  <a:pt x="0" y="244782"/>
                  <a:pt x="243928" y="0"/>
                  <a:pt x="544830" y="0"/>
                </a:cubicBezTo>
                <a:cubicBezTo>
                  <a:pt x="845731" y="0"/>
                  <a:pt x="1089660" y="244782"/>
                  <a:pt x="1089660" y="546735"/>
                </a:cubicBezTo>
                <a:close/>
              </a:path>
            </a:pathLst>
          </a:custGeom>
          <a:solidFill>
            <a:schemeClr val="accent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2" name="Freeform: Shape 101">
            <a:extLst>
              <a:ext uri="{FF2B5EF4-FFF2-40B4-BE49-F238E27FC236}">
                <a16:creationId xmlns:a16="http://schemas.microsoft.com/office/drawing/2014/main" id="{EBBED3E6-15D7-4BEE-A6A9-C99ECC6AA8EE}"/>
              </a:ext>
            </a:extLst>
          </p:cNvPr>
          <p:cNvSpPr/>
          <p:nvPr/>
        </p:nvSpPr>
        <p:spPr>
          <a:xfrm>
            <a:off x="5414460" y="3394653"/>
            <a:ext cx="288664" cy="289675"/>
          </a:xfrm>
          <a:custGeom>
            <a:avLst/>
            <a:gdLst>
              <a:gd name="connsiteX0" fmla="*/ 1089660 w 1089660"/>
              <a:gd name="connsiteY0" fmla="*/ 546735 h 1093469"/>
              <a:gd name="connsiteX1" fmla="*/ 544830 w 1089660"/>
              <a:gd name="connsiteY1" fmla="*/ 1093470 h 1093469"/>
              <a:gd name="connsiteX2" fmla="*/ 0 w 1089660"/>
              <a:gd name="connsiteY2" fmla="*/ 546735 h 1093469"/>
              <a:gd name="connsiteX3" fmla="*/ 544830 w 1089660"/>
              <a:gd name="connsiteY3" fmla="*/ 0 h 1093469"/>
              <a:gd name="connsiteX4" fmla="*/ 1089660 w 1089660"/>
              <a:gd name="connsiteY4" fmla="*/ 546735 h 10934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9660" h="1093469">
                <a:moveTo>
                  <a:pt x="1089660" y="546735"/>
                </a:moveTo>
                <a:cubicBezTo>
                  <a:pt x="1089660" y="848689"/>
                  <a:pt x="845731" y="1093470"/>
                  <a:pt x="544830" y="1093470"/>
                </a:cubicBezTo>
                <a:cubicBezTo>
                  <a:pt x="243928" y="1093470"/>
                  <a:pt x="0" y="848689"/>
                  <a:pt x="0" y="546735"/>
                </a:cubicBezTo>
                <a:cubicBezTo>
                  <a:pt x="0" y="244782"/>
                  <a:pt x="243928" y="0"/>
                  <a:pt x="544830" y="0"/>
                </a:cubicBezTo>
                <a:cubicBezTo>
                  <a:pt x="845731" y="0"/>
                  <a:pt x="1089660" y="244782"/>
                  <a:pt x="1089660" y="546735"/>
                </a:cubicBezTo>
                <a:close/>
              </a:path>
            </a:pathLst>
          </a:custGeom>
          <a:solidFill>
            <a:schemeClr val="accent4">
              <a:alpha val="84000"/>
            </a:scheme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3" name="Freeform: Shape 102">
            <a:extLst>
              <a:ext uri="{FF2B5EF4-FFF2-40B4-BE49-F238E27FC236}">
                <a16:creationId xmlns:a16="http://schemas.microsoft.com/office/drawing/2014/main" id="{12D3F91B-ADAA-4562-85A3-04928B68420C}"/>
              </a:ext>
            </a:extLst>
          </p:cNvPr>
          <p:cNvSpPr/>
          <p:nvPr/>
        </p:nvSpPr>
        <p:spPr>
          <a:xfrm>
            <a:off x="2231175" y="3450280"/>
            <a:ext cx="512100" cy="513891"/>
          </a:xfrm>
          <a:custGeom>
            <a:avLst/>
            <a:gdLst>
              <a:gd name="connsiteX0" fmla="*/ 1089660 w 1089660"/>
              <a:gd name="connsiteY0" fmla="*/ 546735 h 1093469"/>
              <a:gd name="connsiteX1" fmla="*/ 544830 w 1089660"/>
              <a:gd name="connsiteY1" fmla="*/ 1093470 h 1093469"/>
              <a:gd name="connsiteX2" fmla="*/ 0 w 1089660"/>
              <a:gd name="connsiteY2" fmla="*/ 546735 h 1093469"/>
              <a:gd name="connsiteX3" fmla="*/ 544830 w 1089660"/>
              <a:gd name="connsiteY3" fmla="*/ 0 h 1093469"/>
              <a:gd name="connsiteX4" fmla="*/ 1089660 w 1089660"/>
              <a:gd name="connsiteY4" fmla="*/ 546735 h 10934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9660" h="1093469">
                <a:moveTo>
                  <a:pt x="1089660" y="546735"/>
                </a:moveTo>
                <a:cubicBezTo>
                  <a:pt x="1089660" y="848689"/>
                  <a:pt x="845731" y="1093470"/>
                  <a:pt x="544830" y="1093470"/>
                </a:cubicBezTo>
                <a:cubicBezTo>
                  <a:pt x="243928" y="1093470"/>
                  <a:pt x="0" y="848689"/>
                  <a:pt x="0" y="546735"/>
                </a:cubicBezTo>
                <a:cubicBezTo>
                  <a:pt x="0" y="244782"/>
                  <a:pt x="243928" y="0"/>
                  <a:pt x="544830" y="0"/>
                </a:cubicBezTo>
                <a:cubicBezTo>
                  <a:pt x="845731" y="0"/>
                  <a:pt x="1089660" y="244782"/>
                  <a:pt x="1089660" y="546735"/>
                </a:cubicBezTo>
                <a:close/>
              </a:path>
            </a:pathLst>
          </a:custGeom>
          <a:solidFill>
            <a:schemeClr val="accent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4" name="Freeform: Shape 103">
            <a:extLst>
              <a:ext uri="{FF2B5EF4-FFF2-40B4-BE49-F238E27FC236}">
                <a16:creationId xmlns:a16="http://schemas.microsoft.com/office/drawing/2014/main" id="{E68BDCA0-628F-41A8-A815-98867501BBB0}"/>
              </a:ext>
            </a:extLst>
          </p:cNvPr>
          <p:cNvSpPr/>
          <p:nvPr/>
        </p:nvSpPr>
        <p:spPr>
          <a:xfrm>
            <a:off x="4484474" y="3646177"/>
            <a:ext cx="262044" cy="262960"/>
          </a:xfrm>
          <a:custGeom>
            <a:avLst/>
            <a:gdLst>
              <a:gd name="connsiteX0" fmla="*/ 1089660 w 1089660"/>
              <a:gd name="connsiteY0" fmla="*/ 546735 h 1093469"/>
              <a:gd name="connsiteX1" fmla="*/ 544830 w 1089660"/>
              <a:gd name="connsiteY1" fmla="*/ 1093470 h 1093469"/>
              <a:gd name="connsiteX2" fmla="*/ 0 w 1089660"/>
              <a:gd name="connsiteY2" fmla="*/ 546735 h 1093469"/>
              <a:gd name="connsiteX3" fmla="*/ 544830 w 1089660"/>
              <a:gd name="connsiteY3" fmla="*/ 0 h 1093469"/>
              <a:gd name="connsiteX4" fmla="*/ 1089660 w 1089660"/>
              <a:gd name="connsiteY4" fmla="*/ 546735 h 10934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9660" h="1093469">
                <a:moveTo>
                  <a:pt x="1089660" y="546735"/>
                </a:moveTo>
                <a:cubicBezTo>
                  <a:pt x="1089660" y="848689"/>
                  <a:pt x="845731" y="1093470"/>
                  <a:pt x="544830" y="1093470"/>
                </a:cubicBezTo>
                <a:cubicBezTo>
                  <a:pt x="243928" y="1093470"/>
                  <a:pt x="0" y="848689"/>
                  <a:pt x="0" y="546735"/>
                </a:cubicBezTo>
                <a:cubicBezTo>
                  <a:pt x="0" y="244782"/>
                  <a:pt x="243928" y="0"/>
                  <a:pt x="544830" y="0"/>
                </a:cubicBezTo>
                <a:cubicBezTo>
                  <a:pt x="845731" y="0"/>
                  <a:pt x="1089660" y="244782"/>
                  <a:pt x="1089660" y="546735"/>
                </a:cubicBezTo>
                <a:close/>
              </a:path>
            </a:pathLst>
          </a:custGeom>
          <a:solidFill>
            <a:schemeClr val="accent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5" name="Freeform: Shape 104">
            <a:extLst>
              <a:ext uri="{FF2B5EF4-FFF2-40B4-BE49-F238E27FC236}">
                <a16:creationId xmlns:a16="http://schemas.microsoft.com/office/drawing/2014/main" id="{614DBBDA-3DE1-430C-A6AF-C3EBDAA89065}"/>
              </a:ext>
            </a:extLst>
          </p:cNvPr>
          <p:cNvSpPr/>
          <p:nvPr/>
        </p:nvSpPr>
        <p:spPr>
          <a:xfrm>
            <a:off x="5188739" y="2767013"/>
            <a:ext cx="288664" cy="289675"/>
          </a:xfrm>
          <a:custGeom>
            <a:avLst/>
            <a:gdLst>
              <a:gd name="connsiteX0" fmla="*/ 1089660 w 1089660"/>
              <a:gd name="connsiteY0" fmla="*/ 546735 h 1093469"/>
              <a:gd name="connsiteX1" fmla="*/ 544830 w 1089660"/>
              <a:gd name="connsiteY1" fmla="*/ 1093470 h 1093469"/>
              <a:gd name="connsiteX2" fmla="*/ 0 w 1089660"/>
              <a:gd name="connsiteY2" fmla="*/ 546735 h 1093469"/>
              <a:gd name="connsiteX3" fmla="*/ 544830 w 1089660"/>
              <a:gd name="connsiteY3" fmla="*/ 0 h 1093469"/>
              <a:gd name="connsiteX4" fmla="*/ 1089660 w 1089660"/>
              <a:gd name="connsiteY4" fmla="*/ 546735 h 10934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9660" h="1093469">
                <a:moveTo>
                  <a:pt x="1089660" y="546735"/>
                </a:moveTo>
                <a:cubicBezTo>
                  <a:pt x="1089660" y="848689"/>
                  <a:pt x="845731" y="1093470"/>
                  <a:pt x="544830" y="1093470"/>
                </a:cubicBezTo>
                <a:cubicBezTo>
                  <a:pt x="243928" y="1093470"/>
                  <a:pt x="0" y="848689"/>
                  <a:pt x="0" y="546735"/>
                </a:cubicBezTo>
                <a:cubicBezTo>
                  <a:pt x="0" y="244782"/>
                  <a:pt x="243928" y="0"/>
                  <a:pt x="544830" y="0"/>
                </a:cubicBezTo>
                <a:cubicBezTo>
                  <a:pt x="845731" y="0"/>
                  <a:pt x="1089660" y="244782"/>
                  <a:pt x="1089660" y="546735"/>
                </a:cubicBezTo>
                <a:close/>
              </a:path>
            </a:pathLst>
          </a:custGeom>
          <a:solidFill>
            <a:schemeClr val="accent4">
              <a:alpha val="84000"/>
            </a:scheme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6" name="Rounded Rectangle 226">
            <a:extLst>
              <a:ext uri="{FF2B5EF4-FFF2-40B4-BE49-F238E27FC236}">
                <a16:creationId xmlns:a16="http://schemas.microsoft.com/office/drawing/2014/main" id="{F90D9A9D-DA5C-4357-AEDC-F3CEA81BA621}"/>
              </a:ext>
            </a:extLst>
          </p:cNvPr>
          <p:cNvSpPr/>
          <p:nvPr/>
        </p:nvSpPr>
        <p:spPr>
          <a:xfrm rot="5400000">
            <a:off x="8706897" y="637370"/>
            <a:ext cx="310278" cy="5002245"/>
          </a:xfrm>
          <a:prstGeom prst="roundRect">
            <a:avLst>
              <a:gd name="adj" fmla="val 50000"/>
            </a:avLst>
          </a:prstGeom>
          <a:solidFill>
            <a:schemeClr val="bg1">
              <a:lumMod val="50000"/>
              <a:alpha val="20000"/>
            </a:schemeClr>
          </a:solidFill>
          <a:ln w="79375">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FFFFFF"/>
              </a:solidFill>
              <a:effectLst/>
              <a:uLnTx/>
              <a:uFillTx/>
              <a:latin typeface="等线" panose="020F0502020204030204"/>
              <a:ea typeface="+mn-ea"/>
              <a:cs typeface="+mn-cs"/>
            </a:endParaRPr>
          </a:p>
        </p:txBody>
      </p:sp>
      <p:sp>
        <p:nvSpPr>
          <p:cNvPr id="37" name="Rounded Rectangle 227">
            <a:extLst>
              <a:ext uri="{FF2B5EF4-FFF2-40B4-BE49-F238E27FC236}">
                <a16:creationId xmlns:a16="http://schemas.microsoft.com/office/drawing/2014/main" id="{75BA7AF2-3DE2-4117-8E7F-5FD70154BC65}"/>
              </a:ext>
            </a:extLst>
          </p:cNvPr>
          <p:cNvSpPr/>
          <p:nvPr/>
        </p:nvSpPr>
        <p:spPr>
          <a:xfrm>
            <a:off x="6360913" y="2983354"/>
            <a:ext cx="3086873" cy="310278"/>
          </a:xfrm>
          <a:prstGeom prst="roundRect">
            <a:avLst>
              <a:gd name="adj" fmla="val 50000"/>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wrap="none" tIns="121920" bIns="121920" rtlCol="0" anchor="ctr" anchorCtr="0"/>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F0F0F0"/>
              </a:solidFill>
              <a:effectLst/>
              <a:uLnTx/>
              <a:uFillTx/>
              <a:latin typeface="等线 Light" panose="020F0302020204030204"/>
              <a:ea typeface="+mn-ea"/>
              <a:cs typeface="+mn-cs"/>
            </a:endParaRPr>
          </a:p>
        </p:txBody>
      </p:sp>
      <p:sp>
        <p:nvSpPr>
          <p:cNvPr id="38" name="Rectangle 114">
            <a:extLst>
              <a:ext uri="{FF2B5EF4-FFF2-40B4-BE49-F238E27FC236}">
                <a16:creationId xmlns:a16="http://schemas.microsoft.com/office/drawing/2014/main" id="{BFB2F538-33A6-4AE5-AA52-871A5C1B9239}"/>
              </a:ext>
            </a:extLst>
          </p:cNvPr>
          <p:cNvSpPr/>
          <p:nvPr/>
        </p:nvSpPr>
        <p:spPr>
          <a:xfrm>
            <a:off x="6360913" y="2680971"/>
            <a:ext cx="1176925" cy="297004"/>
          </a:xfrm>
          <a:prstGeom prst="rect">
            <a:avLst/>
          </a:prstGeom>
        </p:spPr>
        <p:txBody>
          <a:bodyPr wrap="none">
            <a:spAutoFit/>
          </a:bodyPr>
          <a:lstStyle/>
          <a:p>
            <a:pPr marL="0" marR="0" lvl="0" indent="0" algn="r" defTabSz="914400" rtl="0" eaLnBrk="1" fontAlgn="auto" latinLnBrk="0" hangingPunct="1">
              <a:lnSpc>
                <a:spcPct val="95000"/>
              </a:lnSpc>
              <a:spcBef>
                <a:spcPts val="0"/>
              </a:spcBef>
              <a:spcAft>
                <a:spcPts val="0"/>
              </a:spcAft>
              <a:buClrTx/>
              <a:buSzTx/>
              <a:buFontTx/>
              <a:buNone/>
              <a:tabLst/>
              <a:defRPr/>
            </a:pPr>
            <a:r>
              <a:rPr kumimoji="0" lang="id-ID" sz="1400" b="1" i="0" u="none" strike="noStrike" kern="1200" cap="none" spc="0" normalizeH="0" baseline="0" noProof="0" dirty="0">
                <a:ln>
                  <a:noFill/>
                </a:ln>
                <a:solidFill>
                  <a:srgbClr val="000000"/>
                </a:solidFill>
                <a:effectLst/>
                <a:uLnTx/>
                <a:uFillTx/>
                <a:latin typeface="等线 Light" panose="020F0302020204030204"/>
                <a:ea typeface="+mn-ea"/>
                <a:cs typeface="+mn-cs"/>
              </a:rPr>
              <a:t>Description</a:t>
            </a:r>
            <a:endParaRPr kumimoji="0" lang="en-US" sz="1400" b="1" i="0" u="none" strike="noStrike" kern="1200" cap="none" spc="0" normalizeH="0" baseline="0" noProof="0" dirty="0">
              <a:ln>
                <a:noFill/>
              </a:ln>
              <a:solidFill>
                <a:srgbClr val="000000"/>
              </a:solidFill>
              <a:effectLst/>
              <a:uLnTx/>
              <a:uFillTx/>
              <a:latin typeface="等线 Light" panose="020F0302020204030204"/>
              <a:ea typeface="+mn-ea"/>
              <a:cs typeface="+mn-cs"/>
            </a:endParaRPr>
          </a:p>
        </p:txBody>
      </p:sp>
      <p:sp>
        <p:nvSpPr>
          <p:cNvPr id="39" name="Rounded Rectangle 226">
            <a:extLst>
              <a:ext uri="{FF2B5EF4-FFF2-40B4-BE49-F238E27FC236}">
                <a16:creationId xmlns:a16="http://schemas.microsoft.com/office/drawing/2014/main" id="{2C2ED508-1385-4583-8429-82F36512AF64}"/>
              </a:ext>
            </a:extLst>
          </p:cNvPr>
          <p:cNvSpPr/>
          <p:nvPr/>
        </p:nvSpPr>
        <p:spPr>
          <a:xfrm rot="5400000">
            <a:off x="8706897" y="1477371"/>
            <a:ext cx="310278" cy="5002245"/>
          </a:xfrm>
          <a:prstGeom prst="roundRect">
            <a:avLst>
              <a:gd name="adj" fmla="val 50000"/>
            </a:avLst>
          </a:prstGeom>
          <a:solidFill>
            <a:schemeClr val="bg1">
              <a:lumMod val="50000"/>
              <a:alpha val="20000"/>
            </a:schemeClr>
          </a:solidFill>
          <a:ln w="79375">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FFFFFF"/>
              </a:solidFill>
              <a:effectLst/>
              <a:uLnTx/>
              <a:uFillTx/>
              <a:latin typeface="等线" panose="020F0502020204030204"/>
              <a:ea typeface="+mn-ea"/>
              <a:cs typeface="+mn-cs"/>
            </a:endParaRPr>
          </a:p>
        </p:txBody>
      </p:sp>
      <p:sp>
        <p:nvSpPr>
          <p:cNvPr id="40" name="Rounded Rectangle 227">
            <a:extLst>
              <a:ext uri="{FF2B5EF4-FFF2-40B4-BE49-F238E27FC236}">
                <a16:creationId xmlns:a16="http://schemas.microsoft.com/office/drawing/2014/main" id="{35CDBB6C-FE98-40CF-BF98-04F159A23220}"/>
              </a:ext>
            </a:extLst>
          </p:cNvPr>
          <p:cNvSpPr/>
          <p:nvPr/>
        </p:nvSpPr>
        <p:spPr>
          <a:xfrm>
            <a:off x="6360913" y="3823355"/>
            <a:ext cx="4114162" cy="310278"/>
          </a:xfrm>
          <a:prstGeom prst="roundRect">
            <a:avLst>
              <a:gd name="adj" fmla="val 50000"/>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wrap="none" tIns="121920" bIns="121920" rtlCol="0" anchor="ctr" anchorCtr="0"/>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F0F0F0"/>
              </a:solidFill>
              <a:effectLst/>
              <a:uLnTx/>
              <a:uFillTx/>
              <a:latin typeface="等线 Light" panose="020F0302020204030204"/>
              <a:ea typeface="+mn-ea"/>
              <a:cs typeface="+mn-cs"/>
            </a:endParaRPr>
          </a:p>
        </p:txBody>
      </p:sp>
      <p:sp>
        <p:nvSpPr>
          <p:cNvPr id="41" name="Rectangle 135">
            <a:extLst>
              <a:ext uri="{FF2B5EF4-FFF2-40B4-BE49-F238E27FC236}">
                <a16:creationId xmlns:a16="http://schemas.microsoft.com/office/drawing/2014/main" id="{50BAD512-BA2B-4516-B432-2F07D5F92B0D}"/>
              </a:ext>
            </a:extLst>
          </p:cNvPr>
          <p:cNvSpPr/>
          <p:nvPr/>
        </p:nvSpPr>
        <p:spPr>
          <a:xfrm>
            <a:off x="6360913" y="3520972"/>
            <a:ext cx="1176925" cy="297004"/>
          </a:xfrm>
          <a:prstGeom prst="rect">
            <a:avLst/>
          </a:prstGeom>
        </p:spPr>
        <p:txBody>
          <a:bodyPr wrap="none">
            <a:spAutoFit/>
          </a:bodyPr>
          <a:lstStyle/>
          <a:p>
            <a:pPr marL="0" marR="0" lvl="0" indent="0" algn="r" defTabSz="914400" rtl="0" eaLnBrk="1" fontAlgn="auto" latinLnBrk="0" hangingPunct="1">
              <a:lnSpc>
                <a:spcPct val="95000"/>
              </a:lnSpc>
              <a:spcBef>
                <a:spcPts val="0"/>
              </a:spcBef>
              <a:spcAft>
                <a:spcPts val="0"/>
              </a:spcAft>
              <a:buClrTx/>
              <a:buSzTx/>
              <a:buFontTx/>
              <a:buNone/>
              <a:tabLst/>
              <a:defRPr/>
            </a:pPr>
            <a:r>
              <a:rPr kumimoji="0" lang="id-ID" sz="1400" b="1" i="0" u="none" strike="noStrike" kern="1200" cap="none" spc="0" normalizeH="0" baseline="0" noProof="0" dirty="0">
                <a:ln>
                  <a:noFill/>
                </a:ln>
                <a:solidFill>
                  <a:srgbClr val="000000"/>
                </a:solidFill>
                <a:effectLst/>
                <a:uLnTx/>
                <a:uFillTx/>
                <a:latin typeface="等线 Light" panose="020F0302020204030204"/>
                <a:ea typeface="+mn-ea"/>
                <a:cs typeface="+mn-cs"/>
              </a:rPr>
              <a:t>Description</a:t>
            </a:r>
            <a:endParaRPr kumimoji="0" lang="en-US" sz="1400" b="1" i="0" u="none" strike="noStrike" kern="1200" cap="none" spc="0" normalizeH="0" baseline="0" noProof="0" dirty="0">
              <a:ln>
                <a:noFill/>
              </a:ln>
              <a:solidFill>
                <a:srgbClr val="000000"/>
              </a:solidFill>
              <a:effectLst/>
              <a:uLnTx/>
              <a:uFillTx/>
              <a:latin typeface="等线 Light" panose="020F0302020204030204"/>
              <a:ea typeface="+mn-ea"/>
              <a:cs typeface="+mn-cs"/>
            </a:endParaRPr>
          </a:p>
        </p:txBody>
      </p:sp>
      <p:sp>
        <p:nvSpPr>
          <p:cNvPr id="42" name="Rounded Rectangle 226">
            <a:extLst>
              <a:ext uri="{FF2B5EF4-FFF2-40B4-BE49-F238E27FC236}">
                <a16:creationId xmlns:a16="http://schemas.microsoft.com/office/drawing/2014/main" id="{596F27C6-C3FC-40D4-BE74-ACF36BCB062F}"/>
              </a:ext>
            </a:extLst>
          </p:cNvPr>
          <p:cNvSpPr/>
          <p:nvPr/>
        </p:nvSpPr>
        <p:spPr>
          <a:xfrm rot="5400000">
            <a:off x="8706897" y="2317372"/>
            <a:ext cx="310278" cy="5002245"/>
          </a:xfrm>
          <a:prstGeom prst="roundRect">
            <a:avLst>
              <a:gd name="adj" fmla="val 50000"/>
            </a:avLst>
          </a:prstGeom>
          <a:solidFill>
            <a:schemeClr val="bg1">
              <a:lumMod val="50000"/>
              <a:alpha val="20000"/>
            </a:schemeClr>
          </a:solidFill>
          <a:ln w="79375">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FFFFFF"/>
              </a:solidFill>
              <a:effectLst/>
              <a:uLnTx/>
              <a:uFillTx/>
              <a:latin typeface="等线" panose="020F0502020204030204"/>
              <a:ea typeface="+mn-ea"/>
              <a:cs typeface="+mn-cs"/>
            </a:endParaRPr>
          </a:p>
        </p:txBody>
      </p:sp>
      <p:sp>
        <p:nvSpPr>
          <p:cNvPr id="43" name="Rounded Rectangle 227">
            <a:extLst>
              <a:ext uri="{FF2B5EF4-FFF2-40B4-BE49-F238E27FC236}">
                <a16:creationId xmlns:a16="http://schemas.microsoft.com/office/drawing/2014/main" id="{66E97AF8-56F9-44FB-A572-EF6EB5FC029B}"/>
              </a:ext>
            </a:extLst>
          </p:cNvPr>
          <p:cNvSpPr/>
          <p:nvPr/>
        </p:nvSpPr>
        <p:spPr>
          <a:xfrm>
            <a:off x="6360913" y="4663356"/>
            <a:ext cx="3605963" cy="310278"/>
          </a:xfrm>
          <a:prstGeom prst="roundRect">
            <a:avLst>
              <a:gd name="adj" fmla="val 50000"/>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wrap="none" tIns="121920" bIns="121920" rtlCol="0" anchor="ctr" anchorCtr="0"/>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F0F0F0"/>
              </a:solidFill>
              <a:effectLst/>
              <a:uLnTx/>
              <a:uFillTx/>
              <a:latin typeface="等线 Light" panose="020F0302020204030204"/>
              <a:ea typeface="+mn-ea"/>
              <a:cs typeface="+mn-cs"/>
            </a:endParaRPr>
          </a:p>
        </p:txBody>
      </p:sp>
      <p:sp>
        <p:nvSpPr>
          <p:cNvPr id="44" name="Rectangle 138">
            <a:extLst>
              <a:ext uri="{FF2B5EF4-FFF2-40B4-BE49-F238E27FC236}">
                <a16:creationId xmlns:a16="http://schemas.microsoft.com/office/drawing/2014/main" id="{B9230307-B7F0-4E01-BD09-A3E70F8315A5}"/>
              </a:ext>
            </a:extLst>
          </p:cNvPr>
          <p:cNvSpPr/>
          <p:nvPr/>
        </p:nvSpPr>
        <p:spPr>
          <a:xfrm>
            <a:off x="6360913" y="4360973"/>
            <a:ext cx="1176925" cy="297004"/>
          </a:xfrm>
          <a:prstGeom prst="rect">
            <a:avLst/>
          </a:prstGeom>
        </p:spPr>
        <p:txBody>
          <a:bodyPr wrap="none">
            <a:spAutoFit/>
          </a:bodyPr>
          <a:lstStyle/>
          <a:p>
            <a:pPr marL="0" marR="0" lvl="0" indent="0" algn="r" defTabSz="914400" rtl="0" eaLnBrk="1" fontAlgn="auto" latinLnBrk="0" hangingPunct="1">
              <a:lnSpc>
                <a:spcPct val="95000"/>
              </a:lnSpc>
              <a:spcBef>
                <a:spcPts val="0"/>
              </a:spcBef>
              <a:spcAft>
                <a:spcPts val="0"/>
              </a:spcAft>
              <a:buClrTx/>
              <a:buSzTx/>
              <a:buFontTx/>
              <a:buNone/>
              <a:tabLst/>
              <a:defRPr/>
            </a:pPr>
            <a:r>
              <a:rPr kumimoji="0" lang="id-ID" sz="1400" b="1" i="0" u="none" strike="noStrike" kern="1200" cap="none" spc="0" normalizeH="0" baseline="0" noProof="0" dirty="0">
                <a:ln>
                  <a:noFill/>
                </a:ln>
                <a:solidFill>
                  <a:srgbClr val="000000"/>
                </a:solidFill>
                <a:effectLst/>
                <a:uLnTx/>
                <a:uFillTx/>
                <a:latin typeface="等线 Light" panose="020F0302020204030204"/>
                <a:ea typeface="+mn-ea"/>
                <a:cs typeface="+mn-cs"/>
              </a:rPr>
              <a:t>Description</a:t>
            </a:r>
            <a:endParaRPr kumimoji="0" lang="en-US" sz="1400" b="1" i="0" u="none" strike="noStrike" kern="1200" cap="none" spc="0" normalizeH="0" baseline="0" noProof="0" dirty="0">
              <a:ln>
                <a:noFill/>
              </a:ln>
              <a:solidFill>
                <a:srgbClr val="000000"/>
              </a:solidFill>
              <a:effectLst/>
              <a:uLnTx/>
              <a:uFillTx/>
              <a:latin typeface="等线 Light" panose="020F0302020204030204"/>
              <a:ea typeface="+mn-ea"/>
              <a:cs typeface="+mn-cs"/>
            </a:endParaRPr>
          </a:p>
        </p:txBody>
      </p:sp>
      <p:sp>
        <p:nvSpPr>
          <p:cNvPr id="45" name="Rounded Rectangle 226">
            <a:extLst>
              <a:ext uri="{FF2B5EF4-FFF2-40B4-BE49-F238E27FC236}">
                <a16:creationId xmlns:a16="http://schemas.microsoft.com/office/drawing/2014/main" id="{33813F9C-CDA6-459F-84C5-B97F8F17A968}"/>
              </a:ext>
            </a:extLst>
          </p:cNvPr>
          <p:cNvSpPr/>
          <p:nvPr/>
        </p:nvSpPr>
        <p:spPr>
          <a:xfrm rot="5400000">
            <a:off x="8706897" y="3157373"/>
            <a:ext cx="310278" cy="5002245"/>
          </a:xfrm>
          <a:prstGeom prst="roundRect">
            <a:avLst>
              <a:gd name="adj" fmla="val 50000"/>
            </a:avLst>
          </a:prstGeom>
          <a:solidFill>
            <a:schemeClr val="bg1">
              <a:lumMod val="50000"/>
              <a:alpha val="20000"/>
            </a:schemeClr>
          </a:solidFill>
          <a:ln w="79375">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FFFFFF"/>
              </a:solidFill>
              <a:effectLst/>
              <a:uLnTx/>
              <a:uFillTx/>
              <a:latin typeface="等线" panose="020F0502020204030204"/>
              <a:ea typeface="+mn-ea"/>
              <a:cs typeface="+mn-cs"/>
            </a:endParaRPr>
          </a:p>
        </p:txBody>
      </p:sp>
      <p:sp>
        <p:nvSpPr>
          <p:cNvPr id="46" name="Rounded Rectangle 227">
            <a:extLst>
              <a:ext uri="{FF2B5EF4-FFF2-40B4-BE49-F238E27FC236}">
                <a16:creationId xmlns:a16="http://schemas.microsoft.com/office/drawing/2014/main" id="{39B7F032-FE60-4BFC-B325-77DC5351DFAF}"/>
              </a:ext>
            </a:extLst>
          </p:cNvPr>
          <p:cNvSpPr/>
          <p:nvPr/>
        </p:nvSpPr>
        <p:spPr>
          <a:xfrm>
            <a:off x="6360913" y="5503357"/>
            <a:ext cx="4751532" cy="310278"/>
          </a:xfrm>
          <a:prstGeom prst="roundRect">
            <a:avLst>
              <a:gd name="adj" fmla="val 50000"/>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wrap="none" tIns="121920" bIns="121920" rtlCol="0" anchor="ctr" anchorCtr="0"/>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F0F0F0"/>
              </a:solidFill>
              <a:effectLst/>
              <a:uLnTx/>
              <a:uFillTx/>
              <a:latin typeface="等线 Light" panose="020F0302020204030204"/>
              <a:ea typeface="+mn-ea"/>
              <a:cs typeface="+mn-cs"/>
            </a:endParaRPr>
          </a:p>
        </p:txBody>
      </p:sp>
      <p:sp>
        <p:nvSpPr>
          <p:cNvPr id="47" name="Rectangle 141">
            <a:extLst>
              <a:ext uri="{FF2B5EF4-FFF2-40B4-BE49-F238E27FC236}">
                <a16:creationId xmlns:a16="http://schemas.microsoft.com/office/drawing/2014/main" id="{084F5E9C-4A18-4F24-A1F6-5902F292E3B9}"/>
              </a:ext>
            </a:extLst>
          </p:cNvPr>
          <p:cNvSpPr/>
          <p:nvPr/>
        </p:nvSpPr>
        <p:spPr>
          <a:xfrm>
            <a:off x="6360913" y="5200974"/>
            <a:ext cx="1176925" cy="297004"/>
          </a:xfrm>
          <a:prstGeom prst="rect">
            <a:avLst/>
          </a:prstGeom>
        </p:spPr>
        <p:txBody>
          <a:bodyPr wrap="none">
            <a:spAutoFit/>
          </a:bodyPr>
          <a:lstStyle/>
          <a:p>
            <a:pPr marL="0" marR="0" lvl="0" indent="0" algn="r" defTabSz="914400" rtl="0" eaLnBrk="1" fontAlgn="auto" latinLnBrk="0" hangingPunct="1">
              <a:lnSpc>
                <a:spcPct val="95000"/>
              </a:lnSpc>
              <a:spcBef>
                <a:spcPts val="0"/>
              </a:spcBef>
              <a:spcAft>
                <a:spcPts val="0"/>
              </a:spcAft>
              <a:buClrTx/>
              <a:buSzTx/>
              <a:buFontTx/>
              <a:buNone/>
              <a:tabLst/>
              <a:defRPr/>
            </a:pPr>
            <a:r>
              <a:rPr kumimoji="0" lang="id-ID" sz="1400" b="1" i="0" u="none" strike="noStrike" kern="1200" cap="none" spc="0" normalizeH="0" baseline="0" noProof="0" dirty="0">
                <a:ln>
                  <a:noFill/>
                </a:ln>
                <a:solidFill>
                  <a:srgbClr val="000000"/>
                </a:solidFill>
                <a:effectLst/>
                <a:uLnTx/>
                <a:uFillTx/>
                <a:latin typeface="等线 Light" panose="020F0302020204030204"/>
                <a:ea typeface="+mn-ea"/>
                <a:cs typeface="+mn-cs"/>
              </a:rPr>
              <a:t>Description</a:t>
            </a:r>
            <a:endParaRPr kumimoji="0" lang="en-US" sz="1400" b="1" i="0" u="none" strike="noStrike" kern="1200" cap="none" spc="0" normalizeH="0" baseline="0" noProof="0" dirty="0">
              <a:ln>
                <a:noFill/>
              </a:ln>
              <a:solidFill>
                <a:srgbClr val="000000"/>
              </a:solidFill>
              <a:effectLst/>
              <a:uLnTx/>
              <a:uFillTx/>
              <a:latin typeface="等线 Light" panose="020F0302020204030204"/>
              <a:ea typeface="+mn-ea"/>
              <a:cs typeface="+mn-cs"/>
            </a:endParaRPr>
          </a:p>
        </p:txBody>
      </p:sp>
      <p:sp>
        <p:nvSpPr>
          <p:cNvPr id="48" name="TextBox 142">
            <a:extLst>
              <a:ext uri="{FF2B5EF4-FFF2-40B4-BE49-F238E27FC236}">
                <a16:creationId xmlns:a16="http://schemas.microsoft.com/office/drawing/2014/main" id="{8CB37F13-1DBB-46D2-8A0A-FA280C1AB687}"/>
              </a:ext>
            </a:extLst>
          </p:cNvPr>
          <p:cNvSpPr txBox="1"/>
          <p:nvPr/>
        </p:nvSpPr>
        <p:spPr>
          <a:xfrm>
            <a:off x="6371177" y="2194721"/>
            <a:ext cx="5087398" cy="340158"/>
          </a:xfrm>
          <a:prstGeom prst="rect">
            <a:avLst/>
          </a:prstGeom>
          <a:noFill/>
        </p:spPr>
        <p:txBody>
          <a:bodyPr wrap="square" rtlCol="0">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等线" panose="020F0502020204030204"/>
                <a:ea typeface="+mn-ea"/>
                <a:cs typeface="+mn-cs"/>
              </a:rPr>
              <a:t>A wonderful serenity has taken possession of my entire soul, like these for.</a:t>
            </a:r>
            <a:endPar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49" name="TextBox 143">
            <a:extLst>
              <a:ext uri="{FF2B5EF4-FFF2-40B4-BE49-F238E27FC236}">
                <a16:creationId xmlns:a16="http://schemas.microsoft.com/office/drawing/2014/main" id="{CBFDA89D-41FA-4101-B6AB-BFB7CCA842CA}"/>
              </a:ext>
            </a:extLst>
          </p:cNvPr>
          <p:cNvSpPr txBox="1"/>
          <p:nvPr/>
        </p:nvSpPr>
        <p:spPr>
          <a:xfrm>
            <a:off x="6371177" y="1795885"/>
            <a:ext cx="2464136" cy="4001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等线 Light" panose="020F0302020204030204"/>
                <a:ea typeface="+mn-ea"/>
                <a:cs typeface="+mn-cs"/>
              </a:rPr>
              <a:t>Branches Analysis</a:t>
            </a:r>
            <a:endParaRPr kumimoji="0" lang="id-ID" sz="2000" b="1" i="0" u="none" strike="noStrike" kern="1200" cap="none" spc="0" normalizeH="0" baseline="0" noProof="0" dirty="0">
              <a:ln>
                <a:noFill/>
              </a:ln>
              <a:solidFill>
                <a:srgbClr val="000000"/>
              </a:solidFill>
              <a:effectLst/>
              <a:uLnTx/>
              <a:uFillTx/>
              <a:latin typeface="等线 Light" panose="020F0302020204030204"/>
              <a:ea typeface="+mn-ea"/>
              <a:cs typeface="+mn-cs"/>
            </a:endParaRPr>
          </a:p>
        </p:txBody>
      </p:sp>
      <p:sp>
        <p:nvSpPr>
          <p:cNvPr id="50" name="Rectangle 146">
            <a:extLst>
              <a:ext uri="{FF2B5EF4-FFF2-40B4-BE49-F238E27FC236}">
                <a16:creationId xmlns:a16="http://schemas.microsoft.com/office/drawing/2014/main" id="{7EC4868C-BE00-4B30-BAF7-BFA5710105AC}"/>
              </a:ext>
            </a:extLst>
          </p:cNvPr>
          <p:cNvSpPr/>
          <p:nvPr/>
        </p:nvSpPr>
        <p:spPr>
          <a:xfrm>
            <a:off x="10836956" y="2680971"/>
            <a:ext cx="516488" cy="297004"/>
          </a:xfrm>
          <a:prstGeom prst="rect">
            <a:avLst/>
          </a:prstGeom>
        </p:spPr>
        <p:txBody>
          <a:bodyPr wrap="none">
            <a:spAutoFit/>
          </a:bodyPr>
          <a:lstStyle/>
          <a:p>
            <a:pPr marL="0" marR="0" lvl="0" indent="0" algn="ctr" defTabSz="914400" rtl="0" eaLnBrk="1" fontAlgn="auto" latinLnBrk="0" hangingPunct="1">
              <a:lnSpc>
                <a:spcPct val="95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等线 Light" panose="020F0302020204030204"/>
                <a:ea typeface="+mn-ea"/>
                <a:cs typeface="+mn-cs"/>
              </a:rPr>
              <a:t>60%</a:t>
            </a:r>
            <a:endParaRPr kumimoji="0" lang="en-US" sz="1400" b="1" i="0" u="none" strike="noStrike" kern="1200" cap="none" spc="0" normalizeH="0" baseline="0" noProof="0" dirty="0">
              <a:ln>
                <a:noFill/>
              </a:ln>
              <a:solidFill>
                <a:srgbClr val="000000"/>
              </a:solidFill>
              <a:effectLst/>
              <a:uLnTx/>
              <a:uFillTx/>
              <a:latin typeface="等线 Light" panose="020F0302020204030204"/>
              <a:ea typeface="+mn-ea"/>
              <a:cs typeface="+mn-cs"/>
            </a:endParaRPr>
          </a:p>
        </p:txBody>
      </p:sp>
      <p:sp>
        <p:nvSpPr>
          <p:cNvPr id="51" name="Rectangle 147">
            <a:extLst>
              <a:ext uri="{FF2B5EF4-FFF2-40B4-BE49-F238E27FC236}">
                <a16:creationId xmlns:a16="http://schemas.microsoft.com/office/drawing/2014/main" id="{CE320C90-3159-45A0-A0E1-39F8599DE274}"/>
              </a:ext>
            </a:extLst>
          </p:cNvPr>
          <p:cNvSpPr/>
          <p:nvPr/>
        </p:nvSpPr>
        <p:spPr>
          <a:xfrm>
            <a:off x="10840162" y="3520972"/>
            <a:ext cx="510076" cy="297004"/>
          </a:xfrm>
          <a:prstGeom prst="rect">
            <a:avLst/>
          </a:prstGeom>
        </p:spPr>
        <p:txBody>
          <a:bodyPr wrap="none">
            <a:spAutoFit/>
          </a:bodyPr>
          <a:lstStyle/>
          <a:p>
            <a:pPr marL="0" marR="0" lvl="0" indent="0" algn="ctr" defTabSz="914400" rtl="0" eaLnBrk="1" fontAlgn="auto" latinLnBrk="0" hangingPunct="1">
              <a:lnSpc>
                <a:spcPct val="95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等线 Light" panose="020F0302020204030204"/>
                <a:ea typeface="+mn-ea"/>
                <a:cs typeface="+mn-cs"/>
              </a:rPr>
              <a:t>80%</a:t>
            </a:r>
            <a:endParaRPr kumimoji="0" lang="en-US" sz="1400" b="1" i="0" u="none" strike="noStrike" kern="1200" cap="none" spc="0" normalizeH="0" baseline="0" noProof="0" dirty="0">
              <a:ln>
                <a:noFill/>
              </a:ln>
              <a:solidFill>
                <a:srgbClr val="000000"/>
              </a:solidFill>
              <a:effectLst/>
              <a:uLnTx/>
              <a:uFillTx/>
              <a:latin typeface="等线 Light" panose="020F0302020204030204"/>
              <a:ea typeface="+mn-ea"/>
              <a:cs typeface="+mn-cs"/>
            </a:endParaRPr>
          </a:p>
        </p:txBody>
      </p:sp>
      <p:sp>
        <p:nvSpPr>
          <p:cNvPr id="52" name="Rectangle 148">
            <a:extLst>
              <a:ext uri="{FF2B5EF4-FFF2-40B4-BE49-F238E27FC236}">
                <a16:creationId xmlns:a16="http://schemas.microsoft.com/office/drawing/2014/main" id="{09551733-57A2-40EA-8558-87DC599199DC}"/>
              </a:ext>
            </a:extLst>
          </p:cNvPr>
          <p:cNvSpPr/>
          <p:nvPr/>
        </p:nvSpPr>
        <p:spPr>
          <a:xfrm>
            <a:off x="10843368" y="4356350"/>
            <a:ext cx="503663" cy="297004"/>
          </a:xfrm>
          <a:prstGeom prst="rect">
            <a:avLst/>
          </a:prstGeom>
        </p:spPr>
        <p:txBody>
          <a:bodyPr wrap="none">
            <a:spAutoFit/>
          </a:bodyPr>
          <a:lstStyle/>
          <a:p>
            <a:pPr marL="0" marR="0" lvl="0" indent="0" algn="ctr" defTabSz="914400" rtl="0" eaLnBrk="1" fontAlgn="auto" latinLnBrk="0" hangingPunct="1">
              <a:lnSpc>
                <a:spcPct val="95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等线 Light" panose="020F0302020204030204"/>
                <a:ea typeface="+mn-ea"/>
                <a:cs typeface="+mn-cs"/>
              </a:rPr>
              <a:t>75%</a:t>
            </a:r>
            <a:endParaRPr kumimoji="0" lang="en-US" sz="1400" b="1" i="0" u="none" strike="noStrike" kern="1200" cap="none" spc="0" normalizeH="0" baseline="0" noProof="0" dirty="0">
              <a:ln>
                <a:noFill/>
              </a:ln>
              <a:solidFill>
                <a:srgbClr val="000000"/>
              </a:solidFill>
              <a:effectLst/>
              <a:uLnTx/>
              <a:uFillTx/>
              <a:latin typeface="等线 Light" panose="020F0302020204030204"/>
              <a:ea typeface="+mn-ea"/>
              <a:cs typeface="+mn-cs"/>
            </a:endParaRPr>
          </a:p>
        </p:txBody>
      </p:sp>
      <p:sp>
        <p:nvSpPr>
          <p:cNvPr id="53" name="Rectangle 149">
            <a:extLst>
              <a:ext uri="{FF2B5EF4-FFF2-40B4-BE49-F238E27FC236}">
                <a16:creationId xmlns:a16="http://schemas.microsoft.com/office/drawing/2014/main" id="{9CFE5810-ED59-4F53-8DE2-A760BCDA5734}"/>
              </a:ext>
            </a:extLst>
          </p:cNvPr>
          <p:cNvSpPr/>
          <p:nvPr/>
        </p:nvSpPr>
        <p:spPr>
          <a:xfrm>
            <a:off x="10839361" y="5197963"/>
            <a:ext cx="511679" cy="297004"/>
          </a:xfrm>
          <a:prstGeom prst="rect">
            <a:avLst/>
          </a:prstGeom>
        </p:spPr>
        <p:txBody>
          <a:bodyPr wrap="none">
            <a:spAutoFit/>
          </a:bodyPr>
          <a:lstStyle/>
          <a:p>
            <a:pPr marL="0" marR="0" lvl="0" indent="0" algn="ctr" defTabSz="914400" rtl="0" eaLnBrk="1" fontAlgn="auto" latinLnBrk="0" hangingPunct="1">
              <a:lnSpc>
                <a:spcPct val="95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等线 Light" panose="020F0302020204030204"/>
                <a:ea typeface="+mn-ea"/>
                <a:cs typeface="+mn-cs"/>
              </a:rPr>
              <a:t>90%</a:t>
            </a:r>
            <a:endParaRPr kumimoji="0" lang="en-US" sz="1400" b="1" i="0" u="none" strike="noStrike" kern="1200" cap="none" spc="0" normalizeH="0" baseline="0" noProof="0" dirty="0">
              <a:ln>
                <a:noFill/>
              </a:ln>
              <a:solidFill>
                <a:srgbClr val="000000"/>
              </a:solidFill>
              <a:effectLst/>
              <a:uLnTx/>
              <a:uFillTx/>
              <a:latin typeface="等线 Light" panose="020F0302020204030204"/>
              <a:ea typeface="+mn-ea"/>
              <a:cs typeface="+mn-cs"/>
            </a:endParaRPr>
          </a:p>
        </p:txBody>
      </p:sp>
      <p:sp>
        <p:nvSpPr>
          <p:cNvPr id="54" name="Freeform: Shape 53">
            <a:extLst>
              <a:ext uri="{FF2B5EF4-FFF2-40B4-BE49-F238E27FC236}">
                <a16:creationId xmlns:a16="http://schemas.microsoft.com/office/drawing/2014/main" id="{4E0A0C2C-D784-4880-B765-F53C08C7F479}"/>
              </a:ext>
            </a:extLst>
          </p:cNvPr>
          <p:cNvSpPr/>
          <p:nvPr/>
        </p:nvSpPr>
        <p:spPr>
          <a:xfrm>
            <a:off x="1515072" y="2048783"/>
            <a:ext cx="225460" cy="318446"/>
          </a:xfrm>
          <a:custGeom>
            <a:avLst/>
            <a:gdLst>
              <a:gd name="connsiteX0" fmla="*/ 337185 w 674370"/>
              <a:gd name="connsiteY0" fmla="*/ 0 h 952500"/>
              <a:gd name="connsiteX1" fmla="*/ 0 w 674370"/>
              <a:gd name="connsiteY1" fmla="*/ 615315 h 952500"/>
              <a:gd name="connsiteX2" fmla="*/ 337185 w 674370"/>
              <a:gd name="connsiteY2" fmla="*/ 952500 h 952500"/>
              <a:gd name="connsiteX3" fmla="*/ 674370 w 674370"/>
              <a:gd name="connsiteY3" fmla="*/ 615315 h 952500"/>
              <a:gd name="connsiteX4" fmla="*/ 337185 w 674370"/>
              <a:gd name="connsiteY4" fmla="*/ 0 h 952500"/>
              <a:gd name="connsiteX5" fmla="*/ 332423 w 674370"/>
              <a:gd name="connsiteY5" fmla="*/ 876300 h 952500"/>
              <a:gd name="connsiteX6" fmla="*/ 76200 w 674370"/>
              <a:gd name="connsiteY6" fmla="*/ 654368 h 952500"/>
              <a:gd name="connsiteX7" fmla="*/ 121920 w 674370"/>
              <a:gd name="connsiteY7" fmla="*/ 641985 h 952500"/>
              <a:gd name="connsiteX8" fmla="*/ 341948 w 674370"/>
              <a:gd name="connsiteY8" fmla="*/ 830580 h 952500"/>
              <a:gd name="connsiteX9" fmla="*/ 332423 w 674370"/>
              <a:gd name="connsiteY9" fmla="*/ 876300 h 952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74370" h="952500">
                <a:moveTo>
                  <a:pt x="337185" y="0"/>
                </a:moveTo>
                <a:cubicBezTo>
                  <a:pt x="337185" y="0"/>
                  <a:pt x="0" y="429578"/>
                  <a:pt x="0" y="615315"/>
                </a:cubicBezTo>
                <a:cubicBezTo>
                  <a:pt x="0" y="801053"/>
                  <a:pt x="150495" y="952500"/>
                  <a:pt x="337185" y="952500"/>
                </a:cubicBezTo>
                <a:cubicBezTo>
                  <a:pt x="522923" y="952500"/>
                  <a:pt x="674370" y="802005"/>
                  <a:pt x="674370" y="615315"/>
                </a:cubicBezTo>
                <a:cubicBezTo>
                  <a:pt x="674370" y="429578"/>
                  <a:pt x="337185" y="0"/>
                  <a:pt x="337185" y="0"/>
                </a:cubicBezTo>
                <a:close/>
                <a:moveTo>
                  <a:pt x="332423" y="876300"/>
                </a:moveTo>
                <a:cubicBezTo>
                  <a:pt x="128588" y="834390"/>
                  <a:pt x="78105" y="661988"/>
                  <a:pt x="76200" y="654368"/>
                </a:cubicBezTo>
                <a:lnTo>
                  <a:pt x="121920" y="641985"/>
                </a:lnTo>
                <a:cubicBezTo>
                  <a:pt x="123825" y="648653"/>
                  <a:pt x="167640" y="794385"/>
                  <a:pt x="341948" y="830580"/>
                </a:cubicBezTo>
                <a:lnTo>
                  <a:pt x="332423" y="876300"/>
                </a:lnTo>
                <a:close/>
              </a:path>
            </a:pathLst>
          </a:custGeom>
          <a:solidFill>
            <a:schemeClr val="bg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nvGrpSpPr>
          <p:cNvPr id="55" name="Graphic 1">
            <a:extLst>
              <a:ext uri="{FF2B5EF4-FFF2-40B4-BE49-F238E27FC236}">
                <a16:creationId xmlns:a16="http://schemas.microsoft.com/office/drawing/2014/main" id="{117B6354-72D6-4E34-B398-B9D0D155B828}"/>
              </a:ext>
            </a:extLst>
          </p:cNvPr>
          <p:cNvGrpSpPr/>
          <p:nvPr/>
        </p:nvGrpSpPr>
        <p:grpSpPr>
          <a:xfrm>
            <a:off x="2586377" y="1783288"/>
            <a:ext cx="439762" cy="440204"/>
            <a:chOff x="3504247" y="1264920"/>
            <a:chExt cx="951547" cy="952500"/>
          </a:xfrm>
          <a:solidFill>
            <a:schemeClr val="bg2"/>
          </a:solidFill>
        </p:grpSpPr>
        <p:sp>
          <p:nvSpPr>
            <p:cNvPr id="56" name="Freeform: Shape 55">
              <a:extLst>
                <a:ext uri="{FF2B5EF4-FFF2-40B4-BE49-F238E27FC236}">
                  <a16:creationId xmlns:a16="http://schemas.microsoft.com/office/drawing/2014/main" id="{E337498A-E09F-4E46-AA2A-435BF26EFE38}"/>
                </a:ext>
              </a:extLst>
            </p:cNvPr>
            <p:cNvSpPr/>
            <p:nvPr/>
          </p:nvSpPr>
          <p:spPr>
            <a:xfrm>
              <a:off x="3643311" y="1403985"/>
              <a:ext cx="674369" cy="674369"/>
            </a:xfrm>
            <a:custGeom>
              <a:avLst/>
              <a:gdLst>
                <a:gd name="connsiteX0" fmla="*/ 674370 w 674369"/>
                <a:gd name="connsiteY0" fmla="*/ 337185 h 674369"/>
                <a:gd name="connsiteX1" fmla="*/ 337185 w 674369"/>
                <a:gd name="connsiteY1" fmla="*/ 674370 h 674369"/>
                <a:gd name="connsiteX2" fmla="*/ 0 w 674369"/>
                <a:gd name="connsiteY2" fmla="*/ 337185 h 674369"/>
                <a:gd name="connsiteX3" fmla="*/ 337185 w 674369"/>
                <a:gd name="connsiteY3" fmla="*/ 0 h 674369"/>
                <a:gd name="connsiteX4" fmla="*/ 674370 w 674369"/>
                <a:gd name="connsiteY4" fmla="*/ 337185 h 6743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4369" h="674369">
                  <a:moveTo>
                    <a:pt x="674370" y="337185"/>
                  </a:moveTo>
                  <a:cubicBezTo>
                    <a:pt x="674370" y="523407"/>
                    <a:pt x="523407" y="674370"/>
                    <a:pt x="337185" y="674370"/>
                  </a:cubicBezTo>
                  <a:cubicBezTo>
                    <a:pt x="150963" y="674370"/>
                    <a:pt x="0" y="523407"/>
                    <a:pt x="0" y="337185"/>
                  </a:cubicBezTo>
                  <a:cubicBezTo>
                    <a:pt x="0" y="150963"/>
                    <a:pt x="150963" y="0"/>
                    <a:pt x="337185" y="0"/>
                  </a:cubicBezTo>
                  <a:cubicBezTo>
                    <a:pt x="523407" y="0"/>
                    <a:pt x="674370" y="150963"/>
                    <a:pt x="674370" y="337185"/>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57" name="Freeform: Shape 56">
              <a:extLst>
                <a:ext uri="{FF2B5EF4-FFF2-40B4-BE49-F238E27FC236}">
                  <a16:creationId xmlns:a16="http://schemas.microsoft.com/office/drawing/2014/main" id="{9554B35F-897C-4B6A-94D7-CA9261DD367F}"/>
                </a:ext>
              </a:extLst>
            </p:cNvPr>
            <p:cNvSpPr/>
            <p:nvPr/>
          </p:nvSpPr>
          <p:spPr>
            <a:xfrm>
              <a:off x="3956684" y="1264920"/>
              <a:ext cx="47625" cy="75247"/>
            </a:xfrm>
            <a:custGeom>
              <a:avLst/>
              <a:gdLst>
                <a:gd name="connsiteX0" fmla="*/ 0 w 47625"/>
                <a:gd name="connsiteY0" fmla="*/ 0 h 75247"/>
                <a:gd name="connsiteX1" fmla="*/ 47625 w 47625"/>
                <a:gd name="connsiteY1" fmla="*/ 0 h 75247"/>
                <a:gd name="connsiteX2" fmla="*/ 47625 w 47625"/>
                <a:gd name="connsiteY2" fmla="*/ 75248 h 75247"/>
                <a:gd name="connsiteX3" fmla="*/ 0 w 47625"/>
                <a:gd name="connsiteY3" fmla="*/ 75248 h 75247"/>
              </a:gdLst>
              <a:ahLst/>
              <a:cxnLst>
                <a:cxn ang="0">
                  <a:pos x="connsiteX0" y="connsiteY0"/>
                </a:cxn>
                <a:cxn ang="0">
                  <a:pos x="connsiteX1" y="connsiteY1"/>
                </a:cxn>
                <a:cxn ang="0">
                  <a:pos x="connsiteX2" y="connsiteY2"/>
                </a:cxn>
                <a:cxn ang="0">
                  <a:pos x="connsiteX3" y="connsiteY3"/>
                </a:cxn>
              </a:cxnLst>
              <a:rect l="l" t="t" r="r" b="b"/>
              <a:pathLst>
                <a:path w="47625" h="75247">
                  <a:moveTo>
                    <a:pt x="0" y="0"/>
                  </a:moveTo>
                  <a:lnTo>
                    <a:pt x="47625" y="0"/>
                  </a:lnTo>
                  <a:lnTo>
                    <a:pt x="47625" y="75248"/>
                  </a:lnTo>
                  <a:lnTo>
                    <a:pt x="0" y="75248"/>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58" name="Freeform: Shape 57">
              <a:extLst>
                <a:ext uri="{FF2B5EF4-FFF2-40B4-BE49-F238E27FC236}">
                  <a16:creationId xmlns:a16="http://schemas.microsoft.com/office/drawing/2014/main" id="{D2C5C787-6AEF-4176-A31D-87D7493685FE}"/>
                </a:ext>
              </a:extLst>
            </p:cNvPr>
            <p:cNvSpPr/>
            <p:nvPr/>
          </p:nvSpPr>
          <p:spPr>
            <a:xfrm rot="-2700000">
              <a:off x="3646166" y="1393671"/>
              <a:ext cx="47624" cy="75246"/>
            </a:xfrm>
            <a:custGeom>
              <a:avLst/>
              <a:gdLst>
                <a:gd name="connsiteX0" fmla="*/ 0 w 47624"/>
                <a:gd name="connsiteY0" fmla="*/ 0 h 75246"/>
                <a:gd name="connsiteX1" fmla="*/ 47625 w 47624"/>
                <a:gd name="connsiteY1" fmla="*/ 0 h 75246"/>
                <a:gd name="connsiteX2" fmla="*/ 47625 w 47624"/>
                <a:gd name="connsiteY2" fmla="*/ 75247 h 75246"/>
                <a:gd name="connsiteX3" fmla="*/ 0 w 47624"/>
                <a:gd name="connsiteY3" fmla="*/ 75247 h 75246"/>
              </a:gdLst>
              <a:ahLst/>
              <a:cxnLst>
                <a:cxn ang="0">
                  <a:pos x="connsiteX0" y="connsiteY0"/>
                </a:cxn>
                <a:cxn ang="0">
                  <a:pos x="connsiteX1" y="connsiteY1"/>
                </a:cxn>
                <a:cxn ang="0">
                  <a:pos x="connsiteX2" y="connsiteY2"/>
                </a:cxn>
                <a:cxn ang="0">
                  <a:pos x="connsiteX3" y="connsiteY3"/>
                </a:cxn>
              </a:cxnLst>
              <a:rect l="l" t="t" r="r" b="b"/>
              <a:pathLst>
                <a:path w="47624" h="75246">
                  <a:moveTo>
                    <a:pt x="0" y="0"/>
                  </a:moveTo>
                  <a:lnTo>
                    <a:pt x="47625" y="0"/>
                  </a:lnTo>
                  <a:lnTo>
                    <a:pt x="47625" y="75247"/>
                  </a:lnTo>
                  <a:lnTo>
                    <a:pt x="0" y="75247"/>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59" name="Freeform: Shape 58">
              <a:extLst>
                <a:ext uri="{FF2B5EF4-FFF2-40B4-BE49-F238E27FC236}">
                  <a16:creationId xmlns:a16="http://schemas.microsoft.com/office/drawing/2014/main" id="{AD440D01-CF53-496E-BF8B-6C5289CCB377}"/>
                </a:ext>
              </a:extLst>
            </p:cNvPr>
            <p:cNvSpPr/>
            <p:nvPr/>
          </p:nvSpPr>
          <p:spPr>
            <a:xfrm>
              <a:off x="3504247" y="1717357"/>
              <a:ext cx="75247" cy="47625"/>
            </a:xfrm>
            <a:custGeom>
              <a:avLst/>
              <a:gdLst>
                <a:gd name="connsiteX0" fmla="*/ 0 w 75247"/>
                <a:gd name="connsiteY0" fmla="*/ 0 h 47625"/>
                <a:gd name="connsiteX1" fmla="*/ 75247 w 75247"/>
                <a:gd name="connsiteY1" fmla="*/ 0 h 47625"/>
                <a:gd name="connsiteX2" fmla="*/ 75247 w 75247"/>
                <a:gd name="connsiteY2" fmla="*/ 47625 h 47625"/>
                <a:gd name="connsiteX3" fmla="*/ 0 w 75247"/>
                <a:gd name="connsiteY3" fmla="*/ 47625 h 47625"/>
              </a:gdLst>
              <a:ahLst/>
              <a:cxnLst>
                <a:cxn ang="0">
                  <a:pos x="connsiteX0" y="connsiteY0"/>
                </a:cxn>
                <a:cxn ang="0">
                  <a:pos x="connsiteX1" y="connsiteY1"/>
                </a:cxn>
                <a:cxn ang="0">
                  <a:pos x="connsiteX2" y="connsiteY2"/>
                </a:cxn>
                <a:cxn ang="0">
                  <a:pos x="connsiteX3" y="connsiteY3"/>
                </a:cxn>
              </a:cxnLst>
              <a:rect l="l" t="t" r="r" b="b"/>
              <a:pathLst>
                <a:path w="75247" h="47625">
                  <a:moveTo>
                    <a:pt x="0" y="0"/>
                  </a:moveTo>
                  <a:lnTo>
                    <a:pt x="75247" y="0"/>
                  </a:lnTo>
                  <a:lnTo>
                    <a:pt x="75247" y="47625"/>
                  </a:lnTo>
                  <a:lnTo>
                    <a:pt x="0" y="47625"/>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60" name="Freeform: Shape 59">
              <a:extLst>
                <a:ext uri="{FF2B5EF4-FFF2-40B4-BE49-F238E27FC236}">
                  <a16:creationId xmlns:a16="http://schemas.microsoft.com/office/drawing/2014/main" id="{15EBE99C-97E0-4A80-8518-D2021E106F8E}"/>
                </a:ext>
              </a:extLst>
            </p:cNvPr>
            <p:cNvSpPr/>
            <p:nvPr/>
          </p:nvSpPr>
          <p:spPr>
            <a:xfrm rot="-2700000">
              <a:off x="3632314" y="2028140"/>
              <a:ext cx="75246" cy="47624"/>
            </a:xfrm>
            <a:custGeom>
              <a:avLst/>
              <a:gdLst>
                <a:gd name="connsiteX0" fmla="*/ 0 w 75246"/>
                <a:gd name="connsiteY0" fmla="*/ 0 h 47624"/>
                <a:gd name="connsiteX1" fmla="*/ 75247 w 75246"/>
                <a:gd name="connsiteY1" fmla="*/ 0 h 47624"/>
                <a:gd name="connsiteX2" fmla="*/ 75247 w 75246"/>
                <a:gd name="connsiteY2" fmla="*/ 47625 h 47624"/>
                <a:gd name="connsiteX3" fmla="*/ 0 w 75246"/>
                <a:gd name="connsiteY3" fmla="*/ 47625 h 47624"/>
              </a:gdLst>
              <a:ahLst/>
              <a:cxnLst>
                <a:cxn ang="0">
                  <a:pos x="connsiteX0" y="connsiteY0"/>
                </a:cxn>
                <a:cxn ang="0">
                  <a:pos x="connsiteX1" y="connsiteY1"/>
                </a:cxn>
                <a:cxn ang="0">
                  <a:pos x="connsiteX2" y="connsiteY2"/>
                </a:cxn>
                <a:cxn ang="0">
                  <a:pos x="connsiteX3" y="connsiteY3"/>
                </a:cxn>
              </a:cxnLst>
              <a:rect l="l" t="t" r="r" b="b"/>
              <a:pathLst>
                <a:path w="75246" h="47624">
                  <a:moveTo>
                    <a:pt x="0" y="0"/>
                  </a:moveTo>
                  <a:lnTo>
                    <a:pt x="75247" y="0"/>
                  </a:lnTo>
                  <a:lnTo>
                    <a:pt x="75247" y="47625"/>
                  </a:lnTo>
                  <a:lnTo>
                    <a:pt x="0" y="47625"/>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61" name="Freeform: Shape 60">
              <a:extLst>
                <a:ext uri="{FF2B5EF4-FFF2-40B4-BE49-F238E27FC236}">
                  <a16:creationId xmlns:a16="http://schemas.microsoft.com/office/drawing/2014/main" id="{26D16F5F-C4FE-4C55-B889-955D252F0A46}"/>
                </a:ext>
              </a:extLst>
            </p:cNvPr>
            <p:cNvSpPr/>
            <p:nvPr/>
          </p:nvSpPr>
          <p:spPr>
            <a:xfrm>
              <a:off x="3956684" y="2142172"/>
              <a:ext cx="47625" cy="75247"/>
            </a:xfrm>
            <a:custGeom>
              <a:avLst/>
              <a:gdLst>
                <a:gd name="connsiteX0" fmla="*/ 0 w 47625"/>
                <a:gd name="connsiteY0" fmla="*/ 0 h 75247"/>
                <a:gd name="connsiteX1" fmla="*/ 47625 w 47625"/>
                <a:gd name="connsiteY1" fmla="*/ 0 h 75247"/>
                <a:gd name="connsiteX2" fmla="*/ 47625 w 47625"/>
                <a:gd name="connsiteY2" fmla="*/ 75248 h 75247"/>
                <a:gd name="connsiteX3" fmla="*/ 0 w 47625"/>
                <a:gd name="connsiteY3" fmla="*/ 75248 h 75247"/>
              </a:gdLst>
              <a:ahLst/>
              <a:cxnLst>
                <a:cxn ang="0">
                  <a:pos x="connsiteX0" y="connsiteY0"/>
                </a:cxn>
                <a:cxn ang="0">
                  <a:pos x="connsiteX1" y="connsiteY1"/>
                </a:cxn>
                <a:cxn ang="0">
                  <a:pos x="connsiteX2" y="connsiteY2"/>
                </a:cxn>
                <a:cxn ang="0">
                  <a:pos x="connsiteX3" y="connsiteY3"/>
                </a:cxn>
              </a:cxnLst>
              <a:rect l="l" t="t" r="r" b="b"/>
              <a:pathLst>
                <a:path w="47625" h="75247">
                  <a:moveTo>
                    <a:pt x="0" y="0"/>
                  </a:moveTo>
                  <a:lnTo>
                    <a:pt x="47625" y="0"/>
                  </a:lnTo>
                  <a:lnTo>
                    <a:pt x="47625" y="75248"/>
                  </a:lnTo>
                  <a:lnTo>
                    <a:pt x="0" y="75248"/>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62" name="Freeform: Shape 61">
              <a:extLst>
                <a:ext uri="{FF2B5EF4-FFF2-40B4-BE49-F238E27FC236}">
                  <a16:creationId xmlns:a16="http://schemas.microsoft.com/office/drawing/2014/main" id="{9685405C-4862-4C5C-95B7-95FE19989361}"/>
                </a:ext>
              </a:extLst>
            </p:cNvPr>
            <p:cNvSpPr/>
            <p:nvPr/>
          </p:nvSpPr>
          <p:spPr>
            <a:xfrm rot="-2699514">
              <a:off x="4266268" y="2013785"/>
              <a:ext cx="47624" cy="75246"/>
            </a:xfrm>
            <a:custGeom>
              <a:avLst/>
              <a:gdLst>
                <a:gd name="connsiteX0" fmla="*/ 0 w 47624"/>
                <a:gd name="connsiteY0" fmla="*/ 0 h 75246"/>
                <a:gd name="connsiteX1" fmla="*/ 47624 w 47624"/>
                <a:gd name="connsiteY1" fmla="*/ 0 h 75246"/>
                <a:gd name="connsiteX2" fmla="*/ 47624 w 47624"/>
                <a:gd name="connsiteY2" fmla="*/ 75247 h 75246"/>
                <a:gd name="connsiteX3" fmla="*/ 0 w 47624"/>
                <a:gd name="connsiteY3" fmla="*/ 75247 h 75246"/>
              </a:gdLst>
              <a:ahLst/>
              <a:cxnLst>
                <a:cxn ang="0">
                  <a:pos x="connsiteX0" y="connsiteY0"/>
                </a:cxn>
                <a:cxn ang="0">
                  <a:pos x="connsiteX1" y="connsiteY1"/>
                </a:cxn>
                <a:cxn ang="0">
                  <a:pos x="connsiteX2" y="connsiteY2"/>
                </a:cxn>
                <a:cxn ang="0">
                  <a:pos x="connsiteX3" y="connsiteY3"/>
                </a:cxn>
              </a:cxnLst>
              <a:rect l="l" t="t" r="r" b="b"/>
              <a:pathLst>
                <a:path w="47624" h="75246">
                  <a:moveTo>
                    <a:pt x="0" y="0"/>
                  </a:moveTo>
                  <a:lnTo>
                    <a:pt x="47624" y="0"/>
                  </a:lnTo>
                  <a:lnTo>
                    <a:pt x="47624" y="75247"/>
                  </a:lnTo>
                  <a:lnTo>
                    <a:pt x="0" y="75247"/>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63" name="Freeform: Shape 62">
              <a:extLst>
                <a:ext uri="{FF2B5EF4-FFF2-40B4-BE49-F238E27FC236}">
                  <a16:creationId xmlns:a16="http://schemas.microsoft.com/office/drawing/2014/main" id="{58670486-655C-4D30-B9F2-8747ED9E6080}"/>
                </a:ext>
              </a:extLst>
            </p:cNvPr>
            <p:cNvSpPr/>
            <p:nvPr/>
          </p:nvSpPr>
          <p:spPr>
            <a:xfrm>
              <a:off x="4380547" y="1717357"/>
              <a:ext cx="75247" cy="47625"/>
            </a:xfrm>
            <a:custGeom>
              <a:avLst/>
              <a:gdLst>
                <a:gd name="connsiteX0" fmla="*/ 0 w 75247"/>
                <a:gd name="connsiteY0" fmla="*/ 0 h 47625"/>
                <a:gd name="connsiteX1" fmla="*/ 75247 w 75247"/>
                <a:gd name="connsiteY1" fmla="*/ 0 h 47625"/>
                <a:gd name="connsiteX2" fmla="*/ 75247 w 75247"/>
                <a:gd name="connsiteY2" fmla="*/ 47625 h 47625"/>
                <a:gd name="connsiteX3" fmla="*/ 0 w 75247"/>
                <a:gd name="connsiteY3" fmla="*/ 47625 h 47625"/>
              </a:gdLst>
              <a:ahLst/>
              <a:cxnLst>
                <a:cxn ang="0">
                  <a:pos x="connsiteX0" y="connsiteY0"/>
                </a:cxn>
                <a:cxn ang="0">
                  <a:pos x="connsiteX1" y="connsiteY1"/>
                </a:cxn>
                <a:cxn ang="0">
                  <a:pos x="connsiteX2" y="connsiteY2"/>
                </a:cxn>
                <a:cxn ang="0">
                  <a:pos x="connsiteX3" y="connsiteY3"/>
                </a:cxn>
              </a:cxnLst>
              <a:rect l="l" t="t" r="r" b="b"/>
              <a:pathLst>
                <a:path w="75247" h="47625">
                  <a:moveTo>
                    <a:pt x="0" y="0"/>
                  </a:moveTo>
                  <a:lnTo>
                    <a:pt x="75247" y="0"/>
                  </a:lnTo>
                  <a:lnTo>
                    <a:pt x="75247" y="47625"/>
                  </a:lnTo>
                  <a:lnTo>
                    <a:pt x="0" y="47625"/>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64" name="Freeform: Shape 63">
              <a:extLst>
                <a:ext uri="{FF2B5EF4-FFF2-40B4-BE49-F238E27FC236}">
                  <a16:creationId xmlns:a16="http://schemas.microsoft.com/office/drawing/2014/main" id="{D90B58BA-E7EB-4C21-8FB9-8170FD89F815}"/>
                </a:ext>
              </a:extLst>
            </p:cNvPr>
            <p:cNvSpPr/>
            <p:nvPr/>
          </p:nvSpPr>
          <p:spPr>
            <a:xfrm rot="-2700000">
              <a:off x="4252353" y="1408059"/>
              <a:ext cx="75246" cy="47624"/>
            </a:xfrm>
            <a:custGeom>
              <a:avLst/>
              <a:gdLst>
                <a:gd name="connsiteX0" fmla="*/ 0 w 75246"/>
                <a:gd name="connsiteY0" fmla="*/ 0 h 47624"/>
                <a:gd name="connsiteX1" fmla="*/ 75247 w 75246"/>
                <a:gd name="connsiteY1" fmla="*/ 0 h 47624"/>
                <a:gd name="connsiteX2" fmla="*/ 75247 w 75246"/>
                <a:gd name="connsiteY2" fmla="*/ 47625 h 47624"/>
                <a:gd name="connsiteX3" fmla="*/ 0 w 75246"/>
                <a:gd name="connsiteY3" fmla="*/ 47625 h 47624"/>
              </a:gdLst>
              <a:ahLst/>
              <a:cxnLst>
                <a:cxn ang="0">
                  <a:pos x="connsiteX0" y="connsiteY0"/>
                </a:cxn>
                <a:cxn ang="0">
                  <a:pos x="connsiteX1" y="connsiteY1"/>
                </a:cxn>
                <a:cxn ang="0">
                  <a:pos x="connsiteX2" y="connsiteY2"/>
                </a:cxn>
                <a:cxn ang="0">
                  <a:pos x="connsiteX3" y="connsiteY3"/>
                </a:cxn>
              </a:cxnLst>
              <a:rect l="l" t="t" r="r" b="b"/>
              <a:pathLst>
                <a:path w="75246" h="47624">
                  <a:moveTo>
                    <a:pt x="0" y="0"/>
                  </a:moveTo>
                  <a:lnTo>
                    <a:pt x="75247" y="0"/>
                  </a:lnTo>
                  <a:lnTo>
                    <a:pt x="75247" y="47625"/>
                  </a:lnTo>
                  <a:lnTo>
                    <a:pt x="0" y="47625"/>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sp>
        <p:nvSpPr>
          <p:cNvPr id="65" name="Freeform: Shape 64">
            <a:extLst>
              <a:ext uri="{FF2B5EF4-FFF2-40B4-BE49-F238E27FC236}">
                <a16:creationId xmlns:a16="http://schemas.microsoft.com/office/drawing/2014/main" id="{37DC6F07-A3BD-4806-A00E-A97A0A41E4B4}"/>
              </a:ext>
            </a:extLst>
          </p:cNvPr>
          <p:cNvSpPr/>
          <p:nvPr/>
        </p:nvSpPr>
        <p:spPr>
          <a:xfrm>
            <a:off x="3075714" y="3334256"/>
            <a:ext cx="318488" cy="172608"/>
          </a:xfrm>
          <a:custGeom>
            <a:avLst/>
            <a:gdLst>
              <a:gd name="connsiteX0" fmla="*/ 714375 w 952622"/>
              <a:gd name="connsiteY0" fmla="*/ 269590 h 516287"/>
              <a:gd name="connsiteX1" fmla="*/ 476250 w 952622"/>
              <a:gd name="connsiteY1" fmla="*/ 33 h 516287"/>
              <a:gd name="connsiteX2" fmla="*/ 307658 w 952622"/>
              <a:gd name="connsiteY2" fmla="*/ 209583 h 516287"/>
              <a:gd name="connsiteX3" fmla="*/ 139065 w 952622"/>
              <a:gd name="connsiteY3" fmla="*/ 359125 h 516287"/>
              <a:gd name="connsiteX4" fmla="*/ 0 w 952622"/>
              <a:gd name="connsiteY4" fmla="*/ 516288 h 516287"/>
              <a:gd name="connsiteX5" fmla="*/ 952500 w 952622"/>
              <a:gd name="connsiteY5" fmla="*/ 516288 h 516287"/>
              <a:gd name="connsiteX6" fmla="*/ 714375 w 952622"/>
              <a:gd name="connsiteY6" fmla="*/ 269590 h 516287"/>
              <a:gd name="connsiteX7" fmla="*/ 590550 w 952622"/>
              <a:gd name="connsiteY7" fmla="*/ 229585 h 516287"/>
              <a:gd name="connsiteX8" fmla="*/ 504825 w 952622"/>
              <a:gd name="connsiteY8" fmla="*/ 112428 h 516287"/>
              <a:gd name="connsiteX9" fmla="*/ 525780 w 952622"/>
              <a:gd name="connsiteY9" fmla="*/ 69565 h 516287"/>
              <a:gd name="connsiteX10" fmla="*/ 638175 w 952622"/>
              <a:gd name="connsiteY10" fmla="*/ 221013 h 516287"/>
              <a:gd name="connsiteX11" fmla="*/ 590550 w 952622"/>
              <a:gd name="connsiteY11" fmla="*/ 229585 h 516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52622" h="516287">
                <a:moveTo>
                  <a:pt x="714375" y="269590"/>
                </a:moveTo>
                <a:cubicBezTo>
                  <a:pt x="714375" y="269590"/>
                  <a:pt x="720090" y="33"/>
                  <a:pt x="476250" y="33"/>
                </a:cubicBezTo>
                <a:cubicBezTo>
                  <a:pt x="476250" y="33"/>
                  <a:pt x="307658" y="-7587"/>
                  <a:pt x="307658" y="209583"/>
                </a:cubicBezTo>
                <a:cubicBezTo>
                  <a:pt x="307658" y="209583"/>
                  <a:pt x="139065" y="179103"/>
                  <a:pt x="139065" y="359125"/>
                </a:cubicBezTo>
                <a:cubicBezTo>
                  <a:pt x="139065" y="359125"/>
                  <a:pt x="0" y="308643"/>
                  <a:pt x="0" y="516288"/>
                </a:cubicBezTo>
                <a:lnTo>
                  <a:pt x="952500" y="516288"/>
                </a:lnTo>
                <a:cubicBezTo>
                  <a:pt x="952500" y="516288"/>
                  <a:pt x="965835" y="269590"/>
                  <a:pt x="714375" y="269590"/>
                </a:cubicBezTo>
                <a:close/>
                <a:moveTo>
                  <a:pt x="590550" y="229585"/>
                </a:moveTo>
                <a:cubicBezTo>
                  <a:pt x="579120" y="174340"/>
                  <a:pt x="550545" y="134335"/>
                  <a:pt x="504825" y="112428"/>
                </a:cubicBezTo>
                <a:lnTo>
                  <a:pt x="525780" y="69565"/>
                </a:lnTo>
                <a:cubicBezTo>
                  <a:pt x="566738" y="89568"/>
                  <a:pt x="620078" y="132430"/>
                  <a:pt x="638175" y="221013"/>
                </a:cubicBezTo>
                <a:lnTo>
                  <a:pt x="590550" y="229585"/>
                </a:lnTo>
                <a:close/>
              </a:path>
            </a:pathLst>
          </a:custGeom>
          <a:solidFill>
            <a:schemeClr val="bg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nvGrpSpPr>
          <p:cNvPr id="66" name="Graphic 1">
            <a:extLst>
              <a:ext uri="{FF2B5EF4-FFF2-40B4-BE49-F238E27FC236}">
                <a16:creationId xmlns:a16="http://schemas.microsoft.com/office/drawing/2014/main" id="{289CBDF9-0A46-4B52-9170-DEDCEADB8FAE}"/>
              </a:ext>
            </a:extLst>
          </p:cNvPr>
          <p:cNvGrpSpPr/>
          <p:nvPr/>
        </p:nvGrpSpPr>
        <p:grpSpPr>
          <a:xfrm>
            <a:off x="4037349" y="2755588"/>
            <a:ext cx="379896" cy="379454"/>
            <a:chOff x="3634739" y="2474595"/>
            <a:chExt cx="822007" cy="821054"/>
          </a:xfrm>
          <a:solidFill>
            <a:schemeClr val="bg2"/>
          </a:solidFill>
        </p:grpSpPr>
        <p:sp>
          <p:nvSpPr>
            <p:cNvPr id="67" name="Freeform: Shape 66">
              <a:extLst>
                <a:ext uri="{FF2B5EF4-FFF2-40B4-BE49-F238E27FC236}">
                  <a16:creationId xmlns:a16="http://schemas.microsoft.com/office/drawing/2014/main" id="{7CAED3FA-FFDF-4CFA-95B9-A0373D5B7950}"/>
                </a:ext>
              </a:extLst>
            </p:cNvPr>
            <p:cNvSpPr/>
            <p:nvPr/>
          </p:nvSpPr>
          <p:spPr>
            <a:xfrm>
              <a:off x="3672702" y="2474595"/>
              <a:ext cx="784044" cy="784044"/>
            </a:xfrm>
            <a:custGeom>
              <a:avLst/>
              <a:gdLst>
                <a:gd name="connsiteX0" fmla="*/ 784045 w 784044"/>
                <a:gd name="connsiteY0" fmla="*/ 0 h 784044"/>
                <a:gd name="connsiteX1" fmla="*/ 584020 w 784044"/>
                <a:gd name="connsiteY1" fmla="*/ 683895 h 784044"/>
                <a:gd name="connsiteX2" fmla="*/ 115390 w 784044"/>
                <a:gd name="connsiteY2" fmla="*/ 698183 h 784044"/>
                <a:gd name="connsiteX3" fmla="*/ 180160 w 784044"/>
                <a:gd name="connsiteY3" fmla="*/ 633413 h 784044"/>
                <a:gd name="connsiteX4" fmla="*/ 387805 w 784044"/>
                <a:gd name="connsiteY4" fmla="*/ 609600 h 784044"/>
                <a:gd name="connsiteX5" fmla="*/ 383042 w 784044"/>
                <a:gd name="connsiteY5" fmla="*/ 568643 h 784044"/>
                <a:gd name="connsiteX6" fmla="*/ 226832 w 784044"/>
                <a:gd name="connsiteY6" fmla="*/ 586740 h 784044"/>
                <a:gd name="connsiteX7" fmla="*/ 302080 w 784044"/>
                <a:gd name="connsiteY7" fmla="*/ 511492 h 784044"/>
                <a:gd name="connsiteX8" fmla="*/ 509725 w 784044"/>
                <a:gd name="connsiteY8" fmla="*/ 487680 h 784044"/>
                <a:gd name="connsiteX9" fmla="*/ 504962 w 784044"/>
                <a:gd name="connsiteY9" fmla="*/ 446722 h 784044"/>
                <a:gd name="connsiteX10" fmla="*/ 348752 w 784044"/>
                <a:gd name="connsiteY10" fmla="*/ 464820 h 784044"/>
                <a:gd name="connsiteX11" fmla="*/ 504962 w 784044"/>
                <a:gd name="connsiteY11" fmla="*/ 308610 h 784044"/>
                <a:gd name="connsiteX12" fmla="*/ 475435 w 784044"/>
                <a:gd name="connsiteY12" fmla="*/ 279083 h 784044"/>
                <a:gd name="connsiteX13" fmla="*/ 323035 w 784044"/>
                <a:gd name="connsiteY13" fmla="*/ 431483 h 784044"/>
                <a:gd name="connsiteX14" fmla="*/ 344942 w 784044"/>
                <a:gd name="connsiteY14" fmla="*/ 293370 h 784044"/>
                <a:gd name="connsiteX15" fmla="*/ 303985 w 784044"/>
                <a:gd name="connsiteY15" fmla="*/ 286702 h 784044"/>
                <a:gd name="connsiteX16" fmla="*/ 273505 w 784044"/>
                <a:gd name="connsiteY16" fmla="*/ 481013 h 784044"/>
                <a:gd name="connsiteX17" fmla="*/ 201115 w 784044"/>
                <a:gd name="connsiteY17" fmla="*/ 553402 h 784044"/>
                <a:gd name="connsiteX18" fmla="*/ 223022 w 784044"/>
                <a:gd name="connsiteY18" fmla="*/ 415290 h 784044"/>
                <a:gd name="connsiteX19" fmla="*/ 182065 w 784044"/>
                <a:gd name="connsiteY19" fmla="*/ 408622 h 784044"/>
                <a:gd name="connsiteX20" fmla="*/ 151585 w 784044"/>
                <a:gd name="connsiteY20" fmla="*/ 602933 h 784044"/>
                <a:gd name="connsiteX21" fmla="*/ 85862 w 784044"/>
                <a:gd name="connsiteY21" fmla="*/ 668655 h 784044"/>
                <a:gd name="connsiteX22" fmla="*/ 100150 w 784044"/>
                <a:gd name="connsiteY22" fmla="*/ 200025 h 784044"/>
                <a:gd name="connsiteX23" fmla="*/ 784045 w 784044"/>
                <a:gd name="connsiteY23" fmla="*/ 0 h 784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784044" h="784044">
                  <a:moveTo>
                    <a:pt x="784045" y="0"/>
                  </a:moveTo>
                  <a:cubicBezTo>
                    <a:pt x="784045" y="0"/>
                    <a:pt x="717370" y="549593"/>
                    <a:pt x="584020" y="683895"/>
                  </a:cubicBezTo>
                  <a:cubicBezTo>
                    <a:pt x="455432" y="812483"/>
                    <a:pt x="249692" y="817245"/>
                    <a:pt x="115390" y="698183"/>
                  </a:cubicBezTo>
                  <a:lnTo>
                    <a:pt x="180160" y="633413"/>
                  </a:lnTo>
                  <a:lnTo>
                    <a:pt x="387805" y="609600"/>
                  </a:lnTo>
                  <a:lnTo>
                    <a:pt x="383042" y="568643"/>
                  </a:lnTo>
                  <a:lnTo>
                    <a:pt x="226832" y="586740"/>
                  </a:lnTo>
                  <a:lnTo>
                    <a:pt x="302080" y="511492"/>
                  </a:lnTo>
                  <a:lnTo>
                    <a:pt x="509725" y="487680"/>
                  </a:lnTo>
                  <a:lnTo>
                    <a:pt x="504962" y="446722"/>
                  </a:lnTo>
                  <a:lnTo>
                    <a:pt x="348752" y="464820"/>
                  </a:lnTo>
                  <a:lnTo>
                    <a:pt x="504962" y="308610"/>
                  </a:lnTo>
                  <a:lnTo>
                    <a:pt x="475435" y="279083"/>
                  </a:lnTo>
                  <a:lnTo>
                    <a:pt x="323035" y="431483"/>
                  </a:lnTo>
                  <a:lnTo>
                    <a:pt x="344942" y="293370"/>
                  </a:lnTo>
                  <a:lnTo>
                    <a:pt x="303985" y="286702"/>
                  </a:lnTo>
                  <a:lnTo>
                    <a:pt x="273505" y="481013"/>
                  </a:lnTo>
                  <a:lnTo>
                    <a:pt x="201115" y="553402"/>
                  </a:lnTo>
                  <a:lnTo>
                    <a:pt x="223022" y="415290"/>
                  </a:lnTo>
                  <a:lnTo>
                    <a:pt x="182065" y="408622"/>
                  </a:lnTo>
                  <a:lnTo>
                    <a:pt x="151585" y="602933"/>
                  </a:lnTo>
                  <a:lnTo>
                    <a:pt x="85862" y="668655"/>
                  </a:lnTo>
                  <a:cubicBezTo>
                    <a:pt x="-33200" y="534352"/>
                    <a:pt x="-28438" y="328613"/>
                    <a:pt x="100150" y="200025"/>
                  </a:cubicBezTo>
                  <a:cubicBezTo>
                    <a:pt x="233500" y="66675"/>
                    <a:pt x="784045" y="0"/>
                    <a:pt x="784045" y="0"/>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68" name="Freeform: Shape 67">
              <a:extLst>
                <a:ext uri="{FF2B5EF4-FFF2-40B4-BE49-F238E27FC236}">
                  <a16:creationId xmlns:a16="http://schemas.microsoft.com/office/drawing/2014/main" id="{420F1037-A443-47B7-B08E-732CEAE1CD00}"/>
                </a:ext>
              </a:extLst>
            </p:cNvPr>
            <p:cNvSpPr/>
            <p:nvPr/>
          </p:nvSpPr>
          <p:spPr>
            <a:xfrm>
              <a:off x="3634739" y="3143250"/>
              <a:ext cx="153352" cy="152400"/>
            </a:xfrm>
            <a:custGeom>
              <a:avLst/>
              <a:gdLst>
                <a:gd name="connsiteX0" fmla="*/ 153353 w 153352"/>
                <a:gd name="connsiteY0" fmla="*/ 29528 h 152400"/>
                <a:gd name="connsiteX1" fmla="*/ 29527 w 153352"/>
                <a:gd name="connsiteY1" fmla="*/ 152400 h 152400"/>
                <a:gd name="connsiteX2" fmla="*/ 0 w 153352"/>
                <a:gd name="connsiteY2" fmla="*/ 122872 h 152400"/>
                <a:gd name="connsiteX3" fmla="*/ 122872 w 153352"/>
                <a:gd name="connsiteY3" fmla="*/ 0 h 152400"/>
                <a:gd name="connsiteX4" fmla="*/ 137160 w 153352"/>
                <a:gd name="connsiteY4" fmla="*/ 15240 h 152400"/>
                <a:gd name="connsiteX5" fmla="*/ 153353 w 153352"/>
                <a:gd name="connsiteY5" fmla="*/ 29528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3352" h="152400">
                  <a:moveTo>
                    <a:pt x="153353" y="29528"/>
                  </a:moveTo>
                  <a:lnTo>
                    <a:pt x="29527" y="152400"/>
                  </a:lnTo>
                  <a:lnTo>
                    <a:pt x="0" y="122872"/>
                  </a:lnTo>
                  <a:lnTo>
                    <a:pt x="122872" y="0"/>
                  </a:lnTo>
                  <a:cubicBezTo>
                    <a:pt x="127635" y="4763"/>
                    <a:pt x="132397" y="10478"/>
                    <a:pt x="137160" y="15240"/>
                  </a:cubicBezTo>
                  <a:cubicBezTo>
                    <a:pt x="142875" y="20003"/>
                    <a:pt x="147638" y="24765"/>
                    <a:pt x="153353" y="2952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grpSp>
        <p:nvGrpSpPr>
          <p:cNvPr id="69" name="Graphic 1">
            <a:extLst>
              <a:ext uri="{FF2B5EF4-FFF2-40B4-BE49-F238E27FC236}">
                <a16:creationId xmlns:a16="http://schemas.microsoft.com/office/drawing/2014/main" id="{E2603F39-9179-4699-BBB6-B5AD88747392}"/>
              </a:ext>
            </a:extLst>
          </p:cNvPr>
          <p:cNvGrpSpPr/>
          <p:nvPr/>
        </p:nvGrpSpPr>
        <p:grpSpPr>
          <a:xfrm>
            <a:off x="1549370" y="3022271"/>
            <a:ext cx="186610" cy="352202"/>
            <a:chOff x="1558289" y="3338512"/>
            <a:chExt cx="558164" cy="1053465"/>
          </a:xfrm>
          <a:solidFill>
            <a:schemeClr val="bg2"/>
          </a:solidFill>
        </p:grpSpPr>
        <p:sp>
          <p:nvSpPr>
            <p:cNvPr id="70" name="Freeform: Shape 69">
              <a:extLst>
                <a:ext uri="{FF2B5EF4-FFF2-40B4-BE49-F238E27FC236}">
                  <a16:creationId xmlns:a16="http://schemas.microsoft.com/office/drawing/2014/main" id="{99084CF8-C064-4E54-8A50-6BC2CB82C359}"/>
                </a:ext>
              </a:extLst>
            </p:cNvPr>
            <p:cNvSpPr/>
            <p:nvPr/>
          </p:nvSpPr>
          <p:spPr>
            <a:xfrm>
              <a:off x="1558289" y="3338512"/>
              <a:ext cx="558164" cy="781050"/>
            </a:xfrm>
            <a:custGeom>
              <a:avLst/>
              <a:gdLst>
                <a:gd name="connsiteX0" fmla="*/ 558165 w 558164"/>
                <a:gd name="connsiteY0" fmla="*/ 503872 h 781050"/>
                <a:gd name="connsiteX1" fmla="*/ 304800 w 558164"/>
                <a:gd name="connsiteY1" fmla="*/ 781050 h 781050"/>
                <a:gd name="connsiteX2" fmla="*/ 304800 w 558164"/>
                <a:gd name="connsiteY2" fmla="*/ 702945 h 781050"/>
                <a:gd name="connsiteX3" fmla="*/ 426720 w 558164"/>
                <a:gd name="connsiteY3" fmla="*/ 549593 h 781050"/>
                <a:gd name="connsiteX4" fmla="*/ 386715 w 558164"/>
                <a:gd name="connsiteY4" fmla="*/ 518160 h 781050"/>
                <a:gd name="connsiteX5" fmla="*/ 303848 w 558164"/>
                <a:gd name="connsiteY5" fmla="*/ 621982 h 781050"/>
                <a:gd name="connsiteX6" fmla="*/ 303848 w 558164"/>
                <a:gd name="connsiteY6" fmla="*/ 347663 h 781050"/>
                <a:gd name="connsiteX7" fmla="*/ 253365 w 558164"/>
                <a:gd name="connsiteY7" fmla="*/ 347663 h 781050"/>
                <a:gd name="connsiteX8" fmla="*/ 253365 w 558164"/>
                <a:gd name="connsiteY8" fmla="*/ 461010 h 781050"/>
                <a:gd name="connsiteX9" fmla="*/ 213360 w 558164"/>
                <a:gd name="connsiteY9" fmla="*/ 406718 h 781050"/>
                <a:gd name="connsiteX10" fmla="*/ 172403 w 558164"/>
                <a:gd name="connsiteY10" fmla="*/ 436245 h 781050"/>
                <a:gd name="connsiteX11" fmla="*/ 253365 w 558164"/>
                <a:gd name="connsiteY11" fmla="*/ 546735 h 781050"/>
                <a:gd name="connsiteX12" fmla="*/ 253365 w 558164"/>
                <a:gd name="connsiteY12" fmla="*/ 781050 h 781050"/>
                <a:gd name="connsiteX13" fmla="*/ 0 w 558164"/>
                <a:gd name="connsiteY13" fmla="*/ 503872 h 781050"/>
                <a:gd name="connsiteX14" fmla="*/ 258128 w 558164"/>
                <a:gd name="connsiteY14" fmla="*/ 25717 h 781050"/>
                <a:gd name="connsiteX15" fmla="*/ 278130 w 558164"/>
                <a:gd name="connsiteY15" fmla="*/ 0 h 781050"/>
                <a:gd name="connsiteX16" fmla="*/ 298133 w 558164"/>
                <a:gd name="connsiteY16" fmla="*/ 25717 h 781050"/>
                <a:gd name="connsiteX17" fmla="*/ 558165 w 558164"/>
                <a:gd name="connsiteY17" fmla="*/ 503872 h 781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58164" h="781050">
                  <a:moveTo>
                    <a:pt x="558165" y="503872"/>
                  </a:moveTo>
                  <a:cubicBezTo>
                    <a:pt x="558165" y="648653"/>
                    <a:pt x="446723" y="768668"/>
                    <a:pt x="304800" y="781050"/>
                  </a:cubicBezTo>
                  <a:lnTo>
                    <a:pt x="304800" y="702945"/>
                  </a:lnTo>
                  <a:lnTo>
                    <a:pt x="426720" y="549593"/>
                  </a:lnTo>
                  <a:lnTo>
                    <a:pt x="386715" y="518160"/>
                  </a:lnTo>
                  <a:lnTo>
                    <a:pt x="303848" y="621982"/>
                  </a:lnTo>
                  <a:lnTo>
                    <a:pt x="303848" y="347663"/>
                  </a:lnTo>
                  <a:lnTo>
                    <a:pt x="253365" y="347663"/>
                  </a:lnTo>
                  <a:lnTo>
                    <a:pt x="253365" y="461010"/>
                  </a:lnTo>
                  <a:lnTo>
                    <a:pt x="213360" y="406718"/>
                  </a:lnTo>
                  <a:lnTo>
                    <a:pt x="172403" y="436245"/>
                  </a:lnTo>
                  <a:lnTo>
                    <a:pt x="253365" y="546735"/>
                  </a:lnTo>
                  <a:lnTo>
                    <a:pt x="253365" y="781050"/>
                  </a:lnTo>
                  <a:cubicBezTo>
                    <a:pt x="111442" y="768668"/>
                    <a:pt x="0" y="648653"/>
                    <a:pt x="0" y="503872"/>
                  </a:cubicBezTo>
                  <a:cubicBezTo>
                    <a:pt x="0" y="357188"/>
                    <a:pt x="247650" y="39053"/>
                    <a:pt x="258128" y="25717"/>
                  </a:cubicBezTo>
                  <a:lnTo>
                    <a:pt x="278130" y="0"/>
                  </a:lnTo>
                  <a:lnTo>
                    <a:pt x="298133" y="25717"/>
                  </a:lnTo>
                  <a:cubicBezTo>
                    <a:pt x="309562" y="40005"/>
                    <a:pt x="558165" y="357188"/>
                    <a:pt x="558165" y="503872"/>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71" name="Freeform: Shape 70">
              <a:extLst>
                <a:ext uri="{FF2B5EF4-FFF2-40B4-BE49-F238E27FC236}">
                  <a16:creationId xmlns:a16="http://schemas.microsoft.com/office/drawing/2014/main" id="{5A5311E6-F04A-4E81-9EF0-927952942B69}"/>
                </a:ext>
              </a:extLst>
            </p:cNvPr>
            <p:cNvSpPr/>
            <p:nvPr/>
          </p:nvSpPr>
          <p:spPr>
            <a:xfrm>
              <a:off x="1812606" y="4119562"/>
              <a:ext cx="50482" cy="272415"/>
            </a:xfrm>
            <a:custGeom>
              <a:avLst/>
              <a:gdLst>
                <a:gd name="connsiteX0" fmla="*/ 50482 w 50482"/>
                <a:gd name="connsiteY0" fmla="*/ 0 h 272415"/>
                <a:gd name="connsiteX1" fmla="*/ 50482 w 50482"/>
                <a:gd name="connsiteY1" fmla="*/ 272415 h 272415"/>
                <a:gd name="connsiteX2" fmla="*/ 0 w 50482"/>
                <a:gd name="connsiteY2" fmla="*/ 272415 h 272415"/>
                <a:gd name="connsiteX3" fmla="*/ 0 w 50482"/>
                <a:gd name="connsiteY3" fmla="*/ 0 h 272415"/>
                <a:gd name="connsiteX4" fmla="*/ 25718 w 50482"/>
                <a:gd name="connsiteY4" fmla="*/ 953 h 272415"/>
                <a:gd name="connsiteX5" fmla="*/ 50482 w 50482"/>
                <a:gd name="connsiteY5" fmla="*/ 0 h 2724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482" h="272415">
                  <a:moveTo>
                    <a:pt x="50482" y="0"/>
                  </a:moveTo>
                  <a:lnTo>
                    <a:pt x="50482" y="272415"/>
                  </a:lnTo>
                  <a:lnTo>
                    <a:pt x="0" y="272415"/>
                  </a:lnTo>
                  <a:lnTo>
                    <a:pt x="0" y="0"/>
                  </a:lnTo>
                  <a:cubicBezTo>
                    <a:pt x="8573" y="953"/>
                    <a:pt x="17145" y="953"/>
                    <a:pt x="25718" y="953"/>
                  </a:cubicBezTo>
                  <a:cubicBezTo>
                    <a:pt x="33338" y="1905"/>
                    <a:pt x="41910" y="953"/>
                    <a:pt x="50482" y="0"/>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grpSp>
        <p:nvGrpSpPr>
          <p:cNvPr id="72" name="Graphic 1">
            <a:extLst>
              <a:ext uri="{FF2B5EF4-FFF2-40B4-BE49-F238E27FC236}">
                <a16:creationId xmlns:a16="http://schemas.microsoft.com/office/drawing/2014/main" id="{B524A121-3498-41A2-832A-033E30626595}"/>
              </a:ext>
            </a:extLst>
          </p:cNvPr>
          <p:cNvGrpSpPr/>
          <p:nvPr/>
        </p:nvGrpSpPr>
        <p:grpSpPr>
          <a:xfrm>
            <a:off x="2955635" y="4880996"/>
            <a:ext cx="423916" cy="346002"/>
            <a:chOff x="1403984" y="4770119"/>
            <a:chExt cx="917257" cy="748665"/>
          </a:xfrm>
          <a:solidFill>
            <a:schemeClr val="bg2"/>
          </a:solidFill>
        </p:grpSpPr>
        <p:sp>
          <p:nvSpPr>
            <p:cNvPr id="73" name="Freeform: Shape 72">
              <a:extLst>
                <a:ext uri="{FF2B5EF4-FFF2-40B4-BE49-F238E27FC236}">
                  <a16:creationId xmlns:a16="http://schemas.microsoft.com/office/drawing/2014/main" id="{82F3042F-5B64-42F4-AFE2-5B2EA81E8BFB}"/>
                </a:ext>
              </a:extLst>
            </p:cNvPr>
            <p:cNvSpPr/>
            <p:nvPr/>
          </p:nvSpPr>
          <p:spPr>
            <a:xfrm>
              <a:off x="1957387" y="4770119"/>
              <a:ext cx="363854" cy="734377"/>
            </a:xfrm>
            <a:custGeom>
              <a:avLst/>
              <a:gdLst>
                <a:gd name="connsiteX0" fmla="*/ 103823 w 363854"/>
                <a:gd name="connsiteY0" fmla="*/ 374333 h 734377"/>
                <a:gd name="connsiteX1" fmla="*/ 0 w 363854"/>
                <a:gd name="connsiteY1" fmla="*/ 734378 h 734377"/>
                <a:gd name="connsiteX2" fmla="*/ 363855 w 363854"/>
                <a:gd name="connsiteY2" fmla="*/ 643890 h 734377"/>
                <a:gd name="connsiteX3" fmla="*/ 286703 w 363854"/>
                <a:gd name="connsiteY3" fmla="*/ 563880 h 734377"/>
                <a:gd name="connsiteX4" fmla="*/ 321945 w 363854"/>
                <a:gd name="connsiteY4" fmla="*/ 392430 h 734377"/>
                <a:gd name="connsiteX5" fmla="*/ 75248 w 363854"/>
                <a:gd name="connsiteY5" fmla="*/ 0 h 734377"/>
                <a:gd name="connsiteX6" fmla="*/ 9525 w 363854"/>
                <a:gd name="connsiteY6" fmla="*/ 135255 h 734377"/>
                <a:gd name="connsiteX7" fmla="*/ 171450 w 363854"/>
                <a:gd name="connsiteY7" fmla="*/ 392430 h 734377"/>
                <a:gd name="connsiteX8" fmla="*/ 167640 w 363854"/>
                <a:gd name="connsiteY8" fmla="*/ 440055 h 734377"/>
                <a:gd name="connsiteX9" fmla="*/ 103823 w 363854"/>
                <a:gd name="connsiteY9" fmla="*/ 374333 h 734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3854" h="734377">
                  <a:moveTo>
                    <a:pt x="103823" y="374333"/>
                  </a:moveTo>
                  <a:lnTo>
                    <a:pt x="0" y="734378"/>
                  </a:lnTo>
                  <a:lnTo>
                    <a:pt x="363855" y="643890"/>
                  </a:lnTo>
                  <a:lnTo>
                    <a:pt x="286703" y="563880"/>
                  </a:lnTo>
                  <a:cubicBezTo>
                    <a:pt x="309563" y="509588"/>
                    <a:pt x="321945" y="451485"/>
                    <a:pt x="321945" y="392430"/>
                  </a:cubicBezTo>
                  <a:cubicBezTo>
                    <a:pt x="321945" y="225743"/>
                    <a:pt x="224790" y="72390"/>
                    <a:pt x="75248" y="0"/>
                  </a:cubicBezTo>
                  <a:lnTo>
                    <a:pt x="9525" y="135255"/>
                  </a:lnTo>
                  <a:cubicBezTo>
                    <a:pt x="107633" y="182880"/>
                    <a:pt x="171450" y="283845"/>
                    <a:pt x="171450" y="392430"/>
                  </a:cubicBezTo>
                  <a:cubicBezTo>
                    <a:pt x="171450" y="408623"/>
                    <a:pt x="170498" y="424815"/>
                    <a:pt x="167640" y="440055"/>
                  </a:cubicBezTo>
                  <a:lnTo>
                    <a:pt x="103823" y="374333"/>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74" name="Freeform: Shape 73">
              <a:extLst>
                <a:ext uri="{FF2B5EF4-FFF2-40B4-BE49-F238E27FC236}">
                  <a16:creationId xmlns:a16="http://schemas.microsoft.com/office/drawing/2014/main" id="{D4ACED12-7F07-43BB-94AE-3A89CAF7C3C4}"/>
                </a:ext>
              </a:extLst>
            </p:cNvPr>
            <p:cNvSpPr/>
            <p:nvPr/>
          </p:nvSpPr>
          <p:spPr>
            <a:xfrm>
              <a:off x="1403984" y="4784407"/>
              <a:ext cx="363854" cy="734377"/>
            </a:xfrm>
            <a:custGeom>
              <a:avLst/>
              <a:gdLst>
                <a:gd name="connsiteX0" fmla="*/ 260985 w 363854"/>
                <a:gd name="connsiteY0" fmla="*/ 360045 h 734377"/>
                <a:gd name="connsiteX1" fmla="*/ 363855 w 363854"/>
                <a:gd name="connsiteY1" fmla="*/ 0 h 734377"/>
                <a:gd name="connsiteX2" fmla="*/ 0 w 363854"/>
                <a:gd name="connsiteY2" fmla="*/ 90488 h 734377"/>
                <a:gd name="connsiteX3" fmla="*/ 77153 w 363854"/>
                <a:gd name="connsiteY3" fmla="*/ 170498 h 734377"/>
                <a:gd name="connsiteX4" fmla="*/ 41910 w 363854"/>
                <a:gd name="connsiteY4" fmla="*/ 341948 h 734377"/>
                <a:gd name="connsiteX5" fmla="*/ 288608 w 363854"/>
                <a:gd name="connsiteY5" fmla="*/ 734378 h 734377"/>
                <a:gd name="connsiteX6" fmla="*/ 354330 w 363854"/>
                <a:gd name="connsiteY6" fmla="*/ 599123 h 734377"/>
                <a:gd name="connsiteX7" fmla="*/ 192405 w 363854"/>
                <a:gd name="connsiteY7" fmla="*/ 341948 h 734377"/>
                <a:gd name="connsiteX8" fmla="*/ 196215 w 363854"/>
                <a:gd name="connsiteY8" fmla="*/ 294323 h 734377"/>
                <a:gd name="connsiteX9" fmla="*/ 260985 w 363854"/>
                <a:gd name="connsiteY9" fmla="*/ 360045 h 734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3854" h="734377">
                  <a:moveTo>
                    <a:pt x="260985" y="360045"/>
                  </a:moveTo>
                  <a:lnTo>
                    <a:pt x="363855" y="0"/>
                  </a:lnTo>
                  <a:lnTo>
                    <a:pt x="0" y="90488"/>
                  </a:lnTo>
                  <a:lnTo>
                    <a:pt x="77153" y="170498"/>
                  </a:lnTo>
                  <a:cubicBezTo>
                    <a:pt x="54293" y="224790"/>
                    <a:pt x="41910" y="282893"/>
                    <a:pt x="41910" y="341948"/>
                  </a:cubicBezTo>
                  <a:cubicBezTo>
                    <a:pt x="41910" y="508635"/>
                    <a:pt x="139065" y="661988"/>
                    <a:pt x="288608" y="734378"/>
                  </a:cubicBezTo>
                  <a:lnTo>
                    <a:pt x="354330" y="599123"/>
                  </a:lnTo>
                  <a:cubicBezTo>
                    <a:pt x="256222" y="551498"/>
                    <a:pt x="192405" y="450533"/>
                    <a:pt x="192405" y="341948"/>
                  </a:cubicBezTo>
                  <a:cubicBezTo>
                    <a:pt x="192405" y="325755"/>
                    <a:pt x="193358" y="309563"/>
                    <a:pt x="196215" y="294323"/>
                  </a:cubicBezTo>
                  <a:lnTo>
                    <a:pt x="260985" y="360045"/>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grpSp>
        <p:nvGrpSpPr>
          <p:cNvPr id="75" name="Graphic 1">
            <a:extLst>
              <a:ext uri="{FF2B5EF4-FFF2-40B4-BE49-F238E27FC236}">
                <a16:creationId xmlns:a16="http://schemas.microsoft.com/office/drawing/2014/main" id="{0CB76D4B-CA0A-4B54-BB6D-B5E150633DAC}"/>
              </a:ext>
            </a:extLst>
          </p:cNvPr>
          <p:cNvGrpSpPr/>
          <p:nvPr/>
        </p:nvGrpSpPr>
        <p:grpSpPr>
          <a:xfrm>
            <a:off x="3826615" y="3767100"/>
            <a:ext cx="333732" cy="216862"/>
            <a:chOff x="7704772" y="2626995"/>
            <a:chExt cx="998219" cy="648652"/>
          </a:xfrm>
          <a:solidFill>
            <a:schemeClr val="bg2"/>
          </a:solidFill>
        </p:grpSpPr>
        <p:sp>
          <p:nvSpPr>
            <p:cNvPr id="76" name="Freeform: Shape 75">
              <a:extLst>
                <a:ext uri="{FF2B5EF4-FFF2-40B4-BE49-F238E27FC236}">
                  <a16:creationId xmlns:a16="http://schemas.microsoft.com/office/drawing/2014/main" id="{BE0EFE28-6B71-435C-8BD8-0FE24BA5B3DC}"/>
                </a:ext>
              </a:extLst>
            </p:cNvPr>
            <p:cNvSpPr/>
            <p:nvPr/>
          </p:nvSpPr>
          <p:spPr>
            <a:xfrm>
              <a:off x="8208644" y="2864167"/>
              <a:ext cx="129540" cy="161925"/>
            </a:xfrm>
            <a:custGeom>
              <a:avLst/>
              <a:gdLst>
                <a:gd name="connsiteX0" fmla="*/ 65723 w 129540"/>
                <a:gd name="connsiteY0" fmla="*/ 0 h 161925"/>
                <a:gd name="connsiteX1" fmla="*/ 18098 w 129540"/>
                <a:gd name="connsiteY1" fmla="*/ 20003 h 161925"/>
                <a:gd name="connsiteX2" fmla="*/ 0 w 129540"/>
                <a:gd name="connsiteY2" fmla="*/ 80963 h 161925"/>
                <a:gd name="connsiteX3" fmla="*/ 18098 w 129540"/>
                <a:gd name="connsiteY3" fmla="*/ 140970 h 161925"/>
                <a:gd name="connsiteX4" fmla="*/ 64770 w 129540"/>
                <a:gd name="connsiteY4" fmla="*/ 161925 h 161925"/>
                <a:gd name="connsiteX5" fmla="*/ 111443 w 129540"/>
                <a:gd name="connsiteY5" fmla="*/ 141923 h 161925"/>
                <a:gd name="connsiteX6" fmla="*/ 129540 w 129540"/>
                <a:gd name="connsiteY6" fmla="*/ 80963 h 161925"/>
                <a:gd name="connsiteX7" fmla="*/ 111443 w 129540"/>
                <a:gd name="connsiteY7" fmla="*/ 20955 h 161925"/>
                <a:gd name="connsiteX8" fmla="*/ 65723 w 129540"/>
                <a:gd name="connsiteY8" fmla="*/ 0 h 161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9540" h="161925">
                  <a:moveTo>
                    <a:pt x="65723" y="0"/>
                  </a:moveTo>
                  <a:cubicBezTo>
                    <a:pt x="45720" y="0"/>
                    <a:pt x="30480" y="6667"/>
                    <a:pt x="18098" y="20003"/>
                  </a:cubicBezTo>
                  <a:cubicBezTo>
                    <a:pt x="5715" y="33338"/>
                    <a:pt x="0" y="53340"/>
                    <a:pt x="0" y="80963"/>
                  </a:cubicBezTo>
                  <a:cubicBezTo>
                    <a:pt x="0" y="107633"/>
                    <a:pt x="5715" y="127635"/>
                    <a:pt x="18098" y="140970"/>
                  </a:cubicBezTo>
                  <a:cubicBezTo>
                    <a:pt x="30480" y="154305"/>
                    <a:pt x="45720" y="161925"/>
                    <a:pt x="64770" y="161925"/>
                  </a:cubicBezTo>
                  <a:cubicBezTo>
                    <a:pt x="83820" y="161925"/>
                    <a:pt x="99060" y="155258"/>
                    <a:pt x="111443" y="141923"/>
                  </a:cubicBezTo>
                  <a:cubicBezTo>
                    <a:pt x="123825" y="128588"/>
                    <a:pt x="129540" y="107633"/>
                    <a:pt x="129540" y="80963"/>
                  </a:cubicBezTo>
                  <a:cubicBezTo>
                    <a:pt x="129540" y="54292"/>
                    <a:pt x="123825" y="34290"/>
                    <a:pt x="111443" y="20955"/>
                  </a:cubicBezTo>
                  <a:cubicBezTo>
                    <a:pt x="100965" y="6667"/>
                    <a:pt x="84773" y="0"/>
                    <a:pt x="65723" y="0"/>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77" name="Freeform: Shape 76">
              <a:extLst>
                <a:ext uri="{FF2B5EF4-FFF2-40B4-BE49-F238E27FC236}">
                  <a16:creationId xmlns:a16="http://schemas.microsoft.com/office/drawing/2014/main" id="{416BA414-A05F-408B-B112-DDDD645971A1}"/>
                </a:ext>
              </a:extLst>
            </p:cNvPr>
            <p:cNvSpPr/>
            <p:nvPr/>
          </p:nvSpPr>
          <p:spPr>
            <a:xfrm>
              <a:off x="7704772" y="2626995"/>
              <a:ext cx="998219" cy="648652"/>
            </a:xfrm>
            <a:custGeom>
              <a:avLst/>
              <a:gdLst>
                <a:gd name="connsiteX0" fmla="*/ 789622 w 998219"/>
                <a:gd name="connsiteY0" fmla="*/ 143827 h 648652"/>
                <a:gd name="connsiteX1" fmla="*/ 736282 w 998219"/>
                <a:gd name="connsiteY1" fmla="*/ 150495 h 648652"/>
                <a:gd name="connsiteX2" fmla="*/ 499110 w 998219"/>
                <a:gd name="connsiteY2" fmla="*/ 0 h 648652"/>
                <a:gd name="connsiteX3" fmla="*/ 277177 w 998219"/>
                <a:gd name="connsiteY3" fmla="*/ 122872 h 648652"/>
                <a:gd name="connsiteX4" fmla="*/ 209550 w 998219"/>
                <a:gd name="connsiteY4" fmla="*/ 111442 h 648652"/>
                <a:gd name="connsiteX5" fmla="*/ 0 w 998219"/>
                <a:gd name="connsiteY5" fmla="*/ 320992 h 648652"/>
                <a:gd name="connsiteX6" fmla="*/ 209550 w 998219"/>
                <a:gd name="connsiteY6" fmla="*/ 530543 h 648652"/>
                <a:gd name="connsiteX7" fmla="*/ 228600 w 998219"/>
                <a:gd name="connsiteY7" fmla="*/ 529590 h 648652"/>
                <a:gd name="connsiteX8" fmla="*/ 417195 w 998219"/>
                <a:gd name="connsiteY8" fmla="*/ 648652 h 648652"/>
                <a:gd name="connsiteX9" fmla="*/ 532447 w 998219"/>
                <a:gd name="connsiteY9" fmla="*/ 613410 h 648652"/>
                <a:gd name="connsiteX10" fmla="*/ 591502 w 998219"/>
                <a:gd name="connsiteY10" fmla="*/ 625793 h 648652"/>
                <a:gd name="connsiteX11" fmla="*/ 721042 w 998219"/>
                <a:gd name="connsiteY11" fmla="*/ 550545 h 648652"/>
                <a:gd name="connsiteX12" fmla="*/ 788670 w 998219"/>
                <a:gd name="connsiteY12" fmla="*/ 561975 h 648652"/>
                <a:gd name="connsiteX13" fmla="*/ 998220 w 998219"/>
                <a:gd name="connsiteY13" fmla="*/ 352425 h 648652"/>
                <a:gd name="connsiteX14" fmla="*/ 789622 w 998219"/>
                <a:gd name="connsiteY14" fmla="*/ 143827 h 648652"/>
                <a:gd name="connsiteX15" fmla="*/ 389572 w 998219"/>
                <a:gd name="connsiteY15" fmla="*/ 421005 h 648652"/>
                <a:gd name="connsiteX16" fmla="*/ 327660 w 998219"/>
                <a:gd name="connsiteY16" fmla="*/ 440055 h 648652"/>
                <a:gd name="connsiteX17" fmla="*/ 250507 w 998219"/>
                <a:gd name="connsiteY17" fmla="*/ 407670 h 648652"/>
                <a:gd name="connsiteX18" fmla="*/ 220027 w 998219"/>
                <a:gd name="connsiteY18" fmla="*/ 320040 h 648652"/>
                <a:gd name="connsiteX19" fmla="*/ 250507 w 998219"/>
                <a:gd name="connsiteY19" fmla="*/ 228600 h 648652"/>
                <a:gd name="connsiteX20" fmla="*/ 330517 w 998219"/>
                <a:gd name="connsiteY20" fmla="*/ 196215 h 648652"/>
                <a:gd name="connsiteX21" fmla="*/ 400050 w 998219"/>
                <a:gd name="connsiteY21" fmla="*/ 221933 h 648652"/>
                <a:gd name="connsiteX22" fmla="*/ 423863 w 998219"/>
                <a:gd name="connsiteY22" fmla="*/ 264795 h 648652"/>
                <a:gd name="connsiteX23" fmla="*/ 377190 w 998219"/>
                <a:gd name="connsiteY23" fmla="*/ 276225 h 648652"/>
                <a:gd name="connsiteX24" fmla="*/ 360045 w 998219"/>
                <a:gd name="connsiteY24" fmla="*/ 247650 h 648652"/>
                <a:gd name="connsiteX25" fmla="*/ 327660 w 998219"/>
                <a:gd name="connsiteY25" fmla="*/ 237172 h 648652"/>
                <a:gd name="connsiteX26" fmla="*/ 285750 w 998219"/>
                <a:gd name="connsiteY26" fmla="*/ 256222 h 648652"/>
                <a:gd name="connsiteX27" fmla="*/ 269557 w 998219"/>
                <a:gd name="connsiteY27" fmla="*/ 317183 h 648652"/>
                <a:gd name="connsiteX28" fmla="*/ 285750 w 998219"/>
                <a:gd name="connsiteY28" fmla="*/ 381000 h 648652"/>
                <a:gd name="connsiteX29" fmla="*/ 327660 w 998219"/>
                <a:gd name="connsiteY29" fmla="*/ 400050 h 648652"/>
                <a:gd name="connsiteX30" fmla="*/ 360045 w 998219"/>
                <a:gd name="connsiteY30" fmla="*/ 387667 h 648652"/>
                <a:gd name="connsiteX31" fmla="*/ 380047 w 998219"/>
                <a:gd name="connsiteY31" fmla="*/ 349567 h 648652"/>
                <a:gd name="connsiteX32" fmla="*/ 425767 w 998219"/>
                <a:gd name="connsiteY32" fmla="*/ 363855 h 648652"/>
                <a:gd name="connsiteX33" fmla="*/ 389572 w 998219"/>
                <a:gd name="connsiteY33" fmla="*/ 421005 h 648652"/>
                <a:gd name="connsiteX34" fmla="*/ 652463 w 998219"/>
                <a:gd name="connsiteY34" fmla="*/ 407670 h 648652"/>
                <a:gd name="connsiteX35" fmla="*/ 569595 w 998219"/>
                <a:gd name="connsiteY35" fmla="*/ 440055 h 648652"/>
                <a:gd name="connsiteX36" fmla="*/ 486727 w 998219"/>
                <a:gd name="connsiteY36" fmla="*/ 407670 h 648652"/>
                <a:gd name="connsiteX37" fmla="*/ 456247 w 998219"/>
                <a:gd name="connsiteY37" fmla="*/ 320040 h 648652"/>
                <a:gd name="connsiteX38" fmla="*/ 466725 w 998219"/>
                <a:gd name="connsiteY38" fmla="*/ 260033 h 648652"/>
                <a:gd name="connsiteX39" fmla="*/ 488632 w 998219"/>
                <a:gd name="connsiteY39" fmla="*/ 227647 h 648652"/>
                <a:gd name="connsiteX40" fmla="*/ 519113 w 998219"/>
                <a:gd name="connsiteY40" fmla="*/ 206692 h 648652"/>
                <a:gd name="connsiteX41" fmla="*/ 569595 w 998219"/>
                <a:gd name="connsiteY41" fmla="*/ 197167 h 648652"/>
                <a:gd name="connsiteX42" fmla="*/ 652463 w 998219"/>
                <a:gd name="connsiteY42" fmla="*/ 229552 h 648652"/>
                <a:gd name="connsiteX43" fmla="*/ 683895 w 998219"/>
                <a:gd name="connsiteY43" fmla="*/ 319088 h 648652"/>
                <a:gd name="connsiteX44" fmla="*/ 652463 w 998219"/>
                <a:gd name="connsiteY44" fmla="*/ 407670 h 648652"/>
                <a:gd name="connsiteX45" fmla="*/ 759142 w 998219"/>
                <a:gd name="connsiteY45" fmla="*/ 450533 h 648652"/>
                <a:gd name="connsiteX46" fmla="*/ 759142 w 998219"/>
                <a:gd name="connsiteY46" fmla="*/ 465772 h 648652"/>
                <a:gd name="connsiteX47" fmla="*/ 701040 w 998219"/>
                <a:gd name="connsiteY47" fmla="*/ 465772 h 648652"/>
                <a:gd name="connsiteX48" fmla="*/ 706755 w 998219"/>
                <a:gd name="connsiteY48" fmla="*/ 449580 h 648652"/>
                <a:gd name="connsiteX49" fmla="*/ 725805 w 998219"/>
                <a:gd name="connsiteY49" fmla="*/ 428625 h 648652"/>
                <a:gd name="connsiteX50" fmla="*/ 739140 w 998219"/>
                <a:gd name="connsiteY50" fmla="*/ 414338 h 648652"/>
                <a:gd name="connsiteX51" fmla="*/ 742950 w 998219"/>
                <a:gd name="connsiteY51" fmla="*/ 403860 h 648652"/>
                <a:gd name="connsiteX52" fmla="*/ 740092 w 998219"/>
                <a:gd name="connsiteY52" fmla="*/ 395288 h 648652"/>
                <a:gd name="connsiteX53" fmla="*/ 731520 w 998219"/>
                <a:gd name="connsiteY53" fmla="*/ 392430 h 648652"/>
                <a:gd name="connsiteX54" fmla="*/ 722947 w 998219"/>
                <a:gd name="connsiteY54" fmla="*/ 395288 h 648652"/>
                <a:gd name="connsiteX55" fmla="*/ 719138 w 998219"/>
                <a:gd name="connsiteY55" fmla="*/ 405765 h 648652"/>
                <a:gd name="connsiteX56" fmla="*/ 702945 w 998219"/>
                <a:gd name="connsiteY56" fmla="*/ 403860 h 648652"/>
                <a:gd name="connsiteX57" fmla="*/ 712470 w 998219"/>
                <a:gd name="connsiteY57" fmla="*/ 383858 h 648652"/>
                <a:gd name="connsiteX58" fmla="*/ 731520 w 998219"/>
                <a:gd name="connsiteY58" fmla="*/ 378142 h 648652"/>
                <a:gd name="connsiteX59" fmla="*/ 751522 w 998219"/>
                <a:gd name="connsiteY59" fmla="*/ 384810 h 648652"/>
                <a:gd name="connsiteX60" fmla="*/ 759142 w 998219"/>
                <a:gd name="connsiteY60" fmla="*/ 401955 h 648652"/>
                <a:gd name="connsiteX61" fmla="*/ 757238 w 998219"/>
                <a:gd name="connsiteY61" fmla="*/ 413385 h 648652"/>
                <a:gd name="connsiteX62" fmla="*/ 750570 w 998219"/>
                <a:gd name="connsiteY62" fmla="*/ 424815 h 648652"/>
                <a:gd name="connsiteX63" fmla="*/ 740092 w 998219"/>
                <a:gd name="connsiteY63" fmla="*/ 436245 h 648652"/>
                <a:gd name="connsiteX64" fmla="*/ 730567 w 998219"/>
                <a:gd name="connsiteY64" fmla="*/ 445770 h 648652"/>
                <a:gd name="connsiteX65" fmla="*/ 726757 w 998219"/>
                <a:gd name="connsiteY65" fmla="*/ 450533 h 648652"/>
                <a:gd name="connsiteX66" fmla="*/ 759142 w 998219"/>
                <a:gd name="connsiteY66" fmla="*/ 450533 h 6486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Lst>
              <a:rect l="l" t="t" r="r" b="b"/>
              <a:pathLst>
                <a:path w="998219" h="648652">
                  <a:moveTo>
                    <a:pt x="789622" y="143827"/>
                  </a:moveTo>
                  <a:cubicBezTo>
                    <a:pt x="771525" y="143827"/>
                    <a:pt x="753427" y="145733"/>
                    <a:pt x="736282" y="150495"/>
                  </a:cubicBezTo>
                  <a:cubicBezTo>
                    <a:pt x="693420" y="60008"/>
                    <a:pt x="601027" y="0"/>
                    <a:pt x="499110" y="0"/>
                  </a:cubicBezTo>
                  <a:cubicBezTo>
                    <a:pt x="407670" y="0"/>
                    <a:pt x="324802" y="46672"/>
                    <a:pt x="277177" y="122872"/>
                  </a:cubicBezTo>
                  <a:cubicBezTo>
                    <a:pt x="255270" y="115252"/>
                    <a:pt x="232410" y="111442"/>
                    <a:pt x="209550" y="111442"/>
                  </a:cubicBezTo>
                  <a:cubicBezTo>
                    <a:pt x="93345" y="111442"/>
                    <a:pt x="0" y="205740"/>
                    <a:pt x="0" y="320992"/>
                  </a:cubicBezTo>
                  <a:cubicBezTo>
                    <a:pt x="0" y="436245"/>
                    <a:pt x="94297" y="530543"/>
                    <a:pt x="209550" y="530543"/>
                  </a:cubicBezTo>
                  <a:cubicBezTo>
                    <a:pt x="216217" y="530543"/>
                    <a:pt x="221932" y="530543"/>
                    <a:pt x="228600" y="529590"/>
                  </a:cubicBezTo>
                  <a:cubicBezTo>
                    <a:pt x="262890" y="601027"/>
                    <a:pt x="337185" y="648652"/>
                    <a:pt x="417195" y="648652"/>
                  </a:cubicBezTo>
                  <a:cubicBezTo>
                    <a:pt x="459105" y="648652"/>
                    <a:pt x="498157" y="636270"/>
                    <a:pt x="532447" y="613410"/>
                  </a:cubicBezTo>
                  <a:cubicBezTo>
                    <a:pt x="551497" y="621030"/>
                    <a:pt x="571500" y="625793"/>
                    <a:pt x="591502" y="625793"/>
                  </a:cubicBezTo>
                  <a:cubicBezTo>
                    <a:pt x="645795" y="625793"/>
                    <a:pt x="695325" y="596265"/>
                    <a:pt x="721042" y="550545"/>
                  </a:cubicBezTo>
                  <a:cubicBezTo>
                    <a:pt x="742950" y="558165"/>
                    <a:pt x="765810" y="561975"/>
                    <a:pt x="788670" y="561975"/>
                  </a:cubicBezTo>
                  <a:cubicBezTo>
                    <a:pt x="903922" y="561975"/>
                    <a:pt x="998220" y="467677"/>
                    <a:pt x="998220" y="352425"/>
                  </a:cubicBezTo>
                  <a:cubicBezTo>
                    <a:pt x="998220" y="237172"/>
                    <a:pt x="904875" y="143827"/>
                    <a:pt x="789622" y="143827"/>
                  </a:cubicBezTo>
                  <a:close/>
                  <a:moveTo>
                    <a:pt x="389572" y="421005"/>
                  </a:moveTo>
                  <a:cubicBezTo>
                    <a:pt x="373380" y="433388"/>
                    <a:pt x="352425" y="440055"/>
                    <a:pt x="327660" y="440055"/>
                  </a:cubicBezTo>
                  <a:cubicBezTo>
                    <a:pt x="296227" y="440055"/>
                    <a:pt x="270510" y="429577"/>
                    <a:pt x="250507" y="407670"/>
                  </a:cubicBezTo>
                  <a:cubicBezTo>
                    <a:pt x="230505" y="385763"/>
                    <a:pt x="220027" y="357188"/>
                    <a:pt x="220027" y="320040"/>
                  </a:cubicBezTo>
                  <a:cubicBezTo>
                    <a:pt x="220027" y="280988"/>
                    <a:pt x="230505" y="250508"/>
                    <a:pt x="250507" y="228600"/>
                  </a:cubicBezTo>
                  <a:cubicBezTo>
                    <a:pt x="270510" y="206692"/>
                    <a:pt x="297180" y="196215"/>
                    <a:pt x="330517" y="196215"/>
                  </a:cubicBezTo>
                  <a:cubicBezTo>
                    <a:pt x="359092" y="196215"/>
                    <a:pt x="382905" y="204788"/>
                    <a:pt x="400050" y="221933"/>
                  </a:cubicBezTo>
                  <a:cubicBezTo>
                    <a:pt x="410527" y="232410"/>
                    <a:pt x="419100" y="246697"/>
                    <a:pt x="423863" y="264795"/>
                  </a:cubicBezTo>
                  <a:lnTo>
                    <a:pt x="377190" y="276225"/>
                  </a:lnTo>
                  <a:cubicBezTo>
                    <a:pt x="374332" y="263842"/>
                    <a:pt x="368617" y="254317"/>
                    <a:pt x="360045" y="247650"/>
                  </a:cubicBezTo>
                  <a:cubicBezTo>
                    <a:pt x="351472" y="240983"/>
                    <a:pt x="340995" y="237172"/>
                    <a:pt x="327660" y="237172"/>
                  </a:cubicBezTo>
                  <a:cubicBezTo>
                    <a:pt x="310515" y="237172"/>
                    <a:pt x="296227" y="243840"/>
                    <a:pt x="285750" y="256222"/>
                  </a:cubicBezTo>
                  <a:cubicBezTo>
                    <a:pt x="275272" y="268605"/>
                    <a:pt x="269557" y="288608"/>
                    <a:pt x="269557" y="317183"/>
                  </a:cubicBezTo>
                  <a:cubicBezTo>
                    <a:pt x="269557" y="346710"/>
                    <a:pt x="275272" y="367665"/>
                    <a:pt x="285750" y="381000"/>
                  </a:cubicBezTo>
                  <a:cubicBezTo>
                    <a:pt x="296227" y="394335"/>
                    <a:pt x="310515" y="400050"/>
                    <a:pt x="327660" y="400050"/>
                  </a:cubicBezTo>
                  <a:cubicBezTo>
                    <a:pt x="340042" y="400050"/>
                    <a:pt x="351472" y="396240"/>
                    <a:pt x="360045" y="387667"/>
                  </a:cubicBezTo>
                  <a:cubicBezTo>
                    <a:pt x="369570" y="380047"/>
                    <a:pt x="375285" y="366713"/>
                    <a:pt x="380047" y="349567"/>
                  </a:cubicBezTo>
                  <a:lnTo>
                    <a:pt x="425767" y="363855"/>
                  </a:lnTo>
                  <a:cubicBezTo>
                    <a:pt x="417195" y="389572"/>
                    <a:pt x="405765" y="408622"/>
                    <a:pt x="389572" y="421005"/>
                  </a:cubicBezTo>
                  <a:close/>
                  <a:moveTo>
                    <a:pt x="652463" y="407670"/>
                  </a:moveTo>
                  <a:cubicBezTo>
                    <a:pt x="631507" y="428625"/>
                    <a:pt x="603885" y="440055"/>
                    <a:pt x="569595" y="440055"/>
                  </a:cubicBezTo>
                  <a:cubicBezTo>
                    <a:pt x="534352" y="440055"/>
                    <a:pt x="506730" y="429577"/>
                    <a:pt x="486727" y="407670"/>
                  </a:cubicBezTo>
                  <a:cubicBezTo>
                    <a:pt x="465772" y="386715"/>
                    <a:pt x="456247" y="357188"/>
                    <a:pt x="456247" y="320040"/>
                  </a:cubicBezTo>
                  <a:cubicBezTo>
                    <a:pt x="456247" y="296227"/>
                    <a:pt x="460057" y="276225"/>
                    <a:pt x="466725" y="260033"/>
                  </a:cubicBezTo>
                  <a:cubicBezTo>
                    <a:pt x="472440" y="247650"/>
                    <a:pt x="479107" y="237172"/>
                    <a:pt x="488632" y="227647"/>
                  </a:cubicBezTo>
                  <a:cubicBezTo>
                    <a:pt x="498157" y="218122"/>
                    <a:pt x="507682" y="211455"/>
                    <a:pt x="519113" y="206692"/>
                  </a:cubicBezTo>
                  <a:cubicBezTo>
                    <a:pt x="533400" y="200977"/>
                    <a:pt x="550545" y="197167"/>
                    <a:pt x="569595" y="197167"/>
                  </a:cubicBezTo>
                  <a:cubicBezTo>
                    <a:pt x="603885" y="197167"/>
                    <a:pt x="631507" y="207645"/>
                    <a:pt x="652463" y="229552"/>
                  </a:cubicBezTo>
                  <a:cubicBezTo>
                    <a:pt x="673417" y="251460"/>
                    <a:pt x="683895" y="280988"/>
                    <a:pt x="683895" y="319088"/>
                  </a:cubicBezTo>
                  <a:cubicBezTo>
                    <a:pt x="682942" y="356235"/>
                    <a:pt x="673417" y="385763"/>
                    <a:pt x="652463" y="407670"/>
                  </a:cubicBezTo>
                  <a:close/>
                  <a:moveTo>
                    <a:pt x="759142" y="450533"/>
                  </a:moveTo>
                  <a:lnTo>
                    <a:pt x="759142" y="465772"/>
                  </a:lnTo>
                  <a:lnTo>
                    <a:pt x="701040" y="465772"/>
                  </a:lnTo>
                  <a:cubicBezTo>
                    <a:pt x="701992" y="460058"/>
                    <a:pt x="703897" y="454342"/>
                    <a:pt x="706755" y="449580"/>
                  </a:cubicBezTo>
                  <a:cubicBezTo>
                    <a:pt x="709613" y="444817"/>
                    <a:pt x="716280" y="437197"/>
                    <a:pt x="725805" y="428625"/>
                  </a:cubicBezTo>
                  <a:cubicBezTo>
                    <a:pt x="733425" y="421958"/>
                    <a:pt x="738188" y="417195"/>
                    <a:pt x="739140" y="414338"/>
                  </a:cubicBezTo>
                  <a:cubicBezTo>
                    <a:pt x="741045" y="410527"/>
                    <a:pt x="742950" y="407670"/>
                    <a:pt x="742950" y="403860"/>
                  </a:cubicBezTo>
                  <a:cubicBezTo>
                    <a:pt x="742950" y="400050"/>
                    <a:pt x="741997" y="397192"/>
                    <a:pt x="740092" y="395288"/>
                  </a:cubicBezTo>
                  <a:cubicBezTo>
                    <a:pt x="738188" y="393383"/>
                    <a:pt x="735330" y="392430"/>
                    <a:pt x="731520" y="392430"/>
                  </a:cubicBezTo>
                  <a:cubicBezTo>
                    <a:pt x="727710" y="392430"/>
                    <a:pt x="724852" y="393383"/>
                    <a:pt x="722947" y="395288"/>
                  </a:cubicBezTo>
                  <a:cubicBezTo>
                    <a:pt x="721042" y="397192"/>
                    <a:pt x="720090" y="401002"/>
                    <a:pt x="719138" y="405765"/>
                  </a:cubicBezTo>
                  <a:lnTo>
                    <a:pt x="702945" y="403860"/>
                  </a:lnTo>
                  <a:cubicBezTo>
                    <a:pt x="703897" y="394335"/>
                    <a:pt x="706755" y="388620"/>
                    <a:pt x="712470" y="383858"/>
                  </a:cubicBezTo>
                  <a:cubicBezTo>
                    <a:pt x="717232" y="380047"/>
                    <a:pt x="723900" y="378142"/>
                    <a:pt x="731520" y="378142"/>
                  </a:cubicBezTo>
                  <a:cubicBezTo>
                    <a:pt x="740092" y="378142"/>
                    <a:pt x="746760" y="380047"/>
                    <a:pt x="751522" y="384810"/>
                  </a:cubicBezTo>
                  <a:cubicBezTo>
                    <a:pt x="756285" y="389572"/>
                    <a:pt x="759142" y="395288"/>
                    <a:pt x="759142" y="401955"/>
                  </a:cubicBezTo>
                  <a:cubicBezTo>
                    <a:pt x="759142" y="405765"/>
                    <a:pt x="758190" y="409575"/>
                    <a:pt x="757238" y="413385"/>
                  </a:cubicBezTo>
                  <a:cubicBezTo>
                    <a:pt x="756285" y="417195"/>
                    <a:pt x="753427" y="421005"/>
                    <a:pt x="750570" y="424815"/>
                  </a:cubicBezTo>
                  <a:cubicBezTo>
                    <a:pt x="748665" y="427672"/>
                    <a:pt x="744855" y="431483"/>
                    <a:pt x="740092" y="436245"/>
                  </a:cubicBezTo>
                  <a:cubicBezTo>
                    <a:pt x="735330" y="441008"/>
                    <a:pt x="731520" y="443865"/>
                    <a:pt x="730567" y="445770"/>
                  </a:cubicBezTo>
                  <a:cubicBezTo>
                    <a:pt x="729615" y="447675"/>
                    <a:pt x="727710" y="448627"/>
                    <a:pt x="726757" y="450533"/>
                  </a:cubicBezTo>
                  <a:lnTo>
                    <a:pt x="759142" y="450533"/>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grpSp>
        <p:nvGrpSpPr>
          <p:cNvPr id="78" name="Graphic 1">
            <a:extLst>
              <a:ext uri="{FF2B5EF4-FFF2-40B4-BE49-F238E27FC236}">
                <a16:creationId xmlns:a16="http://schemas.microsoft.com/office/drawing/2014/main" id="{C9CAEA71-CC75-4159-B469-0FB4DDD0CDAD}"/>
              </a:ext>
            </a:extLst>
          </p:cNvPr>
          <p:cNvGrpSpPr/>
          <p:nvPr/>
        </p:nvGrpSpPr>
        <p:grpSpPr>
          <a:xfrm>
            <a:off x="5183594" y="4088015"/>
            <a:ext cx="336316" cy="337196"/>
            <a:chOff x="8959214" y="2548890"/>
            <a:chExt cx="727710" cy="729614"/>
          </a:xfrm>
          <a:solidFill>
            <a:schemeClr val="bg2"/>
          </a:solidFill>
        </p:grpSpPr>
        <p:sp>
          <p:nvSpPr>
            <p:cNvPr id="79" name="Freeform: Shape 106">
              <a:extLst>
                <a:ext uri="{FF2B5EF4-FFF2-40B4-BE49-F238E27FC236}">
                  <a16:creationId xmlns:a16="http://schemas.microsoft.com/office/drawing/2014/main" id="{701E8BD2-78E1-4769-A7CD-168C484C2A4E}"/>
                </a:ext>
              </a:extLst>
            </p:cNvPr>
            <p:cNvSpPr/>
            <p:nvPr/>
          </p:nvSpPr>
          <p:spPr>
            <a:xfrm>
              <a:off x="8959214" y="3156584"/>
              <a:ext cx="120967" cy="121920"/>
            </a:xfrm>
            <a:custGeom>
              <a:avLst/>
              <a:gdLst>
                <a:gd name="connsiteX0" fmla="*/ 120968 w 120967"/>
                <a:gd name="connsiteY0" fmla="*/ 33338 h 121920"/>
                <a:gd name="connsiteX1" fmla="*/ 33338 w 120967"/>
                <a:gd name="connsiteY1" fmla="*/ 121920 h 121920"/>
                <a:gd name="connsiteX2" fmla="*/ 0 w 120967"/>
                <a:gd name="connsiteY2" fmla="*/ 88583 h 121920"/>
                <a:gd name="connsiteX3" fmla="*/ 87630 w 120967"/>
                <a:gd name="connsiteY3" fmla="*/ 0 h 121920"/>
                <a:gd name="connsiteX4" fmla="*/ 103823 w 120967"/>
                <a:gd name="connsiteY4" fmla="*/ 18098 h 121920"/>
                <a:gd name="connsiteX5" fmla="*/ 120968 w 120967"/>
                <a:gd name="connsiteY5" fmla="*/ 33338 h 121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0967" h="121920">
                  <a:moveTo>
                    <a:pt x="120968" y="33338"/>
                  </a:moveTo>
                  <a:lnTo>
                    <a:pt x="33338" y="121920"/>
                  </a:lnTo>
                  <a:lnTo>
                    <a:pt x="0" y="88583"/>
                  </a:lnTo>
                  <a:lnTo>
                    <a:pt x="87630" y="0"/>
                  </a:lnTo>
                  <a:cubicBezTo>
                    <a:pt x="92393" y="5715"/>
                    <a:pt x="98108" y="12383"/>
                    <a:pt x="103823" y="18098"/>
                  </a:cubicBezTo>
                  <a:cubicBezTo>
                    <a:pt x="109538" y="22860"/>
                    <a:pt x="115253" y="27623"/>
                    <a:pt x="120968" y="3333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nvGrpSpPr>
            <p:cNvPr id="80" name="Graphic 1">
              <a:extLst>
                <a:ext uri="{FF2B5EF4-FFF2-40B4-BE49-F238E27FC236}">
                  <a16:creationId xmlns:a16="http://schemas.microsoft.com/office/drawing/2014/main" id="{36D917F0-70B5-4B80-B94B-D3B2CF7D0671}"/>
                </a:ext>
              </a:extLst>
            </p:cNvPr>
            <p:cNvGrpSpPr/>
            <p:nvPr/>
          </p:nvGrpSpPr>
          <p:grpSpPr>
            <a:xfrm>
              <a:off x="8971174" y="2548890"/>
              <a:ext cx="715750" cy="716279"/>
              <a:chOff x="8971174" y="2548890"/>
              <a:chExt cx="715750" cy="716279"/>
            </a:xfrm>
            <a:grpFill/>
          </p:grpSpPr>
          <p:sp>
            <p:nvSpPr>
              <p:cNvPr id="81" name="Freeform: Shape 108">
                <a:extLst>
                  <a:ext uri="{FF2B5EF4-FFF2-40B4-BE49-F238E27FC236}">
                    <a16:creationId xmlns:a16="http://schemas.microsoft.com/office/drawing/2014/main" id="{74CF923C-EE53-45B2-9FF4-FD3CFBDCB9F1}"/>
                  </a:ext>
                </a:extLst>
              </p:cNvPr>
              <p:cNvSpPr/>
              <p:nvPr/>
            </p:nvSpPr>
            <p:spPr>
              <a:xfrm>
                <a:off x="8971174" y="2548890"/>
                <a:ext cx="715750" cy="716279"/>
              </a:xfrm>
              <a:custGeom>
                <a:avLst/>
                <a:gdLst>
                  <a:gd name="connsiteX0" fmla="*/ 686223 w 715750"/>
                  <a:gd name="connsiteY0" fmla="*/ 3810 h 716279"/>
                  <a:gd name="connsiteX1" fmla="*/ 91863 w 715750"/>
                  <a:gd name="connsiteY1" fmla="*/ 180975 h 716279"/>
                  <a:gd name="connsiteX2" fmla="*/ 75670 w 715750"/>
                  <a:gd name="connsiteY2" fmla="*/ 606743 h 716279"/>
                  <a:gd name="connsiteX3" fmla="*/ 149965 w 715750"/>
                  <a:gd name="connsiteY3" fmla="*/ 532447 h 716279"/>
                  <a:gd name="connsiteX4" fmla="*/ 183303 w 715750"/>
                  <a:gd name="connsiteY4" fmla="*/ 565785 h 716279"/>
                  <a:gd name="connsiteX5" fmla="*/ 109008 w 715750"/>
                  <a:gd name="connsiteY5" fmla="*/ 640080 h 716279"/>
                  <a:gd name="connsiteX6" fmla="*/ 313795 w 715750"/>
                  <a:gd name="connsiteY6" fmla="*/ 716280 h 716279"/>
                  <a:gd name="connsiteX7" fmla="*/ 535728 w 715750"/>
                  <a:gd name="connsiteY7" fmla="*/ 624840 h 716279"/>
                  <a:gd name="connsiteX8" fmla="*/ 711940 w 715750"/>
                  <a:gd name="connsiteY8" fmla="*/ 30480 h 716279"/>
                  <a:gd name="connsiteX9" fmla="*/ 715750 w 715750"/>
                  <a:gd name="connsiteY9" fmla="*/ 0 h 716279"/>
                  <a:gd name="connsiteX10" fmla="*/ 686223 w 715750"/>
                  <a:gd name="connsiteY10" fmla="*/ 3810 h 716279"/>
                  <a:gd name="connsiteX11" fmla="*/ 390948 w 715750"/>
                  <a:gd name="connsiteY11" fmla="*/ 454342 h 716279"/>
                  <a:gd name="connsiteX12" fmla="*/ 303318 w 715750"/>
                  <a:gd name="connsiteY12" fmla="*/ 488632 h 716279"/>
                  <a:gd name="connsiteX13" fmla="*/ 215688 w 715750"/>
                  <a:gd name="connsiteY13" fmla="*/ 455295 h 716279"/>
                  <a:gd name="connsiteX14" fmla="*/ 183303 w 715750"/>
                  <a:gd name="connsiteY14" fmla="*/ 362902 h 716279"/>
                  <a:gd name="connsiteX15" fmla="*/ 194733 w 715750"/>
                  <a:gd name="connsiteY15" fmla="*/ 299085 h 716279"/>
                  <a:gd name="connsiteX16" fmla="*/ 217593 w 715750"/>
                  <a:gd name="connsiteY16" fmla="*/ 264795 h 716279"/>
                  <a:gd name="connsiteX17" fmla="*/ 249978 w 715750"/>
                  <a:gd name="connsiteY17" fmla="*/ 242888 h 716279"/>
                  <a:gd name="connsiteX18" fmla="*/ 303318 w 715750"/>
                  <a:gd name="connsiteY18" fmla="*/ 233363 h 716279"/>
                  <a:gd name="connsiteX19" fmla="*/ 390948 w 715750"/>
                  <a:gd name="connsiteY19" fmla="*/ 267652 h 716279"/>
                  <a:gd name="connsiteX20" fmla="*/ 424286 w 715750"/>
                  <a:gd name="connsiteY20" fmla="*/ 361950 h 716279"/>
                  <a:gd name="connsiteX21" fmla="*/ 390948 w 715750"/>
                  <a:gd name="connsiteY21" fmla="*/ 454342 h 716279"/>
                  <a:gd name="connsiteX22" fmla="*/ 500486 w 715750"/>
                  <a:gd name="connsiteY22" fmla="*/ 500063 h 716279"/>
                  <a:gd name="connsiteX23" fmla="*/ 500486 w 715750"/>
                  <a:gd name="connsiteY23" fmla="*/ 516255 h 716279"/>
                  <a:gd name="connsiteX24" fmla="*/ 439525 w 715750"/>
                  <a:gd name="connsiteY24" fmla="*/ 516255 h 716279"/>
                  <a:gd name="connsiteX25" fmla="*/ 445240 w 715750"/>
                  <a:gd name="connsiteY25" fmla="*/ 499110 h 716279"/>
                  <a:gd name="connsiteX26" fmla="*/ 465243 w 715750"/>
                  <a:gd name="connsiteY26" fmla="*/ 477202 h 716279"/>
                  <a:gd name="connsiteX27" fmla="*/ 479530 w 715750"/>
                  <a:gd name="connsiteY27" fmla="*/ 461963 h 716279"/>
                  <a:gd name="connsiteX28" fmla="*/ 483340 w 715750"/>
                  <a:gd name="connsiteY28" fmla="*/ 451485 h 716279"/>
                  <a:gd name="connsiteX29" fmla="*/ 480483 w 715750"/>
                  <a:gd name="connsiteY29" fmla="*/ 442913 h 716279"/>
                  <a:gd name="connsiteX30" fmla="*/ 471911 w 715750"/>
                  <a:gd name="connsiteY30" fmla="*/ 440055 h 716279"/>
                  <a:gd name="connsiteX31" fmla="*/ 463338 w 715750"/>
                  <a:gd name="connsiteY31" fmla="*/ 442913 h 716279"/>
                  <a:gd name="connsiteX32" fmla="*/ 459528 w 715750"/>
                  <a:gd name="connsiteY32" fmla="*/ 454342 h 716279"/>
                  <a:gd name="connsiteX33" fmla="*/ 442383 w 715750"/>
                  <a:gd name="connsiteY33" fmla="*/ 452438 h 716279"/>
                  <a:gd name="connsiteX34" fmla="*/ 451908 w 715750"/>
                  <a:gd name="connsiteY34" fmla="*/ 431482 h 716279"/>
                  <a:gd name="connsiteX35" fmla="*/ 472863 w 715750"/>
                  <a:gd name="connsiteY35" fmla="*/ 424815 h 716279"/>
                  <a:gd name="connsiteX36" fmla="*/ 493818 w 715750"/>
                  <a:gd name="connsiteY36" fmla="*/ 432435 h 716279"/>
                  <a:gd name="connsiteX37" fmla="*/ 501438 w 715750"/>
                  <a:gd name="connsiteY37" fmla="*/ 450532 h 716279"/>
                  <a:gd name="connsiteX38" fmla="*/ 499533 w 715750"/>
                  <a:gd name="connsiteY38" fmla="*/ 461963 h 716279"/>
                  <a:gd name="connsiteX39" fmla="*/ 492865 w 715750"/>
                  <a:gd name="connsiteY39" fmla="*/ 473392 h 716279"/>
                  <a:gd name="connsiteX40" fmla="*/ 481436 w 715750"/>
                  <a:gd name="connsiteY40" fmla="*/ 484822 h 716279"/>
                  <a:gd name="connsiteX41" fmla="*/ 470958 w 715750"/>
                  <a:gd name="connsiteY41" fmla="*/ 495300 h 716279"/>
                  <a:gd name="connsiteX42" fmla="*/ 467148 w 715750"/>
                  <a:gd name="connsiteY42" fmla="*/ 500063 h 716279"/>
                  <a:gd name="connsiteX43" fmla="*/ 500486 w 715750"/>
                  <a:gd name="connsiteY43" fmla="*/ 500063 h 716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715750" h="716279">
                    <a:moveTo>
                      <a:pt x="686223" y="3810"/>
                    </a:moveTo>
                    <a:cubicBezTo>
                      <a:pt x="667173" y="6667"/>
                      <a:pt x="209973" y="62865"/>
                      <a:pt x="91863" y="180975"/>
                    </a:cubicBezTo>
                    <a:cubicBezTo>
                      <a:pt x="-25295" y="297180"/>
                      <a:pt x="-30057" y="483870"/>
                      <a:pt x="75670" y="606743"/>
                    </a:cubicBezTo>
                    <a:lnTo>
                      <a:pt x="149965" y="532447"/>
                    </a:lnTo>
                    <a:lnTo>
                      <a:pt x="183303" y="565785"/>
                    </a:lnTo>
                    <a:lnTo>
                      <a:pt x="109008" y="640080"/>
                    </a:lnTo>
                    <a:cubicBezTo>
                      <a:pt x="168063" y="690563"/>
                      <a:pt x="240453" y="716280"/>
                      <a:pt x="313795" y="716280"/>
                    </a:cubicBezTo>
                    <a:cubicBezTo>
                      <a:pt x="393805" y="716280"/>
                      <a:pt x="474768" y="685800"/>
                      <a:pt x="535728" y="624840"/>
                    </a:cubicBezTo>
                    <a:cubicBezTo>
                      <a:pt x="653838" y="506730"/>
                      <a:pt x="710036" y="50482"/>
                      <a:pt x="711940" y="30480"/>
                    </a:cubicBezTo>
                    <a:lnTo>
                      <a:pt x="715750" y="0"/>
                    </a:lnTo>
                    <a:lnTo>
                      <a:pt x="686223" y="3810"/>
                    </a:lnTo>
                    <a:close/>
                    <a:moveTo>
                      <a:pt x="390948" y="454342"/>
                    </a:moveTo>
                    <a:cubicBezTo>
                      <a:pt x="369040" y="477202"/>
                      <a:pt x="340465" y="488632"/>
                      <a:pt x="303318" y="488632"/>
                    </a:cubicBezTo>
                    <a:cubicBezTo>
                      <a:pt x="266170" y="488632"/>
                      <a:pt x="237595" y="477202"/>
                      <a:pt x="215688" y="455295"/>
                    </a:cubicBezTo>
                    <a:cubicBezTo>
                      <a:pt x="193780" y="432435"/>
                      <a:pt x="183303" y="401955"/>
                      <a:pt x="183303" y="362902"/>
                    </a:cubicBezTo>
                    <a:cubicBezTo>
                      <a:pt x="183303" y="338138"/>
                      <a:pt x="187113" y="316230"/>
                      <a:pt x="194733" y="299085"/>
                    </a:cubicBezTo>
                    <a:cubicBezTo>
                      <a:pt x="200448" y="286702"/>
                      <a:pt x="208068" y="275272"/>
                      <a:pt x="217593" y="264795"/>
                    </a:cubicBezTo>
                    <a:cubicBezTo>
                      <a:pt x="227118" y="254317"/>
                      <a:pt x="237595" y="247650"/>
                      <a:pt x="249978" y="242888"/>
                    </a:cubicBezTo>
                    <a:cubicBezTo>
                      <a:pt x="265218" y="236220"/>
                      <a:pt x="283315" y="233363"/>
                      <a:pt x="303318" y="233363"/>
                    </a:cubicBezTo>
                    <a:cubicBezTo>
                      <a:pt x="339513" y="233363"/>
                      <a:pt x="369040" y="244792"/>
                      <a:pt x="390948" y="267652"/>
                    </a:cubicBezTo>
                    <a:cubicBezTo>
                      <a:pt x="412855" y="290513"/>
                      <a:pt x="424286" y="321945"/>
                      <a:pt x="424286" y="361950"/>
                    </a:cubicBezTo>
                    <a:cubicBezTo>
                      <a:pt x="423333" y="400050"/>
                      <a:pt x="412855" y="431482"/>
                      <a:pt x="390948" y="454342"/>
                    </a:cubicBezTo>
                    <a:close/>
                    <a:moveTo>
                      <a:pt x="500486" y="500063"/>
                    </a:moveTo>
                    <a:lnTo>
                      <a:pt x="500486" y="516255"/>
                    </a:lnTo>
                    <a:lnTo>
                      <a:pt x="439525" y="516255"/>
                    </a:lnTo>
                    <a:cubicBezTo>
                      <a:pt x="440478" y="510540"/>
                      <a:pt x="442383" y="503872"/>
                      <a:pt x="445240" y="499110"/>
                    </a:cubicBezTo>
                    <a:cubicBezTo>
                      <a:pt x="448098" y="493395"/>
                      <a:pt x="454765" y="486727"/>
                      <a:pt x="465243" y="477202"/>
                    </a:cubicBezTo>
                    <a:cubicBezTo>
                      <a:pt x="472863" y="469582"/>
                      <a:pt x="477625" y="464820"/>
                      <a:pt x="479530" y="461963"/>
                    </a:cubicBezTo>
                    <a:cubicBezTo>
                      <a:pt x="482388" y="458152"/>
                      <a:pt x="483340" y="454342"/>
                      <a:pt x="483340" y="451485"/>
                    </a:cubicBezTo>
                    <a:cubicBezTo>
                      <a:pt x="483340" y="447675"/>
                      <a:pt x="482388" y="444817"/>
                      <a:pt x="480483" y="442913"/>
                    </a:cubicBezTo>
                    <a:cubicBezTo>
                      <a:pt x="478578" y="441007"/>
                      <a:pt x="475720" y="440055"/>
                      <a:pt x="471911" y="440055"/>
                    </a:cubicBezTo>
                    <a:cubicBezTo>
                      <a:pt x="468100" y="440055"/>
                      <a:pt x="465243" y="441007"/>
                      <a:pt x="463338" y="442913"/>
                    </a:cubicBezTo>
                    <a:cubicBezTo>
                      <a:pt x="461433" y="444817"/>
                      <a:pt x="459528" y="448627"/>
                      <a:pt x="459528" y="454342"/>
                    </a:cubicBezTo>
                    <a:lnTo>
                      <a:pt x="442383" y="452438"/>
                    </a:lnTo>
                    <a:cubicBezTo>
                      <a:pt x="443336" y="442913"/>
                      <a:pt x="447145" y="436245"/>
                      <a:pt x="451908" y="431482"/>
                    </a:cubicBezTo>
                    <a:cubicBezTo>
                      <a:pt x="456670" y="426720"/>
                      <a:pt x="464290" y="424815"/>
                      <a:pt x="472863" y="424815"/>
                    </a:cubicBezTo>
                    <a:cubicBezTo>
                      <a:pt x="481436" y="424815"/>
                      <a:pt x="489055" y="427672"/>
                      <a:pt x="493818" y="432435"/>
                    </a:cubicBezTo>
                    <a:cubicBezTo>
                      <a:pt x="498580" y="437197"/>
                      <a:pt x="501438" y="442913"/>
                      <a:pt x="501438" y="450532"/>
                    </a:cubicBezTo>
                    <a:cubicBezTo>
                      <a:pt x="501438" y="454342"/>
                      <a:pt x="500486" y="458152"/>
                      <a:pt x="499533" y="461963"/>
                    </a:cubicBezTo>
                    <a:cubicBezTo>
                      <a:pt x="497628" y="465772"/>
                      <a:pt x="495723" y="469582"/>
                      <a:pt x="492865" y="473392"/>
                    </a:cubicBezTo>
                    <a:cubicBezTo>
                      <a:pt x="490961" y="476250"/>
                      <a:pt x="487150" y="480060"/>
                      <a:pt x="481436" y="484822"/>
                    </a:cubicBezTo>
                    <a:cubicBezTo>
                      <a:pt x="475720" y="489585"/>
                      <a:pt x="472863" y="493395"/>
                      <a:pt x="470958" y="495300"/>
                    </a:cubicBezTo>
                    <a:cubicBezTo>
                      <a:pt x="469053" y="497205"/>
                      <a:pt x="468100" y="498157"/>
                      <a:pt x="467148" y="500063"/>
                    </a:cubicBezTo>
                    <a:lnTo>
                      <a:pt x="500486" y="500063"/>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82" name="Freeform: Shape 109">
                <a:extLst>
                  <a:ext uri="{FF2B5EF4-FFF2-40B4-BE49-F238E27FC236}">
                    <a16:creationId xmlns:a16="http://schemas.microsoft.com/office/drawing/2014/main" id="{E59F4046-41F5-47EE-862E-FFA106684021}"/>
                  </a:ext>
                </a:extLst>
              </p:cNvPr>
              <p:cNvSpPr/>
              <p:nvPr/>
            </p:nvSpPr>
            <p:spPr>
              <a:xfrm>
                <a:off x="9205912" y="2824162"/>
                <a:ext cx="137160" cy="170497"/>
              </a:xfrm>
              <a:custGeom>
                <a:avLst/>
                <a:gdLst>
                  <a:gd name="connsiteX0" fmla="*/ 68580 w 137160"/>
                  <a:gd name="connsiteY0" fmla="*/ 0 h 170497"/>
                  <a:gd name="connsiteX1" fmla="*/ 19050 w 137160"/>
                  <a:gd name="connsiteY1" fmla="*/ 20955 h 170497"/>
                  <a:gd name="connsiteX2" fmla="*/ 0 w 137160"/>
                  <a:gd name="connsiteY2" fmla="*/ 84772 h 170497"/>
                  <a:gd name="connsiteX3" fmla="*/ 19050 w 137160"/>
                  <a:gd name="connsiteY3" fmla="*/ 148590 h 170497"/>
                  <a:gd name="connsiteX4" fmla="*/ 68580 w 137160"/>
                  <a:gd name="connsiteY4" fmla="*/ 170497 h 170497"/>
                  <a:gd name="connsiteX5" fmla="*/ 118110 w 137160"/>
                  <a:gd name="connsiteY5" fmla="*/ 148590 h 170497"/>
                  <a:gd name="connsiteX6" fmla="*/ 137160 w 137160"/>
                  <a:gd name="connsiteY6" fmla="*/ 83820 h 170497"/>
                  <a:gd name="connsiteX7" fmla="*/ 118110 w 137160"/>
                  <a:gd name="connsiteY7" fmla="*/ 20003 h 170497"/>
                  <a:gd name="connsiteX8" fmla="*/ 68580 w 137160"/>
                  <a:gd name="connsiteY8" fmla="*/ 0 h 1704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7160" h="170497">
                    <a:moveTo>
                      <a:pt x="68580" y="0"/>
                    </a:moveTo>
                    <a:cubicBezTo>
                      <a:pt x="47625" y="0"/>
                      <a:pt x="31432" y="6667"/>
                      <a:pt x="19050" y="20955"/>
                    </a:cubicBezTo>
                    <a:cubicBezTo>
                      <a:pt x="6668" y="35242"/>
                      <a:pt x="0" y="56197"/>
                      <a:pt x="0" y="84772"/>
                    </a:cubicBezTo>
                    <a:cubicBezTo>
                      <a:pt x="0" y="112395"/>
                      <a:pt x="6668" y="134303"/>
                      <a:pt x="19050" y="148590"/>
                    </a:cubicBezTo>
                    <a:cubicBezTo>
                      <a:pt x="32385" y="162878"/>
                      <a:pt x="48577" y="170497"/>
                      <a:pt x="68580" y="170497"/>
                    </a:cubicBezTo>
                    <a:cubicBezTo>
                      <a:pt x="88582" y="170497"/>
                      <a:pt x="104775" y="162878"/>
                      <a:pt x="118110" y="148590"/>
                    </a:cubicBezTo>
                    <a:cubicBezTo>
                      <a:pt x="130493" y="134303"/>
                      <a:pt x="137160" y="112395"/>
                      <a:pt x="137160" y="83820"/>
                    </a:cubicBezTo>
                    <a:cubicBezTo>
                      <a:pt x="137160" y="55245"/>
                      <a:pt x="130493" y="34290"/>
                      <a:pt x="118110" y="20003"/>
                    </a:cubicBezTo>
                    <a:cubicBezTo>
                      <a:pt x="105727" y="6667"/>
                      <a:pt x="89535" y="0"/>
                      <a:pt x="68580" y="0"/>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grpSp>
      <p:grpSp>
        <p:nvGrpSpPr>
          <p:cNvPr id="83" name="Graphic 1">
            <a:extLst>
              <a:ext uri="{FF2B5EF4-FFF2-40B4-BE49-F238E27FC236}">
                <a16:creationId xmlns:a16="http://schemas.microsoft.com/office/drawing/2014/main" id="{2689763D-7D51-4A76-9040-BC10838A7205}"/>
              </a:ext>
            </a:extLst>
          </p:cNvPr>
          <p:cNvGrpSpPr/>
          <p:nvPr/>
        </p:nvGrpSpPr>
        <p:grpSpPr>
          <a:xfrm>
            <a:off x="1125631" y="4438608"/>
            <a:ext cx="351680" cy="212414"/>
            <a:chOff x="1347787" y="2615565"/>
            <a:chExt cx="952500" cy="575309"/>
          </a:xfrm>
          <a:solidFill>
            <a:schemeClr val="bg2"/>
          </a:solidFill>
        </p:grpSpPr>
        <p:sp>
          <p:nvSpPr>
            <p:cNvPr id="84" name="Freeform: Shape 111">
              <a:extLst>
                <a:ext uri="{FF2B5EF4-FFF2-40B4-BE49-F238E27FC236}">
                  <a16:creationId xmlns:a16="http://schemas.microsoft.com/office/drawing/2014/main" id="{4FC56AC3-D3D4-4483-B8B7-43202DE4D6A5}"/>
                </a:ext>
              </a:extLst>
            </p:cNvPr>
            <p:cNvSpPr/>
            <p:nvPr/>
          </p:nvSpPr>
          <p:spPr>
            <a:xfrm>
              <a:off x="2062162" y="2812732"/>
              <a:ext cx="238125" cy="378142"/>
            </a:xfrm>
            <a:custGeom>
              <a:avLst/>
              <a:gdLst>
                <a:gd name="connsiteX0" fmla="*/ 43815 w 238125"/>
                <a:gd name="connsiteY0" fmla="*/ 0 h 378142"/>
                <a:gd name="connsiteX1" fmla="*/ 0 w 238125"/>
                <a:gd name="connsiteY1" fmla="*/ 0 h 378142"/>
                <a:gd name="connsiteX2" fmla="*/ 0 w 238125"/>
                <a:gd name="connsiteY2" fmla="*/ 378142 h 378142"/>
                <a:gd name="connsiteX3" fmla="*/ 238125 w 238125"/>
                <a:gd name="connsiteY3" fmla="*/ 378142 h 378142"/>
                <a:gd name="connsiteX4" fmla="*/ 238125 w 238125"/>
                <a:gd name="connsiteY4" fmla="*/ 195263 h 378142"/>
                <a:gd name="connsiteX5" fmla="*/ 43815 w 238125"/>
                <a:gd name="connsiteY5" fmla="*/ 0 h 3781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8125" h="378142">
                  <a:moveTo>
                    <a:pt x="43815" y="0"/>
                  </a:moveTo>
                  <a:lnTo>
                    <a:pt x="0" y="0"/>
                  </a:lnTo>
                  <a:lnTo>
                    <a:pt x="0" y="378142"/>
                  </a:lnTo>
                  <a:lnTo>
                    <a:pt x="238125" y="378142"/>
                  </a:lnTo>
                  <a:lnTo>
                    <a:pt x="238125" y="195263"/>
                  </a:lnTo>
                  <a:cubicBezTo>
                    <a:pt x="238125" y="87630"/>
                    <a:pt x="150495" y="0"/>
                    <a:pt x="43815" y="0"/>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85" name="Freeform: Shape 112">
              <a:extLst>
                <a:ext uri="{FF2B5EF4-FFF2-40B4-BE49-F238E27FC236}">
                  <a16:creationId xmlns:a16="http://schemas.microsoft.com/office/drawing/2014/main" id="{BA944CBC-0D71-441A-91E6-5D190D2D5F10}"/>
                </a:ext>
              </a:extLst>
            </p:cNvPr>
            <p:cNvSpPr/>
            <p:nvPr/>
          </p:nvSpPr>
          <p:spPr>
            <a:xfrm>
              <a:off x="1347787" y="2714625"/>
              <a:ext cx="139065" cy="476250"/>
            </a:xfrm>
            <a:custGeom>
              <a:avLst/>
              <a:gdLst>
                <a:gd name="connsiteX0" fmla="*/ 0 w 139065"/>
                <a:gd name="connsiteY0" fmla="*/ 0 h 476250"/>
                <a:gd name="connsiteX1" fmla="*/ 139065 w 139065"/>
                <a:gd name="connsiteY1" fmla="*/ 0 h 476250"/>
                <a:gd name="connsiteX2" fmla="*/ 139065 w 139065"/>
                <a:gd name="connsiteY2" fmla="*/ 476250 h 476250"/>
                <a:gd name="connsiteX3" fmla="*/ 0 w 139065"/>
                <a:gd name="connsiteY3" fmla="*/ 476250 h 476250"/>
              </a:gdLst>
              <a:ahLst/>
              <a:cxnLst>
                <a:cxn ang="0">
                  <a:pos x="connsiteX0" y="connsiteY0"/>
                </a:cxn>
                <a:cxn ang="0">
                  <a:pos x="connsiteX1" y="connsiteY1"/>
                </a:cxn>
                <a:cxn ang="0">
                  <a:pos x="connsiteX2" y="connsiteY2"/>
                </a:cxn>
                <a:cxn ang="0">
                  <a:pos x="connsiteX3" y="connsiteY3"/>
                </a:cxn>
              </a:cxnLst>
              <a:rect l="l" t="t" r="r" b="b"/>
              <a:pathLst>
                <a:path w="139065" h="476250">
                  <a:moveTo>
                    <a:pt x="0" y="0"/>
                  </a:moveTo>
                  <a:lnTo>
                    <a:pt x="139065" y="0"/>
                  </a:lnTo>
                  <a:lnTo>
                    <a:pt x="139065" y="476250"/>
                  </a:lnTo>
                  <a:lnTo>
                    <a:pt x="0" y="47625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86" name="Freeform: Shape 113">
              <a:extLst>
                <a:ext uri="{FF2B5EF4-FFF2-40B4-BE49-F238E27FC236}">
                  <a16:creationId xmlns:a16="http://schemas.microsoft.com/office/drawing/2014/main" id="{3D7B7037-9226-4B7B-9D26-5855C2B8B9FE}"/>
                </a:ext>
              </a:extLst>
            </p:cNvPr>
            <p:cNvSpPr/>
            <p:nvPr/>
          </p:nvSpPr>
          <p:spPr>
            <a:xfrm>
              <a:off x="1522094" y="2615565"/>
              <a:ext cx="540067" cy="435292"/>
            </a:xfrm>
            <a:custGeom>
              <a:avLst/>
              <a:gdLst>
                <a:gd name="connsiteX0" fmla="*/ 344805 w 540067"/>
                <a:gd name="connsiteY0" fmla="*/ 99060 h 435292"/>
                <a:gd name="connsiteX1" fmla="*/ 540068 w 540067"/>
                <a:gd name="connsiteY1" fmla="*/ 99060 h 435292"/>
                <a:gd name="connsiteX2" fmla="*/ 540068 w 540067"/>
                <a:gd name="connsiteY2" fmla="*/ 0 h 435292"/>
                <a:gd name="connsiteX3" fmla="*/ 344805 w 540067"/>
                <a:gd name="connsiteY3" fmla="*/ 0 h 435292"/>
                <a:gd name="connsiteX4" fmla="*/ 259080 w 540067"/>
                <a:gd name="connsiteY4" fmla="*/ 0 h 435292"/>
                <a:gd name="connsiteX5" fmla="*/ 63818 w 540067"/>
                <a:gd name="connsiteY5" fmla="*/ 0 h 435292"/>
                <a:gd name="connsiteX6" fmla="*/ 63818 w 540067"/>
                <a:gd name="connsiteY6" fmla="*/ 99060 h 435292"/>
                <a:gd name="connsiteX7" fmla="*/ 259080 w 540067"/>
                <a:gd name="connsiteY7" fmla="*/ 99060 h 435292"/>
                <a:gd name="connsiteX8" fmla="*/ 259080 w 540067"/>
                <a:gd name="connsiteY8" fmla="*/ 197167 h 435292"/>
                <a:gd name="connsiteX9" fmla="*/ 0 w 540067"/>
                <a:gd name="connsiteY9" fmla="*/ 197167 h 435292"/>
                <a:gd name="connsiteX10" fmla="*/ 0 w 540067"/>
                <a:gd name="connsiteY10" fmla="*/ 435292 h 435292"/>
                <a:gd name="connsiteX11" fmla="*/ 505778 w 540067"/>
                <a:gd name="connsiteY11" fmla="*/ 435292 h 435292"/>
                <a:gd name="connsiteX12" fmla="*/ 505778 w 540067"/>
                <a:gd name="connsiteY12" fmla="*/ 197167 h 435292"/>
                <a:gd name="connsiteX13" fmla="*/ 344805 w 540067"/>
                <a:gd name="connsiteY13" fmla="*/ 197167 h 435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40067" h="435292">
                  <a:moveTo>
                    <a:pt x="344805" y="99060"/>
                  </a:moveTo>
                  <a:lnTo>
                    <a:pt x="540068" y="99060"/>
                  </a:lnTo>
                  <a:lnTo>
                    <a:pt x="540068" y="0"/>
                  </a:lnTo>
                  <a:lnTo>
                    <a:pt x="344805" y="0"/>
                  </a:lnTo>
                  <a:lnTo>
                    <a:pt x="259080" y="0"/>
                  </a:lnTo>
                  <a:lnTo>
                    <a:pt x="63818" y="0"/>
                  </a:lnTo>
                  <a:lnTo>
                    <a:pt x="63818" y="99060"/>
                  </a:lnTo>
                  <a:lnTo>
                    <a:pt x="259080" y="99060"/>
                  </a:lnTo>
                  <a:lnTo>
                    <a:pt x="259080" y="197167"/>
                  </a:lnTo>
                  <a:lnTo>
                    <a:pt x="0" y="197167"/>
                  </a:lnTo>
                  <a:lnTo>
                    <a:pt x="0" y="435292"/>
                  </a:lnTo>
                  <a:lnTo>
                    <a:pt x="505778" y="435292"/>
                  </a:lnTo>
                  <a:lnTo>
                    <a:pt x="505778" y="197167"/>
                  </a:lnTo>
                  <a:lnTo>
                    <a:pt x="344805" y="197167"/>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grpSp>
        <p:nvGrpSpPr>
          <p:cNvPr id="87" name="Graphic 1">
            <a:extLst>
              <a:ext uri="{FF2B5EF4-FFF2-40B4-BE49-F238E27FC236}">
                <a16:creationId xmlns:a16="http://schemas.microsoft.com/office/drawing/2014/main" id="{118787DD-82E5-4BAA-B1B1-62C96B4FA9C2}"/>
              </a:ext>
            </a:extLst>
          </p:cNvPr>
          <p:cNvGrpSpPr/>
          <p:nvPr/>
        </p:nvGrpSpPr>
        <p:grpSpPr>
          <a:xfrm>
            <a:off x="3830268" y="5765706"/>
            <a:ext cx="291430" cy="273850"/>
            <a:chOff x="9910762" y="3682365"/>
            <a:chExt cx="931544" cy="875347"/>
          </a:xfrm>
          <a:solidFill>
            <a:schemeClr val="bg2"/>
          </a:solidFill>
        </p:grpSpPr>
        <p:sp>
          <p:nvSpPr>
            <p:cNvPr id="88" name="Freeform: Shape 118">
              <a:extLst>
                <a:ext uri="{FF2B5EF4-FFF2-40B4-BE49-F238E27FC236}">
                  <a16:creationId xmlns:a16="http://schemas.microsoft.com/office/drawing/2014/main" id="{545FBDBC-7CF7-4393-9998-64C6D0CBF836}"/>
                </a:ext>
              </a:extLst>
            </p:cNvPr>
            <p:cNvSpPr/>
            <p:nvPr/>
          </p:nvSpPr>
          <p:spPr>
            <a:xfrm>
              <a:off x="10273664" y="3682365"/>
              <a:ext cx="351472" cy="341947"/>
            </a:xfrm>
            <a:custGeom>
              <a:avLst/>
              <a:gdLst>
                <a:gd name="connsiteX0" fmla="*/ 351473 w 351472"/>
                <a:gd name="connsiteY0" fmla="*/ 237172 h 341947"/>
                <a:gd name="connsiteX1" fmla="*/ 169545 w 351472"/>
                <a:gd name="connsiteY1" fmla="*/ 341947 h 341947"/>
                <a:gd name="connsiteX2" fmla="*/ 0 w 351472"/>
                <a:gd name="connsiteY2" fmla="*/ 0 h 341947"/>
                <a:gd name="connsiteX3" fmla="*/ 213360 w 351472"/>
                <a:gd name="connsiteY3" fmla="*/ 0 h 341947"/>
              </a:gdLst>
              <a:ahLst/>
              <a:cxnLst>
                <a:cxn ang="0">
                  <a:pos x="connsiteX0" y="connsiteY0"/>
                </a:cxn>
                <a:cxn ang="0">
                  <a:pos x="connsiteX1" y="connsiteY1"/>
                </a:cxn>
                <a:cxn ang="0">
                  <a:pos x="connsiteX2" y="connsiteY2"/>
                </a:cxn>
                <a:cxn ang="0">
                  <a:pos x="connsiteX3" y="connsiteY3"/>
                </a:cxn>
              </a:cxnLst>
              <a:rect l="l" t="t" r="r" b="b"/>
              <a:pathLst>
                <a:path w="351472" h="341947">
                  <a:moveTo>
                    <a:pt x="351473" y="237172"/>
                  </a:moveTo>
                  <a:lnTo>
                    <a:pt x="169545" y="341947"/>
                  </a:lnTo>
                  <a:lnTo>
                    <a:pt x="0" y="0"/>
                  </a:lnTo>
                  <a:lnTo>
                    <a:pt x="213360" y="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89" name="Freeform: Shape 119">
              <a:extLst>
                <a:ext uri="{FF2B5EF4-FFF2-40B4-BE49-F238E27FC236}">
                  <a16:creationId xmlns:a16="http://schemas.microsoft.com/office/drawing/2014/main" id="{84F7059F-FDEA-4DAD-B1C7-46FCDC199C18}"/>
                </a:ext>
              </a:extLst>
            </p:cNvPr>
            <p:cNvSpPr/>
            <p:nvPr/>
          </p:nvSpPr>
          <p:spPr>
            <a:xfrm>
              <a:off x="9910762" y="4090034"/>
              <a:ext cx="295275" cy="395287"/>
            </a:xfrm>
            <a:custGeom>
              <a:avLst/>
              <a:gdLst>
                <a:gd name="connsiteX0" fmla="*/ 121920 w 295275"/>
                <a:gd name="connsiteY0" fmla="*/ 0 h 395287"/>
                <a:gd name="connsiteX1" fmla="*/ 295275 w 295275"/>
                <a:gd name="connsiteY1" fmla="*/ 100013 h 395287"/>
                <a:gd name="connsiteX2" fmla="*/ 106680 w 295275"/>
                <a:gd name="connsiteY2" fmla="*/ 395288 h 395287"/>
                <a:gd name="connsiteX3" fmla="*/ 0 w 295275"/>
                <a:gd name="connsiteY3" fmla="*/ 210503 h 395287"/>
                <a:gd name="connsiteX4" fmla="*/ 121920 w 295275"/>
                <a:gd name="connsiteY4" fmla="*/ 0 h 3952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5275" h="395287">
                  <a:moveTo>
                    <a:pt x="121920" y="0"/>
                  </a:moveTo>
                  <a:lnTo>
                    <a:pt x="295275" y="100013"/>
                  </a:lnTo>
                  <a:lnTo>
                    <a:pt x="106680" y="395288"/>
                  </a:lnTo>
                  <a:cubicBezTo>
                    <a:pt x="60007" y="315278"/>
                    <a:pt x="47625" y="293370"/>
                    <a:pt x="0" y="210503"/>
                  </a:cubicBezTo>
                  <a:lnTo>
                    <a:pt x="121920" y="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90" name="Freeform: Shape 120">
              <a:extLst>
                <a:ext uri="{FF2B5EF4-FFF2-40B4-BE49-F238E27FC236}">
                  <a16:creationId xmlns:a16="http://schemas.microsoft.com/office/drawing/2014/main" id="{2EF62C27-0081-4D3E-8775-EAFE4CB274A6}"/>
                </a:ext>
              </a:extLst>
            </p:cNvPr>
            <p:cNvSpPr/>
            <p:nvPr/>
          </p:nvSpPr>
          <p:spPr>
            <a:xfrm>
              <a:off x="10463212" y="4306252"/>
              <a:ext cx="379094" cy="184784"/>
            </a:xfrm>
            <a:custGeom>
              <a:avLst/>
              <a:gdLst>
                <a:gd name="connsiteX0" fmla="*/ 379095 w 379094"/>
                <a:gd name="connsiteY0" fmla="*/ 0 h 184784"/>
                <a:gd name="connsiteX1" fmla="*/ 272415 w 379094"/>
                <a:gd name="connsiteY1" fmla="*/ 184785 h 184784"/>
                <a:gd name="connsiteX2" fmla="*/ 0 w 379094"/>
                <a:gd name="connsiteY2" fmla="*/ 184785 h 184784"/>
                <a:gd name="connsiteX3" fmla="*/ 0 w 379094"/>
                <a:gd name="connsiteY3" fmla="*/ 0 h 184784"/>
                <a:gd name="connsiteX4" fmla="*/ 379095 w 379094"/>
                <a:gd name="connsiteY4" fmla="*/ 0 h 1847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094" h="184784">
                  <a:moveTo>
                    <a:pt x="379095" y="0"/>
                  </a:moveTo>
                  <a:cubicBezTo>
                    <a:pt x="332423" y="80010"/>
                    <a:pt x="320040" y="101917"/>
                    <a:pt x="272415" y="184785"/>
                  </a:cubicBezTo>
                  <a:lnTo>
                    <a:pt x="0" y="184785"/>
                  </a:lnTo>
                  <a:lnTo>
                    <a:pt x="0" y="0"/>
                  </a:lnTo>
                  <a:lnTo>
                    <a:pt x="379095" y="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91" name="Freeform: Shape 121">
              <a:extLst>
                <a:ext uri="{FF2B5EF4-FFF2-40B4-BE49-F238E27FC236}">
                  <a16:creationId xmlns:a16="http://schemas.microsoft.com/office/drawing/2014/main" id="{F9DB1B1E-DCC3-415B-96EC-86064EDAF2A1}"/>
                </a:ext>
              </a:extLst>
            </p:cNvPr>
            <p:cNvSpPr/>
            <p:nvPr/>
          </p:nvSpPr>
          <p:spPr>
            <a:xfrm>
              <a:off x="10491787" y="4023359"/>
              <a:ext cx="350519" cy="273367"/>
            </a:xfrm>
            <a:custGeom>
              <a:avLst/>
              <a:gdLst>
                <a:gd name="connsiteX0" fmla="*/ 192405 w 350519"/>
                <a:gd name="connsiteY0" fmla="*/ 0 h 273367"/>
                <a:gd name="connsiteX1" fmla="*/ 156210 w 350519"/>
                <a:gd name="connsiteY1" fmla="*/ 68580 h 273367"/>
                <a:gd name="connsiteX2" fmla="*/ 137160 w 350519"/>
                <a:gd name="connsiteY2" fmla="*/ 105728 h 273367"/>
                <a:gd name="connsiteX3" fmla="*/ 95250 w 350519"/>
                <a:gd name="connsiteY3" fmla="*/ 103822 h 273367"/>
                <a:gd name="connsiteX4" fmla="*/ 0 w 350519"/>
                <a:gd name="connsiteY4" fmla="*/ 100013 h 273367"/>
                <a:gd name="connsiteX5" fmla="*/ 85725 w 350519"/>
                <a:gd name="connsiteY5" fmla="*/ 273368 h 273367"/>
                <a:gd name="connsiteX6" fmla="*/ 350520 w 350519"/>
                <a:gd name="connsiteY6" fmla="*/ 273368 h 2733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50519" h="273367">
                  <a:moveTo>
                    <a:pt x="192405" y="0"/>
                  </a:moveTo>
                  <a:lnTo>
                    <a:pt x="156210" y="68580"/>
                  </a:lnTo>
                  <a:lnTo>
                    <a:pt x="137160" y="105728"/>
                  </a:lnTo>
                  <a:lnTo>
                    <a:pt x="95250" y="103822"/>
                  </a:lnTo>
                  <a:lnTo>
                    <a:pt x="0" y="100013"/>
                  </a:lnTo>
                  <a:lnTo>
                    <a:pt x="85725" y="273368"/>
                  </a:lnTo>
                  <a:lnTo>
                    <a:pt x="350520" y="273368"/>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92" name="Freeform: Shape 122">
              <a:extLst>
                <a:ext uri="{FF2B5EF4-FFF2-40B4-BE49-F238E27FC236}">
                  <a16:creationId xmlns:a16="http://schemas.microsoft.com/office/drawing/2014/main" id="{2EA38622-7AF7-4264-B5DE-62D20D4F3C48}"/>
                </a:ext>
              </a:extLst>
            </p:cNvPr>
            <p:cNvSpPr/>
            <p:nvPr/>
          </p:nvSpPr>
          <p:spPr>
            <a:xfrm>
              <a:off x="10395584" y="3889057"/>
              <a:ext cx="283844" cy="171450"/>
            </a:xfrm>
            <a:custGeom>
              <a:avLst/>
              <a:gdLst>
                <a:gd name="connsiteX0" fmla="*/ 283845 w 283844"/>
                <a:gd name="connsiteY0" fmla="*/ 953 h 171450"/>
                <a:gd name="connsiteX1" fmla="*/ 249555 w 283844"/>
                <a:gd name="connsiteY1" fmla="*/ 65723 h 171450"/>
                <a:gd name="connsiteX2" fmla="*/ 193357 w 283844"/>
                <a:gd name="connsiteY2" fmla="*/ 171450 h 171450"/>
                <a:gd name="connsiteX3" fmla="*/ 62865 w 283844"/>
                <a:gd name="connsiteY3" fmla="*/ 166688 h 171450"/>
                <a:gd name="connsiteX4" fmla="*/ 952 w 283844"/>
                <a:gd name="connsiteY4" fmla="*/ 163830 h 171450"/>
                <a:gd name="connsiteX5" fmla="*/ 0 w 283844"/>
                <a:gd name="connsiteY5" fmla="*/ 162878 h 171450"/>
                <a:gd name="connsiteX6" fmla="*/ 47625 w 283844"/>
                <a:gd name="connsiteY6" fmla="*/ 135255 h 171450"/>
                <a:gd name="connsiteX7" fmla="*/ 229552 w 283844"/>
                <a:gd name="connsiteY7" fmla="*/ 30480 h 171450"/>
                <a:gd name="connsiteX8" fmla="*/ 282892 w 283844"/>
                <a:gd name="connsiteY8" fmla="*/ 0 h 17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3844" h="171450">
                  <a:moveTo>
                    <a:pt x="283845" y="953"/>
                  </a:moveTo>
                  <a:lnTo>
                    <a:pt x="249555" y="65723"/>
                  </a:lnTo>
                  <a:lnTo>
                    <a:pt x="193357" y="171450"/>
                  </a:lnTo>
                  <a:lnTo>
                    <a:pt x="62865" y="166688"/>
                  </a:lnTo>
                  <a:lnTo>
                    <a:pt x="952" y="163830"/>
                  </a:lnTo>
                  <a:lnTo>
                    <a:pt x="0" y="162878"/>
                  </a:lnTo>
                  <a:lnTo>
                    <a:pt x="47625" y="135255"/>
                  </a:lnTo>
                  <a:lnTo>
                    <a:pt x="229552" y="30480"/>
                  </a:lnTo>
                  <a:lnTo>
                    <a:pt x="282892" y="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93" name="Freeform: Shape 123">
              <a:extLst>
                <a:ext uri="{FF2B5EF4-FFF2-40B4-BE49-F238E27FC236}">
                  <a16:creationId xmlns:a16="http://schemas.microsoft.com/office/drawing/2014/main" id="{4783DD17-FF91-4201-ABA8-4A2A5C25A4D3}"/>
                </a:ext>
              </a:extLst>
            </p:cNvPr>
            <p:cNvSpPr/>
            <p:nvPr/>
          </p:nvSpPr>
          <p:spPr>
            <a:xfrm>
              <a:off x="10026014" y="4306252"/>
              <a:ext cx="315277" cy="183832"/>
            </a:xfrm>
            <a:custGeom>
              <a:avLst/>
              <a:gdLst>
                <a:gd name="connsiteX0" fmla="*/ 277178 w 315277"/>
                <a:gd name="connsiteY0" fmla="*/ 123825 h 183832"/>
                <a:gd name="connsiteX1" fmla="*/ 254318 w 315277"/>
                <a:gd name="connsiteY1" fmla="*/ 88582 h 183832"/>
                <a:gd name="connsiteX2" fmla="*/ 277178 w 315277"/>
                <a:gd name="connsiteY2" fmla="*/ 53340 h 183832"/>
                <a:gd name="connsiteX3" fmla="*/ 310515 w 315277"/>
                <a:gd name="connsiteY3" fmla="*/ 0 h 183832"/>
                <a:gd name="connsiteX4" fmla="*/ 118110 w 315277"/>
                <a:gd name="connsiteY4" fmla="*/ 0 h 183832"/>
                <a:gd name="connsiteX5" fmla="*/ 0 w 315277"/>
                <a:gd name="connsiteY5" fmla="*/ 183832 h 183832"/>
                <a:gd name="connsiteX6" fmla="*/ 315278 w 315277"/>
                <a:gd name="connsiteY6" fmla="*/ 183832 h 183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5277" h="183832">
                  <a:moveTo>
                    <a:pt x="277178" y="123825"/>
                  </a:moveTo>
                  <a:lnTo>
                    <a:pt x="254318" y="88582"/>
                  </a:lnTo>
                  <a:lnTo>
                    <a:pt x="277178" y="53340"/>
                  </a:lnTo>
                  <a:lnTo>
                    <a:pt x="310515" y="0"/>
                  </a:lnTo>
                  <a:lnTo>
                    <a:pt x="118110" y="0"/>
                  </a:lnTo>
                  <a:lnTo>
                    <a:pt x="0" y="183832"/>
                  </a:lnTo>
                  <a:lnTo>
                    <a:pt x="315278" y="183832"/>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94" name="Freeform: Shape 124">
              <a:extLst>
                <a:ext uri="{FF2B5EF4-FFF2-40B4-BE49-F238E27FC236}">
                  <a16:creationId xmlns:a16="http://schemas.microsoft.com/office/drawing/2014/main" id="{E198A84C-92FF-4E0C-BC86-99BD6E94337C}"/>
                </a:ext>
              </a:extLst>
            </p:cNvPr>
            <p:cNvSpPr/>
            <p:nvPr/>
          </p:nvSpPr>
          <p:spPr>
            <a:xfrm>
              <a:off x="10359389" y="4231957"/>
              <a:ext cx="103822" cy="325755"/>
            </a:xfrm>
            <a:custGeom>
              <a:avLst/>
              <a:gdLst>
                <a:gd name="connsiteX0" fmla="*/ 103823 w 103822"/>
                <a:gd name="connsiteY0" fmla="*/ 0 h 325755"/>
                <a:gd name="connsiteX1" fmla="*/ 103823 w 103822"/>
                <a:gd name="connsiteY1" fmla="*/ 325755 h 325755"/>
                <a:gd name="connsiteX2" fmla="*/ 102870 w 103822"/>
                <a:gd name="connsiteY2" fmla="*/ 325755 h 325755"/>
                <a:gd name="connsiteX3" fmla="*/ 60960 w 103822"/>
                <a:gd name="connsiteY3" fmla="*/ 258128 h 325755"/>
                <a:gd name="connsiteX4" fmla="*/ 0 w 103822"/>
                <a:gd name="connsiteY4" fmla="*/ 162878 h 325755"/>
                <a:gd name="connsiteX5" fmla="*/ 56198 w 103822"/>
                <a:gd name="connsiteY5" fmla="*/ 74295 h 325755"/>
                <a:gd name="connsiteX6" fmla="*/ 102870 w 103822"/>
                <a:gd name="connsiteY6" fmla="*/ 0 h 3257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3822" h="325755">
                  <a:moveTo>
                    <a:pt x="103823" y="0"/>
                  </a:moveTo>
                  <a:lnTo>
                    <a:pt x="103823" y="325755"/>
                  </a:lnTo>
                  <a:lnTo>
                    <a:pt x="102870" y="325755"/>
                  </a:lnTo>
                  <a:lnTo>
                    <a:pt x="60960" y="258128"/>
                  </a:lnTo>
                  <a:lnTo>
                    <a:pt x="0" y="162878"/>
                  </a:lnTo>
                  <a:lnTo>
                    <a:pt x="56198" y="74295"/>
                  </a:lnTo>
                  <a:lnTo>
                    <a:pt x="102870" y="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95" name="Freeform: Shape 125">
              <a:extLst>
                <a:ext uri="{FF2B5EF4-FFF2-40B4-BE49-F238E27FC236}">
                  <a16:creationId xmlns:a16="http://schemas.microsoft.com/office/drawing/2014/main" id="{690560E4-783B-4905-AAF1-62F7D8AF2B0E}"/>
                </a:ext>
              </a:extLst>
            </p:cNvPr>
            <p:cNvSpPr/>
            <p:nvPr/>
          </p:nvSpPr>
          <p:spPr>
            <a:xfrm>
              <a:off x="10092689" y="3687127"/>
              <a:ext cx="287655" cy="403859"/>
            </a:xfrm>
            <a:custGeom>
              <a:avLst/>
              <a:gdLst>
                <a:gd name="connsiteX0" fmla="*/ 77153 w 287655"/>
                <a:gd name="connsiteY0" fmla="*/ 297180 h 403859"/>
                <a:gd name="connsiteX1" fmla="*/ 120015 w 287655"/>
                <a:gd name="connsiteY1" fmla="*/ 295275 h 403859"/>
                <a:gd name="connsiteX2" fmla="*/ 139065 w 287655"/>
                <a:gd name="connsiteY2" fmla="*/ 332422 h 403859"/>
                <a:gd name="connsiteX3" fmla="*/ 177165 w 287655"/>
                <a:gd name="connsiteY3" fmla="*/ 403860 h 403859"/>
                <a:gd name="connsiteX4" fmla="*/ 287655 w 287655"/>
                <a:gd name="connsiteY4" fmla="*/ 231457 h 403859"/>
                <a:gd name="connsiteX5" fmla="*/ 173355 w 287655"/>
                <a:gd name="connsiteY5" fmla="*/ 0 h 403859"/>
                <a:gd name="connsiteX6" fmla="*/ 0 w 287655"/>
                <a:gd name="connsiteY6" fmla="*/ 300038 h 403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7655" h="403859">
                  <a:moveTo>
                    <a:pt x="77153" y="297180"/>
                  </a:moveTo>
                  <a:lnTo>
                    <a:pt x="120015" y="295275"/>
                  </a:lnTo>
                  <a:lnTo>
                    <a:pt x="139065" y="332422"/>
                  </a:lnTo>
                  <a:lnTo>
                    <a:pt x="177165" y="403860"/>
                  </a:lnTo>
                  <a:lnTo>
                    <a:pt x="287655" y="231457"/>
                  </a:lnTo>
                  <a:lnTo>
                    <a:pt x="173355" y="0"/>
                  </a:lnTo>
                  <a:lnTo>
                    <a:pt x="0" y="300038"/>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96" name="Freeform: Shape 126">
              <a:extLst>
                <a:ext uri="{FF2B5EF4-FFF2-40B4-BE49-F238E27FC236}">
                  <a16:creationId xmlns:a16="http://schemas.microsoft.com/office/drawing/2014/main" id="{77652BB3-6713-45F5-8255-1512EEECF47F}"/>
                </a:ext>
              </a:extLst>
            </p:cNvPr>
            <p:cNvSpPr/>
            <p:nvPr/>
          </p:nvSpPr>
          <p:spPr>
            <a:xfrm>
              <a:off x="9979342" y="4050982"/>
              <a:ext cx="283844" cy="171450"/>
            </a:xfrm>
            <a:custGeom>
              <a:avLst/>
              <a:gdLst>
                <a:gd name="connsiteX0" fmla="*/ 283845 w 283844"/>
                <a:gd name="connsiteY0" fmla="*/ 170498 h 171450"/>
                <a:gd name="connsiteX1" fmla="*/ 282893 w 283844"/>
                <a:gd name="connsiteY1" fmla="*/ 171450 h 171450"/>
                <a:gd name="connsiteX2" fmla="*/ 227647 w 283844"/>
                <a:gd name="connsiteY2" fmla="*/ 139065 h 171450"/>
                <a:gd name="connsiteX3" fmla="*/ 53340 w 283844"/>
                <a:gd name="connsiteY3" fmla="*/ 39053 h 171450"/>
                <a:gd name="connsiteX4" fmla="*/ 0 w 283844"/>
                <a:gd name="connsiteY4" fmla="*/ 8573 h 171450"/>
                <a:gd name="connsiteX5" fmla="*/ 952 w 283844"/>
                <a:gd name="connsiteY5" fmla="*/ 7620 h 171450"/>
                <a:gd name="connsiteX6" fmla="*/ 73343 w 283844"/>
                <a:gd name="connsiteY6" fmla="*/ 4763 h 171450"/>
                <a:gd name="connsiteX7" fmla="*/ 193357 w 283844"/>
                <a:gd name="connsiteY7" fmla="*/ 0 h 171450"/>
                <a:gd name="connsiteX8" fmla="*/ 248602 w 283844"/>
                <a:gd name="connsiteY8" fmla="*/ 104775 h 17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3844" h="171450">
                  <a:moveTo>
                    <a:pt x="283845" y="170498"/>
                  </a:moveTo>
                  <a:lnTo>
                    <a:pt x="282893" y="171450"/>
                  </a:lnTo>
                  <a:lnTo>
                    <a:pt x="227647" y="139065"/>
                  </a:lnTo>
                  <a:lnTo>
                    <a:pt x="53340" y="39053"/>
                  </a:lnTo>
                  <a:lnTo>
                    <a:pt x="0" y="8573"/>
                  </a:lnTo>
                  <a:lnTo>
                    <a:pt x="952" y="7620"/>
                  </a:lnTo>
                  <a:lnTo>
                    <a:pt x="73343" y="4763"/>
                  </a:lnTo>
                  <a:lnTo>
                    <a:pt x="193357" y="0"/>
                  </a:lnTo>
                  <a:lnTo>
                    <a:pt x="248602" y="104775"/>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grpSp>
        <p:nvGrpSpPr>
          <p:cNvPr id="97" name="Graphic 1">
            <a:extLst>
              <a:ext uri="{FF2B5EF4-FFF2-40B4-BE49-F238E27FC236}">
                <a16:creationId xmlns:a16="http://schemas.microsoft.com/office/drawing/2014/main" id="{6ACEC147-67A0-4F8C-969A-30D99E44FAC7}"/>
              </a:ext>
            </a:extLst>
          </p:cNvPr>
          <p:cNvGrpSpPr/>
          <p:nvPr/>
        </p:nvGrpSpPr>
        <p:grpSpPr>
          <a:xfrm>
            <a:off x="4855969" y="5506339"/>
            <a:ext cx="174892" cy="304310"/>
            <a:chOff x="2681287" y="3431857"/>
            <a:chExt cx="523875" cy="911542"/>
          </a:xfrm>
          <a:solidFill>
            <a:schemeClr val="bg2"/>
          </a:solidFill>
        </p:grpSpPr>
        <p:sp>
          <p:nvSpPr>
            <p:cNvPr id="98" name="Freeform: Shape 128">
              <a:extLst>
                <a:ext uri="{FF2B5EF4-FFF2-40B4-BE49-F238E27FC236}">
                  <a16:creationId xmlns:a16="http://schemas.microsoft.com/office/drawing/2014/main" id="{23A1550F-8CAE-4617-BE68-1EF64CE609C6}"/>
                </a:ext>
              </a:extLst>
            </p:cNvPr>
            <p:cNvSpPr/>
            <p:nvPr/>
          </p:nvSpPr>
          <p:spPr>
            <a:xfrm>
              <a:off x="2865119" y="3431857"/>
              <a:ext cx="156210" cy="99060"/>
            </a:xfrm>
            <a:custGeom>
              <a:avLst/>
              <a:gdLst>
                <a:gd name="connsiteX0" fmla="*/ 0 w 156210"/>
                <a:gd name="connsiteY0" fmla="*/ 0 h 99060"/>
                <a:gd name="connsiteX1" fmla="*/ 156210 w 156210"/>
                <a:gd name="connsiteY1" fmla="*/ 0 h 99060"/>
                <a:gd name="connsiteX2" fmla="*/ 156210 w 156210"/>
                <a:gd name="connsiteY2" fmla="*/ 99060 h 99060"/>
                <a:gd name="connsiteX3" fmla="*/ 0 w 156210"/>
                <a:gd name="connsiteY3" fmla="*/ 99060 h 99060"/>
              </a:gdLst>
              <a:ahLst/>
              <a:cxnLst>
                <a:cxn ang="0">
                  <a:pos x="connsiteX0" y="connsiteY0"/>
                </a:cxn>
                <a:cxn ang="0">
                  <a:pos x="connsiteX1" y="connsiteY1"/>
                </a:cxn>
                <a:cxn ang="0">
                  <a:pos x="connsiteX2" y="connsiteY2"/>
                </a:cxn>
                <a:cxn ang="0">
                  <a:pos x="connsiteX3" y="connsiteY3"/>
                </a:cxn>
              </a:cxnLst>
              <a:rect l="l" t="t" r="r" b="b"/>
              <a:pathLst>
                <a:path w="156210" h="99060">
                  <a:moveTo>
                    <a:pt x="0" y="0"/>
                  </a:moveTo>
                  <a:lnTo>
                    <a:pt x="156210" y="0"/>
                  </a:lnTo>
                  <a:lnTo>
                    <a:pt x="156210" y="99060"/>
                  </a:lnTo>
                  <a:lnTo>
                    <a:pt x="0" y="9906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nvGrpSpPr>
            <p:cNvPr id="99" name="Graphic 1">
              <a:extLst>
                <a:ext uri="{FF2B5EF4-FFF2-40B4-BE49-F238E27FC236}">
                  <a16:creationId xmlns:a16="http://schemas.microsoft.com/office/drawing/2014/main" id="{381C5FC7-6D85-4C0E-9DAD-187FE5597629}"/>
                </a:ext>
              </a:extLst>
            </p:cNvPr>
            <p:cNvGrpSpPr/>
            <p:nvPr/>
          </p:nvGrpSpPr>
          <p:grpSpPr>
            <a:xfrm>
              <a:off x="2681287" y="3581400"/>
              <a:ext cx="523875" cy="762000"/>
              <a:chOff x="2681287" y="3581400"/>
              <a:chExt cx="523875" cy="762000"/>
            </a:xfrm>
            <a:grpFill/>
          </p:grpSpPr>
          <p:sp>
            <p:nvSpPr>
              <p:cNvPr id="100" name="Freeform: Shape 130">
                <a:extLst>
                  <a:ext uri="{FF2B5EF4-FFF2-40B4-BE49-F238E27FC236}">
                    <a16:creationId xmlns:a16="http://schemas.microsoft.com/office/drawing/2014/main" id="{0868099D-D12F-448B-BD88-BA54EA55033C}"/>
                  </a:ext>
                </a:extLst>
              </p:cNvPr>
              <p:cNvSpPr/>
              <p:nvPr/>
            </p:nvSpPr>
            <p:spPr>
              <a:xfrm>
                <a:off x="2681287" y="3581400"/>
                <a:ext cx="523875" cy="575309"/>
              </a:xfrm>
              <a:custGeom>
                <a:avLst/>
                <a:gdLst>
                  <a:gd name="connsiteX0" fmla="*/ 523875 w 523875"/>
                  <a:gd name="connsiteY0" fmla="*/ 575310 h 575309"/>
                  <a:gd name="connsiteX1" fmla="*/ 523875 w 523875"/>
                  <a:gd name="connsiteY1" fmla="*/ 0 h 575309"/>
                  <a:gd name="connsiteX2" fmla="*/ 0 w 523875"/>
                  <a:gd name="connsiteY2" fmla="*/ 0 h 575309"/>
                  <a:gd name="connsiteX3" fmla="*/ 0 w 523875"/>
                  <a:gd name="connsiteY3" fmla="*/ 575310 h 575309"/>
                  <a:gd name="connsiteX4" fmla="*/ 523875 w 523875"/>
                  <a:gd name="connsiteY4" fmla="*/ 575310 h 575309"/>
                  <a:gd name="connsiteX5" fmla="*/ 303847 w 523875"/>
                  <a:gd name="connsiteY5" fmla="*/ 181928 h 575309"/>
                  <a:gd name="connsiteX6" fmla="*/ 337185 w 523875"/>
                  <a:gd name="connsiteY6" fmla="*/ 215265 h 575309"/>
                  <a:gd name="connsiteX7" fmla="*/ 266700 w 523875"/>
                  <a:gd name="connsiteY7" fmla="*/ 285750 h 575309"/>
                  <a:gd name="connsiteX8" fmla="*/ 371475 w 523875"/>
                  <a:gd name="connsiteY8" fmla="*/ 285750 h 575309"/>
                  <a:gd name="connsiteX9" fmla="*/ 219075 w 523875"/>
                  <a:gd name="connsiteY9" fmla="*/ 441007 h 575309"/>
                  <a:gd name="connsiteX10" fmla="*/ 184785 w 523875"/>
                  <a:gd name="connsiteY10" fmla="*/ 407670 h 575309"/>
                  <a:gd name="connsiteX11" fmla="*/ 258128 w 523875"/>
                  <a:gd name="connsiteY11" fmla="*/ 332422 h 575309"/>
                  <a:gd name="connsiteX12" fmla="*/ 152400 w 523875"/>
                  <a:gd name="connsiteY12" fmla="*/ 332422 h 575309"/>
                  <a:gd name="connsiteX13" fmla="*/ 303847 w 523875"/>
                  <a:gd name="connsiteY13" fmla="*/ 181928 h 575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23875" h="575309">
                    <a:moveTo>
                      <a:pt x="523875" y="575310"/>
                    </a:moveTo>
                    <a:lnTo>
                      <a:pt x="523875" y="0"/>
                    </a:lnTo>
                    <a:lnTo>
                      <a:pt x="0" y="0"/>
                    </a:lnTo>
                    <a:lnTo>
                      <a:pt x="0" y="575310"/>
                    </a:lnTo>
                    <a:lnTo>
                      <a:pt x="523875" y="575310"/>
                    </a:lnTo>
                    <a:close/>
                    <a:moveTo>
                      <a:pt x="303847" y="181928"/>
                    </a:moveTo>
                    <a:lnTo>
                      <a:pt x="337185" y="215265"/>
                    </a:lnTo>
                    <a:lnTo>
                      <a:pt x="266700" y="285750"/>
                    </a:lnTo>
                    <a:lnTo>
                      <a:pt x="371475" y="285750"/>
                    </a:lnTo>
                    <a:lnTo>
                      <a:pt x="219075" y="441007"/>
                    </a:lnTo>
                    <a:lnTo>
                      <a:pt x="184785" y="407670"/>
                    </a:lnTo>
                    <a:lnTo>
                      <a:pt x="258128" y="332422"/>
                    </a:lnTo>
                    <a:lnTo>
                      <a:pt x="152400" y="332422"/>
                    </a:lnTo>
                    <a:lnTo>
                      <a:pt x="303847" y="181928"/>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01" name="Freeform: Shape 131">
                <a:extLst>
                  <a:ext uri="{FF2B5EF4-FFF2-40B4-BE49-F238E27FC236}">
                    <a16:creationId xmlns:a16="http://schemas.microsoft.com/office/drawing/2014/main" id="{340626D7-0150-4739-8B59-A9DCA52D6BED}"/>
                  </a:ext>
                </a:extLst>
              </p:cNvPr>
              <p:cNvSpPr/>
              <p:nvPr/>
            </p:nvSpPr>
            <p:spPr>
              <a:xfrm>
                <a:off x="2681287" y="4204335"/>
                <a:ext cx="523875" cy="139065"/>
              </a:xfrm>
              <a:custGeom>
                <a:avLst/>
                <a:gdLst>
                  <a:gd name="connsiteX0" fmla="*/ 0 w 523875"/>
                  <a:gd name="connsiteY0" fmla="*/ 0 h 139065"/>
                  <a:gd name="connsiteX1" fmla="*/ 523875 w 523875"/>
                  <a:gd name="connsiteY1" fmla="*/ 0 h 139065"/>
                  <a:gd name="connsiteX2" fmla="*/ 523875 w 523875"/>
                  <a:gd name="connsiteY2" fmla="*/ 139065 h 139065"/>
                  <a:gd name="connsiteX3" fmla="*/ 0 w 523875"/>
                  <a:gd name="connsiteY3" fmla="*/ 139065 h 139065"/>
                </a:gdLst>
                <a:ahLst/>
                <a:cxnLst>
                  <a:cxn ang="0">
                    <a:pos x="connsiteX0" y="connsiteY0"/>
                  </a:cxn>
                  <a:cxn ang="0">
                    <a:pos x="connsiteX1" y="connsiteY1"/>
                  </a:cxn>
                  <a:cxn ang="0">
                    <a:pos x="connsiteX2" y="connsiteY2"/>
                  </a:cxn>
                  <a:cxn ang="0">
                    <a:pos x="connsiteX3" y="connsiteY3"/>
                  </a:cxn>
                </a:cxnLst>
                <a:rect l="l" t="t" r="r" b="b"/>
                <a:pathLst>
                  <a:path w="523875" h="139065">
                    <a:moveTo>
                      <a:pt x="0" y="0"/>
                    </a:moveTo>
                    <a:lnTo>
                      <a:pt x="523875" y="0"/>
                    </a:lnTo>
                    <a:lnTo>
                      <a:pt x="523875" y="139065"/>
                    </a:lnTo>
                    <a:lnTo>
                      <a:pt x="0" y="139065"/>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grpSp>
      <p:grpSp>
        <p:nvGrpSpPr>
          <p:cNvPr id="102" name="Graphic 1">
            <a:extLst>
              <a:ext uri="{FF2B5EF4-FFF2-40B4-BE49-F238E27FC236}">
                <a16:creationId xmlns:a16="http://schemas.microsoft.com/office/drawing/2014/main" id="{982D428F-FFD0-4F42-8388-76CDF4F521B4}"/>
              </a:ext>
            </a:extLst>
          </p:cNvPr>
          <p:cNvGrpSpPr/>
          <p:nvPr/>
        </p:nvGrpSpPr>
        <p:grpSpPr>
          <a:xfrm>
            <a:off x="3733143" y="1943954"/>
            <a:ext cx="240714" cy="333882"/>
            <a:chOff x="3588066" y="3460432"/>
            <a:chExt cx="721046" cy="1000124"/>
          </a:xfrm>
          <a:solidFill>
            <a:schemeClr val="bg2"/>
          </a:solidFill>
        </p:grpSpPr>
        <p:sp>
          <p:nvSpPr>
            <p:cNvPr id="103" name="Freeform: Shape 144">
              <a:extLst>
                <a:ext uri="{FF2B5EF4-FFF2-40B4-BE49-F238E27FC236}">
                  <a16:creationId xmlns:a16="http://schemas.microsoft.com/office/drawing/2014/main" id="{2AC772E3-8E86-4778-95C8-36AA1FBD4529}"/>
                </a:ext>
              </a:extLst>
            </p:cNvPr>
            <p:cNvSpPr/>
            <p:nvPr/>
          </p:nvSpPr>
          <p:spPr>
            <a:xfrm>
              <a:off x="3588066" y="3460432"/>
              <a:ext cx="721046" cy="722947"/>
            </a:xfrm>
            <a:custGeom>
              <a:avLst/>
              <a:gdLst>
                <a:gd name="connsiteX0" fmla="*/ 360998 w 721046"/>
                <a:gd name="connsiteY0" fmla="*/ 0 h 722947"/>
                <a:gd name="connsiteX1" fmla="*/ 0 w 721046"/>
                <a:gd name="connsiteY1" fmla="*/ 360045 h 722947"/>
                <a:gd name="connsiteX2" fmla="*/ 191453 w 721046"/>
                <a:gd name="connsiteY2" fmla="*/ 678180 h 722947"/>
                <a:gd name="connsiteX3" fmla="*/ 197167 w 721046"/>
                <a:gd name="connsiteY3" fmla="*/ 681037 h 722947"/>
                <a:gd name="connsiteX4" fmla="*/ 202883 w 721046"/>
                <a:gd name="connsiteY4" fmla="*/ 681037 h 722947"/>
                <a:gd name="connsiteX5" fmla="*/ 202883 w 721046"/>
                <a:gd name="connsiteY5" fmla="*/ 722948 h 722947"/>
                <a:gd name="connsiteX6" fmla="*/ 519113 w 721046"/>
                <a:gd name="connsiteY6" fmla="*/ 722948 h 722947"/>
                <a:gd name="connsiteX7" fmla="*/ 519113 w 721046"/>
                <a:gd name="connsiteY7" fmla="*/ 681037 h 722947"/>
                <a:gd name="connsiteX8" fmla="*/ 524827 w 721046"/>
                <a:gd name="connsiteY8" fmla="*/ 681037 h 722947"/>
                <a:gd name="connsiteX9" fmla="*/ 529590 w 721046"/>
                <a:gd name="connsiteY9" fmla="*/ 678180 h 722947"/>
                <a:gd name="connsiteX10" fmla="*/ 721043 w 721046"/>
                <a:gd name="connsiteY10" fmla="*/ 360045 h 722947"/>
                <a:gd name="connsiteX11" fmla="*/ 360998 w 721046"/>
                <a:gd name="connsiteY11" fmla="*/ 0 h 722947"/>
                <a:gd name="connsiteX12" fmla="*/ 434340 w 721046"/>
                <a:gd name="connsiteY12" fmla="*/ 384810 h 722947"/>
                <a:gd name="connsiteX13" fmla="*/ 481965 w 721046"/>
                <a:gd name="connsiteY13" fmla="*/ 384810 h 722947"/>
                <a:gd name="connsiteX14" fmla="*/ 481965 w 721046"/>
                <a:gd name="connsiteY14" fmla="*/ 500062 h 722947"/>
                <a:gd name="connsiteX15" fmla="*/ 434340 w 721046"/>
                <a:gd name="connsiteY15" fmla="*/ 500062 h 722947"/>
                <a:gd name="connsiteX16" fmla="*/ 434340 w 721046"/>
                <a:gd name="connsiteY16" fmla="*/ 384810 h 722947"/>
                <a:gd name="connsiteX17" fmla="*/ 337185 w 721046"/>
                <a:gd name="connsiteY17" fmla="*/ 384810 h 722947"/>
                <a:gd name="connsiteX18" fmla="*/ 384810 w 721046"/>
                <a:gd name="connsiteY18" fmla="*/ 384810 h 722947"/>
                <a:gd name="connsiteX19" fmla="*/ 384810 w 721046"/>
                <a:gd name="connsiteY19" fmla="*/ 500062 h 722947"/>
                <a:gd name="connsiteX20" fmla="*/ 337185 w 721046"/>
                <a:gd name="connsiteY20" fmla="*/ 500062 h 722947"/>
                <a:gd name="connsiteX21" fmla="*/ 337185 w 721046"/>
                <a:gd name="connsiteY21" fmla="*/ 384810 h 722947"/>
                <a:gd name="connsiteX22" fmla="*/ 240030 w 721046"/>
                <a:gd name="connsiteY22" fmla="*/ 384810 h 722947"/>
                <a:gd name="connsiteX23" fmla="*/ 287655 w 721046"/>
                <a:gd name="connsiteY23" fmla="*/ 384810 h 722947"/>
                <a:gd name="connsiteX24" fmla="*/ 287655 w 721046"/>
                <a:gd name="connsiteY24" fmla="*/ 500062 h 722947"/>
                <a:gd name="connsiteX25" fmla="*/ 240030 w 721046"/>
                <a:gd name="connsiteY25" fmla="*/ 500062 h 722947"/>
                <a:gd name="connsiteX26" fmla="*/ 240030 w 721046"/>
                <a:gd name="connsiteY26" fmla="*/ 384810 h 7229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721046" h="722947">
                  <a:moveTo>
                    <a:pt x="360998" y="0"/>
                  </a:moveTo>
                  <a:cubicBezTo>
                    <a:pt x="161925" y="0"/>
                    <a:pt x="0" y="161925"/>
                    <a:pt x="0" y="360045"/>
                  </a:cubicBezTo>
                  <a:cubicBezTo>
                    <a:pt x="0" y="493395"/>
                    <a:pt x="73342" y="615315"/>
                    <a:pt x="191453" y="678180"/>
                  </a:cubicBezTo>
                  <a:lnTo>
                    <a:pt x="197167" y="681037"/>
                  </a:lnTo>
                  <a:lnTo>
                    <a:pt x="202883" y="681037"/>
                  </a:lnTo>
                  <a:lnTo>
                    <a:pt x="202883" y="722948"/>
                  </a:lnTo>
                  <a:lnTo>
                    <a:pt x="519113" y="722948"/>
                  </a:lnTo>
                  <a:lnTo>
                    <a:pt x="519113" y="681037"/>
                  </a:lnTo>
                  <a:lnTo>
                    <a:pt x="524827" y="681037"/>
                  </a:lnTo>
                  <a:lnTo>
                    <a:pt x="529590" y="678180"/>
                  </a:lnTo>
                  <a:cubicBezTo>
                    <a:pt x="647700" y="615315"/>
                    <a:pt x="721043" y="493395"/>
                    <a:pt x="721043" y="360045"/>
                  </a:cubicBezTo>
                  <a:cubicBezTo>
                    <a:pt x="721995" y="161925"/>
                    <a:pt x="560070" y="0"/>
                    <a:pt x="360998" y="0"/>
                  </a:cubicBezTo>
                  <a:close/>
                  <a:moveTo>
                    <a:pt x="434340" y="384810"/>
                  </a:moveTo>
                  <a:lnTo>
                    <a:pt x="481965" y="384810"/>
                  </a:lnTo>
                  <a:lnTo>
                    <a:pt x="481965" y="500062"/>
                  </a:lnTo>
                  <a:lnTo>
                    <a:pt x="434340" y="500062"/>
                  </a:lnTo>
                  <a:lnTo>
                    <a:pt x="434340" y="384810"/>
                  </a:lnTo>
                  <a:close/>
                  <a:moveTo>
                    <a:pt x="337185" y="384810"/>
                  </a:moveTo>
                  <a:lnTo>
                    <a:pt x="384810" y="384810"/>
                  </a:lnTo>
                  <a:lnTo>
                    <a:pt x="384810" y="500062"/>
                  </a:lnTo>
                  <a:lnTo>
                    <a:pt x="337185" y="500062"/>
                  </a:lnTo>
                  <a:lnTo>
                    <a:pt x="337185" y="384810"/>
                  </a:lnTo>
                  <a:close/>
                  <a:moveTo>
                    <a:pt x="240030" y="384810"/>
                  </a:moveTo>
                  <a:lnTo>
                    <a:pt x="287655" y="384810"/>
                  </a:lnTo>
                  <a:lnTo>
                    <a:pt x="287655" y="500062"/>
                  </a:lnTo>
                  <a:lnTo>
                    <a:pt x="240030" y="500062"/>
                  </a:lnTo>
                  <a:lnTo>
                    <a:pt x="240030" y="38481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04" name="Freeform: Shape 145">
              <a:extLst>
                <a:ext uri="{FF2B5EF4-FFF2-40B4-BE49-F238E27FC236}">
                  <a16:creationId xmlns:a16="http://schemas.microsoft.com/office/drawing/2014/main" id="{A5A429EB-D9A1-41AC-8A97-5F7C297CFC7E}"/>
                </a:ext>
              </a:extLst>
            </p:cNvPr>
            <p:cNvSpPr/>
            <p:nvPr/>
          </p:nvSpPr>
          <p:spPr>
            <a:xfrm>
              <a:off x="3790949" y="4231957"/>
              <a:ext cx="316230" cy="100965"/>
            </a:xfrm>
            <a:custGeom>
              <a:avLst/>
              <a:gdLst>
                <a:gd name="connsiteX0" fmla="*/ 0 w 316230"/>
                <a:gd name="connsiteY0" fmla="*/ 65723 h 100965"/>
                <a:gd name="connsiteX1" fmla="*/ 22860 w 316230"/>
                <a:gd name="connsiteY1" fmla="*/ 65723 h 100965"/>
                <a:gd name="connsiteX2" fmla="*/ 22860 w 316230"/>
                <a:gd name="connsiteY2" fmla="*/ 100965 h 100965"/>
                <a:gd name="connsiteX3" fmla="*/ 294322 w 316230"/>
                <a:gd name="connsiteY3" fmla="*/ 100965 h 100965"/>
                <a:gd name="connsiteX4" fmla="*/ 294322 w 316230"/>
                <a:gd name="connsiteY4" fmla="*/ 65723 h 100965"/>
                <a:gd name="connsiteX5" fmla="*/ 316230 w 316230"/>
                <a:gd name="connsiteY5" fmla="*/ 65723 h 100965"/>
                <a:gd name="connsiteX6" fmla="*/ 316230 w 316230"/>
                <a:gd name="connsiteY6" fmla="*/ 0 h 100965"/>
                <a:gd name="connsiteX7" fmla="*/ 0 w 316230"/>
                <a:gd name="connsiteY7" fmla="*/ 0 h 100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6230" h="100965">
                  <a:moveTo>
                    <a:pt x="0" y="65723"/>
                  </a:moveTo>
                  <a:lnTo>
                    <a:pt x="22860" y="65723"/>
                  </a:lnTo>
                  <a:lnTo>
                    <a:pt x="22860" y="100965"/>
                  </a:lnTo>
                  <a:lnTo>
                    <a:pt x="294322" y="100965"/>
                  </a:lnTo>
                  <a:lnTo>
                    <a:pt x="294322" y="65723"/>
                  </a:lnTo>
                  <a:lnTo>
                    <a:pt x="316230" y="65723"/>
                  </a:lnTo>
                  <a:lnTo>
                    <a:pt x="316230" y="0"/>
                  </a:lnTo>
                  <a:lnTo>
                    <a:pt x="0" y="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05" name="Freeform: Shape 150">
              <a:extLst>
                <a:ext uri="{FF2B5EF4-FFF2-40B4-BE49-F238E27FC236}">
                  <a16:creationId xmlns:a16="http://schemas.microsoft.com/office/drawing/2014/main" id="{D3CBB3E0-9C28-4106-A4FF-FB129D2048A4}"/>
                </a:ext>
              </a:extLst>
            </p:cNvPr>
            <p:cNvSpPr/>
            <p:nvPr/>
          </p:nvSpPr>
          <p:spPr>
            <a:xfrm>
              <a:off x="3816667" y="4379594"/>
              <a:ext cx="264794" cy="80962"/>
            </a:xfrm>
            <a:custGeom>
              <a:avLst/>
              <a:gdLst>
                <a:gd name="connsiteX0" fmla="*/ 102870 w 264794"/>
                <a:gd name="connsiteY0" fmla="*/ 80963 h 80962"/>
                <a:gd name="connsiteX1" fmla="*/ 161925 w 264794"/>
                <a:gd name="connsiteY1" fmla="*/ 80963 h 80962"/>
                <a:gd name="connsiteX2" fmla="*/ 264795 w 264794"/>
                <a:gd name="connsiteY2" fmla="*/ 0 h 80962"/>
                <a:gd name="connsiteX3" fmla="*/ 0 w 264794"/>
                <a:gd name="connsiteY3" fmla="*/ 0 h 80962"/>
                <a:gd name="connsiteX4" fmla="*/ 102870 w 264794"/>
                <a:gd name="connsiteY4" fmla="*/ 80963 h 809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794" h="80962">
                  <a:moveTo>
                    <a:pt x="102870" y="80963"/>
                  </a:moveTo>
                  <a:lnTo>
                    <a:pt x="161925" y="80963"/>
                  </a:lnTo>
                  <a:cubicBezTo>
                    <a:pt x="211455" y="80963"/>
                    <a:pt x="253365" y="46673"/>
                    <a:pt x="264795" y="0"/>
                  </a:cubicBezTo>
                  <a:lnTo>
                    <a:pt x="0" y="0"/>
                  </a:lnTo>
                  <a:cubicBezTo>
                    <a:pt x="11430" y="46673"/>
                    <a:pt x="53340" y="80963"/>
                    <a:pt x="102870" y="80963"/>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grpSp>
        <p:nvGrpSpPr>
          <p:cNvPr id="106" name="Graphic 1">
            <a:extLst>
              <a:ext uri="{FF2B5EF4-FFF2-40B4-BE49-F238E27FC236}">
                <a16:creationId xmlns:a16="http://schemas.microsoft.com/office/drawing/2014/main" id="{349DD622-C62B-4279-90FA-254099316284}"/>
              </a:ext>
            </a:extLst>
          </p:cNvPr>
          <p:cNvGrpSpPr/>
          <p:nvPr/>
        </p:nvGrpSpPr>
        <p:grpSpPr>
          <a:xfrm>
            <a:off x="760586" y="3525124"/>
            <a:ext cx="318654" cy="370276"/>
            <a:chOff x="6454139" y="1200150"/>
            <a:chExt cx="817245" cy="949642"/>
          </a:xfrm>
          <a:solidFill>
            <a:schemeClr val="bg2"/>
          </a:solidFill>
        </p:grpSpPr>
        <p:sp>
          <p:nvSpPr>
            <p:cNvPr id="107" name="Freeform: Shape 152">
              <a:extLst>
                <a:ext uri="{FF2B5EF4-FFF2-40B4-BE49-F238E27FC236}">
                  <a16:creationId xmlns:a16="http://schemas.microsoft.com/office/drawing/2014/main" id="{19BA4CCE-BD79-439C-A02B-419E2F3A51E4}"/>
                </a:ext>
              </a:extLst>
            </p:cNvPr>
            <p:cNvSpPr/>
            <p:nvPr/>
          </p:nvSpPr>
          <p:spPr>
            <a:xfrm>
              <a:off x="6784656" y="1598294"/>
              <a:ext cx="152400" cy="152400"/>
            </a:xfrm>
            <a:custGeom>
              <a:avLst/>
              <a:gdLst>
                <a:gd name="connsiteX0" fmla="*/ 76200 w 152400"/>
                <a:gd name="connsiteY0" fmla="*/ 152400 h 152400"/>
                <a:gd name="connsiteX1" fmla="*/ 0 w 152400"/>
                <a:gd name="connsiteY1" fmla="*/ 76200 h 152400"/>
                <a:gd name="connsiteX2" fmla="*/ 76200 w 152400"/>
                <a:gd name="connsiteY2" fmla="*/ 0 h 152400"/>
                <a:gd name="connsiteX3" fmla="*/ 152400 w 152400"/>
                <a:gd name="connsiteY3" fmla="*/ 76200 h 152400"/>
                <a:gd name="connsiteX4" fmla="*/ 76200 w 152400"/>
                <a:gd name="connsiteY4" fmla="*/ 152400 h 152400"/>
                <a:gd name="connsiteX5" fmla="*/ 76200 w 152400"/>
                <a:gd name="connsiteY5" fmla="*/ 48578 h 152400"/>
                <a:gd name="connsiteX6" fmla="*/ 47625 w 152400"/>
                <a:gd name="connsiteY6" fmla="*/ 77153 h 152400"/>
                <a:gd name="connsiteX7" fmla="*/ 76200 w 152400"/>
                <a:gd name="connsiteY7" fmla="*/ 105728 h 152400"/>
                <a:gd name="connsiteX8" fmla="*/ 104775 w 152400"/>
                <a:gd name="connsiteY8" fmla="*/ 77153 h 152400"/>
                <a:gd name="connsiteX9" fmla="*/ 76200 w 152400"/>
                <a:gd name="connsiteY9" fmla="*/ 48578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2400" h="152400">
                  <a:moveTo>
                    <a:pt x="76200" y="152400"/>
                  </a:moveTo>
                  <a:cubicBezTo>
                    <a:pt x="34290" y="152400"/>
                    <a:pt x="0" y="118110"/>
                    <a:pt x="0" y="76200"/>
                  </a:cubicBezTo>
                  <a:cubicBezTo>
                    <a:pt x="0" y="34290"/>
                    <a:pt x="34290" y="0"/>
                    <a:pt x="76200" y="0"/>
                  </a:cubicBezTo>
                  <a:cubicBezTo>
                    <a:pt x="118110" y="0"/>
                    <a:pt x="152400" y="34290"/>
                    <a:pt x="152400" y="76200"/>
                  </a:cubicBezTo>
                  <a:cubicBezTo>
                    <a:pt x="152400" y="118110"/>
                    <a:pt x="118110" y="152400"/>
                    <a:pt x="76200" y="152400"/>
                  </a:cubicBezTo>
                  <a:close/>
                  <a:moveTo>
                    <a:pt x="76200" y="48578"/>
                  </a:moveTo>
                  <a:cubicBezTo>
                    <a:pt x="60960" y="48578"/>
                    <a:pt x="47625" y="60960"/>
                    <a:pt x="47625" y="77153"/>
                  </a:cubicBezTo>
                  <a:cubicBezTo>
                    <a:pt x="47625" y="93345"/>
                    <a:pt x="60007" y="105728"/>
                    <a:pt x="76200" y="105728"/>
                  </a:cubicBezTo>
                  <a:cubicBezTo>
                    <a:pt x="92393" y="105728"/>
                    <a:pt x="104775" y="93345"/>
                    <a:pt x="104775" y="77153"/>
                  </a:cubicBezTo>
                  <a:cubicBezTo>
                    <a:pt x="104775" y="60960"/>
                    <a:pt x="91440" y="48578"/>
                    <a:pt x="76200" y="4857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08" name="Freeform: Shape 153">
              <a:extLst>
                <a:ext uri="{FF2B5EF4-FFF2-40B4-BE49-F238E27FC236}">
                  <a16:creationId xmlns:a16="http://schemas.microsoft.com/office/drawing/2014/main" id="{8A3592CF-FDCE-47A3-BAF0-691F5D2BB3E3}"/>
                </a:ext>
              </a:extLst>
            </p:cNvPr>
            <p:cNvSpPr/>
            <p:nvPr/>
          </p:nvSpPr>
          <p:spPr>
            <a:xfrm>
              <a:off x="6757034" y="1817370"/>
              <a:ext cx="211454" cy="332422"/>
            </a:xfrm>
            <a:custGeom>
              <a:avLst/>
              <a:gdLst>
                <a:gd name="connsiteX0" fmla="*/ 211455 w 211454"/>
                <a:gd name="connsiteY0" fmla="*/ 332422 h 332422"/>
                <a:gd name="connsiteX1" fmla="*/ 0 w 211454"/>
                <a:gd name="connsiteY1" fmla="*/ 332422 h 332422"/>
                <a:gd name="connsiteX2" fmla="*/ 37147 w 211454"/>
                <a:gd name="connsiteY2" fmla="*/ 1905 h 332422"/>
                <a:gd name="connsiteX3" fmla="*/ 103822 w 211454"/>
                <a:gd name="connsiteY3" fmla="*/ 16192 h 332422"/>
                <a:gd name="connsiteX4" fmla="*/ 174307 w 211454"/>
                <a:gd name="connsiteY4" fmla="*/ 0 h 332422"/>
                <a:gd name="connsiteX5" fmla="*/ 211455 w 211454"/>
                <a:gd name="connsiteY5" fmla="*/ 332422 h 3324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1454" h="332422">
                  <a:moveTo>
                    <a:pt x="211455" y="332422"/>
                  </a:moveTo>
                  <a:lnTo>
                    <a:pt x="0" y="332422"/>
                  </a:lnTo>
                  <a:lnTo>
                    <a:pt x="37147" y="1905"/>
                  </a:lnTo>
                  <a:cubicBezTo>
                    <a:pt x="57150" y="11430"/>
                    <a:pt x="80010" y="16192"/>
                    <a:pt x="103822" y="16192"/>
                  </a:cubicBezTo>
                  <a:cubicBezTo>
                    <a:pt x="129540" y="16192"/>
                    <a:pt x="153352" y="10477"/>
                    <a:pt x="174307" y="0"/>
                  </a:cubicBezTo>
                  <a:lnTo>
                    <a:pt x="211455" y="332422"/>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09" name="Freeform: Shape 154">
              <a:extLst>
                <a:ext uri="{FF2B5EF4-FFF2-40B4-BE49-F238E27FC236}">
                  <a16:creationId xmlns:a16="http://schemas.microsoft.com/office/drawing/2014/main" id="{D70136D4-DA06-482C-8D97-5C5952B04695}"/>
                </a:ext>
              </a:extLst>
            </p:cNvPr>
            <p:cNvSpPr/>
            <p:nvPr/>
          </p:nvSpPr>
          <p:spPr>
            <a:xfrm>
              <a:off x="6920864" y="1694497"/>
              <a:ext cx="350520" cy="248753"/>
            </a:xfrm>
            <a:custGeom>
              <a:avLst/>
              <a:gdLst>
                <a:gd name="connsiteX0" fmla="*/ 350520 w 350520"/>
                <a:gd name="connsiteY0" fmla="*/ 216217 h 248753"/>
                <a:gd name="connsiteX1" fmla="*/ 345758 w 350520"/>
                <a:gd name="connsiteY1" fmla="*/ 233363 h 248753"/>
                <a:gd name="connsiteX2" fmla="*/ 300038 w 350520"/>
                <a:gd name="connsiteY2" fmla="*/ 243840 h 248753"/>
                <a:gd name="connsiteX3" fmla="*/ 0 w 350520"/>
                <a:gd name="connsiteY3" fmla="*/ 56197 h 248753"/>
                <a:gd name="connsiteX4" fmla="*/ 35243 w 350520"/>
                <a:gd name="connsiteY4" fmla="*/ 0 h 248753"/>
                <a:gd name="connsiteX5" fmla="*/ 335280 w 350520"/>
                <a:gd name="connsiteY5" fmla="*/ 187642 h 248753"/>
                <a:gd name="connsiteX6" fmla="*/ 350520 w 350520"/>
                <a:gd name="connsiteY6" fmla="*/ 216217 h 248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50520" h="248753">
                  <a:moveTo>
                    <a:pt x="350520" y="216217"/>
                  </a:moveTo>
                  <a:cubicBezTo>
                    <a:pt x="350520" y="221932"/>
                    <a:pt x="348615" y="228600"/>
                    <a:pt x="345758" y="233363"/>
                  </a:cubicBezTo>
                  <a:cubicBezTo>
                    <a:pt x="336233" y="248602"/>
                    <a:pt x="315278" y="253365"/>
                    <a:pt x="300038" y="243840"/>
                  </a:cubicBezTo>
                  <a:lnTo>
                    <a:pt x="0" y="56197"/>
                  </a:lnTo>
                  <a:cubicBezTo>
                    <a:pt x="18098" y="42863"/>
                    <a:pt x="30480" y="22860"/>
                    <a:pt x="35243" y="0"/>
                  </a:cubicBezTo>
                  <a:lnTo>
                    <a:pt x="335280" y="187642"/>
                  </a:lnTo>
                  <a:cubicBezTo>
                    <a:pt x="344805" y="194310"/>
                    <a:pt x="350520" y="205740"/>
                    <a:pt x="350520" y="216217"/>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10" name="Freeform: Shape 155">
              <a:extLst>
                <a:ext uri="{FF2B5EF4-FFF2-40B4-BE49-F238E27FC236}">
                  <a16:creationId xmlns:a16="http://schemas.microsoft.com/office/drawing/2014/main" id="{9A382F38-8233-441A-BC9B-04900BBA2D94}"/>
                </a:ext>
              </a:extLst>
            </p:cNvPr>
            <p:cNvSpPr/>
            <p:nvPr/>
          </p:nvSpPr>
          <p:spPr>
            <a:xfrm>
              <a:off x="6454139" y="1696402"/>
              <a:ext cx="348615" cy="246848"/>
            </a:xfrm>
            <a:custGeom>
              <a:avLst/>
              <a:gdLst>
                <a:gd name="connsiteX0" fmla="*/ 348615 w 348615"/>
                <a:gd name="connsiteY0" fmla="*/ 56198 h 246848"/>
                <a:gd name="connsiteX1" fmla="*/ 50483 w 348615"/>
                <a:gd name="connsiteY1" fmla="*/ 241935 h 246848"/>
                <a:gd name="connsiteX2" fmla="*/ 4763 w 348615"/>
                <a:gd name="connsiteY2" fmla="*/ 231458 h 246848"/>
                <a:gd name="connsiteX3" fmla="*/ 0 w 348615"/>
                <a:gd name="connsiteY3" fmla="*/ 214313 h 246848"/>
                <a:gd name="connsiteX4" fmla="*/ 15240 w 348615"/>
                <a:gd name="connsiteY4" fmla="*/ 185738 h 246848"/>
                <a:gd name="connsiteX5" fmla="*/ 312420 w 348615"/>
                <a:gd name="connsiteY5" fmla="*/ 0 h 246848"/>
                <a:gd name="connsiteX6" fmla="*/ 348615 w 348615"/>
                <a:gd name="connsiteY6" fmla="*/ 56198 h 246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8615" h="246848">
                  <a:moveTo>
                    <a:pt x="348615" y="56198"/>
                  </a:moveTo>
                  <a:lnTo>
                    <a:pt x="50483" y="241935"/>
                  </a:lnTo>
                  <a:cubicBezTo>
                    <a:pt x="35243" y="251460"/>
                    <a:pt x="14288" y="246698"/>
                    <a:pt x="4763" y="231458"/>
                  </a:cubicBezTo>
                  <a:cubicBezTo>
                    <a:pt x="953" y="225743"/>
                    <a:pt x="0" y="220027"/>
                    <a:pt x="0" y="214313"/>
                  </a:cubicBezTo>
                  <a:cubicBezTo>
                    <a:pt x="0" y="202883"/>
                    <a:pt x="5715" y="192405"/>
                    <a:pt x="15240" y="185738"/>
                  </a:cubicBezTo>
                  <a:lnTo>
                    <a:pt x="312420" y="0"/>
                  </a:lnTo>
                  <a:cubicBezTo>
                    <a:pt x="317183" y="23813"/>
                    <a:pt x="330518" y="42863"/>
                    <a:pt x="348615" y="5619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11" name="Freeform: Shape 156">
              <a:extLst>
                <a:ext uri="{FF2B5EF4-FFF2-40B4-BE49-F238E27FC236}">
                  <a16:creationId xmlns:a16="http://schemas.microsoft.com/office/drawing/2014/main" id="{BB6A8C3E-301F-4C5D-A04A-FEDF5717BC2E}"/>
                </a:ext>
              </a:extLst>
            </p:cNvPr>
            <p:cNvSpPr/>
            <p:nvPr/>
          </p:nvSpPr>
          <p:spPr>
            <a:xfrm>
              <a:off x="6825614" y="1200150"/>
              <a:ext cx="66675" cy="384810"/>
            </a:xfrm>
            <a:custGeom>
              <a:avLst/>
              <a:gdLst>
                <a:gd name="connsiteX0" fmla="*/ 66675 w 66675"/>
                <a:gd name="connsiteY0" fmla="*/ 33338 h 384810"/>
                <a:gd name="connsiteX1" fmla="*/ 66675 w 66675"/>
                <a:gd name="connsiteY1" fmla="*/ 382905 h 384810"/>
                <a:gd name="connsiteX2" fmla="*/ 35243 w 66675"/>
                <a:gd name="connsiteY2" fmla="*/ 378143 h 384810"/>
                <a:gd name="connsiteX3" fmla="*/ 0 w 66675"/>
                <a:gd name="connsiteY3" fmla="*/ 384810 h 384810"/>
                <a:gd name="connsiteX4" fmla="*/ 0 w 66675"/>
                <a:gd name="connsiteY4" fmla="*/ 33338 h 384810"/>
                <a:gd name="connsiteX5" fmla="*/ 33338 w 66675"/>
                <a:gd name="connsiteY5" fmla="*/ 0 h 384810"/>
                <a:gd name="connsiteX6" fmla="*/ 57150 w 66675"/>
                <a:gd name="connsiteY6" fmla="*/ 9525 h 384810"/>
                <a:gd name="connsiteX7" fmla="*/ 66675 w 66675"/>
                <a:gd name="connsiteY7" fmla="*/ 33338 h 384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675" h="384810">
                  <a:moveTo>
                    <a:pt x="66675" y="33338"/>
                  </a:moveTo>
                  <a:lnTo>
                    <a:pt x="66675" y="382905"/>
                  </a:lnTo>
                  <a:cubicBezTo>
                    <a:pt x="57150" y="380048"/>
                    <a:pt x="46673" y="378143"/>
                    <a:pt x="35243" y="378143"/>
                  </a:cubicBezTo>
                  <a:cubicBezTo>
                    <a:pt x="22860" y="378143"/>
                    <a:pt x="11430" y="380048"/>
                    <a:pt x="0" y="384810"/>
                  </a:cubicBezTo>
                  <a:lnTo>
                    <a:pt x="0" y="33338"/>
                  </a:lnTo>
                  <a:cubicBezTo>
                    <a:pt x="0" y="15240"/>
                    <a:pt x="15240" y="0"/>
                    <a:pt x="33338" y="0"/>
                  </a:cubicBezTo>
                  <a:cubicBezTo>
                    <a:pt x="42863" y="0"/>
                    <a:pt x="50483" y="3810"/>
                    <a:pt x="57150" y="9525"/>
                  </a:cubicBezTo>
                  <a:cubicBezTo>
                    <a:pt x="62865" y="16193"/>
                    <a:pt x="66675" y="23813"/>
                    <a:pt x="66675" y="3333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spTree>
    <p:extLst>
      <p:ext uri="{BB962C8B-B14F-4D97-AF65-F5344CB8AC3E}">
        <p14:creationId xmlns:p14="http://schemas.microsoft.com/office/powerpoint/2010/main" val="3629003392"/>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par>
                          <p:cTn id="8" fill="hold">
                            <p:stCondLst>
                              <p:cond delay="500"/>
                            </p:stCondLst>
                            <p:childTnLst>
                              <p:par>
                                <p:cTn id="9" presetID="22" presetClass="entr" presetSubtype="4" fill="hold" grpId="0" nodeType="afterEffect">
                                  <p:stCondLst>
                                    <p:cond delay="0"/>
                                  </p:stCondLst>
                                  <p:childTnLst>
                                    <p:set>
                                      <p:cBhvr>
                                        <p:cTn id="10" dur="1" fill="hold">
                                          <p:stCondLst>
                                            <p:cond delay="0"/>
                                          </p:stCondLst>
                                        </p:cTn>
                                        <p:tgtEl>
                                          <p:spTgt spid="3"/>
                                        </p:tgtEl>
                                        <p:attrNameLst>
                                          <p:attrName>style.visibility</p:attrName>
                                        </p:attrNameLst>
                                      </p:cBhvr>
                                      <p:to>
                                        <p:strVal val="visible"/>
                                      </p:to>
                                    </p:set>
                                    <p:animEffect transition="in" filter="wipe(down)">
                                      <p:cBhvr>
                                        <p:cTn id="11" dur="500"/>
                                        <p:tgtEl>
                                          <p:spTgt spid="3"/>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15"/>
                                        </p:tgtEl>
                                        <p:attrNameLst>
                                          <p:attrName>style.visibility</p:attrName>
                                        </p:attrNameLst>
                                      </p:cBhvr>
                                      <p:to>
                                        <p:strVal val="visible"/>
                                      </p:to>
                                    </p:set>
                                    <p:animEffect transition="in" filter="fade">
                                      <p:cBhvr>
                                        <p:cTn id="15" dur="500"/>
                                        <p:tgtEl>
                                          <p:spTgt spid="15"/>
                                        </p:tgtEl>
                                      </p:cBhvr>
                                    </p:animEffect>
                                  </p:childTnLst>
                                </p:cTn>
                              </p:par>
                              <p:par>
                                <p:cTn id="16" presetID="10" presetClass="entr" presetSubtype="0" fill="hold" nodeType="withEffect">
                                  <p:stCondLst>
                                    <p:cond delay="0"/>
                                  </p:stCondLst>
                                  <p:childTnLst>
                                    <p:set>
                                      <p:cBhvr>
                                        <p:cTn id="17" dur="1" fill="hold">
                                          <p:stCondLst>
                                            <p:cond delay="0"/>
                                          </p:stCondLst>
                                        </p:cTn>
                                        <p:tgtEl>
                                          <p:spTgt spid="83"/>
                                        </p:tgtEl>
                                        <p:attrNameLst>
                                          <p:attrName>style.visibility</p:attrName>
                                        </p:attrNameLst>
                                      </p:cBhvr>
                                      <p:to>
                                        <p:strVal val="visible"/>
                                      </p:to>
                                    </p:set>
                                    <p:animEffect transition="in" filter="fade">
                                      <p:cBhvr>
                                        <p:cTn id="18" dur="500"/>
                                        <p:tgtEl>
                                          <p:spTgt spid="83"/>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17"/>
                                        </p:tgtEl>
                                        <p:attrNameLst>
                                          <p:attrName>style.visibility</p:attrName>
                                        </p:attrNameLst>
                                      </p:cBhvr>
                                      <p:to>
                                        <p:strVal val="visible"/>
                                      </p:to>
                                    </p:set>
                                    <p:animEffect transition="in" filter="fade">
                                      <p:cBhvr>
                                        <p:cTn id="21" dur="500"/>
                                        <p:tgtEl>
                                          <p:spTgt spid="17"/>
                                        </p:tgtEl>
                                      </p:cBhvr>
                                    </p:animEffect>
                                  </p:childTnLst>
                                </p:cTn>
                              </p:par>
                              <p:par>
                                <p:cTn id="22" presetID="10" presetClass="entr" presetSubtype="0" fill="hold" nodeType="withEffect">
                                  <p:stCondLst>
                                    <p:cond delay="0"/>
                                  </p:stCondLst>
                                  <p:childTnLst>
                                    <p:set>
                                      <p:cBhvr>
                                        <p:cTn id="23" dur="1" fill="hold">
                                          <p:stCondLst>
                                            <p:cond delay="0"/>
                                          </p:stCondLst>
                                        </p:cTn>
                                        <p:tgtEl>
                                          <p:spTgt spid="106"/>
                                        </p:tgtEl>
                                        <p:attrNameLst>
                                          <p:attrName>style.visibility</p:attrName>
                                        </p:attrNameLst>
                                      </p:cBhvr>
                                      <p:to>
                                        <p:strVal val="visible"/>
                                      </p:to>
                                    </p:set>
                                    <p:animEffect transition="in" filter="fade">
                                      <p:cBhvr>
                                        <p:cTn id="24" dur="500"/>
                                        <p:tgtEl>
                                          <p:spTgt spid="106"/>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10"/>
                                        </p:tgtEl>
                                        <p:attrNameLst>
                                          <p:attrName>style.visibility</p:attrName>
                                        </p:attrNameLst>
                                      </p:cBhvr>
                                      <p:to>
                                        <p:strVal val="visible"/>
                                      </p:to>
                                    </p:set>
                                    <p:animEffect transition="in" filter="fade">
                                      <p:cBhvr>
                                        <p:cTn id="27" dur="500"/>
                                        <p:tgtEl>
                                          <p:spTgt spid="10"/>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54"/>
                                        </p:tgtEl>
                                        <p:attrNameLst>
                                          <p:attrName>style.visibility</p:attrName>
                                        </p:attrNameLst>
                                      </p:cBhvr>
                                      <p:to>
                                        <p:strVal val="visible"/>
                                      </p:to>
                                    </p:set>
                                    <p:animEffect transition="in" filter="fade">
                                      <p:cBhvr>
                                        <p:cTn id="30" dur="500"/>
                                        <p:tgtEl>
                                          <p:spTgt spid="54"/>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16"/>
                                        </p:tgtEl>
                                        <p:attrNameLst>
                                          <p:attrName>style.visibility</p:attrName>
                                        </p:attrNameLst>
                                      </p:cBhvr>
                                      <p:to>
                                        <p:strVal val="visible"/>
                                      </p:to>
                                    </p:set>
                                    <p:animEffect transition="in" filter="fade">
                                      <p:cBhvr>
                                        <p:cTn id="33" dur="500"/>
                                        <p:tgtEl>
                                          <p:spTgt spid="16"/>
                                        </p:tgtEl>
                                      </p:cBhvr>
                                    </p:animEffect>
                                  </p:childTnLst>
                                </p:cTn>
                              </p:par>
                              <p:par>
                                <p:cTn id="34" presetID="10" presetClass="entr" presetSubtype="0" fill="hold" nodeType="withEffect">
                                  <p:stCondLst>
                                    <p:cond delay="0"/>
                                  </p:stCondLst>
                                  <p:childTnLst>
                                    <p:set>
                                      <p:cBhvr>
                                        <p:cTn id="35" dur="1" fill="hold">
                                          <p:stCondLst>
                                            <p:cond delay="0"/>
                                          </p:stCondLst>
                                        </p:cTn>
                                        <p:tgtEl>
                                          <p:spTgt spid="55"/>
                                        </p:tgtEl>
                                        <p:attrNameLst>
                                          <p:attrName>style.visibility</p:attrName>
                                        </p:attrNameLst>
                                      </p:cBhvr>
                                      <p:to>
                                        <p:strVal val="visible"/>
                                      </p:to>
                                    </p:set>
                                    <p:animEffect transition="in" filter="fade">
                                      <p:cBhvr>
                                        <p:cTn id="36" dur="500"/>
                                        <p:tgtEl>
                                          <p:spTgt spid="55"/>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14"/>
                                        </p:tgtEl>
                                        <p:attrNameLst>
                                          <p:attrName>style.visibility</p:attrName>
                                        </p:attrNameLst>
                                      </p:cBhvr>
                                      <p:to>
                                        <p:strVal val="visible"/>
                                      </p:to>
                                    </p:set>
                                    <p:animEffect transition="in" filter="fade">
                                      <p:cBhvr>
                                        <p:cTn id="39" dur="500"/>
                                        <p:tgtEl>
                                          <p:spTgt spid="14"/>
                                        </p:tgtEl>
                                      </p:cBhvr>
                                    </p:animEffect>
                                  </p:childTnLst>
                                </p:cTn>
                              </p:par>
                              <p:par>
                                <p:cTn id="40" presetID="10" presetClass="entr" presetSubtype="0" fill="hold" nodeType="withEffect">
                                  <p:stCondLst>
                                    <p:cond delay="0"/>
                                  </p:stCondLst>
                                  <p:childTnLst>
                                    <p:set>
                                      <p:cBhvr>
                                        <p:cTn id="41" dur="1" fill="hold">
                                          <p:stCondLst>
                                            <p:cond delay="0"/>
                                          </p:stCondLst>
                                        </p:cTn>
                                        <p:tgtEl>
                                          <p:spTgt spid="102"/>
                                        </p:tgtEl>
                                        <p:attrNameLst>
                                          <p:attrName>style.visibility</p:attrName>
                                        </p:attrNameLst>
                                      </p:cBhvr>
                                      <p:to>
                                        <p:strVal val="visible"/>
                                      </p:to>
                                    </p:set>
                                    <p:animEffect transition="in" filter="fade">
                                      <p:cBhvr>
                                        <p:cTn id="42" dur="500"/>
                                        <p:tgtEl>
                                          <p:spTgt spid="102"/>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7"/>
                                        </p:tgtEl>
                                        <p:attrNameLst>
                                          <p:attrName>style.visibility</p:attrName>
                                        </p:attrNameLst>
                                      </p:cBhvr>
                                      <p:to>
                                        <p:strVal val="visible"/>
                                      </p:to>
                                    </p:set>
                                    <p:animEffect transition="in" filter="fade">
                                      <p:cBhvr>
                                        <p:cTn id="45" dur="500"/>
                                        <p:tgtEl>
                                          <p:spTgt spid="7"/>
                                        </p:tgtEl>
                                      </p:cBhvr>
                                    </p:animEffect>
                                  </p:childTnLst>
                                </p:cTn>
                              </p:par>
                              <p:par>
                                <p:cTn id="46" presetID="10" presetClass="entr" presetSubtype="0" fill="hold" nodeType="withEffect">
                                  <p:stCondLst>
                                    <p:cond delay="0"/>
                                  </p:stCondLst>
                                  <p:childTnLst>
                                    <p:set>
                                      <p:cBhvr>
                                        <p:cTn id="47" dur="1" fill="hold">
                                          <p:stCondLst>
                                            <p:cond delay="0"/>
                                          </p:stCondLst>
                                        </p:cTn>
                                        <p:tgtEl>
                                          <p:spTgt spid="66"/>
                                        </p:tgtEl>
                                        <p:attrNameLst>
                                          <p:attrName>style.visibility</p:attrName>
                                        </p:attrNameLst>
                                      </p:cBhvr>
                                      <p:to>
                                        <p:strVal val="visible"/>
                                      </p:to>
                                    </p:set>
                                    <p:animEffect transition="in" filter="fade">
                                      <p:cBhvr>
                                        <p:cTn id="48" dur="500"/>
                                        <p:tgtEl>
                                          <p:spTgt spid="66"/>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18"/>
                                        </p:tgtEl>
                                        <p:attrNameLst>
                                          <p:attrName>style.visibility</p:attrName>
                                        </p:attrNameLst>
                                      </p:cBhvr>
                                      <p:to>
                                        <p:strVal val="visible"/>
                                      </p:to>
                                    </p:set>
                                    <p:animEffect transition="in" filter="fade">
                                      <p:cBhvr>
                                        <p:cTn id="51" dur="500"/>
                                        <p:tgtEl>
                                          <p:spTgt spid="18"/>
                                        </p:tgtEl>
                                      </p:cBhvr>
                                    </p:animEffect>
                                  </p:childTnLst>
                                </p:cTn>
                              </p:par>
                              <p:par>
                                <p:cTn id="52" presetID="10" presetClass="entr" presetSubtype="0" fill="hold" grpId="0" nodeType="withEffect">
                                  <p:stCondLst>
                                    <p:cond delay="0"/>
                                  </p:stCondLst>
                                  <p:childTnLst>
                                    <p:set>
                                      <p:cBhvr>
                                        <p:cTn id="53" dur="1" fill="hold">
                                          <p:stCondLst>
                                            <p:cond delay="0"/>
                                          </p:stCondLst>
                                        </p:cTn>
                                        <p:tgtEl>
                                          <p:spTgt spid="65"/>
                                        </p:tgtEl>
                                        <p:attrNameLst>
                                          <p:attrName>style.visibility</p:attrName>
                                        </p:attrNameLst>
                                      </p:cBhvr>
                                      <p:to>
                                        <p:strVal val="visible"/>
                                      </p:to>
                                    </p:set>
                                    <p:animEffect transition="in" filter="fade">
                                      <p:cBhvr>
                                        <p:cTn id="54" dur="500"/>
                                        <p:tgtEl>
                                          <p:spTgt spid="65"/>
                                        </p:tgtEl>
                                      </p:cBhvr>
                                    </p:animEffect>
                                  </p:childTnLst>
                                </p:cTn>
                              </p:par>
                              <p:par>
                                <p:cTn id="55" presetID="10" presetClass="entr" presetSubtype="0" fill="hold" grpId="0" nodeType="withEffect">
                                  <p:stCondLst>
                                    <p:cond delay="0"/>
                                  </p:stCondLst>
                                  <p:childTnLst>
                                    <p:set>
                                      <p:cBhvr>
                                        <p:cTn id="56" dur="1" fill="hold">
                                          <p:stCondLst>
                                            <p:cond delay="0"/>
                                          </p:stCondLst>
                                        </p:cTn>
                                        <p:tgtEl>
                                          <p:spTgt spid="11"/>
                                        </p:tgtEl>
                                        <p:attrNameLst>
                                          <p:attrName>style.visibility</p:attrName>
                                        </p:attrNameLst>
                                      </p:cBhvr>
                                      <p:to>
                                        <p:strVal val="visible"/>
                                      </p:to>
                                    </p:set>
                                    <p:animEffect transition="in" filter="fade">
                                      <p:cBhvr>
                                        <p:cTn id="57" dur="500"/>
                                        <p:tgtEl>
                                          <p:spTgt spid="11"/>
                                        </p:tgtEl>
                                      </p:cBhvr>
                                    </p:animEffect>
                                  </p:childTnLst>
                                </p:cTn>
                              </p:par>
                              <p:par>
                                <p:cTn id="58" presetID="10" presetClass="entr" presetSubtype="0" fill="hold" nodeType="withEffect">
                                  <p:stCondLst>
                                    <p:cond delay="0"/>
                                  </p:stCondLst>
                                  <p:childTnLst>
                                    <p:set>
                                      <p:cBhvr>
                                        <p:cTn id="59" dur="1" fill="hold">
                                          <p:stCondLst>
                                            <p:cond delay="0"/>
                                          </p:stCondLst>
                                        </p:cTn>
                                        <p:tgtEl>
                                          <p:spTgt spid="75"/>
                                        </p:tgtEl>
                                        <p:attrNameLst>
                                          <p:attrName>style.visibility</p:attrName>
                                        </p:attrNameLst>
                                      </p:cBhvr>
                                      <p:to>
                                        <p:strVal val="visible"/>
                                      </p:to>
                                    </p:set>
                                    <p:animEffect transition="in" filter="fade">
                                      <p:cBhvr>
                                        <p:cTn id="60" dur="500"/>
                                        <p:tgtEl>
                                          <p:spTgt spid="75"/>
                                        </p:tgtEl>
                                      </p:cBhvr>
                                    </p:animEffect>
                                  </p:childTnLst>
                                </p:cTn>
                              </p:par>
                              <p:par>
                                <p:cTn id="61" presetID="10" presetClass="entr" presetSubtype="0" fill="hold" grpId="0" nodeType="withEffect">
                                  <p:stCondLst>
                                    <p:cond delay="0"/>
                                  </p:stCondLst>
                                  <p:childTnLst>
                                    <p:set>
                                      <p:cBhvr>
                                        <p:cTn id="62" dur="1" fill="hold">
                                          <p:stCondLst>
                                            <p:cond delay="0"/>
                                          </p:stCondLst>
                                        </p:cTn>
                                        <p:tgtEl>
                                          <p:spTgt spid="8"/>
                                        </p:tgtEl>
                                        <p:attrNameLst>
                                          <p:attrName>style.visibility</p:attrName>
                                        </p:attrNameLst>
                                      </p:cBhvr>
                                      <p:to>
                                        <p:strVal val="visible"/>
                                      </p:to>
                                    </p:set>
                                    <p:animEffect transition="in" filter="fade">
                                      <p:cBhvr>
                                        <p:cTn id="63" dur="500"/>
                                        <p:tgtEl>
                                          <p:spTgt spid="8"/>
                                        </p:tgtEl>
                                      </p:cBhvr>
                                    </p:animEffect>
                                  </p:childTnLst>
                                </p:cTn>
                              </p:par>
                              <p:par>
                                <p:cTn id="64" presetID="10" presetClass="entr" presetSubtype="0" fill="hold" nodeType="withEffect">
                                  <p:stCondLst>
                                    <p:cond delay="0"/>
                                  </p:stCondLst>
                                  <p:childTnLst>
                                    <p:set>
                                      <p:cBhvr>
                                        <p:cTn id="65" dur="1" fill="hold">
                                          <p:stCondLst>
                                            <p:cond delay="0"/>
                                          </p:stCondLst>
                                        </p:cTn>
                                        <p:tgtEl>
                                          <p:spTgt spid="78"/>
                                        </p:tgtEl>
                                        <p:attrNameLst>
                                          <p:attrName>style.visibility</p:attrName>
                                        </p:attrNameLst>
                                      </p:cBhvr>
                                      <p:to>
                                        <p:strVal val="visible"/>
                                      </p:to>
                                    </p:set>
                                    <p:animEffect transition="in" filter="fade">
                                      <p:cBhvr>
                                        <p:cTn id="66" dur="500"/>
                                        <p:tgtEl>
                                          <p:spTgt spid="78"/>
                                        </p:tgtEl>
                                      </p:cBhvr>
                                    </p:animEffect>
                                  </p:childTnLst>
                                </p:cTn>
                              </p:par>
                              <p:par>
                                <p:cTn id="67" presetID="10" presetClass="entr" presetSubtype="0" fill="hold" grpId="0" nodeType="withEffect">
                                  <p:stCondLst>
                                    <p:cond delay="0"/>
                                  </p:stCondLst>
                                  <p:childTnLst>
                                    <p:set>
                                      <p:cBhvr>
                                        <p:cTn id="68" dur="1" fill="hold">
                                          <p:stCondLst>
                                            <p:cond delay="0"/>
                                          </p:stCondLst>
                                        </p:cTn>
                                        <p:tgtEl>
                                          <p:spTgt spid="13"/>
                                        </p:tgtEl>
                                        <p:attrNameLst>
                                          <p:attrName>style.visibility</p:attrName>
                                        </p:attrNameLst>
                                      </p:cBhvr>
                                      <p:to>
                                        <p:strVal val="visible"/>
                                      </p:to>
                                    </p:set>
                                    <p:animEffect transition="in" filter="fade">
                                      <p:cBhvr>
                                        <p:cTn id="69" dur="500"/>
                                        <p:tgtEl>
                                          <p:spTgt spid="13"/>
                                        </p:tgtEl>
                                      </p:cBhvr>
                                    </p:animEffect>
                                  </p:childTnLst>
                                </p:cTn>
                              </p:par>
                              <p:par>
                                <p:cTn id="70" presetID="10" presetClass="entr" presetSubtype="0" fill="hold" nodeType="withEffect">
                                  <p:stCondLst>
                                    <p:cond delay="0"/>
                                  </p:stCondLst>
                                  <p:childTnLst>
                                    <p:set>
                                      <p:cBhvr>
                                        <p:cTn id="71" dur="1" fill="hold">
                                          <p:stCondLst>
                                            <p:cond delay="0"/>
                                          </p:stCondLst>
                                        </p:cTn>
                                        <p:tgtEl>
                                          <p:spTgt spid="97"/>
                                        </p:tgtEl>
                                        <p:attrNameLst>
                                          <p:attrName>style.visibility</p:attrName>
                                        </p:attrNameLst>
                                      </p:cBhvr>
                                      <p:to>
                                        <p:strVal val="visible"/>
                                      </p:to>
                                    </p:set>
                                    <p:animEffect transition="in" filter="fade">
                                      <p:cBhvr>
                                        <p:cTn id="72" dur="500"/>
                                        <p:tgtEl>
                                          <p:spTgt spid="97"/>
                                        </p:tgtEl>
                                      </p:cBhvr>
                                    </p:animEffect>
                                  </p:childTnLst>
                                </p:cTn>
                              </p:par>
                              <p:par>
                                <p:cTn id="73" presetID="10" presetClass="entr" presetSubtype="0" fill="hold" grpId="0" nodeType="withEffect">
                                  <p:stCondLst>
                                    <p:cond delay="0"/>
                                  </p:stCondLst>
                                  <p:childTnLst>
                                    <p:set>
                                      <p:cBhvr>
                                        <p:cTn id="74" dur="1" fill="hold">
                                          <p:stCondLst>
                                            <p:cond delay="0"/>
                                          </p:stCondLst>
                                        </p:cTn>
                                        <p:tgtEl>
                                          <p:spTgt spid="5"/>
                                        </p:tgtEl>
                                        <p:attrNameLst>
                                          <p:attrName>style.visibility</p:attrName>
                                        </p:attrNameLst>
                                      </p:cBhvr>
                                      <p:to>
                                        <p:strVal val="visible"/>
                                      </p:to>
                                    </p:set>
                                    <p:animEffect transition="in" filter="fade">
                                      <p:cBhvr>
                                        <p:cTn id="75" dur="500"/>
                                        <p:tgtEl>
                                          <p:spTgt spid="5"/>
                                        </p:tgtEl>
                                      </p:cBhvr>
                                    </p:animEffect>
                                  </p:childTnLst>
                                </p:cTn>
                              </p:par>
                              <p:par>
                                <p:cTn id="76" presetID="10" presetClass="entr" presetSubtype="0" fill="hold" nodeType="withEffect">
                                  <p:stCondLst>
                                    <p:cond delay="0"/>
                                  </p:stCondLst>
                                  <p:childTnLst>
                                    <p:set>
                                      <p:cBhvr>
                                        <p:cTn id="77" dur="1" fill="hold">
                                          <p:stCondLst>
                                            <p:cond delay="0"/>
                                          </p:stCondLst>
                                        </p:cTn>
                                        <p:tgtEl>
                                          <p:spTgt spid="87"/>
                                        </p:tgtEl>
                                        <p:attrNameLst>
                                          <p:attrName>style.visibility</p:attrName>
                                        </p:attrNameLst>
                                      </p:cBhvr>
                                      <p:to>
                                        <p:strVal val="visible"/>
                                      </p:to>
                                    </p:set>
                                    <p:animEffect transition="in" filter="fade">
                                      <p:cBhvr>
                                        <p:cTn id="78" dur="500"/>
                                        <p:tgtEl>
                                          <p:spTgt spid="87"/>
                                        </p:tgtEl>
                                      </p:cBhvr>
                                    </p:animEffect>
                                  </p:childTnLst>
                                </p:cTn>
                              </p:par>
                              <p:par>
                                <p:cTn id="79" presetID="10" presetClass="entr" presetSubtype="0" fill="hold" nodeType="withEffect">
                                  <p:stCondLst>
                                    <p:cond delay="0"/>
                                  </p:stCondLst>
                                  <p:childTnLst>
                                    <p:set>
                                      <p:cBhvr>
                                        <p:cTn id="80" dur="1" fill="hold">
                                          <p:stCondLst>
                                            <p:cond delay="0"/>
                                          </p:stCondLst>
                                        </p:cTn>
                                        <p:tgtEl>
                                          <p:spTgt spid="72"/>
                                        </p:tgtEl>
                                        <p:attrNameLst>
                                          <p:attrName>style.visibility</p:attrName>
                                        </p:attrNameLst>
                                      </p:cBhvr>
                                      <p:to>
                                        <p:strVal val="visible"/>
                                      </p:to>
                                    </p:set>
                                    <p:animEffect transition="in" filter="fade">
                                      <p:cBhvr>
                                        <p:cTn id="81" dur="500"/>
                                        <p:tgtEl>
                                          <p:spTgt spid="72"/>
                                        </p:tgtEl>
                                      </p:cBhvr>
                                    </p:animEffect>
                                  </p:childTnLst>
                                </p:cTn>
                              </p:par>
                              <p:par>
                                <p:cTn id="82" presetID="10" presetClass="entr" presetSubtype="0" fill="hold" grpId="0" nodeType="withEffect">
                                  <p:stCondLst>
                                    <p:cond delay="0"/>
                                  </p:stCondLst>
                                  <p:childTnLst>
                                    <p:set>
                                      <p:cBhvr>
                                        <p:cTn id="83" dur="1" fill="hold">
                                          <p:stCondLst>
                                            <p:cond delay="0"/>
                                          </p:stCondLst>
                                        </p:cTn>
                                        <p:tgtEl>
                                          <p:spTgt spid="4"/>
                                        </p:tgtEl>
                                        <p:attrNameLst>
                                          <p:attrName>style.visibility</p:attrName>
                                        </p:attrNameLst>
                                      </p:cBhvr>
                                      <p:to>
                                        <p:strVal val="visible"/>
                                      </p:to>
                                    </p:set>
                                    <p:animEffect transition="in" filter="fade">
                                      <p:cBhvr>
                                        <p:cTn id="84" dur="500"/>
                                        <p:tgtEl>
                                          <p:spTgt spid="4"/>
                                        </p:tgtEl>
                                      </p:cBhvr>
                                    </p:animEffect>
                                  </p:childTnLst>
                                </p:cTn>
                              </p:par>
                              <p:par>
                                <p:cTn id="85" presetID="10" presetClass="entr" presetSubtype="0" fill="hold" grpId="0" nodeType="withEffect">
                                  <p:stCondLst>
                                    <p:cond delay="0"/>
                                  </p:stCondLst>
                                  <p:childTnLst>
                                    <p:set>
                                      <p:cBhvr>
                                        <p:cTn id="86" dur="1" fill="hold">
                                          <p:stCondLst>
                                            <p:cond delay="0"/>
                                          </p:stCondLst>
                                        </p:cTn>
                                        <p:tgtEl>
                                          <p:spTgt spid="9"/>
                                        </p:tgtEl>
                                        <p:attrNameLst>
                                          <p:attrName>style.visibility</p:attrName>
                                        </p:attrNameLst>
                                      </p:cBhvr>
                                      <p:to>
                                        <p:strVal val="visible"/>
                                      </p:to>
                                    </p:set>
                                    <p:animEffect transition="in" filter="fade">
                                      <p:cBhvr>
                                        <p:cTn id="87" dur="500"/>
                                        <p:tgtEl>
                                          <p:spTgt spid="9"/>
                                        </p:tgtEl>
                                      </p:cBhvr>
                                    </p:animEffect>
                                  </p:childTnLst>
                                </p:cTn>
                              </p:par>
                              <p:par>
                                <p:cTn id="88" presetID="10" presetClass="entr" presetSubtype="0" fill="hold" nodeType="withEffect">
                                  <p:stCondLst>
                                    <p:cond delay="0"/>
                                  </p:stCondLst>
                                  <p:childTnLst>
                                    <p:set>
                                      <p:cBhvr>
                                        <p:cTn id="89" dur="1" fill="hold">
                                          <p:stCondLst>
                                            <p:cond delay="0"/>
                                          </p:stCondLst>
                                        </p:cTn>
                                        <p:tgtEl>
                                          <p:spTgt spid="69"/>
                                        </p:tgtEl>
                                        <p:attrNameLst>
                                          <p:attrName>style.visibility</p:attrName>
                                        </p:attrNameLst>
                                      </p:cBhvr>
                                      <p:to>
                                        <p:strVal val="visible"/>
                                      </p:to>
                                    </p:set>
                                    <p:animEffect transition="in" filter="fade">
                                      <p:cBhvr>
                                        <p:cTn id="90" dur="500"/>
                                        <p:tgtEl>
                                          <p:spTgt spid="69"/>
                                        </p:tgtEl>
                                      </p:cBhvr>
                                    </p:animEffect>
                                  </p:childTnLst>
                                </p:cTn>
                              </p:par>
                            </p:childTnLst>
                          </p:cTn>
                        </p:par>
                        <p:par>
                          <p:cTn id="91" fill="hold">
                            <p:stCondLst>
                              <p:cond delay="1500"/>
                            </p:stCondLst>
                            <p:childTnLst>
                              <p:par>
                                <p:cTn id="92" presetID="10" presetClass="entr" presetSubtype="0" fill="hold" grpId="0" nodeType="afterEffect">
                                  <p:stCondLst>
                                    <p:cond delay="0"/>
                                  </p:stCondLst>
                                  <p:childTnLst>
                                    <p:set>
                                      <p:cBhvr>
                                        <p:cTn id="93" dur="1" fill="hold">
                                          <p:stCondLst>
                                            <p:cond delay="0"/>
                                          </p:stCondLst>
                                        </p:cTn>
                                        <p:tgtEl>
                                          <p:spTgt spid="12"/>
                                        </p:tgtEl>
                                        <p:attrNameLst>
                                          <p:attrName>style.visibility</p:attrName>
                                        </p:attrNameLst>
                                      </p:cBhvr>
                                      <p:to>
                                        <p:strVal val="visible"/>
                                      </p:to>
                                    </p:set>
                                    <p:animEffect transition="in" filter="fade">
                                      <p:cBhvr>
                                        <p:cTn id="94" dur="500"/>
                                        <p:tgtEl>
                                          <p:spTgt spid="12"/>
                                        </p:tgtEl>
                                      </p:cBhvr>
                                    </p:animEffect>
                                  </p:childTnLst>
                                </p:cTn>
                              </p:par>
                              <p:par>
                                <p:cTn id="95" presetID="10" presetClass="entr" presetSubtype="0" fill="hold" grpId="0" nodeType="withEffect">
                                  <p:stCondLst>
                                    <p:cond delay="0"/>
                                  </p:stCondLst>
                                  <p:childTnLst>
                                    <p:set>
                                      <p:cBhvr>
                                        <p:cTn id="96" dur="1" fill="hold">
                                          <p:stCondLst>
                                            <p:cond delay="0"/>
                                          </p:stCondLst>
                                        </p:cTn>
                                        <p:tgtEl>
                                          <p:spTgt spid="27"/>
                                        </p:tgtEl>
                                        <p:attrNameLst>
                                          <p:attrName>style.visibility</p:attrName>
                                        </p:attrNameLst>
                                      </p:cBhvr>
                                      <p:to>
                                        <p:strVal val="visible"/>
                                      </p:to>
                                    </p:set>
                                    <p:animEffect transition="in" filter="fade">
                                      <p:cBhvr>
                                        <p:cTn id="97" dur="500"/>
                                        <p:tgtEl>
                                          <p:spTgt spid="27"/>
                                        </p:tgtEl>
                                      </p:cBhvr>
                                    </p:animEffect>
                                  </p:childTnLst>
                                </p:cTn>
                              </p:par>
                              <p:par>
                                <p:cTn id="98" presetID="10" presetClass="entr" presetSubtype="0" fill="hold" grpId="0" nodeType="withEffect">
                                  <p:stCondLst>
                                    <p:cond delay="0"/>
                                  </p:stCondLst>
                                  <p:childTnLst>
                                    <p:set>
                                      <p:cBhvr>
                                        <p:cTn id="99" dur="1" fill="hold">
                                          <p:stCondLst>
                                            <p:cond delay="0"/>
                                          </p:stCondLst>
                                        </p:cTn>
                                        <p:tgtEl>
                                          <p:spTgt spid="26"/>
                                        </p:tgtEl>
                                        <p:attrNameLst>
                                          <p:attrName>style.visibility</p:attrName>
                                        </p:attrNameLst>
                                      </p:cBhvr>
                                      <p:to>
                                        <p:strVal val="visible"/>
                                      </p:to>
                                    </p:set>
                                    <p:animEffect transition="in" filter="fade">
                                      <p:cBhvr>
                                        <p:cTn id="100" dur="500"/>
                                        <p:tgtEl>
                                          <p:spTgt spid="26"/>
                                        </p:tgtEl>
                                      </p:cBhvr>
                                    </p:animEffect>
                                  </p:childTnLst>
                                </p:cTn>
                              </p:par>
                              <p:par>
                                <p:cTn id="101" presetID="10" presetClass="entr" presetSubtype="0" fill="hold" grpId="0" nodeType="withEffect">
                                  <p:stCondLst>
                                    <p:cond delay="0"/>
                                  </p:stCondLst>
                                  <p:childTnLst>
                                    <p:set>
                                      <p:cBhvr>
                                        <p:cTn id="102" dur="1" fill="hold">
                                          <p:stCondLst>
                                            <p:cond delay="0"/>
                                          </p:stCondLst>
                                        </p:cTn>
                                        <p:tgtEl>
                                          <p:spTgt spid="35"/>
                                        </p:tgtEl>
                                        <p:attrNameLst>
                                          <p:attrName>style.visibility</p:attrName>
                                        </p:attrNameLst>
                                      </p:cBhvr>
                                      <p:to>
                                        <p:strVal val="visible"/>
                                      </p:to>
                                    </p:set>
                                    <p:animEffect transition="in" filter="fade">
                                      <p:cBhvr>
                                        <p:cTn id="103" dur="500"/>
                                        <p:tgtEl>
                                          <p:spTgt spid="35"/>
                                        </p:tgtEl>
                                      </p:cBhvr>
                                    </p:animEffect>
                                  </p:childTnLst>
                                </p:cTn>
                              </p:par>
                              <p:par>
                                <p:cTn id="104" presetID="10" presetClass="entr" presetSubtype="0" fill="hold" grpId="0" nodeType="withEffect">
                                  <p:stCondLst>
                                    <p:cond delay="0"/>
                                  </p:stCondLst>
                                  <p:childTnLst>
                                    <p:set>
                                      <p:cBhvr>
                                        <p:cTn id="105" dur="1" fill="hold">
                                          <p:stCondLst>
                                            <p:cond delay="0"/>
                                          </p:stCondLst>
                                        </p:cTn>
                                        <p:tgtEl>
                                          <p:spTgt spid="31"/>
                                        </p:tgtEl>
                                        <p:attrNameLst>
                                          <p:attrName>style.visibility</p:attrName>
                                        </p:attrNameLst>
                                      </p:cBhvr>
                                      <p:to>
                                        <p:strVal val="visible"/>
                                      </p:to>
                                    </p:set>
                                    <p:animEffect transition="in" filter="fade">
                                      <p:cBhvr>
                                        <p:cTn id="106" dur="500"/>
                                        <p:tgtEl>
                                          <p:spTgt spid="31"/>
                                        </p:tgtEl>
                                      </p:cBhvr>
                                    </p:animEffect>
                                  </p:childTnLst>
                                </p:cTn>
                              </p:par>
                              <p:par>
                                <p:cTn id="107" presetID="10" presetClass="entr" presetSubtype="0" fill="hold" grpId="0" nodeType="withEffect">
                                  <p:stCondLst>
                                    <p:cond delay="0"/>
                                  </p:stCondLst>
                                  <p:childTnLst>
                                    <p:set>
                                      <p:cBhvr>
                                        <p:cTn id="108" dur="1" fill="hold">
                                          <p:stCondLst>
                                            <p:cond delay="0"/>
                                          </p:stCondLst>
                                        </p:cTn>
                                        <p:tgtEl>
                                          <p:spTgt spid="32"/>
                                        </p:tgtEl>
                                        <p:attrNameLst>
                                          <p:attrName>style.visibility</p:attrName>
                                        </p:attrNameLst>
                                      </p:cBhvr>
                                      <p:to>
                                        <p:strVal val="visible"/>
                                      </p:to>
                                    </p:set>
                                    <p:animEffect transition="in" filter="fade">
                                      <p:cBhvr>
                                        <p:cTn id="109" dur="500"/>
                                        <p:tgtEl>
                                          <p:spTgt spid="32"/>
                                        </p:tgtEl>
                                      </p:cBhvr>
                                    </p:animEffect>
                                  </p:childTnLst>
                                </p:cTn>
                              </p:par>
                              <p:par>
                                <p:cTn id="110" presetID="10" presetClass="entr" presetSubtype="0" fill="hold" grpId="0" nodeType="withEffect">
                                  <p:stCondLst>
                                    <p:cond delay="0"/>
                                  </p:stCondLst>
                                  <p:childTnLst>
                                    <p:set>
                                      <p:cBhvr>
                                        <p:cTn id="111" dur="1" fill="hold">
                                          <p:stCondLst>
                                            <p:cond delay="0"/>
                                          </p:stCondLst>
                                        </p:cTn>
                                        <p:tgtEl>
                                          <p:spTgt spid="30"/>
                                        </p:tgtEl>
                                        <p:attrNameLst>
                                          <p:attrName>style.visibility</p:attrName>
                                        </p:attrNameLst>
                                      </p:cBhvr>
                                      <p:to>
                                        <p:strVal val="visible"/>
                                      </p:to>
                                    </p:set>
                                    <p:animEffect transition="in" filter="fade">
                                      <p:cBhvr>
                                        <p:cTn id="112" dur="500"/>
                                        <p:tgtEl>
                                          <p:spTgt spid="30"/>
                                        </p:tgtEl>
                                      </p:cBhvr>
                                    </p:animEffect>
                                  </p:childTnLst>
                                </p:cTn>
                              </p:par>
                              <p:par>
                                <p:cTn id="113" presetID="10" presetClass="entr" presetSubtype="0" fill="hold" grpId="0" nodeType="withEffect">
                                  <p:stCondLst>
                                    <p:cond delay="0"/>
                                  </p:stCondLst>
                                  <p:childTnLst>
                                    <p:set>
                                      <p:cBhvr>
                                        <p:cTn id="114" dur="1" fill="hold">
                                          <p:stCondLst>
                                            <p:cond delay="0"/>
                                          </p:stCondLst>
                                        </p:cTn>
                                        <p:tgtEl>
                                          <p:spTgt spid="19"/>
                                        </p:tgtEl>
                                        <p:attrNameLst>
                                          <p:attrName>style.visibility</p:attrName>
                                        </p:attrNameLst>
                                      </p:cBhvr>
                                      <p:to>
                                        <p:strVal val="visible"/>
                                      </p:to>
                                    </p:set>
                                    <p:animEffect transition="in" filter="fade">
                                      <p:cBhvr>
                                        <p:cTn id="115" dur="500"/>
                                        <p:tgtEl>
                                          <p:spTgt spid="19"/>
                                        </p:tgtEl>
                                      </p:cBhvr>
                                    </p:animEffect>
                                  </p:childTnLst>
                                </p:cTn>
                              </p:par>
                              <p:par>
                                <p:cTn id="116" presetID="10" presetClass="entr" presetSubtype="0" fill="hold" grpId="0" nodeType="withEffect">
                                  <p:stCondLst>
                                    <p:cond delay="0"/>
                                  </p:stCondLst>
                                  <p:childTnLst>
                                    <p:set>
                                      <p:cBhvr>
                                        <p:cTn id="117" dur="1" fill="hold">
                                          <p:stCondLst>
                                            <p:cond delay="0"/>
                                          </p:stCondLst>
                                        </p:cTn>
                                        <p:tgtEl>
                                          <p:spTgt spid="28"/>
                                        </p:tgtEl>
                                        <p:attrNameLst>
                                          <p:attrName>style.visibility</p:attrName>
                                        </p:attrNameLst>
                                      </p:cBhvr>
                                      <p:to>
                                        <p:strVal val="visible"/>
                                      </p:to>
                                    </p:set>
                                    <p:animEffect transition="in" filter="fade">
                                      <p:cBhvr>
                                        <p:cTn id="118" dur="500"/>
                                        <p:tgtEl>
                                          <p:spTgt spid="28"/>
                                        </p:tgtEl>
                                      </p:cBhvr>
                                    </p:animEffect>
                                  </p:childTnLst>
                                </p:cTn>
                              </p:par>
                              <p:par>
                                <p:cTn id="119" presetID="10" presetClass="entr" presetSubtype="0" fill="hold" grpId="0" nodeType="withEffect">
                                  <p:stCondLst>
                                    <p:cond delay="0"/>
                                  </p:stCondLst>
                                  <p:childTnLst>
                                    <p:set>
                                      <p:cBhvr>
                                        <p:cTn id="120" dur="1" fill="hold">
                                          <p:stCondLst>
                                            <p:cond delay="0"/>
                                          </p:stCondLst>
                                        </p:cTn>
                                        <p:tgtEl>
                                          <p:spTgt spid="20"/>
                                        </p:tgtEl>
                                        <p:attrNameLst>
                                          <p:attrName>style.visibility</p:attrName>
                                        </p:attrNameLst>
                                      </p:cBhvr>
                                      <p:to>
                                        <p:strVal val="visible"/>
                                      </p:to>
                                    </p:set>
                                    <p:animEffect transition="in" filter="fade">
                                      <p:cBhvr>
                                        <p:cTn id="121" dur="500"/>
                                        <p:tgtEl>
                                          <p:spTgt spid="20"/>
                                        </p:tgtEl>
                                      </p:cBhvr>
                                    </p:animEffect>
                                  </p:childTnLst>
                                </p:cTn>
                              </p:par>
                              <p:par>
                                <p:cTn id="122" presetID="10" presetClass="entr" presetSubtype="0" fill="hold" grpId="0" nodeType="withEffect">
                                  <p:stCondLst>
                                    <p:cond delay="0"/>
                                  </p:stCondLst>
                                  <p:childTnLst>
                                    <p:set>
                                      <p:cBhvr>
                                        <p:cTn id="123" dur="1" fill="hold">
                                          <p:stCondLst>
                                            <p:cond delay="0"/>
                                          </p:stCondLst>
                                        </p:cTn>
                                        <p:tgtEl>
                                          <p:spTgt spid="24"/>
                                        </p:tgtEl>
                                        <p:attrNameLst>
                                          <p:attrName>style.visibility</p:attrName>
                                        </p:attrNameLst>
                                      </p:cBhvr>
                                      <p:to>
                                        <p:strVal val="visible"/>
                                      </p:to>
                                    </p:set>
                                    <p:animEffect transition="in" filter="fade">
                                      <p:cBhvr>
                                        <p:cTn id="124" dur="500"/>
                                        <p:tgtEl>
                                          <p:spTgt spid="24"/>
                                        </p:tgtEl>
                                      </p:cBhvr>
                                    </p:animEffect>
                                  </p:childTnLst>
                                </p:cTn>
                              </p:par>
                              <p:par>
                                <p:cTn id="125" presetID="10" presetClass="entr" presetSubtype="0" fill="hold" grpId="0" nodeType="withEffect">
                                  <p:stCondLst>
                                    <p:cond delay="0"/>
                                  </p:stCondLst>
                                  <p:childTnLst>
                                    <p:set>
                                      <p:cBhvr>
                                        <p:cTn id="126" dur="1" fill="hold">
                                          <p:stCondLst>
                                            <p:cond delay="0"/>
                                          </p:stCondLst>
                                        </p:cTn>
                                        <p:tgtEl>
                                          <p:spTgt spid="25"/>
                                        </p:tgtEl>
                                        <p:attrNameLst>
                                          <p:attrName>style.visibility</p:attrName>
                                        </p:attrNameLst>
                                      </p:cBhvr>
                                      <p:to>
                                        <p:strVal val="visible"/>
                                      </p:to>
                                    </p:set>
                                    <p:animEffect transition="in" filter="fade">
                                      <p:cBhvr>
                                        <p:cTn id="127" dur="500"/>
                                        <p:tgtEl>
                                          <p:spTgt spid="25"/>
                                        </p:tgtEl>
                                      </p:cBhvr>
                                    </p:animEffect>
                                  </p:childTnLst>
                                </p:cTn>
                              </p:par>
                              <p:par>
                                <p:cTn id="128" presetID="10" presetClass="entr" presetSubtype="0" fill="hold" grpId="0" nodeType="withEffect">
                                  <p:stCondLst>
                                    <p:cond delay="0"/>
                                  </p:stCondLst>
                                  <p:childTnLst>
                                    <p:set>
                                      <p:cBhvr>
                                        <p:cTn id="129" dur="1" fill="hold">
                                          <p:stCondLst>
                                            <p:cond delay="0"/>
                                          </p:stCondLst>
                                        </p:cTn>
                                        <p:tgtEl>
                                          <p:spTgt spid="22"/>
                                        </p:tgtEl>
                                        <p:attrNameLst>
                                          <p:attrName>style.visibility</p:attrName>
                                        </p:attrNameLst>
                                      </p:cBhvr>
                                      <p:to>
                                        <p:strVal val="visible"/>
                                      </p:to>
                                    </p:set>
                                    <p:animEffect transition="in" filter="fade">
                                      <p:cBhvr>
                                        <p:cTn id="130" dur="500"/>
                                        <p:tgtEl>
                                          <p:spTgt spid="22"/>
                                        </p:tgtEl>
                                      </p:cBhvr>
                                    </p:animEffect>
                                  </p:childTnLst>
                                </p:cTn>
                              </p:par>
                              <p:par>
                                <p:cTn id="131" presetID="10" presetClass="entr" presetSubtype="0" fill="hold" grpId="0" nodeType="withEffect">
                                  <p:stCondLst>
                                    <p:cond delay="0"/>
                                  </p:stCondLst>
                                  <p:childTnLst>
                                    <p:set>
                                      <p:cBhvr>
                                        <p:cTn id="132" dur="1" fill="hold">
                                          <p:stCondLst>
                                            <p:cond delay="0"/>
                                          </p:stCondLst>
                                        </p:cTn>
                                        <p:tgtEl>
                                          <p:spTgt spid="29"/>
                                        </p:tgtEl>
                                        <p:attrNameLst>
                                          <p:attrName>style.visibility</p:attrName>
                                        </p:attrNameLst>
                                      </p:cBhvr>
                                      <p:to>
                                        <p:strVal val="visible"/>
                                      </p:to>
                                    </p:set>
                                    <p:animEffect transition="in" filter="fade">
                                      <p:cBhvr>
                                        <p:cTn id="133" dur="500"/>
                                        <p:tgtEl>
                                          <p:spTgt spid="29"/>
                                        </p:tgtEl>
                                      </p:cBhvr>
                                    </p:animEffect>
                                  </p:childTnLst>
                                </p:cTn>
                              </p:par>
                              <p:par>
                                <p:cTn id="134" presetID="10" presetClass="entr" presetSubtype="0" fill="hold" grpId="0" nodeType="withEffect">
                                  <p:stCondLst>
                                    <p:cond delay="0"/>
                                  </p:stCondLst>
                                  <p:childTnLst>
                                    <p:set>
                                      <p:cBhvr>
                                        <p:cTn id="135" dur="1" fill="hold">
                                          <p:stCondLst>
                                            <p:cond delay="0"/>
                                          </p:stCondLst>
                                        </p:cTn>
                                        <p:tgtEl>
                                          <p:spTgt spid="21"/>
                                        </p:tgtEl>
                                        <p:attrNameLst>
                                          <p:attrName>style.visibility</p:attrName>
                                        </p:attrNameLst>
                                      </p:cBhvr>
                                      <p:to>
                                        <p:strVal val="visible"/>
                                      </p:to>
                                    </p:set>
                                    <p:animEffect transition="in" filter="fade">
                                      <p:cBhvr>
                                        <p:cTn id="136" dur="500"/>
                                        <p:tgtEl>
                                          <p:spTgt spid="21"/>
                                        </p:tgtEl>
                                      </p:cBhvr>
                                    </p:animEffect>
                                  </p:childTnLst>
                                </p:cTn>
                              </p:par>
                              <p:par>
                                <p:cTn id="137" presetID="10" presetClass="entr" presetSubtype="0" fill="hold" grpId="0" nodeType="withEffect">
                                  <p:stCondLst>
                                    <p:cond delay="0"/>
                                  </p:stCondLst>
                                  <p:childTnLst>
                                    <p:set>
                                      <p:cBhvr>
                                        <p:cTn id="138" dur="1" fill="hold">
                                          <p:stCondLst>
                                            <p:cond delay="0"/>
                                          </p:stCondLst>
                                        </p:cTn>
                                        <p:tgtEl>
                                          <p:spTgt spid="6"/>
                                        </p:tgtEl>
                                        <p:attrNameLst>
                                          <p:attrName>style.visibility</p:attrName>
                                        </p:attrNameLst>
                                      </p:cBhvr>
                                      <p:to>
                                        <p:strVal val="visible"/>
                                      </p:to>
                                    </p:set>
                                    <p:animEffect transition="in" filter="fade">
                                      <p:cBhvr>
                                        <p:cTn id="139" dur="500"/>
                                        <p:tgtEl>
                                          <p:spTgt spid="6"/>
                                        </p:tgtEl>
                                      </p:cBhvr>
                                    </p:animEffect>
                                  </p:childTnLst>
                                </p:cTn>
                              </p:par>
                              <p:par>
                                <p:cTn id="140" presetID="10" presetClass="entr" presetSubtype="0" fill="hold" grpId="0" nodeType="withEffect">
                                  <p:stCondLst>
                                    <p:cond delay="0"/>
                                  </p:stCondLst>
                                  <p:childTnLst>
                                    <p:set>
                                      <p:cBhvr>
                                        <p:cTn id="141" dur="1" fill="hold">
                                          <p:stCondLst>
                                            <p:cond delay="0"/>
                                          </p:stCondLst>
                                        </p:cTn>
                                        <p:tgtEl>
                                          <p:spTgt spid="34"/>
                                        </p:tgtEl>
                                        <p:attrNameLst>
                                          <p:attrName>style.visibility</p:attrName>
                                        </p:attrNameLst>
                                      </p:cBhvr>
                                      <p:to>
                                        <p:strVal val="visible"/>
                                      </p:to>
                                    </p:set>
                                    <p:animEffect transition="in" filter="fade">
                                      <p:cBhvr>
                                        <p:cTn id="142" dur="500"/>
                                        <p:tgtEl>
                                          <p:spTgt spid="34"/>
                                        </p:tgtEl>
                                      </p:cBhvr>
                                    </p:animEffect>
                                  </p:childTnLst>
                                </p:cTn>
                              </p:par>
                              <p:par>
                                <p:cTn id="143" presetID="10" presetClass="entr" presetSubtype="0" fill="hold" grpId="0" nodeType="withEffect">
                                  <p:stCondLst>
                                    <p:cond delay="0"/>
                                  </p:stCondLst>
                                  <p:childTnLst>
                                    <p:set>
                                      <p:cBhvr>
                                        <p:cTn id="144" dur="1" fill="hold">
                                          <p:stCondLst>
                                            <p:cond delay="0"/>
                                          </p:stCondLst>
                                        </p:cTn>
                                        <p:tgtEl>
                                          <p:spTgt spid="23"/>
                                        </p:tgtEl>
                                        <p:attrNameLst>
                                          <p:attrName>style.visibility</p:attrName>
                                        </p:attrNameLst>
                                      </p:cBhvr>
                                      <p:to>
                                        <p:strVal val="visible"/>
                                      </p:to>
                                    </p:set>
                                    <p:animEffect transition="in" filter="fade">
                                      <p:cBhvr>
                                        <p:cTn id="145" dur="500"/>
                                        <p:tgtEl>
                                          <p:spTgt spid="23"/>
                                        </p:tgtEl>
                                      </p:cBhvr>
                                    </p:animEffect>
                                  </p:childTnLst>
                                </p:cTn>
                              </p:par>
                              <p:par>
                                <p:cTn id="146" presetID="10" presetClass="entr" presetSubtype="0" fill="hold" grpId="0" nodeType="withEffect">
                                  <p:stCondLst>
                                    <p:cond delay="0"/>
                                  </p:stCondLst>
                                  <p:childTnLst>
                                    <p:set>
                                      <p:cBhvr>
                                        <p:cTn id="147" dur="1" fill="hold">
                                          <p:stCondLst>
                                            <p:cond delay="0"/>
                                          </p:stCondLst>
                                        </p:cTn>
                                        <p:tgtEl>
                                          <p:spTgt spid="33"/>
                                        </p:tgtEl>
                                        <p:attrNameLst>
                                          <p:attrName>style.visibility</p:attrName>
                                        </p:attrNameLst>
                                      </p:cBhvr>
                                      <p:to>
                                        <p:strVal val="visible"/>
                                      </p:to>
                                    </p:set>
                                    <p:animEffect transition="in" filter="fade">
                                      <p:cBhvr>
                                        <p:cTn id="148" dur="500"/>
                                        <p:tgtEl>
                                          <p:spTgt spid="33"/>
                                        </p:tgtEl>
                                      </p:cBhvr>
                                    </p:animEffect>
                                  </p:childTnLst>
                                </p:cTn>
                              </p:par>
                            </p:childTnLst>
                          </p:cTn>
                        </p:par>
                        <p:par>
                          <p:cTn id="149" fill="hold">
                            <p:stCondLst>
                              <p:cond delay="2000"/>
                            </p:stCondLst>
                            <p:childTnLst>
                              <p:par>
                                <p:cTn id="150" presetID="10" presetClass="entr" presetSubtype="0" fill="hold" grpId="0" nodeType="afterEffect">
                                  <p:stCondLst>
                                    <p:cond delay="0"/>
                                  </p:stCondLst>
                                  <p:childTnLst>
                                    <p:set>
                                      <p:cBhvr>
                                        <p:cTn id="151" dur="1" fill="hold">
                                          <p:stCondLst>
                                            <p:cond delay="0"/>
                                          </p:stCondLst>
                                        </p:cTn>
                                        <p:tgtEl>
                                          <p:spTgt spid="48"/>
                                        </p:tgtEl>
                                        <p:attrNameLst>
                                          <p:attrName>style.visibility</p:attrName>
                                        </p:attrNameLst>
                                      </p:cBhvr>
                                      <p:to>
                                        <p:strVal val="visible"/>
                                      </p:to>
                                    </p:set>
                                    <p:animEffect transition="in" filter="fade">
                                      <p:cBhvr>
                                        <p:cTn id="152" dur="500"/>
                                        <p:tgtEl>
                                          <p:spTgt spid="48"/>
                                        </p:tgtEl>
                                      </p:cBhvr>
                                    </p:animEffect>
                                  </p:childTnLst>
                                </p:cTn>
                              </p:par>
                              <p:par>
                                <p:cTn id="153" presetID="10" presetClass="entr" presetSubtype="0" fill="hold" grpId="0" nodeType="withEffect">
                                  <p:stCondLst>
                                    <p:cond delay="0"/>
                                  </p:stCondLst>
                                  <p:childTnLst>
                                    <p:set>
                                      <p:cBhvr>
                                        <p:cTn id="154" dur="1" fill="hold">
                                          <p:stCondLst>
                                            <p:cond delay="0"/>
                                          </p:stCondLst>
                                        </p:cTn>
                                        <p:tgtEl>
                                          <p:spTgt spid="49"/>
                                        </p:tgtEl>
                                        <p:attrNameLst>
                                          <p:attrName>style.visibility</p:attrName>
                                        </p:attrNameLst>
                                      </p:cBhvr>
                                      <p:to>
                                        <p:strVal val="visible"/>
                                      </p:to>
                                    </p:set>
                                    <p:animEffect transition="in" filter="fade">
                                      <p:cBhvr>
                                        <p:cTn id="155" dur="500"/>
                                        <p:tgtEl>
                                          <p:spTgt spid="49"/>
                                        </p:tgtEl>
                                      </p:cBhvr>
                                    </p:animEffect>
                                  </p:childTnLst>
                                </p:cTn>
                              </p:par>
                            </p:childTnLst>
                          </p:cTn>
                        </p:par>
                        <p:par>
                          <p:cTn id="156" fill="hold">
                            <p:stCondLst>
                              <p:cond delay="2500"/>
                            </p:stCondLst>
                            <p:childTnLst>
                              <p:par>
                                <p:cTn id="157" presetID="10" presetClass="entr" presetSubtype="0" fill="hold" grpId="0" nodeType="afterEffect">
                                  <p:stCondLst>
                                    <p:cond delay="0"/>
                                  </p:stCondLst>
                                  <p:childTnLst>
                                    <p:set>
                                      <p:cBhvr>
                                        <p:cTn id="158" dur="1" fill="hold">
                                          <p:stCondLst>
                                            <p:cond delay="0"/>
                                          </p:stCondLst>
                                        </p:cTn>
                                        <p:tgtEl>
                                          <p:spTgt spid="38"/>
                                        </p:tgtEl>
                                        <p:attrNameLst>
                                          <p:attrName>style.visibility</p:attrName>
                                        </p:attrNameLst>
                                      </p:cBhvr>
                                      <p:to>
                                        <p:strVal val="visible"/>
                                      </p:to>
                                    </p:set>
                                    <p:animEffect transition="in" filter="fade">
                                      <p:cBhvr>
                                        <p:cTn id="159" dur="500"/>
                                        <p:tgtEl>
                                          <p:spTgt spid="38"/>
                                        </p:tgtEl>
                                      </p:cBhvr>
                                    </p:animEffect>
                                  </p:childTnLst>
                                </p:cTn>
                              </p:par>
                              <p:par>
                                <p:cTn id="160" presetID="10" presetClass="entr" presetSubtype="0" fill="hold" grpId="0" nodeType="withEffect">
                                  <p:stCondLst>
                                    <p:cond delay="0"/>
                                  </p:stCondLst>
                                  <p:childTnLst>
                                    <p:set>
                                      <p:cBhvr>
                                        <p:cTn id="161" dur="1" fill="hold">
                                          <p:stCondLst>
                                            <p:cond delay="0"/>
                                          </p:stCondLst>
                                        </p:cTn>
                                        <p:tgtEl>
                                          <p:spTgt spid="41"/>
                                        </p:tgtEl>
                                        <p:attrNameLst>
                                          <p:attrName>style.visibility</p:attrName>
                                        </p:attrNameLst>
                                      </p:cBhvr>
                                      <p:to>
                                        <p:strVal val="visible"/>
                                      </p:to>
                                    </p:set>
                                    <p:animEffect transition="in" filter="fade">
                                      <p:cBhvr>
                                        <p:cTn id="162" dur="500"/>
                                        <p:tgtEl>
                                          <p:spTgt spid="41"/>
                                        </p:tgtEl>
                                      </p:cBhvr>
                                    </p:animEffect>
                                  </p:childTnLst>
                                </p:cTn>
                              </p:par>
                              <p:par>
                                <p:cTn id="163" presetID="10" presetClass="entr" presetSubtype="0" fill="hold" grpId="0" nodeType="withEffect">
                                  <p:stCondLst>
                                    <p:cond delay="0"/>
                                  </p:stCondLst>
                                  <p:childTnLst>
                                    <p:set>
                                      <p:cBhvr>
                                        <p:cTn id="164" dur="1" fill="hold">
                                          <p:stCondLst>
                                            <p:cond delay="0"/>
                                          </p:stCondLst>
                                        </p:cTn>
                                        <p:tgtEl>
                                          <p:spTgt spid="44"/>
                                        </p:tgtEl>
                                        <p:attrNameLst>
                                          <p:attrName>style.visibility</p:attrName>
                                        </p:attrNameLst>
                                      </p:cBhvr>
                                      <p:to>
                                        <p:strVal val="visible"/>
                                      </p:to>
                                    </p:set>
                                    <p:animEffect transition="in" filter="fade">
                                      <p:cBhvr>
                                        <p:cTn id="165" dur="500"/>
                                        <p:tgtEl>
                                          <p:spTgt spid="44"/>
                                        </p:tgtEl>
                                      </p:cBhvr>
                                    </p:animEffect>
                                  </p:childTnLst>
                                </p:cTn>
                              </p:par>
                              <p:par>
                                <p:cTn id="166" presetID="10" presetClass="entr" presetSubtype="0" fill="hold" grpId="0" nodeType="withEffect">
                                  <p:stCondLst>
                                    <p:cond delay="0"/>
                                  </p:stCondLst>
                                  <p:childTnLst>
                                    <p:set>
                                      <p:cBhvr>
                                        <p:cTn id="167" dur="1" fill="hold">
                                          <p:stCondLst>
                                            <p:cond delay="0"/>
                                          </p:stCondLst>
                                        </p:cTn>
                                        <p:tgtEl>
                                          <p:spTgt spid="47"/>
                                        </p:tgtEl>
                                        <p:attrNameLst>
                                          <p:attrName>style.visibility</p:attrName>
                                        </p:attrNameLst>
                                      </p:cBhvr>
                                      <p:to>
                                        <p:strVal val="visible"/>
                                      </p:to>
                                    </p:set>
                                    <p:animEffect transition="in" filter="fade">
                                      <p:cBhvr>
                                        <p:cTn id="168" dur="500"/>
                                        <p:tgtEl>
                                          <p:spTgt spid="47"/>
                                        </p:tgtEl>
                                      </p:cBhvr>
                                    </p:animEffect>
                                  </p:childTnLst>
                                </p:cTn>
                              </p:par>
                            </p:childTnLst>
                          </p:cTn>
                        </p:par>
                        <p:par>
                          <p:cTn id="169" fill="hold">
                            <p:stCondLst>
                              <p:cond delay="3000"/>
                            </p:stCondLst>
                            <p:childTnLst>
                              <p:par>
                                <p:cTn id="170" presetID="22" presetClass="entr" presetSubtype="8" fill="hold" grpId="0" nodeType="afterEffect">
                                  <p:stCondLst>
                                    <p:cond delay="0"/>
                                  </p:stCondLst>
                                  <p:childTnLst>
                                    <p:set>
                                      <p:cBhvr>
                                        <p:cTn id="171" dur="1" fill="hold">
                                          <p:stCondLst>
                                            <p:cond delay="0"/>
                                          </p:stCondLst>
                                        </p:cTn>
                                        <p:tgtEl>
                                          <p:spTgt spid="37"/>
                                        </p:tgtEl>
                                        <p:attrNameLst>
                                          <p:attrName>style.visibility</p:attrName>
                                        </p:attrNameLst>
                                      </p:cBhvr>
                                      <p:to>
                                        <p:strVal val="visible"/>
                                      </p:to>
                                    </p:set>
                                    <p:animEffect transition="in" filter="wipe(left)">
                                      <p:cBhvr>
                                        <p:cTn id="172" dur="500"/>
                                        <p:tgtEl>
                                          <p:spTgt spid="37"/>
                                        </p:tgtEl>
                                      </p:cBhvr>
                                    </p:animEffect>
                                  </p:childTnLst>
                                </p:cTn>
                              </p:par>
                              <p:par>
                                <p:cTn id="173" presetID="22" presetClass="entr" presetSubtype="8" fill="hold" grpId="0" nodeType="withEffect">
                                  <p:stCondLst>
                                    <p:cond delay="0"/>
                                  </p:stCondLst>
                                  <p:childTnLst>
                                    <p:set>
                                      <p:cBhvr>
                                        <p:cTn id="174" dur="1" fill="hold">
                                          <p:stCondLst>
                                            <p:cond delay="0"/>
                                          </p:stCondLst>
                                        </p:cTn>
                                        <p:tgtEl>
                                          <p:spTgt spid="36"/>
                                        </p:tgtEl>
                                        <p:attrNameLst>
                                          <p:attrName>style.visibility</p:attrName>
                                        </p:attrNameLst>
                                      </p:cBhvr>
                                      <p:to>
                                        <p:strVal val="visible"/>
                                      </p:to>
                                    </p:set>
                                    <p:animEffect transition="in" filter="wipe(left)">
                                      <p:cBhvr>
                                        <p:cTn id="175" dur="500"/>
                                        <p:tgtEl>
                                          <p:spTgt spid="36"/>
                                        </p:tgtEl>
                                      </p:cBhvr>
                                    </p:animEffect>
                                  </p:childTnLst>
                                </p:cTn>
                              </p:par>
                              <p:par>
                                <p:cTn id="176" presetID="22" presetClass="entr" presetSubtype="8" fill="hold" grpId="0" nodeType="withEffect">
                                  <p:stCondLst>
                                    <p:cond delay="0"/>
                                  </p:stCondLst>
                                  <p:childTnLst>
                                    <p:set>
                                      <p:cBhvr>
                                        <p:cTn id="177" dur="1" fill="hold">
                                          <p:stCondLst>
                                            <p:cond delay="0"/>
                                          </p:stCondLst>
                                        </p:cTn>
                                        <p:tgtEl>
                                          <p:spTgt spid="40"/>
                                        </p:tgtEl>
                                        <p:attrNameLst>
                                          <p:attrName>style.visibility</p:attrName>
                                        </p:attrNameLst>
                                      </p:cBhvr>
                                      <p:to>
                                        <p:strVal val="visible"/>
                                      </p:to>
                                    </p:set>
                                    <p:animEffect transition="in" filter="wipe(left)">
                                      <p:cBhvr>
                                        <p:cTn id="178" dur="500"/>
                                        <p:tgtEl>
                                          <p:spTgt spid="40"/>
                                        </p:tgtEl>
                                      </p:cBhvr>
                                    </p:animEffect>
                                  </p:childTnLst>
                                </p:cTn>
                              </p:par>
                              <p:par>
                                <p:cTn id="179" presetID="22" presetClass="entr" presetSubtype="8" fill="hold" grpId="0" nodeType="withEffect">
                                  <p:stCondLst>
                                    <p:cond delay="0"/>
                                  </p:stCondLst>
                                  <p:childTnLst>
                                    <p:set>
                                      <p:cBhvr>
                                        <p:cTn id="180" dur="1" fill="hold">
                                          <p:stCondLst>
                                            <p:cond delay="0"/>
                                          </p:stCondLst>
                                        </p:cTn>
                                        <p:tgtEl>
                                          <p:spTgt spid="39"/>
                                        </p:tgtEl>
                                        <p:attrNameLst>
                                          <p:attrName>style.visibility</p:attrName>
                                        </p:attrNameLst>
                                      </p:cBhvr>
                                      <p:to>
                                        <p:strVal val="visible"/>
                                      </p:to>
                                    </p:set>
                                    <p:animEffect transition="in" filter="wipe(left)">
                                      <p:cBhvr>
                                        <p:cTn id="181" dur="500"/>
                                        <p:tgtEl>
                                          <p:spTgt spid="39"/>
                                        </p:tgtEl>
                                      </p:cBhvr>
                                    </p:animEffect>
                                  </p:childTnLst>
                                </p:cTn>
                              </p:par>
                              <p:par>
                                <p:cTn id="182" presetID="22" presetClass="entr" presetSubtype="8" fill="hold" grpId="0" nodeType="withEffect">
                                  <p:stCondLst>
                                    <p:cond delay="0"/>
                                  </p:stCondLst>
                                  <p:childTnLst>
                                    <p:set>
                                      <p:cBhvr>
                                        <p:cTn id="183" dur="1" fill="hold">
                                          <p:stCondLst>
                                            <p:cond delay="0"/>
                                          </p:stCondLst>
                                        </p:cTn>
                                        <p:tgtEl>
                                          <p:spTgt spid="43"/>
                                        </p:tgtEl>
                                        <p:attrNameLst>
                                          <p:attrName>style.visibility</p:attrName>
                                        </p:attrNameLst>
                                      </p:cBhvr>
                                      <p:to>
                                        <p:strVal val="visible"/>
                                      </p:to>
                                    </p:set>
                                    <p:animEffect transition="in" filter="wipe(left)">
                                      <p:cBhvr>
                                        <p:cTn id="184" dur="500"/>
                                        <p:tgtEl>
                                          <p:spTgt spid="43"/>
                                        </p:tgtEl>
                                      </p:cBhvr>
                                    </p:animEffect>
                                  </p:childTnLst>
                                </p:cTn>
                              </p:par>
                              <p:par>
                                <p:cTn id="185" presetID="22" presetClass="entr" presetSubtype="8" fill="hold" grpId="0" nodeType="withEffect">
                                  <p:stCondLst>
                                    <p:cond delay="0"/>
                                  </p:stCondLst>
                                  <p:childTnLst>
                                    <p:set>
                                      <p:cBhvr>
                                        <p:cTn id="186" dur="1" fill="hold">
                                          <p:stCondLst>
                                            <p:cond delay="0"/>
                                          </p:stCondLst>
                                        </p:cTn>
                                        <p:tgtEl>
                                          <p:spTgt spid="42"/>
                                        </p:tgtEl>
                                        <p:attrNameLst>
                                          <p:attrName>style.visibility</p:attrName>
                                        </p:attrNameLst>
                                      </p:cBhvr>
                                      <p:to>
                                        <p:strVal val="visible"/>
                                      </p:to>
                                    </p:set>
                                    <p:animEffect transition="in" filter="wipe(left)">
                                      <p:cBhvr>
                                        <p:cTn id="187" dur="500"/>
                                        <p:tgtEl>
                                          <p:spTgt spid="42"/>
                                        </p:tgtEl>
                                      </p:cBhvr>
                                    </p:animEffect>
                                  </p:childTnLst>
                                </p:cTn>
                              </p:par>
                              <p:par>
                                <p:cTn id="188" presetID="22" presetClass="entr" presetSubtype="8" fill="hold" grpId="0" nodeType="withEffect">
                                  <p:stCondLst>
                                    <p:cond delay="0"/>
                                  </p:stCondLst>
                                  <p:childTnLst>
                                    <p:set>
                                      <p:cBhvr>
                                        <p:cTn id="189" dur="1" fill="hold">
                                          <p:stCondLst>
                                            <p:cond delay="0"/>
                                          </p:stCondLst>
                                        </p:cTn>
                                        <p:tgtEl>
                                          <p:spTgt spid="46"/>
                                        </p:tgtEl>
                                        <p:attrNameLst>
                                          <p:attrName>style.visibility</p:attrName>
                                        </p:attrNameLst>
                                      </p:cBhvr>
                                      <p:to>
                                        <p:strVal val="visible"/>
                                      </p:to>
                                    </p:set>
                                    <p:animEffect transition="in" filter="wipe(left)">
                                      <p:cBhvr>
                                        <p:cTn id="190" dur="500"/>
                                        <p:tgtEl>
                                          <p:spTgt spid="46"/>
                                        </p:tgtEl>
                                      </p:cBhvr>
                                    </p:animEffect>
                                  </p:childTnLst>
                                </p:cTn>
                              </p:par>
                              <p:par>
                                <p:cTn id="191" presetID="22" presetClass="entr" presetSubtype="8" fill="hold" grpId="0" nodeType="withEffect">
                                  <p:stCondLst>
                                    <p:cond delay="0"/>
                                  </p:stCondLst>
                                  <p:childTnLst>
                                    <p:set>
                                      <p:cBhvr>
                                        <p:cTn id="192" dur="1" fill="hold">
                                          <p:stCondLst>
                                            <p:cond delay="0"/>
                                          </p:stCondLst>
                                        </p:cTn>
                                        <p:tgtEl>
                                          <p:spTgt spid="45"/>
                                        </p:tgtEl>
                                        <p:attrNameLst>
                                          <p:attrName>style.visibility</p:attrName>
                                        </p:attrNameLst>
                                      </p:cBhvr>
                                      <p:to>
                                        <p:strVal val="visible"/>
                                      </p:to>
                                    </p:set>
                                    <p:animEffect transition="in" filter="wipe(left)">
                                      <p:cBhvr>
                                        <p:cTn id="193" dur="500"/>
                                        <p:tgtEl>
                                          <p:spTgt spid="45"/>
                                        </p:tgtEl>
                                      </p:cBhvr>
                                    </p:animEffect>
                                  </p:childTnLst>
                                </p:cTn>
                              </p:par>
                            </p:childTnLst>
                          </p:cTn>
                        </p:par>
                        <p:par>
                          <p:cTn id="194" fill="hold">
                            <p:stCondLst>
                              <p:cond delay="3500"/>
                            </p:stCondLst>
                            <p:childTnLst>
                              <p:par>
                                <p:cTn id="195" presetID="10" presetClass="entr" presetSubtype="0" fill="hold" grpId="0" nodeType="afterEffect">
                                  <p:stCondLst>
                                    <p:cond delay="0"/>
                                  </p:stCondLst>
                                  <p:childTnLst>
                                    <p:set>
                                      <p:cBhvr>
                                        <p:cTn id="196" dur="1" fill="hold">
                                          <p:stCondLst>
                                            <p:cond delay="0"/>
                                          </p:stCondLst>
                                        </p:cTn>
                                        <p:tgtEl>
                                          <p:spTgt spid="50"/>
                                        </p:tgtEl>
                                        <p:attrNameLst>
                                          <p:attrName>style.visibility</p:attrName>
                                        </p:attrNameLst>
                                      </p:cBhvr>
                                      <p:to>
                                        <p:strVal val="visible"/>
                                      </p:to>
                                    </p:set>
                                    <p:animEffect transition="in" filter="fade">
                                      <p:cBhvr>
                                        <p:cTn id="197" dur="500"/>
                                        <p:tgtEl>
                                          <p:spTgt spid="50"/>
                                        </p:tgtEl>
                                      </p:cBhvr>
                                    </p:animEffect>
                                  </p:childTnLst>
                                </p:cTn>
                              </p:par>
                              <p:par>
                                <p:cTn id="198" presetID="10" presetClass="entr" presetSubtype="0" fill="hold" grpId="0" nodeType="withEffect">
                                  <p:stCondLst>
                                    <p:cond delay="0"/>
                                  </p:stCondLst>
                                  <p:childTnLst>
                                    <p:set>
                                      <p:cBhvr>
                                        <p:cTn id="199" dur="1" fill="hold">
                                          <p:stCondLst>
                                            <p:cond delay="0"/>
                                          </p:stCondLst>
                                        </p:cTn>
                                        <p:tgtEl>
                                          <p:spTgt spid="51"/>
                                        </p:tgtEl>
                                        <p:attrNameLst>
                                          <p:attrName>style.visibility</p:attrName>
                                        </p:attrNameLst>
                                      </p:cBhvr>
                                      <p:to>
                                        <p:strVal val="visible"/>
                                      </p:to>
                                    </p:set>
                                    <p:animEffect transition="in" filter="fade">
                                      <p:cBhvr>
                                        <p:cTn id="200" dur="500"/>
                                        <p:tgtEl>
                                          <p:spTgt spid="51"/>
                                        </p:tgtEl>
                                      </p:cBhvr>
                                    </p:animEffect>
                                  </p:childTnLst>
                                </p:cTn>
                              </p:par>
                              <p:par>
                                <p:cTn id="201" presetID="10" presetClass="entr" presetSubtype="0" fill="hold" grpId="0" nodeType="withEffect">
                                  <p:stCondLst>
                                    <p:cond delay="0"/>
                                  </p:stCondLst>
                                  <p:childTnLst>
                                    <p:set>
                                      <p:cBhvr>
                                        <p:cTn id="202" dur="1" fill="hold">
                                          <p:stCondLst>
                                            <p:cond delay="0"/>
                                          </p:stCondLst>
                                        </p:cTn>
                                        <p:tgtEl>
                                          <p:spTgt spid="52"/>
                                        </p:tgtEl>
                                        <p:attrNameLst>
                                          <p:attrName>style.visibility</p:attrName>
                                        </p:attrNameLst>
                                      </p:cBhvr>
                                      <p:to>
                                        <p:strVal val="visible"/>
                                      </p:to>
                                    </p:set>
                                    <p:animEffect transition="in" filter="fade">
                                      <p:cBhvr>
                                        <p:cTn id="203" dur="500"/>
                                        <p:tgtEl>
                                          <p:spTgt spid="52"/>
                                        </p:tgtEl>
                                      </p:cBhvr>
                                    </p:animEffect>
                                  </p:childTnLst>
                                </p:cTn>
                              </p:par>
                              <p:par>
                                <p:cTn id="204" presetID="10" presetClass="entr" presetSubtype="0" fill="hold" grpId="0" nodeType="withEffect">
                                  <p:stCondLst>
                                    <p:cond delay="0"/>
                                  </p:stCondLst>
                                  <p:childTnLst>
                                    <p:set>
                                      <p:cBhvr>
                                        <p:cTn id="205" dur="1" fill="hold">
                                          <p:stCondLst>
                                            <p:cond delay="0"/>
                                          </p:stCondLst>
                                        </p:cTn>
                                        <p:tgtEl>
                                          <p:spTgt spid="53"/>
                                        </p:tgtEl>
                                        <p:attrNameLst>
                                          <p:attrName>style.visibility</p:attrName>
                                        </p:attrNameLst>
                                      </p:cBhvr>
                                      <p:to>
                                        <p:strVal val="visible"/>
                                      </p:to>
                                    </p:set>
                                    <p:animEffect transition="in" filter="fade">
                                      <p:cBhvr>
                                        <p:cTn id="206" dur="500"/>
                                        <p:tgtEl>
                                          <p:spTgt spid="5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animBg="1"/>
      <p:bldP spid="4" grpId="0" animBg="1"/>
      <p:bldP spid="5" grpId="0" animBg="1"/>
      <p:bldP spid="6" grpId="0" animBg="1"/>
      <p:bldP spid="7" grpId="0" animBg="1"/>
      <p:bldP spid="8" grpId="0" animBg="1"/>
      <p:bldP spid="9" grpId="0" animBg="1"/>
      <p:bldP spid="10"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26" grpId="0" animBg="1"/>
      <p:bldP spid="27" grpId="0" animBg="1"/>
      <p:bldP spid="28" grpId="0" animBg="1"/>
      <p:bldP spid="29" grpId="0" animBg="1"/>
      <p:bldP spid="30" grpId="0" animBg="1"/>
      <p:bldP spid="31" grpId="0" animBg="1"/>
      <p:bldP spid="32" grpId="0" animBg="1"/>
      <p:bldP spid="33" grpId="0" animBg="1"/>
      <p:bldP spid="34" grpId="0" animBg="1"/>
      <p:bldP spid="35" grpId="0" animBg="1"/>
      <p:bldP spid="36" grpId="0" animBg="1"/>
      <p:bldP spid="37" grpId="0" animBg="1"/>
      <p:bldP spid="38" grpId="0"/>
      <p:bldP spid="39" grpId="0" animBg="1"/>
      <p:bldP spid="40" grpId="0" animBg="1"/>
      <p:bldP spid="41" grpId="0"/>
      <p:bldP spid="42" grpId="0" animBg="1"/>
      <p:bldP spid="43" grpId="0" animBg="1"/>
      <p:bldP spid="44" grpId="0"/>
      <p:bldP spid="45" grpId="0" animBg="1"/>
      <p:bldP spid="46" grpId="0" animBg="1"/>
      <p:bldP spid="47" grpId="0"/>
      <p:bldP spid="48" grpId="0"/>
      <p:bldP spid="49" grpId="0"/>
      <p:bldP spid="50" grpId="0"/>
      <p:bldP spid="51" grpId="0"/>
      <p:bldP spid="52" grpId="0"/>
      <p:bldP spid="53" grpId="0"/>
      <p:bldP spid="54" grpId="0" animBg="1"/>
      <p:bldP spid="65" grpId="0" animBg="1"/>
    </p:bldLst>
  </p:timing>
</p:sld>
</file>

<file path=ppt/slides/slide6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Shape 3">
            <a:extLst>
              <a:ext uri="{FF2B5EF4-FFF2-40B4-BE49-F238E27FC236}">
                <a16:creationId xmlns:a16="http://schemas.microsoft.com/office/drawing/2014/main" id="{E90314FD-91A3-461C-A06C-1446483E60E1}"/>
              </a:ext>
            </a:extLst>
          </p:cNvPr>
          <p:cNvSpPr/>
          <p:nvPr/>
        </p:nvSpPr>
        <p:spPr>
          <a:xfrm>
            <a:off x="2259160" y="2933307"/>
            <a:ext cx="1164551" cy="3948749"/>
          </a:xfrm>
          <a:custGeom>
            <a:avLst/>
            <a:gdLst>
              <a:gd name="connsiteX0" fmla="*/ 156309 w 673509"/>
              <a:gd name="connsiteY0" fmla="*/ 1994097 h 2283728"/>
              <a:gd name="connsiteX1" fmla="*/ 141368 w 673509"/>
              <a:gd name="connsiteY1" fmla="*/ 2092939 h 2283728"/>
              <a:gd name="connsiteX2" fmla="*/ 98843 w 673509"/>
              <a:gd name="connsiteY2" fmla="*/ 2176841 h 2283728"/>
              <a:gd name="connsiteX3" fmla="*/ 0 w 673509"/>
              <a:gd name="connsiteY3" fmla="*/ 2283729 h 2283728"/>
              <a:gd name="connsiteX4" fmla="*/ 166654 w 673509"/>
              <a:gd name="connsiteY4" fmla="*/ 2280281 h 2283728"/>
              <a:gd name="connsiteX5" fmla="*/ 179296 w 673509"/>
              <a:gd name="connsiteY5" fmla="*/ 2279132 h 2283728"/>
              <a:gd name="connsiteX6" fmla="*/ 185043 w 673509"/>
              <a:gd name="connsiteY6" fmla="*/ 2279132 h 2283728"/>
              <a:gd name="connsiteX7" fmla="*/ 208029 w 673509"/>
              <a:gd name="connsiteY7" fmla="*/ 2279132 h 2283728"/>
              <a:gd name="connsiteX8" fmla="*/ 236763 w 673509"/>
              <a:gd name="connsiteY8" fmla="*/ 2279132 h 2283728"/>
              <a:gd name="connsiteX9" fmla="*/ 267795 w 673509"/>
              <a:gd name="connsiteY9" fmla="*/ 2279132 h 2283728"/>
              <a:gd name="connsiteX10" fmla="*/ 340203 w 673509"/>
              <a:gd name="connsiteY10" fmla="*/ 2279132 h 2283728"/>
              <a:gd name="connsiteX11" fmla="*/ 343651 w 673509"/>
              <a:gd name="connsiteY11" fmla="*/ 2279132 h 2283728"/>
              <a:gd name="connsiteX12" fmla="*/ 445942 w 673509"/>
              <a:gd name="connsiteY12" fmla="*/ 2279132 h 2283728"/>
              <a:gd name="connsiteX13" fmla="*/ 476974 w 673509"/>
              <a:gd name="connsiteY13" fmla="*/ 2279132 h 2283728"/>
              <a:gd name="connsiteX14" fmla="*/ 494214 w 673509"/>
              <a:gd name="connsiteY14" fmla="*/ 2279132 h 2283728"/>
              <a:gd name="connsiteX15" fmla="*/ 506856 w 673509"/>
              <a:gd name="connsiteY15" fmla="*/ 2280281 h 2283728"/>
              <a:gd name="connsiteX16" fmla="*/ 673510 w 673509"/>
              <a:gd name="connsiteY16" fmla="*/ 2283729 h 2283728"/>
              <a:gd name="connsiteX17" fmla="*/ 580414 w 673509"/>
              <a:gd name="connsiteY17" fmla="*/ 2168795 h 2283728"/>
              <a:gd name="connsiteX18" fmla="*/ 529843 w 673509"/>
              <a:gd name="connsiteY18" fmla="*/ 1989499 h 2283728"/>
              <a:gd name="connsiteX19" fmla="*/ 528694 w 673509"/>
              <a:gd name="connsiteY19" fmla="*/ 1768827 h 2283728"/>
              <a:gd name="connsiteX20" fmla="*/ 496513 w 673509"/>
              <a:gd name="connsiteY20" fmla="*/ 0 h 2283728"/>
              <a:gd name="connsiteX21" fmla="*/ 151712 w 673509"/>
              <a:gd name="connsiteY21" fmla="*/ 0 h 2283728"/>
              <a:gd name="connsiteX22" fmla="*/ 156309 w 673509"/>
              <a:gd name="connsiteY22" fmla="*/ 1994097 h 2283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673509" h="2283728">
                <a:moveTo>
                  <a:pt x="156309" y="1994097"/>
                </a:moveTo>
                <a:cubicBezTo>
                  <a:pt x="152861" y="2038921"/>
                  <a:pt x="148264" y="2075699"/>
                  <a:pt x="141368" y="2092939"/>
                </a:cubicBezTo>
                <a:cubicBezTo>
                  <a:pt x="129875" y="2125121"/>
                  <a:pt x="114933" y="2152705"/>
                  <a:pt x="98843" y="2176841"/>
                </a:cubicBezTo>
                <a:cubicBezTo>
                  <a:pt x="68960" y="2221665"/>
                  <a:pt x="36779" y="2261892"/>
                  <a:pt x="0" y="2283729"/>
                </a:cubicBezTo>
                <a:cubicBezTo>
                  <a:pt x="55168" y="2277982"/>
                  <a:pt x="110336" y="2276833"/>
                  <a:pt x="166654" y="2280281"/>
                </a:cubicBezTo>
                <a:cubicBezTo>
                  <a:pt x="171251" y="2280281"/>
                  <a:pt x="175848" y="2280281"/>
                  <a:pt x="179296" y="2279132"/>
                </a:cubicBezTo>
                <a:lnTo>
                  <a:pt x="185043" y="2279132"/>
                </a:lnTo>
                <a:lnTo>
                  <a:pt x="208029" y="2279132"/>
                </a:lnTo>
                <a:lnTo>
                  <a:pt x="236763" y="2279132"/>
                </a:lnTo>
                <a:lnTo>
                  <a:pt x="267795" y="2279132"/>
                </a:lnTo>
                <a:lnTo>
                  <a:pt x="340203" y="2279132"/>
                </a:lnTo>
                <a:lnTo>
                  <a:pt x="343651" y="2279132"/>
                </a:lnTo>
                <a:lnTo>
                  <a:pt x="445942" y="2279132"/>
                </a:lnTo>
                <a:lnTo>
                  <a:pt x="476974" y="2279132"/>
                </a:lnTo>
                <a:lnTo>
                  <a:pt x="494214" y="2279132"/>
                </a:lnTo>
                <a:cubicBezTo>
                  <a:pt x="498812" y="2280281"/>
                  <a:pt x="503409" y="2280281"/>
                  <a:pt x="506856" y="2280281"/>
                </a:cubicBezTo>
                <a:cubicBezTo>
                  <a:pt x="562025" y="2276833"/>
                  <a:pt x="618342" y="2279132"/>
                  <a:pt x="673510" y="2283729"/>
                </a:cubicBezTo>
                <a:cubicBezTo>
                  <a:pt x="653972" y="2272235"/>
                  <a:pt x="613745" y="2217068"/>
                  <a:pt x="580414" y="2168795"/>
                </a:cubicBezTo>
                <a:cubicBezTo>
                  <a:pt x="548233" y="2121673"/>
                  <a:pt x="529843" y="2056161"/>
                  <a:pt x="529843" y="1989499"/>
                </a:cubicBezTo>
                <a:cubicBezTo>
                  <a:pt x="528694" y="1896403"/>
                  <a:pt x="528694" y="1772275"/>
                  <a:pt x="528694" y="1768827"/>
                </a:cubicBezTo>
                <a:cubicBezTo>
                  <a:pt x="525246" y="1535512"/>
                  <a:pt x="506856" y="699945"/>
                  <a:pt x="496513" y="0"/>
                </a:cubicBezTo>
                <a:lnTo>
                  <a:pt x="151712" y="0"/>
                </a:lnTo>
                <a:cubicBezTo>
                  <a:pt x="154011" y="609148"/>
                  <a:pt x="155160" y="1522869"/>
                  <a:pt x="156309" y="1994097"/>
                </a:cubicBezTo>
                <a:close/>
              </a:path>
            </a:pathLst>
          </a:custGeom>
          <a:solidFill>
            <a:srgbClr val="7A5330"/>
          </a:solidFill>
          <a:ln w="1149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 name="Freeform: Shape 5">
            <a:extLst>
              <a:ext uri="{FF2B5EF4-FFF2-40B4-BE49-F238E27FC236}">
                <a16:creationId xmlns:a16="http://schemas.microsoft.com/office/drawing/2014/main" id="{CE53DD7D-4073-4650-8F51-2503B331F1D8}"/>
              </a:ext>
            </a:extLst>
          </p:cNvPr>
          <p:cNvSpPr/>
          <p:nvPr/>
        </p:nvSpPr>
        <p:spPr>
          <a:xfrm>
            <a:off x="382162" y="4209683"/>
            <a:ext cx="4918546" cy="1041340"/>
          </a:xfrm>
          <a:custGeom>
            <a:avLst/>
            <a:gdLst>
              <a:gd name="connsiteX0" fmla="*/ 2844604 w 2844603"/>
              <a:gd name="connsiteY0" fmla="*/ 108037 h 602251"/>
              <a:gd name="connsiteX1" fmla="*/ 2844604 w 2844603"/>
              <a:gd name="connsiteY1" fmla="*/ 167803 h 602251"/>
              <a:gd name="connsiteX2" fmla="*/ 2843455 w 2844603"/>
              <a:gd name="connsiteY2" fmla="*/ 189640 h 602251"/>
              <a:gd name="connsiteX3" fmla="*/ 2837708 w 2844603"/>
              <a:gd name="connsiteY3" fmla="*/ 241360 h 602251"/>
              <a:gd name="connsiteX4" fmla="*/ 2837708 w 2844603"/>
              <a:gd name="connsiteY4" fmla="*/ 243659 h 602251"/>
              <a:gd name="connsiteX5" fmla="*/ 2457278 w 2844603"/>
              <a:gd name="connsiteY5" fmla="*/ 602252 h 602251"/>
              <a:gd name="connsiteX6" fmla="*/ 386177 w 2844603"/>
              <a:gd name="connsiteY6" fmla="*/ 602252 h 602251"/>
              <a:gd name="connsiteX7" fmla="*/ 5747 w 2844603"/>
              <a:gd name="connsiteY7" fmla="*/ 243659 h 602251"/>
              <a:gd name="connsiteX8" fmla="*/ 5747 w 2844603"/>
              <a:gd name="connsiteY8" fmla="*/ 241360 h 602251"/>
              <a:gd name="connsiteX9" fmla="*/ 0 w 2844603"/>
              <a:gd name="connsiteY9" fmla="*/ 189640 h 602251"/>
              <a:gd name="connsiteX10" fmla="*/ 0 w 2844603"/>
              <a:gd name="connsiteY10" fmla="*/ 167803 h 602251"/>
              <a:gd name="connsiteX11" fmla="*/ 0 w 2844603"/>
              <a:gd name="connsiteY11" fmla="*/ 108037 h 602251"/>
              <a:gd name="connsiteX12" fmla="*/ 13792 w 2844603"/>
              <a:gd name="connsiteY12" fmla="*/ 0 h 602251"/>
              <a:gd name="connsiteX13" fmla="*/ 2831962 w 2844603"/>
              <a:gd name="connsiteY13" fmla="*/ 0 h 602251"/>
              <a:gd name="connsiteX14" fmla="*/ 2844604 w 2844603"/>
              <a:gd name="connsiteY14" fmla="*/ 108037 h 6022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844603" h="602251">
                <a:moveTo>
                  <a:pt x="2844604" y="108037"/>
                </a:moveTo>
                <a:lnTo>
                  <a:pt x="2844604" y="167803"/>
                </a:lnTo>
                <a:cubicBezTo>
                  <a:pt x="2844604" y="174699"/>
                  <a:pt x="2844604" y="182744"/>
                  <a:pt x="2843455" y="189640"/>
                </a:cubicBezTo>
                <a:cubicBezTo>
                  <a:pt x="2842305" y="206880"/>
                  <a:pt x="2841156" y="224120"/>
                  <a:pt x="2837708" y="241360"/>
                </a:cubicBezTo>
                <a:cubicBezTo>
                  <a:pt x="2837708" y="242509"/>
                  <a:pt x="2837708" y="242509"/>
                  <a:pt x="2837708" y="243659"/>
                </a:cubicBezTo>
                <a:cubicBezTo>
                  <a:pt x="2804377" y="432150"/>
                  <a:pt x="2649217" y="580414"/>
                  <a:pt x="2457278" y="602252"/>
                </a:cubicBezTo>
                <a:lnTo>
                  <a:pt x="386177" y="602252"/>
                </a:lnTo>
                <a:cubicBezTo>
                  <a:pt x="194238" y="580414"/>
                  <a:pt x="39078" y="432150"/>
                  <a:pt x="5747" y="243659"/>
                </a:cubicBezTo>
                <a:cubicBezTo>
                  <a:pt x="5747" y="242509"/>
                  <a:pt x="5747" y="242509"/>
                  <a:pt x="5747" y="241360"/>
                </a:cubicBezTo>
                <a:cubicBezTo>
                  <a:pt x="3448" y="224120"/>
                  <a:pt x="1150" y="208029"/>
                  <a:pt x="0" y="189640"/>
                </a:cubicBezTo>
                <a:cubicBezTo>
                  <a:pt x="0" y="182744"/>
                  <a:pt x="0" y="174699"/>
                  <a:pt x="0" y="167803"/>
                </a:cubicBezTo>
                <a:lnTo>
                  <a:pt x="0" y="108037"/>
                </a:lnTo>
                <a:cubicBezTo>
                  <a:pt x="0" y="70109"/>
                  <a:pt x="4598" y="34480"/>
                  <a:pt x="13792" y="0"/>
                </a:cubicBezTo>
                <a:lnTo>
                  <a:pt x="2831962" y="0"/>
                </a:lnTo>
                <a:cubicBezTo>
                  <a:pt x="2838857" y="34480"/>
                  <a:pt x="2844604" y="70109"/>
                  <a:pt x="2844604" y="108037"/>
                </a:cubicBezTo>
                <a:close/>
              </a:path>
            </a:pathLst>
          </a:custGeom>
          <a:solidFill>
            <a:schemeClr val="accent3"/>
          </a:solidFill>
          <a:ln w="1149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nvGrpSpPr>
          <p:cNvPr id="4" name="Group 4">
            <a:extLst>
              <a:ext uri="{FF2B5EF4-FFF2-40B4-BE49-F238E27FC236}">
                <a16:creationId xmlns:a16="http://schemas.microsoft.com/office/drawing/2014/main" id="{443092BD-B01E-4C48-BA68-54928010D3DE}"/>
              </a:ext>
            </a:extLst>
          </p:cNvPr>
          <p:cNvGrpSpPr/>
          <p:nvPr/>
        </p:nvGrpSpPr>
        <p:grpSpPr>
          <a:xfrm>
            <a:off x="404023" y="3175836"/>
            <a:ext cx="4872838" cy="1248018"/>
            <a:chOff x="404023" y="3168341"/>
            <a:chExt cx="4872838" cy="1248018"/>
          </a:xfrm>
          <a:effectLst>
            <a:outerShdw blurRad="50800" dist="38100" dir="5400000" algn="t" rotWithShape="0">
              <a:schemeClr val="tx2">
                <a:alpha val="20000"/>
              </a:schemeClr>
            </a:outerShdw>
          </a:effectLst>
        </p:grpSpPr>
        <p:sp>
          <p:nvSpPr>
            <p:cNvPr id="5" name="Freeform: Shape 6">
              <a:extLst>
                <a:ext uri="{FF2B5EF4-FFF2-40B4-BE49-F238E27FC236}">
                  <a16:creationId xmlns:a16="http://schemas.microsoft.com/office/drawing/2014/main" id="{1F402B80-98FB-40D7-95B5-71C4B4AA7D5D}"/>
                </a:ext>
              </a:extLst>
            </p:cNvPr>
            <p:cNvSpPr/>
            <p:nvPr/>
          </p:nvSpPr>
          <p:spPr>
            <a:xfrm>
              <a:off x="404023" y="3168341"/>
              <a:ext cx="4872838" cy="1039354"/>
            </a:xfrm>
            <a:custGeom>
              <a:avLst/>
              <a:gdLst>
                <a:gd name="connsiteX0" fmla="*/ 2818169 w 2818168"/>
                <a:gd name="connsiteY0" fmla="*/ 601103 h 601102"/>
                <a:gd name="connsiteX1" fmla="*/ 0 w 2818168"/>
                <a:gd name="connsiteY1" fmla="*/ 601103 h 601102"/>
                <a:gd name="connsiteX2" fmla="*/ 50570 w 2818168"/>
                <a:gd name="connsiteY2" fmla="*/ 482721 h 601102"/>
                <a:gd name="connsiteX3" fmla="*/ 271243 w 2818168"/>
                <a:gd name="connsiteY3" fmla="*/ 301126 h 601102"/>
                <a:gd name="connsiteX4" fmla="*/ 272392 w 2818168"/>
                <a:gd name="connsiteY4" fmla="*/ 301126 h 601102"/>
                <a:gd name="connsiteX5" fmla="*/ 344800 w 2818168"/>
                <a:gd name="connsiteY5" fmla="*/ 281587 h 601102"/>
                <a:gd name="connsiteX6" fmla="*/ 344800 w 2818168"/>
                <a:gd name="connsiteY6" fmla="*/ 279289 h 601102"/>
                <a:gd name="connsiteX7" fmla="*/ 382728 w 2818168"/>
                <a:gd name="connsiteY7" fmla="*/ 120680 h 601102"/>
                <a:gd name="connsiteX8" fmla="*/ 463182 w 2818168"/>
                <a:gd name="connsiteY8" fmla="*/ 0 h 601102"/>
                <a:gd name="connsiteX9" fmla="*/ 2351539 w 2818168"/>
                <a:gd name="connsiteY9" fmla="*/ 0 h 601102"/>
                <a:gd name="connsiteX10" fmla="*/ 2431993 w 2818168"/>
                <a:gd name="connsiteY10" fmla="*/ 120680 h 601102"/>
                <a:gd name="connsiteX11" fmla="*/ 2469920 w 2818168"/>
                <a:gd name="connsiteY11" fmla="*/ 279289 h 601102"/>
                <a:gd name="connsiteX12" fmla="*/ 2469920 w 2818168"/>
                <a:gd name="connsiteY12" fmla="*/ 281587 h 601102"/>
                <a:gd name="connsiteX13" fmla="*/ 2542328 w 2818168"/>
                <a:gd name="connsiteY13" fmla="*/ 301126 h 601102"/>
                <a:gd name="connsiteX14" fmla="*/ 2543478 w 2818168"/>
                <a:gd name="connsiteY14" fmla="*/ 301126 h 601102"/>
                <a:gd name="connsiteX15" fmla="*/ 2764151 w 2818168"/>
                <a:gd name="connsiteY15" fmla="*/ 482721 h 601102"/>
                <a:gd name="connsiteX16" fmla="*/ 2818169 w 2818168"/>
                <a:gd name="connsiteY16" fmla="*/ 601103 h 6011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818168" h="601102">
                  <a:moveTo>
                    <a:pt x="2818169" y="601103"/>
                  </a:moveTo>
                  <a:lnTo>
                    <a:pt x="0" y="601103"/>
                  </a:lnTo>
                  <a:cubicBezTo>
                    <a:pt x="11493" y="558577"/>
                    <a:pt x="28733" y="518350"/>
                    <a:pt x="50570" y="482721"/>
                  </a:cubicBezTo>
                  <a:cubicBezTo>
                    <a:pt x="101141" y="399969"/>
                    <a:pt x="179296" y="335606"/>
                    <a:pt x="271243" y="301126"/>
                  </a:cubicBezTo>
                  <a:cubicBezTo>
                    <a:pt x="271243" y="301126"/>
                    <a:pt x="272392" y="301126"/>
                    <a:pt x="272392" y="301126"/>
                  </a:cubicBezTo>
                  <a:cubicBezTo>
                    <a:pt x="295379" y="291931"/>
                    <a:pt x="319515" y="286185"/>
                    <a:pt x="344800" y="281587"/>
                  </a:cubicBezTo>
                  <a:cubicBezTo>
                    <a:pt x="344800" y="280438"/>
                    <a:pt x="344800" y="279289"/>
                    <a:pt x="344800" y="279289"/>
                  </a:cubicBezTo>
                  <a:cubicBezTo>
                    <a:pt x="347099" y="222971"/>
                    <a:pt x="360891" y="170102"/>
                    <a:pt x="382728" y="120680"/>
                  </a:cubicBezTo>
                  <a:cubicBezTo>
                    <a:pt x="402267" y="75856"/>
                    <a:pt x="429851" y="35629"/>
                    <a:pt x="463182" y="0"/>
                  </a:cubicBezTo>
                  <a:lnTo>
                    <a:pt x="2351539" y="0"/>
                  </a:lnTo>
                  <a:cubicBezTo>
                    <a:pt x="2384870" y="35629"/>
                    <a:pt x="2412454" y="75856"/>
                    <a:pt x="2431993" y="120680"/>
                  </a:cubicBezTo>
                  <a:cubicBezTo>
                    <a:pt x="2453830" y="168952"/>
                    <a:pt x="2467622" y="222971"/>
                    <a:pt x="2469920" y="279289"/>
                  </a:cubicBezTo>
                  <a:cubicBezTo>
                    <a:pt x="2469920" y="280438"/>
                    <a:pt x="2469920" y="281587"/>
                    <a:pt x="2469920" y="281587"/>
                  </a:cubicBezTo>
                  <a:cubicBezTo>
                    <a:pt x="2495206" y="286185"/>
                    <a:pt x="2519342" y="293080"/>
                    <a:pt x="2542328" y="301126"/>
                  </a:cubicBezTo>
                  <a:cubicBezTo>
                    <a:pt x="2542328" y="301126"/>
                    <a:pt x="2543478" y="301126"/>
                    <a:pt x="2543478" y="301126"/>
                  </a:cubicBezTo>
                  <a:cubicBezTo>
                    <a:pt x="2635425" y="335606"/>
                    <a:pt x="2713580" y="399969"/>
                    <a:pt x="2764151" y="482721"/>
                  </a:cubicBezTo>
                  <a:cubicBezTo>
                    <a:pt x="2789435" y="518350"/>
                    <a:pt x="2806675" y="558577"/>
                    <a:pt x="2818169" y="601103"/>
                  </a:cubicBezTo>
                  <a:close/>
                </a:path>
              </a:pathLst>
            </a:custGeom>
            <a:solidFill>
              <a:schemeClr val="accent2"/>
            </a:solidFill>
            <a:ln w="1149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6" name="Freeform: Shape 9">
              <a:extLst>
                <a:ext uri="{FF2B5EF4-FFF2-40B4-BE49-F238E27FC236}">
                  <a16:creationId xmlns:a16="http://schemas.microsoft.com/office/drawing/2014/main" id="{E1E0036B-2120-4D51-B02C-839A480E7661}"/>
                </a:ext>
              </a:extLst>
            </p:cNvPr>
            <p:cNvSpPr/>
            <p:nvPr/>
          </p:nvSpPr>
          <p:spPr>
            <a:xfrm>
              <a:off x="1004183" y="4207694"/>
              <a:ext cx="244437" cy="208665"/>
            </a:xfrm>
            <a:custGeom>
              <a:avLst/>
              <a:gdLst>
                <a:gd name="connsiteX0" fmla="*/ 141369 w 141368"/>
                <a:gd name="connsiteY0" fmla="*/ 0 h 120680"/>
                <a:gd name="connsiteX1" fmla="*/ 71259 w 141368"/>
                <a:gd name="connsiteY1" fmla="*/ 119531 h 120680"/>
                <a:gd name="connsiteX2" fmla="*/ 71259 w 141368"/>
                <a:gd name="connsiteY2" fmla="*/ 120680 h 120680"/>
                <a:gd name="connsiteX3" fmla="*/ 70110 w 141368"/>
                <a:gd name="connsiteY3" fmla="*/ 120680 h 120680"/>
                <a:gd name="connsiteX4" fmla="*/ 70110 w 141368"/>
                <a:gd name="connsiteY4" fmla="*/ 120680 h 120680"/>
                <a:gd name="connsiteX5" fmla="*/ 70110 w 141368"/>
                <a:gd name="connsiteY5" fmla="*/ 119531 h 120680"/>
                <a:gd name="connsiteX6" fmla="*/ 0 w 141368"/>
                <a:gd name="connsiteY6" fmla="*/ 0 h 120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1368" h="120680">
                  <a:moveTo>
                    <a:pt x="141369" y="0"/>
                  </a:moveTo>
                  <a:lnTo>
                    <a:pt x="71259" y="119531"/>
                  </a:lnTo>
                  <a:lnTo>
                    <a:pt x="71259" y="120680"/>
                  </a:lnTo>
                  <a:lnTo>
                    <a:pt x="70110" y="120680"/>
                  </a:lnTo>
                  <a:lnTo>
                    <a:pt x="70110" y="120680"/>
                  </a:lnTo>
                  <a:lnTo>
                    <a:pt x="70110" y="119531"/>
                  </a:lnTo>
                  <a:lnTo>
                    <a:pt x="0" y="0"/>
                  </a:lnTo>
                  <a:close/>
                </a:path>
              </a:pathLst>
            </a:custGeom>
            <a:solidFill>
              <a:schemeClr val="accent2"/>
            </a:solidFill>
            <a:ln w="1149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sp>
        <p:nvSpPr>
          <p:cNvPr id="7" name="Title 1">
            <a:extLst>
              <a:ext uri="{FF2B5EF4-FFF2-40B4-BE49-F238E27FC236}">
                <a16:creationId xmlns:a16="http://schemas.microsoft.com/office/drawing/2014/main" id="{E3434A11-F538-477A-9373-F73E847C306C}"/>
              </a:ext>
            </a:extLst>
          </p:cNvPr>
          <p:cNvSpPr txBox="1">
            <a:spLocks/>
          </p:cNvSpPr>
          <p:nvPr/>
        </p:nvSpPr>
        <p:spPr>
          <a:xfrm>
            <a:off x="2043113" y="304800"/>
            <a:ext cx="8105775" cy="1105808"/>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ID" sz="4400" b="0" i="0" u="none" strike="noStrike" kern="1200" cap="none" spc="0" normalizeH="0" baseline="0" noProof="0">
                <a:ln>
                  <a:noFill/>
                </a:ln>
                <a:solidFill>
                  <a:srgbClr val="000000"/>
                </a:solidFill>
                <a:effectLst/>
                <a:uLnTx/>
                <a:uFillTx/>
                <a:latin typeface="等线 Light" panose="020F0302020204030204"/>
                <a:ea typeface="+mj-ea"/>
                <a:cs typeface="+mj-cs"/>
              </a:rPr>
              <a:t>Tree Infographic</a:t>
            </a:r>
          </a:p>
        </p:txBody>
      </p:sp>
      <p:grpSp>
        <p:nvGrpSpPr>
          <p:cNvPr id="8" name="Group 2">
            <a:extLst>
              <a:ext uri="{FF2B5EF4-FFF2-40B4-BE49-F238E27FC236}">
                <a16:creationId xmlns:a16="http://schemas.microsoft.com/office/drawing/2014/main" id="{BD99F408-F254-4C63-896D-576720E3BB81}"/>
              </a:ext>
            </a:extLst>
          </p:cNvPr>
          <p:cNvGrpSpPr/>
          <p:nvPr/>
        </p:nvGrpSpPr>
        <p:grpSpPr>
          <a:xfrm>
            <a:off x="1208875" y="2129142"/>
            <a:ext cx="3263132" cy="1251383"/>
            <a:chOff x="1208875" y="2121647"/>
            <a:chExt cx="3263132" cy="1251383"/>
          </a:xfrm>
          <a:effectLst>
            <a:outerShdw blurRad="50800" dist="38100" dir="5400000" algn="t" rotWithShape="0">
              <a:schemeClr val="tx2">
                <a:alpha val="20000"/>
              </a:schemeClr>
            </a:outerShdw>
          </a:effectLst>
        </p:grpSpPr>
        <p:sp>
          <p:nvSpPr>
            <p:cNvPr id="9" name="Freeform: Shape 7">
              <a:extLst>
                <a:ext uri="{FF2B5EF4-FFF2-40B4-BE49-F238E27FC236}">
                  <a16:creationId xmlns:a16="http://schemas.microsoft.com/office/drawing/2014/main" id="{4E6ED721-EB16-4F44-A9B6-AA2F92F7EE4B}"/>
                </a:ext>
              </a:extLst>
            </p:cNvPr>
            <p:cNvSpPr/>
            <p:nvPr/>
          </p:nvSpPr>
          <p:spPr>
            <a:xfrm>
              <a:off x="1208875" y="2121647"/>
              <a:ext cx="3263132" cy="1053475"/>
            </a:xfrm>
            <a:custGeom>
              <a:avLst/>
              <a:gdLst>
                <a:gd name="connsiteX0" fmla="*/ 1887207 w 1887207"/>
                <a:gd name="connsiteY0" fmla="*/ 602252 h 602251"/>
                <a:gd name="connsiteX1" fmla="*/ 0 w 1887207"/>
                <a:gd name="connsiteY1" fmla="*/ 602252 h 602251"/>
                <a:gd name="connsiteX2" fmla="*/ 242509 w 1887207"/>
                <a:gd name="connsiteY2" fmla="*/ 471227 h 602251"/>
                <a:gd name="connsiteX3" fmla="*/ 245957 w 1887207"/>
                <a:gd name="connsiteY3" fmla="*/ 451689 h 602251"/>
                <a:gd name="connsiteX4" fmla="*/ 245957 w 1887207"/>
                <a:gd name="connsiteY4" fmla="*/ 451689 h 602251"/>
                <a:gd name="connsiteX5" fmla="*/ 273542 w 1887207"/>
                <a:gd name="connsiteY5" fmla="*/ 362041 h 602251"/>
                <a:gd name="connsiteX6" fmla="*/ 274691 w 1887207"/>
                <a:gd name="connsiteY6" fmla="*/ 359742 h 602251"/>
                <a:gd name="connsiteX7" fmla="*/ 675809 w 1887207"/>
                <a:gd name="connsiteY7" fmla="*/ 95395 h 602251"/>
                <a:gd name="connsiteX8" fmla="*/ 683854 w 1887207"/>
                <a:gd name="connsiteY8" fmla="*/ 95395 h 602251"/>
                <a:gd name="connsiteX9" fmla="*/ 903377 w 1887207"/>
                <a:gd name="connsiteY9" fmla="*/ 155160 h 602251"/>
                <a:gd name="connsiteX10" fmla="*/ 1205652 w 1887207"/>
                <a:gd name="connsiteY10" fmla="*/ 0 h 602251"/>
                <a:gd name="connsiteX11" fmla="*/ 1278060 w 1887207"/>
                <a:gd name="connsiteY11" fmla="*/ 0 h 602251"/>
                <a:gd name="connsiteX12" fmla="*/ 1555050 w 1887207"/>
                <a:gd name="connsiteY12" fmla="*/ 127576 h 602251"/>
                <a:gd name="connsiteX13" fmla="*/ 1676879 w 1887207"/>
                <a:gd name="connsiteY13" fmla="*/ 359742 h 602251"/>
                <a:gd name="connsiteX14" fmla="*/ 1676879 w 1887207"/>
                <a:gd name="connsiteY14" fmla="*/ 362041 h 602251"/>
                <a:gd name="connsiteX15" fmla="*/ 1683776 w 1887207"/>
                <a:gd name="connsiteY15" fmla="*/ 435598 h 602251"/>
                <a:gd name="connsiteX16" fmla="*/ 1683776 w 1887207"/>
                <a:gd name="connsiteY16" fmla="*/ 451689 h 602251"/>
                <a:gd name="connsiteX17" fmla="*/ 1683776 w 1887207"/>
                <a:gd name="connsiteY17" fmla="*/ 451689 h 602251"/>
                <a:gd name="connsiteX18" fmla="*/ 1681477 w 1887207"/>
                <a:gd name="connsiteY18" fmla="*/ 479273 h 602251"/>
                <a:gd name="connsiteX19" fmla="*/ 1887207 w 1887207"/>
                <a:gd name="connsiteY19" fmla="*/ 602252 h 6022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887207" h="602251">
                  <a:moveTo>
                    <a:pt x="1887207" y="602252"/>
                  </a:moveTo>
                  <a:lnTo>
                    <a:pt x="0" y="602252"/>
                  </a:lnTo>
                  <a:cubicBezTo>
                    <a:pt x="63213" y="535590"/>
                    <a:pt x="148264" y="488467"/>
                    <a:pt x="242509" y="471227"/>
                  </a:cubicBezTo>
                  <a:cubicBezTo>
                    <a:pt x="243658" y="464331"/>
                    <a:pt x="244808" y="458585"/>
                    <a:pt x="245957" y="451689"/>
                  </a:cubicBezTo>
                  <a:cubicBezTo>
                    <a:pt x="245957" y="451689"/>
                    <a:pt x="245957" y="451689"/>
                    <a:pt x="245957" y="451689"/>
                  </a:cubicBezTo>
                  <a:cubicBezTo>
                    <a:pt x="251704" y="420656"/>
                    <a:pt x="260898" y="390774"/>
                    <a:pt x="273542" y="362041"/>
                  </a:cubicBezTo>
                  <a:cubicBezTo>
                    <a:pt x="273542" y="360891"/>
                    <a:pt x="274691" y="359742"/>
                    <a:pt x="274691" y="359742"/>
                  </a:cubicBezTo>
                  <a:cubicBezTo>
                    <a:pt x="342502" y="204582"/>
                    <a:pt x="496512" y="95395"/>
                    <a:pt x="675809" y="95395"/>
                  </a:cubicBezTo>
                  <a:lnTo>
                    <a:pt x="683854" y="95395"/>
                  </a:lnTo>
                  <a:cubicBezTo>
                    <a:pt x="764308" y="95395"/>
                    <a:pt x="839015" y="117232"/>
                    <a:pt x="903377" y="155160"/>
                  </a:cubicBezTo>
                  <a:cubicBezTo>
                    <a:pt x="976935" y="67811"/>
                    <a:pt x="1084972" y="9195"/>
                    <a:pt x="1205652" y="0"/>
                  </a:cubicBezTo>
                  <a:lnTo>
                    <a:pt x="1278060" y="0"/>
                  </a:lnTo>
                  <a:cubicBezTo>
                    <a:pt x="1386098" y="8045"/>
                    <a:pt x="1482642" y="55168"/>
                    <a:pt x="1555050" y="127576"/>
                  </a:cubicBezTo>
                  <a:cubicBezTo>
                    <a:pt x="1617114" y="189640"/>
                    <a:pt x="1660789" y="270094"/>
                    <a:pt x="1676879" y="359742"/>
                  </a:cubicBezTo>
                  <a:cubicBezTo>
                    <a:pt x="1676879" y="360891"/>
                    <a:pt x="1676879" y="360891"/>
                    <a:pt x="1676879" y="362041"/>
                  </a:cubicBezTo>
                  <a:cubicBezTo>
                    <a:pt x="1681477" y="386176"/>
                    <a:pt x="1683776" y="410312"/>
                    <a:pt x="1683776" y="435598"/>
                  </a:cubicBezTo>
                  <a:cubicBezTo>
                    <a:pt x="1683776" y="441345"/>
                    <a:pt x="1683776" y="445942"/>
                    <a:pt x="1683776" y="451689"/>
                  </a:cubicBezTo>
                  <a:cubicBezTo>
                    <a:pt x="1683776" y="451689"/>
                    <a:pt x="1683776" y="451689"/>
                    <a:pt x="1683776" y="451689"/>
                  </a:cubicBezTo>
                  <a:cubicBezTo>
                    <a:pt x="1683776" y="460883"/>
                    <a:pt x="1682626" y="470078"/>
                    <a:pt x="1681477" y="479273"/>
                  </a:cubicBezTo>
                  <a:cubicBezTo>
                    <a:pt x="1760781" y="501110"/>
                    <a:pt x="1832039" y="544785"/>
                    <a:pt x="1887207" y="602252"/>
                  </a:cubicBezTo>
                  <a:close/>
                </a:path>
              </a:pathLst>
            </a:custGeom>
            <a:solidFill>
              <a:schemeClr val="accent1"/>
            </a:solidFill>
            <a:ln w="1149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0" name="Freeform: Shape 8">
              <a:extLst>
                <a:ext uri="{FF2B5EF4-FFF2-40B4-BE49-F238E27FC236}">
                  <a16:creationId xmlns:a16="http://schemas.microsoft.com/office/drawing/2014/main" id="{E91F0815-3C47-47BD-9B71-7BFB9239E952}"/>
                </a:ext>
              </a:extLst>
            </p:cNvPr>
            <p:cNvSpPr/>
            <p:nvPr/>
          </p:nvSpPr>
          <p:spPr>
            <a:xfrm>
              <a:off x="3846011" y="3164365"/>
              <a:ext cx="246423" cy="208665"/>
            </a:xfrm>
            <a:custGeom>
              <a:avLst/>
              <a:gdLst>
                <a:gd name="connsiteX0" fmla="*/ 142518 w 142517"/>
                <a:gd name="connsiteY0" fmla="*/ 0 h 120680"/>
                <a:gd name="connsiteX1" fmla="*/ 71259 w 142517"/>
                <a:gd name="connsiteY1" fmla="*/ 120680 h 120680"/>
                <a:gd name="connsiteX2" fmla="*/ 71259 w 142517"/>
                <a:gd name="connsiteY2" fmla="*/ 120680 h 120680"/>
                <a:gd name="connsiteX3" fmla="*/ 71259 w 142517"/>
                <a:gd name="connsiteY3" fmla="*/ 120680 h 120680"/>
                <a:gd name="connsiteX4" fmla="*/ 71259 w 142517"/>
                <a:gd name="connsiteY4" fmla="*/ 120680 h 120680"/>
                <a:gd name="connsiteX5" fmla="*/ 71259 w 142517"/>
                <a:gd name="connsiteY5" fmla="*/ 120680 h 120680"/>
                <a:gd name="connsiteX6" fmla="*/ 0 w 142517"/>
                <a:gd name="connsiteY6" fmla="*/ 0 h 120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517" h="120680">
                  <a:moveTo>
                    <a:pt x="142518" y="0"/>
                  </a:moveTo>
                  <a:lnTo>
                    <a:pt x="71259" y="120680"/>
                  </a:lnTo>
                  <a:lnTo>
                    <a:pt x="71259" y="120680"/>
                  </a:lnTo>
                  <a:lnTo>
                    <a:pt x="71259" y="120680"/>
                  </a:lnTo>
                  <a:lnTo>
                    <a:pt x="71259" y="120680"/>
                  </a:lnTo>
                  <a:lnTo>
                    <a:pt x="71259" y="120680"/>
                  </a:lnTo>
                  <a:lnTo>
                    <a:pt x="0" y="0"/>
                  </a:lnTo>
                  <a:close/>
                </a:path>
              </a:pathLst>
            </a:custGeom>
            <a:solidFill>
              <a:schemeClr val="accent1"/>
            </a:solidFill>
            <a:ln w="1149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sp>
        <p:nvSpPr>
          <p:cNvPr id="11" name="TextBox 10">
            <a:extLst>
              <a:ext uri="{FF2B5EF4-FFF2-40B4-BE49-F238E27FC236}">
                <a16:creationId xmlns:a16="http://schemas.microsoft.com/office/drawing/2014/main" id="{58AF4996-B472-4D14-A802-FA0C8C337D5D}"/>
              </a:ext>
            </a:extLst>
          </p:cNvPr>
          <p:cNvSpPr txBox="1"/>
          <p:nvPr/>
        </p:nvSpPr>
        <p:spPr>
          <a:xfrm>
            <a:off x="2579221" y="2712491"/>
            <a:ext cx="767241" cy="37764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0F0F0"/>
                </a:solidFill>
                <a:effectLst/>
                <a:uLnTx/>
                <a:uFillTx/>
                <a:latin typeface="等线 Light" panose="020F0302020204030204"/>
                <a:ea typeface="+mn-ea"/>
                <a:cs typeface="+mn-cs"/>
              </a:rPr>
              <a:t>230K</a:t>
            </a:r>
          </a:p>
        </p:txBody>
      </p:sp>
      <p:sp>
        <p:nvSpPr>
          <p:cNvPr id="12" name="TextBox 11">
            <a:extLst>
              <a:ext uri="{FF2B5EF4-FFF2-40B4-BE49-F238E27FC236}">
                <a16:creationId xmlns:a16="http://schemas.microsoft.com/office/drawing/2014/main" id="{9D581E36-74E4-4CBD-A2DF-C28D2495857D}"/>
              </a:ext>
            </a:extLst>
          </p:cNvPr>
          <p:cNvSpPr txBox="1"/>
          <p:nvPr/>
        </p:nvSpPr>
        <p:spPr>
          <a:xfrm>
            <a:off x="2579221" y="2407689"/>
            <a:ext cx="1124026"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0F0F0"/>
                </a:solidFill>
                <a:effectLst/>
                <a:uLnTx/>
                <a:uFillTx/>
                <a:latin typeface="等线 Light" panose="020F0302020204030204"/>
                <a:ea typeface="+mn-ea"/>
                <a:cs typeface="+mn-cs"/>
              </a:rPr>
              <a:t>Description</a:t>
            </a:r>
            <a:endParaRPr kumimoji="0" lang="id-ID" sz="1400" b="1" i="0" u="none" strike="noStrike" kern="1200" cap="none" spc="0" normalizeH="0" baseline="0" noProof="0" dirty="0">
              <a:ln>
                <a:noFill/>
              </a:ln>
              <a:solidFill>
                <a:srgbClr val="F0F0F0"/>
              </a:solidFill>
              <a:effectLst/>
              <a:uLnTx/>
              <a:uFillTx/>
              <a:latin typeface="等线 Light" panose="020F0302020204030204"/>
              <a:ea typeface="+mn-ea"/>
              <a:cs typeface="+mn-cs"/>
            </a:endParaRPr>
          </a:p>
        </p:txBody>
      </p:sp>
      <p:sp>
        <p:nvSpPr>
          <p:cNvPr id="13" name="TextBox 12">
            <a:extLst>
              <a:ext uri="{FF2B5EF4-FFF2-40B4-BE49-F238E27FC236}">
                <a16:creationId xmlns:a16="http://schemas.microsoft.com/office/drawing/2014/main" id="{9AA76690-F5D3-4630-8F76-305B82F6DC63}"/>
              </a:ext>
            </a:extLst>
          </p:cNvPr>
          <p:cNvSpPr txBox="1"/>
          <p:nvPr/>
        </p:nvSpPr>
        <p:spPr>
          <a:xfrm>
            <a:off x="2579221" y="3710696"/>
            <a:ext cx="767241" cy="37764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0F0F0"/>
                </a:solidFill>
                <a:effectLst/>
                <a:uLnTx/>
                <a:uFillTx/>
                <a:latin typeface="等线 Light" panose="020F0302020204030204"/>
                <a:ea typeface="+mn-ea"/>
                <a:cs typeface="+mn-cs"/>
              </a:rPr>
              <a:t>345K</a:t>
            </a:r>
          </a:p>
        </p:txBody>
      </p:sp>
      <p:sp>
        <p:nvSpPr>
          <p:cNvPr id="14" name="TextBox 13">
            <a:extLst>
              <a:ext uri="{FF2B5EF4-FFF2-40B4-BE49-F238E27FC236}">
                <a16:creationId xmlns:a16="http://schemas.microsoft.com/office/drawing/2014/main" id="{C63F87D0-959B-4128-9D32-93BDA1D62156}"/>
              </a:ext>
            </a:extLst>
          </p:cNvPr>
          <p:cNvSpPr txBox="1"/>
          <p:nvPr/>
        </p:nvSpPr>
        <p:spPr>
          <a:xfrm>
            <a:off x="2579221" y="3405894"/>
            <a:ext cx="1124026"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0F0F0"/>
                </a:solidFill>
                <a:effectLst/>
                <a:uLnTx/>
                <a:uFillTx/>
                <a:latin typeface="等线 Light" panose="020F0302020204030204"/>
                <a:ea typeface="+mn-ea"/>
                <a:cs typeface="+mn-cs"/>
              </a:rPr>
              <a:t>Description</a:t>
            </a:r>
            <a:endParaRPr kumimoji="0" lang="id-ID" sz="1400" b="1" i="0" u="none" strike="noStrike" kern="1200" cap="none" spc="0" normalizeH="0" baseline="0" noProof="0" dirty="0">
              <a:ln>
                <a:noFill/>
              </a:ln>
              <a:solidFill>
                <a:srgbClr val="F0F0F0"/>
              </a:solidFill>
              <a:effectLst/>
              <a:uLnTx/>
              <a:uFillTx/>
              <a:latin typeface="等线 Light" panose="020F0302020204030204"/>
              <a:ea typeface="+mn-ea"/>
              <a:cs typeface="+mn-cs"/>
            </a:endParaRPr>
          </a:p>
        </p:txBody>
      </p:sp>
      <p:sp>
        <p:nvSpPr>
          <p:cNvPr id="15" name="TextBox 14">
            <a:extLst>
              <a:ext uri="{FF2B5EF4-FFF2-40B4-BE49-F238E27FC236}">
                <a16:creationId xmlns:a16="http://schemas.microsoft.com/office/drawing/2014/main" id="{96FBC8D8-2645-4F35-82EE-50A39774BEE6}"/>
              </a:ext>
            </a:extLst>
          </p:cNvPr>
          <p:cNvSpPr txBox="1"/>
          <p:nvPr/>
        </p:nvSpPr>
        <p:spPr>
          <a:xfrm>
            <a:off x="2579221" y="4716652"/>
            <a:ext cx="767241" cy="37764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0F0F0"/>
                </a:solidFill>
                <a:effectLst/>
                <a:uLnTx/>
                <a:uFillTx/>
                <a:latin typeface="等线 Light" panose="020F0302020204030204"/>
                <a:ea typeface="+mn-ea"/>
                <a:cs typeface="+mn-cs"/>
              </a:rPr>
              <a:t>356K</a:t>
            </a:r>
          </a:p>
        </p:txBody>
      </p:sp>
      <p:sp>
        <p:nvSpPr>
          <p:cNvPr id="16" name="TextBox 15">
            <a:extLst>
              <a:ext uri="{FF2B5EF4-FFF2-40B4-BE49-F238E27FC236}">
                <a16:creationId xmlns:a16="http://schemas.microsoft.com/office/drawing/2014/main" id="{95E3538A-BDB8-4608-AE0A-483C13C05AC6}"/>
              </a:ext>
            </a:extLst>
          </p:cNvPr>
          <p:cNvSpPr txBox="1"/>
          <p:nvPr/>
        </p:nvSpPr>
        <p:spPr>
          <a:xfrm>
            <a:off x="2579221" y="4411850"/>
            <a:ext cx="1124026"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0F0F0"/>
                </a:solidFill>
                <a:effectLst/>
                <a:uLnTx/>
                <a:uFillTx/>
                <a:latin typeface="等线 Light" panose="020F0302020204030204"/>
                <a:ea typeface="+mn-ea"/>
                <a:cs typeface="+mn-cs"/>
              </a:rPr>
              <a:t>Description</a:t>
            </a:r>
            <a:endParaRPr kumimoji="0" lang="id-ID" sz="1400" b="1" i="0" u="none" strike="noStrike" kern="1200" cap="none" spc="0" normalizeH="0" baseline="0" noProof="0" dirty="0">
              <a:ln>
                <a:noFill/>
              </a:ln>
              <a:solidFill>
                <a:srgbClr val="F0F0F0"/>
              </a:solidFill>
              <a:effectLst/>
              <a:uLnTx/>
              <a:uFillTx/>
              <a:latin typeface="等线 Light" panose="020F0302020204030204"/>
              <a:ea typeface="+mn-ea"/>
              <a:cs typeface="+mn-cs"/>
            </a:endParaRPr>
          </a:p>
        </p:txBody>
      </p:sp>
      <p:sp>
        <p:nvSpPr>
          <p:cNvPr id="17" name="Freeform: Shape 16">
            <a:extLst>
              <a:ext uri="{FF2B5EF4-FFF2-40B4-BE49-F238E27FC236}">
                <a16:creationId xmlns:a16="http://schemas.microsoft.com/office/drawing/2014/main" id="{3F450A48-49CC-4C55-8C2A-EC1B77FA03CE}"/>
              </a:ext>
            </a:extLst>
          </p:cNvPr>
          <p:cNvSpPr/>
          <p:nvPr/>
        </p:nvSpPr>
        <p:spPr>
          <a:xfrm>
            <a:off x="2078004" y="2514031"/>
            <a:ext cx="332588" cy="469758"/>
          </a:xfrm>
          <a:custGeom>
            <a:avLst/>
            <a:gdLst>
              <a:gd name="connsiteX0" fmla="*/ 337185 w 674370"/>
              <a:gd name="connsiteY0" fmla="*/ 0 h 952500"/>
              <a:gd name="connsiteX1" fmla="*/ 0 w 674370"/>
              <a:gd name="connsiteY1" fmla="*/ 615315 h 952500"/>
              <a:gd name="connsiteX2" fmla="*/ 337185 w 674370"/>
              <a:gd name="connsiteY2" fmla="*/ 952500 h 952500"/>
              <a:gd name="connsiteX3" fmla="*/ 674370 w 674370"/>
              <a:gd name="connsiteY3" fmla="*/ 615315 h 952500"/>
              <a:gd name="connsiteX4" fmla="*/ 337185 w 674370"/>
              <a:gd name="connsiteY4" fmla="*/ 0 h 952500"/>
              <a:gd name="connsiteX5" fmla="*/ 332423 w 674370"/>
              <a:gd name="connsiteY5" fmla="*/ 876300 h 952500"/>
              <a:gd name="connsiteX6" fmla="*/ 76200 w 674370"/>
              <a:gd name="connsiteY6" fmla="*/ 654368 h 952500"/>
              <a:gd name="connsiteX7" fmla="*/ 121920 w 674370"/>
              <a:gd name="connsiteY7" fmla="*/ 641985 h 952500"/>
              <a:gd name="connsiteX8" fmla="*/ 341948 w 674370"/>
              <a:gd name="connsiteY8" fmla="*/ 830580 h 952500"/>
              <a:gd name="connsiteX9" fmla="*/ 332423 w 674370"/>
              <a:gd name="connsiteY9" fmla="*/ 876300 h 952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74370" h="952500">
                <a:moveTo>
                  <a:pt x="337185" y="0"/>
                </a:moveTo>
                <a:cubicBezTo>
                  <a:pt x="337185" y="0"/>
                  <a:pt x="0" y="429578"/>
                  <a:pt x="0" y="615315"/>
                </a:cubicBezTo>
                <a:cubicBezTo>
                  <a:pt x="0" y="801053"/>
                  <a:pt x="150495" y="952500"/>
                  <a:pt x="337185" y="952500"/>
                </a:cubicBezTo>
                <a:cubicBezTo>
                  <a:pt x="522923" y="952500"/>
                  <a:pt x="674370" y="802005"/>
                  <a:pt x="674370" y="615315"/>
                </a:cubicBezTo>
                <a:cubicBezTo>
                  <a:pt x="674370" y="429578"/>
                  <a:pt x="337185" y="0"/>
                  <a:pt x="337185" y="0"/>
                </a:cubicBezTo>
                <a:close/>
                <a:moveTo>
                  <a:pt x="332423" y="876300"/>
                </a:moveTo>
                <a:cubicBezTo>
                  <a:pt x="128588" y="834390"/>
                  <a:pt x="78105" y="661988"/>
                  <a:pt x="76200" y="654368"/>
                </a:cubicBezTo>
                <a:lnTo>
                  <a:pt x="121920" y="641985"/>
                </a:lnTo>
                <a:cubicBezTo>
                  <a:pt x="123825" y="648653"/>
                  <a:pt x="167640" y="794385"/>
                  <a:pt x="341948" y="830580"/>
                </a:cubicBezTo>
                <a:lnTo>
                  <a:pt x="332423" y="876300"/>
                </a:lnTo>
                <a:close/>
              </a:path>
            </a:pathLst>
          </a:custGeom>
          <a:solidFill>
            <a:schemeClr val="bg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nvGrpSpPr>
          <p:cNvPr id="18" name="Graphic 1">
            <a:extLst>
              <a:ext uri="{FF2B5EF4-FFF2-40B4-BE49-F238E27FC236}">
                <a16:creationId xmlns:a16="http://schemas.microsoft.com/office/drawing/2014/main" id="{0C29A7D1-8CE9-4B54-895C-B7326BA16DC2}"/>
              </a:ext>
            </a:extLst>
          </p:cNvPr>
          <p:cNvGrpSpPr/>
          <p:nvPr/>
        </p:nvGrpSpPr>
        <p:grpSpPr>
          <a:xfrm>
            <a:off x="2009652" y="3512234"/>
            <a:ext cx="469292" cy="469762"/>
            <a:chOff x="3504247" y="1264920"/>
            <a:chExt cx="951547" cy="952500"/>
          </a:xfrm>
          <a:solidFill>
            <a:schemeClr val="bg2"/>
          </a:solidFill>
        </p:grpSpPr>
        <p:sp>
          <p:nvSpPr>
            <p:cNvPr id="19" name="Freeform: Shape 18">
              <a:extLst>
                <a:ext uri="{FF2B5EF4-FFF2-40B4-BE49-F238E27FC236}">
                  <a16:creationId xmlns:a16="http://schemas.microsoft.com/office/drawing/2014/main" id="{6DE55121-6ADE-4260-839C-97BE57474B49}"/>
                </a:ext>
              </a:extLst>
            </p:cNvPr>
            <p:cNvSpPr/>
            <p:nvPr/>
          </p:nvSpPr>
          <p:spPr>
            <a:xfrm>
              <a:off x="3643311" y="1403985"/>
              <a:ext cx="674369" cy="674369"/>
            </a:xfrm>
            <a:custGeom>
              <a:avLst/>
              <a:gdLst>
                <a:gd name="connsiteX0" fmla="*/ 674370 w 674369"/>
                <a:gd name="connsiteY0" fmla="*/ 337185 h 674369"/>
                <a:gd name="connsiteX1" fmla="*/ 337185 w 674369"/>
                <a:gd name="connsiteY1" fmla="*/ 674370 h 674369"/>
                <a:gd name="connsiteX2" fmla="*/ 0 w 674369"/>
                <a:gd name="connsiteY2" fmla="*/ 337185 h 674369"/>
                <a:gd name="connsiteX3" fmla="*/ 337185 w 674369"/>
                <a:gd name="connsiteY3" fmla="*/ 0 h 674369"/>
                <a:gd name="connsiteX4" fmla="*/ 674370 w 674369"/>
                <a:gd name="connsiteY4" fmla="*/ 337185 h 6743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4369" h="674369">
                  <a:moveTo>
                    <a:pt x="674370" y="337185"/>
                  </a:moveTo>
                  <a:cubicBezTo>
                    <a:pt x="674370" y="523407"/>
                    <a:pt x="523407" y="674370"/>
                    <a:pt x="337185" y="674370"/>
                  </a:cubicBezTo>
                  <a:cubicBezTo>
                    <a:pt x="150963" y="674370"/>
                    <a:pt x="0" y="523407"/>
                    <a:pt x="0" y="337185"/>
                  </a:cubicBezTo>
                  <a:cubicBezTo>
                    <a:pt x="0" y="150963"/>
                    <a:pt x="150963" y="0"/>
                    <a:pt x="337185" y="0"/>
                  </a:cubicBezTo>
                  <a:cubicBezTo>
                    <a:pt x="523407" y="0"/>
                    <a:pt x="674370" y="150963"/>
                    <a:pt x="674370" y="337185"/>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0" name="Freeform: Shape 19">
              <a:extLst>
                <a:ext uri="{FF2B5EF4-FFF2-40B4-BE49-F238E27FC236}">
                  <a16:creationId xmlns:a16="http://schemas.microsoft.com/office/drawing/2014/main" id="{09C70C7D-BD2F-40F9-9072-515D055CF5F0}"/>
                </a:ext>
              </a:extLst>
            </p:cNvPr>
            <p:cNvSpPr/>
            <p:nvPr/>
          </p:nvSpPr>
          <p:spPr>
            <a:xfrm>
              <a:off x="3956684" y="1264920"/>
              <a:ext cx="47625" cy="75247"/>
            </a:xfrm>
            <a:custGeom>
              <a:avLst/>
              <a:gdLst>
                <a:gd name="connsiteX0" fmla="*/ 0 w 47625"/>
                <a:gd name="connsiteY0" fmla="*/ 0 h 75247"/>
                <a:gd name="connsiteX1" fmla="*/ 47625 w 47625"/>
                <a:gd name="connsiteY1" fmla="*/ 0 h 75247"/>
                <a:gd name="connsiteX2" fmla="*/ 47625 w 47625"/>
                <a:gd name="connsiteY2" fmla="*/ 75248 h 75247"/>
                <a:gd name="connsiteX3" fmla="*/ 0 w 47625"/>
                <a:gd name="connsiteY3" fmla="*/ 75248 h 75247"/>
              </a:gdLst>
              <a:ahLst/>
              <a:cxnLst>
                <a:cxn ang="0">
                  <a:pos x="connsiteX0" y="connsiteY0"/>
                </a:cxn>
                <a:cxn ang="0">
                  <a:pos x="connsiteX1" y="connsiteY1"/>
                </a:cxn>
                <a:cxn ang="0">
                  <a:pos x="connsiteX2" y="connsiteY2"/>
                </a:cxn>
                <a:cxn ang="0">
                  <a:pos x="connsiteX3" y="connsiteY3"/>
                </a:cxn>
              </a:cxnLst>
              <a:rect l="l" t="t" r="r" b="b"/>
              <a:pathLst>
                <a:path w="47625" h="75247">
                  <a:moveTo>
                    <a:pt x="0" y="0"/>
                  </a:moveTo>
                  <a:lnTo>
                    <a:pt x="47625" y="0"/>
                  </a:lnTo>
                  <a:lnTo>
                    <a:pt x="47625" y="75248"/>
                  </a:lnTo>
                  <a:lnTo>
                    <a:pt x="0" y="75248"/>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1" name="Freeform: Shape 20">
              <a:extLst>
                <a:ext uri="{FF2B5EF4-FFF2-40B4-BE49-F238E27FC236}">
                  <a16:creationId xmlns:a16="http://schemas.microsoft.com/office/drawing/2014/main" id="{F3EDE959-E113-4BFB-9C12-A26FFDDBB92F}"/>
                </a:ext>
              </a:extLst>
            </p:cNvPr>
            <p:cNvSpPr/>
            <p:nvPr/>
          </p:nvSpPr>
          <p:spPr>
            <a:xfrm rot="-2700000">
              <a:off x="3646166" y="1393671"/>
              <a:ext cx="47624" cy="75246"/>
            </a:xfrm>
            <a:custGeom>
              <a:avLst/>
              <a:gdLst>
                <a:gd name="connsiteX0" fmla="*/ 0 w 47624"/>
                <a:gd name="connsiteY0" fmla="*/ 0 h 75246"/>
                <a:gd name="connsiteX1" fmla="*/ 47625 w 47624"/>
                <a:gd name="connsiteY1" fmla="*/ 0 h 75246"/>
                <a:gd name="connsiteX2" fmla="*/ 47625 w 47624"/>
                <a:gd name="connsiteY2" fmla="*/ 75247 h 75246"/>
                <a:gd name="connsiteX3" fmla="*/ 0 w 47624"/>
                <a:gd name="connsiteY3" fmla="*/ 75247 h 75246"/>
              </a:gdLst>
              <a:ahLst/>
              <a:cxnLst>
                <a:cxn ang="0">
                  <a:pos x="connsiteX0" y="connsiteY0"/>
                </a:cxn>
                <a:cxn ang="0">
                  <a:pos x="connsiteX1" y="connsiteY1"/>
                </a:cxn>
                <a:cxn ang="0">
                  <a:pos x="connsiteX2" y="connsiteY2"/>
                </a:cxn>
                <a:cxn ang="0">
                  <a:pos x="connsiteX3" y="connsiteY3"/>
                </a:cxn>
              </a:cxnLst>
              <a:rect l="l" t="t" r="r" b="b"/>
              <a:pathLst>
                <a:path w="47624" h="75246">
                  <a:moveTo>
                    <a:pt x="0" y="0"/>
                  </a:moveTo>
                  <a:lnTo>
                    <a:pt x="47625" y="0"/>
                  </a:lnTo>
                  <a:lnTo>
                    <a:pt x="47625" y="75247"/>
                  </a:lnTo>
                  <a:lnTo>
                    <a:pt x="0" y="75247"/>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2" name="Freeform: Shape 21">
              <a:extLst>
                <a:ext uri="{FF2B5EF4-FFF2-40B4-BE49-F238E27FC236}">
                  <a16:creationId xmlns:a16="http://schemas.microsoft.com/office/drawing/2014/main" id="{E6F0207B-6CE6-4F78-BF39-14B51E90FD17}"/>
                </a:ext>
              </a:extLst>
            </p:cNvPr>
            <p:cNvSpPr/>
            <p:nvPr/>
          </p:nvSpPr>
          <p:spPr>
            <a:xfrm>
              <a:off x="3504247" y="1717357"/>
              <a:ext cx="75247" cy="47625"/>
            </a:xfrm>
            <a:custGeom>
              <a:avLst/>
              <a:gdLst>
                <a:gd name="connsiteX0" fmla="*/ 0 w 75247"/>
                <a:gd name="connsiteY0" fmla="*/ 0 h 47625"/>
                <a:gd name="connsiteX1" fmla="*/ 75247 w 75247"/>
                <a:gd name="connsiteY1" fmla="*/ 0 h 47625"/>
                <a:gd name="connsiteX2" fmla="*/ 75247 w 75247"/>
                <a:gd name="connsiteY2" fmla="*/ 47625 h 47625"/>
                <a:gd name="connsiteX3" fmla="*/ 0 w 75247"/>
                <a:gd name="connsiteY3" fmla="*/ 47625 h 47625"/>
              </a:gdLst>
              <a:ahLst/>
              <a:cxnLst>
                <a:cxn ang="0">
                  <a:pos x="connsiteX0" y="connsiteY0"/>
                </a:cxn>
                <a:cxn ang="0">
                  <a:pos x="connsiteX1" y="connsiteY1"/>
                </a:cxn>
                <a:cxn ang="0">
                  <a:pos x="connsiteX2" y="connsiteY2"/>
                </a:cxn>
                <a:cxn ang="0">
                  <a:pos x="connsiteX3" y="connsiteY3"/>
                </a:cxn>
              </a:cxnLst>
              <a:rect l="l" t="t" r="r" b="b"/>
              <a:pathLst>
                <a:path w="75247" h="47625">
                  <a:moveTo>
                    <a:pt x="0" y="0"/>
                  </a:moveTo>
                  <a:lnTo>
                    <a:pt x="75247" y="0"/>
                  </a:lnTo>
                  <a:lnTo>
                    <a:pt x="75247" y="47625"/>
                  </a:lnTo>
                  <a:lnTo>
                    <a:pt x="0" y="47625"/>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3" name="Freeform: Shape 22">
              <a:extLst>
                <a:ext uri="{FF2B5EF4-FFF2-40B4-BE49-F238E27FC236}">
                  <a16:creationId xmlns:a16="http://schemas.microsoft.com/office/drawing/2014/main" id="{FB13A96B-EFBB-4045-91C6-20E637616DD2}"/>
                </a:ext>
              </a:extLst>
            </p:cNvPr>
            <p:cNvSpPr/>
            <p:nvPr/>
          </p:nvSpPr>
          <p:spPr>
            <a:xfrm rot="-2700000">
              <a:off x="3632314" y="2028140"/>
              <a:ext cx="75246" cy="47624"/>
            </a:xfrm>
            <a:custGeom>
              <a:avLst/>
              <a:gdLst>
                <a:gd name="connsiteX0" fmla="*/ 0 w 75246"/>
                <a:gd name="connsiteY0" fmla="*/ 0 h 47624"/>
                <a:gd name="connsiteX1" fmla="*/ 75247 w 75246"/>
                <a:gd name="connsiteY1" fmla="*/ 0 h 47624"/>
                <a:gd name="connsiteX2" fmla="*/ 75247 w 75246"/>
                <a:gd name="connsiteY2" fmla="*/ 47625 h 47624"/>
                <a:gd name="connsiteX3" fmla="*/ 0 w 75246"/>
                <a:gd name="connsiteY3" fmla="*/ 47625 h 47624"/>
              </a:gdLst>
              <a:ahLst/>
              <a:cxnLst>
                <a:cxn ang="0">
                  <a:pos x="connsiteX0" y="connsiteY0"/>
                </a:cxn>
                <a:cxn ang="0">
                  <a:pos x="connsiteX1" y="connsiteY1"/>
                </a:cxn>
                <a:cxn ang="0">
                  <a:pos x="connsiteX2" y="connsiteY2"/>
                </a:cxn>
                <a:cxn ang="0">
                  <a:pos x="connsiteX3" y="connsiteY3"/>
                </a:cxn>
              </a:cxnLst>
              <a:rect l="l" t="t" r="r" b="b"/>
              <a:pathLst>
                <a:path w="75246" h="47624">
                  <a:moveTo>
                    <a:pt x="0" y="0"/>
                  </a:moveTo>
                  <a:lnTo>
                    <a:pt x="75247" y="0"/>
                  </a:lnTo>
                  <a:lnTo>
                    <a:pt x="75247" y="47625"/>
                  </a:lnTo>
                  <a:lnTo>
                    <a:pt x="0" y="47625"/>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4" name="Freeform: Shape 23">
              <a:extLst>
                <a:ext uri="{FF2B5EF4-FFF2-40B4-BE49-F238E27FC236}">
                  <a16:creationId xmlns:a16="http://schemas.microsoft.com/office/drawing/2014/main" id="{69D660B7-61DD-47D6-BBDC-DFF0877AB8EE}"/>
                </a:ext>
              </a:extLst>
            </p:cNvPr>
            <p:cNvSpPr/>
            <p:nvPr/>
          </p:nvSpPr>
          <p:spPr>
            <a:xfrm>
              <a:off x="3956684" y="2142172"/>
              <a:ext cx="47625" cy="75247"/>
            </a:xfrm>
            <a:custGeom>
              <a:avLst/>
              <a:gdLst>
                <a:gd name="connsiteX0" fmla="*/ 0 w 47625"/>
                <a:gd name="connsiteY0" fmla="*/ 0 h 75247"/>
                <a:gd name="connsiteX1" fmla="*/ 47625 w 47625"/>
                <a:gd name="connsiteY1" fmla="*/ 0 h 75247"/>
                <a:gd name="connsiteX2" fmla="*/ 47625 w 47625"/>
                <a:gd name="connsiteY2" fmla="*/ 75248 h 75247"/>
                <a:gd name="connsiteX3" fmla="*/ 0 w 47625"/>
                <a:gd name="connsiteY3" fmla="*/ 75248 h 75247"/>
              </a:gdLst>
              <a:ahLst/>
              <a:cxnLst>
                <a:cxn ang="0">
                  <a:pos x="connsiteX0" y="connsiteY0"/>
                </a:cxn>
                <a:cxn ang="0">
                  <a:pos x="connsiteX1" y="connsiteY1"/>
                </a:cxn>
                <a:cxn ang="0">
                  <a:pos x="connsiteX2" y="connsiteY2"/>
                </a:cxn>
                <a:cxn ang="0">
                  <a:pos x="connsiteX3" y="connsiteY3"/>
                </a:cxn>
              </a:cxnLst>
              <a:rect l="l" t="t" r="r" b="b"/>
              <a:pathLst>
                <a:path w="47625" h="75247">
                  <a:moveTo>
                    <a:pt x="0" y="0"/>
                  </a:moveTo>
                  <a:lnTo>
                    <a:pt x="47625" y="0"/>
                  </a:lnTo>
                  <a:lnTo>
                    <a:pt x="47625" y="75248"/>
                  </a:lnTo>
                  <a:lnTo>
                    <a:pt x="0" y="75248"/>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5" name="Freeform: Shape 24">
              <a:extLst>
                <a:ext uri="{FF2B5EF4-FFF2-40B4-BE49-F238E27FC236}">
                  <a16:creationId xmlns:a16="http://schemas.microsoft.com/office/drawing/2014/main" id="{3BECC209-83DD-4857-952A-DE1D72909857}"/>
                </a:ext>
              </a:extLst>
            </p:cNvPr>
            <p:cNvSpPr/>
            <p:nvPr/>
          </p:nvSpPr>
          <p:spPr>
            <a:xfrm rot="-2699514">
              <a:off x="4266268" y="2013785"/>
              <a:ext cx="47624" cy="75246"/>
            </a:xfrm>
            <a:custGeom>
              <a:avLst/>
              <a:gdLst>
                <a:gd name="connsiteX0" fmla="*/ 0 w 47624"/>
                <a:gd name="connsiteY0" fmla="*/ 0 h 75246"/>
                <a:gd name="connsiteX1" fmla="*/ 47624 w 47624"/>
                <a:gd name="connsiteY1" fmla="*/ 0 h 75246"/>
                <a:gd name="connsiteX2" fmla="*/ 47624 w 47624"/>
                <a:gd name="connsiteY2" fmla="*/ 75247 h 75246"/>
                <a:gd name="connsiteX3" fmla="*/ 0 w 47624"/>
                <a:gd name="connsiteY3" fmla="*/ 75247 h 75246"/>
              </a:gdLst>
              <a:ahLst/>
              <a:cxnLst>
                <a:cxn ang="0">
                  <a:pos x="connsiteX0" y="connsiteY0"/>
                </a:cxn>
                <a:cxn ang="0">
                  <a:pos x="connsiteX1" y="connsiteY1"/>
                </a:cxn>
                <a:cxn ang="0">
                  <a:pos x="connsiteX2" y="connsiteY2"/>
                </a:cxn>
                <a:cxn ang="0">
                  <a:pos x="connsiteX3" y="connsiteY3"/>
                </a:cxn>
              </a:cxnLst>
              <a:rect l="l" t="t" r="r" b="b"/>
              <a:pathLst>
                <a:path w="47624" h="75246">
                  <a:moveTo>
                    <a:pt x="0" y="0"/>
                  </a:moveTo>
                  <a:lnTo>
                    <a:pt x="47624" y="0"/>
                  </a:lnTo>
                  <a:lnTo>
                    <a:pt x="47624" y="75247"/>
                  </a:lnTo>
                  <a:lnTo>
                    <a:pt x="0" y="75247"/>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6" name="Freeform: Shape 25">
              <a:extLst>
                <a:ext uri="{FF2B5EF4-FFF2-40B4-BE49-F238E27FC236}">
                  <a16:creationId xmlns:a16="http://schemas.microsoft.com/office/drawing/2014/main" id="{70E56C82-4113-48E9-B9D4-8DFBC1C0616E}"/>
                </a:ext>
              </a:extLst>
            </p:cNvPr>
            <p:cNvSpPr/>
            <p:nvPr/>
          </p:nvSpPr>
          <p:spPr>
            <a:xfrm>
              <a:off x="4380547" y="1717357"/>
              <a:ext cx="75247" cy="47625"/>
            </a:xfrm>
            <a:custGeom>
              <a:avLst/>
              <a:gdLst>
                <a:gd name="connsiteX0" fmla="*/ 0 w 75247"/>
                <a:gd name="connsiteY0" fmla="*/ 0 h 47625"/>
                <a:gd name="connsiteX1" fmla="*/ 75247 w 75247"/>
                <a:gd name="connsiteY1" fmla="*/ 0 h 47625"/>
                <a:gd name="connsiteX2" fmla="*/ 75247 w 75247"/>
                <a:gd name="connsiteY2" fmla="*/ 47625 h 47625"/>
                <a:gd name="connsiteX3" fmla="*/ 0 w 75247"/>
                <a:gd name="connsiteY3" fmla="*/ 47625 h 47625"/>
              </a:gdLst>
              <a:ahLst/>
              <a:cxnLst>
                <a:cxn ang="0">
                  <a:pos x="connsiteX0" y="connsiteY0"/>
                </a:cxn>
                <a:cxn ang="0">
                  <a:pos x="connsiteX1" y="connsiteY1"/>
                </a:cxn>
                <a:cxn ang="0">
                  <a:pos x="connsiteX2" y="connsiteY2"/>
                </a:cxn>
                <a:cxn ang="0">
                  <a:pos x="connsiteX3" y="connsiteY3"/>
                </a:cxn>
              </a:cxnLst>
              <a:rect l="l" t="t" r="r" b="b"/>
              <a:pathLst>
                <a:path w="75247" h="47625">
                  <a:moveTo>
                    <a:pt x="0" y="0"/>
                  </a:moveTo>
                  <a:lnTo>
                    <a:pt x="75247" y="0"/>
                  </a:lnTo>
                  <a:lnTo>
                    <a:pt x="75247" y="47625"/>
                  </a:lnTo>
                  <a:lnTo>
                    <a:pt x="0" y="47625"/>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7" name="Freeform: Shape 26">
              <a:extLst>
                <a:ext uri="{FF2B5EF4-FFF2-40B4-BE49-F238E27FC236}">
                  <a16:creationId xmlns:a16="http://schemas.microsoft.com/office/drawing/2014/main" id="{7041BDB5-3818-4675-A008-F499EFE88FB6}"/>
                </a:ext>
              </a:extLst>
            </p:cNvPr>
            <p:cNvSpPr/>
            <p:nvPr/>
          </p:nvSpPr>
          <p:spPr>
            <a:xfrm rot="-2700000">
              <a:off x="4252353" y="1408059"/>
              <a:ext cx="75246" cy="47624"/>
            </a:xfrm>
            <a:custGeom>
              <a:avLst/>
              <a:gdLst>
                <a:gd name="connsiteX0" fmla="*/ 0 w 75246"/>
                <a:gd name="connsiteY0" fmla="*/ 0 h 47624"/>
                <a:gd name="connsiteX1" fmla="*/ 75247 w 75246"/>
                <a:gd name="connsiteY1" fmla="*/ 0 h 47624"/>
                <a:gd name="connsiteX2" fmla="*/ 75247 w 75246"/>
                <a:gd name="connsiteY2" fmla="*/ 47625 h 47624"/>
                <a:gd name="connsiteX3" fmla="*/ 0 w 75246"/>
                <a:gd name="connsiteY3" fmla="*/ 47625 h 47624"/>
              </a:gdLst>
              <a:ahLst/>
              <a:cxnLst>
                <a:cxn ang="0">
                  <a:pos x="connsiteX0" y="connsiteY0"/>
                </a:cxn>
                <a:cxn ang="0">
                  <a:pos x="connsiteX1" y="connsiteY1"/>
                </a:cxn>
                <a:cxn ang="0">
                  <a:pos x="connsiteX2" y="connsiteY2"/>
                </a:cxn>
                <a:cxn ang="0">
                  <a:pos x="connsiteX3" y="connsiteY3"/>
                </a:cxn>
              </a:cxnLst>
              <a:rect l="l" t="t" r="r" b="b"/>
              <a:pathLst>
                <a:path w="75246" h="47624">
                  <a:moveTo>
                    <a:pt x="0" y="0"/>
                  </a:moveTo>
                  <a:lnTo>
                    <a:pt x="75247" y="0"/>
                  </a:lnTo>
                  <a:lnTo>
                    <a:pt x="75247" y="47625"/>
                  </a:lnTo>
                  <a:lnTo>
                    <a:pt x="0" y="47625"/>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grpSp>
        <p:nvGrpSpPr>
          <p:cNvPr id="28" name="Graphic 1">
            <a:extLst>
              <a:ext uri="{FF2B5EF4-FFF2-40B4-BE49-F238E27FC236}">
                <a16:creationId xmlns:a16="http://schemas.microsoft.com/office/drawing/2014/main" id="{6D24052B-797A-4029-B15A-32D24EA63368}"/>
              </a:ext>
            </a:extLst>
          </p:cNvPr>
          <p:cNvGrpSpPr/>
          <p:nvPr/>
        </p:nvGrpSpPr>
        <p:grpSpPr>
          <a:xfrm>
            <a:off x="2041597" y="4550605"/>
            <a:ext cx="405402" cy="404932"/>
            <a:chOff x="3634739" y="2474595"/>
            <a:chExt cx="822007" cy="821054"/>
          </a:xfrm>
          <a:solidFill>
            <a:schemeClr val="bg2"/>
          </a:solidFill>
        </p:grpSpPr>
        <p:sp>
          <p:nvSpPr>
            <p:cNvPr id="29" name="Freeform: Shape 28">
              <a:extLst>
                <a:ext uri="{FF2B5EF4-FFF2-40B4-BE49-F238E27FC236}">
                  <a16:creationId xmlns:a16="http://schemas.microsoft.com/office/drawing/2014/main" id="{5232C95A-E5CC-44F1-AC6F-66DB204AE824}"/>
                </a:ext>
              </a:extLst>
            </p:cNvPr>
            <p:cNvSpPr/>
            <p:nvPr/>
          </p:nvSpPr>
          <p:spPr>
            <a:xfrm>
              <a:off x="3672702" y="2474595"/>
              <a:ext cx="784044" cy="784044"/>
            </a:xfrm>
            <a:custGeom>
              <a:avLst/>
              <a:gdLst>
                <a:gd name="connsiteX0" fmla="*/ 784045 w 784044"/>
                <a:gd name="connsiteY0" fmla="*/ 0 h 784044"/>
                <a:gd name="connsiteX1" fmla="*/ 584020 w 784044"/>
                <a:gd name="connsiteY1" fmla="*/ 683895 h 784044"/>
                <a:gd name="connsiteX2" fmla="*/ 115390 w 784044"/>
                <a:gd name="connsiteY2" fmla="*/ 698183 h 784044"/>
                <a:gd name="connsiteX3" fmla="*/ 180160 w 784044"/>
                <a:gd name="connsiteY3" fmla="*/ 633413 h 784044"/>
                <a:gd name="connsiteX4" fmla="*/ 387805 w 784044"/>
                <a:gd name="connsiteY4" fmla="*/ 609600 h 784044"/>
                <a:gd name="connsiteX5" fmla="*/ 383042 w 784044"/>
                <a:gd name="connsiteY5" fmla="*/ 568643 h 784044"/>
                <a:gd name="connsiteX6" fmla="*/ 226832 w 784044"/>
                <a:gd name="connsiteY6" fmla="*/ 586740 h 784044"/>
                <a:gd name="connsiteX7" fmla="*/ 302080 w 784044"/>
                <a:gd name="connsiteY7" fmla="*/ 511492 h 784044"/>
                <a:gd name="connsiteX8" fmla="*/ 509725 w 784044"/>
                <a:gd name="connsiteY8" fmla="*/ 487680 h 784044"/>
                <a:gd name="connsiteX9" fmla="*/ 504962 w 784044"/>
                <a:gd name="connsiteY9" fmla="*/ 446722 h 784044"/>
                <a:gd name="connsiteX10" fmla="*/ 348752 w 784044"/>
                <a:gd name="connsiteY10" fmla="*/ 464820 h 784044"/>
                <a:gd name="connsiteX11" fmla="*/ 504962 w 784044"/>
                <a:gd name="connsiteY11" fmla="*/ 308610 h 784044"/>
                <a:gd name="connsiteX12" fmla="*/ 475435 w 784044"/>
                <a:gd name="connsiteY12" fmla="*/ 279083 h 784044"/>
                <a:gd name="connsiteX13" fmla="*/ 323035 w 784044"/>
                <a:gd name="connsiteY13" fmla="*/ 431483 h 784044"/>
                <a:gd name="connsiteX14" fmla="*/ 344942 w 784044"/>
                <a:gd name="connsiteY14" fmla="*/ 293370 h 784044"/>
                <a:gd name="connsiteX15" fmla="*/ 303985 w 784044"/>
                <a:gd name="connsiteY15" fmla="*/ 286702 h 784044"/>
                <a:gd name="connsiteX16" fmla="*/ 273505 w 784044"/>
                <a:gd name="connsiteY16" fmla="*/ 481013 h 784044"/>
                <a:gd name="connsiteX17" fmla="*/ 201115 w 784044"/>
                <a:gd name="connsiteY17" fmla="*/ 553402 h 784044"/>
                <a:gd name="connsiteX18" fmla="*/ 223022 w 784044"/>
                <a:gd name="connsiteY18" fmla="*/ 415290 h 784044"/>
                <a:gd name="connsiteX19" fmla="*/ 182065 w 784044"/>
                <a:gd name="connsiteY19" fmla="*/ 408622 h 784044"/>
                <a:gd name="connsiteX20" fmla="*/ 151585 w 784044"/>
                <a:gd name="connsiteY20" fmla="*/ 602933 h 784044"/>
                <a:gd name="connsiteX21" fmla="*/ 85862 w 784044"/>
                <a:gd name="connsiteY21" fmla="*/ 668655 h 784044"/>
                <a:gd name="connsiteX22" fmla="*/ 100150 w 784044"/>
                <a:gd name="connsiteY22" fmla="*/ 200025 h 784044"/>
                <a:gd name="connsiteX23" fmla="*/ 784045 w 784044"/>
                <a:gd name="connsiteY23" fmla="*/ 0 h 784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784044" h="784044">
                  <a:moveTo>
                    <a:pt x="784045" y="0"/>
                  </a:moveTo>
                  <a:cubicBezTo>
                    <a:pt x="784045" y="0"/>
                    <a:pt x="717370" y="549593"/>
                    <a:pt x="584020" y="683895"/>
                  </a:cubicBezTo>
                  <a:cubicBezTo>
                    <a:pt x="455432" y="812483"/>
                    <a:pt x="249692" y="817245"/>
                    <a:pt x="115390" y="698183"/>
                  </a:cubicBezTo>
                  <a:lnTo>
                    <a:pt x="180160" y="633413"/>
                  </a:lnTo>
                  <a:lnTo>
                    <a:pt x="387805" y="609600"/>
                  </a:lnTo>
                  <a:lnTo>
                    <a:pt x="383042" y="568643"/>
                  </a:lnTo>
                  <a:lnTo>
                    <a:pt x="226832" y="586740"/>
                  </a:lnTo>
                  <a:lnTo>
                    <a:pt x="302080" y="511492"/>
                  </a:lnTo>
                  <a:lnTo>
                    <a:pt x="509725" y="487680"/>
                  </a:lnTo>
                  <a:lnTo>
                    <a:pt x="504962" y="446722"/>
                  </a:lnTo>
                  <a:lnTo>
                    <a:pt x="348752" y="464820"/>
                  </a:lnTo>
                  <a:lnTo>
                    <a:pt x="504962" y="308610"/>
                  </a:lnTo>
                  <a:lnTo>
                    <a:pt x="475435" y="279083"/>
                  </a:lnTo>
                  <a:lnTo>
                    <a:pt x="323035" y="431483"/>
                  </a:lnTo>
                  <a:lnTo>
                    <a:pt x="344942" y="293370"/>
                  </a:lnTo>
                  <a:lnTo>
                    <a:pt x="303985" y="286702"/>
                  </a:lnTo>
                  <a:lnTo>
                    <a:pt x="273505" y="481013"/>
                  </a:lnTo>
                  <a:lnTo>
                    <a:pt x="201115" y="553402"/>
                  </a:lnTo>
                  <a:lnTo>
                    <a:pt x="223022" y="415290"/>
                  </a:lnTo>
                  <a:lnTo>
                    <a:pt x="182065" y="408622"/>
                  </a:lnTo>
                  <a:lnTo>
                    <a:pt x="151585" y="602933"/>
                  </a:lnTo>
                  <a:lnTo>
                    <a:pt x="85862" y="668655"/>
                  </a:lnTo>
                  <a:cubicBezTo>
                    <a:pt x="-33200" y="534352"/>
                    <a:pt x="-28438" y="328613"/>
                    <a:pt x="100150" y="200025"/>
                  </a:cubicBezTo>
                  <a:cubicBezTo>
                    <a:pt x="233500" y="66675"/>
                    <a:pt x="784045" y="0"/>
                    <a:pt x="784045" y="0"/>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0" name="Freeform: Shape 29">
              <a:extLst>
                <a:ext uri="{FF2B5EF4-FFF2-40B4-BE49-F238E27FC236}">
                  <a16:creationId xmlns:a16="http://schemas.microsoft.com/office/drawing/2014/main" id="{29DF2438-0E47-4002-88A4-AE00E88710B9}"/>
                </a:ext>
              </a:extLst>
            </p:cNvPr>
            <p:cNvSpPr/>
            <p:nvPr/>
          </p:nvSpPr>
          <p:spPr>
            <a:xfrm>
              <a:off x="3634739" y="3143250"/>
              <a:ext cx="153352" cy="152400"/>
            </a:xfrm>
            <a:custGeom>
              <a:avLst/>
              <a:gdLst>
                <a:gd name="connsiteX0" fmla="*/ 153353 w 153352"/>
                <a:gd name="connsiteY0" fmla="*/ 29528 h 152400"/>
                <a:gd name="connsiteX1" fmla="*/ 29527 w 153352"/>
                <a:gd name="connsiteY1" fmla="*/ 152400 h 152400"/>
                <a:gd name="connsiteX2" fmla="*/ 0 w 153352"/>
                <a:gd name="connsiteY2" fmla="*/ 122872 h 152400"/>
                <a:gd name="connsiteX3" fmla="*/ 122872 w 153352"/>
                <a:gd name="connsiteY3" fmla="*/ 0 h 152400"/>
                <a:gd name="connsiteX4" fmla="*/ 137160 w 153352"/>
                <a:gd name="connsiteY4" fmla="*/ 15240 h 152400"/>
                <a:gd name="connsiteX5" fmla="*/ 153353 w 153352"/>
                <a:gd name="connsiteY5" fmla="*/ 29528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3352" h="152400">
                  <a:moveTo>
                    <a:pt x="153353" y="29528"/>
                  </a:moveTo>
                  <a:lnTo>
                    <a:pt x="29527" y="152400"/>
                  </a:lnTo>
                  <a:lnTo>
                    <a:pt x="0" y="122872"/>
                  </a:lnTo>
                  <a:lnTo>
                    <a:pt x="122872" y="0"/>
                  </a:lnTo>
                  <a:cubicBezTo>
                    <a:pt x="127635" y="4763"/>
                    <a:pt x="132397" y="10478"/>
                    <a:pt x="137160" y="15240"/>
                  </a:cubicBezTo>
                  <a:cubicBezTo>
                    <a:pt x="142875" y="20003"/>
                    <a:pt x="147638" y="24765"/>
                    <a:pt x="153353" y="2952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sp>
        <p:nvSpPr>
          <p:cNvPr id="31" name="TextBox 36">
            <a:extLst>
              <a:ext uri="{FF2B5EF4-FFF2-40B4-BE49-F238E27FC236}">
                <a16:creationId xmlns:a16="http://schemas.microsoft.com/office/drawing/2014/main" id="{D0BD531D-B3C0-4F18-90FF-EB2662478C8A}"/>
              </a:ext>
            </a:extLst>
          </p:cNvPr>
          <p:cNvSpPr txBox="1"/>
          <p:nvPr/>
        </p:nvSpPr>
        <p:spPr>
          <a:xfrm>
            <a:off x="5772626" y="2121647"/>
            <a:ext cx="3177313"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d-ID" sz="1600" b="1" i="0" u="none" strike="noStrike" kern="1200" cap="none" spc="0" normalizeH="0" baseline="0" noProof="0" dirty="0">
                <a:ln>
                  <a:noFill/>
                </a:ln>
                <a:solidFill>
                  <a:srgbClr val="000000"/>
                </a:solidFill>
                <a:effectLst/>
                <a:uLnTx/>
                <a:uFillTx/>
                <a:latin typeface="等线 Light" panose="020F0302020204030204"/>
                <a:ea typeface="+mn-ea"/>
                <a:cs typeface="+mn-cs"/>
              </a:rPr>
              <a:t>Content</a:t>
            </a:r>
          </a:p>
        </p:txBody>
      </p:sp>
      <p:sp>
        <p:nvSpPr>
          <p:cNvPr id="32" name="Rectangle 37">
            <a:extLst>
              <a:ext uri="{FF2B5EF4-FFF2-40B4-BE49-F238E27FC236}">
                <a16:creationId xmlns:a16="http://schemas.microsoft.com/office/drawing/2014/main" id="{5DA3DF76-2925-481D-AA8D-C3B14A96B0CA}"/>
              </a:ext>
            </a:extLst>
          </p:cNvPr>
          <p:cNvSpPr/>
          <p:nvPr/>
        </p:nvSpPr>
        <p:spPr>
          <a:xfrm>
            <a:off x="5772626" y="2391317"/>
            <a:ext cx="5860574" cy="616836"/>
          </a:xfrm>
          <a:prstGeom prst="rect">
            <a:avLst/>
          </a:prstGeom>
        </p:spPr>
        <p:txBody>
          <a:bodyPr wrap="square">
            <a:spAutoFit/>
          </a:bodyPr>
          <a:lstStyle/>
          <a:p>
            <a:pPr marL="0" marR="0" lvl="0" indent="0" algn="just" defTabSz="914400" rtl="0" eaLnBrk="1" fontAlgn="auto" latinLnBrk="0" hangingPunct="1">
              <a:lnSpc>
                <a:spcPct val="15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等线" panose="020F0502020204030204"/>
                <a:ea typeface="+mn-ea"/>
                <a:cs typeface="+mn-cs"/>
              </a:rPr>
              <a:t>A wonderful serenity has taken possession of my entire soul, like these sweet mornings of spring which I enjoy with my whole heart. I am alone, in this amet beautiful morning</a:t>
            </a:r>
            <a:endPar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33" name="TextBox 38">
            <a:extLst>
              <a:ext uri="{FF2B5EF4-FFF2-40B4-BE49-F238E27FC236}">
                <a16:creationId xmlns:a16="http://schemas.microsoft.com/office/drawing/2014/main" id="{6633F8E8-3D1F-46B0-A210-AEA7D044AD84}"/>
              </a:ext>
            </a:extLst>
          </p:cNvPr>
          <p:cNvSpPr txBox="1"/>
          <p:nvPr/>
        </p:nvSpPr>
        <p:spPr>
          <a:xfrm>
            <a:off x="5992547" y="4840565"/>
            <a:ext cx="1063112" cy="33855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D" sz="1600" b="1" i="0" u="none" strike="noStrike" kern="1200" cap="none" spc="0" normalizeH="0" baseline="0" noProof="0">
                <a:ln>
                  <a:noFill/>
                </a:ln>
                <a:solidFill>
                  <a:srgbClr val="000000"/>
                </a:solidFill>
                <a:effectLst/>
                <a:uLnTx/>
                <a:uFillTx/>
                <a:latin typeface="等线 Light" panose="020F0302020204030204"/>
                <a:ea typeface="+mn-ea"/>
                <a:cs typeface="+mn-cs"/>
              </a:rPr>
              <a:t>Data One</a:t>
            </a:r>
            <a:endParaRPr kumimoji="0" lang="id-ID" sz="1600" b="1" i="0" u="none" strike="noStrike" kern="1200" cap="none" spc="0" normalizeH="0" baseline="0" noProof="0" dirty="0">
              <a:ln>
                <a:noFill/>
              </a:ln>
              <a:solidFill>
                <a:srgbClr val="000000"/>
              </a:solidFill>
              <a:effectLst/>
              <a:uLnTx/>
              <a:uFillTx/>
              <a:latin typeface="等线 Light" panose="020F0302020204030204"/>
              <a:ea typeface="+mn-ea"/>
              <a:cs typeface="+mn-cs"/>
            </a:endParaRPr>
          </a:p>
        </p:txBody>
      </p:sp>
      <p:sp>
        <p:nvSpPr>
          <p:cNvPr id="34" name="TextBox 39">
            <a:extLst>
              <a:ext uri="{FF2B5EF4-FFF2-40B4-BE49-F238E27FC236}">
                <a16:creationId xmlns:a16="http://schemas.microsoft.com/office/drawing/2014/main" id="{C3C017DC-778B-44F7-9F88-AD7D4963FBD8}"/>
              </a:ext>
            </a:extLst>
          </p:cNvPr>
          <p:cNvSpPr txBox="1"/>
          <p:nvPr/>
        </p:nvSpPr>
        <p:spPr>
          <a:xfrm>
            <a:off x="5567406" y="5110476"/>
            <a:ext cx="1913394" cy="616836"/>
          </a:xfrm>
          <a:prstGeom prst="rect">
            <a:avLst/>
          </a:prstGeom>
          <a:noFill/>
        </p:spPr>
        <p:txBody>
          <a:bodyPr wrap="square" rtlCol="0">
            <a:sp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等线" panose="020F0502020204030204"/>
                <a:ea typeface="+mn-ea"/>
                <a:cs typeface="+mn-cs"/>
              </a:rPr>
              <a:t>Wonderful serenity has taken possession</a:t>
            </a:r>
            <a:endPar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graphicFrame>
        <p:nvGraphicFramePr>
          <p:cNvPr id="35" name="Chart 40">
            <a:extLst>
              <a:ext uri="{FF2B5EF4-FFF2-40B4-BE49-F238E27FC236}">
                <a16:creationId xmlns:a16="http://schemas.microsoft.com/office/drawing/2014/main" id="{26F8696F-7C89-4710-95B3-FE4A37D1F397}"/>
              </a:ext>
            </a:extLst>
          </p:cNvPr>
          <p:cNvGraphicFramePr/>
          <p:nvPr/>
        </p:nvGraphicFramePr>
        <p:xfrm>
          <a:off x="5618207" y="3102821"/>
          <a:ext cx="1811794" cy="1718470"/>
        </p:xfrm>
        <a:graphic>
          <a:graphicData uri="http://schemas.openxmlformats.org/drawingml/2006/chart">
            <c:chart xmlns:c="http://schemas.openxmlformats.org/drawingml/2006/chart" xmlns:r="http://schemas.openxmlformats.org/officeDocument/2006/relationships" r:id="rId4"/>
          </a:graphicData>
        </a:graphic>
      </p:graphicFrame>
      <p:sp>
        <p:nvSpPr>
          <p:cNvPr id="36" name="TextBox 41">
            <a:extLst>
              <a:ext uri="{FF2B5EF4-FFF2-40B4-BE49-F238E27FC236}">
                <a16:creationId xmlns:a16="http://schemas.microsoft.com/office/drawing/2014/main" id="{34942B0E-9278-4242-A4D9-BF8E2115277C}"/>
              </a:ext>
            </a:extLst>
          </p:cNvPr>
          <p:cNvSpPr txBox="1"/>
          <p:nvPr/>
        </p:nvSpPr>
        <p:spPr>
          <a:xfrm>
            <a:off x="8083173" y="4840565"/>
            <a:ext cx="1034259" cy="33855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D" sz="1600" b="1" i="0" u="none" strike="noStrike" kern="1200" cap="none" spc="0" normalizeH="0" baseline="0" noProof="0">
                <a:ln>
                  <a:noFill/>
                </a:ln>
                <a:solidFill>
                  <a:srgbClr val="000000"/>
                </a:solidFill>
                <a:effectLst/>
                <a:uLnTx/>
                <a:uFillTx/>
                <a:latin typeface="等线 Light" panose="020F0302020204030204"/>
                <a:ea typeface="+mn-ea"/>
                <a:cs typeface="+mn-cs"/>
              </a:rPr>
              <a:t>Data two</a:t>
            </a:r>
            <a:endParaRPr kumimoji="0" lang="id-ID" sz="1600" b="1" i="0" u="none" strike="noStrike" kern="1200" cap="none" spc="0" normalizeH="0" baseline="0" noProof="0" dirty="0">
              <a:ln>
                <a:noFill/>
              </a:ln>
              <a:solidFill>
                <a:srgbClr val="000000"/>
              </a:solidFill>
              <a:effectLst/>
              <a:uLnTx/>
              <a:uFillTx/>
              <a:latin typeface="等线 Light" panose="020F0302020204030204"/>
              <a:ea typeface="+mn-ea"/>
              <a:cs typeface="+mn-cs"/>
            </a:endParaRPr>
          </a:p>
        </p:txBody>
      </p:sp>
      <p:sp>
        <p:nvSpPr>
          <p:cNvPr id="37" name="TextBox 42">
            <a:extLst>
              <a:ext uri="{FF2B5EF4-FFF2-40B4-BE49-F238E27FC236}">
                <a16:creationId xmlns:a16="http://schemas.microsoft.com/office/drawing/2014/main" id="{810D0F1A-8257-427A-A00B-A2CFA26CC698}"/>
              </a:ext>
            </a:extLst>
          </p:cNvPr>
          <p:cNvSpPr txBox="1"/>
          <p:nvPr/>
        </p:nvSpPr>
        <p:spPr>
          <a:xfrm>
            <a:off x="7643606" y="5110476"/>
            <a:ext cx="1913394" cy="616836"/>
          </a:xfrm>
          <a:prstGeom prst="rect">
            <a:avLst/>
          </a:prstGeom>
          <a:noFill/>
        </p:spPr>
        <p:txBody>
          <a:bodyPr wrap="square" rtlCol="0">
            <a:sp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等线" panose="020F0502020204030204"/>
                <a:ea typeface="+mn-ea"/>
                <a:cs typeface="+mn-cs"/>
              </a:rPr>
              <a:t>Wonderful serenity has taken possession</a:t>
            </a:r>
            <a:endPar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graphicFrame>
        <p:nvGraphicFramePr>
          <p:cNvPr id="38" name="Chart 43">
            <a:extLst>
              <a:ext uri="{FF2B5EF4-FFF2-40B4-BE49-F238E27FC236}">
                <a16:creationId xmlns:a16="http://schemas.microsoft.com/office/drawing/2014/main" id="{9487483F-E400-4BD5-AFCE-B1254B9124F9}"/>
              </a:ext>
            </a:extLst>
          </p:cNvPr>
          <p:cNvGraphicFramePr/>
          <p:nvPr/>
        </p:nvGraphicFramePr>
        <p:xfrm>
          <a:off x="7694407" y="3102821"/>
          <a:ext cx="1811794" cy="1718470"/>
        </p:xfrm>
        <a:graphic>
          <a:graphicData uri="http://schemas.openxmlformats.org/drawingml/2006/chart">
            <c:chart xmlns:c="http://schemas.openxmlformats.org/drawingml/2006/chart" xmlns:r="http://schemas.openxmlformats.org/officeDocument/2006/relationships" r:id="rId5"/>
          </a:graphicData>
        </a:graphic>
      </p:graphicFrame>
      <p:sp>
        <p:nvSpPr>
          <p:cNvPr id="39" name="TextBox 44">
            <a:extLst>
              <a:ext uri="{FF2B5EF4-FFF2-40B4-BE49-F238E27FC236}">
                <a16:creationId xmlns:a16="http://schemas.microsoft.com/office/drawing/2014/main" id="{BB01A340-E741-41AA-A70E-B7ED77B0DBBB}"/>
              </a:ext>
            </a:extLst>
          </p:cNvPr>
          <p:cNvSpPr txBox="1"/>
          <p:nvPr/>
        </p:nvSpPr>
        <p:spPr>
          <a:xfrm>
            <a:off x="10082429" y="4840565"/>
            <a:ext cx="1188147" cy="33855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D" sz="1600" b="1" i="0" u="none" strike="noStrike" kern="1200" cap="none" spc="0" normalizeH="0" baseline="0" noProof="0">
                <a:ln>
                  <a:noFill/>
                </a:ln>
                <a:solidFill>
                  <a:srgbClr val="000000"/>
                </a:solidFill>
                <a:effectLst/>
                <a:uLnTx/>
                <a:uFillTx/>
                <a:latin typeface="等线 Light" panose="020F0302020204030204"/>
                <a:ea typeface="+mn-ea"/>
                <a:cs typeface="+mn-cs"/>
              </a:rPr>
              <a:t>Data three</a:t>
            </a:r>
            <a:endParaRPr kumimoji="0" lang="id-ID" sz="1600" b="1" i="0" u="none" strike="noStrike" kern="1200" cap="none" spc="0" normalizeH="0" baseline="0" noProof="0" dirty="0">
              <a:ln>
                <a:noFill/>
              </a:ln>
              <a:solidFill>
                <a:srgbClr val="000000"/>
              </a:solidFill>
              <a:effectLst/>
              <a:uLnTx/>
              <a:uFillTx/>
              <a:latin typeface="等线 Light" panose="020F0302020204030204"/>
              <a:ea typeface="+mn-ea"/>
              <a:cs typeface="+mn-cs"/>
            </a:endParaRPr>
          </a:p>
        </p:txBody>
      </p:sp>
      <p:sp>
        <p:nvSpPr>
          <p:cNvPr id="40" name="TextBox 45">
            <a:extLst>
              <a:ext uri="{FF2B5EF4-FFF2-40B4-BE49-F238E27FC236}">
                <a16:creationId xmlns:a16="http://schemas.microsoft.com/office/drawing/2014/main" id="{03448BC6-5985-479E-8312-4A1381F30891}"/>
              </a:ext>
            </a:extLst>
          </p:cNvPr>
          <p:cNvSpPr txBox="1"/>
          <p:nvPr/>
        </p:nvSpPr>
        <p:spPr>
          <a:xfrm>
            <a:off x="9719806" y="5110476"/>
            <a:ext cx="1913394" cy="616836"/>
          </a:xfrm>
          <a:prstGeom prst="rect">
            <a:avLst/>
          </a:prstGeom>
          <a:noFill/>
        </p:spPr>
        <p:txBody>
          <a:bodyPr wrap="square" rtlCol="0">
            <a:sp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等线" panose="020F0502020204030204"/>
                <a:ea typeface="+mn-ea"/>
                <a:cs typeface="+mn-cs"/>
              </a:rPr>
              <a:t>Wonderful serenity has taken possession</a:t>
            </a:r>
            <a:endPar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graphicFrame>
        <p:nvGraphicFramePr>
          <p:cNvPr id="41" name="Chart 46">
            <a:extLst>
              <a:ext uri="{FF2B5EF4-FFF2-40B4-BE49-F238E27FC236}">
                <a16:creationId xmlns:a16="http://schemas.microsoft.com/office/drawing/2014/main" id="{760320DD-CD88-4771-8D7A-24B7E289A15F}"/>
              </a:ext>
            </a:extLst>
          </p:cNvPr>
          <p:cNvGraphicFramePr/>
          <p:nvPr/>
        </p:nvGraphicFramePr>
        <p:xfrm>
          <a:off x="9770607" y="3102821"/>
          <a:ext cx="1811794" cy="1718470"/>
        </p:xfrm>
        <a:graphic>
          <a:graphicData uri="http://schemas.openxmlformats.org/drawingml/2006/chart">
            <c:chart xmlns:c="http://schemas.openxmlformats.org/drawingml/2006/chart" xmlns:r="http://schemas.openxmlformats.org/officeDocument/2006/relationships" r:id="rId6"/>
          </a:graphicData>
        </a:graphic>
      </p:graphicFrame>
      <p:sp>
        <p:nvSpPr>
          <p:cNvPr id="42" name="TextBox 47">
            <a:extLst>
              <a:ext uri="{FF2B5EF4-FFF2-40B4-BE49-F238E27FC236}">
                <a16:creationId xmlns:a16="http://schemas.microsoft.com/office/drawing/2014/main" id="{2742506F-E571-4217-BC8B-D5DC53CD09A8}"/>
              </a:ext>
            </a:extLst>
          </p:cNvPr>
          <p:cNvSpPr txBox="1"/>
          <p:nvPr/>
        </p:nvSpPr>
        <p:spPr>
          <a:xfrm>
            <a:off x="6080400" y="3734202"/>
            <a:ext cx="887408"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D" sz="2400" b="1" i="0" u="none" strike="noStrike" kern="1200" cap="none" spc="0" normalizeH="0" baseline="0" noProof="0">
                <a:ln>
                  <a:noFill/>
                </a:ln>
                <a:solidFill>
                  <a:srgbClr val="000000"/>
                </a:solidFill>
                <a:effectLst/>
                <a:uLnTx/>
                <a:uFillTx/>
                <a:latin typeface="等线 Light" panose="020F0302020204030204"/>
                <a:ea typeface="+mn-ea"/>
                <a:cs typeface="+mn-cs"/>
              </a:rPr>
              <a:t>75%</a:t>
            </a:r>
            <a:endParaRPr kumimoji="0" lang="id-ID" sz="2400" b="1" i="0" u="none" strike="noStrike" kern="1200" cap="none" spc="0" normalizeH="0" baseline="0" noProof="0" dirty="0">
              <a:ln>
                <a:noFill/>
              </a:ln>
              <a:solidFill>
                <a:srgbClr val="000000"/>
              </a:solidFill>
              <a:effectLst/>
              <a:uLnTx/>
              <a:uFillTx/>
              <a:latin typeface="等线 Light" panose="020F0302020204030204"/>
              <a:ea typeface="+mn-ea"/>
              <a:cs typeface="+mn-cs"/>
            </a:endParaRPr>
          </a:p>
        </p:txBody>
      </p:sp>
      <p:sp>
        <p:nvSpPr>
          <p:cNvPr id="43" name="TextBox 48">
            <a:extLst>
              <a:ext uri="{FF2B5EF4-FFF2-40B4-BE49-F238E27FC236}">
                <a16:creationId xmlns:a16="http://schemas.microsoft.com/office/drawing/2014/main" id="{302A27AA-7DCE-4724-A1DF-9E8CB4A6603C}"/>
              </a:ext>
            </a:extLst>
          </p:cNvPr>
          <p:cNvSpPr txBox="1"/>
          <p:nvPr/>
        </p:nvSpPr>
        <p:spPr>
          <a:xfrm>
            <a:off x="8155943" y="3734202"/>
            <a:ext cx="887408"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D" sz="2400" b="1" i="0" u="none" strike="noStrike" kern="1200" cap="none" spc="0" normalizeH="0" baseline="0" noProof="0">
                <a:ln>
                  <a:noFill/>
                </a:ln>
                <a:solidFill>
                  <a:srgbClr val="000000"/>
                </a:solidFill>
                <a:effectLst/>
                <a:uLnTx/>
                <a:uFillTx/>
                <a:latin typeface="等线 Light" panose="020F0302020204030204"/>
                <a:ea typeface="+mn-ea"/>
                <a:cs typeface="+mn-cs"/>
              </a:rPr>
              <a:t>80%</a:t>
            </a:r>
            <a:endParaRPr kumimoji="0" lang="id-ID" sz="2400" b="1" i="0" u="none" strike="noStrike" kern="1200" cap="none" spc="0" normalizeH="0" baseline="0" noProof="0" dirty="0">
              <a:ln>
                <a:noFill/>
              </a:ln>
              <a:solidFill>
                <a:srgbClr val="000000"/>
              </a:solidFill>
              <a:effectLst/>
              <a:uLnTx/>
              <a:uFillTx/>
              <a:latin typeface="等线 Light" panose="020F0302020204030204"/>
              <a:ea typeface="+mn-ea"/>
              <a:cs typeface="+mn-cs"/>
            </a:endParaRPr>
          </a:p>
        </p:txBody>
      </p:sp>
      <p:sp>
        <p:nvSpPr>
          <p:cNvPr id="44" name="TextBox 49">
            <a:extLst>
              <a:ext uri="{FF2B5EF4-FFF2-40B4-BE49-F238E27FC236}">
                <a16:creationId xmlns:a16="http://schemas.microsoft.com/office/drawing/2014/main" id="{DB85B7A3-F14E-457F-A4C3-ADDA40ECB97F}"/>
              </a:ext>
            </a:extLst>
          </p:cNvPr>
          <p:cNvSpPr txBox="1"/>
          <p:nvPr/>
        </p:nvSpPr>
        <p:spPr>
          <a:xfrm>
            <a:off x="10231485" y="3734202"/>
            <a:ext cx="887408"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D" sz="2400" b="1" i="0" u="none" strike="noStrike" kern="1200" cap="none" spc="0" normalizeH="0" baseline="0" noProof="0">
                <a:ln>
                  <a:noFill/>
                </a:ln>
                <a:solidFill>
                  <a:srgbClr val="000000"/>
                </a:solidFill>
                <a:effectLst/>
                <a:uLnTx/>
                <a:uFillTx/>
                <a:latin typeface="等线 Light" panose="020F0302020204030204"/>
                <a:ea typeface="+mn-ea"/>
                <a:cs typeface="+mn-cs"/>
              </a:rPr>
              <a:t>90%</a:t>
            </a:r>
            <a:endParaRPr kumimoji="0" lang="id-ID" sz="2400" b="1" i="0" u="none" strike="noStrike" kern="1200" cap="none" spc="0" normalizeH="0" baseline="0" noProof="0" dirty="0">
              <a:ln>
                <a:noFill/>
              </a:ln>
              <a:solidFill>
                <a:srgbClr val="000000"/>
              </a:solidFill>
              <a:effectLst/>
              <a:uLnTx/>
              <a:uFillTx/>
              <a:latin typeface="等线 Light" panose="020F0302020204030204"/>
              <a:ea typeface="+mn-ea"/>
              <a:cs typeface="+mn-cs"/>
            </a:endParaRPr>
          </a:p>
        </p:txBody>
      </p:sp>
    </p:spTree>
    <p:extLst>
      <p:ext uri="{BB962C8B-B14F-4D97-AF65-F5344CB8AC3E}">
        <p14:creationId xmlns:p14="http://schemas.microsoft.com/office/powerpoint/2010/main" val="3192674104"/>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500"/>
                                        <p:tgtEl>
                                          <p:spTgt spid="2"/>
                                        </p:tgtEl>
                                      </p:cBhvr>
                                    </p:animEffect>
                                  </p:childTnLst>
                                </p:cTn>
                              </p:par>
                              <p:par>
                                <p:cTn id="12" presetID="10" presetClass="entr" presetSubtype="0" fill="hold" nodeType="withEffect">
                                  <p:stCondLst>
                                    <p:cond delay="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500"/>
                                        <p:tgtEl>
                                          <p:spTgt spid="8"/>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12"/>
                                        </p:tgtEl>
                                        <p:attrNameLst>
                                          <p:attrName>style.visibility</p:attrName>
                                        </p:attrNameLst>
                                      </p:cBhvr>
                                      <p:to>
                                        <p:strVal val="visible"/>
                                      </p:to>
                                    </p:set>
                                    <p:animEffect transition="in" filter="fade">
                                      <p:cBhvr>
                                        <p:cTn id="17" dur="500"/>
                                        <p:tgtEl>
                                          <p:spTgt spid="12"/>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11"/>
                                        </p:tgtEl>
                                        <p:attrNameLst>
                                          <p:attrName>style.visibility</p:attrName>
                                        </p:attrNameLst>
                                      </p:cBhvr>
                                      <p:to>
                                        <p:strVal val="visible"/>
                                      </p:to>
                                    </p:set>
                                    <p:animEffect transition="in" filter="fade">
                                      <p:cBhvr>
                                        <p:cTn id="20" dur="500"/>
                                        <p:tgtEl>
                                          <p:spTgt spid="11"/>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17"/>
                                        </p:tgtEl>
                                        <p:attrNameLst>
                                          <p:attrName>style.visibility</p:attrName>
                                        </p:attrNameLst>
                                      </p:cBhvr>
                                      <p:to>
                                        <p:strVal val="visible"/>
                                      </p:to>
                                    </p:set>
                                    <p:animEffect transition="in" filter="fade">
                                      <p:cBhvr>
                                        <p:cTn id="23" dur="500"/>
                                        <p:tgtEl>
                                          <p:spTgt spid="17"/>
                                        </p:tgtEl>
                                      </p:cBhvr>
                                    </p:animEffect>
                                  </p:childTnLst>
                                </p:cTn>
                              </p:par>
                            </p:childTnLst>
                          </p:cTn>
                        </p:par>
                        <p:par>
                          <p:cTn id="24" fill="hold">
                            <p:stCondLst>
                              <p:cond delay="1000"/>
                            </p:stCondLst>
                            <p:childTnLst>
                              <p:par>
                                <p:cTn id="25" presetID="10" presetClass="entr" presetSubtype="0" fill="hold" grpId="0" nodeType="afterEffect">
                                  <p:stCondLst>
                                    <p:cond delay="0"/>
                                  </p:stCondLst>
                                  <p:childTnLst>
                                    <p:set>
                                      <p:cBhvr>
                                        <p:cTn id="26" dur="1" fill="hold">
                                          <p:stCondLst>
                                            <p:cond delay="0"/>
                                          </p:stCondLst>
                                        </p:cTn>
                                        <p:tgtEl>
                                          <p:spTgt spid="14"/>
                                        </p:tgtEl>
                                        <p:attrNameLst>
                                          <p:attrName>style.visibility</p:attrName>
                                        </p:attrNameLst>
                                      </p:cBhvr>
                                      <p:to>
                                        <p:strVal val="visible"/>
                                      </p:to>
                                    </p:set>
                                    <p:animEffect transition="in" filter="fade">
                                      <p:cBhvr>
                                        <p:cTn id="27" dur="500"/>
                                        <p:tgtEl>
                                          <p:spTgt spid="14"/>
                                        </p:tgtEl>
                                      </p:cBhvr>
                                    </p:animEffect>
                                  </p:childTnLst>
                                </p:cTn>
                              </p:par>
                              <p:par>
                                <p:cTn id="28" presetID="10" presetClass="entr" presetSubtype="0" fill="hold" nodeType="withEffect">
                                  <p:stCondLst>
                                    <p:cond delay="0"/>
                                  </p:stCondLst>
                                  <p:childTnLst>
                                    <p:set>
                                      <p:cBhvr>
                                        <p:cTn id="29" dur="1" fill="hold">
                                          <p:stCondLst>
                                            <p:cond delay="0"/>
                                          </p:stCondLst>
                                        </p:cTn>
                                        <p:tgtEl>
                                          <p:spTgt spid="4"/>
                                        </p:tgtEl>
                                        <p:attrNameLst>
                                          <p:attrName>style.visibility</p:attrName>
                                        </p:attrNameLst>
                                      </p:cBhvr>
                                      <p:to>
                                        <p:strVal val="visible"/>
                                      </p:to>
                                    </p:set>
                                    <p:animEffect transition="in" filter="fade">
                                      <p:cBhvr>
                                        <p:cTn id="30" dur="500"/>
                                        <p:tgtEl>
                                          <p:spTgt spid="4"/>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13"/>
                                        </p:tgtEl>
                                        <p:attrNameLst>
                                          <p:attrName>style.visibility</p:attrName>
                                        </p:attrNameLst>
                                      </p:cBhvr>
                                      <p:to>
                                        <p:strVal val="visible"/>
                                      </p:to>
                                    </p:set>
                                    <p:animEffect transition="in" filter="fade">
                                      <p:cBhvr>
                                        <p:cTn id="33" dur="500"/>
                                        <p:tgtEl>
                                          <p:spTgt spid="13"/>
                                        </p:tgtEl>
                                      </p:cBhvr>
                                    </p:animEffect>
                                  </p:childTnLst>
                                </p:cTn>
                              </p:par>
                              <p:par>
                                <p:cTn id="34" presetID="10" presetClass="entr" presetSubtype="0" fill="hold" nodeType="withEffect">
                                  <p:stCondLst>
                                    <p:cond delay="0"/>
                                  </p:stCondLst>
                                  <p:childTnLst>
                                    <p:set>
                                      <p:cBhvr>
                                        <p:cTn id="35" dur="1" fill="hold">
                                          <p:stCondLst>
                                            <p:cond delay="0"/>
                                          </p:stCondLst>
                                        </p:cTn>
                                        <p:tgtEl>
                                          <p:spTgt spid="18"/>
                                        </p:tgtEl>
                                        <p:attrNameLst>
                                          <p:attrName>style.visibility</p:attrName>
                                        </p:attrNameLst>
                                      </p:cBhvr>
                                      <p:to>
                                        <p:strVal val="visible"/>
                                      </p:to>
                                    </p:set>
                                    <p:animEffect transition="in" filter="fade">
                                      <p:cBhvr>
                                        <p:cTn id="36" dur="500"/>
                                        <p:tgtEl>
                                          <p:spTgt spid="18"/>
                                        </p:tgtEl>
                                      </p:cBhvr>
                                    </p:animEffect>
                                  </p:childTnLst>
                                </p:cTn>
                              </p:par>
                            </p:childTnLst>
                          </p:cTn>
                        </p:par>
                        <p:par>
                          <p:cTn id="37" fill="hold">
                            <p:stCondLst>
                              <p:cond delay="1500"/>
                            </p:stCondLst>
                            <p:childTnLst>
                              <p:par>
                                <p:cTn id="38" presetID="10" presetClass="entr" presetSubtype="0" fill="hold" grpId="0" nodeType="afterEffect">
                                  <p:stCondLst>
                                    <p:cond delay="0"/>
                                  </p:stCondLst>
                                  <p:childTnLst>
                                    <p:set>
                                      <p:cBhvr>
                                        <p:cTn id="39" dur="1" fill="hold">
                                          <p:stCondLst>
                                            <p:cond delay="0"/>
                                          </p:stCondLst>
                                        </p:cTn>
                                        <p:tgtEl>
                                          <p:spTgt spid="16"/>
                                        </p:tgtEl>
                                        <p:attrNameLst>
                                          <p:attrName>style.visibility</p:attrName>
                                        </p:attrNameLst>
                                      </p:cBhvr>
                                      <p:to>
                                        <p:strVal val="visible"/>
                                      </p:to>
                                    </p:set>
                                    <p:animEffect transition="in" filter="fade">
                                      <p:cBhvr>
                                        <p:cTn id="40" dur="500"/>
                                        <p:tgtEl>
                                          <p:spTgt spid="16"/>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15"/>
                                        </p:tgtEl>
                                        <p:attrNameLst>
                                          <p:attrName>style.visibility</p:attrName>
                                        </p:attrNameLst>
                                      </p:cBhvr>
                                      <p:to>
                                        <p:strVal val="visible"/>
                                      </p:to>
                                    </p:set>
                                    <p:animEffect transition="in" filter="fade">
                                      <p:cBhvr>
                                        <p:cTn id="43" dur="500"/>
                                        <p:tgtEl>
                                          <p:spTgt spid="15"/>
                                        </p:tgtEl>
                                      </p:cBhvr>
                                    </p:animEffect>
                                  </p:childTnLst>
                                </p:cTn>
                              </p:par>
                              <p:par>
                                <p:cTn id="44" presetID="10" presetClass="entr" presetSubtype="0" fill="hold" grpId="0" nodeType="withEffect">
                                  <p:stCondLst>
                                    <p:cond delay="0"/>
                                  </p:stCondLst>
                                  <p:childTnLst>
                                    <p:set>
                                      <p:cBhvr>
                                        <p:cTn id="45" dur="1" fill="hold">
                                          <p:stCondLst>
                                            <p:cond delay="0"/>
                                          </p:stCondLst>
                                        </p:cTn>
                                        <p:tgtEl>
                                          <p:spTgt spid="3"/>
                                        </p:tgtEl>
                                        <p:attrNameLst>
                                          <p:attrName>style.visibility</p:attrName>
                                        </p:attrNameLst>
                                      </p:cBhvr>
                                      <p:to>
                                        <p:strVal val="visible"/>
                                      </p:to>
                                    </p:set>
                                    <p:animEffect transition="in" filter="fade">
                                      <p:cBhvr>
                                        <p:cTn id="46" dur="500"/>
                                        <p:tgtEl>
                                          <p:spTgt spid="3"/>
                                        </p:tgtEl>
                                      </p:cBhvr>
                                    </p:animEffect>
                                  </p:childTnLst>
                                </p:cTn>
                              </p:par>
                              <p:par>
                                <p:cTn id="47" presetID="10" presetClass="entr" presetSubtype="0" fill="hold" nodeType="withEffect">
                                  <p:stCondLst>
                                    <p:cond delay="0"/>
                                  </p:stCondLst>
                                  <p:childTnLst>
                                    <p:set>
                                      <p:cBhvr>
                                        <p:cTn id="48" dur="1" fill="hold">
                                          <p:stCondLst>
                                            <p:cond delay="0"/>
                                          </p:stCondLst>
                                        </p:cTn>
                                        <p:tgtEl>
                                          <p:spTgt spid="28"/>
                                        </p:tgtEl>
                                        <p:attrNameLst>
                                          <p:attrName>style.visibility</p:attrName>
                                        </p:attrNameLst>
                                      </p:cBhvr>
                                      <p:to>
                                        <p:strVal val="visible"/>
                                      </p:to>
                                    </p:set>
                                    <p:animEffect transition="in" filter="fade">
                                      <p:cBhvr>
                                        <p:cTn id="49" dur="500"/>
                                        <p:tgtEl>
                                          <p:spTgt spid="28"/>
                                        </p:tgtEl>
                                      </p:cBhvr>
                                    </p:animEffect>
                                  </p:childTnLst>
                                </p:cTn>
                              </p:par>
                            </p:childTnLst>
                          </p:cTn>
                        </p:par>
                        <p:par>
                          <p:cTn id="50" fill="hold">
                            <p:stCondLst>
                              <p:cond delay="2000"/>
                            </p:stCondLst>
                            <p:childTnLst>
                              <p:par>
                                <p:cTn id="51" presetID="10" presetClass="entr" presetSubtype="0" fill="hold" grpId="0" nodeType="afterEffect">
                                  <p:stCondLst>
                                    <p:cond delay="0"/>
                                  </p:stCondLst>
                                  <p:childTnLst>
                                    <p:set>
                                      <p:cBhvr>
                                        <p:cTn id="52" dur="1" fill="hold">
                                          <p:stCondLst>
                                            <p:cond delay="0"/>
                                          </p:stCondLst>
                                        </p:cTn>
                                        <p:tgtEl>
                                          <p:spTgt spid="31"/>
                                        </p:tgtEl>
                                        <p:attrNameLst>
                                          <p:attrName>style.visibility</p:attrName>
                                        </p:attrNameLst>
                                      </p:cBhvr>
                                      <p:to>
                                        <p:strVal val="visible"/>
                                      </p:to>
                                    </p:set>
                                    <p:animEffect transition="in" filter="fade">
                                      <p:cBhvr>
                                        <p:cTn id="53" dur="500"/>
                                        <p:tgtEl>
                                          <p:spTgt spid="31"/>
                                        </p:tgtEl>
                                      </p:cBhvr>
                                    </p:animEffect>
                                  </p:childTnLst>
                                </p:cTn>
                              </p:par>
                              <p:par>
                                <p:cTn id="54" presetID="10" presetClass="entr" presetSubtype="0" fill="hold" grpId="0" nodeType="withEffect">
                                  <p:stCondLst>
                                    <p:cond delay="0"/>
                                  </p:stCondLst>
                                  <p:childTnLst>
                                    <p:set>
                                      <p:cBhvr>
                                        <p:cTn id="55" dur="1" fill="hold">
                                          <p:stCondLst>
                                            <p:cond delay="0"/>
                                          </p:stCondLst>
                                        </p:cTn>
                                        <p:tgtEl>
                                          <p:spTgt spid="32"/>
                                        </p:tgtEl>
                                        <p:attrNameLst>
                                          <p:attrName>style.visibility</p:attrName>
                                        </p:attrNameLst>
                                      </p:cBhvr>
                                      <p:to>
                                        <p:strVal val="visible"/>
                                      </p:to>
                                    </p:set>
                                    <p:animEffect transition="in" filter="fade">
                                      <p:cBhvr>
                                        <p:cTn id="56" dur="500"/>
                                        <p:tgtEl>
                                          <p:spTgt spid="32"/>
                                        </p:tgtEl>
                                      </p:cBhvr>
                                    </p:animEffect>
                                  </p:childTnLst>
                                </p:cTn>
                              </p:par>
                            </p:childTnLst>
                          </p:cTn>
                        </p:par>
                        <p:par>
                          <p:cTn id="57" fill="hold">
                            <p:stCondLst>
                              <p:cond delay="2500"/>
                            </p:stCondLst>
                            <p:childTnLst>
                              <p:par>
                                <p:cTn id="58" presetID="21" presetClass="entr" presetSubtype="1" fill="hold" grpId="0" nodeType="afterEffect">
                                  <p:stCondLst>
                                    <p:cond delay="0"/>
                                  </p:stCondLst>
                                  <p:childTnLst>
                                    <p:set>
                                      <p:cBhvr>
                                        <p:cTn id="59" dur="1" fill="hold">
                                          <p:stCondLst>
                                            <p:cond delay="0"/>
                                          </p:stCondLst>
                                        </p:cTn>
                                        <p:tgtEl>
                                          <p:spTgt spid="35"/>
                                        </p:tgtEl>
                                        <p:attrNameLst>
                                          <p:attrName>style.visibility</p:attrName>
                                        </p:attrNameLst>
                                      </p:cBhvr>
                                      <p:to>
                                        <p:strVal val="visible"/>
                                      </p:to>
                                    </p:set>
                                    <p:animEffect transition="in" filter="wheel(1)">
                                      <p:cBhvr>
                                        <p:cTn id="60" dur="1000"/>
                                        <p:tgtEl>
                                          <p:spTgt spid="35"/>
                                        </p:tgtEl>
                                      </p:cBhvr>
                                    </p:animEffect>
                                  </p:childTnLst>
                                </p:cTn>
                              </p:par>
                              <p:par>
                                <p:cTn id="61" presetID="21" presetClass="entr" presetSubtype="1" fill="hold" grpId="0" nodeType="withEffect">
                                  <p:stCondLst>
                                    <p:cond delay="0"/>
                                  </p:stCondLst>
                                  <p:childTnLst>
                                    <p:set>
                                      <p:cBhvr>
                                        <p:cTn id="62" dur="1" fill="hold">
                                          <p:stCondLst>
                                            <p:cond delay="0"/>
                                          </p:stCondLst>
                                        </p:cTn>
                                        <p:tgtEl>
                                          <p:spTgt spid="38"/>
                                        </p:tgtEl>
                                        <p:attrNameLst>
                                          <p:attrName>style.visibility</p:attrName>
                                        </p:attrNameLst>
                                      </p:cBhvr>
                                      <p:to>
                                        <p:strVal val="visible"/>
                                      </p:to>
                                    </p:set>
                                    <p:animEffect transition="in" filter="wheel(1)">
                                      <p:cBhvr>
                                        <p:cTn id="63" dur="1000"/>
                                        <p:tgtEl>
                                          <p:spTgt spid="38"/>
                                        </p:tgtEl>
                                      </p:cBhvr>
                                    </p:animEffect>
                                  </p:childTnLst>
                                </p:cTn>
                              </p:par>
                              <p:par>
                                <p:cTn id="64" presetID="21" presetClass="entr" presetSubtype="1" fill="hold" grpId="0" nodeType="withEffect">
                                  <p:stCondLst>
                                    <p:cond delay="0"/>
                                  </p:stCondLst>
                                  <p:childTnLst>
                                    <p:set>
                                      <p:cBhvr>
                                        <p:cTn id="65" dur="1" fill="hold">
                                          <p:stCondLst>
                                            <p:cond delay="0"/>
                                          </p:stCondLst>
                                        </p:cTn>
                                        <p:tgtEl>
                                          <p:spTgt spid="41"/>
                                        </p:tgtEl>
                                        <p:attrNameLst>
                                          <p:attrName>style.visibility</p:attrName>
                                        </p:attrNameLst>
                                      </p:cBhvr>
                                      <p:to>
                                        <p:strVal val="visible"/>
                                      </p:to>
                                    </p:set>
                                    <p:animEffect transition="in" filter="wheel(1)">
                                      <p:cBhvr>
                                        <p:cTn id="66" dur="1000"/>
                                        <p:tgtEl>
                                          <p:spTgt spid="41"/>
                                        </p:tgtEl>
                                      </p:cBhvr>
                                    </p:animEffect>
                                  </p:childTnLst>
                                </p:cTn>
                              </p:par>
                            </p:childTnLst>
                          </p:cTn>
                        </p:par>
                        <p:par>
                          <p:cTn id="67" fill="hold">
                            <p:stCondLst>
                              <p:cond delay="3500"/>
                            </p:stCondLst>
                            <p:childTnLst>
                              <p:par>
                                <p:cTn id="68" presetID="10" presetClass="entr" presetSubtype="0" fill="hold" grpId="0" nodeType="afterEffect">
                                  <p:stCondLst>
                                    <p:cond delay="0"/>
                                  </p:stCondLst>
                                  <p:childTnLst>
                                    <p:set>
                                      <p:cBhvr>
                                        <p:cTn id="69" dur="1" fill="hold">
                                          <p:stCondLst>
                                            <p:cond delay="0"/>
                                          </p:stCondLst>
                                        </p:cTn>
                                        <p:tgtEl>
                                          <p:spTgt spid="42"/>
                                        </p:tgtEl>
                                        <p:attrNameLst>
                                          <p:attrName>style.visibility</p:attrName>
                                        </p:attrNameLst>
                                      </p:cBhvr>
                                      <p:to>
                                        <p:strVal val="visible"/>
                                      </p:to>
                                    </p:set>
                                    <p:animEffect transition="in" filter="fade">
                                      <p:cBhvr>
                                        <p:cTn id="70" dur="500"/>
                                        <p:tgtEl>
                                          <p:spTgt spid="42"/>
                                        </p:tgtEl>
                                      </p:cBhvr>
                                    </p:animEffect>
                                  </p:childTnLst>
                                </p:cTn>
                              </p:par>
                              <p:par>
                                <p:cTn id="71" presetID="10" presetClass="entr" presetSubtype="0" fill="hold" grpId="0" nodeType="withEffect">
                                  <p:stCondLst>
                                    <p:cond delay="0"/>
                                  </p:stCondLst>
                                  <p:childTnLst>
                                    <p:set>
                                      <p:cBhvr>
                                        <p:cTn id="72" dur="1" fill="hold">
                                          <p:stCondLst>
                                            <p:cond delay="0"/>
                                          </p:stCondLst>
                                        </p:cTn>
                                        <p:tgtEl>
                                          <p:spTgt spid="43"/>
                                        </p:tgtEl>
                                        <p:attrNameLst>
                                          <p:attrName>style.visibility</p:attrName>
                                        </p:attrNameLst>
                                      </p:cBhvr>
                                      <p:to>
                                        <p:strVal val="visible"/>
                                      </p:to>
                                    </p:set>
                                    <p:animEffect transition="in" filter="fade">
                                      <p:cBhvr>
                                        <p:cTn id="73" dur="500"/>
                                        <p:tgtEl>
                                          <p:spTgt spid="43"/>
                                        </p:tgtEl>
                                      </p:cBhvr>
                                    </p:animEffect>
                                  </p:childTnLst>
                                </p:cTn>
                              </p:par>
                              <p:par>
                                <p:cTn id="74" presetID="10" presetClass="entr" presetSubtype="0" fill="hold" grpId="0" nodeType="withEffect">
                                  <p:stCondLst>
                                    <p:cond delay="0"/>
                                  </p:stCondLst>
                                  <p:childTnLst>
                                    <p:set>
                                      <p:cBhvr>
                                        <p:cTn id="75" dur="1" fill="hold">
                                          <p:stCondLst>
                                            <p:cond delay="0"/>
                                          </p:stCondLst>
                                        </p:cTn>
                                        <p:tgtEl>
                                          <p:spTgt spid="44"/>
                                        </p:tgtEl>
                                        <p:attrNameLst>
                                          <p:attrName>style.visibility</p:attrName>
                                        </p:attrNameLst>
                                      </p:cBhvr>
                                      <p:to>
                                        <p:strVal val="visible"/>
                                      </p:to>
                                    </p:set>
                                    <p:animEffect transition="in" filter="fade">
                                      <p:cBhvr>
                                        <p:cTn id="76" dur="500"/>
                                        <p:tgtEl>
                                          <p:spTgt spid="44"/>
                                        </p:tgtEl>
                                      </p:cBhvr>
                                    </p:animEffect>
                                  </p:childTnLst>
                                </p:cTn>
                              </p:par>
                            </p:childTnLst>
                          </p:cTn>
                        </p:par>
                        <p:par>
                          <p:cTn id="77" fill="hold">
                            <p:stCondLst>
                              <p:cond delay="4000"/>
                            </p:stCondLst>
                            <p:childTnLst>
                              <p:par>
                                <p:cTn id="78" presetID="10" presetClass="entr" presetSubtype="0" fill="hold" grpId="0" nodeType="afterEffect">
                                  <p:stCondLst>
                                    <p:cond delay="0"/>
                                  </p:stCondLst>
                                  <p:childTnLst>
                                    <p:set>
                                      <p:cBhvr>
                                        <p:cTn id="79" dur="1" fill="hold">
                                          <p:stCondLst>
                                            <p:cond delay="0"/>
                                          </p:stCondLst>
                                        </p:cTn>
                                        <p:tgtEl>
                                          <p:spTgt spid="33"/>
                                        </p:tgtEl>
                                        <p:attrNameLst>
                                          <p:attrName>style.visibility</p:attrName>
                                        </p:attrNameLst>
                                      </p:cBhvr>
                                      <p:to>
                                        <p:strVal val="visible"/>
                                      </p:to>
                                    </p:set>
                                    <p:animEffect transition="in" filter="fade">
                                      <p:cBhvr>
                                        <p:cTn id="80" dur="500"/>
                                        <p:tgtEl>
                                          <p:spTgt spid="33"/>
                                        </p:tgtEl>
                                      </p:cBhvr>
                                    </p:animEffect>
                                  </p:childTnLst>
                                </p:cTn>
                              </p:par>
                              <p:par>
                                <p:cTn id="81" presetID="10" presetClass="entr" presetSubtype="0" fill="hold" grpId="0" nodeType="withEffect">
                                  <p:stCondLst>
                                    <p:cond delay="0"/>
                                  </p:stCondLst>
                                  <p:childTnLst>
                                    <p:set>
                                      <p:cBhvr>
                                        <p:cTn id="82" dur="1" fill="hold">
                                          <p:stCondLst>
                                            <p:cond delay="0"/>
                                          </p:stCondLst>
                                        </p:cTn>
                                        <p:tgtEl>
                                          <p:spTgt spid="36"/>
                                        </p:tgtEl>
                                        <p:attrNameLst>
                                          <p:attrName>style.visibility</p:attrName>
                                        </p:attrNameLst>
                                      </p:cBhvr>
                                      <p:to>
                                        <p:strVal val="visible"/>
                                      </p:to>
                                    </p:set>
                                    <p:animEffect transition="in" filter="fade">
                                      <p:cBhvr>
                                        <p:cTn id="83" dur="500"/>
                                        <p:tgtEl>
                                          <p:spTgt spid="36"/>
                                        </p:tgtEl>
                                      </p:cBhvr>
                                    </p:animEffect>
                                  </p:childTnLst>
                                </p:cTn>
                              </p:par>
                              <p:par>
                                <p:cTn id="84" presetID="10" presetClass="entr" presetSubtype="0" fill="hold" grpId="0" nodeType="withEffect">
                                  <p:stCondLst>
                                    <p:cond delay="0"/>
                                  </p:stCondLst>
                                  <p:childTnLst>
                                    <p:set>
                                      <p:cBhvr>
                                        <p:cTn id="85" dur="1" fill="hold">
                                          <p:stCondLst>
                                            <p:cond delay="0"/>
                                          </p:stCondLst>
                                        </p:cTn>
                                        <p:tgtEl>
                                          <p:spTgt spid="39"/>
                                        </p:tgtEl>
                                        <p:attrNameLst>
                                          <p:attrName>style.visibility</p:attrName>
                                        </p:attrNameLst>
                                      </p:cBhvr>
                                      <p:to>
                                        <p:strVal val="visible"/>
                                      </p:to>
                                    </p:set>
                                    <p:animEffect transition="in" filter="fade">
                                      <p:cBhvr>
                                        <p:cTn id="86" dur="500"/>
                                        <p:tgtEl>
                                          <p:spTgt spid="39"/>
                                        </p:tgtEl>
                                      </p:cBhvr>
                                    </p:animEffect>
                                  </p:childTnLst>
                                </p:cTn>
                              </p:par>
                              <p:par>
                                <p:cTn id="87" presetID="10" presetClass="entr" presetSubtype="0" fill="hold" grpId="0" nodeType="withEffect">
                                  <p:stCondLst>
                                    <p:cond delay="0"/>
                                  </p:stCondLst>
                                  <p:childTnLst>
                                    <p:set>
                                      <p:cBhvr>
                                        <p:cTn id="88" dur="1" fill="hold">
                                          <p:stCondLst>
                                            <p:cond delay="0"/>
                                          </p:stCondLst>
                                        </p:cTn>
                                        <p:tgtEl>
                                          <p:spTgt spid="34"/>
                                        </p:tgtEl>
                                        <p:attrNameLst>
                                          <p:attrName>style.visibility</p:attrName>
                                        </p:attrNameLst>
                                      </p:cBhvr>
                                      <p:to>
                                        <p:strVal val="visible"/>
                                      </p:to>
                                    </p:set>
                                    <p:animEffect transition="in" filter="fade">
                                      <p:cBhvr>
                                        <p:cTn id="89" dur="500"/>
                                        <p:tgtEl>
                                          <p:spTgt spid="34"/>
                                        </p:tgtEl>
                                      </p:cBhvr>
                                    </p:animEffect>
                                  </p:childTnLst>
                                </p:cTn>
                              </p:par>
                              <p:par>
                                <p:cTn id="90" presetID="10" presetClass="entr" presetSubtype="0" fill="hold" grpId="0" nodeType="withEffect">
                                  <p:stCondLst>
                                    <p:cond delay="0"/>
                                  </p:stCondLst>
                                  <p:childTnLst>
                                    <p:set>
                                      <p:cBhvr>
                                        <p:cTn id="91" dur="1" fill="hold">
                                          <p:stCondLst>
                                            <p:cond delay="0"/>
                                          </p:stCondLst>
                                        </p:cTn>
                                        <p:tgtEl>
                                          <p:spTgt spid="37"/>
                                        </p:tgtEl>
                                        <p:attrNameLst>
                                          <p:attrName>style.visibility</p:attrName>
                                        </p:attrNameLst>
                                      </p:cBhvr>
                                      <p:to>
                                        <p:strVal val="visible"/>
                                      </p:to>
                                    </p:set>
                                    <p:animEffect transition="in" filter="fade">
                                      <p:cBhvr>
                                        <p:cTn id="92" dur="500"/>
                                        <p:tgtEl>
                                          <p:spTgt spid="37"/>
                                        </p:tgtEl>
                                      </p:cBhvr>
                                    </p:animEffect>
                                  </p:childTnLst>
                                </p:cTn>
                              </p:par>
                              <p:par>
                                <p:cTn id="93" presetID="10" presetClass="entr" presetSubtype="0" fill="hold" grpId="0" nodeType="withEffect">
                                  <p:stCondLst>
                                    <p:cond delay="0"/>
                                  </p:stCondLst>
                                  <p:childTnLst>
                                    <p:set>
                                      <p:cBhvr>
                                        <p:cTn id="94" dur="1" fill="hold">
                                          <p:stCondLst>
                                            <p:cond delay="0"/>
                                          </p:stCondLst>
                                        </p:cTn>
                                        <p:tgtEl>
                                          <p:spTgt spid="40"/>
                                        </p:tgtEl>
                                        <p:attrNameLst>
                                          <p:attrName>style.visibility</p:attrName>
                                        </p:attrNameLst>
                                      </p:cBhvr>
                                      <p:to>
                                        <p:strVal val="visible"/>
                                      </p:to>
                                    </p:set>
                                    <p:animEffect transition="in" filter="fade">
                                      <p:cBhvr>
                                        <p:cTn id="95" dur="500"/>
                                        <p:tgtEl>
                                          <p:spTgt spid="4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3" grpId="0" animBg="1"/>
      <p:bldP spid="7" grpId="0"/>
      <p:bldP spid="11" grpId="0"/>
      <p:bldP spid="12" grpId="0"/>
      <p:bldP spid="13" grpId="0"/>
      <p:bldP spid="14" grpId="0"/>
      <p:bldP spid="15" grpId="0"/>
      <p:bldP spid="16" grpId="0"/>
      <p:bldP spid="17" grpId="0" animBg="1"/>
      <p:bldP spid="31" grpId="0"/>
      <p:bldP spid="32" grpId="0"/>
      <p:bldP spid="33" grpId="0"/>
      <p:bldP spid="34" grpId="0"/>
      <p:bldGraphic spid="35" grpId="0">
        <p:bldAsOne/>
      </p:bldGraphic>
      <p:bldP spid="36" grpId="0"/>
      <p:bldP spid="37" grpId="0"/>
      <p:bldGraphic spid="38" grpId="0">
        <p:bldAsOne/>
      </p:bldGraphic>
      <p:bldP spid="39" grpId="0"/>
      <p:bldP spid="40" grpId="0"/>
      <p:bldGraphic spid="41" grpId="0">
        <p:bldAsOne/>
      </p:bldGraphic>
      <p:bldP spid="42" grpId="0"/>
      <p:bldP spid="43" grpId="0"/>
      <p:bldP spid="44" grpId="0"/>
    </p:bldLst>
  </p:timing>
</p:sld>
</file>

<file path=ppt/slides/slide6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Shape 57">
            <a:extLst>
              <a:ext uri="{FF2B5EF4-FFF2-40B4-BE49-F238E27FC236}">
                <a16:creationId xmlns:a16="http://schemas.microsoft.com/office/drawing/2014/main" id="{E6C28797-4351-4A22-83AF-E8A83C634846}"/>
              </a:ext>
            </a:extLst>
          </p:cNvPr>
          <p:cNvSpPr/>
          <p:nvPr/>
        </p:nvSpPr>
        <p:spPr>
          <a:xfrm>
            <a:off x="2369453" y="2190353"/>
            <a:ext cx="1303384" cy="4685122"/>
          </a:xfrm>
          <a:custGeom>
            <a:avLst/>
            <a:gdLst>
              <a:gd name="connsiteX0" fmla="*/ 156310 w 673510"/>
              <a:gd name="connsiteY0" fmla="*/ 1994097 h 2283728"/>
              <a:gd name="connsiteX1" fmla="*/ 141368 w 673510"/>
              <a:gd name="connsiteY1" fmla="*/ 2092939 h 2283728"/>
              <a:gd name="connsiteX2" fmla="*/ 98843 w 673510"/>
              <a:gd name="connsiteY2" fmla="*/ 2176841 h 2283728"/>
              <a:gd name="connsiteX3" fmla="*/ 0 w 673510"/>
              <a:gd name="connsiteY3" fmla="*/ 2283729 h 2283728"/>
              <a:gd name="connsiteX4" fmla="*/ 166653 w 673510"/>
              <a:gd name="connsiteY4" fmla="*/ 2280281 h 2283728"/>
              <a:gd name="connsiteX5" fmla="*/ 179296 w 673510"/>
              <a:gd name="connsiteY5" fmla="*/ 2279132 h 2283728"/>
              <a:gd name="connsiteX6" fmla="*/ 185043 w 673510"/>
              <a:gd name="connsiteY6" fmla="*/ 2279132 h 2283728"/>
              <a:gd name="connsiteX7" fmla="*/ 208030 w 673510"/>
              <a:gd name="connsiteY7" fmla="*/ 2279132 h 2283728"/>
              <a:gd name="connsiteX8" fmla="*/ 236763 w 673510"/>
              <a:gd name="connsiteY8" fmla="*/ 2279132 h 2283728"/>
              <a:gd name="connsiteX9" fmla="*/ 267795 w 673510"/>
              <a:gd name="connsiteY9" fmla="*/ 2279132 h 2283728"/>
              <a:gd name="connsiteX10" fmla="*/ 340203 w 673510"/>
              <a:gd name="connsiteY10" fmla="*/ 2279132 h 2283728"/>
              <a:gd name="connsiteX11" fmla="*/ 343651 w 673510"/>
              <a:gd name="connsiteY11" fmla="*/ 2279132 h 2283728"/>
              <a:gd name="connsiteX12" fmla="*/ 445942 w 673510"/>
              <a:gd name="connsiteY12" fmla="*/ 2279132 h 2283728"/>
              <a:gd name="connsiteX13" fmla="*/ 476974 w 673510"/>
              <a:gd name="connsiteY13" fmla="*/ 2279132 h 2283728"/>
              <a:gd name="connsiteX14" fmla="*/ 494214 w 673510"/>
              <a:gd name="connsiteY14" fmla="*/ 2279132 h 2283728"/>
              <a:gd name="connsiteX15" fmla="*/ 506857 w 673510"/>
              <a:gd name="connsiteY15" fmla="*/ 2280281 h 2283728"/>
              <a:gd name="connsiteX16" fmla="*/ 673510 w 673510"/>
              <a:gd name="connsiteY16" fmla="*/ 2283729 h 2283728"/>
              <a:gd name="connsiteX17" fmla="*/ 580414 w 673510"/>
              <a:gd name="connsiteY17" fmla="*/ 2168795 h 2283728"/>
              <a:gd name="connsiteX18" fmla="*/ 529843 w 673510"/>
              <a:gd name="connsiteY18" fmla="*/ 1989499 h 2283728"/>
              <a:gd name="connsiteX19" fmla="*/ 528694 w 673510"/>
              <a:gd name="connsiteY19" fmla="*/ 1768827 h 2283728"/>
              <a:gd name="connsiteX20" fmla="*/ 496513 w 673510"/>
              <a:gd name="connsiteY20" fmla="*/ 0 h 2283728"/>
              <a:gd name="connsiteX21" fmla="*/ 151712 w 673510"/>
              <a:gd name="connsiteY21" fmla="*/ 0 h 2283728"/>
              <a:gd name="connsiteX22" fmla="*/ 156310 w 673510"/>
              <a:gd name="connsiteY22" fmla="*/ 1994097 h 2283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673510" h="2283728">
                <a:moveTo>
                  <a:pt x="156310" y="1994097"/>
                </a:moveTo>
                <a:cubicBezTo>
                  <a:pt x="152861" y="2038921"/>
                  <a:pt x="148264" y="2075699"/>
                  <a:pt x="141368" y="2092939"/>
                </a:cubicBezTo>
                <a:cubicBezTo>
                  <a:pt x="129875" y="2125121"/>
                  <a:pt x="114933" y="2152705"/>
                  <a:pt x="98843" y="2176841"/>
                </a:cubicBezTo>
                <a:cubicBezTo>
                  <a:pt x="68960" y="2221665"/>
                  <a:pt x="36779" y="2261892"/>
                  <a:pt x="0" y="2283729"/>
                </a:cubicBezTo>
                <a:cubicBezTo>
                  <a:pt x="55168" y="2277982"/>
                  <a:pt x="110336" y="2276833"/>
                  <a:pt x="166653" y="2280281"/>
                </a:cubicBezTo>
                <a:cubicBezTo>
                  <a:pt x="171251" y="2280281"/>
                  <a:pt x="175848" y="2280281"/>
                  <a:pt x="179296" y="2279132"/>
                </a:cubicBezTo>
                <a:lnTo>
                  <a:pt x="185043" y="2279132"/>
                </a:lnTo>
                <a:lnTo>
                  <a:pt x="208030" y="2279132"/>
                </a:lnTo>
                <a:lnTo>
                  <a:pt x="236763" y="2279132"/>
                </a:lnTo>
                <a:lnTo>
                  <a:pt x="267795" y="2279132"/>
                </a:lnTo>
                <a:lnTo>
                  <a:pt x="340203" y="2279132"/>
                </a:lnTo>
                <a:lnTo>
                  <a:pt x="343651" y="2279132"/>
                </a:lnTo>
                <a:lnTo>
                  <a:pt x="445942" y="2279132"/>
                </a:lnTo>
                <a:lnTo>
                  <a:pt x="476974" y="2279132"/>
                </a:lnTo>
                <a:lnTo>
                  <a:pt x="494214" y="2279132"/>
                </a:lnTo>
                <a:cubicBezTo>
                  <a:pt x="498811" y="2280281"/>
                  <a:pt x="503409" y="2280281"/>
                  <a:pt x="506857" y="2280281"/>
                </a:cubicBezTo>
                <a:cubicBezTo>
                  <a:pt x="562025" y="2276833"/>
                  <a:pt x="618342" y="2279132"/>
                  <a:pt x="673510" y="2283729"/>
                </a:cubicBezTo>
                <a:cubicBezTo>
                  <a:pt x="653972" y="2272235"/>
                  <a:pt x="613745" y="2217068"/>
                  <a:pt x="580414" y="2168795"/>
                </a:cubicBezTo>
                <a:cubicBezTo>
                  <a:pt x="548233" y="2121673"/>
                  <a:pt x="529843" y="2056161"/>
                  <a:pt x="529843" y="1989499"/>
                </a:cubicBezTo>
                <a:cubicBezTo>
                  <a:pt x="528694" y="1896403"/>
                  <a:pt x="528694" y="1772275"/>
                  <a:pt x="528694" y="1768827"/>
                </a:cubicBezTo>
                <a:cubicBezTo>
                  <a:pt x="525246" y="1535512"/>
                  <a:pt x="506857" y="699945"/>
                  <a:pt x="496513" y="0"/>
                </a:cubicBezTo>
                <a:lnTo>
                  <a:pt x="151712" y="0"/>
                </a:lnTo>
                <a:cubicBezTo>
                  <a:pt x="154011" y="609148"/>
                  <a:pt x="156310" y="1522869"/>
                  <a:pt x="156310" y="1994097"/>
                </a:cubicBezTo>
                <a:close/>
              </a:path>
            </a:pathLst>
          </a:custGeom>
          <a:solidFill>
            <a:srgbClr val="7A5330"/>
          </a:solidFill>
          <a:ln w="1149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 name="Freeform: Shape 58">
            <a:extLst>
              <a:ext uri="{FF2B5EF4-FFF2-40B4-BE49-F238E27FC236}">
                <a16:creationId xmlns:a16="http://schemas.microsoft.com/office/drawing/2014/main" id="{180D49CB-616E-4BA2-B79E-0B23898EC8BA}"/>
              </a:ext>
            </a:extLst>
          </p:cNvPr>
          <p:cNvSpPr/>
          <p:nvPr/>
        </p:nvSpPr>
        <p:spPr>
          <a:xfrm>
            <a:off x="237201" y="4556641"/>
            <a:ext cx="5567883" cy="713771"/>
          </a:xfrm>
          <a:custGeom>
            <a:avLst/>
            <a:gdLst>
              <a:gd name="connsiteX0" fmla="*/ 2833111 w 2833110"/>
              <a:gd name="connsiteY0" fmla="*/ 0 h 363189"/>
              <a:gd name="connsiteX1" fmla="*/ 2833111 w 2833110"/>
              <a:gd name="connsiteY1" fmla="*/ 2298 h 363189"/>
              <a:gd name="connsiteX2" fmla="*/ 2421649 w 2833110"/>
              <a:gd name="connsiteY2" fmla="*/ 363190 h 363189"/>
              <a:gd name="connsiteX3" fmla="*/ 411462 w 2833110"/>
              <a:gd name="connsiteY3" fmla="*/ 363190 h 363189"/>
              <a:gd name="connsiteX4" fmla="*/ 0 w 2833110"/>
              <a:gd name="connsiteY4" fmla="*/ 2298 h 363189"/>
              <a:gd name="connsiteX5" fmla="*/ 0 w 2833110"/>
              <a:gd name="connsiteY5" fmla="*/ 0 h 363189"/>
              <a:gd name="connsiteX6" fmla="*/ 2833111 w 2833110"/>
              <a:gd name="connsiteY6" fmla="*/ 0 h 363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33110" h="363189">
                <a:moveTo>
                  <a:pt x="2833111" y="0"/>
                </a:moveTo>
                <a:cubicBezTo>
                  <a:pt x="2833111" y="1149"/>
                  <a:pt x="2833111" y="1149"/>
                  <a:pt x="2833111" y="2298"/>
                </a:cubicBezTo>
                <a:cubicBezTo>
                  <a:pt x="2797481" y="201134"/>
                  <a:pt x="2628529" y="353995"/>
                  <a:pt x="2421649" y="363190"/>
                </a:cubicBezTo>
                <a:lnTo>
                  <a:pt x="411462" y="363190"/>
                </a:lnTo>
                <a:cubicBezTo>
                  <a:pt x="205731" y="353995"/>
                  <a:pt x="35629" y="201134"/>
                  <a:pt x="0" y="2298"/>
                </a:cubicBezTo>
                <a:cubicBezTo>
                  <a:pt x="0" y="1149"/>
                  <a:pt x="0" y="1149"/>
                  <a:pt x="0" y="0"/>
                </a:cubicBezTo>
                <a:lnTo>
                  <a:pt x="2833111" y="0"/>
                </a:lnTo>
                <a:close/>
              </a:path>
            </a:pathLst>
          </a:custGeom>
          <a:solidFill>
            <a:schemeClr val="accent5"/>
          </a:solidFill>
          <a:ln w="1149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nvGrpSpPr>
          <p:cNvPr id="4" name="Group 5">
            <a:extLst>
              <a:ext uri="{FF2B5EF4-FFF2-40B4-BE49-F238E27FC236}">
                <a16:creationId xmlns:a16="http://schemas.microsoft.com/office/drawing/2014/main" id="{E0F81C0A-0735-43CD-9E2E-2E786217430D}"/>
              </a:ext>
            </a:extLst>
          </p:cNvPr>
          <p:cNvGrpSpPr/>
          <p:nvPr/>
        </p:nvGrpSpPr>
        <p:grpSpPr>
          <a:xfrm>
            <a:off x="225909" y="3847386"/>
            <a:ext cx="5590472" cy="950944"/>
            <a:chOff x="225909" y="3847386"/>
            <a:chExt cx="5590472" cy="950944"/>
          </a:xfrm>
          <a:effectLst>
            <a:outerShdw blurRad="50800" dist="38100" dir="5400000" algn="t" rotWithShape="0">
              <a:schemeClr val="tx2">
                <a:alpha val="20000"/>
              </a:schemeClr>
            </a:outerShdw>
          </a:effectLst>
        </p:grpSpPr>
        <p:sp>
          <p:nvSpPr>
            <p:cNvPr id="5" name="Freeform: Shape 59">
              <a:extLst>
                <a:ext uri="{FF2B5EF4-FFF2-40B4-BE49-F238E27FC236}">
                  <a16:creationId xmlns:a16="http://schemas.microsoft.com/office/drawing/2014/main" id="{4B7BA27C-4214-4C2B-9268-3B6150865479}"/>
                </a:ext>
              </a:extLst>
            </p:cNvPr>
            <p:cNvSpPr/>
            <p:nvPr/>
          </p:nvSpPr>
          <p:spPr>
            <a:xfrm>
              <a:off x="225909" y="3847386"/>
              <a:ext cx="5590472" cy="713771"/>
            </a:xfrm>
            <a:custGeom>
              <a:avLst/>
              <a:gdLst>
                <a:gd name="connsiteX0" fmla="*/ 2844604 w 2844604"/>
                <a:gd name="connsiteY0" fmla="*/ 227569 h 363189"/>
                <a:gd name="connsiteX1" fmla="*/ 2844604 w 2844604"/>
                <a:gd name="connsiteY1" fmla="*/ 287334 h 363189"/>
                <a:gd name="connsiteX2" fmla="*/ 2844604 w 2844604"/>
                <a:gd name="connsiteY2" fmla="*/ 309171 h 363189"/>
                <a:gd name="connsiteX3" fmla="*/ 2838858 w 2844604"/>
                <a:gd name="connsiteY3" fmla="*/ 360892 h 363189"/>
                <a:gd name="connsiteX4" fmla="*/ 2838858 w 2844604"/>
                <a:gd name="connsiteY4" fmla="*/ 363190 h 363189"/>
                <a:gd name="connsiteX5" fmla="*/ 5747 w 2844604"/>
                <a:gd name="connsiteY5" fmla="*/ 363190 h 363189"/>
                <a:gd name="connsiteX6" fmla="*/ 5747 w 2844604"/>
                <a:gd name="connsiteY6" fmla="*/ 360892 h 363189"/>
                <a:gd name="connsiteX7" fmla="*/ 0 w 2844604"/>
                <a:gd name="connsiteY7" fmla="*/ 309171 h 363189"/>
                <a:gd name="connsiteX8" fmla="*/ 0 w 2844604"/>
                <a:gd name="connsiteY8" fmla="*/ 287334 h 363189"/>
                <a:gd name="connsiteX9" fmla="*/ 0 w 2844604"/>
                <a:gd name="connsiteY9" fmla="*/ 227569 h 363189"/>
                <a:gd name="connsiteX10" fmla="*/ 64363 w 2844604"/>
                <a:gd name="connsiteY10" fmla="*/ 0 h 363189"/>
                <a:gd name="connsiteX11" fmla="*/ 2780241 w 2844604"/>
                <a:gd name="connsiteY11" fmla="*/ 0 h 363189"/>
                <a:gd name="connsiteX12" fmla="*/ 2844604 w 2844604"/>
                <a:gd name="connsiteY12" fmla="*/ 227569 h 363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844604" h="363189">
                  <a:moveTo>
                    <a:pt x="2844604" y="227569"/>
                  </a:moveTo>
                  <a:lnTo>
                    <a:pt x="2844604" y="287334"/>
                  </a:lnTo>
                  <a:cubicBezTo>
                    <a:pt x="2844604" y="294230"/>
                    <a:pt x="2844604" y="302275"/>
                    <a:pt x="2844604" y="309171"/>
                  </a:cubicBezTo>
                  <a:cubicBezTo>
                    <a:pt x="2843455" y="326411"/>
                    <a:pt x="2842305" y="343651"/>
                    <a:pt x="2838858" y="360892"/>
                  </a:cubicBezTo>
                  <a:cubicBezTo>
                    <a:pt x="2838858" y="362041"/>
                    <a:pt x="2838858" y="362041"/>
                    <a:pt x="2838858" y="363190"/>
                  </a:cubicBezTo>
                  <a:lnTo>
                    <a:pt x="5747" y="363190"/>
                  </a:lnTo>
                  <a:cubicBezTo>
                    <a:pt x="5747" y="362041"/>
                    <a:pt x="5747" y="362041"/>
                    <a:pt x="5747" y="360892"/>
                  </a:cubicBezTo>
                  <a:cubicBezTo>
                    <a:pt x="3448" y="343651"/>
                    <a:pt x="1149" y="327561"/>
                    <a:pt x="0" y="309171"/>
                  </a:cubicBezTo>
                  <a:cubicBezTo>
                    <a:pt x="0" y="302275"/>
                    <a:pt x="0" y="294230"/>
                    <a:pt x="0" y="287334"/>
                  </a:cubicBezTo>
                  <a:lnTo>
                    <a:pt x="0" y="227569"/>
                  </a:lnTo>
                  <a:cubicBezTo>
                    <a:pt x="0" y="144816"/>
                    <a:pt x="24136" y="66662"/>
                    <a:pt x="64363" y="0"/>
                  </a:cubicBezTo>
                  <a:lnTo>
                    <a:pt x="2780241" y="0"/>
                  </a:lnTo>
                  <a:cubicBezTo>
                    <a:pt x="2820468" y="66662"/>
                    <a:pt x="2844604" y="144816"/>
                    <a:pt x="2844604" y="227569"/>
                  </a:cubicBezTo>
                  <a:close/>
                </a:path>
              </a:pathLst>
            </a:custGeom>
            <a:solidFill>
              <a:schemeClr val="accent4"/>
            </a:solidFill>
            <a:ln w="1149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6" name="Freeform: Shape 56">
              <a:extLst>
                <a:ext uri="{FF2B5EF4-FFF2-40B4-BE49-F238E27FC236}">
                  <a16:creationId xmlns:a16="http://schemas.microsoft.com/office/drawing/2014/main" id="{7FED9BD2-BBDB-4071-9517-A5AAD002EBB7}"/>
                </a:ext>
              </a:extLst>
            </p:cNvPr>
            <p:cNvSpPr/>
            <p:nvPr/>
          </p:nvSpPr>
          <p:spPr>
            <a:xfrm>
              <a:off x="883212" y="4561159"/>
              <a:ext cx="277829" cy="237171"/>
            </a:xfrm>
            <a:custGeom>
              <a:avLst/>
              <a:gdLst>
                <a:gd name="connsiteX0" fmla="*/ 141368 w 141368"/>
                <a:gd name="connsiteY0" fmla="*/ 0 h 120680"/>
                <a:gd name="connsiteX1" fmla="*/ 70109 w 141368"/>
                <a:gd name="connsiteY1" fmla="*/ 119531 h 120680"/>
                <a:gd name="connsiteX2" fmla="*/ 70109 w 141368"/>
                <a:gd name="connsiteY2" fmla="*/ 120680 h 120680"/>
                <a:gd name="connsiteX3" fmla="*/ 70109 w 141368"/>
                <a:gd name="connsiteY3" fmla="*/ 120680 h 120680"/>
                <a:gd name="connsiteX4" fmla="*/ 70109 w 141368"/>
                <a:gd name="connsiteY4" fmla="*/ 120680 h 120680"/>
                <a:gd name="connsiteX5" fmla="*/ 70109 w 141368"/>
                <a:gd name="connsiteY5" fmla="*/ 119531 h 120680"/>
                <a:gd name="connsiteX6" fmla="*/ 0 w 141368"/>
                <a:gd name="connsiteY6" fmla="*/ 0 h 120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1368" h="120680">
                  <a:moveTo>
                    <a:pt x="141368" y="0"/>
                  </a:moveTo>
                  <a:lnTo>
                    <a:pt x="70109" y="119531"/>
                  </a:lnTo>
                  <a:lnTo>
                    <a:pt x="70109" y="120680"/>
                  </a:lnTo>
                  <a:lnTo>
                    <a:pt x="70109" y="120680"/>
                  </a:lnTo>
                  <a:lnTo>
                    <a:pt x="70109" y="120680"/>
                  </a:lnTo>
                  <a:lnTo>
                    <a:pt x="70109" y="119531"/>
                  </a:lnTo>
                  <a:lnTo>
                    <a:pt x="0" y="0"/>
                  </a:lnTo>
                  <a:close/>
                </a:path>
              </a:pathLst>
            </a:custGeom>
            <a:solidFill>
              <a:schemeClr val="accent4"/>
            </a:solidFill>
            <a:ln w="1149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grpSp>
        <p:nvGrpSpPr>
          <p:cNvPr id="7" name="Group 4">
            <a:extLst>
              <a:ext uri="{FF2B5EF4-FFF2-40B4-BE49-F238E27FC236}">
                <a16:creationId xmlns:a16="http://schemas.microsoft.com/office/drawing/2014/main" id="{D4C0D04E-54B0-4E0B-9BF2-2BA78C64D571}"/>
              </a:ext>
            </a:extLst>
          </p:cNvPr>
          <p:cNvGrpSpPr/>
          <p:nvPr/>
        </p:nvGrpSpPr>
        <p:grpSpPr>
          <a:xfrm>
            <a:off x="352399" y="3133612"/>
            <a:ext cx="5337488" cy="948687"/>
            <a:chOff x="352399" y="3133612"/>
            <a:chExt cx="5337488" cy="948687"/>
          </a:xfrm>
          <a:effectLst>
            <a:outerShdw blurRad="50800" dist="38100" dir="5400000" algn="t" rotWithShape="0">
              <a:schemeClr val="tx2">
                <a:alpha val="20000"/>
              </a:schemeClr>
            </a:outerShdw>
          </a:effectLst>
        </p:grpSpPr>
        <p:sp>
          <p:nvSpPr>
            <p:cNvPr id="8" name="Freeform: Shape 60">
              <a:extLst>
                <a:ext uri="{FF2B5EF4-FFF2-40B4-BE49-F238E27FC236}">
                  <a16:creationId xmlns:a16="http://schemas.microsoft.com/office/drawing/2014/main" id="{70FF333D-4801-429E-AA97-502FC1D21A1C}"/>
                </a:ext>
              </a:extLst>
            </p:cNvPr>
            <p:cNvSpPr/>
            <p:nvPr/>
          </p:nvSpPr>
          <p:spPr>
            <a:xfrm>
              <a:off x="352399" y="3133612"/>
              <a:ext cx="5337488" cy="713771"/>
            </a:xfrm>
            <a:custGeom>
              <a:avLst/>
              <a:gdLst>
                <a:gd name="connsiteX0" fmla="*/ 2715879 w 2715878"/>
                <a:gd name="connsiteY0" fmla="*/ 363190 h 363189"/>
                <a:gd name="connsiteX1" fmla="*/ 0 w 2715878"/>
                <a:gd name="connsiteY1" fmla="*/ 363190 h 363189"/>
                <a:gd name="connsiteX2" fmla="*/ 295379 w 2715878"/>
                <a:gd name="connsiteY2" fmla="*/ 160907 h 363189"/>
                <a:gd name="connsiteX3" fmla="*/ 295379 w 2715878"/>
                <a:gd name="connsiteY3" fmla="*/ 158608 h 363189"/>
                <a:gd name="connsiteX4" fmla="*/ 333307 w 2715878"/>
                <a:gd name="connsiteY4" fmla="*/ 0 h 363189"/>
                <a:gd name="connsiteX5" fmla="*/ 2382571 w 2715878"/>
                <a:gd name="connsiteY5" fmla="*/ 0 h 363189"/>
                <a:gd name="connsiteX6" fmla="*/ 2420499 w 2715878"/>
                <a:gd name="connsiteY6" fmla="*/ 158608 h 363189"/>
                <a:gd name="connsiteX7" fmla="*/ 2420499 w 2715878"/>
                <a:gd name="connsiteY7" fmla="*/ 160907 h 363189"/>
                <a:gd name="connsiteX8" fmla="*/ 2715879 w 2715878"/>
                <a:gd name="connsiteY8" fmla="*/ 363190 h 363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15878" h="363189">
                  <a:moveTo>
                    <a:pt x="2715879" y="363190"/>
                  </a:moveTo>
                  <a:lnTo>
                    <a:pt x="0" y="363190"/>
                  </a:lnTo>
                  <a:cubicBezTo>
                    <a:pt x="64363" y="258600"/>
                    <a:pt x="171251" y="183894"/>
                    <a:pt x="295379" y="160907"/>
                  </a:cubicBezTo>
                  <a:cubicBezTo>
                    <a:pt x="295379" y="159758"/>
                    <a:pt x="295379" y="158608"/>
                    <a:pt x="295379" y="158608"/>
                  </a:cubicBezTo>
                  <a:cubicBezTo>
                    <a:pt x="297678" y="102291"/>
                    <a:pt x="311470" y="49421"/>
                    <a:pt x="333307" y="0"/>
                  </a:cubicBezTo>
                  <a:lnTo>
                    <a:pt x="2382571" y="0"/>
                  </a:lnTo>
                  <a:cubicBezTo>
                    <a:pt x="2404409" y="48272"/>
                    <a:pt x="2418201" y="102291"/>
                    <a:pt x="2420499" y="158608"/>
                  </a:cubicBezTo>
                  <a:cubicBezTo>
                    <a:pt x="2420499" y="159758"/>
                    <a:pt x="2420499" y="160907"/>
                    <a:pt x="2420499" y="160907"/>
                  </a:cubicBezTo>
                  <a:cubicBezTo>
                    <a:pt x="2544628" y="182744"/>
                    <a:pt x="2651516" y="258600"/>
                    <a:pt x="2715879" y="363190"/>
                  </a:cubicBezTo>
                  <a:close/>
                </a:path>
              </a:pathLst>
            </a:custGeom>
            <a:solidFill>
              <a:schemeClr val="accent3"/>
            </a:solidFill>
            <a:ln w="1149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9" name="Freeform: Shape 55">
              <a:extLst>
                <a:ext uri="{FF2B5EF4-FFF2-40B4-BE49-F238E27FC236}">
                  <a16:creationId xmlns:a16="http://schemas.microsoft.com/office/drawing/2014/main" id="{A64EA2EA-73D1-41D0-B838-04F38096EFBC}"/>
                </a:ext>
              </a:extLst>
            </p:cNvPr>
            <p:cNvSpPr/>
            <p:nvPr/>
          </p:nvSpPr>
          <p:spPr>
            <a:xfrm>
              <a:off x="4822518" y="3847386"/>
              <a:ext cx="277829" cy="234913"/>
            </a:xfrm>
            <a:custGeom>
              <a:avLst/>
              <a:gdLst>
                <a:gd name="connsiteX0" fmla="*/ 141368 w 141368"/>
                <a:gd name="connsiteY0" fmla="*/ 0 h 119531"/>
                <a:gd name="connsiteX1" fmla="*/ 71259 w 141368"/>
                <a:gd name="connsiteY1" fmla="*/ 119531 h 119531"/>
                <a:gd name="connsiteX2" fmla="*/ 71259 w 141368"/>
                <a:gd name="connsiteY2" fmla="*/ 119531 h 119531"/>
                <a:gd name="connsiteX3" fmla="*/ 71259 w 141368"/>
                <a:gd name="connsiteY3" fmla="*/ 119531 h 119531"/>
                <a:gd name="connsiteX4" fmla="*/ 71259 w 141368"/>
                <a:gd name="connsiteY4" fmla="*/ 119531 h 119531"/>
                <a:gd name="connsiteX5" fmla="*/ 71259 w 141368"/>
                <a:gd name="connsiteY5" fmla="*/ 119531 h 119531"/>
                <a:gd name="connsiteX6" fmla="*/ 0 w 141368"/>
                <a:gd name="connsiteY6" fmla="*/ 0 h 119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1368" h="119531">
                  <a:moveTo>
                    <a:pt x="141368" y="0"/>
                  </a:moveTo>
                  <a:lnTo>
                    <a:pt x="71259" y="119531"/>
                  </a:lnTo>
                  <a:lnTo>
                    <a:pt x="71259" y="119531"/>
                  </a:lnTo>
                  <a:lnTo>
                    <a:pt x="71259" y="119531"/>
                  </a:lnTo>
                  <a:lnTo>
                    <a:pt x="71259" y="119531"/>
                  </a:lnTo>
                  <a:lnTo>
                    <a:pt x="71259" y="119531"/>
                  </a:lnTo>
                  <a:lnTo>
                    <a:pt x="0" y="0"/>
                  </a:lnTo>
                  <a:close/>
                </a:path>
              </a:pathLst>
            </a:custGeom>
            <a:solidFill>
              <a:schemeClr val="accent3"/>
            </a:solidFill>
            <a:ln w="1149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grpSp>
        <p:nvGrpSpPr>
          <p:cNvPr id="10" name="Group 2">
            <a:extLst>
              <a:ext uri="{FF2B5EF4-FFF2-40B4-BE49-F238E27FC236}">
                <a16:creationId xmlns:a16="http://schemas.microsoft.com/office/drawing/2014/main" id="{F0DCEAE3-9987-4C4D-8E59-E38F72E9A2B5}"/>
              </a:ext>
            </a:extLst>
          </p:cNvPr>
          <p:cNvGrpSpPr/>
          <p:nvPr/>
        </p:nvGrpSpPr>
        <p:grpSpPr>
          <a:xfrm>
            <a:off x="1007444" y="2419839"/>
            <a:ext cx="4027398" cy="948684"/>
            <a:chOff x="1007444" y="2419839"/>
            <a:chExt cx="4027398" cy="948684"/>
          </a:xfrm>
          <a:effectLst>
            <a:outerShdw blurRad="50800" dist="38100" dir="5400000" algn="t" rotWithShape="0">
              <a:schemeClr val="tx2">
                <a:alpha val="20000"/>
              </a:schemeClr>
            </a:outerShdw>
          </a:effectLst>
        </p:grpSpPr>
        <p:sp>
          <p:nvSpPr>
            <p:cNvPr id="11" name="Freeform: Shape 66">
              <a:extLst>
                <a:ext uri="{FF2B5EF4-FFF2-40B4-BE49-F238E27FC236}">
                  <a16:creationId xmlns:a16="http://schemas.microsoft.com/office/drawing/2014/main" id="{E0296A06-9F67-4615-A328-1DA6E8AE7740}"/>
                </a:ext>
              </a:extLst>
            </p:cNvPr>
            <p:cNvSpPr/>
            <p:nvPr/>
          </p:nvSpPr>
          <p:spPr>
            <a:xfrm>
              <a:off x="1007444" y="2419839"/>
              <a:ext cx="4027398" cy="713771"/>
            </a:xfrm>
            <a:custGeom>
              <a:avLst/>
              <a:gdLst>
                <a:gd name="connsiteX0" fmla="*/ 2049264 w 2049264"/>
                <a:gd name="connsiteY0" fmla="*/ 363190 h 363189"/>
                <a:gd name="connsiteX1" fmla="*/ 0 w 2049264"/>
                <a:gd name="connsiteY1" fmla="*/ 363190 h 363189"/>
                <a:gd name="connsiteX2" fmla="*/ 324112 w 2049264"/>
                <a:gd name="connsiteY2" fmla="*/ 111485 h 363189"/>
                <a:gd name="connsiteX3" fmla="*/ 353995 w 2049264"/>
                <a:gd name="connsiteY3" fmla="*/ 2298 h 363189"/>
                <a:gd name="connsiteX4" fmla="*/ 355144 w 2049264"/>
                <a:gd name="connsiteY4" fmla="*/ 0 h 363189"/>
                <a:gd name="connsiteX5" fmla="*/ 1757333 w 2049264"/>
                <a:gd name="connsiteY5" fmla="*/ 0 h 363189"/>
                <a:gd name="connsiteX6" fmla="*/ 1757333 w 2049264"/>
                <a:gd name="connsiteY6" fmla="*/ 2298 h 363189"/>
                <a:gd name="connsiteX7" fmla="*/ 1763080 w 2049264"/>
                <a:gd name="connsiteY7" fmla="*/ 75856 h 363189"/>
                <a:gd name="connsiteX8" fmla="*/ 1760781 w 2049264"/>
                <a:gd name="connsiteY8" fmla="*/ 119531 h 363189"/>
                <a:gd name="connsiteX9" fmla="*/ 2049264 w 2049264"/>
                <a:gd name="connsiteY9" fmla="*/ 363190 h 363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49264" h="363189">
                  <a:moveTo>
                    <a:pt x="2049264" y="363190"/>
                  </a:moveTo>
                  <a:lnTo>
                    <a:pt x="0" y="363190"/>
                  </a:lnTo>
                  <a:cubicBezTo>
                    <a:pt x="58616" y="233315"/>
                    <a:pt x="179296" y="136771"/>
                    <a:pt x="324112" y="111485"/>
                  </a:cubicBezTo>
                  <a:cubicBezTo>
                    <a:pt x="329859" y="73557"/>
                    <a:pt x="340203" y="36779"/>
                    <a:pt x="353995" y="2298"/>
                  </a:cubicBezTo>
                  <a:cubicBezTo>
                    <a:pt x="353995" y="1149"/>
                    <a:pt x="355144" y="1149"/>
                    <a:pt x="355144" y="0"/>
                  </a:cubicBezTo>
                  <a:lnTo>
                    <a:pt x="1757333" y="0"/>
                  </a:lnTo>
                  <a:cubicBezTo>
                    <a:pt x="1757333" y="1149"/>
                    <a:pt x="1757333" y="1149"/>
                    <a:pt x="1757333" y="2298"/>
                  </a:cubicBezTo>
                  <a:cubicBezTo>
                    <a:pt x="1761931" y="26435"/>
                    <a:pt x="1763080" y="50571"/>
                    <a:pt x="1763080" y="75856"/>
                  </a:cubicBezTo>
                  <a:cubicBezTo>
                    <a:pt x="1763080" y="90797"/>
                    <a:pt x="1761931" y="105739"/>
                    <a:pt x="1760781" y="119531"/>
                  </a:cubicBezTo>
                  <a:cubicBezTo>
                    <a:pt x="1890656" y="152861"/>
                    <a:pt x="1995245" y="243659"/>
                    <a:pt x="2049264" y="363190"/>
                  </a:cubicBezTo>
                  <a:close/>
                </a:path>
              </a:pathLst>
            </a:custGeom>
            <a:solidFill>
              <a:schemeClr val="accent2"/>
            </a:solidFill>
            <a:ln w="1149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2" name="Freeform: Shape 54">
              <a:extLst>
                <a:ext uri="{FF2B5EF4-FFF2-40B4-BE49-F238E27FC236}">
                  <a16:creationId xmlns:a16="http://schemas.microsoft.com/office/drawing/2014/main" id="{5CEAA2FB-A9C7-4C31-A211-F48424B28062}"/>
                </a:ext>
              </a:extLst>
            </p:cNvPr>
            <p:cNvSpPr/>
            <p:nvPr/>
          </p:nvSpPr>
          <p:spPr>
            <a:xfrm>
              <a:off x="1262686" y="3133612"/>
              <a:ext cx="277829" cy="234911"/>
            </a:xfrm>
            <a:custGeom>
              <a:avLst/>
              <a:gdLst>
                <a:gd name="connsiteX0" fmla="*/ 141368 w 141368"/>
                <a:gd name="connsiteY0" fmla="*/ 0 h 119530"/>
                <a:gd name="connsiteX1" fmla="*/ 71259 w 141368"/>
                <a:gd name="connsiteY1" fmla="*/ 119531 h 119530"/>
                <a:gd name="connsiteX2" fmla="*/ 71259 w 141368"/>
                <a:gd name="connsiteY2" fmla="*/ 119531 h 119530"/>
                <a:gd name="connsiteX3" fmla="*/ 71259 w 141368"/>
                <a:gd name="connsiteY3" fmla="*/ 119531 h 119530"/>
                <a:gd name="connsiteX4" fmla="*/ 70109 w 141368"/>
                <a:gd name="connsiteY4" fmla="*/ 119531 h 119530"/>
                <a:gd name="connsiteX5" fmla="*/ 70109 w 141368"/>
                <a:gd name="connsiteY5" fmla="*/ 119531 h 119530"/>
                <a:gd name="connsiteX6" fmla="*/ 0 w 141368"/>
                <a:gd name="connsiteY6" fmla="*/ 0 h 1195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1368" h="119530">
                  <a:moveTo>
                    <a:pt x="141368" y="0"/>
                  </a:moveTo>
                  <a:lnTo>
                    <a:pt x="71259" y="119531"/>
                  </a:lnTo>
                  <a:lnTo>
                    <a:pt x="71259" y="119531"/>
                  </a:lnTo>
                  <a:lnTo>
                    <a:pt x="71259" y="119531"/>
                  </a:lnTo>
                  <a:lnTo>
                    <a:pt x="70109" y="119531"/>
                  </a:lnTo>
                  <a:lnTo>
                    <a:pt x="70109" y="119531"/>
                  </a:lnTo>
                  <a:lnTo>
                    <a:pt x="0" y="0"/>
                  </a:lnTo>
                  <a:close/>
                </a:path>
              </a:pathLst>
            </a:custGeom>
            <a:solidFill>
              <a:schemeClr val="accent2"/>
            </a:solidFill>
            <a:ln w="1149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sp>
        <p:nvSpPr>
          <p:cNvPr id="13" name="Title 1">
            <a:extLst>
              <a:ext uri="{FF2B5EF4-FFF2-40B4-BE49-F238E27FC236}">
                <a16:creationId xmlns:a16="http://schemas.microsoft.com/office/drawing/2014/main" id="{C728D28B-B0D7-4B11-8FA3-7A3FE29F9B76}"/>
              </a:ext>
            </a:extLst>
          </p:cNvPr>
          <p:cNvSpPr txBox="1">
            <a:spLocks/>
          </p:cNvSpPr>
          <p:nvPr/>
        </p:nvSpPr>
        <p:spPr>
          <a:xfrm>
            <a:off x="2043113" y="304800"/>
            <a:ext cx="8105775" cy="1105808"/>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ID" sz="4400" b="0" i="0" u="none" strike="noStrike" kern="1200" cap="none" spc="0" normalizeH="0" baseline="0" noProof="0">
                <a:ln>
                  <a:noFill/>
                </a:ln>
                <a:solidFill>
                  <a:srgbClr val="000000"/>
                </a:solidFill>
                <a:effectLst/>
                <a:uLnTx/>
                <a:uFillTx/>
                <a:latin typeface="等线 Light" panose="020F0302020204030204"/>
                <a:ea typeface="+mj-ea"/>
                <a:cs typeface="+mj-cs"/>
              </a:rPr>
              <a:t>Tree Infographic</a:t>
            </a:r>
          </a:p>
        </p:txBody>
      </p:sp>
      <p:grpSp>
        <p:nvGrpSpPr>
          <p:cNvPr id="14" name="Group 3">
            <a:extLst>
              <a:ext uri="{FF2B5EF4-FFF2-40B4-BE49-F238E27FC236}">
                <a16:creationId xmlns:a16="http://schemas.microsoft.com/office/drawing/2014/main" id="{C0AE158D-7A55-4711-8FBB-8ED91FE8B103}"/>
              </a:ext>
            </a:extLst>
          </p:cNvPr>
          <p:cNvGrpSpPr/>
          <p:nvPr/>
        </p:nvGrpSpPr>
        <p:grpSpPr>
          <a:xfrm>
            <a:off x="1703149" y="1583793"/>
            <a:ext cx="2760224" cy="1075474"/>
            <a:chOff x="1703149" y="1583793"/>
            <a:chExt cx="2760224" cy="1075474"/>
          </a:xfrm>
          <a:effectLst>
            <a:outerShdw blurRad="50800" dist="38100" dir="5400000" algn="t" rotWithShape="0">
              <a:schemeClr val="tx2">
                <a:alpha val="20000"/>
              </a:schemeClr>
            </a:outerShdw>
          </a:effectLst>
        </p:grpSpPr>
        <p:sp>
          <p:nvSpPr>
            <p:cNvPr id="15" name="Freeform: Shape 67">
              <a:extLst>
                <a:ext uri="{FF2B5EF4-FFF2-40B4-BE49-F238E27FC236}">
                  <a16:creationId xmlns:a16="http://schemas.microsoft.com/office/drawing/2014/main" id="{9A9A3EFE-33B6-4E09-A7C2-0D1E6A9BBB0C}"/>
                </a:ext>
              </a:extLst>
            </p:cNvPr>
            <p:cNvSpPr/>
            <p:nvPr/>
          </p:nvSpPr>
          <p:spPr>
            <a:xfrm>
              <a:off x="1703149" y="1583793"/>
              <a:ext cx="2760224" cy="838302"/>
            </a:xfrm>
            <a:custGeom>
              <a:avLst/>
              <a:gdLst>
                <a:gd name="connsiteX0" fmla="*/ 1404487 w 1404487"/>
                <a:gd name="connsiteY0" fmla="*/ 363190 h 363189"/>
                <a:gd name="connsiteX1" fmla="*/ 0 w 1404487"/>
                <a:gd name="connsiteY1" fmla="*/ 363190 h 363189"/>
                <a:gd name="connsiteX2" fmla="*/ 1149 w 1404487"/>
                <a:gd name="connsiteY2" fmla="*/ 360891 h 363189"/>
                <a:gd name="connsiteX3" fmla="*/ 402267 w 1404487"/>
                <a:gd name="connsiteY3" fmla="*/ 96544 h 363189"/>
                <a:gd name="connsiteX4" fmla="*/ 410313 w 1404487"/>
                <a:gd name="connsiteY4" fmla="*/ 96544 h 363189"/>
                <a:gd name="connsiteX5" fmla="*/ 629836 w 1404487"/>
                <a:gd name="connsiteY5" fmla="*/ 156310 h 363189"/>
                <a:gd name="connsiteX6" fmla="*/ 963143 w 1404487"/>
                <a:gd name="connsiteY6" fmla="*/ 0 h 363189"/>
                <a:gd name="connsiteX7" fmla="*/ 971188 w 1404487"/>
                <a:gd name="connsiteY7" fmla="*/ 0 h 363189"/>
                <a:gd name="connsiteX8" fmla="*/ 1280359 w 1404487"/>
                <a:gd name="connsiteY8" fmla="*/ 128725 h 363189"/>
                <a:gd name="connsiteX9" fmla="*/ 1402189 w 1404487"/>
                <a:gd name="connsiteY9" fmla="*/ 360891 h 363189"/>
                <a:gd name="connsiteX10" fmla="*/ 1404487 w 1404487"/>
                <a:gd name="connsiteY10" fmla="*/ 363190 h 363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04487" h="363189">
                  <a:moveTo>
                    <a:pt x="1404487" y="363190"/>
                  </a:moveTo>
                  <a:lnTo>
                    <a:pt x="0" y="363190"/>
                  </a:lnTo>
                  <a:cubicBezTo>
                    <a:pt x="0" y="362041"/>
                    <a:pt x="1149" y="360891"/>
                    <a:pt x="1149" y="360891"/>
                  </a:cubicBezTo>
                  <a:cubicBezTo>
                    <a:pt x="68960" y="205731"/>
                    <a:pt x="222971" y="96544"/>
                    <a:pt x="402267" y="96544"/>
                  </a:cubicBezTo>
                  <a:lnTo>
                    <a:pt x="410313" y="96544"/>
                  </a:lnTo>
                  <a:cubicBezTo>
                    <a:pt x="490766" y="96544"/>
                    <a:pt x="565473" y="118381"/>
                    <a:pt x="629836" y="156310"/>
                  </a:cubicBezTo>
                  <a:cubicBezTo>
                    <a:pt x="710289" y="60915"/>
                    <a:pt x="829820" y="0"/>
                    <a:pt x="963143" y="0"/>
                  </a:cubicBezTo>
                  <a:lnTo>
                    <a:pt x="971188" y="0"/>
                  </a:lnTo>
                  <a:cubicBezTo>
                    <a:pt x="1091868" y="0"/>
                    <a:pt x="1201055" y="49421"/>
                    <a:pt x="1280359" y="128725"/>
                  </a:cubicBezTo>
                  <a:cubicBezTo>
                    <a:pt x="1342423" y="190790"/>
                    <a:pt x="1386098" y="271243"/>
                    <a:pt x="1402189" y="360891"/>
                  </a:cubicBezTo>
                  <a:cubicBezTo>
                    <a:pt x="1403338" y="362041"/>
                    <a:pt x="1404487" y="363190"/>
                    <a:pt x="1404487" y="363190"/>
                  </a:cubicBezTo>
                  <a:close/>
                </a:path>
              </a:pathLst>
            </a:custGeom>
            <a:solidFill>
              <a:schemeClr val="accent1"/>
            </a:solidFill>
            <a:ln w="1149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6" name="Freeform: Shape 53">
              <a:extLst>
                <a:ext uri="{FF2B5EF4-FFF2-40B4-BE49-F238E27FC236}">
                  <a16:creationId xmlns:a16="http://schemas.microsoft.com/office/drawing/2014/main" id="{4B2F1D37-9972-4B37-A560-AF31A97FCFA0}"/>
                </a:ext>
              </a:extLst>
            </p:cNvPr>
            <p:cNvSpPr/>
            <p:nvPr/>
          </p:nvSpPr>
          <p:spPr>
            <a:xfrm>
              <a:off x="3937078" y="2422096"/>
              <a:ext cx="277829" cy="237171"/>
            </a:xfrm>
            <a:custGeom>
              <a:avLst/>
              <a:gdLst>
                <a:gd name="connsiteX0" fmla="*/ 141368 w 141368"/>
                <a:gd name="connsiteY0" fmla="*/ 0 h 120680"/>
                <a:gd name="connsiteX1" fmla="*/ 71259 w 141368"/>
                <a:gd name="connsiteY1" fmla="*/ 120680 h 120680"/>
                <a:gd name="connsiteX2" fmla="*/ 71259 w 141368"/>
                <a:gd name="connsiteY2" fmla="*/ 120680 h 120680"/>
                <a:gd name="connsiteX3" fmla="*/ 70110 w 141368"/>
                <a:gd name="connsiteY3" fmla="*/ 120680 h 120680"/>
                <a:gd name="connsiteX4" fmla="*/ 70110 w 141368"/>
                <a:gd name="connsiteY4" fmla="*/ 120680 h 120680"/>
                <a:gd name="connsiteX5" fmla="*/ 70110 w 141368"/>
                <a:gd name="connsiteY5" fmla="*/ 120680 h 120680"/>
                <a:gd name="connsiteX6" fmla="*/ 0 w 141368"/>
                <a:gd name="connsiteY6" fmla="*/ 0 h 120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1368" h="120680">
                  <a:moveTo>
                    <a:pt x="141368" y="0"/>
                  </a:moveTo>
                  <a:lnTo>
                    <a:pt x="71259" y="120680"/>
                  </a:lnTo>
                  <a:lnTo>
                    <a:pt x="71259" y="120680"/>
                  </a:lnTo>
                  <a:lnTo>
                    <a:pt x="70110" y="120680"/>
                  </a:lnTo>
                  <a:lnTo>
                    <a:pt x="70110" y="120680"/>
                  </a:lnTo>
                  <a:lnTo>
                    <a:pt x="70110" y="120680"/>
                  </a:lnTo>
                  <a:lnTo>
                    <a:pt x="0" y="0"/>
                  </a:lnTo>
                  <a:close/>
                </a:path>
              </a:pathLst>
            </a:custGeom>
            <a:solidFill>
              <a:schemeClr val="accent1"/>
            </a:solidFill>
            <a:ln w="1149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sp>
        <p:nvSpPr>
          <p:cNvPr id="17" name="TextBox 69">
            <a:extLst>
              <a:ext uri="{FF2B5EF4-FFF2-40B4-BE49-F238E27FC236}">
                <a16:creationId xmlns:a16="http://schemas.microsoft.com/office/drawing/2014/main" id="{84BAFA2E-7AD0-4C05-B8EA-5C1BCB4582E7}"/>
              </a:ext>
            </a:extLst>
          </p:cNvPr>
          <p:cNvSpPr txBox="1"/>
          <p:nvPr/>
        </p:nvSpPr>
        <p:spPr>
          <a:xfrm>
            <a:off x="6016940" y="1695015"/>
            <a:ext cx="3177313"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d-ID" sz="1600" b="1" i="0" u="none" strike="noStrike" kern="1200" cap="none" spc="0" normalizeH="0" baseline="0" noProof="0" dirty="0">
                <a:ln>
                  <a:noFill/>
                </a:ln>
                <a:solidFill>
                  <a:srgbClr val="000000"/>
                </a:solidFill>
                <a:effectLst/>
                <a:uLnTx/>
                <a:uFillTx/>
                <a:latin typeface="等线 Light" panose="020F0302020204030204"/>
                <a:ea typeface="+mn-ea"/>
                <a:cs typeface="+mn-cs"/>
              </a:rPr>
              <a:t>Content</a:t>
            </a:r>
          </a:p>
        </p:txBody>
      </p:sp>
      <p:sp>
        <p:nvSpPr>
          <p:cNvPr id="18" name="Rectangle 70">
            <a:extLst>
              <a:ext uri="{FF2B5EF4-FFF2-40B4-BE49-F238E27FC236}">
                <a16:creationId xmlns:a16="http://schemas.microsoft.com/office/drawing/2014/main" id="{0F1A0971-4D98-477D-B08A-4D1BADFE51D4}"/>
              </a:ext>
            </a:extLst>
          </p:cNvPr>
          <p:cNvSpPr/>
          <p:nvPr/>
        </p:nvSpPr>
        <p:spPr>
          <a:xfrm>
            <a:off x="6016941" y="1964685"/>
            <a:ext cx="5555934" cy="617157"/>
          </a:xfrm>
          <a:prstGeom prst="rect">
            <a:avLst/>
          </a:prstGeom>
        </p:spPr>
        <p:txBody>
          <a:bodyPr wrap="square">
            <a:spAutoFit/>
          </a:bodyPr>
          <a:lstStyle/>
          <a:p>
            <a:pPr marL="0" marR="0" lvl="0" indent="0" algn="just" defTabSz="914400" rtl="0" eaLnBrk="1" fontAlgn="auto" latinLnBrk="0" hangingPunct="1">
              <a:lnSpc>
                <a:spcPct val="15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等线" panose="020F0502020204030204"/>
                <a:ea typeface="+mn-ea"/>
                <a:cs typeface="+mn-cs"/>
              </a:rPr>
              <a:t>A wonderful serenity has taken possession of my entire soul, like these sweet mornings of spring which I enjoy with my whole heart. I am alone, in this amet this</a:t>
            </a:r>
            <a:endPar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19" name="TextBox 72">
            <a:extLst>
              <a:ext uri="{FF2B5EF4-FFF2-40B4-BE49-F238E27FC236}">
                <a16:creationId xmlns:a16="http://schemas.microsoft.com/office/drawing/2014/main" id="{1A0896CD-FF75-47C3-A8B4-56E4DBA09550}"/>
              </a:ext>
            </a:extLst>
          </p:cNvPr>
          <p:cNvSpPr txBox="1"/>
          <p:nvPr/>
        </p:nvSpPr>
        <p:spPr>
          <a:xfrm>
            <a:off x="2590633" y="2009324"/>
            <a:ext cx="1189505" cy="31954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F0F0F0"/>
                </a:solidFill>
                <a:effectLst/>
                <a:uLnTx/>
                <a:uFillTx/>
                <a:latin typeface="等线 Light" panose="020F0302020204030204"/>
                <a:ea typeface="+mn-ea"/>
                <a:cs typeface="+mn-cs"/>
              </a:rPr>
              <a:t>Description</a:t>
            </a:r>
            <a:endParaRPr kumimoji="0" lang="id-ID" sz="1600" b="1" i="0" u="none" strike="noStrike" kern="1200" cap="none" spc="0" normalizeH="0" baseline="0" noProof="0" dirty="0">
              <a:ln>
                <a:noFill/>
              </a:ln>
              <a:solidFill>
                <a:srgbClr val="F0F0F0"/>
              </a:solidFill>
              <a:effectLst/>
              <a:uLnTx/>
              <a:uFillTx/>
              <a:latin typeface="等线 Light" panose="020F0302020204030204"/>
              <a:ea typeface="+mn-ea"/>
              <a:cs typeface="+mn-cs"/>
            </a:endParaRPr>
          </a:p>
        </p:txBody>
      </p:sp>
      <p:sp>
        <p:nvSpPr>
          <p:cNvPr id="20" name="TextBox 73">
            <a:extLst>
              <a:ext uri="{FF2B5EF4-FFF2-40B4-BE49-F238E27FC236}">
                <a16:creationId xmlns:a16="http://schemas.microsoft.com/office/drawing/2014/main" id="{FE30ADE0-7E0D-42A4-84E5-25EC4A3E7F0B}"/>
              </a:ext>
            </a:extLst>
          </p:cNvPr>
          <p:cNvSpPr txBox="1"/>
          <p:nvPr/>
        </p:nvSpPr>
        <p:spPr>
          <a:xfrm>
            <a:off x="2590633" y="2671700"/>
            <a:ext cx="1189505" cy="31954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F0F0F0"/>
                </a:solidFill>
                <a:effectLst/>
                <a:uLnTx/>
                <a:uFillTx/>
                <a:latin typeface="等线 Light" panose="020F0302020204030204"/>
                <a:ea typeface="+mn-ea"/>
                <a:cs typeface="+mn-cs"/>
              </a:rPr>
              <a:t>Description</a:t>
            </a:r>
            <a:endParaRPr kumimoji="0" lang="id-ID" sz="1600" b="1" i="0" u="none" strike="noStrike" kern="1200" cap="none" spc="0" normalizeH="0" baseline="0" noProof="0" dirty="0">
              <a:ln>
                <a:noFill/>
              </a:ln>
              <a:solidFill>
                <a:srgbClr val="F0F0F0"/>
              </a:solidFill>
              <a:effectLst/>
              <a:uLnTx/>
              <a:uFillTx/>
              <a:latin typeface="等线 Light" panose="020F0302020204030204"/>
              <a:ea typeface="+mn-ea"/>
              <a:cs typeface="+mn-cs"/>
            </a:endParaRPr>
          </a:p>
        </p:txBody>
      </p:sp>
      <p:sp>
        <p:nvSpPr>
          <p:cNvPr id="21" name="TextBox 74">
            <a:extLst>
              <a:ext uri="{FF2B5EF4-FFF2-40B4-BE49-F238E27FC236}">
                <a16:creationId xmlns:a16="http://schemas.microsoft.com/office/drawing/2014/main" id="{71696341-F57D-46E5-B4CD-EC70E0D30500}"/>
              </a:ext>
            </a:extLst>
          </p:cNvPr>
          <p:cNvSpPr txBox="1"/>
          <p:nvPr/>
        </p:nvSpPr>
        <p:spPr>
          <a:xfrm>
            <a:off x="2590633" y="3359806"/>
            <a:ext cx="1189505" cy="31954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F0F0F0"/>
                </a:solidFill>
                <a:effectLst/>
                <a:uLnTx/>
                <a:uFillTx/>
                <a:latin typeface="等线 Light" panose="020F0302020204030204"/>
                <a:ea typeface="+mn-ea"/>
                <a:cs typeface="+mn-cs"/>
              </a:rPr>
              <a:t>Description</a:t>
            </a:r>
            <a:endParaRPr kumimoji="0" lang="id-ID" sz="1600" b="1" i="0" u="none" strike="noStrike" kern="1200" cap="none" spc="0" normalizeH="0" baseline="0" noProof="0" dirty="0">
              <a:ln>
                <a:noFill/>
              </a:ln>
              <a:solidFill>
                <a:srgbClr val="F0F0F0"/>
              </a:solidFill>
              <a:effectLst/>
              <a:uLnTx/>
              <a:uFillTx/>
              <a:latin typeface="等线 Light" panose="020F0302020204030204"/>
              <a:ea typeface="+mn-ea"/>
              <a:cs typeface="+mn-cs"/>
            </a:endParaRPr>
          </a:p>
        </p:txBody>
      </p:sp>
      <p:sp>
        <p:nvSpPr>
          <p:cNvPr id="22" name="TextBox 75">
            <a:extLst>
              <a:ext uri="{FF2B5EF4-FFF2-40B4-BE49-F238E27FC236}">
                <a16:creationId xmlns:a16="http://schemas.microsoft.com/office/drawing/2014/main" id="{27A68BD5-27A1-4A28-BF9C-71F2F6D38834}"/>
              </a:ext>
            </a:extLst>
          </p:cNvPr>
          <p:cNvSpPr txBox="1"/>
          <p:nvPr/>
        </p:nvSpPr>
        <p:spPr>
          <a:xfrm>
            <a:off x="2590633" y="4012831"/>
            <a:ext cx="1189505" cy="31954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F0F0F0"/>
                </a:solidFill>
                <a:effectLst/>
                <a:uLnTx/>
                <a:uFillTx/>
                <a:latin typeface="等线 Light" panose="020F0302020204030204"/>
                <a:ea typeface="+mn-ea"/>
                <a:cs typeface="+mn-cs"/>
              </a:rPr>
              <a:t>Description</a:t>
            </a:r>
            <a:endParaRPr kumimoji="0" lang="id-ID" sz="1600" b="1" i="0" u="none" strike="noStrike" kern="1200" cap="none" spc="0" normalizeH="0" baseline="0" noProof="0" dirty="0">
              <a:ln>
                <a:noFill/>
              </a:ln>
              <a:solidFill>
                <a:srgbClr val="F0F0F0"/>
              </a:solidFill>
              <a:effectLst/>
              <a:uLnTx/>
              <a:uFillTx/>
              <a:latin typeface="等线 Light" panose="020F0302020204030204"/>
              <a:ea typeface="+mn-ea"/>
              <a:cs typeface="+mn-cs"/>
            </a:endParaRPr>
          </a:p>
        </p:txBody>
      </p:sp>
      <p:sp>
        <p:nvSpPr>
          <p:cNvPr id="23" name="TextBox 89">
            <a:extLst>
              <a:ext uri="{FF2B5EF4-FFF2-40B4-BE49-F238E27FC236}">
                <a16:creationId xmlns:a16="http://schemas.microsoft.com/office/drawing/2014/main" id="{8704A6A8-937E-4021-91B7-7999135ECD19}"/>
              </a:ext>
            </a:extLst>
          </p:cNvPr>
          <p:cNvSpPr txBox="1"/>
          <p:nvPr/>
        </p:nvSpPr>
        <p:spPr>
          <a:xfrm>
            <a:off x="2590633" y="4667647"/>
            <a:ext cx="1189505" cy="31954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F0F0F0"/>
                </a:solidFill>
                <a:effectLst/>
                <a:uLnTx/>
                <a:uFillTx/>
                <a:latin typeface="等线 Light" panose="020F0302020204030204"/>
                <a:ea typeface="+mn-ea"/>
                <a:cs typeface="+mn-cs"/>
              </a:rPr>
              <a:t>Description</a:t>
            </a:r>
            <a:endParaRPr kumimoji="0" lang="id-ID" sz="1600" b="1" i="0" u="none" strike="noStrike" kern="1200" cap="none" spc="0" normalizeH="0" baseline="0" noProof="0" dirty="0">
              <a:ln>
                <a:noFill/>
              </a:ln>
              <a:solidFill>
                <a:srgbClr val="F0F0F0"/>
              </a:solidFill>
              <a:effectLst/>
              <a:uLnTx/>
              <a:uFillTx/>
              <a:latin typeface="等线 Light" panose="020F0302020204030204"/>
              <a:ea typeface="+mn-ea"/>
              <a:cs typeface="+mn-cs"/>
            </a:endParaRPr>
          </a:p>
        </p:txBody>
      </p:sp>
      <p:sp>
        <p:nvSpPr>
          <p:cNvPr id="24" name="Freeform: Shape 22">
            <a:extLst>
              <a:ext uri="{FF2B5EF4-FFF2-40B4-BE49-F238E27FC236}">
                <a16:creationId xmlns:a16="http://schemas.microsoft.com/office/drawing/2014/main" id="{326CF970-2842-47B4-BD2D-C73C72249748}"/>
              </a:ext>
            </a:extLst>
          </p:cNvPr>
          <p:cNvSpPr/>
          <p:nvPr/>
        </p:nvSpPr>
        <p:spPr>
          <a:xfrm>
            <a:off x="2174226" y="1977238"/>
            <a:ext cx="271668" cy="383712"/>
          </a:xfrm>
          <a:custGeom>
            <a:avLst/>
            <a:gdLst>
              <a:gd name="connsiteX0" fmla="*/ 337185 w 674370"/>
              <a:gd name="connsiteY0" fmla="*/ 0 h 952500"/>
              <a:gd name="connsiteX1" fmla="*/ 0 w 674370"/>
              <a:gd name="connsiteY1" fmla="*/ 615315 h 952500"/>
              <a:gd name="connsiteX2" fmla="*/ 337185 w 674370"/>
              <a:gd name="connsiteY2" fmla="*/ 952500 h 952500"/>
              <a:gd name="connsiteX3" fmla="*/ 674370 w 674370"/>
              <a:gd name="connsiteY3" fmla="*/ 615315 h 952500"/>
              <a:gd name="connsiteX4" fmla="*/ 337185 w 674370"/>
              <a:gd name="connsiteY4" fmla="*/ 0 h 952500"/>
              <a:gd name="connsiteX5" fmla="*/ 332423 w 674370"/>
              <a:gd name="connsiteY5" fmla="*/ 876300 h 952500"/>
              <a:gd name="connsiteX6" fmla="*/ 76200 w 674370"/>
              <a:gd name="connsiteY6" fmla="*/ 654368 h 952500"/>
              <a:gd name="connsiteX7" fmla="*/ 121920 w 674370"/>
              <a:gd name="connsiteY7" fmla="*/ 641985 h 952500"/>
              <a:gd name="connsiteX8" fmla="*/ 341948 w 674370"/>
              <a:gd name="connsiteY8" fmla="*/ 830580 h 952500"/>
              <a:gd name="connsiteX9" fmla="*/ 332423 w 674370"/>
              <a:gd name="connsiteY9" fmla="*/ 876300 h 952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74370" h="952500">
                <a:moveTo>
                  <a:pt x="337185" y="0"/>
                </a:moveTo>
                <a:cubicBezTo>
                  <a:pt x="337185" y="0"/>
                  <a:pt x="0" y="429578"/>
                  <a:pt x="0" y="615315"/>
                </a:cubicBezTo>
                <a:cubicBezTo>
                  <a:pt x="0" y="801053"/>
                  <a:pt x="150495" y="952500"/>
                  <a:pt x="337185" y="952500"/>
                </a:cubicBezTo>
                <a:cubicBezTo>
                  <a:pt x="522923" y="952500"/>
                  <a:pt x="674370" y="802005"/>
                  <a:pt x="674370" y="615315"/>
                </a:cubicBezTo>
                <a:cubicBezTo>
                  <a:pt x="674370" y="429578"/>
                  <a:pt x="337185" y="0"/>
                  <a:pt x="337185" y="0"/>
                </a:cubicBezTo>
                <a:close/>
                <a:moveTo>
                  <a:pt x="332423" y="876300"/>
                </a:moveTo>
                <a:cubicBezTo>
                  <a:pt x="128588" y="834390"/>
                  <a:pt x="78105" y="661988"/>
                  <a:pt x="76200" y="654368"/>
                </a:cubicBezTo>
                <a:lnTo>
                  <a:pt x="121920" y="641985"/>
                </a:lnTo>
                <a:cubicBezTo>
                  <a:pt x="123825" y="648653"/>
                  <a:pt x="167640" y="794385"/>
                  <a:pt x="341948" y="830580"/>
                </a:cubicBezTo>
                <a:lnTo>
                  <a:pt x="332423" y="876300"/>
                </a:lnTo>
                <a:close/>
              </a:path>
            </a:pathLst>
          </a:custGeom>
          <a:solidFill>
            <a:schemeClr val="bg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nvGrpSpPr>
          <p:cNvPr id="25" name="Graphic 1">
            <a:extLst>
              <a:ext uri="{FF2B5EF4-FFF2-40B4-BE49-F238E27FC236}">
                <a16:creationId xmlns:a16="http://schemas.microsoft.com/office/drawing/2014/main" id="{68D9B1CF-B7AA-4055-9310-EB9CD1B214DE}"/>
              </a:ext>
            </a:extLst>
          </p:cNvPr>
          <p:cNvGrpSpPr/>
          <p:nvPr/>
        </p:nvGrpSpPr>
        <p:grpSpPr>
          <a:xfrm>
            <a:off x="2118204" y="2715589"/>
            <a:ext cx="383712" cy="231762"/>
            <a:chOff x="1347787" y="2615565"/>
            <a:chExt cx="952500" cy="575309"/>
          </a:xfrm>
          <a:solidFill>
            <a:schemeClr val="bg2"/>
          </a:solidFill>
        </p:grpSpPr>
        <p:sp>
          <p:nvSpPr>
            <p:cNvPr id="26" name="Freeform: Shape 24">
              <a:extLst>
                <a:ext uri="{FF2B5EF4-FFF2-40B4-BE49-F238E27FC236}">
                  <a16:creationId xmlns:a16="http://schemas.microsoft.com/office/drawing/2014/main" id="{A72FA17D-252E-4D4E-A3B1-19DBB189B613}"/>
                </a:ext>
              </a:extLst>
            </p:cNvPr>
            <p:cNvSpPr/>
            <p:nvPr/>
          </p:nvSpPr>
          <p:spPr>
            <a:xfrm>
              <a:off x="2062162" y="2812732"/>
              <a:ext cx="238125" cy="378142"/>
            </a:xfrm>
            <a:custGeom>
              <a:avLst/>
              <a:gdLst>
                <a:gd name="connsiteX0" fmla="*/ 43815 w 238125"/>
                <a:gd name="connsiteY0" fmla="*/ 0 h 378142"/>
                <a:gd name="connsiteX1" fmla="*/ 0 w 238125"/>
                <a:gd name="connsiteY1" fmla="*/ 0 h 378142"/>
                <a:gd name="connsiteX2" fmla="*/ 0 w 238125"/>
                <a:gd name="connsiteY2" fmla="*/ 378142 h 378142"/>
                <a:gd name="connsiteX3" fmla="*/ 238125 w 238125"/>
                <a:gd name="connsiteY3" fmla="*/ 378142 h 378142"/>
                <a:gd name="connsiteX4" fmla="*/ 238125 w 238125"/>
                <a:gd name="connsiteY4" fmla="*/ 195263 h 378142"/>
                <a:gd name="connsiteX5" fmla="*/ 43815 w 238125"/>
                <a:gd name="connsiteY5" fmla="*/ 0 h 3781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8125" h="378142">
                  <a:moveTo>
                    <a:pt x="43815" y="0"/>
                  </a:moveTo>
                  <a:lnTo>
                    <a:pt x="0" y="0"/>
                  </a:lnTo>
                  <a:lnTo>
                    <a:pt x="0" y="378142"/>
                  </a:lnTo>
                  <a:lnTo>
                    <a:pt x="238125" y="378142"/>
                  </a:lnTo>
                  <a:lnTo>
                    <a:pt x="238125" y="195263"/>
                  </a:lnTo>
                  <a:cubicBezTo>
                    <a:pt x="238125" y="87630"/>
                    <a:pt x="150495" y="0"/>
                    <a:pt x="43815" y="0"/>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7" name="Freeform: Shape 25">
              <a:extLst>
                <a:ext uri="{FF2B5EF4-FFF2-40B4-BE49-F238E27FC236}">
                  <a16:creationId xmlns:a16="http://schemas.microsoft.com/office/drawing/2014/main" id="{4534D1EA-8CAA-45CB-A0DB-5C9F10C9E7BC}"/>
                </a:ext>
              </a:extLst>
            </p:cNvPr>
            <p:cNvSpPr/>
            <p:nvPr/>
          </p:nvSpPr>
          <p:spPr>
            <a:xfrm>
              <a:off x="1347787" y="2714625"/>
              <a:ext cx="139065" cy="476250"/>
            </a:xfrm>
            <a:custGeom>
              <a:avLst/>
              <a:gdLst>
                <a:gd name="connsiteX0" fmla="*/ 0 w 139065"/>
                <a:gd name="connsiteY0" fmla="*/ 0 h 476250"/>
                <a:gd name="connsiteX1" fmla="*/ 139065 w 139065"/>
                <a:gd name="connsiteY1" fmla="*/ 0 h 476250"/>
                <a:gd name="connsiteX2" fmla="*/ 139065 w 139065"/>
                <a:gd name="connsiteY2" fmla="*/ 476250 h 476250"/>
                <a:gd name="connsiteX3" fmla="*/ 0 w 139065"/>
                <a:gd name="connsiteY3" fmla="*/ 476250 h 476250"/>
              </a:gdLst>
              <a:ahLst/>
              <a:cxnLst>
                <a:cxn ang="0">
                  <a:pos x="connsiteX0" y="connsiteY0"/>
                </a:cxn>
                <a:cxn ang="0">
                  <a:pos x="connsiteX1" y="connsiteY1"/>
                </a:cxn>
                <a:cxn ang="0">
                  <a:pos x="connsiteX2" y="connsiteY2"/>
                </a:cxn>
                <a:cxn ang="0">
                  <a:pos x="connsiteX3" y="connsiteY3"/>
                </a:cxn>
              </a:cxnLst>
              <a:rect l="l" t="t" r="r" b="b"/>
              <a:pathLst>
                <a:path w="139065" h="476250">
                  <a:moveTo>
                    <a:pt x="0" y="0"/>
                  </a:moveTo>
                  <a:lnTo>
                    <a:pt x="139065" y="0"/>
                  </a:lnTo>
                  <a:lnTo>
                    <a:pt x="139065" y="476250"/>
                  </a:lnTo>
                  <a:lnTo>
                    <a:pt x="0" y="47625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8" name="Freeform: Shape 26">
              <a:extLst>
                <a:ext uri="{FF2B5EF4-FFF2-40B4-BE49-F238E27FC236}">
                  <a16:creationId xmlns:a16="http://schemas.microsoft.com/office/drawing/2014/main" id="{95DB5815-0859-4FD1-8400-58D7FF871E0C}"/>
                </a:ext>
              </a:extLst>
            </p:cNvPr>
            <p:cNvSpPr/>
            <p:nvPr/>
          </p:nvSpPr>
          <p:spPr>
            <a:xfrm>
              <a:off x="1522094" y="2615565"/>
              <a:ext cx="540067" cy="435292"/>
            </a:xfrm>
            <a:custGeom>
              <a:avLst/>
              <a:gdLst>
                <a:gd name="connsiteX0" fmla="*/ 344805 w 540067"/>
                <a:gd name="connsiteY0" fmla="*/ 99060 h 435292"/>
                <a:gd name="connsiteX1" fmla="*/ 540068 w 540067"/>
                <a:gd name="connsiteY1" fmla="*/ 99060 h 435292"/>
                <a:gd name="connsiteX2" fmla="*/ 540068 w 540067"/>
                <a:gd name="connsiteY2" fmla="*/ 0 h 435292"/>
                <a:gd name="connsiteX3" fmla="*/ 344805 w 540067"/>
                <a:gd name="connsiteY3" fmla="*/ 0 h 435292"/>
                <a:gd name="connsiteX4" fmla="*/ 259080 w 540067"/>
                <a:gd name="connsiteY4" fmla="*/ 0 h 435292"/>
                <a:gd name="connsiteX5" fmla="*/ 63818 w 540067"/>
                <a:gd name="connsiteY5" fmla="*/ 0 h 435292"/>
                <a:gd name="connsiteX6" fmla="*/ 63818 w 540067"/>
                <a:gd name="connsiteY6" fmla="*/ 99060 h 435292"/>
                <a:gd name="connsiteX7" fmla="*/ 259080 w 540067"/>
                <a:gd name="connsiteY7" fmla="*/ 99060 h 435292"/>
                <a:gd name="connsiteX8" fmla="*/ 259080 w 540067"/>
                <a:gd name="connsiteY8" fmla="*/ 197167 h 435292"/>
                <a:gd name="connsiteX9" fmla="*/ 0 w 540067"/>
                <a:gd name="connsiteY9" fmla="*/ 197167 h 435292"/>
                <a:gd name="connsiteX10" fmla="*/ 0 w 540067"/>
                <a:gd name="connsiteY10" fmla="*/ 435292 h 435292"/>
                <a:gd name="connsiteX11" fmla="*/ 505778 w 540067"/>
                <a:gd name="connsiteY11" fmla="*/ 435292 h 435292"/>
                <a:gd name="connsiteX12" fmla="*/ 505778 w 540067"/>
                <a:gd name="connsiteY12" fmla="*/ 197167 h 435292"/>
                <a:gd name="connsiteX13" fmla="*/ 344805 w 540067"/>
                <a:gd name="connsiteY13" fmla="*/ 197167 h 435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40067" h="435292">
                  <a:moveTo>
                    <a:pt x="344805" y="99060"/>
                  </a:moveTo>
                  <a:lnTo>
                    <a:pt x="540068" y="99060"/>
                  </a:lnTo>
                  <a:lnTo>
                    <a:pt x="540068" y="0"/>
                  </a:lnTo>
                  <a:lnTo>
                    <a:pt x="344805" y="0"/>
                  </a:lnTo>
                  <a:lnTo>
                    <a:pt x="259080" y="0"/>
                  </a:lnTo>
                  <a:lnTo>
                    <a:pt x="63818" y="0"/>
                  </a:lnTo>
                  <a:lnTo>
                    <a:pt x="63818" y="99060"/>
                  </a:lnTo>
                  <a:lnTo>
                    <a:pt x="259080" y="99060"/>
                  </a:lnTo>
                  <a:lnTo>
                    <a:pt x="259080" y="197167"/>
                  </a:lnTo>
                  <a:lnTo>
                    <a:pt x="0" y="197167"/>
                  </a:lnTo>
                  <a:lnTo>
                    <a:pt x="0" y="435292"/>
                  </a:lnTo>
                  <a:lnTo>
                    <a:pt x="505778" y="435292"/>
                  </a:lnTo>
                  <a:lnTo>
                    <a:pt x="505778" y="197167"/>
                  </a:lnTo>
                  <a:lnTo>
                    <a:pt x="344805" y="197167"/>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grpSp>
        <p:nvGrpSpPr>
          <p:cNvPr id="29" name="Graphic 1">
            <a:extLst>
              <a:ext uri="{FF2B5EF4-FFF2-40B4-BE49-F238E27FC236}">
                <a16:creationId xmlns:a16="http://schemas.microsoft.com/office/drawing/2014/main" id="{5A6084A6-92C2-4E71-9B82-13FBAD355BE7}"/>
              </a:ext>
            </a:extLst>
          </p:cNvPr>
          <p:cNvGrpSpPr/>
          <p:nvPr/>
        </p:nvGrpSpPr>
        <p:grpSpPr>
          <a:xfrm>
            <a:off x="2144488" y="3354196"/>
            <a:ext cx="331144" cy="330760"/>
            <a:chOff x="3634739" y="2474595"/>
            <a:chExt cx="822007" cy="821054"/>
          </a:xfrm>
          <a:solidFill>
            <a:schemeClr val="bg2"/>
          </a:solidFill>
        </p:grpSpPr>
        <p:sp>
          <p:nvSpPr>
            <p:cNvPr id="30" name="Freeform: Shape 28">
              <a:extLst>
                <a:ext uri="{FF2B5EF4-FFF2-40B4-BE49-F238E27FC236}">
                  <a16:creationId xmlns:a16="http://schemas.microsoft.com/office/drawing/2014/main" id="{83E86DC4-8989-4E90-8027-C726A7B8224D}"/>
                </a:ext>
              </a:extLst>
            </p:cNvPr>
            <p:cNvSpPr/>
            <p:nvPr/>
          </p:nvSpPr>
          <p:spPr>
            <a:xfrm>
              <a:off x="3672702" y="2474595"/>
              <a:ext cx="784044" cy="784044"/>
            </a:xfrm>
            <a:custGeom>
              <a:avLst/>
              <a:gdLst>
                <a:gd name="connsiteX0" fmla="*/ 784045 w 784044"/>
                <a:gd name="connsiteY0" fmla="*/ 0 h 784044"/>
                <a:gd name="connsiteX1" fmla="*/ 584020 w 784044"/>
                <a:gd name="connsiteY1" fmla="*/ 683895 h 784044"/>
                <a:gd name="connsiteX2" fmla="*/ 115390 w 784044"/>
                <a:gd name="connsiteY2" fmla="*/ 698183 h 784044"/>
                <a:gd name="connsiteX3" fmla="*/ 180160 w 784044"/>
                <a:gd name="connsiteY3" fmla="*/ 633413 h 784044"/>
                <a:gd name="connsiteX4" fmla="*/ 387805 w 784044"/>
                <a:gd name="connsiteY4" fmla="*/ 609600 h 784044"/>
                <a:gd name="connsiteX5" fmla="*/ 383042 w 784044"/>
                <a:gd name="connsiteY5" fmla="*/ 568643 h 784044"/>
                <a:gd name="connsiteX6" fmla="*/ 226832 w 784044"/>
                <a:gd name="connsiteY6" fmla="*/ 586740 h 784044"/>
                <a:gd name="connsiteX7" fmla="*/ 302080 w 784044"/>
                <a:gd name="connsiteY7" fmla="*/ 511492 h 784044"/>
                <a:gd name="connsiteX8" fmla="*/ 509725 w 784044"/>
                <a:gd name="connsiteY8" fmla="*/ 487680 h 784044"/>
                <a:gd name="connsiteX9" fmla="*/ 504962 w 784044"/>
                <a:gd name="connsiteY9" fmla="*/ 446722 h 784044"/>
                <a:gd name="connsiteX10" fmla="*/ 348752 w 784044"/>
                <a:gd name="connsiteY10" fmla="*/ 464820 h 784044"/>
                <a:gd name="connsiteX11" fmla="*/ 504962 w 784044"/>
                <a:gd name="connsiteY11" fmla="*/ 308610 h 784044"/>
                <a:gd name="connsiteX12" fmla="*/ 475435 w 784044"/>
                <a:gd name="connsiteY12" fmla="*/ 279083 h 784044"/>
                <a:gd name="connsiteX13" fmla="*/ 323035 w 784044"/>
                <a:gd name="connsiteY13" fmla="*/ 431483 h 784044"/>
                <a:gd name="connsiteX14" fmla="*/ 344942 w 784044"/>
                <a:gd name="connsiteY14" fmla="*/ 293370 h 784044"/>
                <a:gd name="connsiteX15" fmla="*/ 303985 w 784044"/>
                <a:gd name="connsiteY15" fmla="*/ 286702 h 784044"/>
                <a:gd name="connsiteX16" fmla="*/ 273505 w 784044"/>
                <a:gd name="connsiteY16" fmla="*/ 481013 h 784044"/>
                <a:gd name="connsiteX17" fmla="*/ 201115 w 784044"/>
                <a:gd name="connsiteY17" fmla="*/ 553402 h 784044"/>
                <a:gd name="connsiteX18" fmla="*/ 223022 w 784044"/>
                <a:gd name="connsiteY18" fmla="*/ 415290 h 784044"/>
                <a:gd name="connsiteX19" fmla="*/ 182065 w 784044"/>
                <a:gd name="connsiteY19" fmla="*/ 408622 h 784044"/>
                <a:gd name="connsiteX20" fmla="*/ 151585 w 784044"/>
                <a:gd name="connsiteY20" fmla="*/ 602933 h 784044"/>
                <a:gd name="connsiteX21" fmla="*/ 85862 w 784044"/>
                <a:gd name="connsiteY21" fmla="*/ 668655 h 784044"/>
                <a:gd name="connsiteX22" fmla="*/ 100150 w 784044"/>
                <a:gd name="connsiteY22" fmla="*/ 200025 h 784044"/>
                <a:gd name="connsiteX23" fmla="*/ 784045 w 784044"/>
                <a:gd name="connsiteY23" fmla="*/ 0 h 784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784044" h="784044">
                  <a:moveTo>
                    <a:pt x="784045" y="0"/>
                  </a:moveTo>
                  <a:cubicBezTo>
                    <a:pt x="784045" y="0"/>
                    <a:pt x="717370" y="549593"/>
                    <a:pt x="584020" y="683895"/>
                  </a:cubicBezTo>
                  <a:cubicBezTo>
                    <a:pt x="455432" y="812483"/>
                    <a:pt x="249692" y="817245"/>
                    <a:pt x="115390" y="698183"/>
                  </a:cubicBezTo>
                  <a:lnTo>
                    <a:pt x="180160" y="633413"/>
                  </a:lnTo>
                  <a:lnTo>
                    <a:pt x="387805" y="609600"/>
                  </a:lnTo>
                  <a:lnTo>
                    <a:pt x="383042" y="568643"/>
                  </a:lnTo>
                  <a:lnTo>
                    <a:pt x="226832" y="586740"/>
                  </a:lnTo>
                  <a:lnTo>
                    <a:pt x="302080" y="511492"/>
                  </a:lnTo>
                  <a:lnTo>
                    <a:pt x="509725" y="487680"/>
                  </a:lnTo>
                  <a:lnTo>
                    <a:pt x="504962" y="446722"/>
                  </a:lnTo>
                  <a:lnTo>
                    <a:pt x="348752" y="464820"/>
                  </a:lnTo>
                  <a:lnTo>
                    <a:pt x="504962" y="308610"/>
                  </a:lnTo>
                  <a:lnTo>
                    <a:pt x="475435" y="279083"/>
                  </a:lnTo>
                  <a:lnTo>
                    <a:pt x="323035" y="431483"/>
                  </a:lnTo>
                  <a:lnTo>
                    <a:pt x="344942" y="293370"/>
                  </a:lnTo>
                  <a:lnTo>
                    <a:pt x="303985" y="286702"/>
                  </a:lnTo>
                  <a:lnTo>
                    <a:pt x="273505" y="481013"/>
                  </a:lnTo>
                  <a:lnTo>
                    <a:pt x="201115" y="553402"/>
                  </a:lnTo>
                  <a:lnTo>
                    <a:pt x="223022" y="415290"/>
                  </a:lnTo>
                  <a:lnTo>
                    <a:pt x="182065" y="408622"/>
                  </a:lnTo>
                  <a:lnTo>
                    <a:pt x="151585" y="602933"/>
                  </a:lnTo>
                  <a:lnTo>
                    <a:pt x="85862" y="668655"/>
                  </a:lnTo>
                  <a:cubicBezTo>
                    <a:pt x="-33200" y="534352"/>
                    <a:pt x="-28438" y="328613"/>
                    <a:pt x="100150" y="200025"/>
                  </a:cubicBezTo>
                  <a:cubicBezTo>
                    <a:pt x="233500" y="66675"/>
                    <a:pt x="784045" y="0"/>
                    <a:pt x="784045" y="0"/>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1" name="Freeform: Shape 29">
              <a:extLst>
                <a:ext uri="{FF2B5EF4-FFF2-40B4-BE49-F238E27FC236}">
                  <a16:creationId xmlns:a16="http://schemas.microsoft.com/office/drawing/2014/main" id="{0F179C68-380F-4D6E-B7D5-DA670D194D62}"/>
                </a:ext>
              </a:extLst>
            </p:cNvPr>
            <p:cNvSpPr/>
            <p:nvPr/>
          </p:nvSpPr>
          <p:spPr>
            <a:xfrm>
              <a:off x="3634739" y="3143250"/>
              <a:ext cx="153352" cy="152400"/>
            </a:xfrm>
            <a:custGeom>
              <a:avLst/>
              <a:gdLst>
                <a:gd name="connsiteX0" fmla="*/ 153353 w 153352"/>
                <a:gd name="connsiteY0" fmla="*/ 29528 h 152400"/>
                <a:gd name="connsiteX1" fmla="*/ 29527 w 153352"/>
                <a:gd name="connsiteY1" fmla="*/ 152400 h 152400"/>
                <a:gd name="connsiteX2" fmla="*/ 0 w 153352"/>
                <a:gd name="connsiteY2" fmla="*/ 122872 h 152400"/>
                <a:gd name="connsiteX3" fmla="*/ 122872 w 153352"/>
                <a:gd name="connsiteY3" fmla="*/ 0 h 152400"/>
                <a:gd name="connsiteX4" fmla="*/ 137160 w 153352"/>
                <a:gd name="connsiteY4" fmla="*/ 15240 h 152400"/>
                <a:gd name="connsiteX5" fmla="*/ 153353 w 153352"/>
                <a:gd name="connsiteY5" fmla="*/ 29528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3352" h="152400">
                  <a:moveTo>
                    <a:pt x="153353" y="29528"/>
                  </a:moveTo>
                  <a:lnTo>
                    <a:pt x="29527" y="152400"/>
                  </a:lnTo>
                  <a:lnTo>
                    <a:pt x="0" y="122872"/>
                  </a:lnTo>
                  <a:lnTo>
                    <a:pt x="122872" y="0"/>
                  </a:lnTo>
                  <a:cubicBezTo>
                    <a:pt x="127635" y="4763"/>
                    <a:pt x="132397" y="10478"/>
                    <a:pt x="137160" y="15240"/>
                  </a:cubicBezTo>
                  <a:cubicBezTo>
                    <a:pt x="142875" y="20003"/>
                    <a:pt x="147638" y="24765"/>
                    <a:pt x="153353" y="2952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grpSp>
        <p:nvGrpSpPr>
          <p:cNvPr id="32" name="Graphic 1">
            <a:extLst>
              <a:ext uri="{FF2B5EF4-FFF2-40B4-BE49-F238E27FC236}">
                <a16:creationId xmlns:a16="http://schemas.microsoft.com/office/drawing/2014/main" id="{35359741-CB78-4A0F-A392-E3467DF8AF9A}"/>
              </a:ext>
            </a:extLst>
          </p:cNvPr>
          <p:cNvGrpSpPr/>
          <p:nvPr/>
        </p:nvGrpSpPr>
        <p:grpSpPr>
          <a:xfrm>
            <a:off x="2092302" y="3997819"/>
            <a:ext cx="435516" cy="349564"/>
            <a:chOff x="6348412" y="2426970"/>
            <a:chExt cx="1081087" cy="867727"/>
          </a:xfrm>
          <a:solidFill>
            <a:schemeClr val="bg2"/>
          </a:solidFill>
        </p:grpSpPr>
        <p:grpSp>
          <p:nvGrpSpPr>
            <p:cNvPr id="33" name="Graphic 1">
              <a:extLst>
                <a:ext uri="{FF2B5EF4-FFF2-40B4-BE49-F238E27FC236}">
                  <a16:creationId xmlns:a16="http://schemas.microsoft.com/office/drawing/2014/main" id="{C5A6CD87-362A-41E9-8A59-AD00ACB033BC}"/>
                </a:ext>
              </a:extLst>
            </p:cNvPr>
            <p:cNvGrpSpPr/>
            <p:nvPr/>
          </p:nvGrpSpPr>
          <p:grpSpPr>
            <a:xfrm>
              <a:off x="6348412" y="2426970"/>
              <a:ext cx="1081087" cy="529589"/>
              <a:chOff x="6348412" y="2426970"/>
              <a:chExt cx="1081087" cy="529589"/>
            </a:xfrm>
            <a:grpFill/>
          </p:grpSpPr>
          <p:sp>
            <p:nvSpPr>
              <p:cNvPr id="35" name="Freeform: Shape 33">
                <a:extLst>
                  <a:ext uri="{FF2B5EF4-FFF2-40B4-BE49-F238E27FC236}">
                    <a16:creationId xmlns:a16="http://schemas.microsoft.com/office/drawing/2014/main" id="{BB234963-E70F-40CC-972F-CD6384CD19FB}"/>
                  </a:ext>
                </a:extLst>
              </p:cNvPr>
              <p:cNvSpPr/>
              <p:nvPr/>
            </p:nvSpPr>
            <p:spPr>
              <a:xfrm>
                <a:off x="6348412" y="2426970"/>
                <a:ext cx="463867" cy="333375"/>
              </a:xfrm>
              <a:custGeom>
                <a:avLst/>
                <a:gdLst>
                  <a:gd name="connsiteX0" fmla="*/ 442913 w 463867"/>
                  <a:gd name="connsiteY0" fmla="*/ 189547 h 333375"/>
                  <a:gd name="connsiteX1" fmla="*/ 462915 w 463867"/>
                  <a:gd name="connsiteY1" fmla="*/ 194310 h 333375"/>
                  <a:gd name="connsiteX2" fmla="*/ 299085 w 463867"/>
                  <a:gd name="connsiteY2" fmla="*/ 333375 h 333375"/>
                  <a:gd name="connsiteX3" fmla="*/ 22860 w 463867"/>
                  <a:gd name="connsiteY3" fmla="*/ 184785 h 333375"/>
                  <a:gd name="connsiteX4" fmla="*/ 0 w 463867"/>
                  <a:gd name="connsiteY4" fmla="*/ 166688 h 333375"/>
                  <a:gd name="connsiteX5" fmla="*/ 22860 w 463867"/>
                  <a:gd name="connsiteY5" fmla="*/ 148590 h 333375"/>
                  <a:gd name="connsiteX6" fmla="*/ 299085 w 463867"/>
                  <a:gd name="connsiteY6" fmla="*/ 0 h 333375"/>
                  <a:gd name="connsiteX7" fmla="*/ 463868 w 463867"/>
                  <a:gd name="connsiteY7" fmla="*/ 146685 h 333375"/>
                  <a:gd name="connsiteX8" fmla="*/ 442913 w 463867"/>
                  <a:gd name="connsiteY8" fmla="*/ 143827 h 333375"/>
                  <a:gd name="connsiteX9" fmla="*/ 293370 w 463867"/>
                  <a:gd name="connsiteY9" fmla="*/ 143827 h 333375"/>
                  <a:gd name="connsiteX10" fmla="*/ 293370 w 463867"/>
                  <a:gd name="connsiteY10" fmla="*/ 189547 h 333375"/>
                  <a:gd name="connsiteX11" fmla="*/ 442913 w 463867"/>
                  <a:gd name="connsiteY11" fmla="*/ 189547 h 333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63867" h="333375">
                    <a:moveTo>
                      <a:pt x="442913" y="189547"/>
                    </a:moveTo>
                    <a:cubicBezTo>
                      <a:pt x="450532" y="189547"/>
                      <a:pt x="457200" y="191452"/>
                      <a:pt x="462915" y="194310"/>
                    </a:cubicBezTo>
                    <a:cubicBezTo>
                      <a:pt x="449580" y="273367"/>
                      <a:pt x="381000" y="333375"/>
                      <a:pt x="299085" y="333375"/>
                    </a:cubicBezTo>
                    <a:cubicBezTo>
                      <a:pt x="214313" y="333375"/>
                      <a:pt x="41910" y="200025"/>
                      <a:pt x="22860" y="184785"/>
                    </a:cubicBezTo>
                    <a:lnTo>
                      <a:pt x="0" y="166688"/>
                    </a:lnTo>
                    <a:lnTo>
                      <a:pt x="22860" y="148590"/>
                    </a:lnTo>
                    <a:cubicBezTo>
                      <a:pt x="41910" y="133350"/>
                      <a:pt x="215265" y="0"/>
                      <a:pt x="299085" y="0"/>
                    </a:cubicBezTo>
                    <a:cubicBezTo>
                      <a:pt x="383857" y="0"/>
                      <a:pt x="454343" y="63817"/>
                      <a:pt x="463868" y="146685"/>
                    </a:cubicBezTo>
                    <a:cubicBezTo>
                      <a:pt x="457200" y="144780"/>
                      <a:pt x="449580" y="143827"/>
                      <a:pt x="442913" y="143827"/>
                    </a:cubicBezTo>
                    <a:lnTo>
                      <a:pt x="293370" y="143827"/>
                    </a:lnTo>
                    <a:lnTo>
                      <a:pt x="293370" y="189547"/>
                    </a:lnTo>
                    <a:lnTo>
                      <a:pt x="442913" y="189547"/>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6" name="Freeform: Shape 34">
                <a:extLst>
                  <a:ext uri="{FF2B5EF4-FFF2-40B4-BE49-F238E27FC236}">
                    <a16:creationId xmlns:a16="http://schemas.microsoft.com/office/drawing/2014/main" id="{7B5172BB-A8D0-4D9F-9E7B-0B75A91BF188}"/>
                  </a:ext>
                </a:extLst>
              </p:cNvPr>
              <p:cNvSpPr/>
              <p:nvPr/>
            </p:nvSpPr>
            <p:spPr>
              <a:xfrm>
                <a:off x="7052309" y="2685097"/>
                <a:ext cx="377189" cy="271462"/>
              </a:xfrm>
              <a:custGeom>
                <a:avLst/>
                <a:gdLst>
                  <a:gd name="connsiteX0" fmla="*/ 377190 w 377189"/>
                  <a:gd name="connsiteY0" fmla="*/ 135255 h 271462"/>
                  <a:gd name="connsiteX1" fmla="*/ 354330 w 377189"/>
                  <a:gd name="connsiteY1" fmla="*/ 153353 h 271462"/>
                  <a:gd name="connsiteX2" fmla="*/ 133350 w 377189"/>
                  <a:gd name="connsiteY2" fmla="*/ 271463 h 271462"/>
                  <a:gd name="connsiteX3" fmla="*/ 0 w 377189"/>
                  <a:gd name="connsiteY3" fmla="*/ 160973 h 271462"/>
                  <a:gd name="connsiteX4" fmla="*/ 28575 w 377189"/>
                  <a:gd name="connsiteY4" fmla="*/ 158115 h 271462"/>
                  <a:gd name="connsiteX5" fmla="*/ 155257 w 377189"/>
                  <a:gd name="connsiteY5" fmla="*/ 158115 h 271462"/>
                  <a:gd name="connsiteX6" fmla="*/ 155257 w 377189"/>
                  <a:gd name="connsiteY6" fmla="*/ 112395 h 271462"/>
                  <a:gd name="connsiteX7" fmla="*/ 29527 w 377189"/>
                  <a:gd name="connsiteY7" fmla="*/ 112395 h 271462"/>
                  <a:gd name="connsiteX8" fmla="*/ 0 w 377189"/>
                  <a:gd name="connsiteY8" fmla="*/ 115253 h 271462"/>
                  <a:gd name="connsiteX9" fmla="*/ 134302 w 377189"/>
                  <a:gd name="connsiteY9" fmla="*/ 0 h 271462"/>
                  <a:gd name="connsiteX10" fmla="*/ 355282 w 377189"/>
                  <a:gd name="connsiteY10" fmla="*/ 118110 h 271462"/>
                  <a:gd name="connsiteX11" fmla="*/ 377190 w 377189"/>
                  <a:gd name="connsiteY11" fmla="*/ 135255 h 2714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77189" h="271462">
                    <a:moveTo>
                      <a:pt x="377190" y="135255"/>
                    </a:moveTo>
                    <a:lnTo>
                      <a:pt x="354330" y="153353"/>
                    </a:lnTo>
                    <a:cubicBezTo>
                      <a:pt x="339090" y="165735"/>
                      <a:pt x="201930" y="271463"/>
                      <a:pt x="133350" y="271463"/>
                    </a:cubicBezTo>
                    <a:cubicBezTo>
                      <a:pt x="67627" y="271463"/>
                      <a:pt x="12382" y="223838"/>
                      <a:pt x="0" y="160973"/>
                    </a:cubicBezTo>
                    <a:cubicBezTo>
                      <a:pt x="8572" y="159068"/>
                      <a:pt x="18097" y="158115"/>
                      <a:pt x="28575" y="158115"/>
                    </a:cubicBezTo>
                    <a:lnTo>
                      <a:pt x="155257" y="158115"/>
                    </a:lnTo>
                    <a:lnTo>
                      <a:pt x="155257" y="112395"/>
                    </a:lnTo>
                    <a:lnTo>
                      <a:pt x="29527" y="112395"/>
                    </a:lnTo>
                    <a:cubicBezTo>
                      <a:pt x="19050" y="112395"/>
                      <a:pt x="9525" y="113348"/>
                      <a:pt x="0" y="115253"/>
                    </a:cubicBezTo>
                    <a:cubicBezTo>
                      <a:pt x="9525" y="49530"/>
                      <a:pt x="66675" y="0"/>
                      <a:pt x="134302" y="0"/>
                    </a:cubicBezTo>
                    <a:cubicBezTo>
                      <a:pt x="202882" y="0"/>
                      <a:pt x="340042" y="105728"/>
                      <a:pt x="355282" y="118110"/>
                    </a:cubicBezTo>
                    <a:lnTo>
                      <a:pt x="377190" y="135255"/>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sp>
          <p:nvSpPr>
            <p:cNvPr id="34" name="Freeform: Shape 32">
              <a:extLst>
                <a:ext uri="{FF2B5EF4-FFF2-40B4-BE49-F238E27FC236}">
                  <a16:creationId xmlns:a16="http://schemas.microsoft.com/office/drawing/2014/main" id="{02EDDECC-7AC3-460F-8D9F-CB375971399A}"/>
                </a:ext>
              </a:extLst>
            </p:cNvPr>
            <p:cNvSpPr/>
            <p:nvPr/>
          </p:nvSpPr>
          <p:spPr>
            <a:xfrm>
              <a:off x="6679881" y="2572702"/>
              <a:ext cx="498157" cy="721994"/>
            </a:xfrm>
            <a:custGeom>
              <a:avLst/>
              <a:gdLst>
                <a:gd name="connsiteX0" fmla="*/ 272415 w 498157"/>
                <a:gd name="connsiteY0" fmla="*/ 452438 h 721994"/>
                <a:gd name="connsiteX1" fmla="*/ 324803 w 498157"/>
                <a:gd name="connsiteY1" fmla="*/ 300990 h 721994"/>
                <a:gd name="connsiteX2" fmla="*/ 373380 w 498157"/>
                <a:gd name="connsiteY2" fmla="*/ 273367 h 721994"/>
                <a:gd name="connsiteX3" fmla="*/ 370523 w 498157"/>
                <a:gd name="connsiteY3" fmla="*/ 247650 h 721994"/>
                <a:gd name="connsiteX4" fmla="*/ 372428 w 498157"/>
                <a:gd name="connsiteY4" fmla="*/ 227647 h 721994"/>
                <a:gd name="connsiteX5" fmla="*/ 292418 w 498157"/>
                <a:gd name="connsiteY5" fmla="*/ 269557 h 721994"/>
                <a:gd name="connsiteX6" fmla="*/ 265748 w 498157"/>
                <a:gd name="connsiteY6" fmla="*/ 304800 h 721994"/>
                <a:gd name="connsiteX7" fmla="*/ 181928 w 498157"/>
                <a:gd name="connsiteY7" fmla="*/ 29527 h 721994"/>
                <a:gd name="connsiteX8" fmla="*/ 132398 w 498157"/>
                <a:gd name="connsiteY8" fmla="*/ 0 h 721994"/>
                <a:gd name="connsiteX9" fmla="*/ 133350 w 498157"/>
                <a:gd name="connsiteY9" fmla="*/ 20002 h 721994"/>
                <a:gd name="connsiteX10" fmla="*/ 131445 w 498157"/>
                <a:gd name="connsiteY10" fmla="*/ 47625 h 721994"/>
                <a:gd name="connsiteX11" fmla="*/ 149543 w 498157"/>
                <a:gd name="connsiteY11" fmla="*/ 60960 h 721994"/>
                <a:gd name="connsiteX12" fmla="*/ 226695 w 498157"/>
                <a:gd name="connsiteY12" fmla="*/ 451485 h 721994"/>
                <a:gd name="connsiteX13" fmla="*/ 0 w 498157"/>
                <a:gd name="connsiteY13" fmla="*/ 699135 h 721994"/>
                <a:gd name="connsiteX14" fmla="*/ 0 w 498157"/>
                <a:gd name="connsiteY14" fmla="*/ 721995 h 721994"/>
                <a:gd name="connsiteX15" fmla="*/ 498157 w 498157"/>
                <a:gd name="connsiteY15" fmla="*/ 721995 h 721994"/>
                <a:gd name="connsiteX16" fmla="*/ 498157 w 498157"/>
                <a:gd name="connsiteY16" fmla="*/ 699135 h 721994"/>
                <a:gd name="connsiteX17" fmla="*/ 272415 w 498157"/>
                <a:gd name="connsiteY17" fmla="*/ 452438 h 721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98157" h="721994">
                  <a:moveTo>
                    <a:pt x="272415" y="452438"/>
                  </a:moveTo>
                  <a:cubicBezTo>
                    <a:pt x="274320" y="416242"/>
                    <a:pt x="283845" y="342900"/>
                    <a:pt x="324803" y="300990"/>
                  </a:cubicBezTo>
                  <a:cubicBezTo>
                    <a:pt x="339090" y="286702"/>
                    <a:pt x="354330" y="277177"/>
                    <a:pt x="373380" y="273367"/>
                  </a:cubicBezTo>
                  <a:cubicBezTo>
                    <a:pt x="371475" y="264795"/>
                    <a:pt x="370523" y="256222"/>
                    <a:pt x="370523" y="247650"/>
                  </a:cubicBezTo>
                  <a:cubicBezTo>
                    <a:pt x="370523" y="240982"/>
                    <a:pt x="371475" y="234315"/>
                    <a:pt x="372428" y="227647"/>
                  </a:cubicBezTo>
                  <a:cubicBezTo>
                    <a:pt x="340995" y="233363"/>
                    <a:pt x="314325" y="247650"/>
                    <a:pt x="292418" y="269557"/>
                  </a:cubicBezTo>
                  <a:cubicBezTo>
                    <a:pt x="281940" y="280035"/>
                    <a:pt x="273368" y="292417"/>
                    <a:pt x="265748" y="304800"/>
                  </a:cubicBezTo>
                  <a:cubicBezTo>
                    <a:pt x="256223" y="202882"/>
                    <a:pt x="234315" y="83820"/>
                    <a:pt x="181928" y="29527"/>
                  </a:cubicBezTo>
                  <a:cubicBezTo>
                    <a:pt x="167640" y="14288"/>
                    <a:pt x="150495" y="4763"/>
                    <a:pt x="132398" y="0"/>
                  </a:cubicBezTo>
                  <a:cubicBezTo>
                    <a:pt x="133350" y="6667"/>
                    <a:pt x="133350" y="13335"/>
                    <a:pt x="133350" y="20002"/>
                  </a:cubicBezTo>
                  <a:cubicBezTo>
                    <a:pt x="133350" y="29527"/>
                    <a:pt x="132398" y="38100"/>
                    <a:pt x="131445" y="47625"/>
                  </a:cubicBezTo>
                  <a:cubicBezTo>
                    <a:pt x="137160" y="50482"/>
                    <a:pt x="143828" y="55245"/>
                    <a:pt x="149543" y="60960"/>
                  </a:cubicBezTo>
                  <a:cubicBezTo>
                    <a:pt x="214313" y="127635"/>
                    <a:pt x="227648" y="348615"/>
                    <a:pt x="226695" y="451485"/>
                  </a:cubicBezTo>
                  <a:cubicBezTo>
                    <a:pt x="100013" y="462915"/>
                    <a:pt x="0" y="569595"/>
                    <a:pt x="0" y="699135"/>
                  </a:cubicBezTo>
                  <a:lnTo>
                    <a:pt x="0" y="721995"/>
                  </a:lnTo>
                  <a:lnTo>
                    <a:pt x="498157" y="721995"/>
                  </a:lnTo>
                  <a:lnTo>
                    <a:pt x="498157" y="699135"/>
                  </a:lnTo>
                  <a:cubicBezTo>
                    <a:pt x="498157" y="571500"/>
                    <a:pt x="398145" y="464820"/>
                    <a:pt x="272415" y="45243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grpSp>
        <p:nvGrpSpPr>
          <p:cNvPr id="37" name="Graphic 1">
            <a:extLst>
              <a:ext uri="{FF2B5EF4-FFF2-40B4-BE49-F238E27FC236}">
                <a16:creationId xmlns:a16="http://schemas.microsoft.com/office/drawing/2014/main" id="{E20107BA-7D15-47AD-8907-CBCC408F12D6}"/>
              </a:ext>
            </a:extLst>
          </p:cNvPr>
          <p:cNvGrpSpPr/>
          <p:nvPr/>
        </p:nvGrpSpPr>
        <p:grpSpPr>
          <a:xfrm>
            <a:off x="2163482" y="4680456"/>
            <a:ext cx="293156" cy="293922"/>
            <a:chOff x="8959214" y="2548890"/>
            <a:chExt cx="727710" cy="729614"/>
          </a:xfrm>
          <a:solidFill>
            <a:schemeClr val="bg2"/>
          </a:solidFill>
        </p:grpSpPr>
        <p:sp>
          <p:nvSpPr>
            <p:cNvPr id="38" name="Freeform: Shape 36">
              <a:extLst>
                <a:ext uri="{FF2B5EF4-FFF2-40B4-BE49-F238E27FC236}">
                  <a16:creationId xmlns:a16="http://schemas.microsoft.com/office/drawing/2014/main" id="{3C081C4C-7E48-49D1-AEF1-5CA52A143E2C}"/>
                </a:ext>
              </a:extLst>
            </p:cNvPr>
            <p:cNvSpPr/>
            <p:nvPr/>
          </p:nvSpPr>
          <p:spPr>
            <a:xfrm>
              <a:off x="8959214" y="3156584"/>
              <a:ext cx="120967" cy="121920"/>
            </a:xfrm>
            <a:custGeom>
              <a:avLst/>
              <a:gdLst>
                <a:gd name="connsiteX0" fmla="*/ 120968 w 120967"/>
                <a:gd name="connsiteY0" fmla="*/ 33338 h 121920"/>
                <a:gd name="connsiteX1" fmla="*/ 33338 w 120967"/>
                <a:gd name="connsiteY1" fmla="*/ 121920 h 121920"/>
                <a:gd name="connsiteX2" fmla="*/ 0 w 120967"/>
                <a:gd name="connsiteY2" fmla="*/ 88583 h 121920"/>
                <a:gd name="connsiteX3" fmla="*/ 87630 w 120967"/>
                <a:gd name="connsiteY3" fmla="*/ 0 h 121920"/>
                <a:gd name="connsiteX4" fmla="*/ 103823 w 120967"/>
                <a:gd name="connsiteY4" fmla="*/ 18098 h 121920"/>
                <a:gd name="connsiteX5" fmla="*/ 120968 w 120967"/>
                <a:gd name="connsiteY5" fmla="*/ 33338 h 121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0967" h="121920">
                  <a:moveTo>
                    <a:pt x="120968" y="33338"/>
                  </a:moveTo>
                  <a:lnTo>
                    <a:pt x="33338" y="121920"/>
                  </a:lnTo>
                  <a:lnTo>
                    <a:pt x="0" y="88583"/>
                  </a:lnTo>
                  <a:lnTo>
                    <a:pt x="87630" y="0"/>
                  </a:lnTo>
                  <a:cubicBezTo>
                    <a:pt x="92393" y="5715"/>
                    <a:pt x="98108" y="12383"/>
                    <a:pt x="103823" y="18098"/>
                  </a:cubicBezTo>
                  <a:cubicBezTo>
                    <a:pt x="109538" y="22860"/>
                    <a:pt x="115253" y="27623"/>
                    <a:pt x="120968" y="3333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nvGrpSpPr>
            <p:cNvPr id="39" name="Graphic 1">
              <a:extLst>
                <a:ext uri="{FF2B5EF4-FFF2-40B4-BE49-F238E27FC236}">
                  <a16:creationId xmlns:a16="http://schemas.microsoft.com/office/drawing/2014/main" id="{93E5FD4C-1AE4-4FBB-BE4C-3A04A9ECE506}"/>
                </a:ext>
              </a:extLst>
            </p:cNvPr>
            <p:cNvGrpSpPr/>
            <p:nvPr/>
          </p:nvGrpSpPr>
          <p:grpSpPr>
            <a:xfrm>
              <a:off x="8971174" y="2548890"/>
              <a:ext cx="715750" cy="716279"/>
              <a:chOff x="8971174" y="2548890"/>
              <a:chExt cx="715750" cy="716279"/>
            </a:xfrm>
            <a:grpFill/>
          </p:grpSpPr>
          <p:sp>
            <p:nvSpPr>
              <p:cNvPr id="40" name="Freeform: Shape 38">
                <a:extLst>
                  <a:ext uri="{FF2B5EF4-FFF2-40B4-BE49-F238E27FC236}">
                    <a16:creationId xmlns:a16="http://schemas.microsoft.com/office/drawing/2014/main" id="{7F82F17F-F9E8-4443-A696-AF6C62C4FC72}"/>
                  </a:ext>
                </a:extLst>
              </p:cNvPr>
              <p:cNvSpPr/>
              <p:nvPr/>
            </p:nvSpPr>
            <p:spPr>
              <a:xfrm>
                <a:off x="8971174" y="2548890"/>
                <a:ext cx="715750" cy="716279"/>
              </a:xfrm>
              <a:custGeom>
                <a:avLst/>
                <a:gdLst>
                  <a:gd name="connsiteX0" fmla="*/ 686223 w 715750"/>
                  <a:gd name="connsiteY0" fmla="*/ 3810 h 716279"/>
                  <a:gd name="connsiteX1" fmla="*/ 91863 w 715750"/>
                  <a:gd name="connsiteY1" fmla="*/ 180975 h 716279"/>
                  <a:gd name="connsiteX2" fmla="*/ 75670 w 715750"/>
                  <a:gd name="connsiteY2" fmla="*/ 606743 h 716279"/>
                  <a:gd name="connsiteX3" fmla="*/ 149965 w 715750"/>
                  <a:gd name="connsiteY3" fmla="*/ 532447 h 716279"/>
                  <a:gd name="connsiteX4" fmla="*/ 183303 w 715750"/>
                  <a:gd name="connsiteY4" fmla="*/ 565785 h 716279"/>
                  <a:gd name="connsiteX5" fmla="*/ 109008 w 715750"/>
                  <a:gd name="connsiteY5" fmla="*/ 640080 h 716279"/>
                  <a:gd name="connsiteX6" fmla="*/ 313795 w 715750"/>
                  <a:gd name="connsiteY6" fmla="*/ 716280 h 716279"/>
                  <a:gd name="connsiteX7" fmla="*/ 535728 w 715750"/>
                  <a:gd name="connsiteY7" fmla="*/ 624840 h 716279"/>
                  <a:gd name="connsiteX8" fmla="*/ 711940 w 715750"/>
                  <a:gd name="connsiteY8" fmla="*/ 30480 h 716279"/>
                  <a:gd name="connsiteX9" fmla="*/ 715750 w 715750"/>
                  <a:gd name="connsiteY9" fmla="*/ 0 h 716279"/>
                  <a:gd name="connsiteX10" fmla="*/ 686223 w 715750"/>
                  <a:gd name="connsiteY10" fmla="*/ 3810 h 716279"/>
                  <a:gd name="connsiteX11" fmla="*/ 390948 w 715750"/>
                  <a:gd name="connsiteY11" fmla="*/ 454342 h 716279"/>
                  <a:gd name="connsiteX12" fmla="*/ 303318 w 715750"/>
                  <a:gd name="connsiteY12" fmla="*/ 488632 h 716279"/>
                  <a:gd name="connsiteX13" fmla="*/ 215688 w 715750"/>
                  <a:gd name="connsiteY13" fmla="*/ 455295 h 716279"/>
                  <a:gd name="connsiteX14" fmla="*/ 183303 w 715750"/>
                  <a:gd name="connsiteY14" fmla="*/ 362902 h 716279"/>
                  <a:gd name="connsiteX15" fmla="*/ 194733 w 715750"/>
                  <a:gd name="connsiteY15" fmla="*/ 299085 h 716279"/>
                  <a:gd name="connsiteX16" fmla="*/ 217593 w 715750"/>
                  <a:gd name="connsiteY16" fmla="*/ 264795 h 716279"/>
                  <a:gd name="connsiteX17" fmla="*/ 249978 w 715750"/>
                  <a:gd name="connsiteY17" fmla="*/ 242888 h 716279"/>
                  <a:gd name="connsiteX18" fmla="*/ 303318 w 715750"/>
                  <a:gd name="connsiteY18" fmla="*/ 233363 h 716279"/>
                  <a:gd name="connsiteX19" fmla="*/ 390948 w 715750"/>
                  <a:gd name="connsiteY19" fmla="*/ 267652 h 716279"/>
                  <a:gd name="connsiteX20" fmla="*/ 424286 w 715750"/>
                  <a:gd name="connsiteY20" fmla="*/ 361950 h 716279"/>
                  <a:gd name="connsiteX21" fmla="*/ 390948 w 715750"/>
                  <a:gd name="connsiteY21" fmla="*/ 454342 h 716279"/>
                  <a:gd name="connsiteX22" fmla="*/ 500486 w 715750"/>
                  <a:gd name="connsiteY22" fmla="*/ 500063 h 716279"/>
                  <a:gd name="connsiteX23" fmla="*/ 500486 w 715750"/>
                  <a:gd name="connsiteY23" fmla="*/ 516255 h 716279"/>
                  <a:gd name="connsiteX24" fmla="*/ 439525 w 715750"/>
                  <a:gd name="connsiteY24" fmla="*/ 516255 h 716279"/>
                  <a:gd name="connsiteX25" fmla="*/ 445240 w 715750"/>
                  <a:gd name="connsiteY25" fmla="*/ 499110 h 716279"/>
                  <a:gd name="connsiteX26" fmla="*/ 465243 w 715750"/>
                  <a:gd name="connsiteY26" fmla="*/ 477202 h 716279"/>
                  <a:gd name="connsiteX27" fmla="*/ 479530 w 715750"/>
                  <a:gd name="connsiteY27" fmla="*/ 461963 h 716279"/>
                  <a:gd name="connsiteX28" fmla="*/ 483340 w 715750"/>
                  <a:gd name="connsiteY28" fmla="*/ 451485 h 716279"/>
                  <a:gd name="connsiteX29" fmla="*/ 480483 w 715750"/>
                  <a:gd name="connsiteY29" fmla="*/ 442913 h 716279"/>
                  <a:gd name="connsiteX30" fmla="*/ 471911 w 715750"/>
                  <a:gd name="connsiteY30" fmla="*/ 440055 h 716279"/>
                  <a:gd name="connsiteX31" fmla="*/ 463338 w 715750"/>
                  <a:gd name="connsiteY31" fmla="*/ 442913 h 716279"/>
                  <a:gd name="connsiteX32" fmla="*/ 459528 w 715750"/>
                  <a:gd name="connsiteY32" fmla="*/ 454342 h 716279"/>
                  <a:gd name="connsiteX33" fmla="*/ 442383 w 715750"/>
                  <a:gd name="connsiteY33" fmla="*/ 452438 h 716279"/>
                  <a:gd name="connsiteX34" fmla="*/ 451908 w 715750"/>
                  <a:gd name="connsiteY34" fmla="*/ 431482 h 716279"/>
                  <a:gd name="connsiteX35" fmla="*/ 472863 w 715750"/>
                  <a:gd name="connsiteY35" fmla="*/ 424815 h 716279"/>
                  <a:gd name="connsiteX36" fmla="*/ 493818 w 715750"/>
                  <a:gd name="connsiteY36" fmla="*/ 432435 h 716279"/>
                  <a:gd name="connsiteX37" fmla="*/ 501438 w 715750"/>
                  <a:gd name="connsiteY37" fmla="*/ 450532 h 716279"/>
                  <a:gd name="connsiteX38" fmla="*/ 499533 w 715750"/>
                  <a:gd name="connsiteY38" fmla="*/ 461963 h 716279"/>
                  <a:gd name="connsiteX39" fmla="*/ 492865 w 715750"/>
                  <a:gd name="connsiteY39" fmla="*/ 473392 h 716279"/>
                  <a:gd name="connsiteX40" fmla="*/ 481436 w 715750"/>
                  <a:gd name="connsiteY40" fmla="*/ 484822 h 716279"/>
                  <a:gd name="connsiteX41" fmla="*/ 470958 w 715750"/>
                  <a:gd name="connsiteY41" fmla="*/ 495300 h 716279"/>
                  <a:gd name="connsiteX42" fmla="*/ 467148 w 715750"/>
                  <a:gd name="connsiteY42" fmla="*/ 500063 h 716279"/>
                  <a:gd name="connsiteX43" fmla="*/ 500486 w 715750"/>
                  <a:gd name="connsiteY43" fmla="*/ 500063 h 716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715750" h="716279">
                    <a:moveTo>
                      <a:pt x="686223" y="3810"/>
                    </a:moveTo>
                    <a:cubicBezTo>
                      <a:pt x="667173" y="6667"/>
                      <a:pt x="209973" y="62865"/>
                      <a:pt x="91863" y="180975"/>
                    </a:cubicBezTo>
                    <a:cubicBezTo>
                      <a:pt x="-25295" y="297180"/>
                      <a:pt x="-30057" y="483870"/>
                      <a:pt x="75670" y="606743"/>
                    </a:cubicBezTo>
                    <a:lnTo>
                      <a:pt x="149965" y="532447"/>
                    </a:lnTo>
                    <a:lnTo>
                      <a:pt x="183303" y="565785"/>
                    </a:lnTo>
                    <a:lnTo>
                      <a:pt x="109008" y="640080"/>
                    </a:lnTo>
                    <a:cubicBezTo>
                      <a:pt x="168063" y="690563"/>
                      <a:pt x="240453" y="716280"/>
                      <a:pt x="313795" y="716280"/>
                    </a:cubicBezTo>
                    <a:cubicBezTo>
                      <a:pt x="393805" y="716280"/>
                      <a:pt x="474768" y="685800"/>
                      <a:pt x="535728" y="624840"/>
                    </a:cubicBezTo>
                    <a:cubicBezTo>
                      <a:pt x="653838" y="506730"/>
                      <a:pt x="710036" y="50482"/>
                      <a:pt x="711940" y="30480"/>
                    </a:cubicBezTo>
                    <a:lnTo>
                      <a:pt x="715750" y="0"/>
                    </a:lnTo>
                    <a:lnTo>
                      <a:pt x="686223" y="3810"/>
                    </a:lnTo>
                    <a:close/>
                    <a:moveTo>
                      <a:pt x="390948" y="454342"/>
                    </a:moveTo>
                    <a:cubicBezTo>
                      <a:pt x="369040" y="477202"/>
                      <a:pt x="340465" y="488632"/>
                      <a:pt x="303318" y="488632"/>
                    </a:cubicBezTo>
                    <a:cubicBezTo>
                      <a:pt x="266170" y="488632"/>
                      <a:pt x="237595" y="477202"/>
                      <a:pt x="215688" y="455295"/>
                    </a:cubicBezTo>
                    <a:cubicBezTo>
                      <a:pt x="193780" y="432435"/>
                      <a:pt x="183303" y="401955"/>
                      <a:pt x="183303" y="362902"/>
                    </a:cubicBezTo>
                    <a:cubicBezTo>
                      <a:pt x="183303" y="338138"/>
                      <a:pt x="187113" y="316230"/>
                      <a:pt x="194733" y="299085"/>
                    </a:cubicBezTo>
                    <a:cubicBezTo>
                      <a:pt x="200448" y="286702"/>
                      <a:pt x="208068" y="275272"/>
                      <a:pt x="217593" y="264795"/>
                    </a:cubicBezTo>
                    <a:cubicBezTo>
                      <a:pt x="227118" y="254317"/>
                      <a:pt x="237595" y="247650"/>
                      <a:pt x="249978" y="242888"/>
                    </a:cubicBezTo>
                    <a:cubicBezTo>
                      <a:pt x="265218" y="236220"/>
                      <a:pt x="283315" y="233363"/>
                      <a:pt x="303318" y="233363"/>
                    </a:cubicBezTo>
                    <a:cubicBezTo>
                      <a:pt x="339513" y="233363"/>
                      <a:pt x="369040" y="244792"/>
                      <a:pt x="390948" y="267652"/>
                    </a:cubicBezTo>
                    <a:cubicBezTo>
                      <a:pt x="412855" y="290513"/>
                      <a:pt x="424286" y="321945"/>
                      <a:pt x="424286" y="361950"/>
                    </a:cubicBezTo>
                    <a:cubicBezTo>
                      <a:pt x="423333" y="400050"/>
                      <a:pt x="412855" y="431482"/>
                      <a:pt x="390948" y="454342"/>
                    </a:cubicBezTo>
                    <a:close/>
                    <a:moveTo>
                      <a:pt x="500486" y="500063"/>
                    </a:moveTo>
                    <a:lnTo>
                      <a:pt x="500486" y="516255"/>
                    </a:lnTo>
                    <a:lnTo>
                      <a:pt x="439525" y="516255"/>
                    </a:lnTo>
                    <a:cubicBezTo>
                      <a:pt x="440478" y="510540"/>
                      <a:pt x="442383" y="503872"/>
                      <a:pt x="445240" y="499110"/>
                    </a:cubicBezTo>
                    <a:cubicBezTo>
                      <a:pt x="448098" y="493395"/>
                      <a:pt x="454765" y="486727"/>
                      <a:pt x="465243" y="477202"/>
                    </a:cubicBezTo>
                    <a:cubicBezTo>
                      <a:pt x="472863" y="469582"/>
                      <a:pt x="477625" y="464820"/>
                      <a:pt x="479530" y="461963"/>
                    </a:cubicBezTo>
                    <a:cubicBezTo>
                      <a:pt x="482388" y="458152"/>
                      <a:pt x="483340" y="454342"/>
                      <a:pt x="483340" y="451485"/>
                    </a:cubicBezTo>
                    <a:cubicBezTo>
                      <a:pt x="483340" y="447675"/>
                      <a:pt x="482388" y="444817"/>
                      <a:pt x="480483" y="442913"/>
                    </a:cubicBezTo>
                    <a:cubicBezTo>
                      <a:pt x="478578" y="441007"/>
                      <a:pt x="475720" y="440055"/>
                      <a:pt x="471911" y="440055"/>
                    </a:cubicBezTo>
                    <a:cubicBezTo>
                      <a:pt x="468100" y="440055"/>
                      <a:pt x="465243" y="441007"/>
                      <a:pt x="463338" y="442913"/>
                    </a:cubicBezTo>
                    <a:cubicBezTo>
                      <a:pt x="461433" y="444817"/>
                      <a:pt x="459528" y="448627"/>
                      <a:pt x="459528" y="454342"/>
                    </a:cubicBezTo>
                    <a:lnTo>
                      <a:pt x="442383" y="452438"/>
                    </a:lnTo>
                    <a:cubicBezTo>
                      <a:pt x="443336" y="442913"/>
                      <a:pt x="447145" y="436245"/>
                      <a:pt x="451908" y="431482"/>
                    </a:cubicBezTo>
                    <a:cubicBezTo>
                      <a:pt x="456670" y="426720"/>
                      <a:pt x="464290" y="424815"/>
                      <a:pt x="472863" y="424815"/>
                    </a:cubicBezTo>
                    <a:cubicBezTo>
                      <a:pt x="481436" y="424815"/>
                      <a:pt x="489055" y="427672"/>
                      <a:pt x="493818" y="432435"/>
                    </a:cubicBezTo>
                    <a:cubicBezTo>
                      <a:pt x="498580" y="437197"/>
                      <a:pt x="501438" y="442913"/>
                      <a:pt x="501438" y="450532"/>
                    </a:cubicBezTo>
                    <a:cubicBezTo>
                      <a:pt x="501438" y="454342"/>
                      <a:pt x="500486" y="458152"/>
                      <a:pt x="499533" y="461963"/>
                    </a:cubicBezTo>
                    <a:cubicBezTo>
                      <a:pt x="497628" y="465772"/>
                      <a:pt x="495723" y="469582"/>
                      <a:pt x="492865" y="473392"/>
                    </a:cubicBezTo>
                    <a:cubicBezTo>
                      <a:pt x="490961" y="476250"/>
                      <a:pt x="487150" y="480060"/>
                      <a:pt x="481436" y="484822"/>
                    </a:cubicBezTo>
                    <a:cubicBezTo>
                      <a:pt x="475720" y="489585"/>
                      <a:pt x="472863" y="493395"/>
                      <a:pt x="470958" y="495300"/>
                    </a:cubicBezTo>
                    <a:cubicBezTo>
                      <a:pt x="469053" y="497205"/>
                      <a:pt x="468100" y="498157"/>
                      <a:pt x="467148" y="500063"/>
                    </a:cubicBezTo>
                    <a:lnTo>
                      <a:pt x="500486" y="500063"/>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41" name="Freeform: Shape 39">
                <a:extLst>
                  <a:ext uri="{FF2B5EF4-FFF2-40B4-BE49-F238E27FC236}">
                    <a16:creationId xmlns:a16="http://schemas.microsoft.com/office/drawing/2014/main" id="{569D9BAC-17E7-4201-BE74-5674831C751D}"/>
                  </a:ext>
                </a:extLst>
              </p:cNvPr>
              <p:cNvSpPr/>
              <p:nvPr/>
            </p:nvSpPr>
            <p:spPr>
              <a:xfrm>
                <a:off x="9205912" y="2824162"/>
                <a:ext cx="137160" cy="170497"/>
              </a:xfrm>
              <a:custGeom>
                <a:avLst/>
                <a:gdLst>
                  <a:gd name="connsiteX0" fmla="*/ 68580 w 137160"/>
                  <a:gd name="connsiteY0" fmla="*/ 0 h 170497"/>
                  <a:gd name="connsiteX1" fmla="*/ 19050 w 137160"/>
                  <a:gd name="connsiteY1" fmla="*/ 20955 h 170497"/>
                  <a:gd name="connsiteX2" fmla="*/ 0 w 137160"/>
                  <a:gd name="connsiteY2" fmla="*/ 84772 h 170497"/>
                  <a:gd name="connsiteX3" fmla="*/ 19050 w 137160"/>
                  <a:gd name="connsiteY3" fmla="*/ 148590 h 170497"/>
                  <a:gd name="connsiteX4" fmla="*/ 68580 w 137160"/>
                  <a:gd name="connsiteY4" fmla="*/ 170497 h 170497"/>
                  <a:gd name="connsiteX5" fmla="*/ 118110 w 137160"/>
                  <a:gd name="connsiteY5" fmla="*/ 148590 h 170497"/>
                  <a:gd name="connsiteX6" fmla="*/ 137160 w 137160"/>
                  <a:gd name="connsiteY6" fmla="*/ 83820 h 170497"/>
                  <a:gd name="connsiteX7" fmla="*/ 118110 w 137160"/>
                  <a:gd name="connsiteY7" fmla="*/ 20003 h 170497"/>
                  <a:gd name="connsiteX8" fmla="*/ 68580 w 137160"/>
                  <a:gd name="connsiteY8" fmla="*/ 0 h 1704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7160" h="170497">
                    <a:moveTo>
                      <a:pt x="68580" y="0"/>
                    </a:moveTo>
                    <a:cubicBezTo>
                      <a:pt x="47625" y="0"/>
                      <a:pt x="31432" y="6667"/>
                      <a:pt x="19050" y="20955"/>
                    </a:cubicBezTo>
                    <a:cubicBezTo>
                      <a:pt x="6668" y="35242"/>
                      <a:pt x="0" y="56197"/>
                      <a:pt x="0" y="84772"/>
                    </a:cubicBezTo>
                    <a:cubicBezTo>
                      <a:pt x="0" y="112395"/>
                      <a:pt x="6668" y="134303"/>
                      <a:pt x="19050" y="148590"/>
                    </a:cubicBezTo>
                    <a:cubicBezTo>
                      <a:pt x="32385" y="162878"/>
                      <a:pt x="48577" y="170497"/>
                      <a:pt x="68580" y="170497"/>
                    </a:cubicBezTo>
                    <a:cubicBezTo>
                      <a:pt x="88582" y="170497"/>
                      <a:pt x="104775" y="162878"/>
                      <a:pt x="118110" y="148590"/>
                    </a:cubicBezTo>
                    <a:cubicBezTo>
                      <a:pt x="130493" y="134303"/>
                      <a:pt x="137160" y="112395"/>
                      <a:pt x="137160" y="83820"/>
                    </a:cubicBezTo>
                    <a:cubicBezTo>
                      <a:pt x="137160" y="55245"/>
                      <a:pt x="130493" y="34290"/>
                      <a:pt x="118110" y="20003"/>
                    </a:cubicBezTo>
                    <a:cubicBezTo>
                      <a:pt x="105727" y="6667"/>
                      <a:pt x="89535" y="0"/>
                      <a:pt x="68580" y="0"/>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grpSp>
      <p:cxnSp>
        <p:nvCxnSpPr>
          <p:cNvPr id="42" name="Line">
            <a:extLst>
              <a:ext uri="{FF2B5EF4-FFF2-40B4-BE49-F238E27FC236}">
                <a16:creationId xmlns:a16="http://schemas.microsoft.com/office/drawing/2014/main" id="{D1FF1192-567F-4055-9D51-47E4E2C3D982}"/>
              </a:ext>
            </a:extLst>
          </p:cNvPr>
          <p:cNvCxnSpPr>
            <a:cxnSpLocks/>
          </p:cNvCxnSpPr>
          <p:nvPr/>
        </p:nvCxnSpPr>
        <p:spPr>
          <a:xfrm>
            <a:off x="6391275" y="5741167"/>
            <a:ext cx="4766266" cy="0"/>
          </a:xfrm>
          <a:prstGeom prst="line">
            <a:avLst/>
          </a:prstGeom>
          <a:ln w="25400" cap="rnd">
            <a:solidFill>
              <a:schemeClr val="tx1">
                <a:lumMod val="60000"/>
                <a:lumOff val="40000"/>
              </a:schemeClr>
            </a:solidFill>
            <a:prstDash val="sysDot"/>
          </a:ln>
        </p:spPr>
        <p:style>
          <a:lnRef idx="1">
            <a:schemeClr val="accent1"/>
          </a:lnRef>
          <a:fillRef idx="0">
            <a:schemeClr val="accent1"/>
          </a:fillRef>
          <a:effectRef idx="0">
            <a:schemeClr val="accent1"/>
          </a:effectRef>
          <a:fontRef idx="minor">
            <a:schemeClr val="tx1"/>
          </a:fontRef>
        </p:style>
      </p:cxnSp>
      <p:sp>
        <p:nvSpPr>
          <p:cNvPr id="43" name="Dot">
            <a:extLst>
              <a:ext uri="{FF2B5EF4-FFF2-40B4-BE49-F238E27FC236}">
                <a16:creationId xmlns:a16="http://schemas.microsoft.com/office/drawing/2014/main" id="{CE3F4627-DFCF-41A6-BE02-21CFC4B20899}"/>
              </a:ext>
            </a:extLst>
          </p:cNvPr>
          <p:cNvSpPr/>
          <p:nvPr/>
        </p:nvSpPr>
        <p:spPr>
          <a:xfrm>
            <a:off x="6344470" y="5689380"/>
            <a:ext cx="103575" cy="103575"/>
          </a:xfrm>
          <a:prstGeom prst="ellipse">
            <a:avLst/>
          </a:prstGeom>
          <a:solidFill>
            <a:schemeClr val="accent1"/>
          </a:solidFill>
          <a:ln w="635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900" b="0" i="0" u="none" strike="noStrike" kern="1200" cap="none" spc="0" normalizeH="0" baseline="0" noProof="0" dirty="0">
              <a:ln>
                <a:noFill/>
              </a:ln>
              <a:solidFill>
                <a:srgbClr val="FFFFFF"/>
              </a:solidFill>
              <a:effectLst/>
              <a:uLnTx/>
              <a:uFillTx/>
              <a:latin typeface="等线" panose="020F0502020204030204"/>
              <a:ea typeface="맑은 고딕" panose="020B0503020000020004" pitchFamily="34" charset="-127"/>
              <a:cs typeface="+mn-cs"/>
            </a:endParaRPr>
          </a:p>
        </p:txBody>
      </p:sp>
      <p:sp>
        <p:nvSpPr>
          <p:cNvPr id="44" name="TextBox 43">
            <a:extLst>
              <a:ext uri="{FF2B5EF4-FFF2-40B4-BE49-F238E27FC236}">
                <a16:creationId xmlns:a16="http://schemas.microsoft.com/office/drawing/2014/main" id="{4E96D911-C6A4-4AA7-9AC1-6E1A7CA4A279}"/>
              </a:ext>
            </a:extLst>
          </p:cNvPr>
          <p:cNvSpPr txBox="1"/>
          <p:nvPr/>
        </p:nvSpPr>
        <p:spPr>
          <a:xfrm>
            <a:off x="6096000" y="5857541"/>
            <a:ext cx="600514"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altLang="ko-KR" sz="1200" b="1" i="0" u="none" strike="noStrike" kern="1200" cap="none" spc="0" normalizeH="0" baseline="0" noProof="0">
                <a:ln>
                  <a:noFill/>
                </a:ln>
                <a:solidFill>
                  <a:srgbClr val="000000"/>
                </a:solidFill>
                <a:effectLst/>
                <a:uLnTx/>
                <a:uFillTx/>
                <a:latin typeface="等线 Light" panose="020F0302020204030204"/>
                <a:ea typeface="Roboto Light" pitchFamily="2" charset="0"/>
                <a:cs typeface="+mn-cs"/>
              </a:rPr>
              <a:t>1999</a:t>
            </a:r>
            <a:endParaRPr kumimoji="0" lang="ko-KR" altLang="en-US" sz="1200" b="1" i="0" u="none" strike="noStrike" kern="1200" cap="none" spc="0" normalizeH="0" baseline="0" noProof="0" dirty="0">
              <a:ln>
                <a:noFill/>
              </a:ln>
              <a:solidFill>
                <a:srgbClr val="000000"/>
              </a:solidFill>
              <a:effectLst/>
              <a:uLnTx/>
              <a:uFillTx/>
              <a:latin typeface="等线 Light" panose="020F0302020204030204"/>
              <a:ea typeface="맑은 고딕" panose="020B0503020000020004" pitchFamily="34" charset="-127"/>
              <a:cs typeface="+mn-cs"/>
            </a:endParaRPr>
          </a:p>
        </p:txBody>
      </p:sp>
      <p:sp>
        <p:nvSpPr>
          <p:cNvPr id="45" name="SpaceBar">
            <a:extLst>
              <a:ext uri="{FF2B5EF4-FFF2-40B4-BE49-F238E27FC236}">
                <a16:creationId xmlns:a16="http://schemas.microsoft.com/office/drawing/2014/main" id="{EBDD03AF-C38F-44EF-8559-44931648AE36}"/>
              </a:ext>
            </a:extLst>
          </p:cNvPr>
          <p:cNvSpPr/>
          <p:nvPr/>
        </p:nvSpPr>
        <p:spPr>
          <a:xfrm rot="10800000">
            <a:off x="6148335" y="2764905"/>
            <a:ext cx="495844" cy="2782183"/>
          </a:xfrm>
          <a:prstGeom prst="roundRect">
            <a:avLst>
              <a:gd name="adj" fmla="val 50000"/>
            </a:avLst>
          </a:prstGeom>
          <a:solidFill>
            <a:schemeClr val="bg2">
              <a:lumMod val="75000"/>
            </a:schemeClr>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1800" b="0" i="0" u="none" strike="noStrike" kern="1200" cap="none" spc="0" normalizeH="0" baseline="0" noProof="0" dirty="0">
              <a:ln>
                <a:noFill/>
              </a:ln>
              <a:solidFill>
                <a:srgbClr val="FFFFFF"/>
              </a:solidFill>
              <a:effectLst/>
              <a:uLnTx/>
              <a:uFillTx/>
              <a:latin typeface="等线" panose="020F0502020204030204"/>
              <a:ea typeface="맑은 고딕" panose="020B0503020000020004" pitchFamily="34" charset="-127"/>
              <a:cs typeface="+mn-cs"/>
            </a:endParaRPr>
          </a:p>
        </p:txBody>
      </p:sp>
      <p:sp>
        <p:nvSpPr>
          <p:cNvPr id="46" name="Bar">
            <a:extLst>
              <a:ext uri="{FF2B5EF4-FFF2-40B4-BE49-F238E27FC236}">
                <a16:creationId xmlns:a16="http://schemas.microsoft.com/office/drawing/2014/main" id="{63B48249-3A4B-40C3-93A6-2E9DE9D03A4F}"/>
              </a:ext>
            </a:extLst>
          </p:cNvPr>
          <p:cNvSpPr/>
          <p:nvPr/>
        </p:nvSpPr>
        <p:spPr>
          <a:xfrm rot="10800000">
            <a:off x="6148335" y="3410594"/>
            <a:ext cx="495843" cy="2136495"/>
          </a:xfrm>
          <a:prstGeom prst="roundRect">
            <a:avLst>
              <a:gd name="adj" fmla="val 50000"/>
            </a:avLst>
          </a:prstGeom>
          <a:solidFill>
            <a:schemeClr val="accent1"/>
          </a:solidFill>
          <a:ln w="317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1800" b="0" i="0" u="none" strike="noStrike" kern="1200" cap="none" spc="0" normalizeH="0" baseline="0" noProof="0" dirty="0">
              <a:ln>
                <a:noFill/>
              </a:ln>
              <a:solidFill>
                <a:srgbClr val="FFFFFF"/>
              </a:solidFill>
              <a:effectLst/>
              <a:uLnTx/>
              <a:uFillTx/>
              <a:latin typeface="等线" panose="020F0502020204030204"/>
              <a:ea typeface="맑은 고딕" panose="020B0503020000020004" pitchFamily="34" charset="-127"/>
              <a:cs typeface="+mn-cs"/>
            </a:endParaRPr>
          </a:p>
        </p:txBody>
      </p:sp>
      <p:sp>
        <p:nvSpPr>
          <p:cNvPr id="47" name="TextBox 68">
            <a:extLst>
              <a:ext uri="{FF2B5EF4-FFF2-40B4-BE49-F238E27FC236}">
                <a16:creationId xmlns:a16="http://schemas.microsoft.com/office/drawing/2014/main" id="{B8F10F6C-A3C0-4643-8E73-4B964B149EC1}"/>
              </a:ext>
            </a:extLst>
          </p:cNvPr>
          <p:cNvSpPr txBox="1"/>
          <p:nvPr/>
        </p:nvSpPr>
        <p:spPr>
          <a:xfrm>
            <a:off x="6123436" y="3572869"/>
            <a:ext cx="545640" cy="215444"/>
          </a:xfrm>
          <a:prstGeom prst="rect">
            <a:avLst/>
          </a:prstGeom>
          <a:noFill/>
        </p:spPr>
        <p:txBody>
          <a:bodyPr wrap="squar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altLang="ko-KR" sz="1400" b="1" i="0" u="none" strike="noStrike" kern="1200" cap="none" spc="0" normalizeH="0" baseline="0" noProof="0" dirty="0">
                <a:ln>
                  <a:noFill/>
                </a:ln>
                <a:gradFill>
                  <a:gsLst>
                    <a:gs pos="0">
                      <a:srgbClr val="F0F0F0"/>
                    </a:gs>
                    <a:gs pos="100000">
                      <a:srgbClr val="F0F0F0"/>
                    </a:gs>
                  </a:gsLst>
                  <a:lin ang="5400000" scaled="0"/>
                </a:gradFill>
                <a:effectLst/>
                <a:uLnTx/>
                <a:uFillTx/>
                <a:latin typeface="等线 Light" panose="020F0302020204030204"/>
                <a:ea typeface="Roboto Light" pitchFamily="2" charset="0"/>
                <a:cs typeface="+mn-cs"/>
              </a:rPr>
              <a:t>7</a:t>
            </a:r>
            <a:r>
              <a:rPr kumimoji="0" lang="nb-NO" altLang="ko-KR" sz="1400" b="1" i="0" u="none" strike="noStrike" kern="1200" cap="none" spc="0" normalizeH="0" baseline="0" noProof="0">
                <a:ln>
                  <a:noFill/>
                </a:ln>
                <a:gradFill>
                  <a:gsLst>
                    <a:gs pos="0">
                      <a:srgbClr val="F0F0F0"/>
                    </a:gs>
                    <a:gs pos="100000">
                      <a:srgbClr val="F0F0F0"/>
                    </a:gs>
                  </a:gsLst>
                  <a:lin ang="5400000" scaled="0"/>
                </a:gradFill>
                <a:effectLst/>
                <a:uLnTx/>
                <a:uFillTx/>
                <a:latin typeface="等线 Light" panose="020F0302020204030204"/>
                <a:ea typeface="Roboto Light" pitchFamily="2" charset="0"/>
                <a:cs typeface="+mn-cs"/>
              </a:rPr>
              <a:t>1</a:t>
            </a:r>
            <a:r>
              <a:rPr kumimoji="0" lang="nb-NO" altLang="ko-KR" sz="1400" b="1" i="0" u="none" strike="noStrike" kern="1200" cap="none" spc="0" normalizeH="0" baseline="0" noProof="0" dirty="0">
                <a:ln>
                  <a:noFill/>
                </a:ln>
                <a:gradFill>
                  <a:gsLst>
                    <a:gs pos="0">
                      <a:srgbClr val="F0F0F0"/>
                    </a:gs>
                    <a:gs pos="100000">
                      <a:srgbClr val="F0F0F0"/>
                    </a:gs>
                  </a:gsLst>
                  <a:lin ang="5400000" scaled="0"/>
                </a:gradFill>
                <a:effectLst/>
                <a:uLnTx/>
                <a:uFillTx/>
                <a:latin typeface="等线 Light" panose="020F0302020204030204"/>
                <a:ea typeface="Roboto Light" pitchFamily="2" charset="0"/>
                <a:cs typeface="+mn-cs"/>
              </a:rPr>
              <a:t>%</a:t>
            </a:r>
            <a:endParaRPr kumimoji="0" lang="ko-KR" altLang="en-US" sz="1400" b="1" i="0" u="none" strike="noStrike" kern="1200" cap="none" spc="0" normalizeH="0" baseline="0" noProof="0" dirty="0">
              <a:ln>
                <a:noFill/>
              </a:ln>
              <a:gradFill>
                <a:gsLst>
                  <a:gs pos="0">
                    <a:srgbClr val="F0F0F0"/>
                  </a:gs>
                  <a:gs pos="100000">
                    <a:srgbClr val="F0F0F0"/>
                  </a:gs>
                </a:gsLst>
                <a:lin ang="5400000" scaled="0"/>
              </a:gradFill>
              <a:effectLst/>
              <a:uLnTx/>
              <a:uFillTx/>
              <a:latin typeface="等线 Light" panose="020F0302020204030204"/>
              <a:ea typeface="Roboto Light" pitchFamily="2" charset="0"/>
              <a:cs typeface="+mn-cs"/>
            </a:endParaRPr>
          </a:p>
        </p:txBody>
      </p:sp>
      <p:sp>
        <p:nvSpPr>
          <p:cNvPr id="48" name="Dot">
            <a:extLst>
              <a:ext uri="{FF2B5EF4-FFF2-40B4-BE49-F238E27FC236}">
                <a16:creationId xmlns:a16="http://schemas.microsoft.com/office/drawing/2014/main" id="{ECBE061D-5EFA-43E5-AC15-4C4E03DAA254}"/>
              </a:ext>
            </a:extLst>
          </p:cNvPr>
          <p:cNvSpPr/>
          <p:nvPr/>
        </p:nvSpPr>
        <p:spPr>
          <a:xfrm>
            <a:off x="7544316" y="5689380"/>
            <a:ext cx="103575" cy="103575"/>
          </a:xfrm>
          <a:prstGeom prst="ellipse">
            <a:avLst/>
          </a:prstGeom>
          <a:solidFill>
            <a:schemeClr val="accent2"/>
          </a:solidFill>
          <a:ln w="635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900" b="0" i="0" u="none" strike="noStrike" kern="1200" cap="none" spc="0" normalizeH="0" baseline="0" noProof="0" dirty="0">
              <a:ln>
                <a:noFill/>
              </a:ln>
              <a:solidFill>
                <a:srgbClr val="FFFFFF"/>
              </a:solidFill>
              <a:effectLst/>
              <a:uLnTx/>
              <a:uFillTx/>
              <a:latin typeface="等线" panose="020F0502020204030204"/>
              <a:ea typeface="맑은 고딕" panose="020B0503020000020004" pitchFamily="34" charset="-127"/>
              <a:cs typeface="+mn-cs"/>
            </a:endParaRPr>
          </a:p>
        </p:txBody>
      </p:sp>
      <p:sp>
        <p:nvSpPr>
          <p:cNvPr id="49" name="TextBox 86">
            <a:extLst>
              <a:ext uri="{FF2B5EF4-FFF2-40B4-BE49-F238E27FC236}">
                <a16:creationId xmlns:a16="http://schemas.microsoft.com/office/drawing/2014/main" id="{5A759ACE-7CE2-43B6-9CF1-E3AB93681AAC}"/>
              </a:ext>
            </a:extLst>
          </p:cNvPr>
          <p:cNvSpPr txBox="1"/>
          <p:nvPr/>
        </p:nvSpPr>
        <p:spPr>
          <a:xfrm>
            <a:off x="7295846" y="5863567"/>
            <a:ext cx="600514"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altLang="ko-KR" sz="1200" b="1" i="0" u="none" strike="noStrike" kern="1200" cap="none" spc="0" normalizeH="0" baseline="0" noProof="0">
                <a:ln>
                  <a:noFill/>
                </a:ln>
                <a:solidFill>
                  <a:srgbClr val="000000"/>
                </a:solidFill>
                <a:effectLst/>
                <a:uLnTx/>
                <a:uFillTx/>
                <a:latin typeface="等线 Light" panose="020F0302020204030204"/>
                <a:ea typeface="Roboto Light" pitchFamily="2" charset="0"/>
                <a:cs typeface="+mn-cs"/>
              </a:rPr>
              <a:t>2000</a:t>
            </a:r>
            <a:endParaRPr kumimoji="0" lang="ko-KR" altLang="en-US" sz="1200" b="1" i="0" u="none" strike="noStrike" kern="1200" cap="none" spc="0" normalizeH="0" baseline="0" noProof="0" dirty="0">
              <a:ln>
                <a:noFill/>
              </a:ln>
              <a:solidFill>
                <a:srgbClr val="000000"/>
              </a:solidFill>
              <a:effectLst/>
              <a:uLnTx/>
              <a:uFillTx/>
              <a:latin typeface="等线 Light" panose="020F0302020204030204"/>
              <a:ea typeface="맑은 고딕" panose="020B0503020000020004" pitchFamily="34" charset="-127"/>
              <a:cs typeface="+mn-cs"/>
            </a:endParaRPr>
          </a:p>
        </p:txBody>
      </p:sp>
      <p:sp>
        <p:nvSpPr>
          <p:cNvPr id="50" name="SpaceBar">
            <a:extLst>
              <a:ext uri="{FF2B5EF4-FFF2-40B4-BE49-F238E27FC236}">
                <a16:creationId xmlns:a16="http://schemas.microsoft.com/office/drawing/2014/main" id="{7D752E9F-36D1-458A-BF03-6F5C49B95B1B}"/>
              </a:ext>
            </a:extLst>
          </p:cNvPr>
          <p:cNvSpPr/>
          <p:nvPr/>
        </p:nvSpPr>
        <p:spPr>
          <a:xfrm rot="10800000">
            <a:off x="7348181" y="2770931"/>
            <a:ext cx="495844" cy="2782183"/>
          </a:xfrm>
          <a:prstGeom prst="roundRect">
            <a:avLst>
              <a:gd name="adj" fmla="val 50000"/>
            </a:avLst>
          </a:prstGeom>
          <a:solidFill>
            <a:schemeClr val="bg2">
              <a:lumMod val="75000"/>
            </a:schemeClr>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1800" b="0" i="0" u="none" strike="noStrike" kern="1200" cap="none" spc="0" normalizeH="0" baseline="0" noProof="0" dirty="0">
              <a:ln>
                <a:noFill/>
              </a:ln>
              <a:solidFill>
                <a:srgbClr val="FFFFFF"/>
              </a:solidFill>
              <a:effectLst/>
              <a:uLnTx/>
              <a:uFillTx/>
              <a:latin typeface="等线" panose="020F0502020204030204"/>
              <a:ea typeface="맑은 고딕" panose="020B0503020000020004" pitchFamily="34" charset="-127"/>
              <a:cs typeface="+mn-cs"/>
            </a:endParaRPr>
          </a:p>
        </p:txBody>
      </p:sp>
      <p:sp>
        <p:nvSpPr>
          <p:cNvPr id="51" name="Bar">
            <a:extLst>
              <a:ext uri="{FF2B5EF4-FFF2-40B4-BE49-F238E27FC236}">
                <a16:creationId xmlns:a16="http://schemas.microsoft.com/office/drawing/2014/main" id="{531FEC21-E4EE-4241-A537-CB437548AC65}"/>
              </a:ext>
            </a:extLst>
          </p:cNvPr>
          <p:cNvSpPr/>
          <p:nvPr/>
        </p:nvSpPr>
        <p:spPr>
          <a:xfrm rot="10800000">
            <a:off x="7348180" y="3203013"/>
            <a:ext cx="495843" cy="2350101"/>
          </a:xfrm>
          <a:prstGeom prst="roundRect">
            <a:avLst>
              <a:gd name="adj" fmla="val 50000"/>
            </a:avLst>
          </a:prstGeom>
          <a:solidFill>
            <a:schemeClr val="accent2"/>
          </a:solidFill>
          <a:ln w="317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1800" b="0" i="0" u="none" strike="noStrike" kern="1200" cap="none" spc="0" normalizeH="0" baseline="0" noProof="0" dirty="0">
              <a:ln>
                <a:noFill/>
              </a:ln>
              <a:solidFill>
                <a:srgbClr val="FFFFFF"/>
              </a:solidFill>
              <a:effectLst/>
              <a:uLnTx/>
              <a:uFillTx/>
              <a:latin typeface="等线" panose="020F0502020204030204"/>
              <a:ea typeface="맑은 고딕" panose="020B0503020000020004" pitchFamily="34" charset="-127"/>
              <a:cs typeface="+mn-cs"/>
            </a:endParaRPr>
          </a:p>
        </p:txBody>
      </p:sp>
      <p:sp>
        <p:nvSpPr>
          <p:cNvPr id="52" name="Dot">
            <a:extLst>
              <a:ext uri="{FF2B5EF4-FFF2-40B4-BE49-F238E27FC236}">
                <a16:creationId xmlns:a16="http://schemas.microsoft.com/office/drawing/2014/main" id="{A433E43F-D89B-4C96-9AB6-DE7621094FEA}"/>
              </a:ext>
            </a:extLst>
          </p:cNvPr>
          <p:cNvSpPr/>
          <p:nvPr/>
        </p:nvSpPr>
        <p:spPr>
          <a:xfrm>
            <a:off x="8744162" y="5689380"/>
            <a:ext cx="103575" cy="103575"/>
          </a:xfrm>
          <a:prstGeom prst="ellipse">
            <a:avLst/>
          </a:prstGeom>
          <a:solidFill>
            <a:schemeClr val="accent3"/>
          </a:solidFill>
          <a:ln w="635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900" b="0" i="0" u="none" strike="noStrike" kern="1200" cap="none" spc="0" normalizeH="0" baseline="0" noProof="0" dirty="0">
              <a:ln>
                <a:noFill/>
              </a:ln>
              <a:solidFill>
                <a:srgbClr val="FFFFFF"/>
              </a:solidFill>
              <a:effectLst/>
              <a:uLnTx/>
              <a:uFillTx/>
              <a:latin typeface="等线" panose="020F0502020204030204"/>
              <a:ea typeface="맑은 고딕" panose="020B0503020000020004" pitchFamily="34" charset="-127"/>
              <a:cs typeface="+mn-cs"/>
            </a:endParaRPr>
          </a:p>
        </p:txBody>
      </p:sp>
      <p:sp>
        <p:nvSpPr>
          <p:cNvPr id="53" name="TextBox 91">
            <a:extLst>
              <a:ext uri="{FF2B5EF4-FFF2-40B4-BE49-F238E27FC236}">
                <a16:creationId xmlns:a16="http://schemas.microsoft.com/office/drawing/2014/main" id="{0B07EFFC-B56F-437F-BC04-02A8B6096BF5}"/>
              </a:ext>
            </a:extLst>
          </p:cNvPr>
          <p:cNvSpPr txBox="1"/>
          <p:nvPr/>
        </p:nvSpPr>
        <p:spPr>
          <a:xfrm>
            <a:off x="8495692" y="5869593"/>
            <a:ext cx="600514"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altLang="ko-KR" sz="1200" b="1" i="0" u="none" strike="noStrike" kern="1200" cap="none" spc="0" normalizeH="0" baseline="0" noProof="0" dirty="0">
                <a:ln>
                  <a:noFill/>
                </a:ln>
                <a:solidFill>
                  <a:srgbClr val="000000"/>
                </a:solidFill>
                <a:effectLst/>
                <a:uLnTx/>
                <a:uFillTx/>
                <a:latin typeface="等线 Light" panose="020F0302020204030204"/>
                <a:ea typeface="Roboto Light" pitchFamily="2" charset="0"/>
                <a:cs typeface="+mn-cs"/>
              </a:rPr>
              <a:t>2009</a:t>
            </a:r>
            <a:endParaRPr kumimoji="0" lang="ko-KR" altLang="en-US" sz="1200" b="1" i="0" u="none" strike="noStrike" kern="1200" cap="none" spc="0" normalizeH="0" baseline="0" noProof="0" dirty="0">
              <a:ln>
                <a:noFill/>
              </a:ln>
              <a:solidFill>
                <a:srgbClr val="000000"/>
              </a:solidFill>
              <a:effectLst/>
              <a:uLnTx/>
              <a:uFillTx/>
              <a:latin typeface="等线 Light" panose="020F0302020204030204"/>
              <a:ea typeface="맑은 고딕" panose="020B0503020000020004" pitchFamily="34" charset="-127"/>
              <a:cs typeface="+mn-cs"/>
            </a:endParaRPr>
          </a:p>
        </p:txBody>
      </p:sp>
      <p:sp>
        <p:nvSpPr>
          <p:cNvPr id="54" name="SpaceBar">
            <a:extLst>
              <a:ext uri="{FF2B5EF4-FFF2-40B4-BE49-F238E27FC236}">
                <a16:creationId xmlns:a16="http://schemas.microsoft.com/office/drawing/2014/main" id="{706CBDAE-7D87-4DD6-B9AC-D05E7F750516}"/>
              </a:ext>
            </a:extLst>
          </p:cNvPr>
          <p:cNvSpPr/>
          <p:nvPr/>
        </p:nvSpPr>
        <p:spPr>
          <a:xfrm rot="10800000">
            <a:off x="8548027" y="2776957"/>
            <a:ext cx="495844" cy="2782183"/>
          </a:xfrm>
          <a:prstGeom prst="roundRect">
            <a:avLst>
              <a:gd name="adj" fmla="val 50000"/>
            </a:avLst>
          </a:prstGeom>
          <a:solidFill>
            <a:schemeClr val="bg2">
              <a:lumMod val="75000"/>
            </a:schemeClr>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1800" b="0" i="0" u="none" strike="noStrike" kern="1200" cap="none" spc="0" normalizeH="0" baseline="0" noProof="0" dirty="0">
              <a:ln>
                <a:noFill/>
              </a:ln>
              <a:solidFill>
                <a:srgbClr val="FFFFFF"/>
              </a:solidFill>
              <a:effectLst/>
              <a:uLnTx/>
              <a:uFillTx/>
              <a:latin typeface="等线" panose="020F0502020204030204"/>
              <a:ea typeface="맑은 고딕" panose="020B0503020000020004" pitchFamily="34" charset="-127"/>
              <a:cs typeface="+mn-cs"/>
            </a:endParaRPr>
          </a:p>
        </p:txBody>
      </p:sp>
      <p:sp>
        <p:nvSpPr>
          <p:cNvPr id="55" name="Bar">
            <a:extLst>
              <a:ext uri="{FF2B5EF4-FFF2-40B4-BE49-F238E27FC236}">
                <a16:creationId xmlns:a16="http://schemas.microsoft.com/office/drawing/2014/main" id="{0C7879FD-EACD-4A2C-97E2-4AE96F033C57}"/>
              </a:ext>
            </a:extLst>
          </p:cNvPr>
          <p:cNvSpPr/>
          <p:nvPr/>
        </p:nvSpPr>
        <p:spPr>
          <a:xfrm rot="10800000">
            <a:off x="8548027" y="3727369"/>
            <a:ext cx="495843" cy="1831772"/>
          </a:xfrm>
          <a:prstGeom prst="roundRect">
            <a:avLst>
              <a:gd name="adj" fmla="val 50000"/>
            </a:avLst>
          </a:prstGeom>
          <a:solidFill>
            <a:schemeClr val="accent3"/>
          </a:solidFill>
          <a:ln w="317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1800" b="0" i="0" u="none" strike="noStrike" kern="1200" cap="none" spc="0" normalizeH="0" baseline="0" noProof="0" dirty="0">
              <a:ln>
                <a:noFill/>
              </a:ln>
              <a:solidFill>
                <a:srgbClr val="FFFFFF"/>
              </a:solidFill>
              <a:effectLst/>
              <a:uLnTx/>
              <a:uFillTx/>
              <a:latin typeface="等线" panose="020F0502020204030204"/>
              <a:ea typeface="맑은 고딕" panose="020B0503020000020004" pitchFamily="34" charset="-127"/>
              <a:cs typeface="+mn-cs"/>
            </a:endParaRPr>
          </a:p>
        </p:txBody>
      </p:sp>
      <p:sp>
        <p:nvSpPr>
          <p:cNvPr id="56" name="Dot">
            <a:extLst>
              <a:ext uri="{FF2B5EF4-FFF2-40B4-BE49-F238E27FC236}">
                <a16:creationId xmlns:a16="http://schemas.microsoft.com/office/drawing/2014/main" id="{A73CB521-1285-42FE-B1D9-01F355DA3130}"/>
              </a:ext>
            </a:extLst>
          </p:cNvPr>
          <p:cNvSpPr/>
          <p:nvPr/>
        </p:nvSpPr>
        <p:spPr>
          <a:xfrm>
            <a:off x="9944008" y="5689380"/>
            <a:ext cx="103575" cy="103575"/>
          </a:xfrm>
          <a:prstGeom prst="ellipse">
            <a:avLst/>
          </a:prstGeom>
          <a:solidFill>
            <a:schemeClr val="accent4"/>
          </a:solidFill>
          <a:ln w="635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900" b="0" i="0" u="none" strike="noStrike" kern="1200" cap="none" spc="0" normalizeH="0" baseline="0" noProof="0" dirty="0">
              <a:ln>
                <a:noFill/>
              </a:ln>
              <a:solidFill>
                <a:srgbClr val="FFFFFF"/>
              </a:solidFill>
              <a:effectLst/>
              <a:uLnTx/>
              <a:uFillTx/>
              <a:latin typeface="等线" panose="020F0502020204030204"/>
              <a:ea typeface="맑은 고딕" panose="020B0503020000020004" pitchFamily="34" charset="-127"/>
              <a:cs typeface="+mn-cs"/>
            </a:endParaRPr>
          </a:p>
        </p:txBody>
      </p:sp>
      <p:sp>
        <p:nvSpPr>
          <p:cNvPr id="57" name="TextBox 95">
            <a:extLst>
              <a:ext uri="{FF2B5EF4-FFF2-40B4-BE49-F238E27FC236}">
                <a16:creationId xmlns:a16="http://schemas.microsoft.com/office/drawing/2014/main" id="{D83CA87C-CE9D-4AFB-8354-7BB1DA593E36}"/>
              </a:ext>
            </a:extLst>
          </p:cNvPr>
          <p:cNvSpPr txBox="1"/>
          <p:nvPr/>
        </p:nvSpPr>
        <p:spPr>
          <a:xfrm>
            <a:off x="9695538" y="5875619"/>
            <a:ext cx="600514"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altLang="ko-KR" sz="1200" b="1" i="0" u="none" strike="noStrike" kern="1200" cap="none" spc="0" normalizeH="0" baseline="0" noProof="0">
                <a:ln>
                  <a:noFill/>
                </a:ln>
                <a:solidFill>
                  <a:srgbClr val="000000"/>
                </a:solidFill>
                <a:effectLst/>
                <a:uLnTx/>
                <a:uFillTx/>
                <a:latin typeface="等线 Light" panose="020F0302020204030204"/>
                <a:ea typeface="Roboto Light" pitchFamily="2" charset="0"/>
                <a:cs typeface="+mn-cs"/>
              </a:rPr>
              <a:t>2014</a:t>
            </a:r>
            <a:endParaRPr kumimoji="0" lang="ko-KR" altLang="en-US" sz="1200" b="1" i="0" u="none" strike="noStrike" kern="1200" cap="none" spc="0" normalizeH="0" baseline="0" noProof="0" dirty="0">
              <a:ln>
                <a:noFill/>
              </a:ln>
              <a:solidFill>
                <a:srgbClr val="000000"/>
              </a:solidFill>
              <a:effectLst/>
              <a:uLnTx/>
              <a:uFillTx/>
              <a:latin typeface="等线 Light" panose="020F0302020204030204"/>
              <a:ea typeface="맑은 고딕" panose="020B0503020000020004" pitchFamily="34" charset="-127"/>
              <a:cs typeface="+mn-cs"/>
            </a:endParaRPr>
          </a:p>
        </p:txBody>
      </p:sp>
      <p:sp>
        <p:nvSpPr>
          <p:cNvPr id="58" name="SpaceBar">
            <a:extLst>
              <a:ext uri="{FF2B5EF4-FFF2-40B4-BE49-F238E27FC236}">
                <a16:creationId xmlns:a16="http://schemas.microsoft.com/office/drawing/2014/main" id="{F476DC1E-8ABC-4EE7-81AF-8ECC2FDC00E1}"/>
              </a:ext>
            </a:extLst>
          </p:cNvPr>
          <p:cNvSpPr/>
          <p:nvPr/>
        </p:nvSpPr>
        <p:spPr>
          <a:xfrm rot="10800000">
            <a:off x="9747873" y="2782983"/>
            <a:ext cx="495844" cy="2782183"/>
          </a:xfrm>
          <a:prstGeom prst="roundRect">
            <a:avLst>
              <a:gd name="adj" fmla="val 50000"/>
            </a:avLst>
          </a:prstGeom>
          <a:solidFill>
            <a:schemeClr val="bg2">
              <a:lumMod val="75000"/>
            </a:schemeClr>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1800" b="0" i="0" u="none" strike="noStrike" kern="1200" cap="none" spc="0" normalizeH="0" baseline="0" noProof="0" dirty="0">
              <a:ln>
                <a:noFill/>
              </a:ln>
              <a:solidFill>
                <a:srgbClr val="FFFFFF"/>
              </a:solidFill>
              <a:effectLst/>
              <a:uLnTx/>
              <a:uFillTx/>
              <a:latin typeface="等线" panose="020F0502020204030204"/>
              <a:ea typeface="맑은 고딕" panose="020B0503020000020004" pitchFamily="34" charset="-127"/>
              <a:cs typeface="+mn-cs"/>
            </a:endParaRPr>
          </a:p>
        </p:txBody>
      </p:sp>
      <p:sp>
        <p:nvSpPr>
          <p:cNvPr id="59" name="Bar">
            <a:extLst>
              <a:ext uri="{FF2B5EF4-FFF2-40B4-BE49-F238E27FC236}">
                <a16:creationId xmlns:a16="http://schemas.microsoft.com/office/drawing/2014/main" id="{7FD6A5FF-5235-436F-94C0-3D09F1499973}"/>
              </a:ext>
            </a:extLst>
          </p:cNvPr>
          <p:cNvSpPr/>
          <p:nvPr/>
        </p:nvSpPr>
        <p:spPr>
          <a:xfrm rot="10800000">
            <a:off x="9747873" y="3569083"/>
            <a:ext cx="495843" cy="1996084"/>
          </a:xfrm>
          <a:prstGeom prst="roundRect">
            <a:avLst>
              <a:gd name="adj" fmla="val 50000"/>
            </a:avLst>
          </a:prstGeom>
          <a:solidFill>
            <a:schemeClr val="accent4"/>
          </a:solidFill>
          <a:ln w="317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1800" b="0" i="0" u="none" strike="noStrike" kern="1200" cap="none" spc="0" normalizeH="0" baseline="0" noProof="0" dirty="0">
              <a:ln>
                <a:noFill/>
              </a:ln>
              <a:solidFill>
                <a:srgbClr val="FFFFFF"/>
              </a:solidFill>
              <a:effectLst/>
              <a:uLnTx/>
              <a:uFillTx/>
              <a:latin typeface="等线" panose="020F0502020204030204"/>
              <a:ea typeface="맑은 고딕" panose="020B0503020000020004" pitchFamily="34" charset="-127"/>
              <a:cs typeface="+mn-cs"/>
            </a:endParaRPr>
          </a:p>
        </p:txBody>
      </p:sp>
      <p:sp>
        <p:nvSpPr>
          <p:cNvPr id="60" name="Dot">
            <a:extLst>
              <a:ext uri="{FF2B5EF4-FFF2-40B4-BE49-F238E27FC236}">
                <a16:creationId xmlns:a16="http://schemas.microsoft.com/office/drawing/2014/main" id="{14D2D176-87CF-47FC-AF0F-FF9105491D51}"/>
              </a:ext>
            </a:extLst>
          </p:cNvPr>
          <p:cNvSpPr/>
          <p:nvPr/>
        </p:nvSpPr>
        <p:spPr>
          <a:xfrm>
            <a:off x="11143854" y="5689380"/>
            <a:ext cx="103575" cy="103575"/>
          </a:xfrm>
          <a:prstGeom prst="ellipse">
            <a:avLst/>
          </a:prstGeom>
          <a:solidFill>
            <a:schemeClr val="accent5"/>
          </a:solidFill>
          <a:ln w="635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900" b="0" i="0" u="none" strike="noStrike" kern="1200" cap="none" spc="0" normalizeH="0" baseline="0" noProof="0" dirty="0">
              <a:ln>
                <a:noFill/>
              </a:ln>
              <a:solidFill>
                <a:srgbClr val="FFFFFF"/>
              </a:solidFill>
              <a:effectLst/>
              <a:uLnTx/>
              <a:uFillTx/>
              <a:latin typeface="等线" panose="020F0502020204030204"/>
              <a:ea typeface="맑은 고딕" panose="020B0503020000020004" pitchFamily="34" charset="-127"/>
              <a:cs typeface="+mn-cs"/>
            </a:endParaRPr>
          </a:p>
        </p:txBody>
      </p:sp>
      <p:sp>
        <p:nvSpPr>
          <p:cNvPr id="61" name="TextBox 99">
            <a:extLst>
              <a:ext uri="{FF2B5EF4-FFF2-40B4-BE49-F238E27FC236}">
                <a16:creationId xmlns:a16="http://schemas.microsoft.com/office/drawing/2014/main" id="{7026F88D-C8B1-4FFC-8BA5-F29BAA740945}"/>
              </a:ext>
            </a:extLst>
          </p:cNvPr>
          <p:cNvSpPr txBox="1"/>
          <p:nvPr/>
        </p:nvSpPr>
        <p:spPr>
          <a:xfrm>
            <a:off x="10895384" y="5881645"/>
            <a:ext cx="600514"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altLang="ko-KR" sz="1200" b="1" i="0" u="none" strike="noStrike" kern="1200" cap="none" spc="0" normalizeH="0" baseline="0" noProof="0">
                <a:ln>
                  <a:noFill/>
                </a:ln>
                <a:solidFill>
                  <a:srgbClr val="000000"/>
                </a:solidFill>
                <a:effectLst/>
                <a:uLnTx/>
                <a:uFillTx/>
                <a:latin typeface="等线 Light" panose="020F0302020204030204"/>
                <a:ea typeface="Roboto Light" pitchFamily="2" charset="0"/>
                <a:cs typeface="+mn-cs"/>
              </a:rPr>
              <a:t>2020</a:t>
            </a:r>
            <a:endParaRPr kumimoji="0" lang="ko-KR" altLang="en-US" sz="1200" b="1" i="0" u="none" strike="noStrike" kern="1200" cap="none" spc="0" normalizeH="0" baseline="0" noProof="0" dirty="0">
              <a:ln>
                <a:noFill/>
              </a:ln>
              <a:solidFill>
                <a:srgbClr val="000000"/>
              </a:solidFill>
              <a:effectLst/>
              <a:uLnTx/>
              <a:uFillTx/>
              <a:latin typeface="等线 Light" panose="020F0302020204030204"/>
              <a:ea typeface="맑은 고딕" panose="020B0503020000020004" pitchFamily="34" charset="-127"/>
              <a:cs typeface="+mn-cs"/>
            </a:endParaRPr>
          </a:p>
        </p:txBody>
      </p:sp>
      <p:sp>
        <p:nvSpPr>
          <p:cNvPr id="62" name="SpaceBar">
            <a:extLst>
              <a:ext uri="{FF2B5EF4-FFF2-40B4-BE49-F238E27FC236}">
                <a16:creationId xmlns:a16="http://schemas.microsoft.com/office/drawing/2014/main" id="{C3D77117-D505-40DD-8720-B5D7DEBC7F06}"/>
              </a:ext>
            </a:extLst>
          </p:cNvPr>
          <p:cNvSpPr/>
          <p:nvPr/>
        </p:nvSpPr>
        <p:spPr>
          <a:xfrm rot="10800000">
            <a:off x="10947719" y="2789009"/>
            <a:ext cx="495844" cy="2782183"/>
          </a:xfrm>
          <a:prstGeom prst="roundRect">
            <a:avLst>
              <a:gd name="adj" fmla="val 50000"/>
            </a:avLst>
          </a:prstGeom>
          <a:solidFill>
            <a:schemeClr val="bg2">
              <a:lumMod val="75000"/>
            </a:schemeClr>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1800" b="0" i="0" u="none" strike="noStrike" kern="1200" cap="none" spc="0" normalizeH="0" baseline="0" noProof="0" dirty="0">
              <a:ln>
                <a:noFill/>
              </a:ln>
              <a:solidFill>
                <a:srgbClr val="FFFFFF"/>
              </a:solidFill>
              <a:effectLst/>
              <a:uLnTx/>
              <a:uFillTx/>
              <a:latin typeface="等线" panose="020F0502020204030204"/>
              <a:ea typeface="맑은 고딕" panose="020B0503020000020004" pitchFamily="34" charset="-127"/>
              <a:cs typeface="+mn-cs"/>
            </a:endParaRPr>
          </a:p>
        </p:txBody>
      </p:sp>
      <p:sp>
        <p:nvSpPr>
          <p:cNvPr id="63" name="Bar">
            <a:extLst>
              <a:ext uri="{FF2B5EF4-FFF2-40B4-BE49-F238E27FC236}">
                <a16:creationId xmlns:a16="http://schemas.microsoft.com/office/drawing/2014/main" id="{BF780F1B-0637-4092-97AC-3381AB9E71D9}"/>
              </a:ext>
            </a:extLst>
          </p:cNvPr>
          <p:cNvSpPr/>
          <p:nvPr/>
        </p:nvSpPr>
        <p:spPr>
          <a:xfrm rot="10800000">
            <a:off x="10947719" y="3013596"/>
            <a:ext cx="495843" cy="2557597"/>
          </a:xfrm>
          <a:prstGeom prst="roundRect">
            <a:avLst>
              <a:gd name="adj" fmla="val 50000"/>
            </a:avLst>
          </a:prstGeom>
          <a:solidFill>
            <a:schemeClr val="accent5"/>
          </a:solidFill>
          <a:ln w="317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1800" b="0" i="0" u="none" strike="noStrike" kern="1200" cap="none" spc="0" normalizeH="0" baseline="0" noProof="0" dirty="0">
              <a:ln>
                <a:noFill/>
              </a:ln>
              <a:solidFill>
                <a:srgbClr val="FFFFFF"/>
              </a:solidFill>
              <a:effectLst/>
              <a:uLnTx/>
              <a:uFillTx/>
              <a:latin typeface="等线" panose="020F0502020204030204"/>
              <a:ea typeface="맑은 고딕" panose="020B0503020000020004" pitchFamily="34" charset="-127"/>
              <a:cs typeface="+mn-cs"/>
            </a:endParaRPr>
          </a:p>
        </p:txBody>
      </p:sp>
      <p:sp>
        <p:nvSpPr>
          <p:cNvPr id="64" name="TextBox 103">
            <a:extLst>
              <a:ext uri="{FF2B5EF4-FFF2-40B4-BE49-F238E27FC236}">
                <a16:creationId xmlns:a16="http://schemas.microsoft.com/office/drawing/2014/main" id="{1D281F7C-667F-4917-906C-DD660C489C51}"/>
              </a:ext>
            </a:extLst>
          </p:cNvPr>
          <p:cNvSpPr txBox="1"/>
          <p:nvPr/>
        </p:nvSpPr>
        <p:spPr>
          <a:xfrm>
            <a:off x="7383024" y="3353639"/>
            <a:ext cx="426156" cy="215444"/>
          </a:xfrm>
          <a:prstGeom prst="rect">
            <a:avLst/>
          </a:prstGeom>
          <a:noFill/>
        </p:spPr>
        <p:txBody>
          <a:bodyPr wrap="squar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altLang="ko-KR" sz="1400" b="1" i="0" u="none" strike="noStrike" kern="1200" cap="none" spc="0" normalizeH="0" baseline="0" noProof="0">
                <a:ln>
                  <a:noFill/>
                </a:ln>
                <a:gradFill>
                  <a:gsLst>
                    <a:gs pos="0">
                      <a:srgbClr val="F0F0F0"/>
                    </a:gs>
                    <a:gs pos="100000">
                      <a:srgbClr val="F0F0F0"/>
                    </a:gs>
                  </a:gsLst>
                  <a:lin ang="5400000" scaled="0"/>
                </a:gradFill>
                <a:effectLst/>
                <a:uLnTx/>
                <a:uFillTx/>
                <a:latin typeface="等线 Light" panose="020F0302020204030204"/>
                <a:ea typeface="Roboto Light" pitchFamily="2" charset="0"/>
                <a:cs typeface="+mn-cs"/>
              </a:rPr>
              <a:t>80%</a:t>
            </a:r>
            <a:endParaRPr kumimoji="0" lang="ko-KR" altLang="en-US" sz="1400" b="1" i="0" u="none" strike="noStrike" kern="1200" cap="none" spc="0" normalizeH="0" baseline="0" noProof="0" dirty="0">
              <a:ln>
                <a:noFill/>
              </a:ln>
              <a:gradFill>
                <a:gsLst>
                  <a:gs pos="0">
                    <a:srgbClr val="F0F0F0"/>
                  </a:gs>
                  <a:gs pos="100000">
                    <a:srgbClr val="F0F0F0"/>
                  </a:gs>
                </a:gsLst>
                <a:lin ang="5400000" scaled="0"/>
              </a:gradFill>
              <a:effectLst/>
              <a:uLnTx/>
              <a:uFillTx/>
              <a:latin typeface="等线 Light" panose="020F0302020204030204"/>
              <a:ea typeface="Roboto Light" pitchFamily="2" charset="0"/>
              <a:cs typeface="+mn-cs"/>
            </a:endParaRPr>
          </a:p>
        </p:txBody>
      </p:sp>
      <p:sp>
        <p:nvSpPr>
          <p:cNvPr id="65" name="TextBox 104">
            <a:extLst>
              <a:ext uri="{FF2B5EF4-FFF2-40B4-BE49-F238E27FC236}">
                <a16:creationId xmlns:a16="http://schemas.microsoft.com/office/drawing/2014/main" id="{81BA0DD1-D21D-45F5-A1A5-46D366E2BACE}"/>
              </a:ext>
            </a:extLst>
          </p:cNvPr>
          <p:cNvSpPr txBox="1"/>
          <p:nvPr/>
        </p:nvSpPr>
        <p:spPr>
          <a:xfrm>
            <a:off x="8566399" y="3904383"/>
            <a:ext cx="459100" cy="215444"/>
          </a:xfrm>
          <a:prstGeom prst="rect">
            <a:avLst/>
          </a:prstGeom>
          <a:noFill/>
        </p:spPr>
        <p:txBody>
          <a:bodyPr wrap="squar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altLang="ko-KR" sz="1400" b="1" i="0" u="none" strike="noStrike" kern="1200" cap="none" spc="0" normalizeH="0" baseline="0" noProof="0">
                <a:ln>
                  <a:noFill/>
                </a:ln>
                <a:gradFill>
                  <a:gsLst>
                    <a:gs pos="0">
                      <a:srgbClr val="F0F0F0"/>
                    </a:gs>
                    <a:gs pos="100000">
                      <a:srgbClr val="F0F0F0"/>
                    </a:gs>
                  </a:gsLst>
                  <a:lin ang="5400000" scaled="0"/>
                </a:gradFill>
                <a:effectLst/>
                <a:uLnTx/>
                <a:uFillTx/>
                <a:latin typeface="等线 Light" panose="020F0302020204030204"/>
                <a:ea typeface="Roboto Light" pitchFamily="2" charset="0"/>
                <a:cs typeface="+mn-cs"/>
              </a:rPr>
              <a:t>55%</a:t>
            </a:r>
            <a:endParaRPr kumimoji="0" lang="ko-KR" altLang="en-US" sz="1400" b="1" i="0" u="none" strike="noStrike" kern="1200" cap="none" spc="0" normalizeH="0" baseline="0" noProof="0" dirty="0">
              <a:ln>
                <a:noFill/>
              </a:ln>
              <a:gradFill>
                <a:gsLst>
                  <a:gs pos="0">
                    <a:srgbClr val="F0F0F0"/>
                  </a:gs>
                  <a:gs pos="100000">
                    <a:srgbClr val="F0F0F0"/>
                  </a:gs>
                </a:gsLst>
                <a:lin ang="5400000" scaled="0"/>
              </a:gradFill>
              <a:effectLst/>
              <a:uLnTx/>
              <a:uFillTx/>
              <a:latin typeface="等线 Light" panose="020F0302020204030204"/>
              <a:ea typeface="Roboto Light" pitchFamily="2" charset="0"/>
              <a:cs typeface="+mn-cs"/>
            </a:endParaRPr>
          </a:p>
        </p:txBody>
      </p:sp>
      <p:sp>
        <p:nvSpPr>
          <p:cNvPr id="66" name="TextBox 105">
            <a:extLst>
              <a:ext uri="{FF2B5EF4-FFF2-40B4-BE49-F238E27FC236}">
                <a16:creationId xmlns:a16="http://schemas.microsoft.com/office/drawing/2014/main" id="{9913BA30-4BFE-4B39-A19E-68A8330B7195}"/>
              </a:ext>
            </a:extLst>
          </p:cNvPr>
          <p:cNvSpPr txBox="1"/>
          <p:nvPr/>
        </p:nvSpPr>
        <p:spPr>
          <a:xfrm>
            <a:off x="9766245" y="3729511"/>
            <a:ext cx="459100" cy="215444"/>
          </a:xfrm>
          <a:prstGeom prst="rect">
            <a:avLst/>
          </a:prstGeom>
          <a:noFill/>
        </p:spPr>
        <p:txBody>
          <a:bodyPr wrap="squar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altLang="ko-KR" sz="1400" b="1" i="0" u="none" strike="noStrike" kern="1200" cap="none" spc="0" normalizeH="0" baseline="0" noProof="0">
                <a:ln>
                  <a:noFill/>
                </a:ln>
                <a:gradFill>
                  <a:gsLst>
                    <a:gs pos="0">
                      <a:srgbClr val="F0F0F0"/>
                    </a:gs>
                    <a:gs pos="100000">
                      <a:srgbClr val="F0F0F0"/>
                    </a:gs>
                  </a:gsLst>
                  <a:lin ang="5400000" scaled="0"/>
                </a:gradFill>
                <a:effectLst/>
                <a:uLnTx/>
                <a:uFillTx/>
                <a:latin typeface="等线 Light" panose="020F0302020204030204"/>
                <a:ea typeface="Roboto Light" pitchFamily="2" charset="0"/>
                <a:cs typeface="+mn-cs"/>
              </a:rPr>
              <a:t>60%</a:t>
            </a:r>
            <a:endParaRPr kumimoji="0" lang="ko-KR" altLang="en-US" sz="1400" b="1" i="0" u="none" strike="noStrike" kern="1200" cap="none" spc="0" normalizeH="0" baseline="0" noProof="0" dirty="0">
              <a:ln>
                <a:noFill/>
              </a:ln>
              <a:gradFill>
                <a:gsLst>
                  <a:gs pos="0">
                    <a:srgbClr val="F0F0F0"/>
                  </a:gs>
                  <a:gs pos="100000">
                    <a:srgbClr val="F0F0F0"/>
                  </a:gs>
                </a:gsLst>
                <a:lin ang="5400000" scaled="0"/>
              </a:gradFill>
              <a:effectLst/>
              <a:uLnTx/>
              <a:uFillTx/>
              <a:latin typeface="等线 Light" panose="020F0302020204030204"/>
              <a:ea typeface="Roboto Light" pitchFamily="2" charset="0"/>
              <a:cs typeface="+mn-cs"/>
            </a:endParaRPr>
          </a:p>
        </p:txBody>
      </p:sp>
      <p:sp>
        <p:nvSpPr>
          <p:cNvPr id="67" name="TextBox 106">
            <a:extLst>
              <a:ext uri="{FF2B5EF4-FFF2-40B4-BE49-F238E27FC236}">
                <a16:creationId xmlns:a16="http://schemas.microsoft.com/office/drawing/2014/main" id="{0552288F-F60A-4148-B26E-451B3CD7A5CD}"/>
              </a:ext>
            </a:extLst>
          </p:cNvPr>
          <p:cNvSpPr txBox="1"/>
          <p:nvPr/>
        </p:nvSpPr>
        <p:spPr>
          <a:xfrm>
            <a:off x="10966091" y="3197995"/>
            <a:ext cx="459100" cy="215444"/>
          </a:xfrm>
          <a:prstGeom prst="rect">
            <a:avLst/>
          </a:prstGeom>
          <a:noFill/>
        </p:spPr>
        <p:txBody>
          <a:bodyPr wrap="squar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altLang="ko-KR" sz="1400" b="1" i="0" u="none" strike="noStrike" kern="1200" cap="none" spc="0" normalizeH="0" baseline="0" noProof="0">
                <a:ln>
                  <a:noFill/>
                </a:ln>
                <a:gradFill>
                  <a:gsLst>
                    <a:gs pos="0">
                      <a:srgbClr val="F0F0F0"/>
                    </a:gs>
                    <a:gs pos="100000">
                      <a:srgbClr val="F0F0F0"/>
                    </a:gs>
                  </a:gsLst>
                  <a:lin ang="5400000" scaled="0"/>
                </a:gradFill>
                <a:effectLst/>
                <a:uLnTx/>
                <a:uFillTx/>
                <a:latin typeface="等线 Light" panose="020F0302020204030204"/>
                <a:ea typeface="Roboto Light" pitchFamily="2" charset="0"/>
                <a:cs typeface="+mn-cs"/>
              </a:rPr>
              <a:t>90%</a:t>
            </a:r>
            <a:endParaRPr kumimoji="0" lang="ko-KR" altLang="en-US" sz="1400" b="1" i="0" u="none" strike="noStrike" kern="1200" cap="none" spc="0" normalizeH="0" baseline="0" noProof="0" dirty="0">
              <a:ln>
                <a:noFill/>
              </a:ln>
              <a:gradFill>
                <a:gsLst>
                  <a:gs pos="0">
                    <a:srgbClr val="F0F0F0"/>
                  </a:gs>
                  <a:gs pos="100000">
                    <a:srgbClr val="F0F0F0"/>
                  </a:gs>
                </a:gsLst>
                <a:lin ang="5400000" scaled="0"/>
              </a:gradFill>
              <a:effectLst/>
              <a:uLnTx/>
              <a:uFillTx/>
              <a:latin typeface="等线 Light" panose="020F0302020204030204"/>
              <a:ea typeface="Roboto Light" pitchFamily="2" charset="0"/>
              <a:cs typeface="+mn-cs"/>
            </a:endParaRPr>
          </a:p>
        </p:txBody>
      </p:sp>
    </p:spTree>
    <p:extLst>
      <p:ext uri="{BB962C8B-B14F-4D97-AF65-F5344CB8AC3E}">
        <p14:creationId xmlns:p14="http://schemas.microsoft.com/office/powerpoint/2010/main" val="1814534112"/>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4"/>
                                        </p:tgtEl>
                                        <p:attrNameLst>
                                          <p:attrName>style.visibility</p:attrName>
                                        </p:attrNameLst>
                                      </p:cBhvr>
                                      <p:to>
                                        <p:strVal val="visible"/>
                                      </p:to>
                                    </p:set>
                                    <p:animEffect transition="in" filter="fade">
                                      <p:cBhvr>
                                        <p:cTn id="11" dur="500"/>
                                        <p:tgtEl>
                                          <p:spTgt spid="14"/>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2"/>
                                        </p:tgtEl>
                                        <p:attrNameLst>
                                          <p:attrName>style.visibility</p:attrName>
                                        </p:attrNameLst>
                                      </p:cBhvr>
                                      <p:to>
                                        <p:strVal val="visible"/>
                                      </p:to>
                                    </p:set>
                                    <p:animEffect transition="in" filter="fade">
                                      <p:cBhvr>
                                        <p:cTn id="14" dur="500"/>
                                        <p:tgtEl>
                                          <p:spTgt spid="2"/>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24"/>
                                        </p:tgtEl>
                                        <p:attrNameLst>
                                          <p:attrName>style.visibility</p:attrName>
                                        </p:attrNameLst>
                                      </p:cBhvr>
                                      <p:to>
                                        <p:strVal val="visible"/>
                                      </p:to>
                                    </p:set>
                                    <p:animEffect transition="in" filter="fade">
                                      <p:cBhvr>
                                        <p:cTn id="17" dur="500"/>
                                        <p:tgtEl>
                                          <p:spTgt spid="24"/>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19"/>
                                        </p:tgtEl>
                                        <p:attrNameLst>
                                          <p:attrName>style.visibility</p:attrName>
                                        </p:attrNameLst>
                                      </p:cBhvr>
                                      <p:to>
                                        <p:strVal val="visible"/>
                                      </p:to>
                                    </p:set>
                                    <p:animEffect transition="in" filter="fade">
                                      <p:cBhvr>
                                        <p:cTn id="20" dur="500"/>
                                        <p:tgtEl>
                                          <p:spTgt spid="19"/>
                                        </p:tgtEl>
                                      </p:cBhvr>
                                    </p:animEffect>
                                  </p:childTnLst>
                                </p:cTn>
                              </p:par>
                            </p:childTnLst>
                          </p:cTn>
                        </p:par>
                        <p:par>
                          <p:cTn id="21" fill="hold">
                            <p:stCondLst>
                              <p:cond delay="1000"/>
                            </p:stCondLst>
                            <p:childTnLst>
                              <p:par>
                                <p:cTn id="22" presetID="10" presetClass="entr" presetSubtype="0" fill="hold" grpId="0" nodeType="afterEffect">
                                  <p:stCondLst>
                                    <p:cond delay="0"/>
                                  </p:stCondLst>
                                  <p:childTnLst>
                                    <p:set>
                                      <p:cBhvr>
                                        <p:cTn id="23" dur="1" fill="hold">
                                          <p:stCondLst>
                                            <p:cond delay="0"/>
                                          </p:stCondLst>
                                        </p:cTn>
                                        <p:tgtEl>
                                          <p:spTgt spid="20"/>
                                        </p:tgtEl>
                                        <p:attrNameLst>
                                          <p:attrName>style.visibility</p:attrName>
                                        </p:attrNameLst>
                                      </p:cBhvr>
                                      <p:to>
                                        <p:strVal val="visible"/>
                                      </p:to>
                                    </p:set>
                                    <p:animEffect transition="in" filter="fade">
                                      <p:cBhvr>
                                        <p:cTn id="24" dur="500"/>
                                        <p:tgtEl>
                                          <p:spTgt spid="20"/>
                                        </p:tgtEl>
                                      </p:cBhvr>
                                    </p:animEffect>
                                  </p:childTnLst>
                                </p:cTn>
                              </p:par>
                              <p:par>
                                <p:cTn id="25" presetID="10" presetClass="entr" presetSubtype="0" fill="hold" nodeType="withEffect">
                                  <p:stCondLst>
                                    <p:cond delay="0"/>
                                  </p:stCondLst>
                                  <p:childTnLst>
                                    <p:set>
                                      <p:cBhvr>
                                        <p:cTn id="26" dur="1" fill="hold">
                                          <p:stCondLst>
                                            <p:cond delay="0"/>
                                          </p:stCondLst>
                                        </p:cTn>
                                        <p:tgtEl>
                                          <p:spTgt spid="25"/>
                                        </p:tgtEl>
                                        <p:attrNameLst>
                                          <p:attrName>style.visibility</p:attrName>
                                        </p:attrNameLst>
                                      </p:cBhvr>
                                      <p:to>
                                        <p:strVal val="visible"/>
                                      </p:to>
                                    </p:set>
                                    <p:animEffect transition="in" filter="fade">
                                      <p:cBhvr>
                                        <p:cTn id="27" dur="500"/>
                                        <p:tgtEl>
                                          <p:spTgt spid="25"/>
                                        </p:tgtEl>
                                      </p:cBhvr>
                                    </p:animEffect>
                                  </p:childTnLst>
                                </p:cTn>
                              </p:par>
                              <p:par>
                                <p:cTn id="28" presetID="10" presetClass="entr" presetSubtype="0" fill="hold" nodeType="withEffect">
                                  <p:stCondLst>
                                    <p:cond delay="0"/>
                                  </p:stCondLst>
                                  <p:childTnLst>
                                    <p:set>
                                      <p:cBhvr>
                                        <p:cTn id="29" dur="1" fill="hold">
                                          <p:stCondLst>
                                            <p:cond delay="0"/>
                                          </p:stCondLst>
                                        </p:cTn>
                                        <p:tgtEl>
                                          <p:spTgt spid="10"/>
                                        </p:tgtEl>
                                        <p:attrNameLst>
                                          <p:attrName>style.visibility</p:attrName>
                                        </p:attrNameLst>
                                      </p:cBhvr>
                                      <p:to>
                                        <p:strVal val="visible"/>
                                      </p:to>
                                    </p:set>
                                    <p:animEffect transition="in" filter="fade">
                                      <p:cBhvr>
                                        <p:cTn id="30" dur="500"/>
                                        <p:tgtEl>
                                          <p:spTgt spid="10"/>
                                        </p:tgtEl>
                                      </p:cBhvr>
                                    </p:animEffect>
                                  </p:childTnLst>
                                </p:cTn>
                              </p:par>
                            </p:childTnLst>
                          </p:cTn>
                        </p:par>
                        <p:par>
                          <p:cTn id="31" fill="hold">
                            <p:stCondLst>
                              <p:cond delay="1500"/>
                            </p:stCondLst>
                            <p:childTnLst>
                              <p:par>
                                <p:cTn id="32" presetID="10" presetClass="entr" presetSubtype="0" fill="hold" nodeType="afterEffect">
                                  <p:stCondLst>
                                    <p:cond delay="0"/>
                                  </p:stCondLst>
                                  <p:childTnLst>
                                    <p:set>
                                      <p:cBhvr>
                                        <p:cTn id="33" dur="1" fill="hold">
                                          <p:stCondLst>
                                            <p:cond delay="0"/>
                                          </p:stCondLst>
                                        </p:cTn>
                                        <p:tgtEl>
                                          <p:spTgt spid="7"/>
                                        </p:tgtEl>
                                        <p:attrNameLst>
                                          <p:attrName>style.visibility</p:attrName>
                                        </p:attrNameLst>
                                      </p:cBhvr>
                                      <p:to>
                                        <p:strVal val="visible"/>
                                      </p:to>
                                    </p:set>
                                    <p:animEffect transition="in" filter="fade">
                                      <p:cBhvr>
                                        <p:cTn id="34" dur="500"/>
                                        <p:tgtEl>
                                          <p:spTgt spid="7"/>
                                        </p:tgtEl>
                                      </p:cBhvr>
                                    </p:animEffect>
                                  </p:childTnLst>
                                </p:cTn>
                              </p:par>
                              <p:par>
                                <p:cTn id="35" presetID="10" presetClass="entr" presetSubtype="0" fill="hold" nodeType="withEffect">
                                  <p:stCondLst>
                                    <p:cond delay="0"/>
                                  </p:stCondLst>
                                  <p:childTnLst>
                                    <p:set>
                                      <p:cBhvr>
                                        <p:cTn id="36" dur="1" fill="hold">
                                          <p:stCondLst>
                                            <p:cond delay="0"/>
                                          </p:stCondLst>
                                        </p:cTn>
                                        <p:tgtEl>
                                          <p:spTgt spid="29"/>
                                        </p:tgtEl>
                                        <p:attrNameLst>
                                          <p:attrName>style.visibility</p:attrName>
                                        </p:attrNameLst>
                                      </p:cBhvr>
                                      <p:to>
                                        <p:strVal val="visible"/>
                                      </p:to>
                                    </p:set>
                                    <p:animEffect transition="in" filter="fade">
                                      <p:cBhvr>
                                        <p:cTn id="37" dur="500"/>
                                        <p:tgtEl>
                                          <p:spTgt spid="29"/>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21"/>
                                        </p:tgtEl>
                                        <p:attrNameLst>
                                          <p:attrName>style.visibility</p:attrName>
                                        </p:attrNameLst>
                                      </p:cBhvr>
                                      <p:to>
                                        <p:strVal val="visible"/>
                                      </p:to>
                                    </p:set>
                                    <p:animEffect transition="in" filter="fade">
                                      <p:cBhvr>
                                        <p:cTn id="40" dur="500"/>
                                        <p:tgtEl>
                                          <p:spTgt spid="21"/>
                                        </p:tgtEl>
                                      </p:cBhvr>
                                    </p:animEffect>
                                  </p:childTnLst>
                                </p:cTn>
                              </p:par>
                            </p:childTnLst>
                          </p:cTn>
                        </p:par>
                        <p:par>
                          <p:cTn id="41" fill="hold">
                            <p:stCondLst>
                              <p:cond delay="2000"/>
                            </p:stCondLst>
                            <p:childTnLst>
                              <p:par>
                                <p:cTn id="42" presetID="10" presetClass="entr" presetSubtype="0" fill="hold" nodeType="afterEffect">
                                  <p:stCondLst>
                                    <p:cond delay="0"/>
                                  </p:stCondLst>
                                  <p:childTnLst>
                                    <p:set>
                                      <p:cBhvr>
                                        <p:cTn id="43" dur="1" fill="hold">
                                          <p:stCondLst>
                                            <p:cond delay="0"/>
                                          </p:stCondLst>
                                        </p:cTn>
                                        <p:tgtEl>
                                          <p:spTgt spid="4"/>
                                        </p:tgtEl>
                                        <p:attrNameLst>
                                          <p:attrName>style.visibility</p:attrName>
                                        </p:attrNameLst>
                                      </p:cBhvr>
                                      <p:to>
                                        <p:strVal val="visible"/>
                                      </p:to>
                                    </p:set>
                                    <p:animEffect transition="in" filter="fade">
                                      <p:cBhvr>
                                        <p:cTn id="44" dur="500"/>
                                        <p:tgtEl>
                                          <p:spTgt spid="4"/>
                                        </p:tgtEl>
                                      </p:cBhvr>
                                    </p:animEffect>
                                  </p:childTnLst>
                                </p:cTn>
                              </p:par>
                              <p:par>
                                <p:cTn id="45" presetID="10" presetClass="entr" presetSubtype="0" fill="hold" nodeType="withEffect">
                                  <p:stCondLst>
                                    <p:cond delay="0"/>
                                  </p:stCondLst>
                                  <p:childTnLst>
                                    <p:set>
                                      <p:cBhvr>
                                        <p:cTn id="46" dur="1" fill="hold">
                                          <p:stCondLst>
                                            <p:cond delay="0"/>
                                          </p:stCondLst>
                                        </p:cTn>
                                        <p:tgtEl>
                                          <p:spTgt spid="32"/>
                                        </p:tgtEl>
                                        <p:attrNameLst>
                                          <p:attrName>style.visibility</p:attrName>
                                        </p:attrNameLst>
                                      </p:cBhvr>
                                      <p:to>
                                        <p:strVal val="visible"/>
                                      </p:to>
                                    </p:set>
                                    <p:animEffect transition="in" filter="fade">
                                      <p:cBhvr>
                                        <p:cTn id="47" dur="500"/>
                                        <p:tgtEl>
                                          <p:spTgt spid="32"/>
                                        </p:tgtEl>
                                      </p:cBhvr>
                                    </p:animEffect>
                                  </p:childTnLst>
                                </p:cTn>
                              </p:par>
                              <p:par>
                                <p:cTn id="48" presetID="10" presetClass="entr" presetSubtype="0" fill="hold" grpId="0" nodeType="withEffect">
                                  <p:stCondLst>
                                    <p:cond delay="0"/>
                                  </p:stCondLst>
                                  <p:childTnLst>
                                    <p:set>
                                      <p:cBhvr>
                                        <p:cTn id="49" dur="1" fill="hold">
                                          <p:stCondLst>
                                            <p:cond delay="0"/>
                                          </p:stCondLst>
                                        </p:cTn>
                                        <p:tgtEl>
                                          <p:spTgt spid="22"/>
                                        </p:tgtEl>
                                        <p:attrNameLst>
                                          <p:attrName>style.visibility</p:attrName>
                                        </p:attrNameLst>
                                      </p:cBhvr>
                                      <p:to>
                                        <p:strVal val="visible"/>
                                      </p:to>
                                    </p:set>
                                    <p:animEffect transition="in" filter="fade">
                                      <p:cBhvr>
                                        <p:cTn id="50" dur="500"/>
                                        <p:tgtEl>
                                          <p:spTgt spid="22"/>
                                        </p:tgtEl>
                                      </p:cBhvr>
                                    </p:animEffect>
                                  </p:childTnLst>
                                </p:cTn>
                              </p:par>
                            </p:childTnLst>
                          </p:cTn>
                        </p:par>
                        <p:par>
                          <p:cTn id="51" fill="hold">
                            <p:stCondLst>
                              <p:cond delay="2500"/>
                            </p:stCondLst>
                            <p:childTnLst>
                              <p:par>
                                <p:cTn id="52" presetID="10" presetClass="entr" presetSubtype="0" fill="hold" grpId="0" nodeType="afterEffect">
                                  <p:stCondLst>
                                    <p:cond delay="0"/>
                                  </p:stCondLst>
                                  <p:childTnLst>
                                    <p:set>
                                      <p:cBhvr>
                                        <p:cTn id="53" dur="1" fill="hold">
                                          <p:stCondLst>
                                            <p:cond delay="0"/>
                                          </p:stCondLst>
                                        </p:cTn>
                                        <p:tgtEl>
                                          <p:spTgt spid="3"/>
                                        </p:tgtEl>
                                        <p:attrNameLst>
                                          <p:attrName>style.visibility</p:attrName>
                                        </p:attrNameLst>
                                      </p:cBhvr>
                                      <p:to>
                                        <p:strVal val="visible"/>
                                      </p:to>
                                    </p:set>
                                    <p:animEffect transition="in" filter="fade">
                                      <p:cBhvr>
                                        <p:cTn id="54" dur="500"/>
                                        <p:tgtEl>
                                          <p:spTgt spid="3"/>
                                        </p:tgtEl>
                                      </p:cBhvr>
                                    </p:animEffect>
                                  </p:childTnLst>
                                </p:cTn>
                              </p:par>
                              <p:par>
                                <p:cTn id="55" presetID="10" presetClass="entr" presetSubtype="0" fill="hold" nodeType="withEffect">
                                  <p:stCondLst>
                                    <p:cond delay="0"/>
                                  </p:stCondLst>
                                  <p:childTnLst>
                                    <p:set>
                                      <p:cBhvr>
                                        <p:cTn id="56" dur="1" fill="hold">
                                          <p:stCondLst>
                                            <p:cond delay="0"/>
                                          </p:stCondLst>
                                        </p:cTn>
                                        <p:tgtEl>
                                          <p:spTgt spid="37"/>
                                        </p:tgtEl>
                                        <p:attrNameLst>
                                          <p:attrName>style.visibility</p:attrName>
                                        </p:attrNameLst>
                                      </p:cBhvr>
                                      <p:to>
                                        <p:strVal val="visible"/>
                                      </p:to>
                                    </p:set>
                                    <p:animEffect transition="in" filter="fade">
                                      <p:cBhvr>
                                        <p:cTn id="57" dur="500"/>
                                        <p:tgtEl>
                                          <p:spTgt spid="37"/>
                                        </p:tgtEl>
                                      </p:cBhvr>
                                    </p:animEffect>
                                  </p:childTnLst>
                                </p:cTn>
                              </p:par>
                              <p:par>
                                <p:cTn id="58" presetID="10" presetClass="entr" presetSubtype="0" fill="hold" grpId="0" nodeType="withEffect">
                                  <p:stCondLst>
                                    <p:cond delay="0"/>
                                  </p:stCondLst>
                                  <p:childTnLst>
                                    <p:set>
                                      <p:cBhvr>
                                        <p:cTn id="59" dur="1" fill="hold">
                                          <p:stCondLst>
                                            <p:cond delay="0"/>
                                          </p:stCondLst>
                                        </p:cTn>
                                        <p:tgtEl>
                                          <p:spTgt spid="23"/>
                                        </p:tgtEl>
                                        <p:attrNameLst>
                                          <p:attrName>style.visibility</p:attrName>
                                        </p:attrNameLst>
                                      </p:cBhvr>
                                      <p:to>
                                        <p:strVal val="visible"/>
                                      </p:to>
                                    </p:set>
                                    <p:animEffect transition="in" filter="fade">
                                      <p:cBhvr>
                                        <p:cTn id="60" dur="500"/>
                                        <p:tgtEl>
                                          <p:spTgt spid="23"/>
                                        </p:tgtEl>
                                      </p:cBhvr>
                                    </p:animEffect>
                                  </p:childTnLst>
                                </p:cTn>
                              </p:par>
                            </p:childTnLst>
                          </p:cTn>
                        </p:par>
                        <p:par>
                          <p:cTn id="61" fill="hold">
                            <p:stCondLst>
                              <p:cond delay="3000"/>
                            </p:stCondLst>
                            <p:childTnLst>
                              <p:par>
                                <p:cTn id="62" presetID="10" presetClass="entr" presetSubtype="0" fill="hold" grpId="0" nodeType="afterEffect">
                                  <p:stCondLst>
                                    <p:cond delay="0"/>
                                  </p:stCondLst>
                                  <p:childTnLst>
                                    <p:set>
                                      <p:cBhvr>
                                        <p:cTn id="63" dur="1" fill="hold">
                                          <p:stCondLst>
                                            <p:cond delay="0"/>
                                          </p:stCondLst>
                                        </p:cTn>
                                        <p:tgtEl>
                                          <p:spTgt spid="17"/>
                                        </p:tgtEl>
                                        <p:attrNameLst>
                                          <p:attrName>style.visibility</p:attrName>
                                        </p:attrNameLst>
                                      </p:cBhvr>
                                      <p:to>
                                        <p:strVal val="visible"/>
                                      </p:to>
                                    </p:set>
                                    <p:animEffect transition="in" filter="fade">
                                      <p:cBhvr>
                                        <p:cTn id="64" dur="500"/>
                                        <p:tgtEl>
                                          <p:spTgt spid="17"/>
                                        </p:tgtEl>
                                      </p:cBhvr>
                                    </p:animEffect>
                                  </p:childTnLst>
                                </p:cTn>
                              </p:par>
                              <p:par>
                                <p:cTn id="65" presetID="10" presetClass="entr" presetSubtype="0" fill="hold" grpId="0" nodeType="withEffect">
                                  <p:stCondLst>
                                    <p:cond delay="0"/>
                                  </p:stCondLst>
                                  <p:childTnLst>
                                    <p:set>
                                      <p:cBhvr>
                                        <p:cTn id="66" dur="1" fill="hold">
                                          <p:stCondLst>
                                            <p:cond delay="0"/>
                                          </p:stCondLst>
                                        </p:cTn>
                                        <p:tgtEl>
                                          <p:spTgt spid="18"/>
                                        </p:tgtEl>
                                        <p:attrNameLst>
                                          <p:attrName>style.visibility</p:attrName>
                                        </p:attrNameLst>
                                      </p:cBhvr>
                                      <p:to>
                                        <p:strVal val="visible"/>
                                      </p:to>
                                    </p:set>
                                    <p:animEffect transition="in" filter="fade">
                                      <p:cBhvr>
                                        <p:cTn id="67" dur="500"/>
                                        <p:tgtEl>
                                          <p:spTgt spid="18"/>
                                        </p:tgtEl>
                                      </p:cBhvr>
                                    </p:animEffect>
                                  </p:childTnLst>
                                </p:cTn>
                              </p:par>
                            </p:childTnLst>
                          </p:cTn>
                        </p:par>
                        <p:par>
                          <p:cTn id="68" fill="hold">
                            <p:stCondLst>
                              <p:cond delay="3500"/>
                            </p:stCondLst>
                            <p:childTnLst>
                              <p:par>
                                <p:cTn id="69" presetID="10" presetClass="entr" presetSubtype="0" fill="hold" nodeType="afterEffect">
                                  <p:stCondLst>
                                    <p:cond delay="0"/>
                                  </p:stCondLst>
                                  <p:childTnLst>
                                    <p:set>
                                      <p:cBhvr>
                                        <p:cTn id="70" dur="1" fill="hold">
                                          <p:stCondLst>
                                            <p:cond delay="0"/>
                                          </p:stCondLst>
                                        </p:cTn>
                                        <p:tgtEl>
                                          <p:spTgt spid="42"/>
                                        </p:tgtEl>
                                        <p:attrNameLst>
                                          <p:attrName>style.visibility</p:attrName>
                                        </p:attrNameLst>
                                      </p:cBhvr>
                                      <p:to>
                                        <p:strVal val="visible"/>
                                      </p:to>
                                    </p:set>
                                    <p:animEffect transition="in" filter="fade">
                                      <p:cBhvr>
                                        <p:cTn id="71" dur="500"/>
                                        <p:tgtEl>
                                          <p:spTgt spid="42"/>
                                        </p:tgtEl>
                                      </p:cBhvr>
                                    </p:animEffect>
                                  </p:childTnLst>
                                </p:cTn>
                              </p:par>
                              <p:par>
                                <p:cTn id="72" presetID="10" presetClass="entr" presetSubtype="0" fill="hold" grpId="0" nodeType="withEffect">
                                  <p:stCondLst>
                                    <p:cond delay="0"/>
                                  </p:stCondLst>
                                  <p:childTnLst>
                                    <p:set>
                                      <p:cBhvr>
                                        <p:cTn id="73" dur="1" fill="hold">
                                          <p:stCondLst>
                                            <p:cond delay="0"/>
                                          </p:stCondLst>
                                        </p:cTn>
                                        <p:tgtEl>
                                          <p:spTgt spid="43"/>
                                        </p:tgtEl>
                                        <p:attrNameLst>
                                          <p:attrName>style.visibility</p:attrName>
                                        </p:attrNameLst>
                                      </p:cBhvr>
                                      <p:to>
                                        <p:strVal val="visible"/>
                                      </p:to>
                                    </p:set>
                                    <p:animEffect transition="in" filter="fade">
                                      <p:cBhvr>
                                        <p:cTn id="74" dur="500"/>
                                        <p:tgtEl>
                                          <p:spTgt spid="43"/>
                                        </p:tgtEl>
                                      </p:cBhvr>
                                    </p:animEffect>
                                  </p:childTnLst>
                                </p:cTn>
                              </p:par>
                              <p:par>
                                <p:cTn id="75" presetID="10" presetClass="entr" presetSubtype="0" fill="hold" grpId="0" nodeType="withEffect">
                                  <p:stCondLst>
                                    <p:cond delay="0"/>
                                  </p:stCondLst>
                                  <p:childTnLst>
                                    <p:set>
                                      <p:cBhvr>
                                        <p:cTn id="76" dur="1" fill="hold">
                                          <p:stCondLst>
                                            <p:cond delay="0"/>
                                          </p:stCondLst>
                                        </p:cTn>
                                        <p:tgtEl>
                                          <p:spTgt spid="44"/>
                                        </p:tgtEl>
                                        <p:attrNameLst>
                                          <p:attrName>style.visibility</p:attrName>
                                        </p:attrNameLst>
                                      </p:cBhvr>
                                      <p:to>
                                        <p:strVal val="visible"/>
                                      </p:to>
                                    </p:set>
                                    <p:animEffect transition="in" filter="fade">
                                      <p:cBhvr>
                                        <p:cTn id="77" dur="500"/>
                                        <p:tgtEl>
                                          <p:spTgt spid="44"/>
                                        </p:tgtEl>
                                      </p:cBhvr>
                                    </p:animEffect>
                                  </p:childTnLst>
                                </p:cTn>
                              </p:par>
                              <p:par>
                                <p:cTn id="78" presetID="10" presetClass="entr" presetSubtype="0" fill="hold" grpId="0" nodeType="withEffect">
                                  <p:stCondLst>
                                    <p:cond delay="0"/>
                                  </p:stCondLst>
                                  <p:childTnLst>
                                    <p:set>
                                      <p:cBhvr>
                                        <p:cTn id="79" dur="1" fill="hold">
                                          <p:stCondLst>
                                            <p:cond delay="0"/>
                                          </p:stCondLst>
                                        </p:cTn>
                                        <p:tgtEl>
                                          <p:spTgt spid="48"/>
                                        </p:tgtEl>
                                        <p:attrNameLst>
                                          <p:attrName>style.visibility</p:attrName>
                                        </p:attrNameLst>
                                      </p:cBhvr>
                                      <p:to>
                                        <p:strVal val="visible"/>
                                      </p:to>
                                    </p:set>
                                    <p:animEffect transition="in" filter="fade">
                                      <p:cBhvr>
                                        <p:cTn id="80" dur="500"/>
                                        <p:tgtEl>
                                          <p:spTgt spid="48"/>
                                        </p:tgtEl>
                                      </p:cBhvr>
                                    </p:animEffect>
                                  </p:childTnLst>
                                </p:cTn>
                              </p:par>
                              <p:par>
                                <p:cTn id="81" presetID="10" presetClass="entr" presetSubtype="0" fill="hold" grpId="0" nodeType="withEffect">
                                  <p:stCondLst>
                                    <p:cond delay="0"/>
                                  </p:stCondLst>
                                  <p:childTnLst>
                                    <p:set>
                                      <p:cBhvr>
                                        <p:cTn id="82" dur="1" fill="hold">
                                          <p:stCondLst>
                                            <p:cond delay="0"/>
                                          </p:stCondLst>
                                        </p:cTn>
                                        <p:tgtEl>
                                          <p:spTgt spid="49"/>
                                        </p:tgtEl>
                                        <p:attrNameLst>
                                          <p:attrName>style.visibility</p:attrName>
                                        </p:attrNameLst>
                                      </p:cBhvr>
                                      <p:to>
                                        <p:strVal val="visible"/>
                                      </p:to>
                                    </p:set>
                                    <p:animEffect transition="in" filter="fade">
                                      <p:cBhvr>
                                        <p:cTn id="83" dur="500"/>
                                        <p:tgtEl>
                                          <p:spTgt spid="49"/>
                                        </p:tgtEl>
                                      </p:cBhvr>
                                    </p:animEffect>
                                  </p:childTnLst>
                                </p:cTn>
                              </p:par>
                              <p:par>
                                <p:cTn id="84" presetID="10" presetClass="entr" presetSubtype="0" fill="hold" grpId="0" nodeType="withEffect">
                                  <p:stCondLst>
                                    <p:cond delay="0"/>
                                  </p:stCondLst>
                                  <p:childTnLst>
                                    <p:set>
                                      <p:cBhvr>
                                        <p:cTn id="85" dur="1" fill="hold">
                                          <p:stCondLst>
                                            <p:cond delay="0"/>
                                          </p:stCondLst>
                                        </p:cTn>
                                        <p:tgtEl>
                                          <p:spTgt spid="52"/>
                                        </p:tgtEl>
                                        <p:attrNameLst>
                                          <p:attrName>style.visibility</p:attrName>
                                        </p:attrNameLst>
                                      </p:cBhvr>
                                      <p:to>
                                        <p:strVal val="visible"/>
                                      </p:to>
                                    </p:set>
                                    <p:animEffect transition="in" filter="fade">
                                      <p:cBhvr>
                                        <p:cTn id="86" dur="500"/>
                                        <p:tgtEl>
                                          <p:spTgt spid="52"/>
                                        </p:tgtEl>
                                      </p:cBhvr>
                                    </p:animEffect>
                                  </p:childTnLst>
                                </p:cTn>
                              </p:par>
                              <p:par>
                                <p:cTn id="87" presetID="10" presetClass="entr" presetSubtype="0" fill="hold" grpId="0" nodeType="withEffect">
                                  <p:stCondLst>
                                    <p:cond delay="0"/>
                                  </p:stCondLst>
                                  <p:childTnLst>
                                    <p:set>
                                      <p:cBhvr>
                                        <p:cTn id="88" dur="1" fill="hold">
                                          <p:stCondLst>
                                            <p:cond delay="0"/>
                                          </p:stCondLst>
                                        </p:cTn>
                                        <p:tgtEl>
                                          <p:spTgt spid="53"/>
                                        </p:tgtEl>
                                        <p:attrNameLst>
                                          <p:attrName>style.visibility</p:attrName>
                                        </p:attrNameLst>
                                      </p:cBhvr>
                                      <p:to>
                                        <p:strVal val="visible"/>
                                      </p:to>
                                    </p:set>
                                    <p:animEffect transition="in" filter="fade">
                                      <p:cBhvr>
                                        <p:cTn id="89" dur="500"/>
                                        <p:tgtEl>
                                          <p:spTgt spid="53"/>
                                        </p:tgtEl>
                                      </p:cBhvr>
                                    </p:animEffect>
                                  </p:childTnLst>
                                </p:cTn>
                              </p:par>
                              <p:par>
                                <p:cTn id="90" presetID="10" presetClass="entr" presetSubtype="0" fill="hold" grpId="0" nodeType="withEffect">
                                  <p:stCondLst>
                                    <p:cond delay="0"/>
                                  </p:stCondLst>
                                  <p:childTnLst>
                                    <p:set>
                                      <p:cBhvr>
                                        <p:cTn id="91" dur="1" fill="hold">
                                          <p:stCondLst>
                                            <p:cond delay="0"/>
                                          </p:stCondLst>
                                        </p:cTn>
                                        <p:tgtEl>
                                          <p:spTgt spid="56"/>
                                        </p:tgtEl>
                                        <p:attrNameLst>
                                          <p:attrName>style.visibility</p:attrName>
                                        </p:attrNameLst>
                                      </p:cBhvr>
                                      <p:to>
                                        <p:strVal val="visible"/>
                                      </p:to>
                                    </p:set>
                                    <p:animEffect transition="in" filter="fade">
                                      <p:cBhvr>
                                        <p:cTn id="92" dur="500"/>
                                        <p:tgtEl>
                                          <p:spTgt spid="56"/>
                                        </p:tgtEl>
                                      </p:cBhvr>
                                    </p:animEffect>
                                  </p:childTnLst>
                                </p:cTn>
                              </p:par>
                              <p:par>
                                <p:cTn id="93" presetID="10" presetClass="entr" presetSubtype="0" fill="hold" grpId="0" nodeType="withEffect">
                                  <p:stCondLst>
                                    <p:cond delay="0"/>
                                  </p:stCondLst>
                                  <p:childTnLst>
                                    <p:set>
                                      <p:cBhvr>
                                        <p:cTn id="94" dur="1" fill="hold">
                                          <p:stCondLst>
                                            <p:cond delay="0"/>
                                          </p:stCondLst>
                                        </p:cTn>
                                        <p:tgtEl>
                                          <p:spTgt spid="57"/>
                                        </p:tgtEl>
                                        <p:attrNameLst>
                                          <p:attrName>style.visibility</p:attrName>
                                        </p:attrNameLst>
                                      </p:cBhvr>
                                      <p:to>
                                        <p:strVal val="visible"/>
                                      </p:to>
                                    </p:set>
                                    <p:animEffect transition="in" filter="fade">
                                      <p:cBhvr>
                                        <p:cTn id="95" dur="500"/>
                                        <p:tgtEl>
                                          <p:spTgt spid="57"/>
                                        </p:tgtEl>
                                      </p:cBhvr>
                                    </p:animEffect>
                                  </p:childTnLst>
                                </p:cTn>
                              </p:par>
                              <p:par>
                                <p:cTn id="96" presetID="10" presetClass="entr" presetSubtype="0" fill="hold" grpId="0" nodeType="withEffect">
                                  <p:stCondLst>
                                    <p:cond delay="0"/>
                                  </p:stCondLst>
                                  <p:childTnLst>
                                    <p:set>
                                      <p:cBhvr>
                                        <p:cTn id="97" dur="1" fill="hold">
                                          <p:stCondLst>
                                            <p:cond delay="0"/>
                                          </p:stCondLst>
                                        </p:cTn>
                                        <p:tgtEl>
                                          <p:spTgt spid="60"/>
                                        </p:tgtEl>
                                        <p:attrNameLst>
                                          <p:attrName>style.visibility</p:attrName>
                                        </p:attrNameLst>
                                      </p:cBhvr>
                                      <p:to>
                                        <p:strVal val="visible"/>
                                      </p:to>
                                    </p:set>
                                    <p:animEffect transition="in" filter="fade">
                                      <p:cBhvr>
                                        <p:cTn id="98" dur="500"/>
                                        <p:tgtEl>
                                          <p:spTgt spid="60"/>
                                        </p:tgtEl>
                                      </p:cBhvr>
                                    </p:animEffect>
                                  </p:childTnLst>
                                </p:cTn>
                              </p:par>
                              <p:par>
                                <p:cTn id="99" presetID="10" presetClass="entr" presetSubtype="0" fill="hold" grpId="0" nodeType="withEffect">
                                  <p:stCondLst>
                                    <p:cond delay="0"/>
                                  </p:stCondLst>
                                  <p:childTnLst>
                                    <p:set>
                                      <p:cBhvr>
                                        <p:cTn id="100" dur="1" fill="hold">
                                          <p:stCondLst>
                                            <p:cond delay="0"/>
                                          </p:stCondLst>
                                        </p:cTn>
                                        <p:tgtEl>
                                          <p:spTgt spid="61"/>
                                        </p:tgtEl>
                                        <p:attrNameLst>
                                          <p:attrName>style.visibility</p:attrName>
                                        </p:attrNameLst>
                                      </p:cBhvr>
                                      <p:to>
                                        <p:strVal val="visible"/>
                                      </p:to>
                                    </p:set>
                                    <p:animEffect transition="in" filter="fade">
                                      <p:cBhvr>
                                        <p:cTn id="101" dur="500"/>
                                        <p:tgtEl>
                                          <p:spTgt spid="61"/>
                                        </p:tgtEl>
                                      </p:cBhvr>
                                    </p:animEffect>
                                  </p:childTnLst>
                                </p:cTn>
                              </p:par>
                              <p:par>
                                <p:cTn id="102" presetID="22" presetClass="entr" presetSubtype="4" fill="hold" grpId="0" nodeType="withEffect">
                                  <p:stCondLst>
                                    <p:cond delay="0"/>
                                  </p:stCondLst>
                                  <p:childTnLst>
                                    <p:set>
                                      <p:cBhvr>
                                        <p:cTn id="103" dur="1" fill="hold">
                                          <p:stCondLst>
                                            <p:cond delay="0"/>
                                          </p:stCondLst>
                                        </p:cTn>
                                        <p:tgtEl>
                                          <p:spTgt spid="45"/>
                                        </p:tgtEl>
                                        <p:attrNameLst>
                                          <p:attrName>style.visibility</p:attrName>
                                        </p:attrNameLst>
                                      </p:cBhvr>
                                      <p:to>
                                        <p:strVal val="visible"/>
                                      </p:to>
                                    </p:set>
                                    <p:animEffect transition="in" filter="wipe(down)">
                                      <p:cBhvr>
                                        <p:cTn id="104" dur="500"/>
                                        <p:tgtEl>
                                          <p:spTgt spid="45"/>
                                        </p:tgtEl>
                                      </p:cBhvr>
                                    </p:animEffect>
                                  </p:childTnLst>
                                </p:cTn>
                              </p:par>
                              <p:par>
                                <p:cTn id="105" presetID="22" presetClass="entr" presetSubtype="4" fill="hold" grpId="0" nodeType="withEffect">
                                  <p:stCondLst>
                                    <p:cond delay="0"/>
                                  </p:stCondLst>
                                  <p:childTnLst>
                                    <p:set>
                                      <p:cBhvr>
                                        <p:cTn id="106" dur="1" fill="hold">
                                          <p:stCondLst>
                                            <p:cond delay="0"/>
                                          </p:stCondLst>
                                        </p:cTn>
                                        <p:tgtEl>
                                          <p:spTgt spid="46"/>
                                        </p:tgtEl>
                                        <p:attrNameLst>
                                          <p:attrName>style.visibility</p:attrName>
                                        </p:attrNameLst>
                                      </p:cBhvr>
                                      <p:to>
                                        <p:strVal val="visible"/>
                                      </p:to>
                                    </p:set>
                                    <p:animEffect transition="in" filter="wipe(down)">
                                      <p:cBhvr>
                                        <p:cTn id="107" dur="500"/>
                                        <p:tgtEl>
                                          <p:spTgt spid="46"/>
                                        </p:tgtEl>
                                      </p:cBhvr>
                                    </p:animEffect>
                                  </p:childTnLst>
                                </p:cTn>
                              </p:par>
                              <p:par>
                                <p:cTn id="108" presetID="22" presetClass="entr" presetSubtype="4" fill="hold" grpId="0" nodeType="withEffect">
                                  <p:stCondLst>
                                    <p:cond delay="0"/>
                                  </p:stCondLst>
                                  <p:childTnLst>
                                    <p:set>
                                      <p:cBhvr>
                                        <p:cTn id="109" dur="1" fill="hold">
                                          <p:stCondLst>
                                            <p:cond delay="0"/>
                                          </p:stCondLst>
                                        </p:cTn>
                                        <p:tgtEl>
                                          <p:spTgt spid="50"/>
                                        </p:tgtEl>
                                        <p:attrNameLst>
                                          <p:attrName>style.visibility</p:attrName>
                                        </p:attrNameLst>
                                      </p:cBhvr>
                                      <p:to>
                                        <p:strVal val="visible"/>
                                      </p:to>
                                    </p:set>
                                    <p:animEffect transition="in" filter="wipe(down)">
                                      <p:cBhvr>
                                        <p:cTn id="110" dur="500"/>
                                        <p:tgtEl>
                                          <p:spTgt spid="50"/>
                                        </p:tgtEl>
                                      </p:cBhvr>
                                    </p:animEffect>
                                  </p:childTnLst>
                                </p:cTn>
                              </p:par>
                              <p:par>
                                <p:cTn id="111" presetID="22" presetClass="entr" presetSubtype="4" fill="hold" grpId="0" nodeType="withEffect">
                                  <p:stCondLst>
                                    <p:cond delay="0"/>
                                  </p:stCondLst>
                                  <p:childTnLst>
                                    <p:set>
                                      <p:cBhvr>
                                        <p:cTn id="112" dur="1" fill="hold">
                                          <p:stCondLst>
                                            <p:cond delay="0"/>
                                          </p:stCondLst>
                                        </p:cTn>
                                        <p:tgtEl>
                                          <p:spTgt spid="51"/>
                                        </p:tgtEl>
                                        <p:attrNameLst>
                                          <p:attrName>style.visibility</p:attrName>
                                        </p:attrNameLst>
                                      </p:cBhvr>
                                      <p:to>
                                        <p:strVal val="visible"/>
                                      </p:to>
                                    </p:set>
                                    <p:animEffect transition="in" filter="wipe(down)">
                                      <p:cBhvr>
                                        <p:cTn id="113" dur="500"/>
                                        <p:tgtEl>
                                          <p:spTgt spid="51"/>
                                        </p:tgtEl>
                                      </p:cBhvr>
                                    </p:animEffect>
                                  </p:childTnLst>
                                </p:cTn>
                              </p:par>
                              <p:par>
                                <p:cTn id="114" presetID="22" presetClass="entr" presetSubtype="4" fill="hold" grpId="0" nodeType="withEffect">
                                  <p:stCondLst>
                                    <p:cond delay="0"/>
                                  </p:stCondLst>
                                  <p:childTnLst>
                                    <p:set>
                                      <p:cBhvr>
                                        <p:cTn id="115" dur="1" fill="hold">
                                          <p:stCondLst>
                                            <p:cond delay="0"/>
                                          </p:stCondLst>
                                        </p:cTn>
                                        <p:tgtEl>
                                          <p:spTgt spid="54"/>
                                        </p:tgtEl>
                                        <p:attrNameLst>
                                          <p:attrName>style.visibility</p:attrName>
                                        </p:attrNameLst>
                                      </p:cBhvr>
                                      <p:to>
                                        <p:strVal val="visible"/>
                                      </p:to>
                                    </p:set>
                                    <p:animEffect transition="in" filter="wipe(down)">
                                      <p:cBhvr>
                                        <p:cTn id="116" dur="500"/>
                                        <p:tgtEl>
                                          <p:spTgt spid="54"/>
                                        </p:tgtEl>
                                      </p:cBhvr>
                                    </p:animEffect>
                                  </p:childTnLst>
                                </p:cTn>
                              </p:par>
                              <p:par>
                                <p:cTn id="117" presetID="22" presetClass="entr" presetSubtype="4" fill="hold" grpId="0" nodeType="withEffect">
                                  <p:stCondLst>
                                    <p:cond delay="0"/>
                                  </p:stCondLst>
                                  <p:childTnLst>
                                    <p:set>
                                      <p:cBhvr>
                                        <p:cTn id="118" dur="1" fill="hold">
                                          <p:stCondLst>
                                            <p:cond delay="0"/>
                                          </p:stCondLst>
                                        </p:cTn>
                                        <p:tgtEl>
                                          <p:spTgt spid="55"/>
                                        </p:tgtEl>
                                        <p:attrNameLst>
                                          <p:attrName>style.visibility</p:attrName>
                                        </p:attrNameLst>
                                      </p:cBhvr>
                                      <p:to>
                                        <p:strVal val="visible"/>
                                      </p:to>
                                    </p:set>
                                    <p:animEffect transition="in" filter="wipe(down)">
                                      <p:cBhvr>
                                        <p:cTn id="119" dur="500"/>
                                        <p:tgtEl>
                                          <p:spTgt spid="55"/>
                                        </p:tgtEl>
                                      </p:cBhvr>
                                    </p:animEffect>
                                  </p:childTnLst>
                                </p:cTn>
                              </p:par>
                              <p:par>
                                <p:cTn id="120" presetID="22" presetClass="entr" presetSubtype="4" fill="hold" grpId="0" nodeType="withEffect">
                                  <p:stCondLst>
                                    <p:cond delay="0"/>
                                  </p:stCondLst>
                                  <p:childTnLst>
                                    <p:set>
                                      <p:cBhvr>
                                        <p:cTn id="121" dur="1" fill="hold">
                                          <p:stCondLst>
                                            <p:cond delay="0"/>
                                          </p:stCondLst>
                                        </p:cTn>
                                        <p:tgtEl>
                                          <p:spTgt spid="58"/>
                                        </p:tgtEl>
                                        <p:attrNameLst>
                                          <p:attrName>style.visibility</p:attrName>
                                        </p:attrNameLst>
                                      </p:cBhvr>
                                      <p:to>
                                        <p:strVal val="visible"/>
                                      </p:to>
                                    </p:set>
                                    <p:animEffect transition="in" filter="wipe(down)">
                                      <p:cBhvr>
                                        <p:cTn id="122" dur="500"/>
                                        <p:tgtEl>
                                          <p:spTgt spid="58"/>
                                        </p:tgtEl>
                                      </p:cBhvr>
                                    </p:animEffect>
                                  </p:childTnLst>
                                </p:cTn>
                              </p:par>
                              <p:par>
                                <p:cTn id="123" presetID="22" presetClass="entr" presetSubtype="4" fill="hold" grpId="0" nodeType="withEffect">
                                  <p:stCondLst>
                                    <p:cond delay="0"/>
                                  </p:stCondLst>
                                  <p:childTnLst>
                                    <p:set>
                                      <p:cBhvr>
                                        <p:cTn id="124" dur="1" fill="hold">
                                          <p:stCondLst>
                                            <p:cond delay="0"/>
                                          </p:stCondLst>
                                        </p:cTn>
                                        <p:tgtEl>
                                          <p:spTgt spid="59"/>
                                        </p:tgtEl>
                                        <p:attrNameLst>
                                          <p:attrName>style.visibility</p:attrName>
                                        </p:attrNameLst>
                                      </p:cBhvr>
                                      <p:to>
                                        <p:strVal val="visible"/>
                                      </p:to>
                                    </p:set>
                                    <p:animEffect transition="in" filter="wipe(down)">
                                      <p:cBhvr>
                                        <p:cTn id="125" dur="500"/>
                                        <p:tgtEl>
                                          <p:spTgt spid="59"/>
                                        </p:tgtEl>
                                      </p:cBhvr>
                                    </p:animEffect>
                                  </p:childTnLst>
                                </p:cTn>
                              </p:par>
                              <p:par>
                                <p:cTn id="126" presetID="22" presetClass="entr" presetSubtype="4" fill="hold" grpId="0" nodeType="withEffect">
                                  <p:stCondLst>
                                    <p:cond delay="0"/>
                                  </p:stCondLst>
                                  <p:childTnLst>
                                    <p:set>
                                      <p:cBhvr>
                                        <p:cTn id="127" dur="1" fill="hold">
                                          <p:stCondLst>
                                            <p:cond delay="0"/>
                                          </p:stCondLst>
                                        </p:cTn>
                                        <p:tgtEl>
                                          <p:spTgt spid="62"/>
                                        </p:tgtEl>
                                        <p:attrNameLst>
                                          <p:attrName>style.visibility</p:attrName>
                                        </p:attrNameLst>
                                      </p:cBhvr>
                                      <p:to>
                                        <p:strVal val="visible"/>
                                      </p:to>
                                    </p:set>
                                    <p:animEffect transition="in" filter="wipe(down)">
                                      <p:cBhvr>
                                        <p:cTn id="128" dur="500"/>
                                        <p:tgtEl>
                                          <p:spTgt spid="62"/>
                                        </p:tgtEl>
                                      </p:cBhvr>
                                    </p:animEffect>
                                  </p:childTnLst>
                                </p:cTn>
                              </p:par>
                              <p:par>
                                <p:cTn id="129" presetID="22" presetClass="entr" presetSubtype="4" fill="hold" grpId="0" nodeType="withEffect">
                                  <p:stCondLst>
                                    <p:cond delay="0"/>
                                  </p:stCondLst>
                                  <p:childTnLst>
                                    <p:set>
                                      <p:cBhvr>
                                        <p:cTn id="130" dur="1" fill="hold">
                                          <p:stCondLst>
                                            <p:cond delay="0"/>
                                          </p:stCondLst>
                                        </p:cTn>
                                        <p:tgtEl>
                                          <p:spTgt spid="63"/>
                                        </p:tgtEl>
                                        <p:attrNameLst>
                                          <p:attrName>style.visibility</p:attrName>
                                        </p:attrNameLst>
                                      </p:cBhvr>
                                      <p:to>
                                        <p:strVal val="visible"/>
                                      </p:to>
                                    </p:set>
                                    <p:animEffect transition="in" filter="wipe(down)">
                                      <p:cBhvr>
                                        <p:cTn id="131" dur="500"/>
                                        <p:tgtEl>
                                          <p:spTgt spid="63"/>
                                        </p:tgtEl>
                                      </p:cBhvr>
                                    </p:animEffect>
                                  </p:childTnLst>
                                </p:cTn>
                              </p:par>
                              <p:par>
                                <p:cTn id="132" presetID="10" presetClass="entr" presetSubtype="0" fill="hold" grpId="0" nodeType="withEffect">
                                  <p:stCondLst>
                                    <p:cond delay="0"/>
                                  </p:stCondLst>
                                  <p:childTnLst>
                                    <p:set>
                                      <p:cBhvr>
                                        <p:cTn id="133" dur="1" fill="hold">
                                          <p:stCondLst>
                                            <p:cond delay="0"/>
                                          </p:stCondLst>
                                        </p:cTn>
                                        <p:tgtEl>
                                          <p:spTgt spid="64"/>
                                        </p:tgtEl>
                                        <p:attrNameLst>
                                          <p:attrName>style.visibility</p:attrName>
                                        </p:attrNameLst>
                                      </p:cBhvr>
                                      <p:to>
                                        <p:strVal val="visible"/>
                                      </p:to>
                                    </p:set>
                                    <p:animEffect transition="in" filter="fade">
                                      <p:cBhvr>
                                        <p:cTn id="134" dur="500"/>
                                        <p:tgtEl>
                                          <p:spTgt spid="64"/>
                                        </p:tgtEl>
                                      </p:cBhvr>
                                    </p:animEffect>
                                  </p:childTnLst>
                                </p:cTn>
                              </p:par>
                              <p:par>
                                <p:cTn id="135" presetID="10" presetClass="entr" presetSubtype="0" fill="hold" grpId="0" nodeType="withEffect">
                                  <p:stCondLst>
                                    <p:cond delay="0"/>
                                  </p:stCondLst>
                                  <p:childTnLst>
                                    <p:set>
                                      <p:cBhvr>
                                        <p:cTn id="136" dur="1" fill="hold">
                                          <p:stCondLst>
                                            <p:cond delay="0"/>
                                          </p:stCondLst>
                                        </p:cTn>
                                        <p:tgtEl>
                                          <p:spTgt spid="47"/>
                                        </p:tgtEl>
                                        <p:attrNameLst>
                                          <p:attrName>style.visibility</p:attrName>
                                        </p:attrNameLst>
                                      </p:cBhvr>
                                      <p:to>
                                        <p:strVal val="visible"/>
                                      </p:to>
                                    </p:set>
                                    <p:animEffect transition="in" filter="fade">
                                      <p:cBhvr>
                                        <p:cTn id="137" dur="500"/>
                                        <p:tgtEl>
                                          <p:spTgt spid="47"/>
                                        </p:tgtEl>
                                      </p:cBhvr>
                                    </p:animEffect>
                                  </p:childTnLst>
                                </p:cTn>
                              </p:par>
                              <p:par>
                                <p:cTn id="138" presetID="10" presetClass="entr" presetSubtype="0" fill="hold" grpId="0" nodeType="withEffect">
                                  <p:stCondLst>
                                    <p:cond delay="0"/>
                                  </p:stCondLst>
                                  <p:childTnLst>
                                    <p:set>
                                      <p:cBhvr>
                                        <p:cTn id="139" dur="1" fill="hold">
                                          <p:stCondLst>
                                            <p:cond delay="0"/>
                                          </p:stCondLst>
                                        </p:cTn>
                                        <p:tgtEl>
                                          <p:spTgt spid="65"/>
                                        </p:tgtEl>
                                        <p:attrNameLst>
                                          <p:attrName>style.visibility</p:attrName>
                                        </p:attrNameLst>
                                      </p:cBhvr>
                                      <p:to>
                                        <p:strVal val="visible"/>
                                      </p:to>
                                    </p:set>
                                    <p:animEffect transition="in" filter="fade">
                                      <p:cBhvr>
                                        <p:cTn id="140" dur="500"/>
                                        <p:tgtEl>
                                          <p:spTgt spid="65"/>
                                        </p:tgtEl>
                                      </p:cBhvr>
                                    </p:animEffect>
                                  </p:childTnLst>
                                </p:cTn>
                              </p:par>
                              <p:par>
                                <p:cTn id="141" presetID="10" presetClass="entr" presetSubtype="0" fill="hold" grpId="0" nodeType="withEffect">
                                  <p:stCondLst>
                                    <p:cond delay="0"/>
                                  </p:stCondLst>
                                  <p:childTnLst>
                                    <p:set>
                                      <p:cBhvr>
                                        <p:cTn id="142" dur="1" fill="hold">
                                          <p:stCondLst>
                                            <p:cond delay="0"/>
                                          </p:stCondLst>
                                        </p:cTn>
                                        <p:tgtEl>
                                          <p:spTgt spid="66"/>
                                        </p:tgtEl>
                                        <p:attrNameLst>
                                          <p:attrName>style.visibility</p:attrName>
                                        </p:attrNameLst>
                                      </p:cBhvr>
                                      <p:to>
                                        <p:strVal val="visible"/>
                                      </p:to>
                                    </p:set>
                                    <p:animEffect transition="in" filter="fade">
                                      <p:cBhvr>
                                        <p:cTn id="143" dur="500"/>
                                        <p:tgtEl>
                                          <p:spTgt spid="66"/>
                                        </p:tgtEl>
                                      </p:cBhvr>
                                    </p:animEffect>
                                  </p:childTnLst>
                                </p:cTn>
                              </p:par>
                              <p:par>
                                <p:cTn id="144" presetID="10" presetClass="entr" presetSubtype="0" fill="hold" grpId="0" nodeType="withEffect">
                                  <p:stCondLst>
                                    <p:cond delay="0"/>
                                  </p:stCondLst>
                                  <p:childTnLst>
                                    <p:set>
                                      <p:cBhvr>
                                        <p:cTn id="145" dur="1" fill="hold">
                                          <p:stCondLst>
                                            <p:cond delay="0"/>
                                          </p:stCondLst>
                                        </p:cTn>
                                        <p:tgtEl>
                                          <p:spTgt spid="67"/>
                                        </p:tgtEl>
                                        <p:attrNameLst>
                                          <p:attrName>style.visibility</p:attrName>
                                        </p:attrNameLst>
                                      </p:cBhvr>
                                      <p:to>
                                        <p:strVal val="visible"/>
                                      </p:to>
                                    </p:set>
                                    <p:animEffect transition="in" filter="fade">
                                      <p:cBhvr>
                                        <p:cTn id="146" dur="500"/>
                                        <p:tgtEl>
                                          <p:spTgt spid="6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3" grpId="0" animBg="1"/>
      <p:bldP spid="13" grpId="0"/>
      <p:bldP spid="17" grpId="0"/>
      <p:bldP spid="18" grpId="0"/>
      <p:bldP spid="19" grpId="0"/>
      <p:bldP spid="20" grpId="0"/>
      <p:bldP spid="21" grpId="0"/>
      <p:bldP spid="22" grpId="0"/>
      <p:bldP spid="23" grpId="0"/>
      <p:bldP spid="24" grpId="0" animBg="1"/>
      <p:bldP spid="43" grpId="0" animBg="1"/>
      <p:bldP spid="44" grpId="0"/>
      <p:bldP spid="45" grpId="0" animBg="1"/>
      <p:bldP spid="46" grpId="0" animBg="1"/>
      <p:bldP spid="47" grpId="0"/>
      <p:bldP spid="48" grpId="0" animBg="1"/>
      <p:bldP spid="49" grpId="0"/>
      <p:bldP spid="50" grpId="0" animBg="1"/>
      <p:bldP spid="51" grpId="0" animBg="1"/>
      <p:bldP spid="52" grpId="0" animBg="1"/>
      <p:bldP spid="53" grpId="0"/>
      <p:bldP spid="54" grpId="0" animBg="1"/>
      <p:bldP spid="55" grpId="0" animBg="1"/>
      <p:bldP spid="56" grpId="0" animBg="1"/>
      <p:bldP spid="57" grpId="0"/>
      <p:bldP spid="58" grpId="0" animBg="1"/>
      <p:bldP spid="59" grpId="0" animBg="1"/>
      <p:bldP spid="60" grpId="0" animBg="1"/>
      <p:bldP spid="61" grpId="0"/>
      <p:bldP spid="62" grpId="0" animBg="1"/>
      <p:bldP spid="63" grpId="0" animBg="1"/>
      <p:bldP spid="64" grpId="0"/>
      <p:bldP spid="65" grpId="0"/>
      <p:bldP spid="66" grpId="0"/>
      <p:bldP spid="67" grpId="0"/>
    </p:bldLst>
  </p:timing>
</p:sld>
</file>

<file path=ppt/slides/slide6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535D7A-60D3-4275-A5ED-DBB756C0B4F1}"/>
              </a:ext>
            </a:extLst>
          </p:cNvPr>
          <p:cNvSpPr txBox="1">
            <a:spLocks/>
          </p:cNvSpPr>
          <p:nvPr/>
        </p:nvSpPr>
        <p:spPr>
          <a:xfrm>
            <a:off x="2043113" y="304800"/>
            <a:ext cx="8105775" cy="1105808"/>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ID" sz="4400" b="0" i="0" u="none" strike="noStrike" kern="1200" cap="none" spc="0" normalizeH="0" baseline="0" noProof="0">
                <a:ln>
                  <a:noFill/>
                </a:ln>
                <a:solidFill>
                  <a:srgbClr val="000000"/>
                </a:solidFill>
                <a:effectLst/>
                <a:uLnTx/>
                <a:uFillTx/>
                <a:latin typeface="等线 Light" panose="020F0302020204030204"/>
                <a:ea typeface="+mj-ea"/>
                <a:cs typeface="+mj-cs"/>
              </a:rPr>
              <a:t>Tree Infographic</a:t>
            </a:r>
          </a:p>
        </p:txBody>
      </p:sp>
      <p:sp>
        <p:nvSpPr>
          <p:cNvPr id="3" name="Freeform: Shape 2">
            <a:extLst>
              <a:ext uri="{FF2B5EF4-FFF2-40B4-BE49-F238E27FC236}">
                <a16:creationId xmlns:a16="http://schemas.microsoft.com/office/drawing/2014/main" id="{AF103ADD-EF71-41CD-BD7B-707CFD482EC5}"/>
              </a:ext>
            </a:extLst>
          </p:cNvPr>
          <p:cNvSpPr/>
          <p:nvPr/>
        </p:nvSpPr>
        <p:spPr>
          <a:xfrm>
            <a:off x="2662670" y="3593126"/>
            <a:ext cx="967412" cy="3280286"/>
          </a:xfrm>
          <a:custGeom>
            <a:avLst/>
            <a:gdLst>
              <a:gd name="connsiteX0" fmla="*/ 156754 w 675426"/>
              <a:gd name="connsiteY0" fmla="*/ 1999770 h 2290225"/>
              <a:gd name="connsiteX1" fmla="*/ 141770 w 675426"/>
              <a:gd name="connsiteY1" fmla="*/ 2098893 h 2290225"/>
              <a:gd name="connsiteX2" fmla="*/ 99124 w 675426"/>
              <a:gd name="connsiteY2" fmla="*/ 2183033 h 2290225"/>
              <a:gd name="connsiteX3" fmla="*/ 0 w 675426"/>
              <a:gd name="connsiteY3" fmla="*/ 2290225 h 2290225"/>
              <a:gd name="connsiteX4" fmla="*/ 167128 w 675426"/>
              <a:gd name="connsiteY4" fmla="*/ 2286768 h 2290225"/>
              <a:gd name="connsiteX5" fmla="*/ 179806 w 675426"/>
              <a:gd name="connsiteY5" fmla="*/ 2285615 h 2290225"/>
              <a:gd name="connsiteX6" fmla="*/ 185569 w 675426"/>
              <a:gd name="connsiteY6" fmla="*/ 2285615 h 2290225"/>
              <a:gd name="connsiteX7" fmla="*/ 208622 w 675426"/>
              <a:gd name="connsiteY7" fmla="*/ 2285615 h 2290225"/>
              <a:gd name="connsiteX8" fmla="*/ 237437 w 675426"/>
              <a:gd name="connsiteY8" fmla="*/ 2285615 h 2290225"/>
              <a:gd name="connsiteX9" fmla="*/ 268557 w 675426"/>
              <a:gd name="connsiteY9" fmla="*/ 2285615 h 2290225"/>
              <a:gd name="connsiteX10" fmla="*/ 341171 w 675426"/>
              <a:gd name="connsiteY10" fmla="*/ 2285615 h 2290225"/>
              <a:gd name="connsiteX11" fmla="*/ 344629 w 675426"/>
              <a:gd name="connsiteY11" fmla="*/ 2285615 h 2290225"/>
              <a:gd name="connsiteX12" fmla="*/ 447211 w 675426"/>
              <a:gd name="connsiteY12" fmla="*/ 2285615 h 2290225"/>
              <a:gd name="connsiteX13" fmla="*/ 478331 w 675426"/>
              <a:gd name="connsiteY13" fmla="*/ 2285615 h 2290225"/>
              <a:gd name="connsiteX14" fmla="*/ 495620 w 675426"/>
              <a:gd name="connsiteY14" fmla="*/ 2285615 h 2290225"/>
              <a:gd name="connsiteX15" fmla="*/ 508299 w 675426"/>
              <a:gd name="connsiteY15" fmla="*/ 2286768 h 2290225"/>
              <a:gd name="connsiteX16" fmla="*/ 675427 w 675426"/>
              <a:gd name="connsiteY16" fmla="*/ 2290225 h 2290225"/>
              <a:gd name="connsiteX17" fmla="*/ 582066 w 675426"/>
              <a:gd name="connsiteY17" fmla="*/ 2174965 h 2290225"/>
              <a:gd name="connsiteX18" fmla="*/ 531351 w 675426"/>
              <a:gd name="connsiteY18" fmla="*/ 1995159 h 2290225"/>
              <a:gd name="connsiteX19" fmla="*/ 530198 w 675426"/>
              <a:gd name="connsiteY19" fmla="*/ 1773859 h 2290225"/>
              <a:gd name="connsiteX20" fmla="*/ 497925 w 675426"/>
              <a:gd name="connsiteY20" fmla="*/ 0 h 2290225"/>
              <a:gd name="connsiteX21" fmla="*/ 152144 w 675426"/>
              <a:gd name="connsiteY21" fmla="*/ 0 h 2290225"/>
              <a:gd name="connsiteX22" fmla="*/ 156754 w 675426"/>
              <a:gd name="connsiteY22" fmla="*/ 1999770 h 2290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675426" h="2290225">
                <a:moveTo>
                  <a:pt x="156754" y="1999770"/>
                </a:moveTo>
                <a:cubicBezTo>
                  <a:pt x="153297" y="2044721"/>
                  <a:pt x="148686" y="2081604"/>
                  <a:pt x="141770" y="2098893"/>
                </a:cubicBezTo>
                <a:cubicBezTo>
                  <a:pt x="130244" y="2131166"/>
                  <a:pt x="115261" y="2158829"/>
                  <a:pt x="99124" y="2183033"/>
                </a:cubicBezTo>
                <a:cubicBezTo>
                  <a:pt x="69156" y="2227985"/>
                  <a:pt x="36883" y="2268326"/>
                  <a:pt x="0" y="2290225"/>
                </a:cubicBezTo>
                <a:cubicBezTo>
                  <a:pt x="55325" y="2284462"/>
                  <a:pt x="110650" y="2283310"/>
                  <a:pt x="167128" y="2286768"/>
                </a:cubicBezTo>
                <a:cubicBezTo>
                  <a:pt x="171738" y="2286768"/>
                  <a:pt x="176349" y="2286768"/>
                  <a:pt x="179806" y="2285615"/>
                </a:cubicBezTo>
                <a:lnTo>
                  <a:pt x="185569" y="2285615"/>
                </a:lnTo>
                <a:lnTo>
                  <a:pt x="208622" y="2285615"/>
                </a:lnTo>
                <a:lnTo>
                  <a:pt x="237437" y="2285615"/>
                </a:lnTo>
                <a:lnTo>
                  <a:pt x="268557" y="2285615"/>
                </a:lnTo>
                <a:lnTo>
                  <a:pt x="341171" y="2285615"/>
                </a:lnTo>
                <a:lnTo>
                  <a:pt x="344629" y="2285615"/>
                </a:lnTo>
                <a:lnTo>
                  <a:pt x="447211" y="2285615"/>
                </a:lnTo>
                <a:lnTo>
                  <a:pt x="478331" y="2285615"/>
                </a:lnTo>
                <a:lnTo>
                  <a:pt x="495620" y="2285615"/>
                </a:lnTo>
                <a:cubicBezTo>
                  <a:pt x="500231" y="2286768"/>
                  <a:pt x="504841" y="2286768"/>
                  <a:pt x="508299" y="2286768"/>
                </a:cubicBezTo>
                <a:cubicBezTo>
                  <a:pt x="563624" y="2283310"/>
                  <a:pt x="620102" y="2285615"/>
                  <a:pt x="675427" y="2290225"/>
                </a:cubicBezTo>
                <a:cubicBezTo>
                  <a:pt x="655832" y="2278699"/>
                  <a:pt x="615491" y="2223375"/>
                  <a:pt x="582066" y="2174965"/>
                </a:cubicBezTo>
                <a:cubicBezTo>
                  <a:pt x="549793" y="2127708"/>
                  <a:pt x="531351" y="2062010"/>
                  <a:pt x="531351" y="1995159"/>
                </a:cubicBezTo>
                <a:cubicBezTo>
                  <a:pt x="530198" y="1901798"/>
                  <a:pt x="530198" y="1777316"/>
                  <a:pt x="530198" y="1773859"/>
                </a:cubicBezTo>
                <a:cubicBezTo>
                  <a:pt x="526740" y="1539880"/>
                  <a:pt x="508299" y="701936"/>
                  <a:pt x="497925" y="0"/>
                </a:cubicBezTo>
                <a:lnTo>
                  <a:pt x="152144" y="0"/>
                </a:lnTo>
                <a:cubicBezTo>
                  <a:pt x="154449" y="610881"/>
                  <a:pt x="156754" y="1527201"/>
                  <a:pt x="156754" y="1999770"/>
                </a:cubicBezTo>
                <a:close/>
              </a:path>
            </a:pathLst>
          </a:custGeom>
          <a:solidFill>
            <a:srgbClr val="7A5330"/>
          </a:solidFill>
          <a:ln w="1151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4" name="Freeform: Shape 12">
            <a:extLst>
              <a:ext uri="{FF2B5EF4-FFF2-40B4-BE49-F238E27FC236}">
                <a16:creationId xmlns:a16="http://schemas.microsoft.com/office/drawing/2014/main" id="{80E94D84-5FCD-4641-A9CD-26740F459364}"/>
              </a:ext>
            </a:extLst>
          </p:cNvPr>
          <p:cNvSpPr/>
          <p:nvPr/>
        </p:nvSpPr>
        <p:spPr>
          <a:xfrm>
            <a:off x="996852" y="5193363"/>
            <a:ext cx="4299048" cy="958993"/>
          </a:xfrm>
          <a:custGeom>
            <a:avLst/>
            <a:gdLst>
              <a:gd name="connsiteX0" fmla="*/ 2043569 w 2043568"/>
              <a:gd name="connsiteY0" fmla="*/ 539419 h 539418"/>
              <a:gd name="connsiteX1" fmla="*/ 0 w 2043568"/>
              <a:gd name="connsiteY1" fmla="*/ 539419 h 539418"/>
              <a:gd name="connsiteX2" fmla="*/ 204011 w 2043568"/>
              <a:gd name="connsiteY2" fmla="*/ 0 h 539418"/>
              <a:gd name="connsiteX3" fmla="*/ 1839558 w 2043568"/>
              <a:gd name="connsiteY3" fmla="*/ 0 h 539418"/>
            </a:gdLst>
            <a:ahLst/>
            <a:cxnLst>
              <a:cxn ang="0">
                <a:pos x="connsiteX0" y="connsiteY0"/>
              </a:cxn>
              <a:cxn ang="0">
                <a:pos x="connsiteX1" y="connsiteY1"/>
              </a:cxn>
              <a:cxn ang="0">
                <a:pos x="connsiteX2" y="connsiteY2"/>
              </a:cxn>
              <a:cxn ang="0">
                <a:pos x="connsiteX3" y="connsiteY3"/>
              </a:cxn>
            </a:cxnLst>
            <a:rect l="l" t="t" r="r" b="b"/>
            <a:pathLst>
              <a:path w="2043568" h="539418">
                <a:moveTo>
                  <a:pt x="2043569" y="539419"/>
                </a:moveTo>
                <a:lnTo>
                  <a:pt x="0" y="539419"/>
                </a:lnTo>
                <a:lnTo>
                  <a:pt x="204011" y="0"/>
                </a:lnTo>
                <a:lnTo>
                  <a:pt x="1839558" y="0"/>
                </a:lnTo>
                <a:close/>
              </a:path>
            </a:pathLst>
          </a:custGeom>
          <a:solidFill>
            <a:schemeClr val="accent5"/>
          </a:solidFill>
          <a:ln w="1151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5" name="Freeform: Shape 13">
            <a:extLst>
              <a:ext uri="{FF2B5EF4-FFF2-40B4-BE49-F238E27FC236}">
                <a16:creationId xmlns:a16="http://schemas.microsoft.com/office/drawing/2014/main" id="{D493CB6E-04AA-4DEE-86BF-E17C5A4A4D59}"/>
              </a:ext>
            </a:extLst>
          </p:cNvPr>
          <p:cNvSpPr/>
          <p:nvPr/>
        </p:nvSpPr>
        <p:spPr>
          <a:xfrm>
            <a:off x="1426030" y="4234368"/>
            <a:ext cx="3440693" cy="958995"/>
          </a:xfrm>
          <a:custGeom>
            <a:avLst/>
            <a:gdLst>
              <a:gd name="connsiteX0" fmla="*/ 1635546 w 1635546"/>
              <a:gd name="connsiteY0" fmla="*/ 539419 h 539419"/>
              <a:gd name="connsiteX1" fmla="*/ 0 w 1635546"/>
              <a:gd name="connsiteY1" fmla="*/ 539419 h 539419"/>
              <a:gd name="connsiteX2" fmla="*/ 204011 w 1635546"/>
              <a:gd name="connsiteY2" fmla="*/ 0 h 539419"/>
              <a:gd name="connsiteX3" fmla="*/ 1431536 w 1635546"/>
              <a:gd name="connsiteY3" fmla="*/ 0 h 539419"/>
            </a:gdLst>
            <a:ahLst/>
            <a:cxnLst>
              <a:cxn ang="0">
                <a:pos x="connsiteX0" y="connsiteY0"/>
              </a:cxn>
              <a:cxn ang="0">
                <a:pos x="connsiteX1" y="connsiteY1"/>
              </a:cxn>
              <a:cxn ang="0">
                <a:pos x="connsiteX2" y="connsiteY2"/>
              </a:cxn>
              <a:cxn ang="0">
                <a:pos x="connsiteX3" y="connsiteY3"/>
              </a:cxn>
            </a:cxnLst>
            <a:rect l="l" t="t" r="r" b="b"/>
            <a:pathLst>
              <a:path w="1635546" h="539419">
                <a:moveTo>
                  <a:pt x="1635546" y="539419"/>
                </a:moveTo>
                <a:lnTo>
                  <a:pt x="0" y="539419"/>
                </a:lnTo>
                <a:lnTo>
                  <a:pt x="204011" y="0"/>
                </a:lnTo>
                <a:lnTo>
                  <a:pt x="1431536" y="0"/>
                </a:lnTo>
                <a:close/>
              </a:path>
            </a:pathLst>
          </a:custGeom>
          <a:solidFill>
            <a:schemeClr val="accent4"/>
          </a:solidFill>
          <a:ln w="1151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6" name="Freeform: Shape 14">
            <a:extLst>
              <a:ext uri="{FF2B5EF4-FFF2-40B4-BE49-F238E27FC236}">
                <a16:creationId xmlns:a16="http://schemas.microsoft.com/office/drawing/2014/main" id="{2C80C608-CC64-4AA5-9379-3F848BC5F7A5}"/>
              </a:ext>
            </a:extLst>
          </p:cNvPr>
          <p:cNvSpPr/>
          <p:nvPr/>
        </p:nvSpPr>
        <p:spPr>
          <a:xfrm>
            <a:off x="1855207" y="3275373"/>
            <a:ext cx="2582339" cy="958993"/>
          </a:xfrm>
          <a:custGeom>
            <a:avLst/>
            <a:gdLst>
              <a:gd name="connsiteX0" fmla="*/ 1227524 w 1227524"/>
              <a:gd name="connsiteY0" fmla="*/ 539419 h 539418"/>
              <a:gd name="connsiteX1" fmla="*/ 0 w 1227524"/>
              <a:gd name="connsiteY1" fmla="*/ 539419 h 539418"/>
              <a:gd name="connsiteX2" fmla="*/ 204011 w 1227524"/>
              <a:gd name="connsiteY2" fmla="*/ 0 h 539418"/>
              <a:gd name="connsiteX3" fmla="*/ 1023513 w 1227524"/>
              <a:gd name="connsiteY3" fmla="*/ 0 h 539418"/>
            </a:gdLst>
            <a:ahLst/>
            <a:cxnLst>
              <a:cxn ang="0">
                <a:pos x="connsiteX0" y="connsiteY0"/>
              </a:cxn>
              <a:cxn ang="0">
                <a:pos x="connsiteX1" y="connsiteY1"/>
              </a:cxn>
              <a:cxn ang="0">
                <a:pos x="connsiteX2" y="connsiteY2"/>
              </a:cxn>
              <a:cxn ang="0">
                <a:pos x="connsiteX3" y="connsiteY3"/>
              </a:cxn>
            </a:cxnLst>
            <a:rect l="l" t="t" r="r" b="b"/>
            <a:pathLst>
              <a:path w="1227524" h="539418">
                <a:moveTo>
                  <a:pt x="1227524" y="539419"/>
                </a:moveTo>
                <a:lnTo>
                  <a:pt x="0" y="539419"/>
                </a:lnTo>
                <a:lnTo>
                  <a:pt x="204011" y="0"/>
                </a:lnTo>
                <a:lnTo>
                  <a:pt x="1023513" y="0"/>
                </a:lnTo>
                <a:close/>
              </a:path>
            </a:pathLst>
          </a:custGeom>
          <a:solidFill>
            <a:schemeClr val="accent3"/>
          </a:solidFill>
          <a:ln w="1151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7" name="Freeform: Shape 15">
            <a:extLst>
              <a:ext uri="{FF2B5EF4-FFF2-40B4-BE49-F238E27FC236}">
                <a16:creationId xmlns:a16="http://schemas.microsoft.com/office/drawing/2014/main" id="{3A03F4AD-E61F-43A1-8F26-E17D74116A42}"/>
              </a:ext>
            </a:extLst>
          </p:cNvPr>
          <p:cNvSpPr/>
          <p:nvPr/>
        </p:nvSpPr>
        <p:spPr>
          <a:xfrm>
            <a:off x="2284385" y="2316379"/>
            <a:ext cx="1723984" cy="958993"/>
          </a:xfrm>
          <a:custGeom>
            <a:avLst/>
            <a:gdLst>
              <a:gd name="connsiteX0" fmla="*/ 819502 w 819502"/>
              <a:gd name="connsiteY0" fmla="*/ 539419 h 539418"/>
              <a:gd name="connsiteX1" fmla="*/ 0 w 819502"/>
              <a:gd name="connsiteY1" fmla="*/ 539419 h 539418"/>
              <a:gd name="connsiteX2" fmla="*/ 204011 w 819502"/>
              <a:gd name="connsiteY2" fmla="*/ 0 h 539418"/>
              <a:gd name="connsiteX3" fmla="*/ 615491 w 819502"/>
              <a:gd name="connsiteY3" fmla="*/ 0 h 539418"/>
            </a:gdLst>
            <a:ahLst/>
            <a:cxnLst>
              <a:cxn ang="0">
                <a:pos x="connsiteX0" y="connsiteY0"/>
              </a:cxn>
              <a:cxn ang="0">
                <a:pos x="connsiteX1" y="connsiteY1"/>
              </a:cxn>
              <a:cxn ang="0">
                <a:pos x="connsiteX2" y="connsiteY2"/>
              </a:cxn>
              <a:cxn ang="0">
                <a:pos x="connsiteX3" y="connsiteY3"/>
              </a:cxn>
            </a:cxnLst>
            <a:rect l="l" t="t" r="r" b="b"/>
            <a:pathLst>
              <a:path w="819502" h="539418">
                <a:moveTo>
                  <a:pt x="819502" y="539419"/>
                </a:moveTo>
                <a:lnTo>
                  <a:pt x="0" y="539419"/>
                </a:lnTo>
                <a:lnTo>
                  <a:pt x="204011" y="0"/>
                </a:lnTo>
                <a:lnTo>
                  <a:pt x="615491" y="0"/>
                </a:lnTo>
                <a:close/>
              </a:path>
            </a:pathLst>
          </a:custGeom>
          <a:solidFill>
            <a:schemeClr val="accent2"/>
          </a:solidFill>
          <a:ln w="1151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8" name="Freeform: Shape 16">
            <a:extLst>
              <a:ext uri="{FF2B5EF4-FFF2-40B4-BE49-F238E27FC236}">
                <a16:creationId xmlns:a16="http://schemas.microsoft.com/office/drawing/2014/main" id="{BBC8CBC6-2C79-4D9D-9337-04FABA6CDD26}"/>
              </a:ext>
            </a:extLst>
          </p:cNvPr>
          <p:cNvSpPr/>
          <p:nvPr/>
        </p:nvSpPr>
        <p:spPr>
          <a:xfrm>
            <a:off x="2713561" y="1359432"/>
            <a:ext cx="865627" cy="956945"/>
          </a:xfrm>
          <a:custGeom>
            <a:avLst/>
            <a:gdLst>
              <a:gd name="connsiteX0" fmla="*/ 411480 w 411479"/>
              <a:gd name="connsiteY0" fmla="*/ 538267 h 538266"/>
              <a:gd name="connsiteX1" fmla="*/ 0 w 411479"/>
              <a:gd name="connsiteY1" fmla="*/ 538267 h 538266"/>
              <a:gd name="connsiteX2" fmla="*/ 204011 w 411479"/>
              <a:gd name="connsiteY2" fmla="*/ 0 h 538266"/>
              <a:gd name="connsiteX3" fmla="*/ 206316 w 411479"/>
              <a:gd name="connsiteY3" fmla="*/ 0 h 538266"/>
            </a:gdLst>
            <a:ahLst/>
            <a:cxnLst>
              <a:cxn ang="0">
                <a:pos x="connsiteX0" y="connsiteY0"/>
              </a:cxn>
              <a:cxn ang="0">
                <a:pos x="connsiteX1" y="connsiteY1"/>
              </a:cxn>
              <a:cxn ang="0">
                <a:pos x="connsiteX2" y="connsiteY2"/>
              </a:cxn>
              <a:cxn ang="0">
                <a:pos x="connsiteX3" y="connsiteY3"/>
              </a:cxn>
            </a:cxnLst>
            <a:rect l="l" t="t" r="r" b="b"/>
            <a:pathLst>
              <a:path w="411479" h="538266">
                <a:moveTo>
                  <a:pt x="411480" y="538267"/>
                </a:moveTo>
                <a:lnTo>
                  <a:pt x="0" y="538267"/>
                </a:lnTo>
                <a:lnTo>
                  <a:pt x="204011" y="0"/>
                </a:lnTo>
                <a:lnTo>
                  <a:pt x="206316" y="0"/>
                </a:lnTo>
                <a:close/>
              </a:path>
            </a:pathLst>
          </a:custGeom>
          <a:solidFill>
            <a:schemeClr val="accent1"/>
          </a:solidFill>
          <a:ln w="1151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9" name="Freeform: Shape 17">
            <a:extLst>
              <a:ext uri="{FF2B5EF4-FFF2-40B4-BE49-F238E27FC236}">
                <a16:creationId xmlns:a16="http://schemas.microsoft.com/office/drawing/2014/main" id="{73DF5EB5-6089-4973-801E-5A966A9F52FD}"/>
              </a:ext>
            </a:extLst>
          </p:cNvPr>
          <p:cNvSpPr/>
          <p:nvPr/>
        </p:nvSpPr>
        <p:spPr>
          <a:xfrm>
            <a:off x="2995354" y="1793422"/>
            <a:ext cx="302040" cy="426612"/>
          </a:xfrm>
          <a:custGeom>
            <a:avLst/>
            <a:gdLst>
              <a:gd name="connsiteX0" fmla="*/ 337185 w 674370"/>
              <a:gd name="connsiteY0" fmla="*/ 0 h 952500"/>
              <a:gd name="connsiteX1" fmla="*/ 0 w 674370"/>
              <a:gd name="connsiteY1" fmla="*/ 615315 h 952500"/>
              <a:gd name="connsiteX2" fmla="*/ 337185 w 674370"/>
              <a:gd name="connsiteY2" fmla="*/ 952500 h 952500"/>
              <a:gd name="connsiteX3" fmla="*/ 674370 w 674370"/>
              <a:gd name="connsiteY3" fmla="*/ 615315 h 952500"/>
              <a:gd name="connsiteX4" fmla="*/ 337185 w 674370"/>
              <a:gd name="connsiteY4" fmla="*/ 0 h 952500"/>
              <a:gd name="connsiteX5" fmla="*/ 332423 w 674370"/>
              <a:gd name="connsiteY5" fmla="*/ 876300 h 952500"/>
              <a:gd name="connsiteX6" fmla="*/ 76200 w 674370"/>
              <a:gd name="connsiteY6" fmla="*/ 654368 h 952500"/>
              <a:gd name="connsiteX7" fmla="*/ 121920 w 674370"/>
              <a:gd name="connsiteY7" fmla="*/ 641985 h 952500"/>
              <a:gd name="connsiteX8" fmla="*/ 341948 w 674370"/>
              <a:gd name="connsiteY8" fmla="*/ 830580 h 952500"/>
              <a:gd name="connsiteX9" fmla="*/ 332423 w 674370"/>
              <a:gd name="connsiteY9" fmla="*/ 876300 h 952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74370" h="952500">
                <a:moveTo>
                  <a:pt x="337185" y="0"/>
                </a:moveTo>
                <a:cubicBezTo>
                  <a:pt x="337185" y="0"/>
                  <a:pt x="0" y="429578"/>
                  <a:pt x="0" y="615315"/>
                </a:cubicBezTo>
                <a:cubicBezTo>
                  <a:pt x="0" y="801053"/>
                  <a:pt x="150495" y="952500"/>
                  <a:pt x="337185" y="952500"/>
                </a:cubicBezTo>
                <a:cubicBezTo>
                  <a:pt x="522923" y="952500"/>
                  <a:pt x="674370" y="802005"/>
                  <a:pt x="674370" y="615315"/>
                </a:cubicBezTo>
                <a:cubicBezTo>
                  <a:pt x="674370" y="429578"/>
                  <a:pt x="337185" y="0"/>
                  <a:pt x="337185" y="0"/>
                </a:cubicBezTo>
                <a:close/>
                <a:moveTo>
                  <a:pt x="332423" y="876300"/>
                </a:moveTo>
                <a:cubicBezTo>
                  <a:pt x="128588" y="834390"/>
                  <a:pt x="78105" y="661988"/>
                  <a:pt x="76200" y="654368"/>
                </a:cubicBezTo>
                <a:lnTo>
                  <a:pt x="121920" y="641985"/>
                </a:lnTo>
                <a:cubicBezTo>
                  <a:pt x="123825" y="648653"/>
                  <a:pt x="167640" y="794385"/>
                  <a:pt x="341948" y="830580"/>
                </a:cubicBezTo>
                <a:lnTo>
                  <a:pt x="332423" y="876300"/>
                </a:lnTo>
                <a:close/>
              </a:path>
            </a:pathLst>
          </a:custGeom>
          <a:solidFill>
            <a:schemeClr val="bg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nvGrpSpPr>
          <p:cNvPr id="10" name="Graphic 1">
            <a:extLst>
              <a:ext uri="{FF2B5EF4-FFF2-40B4-BE49-F238E27FC236}">
                <a16:creationId xmlns:a16="http://schemas.microsoft.com/office/drawing/2014/main" id="{C0103D3C-3B74-4C32-A8F8-663145FEBF48}"/>
              </a:ext>
            </a:extLst>
          </p:cNvPr>
          <p:cNvGrpSpPr/>
          <p:nvPr/>
        </p:nvGrpSpPr>
        <p:grpSpPr>
          <a:xfrm>
            <a:off x="2933069" y="2678326"/>
            <a:ext cx="426616" cy="257676"/>
            <a:chOff x="1347787" y="2615565"/>
            <a:chExt cx="952500" cy="575309"/>
          </a:xfrm>
          <a:solidFill>
            <a:schemeClr val="bg2"/>
          </a:solidFill>
        </p:grpSpPr>
        <p:sp>
          <p:nvSpPr>
            <p:cNvPr id="11" name="Freeform: Shape 19">
              <a:extLst>
                <a:ext uri="{FF2B5EF4-FFF2-40B4-BE49-F238E27FC236}">
                  <a16:creationId xmlns:a16="http://schemas.microsoft.com/office/drawing/2014/main" id="{C80E71B8-3C77-45F7-A3DD-F67299DA18B7}"/>
                </a:ext>
              </a:extLst>
            </p:cNvPr>
            <p:cNvSpPr/>
            <p:nvPr/>
          </p:nvSpPr>
          <p:spPr>
            <a:xfrm>
              <a:off x="2062162" y="2812732"/>
              <a:ext cx="238125" cy="378142"/>
            </a:xfrm>
            <a:custGeom>
              <a:avLst/>
              <a:gdLst>
                <a:gd name="connsiteX0" fmla="*/ 43815 w 238125"/>
                <a:gd name="connsiteY0" fmla="*/ 0 h 378142"/>
                <a:gd name="connsiteX1" fmla="*/ 0 w 238125"/>
                <a:gd name="connsiteY1" fmla="*/ 0 h 378142"/>
                <a:gd name="connsiteX2" fmla="*/ 0 w 238125"/>
                <a:gd name="connsiteY2" fmla="*/ 378142 h 378142"/>
                <a:gd name="connsiteX3" fmla="*/ 238125 w 238125"/>
                <a:gd name="connsiteY3" fmla="*/ 378142 h 378142"/>
                <a:gd name="connsiteX4" fmla="*/ 238125 w 238125"/>
                <a:gd name="connsiteY4" fmla="*/ 195263 h 378142"/>
                <a:gd name="connsiteX5" fmla="*/ 43815 w 238125"/>
                <a:gd name="connsiteY5" fmla="*/ 0 h 3781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8125" h="378142">
                  <a:moveTo>
                    <a:pt x="43815" y="0"/>
                  </a:moveTo>
                  <a:lnTo>
                    <a:pt x="0" y="0"/>
                  </a:lnTo>
                  <a:lnTo>
                    <a:pt x="0" y="378142"/>
                  </a:lnTo>
                  <a:lnTo>
                    <a:pt x="238125" y="378142"/>
                  </a:lnTo>
                  <a:lnTo>
                    <a:pt x="238125" y="195263"/>
                  </a:lnTo>
                  <a:cubicBezTo>
                    <a:pt x="238125" y="87630"/>
                    <a:pt x="150495" y="0"/>
                    <a:pt x="43815" y="0"/>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2" name="Freeform: Shape 20">
              <a:extLst>
                <a:ext uri="{FF2B5EF4-FFF2-40B4-BE49-F238E27FC236}">
                  <a16:creationId xmlns:a16="http://schemas.microsoft.com/office/drawing/2014/main" id="{F78EC6C5-E184-43EB-88BE-FDB0CCA5A792}"/>
                </a:ext>
              </a:extLst>
            </p:cNvPr>
            <p:cNvSpPr/>
            <p:nvPr/>
          </p:nvSpPr>
          <p:spPr>
            <a:xfrm>
              <a:off x="1347787" y="2714625"/>
              <a:ext cx="139065" cy="476250"/>
            </a:xfrm>
            <a:custGeom>
              <a:avLst/>
              <a:gdLst>
                <a:gd name="connsiteX0" fmla="*/ 0 w 139065"/>
                <a:gd name="connsiteY0" fmla="*/ 0 h 476250"/>
                <a:gd name="connsiteX1" fmla="*/ 139065 w 139065"/>
                <a:gd name="connsiteY1" fmla="*/ 0 h 476250"/>
                <a:gd name="connsiteX2" fmla="*/ 139065 w 139065"/>
                <a:gd name="connsiteY2" fmla="*/ 476250 h 476250"/>
                <a:gd name="connsiteX3" fmla="*/ 0 w 139065"/>
                <a:gd name="connsiteY3" fmla="*/ 476250 h 476250"/>
              </a:gdLst>
              <a:ahLst/>
              <a:cxnLst>
                <a:cxn ang="0">
                  <a:pos x="connsiteX0" y="connsiteY0"/>
                </a:cxn>
                <a:cxn ang="0">
                  <a:pos x="connsiteX1" y="connsiteY1"/>
                </a:cxn>
                <a:cxn ang="0">
                  <a:pos x="connsiteX2" y="connsiteY2"/>
                </a:cxn>
                <a:cxn ang="0">
                  <a:pos x="connsiteX3" y="connsiteY3"/>
                </a:cxn>
              </a:cxnLst>
              <a:rect l="l" t="t" r="r" b="b"/>
              <a:pathLst>
                <a:path w="139065" h="476250">
                  <a:moveTo>
                    <a:pt x="0" y="0"/>
                  </a:moveTo>
                  <a:lnTo>
                    <a:pt x="139065" y="0"/>
                  </a:lnTo>
                  <a:lnTo>
                    <a:pt x="139065" y="476250"/>
                  </a:lnTo>
                  <a:lnTo>
                    <a:pt x="0" y="47625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3" name="Freeform: Shape 21">
              <a:extLst>
                <a:ext uri="{FF2B5EF4-FFF2-40B4-BE49-F238E27FC236}">
                  <a16:creationId xmlns:a16="http://schemas.microsoft.com/office/drawing/2014/main" id="{B2707C69-540E-44FA-9183-0027D463232F}"/>
                </a:ext>
              </a:extLst>
            </p:cNvPr>
            <p:cNvSpPr/>
            <p:nvPr/>
          </p:nvSpPr>
          <p:spPr>
            <a:xfrm>
              <a:off x="1522094" y="2615565"/>
              <a:ext cx="540067" cy="435292"/>
            </a:xfrm>
            <a:custGeom>
              <a:avLst/>
              <a:gdLst>
                <a:gd name="connsiteX0" fmla="*/ 344805 w 540067"/>
                <a:gd name="connsiteY0" fmla="*/ 99060 h 435292"/>
                <a:gd name="connsiteX1" fmla="*/ 540068 w 540067"/>
                <a:gd name="connsiteY1" fmla="*/ 99060 h 435292"/>
                <a:gd name="connsiteX2" fmla="*/ 540068 w 540067"/>
                <a:gd name="connsiteY2" fmla="*/ 0 h 435292"/>
                <a:gd name="connsiteX3" fmla="*/ 344805 w 540067"/>
                <a:gd name="connsiteY3" fmla="*/ 0 h 435292"/>
                <a:gd name="connsiteX4" fmla="*/ 259080 w 540067"/>
                <a:gd name="connsiteY4" fmla="*/ 0 h 435292"/>
                <a:gd name="connsiteX5" fmla="*/ 63818 w 540067"/>
                <a:gd name="connsiteY5" fmla="*/ 0 h 435292"/>
                <a:gd name="connsiteX6" fmla="*/ 63818 w 540067"/>
                <a:gd name="connsiteY6" fmla="*/ 99060 h 435292"/>
                <a:gd name="connsiteX7" fmla="*/ 259080 w 540067"/>
                <a:gd name="connsiteY7" fmla="*/ 99060 h 435292"/>
                <a:gd name="connsiteX8" fmla="*/ 259080 w 540067"/>
                <a:gd name="connsiteY8" fmla="*/ 197167 h 435292"/>
                <a:gd name="connsiteX9" fmla="*/ 0 w 540067"/>
                <a:gd name="connsiteY9" fmla="*/ 197167 h 435292"/>
                <a:gd name="connsiteX10" fmla="*/ 0 w 540067"/>
                <a:gd name="connsiteY10" fmla="*/ 435292 h 435292"/>
                <a:gd name="connsiteX11" fmla="*/ 505778 w 540067"/>
                <a:gd name="connsiteY11" fmla="*/ 435292 h 435292"/>
                <a:gd name="connsiteX12" fmla="*/ 505778 w 540067"/>
                <a:gd name="connsiteY12" fmla="*/ 197167 h 435292"/>
                <a:gd name="connsiteX13" fmla="*/ 344805 w 540067"/>
                <a:gd name="connsiteY13" fmla="*/ 197167 h 435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40067" h="435292">
                  <a:moveTo>
                    <a:pt x="344805" y="99060"/>
                  </a:moveTo>
                  <a:lnTo>
                    <a:pt x="540068" y="99060"/>
                  </a:lnTo>
                  <a:lnTo>
                    <a:pt x="540068" y="0"/>
                  </a:lnTo>
                  <a:lnTo>
                    <a:pt x="344805" y="0"/>
                  </a:lnTo>
                  <a:lnTo>
                    <a:pt x="259080" y="0"/>
                  </a:lnTo>
                  <a:lnTo>
                    <a:pt x="63818" y="0"/>
                  </a:lnTo>
                  <a:lnTo>
                    <a:pt x="63818" y="99060"/>
                  </a:lnTo>
                  <a:lnTo>
                    <a:pt x="259080" y="99060"/>
                  </a:lnTo>
                  <a:lnTo>
                    <a:pt x="259080" y="197167"/>
                  </a:lnTo>
                  <a:lnTo>
                    <a:pt x="0" y="197167"/>
                  </a:lnTo>
                  <a:lnTo>
                    <a:pt x="0" y="435292"/>
                  </a:lnTo>
                  <a:lnTo>
                    <a:pt x="505778" y="435292"/>
                  </a:lnTo>
                  <a:lnTo>
                    <a:pt x="505778" y="197167"/>
                  </a:lnTo>
                  <a:lnTo>
                    <a:pt x="344805" y="197167"/>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grpSp>
        <p:nvGrpSpPr>
          <p:cNvPr id="14" name="Graphic 1">
            <a:extLst>
              <a:ext uri="{FF2B5EF4-FFF2-40B4-BE49-F238E27FC236}">
                <a16:creationId xmlns:a16="http://schemas.microsoft.com/office/drawing/2014/main" id="{8BC6A689-48D2-4771-9C7E-86968B77727A}"/>
              </a:ext>
            </a:extLst>
          </p:cNvPr>
          <p:cNvGrpSpPr/>
          <p:nvPr/>
        </p:nvGrpSpPr>
        <p:grpSpPr>
          <a:xfrm>
            <a:off x="2962293" y="3582289"/>
            <a:ext cx="368166" cy="367738"/>
            <a:chOff x="3634739" y="2474595"/>
            <a:chExt cx="822007" cy="821054"/>
          </a:xfrm>
          <a:solidFill>
            <a:schemeClr val="bg2"/>
          </a:solidFill>
        </p:grpSpPr>
        <p:sp>
          <p:nvSpPr>
            <p:cNvPr id="15" name="Freeform: Shape 23">
              <a:extLst>
                <a:ext uri="{FF2B5EF4-FFF2-40B4-BE49-F238E27FC236}">
                  <a16:creationId xmlns:a16="http://schemas.microsoft.com/office/drawing/2014/main" id="{9EC66E58-74F7-4002-A2DC-8F957DCFF1AE}"/>
                </a:ext>
              </a:extLst>
            </p:cNvPr>
            <p:cNvSpPr/>
            <p:nvPr/>
          </p:nvSpPr>
          <p:spPr>
            <a:xfrm>
              <a:off x="3672702" y="2474595"/>
              <a:ext cx="784044" cy="784044"/>
            </a:xfrm>
            <a:custGeom>
              <a:avLst/>
              <a:gdLst>
                <a:gd name="connsiteX0" fmla="*/ 784045 w 784044"/>
                <a:gd name="connsiteY0" fmla="*/ 0 h 784044"/>
                <a:gd name="connsiteX1" fmla="*/ 584020 w 784044"/>
                <a:gd name="connsiteY1" fmla="*/ 683895 h 784044"/>
                <a:gd name="connsiteX2" fmla="*/ 115390 w 784044"/>
                <a:gd name="connsiteY2" fmla="*/ 698183 h 784044"/>
                <a:gd name="connsiteX3" fmla="*/ 180160 w 784044"/>
                <a:gd name="connsiteY3" fmla="*/ 633413 h 784044"/>
                <a:gd name="connsiteX4" fmla="*/ 387805 w 784044"/>
                <a:gd name="connsiteY4" fmla="*/ 609600 h 784044"/>
                <a:gd name="connsiteX5" fmla="*/ 383042 w 784044"/>
                <a:gd name="connsiteY5" fmla="*/ 568643 h 784044"/>
                <a:gd name="connsiteX6" fmla="*/ 226832 w 784044"/>
                <a:gd name="connsiteY6" fmla="*/ 586740 h 784044"/>
                <a:gd name="connsiteX7" fmla="*/ 302080 w 784044"/>
                <a:gd name="connsiteY7" fmla="*/ 511492 h 784044"/>
                <a:gd name="connsiteX8" fmla="*/ 509725 w 784044"/>
                <a:gd name="connsiteY8" fmla="*/ 487680 h 784044"/>
                <a:gd name="connsiteX9" fmla="*/ 504962 w 784044"/>
                <a:gd name="connsiteY9" fmla="*/ 446722 h 784044"/>
                <a:gd name="connsiteX10" fmla="*/ 348752 w 784044"/>
                <a:gd name="connsiteY10" fmla="*/ 464820 h 784044"/>
                <a:gd name="connsiteX11" fmla="*/ 504962 w 784044"/>
                <a:gd name="connsiteY11" fmla="*/ 308610 h 784044"/>
                <a:gd name="connsiteX12" fmla="*/ 475435 w 784044"/>
                <a:gd name="connsiteY12" fmla="*/ 279083 h 784044"/>
                <a:gd name="connsiteX13" fmla="*/ 323035 w 784044"/>
                <a:gd name="connsiteY13" fmla="*/ 431483 h 784044"/>
                <a:gd name="connsiteX14" fmla="*/ 344942 w 784044"/>
                <a:gd name="connsiteY14" fmla="*/ 293370 h 784044"/>
                <a:gd name="connsiteX15" fmla="*/ 303985 w 784044"/>
                <a:gd name="connsiteY15" fmla="*/ 286702 h 784044"/>
                <a:gd name="connsiteX16" fmla="*/ 273505 w 784044"/>
                <a:gd name="connsiteY16" fmla="*/ 481013 h 784044"/>
                <a:gd name="connsiteX17" fmla="*/ 201115 w 784044"/>
                <a:gd name="connsiteY17" fmla="*/ 553402 h 784044"/>
                <a:gd name="connsiteX18" fmla="*/ 223022 w 784044"/>
                <a:gd name="connsiteY18" fmla="*/ 415290 h 784044"/>
                <a:gd name="connsiteX19" fmla="*/ 182065 w 784044"/>
                <a:gd name="connsiteY19" fmla="*/ 408622 h 784044"/>
                <a:gd name="connsiteX20" fmla="*/ 151585 w 784044"/>
                <a:gd name="connsiteY20" fmla="*/ 602933 h 784044"/>
                <a:gd name="connsiteX21" fmla="*/ 85862 w 784044"/>
                <a:gd name="connsiteY21" fmla="*/ 668655 h 784044"/>
                <a:gd name="connsiteX22" fmla="*/ 100150 w 784044"/>
                <a:gd name="connsiteY22" fmla="*/ 200025 h 784044"/>
                <a:gd name="connsiteX23" fmla="*/ 784045 w 784044"/>
                <a:gd name="connsiteY23" fmla="*/ 0 h 784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784044" h="784044">
                  <a:moveTo>
                    <a:pt x="784045" y="0"/>
                  </a:moveTo>
                  <a:cubicBezTo>
                    <a:pt x="784045" y="0"/>
                    <a:pt x="717370" y="549593"/>
                    <a:pt x="584020" y="683895"/>
                  </a:cubicBezTo>
                  <a:cubicBezTo>
                    <a:pt x="455432" y="812483"/>
                    <a:pt x="249692" y="817245"/>
                    <a:pt x="115390" y="698183"/>
                  </a:cubicBezTo>
                  <a:lnTo>
                    <a:pt x="180160" y="633413"/>
                  </a:lnTo>
                  <a:lnTo>
                    <a:pt x="387805" y="609600"/>
                  </a:lnTo>
                  <a:lnTo>
                    <a:pt x="383042" y="568643"/>
                  </a:lnTo>
                  <a:lnTo>
                    <a:pt x="226832" y="586740"/>
                  </a:lnTo>
                  <a:lnTo>
                    <a:pt x="302080" y="511492"/>
                  </a:lnTo>
                  <a:lnTo>
                    <a:pt x="509725" y="487680"/>
                  </a:lnTo>
                  <a:lnTo>
                    <a:pt x="504962" y="446722"/>
                  </a:lnTo>
                  <a:lnTo>
                    <a:pt x="348752" y="464820"/>
                  </a:lnTo>
                  <a:lnTo>
                    <a:pt x="504962" y="308610"/>
                  </a:lnTo>
                  <a:lnTo>
                    <a:pt x="475435" y="279083"/>
                  </a:lnTo>
                  <a:lnTo>
                    <a:pt x="323035" y="431483"/>
                  </a:lnTo>
                  <a:lnTo>
                    <a:pt x="344942" y="293370"/>
                  </a:lnTo>
                  <a:lnTo>
                    <a:pt x="303985" y="286702"/>
                  </a:lnTo>
                  <a:lnTo>
                    <a:pt x="273505" y="481013"/>
                  </a:lnTo>
                  <a:lnTo>
                    <a:pt x="201115" y="553402"/>
                  </a:lnTo>
                  <a:lnTo>
                    <a:pt x="223022" y="415290"/>
                  </a:lnTo>
                  <a:lnTo>
                    <a:pt x="182065" y="408622"/>
                  </a:lnTo>
                  <a:lnTo>
                    <a:pt x="151585" y="602933"/>
                  </a:lnTo>
                  <a:lnTo>
                    <a:pt x="85862" y="668655"/>
                  </a:lnTo>
                  <a:cubicBezTo>
                    <a:pt x="-33200" y="534352"/>
                    <a:pt x="-28438" y="328613"/>
                    <a:pt x="100150" y="200025"/>
                  </a:cubicBezTo>
                  <a:cubicBezTo>
                    <a:pt x="233500" y="66675"/>
                    <a:pt x="784045" y="0"/>
                    <a:pt x="784045" y="0"/>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6" name="Freeform: Shape 24">
              <a:extLst>
                <a:ext uri="{FF2B5EF4-FFF2-40B4-BE49-F238E27FC236}">
                  <a16:creationId xmlns:a16="http://schemas.microsoft.com/office/drawing/2014/main" id="{5976E53D-C2D9-4CAD-825D-ABC533427926}"/>
                </a:ext>
              </a:extLst>
            </p:cNvPr>
            <p:cNvSpPr/>
            <p:nvPr/>
          </p:nvSpPr>
          <p:spPr>
            <a:xfrm>
              <a:off x="3634739" y="3143250"/>
              <a:ext cx="153352" cy="152400"/>
            </a:xfrm>
            <a:custGeom>
              <a:avLst/>
              <a:gdLst>
                <a:gd name="connsiteX0" fmla="*/ 153353 w 153352"/>
                <a:gd name="connsiteY0" fmla="*/ 29528 h 152400"/>
                <a:gd name="connsiteX1" fmla="*/ 29527 w 153352"/>
                <a:gd name="connsiteY1" fmla="*/ 152400 h 152400"/>
                <a:gd name="connsiteX2" fmla="*/ 0 w 153352"/>
                <a:gd name="connsiteY2" fmla="*/ 122872 h 152400"/>
                <a:gd name="connsiteX3" fmla="*/ 122872 w 153352"/>
                <a:gd name="connsiteY3" fmla="*/ 0 h 152400"/>
                <a:gd name="connsiteX4" fmla="*/ 137160 w 153352"/>
                <a:gd name="connsiteY4" fmla="*/ 15240 h 152400"/>
                <a:gd name="connsiteX5" fmla="*/ 153353 w 153352"/>
                <a:gd name="connsiteY5" fmla="*/ 29528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3352" h="152400">
                  <a:moveTo>
                    <a:pt x="153353" y="29528"/>
                  </a:moveTo>
                  <a:lnTo>
                    <a:pt x="29527" y="152400"/>
                  </a:lnTo>
                  <a:lnTo>
                    <a:pt x="0" y="122872"/>
                  </a:lnTo>
                  <a:lnTo>
                    <a:pt x="122872" y="0"/>
                  </a:lnTo>
                  <a:cubicBezTo>
                    <a:pt x="127635" y="4763"/>
                    <a:pt x="132397" y="10478"/>
                    <a:pt x="137160" y="15240"/>
                  </a:cubicBezTo>
                  <a:cubicBezTo>
                    <a:pt x="142875" y="20003"/>
                    <a:pt x="147638" y="24765"/>
                    <a:pt x="153353" y="2952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grpSp>
        <p:nvGrpSpPr>
          <p:cNvPr id="17" name="Graphic 1">
            <a:extLst>
              <a:ext uri="{FF2B5EF4-FFF2-40B4-BE49-F238E27FC236}">
                <a16:creationId xmlns:a16="http://schemas.microsoft.com/office/drawing/2014/main" id="{2997C98F-08CF-475F-9FED-77EB34811AFF}"/>
              </a:ext>
            </a:extLst>
          </p:cNvPr>
          <p:cNvGrpSpPr/>
          <p:nvPr/>
        </p:nvGrpSpPr>
        <p:grpSpPr>
          <a:xfrm>
            <a:off x="2904272" y="4530831"/>
            <a:ext cx="484208" cy="388646"/>
            <a:chOff x="6348412" y="2426970"/>
            <a:chExt cx="1081087" cy="867727"/>
          </a:xfrm>
          <a:solidFill>
            <a:schemeClr val="bg2"/>
          </a:solidFill>
        </p:grpSpPr>
        <p:grpSp>
          <p:nvGrpSpPr>
            <p:cNvPr id="18" name="Graphic 1">
              <a:extLst>
                <a:ext uri="{FF2B5EF4-FFF2-40B4-BE49-F238E27FC236}">
                  <a16:creationId xmlns:a16="http://schemas.microsoft.com/office/drawing/2014/main" id="{93FB48DB-62CB-4010-BBD1-951A8AD2FAB2}"/>
                </a:ext>
              </a:extLst>
            </p:cNvPr>
            <p:cNvGrpSpPr/>
            <p:nvPr/>
          </p:nvGrpSpPr>
          <p:grpSpPr>
            <a:xfrm>
              <a:off x="6348412" y="2426970"/>
              <a:ext cx="1081087" cy="529589"/>
              <a:chOff x="6348412" y="2426970"/>
              <a:chExt cx="1081087" cy="529589"/>
            </a:xfrm>
            <a:grpFill/>
          </p:grpSpPr>
          <p:sp>
            <p:nvSpPr>
              <p:cNvPr id="20" name="Freeform: Shape 28">
                <a:extLst>
                  <a:ext uri="{FF2B5EF4-FFF2-40B4-BE49-F238E27FC236}">
                    <a16:creationId xmlns:a16="http://schemas.microsoft.com/office/drawing/2014/main" id="{7537014E-E13B-49D7-B091-6EF075C606BB}"/>
                  </a:ext>
                </a:extLst>
              </p:cNvPr>
              <p:cNvSpPr/>
              <p:nvPr/>
            </p:nvSpPr>
            <p:spPr>
              <a:xfrm>
                <a:off x="6348412" y="2426970"/>
                <a:ext cx="463867" cy="333375"/>
              </a:xfrm>
              <a:custGeom>
                <a:avLst/>
                <a:gdLst>
                  <a:gd name="connsiteX0" fmla="*/ 442913 w 463867"/>
                  <a:gd name="connsiteY0" fmla="*/ 189547 h 333375"/>
                  <a:gd name="connsiteX1" fmla="*/ 462915 w 463867"/>
                  <a:gd name="connsiteY1" fmla="*/ 194310 h 333375"/>
                  <a:gd name="connsiteX2" fmla="*/ 299085 w 463867"/>
                  <a:gd name="connsiteY2" fmla="*/ 333375 h 333375"/>
                  <a:gd name="connsiteX3" fmla="*/ 22860 w 463867"/>
                  <a:gd name="connsiteY3" fmla="*/ 184785 h 333375"/>
                  <a:gd name="connsiteX4" fmla="*/ 0 w 463867"/>
                  <a:gd name="connsiteY4" fmla="*/ 166688 h 333375"/>
                  <a:gd name="connsiteX5" fmla="*/ 22860 w 463867"/>
                  <a:gd name="connsiteY5" fmla="*/ 148590 h 333375"/>
                  <a:gd name="connsiteX6" fmla="*/ 299085 w 463867"/>
                  <a:gd name="connsiteY6" fmla="*/ 0 h 333375"/>
                  <a:gd name="connsiteX7" fmla="*/ 463868 w 463867"/>
                  <a:gd name="connsiteY7" fmla="*/ 146685 h 333375"/>
                  <a:gd name="connsiteX8" fmla="*/ 442913 w 463867"/>
                  <a:gd name="connsiteY8" fmla="*/ 143827 h 333375"/>
                  <a:gd name="connsiteX9" fmla="*/ 293370 w 463867"/>
                  <a:gd name="connsiteY9" fmla="*/ 143827 h 333375"/>
                  <a:gd name="connsiteX10" fmla="*/ 293370 w 463867"/>
                  <a:gd name="connsiteY10" fmla="*/ 189547 h 333375"/>
                  <a:gd name="connsiteX11" fmla="*/ 442913 w 463867"/>
                  <a:gd name="connsiteY11" fmla="*/ 189547 h 333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63867" h="333375">
                    <a:moveTo>
                      <a:pt x="442913" y="189547"/>
                    </a:moveTo>
                    <a:cubicBezTo>
                      <a:pt x="450532" y="189547"/>
                      <a:pt x="457200" y="191452"/>
                      <a:pt x="462915" y="194310"/>
                    </a:cubicBezTo>
                    <a:cubicBezTo>
                      <a:pt x="449580" y="273367"/>
                      <a:pt x="381000" y="333375"/>
                      <a:pt x="299085" y="333375"/>
                    </a:cubicBezTo>
                    <a:cubicBezTo>
                      <a:pt x="214313" y="333375"/>
                      <a:pt x="41910" y="200025"/>
                      <a:pt x="22860" y="184785"/>
                    </a:cubicBezTo>
                    <a:lnTo>
                      <a:pt x="0" y="166688"/>
                    </a:lnTo>
                    <a:lnTo>
                      <a:pt x="22860" y="148590"/>
                    </a:lnTo>
                    <a:cubicBezTo>
                      <a:pt x="41910" y="133350"/>
                      <a:pt x="215265" y="0"/>
                      <a:pt x="299085" y="0"/>
                    </a:cubicBezTo>
                    <a:cubicBezTo>
                      <a:pt x="383857" y="0"/>
                      <a:pt x="454343" y="63817"/>
                      <a:pt x="463868" y="146685"/>
                    </a:cubicBezTo>
                    <a:cubicBezTo>
                      <a:pt x="457200" y="144780"/>
                      <a:pt x="449580" y="143827"/>
                      <a:pt x="442913" y="143827"/>
                    </a:cubicBezTo>
                    <a:lnTo>
                      <a:pt x="293370" y="143827"/>
                    </a:lnTo>
                    <a:lnTo>
                      <a:pt x="293370" y="189547"/>
                    </a:lnTo>
                    <a:lnTo>
                      <a:pt x="442913" y="189547"/>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1" name="Freeform: Shape 29">
                <a:extLst>
                  <a:ext uri="{FF2B5EF4-FFF2-40B4-BE49-F238E27FC236}">
                    <a16:creationId xmlns:a16="http://schemas.microsoft.com/office/drawing/2014/main" id="{D1A6442A-F610-4FEE-9940-1984C5A9A2D2}"/>
                  </a:ext>
                </a:extLst>
              </p:cNvPr>
              <p:cNvSpPr/>
              <p:nvPr/>
            </p:nvSpPr>
            <p:spPr>
              <a:xfrm>
                <a:off x="7052309" y="2685097"/>
                <a:ext cx="377189" cy="271462"/>
              </a:xfrm>
              <a:custGeom>
                <a:avLst/>
                <a:gdLst>
                  <a:gd name="connsiteX0" fmla="*/ 377190 w 377189"/>
                  <a:gd name="connsiteY0" fmla="*/ 135255 h 271462"/>
                  <a:gd name="connsiteX1" fmla="*/ 354330 w 377189"/>
                  <a:gd name="connsiteY1" fmla="*/ 153353 h 271462"/>
                  <a:gd name="connsiteX2" fmla="*/ 133350 w 377189"/>
                  <a:gd name="connsiteY2" fmla="*/ 271463 h 271462"/>
                  <a:gd name="connsiteX3" fmla="*/ 0 w 377189"/>
                  <a:gd name="connsiteY3" fmla="*/ 160973 h 271462"/>
                  <a:gd name="connsiteX4" fmla="*/ 28575 w 377189"/>
                  <a:gd name="connsiteY4" fmla="*/ 158115 h 271462"/>
                  <a:gd name="connsiteX5" fmla="*/ 155257 w 377189"/>
                  <a:gd name="connsiteY5" fmla="*/ 158115 h 271462"/>
                  <a:gd name="connsiteX6" fmla="*/ 155257 w 377189"/>
                  <a:gd name="connsiteY6" fmla="*/ 112395 h 271462"/>
                  <a:gd name="connsiteX7" fmla="*/ 29527 w 377189"/>
                  <a:gd name="connsiteY7" fmla="*/ 112395 h 271462"/>
                  <a:gd name="connsiteX8" fmla="*/ 0 w 377189"/>
                  <a:gd name="connsiteY8" fmla="*/ 115253 h 271462"/>
                  <a:gd name="connsiteX9" fmla="*/ 134302 w 377189"/>
                  <a:gd name="connsiteY9" fmla="*/ 0 h 271462"/>
                  <a:gd name="connsiteX10" fmla="*/ 355282 w 377189"/>
                  <a:gd name="connsiteY10" fmla="*/ 118110 h 271462"/>
                  <a:gd name="connsiteX11" fmla="*/ 377190 w 377189"/>
                  <a:gd name="connsiteY11" fmla="*/ 135255 h 2714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77189" h="271462">
                    <a:moveTo>
                      <a:pt x="377190" y="135255"/>
                    </a:moveTo>
                    <a:lnTo>
                      <a:pt x="354330" y="153353"/>
                    </a:lnTo>
                    <a:cubicBezTo>
                      <a:pt x="339090" y="165735"/>
                      <a:pt x="201930" y="271463"/>
                      <a:pt x="133350" y="271463"/>
                    </a:cubicBezTo>
                    <a:cubicBezTo>
                      <a:pt x="67627" y="271463"/>
                      <a:pt x="12382" y="223838"/>
                      <a:pt x="0" y="160973"/>
                    </a:cubicBezTo>
                    <a:cubicBezTo>
                      <a:pt x="8572" y="159068"/>
                      <a:pt x="18097" y="158115"/>
                      <a:pt x="28575" y="158115"/>
                    </a:cubicBezTo>
                    <a:lnTo>
                      <a:pt x="155257" y="158115"/>
                    </a:lnTo>
                    <a:lnTo>
                      <a:pt x="155257" y="112395"/>
                    </a:lnTo>
                    <a:lnTo>
                      <a:pt x="29527" y="112395"/>
                    </a:lnTo>
                    <a:cubicBezTo>
                      <a:pt x="19050" y="112395"/>
                      <a:pt x="9525" y="113348"/>
                      <a:pt x="0" y="115253"/>
                    </a:cubicBezTo>
                    <a:cubicBezTo>
                      <a:pt x="9525" y="49530"/>
                      <a:pt x="66675" y="0"/>
                      <a:pt x="134302" y="0"/>
                    </a:cubicBezTo>
                    <a:cubicBezTo>
                      <a:pt x="202882" y="0"/>
                      <a:pt x="340042" y="105728"/>
                      <a:pt x="355282" y="118110"/>
                    </a:cubicBezTo>
                    <a:lnTo>
                      <a:pt x="377190" y="135255"/>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sp>
          <p:nvSpPr>
            <p:cNvPr id="19" name="Freeform: Shape 27">
              <a:extLst>
                <a:ext uri="{FF2B5EF4-FFF2-40B4-BE49-F238E27FC236}">
                  <a16:creationId xmlns:a16="http://schemas.microsoft.com/office/drawing/2014/main" id="{E7B57343-BB01-4B22-902A-6F018F351A00}"/>
                </a:ext>
              </a:extLst>
            </p:cNvPr>
            <p:cNvSpPr/>
            <p:nvPr/>
          </p:nvSpPr>
          <p:spPr>
            <a:xfrm>
              <a:off x="6679881" y="2572702"/>
              <a:ext cx="498157" cy="721994"/>
            </a:xfrm>
            <a:custGeom>
              <a:avLst/>
              <a:gdLst>
                <a:gd name="connsiteX0" fmla="*/ 272415 w 498157"/>
                <a:gd name="connsiteY0" fmla="*/ 452438 h 721994"/>
                <a:gd name="connsiteX1" fmla="*/ 324803 w 498157"/>
                <a:gd name="connsiteY1" fmla="*/ 300990 h 721994"/>
                <a:gd name="connsiteX2" fmla="*/ 373380 w 498157"/>
                <a:gd name="connsiteY2" fmla="*/ 273367 h 721994"/>
                <a:gd name="connsiteX3" fmla="*/ 370523 w 498157"/>
                <a:gd name="connsiteY3" fmla="*/ 247650 h 721994"/>
                <a:gd name="connsiteX4" fmla="*/ 372428 w 498157"/>
                <a:gd name="connsiteY4" fmla="*/ 227647 h 721994"/>
                <a:gd name="connsiteX5" fmla="*/ 292418 w 498157"/>
                <a:gd name="connsiteY5" fmla="*/ 269557 h 721994"/>
                <a:gd name="connsiteX6" fmla="*/ 265748 w 498157"/>
                <a:gd name="connsiteY6" fmla="*/ 304800 h 721994"/>
                <a:gd name="connsiteX7" fmla="*/ 181928 w 498157"/>
                <a:gd name="connsiteY7" fmla="*/ 29527 h 721994"/>
                <a:gd name="connsiteX8" fmla="*/ 132398 w 498157"/>
                <a:gd name="connsiteY8" fmla="*/ 0 h 721994"/>
                <a:gd name="connsiteX9" fmla="*/ 133350 w 498157"/>
                <a:gd name="connsiteY9" fmla="*/ 20002 h 721994"/>
                <a:gd name="connsiteX10" fmla="*/ 131445 w 498157"/>
                <a:gd name="connsiteY10" fmla="*/ 47625 h 721994"/>
                <a:gd name="connsiteX11" fmla="*/ 149543 w 498157"/>
                <a:gd name="connsiteY11" fmla="*/ 60960 h 721994"/>
                <a:gd name="connsiteX12" fmla="*/ 226695 w 498157"/>
                <a:gd name="connsiteY12" fmla="*/ 451485 h 721994"/>
                <a:gd name="connsiteX13" fmla="*/ 0 w 498157"/>
                <a:gd name="connsiteY13" fmla="*/ 699135 h 721994"/>
                <a:gd name="connsiteX14" fmla="*/ 0 w 498157"/>
                <a:gd name="connsiteY14" fmla="*/ 721995 h 721994"/>
                <a:gd name="connsiteX15" fmla="*/ 498157 w 498157"/>
                <a:gd name="connsiteY15" fmla="*/ 721995 h 721994"/>
                <a:gd name="connsiteX16" fmla="*/ 498157 w 498157"/>
                <a:gd name="connsiteY16" fmla="*/ 699135 h 721994"/>
                <a:gd name="connsiteX17" fmla="*/ 272415 w 498157"/>
                <a:gd name="connsiteY17" fmla="*/ 452438 h 721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98157" h="721994">
                  <a:moveTo>
                    <a:pt x="272415" y="452438"/>
                  </a:moveTo>
                  <a:cubicBezTo>
                    <a:pt x="274320" y="416242"/>
                    <a:pt x="283845" y="342900"/>
                    <a:pt x="324803" y="300990"/>
                  </a:cubicBezTo>
                  <a:cubicBezTo>
                    <a:pt x="339090" y="286702"/>
                    <a:pt x="354330" y="277177"/>
                    <a:pt x="373380" y="273367"/>
                  </a:cubicBezTo>
                  <a:cubicBezTo>
                    <a:pt x="371475" y="264795"/>
                    <a:pt x="370523" y="256222"/>
                    <a:pt x="370523" y="247650"/>
                  </a:cubicBezTo>
                  <a:cubicBezTo>
                    <a:pt x="370523" y="240982"/>
                    <a:pt x="371475" y="234315"/>
                    <a:pt x="372428" y="227647"/>
                  </a:cubicBezTo>
                  <a:cubicBezTo>
                    <a:pt x="340995" y="233363"/>
                    <a:pt x="314325" y="247650"/>
                    <a:pt x="292418" y="269557"/>
                  </a:cubicBezTo>
                  <a:cubicBezTo>
                    <a:pt x="281940" y="280035"/>
                    <a:pt x="273368" y="292417"/>
                    <a:pt x="265748" y="304800"/>
                  </a:cubicBezTo>
                  <a:cubicBezTo>
                    <a:pt x="256223" y="202882"/>
                    <a:pt x="234315" y="83820"/>
                    <a:pt x="181928" y="29527"/>
                  </a:cubicBezTo>
                  <a:cubicBezTo>
                    <a:pt x="167640" y="14288"/>
                    <a:pt x="150495" y="4763"/>
                    <a:pt x="132398" y="0"/>
                  </a:cubicBezTo>
                  <a:cubicBezTo>
                    <a:pt x="133350" y="6667"/>
                    <a:pt x="133350" y="13335"/>
                    <a:pt x="133350" y="20002"/>
                  </a:cubicBezTo>
                  <a:cubicBezTo>
                    <a:pt x="133350" y="29527"/>
                    <a:pt x="132398" y="38100"/>
                    <a:pt x="131445" y="47625"/>
                  </a:cubicBezTo>
                  <a:cubicBezTo>
                    <a:pt x="137160" y="50482"/>
                    <a:pt x="143828" y="55245"/>
                    <a:pt x="149543" y="60960"/>
                  </a:cubicBezTo>
                  <a:cubicBezTo>
                    <a:pt x="214313" y="127635"/>
                    <a:pt x="227648" y="348615"/>
                    <a:pt x="226695" y="451485"/>
                  </a:cubicBezTo>
                  <a:cubicBezTo>
                    <a:pt x="100013" y="462915"/>
                    <a:pt x="0" y="569595"/>
                    <a:pt x="0" y="699135"/>
                  </a:cubicBezTo>
                  <a:lnTo>
                    <a:pt x="0" y="721995"/>
                  </a:lnTo>
                  <a:lnTo>
                    <a:pt x="498157" y="721995"/>
                  </a:lnTo>
                  <a:lnTo>
                    <a:pt x="498157" y="699135"/>
                  </a:lnTo>
                  <a:cubicBezTo>
                    <a:pt x="498157" y="571500"/>
                    <a:pt x="398145" y="464820"/>
                    <a:pt x="272415" y="45243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grpSp>
        <p:nvGrpSpPr>
          <p:cNvPr id="22" name="Graphic 1">
            <a:extLst>
              <a:ext uri="{FF2B5EF4-FFF2-40B4-BE49-F238E27FC236}">
                <a16:creationId xmlns:a16="http://schemas.microsoft.com/office/drawing/2014/main" id="{5C18CA76-40BE-48B6-8693-F5CC2C1CF7AD}"/>
              </a:ext>
            </a:extLst>
          </p:cNvPr>
          <p:cNvGrpSpPr/>
          <p:nvPr/>
        </p:nvGrpSpPr>
        <p:grpSpPr>
          <a:xfrm>
            <a:off x="2983410" y="5520756"/>
            <a:ext cx="325932" cy="326784"/>
            <a:chOff x="8959214" y="2548890"/>
            <a:chExt cx="727710" cy="729614"/>
          </a:xfrm>
          <a:solidFill>
            <a:schemeClr val="bg2"/>
          </a:solidFill>
        </p:grpSpPr>
        <p:sp>
          <p:nvSpPr>
            <p:cNvPr id="23" name="Freeform: Shape 31">
              <a:extLst>
                <a:ext uri="{FF2B5EF4-FFF2-40B4-BE49-F238E27FC236}">
                  <a16:creationId xmlns:a16="http://schemas.microsoft.com/office/drawing/2014/main" id="{19746D6C-71EB-43FD-9D4C-C2CBD803998C}"/>
                </a:ext>
              </a:extLst>
            </p:cNvPr>
            <p:cNvSpPr/>
            <p:nvPr/>
          </p:nvSpPr>
          <p:spPr>
            <a:xfrm>
              <a:off x="8959214" y="3156584"/>
              <a:ext cx="120967" cy="121920"/>
            </a:xfrm>
            <a:custGeom>
              <a:avLst/>
              <a:gdLst>
                <a:gd name="connsiteX0" fmla="*/ 120968 w 120967"/>
                <a:gd name="connsiteY0" fmla="*/ 33338 h 121920"/>
                <a:gd name="connsiteX1" fmla="*/ 33338 w 120967"/>
                <a:gd name="connsiteY1" fmla="*/ 121920 h 121920"/>
                <a:gd name="connsiteX2" fmla="*/ 0 w 120967"/>
                <a:gd name="connsiteY2" fmla="*/ 88583 h 121920"/>
                <a:gd name="connsiteX3" fmla="*/ 87630 w 120967"/>
                <a:gd name="connsiteY3" fmla="*/ 0 h 121920"/>
                <a:gd name="connsiteX4" fmla="*/ 103823 w 120967"/>
                <a:gd name="connsiteY4" fmla="*/ 18098 h 121920"/>
                <a:gd name="connsiteX5" fmla="*/ 120968 w 120967"/>
                <a:gd name="connsiteY5" fmla="*/ 33338 h 121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0967" h="121920">
                  <a:moveTo>
                    <a:pt x="120968" y="33338"/>
                  </a:moveTo>
                  <a:lnTo>
                    <a:pt x="33338" y="121920"/>
                  </a:lnTo>
                  <a:lnTo>
                    <a:pt x="0" y="88583"/>
                  </a:lnTo>
                  <a:lnTo>
                    <a:pt x="87630" y="0"/>
                  </a:lnTo>
                  <a:cubicBezTo>
                    <a:pt x="92393" y="5715"/>
                    <a:pt x="98108" y="12383"/>
                    <a:pt x="103823" y="18098"/>
                  </a:cubicBezTo>
                  <a:cubicBezTo>
                    <a:pt x="109538" y="22860"/>
                    <a:pt x="115253" y="27623"/>
                    <a:pt x="120968" y="3333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nvGrpSpPr>
            <p:cNvPr id="24" name="Graphic 1">
              <a:extLst>
                <a:ext uri="{FF2B5EF4-FFF2-40B4-BE49-F238E27FC236}">
                  <a16:creationId xmlns:a16="http://schemas.microsoft.com/office/drawing/2014/main" id="{334D86BF-CF66-42CB-8763-BD36B0928164}"/>
                </a:ext>
              </a:extLst>
            </p:cNvPr>
            <p:cNvGrpSpPr/>
            <p:nvPr/>
          </p:nvGrpSpPr>
          <p:grpSpPr>
            <a:xfrm>
              <a:off x="8971174" y="2548890"/>
              <a:ext cx="715750" cy="716279"/>
              <a:chOff x="8971174" y="2548890"/>
              <a:chExt cx="715750" cy="716279"/>
            </a:xfrm>
            <a:grpFill/>
          </p:grpSpPr>
          <p:sp>
            <p:nvSpPr>
              <p:cNvPr id="25" name="Freeform: Shape 33">
                <a:extLst>
                  <a:ext uri="{FF2B5EF4-FFF2-40B4-BE49-F238E27FC236}">
                    <a16:creationId xmlns:a16="http://schemas.microsoft.com/office/drawing/2014/main" id="{E8A4F177-C595-4100-B3CC-457D58D3FF78}"/>
                  </a:ext>
                </a:extLst>
              </p:cNvPr>
              <p:cNvSpPr/>
              <p:nvPr/>
            </p:nvSpPr>
            <p:spPr>
              <a:xfrm>
                <a:off x="8971174" y="2548890"/>
                <a:ext cx="715750" cy="716279"/>
              </a:xfrm>
              <a:custGeom>
                <a:avLst/>
                <a:gdLst>
                  <a:gd name="connsiteX0" fmla="*/ 686223 w 715750"/>
                  <a:gd name="connsiteY0" fmla="*/ 3810 h 716279"/>
                  <a:gd name="connsiteX1" fmla="*/ 91863 w 715750"/>
                  <a:gd name="connsiteY1" fmla="*/ 180975 h 716279"/>
                  <a:gd name="connsiteX2" fmla="*/ 75670 w 715750"/>
                  <a:gd name="connsiteY2" fmla="*/ 606743 h 716279"/>
                  <a:gd name="connsiteX3" fmla="*/ 149965 w 715750"/>
                  <a:gd name="connsiteY3" fmla="*/ 532447 h 716279"/>
                  <a:gd name="connsiteX4" fmla="*/ 183303 w 715750"/>
                  <a:gd name="connsiteY4" fmla="*/ 565785 h 716279"/>
                  <a:gd name="connsiteX5" fmla="*/ 109008 w 715750"/>
                  <a:gd name="connsiteY5" fmla="*/ 640080 h 716279"/>
                  <a:gd name="connsiteX6" fmla="*/ 313795 w 715750"/>
                  <a:gd name="connsiteY6" fmla="*/ 716280 h 716279"/>
                  <a:gd name="connsiteX7" fmla="*/ 535728 w 715750"/>
                  <a:gd name="connsiteY7" fmla="*/ 624840 h 716279"/>
                  <a:gd name="connsiteX8" fmla="*/ 711940 w 715750"/>
                  <a:gd name="connsiteY8" fmla="*/ 30480 h 716279"/>
                  <a:gd name="connsiteX9" fmla="*/ 715750 w 715750"/>
                  <a:gd name="connsiteY9" fmla="*/ 0 h 716279"/>
                  <a:gd name="connsiteX10" fmla="*/ 686223 w 715750"/>
                  <a:gd name="connsiteY10" fmla="*/ 3810 h 716279"/>
                  <a:gd name="connsiteX11" fmla="*/ 390948 w 715750"/>
                  <a:gd name="connsiteY11" fmla="*/ 454342 h 716279"/>
                  <a:gd name="connsiteX12" fmla="*/ 303318 w 715750"/>
                  <a:gd name="connsiteY12" fmla="*/ 488632 h 716279"/>
                  <a:gd name="connsiteX13" fmla="*/ 215688 w 715750"/>
                  <a:gd name="connsiteY13" fmla="*/ 455295 h 716279"/>
                  <a:gd name="connsiteX14" fmla="*/ 183303 w 715750"/>
                  <a:gd name="connsiteY14" fmla="*/ 362902 h 716279"/>
                  <a:gd name="connsiteX15" fmla="*/ 194733 w 715750"/>
                  <a:gd name="connsiteY15" fmla="*/ 299085 h 716279"/>
                  <a:gd name="connsiteX16" fmla="*/ 217593 w 715750"/>
                  <a:gd name="connsiteY16" fmla="*/ 264795 h 716279"/>
                  <a:gd name="connsiteX17" fmla="*/ 249978 w 715750"/>
                  <a:gd name="connsiteY17" fmla="*/ 242888 h 716279"/>
                  <a:gd name="connsiteX18" fmla="*/ 303318 w 715750"/>
                  <a:gd name="connsiteY18" fmla="*/ 233363 h 716279"/>
                  <a:gd name="connsiteX19" fmla="*/ 390948 w 715750"/>
                  <a:gd name="connsiteY19" fmla="*/ 267652 h 716279"/>
                  <a:gd name="connsiteX20" fmla="*/ 424286 w 715750"/>
                  <a:gd name="connsiteY20" fmla="*/ 361950 h 716279"/>
                  <a:gd name="connsiteX21" fmla="*/ 390948 w 715750"/>
                  <a:gd name="connsiteY21" fmla="*/ 454342 h 716279"/>
                  <a:gd name="connsiteX22" fmla="*/ 500486 w 715750"/>
                  <a:gd name="connsiteY22" fmla="*/ 500063 h 716279"/>
                  <a:gd name="connsiteX23" fmla="*/ 500486 w 715750"/>
                  <a:gd name="connsiteY23" fmla="*/ 516255 h 716279"/>
                  <a:gd name="connsiteX24" fmla="*/ 439525 w 715750"/>
                  <a:gd name="connsiteY24" fmla="*/ 516255 h 716279"/>
                  <a:gd name="connsiteX25" fmla="*/ 445240 w 715750"/>
                  <a:gd name="connsiteY25" fmla="*/ 499110 h 716279"/>
                  <a:gd name="connsiteX26" fmla="*/ 465243 w 715750"/>
                  <a:gd name="connsiteY26" fmla="*/ 477202 h 716279"/>
                  <a:gd name="connsiteX27" fmla="*/ 479530 w 715750"/>
                  <a:gd name="connsiteY27" fmla="*/ 461963 h 716279"/>
                  <a:gd name="connsiteX28" fmla="*/ 483340 w 715750"/>
                  <a:gd name="connsiteY28" fmla="*/ 451485 h 716279"/>
                  <a:gd name="connsiteX29" fmla="*/ 480483 w 715750"/>
                  <a:gd name="connsiteY29" fmla="*/ 442913 h 716279"/>
                  <a:gd name="connsiteX30" fmla="*/ 471911 w 715750"/>
                  <a:gd name="connsiteY30" fmla="*/ 440055 h 716279"/>
                  <a:gd name="connsiteX31" fmla="*/ 463338 w 715750"/>
                  <a:gd name="connsiteY31" fmla="*/ 442913 h 716279"/>
                  <a:gd name="connsiteX32" fmla="*/ 459528 w 715750"/>
                  <a:gd name="connsiteY32" fmla="*/ 454342 h 716279"/>
                  <a:gd name="connsiteX33" fmla="*/ 442383 w 715750"/>
                  <a:gd name="connsiteY33" fmla="*/ 452438 h 716279"/>
                  <a:gd name="connsiteX34" fmla="*/ 451908 w 715750"/>
                  <a:gd name="connsiteY34" fmla="*/ 431482 h 716279"/>
                  <a:gd name="connsiteX35" fmla="*/ 472863 w 715750"/>
                  <a:gd name="connsiteY35" fmla="*/ 424815 h 716279"/>
                  <a:gd name="connsiteX36" fmla="*/ 493818 w 715750"/>
                  <a:gd name="connsiteY36" fmla="*/ 432435 h 716279"/>
                  <a:gd name="connsiteX37" fmla="*/ 501438 w 715750"/>
                  <a:gd name="connsiteY37" fmla="*/ 450532 h 716279"/>
                  <a:gd name="connsiteX38" fmla="*/ 499533 w 715750"/>
                  <a:gd name="connsiteY38" fmla="*/ 461963 h 716279"/>
                  <a:gd name="connsiteX39" fmla="*/ 492865 w 715750"/>
                  <a:gd name="connsiteY39" fmla="*/ 473392 h 716279"/>
                  <a:gd name="connsiteX40" fmla="*/ 481436 w 715750"/>
                  <a:gd name="connsiteY40" fmla="*/ 484822 h 716279"/>
                  <a:gd name="connsiteX41" fmla="*/ 470958 w 715750"/>
                  <a:gd name="connsiteY41" fmla="*/ 495300 h 716279"/>
                  <a:gd name="connsiteX42" fmla="*/ 467148 w 715750"/>
                  <a:gd name="connsiteY42" fmla="*/ 500063 h 716279"/>
                  <a:gd name="connsiteX43" fmla="*/ 500486 w 715750"/>
                  <a:gd name="connsiteY43" fmla="*/ 500063 h 716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715750" h="716279">
                    <a:moveTo>
                      <a:pt x="686223" y="3810"/>
                    </a:moveTo>
                    <a:cubicBezTo>
                      <a:pt x="667173" y="6667"/>
                      <a:pt x="209973" y="62865"/>
                      <a:pt x="91863" y="180975"/>
                    </a:cubicBezTo>
                    <a:cubicBezTo>
                      <a:pt x="-25295" y="297180"/>
                      <a:pt x="-30057" y="483870"/>
                      <a:pt x="75670" y="606743"/>
                    </a:cubicBezTo>
                    <a:lnTo>
                      <a:pt x="149965" y="532447"/>
                    </a:lnTo>
                    <a:lnTo>
                      <a:pt x="183303" y="565785"/>
                    </a:lnTo>
                    <a:lnTo>
                      <a:pt x="109008" y="640080"/>
                    </a:lnTo>
                    <a:cubicBezTo>
                      <a:pt x="168063" y="690563"/>
                      <a:pt x="240453" y="716280"/>
                      <a:pt x="313795" y="716280"/>
                    </a:cubicBezTo>
                    <a:cubicBezTo>
                      <a:pt x="393805" y="716280"/>
                      <a:pt x="474768" y="685800"/>
                      <a:pt x="535728" y="624840"/>
                    </a:cubicBezTo>
                    <a:cubicBezTo>
                      <a:pt x="653838" y="506730"/>
                      <a:pt x="710036" y="50482"/>
                      <a:pt x="711940" y="30480"/>
                    </a:cubicBezTo>
                    <a:lnTo>
                      <a:pt x="715750" y="0"/>
                    </a:lnTo>
                    <a:lnTo>
                      <a:pt x="686223" y="3810"/>
                    </a:lnTo>
                    <a:close/>
                    <a:moveTo>
                      <a:pt x="390948" y="454342"/>
                    </a:moveTo>
                    <a:cubicBezTo>
                      <a:pt x="369040" y="477202"/>
                      <a:pt x="340465" y="488632"/>
                      <a:pt x="303318" y="488632"/>
                    </a:cubicBezTo>
                    <a:cubicBezTo>
                      <a:pt x="266170" y="488632"/>
                      <a:pt x="237595" y="477202"/>
                      <a:pt x="215688" y="455295"/>
                    </a:cubicBezTo>
                    <a:cubicBezTo>
                      <a:pt x="193780" y="432435"/>
                      <a:pt x="183303" y="401955"/>
                      <a:pt x="183303" y="362902"/>
                    </a:cubicBezTo>
                    <a:cubicBezTo>
                      <a:pt x="183303" y="338138"/>
                      <a:pt x="187113" y="316230"/>
                      <a:pt x="194733" y="299085"/>
                    </a:cubicBezTo>
                    <a:cubicBezTo>
                      <a:pt x="200448" y="286702"/>
                      <a:pt x="208068" y="275272"/>
                      <a:pt x="217593" y="264795"/>
                    </a:cubicBezTo>
                    <a:cubicBezTo>
                      <a:pt x="227118" y="254317"/>
                      <a:pt x="237595" y="247650"/>
                      <a:pt x="249978" y="242888"/>
                    </a:cubicBezTo>
                    <a:cubicBezTo>
                      <a:pt x="265218" y="236220"/>
                      <a:pt x="283315" y="233363"/>
                      <a:pt x="303318" y="233363"/>
                    </a:cubicBezTo>
                    <a:cubicBezTo>
                      <a:pt x="339513" y="233363"/>
                      <a:pt x="369040" y="244792"/>
                      <a:pt x="390948" y="267652"/>
                    </a:cubicBezTo>
                    <a:cubicBezTo>
                      <a:pt x="412855" y="290513"/>
                      <a:pt x="424286" y="321945"/>
                      <a:pt x="424286" y="361950"/>
                    </a:cubicBezTo>
                    <a:cubicBezTo>
                      <a:pt x="423333" y="400050"/>
                      <a:pt x="412855" y="431482"/>
                      <a:pt x="390948" y="454342"/>
                    </a:cubicBezTo>
                    <a:close/>
                    <a:moveTo>
                      <a:pt x="500486" y="500063"/>
                    </a:moveTo>
                    <a:lnTo>
                      <a:pt x="500486" y="516255"/>
                    </a:lnTo>
                    <a:lnTo>
                      <a:pt x="439525" y="516255"/>
                    </a:lnTo>
                    <a:cubicBezTo>
                      <a:pt x="440478" y="510540"/>
                      <a:pt x="442383" y="503872"/>
                      <a:pt x="445240" y="499110"/>
                    </a:cubicBezTo>
                    <a:cubicBezTo>
                      <a:pt x="448098" y="493395"/>
                      <a:pt x="454765" y="486727"/>
                      <a:pt x="465243" y="477202"/>
                    </a:cubicBezTo>
                    <a:cubicBezTo>
                      <a:pt x="472863" y="469582"/>
                      <a:pt x="477625" y="464820"/>
                      <a:pt x="479530" y="461963"/>
                    </a:cubicBezTo>
                    <a:cubicBezTo>
                      <a:pt x="482388" y="458152"/>
                      <a:pt x="483340" y="454342"/>
                      <a:pt x="483340" y="451485"/>
                    </a:cubicBezTo>
                    <a:cubicBezTo>
                      <a:pt x="483340" y="447675"/>
                      <a:pt x="482388" y="444817"/>
                      <a:pt x="480483" y="442913"/>
                    </a:cubicBezTo>
                    <a:cubicBezTo>
                      <a:pt x="478578" y="441007"/>
                      <a:pt x="475720" y="440055"/>
                      <a:pt x="471911" y="440055"/>
                    </a:cubicBezTo>
                    <a:cubicBezTo>
                      <a:pt x="468100" y="440055"/>
                      <a:pt x="465243" y="441007"/>
                      <a:pt x="463338" y="442913"/>
                    </a:cubicBezTo>
                    <a:cubicBezTo>
                      <a:pt x="461433" y="444817"/>
                      <a:pt x="459528" y="448627"/>
                      <a:pt x="459528" y="454342"/>
                    </a:cubicBezTo>
                    <a:lnTo>
                      <a:pt x="442383" y="452438"/>
                    </a:lnTo>
                    <a:cubicBezTo>
                      <a:pt x="443336" y="442913"/>
                      <a:pt x="447145" y="436245"/>
                      <a:pt x="451908" y="431482"/>
                    </a:cubicBezTo>
                    <a:cubicBezTo>
                      <a:pt x="456670" y="426720"/>
                      <a:pt x="464290" y="424815"/>
                      <a:pt x="472863" y="424815"/>
                    </a:cubicBezTo>
                    <a:cubicBezTo>
                      <a:pt x="481436" y="424815"/>
                      <a:pt x="489055" y="427672"/>
                      <a:pt x="493818" y="432435"/>
                    </a:cubicBezTo>
                    <a:cubicBezTo>
                      <a:pt x="498580" y="437197"/>
                      <a:pt x="501438" y="442913"/>
                      <a:pt x="501438" y="450532"/>
                    </a:cubicBezTo>
                    <a:cubicBezTo>
                      <a:pt x="501438" y="454342"/>
                      <a:pt x="500486" y="458152"/>
                      <a:pt x="499533" y="461963"/>
                    </a:cubicBezTo>
                    <a:cubicBezTo>
                      <a:pt x="497628" y="465772"/>
                      <a:pt x="495723" y="469582"/>
                      <a:pt x="492865" y="473392"/>
                    </a:cubicBezTo>
                    <a:cubicBezTo>
                      <a:pt x="490961" y="476250"/>
                      <a:pt x="487150" y="480060"/>
                      <a:pt x="481436" y="484822"/>
                    </a:cubicBezTo>
                    <a:cubicBezTo>
                      <a:pt x="475720" y="489585"/>
                      <a:pt x="472863" y="493395"/>
                      <a:pt x="470958" y="495300"/>
                    </a:cubicBezTo>
                    <a:cubicBezTo>
                      <a:pt x="469053" y="497205"/>
                      <a:pt x="468100" y="498157"/>
                      <a:pt x="467148" y="500063"/>
                    </a:cubicBezTo>
                    <a:lnTo>
                      <a:pt x="500486" y="500063"/>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6" name="Freeform: Shape 34">
                <a:extLst>
                  <a:ext uri="{FF2B5EF4-FFF2-40B4-BE49-F238E27FC236}">
                    <a16:creationId xmlns:a16="http://schemas.microsoft.com/office/drawing/2014/main" id="{9F611463-3985-41B6-80C2-E43197F23C68}"/>
                  </a:ext>
                </a:extLst>
              </p:cNvPr>
              <p:cNvSpPr/>
              <p:nvPr/>
            </p:nvSpPr>
            <p:spPr>
              <a:xfrm>
                <a:off x="9205912" y="2824162"/>
                <a:ext cx="137160" cy="170497"/>
              </a:xfrm>
              <a:custGeom>
                <a:avLst/>
                <a:gdLst>
                  <a:gd name="connsiteX0" fmla="*/ 68580 w 137160"/>
                  <a:gd name="connsiteY0" fmla="*/ 0 h 170497"/>
                  <a:gd name="connsiteX1" fmla="*/ 19050 w 137160"/>
                  <a:gd name="connsiteY1" fmla="*/ 20955 h 170497"/>
                  <a:gd name="connsiteX2" fmla="*/ 0 w 137160"/>
                  <a:gd name="connsiteY2" fmla="*/ 84772 h 170497"/>
                  <a:gd name="connsiteX3" fmla="*/ 19050 w 137160"/>
                  <a:gd name="connsiteY3" fmla="*/ 148590 h 170497"/>
                  <a:gd name="connsiteX4" fmla="*/ 68580 w 137160"/>
                  <a:gd name="connsiteY4" fmla="*/ 170497 h 170497"/>
                  <a:gd name="connsiteX5" fmla="*/ 118110 w 137160"/>
                  <a:gd name="connsiteY5" fmla="*/ 148590 h 170497"/>
                  <a:gd name="connsiteX6" fmla="*/ 137160 w 137160"/>
                  <a:gd name="connsiteY6" fmla="*/ 83820 h 170497"/>
                  <a:gd name="connsiteX7" fmla="*/ 118110 w 137160"/>
                  <a:gd name="connsiteY7" fmla="*/ 20003 h 170497"/>
                  <a:gd name="connsiteX8" fmla="*/ 68580 w 137160"/>
                  <a:gd name="connsiteY8" fmla="*/ 0 h 1704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7160" h="170497">
                    <a:moveTo>
                      <a:pt x="68580" y="0"/>
                    </a:moveTo>
                    <a:cubicBezTo>
                      <a:pt x="47625" y="0"/>
                      <a:pt x="31432" y="6667"/>
                      <a:pt x="19050" y="20955"/>
                    </a:cubicBezTo>
                    <a:cubicBezTo>
                      <a:pt x="6668" y="35242"/>
                      <a:pt x="0" y="56197"/>
                      <a:pt x="0" y="84772"/>
                    </a:cubicBezTo>
                    <a:cubicBezTo>
                      <a:pt x="0" y="112395"/>
                      <a:pt x="6668" y="134303"/>
                      <a:pt x="19050" y="148590"/>
                    </a:cubicBezTo>
                    <a:cubicBezTo>
                      <a:pt x="32385" y="162878"/>
                      <a:pt x="48577" y="170497"/>
                      <a:pt x="68580" y="170497"/>
                    </a:cubicBezTo>
                    <a:cubicBezTo>
                      <a:pt x="88582" y="170497"/>
                      <a:pt x="104775" y="162878"/>
                      <a:pt x="118110" y="148590"/>
                    </a:cubicBezTo>
                    <a:cubicBezTo>
                      <a:pt x="130493" y="134303"/>
                      <a:pt x="137160" y="112395"/>
                      <a:pt x="137160" y="83820"/>
                    </a:cubicBezTo>
                    <a:cubicBezTo>
                      <a:pt x="137160" y="55245"/>
                      <a:pt x="130493" y="34290"/>
                      <a:pt x="118110" y="20003"/>
                    </a:cubicBezTo>
                    <a:cubicBezTo>
                      <a:pt x="105727" y="6667"/>
                      <a:pt x="89535" y="0"/>
                      <a:pt x="68580" y="0"/>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grpSp>
      <p:sp>
        <p:nvSpPr>
          <p:cNvPr id="27" name="Oval 35">
            <a:extLst>
              <a:ext uri="{FF2B5EF4-FFF2-40B4-BE49-F238E27FC236}">
                <a16:creationId xmlns:a16="http://schemas.microsoft.com/office/drawing/2014/main" id="{C55B90D5-99D9-4B51-8F6C-8467C468F714}"/>
              </a:ext>
            </a:extLst>
          </p:cNvPr>
          <p:cNvSpPr>
            <a:spLocks noChangeArrowheads="1"/>
          </p:cNvSpPr>
          <p:nvPr/>
        </p:nvSpPr>
        <p:spPr bwMode="auto">
          <a:xfrm>
            <a:off x="6022748" y="3045699"/>
            <a:ext cx="211134" cy="211134"/>
          </a:xfrm>
          <a:prstGeom prst="ellipse">
            <a:avLst/>
          </a:pr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24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8" name="Oval 36">
            <a:extLst>
              <a:ext uri="{FF2B5EF4-FFF2-40B4-BE49-F238E27FC236}">
                <a16:creationId xmlns:a16="http://schemas.microsoft.com/office/drawing/2014/main" id="{95A9E491-3CDA-487F-8DEB-01BF7F26A929}"/>
              </a:ext>
            </a:extLst>
          </p:cNvPr>
          <p:cNvSpPr>
            <a:spLocks noChangeArrowheads="1"/>
          </p:cNvSpPr>
          <p:nvPr/>
        </p:nvSpPr>
        <p:spPr bwMode="auto">
          <a:xfrm>
            <a:off x="6022748" y="4138662"/>
            <a:ext cx="211134" cy="211134"/>
          </a:xfrm>
          <a:prstGeom prst="ellipse">
            <a:avLst/>
          </a:prstGeom>
          <a:solidFill>
            <a:schemeClr val="accent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24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9" name="Oval 37">
            <a:extLst>
              <a:ext uri="{FF2B5EF4-FFF2-40B4-BE49-F238E27FC236}">
                <a16:creationId xmlns:a16="http://schemas.microsoft.com/office/drawing/2014/main" id="{01B126E2-CC9B-49F6-8995-9525E0C85C67}"/>
              </a:ext>
            </a:extLst>
          </p:cNvPr>
          <p:cNvSpPr>
            <a:spLocks noChangeArrowheads="1"/>
          </p:cNvSpPr>
          <p:nvPr/>
        </p:nvSpPr>
        <p:spPr bwMode="auto">
          <a:xfrm>
            <a:off x="6022748" y="5194887"/>
            <a:ext cx="211134" cy="211134"/>
          </a:xfrm>
          <a:prstGeom prst="ellipse">
            <a:avLst/>
          </a:prstGeom>
          <a:solidFill>
            <a:schemeClr val="accent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24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0" name="TextBox 38">
            <a:extLst>
              <a:ext uri="{FF2B5EF4-FFF2-40B4-BE49-F238E27FC236}">
                <a16:creationId xmlns:a16="http://schemas.microsoft.com/office/drawing/2014/main" id="{04BC57A9-193F-45BB-B72A-991D1906D455}"/>
              </a:ext>
            </a:extLst>
          </p:cNvPr>
          <p:cNvSpPr txBox="1"/>
          <p:nvPr/>
        </p:nvSpPr>
        <p:spPr>
          <a:xfrm>
            <a:off x="6262911" y="2961086"/>
            <a:ext cx="1260281"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D" sz="1600" b="1" i="0" u="none" strike="noStrike" kern="1200" cap="none" spc="0" normalizeH="0" baseline="0" noProof="0">
                <a:ln>
                  <a:noFill/>
                </a:ln>
                <a:solidFill>
                  <a:srgbClr val="000000"/>
                </a:solidFill>
                <a:effectLst/>
                <a:uLnTx/>
                <a:uFillTx/>
                <a:latin typeface="等线 Light" panose="020F0302020204030204"/>
                <a:ea typeface="+mn-ea"/>
                <a:cs typeface="+mn-cs"/>
              </a:rPr>
              <a:t>Description</a:t>
            </a:r>
            <a:endParaRPr kumimoji="0" lang="id-ID" sz="1600" b="1" i="0" u="none" strike="noStrike" kern="1200" cap="none" spc="0" normalizeH="0" baseline="0" noProof="0" dirty="0">
              <a:ln>
                <a:noFill/>
              </a:ln>
              <a:solidFill>
                <a:srgbClr val="000000"/>
              </a:solidFill>
              <a:effectLst/>
              <a:uLnTx/>
              <a:uFillTx/>
              <a:latin typeface="等线 Light" panose="020F0302020204030204"/>
              <a:ea typeface="+mn-ea"/>
              <a:cs typeface="+mn-cs"/>
            </a:endParaRPr>
          </a:p>
        </p:txBody>
      </p:sp>
      <p:sp>
        <p:nvSpPr>
          <p:cNvPr id="31" name="TextBox 39">
            <a:extLst>
              <a:ext uri="{FF2B5EF4-FFF2-40B4-BE49-F238E27FC236}">
                <a16:creationId xmlns:a16="http://schemas.microsoft.com/office/drawing/2014/main" id="{5DB95808-72D9-4C25-85F4-0FEB752009D0}"/>
              </a:ext>
            </a:extLst>
          </p:cNvPr>
          <p:cNvSpPr txBox="1"/>
          <p:nvPr/>
        </p:nvSpPr>
        <p:spPr>
          <a:xfrm>
            <a:off x="6262913" y="3242875"/>
            <a:ext cx="2213652" cy="616836"/>
          </a:xfrm>
          <a:prstGeom prst="rect">
            <a:avLst/>
          </a:prstGeom>
          <a:noFill/>
        </p:spPr>
        <p:txBody>
          <a:bodyPr wrap="square" rtlCol="0">
            <a:spAutoFit/>
          </a:bodyPr>
          <a:lstStyle/>
          <a:p>
            <a:pPr marL="0" marR="0" lvl="0" indent="0" algn="just" defTabSz="914400" rtl="0" eaLnBrk="1" fontAlgn="auto" latinLnBrk="0" hangingPunct="1">
              <a:lnSpc>
                <a:spcPct val="15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等线" panose="020F0502020204030204"/>
                <a:ea typeface="+mn-ea"/>
                <a:cs typeface="+mn-cs"/>
              </a:rPr>
              <a:t>sweet mornings of spring which I enjoy with my whole this life</a:t>
            </a:r>
            <a:endParaRPr kumimoji="0" lang="en-US" sz="1200" b="1"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32" name="TextBox 40">
            <a:extLst>
              <a:ext uri="{FF2B5EF4-FFF2-40B4-BE49-F238E27FC236}">
                <a16:creationId xmlns:a16="http://schemas.microsoft.com/office/drawing/2014/main" id="{B8CA9513-22F2-4AC0-B6C5-46F81089A001}"/>
              </a:ext>
            </a:extLst>
          </p:cNvPr>
          <p:cNvSpPr txBox="1"/>
          <p:nvPr/>
        </p:nvSpPr>
        <p:spPr>
          <a:xfrm>
            <a:off x="6262911" y="4061221"/>
            <a:ext cx="1279517"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D" sz="1600" b="1" i="0" u="none" strike="noStrike" kern="1200" cap="none" spc="0" normalizeH="0" baseline="0" noProof="0">
                <a:ln>
                  <a:noFill/>
                </a:ln>
                <a:solidFill>
                  <a:srgbClr val="000000"/>
                </a:solidFill>
                <a:effectLst/>
                <a:uLnTx/>
                <a:uFillTx/>
                <a:latin typeface="等线 Light" panose="020F0302020204030204"/>
                <a:ea typeface="+mn-ea"/>
                <a:cs typeface="+mn-cs"/>
              </a:rPr>
              <a:t>Description</a:t>
            </a:r>
            <a:endParaRPr kumimoji="0" lang="id-ID" sz="1600" b="1" i="0" u="none" strike="noStrike" kern="1200" cap="none" spc="0" normalizeH="0" baseline="0" noProof="0" dirty="0">
              <a:ln>
                <a:noFill/>
              </a:ln>
              <a:solidFill>
                <a:srgbClr val="000000"/>
              </a:solidFill>
              <a:effectLst/>
              <a:uLnTx/>
              <a:uFillTx/>
              <a:latin typeface="等线 Light" panose="020F0302020204030204"/>
              <a:ea typeface="+mn-ea"/>
              <a:cs typeface="+mn-cs"/>
            </a:endParaRPr>
          </a:p>
        </p:txBody>
      </p:sp>
      <p:sp>
        <p:nvSpPr>
          <p:cNvPr id="33" name="TextBox 41">
            <a:extLst>
              <a:ext uri="{FF2B5EF4-FFF2-40B4-BE49-F238E27FC236}">
                <a16:creationId xmlns:a16="http://schemas.microsoft.com/office/drawing/2014/main" id="{092B46FD-F027-4CA6-9F27-58BBC2608740}"/>
              </a:ext>
            </a:extLst>
          </p:cNvPr>
          <p:cNvSpPr txBox="1"/>
          <p:nvPr/>
        </p:nvSpPr>
        <p:spPr>
          <a:xfrm>
            <a:off x="6262913" y="4343010"/>
            <a:ext cx="2213652" cy="616836"/>
          </a:xfrm>
          <a:prstGeom prst="rect">
            <a:avLst/>
          </a:prstGeom>
          <a:noFill/>
        </p:spPr>
        <p:txBody>
          <a:bodyPr wrap="square" rtlCol="0">
            <a:spAutoFit/>
          </a:bodyPr>
          <a:lstStyle/>
          <a:p>
            <a:pPr marL="0" marR="0" lvl="0" indent="0" algn="just" defTabSz="914400" rtl="0" eaLnBrk="1" fontAlgn="auto" latinLnBrk="0" hangingPunct="1">
              <a:lnSpc>
                <a:spcPct val="15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等线" panose="020F0502020204030204"/>
                <a:ea typeface="+mn-ea"/>
                <a:cs typeface="+mn-cs"/>
              </a:rPr>
              <a:t>sweet mornings of spring which I enjoy with my whole this life</a:t>
            </a:r>
            <a:endParaRPr kumimoji="0" lang="en-US" sz="1200" b="1"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34" name="TextBox 42">
            <a:extLst>
              <a:ext uri="{FF2B5EF4-FFF2-40B4-BE49-F238E27FC236}">
                <a16:creationId xmlns:a16="http://schemas.microsoft.com/office/drawing/2014/main" id="{61B57EA1-AB86-435B-89AC-31FFC91C490F}"/>
              </a:ext>
            </a:extLst>
          </p:cNvPr>
          <p:cNvSpPr txBox="1"/>
          <p:nvPr/>
        </p:nvSpPr>
        <p:spPr>
          <a:xfrm>
            <a:off x="6262912" y="5138356"/>
            <a:ext cx="1279517"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D" sz="1600" b="1" i="0" u="none" strike="noStrike" kern="1200" cap="none" spc="0" normalizeH="0" baseline="0" noProof="0">
                <a:ln>
                  <a:noFill/>
                </a:ln>
                <a:solidFill>
                  <a:srgbClr val="000000"/>
                </a:solidFill>
                <a:effectLst/>
                <a:uLnTx/>
                <a:uFillTx/>
                <a:latin typeface="等线 Light" panose="020F0302020204030204"/>
                <a:ea typeface="+mn-ea"/>
                <a:cs typeface="+mn-cs"/>
              </a:rPr>
              <a:t>Description</a:t>
            </a:r>
            <a:endParaRPr kumimoji="0" lang="id-ID" sz="1600" b="1" i="0" u="none" strike="noStrike" kern="1200" cap="none" spc="0" normalizeH="0" baseline="0" noProof="0" dirty="0">
              <a:ln>
                <a:noFill/>
              </a:ln>
              <a:solidFill>
                <a:srgbClr val="000000"/>
              </a:solidFill>
              <a:effectLst/>
              <a:uLnTx/>
              <a:uFillTx/>
              <a:latin typeface="等线 Light" panose="020F0302020204030204"/>
              <a:ea typeface="+mn-ea"/>
              <a:cs typeface="+mn-cs"/>
            </a:endParaRPr>
          </a:p>
        </p:txBody>
      </p:sp>
      <p:sp>
        <p:nvSpPr>
          <p:cNvPr id="35" name="TextBox 43">
            <a:extLst>
              <a:ext uri="{FF2B5EF4-FFF2-40B4-BE49-F238E27FC236}">
                <a16:creationId xmlns:a16="http://schemas.microsoft.com/office/drawing/2014/main" id="{9C448C54-45C7-4B82-8A37-CF6324246AD7}"/>
              </a:ext>
            </a:extLst>
          </p:cNvPr>
          <p:cNvSpPr txBox="1"/>
          <p:nvPr/>
        </p:nvSpPr>
        <p:spPr>
          <a:xfrm>
            <a:off x="6262913" y="5420145"/>
            <a:ext cx="2213652" cy="616836"/>
          </a:xfrm>
          <a:prstGeom prst="rect">
            <a:avLst/>
          </a:prstGeom>
          <a:noFill/>
        </p:spPr>
        <p:txBody>
          <a:bodyPr wrap="square" rtlCol="0">
            <a:spAutoFit/>
          </a:bodyPr>
          <a:lstStyle/>
          <a:p>
            <a:pPr marL="0" marR="0" lvl="0" indent="0" algn="just" defTabSz="914400" rtl="0" eaLnBrk="1" fontAlgn="auto" latinLnBrk="0" hangingPunct="1">
              <a:lnSpc>
                <a:spcPct val="15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等线" panose="020F0502020204030204"/>
                <a:ea typeface="+mn-ea"/>
                <a:cs typeface="+mn-cs"/>
              </a:rPr>
              <a:t>sweet mornings of spring which I enjoy with my whole this life</a:t>
            </a:r>
            <a:endParaRPr kumimoji="0" lang="en-US" sz="1200" b="1"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36" name="Oval 44">
            <a:extLst>
              <a:ext uri="{FF2B5EF4-FFF2-40B4-BE49-F238E27FC236}">
                <a16:creationId xmlns:a16="http://schemas.microsoft.com/office/drawing/2014/main" id="{374E3BF8-2D28-497C-80C8-1D53D0D95E4D}"/>
              </a:ext>
            </a:extLst>
          </p:cNvPr>
          <p:cNvSpPr>
            <a:spLocks noChangeArrowheads="1"/>
          </p:cNvSpPr>
          <p:nvPr/>
        </p:nvSpPr>
        <p:spPr bwMode="auto">
          <a:xfrm>
            <a:off x="8922293" y="3045699"/>
            <a:ext cx="211134" cy="211134"/>
          </a:xfrm>
          <a:prstGeom prst="ellipse">
            <a:avLst/>
          </a:prstGeom>
          <a:solidFill>
            <a:schemeClr val="accent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24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7" name="Oval 45">
            <a:extLst>
              <a:ext uri="{FF2B5EF4-FFF2-40B4-BE49-F238E27FC236}">
                <a16:creationId xmlns:a16="http://schemas.microsoft.com/office/drawing/2014/main" id="{7C031DAB-BCBD-4873-9718-8B334CC364DF}"/>
              </a:ext>
            </a:extLst>
          </p:cNvPr>
          <p:cNvSpPr>
            <a:spLocks noChangeArrowheads="1"/>
          </p:cNvSpPr>
          <p:nvPr/>
        </p:nvSpPr>
        <p:spPr bwMode="auto">
          <a:xfrm>
            <a:off x="8922293" y="4138662"/>
            <a:ext cx="211134" cy="211134"/>
          </a:xfrm>
          <a:prstGeom prst="ellipse">
            <a:avLst/>
          </a:prstGeom>
          <a:solidFill>
            <a:schemeClr val="accent5"/>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24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8" name="TextBox 46">
            <a:extLst>
              <a:ext uri="{FF2B5EF4-FFF2-40B4-BE49-F238E27FC236}">
                <a16:creationId xmlns:a16="http://schemas.microsoft.com/office/drawing/2014/main" id="{628D3B30-8CC2-4ED4-9A2E-D36C587A00F8}"/>
              </a:ext>
            </a:extLst>
          </p:cNvPr>
          <p:cNvSpPr txBox="1"/>
          <p:nvPr/>
        </p:nvSpPr>
        <p:spPr>
          <a:xfrm>
            <a:off x="9162456" y="2961086"/>
            <a:ext cx="1279517"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D" sz="1600" b="1" i="0" u="none" strike="noStrike" kern="1200" cap="none" spc="0" normalizeH="0" baseline="0" noProof="0">
                <a:ln>
                  <a:noFill/>
                </a:ln>
                <a:solidFill>
                  <a:srgbClr val="000000"/>
                </a:solidFill>
                <a:effectLst/>
                <a:uLnTx/>
                <a:uFillTx/>
                <a:latin typeface="等线 Light" panose="020F0302020204030204"/>
                <a:ea typeface="+mn-ea"/>
                <a:cs typeface="+mn-cs"/>
              </a:rPr>
              <a:t>Description</a:t>
            </a:r>
            <a:endParaRPr kumimoji="0" lang="id-ID" sz="1600" b="1" i="0" u="none" strike="noStrike" kern="1200" cap="none" spc="0" normalizeH="0" baseline="0" noProof="0" dirty="0">
              <a:ln>
                <a:noFill/>
              </a:ln>
              <a:solidFill>
                <a:srgbClr val="000000"/>
              </a:solidFill>
              <a:effectLst/>
              <a:uLnTx/>
              <a:uFillTx/>
              <a:latin typeface="等线 Light" panose="020F0302020204030204"/>
              <a:ea typeface="+mn-ea"/>
              <a:cs typeface="+mn-cs"/>
            </a:endParaRPr>
          </a:p>
        </p:txBody>
      </p:sp>
      <p:sp>
        <p:nvSpPr>
          <p:cNvPr id="39" name="TextBox 47">
            <a:extLst>
              <a:ext uri="{FF2B5EF4-FFF2-40B4-BE49-F238E27FC236}">
                <a16:creationId xmlns:a16="http://schemas.microsoft.com/office/drawing/2014/main" id="{4C43C8FE-D797-41C2-A30F-C83FA9BCCA5E}"/>
              </a:ext>
            </a:extLst>
          </p:cNvPr>
          <p:cNvSpPr txBox="1"/>
          <p:nvPr/>
        </p:nvSpPr>
        <p:spPr>
          <a:xfrm>
            <a:off x="9162457" y="3242875"/>
            <a:ext cx="2203511" cy="616836"/>
          </a:xfrm>
          <a:prstGeom prst="rect">
            <a:avLst/>
          </a:prstGeom>
          <a:noFill/>
        </p:spPr>
        <p:txBody>
          <a:bodyPr wrap="square" rtlCol="0">
            <a:spAutoFit/>
          </a:bodyPr>
          <a:lstStyle/>
          <a:p>
            <a:pPr marL="0" marR="0" lvl="0" indent="0" algn="just" defTabSz="914400" rtl="0" eaLnBrk="1" fontAlgn="auto" latinLnBrk="0" hangingPunct="1">
              <a:lnSpc>
                <a:spcPct val="15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等线" panose="020F0502020204030204"/>
                <a:ea typeface="+mn-ea"/>
                <a:cs typeface="+mn-cs"/>
              </a:rPr>
              <a:t>sweet mornings of spring which I enjoy with my whole this life</a:t>
            </a:r>
            <a:endParaRPr kumimoji="0" lang="en-US" sz="1200" b="1"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40" name="TextBox 48">
            <a:extLst>
              <a:ext uri="{FF2B5EF4-FFF2-40B4-BE49-F238E27FC236}">
                <a16:creationId xmlns:a16="http://schemas.microsoft.com/office/drawing/2014/main" id="{5184CC64-32E5-43F3-A06C-6A040620B6C2}"/>
              </a:ext>
            </a:extLst>
          </p:cNvPr>
          <p:cNvSpPr txBox="1"/>
          <p:nvPr/>
        </p:nvSpPr>
        <p:spPr>
          <a:xfrm>
            <a:off x="9162457" y="4061221"/>
            <a:ext cx="1279517"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D" sz="1600" b="1" i="0" u="none" strike="noStrike" kern="1200" cap="none" spc="0" normalizeH="0" baseline="0" noProof="0">
                <a:ln>
                  <a:noFill/>
                </a:ln>
                <a:solidFill>
                  <a:srgbClr val="000000"/>
                </a:solidFill>
                <a:effectLst/>
                <a:uLnTx/>
                <a:uFillTx/>
                <a:latin typeface="等线 Light" panose="020F0302020204030204"/>
                <a:ea typeface="+mn-ea"/>
                <a:cs typeface="+mn-cs"/>
              </a:rPr>
              <a:t>Description</a:t>
            </a:r>
            <a:endParaRPr kumimoji="0" lang="id-ID" sz="1600" b="1" i="0" u="none" strike="noStrike" kern="1200" cap="none" spc="0" normalizeH="0" baseline="0" noProof="0" dirty="0">
              <a:ln>
                <a:noFill/>
              </a:ln>
              <a:solidFill>
                <a:srgbClr val="000000"/>
              </a:solidFill>
              <a:effectLst/>
              <a:uLnTx/>
              <a:uFillTx/>
              <a:latin typeface="等线 Light" panose="020F0302020204030204"/>
              <a:ea typeface="+mn-ea"/>
              <a:cs typeface="+mn-cs"/>
            </a:endParaRPr>
          </a:p>
        </p:txBody>
      </p:sp>
      <p:sp>
        <p:nvSpPr>
          <p:cNvPr id="41" name="TextBox 49">
            <a:extLst>
              <a:ext uri="{FF2B5EF4-FFF2-40B4-BE49-F238E27FC236}">
                <a16:creationId xmlns:a16="http://schemas.microsoft.com/office/drawing/2014/main" id="{7BFCC976-2C93-43E1-9E1D-5A7A7C88E41C}"/>
              </a:ext>
            </a:extLst>
          </p:cNvPr>
          <p:cNvSpPr txBox="1"/>
          <p:nvPr/>
        </p:nvSpPr>
        <p:spPr>
          <a:xfrm>
            <a:off x="9162458" y="4343010"/>
            <a:ext cx="2213652" cy="616836"/>
          </a:xfrm>
          <a:prstGeom prst="rect">
            <a:avLst/>
          </a:prstGeom>
          <a:noFill/>
        </p:spPr>
        <p:txBody>
          <a:bodyPr wrap="square" rtlCol="0">
            <a:spAutoFit/>
          </a:bodyPr>
          <a:lstStyle/>
          <a:p>
            <a:pPr marL="0" marR="0" lvl="0" indent="0" algn="just" defTabSz="914400" rtl="0" eaLnBrk="1" fontAlgn="auto" latinLnBrk="0" hangingPunct="1">
              <a:lnSpc>
                <a:spcPct val="15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等线" panose="020F0502020204030204"/>
                <a:ea typeface="+mn-ea"/>
                <a:cs typeface="+mn-cs"/>
              </a:rPr>
              <a:t>sweet mornings of spring which I enjoy with my whole this life</a:t>
            </a:r>
            <a:endParaRPr kumimoji="0" lang="en-US" sz="1200" b="1"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42" name="TextBox 50">
            <a:extLst>
              <a:ext uri="{FF2B5EF4-FFF2-40B4-BE49-F238E27FC236}">
                <a16:creationId xmlns:a16="http://schemas.microsoft.com/office/drawing/2014/main" id="{9454CD6A-13A2-4F12-83A0-F48164E6505F}"/>
              </a:ext>
            </a:extLst>
          </p:cNvPr>
          <p:cNvSpPr txBox="1"/>
          <p:nvPr/>
        </p:nvSpPr>
        <p:spPr>
          <a:xfrm>
            <a:off x="5978132" y="1778908"/>
            <a:ext cx="1739579" cy="4001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D" sz="2000" b="1" i="0" u="none" strike="noStrike" kern="1200" cap="none" spc="0" normalizeH="0" baseline="0" noProof="0">
                <a:ln>
                  <a:noFill/>
                </a:ln>
                <a:solidFill>
                  <a:srgbClr val="000000"/>
                </a:solidFill>
                <a:effectLst/>
                <a:uLnTx/>
                <a:uFillTx/>
                <a:latin typeface="等线 Light" panose="020F0302020204030204"/>
                <a:ea typeface="+mn-ea"/>
                <a:cs typeface="+mn-cs"/>
              </a:rPr>
              <a:t>Data</a:t>
            </a:r>
            <a:r>
              <a:rPr kumimoji="0" lang="id-ID" sz="2000" b="1" i="0" u="none" strike="noStrike" kern="1200" cap="none" spc="0" normalizeH="0" baseline="0" noProof="0">
                <a:ln>
                  <a:noFill/>
                </a:ln>
                <a:solidFill>
                  <a:srgbClr val="000000"/>
                </a:solidFill>
                <a:effectLst/>
                <a:uLnTx/>
                <a:uFillTx/>
                <a:latin typeface="等线 Light" panose="020F0302020204030204"/>
                <a:ea typeface="+mn-ea"/>
                <a:cs typeface="+mn-cs"/>
              </a:rPr>
              <a:t> </a:t>
            </a:r>
            <a:r>
              <a:rPr kumimoji="0" lang="id-ID" sz="2000" b="1" i="0" u="none" strike="noStrike" kern="1200" cap="none" spc="0" normalizeH="0" baseline="0" noProof="0" dirty="0">
                <a:ln>
                  <a:noFill/>
                </a:ln>
                <a:solidFill>
                  <a:srgbClr val="000000"/>
                </a:solidFill>
                <a:effectLst/>
                <a:uLnTx/>
                <a:uFillTx/>
                <a:latin typeface="等线 Light" panose="020F0302020204030204"/>
                <a:ea typeface="+mn-ea"/>
                <a:cs typeface="+mn-cs"/>
              </a:rPr>
              <a:t>Analysis</a:t>
            </a:r>
          </a:p>
        </p:txBody>
      </p:sp>
      <p:sp>
        <p:nvSpPr>
          <p:cNvPr id="43" name="TextBox 51">
            <a:extLst>
              <a:ext uri="{FF2B5EF4-FFF2-40B4-BE49-F238E27FC236}">
                <a16:creationId xmlns:a16="http://schemas.microsoft.com/office/drawing/2014/main" id="{77DC1CA6-CC92-4E3B-99FB-D085D8F8F97A}"/>
              </a:ext>
            </a:extLst>
          </p:cNvPr>
          <p:cNvSpPr txBox="1"/>
          <p:nvPr/>
        </p:nvSpPr>
        <p:spPr>
          <a:xfrm>
            <a:off x="5978132" y="2189540"/>
            <a:ext cx="5470918" cy="616836"/>
          </a:xfrm>
          <a:prstGeom prst="rect">
            <a:avLst/>
          </a:prstGeom>
          <a:noFill/>
        </p:spPr>
        <p:txBody>
          <a:bodyPr wrap="square" rtlCol="0">
            <a:spAutoFit/>
          </a:bodyPr>
          <a:lstStyle/>
          <a:p>
            <a:pPr marL="0" marR="0" lvl="0" indent="0" algn="just" defTabSz="914400" rtl="0" eaLnBrk="1" fontAlgn="auto" latinLnBrk="0" hangingPunct="1">
              <a:lnSpc>
                <a:spcPct val="15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等线" panose="020F0502020204030204"/>
                <a:ea typeface="+mn-ea"/>
                <a:cs typeface="+mn-cs"/>
              </a:rPr>
              <a:t>A wonderful serenity has taken possession of my entire soul, like these sweet mornings of spring which I enjoy with my whole heart. I am alone,  enjoy this life</a:t>
            </a:r>
            <a:endPar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Tree>
    <p:extLst>
      <p:ext uri="{BB962C8B-B14F-4D97-AF65-F5344CB8AC3E}">
        <p14:creationId xmlns:p14="http://schemas.microsoft.com/office/powerpoint/2010/main" val="3685841577"/>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3"/>
                                        </p:tgtEl>
                                        <p:attrNameLst>
                                          <p:attrName>style.visibility</p:attrName>
                                        </p:attrNameLst>
                                      </p:cBhvr>
                                      <p:to>
                                        <p:strVal val="visible"/>
                                      </p:to>
                                    </p:set>
                                    <p:animEffect transition="in" filter="fade">
                                      <p:cBhvr>
                                        <p:cTn id="11" dur="500"/>
                                        <p:tgtEl>
                                          <p:spTgt spid="3"/>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4"/>
                                        </p:tgtEl>
                                        <p:attrNameLst>
                                          <p:attrName>style.visibility</p:attrName>
                                        </p:attrNameLst>
                                      </p:cBhvr>
                                      <p:to>
                                        <p:strVal val="visible"/>
                                      </p:to>
                                    </p:set>
                                    <p:animEffect transition="in" filter="fade">
                                      <p:cBhvr>
                                        <p:cTn id="15" dur="500"/>
                                        <p:tgtEl>
                                          <p:spTgt spid="4"/>
                                        </p:tgtEl>
                                      </p:cBhvr>
                                    </p:animEffect>
                                  </p:childTnLst>
                                </p:cTn>
                              </p:par>
                              <p:par>
                                <p:cTn id="16" presetID="10" presetClass="entr" presetSubtype="0" fill="hold" nodeType="withEffect">
                                  <p:stCondLst>
                                    <p:cond delay="0"/>
                                  </p:stCondLst>
                                  <p:childTnLst>
                                    <p:set>
                                      <p:cBhvr>
                                        <p:cTn id="17" dur="1" fill="hold">
                                          <p:stCondLst>
                                            <p:cond delay="0"/>
                                          </p:stCondLst>
                                        </p:cTn>
                                        <p:tgtEl>
                                          <p:spTgt spid="22"/>
                                        </p:tgtEl>
                                        <p:attrNameLst>
                                          <p:attrName>style.visibility</p:attrName>
                                        </p:attrNameLst>
                                      </p:cBhvr>
                                      <p:to>
                                        <p:strVal val="visible"/>
                                      </p:to>
                                    </p:set>
                                    <p:animEffect transition="in" filter="fade">
                                      <p:cBhvr>
                                        <p:cTn id="18" dur="500"/>
                                        <p:tgtEl>
                                          <p:spTgt spid="22"/>
                                        </p:tgtEl>
                                      </p:cBhvr>
                                    </p:animEffect>
                                  </p:childTnLst>
                                </p:cTn>
                              </p:par>
                            </p:childTnLst>
                          </p:cTn>
                        </p:par>
                        <p:par>
                          <p:cTn id="19" fill="hold">
                            <p:stCondLst>
                              <p:cond delay="1500"/>
                            </p:stCondLst>
                            <p:childTnLst>
                              <p:par>
                                <p:cTn id="20" presetID="10" presetClass="entr" presetSubtype="0" fill="hold" grpId="0" nodeType="afterEffect">
                                  <p:stCondLst>
                                    <p:cond delay="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500"/>
                                        <p:tgtEl>
                                          <p:spTgt spid="5"/>
                                        </p:tgtEl>
                                      </p:cBhvr>
                                    </p:animEffect>
                                  </p:childTnLst>
                                </p:cTn>
                              </p:par>
                              <p:par>
                                <p:cTn id="23" presetID="10" presetClass="entr" presetSubtype="0" fill="hold" nodeType="withEffect">
                                  <p:stCondLst>
                                    <p:cond delay="0"/>
                                  </p:stCondLst>
                                  <p:childTnLst>
                                    <p:set>
                                      <p:cBhvr>
                                        <p:cTn id="24" dur="1" fill="hold">
                                          <p:stCondLst>
                                            <p:cond delay="0"/>
                                          </p:stCondLst>
                                        </p:cTn>
                                        <p:tgtEl>
                                          <p:spTgt spid="17"/>
                                        </p:tgtEl>
                                        <p:attrNameLst>
                                          <p:attrName>style.visibility</p:attrName>
                                        </p:attrNameLst>
                                      </p:cBhvr>
                                      <p:to>
                                        <p:strVal val="visible"/>
                                      </p:to>
                                    </p:set>
                                    <p:animEffect transition="in" filter="fade">
                                      <p:cBhvr>
                                        <p:cTn id="25" dur="500"/>
                                        <p:tgtEl>
                                          <p:spTgt spid="17"/>
                                        </p:tgtEl>
                                      </p:cBhvr>
                                    </p:animEffect>
                                  </p:childTnLst>
                                </p:cTn>
                              </p:par>
                            </p:childTnLst>
                          </p:cTn>
                        </p:par>
                        <p:par>
                          <p:cTn id="26" fill="hold">
                            <p:stCondLst>
                              <p:cond delay="2000"/>
                            </p:stCondLst>
                            <p:childTnLst>
                              <p:par>
                                <p:cTn id="27" presetID="10" presetClass="entr" presetSubtype="0" fill="hold" grpId="0" nodeType="afterEffect">
                                  <p:stCondLst>
                                    <p:cond delay="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500"/>
                                        <p:tgtEl>
                                          <p:spTgt spid="6"/>
                                        </p:tgtEl>
                                      </p:cBhvr>
                                    </p:animEffect>
                                  </p:childTnLst>
                                </p:cTn>
                              </p:par>
                              <p:par>
                                <p:cTn id="30" presetID="10" presetClass="entr" presetSubtype="0" fill="hold" nodeType="withEffect">
                                  <p:stCondLst>
                                    <p:cond delay="0"/>
                                  </p:stCondLst>
                                  <p:childTnLst>
                                    <p:set>
                                      <p:cBhvr>
                                        <p:cTn id="31" dur="1" fill="hold">
                                          <p:stCondLst>
                                            <p:cond delay="0"/>
                                          </p:stCondLst>
                                        </p:cTn>
                                        <p:tgtEl>
                                          <p:spTgt spid="14"/>
                                        </p:tgtEl>
                                        <p:attrNameLst>
                                          <p:attrName>style.visibility</p:attrName>
                                        </p:attrNameLst>
                                      </p:cBhvr>
                                      <p:to>
                                        <p:strVal val="visible"/>
                                      </p:to>
                                    </p:set>
                                    <p:animEffect transition="in" filter="fade">
                                      <p:cBhvr>
                                        <p:cTn id="32" dur="500"/>
                                        <p:tgtEl>
                                          <p:spTgt spid="14"/>
                                        </p:tgtEl>
                                      </p:cBhvr>
                                    </p:animEffect>
                                  </p:childTnLst>
                                </p:cTn>
                              </p:par>
                            </p:childTnLst>
                          </p:cTn>
                        </p:par>
                        <p:par>
                          <p:cTn id="33" fill="hold">
                            <p:stCondLst>
                              <p:cond delay="2500"/>
                            </p:stCondLst>
                            <p:childTnLst>
                              <p:par>
                                <p:cTn id="34" presetID="10" presetClass="entr" presetSubtype="0" fill="hold" grpId="0" nodeType="afterEffect">
                                  <p:stCondLst>
                                    <p:cond delay="0"/>
                                  </p:stCondLst>
                                  <p:childTnLst>
                                    <p:set>
                                      <p:cBhvr>
                                        <p:cTn id="35" dur="1" fill="hold">
                                          <p:stCondLst>
                                            <p:cond delay="0"/>
                                          </p:stCondLst>
                                        </p:cTn>
                                        <p:tgtEl>
                                          <p:spTgt spid="7"/>
                                        </p:tgtEl>
                                        <p:attrNameLst>
                                          <p:attrName>style.visibility</p:attrName>
                                        </p:attrNameLst>
                                      </p:cBhvr>
                                      <p:to>
                                        <p:strVal val="visible"/>
                                      </p:to>
                                    </p:set>
                                    <p:animEffect transition="in" filter="fade">
                                      <p:cBhvr>
                                        <p:cTn id="36" dur="500"/>
                                        <p:tgtEl>
                                          <p:spTgt spid="7"/>
                                        </p:tgtEl>
                                      </p:cBhvr>
                                    </p:animEffect>
                                  </p:childTnLst>
                                </p:cTn>
                              </p:par>
                              <p:par>
                                <p:cTn id="37" presetID="10" presetClass="entr" presetSubtype="0" fill="hold" nodeType="withEffect">
                                  <p:stCondLst>
                                    <p:cond delay="0"/>
                                  </p:stCondLst>
                                  <p:childTnLst>
                                    <p:set>
                                      <p:cBhvr>
                                        <p:cTn id="38" dur="1" fill="hold">
                                          <p:stCondLst>
                                            <p:cond delay="0"/>
                                          </p:stCondLst>
                                        </p:cTn>
                                        <p:tgtEl>
                                          <p:spTgt spid="10"/>
                                        </p:tgtEl>
                                        <p:attrNameLst>
                                          <p:attrName>style.visibility</p:attrName>
                                        </p:attrNameLst>
                                      </p:cBhvr>
                                      <p:to>
                                        <p:strVal val="visible"/>
                                      </p:to>
                                    </p:set>
                                    <p:animEffect transition="in" filter="fade">
                                      <p:cBhvr>
                                        <p:cTn id="39" dur="500"/>
                                        <p:tgtEl>
                                          <p:spTgt spid="10"/>
                                        </p:tgtEl>
                                      </p:cBhvr>
                                    </p:animEffect>
                                  </p:childTnLst>
                                </p:cTn>
                              </p:par>
                            </p:childTnLst>
                          </p:cTn>
                        </p:par>
                        <p:par>
                          <p:cTn id="40" fill="hold">
                            <p:stCondLst>
                              <p:cond delay="3000"/>
                            </p:stCondLst>
                            <p:childTnLst>
                              <p:par>
                                <p:cTn id="41" presetID="10" presetClass="entr" presetSubtype="0" fill="hold" grpId="0" nodeType="afterEffect">
                                  <p:stCondLst>
                                    <p:cond delay="0"/>
                                  </p:stCondLst>
                                  <p:childTnLst>
                                    <p:set>
                                      <p:cBhvr>
                                        <p:cTn id="42" dur="1" fill="hold">
                                          <p:stCondLst>
                                            <p:cond delay="0"/>
                                          </p:stCondLst>
                                        </p:cTn>
                                        <p:tgtEl>
                                          <p:spTgt spid="8"/>
                                        </p:tgtEl>
                                        <p:attrNameLst>
                                          <p:attrName>style.visibility</p:attrName>
                                        </p:attrNameLst>
                                      </p:cBhvr>
                                      <p:to>
                                        <p:strVal val="visible"/>
                                      </p:to>
                                    </p:set>
                                    <p:animEffect transition="in" filter="fade">
                                      <p:cBhvr>
                                        <p:cTn id="43" dur="500"/>
                                        <p:tgtEl>
                                          <p:spTgt spid="8"/>
                                        </p:tgtEl>
                                      </p:cBhvr>
                                    </p:animEffect>
                                  </p:childTnLst>
                                </p:cTn>
                              </p:par>
                              <p:par>
                                <p:cTn id="44" presetID="10" presetClass="entr" presetSubtype="0" fill="hold" grpId="0" nodeType="withEffect">
                                  <p:stCondLst>
                                    <p:cond delay="0"/>
                                  </p:stCondLst>
                                  <p:childTnLst>
                                    <p:set>
                                      <p:cBhvr>
                                        <p:cTn id="45" dur="1" fill="hold">
                                          <p:stCondLst>
                                            <p:cond delay="0"/>
                                          </p:stCondLst>
                                        </p:cTn>
                                        <p:tgtEl>
                                          <p:spTgt spid="9"/>
                                        </p:tgtEl>
                                        <p:attrNameLst>
                                          <p:attrName>style.visibility</p:attrName>
                                        </p:attrNameLst>
                                      </p:cBhvr>
                                      <p:to>
                                        <p:strVal val="visible"/>
                                      </p:to>
                                    </p:set>
                                    <p:animEffect transition="in" filter="fade">
                                      <p:cBhvr>
                                        <p:cTn id="46" dur="500"/>
                                        <p:tgtEl>
                                          <p:spTgt spid="9"/>
                                        </p:tgtEl>
                                      </p:cBhvr>
                                    </p:animEffect>
                                  </p:childTnLst>
                                </p:cTn>
                              </p:par>
                            </p:childTnLst>
                          </p:cTn>
                        </p:par>
                        <p:par>
                          <p:cTn id="47" fill="hold">
                            <p:stCondLst>
                              <p:cond delay="3500"/>
                            </p:stCondLst>
                            <p:childTnLst>
                              <p:par>
                                <p:cTn id="48" presetID="10" presetClass="entr" presetSubtype="0" fill="hold" grpId="0" nodeType="afterEffect">
                                  <p:stCondLst>
                                    <p:cond delay="0"/>
                                  </p:stCondLst>
                                  <p:childTnLst>
                                    <p:set>
                                      <p:cBhvr>
                                        <p:cTn id="49" dur="1" fill="hold">
                                          <p:stCondLst>
                                            <p:cond delay="0"/>
                                          </p:stCondLst>
                                        </p:cTn>
                                        <p:tgtEl>
                                          <p:spTgt spid="42"/>
                                        </p:tgtEl>
                                        <p:attrNameLst>
                                          <p:attrName>style.visibility</p:attrName>
                                        </p:attrNameLst>
                                      </p:cBhvr>
                                      <p:to>
                                        <p:strVal val="visible"/>
                                      </p:to>
                                    </p:set>
                                    <p:animEffect transition="in" filter="fade">
                                      <p:cBhvr>
                                        <p:cTn id="50" dur="500"/>
                                        <p:tgtEl>
                                          <p:spTgt spid="42"/>
                                        </p:tgtEl>
                                      </p:cBhvr>
                                    </p:animEffect>
                                  </p:childTnLst>
                                </p:cTn>
                              </p:par>
                              <p:par>
                                <p:cTn id="51" presetID="10" presetClass="entr" presetSubtype="0" fill="hold" grpId="0" nodeType="withEffect">
                                  <p:stCondLst>
                                    <p:cond delay="0"/>
                                  </p:stCondLst>
                                  <p:childTnLst>
                                    <p:set>
                                      <p:cBhvr>
                                        <p:cTn id="52" dur="1" fill="hold">
                                          <p:stCondLst>
                                            <p:cond delay="0"/>
                                          </p:stCondLst>
                                        </p:cTn>
                                        <p:tgtEl>
                                          <p:spTgt spid="43"/>
                                        </p:tgtEl>
                                        <p:attrNameLst>
                                          <p:attrName>style.visibility</p:attrName>
                                        </p:attrNameLst>
                                      </p:cBhvr>
                                      <p:to>
                                        <p:strVal val="visible"/>
                                      </p:to>
                                    </p:set>
                                    <p:animEffect transition="in" filter="fade">
                                      <p:cBhvr>
                                        <p:cTn id="53" dur="500"/>
                                        <p:tgtEl>
                                          <p:spTgt spid="43"/>
                                        </p:tgtEl>
                                      </p:cBhvr>
                                    </p:animEffect>
                                  </p:childTnLst>
                                </p:cTn>
                              </p:par>
                            </p:childTnLst>
                          </p:cTn>
                        </p:par>
                        <p:par>
                          <p:cTn id="54" fill="hold">
                            <p:stCondLst>
                              <p:cond delay="4000"/>
                            </p:stCondLst>
                            <p:childTnLst>
                              <p:par>
                                <p:cTn id="55" presetID="10" presetClass="entr" presetSubtype="0" fill="hold" grpId="0" nodeType="afterEffect">
                                  <p:stCondLst>
                                    <p:cond delay="0"/>
                                  </p:stCondLst>
                                  <p:childTnLst>
                                    <p:set>
                                      <p:cBhvr>
                                        <p:cTn id="56" dur="1" fill="hold">
                                          <p:stCondLst>
                                            <p:cond delay="0"/>
                                          </p:stCondLst>
                                        </p:cTn>
                                        <p:tgtEl>
                                          <p:spTgt spid="27"/>
                                        </p:tgtEl>
                                        <p:attrNameLst>
                                          <p:attrName>style.visibility</p:attrName>
                                        </p:attrNameLst>
                                      </p:cBhvr>
                                      <p:to>
                                        <p:strVal val="visible"/>
                                      </p:to>
                                    </p:set>
                                    <p:animEffect transition="in" filter="fade">
                                      <p:cBhvr>
                                        <p:cTn id="57" dur="500"/>
                                        <p:tgtEl>
                                          <p:spTgt spid="27"/>
                                        </p:tgtEl>
                                      </p:cBhvr>
                                    </p:animEffect>
                                  </p:childTnLst>
                                </p:cTn>
                              </p:par>
                              <p:par>
                                <p:cTn id="58" presetID="10" presetClass="entr" presetSubtype="0" fill="hold" grpId="0" nodeType="withEffect">
                                  <p:stCondLst>
                                    <p:cond delay="0"/>
                                  </p:stCondLst>
                                  <p:childTnLst>
                                    <p:set>
                                      <p:cBhvr>
                                        <p:cTn id="59" dur="1" fill="hold">
                                          <p:stCondLst>
                                            <p:cond delay="0"/>
                                          </p:stCondLst>
                                        </p:cTn>
                                        <p:tgtEl>
                                          <p:spTgt spid="28"/>
                                        </p:tgtEl>
                                        <p:attrNameLst>
                                          <p:attrName>style.visibility</p:attrName>
                                        </p:attrNameLst>
                                      </p:cBhvr>
                                      <p:to>
                                        <p:strVal val="visible"/>
                                      </p:to>
                                    </p:set>
                                    <p:animEffect transition="in" filter="fade">
                                      <p:cBhvr>
                                        <p:cTn id="60" dur="500"/>
                                        <p:tgtEl>
                                          <p:spTgt spid="28"/>
                                        </p:tgtEl>
                                      </p:cBhvr>
                                    </p:animEffect>
                                  </p:childTnLst>
                                </p:cTn>
                              </p:par>
                              <p:par>
                                <p:cTn id="61" presetID="10" presetClass="entr" presetSubtype="0" fill="hold" grpId="0" nodeType="withEffect">
                                  <p:stCondLst>
                                    <p:cond delay="0"/>
                                  </p:stCondLst>
                                  <p:childTnLst>
                                    <p:set>
                                      <p:cBhvr>
                                        <p:cTn id="62" dur="1" fill="hold">
                                          <p:stCondLst>
                                            <p:cond delay="0"/>
                                          </p:stCondLst>
                                        </p:cTn>
                                        <p:tgtEl>
                                          <p:spTgt spid="29"/>
                                        </p:tgtEl>
                                        <p:attrNameLst>
                                          <p:attrName>style.visibility</p:attrName>
                                        </p:attrNameLst>
                                      </p:cBhvr>
                                      <p:to>
                                        <p:strVal val="visible"/>
                                      </p:to>
                                    </p:set>
                                    <p:animEffect transition="in" filter="fade">
                                      <p:cBhvr>
                                        <p:cTn id="63" dur="500"/>
                                        <p:tgtEl>
                                          <p:spTgt spid="29"/>
                                        </p:tgtEl>
                                      </p:cBhvr>
                                    </p:animEffect>
                                  </p:childTnLst>
                                </p:cTn>
                              </p:par>
                              <p:par>
                                <p:cTn id="64" presetID="10" presetClass="entr" presetSubtype="0" fill="hold" grpId="0" nodeType="withEffect">
                                  <p:stCondLst>
                                    <p:cond delay="0"/>
                                  </p:stCondLst>
                                  <p:childTnLst>
                                    <p:set>
                                      <p:cBhvr>
                                        <p:cTn id="65" dur="1" fill="hold">
                                          <p:stCondLst>
                                            <p:cond delay="0"/>
                                          </p:stCondLst>
                                        </p:cTn>
                                        <p:tgtEl>
                                          <p:spTgt spid="36"/>
                                        </p:tgtEl>
                                        <p:attrNameLst>
                                          <p:attrName>style.visibility</p:attrName>
                                        </p:attrNameLst>
                                      </p:cBhvr>
                                      <p:to>
                                        <p:strVal val="visible"/>
                                      </p:to>
                                    </p:set>
                                    <p:animEffect transition="in" filter="fade">
                                      <p:cBhvr>
                                        <p:cTn id="66" dur="500"/>
                                        <p:tgtEl>
                                          <p:spTgt spid="36"/>
                                        </p:tgtEl>
                                      </p:cBhvr>
                                    </p:animEffect>
                                  </p:childTnLst>
                                </p:cTn>
                              </p:par>
                              <p:par>
                                <p:cTn id="67" presetID="10" presetClass="entr" presetSubtype="0" fill="hold" grpId="0" nodeType="withEffect">
                                  <p:stCondLst>
                                    <p:cond delay="0"/>
                                  </p:stCondLst>
                                  <p:childTnLst>
                                    <p:set>
                                      <p:cBhvr>
                                        <p:cTn id="68" dur="1" fill="hold">
                                          <p:stCondLst>
                                            <p:cond delay="0"/>
                                          </p:stCondLst>
                                        </p:cTn>
                                        <p:tgtEl>
                                          <p:spTgt spid="37"/>
                                        </p:tgtEl>
                                        <p:attrNameLst>
                                          <p:attrName>style.visibility</p:attrName>
                                        </p:attrNameLst>
                                      </p:cBhvr>
                                      <p:to>
                                        <p:strVal val="visible"/>
                                      </p:to>
                                    </p:set>
                                    <p:animEffect transition="in" filter="fade">
                                      <p:cBhvr>
                                        <p:cTn id="69" dur="500"/>
                                        <p:tgtEl>
                                          <p:spTgt spid="37"/>
                                        </p:tgtEl>
                                      </p:cBhvr>
                                    </p:animEffect>
                                  </p:childTnLst>
                                </p:cTn>
                              </p:par>
                            </p:childTnLst>
                          </p:cTn>
                        </p:par>
                        <p:par>
                          <p:cTn id="70" fill="hold">
                            <p:stCondLst>
                              <p:cond delay="4500"/>
                            </p:stCondLst>
                            <p:childTnLst>
                              <p:par>
                                <p:cTn id="71" presetID="10" presetClass="entr" presetSubtype="0" fill="hold" grpId="0" nodeType="afterEffect">
                                  <p:stCondLst>
                                    <p:cond delay="0"/>
                                  </p:stCondLst>
                                  <p:childTnLst>
                                    <p:set>
                                      <p:cBhvr>
                                        <p:cTn id="72" dur="1" fill="hold">
                                          <p:stCondLst>
                                            <p:cond delay="0"/>
                                          </p:stCondLst>
                                        </p:cTn>
                                        <p:tgtEl>
                                          <p:spTgt spid="30"/>
                                        </p:tgtEl>
                                        <p:attrNameLst>
                                          <p:attrName>style.visibility</p:attrName>
                                        </p:attrNameLst>
                                      </p:cBhvr>
                                      <p:to>
                                        <p:strVal val="visible"/>
                                      </p:to>
                                    </p:set>
                                    <p:animEffect transition="in" filter="fade">
                                      <p:cBhvr>
                                        <p:cTn id="73" dur="500"/>
                                        <p:tgtEl>
                                          <p:spTgt spid="30"/>
                                        </p:tgtEl>
                                      </p:cBhvr>
                                    </p:animEffect>
                                  </p:childTnLst>
                                </p:cTn>
                              </p:par>
                              <p:par>
                                <p:cTn id="74" presetID="10" presetClass="entr" presetSubtype="0" fill="hold" grpId="0" nodeType="withEffect">
                                  <p:stCondLst>
                                    <p:cond delay="0"/>
                                  </p:stCondLst>
                                  <p:childTnLst>
                                    <p:set>
                                      <p:cBhvr>
                                        <p:cTn id="75" dur="1" fill="hold">
                                          <p:stCondLst>
                                            <p:cond delay="0"/>
                                          </p:stCondLst>
                                        </p:cTn>
                                        <p:tgtEl>
                                          <p:spTgt spid="31"/>
                                        </p:tgtEl>
                                        <p:attrNameLst>
                                          <p:attrName>style.visibility</p:attrName>
                                        </p:attrNameLst>
                                      </p:cBhvr>
                                      <p:to>
                                        <p:strVal val="visible"/>
                                      </p:to>
                                    </p:set>
                                    <p:animEffect transition="in" filter="fade">
                                      <p:cBhvr>
                                        <p:cTn id="76" dur="500"/>
                                        <p:tgtEl>
                                          <p:spTgt spid="31"/>
                                        </p:tgtEl>
                                      </p:cBhvr>
                                    </p:animEffect>
                                  </p:childTnLst>
                                </p:cTn>
                              </p:par>
                              <p:par>
                                <p:cTn id="77" presetID="10" presetClass="entr" presetSubtype="0" fill="hold" grpId="0" nodeType="withEffect">
                                  <p:stCondLst>
                                    <p:cond delay="0"/>
                                  </p:stCondLst>
                                  <p:childTnLst>
                                    <p:set>
                                      <p:cBhvr>
                                        <p:cTn id="78" dur="1" fill="hold">
                                          <p:stCondLst>
                                            <p:cond delay="0"/>
                                          </p:stCondLst>
                                        </p:cTn>
                                        <p:tgtEl>
                                          <p:spTgt spid="32"/>
                                        </p:tgtEl>
                                        <p:attrNameLst>
                                          <p:attrName>style.visibility</p:attrName>
                                        </p:attrNameLst>
                                      </p:cBhvr>
                                      <p:to>
                                        <p:strVal val="visible"/>
                                      </p:to>
                                    </p:set>
                                    <p:animEffect transition="in" filter="fade">
                                      <p:cBhvr>
                                        <p:cTn id="79" dur="500"/>
                                        <p:tgtEl>
                                          <p:spTgt spid="32"/>
                                        </p:tgtEl>
                                      </p:cBhvr>
                                    </p:animEffect>
                                  </p:childTnLst>
                                </p:cTn>
                              </p:par>
                              <p:par>
                                <p:cTn id="80" presetID="10" presetClass="entr" presetSubtype="0" fill="hold" grpId="0" nodeType="withEffect">
                                  <p:stCondLst>
                                    <p:cond delay="0"/>
                                  </p:stCondLst>
                                  <p:childTnLst>
                                    <p:set>
                                      <p:cBhvr>
                                        <p:cTn id="81" dur="1" fill="hold">
                                          <p:stCondLst>
                                            <p:cond delay="0"/>
                                          </p:stCondLst>
                                        </p:cTn>
                                        <p:tgtEl>
                                          <p:spTgt spid="33"/>
                                        </p:tgtEl>
                                        <p:attrNameLst>
                                          <p:attrName>style.visibility</p:attrName>
                                        </p:attrNameLst>
                                      </p:cBhvr>
                                      <p:to>
                                        <p:strVal val="visible"/>
                                      </p:to>
                                    </p:set>
                                    <p:animEffect transition="in" filter="fade">
                                      <p:cBhvr>
                                        <p:cTn id="82" dur="500"/>
                                        <p:tgtEl>
                                          <p:spTgt spid="33"/>
                                        </p:tgtEl>
                                      </p:cBhvr>
                                    </p:animEffect>
                                  </p:childTnLst>
                                </p:cTn>
                              </p:par>
                              <p:par>
                                <p:cTn id="83" presetID="10" presetClass="entr" presetSubtype="0" fill="hold" grpId="0" nodeType="withEffect">
                                  <p:stCondLst>
                                    <p:cond delay="0"/>
                                  </p:stCondLst>
                                  <p:childTnLst>
                                    <p:set>
                                      <p:cBhvr>
                                        <p:cTn id="84" dur="1" fill="hold">
                                          <p:stCondLst>
                                            <p:cond delay="0"/>
                                          </p:stCondLst>
                                        </p:cTn>
                                        <p:tgtEl>
                                          <p:spTgt spid="35"/>
                                        </p:tgtEl>
                                        <p:attrNameLst>
                                          <p:attrName>style.visibility</p:attrName>
                                        </p:attrNameLst>
                                      </p:cBhvr>
                                      <p:to>
                                        <p:strVal val="visible"/>
                                      </p:to>
                                    </p:set>
                                    <p:animEffect transition="in" filter="fade">
                                      <p:cBhvr>
                                        <p:cTn id="85" dur="500"/>
                                        <p:tgtEl>
                                          <p:spTgt spid="35"/>
                                        </p:tgtEl>
                                      </p:cBhvr>
                                    </p:animEffect>
                                  </p:childTnLst>
                                </p:cTn>
                              </p:par>
                              <p:par>
                                <p:cTn id="86" presetID="10" presetClass="entr" presetSubtype="0" fill="hold" grpId="0" nodeType="withEffect">
                                  <p:stCondLst>
                                    <p:cond delay="0"/>
                                  </p:stCondLst>
                                  <p:childTnLst>
                                    <p:set>
                                      <p:cBhvr>
                                        <p:cTn id="87" dur="1" fill="hold">
                                          <p:stCondLst>
                                            <p:cond delay="0"/>
                                          </p:stCondLst>
                                        </p:cTn>
                                        <p:tgtEl>
                                          <p:spTgt spid="34"/>
                                        </p:tgtEl>
                                        <p:attrNameLst>
                                          <p:attrName>style.visibility</p:attrName>
                                        </p:attrNameLst>
                                      </p:cBhvr>
                                      <p:to>
                                        <p:strVal val="visible"/>
                                      </p:to>
                                    </p:set>
                                    <p:animEffect transition="in" filter="fade">
                                      <p:cBhvr>
                                        <p:cTn id="88" dur="500"/>
                                        <p:tgtEl>
                                          <p:spTgt spid="34"/>
                                        </p:tgtEl>
                                      </p:cBhvr>
                                    </p:animEffect>
                                  </p:childTnLst>
                                </p:cTn>
                              </p:par>
                              <p:par>
                                <p:cTn id="89" presetID="10" presetClass="entr" presetSubtype="0" fill="hold" grpId="0" nodeType="withEffect">
                                  <p:stCondLst>
                                    <p:cond delay="0"/>
                                  </p:stCondLst>
                                  <p:childTnLst>
                                    <p:set>
                                      <p:cBhvr>
                                        <p:cTn id="90" dur="1" fill="hold">
                                          <p:stCondLst>
                                            <p:cond delay="0"/>
                                          </p:stCondLst>
                                        </p:cTn>
                                        <p:tgtEl>
                                          <p:spTgt spid="38"/>
                                        </p:tgtEl>
                                        <p:attrNameLst>
                                          <p:attrName>style.visibility</p:attrName>
                                        </p:attrNameLst>
                                      </p:cBhvr>
                                      <p:to>
                                        <p:strVal val="visible"/>
                                      </p:to>
                                    </p:set>
                                    <p:animEffect transition="in" filter="fade">
                                      <p:cBhvr>
                                        <p:cTn id="91" dur="500"/>
                                        <p:tgtEl>
                                          <p:spTgt spid="38"/>
                                        </p:tgtEl>
                                      </p:cBhvr>
                                    </p:animEffect>
                                  </p:childTnLst>
                                </p:cTn>
                              </p:par>
                              <p:par>
                                <p:cTn id="92" presetID="10" presetClass="entr" presetSubtype="0" fill="hold" grpId="0" nodeType="withEffect">
                                  <p:stCondLst>
                                    <p:cond delay="0"/>
                                  </p:stCondLst>
                                  <p:childTnLst>
                                    <p:set>
                                      <p:cBhvr>
                                        <p:cTn id="93" dur="1" fill="hold">
                                          <p:stCondLst>
                                            <p:cond delay="0"/>
                                          </p:stCondLst>
                                        </p:cTn>
                                        <p:tgtEl>
                                          <p:spTgt spid="39"/>
                                        </p:tgtEl>
                                        <p:attrNameLst>
                                          <p:attrName>style.visibility</p:attrName>
                                        </p:attrNameLst>
                                      </p:cBhvr>
                                      <p:to>
                                        <p:strVal val="visible"/>
                                      </p:to>
                                    </p:set>
                                    <p:animEffect transition="in" filter="fade">
                                      <p:cBhvr>
                                        <p:cTn id="94" dur="500"/>
                                        <p:tgtEl>
                                          <p:spTgt spid="39"/>
                                        </p:tgtEl>
                                      </p:cBhvr>
                                    </p:animEffect>
                                  </p:childTnLst>
                                </p:cTn>
                              </p:par>
                              <p:par>
                                <p:cTn id="95" presetID="10" presetClass="entr" presetSubtype="0" fill="hold" grpId="0" nodeType="withEffect">
                                  <p:stCondLst>
                                    <p:cond delay="0"/>
                                  </p:stCondLst>
                                  <p:childTnLst>
                                    <p:set>
                                      <p:cBhvr>
                                        <p:cTn id="96" dur="1" fill="hold">
                                          <p:stCondLst>
                                            <p:cond delay="0"/>
                                          </p:stCondLst>
                                        </p:cTn>
                                        <p:tgtEl>
                                          <p:spTgt spid="40"/>
                                        </p:tgtEl>
                                        <p:attrNameLst>
                                          <p:attrName>style.visibility</p:attrName>
                                        </p:attrNameLst>
                                      </p:cBhvr>
                                      <p:to>
                                        <p:strVal val="visible"/>
                                      </p:to>
                                    </p:set>
                                    <p:animEffect transition="in" filter="fade">
                                      <p:cBhvr>
                                        <p:cTn id="97" dur="500"/>
                                        <p:tgtEl>
                                          <p:spTgt spid="40"/>
                                        </p:tgtEl>
                                      </p:cBhvr>
                                    </p:animEffect>
                                  </p:childTnLst>
                                </p:cTn>
                              </p:par>
                              <p:par>
                                <p:cTn id="98" presetID="10" presetClass="entr" presetSubtype="0" fill="hold" grpId="0" nodeType="withEffect">
                                  <p:stCondLst>
                                    <p:cond delay="0"/>
                                  </p:stCondLst>
                                  <p:childTnLst>
                                    <p:set>
                                      <p:cBhvr>
                                        <p:cTn id="99" dur="1" fill="hold">
                                          <p:stCondLst>
                                            <p:cond delay="0"/>
                                          </p:stCondLst>
                                        </p:cTn>
                                        <p:tgtEl>
                                          <p:spTgt spid="41"/>
                                        </p:tgtEl>
                                        <p:attrNameLst>
                                          <p:attrName>style.visibility</p:attrName>
                                        </p:attrNameLst>
                                      </p:cBhvr>
                                      <p:to>
                                        <p:strVal val="visible"/>
                                      </p:to>
                                    </p:set>
                                    <p:animEffect transition="in" filter="fade">
                                      <p:cBhvr>
                                        <p:cTn id="100" dur="500"/>
                                        <p:tgtEl>
                                          <p:spTgt spid="4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animBg="1"/>
      <p:bldP spid="4" grpId="0" animBg="1"/>
      <p:bldP spid="5" grpId="0" animBg="1"/>
      <p:bldP spid="6" grpId="0" animBg="1"/>
      <p:bldP spid="7" grpId="0" animBg="1"/>
      <p:bldP spid="8" grpId="0" animBg="1"/>
      <p:bldP spid="9" grpId="0" animBg="1"/>
      <p:bldP spid="27" grpId="0" animBg="1"/>
      <p:bldP spid="28" grpId="0" animBg="1"/>
      <p:bldP spid="29" grpId="0" animBg="1"/>
      <p:bldP spid="30" grpId="0"/>
      <p:bldP spid="31" grpId="0"/>
      <p:bldP spid="32" grpId="0"/>
      <p:bldP spid="33" grpId="0"/>
      <p:bldP spid="34" grpId="0"/>
      <p:bldP spid="35" grpId="0"/>
      <p:bldP spid="36" grpId="0" animBg="1"/>
      <p:bldP spid="37" grpId="0" animBg="1"/>
      <p:bldP spid="38" grpId="0"/>
      <p:bldP spid="39" grpId="0"/>
      <p:bldP spid="40" grpId="0"/>
      <p:bldP spid="41" grpId="0"/>
      <p:bldP spid="42" grpId="0"/>
      <p:bldP spid="43" grpId="0"/>
    </p:bldLst>
  </p:timing>
</p:sld>
</file>

<file path=ppt/slides/slide6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36">
            <a:extLst>
              <a:ext uri="{FF2B5EF4-FFF2-40B4-BE49-F238E27FC236}">
                <a16:creationId xmlns:a16="http://schemas.microsoft.com/office/drawing/2014/main" id="{607FF405-8E3E-46F7-9ED5-6648E1CFD0DC}"/>
              </a:ext>
            </a:extLst>
          </p:cNvPr>
          <p:cNvSpPr txBox="1"/>
          <p:nvPr/>
        </p:nvSpPr>
        <p:spPr>
          <a:xfrm>
            <a:off x="1846461" y="528027"/>
            <a:ext cx="8846805" cy="76944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400" b="1" i="0" u="none" strike="noStrike" kern="1200" cap="none" spc="0" normalizeH="0" baseline="0" noProof="0" dirty="0">
                <a:ln>
                  <a:noFill/>
                </a:ln>
                <a:solidFill>
                  <a:srgbClr val="000000">
                    <a:lumMod val="75000"/>
                    <a:lumOff val="25000"/>
                  </a:srgbClr>
                </a:solidFill>
                <a:effectLst/>
                <a:uLnTx/>
                <a:uFillTx/>
                <a:latin typeface="Segoe UI" panose="020B0502040204020203" pitchFamily="34" charset="0"/>
                <a:ea typeface="+mn-ea"/>
                <a:cs typeface="Segoe UI" panose="020B0502040204020203" pitchFamily="34" charset="0"/>
              </a:rPr>
              <a:t>Value Growth Diagram </a:t>
            </a:r>
            <a:endParaRPr kumimoji="0" lang="en-ID" sz="4400" b="0" i="0" u="none" strike="noStrike" kern="1200" cap="none" spc="0" normalizeH="0" baseline="0" noProof="0" dirty="0">
              <a:ln>
                <a:noFill/>
              </a:ln>
              <a:solidFill>
                <a:srgbClr val="000000">
                  <a:lumMod val="75000"/>
                  <a:lumOff val="25000"/>
                </a:srgbClr>
              </a:solidFill>
              <a:effectLst/>
              <a:uLnTx/>
              <a:uFillTx/>
              <a:latin typeface="等线" panose="020F0502020204030204"/>
              <a:ea typeface="+mn-ea"/>
              <a:cs typeface="+mn-cs"/>
            </a:endParaRPr>
          </a:p>
        </p:txBody>
      </p:sp>
      <p:grpSp>
        <p:nvGrpSpPr>
          <p:cNvPr id="3" name="Group 1">
            <a:extLst>
              <a:ext uri="{FF2B5EF4-FFF2-40B4-BE49-F238E27FC236}">
                <a16:creationId xmlns:a16="http://schemas.microsoft.com/office/drawing/2014/main" id="{9438F5BB-06EF-4B21-9781-BFA4BE67FECD}"/>
              </a:ext>
            </a:extLst>
          </p:cNvPr>
          <p:cNvGrpSpPr/>
          <p:nvPr/>
        </p:nvGrpSpPr>
        <p:grpSpPr>
          <a:xfrm>
            <a:off x="0" y="1442298"/>
            <a:ext cx="9656080" cy="4916141"/>
            <a:chOff x="-375002" y="1116375"/>
            <a:chExt cx="9656080" cy="4916141"/>
          </a:xfrm>
        </p:grpSpPr>
        <p:grpSp>
          <p:nvGrpSpPr>
            <p:cNvPr id="4" name="Group 2">
              <a:extLst>
                <a:ext uri="{FF2B5EF4-FFF2-40B4-BE49-F238E27FC236}">
                  <a16:creationId xmlns:a16="http://schemas.microsoft.com/office/drawing/2014/main" id="{7ADBC908-3597-46E7-82F1-E701DBF9CA9A}"/>
                </a:ext>
              </a:extLst>
            </p:cNvPr>
            <p:cNvGrpSpPr/>
            <p:nvPr/>
          </p:nvGrpSpPr>
          <p:grpSpPr>
            <a:xfrm>
              <a:off x="-375002" y="1116375"/>
              <a:ext cx="9656080" cy="4916141"/>
              <a:chOff x="-375002" y="1517574"/>
              <a:chExt cx="10138358" cy="5161680"/>
            </a:xfrm>
          </p:grpSpPr>
          <p:sp>
            <p:nvSpPr>
              <p:cNvPr id="7" name="Freeform 9">
                <a:extLst>
                  <a:ext uri="{FF2B5EF4-FFF2-40B4-BE49-F238E27FC236}">
                    <a16:creationId xmlns:a16="http://schemas.microsoft.com/office/drawing/2014/main" id="{0F82D1D0-C123-413B-86C1-55886FD5B28D}"/>
                  </a:ext>
                </a:extLst>
              </p:cNvPr>
              <p:cNvSpPr>
                <a:spLocks/>
              </p:cNvSpPr>
              <p:nvPr/>
            </p:nvSpPr>
            <p:spPr bwMode="auto">
              <a:xfrm rot="1885651">
                <a:off x="4547974" y="1647663"/>
                <a:ext cx="1084797" cy="1934213"/>
              </a:xfrm>
              <a:custGeom>
                <a:avLst/>
                <a:gdLst>
                  <a:gd name="T0" fmla="*/ 536 w 1696"/>
                  <a:gd name="T1" fmla="*/ 2987 h 3026"/>
                  <a:gd name="T2" fmla="*/ 462 w 1696"/>
                  <a:gd name="T3" fmla="*/ 2911 h 3026"/>
                  <a:gd name="T4" fmla="*/ 368 w 1696"/>
                  <a:gd name="T5" fmla="*/ 2798 h 3026"/>
                  <a:gd name="T6" fmla="*/ 263 w 1696"/>
                  <a:gd name="T7" fmla="*/ 2650 h 3026"/>
                  <a:gd name="T8" fmla="*/ 161 w 1696"/>
                  <a:gd name="T9" fmla="*/ 2473 h 3026"/>
                  <a:gd name="T10" fmla="*/ 76 w 1696"/>
                  <a:gd name="T11" fmla="*/ 2268 h 3026"/>
                  <a:gd name="T12" fmla="*/ 17 w 1696"/>
                  <a:gd name="T13" fmla="*/ 2039 h 3026"/>
                  <a:gd name="T14" fmla="*/ 0 w 1696"/>
                  <a:gd name="T15" fmla="*/ 1789 h 3026"/>
                  <a:gd name="T16" fmla="*/ 36 w 1696"/>
                  <a:gd name="T17" fmla="*/ 1522 h 3026"/>
                  <a:gd name="T18" fmla="*/ 137 w 1696"/>
                  <a:gd name="T19" fmla="*/ 1239 h 3026"/>
                  <a:gd name="T20" fmla="*/ 300 w 1696"/>
                  <a:gd name="T21" fmla="*/ 959 h 3026"/>
                  <a:gd name="T22" fmla="*/ 478 w 1696"/>
                  <a:gd name="T23" fmla="*/ 721 h 3026"/>
                  <a:gd name="T24" fmla="*/ 659 w 1696"/>
                  <a:gd name="T25" fmla="*/ 526 h 3026"/>
                  <a:gd name="T26" fmla="*/ 840 w 1696"/>
                  <a:gd name="T27" fmla="*/ 369 h 3026"/>
                  <a:gd name="T28" fmla="*/ 1014 w 1696"/>
                  <a:gd name="T29" fmla="*/ 247 h 3026"/>
                  <a:gd name="T30" fmla="*/ 1177 w 1696"/>
                  <a:gd name="T31" fmla="*/ 155 h 3026"/>
                  <a:gd name="T32" fmla="*/ 1322 w 1696"/>
                  <a:gd name="T33" fmla="*/ 88 h 3026"/>
                  <a:gd name="T34" fmla="*/ 1444 w 1696"/>
                  <a:gd name="T35" fmla="*/ 43 h 3026"/>
                  <a:gd name="T36" fmla="*/ 1538 w 1696"/>
                  <a:gd name="T37" fmla="*/ 16 h 3026"/>
                  <a:gd name="T38" fmla="*/ 1611 w 1696"/>
                  <a:gd name="T39" fmla="*/ 1 h 3026"/>
                  <a:gd name="T40" fmla="*/ 1604 w 1696"/>
                  <a:gd name="T41" fmla="*/ 30 h 3026"/>
                  <a:gd name="T42" fmla="*/ 1555 w 1696"/>
                  <a:gd name="T43" fmla="*/ 143 h 3026"/>
                  <a:gd name="T44" fmla="*/ 1517 w 1696"/>
                  <a:gd name="T45" fmla="*/ 243 h 3026"/>
                  <a:gd name="T46" fmla="*/ 1478 w 1696"/>
                  <a:gd name="T47" fmla="*/ 367 h 3026"/>
                  <a:gd name="T48" fmla="*/ 1444 w 1696"/>
                  <a:gd name="T49" fmla="*/ 506 h 3026"/>
                  <a:gd name="T50" fmla="*/ 1418 w 1696"/>
                  <a:gd name="T51" fmla="*/ 660 h 3026"/>
                  <a:gd name="T52" fmla="*/ 1406 w 1696"/>
                  <a:gd name="T53" fmla="*/ 825 h 3026"/>
                  <a:gd name="T54" fmla="*/ 1412 w 1696"/>
                  <a:gd name="T55" fmla="*/ 997 h 3026"/>
                  <a:gd name="T56" fmla="*/ 1441 w 1696"/>
                  <a:gd name="T57" fmla="*/ 1171 h 3026"/>
                  <a:gd name="T58" fmla="*/ 1515 w 1696"/>
                  <a:gd name="T59" fmla="*/ 1398 h 3026"/>
                  <a:gd name="T60" fmla="*/ 1614 w 1696"/>
                  <a:gd name="T61" fmla="*/ 1682 h 3026"/>
                  <a:gd name="T62" fmla="*/ 1651 w 1696"/>
                  <a:gd name="T63" fmla="*/ 1802 h 3026"/>
                  <a:gd name="T64" fmla="*/ 1678 w 1696"/>
                  <a:gd name="T65" fmla="*/ 1912 h 3026"/>
                  <a:gd name="T66" fmla="*/ 1693 w 1696"/>
                  <a:gd name="T67" fmla="*/ 2017 h 3026"/>
                  <a:gd name="T68" fmla="*/ 1695 w 1696"/>
                  <a:gd name="T69" fmla="*/ 2119 h 3026"/>
                  <a:gd name="T70" fmla="*/ 1683 w 1696"/>
                  <a:gd name="T71" fmla="*/ 2222 h 3026"/>
                  <a:gd name="T72" fmla="*/ 1655 w 1696"/>
                  <a:gd name="T73" fmla="*/ 2330 h 3026"/>
                  <a:gd name="T74" fmla="*/ 1611 w 1696"/>
                  <a:gd name="T75" fmla="*/ 2447 h 3026"/>
                  <a:gd name="T76" fmla="*/ 1547 w 1696"/>
                  <a:gd name="T77" fmla="*/ 2575 h 3026"/>
                  <a:gd name="T78" fmla="*/ 1464 w 1696"/>
                  <a:gd name="T79" fmla="*/ 2698 h 3026"/>
                  <a:gd name="T80" fmla="*/ 1362 w 1696"/>
                  <a:gd name="T81" fmla="*/ 2795 h 3026"/>
                  <a:gd name="T82" fmla="*/ 1248 w 1696"/>
                  <a:gd name="T83" fmla="*/ 2872 h 3026"/>
                  <a:gd name="T84" fmla="*/ 1127 w 1696"/>
                  <a:gd name="T85" fmla="*/ 2930 h 3026"/>
                  <a:gd name="T86" fmla="*/ 1005 w 1696"/>
                  <a:gd name="T87" fmla="*/ 2971 h 3026"/>
                  <a:gd name="T88" fmla="*/ 888 w 1696"/>
                  <a:gd name="T89" fmla="*/ 2998 h 3026"/>
                  <a:gd name="T90" fmla="*/ 782 w 1696"/>
                  <a:gd name="T91" fmla="*/ 3015 h 3026"/>
                  <a:gd name="T92" fmla="*/ 692 w 1696"/>
                  <a:gd name="T93" fmla="*/ 3023 h 3026"/>
                  <a:gd name="T94" fmla="*/ 585 w 1696"/>
                  <a:gd name="T95" fmla="*/ 3026 h 30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696" h="3026">
                    <a:moveTo>
                      <a:pt x="576" y="3025"/>
                    </a:moveTo>
                    <a:lnTo>
                      <a:pt x="565" y="3015"/>
                    </a:lnTo>
                    <a:lnTo>
                      <a:pt x="536" y="2987"/>
                    </a:lnTo>
                    <a:lnTo>
                      <a:pt x="514" y="2966"/>
                    </a:lnTo>
                    <a:lnTo>
                      <a:pt x="491" y="2940"/>
                    </a:lnTo>
                    <a:lnTo>
                      <a:pt x="462" y="2911"/>
                    </a:lnTo>
                    <a:lnTo>
                      <a:pt x="433" y="2878"/>
                    </a:lnTo>
                    <a:lnTo>
                      <a:pt x="401" y="2840"/>
                    </a:lnTo>
                    <a:lnTo>
                      <a:pt x="368" y="2798"/>
                    </a:lnTo>
                    <a:lnTo>
                      <a:pt x="334" y="2752"/>
                    </a:lnTo>
                    <a:lnTo>
                      <a:pt x="299" y="2703"/>
                    </a:lnTo>
                    <a:lnTo>
                      <a:pt x="263" y="2650"/>
                    </a:lnTo>
                    <a:lnTo>
                      <a:pt x="229" y="2595"/>
                    </a:lnTo>
                    <a:lnTo>
                      <a:pt x="194" y="2536"/>
                    </a:lnTo>
                    <a:lnTo>
                      <a:pt x="161" y="2473"/>
                    </a:lnTo>
                    <a:lnTo>
                      <a:pt x="130" y="2408"/>
                    </a:lnTo>
                    <a:lnTo>
                      <a:pt x="102" y="2340"/>
                    </a:lnTo>
                    <a:lnTo>
                      <a:pt x="76" y="2268"/>
                    </a:lnTo>
                    <a:lnTo>
                      <a:pt x="52" y="2195"/>
                    </a:lnTo>
                    <a:lnTo>
                      <a:pt x="33" y="2118"/>
                    </a:lnTo>
                    <a:lnTo>
                      <a:pt x="17" y="2039"/>
                    </a:lnTo>
                    <a:lnTo>
                      <a:pt x="7" y="1958"/>
                    </a:lnTo>
                    <a:lnTo>
                      <a:pt x="0" y="1874"/>
                    </a:lnTo>
                    <a:lnTo>
                      <a:pt x="0" y="1789"/>
                    </a:lnTo>
                    <a:lnTo>
                      <a:pt x="6" y="1702"/>
                    </a:lnTo>
                    <a:lnTo>
                      <a:pt x="16" y="1613"/>
                    </a:lnTo>
                    <a:lnTo>
                      <a:pt x="36" y="1522"/>
                    </a:lnTo>
                    <a:lnTo>
                      <a:pt x="61" y="1429"/>
                    </a:lnTo>
                    <a:lnTo>
                      <a:pt x="95" y="1334"/>
                    </a:lnTo>
                    <a:lnTo>
                      <a:pt x="137" y="1239"/>
                    </a:lnTo>
                    <a:lnTo>
                      <a:pt x="187" y="1143"/>
                    </a:lnTo>
                    <a:lnTo>
                      <a:pt x="243" y="1048"/>
                    </a:lnTo>
                    <a:lnTo>
                      <a:pt x="300" y="959"/>
                    </a:lnTo>
                    <a:lnTo>
                      <a:pt x="358" y="874"/>
                    </a:lnTo>
                    <a:lnTo>
                      <a:pt x="418" y="795"/>
                    </a:lnTo>
                    <a:lnTo>
                      <a:pt x="478" y="721"/>
                    </a:lnTo>
                    <a:lnTo>
                      <a:pt x="538" y="651"/>
                    </a:lnTo>
                    <a:lnTo>
                      <a:pt x="599" y="587"/>
                    </a:lnTo>
                    <a:lnTo>
                      <a:pt x="659" y="526"/>
                    </a:lnTo>
                    <a:lnTo>
                      <a:pt x="720" y="470"/>
                    </a:lnTo>
                    <a:lnTo>
                      <a:pt x="780" y="418"/>
                    </a:lnTo>
                    <a:lnTo>
                      <a:pt x="840" y="369"/>
                    </a:lnTo>
                    <a:lnTo>
                      <a:pt x="899" y="325"/>
                    </a:lnTo>
                    <a:lnTo>
                      <a:pt x="957" y="285"/>
                    </a:lnTo>
                    <a:lnTo>
                      <a:pt x="1014" y="247"/>
                    </a:lnTo>
                    <a:lnTo>
                      <a:pt x="1070" y="213"/>
                    </a:lnTo>
                    <a:lnTo>
                      <a:pt x="1124" y="182"/>
                    </a:lnTo>
                    <a:lnTo>
                      <a:pt x="1177" y="155"/>
                    </a:lnTo>
                    <a:lnTo>
                      <a:pt x="1227" y="130"/>
                    </a:lnTo>
                    <a:lnTo>
                      <a:pt x="1275" y="107"/>
                    </a:lnTo>
                    <a:lnTo>
                      <a:pt x="1322" y="88"/>
                    </a:lnTo>
                    <a:lnTo>
                      <a:pt x="1365" y="70"/>
                    </a:lnTo>
                    <a:lnTo>
                      <a:pt x="1406" y="56"/>
                    </a:lnTo>
                    <a:lnTo>
                      <a:pt x="1444" y="43"/>
                    </a:lnTo>
                    <a:lnTo>
                      <a:pt x="1479" y="32"/>
                    </a:lnTo>
                    <a:lnTo>
                      <a:pt x="1510" y="24"/>
                    </a:lnTo>
                    <a:lnTo>
                      <a:pt x="1538" y="16"/>
                    </a:lnTo>
                    <a:lnTo>
                      <a:pt x="1562" y="11"/>
                    </a:lnTo>
                    <a:lnTo>
                      <a:pt x="1583" y="6"/>
                    </a:lnTo>
                    <a:lnTo>
                      <a:pt x="1611" y="1"/>
                    </a:lnTo>
                    <a:lnTo>
                      <a:pt x="1620" y="0"/>
                    </a:lnTo>
                    <a:lnTo>
                      <a:pt x="1616" y="8"/>
                    </a:lnTo>
                    <a:lnTo>
                      <a:pt x="1604" y="30"/>
                    </a:lnTo>
                    <a:lnTo>
                      <a:pt x="1588" y="66"/>
                    </a:lnTo>
                    <a:lnTo>
                      <a:pt x="1567" y="114"/>
                    </a:lnTo>
                    <a:lnTo>
                      <a:pt x="1555" y="143"/>
                    </a:lnTo>
                    <a:lnTo>
                      <a:pt x="1543" y="174"/>
                    </a:lnTo>
                    <a:lnTo>
                      <a:pt x="1530" y="208"/>
                    </a:lnTo>
                    <a:lnTo>
                      <a:pt x="1517" y="243"/>
                    </a:lnTo>
                    <a:lnTo>
                      <a:pt x="1504" y="282"/>
                    </a:lnTo>
                    <a:lnTo>
                      <a:pt x="1491" y="324"/>
                    </a:lnTo>
                    <a:lnTo>
                      <a:pt x="1478" y="367"/>
                    </a:lnTo>
                    <a:lnTo>
                      <a:pt x="1466" y="411"/>
                    </a:lnTo>
                    <a:lnTo>
                      <a:pt x="1455" y="458"/>
                    </a:lnTo>
                    <a:lnTo>
                      <a:pt x="1444" y="506"/>
                    </a:lnTo>
                    <a:lnTo>
                      <a:pt x="1434" y="556"/>
                    </a:lnTo>
                    <a:lnTo>
                      <a:pt x="1426" y="608"/>
                    </a:lnTo>
                    <a:lnTo>
                      <a:pt x="1418" y="660"/>
                    </a:lnTo>
                    <a:lnTo>
                      <a:pt x="1413" y="714"/>
                    </a:lnTo>
                    <a:lnTo>
                      <a:pt x="1408" y="769"/>
                    </a:lnTo>
                    <a:lnTo>
                      <a:pt x="1406" y="825"/>
                    </a:lnTo>
                    <a:lnTo>
                      <a:pt x="1406" y="881"/>
                    </a:lnTo>
                    <a:lnTo>
                      <a:pt x="1407" y="938"/>
                    </a:lnTo>
                    <a:lnTo>
                      <a:pt x="1412" y="997"/>
                    </a:lnTo>
                    <a:lnTo>
                      <a:pt x="1419" y="1054"/>
                    </a:lnTo>
                    <a:lnTo>
                      <a:pt x="1429" y="1113"/>
                    </a:lnTo>
                    <a:lnTo>
                      <a:pt x="1441" y="1171"/>
                    </a:lnTo>
                    <a:lnTo>
                      <a:pt x="1456" y="1229"/>
                    </a:lnTo>
                    <a:lnTo>
                      <a:pt x="1476" y="1288"/>
                    </a:lnTo>
                    <a:lnTo>
                      <a:pt x="1515" y="1398"/>
                    </a:lnTo>
                    <a:lnTo>
                      <a:pt x="1551" y="1501"/>
                    </a:lnTo>
                    <a:lnTo>
                      <a:pt x="1585" y="1595"/>
                    </a:lnTo>
                    <a:lnTo>
                      <a:pt x="1614" y="1682"/>
                    </a:lnTo>
                    <a:lnTo>
                      <a:pt x="1628" y="1723"/>
                    </a:lnTo>
                    <a:lnTo>
                      <a:pt x="1640" y="1763"/>
                    </a:lnTo>
                    <a:lnTo>
                      <a:pt x="1651" y="1802"/>
                    </a:lnTo>
                    <a:lnTo>
                      <a:pt x="1662" y="1840"/>
                    </a:lnTo>
                    <a:lnTo>
                      <a:pt x="1670" y="1877"/>
                    </a:lnTo>
                    <a:lnTo>
                      <a:pt x="1678" y="1912"/>
                    </a:lnTo>
                    <a:lnTo>
                      <a:pt x="1684" y="1948"/>
                    </a:lnTo>
                    <a:lnTo>
                      <a:pt x="1690" y="1983"/>
                    </a:lnTo>
                    <a:lnTo>
                      <a:pt x="1693" y="2017"/>
                    </a:lnTo>
                    <a:lnTo>
                      <a:pt x="1695" y="2051"/>
                    </a:lnTo>
                    <a:lnTo>
                      <a:pt x="1696" y="2084"/>
                    </a:lnTo>
                    <a:lnTo>
                      <a:pt x="1695" y="2119"/>
                    </a:lnTo>
                    <a:lnTo>
                      <a:pt x="1693" y="2153"/>
                    </a:lnTo>
                    <a:lnTo>
                      <a:pt x="1689" y="2187"/>
                    </a:lnTo>
                    <a:lnTo>
                      <a:pt x="1683" y="2222"/>
                    </a:lnTo>
                    <a:lnTo>
                      <a:pt x="1676" y="2258"/>
                    </a:lnTo>
                    <a:lnTo>
                      <a:pt x="1666" y="2293"/>
                    </a:lnTo>
                    <a:lnTo>
                      <a:pt x="1655" y="2330"/>
                    </a:lnTo>
                    <a:lnTo>
                      <a:pt x="1642" y="2368"/>
                    </a:lnTo>
                    <a:lnTo>
                      <a:pt x="1627" y="2407"/>
                    </a:lnTo>
                    <a:lnTo>
                      <a:pt x="1611" y="2447"/>
                    </a:lnTo>
                    <a:lnTo>
                      <a:pt x="1591" y="2488"/>
                    </a:lnTo>
                    <a:lnTo>
                      <a:pt x="1571" y="2530"/>
                    </a:lnTo>
                    <a:lnTo>
                      <a:pt x="1547" y="2575"/>
                    </a:lnTo>
                    <a:lnTo>
                      <a:pt x="1522" y="2619"/>
                    </a:lnTo>
                    <a:lnTo>
                      <a:pt x="1494" y="2659"/>
                    </a:lnTo>
                    <a:lnTo>
                      <a:pt x="1464" y="2698"/>
                    </a:lnTo>
                    <a:lnTo>
                      <a:pt x="1432" y="2733"/>
                    </a:lnTo>
                    <a:lnTo>
                      <a:pt x="1398" y="2765"/>
                    </a:lnTo>
                    <a:lnTo>
                      <a:pt x="1362" y="2795"/>
                    </a:lnTo>
                    <a:lnTo>
                      <a:pt x="1325" y="2824"/>
                    </a:lnTo>
                    <a:lnTo>
                      <a:pt x="1287" y="2849"/>
                    </a:lnTo>
                    <a:lnTo>
                      <a:pt x="1248" y="2872"/>
                    </a:lnTo>
                    <a:lnTo>
                      <a:pt x="1208" y="2894"/>
                    </a:lnTo>
                    <a:lnTo>
                      <a:pt x="1168" y="2912"/>
                    </a:lnTo>
                    <a:lnTo>
                      <a:pt x="1127" y="2930"/>
                    </a:lnTo>
                    <a:lnTo>
                      <a:pt x="1086" y="2945"/>
                    </a:lnTo>
                    <a:lnTo>
                      <a:pt x="1046" y="2959"/>
                    </a:lnTo>
                    <a:lnTo>
                      <a:pt x="1005" y="2971"/>
                    </a:lnTo>
                    <a:lnTo>
                      <a:pt x="966" y="2982"/>
                    </a:lnTo>
                    <a:lnTo>
                      <a:pt x="927" y="2990"/>
                    </a:lnTo>
                    <a:lnTo>
                      <a:pt x="888" y="2998"/>
                    </a:lnTo>
                    <a:lnTo>
                      <a:pt x="851" y="3004"/>
                    </a:lnTo>
                    <a:lnTo>
                      <a:pt x="815" y="3010"/>
                    </a:lnTo>
                    <a:lnTo>
                      <a:pt x="782" y="3015"/>
                    </a:lnTo>
                    <a:lnTo>
                      <a:pt x="750" y="3018"/>
                    </a:lnTo>
                    <a:lnTo>
                      <a:pt x="720" y="3020"/>
                    </a:lnTo>
                    <a:lnTo>
                      <a:pt x="692" y="3023"/>
                    </a:lnTo>
                    <a:lnTo>
                      <a:pt x="644" y="3025"/>
                    </a:lnTo>
                    <a:lnTo>
                      <a:pt x="607" y="3026"/>
                    </a:lnTo>
                    <a:lnTo>
                      <a:pt x="585" y="3026"/>
                    </a:lnTo>
                    <a:lnTo>
                      <a:pt x="576" y="3025"/>
                    </a:lnTo>
                    <a:close/>
                  </a:path>
                </a:pathLst>
              </a:custGeom>
              <a:gradFill>
                <a:gsLst>
                  <a:gs pos="0">
                    <a:schemeClr val="accent2">
                      <a:lumMod val="75000"/>
                    </a:schemeClr>
                  </a:gs>
                  <a:gs pos="100000">
                    <a:schemeClr val="accent2"/>
                  </a:gs>
                </a:gsLst>
                <a:lin ang="5400000" scaled="1"/>
              </a:gradFill>
              <a:ln>
                <a:noFill/>
              </a:ln>
              <a:effectLst>
                <a:outerShdw blurRad="444500" dist="190500" dir="2700000" sx="95000" sy="95000" algn="tl" rotWithShape="0">
                  <a:prstClr val="black">
                    <a:alpha val="23000"/>
                  </a:prstClr>
                </a:outerShdw>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8" name="Freeform 10">
                <a:extLst>
                  <a:ext uri="{FF2B5EF4-FFF2-40B4-BE49-F238E27FC236}">
                    <a16:creationId xmlns:a16="http://schemas.microsoft.com/office/drawing/2014/main" id="{BF22BE8E-CDA0-4C00-B51D-07776ED3E508}"/>
                  </a:ext>
                </a:extLst>
              </p:cNvPr>
              <p:cNvSpPr>
                <a:spLocks/>
              </p:cNvSpPr>
              <p:nvPr/>
            </p:nvSpPr>
            <p:spPr bwMode="auto">
              <a:xfrm rot="2700000">
                <a:off x="2365571" y="5209717"/>
                <a:ext cx="1477195" cy="1449840"/>
              </a:xfrm>
              <a:custGeom>
                <a:avLst/>
                <a:gdLst>
                  <a:gd name="T0" fmla="*/ 526 w 3239"/>
                  <a:gd name="T1" fmla="*/ 3044 h 3179"/>
                  <a:gd name="T2" fmla="*/ 438 w 3239"/>
                  <a:gd name="T3" fmla="*/ 2994 h 3179"/>
                  <a:gd name="T4" fmla="*/ 308 w 3239"/>
                  <a:gd name="T5" fmla="*/ 2911 h 3179"/>
                  <a:gd name="T6" fmla="*/ 203 w 3239"/>
                  <a:gd name="T7" fmla="*/ 2823 h 3179"/>
                  <a:gd name="T8" fmla="*/ 107 w 3239"/>
                  <a:gd name="T9" fmla="*/ 2713 h 3179"/>
                  <a:gd name="T10" fmla="*/ 35 w 3239"/>
                  <a:gd name="T11" fmla="*/ 2578 h 3179"/>
                  <a:gd name="T12" fmla="*/ 1 w 3239"/>
                  <a:gd name="T13" fmla="*/ 2418 h 3179"/>
                  <a:gd name="T14" fmla="*/ 18 w 3239"/>
                  <a:gd name="T15" fmla="*/ 2230 h 3179"/>
                  <a:gd name="T16" fmla="*/ 102 w 3239"/>
                  <a:gd name="T17" fmla="*/ 2012 h 3179"/>
                  <a:gd name="T18" fmla="*/ 267 w 3239"/>
                  <a:gd name="T19" fmla="*/ 1764 h 3179"/>
                  <a:gd name="T20" fmla="*/ 504 w 3239"/>
                  <a:gd name="T21" fmla="*/ 1504 h 3179"/>
                  <a:gd name="T22" fmla="*/ 748 w 3239"/>
                  <a:gd name="T23" fmla="*/ 1300 h 3179"/>
                  <a:gd name="T24" fmla="*/ 989 w 3239"/>
                  <a:gd name="T25" fmla="*/ 1149 h 3179"/>
                  <a:gd name="T26" fmla="*/ 1225 w 3239"/>
                  <a:gd name="T27" fmla="*/ 1040 h 3179"/>
                  <a:gd name="T28" fmla="*/ 1453 w 3239"/>
                  <a:gd name="T29" fmla="*/ 963 h 3179"/>
                  <a:gd name="T30" fmla="*/ 1672 w 3239"/>
                  <a:gd name="T31" fmla="*/ 906 h 3179"/>
                  <a:gd name="T32" fmla="*/ 1878 w 3239"/>
                  <a:gd name="T33" fmla="*/ 863 h 3179"/>
                  <a:gd name="T34" fmla="*/ 2068 w 3239"/>
                  <a:gd name="T35" fmla="*/ 821 h 3179"/>
                  <a:gd name="T36" fmla="*/ 2239 w 3239"/>
                  <a:gd name="T37" fmla="*/ 770 h 3179"/>
                  <a:gd name="T38" fmla="*/ 2390 w 3239"/>
                  <a:gd name="T39" fmla="*/ 701 h 3179"/>
                  <a:gd name="T40" fmla="*/ 2515 w 3239"/>
                  <a:gd name="T41" fmla="*/ 602 h 3179"/>
                  <a:gd name="T42" fmla="*/ 2618 w 3239"/>
                  <a:gd name="T43" fmla="*/ 493 h 3179"/>
                  <a:gd name="T44" fmla="*/ 2701 w 3239"/>
                  <a:gd name="T45" fmla="*/ 395 h 3179"/>
                  <a:gd name="T46" fmla="*/ 2766 w 3239"/>
                  <a:gd name="T47" fmla="*/ 308 h 3179"/>
                  <a:gd name="T48" fmla="*/ 2817 w 3239"/>
                  <a:gd name="T49" fmla="*/ 231 h 3179"/>
                  <a:gd name="T50" fmla="*/ 2854 w 3239"/>
                  <a:gd name="T51" fmla="*/ 166 h 3179"/>
                  <a:gd name="T52" fmla="*/ 2891 w 3239"/>
                  <a:gd name="T53" fmla="*/ 82 h 3179"/>
                  <a:gd name="T54" fmla="*/ 2909 w 3239"/>
                  <a:gd name="T55" fmla="*/ 8 h 3179"/>
                  <a:gd name="T56" fmla="*/ 2933 w 3239"/>
                  <a:gd name="T57" fmla="*/ 38 h 3179"/>
                  <a:gd name="T58" fmla="*/ 3011 w 3239"/>
                  <a:gd name="T59" fmla="*/ 188 h 3179"/>
                  <a:gd name="T60" fmla="*/ 3069 w 3239"/>
                  <a:gd name="T61" fmla="*/ 325 h 3179"/>
                  <a:gd name="T62" fmla="*/ 3129 w 3239"/>
                  <a:gd name="T63" fmla="*/ 492 h 3179"/>
                  <a:gd name="T64" fmla="*/ 3182 w 3239"/>
                  <a:gd name="T65" fmla="*/ 686 h 3179"/>
                  <a:gd name="T66" fmla="*/ 3221 w 3239"/>
                  <a:gd name="T67" fmla="*/ 901 h 3179"/>
                  <a:gd name="T68" fmla="*/ 3239 w 3239"/>
                  <a:gd name="T69" fmla="*/ 1137 h 3179"/>
                  <a:gd name="T70" fmla="*/ 3229 w 3239"/>
                  <a:gd name="T71" fmla="*/ 1387 h 3179"/>
                  <a:gd name="T72" fmla="*/ 3182 w 3239"/>
                  <a:gd name="T73" fmla="*/ 1648 h 3179"/>
                  <a:gd name="T74" fmla="*/ 3093 w 3239"/>
                  <a:gd name="T75" fmla="*/ 1914 h 3179"/>
                  <a:gd name="T76" fmla="*/ 2986 w 3239"/>
                  <a:gd name="T77" fmla="*/ 2155 h 3179"/>
                  <a:gd name="T78" fmla="*/ 2866 w 3239"/>
                  <a:gd name="T79" fmla="*/ 2365 h 3179"/>
                  <a:gd name="T80" fmla="*/ 2735 w 3239"/>
                  <a:gd name="T81" fmla="*/ 2545 h 3179"/>
                  <a:gd name="T82" fmla="*/ 2592 w 3239"/>
                  <a:gd name="T83" fmla="*/ 2699 h 3179"/>
                  <a:gd name="T84" fmla="*/ 2438 w 3239"/>
                  <a:gd name="T85" fmla="*/ 2825 h 3179"/>
                  <a:gd name="T86" fmla="*/ 2275 w 3239"/>
                  <a:gd name="T87" fmla="*/ 2930 h 3179"/>
                  <a:gd name="T88" fmla="*/ 2102 w 3239"/>
                  <a:gd name="T89" fmla="*/ 3012 h 3179"/>
                  <a:gd name="T90" fmla="*/ 1920 w 3239"/>
                  <a:gd name="T91" fmla="*/ 3076 h 3179"/>
                  <a:gd name="T92" fmla="*/ 1728 w 3239"/>
                  <a:gd name="T93" fmla="*/ 3123 h 3179"/>
                  <a:gd name="T94" fmla="*/ 1529 w 3239"/>
                  <a:gd name="T95" fmla="*/ 3154 h 3179"/>
                  <a:gd name="T96" fmla="*/ 1330 w 3239"/>
                  <a:gd name="T97" fmla="*/ 3173 h 3179"/>
                  <a:gd name="T98" fmla="*/ 1157 w 3239"/>
                  <a:gd name="T99" fmla="*/ 3179 h 3179"/>
                  <a:gd name="T100" fmla="*/ 1008 w 3239"/>
                  <a:gd name="T101" fmla="*/ 3176 h 3179"/>
                  <a:gd name="T102" fmla="*/ 885 w 3239"/>
                  <a:gd name="T103" fmla="*/ 3165 h 3179"/>
                  <a:gd name="T104" fmla="*/ 783 w 3239"/>
                  <a:gd name="T105" fmla="*/ 3149 h 3179"/>
                  <a:gd name="T106" fmla="*/ 703 w 3239"/>
                  <a:gd name="T107" fmla="*/ 3129 h 3179"/>
                  <a:gd name="T108" fmla="*/ 640 w 3239"/>
                  <a:gd name="T109" fmla="*/ 3109 h 3179"/>
                  <a:gd name="T110" fmla="*/ 566 w 3239"/>
                  <a:gd name="T111" fmla="*/ 3073 h 3179"/>
                  <a:gd name="T112" fmla="*/ 543 w 3239"/>
                  <a:gd name="T113" fmla="*/ 3057 h 3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239" h="3179">
                    <a:moveTo>
                      <a:pt x="543" y="3057"/>
                    </a:moveTo>
                    <a:lnTo>
                      <a:pt x="538" y="3051"/>
                    </a:lnTo>
                    <a:lnTo>
                      <a:pt x="526" y="3044"/>
                    </a:lnTo>
                    <a:lnTo>
                      <a:pt x="510" y="3034"/>
                    </a:lnTo>
                    <a:lnTo>
                      <a:pt x="490" y="3022"/>
                    </a:lnTo>
                    <a:lnTo>
                      <a:pt x="438" y="2994"/>
                    </a:lnTo>
                    <a:lnTo>
                      <a:pt x="376" y="2956"/>
                    </a:lnTo>
                    <a:lnTo>
                      <a:pt x="343" y="2935"/>
                    </a:lnTo>
                    <a:lnTo>
                      <a:pt x="308" y="2911"/>
                    </a:lnTo>
                    <a:lnTo>
                      <a:pt x="273" y="2884"/>
                    </a:lnTo>
                    <a:lnTo>
                      <a:pt x="238" y="2854"/>
                    </a:lnTo>
                    <a:lnTo>
                      <a:pt x="203" y="2823"/>
                    </a:lnTo>
                    <a:lnTo>
                      <a:pt x="169" y="2789"/>
                    </a:lnTo>
                    <a:lnTo>
                      <a:pt x="137" y="2753"/>
                    </a:lnTo>
                    <a:lnTo>
                      <a:pt x="107" y="2713"/>
                    </a:lnTo>
                    <a:lnTo>
                      <a:pt x="80" y="2672"/>
                    </a:lnTo>
                    <a:lnTo>
                      <a:pt x="56" y="2626"/>
                    </a:lnTo>
                    <a:lnTo>
                      <a:pt x="35" y="2578"/>
                    </a:lnTo>
                    <a:lnTo>
                      <a:pt x="18" y="2529"/>
                    </a:lnTo>
                    <a:lnTo>
                      <a:pt x="7" y="2475"/>
                    </a:lnTo>
                    <a:lnTo>
                      <a:pt x="1" y="2418"/>
                    </a:lnTo>
                    <a:lnTo>
                      <a:pt x="0" y="2359"/>
                    </a:lnTo>
                    <a:lnTo>
                      <a:pt x="5" y="2296"/>
                    </a:lnTo>
                    <a:lnTo>
                      <a:pt x="18" y="2230"/>
                    </a:lnTo>
                    <a:lnTo>
                      <a:pt x="38" y="2161"/>
                    </a:lnTo>
                    <a:lnTo>
                      <a:pt x="66" y="2088"/>
                    </a:lnTo>
                    <a:lnTo>
                      <a:pt x="102" y="2012"/>
                    </a:lnTo>
                    <a:lnTo>
                      <a:pt x="148" y="1932"/>
                    </a:lnTo>
                    <a:lnTo>
                      <a:pt x="202" y="1850"/>
                    </a:lnTo>
                    <a:lnTo>
                      <a:pt x="267" y="1764"/>
                    </a:lnTo>
                    <a:lnTo>
                      <a:pt x="343" y="1673"/>
                    </a:lnTo>
                    <a:lnTo>
                      <a:pt x="423" y="1585"/>
                    </a:lnTo>
                    <a:lnTo>
                      <a:pt x="504" y="1504"/>
                    </a:lnTo>
                    <a:lnTo>
                      <a:pt x="585" y="1429"/>
                    </a:lnTo>
                    <a:lnTo>
                      <a:pt x="666" y="1362"/>
                    </a:lnTo>
                    <a:lnTo>
                      <a:pt x="748" y="1300"/>
                    </a:lnTo>
                    <a:lnTo>
                      <a:pt x="828" y="1245"/>
                    </a:lnTo>
                    <a:lnTo>
                      <a:pt x="909" y="1194"/>
                    </a:lnTo>
                    <a:lnTo>
                      <a:pt x="989" y="1149"/>
                    </a:lnTo>
                    <a:lnTo>
                      <a:pt x="1068" y="1109"/>
                    </a:lnTo>
                    <a:lnTo>
                      <a:pt x="1147" y="1072"/>
                    </a:lnTo>
                    <a:lnTo>
                      <a:pt x="1225" y="1040"/>
                    </a:lnTo>
                    <a:lnTo>
                      <a:pt x="1302" y="1011"/>
                    </a:lnTo>
                    <a:lnTo>
                      <a:pt x="1379" y="985"/>
                    </a:lnTo>
                    <a:lnTo>
                      <a:pt x="1453" y="963"/>
                    </a:lnTo>
                    <a:lnTo>
                      <a:pt x="1528" y="942"/>
                    </a:lnTo>
                    <a:lnTo>
                      <a:pt x="1601" y="924"/>
                    </a:lnTo>
                    <a:lnTo>
                      <a:pt x="1672" y="906"/>
                    </a:lnTo>
                    <a:lnTo>
                      <a:pt x="1742" y="891"/>
                    </a:lnTo>
                    <a:lnTo>
                      <a:pt x="1811" y="877"/>
                    </a:lnTo>
                    <a:lnTo>
                      <a:pt x="1878" y="863"/>
                    </a:lnTo>
                    <a:lnTo>
                      <a:pt x="1943" y="849"/>
                    </a:lnTo>
                    <a:lnTo>
                      <a:pt x="2006" y="835"/>
                    </a:lnTo>
                    <a:lnTo>
                      <a:pt x="2068" y="821"/>
                    </a:lnTo>
                    <a:lnTo>
                      <a:pt x="2127" y="805"/>
                    </a:lnTo>
                    <a:lnTo>
                      <a:pt x="2184" y="788"/>
                    </a:lnTo>
                    <a:lnTo>
                      <a:pt x="2239" y="770"/>
                    </a:lnTo>
                    <a:lnTo>
                      <a:pt x="2291" y="749"/>
                    </a:lnTo>
                    <a:lnTo>
                      <a:pt x="2342" y="727"/>
                    </a:lnTo>
                    <a:lnTo>
                      <a:pt x="2390" y="701"/>
                    </a:lnTo>
                    <a:lnTo>
                      <a:pt x="2434" y="672"/>
                    </a:lnTo>
                    <a:lnTo>
                      <a:pt x="2476" y="639"/>
                    </a:lnTo>
                    <a:lnTo>
                      <a:pt x="2515" y="602"/>
                    </a:lnTo>
                    <a:lnTo>
                      <a:pt x="2552" y="564"/>
                    </a:lnTo>
                    <a:lnTo>
                      <a:pt x="2586" y="529"/>
                    </a:lnTo>
                    <a:lnTo>
                      <a:pt x="2618" y="493"/>
                    </a:lnTo>
                    <a:lnTo>
                      <a:pt x="2647" y="459"/>
                    </a:lnTo>
                    <a:lnTo>
                      <a:pt x="2675" y="426"/>
                    </a:lnTo>
                    <a:lnTo>
                      <a:pt x="2701" y="395"/>
                    </a:lnTo>
                    <a:lnTo>
                      <a:pt x="2725" y="364"/>
                    </a:lnTo>
                    <a:lnTo>
                      <a:pt x="2747" y="335"/>
                    </a:lnTo>
                    <a:lnTo>
                      <a:pt x="2766" y="308"/>
                    </a:lnTo>
                    <a:lnTo>
                      <a:pt x="2785" y="281"/>
                    </a:lnTo>
                    <a:lnTo>
                      <a:pt x="2802" y="256"/>
                    </a:lnTo>
                    <a:lnTo>
                      <a:pt x="2817" y="231"/>
                    </a:lnTo>
                    <a:lnTo>
                      <a:pt x="2830" y="208"/>
                    </a:lnTo>
                    <a:lnTo>
                      <a:pt x="2843" y="187"/>
                    </a:lnTo>
                    <a:lnTo>
                      <a:pt x="2854" y="166"/>
                    </a:lnTo>
                    <a:lnTo>
                      <a:pt x="2864" y="147"/>
                    </a:lnTo>
                    <a:lnTo>
                      <a:pt x="2879" y="112"/>
                    </a:lnTo>
                    <a:lnTo>
                      <a:pt x="2891" y="82"/>
                    </a:lnTo>
                    <a:lnTo>
                      <a:pt x="2900" y="57"/>
                    </a:lnTo>
                    <a:lnTo>
                      <a:pt x="2905" y="36"/>
                    </a:lnTo>
                    <a:lnTo>
                      <a:pt x="2909" y="8"/>
                    </a:lnTo>
                    <a:lnTo>
                      <a:pt x="2909" y="0"/>
                    </a:lnTo>
                    <a:lnTo>
                      <a:pt x="2916" y="9"/>
                    </a:lnTo>
                    <a:lnTo>
                      <a:pt x="2933" y="38"/>
                    </a:lnTo>
                    <a:lnTo>
                      <a:pt x="2959" y="86"/>
                    </a:lnTo>
                    <a:lnTo>
                      <a:pt x="2993" y="150"/>
                    </a:lnTo>
                    <a:lnTo>
                      <a:pt x="3011" y="188"/>
                    </a:lnTo>
                    <a:lnTo>
                      <a:pt x="3029" y="230"/>
                    </a:lnTo>
                    <a:lnTo>
                      <a:pt x="3050" y="275"/>
                    </a:lnTo>
                    <a:lnTo>
                      <a:pt x="3069" y="325"/>
                    </a:lnTo>
                    <a:lnTo>
                      <a:pt x="3090" y="377"/>
                    </a:lnTo>
                    <a:lnTo>
                      <a:pt x="3110" y="432"/>
                    </a:lnTo>
                    <a:lnTo>
                      <a:pt x="3129" y="492"/>
                    </a:lnTo>
                    <a:lnTo>
                      <a:pt x="3149" y="554"/>
                    </a:lnTo>
                    <a:lnTo>
                      <a:pt x="3166" y="619"/>
                    </a:lnTo>
                    <a:lnTo>
                      <a:pt x="3182" y="686"/>
                    </a:lnTo>
                    <a:lnTo>
                      <a:pt x="3197" y="755"/>
                    </a:lnTo>
                    <a:lnTo>
                      <a:pt x="3210" y="827"/>
                    </a:lnTo>
                    <a:lnTo>
                      <a:pt x="3221" y="901"/>
                    </a:lnTo>
                    <a:lnTo>
                      <a:pt x="3230" y="978"/>
                    </a:lnTo>
                    <a:lnTo>
                      <a:pt x="3236" y="1056"/>
                    </a:lnTo>
                    <a:lnTo>
                      <a:pt x="3239" y="1137"/>
                    </a:lnTo>
                    <a:lnTo>
                      <a:pt x="3239" y="1218"/>
                    </a:lnTo>
                    <a:lnTo>
                      <a:pt x="3235" y="1301"/>
                    </a:lnTo>
                    <a:lnTo>
                      <a:pt x="3229" y="1387"/>
                    </a:lnTo>
                    <a:lnTo>
                      <a:pt x="3217" y="1472"/>
                    </a:lnTo>
                    <a:lnTo>
                      <a:pt x="3202" y="1559"/>
                    </a:lnTo>
                    <a:lnTo>
                      <a:pt x="3182" y="1648"/>
                    </a:lnTo>
                    <a:lnTo>
                      <a:pt x="3157" y="1736"/>
                    </a:lnTo>
                    <a:lnTo>
                      <a:pt x="3127" y="1826"/>
                    </a:lnTo>
                    <a:lnTo>
                      <a:pt x="3093" y="1914"/>
                    </a:lnTo>
                    <a:lnTo>
                      <a:pt x="3060" y="1998"/>
                    </a:lnTo>
                    <a:lnTo>
                      <a:pt x="3023" y="2078"/>
                    </a:lnTo>
                    <a:lnTo>
                      <a:pt x="2986" y="2155"/>
                    </a:lnTo>
                    <a:lnTo>
                      <a:pt x="2947" y="2229"/>
                    </a:lnTo>
                    <a:lnTo>
                      <a:pt x="2907" y="2298"/>
                    </a:lnTo>
                    <a:lnTo>
                      <a:pt x="2866" y="2365"/>
                    </a:lnTo>
                    <a:lnTo>
                      <a:pt x="2824" y="2428"/>
                    </a:lnTo>
                    <a:lnTo>
                      <a:pt x="2779" y="2489"/>
                    </a:lnTo>
                    <a:lnTo>
                      <a:pt x="2735" y="2545"/>
                    </a:lnTo>
                    <a:lnTo>
                      <a:pt x="2688" y="2599"/>
                    </a:lnTo>
                    <a:lnTo>
                      <a:pt x="2641" y="2650"/>
                    </a:lnTo>
                    <a:lnTo>
                      <a:pt x="2592" y="2699"/>
                    </a:lnTo>
                    <a:lnTo>
                      <a:pt x="2542" y="2743"/>
                    </a:lnTo>
                    <a:lnTo>
                      <a:pt x="2491" y="2786"/>
                    </a:lnTo>
                    <a:lnTo>
                      <a:pt x="2438" y="2825"/>
                    </a:lnTo>
                    <a:lnTo>
                      <a:pt x="2385" y="2863"/>
                    </a:lnTo>
                    <a:lnTo>
                      <a:pt x="2331" y="2898"/>
                    </a:lnTo>
                    <a:lnTo>
                      <a:pt x="2275" y="2930"/>
                    </a:lnTo>
                    <a:lnTo>
                      <a:pt x="2219" y="2959"/>
                    </a:lnTo>
                    <a:lnTo>
                      <a:pt x="2161" y="2988"/>
                    </a:lnTo>
                    <a:lnTo>
                      <a:pt x="2102" y="3012"/>
                    </a:lnTo>
                    <a:lnTo>
                      <a:pt x="2042" y="3036"/>
                    </a:lnTo>
                    <a:lnTo>
                      <a:pt x="1982" y="3057"/>
                    </a:lnTo>
                    <a:lnTo>
                      <a:pt x="1920" y="3076"/>
                    </a:lnTo>
                    <a:lnTo>
                      <a:pt x="1857" y="3094"/>
                    </a:lnTo>
                    <a:lnTo>
                      <a:pt x="1793" y="3109"/>
                    </a:lnTo>
                    <a:lnTo>
                      <a:pt x="1728" y="3123"/>
                    </a:lnTo>
                    <a:lnTo>
                      <a:pt x="1663" y="3135"/>
                    </a:lnTo>
                    <a:lnTo>
                      <a:pt x="1596" y="3146"/>
                    </a:lnTo>
                    <a:lnTo>
                      <a:pt x="1529" y="3154"/>
                    </a:lnTo>
                    <a:lnTo>
                      <a:pt x="1461" y="3162"/>
                    </a:lnTo>
                    <a:lnTo>
                      <a:pt x="1394" y="3167"/>
                    </a:lnTo>
                    <a:lnTo>
                      <a:pt x="1330" y="3173"/>
                    </a:lnTo>
                    <a:lnTo>
                      <a:pt x="1269" y="3176"/>
                    </a:lnTo>
                    <a:lnTo>
                      <a:pt x="1211" y="3178"/>
                    </a:lnTo>
                    <a:lnTo>
                      <a:pt x="1157" y="3179"/>
                    </a:lnTo>
                    <a:lnTo>
                      <a:pt x="1105" y="3179"/>
                    </a:lnTo>
                    <a:lnTo>
                      <a:pt x="1055" y="3178"/>
                    </a:lnTo>
                    <a:lnTo>
                      <a:pt x="1008" y="3176"/>
                    </a:lnTo>
                    <a:lnTo>
                      <a:pt x="965" y="3173"/>
                    </a:lnTo>
                    <a:lnTo>
                      <a:pt x="924" y="3169"/>
                    </a:lnTo>
                    <a:lnTo>
                      <a:pt x="885" y="3165"/>
                    </a:lnTo>
                    <a:lnTo>
                      <a:pt x="848" y="3161"/>
                    </a:lnTo>
                    <a:lnTo>
                      <a:pt x="815" y="3155"/>
                    </a:lnTo>
                    <a:lnTo>
                      <a:pt x="783" y="3149"/>
                    </a:lnTo>
                    <a:lnTo>
                      <a:pt x="754" y="3143"/>
                    </a:lnTo>
                    <a:lnTo>
                      <a:pt x="727" y="3137"/>
                    </a:lnTo>
                    <a:lnTo>
                      <a:pt x="703" y="3129"/>
                    </a:lnTo>
                    <a:lnTo>
                      <a:pt x="680" y="3123"/>
                    </a:lnTo>
                    <a:lnTo>
                      <a:pt x="660" y="3116"/>
                    </a:lnTo>
                    <a:lnTo>
                      <a:pt x="640" y="3109"/>
                    </a:lnTo>
                    <a:lnTo>
                      <a:pt x="609" y="3096"/>
                    </a:lnTo>
                    <a:lnTo>
                      <a:pt x="584" y="3084"/>
                    </a:lnTo>
                    <a:lnTo>
                      <a:pt x="566" y="3073"/>
                    </a:lnTo>
                    <a:lnTo>
                      <a:pt x="553" y="3064"/>
                    </a:lnTo>
                    <a:lnTo>
                      <a:pt x="545" y="3059"/>
                    </a:lnTo>
                    <a:lnTo>
                      <a:pt x="543" y="3057"/>
                    </a:lnTo>
                    <a:close/>
                  </a:path>
                </a:pathLst>
              </a:custGeom>
              <a:gradFill>
                <a:gsLst>
                  <a:gs pos="0">
                    <a:schemeClr val="accent4">
                      <a:lumMod val="75000"/>
                    </a:schemeClr>
                  </a:gs>
                  <a:gs pos="100000">
                    <a:schemeClr val="accent4"/>
                  </a:gs>
                </a:gsLst>
                <a:lin ang="5400000" scaled="1"/>
              </a:gradFill>
              <a:ln>
                <a:noFill/>
              </a:ln>
              <a:effectLst>
                <a:outerShdw blurRad="444500" dist="190500" dir="2700000" sx="95000" sy="95000" algn="tl" rotWithShape="0">
                  <a:prstClr val="black">
                    <a:alpha val="23000"/>
                  </a:prstClr>
                </a:outerShdw>
              </a:effectLst>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9" name="Freeform 11">
                <a:extLst>
                  <a:ext uri="{FF2B5EF4-FFF2-40B4-BE49-F238E27FC236}">
                    <a16:creationId xmlns:a16="http://schemas.microsoft.com/office/drawing/2014/main" id="{AF0A27FD-CD13-454B-8E67-F02AB57305E0}"/>
                  </a:ext>
                </a:extLst>
              </p:cNvPr>
              <p:cNvSpPr>
                <a:spLocks/>
              </p:cNvSpPr>
              <p:nvPr/>
            </p:nvSpPr>
            <p:spPr bwMode="auto">
              <a:xfrm rot="4852149">
                <a:off x="1985899" y="1861378"/>
                <a:ext cx="1771043" cy="1450704"/>
              </a:xfrm>
              <a:custGeom>
                <a:avLst/>
                <a:gdLst>
                  <a:gd name="T0" fmla="*/ 3467 w 3470"/>
                  <a:gd name="T1" fmla="*/ 2382 h 2844"/>
                  <a:gd name="T2" fmla="*/ 3447 w 3470"/>
                  <a:gd name="T3" fmla="*/ 2305 h 2844"/>
                  <a:gd name="T4" fmla="*/ 3422 w 3470"/>
                  <a:gd name="T5" fmla="*/ 2225 h 2844"/>
                  <a:gd name="T6" fmla="*/ 3386 w 3470"/>
                  <a:gd name="T7" fmla="*/ 2127 h 2844"/>
                  <a:gd name="T8" fmla="*/ 3338 w 3470"/>
                  <a:gd name="T9" fmla="*/ 2015 h 2844"/>
                  <a:gd name="T10" fmla="*/ 3278 w 3470"/>
                  <a:gd name="T11" fmla="*/ 1893 h 2844"/>
                  <a:gd name="T12" fmla="*/ 3203 w 3470"/>
                  <a:gd name="T13" fmla="*/ 1766 h 2844"/>
                  <a:gd name="T14" fmla="*/ 3114 w 3470"/>
                  <a:gd name="T15" fmla="*/ 1638 h 2844"/>
                  <a:gd name="T16" fmla="*/ 3008 w 3470"/>
                  <a:gd name="T17" fmla="*/ 1513 h 2844"/>
                  <a:gd name="T18" fmla="*/ 2885 w 3470"/>
                  <a:gd name="T19" fmla="*/ 1396 h 2844"/>
                  <a:gd name="T20" fmla="*/ 2743 w 3470"/>
                  <a:gd name="T21" fmla="*/ 1291 h 2844"/>
                  <a:gd name="T22" fmla="*/ 2583 w 3470"/>
                  <a:gd name="T23" fmla="*/ 1202 h 2844"/>
                  <a:gd name="T24" fmla="*/ 2401 w 3470"/>
                  <a:gd name="T25" fmla="*/ 1133 h 2844"/>
                  <a:gd name="T26" fmla="*/ 2197 w 3470"/>
                  <a:gd name="T27" fmla="*/ 1089 h 2844"/>
                  <a:gd name="T28" fmla="*/ 1970 w 3470"/>
                  <a:gd name="T29" fmla="*/ 1074 h 2844"/>
                  <a:gd name="T30" fmla="*/ 1725 w 3470"/>
                  <a:gd name="T31" fmla="*/ 1084 h 2844"/>
                  <a:gd name="T32" fmla="*/ 1495 w 3470"/>
                  <a:gd name="T33" fmla="*/ 1074 h 2844"/>
                  <a:gd name="T34" fmla="*/ 1283 w 3470"/>
                  <a:gd name="T35" fmla="*/ 1040 h 2844"/>
                  <a:gd name="T36" fmla="*/ 1090 w 3470"/>
                  <a:gd name="T37" fmla="*/ 985 h 2844"/>
                  <a:gd name="T38" fmla="*/ 915 w 3470"/>
                  <a:gd name="T39" fmla="*/ 913 h 2844"/>
                  <a:gd name="T40" fmla="*/ 758 w 3470"/>
                  <a:gd name="T41" fmla="*/ 827 h 2844"/>
                  <a:gd name="T42" fmla="*/ 617 w 3470"/>
                  <a:gd name="T43" fmla="*/ 731 h 2844"/>
                  <a:gd name="T44" fmla="*/ 494 w 3470"/>
                  <a:gd name="T45" fmla="*/ 628 h 2844"/>
                  <a:gd name="T46" fmla="*/ 385 w 3470"/>
                  <a:gd name="T47" fmla="*/ 523 h 2844"/>
                  <a:gd name="T48" fmla="*/ 293 w 3470"/>
                  <a:gd name="T49" fmla="*/ 418 h 2844"/>
                  <a:gd name="T50" fmla="*/ 215 w 3470"/>
                  <a:gd name="T51" fmla="*/ 317 h 2844"/>
                  <a:gd name="T52" fmla="*/ 153 w 3470"/>
                  <a:gd name="T53" fmla="*/ 224 h 2844"/>
                  <a:gd name="T54" fmla="*/ 103 w 3470"/>
                  <a:gd name="T55" fmla="*/ 143 h 2844"/>
                  <a:gd name="T56" fmla="*/ 66 w 3470"/>
                  <a:gd name="T57" fmla="*/ 77 h 2844"/>
                  <a:gd name="T58" fmla="*/ 35 w 3470"/>
                  <a:gd name="T59" fmla="*/ 13 h 2844"/>
                  <a:gd name="T60" fmla="*/ 26 w 3470"/>
                  <a:gd name="T61" fmla="*/ 21 h 2844"/>
                  <a:gd name="T62" fmla="*/ 15 w 3470"/>
                  <a:gd name="T63" fmla="*/ 120 h 2844"/>
                  <a:gd name="T64" fmla="*/ 6 w 3470"/>
                  <a:gd name="T65" fmla="*/ 228 h 2844"/>
                  <a:gd name="T66" fmla="*/ 1 w 3470"/>
                  <a:gd name="T67" fmla="*/ 362 h 2844"/>
                  <a:gd name="T68" fmla="*/ 0 w 3470"/>
                  <a:gd name="T69" fmla="*/ 520 h 2844"/>
                  <a:gd name="T70" fmla="*/ 6 w 3470"/>
                  <a:gd name="T71" fmla="*/ 696 h 2844"/>
                  <a:gd name="T72" fmla="*/ 24 w 3470"/>
                  <a:gd name="T73" fmla="*/ 888 h 2844"/>
                  <a:gd name="T74" fmla="*/ 54 w 3470"/>
                  <a:gd name="T75" fmla="*/ 1090 h 2844"/>
                  <a:gd name="T76" fmla="*/ 101 w 3470"/>
                  <a:gd name="T77" fmla="*/ 1300 h 2844"/>
                  <a:gd name="T78" fmla="*/ 164 w 3470"/>
                  <a:gd name="T79" fmla="*/ 1512 h 2844"/>
                  <a:gd name="T80" fmla="*/ 250 w 3470"/>
                  <a:gd name="T81" fmla="*/ 1723 h 2844"/>
                  <a:gd name="T82" fmla="*/ 358 w 3470"/>
                  <a:gd name="T83" fmla="*/ 1929 h 2844"/>
                  <a:gd name="T84" fmla="*/ 494 w 3470"/>
                  <a:gd name="T85" fmla="*/ 2124 h 2844"/>
                  <a:gd name="T86" fmla="*/ 657 w 3470"/>
                  <a:gd name="T87" fmla="*/ 2305 h 2844"/>
                  <a:gd name="T88" fmla="*/ 853 w 3470"/>
                  <a:gd name="T89" fmla="*/ 2469 h 2844"/>
                  <a:gd name="T90" fmla="*/ 1078 w 3470"/>
                  <a:gd name="T91" fmla="*/ 2610 h 2844"/>
                  <a:gd name="T92" fmla="*/ 1308 w 3470"/>
                  <a:gd name="T93" fmla="*/ 2715 h 2844"/>
                  <a:gd name="T94" fmla="*/ 1536 w 3470"/>
                  <a:gd name="T95" fmla="*/ 2786 h 2844"/>
                  <a:gd name="T96" fmla="*/ 1760 w 3470"/>
                  <a:gd name="T97" fmla="*/ 2828 h 2844"/>
                  <a:gd name="T98" fmla="*/ 1980 w 3470"/>
                  <a:gd name="T99" fmla="*/ 2844 h 2844"/>
                  <a:gd name="T100" fmla="*/ 2192 w 3470"/>
                  <a:gd name="T101" fmla="*/ 2839 h 2844"/>
                  <a:gd name="T102" fmla="*/ 2394 w 3470"/>
                  <a:gd name="T103" fmla="*/ 2815 h 2844"/>
                  <a:gd name="T104" fmla="*/ 2585 w 3470"/>
                  <a:gd name="T105" fmla="*/ 2777 h 2844"/>
                  <a:gd name="T106" fmla="*/ 2762 w 3470"/>
                  <a:gd name="T107" fmla="*/ 2729 h 2844"/>
                  <a:gd name="T108" fmla="*/ 2925 w 3470"/>
                  <a:gd name="T109" fmla="*/ 2672 h 2844"/>
                  <a:gd name="T110" fmla="*/ 3070 w 3470"/>
                  <a:gd name="T111" fmla="*/ 2614 h 2844"/>
                  <a:gd name="T112" fmla="*/ 3195 w 3470"/>
                  <a:gd name="T113" fmla="*/ 2555 h 2844"/>
                  <a:gd name="T114" fmla="*/ 3300 w 3470"/>
                  <a:gd name="T115" fmla="*/ 2500 h 2844"/>
                  <a:gd name="T116" fmla="*/ 3382 w 3470"/>
                  <a:gd name="T117" fmla="*/ 2454 h 2844"/>
                  <a:gd name="T118" fmla="*/ 3456 w 3470"/>
                  <a:gd name="T119" fmla="*/ 2408 h 28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470" h="2844">
                    <a:moveTo>
                      <a:pt x="3470" y="2397"/>
                    </a:moveTo>
                    <a:lnTo>
                      <a:pt x="3467" y="2382"/>
                    </a:lnTo>
                    <a:lnTo>
                      <a:pt x="3456" y="2337"/>
                    </a:lnTo>
                    <a:lnTo>
                      <a:pt x="3447" y="2305"/>
                    </a:lnTo>
                    <a:lnTo>
                      <a:pt x="3436" y="2268"/>
                    </a:lnTo>
                    <a:lnTo>
                      <a:pt x="3422" y="2225"/>
                    </a:lnTo>
                    <a:lnTo>
                      <a:pt x="3405" y="2178"/>
                    </a:lnTo>
                    <a:lnTo>
                      <a:pt x="3386" y="2127"/>
                    </a:lnTo>
                    <a:lnTo>
                      <a:pt x="3363" y="2073"/>
                    </a:lnTo>
                    <a:lnTo>
                      <a:pt x="3338" y="2015"/>
                    </a:lnTo>
                    <a:lnTo>
                      <a:pt x="3310" y="1955"/>
                    </a:lnTo>
                    <a:lnTo>
                      <a:pt x="3278" y="1893"/>
                    </a:lnTo>
                    <a:lnTo>
                      <a:pt x="3242" y="1830"/>
                    </a:lnTo>
                    <a:lnTo>
                      <a:pt x="3203" y="1766"/>
                    </a:lnTo>
                    <a:lnTo>
                      <a:pt x="3161" y="1702"/>
                    </a:lnTo>
                    <a:lnTo>
                      <a:pt x="3114" y="1638"/>
                    </a:lnTo>
                    <a:lnTo>
                      <a:pt x="3063" y="1575"/>
                    </a:lnTo>
                    <a:lnTo>
                      <a:pt x="3008" y="1513"/>
                    </a:lnTo>
                    <a:lnTo>
                      <a:pt x="2949" y="1454"/>
                    </a:lnTo>
                    <a:lnTo>
                      <a:pt x="2885" y="1396"/>
                    </a:lnTo>
                    <a:lnTo>
                      <a:pt x="2817" y="1342"/>
                    </a:lnTo>
                    <a:lnTo>
                      <a:pt x="2743" y="1291"/>
                    </a:lnTo>
                    <a:lnTo>
                      <a:pt x="2665" y="1244"/>
                    </a:lnTo>
                    <a:lnTo>
                      <a:pt x="2583" y="1202"/>
                    </a:lnTo>
                    <a:lnTo>
                      <a:pt x="2494" y="1165"/>
                    </a:lnTo>
                    <a:lnTo>
                      <a:pt x="2401" y="1133"/>
                    </a:lnTo>
                    <a:lnTo>
                      <a:pt x="2301" y="1107"/>
                    </a:lnTo>
                    <a:lnTo>
                      <a:pt x="2197" y="1089"/>
                    </a:lnTo>
                    <a:lnTo>
                      <a:pt x="2087" y="1077"/>
                    </a:lnTo>
                    <a:lnTo>
                      <a:pt x="1970" y="1074"/>
                    </a:lnTo>
                    <a:lnTo>
                      <a:pt x="1848" y="1078"/>
                    </a:lnTo>
                    <a:lnTo>
                      <a:pt x="1725" y="1084"/>
                    </a:lnTo>
                    <a:lnTo>
                      <a:pt x="1607" y="1083"/>
                    </a:lnTo>
                    <a:lnTo>
                      <a:pt x="1495" y="1074"/>
                    </a:lnTo>
                    <a:lnTo>
                      <a:pt x="1387" y="1060"/>
                    </a:lnTo>
                    <a:lnTo>
                      <a:pt x="1283" y="1040"/>
                    </a:lnTo>
                    <a:lnTo>
                      <a:pt x="1184" y="1015"/>
                    </a:lnTo>
                    <a:lnTo>
                      <a:pt x="1090" y="985"/>
                    </a:lnTo>
                    <a:lnTo>
                      <a:pt x="1000" y="950"/>
                    </a:lnTo>
                    <a:lnTo>
                      <a:pt x="915" y="913"/>
                    </a:lnTo>
                    <a:lnTo>
                      <a:pt x="835" y="871"/>
                    </a:lnTo>
                    <a:lnTo>
                      <a:pt x="758" y="827"/>
                    </a:lnTo>
                    <a:lnTo>
                      <a:pt x="685" y="780"/>
                    </a:lnTo>
                    <a:lnTo>
                      <a:pt x="617" y="731"/>
                    </a:lnTo>
                    <a:lnTo>
                      <a:pt x="553" y="680"/>
                    </a:lnTo>
                    <a:lnTo>
                      <a:pt x="494" y="628"/>
                    </a:lnTo>
                    <a:lnTo>
                      <a:pt x="437" y="576"/>
                    </a:lnTo>
                    <a:lnTo>
                      <a:pt x="385" y="523"/>
                    </a:lnTo>
                    <a:lnTo>
                      <a:pt x="338" y="470"/>
                    </a:lnTo>
                    <a:lnTo>
                      <a:pt x="293" y="418"/>
                    </a:lnTo>
                    <a:lnTo>
                      <a:pt x="252" y="367"/>
                    </a:lnTo>
                    <a:lnTo>
                      <a:pt x="215" y="317"/>
                    </a:lnTo>
                    <a:lnTo>
                      <a:pt x="182" y="270"/>
                    </a:lnTo>
                    <a:lnTo>
                      <a:pt x="153" y="224"/>
                    </a:lnTo>
                    <a:lnTo>
                      <a:pt x="125" y="182"/>
                    </a:lnTo>
                    <a:lnTo>
                      <a:pt x="103" y="143"/>
                    </a:lnTo>
                    <a:lnTo>
                      <a:pt x="82" y="109"/>
                    </a:lnTo>
                    <a:lnTo>
                      <a:pt x="66" y="77"/>
                    </a:lnTo>
                    <a:lnTo>
                      <a:pt x="53" y="51"/>
                    </a:lnTo>
                    <a:lnTo>
                      <a:pt x="35" y="13"/>
                    </a:lnTo>
                    <a:lnTo>
                      <a:pt x="29" y="0"/>
                    </a:lnTo>
                    <a:lnTo>
                      <a:pt x="26" y="21"/>
                    </a:lnTo>
                    <a:lnTo>
                      <a:pt x="19" y="78"/>
                    </a:lnTo>
                    <a:lnTo>
                      <a:pt x="15" y="120"/>
                    </a:lnTo>
                    <a:lnTo>
                      <a:pt x="11" y="170"/>
                    </a:lnTo>
                    <a:lnTo>
                      <a:pt x="6" y="228"/>
                    </a:lnTo>
                    <a:lnTo>
                      <a:pt x="3" y="291"/>
                    </a:lnTo>
                    <a:lnTo>
                      <a:pt x="1" y="362"/>
                    </a:lnTo>
                    <a:lnTo>
                      <a:pt x="0" y="438"/>
                    </a:lnTo>
                    <a:lnTo>
                      <a:pt x="0" y="520"/>
                    </a:lnTo>
                    <a:lnTo>
                      <a:pt x="2" y="605"/>
                    </a:lnTo>
                    <a:lnTo>
                      <a:pt x="6" y="696"/>
                    </a:lnTo>
                    <a:lnTo>
                      <a:pt x="14" y="790"/>
                    </a:lnTo>
                    <a:lnTo>
                      <a:pt x="24" y="888"/>
                    </a:lnTo>
                    <a:lnTo>
                      <a:pt x="38" y="988"/>
                    </a:lnTo>
                    <a:lnTo>
                      <a:pt x="54" y="1090"/>
                    </a:lnTo>
                    <a:lnTo>
                      <a:pt x="75" y="1195"/>
                    </a:lnTo>
                    <a:lnTo>
                      <a:pt x="101" y="1300"/>
                    </a:lnTo>
                    <a:lnTo>
                      <a:pt x="130" y="1406"/>
                    </a:lnTo>
                    <a:lnTo>
                      <a:pt x="164" y="1512"/>
                    </a:lnTo>
                    <a:lnTo>
                      <a:pt x="204" y="1618"/>
                    </a:lnTo>
                    <a:lnTo>
                      <a:pt x="250" y="1723"/>
                    </a:lnTo>
                    <a:lnTo>
                      <a:pt x="301" y="1827"/>
                    </a:lnTo>
                    <a:lnTo>
                      <a:pt x="358" y="1929"/>
                    </a:lnTo>
                    <a:lnTo>
                      <a:pt x="422" y="2027"/>
                    </a:lnTo>
                    <a:lnTo>
                      <a:pt x="494" y="2124"/>
                    </a:lnTo>
                    <a:lnTo>
                      <a:pt x="571" y="2217"/>
                    </a:lnTo>
                    <a:lnTo>
                      <a:pt x="657" y="2305"/>
                    </a:lnTo>
                    <a:lnTo>
                      <a:pt x="751" y="2390"/>
                    </a:lnTo>
                    <a:lnTo>
                      <a:pt x="853" y="2469"/>
                    </a:lnTo>
                    <a:lnTo>
                      <a:pt x="963" y="2544"/>
                    </a:lnTo>
                    <a:lnTo>
                      <a:pt x="1078" y="2610"/>
                    </a:lnTo>
                    <a:lnTo>
                      <a:pt x="1193" y="2666"/>
                    </a:lnTo>
                    <a:lnTo>
                      <a:pt x="1308" y="2715"/>
                    </a:lnTo>
                    <a:lnTo>
                      <a:pt x="1422" y="2755"/>
                    </a:lnTo>
                    <a:lnTo>
                      <a:pt x="1536" y="2786"/>
                    </a:lnTo>
                    <a:lnTo>
                      <a:pt x="1649" y="2811"/>
                    </a:lnTo>
                    <a:lnTo>
                      <a:pt x="1760" y="2828"/>
                    </a:lnTo>
                    <a:lnTo>
                      <a:pt x="1870" y="2840"/>
                    </a:lnTo>
                    <a:lnTo>
                      <a:pt x="1980" y="2844"/>
                    </a:lnTo>
                    <a:lnTo>
                      <a:pt x="2087" y="2844"/>
                    </a:lnTo>
                    <a:lnTo>
                      <a:pt x="2192" y="2839"/>
                    </a:lnTo>
                    <a:lnTo>
                      <a:pt x="2294" y="2829"/>
                    </a:lnTo>
                    <a:lnTo>
                      <a:pt x="2394" y="2815"/>
                    </a:lnTo>
                    <a:lnTo>
                      <a:pt x="2491" y="2798"/>
                    </a:lnTo>
                    <a:lnTo>
                      <a:pt x="2585" y="2777"/>
                    </a:lnTo>
                    <a:lnTo>
                      <a:pt x="2676" y="2755"/>
                    </a:lnTo>
                    <a:lnTo>
                      <a:pt x="2762" y="2729"/>
                    </a:lnTo>
                    <a:lnTo>
                      <a:pt x="2846" y="2702"/>
                    </a:lnTo>
                    <a:lnTo>
                      <a:pt x="2925" y="2672"/>
                    </a:lnTo>
                    <a:lnTo>
                      <a:pt x="3000" y="2643"/>
                    </a:lnTo>
                    <a:lnTo>
                      <a:pt x="3070" y="2614"/>
                    </a:lnTo>
                    <a:lnTo>
                      <a:pt x="3136" y="2584"/>
                    </a:lnTo>
                    <a:lnTo>
                      <a:pt x="3195" y="2555"/>
                    </a:lnTo>
                    <a:lnTo>
                      <a:pt x="3251" y="2527"/>
                    </a:lnTo>
                    <a:lnTo>
                      <a:pt x="3300" y="2500"/>
                    </a:lnTo>
                    <a:lnTo>
                      <a:pt x="3344" y="2476"/>
                    </a:lnTo>
                    <a:lnTo>
                      <a:pt x="3382" y="2454"/>
                    </a:lnTo>
                    <a:lnTo>
                      <a:pt x="3413" y="2435"/>
                    </a:lnTo>
                    <a:lnTo>
                      <a:pt x="3456" y="2408"/>
                    </a:lnTo>
                    <a:lnTo>
                      <a:pt x="3470" y="2397"/>
                    </a:lnTo>
                    <a:close/>
                  </a:path>
                </a:pathLst>
              </a:custGeom>
              <a:gradFill>
                <a:gsLst>
                  <a:gs pos="0">
                    <a:schemeClr val="accent3">
                      <a:lumMod val="75000"/>
                    </a:schemeClr>
                  </a:gs>
                  <a:gs pos="100000">
                    <a:schemeClr val="accent3"/>
                  </a:gs>
                </a:gsLst>
                <a:lin ang="5400000" scaled="1"/>
              </a:gradFill>
              <a:ln>
                <a:noFill/>
              </a:ln>
              <a:effectLst>
                <a:outerShdw blurRad="444500" dist="190500" dir="2700000" sx="95000" sy="95000" algn="tl" rotWithShape="0">
                  <a:prstClr val="black">
                    <a:alpha val="23000"/>
                  </a:prstClr>
                </a:outerShdw>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nvGrpSpPr>
              <p:cNvPr id="10" name="Group 6">
                <a:extLst>
                  <a:ext uri="{FF2B5EF4-FFF2-40B4-BE49-F238E27FC236}">
                    <a16:creationId xmlns:a16="http://schemas.microsoft.com/office/drawing/2014/main" id="{6DF04025-A684-4E00-9936-2FBD7AB0DA67}"/>
                  </a:ext>
                </a:extLst>
              </p:cNvPr>
              <p:cNvGrpSpPr/>
              <p:nvPr/>
            </p:nvGrpSpPr>
            <p:grpSpPr>
              <a:xfrm rot="526467">
                <a:off x="-375002" y="2704445"/>
                <a:ext cx="8407778" cy="3974809"/>
                <a:chOff x="-375002" y="2704445"/>
                <a:chExt cx="8407778" cy="3974809"/>
              </a:xfrm>
              <a:solidFill>
                <a:schemeClr val="tx1">
                  <a:lumMod val="75000"/>
                  <a:lumOff val="25000"/>
                </a:schemeClr>
              </a:solidFill>
              <a:effectLst>
                <a:outerShdw blurRad="635000" dist="127000" dir="2700000" algn="tl" rotWithShape="0">
                  <a:prstClr val="black">
                    <a:alpha val="20000"/>
                  </a:prstClr>
                </a:outerShdw>
              </a:effectLst>
            </p:grpSpPr>
            <p:sp>
              <p:nvSpPr>
                <p:cNvPr id="29" name="Freeform 12">
                  <a:extLst>
                    <a:ext uri="{FF2B5EF4-FFF2-40B4-BE49-F238E27FC236}">
                      <a16:creationId xmlns:a16="http://schemas.microsoft.com/office/drawing/2014/main" id="{0AA2BF2E-0EAC-4C3E-864B-AC79A260CDA4}"/>
                    </a:ext>
                  </a:extLst>
                </p:cNvPr>
                <p:cNvSpPr>
                  <a:spLocks/>
                </p:cNvSpPr>
                <p:nvPr/>
              </p:nvSpPr>
              <p:spPr bwMode="auto">
                <a:xfrm rot="4500000">
                  <a:off x="965642" y="1792553"/>
                  <a:ext cx="3546057" cy="6227346"/>
                </a:xfrm>
                <a:custGeom>
                  <a:avLst/>
                  <a:gdLst>
                    <a:gd name="T0" fmla="*/ 2689 w 5546"/>
                    <a:gd name="T1" fmla="*/ 9135 h 9737"/>
                    <a:gd name="T2" fmla="*/ 2799 w 5546"/>
                    <a:gd name="T3" fmla="*/ 8676 h 9737"/>
                    <a:gd name="T4" fmla="*/ 2867 w 5546"/>
                    <a:gd name="T5" fmla="*/ 8074 h 9737"/>
                    <a:gd name="T6" fmla="*/ 2847 w 5546"/>
                    <a:gd name="T7" fmla="*/ 7343 h 9737"/>
                    <a:gd name="T8" fmla="*/ 2976 w 5546"/>
                    <a:gd name="T9" fmla="*/ 6897 h 9737"/>
                    <a:gd name="T10" fmla="*/ 3484 w 5546"/>
                    <a:gd name="T11" fmla="*/ 6572 h 9737"/>
                    <a:gd name="T12" fmla="*/ 4236 w 5546"/>
                    <a:gd name="T13" fmla="*/ 6028 h 9737"/>
                    <a:gd name="T14" fmla="*/ 4818 w 5546"/>
                    <a:gd name="T15" fmla="*/ 5488 h 9737"/>
                    <a:gd name="T16" fmla="*/ 5215 w 5546"/>
                    <a:gd name="T17" fmla="*/ 5004 h 9737"/>
                    <a:gd name="T18" fmla="*/ 5447 w 5546"/>
                    <a:gd name="T19" fmla="*/ 4640 h 9737"/>
                    <a:gd name="T20" fmla="*/ 5542 w 5546"/>
                    <a:gd name="T21" fmla="*/ 4457 h 9737"/>
                    <a:gd name="T22" fmla="*/ 5399 w 5546"/>
                    <a:gd name="T23" fmla="*/ 4705 h 9737"/>
                    <a:gd name="T24" fmla="*/ 5153 w 5546"/>
                    <a:gd name="T25" fmla="*/ 5021 h 9737"/>
                    <a:gd name="T26" fmla="*/ 4798 w 5546"/>
                    <a:gd name="T27" fmla="*/ 5412 h 9737"/>
                    <a:gd name="T28" fmla="*/ 4324 w 5546"/>
                    <a:gd name="T29" fmla="*/ 5820 h 9737"/>
                    <a:gd name="T30" fmla="*/ 3777 w 5546"/>
                    <a:gd name="T31" fmla="*/ 6209 h 9737"/>
                    <a:gd name="T32" fmla="*/ 3129 w 5546"/>
                    <a:gd name="T33" fmla="*/ 6610 h 9737"/>
                    <a:gd name="T34" fmla="*/ 2705 w 5546"/>
                    <a:gd name="T35" fmla="*/ 6545 h 9737"/>
                    <a:gd name="T36" fmla="*/ 2435 w 5546"/>
                    <a:gd name="T37" fmla="*/ 5712 h 9737"/>
                    <a:gd name="T38" fmla="*/ 1987 w 5546"/>
                    <a:gd name="T39" fmla="*/ 4612 h 9737"/>
                    <a:gd name="T40" fmla="*/ 1504 w 5546"/>
                    <a:gd name="T41" fmla="*/ 3547 h 9737"/>
                    <a:gd name="T42" fmla="*/ 1260 w 5546"/>
                    <a:gd name="T43" fmla="*/ 2879 h 9737"/>
                    <a:gd name="T44" fmla="*/ 1183 w 5546"/>
                    <a:gd name="T45" fmla="*/ 2253 h 9737"/>
                    <a:gd name="T46" fmla="*/ 1255 w 5546"/>
                    <a:gd name="T47" fmla="*/ 1590 h 9737"/>
                    <a:gd name="T48" fmla="*/ 1393 w 5546"/>
                    <a:gd name="T49" fmla="*/ 936 h 9737"/>
                    <a:gd name="T50" fmla="*/ 1624 w 5546"/>
                    <a:gd name="T51" fmla="*/ 126 h 9737"/>
                    <a:gd name="T52" fmla="*/ 1593 w 5546"/>
                    <a:gd name="T53" fmla="*/ 134 h 9737"/>
                    <a:gd name="T54" fmla="*/ 1389 w 5546"/>
                    <a:gd name="T55" fmla="*/ 588 h 9737"/>
                    <a:gd name="T56" fmla="*/ 1176 w 5546"/>
                    <a:gd name="T57" fmla="*/ 1286 h 9737"/>
                    <a:gd name="T58" fmla="*/ 1073 w 5546"/>
                    <a:gd name="T59" fmla="*/ 2153 h 9737"/>
                    <a:gd name="T60" fmla="*/ 1165 w 5546"/>
                    <a:gd name="T61" fmla="*/ 2973 h 9737"/>
                    <a:gd name="T62" fmla="*/ 1299 w 5546"/>
                    <a:gd name="T63" fmla="*/ 3446 h 9737"/>
                    <a:gd name="T64" fmla="*/ 1469 w 5546"/>
                    <a:gd name="T65" fmla="*/ 3894 h 9737"/>
                    <a:gd name="T66" fmla="*/ 1861 w 5546"/>
                    <a:gd name="T67" fmla="*/ 4749 h 9737"/>
                    <a:gd name="T68" fmla="*/ 1645 w 5546"/>
                    <a:gd name="T69" fmla="*/ 4863 h 9737"/>
                    <a:gd name="T70" fmla="*/ 1154 w 5546"/>
                    <a:gd name="T71" fmla="*/ 4808 h 9737"/>
                    <a:gd name="T72" fmla="*/ 833 w 5546"/>
                    <a:gd name="T73" fmla="*/ 4734 h 9737"/>
                    <a:gd name="T74" fmla="*/ 490 w 5546"/>
                    <a:gd name="T75" fmla="*/ 4612 h 9737"/>
                    <a:gd name="T76" fmla="*/ 75 w 5546"/>
                    <a:gd name="T77" fmla="*/ 4409 h 9737"/>
                    <a:gd name="T78" fmla="*/ 63 w 5546"/>
                    <a:gd name="T79" fmla="*/ 4415 h 9737"/>
                    <a:gd name="T80" fmla="*/ 393 w 5546"/>
                    <a:gd name="T81" fmla="*/ 4637 h 9737"/>
                    <a:gd name="T82" fmla="*/ 737 w 5546"/>
                    <a:gd name="T83" fmla="*/ 4817 h 9737"/>
                    <a:gd name="T84" fmla="*/ 1126 w 5546"/>
                    <a:gd name="T85" fmla="*/ 4949 h 9737"/>
                    <a:gd name="T86" fmla="*/ 1567 w 5546"/>
                    <a:gd name="T87" fmla="*/ 4999 h 9737"/>
                    <a:gd name="T88" fmla="*/ 1872 w 5546"/>
                    <a:gd name="T89" fmla="*/ 4996 h 9737"/>
                    <a:gd name="T90" fmla="*/ 2179 w 5546"/>
                    <a:gd name="T91" fmla="*/ 5475 h 9737"/>
                    <a:gd name="T92" fmla="*/ 2317 w 5546"/>
                    <a:gd name="T93" fmla="*/ 5870 h 9737"/>
                    <a:gd name="T94" fmla="*/ 2420 w 5546"/>
                    <a:gd name="T95" fmla="*/ 6282 h 9737"/>
                    <a:gd name="T96" fmla="*/ 2479 w 5546"/>
                    <a:gd name="T97" fmla="*/ 6719 h 9737"/>
                    <a:gd name="T98" fmla="*/ 2474 w 5546"/>
                    <a:gd name="T99" fmla="*/ 7396 h 9737"/>
                    <a:gd name="T100" fmla="*/ 2359 w 5546"/>
                    <a:gd name="T101" fmla="*/ 8142 h 9737"/>
                    <a:gd name="T102" fmla="*/ 2176 w 5546"/>
                    <a:gd name="T103" fmla="*/ 8819 h 9737"/>
                    <a:gd name="T104" fmla="*/ 1974 w 5546"/>
                    <a:gd name="T105" fmla="*/ 9382 h 9737"/>
                    <a:gd name="T106" fmla="*/ 2347 w 5546"/>
                    <a:gd name="T107" fmla="*/ 9701 h 9737"/>
                    <a:gd name="T108" fmla="*/ 2461 w 5546"/>
                    <a:gd name="T109" fmla="*/ 9556 h 9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546" h="9737">
                      <a:moveTo>
                        <a:pt x="2572" y="9463"/>
                      </a:moveTo>
                      <a:lnTo>
                        <a:pt x="2597" y="9401"/>
                      </a:lnTo>
                      <a:lnTo>
                        <a:pt x="2625" y="9327"/>
                      </a:lnTo>
                      <a:lnTo>
                        <a:pt x="2642" y="9283"/>
                      </a:lnTo>
                      <a:lnTo>
                        <a:pt x="2657" y="9238"/>
                      </a:lnTo>
                      <a:lnTo>
                        <a:pt x="2673" y="9188"/>
                      </a:lnTo>
                      <a:lnTo>
                        <a:pt x="2689" y="9135"/>
                      </a:lnTo>
                      <a:lnTo>
                        <a:pt x="2705" y="9079"/>
                      </a:lnTo>
                      <a:lnTo>
                        <a:pt x="2723" y="9019"/>
                      </a:lnTo>
                      <a:lnTo>
                        <a:pt x="2739" y="8957"/>
                      </a:lnTo>
                      <a:lnTo>
                        <a:pt x="2754" y="8892"/>
                      </a:lnTo>
                      <a:lnTo>
                        <a:pt x="2770" y="8822"/>
                      </a:lnTo>
                      <a:lnTo>
                        <a:pt x="2784" y="8751"/>
                      </a:lnTo>
                      <a:lnTo>
                        <a:pt x="2799" y="8676"/>
                      </a:lnTo>
                      <a:lnTo>
                        <a:pt x="2813" y="8598"/>
                      </a:lnTo>
                      <a:lnTo>
                        <a:pt x="2825" y="8518"/>
                      </a:lnTo>
                      <a:lnTo>
                        <a:pt x="2835" y="8435"/>
                      </a:lnTo>
                      <a:lnTo>
                        <a:pt x="2846" y="8348"/>
                      </a:lnTo>
                      <a:lnTo>
                        <a:pt x="2855" y="8260"/>
                      </a:lnTo>
                      <a:lnTo>
                        <a:pt x="2861" y="8168"/>
                      </a:lnTo>
                      <a:lnTo>
                        <a:pt x="2867" y="8074"/>
                      </a:lnTo>
                      <a:lnTo>
                        <a:pt x="2870" y="7977"/>
                      </a:lnTo>
                      <a:lnTo>
                        <a:pt x="2872" y="7878"/>
                      </a:lnTo>
                      <a:lnTo>
                        <a:pt x="2872" y="7775"/>
                      </a:lnTo>
                      <a:lnTo>
                        <a:pt x="2869" y="7671"/>
                      </a:lnTo>
                      <a:lnTo>
                        <a:pt x="2865" y="7564"/>
                      </a:lnTo>
                      <a:lnTo>
                        <a:pt x="2857" y="7454"/>
                      </a:lnTo>
                      <a:lnTo>
                        <a:pt x="2847" y="7343"/>
                      </a:lnTo>
                      <a:lnTo>
                        <a:pt x="2834" y="7229"/>
                      </a:lnTo>
                      <a:lnTo>
                        <a:pt x="2819" y="7114"/>
                      </a:lnTo>
                      <a:lnTo>
                        <a:pt x="2801" y="6995"/>
                      </a:lnTo>
                      <a:lnTo>
                        <a:pt x="2837" y="6975"/>
                      </a:lnTo>
                      <a:lnTo>
                        <a:pt x="2880" y="6952"/>
                      </a:lnTo>
                      <a:lnTo>
                        <a:pt x="2925" y="6926"/>
                      </a:lnTo>
                      <a:lnTo>
                        <a:pt x="2976" y="6897"/>
                      </a:lnTo>
                      <a:lnTo>
                        <a:pt x="3032" y="6864"/>
                      </a:lnTo>
                      <a:lnTo>
                        <a:pt x="3093" y="6827"/>
                      </a:lnTo>
                      <a:lnTo>
                        <a:pt x="3160" y="6785"/>
                      </a:lnTo>
                      <a:lnTo>
                        <a:pt x="3233" y="6739"/>
                      </a:lnTo>
                      <a:lnTo>
                        <a:pt x="3309" y="6688"/>
                      </a:lnTo>
                      <a:lnTo>
                        <a:pt x="3394" y="6633"/>
                      </a:lnTo>
                      <a:lnTo>
                        <a:pt x="3484" y="6572"/>
                      </a:lnTo>
                      <a:lnTo>
                        <a:pt x="3580" y="6506"/>
                      </a:lnTo>
                      <a:lnTo>
                        <a:pt x="3683" y="6434"/>
                      </a:lnTo>
                      <a:lnTo>
                        <a:pt x="3792" y="6357"/>
                      </a:lnTo>
                      <a:lnTo>
                        <a:pt x="3909" y="6274"/>
                      </a:lnTo>
                      <a:lnTo>
                        <a:pt x="4033" y="6184"/>
                      </a:lnTo>
                      <a:lnTo>
                        <a:pt x="4136" y="6106"/>
                      </a:lnTo>
                      <a:lnTo>
                        <a:pt x="4236" y="6028"/>
                      </a:lnTo>
                      <a:lnTo>
                        <a:pt x="4332" y="5949"/>
                      </a:lnTo>
                      <a:lnTo>
                        <a:pt x="4423" y="5871"/>
                      </a:lnTo>
                      <a:lnTo>
                        <a:pt x="4511" y="5793"/>
                      </a:lnTo>
                      <a:lnTo>
                        <a:pt x="4593" y="5715"/>
                      </a:lnTo>
                      <a:lnTo>
                        <a:pt x="4672" y="5639"/>
                      </a:lnTo>
                      <a:lnTo>
                        <a:pt x="4748" y="5563"/>
                      </a:lnTo>
                      <a:lnTo>
                        <a:pt x="4818" y="5488"/>
                      </a:lnTo>
                      <a:lnTo>
                        <a:pt x="4887" y="5413"/>
                      </a:lnTo>
                      <a:lnTo>
                        <a:pt x="4951" y="5341"/>
                      </a:lnTo>
                      <a:lnTo>
                        <a:pt x="5010" y="5269"/>
                      </a:lnTo>
                      <a:lnTo>
                        <a:pt x="5066" y="5200"/>
                      </a:lnTo>
                      <a:lnTo>
                        <a:pt x="5119" y="5133"/>
                      </a:lnTo>
                      <a:lnTo>
                        <a:pt x="5169" y="5067"/>
                      </a:lnTo>
                      <a:lnTo>
                        <a:pt x="5215" y="5004"/>
                      </a:lnTo>
                      <a:lnTo>
                        <a:pt x="5257" y="4944"/>
                      </a:lnTo>
                      <a:lnTo>
                        <a:pt x="5297" y="4885"/>
                      </a:lnTo>
                      <a:lnTo>
                        <a:pt x="5333" y="4830"/>
                      </a:lnTo>
                      <a:lnTo>
                        <a:pt x="5366" y="4777"/>
                      </a:lnTo>
                      <a:lnTo>
                        <a:pt x="5397" y="4728"/>
                      </a:lnTo>
                      <a:lnTo>
                        <a:pt x="5424" y="4682"/>
                      </a:lnTo>
                      <a:lnTo>
                        <a:pt x="5447" y="4640"/>
                      </a:lnTo>
                      <a:lnTo>
                        <a:pt x="5469" y="4601"/>
                      </a:lnTo>
                      <a:lnTo>
                        <a:pt x="5504" y="4536"/>
                      </a:lnTo>
                      <a:lnTo>
                        <a:pt x="5528" y="4487"/>
                      </a:lnTo>
                      <a:lnTo>
                        <a:pt x="5542" y="4457"/>
                      </a:lnTo>
                      <a:lnTo>
                        <a:pt x="5546" y="4446"/>
                      </a:lnTo>
                      <a:lnTo>
                        <a:pt x="5545" y="4449"/>
                      </a:lnTo>
                      <a:lnTo>
                        <a:pt x="5542" y="4457"/>
                      </a:lnTo>
                      <a:lnTo>
                        <a:pt x="5536" y="4472"/>
                      </a:lnTo>
                      <a:lnTo>
                        <a:pt x="5528" y="4492"/>
                      </a:lnTo>
                      <a:lnTo>
                        <a:pt x="5513" y="4521"/>
                      </a:lnTo>
                      <a:lnTo>
                        <a:pt x="5494" y="4555"/>
                      </a:lnTo>
                      <a:lnTo>
                        <a:pt x="5469" y="4597"/>
                      </a:lnTo>
                      <a:lnTo>
                        <a:pt x="5438" y="4647"/>
                      </a:lnTo>
                      <a:lnTo>
                        <a:pt x="5399" y="4705"/>
                      </a:lnTo>
                      <a:lnTo>
                        <a:pt x="5352" y="4771"/>
                      </a:lnTo>
                      <a:lnTo>
                        <a:pt x="5325" y="4806"/>
                      </a:lnTo>
                      <a:lnTo>
                        <a:pt x="5296" y="4845"/>
                      </a:lnTo>
                      <a:lnTo>
                        <a:pt x="5264" y="4885"/>
                      </a:lnTo>
                      <a:lnTo>
                        <a:pt x="5230" y="4928"/>
                      </a:lnTo>
                      <a:lnTo>
                        <a:pt x="5193" y="4973"/>
                      </a:lnTo>
                      <a:lnTo>
                        <a:pt x="5153" y="5021"/>
                      </a:lnTo>
                      <a:lnTo>
                        <a:pt x="5111" y="5070"/>
                      </a:lnTo>
                      <a:lnTo>
                        <a:pt x="5065" y="5122"/>
                      </a:lnTo>
                      <a:lnTo>
                        <a:pt x="5018" y="5176"/>
                      </a:lnTo>
                      <a:lnTo>
                        <a:pt x="4966" y="5234"/>
                      </a:lnTo>
                      <a:lnTo>
                        <a:pt x="4912" y="5293"/>
                      </a:lnTo>
                      <a:lnTo>
                        <a:pt x="4853" y="5355"/>
                      </a:lnTo>
                      <a:lnTo>
                        <a:pt x="4798" y="5412"/>
                      </a:lnTo>
                      <a:lnTo>
                        <a:pt x="4738" y="5471"/>
                      </a:lnTo>
                      <a:lnTo>
                        <a:pt x="4676" y="5529"/>
                      </a:lnTo>
                      <a:lnTo>
                        <a:pt x="4611" y="5588"/>
                      </a:lnTo>
                      <a:lnTo>
                        <a:pt x="4542" y="5646"/>
                      </a:lnTo>
                      <a:lnTo>
                        <a:pt x="4471" y="5705"/>
                      </a:lnTo>
                      <a:lnTo>
                        <a:pt x="4398" y="5763"/>
                      </a:lnTo>
                      <a:lnTo>
                        <a:pt x="4324" y="5820"/>
                      </a:lnTo>
                      <a:lnTo>
                        <a:pt x="4248" y="5878"/>
                      </a:lnTo>
                      <a:lnTo>
                        <a:pt x="4171" y="5935"/>
                      </a:lnTo>
                      <a:lnTo>
                        <a:pt x="4092" y="5991"/>
                      </a:lnTo>
                      <a:lnTo>
                        <a:pt x="4014" y="6048"/>
                      </a:lnTo>
                      <a:lnTo>
                        <a:pt x="3934" y="6102"/>
                      </a:lnTo>
                      <a:lnTo>
                        <a:pt x="3855" y="6156"/>
                      </a:lnTo>
                      <a:lnTo>
                        <a:pt x="3777" y="6209"/>
                      </a:lnTo>
                      <a:lnTo>
                        <a:pt x="3698" y="6260"/>
                      </a:lnTo>
                      <a:lnTo>
                        <a:pt x="3621" y="6310"/>
                      </a:lnTo>
                      <a:lnTo>
                        <a:pt x="3544" y="6358"/>
                      </a:lnTo>
                      <a:lnTo>
                        <a:pt x="3470" y="6405"/>
                      </a:lnTo>
                      <a:lnTo>
                        <a:pt x="3397" y="6450"/>
                      </a:lnTo>
                      <a:lnTo>
                        <a:pt x="3258" y="6535"/>
                      </a:lnTo>
                      <a:lnTo>
                        <a:pt x="3129" y="6610"/>
                      </a:lnTo>
                      <a:lnTo>
                        <a:pt x="3013" y="6677"/>
                      </a:lnTo>
                      <a:lnTo>
                        <a:pt x="2912" y="6734"/>
                      </a:lnTo>
                      <a:lnTo>
                        <a:pt x="2829" y="6778"/>
                      </a:lnTo>
                      <a:lnTo>
                        <a:pt x="2766" y="6812"/>
                      </a:lnTo>
                      <a:lnTo>
                        <a:pt x="2748" y="6724"/>
                      </a:lnTo>
                      <a:lnTo>
                        <a:pt x="2728" y="6635"/>
                      </a:lnTo>
                      <a:lnTo>
                        <a:pt x="2705" y="6545"/>
                      </a:lnTo>
                      <a:lnTo>
                        <a:pt x="2682" y="6456"/>
                      </a:lnTo>
                      <a:lnTo>
                        <a:pt x="2657" y="6364"/>
                      </a:lnTo>
                      <a:lnTo>
                        <a:pt x="2629" y="6272"/>
                      </a:lnTo>
                      <a:lnTo>
                        <a:pt x="2599" y="6177"/>
                      </a:lnTo>
                      <a:lnTo>
                        <a:pt x="2568" y="6083"/>
                      </a:lnTo>
                      <a:lnTo>
                        <a:pt x="2501" y="5894"/>
                      </a:lnTo>
                      <a:lnTo>
                        <a:pt x="2435" y="5712"/>
                      </a:lnTo>
                      <a:lnTo>
                        <a:pt x="2369" y="5536"/>
                      </a:lnTo>
                      <a:lnTo>
                        <a:pt x="2304" y="5367"/>
                      </a:lnTo>
                      <a:lnTo>
                        <a:pt x="2239" y="5205"/>
                      </a:lnTo>
                      <a:lnTo>
                        <a:pt x="2174" y="5048"/>
                      </a:lnTo>
                      <a:lnTo>
                        <a:pt x="2110" y="4897"/>
                      </a:lnTo>
                      <a:lnTo>
                        <a:pt x="2048" y="4752"/>
                      </a:lnTo>
                      <a:lnTo>
                        <a:pt x="1987" y="4612"/>
                      </a:lnTo>
                      <a:lnTo>
                        <a:pt x="1926" y="4477"/>
                      </a:lnTo>
                      <a:lnTo>
                        <a:pt x="1868" y="4346"/>
                      </a:lnTo>
                      <a:lnTo>
                        <a:pt x="1810" y="4221"/>
                      </a:lnTo>
                      <a:lnTo>
                        <a:pt x="1700" y="3982"/>
                      </a:lnTo>
                      <a:lnTo>
                        <a:pt x="1598" y="3758"/>
                      </a:lnTo>
                      <a:lnTo>
                        <a:pt x="1549" y="3650"/>
                      </a:lnTo>
                      <a:lnTo>
                        <a:pt x="1504" y="3547"/>
                      </a:lnTo>
                      <a:lnTo>
                        <a:pt x="1461" y="3445"/>
                      </a:lnTo>
                      <a:lnTo>
                        <a:pt x="1421" y="3346"/>
                      </a:lnTo>
                      <a:lnTo>
                        <a:pt x="1383" y="3250"/>
                      </a:lnTo>
                      <a:lnTo>
                        <a:pt x="1348" y="3155"/>
                      </a:lnTo>
                      <a:lnTo>
                        <a:pt x="1315" y="3062"/>
                      </a:lnTo>
                      <a:lnTo>
                        <a:pt x="1286" y="2970"/>
                      </a:lnTo>
                      <a:lnTo>
                        <a:pt x="1260" y="2879"/>
                      </a:lnTo>
                      <a:lnTo>
                        <a:pt x="1239" y="2789"/>
                      </a:lnTo>
                      <a:lnTo>
                        <a:pt x="1219" y="2699"/>
                      </a:lnTo>
                      <a:lnTo>
                        <a:pt x="1204" y="2610"/>
                      </a:lnTo>
                      <a:lnTo>
                        <a:pt x="1193" y="2522"/>
                      </a:lnTo>
                      <a:lnTo>
                        <a:pt x="1186" y="2433"/>
                      </a:lnTo>
                      <a:lnTo>
                        <a:pt x="1182" y="2343"/>
                      </a:lnTo>
                      <a:lnTo>
                        <a:pt x="1183" y="2253"/>
                      </a:lnTo>
                      <a:lnTo>
                        <a:pt x="1188" y="2161"/>
                      </a:lnTo>
                      <a:lnTo>
                        <a:pt x="1194" y="2069"/>
                      </a:lnTo>
                      <a:lnTo>
                        <a:pt x="1203" y="1974"/>
                      </a:lnTo>
                      <a:lnTo>
                        <a:pt x="1214" y="1879"/>
                      </a:lnTo>
                      <a:lnTo>
                        <a:pt x="1226" y="1784"/>
                      </a:lnTo>
                      <a:lnTo>
                        <a:pt x="1240" y="1687"/>
                      </a:lnTo>
                      <a:lnTo>
                        <a:pt x="1255" y="1590"/>
                      </a:lnTo>
                      <a:lnTo>
                        <a:pt x="1272" y="1494"/>
                      </a:lnTo>
                      <a:lnTo>
                        <a:pt x="1291" y="1398"/>
                      </a:lnTo>
                      <a:lnTo>
                        <a:pt x="1310" y="1303"/>
                      </a:lnTo>
                      <a:lnTo>
                        <a:pt x="1330" y="1209"/>
                      </a:lnTo>
                      <a:lnTo>
                        <a:pt x="1350" y="1116"/>
                      </a:lnTo>
                      <a:lnTo>
                        <a:pt x="1372" y="1025"/>
                      </a:lnTo>
                      <a:lnTo>
                        <a:pt x="1393" y="936"/>
                      </a:lnTo>
                      <a:lnTo>
                        <a:pt x="1415" y="849"/>
                      </a:lnTo>
                      <a:lnTo>
                        <a:pt x="1437" y="764"/>
                      </a:lnTo>
                      <a:lnTo>
                        <a:pt x="1480" y="605"/>
                      </a:lnTo>
                      <a:lnTo>
                        <a:pt x="1522" y="459"/>
                      </a:lnTo>
                      <a:lnTo>
                        <a:pt x="1560" y="328"/>
                      </a:lnTo>
                      <a:lnTo>
                        <a:pt x="1595" y="217"/>
                      </a:lnTo>
                      <a:lnTo>
                        <a:pt x="1624" y="126"/>
                      </a:lnTo>
                      <a:lnTo>
                        <a:pt x="1647" y="58"/>
                      </a:lnTo>
                      <a:lnTo>
                        <a:pt x="1661" y="15"/>
                      </a:lnTo>
                      <a:lnTo>
                        <a:pt x="1666" y="0"/>
                      </a:lnTo>
                      <a:lnTo>
                        <a:pt x="1658" y="15"/>
                      </a:lnTo>
                      <a:lnTo>
                        <a:pt x="1632" y="61"/>
                      </a:lnTo>
                      <a:lnTo>
                        <a:pt x="1613" y="94"/>
                      </a:lnTo>
                      <a:lnTo>
                        <a:pt x="1593" y="134"/>
                      </a:lnTo>
                      <a:lnTo>
                        <a:pt x="1569" y="182"/>
                      </a:lnTo>
                      <a:lnTo>
                        <a:pt x="1543" y="235"/>
                      </a:lnTo>
                      <a:lnTo>
                        <a:pt x="1515" y="293"/>
                      </a:lnTo>
                      <a:lnTo>
                        <a:pt x="1484" y="359"/>
                      </a:lnTo>
                      <a:lnTo>
                        <a:pt x="1454" y="430"/>
                      </a:lnTo>
                      <a:lnTo>
                        <a:pt x="1422" y="506"/>
                      </a:lnTo>
                      <a:lnTo>
                        <a:pt x="1389" y="588"/>
                      </a:lnTo>
                      <a:lnTo>
                        <a:pt x="1357" y="674"/>
                      </a:lnTo>
                      <a:lnTo>
                        <a:pt x="1324" y="765"/>
                      </a:lnTo>
                      <a:lnTo>
                        <a:pt x="1292" y="862"/>
                      </a:lnTo>
                      <a:lnTo>
                        <a:pt x="1260" y="961"/>
                      </a:lnTo>
                      <a:lnTo>
                        <a:pt x="1231" y="1066"/>
                      </a:lnTo>
                      <a:lnTo>
                        <a:pt x="1202" y="1174"/>
                      </a:lnTo>
                      <a:lnTo>
                        <a:pt x="1176" y="1286"/>
                      </a:lnTo>
                      <a:lnTo>
                        <a:pt x="1151" y="1402"/>
                      </a:lnTo>
                      <a:lnTo>
                        <a:pt x="1129" y="1520"/>
                      </a:lnTo>
                      <a:lnTo>
                        <a:pt x="1111" y="1641"/>
                      </a:lnTo>
                      <a:lnTo>
                        <a:pt x="1096" y="1765"/>
                      </a:lnTo>
                      <a:lnTo>
                        <a:pt x="1084" y="1892"/>
                      </a:lnTo>
                      <a:lnTo>
                        <a:pt x="1076" y="2022"/>
                      </a:lnTo>
                      <a:lnTo>
                        <a:pt x="1073" y="2153"/>
                      </a:lnTo>
                      <a:lnTo>
                        <a:pt x="1075" y="2286"/>
                      </a:lnTo>
                      <a:lnTo>
                        <a:pt x="1082" y="2421"/>
                      </a:lnTo>
                      <a:lnTo>
                        <a:pt x="1094" y="2556"/>
                      </a:lnTo>
                      <a:lnTo>
                        <a:pt x="1111" y="2694"/>
                      </a:lnTo>
                      <a:lnTo>
                        <a:pt x="1135" y="2832"/>
                      </a:lnTo>
                      <a:lnTo>
                        <a:pt x="1150" y="2904"/>
                      </a:lnTo>
                      <a:lnTo>
                        <a:pt x="1165" y="2973"/>
                      </a:lnTo>
                      <a:lnTo>
                        <a:pt x="1181" y="3043"/>
                      </a:lnTo>
                      <a:lnTo>
                        <a:pt x="1199" y="3112"/>
                      </a:lnTo>
                      <a:lnTo>
                        <a:pt x="1217" y="3180"/>
                      </a:lnTo>
                      <a:lnTo>
                        <a:pt x="1236" y="3247"/>
                      </a:lnTo>
                      <a:lnTo>
                        <a:pt x="1257" y="3314"/>
                      </a:lnTo>
                      <a:lnTo>
                        <a:pt x="1278" y="3381"/>
                      </a:lnTo>
                      <a:lnTo>
                        <a:pt x="1299" y="3446"/>
                      </a:lnTo>
                      <a:lnTo>
                        <a:pt x="1322" y="3512"/>
                      </a:lnTo>
                      <a:lnTo>
                        <a:pt x="1345" y="3577"/>
                      </a:lnTo>
                      <a:lnTo>
                        <a:pt x="1369" y="3641"/>
                      </a:lnTo>
                      <a:lnTo>
                        <a:pt x="1393" y="3705"/>
                      </a:lnTo>
                      <a:lnTo>
                        <a:pt x="1418" y="3768"/>
                      </a:lnTo>
                      <a:lnTo>
                        <a:pt x="1444" y="3831"/>
                      </a:lnTo>
                      <a:lnTo>
                        <a:pt x="1469" y="3894"/>
                      </a:lnTo>
                      <a:lnTo>
                        <a:pt x="1523" y="4018"/>
                      </a:lnTo>
                      <a:lnTo>
                        <a:pt x="1577" y="4142"/>
                      </a:lnTo>
                      <a:lnTo>
                        <a:pt x="1634" y="4265"/>
                      </a:lnTo>
                      <a:lnTo>
                        <a:pt x="1690" y="4386"/>
                      </a:lnTo>
                      <a:lnTo>
                        <a:pt x="1747" y="4508"/>
                      </a:lnTo>
                      <a:lnTo>
                        <a:pt x="1804" y="4629"/>
                      </a:lnTo>
                      <a:lnTo>
                        <a:pt x="1861" y="4749"/>
                      </a:lnTo>
                      <a:lnTo>
                        <a:pt x="1917" y="4869"/>
                      </a:lnTo>
                      <a:lnTo>
                        <a:pt x="1886" y="4870"/>
                      </a:lnTo>
                      <a:lnTo>
                        <a:pt x="1848" y="4869"/>
                      </a:lnTo>
                      <a:lnTo>
                        <a:pt x="1805" y="4869"/>
                      </a:lnTo>
                      <a:lnTo>
                        <a:pt x="1756" y="4868"/>
                      </a:lnTo>
                      <a:lnTo>
                        <a:pt x="1702" y="4866"/>
                      </a:lnTo>
                      <a:lnTo>
                        <a:pt x="1645" y="4863"/>
                      </a:lnTo>
                      <a:lnTo>
                        <a:pt x="1582" y="4859"/>
                      </a:lnTo>
                      <a:lnTo>
                        <a:pt x="1517" y="4854"/>
                      </a:lnTo>
                      <a:lnTo>
                        <a:pt x="1449" y="4849"/>
                      </a:lnTo>
                      <a:lnTo>
                        <a:pt x="1377" y="4841"/>
                      </a:lnTo>
                      <a:lnTo>
                        <a:pt x="1305" y="4831"/>
                      </a:lnTo>
                      <a:lnTo>
                        <a:pt x="1230" y="4821"/>
                      </a:lnTo>
                      <a:lnTo>
                        <a:pt x="1154" y="4808"/>
                      </a:lnTo>
                      <a:lnTo>
                        <a:pt x="1078" y="4794"/>
                      </a:lnTo>
                      <a:lnTo>
                        <a:pt x="1041" y="4787"/>
                      </a:lnTo>
                      <a:lnTo>
                        <a:pt x="1002" y="4778"/>
                      </a:lnTo>
                      <a:lnTo>
                        <a:pt x="964" y="4770"/>
                      </a:lnTo>
                      <a:lnTo>
                        <a:pt x="926" y="4760"/>
                      </a:lnTo>
                      <a:lnTo>
                        <a:pt x="879" y="4747"/>
                      </a:lnTo>
                      <a:lnTo>
                        <a:pt x="833" y="4734"/>
                      </a:lnTo>
                      <a:lnTo>
                        <a:pt x="787" y="4721"/>
                      </a:lnTo>
                      <a:lnTo>
                        <a:pt x="743" y="4706"/>
                      </a:lnTo>
                      <a:lnTo>
                        <a:pt x="698" y="4691"/>
                      </a:lnTo>
                      <a:lnTo>
                        <a:pt x="655" y="4675"/>
                      </a:lnTo>
                      <a:lnTo>
                        <a:pt x="613" y="4660"/>
                      </a:lnTo>
                      <a:lnTo>
                        <a:pt x="571" y="4644"/>
                      </a:lnTo>
                      <a:lnTo>
                        <a:pt x="490" y="4612"/>
                      </a:lnTo>
                      <a:lnTo>
                        <a:pt x="414" y="4578"/>
                      </a:lnTo>
                      <a:lnTo>
                        <a:pt x="342" y="4545"/>
                      </a:lnTo>
                      <a:lnTo>
                        <a:pt x="276" y="4514"/>
                      </a:lnTo>
                      <a:lnTo>
                        <a:pt x="216" y="4484"/>
                      </a:lnTo>
                      <a:lnTo>
                        <a:pt x="162" y="4457"/>
                      </a:lnTo>
                      <a:lnTo>
                        <a:pt x="114" y="4431"/>
                      </a:lnTo>
                      <a:lnTo>
                        <a:pt x="75" y="4409"/>
                      </a:lnTo>
                      <a:lnTo>
                        <a:pt x="42" y="4391"/>
                      </a:lnTo>
                      <a:lnTo>
                        <a:pt x="20" y="4377"/>
                      </a:lnTo>
                      <a:lnTo>
                        <a:pt x="6" y="4368"/>
                      </a:lnTo>
                      <a:lnTo>
                        <a:pt x="0" y="4366"/>
                      </a:lnTo>
                      <a:lnTo>
                        <a:pt x="8" y="4371"/>
                      </a:lnTo>
                      <a:lnTo>
                        <a:pt x="28" y="4389"/>
                      </a:lnTo>
                      <a:lnTo>
                        <a:pt x="63" y="4415"/>
                      </a:lnTo>
                      <a:lnTo>
                        <a:pt x="109" y="4448"/>
                      </a:lnTo>
                      <a:lnTo>
                        <a:pt x="166" y="4489"/>
                      </a:lnTo>
                      <a:lnTo>
                        <a:pt x="233" y="4536"/>
                      </a:lnTo>
                      <a:lnTo>
                        <a:pt x="270" y="4560"/>
                      </a:lnTo>
                      <a:lnTo>
                        <a:pt x="310" y="4584"/>
                      </a:lnTo>
                      <a:lnTo>
                        <a:pt x="351" y="4610"/>
                      </a:lnTo>
                      <a:lnTo>
                        <a:pt x="393" y="4637"/>
                      </a:lnTo>
                      <a:lnTo>
                        <a:pt x="439" y="4663"/>
                      </a:lnTo>
                      <a:lnTo>
                        <a:pt x="485" y="4691"/>
                      </a:lnTo>
                      <a:lnTo>
                        <a:pt x="533" y="4716"/>
                      </a:lnTo>
                      <a:lnTo>
                        <a:pt x="583" y="4742"/>
                      </a:lnTo>
                      <a:lnTo>
                        <a:pt x="632" y="4768"/>
                      </a:lnTo>
                      <a:lnTo>
                        <a:pt x="684" y="4793"/>
                      </a:lnTo>
                      <a:lnTo>
                        <a:pt x="737" y="4817"/>
                      </a:lnTo>
                      <a:lnTo>
                        <a:pt x="792" y="4841"/>
                      </a:lnTo>
                      <a:lnTo>
                        <a:pt x="846" y="4863"/>
                      </a:lnTo>
                      <a:lnTo>
                        <a:pt x="901" y="4883"/>
                      </a:lnTo>
                      <a:lnTo>
                        <a:pt x="957" y="4903"/>
                      </a:lnTo>
                      <a:lnTo>
                        <a:pt x="1013" y="4920"/>
                      </a:lnTo>
                      <a:lnTo>
                        <a:pt x="1070" y="4935"/>
                      </a:lnTo>
                      <a:lnTo>
                        <a:pt x="1126" y="4949"/>
                      </a:lnTo>
                      <a:lnTo>
                        <a:pt x="1183" y="4960"/>
                      </a:lnTo>
                      <a:lnTo>
                        <a:pt x="1240" y="4969"/>
                      </a:lnTo>
                      <a:lnTo>
                        <a:pt x="1313" y="4978"/>
                      </a:lnTo>
                      <a:lnTo>
                        <a:pt x="1383" y="4986"/>
                      </a:lnTo>
                      <a:lnTo>
                        <a:pt x="1448" y="4991"/>
                      </a:lnTo>
                      <a:lnTo>
                        <a:pt x="1509" y="4996"/>
                      </a:lnTo>
                      <a:lnTo>
                        <a:pt x="1567" y="4999"/>
                      </a:lnTo>
                      <a:lnTo>
                        <a:pt x="1622" y="5001"/>
                      </a:lnTo>
                      <a:lnTo>
                        <a:pt x="1672" y="5002"/>
                      </a:lnTo>
                      <a:lnTo>
                        <a:pt x="1719" y="5002"/>
                      </a:lnTo>
                      <a:lnTo>
                        <a:pt x="1763" y="5001"/>
                      </a:lnTo>
                      <a:lnTo>
                        <a:pt x="1802" y="5000"/>
                      </a:lnTo>
                      <a:lnTo>
                        <a:pt x="1838" y="4998"/>
                      </a:lnTo>
                      <a:lnTo>
                        <a:pt x="1872" y="4996"/>
                      </a:lnTo>
                      <a:lnTo>
                        <a:pt x="1927" y="4990"/>
                      </a:lnTo>
                      <a:lnTo>
                        <a:pt x="1970" y="4984"/>
                      </a:lnTo>
                      <a:lnTo>
                        <a:pt x="2019" y="5092"/>
                      </a:lnTo>
                      <a:lnTo>
                        <a:pt x="2067" y="5200"/>
                      </a:lnTo>
                      <a:lnTo>
                        <a:pt x="2113" y="5310"/>
                      </a:lnTo>
                      <a:lnTo>
                        <a:pt x="2158" y="5420"/>
                      </a:lnTo>
                      <a:lnTo>
                        <a:pt x="2179" y="5475"/>
                      </a:lnTo>
                      <a:lnTo>
                        <a:pt x="2201" y="5530"/>
                      </a:lnTo>
                      <a:lnTo>
                        <a:pt x="2222" y="5587"/>
                      </a:lnTo>
                      <a:lnTo>
                        <a:pt x="2242" y="5643"/>
                      </a:lnTo>
                      <a:lnTo>
                        <a:pt x="2262" y="5699"/>
                      </a:lnTo>
                      <a:lnTo>
                        <a:pt x="2280" y="5755"/>
                      </a:lnTo>
                      <a:lnTo>
                        <a:pt x="2298" y="5813"/>
                      </a:lnTo>
                      <a:lnTo>
                        <a:pt x="2317" y="5870"/>
                      </a:lnTo>
                      <a:lnTo>
                        <a:pt x="2333" y="5927"/>
                      </a:lnTo>
                      <a:lnTo>
                        <a:pt x="2349" y="5986"/>
                      </a:lnTo>
                      <a:lnTo>
                        <a:pt x="2366" y="6044"/>
                      </a:lnTo>
                      <a:lnTo>
                        <a:pt x="2380" y="6103"/>
                      </a:lnTo>
                      <a:lnTo>
                        <a:pt x="2394" y="6162"/>
                      </a:lnTo>
                      <a:lnTo>
                        <a:pt x="2408" y="6222"/>
                      </a:lnTo>
                      <a:lnTo>
                        <a:pt x="2420" y="6282"/>
                      </a:lnTo>
                      <a:lnTo>
                        <a:pt x="2430" y="6343"/>
                      </a:lnTo>
                      <a:lnTo>
                        <a:pt x="2441" y="6404"/>
                      </a:lnTo>
                      <a:lnTo>
                        <a:pt x="2451" y="6465"/>
                      </a:lnTo>
                      <a:lnTo>
                        <a:pt x="2460" y="6528"/>
                      </a:lnTo>
                      <a:lnTo>
                        <a:pt x="2467" y="6591"/>
                      </a:lnTo>
                      <a:lnTo>
                        <a:pt x="2474" y="6654"/>
                      </a:lnTo>
                      <a:lnTo>
                        <a:pt x="2479" y="6719"/>
                      </a:lnTo>
                      <a:lnTo>
                        <a:pt x="2484" y="6782"/>
                      </a:lnTo>
                      <a:lnTo>
                        <a:pt x="2487" y="6847"/>
                      </a:lnTo>
                      <a:lnTo>
                        <a:pt x="2490" y="6958"/>
                      </a:lnTo>
                      <a:lnTo>
                        <a:pt x="2490" y="7067"/>
                      </a:lnTo>
                      <a:lnTo>
                        <a:pt x="2488" y="7177"/>
                      </a:lnTo>
                      <a:lnTo>
                        <a:pt x="2482" y="7287"/>
                      </a:lnTo>
                      <a:lnTo>
                        <a:pt x="2474" y="7396"/>
                      </a:lnTo>
                      <a:lnTo>
                        <a:pt x="2464" y="7505"/>
                      </a:lnTo>
                      <a:lnTo>
                        <a:pt x="2451" y="7614"/>
                      </a:lnTo>
                      <a:lnTo>
                        <a:pt x="2437" y="7721"/>
                      </a:lnTo>
                      <a:lnTo>
                        <a:pt x="2420" y="7828"/>
                      </a:lnTo>
                      <a:lnTo>
                        <a:pt x="2401" y="7934"/>
                      </a:lnTo>
                      <a:lnTo>
                        <a:pt x="2381" y="8038"/>
                      </a:lnTo>
                      <a:lnTo>
                        <a:pt x="2359" y="8142"/>
                      </a:lnTo>
                      <a:lnTo>
                        <a:pt x="2336" y="8243"/>
                      </a:lnTo>
                      <a:lnTo>
                        <a:pt x="2311" y="8344"/>
                      </a:lnTo>
                      <a:lnTo>
                        <a:pt x="2287" y="8444"/>
                      </a:lnTo>
                      <a:lnTo>
                        <a:pt x="2259" y="8540"/>
                      </a:lnTo>
                      <a:lnTo>
                        <a:pt x="2232" y="8635"/>
                      </a:lnTo>
                      <a:lnTo>
                        <a:pt x="2204" y="8728"/>
                      </a:lnTo>
                      <a:lnTo>
                        <a:pt x="2176" y="8819"/>
                      </a:lnTo>
                      <a:lnTo>
                        <a:pt x="2147" y="8908"/>
                      </a:lnTo>
                      <a:lnTo>
                        <a:pt x="2119" y="8993"/>
                      </a:lnTo>
                      <a:lnTo>
                        <a:pt x="2089" y="9077"/>
                      </a:lnTo>
                      <a:lnTo>
                        <a:pt x="2060" y="9158"/>
                      </a:lnTo>
                      <a:lnTo>
                        <a:pt x="2031" y="9236"/>
                      </a:lnTo>
                      <a:lnTo>
                        <a:pt x="2002" y="9311"/>
                      </a:lnTo>
                      <a:lnTo>
                        <a:pt x="1974" y="9382"/>
                      </a:lnTo>
                      <a:lnTo>
                        <a:pt x="1947" y="9450"/>
                      </a:lnTo>
                      <a:lnTo>
                        <a:pt x="1920" y="9515"/>
                      </a:lnTo>
                      <a:lnTo>
                        <a:pt x="1869" y="9633"/>
                      </a:lnTo>
                      <a:lnTo>
                        <a:pt x="1823" y="9737"/>
                      </a:lnTo>
                      <a:lnTo>
                        <a:pt x="2324" y="9737"/>
                      </a:lnTo>
                      <a:lnTo>
                        <a:pt x="2324" y="9737"/>
                      </a:lnTo>
                      <a:lnTo>
                        <a:pt x="2347" y="9701"/>
                      </a:lnTo>
                      <a:lnTo>
                        <a:pt x="2372" y="9665"/>
                      </a:lnTo>
                      <a:lnTo>
                        <a:pt x="2385" y="9646"/>
                      </a:lnTo>
                      <a:lnTo>
                        <a:pt x="2399" y="9628"/>
                      </a:lnTo>
                      <a:lnTo>
                        <a:pt x="2413" y="9609"/>
                      </a:lnTo>
                      <a:lnTo>
                        <a:pt x="2428" y="9592"/>
                      </a:lnTo>
                      <a:lnTo>
                        <a:pt x="2445" y="9573"/>
                      </a:lnTo>
                      <a:lnTo>
                        <a:pt x="2461" y="9556"/>
                      </a:lnTo>
                      <a:lnTo>
                        <a:pt x="2478" y="9539"/>
                      </a:lnTo>
                      <a:lnTo>
                        <a:pt x="2495" y="9522"/>
                      </a:lnTo>
                      <a:lnTo>
                        <a:pt x="2514" y="9506"/>
                      </a:lnTo>
                      <a:lnTo>
                        <a:pt x="2532" y="9491"/>
                      </a:lnTo>
                      <a:lnTo>
                        <a:pt x="2552" y="9476"/>
                      </a:lnTo>
                      <a:lnTo>
                        <a:pt x="2572" y="9463"/>
                      </a:lnTo>
                      <a:close/>
                    </a:path>
                  </a:pathLst>
                </a:custGeom>
                <a:solidFill>
                  <a:schemeClr val="bg2">
                    <a:lumMod val="9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0" name="Freeform: Shape 31">
                  <a:extLst>
                    <a:ext uri="{FF2B5EF4-FFF2-40B4-BE49-F238E27FC236}">
                      <a16:creationId xmlns:a16="http://schemas.microsoft.com/office/drawing/2014/main" id="{E4DBE8D5-DCF3-4701-8AEF-B590AA8BF5EC}"/>
                    </a:ext>
                  </a:extLst>
                </p:cNvPr>
                <p:cNvSpPr>
                  <a:spLocks/>
                </p:cNvSpPr>
                <p:nvPr/>
              </p:nvSpPr>
              <p:spPr bwMode="auto">
                <a:xfrm rot="14876729" flipV="1">
                  <a:off x="5758162" y="1779441"/>
                  <a:ext cx="1349609" cy="3199618"/>
                </a:xfrm>
                <a:custGeom>
                  <a:avLst/>
                  <a:gdLst>
                    <a:gd name="connsiteX0" fmla="*/ 0 w 1349609"/>
                    <a:gd name="connsiteY0" fmla="*/ 2792297 h 3199618"/>
                    <a:gd name="connsiteX1" fmla="*/ 3836 w 1349609"/>
                    <a:gd name="connsiteY1" fmla="*/ 2793576 h 3199618"/>
                    <a:gd name="connsiteX2" fmla="*/ 12788 w 1349609"/>
                    <a:gd name="connsiteY2" fmla="*/ 2799332 h 3199618"/>
                    <a:gd name="connsiteX3" fmla="*/ 26855 w 1349609"/>
                    <a:gd name="connsiteY3" fmla="*/ 2808286 h 3199618"/>
                    <a:gd name="connsiteX4" fmla="*/ 47954 w 1349609"/>
                    <a:gd name="connsiteY4" fmla="*/ 2819797 h 3199618"/>
                    <a:gd name="connsiteX5" fmla="*/ 72891 w 1349609"/>
                    <a:gd name="connsiteY5" fmla="*/ 2833868 h 3199618"/>
                    <a:gd name="connsiteX6" fmla="*/ 103581 w 1349609"/>
                    <a:gd name="connsiteY6" fmla="*/ 2850496 h 3199618"/>
                    <a:gd name="connsiteX7" fmla="*/ 138108 w 1349609"/>
                    <a:gd name="connsiteY7" fmla="*/ 2867764 h 3199618"/>
                    <a:gd name="connsiteX8" fmla="*/ 176472 w 1349609"/>
                    <a:gd name="connsiteY8" fmla="*/ 2886951 h 3199618"/>
                    <a:gd name="connsiteX9" fmla="*/ 218672 w 1349609"/>
                    <a:gd name="connsiteY9" fmla="*/ 2906777 h 3199618"/>
                    <a:gd name="connsiteX10" fmla="*/ 264707 w 1349609"/>
                    <a:gd name="connsiteY10" fmla="*/ 2927882 h 3199618"/>
                    <a:gd name="connsiteX11" fmla="*/ 313301 w 1349609"/>
                    <a:gd name="connsiteY11" fmla="*/ 2949627 h 3199618"/>
                    <a:gd name="connsiteX12" fmla="*/ 365092 w 1349609"/>
                    <a:gd name="connsiteY12" fmla="*/ 2970093 h 3199618"/>
                    <a:gd name="connsiteX13" fmla="*/ 391946 w 1349609"/>
                    <a:gd name="connsiteY13" fmla="*/ 2980326 h 3199618"/>
                    <a:gd name="connsiteX14" fmla="*/ 418800 w 1349609"/>
                    <a:gd name="connsiteY14" fmla="*/ 2989919 h 3199618"/>
                    <a:gd name="connsiteX15" fmla="*/ 446294 w 1349609"/>
                    <a:gd name="connsiteY15" fmla="*/ 3000152 h 3199618"/>
                    <a:gd name="connsiteX16" fmla="*/ 475067 w 1349609"/>
                    <a:gd name="connsiteY16" fmla="*/ 3009745 h 3199618"/>
                    <a:gd name="connsiteX17" fmla="*/ 503200 w 1349609"/>
                    <a:gd name="connsiteY17" fmla="*/ 3019339 h 3199618"/>
                    <a:gd name="connsiteX18" fmla="*/ 532612 w 1349609"/>
                    <a:gd name="connsiteY18" fmla="*/ 3027653 h 3199618"/>
                    <a:gd name="connsiteX19" fmla="*/ 562024 w 1349609"/>
                    <a:gd name="connsiteY19" fmla="*/ 3035967 h 3199618"/>
                    <a:gd name="connsiteX20" fmla="*/ 592075 w 1349609"/>
                    <a:gd name="connsiteY20" fmla="*/ 3044281 h 3199618"/>
                    <a:gd name="connsiteX21" fmla="*/ 616372 w 1349609"/>
                    <a:gd name="connsiteY21" fmla="*/ 3050677 h 3199618"/>
                    <a:gd name="connsiteX22" fmla="*/ 640669 w 1349609"/>
                    <a:gd name="connsiteY22" fmla="*/ 3055793 h 3199618"/>
                    <a:gd name="connsiteX23" fmla="*/ 665605 w 1349609"/>
                    <a:gd name="connsiteY23" fmla="*/ 3061549 h 3199618"/>
                    <a:gd name="connsiteX24" fmla="*/ 689262 w 1349609"/>
                    <a:gd name="connsiteY24" fmla="*/ 3066026 h 3199618"/>
                    <a:gd name="connsiteX25" fmla="*/ 737856 w 1349609"/>
                    <a:gd name="connsiteY25" fmla="*/ 3074980 h 3199618"/>
                    <a:gd name="connsiteX26" fmla="*/ 786450 w 1349609"/>
                    <a:gd name="connsiteY26" fmla="*/ 3083294 h 3199618"/>
                    <a:gd name="connsiteX27" fmla="*/ 834404 w 1349609"/>
                    <a:gd name="connsiteY27" fmla="*/ 3089690 h 3199618"/>
                    <a:gd name="connsiteX28" fmla="*/ 880440 w 1349609"/>
                    <a:gd name="connsiteY28" fmla="*/ 3096085 h 3199618"/>
                    <a:gd name="connsiteX29" fmla="*/ 926476 w 1349609"/>
                    <a:gd name="connsiteY29" fmla="*/ 3101202 h 3199618"/>
                    <a:gd name="connsiteX30" fmla="*/ 969955 w 1349609"/>
                    <a:gd name="connsiteY30" fmla="*/ 3104400 h 3199618"/>
                    <a:gd name="connsiteX31" fmla="*/ 1011515 w 1349609"/>
                    <a:gd name="connsiteY31" fmla="*/ 3107597 h 3199618"/>
                    <a:gd name="connsiteX32" fmla="*/ 1051796 w 1349609"/>
                    <a:gd name="connsiteY32" fmla="*/ 3110156 h 3199618"/>
                    <a:gd name="connsiteX33" fmla="*/ 1088242 w 1349609"/>
                    <a:gd name="connsiteY33" fmla="*/ 3112074 h 3199618"/>
                    <a:gd name="connsiteX34" fmla="*/ 1122769 w 1349609"/>
                    <a:gd name="connsiteY34" fmla="*/ 3113353 h 3199618"/>
                    <a:gd name="connsiteX35" fmla="*/ 1154099 w 1349609"/>
                    <a:gd name="connsiteY35" fmla="*/ 3113993 h 3199618"/>
                    <a:gd name="connsiteX36" fmla="*/ 1181593 w 1349609"/>
                    <a:gd name="connsiteY36" fmla="*/ 3113993 h 3199618"/>
                    <a:gd name="connsiteX37" fmla="*/ 1205889 w 1349609"/>
                    <a:gd name="connsiteY37" fmla="*/ 3114632 h 3199618"/>
                    <a:gd name="connsiteX38" fmla="*/ 1225711 w 1349609"/>
                    <a:gd name="connsiteY38" fmla="*/ 3113993 h 3199618"/>
                    <a:gd name="connsiteX39" fmla="*/ 1189905 w 1349609"/>
                    <a:gd name="connsiteY39" fmla="*/ 3037246 h 3199618"/>
                    <a:gd name="connsiteX40" fmla="*/ 1153460 w 1349609"/>
                    <a:gd name="connsiteY40" fmla="*/ 2960500 h 3199618"/>
                    <a:gd name="connsiteX41" fmla="*/ 1117014 w 1349609"/>
                    <a:gd name="connsiteY41" fmla="*/ 2883113 h 3199618"/>
                    <a:gd name="connsiteX42" fmla="*/ 1080569 w 1349609"/>
                    <a:gd name="connsiteY42" fmla="*/ 2805088 h 3199618"/>
                    <a:gd name="connsiteX43" fmla="*/ 1044763 w 1349609"/>
                    <a:gd name="connsiteY43" fmla="*/ 2727701 h 3199618"/>
                    <a:gd name="connsiteX44" fmla="*/ 1008318 w 1349609"/>
                    <a:gd name="connsiteY44" fmla="*/ 2649036 h 3199618"/>
                    <a:gd name="connsiteX45" fmla="*/ 973791 w 1349609"/>
                    <a:gd name="connsiteY45" fmla="*/ 2569731 h 3199618"/>
                    <a:gd name="connsiteX46" fmla="*/ 939264 w 1349609"/>
                    <a:gd name="connsiteY46" fmla="*/ 2490427 h 3199618"/>
                    <a:gd name="connsiteX47" fmla="*/ 923279 w 1349609"/>
                    <a:gd name="connsiteY47" fmla="*/ 2450135 h 3199618"/>
                    <a:gd name="connsiteX48" fmla="*/ 906655 w 1349609"/>
                    <a:gd name="connsiteY48" fmla="*/ 2409843 h 3199618"/>
                    <a:gd name="connsiteX49" fmla="*/ 890670 w 1349609"/>
                    <a:gd name="connsiteY49" fmla="*/ 2369551 h 3199618"/>
                    <a:gd name="connsiteX50" fmla="*/ 875325 w 1349609"/>
                    <a:gd name="connsiteY50" fmla="*/ 2328620 h 3199618"/>
                    <a:gd name="connsiteX51" fmla="*/ 859980 w 1349609"/>
                    <a:gd name="connsiteY51" fmla="*/ 2287687 h 3199618"/>
                    <a:gd name="connsiteX52" fmla="*/ 845274 w 1349609"/>
                    <a:gd name="connsiteY52" fmla="*/ 2246117 h 3199618"/>
                    <a:gd name="connsiteX53" fmla="*/ 830568 w 1349609"/>
                    <a:gd name="connsiteY53" fmla="*/ 2203906 h 3199618"/>
                    <a:gd name="connsiteX54" fmla="*/ 817140 w 1349609"/>
                    <a:gd name="connsiteY54" fmla="*/ 2162335 h 3199618"/>
                    <a:gd name="connsiteX55" fmla="*/ 803713 w 1349609"/>
                    <a:gd name="connsiteY55" fmla="*/ 2119485 h 3199618"/>
                    <a:gd name="connsiteX56" fmla="*/ 790286 w 1349609"/>
                    <a:gd name="connsiteY56" fmla="*/ 2076635 h 3199618"/>
                    <a:gd name="connsiteX57" fmla="*/ 778138 w 1349609"/>
                    <a:gd name="connsiteY57" fmla="*/ 2033784 h 3199618"/>
                    <a:gd name="connsiteX58" fmla="*/ 766629 w 1349609"/>
                    <a:gd name="connsiteY58" fmla="*/ 1990295 h 3199618"/>
                    <a:gd name="connsiteX59" fmla="*/ 755120 w 1349609"/>
                    <a:gd name="connsiteY59" fmla="*/ 1946165 h 3199618"/>
                    <a:gd name="connsiteX60" fmla="*/ 744889 w 1349609"/>
                    <a:gd name="connsiteY60" fmla="*/ 1901397 h 3199618"/>
                    <a:gd name="connsiteX61" fmla="*/ 735298 w 1349609"/>
                    <a:gd name="connsiteY61" fmla="*/ 1857267 h 3199618"/>
                    <a:gd name="connsiteX62" fmla="*/ 725708 w 1349609"/>
                    <a:gd name="connsiteY62" fmla="*/ 1811220 h 3199618"/>
                    <a:gd name="connsiteX63" fmla="*/ 710363 w 1349609"/>
                    <a:gd name="connsiteY63" fmla="*/ 1722961 h 3199618"/>
                    <a:gd name="connsiteX64" fmla="*/ 699493 w 1349609"/>
                    <a:gd name="connsiteY64" fmla="*/ 1634702 h 3199618"/>
                    <a:gd name="connsiteX65" fmla="*/ 691820 w 1349609"/>
                    <a:gd name="connsiteY65" fmla="*/ 1548362 h 3199618"/>
                    <a:gd name="connsiteX66" fmla="*/ 687344 w 1349609"/>
                    <a:gd name="connsiteY66" fmla="*/ 1462022 h 3199618"/>
                    <a:gd name="connsiteX67" fmla="*/ 686066 w 1349609"/>
                    <a:gd name="connsiteY67" fmla="*/ 1376962 h 3199618"/>
                    <a:gd name="connsiteX68" fmla="*/ 687983 w 1349609"/>
                    <a:gd name="connsiteY68" fmla="*/ 1293180 h 3199618"/>
                    <a:gd name="connsiteX69" fmla="*/ 693099 w 1349609"/>
                    <a:gd name="connsiteY69" fmla="*/ 1210038 h 3199618"/>
                    <a:gd name="connsiteX70" fmla="*/ 700772 w 1349609"/>
                    <a:gd name="connsiteY70" fmla="*/ 1128815 h 3199618"/>
                    <a:gd name="connsiteX71" fmla="*/ 710362 w 1349609"/>
                    <a:gd name="connsiteY71" fmla="*/ 1049510 h 3199618"/>
                    <a:gd name="connsiteX72" fmla="*/ 721871 w 1349609"/>
                    <a:gd name="connsiteY72" fmla="*/ 972124 h 3199618"/>
                    <a:gd name="connsiteX73" fmla="*/ 735938 w 1349609"/>
                    <a:gd name="connsiteY73" fmla="*/ 896656 h 3199618"/>
                    <a:gd name="connsiteX74" fmla="*/ 751923 w 1349609"/>
                    <a:gd name="connsiteY74" fmla="*/ 822468 h 3199618"/>
                    <a:gd name="connsiteX75" fmla="*/ 768547 w 1349609"/>
                    <a:gd name="connsiteY75" fmla="*/ 750838 h 3199618"/>
                    <a:gd name="connsiteX76" fmla="*/ 787089 w 1349609"/>
                    <a:gd name="connsiteY76" fmla="*/ 681765 h 3199618"/>
                    <a:gd name="connsiteX77" fmla="*/ 805631 w 1349609"/>
                    <a:gd name="connsiteY77" fmla="*/ 614612 h 3199618"/>
                    <a:gd name="connsiteX78" fmla="*/ 826092 w 1349609"/>
                    <a:gd name="connsiteY78" fmla="*/ 551296 h 3199618"/>
                    <a:gd name="connsiteX79" fmla="*/ 846552 w 1349609"/>
                    <a:gd name="connsiteY79" fmla="*/ 489259 h 3199618"/>
                    <a:gd name="connsiteX80" fmla="*/ 867652 w 1349609"/>
                    <a:gd name="connsiteY80" fmla="*/ 431060 h 3199618"/>
                    <a:gd name="connsiteX81" fmla="*/ 888113 w 1349609"/>
                    <a:gd name="connsiteY81" fmla="*/ 376058 h 3199618"/>
                    <a:gd name="connsiteX82" fmla="*/ 909213 w 1349609"/>
                    <a:gd name="connsiteY82" fmla="*/ 323615 h 3199618"/>
                    <a:gd name="connsiteX83" fmla="*/ 929673 w 1349609"/>
                    <a:gd name="connsiteY83" fmla="*/ 275009 h 3199618"/>
                    <a:gd name="connsiteX84" fmla="*/ 948855 w 1349609"/>
                    <a:gd name="connsiteY84" fmla="*/ 229600 h 3199618"/>
                    <a:gd name="connsiteX85" fmla="*/ 968676 w 1349609"/>
                    <a:gd name="connsiteY85" fmla="*/ 187390 h 3199618"/>
                    <a:gd name="connsiteX86" fmla="*/ 986579 w 1349609"/>
                    <a:gd name="connsiteY86" fmla="*/ 150296 h 3199618"/>
                    <a:gd name="connsiteX87" fmla="*/ 1003203 w 1349609"/>
                    <a:gd name="connsiteY87" fmla="*/ 116399 h 3199618"/>
                    <a:gd name="connsiteX88" fmla="*/ 1018548 w 1349609"/>
                    <a:gd name="connsiteY88" fmla="*/ 85700 h 3199618"/>
                    <a:gd name="connsiteX89" fmla="*/ 1031336 w 1349609"/>
                    <a:gd name="connsiteY89" fmla="*/ 60118 h 3199618"/>
                    <a:gd name="connsiteX90" fmla="*/ 1043484 w 1349609"/>
                    <a:gd name="connsiteY90" fmla="*/ 39013 h 3199618"/>
                    <a:gd name="connsiteX91" fmla="*/ 1060109 w 1349609"/>
                    <a:gd name="connsiteY91" fmla="*/ 9593 h 3199618"/>
                    <a:gd name="connsiteX92" fmla="*/ 1065224 w 1349609"/>
                    <a:gd name="connsiteY92" fmla="*/ 0 h 3199618"/>
                    <a:gd name="connsiteX93" fmla="*/ 1062027 w 1349609"/>
                    <a:gd name="connsiteY93" fmla="*/ 9594 h 3199618"/>
                    <a:gd name="connsiteX94" fmla="*/ 1053075 w 1349609"/>
                    <a:gd name="connsiteY94" fmla="*/ 37094 h 3199618"/>
                    <a:gd name="connsiteX95" fmla="*/ 1038369 w 1349609"/>
                    <a:gd name="connsiteY95" fmla="*/ 80584 h 3199618"/>
                    <a:gd name="connsiteX96" fmla="*/ 1019827 w 1349609"/>
                    <a:gd name="connsiteY96" fmla="*/ 138784 h 3199618"/>
                    <a:gd name="connsiteX97" fmla="*/ 997448 w 1349609"/>
                    <a:gd name="connsiteY97" fmla="*/ 209774 h 3199618"/>
                    <a:gd name="connsiteX98" fmla="*/ 973152 w 1349609"/>
                    <a:gd name="connsiteY98" fmla="*/ 293556 h 3199618"/>
                    <a:gd name="connsiteX99" fmla="*/ 946297 w 1349609"/>
                    <a:gd name="connsiteY99" fmla="*/ 386931 h 3199618"/>
                    <a:gd name="connsiteX100" fmla="*/ 918803 w 1349609"/>
                    <a:gd name="connsiteY100" fmla="*/ 488620 h 3199618"/>
                    <a:gd name="connsiteX101" fmla="*/ 904737 w 1349609"/>
                    <a:gd name="connsiteY101" fmla="*/ 542982 h 3199618"/>
                    <a:gd name="connsiteX102" fmla="*/ 890670 w 1349609"/>
                    <a:gd name="connsiteY102" fmla="*/ 598623 h 3199618"/>
                    <a:gd name="connsiteX103" fmla="*/ 877243 w 1349609"/>
                    <a:gd name="connsiteY103" fmla="*/ 655543 h 3199618"/>
                    <a:gd name="connsiteX104" fmla="*/ 863177 w 1349609"/>
                    <a:gd name="connsiteY104" fmla="*/ 713743 h 3199618"/>
                    <a:gd name="connsiteX105" fmla="*/ 850389 w 1349609"/>
                    <a:gd name="connsiteY105" fmla="*/ 773222 h 3199618"/>
                    <a:gd name="connsiteX106" fmla="*/ 837601 w 1349609"/>
                    <a:gd name="connsiteY106" fmla="*/ 833340 h 3199618"/>
                    <a:gd name="connsiteX107" fmla="*/ 825453 w 1349609"/>
                    <a:gd name="connsiteY107" fmla="*/ 894098 h 3199618"/>
                    <a:gd name="connsiteX108" fmla="*/ 813304 w 1349609"/>
                    <a:gd name="connsiteY108" fmla="*/ 955495 h 3199618"/>
                    <a:gd name="connsiteX109" fmla="*/ 802434 w 1349609"/>
                    <a:gd name="connsiteY109" fmla="*/ 1016892 h 3199618"/>
                    <a:gd name="connsiteX110" fmla="*/ 792844 w 1349609"/>
                    <a:gd name="connsiteY110" fmla="*/ 1078929 h 3199618"/>
                    <a:gd name="connsiteX111" fmla="*/ 783892 w 1349609"/>
                    <a:gd name="connsiteY111" fmla="*/ 1140966 h 3199618"/>
                    <a:gd name="connsiteX112" fmla="*/ 776220 w 1349609"/>
                    <a:gd name="connsiteY112" fmla="*/ 1201723 h 3199618"/>
                    <a:gd name="connsiteX113" fmla="*/ 769186 w 1349609"/>
                    <a:gd name="connsiteY113" fmla="*/ 1262481 h 3199618"/>
                    <a:gd name="connsiteX114" fmla="*/ 763432 w 1349609"/>
                    <a:gd name="connsiteY114" fmla="*/ 1323239 h 3199618"/>
                    <a:gd name="connsiteX115" fmla="*/ 759596 w 1349609"/>
                    <a:gd name="connsiteY115" fmla="*/ 1382078 h 3199618"/>
                    <a:gd name="connsiteX116" fmla="*/ 756399 w 1349609"/>
                    <a:gd name="connsiteY116" fmla="*/ 1440918 h 3199618"/>
                    <a:gd name="connsiteX117" fmla="*/ 755759 w 1349609"/>
                    <a:gd name="connsiteY117" fmla="*/ 1498477 h 3199618"/>
                    <a:gd name="connsiteX118" fmla="*/ 758317 w 1349609"/>
                    <a:gd name="connsiteY118" fmla="*/ 1556037 h 3199618"/>
                    <a:gd name="connsiteX119" fmla="*/ 762793 w 1349609"/>
                    <a:gd name="connsiteY119" fmla="*/ 1612958 h 3199618"/>
                    <a:gd name="connsiteX120" fmla="*/ 769826 w 1349609"/>
                    <a:gd name="connsiteY120" fmla="*/ 1669239 h 3199618"/>
                    <a:gd name="connsiteX121" fmla="*/ 779416 w 1349609"/>
                    <a:gd name="connsiteY121" fmla="*/ 1726158 h 3199618"/>
                    <a:gd name="connsiteX122" fmla="*/ 792204 w 1349609"/>
                    <a:gd name="connsiteY122" fmla="*/ 1783718 h 3199618"/>
                    <a:gd name="connsiteX123" fmla="*/ 805631 w 1349609"/>
                    <a:gd name="connsiteY123" fmla="*/ 1841279 h 3199618"/>
                    <a:gd name="connsiteX124" fmla="*/ 822256 w 1349609"/>
                    <a:gd name="connsiteY124" fmla="*/ 1899478 h 3199618"/>
                    <a:gd name="connsiteX125" fmla="*/ 840798 w 1349609"/>
                    <a:gd name="connsiteY125" fmla="*/ 1958317 h 3199618"/>
                    <a:gd name="connsiteX126" fmla="*/ 861898 w 1349609"/>
                    <a:gd name="connsiteY126" fmla="*/ 2017795 h 3199618"/>
                    <a:gd name="connsiteX127" fmla="*/ 884276 w 1349609"/>
                    <a:gd name="connsiteY127" fmla="*/ 2078554 h 3199618"/>
                    <a:gd name="connsiteX128" fmla="*/ 908573 w 1349609"/>
                    <a:gd name="connsiteY128" fmla="*/ 2139951 h 3199618"/>
                    <a:gd name="connsiteX129" fmla="*/ 934149 w 1349609"/>
                    <a:gd name="connsiteY129" fmla="*/ 2203266 h 3199618"/>
                    <a:gd name="connsiteX130" fmla="*/ 961643 w 1349609"/>
                    <a:gd name="connsiteY130" fmla="*/ 2268501 h 3199618"/>
                    <a:gd name="connsiteX131" fmla="*/ 990415 w 1349609"/>
                    <a:gd name="connsiteY131" fmla="*/ 2334375 h 3199618"/>
                    <a:gd name="connsiteX132" fmla="*/ 1021745 w 1349609"/>
                    <a:gd name="connsiteY132" fmla="*/ 2403448 h 3199618"/>
                    <a:gd name="connsiteX133" fmla="*/ 1086963 w 1349609"/>
                    <a:gd name="connsiteY133" fmla="*/ 2546708 h 3199618"/>
                    <a:gd name="connsiteX134" fmla="*/ 1157296 w 1349609"/>
                    <a:gd name="connsiteY134" fmla="*/ 2699561 h 3199618"/>
                    <a:gd name="connsiteX135" fmla="*/ 1194381 w 1349609"/>
                    <a:gd name="connsiteY135" fmla="*/ 2779505 h 3199618"/>
                    <a:gd name="connsiteX136" fmla="*/ 1231465 w 1349609"/>
                    <a:gd name="connsiteY136" fmla="*/ 2863287 h 3199618"/>
                    <a:gd name="connsiteX137" fmla="*/ 1270468 w 1349609"/>
                    <a:gd name="connsiteY137" fmla="*/ 2949627 h 3199618"/>
                    <a:gd name="connsiteX138" fmla="*/ 1309471 w 1349609"/>
                    <a:gd name="connsiteY138" fmla="*/ 3039165 h 3199618"/>
                    <a:gd name="connsiteX139" fmla="*/ 1349113 w 1349609"/>
                    <a:gd name="connsiteY139" fmla="*/ 3131900 h 3199618"/>
                    <a:gd name="connsiteX140" fmla="*/ 1349609 w 1349609"/>
                    <a:gd name="connsiteY140" fmla="*/ 3133070 h 3199618"/>
                    <a:gd name="connsiteX141" fmla="*/ 1265076 w 1349609"/>
                    <a:gd name="connsiteY141" fmla="*/ 3199618 h 3199618"/>
                    <a:gd name="connsiteX142" fmla="*/ 1259599 w 1349609"/>
                    <a:gd name="connsiteY142" fmla="*/ 3187542 h 3199618"/>
                    <a:gd name="connsiteX143" fmla="*/ 1232104 w 1349609"/>
                    <a:gd name="connsiteY143" fmla="*/ 3191379 h 3199618"/>
                    <a:gd name="connsiteX144" fmla="*/ 1196938 w 1349609"/>
                    <a:gd name="connsiteY144" fmla="*/ 3195216 h 3199618"/>
                    <a:gd name="connsiteX145" fmla="*/ 1175199 w 1349609"/>
                    <a:gd name="connsiteY145" fmla="*/ 3196495 h 3199618"/>
                    <a:gd name="connsiteX146" fmla="*/ 1152181 w 1349609"/>
                    <a:gd name="connsiteY146" fmla="*/ 3197774 h 3199618"/>
                    <a:gd name="connsiteX147" fmla="*/ 1127245 w 1349609"/>
                    <a:gd name="connsiteY147" fmla="*/ 3198414 h 3199618"/>
                    <a:gd name="connsiteX148" fmla="*/ 1099111 w 1349609"/>
                    <a:gd name="connsiteY148" fmla="*/ 3199054 h 3199618"/>
                    <a:gd name="connsiteX149" fmla="*/ 1069060 w 1349609"/>
                    <a:gd name="connsiteY149" fmla="*/ 3199053 h 3199618"/>
                    <a:gd name="connsiteX150" fmla="*/ 1037091 w 1349609"/>
                    <a:gd name="connsiteY150" fmla="*/ 3198414 h 3199618"/>
                    <a:gd name="connsiteX151" fmla="*/ 1001924 w 1349609"/>
                    <a:gd name="connsiteY151" fmla="*/ 3197135 h 3199618"/>
                    <a:gd name="connsiteX152" fmla="*/ 964840 w 1349609"/>
                    <a:gd name="connsiteY152" fmla="*/ 3195216 h 3199618"/>
                    <a:gd name="connsiteX153" fmla="*/ 925837 w 1349609"/>
                    <a:gd name="connsiteY153" fmla="*/ 3192019 h 3199618"/>
                    <a:gd name="connsiteX154" fmla="*/ 884277 w 1349609"/>
                    <a:gd name="connsiteY154" fmla="*/ 3188821 h 3199618"/>
                    <a:gd name="connsiteX155" fmla="*/ 839519 w 1349609"/>
                    <a:gd name="connsiteY155" fmla="*/ 3183704 h 3199618"/>
                    <a:gd name="connsiteX156" fmla="*/ 792844 w 1349609"/>
                    <a:gd name="connsiteY156" fmla="*/ 3177948 h 3199618"/>
                    <a:gd name="connsiteX157" fmla="*/ 756398 w 1349609"/>
                    <a:gd name="connsiteY157" fmla="*/ 3172192 h 3199618"/>
                    <a:gd name="connsiteX158" fmla="*/ 719953 w 1349609"/>
                    <a:gd name="connsiteY158" fmla="*/ 3165157 h 3199618"/>
                    <a:gd name="connsiteX159" fmla="*/ 684147 w 1349609"/>
                    <a:gd name="connsiteY159" fmla="*/ 3156204 h 3199618"/>
                    <a:gd name="connsiteX160" fmla="*/ 647702 w 1349609"/>
                    <a:gd name="connsiteY160" fmla="*/ 3146610 h 3199618"/>
                    <a:gd name="connsiteX161" fmla="*/ 611897 w 1349609"/>
                    <a:gd name="connsiteY161" fmla="*/ 3135738 h 3199618"/>
                    <a:gd name="connsiteX162" fmla="*/ 576090 w 1349609"/>
                    <a:gd name="connsiteY162" fmla="*/ 3122947 h 3199618"/>
                    <a:gd name="connsiteX163" fmla="*/ 540924 w 1349609"/>
                    <a:gd name="connsiteY163" fmla="*/ 3110156 h 3199618"/>
                    <a:gd name="connsiteX164" fmla="*/ 506397 w 1349609"/>
                    <a:gd name="connsiteY164" fmla="*/ 3096085 h 3199618"/>
                    <a:gd name="connsiteX165" fmla="*/ 471231 w 1349609"/>
                    <a:gd name="connsiteY165" fmla="*/ 3080736 h 3199618"/>
                    <a:gd name="connsiteX166" fmla="*/ 437343 w 1349609"/>
                    <a:gd name="connsiteY166" fmla="*/ 3065386 h 3199618"/>
                    <a:gd name="connsiteX167" fmla="*/ 404095 w 1349609"/>
                    <a:gd name="connsiteY167" fmla="*/ 3049398 h 3199618"/>
                    <a:gd name="connsiteX168" fmla="*/ 372764 w 1349609"/>
                    <a:gd name="connsiteY168" fmla="*/ 3032769 h 3199618"/>
                    <a:gd name="connsiteX169" fmla="*/ 340795 w 1349609"/>
                    <a:gd name="connsiteY169" fmla="*/ 3016141 h 3199618"/>
                    <a:gd name="connsiteX170" fmla="*/ 310104 w 1349609"/>
                    <a:gd name="connsiteY170" fmla="*/ 3000152 h 3199618"/>
                    <a:gd name="connsiteX171" fmla="*/ 280692 w 1349609"/>
                    <a:gd name="connsiteY171" fmla="*/ 2982245 h 3199618"/>
                    <a:gd name="connsiteX172" fmla="*/ 251280 w 1349609"/>
                    <a:gd name="connsiteY172" fmla="*/ 2965616 h 3199618"/>
                    <a:gd name="connsiteX173" fmla="*/ 224426 w 1349609"/>
                    <a:gd name="connsiteY173" fmla="*/ 2948348 h 3199618"/>
                    <a:gd name="connsiteX174" fmla="*/ 198211 w 1349609"/>
                    <a:gd name="connsiteY174" fmla="*/ 2931720 h 3199618"/>
                    <a:gd name="connsiteX175" fmla="*/ 172635 w 1349609"/>
                    <a:gd name="connsiteY175" fmla="*/ 2916370 h 3199618"/>
                    <a:gd name="connsiteX176" fmla="*/ 148978 w 1349609"/>
                    <a:gd name="connsiteY176" fmla="*/ 2901021 h 3199618"/>
                    <a:gd name="connsiteX177" fmla="*/ 106139 w 1349609"/>
                    <a:gd name="connsiteY177" fmla="*/ 2870962 h 3199618"/>
                    <a:gd name="connsiteX178" fmla="*/ 69694 w 1349609"/>
                    <a:gd name="connsiteY178" fmla="*/ 2844740 h 3199618"/>
                    <a:gd name="connsiteX179" fmla="*/ 40282 w 1349609"/>
                    <a:gd name="connsiteY179" fmla="*/ 2823635 h 3199618"/>
                    <a:gd name="connsiteX180" fmla="*/ 17903 w 1349609"/>
                    <a:gd name="connsiteY180" fmla="*/ 2807007 h 3199618"/>
                    <a:gd name="connsiteX181" fmla="*/ 5115 w 1349609"/>
                    <a:gd name="connsiteY181" fmla="*/ 2795495 h 31996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Lst>
                  <a:rect l="l" t="t" r="r" b="b"/>
                  <a:pathLst>
                    <a:path w="1349609" h="3199618">
                      <a:moveTo>
                        <a:pt x="0" y="2792297"/>
                      </a:moveTo>
                      <a:lnTo>
                        <a:pt x="3836" y="2793576"/>
                      </a:lnTo>
                      <a:lnTo>
                        <a:pt x="12788" y="2799332"/>
                      </a:lnTo>
                      <a:lnTo>
                        <a:pt x="26855" y="2808286"/>
                      </a:lnTo>
                      <a:lnTo>
                        <a:pt x="47954" y="2819797"/>
                      </a:lnTo>
                      <a:lnTo>
                        <a:pt x="72891" y="2833868"/>
                      </a:lnTo>
                      <a:lnTo>
                        <a:pt x="103581" y="2850496"/>
                      </a:lnTo>
                      <a:lnTo>
                        <a:pt x="138108" y="2867764"/>
                      </a:lnTo>
                      <a:lnTo>
                        <a:pt x="176472" y="2886951"/>
                      </a:lnTo>
                      <a:lnTo>
                        <a:pt x="218672" y="2906777"/>
                      </a:lnTo>
                      <a:lnTo>
                        <a:pt x="264707" y="2927882"/>
                      </a:lnTo>
                      <a:lnTo>
                        <a:pt x="313301" y="2949627"/>
                      </a:lnTo>
                      <a:lnTo>
                        <a:pt x="365092" y="2970093"/>
                      </a:lnTo>
                      <a:lnTo>
                        <a:pt x="391946" y="2980326"/>
                      </a:lnTo>
                      <a:lnTo>
                        <a:pt x="418800" y="2989919"/>
                      </a:lnTo>
                      <a:lnTo>
                        <a:pt x="446294" y="3000152"/>
                      </a:lnTo>
                      <a:lnTo>
                        <a:pt x="475067" y="3009745"/>
                      </a:lnTo>
                      <a:lnTo>
                        <a:pt x="503200" y="3019339"/>
                      </a:lnTo>
                      <a:lnTo>
                        <a:pt x="532612" y="3027653"/>
                      </a:lnTo>
                      <a:lnTo>
                        <a:pt x="562024" y="3035967"/>
                      </a:lnTo>
                      <a:lnTo>
                        <a:pt x="592075" y="3044281"/>
                      </a:lnTo>
                      <a:lnTo>
                        <a:pt x="616372" y="3050677"/>
                      </a:lnTo>
                      <a:lnTo>
                        <a:pt x="640669" y="3055793"/>
                      </a:lnTo>
                      <a:lnTo>
                        <a:pt x="665605" y="3061549"/>
                      </a:lnTo>
                      <a:lnTo>
                        <a:pt x="689262" y="3066026"/>
                      </a:lnTo>
                      <a:lnTo>
                        <a:pt x="737856" y="3074980"/>
                      </a:lnTo>
                      <a:lnTo>
                        <a:pt x="786450" y="3083294"/>
                      </a:lnTo>
                      <a:lnTo>
                        <a:pt x="834404" y="3089690"/>
                      </a:lnTo>
                      <a:lnTo>
                        <a:pt x="880440" y="3096085"/>
                      </a:lnTo>
                      <a:lnTo>
                        <a:pt x="926476" y="3101202"/>
                      </a:lnTo>
                      <a:lnTo>
                        <a:pt x="969955" y="3104400"/>
                      </a:lnTo>
                      <a:lnTo>
                        <a:pt x="1011515" y="3107597"/>
                      </a:lnTo>
                      <a:lnTo>
                        <a:pt x="1051796" y="3110156"/>
                      </a:lnTo>
                      <a:lnTo>
                        <a:pt x="1088242" y="3112074"/>
                      </a:lnTo>
                      <a:lnTo>
                        <a:pt x="1122769" y="3113353"/>
                      </a:lnTo>
                      <a:lnTo>
                        <a:pt x="1154099" y="3113993"/>
                      </a:lnTo>
                      <a:lnTo>
                        <a:pt x="1181593" y="3113993"/>
                      </a:lnTo>
                      <a:lnTo>
                        <a:pt x="1205889" y="3114632"/>
                      </a:lnTo>
                      <a:lnTo>
                        <a:pt x="1225711" y="3113993"/>
                      </a:lnTo>
                      <a:lnTo>
                        <a:pt x="1189905" y="3037246"/>
                      </a:lnTo>
                      <a:lnTo>
                        <a:pt x="1153460" y="2960500"/>
                      </a:lnTo>
                      <a:lnTo>
                        <a:pt x="1117014" y="2883113"/>
                      </a:lnTo>
                      <a:lnTo>
                        <a:pt x="1080569" y="2805088"/>
                      </a:lnTo>
                      <a:lnTo>
                        <a:pt x="1044763" y="2727701"/>
                      </a:lnTo>
                      <a:lnTo>
                        <a:pt x="1008318" y="2649036"/>
                      </a:lnTo>
                      <a:lnTo>
                        <a:pt x="973791" y="2569731"/>
                      </a:lnTo>
                      <a:lnTo>
                        <a:pt x="939264" y="2490427"/>
                      </a:lnTo>
                      <a:lnTo>
                        <a:pt x="923279" y="2450135"/>
                      </a:lnTo>
                      <a:lnTo>
                        <a:pt x="906655" y="2409843"/>
                      </a:lnTo>
                      <a:lnTo>
                        <a:pt x="890670" y="2369551"/>
                      </a:lnTo>
                      <a:lnTo>
                        <a:pt x="875325" y="2328620"/>
                      </a:lnTo>
                      <a:lnTo>
                        <a:pt x="859980" y="2287687"/>
                      </a:lnTo>
                      <a:lnTo>
                        <a:pt x="845274" y="2246117"/>
                      </a:lnTo>
                      <a:lnTo>
                        <a:pt x="830568" y="2203906"/>
                      </a:lnTo>
                      <a:lnTo>
                        <a:pt x="817140" y="2162335"/>
                      </a:lnTo>
                      <a:lnTo>
                        <a:pt x="803713" y="2119485"/>
                      </a:lnTo>
                      <a:lnTo>
                        <a:pt x="790286" y="2076635"/>
                      </a:lnTo>
                      <a:lnTo>
                        <a:pt x="778138" y="2033784"/>
                      </a:lnTo>
                      <a:lnTo>
                        <a:pt x="766629" y="1990295"/>
                      </a:lnTo>
                      <a:lnTo>
                        <a:pt x="755120" y="1946165"/>
                      </a:lnTo>
                      <a:lnTo>
                        <a:pt x="744889" y="1901397"/>
                      </a:lnTo>
                      <a:lnTo>
                        <a:pt x="735298" y="1857267"/>
                      </a:lnTo>
                      <a:lnTo>
                        <a:pt x="725708" y="1811220"/>
                      </a:lnTo>
                      <a:lnTo>
                        <a:pt x="710363" y="1722961"/>
                      </a:lnTo>
                      <a:lnTo>
                        <a:pt x="699493" y="1634702"/>
                      </a:lnTo>
                      <a:lnTo>
                        <a:pt x="691820" y="1548362"/>
                      </a:lnTo>
                      <a:lnTo>
                        <a:pt x="687344" y="1462022"/>
                      </a:lnTo>
                      <a:lnTo>
                        <a:pt x="686066" y="1376962"/>
                      </a:lnTo>
                      <a:lnTo>
                        <a:pt x="687983" y="1293180"/>
                      </a:lnTo>
                      <a:lnTo>
                        <a:pt x="693099" y="1210038"/>
                      </a:lnTo>
                      <a:lnTo>
                        <a:pt x="700772" y="1128815"/>
                      </a:lnTo>
                      <a:lnTo>
                        <a:pt x="710362" y="1049510"/>
                      </a:lnTo>
                      <a:lnTo>
                        <a:pt x="721871" y="972124"/>
                      </a:lnTo>
                      <a:lnTo>
                        <a:pt x="735938" y="896656"/>
                      </a:lnTo>
                      <a:lnTo>
                        <a:pt x="751923" y="822468"/>
                      </a:lnTo>
                      <a:lnTo>
                        <a:pt x="768547" y="750838"/>
                      </a:lnTo>
                      <a:lnTo>
                        <a:pt x="787089" y="681765"/>
                      </a:lnTo>
                      <a:lnTo>
                        <a:pt x="805631" y="614612"/>
                      </a:lnTo>
                      <a:lnTo>
                        <a:pt x="826092" y="551296"/>
                      </a:lnTo>
                      <a:lnTo>
                        <a:pt x="846552" y="489259"/>
                      </a:lnTo>
                      <a:lnTo>
                        <a:pt x="867652" y="431060"/>
                      </a:lnTo>
                      <a:lnTo>
                        <a:pt x="888113" y="376058"/>
                      </a:lnTo>
                      <a:lnTo>
                        <a:pt x="909213" y="323615"/>
                      </a:lnTo>
                      <a:lnTo>
                        <a:pt x="929673" y="275009"/>
                      </a:lnTo>
                      <a:lnTo>
                        <a:pt x="948855" y="229600"/>
                      </a:lnTo>
                      <a:lnTo>
                        <a:pt x="968676" y="187390"/>
                      </a:lnTo>
                      <a:lnTo>
                        <a:pt x="986579" y="150296"/>
                      </a:lnTo>
                      <a:lnTo>
                        <a:pt x="1003203" y="116399"/>
                      </a:lnTo>
                      <a:lnTo>
                        <a:pt x="1018548" y="85700"/>
                      </a:lnTo>
                      <a:lnTo>
                        <a:pt x="1031336" y="60118"/>
                      </a:lnTo>
                      <a:lnTo>
                        <a:pt x="1043484" y="39013"/>
                      </a:lnTo>
                      <a:lnTo>
                        <a:pt x="1060109" y="9593"/>
                      </a:lnTo>
                      <a:lnTo>
                        <a:pt x="1065224" y="0"/>
                      </a:lnTo>
                      <a:lnTo>
                        <a:pt x="1062027" y="9594"/>
                      </a:lnTo>
                      <a:lnTo>
                        <a:pt x="1053075" y="37094"/>
                      </a:lnTo>
                      <a:lnTo>
                        <a:pt x="1038369" y="80584"/>
                      </a:lnTo>
                      <a:lnTo>
                        <a:pt x="1019827" y="138784"/>
                      </a:lnTo>
                      <a:lnTo>
                        <a:pt x="997448" y="209774"/>
                      </a:lnTo>
                      <a:lnTo>
                        <a:pt x="973152" y="293556"/>
                      </a:lnTo>
                      <a:lnTo>
                        <a:pt x="946297" y="386931"/>
                      </a:lnTo>
                      <a:lnTo>
                        <a:pt x="918803" y="488620"/>
                      </a:lnTo>
                      <a:lnTo>
                        <a:pt x="904737" y="542982"/>
                      </a:lnTo>
                      <a:lnTo>
                        <a:pt x="890670" y="598623"/>
                      </a:lnTo>
                      <a:lnTo>
                        <a:pt x="877243" y="655543"/>
                      </a:lnTo>
                      <a:lnTo>
                        <a:pt x="863177" y="713743"/>
                      </a:lnTo>
                      <a:lnTo>
                        <a:pt x="850389" y="773222"/>
                      </a:lnTo>
                      <a:lnTo>
                        <a:pt x="837601" y="833340"/>
                      </a:lnTo>
                      <a:lnTo>
                        <a:pt x="825453" y="894098"/>
                      </a:lnTo>
                      <a:lnTo>
                        <a:pt x="813304" y="955495"/>
                      </a:lnTo>
                      <a:lnTo>
                        <a:pt x="802434" y="1016892"/>
                      </a:lnTo>
                      <a:lnTo>
                        <a:pt x="792844" y="1078929"/>
                      </a:lnTo>
                      <a:lnTo>
                        <a:pt x="783892" y="1140966"/>
                      </a:lnTo>
                      <a:lnTo>
                        <a:pt x="776220" y="1201723"/>
                      </a:lnTo>
                      <a:lnTo>
                        <a:pt x="769186" y="1262481"/>
                      </a:lnTo>
                      <a:lnTo>
                        <a:pt x="763432" y="1323239"/>
                      </a:lnTo>
                      <a:lnTo>
                        <a:pt x="759596" y="1382078"/>
                      </a:lnTo>
                      <a:lnTo>
                        <a:pt x="756399" y="1440918"/>
                      </a:lnTo>
                      <a:lnTo>
                        <a:pt x="755759" y="1498477"/>
                      </a:lnTo>
                      <a:lnTo>
                        <a:pt x="758317" y="1556037"/>
                      </a:lnTo>
                      <a:lnTo>
                        <a:pt x="762793" y="1612958"/>
                      </a:lnTo>
                      <a:lnTo>
                        <a:pt x="769826" y="1669239"/>
                      </a:lnTo>
                      <a:lnTo>
                        <a:pt x="779416" y="1726158"/>
                      </a:lnTo>
                      <a:lnTo>
                        <a:pt x="792204" y="1783718"/>
                      </a:lnTo>
                      <a:lnTo>
                        <a:pt x="805631" y="1841279"/>
                      </a:lnTo>
                      <a:lnTo>
                        <a:pt x="822256" y="1899478"/>
                      </a:lnTo>
                      <a:lnTo>
                        <a:pt x="840798" y="1958317"/>
                      </a:lnTo>
                      <a:lnTo>
                        <a:pt x="861898" y="2017795"/>
                      </a:lnTo>
                      <a:lnTo>
                        <a:pt x="884276" y="2078554"/>
                      </a:lnTo>
                      <a:lnTo>
                        <a:pt x="908573" y="2139951"/>
                      </a:lnTo>
                      <a:lnTo>
                        <a:pt x="934149" y="2203266"/>
                      </a:lnTo>
                      <a:lnTo>
                        <a:pt x="961643" y="2268501"/>
                      </a:lnTo>
                      <a:lnTo>
                        <a:pt x="990415" y="2334375"/>
                      </a:lnTo>
                      <a:lnTo>
                        <a:pt x="1021745" y="2403448"/>
                      </a:lnTo>
                      <a:lnTo>
                        <a:pt x="1086963" y="2546708"/>
                      </a:lnTo>
                      <a:lnTo>
                        <a:pt x="1157296" y="2699561"/>
                      </a:lnTo>
                      <a:lnTo>
                        <a:pt x="1194381" y="2779505"/>
                      </a:lnTo>
                      <a:lnTo>
                        <a:pt x="1231465" y="2863287"/>
                      </a:lnTo>
                      <a:lnTo>
                        <a:pt x="1270468" y="2949627"/>
                      </a:lnTo>
                      <a:lnTo>
                        <a:pt x="1309471" y="3039165"/>
                      </a:lnTo>
                      <a:lnTo>
                        <a:pt x="1349113" y="3131900"/>
                      </a:lnTo>
                      <a:lnTo>
                        <a:pt x="1349609" y="3133070"/>
                      </a:lnTo>
                      <a:lnTo>
                        <a:pt x="1265076" y="3199618"/>
                      </a:lnTo>
                      <a:lnTo>
                        <a:pt x="1259599" y="3187542"/>
                      </a:lnTo>
                      <a:lnTo>
                        <a:pt x="1232104" y="3191379"/>
                      </a:lnTo>
                      <a:lnTo>
                        <a:pt x="1196938" y="3195216"/>
                      </a:lnTo>
                      <a:lnTo>
                        <a:pt x="1175199" y="3196495"/>
                      </a:lnTo>
                      <a:lnTo>
                        <a:pt x="1152181" y="3197774"/>
                      </a:lnTo>
                      <a:lnTo>
                        <a:pt x="1127245" y="3198414"/>
                      </a:lnTo>
                      <a:lnTo>
                        <a:pt x="1099111" y="3199054"/>
                      </a:lnTo>
                      <a:lnTo>
                        <a:pt x="1069060" y="3199053"/>
                      </a:lnTo>
                      <a:lnTo>
                        <a:pt x="1037091" y="3198414"/>
                      </a:lnTo>
                      <a:lnTo>
                        <a:pt x="1001924" y="3197135"/>
                      </a:lnTo>
                      <a:lnTo>
                        <a:pt x="964840" y="3195216"/>
                      </a:lnTo>
                      <a:lnTo>
                        <a:pt x="925837" y="3192019"/>
                      </a:lnTo>
                      <a:lnTo>
                        <a:pt x="884277" y="3188821"/>
                      </a:lnTo>
                      <a:lnTo>
                        <a:pt x="839519" y="3183704"/>
                      </a:lnTo>
                      <a:lnTo>
                        <a:pt x="792844" y="3177948"/>
                      </a:lnTo>
                      <a:lnTo>
                        <a:pt x="756398" y="3172192"/>
                      </a:lnTo>
                      <a:lnTo>
                        <a:pt x="719953" y="3165157"/>
                      </a:lnTo>
                      <a:lnTo>
                        <a:pt x="684147" y="3156204"/>
                      </a:lnTo>
                      <a:lnTo>
                        <a:pt x="647702" y="3146610"/>
                      </a:lnTo>
                      <a:lnTo>
                        <a:pt x="611897" y="3135738"/>
                      </a:lnTo>
                      <a:lnTo>
                        <a:pt x="576090" y="3122947"/>
                      </a:lnTo>
                      <a:lnTo>
                        <a:pt x="540924" y="3110156"/>
                      </a:lnTo>
                      <a:lnTo>
                        <a:pt x="506397" y="3096085"/>
                      </a:lnTo>
                      <a:lnTo>
                        <a:pt x="471231" y="3080736"/>
                      </a:lnTo>
                      <a:lnTo>
                        <a:pt x="437343" y="3065386"/>
                      </a:lnTo>
                      <a:lnTo>
                        <a:pt x="404095" y="3049398"/>
                      </a:lnTo>
                      <a:lnTo>
                        <a:pt x="372764" y="3032769"/>
                      </a:lnTo>
                      <a:lnTo>
                        <a:pt x="340795" y="3016141"/>
                      </a:lnTo>
                      <a:lnTo>
                        <a:pt x="310104" y="3000152"/>
                      </a:lnTo>
                      <a:lnTo>
                        <a:pt x="280692" y="2982245"/>
                      </a:lnTo>
                      <a:lnTo>
                        <a:pt x="251280" y="2965616"/>
                      </a:lnTo>
                      <a:lnTo>
                        <a:pt x="224426" y="2948348"/>
                      </a:lnTo>
                      <a:lnTo>
                        <a:pt x="198211" y="2931720"/>
                      </a:lnTo>
                      <a:lnTo>
                        <a:pt x="172635" y="2916370"/>
                      </a:lnTo>
                      <a:lnTo>
                        <a:pt x="148978" y="2901021"/>
                      </a:lnTo>
                      <a:lnTo>
                        <a:pt x="106139" y="2870962"/>
                      </a:lnTo>
                      <a:lnTo>
                        <a:pt x="69694" y="2844740"/>
                      </a:lnTo>
                      <a:lnTo>
                        <a:pt x="40282" y="2823635"/>
                      </a:lnTo>
                      <a:lnTo>
                        <a:pt x="17903" y="2807007"/>
                      </a:lnTo>
                      <a:lnTo>
                        <a:pt x="5115" y="2795495"/>
                      </a:lnTo>
                      <a:close/>
                    </a:path>
                  </a:pathLst>
                </a:custGeom>
                <a:solidFill>
                  <a:schemeClr val="bg2">
                    <a:lumMod val="9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sp>
            <p:nvSpPr>
              <p:cNvPr id="11" name="Rectangle 9">
                <a:extLst>
                  <a:ext uri="{FF2B5EF4-FFF2-40B4-BE49-F238E27FC236}">
                    <a16:creationId xmlns:a16="http://schemas.microsoft.com/office/drawing/2014/main" id="{96A759CD-BF31-4B23-9840-1BEA8127D3B1}"/>
                  </a:ext>
                </a:extLst>
              </p:cNvPr>
              <p:cNvSpPr/>
              <p:nvPr/>
            </p:nvSpPr>
            <p:spPr>
              <a:xfrm rot="1065387">
                <a:off x="2361995" y="5854001"/>
                <a:ext cx="1344729" cy="350280"/>
              </a:xfrm>
              <a:prstGeom prst="rect">
                <a:avLst/>
              </a:prstGeom>
            </p:spPr>
            <p:txBody>
              <a:bodyPr wrap="square">
                <a:spAutoFit/>
              </a:body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等线" panose="020F0502020204030204"/>
                    <a:ea typeface="+mn-ea"/>
                    <a:cs typeface="Segoe UI Light" panose="020B0502040204020203" pitchFamily="34" charset="0"/>
                  </a:rPr>
                  <a:t>CHURN</a:t>
                </a:r>
              </a:p>
            </p:txBody>
          </p:sp>
          <p:grpSp>
            <p:nvGrpSpPr>
              <p:cNvPr id="12" name="Group 10">
                <a:extLst>
                  <a:ext uri="{FF2B5EF4-FFF2-40B4-BE49-F238E27FC236}">
                    <a16:creationId xmlns:a16="http://schemas.microsoft.com/office/drawing/2014/main" id="{3B1BC0C2-D23C-4FCF-B6F8-285BDEFC6B62}"/>
                  </a:ext>
                </a:extLst>
              </p:cNvPr>
              <p:cNvGrpSpPr/>
              <p:nvPr/>
            </p:nvGrpSpPr>
            <p:grpSpPr>
              <a:xfrm rot="699716">
                <a:off x="2529710" y="3816991"/>
                <a:ext cx="2493859" cy="1693372"/>
                <a:chOff x="2489523" y="3644923"/>
                <a:chExt cx="2493859" cy="1693372"/>
              </a:xfrm>
            </p:grpSpPr>
            <p:sp>
              <p:nvSpPr>
                <p:cNvPr id="27" name="Freeform 10">
                  <a:extLst>
                    <a:ext uri="{FF2B5EF4-FFF2-40B4-BE49-F238E27FC236}">
                      <a16:creationId xmlns:a16="http://schemas.microsoft.com/office/drawing/2014/main" id="{D75459B9-2EA8-478C-89B5-88433D49D41C}"/>
                    </a:ext>
                  </a:extLst>
                </p:cNvPr>
                <p:cNvSpPr>
                  <a:spLocks/>
                </p:cNvSpPr>
                <p:nvPr/>
              </p:nvSpPr>
              <p:spPr bwMode="auto">
                <a:xfrm rot="1800000">
                  <a:off x="3506187" y="3888455"/>
                  <a:ext cx="1477195" cy="1449840"/>
                </a:xfrm>
                <a:custGeom>
                  <a:avLst/>
                  <a:gdLst>
                    <a:gd name="T0" fmla="*/ 526 w 3239"/>
                    <a:gd name="T1" fmla="*/ 3044 h 3179"/>
                    <a:gd name="T2" fmla="*/ 438 w 3239"/>
                    <a:gd name="T3" fmla="*/ 2994 h 3179"/>
                    <a:gd name="T4" fmla="*/ 308 w 3239"/>
                    <a:gd name="T5" fmla="*/ 2911 h 3179"/>
                    <a:gd name="T6" fmla="*/ 203 w 3239"/>
                    <a:gd name="T7" fmla="*/ 2823 h 3179"/>
                    <a:gd name="T8" fmla="*/ 107 w 3239"/>
                    <a:gd name="T9" fmla="*/ 2713 h 3179"/>
                    <a:gd name="T10" fmla="*/ 35 w 3239"/>
                    <a:gd name="T11" fmla="*/ 2578 h 3179"/>
                    <a:gd name="T12" fmla="*/ 1 w 3239"/>
                    <a:gd name="T13" fmla="*/ 2418 h 3179"/>
                    <a:gd name="T14" fmla="*/ 18 w 3239"/>
                    <a:gd name="T15" fmla="*/ 2230 h 3179"/>
                    <a:gd name="T16" fmla="*/ 102 w 3239"/>
                    <a:gd name="T17" fmla="*/ 2012 h 3179"/>
                    <a:gd name="T18" fmla="*/ 267 w 3239"/>
                    <a:gd name="T19" fmla="*/ 1764 h 3179"/>
                    <a:gd name="T20" fmla="*/ 504 w 3239"/>
                    <a:gd name="T21" fmla="*/ 1504 h 3179"/>
                    <a:gd name="T22" fmla="*/ 748 w 3239"/>
                    <a:gd name="T23" fmla="*/ 1300 h 3179"/>
                    <a:gd name="T24" fmla="*/ 989 w 3239"/>
                    <a:gd name="T25" fmla="*/ 1149 h 3179"/>
                    <a:gd name="T26" fmla="*/ 1225 w 3239"/>
                    <a:gd name="T27" fmla="*/ 1040 h 3179"/>
                    <a:gd name="T28" fmla="*/ 1453 w 3239"/>
                    <a:gd name="T29" fmla="*/ 963 h 3179"/>
                    <a:gd name="T30" fmla="*/ 1672 w 3239"/>
                    <a:gd name="T31" fmla="*/ 906 h 3179"/>
                    <a:gd name="T32" fmla="*/ 1878 w 3239"/>
                    <a:gd name="T33" fmla="*/ 863 h 3179"/>
                    <a:gd name="T34" fmla="*/ 2068 w 3239"/>
                    <a:gd name="T35" fmla="*/ 821 h 3179"/>
                    <a:gd name="T36" fmla="*/ 2239 w 3239"/>
                    <a:gd name="T37" fmla="*/ 770 h 3179"/>
                    <a:gd name="T38" fmla="*/ 2390 w 3239"/>
                    <a:gd name="T39" fmla="*/ 701 h 3179"/>
                    <a:gd name="T40" fmla="*/ 2515 w 3239"/>
                    <a:gd name="T41" fmla="*/ 602 h 3179"/>
                    <a:gd name="T42" fmla="*/ 2618 w 3239"/>
                    <a:gd name="T43" fmla="*/ 493 h 3179"/>
                    <a:gd name="T44" fmla="*/ 2701 w 3239"/>
                    <a:gd name="T45" fmla="*/ 395 h 3179"/>
                    <a:gd name="T46" fmla="*/ 2766 w 3239"/>
                    <a:gd name="T47" fmla="*/ 308 h 3179"/>
                    <a:gd name="T48" fmla="*/ 2817 w 3239"/>
                    <a:gd name="T49" fmla="*/ 231 h 3179"/>
                    <a:gd name="T50" fmla="*/ 2854 w 3239"/>
                    <a:gd name="T51" fmla="*/ 166 h 3179"/>
                    <a:gd name="T52" fmla="*/ 2891 w 3239"/>
                    <a:gd name="T53" fmla="*/ 82 h 3179"/>
                    <a:gd name="T54" fmla="*/ 2909 w 3239"/>
                    <a:gd name="T55" fmla="*/ 8 h 3179"/>
                    <a:gd name="T56" fmla="*/ 2933 w 3239"/>
                    <a:gd name="T57" fmla="*/ 38 h 3179"/>
                    <a:gd name="T58" fmla="*/ 3011 w 3239"/>
                    <a:gd name="T59" fmla="*/ 188 h 3179"/>
                    <a:gd name="T60" fmla="*/ 3069 w 3239"/>
                    <a:gd name="T61" fmla="*/ 325 h 3179"/>
                    <a:gd name="T62" fmla="*/ 3129 w 3239"/>
                    <a:gd name="T63" fmla="*/ 492 h 3179"/>
                    <a:gd name="T64" fmla="*/ 3182 w 3239"/>
                    <a:gd name="T65" fmla="*/ 686 h 3179"/>
                    <a:gd name="T66" fmla="*/ 3221 w 3239"/>
                    <a:gd name="T67" fmla="*/ 901 h 3179"/>
                    <a:gd name="T68" fmla="*/ 3239 w 3239"/>
                    <a:gd name="T69" fmla="*/ 1137 h 3179"/>
                    <a:gd name="T70" fmla="*/ 3229 w 3239"/>
                    <a:gd name="T71" fmla="*/ 1387 h 3179"/>
                    <a:gd name="T72" fmla="*/ 3182 w 3239"/>
                    <a:gd name="T73" fmla="*/ 1648 h 3179"/>
                    <a:gd name="T74" fmla="*/ 3093 w 3239"/>
                    <a:gd name="T75" fmla="*/ 1914 h 3179"/>
                    <a:gd name="T76" fmla="*/ 2986 w 3239"/>
                    <a:gd name="T77" fmla="*/ 2155 h 3179"/>
                    <a:gd name="T78" fmla="*/ 2866 w 3239"/>
                    <a:gd name="T79" fmla="*/ 2365 h 3179"/>
                    <a:gd name="T80" fmla="*/ 2735 w 3239"/>
                    <a:gd name="T81" fmla="*/ 2545 h 3179"/>
                    <a:gd name="T82" fmla="*/ 2592 w 3239"/>
                    <a:gd name="T83" fmla="*/ 2699 h 3179"/>
                    <a:gd name="T84" fmla="*/ 2438 w 3239"/>
                    <a:gd name="T85" fmla="*/ 2825 h 3179"/>
                    <a:gd name="T86" fmla="*/ 2275 w 3239"/>
                    <a:gd name="T87" fmla="*/ 2930 h 3179"/>
                    <a:gd name="T88" fmla="*/ 2102 w 3239"/>
                    <a:gd name="T89" fmla="*/ 3012 h 3179"/>
                    <a:gd name="T90" fmla="*/ 1920 w 3239"/>
                    <a:gd name="T91" fmla="*/ 3076 h 3179"/>
                    <a:gd name="T92" fmla="*/ 1728 w 3239"/>
                    <a:gd name="T93" fmla="*/ 3123 h 3179"/>
                    <a:gd name="T94" fmla="*/ 1529 w 3239"/>
                    <a:gd name="T95" fmla="*/ 3154 h 3179"/>
                    <a:gd name="T96" fmla="*/ 1330 w 3239"/>
                    <a:gd name="T97" fmla="*/ 3173 h 3179"/>
                    <a:gd name="T98" fmla="*/ 1157 w 3239"/>
                    <a:gd name="T99" fmla="*/ 3179 h 3179"/>
                    <a:gd name="T100" fmla="*/ 1008 w 3239"/>
                    <a:gd name="T101" fmla="*/ 3176 h 3179"/>
                    <a:gd name="T102" fmla="*/ 885 w 3239"/>
                    <a:gd name="T103" fmla="*/ 3165 h 3179"/>
                    <a:gd name="T104" fmla="*/ 783 w 3239"/>
                    <a:gd name="T105" fmla="*/ 3149 h 3179"/>
                    <a:gd name="T106" fmla="*/ 703 w 3239"/>
                    <a:gd name="T107" fmla="*/ 3129 h 3179"/>
                    <a:gd name="T108" fmla="*/ 640 w 3239"/>
                    <a:gd name="T109" fmla="*/ 3109 h 3179"/>
                    <a:gd name="T110" fmla="*/ 566 w 3239"/>
                    <a:gd name="T111" fmla="*/ 3073 h 3179"/>
                    <a:gd name="T112" fmla="*/ 543 w 3239"/>
                    <a:gd name="T113" fmla="*/ 3057 h 3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239" h="3179">
                      <a:moveTo>
                        <a:pt x="543" y="3057"/>
                      </a:moveTo>
                      <a:lnTo>
                        <a:pt x="538" y="3051"/>
                      </a:lnTo>
                      <a:lnTo>
                        <a:pt x="526" y="3044"/>
                      </a:lnTo>
                      <a:lnTo>
                        <a:pt x="510" y="3034"/>
                      </a:lnTo>
                      <a:lnTo>
                        <a:pt x="490" y="3022"/>
                      </a:lnTo>
                      <a:lnTo>
                        <a:pt x="438" y="2994"/>
                      </a:lnTo>
                      <a:lnTo>
                        <a:pt x="376" y="2956"/>
                      </a:lnTo>
                      <a:lnTo>
                        <a:pt x="343" y="2935"/>
                      </a:lnTo>
                      <a:lnTo>
                        <a:pt x="308" y="2911"/>
                      </a:lnTo>
                      <a:lnTo>
                        <a:pt x="273" y="2884"/>
                      </a:lnTo>
                      <a:lnTo>
                        <a:pt x="238" y="2854"/>
                      </a:lnTo>
                      <a:lnTo>
                        <a:pt x="203" y="2823"/>
                      </a:lnTo>
                      <a:lnTo>
                        <a:pt x="169" y="2789"/>
                      </a:lnTo>
                      <a:lnTo>
                        <a:pt x="137" y="2753"/>
                      </a:lnTo>
                      <a:lnTo>
                        <a:pt x="107" y="2713"/>
                      </a:lnTo>
                      <a:lnTo>
                        <a:pt x="80" y="2672"/>
                      </a:lnTo>
                      <a:lnTo>
                        <a:pt x="56" y="2626"/>
                      </a:lnTo>
                      <a:lnTo>
                        <a:pt x="35" y="2578"/>
                      </a:lnTo>
                      <a:lnTo>
                        <a:pt x="18" y="2529"/>
                      </a:lnTo>
                      <a:lnTo>
                        <a:pt x="7" y="2475"/>
                      </a:lnTo>
                      <a:lnTo>
                        <a:pt x="1" y="2418"/>
                      </a:lnTo>
                      <a:lnTo>
                        <a:pt x="0" y="2359"/>
                      </a:lnTo>
                      <a:lnTo>
                        <a:pt x="5" y="2296"/>
                      </a:lnTo>
                      <a:lnTo>
                        <a:pt x="18" y="2230"/>
                      </a:lnTo>
                      <a:lnTo>
                        <a:pt x="38" y="2161"/>
                      </a:lnTo>
                      <a:lnTo>
                        <a:pt x="66" y="2088"/>
                      </a:lnTo>
                      <a:lnTo>
                        <a:pt x="102" y="2012"/>
                      </a:lnTo>
                      <a:lnTo>
                        <a:pt x="148" y="1932"/>
                      </a:lnTo>
                      <a:lnTo>
                        <a:pt x="202" y="1850"/>
                      </a:lnTo>
                      <a:lnTo>
                        <a:pt x="267" y="1764"/>
                      </a:lnTo>
                      <a:lnTo>
                        <a:pt x="343" y="1673"/>
                      </a:lnTo>
                      <a:lnTo>
                        <a:pt x="423" y="1585"/>
                      </a:lnTo>
                      <a:lnTo>
                        <a:pt x="504" y="1504"/>
                      </a:lnTo>
                      <a:lnTo>
                        <a:pt x="585" y="1429"/>
                      </a:lnTo>
                      <a:lnTo>
                        <a:pt x="666" y="1362"/>
                      </a:lnTo>
                      <a:lnTo>
                        <a:pt x="748" y="1300"/>
                      </a:lnTo>
                      <a:lnTo>
                        <a:pt x="828" y="1245"/>
                      </a:lnTo>
                      <a:lnTo>
                        <a:pt x="909" y="1194"/>
                      </a:lnTo>
                      <a:lnTo>
                        <a:pt x="989" y="1149"/>
                      </a:lnTo>
                      <a:lnTo>
                        <a:pt x="1068" y="1109"/>
                      </a:lnTo>
                      <a:lnTo>
                        <a:pt x="1147" y="1072"/>
                      </a:lnTo>
                      <a:lnTo>
                        <a:pt x="1225" y="1040"/>
                      </a:lnTo>
                      <a:lnTo>
                        <a:pt x="1302" y="1011"/>
                      </a:lnTo>
                      <a:lnTo>
                        <a:pt x="1379" y="985"/>
                      </a:lnTo>
                      <a:lnTo>
                        <a:pt x="1453" y="963"/>
                      </a:lnTo>
                      <a:lnTo>
                        <a:pt x="1528" y="942"/>
                      </a:lnTo>
                      <a:lnTo>
                        <a:pt x="1601" y="924"/>
                      </a:lnTo>
                      <a:lnTo>
                        <a:pt x="1672" y="906"/>
                      </a:lnTo>
                      <a:lnTo>
                        <a:pt x="1742" y="891"/>
                      </a:lnTo>
                      <a:lnTo>
                        <a:pt x="1811" y="877"/>
                      </a:lnTo>
                      <a:lnTo>
                        <a:pt x="1878" y="863"/>
                      </a:lnTo>
                      <a:lnTo>
                        <a:pt x="1943" y="849"/>
                      </a:lnTo>
                      <a:lnTo>
                        <a:pt x="2006" y="835"/>
                      </a:lnTo>
                      <a:lnTo>
                        <a:pt x="2068" y="821"/>
                      </a:lnTo>
                      <a:lnTo>
                        <a:pt x="2127" y="805"/>
                      </a:lnTo>
                      <a:lnTo>
                        <a:pt x="2184" y="788"/>
                      </a:lnTo>
                      <a:lnTo>
                        <a:pt x="2239" y="770"/>
                      </a:lnTo>
                      <a:lnTo>
                        <a:pt x="2291" y="749"/>
                      </a:lnTo>
                      <a:lnTo>
                        <a:pt x="2342" y="727"/>
                      </a:lnTo>
                      <a:lnTo>
                        <a:pt x="2390" y="701"/>
                      </a:lnTo>
                      <a:lnTo>
                        <a:pt x="2434" y="672"/>
                      </a:lnTo>
                      <a:lnTo>
                        <a:pt x="2476" y="639"/>
                      </a:lnTo>
                      <a:lnTo>
                        <a:pt x="2515" y="602"/>
                      </a:lnTo>
                      <a:lnTo>
                        <a:pt x="2552" y="564"/>
                      </a:lnTo>
                      <a:lnTo>
                        <a:pt x="2586" y="529"/>
                      </a:lnTo>
                      <a:lnTo>
                        <a:pt x="2618" y="493"/>
                      </a:lnTo>
                      <a:lnTo>
                        <a:pt x="2647" y="459"/>
                      </a:lnTo>
                      <a:lnTo>
                        <a:pt x="2675" y="426"/>
                      </a:lnTo>
                      <a:lnTo>
                        <a:pt x="2701" y="395"/>
                      </a:lnTo>
                      <a:lnTo>
                        <a:pt x="2725" y="364"/>
                      </a:lnTo>
                      <a:lnTo>
                        <a:pt x="2747" y="335"/>
                      </a:lnTo>
                      <a:lnTo>
                        <a:pt x="2766" y="308"/>
                      </a:lnTo>
                      <a:lnTo>
                        <a:pt x="2785" y="281"/>
                      </a:lnTo>
                      <a:lnTo>
                        <a:pt x="2802" y="256"/>
                      </a:lnTo>
                      <a:lnTo>
                        <a:pt x="2817" y="231"/>
                      </a:lnTo>
                      <a:lnTo>
                        <a:pt x="2830" y="208"/>
                      </a:lnTo>
                      <a:lnTo>
                        <a:pt x="2843" y="187"/>
                      </a:lnTo>
                      <a:lnTo>
                        <a:pt x="2854" y="166"/>
                      </a:lnTo>
                      <a:lnTo>
                        <a:pt x="2864" y="147"/>
                      </a:lnTo>
                      <a:lnTo>
                        <a:pt x="2879" y="112"/>
                      </a:lnTo>
                      <a:lnTo>
                        <a:pt x="2891" y="82"/>
                      </a:lnTo>
                      <a:lnTo>
                        <a:pt x="2900" y="57"/>
                      </a:lnTo>
                      <a:lnTo>
                        <a:pt x="2905" y="36"/>
                      </a:lnTo>
                      <a:lnTo>
                        <a:pt x="2909" y="8"/>
                      </a:lnTo>
                      <a:lnTo>
                        <a:pt x="2909" y="0"/>
                      </a:lnTo>
                      <a:lnTo>
                        <a:pt x="2916" y="9"/>
                      </a:lnTo>
                      <a:lnTo>
                        <a:pt x="2933" y="38"/>
                      </a:lnTo>
                      <a:lnTo>
                        <a:pt x="2959" y="86"/>
                      </a:lnTo>
                      <a:lnTo>
                        <a:pt x="2993" y="150"/>
                      </a:lnTo>
                      <a:lnTo>
                        <a:pt x="3011" y="188"/>
                      </a:lnTo>
                      <a:lnTo>
                        <a:pt x="3029" y="230"/>
                      </a:lnTo>
                      <a:lnTo>
                        <a:pt x="3050" y="275"/>
                      </a:lnTo>
                      <a:lnTo>
                        <a:pt x="3069" y="325"/>
                      </a:lnTo>
                      <a:lnTo>
                        <a:pt x="3090" y="377"/>
                      </a:lnTo>
                      <a:lnTo>
                        <a:pt x="3110" y="432"/>
                      </a:lnTo>
                      <a:lnTo>
                        <a:pt x="3129" y="492"/>
                      </a:lnTo>
                      <a:lnTo>
                        <a:pt x="3149" y="554"/>
                      </a:lnTo>
                      <a:lnTo>
                        <a:pt x="3166" y="619"/>
                      </a:lnTo>
                      <a:lnTo>
                        <a:pt x="3182" y="686"/>
                      </a:lnTo>
                      <a:lnTo>
                        <a:pt x="3197" y="755"/>
                      </a:lnTo>
                      <a:lnTo>
                        <a:pt x="3210" y="827"/>
                      </a:lnTo>
                      <a:lnTo>
                        <a:pt x="3221" y="901"/>
                      </a:lnTo>
                      <a:lnTo>
                        <a:pt x="3230" y="978"/>
                      </a:lnTo>
                      <a:lnTo>
                        <a:pt x="3236" y="1056"/>
                      </a:lnTo>
                      <a:lnTo>
                        <a:pt x="3239" y="1137"/>
                      </a:lnTo>
                      <a:lnTo>
                        <a:pt x="3239" y="1218"/>
                      </a:lnTo>
                      <a:lnTo>
                        <a:pt x="3235" y="1301"/>
                      </a:lnTo>
                      <a:lnTo>
                        <a:pt x="3229" y="1387"/>
                      </a:lnTo>
                      <a:lnTo>
                        <a:pt x="3217" y="1472"/>
                      </a:lnTo>
                      <a:lnTo>
                        <a:pt x="3202" y="1559"/>
                      </a:lnTo>
                      <a:lnTo>
                        <a:pt x="3182" y="1648"/>
                      </a:lnTo>
                      <a:lnTo>
                        <a:pt x="3157" y="1736"/>
                      </a:lnTo>
                      <a:lnTo>
                        <a:pt x="3127" y="1826"/>
                      </a:lnTo>
                      <a:lnTo>
                        <a:pt x="3093" y="1914"/>
                      </a:lnTo>
                      <a:lnTo>
                        <a:pt x="3060" y="1998"/>
                      </a:lnTo>
                      <a:lnTo>
                        <a:pt x="3023" y="2078"/>
                      </a:lnTo>
                      <a:lnTo>
                        <a:pt x="2986" y="2155"/>
                      </a:lnTo>
                      <a:lnTo>
                        <a:pt x="2947" y="2229"/>
                      </a:lnTo>
                      <a:lnTo>
                        <a:pt x="2907" y="2298"/>
                      </a:lnTo>
                      <a:lnTo>
                        <a:pt x="2866" y="2365"/>
                      </a:lnTo>
                      <a:lnTo>
                        <a:pt x="2824" y="2428"/>
                      </a:lnTo>
                      <a:lnTo>
                        <a:pt x="2779" y="2489"/>
                      </a:lnTo>
                      <a:lnTo>
                        <a:pt x="2735" y="2545"/>
                      </a:lnTo>
                      <a:lnTo>
                        <a:pt x="2688" y="2599"/>
                      </a:lnTo>
                      <a:lnTo>
                        <a:pt x="2641" y="2650"/>
                      </a:lnTo>
                      <a:lnTo>
                        <a:pt x="2592" y="2699"/>
                      </a:lnTo>
                      <a:lnTo>
                        <a:pt x="2542" y="2743"/>
                      </a:lnTo>
                      <a:lnTo>
                        <a:pt x="2491" y="2786"/>
                      </a:lnTo>
                      <a:lnTo>
                        <a:pt x="2438" y="2825"/>
                      </a:lnTo>
                      <a:lnTo>
                        <a:pt x="2385" y="2863"/>
                      </a:lnTo>
                      <a:lnTo>
                        <a:pt x="2331" y="2898"/>
                      </a:lnTo>
                      <a:lnTo>
                        <a:pt x="2275" y="2930"/>
                      </a:lnTo>
                      <a:lnTo>
                        <a:pt x="2219" y="2959"/>
                      </a:lnTo>
                      <a:lnTo>
                        <a:pt x="2161" y="2988"/>
                      </a:lnTo>
                      <a:lnTo>
                        <a:pt x="2102" y="3012"/>
                      </a:lnTo>
                      <a:lnTo>
                        <a:pt x="2042" y="3036"/>
                      </a:lnTo>
                      <a:lnTo>
                        <a:pt x="1982" y="3057"/>
                      </a:lnTo>
                      <a:lnTo>
                        <a:pt x="1920" y="3076"/>
                      </a:lnTo>
                      <a:lnTo>
                        <a:pt x="1857" y="3094"/>
                      </a:lnTo>
                      <a:lnTo>
                        <a:pt x="1793" y="3109"/>
                      </a:lnTo>
                      <a:lnTo>
                        <a:pt x="1728" y="3123"/>
                      </a:lnTo>
                      <a:lnTo>
                        <a:pt x="1663" y="3135"/>
                      </a:lnTo>
                      <a:lnTo>
                        <a:pt x="1596" y="3146"/>
                      </a:lnTo>
                      <a:lnTo>
                        <a:pt x="1529" y="3154"/>
                      </a:lnTo>
                      <a:lnTo>
                        <a:pt x="1461" y="3162"/>
                      </a:lnTo>
                      <a:lnTo>
                        <a:pt x="1394" y="3167"/>
                      </a:lnTo>
                      <a:lnTo>
                        <a:pt x="1330" y="3173"/>
                      </a:lnTo>
                      <a:lnTo>
                        <a:pt x="1269" y="3176"/>
                      </a:lnTo>
                      <a:lnTo>
                        <a:pt x="1211" y="3178"/>
                      </a:lnTo>
                      <a:lnTo>
                        <a:pt x="1157" y="3179"/>
                      </a:lnTo>
                      <a:lnTo>
                        <a:pt x="1105" y="3179"/>
                      </a:lnTo>
                      <a:lnTo>
                        <a:pt x="1055" y="3178"/>
                      </a:lnTo>
                      <a:lnTo>
                        <a:pt x="1008" y="3176"/>
                      </a:lnTo>
                      <a:lnTo>
                        <a:pt x="965" y="3173"/>
                      </a:lnTo>
                      <a:lnTo>
                        <a:pt x="924" y="3169"/>
                      </a:lnTo>
                      <a:lnTo>
                        <a:pt x="885" y="3165"/>
                      </a:lnTo>
                      <a:lnTo>
                        <a:pt x="848" y="3161"/>
                      </a:lnTo>
                      <a:lnTo>
                        <a:pt x="815" y="3155"/>
                      </a:lnTo>
                      <a:lnTo>
                        <a:pt x="783" y="3149"/>
                      </a:lnTo>
                      <a:lnTo>
                        <a:pt x="754" y="3143"/>
                      </a:lnTo>
                      <a:lnTo>
                        <a:pt x="727" y="3137"/>
                      </a:lnTo>
                      <a:lnTo>
                        <a:pt x="703" y="3129"/>
                      </a:lnTo>
                      <a:lnTo>
                        <a:pt x="680" y="3123"/>
                      </a:lnTo>
                      <a:lnTo>
                        <a:pt x="660" y="3116"/>
                      </a:lnTo>
                      <a:lnTo>
                        <a:pt x="640" y="3109"/>
                      </a:lnTo>
                      <a:lnTo>
                        <a:pt x="609" y="3096"/>
                      </a:lnTo>
                      <a:lnTo>
                        <a:pt x="584" y="3084"/>
                      </a:lnTo>
                      <a:lnTo>
                        <a:pt x="566" y="3073"/>
                      </a:lnTo>
                      <a:lnTo>
                        <a:pt x="553" y="3064"/>
                      </a:lnTo>
                      <a:lnTo>
                        <a:pt x="545" y="3059"/>
                      </a:lnTo>
                      <a:lnTo>
                        <a:pt x="543" y="3057"/>
                      </a:lnTo>
                      <a:close/>
                    </a:path>
                  </a:pathLst>
                </a:custGeom>
                <a:gradFill>
                  <a:gsLst>
                    <a:gs pos="0">
                      <a:schemeClr val="accent3">
                        <a:lumMod val="75000"/>
                      </a:schemeClr>
                    </a:gs>
                    <a:gs pos="100000">
                      <a:schemeClr val="accent3"/>
                    </a:gs>
                  </a:gsLst>
                  <a:lin ang="5400000" scaled="1"/>
                </a:gradFill>
                <a:ln>
                  <a:noFill/>
                </a:ln>
                <a:effectLst>
                  <a:outerShdw blurRad="444500" dist="190500" dir="2700000" sx="95000" sy="95000" algn="tl" rotWithShape="0">
                    <a:prstClr val="black">
                      <a:alpha val="23000"/>
                    </a:prstClr>
                  </a:outerShdw>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8" name="Freeform 10">
                  <a:extLst>
                    <a:ext uri="{FF2B5EF4-FFF2-40B4-BE49-F238E27FC236}">
                      <a16:creationId xmlns:a16="http://schemas.microsoft.com/office/drawing/2014/main" id="{F25A429B-C7DB-42A7-B3D3-7898D5069D78}"/>
                    </a:ext>
                  </a:extLst>
                </p:cNvPr>
                <p:cNvSpPr>
                  <a:spLocks/>
                </p:cNvSpPr>
                <p:nvPr/>
              </p:nvSpPr>
              <p:spPr bwMode="auto">
                <a:xfrm rot="1800000">
                  <a:off x="2489523" y="3644923"/>
                  <a:ext cx="1477195" cy="1449840"/>
                </a:xfrm>
                <a:custGeom>
                  <a:avLst/>
                  <a:gdLst>
                    <a:gd name="T0" fmla="*/ 526 w 3239"/>
                    <a:gd name="T1" fmla="*/ 3044 h 3179"/>
                    <a:gd name="T2" fmla="*/ 438 w 3239"/>
                    <a:gd name="T3" fmla="*/ 2994 h 3179"/>
                    <a:gd name="T4" fmla="*/ 308 w 3239"/>
                    <a:gd name="T5" fmla="*/ 2911 h 3179"/>
                    <a:gd name="T6" fmla="*/ 203 w 3239"/>
                    <a:gd name="T7" fmla="*/ 2823 h 3179"/>
                    <a:gd name="T8" fmla="*/ 107 w 3239"/>
                    <a:gd name="T9" fmla="*/ 2713 h 3179"/>
                    <a:gd name="T10" fmla="*/ 35 w 3239"/>
                    <a:gd name="T11" fmla="*/ 2578 h 3179"/>
                    <a:gd name="T12" fmla="*/ 1 w 3239"/>
                    <a:gd name="T13" fmla="*/ 2418 h 3179"/>
                    <a:gd name="T14" fmla="*/ 18 w 3239"/>
                    <a:gd name="T15" fmla="*/ 2230 h 3179"/>
                    <a:gd name="T16" fmla="*/ 102 w 3239"/>
                    <a:gd name="T17" fmla="*/ 2012 h 3179"/>
                    <a:gd name="T18" fmla="*/ 267 w 3239"/>
                    <a:gd name="T19" fmla="*/ 1764 h 3179"/>
                    <a:gd name="T20" fmla="*/ 504 w 3239"/>
                    <a:gd name="T21" fmla="*/ 1504 h 3179"/>
                    <a:gd name="T22" fmla="*/ 748 w 3239"/>
                    <a:gd name="T23" fmla="*/ 1300 h 3179"/>
                    <a:gd name="T24" fmla="*/ 989 w 3239"/>
                    <a:gd name="T25" fmla="*/ 1149 h 3179"/>
                    <a:gd name="T26" fmla="*/ 1225 w 3239"/>
                    <a:gd name="T27" fmla="*/ 1040 h 3179"/>
                    <a:gd name="T28" fmla="*/ 1453 w 3239"/>
                    <a:gd name="T29" fmla="*/ 963 h 3179"/>
                    <a:gd name="T30" fmla="*/ 1672 w 3239"/>
                    <a:gd name="T31" fmla="*/ 906 h 3179"/>
                    <a:gd name="T32" fmla="*/ 1878 w 3239"/>
                    <a:gd name="T33" fmla="*/ 863 h 3179"/>
                    <a:gd name="T34" fmla="*/ 2068 w 3239"/>
                    <a:gd name="T35" fmla="*/ 821 h 3179"/>
                    <a:gd name="T36" fmla="*/ 2239 w 3239"/>
                    <a:gd name="T37" fmla="*/ 770 h 3179"/>
                    <a:gd name="T38" fmla="*/ 2390 w 3239"/>
                    <a:gd name="T39" fmla="*/ 701 h 3179"/>
                    <a:gd name="T40" fmla="*/ 2515 w 3239"/>
                    <a:gd name="T41" fmla="*/ 602 h 3179"/>
                    <a:gd name="T42" fmla="*/ 2618 w 3239"/>
                    <a:gd name="T43" fmla="*/ 493 h 3179"/>
                    <a:gd name="T44" fmla="*/ 2701 w 3239"/>
                    <a:gd name="T45" fmla="*/ 395 h 3179"/>
                    <a:gd name="T46" fmla="*/ 2766 w 3239"/>
                    <a:gd name="T47" fmla="*/ 308 h 3179"/>
                    <a:gd name="T48" fmla="*/ 2817 w 3239"/>
                    <a:gd name="T49" fmla="*/ 231 h 3179"/>
                    <a:gd name="T50" fmla="*/ 2854 w 3239"/>
                    <a:gd name="T51" fmla="*/ 166 h 3179"/>
                    <a:gd name="T52" fmla="*/ 2891 w 3239"/>
                    <a:gd name="T53" fmla="*/ 82 h 3179"/>
                    <a:gd name="T54" fmla="*/ 2909 w 3239"/>
                    <a:gd name="T55" fmla="*/ 8 h 3179"/>
                    <a:gd name="T56" fmla="*/ 2933 w 3239"/>
                    <a:gd name="T57" fmla="*/ 38 h 3179"/>
                    <a:gd name="T58" fmla="*/ 3011 w 3239"/>
                    <a:gd name="T59" fmla="*/ 188 h 3179"/>
                    <a:gd name="T60" fmla="*/ 3069 w 3239"/>
                    <a:gd name="T61" fmla="*/ 325 h 3179"/>
                    <a:gd name="T62" fmla="*/ 3129 w 3239"/>
                    <a:gd name="T63" fmla="*/ 492 h 3179"/>
                    <a:gd name="T64" fmla="*/ 3182 w 3239"/>
                    <a:gd name="T65" fmla="*/ 686 h 3179"/>
                    <a:gd name="T66" fmla="*/ 3221 w 3239"/>
                    <a:gd name="T67" fmla="*/ 901 h 3179"/>
                    <a:gd name="T68" fmla="*/ 3239 w 3239"/>
                    <a:gd name="T69" fmla="*/ 1137 h 3179"/>
                    <a:gd name="T70" fmla="*/ 3229 w 3239"/>
                    <a:gd name="T71" fmla="*/ 1387 h 3179"/>
                    <a:gd name="T72" fmla="*/ 3182 w 3239"/>
                    <a:gd name="T73" fmla="*/ 1648 h 3179"/>
                    <a:gd name="T74" fmla="*/ 3093 w 3239"/>
                    <a:gd name="T75" fmla="*/ 1914 h 3179"/>
                    <a:gd name="T76" fmla="*/ 2986 w 3239"/>
                    <a:gd name="T77" fmla="*/ 2155 h 3179"/>
                    <a:gd name="T78" fmla="*/ 2866 w 3239"/>
                    <a:gd name="T79" fmla="*/ 2365 h 3179"/>
                    <a:gd name="T80" fmla="*/ 2735 w 3239"/>
                    <a:gd name="T81" fmla="*/ 2545 h 3179"/>
                    <a:gd name="T82" fmla="*/ 2592 w 3239"/>
                    <a:gd name="T83" fmla="*/ 2699 h 3179"/>
                    <a:gd name="T84" fmla="*/ 2438 w 3239"/>
                    <a:gd name="T85" fmla="*/ 2825 h 3179"/>
                    <a:gd name="T86" fmla="*/ 2275 w 3239"/>
                    <a:gd name="T87" fmla="*/ 2930 h 3179"/>
                    <a:gd name="T88" fmla="*/ 2102 w 3239"/>
                    <a:gd name="T89" fmla="*/ 3012 h 3179"/>
                    <a:gd name="T90" fmla="*/ 1920 w 3239"/>
                    <a:gd name="T91" fmla="*/ 3076 h 3179"/>
                    <a:gd name="T92" fmla="*/ 1728 w 3239"/>
                    <a:gd name="T93" fmla="*/ 3123 h 3179"/>
                    <a:gd name="T94" fmla="*/ 1529 w 3239"/>
                    <a:gd name="T95" fmla="*/ 3154 h 3179"/>
                    <a:gd name="T96" fmla="*/ 1330 w 3239"/>
                    <a:gd name="T97" fmla="*/ 3173 h 3179"/>
                    <a:gd name="T98" fmla="*/ 1157 w 3239"/>
                    <a:gd name="T99" fmla="*/ 3179 h 3179"/>
                    <a:gd name="T100" fmla="*/ 1008 w 3239"/>
                    <a:gd name="T101" fmla="*/ 3176 h 3179"/>
                    <a:gd name="T102" fmla="*/ 885 w 3239"/>
                    <a:gd name="T103" fmla="*/ 3165 h 3179"/>
                    <a:gd name="T104" fmla="*/ 783 w 3239"/>
                    <a:gd name="T105" fmla="*/ 3149 h 3179"/>
                    <a:gd name="T106" fmla="*/ 703 w 3239"/>
                    <a:gd name="T107" fmla="*/ 3129 h 3179"/>
                    <a:gd name="T108" fmla="*/ 640 w 3239"/>
                    <a:gd name="T109" fmla="*/ 3109 h 3179"/>
                    <a:gd name="T110" fmla="*/ 566 w 3239"/>
                    <a:gd name="T111" fmla="*/ 3073 h 3179"/>
                    <a:gd name="T112" fmla="*/ 543 w 3239"/>
                    <a:gd name="T113" fmla="*/ 3057 h 3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239" h="3179">
                      <a:moveTo>
                        <a:pt x="543" y="3057"/>
                      </a:moveTo>
                      <a:lnTo>
                        <a:pt x="538" y="3051"/>
                      </a:lnTo>
                      <a:lnTo>
                        <a:pt x="526" y="3044"/>
                      </a:lnTo>
                      <a:lnTo>
                        <a:pt x="510" y="3034"/>
                      </a:lnTo>
                      <a:lnTo>
                        <a:pt x="490" y="3022"/>
                      </a:lnTo>
                      <a:lnTo>
                        <a:pt x="438" y="2994"/>
                      </a:lnTo>
                      <a:lnTo>
                        <a:pt x="376" y="2956"/>
                      </a:lnTo>
                      <a:lnTo>
                        <a:pt x="343" y="2935"/>
                      </a:lnTo>
                      <a:lnTo>
                        <a:pt x="308" y="2911"/>
                      </a:lnTo>
                      <a:lnTo>
                        <a:pt x="273" y="2884"/>
                      </a:lnTo>
                      <a:lnTo>
                        <a:pt x="238" y="2854"/>
                      </a:lnTo>
                      <a:lnTo>
                        <a:pt x="203" y="2823"/>
                      </a:lnTo>
                      <a:lnTo>
                        <a:pt x="169" y="2789"/>
                      </a:lnTo>
                      <a:lnTo>
                        <a:pt x="137" y="2753"/>
                      </a:lnTo>
                      <a:lnTo>
                        <a:pt x="107" y="2713"/>
                      </a:lnTo>
                      <a:lnTo>
                        <a:pt x="80" y="2672"/>
                      </a:lnTo>
                      <a:lnTo>
                        <a:pt x="56" y="2626"/>
                      </a:lnTo>
                      <a:lnTo>
                        <a:pt x="35" y="2578"/>
                      </a:lnTo>
                      <a:lnTo>
                        <a:pt x="18" y="2529"/>
                      </a:lnTo>
                      <a:lnTo>
                        <a:pt x="7" y="2475"/>
                      </a:lnTo>
                      <a:lnTo>
                        <a:pt x="1" y="2418"/>
                      </a:lnTo>
                      <a:lnTo>
                        <a:pt x="0" y="2359"/>
                      </a:lnTo>
                      <a:lnTo>
                        <a:pt x="5" y="2296"/>
                      </a:lnTo>
                      <a:lnTo>
                        <a:pt x="18" y="2230"/>
                      </a:lnTo>
                      <a:lnTo>
                        <a:pt x="38" y="2161"/>
                      </a:lnTo>
                      <a:lnTo>
                        <a:pt x="66" y="2088"/>
                      </a:lnTo>
                      <a:lnTo>
                        <a:pt x="102" y="2012"/>
                      </a:lnTo>
                      <a:lnTo>
                        <a:pt x="148" y="1932"/>
                      </a:lnTo>
                      <a:lnTo>
                        <a:pt x="202" y="1850"/>
                      </a:lnTo>
                      <a:lnTo>
                        <a:pt x="267" y="1764"/>
                      </a:lnTo>
                      <a:lnTo>
                        <a:pt x="343" y="1673"/>
                      </a:lnTo>
                      <a:lnTo>
                        <a:pt x="423" y="1585"/>
                      </a:lnTo>
                      <a:lnTo>
                        <a:pt x="504" y="1504"/>
                      </a:lnTo>
                      <a:lnTo>
                        <a:pt x="585" y="1429"/>
                      </a:lnTo>
                      <a:lnTo>
                        <a:pt x="666" y="1362"/>
                      </a:lnTo>
                      <a:lnTo>
                        <a:pt x="748" y="1300"/>
                      </a:lnTo>
                      <a:lnTo>
                        <a:pt x="828" y="1245"/>
                      </a:lnTo>
                      <a:lnTo>
                        <a:pt x="909" y="1194"/>
                      </a:lnTo>
                      <a:lnTo>
                        <a:pt x="989" y="1149"/>
                      </a:lnTo>
                      <a:lnTo>
                        <a:pt x="1068" y="1109"/>
                      </a:lnTo>
                      <a:lnTo>
                        <a:pt x="1147" y="1072"/>
                      </a:lnTo>
                      <a:lnTo>
                        <a:pt x="1225" y="1040"/>
                      </a:lnTo>
                      <a:lnTo>
                        <a:pt x="1302" y="1011"/>
                      </a:lnTo>
                      <a:lnTo>
                        <a:pt x="1379" y="985"/>
                      </a:lnTo>
                      <a:lnTo>
                        <a:pt x="1453" y="963"/>
                      </a:lnTo>
                      <a:lnTo>
                        <a:pt x="1528" y="942"/>
                      </a:lnTo>
                      <a:lnTo>
                        <a:pt x="1601" y="924"/>
                      </a:lnTo>
                      <a:lnTo>
                        <a:pt x="1672" y="906"/>
                      </a:lnTo>
                      <a:lnTo>
                        <a:pt x="1742" y="891"/>
                      </a:lnTo>
                      <a:lnTo>
                        <a:pt x="1811" y="877"/>
                      </a:lnTo>
                      <a:lnTo>
                        <a:pt x="1878" y="863"/>
                      </a:lnTo>
                      <a:lnTo>
                        <a:pt x="1943" y="849"/>
                      </a:lnTo>
                      <a:lnTo>
                        <a:pt x="2006" y="835"/>
                      </a:lnTo>
                      <a:lnTo>
                        <a:pt x="2068" y="821"/>
                      </a:lnTo>
                      <a:lnTo>
                        <a:pt x="2127" y="805"/>
                      </a:lnTo>
                      <a:lnTo>
                        <a:pt x="2184" y="788"/>
                      </a:lnTo>
                      <a:lnTo>
                        <a:pt x="2239" y="770"/>
                      </a:lnTo>
                      <a:lnTo>
                        <a:pt x="2291" y="749"/>
                      </a:lnTo>
                      <a:lnTo>
                        <a:pt x="2342" y="727"/>
                      </a:lnTo>
                      <a:lnTo>
                        <a:pt x="2390" y="701"/>
                      </a:lnTo>
                      <a:lnTo>
                        <a:pt x="2434" y="672"/>
                      </a:lnTo>
                      <a:lnTo>
                        <a:pt x="2476" y="639"/>
                      </a:lnTo>
                      <a:lnTo>
                        <a:pt x="2515" y="602"/>
                      </a:lnTo>
                      <a:lnTo>
                        <a:pt x="2552" y="564"/>
                      </a:lnTo>
                      <a:lnTo>
                        <a:pt x="2586" y="529"/>
                      </a:lnTo>
                      <a:lnTo>
                        <a:pt x="2618" y="493"/>
                      </a:lnTo>
                      <a:lnTo>
                        <a:pt x="2647" y="459"/>
                      </a:lnTo>
                      <a:lnTo>
                        <a:pt x="2675" y="426"/>
                      </a:lnTo>
                      <a:lnTo>
                        <a:pt x="2701" y="395"/>
                      </a:lnTo>
                      <a:lnTo>
                        <a:pt x="2725" y="364"/>
                      </a:lnTo>
                      <a:lnTo>
                        <a:pt x="2747" y="335"/>
                      </a:lnTo>
                      <a:lnTo>
                        <a:pt x="2766" y="308"/>
                      </a:lnTo>
                      <a:lnTo>
                        <a:pt x="2785" y="281"/>
                      </a:lnTo>
                      <a:lnTo>
                        <a:pt x="2802" y="256"/>
                      </a:lnTo>
                      <a:lnTo>
                        <a:pt x="2817" y="231"/>
                      </a:lnTo>
                      <a:lnTo>
                        <a:pt x="2830" y="208"/>
                      </a:lnTo>
                      <a:lnTo>
                        <a:pt x="2843" y="187"/>
                      </a:lnTo>
                      <a:lnTo>
                        <a:pt x="2854" y="166"/>
                      </a:lnTo>
                      <a:lnTo>
                        <a:pt x="2864" y="147"/>
                      </a:lnTo>
                      <a:lnTo>
                        <a:pt x="2879" y="112"/>
                      </a:lnTo>
                      <a:lnTo>
                        <a:pt x="2891" y="82"/>
                      </a:lnTo>
                      <a:lnTo>
                        <a:pt x="2900" y="57"/>
                      </a:lnTo>
                      <a:lnTo>
                        <a:pt x="2905" y="36"/>
                      </a:lnTo>
                      <a:lnTo>
                        <a:pt x="2909" y="8"/>
                      </a:lnTo>
                      <a:lnTo>
                        <a:pt x="2909" y="0"/>
                      </a:lnTo>
                      <a:lnTo>
                        <a:pt x="2916" y="9"/>
                      </a:lnTo>
                      <a:lnTo>
                        <a:pt x="2933" y="38"/>
                      </a:lnTo>
                      <a:lnTo>
                        <a:pt x="2959" y="86"/>
                      </a:lnTo>
                      <a:lnTo>
                        <a:pt x="2993" y="150"/>
                      </a:lnTo>
                      <a:lnTo>
                        <a:pt x="3011" y="188"/>
                      </a:lnTo>
                      <a:lnTo>
                        <a:pt x="3029" y="230"/>
                      </a:lnTo>
                      <a:lnTo>
                        <a:pt x="3050" y="275"/>
                      </a:lnTo>
                      <a:lnTo>
                        <a:pt x="3069" y="325"/>
                      </a:lnTo>
                      <a:lnTo>
                        <a:pt x="3090" y="377"/>
                      </a:lnTo>
                      <a:lnTo>
                        <a:pt x="3110" y="432"/>
                      </a:lnTo>
                      <a:lnTo>
                        <a:pt x="3129" y="492"/>
                      </a:lnTo>
                      <a:lnTo>
                        <a:pt x="3149" y="554"/>
                      </a:lnTo>
                      <a:lnTo>
                        <a:pt x="3166" y="619"/>
                      </a:lnTo>
                      <a:lnTo>
                        <a:pt x="3182" y="686"/>
                      </a:lnTo>
                      <a:lnTo>
                        <a:pt x="3197" y="755"/>
                      </a:lnTo>
                      <a:lnTo>
                        <a:pt x="3210" y="827"/>
                      </a:lnTo>
                      <a:lnTo>
                        <a:pt x="3221" y="901"/>
                      </a:lnTo>
                      <a:lnTo>
                        <a:pt x="3230" y="978"/>
                      </a:lnTo>
                      <a:lnTo>
                        <a:pt x="3236" y="1056"/>
                      </a:lnTo>
                      <a:lnTo>
                        <a:pt x="3239" y="1137"/>
                      </a:lnTo>
                      <a:lnTo>
                        <a:pt x="3239" y="1218"/>
                      </a:lnTo>
                      <a:lnTo>
                        <a:pt x="3235" y="1301"/>
                      </a:lnTo>
                      <a:lnTo>
                        <a:pt x="3229" y="1387"/>
                      </a:lnTo>
                      <a:lnTo>
                        <a:pt x="3217" y="1472"/>
                      </a:lnTo>
                      <a:lnTo>
                        <a:pt x="3202" y="1559"/>
                      </a:lnTo>
                      <a:lnTo>
                        <a:pt x="3182" y="1648"/>
                      </a:lnTo>
                      <a:lnTo>
                        <a:pt x="3157" y="1736"/>
                      </a:lnTo>
                      <a:lnTo>
                        <a:pt x="3127" y="1826"/>
                      </a:lnTo>
                      <a:lnTo>
                        <a:pt x="3093" y="1914"/>
                      </a:lnTo>
                      <a:lnTo>
                        <a:pt x="3060" y="1998"/>
                      </a:lnTo>
                      <a:lnTo>
                        <a:pt x="3023" y="2078"/>
                      </a:lnTo>
                      <a:lnTo>
                        <a:pt x="2986" y="2155"/>
                      </a:lnTo>
                      <a:lnTo>
                        <a:pt x="2947" y="2229"/>
                      </a:lnTo>
                      <a:lnTo>
                        <a:pt x="2907" y="2298"/>
                      </a:lnTo>
                      <a:lnTo>
                        <a:pt x="2866" y="2365"/>
                      </a:lnTo>
                      <a:lnTo>
                        <a:pt x="2824" y="2428"/>
                      </a:lnTo>
                      <a:lnTo>
                        <a:pt x="2779" y="2489"/>
                      </a:lnTo>
                      <a:lnTo>
                        <a:pt x="2735" y="2545"/>
                      </a:lnTo>
                      <a:lnTo>
                        <a:pt x="2688" y="2599"/>
                      </a:lnTo>
                      <a:lnTo>
                        <a:pt x="2641" y="2650"/>
                      </a:lnTo>
                      <a:lnTo>
                        <a:pt x="2592" y="2699"/>
                      </a:lnTo>
                      <a:lnTo>
                        <a:pt x="2542" y="2743"/>
                      </a:lnTo>
                      <a:lnTo>
                        <a:pt x="2491" y="2786"/>
                      </a:lnTo>
                      <a:lnTo>
                        <a:pt x="2438" y="2825"/>
                      </a:lnTo>
                      <a:lnTo>
                        <a:pt x="2385" y="2863"/>
                      </a:lnTo>
                      <a:lnTo>
                        <a:pt x="2331" y="2898"/>
                      </a:lnTo>
                      <a:lnTo>
                        <a:pt x="2275" y="2930"/>
                      </a:lnTo>
                      <a:lnTo>
                        <a:pt x="2219" y="2959"/>
                      </a:lnTo>
                      <a:lnTo>
                        <a:pt x="2161" y="2988"/>
                      </a:lnTo>
                      <a:lnTo>
                        <a:pt x="2102" y="3012"/>
                      </a:lnTo>
                      <a:lnTo>
                        <a:pt x="2042" y="3036"/>
                      </a:lnTo>
                      <a:lnTo>
                        <a:pt x="1982" y="3057"/>
                      </a:lnTo>
                      <a:lnTo>
                        <a:pt x="1920" y="3076"/>
                      </a:lnTo>
                      <a:lnTo>
                        <a:pt x="1857" y="3094"/>
                      </a:lnTo>
                      <a:lnTo>
                        <a:pt x="1793" y="3109"/>
                      </a:lnTo>
                      <a:lnTo>
                        <a:pt x="1728" y="3123"/>
                      </a:lnTo>
                      <a:lnTo>
                        <a:pt x="1663" y="3135"/>
                      </a:lnTo>
                      <a:lnTo>
                        <a:pt x="1596" y="3146"/>
                      </a:lnTo>
                      <a:lnTo>
                        <a:pt x="1529" y="3154"/>
                      </a:lnTo>
                      <a:lnTo>
                        <a:pt x="1461" y="3162"/>
                      </a:lnTo>
                      <a:lnTo>
                        <a:pt x="1394" y="3167"/>
                      </a:lnTo>
                      <a:lnTo>
                        <a:pt x="1330" y="3173"/>
                      </a:lnTo>
                      <a:lnTo>
                        <a:pt x="1269" y="3176"/>
                      </a:lnTo>
                      <a:lnTo>
                        <a:pt x="1211" y="3178"/>
                      </a:lnTo>
                      <a:lnTo>
                        <a:pt x="1157" y="3179"/>
                      </a:lnTo>
                      <a:lnTo>
                        <a:pt x="1105" y="3179"/>
                      </a:lnTo>
                      <a:lnTo>
                        <a:pt x="1055" y="3178"/>
                      </a:lnTo>
                      <a:lnTo>
                        <a:pt x="1008" y="3176"/>
                      </a:lnTo>
                      <a:lnTo>
                        <a:pt x="965" y="3173"/>
                      </a:lnTo>
                      <a:lnTo>
                        <a:pt x="924" y="3169"/>
                      </a:lnTo>
                      <a:lnTo>
                        <a:pt x="885" y="3165"/>
                      </a:lnTo>
                      <a:lnTo>
                        <a:pt x="848" y="3161"/>
                      </a:lnTo>
                      <a:lnTo>
                        <a:pt x="815" y="3155"/>
                      </a:lnTo>
                      <a:lnTo>
                        <a:pt x="783" y="3149"/>
                      </a:lnTo>
                      <a:lnTo>
                        <a:pt x="754" y="3143"/>
                      </a:lnTo>
                      <a:lnTo>
                        <a:pt x="727" y="3137"/>
                      </a:lnTo>
                      <a:lnTo>
                        <a:pt x="703" y="3129"/>
                      </a:lnTo>
                      <a:lnTo>
                        <a:pt x="680" y="3123"/>
                      </a:lnTo>
                      <a:lnTo>
                        <a:pt x="660" y="3116"/>
                      </a:lnTo>
                      <a:lnTo>
                        <a:pt x="640" y="3109"/>
                      </a:lnTo>
                      <a:lnTo>
                        <a:pt x="609" y="3096"/>
                      </a:lnTo>
                      <a:lnTo>
                        <a:pt x="584" y="3084"/>
                      </a:lnTo>
                      <a:lnTo>
                        <a:pt x="566" y="3073"/>
                      </a:lnTo>
                      <a:lnTo>
                        <a:pt x="553" y="3064"/>
                      </a:lnTo>
                      <a:lnTo>
                        <a:pt x="545" y="3059"/>
                      </a:lnTo>
                      <a:lnTo>
                        <a:pt x="543" y="3057"/>
                      </a:lnTo>
                      <a:close/>
                    </a:path>
                  </a:pathLst>
                </a:custGeom>
                <a:gradFill>
                  <a:gsLst>
                    <a:gs pos="0">
                      <a:schemeClr val="accent3">
                        <a:lumMod val="75000"/>
                      </a:schemeClr>
                    </a:gs>
                    <a:gs pos="100000">
                      <a:schemeClr val="accent3"/>
                    </a:gs>
                  </a:gsLst>
                  <a:lin ang="5400000" scaled="1"/>
                </a:gradFill>
                <a:ln>
                  <a:noFill/>
                </a:ln>
                <a:effectLst>
                  <a:outerShdw blurRad="444500" dist="190500" dir="2700000" sx="95000" sy="95000" algn="tl" rotWithShape="0">
                    <a:prstClr val="black">
                      <a:alpha val="23000"/>
                    </a:prstClr>
                  </a:outerShdw>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grpSp>
            <p:nvGrpSpPr>
              <p:cNvPr id="13" name="Group 11">
                <a:extLst>
                  <a:ext uri="{FF2B5EF4-FFF2-40B4-BE49-F238E27FC236}">
                    <a16:creationId xmlns:a16="http://schemas.microsoft.com/office/drawing/2014/main" id="{67584E10-F08C-42A5-BFBE-ACF13A2DE0B2}"/>
                  </a:ext>
                </a:extLst>
              </p:cNvPr>
              <p:cNvGrpSpPr/>
              <p:nvPr/>
            </p:nvGrpSpPr>
            <p:grpSpPr>
              <a:xfrm rot="699716">
                <a:off x="4924455" y="3525578"/>
                <a:ext cx="2493859" cy="1693373"/>
                <a:chOff x="2489523" y="3644923"/>
                <a:chExt cx="2493859" cy="1693373"/>
              </a:xfrm>
            </p:grpSpPr>
            <p:sp>
              <p:nvSpPr>
                <p:cNvPr id="25" name="Freeform 10">
                  <a:extLst>
                    <a:ext uri="{FF2B5EF4-FFF2-40B4-BE49-F238E27FC236}">
                      <a16:creationId xmlns:a16="http://schemas.microsoft.com/office/drawing/2014/main" id="{0B68BFC4-D792-4A7D-A749-F9A334600592}"/>
                    </a:ext>
                  </a:extLst>
                </p:cNvPr>
                <p:cNvSpPr>
                  <a:spLocks/>
                </p:cNvSpPr>
                <p:nvPr/>
              </p:nvSpPr>
              <p:spPr bwMode="auto">
                <a:xfrm rot="1800000">
                  <a:off x="3506187" y="3888455"/>
                  <a:ext cx="1477195" cy="1449841"/>
                </a:xfrm>
                <a:custGeom>
                  <a:avLst/>
                  <a:gdLst>
                    <a:gd name="T0" fmla="*/ 526 w 3239"/>
                    <a:gd name="T1" fmla="*/ 3044 h 3179"/>
                    <a:gd name="T2" fmla="*/ 438 w 3239"/>
                    <a:gd name="T3" fmla="*/ 2994 h 3179"/>
                    <a:gd name="T4" fmla="*/ 308 w 3239"/>
                    <a:gd name="T5" fmla="*/ 2911 h 3179"/>
                    <a:gd name="T6" fmla="*/ 203 w 3239"/>
                    <a:gd name="T7" fmla="*/ 2823 h 3179"/>
                    <a:gd name="T8" fmla="*/ 107 w 3239"/>
                    <a:gd name="T9" fmla="*/ 2713 h 3179"/>
                    <a:gd name="T10" fmla="*/ 35 w 3239"/>
                    <a:gd name="T11" fmla="*/ 2578 h 3179"/>
                    <a:gd name="T12" fmla="*/ 1 w 3239"/>
                    <a:gd name="T13" fmla="*/ 2418 h 3179"/>
                    <a:gd name="T14" fmla="*/ 18 w 3239"/>
                    <a:gd name="T15" fmla="*/ 2230 h 3179"/>
                    <a:gd name="T16" fmla="*/ 102 w 3239"/>
                    <a:gd name="T17" fmla="*/ 2012 h 3179"/>
                    <a:gd name="T18" fmla="*/ 267 w 3239"/>
                    <a:gd name="T19" fmla="*/ 1764 h 3179"/>
                    <a:gd name="T20" fmla="*/ 504 w 3239"/>
                    <a:gd name="T21" fmla="*/ 1504 h 3179"/>
                    <a:gd name="T22" fmla="*/ 748 w 3239"/>
                    <a:gd name="T23" fmla="*/ 1300 h 3179"/>
                    <a:gd name="T24" fmla="*/ 989 w 3239"/>
                    <a:gd name="T25" fmla="*/ 1149 h 3179"/>
                    <a:gd name="T26" fmla="*/ 1225 w 3239"/>
                    <a:gd name="T27" fmla="*/ 1040 h 3179"/>
                    <a:gd name="T28" fmla="*/ 1453 w 3239"/>
                    <a:gd name="T29" fmla="*/ 963 h 3179"/>
                    <a:gd name="T30" fmla="*/ 1672 w 3239"/>
                    <a:gd name="T31" fmla="*/ 906 h 3179"/>
                    <a:gd name="T32" fmla="*/ 1878 w 3239"/>
                    <a:gd name="T33" fmla="*/ 863 h 3179"/>
                    <a:gd name="T34" fmla="*/ 2068 w 3239"/>
                    <a:gd name="T35" fmla="*/ 821 h 3179"/>
                    <a:gd name="T36" fmla="*/ 2239 w 3239"/>
                    <a:gd name="T37" fmla="*/ 770 h 3179"/>
                    <a:gd name="T38" fmla="*/ 2390 w 3239"/>
                    <a:gd name="T39" fmla="*/ 701 h 3179"/>
                    <a:gd name="T40" fmla="*/ 2515 w 3239"/>
                    <a:gd name="T41" fmla="*/ 602 h 3179"/>
                    <a:gd name="T42" fmla="*/ 2618 w 3239"/>
                    <a:gd name="T43" fmla="*/ 493 h 3179"/>
                    <a:gd name="T44" fmla="*/ 2701 w 3239"/>
                    <a:gd name="T45" fmla="*/ 395 h 3179"/>
                    <a:gd name="T46" fmla="*/ 2766 w 3239"/>
                    <a:gd name="T47" fmla="*/ 308 h 3179"/>
                    <a:gd name="T48" fmla="*/ 2817 w 3239"/>
                    <a:gd name="T49" fmla="*/ 231 h 3179"/>
                    <a:gd name="T50" fmla="*/ 2854 w 3239"/>
                    <a:gd name="T51" fmla="*/ 166 h 3179"/>
                    <a:gd name="T52" fmla="*/ 2891 w 3239"/>
                    <a:gd name="T53" fmla="*/ 82 h 3179"/>
                    <a:gd name="T54" fmla="*/ 2909 w 3239"/>
                    <a:gd name="T55" fmla="*/ 8 h 3179"/>
                    <a:gd name="T56" fmla="*/ 2933 w 3239"/>
                    <a:gd name="T57" fmla="*/ 38 h 3179"/>
                    <a:gd name="T58" fmla="*/ 3011 w 3239"/>
                    <a:gd name="T59" fmla="*/ 188 h 3179"/>
                    <a:gd name="T60" fmla="*/ 3069 w 3239"/>
                    <a:gd name="T61" fmla="*/ 325 h 3179"/>
                    <a:gd name="T62" fmla="*/ 3129 w 3239"/>
                    <a:gd name="T63" fmla="*/ 492 h 3179"/>
                    <a:gd name="T64" fmla="*/ 3182 w 3239"/>
                    <a:gd name="T65" fmla="*/ 686 h 3179"/>
                    <a:gd name="T66" fmla="*/ 3221 w 3239"/>
                    <a:gd name="T67" fmla="*/ 901 h 3179"/>
                    <a:gd name="T68" fmla="*/ 3239 w 3239"/>
                    <a:gd name="T69" fmla="*/ 1137 h 3179"/>
                    <a:gd name="T70" fmla="*/ 3229 w 3239"/>
                    <a:gd name="T71" fmla="*/ 1387 h 3179"/>
                    <a:gd name="T72" fmla="*/ 3182 w 3239"/>
                    <a:gd name="T73" fmla="*/ 1648 h 3179"/>
                    <a:gd name="T74" fmla="*/ 3093 w 3239"/>
                    <a:gd name="T75" fmla="*/ 1914 h 3179"/>
                    <a:gd name="T76" fmla="*/ 2986 w 3239"/>
                    <a:gd name="T77" fmla="*/ 2155 h 3179"/>
                    <a:gd name="T78" fmla="*/ 2866 w 3239"/>
                    <a:gd name="T79" fmla="*/ 2365 h 3179"/>
                    <a:gd name="T80" fmla="*/ 2735 w 3239"/>
                    <a:gd name="T81" fmla="*/ 2545 h 3179"/>
                    <a:gd name="T82" fmla="*/ 2592 w 3239"/>
                    <a:gd name="T83" fmla="*/ 2699 h 3179"/>
                    <a:gd name="T84" fmla="*/ 2438 w 3239"/>
                    <a:gd name="T85" fmla="*/ 2825 h 3179"/>
                    <a:gd name="T86" fmla="*/ 2275 w 3239"/>
                    <a:gd name="T87" fmla="*/ 2930 h 3179"/>
                    <a:gd name="T88" fmla="*/ 2102 w 3239"/>
                    <a:gd name="T89" fmla="*/ 3012 h 3179"/>
                    <a:gd name="T90" fmla="*/ 1920 w 3239"/>
                    <a:gd name="T91" fmla="*/ 3076 h 3179"/>
                    <a:gd name="T92" fmla="*/ 1728 w 3239"/>
                    <a:gd name="T93" fmla="*/ 3123 h 3179"/>
                    <a:gd name="T94" fmla="*/ 1529 w 3239"/>
                    <a:gd name="T95" fmla="*/ 3154 h 3179"/>
                    <a:gd name="T96" fmla="*/ 1330 w 3239"/>
                    <a:gd name="T97" fmla="*/ 3173 h 3179"/>
                    <a:gd name="T98" fmla="*/ 1157 w 3239"/>
                    <a:gd name="T99" fmla="*/ 3179 h 3179"/>
                    <a:gd name="T100" fmla="*/ 1008 w 3239"/>
                    <a:gd name="T101" fmla="*/ 3176 h 3179"/>
                    <a:gd name="T102" fmla="*/ 885 w 3239"/>
                    <a:gd name="T103" fmla="*/ 3165 h 3179"/>
                    <a:gd name="T104" fmla="*/ 783 w 3239"/>
                    <a:gd name="T105" fmla="*/ 3149 h 3179"/>
                    <a:gd name="T106" fmla="*/ 703 w 3239"/>
                    <a:gd name="T107" fmla="*/ 3129 h 3179"/>
                    <a:gd name="T108" fmla="*/ 640 w 3239"/>
                    <a:gd name="T109" fmla="*/ 3109 h 3179"/>
                    <a:gd name="T110" fmla="*/ 566 w 3239"/>
                    <a:gd name="T111" fmla="*/ 3073 h 3179"/>
                    <a:gd name="T112" fmla="*/ 543 w 3239"/>
                    <a:gd name="T113" fmla="*/ 3057 h 3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239" h="3179">
                      <a:moveTo>
                        <a:pt x="543" y="3057"/>
                      </a:moveTo>
                      <a:lnTo>
                        <a:pt x="538" y="3051"/>
                      </a:lnTo>
                      <a:lnTo>
                        <a:pt x="526" y="3044"/>
                      </a:lnTo>
                      <a:lnTo>
                        <a:pt x="510" y="3034"/>
                      </a:lnTo>
                      <a:lnTo>
                        <a:pt x="490" y="3022"/>
                      </a:lnTo>
                      <a:lnTo>
                        <a:pt x="438" y="2994"/>
                      </a:lnTo>
                      <a:lnTo>
                        <a:pt x="376" y="2956"/>
                      </a:lnTo>
                      <a:lnTo>
                        <a:pt x="343" y="2935"/>
                      </a:lnTo>
                      <a:lnTo>
                        <a:pt x="308" y="2911"/>
                      </a:lnTo>
                      <a:lnTo>
                        <a:pt x="273" y="2884"/>
                      </a:lnTo>
                      <a:lnTo>
                        <a:pt x="238" y="2854"/>
                      </a:lnTo>
                      <a:lnTo>
                        <a:pt x="203" y="2823"/>
                      </a:lnTo>
                      <a:lnTo>
                        <a:pt x="169" y="2789"/>
                      </a:lnTo>
                      <a:lnTo>
                        <a:pt x="137" y="2753"/>
                      </a:lnTo>
                      <a:lnTo>
                        <a:pt x="107" y="2713"/>
                      </a:lnTo>
                      <a:lnTo>
                        <a:pt x="80" y="2672"/>
                      </a:lnTo>
                      <a:lnTo>
                        <a:pt x="56" y="2626"/>
                      </a:lnTo>
                      <a:lnTo>
                        <a:pt x="35" y="2578"/>
                      </a:lnTo>
                      <a:lnTo>
                        <a:pt x="18" y="2529"/>
                      </a:lnTo>
                      <a:lnTo>
                        <a:pt x="7" y="2475"/>
                      </a:lnTo>
                      <a:lnTo>
                        <a:pt x="1" y="2418"/>
                      </a:lnTo>
                      <a:lnTo>
                        <a:pt x="0" y="2359"/>
                      </a:lnTo>
                      <a:lnTo>
                        <a:pt x="5" y="2296"/>
                      </a:lnTo>
                      <a:lnTo>
                        <a:pt x="18" y="2230"/>
                      </a:lnTo>
                      <a:lnTo>
                        <a:pt x="38" y="2161"/>
                      </a:lnTo>
                      <a:lnTo>
                        <a:pt x="66" y="2088"/>
                      </a:lnTo>
                      <a:lnTo>
                        <a:pt x="102" y="2012"/>
                      </a:lnTo>
                      <a:lnTo>
                        <a:pt x="148" y="1932"/>
                      </a:lnTo>
                      <a:lnTo>
                        <a:pt x="202" y="1850"/>
                      </a:lnTo>
                      <a:lnTo>
                        <a:pt x="267" y="1764"/>
                      </a:lnTo>
                      <a:lnTo>
                        <a:pt x="343" y="1673"/>
                      </a:lnTo>
                      <a:lnTo>
                        <a:pt x="423" y="1585"/>
                      </a:lnTo>
                      <a:lnTo>
                        <a:pt x="504" y="1504"/>
                      </a:lnTo>
                      <a:lnTo>
                        <a:pt x="585" y="1429"/>
                      </a:lnTo>
                      <a:lnTo>
                        <a:pt x="666" y="1362"/>
                      </a:lnTo>
                      <a:lnTo>
                        <a:pt x="748" y="1300"/>
                      </a:lnTo>
                      <a:lnTo>
                        <a:pt x="828" y="1245"/>
                      </a:lnTo>
                      <a:lnTo>
                        <a:pt x="909" y="1194"/>
                      </a:lnTo>
                      <a:lnTo>
                        <a:pt x="989" y="1149"/>
                      </a:lnTo>
                      <a:lnTo>
                        <a:pt x="1068" y="1109"/>
                      </a:lnTo>
                      <a:lnTo>
                        <a:pt x="1147" y="1072"/>
                      </a:lnTo>
                      <a:lnTo>
                        <a:pt x="1225" y="1040"/>
                      </a:lnTo>
                      <a:lnTo>
                        <a:pt x="1302" y="1011"/>
                      </a:lnTo>
                      <a:lnTo>
                        <a:pt x="1379" y="985"/>
                      </a:lnTo>
                      <a:lnTo>
                        <a:pt x="1453" y="963"/>
                      </a:lnTo>
                      <a:lnTo>
                        <a:pt x="1528" y="942"/>
                      </a:lnTo>
                      <a:lnTo>
                        <a:pt x="1601" y="924"/>
                      </a:lnTo>
                      <a:lnTo>
                        <a:pt x="1672" y="906"/>
                      </a:lnTo>
                      <a:lnTo>
                        <a:pt x="1742" y="891"/>
                      </a:lnTo>
                      <a:lnTo>
                        <a:pt x="1811" y="877"/>
                      </a:lnTo>
                      <a:lnTo>
                        <a:pt x="1878" y="863"/>
                      </a:lnTo>
                      <a:lnTo>
                        <a:pt x="1943" y="849"/>
                      </a:lnTo>
                      <a:lnTo>
                        <a:pt x="2006" y="835"/>
                      </a:lnTo>
                      <a:lnTo>
                        <a:pt x="2068" y="821"/>
                      </a:lnTo>
                      <a:lnTo>
                        <a:pt x="2127" y="805"/>
                      </a:lnTo>
                      <a:lnTo>
                        <a:pt x="2184" y="788"/>
                      </a:lnTo>
                      <a:lnTo>
                        <a:pt x="2239" y="770"/>
                      </a:lnTo>
                      <a:lnTo>
                        <a:pt x="2291" y="749"/>
                      </a:lnTo>
                      <a:lnTo>
                        <a:pt x="2342" y="727"/>
                      </a:lnTo>
                      <a:lnTo>
                        <a:pt x="2390" y="701"/>
                      </a:lnTo>
                      <a:lnTo>
                        <a:pt x="2434" y="672"/>
                      </a:lnTo>
                      <a:lnTo>
                        <a:pt x="2476" y="639"/>
                      </a:lnTo>
                      <a:lnTo>
                        <a:pt x="2515" y="602"/>
                      </a:lnTo>
                      <a:lnTo>
                        <a:pt x="2552" y="564"/>
                      </a:lnTo>
                      <a:lnTo>
                        <a:pt x="2586" y="529"/>
                      </a:lnTo>
                      <a:lnTo>
                        <a:pt x="2618" y="493"/>
                      </a:lnTo>
                      <a:lnTo>
                        <a:pt x="2647" y="459"/>
                      </a:lnTo>
                      <a:lnTo>
                        <a:pt x="2675" y="426"/>
                      </a:lnTo>
                      <a:lnTo>
                        <a:pt x="2701" y="395"/>
                      </a:lnTo>
                      <a:lnTo>
                        <a:pt x="2725" y="364"/>
                      </a:lnTo>
                      <a:lnTo>
                        <a:pt x="2747" y="335"/>
                      </a:lnTo>
                      <a:lnTo>
                        <a:pt x="2766" y="308"/>
                      </a:lnTo>
                      <a:lnTo>
                        <a:pt x="2785" y="281"/>
                      </a:lnTo>
                      <a:lnTo>
                        <a:pt x="2802" y="256"/>
                      </a:lnTo>
                      <a:lnTo>
                        <a:pt x="2817" y="231"/>
                      </a:lnTo>
                      <a:lnTo>
                        <a:pt x="2830" y="208"/>
                      </a:lnTo>
                      <a:lnTo>
                        <a:pt x="2843" y="187"/>
                      </a:lnTo>
                      <a:lnTo>
                        <a:pt x="2854" y="166"/>
                      </a:lnTo>
                      <a:lnTo>
                        <a:pt x="2864" y="147"/>
                      </a:lnTo>
                      <a:lnTo>
                        <a:pt x="2879" y="112"/>
                      </a:lnTo>
                      <a:lnTo>
                        <a:pt x="2891" y="82"/>
                      </a:lnTo>
                      <a:lnTo>
                        <a:pt x="2900" y="57"/>
                      </a:lnTo>
                      <a:lnTo>
                        <a:pt x="2905" y="36"/>
                      </a:lnTo>
                      <a:lnTo>
                        <a:pt x="2909" y="8"/>
                      </a:lnTo>
                      <a:lnTo>
                        <a:pt x="2909" y="0"/>
                      </a:lnTo>
                      <a:lnTo>
                        <a:pt x="2916" y="9"/>
                      </a:lnTo>
                      <a:lnTo>
                        <a:pt x="2933" y="38"/>
                      </a:lnTo>
                      <a:lnTo>
                        <a:pt x="2959" y="86"/>
                      </a:lnTo>
                      <a:lnTo>
                        <a:pt x="2993" y="150"/>
                      </a:lnTo>
                      <a:lnTo>
                        <a:pt x="3011" y="188"/>
                      </a:lnTo>
                      <a:lnTo>
                        <a:pt x="3029" y="230"/>
                      </a:lnTo>
                      <a:lnTo>
                        <a:pt x="3050" y="275"/>
                      </a:lnTo>
                      <a:lnTo>
                        <a:pt x="3069" y="325"/>
                      </a:lnTo>
                      <a:lnTo>
                        <a:pt x="3090" y="377"/>
                      </a:lnTo>
                      <a:lnTo>
                        <a:pt x="3110" y="432"/>
                      </a:lnTo>
                      <a:lnTo>
                        <a:pt x="3129" y="492"/>
                      </a:lnTo>
                      <a:lnTo>
                        <a:pt x="3149" y="554"/>
                      </a:lnTo>
                      <a:lnTo>
                        <a:pt x="3166" y="619"/>
                      </a:lnTo>
                      <a:lnTo>
                        <a:pt x="3182" y="686"/>
                      </a:lnTo>
                      <a:lnTo>
                        <a:pt x="3197" y="755"/>
                      </a:lnTo>
                      <a:lnTo>
                        <a:pt x="3210" y="827"/>
                      </a:lnTo>
                      <a:lnTo>
                        <a:pt x="3221" y="901"/>
                      </a:lnTo>
                      <a:lnTo>
                        <a:pt x="3230" y="978"/>
                      </a:lnTo>
                      <a:lnTo>
                        <a:pt x="3236" y="1056"/>
                      </a:lnTo>
                      <a:lnTo>
                        <a:pt x="3239" y="1137"/>
                      </a:lnTo>
                      <a:lnTo>
                        <a:pt x="3239" y="1218"/>
                      </a:lnTo>
                      <a:lnTo>
                        <a:pt x="3235" y="1301"/>
                      </a:lnTo>
                      <a:lnTo>
                        <a:pt x="3229" y="1387"/>
                      </a:lnTo>
                      <a:lnTo>
                        <a:pt x="3217" y="1472"/>
                      </a:lnTo>
                      <a:lnTo>
                        <a:pt x="3202" y="1559"/>
                      </a:lnTo>
                      <a:lnTo>
                        <a:pt x="3182" y="1648"/>
                      </a:lnTo>
                      <a:lnTo>
                        <a:pt x="3157" y="1736"/>
                      </a:lnTo>
                      <a:lnTo>
                        <a:pt x="3127" y="1826"/>
                      </a:lnTo>
                      <a:lnTo>
                        <a:pt x="3093" y="1914"/>
                      </a:lnTo>
                      <a:lnTo>
                        <a:pt x="3060" y="1998"/>
                      </a:lnTo>
                      <a:lnTo>
                        <a:pt x="3023" y="2078"/>
                      </a:lnTo>
                      <a:lnTo>
                        <a:pt x="2986" y="2155"/>
                      </a:lnTo>
                      <a:lnTo>
                        <a:pt x="2947" y="2229"/>
                      </a:lnTo>
                      <a:lnTo>
                        <a:pt x="2907" y="2298"/>
                      </a:lnTo>
                      <a:lnTo>
                        <a:pt x="2866" y="2365"/>
                      </a:lnTo>
                      <a:lnTo>
                        <a:pt x="2824" y="2428"/>
                      </a:lnTo>
                      <a:lnTo>
                        <a:pt x="2779" y="2489"/>
                      </a:lnTo>
                      <a:lnTo>
                        <a:pt x="2735" y="2545"/>
                      </a:lnTo>
                      <a:lnTo>
                        <a:pt x="2688" y="2599"/>
                      </a:lnTo>
                      <a:lnTo>
                        <a:pt x="2641" y="2650"/>
                      </a:lnTo>
                      <a:lnTo>
                        <a:pt x="2592" y="2699"/>
                      </a:lnTo>
                      <a:lnTo>
                        <a:pt x="2542" y="2743"/>
                      </a:lnTo>
                      <a:lnTo>
                        <a:pt x="2491" y="2786"/>
                      </a:lnTo>
                      <a:lnTo>
                        <a:pt x="2438" y="2825"/>
                      </a:lnTo>
                      <a:lnTo>
                        <a:pt x="2385" y="2863"/>
                      </a:lnTo>
                      <a:lnTo>
                        <a:pt x="2331" y="2898"/>
                      </a:lnTo>
                      <a:lnTo>
                        <a:pt x="2275" y="2930"/>
                      </a:lnTo>
                      <a:lnTo>
                        <a:pt x="2219" y="2959"/>
                      </a:lnTo>
                      <a:lnTo>
                        <a:pt x="2161" y="2988"/>
                      </a:lnTo>
                      <a:lnTo>
                        <a:pt x="2102" y="3012"/>
                      </a:lnTo>
                      <a:lnTo>
                        <a:pt x="2042" y="3036"/>
                      </a:lnTo>
                      <a:lnTo>
                        <a:pt x="1982" y="3057"/>
                      </a:lnTo>
                      <a:lnTo>
                        <a:pt x="1920" y="3076"/>
                      </a:lnTo>
                      <a:lnTo>
                        <a:pt x="1857" y="3094"/>
                      </a:lnTo>
                      <a:lnTo>
                        <a:pt x="1793" y="3109"/>
                      </a:lnTo>
                      <a:lnTo>
                        <a:pt x="1728" y="3123"/>
                      </a:lnTo>
                      <a:lnTo>
                        <a:pt x="1663" y="3135"/>
                      </a:lnTo>
                      <a:lnTo>
                        <a:pt x="1596" y="3146"/>
                      </a:lnTo>
                      <a:lnTo>
                        <a:pt x="1529" y="3154"/>
                      </a:lnTo>
                      <a:lnTo>
                        <a:pt x="1461" y="3162"/>
                      </a:lnTo>
                      <a:lnTo>
                        <a:pt x="1394" y="3167"/>
                      </a:lnTo>
                      <a:lnTo>
                        <a:pt x="1330" y="3173"/>
                      </a:lnTo>
                      <a:lnTo>
                        <a:pt x="1269" y="3176"/>
                      </a:lnTo>
                      <a:lnTo>
                        <a:pt x="1211" y="3178"/>
                      </a:lnTo>
                      <a:lnTo>
                        <a:pt x="1157" y="3179"/>
                      </a:lnTo>
                      <a:lnTo>
                        <a:pt x="1105" y="3179"/>
                      </a:lnTo>
                      <a:lnTo>
                        <a:pt x="1055" y="3178"/>
                      </a:lnTo>
                      <a:lnTo>
                        <a:pt x="1008" y="3176"/>
                      </a:lnTo>
                      <a:lnTo>
                        <a:pt x="965" y="3173"/>
                      </a:lnTo>
                      <a:lnTo>
                        <a:pt x="924" y="3169"/>
                      </a:lnTo>
                      <a:lnTo>
                        <a:pt x="885" y="3165"/>
                      </a:lnTo>
                      <a:lnTo>
                        <a:pt x="848" y="3161"/>
                      </a:lnTo>
                      <a:lnTo>
                        <a:pt x="815" y="3155"/>
                      </a:lnTo>
                      <a:lnTo>
                        <a:pt x="783" y="3149"/>
                      </a:lnTo>
                      <a:lnTo>
                        <a:pt x="754" y="3143"/>
                      </a:lnTo>
                      <a:lnTo>
                        <a:pt x="727" y="3137"/>
                      </a:lnTo>
                      <a:lnTo>
                        <a:pt x="703" y="3129"/>
                      </a:lnTo>
                      <a:lnTo>
                        <a:pt x="680" y="3123"/>
                      </a:lnTo>
                      <a:lnTo>
                        <a:pt x="660" y="3116"/>
                      </a:lnTo>
                      <a:lnTo>
                        <a:pt x="640" y="3109"/>
                      </a:lnTo>
                      <a:lnTo>
                        <a:pt x="609" y="3096"/>
                      </a:lnTo>
                      <a:lnTo>
                        <a:pt x="584" y="3084"/>
                      </a:lnTo>
                      <a:lnTo>
                        <a:pt x="566" y="3073"/>
                      </a:lnTo>
                      <a:lnTo>
                        <a:pt x="553" y="3064"/>
                      </a:lnTo>
                      <a:lnTo>
                        <a:pt x="545" y="3059"/>
                      </a:lnTo>
                      <a:lnTo>
                        <a:pt x="543" y="3057"/>
                      </a:lnTo>
                      <a:close/>
                    </a:path>
                  </a:pathLst>
                </a:custGeom>
                <a:gradFill>
                  <a:gsLst>
                    <a:gs pos="0">
                      <a:schemeClr val="accent2">
                        <a:lumMod val="75000"/>
                      </a:schemeClr>
                    </a:gs>
                    <a:gs pos="100000">
                      <a:schemeClr val="accent2"/>
                    </a:gs>
                  </a:gsLst>
                  <a:lin ang="5400000" scaled="1"/>
                </a:gradFill>
                <a:ln>
                  <a:noFill/>
                </a:ln>
                <a:effectLst>
                  <a:outerShdw blurRad="444500" dist="190500" dir="2700000" sx="95000" sy="95000" algn="tl" rotWithShape="0">
                    <a:prstClr val="black">
                      <a:alpha val="23000"/>
                    </a:prstClr>
                  </a:outerShdw>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6" name="Freeform 10">
                  <a:extLst>
                    <a:ext uri="{FF2B5EF4-FFF2-40B4-BE49-F238E27FC236}">
                      <a16:creationId xmlns:a16="http://schemas.microsoft.com/office/drawing/2014/main" id="{022A8956-A4BA-4ECE-8C7A-E21DDB2BC541}"/>
                    </a:ext>
                  </a:extLst>
                </p:cNvPr>
                <p:cNvSpPr>
                  <a:spLocks/>
                </p:cNvSpPr>
                <p:nvPr/>
              </p:nvSpPr>
              <p:spPr bwMode="auto">
                <a:xfrm rot="1800000">
                  <a:off x="2489523" y="3644923"/>
                  <a:ext cx="1477195" cy="1449840"/>
                </a:xfrm>
                <a:custGeom>
                  <a:avLst/>
                  <a:gdLst>
                    <a:gd name="T0" fmla="*/ 526 w 3239"/>
                    <a:gd name="T1" fmla="*/ 3044 h 3179"/>
                    <a:gd name="T2" fmla="*/ 438 w 3239"/>
                    <a:gd name="T3" fmla="*/ 2994 h 3179"/>
                    <a:gd name="T4" fmla="*/ 308 w 3239"/>
                    <a:gd name="T5" fmla="*/ 2911 h 3179"/>
                    <a:gd name="T6" fmla="*/ 203 w 3239"/>
                    <a:gd name="T7" fmla="*/ 2823 h 3179"/>
                    <a:gd name="T8" fmla="*/ 107 w 3239"/>
                    <a:gd name="T9" fmla="*/ 2713 h 3179"/>
                    <a:gd name="T10" fmla="*/ 35 w 3239"/>
                    <a:gd name="T11" fmla="*/ 2578 h 3179"/>
                    <a:gd name="T12" fmla="*/ 1 w 3239"/>
                    <a:gd name="T13" fmla="*/ 2418 h 3179"/>
                    <a:gd name="T14" fmla="*/ 18 w 3239"/>
                    <a:gd name="T15" fmla="*/ 2230 h 3179"/>
                    <a:gd name="T16" fmla="*/ 102 w 3239"/>
                    <a:gd name="T17" fmla="*/ 2012 h 3179"/>
                    <a:gd name="T18" fmla="*/ 267 w 3239"/>
                    <a:gd name="T19" fmla="*/ 1764 h 3179"/>
                    <a:gd name="T20" fmla="*/ 504 w 3239"/>
                    <a:gd name="T21" fmla="*/ 1504 h 3179"/>
                    <a:gd name="T22" fmla="*/ 748 w 3239"/>
                    <a:gd name="T23" fmla="*/ 1300 h 3179"/>
                    <a:gd name="T24" fmla="*/ 989 w 3239"/>
                    <a:gd name="T25" fmla="*/ 1149 h 3179"/>
                    <a:gd name="T26" fmla="*/ 1225 w 3239"/>
                    <a:gd name="T27" fmla="*/ 1040 h 3179"/>
                    <a:gd name="T28" fmla="*/ 1453 w 3239"/>
                    <a:gd name="T29" fmla="*/ 963 h 3179"/>
                    <a:gd name="T30" fmla="*/ 1672 w 3239"/>
                    <a:gd name="T31" fmla="*/ 906 h 3179"/>
                    <a:gd name="T32" fmla="*/ 1878 w 3239"/>
                    <a:gd name="T33" fmla="*/ 863 h 3179"/>
                    <a:gd name="T34" fmla="*/ 2068 w 3239"/>
                    <a:gd name="T35" fmla="*/ 821 h 3179"/>
                    <a:gd name="T36" fmla="*/ 2239 w 3239"/>
                    <a:gd name="T37" fmla="*/ 770 h 3179"/>
                    <a:gd name="T38" fmla="*/ 2390 w 3239"/>
                    <a:gd name="T39" fmla="*/ 701 h 3179"/>
                    <a:gd name="T40" fmla="*/ 2515 w 3239"/>
                    <a:gd name="T41" fmla="*/ 602 h 3179"/>
                    <a:gd name="T42" fmla="*/ 2618 w 3239"/>
                    <a:gd name="T43" fmla="*/ 493 h 3179"/>
                    <a:gd name="T44" fmla="*/ 2701 w 3239"/>
                    <a:gd name="T45" fmla="*/ 395 h 3179"/>
                    <a:gd name="T46" fmla="*/ 2766 w 3239"/>
                    <a:gd name="T47" fmla="*/ 308 h 3179"/>
                    <a:gd name="T48" fmla="*/ 2817 w 3239"/>
                    <a:gd name="T49" fmla="*/ 231 h 3179"/>
                    <a:gd name="T50" fmla="*/ 2854 w 3239"/>
                    <a:gd name="T51" fmla="*/ 166 h 3179"/>
                    <a:gd name="T52" fmla="*/ 2891 w 3239"/>
                    <a:gd name="T53" fmla="*/ 82 h 3179"/>
                    <a:gd name="T54" fmla="*/ 2909 w 3239"/>
                    <a:gd name="T55" fmla="*/ 8 h 3179"/>
                    <a:gd name="T56" fmla="*/ 2933 w 3239"/>
                    <a:gd name="T57" fmla="*/ 38 h 3179"/>
                    <a:gd name="T58" fmla="*/ 3011 w 3239"/>
                    <a:gd name="T59" fmla="*/ 188 h 3179"/>
                    <a:gd name="T60" fmla="*/ 3069 w 3239"/>
                    <a:gd name="T61" fmla="*/ 325 h 3179"/>
                    <a:gd name="T62" fmla="*/ 3129 w 3239"/>
                    <a:gd name="T63" fmla="*/ 492 h 3179"/>
                    <a:gd name="T64" fmla="*/ 3182 w 3239"/>
                    <a:gd name="T65" fmla="*/ 686 h 3179"/>
                    <a:gd name="T66" fmla="*/ 3221 w 3239"/>
                    <a:gd name="T67" fmla="*/ 901 h 3179"/>
                    <a:gd name="T68" fmla="*/ 3239 w 3239"/>
                    <a:gd name="T69" fmla="*/ 1137 h 3179"/>
                    <a:gd name="T70" fmla="*/ 3229 w 3239"/>
                    <a:gd name="T71" fmla="*/ 1387 h 3179"/>
                    <a:gd name="T72" fmla="*/ 3182 w 3239"/>
                    <a:gd name="T73" fmla="*/ 1648 h 3179"/>
                    <a:gd name="T74" fmla="*/ 3093 w 3239"/>
                    <a:gd name="T75" fmla="*/ 1914 h 3179"/>
                    <a:gd name="T76" fmla="*/ 2986 w 3239"/>
                    <a:gd name="T77" fmla="*/ 2155 h 3179"/>
                    <a:gd name="T78" fmla="*/ 2866 w 3239"/>
                    <a:gd name="T79" fmla="*/ 2365 h 3179"/>
                    <a:gd name="T80" fmla="*/ 2735 w 3239"/>
                    <a:gd name="T81" fmla="*/ 2545 h 3179"/>
                    <a:gd name="T82" fmla="*/ 2592 w 3239"/>
                    <a:gd name="T83" fmla="*/ 2699 h 3179"/>
                    <a:gd name="T84" fmla="*/ 2438 w 3239"/>
                    <a:gd name="T85" fmla="*/ 2825 h 3179"/>
                    <a:gd name="T86" fmla="*/ 2275 w 3239"/>
                    <a:gd name="T87" fmla="*/ 2930 h 3179"/>
                    <a:gd name="T88" fmla="*/ 2102 w 3239"/>
                    <a:gd name="T89" fmla="*/ 3012 h 3179"/>
                    <a:gd name="T90" fmla="*/ 1920 w 3239"/>
                    <a:gd name="T91" fmla="*/ 3076 h 3179"/>
                    <a:gd name="T92" fmla="*/ 1728 w 3239"/>
                    <a:gd name="T93" fmla="*/ 3123 h 3179"/>
                    <a:gd name="T94" fmla="*/ 1529 w 3239"/>
                    <a:gd name="T95" fmla="*/ 3154 h 3179"/>
                    <a:gd name="T96" fmla="*/ 1330 w 3239"/>
                    <a:gd name="T97" fmla="*/ 3173 h 3179"/>
                    <a:gd name="T98" fmla="*/ 1157 w 3239"/>
                    <a:gd name="T99" fmla="*/ 3179 h 3179"/>
                    <a:gd name="T100" fmla="*/ 1008 w 3239"/>
                    <a:gd name="T101" fmla="*/ 3176 h 3179"/>
                    <a:gd name="T102" fmla="*/ 885 w 3239"/>
                    <a:gd name="T103" fmla="*/ 3165 h 3179"/>
                    <a:gd name="T104" fmla="*/ 783 w 3239"/>
                    <a:gd name="T105" fmla="*/ 3149 h 3179"/>
                    <a:gd name="T106" fmla="*/ 703 w 3239"/>
                    <a:gd name="T107" fmla="*/ 3129 h 3179"/>
                    <a:gd name="T108" fmla="*/ 640 w 3239"/>
                    <a:gd name="T109" fmla="*/ 3109 h 3179"/>
                    <a:gd name="T110" fmla="*/ 566 w 3239"/>
                    <a:gd name="T111" fmla="*/ 3073 h 3179"/>
                    <a:gd name="T112" fmla="*/ 543 w 3239"/>
                    <a:gd name="T113" fmla="*/ 3057 h 3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239" h="3179">
                      <a:moveTo>
                        <a:pt x="543" y="3057"/>
                      </a:moveTo>
                      <a:lnTo>
                        <a:pt x="538" y="3051"/>
                      </a:lnTo>
                      <a:lnTo>
                        <a:pt x="526" y="3044"/>
                      </a:lnTo>
                      <a:lnTo>
                        <a:pt x="510" y="3034"/>
                      </a:lnTo>
                      <a:lnTo>
                        <a:pt x="490" y="3022"/>
                      </a:lnTo>
                      <a:lnTo>
                        <a:pt x="438" y="2994"/>
                      </a:lnTo>
                      <a:lnTo>
                        <a:pt x="376" y="2956"/>
                      </a:lnTo>
                      <a:lnTo>
                        <a:pt x="343" y="2935"/>
                      </a:lnTo>
                      <a:lnTo>
                        <a:pt x="308" y="2911"/>
                      </a:lnTo>
                      <a:lnTo>
                        <a:pt x="273" y="2884"/>
                      </a:lnTo>
                      <a:lnTo>
                        <a:pt x="238" y="2854"/>
                      </a:lnTo>
                      <a:lnTo>
                        <a:pt x="203" y="2823"/>
                      </a:lnTo>
                      <a:lnTo>
                        <a:pt x="169" y="2789"/>
                      </a:lnTo>
                      <a:lnTo>
                        <a:pt x="137" y="2753"/>
                      </a:lnTo>
                      <a:lnTo>
                        <a:pt x="107" y="2713"/>
                      </a:lnTo>
                      <a:lnTo>
                        <a:pt x="80" y="2672"/>
                      </a:lnTo>
                      <a:lnTo>
                        <a:pt x="56" y="2626"/>
                      </a:lnTo>
                      <a:lnTo>
                        <a:pt x="35" y="2578"/>
                      </a:lnTo>
                      <a:lnTo>
                        <a:pt x="18" y="2529"/>
                      </a:lnTo>
                      <a:lnTo>
                        <a:pt x="7" y="2475"/>
                      </a:lnTo>
                      <a:lnTo>
                        <a:pt x="1" y="2418"/>
                      </a:lnTo>
                      <a:lnTo>
                        <a:pt x="0" y="2359"/>
                      </a:lnTo>
                      <a:lnTo>
                        <a:pt x="5" y="2296"/>
                      </a:lnTo>
                      <a:lnTo>
                        <a:pt x="18" y="2230"/>
                      </a:lnTo>
                      <a:lnTo>
                        <a:pt x="38" y="2161"/>
                      </a:lnTo>
                      <a:lnTo>
                        <a:pt x="66" y="2088"/>
                      </a:lnTo>
                      <a:lnTo>
                        <a:pt x="102" y="2012"/>
                      </a:lnTo>
                      <a:lnTo>
                        <a:pt x="148" y="1932"/>
                      </a:lnTo>
                      <a:lnTo>
                        <a:pt x="202" y="1850"/>
                      </a:lnTo>
                      <a:lnTo>
                        <a:pt x="267" y="1764"/>
                      </a:lnTo>
                      <a:lnTo>
                        <a:pt x="343" y="1673"/>
                      </a:lnTo>
                      <a:lnTo>
                        <a:pt x="423" y="1585"/>
                      </a:lnTo>
                      <a:lnTo>
                        <a:pt x="504" y="1504"/>
                      </a:lnTo>
                      <a:lnTo>
                        <a:pt x="585" y="1429"/>
                      </a:lnTo>
                      <a:lnTo>
                        <a:pt x="666" y="1362"/>
                      </a:lnTo>
                      <a:lnTo>
                        <a:pt x="748" y="1300"/>
                      </a:lnTo>
                      <a:lnTo>
                        <a:pt x="828" y="1245"/>
                      </a:lnTo>
                      <a:lnTo>
                        <a:pt x="909" y="1194"/>
                      </a:lnTo>
                      <a:lnTo>
                        <a:pt x="989" y="1149"/>
                      </a:lnTo>
                      <a:lnTo>
                        <a:pt x="1068" y="1109"/>
                      </a:lnTo>
                      <a:lnTo>
                        <a:pt x="1147" y="1072"/>
                      </a:lnTo>
                      <a:lnTo>
                        <a:pt x="1225" y="1040"/>
                      </a:lnTo>
                      <a:lnTo>
                        <a:pt x="1302" y="1011"/>
                      </a:lnTo>
                      <a:lnTo>
                        <a:pt x="1379" y="985"/>
                      </a:lnTo>
                      <a:lnTo>
                        <a:pt x="1453" y="963"/>
                      </a:lnTo>
                      <a:lnTo>
                        <a:pt x="1528" y="942"/>
                      </a:lnTo>
                      <a:lnTo>
                        <a:pt x="1601" y="924"/>
                      </a:lnTo>
                      <a:lnTo>
                        <a:pt x="1672" y="906"/>
                      </a:lnTo>
                      <a:lnTo>
                        <a:pt x="1742" y="891"/>
                      </a:lnTo>
                      <a:lnTo>
                        <a:pt x="1811" y="877"/>
                      </a:lnTo>
                      <a:lnTo>
                        <a:pt x="1878" y="863"/>
                      </a:lnTo>
                      <a:lnTo>
                        <a:pt x="1943" y="849"/>
                      </a:lnTo>
                      <a:lnTo>
                        <a:pt x="2006" y="835"/>
                      </a:lnTo>
                      <a:lnTo>
                        <a:pt x="2068" y="821"/>
                      </a:lnTo>
                      <a:lnTo>
                        <a:pt x="2127" y="805"/>
                      </a:lnTo>
                      <a:lnTo>
                        <a:pt x="2184" y="788"/>
                      </a:lnTo>
                      <a:lnTo>
                        <a:pt x="2239" y="770"/>
                      </a:lnTo>
                      <a:lnTo>
                        <a:pt x="2291" y="749"/>
                      </a:lnTo>
                      <a:lnTo>
                        <a:pt x="2342" y="727"/>
                      </a:lnTo>
                      <a:lnTo>
                        <a:pt x="2390" y="701"/>
                      </a:lnTo>
                      <a:lnTo>
                        <a:pt x="2434" y="672"/>
                      </a:lnTo>
                      <a:lnTo>
                        <a:pt x="2476" y="639"/>
                      </a:lnTo>
                      <a:lnTo>
                        <a:pt x="2515" y="602"/>
                      </a:lnTo>
                      <a:lnTo>
                        <a:pt x="2552" y="564"/>
                      </a:lnTo>
                      <a:lnTo>
                        <a:pt x="2586" y="529"/>
                      </a:lnTo>
                      <a:lnTo>
                        <a:pt x="2618" y="493"/>
                      </a:lnTo>
                      <a:lnTo>
                        <a:pt x="2647" y="459"/>
                      </a:lnTo>
                      <a:lnTo>
                        <a:pt x="2675" y="426"/>
                      </a:lnTo>
                      <a:lnTo>
                        <a:pt x="2701" y="395"/>
                      </a:lnTo>
                      <a:lnTo>
                        <a:pt x="2725" y="364"/>
                      </a:lnTo>
                      <a:lnTo>
                        <a:pt x="2747" y="335"/>
                      </a:lnTo>
                      <a:lnTo>
                        <a:pt x="2766" y="308"/>
                      </a:lnTo>
                      <a:lnTo>
                        <a:pt x="2785" y="281"/>
                      </a:lnTo>
                      <a:lnTo>
                        <a:pt x="2802" y="256"/>
                      </a:lnTo>
                      <a:lnTo>
                        <a:pt x="2817" y="231"/>
                      </a:lnTo>
                      <a:lnTo>
                        <a:pt x="2830" y="208"/>
                      </a:lnTo>
                      <a:lnTo>
                        <a:pt x="2843" y="187"/>
                      </a:lnTo>
                      <a:lnTo>
                        <a:pt x="2854" y="166"/>
                      </a:lnTo>
                      <a:lnTo>
                        <a:pt x="2864" y="147"/>
                      </a:lnTo>
                      <a:lnTo>
                        <a:pt x="2879" y="112"/>
                      </a:lnTo>
                      <a:lnTo>
                        <a:pt x="2891" y="82"/>
                      </a:lnTo>
                      <a:lnTo>
                        <a:pt x="2900" y="57"/>
                      </a:lnTo>
                      <a:lnTo>
                        <a:pt x="2905" y="36"/>
                      </a:lnTo>
                      <a:lnTo>
                        <a:pt x="2909" y="8"/>
                      </a:lnTo>
                      <a:lnTo>
                        <a:pt x="2909" y="0"/>
                      </a:lnTo>
                      <a:lnTo>
                        <a:pt x="2916" y="9"/>
                      </a:lnTo>
                      <a:lnTo>
                        <a:pt x="2933" y="38"/>
                      </a:lnTo>
                      <a:lnTo>
                        <a:pt x="2959" y="86"/>
                      </a:lnTo>
                      <a:lnTo>
                        <a:pt x="2993" y="150"/>
                      </a:lnTo>
                      <a:lnTo>
                        <a:pt x="3011" y="188"/>
                      </a:lnTo>
                      <a:lnTo>
                        <a:pt x="3029" y="230"/>
                      </a:lnTo>
                      <a:lnTo>
                        <a:pt x="3050" y="275"/>
                      </a:lnTo>
                      <a:lnTo>
                        <a:pt x="3069" y="325"/>
                      </a:lnTo>
                      <a:lnTo>
                        <a:pt x="3090" y="377"/>
                      </a:lnTo>
                      <a:lnTo>
                        <a:pt x="3110" y="432"/>
                      </a:lnTo>
                      <a:lnTo>
                        <a:pt x="3129" y="492"/>
                      </a:lnTo>
                      <a:lnTo>
                        <a:pt x="3149" y="554"/>
                      </a:lnTo>
                      <a:lnTo>
                        <a:pt x="3166" y="619"/>
                      </a:lnTo>
                      <a:lnTo>
                        <a:pt x="3182" y="686"/>
                      </a:lnTo>
                      <a:lnTo>
                        <a:pt x="3197" y="755"/>
                      </a:lnTo>
                      <a:lnTo>
                        <a:pt x="3210" y="827"/>
                      </a:lnTo>
                      <a:lnTo>
                        <a:pt x="3221" y="901"/>
                      </a:lnTo>
                      <a:lnTo>
                        <a:pt x="3230" y="978"/>
                      </a:lnTo>
                      <a:lnTo>
                        <a:pt x="3236" y="1056"/>
                      </a:lnTo>
                      <a:lnTo>
                        <a:pt x="3239" y="1137"/>
                      </a:lnTo>
                      <a:lnTo>
                        <a:pt x="3239" y="1218"/>
                      </a:lnTo>
                      <a:lnTo>
                        <a:pt x="3235" y="1301"/>
                      </a:lnTo>
                      <a:lnTo>
                        <a:pt x="3229" y="1387"/>
                      </a:lnTo>
                      <a:lnTo>
                        <a:pt x="3217" y="1472"/>
                      </a:lnTo>
                      <a:lnTo>
                        <a:pt x="3202" y="1559"/>
                      </a:lnTo>
                      <a:lnTo>
                        <a:pt x="3182" y="1648"/>
                      </a:lnTo>
                      <a:lnTo>
                        <a:pt x="3157" y="1736"/>
                      </a:lnTo>
                      <a:lnTo>
                        <a:pt x="3127" y="1826"/>
                      </a:lnTo>
                      <a:lnTo>
                        <a:pt x="3093" y="1914"/>
                      </a:lnTo>
                      <a:lnTo>
                        <a:pt x="3060" y="1998"/>
                      </a:lnTo>
                      <a:lnTo>
                        <a:pt x="3023" y="2078"/>
                      </a:lnTo>
                      <a:lnTo>
                        <a:pt x="2986" y="2155"/>
                      </a:lnTo>
                      <a:lnTo>
                        <a:pt x="2947" y="2229"/>
                      </a:lnTo>
                      <a:lnTo>
                        <a:pt x="2907" y="2298"/>
                      </a:lnTo>
                      <a:lnTo>
                        <a:pt x="2866" y="2365"/>
                      </a:lnTo>
                      <a:lnTo>
                        <a:pt x="2824" y="2428"/>
                      </a:lnTo>
                      <a:lnTo>
                        <a:pt x="2779" y="2489"/>
                      </a:lnTo>
                      <a:lnTo>
                        <a:pt x="2735" y="2545"/>
                      </a:lnTo>
                      <a:lnTo>
                        <a:pt x="2688" y="2599"/>
                      </a:lnTo>
                      <a:lnTo>
                        <a:pt x="2641" y="2650"/>
                      </a:lnTo>
                      <a:lnTo>
                        <a:pt x="2592" y="2699"/>
                      </a:lnTo>
                      <a:lnTo>
                        <a:pt x="2542" y="2743"/>
                      </a:lnTo>
                      <a:lnTo>
                        <a:pt x="2491" y="2786"/>
                      </a:lnTo>
                      <a:lnTo>
                        <a:pt x="2438" y="2825"/>
                      </a:lnTo>
                      <a:lnTo>
                        <a:pt x="2385" y="2863"/>
                      </a:lnTo>
                      <a:lnTo>
                        <a:pt x="2331" y="2898"/>
                      </a:lnTo>
                      <a:lnTo>
                        <a:pt x="2275" y="2930"/>
                      </a:lnTo>
                      <a:lnTo>
                        <a:pt x="2219" y="2959"/>
                      </a:lnTo>
                      <a:lnTo>
                        <a:pt x="2161" y="2988"/>
                      </a:lnTo>
                      <a:lnTo>
                        <a:pt x="2102" y="3012"/>
                      </a:lnTo>
                      <a:lnTo>
                        <a:pt x="2042" y="3036"/>
                      </a:lnTo>
                      <a:lnTo>
                        <a:pt x="1982" y="3057"/>
                      </a:lnTo>
                      <a:lnTo>
                        <a:pt x="1920" y="3076"/>
                      </a:lnTo>
                      <a:lnTo>
                        <a:pt x="1857" y="3094"/>
                      </a:lnTo>
                      <a:lnTo>
                        <a:pt x="1793" y="3109"/>
                      </a:lnTo>
                      <a:lnTo>
                        <a:pt x="1728" y="3123"/>
                      </a:lnTo>
                      <a:lnTo>
                        <a:pt x="1663" y="3135"/>
                      </a:lnTo>
                      <a:lnTo>
                        <a:pt x="1596" y="3146"/>
                      </a:lnTo>
                      <a:lnTo>
                        <a:pt x="1529" y="3154"/>
                      </a:lnTo>
                      <a:lnTo>
                        <a:pt x="1461" y="3162"/>
                      </a:lnTo>
                      <a:lnTo>
                        <a:pt x="1394" y="3167"/>
                      </a:lnTo>
                      <a:lnTo>
                        <a:pt x="1330" y="3173"/>
                      </a:lnTo>
                      <a:lnTo>
                        <a:pt x="1269" y="3176"/>
                      </a:lnTo>
                      <a:lnTo>
                        <a:pt x="1211" y="3178"/>
                      </a:lnTo>
                      <a:lnTo>
                        <a:pt x="1157" y="3179"/>
                      </a:lnTo>
                      <a:lnTo>
                        <a:pt x="1105" y="3179"/>
                      </a:lnTo>
                      <a:lnTo>
                        <a:pt x="1055" y="3178"/>
                      </a:lnTo>
                      <a:lnTo>
                        <a:pt x="1008" y="3176"/>
                      </a:lnTo>
                      <a:lnTo>
                        <a:pt x="965" y="3173"/>
                      </a:lnTo>
                      <a:lnTo>
                        <a:pt x="924" y="3169"/>
                      </a:lnTo>
                      <a:lnTo>
                        <a:pt x="885" y="3165"/>
                      </a:lnTo>
                      <a:lnTo>
                        <a:pt x="848" y="3161"/>
                      </a:lnTo>
                      <a:lnTo>
                        <a:pt x="815" y="3155"/>
                      </a:lnTo>
                      <a:lnTo>
                        <a:pt x="783" y="3149"/>
                      </a:lnTo>
                      <a:lnTo>
                        <a:pt x="754" y="3143"/>
                      </a:lnTo>
                      <a:lnTo>
                        <a:pt x="727" y="3137"/>
                      </a:lnTo>
                      <a:lnTo>
                        <a:pt x="703" y="3129"/>
                      </a:lnTo>
                      <a:lnTo>
                        <a:pt x="680" y="3123"/>
                      </a:lnTo>
                      <a:lnTo>
                        <a:pt x="660" y="3116"/>
                      </a:lnTo>
                      <a:lnTo>
                        <a:pt x="640" y="3109"/>
                      </a:lnTo>
                      <a:lnTo>
                        <a:pt x="609" y="3096"/>
                      </a:lnTo>
                      <a:lnTo>
                        <a:pt x="584" y="3084"/>
                      </a:lnTo>
                      <a:lnTo>
                        <a:pt x="566" y="3073"/>
                      </a:lnTo>
                      <a:lnTo>
                        <a:pt x="553" y="3064"/>
                      </a:lnTo>
                      <a:lnTo>
                        <a:pt x="545" y="3059"/>
                      </a:lnTo>
                      <a:lnTo>
                        <a:pt x="543" y="3057"/>
                      </a:lnTo>
                      <a:close/>
                    </a:path>
                  </a:pathLst>
                </a:custGeom>
                <a:gradFill>
                  <a:gsLst>
                    <a:gs pos="0">
                      <a:schemeClr val="accent2">
                        <a:lumMod val="75000"/>
                      </a:schemeClr>
                    </a:gs>
                    <a:gs pos="100000">
                      <a:schemeClr val="accent2"/>
                    </a:gs>
                  </a:gsLst>
                  <a:lin ang="5400000" scaled="1"/>
                </a:gradFill>
                <a:ln>
                  <a:noFill/>
                </a:ln>
                <a:effectLst>
                  <a:outerShdw blurRad="444500" dist="190500" dir="2700000" sx="95000" sy="95000" algn="tl" rotWithShape="0">
                    <a:prstClr val="black">
                      <a:alpha val="23000"/>
                    </a:prstClr>
                  </a:outerShdw>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sp>
            <p:nvSpPr>
              <p:cNvPr id="14" name="Freeform 9">
                <a:extLst>
                  <a:ext uri="{FF2B5EF4-FFF2-40B4-BE49-F238E27FC236}">
                    <a16:creationId xmlns:a16="http://schemas.microsoft.com/office/drawing/2014/main" id="{B81A4756-59E5-4B48-9CB3-B0DC81E80223}"/>
                  </a:ext>
                </a:extLst>
              </p:cNvPr>
              <p:cNvSpPr>
                <a:spLocks/>
              </p:cNvSpPr>
              <p:nvPr/>
            </p:nvSpPr>
            <p:spPr bwMode="auto">
              <a:xfrm rot="308590">
                <a:off x="6980895" y="1517574"/>
                <a:ext cx="1084797" cy="1934213"/>
              </a:xfrm>
              <a:custGeom>
                <a:avLst/>
                <a:gdLst>
                  <a:gd name="T0" fmla="*/ 536 w 1696"/>
                  <a:gd name="T1" fmla="*/ 2987 h 3026"/>
                  <a:gd name="T2" fmla="*/ 462 w 1696"/>
                  <a:gd name="T3" fmla="*/ 2911 h 3026"/>
                  <a:gd name="T4" fmla="*/ 368 w 1696"/>
                  <a:gd name="T5" fmla="*/ 2798 h 3026"/>
                  <a:gd name="T6" fmla="*/ 263 w 1696"/>
                  <a:gd name="T7" fmla="*/ 2650 h 3026"/>
                  <a:gd name="T8" fmla="*/ 161 w 1696"/>
                  <a:gd name="T9" fmla="*/ 2473 h 3026"/>
                  <a:gd name="T10" fmla="*/ 76 w 1696"/>
                  <a:gd name="T11" fmla="*/ 2268 h 3026"/>
                  <a:gd name="T12" fmla="*/ 17 w 1696"/>
                  <a:gd name="T13" fmla="*/ 2039 h 3026"/>
                  <a:gd name="T14" fmla="*/ 0 w 1696"/>
                  <a:gd name="T15" fmla="*/ 1789 h 3026"/>
                  <a:gd name="T16" fmla="*/ 36 w 1696"/>
                  <a:gd name="T17" fmla="*/ 1522 h 3026"/>
                  <a:gd name="T18" fmla="*/ 137 w 1696"/>
                  <a:gd name="T19" fmla="*/ 1239 h 3026"/>
                  <a:gd name="T20" fmla="*/ 300 w 1696"/>
                  <a:gd name="T21" fmla="*/ 959 h 3026"/>
                  <a:gd name="T22" fmla="*/ 478 w 1696"/>
                  <a:gd name="T23" fmla="*/ 721 h 3026"/>
                  <a:gd name="T24" fmla="*/ 659 w 1696"/>
                  <a:gd name="T25" fmla="*/ 526 h 3026"/>
                  <a:gd name="T26" fmla="*/ 840 w 1696"/>
                  <a:gd name="T27" fmla="*/ 369 h 3026"/>
                  <a:gd name="T28" fmla="*/ 1014 w 1696"/>
                  <a:gd name="T29" fmla="*/ 247 h 3026"/>
                  <a:gd name="T30" fmla="*/ 1177 w 1696"/>
                  <a:gd name="T31" fmla="*/ 155 h 3026"/>
                  <a:gd name="T32" fmla="*/ 1322 w 1696"/>
                  <a:gd name="T33" fmla="*/ 88 h 3026"/>
                  <a:gd name="T34" fmla="*/ 1444 w 1696"/>
                  <a:gd name="T35" fmla="*/ 43 h 3026"/>
                  <a:gd name="T36" fmla="*/ 1538 w 1696"/>
                  <a:gd name="T37" fmla="*/ 16 h 3026"/>
                  <a:gd name="T38" fmla="*/ 1611 w 1696"/>
                  <a:gd name="T39" fmla="*/ 1 h 3026"/>
                  <a:gd name="T40" fmla="*/ 1604 w 1696"/>
                  <a:gd name="T41" fmla="*/ 30 h 3026"/>
                  <a:gd name="T42" fmla="*/ 1555 w 1696"/>
                  <a:gd name="T43" fmla="*/ 143 h 3026"/>
                  <a:gd name="T44" fmla="*/ 1517 w 1696"/>
                  <a:gd name="T45" fmla="*/ 243 h 3026"/>
                  <a:gd name="T46" fmla="*/ 1478 w 1696"/>
                  <a:gd name="T47" fmla="*/ 367 h 3026"/>
                  <a:gd name="T48" fmla="*/ 1444 w 1696"/>
                  <a:gd name="T49" fmla="*/ 506 h 3026"/>
                  <a:gd name="T50" fmla="*/ 1418 w 1696"/>
                  <a:gd name="T51" fmla="*/ 660 h 3026"/>
                  <a:gd name="T52" fmla="*/ 1406 w 1696"/>
                  <a:gd name="T53" fmla="*/ 825 h 3026"/>
                  <a:gd name="T54" fmla="*/ 1412 w 1696"/>
                  <a:gd name="T55" fmla="*/ 997 h 3026"/>
                  <a:gd name="T56" fmla="*/ 1441 w 1696"/>
                  <a:gd name="T57" fmla="*/ 1171 h 3026"/>
                  <a:gd name="T58" fmla="*/ 1515 w 1696"/>
                  <a:gd name="T59" fmla="*/ 1398 h 3026"/>
                  <a:gd name="T60" fmla="*/ 1614 w 1696"/>
                  <a:gd name="T61" fmla="*/ 1682 h 3026"/>
                  <a:gd name="T62" fmla="*/ 1651 w 1696"/>
                  <a:gd name="T63" fmla="*/ 1802 h 3026"/>
                  <a:gd name="T64" fmla="*/ 1678 w 1696"/>
                  <a:gd name="T65" fmla="*/ 1912 h 3026"/>
                  <a:gd name="T66" fmla="*/ 1693 w 1696"/>
                  <a:gd name="T67" fmla="*/ 2017 h 3026"/>
                  <a:gd name="T68" fmla="*/ 1695 w 1696"/>
                  <a:gd name="T69" fmla="*/ 2119 h 3026"/>
                  <a:gd name="T70" fmla="*/ 1683 w 1696"/>
                  <a:gd name="T71" fmla="*/ 2222 h 3026"/>
                  <a:gd name="T72" fmla="*/ 1655 w 1696"/>
                  <a:gd name="T73" fmla="*/ 2330 h 3026"/>
                  <a:gd name="T74" fmla="*/ 1611 w 1696"/>
                  <a:gd name="T75" fmla="*/ 2447 h 3026"/>
                  <a:gd name="T76" fmla="*/ 1547 w 1696"/>
                  <a:gd name="T77" fmla="*/ 2575 h 3026"/>
                  <a:gd name="T78" fmla="*/ 1464 w 1696"/>
                  <a:gd name="T79" fmla="*/ 2698 h 3026"/>
                  <a:gd name="T80" fmla="*/ 1362 w 1696"/>
                  <a:gd name="T81" fmla="*/ 2795 h 3026"/>
                  <a:gd name="T82" fmla="*/ 1248 w 1696"/>
                  <a:gd name="T83" fmla="*/ 2872 h 3026"/>
                  <a:gd name="T84" fmla="*/ 1127 w 1696"/>
                  <a:gd name="T85" fmla="*/ 2930 h 3026"/>
                  <a:gd name="T86" fmla="*/ 1005 w 1696"/>
                  <a:gd name="T87" fmla="*/ 2971 h 3026"/>
                  <a:gd name="T88" fmla="*/ 888 w 1696"/>
                  <a:gd name="T89" fmla="*/ 2998 h 3026"/>
                  <a:gd name="T90" fmla="*/ 782 w 1696"/>
                  <a:gd name="T91" fmla="*/ 3015 h 3026"/>
                  <a:gd name="T92" fmla="*/ 692 w 1696"/>
                  <a:gd name="T93" fmla="*/ 3023 h 3026"/>
                  <a:gd name="T94" fmla="*/ 585 w 1696"/>
                  <a:gd name="T95" fmla="*/ 3026 h 30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696" h="3026">
                    <a:moveTo>
                      <a:pt x="576" y="3025"/>
                    </a:moveTo>
                    <a:lnTo>
                      <a:pt x="565" y="3015"/>
                    </a:lnTo>
                    <a:lnTo>
                      <a:pt x="536" y="2987"/>
                    </a:lnTo>
                    <a:lnTo>
                      <a:pt x="514" y="2966"/>
                    </a:lnTo>
                    <a:lnTo>
                      <a:pt x="491" y="2940"/>
                    </a:lnTo>
                    <a:lnTo>
                      <a:pt x="462" y="2911"/>
                    </a:lnTo>
                    <a:lnTo>
                      <a:pt x="433" y="2878"/>
                    </a:lnTo>
                    <a:lnTo>
                      <a:pt x="401" y="2840"/>
                    </a:lnTo>
                    <a:lnTo>
                      <a:pt x="368" y="2798"/>
                    </a:lnTo>
                    <a:lnTo>
                      <a:pt x="334" y="2752"/>
                    </a:lnTo>
                    <a:lnTo>
                      <a:pt x="299" y="2703"/>
                    </a:lnTo>
                    <a:lnTo>
                      <a:pt x="263" y="2650"/>
                    </a:lnTo>
                    <a:lnTo>
                      <a:pt x="229" y="2595"/>
                    </a:lnTo>
                    <a:lnTo>
                      <a:pt x="194" y="2536"/>
                    </a:lnTo>
                    <a:lnTo>
                      <a:pt x="161" y="2473"/>
                    </a:lnTo>
                    <a:lnTo>
                      <a:pt x="130" y="2408"/>
                    </a:lnTo>
                    <a:lnTo>
                      <a:pt x="102" y="2340"/>
                    </a:lnTo>
                    <a:lnTo>
                      <a:pt x="76" y="2268"/>
                    </a:lnTo>
                    <a:lnTo>
                      <a:pt x="52" y="2195"/>
                    </a:lnTo>
                    <a:lnTo>
                      <a:pt x="33" y="2118"/>
                    </a:lnTo>
                    <a:lnTo>
                      <a:pt x="17" y="2039"/>
                    </a:lnTo>
                    <a:lnTo>
                      <a:pt x="7" y="1958"/>
                    </a:lnTo>
                    <a:lnTo>
                      <a:pt x="0" y="1874"/>
                    </a:lnTo>
                    <a:lnTo>
                      <a:pt x="0" y="1789"/>
                    </a:lnTo>
                    <a:lnTo>
                      <a:pt x="6" y="1702"/>
                    </a:lnTo>
                    <a:lnTo>
                      <a:pt x="16" y="1613"/>
                    </a:lnTo>
                    <a:lnTo>
                      <a:pt x="36" y="1522"/>
                    </a:lnTo>
                    <a:lnTo>
                      <a:pt x="61" y="1429"/>
                    </a:lnTo>
                    <a:lnTo>
                      <a:pt x="95" y="1334"/>
                    </a:lnTo>
                    <a:lnTo>
                      <a:pt x="137" y="1239"/>
                    </a:lnTo>
                    <a:lnTo>
                      <a:pt x="187" y="1143"/>
                    </a:lnTo>
                    <a:lnTo>
                      <a:pt x="243" y="1048"/>
                    </a:lnTo>
                    <a:lnTo>
                      <a:pt x="300" y="959"/>
                    </a:lnTo>
                    <a:lnTo>
                      <a:pt x="358" y="874"/>
                    </a:lnTo>
                    <a:lnTo>
                      <a:pt x="418" y="795"/>
                    </a:lnTo>
                    <a:lnTo>
                      <a:pt x="478" y="721"/>
                    </a:lnTo>
                    <a:lnTo>
                      <a:pt x="538" y="651"/>
                    </a:lnTo>
                    <a:lnTo>
                      <a:pt x="599" y="587"/>
                    </a:lnTo>
                    <a:lnTo>
                      <a:pt x="659" y="526"/>
                    </a:lnTo>
                    <a:lnTo>
                      <a:pt x="720" y="470"/>
                    </a:lnTo>
                    <a:lnTo>
                      <a:pt x="780" y="418"/>
                    </a:lnTo>
                    <a:lnTo>
                      <a:pt x="840" y="369"/>
                    </a:lnTo>
                    <a:lnTo>
                      <a:pt x="899" y="325"/>
                    </a:lnTo>
                    <a:lnTo>
                      <a:pt x="957" y="285"/>
                    </a:lnTo>
                    <a:lnTo>
                      <a:pt x="1014" y="247"/>
                    </a:lnTo>
                    <a:lnTo>
                      <a:pt x="1070" y="213"/>
                    </a:lnTo>
                    <a:lnTo>
                      <a:pt x="1124" y="182"/>
                    </a:lnTo>
                    <a:lnTo>
                      <a:pt x="1177" y="155"/>
                    </a:lnTo>
                    <a:lnTo>
                      <a:pt x="1227" y="130"/>
                    </a:lnTo>
                    <a:lnTo>
                      <a:pt x="1275" y="107"/>
                    </a:lnTo>
                    <a:lnTo>
                      <a:pt x="1322" y="88"/>
                    </a:lnTo>
                    <a:lnTo>
                      <a:pt x="1365" y="70"/>
                    </a:lnTo>
                    <a:lnTo>
                      <a:pt x="1406" y="56"/>
                    </a:lnTo>
                    <a:lnTo>
                      <a:pt x="1444" y="43"/>
                    </a:lnTo>
                    <a:lnTo>
                      <a:pt x="1479" y="32"/>
                    </a:lnTo>
                    <a:lnTo>
                      <a:pt x="1510" y="24"/>
                    </a:lnTo>
                    <a:lnTo>
                      <a:pt x="1538" y="16"/>
                    </a:lnTo>
                    <a:lnTo>
                      <a:pt x="1562" y="11"/>
                    </a:lnTo>
                    <a:lnTo>
                      <a:pt x="1583" y="6"/>
                    </a:lnTo>
                    <a:lnTo>
                      <a:pt x="1611" y="1"/>
                    </a:lnTo>
                    <a:lnTo>
                      <a:pt x="1620" y="0"/>
                    </a:lnTo>
                    <a:lnTo>
                      <a:pt x="1616" y="8"/>
                    </a:lnTo>
                    <a:lnTo>
                      <a:pt x="1604" y="30"/>
                    </a:lnTo>
                    <a:lnTo>
                      <a:pt x="1588" y="66"/>
                    </a:lnTo>
                    <a:lnTo>
                      <a:pt x="1567" y="114"/>
                    </a:lnTo>
                    <a:lnTo>
                      <a:pt x="1555" y="143"/>
                    </a:lnTo>
                    <a:lnTo>
                      <a:pt x="1543" y="174"/>
                    </a:lnTo>
                    <a:lnTo>
                      <a:pt x="1530" y="208"/>
                    </a:lnTo>
                    <a:lnTo>
                      <a:pt x="1517" y="243"/>
                    </a:lnTo>
                    <a:lnTo>
                      <a:pt x="1504" y="282"/>
                    </a:lnTo>
                    <a:lnTo>
                      <a:pt x="1491" y="324"/>
                    </a:lnTo>
                    <a:lnTo>
                      <a:pt x="1478" y="367"/>
                    </a:lnTo>
                    <a:lnTo>
                      <a:pt x="1466" y="411"/>
                    </a:lnTo>
                    <a:lnTo>
                      <a:pt x="1455" y="458"/>
                    </a:lnTo>
                    <a:lnTo>
                      <a:pt x="1444" y="506"/>
                    </a:lnTo>
                    <a:lnTo>
                      <a:pt x="1434" y="556"/>
                    </a:lnTo>
                    <a:lnTo>
                      <a:pt x="1426" y="608"/>
                    </a:lnTo>
                    <a:lnTo>
                      <a:pt x="1418" y="660"/>
                    </a:lnTo>
                    <a:lnTo>
                      <a:pt x="1413" y="714"/>
                    </a:lnTo>
                    <a:lnTo>
                      <a:pt x="1408" y="769"/>
                    </a:lnTo>
                    <a:lnTo>
                      <a:pt x="1406" y="825"/>
                    </a:lnTo>
                    <a:lnTo>
                      <a:pt x="1406" y="881"/>
                    </a:lnTo>
                    <a:lnTo>
                      <a:pt x="1407" y="938"/>
                    </a:lnTo>
                    <a:lnTo>
                      <a:pt x="1412" y="997"/>
                    </a:lnTo>
                    <a:lnTo>
                      <a:pt x="1419" y="1054"/>
                    </a:lnTo>
                    <a:lnTo>
                      <a:pt x="1429" y="1113"/>
                    </a:lnTo>
                    <a:lnTo>
                      <a:pt x="1441" y="1171"/>
                    </a:lnTo>
                    <a:lnTo>
                      <a:pt x="1456" y="1229"/>
                    </a:lnTo>
                    <a:lnTo>
                      <a:pt x="1476" y="1288"/>
                    </a:lnTo>
                    <a:lnTo>
                      <a:pt x="1515" y="1398"/>
                    </a:lnTo>
                    <a:lnTo>
                      <a:pt x="1551" y="1501"/>
                    </a:lnTo>
                    <a:lnTo>
                      <a:pt x="1585" y="1595"/>
                    </a:lnTo>
                    <a:lnTo>
                      <a:pt x="1614" y="1682"/>
                    </a:lnTo>
                    <a:lnTo>
                      <a:pt x="1628" y="1723"/>
                    </a:lnTo>
                    <a:lnTo>
                      <a:pt x="1640" y="1763"/>
                    </a:lnTo>
                    <a:lnTo>
                      <a:pt x="1651" y="1802"/>
                    </a:lnTo>
                    <a:lnTo>
                      <a:pt x="1662" y="1840"/>
                    </a:lnTo>
                    <a:lnTo>
                      <a:pt x="1670" y="1877"/>
                    </a:lnTo>
                    <a:lnTo>
                      <a:pt x="1678" y="1912"/>
                    </a:lnTo>
                    <a:lnTo>
                      <a:pt x="1684" y="1948"/>
                    </a:lnTo>
                    <a:lnTo>
                      <a:pt x="1690" y="1983"/>
                    </a:lnTo>
                    <a:lnTo>
                      <a:pt x="1693" y="2017"/>
                    </a:lnTo>
                    <a:lnTo>
                      <a:pt x="1695" y="2051"/>
                    </a:lnTo>
                    <a:lnTo>
                      <a:pt x="1696" y="2084"/>
                    </a:lnTo>
                    <a:lnTo>
                      <a:pt x="1695" y="2119"/>
                    </a:lnTo>
                    <a:lnTo>
                      <a:pt x="1693" y="2153"/>
                    </a:lnTo>
                    <a:lnTo>
                      <a:pt x="1689" y="2187"/>
                    </a:lnTo>
                    <a:lnTo>
                      <a:pt x="1683" y="2222"/>
                    </a:lnTo>
                    <a:lnTo>
                      <a:pt x="1676" y="2258"/>
                    </a:lnTo>
                    <a:lnTo>
                      <a:pt x="1666" y="2293"/>
                    </a:lnTo>
                    <a:lnTo>
                      <a:pt x="1655" y="2330"/>
                    </a:lnTo>
                    <a:lnTo>
                      <a:pt x="1642" y="2368"/>
                    </a:lnTo>
                    <a:lnTo>
                      <a:pt x="1627" y="2407"/>
                    </a:lnTo>
                    <a:lnTo>
                      <a:pt x="1611" y="2447"/>
                    </a:lnTo>
                    <a:lnTo>
                      <a:pt x="1591" y="2488"/>
                    </a:lnTo>
                    <a:lnTo>
                      <a:pt x="1571" y="2530"/>
                    </a:lnTo>
                    <a:lnTo>
                      <a:pt x="1547" y="2575"/>
                    </a:lnTo>
                    <a:lnTo>
                      <a:pt x="1522" y="2619"/>
                    </a:lnTo>
                    <a:lnTo>
                      <a:pt x="1494" y="2659"/>
                    </a:lnTo>
                    <a:lnTo>
                      <a:pt x="1464" y="2698"/>
                    </a:lnTo>
                    <a:lnTo>
                      <a:pt x="1432" y="2733"/>
                    </a:lnTo>
                    <a:lnTo>
                      <a:pt x="1398" y="2765"/>
                    </a:lnTo>
                    <a:lnTo>
                      <a:pt x="1362" y="2795"/>
                    </a:lnTo>
                    <a:lnTo>
                      <a:pt x="1325" y="2824"/>
                    </a:lnTo>
                    <a:lnTo>
                      <a:pt x="1287" y="2849"/>
                    </a:lnTo>
                    <a:lnTo>
                      <a:pt x="1248" y="2872"/>
                    </a:lnTo>
                    <a:lnTo>
                      <a:pt x="1208" y="2894"/>
                    </a:lnTo>
                    <a:lnTo>
                      <a:pt x="1168" y="2912"/>
                    </a:lnTo>
                    <a:lnTo>
                      <a:pt x="1127" y="2930"/>
                    </a:lnTo>
                    <a:lnTo>
                      <a:pt x="1086" y="2945"/>
                    </a:lnTo>
                    <a:lnTo>
                      <a:pt x="1046" y="2959"/>
                    </a:lnTo>
                    <a:lnTo>
                      <a:pt x="1005" y="2971"/>
                    </a:lnTo>
                    <a:lnTo>
                      <a:pt x="966" y="2982"/>
                    </a:lnTo>
                    <a:lnTo>
                      <a:pt x="927" y="2990"/>
                    </a:lnTo>
                    <a:lnTo>
                      <a:pt x="888" y="2998"/>
                    </a:lnTo>
                    <a:lnTo>
                      <a:pt x="851" y="3004"/>
                    </a:lnTo>
                    <a:lnTo>
                      <a:pt x="815" y="3010"/>
                    </a:lnTo>
                    <a:lnTo>
                      <a:pt x="782" y="3015"/>
                    </a:lnTo>
                    <a:lnTo>
                      <a:pt x="750" y="3018"/>
                    </a:lnTo>
                    <a:lnTo>
                      <a:pt x="720" y="3020"/>
                    </a:lnTo>
                    <a:lnTo>
                      <a:pt x="692" y="3023"/>
                    </a:lnTo>
                    <a:lnTo>
                      <a:pt x="644" y="3025"/>
                    </a:lnTo>
                    <a:lnTo>
                      <a:pt x="607" y="3026"/>
                    </a:lnTo>
                    <a:lnTo>
                      <a:pt x="585" y="3026"/>
                    </a:lnTo>
                    <a:lnTo>
                      <a:pt x="576" y="3025"/>
                    </a:lnTo>
                    <a:close/>
                  </a:path>
                </a:pathLst>
              </a:custGeom>
              <a:gradFill>
                <a:gsLst>
                  <a:gs pos="0">
                    <a:schemeClr val="accent1">
                      <a:lumMod val="75000"/>
                    </a:schemeClr>
                  </a:gs>
                  <a:gs pos="100000">
                    <a:schemeClr val="accent1"/>
                  </a:gs>
                </a:gsLst>
                <a:lin ang="5400000" scaled="1"/>
              </a:gradFill>
              <a:ln>
                <a:noFill/>
              </a:ln>
              <a:effectLst>
                <a:outerShdw blurRad="444500" dist="190500" dir="2700000" sx="95000" sy="95000" algn="tl" rotWithShape="0">
                  <a:prstClr val="black">
                    <a:alpha val="23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5" name="Freeform 9">
                <a:extLst>
                  <a:ext uri="{FF2B5EF4-FFF2-40B4-BE49-F238E27FC236}">
                    <a16:creationId xmlns:a16="http://schemas.microsoft.com/office/drawing/2014/main" id="{BF0BB2F2-DF58-43CB-A6A1-A40062697A40}"/>
                  </a:ext>
                </a:extLst>
              </p:cNvPr>
              <p:cNvSpPr>
                <a:spLocks/>
              </p:cNvSpPr>
              <p:nvPr/>
            </p:nvSpPr>
            <p:spPr bwMode="auto">
              <a:xfrm rot="3008590">
                <a:off x="8253851" y="1619623"/>
                <a:ext cx="1084797" cy="1934213"/>
              </a:xfrm>
              <a:custGeom>
                <a:avLst/>
                <a:gdLst>
                  <a:gd name="T0" fmla="*/ 536 w 1696"/>
                  <a:gd name="T1" fmla="*/ 2987 h 3026"/>
                  <a:gd name="T2" fmla="*/ 462 w 1696"/>
                  <a:gd name="T3" fmla="*/ 2911 h 3026"/>
                  <a:gd name="T4" fmla="*/ 368 w 1696"/>
                  <a:gd name="T5" fmla="*/ 2798 h 3026"/>
                  <a:gd name="T6" fmla="*/ 263 w 1696"/>
                  <a:gd name="T7" fmla="*/ 2650 h 3026"/>
                  <a:gd name="T8" fmla="*/ 161 w 1696"/>
                  <a:gd name="T9" fmla="*/ 2473 h 3026"/>
                  <a:gd name="T10" fmla="*/ 76 w 1696"/>
                  <a:gd name="T11" fmla="*/ 2268 h 3026"/>
                  <a:gd name="T12" fmla="*/ 17 w 1696"/>
                  <a:gd name="T13" fmla="*/ 2039 h 3026"/>
                  <a:gd name="T14" fmla="*/ 0 w 1696"/>
                  <a:gd name="T15" fmla="*/ 1789 h 3026"/>
                  <a:gd name="T16" fmla="*/ 36 w 1696"/>
                  <a:gd name="T17" fmla="*/ 1522 h 3026"/>
                  <a:gd name="T18" fmla="*/ 137 w 1696"/>
                  <a:gd name="T19" fmla="*/ 1239 h 3026"/>
                  <a:gd name="T20" fmla="*/ 300 w 1696"/>
                  <a:gd name="T21" fmla="*/ 959 h 3026"/>
                  <a:gd name="T22" fmla="*/ 478 w 1696"/>
                  <a:gd name="T23" fmla="*/ 721 h 3026"/>
                  <a:gd name="T24" fmla="*/ 659 w 1696"/>
                  <a:gd name="T25" fmla="*/ 526 h 3026"/>
                  <a:gd name="T26" fmla="*/ 840 w 1696"/>
                  <a:gd name="T27" fmla="*/ 369 h 3026"/>
                  <a:gd name="T28" fmla="*/ 1014 w 1696"/>
                  <a:gd name="T29" fmla="*/ 247 h 3026"/>
                  <a:gd name="T30" fmla="*/ 1177 w 1696"/>
                  <a:gd name="T31" fmla="*/ 155 h 3026"/>
                  <a:gd name="T32" fmla="*/ 1322 w 1696"/>
                  <a:gd name="T33" fmla="*/ 88 h 3026"/>
                  <a:gd name="T34" fmla="*/ 1444 w 1696"/>
                  <a:gd name="T35" fmla="*/ 43 h 3026"/>
                  <a:gd name="T36" fmla="*/ 1538 w 1696"/>
                  <a:gd name="T37" fmla="*/ 16 h 3026"/>
                  <a:gd name="T38" fmla="*/ 1611 w 1696"/>
                  <a:gd name="T39" fmla="*/ 1 h 3026"/>
                  <a:gd name="T40" fmla="*/ 1604 w 1696"/>
                  <a:gd name="T41" fmla="*/ 30 h 3026"/>
                  <a:gd name="T42" fmla="*/ 1555 w 1696"/>
                  <a:gd name="T43" fmla="*/ 143 h 3026"/>
                  <a:gd name="T44" fmla="*/ 1517 w 1696"/>
                  <a:gd name="T45" fmla="*/ 243 h 3026"/>
                  <a:gd name="T46" fmla="*/ 1478 w 1696"/>
                  <a:gd name="T47" fmla="*/ 367 h 3026"/>
                  <a:gd name="T48" fmla="*/ 1444 w 1696"/>
                  <a:gd name="T49" fmla="*/ 506 h 3026"/>
                  <a:gd name="T50" fmla="*/ 1418 w 1696"/>
                  <a:gd name="T51" fmla="*/ 660 h 3026"/>
                  <a:gd name="T52" fmla="*/ 1406 w 1696"/>
                  <a:gd name="T53" fmla="*/ 825 h 3026"/>
                  <a:gd name="T54" fmla="*/ 1412 w 1696"/>
                  <a:gd name="T55" fmla="*/ 997 h 3026"/>
                  <a:gd name="T56" fmla="*/ 1441 w 1696"/>
                  <a:gd name="T57" fmla="*/ 1171 h 3026"/>
                  <a:gd name="T58" fmla="*/ 1515 w 1696"/>
                  <a:gd name="T59" fmla="*/ 1398 h 3026"/>
                  <a:gd name="T60" fmla="*/ 1614 w 1696"/>
                  <a:gd name="T61" fmla="*/ 1682 h 3026"/>
                  <a:gd name="T62" fmla="*/ 1651 w 1696"/>
                  <a:gd name="T63" fmla="*/ 1802 h 3026"/>
                  <a:gd name="T64" fmla="*/ 1678 w 1696"/>
                  <a:gd name="T65" fmla="*/ 1912 h 3026"/>
                  <a:gd name="T66" fmla="*/ 1693 w 1696"/>
                  <a:gd name="T67" fmla="*/ 2017 h 3026"/>
                  <a:gd name="T68" fmla="*/ 1695 w 1696"/>
                  <a:gd name="T69" fmla="*/ 2119 h 3026"/>
                  <a:gd name="T70" fmla="*/ 1683 w 1696"/>
                  <a:gd name="T71" fmla="*/ 2222 h 3026"/>
                  <a:gd name="T72" fmla="*/ 1655 w 1696"/>
                  <a:gd name="T73" fmla="*/ 2330 h 3026"/>
                  <a:gd name="T74" fmla="*/ 1611 w 1696"/>
                  <a:gd name="T75" fmla="*/ 2447 h 3026"/>
                  <a:gd name="T76" fmla="*/ 1547 w 1696"/>
                  <a:gd name="T77" fmla="*/ 2575 h 3026"/>
                  <a:gd name="T78" fmla="*/ 1464 w 1696"/>
                  <a:gd name="T79" fmla="*/ 2698 h 3026"/>
                  <a:gd name="T80" fmla="*/ 1362 w 1696"/>
                  <a:gd name="T81" fmla="*/ 2795 h 3026"/>
                  <a:gd name="T82" fmla="*/ 1248 w 1696"/>
                  <a:gd name="T83" fmla="*/ 2872 h 3026"/>
                  <a:gd name="T84" fmla="*/ 1127 w 1696"/>
                  <a:gd name="T85" fmla="*/ 2930 h 3026"/>
                  <a:gd name="T86" fmla="*/ 1005 w 1696"/>
                  <a:gd name="T87" fmla="*/ 2971 h 3026"/>
                  <a:gd name="T88" fmla="*/ 888 w 1696"/>
                  <a:gd name="T89" fmla="*/ 2998 h 3026"/>
                  <a:gd name="T90" fmla="*/ 782 w 1696"/>
                  <a:gd name="T91" fmla="*/ 3015 h 3026"/>
                  <a:gd name="T92" fmla="*/ 692 w 1696"/>
                  <a:gd name="T93" fmla="*/ 3023 h 3026"/>
                  <a:gd name="T94" fmla="*/ 585 w 1696"/>
                  <a:gd name="T95" fmla="*/ 3026 h 30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696" h="3026">
                    <a:moveTo>
                      <a:pt x="576" y="3025"/>
                    </a:moveTo>
                    <a:lnTo>
                      <a:pt x="565" y="3015"/>
                    </a:lnTo>
                    <a:lnTo>
                      <a:pt x="536" y="2987"/>
                    </a:lnTo>
                    <a:lnTo>
                      <a:pt x="514" y="2966"/>
                    </a:lnTo>
                    <a:lnTo>
                      <a:pt x="491" y="2940"/>
                    </a:lnTo>
                    <a:lnTo>
                      <a:pt x="462" y="2911"/>
                    </a:lnTo>
                    <a:lnTo>
                      <a:pt x="433" y="2878"/>
                    </a:lnTo>
                    <a:lnTo>
                      <a:pt x="401" y="2840"/>
                    </a:lnTo>
                    <a:lnTo>
                      <a:pt x="368" y="2798"/>
                    </a:lnTo>
                    <a:lnTo>
                      <a:pt x="334" y="2752"/>
                    </a:lnTo>
                    <a:lnTo>
                      <a:pt x="299" y="2703"/>
                    </a:lnTo>
                    <a:lnTo>
                      <a:pt x="263" y="2650"/>
                    </a:lnTo>
                    <a:lnTo>
                      <a:pt x="229" y="2595"/>
                    </a:lnTo>
                    <a:lnTo>
                      <a:pt x="194" y="2536"/>
                    </a:lnTo>
                    <a:lnTo>
                      <a:pt x="161" y="2473"/>
                    </a:lnTo>
                    <a:lnTo>
                      <a:pt x="130" y="2408"/>
                    </a:lnTo>
                    <a:lnTo>
                      <a:pt x="102" y="2340"/>
                    </a:lnTo>
                    <a:lnTo>
                      <a:pt x="76" y="2268"/>
                    </a:lnTo>
                    <a:lnTo>
                      <a:pt x="52" y="2195"/>
                    </a:lnTo>
                    <a:lnTo>
                      <a:pt x="33" y="2118"/>
                    </a:lnTo>
                    <a:lnTo>
                      <a:pt x="17" y="2039"/>
                    </a:lnTo>
                    <a:lnTo>
                      <a:pt x="7" y="1958"/>
                    </a:lnTo>
                    <a:lnTo>
                      <a:pt x="0" y="1874"/>
                    </a:lnTo>
                    <a:lnTo>
                      <a:pt x="0" y="1789"/>
                    </a:lnTo>
                    <a:lnTo>
                      <a:pt x="6" y="1702"/>
                    </a:lnTo>
                    <a:lnTo>
                      <a:pt x="16" y="1613"/>
                    </a:lnTo>
                    <a:lnTo>
                      <a:pt x="36" y="1522"/>
                    </a:lnTo>
                    <a:lnTo>
                      <a:pt x="61" y="1429"/>
                    </a:lnTo>
                    <a:lnTo>
                      <a:pt x="95" y="1334"/>
                    </a:lnTo>
                    <a:lnTo>
                      <a:pt x="137" y="1239"/>
                    </a:lnTo>
                    <a:lnTo>
                      <a:pt x="187" y="1143"/>
                    </a:lnTo>
                    <a:lnTo>
                      <a:pt x="243" y="1048"/>
                    </a:lnTo>
                    <a:lnTo>
                      <a:pt x="300" y="959"/>
                    </a:lnTo>
                    <a:lnTo>
                      <a:pt x="358" y="874"/>
                    </a:lnTo>
                    <a:lnTo>
                      <a:pt x="418" y="795"/>
                    </a:lnTo>
                    <a:lnTo>
                      <a:pt x="478" y="721"/>
                    </a:lnTo>
                    <a:lnTo>
                      <a:pt x="538" y="651"/>
                    </a:lnTo>
                    <a:lnTo>
                      <a:pt x="599" y="587"/>
                    </a:lnTo>
                    <a:lnTo>
                      <a:pt x="659" y="526"/>
                    </a:lnTo>
                    <a:lnTo>
                      <a:pt x="720" y="470"/>
                    </a:lnTo>
                    <a:lnTo>
                      <a:pt x="780" y="418"/>
                    </a:lnTo>
                    <a:lnTo>
                      <a:pt x="840" y="369"/>
                    </a:lnTo>
                    <a:lnTo>
                      <a:pt x="899" y="325"/>
                    </a:lnTo>
                    <a:lnTo>
                      <a:pt x="957" y="285"/>
                    </a:lnTo>
                    <a:lnTo>
                      <a:pt x="1014" y="247"/>
                    </a:lnTo>
                    <a:lnTo>
                      <a:pt x="1070" y="213"/>
                    </a:lnTo>
                    <a:lnTo>
                      <a:pt x="1124" y="182"/>
                    </a:lnTo>
                    <a:lnTo>
                      <a:pt x="1177" y="155"/>
                    </a:lnTo>
                    <a:lnTo>
                      <a:pt x="1227" y="130"/>
                    </a:lnTo>
                    <a:lnTo>
                      <a:pt x="1275" y="107"/>
                    </a:lnTo>
                    <a:lnTo>
                      <a:pt x="1322" y="88"/>
                    </a:lnTo>
                    <a:lnTo>
                      <a:pt x="1365" y="70"/>
                    </a:lnTo>
                    <a:lnTo>
                      <a:pt x="1406" y="56"/>
                    </a:lnTo>
                    <a:lnTo>
                      <a:pt x="1444" y="43"/>
                    </a:lnTo>
                    <a:lnTo>
                      <a:pt x="1479" y="32"/>
                    </a:lnTo>
                    <a:lnTo>
                      <a:pt x="1510" y="24"/>
                    </a:lnTo>
                    <a:lnTo>
                      <a:pt x="1538" y="16"/>
                    </a:lnTo>
                    <a:lnTo>
                      <a:pt x="1562" y="11"/>
                    </a:lnTo>
                    <a:lnTo>
                      <a:pt x="1583" y="6"/>
                    </a:lnTo>
                    <a:lnTo>
                      <a:pt x="1611" y="1"/>
                    </a:lnTo>
                    <a:lnTo>
                      <a:pt x="1620" y="0"/>
                    </a:lnTo>
                    <a:lnTo>
                      <a:pt x="1616" y="8"/>
                    </a:lnTo>
                    <a:lnTo>
                      <a:pt x="1604" y="30"/>
                    </a:lnTo>
                    <a:lnTo>
                      <a:pt x="1588" y="66"/>
                    </a:lnTo>
                    <a:lnTo>
                      <a:pt x="1567" y="114"/>
                    </a:lnTo>
                    <a:lnTo>
                      <a:pt x="1555" y="143"/>
                    </a:lnTo>
                    <a:lnTo>
                      <a:pt x="1543" y="174"/>
                    </a:lnTo>
                    <a:lnTo>
                      <a:pt x="1530" y="208"/>
                    </a:lnTo>
                    <a:lnTo>
                      <a:pt x="1517" y="243"/>
                    </a:lnTo>
                    <a:lnTo>
                      <a:pt x="1504" y="282"/>
                    </a:lnTo>
                    <a:lnTo>
                      <a:pt x="1491" y="324"/>
                    </a:lnTo>
                    <a:lnTo>
                      <a:pt x="1478" y="367"/>
                    </a:lnTo>
                    <a:lnTo>
                      <a:pt x="1466" y="411"/>
                    </a:lnTo>
                    <a:lnTo>
                      <a:pt x="1455" y="458"/>
                    </a:lnTo>
                    <a:lnTo>
                      <a:pt x="1444" y="506"/>
                    </a:lnTo>
                    <a:lnTo>
                      <a:pt x="1434" y="556"/>
                    </a:lnTo>
                    <a:lnTo>
                      <a:pt x="1426" y="608"/>
                    </a:lnTo>
                    <a:lnTo>
                      <a:pt x="1418" y="660"/>
                    </a:lnTo>
                    <a:lnTo>
                      <a:pt x="1413" y="714"/>
                    </a:lnTo>
                    <a:lnTo>
                      <a:pt x="1408" y="769"/>
                    </a:lnTo>
                    <a:lnTo>
                      <a:pt x="1406" y="825"/>
                    </a:lnTo>
                    <a:lnTo>
                      <a:pt x="1406" y="881"/>
                    </a:lnTo>
                    <a:lnTo>
                      <a:pt x="1407" y="938"/>
                    </a:lnTo>
                    <a:lnTo>
                      <a:pt x="1412" y="997"/>
                    </a:lnTo>
                    <a:lnTo>
                      <a:pt x="1419" y="1054"/>
                    </a:lnTo>
                    <a:lnTo>
                      <a:pt x="1429" y="1113"/>
                    </a:lnTo>
                    <a:lnTo>
                      <a:pt x="1441" y="1171"/>
                    </a:lnTo>
                    <a:lnTo>
                      <a:pt x="1456" y="1229"/>
                    </a:lnTo>
                    <a:lnTo>
                      <a:pt x="1476" y="1288"/>
                    </a:lnTo>
                    <a:lnTo>
                      <a:pt x="1515" y="1398"/>
                    </a:lnTo>
                    <a:lnTo>
                      <a:pt x="1551" y="1501"/>
                    </a:lnTo>
                    <a:lnTo>
                      <a:pt x="1585" y="1595"/>
                    </a:lnTo>
                    <a:lnTo>
                      <a:pt x="1614" y="1682"/>
                    </a:lnTo>
                    <a:lnTo>
                      <a:pt x="1628" y="1723"/>
                    </a:lnTo>
                    <a:lnTo>
                      <a:pt x="1640" y="1763"/>
                    </a:lnTo>
                    <a:lnTo>
                      <a:pt x="1651" y="1802"/>
                    </a:lnTo>
                    <a:lnTo>
                      <a:pt x="1662" y="1840"/>
                    </a:lnTo>
                    <a:lnTo>
                      <a:pt x="1670" y="1877"/>
                    </a:lnTo>
                    <a:lnTo>
                      <a:pt x="1678" y="1912"/>
                    </a:lnTo>
                    <a:lnTo>
                      <a:pt x="1684" y="1948"/>
                    </a:lnTo>
                    <a:lnTo>
                      <a:pt x="1690" y="1983"/>
                    </a:lnTo>
                    <a:lnTo>
                      <a:pt x="1693" y="2017"/>
                    </a:lnTo>
                    <a:lnTo>
                      <a:pt x="1695" y="2051"/>
                    </a:lnTo>
                    <a:lnTo>
                      <a:pt x="1696" y="2084"/>
                    </a:lnTo>
                    <a:lnTo>
                      <a:pt x="1695" y="2119"/>
                    </a:lnTo>
                    <a:lnTo>
                      <a:pt x="1693" y="2153"/>
                    </a:lnTo>
                    <a:lnTo>
                      <a:pt x="1689" y="2187"/>
                    </a:lnTo>
                    <a:lnTo>
                      <a:pt x="1683" y="2222"/>
                    </a:lnTo>
                    <a:lnTo>
                      <a:pt x="1676" y="2258"/>
                    </a:lnTo>
                    <a:lnTo>
                      <a:pt x="1666" y="2293"/>
                    </a:lnTo>
                    <a:lnTo>
                      <a:pt x="1655" y="2330"/>
                    </a:lnTo>
                    <a:lnTo>
                      <a:pt x="1642" y="2368"/>
                    </a:lnTo>
                    <a:lnTo>
                      <a:pt x="1627" y="2407"/>
                    </a:lnTo>
                    <a:lnTo>
                      <a:pt x="1611" y="2447"/>
                    </a:lnTo>
                    <a:lnTo>
                      <a:pt x="1591" y="2488"/>
                    </a:lnTo>
                    <a:lnTo>
                      <a:pt x="1571" y="2530"/>
                    </a:lnTo>
                    <a:lnTo>
                      <a:pt x="1547" y="2575"/>
                    </a:lnTo>
                    <a:lnTo>
                      <a:pt x="1522" y="2619"/>
                    </a:lnTo>
                    <a:lnTo>
                      <a:pt x="1494" y="2659"/>
                    </a:lnTo>
                    <a:lnTo>
                      <a:pt x="1464" y="2698"/>
                    </a:lnTo>
                    <a:lnTo>
                      <a:pt x="1432" y="2733"/>
                    </a:lnTo>
                    <a:lnTo>
                      <a:pt x="1398" y="2765"/>
                    </a:lnTo>
                    <a:lnTo>
                      <a:pt x="1362" y="2795"/>
                    </a:lnTo>
                    <a:lnTo>
                      <a:pt x="1325" y="2824"/>
                    </a:lnTo>
                    <a:lnTo>
                      <a:pt x="1287" y="2849"/>
                    </a:lnTo>
                    <a:lnTo>
                      <a:pt x="1248" y="2872"/>
                    </a:lnTo>
                    <a:lnTo>
                      <a:pt x="1208" y="2894"/>
                    </a:lnTo>
                    <a:lnTo>
                      <a:pt x="1168" y="2912"/>
                    </a:lnTo>
                    <a:lnTo>
                      <a:pt x="1127" y="2930"/>
                    </a:lnTo>
                    <a:lnTo>
                      <a:pt x="1086" y="2945"/>
                    </a:lnTo>
                    <a:lnTo>
                      <a:pt x="1046" y="2959"/>
                    </a:lnTo>
                    <a:lnTo>
                      <a:pt x="1005" y="2971"/>
                    </a:lnTo>
                    <a:lnTo>
                      <a:pt x="966" y="2982"/>
                    </a:lnTo>
                    <a:lnTo>
                      <a:pt x="927" y="2990"/>
                    </a:lnTo>
                    <a:lnTo>
                      <a:pt x="888" y="2998"/>
                    </a:lnTo>
                    <a:lnTo>
                      <a:pt x="851" y="3004"/>
                    </a:lnTo>
                    <a:lnTo>
                      <a:pt x="815" y="3010"/>
                    </a:lnTo>
                    <a:lnTo>
                      <a:pt x="782" y="3015"/>
                    </a:lnTo>
                    <a:lnTo>
                      <a:pt x="750" y="3018"/>
                    </a:lnTo>
                    <a:lnTo>
                      <a:pt x="720" y="3020"/>
                    </a:lnTo>
                    <a:lnTo>
                      <a:pt x="692" y="3023"/>
                    </a:lnTo>
                    <a:lnTo>
                      <a:pt x="644" y="3025"/>
                    </a:lnTo>
                    <a:lnTo>
                      <a:pt x="607" y="3026"/>
                    </a:lnTo>
                    <a:lnTo>
                      <a:pt x="585" y="3026"/>
                    </a:lnTo>
                    <a:lnTo>
                      <a:pt x="576" y="3025"/>
                    </a:lnTo>
                    <a:close/>
                  </a:path>
                </a:pathLst>
              </a:custGeom>
              <a:gradFill>
                <a:gsLst>
                  <a:gs pos="0">
                    <a:schemeClr val="accent1">
                      <a:lumMod val="75000"/>
                    </a:schemeClr>
                  </a:gs>
                  <a:gs pos="100000">
                    <a:schemeClr val="accent1"/>
                  </a:gs>
                </a:gsLst>
                <a:lin ang="5400000" scaled="1"/>
              </a:gradFill>
              <a:ln>
                <a:noFill/>
              </a:ln>
              <a:effectLst>
                <a:outerShdw blurRad="444500" dist="190500" dir="2700000" sx="95000" sy="95000" algn="tl" rotWithShape="0">
                  <a:prstClr val="black">
                    <a:alpha val="23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6" name="Freeform 9">
                <a:extLst>
                  <a:ext uri="{FF2B5EF4-FFF2-40B4-BE49-F238E27FC236}">
                    <a16:creationId xmlns:a16="http://schemas.microsoft.com/office/drawing/2014/main" id="{82E6DDB8-06BA-4D51-9DBF-EF7AB8BE7904}"/>
                  </a:ext>
                </a:extLst>
              </p:cNvPr>
              <p:cNvSpPr>
                <a:spLocks/>
              </p:cNvSpPr>
              <p:nvPr/>
            </p:nvSpPr>
            <p:spPr bwMode="auto">
              <a:xfrm rot="17824443" flipV="1">
                <a:off x="7599909" y="2907210"/>
                <a:ext cx="1247667" cy="2224614"/>
              </a:xfrm>
              <a:custGeom>
                <a:avLst/>
                <a:gdLst>
                  <a:gd name="T0" fmla="*/ 536 w 1696"/>
                  <a:gd name="T1" fmla="*/ 2987 h 3026"/>
                  <a:gd name="T2" fmla="*/ 462 w 1696"/>
                  <a:gd name="T3" fmla="*/ 2911 h 3026"/>
                  <a:gd name="T4" fmla="*/ 368 w 1696"/>
                  <a:gd name="T5" fmla="*/ 2798 h 3026"/>
                  <a:gd name="T6" fmla="*/ 263 w 1696"/>
                  <a:gd name="T7" fmla="*/ 2650 h 3026"/>
                  <a:gd name="T8" fmla="*/ 161 w 1696"/>
                  <a:gd name="T9" fmla="*/ 2473 h 3026"/>
                  <a:gd name="T10" fmla="*/ 76 w 1696"/>
                  <a:gd name="T11" fmla="*/ 2268 h 3026"/>
                  <a:gd name="T12" fmla="*/ 17 w 1696"/>
                  <a:gd name="T13" fmla="*/ 2039 h 3026"/>
                  <a:gd name="T14" fmla="*/ 0 w 1696"/>
                  <a:gd name="T15" fmla="*/ 1789 h 3026"/>
                  <a:gd name="T16" fmla="*/ 36 w 1696"/>
                  <a:gd name="T17" fmla="*/ 1522 h 3026"/>
                  <a:gd name="T18" fmla="*/ 137 w 1696"/>
                  <a:gd name="T19" fmla="*/ 1239 h 3026"/>
                  <a:gd name="T20" fmla="*/ 300 w 1696"/>
                  <a:gd name="T21" fmla="*/ 959 h 3026"/>
                  <a:gd name="T22" fmla="*/ 478 w 1696"/>
                  <a:gd name="T23" fmla="*/ 721 h 3026"/>
                  <a:gd name="T24" fmla="*/ 659 w 1696"/>
                  <a:gd name="T25" fmla="*/ 526 h 3026"/>
                  <a:gd name="T26" fmla="*/ 840 w 1696"/>
                  <a:gd name="T27" fmla="*/ 369 h 3026"/>
                  <a:gd name="T28" fmla="*/ 1014 w 1696"/>
                  <a:gd name="T29" fmla="*/ 247 h 3026"/>
                  <a:gd name="T30" fmla="*/ 1177 w 1696"/>
                  <a:gd name="T31" fmla="*/ 155 h 3026"/>
                  <a:gd name="T32" fmla="*/ 1322 w 1696"/>
                  <a:gd name="T33" fmla="*/ 88 h 3026"/>
                  <a:gd name="T34" fmla="*/ 1444 w 1696"/>
                  <a:gd name="T35" fmla="*/ 43 h 3026"/>
                  <a:gd name="T36" fmla="*/ 1538 w 1696"/>
                  <a:gd name="T37" fmla="*/ 16 h 3026"/>
                  <a:gd name="T38" fmla="*/ 1611 w 1696"/>
                  <a:gd name="T39" fmla="*/ 1 h 3026"/>
                  <a:gd name="T40" fmla="*/ 1604 w 1696"/>
                  <a:gd name="T41" fmla="*/ 30 h 3026"/>
                  <a:gd name="T42" fmla="*/ 1555 w 1696"/>
                  <a:gd name="T43" fmla="*/ 143 h 3026"/>
                  <a:gd name="T44" fmla="*/ 1517 w 1696"/>
                  <a:gd name="T45" fmla="*/ 243 h 3026"/>
                  <a:gd name="T46" fmla="*/ 1478 w 1696"/>
                  <a:gd name="T47" fmla="*/ 367 h 3026"/>
                  <a:gd name="T48" fmla="*/ 1444 w 1696"/>
                  <a:gd name="T49" fmla="*/ 506 h 3026"/>
                  <a:gd name="T50" fmla="*/ 1418 w 1696"/>
                  <a:gd name="T51" fmla="*/ 660 h 3026"/>
                  <a:gd name="T52" fmla="*/ 1406 w 1696"/>
                  <a:gd name="T53" fmla="*/ 825 h 3026"/>
                  <a:gd name="T54" fmla="*/ 1412 w 1696"/>
                  <a:gd name="T55" fmla="*/ 997 h 3026"/>
                  <a:gd name="T56" fmla="*/ 1441 w 1696"/>
                  <a:gd name="T57" fmla="*/ 1171 h 3026"/>
                  <a:gd name="T58" fmla="*/ 1515 w 1696"/>
                  <a:gd name="T59" fmla="*/ 1398 h 3026"/>
                  <a:gd name="T60" fmla="*/ 1614 w 1696"/>
                  <a:gd name="T61" fmla="*/ 1682 h 3026"/>
                  <a:gd name="T62" fmla="*/ 1651 w 1696"/>
                  <a:gd name="T63" fmla="*/ 1802 h 3026"/>
                  <a:gd name="T64" fmla="*/ 1678 w 1696"/>
                  <a:gd name="T65" fmla="*/ 1912 h 3026"/>
                  <a:gd name="T66" fmla="*/ 1693 w 1696"/>
                  <a:gd name="T67" fmla="*/ 2017 h 3026"/>
                  <a:gd name="T68" fmla="*/ 1695 w 1696"/>
                  <a:gd name="T69" fmla="*/ 2119 h 3026"/>
                  <a:gd name="T70" fmla="*/ 1683 w 1696"/>
                  <a:gd name="T71" fmla="*/ 2222 h 3026"/>
                  <a:gd name="T72" fmla="*/ 1655 w 1696"/>
                  <a:gd name="T73" fmla="*/ 2330 h 3026"/>
                  <a:gd name="T74" fmla="*/ 1611 w 1696"/>
                  <a:gd name="T75" fmla="*/ 2447 h 3026"/>
                  <a:gd name="T76" fmla="*/ 1547 w 1696"/>
                  <a:gd name="T77" fmla="*/ 2575 h 3026"/>
                  <a:gd name="T78" fmla="*/ 1464 w 1696"/>
                  <a:gd name="T79" fmla="*/ 2698 h 3026"/>
                  <a:gd name="T80" fmla="*/ 1362 w 1696"/>
                  <a:gd name="T81" fmla="*/ 2795 h 3026"/>
                  <a:gd name="T82" fmla="*/ 1248 w 1696"/>
                  <a:gd name="T83" fmla="*/ 2872 h 3026"/>
                  <a:gd name="T84" fmla="*/ 1127 w 1696"/>
                  <a:gd name="T85" fmla="*/ 2930 h 3026"/>
                  <a:gd name="T86" fmla="*/ 1005 w 1696"/>
                  <a:gd name="T87" fmla="*/ 2971 h 3026"/>
                  <a:gd name="T88" fmla="*/ 888 w 1696"/>
                  <a:gd name="T89" fmla="*/ 2998 h 3026"/>
                  <a:gd name="T90" fmla="*/ 782 w 1696"/>
                  <a:gd name="T91" fmla="*/ 3015 h 3026"/>
                  <a:gd name="T92" fmla="*/ 692 w 1696"/>
                  <a:gd name="T93" fmla="*/ 3023 h 3026"/>
                  <a:gd name="T94" fmla="*/ 585 w 1696"/>
                  <a:gd name="T95" fmla="*/ 3026 h 30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696" h="3026">
                    <a:moveTo>
                      <a:pt x="576" y="3025"/>
                    </a:moveTo>
                    <a:lnTo>
                      <a:pt x="565" y="3015"/>
                    </a:lnTo>
                    <a:lnTo>
                      <a:pt x="536" y="2987"/>
                    </a:lnTo>
                    <a:lnTo>
                      <a:pt x="514" y="2966"/>
                    </a:lnTo>
                    <a:lnTo>
                      <a:pt x="491" y="2940"/>
                    </a:lnTo>
                    <a:lnTo>
                      <a:pt x="462" y="2911"/>
                    </a:lnTo>
                    <a:lnTo>
                      <a:pt x="433" y="2878"/>
                    </a:lnTo>
                    <a:lnTo>
                      <a:pt x="401" y="2840"/>
                    </a:lnTo>
                    <a:lnTo>
                      <a:pt x="368" y="2798"/>
                    </a:lnTo>
                    <a:lnTo>
                      <a:pt x="334" y="2752"/>
                    </a:lnTo>
                    <a:lnTo>
                      <a:pt x="299" y="2703"/>
                    </a:lnTo>
                    <a:lnTo>
                      <a:pt x="263" y="2650"/>
                    </a:lnTo>
                    <a:lnTo>
                      <a:pt x="229" y="2595"/>
                    </a:lnTo>
                    <a:lnTo>
                      <a:pt x="194" y="2536"/>
                    </a:lnTo>
                    <a:lnTo>
                      <a:pt x="161" y="2473"/>
                    </a:lnTo>
                    <a:lnTo>
                      <a:pt x="130" y="2408"/>
                    </a:lnTo>
                    <a:lnTo>
                      <a:pt x="102" y="2340"/>
                    </a:lnTo>
                    <a:lnTo>
                      <a:pt x="76" y="2268"/>
                    </a:lnTo>
                    <a:lnTo>
                      <a:pt x="52" y="2195"/>
                    </a:lnTo>
                    <a:lnTo>
                      <a:pt x="33" y="2118"/>
                    </a:lnTo>
                    <a:lnTo>
                      <a:pt x="17" y="2039"/>
                    </a:lnTo>
                    <a:lnTo>
                      <a:pt x="7" y="1958"/>
                    </a:lnTo>
                    <a:lnTo>
                      <a:pt x="0" y="1874"/>
                    </a:lnTo>
                    <a:lnTo>
                      <a:pt x="0" y="1789"/>
                    </a:lnTo>
                    <a:lnTo>
                      <a:pt x="6" y="1702"/>
                    </a:lnTo>
                    <a:lnTo>
                      <a:pt x="16" y="1613"/>
                    </a:lnTo>
                    <a:lnTo>
                      <a:pt x="36" y="1522"/>
                    </a:lnTo>
                    <a:lnTo>
                      <a:pt x="61" y="1429"/>
                    </a:lnTo>
                    <a:lnTo>
                      <a:pt x="95" y="1334"/>
                    </a:lnTo>
                    <a:lnTo>
                      <a:pt x="137" y="1239"/>
                    </a:lnTo>
                    <a:lnTo>
                      <a:pt x="187" y="1143"/>
                    </a:lnTo>
                    <a:lnTo>
                      <a:pt x="243" y="1048"/>
                    </a:lnTo>
                    <a:lnTo>
                      <a:pt x="300" y="959"/>
                    </a:lnTo>
                    <a:lnTo>
                      <a:pt x="358" y="874"/>
                    </a:lnTo>
                    <a:lnTo>
                      <a:pt x="418" y="795"/>
                    </a:lnTo>
                    <a:lnTo>
                      <a:pt x="478" y="721"/>
                    </a:lnTo>
                    <a:lnTo>
                      <a:pt x="538" y="651"/>
                    </a:lnTo>
                    <a:lnTo>
                      <a:pt x="599" y="587"/>
                    </a:lnTo>
                    <a:lnTo>
                      <a:pt x="659" y="526"/>
                    </a:lnTo>
                    <a:lnTo>
                      <a:pt x="720" y="470"/>
                    </a:lnTo>
                    <a:lnTo>
                      <a:pt x="780" y="418"/>
                    </a:lnTo>
                    <a:lnTo>
                      <a:pt x="840" y="369"/>
                    </a:lnTo>
                    <a:lnTo>
                      <a:pt x="899" y="325"/>
                    </a:lnTo>
                    <a:lnTo>
                      <a:pt x="957" y="285"/>
                    </a:lnTo>
                    <a:lnTo>
                      <a:pt x="1014" y="247"/>
                    </a:lnTo>
                    <a:lnTo>
                      <a:pt x="1070" y="213"/>
                    </a:lnTo>
                    <a:lnTo>
                      <a:pt x="1124" y="182"/>
                    </a:lnTo>
                    <a:lnTo>
                      <a:pt x="1177" y="155"/>
                    </a:lnTo>
                    <a:lnTo>
                      <a:pt x="1227" y="130"/>
                    </a:lnTo>
                    <a:lnTo>
                      <a:pt x="1275" y="107"/>
                    </a:lnTo>
                    <a:lnTo>
                      <a:pt x="1322" y="88"/>
                    </a:lnTo>
                    <a:lnTo>
                      <a:pt x="1365" y="70"/>
                    </a:lnTo>
                    <a:lnTo>
                      <a:pt x="1406" y="56"/>
                    </a:lnTo>
                    <a:lnTo>
                      <a:pt x="1444" y="43"/>
                    </a:lnTo>
                    <a:lnTo>
                      <a:pt x="1479" y="32"/>
                    </a:lnTo>
                    <a:lnTo>
                      <a:pt x="1510" y="24"/>
                    </a:lnTo>
                    <a:lnTo>
                      <a:pt x="1538" y="16"/>
                    </a:lnTo>
                    <a:lnTo>
                      <a:pt x="1562" y="11"/>
                    </a:lnTo>
                    <a:lnTo>
                      <a:pt x="1583" y="6"/>
                    </a:lnTo>
                    <a:lnTo>
                      <a:pt x="1611" y="1"/>
                    </a:lnTo>
                    <a:lnTo>
                      <a:pt x="1620" y="0"/>
                    </a:lnTo>
                    <a:lnTo>
                      <a:pt x="1616" y="8"/>
                    </a:lnTo>
                    <a:lnTo>
                      <a:pt x="1604" y="30"/>
                    </a:lnTo>
                    <a:lnTo>
                      <a:pt x="1588" y="66"/>
                    </a:lnTo>
                    <a:lnTo>
                      <a:pt x="1567" y="114"/>
                    </a:lnTo>
                    <a:lnTo>
                      <a:pt x="1555" y="143"/>
                    </a:lnTo>
                    <a:lnTo>
                      <a:pt x="1543" y="174"/>
                    </a:lnTo>
                    <a:lnTo>
                      <a:pt x="1530" y="208"/>
                    </a:lnTo>
                    <a:lnTo>
                      <a:pt x="1517" y="243"/>
                    </a:lnTo>
                    <a:lnTo>
                      <a:pt x="1504" y="282"/>
                    </a:lnTo>
                    <a:lnTo>
                      <a:pt x="1491" y="324"/>
                    </a:lnTo>
                    <a:lnTo>
                      <a:pt x="1478" y="367"/>
                    </a:lnTo>
                    <a:lnTo>
                      <a:pt x="1466" y="411"/>
                    </a:lnTo>
                    <a:lnTo>
                      <a:pt x="1455" y="458"/>
                    </a:lnTo>
                    <a:lnTo>
                      <a:pt x="1444" y="506"/>
                    </a:lnTo>
                    <a:lnTo>
                      <a:pt x="1434" y="556"/>
                    </a:lnTo>
                    <a:lnTo>
                      <a:pt x="1426" y="608"/>
                    </a:lnTo>
                    <a:lnTo>
                      <a:pt x="1418" y="660"/>
                    </a:lnTo>
                    <a:lnTo>
                      <a:pt x="1413" y="714"/>
                    </a:lnTo>
                    <a:lnTo>
                      <a:pt x="1408" y="769"/>
                    </a:lnTo>
                    <a:lnTo>
                      <a:pt x="1406" y="825"/>
                    </a:lnTo>
                    <a:lnTo>
                      <a:pt x="1406" y="881"/>
                    </a:lnTo>
                    <a:lnTo>
                      <a:pt x="1407" y="938"/>
                    </a:lnTo>
                    <a:lnTo>
                      <a:pt x="1412" y="997"/>
                    </a:lnTo>
                    <a:lnTo>
                      <a:pt x="1419" y="1054"/>
                    </a:lnTo>
                    <a:lnTo>
                      <a:pt x="1429" y="1113"/>
                    </a:lnTo>
                    <a:lnTo>
                      <a:pt x="1441" y="1171"/>
                    </a:lnTo>
                    <a:lnTo>
                      <a:pt x="1456" y="1229"/>
                    </a:lnTo>
                    <a:lnTo>
                      <a:pt x="1476" y="1288"/>
                    </a:lnTo>
                    <a:lnTo>
                      <a:pt x="1515" y="1398"/>
                    </a:lnTo>
                    <a:lnTo>
                      <a:pt x="1551" y="1501"/>
                    </a:lnTo>
                    <a:lnTo>
                      <a:pt x="1585" y="1595"/>
                    </a:lnTo>
                    <a:lnTo>
                      <a:pt x="1614" y="1682"/>
                    </a:lnTo>
                    <a:lnTo>
                      <a:pt x="1628" y="1723"/>
                    </a:lnTo>
                    <a:lnTo>
                      <a:pt x="1640" y="1763"/>
                    </a:lnTo>
                    <a:lnTo>
                      <a:pt x="1651" y="1802"/>
                    </a:lnTo>
                    <a:lnTo>
                      <a:pt x="1662" y="1840"/>
                    </a:lnTo>
                    <a:lnTo>
                      <a:pt x="1670" y="1877"/>
                    </a:lnTo>
                    <a:lnTo>
                      <a:pt x="1678" y="1912"/>
                    </a:lnTo>
                    <a:lnTo>
                      <a:pt x="1684" y="1948"/>
                    </a:lnTo>
                    <a:lnTo>
                      <a:pt x="1690" y="1983"/>
                    </a:lnTo>
                    <a:lnTo>
                      <a:pt x="1693" y="2017"/>
                    </a:lnTo>
                    <a:lnTo>
                      <a:pt x="1695" y="2051"/>
                    </a:lnTo>
                    <a:lnTo>
                      <a:pt x="1696" y="2084"/>
                    </a:lnTo>
                    <a:lnTo>
                      <a:pt x="1695" y="2119"/>
                    </a:lnTo>
                    <a:lnTo>
                      <a:pt x="1693" y="2153"/>
                    </a:lnTo>
                    <a:lnTo>
                      <a:pt x="1689" y="2187"/>
                    </a:lnTo>
                    <a:lnTo>
                      <a:pt x="1683" y="2222"/>
                    </a:lnTo>
                    <a:lnTo>
                      <a:pt x="1676" y="2258"/>
                    </a:lnTo>
                    <a:lnTo>
                      <a:pt x="1666" y="2293"/>
                    </a:lnTo>
                    <a:lnTo>
                      <a:pt x="1655" y="2330"/>
                    </a:lnTo>
                    <a:lnTo>
                      <a:pt x="1642" y="2368"/>
                    </a:lnTo>
                    <a:lnTo>
                      <a:pt x="1627" y="2407"/>
                    </a:lnTo>
                    <a:lnTo>
                      <a:pt x="1611" y="2447"/>
                    </a:lnTo>
                    <a:lnTo>
                      <a:pt x="1591" y="2488"/>
                    </a:lnTo>
                    <a:lnTo>
                      <a:pt x="1571" y="2530"/>
                    </a:lnTo>
                    <a:lnTo>
                      <a:pt x="1547" y="2575"/>
                    </a:lnTo>
                    <a:lnTo>
                      <a:pt x="1522" y="2619"/>
                    </a:lnTo>
                    <a:lnTo>
                      <a:pt x="1494" y="2659"/>
                    </a:lnTo>
                    <a:lnTo>
                      <a:pt x="1464" y="2698"/>
                    </a:lnTo>
                    <a:lnTo>
                      <a:pt x="1432" y="2733"/>
                    </a:lnTo>
                    <a:lnTo>
                      <a:pt x="1398" y="2765"/>
                    </a:lnTo>
                    <a:lnTo>
                      <a:pt x="1362" y="2795"/>
                    </a:lnTo>
                    <a:lnTo>
                      <a:pt x="1325" y="2824"/>
                    </a:lnTo>
                    <a:lnTo>
                      <a:pt x="1287" y="2849"/>
                    </a:lnTo>
                    <a:lnTo>
                      <a:pt x="1248" y="2872"/>
                    </a:lnTo>
                    <a:lnTo>
                      <a:pt x="1208" y="2894"/>
                    </a:lnTo>
                    <a:lnTo>
                      <a:pt x="1168" y="2912"/>
                    </a:lnTo>
                    <a:lnTo>
                      <a:pt x="1127" y="2930"/>
                    </a:lnTo>
                    <a:lnTo>
                      <a:pt x="1086" y="2945"/>
                    </a:lnTo>
                    <a:lnTo>
                      <a:pt x="1046" y="2959"/>
                    </a:lnTo>
                    <a:lnTo>
                      <a:pt x="1005" y="2971"/>
                    </a:lnTo>
                    <a:lnTo>
                      <a:pt x="966" y="2982"/>
                    </a:lnTo>
                    <a:lnTo>
                      <a:pt x="927" y="2990"/>
                    </a:lnTo>
                    <a:lnTo>
                      <a:pt x="888" y="2998"/>
                    </a:lnTo>
                    <a:lnTo>
                      <a:pt x="851" y="3004"/>
                    </a:lnTo>
                    <a:lnTo>
                      <a:pt x="815" y="3010"/>
                    </a:lnTo>
                    <a:lnTo>
                      <a:pt x="782" y="3015"/>
                    </a:lnTo>
                    <a:lnTo>
                      <a:pt x="750" y="3018"/>
                    </a:lnTo>
                    <a:lnTo>
                      <a:pt x="720" y="3020"/>
                    </a:lnTo>
                    <a:lnTo>
                      <a:pt x="692" y="3023"/>
                    </a:lnTo>
                    <a:lnTo>
                      <a:pt x="644" y="3025"/>
                    </a:lnTo>
                    <a:lnTo>
                      <a:pt x="607" y="3026"/>
                    </a:lnTo>
                    <a:lnTo>
                      <a:pt x="585" y="3026"/>
                    </a:lnTo>
                    <a:lnTo>
                      <a:pt x="576" y="3025"/>
                    </a:lnTo>
                    <a:close/>
                  </a:path>
                </a:pathLst>
              </a:custGeom>
              <a:gradFill>
                <a:gsLst>
                  <a:gs pos="0">
                    <a:schemeClr val="accent1">
                      <a:lumMod val="75000"/>
                    </a:schemeClr>
                  </a:gs>
                  <a:gs pos="100000">
                    <a:schemeClr val="accent1"/>
                  </a:gs>
                </a:gsLst>
                <a:lin ang="5400000" scaled="1"/>
              </a:gradFill>
              <a:ln>
                <a:noFill/>
              </a:ln>
              <a:effectLst>
                <a:outerShdw blurRad="444500" dist="190500" dir="2700000" sx="95000" sy="95000" algn="tl" rotWithShape="0">
                  <a:prstClr val="black">
                    <a:alpha val="23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7" name="Rectangle 15">
                <a:extLst>
                  <a:ext uri="{FF2B5EF4-FFF2-40B4-BE49-F238E27FC236}">
                    <a16:creationId xmlns:a16="http://schemas.microsoft.com/office/drawing/2014/main" id="{0C0DA292-65FA-44BB-BB36-BEFA00D85A56}"/>
                  </a:ext>
                </a:extLst>
              </p:cNvPr>
              <p:cNvSpPr/>
              <p:nvPr/>
            </p:nvSpPr>
            <p:spPr>
              <a:xfrm>
                <a:off x="-265334" y="4206882"/>
                <a:ext cx="2370525" cy="420094"/>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0000">
                        <a:lumMod val="65000"/>
                        <a:lumOff val="35000"/>
                      </a:srgbClr>
                    </a:solidFill>
                    <a:effectLst/>
                    <a:uLnTx/>
                    <a:uFillTx/>
                    <a:latin typeface="等线" panose="020F0502020204030204"/>
                    <a:ea typeface="+mn-ea"/>
                    <a:cs typeface="Calibri"/>
                  </a:rPr>
                  <a:t>Value</a:t>
                </a:r>
                <a:endParaRPr kumimoji="0" lang="id-ID" sz="2000" b="1" i="0" u="none" strike="noStrike" kern="1200" cap="none" spc="0" normalizeH="0" baseline="0" noProof="0" dirty="0">
                  <a:ln>
                    <a:noFill/>
                  </a:ln>
                  <a:solidFill>
                    <a:srgbClr val="000000">
                      <a:lumMod val="65000"/>
                      <a:lumOff val="35000"/>
                    </a:srgbClr>
                  </a:solidFill>
                  <a:effectLst/>
                  <a:uLnTx/>
                  <a:uFillTx/>
                  <a:latin typeface="等线" panose="020F0502020204030204"/>
                  <a:ea typeface="+mn-ea"/>
                  <a:cs typeface="Calibri"/>
                </a:endParaRPr>
              </a:p>
            </p:txBody>
          </p:sp>
          <p:sp>
            <p:nvSpPr>
              <p:cNvPr id="18" name="Rectangle 39">
                <a:extLst>
                  <a:ext uri="{FF2B5EF4-FFF2-40B4-BE49-F238E27FC236}">
                    <a16:creationId xmlns:a16="http://schemas.microsoft.com/office/drawing/2014/main" id="{BB2427BE-A6F8-4657-860B-2B7E675B475D}"/>
                  </a:ext>
                </a:extLst>
              </p:cNvPr>
              <p:cNvSpPr/>
              <p:nvPr/>
            </p:nvSpPr>
            <p:spPr>
              <a:xfrm rot="21013622">
                <a:off x="4472446" y="2446184"/>
                <a:ext cx="1004235" cy="621725"/>
              </a:xfrm>
              <a:prstGeom prst="rect">
                <a:avLst/>
              </a:prstGeom>
            </p:spPr>
            <p:txBody>
              <a:bodyPr wrap="square">
                <a:spAutoFit/>
              </a:body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等线" panose="020F0502020204030204"/>
                    <a:ea typeface="+mn-ea"/>
                    <a:cs typeface="Segoe UI Light" panose="020B0502040204020203" pitchFamily="34" charset="0"/>
                  </a:rPr>
                  <a:t>Growth Value</a:t>
                </a:r>
              </a:p>
            </p:txBody>
          </p:sp>
          <p:sp>
            <p:nvSpPr>
              <p:cNvPr id="19" name="Rectangle 40">
                <a:extLst>
                  <a:ext uri="{FF2B5EF4-FFF2-40B4-BE49-F238E27FC236}">
                    <a16:creationId xmlns:a16="http://schemas.microsoft.com/office/drawing/2014/main" id="{284DDF27-5260-4DDA-9A4F-B237C5A03599}"/>
                  </a:ext>
                </a:extLst>
              </p:cNvPr>
              <p:cNvSpPr/>
              <p:nvPr/>
            </p:nvSpPr>
            <p:spPr>
              <a:xfrm rot="251000">
                <a:off x="2291471" y="2224299"/>
                <a:ext cx="712458" cy="621725"/>
              </a:xfrm>
              <a:prstGeom prst="rect">
                <a:avLst/>
              </a:prstGeom>
            </p:spPr>
            <p:txBody>
              <a:bodyPr wrap="square">
                <a:spAutoFit/>
              </a:body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等线" panose="020F0502020204030204"/>
                    <a:ea typeface="+mn-ea"/>
                    <a:cs typeface="Segoe UI Light" panose="020B0502040204020203" pitchFamily="34" charset="0"/>
                  </a:rPr>
                  <a:t>First Value</a:t>
                </a:r>
              </a:p>
            </p:txBody>
          </p:sp>
          <p:sp>
            <p:nvSpPr>
              <p:cNvPr id="20" name="Rectangle 41">
                <a:extLst>
                  <a:ext uri="{FF2B5EF4-FFF2-40B4-BE49-F238E27FC236}">
                    <a16:creationId xmlns:a16="http://schemas.microsoft.com/office/drawing/2014/main" id="{79346C6B-825E-4258-BEF0-1ED9B7812851}"/>
                  </a:ext>
                </a:extLst>
              </p:cNvPr>
              <p:cNvSpPr/>
              <p:nvPr/>
            </p:nvSpPr>
            <p:spPr>
              <a:xfrm rot="750061">
                <a:off x="4841165" y="4094324"/>
                <a:ext cx="1651598" cy="350280"/>
              </a:xfrm>
              <a:prstGeom prst="rect">
                <a:avLst/>
              </a:prstGeom>
            </p:spPr>
            <p:txBody>
              <a:bodyPr wrap="square">
                <a:spAutoFit/>
              </a:body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等线" panose="020F0502020204030204"/>
                    <a:ea typeface="+mn-ea"/>
                    <a:cs typeface="Segoe UI Light" panose="020B0502040204020203" pitchFamily="34" charset="0"/>
                  </a:rPr>
                  <a:t>Decrease Value</a:t>
                </a:r>
              </a:p>
            </p:txBody>
          </p:sp>
          <p:sp>
            <p:nvSpPr>
              <p:cNvPr id="21" name="Rectangle 42">
                <a:extLst>
                  <a:ext uri="{FF2B5EF4-FFF2-40B4-BE49-F238E27FC236}">
                    <a16:creationId xmlns:a16="http://schemas.microsoft.com/office/drawing/2014/main" id="{B685CA86-0EE7-48DC-8A74-624154F85ACE}"/>
                  </a:ext>
                </a:extLst>
              </p:cNvPr>
              <p:cNvSpPr/>
              <p:nvPr/>
            </p:nvSpPr>
            <p:spPr>
              <a:xfrm rot="545787">
                <a:off x="5982401" y="4587618"/>
                <a:ext cx="1344729" cy="350280"/>
              </a:xfrm>
              <a:prstGeom prst="rect">
                <a:avLst/>
              </a:prstGeom>
            </p:spPr>
            <p:txBody>
              <a:bodyPr wrap="square">
                <a:spAutoFit/>
              </a:body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等线" panose="020F0502020204030204"/>
                    <a:ea typeface="+mn-ea"/>
                    <a:cs typeface="Segoe UI Light" panose="020B0502040204020203" pitchFamily="34" charset="0"/>
                  </a:rPr>
                  <a:t>CHURN</a:t>
                </a:r>
              </a:p>
            </p:txBody>
          </p:sp>
          <p:sp>
            <p:nvSpPr>
              <p:cNvPr id="22" name="Rectangle 43">
                <a:extLst>
                  <a:ext uri="{FF2B5EF4-FFF2-40B4-BE49-F238E27FC236}">
                    <a16:creationId xmlns:a16="http://schemas.microsoft.com/office/drawing/2014/main" id="{0A597298-F06D-4E23-9258-9D76091303CF}"/>
                  </a:ext>
                </a:extLst>
              </p:cNvPr>
              <p:cNvSpPr/>
              <p:nvPr/>
            </p:nvSpPr>
            <p:spPr>
              <a:xfrm rot="1727889">
                <a:off x="7415429" y="3571974"/>
                <a:ext cx="1344729" cy="621725"/>
              </a:xfrm>
              <a:prstGeom prst="rect">
                <a:avLst/>
              </a:prstGeom>
            </p:spPr>
            <p:txBody>
              <a:bodyPr wrap="square">
                <a:spAutoFit/>
              </a:body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等线" panose="020F0502020204030204"/>
                    <a:ea typeface="+mn-ea"/>
                    <a:cs typeface="Segoe UI Light" panose="020B0502040204020203" pitchFamily="34" charset="0"/>
                  </a:rPr>
                  <a:t>Expand Functionality</a:t>
                </a:r>
              </a:p>
            </p:txBody>
          </p:sp>
          <p:sp>
            <p:nvSpPr>
              <p:cNvPr id="23" name="Rectangle 44">
                <a:extLst>
                  <a:ext uri="{FF2B5EF4-FFF2-40B4-BE49-F238E27FC236}">
                    <a16:creationId xmlns:a16="http://schemas.microsoft.com/office/drawing/2014/main" id="{3BEF8794-ADDE-418D-8B79-2E17CBCD0A8D}"/>
                  </a:ext>
                </a:extLst>
              </p:cNvPr>
              <p:cNvSpPr/>
              <p:nvPr/>
            </p:nvSpPr>
            <p:spPr>
              <a:xfrm>
                <a:off x="7018206" y="2288730"/>
                <a:ext cx="961465" cy="621725"/>
              </a:xfrm>
              <a:prstGeom prst="rect">
                <a:avLst/>
              </a:prstGeom>
            </p:spPr>
            <p:txBody>
              <a:bodyPr wrap="square">
                <a:spAutoFit/>
              </a:body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等线" panose="020F0502020204030204"/>
                    <a:ea typeface="+mn-ea"/>
                    <a:cs typeface="Segoe UI Light" panose="020B0502040204020203" pitchFamily="34" charset="0"/>
                  </a:rPr>
                  <a:t>Increase Users</a:t>
                </a:r>
              </a:p>
            </p:txBody>
          </p:sp>
          <p:sp>
            <p:nvSpPr>
              <p:cNvPr id="24" name="Rectangle 45">
                <a:extLst>
                  <a:ext uri="{FF2B5EF4-FFF2-40B4-BE49-F238E27FC236}">
                    <a16:creationId xmlns:a16="http://schemas.microsoft.com/office/drawing/2014/main" id="{F4504841-54F0-4680-BE9F-06C7D3EB217F}"/>
                  </a:ext>
                </a:extLst>
              </p:cNvPr>
              <p:cNvSpPr/>
              <p:nvPr/>
            </p:nvSpPr>
            <p:spPr>
              <a:xfrm rot="19333214">
                <a:off x="8066518" y="2439629"/>
                <a:ext cx="1344729" cy="350280"/>
              </a:xfrm>
              <a:prstGeom prst="rect">
                <a:avLst/>
              </a:prstGeom>
            </p:spPr>
            <p:txBody>
              <a:bodyPr wrap="square">
                <a:spAutoFit/>
              </a:body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等线" panose="020F0502020204030204"/>
                    <a:ea typeface="+mn-ea"/>
                    <a:cs typeface="Segoe UI Light" panose="020B0502040204020203" pitchFamily="34" charset="0"/>
                  </a:rPr>
                  <a:t>Boost Usage</a:t>
                </a:r>
              </a:p>
            </p:txBody>
          </p:sp>
        </p:grpSp>
        <p:sp>
          <p:nvSpPr>
            <p:cNvPr id="5" name="Rectangle 37">
              <a:extLst>
                <a:ext uri="{FF2B5EF4-FFF2-40B4-BE49-F238E27FC236}">
                  <a16:creationId xmlns:a16="http://schemas.microsoft.com/office/drawing/2014/main" id="{F5912C68-745B-4568-9EF0-1B57BFFA34D6}"/>
                </a:ext>
              </a:extLst>
            </p:cNvPr>
            <p:cNvSpPr/>
            <p:nvPr/>
          </p:nvSpPr>
          <p:spPr>
            <a:xfrm rot="1065387">
              <a:off x="2401751" y="3877791"/>
              <a:ext cx="1439305" cy="333617"/>
            </a:xfrm>
            <a:prstGeom prst="rect">
              <a:avLst/>
            </a:prstGeom>
          </p:spPr>
          <p:txBody>
            <a:bodyPr wrap="square">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等线" panose="020F0502020204030204"/>
                  <a:ea typeface="+mn-ea"/>
                  <a:cs typeface="Segoe UI Light" panose="020B0502040204020203" pitchFamily="34" charset="0"/>
                </a:rPr>
                <a:t>Decrease Value</a:t>
              </a:r>
            </a:p>
          </p:txBody>
        </p:sp>
        <p:sp>
          <p:nvSpPr>
            <p:cNvPr id="6" name="Rectangle 38">
              <a:extLst>
                <a:ext uri="{FF2B5EF4-FFF2-40B4-BE49-F238E27FC236}">
                  <a16:creationId xmlns:a16="http://schemas.microsoft.com/office/drawing/2014/main" id="{C429E650-A884-4DAD-9E2E-7289D3F5C790}"/>
                </a:ext>
              </a:extLst>
            </p:cNvPr>
            <p:cNvSpPr/>
            <p:nvPr/>
          </p:nvSpPr>
          <p:spPr>
            <a:xfrm rot="287756">
              <a:off x="3387527" y="4315299"/>
              <a:ext cx="1280761" cy="333617"/>
            </a:xfrm>
            <a:prstGeom prst="rect">
              <a:avLst/>
            </a:prstGeom>
          </p:spPr>
          <p:txBody>
            <a:bodyPr wrap="square">
              <a:spAutoFit/>
            </a:body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等线" panose="020F0502020204030204"/>
                  <a:ea typeface="+mn-ea"/>
                  <a:cs typeface="Segoe UI Light" panose="020B0502040204020203" pitchFamily="34" charset="0"/>
                </a:rPr>
                <a:t>CHURN</a:t>
              </a:r>
            </a:p>
          </p:txBody>
        </p:sp>
      </p:grpSp>
      <p:grpSp>
        <p:nvGrpSpPr>
          <p:cNvPr id="31" name="Group 12">
            <a:extLst>
              <a:ext uri="{FF2B5EF4-FFF2-40B4-BE49-F238E27FC236}">
                <a16:creationId xmlns:a16="http://schemas.microsoft.com/office/drawing/2014/main" id="{BF142E5B-E408-456F-93AF-E34F4D2F88E6}"/>
              </a:ext>
            </a:extLst>
          </p:cNvPr>
          <p:cNvGrpSpPr/>
          <p:nvPr/>
        </p:nvGrpSpPr>
        <p:grpSpPr>
          <a:xfrm>
            <a:off x="9248468" y="2814495"/>
            <a:ext cx="2359947" cy="3144952"/>
            <a:chOff x="9259736" y="2676561"/>
            <a:chExt cx="2359947" cy="3144952"/>
          </a:xfrm>
        </p:grpSpPr>
        <p:grpSp>
          <p:nvGrpSpPr>
            <p:cNvPr id="32" name="Group 7">
              <a:extLst>
                <a:ext uri="{FF2B5EF4-FFF2-40B4-BE49-F238E27FC236}">
                  <a16:creationId xmlns:a16="http://schemas.microsoft.com/office/drawing/2014/main" id="{2504AA3A-5744-42F7-9446-871D4E69EC50}"/>
                </a:ext>
              </a:extLst>
            </p:cNvPr>
            <p:cNvGrpSpPr/>
            <p:nvPr/>
          </p:nvGrpSpPr>
          <p:grpSpPr>
            <a:xfrm>
              <a:off x="9657587" y="2676561"/>
              <a:ext cx="1541710" cy="2036970"/>
              <a:chOff x="9749283" y="3089212"/>
              <a:chExt cx="1541710" cy="2036970"/>
            </a:xfrm>
          </p:grpSpPr>
          <p:sp>
            <p:nvSpPr>
              <p:cNvPr id="34" name="Rectangle: Rounded Corners 84">
                <a:extLst>
                  <a:ext uri="{FF2B5EF4-FFF2-40B4-BE49-F238E27FC236}">
                    <a16:creationId xmlns:a16="http://schemas.microsoft.com/office/drawing/2014/main" id="{B35411A7-F804-4F64-9BB2-473A070C5FDF}"/>
                  </a:ext>
                </a:extLst>
              </p:cNvPr>
              <p:cNvSpPr/>
              <p:nvPr/>
            </p:nvSpPr>
            <p:spPr>
              <a:xfrm>
                <a:off x="9749283" y="3089212"/>
                <a:ext cx="1541710" cy="2036970"/>
              </a:xfrm>
              <a:prstGeom prst="roundRect">
                <a:avLst>
                  <a:gd name="adj" fmla="val 3589"/>
                </a:avLst>
              </a:prstGeom>
              <a:solidFill>
                <a:schemeClr val="accent1"/>
              </a:solidFill>
              <a:ln>
                <a:noFill/>
              </a:ln>
              <a:effectLst>
                <a:outerShdw blurRad="825500" dist="508000" dir="5400000" sx="85000" sy="85000" algn="t" rotWithShape="0">
                  <a:prstClr val="black">
                    <a:alpha val="1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等线 Light" panose="020F0302020204030204"/>
                  <a:ea typeface="+mn-ea"/>
                  <a:cs typeface="+mn-cs"/>
                </a:endParaRPr>
              </a:p>
            </p:txBody>
          </p:sp>
          <p:grpSp>
            <p:nvGrpSpPr>
              <p:cNvPr id="35" name="Group 85">
                <a:extLst>
                  <a:ext uri="{FF2B5EF4-FFF2-40B4-BE49-F238E27FC236}">
                    <a16:creationId xmlns:a16="http://schemas.microsoft.com/office/drawing/2014/main" id="{0C0F9B8D-BD58-45CA-9F52-A1ADAF792F00}"/>
                  </a:ext>
                </a:extLst>
              </p:cNvPr>
              <p:cNvGrpSpPr/>
              <p:nvPr/>
            </p:nvGrpSpPr>
            <p:grpSpPr>
              <a:xfrm>
                <a:off x="9946018" y="3273129"/>
                <a:ext cx="1148239" cy="1148239"/>
                <a:chOff x="6360732" y="3457404"/>
                <a:chExt cx="1148239" cy="1148239"/>
              </a:xfrm>
            </p:grpSpPr>
            <p:grpSp>
              <p:nvGrpSpPr>
                <p:cNvPr id="39" name="Group 86">
                  <a:extLst>
                    <a:ext uri="{FF2B5EF4-FFF2-40B4-BE49-F238E27FC236}">
                      <a16:creationId xmlns:a16="http://schemas.microsoft.com/office/drawing/2014/main" id="{286F4A0B-5A36-48DE-9663-B42FEA7166F4}"/>
                    </a:ext>
                  </a:extLst>
                </p:cNvPr>
                <p:cNvGrpSpPr/>
                <p:nvPr/>
              </p:nvGrpSpPr>
              <p:grpSpPr>
                <a:xfrm>
                  <a:off x="6360732" y="3457404"/>
                  <a:ext cx="1148239" cy="1148239"/>
                  <a:chOff x="5937168" y="883672"/>
                  <a:chExt cx="1899282" cy="1899282"/>
                </a:xfrm>
              </p:grpSpPr>
              <p:sp>
                <p:nvSpPr>
                  <p:cNvPr id="43" name="Oval 90">
                    <a:extLst>
                      <a:ext uri="{FF2B5EF4-FFF2-40B4-BE49-F238E27FC236}">
                        <a16:creationId xmlns:a16="http://schemas.microsoft.com/office/drawing/2014/main" id="{3047059A-E802-409C-9AE2-A621D3858C69}"/>
                      </a:ext>
                    </a:extLst>
                  </p:cNvPr>
                  <p:cNvSpPr/>
                  <p:nvPr/>
                </p:nvSpPr>
                <p:spPr>
                  <a:xfrm>
                    <a:off x="5937168" y="883672"/>
                    <a:ext cx="1899282" cy="1899282"/>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等线 Light" panose="020F0302020204030204"/>
                      <a:ea typeface="+mn-ea"/>
                      <a:cs typeface="+mn-cs"/>
                    </a:endParaRPr>
                  </a:p>
                </p:txBody>
              </p:sp>
              <p:sp>
                <p:nvSpPr>
                  <p:cNvPr id="44" name="Partial Circle 91">
                    <a:extLst>
                      <a:ext uri="{FF2B5EF4-FFF2-40B4-BE49-F238E27FC236}">
                        <a16:creationId xmlns:a16="http://schemas.microsoft.com/office/drawing/2014/main" id="{FE5A98A2-F535-4D72-8B41-A2D0D9B0D793}"/>
                      </a:ext>
                    </a:extLst>
                  </p:cNvPr>
                  <p:cNvSpPr/>
                  <p:nvPr/>
                </p:nvSpPr>
                <p:spPr>
                  <a:xfrm>
                    <a:off x="5937168" y="883672"/>
                    <a:ext cx="1899282" cy="1899282"/>
                  </a:xfrm>
                  <a:prstGeom prst="pie">
                    <a:avLst>
                      <a:gd name="adj1" fmla="val 1956993"/>
                      <a:gd name="adj2" fmla="val 16200000"/>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等线 Light" panose="020F0302020204030204"/>
                      <a:ea typeface="+mn-ea"/>
                      <a:cs typeface="+mn-cs"/>
                    </a:endParaRPr>
                  </a:p>
                </p:txBody>
              </p:sp>
              <p:sp>
                <p:nvSpPr>
                  <p:cNvPr id="45" name="Oval 92">
                    <a:extLst>
                      <a:ext uri="{FF2B5EF4-FFF2-40B4-BE49-F238E27FC236}">
                        <a16:creationId xmlns:a16="http://schemas.microsoft.com/office/drawing/2014/main" id="{49EC34A7-2F3F-464A-A88A-328DD9BA51FD}"/>
                      </a:ext>
                    </a:extLst>
                  </p:cNvPr>
                  <p:cNvSpPr/>
                  <p:nvPr/>
                </p:nvSpPr>
                <p:spPr>
                  <a:xfrm>
                    <a:off x="6044080" y="990584"/>
                    <a:ext cx="1685458" cy="168545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等线 Light" panose="020F0302020204030204"/>
                      <a:ea typeface="+mn-ea"/>
                      <a:cs typeface="+mn-cs"/>
                    </a:endParaRPr>
                  </a:p>
                </p:txBody>
              </p:sp>
            </p:grpSp>
            <p:grpSp>
              <p:nvGrpSpPr>
                <p:cNvPr id="40" name="Group 87">
                  <a:extLst>
                    <a:ext uri="{FF2B5EF4-FFF2-40B4-BE49-F238E27FC236}">
                      <a16:creationId xmlns:a16="http://schemas.microsoft.com/office/drawing/2014/main" id="{4D73A188-4F0D-48D8-8359-E3C8D2FF7826}"/>
                    </a:ext>
                  </a:extLst>
                </p:cNvPr>
                <p:cNvGrpSpPr/>
                <p:nvPr/>
              </p:nvGrpSpPr>
              <p:grpSpPr>
                <a:xfrm>
                  <a:off x="6482522" y="3660845"/>
                  <a:ext cx="927196" cy="695497"/>
                  <a:chOff x="6488872" y="3671308"/>
                  <a:chExt cx="927196" cy="695497"/>
                </a:xfrm>
              </p:grpSpPr>
              <p:sp>
                <p:nvSpPr>
                  <p:cNvPr id="41" name="TextBox 88">
                    <a:extLst>
                      <a:ext uri="{FF2B5EF4-FFF2-40B4-BE49-F238E27FC236}">
                        <a16:creationId xmlns:a16="http://schemas.microsoft.com/office/drawing/2014/main" id="{54D12A44-0403-4666-97B9-E515A955DBF3}"/>
                      </a:ext>
                    </a:extLst>
                  </p:cNvPr>
                  <p:cNvSpPr txBox="1"/>
                  <p:nvPr/>
                </p:nvSpPr>
                <p:spPr>
                  <a:xfrm>
                    <a:off x="6488872" y="3671308"/>
                    <a:ext cx="927196" cy="549831"/>
                  </a:xfrm>
                  <a:prstGeom prst="rect">
                    <a:avLst/>
                  </a:prstGeom>
                  <a:noFill/>
                </p:spPr>
                <p:txBody>
                  <a:bodyPr wrap="square" rtlCol="0">
                    <a:spAutoFit/>
                  </a:bodyPr>
                  <a:lstStyle/>
                  <a:p>
                    <a:pPr marL="0" marR="0" lvl="0" indent="0" algn="ctr" defTabSz="914400" rtl="0" eaLnBrk="1" fontAlgn="auto" latinLnBrk="0" hangingPunct="1">
                      <a:lnSpc>
                        <a:spcPct val="14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000000">
                            <a:lumMod val="75000"/>
                            <a:lumOff val="25000"/>
                          </a:srgbClr>
                        </a:solidFill>
                        <a:effectLst/>
                        <a:uLnTx/>
                        <a:uFillTx/>
                        <a:latin typeface="Segoe UI" panose="020B0502040204020203" pitchFamily="34" charset="0"/>
                        <a:ea typeface="+mn-ea"/>
                        <a:cs typeface="Segoe UI" panose="020B0502040204020203" pitchFamily="34" charset="0"/>
                      </a:rPr>
                      <a:t>65%</a:t>
                    </a:r>
                  </a:p>
                </p:txBody>
              </p:sp>
              <p:sp>
                <p:nvSpPr>
                  <p:cNvPr id="42" name="TextBox 89">
                    <a:extLst>
                      <a:ext uri="{FF2B5EF4-FFF2-40B4-BE49-F238E27FC236}">
                        <a16:creationId xmlns:a16="http://schemas.microsoft.com/office/drawing/2014/main" id="{244210CA-6D65-4314-94E4-D8EEE4B769A9}"/>
                      </a:ext>
                    </a:extLst>
                  </p:cNvPr>
                  <p:cNvSpPr txBox="1"/>
                  <p:nvPr/>
                </p:nvSpPr>
                <p:spPr>
                  <a:xfrm>
                    <a:off x="6488872" y="4079034"/>
                    <a:ext cx="927196" cy="287771"/>
                  </a:xfrm>
                  <a:prstGeom prst="rect">
                    <a:avLst/>
                  </a:prstGeom>
                  <a:noFill/>
                </p:spPr>
                <p:txBody>
                  <a:bodyPr wrap="square" rtlCol="0">
                    <a:spAutoFit/>
                  </a:bodyPr>
                  <a:lstStyle/>
                  <a:p>
                    <a:pPr marL="0" marR="0" lvl="0" indent="0" algn="ctr" defTabSz="914400" rtl="0" eaLnBrk="1" fontAlgn="auto" latinLnBrk="0" hangingPunct="1">
                      <a:lnSpc>
                        <a:spcPct val="14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D229"/>
                        </a:solidFill>
                        <a:effectLst/>
                        <a:uLnTx/>
                        <a:uFillTx/>
                        <a:latin typeface="等线 Light" panose="020F0302020204030204"/>
                        <a:ea typeface="+mn-ea"/>
                        <a:cs typeface="+mn-cs"/>
                      </a:rPr>
                      <a:t>Optimizing</a:t>
                    </a:r>
                  </a:p>
                </p:txBody>
              </p:sp>
            </p:grpSp>
          </p:grpSp>
          <p:grpSp>
            <p:nvGrpSpPr>
              <p:cNvPr id="36" name="Group 93">
                <a:extLst>
                  <a:ext uri="{FF2B5EF4-FFF2-40B4-BE49-F238E27FC236}">
                    <a16:creationId xmlns:a16="http://schemas.microsoft.com/office/drawing/2014/main" id="{FEA19C01-3692-4BA6-9152-60E9FD68EF2F}"/>
                  </a:ext>
                </a:extLst>
              </p:cNvPr>
              <p:cNvGrpSpPr/>
              <p:nvPr/>
            </p:nvGrpSpPr>
            <p:grpSpPr>
              <a:xfrm>
                <a:off x="9990055" y="4600700"/>
                <a:ext cx="1060164" cy="326884"/>
                <a:chOff x="6399858" y="4812235"/>
                <a:chExt cx="1060164" cy="326884"/>
              </a:xfrm>
            </p:grpSpPr>
            <p:sp>
              <p:nvSpPr>
                <p:cNvPr id="37" name="Rectangle: Rounded Corners 94">
                  <a:extLst>
                    <a:ext uri="{FF2B5EF4-FFF2-40B4-BE49-F238E27FC236}">
                      <a16:creationId xmlns:a16="http://schemas.microsoft.com/office/drawing/2014/main" id="{6066C382-BAF2-4B65-9B00-39568D3D0B85}"/>
                    </a:ext>
                  </a:extLst>
                </p:cNvPr>
                <p:cNvSpPr/>
                <p:nvPr/>
              </p:nvSpPr>
              <p:spPr>
                <a:xfrm>
                  <a:off x="6399858" y="4845944"/>
                  <a:ext cx="1060164" cy="293175"/>
                </a:xfrm>
                <a:prstGeom prst="roundRect">
                  <a:avLst>
                    <a:gd name="adj" fmla="val 50000"/>
                  </a:avLst>
                </a:prstGeom>
                <a:solidFill>
                  <a:schemeClr val="bg1"/>
                </a:solidFill>
                <a:ln>
                  <a:noFill/>
                </a:ln>
                <a:effectLst>
                  <a:outerShdw blurRad="152400" dir="13020000" sx="110000" sy="11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FFFFFF"/>
                    </a:solidFill>
                    <a:effectLst/>
                    <a:uLnTx/>
                    <a:uFillTx/>
                    <a:latin typeface="等线 Light" panose="020F0302020204030204"/>
                    <a:ea typeface="+mn-ea"/>
                    <a:cs typeface="+mn-cs"/>
                  </a:endParaRPr>
                </a:p>
              </p:txBody>
            </p:sp>
            <p:sp>
              <p:nvSpPr>
                <p:cNvPr id="38" name="TextBox 95">
                  <a:extLst>
                    <a:ext uri="{FF2B5EF4-FFF2-40B4-BE49-F238E27FC236}">
                      <a16:creationId xmlns:a16="http://schemas.microsoft.com/office/drawing/2014/main" id="{1BB5C3C5-20BE-4609-96AE-0B0B9A4440DD}"/>
                    </a:ext>
                  </a:extLst>
                </p:cNvPr>
                <p:cNvSpPr txBox="1"/>
                <p:nvPr/>
              </p:nvSpPr>
              <p:spPr>
                <a:xfrm>
                  <a:off x="6545275" y="4812235"/>
                  <a:ext cx="769330" cy="326884"/>
                </a:xfrm>
                <a:prstGeom prst="rect">
                  <a:avLst/>
                </a:prstGeom>
                <a:noFill/>
              </p:spPr>
              <p:txBody>
                <a:bodyPr wrap="square" rtlCol="0">
                  <a:spAutoFit/>
                </a:bodyPr>
                <a:lstStyle/>
                <a:p>
                  <a:pPr marL="0" marR="0" lvl="0" indent="0" algn="ctr" defTabSz="914400" rtl="0" eaLnBrk="1" fontAlgn="auto" latinLnBrk="0" hangingPunct="1">
                    <a:lnSpc>
                      <a:spcPct val="14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D229"/>
                      </a:solidFill>
                      <a:effectLst/>
                      <a:uLnTx/>
                      <a:uFillTx/>
                      <a:latin typeface="等线" panose="020F0502020204030204"/>
                      <a:ea typeface="+mn-ea"/>
                      <a:cs typeface="+mn-cs"/>
                    </a:rPr>
                    <a:t>Jan 2021</a:t>
                  </a:r>
                </a:p>
              </p:txBody>
            </p:sp>
          </p:grpSp>
        </p:grpSp>
        <p:sp>
          <p:nvSpPr>
            <p:cNvPr id="33" name="TextBox 120">
              <a:extLst>
                <a:ext uri="{FF2B5EF4-FFF2-40B4-BE49-F238E27FC236}">
                  <a16:creationId xmlns:a16="http://schemas.microsoft.com/office/drawing/2014/main" id="{2D8E8B09-905C-43CA-9379-D54F218C2BE3}"/>
                </a:ext>
              </a:extLst>
            </p:cNvPr>
            <p:cNvSpPr txBox="1"/>
            <p:nvPr/>
          </p:nvSpPr>
          <p:spPr>
            <a:xfrm>
              <a:off x="9259736" y="4852337"/>
              <a:ext cx="2359947" cy="969176"/>
            </a:xfrm>
            <a:prstGeom prst="rect">
              <a:avLst/>
            </a:prstGeom>
            <a:noFill/>
          </p:spPr>
          <p:txBody>
            <a:bodyPr wrap="square" rtlCol="0">
              <a:spAutoFit/>
            </a:bodyPr>
            <a:lstStyle/>
            <a:p>
              <a:pPr marL="0" marR="0" lvl="0" indent="0" algn="ctr" defTabSz="914400" rtl="0" eaLnBrk="1" fontAlgn="auto" latinLnBrk="0" hangingPunct="1">
                <a:lnSpc>
                  <a:spcPct val="14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lumMod val="65000"/>
                      <a:lumOff val="35000"/>
                    </a:srgbClr>
                  </a:solidFill>
                  <a:effectLst/>
                  <a:uLnTx/>
                  <a:uFillTx/>
                  <a:latin typeface="等线 Light" panose="020F0302020204030204"/>
                  <a:ea typeface="+mn-ea"/>
                  <a:cs typeface="+mn-cs"/>
                </a:rPr>
                <a:t>Lorem Ipsum is simply dummy text of the printing and typesetting industry. </a:t>
              </a:r>
            </a:p>
          </p:txBody>
        </p:sp>
      </p:grpSp>
    </p:spTree>
    <p:extLst>
      <p:ext uri="{BB962C8B-B14F-4D97-AF65-F5344CB8AC3E}">
        <p14:creationId xmlns:p14="http://schemas.microsoft.com/office/powerpoint/2010/main" val="3918273766"/>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6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Shape 83">
            <a:extLst>
              <a:ext uri="{FF2B5EF4-FFF2-40B4-BE49-F238E27FC236}">
                <a16:creationId xmlns:a16="http://schemas.microsoft.com/office/drawing/2014/main" id="{E1BF3E95-A9E6-409B-A940-AD688E6977D9}"/>
              </a:ext>
            </a:extLst>
          </p:cNvPr>
          <p:cNvSpPr/>
          <p:nvPr/>
        </p:nvSpPr>
        <p:spPr>
          <a:xfrm>
            <a:off x="5010150" y="0"/>
            <a:ext cx="7181850" cy="6248400"/>
          </a:xfrm>
          <a:custGeom>
            <a:avLst/>
            <a:gdLst>
              <a:gd name="connsiteX0" fmla="*/ 52588 w 7181850"/>
              <a:gd name="connsiteY0" fmla="*/ 0 h 6248400"/>
              <a:gd name="connsiteX1" fmla="*/ 7181850 w 7181850"/>
              <a:gd name="connsiteY1" fmla="*/ 0 h 6248400"/>
              <a:gd name="connsiteX2" fmla="*/ 7181850 w 7181850"/>
              <a:gd name="connsiteY2" fmla="*/ 5983853 h 6248400"/>
              <a:gd name="connsiteX3" fmla="*/ 7130245 w 7181850"/>
              <a:gd name="connsiteY3" fmla="*/ 6001314 h 6248400"/>
              <a:gd name="connsiteX4" fmla="*/ 5495925 w 7181850"/>
              <a:gd name="connsiteY4" fmla="*/ 6248400 h 6248400"/>
              <a:gd name="connsiteX5" fmla="*/ 0 w 7181850"/>
              <a:gd name="connsiteY5" fmla="*/ 752475 h 6248400"/>
              <a:gd name="connsiteX6" fmla="*/ 28375 w 7181850"/>
              <a:gd name="connsiteY6" fmla="*/ 190549 h 6248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181850" h="6248400">
                <a:moveTo>
                  <a:pt x="52588" y="0"/>
                </a:moveTo>
                <a:lnTo>
                  <a:pt x="7181850" y="0"/>
                </a:lnTo>
                <a:lnTo>
                  <a:pt x="7181850" y="5983853"/>
                </a:lnTo>
                <a:lnTo>
                  <a:pt x="7130245" y="6001314"/>
                </a:lnTo>
                <a:cubicBezTo>
                  <a:pt x="6613964" y="6161895"/>
                  <a:pt x="6065047" y="6248400"/>
                  <a:pt x="5495925" y="6248400"/>
                </a:cubicBezTo>
                <a:cubicBezTo>
                  <a:pt x="2460609" y="6248400"/>
                  <a:pt x="0" y="3787791"/>
                  <a:pt x="0" y="752475"/>
                </a:cubicBezTo>
                <a:cubicBezTo>
                  <a:pt x="0" y="562768"/>
                  <a:pt x="9612" y="375306"/>
                  <a:pt x="28375" y="190549"/>
                </a:cubicBez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等线" panose="020F0502020204030204"/>
              <a:ea typeface="+mn-ea"/>
              <a:cs typeface="+mn-cs"/>
            </a:endParaRPr>
          </a:p>
        </p:txBody>
      </p:sp>
      <p:grpSp>
        <p:nvGrpSpPr>
          <p:cNvPr id="3" name="Group 6">
            <a:extLst>
              <a:ext uri="{FF2B5EF4-FFF2-40B4-BE49-F238E27FC236}">
                <a16:creationId xmlns:a16="http://schemas.microsoft.com/office/drawing/2014/main" id="{A3767D3D-33A8-480E-8B5A-9FBFF8DA17F8}"/>
              </a:ext>
            </a:extLst>
          </p:cNvPr>
          <p:cNvGrpSpPr/>
          <p:nvPr/>
        </p:nvGrpSpPr>
        <p:grpSpPr>
          <a:xfrm rot="323738">
            <a:off x="7203215" y="1263161"/>
            <a:ext cx="3011807" cy="4331676"/>
            <a:chOff x="7970606" y="883001"/>
            <a:chExt cx="3011807" cy="4331676"/>
          </a:xfrm>
        </p:grpSpPr>
        <p:grpSp>
          <p:nvGrpSpPr>
            <p:cNvPr id="4" name="Group 7">
              <a:extLst>
                <a:ext uri="{FF2B5EF4-FFF2-40B4-BE49-F238E27FC236}">
                  <a16:creationId xmlns:a16="http://schemas.microsoft.com/office/drawing/2014/main" id="{C5F3CEE7-EEE1-4820-A14B-48B794913D37}"/>
                </a:ext>
              </a:extLst>
            </p:cNvPr>
            <p:cNvGrpSpPr/>
            <p:nvPr/>
          </p:nvGrpSpPr>
          <p:grpSpPr>
            <a:xfrm>
              <a:off x="8361202" y="883001"/>
              <a:ext cx="2621211" cy="3886570"/>
              <a:chOff x="8361202" y="883001"/>
              <a:chExt cx="2621211" cy="3886570"/>
            </a:xfrm>
          </p:grpSpPr>
          <p:grpSp>
            <p:nvGrpSpPr>
              <p:cNvPr id="13" name="Group 16">
                <a:extLst>
                  <a:ext uri="{FF2B5EF4-FFF2-40B4-BE49-F238E27FC236}">
                    <a16:creationId xmlns:a16="http://schemas.microsoft.com/office/drawing/2014/main" id="{127B6854-78EE-42AE-96C9-79E399113245}"/>
                  </a:ext>
                </a:extLst>
              </p:cNvPr>
              <p:cNvGrpSpPr/>
              <p:nvPr/>
            </p:nvGrpSpPr>
            <p:grpSpPr>
              <a:xfrm>
                <a:off x="8361202" y="883001"/>
                <a:ext cx="2621211" cy="3516773"/>
                <a:chOff x="8817254" y="2079489"/>
                <a:chExt cx="1798887" cy="2413494"/>
              </a:xfrm>
            </p:grpSpPr>
            <p:sp>
              <p:nvSpPr>
                <p:cNvPr id="15" name="Freeform: Shape 18">
                  <a:extLst>
                    <a:ext uri="{FF2B5EF4-FFF2-40B4-BE49-F238E27FC236}">
                      <a16:creationId xmlns:a16="http://schemas.microsoft.com/office/drawing/2014/main" id="{B2358681-2BCA-412C-8D0B-10F2E2546C66}"/>
                    </a:ext>
                  </a:extLst>
                </p:cNvPr>
                <p:cNvSpPr/>
                <p:nvPr/>
              </p:nvSpPr>
              <p:spPr>
                <a:xfrm>
                  <a:off x="9273945" y="2684918"/>
                  <a:ext cx="1119958" cy="1808065"/>
                </a:xfrm>
                <a:custGeom>
                  <a:avLst/>
                  <a:gdLst>
                    <a:gd name="connsiteX0" fmla="*/ 922380 w 1119958"/>
                    <a:gd name="connsiteY0" fmla="*/ 0 h 1808065"/>
                    <a:gd name="connsiteX1" fmla="*/ 981098 w 1119958"/>
                    <a:gd name="connsiteY1" fmla="*/ 7141 h 1808065"/>
                    <a:gd name="connsiteX2" fmla="*/ 1050131 w 1119958"/>
                    <a:gd name="connsiteY2" fmla="*/ 41261 h 1808065"/>
                    <a:gd name="connsiteX3" fmla="*/ 1100915 w 1119958"/>
                    <a:gd name="connsiteY3" fmla="*/ 110295 h 1808065"/>
                    <a:gd name="connsiteX4" fmla="*/ 1119958 w 1119958"/>
                    <a:gd name="connsiteY4" fmla="*/ 205513 h 1808065"/>
                    <a:gd name="connsiteX5" fmla="*/ 1097741 w 1119958"/>
                    <a:gd name="connsiteY5" fmla="*/ 307872 h 1808065"/>
                    <a:gd name="connsiteX6" fmla="*/ 1035849 w 1119958"/>
                    <a:gd name="connsiteY6" fmla="*/ 399916 h 1808065"/>
                    <a:gd name="connsiteX7" fmla="*/ 943011 w 1119958"/>
                    <a:gd name="connsiteY7" fmla="*/ 466568 h 1808065"/>
                    <a:gd name="connsiteX8" fmla="*/ 890641 w 1119958"/>
                    <a:gd name="connsiteY8" fmla="*/ 488786 h 1808065"/>
                    <a:gd name="connsiteX9" fmla="*/ 836685 w 1119958"/>
                    <a:gd name="connsiteY9" fmla="*/ 503862 h 1808065"/>
                    <a:gd name="connsiteX10" fmla="*/ 811293 w 1119958"/>
                    <a:gd name="connsiteY10" fmla="*/ 508622 h 1808065"/>
                    <a:gd name="connsiteX11" fmla="*/ 789076 w 1119958"/>
                    <a:gd name="connsiteY11" fmla="*/ 514176 h 1808065"/>
                    <a:gd name="connsiteX12" fmla="*/ 750195 w 1119958"/>
                    <a:gd name="connsiteY12" fmla="*/ 530047 h 1808065"/>
                    <a:gd name="connsiteX13" fmla="*/ 722423 w 1119958"/>
                    <a:gd name="connsiteY13" fmla="*/ 551471 h 1808065"/>
                    <a:gd name="connsiteX14" fmla="*/ 706553 w 1119958"/>
                    <a:gd name="connsiteY14" fmla="*/ 577655 h 1808065"/>
                    <a:gd name="connsiteX15" fmla="*/ 701792 w 1119958"/>
                    <a:gd name="connsiteY15" fmla="*/ 633993 h 1808065"/>
                    <a:gd name="connsiteX16" fmla="*/ 713695 w 1119958"/>
                    <a:gd name="connsiteY16" fmla="*/ 680015 h 1808065"/>
                    <a:gd name="connsiteX17" fmla="*/ 719249 w 1119958"/>
                    <a:gd name="connsiteY17" fmla="*/ 694297 h 1808065"/>
                    <a:gd name="connsiteX18" fmla="*/ 728771 w 1119958"/>
                    <a:gd name="connsiteY18" fmla="*/ 703025 h 1808065"/>
                    <a:gd name="connsiteX19" fmla="*/ 758130 w 1119958"/>
                    <a:gd name="connsiteY19" fmla="*/ 731591 h 1808065"/>
                    <a:gd name="connsiteX20" fmla="*/ 827163 w 1119958"/>
                    <a:gd name="connsiteY20" fmla="*/ 821255 h 1808065"/>
                    <a:gd name="connsiteX21" fmla="*/ 881120 w 1119958"/>
                    <a:gd name="connsiteY21" fmla="*/ 961702 h 1808065"/>
                    <a:gd name="connsiteX22" fmla="*/ 887467 w 1119958"/>
                    <a:gd name="connsiteY22" fmla="*/ 1047398 h 1808065"/>
                    <a:gd name="connsiteX23" fmla="*/ 884294 w 1119958"/>
                    <a:gd name="connsiteY23" fmla="*/ 1091833 h 1808065"/>
                    <a:gd name="connsiteX24" fmla="*/ 881120 w 1119958"/>
                    <a:gd name="connsiteY24" fmla="*/ 1114050 h 1808065"/>
                    <a:gd name="connsiteX25" fmla="*/ 877152 w 1119958"/>
                    <a:gd name="connsiteY25" fmla="*/ 1136268 h 1808065"/>
                    <a:gd name="connsiteX26" fmla="*/ 811293 w 1119958"/>
                    <a:gd name="connsiteY26" fmla="*/ 1313214 h 1808065"/>
                    <a:gd name="connsiteX27" fmla="*/ 705759 w 1119958"/>
                    <a:gd name="connsiteY27" fmla="*/ 1478258 h 1808065"/>
                    <a:gd name="connsiteX28" fmla="*/ 675607 w 1119958"/>
                    <a:gd name="connsiteY28" fmla="*/ 1517140 h 1808065"/>
                    <a:gd name="connsiteX29" fmla="*/ 643868 w 1119958"/>
                    <a:gd name="connsiteY29" fmla="*/ 1555227 h 1808065"/>
                    <a:gd name="connsiteX30" fmla="*/ 611335 w 1119958"/>
                    <a:gd name="connsiteY30" fmla="*/ 1593314 h 1808065"/>
                    <a:gd name="connsiteX31" fmla="*/ 594672 w 1119958"/>
                    <a:gd name="connsiteY31" fmla="*/ 1612358 h 1808065"/>
                    <a:gd name="connsiteX32" fmla="*/ 577215 w 1119958"/>
                    <a:gd name="connsiteY32" fmla="*/ 1630607 h 1808065"/>
                    <a:gd name="connsiteX33" fmla="*/ 559759 w 1119958"/>
                    <a:gd name="connsiteY33" fmla="*/ 1648858 h 1808065"/>
                    <a:gd name="connsiteX34" fmla="*/ 551030 w 1119958"/>
                    <a:gd name="connsiteY34" fmla="*/ 1658379 h 1808065"/>
                    <a:gd name="connsiteX35" fmla="*/ 547063 w 1119958"/>
                    <a:gd name="connsiteY35" fmla="*/ 1663140 h 1808065"/>
                    <a:gd name="connsiteX36" fmla="*/ 543096 w 1119958"/>
                    <a:gd name="connsiteY36" fmla="*/ 1667107 h 1808065"/>
                    <a:gd name="connsiteX37" fmla="*/ 509769 w 1119958"/>
                    <a:gd name="connsiteY37" fmla="*/ 1701227 h 1808065"/>
                    <a:gd name="connsiteX38" fmla="*/ 501835 w 1119958"/>
                    <a:gd name="connsiteY38" fmla="*/ 1709956 h 1808065"/>
                    <a:gd name="connsiteX39" fmla="*/ 501041 w 1119958"/>
                    <a:gd name="connsiteY39" fmla="*/ 1710749 h 1808065"/>
                    <a:gd name="connsiteX40" fmla="*/ 499454 w 1119958"/>
                    <a:gd name="connsiteY40" fmla="*/ 1712336 h 1808065"/>
                    <a:gd name="connsiteX41" fmla="*/ 498661 w 1119958"/>
                    <a:gd name="connsiteY41" fmla="*/ 1713130 h 1808065"/>
                    <a:gd name="connsiteX42" fmla="*/ 497074 w 1119958"/>
                    <a:gd name="connsiteY42" fmla="*/ 1714717 h 1808065"/>
                    <a:gd name="connsiteX43" fmla="*/ 493106 w 1119958"/>
                    <a:gd name="connsiteY43" fmla="*/ 1718684 h 1808065"/>
                    <a:gd name="connsiteX44" fmla="*/ 478030 w 1119958"/>
                    <a:gd name="connsiteY44" fmla="*/ 1734554 h 1808065"/>
                    <a:gd name="connsiteX45" fmla="*/ 456000 w 1119958"/>
                    <a:gd name="connsiteY45" fmla="*/ 1758419 h 1808065"/>
                    <a:gd name="connsiteX46" fmla="*/ 445881 w 1119958"/>
                    <a:gd name="connsiteY46" fmla="*/ 1755278 h 1808065"/>
                    <a:gd name="connsiteX47" fmla="*/ 342050 w 1119958"/>
                    <a:gd name="connsiteY47" fmla="*/ 1744811 h 1808065"/>
                    <a:gd name="connsiteX48" fmla="*/ 141510 w 1119958"/>
                    <a:gd name="connsiteY48" fmla="*/ 1785298 h 1808065"/>
                    <a:gd name="connsiteX49" fmla="*/ 99566 w 1119958"/>
                    <a:gd name="connsiteY49" fmla="*/ 1808065 h 1808065"/>
                    <a:gd name="connsiteX50" fmla="*/ 110647 w 1119958"/>
                    <a:gd name="connsiteY50" fmla="*/ 1788510 h 1808065"/>
                    <a:gd name="connsiteX51" fmla="*/ 117788 w 1119958"/>
                    <a:gd name="connsiteY51" fmla="*/ 1776608 h 1808065"/>
                    <a:gd name="connsiteX52" fmla="*/ 125724 w 1119958"/>
                    <a:gd name="connsiteY52" fmla="*/ 1765500 h 1808065"/>
                    <a:gd name="connsiteX53" fmla="*/ 263789 w 1119958"/>
                    <a:gd name="connsiteY53" fmla="*/ 1606803 h 1808065"/>
                    <a:gd name="connsiteX54" fmla="*/ 302670 w 1119958"/>
                    <a:gd name="connsiteY54" fmla="*/ 1571889 h 1808065"/>
                    <a:gd name="connsiteX55" fmla="*/ 322507 w 1119958"/>
                    <a:gd name="connsiteY55" fmla="*/ 1555227 h 1808065"/>
                    <a:gd name="connsiteX56" fmla="*/ 327268 w 1119958"/>
                    <a:gd name="connsiteY56" fmla="*/ 1551259 h 1808065"/>
                    <a:gd name="connsiteX57" fmla="*/ 329648 w 1119958"/>
                    <a:gd name="connsiteY57" fmla="*/ 1548879 h 1808065"/>
                    <a:gd name="connsiteX58" fmla="*/ 331235 w 1119958"/>
                    <a:gd name="connsiteY58" fmla="*/ 1548086 h 1808065"/>
                    <a:gd name="connsiteX59" fmla="*/ 340757 w 1119958"/>
                    <a:gd name="connsiteY59" fmla="*/ 1540150 h 1808065"/>
                    <a:gd name="connsiteX60" fmla="*/ 377258 w 1119958"/>
                    <a:gd name="connsiteY60" fmla="*/ 1509205 h 1808065"/>
                    <a:gd name="connsiteX61" fmla="*/ 382018 w 1119958"/>
                    <a:gd name="connsiteY61" fmla="*/ 1505237 h 1808065"/>
                    <a:gd name="connsiteX62" fmla="*/ 385986 w 1119958"/>
                    <a:gd name="connsiteY62" fmla="*/ 1501270 h 1808065"/>
                    <a:gd name="connsiteX63" fmla="*/ 394714 w 1119958"/>
                    <a:gd name="connsiteY63" fmla="*/ 1494128 h 1808065"/>
                    <a:gd name="connsiteX64" fmla="*/ 411377 w 1119958"/>
                    <a:gd name="connsiteY64" fmla="*/ 1479846 h 1808065"/>
                    <a:gd name="connsiteX65" fmla="*/ 428040 w 1119958"/>
                    <a:gd name="connsiteY65" fmla="*/ 1464770 h 1808065"/>
                    <a:gd name="connsiteX66" fmla="*/ 444704 w 1119958"/>
                    <a:gd name="connsiteY66" fmla="*/ 1449694 h 1808065"/>
                    <a:gd name="connsiteX67" fmla="*/ 477236 w 1119958"/>
                    <a:gd name="connsiteY67" fmla="*/ 1418748 h 1808065"/>
                    <a:gd name="connsiteX68" fmla="*/ 508976 w 1119958"/>
                    <a:gd name="connsiteY68" fmla="*/ 1387801 h 1808065"/>
                    <a:gd name="connsiteX69" fmla="*/ 539128 w 1119958"/>
                    <a:gd name="connsiteY69" fmla="*/ 1356062 h 1808065"/>
                    <a:gd name="connsiteX70" fmla="*/ 643074 w 1119958"/>
                    <a:gd name="connsiteY70" fmla="*/ 1225931 h 1808065"/>
                    <a:gd name="connsiteX71" fmla="*/ 708933 w 1119958"/>
                    <a:gd name="connsiteY71" fmla="*/ 1095800 h 1808065"/>
                    <a:gd name="connsiteX72" fmla="*/ 713695 w 1119958"/>
                    <a:gd name="connsiteY72" fmla="*/ 1079931 h 1808065"/>
                    <a:gd name="connsiteX73" fmla="*/ 717662 w 1119958"/>
                    <a:gd name="connsiteY73" fmla="*/ 1064061 h 1808065"/>
                    <a:gd name="connsiteX74" fmla="*/ 723217 w 1119958"/>
                    <a:gd name="connsiteY74" fmla="*/ 1033908 h 1808065"/>
                    <a:gd name="connsiteX75" fmla="*/ 725597 w 1119958"/>
                    <a:gd name="connsiteY75" fmla="*/ 976777 h 1808065"/>
                    <a:gd name="connsiteX76" fmla="*/ 700205 w 1119958"/>
                    <a:gd name="connsiteY76" fmla="*/ 878385 h 1808065"/>
                    <a:gd name="connsiteX77" fmla="*/ 655771 w 1119958"/>
                    <a:gd name="connsiteY77" fmla="*/ 806179 h 1808065"/>
                    <a:gd name="connsiteX78" fmla="*/ 635140 w 1119958"/>
                    <a:gd name="connsiteY78" fmla="*/ 780787 h 1808065"/>
                    <a:gd name="connsiteX79" fmla="*/ 618476 w 1119958"/>
                    <a:gd name="connsiteY79" fmla="*/ 762537 h 1808065"/>
                    <a:gd name="connsiteX80" fmla="*/ 608161 w 1119958"/>
                    <a:gd name="connsiteY80" fmla="*/ 751428 h 1808065"/>
                    <a:gd name="connsiteX81" fmla="*/ 588325 w 1119958"/>
                    <a:gd name="connsiteY81" fmla="*/ 742700 h 1808065"/>
                    <a:gd name="connsiteX82" fmla="*/ 550237 w 1119958"/>
                    <a:gd name="connsiteY82" fmla="*/ 733179 h 1808065"/>
                    <a:gd name="connsiteX83" fmla="*/ 501041 w 1119958"/>
                    <a:gd name="connsiteY83" fmla="*/ 735559 h 1808065"/>
                    <a:gd name="connsiteX84" fmla="*/ 474063 w 1119958"/>
                    <a:gd name="connsiteY84" fmla="*/ 745081 h 1808065"/>
                    <a:gd name="connsiteX85" fmla="*/ 460573 w 1119958"/>
                    <a:gd name="connsiteY85" fmla="*/ 752222 h 1808065"/>
                    <a:gd name="connsiteX86" fmla="*/ 454225 w 1119958"/>
                    <a:gd name="connsiteY86" fmla="*/ 756982 h 1808065"/>
                    <a:gd name="connsiteX87" fmla="*/ 447878 w 1119958"/>
                    <a:gd name="connsiteY87" fmla="*/ 761743 h 1808065"/>
                    <a:gd name="connsiteX88" fmla="*/ 398681 w 1119958"/>
                    <a:gd name="connsiteY88" fmla="*/ 813320 h 1808065"/>
                    <a:gd name="connsiteX89" fmla="*/ 388366 w 1119958"/>
                    <a:gd name="connsiteY89" fmla="*/ 829190 h 1808065"/>
                    <a:gd name="connsiteX90" fmla="*/ 387573 w 1119958"/>
                    <a:gd name="connsiteY90" fmla="*/ 830777 h 1808065"/>
                    <a:gd name="connsiteX91" fmla="*/ 387573 w 1119958"/>
                    <a:gd name="connsiteY91" fmla="*/ 831571 h 1808065"/>
                    <a:gd name="connsiteX92" fmla="*/ 386779 w 1119958"/>
                    <a:gd name="connsiteY92" fmla="*/ 832364 h 1808065"/>
                    <a:gd name="connsiteX93" fmla="*/ 385192 w 1119958"/>
                    <a:gd name="connsiteY93" fmla="*/ 834744 h 1808065"/>
                    <a:gd name="connsiteX94" fmla="*/ 382018 w 1119958"/>
                    <a:gd name="connsiteY94" fmla="*/ 838712 h 1808065"/>
                    <a:gd name="connsiteX95" fmla="*/ 375671 w 1119958"/>
                    <a:gd name="connsiteY95" fmla="*/ 847440 h 1808065"/>
                    <a:gd name="connsiteX96" fmla="*/ 359801 w 1119958"/>
                    <a:gd name="connsiteY96" fmla="*/ 866484 h 1808065"/>
                    <a:gd name="connsiteX97" fmla="*/ 351073 w 1119958"/>
                    <a:gd name="connsiteY97" fmla="*/ 875212 h 1808065"/>
                    <a:gd name="connsiteX98" fmla="*/ 346312 w 1119958"/>
                    <a:gd name="connsiteY98" fmla="*/ 879179 h 1808065"/>
                    <a:gd name="connsiteX99" fmla="*/ 341551 w 1119958"/>
                    <a:gd name="connsiteY99" fmla="*/ 883146 h 1808065"/>
                    <a:gd name="connsiteX100" fmla="*/ 332029 w 1119958"/>
                    <a:gd name="connsiteY100" fmla="*/ 891082 h 1808065"/>
                    <a:gd name="connsiteX101" fmla="*/ 321714 w 1119958"/>
                    <a:gd name="connsiteY101" fmla="*/ 898223 h 1808065"/>
                    <a:gd name="connsiteX102" fmla="*/ 299496 w 1119958"/>
                    <a:gd name="connsiteY102" fmla="*/ 910125 h 1808065"/>
                    <a:gd name="connsiteX103" fmla="*/ 250300 w 1119958"/>
                    <a:gd name="connsiteY103" fmla="*/ 924408 h 1808065"/>
                    <a:gd name="connsiteX104" fmla="*/ 151114 w 1119958"/>
                    <a:gd name="connsiteY104" fmla="*/ 913299 h 1808065"/>
                    <a:gd name="connsiteX105" fmla="*/ 73353 w 1119958"/>
                    <a:gd name="connsiteY105" fmla="*/ 863310 h 1808065"/>
                    <a:gd name="connsiteX106" fmla="*/ 24950 w 1119958"/>
                    <a:gd name="connsiteY106" fmla="*/ 795863 h 1808065"/>
                    <a:gd name="connsiteX107" fmla="*/ 3527 w 1119958"/>
                    <a:gd name="connsiteY107" fmla="*/ 726830 h 1808065"/>
                    <a:gd name="connsiteX108" fmla="*/ 1147 w 1119958"/>
                    <a:gd name="connsiteY108" fmla="*/ 710961 h 1808065"/>
                    <a:gd name="connsiteX109" fmla="*/ 353 w 1119958"/>
                    <a:gd name="connsiteY109" fmla="*/ 695884 h 1808065"/>
                    <a:gd name="connsiteX110" fmla="*/ 353 w 1119958"/>
                    <a:gd name="connsiteY110" fmla="*/ 667319 h 1808065"/>
                    <a:gd name="connsiteX111" fmla="*/ 5114 w 1119958"/>
                    <a:gd name="connsiteY111" fmla="*/ 622091 h 1808065"/>
                    <a:gd name="connsiteX112" fmla="*/ 11462 w 1119958"/>
                    <a:gd name="connsiteY112" fmla="*/ 593525 h 1808065"/>
                    <a:gd name="connsiteX113" fmla="*/ 13842 w 1119958"/>
                    <a:gd name="connsiteY113" fmla="*/ 583210 h 1808065"/>
                    <a:gd name="connsiteX114" fmla="*/ 19396 w 1119958"/>
                    <a:gd name="connsiteY114" fmla="*/ 584797 h 1808065"/>
                    <a:gd name="connsiteX115" fmla="*/ 17809 w 1119958"/>
                    <a:gd name="connsiteY115" fmla="*/ 595112 h 1808065"/>
                    <a:gd name="connsiteX116" fmla="*/ 13842 w 1119958"/>
                    <a:gd name="connsiteY116" fmla="*/ 623678 h 1808065"/>
                    <a:gd name="connsiteX117" fmla="*/ 12255 w 1119958"/>
                    <a:gd name="connsiteY117" fmla="*/ 668112 h 1808065"/>
                    <a:gd name="connsiteX118" fmla="*/ 14635 w 1119958"/>
                    <a:gd name="connsiteY118" fmla="*/ 695091 h 1808065"/>
                    <a:gd name="connsiteX119" fmla="*/ 17016 w 1119958"/>
                    <a:gd name="connsiteY119" fmla="*/ 709374 h 1808065"/>
                    <a:gd name="connsiteX120" fmla="*/ 20190 w 1119958"/>
                    <a:gd name="connsiteY120" fmla="*/ 724450 h 1808065"/>
                    <a:gd name="connsiteX121" fmla="*/ 44788 w 1119958"/>
                    <a:gd name="connsiteY121" fmla="*/ 787135 h 1808065"/>
                    <a:gd name="connsiteX122" fmla="*/ 92397 w 1119958"/>
                    <a:gd name="connsiteY122" fmla="*/ 845059 h 1808065"/>
                    <a:gd name="connsiteX123" fmla="*/ 162224 w 1119958"/>
                    <a:gd name="connsiteY123" fmla="*/ 883940 h 1808065"/>
                    <a:gd name="connsiteX124" fmla="*/ 242365 w 1119958"/>
                    <a:gd name="connsiteY124" fmla="*/ 887907 h 1808065"/>
                    <a:gd name="connsiteX125" fmla="*/ 309812 w 1119958"/>
                    <a:gd name="connsiteY125" fmla="*/ 852200 h 1808065"/>
                    <a:gd name="connsiteX126" fmla="*/ 312986 w 1119958"/>
                    <a:gd name="connsiteY126" fmla="*/ 849027 h 1808065"/>
                    <a:gd name="connsiteX127" fmla="*/ 316160 w 1119958"/>
                    <a:gd name="connsiteY127" fmla="*/ 845059 h 1808065"/>
                    <a:gd name="connsiteX128" fmla="*/ 322507 w 1119958"/>
                    <a:gd name="connsiteY128" fmla="*/ 837918 h 1808065"/>
                    <a:gd name="connsiteX129" fmla="*/ 332822 w 1119958"/>
                    <a:gd name="connsiteY129" fmla="*/ 823635 h 1808065"/>
                    <a:gd name="connsiteX130" fmla="*/ 343138 w 1119958"/>
                    <a:gd name="connsiteY130" fmla="*/ 806972 h 1808065"/>
                    <a:gd name="connsiteX131" fmla="*/ 354246 w 1119958"/>
                    <a:gd name="connsiteY131" fmla="*/ 787928 h 1808065"/>
                    <a:gd name="connsiteX132" fmla="*/ 409791 w 1119958"/>
                    <a:gd name="connsiteY132" fmla="*/ 720482 h 1808065"/>
                    <a:gd name="connsiteX133" fmla="*/ 418519 w 1119958"/>
                    <a:gd name="connsiteY133" fmla="*/ 713341 h 1808065"/>
                    <a:gd name="connsiteX134" fmla="*/ 427247 w 1119958"/>
                    <a:gd name="connsiteY134" fmla="*/ 706994 h 1808065"/>
                    <a:gd name="connsiteX135" fmla="*/ 445497 w 1119958"/>
                    <a:gd name="connsiteY135" fmla="*/ 695091 h 1808065"/>
                    <a:gd name="connsiteX136" fmla="*/ 484378 w 1119958"/>
                    <a:gd name="connsiteY136" fmla="*/ 678428 h 1808065"/>
                    <a:gd name="connsiteX137" fmla="*/ 525640 w 1119958"/>
                    <a:gd name="connsiteY137" fmla="*/ 670494 h 1808065"/>
                    <a:gd name="connsiteX138" fmla="*/ 496281 w 1119958"/>
                    <a:gd name="connsiteY138" fmla="*/ 630819 h 1808065"/>
                    <a:gd name="connsiteX139" fmla="*/ 476443 w 1119958"/>
                    <a:gd name="connsiteY139" fmla="*/ 571307 h 1808065"/>
                    <a:gd name="connsiteX140" fmla="*/ 471682 w 1119958"/>
                    <a:gd name="connsiteY140" fmla="*/ 507829 h 1808065"/>
                    <a:gd name="connsiteX141" fmla="*/ 472476 w 1119958"/>
                    <a:gd name="connsiteY141" fmla="*/ 491960 h 1808065"/>
                    <a:gd name="connsiteX142" fmla="*/ 474063 w 1119958"/>
                    <a:gd name="connsiteY142" fmla="*/ 476090 h 1808065"/>
                    <a:gd name="connsiteX143" fmla="*/ 476443 w 1119958"/>
                    <a:gd name="connsiteY143" fmla="*/ 445937 h 1808065"/>
                    <a:gd name="connsiteX144" fmla="*/ 476443 w 1119958"/>
                    <a:gd name="connsiteY144" fmla="*/ 431655 h 1808065"/>
                    <a:gd name="connsiteX145" fmla="*/ 474856 w 1119958"/>
                    <a:gd name="connsiteY145" fmla="*/ 417372 h 1808065"/>
                    <a:gd name="connsiteX146" fmla="*/ 472476 w 1119958"/>
                    <a:gd name="connsiteY146" fmla="*/ 403883 h 1808065"/>
                    <a:gd name="connsiteX147" fmla="*/ 470889 w 1119958"/>
                    <a:gd name="connsiteY147" fmla="*/ 397535 h 1808065"/>
                    <a:gd name="connsiteX148" fmla="*/ 468508 w 1119958"/>
                    <a:gd name="connsiteY148" fmla="*/ 391187 h 1808065"/>
                    <a:gd name="connsiteX149" fmla="*/ 435181 w 1119958"/>
                    <a:gd name="connsiteY149" fmla="*/ 350719 h 1808065"/>
                    <a:gd name="connsiteX150" fmla="*/ 428834 w 1119958"/>
                    <a:gd name="connsiteY150" fmla="*/ 347545 h 1808065"/>
                    <a:gd name="connsiteX151" fmla="*/ 422486 w 1119958"/>
                    <a:gd name="connsiteY151" fmla="*/ 344372 h 1808065"/>
                    <a:gd name="connsiteX152" fmla="*/ 409791 w 1119958"/>
                    <a:gd name="connsiteY152" fmla="*/ 340404 h 1808065"/>
                    <a:gd name="connsiteX153" fmla="*/ 396301 w 1119958"/>
                    <a:gd name="connsiteY153" fmla="*/ 337231 h 1808065"/>
                    <a:gd name="connsiteX154" fmla="*/ 389160 w 1119958"/>
                    <a:gd name="connsiteY154" fmla="*/ 336437 h 1808065"/>
                    <a:gd name="connsiteX155" fmla="*/ 382018 w 1119958"/>
                    <a:gd name="connsiteY155" fmla="*/ 335644 h 1808065"/>
                    <a:gd name="connsiteX156" fmla="*/ 330442 w 1119958"/>
                    <a:gd name="connsiteY156" fmla="*/ 337231 h 1808065"/>
                    <a:gd name="connsiteX157" fmla="*/ 253474 w 1119958"/>
                    <a:gd name="connsiteY157" fmla="*/ 355480 h 1808065"/>
                    <a:gd name="connsiteX158" fmla="*/ 232843 w 1119958"/>
                    <a:gd name="connsiteY158" fmla="*/ 362622 h 1808065"/>
                    <a:gd name="connsiteX159" fmla="*/ 225702 w 1119958"/>
                    <a:gd name="connsiteY159" fmla="*/ 365796 h 1808065"/>
                    <a:gd name="connsiteX160" fmla="*/ 223322 w 1119958"/>
                    <a:gd name="connsiteY160" fmla="*/ 361035 h 1808065"/>
                    <a:gd name="connsiteX161" fmla="*/ 251094 w 1119958"/>
                    <a:gd name="connsiteY161" fmla="*/ 348339 h 1808065"/>
                    <a:gd name="connsiteX162" fmla="*/ 328855 w 1119958"/>
                    <a:gd name="connsiteY162" fmla="*/ 323741 h 1808065"/>
                    <a:gd name="connsiteX163" fmla="*/ 384399 w 1119958"/>
                    <a:gd name="connsiteY163" fmla="*/ 317393 h 1808065"/>
                    <a:gd name="connsiteX164" fmla="*/ 392333 w 1119958"/>
                    <a:gd name="connsiteY164" fmla="*/ 317393 h 1808065"/>
                    <a:gd name="connsiteX165" fmla="*/ 400268 w 1119958"/>
                    <a:gd name="connsiteY165" fmla="*/ 318187 h 1808065"/>
                    <a:gd name="connsiteX166" fmla="*/ 416138 w 1119958"/>
                    <a:gd name="connsiteY166" fmla="*/ 320567 h 1808065"/>
                    <a:gd name="connsiteX167" fmla="*/ 432007 w 1119958"/>
                    <a:gd name="connsiteY167" fmla="*/ 324534 h 1808065"/>
                    <a:gd name="connsiteX168" fmla="*/ 439943 w 1119958"/>
                    <a:gd name="connsiteY168" fmla="*/ 327708 h 1808065"/>
                    <a:gd name="connsiteX169" fmla="*/ 447878 w 1119958"/>
                    <a:gd name="connsiteY169" fmla="*/ 330883 h 1808065"/>
                    <a:gd name="connsiteX170" fmla="*/ 496281 w 1119958"/>
                    <a:gd name="connsiteY170" fmla="*/ 380078 h 1808065"/>
                    <a:gd name="connsiteX171" fmla="*/ 499454 w 1119958"/>
                    <a:gd name="connsiteY171" fmla="*/ 388013 h 1808065"/>
                    <a:gd name="connsiteX172" fmla="*/ 502628 w 1119958"/>
                    <a:gd name="connsiteY172" fmla="*/ 395948 h 1808065"/>
                    <a:gd name="connsiteX173" fmla="*/ 507389 w 1119958"/>
                    <a:gd name="connsiteY173" fmla="*/ 412611 h 1808065"/>
                    <a:gd name="connsiteX174" fmla="*/ 510563 w 1119958"/>
                    <a:gd name="connsiteY174" fmla="*/ 429275 h 1808065"/>
                    <a:gd name="connsiteX175" fmla="*/ 512150 w 1119958"/>
                    <a:gd name="connsiteY175" fmla="*/ 446731 h 1808065"/>
                    <a:gd name="connsiteX176" fmla="*/ 512150 w 1119958"/>
                    <a:gd name="connsiteY176" fmla="*/ 454666 h 1808065"/>
                    <a:gd name="connsiteX177" fmla="*/ 512150 w 1119958"/>
                    <a:gd name="connsiteY177" fmla="*/ 462601 h 1808065"/>
                    <a:gd name="connsiteX178" fmla="*/ 512150 w 1119958"/>
                    <a:gd name="connsiteY178" fmla="*/ 470535 h 1808065"/>
                    <a:gd name="connsiteX179" fmla="*/ 512150 w 1119958"/>
                    <a:gd name="connsiteY179" fmla="*/ 478470 h 1808065"/>
                    <a:gd name="connsiteX180" fmla="*/ 512150 w 1119958"/>
                    <a:gd name="connsiteY180" fmla="*/ 493547 h 1808065"/>
                    <a:gd name="connsiteX181" fmla="*/ 512943 w 1119958"/>
                    <a:gd name="connsiteY181" fmla="*/ 508622 h 1808065"/>
                    <a:gd name="connsiteX182" fmla="*/ 521671 w 1119958"/>
                    <a:gd name="connsiteY182" fmla="*/ 564166 h 1808065"/>
                    <a:gd name="connsiteX183" fmla="*/ 541509 w 1119958"/>
                    <a:gd name="connsiteY183" fmla="*/ 610189 h 1808065"/>
                    <a:gd name="connsiteX184" fmla="*/ 570074 w 1119958"/>
                    <a:gd name="connsiteY184" fmla="*/ 641135 h 1808065"/>
                    <a:gd name="connsiteX185" fmla="*/ 629586 w 1119958"/>
                    <a:gd name="connsiteY185" fmla="*/ 661765 h 1808065"/>
                    <a:gd name="connsiteX186" fmla="*/ 640694 w 1119958"/>
                    <a:gd name="connsiteY186" fmla="*/ 662558 h 1808065"/>
                    <a:gd name="connsiteX187" fmla="*/ 638314 w 1119958"/>
                    <a:gd name="connsiteY187" fmla="*/ 637166 h 1808065"/>
                    <a:gd name="connsiteX188" fmla="*/ 651803 w 1119958"/>
                    <a:gd name="connsiteY188" fmla="*/ 554645 h 1808065"/>
                    <a:gd name="connsiteX189" fmla="*/ 681161 w 1119958"/>
                    <a:gd name="connsiteY189" fmla="*/ 512590 h 1808065"/>
                    <a:gd name="connsiteX190" fmla="*/ 726390 w 1119958"/>
                    <a:gd name="connsiteY190" fmla="*/ 481644 h 1808065"/>
                    <a:gd name="connsiteX191" fmla="*/ 778760 w 1119958"/>
                    <a:gd name="connsiteY191" fmla="*/ 464188 h 1808065"/>
                    <a:gd name="connsiteX192" fmla="*/ 805738 w 1119958"/>
                    <a:gd name="connsiteY192" fmla="*/ 459427 h 1808065"/>
                    <a:gd name="connsiteX193" fmla="*/ 831130 w 1119958"/>
                    <a:gd name="connsiteY193" fmla="*/ 456253 h 1808065"/>
                    <a:gd name="connsiteX194" fmla="*/ 878739 w 1119958"/>
                    <a:gd name="connsiteY194" fmla="*/ 445937 h 1808065"/>
                    <a:gd name="connsiteX195" fmla="*/ 926348 w 1119958"/>
                    <a:gd name="connsiteY195" fmla="*/ 429275 h 1808065"/>
                    <a:gd name="connsiteX196" fmla="*/ 1011251 w 1119958"/>
                    <a:gd name="connsiteY196" fmla="*/ 375317 h 1808065"/>
                    <a:gd name="connsiteX197" fmla="*/ 1071556 w 1119958"/>
                    <a:gd name="connsiteY197" fmla="*/ 296762 h 1808065"/>
                    <a:gd name="connsiteX198" fmla="*/ 1096947 w 1119958"/>
                    <a:gd name="connsiteY198" fmla="*/ 205513 h 1808065"/>
                    <a:gd name="connsiteX199" fmla="*/ 1084251 w 1119958"/>
                    <a:gd name="connsiteY199" fmla="*/ 118229 h 1808065"/>
                    <a:gd name="connsiteX200" fmla="*/ 1039023 w 1119958"/>
                    <a:gd name="connsiteY200" fmla="*/ 51577 h 1808065"/>
                    <a:gd name="connsiteX201" fmla="*/ 977131 w 1119958"/>
                    <a:gd name="connsiteY201" fmla="*/ 17456 h 1808065"/>
                    <a:gd name="connsiteX202" fmla="*/ 921587 w 1119958"/>
                    <a:gd name="connsiteY202" fmla="*/ 7935 h 1808065"/>
                    <a:gd name="connsiteX203" fmla="*/ 900164 w 1119958"/>
                    <a:gd name="connsiteY203" fmla="*/ 7935 h 1808065"/>
                    <a:gd name="connsiteX204" fmla="*/ 884294 w 1119958"/>
                    <a:gd name="connsiteY204" fmla="*/ 8728 h 1808065"/>
                    <a:gd name="connsiteX205" fmla="*/ 871598 w 1119958"/>
                    <a:gd name="connsiteY205" fmla="*/ 10315 h 1808065"/>
                    <a:gd name="connsiteX206" fmla="*/ 870805 w 1119958"/>
                    <a:gd name="connsiteY206" fmla="*/ 4761 h 1808065"/>
                    <a:gd name="connsiteX207" fmla="*/ 884294 w 1119958"/>
                    <a:gd name="connsiteY207" fmla="*/ 2380 h 1808065"/>
                    <a:gd name="connsiteX208" fmla="*/ 900164 w 1119958"/>
                    <a:gd name="connsiteY208" fmla="*/ 794 h 1808065"/>
                    <a:gd name="connsiteX209" fmla="*/ 922380 w 1119958"/>
                    <a:gd name="connsiteY209" fmla="*/ 0 h 18080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Lst>
                  <a:rect l="l" t="t" r="r" b="b"/>
                  <a:pathLst>
                    <a:path w="1119958" h="1808065">
                      <a:moveTo>
                        <a:pt x="922380" y="0"/>
                      </a:moveTo>
                      <a:cubicBezTo>
                        <a:pt x="938251" y="0"/>
                        <a:pt x="958881" y="1587"/>
                        <a:pt x="981098" y="7141"/>
                      </a:cubicBezTo>
                      <a:cubicBezTo>
                        <a:pt x="1003316" y="13489"/>
                        <a:pt x="1027914" y="23805"/>
                        <a:pt x="1050131" y="41261"/>
                      </a:cubicBezTo>
                      <a:cubicBezTo>
                        <a:pt x="1072349" y="58718"/>
                        <a:pt x="1091393" y="83316"/>
                        <a:pt x="1100915" y="110295"/>
                      </a:cubicBezTo>
                      <a:cubicBezTo>
                        <a:pt x="1113610" y="138859"/>
                        <a:pt x="1119958" y="171392"/>
                        <a:pt x="1119958" y="205513"/>
                      </a:cubicBezTo>
                      <a:cubicBezTo>
                        <a:pt x="1119165" y="239632"/>
                        <a:pt x="1112023" y="274545"/>
                        <a:pt x="1097741" y="307872"/>
                      </a:cubicBezTo>
                      <a:cubicBezTo>
                        <a:pt x="1083458" y="341198"/>
                        <a:pt x="1062828" y="372937"/>
                        <a:pt x="1035849" y="399916"/>
                      </a:cubicBezTo>
                      <a:cubicBezTo>
                        <a:pt x="1008870" y="426894"/>
                        <a:pt x="977131" y="449904"/>
                        <a:pt x="943011" y="466568"/>
                      </a:cubicBezTo>
                      <a:cubicBezTo>
                        <a:pt x="925554" y="475296"/>
                        <a:pt x="908098" y="483231"/>
                        <a:pt x="890641" y="488786"/>
                      </a:cubicBezTo>
                      <a:cubicBezTo>
                        <a:pt x="872392" y="495134"/>
                        <a:pt x="854935" y="499894"/>
                        <a:pt x="836685" y="503862"/>
                      </a:cubicBezTo>
                      <a:cubicBezTo>
                        <a:pt x="827956" y="505448"/>
                        <a:pt x="820021" y="507035"/>
                        <a:pt x="811293" y="508622"/>
                      </a:cubicBezTo>
                      <a:cubicBezTo>
                        <a:pt x="803358" y="510209"/>
                        <a:pt x="796217" y="512590"/>
                        <a:pt x="789076" y="514176"/>
                      </a:cubicBezTo>
                      <a:cubicBezTo>
                        <a:pt x="774792" y="518938"/>
                        <a:pt x="761304" y="523699"/>
                        <a:pt x="750195" y="530047"/>
                      </a:cubicBezTo>
                      <a:cubicBezTo>
                        <a:pt x="739086" y="535601"/>
                        <a:pt x="729564" y="543535"/>
                        <a:pt x="722423" y="551471"/>
                      </a:cubicBezTo>
                      <a:cubicBezTo>
                        <a:pt x="715281" y="559406"/>
                        <a:pt x="709728" y="568134"/>
                        <a:pt x="706553" y="577655"/>
                      </a:cubicBezTo>
                      <a:cubicBezTo>
                        <a:pt x="699412" y="596699"/>
                        <a:pt x="699412" y="616537"/>
                        <a:pt x="701792" y="633993"/>
                      </a:cubicBezTo>
                      <a:cubicBezTo>
                        <a:pt x="704172" y="651450"/>
                        <a:pt x="708933" y="667319"/>
                        <a:pt x="713695" y="680015"/>
                      </a:cubicBezTo>
                      <a:cubicBezTo>
                        <a:pt x="715281" y="685569"/>
                        <a:pt x="717662" y="690330"/>
                        <a:pt x="719249" y="694297"/>
                      </a:cubicBezTo>
                      <a:cubicBezTo>
                        <a:pt x="721630" y="696678"/>
                        <a:pt x="725597" y="699852"/>
                        <a:pt x="728771" y="703025"/>
                      </a:cubicBezTo>
                      <a:cubicBezTo>
                        <a:pt x="737499" y="710961"/>
                        <a:pt x="747815" y="720482"/>
                        <a:pt x="758130" y="731591"/>
                      </a:cubicBezTo>
                      <a:cubicBezTo>
                        <a:pt x="779554" y="753809"/>
                        <a:pt x="804151" y="783168"/>
                        <a:pt x="827163" y="821255"/>
                      </a:cubicBezTo>
                      <a:cubicBezTo>
                        <a:pt x="850967" y="859343"/>
                        <a:pt x="870805" y="906951"/>
                        <a:pt x="881120" y="961702"/>
                      </a:cubicBezTo>
                      <a:cubicBezTo>
                        <a:pt x="885880" y="988680"/>
                        <a:pt x="889054" y="1018039"/>
                        <a:pt x="887467" y="1047398"/>
                      </a:cubicBezTo>
                      <a:cubicBezTo>
                        <a:pt x="887467" y="1061680"/>
                        <a:pt x="885880" y="1076757"/>
                        <a:pt x="884294" y="1091833"/>
                      </a:cubicBezTo>
                      <a:cubicBezTo>
                        <a:pt x="883500" y="1098974"/>
                        <a:pt x="881913" y="1106115"/>
                        <a:pt x="881120" y="1114050"/>
                      </a:cubicBezTo>
                      <a:cubicBezTo>
                        <a:pt x="880326" y="1121191"/>
                        <a:pt x="878739" y="1129126"/>
                        <a:pt x="877152" y="1136268"/>
                      </a:cubicBezTo>
                      <a:cubicBezTo>
                        <a:pt x="864457" y="1196572"/>
                        <a:pt x="840652" y="1256083"/>
                        <a:pt x="811293" y="1313214"/>
                      </a:cubicBezTo>
                      <a:cubicBezTo>
                        <a:pt x="781934" y="1370345"/>
                        <a:pt x="745434" y="1425096"/>
                        <a:pt x="705759" y="1478258"/>
                      </a:cubicBezTo>
                      <a:cubicBezTo>
                        <a:pt x="696238" y="1490955"/>
                        <a:pt x="685923" y="1503650"/>
                        <a:pt x="675607" y="1517140"/>
                      </a:cubicBezTo>
                      <a:cubicBezTo>
                        <a:pt x="665292" y="1529835"/>
                        <a:pt x="654184" y="1542530"/>
                        <a:pt x="643868" y="1555227"/>
                      </a:cubicBezTo>
                      <a:cubicBezTo>
                        <a:pt x="633553" y="1568716"/>
                        <a:pt x="622444" y="1580618"/>
                        <a:pt x="611335" y="1593314"/>
                      </a:cubicBezTo>
                      <a:lnTo>
                        <a:pt x="594672" y="1612358"/>
                      </a:lnTo>
                      <a:cubicBezTo>
                        <a:pt x="589118" y="1617912"/>
                        <a:pt x="582769" y="1624259"/>
                        <a:pt x="577215" y="1630607"/>
                      </a:cubicBezTo>
                      <a:lnTo>
                        <a:pt x="559759" y="1648858"/>
                      </a:lnTo>
                      <a:lnTo>
                        <a:pt x="551030" y="1658379"/>
                      </a:lnTo>
                      <a:lnTo>
                        <a:pt x="547063" y="1663140"/>
                      </a:lnTo>
                      <a:lnTo>
                        <a:pt x="543096" y="1667107"/>
                      </a:lnTo>
                      <a:cubicBezTo>
                        <a:pt x="531987" y="1678217"/>
                        <a:pt x="520878" y="1690118"/>
                        <a:pt x="509769" y="1701227"/>
                      </a:cubicBezTo>
                      <a:lnTo>
                        <a:pt x="501835" y="1709956"/>
                      </a:lnTo>
                      <a:lnTo>
                        <a:pt x="501041" y="1710749"/>
                      </a:lnTo>
                      <a:cubicBezTo>
                        <a:pt x="498661" y="1713130"/>
                        <a:pt x="500248" y="1711543"/>
                        <a:pt x="499454" y="1712336"/>
                      </a:cubicBezTo>
                      <a:lnTo>
                        <a:pt x="498661" y="1713130"/>
                      </a:lnTo>
                      <a:lnTo>
                        <a:pt x="497074" y="1714717"/>
                      </a:lnTo>
                      <a:lnTo>
                        <a:pt x="493106" y="1718684"/>
                      </a:lnTo>
                      <a:lnTo>
                        <a:pt x="478030" y="1734554"/>
                      </a:lnTo>
                      <a:lnTo>
                        <a:pt x="456000" y="1758419"/>
                      </a:lnTo>
                      <a:lnTo>
                        <a:pt x="445881" y="1755278"/>
                      </a:lnTo>
                      <a:cubicBezTo>
                        <a:pt x="412343" y="1748415"/>
                        <a:pt x="377617" y="1744811"/>
                        <a:pt x="342050" y="1744811"/>
                      </a:cubicBezTo>
                      <a:cubicBezTo>
                        <a:pt x="270916" y="1744811"/>
                        <a:pt x="203148" y="1759228"/>
                        <a:pt x="141510" y="1785298"/>
                      </a:cubicBezTo>
                      <a:lnTo>
                        <a:pt x="99566" y="1808065"/>
                      </a:lnTo>
                      <a:lnTo>
                        <a:pt x="110647" y="1788510"/>
                      </a:lnTo>
                      <a:lnTo>
                        <a:pt x="117788" y="1776608"/>
                      </a:lnTo>
                      <a:cubicBezTo>
                        <a:pt x="120963" y="1772641"/>
                        <a:pt x="123343" y="1769467"/>
                        <a:pt x="125724" y="1765500"/>
                      </a:cubicBezTo>
                      <a:cubicBezTo>
                        <a:pt x="165397" y="1705989"/>
                        <a:pt x="213006" y="1653618"/>
                        <a:pt x="263789" y="1606803"/>
                      </a:cubicBezTo>
                      <a:cubicBezTo>
                        <a:pt x="276484" y="1594107"/>
                        <a:pt x="289974" y="1582999"/>
                        <a:pt x="302670" y="1571889"/>
                      </a:cubicBezTo>
                      <a:cubicBezTo>
                        <a:pt x="309017" y="1566335"/>
                        <a:pt x="316160" y="1560781"/>
                        <a:pt x="322507" y="1555227"/>
                      </a:cubicBezTo>
                      <a:lnTo>
                        <a:pt x="327268" y="1551259"/>
                      </a:lnTo>
                      <a:lnTo>
                        <a:pt x="329648" y="1548879"/>
                      </a:lnTo>
                      <a:lnTo>
                        <a:pt x="331235" y="1548086"/>
                      </a:lnTo>
                      <a:lnTo>
                        <a:pt x="340757" y="1540150"/>
                      </a:lnTo>
                      <a:cubicBezTo>
                        <a:pt x="352660" y="1529835"/>
                        <a:pt x="365355" y="1519520"/>
                        <a:pt x="377258" y="1509205"/>
                      </a:cubicBezTo>
                      <a:lnTo>
                        <a:pt x="382018" y="1505237"/>
                      </a:lnTo>
                      <a:lnTo>
                        <a:pt x="385986" y="1501270"/>
                      </a:lnTo>
                      <a:lnTo>
                        <a:pt x="394714" y="1494128"/>
                      </a:lnTo>
                      <a:lnTo>
                        <a:pt x="411377" y="1479846"/>
                      </a:lnTo>
                      <a:cubicBezTo>
                        <a:pt x="416932" y="1474291"/>
                        <a:pt x="422486" y="1469530"/>
                        <a:pt x="428040" y="1464770"/>
                      </a:cubicBezTo>
                      <a:lnTo>
                        <a:pt x="444704" y="1449694"/>
                      </a:lnTo>
                      <a:cubicBezTo>
                        <a:pt x="455019" y="1439378"/>
                        <a:pt x="466920" y="1429063"/>
                        <a:pt x="477236" y="1418748"/>
                      </a:cubicBezTo>
                      <a:cubicBezTo>
                        <a:pt x="487551" y="1408432"/>
                        <a:pt x="498661" y="1398117"/>
                        <a:pt x="508976" y="1387801"/>
                      </a:cubicBezTo>
                      <a:cubicBezTo>
                        <a:pt x="518497" y="1377486"/>
                        <a:pt x="528813" y="1366378"/>
                        <a:pt x="539128" y="1356062"/>
                      </a:cubicBezTo>
                      <a:cubicBezTo>
                        <a:pt x="578009" y="1313214"/>
                        <a:pt x="613715" y="1269573"/>
                        <a:pt x="643074" y="1225931"/>
                      </a:cubicBezTo>
                      <a:cubicBezTo>
                        <a:pt x="672433" y="1182290"/>
                        <a:pt x="694651" y="1137854"/>
                        <a:pt x="708933" y="1095800"/>
                      </a:cubicBezTo>
                      <a:cubicBezTo>
                        <a:pt x="711314" y="1090246"/>
                        <a:pt x="712108" y="1085485"/>
                        <a:pt x="713695" y="1079931"/>
                      </a:cubicBezTo>
                      <a:cubicBezTo>
                        <a:pt x="714488" y="1074375"/>
                        <a:pt x="716075" y="1068821"/>
                        <a:pt x="717662" y="1064061"/>
                      </a:cubicBezTo>
                      <a:cubicBezTo>
                        <a:pt x="719249" y="1053746"/>
                        <a:pt x="722423" y="1044223"/>
                        <a:pt x="723217" y="1033908"/>
                      </a:cubicBezTo>
                      <a:cubicBezTo>
                        <a:pt x="726390" y="1014072"/>
                        <a:pt x="726390" y="995028"/>
                        <a:pt x="725597" y="976777"/>
                      </a:cubicBezTo>
                      <a:cubicBezTo>
                        <a:pt x="723217" y="940277"/>
                        <a:pt x="713695" y="906951"/>
                        <a:pt x="700205" y="878385"/>
                      </a:cubicBezTo>
                      <a:cubicBezTo>
                        <a:pt x="686716" y="849820"/>
                        <a:pt x="670846" y="825223"/>
                        <a:pt x="655771" y="806179"/>
                      </a:cubicBezTo>
                      <a:cubicBezTo>
                        <a:pt x="648630" y="796657"/>
                        <a:pt x="641487" y="787928"/>
                        <a:pt x="635140" y="780787"/>
                      </a:cubicBezTo>
                      <a:cubicBezTo>
                        <a:pt x="628792" y="773646"/>
                        <a:pt x="623238" y="767298"/>
                        <a:pt x="618476" y="762537"/>
                      </a:cubicBezTo>
                      <a:cubicBezTo>
                        <a:pt x="614509" y="757776"/>
                        <a:pt x="610541" y="753809"/>
                        <a:pt x="608161" y="751428"/>
                      </a:cubicBezTo>
                      <a:cubicBezTo>
                        <a:pt x="603400" y="749048"/>
                        <a:pt x="597053" y="745874"/>
                        <a:pt x="588325" y="742700"/>
                      </a:cubicBezTo>
                      <a:cubicBezTo>
                        <a:pt x="578009" y="738733"/>
                        <a:pt x="565313" y="735559"/>
                        <a:pt x="550237" y="733179"/>
                      </a:cubicBezTo>
                      <a:cubicBezTo>
                        <a:pt x="535954" y="731591"/>
                        <a:pt x="518497" y="731591"/>
                        <a:pt x="501041" y="735559"/>
                      </a:cubicBezTo>
                      <a:cubicBezTo>
                        <a:pt x="492312" y="737940"/>
                        <a:pt x="482791" y="740320"/>
                        <a:pt x="474063" y="745081"/>
                      </a:cubicBezTo>
                      <a:cubicBezTo>
                        <a:pt x="469302" y="746668"/>
                        <a:pt x="465335" y="749841"/>
                        <a:pt x="460573" y="752222"/>
                      </a:cubicBezTo>
                      <a:cubicBezTo>
                        <a:pt x="458986" y="753809"/>
                        <a:pt x="456606" y="755396"/>
                        <a:pt x="454225" y="756982"/>
                      </a:cubicBezTo>
                      <a:cubicBezTo>
                        <a:pt x="452638" y="758569"/>
                        <a:pt x="450258" y="760156"/>
                        <a:pt x="447878" y="761743"/>
                      </a:cubicBezTo>
                      <a:cubicBezTo>
                        <a:pt x="430422" y="774440"/>
                        <a:pt x="413758" y="792689"/>
                        <a:pt x="398681" y="813320"/>
                      </a:cubicBezTo>
                      <a:cubicBezTo>
                        <a:pt x="395507" y="818081"/>
                        <a:pt x="392333" y="823635"/>
                        <a:pt x="388366" y="829190"/>
                      </a:cubicBezTo>
                      <a:lnTo>
                        <a:pt x="387573" y="830777"/>
                      </a:lnTo>
                      <a:lnTo>
                        <a:pt x="387573" y="831571"/>
                      </a:lnTo>
                      <a:lnTo>
                        <a:pt x="386779" y="832364"/>
                      </a:lnTo>
                      <a:lnTo>
                        <a:pt x="385192" y="834744"/>
                      </a:lnTo>
                      <a:lnTo>
                        <a:pt x="382018" y="838712"/>
                      </a:lnTo>
                      <a:lnTo>
                        <a:pt x="375671" y="847440"/>
                      </a:lnTo>
                      <a:cubicBezTo>
                        <a:pt x="370910" y="853787"/>
                        <a:pt x="365355" y="860136"/>
                        <a:pt x="359801" y="866484"/>
                      </a:cubicBezTo>
                      <a:lnTo>
                        <a:pt x="351073" y="875212"/>
                      </a:lnTo>
                      <a:lnTo>
                        <a:pt x="346312" y="879179"/>
                      </a:lnTo>
                      <a:lnTo>
                        <a:pt x="341551" y="883146"/>
                      </a:lnTo>
                      <a:lnTo>
                        <a:pt x="332029" y="891082"/>
                      </a:lnTo>
                      <a:cubicBezTo>
                        <a:pt x="328855" y="893462"/>
                        <a:pt x="324888" y="895843"/>
                        <a:pt x="321714" y="898223"/>
                      </a:cubicBezTo>
                      <a:cubicBezTo>
                        <a:pt x="315366" y="902984"/>
                        <a:pt x="307431" y="906157"/>
                        <a:pt x="299496" y="910125"/>
                      </a:cubicBezTo>
                      <a:cubicBezTo>
                        <a:pt x="284420" y="916472"/>
                        <a:pt x="267756" y="922028"/>
                        <a:pt x="250300" y="924408"/>
                      </a:cubicBezTo>
                      <a:cubicBezTo>
                        <a:pt x="216181" y="929962"/>
                        <a:pt x="182060" y="924408"/>
                        <a:pt x="151114" y="913299"/>
                      </a:cubicBezTo>
                      <a:cubicBezTo>
                        <a:pt x="120963" y="901397"/>
                        <a:pt x="94778" y="883940"/>
                        <a:pt x="73353" y="863310"/>
                      </a:cubicBezTo>
                      <a:cubicBezTo>
                        <a:pt x="51929" y="842679"/>
                        <a:pt x="36060" y="819668"/>
                        <a:pt x="24950" y="795863"/>
                      </a:cubicBezTo>
                      <a:cubicBezTo>
                        <a:pt x="13842" y="772059"/>
                        <a:pt x="7494" y="748254"/>
                        <a:pt x="3527" y="726830"/>
                      </a:cubicBezTo>
                      <a:cubicBezTo>
                        <a:pt x="2733" y="721276"/>
                        <a:pt x="1940" y="716515"/>
                        <a:pt x="1147" y="710961"/>
                      </a:cubicBezTo>
                      <a:cubicBezTo>
                        <a:pt x="1147" y="706200"/>
                        <a:pt x="353" y="700645"/>
                        <a:pt x="353" y="695884"/>
                      </a:cubicBezTo>
                      <a:cubicBezTo>
                        <a:pt x="-440" y="685569"/>
                        <a:pt x="353" y="676048"/>
                        <a:pt x="353" y="667319"/>
                      </a:cubicBezTo>
                      <a:cubicBezTo>
                        <a:pt x="1147" y="649863"/>
                        <a:pt x="2733" y="634786"/>
                        <a:pt x="5114" y="622091"/>
                      </a:cubicBezTo>
                      <a:cubicBezTo>
                        <a:pt x="6701" y="609395"/>
                        <a:pt x="9875" y="599873"/>
                        <a:pt x="11462" y="593525"/>
                      </a:cubicBezTo>
                      <a:cubicBezTo>
                        <a:pt x="13048" y="586384"/>
                        <a:pt x="13842" y="583210"/>
                        <a:pt x="13842" y="583210"/>
                      </a:cubicBezTo>
                      <a:lnTo>
                        <a:pt x="19396" y="584797"/>
                      </a:lnTo>
                      <a:cubicBezTo>
                        <a:pt x="19396" y="584797"/>
                        <a:pt x="18603" y="588765"/>
                        <a:pt x="17809" y="595112"/>
                      </a:cubicBezTo>
                      <a:cubicBezTo>
                        <a:pt x="17016" y="601460"/>
                        <a:pt x="14635" y="610982"/>
                        <a:pt x="13842" y="623678"/>
                      </a:cubicBezTo>
                      <a:cubicBezTo>
                        <a:pt x="12255" y="635579"/>
                        <a:pt x="11462" y="650656"/>
                        <a:pt x="12255" y="668112"/>
                      </a:cubicBezTo>
                      <a:cubicBezTo>
                        <a:pt x="13048" y="676841"/>
                        <a:pt x="13048" y="685569"/>
                        <a:pt x="14635" y="695091"/>
                      </a:cubicBezTo>
                      <a:cubicBezTo>
                        <a:pt x="15429" y="699852"/>
                        <a:pt x="16222" y="704613"/>
                        <a:pt x="17016" y="709374"/>
                      </a:cubicBezTo>
                      <a:cubicBezTo>
                        <a:pt x="17809" y="714135"/>
                        <a:pt x="19396" y="719689"/>
                        <a:pt x="20190" y="724450"/>
                      </a:cubicBezTo>
                      <a:cubicBezTo>
                        <a:pt x="24950" y="745081"/>
                        <a:pt x="32886" y="766504"/>
                        <a:pt x="44788" y="787135"/>
                      </a:cubicBezTo>
                      <a:cubicBezTo>
                        <a:pt x="56690" y="807766"/>
                        <a:pt x="72560" y="828397"/>
                        <a:pt x="92397" y="845059"/>
                      </a:cubicBezTo>
                      <a:cubicBezTo>
                        <a:pt x="112234" y="862516"/>
                        <a:pt x="136038" y="876005"/>
                        <a:pt x="162224" y="883940"/>
                      </a:cubicBezTo>
                      <a:cubicBezTo>
                        <a:pt x="188409" y="891875"/>
                        <a:pt x="216181" y="894256"/>
                        <a:pt x="242365" y="887907"/>
                      </a:cubicBezTo>
                      <a:cubicBezTo>
                        <a:pt x="268550" y="883146"/>
                        <a:pt x="291561" y="869657"/>
                        <a:pt x="309812" y="852200"/>
                      </a:cubicBezTo>
                      <a:lnTo>
                        <a:pt x="312986" y="849027"/>
                      </a:lnTo>
                      <a:lnTo>
                        <a:pt x="316160" y="845059"/>
                      </a:lnTo>
                      <a:lnTo>
                        <a:pt x="322507" y="837918"/>
                      </a:lnTo>
                      <a:cubicBezTo>
                        <a:pt x="326474" y="833157"/>
                        <a:pt x="328855" y="828397"/>
                        <a:pt x="332822" y="823635"/>
                      </a:cubicBezTo>
                      <a:cubicBezTo>
                        <a:pt x="336789" y="818081"/>
                        <a:pt x="339963" y="812527"/>
                        <a:pt x="343138" y="806972"/>
                      </a:cubicBezTo>
                      <a:cubicBezTo>
                        <a:pt x="347105" y="800625"/>
                        <a:pt x="350279" y="794276"/>
                        <a:pt x="354246" y="787928"/>
                      </a:cubicBezTo>
                      <a:cubicBezTo>
                        <a:pt x="369322" y="763330"/>
                        <a:pt x="387573" y="739526"/>
                        <a:pt x="409791" y="720482"/>
                      </a:cubicBezTo>
                      <a:cubicBezTo>
                        <a:pt x="412964" y="718102"/>
                        <a:pt x="415345" y="715722"/>
                        <a:pt x="418519" y="713341"/>
                      </a:cubicBezTo>
                      <a:cubicBezTo>
                        <a:pt x="421692" y="711754"/>
                        <a:pt x="424073" y="709374"/>
                        <a:pt x="427247" y="706994"/>
                      </a:cubicBezTo>
                      <a:cubicBezTo>
                        <a:pt x="433595" y="703025"/>
                        <a:pt x="439150" y="698265"/>
                        <a:pt x="445497" y="695091"/>
                      </a:cubicBezTo>
                      <a:cubicBezTo>
                        <a:pt x="458192" y="687950"/>
                        <a:pt x="471682" y="682396"/>
                        <a:pt x="484378" y="678428"/>
                      </a:cubicBezTo>
                      <a:cubicBezTo>
                        <a:pt x="498661" y="674461"/>
                        <a:pt x="512150" y="672080"/>
                        <a:pt x="525640" y="670494"/>
                      </a:cubicBezTo>
                      <a:cubicBezTo>
                        <a:pt x="514530" y="659384"/>
                        <a:pt x="504215" y="645895"/>
                        <a:pt x="496281" y="630819"/>
                      </a:cubicBezTo>
                      <a:cubicBezTo>
                        <a:pt x="486758" y="612569"/>
                        <a:pt x="480410" y="591938"/>
                        <a:pt x="476443" y="571307"/>
                      </a:cubicBezTo>
                      <a:cubicBezTo>
                        <a:pt x="472476" y="550678"/>
                        <a:pt x="470889" y="529253"/>
                        <a:pt x="471682" y="507829"/>
                      </a:cubicBezTo>
                      <a:cubicBezTo>
                        <a:pt x="471682" y="503068"/>
                        <a:pt x="472476" y="497514"/>
                        <a:pt x="472476" y="491960"/>
                      </a:cubicBezTo>
                      <a:cubicBezTo>
                        <a:pt x="473269" y="486406"/>
                        <a:pt x="473269" y="481644"/>
                        <a:pt x="474063" y="476090"/>
                      </a:cubicBezTo>
                      <a:cubicBezTo>
                        <a:pt x="474856" y="466568"/>
                        <a:pt x="476443" y="455460"/>
                        <a:pt x="476443" y="445937"/>
                      </a:cubicBezTo>
                      <a:lnTo>
                        <a:pt x="476443" y="431655"/>
                      </a:lnTo>
                      <a:cubicBezTo>
                        <a:pt x="475650" y="426894"/>
                        <a:pt x="475650" y="422132"/>
                        <a:pt x="474856" y="417372"/>
                      </a:cubicBezTo>
                      <a:cubicBezTo>
                        <a:pt x="474856" y="412611"/>
                        <a:pt x="473269" y="408644"/>
                        <a:pt x="472476" y="403883"/>
                      </a:cubicBezTo>
                      <a:cubicBezTo>
                        <a:pt x="472476" y="401503"/>
                        <a:pt x="471682" y="399916"/>
                        <a:pt x="470889" y="397535"/>
                      </a:cubicBezTo>
                      <a:lnTo>
                        <a:pt x="468508" y="391187"/>
                      </a:lnTo>
                      <a:cubicBezTo>
                        <a:pt x="462161" y="373731"/>
                        <a:pt x="450258" y="360242"/>
                        <a:pt x="435181" y="350719"/>
                      </a:cubicBezTo>
                      <a:cubicBezTo>
                        <a:pt x="432801" y="349132"/>
                        <a:pt x="431214" y="348339"/>
                        <a:pt x="428834" y="347545"/>
                      </a:cubicBezTo>
                      <a:lnTo>
                        <a:pt x="422486" y="344372"/>
                      </a:lnTo>
                      <a:cubicBezTo>
                        <a:pt x="418519" y="343578"/>
                        <a:pt x="414551" y="341198"/>
                        <a:pt x="409791" y="340404"/>
                      </a:cubicBezTo>
                      <a:cubicBezTo>
                        <a:pt x="405030" y="338817"/>
                        <a:pt x="401061" y="338024"/>
                        <a:pt x="396301" y="337231"/>
                      </a:cubicBezTo>
                      <a:cubicBezTo>
                        <a:pt x="393920" y="337231"/>
                        <a:pt x="391540" y="336437"/>
                        <a:pt x="389160" y="336437"/>
                      </a:cubicBezTo>
                      <a:cubicBezTo>
                        <a:pt x="386779" y="335644"/>
                        <a:pt x="384399" y="335644"/>
                        <a:pt x="382018" y="335644"/>
                      </a:cubicBezTo>
                      <a:cubicBezTo>
                        <a:pt x="364561" y="334057"/>
                        <a:pt x="346312" y="334850"/>
                        <a:pt x="330442" y="337231"/>
                      </a:cubicBezTo>
                      <a:cubicBezTo>
                        <a:pt x="297909" y="341991"/>
                        <a:pt x="271724" y="349926"/>
                        <a:pt x="253474" y="355480"/>
                      </a:cubicBezTo>
                      <a:cubicBezTo>
                        <a:pt x="244745" y="358654"/>
                        <a:pt x="237604" y="361035"/>
                        <a:pt x="232843" y="362622"/>
                      </a:cubicBezTo>
                      <a:cubicBezTo>
                        <a:pt x="228083" y="365003"/>
                        <a:pt x="225702" y="365796"/>
                        <a:pt x="225702" y="365796"/>
                      </a:cubicBezTo>
                      <a:lnTo>
                        <a:pt x="223322" y="361035"/>
                      </a:lnTo>
                      <a:cubicBezTo>
                        <a:pt x="223322" y="361035"/>
                        <a:pt x="232843" y="355480"/>
                        <a:pt x="251094" y="348339"/>
                      </a:cubicBezTo>
                      <a:cubicBezTo>
                        <a:pt x="269343" y="340404"/>
                        <a:pt x="295529" y="330883"/>
                        <a:pt x="328855" y="323741"/>
                      </a:cubicBezTo>
                      <a:cubicBezTo>
                        <a:pt x="345518" y="319773"/>
                        <a:pt x="364561" y="317393"/>
                        <a:pt x="384399" y="317393"/>
                      </a:cubicBezTo>
                      <a:cubicBezTo>
                        <a:pt x="387573" y="317393"/>
                        <a:pt x="389953" y="317393"/>
                        <a:pt x="392333" y="317393"/>
                      </a:cubicBezTo>
                      <a:cubicBezTo>
                        <a:pt x="394714" y="318187"/>
                        <a:pt x="397888" y="318187"/>
                        <a:pt x="400268" y="318187"/>
                      </a:cubicBezTo>
                      <a:cubicBezTo>
                        <a:pt x="405823" y="318980"/>
                        <a:pt x="410584" y="319773"/>
                        <a:pt x="416138" y="320567"/>
                      </a:cubicBezTo>
                      <a:cubicBezTo>
                        <a:pt x="420899" y="321360"/>
                        <a:pt x="426453" y="322947"/>
                        <a:pt x="432007" y="324534"/>
                      </a:cubicBezTo>
                      <a:cubicBezTo>
                        <a:pt x="434389" y="325328"/>
                        <a:pt x="437563" y="326915"/>
                        <a:pt x="439943" y="327708"/>
                      </a:cubicBezTo>
                      <a:cubicBezTo>
                        <a:pt x="442323" y="328503"/>
                        <a:pt x="445497" y="329296"/>
                        <a:pt x="447878" y="330883"/>
                      </a:cubicBezTo>
                      <a:cubicBezTo>
                        <a:pt x="468508" y="341198"/>
                        <a:pt x="486758" y="358654"/>
                        <a:pt x="496281" y="380078"/>
                      </a:cubicBezTo>
                      <a:lnTo>
                        <a:pt x="499454" y="388013"/>
                      </a:lnTo>
                      <a:cubicBezTo>
                        <a:pt x="501041" y="390393"/>
                        <a:pt x="501835" y="393567"/>
                        <a:pt x="502628" y="395948"/>
                      </a:cubicBezTo>
                      <a:cubicBezTo>
                        <a:pt x="504215" y="401503"/>
                        <a:pt x="506595" y="407057"/>
                        <a:pt x="507389" y="412611"/>
                      </a:cubicBezTo>
                      <a:cubicBezTo>
                        <a:pt x="508976" y="418165"/>
                        <a:pt x="509769" y="423720"/>
                        <a:pt x="510563" y="429275"/>
                      </a:cubicBezTo>
                      <a:lnTo>
                        <a:pt x="512150" y="446731"/>
                      </a:lnTo>
                      <a:cubicBezTo>
                        <a:pt x="512150" y="449904"/>
                        <a:pt x="512150" y="452286"/>
                        <a:pt x="512150" y="454666"/>
                      </a:cubicBezTo>
                      <a:lnTo>
                        <a:pt x="512150" y="462601"/>
                      </a:lnTo>
                      <a:lnTo>
                        <a:pt x="512150" y="470535"/>
                      </a:lnTo>
                      <a:lnTo>
                        <a:pt x="512150" y="478470"/>
                      </a:lnTo>
                      <a:cubicBezTo>
                        <a:pt x="512150" y="483231"/>
                        <a:pt x="512150" y="488786"/>
                        <a:pt x="512150" y="493547"/>
                      </a:cubicBezTo>
                      <a:cubicBezTo>
                        <a:pt x="512150" y="499101"/>
                        <a:pt x="512943" y="503862"/>
                        <a:pt x="512943" y="508622"/>
                      </a:cubicBezTo>
                      <a:cubicBezTo>
                        <a:pt x="514530" y="527666"/>
                        <a:pt x="516910" y="546710"/>
                        <a:pt x="521671" y="564166"/>
                      </a:cubicBezTo>
                      <a:cubicBezTo>
                        <a:pt x="526432" y="581623"/>
                        <a:pt x="532781" y="597493"/>
                        <a:pt x="541509" y="610189"/>
                      </a:cubicBezTo>
                      <a:cubicBezTo>
                        <a:pt x="549443" y="622884"/>
                        <a:pt x="559759" y="633199"/>
                        <a:pt x="570074" y="641135"/>
                      </a:cubicBezTo>
                      <a:cubicBezTo>
                        <a:pt x="591498" y="656210"/>
                        <a:pt x="613715" y="660178"/>
                        <a:pt x="629586" y="661765"/>
                      </a:cubicBezTo>
                      <a:cubicBezTo>
                        <a:pt x="633553" y="662558"/>
                        <a:pt x="637520" y="662558"/>
                        <a:pt x="640694" y="662558"/>
                      </a:cubicBezTo>
                      <a:cubicBezTo>
                        <a:pt x="639900" y="654623"/>
                        <a:pt x="639107" y="645895"/>
                        <a:pt x="638314" y="637166"/>
                      </a:cubicBezTo>
                      <a:cubicBezTo>
                        <a:pt x="636727" y="613363"/>
                        <a:pt x="638314" y="584797"/>
                        <a:pt x="651803" y="554645"/>
                      </a:cubicBezTo>
                      <a:cubicBezTo>
                        <a:pt x="658151" y="539568"/>
                        <a:pt x="668466" y="525286"/>
                        <a:pt x="681161" y="512590"/>
                      </a:cubicBezTo>
                      <a:cubicBezTo>
                        <a:pt x="693858" y="499894"/>
                        <a:pt x="709728" y="489579"/>
                        <a:pt x="726390" y="481644"/>
                      </a:cubicBezTo>
                      <a:cubicBezTo>
                        <a:pt x="743053" y="473709"/>
                        <a:pt x="760510" y="468155"/>
                        <a:pt x="778760" y="464188"/>
                      </a:cubicBezTo>
                      <a:cubicBezTo>
                        <a:pt x="787489" y="461807"/>
                        <a:pt x="797010" y="460220"/>
                        <a:pt x="805738" y="459427"/>
                      </a:cubicBezTo>
                      <a:cubicBezTo>
                        <a:pt x="814467" y="458634"/>
                        <a:pt x="823195" y="457840"/>
                        <a:pt x="831130" y="456253"/>
                      </a:cubicBezTo>
                      <a:cubicBezTo>
                        <a:pt x="846207" y="453872"/>
                        <a:pt x="862869" y="450698"/>
                        <a:pt x="878739" y="445937"/>
                      </a:cubicBezTo>
                      <a:cubicBezTo>
                        <a:pt x="895402" y="441970"/>
                        <a:pt x="910479" y="435622"/>
                        <a:pt x="926348" y="429275"/>
                      </a:cubicBezTo>
                      <a:cubicBezTo>
                        <a:pt x="957294" y="415785"/>
                        <a:pt x="986653" y="398329"/>
                        <a:pt x="1011251" y="375317"/>
                      </a:cubicBezTo>
                      <a:cubicBezTo>
                        <a:pt x="1036643" y="353100"/>
                        <a:pt x="1057274" y="326121"/>
                        <a:pt x="1071556" y="296762"/>
                      </a:cubicBezTo>
                      <a:cubicBezTo>
                        <a:pt x="1085838" y="267403"/>
                        <a:pt x="1094567" y="236458"/>
                        <a:pt x="1096947" y="205513"/>
                      </a:cubicBezTo>
                      <a:cubicBezTo>
                        <a:pt x="1098534" y="175359"/>
                        <a:pt x="1094567" y="145208"/>
                        <a:pt x="1084251" y="118229"/>
                      </a:cubicBezTo>
                      <a:cubicBezTo>
                        <a:pt x="1074730" y="91251"/>
                        <a:pt x="1058066" y="68239"/>
                        <a:pt x="1039023" y="51577"/>
                      </a:cubicBezTo>
                      <a:cubicBezTo>
                        <a:pt x="1019979" y="34913"/>
                        <a:pt x="997762" y="23805"/>
                        <a:pt x="977131" y="17456"/>
                      </a:cubicBezTo>
                      <a:cubicBezTo>
                        <a:pt x="956500" y="11108"/>
                        <a:pt x="937457" y="8728"/>
                        <a:pt x="921587" y="7935"/>
                      </a:cubicBezTo>
                      <a:cubicBezTo>
                        <a:pt x="913652" y="7935"/>
                        <a:pt x="906511" y="7935"/>
                        <a:pt x="900164" y="7935"/>
                      </a:cubicBezTo>
                      <a:cubicBezTo>
                        <a:pt x="893815" y="7935"/>
                        <a:pt x="888261" y="8728"/>
                        <a:pt x="884294" y="8728"/>
                      </a:cubicBezTo>
                      <a:cubicBezTo>
                        <a:pt x="876359" y="9522"/>
                        <a:pt x="871598" y="10315"/>
                        <a:pt x="871598" y="10315"/>
                      </a:cubicBezTo>
                      <a:lnTo>
                        <a:pt x="870805" y="4761"/>
                      </a:lnTo>
                      <a:cubicBezTo>
                        <a:pt x="870805" y="4761"/>
                        <a:pt x="875566" y="3967"/>
                        <a:pt x="884294" y="2380"/>
                      </a:cubicBezTo>
                      <a:cubicBezTo>
                        <a:pt x="888261" y="1587"/>
                        <a:pt x="893815" y="1587"/>
                        <a:pt x="900164" y="794"/>
                      </a:cubicBezTo>
                      <a:cubicBezTo>
                        <a:pt x="906511" y="794"/>
                        <a:pt x="914446" y="0"/>
                        <a:pt x="922380" y="0"/>
                      </a:cubicBezTo>
                      <a:close/>
                    </a:path>
                  </a:pathLst>
                </a:custGeom>
                <a:solidFill>
                  <a:schemeClr val="tx1">
                    <a:lumMod val="75000"/>
                    <a:lumOff val="25000"/>
                  </a:schemeClr>
                </a:solidFill>
                <a:ln w="7280" cap="flat">
                  <a:noFill/>
                  <a:prstDash val="solid"/>
                  <a:miter/>
                </a:ln>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6" name="Freeform: Shape 19">
                  <a:extLst>
                    <a:ext uri="{FF2B5EF4-FFF2-40B4-BE49-F238E27FC236}">
                      <a16:creationId xmlns:a16="http://schemas.microsoft.com/office/drawing/2014/main" id="{8C1CF059-A8AB-421A-9407-486B92ED6AA9}"/>
                    </a:ext>
                  </a:extLst>
                </p:cNvPr>
                <p:cNvSpPr/>
                <p:nvPr/>
              </p:nvSpPr>
              <p:spPr>
                <a:xfrm>
                  <a:off x="9782128" y="2815897"/>
                  <a:ext cx="261849" cy="174567"/>
                </a:xfrm>
                <a:custGeom>
                  <a:avLst/>
                  <a:gdLst>
                    <a:gd name="connsiteX0" fmla="*/ 243889 w 240248"/>
                    <a:gd name="connsiteY0" fmla="*/ 149922 h 160165"/>
                    <a:gd name="connsiteX1" fmla="*/ 0 w 240248"/>
                    <a:gd name="connsiteY1" fmla="*/ 14510 h 160165"/>
                    <a:gd name="connsiteX2" fmla="*/ 243889 w 240248"/>
                    <a:gd name="connsiteY2" fmla="*/ 149922 h 160165"/>
                  </a:gdLst>
                  <a:ahLst/>
                  <a:cxnLst>
                    <a:cxn ang="0">
                      <a:pos x="connsiteX0" y="connsiteY0"/>
                    </a:cxn>
                    <a:cxn ang="0">
                      <a:pos x="connsiteX1" y="connsiteY1"/>
                    </a:cxn>
                    <a:cxn ang="0">
                      <a:pos x="connsiteX2" y="connsiteY2"/>
                    </a:cxn>
                  </a:cxnLst>
                  <a:rect l="l" t="t" r="r" b="b"/>
                  <a:pathLst>
                    <a:path w="240248" h="160165">
                      <a:moveTo>
                        <a:pt x="243889" y="149922"/>
                      </a:moveTo>
                      <a:cubicBezTo>
                        <a:pt x="243889" y="149922"/>
                        <a:pt x="244616" y="-55381"/>
                        <a:pt x="0" y="14510"/>
                      </a:cubicBezTo>
                      <a:cubicBezTo>
                        <a:pt x="0" y="14510"/>
                        <a:pt x="42953" y="216172"/>
                        <a:pt x="243889" y="149922"/>
                      </a:cubicBezTo>
                      <a:close/>
                    </a:path>
                  </a:pathLst>
                </a:custGeom>
                <a:solidFill>
                  <a:schemeClr val="accent2"/>
                </a:solidFill>
                <a:ln w="72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7" name="Freeform: Shape 20">
                  <a:extLst>
                    <a:ext uri="{FF2B5EF4-FFF2-40B4-BE49-F238E27FC236}">
                      <a16:creationId xmlns:a16="http://schemas.microsoft.com/office/drawing/2014/main" id="{B38ED0F6-9906-4CBE-A084-A8840466B712}"/>
                    </a:ext>
                  </a:extLst>
                </p:cNvPr>
                <p:cNvSpPr/>
                <p:nvPr/>
              </p:nvSpPr>
              <p:spPr>
                <a:xfrm>
                  <a:off x="9138613" y="2755179"/>
                  <a:ext cx="253914" cy="134892"/>
                </a:xfrm>
                <a:custGeom>
                  <a:avLst/>
                  <a:gdLst>
                    <a:gd name="connsiteX0" fmla="*/ 238792 w 232968"/>
                    <a:gd name="connsiteY0" fmla="*/ 74587 h 123764"/>
                    <a:gd name="connsiteX1" fmla="*/ 0 w 232968"/>
                    <a:gd name="connsiteY1" fmla="*/ 61482 h 123764"/>
                    <a:gd name="connsiteX2" fmla="*/ 238792 w 232968"/>
                    <a:gd name="connsiteY2" fmla="*/ 74587 h 123764"/>
                  </a:gdLst>
                  <a:ahLst/>
                  <a:cxnLst>
                    <a:cxn ang="0">
                      <a:pos x="connsiteX0" y="connsiteY0"/>
                    </a:cxn>
                    <a:cxn ang="0">
                      <a:pos x="connsiteX1" y="connsiteY1"/>
                    </a:cxn>
                    <a:cxn ang="0">
                      <a:pos x="connsiteX2" y="connsiteY2"/>
                    </a:cxn>
                  </a:cxnLst>
                  <a:rect l="l" t="t" r="r" b="b"/>
                  <a:pathLst>
                    <a:path w="232968" h="123764">
                      <a:moveTo>
                        <a:pt x="238792" y="74587"/>
                      </a:moveTo>
                      <a:cubicBezTo>
                        <a:pt x="238792" y="74587"/>
                        <a:pt x="162350" y="-84123"/>
                        <a:pt x="0" y="61482"/>
                      </a:cubicBezTo>
                      <a:cubicBezTo>
                        <a:pt x="0" y="61482"/>
                        <a:pt x="109204" y="200535"/>
                        <a:pt x="238792" y="74587"/>
                      </a:cubicBezTo>
                      <a:close/>
                    </a:path>
                  </a:pathLst>
                </a:custGeom>
                <a:solidFill>
                  <a:schemeClr val="accent2"/>
                </a:solidFill>
                <a:ln w="72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8" name="Freeform: Shape 21">
                  <a:extLst>
                    <a:ext uri="{FF2B5EF4-FFF2-40B4-BE49-F238E27FC236}">
                      <a16:creationId xmlns:a16="http://schemas.microsoft.com/office/drawing/2014/main" id="{05EAB2D4-79E0-4FA0-8C92-84157C319A5F}"/>
                    </a:ext>
                  </a:extLst>
                </p:cNvPr>
                <p:cNvSpPr/>
                <p:nvPr/>
              </p:nvSpPr>
              <p:spPr>
                <a:xfrm>
                  <a:off x="8821219" y="2755180"/>
                  <a:ext cx="253914" cy="134893"/>
                </a:xfrm>
                <a:custGeom>
                  <a:avLst/>
                  <a:gdLst>
                    <a:gd name="connsiteX0" fmla="*/ 238792 w 232968"/>
                    <a:gd name="connsiteY0" fmla="*/ 74587 h 123764"/>
                    <a:gd name="connsiteX1" fmla="*/ 0 w 232968"/>
                    <a:gd name="connsiteY1" fmla="*/ 61482 h 123764"/>
                    <a:gd name="connsiteX2" fmla="*/ 238792 w 232968"/>
                    <a:gd name="connsiteY2" fmla="*/ 74587 h 123764"/>
                  </a:gdLst>
                  <a:ahLst/>
                  <a:cxnLst>
                    <a:cxn ang="0">
                      <a:pos x="connsiteX0" y="connsiteY0"/>
                    </a:cxn>
                    <a:cxn ang="0">
                      <a:pos x="connsiteX1" y="connsiteY1"/>
                    </a:cxn>
                    <a:cxn ang="0">
                      <a:pos x="connsiteX2" y="connsiteY2"/>
                    </a:cxn>
                  </a:cxnLst>
                  <a:rect l="l" t="t" r="r" b="b"/>
                  <a:pathLst>
                    <a:path w="232968" h="123764">
                      <a:moveTo>
                        <a:pt x="238792" y="74587"/>
                      </a:moveTo>
                      <a:cubicBezTo>
                        <a:pt x="238792" y="74587"/>
                        <a:pt x="162350" y="-84123"/>
                        <a:pt x="0" y="61482"/>
                      </a:cubicBezTo>
                      <a:cubicBezTo>
                        <a:pt x="0" y="61482"/>
                        <a:pt x="109204" y="200535"/>
                        <a:pt x="238792" y="74587"/>
                      </a:cubicBezTo>
                      <a:close/>
                    </a:path>
                  </a:pathLst>
                </a:custGeom>
                <a:solidFill>
                  <a:schemeClr val="accent3"/>
                </a:solidFill>
                <a:ln w="72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9" name="Freeform: Shape 22">
                  <a:extLst>
                    <a:ext uri="{FF2B5EF4-FFF2-40B4-BE49-F238E27FC236}">
                      <a16:creationId xmlns:a16="http://schemas.microsoft.com/office/drawing/2014/main" id="{192B814C-48D6-44FE-8E77-659666B8391B}"/>
                    </a:ext>
                  </a:extLst>
                </p:cNvPr>
                <p:cNvSpPr/>
                <p:nvPr/>
              </p:nvSpPr>
              <p:spPr>
                <a:xfrm>
                  <a:off x="9221927" y="2593867"/>
                  <a:ext cx="174567" cy="158696"/>
                </a:xfrm>
                <a:custGeom>
                  <a:avLst/>
                  <a:gdLst>
                    <a:gd name="connsiteX0" fmla="*/ 163807 w 160165"/>
                    <a:gd name="connsiteY0" fmla="*/ 146877 h 145605"/>
                    <a:gd name="connsiteX1" fmla="*/ 1 w 160165"/>
                    <a:gd name="connsiteY1" fmla="*/ 544 h 145605"/>
                    <a:gd name="connsiteX2" fmla="*/ 163807 w 160165"/>
                    <a:gd name="connsiteY2" fmla="*/ 146877 h 145605"/>
                  </a:gdLst>
                  <a:ahLst/>
                  <a:cxnLst>
                    <a:cxn ang="0">
                      <a:pos x="connsiteX0" y="connsiteY0"/>
                    </a:cxn>
                    <a:cxn ang="0">
                      <a:pos x="connsiteX1" y="connsiteY1"/>
                    </a:cxn>
                    <a:cxn ang="0">
                      <a:pos x="connsiteX2" y="connsiteY2"/>
                    </a:cxn>
                  </a:cxnLst>
                  <a:rect l="l" t="t" r="r" b="b"/>
                  <a:pathLst>
                    <a:path w="160165" h="145605">
                      <a:moveTo>
                        <a:pt x="163807" y="146877"/>
                      </a:moveTo>
                      <a:cubicBezTo>
                        <a:pt x="163807" y="146877"/>
                        <a:pt x="199480" y="-10377"/>
                        <a:pt x="1" y="544"/>
                      </a:cubicBezTo>
                      <a:cubicBezTo>
                        <a:pt x="1" y="1272"/>
                        <a:pt x="-2183" y="163621"/>
                        <a:pt x="163807" y="146877"/>
                      </a:cubicBezTo>
                      <a:close/>
                    </a:path>
                  </a:pathLst>
                </a:custGeom>
                <a:solidFill>
                  <a:schemeClr val="accent3"/>
                </a:solidFill>
                <a:ln w="72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0" name="Freeform: Shape 23">
                  <a:extLst>
                    <a:ext uri="{FF2B5EF4-FFF2-40B4-BE49-F238E27FC236}">
                      <a16:creationId xmlns:a16="http://schemas.microsoft.com/office/drawing/2014/main" id="{6D54E487-5D69-48D3-A3DF-42CDDD23C62F}"/>
                    </a:ext>
                  </a:extLst>
                </p:cNvPr>
                <p:cNvSpPr/>
                <p:nvPr/>
              </p:nvSpPr>
              <p:spPr>
                <a:xfrm>
                  <a:off x="8968013" y="2450247"/>
                  <a:ext cx="174567" cy="158696"/>
                </a:xfrm>
                <a:custGeom>
                  <a:avLst/>
                  <a:gdLst>
                    <a:gd name="connsiteX0" fmla="*/ 163806 w 160165"/>
                    <a:gd name="connsiteY0" fmla="*/ 146876 h 145605"/>
                    <a:gd name="connsiteX1" fmla="*/ 0 w 160165"/>
                    <a:gd name="connsiteY1" fmla="*/ 544 h 145605"/>
                    <a:gd name="connsiteX2" fmla="*/ 163806 w 160165"/>
                    <a:gd name="connsiteY2" fmla="*/ 146876 h 145605"/>
                  </a:gdLst>
                  <a:ahLst/>
                  <a:cxnLst>
                    <a:cxn ang="0">
                      <a:pos x="connsiteX0" y="connsiteY0"/>
                    </a:cxn>
                    <a:cxn ang="0">
                      <a:pos x="connsiteX1" y="connsiteY1"/>
                    </a:cxn>
                    <a:cxn ang="0">
                      <a:pos x="connsiteX2" y="connsiteY2"/>
                    </a:cxn>
                  </a:cxnLst>
                  <a:rect l="l" t="t" r="r" b="b"/>
                  <a:pathLst>
                    <a:path w="160165" h="145605">
                      <a:moveTo>
                        <a:pt x="163806" y="146876"/>
                      </a:moveTo>
                      <a:cubicBezTo>
                        <a:pt x="163806" y="146876"/>
                        <a:pt x="199479" y="-10377"/>
                        <a:pt x="0" y="544"/>
                      </a:cubicBezTo>
                      <a:cubicBezTo>
                        <a:pt x="0" y="1271"/>
                        <a:pt x="-1455" y="163621"/>
                        <a:pt x="163806" y="146876"/>
                      </a:cubicBezTo>
                      <a:close/>
                    </a:path>
                  </a:pathLst>
                </a:custGeom>
                <a:solidFill>
                  <a:schemeClr val="accent3"/>
                </a:solidFill>
                <a:ln w="72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1" name="Freeform: Shape 24">
                  <a:extLst>
                    <a:ext uri="{FF2B5EF4-FFF2-40B4-BE49-F238E27FC236}">
                      <a16:creationId xmlns:a16="http://schemas.microsoft.com/office/drawing/2014/main" id="{F93FF056-72E6-4B87-9460-4B8CA7961DFB}"/>
                    </a:ext>
                  </a:extLst>
                </p:cNvPr>
                <p:cNvSpPr/>
                <p:nvPr/>
              </p:nvSpPr>
              <p:spPr>
                <a:xfrm>
                  <a:off x="9168766" y="2412953"/>
                  <a:ext cx="174567" cy="158696"/>
                </a:xfrm>
                <a:custGeom>
                  <a:avLst/>
                  <a:gdLst>
                    <a:gd name="connsiteX0" fmla="*/ 163806 w 160165"/>
                    <a:gd name="connsiteY0" fmla="*/ 146877 h 145605"/>
                    <a:gd name="connsiteX1" fmla="*/ 0 w 160165"/>
                    <a:gd name="connsiteY1" fmla="*/ 544 h 145605"/>
                    <a:gd name="connsiteX2" fmla="*/ 163806 w 160165"/>
                    <a:gd name="connsiteY2" fmla="*/ 146877 h 145605"/>
                  </a:gdLst>
                  <a:ahLst/>
                  <a:cxnLst>
                    <a:cxn ang="0">
                      <a:pos x="connsiteX0" y="connsiteY0"/>
                    </a:cxn>
                    <a:cxn ang="0">
                      <a:pos x="connsiteX1" y="connsiteY1"/>
                    </a:cxn>
                    <a:cxn ang="0">
                      <a:pos x="connsiteX2" y="connsiteY2"/>
                    </a:cxn>
                  </a:cxnLst>
                  <a:rect l="l" t="t" r="r" b="b"/>
                  <a:pathLst>
                    <a:path w="160165" h="145605">
                      <a:moveTo>
                        <a:pt x="163806" y="146877"/>
                      </a:moveTo>
                      <a:cubicBezTo>
                        <a:pt x="163806" y="146877"/>
                        <a:pt x="199479" y="-10377"/>
                        <a:pt x="0" y="544"/>
                      </a:cubicBezTo>
                      <a:cubicBezTo>
                        <a:pt x="0" y="1272"/>
                        <a:pt x="-1456" y="163621"/>
                        <a:pt x="163806" y="146877"/>
                      </a:cubicBezTo>
                      <a:close/>
                    </a:path>
                  </a:pathLst>
                </a:custGeom>
                <a:solidFill>
                  <a:schemeClr val="accent3"/>
                </a:solidFill>
                <a:ln w="72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2" name="Freeform: Shape 25">
                  <a:extLst>
                    <a:ext uri="{FF2B5EF4-FFF2-40B4-BE49-F238E27FC236}">
                      <a16:creationId xmlns:a16="http://schemas.microsoft.com/office/drawing/2014/main" id="{2EAEC758-370F-422D-A066-8D97E9340001}"/>
                    </a:ext>
                  </a:extLst>
                </p:cNvPr>
                <p:cNvSpPr/>
                <p:nvPr/>
              </p:nvSpPr>
              <p:spPr>
                <a:xfrm>
                  <a:off x="9216584" y="2258023"/>
                  <a:ext cx="142826" cy="158696"/>
                </a:xfrm>
                <a:custGeom>
                  <a:avLst/>
                  <a:gdLst>
                    <a:gd name="connsiteX0" fmla="*/ 124300 w 131044"/>
                    <a:gd name="connsiteY0" fmla="*/ 147789 h 145605"/>
                    <a:gd name="connsiteX1" fmla="*/ 1264 w 131044"/>
                    <a:gd name="connsiteY1" fmla="*/ 0 h 145605"/>
                    <a:gd name="connsiteX2" fmla="*/ 124300 w 131044"/>
                    <a:gd name="connsiteY2" fmla="*/ 147789 h 145605"/>
                  </a:gdLst>
                  <a:ahLst/>
                  <a:cxnLst>
                    <a:cxn ang="0">
                      <a:pos x="connsiteX0" y="connsiteY0"/>
                    </a:cxn>
                    <a:cxn ang="0">
                      <a:pos x="connsiteX1" y="connsiteY1"/>
                    </a:cxn>
                    <a:cxn ang="0">
                      <a:pos x="connsiteX2" y="connsiteY2"/>
                    </a:cxn>
                  </a:cxnLst>
                  <a:rect l="l" t="t" r="r" b="b"/>
                  <a:pathLst>
                    <a:path w="131044" h="145605">
                      <a:moveTo>
                        <a:pt x="124300" y="147789"/>
                      </a:moveTo>
                      <a:cubicBezTo>
                        <a:pt x="124300" y="147789"/>
                        <a:pt x="175990" y="16017"/>
                        <a:pt x="1264" y="0"/>
                      </a:cubicBezTo>
                      <a:cubicBezTo>
                        <a:pt x="1264" y="728"/>
                        <a:pt x="-21305" y="140509"/>
                        <a:pt x="124300" y="147789"/>
                      </a:cubicBezTo>
                      <a:close/>
                    </a:path>
                  </a:pathLst>
                </a:custGeom>
                <a:solidFill>
                  <a:schemeClr val="accent3"/>
                </a:solidFill>
                <a:ln w="72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3" name="Freeform: Shape 26">
                  <a:extLst>
                    <a:ext uri="{FF2B5EF4-FFF2-40B4-BE49-F238E27FC236}">
                      <a16:creationId xmlns:a16="http://schemas.microsoft.com/office/drawing/2014/main" id="{BBD9C8C3-3D45-406D-85B8-A5F027EFF1D8}"/>
                    </a:ext>
                  </a:extLst>
                </p:cNvPr>
                <p:cNvSpPr/>
                <p:nvPr/>
              </p:nvSpPr>
              <p:spPr>
                <a:xfrm>
                  <a:off x="9247320" y="2882988"/>
                  <a:ext cx="301524" cy="158696"/>
                </a:xfrm>
                <a:custGeom>
                  <a:avLst/>
                  <a:gdLst>
                    <a:gd name="connsiteX0" fmla="*/ 278106 w 276649"/>
                    <a:gd name="connsiteY0" fmla="*/ 86910 h 145605"/>
                    <a:gd name="connsiteX1" fmla="*/ 0 w 276649"/>
                    <a:gd name="connsiteY1" fmla="*/ 71622 h 145605"/>
                    <a:gd name="connsiteX2" fmla="*/ 278106 w 276649"/>
                    <a:gd name="connsiteY2" fmla="*/ 86910 h 145605"/>
                  </a:gdLst>
                  <a:ahLst/>
                  <a:cxnLst>
                    <a:cxn ang="0">
                      <a:pos x="connsiteX0" y="connsiteY0"/>
                    </a:cxn>
                    <a:cxn ang="0">
                      <a:pos x="connsiteX1" y="connsiteY1"/>
                    </a:cxn>
                    <a:cxn ang="0">
                      <a:pos x="connsiteX2" y="connsiteY2"/>
                    </a:cxn>
                  </a:cxnLst>
                  <a:rect l="l" t="t" r="r" b="b"/>
                  <a:pathLst>
                    <a:path w="276649" h="145605">
                      <a:moveTo>
                        <a:pt x="278106" y="86910"/>
                      </a:moveTo>
                      <a:cubicBezTo>
                        <a:pt x="278106" y="86910"/>
                        <a:pt x="188559" y="-98008"/>
                        <a:pt x="0" y="71622"/>
                      </a:cubicBezTo>
                      <a:cubicBezTo>
                        <a:pt x="0" y="71622"/>
                        <a:pt x="126676" y="233971"/>
                        <a:pt x="278106" y="86910"/>
                      </a:cubicBezTo>
                      <a:close/>
                    </a:path>
                  </a:pathLst>
                </a:custGeom>
                <a:solidFill>
                  <a:schemeClr val="accent2"/>
                </a:solidFill>
                <a:ln w="72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4" name="Freeform: Shape 27">
                  <a:extLst>
                    <a:ext uri="{FF2B5EF4-FFF2-40B4-BE49-F238E27FC236}">
                      <a16:creationId xmlns:a16="http://schemas.microsoft.com/office/drawing/2014/main" id="{DF98D302-E1D8-4956-A79D-2D72454F9FAC}"/>
                    </a:ext>
                  </a:extLst>
                </p:cNvPr>
                <p:cNvSpPr/>
                <p:nvPr/>
              </p:nvSpPr>
              <p:spPr>
                <a:xfrm>
                  <a:off x="9827082" y="3110223"/>
                  <a:ext cx="87283" cy="166631"/>
                </a:xfrm>
                <a:custGeom>
                  <a:avLst/>
                  <a:gdLst>
                    <a:gd name="connsiteX0" fmla="*/ 27917 w 80082"/>
                    <a:gd name="connsiteY0" fmla="*/ 157254 h 152885"/>
                    <a:gd name="connsiteX1" fmla="*/ 53398 w 80082"/>
                    <a:gd name="connsiteY1" fmla="*/ 0 h 152885"/>
                    <a:gd name="connsiteX2" fmla="*/ 27917 w 80082"/>
                    <a:gd name="connsiteY2" fmla="*/ 157254 h 152885"/>
                  </a:gdLst>
                  <a:ahLst/>
                  <a:cxnLst>
                    <a:cxn ang="0">
                      <a:pos x="connsiteX0" y="connsiteY0"/>
                    </a:cxn>
                    <a:cxn ang="0">
                      <a:pos x="connsiteX1" y="connsiteY1"/>
                    </a:cxn>
                    <a:cxn ang="0">
                      <a:pos x="connsiteX2" y="connsiteY2"/>
                    </a:cxn>
                  </a:cxnLst>
                  <a:rect l="l" t="t" r="r" b="b"/>
                  <a:pathLst>
                    <a:path w="80082" h="152885">
                      <a:moveTo>
                        <a:pt x="27917" y="157254"/>
                      </a:moveTo>
                      <a:cubicBezTo>
                        <a:pt x="27917" y="157254"/>
                        <a:pt x="138577" y="117940"/>
                        <a:pt x="53398" y="0"/>
                      </a:cubicBezTo>
                      <a:cubicBezTo>
                        <a:pt x="52670" y="0"/>
                        <a:pt x="-47069" y="61882"/>
                        <a:pt x="27917" y="157254"/>
                      </a:cubicBezTo>
                      <a:close/>
                    </a:path>
                  </a:pathLst>
                </a:custGeom>
                <a:solidFill>
                  <a:schemeClr val="accent1"/>
                </a:solidFill>
                <a:ln w="72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5" name="Freeform: Shape 28">
                  <a:extLst>
                    <a:ext uri="{FF2B5EF4-FFF2-40B4-BE49-F238E27FC236}">
                      <a16:creationId xmlns:a16="http://schemas.microsoft.com/office/drawing/2014/main" id="{92FA2248-29EA-4432-B741-3955F74C13CC}"/>
                    </a:ext>
                  </a:extLst>
                </p:cNvPr>
                <p:cNvSpPr/>
                <p:nvPr/>
              </p:nvSpPr>
              <p:spPr>
                <a:xfrm>
                  <a:off x="9798273" y="2974538"/>
                  <a:ext cx="71413" cy="134892"/>
                </a:xfrm>
                <a:custGeom>
                  <a:avLst/>
                  <a:gdLst>
                    <a:gd name="connsiteX0" fmla="*/ 23044 w 65522"/>
                    <a:gd name="connsiteY0" fmla="*/ 129588 h 123764"/>
                    <a:gd name="connsiteX1" fmla="*/ 44156 w 65522"/>
                    <a:gd name="connsiteY1" fmla="*/ 0 h 123764"/>
                    <a:gd name="connsiteX2" fmla="*/ 23044 w 65522"/>
                    <a:gd name="connsiteY2" fmla="*/ 129588 h 123764"/>
                  </a:gdLst>
                  <a:ahLst/>
                  <a:cxnLst>
                    <a:cxn ang="0">
                      <a:pos x="connsiteX0" y="connsiteY0"/>
                    </a:cxn>
                    <a:cxn ang="0">
                      <a:pos x="connsiteX1" y="connsiteY1"/>
                    </a:cxn>
                    <a:cxn ang="0">
                      <a:pos x="connsiteX2" y="connsiteY2"/>
                    </a:cxn>
                  </a:cxnLst>
                  <a:rect l="l" t="t" r="r" b="b"/>
                  <a:pathLst>
                    <a:path w="65522" h="123764">
                      <a:moveTo>
                        <a:pt x="23044" y="129588"/>
                      </a:moveTo>
                      <a:cubicBezTo>
                        <a:pt x="23044" y="129588"/>
                        <a:pt x="114047" y="96827"/>
                        <a:pt x="44156" y="0"/>
                      </a:cubicBezTo>
                      <a:cubicBezTo>
                        <a:pt x="43428" y="0"/>
                        <a:pt x="-38839" y="50962"/>
                        <a:pt x="23044" y="129588"/>
                      </a:cubicBezTo>
                      <a:close/>
                    </a:path>
                  </a:pathLst>
                </a:custGeom>
                <a:solidFill>
                  <a:schemeClr val="accent1"/>
                </a:solidFill>
                <a:ln w="72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6" name="Freeform: Shape 29">
                  <a:extLst>
                    <a:ext uri="{FF2B5EF4-FFF2-40B4-BE49-F238E27FC236}">
                      <a16:creationId xmlns:a16="http://schemas.microsoft.com/office/drawing/2014/main" id="{B8EA1996-EACD-44C1-94B6-67077C40038C}"/>
                    </a:ext>
                  </a:extLst>
                </p:cNvPr>
                <p:cNvSpPr/>
                <p:nvPr/>
              </p:nvSpPr>
              <p:spPr>
                <a:xfrm>
                  <a:off x="9961730" y="3004690"/>
                  <a:ext cx="71413" cy="134892"/>
                </a:xfrm>
                <a:custGeom>
                  <a:avLst/>
                  <a:gdLst>
                    <a:gd name="connsiteX0" fmla="*/ 23044 w 65522"/>
                    <a:gd name="connsiteY0" fmla="*/ 129588 h 123764"/>
                    <a:gd name="connsiteX1" fmla="*/ 44157 w 65522"/>
                    <a:gd name="connsiteY1" fmla="*/ 0 h 123764"/>
                    <a:gd name="connsiteX2" fmla="*/ 23044 w 65522"/>
                    <a:gd name="connsiteY2" fmla="*/ 129588 h 123764"/>
                  </a:gdLst>
                  <a:ahLst/>
                  <a:cxnLst>
                    <a:cxn ang="0">
                      <a:pos x="connsiteX0" y="connsiteY0"/>
                    </a:cxn>
                    <a:cxn ang="0">
                      <a:pos x="connsiteX1" y="connsiteY1"/>
                    </a:cxn>
                    <a:cxn ang="0">
                      <a:pos x="connsiteX2" y="connsiteY2"/>
                    </a:cxn>
                  </a:cxnLst>
                  <a:rect l="l" t="t" r="r" b="b"/>
                  <a:pathLst>
                    <a:path w="65522" h="123764">
                      <a:moveTo>
                        <a:pt x="23044" y="129588"/>
                      </a:moveTo>
                      <a:cubicBezTo>
                        <a:pt x="23044" y="129588"/>
                        <a:pt x="114047" y="96827"/>
                        <a:pt x="44157" y="0"/>
                      </a:cubicBezTo>
                      <a:cubicBezTo>
                        <a:pt x="43428" y="0"/>
                        <a:pt x="-38839" y="51690"/>
                        <a:pt x="23044" y="129588"/>
                      </a:cubicBezTo>
                      <a:close/>
                    </a:path>
                  </a:pathLst>
                </a:custGeom>
                <a:solidFill>
                  <a:schemeClr val="accent2"/>
                </a:solidFill>
                <a:ln w="72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7" name="Freeform: Shape 30">
                  <a:extLst>
                    <a:ext uri="{FF2B5EF4-FFF2-40B4-BE49-F238E27FC236}">
                      <a16:creationId xmlns:a16="http://schemas.microsoft.com/office/drawing/2014/main" id="{3F9CB911-98D2-41D5-9572-2A7501AF0609}"/>
                    </a:ext>
                  </a:extLst>
                </p:cNvPr>
                <p:cNvSpPr/>
                <p:nvPr/>
              </p:nvSpPr>
              <p:spPr>
                <a:xfrm>
                  <a:off x="10067635" y="2959461"/>
                  <a:ext cx="87283" cy="166631"/>
                </a:xfrm>
                <a:custGeom>
                  <a:avLst/>
                  <a:gdLst>
                    <a:gd name="connsiteX0" fmla="*/ 27799 w 80082"/>
                    <a:gd name="connsiteY0" fmla="*/ 157254 h 152885"/>
                    <a:gd name="connsiteX1" fmla="*/ 53280 w 80082"/>
                    <a:gd name="connsiteY1" fmla="*/ 0 h 152885"/>
                    <a:gd name="connsiteX2" fmla="*/ 27799 w 80082"/>
                    <a:gd name="connsiteY2" fmla="*/ 157254 h 152885"/>
                  </a:gdLst>
                  <a:ahLst/>
                  <a:cxnLst>
                    <a:cxn ang="0">
                      <a:pos x="connsiteX0" y="connsiteY0"/>
                    </a:cxn>
                    <a:cxn ang="0">
                      <a:pos x="connsiteX1" y="connsiteY1"/>
                    </a:cxn>
                    <a:cxn ang="0">
                      <a:pos x="connsiteX2" y="connsiteY2"/>
                    </a:cxn>
                  </a:cxnLst>
                  <a:rect l="l" t="t" r="r" b="b"/>
                  <a:pathLst>
                    <a:path w="80082" h="152885">
                      <a:moveTo>
                        <a:pt x="27799" y="157254"/>
                      </a:moveTo>
                      <a:cubicBezTo>
                        <a:pt x="27799" y="157254"/>
                        <a:pt x="138459" y="117940"/>
                        <a:pt x="53280" y="0"/>
                      </a:cubicBezTo>
                      <a:cubicBezTo>
                        <a:pt x="53280" y="0"/>
                        <a:pt x="-47187" y="61882"/>
                        <a:pt x="27799" y="157254"/>
                      </a:cubicBezTo>
                      <a:close/>
                    </a:path>
                  </a:pathLst>
                </a:custGeom>
                <a:solidFill>
                  <a:schemeClr val="accent2"/>
                </a:solidFill>
                <a:ln w="72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8" name="Freeform: Shape 31">
                  <a:extLst>
                    <a:ext uri="{FF2B5EF4-FFF2-40B4-BE49-F238E27FC236}">
                      <a16:creationId xmlns:a16="http://schemas.microsoft.com/office/drawing/2014/main" id="{69DA8302-68CD-4D46-BF0E-BB50E88A54CB}"/>
                    </a:ext>
                  </a:extLst>
                </p:cNvPr>
                <p:cNvSpPr/>
                <p:nvPr/>
              </p:nvSpPr>
              <p:spPr>
                <a:xfrm>
                  <a:off x="10005097" y="3254714"/>
                  <a:ext cx="150762" cy="103152"/>
                </a:xfrm>
                <a:custGeom>
                  <a:avLst/>
                  <a:gdLst>
                    <a:gd name="connsiteX0" fmla="*/ 0 w 138324"/>
                    <a:gd name="connsiteY0" fmla="*/ 79284 h 94643"/>
                    <a:gd name="connsiteX1" fmla="*/ 142693 w 138324"/>
                    <a:gd name="connsiteY1" fmla="*/ 8666 h 94643"/>
                    <a:gd name="connsiteX2" fmla="*/ 0 w 138324"/>
                    <a:gd name="connsiteY2" fmla="*/ 79284 h 94643"/>
                  </a:gdLst>
                  <a:ahLst/>
                  <a:cxnLst>
                    <a:cxn ang="0">
                      <a:pos x="connsiteX0" y="connsiteY0"/>
                    </a:cxn>
                    <a:cxn ang="0">
                      <a:pos x="connsiteX1" y="connsiteY1"/>
                    </a:cxn>
                    <a:cxn ang="0">
                      <a:pos x="connsiteX2" y="connsiteY2"/>
                    </a:cxn>
                  </a:cxnLst>
                  <a:rect l="l" t="t" r="r" b="b"/>
                  <a:pathLst>
                    <a:path w="138324" h="94643">
                      <a:moveTo>
                        <a:pt x="0" y="79284"/>
                      </a:moveTo>
                      <a:cubicBezTo>
                        <a:pt x="0" y="79284"/>
                        <a:pt x="96099" y="146263"/>
                        <a:pt x="142693" y="8666"/>
                      </a:cubicBezTo>
                      <a:cubicBezTo>
                        <a:pt x="142693" y="8666"/>
                        <a:pt x="33489" y="-36472"/>
                        <a:pt x="0" y="79284"/>
                      </a:cubicBezTo>
                      <a:close/>
                    </a:path>
                  </a:pathLst>
                </a:custGeom>
                <a:solidFill>
                  <a:schemeClr val="accent3"/>
                </a:solidFill>
                <a:ln w="72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9" name="Freeform: Shape 32">
                  <a:extLst>
                    <a:ext uri="{FF2B5EF4-FFF2-40B4-BE49-F238E27FC236}">
                      <a16:creationId xmlns:a16="http://schemas.microsoft.com/office/drawing/2014/main" id="{4D35DEE4-F740-4B5E-A392-02B327132556}"/>
                    </a:ext>
                  </a:extLst>
                </p:cNvPr>
                <p:cNvSpPr/>
                <p:nvPr/>
              </p:nvSpPr>
              <p:spPr>
                <a:xfrm>
                  <a:off x="10170141" y="3158133"/>
                  <a:ext cx="230110" cy="134892"/>
                </a:xfrm>
                <a:custGeom>
                  <a:avLst/>
                  <a:gdLst>
                    <a:gd name="connsiteX0" fmla="*/ 0 w 211127"/>
                    <a:gd name="connsiteY0" fmla="*/ 63062 h 123764"/>
                    <a:gd name="connsiteX1" fmla="*/ 211855 w 211127"/>
                    <a:gd name="connsiteY1" fmla="*/ 53598 h 123764"/>
                    <a:gd name="connsiteX2" fmla="*/ 0 w 211127"/>
                    <a:gd name="connsiteY2" fmla="*/ 63062 h 123764"/>
                  </a:gdLst>
                  <a:ahLst/>
                  <a:cxnLst>
                    <a:cxn ang="0">
                      <a:pos x="connsiteX0" y="connsiteY0"/>
                    </a:cxn>
                    <a:cxn ang="0">
                      <a:pos x="connsiteX1" y="connsiteY1"/>
                    </a:cxn>
                    <a:cxn ang="0">
                      <a:pos x="connsiteX2" y="connsiteY2"/>
                    </a:cxn>
                  </a:cxnLst>
                  <a:rect l="l" t="t" r="r" b="b"/>
                  <a:pathLst>
                    <a:path w="211127" h="123764">
                      <a:moveTo>
                        <a:pt x="0" y="63062"/>
                      </a:moveTo>
                      <a:cubicBezTo>
                        <a:pt x="0" y="63062"/>
                        <a:pt x="82267" y="211579"/>
                        <a:pt x="211855" y="53598"/>
                      </a:cubicBezTo>
                      <a:cubicBezTo>
                        <a:pt x="211855" y="53598"/>
                        <a:pt x="102651" y="-73079"/>
                        <a:pt x="0" y="63062"/>
                      </a:cubicBezTo>
                      <a:close/>
                    </a:path>
                  </a:pathLst>
                </a:custGeom>
                <a:solidFill>
                  <a:schemeClr val="accent3"/>
                </a:solidFill>
                <a:ln w="72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0" name="Freeform: Shape 33">
                  <a:extLst>
                    <a:ext uri="{FF2B5EF4-FFF2-40B4-BE49-F238E27FC236}">
                      <a16:creationId xmlns:a16="http://schemas.microsoft.com/office/drawing/2014/main" id="{425C17D0-797C-474F-8188-0F63BF87B9E3}"/>
                    </a:ext>
                  </a:extLst>
                </p:cNvPr>
                <p:cNvSpPr/>
                <p:nvPr/>
              </p:nvSpPr>
              <p:spPr>
                <a:xfrm>
                  <a:off x="10356610" y="3033808"/>
                  <a:ext cx="230109" cy="134893"/>
                </a:xfrm>
                <a:custGeom>
                  <a:avLst/>
                  <a:gdLst>
                    <a:gd name="connsiteX0" fmla="*/ 0 w 211127"/>
                    <a:gd name="connsiteY0" fmla="*/ 63559 h 123764"/>
                    <a:gd name="connsiteX1" fmla="*/ 211855 w 211127"/>
                    <a:gd name="connsiteY1" fmla="*/ 54095 h 123764"/>
                    <a:gd name="connsiteX2" fmla="*/ 0 w 211127"/>
                    <a:gd name="connsiteY2" fmla="*/ 63559 h 123764"/>
                  </a:gdLst>
                  <a:ahLst/>
                  <a:cxnLst>
                    <a:cxn ang="0">
                      <a:pos x="connsiteX0" y="connsiteY0"/>
                    </a:cxn>
                    <a:cxn ang="0">
                      <a:pos x="connsiteX1" y="connsiteY1"/>
                    </a:cxn>
                    <a:cxn ang="0">
                      <a:pos x="connsiteX2" y="connsiteY2"/>
                    </a:cxn>
                  </a:cxnLst>
                  <a:rect l="l" t="t" r="r" b="b"/>
                  <a:pathLst>
                    <a:path w="211127" h="123764">
                      <a:moveTo>
                        <a:pt x="0" y="63559"/>
                      </a:moveTo>
                      <a:cubicBezTo>
                        <a:pt x="0" y="63559"/>
                        <a:pt x="82267" y="212076"/>
                        <a:pt x="211855" y="54095"/>
                      </a:cubicBezTo>
                      <a:cubicBezTo>
                        <a:pt x="211855" y="53367"/>
                        <a:pt x="102651" y="-73310"/>
                        <a:pt x="0" y="63559"/>
                      </a:cubicBezTo>
                      <a:close/>
                    </a:path>
                  </a:pathLst>
                </a:custGeom>
                <a:solidFill>
                  <a:schemeClr val="accent3"/>
                </a:solidFill>
                <a:ln w="72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1" name="Freeform: Shape 34">
                  <a:extLst>
                    <a:ext uri="{FF2B5EF4-FFF2-40B4-BE49-F238E27FC236}">
                      <a16:creationId xmlns:a16="http://schemas.microsoft.com/office/drawing/2014/main" id="{EDCC6471-CF07-4FFC-A068-E683111124C7}"/>
                    </a:ext>
                  </a:extLst>
                </p:cNvPr>
                <p:cNvSpPr/>
                <p:nvPr/>
              </p:nvSpPr>
              <p:spPr>
                <a:xfrm>
                  <a:off x="10056076" y="2738873"/>
                  <a:ext cx="87283" cy="166631"/>
                </a:xfrm>
                <a:custGeom>
                  <a:avLst/>
                  <a:gdLst>
                    <a:gd name="connsiteX0" fmla="*/ 27485 w 80082"/>
                    <a:gd name="connsiteY0" fmla="*/ 157254 h 152885"/>
                    <a:gd name="connsiteX1" fmla="*/ 52965 w 80082"/>
                    <a:gd name="connsiteY1" fmla="*/ 0 h 152885"/>
                    <a:gd name="connsiteX2" fmla="*/ 27485 w 80082"/>
                    <a:gd name="connsiteY2" fmla="*/ 157254 h 152885"/>
                  </a:gdLst>
                  <a:ahLst/>
                  <a:cxnLst>
                    <a:cxn ang="0">
                      <a:pos x="connsiteX0" y="connsiteY0"/>
                    </a:cxn>
                    <a:cxn ang="0">
                      <a:pos x="connsiteX1" y="connsiteY1"/>
                    </a:cxn>
                    <a:cxn ang="0">
                      <a:pos x="connsiteX2" y="connsiteY2"/>
                    </a:cxn>
                  </a:cxnLst>
                  <a:rect l="l" t="t" r="r" b="b"/>
                  <a:pathLst>
                    <a:path w="80082" h="152885">
                      <a:moveTo>
                        <a:pt x="27485" y="157254"/>
                      </a:moveTo>
                      <a:cubicBezTo>
                        <a:pt x="27485" y="157254"/>
                        <a:pt x="138145" y="117940"/>
                        <a:pt x="52965" y="0"/>
                      </a:cubicBezTo>
                      <a:cubicBezTo>
                        <a:pt x="52965" y="0"/>
                        <a:pt x="-46774" y="61882"/>
                        <a:pt x="27485" y="157254"/>
                      </a:cubicBezTo>
                      <a:close/>
                    </a:path>
                  </a:pathLst>
                </a:custGeom>
                <a:solidFill>
                  <a:schemeClr val="accent2"/>
                </a:solidFill>
                <a:ln w="72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2" name="Freeform: Shape 35">
                  <a:extLst>
                    <a:ext uri="{FF2B5EF4-FFF2-40B4-BE49-F238E27FC236}">
                      <a16:creationId xmlns:a16="http://schemas.microsoft.com/office/drawing/2014/main" id="{C0A9E86A-C842-4B4B-8F50-7F95261179E2}"/>
                    </a:ext>
                  </a:extLst>
                </p:cNvPr>
                <p:cNvSpPr/>
                <p:nvPr/>
              </p:nvSpPr>
              <p:spPr>
                <a:xfrm>
                  <a:off x="9646402" y="2867417"/>
                  <a:ext cx="111088" cy="134892"/>
                </a:xfrm>
                <a:custGeom>
                  <a:avLst/>
                  <a:gdLst>
                    <a:gd name="connsiteX0" fmla="*/ 93953 w 101923"/>
                    <a:gd name="connsiteY0" fmla="*/ 130317 h 123764"/>
                    <a:gd name="connsiteX1" fmla="*/ 2950 w 101923"/>
                    <a:gd name="connsiteY1" fmla="*/ 0 h 123764"/>
                    <a:gd name="connsiteX2" fmla="*/ 93953 w 101923"/>
                    <a:gd name="connsiteY2" fmla="*/ 130317 h 123764"/>
                  </a:gdLst>
                  <a:ahLst/>
                  <a:cxnLst>
                    <a:cxn ang="0">
                      <a:pos x="connsiteX0" y="connsiteY0"/>
                    </a:cxn>
                    <a:cxn ang="0">
                      <a:pos x="connsiteX1" y="connsiteY1"/>
                    </a:cxn>
                    <a:cxn ang="0">
                      <a:pos x="connsiteX2" y="connsiteY2"/>
                    </a:cxn>
                  </a:cxnLst>
                  <a:rect l="l" t="t" r="r" b="b"/>
                  <a:pathLst>
                    <a:path w="101923" h="123764">
                      <a:moveTo>
                        <a:pt x="93953" y="130317"/>
                      </a:moveTo>
                      <a:cubicBezTo>
                        <a:pt x="93953" y="130317"/>
                        <a:pt x="145643" y="25481"/>
                        <a:pt x="2950" y="0"/>
                      </a:cubicBezTo>
                      <a:cubicBezTo>
                        <a:pt x="2950" y="0"/>
                        <a:pt x="-25443" y="114300"/>
                        <a:pt x="93953" y="130317"/>
                      </a:cubicBezTo>
                      <a:close/>
                    </a:path>
                  </a:pathLst>
                </a:custGeom>
                <a:solidFill>
                  <a:schemeClr val="accent1"/>
                </a:solidFill>
                <a:ln w="72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3" name="Freeform: Shape 36">
                  <a:extLst>
                    <a:ext uri="{FF2B5EF4-FFF2-40B4-BE49-F238E27FC236}">
                      <a16:creationId xmlns:a16="http://schemas.microsoft.com/office/drawing/2014/main" id="{9AC2AAFD-75A7-4F1F-BA21-AA46AB77F001}"/>
                    </a:ext>
                  </a:extLst>
                </p:cNvPr>
                <p:cNvSpPr/>
                <p:nvPr/>
              </p:nvSpPr>
              <p:spPr>
                <a:xfrm>
                  <a:off x="9043392" y="3065489"/>
                  <a:ext cx="301524" cy="158696"/>
                </a:xfrm>
                <a:custGeom>
                  <a:avLst/>
                  <a:gdLst>
                    <a:gd name="connsiteX0" fmla="*/ 278109 w 276649"/>
                    <a:gd name="connsiteY0" fmla="*/ 86910 h 145605"/>
                    <a:gd name="connsiteX1" fmla="*/ 3 w 276649"/>
                    <a:gd name="connsiteY1" fmla="*/ 71622 h 145605"/>
                    <a:gd name="connsiteX2" fmla="*/ 278109 w 276649"/>
                    <a:gd name="connsiteY2" fmla="*/ 86910 h 145605"/>
                  </a:gdLst>
                  <a:ahLst/>
                  <a:cxnLst>
                    <a:cxn ang="0">
                      <a:pos x="connsiteX0" y="connsiteY0"/>
                    </a:cxn>
                    <a:cxn ang="0">
                      <a:pos x="connsiteX1" y="connsiteY1"/>
                    </a:cxn>
                    <a:cxn ang="0">
                      <a:pos x="connsiteX2" y="connsiteY2"/>
                    </a:cxn>
                  </a:cxnLst>
                  <a:rect l="l" t="t" r="r" b="b"/>
                  <a:pathLst>
                    <a:path w="276649" h="145605">
                      <a:moveTo>
                        <a:pt x="278109" y="86910"/>
                      </a:moveTo>
                      <a:cubicBezTo>
                        <a:pt x="278109" y="86910"/>
                        <a:pt x="188562" y="-98008"/>
                        <a:pt x="3" y="71622"/>
                      </a:cubicBezTo>
                      <a:cubicBezTo>
                        <a:pt x="-725" y="71622"/>
                        <a:pt x="125952" y="233971"/>
                        <a:pt x="278109" y="86910"/>
                      </a:cubicBezTo>
                      <a:close/>
                    </a:path>
                  </a:pathLst>
                </a:custGeom>
                <a:solidFill>
                  <a:schemeClr val="accent3"/>
                </a:solidFill>
                <a:ln w="72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4" name="Freeform: Shape 37">
                  <a:extLst>
                    <a:ext uri="{FF2B5EF4-FFF2-40B4-BE49-F238E27FC236}">
                      <a16:creationId xmlns:a16="http://schemas.microsoft.com/office/drawing/2014/main" id="{6C770586-3385-4124-89BD-A4BDCFAE1544}"/>
                    </a:ext>
                  </a:extLst>
                </p:cNvPr>
                <p:cNvSpPr/>
                <p:nvPr/>
              </p:nvSpPr>
              <p:spPr>
                <a:xfrm>
                  <a:off x="9337125" y="3237180"/>
                  <a:ext cx="158696" cy="301524"/>
                </a:xfrm>
                <a:custGeom>
                  <a:avLst/>
                  <a:gdLst>
                    <a:gd name="connsiteX0" fmla="*/ 63937 w 145605"/>
                    <a:gd name="connsiteY0" fmla="*/ 278834 h 276649"/>
                    <a:gd name="connsiteX1" fmla="*/ 74857 w 145605"/>
                    <a:gd name="connsiteY1" fmla="*/ 0 h 276649"/>
                    <a:gd name="connsiteX2" fmla="*/ 63937 w 145605"/>
                    <a:gd name="connsiteY2" fmla="*/ 278834 h 276649"/>
                  </a:gdLst>
                  <a:ahLst/>
                  <a:cxnLst>
                    <a:cxn ang="0">
                      <a:pos x="connsiteX0" y="connsiteY0"/>
                    </a:cxn>
                    <a:cxn ang="0">
                      <a:pos x="connsiteX1" y="connsiteY1"/>
                    </a:cxn>
                    <a:cxn ang="0">
                      <a:pos x="connsiteX2" y="connsiteY2"/>
                    </a:cxn>
                  </a:cxnLst>
                  <a:rect l="l" t="t" r="r" b="b"/>
                  <a:pathLst>
                    <a:path w="145605" h="276649">
                      <a:moveTo>
                        <a:pt x="63937" y="278834"/>
                      </a:moveTo>
                      <a:cubicBezTo>
                        <a:pt x="63937" y="278834"/>
                        <a:pt x="247399" y="187103"/>
                        <a:pt x="74857" y="0"/>
                      </a:cubicBezTo>
                      <a:cubicBezTo>
                        <a:pt x="74857" y="0"/>
                        <a:pt x="-86036" y="129589"/>
                        <a:pt x="63937" y="278834"/>
                      </a:cubicBezTo>
                      <a:close/>
                    </a:path>
                  </a:pathLst>
                </a:custGeom>
                <a:solidFill>
                  <a:schemeClr val="accent2"/>
                </a:solidFill>
                <a:ln w="72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5" name="Freeform: Shape 38">
                  <a:extLst>
                    <a:ext uri="{FF2B5EF4-FFF2-40B4-BE49-F238E27FC236}">
                      <a16:creationId xmlns:a16="http://schemas.microsoft.com/office/drawing/2014/main" id="{9C68471C-BA46-46A8-82AA-EBC225BCBBE4}"/>
                    </a:ext>
                  </a:extLst>
                </p:cNvPr>
                <p:cNvSpPr/>
                <p:nvPr/>
              </p:nvSpPr>
              <p:spPr>
                <a:xfrm>
                  <a:off x="9136234" y="3541284"/>
                  <a:ext cx="245979" cy="126956"/>
                </a:xfrm>
                <a:custGeom>
                  <a:avLst/>
                  <a:gdLst>
                    <a:gd name="connsiteX0" fmla="*/ 226416 w 225687"/>
                    <a:gd name="connsiteY0" fmla="*/ 84996 h 116484"/>
                    <a:gd name="connsiteX1" fmla="*/ 0 w 225687"/>
                    <a:gd name="connsiteY1" fmla="*/ 44227 h 116484"/>
                    <a:gd name="connsiteX2" fmla="*/ 226416 w 225687"/>
                    <a:gd name="connsiteY2" fmla="*/ 84996 h 116484"/>
                  </a:gdLst>
                  <a:ahLst/>
                  <a:cxnLst>
                    <a:cxn ang="0">
                      <a:pos x="connsiteX0" y="connsiteY0"/>
                    </a:cxn>
                    <a:cxn ang="0">
                      <a:pos x="connsiteX1" y="connsiteY1"/>
                    </a:cxn>
                    <a:cxn ang="0">
                      <a:pos x="connsiteX2" y="connsiteY2"/>
                    </a:cxn>
                  </a:cxnLst>
                  <a:rect l="l" t="t" r="r" b="b"/>
                  <a:pathLst>
                    <a:path w="225687" h="116484">
                      <a:moveTo>
                        <a:pt x="226416" y="84996"/>
                      </a:moveTo>
                      <a:cubicBezTo>
                        <a:pt x="226416" y="84996"/>
                        <a:pt x="171814" y="-75169"/>
                        <a:pt x="0" y="44227"/>
                      </a:cubicBezTo>
                      <a:cubicBezTo>
                        <a:pt x="0" y="44227"/>
                        <a:pt x="87363" y="189832"/>
                        <a:pt x="226416" y="84996"/>
                      </a:cubicBezTo>
                      <a:close/>
                    </a:path>
                  </a:pathLst>
                </a:custGeom>
                <a:solidFill>
                  <a:schemeClr val="accent3"/>
                </a:solidFill>
                <a:ln w="72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6" name="Freeform: Shape 39">
                  <a:extLst>
                    <a:ext uri="{FF2B5EF4-FFF2-40B4-BE49-F238E27FC236}">
                      <a16:creationId xmlns:a16="http://schemas.microsoft.com/office/drawing/2014/main" id="{E94A6FA0-765F-47D1-9830-1FA7D21CB10D}"/>
                    </a:ext>
                  </a:extLst>
                </p:cNvPr>
                <p:cNvSpPr/>
                <p:nvPr/>
              </p:nvSpPr>
              <p:spPr>
                <a:xfrm>
                  <a:off x="9302070" y="3636682"/>
                  <a:ext cx="206306" cy="158696"/>
                </a:xfrm>
                <a:custGeom>
                  <a:avLst/>
                  <a:gdLst>
                    <a:gd name="connsiteX0" fmla="*/ 190743 w 189286"/>
                    <a:gd name="connsiteY0" fmla="*/ 14213 h 145605"/>
                    <a:gd name="connsiteX1" fmla="*/ 0 w 189286"/>
                    <a:gd name="connsiteY1" fmla="*/ 142345 h 145605"/>
                    <a:gd name="connsiteX2" fmla="*/ 190743 w 189286"/>
                    <a:gd name="connsiteY2" fmla="*/ 14213 h 145605"/>
                  </a:gdLst>
                  <a:ahLst/>
                  <a:cxnLst>
                    <a:cxn ang="0">
                      <a:pos x="connsiteX0" y="connsiteY0"/>
                    </a:cxn>
                    <a:cxn ang="0">
                      <a:pos x="connsiteX1" y="connsiteY1"/>
                    </a:cxn>
                    <a:cxn ang="0">
                      <a:pos x="connsiteX2" y="connsiteY2"/>
                    </a:cxn>
                  </a:cxnLst>
                  <a:rect l="l" t="t" r="r" b="b"/>
                  <a:pathLst>
                    <a:path w="189286" h="145605">
                      <a:moveTo>
                        <a:pt x="190743" y="14213"/>
                      </a:moveTo>
                      <a:cubicBezTo>
                        <a:pt x="190743" y="14213"/>
                        <a:pt x="40769" y="-62958"/>
                        <a:pt x="0" y="142345"/>
                      </a:cubicBezTo>
                      <a:cubicBezTo>
                        <a:pt x="0" y="142345"/>
                        <a:pt x="163806" y="186027"/>
                        <a:pt x="190743" y="14213"/>
                      </a:cubicBezTo>
                      <a:close/>
                    </a:path>
                  </a:pathLst>
                </a:custGeom>
                <a:solidFill>
                  <a:schemeClr val="accent3"/>
                </a:solidFill>
                <a:ln w="72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7" name="Freeform: Shape 40">
                  <a:extLst>
                    <a:ext uri="{FF2B5EF4-FFF2-40B4-BE49-F238E27FC236}">
                      <a16:creationId xmlns:a16="http://schemas.microsoft.com/office/drawing/2014/main" id="{9CA63439-AC6D-4B23-9851-CEFF24C6C1D9}"/>
                    </a:ext>
                  </a:extLst>
                </p:cNvPr>
                <p:cNvSpPr/>
                <p:nvPr/>
              </p:nvSpPr>
              <p:spPr>
                <a:xfrm>
                  <a:off x="9512528" y="3637096"/>
                  <a:ext cx="111088" cy="182501"/>
                </a:xfrm>
                <a:custGeom>
                  <a:avLst/>
                  <a:gdLst>
                    <a:gd name="connsiteX0" fmla="*/ 96658 w 101923"/>
                    <a:gd name="connsiteY0" fmla="*/ 0 h 167445"/>
                    <a:gd name="connsiteX1" fmla="*/ 12207 w 101923"/>
                    <a:gd name="connsiteY1" fmla="*/ 167446 h 167445"/>
                    <a:gd name="connsiteX2" fmla="*/ 96658 w 101923"/>
                    <a:gd name="connsiteY2" fmla="*/ 0 h 167445"/>
                  </a:gdLst>
                  <a:ahLst/>
                  <a:cxnLst>
                    <a:cxn ang="0">
                      <a:pos x="connsiteX0" y="connsiteY0"/>
                    </a:cxn>
                    <a:cxn ang="0">
                      <a:pos x="connsiteX1" y="connsiteY1"/>
                    </a:cxn>
                    <a:cxn ang="0">
                      <a:pos x="connsiteX2" y="connsiteY2"/>
                    </a:cxn>
                  </a:cxnLst>
                  <a:rect l="l" t="t" r="r" b="b"/>
                  <a:pathLst>
                    <a:path w="101923" h="167445">
                      <a:moveTo>
                        <a:pt x="96658" y="0"/>
                      </a:moveTo>
                      <a:cubicBezTo>
                        <a:pt x="96658" y="0"/>
                        <a:pt x="-40939" y="5096"/>
                        <a:pt x="12207" y="167446"/>
                      </a:cubicBezTo>
                      <a:cubicBezTo>
                        <a:pt x="12207" y="167446"/>
                        <a:pt x="146892" y="133229"/>
                        <a:pt x="96658" y="0"/>
                      </a:cubicBezTo>
                      <a:close/>
                    </a:path>
                  </a:pathLst>
                </a:custGeom>
                <a:solidFill>
                  <a:schemeClr val="accent3"/>
                </a:solidFill>
                <a:ln w="72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8" name="Freeform: Shape 41">
                  <a:extLst>
                    <a:ext uri="{FF2B5EF4-FFF2-40B4-BE49-F238E27FC236}">
                      <a16:creationId xmlns:a16="http://schemas.microsoft.com/office/drawing/2014/main" id="{E25346C9-8AE7-4B06-B8C2-75976B6BDC50}"/>
                    </a:ext>
                  </a:extLst>
                </p:cNvPr>
                <p:cNvSpPr/>
                <p:nvPr/>
              </p:nvSpPr>
              <p:spPr>
                <a:xfrm>
                  <a:off x="9494842" y="3395083"/>
                  <a:ext cx="95218" cy="150762"/>
                </a:xfrm>
                <a:custGeom>
                  <a:avLst/>
                  <a:gdLst>
                    <a:gd name="connsiteX0" fmla="*/ 12418 w 87363"/>
                    <a:gd name="connsiteY0" fmla="*/ 144149 h 138324"/>
                    <a:gd name="connsiteX1" fmla="*/ 74300 w 87363"/>
                    <a:gd name="connsiteY1" fmla="*/ 0 h 138324"/>
                    <a:gd name="connsiteX2" fmla="*/ 12418 w 87363"/>
                    <a:gd name="connsiteY2" fmla="*/ 144149 h 138324"/>
                  </a:gdLst>
                  <a:ahLst/>
                  <a:cxnLst>
                    <a:cxn ang="0">
                      <a:pos x="connsiteX0" y="connsiteY0"/>
                    </a:cxn>
                    <a:cxn ang="0">
                      <a:pos x="connsiteX1" y="connsiteY1"/>
                    </a:cxn>
                    <a:cxn ang="0">
                      <a:pos x="connsiteX2" y="connsiteY2"/>
                    </a:cxn>
                  </a:cxnLst>
                  <a:rect l="l" t="t" r="r" b="b"/>
                  <a:pathLst>
                    <a:path w="87363" h="138324">
                      <a:moveTo>
                        <a:pt x="12418" y="144149"/>
                      </a:moveTo>
                      <a:cubicBezTo>
                        <a:pt x="12418" y="144149"/>
                        <a:pt x="127446" y="132501"/>
                        <a:pt x="74300" y="0"/>
                      </a:cubicBezTo>
                      <a:cubicBezTo>
                        <a:pt x="74300" y="0"/>
                        <a:pt x="-36360" y="35673"/>
                        <a:pt x="12418" y="144149"/>
                      </a:cubicBezTo>
                      <a:close/>
                    </a:path>
                  </a:pathLst>
                </a:custGeom>
                <a:solidFill>
                  <a:schemeClr val="accent2"/>
                </a:solidFill>
                <a:ln w="72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9" name="Freeform: Shape 42">
                  <a:extLst>
                    <a:ext uri="{FF2B5EF4-FFF2-40B4-BE49-F238E27FC236}">
                      <a16:creationId xmlns:a16="http://schemas.microsoft.com/office/drawing/2014/main" id="{809D78CC-4482-4205-A968-F6BEE3257C61}"/>
                    </a:ext>
                  </a:extLst>
                </p:cNvPr>
                <p:cNvSpPr/>
                <p:nvPr/>
              </p:nvSpPr>
              <p:spPr>
                <a:xfrm>
                  <a:off x="9649193" y="3585520"/>
                  <a:ext cx="95218" cy="150762"/>
                </a:xfrm>
                <a:custGeom>
                  <a:avLst/>
                  <a:gdLst>
                    <a:gd name="connsiteX0" fmla="*/ 17861 w 87363"/>
                    <a:gd name="connsiteY0" fmla="*/ 0 h 138324"/>
                    <a:gd name="connsiteX1" fmla="*/ 80471 w 87363"/>
                    <a:gd name="connsiteY1" fmla="*/ 140509 h 138324"/>
                    <a:gd name="connsiteX2" fmla="*/ 17861 w 87363"/>
                    <a:gd name="connsiteY2" fmla="*/ 0 h 138324"/>
                  </a:gdLst>
                  <a:ahLst/>
                  <a:cxnLst>
                    <a:cxn ang="0">
                      <a:pos x="connsiteX0" y="connsiteY0"/>
                    </a:cxn>
                    <a:cxn ang="0">
                      <a:pos x="connsiteX1" y="connsiteY1"/>
                    </a:cxn>
                    <a:cxn ang="0">
                      <a:pos x="connsiteX2" y="connsiteY2"/>
                    </a:cxn>
                  </a:cxnLst>
                  <a:rect l="l" t="t" r="r" b="b"/>
                  <a:pathLst>
                    <a:path w="87363" h="138324">
                      <a:moveTo>
                        <a:pt x="17861" y="0"/>
                      </a:moveTo>
                      <a:cubicBezTo>
                        <a:pt x="17861" y="0"/>
                        <a:pt x="-50574" y="90275"/>
                        <a:pt x="80471" y="140509"/>
                      </a:cubicBezTo>
                      <a:cubicBezTo>
                        <a:pt x="80471" y="140509"/>
                        <a:pt x="128520" y="37129"/>
                        <a:pt x="17861" y="0"/>
                      </a:cubicBezTo>
                      <a:close/>
                    </a:path>
                  </a:pathLst>
                </a:custGeom>
                <a:solidFill>
                  <a:schemeClr val="accent3"/>
                </a:solidFill>
                <a:ln w="72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40" name="Freeform: Shape 43">
                  <a:extLst>
                    <a:ext uri="{FF2B5EF4-FFF2-40B4-BE49-F238E27FC236}">
                      <a16:creationId xmlns:a16="http://schemas.microsoft.com/office/drawing/2014/main" id="{5DEEB936-53AB-405F-B001-B762F947393B}"/>
                    </a:ext>
                  </a:extLst>
                </p:cNvPr>
                <p:cNvSpPr/>
                <p:nvPr/>
              </p:nvSpPr>
              <p:spPr>
                <a:xfrm>
                  <a:off x="9698885" y="3524258"/>
                  <a:ext cx="103152" cy="87283"/>
                </a:xfrm>
                <a:custGeom>
                  <a:avLst/>
                  <a:gdLst>
                    <a:gd name="connsiteX0" fmla="*/ 661 w 94643"/>
                    <a:gd name="connsiteY0" fmla="*/ 877 h 80082"/>
                    <a:gd name="connsiteX1" fmla="*/ 101856 w 94643"/>
                    <a:gd name="connsiteY1" fmla="*/ 84600 h 80082"/>
                    <a:gd name="connsiteX2" fmla="*/ 661 w 94643"/>
                    <a:gd name="connsiteY2" fmla="*/ 877 h 80082"/>
                  </a:gdLst>
                  <a:ahLst/>
                  <a:cxnLst>
                    <a:cxn ang="0">
                      <a:pos x="connsiteX0" y="connsiteY0"/>
                    </a:cxn>
                    <a:cxn ang="0">
                      <a:pos x="connsiteX1" y="connsiteY1"/>
                    </a:cxn>
                    <a:cxn ang="0">
                      <a:pos x="connsiteX2" y="connsiteY2"/>
                    </a:cxn>
                  </a:cxnLst>
                  <a:rect l="l" t="t" r="r" b="b"/>
                  <a:pathLst>
                    <a:path w="94643" h="80082">
                      <a:moveTo>
                        <a:pt x="661" y="877"/>
                      </a:moveTo>
                      <a:cubicBezTo>
                        <a:pt x="661" y="877"/>
                        <a:pt x="-14628" y="92608"/>
                        <a:pt x="101856" y="84600"/>
                      </a:cubicBezTo>
                      <a:cubicBezTo>
                        <a:pt x="101856" y="84600"/>
                        <a:pt x="96760" y="-10043"/>
                        <a:pt x="661" y="877"/>
                      </a:cubicBezTo>
                      <a:close/>
                    </a:path>
                  </a:pathLst>
                </a:custGeom>
                <a:solidFill>
                  <a:schemeClr val="accent3"/>
                </a:solidFill>
                <a:ln w="72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41" name="Freeform: Shape 44">
                  <a:extLst>
                    <a:ext uri="{FF2B5EF4-FFF2-40B4-BE49-F238E27FC236}">
                      <a16:creationId xmlns:a16="http://schemas.microsoft.com/office/drawing/2014/main" id="{F573B9E6-57EE-458E-AC4B-93AE3AD1050D}"/>
                    </a:ext>
                  </a:extLst>
                </p:cNvPr>
                <p:cNvSpPr/>
                <p:nvPr/>
              </p:nvSpPr>
              <p:spPr>
                <a:xfrm>
                  <a:off x="9519485" y="3226995"/>
                  <a:ext cx="214241" cy="126957"/>
                </a:xfrm>
                <a:custGeom>
                  <a:avLst/>
                  <a:gdLst>
                    <a:gd name="connsiteX0" fmla="*/ 199479 w 196566"/>
                    <a:gd name="connsiteY0" fmla="*/ 102532 h 116484"/>
                    <a:gd name="connsiteX1" fmla="*/ 0 w 196566"/>
                    <a:gd name="connsiteY1" fmla="*/ 20265 h 116484"/>
                    <a:gd name="connsiteX2" fmla="*/ 199479 w 196566"/>
                    <a:gd name="connsiteY2" fmla="*/ 102532 h 116484"/>
                  </a:gdLst>
                  <a:ahLst/>
                  <a:cxnLst>
                    <a:cxn ang="0">
                      <a:pos x="connsiteX0" y="connsiteY0"/>
                    </a:cxn>
                    <a:cxn ang="0">
                      <a:pos x="connsiteX1" y="connsiteY1"/>
                    </a:cxn>
                    <a:cxn ang="0">
                      <a:pos x="connsiteX2" y="connsiteY2"/>
                    </a:cxn>
                  </a:cxnLst>
                  <a:rect l="l" t="t" r="r" b="b"/>
                  <a:pathLst>
                    <a:path w="196566" h="116484">
                      <a:moveTo>
                        <a:pt x="199479" y="102532"/>
                      </a:moveTo>
                      <a:cubicBezTo>
                        <a:pt x="199479" y="102532"/>
                        <a:pt x="181278" y="-54721"/>
                        <a:pt x="0" y="20265"/>
                      </a:cubicBezTo>
                      <a:cubicBezTo>
                        <a:pt x="728" y="20265"/>
                        <a:pt x="51690" y="171695"/>
                        <a:pt x="199479" y="102532"/>
                      </a:cubicBezTo>
                      <a:close/>
                    </a:path>
                  </a:pathLst>
                </a:custGeom>
                <a:solidFill>
                  <a:schemeClr val="accent1"/>
                </a:solidFill>
                <a:ln w="72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42" name="Freeform: Shape 45">
                  <a:extLst>
                    <a:ext uri="{FF2B5EF4-FFF2-40B4-BE49-F238E27FC236}">
                      <a16:creationId xmlns:a16="http://schemas.microsoft.com/office/drawing/2014/main" id="{2DBFF9A2-84FF-48EA-B0D1-61DE61C49B40}"/>
                    </a:ext>
                  </a:extLst>
                </p:cNvPr>
                <p:cNvSpPr/>
                <p:nvPr/>
              </p:nvSpPr>
              <p:spPr>
                <a:xfrm>
                  <a:off x="8967221" y="3259410"/>
                  <a:ext cx="253915" cy="150763"/>
                </a:xfrm>
                <a:custGeom>
                  <a:avLst/>
                  <a:gdLst>
                    <a:gd name="connsiteX0" fmla="*/ 234424 w 232968"/>
                    <a:gd name="connsiteY0" fmla="*/ 36389 h 138324"/>
                    <a:gd name="connsiteX1" fmla="*/ 0 w 232968"/>
                    <a:gd name="connsiteY1" fmla="*/ 117928 h 138324"/>
                    <a:gd name="connsiteX2" fmla="*/ 234424 w 232968"/>
                    <a:gd name="connsiteY2" fmla="*/ 36389 h 138324"/>
                  </a:gdLst>
                  <a:ahLst/>
                  <a:cxnLst>
                    <a:cxn ang="0">
                      <a:pos x="connsiteX0" y="connsiteY0"/>
                    </a:cxn>
                    <a:cxn ang="0">
                      <a:pos x="connsiteX1" y="connsiteY1"/>
                    </a:cxn>
                    <a:cxn ang="0">
                      <a:pos x="connsiteX2" y="connsiteY2"/>
                    </a:cxn>
                  </a:cxnLst>
                  <a:rect l="l" t="t" r="r" b="b"/>
                  <a:pathLst>
                    <a:path w="232968" h="138324">
                      <a:moveTo>
                        <a:pt x="234424" y="36389"/>
                      </a:moveTo>
                      <a:cubicBezTo>
                        <a:pt x="234424" y="36389"/>
                        <a:pt x="99012" y="-85919"/>
                        <a:pt x="0" y="117928"/>
                      </a:cubicBezTo>
                      <a:cubicBezTo>
                        <a:pt x="0" y="117928"/>
                        <a:pt x="159438" y="208931"/>
                        <a:pt x="234424" y="36389"/>
                      </a:cubicBezTo>
                      <a:close/>
                    </a:path>
                  </a:pathLst>
                </a:custGeom>
                <a:solidFill>
                  <a:schemeClr val="accent3"/>
                </a:solidFill>
                <a:ln w="72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43" name="Freeform: Shape 46">
                  <a:extLst>
                    <a:ext uri="{FF2B5EF4-FFF2-40B4-BE49-F238E27FC236}">
                      <a16:creationId xmlns:a16="http://schemas.microsoft.com/office/drawing/2014/main" id="{6A92755A-AFA2-47F1-9F10-194CAFDBB179}"/>
                    </a:ext>
                  </a:extLst>
                </p:cNvPr>
                <p:cNvSpPr/>
                <p:nvPr/>
              </p:nvSpPr>
              <p:spPr>
                <a:xfrm>
                  <a:off x="8817254" y="2983935"/>
                  <a:ext cx="261849" cy="142826"/>
                </a:xfrm>
                <a:custGeom>
                  <a:avLst/>
                  <a:gdLst>
                    <a:gd name="connsiteX0" fmla="*/ 246801 w 240248"/>
                    <a:gd name="connsiteY0" fmla="*/ 61269 h 131044"/>
                    <a:gd name="connsiteX1" fmla="*/ 0 w 240248"/>
                    <a:gd name="connsiteY1" fmla="*/ 83110 h 131044"/>
                    <a:gd name="connsiteX2" fmla="*/ 246801 w 240248"/>
                    <a:gd name="connsiteY2" fmla="*/ 61269 h 131044"/>
                  </a:gdLst>
                  <a:ahLst/>
                  <a:cxnLst>
                    <a:cxn ang="0">
                      <a:pos x="connsiteX0" y="connsiteY0"/>
                    </a:cxn>
                    <a:cxn ang="0">
                      <a:pos x="connsiteX1" y="connsiteY1"/>
                    </a:cxn>
                    <a:cxn ang="0">
                      <a:pos x="connsiteX2" y="connsiteY2"/>
                    </a:cxn>
                  </a:cxnLst>
                  <a:rect l="l" t="t" r="r" b="b"/>
                  <a:pathLst>
                    <a:path w="240248" h="131044">
                      <a:moveTo>
                        <a:pt x="246801" y="61269"/>
                      </a:moveTo>
                      <a:cubicBezTo>
                        <a:pt x="246801" y="61269"/>
                        <a:pt x="144877" y="-90160"/>
                        <a:pt x="0" y="83110"/>
                      </a:cubicBezTo>
                      <a:cubicBezTo>
                        <a:pt x="0" y="83110"/>
                        <a:pt x="131773" y="209786"/>
                        <a:pt x="246801" y="61269"/>
                      </a:cubicBezTo>
                      <a:close/>
                    </a:path>
                  </a:pathLst>
                </a:custGeom>
                <a:solidFill>
                  <a:schemeClr val="accent3"/>
                </a:solidFill>
                <a:ln w="72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44" name="Freeform: Shape 47">
                  <a:extLst>
                    <a:ext uri="{FF2B5EF4-FFF2-40B4-BE49-F238E27FC236}">
                      <a16:creationId xmlns:a16="http://schemas.microsoft.com/office/drawing/2014/main" id="{A4985C77-8B9D-4900-9B72-929ECE7EE863}"/>
                    </a:ext>
                  </a:extLst>
                </p:cNvPr>
                <p:cNvSpPr/>
                <p:nvPr/>
              </p:nvSpPr>
              <p:spPr>
                <a:xfrm>
                  <a:off x="10248247" y="2221522"/>
                  <a:ext cx="142826" cy="261849"/>
                </a:xfrm>
                <a:custGeom>
                  <a:avLst/>
                  <a:gdLst>
                    <a:gd name="connsiteX0" fmla="*/ 43365 w 131044"/>
                    <a:gd name="connsiteY0" fmla="*/ 244617 h 240248"/>
                    <a:gd name="connsiteX1" fmla="*/ 81950 w 131044"/>
                    <a:gd name="connsiteY1" fmla="*/ 0 h 240248"/>
                    <a:gd name="connsiteX2" fmla="*/ 43365 w 131044"/>
                    <a:gd name="connsiteY2" fmla="*/ 244617 h 240248"/>
                  </a:gdLst>
                  <a:ahLst/>
                  <a:cxnLst>
                    <a:cxn ang="0">
                      <a:pos x="connsiteX0" y="connsiteY0"/>
                    </a:cxn>
                    <a:cxn ang="0">
                      <a:pos x="connsiteX1" y="connsiteY1"/>
                    </a:cxn>
                    <a:cxn ang="0">
                      <a:pos x="connsiteX2" y="connsiteY2"/>
                    </a:cxn>
                  </a:cxnLst>
                  <a:rect l="l" t="t" r="r" b="b"/>
                  <a:pathLst>
                    <a:path w="131044" h="240248">
                      <a:moveTo>
                        <a:pt x="43365" y="244617"/>
                      </a:moveTo>
                      <a:cubicBezTo>
                        <a:pt x="43365" y="244617"/>
                        <a:pt x="215179" y="182006"/>
                        <a:pt x="81950" y="0"/>
                      </a:cubicBezTo>
                      <a:cubicBezTo>
                        <a:pt x="81950" y="0"/>
                        <a:pt x="-73119" y="97556"/>
                        <a:pt x="43365" y="244617"/>
                      </a:cubicBezTo>
                      <a:close/>
                    </a:path>
                  </a:pathLst>
                </a:custGeom>
                <a:solidFill>
                  <a:schemeClr val="accent3"/>
                </a:solidFill>
                <a:ln w="72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45" name="Freeform: Shape 48">
                  <a:extLst>
                    <a:ext uri="{FF2B5EF4-FFF2-40B4-BE49-F238E27FC236}">
                      <a16:creationId xmlns:a16="http://schemas.microsoft.com/office/drawing/2014/main" id="{FD8010FF-9422-48DD-BE73-C7059DA79729}"/>
                    </a:ext>
                  </a:extLst>
                </p:cNvPr>
                <p:cNvSpPr/>
                <p:nvPr/>
              </p:nvSpPr>
              <p:spPr>
                <a:xfrm>
                  <a:off x="10072741" y="2181055"/>
                  <a:ext cx="79349" cy="150763"/>
                </a:xfrm>
                <a:custGeom>
                  <a:avLst/>
                  <a:gdLst>
                    <a:gd name="connsiteX0" fmla="*/ 25299 w 72802"/>
                    <a:gd name="connsiteY0" fmla="*/ 141965 h 138324"/>
                    <a:gd name="connsiteX1" fmla="*/ 47868 w 72802"/>
                    <a:gd name="connsiteY1" fmla="*/ 0 h 138324"/>
                    <a:gd name="connsiteX2" fmla="*/ 25299 w 72802"/>
                    <a:gd name="connsiteY2" fmla="*/ 141965 h 138324"/>
                  </a:gdLst>
                  <a:ahLst/>
                  <a:cxnLst>
                    <a:cxn ang="0">
                      <a:pos x="connsiteX0" y="connsiteY0"/>
                    </a:cxn>
                    <a:cxn ang="0">
                      <a:pos x="connsiteX1" y="connsiteY1"/>
                    </a:cxn>
                    <a:cxn ang="0">
                      <a:pos x="connsiteX2" y="connsiteY2"/>
                    </a:cxn>
                  </a:cxnLst>
                  <a:rect l="l" t="t" r="r" b="b"/>
                  <a:pathLst>
                    <a:path w="72802" h="138324">
                      <a:moveTo>
                        <a:pt x="25299" y="141965"/>
                      </a:moveTo>
                      <a:cubicBezTo>
                        <a:pt x="25299" y="141965"/>
                        <a:pt x="124310" y="105564"/>
                        <a:pt x="47868" y="0"/>
                      </a:cubicBezTo>
                      <a:cubicBezTo>
                        <a:pt x="47139" y="0"/>
                        <a:pt x="-42408" y="56786"/>
                        <a:pt x="25299" y="141965"/>
                      </a:cubicBezTo>
                      <a:close/>
                    </a:path>
                  </a:pathLst>
                </a:custGeom>
                <a:solidFill>
                  <a:schemeClr val="accent3"/>
                </a:solidFill>
                <a:ln w="72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46" name="Freeform: Shape 49">
                  <a:extLst>
                    <a:ext uri="{FF2B5EF4-FFF2-40B4-BE49-F238E27FC236}">
                      <a16:creationId xmlns:a16="http://schemas.microsoft.com/office/drawing/2014/main" id="{D5D45E9E-DBA8-4732-9476-E866BAF81D7C}"/>
                    </a:ext>
                  </a:extLst>
                </p:cNvPr>
                <p:cNvSpPr/>
                <p:nvPr/>
              </p:nvSpPr>
              <p:spPr>
                <a:xfrm>
                  <a:off x="9077516" y="3424334"/>
                  <a:ext cx="182501" cy="95218"/>
                </a:xfrm>
                <a:custGeom>
                  <a:avLst/>
                  <a:gdLst>
                    <a:gd name="connsiteX0" fmla="*/ 167446 w 167445"/>
                    <a:gd name="connsiteY0" fmla="*/ 41596 h 87363"/>
                    <a:gd name="connsiteX1" fmla="*/ 0 w 167445"/>
                    <a:gd name="connsiteY1" fmla="*/ 56157 h 87363"/>
                    <a:gd name="connsiteX2" fmla="*/ 167446 w 167445"/>
                    <a:gd name="connsiteY2" fmla="*/ 41596 h 87363"/>
                  </a:gdLst>
                  <a:ahLst/>
                  <a:cxnLst>
                    <a:cxn ang="0">
                      <a:pos x="connsiteX0" y="connsiteY0"/>
                    </a:cxn>
                    <a:cxn ang="0">
                      <a:pos x="connsiteX1" y="connsiteY1"/>
                    </a:cxn>
                    <a:cxn ang="0">
                      <a:pos x="connsiteX2" y="connsiteY2"/>
                    </a:cxn>
                  </a:cxnLst>
                  <a:rect l="l" t="t" r="r" b="b"/>
                  <a:pathLst>
                    <a:path w="167445" h="87363">
                      <a:moveTo>
                        <a:pt x="167446" y="41596"/>
                      </a:moveTo>
                      <a:cubicBezTo>
                        <a:pt x="167446" y="41596"/>
                        <a:pt x="98283" y="-61055"/>
                        <a:pt x="0" y="56157"/>
                      </a:cubicBezTo>
                      <a:cubicBezTo>
                        <a:pt x="0" y="56157"/>
                        <a:pt x="89547" y="142064"/>
                        <a:pt x="167446" y="41596"/>
                      </a:cubicBezTo>
                      <a:close/>
                    </a:path>
                  </a:pathLst>
                </a:custGeom>
                <a:solidFill>
                  <a:schemeClr val="accent3"/>
                </a:solidFill>
                <a:ln w="72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47" name="Freeform: Shape 50">
                  <a:extLst>
                    <a:ext uri="{FF2B5EF4-FFF2-40B4-BE49-F238E27FC236}">
                      <a16:creationId xmlns:a16="http://schemas.microsoft.com/office/drawing/2014/main" id="{2DA277E0-C6FF-4FA3-971B-A1DBA8391CF2}"/>
                    </a:ext>
                  </a:extLst>
                </p:cNvPr>
                <p:cNvSpPr/>
                <p:nvPr/>
              </p:nvSpPr>
              <p:spPr>
                <a:xfrm>
                  <a:off x="9873307" y="2189784"/>
                  <a:ext cx="174567" cy="277719"/>
                </a:xfrm>
                <a:custGeom>
                  <a:avLst/>
                  <a:gdLst>
                    <a:gd name="connsiteX0" fmla="*/ 126742 w 160165"/>
                    <a:gd name="connsiteY0" fmla="*/ 258449 h 254808"/>
                    <a:gd name="connsiteX1" fmla="*/ 21906 w 160165"/>
                    <a:gd name="connsiteY1" fmla="*/ 0 h 254808"/>
                    <a:gd name="connsiteX2" fmla="*/ 126742 w 160165"/>
                    <a:gd name="connsiteY2" fmla="*/ 258449 h 254808"/>
                  </a:gdLst>
                  <a:ahLst/>
                  <a:cxnLst>
                    <a:cxn ang="0">
                      <a:pos x="connsiteX0" y="connsiteY0"/>
                    </a:cxn>
                    <a:cxn ang="0">
                      <a:pos x="connsiteX1" y="connsiteY1"/>
                    </a:cxn>
                    <a:cxn ang="0">
                      <a:pos x="connsiteX2" y="connsiteY2"/>
                    </a:cxn>
                  </a:cxnLst>
                  <a:rect l="l" t="t" r="r" b="b"/>
                  <a:pathLst>
                    <a:path w="160165" h="254808">
                      <a:moveTo>
                        <a:pt x="126742" y="258449"/>
                      </a:moveTo>
                      <a:cubicBezTo>
                        <a:pt x="126742" y="258449"/>
                        <a:pt x="255602" y="99012"/>
                        <a:pt x="21906" y="0"/>
                      </a:cubicBezTo>
                      <a:cubicBezTo>
                        <a:pt x="21906" y="0"/>
                        <a:pt x="-71281" y="184191"/>
                        <a:pt x="126742" y="258449"/>
                      </a:cubicBezTo>
                      <a:close/>
                    </a:path>
                  </a:pathLst>
                </a:custGeom>
                <a:solidFill>
                  <a:schemeClr val="accent3"/>
                </a:solidFill>
                <a:ln w="72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48" name="Freeform: Shape 51">
                  <a:extLst>
                    <a:ext uri="{FF2B5EF4-FFF2-40B4-BE49-F238E27FC236}">
                      <a16:creationId xmlns:a16="http://schemas.microsoft.com/office/drawing/2014/main" id="{E4DADA83-E358-44EB-B933-94075CAB1645}"/>
                    </a:ext>
                  </a:extLst>
                </p:cNvPr>
                <p:cNvSpPr/>
                <p:nvPr/>
              </p:nvSpPr>
              <p:spPr>
                <a:xfrm>
                  <a:off x="9607111" y="2238183"/>
                  <a:ext cx="190437" cy="238045"/>
                </a:xfrm>
                <a:custGeom>
                  <a:avLst/>
                  <a:gdLst>
                    <a:gd name="connsiteX0" fmla="*/ 160578 w 174726"/>
                    <a:gd name="connsiteY0" fmla="*/ 220594 h 218407"/>
                    <a:gd name="connsiteX1" fmla="*/ 4781 w 174726"/>
                    <a:gd name="connsiteY1" fmla="*/ 2 h 218407"/>
                    <a:gd name="connsiteX2" fmla="*/ 160578 w 174726"/>
                    <a:gd name="connsiteY2" fmla="*/ 220594 h 218407"/>
                  </a:gdLst>
                  <a:ahLst/>
                  <a:cxnLst>
                    <a:cxn ang="0">
                      <a:pos x="connsiteX0" y="connsiteY0"/>
                    </a:cxn>
                    <a:cxn ang="0">
                      <a:pos x="connsiteX1" y="connsiteY1"/>
                    </a:cxn>
                    <a:cxn ang="0">
                      <a:pos x="connsiteX2" y="connsiteY2"/>
                    </a:cxn>
                  </a:cxnLst>
                  <a:rect l="l" t="t" r="r" b="b"/>
                  <a:pathLst>
                    <a:path w="174726" h="218407">
                      <a:moveTo>
                        <a:pt x="160578" y="220594"/>
                      </a:moveTo>
                      <a:cubicBezTo>
                        <a:pt x="160578" y="220594"/>
                        <a:pt x="247213" y="41500"/>
                        <a:pt x="4781" y="2"/>
                      </a:cubicBezTo>
                      <a:cubicBezTo>
                        <a:pt x="4781" y="-726"/>
                        <a:pt x="-42541" y="193657"/>
                        <a:pt x="160578" y="220594"/>
                      </a:cubicBezTo>
                      <a:close/>
                    </a:path>
                  </a:pathLst>
                </a:custGeom>
                <a:solidFill>
                  <a:schemeClr val="accent3"/>
                </a:solidFill>
                <a:ln w="72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49" name="Freeform: Shape 52">
                  <a:extLst>
                    <a:ext uri="{FF2B5EF4-FFF2-40B4-BE49-F238E27FC236}">
                      <a16:creationId xmlns:a16="http://schemas.microsoft.com/office/drawing/2014/main" id="{A8BE5D35-7723-4DDC-A90D-3F1B97F59794}"/>
                    </a:ext>
                  </a:extLst>
                </p:cNvPr>
                <p:cNvSpPr/>
                <p:nvPr/>
              </p:nvSpPr>
              <p:spPr>
                <a:xfrm>
                  <a:off x="9385362" y="2542387"/>
                  <a:ext cx="174567" cy="126957"/>
                </a:xfrm>
                <a:custGeom>
                  <a:avLst/>
                  <a:gdLst>
                    <a:gd name="connsiteX0" fmla="*/ 163099 w 160165"/>
                    <a:gd name="connsiteY0" fmla="*/ 116939 h 116484"/>
                    <a:gd name="connsiteX1" fmla="*/ 22 w 160165"/>
                    <a:gd name="connsiteY1" fmla="*/ 4823 h 116484"/>
                    <a:gd name="connsiteX2" fmla="*/ 163099 w 160165"/>
                    <a:gd name="connsiteY2" fmla="*/ 116939 h 116484"/>
                  </a:gdLst>
                  <a:ahLst/>
                  <a:cxnLst>
                    <a:cxn ang="0">
                      <a:pos x="connsiteX0" y="connsiteY0"/>
                    </a:cxn>
                    <a:cxn ang="0">
                      <a:pos x="connsiteX1" y="connsiteY1"/>
                    </a:cxn>
                    <a:cxn ang="0">
                      <a:pos x="connsiteX2" y="connsiteY2"/>
                    </a:cxn>
                  </a:cxnLst>
                  <a:rect l="l" t="t" r="r" b="b"/>
                  <a:pathLst>
                    <a:path w="160165" h="116484">
                      <a:moveTo>
                        <a:pt x="163099" y="116939"/>
                      </a:moveTo>
                      <a:cubicBezTo>
                        <a:pt x="163099" y="116939"/>
                        <a:pt x="176932" y="-27938"/>
                        <a:pt x="22" y="4823"/>
                      </a:cubicBezTo>
                      <a:cubicBezTo>
                        <a:pt x="-706" y="4823"/>
                        <a:pt x="16038" y="150428"/>
                        <a:pt x="163099" y="116939"/>
                      </a:cubicBezTo>
                      <a:close/>
                    </a:path>
                  </a:pathLst>
                </a:custGeom>
                <a:solidFill>
                  <a:schemeClr val="accent2"/>
                </a:solidFill>
                <a:ln w="72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50" name="Freeform: Shape 53">
                  <a:extLst>
                    <a:ext uri="{FF2B5EF4-FFF2-40B4-BE49-F238E27FC236}">
                      <a16:creationId xmlns:a16="http://schemas.microsoft.com/office/drawing/2014/main" id="{AB6247E8-9EBC-4294-A3BD-714E2D75DCDE}"/>
                    </a:ext>
                  </a:extLst>
                </p:cNvPr>
                <p:cNvSpPr/>
                <p:nvPr/>
              </p:nvSpPr>
              <p:spPr>
                <a:xfrm>
                  <a:off x="9331429" y="3062912"/>
                  <a:ext cx="174567" cy="126957"/>
                </a:xfrm>
                <a:custGeom>
                  <a:avLst/>
                  <a:gdLst>
                    <a:gd name="connsiteX0" fmla="*/ 163078 w 160165"/>
                    <a:gd name="connsiteY0" fmla="*/ 116939 h 116484"/>
                    <a:gd name="connsiteX1" fmla="*/ 0 w 160165"/>
                    <a:gd name="connsiteY1" fmla="*/ 4823 h 116484"/>
                    <a:gd name="connsiteX2" fmla="*/ 163078 w 160165"/>
                    <a:gd name="connsiteY2" fmla="*/ 116939 h 116484"/>
                  </a:gdLst>
                  <a:ahLst/>
                  <a:cxnLst>
                    <a:cxn ang="0">
                      <a:pos x="connsiteX0" y="connsiteY0"/>
                    </a:cxn>
                    <a:cxn ang="0">
                      <a:pos x="connsiteX1" y="connsiteY1"/>
                    </a:cxn>
                    <a:cxn ang="0">
                      <a:pos x="connsiteX2" y="connsiteY2"/>
                    </a:cxn>
                  </a:cxnLst>
                  <a:rect l="l" t="t" r="r" b="b"/>
                  <a:pathLst>
                    <a:path w="160165" h="116484">
                      <a:moveTo>
                        <a:pt x="163078" y="116939"/>
                      </a:moveTo>
                      <a:cubicBezTo>
                        <a:pt x="163078" y="116939"/>
                        <a:pt x="177638" y="-27938"/>
                        <a:pt x="0" y="4823"/>
                      </a:cubicBezTo>
                      <a:cubicBezTo>
                        <a:pt x="0" y="4823"/>
                        <a:pt x="16744" y="150428"/>
                        <a:pt x="163078" y="116939"/>
                      </a:cubicBezTo>
                      <a:close/>
                    </a:path>
                  </a:pathLst>
                </a:custGeom>
                <a:solidFill>
                  <a:schemeClr val="accent2"/>
                </a:solidFill>
                <a:ln w="72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51" name="Freeform: Shape 54">
                  <a:extLst>
                    <a:ext uri="{FF2B5EF4-FFF2-40B4-BE49-F238E27FC236}">
                      <a16:creationId xmlns:a16="http://schemas.microsoft.com/office/drawing/2014/main" id="{D9E0552C-A448-431F-96A3-A0F64C8A60B3}"/>
                    </a:ext>
                  </a:extLst>
                </p:cNvPr>
                <p:cNvSpPr/>
                <p:nvPr/>
              </p:nvSpPr>
              <p:spPr>
                <a:xfrm>
                  <a:off x="9875963" y="2497655"/>
                  <a:ext cx="166631" cy="285654"/>
                </a:xfrm>
                <a:custGeom>
                  <a:avLst/>
                  <a:gdLst>
                    <a:gd name="connsiteX0" fmla="*/ 112656 w 152885"/>
                    <a:gd name="connsiteY0" fmla="*/ 266457 h 262089"/>
                    <a:gd name="connsiteX1" fmla="*/ 31118 w 152885"/>
                    <a:gd name="connsiteY1" fmla="*/ 0 h 262089"/>
                    <a:gd name="connsiteX2" fmla="*/ 112656 w 152885"/>
                    <a:gd name="connsiteY2" fmla="*/ 266457 h 262089"/>
                  </a:gdLst>
                  <a:ahLst/>
                  <a:cxnLst>
                    <a:cxn ang="0">
                      <a:pos x="connsiteX0" y="connsiteY0"/>
                    </a:cxn>
                    <a:cxn ang="0">
                      <a:pos x="connsiteX1" y="connsiteY1"/>
                    </a:cxn>
                    <a:cxn ang="0">
                      <a:pos x="connsiteX2" y="connsiteY2"/>
                    </a:cxn>
                  </a:cxnLst>
                  <a:rect l="l" t="t" r="r" b="b"/>
                  <a:pathLst>
                    <a:path w="152885" h="262089">
                      <a:moveTo>
                        <a:pt x="112656" y="266457"/>
                      </a:moveTo>
                      <a:cubicBezTo>
                        <a:pt x="112656" y="266457"/>
                        <a:pt x="255350" y="119396"/>
                        <a:pt x="31118" y="0"/>
                      </a:cubicBezTo>
                      <a:cubicBezTo>
                        <a:pt x="31118" y="0"/>
                        <a:pt x="-78086" y="174726"/>
                        <a:pt x="112656" y="266457"/>
                      </a:cubicBezTo>
                      <a:close/>
                    </a:path>
                  </a:pathLst>
                </a:custGeom>
                <a:solidFill>
                  <a:schemeClr val="accent2"/>
                </a:solidFill>
                <a:ln w="72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52" name="Freeform: Shape 55">
                  <a:extLst>
                    <a:ext uri="{FF2B5EF4-FFF2-40B4-BE49-F238E27FC236}">
                      <a16:creationId xmlns:a16="http://schemas.microsoft.com/office/drawing/2014/main" id="{C9511A12-E451-4E6B-9844-366936FC311C}"/>
                    </a:ext>
                  </a:extLst>
                </p:cNvPr>
                <p:cNvSpPr/>
                <p:nvPr/>
              </p:nvSpPr>
              <p:spPr>
                <a:xfrm>
                  <a:off x="9586137" y="2542201"/>
                  <a:ext cx="230110" cy="198370"/>
                </a:xfrm>
                <a:custGeom>
                  <a:avLst/>
                  <a:gdLst>
                    <a:gd name="connsiteX0" fmla="*/ 211855 w 211127"/>
                    <a:gd name="connsiteY0" fmla="*/ 182632 h 182006"/>
                    <a:gd name="connsiteX1" fmla="*/ 0 w 211127"/>
                    <a:gd name="connsiteY1" fmla="*/ 1354 h 182006"/>
                    <a:gd name="connsiteX2" fmla="*/ 211855 w 211127"/>
                    <a:gd name="connsiteY2" fmla="*/ 182632 h 182006"/>
                  </a:gdLst>
                  <a:ahLst/>
                  <a:cxnLst>
                    <a:cxn ang="0">
                      <a:pos x="connsiteX0" y="connsiteY0"/>
                    </a:cxn>
                    <a:cxn ang="0">
                      <a:pos x="connsiteX1" y="connsiteY1"/>
                    </a:cxn>
                    <a:cxn ang="0">
                      <a:pos x="connsiteX2" y="connsiteY2"/>
                    </a:cxn>
                  </a:cxnLst>
                  <a:rect l="l" t="t" r="r" b="b"/>
                  <a:pathLst>
                    <a:path w="211127" h="182006">
                      <a:moveTo>
                        <a:pt x="211855" y="182632"/>
                      </a:moveTo>
                      <a:cubicBezTo>
                        <a:pt x="211855" y="182632"/>
                        <a:pt x="253353" y="-18303"/>
                        <a:pt x="0" y="1354"/>
                      </a:cubicBezTo>
                      <a:cubicBezTo>
                        <a:pt x="0" y="1354"/>
                        <a:pt x="1456" y="207385"/>
                        <a:pt x="211855" y="182632"/>
                      </a:cubicBezTo>
                      <a:close/>
                    </a:path>
                  </a:pathLst>
                </a:custGeom>
                <a:solidFill>
                  <a:schemeClr val="accent2"/>
                </a:solidFill>
                <a:ln w="72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53" name="Freeform: Shape 56">
                  <a:extLst>
                    <a:ext uri="{FF2B5EF4-FFF2-40B4-BE49-F238E27FC236}">
                      <a16:creationId xmlns:a16="http://schemas.microsoft.com/office/drawing/2014/main" id="{0996053F-1958-4944-B7CB-E3E4D81F7ABB}"/>
                    </a:ext>
                  </a:extLst>
                </p:cNvPr>
                <p:cNvSpPr/>
                <p:nvPr/>
              </p:nvSpPr>
              <p:spPr>
                <a:xfrm>
                  <a:off x="9402517" y="2316741"/>
                  <a:ext cx="142827" cy="190436"/>
                </a:xfrm>
                <a:custGeom>
                  <a:avLst/>
                  <a:gdLst>
                    <a:gd name="connsiteX0" fmla="*/ 123336 w 131044"/>
                    <a:gd name="connsiteY0" fmla="*/ 177638 h 174726"/>
                    <a:gd name="connsiteX1" fmla="*/ 4668 w 131044"/>
                    <a:gd name="connsiteY1" fmla="*/ 0 h 174726"/>
                    <a:gd name="connsiteX2" fmla="*/ 123336 w 131044"/>
                    <a:gd name="connsiteY2" fmla="*/ 177638 h 174726"/>
                  </a:gdLst>
                  <a:ahLst/>
                  <a:cxnLst>
                    <a:cxn ang="0">
                      <a:pos x="connsiteX0" y="connsiteY0"/>
                    </a:cxn>
                    <a:cxn ang="0">
                      <a:pos x="connsiteX1" y="connsiteY1"/>
                    </a:cxn>
                    <a:cxn ang="0">
                      <a:pos x="connsiteX2" y="connsiteY2"/>
                    </a:cxn>
                  </a:cxnLst>
                  <a:rect l="l" t="t" r="r" b="b"/>
                  <a:pathLst>
                    <a:path w="131044" h="174726">
                      <a:moveTo>
                        <a:pt x="123336" y="177638"/>
                      </a:moveTo>
                      <a:cubicBezTo>
                        <a:pt x="123336" y="177638"/>
                        <a:pt x="195411" y="37857"/>
                        <a:pt x="4668" y="0"/>
                      </a:cubicBezTo>
                      <a:cubicBezTo>
                        <a:pt x="4668" y="0"/>
                        <a:pt x="-36101" y="152158"/>
                        <a:pt x="123336" y="177638"/>
                      </a:cubicBezTo>
                      <a:close/>
                    </a:path>
                  </a:pathLst>
                </a:custGeom>
                <a:solidFill>
                  <a:schemeClr val="accent3"/>
                </a:solidFill>
                <a:ln w="72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54" name="Freeform: Shape 57">
                  <a:extLst>
                    <a:ext uri="{FF2B5EF4-FFF2-40B4-BE49-F238E27FC236}">
                      <a16:creationId xmlns:a16="http://schemas.microsoft.com/office/drawing/2014/main" id="{3E359A6B-F665-4DEC-8EA5-3DAB71B0635B}"/>
                    </a:ext>
                  </a:extLst>
                </p:cNvPr>
                <p:cNvSpPr/>
                <p:nvPr/>
              </p:nvSpPr>
              <p:spPr>
                <a:xfrm>
                  <a:off x="9420639" y="2085837"/>
                  <a:ext cx="126956" cy="214241"/>
                </a:xfrm>
                <a:custGeom>
                  <a:avLst/>
                  <a:gdLst>
                    <a:gd name="connsiteX0" fmla="*/ 87781 w 116484"/>
                    <a:gd name="connsiteY0" fmla="*/ 203119 h 196566"/>
                    <a:gd name="connsiteX1" fmla="*/ 22258 w 116484"/>
                    <a:gd name="connsiteY1" fmla="*/ 0 h 196566"/>
                    <a:gd name="connsiteX2" fmla="*/ 87781 w 116484"/>
                    <a:gd name="connsiteY2" fmla="*/ 203119 h 196566"/>
                  </a:gdLst>
                  <a:ahLst/>
                  <a:cxnLst>
                    <a:cxn ang="0">
                      <a:pos x="connsiteX0" y="connsiteY0"/>
                    </a:cxn>
                    <a:cxn ang="0">
                      <a:pos x="connsiteX1" y="connsiteY1"/>
                    </a:cxn>
                    <a:cxn ang="0">
                      <a:pos x="connsiteX2" y="connsiteY2"/>
                    </a:cxn>
                  </a:cxnLst>
                  <a:rect l="l" t="t" r="r" b="b"/>
                  <a:pathLst>
                    <a:path w="116484" h="196566">
                      <a:moveTo>
                        <a:pt x="87781" y="203119"/>
                      </a:moveTo>
                      <a:cubicBezTo>
                        <a:pt x="87781" y="203119"/>
                        <a:pt x="194801" y="88819"/>
                        <a:pt x="22258" y="0"/>
                      </a:cubicBezTo>
                      <a:cubicBezTo>
                        <a:pt x="22258" y="728"/>
                        <a:pt x="-58552" y="135413"/>
                        <a:pt x="87781" y="203119"/>
                      </a:cubicBezTo>
                      <a:close/>
                    </a:path>
                  </a:pathLst>
                </a:custGeom>
                <a:solidFill>
                  <a:schemeClr val="accent3"/>
                </a:solidFill>
                <a:ln w="72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55" name="Freeform: Shape 58">
                  <a:extLst>
                    <a:ext uri="{FF2B5EF4-FFF2-40B4-BE49-F238E27FC236}">
                      <a16:creationId xmlns:a16="http://schemas.microsoft.com/office/drawing/2014/main" id="{E250670A-28CA-44E7-B704-10054E3A4F18}"/>
                    </a:ext>
                  </a:extLst>
                </p:cNvPr>
                <p:cNvSpPr/>
                <p:nvPr/>
              </p:nvSpPr>
              <p:spPr>
                <a:xfrm>
                  <a:off x="9732476" y="2079489"/>
                  <a:ext cx="126956" cy="214241"/>
                </a:xfrm>
                <a:custGeom>
                  <a:avLst/>
                  <a:gdLst>
                    <a:gd name="connsiteX0" fmla="*/ 87781 w 116484"/>
                    <a:gd name="connsiteY0" fmla="*/ 203119 h 196566"/>
                    <a:gd name="connsiteX1" fmla="*/ 22258 w 116484"/>
                    <a:gd name="connsiteY1" fmla="*/ 0 h 196566"/>
                    <a:gd name="connsiteX2" fmla="*/ 87781 w 116484"/>
                    <a:gd name="connsiteY2" fmla="*/ 203119 h 196566"/>
                  </a:gdLst>
                  <a:ahLst/>
                  <a:cxnLst>
                    <a:cxn ang="0">
                      <a:pos x="connsiteX0" y="connsiteY0"/>
                    </a:cxn>
                    <a:cxn ang="0">
                      <a:pos x="connsiteX1" y="connsiteY1"/>
                    </a:cxn>
                    <a:cxn ang="0">
                      <a:pos x="connsiteX2" y="connsiteY2"/>
                    </a:cxn>
                  </a:cxnLst>
                  <a:rect l="l" t="t" r="r" b="b"/>
                  <a:pathLst>
                    <a:path w="116484" h="196566">
                      <a:moveTo>
                        <a:pt x="87781" y="203119"/>
                      </a:moveTo>
                      <a:cubicBezTo>
                        <a:pt x="87781" y="203119"/>
                        <a:pt x="194801" y="88819"/>
                        <a:pt x="22258" y="0"/>
                      </a:cubicBezTo>
                      <a:cubicBezTo>
                        <a:pt x="22258" y="0"/>
                        <a:pt x="-58552" y="135413"/>
                        <a:pt x="87781" y="203119"/>
                      </a:cubicBezTo>
                      <a:close/>
                    </a:path>
                  </a:pathLst>
                </a:custGeom>
                <a:solidFill>
                  <a:schemeClr val="accent3"/>
                </a:solidFill>
                <a:ln w="72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56" name="Freeform: Shape 59">
                  <a:extLst>
                    <a:ext uri="{FF2B5EF4-FFF2-40B4-BE49-F238E27FC236}">
                      <a16:creationId xmlns:a16="http://schemas.microsoft.com/office/drawing/2014/main" id="{9F8DD42A-1BEE-422E-AFAE-DF351B7FD562}"/>
                    </a:ext>
                  </a:extLst>
                </p:cNvPr>
                <p:cNvSpPr/>
                <p:nvPr/>
              </p:nvSpPr>
              <p:spPr>
                <a:xfrm>
                  <a:off x="9027525" y="2880233"/>
                  <a:ext cx="206306" cy="111088"/>
                </a:xfrm>
                <a:custGeom>
                  <a:avLst/>
                  <a:gdLst>
                    <a:gd name="connsiteX0" fmla="*/ 190743 w 189286"/>
                    <a:gd name="connsiteY0" fmla="*/ 79245 h 101923"/>
                    <a:gd name="connsiteX1" fmla="*/ 0 w 189286"/>
                    <a:gd name="connsiteY1" fmla="*/ 31195 h 101923"/>
                    <a:gd name="connsiteX2" fmla="*/ 190743 w 189286"/>
                    <a:gd name="connsiteY2" fmla="*/ 79245 h 101923"/>
                  </a:gdLst>
                  <a:ahLst/>
                  <a:cxnLst>
                    <a:cxn ang="0">
                      <a:pos x="connsiteX0" y="connsiteY0"/>
                    </a:cxn>
                    <a:cxn ang="0">
                      <a:pos x="connsiteX1" y="connsiteY1"/>
                    </a:cxn>
                    <a:cxn ang="0">
                      <a:pos x="connsiteX2" y="connsiteY2"/>
                    </a:cxn>
                  </a:cxnLst>
                  <a:rect l="l" t="t" r="r" b="b"/>
                  <a:pathLst>
                    <a:path w="189286" h="101923">
                      <a:moveTo>
                        <a:pt x="190743" y="79245"/>
                      </a:moveTo>
                      <a:cubicBezTo>
                        <a:pt x="190743" y="79245"/>
                        <a:pt x="153613" y="-60536"/>
                        <a:pt x="0" y="31195"/>
                      </a:cubicBezTo>
                      <a:cubicBezTo>
                        <a:pt x="0" y="31923"/>
                        <a:pt x="66250" y="160783"/>
                        <a:pt x="190743" y="79245"/>
                      </a:cubicBezTo>
                      <a:close/>
                    </a:path>
                  </a:pathLst>
                </a:custGeom>
                <a:solidFill>
                  <a:schemeClr val="accent3"/>
                </a:solidFill>
                <a:ln w="72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57" name="Freeform: Shape 60">
                  <a:extLst>
                    <a:ext uri="{FF2B5EF4-FFF2-40B4-BE49-F238E27FC236}">
                      <a16:creationId xmlns:a16="http://schemas.microsoft.com/office/drawing/2014/main" id="{C0A89AB1-2562-45DE-9038-0EE7A9FD9133}"/>
                    </a:ext>
                  </a:extLst>
                </p:cNvPr>
                <p:cNvSpPr/>
                <p:nvPr/>
              </p:nvSpPr>
              <p:spPr>
                <a:xfrm>
                  <a:off x="9524245" y="3045278"/>
                  <a:ext cx="206306" cy="111088"/>
                </a:xfrm>
                <a:custGeom>
                  <a:avLst/>
                  <a:gdLst>
                    <a:gd name="connsiteX0" fmla="*/ 190743 w 189286"/>
                    <a:gd name="connsiteY0" fmla="*/ 79245 h 101923"/>
                    <a:gd name="connsiteX1" fmla="*/ 0 w 189286"/>
                    <a:gd name="connsiteY1" fmla="*/ 31195 h 101923"/>
                    <a:gd name="connsiteX2" fmla="*/ 190743 w 189286"/>
                    <a:gd name="connsiteY2" fmla="*/ 79245 h 101923"/>
                  </a:gdLst>
                  <a:ahLst/>
                  <a:cxnLst>
                    <a:cxn ang="0">
                      <a:pos x="connsiteX0" y="connsiteY0"/>
                    </a:cxn>
                    <a:cxn ang="0">
                      <a:pos x="connsiteX1" y="connsiteY1"/>
                    </a:cxn>
                    <a:cxn ang="0">
                      <a:pos x="connsiteX2" y="connsiteY2"/>
                    </a:cxn>
                  </a:cxnLst>
                  <a:rect l="l" t="t" r="r" b="b"/>
                  <a:pathLst>
                    <a:path w="189286" h="101923">
                      <a:moveTo>
                        <a:pt x="190743" y="79245"/>
                      </a:moveTo>
                      <a:cubicBezTo>
                        <a:pt x="190743" y="79245"/>
                        <a:pt x="153613" y="-60536"/>
                        <a:pt x="0" y="31195"/>
                      </a:cubicBezTo>
                      <a:cubicBezTo>
                        <a:pt x="728" y="31195"/>
                        <a:pt x="66250" y="160784"/>
                        <a:pt x="190743" y="79245"/>
                      </a:cubicBezTo>
                      <a:close/>
                    </a:path>
                  </a:pathLst>
                </a:custGeom>
                <a:solidFill>
                  <a:schemeClr val="accent1"/>
                </a:solidFill>
                <a:ln w="72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58" name="Freeform: Shape 61">
                  <a:extLst>
                    <a:ext uri="{FF2B5EF4-FFF2-40B4-BE49-F238E27FC236}">
                      <a16:creationId xmlns:a16="http://schemas.microsoft.com/office/drawing/2014/main" id="{22EE89B7-2B1E-480D-A616-355E62FC12F8}"/>
                    </a:ext>
                  </a:extLst>
                </p:cNvPr>
                <p:cNvSpPr/>
                <p:nvPr/>
              </p:nvSpPr>
              <p:spPr>
                <a:xfrm>
                  <a:off x="9027524" y="2639014"/>
                  <a:ext cx="206307" cy="111088"/>
                </a:xfrm>
                <a:custGeom>
                  <a:avLst/>
                  <a:gdLst>
                    <a:gd name="connsiteX0" fmla="*/ 190743 w 189286"/>
                    <a:gd name="connsiteY0" fmla="*/ 79245 h 101923"/>
                    <a:gd name="connsiteX1" fmla="*/ 0 w 189286"/>
                    <a:gd name="connsiteY1" fmla="*/ 31195 h 101923"/>
                    <a:gd name="connsiteX2" fmla="*/ 190743 w 189286"/>
                    <a:gd name="connsiteY2" fmla="*/ 79245 h 101923"/>
                  </a:gdLst>
                  <a:ahLst/>
                  <a:cxnLst>
                    <a:cxn ang="0">
                      <a:pos x="connsiteX0" y="connsiteY0"/>
                    </a:cxn>
                    <a:cxn ang="0">
                      <a:pos x="connsiteX1" y="connsiteY1"/>
                    </a:cxn>
                    <a:cxn ang="0">
                      <a:pos x="connsiteX2" y="connsiteY2"/>
                    </a:cxn>
                  </a:cxnLst>
                  <a:rect l="l" t="t" r="r" b="b"/>
                  <a:pathLst>
                    <a:path w="189286" h="101923">
                      <a:moveTo>
                        <a:pt x="190743" y="79245"/>
                      </a:moveTo>
                      <a:cubicBezTo>
                        <a:pt x="190743" y="79245"/>
                        <a:pt x="153613" y="-60536"/>
                        <a:pt x="0" y="31195"/>
                      </a:cubicBezTo>
                      <a:cubicBezTo>
                        <a:pt x="0" y="31195"/>
                        <a:pt x="66250" y="160783"/>
                        <a:pt x="190743" y="79245"/>
                      </a:cubicBezTo>
                      <a:close/>
                    </a:path>
                  </a:pathLst>
                </a:custGeom>
                <a:solidFill>
                  <a:schemeClr val="accent3"/>
                </a:solidFill>
                <a:ln w="72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59" name="Freeform: Shape 62">
                  <a:extLst>
                    <a:ext uri="{FF2B5EF4-FFF2-40B4-BE49-F238E27FC236}">
                      <a16:creationId xmlns:a16="http://schemas.microsoft.com/office/drawing/2014/main" id="{F8E82598-2A88-42FC-9995-5606E74F2A16}"/>
                    </a:ext>
                  </a:extLst>
                </p:cNvPr>
                <p:cNvSpPr/>
                <p:nvPr/>
              </p:nvSpPr>
              <p:spPr>
                <a:xfrm>
                  <a:off x="10067478" y="2360382"/>
                  <a:ext cx="158696" cy="293589"/>
                </a:xfrm>
                <a:custGeom>
                  <a:avLst/>
                  <a:gdLst>
                    <a:gd name="connsiteX0" fmla="*/ 46144 w 145605"/>
                    <a:gd name="connsiteY0" fmla="*/ 274466 h 269369"/>
                    <a:gd name="connsiteX1" fmla="*/ 94922 w 145605"/>
                    <a:gd name="connsiteY1" fmla="*/ 0 h 269369"/>
                    <a:gd name="connsiteX2" fmla="*/ 46144 w 145605"/>
                    <a:gd name="connsiteY2" fmla="*/ 274466 h 269369"/>
                  </a:gdLst>
                  <a:ahLst/>
                  <a:cxnLst>
                    <a:cxn ang="0">
                      <a:pos x="connsiteX0" y="connsiteY0"/>
                    </a:cxn>
                    <a:cxn ang="0">
                      <a:pos x="connsiteX1" y="connsiteY1"/>
                    </a:cxn>
                    <a:cxn ang="0">
                      <a:pos x="connsiteX2" y="connsiteY2"/>
                    </a:cxn>
                  </a:cxnLst>
                  <a:rect l="l" t="t" r="r" b="b"/>
                  <a:pathLst>
                    <a:path w="145605" h="269369">
                      <a:moveTo>
                        <a:pt x="46144" y="274466"/>
                      </a:moveTo>
                      <a:cubicBezTo>
                        <a:pt x="46144" y="274466"/>
                        <a:pt x="240527" y="208215"/>
                        <a:pt x="94922" y="0"/>
                      </a:cubicBezTo>
                      <a:cubicBezTo>
                        <a:pt x="95650" y="0"/>
                        <a:pt x="-81260" y="106292"/>
                        <a:pt x="46144" y="274466"/>
                      </a:cubicBezTo>
                      <a:close/>
                    </a:path>
                  </a:pathLst>
                </a:custGeom>
                <a:solidFill>
                  <a:schemeClr val="accent3"/>
                </a:solidFill>
                <a:ln w="72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60" name="Freeform: Shape 63">
                  <a:extLst>
                    <a:ext uri="{FF2B5EF4-FFF2-40B4-BE49-F238E27FC236}">
                      <a16:creationId xmlns:a16="http://schemas.microsoft.com/office/drawing/2014/main" id="{CFCA92CC-5C3C-4A2E-B385-67ADA6077150}"/>
                    </a:ext>
                  </a:extLst>
                </p:cNvPr>
                <p:cNvSpPr/>
                <p:nvPr/>
              </p:nvSpPr>
              <p:spPr>
                <a:xfrm>
                  <a:off x="10322789" y="2450839"/>
                  <a:ext cx="182500" cy="341198"/>
                </a:xfrm>
                <a:custGeom>
                  <a:avLst/>
                  <a:gdLst>
                    <a:gd name="connsiteX0" fmla="*/ 94368 w 167445"/>
                    <a:gd name="connsiteY0" fmla="*/ 315963 h 313050"/>
                    <a:gd name="connsiteX1" fmla="*/ 63063 w 167445"/>
                    <a:gd name="connsiteY1" fmla="*/ 0 h 313050"/>
                    <a:gd name="connsiteX2" fmla="*/ 94368 w 167445"/>
                    <a:gd name="connsiteY2" fmla="*/ 315963 h 313050"/>
                  </a:gdLst>
                  <a:ahLst/>
                  <a:cxnLst>
                    <a:cxn ang="0">
                      <a:pos x="connsiteX0" y="connsiteY0"/>
                    </a:cxn>
                    <a:cxn ang="0">
                      <a:pos x="connsiteX1" y="connsiteY1"/>
                    </a:cxn>
                    <a:cxn ang="0">
                      <a:pos x="connsiteX2" y="connsiteY2"/>
                    </a:cxn>
                  </a:cxnLst>
                  <a:rect l="l" t="t" r="r" b="b"/>
                  <a:pathLst>
                    <a:path w="167445" h="313050">
                      <a:moveTo>
                        <a:pt x="94368" y="315963"/>
                      </a:moveTo>
                      <a:cubicBezTo>
                        <a:pt x="94368" y="315963"/>
                        <a:pt x="286567" y="183462"/>
                        <a:pt x="63063" y="0"/>
                      </a:cubicBezTo>
                      <a:cubicBezTo>
                        <a:pt x="63063" y="0"/>
                        <a:pt x="-97831" y="171086"/>
                        <a:pt x="94368" y="315963"/>
                      </a:cubicBezTo>
                      <a:close/>
                    </a:path>
                  </a:pathLst>
                </a:custGeom>
                <a:solidFill>
                  <a:schemeClr val="accent3"/>
                </a:solidFill>
                <a:ln w="72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61" name="Freeform: Shape 64">
                  <a:extLst>
                    <a:ext uri="{FF2B5EF4-FFF2-40B4-BE49-F238E27FC236}">
                      <a16:creationId xmlns:a16="http://schemas.microsoft.com/office/drawing/2014/main" id="{43B88ED0-6ABA-4FFC-A0AC-9F3C012FD293}"/>
                    </a:ext>
                  </a:extLst>
                </p:cNvPr>
                <p:cNvSpPr/>
                <p:nvPr/>
              </p:nvSpPr>
              <p:spPr>
                <a:xfrm>
                  <a:off x="10157936" y="2755537"/>
                  <a:ext cx="158696" cy="293589"/>
                </a:xfrm>
                <a:custGeom>
                  <a:avLst/>
                  <a:gdLst>
                    <a:gd name="connsiteX0" fmla="*/ 46144 w 145605"/>
                    <a:gd name="connsiteY0" fmla="*/ 274465 h 269369"/>
                    <a:gd name="connsiteX1" fmla="*/ 94922 w 145605"/>
                    <a:gd name="connsiteY1" fmla="*/ 0 h 269369"/>
                    <a:gd name="connsiteX2" fmla="*/ 46144 w 145605"/>
                    <a:gd name="connsiteY2" fmla="*/ 274465 h 269369"/>
                  </a:gdLst>
                  <a:ahLst/>
                  <a:cxnLst>
                    <a:cxn ang="0">
                      <a:pos x="connsiteX0" y="connsiteY0"/>
                    </a:cxn>
                    <a:cxn ang="0">
                      <a:pos x="connsiteX1" y="connsiteY1"/>
                    </a:cxn>
                    <a:cxn ang="0">
                      <a:pos x="connsiteX2" y="connsiteY2"/>
                    </a:cxn>
                  </a:cxnLst>
                  <a:rect l="l" t="t" r="r" b="b"/>
                  <a:pathLst>
                    <a:path w="145605" h="269369">
                      <a:moveTo>
                        <a:pt x="46144" y="274465"/>
                      </a:moveTo>
                      <a:cubicBezTo>
                        <a:pt x="46144" y="274465"/>
                        <a:pt x="240527" y="208215"/>
                        <a:pt x="94922" y="0"/>
                      </a:cubicBezTo>
                      <a:cubicBezTo>
                        <a:pt x="95650" y="0"/>
                        <a:pt x="-81260" y="106292"/>
                        <a:pt x="46144" y="274465"/>
                      </a:cubicBezTo>
                      <a:close/>
                    </a:path>
                  </a:pathLst>
                </a:custGeom>
                <a:solidFill>
                  <a:schemeClr val="accent3"/>
                </a:solidFill>
                <a:ln w="72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62" name="Freeform: Shape 65">
                  <a:extLst>
                    <a:ext uri="{FF2B5EF4-FFF2-40B4-BE49-F238E27FC236}">
                      <a16:creationId xmlns:a16="http://schemas.microsoft.com/office/drawing/2014/main" id="{4421C271-B08E-46E2-BA6C-478538455850}"/>
                    </a:ext>
                  </a:extLst>
                </p:cNvPr>
                <p:cNvSpPr/>
                <p:nvPr/>
              </p:nvSpPr>
              <p:spPr>
                <a:xfrm>
                  <a:off x="9439038" y="2723217"/>
                  <a:ext cx="214241" cy="126957"/>
                </a:xfrm>
                <a:custGeom>
                  <a:avLst/>
                  <a:gdLst>
                    <a:gd name="connsiteX0" fmla="*/ 199479 w 196566"/>
                    <a:gd name="connsiteY0" fmla="*/ 102532 h 116484"/>
                    <a:gd name="connsiteX1" fmla="*/ 0 w 196566"/>
                    <a:gd name="connsiteY1" fmla="*/ 20265 h 116484"/>
                    <a:gd name="connsiteX2" fmla="*/ 199479 w 196566"/>
                    <a:gd name="connsiteY2" fmla="*/ 102532 h 116484"/>
                  </a:gdLst>
                  <a:ahLst/>
                  <a:cxnLst>
                    <a:cxn ang="0">
                      <a:pos x="connsiteX0" y="connsiteY0"/>
                    </a:cxn>
                    <a:cxn ang="0">
                      <a:pos x="connsiteX1" y="connsiteY1"/>
                    </a:cxn>
                    <a:cxn ang="0">
                      <a:pos x="connsiteX2" y="connsiteY2"/>
                    </a:cxn>
                  </a:cxnLst>
                  <a:rect l="l" t="t" r="r" b="b"/>
                  <a:pathLst>
                    <a:path w="196566" h="116484">
                      <a:moveTo>
                        <a:pt x="199479" y="102532"/>
                      </a:moveTo>
                      <a:cubicBezTo>
                        <a:pt x="199479" y="102532"/>
                        <a:pt x="181278" y="-54721"/>
                        <a:pt x="0" y="20265"/>
                      </a:cubicBezTo>
                      <a:cubicBezTo>
                        <a:pt x="728" y="20265"/>
                        <a:pt x="51690" y="171695"/>
                        <a:pt x="199479" y="102532"/>
                      </a:cubicBezTo>
                      <a:close/>
                    </a:path>
                  </a:pathLst>
                </a:custGeom>
                <a:solidFill>
                  <a:schemeClr val="accent2"/>
                </a:solidFill>
                <a:ln w="72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63" name="Freeform: Shape 66">
                  <a:extLst>
                    <a:ext uri="{FF2B5EF4-FFF2-40B4-BE49-F238E27FC236}">
                      <a16:creationId xmlns:a16="http://schemas.microsoft.com/office/drawing/2014/main" id="{DA3962AF-F9F9-48AD-81C8-AA00A57C93E9}"/>
                    </a:ext>
                  </a:extLst>
                </p:cNvPr>
                <p:cNvSpPr/>
                <p:nvPr/>
              </p:nvSpPr>
              <p:spPr>
                <a:xfrm rot="20506260">
                  <a:off x="10433641" y="2824806"/>
                  <a:ext cx="182500" cy="124867"/>
                </a:xfrm>
                <a:custGeom>
                  <a:avLst/>
                  <a:gdLst>
                    <a:gd name="connsiteX0" fmla="*/ 0 w 138324"/>
                    <a:gd name="connsiteY0" fmla="*/ 79284 h 94643"/>
                    <a:gd name="connsiteX1" fmla="*/ 142693 w 138324"/>
                    <a:gd name="connsiteY1" fmla="*/ 8666 h 94643"/>
                    <a:gd name="connsiteX2" fmla="*/ 0 w 138324"/>
                    <a:gd name="connsiteY2" fmla="*/ 79284 h 94643"/>
                  </a:gdLst>
                  <a:ahLst/>
                  <a:cxnLst>
                    <a:cxn ang="0">
                      <a:pos x="connsiteX0" y="connsiteY0"/>
                    </a:cxn>
                    <a:cxn ang="0">
                      <a:pos x="connsiteX1" y="connsiteY1"/>
                    </a:cxn>
                    <a:cxn ang="0">
                      <a:pos x="connsiteX2" y="connsiteY2"/>
                    </a:cxn>
                  </a:cxnLst>
                  <a:rect l="l" t="t" r="r" b="b"/>
                  <a:pathLst>
                    <a:path w="138324" h="94643">
                      <a:moveTo>
                        <a:pt x="0" y="79284"/>
                      </a:moveTo>
                      <a:cubicBezTo>
                        <a:pt x="0" y="79284"/>
                        <a:pt x="96099" y="146263"/>
                        <a:pt x="142693" y="8666"/>
                      </a:cubicBezTo>
                      <a:cubicBezTo>
                        <a:pt x="142693" y="8666"/>
                        <a:pt x="33489" y="-36472"/>
                        <a:pt x="0" y="79284"/>
                      </a:cubicBezTo>
                      <a:close/>
                    </a:path>
                  </a:pathLst>
                </a:custGeom>
                <a:solidFill>
                  <a:schemeClr val="accent3"/>
                </a:solidFill>
                <a:ln w="72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sp>
            <p:nvSpPr>
              <p:cNvPr id="14" name="Freeform: Shape 17">
                <a:extLst>
                  <a:ext uri="{FF2B5EF4-FFF2-40B4-BE49-F238E27FC236}">
                    <a16:creationId xmlns:a16="http://schemas.microsoft.com/office/drawing/2014/main" id="{D89EB022-5906-47D9-B248-CBE790DFBB75}"/>
                  </a:ext>
                </a:extLst>
              </p:cNvPr>
              <p:cNvSpPr/>
              <p:nvPr/>
            </p:nvSpPr>
            <p:spPr>
              <a:xfrm>
                <a:off x="8948551" y="4233715"/>
                <a:ext cx="1079893" cy="535856"/>
              </a:xfrm>
              <a:custGeom>
                <a:avLst/>
                <a:gdLst>
                  <a:gd name="connsiteX0" fmla="*/ 0 w 1921987"/>
                  <a:gd name="connsiteY0" fmla="*/ 686574 h 953713"/>
                  <a:gd name="connsiteX1" fmla="*/ 985746 w 1921987"/>
                  <a:gd name="connsiteY1" fmla="*/ 46 h 953713"/>
                  <a:gd name="connsiteX2" fmla="*/ 1928540 w 1921987"/>
                  <a:gd name="connsiteY2" fmla="*/ 573002 h 953713"/>
                  <a:gd name="connsiteX3" fmla="*/ 859070 w 1921987"/>
                  <a:gd name="connsiteY3" fmla="*/ 954487 h 953713"/>
                  <a:gd name="connsiteX4" fmla="*/ 0 w 1921987"/>
                  <a:gd name="connsiteY4" fmla="*/ 686574 h 9537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1987" h="953713">
                    <a:moveTo>
                      <a:pt x="0" y="686574"/>
                    </a:moveTo>
                    <a:cubicBezTo>
                      <a:pt x="0" y="686574"/>
                      <a:pt x="302859" y="-6506"/>
                      <a:pt x="985746" y="46"/>
                    </a:cubicBezTo>
                    <a:cubicBezTo>
                      <a:pt x="1668634" y="6598"/>
                      <a:pt x="1928540" y="573002"/>
                      <a:pt x="1928540" y="573002"/>
                    </a:cubicBezTo>
                    <a:lnTo>
                      <a:pt x="859070" y="954487"/>
                    </a:lnTo>
                    <a:lnTo>
                      <a:pt x="0" y="686574"/>
                    </a:lnTo>
                    <a:close/>
                  </a:path>
                </a:pathLst>
              </a:custGeom>
              <a:solidFill>
                <a:schemeClr val="tx1">
                  <a:lumMod val="85000"/>
                  <a:lumOff val="15000"/>
                </a:schemeClr>
              </a:solidFill>
              <a:ln w="72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grpSp>
          <p:nvGrpSpPr>
            <p:cNvPr id="5" name="Group 8">
              <a:extLst>
                <a:ext uri="{FF2B5EF4-FFF2-40B4-BE49-F238E27FC236}">
                  <a16:creationId xmlns:a16="http://schemas.microsoft.com/office/drawing/2014/main" id="{BC45FC0E-3C9F-4017-BA36-80A2D324D2DA}"/>
                </a:ext>
              </a:extLst>
            </p:cNvPr>
            <p:cNvGrpSpPr/>
            <p:nvPr/>
          </p:nvGrpSpPr>
          <p:grpSpPr>
            <a:xfrm>
              <a:off x="7970606" y="4405942"/>
              <a:ext cx="2404486" cy="808735"/>
              <a:chOff x="2579539" y="4115904"/>
              <a:chExt cx="2486718" cy="836393"/>
            </a:xfrm>
          </p:grpSpPr>
          <p:sp>
            <p:nvSpPr>
              <p:cNvPr id="6" name="Freeform: Shape 9">
                <a:extLst>
                  <a:ext uri="{FF2B5EF4-FFF2-40B4-BE49-F238E27FC236}">
                    <a16:creationId xmlns:a16="http://schemas.microsoft.com/office/drawing/2014/main" id="{9E307B96-82DA-45FE-A3AD-3CB8FF324CFB}"/>
                  </a:ext>
                </a:extLst>
              </p:cNvPr>
              <p:cNvSpPr/>
              <p:nvPr/>
            </p:nvSpPr>
            <p:spPr>
              <a:xfrm>
                <a:off x="2675437" y="4115904"/>
                <a:ext cx="2390820" cy="752995"/>
              </a:xfrm>
              <a:custGeom>
                <a:avLst/>
                <a:gdLst>
                  <a:gd name="connsiteX0" fmla="*/ 1123126 w 2390820"/>
                  <a:gd name="connsiteY0" fmla="*/ 2 h 752995"/>
                  <a:gd name="connsiteX1" fmla="*/ 1179469 w 2390820"/>
                  <a:gd name="connsiteY1" fmla="*/ 5508 h 752995"/>
                  <a:gd name="connsiteX2" fmla="*/ 1541592 w 2390820"/>
                  <a:gd name="connsiteY2" fmla="*/ 69810 h 752995"/>
                  <a:gd name="connsiteX3" fmla="*/ 1851257 w 2390820"/>
                  <a:gd name="connsiteY3" fmla="*/ 132421 h 752995"/>
                  <a:gd name="connsiteX4" fmla="*/ 1794146 w 2390820"/>
                  <a:gd name="connsiteY4" fmla="*/ 222528 h 752995"/>
                  <a:gd name="connsiteX5" fmla="*/ 2253991 w 2390820"/>
                  <a:gd name="connsiteY5" fmla="*/ 119306 h 752995"/>
                  <a:gd name="connsiteX6" fmla="*/ 2386826 w 2390820"/>
                  <a:gd name="connsiteY6" fmla="*/ 187416 h 752995"/>
                  <a:gd name="connsiteX7" fmla="*/ 1294959 w 2390820"/>
                  <a:gd name="connsiteY7" fmla="*/ 613841 h 752995"/>
                  <a:gd name="connsiteX8" fmla="*/ 1036905 w 2390820"/>
                  <a:gd name="connsiteY8" fmla="*/ 600726 h 752995"/>
                  <a:gd name="connsiteX9" fmla="*/ 784350 w 2390820"/>
                  <a:gd name="connsiteY9" fmla="*/ 556730 h 752995"/>
                  <a:gd name="connsiteX10" fmla="*/ 528364 w 2390820"/>
                  <a:gd name="connsiteY10" fmla="*/ 716878 h 752995"/>
                  <a:gd name="connsiteX11" fmla="*/ 474399 w 2390820"/>
                  <a:gd name="connsiteY11" fmla="*/ 752995 h 752995"/>
                  <a:gd name="connsiteX12" fmla="*/ 0 w 2390820"/>
                  <a:gd name="connsiteY12" fmla="*/ 477844 h 752995"/>
                  <a:gd name="connsiteX13" fmla="*/ 484837 w 2390820"/>
                  <a:gd name="connsiteY13" fmla="*/ 265255 h 752995"/>
                  <a:gd name="connsiteX14" fmla="*/ 767852 w 2390820"/>
                  <a:gd name="connsiteY14" fmla="*/ 68118 h 752995"/>
                  <a:gd name="connsiteX15" fmla="*/ 1123126 w 2390820"/>
                  <a:gd name="connsiteY15" fmla="*/ 2 h 7529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390820" h="752995">
                    <a:moveTo>
                      <a:pt x="1123126" y="2"/>
                    </a:moveTo>
                    <a:cubicBezTo>
                      <a:pt x="1148244" y="-71"/>
                      <a:pt x="1167413" y="1912"/>
                      <a:pt x="1179469" y="5508"/>
                    </a:cubicBezTo>
                    <a:cubicBezTo>
                      <a:pt x="1227696" y="20315"/>
                      <a:pt x="1424833" y="101962"/>
                      <a:pt x="1541592" y="69810"/>
                    </a:cubicBezTo>
                    <a:cubicBezTo>
                      <a:pt x="1658774" y="37659"/>
                      <a:pt x="1832220" y="65157"/>
                      <a:pt x="1851257" y="132421"/>
                    </a:cubicBezTo>
                    <a:cubicBezTo>
                      <a:pt x="1867333" y="188685"/>
                      <a:pt x="1812337" y="215337"/>
                      <a:pt x="1794146" y="222528"/>
                    </a:cubicBezTo>
                    <a:cubicBezTo>
                      <a:pt x="1838143" y="206452"/>
                      <a:pt x="2131310" y="104500"/>
                      <a:pt x="2253991" y="119306"/>
                    </a:cubicBezTo>
                    <a:cubicBezTo>
                      <a:pt x="2386826" y="135382"/>
                      <a:pt x="2399940" y="148073"/>
                      <a:pt x="2386826" y="187416"/>
                    </a:cubicBezTo>
                    <a:cubicBezTo>
                      <a:pt x="2374557" y="225912"/>
                      <a:pt x="1369838" y="600303"/>
                      <a:pt x="1294959" y="613841"/>
                    </a:cubicBezTo>
                    <a:cubicBezTo>
                      <a:pt x="1220081" y="626955"/>
                      <a:pt x="1135896" y="598188"/>
                      <a:pt x="1036905" y="600726"/>
                    </a:cubicBezTo>
                    <a:cubicBezTo>
                      <a:pt x="940029" y="603265"/>
                      <a:pt x="809309" y="565614"/>
                      <a:pt x="784350" y="556730"/>
                    </a:cubicBezTo>
                    <a:cubicBezTo>
                      <a:pt x="774514" y="553240"/>
                      <a:pt x="661880" y="627563"/>
                      <a:pt x="528364" y="716878"/>
                    </a:cubicBezTo>
                    <a:lnTo>
                      <a:pt x="474399" y="752995"/>
                    </a:lnTo>
                    <a:lnTo>
                      <a:pt x="0" y="477844"/>
                    </a:lnTo>
                    <a:lnTo>
                      <a:pt x="484837" y="265255"/>
                    </a:lnTo>
                    <a:cubicBezTo>
                      <a:pt x="484837" y="265255"/>
                      <a:pt x="566484" y="133690"/>
                      <a:pt x="767852" y="68118"/>
                    </a:cubicBezTo>
                    <a:cubicBezTo>
                      <a:pt x="918877" y="18940"/>
                      <a:pt x="1047772" y="220"/>
                      <a:pt x="1123126" y="2"/>
                    </a:cubicBezTo>
                    <a:close/>
                  </a:path>
                </a:pathLst>
              </a:custGeom>
              <a:solidFill>
                <a:srgbClr val="FDD6B7"/>
              </a:solidFill>
              <a:ln w="7280" cap="flat">
                <a:noFill/>
                <a:prstDash val="solid"/>
                <a:miter/>
              </a:ln>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7" name="Freeform: Shape 10">
                <a:extLst>
                  <a:ext uri="{FF2B5EF4-FFF2-40B4-BE49-F238E27FC236}">
                    <a16:creationId xmlns:a16="http://schemas.microsoft.com/office/drawing/2014/main" id="{247E7CBF-68E7-4716-A45B-5FDCDDD8803D}"/>
                  </a:ext>
                </a:extLst>
              </p:cNvPr>
              <p:cNvSpPr/>
              <p:nvPr/>
            </p:nvSpPr>
            <p:spPr>
              <a:xfrm>
                <a:off x="3836715" y="4338432"/>
                <a:ext cx="626099" cy="126912"/>
              </a:xfrm>
              <a:custGeom>
                <a:avLst/>
                <a:gdLst>
                  <a:gd name="connsiteX0" fmla="*/ 0 w 1077477"/>
                  <a:gd name="connsiteY0" fmla="*/ 211127 h 218407"/>
                  <a:gd name="connsiteX1" fmla="*/ 2184 w 1077477"/>
                  <a:gd name="connsiteY1" fmla="*/ 208943 h 218407"/>
                  <a:gd name="connsiteX2" fmla="*/ 8736 w 1077477"/>
                  <a:gd name="connsiteY2" fmla="*/ 201663 h 218407"/>
                  <a:gd name="connsiteX3" fmla="*/ 33489 w 1077477"/>
                  <a:gd name="connsiteY3" fmla="*/ 174726 h 218407"/>
                  <a:gd name="connsiteX4" fmla="*/ 76443 w 1077477"/>
                  <a:gd name="connsiteY4" fmla="*/ 137597 h 218407"/>
                  <a:gd name="connsiteX5" fmla="*/ 104836 w 1077477"/>
                  <a:gd name="connsiteY5" fmla="*/ 117212 h 218407"/>
                  <a:gd name="connsiteX6" fmla="*/ 139053 w 1077477"/>
                  <a:gd name="connsiteY6" fmla="*/ 98283 h 218407"/>
                  <a:gd name="connsiteX7" fmla="*/ 223504 w 1077477"/>
                  <a:gd name="connsiteY7" fmla="*/ 69162 h 218407"/>
                  <a:gd name="connsiteX8" fmla="*/ 247529 w 1077477"/>
                  <a:gd name="connsiteY8" fmla="*/ 65522 h 218407"/>
                  <a:gd name="connsiteX9" fmla="*/ 259905 w 1077477"/>
                  <a:gd name="connsiteY9" fmla="*/ 64067 h 218407"/>
                  <a:gd name="connsiteX10" fmla="*/ 261361 w 1077477"/>
                  <a:gd name="connsiteY10" fmla="*/ 64067 h 218407"/>
                  <a:gd name="connsiteX11" fmla="*/ 263545 w 1077477"/>
                  <a:gd name="connsiteY11" fmla="*/ 64067 h 218407"/>
                  <a:gd name="connsiteX12" fmla="*/ 266457 w 1077477"/>
                  <a:gd name="connsiteY12" fmla="*/ 64067 h 218407"/>
                  <a:gd name="connsiteX13" fmla="*/ 272281 w 1077477"/>
                  <a:gd name="connsiteY13" fmla="*/ 64067 h 218407"/>
                  <a:gd name="connsiteX14" fmla="*/ 321059 w 1077477"/>
                  <a:gd name="connsiteY14" fmla="*/ 63338 h 218407"/>
                  <a:gd name="connsiteX15" fmla="*/ 371293 w 1077477"/>
                  <a:gd name="connsiteY15" fmla="*/ 63338 h 218407"/>
                  <a:gd name="connsiteX16" fmla="*/ 423711 w 1077477"/>
                  <a:gd name="connsiteY16" fmla="*/ 66251 h 218407"/>
                  <a:gd name="connsiteX17" fmla="*/ 528546 w 1077477"/>
                  <a:gd name="connsiteY17" fmla="*/ 74259 h 218407"/>
                  <a:gd name="connsiteX18" fmla="*/ 580236 w 1077477"/>
                  <a:gd name="connsiteY18" fmla="*/ 77899 h 218407"/>
                  <a:gd name="connsiteX19" fmla="*/ 583148 w 1077477"/>
                  <a:gd name="connsiteY19" fmla="*/ 77899 h 218407"/>
                  <a:gd name="connsiteX20" fmla="*/ 584604 w 1077477"/>
                  <a:gd name="connsiteY20" fmla="*/ 77899 h 218407"/>
                  <a:gd name="connsiteX21" fmla="*/ 585332 w 1077477"/>
                  <a:gd name="connsiteY21" fmla="*/ 77899 h 218407"/>
                  <a:gd name="connsiteX22" fmla="*/ 585332 w 1077477"/>
                  <a:gd name="connsiteY22" fmla="*/ 77899 h 218407"/>
                  <a:gd name="connsiteX23" fmla="*/ 586061 w 1077477"/>
                  <a:gd name="connsiteY23" fmla="*/ 77899 h 218407"/>
                  <a:gd name="connsiteX24" fmla="*/ 592613 w 1077477"/>
                  <a:gd name="connsiteY24" fmla="*/ 77899 h 218407"/>
                  <a:gd name="connsiteX25" fmla="*/ 605717 w 1077477"/>
                  <a:gd name="connsiteY25" fmla="*/ 77899 h 218407"/>
                  <a:gd name="connsiteX26" fmla="*/ 630470 w 1077477"/>
                  <a:gd name="connsiteY26" fmla="*/ 76443 h 218407"/>
                  <a:gd name="connsiteX27" fmla="*/ 730209 w 1077477"/>
                  <a:gd name="connsiteY27" fmla="*/ 66251 h 218407"/>
                  <a:gd name="connsiteX28" fmla="*/ 824125 w 1077477"/>
                  <a:gd name="connsiteY28" fmla="*/ 53146 h 218407"/>
                  <a:gd name="connsiteX29" fmla="*/ 907848 w 1077477"/>
                  <a:gd name="connsiteY29" fmla="*/ 39314 h 218407"/>
                  <a:gd name="connsiteX30" fmla="*/ 978466 w 1077477"/>
                  <a:gd name="connsiteY30" fmla="*/ 26209 h 218407"/>
                  <a:gd name="connsiteX31" fmla="*/ 1032340 w 1077477"/>
                  <a:gd name="connsiteY31" fmla="*/ 13833 h 218407"/>
                  <a:gd name="connsiteX32" fmla="*/ 1051997 w 1077477"/>
                  <a:gd name="connsiteY32" fmla="*/ 8736 h 218407"/>
                  <a:gd name="connsiteX33" fmla="*/ 1065829 w 1077477"/>
                  <a:gd name="connsiteY33" fmla="*/ 4368 h 218407"/>
                  <a:gd name="connsiteX34" fmla="*/ 1077478 w 1077477"/>
                  <a:gd name="connsiteY34" fmla="*/ 0 h 218407"/>
                  <a:gd name="connsiteX35" fmla="*/ 1082574 w 1077477"/>
                  <a:gd name="connsiteY35" fmla="*/ 8736 h 218407"/>
                  <a:gd name="connsiteX36" fmla="*/ 1070925 w 1077477"/>
                  <a:gd name="connsiteY36" fmla="*/ 14561 h 218407"/>
                  <a:gd name="connsiteX37" fmla="*/ 1057093 w 1077477"/>
                  <a:gd name="connsiteY37" fmla="*/ 21113 h 218407"/>
                  <a:gd name="connsiteX38" fmla="*/ 1037436 w 1077477"/>
                  <a:gd name="connsiteY38" fmla="*/ 29121 h 218407"/>
                  <a:gd name="connsiteX39" fmla="*/ 984291 w 1077477"/>
                  <a:gd name="connsiteY39" fmla="*/ 46594 h 218407"/>
                  <a:gd name="connsiteX40" fmla="*/ 914400 w 1077477"/>
                  <a:gd name="connsiteY40" fmla="*/ 64794 h 218407"/>
                  <a:gd name="connsiteX41" fmla="*/ 736762 w 1077477"/>
                  <a:gd name="connsiteY41" fmla="*/ 100468 h 218407"/>
                  <a:gd name="connsiteX42" fmla="*/ 634838 w 1077477"/>
                  <a:gd name="connsiteY42" fmla="*/ 114300 h 218407"/>
                  <a:gd name="connsiteX43" fmla="*/ 607901 w 1077477"/>
                  <a:gd name="connsiteY43" fmla="*/ 116484 h 218407"/>
                  <a:gd name="connsiteX44" fmla="*/ 594797 w 1077477"/>
                  <a:gd name="connsiteY44" fmla="*/ 117212 h 218407"/>
                  <a:gd name="connsiteX45" fmla="*/ 588245 w 1077477"/>
                  <a:gd name="connsiteY45" fmla="*/ 117212 h 218407"/>
                  <a:gd name="connsiteX46" fmla="*/ 587516 w 1077477"/>
                  <a:gd name="connsiteY46" fmla="*/ 117212 h 218407"/>
                  <a:gd name="connsiteX47" fmla="*/ 586061 w 1077477"/>
                  <a:gd name="connsiteY47" fmla="*/ 117212 h 218407"/>
                  <a:gd name="connsiteX48" fmla="*/ 584604 w 1077477"/>
                  <a:gd name="connsiteY48" fmla="*/ 117212 h 218407"/>
                  <a:gd name="connsiteX49" fmla="*/ 580964 w 1077477"/>
                  <a:gd name="connsiteY49" fmla="*/ 117212 h 218407"/>
                  <a:gd name="connsiteX50" fmla="*/ 527090 w 1077477"/>
                  <a:gd name="connsiteY50" fmla="*/ 115028 h 218407"/>
                  <a:gd name="connsiteX51" fmla="*/ 422983 w 1077477"/>
                  <a:gd name="connsiteY51" fmla="*/ 107748 h 218407"/>
                  <a:gd name="connsiteX52" fmla="*/ 372749 w 1077477"/>
                  <a:gd name="connsiteY52" fmla="*/ 105564 h 218407"/>
                  <a:gd name="connsiteX53" fmla="*/ 322515 w 1077477"/>
                  <a:gd name="connsiteY53" fmla="*/ 105564 h 218407"/>
                  <a:gd name="connsiteX54" fmla="*/ 273737 w 1077477"/>
                  <a:gd name="connsiteY54" fmla="*/ 104836 h 218407"/>
                  <a:gd name="connsiteX55" fmla="*/ 267913 w 1077477"/>
                  <a:gd name="connsiteY55" fmla="*/ 104836 h 218407"/>
                  <a:gd name="connsiteX56" fmla="*/ 265001 w 1077477"/>
                  <a:gd name="connsiteY56" fmla="*/ 104836 h 218407"/>
                  <a:gd name="connsiteX57" fmla="*/ 264273 w 1077477"/>
                  <a:gd name="connsiteY57" fmla="*/ 104836 h 218407"/>
                  <a:gd name="connsiteX58" fmla="*/ 262817 w 1077477"/>
                  <a:gd name="connsiteY58" fmla="*/ 104836 h 218407"/>
                  <a:gd name="connsiteX59" fmla="*/ 251897 w 1077477"/>
                  <a:gd name="connsiteY59" fmla="*/ 105564 h 218407"/>
                  <a:gd name="connsiteX60" fmla="*/ 230056 w 1077477"/>
                  <a:gd name="connsiteY60" fmla="*/ 107020 h 218407"/>
                  <a:gd name="connsiteX61" fmla="*/ 151429 w 1077477"/>
                  <a:gd name="connsiteY61" fmla="*/ 125220 h 218407"/>
                  <a:gd name="connsiteX62" fmla="*/ 88091 w 1077477"/>
                  <a:gd name="connsiteY62" fmla="*/ 155070 h 218407"/>
                  <a:gd name="connsiteX63" fmla="*/ 43682 w 1077477"/>
                  <a:gd name="connsiteY63" fmla="*/ 186375 h 218407"/>
                  <a:gd name="connsiteX64" fmla="*/ 17473 w 1077477"/>
                  <a:gd name="connsiteY64" fmla="*/ 209672 h 218407"/>
                  <a:gd name="connsiteX65" fmla="*/ 10920 w 1077477"/>
                  <a:gd name="connsiteY65" fmla="*/ 216224 h 218407"/>
                  <a:gd name="connsiteX66" fmla="*/ 9464 w 1077477"/>
                  <a:gd name="connsiteY66" fmla="*/ 219136 h 218407"/>
                  <a:gd name="connsiteX67" fmla="*/ 0 w 1077477"/>
                  <a:gd name="connsiteY67" fmla="*/ 211127 h 2184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1077477" h="218407">
                    <a:moveTo>
                      <a:pt x="0" y="211127"/>
                    </a:moveTo>
                    <a:cubicBezTo>
                      <a:pt x="0" y="211127"/>
                      <a:pt x="728" y="210400"/>
                      <a:pt x="2184" y="208943"/>
                    </a:cubicBezTo>
                    <a:cubicBezTo>
                      <a:pt x="3640" y="207487"/>
                      <a:pt x="5824" y="204575"/>
                      <a:pt x="8736" y="201663"/>
                    </a:cubicBezTo>
                    <a:cubicBezTo>
                      <a:pt x="13832" y="195111"/>
                      <a:pt x="21841" y="185647"/>
                      <a:pt x="33489" y="174726"/>
                    </a:cubicBezTo>
                    <a:cubicBezTo>
                      <a:pt x="44409" y="163806"/>
                      <a:pt x="58242" y="150701"/>
                      <a:pt x="76443" y="137597"/>
                    </a:cubicBezTo>
                    <a:cubicBezTo>
                      <a:pt x="85179" y="131045"/>
                      <a:pt x="94643" y="124493"/>
                      <a:pt x="104836" y="117212"/>
                    </a:cubicBezTo>
                    <a:cubicBezTo>
                      <a:pt x="115756" y="110660"/>
                      <a:pt x="126676" y="104108"/>
                      <a:pt x="139053" y="98283"/>
                    </a:cubicBezTo>
                    <a:cubicBezTo>
                      <a:pt x="163806" y="85907"/>
                      <a:pt x="191471" y="74987"/>
                      <a:pt x="223504" y="69162"/>
                    </a:cubicBezTo>
                    <a:cubicBezTo>
                      <a:pt x="231512" y="66978"/>
                      <a:pt x="239520" y="66978"/>
                      <a:pt x="247529" y="65522"/>
                    </a:cubicBezTo>
                    <a:cubicBezTo>
                      <a:pt x="251897" y="64794"/>
                      <a:pt x="255537" y="64794"/>
                      <a:pt x="259905" y="64067"/>
                    </a:cubicBezTo>
                    <a:lnTo>
                      <a:pt x="261361" y="64067"/>
                    </a:lnTo>
                    <a:lnTo>
                      <a:pt x="263545" y="64067"/>
                    </a:lnTo>
                    <a:lnTo>
                      <a:pt x="266457" y="64067"/>
                    </a:lnTo>
                    <a:lnTo>
                      <a:pt x="272281" y="64067"/>
                    </a:lnTo>
                    <a:cubicBezTo>
                      <a:pt x="288298" y="63338"/>
                      <a:pt x="304315" y="63338"/>
                      <a:pt x="321059" y="63338"/>
                    </a:cubicBezTo>
                    <a:cubicBezTo>
                      <a:pt x="337804" y="63338"/>
                      <a:pt x="354548" y="62610"/>
                      <a:pt x="371293" y="63338"/>
                    </a:cubicBezTo>
                    <a:cubicBezTo>
                      <a:pt x="388766" y="64067"/>
                      <a:pt x="406238" y="65522"/>
                      <a:pt x="423711" y="66251"/>
                    </a:cubicBezTo>
                    <a:cubicBezTo>
                      <a:pt x="459384" y="67707"/>
                      <a:pt x="493601" y="72075"/>
                      <a:pt x="528546" y="74259"/>
                    </a:cubicBezTo>
                    <a:cubicBezTo>
                      <a:pt x="546019" y="75715"/>
                      <a:pt x="562764" y="76443"/>
                      <a:pt x="580236" y="77899"/>
                    </a:cubicBezTo>
                    <a:lnTo>
                      <a:pt x="583148" y="77899"/>
                    </a:lnTo>
                    <a:lnTo>
                      <a:pt x="584604" y="77899"/>
                    </a:lnTo>
                    <a:lnTo>
                      <a:pt x="585332" y="77899"/>
                    </a:lnTo>
                    <a:cubicBezTo>
                      <a:pt x="585332" y="77899"/>
                      <a:pt x="584604" y="77899"/>
                      <a:pt x="585332" y="77899"/>
                    </a:cubicBezTo>
                    <a:lnTo>
                      <a:pt x="586061" y="77899"/>
                    </a:lnTo>
                    <a:lnTo>
                      <a:pt x="592613" y="77899"/>
                    </a:lnTo>
                    <a:cubicBezTo>
                      <a:pt x="596981" y="77899"/>
                      <a:pt x="601349" y="77899"/>
                      <a:pt x="605717" y="77899"/>
                    </a:cubicBezTo>
                    <a:cubicBezTo>
                      <a:pt x="613725" y="77171"/>
                      <a:pt x="621734" y="77171"/>
                      <a:pt x="630470" y="76443"/>
                    </a:cubicBezTo>
                    <a:cubicBezTo>
                      <a:pt x="664687" y="73531"/>
                      <a:pt x="698176" y="69891"/>
                      <a:pt x="730209" y="66251"/>
                    </a:cubicBezTo>
                    <a:cubicBezTo>
                      <a:pt x="762971" y="61882"/>
                      <a:pt x="794276" y="57514"/>
                      <a:pt x="824125" y="53146"/>
                    </a:cubicBezTo>
                    <a:cubicBezTo>
                      <a:pt x="853974" y="48778"/>
                      <a:pt x="881639" y="43682"/>
                      <a:pt x="907848" y="39314"/>
                    </a:cubicBezTo>
                    <a:cubicBezTo>
                      <a:pt x="934057" y="34946"/>
                      <a:pt x="957354" y="30577"/>
                      <a:pt x="978466" y="26209"/>
                    </a:cubicBezTo>
                    <a:cubicBezTo>
                      <a:pt x="999579" y="21841"/>
                      <a:pt x="1017780" y="18201"/>
                      <a:pt x="1032340" y="13833"/>
                    </a:cubicBezTo>
                    <a:cubicBezTo>
                      <a:pt x="1039620" y="12377"/>
                      <a:pt x="1046173" y="10193"/>
                      <a:pt x="1051997" y="8736"/>
                    </a:cubicBezTo>
                    <a:cubicBezTo>
                      <a:pt x="1057821" y="7280"/>
                      <a:pt x="1062189" y="5825"/>
                      <a:pt x="1065829" y="4368"/>
                    </a:cubicBezTo>
                    <a:cubicBezTo>
                      <a:pt x="1073109" y="1456"/>
                      <a:pt x="1077478" y="0"/>
                      <a:pt x="1077478" y="0"/>
                    </a:cubicBezTo>
                    <a:lnTo>
                      <a:pt x="1082574" y="8736"/>
                    </a:lnTo>
                    <a:cubicBezTo>
                      <a:pt x="1082574" y="8736"/>
                      <a:pt x="1078206" y="10920"/>
                      <a:pt x="1070925" y="14561"/>
                    </a:cubicBezTo>
                    <a:cubicBezTo>
                      <a:pt x="1067285" y="16745"/>
                      <a:pt x="1062189" y="18929"/>
                      <a:pt x="1057093" y="21113"/>
                    </a:cubicBezTo>
                    <a:cubicBezTo>
                      <a:pt x="1051269" y="23297"/>
                      <a:pt x="1044717" y="26209"/>
                      <a:pt x="1037436" y="29121"/>
                    </a:cubicBezTo>
                    <a:cubicBezTo>
                      <a:pt x="1022876" y="34217"/>
                      <a:pt x="1004675" y="40041"/>
                      <a:pt x="984291" y="46594"/>
                    </a:cubicBezTo>
                    <a:cubicBezTo>
                      <a:pt x="963178" y="52418"/>
                      <a:pt x="939881" y="58970"/>
                      <a:pt x="914400" y="64794"/>
                    </a:cubicBezTo>
                    <a:cubicBezTo>
                      <a:pt x="862710" y="77171"/>
                      <a:pt x="802284" y="90275"/>
                      <a:pt x="736762" y="100468"/>
                    </a:cubicBezTo>
                    <a:cubicBezTo>
                      <a:pt x="704001" y="105564"/>
                      <a:pt x="669783" y="111388"/>
                      <a:pt x="634838" y="114300"/>
                    </a:cubicBezTo>
                    <a:cubicBezTo>
                      <a:pt x="626102" y="115028"/>
                      <a:pt x="616637" y="115756"/>
                      <a:pt x="607901" y="116484"/>
                    </a:cubicBezTo>
                    <a:cubicBezTo>
                      <a:pt x="603533" y="116484"/>
                      <a:pt x="599165" y="116484"/>
                      <a:pt x="594797" y="117212"/>
                    </a:cubicBezTo>
                    <a:lnTo>
                      <a:pt x="588245" y="117212"/>
                    </a:lnTo>
                    <a:lnTo>
                      <a:pt x="587516" y="117212"/>
                    </a:lnTo>
                    <a:lnTo>
                      <a:pt x="586061" y="117212"/>
                    </a:lnTo>
                    <a:lnTo>
                      <a:pt x="584604" y="117212"/>
                    </a:lnTo>
                    <a:lnTo>
                      <a:pt x="580964" y="117212"/>
                    </a:lnTo>
                    <a:cubicBezTo>
                      <a:pt x="563492" y="116484"/>
                      <a:pt x="545291" y="115756"/>
                      <a:pt x="527090" y="115028"/>
                    </a:cubicBezTo>
                    <a:cubicBezTo>
                      <a:pt x="492145" y="112844"/>
                      <a:pt x="456472" y="109204"/>
                      <a:pt x="422983" y="107748"/>
                    </a:cubicBezTo>
                    <a:cubicBezTo>
                      <a:pt x="406238" y="107020"/>
                      <a:pt x="389494" y="106292"/>
                      <a:pt x="372749" y="105564"/>
                    </a:cubicBezTo>
                    <a:cubicBezTo>
                      <a:pt x="356004" y="105564"/>
                      <a:pt x="339260" y="105564"/>
                      <a:pt x="322515" y="105564"/>
                    </a:cubicBezTo>
                    <a:cubicBezTo>
                      <a:pt x="305771" y="105564"/>
                      <a:pt x="289754" y="105564"/>
                      <a:pt x="273737" y="104836"/>
                    </a:cubicBezTo>
                    <a:lnTo>
                      <a:pt x="267913" y="104836"/>
                    </a:lnTo>
                    <a:lnTo>
                      <a:pt x="265001" y="104836"/>
                    </a:lnTo>
                    <a:cubicBezTo>
                      <a:pt x="265001" y="104836"/>
                      <a:pt x="263545" y="104836"/>
                      <a:pt x="264273" y="104836"/>
                    </a:cubicBezTo>
                    <a:lnTo>
                      <a:pt x="262817" y="104836"/>
                    </a:lnTo>
                    <a:cubicBezTo>
                      <a:pt x="259177" y="104836"/>
                      <a:pt x="255537" y="105564"/>
                      <a:pt x="251897" y="105564"/>
                    </a:cubicBezTo>
                    <a:cubicBezTo>
                      <a:pt x="244616" y="106292"/>
                      <a:pt x="237336" y="105564"/>
                      <a:pt x="230056" y="107020"/>
                    </a:cubicBezTo>
                    <a:cubicBezTo>
                      <a:pt x="201663" y="109932"/>
                      <a:pt x="175454" y="116484"/>
                      <a:pt x="151429" y="125220"/>
                    </a:cubicBezTo>
                    <a:cubicBezTo>
                      <a:pt x="127404" y="133957"/>
                      <a:pt x="106292" y="144149"/>
                      <a:pt x="88091" y="155070"/>
                    </a:cubicBezTo>
                    <a:cubicBezTo>
                      <a:pt x="69890" y="165990"/>
                      <a:pt x="55330" y="176911"/>
                      <a:pt x="43682" y="186375"/>
                    </a:cubicBezTo>
                    <a:cubicBezTo>
                      <a:pt x="32033" y="195839"/>
                      <a:pt x="23297" y="203847"/>
                      <a:pt x="17473" y="209672"/>
                    </a:cubicBezTo>
                    <a:cubicBezTo>
                      <a:pt x="14561" y="212584"/>
                      <a:pt x="12376" y="214768"/>
                      <a:pt x="10920" y="216224"/>
                    </a:cubicBezTo>
                    <a:cubicBezTo>
                      <a:pt x="9464" y="217680"/>
                      <a:pt x="9464" y="219136"/>
                      <a:pt x="9464" y="219136"/>
                    </a:cubicBezTo>
                    <a:lnTo>
                      <a:pt x="0" y="211127"/>
                    </a:lnTo>
                    <a:close/>
                  </a:path>
                </a:pathLst>
              </a:custGeom>
              <a:solidFill>
                <a:srgbClr val="D3AE94"/>
              </a:solidFill>
              <a:ln w="72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8" name="Freeform: Shape 11">
                <a:extLst>
                  <a:ext uri="{FF2B5EF4-FFF2-40B4-BE49-F238E27FC236}">
                    <a16:creationId xmlns:a16="http://schemas.microsoft.com/office/drawing/2014/main" id="{6109EC13-ECF2-4534-B59E-8D77EBBFBA1B}"/>
                  </a:ext>
                </a:extLst>
              </p:cNvPr>
              <p:cNvSpPr/>
              <p:nvPr/>
            </p:nvSpPr>
            <p:spPr>
              <a:xfrm>
                <a:off x="4306425" y="4199300"/>
                <a:ext cx="198829" cy="148064"/>
              </a:xfrm>
              <a:custGeom>
                <a:avLst/>
                <a:gdLst>
                  <a:gd name="connsiteX0" fmla="*/ 28160 w 342171"/>
                  <a:gd name="connsiteY0" fmla="*/ 6468 h 254808"/>
                  <a:gd name="connsiteX1" fmla="*/ 58009 w 342171"/>
                  <a:gd name="connsiteY1" fmla="*/ 257637 h 254808"/>
                  <a:gd name="connsiteX2" fmla="*/ 342667 w 342171"/>
                  <a:gd name="connsiteY2" fmla="*/ 106936 h 254808"/>
                  <a:gd name="connsiteX3" fmla="*/ 28160 w 342171"/>
                  <a:gd name="connsiteY3" fmla="*/ 6468 h 254808"/>
                </a:gdLst>
                <a:ahLst/>
                <a:cxnLst>
                  <a:cxn ang="0">
                    <a:pos x="connsiteX0" y="connsiteY0"/>
                  </a:cxn>
                  <a:cxn ang="0">
                    <a:pos x="connsiteX1" y="connsiteY1"/>
                  </a:cxn>
                  <a:cxn ang="0">
                    <a:pos x="connsiteX2" y="connsiteY2"/>
                  </a:cxn>
                  <a:cxn ang="0">
                    <a:pos x="connsiteX3" y="connsiteY3"/>
                  </a:cxn>
                </a:cxnLst>
                <a:rect l="l" t="t" r="r" b="b"/>
                <a:pathLst>
                  <a:path w="342171" h="254808">
                    <a:moveTo>
                      <a:pt x="28160" y="6468"/>
                    </a:moveTo>
                    <a:cubicBezTo>
                      <a:pt x="28160" y="6468"/>
                      <a:pt x="-51922" y="150617"/>
                      <a:pt x="58009" y="257637"/>
                    </a:cubicBezTo>
                    <a:cubicBezTo>
                      <a:pt x="58009" y="257637"/>
                      <a:pt x="342667" y="257637"/>
                      <a:pt x="342667" y="106936"/>
                    </a:cubicBezTo>
                    <a:cubicBezTo>
                      <a:pt x="342667" y="-43766"/>
                      <a:pt x="51457" y="10108"/>
                      <a:pt x="28160" y="6468"/>
                    </a:cubicBezTo>
                    <a:close/>
                  </a:path>
                </a:pathLst>
              </a:custGeom>
              <a:solidFill>
                <a:srgbClr val="FFF9F5"/>
              </a:solidFill>
              <a:ln w="72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9" name="Freeform: Shape 12">
                <a:extLst>
                  <a:ext uri="{FF2B5EF4-FFF2-40B4-BE49-F238E27FC236}">
                    <a16:creationId xmlns:a16="http://schemas.microsoft.com/office/drawing/2014/main" id="{7D66C954-20F7-477F-A953-1932230546B7}"/>
                  </a:ext>
                </a:extLst>
              </p:cNvPr>
              <p:cNvSpPr/>
              <p:nvPr/>
            </p:nvSpPr>
            <p:spPr>
              <a:xfrm>
                <a:off x="2607783" y="4255517"/>
                <a:ext cx="814776" cy="637255"/>
              </a:xfrm>
              <a:custGeom>
                <a:avLst/>
                <a:gdLst>
                  <a:gd name="connsiteX0" fmla="*/ 565182 w 814776"/>
                  <a:gd name="connsiteY0" fmla="*/ 0 h 637255"/>
                  <a:gd name="connsiteX1" fmla="*/ 814776 w 814776"/>
                  <a:gd name="connsiteY1" fmla="*/ 527954 h 637255"/>
                  <a:gd name="connsiteX2" fmla="*/ 583210 w 814776"/>
                  <a:gd name="connsiteY2" fmla="*/ 637255 h 637255"/>
                  <a:gd name="connsiteX3" fmla="*/ 61426 w 814776"/>
                  <a:gd name="connsiteY3" fmla="*/ 334620 h 637255"/>
                  <a:gd name="connsiteX4" fmla="*/ 0 w 814776"/>
                  <a:gd name="connsiteY4" fmla="*/ 266938 h 6372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4776" h="637255">
                    <a:moveTo>
                      <a:pt x="565182" y="0"/>
                    </a:moveTo>
                    <a:lnTo>
                      <a:pt x="814776" y="527954"/>
                    </a:lnTo>
                    <a:lnTo>
                      <a:pt x="583210" y="637255"/>
                    </a:lnTo>
                    <a:lnTo>
                      <a:pt x="61426" y="334620"/>
                    </a:lnTo>
                    <a:lnTo>
                      <a:pt x="0" y="266938"/>
                    </a:lnTo>
                    <a:close/>
                  </a:path>
                </a:pathLst>
              </a:custGeom>
              <a:solidFill>
                <a:srgbClr val="FFFFFF"/>
              </a:solidFill>
              <a:ln w="7280" cap="flat">
                <a:noFill/>
                <a:prstDash val="solid"/>
                <a:miter/>
              </a:ln>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0" name="Freeform: Shape 13">
                <a:extLst>
                  <a:ext uri="{FF2B5EF4-FFF2-40B4-BE49-F238E27FC236}">
                    <a16:creationId xmlns:a16="http://schemas.microsoft.com/office/drawing/2014/main" id="{802BA442-1807-4784-AE98-B03D860BFFA1}"/>
                  </a:ext>
                </a:extLst>
              </p:cNvPr>
              <p:cNvSpPr/>
              <p:nvPr/>
            </p:nvSpPr>
            <p:spPr>
              <a:xfrm>
                <a:off x="2579539" y="4290205"/>
                <a:ext cx="807908" cy="662092"/>
              </a:xfrm>
              <a:custGeom>
                <a:avLst/>
                <a:gdLst>
                  <a:gd name="connsiteX0" fmla="*/ 516009 w 807908"/>
                  <a:gd name="connsiteY0" fmla="*/ 0 h 662092"/>
                  <a:gd name="connsiteX1" fmla="*/ 807908 w 807908"/>
                  <a:gd name="connsiteY1" fmla="*/ 617639 h 662092"/>
                  <a:gd name="connsiteX2" fmla="*/ 714086 w 807908"/>
                  <a:gd name="connsiteY2" fmla="*/ 662092 h 662092"/>
                  <a:gd name="connsiteX3" fmla="*/ 0 w 807908"/>
                  <a:gd name="connsiteY3" fmla="*/ 247922 h 662092"/>
                </a:gdLst>
                <a:ahLst/>
                <a:cxnLst>
                  <a:cxn ang="0">
                    <a:pos x="connsiteX0" y="connsiteY0"/>
                  </a:cxn>
                  <a:cxn ang="0">
                    <a:pos x="connsiteX1" y="connsiteY1"/>
                  </a:cxn>
                  <a:cxn ang="0">
                    <a:pos x="connsiteX2" y="connsiteY2"/>
                  </a:cxn>
                  <a:cxn ang="0">
                    <a:pos x="connsiteX3" y="connsiteY3"/>
                  </a:cxn>
                </a:cxnLst>
                <a:rect l="l" t="t" r="r" b="b"/>
                <a:pathLst>
                  <a:path w="807908" h="662092">
                    <a:moveTo>
                      <a:pt x="516009" y="0"/>
                    </a:moveTo>
                    <a:lnTo>
                      <a:pt x="807908" y="617639"/>
                    </a:lnTo>
                    <a:lnTo>
                      <a:pt x="714086" y="662092"/>
                    </a:lnTo>
                    <a:lnTo>
                      <a:pt x="0" y="247922"/>
                    </a:lnTo>
                    <a:close/>
                  </a:path>
                </a:pathLst>
              </a:custGeom>
              <a:solidFill>
                <a:srgbClr val="4F4F4F"/>
              </a:solidFill>
              <a:ln w="7280" cap="flat">
                <a:noFill/>
                <a:prstDash val="solid"/>
                <a:miter/>
              </a:ln>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1" name="Freeform: Shape 14">
                <a:extLst>
                  <a:ext uri="{FF2B5EF4-FFF2-40B4-BE49-F238E27FC236}">
                    <a16:creationId xmlns:a16="http://schemas.microsoft.com/office/drawing/2014/main" id="{48687960-EA59-4BB3-895C-48D68D92B846}"/>
                  </a:ext>
                </a:extLst>
              </p:cNvPr>
              <p:cNvSpPr/>
              <p:nvPr/>
            </p:nvSpPr>
            <p:spPr>
              <a:xfrm>
                <a:off x="4906160" y="4292934"/>
                <a:ext cx="152294" cy="84608"/>
              </a:xfrm>
              <a:custGeom>
                <a:avLst/>
                <a:gdLst>
                  <a:gd name="connsiteX0" fmla="*/ 266457 w 262089"/>
                  <a:gd name="connsiteY0" fmla="*/ 22240 h 145605"/>
                  <a:gd name="connsiteX1" fmla="*/ 0 w 262089"/>
                  <a:gd name="connsiteY1" fmla="*/ 150373 h 145605"/>
                  <a:gd name="connsiteX2" fmla="*/ 266457 w 262089"/>
                  <a:gd name="connsiteY2" fmla="*/ 22240 h 145605"/>
                </a:gdLst>
                <a:ahLst/>
                <a:cxnLst>
                  <a:cxn ang="0">
                    <a:pos x="connsiteX0" y="connsiteY0"/>
                  </a:cxn>
                  <a:cxn ang="0">
                    <a:pos x="connsiteX1" y="connsiteY1"/>
                  </a:cxn>
                  <a:cxn ang="0">
                    <a:pos x="connsiteX2" y="connsiteY2"/>
                  </a:cxn>
                </a:cxnLst>
                <a:rect l="l" t="t" r="r" b="b"/>
                <a:pathLst>
                  <a:path w="262089" h="145605">
                    <a:moveTo>
                      <a:pt x="266457" y="22240"/>
                    </a:moveTo>
                    <a:cubicBezTo>
                      <a:pt x="266457" y="22240"/>
                      <a:pt x="203847" y="-78955"/>
                      <a:pt x="0" y="150373"/>
                    </a:cubicBezTo>
                    <a:cubicBezTo>
                      <a:pt x="728" y="151101"/>
                      <a:pt x="234424" y="54273"/>
                      <a:pt x="266457" y="22240"/>
                    </a:cubicBezTo>
                    <a:close/>
                  </a:path>
                </a:pathLst>
              </a:custGeom>
              <a:solidFill>
                <a:srgbClr val="FFF9F5"/>
              </a:solidFill>
              <a:ln w="72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2" name="Freeform: Shape 15">
                <a:extLst>
                  <a:ext uri="{FF2B5EF4-FFF2-40B4-BE49-F238E27FC236}">
                    <a16:creationId xmlns:a16="http://schemas.microsoft.com/office/drawing/2014/main" id="{79A8722B-8A0A-469B-9EAC-89F198C30F35}"/>
                  </a:ext>
                </a:extLst>
              </p:cNvPr>
              <p:cNvSpPr/>
              <p:nvPr/>
            </p:nvSpPr>
            <p:spPr>
              <a:xfrm>
                <a:off x="3327798" y="4717899"/>
                <a:ext cx="59226" cy="59226"/>
              </a:xfrm>
              <a:custGeom>
                <a:avLst/>
                <a:gdLst>
                  <a:gd name="connsiteX0" fmla="*/ 101924 w 101923"/>
                  <a:gd name="connsiteY0" fmla="*/ 50962 h 101923"/>
                  <a:gd name="connsiteX1" fmla="*/ 50962 w 101923"/>
                  <a:gd name="connsiteY1" fmla="*/ 101923 h 101923"/>
                  <a:gd name="connsiteX2" fmla="*/ 0 w 101923"/>
                  <a:gd name="connsiteY2" fmla="*/ 50962 h 101923"/>
                  <a:gd name="connsiteX3" fmla="*/ 50962 w 101923"/>
                  <a:gd name="connsiteY3" fmla="*/ 0 h 101923"/>
                  <a:gd name="connsiteX4" fmla="*/ 101924 w 101923"/>
                  <a:gd name="connsiteY4" fmla="*/ 50962 h 1019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923" h="101923">
                    <a:moveTo>
                      <a:pt x="101924" y="50962"/>
                    </a:moveTo>
                    <a:cubicBezTo>
                      <a:pt x="101924" y="79107"/>
                      <a:pt x="79107" y="101923"/>
                      <a:pt x="50962" y="101923"/>
                    </a:cubicBezTo>
                    <a:cubicBezTo>
                      <a:pt x="22816" y="101923"/>
                      <a:pt x="0" y="79107"/>
                      <a:pt x="0" y="50962"/>
                    </a:cubicBezTo>
                    <a:cubicBezTo>
                      <a:pt x="0" y="22816"/>
                      <a:pt x="22816" y="0"/>
                      <a:pt x="50962" y="0"/>
                    </a:cubicBezTo>
                    <a:cubicBezTo>
                      <a:pt x="79107" y="0"/>
                      <a:pt x="101924" y="22816"/>
                      <a:pt x="101924" y="50962"/>
                    </a:cubicBezTo>
                    <a:close/>
                  </a:path>
                </a:pathLst>
              </a:custGeom>
              <a:solidFill>
                <a:srgbClr val="4F4F4F"/>
              </a:solidFill>
              <a:ln w="72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grpSp>
      <p:grpSp>
        <p:nvGrpSpPr>
          <p:cNvPr id="64" name="Group 84">
            <a:extLst>
              <a:ext uri="{FF2B5EF4-FFF2-40B4-BE49-F238E27FC236}">
                <a16:creationId xmlns:a16="http://schemas.microsoft.com/office/drawing/2014/main" id="{97366C59-B1BE-49B5-81E7-815C7629F406}"/>
              </a:ext>
            </a:extLst>
          </p:cNvPr>
          <p:cNvGrpSpPr/>
          <p:nvPr/>
        </p:nvGrpSpPr>
        <p:grpSpPr>
          <a:xfrm>
            <a:off x="6469432" y="2584278"/>
            <a:ext cx="515220" cy="515220"/>
            <a:chOff x="5495285" y="2672710"/>
            <a:chExt cx="1201430" cy="1201430"/>
          </a:xfrm>
        </p:grpSpPr>
        <p:sp>
          <p:nvSpPr>
            <p:cNvPr id="65" name="Rectangle: Rounded Corners 85">
              <a:extLst>
                <a:ext uri="{FF2B5EF4-FFF2-40B4-BE49-F238E27FC236}">
                  <a16:creationId xmlns:a16="http://schemas.microsoft.com/office/drawing/2014/main" id="{D74A2658-8C24-45A9-962A-9110065F9BE8}"/>
                </a:ext>
              </a:extLst>
            </p:cNvPr>
            <p:cNvSpPr/>
            <p:nvPr/>
          </p:nvSpPr>
          <p:spPr>
            <a:xfrm rot="2700000">
              <a:off x="5495285" y="2672710"/>
              <a:ext cx="1201430" cy="1201430"/>
            </a:xfrm>
            <a:prstGeom prst="roundRect">
              <a:avLst>
                <a:gd name="adj" fmla="val 36545"/>
              </a:avLst>
            </a:prstGeom>
            <a:solidFill>
              <a:schemeClr val="accent3"/>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FFFFFF"/>
                </a:solidFill>
                <a:effectLst/>
                <a:uLnTx/>
                <a:uFillTx/>
                <a:latin typeface="等线" panose="020F0502020204030204"/>
                <a:ea typeface="+mn-ea"/>
                <a:cs typeface="+mn-cs"/>
              </a:endParaRPr>
            </a:p>
          </p:txBody>
        </p:sp>
        <p:sp>
          <p:nvSpPr>
            <p:cNvPr id="66" name="Rectangle 86">
              <a:extLst>
                <a:ext uri="{FF2B5EF4-FFF2-40B4-BE49-F238E27FC236}">
                  <a16:creationId xmlns:a16="http://schemas.microsoft.com/office/drawing/2014/main" id="{40102C2A-1B97-46BE-ABC2-7AC18BB1382A}"/>
                </a:ext>
              </a:extLst>
            </p:cNvPr>
            <p:cNvSpPr/>
            <p:nvPr/>
          </p:nvSpPr>
          <p:spPr>
            <a:xfrm>
              <a:off x="5818498" y="2995927"/>
              <a:ext cx="555008" cy="555001"/>
            </a:xfrm>
            <a:prstGeom prst="rect">
              <a:avLst/>
            </a:prstGeom>
            <a:blipFill>
              <a:blip r:embed="rId4"/>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等线" panose="020F0502020204030204"/>
                <a:ea typeface="+mn-ea"/>
                <a:cs typeface="+mn-cs"/>
              </a:endParaRPr>
            </a:p>
          </p:txBody>
        </p:sp>
      </p:grpSp>
      <p:grpSp>
        <p:nvGrpSpPr>
          <p:cNvPr id="67" name="Group 87">
            <a:extLst>
              <a:ext uri="{FF2B5EF4-FFF2-40B4-BE49-F238E27FC236}">
                <a16:creationId xmlns:a16="http://schemas.microsoft.com/office/drawing/2014/main" id="{3D58E259-3C1B-4437-8D37-517DF7058D0A}"/>
              </a:ext>
            </a:extLst>
          </p:cNvPr>
          <p:cNvGrpSpPr/>
          <p:nvPr/>
        </p:nvGrpSpPr>
        <p:grpSpPr>
          <a:xfrm>
            <a:off x="7131328" y="3706909"/>
            <a:ext cx="831030" cy="831030"/>
            <a:chOff x="5495285" y="2672710"/>
            <a:chExt cx="1201430" cy="1201430"/>
          </a:xfrm>
        </p:grpSpPr>
        <p:sp>
          <p:nvSpPr>
            <p:cNvPr id="68" name="Rectangle: Rounded Corners 88">
              <a:extLst>
                <a:ext uri="{FF2B5EF4-FFF2-40B4-BE49-F238E27FC236}">
                  <a16:creationId xmlns:a16="http://schemas.microsoft.com/office/drawing/2014/main" id="{A376E16C-6273-4964-8A2F-AEE849C0EE08}"/>
                </a:ext>
              </a:extLst>
            </p:cNvPr>
            <p:cNvSpPr/>
            <p:nvPr/>
          </p:nvSpPr>
          <p:spPr>
            <a:xfrm rot="2700000">
              <a:off x="5495285" y="2672710"/>
              <a:ext cx="1201430" cy="1201430"/>
            </a:xfrm>
            <a:prstGeom prst="roundRect">
              <a:avLst>
                <a:gd name="adj" fmla="val 36545"/>
              </a:avLst>
            </a:prstGeom>
            <a:solidFill>
              <a:schemeClr val="accent2"/>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FFFFFF"/>
                </a:solidFill>
                <a:effectLst/>
                <a:uLnTx/>
                <a:uFillTx/>
                <a:latin typeface="等线" panose="020F0502020204030204"/>
                <a:ea typeface="+mn-ea"/>
                <a:cs typeface="+mn-cs"/>
              </a:endParaRPr>
            </a:p>
          </p:txBody>
        </p:sp>
        <p:sp>
          <p:nvSpPr>
            <p:cNvPr id="69" name="Rectangle 89">
              <a:extLst>
                <a:ext uri="{FF2B5EF4-FFF2-40B4-BE49-F238E27FC236}">
                  <a16:creationId xmlns:a16="http://schemas.microsoft.com/office/drawing/2014/main" id="{B2328AD3-CD32-438F-A16E-8DDF43D01506}"/>
                </a:ext>
              </a:extLst>
            </p:cNvPr>
            <p:cNvSpPr/>
            <p:nvPr/>
          </p:nvSpPr>
          <p:spPr>
            <a:xfrm>
              <a:off x="5818498" y="2995927"/>
              <a:ext cx="555008" cy="555001"/>
            </a:xfrm>
            <a:prstGeom prst="rect">
              <a:avLst/>
            </a:prstGeom>
            <a:blipFill>
              <a:blip r:embed="rId5"/>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等线" panose="020F0502020204030204"/>
                <a:ea typeface="+mn-ea"/>
                <a:cs typeface="+mn-cs"/>
              </a:endParaRPr>
            </a:p>
          </p:txBody>
        </p:sp>
      </p:grpSp>
      <p:grpSp>
        <p:nvGrpSpPr>
          <p:cNvPr id="70" name="Group 90">
            <a:extLst>
              <a:ext uri="{FF2B5EF4-FFF2-40B4-BE49-F238E27FC236}">
                <a16:creationId xmlns:a16="http://schemas.microsoft.com/office/drawing/2014/main" id="{055BDAD2-2555-40C0-BE4A-C932764EFE8F}"/>
              </a:ext>
            </a:extLst>
          </p:cNvPr>
          <p:cNvGrpSpPr/>
          <p:nvPr/>
        </p:nvGrpSpPr>
        <p:grpSpPr>
          <a:xfrm>
            <a:off x="10045642" y="3668885"/>
            <a:ext cx="728632" cy="728632"/>
            <a:chOff x="5495285" y="2672710"/>
            <a:chExt cx="1201430" cy="1201430"/>
          </a:xfrm>
        </p:grpSpPr>
        <p:sp>
          <p:nvSpPr>
            <p:cNvPr id="71" name="Rectangle: Rounded Corners 91">
              <a:extLst>
                <a:ext uri="{FF2B5EF4-FFF2-40B4-BE49-F238E27FC236}">
                  <a16:creationId xmlns:a16="http://schemas.microsoft.com/office/drawing/2014/main" id="{CE17B4B9-5299-4B1B-B356-91353214C98F}"/>
                </a:ext>
              </a:extLst>
            </p:cNvPr>
            <p:cNvSpPr/>
            <p:nvPr/>
          </p:nvSpPr>
          <p:spPr>
            <a:xfrm rot="2700000">
              <a:off x="5495285" y="2672710"/>
              <a:ext cx="1201430" cy="1201430"/>
            </a:xfrm>
            <a:prstGeom prst="roundRect">
              <a:avLst>
                <a:gd name="adj" fmla="val 36545"/>
              </a:avLst>
            </a:prstGeom>
            <a:solidFill>
              <a:schemeClr val="accent4"/>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FFFFFF"/>
                </a:solidFill>
                <a:effectLst/>
                <a:uLnTx/>
                <a:uFillTx/>
                <a:latin typeface="等线" panose="020F0502020204030204"/>
                <a:ea typeface="+mn-ea"/>
                <a:cs typeface="+mn-cs"/>
              </a:endParaRPr>
            </a:p>
          </p:txBody>
        </p:sp>
        <p:sp>
          <p:nvSpPr>
            <p:cNvPr id="72" name="Rectangle 92">
              <a:extLst>
                <a:ext uri="{FF2B5EF4-FFF2-40B4-BE49-F238E27FC236}">
                  <a16:creationId xmlns:a16="http://schemas.microsoft.com/office/drawing/2014/main" id="{62E210A3-D9BC-4450-8777-CA1D917911F9}"/>
                </a:ext>
              </a:extLst>
            </p:cNvPr>
            <p:cNvSpPr/>
            <p:nvPr/>
          </p:nvSpPr>
          <p:spPr>
            <a:xfrm>
              <a:off x="5818498" y="2995927"/>
              <a:ext cx="555008" cy="555001"/>
            </a:xfrm>
            <a:prstGeom prst="rect">
              <a:avLst/>
            </a:prstGeom>
            <a:blipFill>
              <a:blip r:embed="rId6"/>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等线" panose="020F0502020204030204"/>
                <a:ea typeface="+mn-ea"/>
                <a:cs typeface="+mn-cs"/>
              </a:endParaRPr>
            </a:p>
          </p:txBody>
        </p:sp>
      </p:grpSp>
      <p:grpSp>
        <p:nvGrpSpPr>
          <p:cNvPr id="73" name="Group 93">
            <a:extLst>
              <a:ext uri="{FF2B5EF4-FFF2-40B4-BE49-F238E27FC236}">
                <a16:creationId xmlns:a16="http://schemas.microsoft.com/office/drawing/2014/main" id="{FCBA7185-780D-4D15-BE0C-447EC8A2AF67}"/>
              </a:ext>
            </a:extLst>
          </p:cNvPr>
          <p:cNvGrpSpPr/>
          <p:nvPr/>
        </p:nvGrpSpPr>
        <p:grpSpPr>
          <a:xfrm>
            <a:off x="10628936" y="1791534"/>
            <a:ext cx="888094" cy="888094"/>
            <a:chOff x="5495285" y="2672710"/>
            <a:chExt cx="1201430" cy="1201430"/>
          </a:xfrm>
        </p:grpSpPr>
        <p:sp>
          <p:nvSpPr>
            <p:cNvPr id="74" name="Rectangle: Rounded Corners 94">
              <a:extLst>
                <a:ext uri="{FF2B5EF4-FFF2-40B4-BE49-F238E27FC236}">
                  <a16:creationId xmlns:a16="http://schemas.microsoft.com/office/drawing/2014/main" id="{188F5FCA-B13E-4B46-81F3-3CE3DFD19488}"/>
                </a:ext>
              </a:extLst>
            </p:cNvPr>
            <p:cNvSpPr/>
            <p:nvPr/>
          </p:nvSpPr>
          <p:spPr>
            <a:xfrm rot="2700000">
              <a:off x="5495285" y="2672710"/>
              <a:ext cx="1201430" cy="1201430"/>
            </a:xfrm>
            <a:prstGeom prst="roundRect">
              <a:avLst>
                <a:gd name="adj" fmla="val 36545"/>
              </a:avLst>
            </a:prstGeom>
            <a:solidFill>
              <a:schemeClr val="accent5"/>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FFFFFF"/>
                </a:solidFill>
                <a:effectLst/>
                <a:uLnTx/>
                <a:uFillTx/>
                <a:latin typeface="等线" panose="020F0502020204030204"/>
                <a:ea typeface="+mn-ea"/>
                <a:cs typeface="+mn-cs"/>
              </a:endParaRPr>
            </a:p>
          </p:txBody>
        </p:sp>
        <p:sp>
          <p:nvSpPr>
            <p:cNvPr id="75" name="Rectangle 95">
              <a:extLst>
                <a:ext uri="{FF2B5EF4-FFF2-40B4-BE49-F238E27FC236}">
                  <a16:creationId xmlns:a16="http://schemas.microsoft.com/office/drawing/2014/main" id="{FF2AEE49-F6AA-410D-BD91-A026EFC8910F}"/>
                </a:ext>
              </a:extLst>
            </p:cNvPr>
            <p:cNvSpPr/>
            <p:nvPr/>
          </p:nvSpPr>
          <p:spPr>
            <a:xfrm>
              <a:off x="5818498" y="2995927"/>
              <a:ext cx="555008" cy="555001"/>
            </a:xfrm>
            <a:prstGeom prst="rect">
              <a:avLst/>
            </a:prstGeom>
            <a:blipFill>
              <a:blip r:embed="rId7">
                <a:extLst>
                  <a:ext uri="{BEBA8EAE-BF5A-486C-A8C5-ECC9F3942E4B}">
                    <a14:imgProps xmlns:a14="http://schemas.microsoft.com/office/drawing/2010/main">
                      <a14:imgLayer r:embed="rId8">
                        <a14:imgEffect>
                          <a14:brightnessContrast bright="100000"/>
                        </a14:imgEffect>
                      </a14:imgLayer>
                    </a14:imgProps>
                  </a:ext>
                </a:extLst>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等线" panose="020F0502020204030204"/>
                <a:ea typeface="+mn-ea"/>
                <a:cs typeface="+mn-cs"/>
              </a:endParaRPr>
            </a:p>
          </p:txBody>
        </p:sp>
      </p:grpSp>
      <p:grpSp>
        <p:nvGrpSpPr>
          <p:cNvPr id="76" name="Group 96">
            <a:extLst>
              <a:ext uri="{FF2B5EF4-FFF2-40B4-BE49-F238E27FC236}">
                <a16:creationId xmlns:a16="http://schemas.microsoft.com/office/drawing/2014/main" id="{44A9BB96-B6AA-4A51-B408-A48A159F8195}"/>
              </a:ext>
            </a:extLst>
          </p:cNvPr>
          <p:cNvGrpSpPr/>
          <p:nvPr/>
        </p:nvGrpSpPr>
        <p:grpSpPr>
          <a:xfrm>
            <a:off x="6607349" y="1410143"/>
            <a:ext cx="1158152" cy="572074"/>
            <a:chOff x="5656412" y="3019258"/>
            <a:chExt cx="1158152" cy="572074"/>
          </a:xfrm>
        </p:grpSpPr>
        <p:sp>
          <p:nvSpPr>
            <p:cNvPr id="77" name="Speech Bubble: Rectangle with Corners Rounded 97">
              <a:extLst>
                <a:ext uri="{FF2B5EF4-FFF2-40B4-BE49-F238E27FC236}">
                  <a16:creationId xmlns:a16="http://schemas.microsoft.com/office/drawing/2014/main" id="{AE957BA5-184D-4728-9EBB-0A0DB802D5BD}"/>
                </a:ext>
              </a:extLst>
            </p:cNvPr>
            <p:cNvSpPr/>
            <p:nvPr/>
          </p:nvSpPr>
          <p:spPr>
            <a:xfrm flipV="1">
              <a:off x="5656412" y="3019258"/>
              <a:ext cx="1158152" cy="572074"/>
            </a:xfrm>
            <a:prstGeom prst="wedgeRoundRectCallout">
              <a:avLst>
                <a:gd name="adj1" fmla="val 37255"/>
                <a:gd name="adj2" fmla="val -73389"/>
                <a:gd name="adj3" fmla="val 16667"/>
              </a:avLst>
            </a:prstGeom>
            <a:solidFill>
              <a:schemeClr val="bg1"/>
            </a:solidFill>
            <a:ln>
              <a:noFill/>
            </a:ln>
            <a:effectLst>
              <a:outerShdw blurRad="838200" dist="469900" dir="5400000" sx="91000" sy="91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388A"/>
                </a:solidFill>
                <a:effectLst/>
                <a:uLnTx/>
                <a:uFillTx/>
                <a:latin typeface="等线" panose="020F0502020204030204"/>
                <a:ea typeface="+mn-ea"/>
                <a:cs typeface="+mn-cs"/>
              </a:endParaRPr>
            </a:p>
          </p:txBody>
        </p:sp>
        <p:sp>
          <p:nvSpPr>
            <p:cNvPr id="78" name="TextBox 98">
              <a:extLst>
                <a:ext uri="{FF2B5EF4-FFF2-40B4-BE49-F238E27FC236}">
                  <a16:creationId xmlns:a16="http://schemas.microsoft.com/office/drawing/2014/main" id="{187BA494-8B01-4400-8130-CC01E9E02F10}"/>
                </a:ext>
              </a:extLst>
            </p:cNvPr>
            <p:cNvSpPr txBox="1"/>
            <p:nvPr/>
          </p:nvSpPr>
          <p:spPr>
            <a:xfrm>
              <a:off x="5804333" y="3104592"/>
              <a:ext cx="862310"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FF388A"/>
                  </a:solidFill>
                  <a:effectLst/>
                  <a:uLnTx/>
                  <a:uFillTx/>
                  <a:latin typeface="等线 Light" panose="020F0302020204030204"/>
                  <a:ea typeface="+mn-ea"/>
                  <a:cs typeface="Segoe UI" panose="020B0502040204020203" pitchFamily="34" charset="0"/>
                </a:rPr>
                <a:t>26</a:t>
              </a:r>
              <a:r>
                <a:rPr kumimoji="0" lang="en-US" sz="1800" b="1" i="0" u="none" strike="noStrike" kern="1200" cap="none" spc="0" normalizeH="0" baseline="0" noProof="0" dirty="0">
                  <a:ln>
                    <a:noFill/>
                  </a:ln>
                  <a:solidFill>
                    <a:srgbClr val="FF388A"/>
                  </a:solidFill>
                  <a:effectLst/>
                  <a:uLnTx/>
                  <a:uFillTx/>
                  <a:latin typeface="等线 Light" panose="020F0302020204030204"/>
                  <a:ea typeface="+mn-ea"/>
                  <a:cs typeface="Segoe UI" panose="020B0502040204020203" pitchFamily="34" charset="0"/>
                </a:rPr>
                <a:t>%</a:t>
              </a:r>
              <a:endParaRPr kumimoji="0" lang="id-ID" sz="1800" b="1" i="0" u="none" strike="noStrike" kern="1200" cap="none" spc="0" normalizeH="0" baseline="0" noProof="0" dirty="0">
                <a:ln>
                  <a:noFill/>
                </a:ln>
                <a:solidFill>
                  <a:srgbClr val="FF388A"/>
                </a:solidFill>
                <a:effectLst/>
                <a:uLnTx/>
                <a:uFillTx/>
                <a:latin typeface="等线 Light" panose="020F0302020204030204"/>
                <a:ea typeface="+mn-ea"/>
                <a:cs typeface="Segoe UI" panose="020B0502040204020203" pitchFamily="34" charset="0"/>
              </a:endParaRPr>
            </a:p>
          </p:txBody>
        </p:sp>
      </p:grpSp>
      <p:sp>
        <p:nvSpPr>
          <p:cNvPr id="79" name="TextBox 101">
            <a:extLst>
              <a:ext uri="{FF2B5EF4-FFF2-40B4-BE49-F238E27FC236}">
                <a16:creationId xmlns:a16="http://schemas.microsoft.com/office/drawing/2014/main" id="{E9C7FE64-F9DB-4E60-8F30-A28262A4384C}"/>
              </a:ext>
            </a:extLst>
          </p:cNvPr>
          <p:cNvSpPr txBox="1"/>
          <p:nvPr/>
        </p:nvSpPr>
        <p:spPr>
          <a:xfrm>
            <a:off x="728570" y="2945562"/>
            <a:ext cx="4619626" cy="132343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0" b="1" i="0" u="none" strike="noStrike" kern="1200" cap="none" spc="0" normalizeH="0" baseline="0" noProof="0" dirty="0">
                <a:ln>
                  <a:noFill/>
                </a:ln>
                <a:solidFill>
                  <a:srgbClr val="000000">
                    <a:lumMod val="85000"/>
                    <a:lumOff val="15000"/>
                  </a:srgbClr>
                </a:solidFill>
                <a:effectLst/>
                <a:uLnTx/>
                <a:uFillTx/>
                <a:latin typeface="等线 Light" panose="020F0302020204030204"/>
                <a:ea typeface="+mn-ea"/>
                <a:cs typeface="Arial" panose="020B0604020202020204" pitchFamily="34" charset="0"/>
              </a:rPr>
              <a:t>Your Title Text Goes Here</a:t>
            </a:r>
          </a:p>
        </p:txBody>
      </p:sp>
      <p:sp>
        <p:nvSpPr>
          <p:cNvPr id="80" name="TextBox 102">
            <a:extLst>
              <a:ext uri="{FF2B5EF4-FFF2-40B4-BE49-F238E27FC236}">
                <a16:creationId xmlns:a16="http://schemas.microsoft.com/office/drawing/2014/main" id="{DF79F577-2557-4DF2-A973-0F841D141010}"/>
              </a:ext>
            </a:extLst>
          </p:cNvPr>
          <p:cNvSpPr txBox="1"/>
          <p:nvPr/>
        </p:nvSpPr>
        <p:spPr>
          <a:xfrm>
            <a:off x="776196" y="4380648"/>
            <a:ext cx="4572000" cy="1183466"/>
          </a:xfrm>
          <a:prstGeom prst="rect">
            <a:avLst/>
          </a:prstGeom>
          <a:noFill/>
        </p:spPr>
        <p:txBody>
          <a:bodyPr wrap="square" rtlCol="0">
            <a:spAutoFit/>
          </a:bodyPr>
          <a:lstStyle/>
          <a:p>
            <a:pPr marL="0" marR="0" lvl="0" indent="0" algn="just" defTabSz="914400" rtl="0" eaLnBrk="1" fontAlgn="auto" latinLnBrk="0" hangingPunct="1">
              <a:lnSpc>
                <a:spcPct val="13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000000">
                    <a:lumMod val="65000"/>
                    <a:lumOff val="35000"/>
                  </a:srgbClr>
                </a:solidFill>
                <a:effectLst/>
                <a:uLnTx/>
                <a:uFillTx/>
                <a:latin typeface="等线" panose="020F0502020204030204"/>
                <a:ea typeface="Open Sans" panose="020B0606030504020204" pitchFamily="34" charset="0"/>
                <a:cs typeface="Segoe UI" panose="020B0502040204020203" pitchFamily="34" charset="0"/>
              </a:rPr>
              <a:t>Leverage agile frameworks to provide a robust synopsis for high level overviews. Leverage agile frameworks to provide a robust synopsis for high level overviews.</a:t>
            </a:r>
          </a:p>
          <a:p>
            <a:pPr marL="0" marR="0" lvl="0" indent="0" algn="just" defTabSz="914400" rtl="0" eaLnBrk="1" fontAlgn="auto" latinLnBrk="0" hangingPunct="1">
              <a:lnSpc>
                <a:spcPct val="13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000000">
                  <a:lumMod val="65000"/>
                  <a:lumOff val="35000"/>
                </a:srgbClr>
              </a:solidFill>
              <a:effectLst/>
              <a:uLnTx/>
              <a:uFillTx/>
              <a:latin typeface="等线" panose="020F0502020204030204"/>
              <a:ea typeface="Open Sans" panose="020B0606030504020204" pitchFamily="34" charset="0"/>
              <a:cs typeface="Segoe UI" panose="020B0502040204020203" pitchFamily="34" charset="0"/>
            </a:endParaRPr>
          </a:p>
        </p:txBody>
      </p:sp>
      <p:grpSp>
        <p:nvGrpSpPr>
          <p:cNvPr id="81" name="Group 103">
            <a:extLst>
              <a:ext uri="{FF2B5EF4-FFF2-40B4-BE49-F238E27FC236}">
                <a16:creationId xmlns:a16="http://schemas.microsoft.com/office/drawing/2014/main" id="{F8C4AA97-AF9B-48C1-B898-F27828CF215A}"/>
              </a:ext>
            </a:extLst>
          </p:cNvPr>
          <p:cNvGrpSpPr/>
          <p:nvPr/>
        </p:nvGrpSpPr>
        <p:grpSpPr>
          <a:xfrm flipH="1">
            <a:off x="8927010" y="1245050"/>
            <a:ext cx="1158152" cy="572074"/>
            <a:chOff x="5656412" y="3019258"/>
            <a:chExt cx="1158152" cy="572074"/>
          </a:xfrm>
        </p:grpSpPr>
        <p:sp>
          <p:nvSpPr>
            <p:cNvPr id="82" name="Speech Bubble: Rectangle with Corners Rounded 104">
              <a:extLst>
                <a:ext uri="{FF2B5EF4-FFF2-40B4-BE49-F238E27FC236}">
                  <a16:creationId xmlns:a16="http://schemas.microsoft.com/office/drawing/2014/main" id="{EA5D780C-1833-4018-950F-FB8A27EA71AE}"/>
                </a:ext>
              </a:extLst>
            </p:cNvPr>
            <p:cNvSpPr/>
            <p:nvPr/>
          </p:nvSpPr>
          <p:spPr>
            <a:xfrm flipV="1">
              <a:off x="5656412" y="3019258"/>
              <a:ext cx="1158152" cy="572074"/>
            </a:xfrm>
            <a:prstGeom prst="wedgeRoundRectCallout">
              <a:avLst>
                <a:gd name="adj1" fmla="val 37255"/>
                <a:gd name="adj2" fmla="val -73389"/>
                <a:gd name="adj3" fmla="val 16667"/>
              </a:avLst>
            </a:prstGeom>
            <a:solidFill>
              <a:schemeClr val="bg1"/>
            </a:solidFill>
            <a:ln>
              <a:noFill/>
            </a:ln>
            <a:effectLst>
              <a:outerShdw blurRad="838200" dist="469900" dir="5400000" sx="91000" sy="91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388A"/>
                </a:solidFill>
                <a:effectLst/>
                <a:uLnTx/>
                <a:uFillTx/>
                <a:latin typeface="等线" panose="020F0502020204030204"/>
                <a:ea typeface="+mn-ea"/>
                <a:cs typeface="+mn-cs"/>
              </a:endParaRPr>
            </a:p>
          </p:txBody>
        </p:sp>
        <p:sp>
          <p:nvSpPr>
            <p:cNvPr id="83" name="TextBox 105">
              <a:extLst>
                <a:ext uri="{FF2B5EF4-FFF2-40B4-BE49-F238E27FC236}">
                  <a16:creationId xmlns:a16="http://schemas.microsoft.com/office/drawing/2014/main" id="{8588D7C7-2784-457E-80D8-09C6CE9C0AEE}"/>
                </a:ext>
              </a:extLst>
            </p:cNvPr>
            <p:cNvSpPr txBox="1"/>
            <p:nvPr/>
          </p:nvSpPr>
          <p:spPr>
            <a:xfrm>
              <a:off x="5804333" y="3104592"/>
              <a:ext cx="862310"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FF4C38"/>
                  </a:solidFill>
                  <a:effectLst/>
                  <a:uLnTx/>
                  <a:uFillTx/>
                  <a:latin typeface="等线 Light" panose="020F0302020204030204"/>
                  <a:ea typeface="+mn-ea"/>
                  <a:cs typeface="Segoe UI" panose="020B0502040204020203" pitchFamily="34" charset="0"/>
                </a:rPr>
                <a:t>66</a:t>
              </a:r>
              <a:r>
                <a:rPr kumimoji="0" lang="en-US" sz="1800" b="1" i="0" u="none" strike="noStrike" kern="1200" cap="none" spc="0" normalizeH="0" baseline="0" noProof="0" dirty="0">
                  <a:ln>
                    <a:noFill/>
                  </a:ln>
                  <a:solidFill>
                    <a:srgbClr val="FF4C38"/>
                  </a:solidFill>
                  <a:effectLst/>
                  <a:uLnTx/>
                  <a:uFillTx/>
                  <a:latin typeface="等线 Light" panose="020F0302020204030204"/>
                  <a:ea typeface="+mn-ea"/>
                  <a:cs typeface="Segoe UI" panose="020B0502040204020203" pitchFamily="34" charset="0"/>
                </a:rPr>
                <a:t>%</a:t>
              </a:r>
              <a:endParaRPr kumimoji="0" lang="id-ID" sz="1800" b="1" i="0" u="none" strike="noStrike" kern="1200" cap="none" spc="0" normalizeH="0" baseline="0" noProof="0" dirty="0">
                <a:ln>
                  <a:noFill/>
                </a:ln>
                <a:solidFill>
                  <a:srgbClr val="FF4C38"/>
                </a:solidFill>
                <a:effectLst/>
                <a:uLnTx/>
                <a:uFillTx/>
                <a:latin typeface="等线 Light" panose="020F0302020204030204"/>
                <a:ea typeface="+mn-ea"/>
                <a:cs typeface="Segoe UI" panose="020B0502040204020203" pitchFamily="34" charset="0"/>
              </a:endParaRPr>
            </a:p>
          </p:txBody>
        </p:sp>
      </p:grpSp>
    </p:spTree>
    <p:extLst>
      <p:ext uri="{BB962C8B-B14F-4D97-AF65-F5344CB8AC3E}">
        <p14:creationId xmlns:p14="http://schemas.microsoft.com/office/powerpoint/2010/main" val="479796299"/>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8" presetClass="entr" presetSubtype="3" fill="hold" nodeType="withEffect">
                                  <p:stCondLst>
                                    <p:cond delay="1000"/>
                                  </p:stCondLst>
                                  <p:childTnLst>
                                    <p:set>
                                      <p:cBhvr>
                                        <p:cTn id="6" dur="1" fill="hold">
                                          <p:stCondLst>
                                            <p:cond delay="0"/>
                                          </p:stCondLst>
                                        </p:cTn>
                                        <p:tgtEl>
                                          <p:spTgt spid="64"/>
                                        </p:tgtEl>
                                        <p:attrNameLst>
                                          <p:attrName>style.visibility</p:attrName>
                                        </p:attrNameLst>
                                      </p:cBhvr>
                                      <p:to>
                                        <p:strVal val="visible"/>
                                      </p:to>
                                    </p:set>
                                    <p:animEffect transition="in" filter="strips(upRight)">
                                      <p:cBhvr>
                                        <p:cTn id="7" dur="500"/>
                                        <p:tgtEl>
                                          <p:spTgt spid="64"/>
                                        </p:tgtEl>
                                      </p:cBhvr>
                                    </p:animEffect>
                                  </p:childTnLst>
                                </p:cTn>
                              </p:par>
                              <p:par>
                                <p:cTn id="8" presetID="6" presetClass="emph" presetSubtype="0" accel="52000" decel="48000" autoRev="1" fill="hold" nodeType="withEffect">
                                  <p:stCondLst>
                                    <p:cond delay="1000"/>
                                  </p:stCondLst>
                                  <p:childTnLst>
                                    <p:animScale>
                                      <p:cBhvr>
                                        <p:cTn id="9" dur="350" fill="hold"/>
                                        <p:tgtEl>
                                          <p:spTgt spid="64"/>
                                        </p:tgtEl>
                                      </p:cBhvr>
                                      <p:by x="110000" y="110000"/>
                                    </p:animScale>
                                  </p:childTnLst>
                                </p:cTn>
                              </p:par>
                              <p:par>
                                <p:cTn id="10" presetID="18" presetClass="entr" presetSubtype="3" fill="hold" nodeType="withEffect">
                                  <p:stCondLst>
                                    <p:cond delay="1250"/>
                                  </p:stCondLst>
                                  <p:childTnLst>
                                    <p:set>
                                      <p:cBhvr>
                                        <p:cTn id="11" dur="1" fill="hold">
                                          <p:stCondLst>
                                            <p:cond delay="0"/>
                                          </p:stCondLst>
                                        </p:cTn>
                                        <p:tgtEl>
                                          <p:spTgt spid="67"/>
                                        </p:tgtEl>
                                        <p:attrNameLst>
                                          <p:attrName>style.visibility</p:attrName>
                                        </p:attrNameLst>
                                      </p:cBhvr>
                                      <p:to>
                                        <p:strVal val="visible"/>
                                      </p:to>
                                    </p:set>
                                    <p:animEffect transition="in" filter="strips(upRight)">
                                      <p:cBhvr>
                                        <p:cTn id="12" dur="500"/>
                                        <p:tgtEl>
                                          <p:spTgt spid="67"/>
                                        </p:tgtEl>
                                      </p:cBhvr>
                                    </p:animEffect>
                                  </p:childTnLst>
                                </p:cTn>
                              </p:par>
                              <p:par>
                                <p:cTn id="13" presetID="6" presetClass="emph" presetSubtype="0" accel="52000" decel="48000" autoRev="1" fill="hold" nodeType="withEffect">
                                  <p:stCondLst>
                                    <p:cond delay="1250"/>
                                  </p:stCondLst>
                                  <p:childTnLst>
                                    <p:animScale>
                                      <p:cBhvr>
                                        <p:cTn id="14" dur="350" fill="hold"/>
                                        <p:tgtEl>
                                          <p:spTgt spid="67"/>
                                        </p:tgtEl>
                                      </p:cBhvr>
                                      <p:by x="110000" y="110000"/>
                                    </p:animScale>
                                  </p:childTnLst>
                                </p:cTn>
                              </p:par>
                              <p:par>
                                <p:cTn id="15" presetID="18" presetClass="entr" presetSubtype="3" fill="hold" nodeType="withEffect">
                                  <p:stCondLst>
                                    <p:cond delay="1500"/>
                                  </p:stCondLst>
                                  <p:childTnLst>
                                    <p:set>
                                      <p:cBhvr>
                                        <p:cTn id="16" dur="1" fill="hold">
                                          <p:stCondLst>
                                            <p:cond delay="0"/>
                                          </p:stCondLst>
                                        </p:cTn>
                                        <p:tgtEl>
                                          <p:spTgt spid="70"/>
                                        </p:tgtEl>
                                        <p:attrNameLst>
                                          <p:attrName>style.visibility</p:attrName>
                                        </p:attrNameLst>
                                      </p:cBhvr>
                                      <p:to>
                                        <p:strVal val="visible"/>
                                      </p:to>
                                    </p:set>
                                    <p:animEffect transition="in" filter="strips(upRight)">
                                      <p:cBhvr>
                                        <p:cTn id="17" dur="500"/>
                                        <p:tgtEl>
                                          <p:spTgt spid="70"/>
                                        </p:tgtEl>
                                      </p:cBhvr>
                                    </p:animEffect>
                                  </p:childTnLst>
                                </p:cTn>
                              </p:par>
                              <p:par>
                                <p:cTn id="18" presetID="6" presetClass="emph" presetSubtype="0" accel="52000" decel="48000" autoRev="1" fill="hold" nodeType="withEffect">
                                  <p:stCondLst>
                                    <p:cond delay="1500"/>
                                  </p:stCondLst>
                                  <p:childTnLst>
                                    <p:animScale>
                                      <p:cBhvr>
                                        <p:cTn id="19" dur="350" fill="hold"/>
                                        <p:tgtEl>
                                          <p:spTgt spid="70"/>
                                        </p:tgtEl>
                                      </p:cBhvr>
                                      <p:by x="110000" y="110000"/>
                                    </p:animScale>
                                  </p:childTnLst>
                                </p:cTn>
                              </p:par>
                              <p:par>
                                <p:cTn id="20" presetID="18" presetClass="entr" presetSubtype="3" fill="hold" nodeType="withEffect">
                                  <p:stCondLst>
                                    <p:cond delay="1250"/>
                                  </p:stCondLst>
                                  <p:childTnLst>
                                    <p:set>
                                      <p:cBhvr>
                                        <p:cTn id="21" dur="1" fill="hold">
                                          <p:stCondLst>
                                            <p:cond delay="0"/>
                                          </p:stCondLst>
                                        </p:cTn>
                                        <p:tgtEl>
                                          <p:spTgt spid="73"/>
                                        </p:tgtEl>
                                        <p:attrNameLst>
                                          <p:attrName>style.visibility</p:attrName>
                                        </p:attrNameLst>
                                      </p:cBhvr>
                                      <p:to>
                                        <p:strVal val="visible"/>
                                      </p:to>
                                    </p:set>
                                    <p:animEffect transition="in" filter="strips(upRight)">
                                      <p:cBhvr>
                                        <p:cTn id="22" dur="500"/>
                                        <p:tgtEl>
                                          <p:spTgt spid="73"/>
                                        </p:tgtEl>
                                      </p:cBhvr>
                                    </p:animEffect>
                                  </p:childTnLst>
                                </p:cTn>
                              </p:par>
                              <p:par>
                                <p:cTn id="23" presetID="6" presetClass="emph" presetSubtype="0" accel="52000" decel="48000" autoRev="1" fill="hold" nodeType="withEffect">
                                  <p:stCondLst>
                                    <p:cond delay="1250"/>
                                  </p:stCondLst>
                                  <p:childTnLst>
                                    <p:animScale>
                                      <p:cBhvr>
                                        <p:cTn id="24" dur="350" fill="hold"/>
                                        <p:tgtEl>
                                          <p:spTgt spid="73"/>
                                        </p:tgtEl>
                                      </p:cBhvr>
                                      <p:by x="110000" y="110000"/>
                                    </p:animScale>
                                  </p:childTnLst>
                                </p:cTn>
                              </p:par>
                              <p:par>
                                <p:cTn id="25" presetID="18" presetClass="entr" presetSubtype="3" fill="hold" nodeType="withEffect">
                                  <p:stCondLst>
                                    <p:cond delay="1250"/>
                                  </p:stCondLst>
                                  <p:childTnLst>
                                    <p:set>
                                      <p:cBhvr>
                                        <p:cTn id="26" dur="1" fill="hold">
                                          <p:stCondLst>
                                            <p:cond delay="0"/>
                                          </p:stCondLst>
                                        </p:cTn>
                                        <p:tgtEl>
                                          <p:spTgt spid="76"/>
                                        </p:tgtEl>
                                        <p:attrNameLst>
                                          <p:attrName>style.visibility</p:attrName>
                                        </p:attrNameLst>
                                      </p:cBhvr>
                                      <p:to>
                                        <p:strVal val="visible"/>
                                      </p:to>
                                    </p:set>
                                    <p:animEffect transition="in" filter="strips(upRight)">
                                      <p:cBhvr>
                                        <p:cTn id="27" dur="500"/>
                                        <p:tgtEl>
                                          <p:spTgt spid="76"/>
                                        </p:tgtEl>
                                      </p:cBhvr>
                                    </p:animEffect>
                                  </p:childTnLst>
                                </p:cTn>
                              </p:par>
                              <p:par>
                                <p:cTn id="28" presetID="6" presetClass="emph" presetSubtype="0" accel="52000" decel="48000" autoRev="1" fill="hold" nodeType="withEffect">
                                  <p:stCondLst>
                                    <p:cond delay="1250"/>
                                  </p:stCondLst>
                                  <p:childTnLst>
                                    <p:animScale>
                                      <p:cBhvr>
                                        <p:cTn id="29" dur="350" fill="hold"/>
                                        <p:tgtEl>
                                          <p:spTgt spid="76"/>
                                        </p:tgtEl>
                                      </p:cBhvr>
                                      <p:by x="110000" y="110000"/>
                                    </p:animScale>
                                  </p:childTnLst>
                                </p:cTn>
                              </p:par>
                              <p:par>
                                <p:cTn id="30" presetID="18" presetClass="entr" presetSubtype="3" fill="hold" grpId="0" nodeType="withEffect">
                                  <p:stCondLst>
                                    <p:cond delay="0"/>
                                  </p:stCondLst>
                                  <p:childTnLst>
                                    <p:set>
                                      <p:cBhvr>
                                        <p:cTn id="31" dur="1" fill="hold">
                                          <p:stCondLst>
                                            <p:cond delay="0"/>
                                          </p:stCondLst>
                                        </p:cTn>
                                        <p:tgtEl>
                                          <p:spTgt spid="79"/>
                                        </p:tgtEl>
                                        <p:attrNameLst>
                                          <p:attrName>style.visibility</p:attrName>
                                        </p:attrNameLst>
                                      </p:cBhvr>
                                      <p:to>
                                        <p:strVal val="visible"/>
                                      </p:to>
                                    </p:set>
                                    <p:animEffect transition="in" filter="strips(upRight)">
                                      <p:cBhvr>
                                        <p:cTn id="32" dur="500"/>
                                        <p:tgtEl>
                                          <p:spTgt spid="79"/>
                                        </p:tgtEl>
                                      </p:cBhvr>
                                    </p:animEffect>
                                  </p:childTnLst>
                                </p:cTn>
                              </p:par>
                              <p:par>
                                <p:cTn id="33" presetID="6" presetClass="emph" presetSubtype="0" accel="52000" decel="48000" autoRev="1" fill="hold" grpId="1" nodeType="withEffect">
                                  <p:stCondLst>
                                    <p:cond delay="0"/>
                                  </p:stCondLst>
                                  <p:childTnLst>
                                    <p:animScale>
                                      <p:cBhvr>
                                        <p:cTn id="34" dur="350" fill="hold"/>
                                        <p:tgtEl>
                                          <p:spTgt spid="79"/>
                                        </p:tgtEl>
                                      </p:cBhvr>
                                      <p:by x="110000" y="110000"/>
                                    </p:animScale>
                                  </p:childTnLst>
                                </p:cTn>
                              </p:par>
                              <p:par>
                                <p:cTn id="35" presetID="10" presetClass="entr" presetSubtype="0" fill="hold" grpId="0" nodeType="withEffect">
                                  <p:stCondLst>
                                    <p:cond delay="500"/>
                                  </p:stCondLst>
                                  <p:childTnLst>
                                    <p:set>
                                      <p:cBhvr>
                                        <p:cTn id="36" dur="1" fill="hold">
                                          <p:stCondLst>
                                            <p:cond delay="0"/>
                                          </p:stCondLst>
                                        </p:cTn>
                                        <p:tgtEl>
                                          <p:spTgt spid="80"/>
                                        </p:tgtEl>
                                        <p:attrNameLst>
                                          <p:attrName>style.visibility</p:attrName>
                                        </p:attrNameLst>
                                      </p:cBhvr>
                                      <p:to>
                                        <p:strVal val="visible"/>
                                      </p:to>
                                    </p:set>
                                    <p:animEffect transition="in" filter="fade">
                                      <p:cBhvr>
                                        <p:cTn id="37" dur="750"/>
                                        <p:tgtEl>
                                          <p:spTgt spid="80"/>
                                        </p:tgtEl>
                                      </p:cBhvr>
                                    </p:animEffect>
                                  </p:childTnLst>
                                </p:cTn>
                              </p:par>
                              <p:par>
                                <p:cTn id="38" presetID="18" presetClass="entr" presetSubtype="3" fill="hold" nodeType="withEffect">
                                  <p:stCondLst>
                                    <p:cond delay="1000"/>
                                  </p:stCondLst>
                                  <p:childTnLst>
                                    <p:set>
                                      <p:cBhvr>
                                        <p:cTn id="39" dur="1" fill="hold">
                                          <p:stCondLst>
                                            <p:cond delay="0"/>
                                          </p:stCondLst>
                                        </p:cTn>
                                        <p:tgtEl>
                                          <p:spTgt spid="81"/>
                                        </p:tgtEl>
                                        <p:attrNameLst>
                                          <p:attrName>style.visibility</p:attrName>
                                        </p:attrNameLst>
                                      </p:cBhvr>
                                      <p:to>
                                        <p:strVal val="visible"/>
                                      </p:to>
                                    </p:set>
                                    <p:animEffect transition="in" filter="strips(upRight)">
                                      <p:cBhvr>
                                        <p:cTn id="40" dur="500"/>
                                        <p:tgtEl>
                                          <p:spTgt spid="81"/>
                                        </p:tgtEl>
                                      </p:cBhvr>
                                    </p:animEffect>
                                  </p:childTnLst>
                                </p:cTn>
                              </p:par>
                              <p:par>
                                <p:cTn id="41" presetID="6" presetClass="emph" presetSubtype="0" accel="52000" decel="48000" autoRev="1" fill="hold" nodeType="withEffect">
                                  <p:stCondLst>
                                    <p:cond delay="1000"/>
                                  </p:stCondLst>
                                  <p:childTnLst>
                                    <p:animScale>
                                      <p:cBhvr>
                                        <p:cTn id="42" dur="350" fill="hold"/>
                                        <p:tgtEl>
                                          <p:spTgt spid="81"/>
                                        </p:tgtEl>
                                      </p:cBhvr>
                                      <p:by x="110000" y="110000"/>
                                    </p:animScale>
                                  </p:childTnLst>
                                </p:cTn>
                              </p:par>
                              <p:par>
                                <p:cTn id="43" presetID="18" presetClass="entr" presetSubtype="3" fill="hold" grpId="0" nodeType="withEffect">
                                  <p:stCondLst>
                                    <p:cond delay="500"/>
                                  </p:stCondLst>
                                  <p:childTnLst>
                                    <p:set>
                                      <p:cBhvr>
                                        <p:cTn id="44" dur="1" fill="hold">
                                          <p:stCondLst>
                                            <p:cond delay="0"/>
                                          </p:stCondLst>
                                        </p:cTn>
                                        <p:tgtEl>
                                          <p:spTgt spid="2"/>
                                        </p:tgtEl>
                                        <p:attrNameLst>
                                          <p:attrName>style.visibility</p:attrName>
                                        </p:attrNameLst>
                                      </p:cBhvr>
                                      <p:to>
                                        <p:strVal val="visible"/>
                                      </p:to>
                                    </p:set>
                                    <p:animEffect transition="in" filter="strips(upRight)">
                                      <p:cBhvr>
                                        <p:cTn id="45" dur="500"/>
                                        <p:tgtEl>
                                          <p:spTgt spid="2"/>
                                        </p:tgtEl>
                                      </p:cBhvr>
                                    </p:animEffect>
                                  </p:childTnLst>
                                </p:cTn>
                              </p:par>
                              <p:par>
                                <p:cTn id="46" presetID="6" presetClass="emph" presetSubtype="0" accel="52000" decel="48000" autoRev="1" fill="hold" grpId="1" nodeType="withEffect">
                                  <p:stCondLst>
                                    <p:cond delay="500"/>
                                  </p:stCondLst>
                                  <p:childTnLst>
                                    <p:animScale>
                                      <p:cBhvr>
                                        <p:cTn id="47" dur="350" fill="hold"/>
                                        <p:tgtEl>
                                          <p:spTgt spid="2"/>
                                        </p:tgtEl>
                                      </p:cBhvr>
                                      <p:by x="110000" y="110000"/>
                                    </p:animScale>
                                  </p:childTnLst>
                                </p:cTn>
                              </p:par>
                              <p:par>
                                <p:cTn id="48" presetID="18" presetClass="entr" presetSubtype="3" fill="hold" nodeType="withEffect">
                                  <p:stCondLst>
                                    <p:cond delay="500"/>
                                  </p:stCondLst>
                                  <p:childTnLst>
                                    <p:set>
                                      <p:cBhvr>
                                        <p:cTn id="49" dur="1" fill="hold">
                                          <p:stCondLst>
                                            <p:cond delay="0"/>
                                          </p:stCondLst>
                                        </p:cTn>
                                        <p:tgtEl>
                                          <p:spTgt spid="3"/>
                                        </p:tgtEl>
                                        <p:attrNameLst>
                                          <p:attrName>style.visibility</p:attrName>
                                        </p:attrNameLst>
                                      </p:cBhvr>
                                      <p:to>
                                        <p:strVal val="visible"/>
                                      </p:to>
                                    </p:set>
                                    <p:animEffect transition="in" filter="strips(upRight)">
                                      <p:cBhvr>
                                        <p:cTn id="50" dur="500"/>
                                        <p:tgtEl>
                                          <p:spTgt spid="3"/>
                                        </p:tgtEl>
                                      </p:cBhvr>
                                    </p:animEffect>
                                  </p:childTnLst>
                                </p:cTn>
                              </p:par>
                              <p:par>
                                <p:cTn id="51" presetID="6" presetClass="emph" presetSubtype="0" accel="52000" decel="48000" autoRev="1" fill="hold" nodeType="withEffect">
                                  <p:stCondLst>
                                    <p:cond delay="500"/>
                                  </p:stCondLst>
                                  <p:childTnLst>
                                    <p:animScale>
                                      <p:cBhvr>
                                        <p:cTn id="52" dur="350" fill="hold"/>
                                        <p:tgtEl>
                                          <p:spTgt spid="3"/>
                                        </p:tgtEl>
                                      </p:cBhvr>
                                      <p:by x="110000" y="11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2" grpId="1" animBg="1"/>
      <p:bldP spid="79" grpId="0"/>
      <p:bldP spid="79" grpId="1"/>
      <p:bldP spid="80" grpId="0"/>
    </p:bldLst>
  </p:timing>
</p:sld>
</file>

<file path=ppt/slides/slide6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Shape 50">
            <a:extLst>
              <a:ext uri="{FF2B5EF4-FFF2-40B4-BE49-F238E27FC236}">
                <a16:creationId xmlns:a16="http://schemas.microsoft.com/office/drawing/2014/main" id="{50FF0501-F10C-43D9-ADF3-8306333C0B7E}"/>
              </a:ext>
            </a:extLst>
          </p:cNvPr>
          <p:cNvSpPr/>
          <p:nvPr/>
        </p:nvSpPr>
        <p:spPr>
          <a:xfrm>
            <a:off x="719401" y="3429000"/>
            <a:ext cx="7381150" cy="2628388"/>
          </a:xfrm>
          <a:custGeom>
            <a:avLst/>
            <a:gdLst>
              <a:gd name="connsiteX0" fmla="*/ 117279 w 7381150"/>
              <a:gd name="connsiteY0" fmla="*/ 0 h 2628388"/>
              <a:gd name="connsiteX1" fmla="*/ 7263871 w 7381150"/>
              <a:gd name="connsiteY1" fmla="*/ 0 h 2628388"/>
              <a:gd name="connsiteX2" fmla="*/ 7381150 w 7381150"/>
              <a:gd name="connsiteY2" fmla="*/ 117279 h 2628388"/>
              <a:gd name="connsiteX3" fmla="*/ 7381150 w 7381150"/>
              <a:gd name="connsiteY3" fmla="*/ 2511109 h 2628388"/>
              <a:gd name="connsiteX4" fmla="*/ 7263871 w 7381150"/>
              <a:gd name="connsiteY4" fmla="*/ 2628388 h 2628388"/>
              <a:gd name="connsiteX5" fmla="*/ 117279 w 7381150"/>
              <a:gd name="connsiteY5" fmla="*/ 2628388 h 2628388"/>
              <a:gd name="connsiteX6" fmla="*/ 0 w 7381150"/>
              <a:gd name="connsiteY6" fmla="*/ 2511109 h 2628388"/>
              <a:gd name="connsiteX7" fmla="*/ 0 w 7381150"/>
              <a:gd name="connsiteY7" fmla="*/ 117279 h 2628388"/>
              <a:gd name="connsiteX8" fmla="*/ 117279 w 7381150"/>
              <a:gd name="connsiteY8" fmla="*/ 0 h 2628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381150" h="2628388">
                <a:moveTo>
                  <a:pt x="117279" y="0"/>
                </a:moveTo>
                <a:lnTo>
                  <a:pt x="7263871" y="0"/>
                </a:lnTo>
                <a:cubicBezTo>
                  <a:pt x="7328642" y="0"/>
                  <a:pt x="7381150" y="52508"/>
                  <a:pt x="7381150" y="117279"/>
                </a:cubicBezTo>
                <a:lnTo>
                  <a:pt x="7381150" y="2511109"/>
                </a:lnTo>
                <a:cubicBezTo>
                  <a:pt x="7381150" y="2575880"/>
                  <a:pt x="7328642" y="2628388"/>
                  <a:pt x="7263871" y="2628388"/>
                </a:cubicBezTo>
                <a:lnTo>
                  <a:pt x="117279" y="2628388"/>
                </a:lnTo>
                <a:cubicBezTo>
                  <a:pt x="52508" y="2628388"/>
                  <a:pt x="0" y="2575880"/>
                  <a:pt x="0" y="2511109"/>
                </a:cubicBezTo>
                <a:lnTo>
                  <a:pt x="0" y="117279"/>
                </a:lnTo>
                <a:cubicBezTo>
                  <a:pt x="0" y="52508"/>
                  <a:pt x="52508" y="0"/>
                  <a:pt x="117279" y="0"/>
                </a:cubicBezTo>
                <a:close/>
              </a:path>
            </a:pathLst>
          </a:custGeom>
          <a:solidFill>
            <a:schemeClr val="tx1">
              <a:lumMod val="85000"/>
              <a:lumOff val="15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等线" panose="020F0502020204030204"/>
              <a:ea typeface="+mn-ea"/>
              <a:cs typeface="+mn-cs"/>
            </a:endParaRPr>
          </a:p>
        </p:txBody>
      </p:sp>
      <p:grpSp>
        <p:nvGrpSpPr>
          <p:cNvPr id="3" name="Group 1">
            <a:extLst>
              <a:ext uri="{FF2B5EF4-FFF2-40B4-BE49-F238E27FC236}">
                <a16:creationId xmlns:a16="http://schemas.microsoft.com/office/drawing/2014/main" id="{D3596655-3FE4-4ABD-B821-4D39FBDF2937}"/>
              </a:ext>
            </a:extLst>
          </p:cNvPr>
          <p:cNvGrpSpPr/>
          <p:nvPr/>
        </p:nvGrpSpPr>
        <p:grpSpPr>
          <a:xfrm>
            <a:off x="8100551" y="1472871"/>
            <a:ext cx="3360903" cy="4304078"/>
            <a:chOff x="4586686" y="2501478"/>
            <a:chExt cx="2656964" cy="3402592"/>
          </a:xfrm>
        </p:grpSpPr>
        <p:grpSp>
          <p:nvGrpSpPr>
            <p:cNvPr id="4" name="Group 2">
              <a:extLst>
                <a:ext uri="{FF2B5EF4-FFF2-40B4-BE49-F238E27FC236}">
                  <a16:creationId xmlns:a16="http://schemas.microsoft.com/office/drawing/2014/main" id="{0AC24AAA-9B73-45CB-9278-18D0F0748D3F}"/>
                </a:ext>
              </a:extLst>
            </p:cNvPr>
            <p:cNvGrpSpPr/>
            <p:nvPr/>
          </p:nvGrpSpPr>
          <p:grpSpPr>
            <a:xfrm>
              <a:off x="5189327" y="3049979"/>
              <a:ext cx="1369167" cy="2643608"/>
              <a:chOff x="5189327" y="3049979"/>
              <a:chExt cx="1369167" cy="2643608"/>
            </a:xfrm>
          </p:grpSpPr>
          <p:grpSp>
            <p:nvGrpSpPr>
              <p:cNvPr id="15" name="Group 19">
                <a:extLst>
                  <a:ext uri="{FF2B5EF4-FFF2-40B4-BE49-F238E27FC236}">
                    <a16:creationId xmlns:a16="http://schemas.microsoft.com/office/drawing/2014/main" id="{D5639B50-F689-4F1C-8227-B93541D1234F}"/>
                  </a:ext>
                </a:extLst>
              </p:cNvPr>
              <p:cNvGrpSpPr/>
              <p:nvPr/>
            </p:nvGrpSpPr>
            <p:grpSpPr>
              <a:xfrm>
                <a:off x="5189327" y="3431081"/>
                <a:ext cx="909134" cy="2262506"/>
                <a:chOff x="5189327" y="3431081"/>
                <a:chExt cx="909134" cy="2262506"/>
              </a:xfrm>
            </p:grpSpPr>
            <p:sp>
              <p:nvSpPr>
                <p:cNvPr id="19" name="Freeform: Shape 23">
                  <a:extLst>
                    <a:ext uri="{FF2B5EF4-FFF2-40B4-BE49-F238E27FC236}">
                      <a16:creationId xmlns:a16="http://schemas.microsoft.com/office/drawing/2014/main" id="{1AA96174-C925-4AEB-A8A7-A68E9EA710E8}"/>
                    </a:ext>
                  </a:extLst>
                </p:cNvPr>
                <p:cNvSpPr/>
                <p:nvPr/>
              </p:nvSpPr>
              <p:spPr>
                <a:xfrm flipH="1">
                  <a:off x="5212723" y="3788499"/>
                  <a:ext cx="885738" cy="1905088"/>
                </a:xfrm>
                <a:custGeom>
                  <a:avLst/>
                  <a:gdLst>
                    <a:gd name="connsiteX0" fmla="*/ 1196348 w 1237496"/>
                    <a:gd name="connsiteY0" fmla="*/ 2366677 h 2661665"/>
                    <a:gd name="connsiteX1" fmla="*/ 238229 w 1237496"/>
                    <a:gd name="connsiteY1" fmla="*/ 2580894 h 2661665"/>
                    <a:gd name="connsiteX2" fmla="*/ 202033 w 1237496"/>
                    <a:gd name="connsiteY2" fmla="*/ 1823847 h 2661665"/>
                    <a:gd name="connsiteX3" fmla="*/ 818587 w 1237496"/>
                    <a:gd name="connsiteY3" fmla="*/ 951738 h 2661665"/>
                    <a:gd name="connsiteX4" fmla="*/ 239372 w 1237496"/>
                    <a:gd name="connsiteY4" fmla="*/ 1424178 h 2661665"/>
                    <a:gd name="connsiteX5" fmla="*/ 264517 w 1237496"/>
                    <a:gd name="connsiteY5" fmla="*/ 0 h 2661665"/>
                    <a:gd name="connsiteX6" fmla="*/ 148313 w 1237496"/>
                    <a:gd name="connsiteY6" fmla="*/ 1235393 h 2661665"/>
                    <a:gd name="connsiteX7" fmla="*/ 45633 w 1237496"/>
                    <a:gd name="connsiteY7" fmla="*/ 2656047 h 2661665"/>
                    <a:gd name="connsiteX8" fmla="*/ 209463 w 1237496"/>
                    <a:gd name="connsiteY8" fmla="*/ 2661666 h 2661665"/>
                    <a:gd name="connsiteX9" fmla="*/ 251754 w 1237496"/>
                    <a:gd name="connsiteY9" fmla="*/ 2661095 h 2661665"/>
                    <a:gd name="connsiteX10" fmla="*/ 1237496 w 1237496"/>
                    <a:gd name="connsiteY10" fmla="*/ 2436114 h 2661665"/>
                    <a:gd name="connsiteX11" fmla="*/ 1196348 w 1237496"/>
                    <a:gd name="connsiteY11" fmla="*/ 2366677 h 26616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37496" h="2661665">
                      <a:moveTo>
                        <a:pt x="1196348" y="2366677"/>
                      </a:moveTo>
                      <a:cubicBezTo>
                        <a:pt x="903740" y="2500503"/>
                        <a:pt x="579509" y="2576894"/>
                        <a:pt x="238229" y="2580894"/>
                      </a:cubicBezTo>
                      <a:cubicBezTo>
                        <a:pt x="214130" y="2415635"/>
                        <a:pt x="196985" y="2157032"/>
                        <a:pt x="202033" y="1823847"/>
                      </a:cubicBezTo>
                      <a:cubicBezTo>
                        <a:pt x="209558" y="1320356"/>
                        <a:pt x="674759" y="1430084"/>
                        <a:pt x="818587" y="951738"/>
                      </a:cubicBezTo>
                      <a:cubicBezTo>
                        <a:pt x="701239" y="1218057"/>
                        <a:pt x="414250" y="1241203"/>
                        <a:pt x="239372" y="1424178"/>
                      </a:cubicBezTo>
                      <a:cubicBezTo>
                        <a:pt x="306808" y="1000506"/>
                        <a:pt x="427490" y="558451"/>
                        <a:pt x="264517" y="0"/>
                      </a:cubicBezTo>
                      <a:cubicBezTo>
                        <a:pt x="286901" y="310610"/>
                        <a:pt x="371769" y="288226"/>
                        <a:pt x="148313" y="1235393"/>
                      </a:cubicBezTo>
                      <a:cubicBezTo>
                        <a:pt x="-35425" y="2014442"/>
                        <a:pt x="-21137" y="2426208"/>
                        <a:pt x="45633" y="2656047"/>
                      </a:cubicBezTo>
                      <a:cubicBezTo>
                        <a:pt x="99830" y="2659666"/>
                        <a:pt x="154408" y="2661666"/>
                        <a:pt x="209463" y="2661666"/>
                      </a:cubicBezTo>
                      <a:cubicBezTo>
                        <a:pt x="223655" y="2661666"/>
                        <a:pt x="237657" y="2661381"/>
                        <a:pt x="251754" y="2661095"/>
                      </a:cubicBezTo>
                      <a:cubicBezTo>
                        <a:pt x="603036" y="2655094"/>
                        <a:pt x="936506" y="2575084"/>
                        <a:pt x="1237496" y="2436114"/>
                      </a:cubicBezTo>
                      <a:cubicBezTo>
                        <a:pt x="1222447" y="2414016"/>
                        <a:pt x="1208635" y="2390775"/>
                        <a:pt x="1196348" y="2366677"/>
                      </a:cubicBezTo>
                      <a:close/>
                    </a:path>
                  </a:pathLst>
                </a:custGeom>
                <a:solidFill>
                  <a:schemeClr val="tx1">
                    <a:lumMod val="85000"/>
                    <a:lumOff val="15000"/>
                  </a:scheme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0" name="Freeform: Shape 24">
                  <a:extLst>
                    <a:ext uri="{FF2B5EF4-FFF2-40B4-BE49-F238E27FC236}">
                      <a16:creationId xmlns:a16="http://schemas.microsoft.com/office/drawing/2014/main" id="{6BE8EE18-0633-4C4E-8127-F77BD97DDEFD}"/>
                    </a:ext>
                  </a:extLst>
                </p:cNvPr>
                <p:cNvSpPr/>
                <p:nvPr/>
              </p:nvSpPr>
              <p:spPr>
                <a:xfrm>
                  <a:off x="5189327" y="4208698"/>
                  <a:ext cx="267212" cy="276773"/>
                </a:xfrm>
                <a:custGeom>
                  <a:avLst/>
                  <a:gdLst>
                    <a:gd name="connsiteX0" fmla="*/ 192405 w 524928"/>
                    <a:gd name="connsiteY0" fmla="*/ 141922 h 543712"/>
                    <a:gd name="connsiteX1" fmla="*/ 508254 w 524928"/>
                    <a:gd name="connsiteY1" fmla="*/ 484346 h 543712"/>
                    <a:gd name="connsiteX2" fmla="*/ 510064 w 524928"/>
                    <a:gd name="connsiteY2" fmla="*/ 488252 h 543712"/>
                    <a:gd name="connsiteX3" fmla="*/ 466535 w 524928"/>
                    <a:gd name="connsiteY3" fmla="*/ 271844 h 543712"/>
                    <a:gd name="connsiteX4" fmla="*/ 0 w 524928"/>
                    <a:gd name="connsiteY4" fmla="*/ 0 h 543712"/>
                    <a:gd name="connsiteX5" fmla="*/ 409385 w 524928"/>
                    <a:gd name="connsiteY5" fmla="*/ 543687 h 543712"/>
                    <a:gd name="connsiteX6" fmla="*/ 474536 w 524928"/>
                    <a:gd name="connsiteY6" fmla="*/ 526637 h 543712"/>
                    <a:gd name="connsiteX7" fmla="*/ 192405 w 524928"/>
                    <a:gd name="connsiteY7" fmla="*/ 141922 h 543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4928" h="543712">
                      <a:moveTo>
                        <a:pt x="192405" y="141922"/>
                      </a:moveTo>
                      <a:cubicBezTo>
                        <a:pt x="281845" y="221932"/>
                        <a:pt x="448056" y="362045"/>
                        <a:pt x="508254" y="484346"/>
                      </a:cubicBezTo>
                      <a:cubicBezTo>
                        <a:pt x="508921" y="485680"/>
                        <a:pt x="509397" y="486918"/>
                        <a:pt x="510064" y="488252"/>
                      </a:cubicBezTo>
                      <a:cubicBezTo>
                        <a:pt x="537210" y="437769"/>
                        <a:pt x="529685" y="358045"/>
                        <a:pt x="466535" y="271844"/>
                      </a:cubicBezTo>
                      <a:cubicBezTo>
                        <a:pt x="377476" y="150209"/>
                        <a:pt x="196405" y="81439"/>
                        <a:pt x="0" y="0"/>
                      </a:cubicBezTo>
                      <a:cubicBezTo>
                        <a:pt x="225266" y="233458"/>
                        <a:pt x="187357" y="539401"/>
                        <a:pt x="409385" y="543687"/>
                      </a:cubicBezTo>
                      <a:cubicBezTo>
                        <a:pt x="434435" y="544163"/>
                        <a:pt x="456533" y="538067"/>
                        <a:pt x="474536" y="526637"/>
                      </a:cubicBezTo>
                      <a:cubicBezTo>
                        <a:pt x="422910" y="417957"/>
                        <a:pt x="342995" y="323850"/>
                        <a:pt x="192405" y="141922"/>
                      </a:cubicBezTo>
                      <a:close/>
                    </a:path>
                  </a:pathLst>
                </a:custGeom>
                <a:solidFill>
                  <a:schemeClr val="accent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1" name="Freeform: Shape 25">
                  <a:extLst>
                    <a:ext uri="{FF2B5EF4-FFF2-40B4-BE49-F238E27FC236}">
                      <a16:creationId xmlns:a16="http://schemas.microsoft.com/office/drawing/2014/main" id="{AA968FC9-B88D-4ABE-A58F-914928018AB6}"/>
                    </a:ext>
                  </a:extLst>
                </p:cNvPr>
                <p:cNvSpPr/>
                <p:nvPr/>
              </p:nvSpPr>
              <p:spPr>
                <a:xfrm>
                  <a:off x="5928640" y="3431081"/>
                  <a:ext cx="151948" cy="363851"/>
                </a:xfrm>
                <a:custGeom>
                  <a:avLst/>
                  <a:gdLst>
                    <a:gd name="connsiteX0" fmla="*/ 212292 w 212292"/>
                    <a:gd name="connsiteY0" fmla="*/ 0 h 508349"/>
                    <a:gd name="connsiteX1" fmla="*/ 16934 w 212292"/>
                    <a:gd name="connsiteY1" fmla="*/ 473297 h 508349"/>
                    <a:gd name="connsiteX2" fmla="*/ 75704 w 212292"/>
                    <a:gd name="connsiteY2" fmla="*/ 508349 h 508349"/>
                    <a:gd name="connsiteX3" fmla="*/ 60178 w 212292"/>
                    <a:gd name="connsiteY3" fmla="*/ 451199 h 508349"/>
                    <a:gd name="connsiteX4" fmla="*/ 127901 w 212292"/>
                    <a:gd name="connsiteY4" fmla="*/ 190786 h 508349"/>
                    <a:gd name="connsiteX5" fmla="*/ 106279 w 212292"/>
                    <a:gd name="connsiteY5" fmla="*/ 504254 h 508349"/>
                    <a:gd name="connsiteX6" fmla="*/ 170668 w 212292"/>
                    <a:gd name="connsiteY6" fmla="*/ 421576 h 508349"/>
                    <a:gd name="connsiteX7" fmla="*/ 212292 w 212292"/>
                    <a:gd name="connsiteY7" fmla="*/ 0 h 5083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2292" h="508349">
                      <a:moveTo>
                        <a:pt x="212292" y="0"/>
                      </a:moveTo>
                      <a:cubicBezTo>
                        <a:pt x="133616" y="152209"/>
                        <a:pt x="-57646" y="336042"/>
                        <a:pt x="16934" y="473297"/>
                      </a:cubicBezTo>
                      <a:cubicBezTo>
                        <a:pt x="29698" y="496824"/>
                        <a:pt x="51986" y="507492"/>
                        <a:pt x="75704" y="508349"/>
                      </a:cubicBezTo>
                      <a:cubicBezTo>
                        <a:pt x="69036" y="495014"/>
                        <a:pt x="63131" y="476250"/>
                        <a:pt x="60178" y="451199"/>
                      </a:cubicBezTo>
                      <a:cubicBezTo>
                        <a:pt x="50558" y="371094"/>
                        <a:pt x="101993" y="255460"/>
                        <a:pt x="127901" y="190786"/>
                      </a:cubicBezTo>
                      <a:cubicBezTo>
                        <a:pt x="98564" y="349091"/>
                        <a:pt x="83991" y="417957"/>
                        <a:pt x="106279" y="504254"/>
                      </a:cubicBezTo>
                      <a:cubicBezTo>
                        <a:pt x="141331" y="493490"/>
                        <a:pt x="171811" y="463010"/>
                        <a:pt x="170668" y="421576"/>
                      </a:cubicBezTo>
                      <a:cubicBezTo>
                        <a:pt x="167334" y="307753"/>
                        <a:pt x="133806" y="240030"/>
                        <a:pt x="212292" y="0"/>
                      </a:cubicBezTo>
                      <a:close/>
                    </a:path>
                  </a:pathLst>
                </a:custGeom>
                <a:solidFill>
                  <a:schemeClr val="accent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sp>
            <p:nvSpPr>
              <p:cNvPr id="16" name="Freeform: Shape 20">
                <a:extLst>
                  <a:ext uri="{FF2B5EF4-FFF2-40B4-BE49-F238E27FC236}">
                    <a16:creationId xmlns:a16="http://schemas.microsoft.com/office/drawing/2014/main" id="{1DDF08E3-3C88-49AB-BE87-465043928071}"/>
                  </a:ext>
                </a:extLst>
              </p:cNvPr>
              <p:cNvSpPr/>
              <p:nvPr/>
            </p:nvSpPr>
            <p:spPr>
              <a:xfrm>
                <a:off x="6107377" y="3970521"/>
                <a:ext cx="451117" cy="619950"/>
              </a:xfrm>
              <a:custGeom>
                <a:avLst/>
                <a:gdLst>
                  <a:gd name="connsiteX0" fmla="*/ 20134 w 516034"/>
                  <a:gd name="connsiteY0" fmla="*/ 709165 h 709165"/>
                  <a:gd name="connsiteX1" fmla="*/ 18991 w 516034"/>
                  <a:gd name="connsiteY1" fmla="*/ 709165 h 709165"/>
                  <a:gd name="connsiteX2" fmla="*/ 36 w 516034"/>
                  <a:gd name="connsiteY2" fmla="*/ 688591 h 709165"/>
                  <a:gd name="connsiteX3" fmla="*/ 132 w 516034"/>
                  <a:gd name="connsiteY3" fmla="*/ 687258 h 709165"/>
                  <a:gd name="connsiteX4" fmla="*/ 21373 w 516034"/>
                  <a:gd name="connsiteY4" fmla="*/ 668398 h 709165"/>
                  <a:gd name="connsiteX5" fmla="*/ 40232 w 516034"/>
                  <a:gd name="connsiteY5" fmla="*/ 689639 h 709165"/>
                  <a:gd name="connsiteX6" fmla="*/ 20134 w 516034"/>
                  <a:gd name="connsiteY6" fmla="*/ 709165 h 709165"/>
                  <a:gd name="connsiteX7" fmla="*/ 33279 w 516034"/>
                  <a:gd name="connsiteY7" fmla="*/ 614963 h 709165"/>
                  <a:gd name="connsiteX8" fmla="*/ 29183 w 516034"/>
                  <a:gd name="connsiteY8" fmla="*/ 614487 h 709165"/>
                  <a:gd name="connsiteX9" fmla="*/ 13752 w 516034"/>
                  <a:gd name="connsiteY9" fmla="*/ 591341 h 709165"/>
                  <a:gd name="connsiteX10" fmla="*/ 14133 w 516034"/>
                  <a:gd name="connsiteY10" fmla="*/ 589626 h 709165"/>
                  <a:gd name="connsiteX11" fmla="*/ 38327 w 516034"/>
                  <a:gd name="connsiteY11" fmla="*/ 574672 h 709165"/>
                  <a:gd name="connsiteX12" fmla="*/ 53281 w 516034"/>
                  <a:gd name="connsiteY12" fmla="*/ 598866 h 709165"/>
                  <a:gd name="connsiteX13" fmla="*/ 33279 w 516034"/>
                  <a:gd name="connsiteY13" fmla="*/ 614963 h 709165"/>
                  <a:gd name="connsiteX14" fmla="*/ 60044 w 516034"/>
                  <a:gd name="connsiteY14" fmla="*/ 524285 h 709165"/>
                  <a:gd name="connsiteX15" fmla="*/ 52995 w 516034"/>
                  <a:gd name="connsiteY15" fmla="*/ 523047 h 709165"/>
                  <a:gd name="connsiteX16" fmla="*/ 41184 w 516034"/>
                  <a:gd name="connsiteY16" fmla="*/ 497139 h 709165"/>
                  <a:gd name="connsiteX17" fmla="*/ 60044 w 516034"/>
                  <a:gd name="connsiteY17" fmla="*/ 504187 h 709165"/>
                  <a:gd name="connsiteX18" fmla="*/ 41470 w 516034"/>
                  <a:gd name="connsiteY18" fmla="*/ 496377 h 709165"/>
                  <a:gd name="connsiteX19" fmla="*/ 66997 w 516034"/>
                  <a:gd name="connsiteY19" fmla="*/ 483899 h 709165"/>
                  <a:gd name="connsiteX20" fmla="*/ 79475 w 516034"/>
                  <a:gd name="connsiteY20" fmla="*/ 509426 h 709165"/>
                  <a:gd name="connsiteX21" fmla="*/ 78808 w 516034"/>
                  <a:gd name="connsiteY21" fmla="*/ 511236 h 709165"/>
                  <a:gd name="connsiteX22" fmla="*/ 60044 w 516034"/>
                  <a:gd name="connsiteY22" fmla="*/ 524285 h 709165"/>
                  <a:gd name="connsiteX23" fmla="*/ 97477 w 516034"/>
                  <a:gd name="connsiteY23" fmla="*/ 436560 h 709165"/>
                  <a:gd name="connsiteX24" fmla="*/ 88905 w 516034"/>
                  <a:gd name="connsiteY24" fmla="*/ 434559 h 709165"/>
                  <a:gd name="connsiteX25" fmla="*/ 79475 w 516034"/>
                  <a:gd name="connsiteY25" fmla="*/ 407985 h 709165"/>
                  <a:gd name="connsiteX26" fmla="*/ 80427 w 516034"/>
                  <a:gd name="connsiteY26" fmla="*/ 406080 h 709165"/>
                  <a:gd name="connsiteX27" fmla="*/ 107669 w 516034"/>
                  <a:gd name="connsiteY27" fmla="*/ 397793 h 709165"/>
                  <a:gd name="connsiteX28" fmla="*/ 115956 w 516034"/>
                  <a:gd name="connsiteY28" fmla="*/ 425034 h 709165"/>
                  <a:gd name="connsiteX29" fmla="*/ 97477 w 516034"/>
                  <a:gd name="connsiteY29" fmla="*/ 436560 h 709165"/>
                  <a:gd name="connsiteX30" fmla="*/ 144531 w 516034"/>
                  <a:gd name="connsiteY30" fmla="*/ 353502 h 709165"/>
                  <a:gd name="connsiteX31" fmla="*/ 134053 w 516034"/>
                  <a:gd name="connsiteY31" fmla="*/ 350454 h 709165"/>
                  <a:gd name="connsiteX32" fmla="*/ 127576 w 516034"/>
                  <a:gd name="connsiteY32" fmla="*/ 323593 h 709165"/>
                  <a:gd name="connsiteX33" fmla="*/ 128719 w 516034"/>
                  <a:gd name="connsiteY33" fmla="*/ 321783 h 709165"/>
                  <a:gd name="connsiteX34" fmla="*/ 156627 w 516034"/>
                  <a:gd name="connsiteY34" fmla="*/ 316449 h 709165"/>
                  <a:gd name="connsiteX35" fmla="*/ 161961 w 516034"/>
                  <a:gd name="connsiteY35" fmla="*/ 344358 h 709165"/>
                  <a:gd name="connsiteX36" fmla="*/ 144531 w 516034"/>
                  <a:gd name="connsiteY36" fmla="*/ 353502 h 709165"/>
                  <a:gd name="connsiteX37" fmla="*/ 200157 w 516034"/>
                  <a:gd name="connsiteY37" fmla="*/ 276730 h 709165"/>
                  <a:gd name="connsiteX38" fmla="*/ 187965 w 516034"/>
                  <a:gd name="connsiteY38" fmla="*/ 272539 h 709165"/>
                  <a:gd name="connsiteX39" fmla="*/ 184250 w 516034"/>
                  <a:gd name="connsiteY39" fmla="*/ 244536 h 709165"/>
                  <a:gd name="connsiteX40" fmla="*/ 185584 w 516034"/>
                  <a:gd name="connsiteY40" fmla="*/ 242821 h 709165"/>
                  <a:gd name="connsiteX41" fmla="*/ 213968 w 516034"/>
                  <a:gd name="connsiteY41" fmla="*/ 240440 h 709165"/>
                  <a:gd name="connsiteX42" fmla="*/ 216349 w 516034"/>
                  <a:gd name="connsiteY42" fmla="*/ 268824 h 709165"/>
                  <a:gd name="connsiteX43" fmla="*/ 200157 w 516034"/>
                  <a:gd name="connsiteY43" fmla="*/ 276730 h 709165"/>
                  <a:gd name="connsiteX44" fmla="*/ 263879 w 516034"/>
                  <a:gd name="connsiteY44" fmla="*/ 205483 h 709165"/>
                  <a:gd name="connsiteX45" fmla="*/ 249877 w 516034"/>
                  <a:gd name="connsiteY45" fmla="*/ 199864 h 709165"/>
                  <a:gd name="connsiteX46" fmla="*/ 249401 w 516034"/>
                  <a:gd name="connsiteY46" fmla="*/ 171860 h 709165"/>
                  <a:gd name="connsiteX47" fmla="*/ 250353 w 516034"/>
                  <a:gd name="connsiteY47" fmla="*/ 170907 h 709165"/>
                  <a:gd name="connsiteX48" fmla="*/ 278833 w 516034"/>
                  <a:gd name="connsiteY48" fmla="*/ 170907 h 709165"/>
                  <a:gd name="connsiteX49" fmla="*/ 278833 w 516034"/>
                  <a:gd name="connsiteY49" fmla="*/ 199292 h 709165"/>
                  <a:gd name="connsiteX50" fmla="*/ 263879 w 516034"/>
                  <a:gd name="connsiteY50" fmla="*/ 205483 h 709165"/>
                  <a:gd name="connsiteX51" fmla="*/ 334459 w 516034"/>
                  <a:gd name="connsiteY51" fmla="*/ 142618 h 709165"/>
                  <a:gd name="connsiteX52" fmla="*/ 318552 w 516034"/>
                  <a:gd name="connsiteY52" fmla="*/ 134903 h 709165"/>
                  <a:gd name="connsiteX53" fmla="*/ 322077 w 516034"/>
                  <a:gd name="connsiteY53" fmla="*/ 106709 h 709165"/>
                  <a:gd name="connsiteX54" fmla="*/ 334459 w 516034"/>
                  <a:gd name="connsiteY54" fmla="*/ 122616 h 709165"/>
                  <a:gd name="connsiteX55" fmla="*/ 322553 w 516034"/>
                  <a:gd name="connsiteY55" fmla="*/ 106423 h 709165"/>
                  <a:gd name="connsiteX56" fmla="*/ 350842 w 516034"/>
                  <a:gd name="connsiteY56" fmla="*/ 108995 h 709165"/>
                  <a:gd name="connsiteX57" fmla="*/ 348461 w 516034"/>
                  <a:gd name="connsiteY57" fmla="*/ 137094 h 709165"/>
                  <a:gd name="connsiteX58" fmla="*/ 346747 w 516034"/>
                  <a:gd name="connsiteY58" fmla="*/ 138427 h 709165"/>
                  <a:gd name="connsiteX59" fmla="*/ 334459 w 516034"/>
                  <a:gd name="connsiteY59" fmla="*/ 142618 h 709165"/>
                  <a:gd name="connsiteX60" fmla="*/ 411802 w 516034"/>
                  <a:gd name="connsiteY60" fmla="*/ 87278 h 709165"/>
                  <a:gd name="connsiteX61" fmla="*/ 394752 w 516034"/>
                  <a:gd name="connsiteY61" fmla="*/ 77753 h 709165"/>
                  <a:gd name="connsiteX62" fmla="*/ 401230 w 516034"/>
                  <a:gd name="connsiteY62" fmla="*/ 50035 h 709165"/>
                  <a:gd name="connsiteX63" fmla="*/ 411802 w 516034"/>
                  <a:gd name="connsiteY63" fmla="*/ 67085 h 709165"/>
                  <a:gd name="connsiteX64" fmla="*/ 401610 w 516034"/>
                  <a:gd name="connsiteY64" fmla="*/ 49749 h 709165"/>
                  <a:gd name="connsiteX65" fmla="*/ 429519 w 516034"/>
                  <a:gd name="connsiteY65" fmla="*/ 55274 h 709165"/>
                  <a:gd name="connsiteX66" fmla="*/ 424185 w 516034"/>
                  <a:gd name="connsiteY66" fmla="*/ 82992 h 709165"/>
                  <a:gd name="connsiteX67" fmla="*/ 422375 w 516034"/>
                  <a:gd name="connsiteY67" fmla="*/ 84135 h 709165"/>
                  <a:gd name="connsiteX68" fmla="*/ 411802 w 516034"/>
                  <a:gd name="connsiteY68" fmla="*/ 87278 h 709165"/>
                  <a:gd name="connsiteX69" fmla="*/ 494765 w 516034"/>
                  <a:gd name="connsiteY69" fmla="*/ 40796 h 709165"/>
                  <a:gd name="connsiteX70" fmla="*/ 476667 w 516034"/>
                  <a:gd name="connsiteY70" fmla="*/ 29461 h 709165"/>
                  <a:gd name="connsiteX71" fmla="*/ 486002 w 516034"/>
                  <a:gd name="connsiteY71" fmla="*/ 2601 h 709165"/>
                  <a:gd name="connsiteX72" fmla="*/ 486955 w 516034"/>
                  <a:gd name="connsiteY72" fmla="*/ 2124 h 709165"/>
                  <a:gd name="connsiteX73" fmla="*/ 513910 w 516034"/>
                  <a:gd name="connsiteY73" fmla="*/ 11078 h 709165"/>
                  <a:gd name="connsiteX74" fmla="*/ 504957 w 516034"/>
                  <a:gd name="connsiteY74" fmla="*/ 38034 h 709165"/>
                  <a:gd name="connsiteX75" fmla="*/ 503528 w 516034"/>
                  <a:gd name="connsiteY75" fmla="*/ 38700 h 709165"/>
                  <a:gd name="connsiteX76" fmla="*/ 494765 w 516034"/>
                  <a:gd name="connsiteY76" fmla="*/ 40796 h 7091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516034" h="709165">
                    <a:moveTo>
                      <a:pt x="20134" y="709165"/>
                    </a:moveTo>
                    <a:cubicBezTo>
                      <a:pt x="19753" y="709165"/>
                      <a:pt x="19372" y="709165"/>
                      <a:pt x="18991" y="709165"/>
                    </a:cubicBezTo>
                    <a:cubicBezTo>
                      <a:pt x="7942" y="708499"/>
                      <a:pt x="-630" y="699640"/>
                      <a:pt x="36" y="688591"/>
                    </a:cubicBezTo>
                    <a:lnTo>
                      <a:pt x="132" y="687258"/>
                    </a:lnTo>
                    <a:cubicBezTo>
                      <a:pt x="799" y="676209"/>
                      <a:pt x="9942" y="667636"/>
                      <a:pt x="21373" y="668398"/>
                    </a:cubicBezTo>
                    <a:cubicBezTo>
                      <a:pt x="32422" y="669065"/>
                      <a:pt x="40899" y="678590"/>
                      <a:pt x="40232" y="689639"/>
                    </a:cubicBezTo>
                    <a:cubicBezTo>
                      <a:pt x="39660" y="700212"/>
                      <a:pt x="30802" y="709165"/>
                      <a:pt x="20134" y="709165"/>
                    </a:cubicBezTo>
                    <a:close/>
                    <a:moveTo>
                      <a:pt x="33279" y="614963"/>
                    </a:moveTo>
                    <a:cubicBezTo>
                      <a:pt x="31945" y="614963"/>
                      <a:pt x="30517" y="614868"/>
                      <a:pt x="29183" y="614487"/>
                    </a:cubicBezTo>
                    <a:cubicBezTo>
                      <a:pt x="18420" y="612106"/>
                      <a:pt x="11467" y="602104"/>
                      <a:pt x="13752" y="591341"/>
                    </a:cubicBezTo>
                    <a:cubicBezTo>
                      <a:pt x="13752" y="591150"/>
                      <a:pt x="14133" y="589722"/>
                      <a:pt x="14133" y="589626"/>
                    </a:cubicBezTo>
                    <a:cubicBezTo>
                      <a:pt x="16705" y="578863"/>
                      <a:pt x="27373" y="572100"/>
                      <a:pt x="38327" y="574672"/>
                    </a:cubicBezTo>
                    <a:cubicBezTo>
                      <a:pt x="49090" y="577244"/>
                      <a:pt x="55853" y="588007"/>
                      <a:pt x="53281" y="598866"/>
                    </a:cubicBezTo>
                    <a:cubicBezTo>
                      <a:pt x="51091" y="608200"/>
                      <a:pt x="42518" y="614963"/>
                      <a:pt x="33279" y="614963"/>
                    </a:cubicBezTo>
                    <a:close/>
                    <a:moveTo>
                      <a:pt x="60044" y="524285"/>
                    </a:moveTo>
                    <a:cubicBezTo>
                      <a:pt x="57663" y="524285"/>
                      <a:pt x="55282" y="523904"/>
                      <a:pt x="52995" y="523047"/>
                    </a:cubicBezTo>
                    <a:cubicBezTo>
                      <a:pt x="42613" y="519141"/>
                      <a:pt x="37375" y="507521"/>
                      <a:pt x="41184" y="497139"/>
                    </a:cubicBezTo>
                    <a:lnTo>
                      <a:pt x="60044" y="504187"/>
                    </a:lnTo>
                    <a:lnTo>
                      <a:pt x="41470" y="496377"/>
                    </a:lnTo>
                    <a:cubicBezTo>
                      <a:pt x="45090" y="485899"/>
                      <a:pt x="56615" y="480375"/>
                      <a:pt x="66997" y="483899"/>
                    </a:cubicBezTo>
                    <a:cubicBezTo>
                      <a:pt x="77475" y="487518"/>
                      <a:pt x="83094" y="498949"/>
                      <a:pt x="79475" y="509426"/>
                    </a:cubicBezTo>
                    <a:cubicBezTo>
                      <a:pt x="79380" y="509616"/>
                      <a:pt x="78903" y="511045"/>
                      <a:pt x="78808" y="511236"/>
                    </a:cubicBezTo>
                    <a:cubicBezTo>
                      <a:pt x="75760" y="519332"/>
                      <a:pt x="68140" y="524285"/>
                      <a:pt x="60044" y="524285"/>
                    </a:cubicBezTo>
                    <a:close/>
                    <a:moveTo>
                      <a:pt x="97477" y="436560"/>
                    </a:moveTo>
                    <a:cubicBezTo>
                      <a:pt x="94620" y="436560"/>
                      <a:pt x="91667" y="435893"/>
                      <a:pt x="88905" y="434559"/>
                    </a:cubicBezTo>
                    <a:cubicBezTo>
                      <a:pt x="78903" y="429702"/>
                      <a:pt x="74617" y="417986"/>
                      <a:pt x="79475" y="407985"/>
                    </a:cubicBezTo>
                    <a:lnTo>
                      <a:pt x="80427" y="406080"/>
                    </a:lnTo>
                    <a:cubicBezTo>
                      <a:pt x="85666" y="396269"/>
                      <a:pt x="97858" y="392554"/>
                      <a:pt x="107669" y="397793"/>
                    </a:cubicBezTo>
                    <a:cubicBezTo>
                      <a:pt x="117480" y="403032"/>
                      <a:pt x="121194" y="415224"/>
                      <a:pt x="115956" y="425034"/>
                    </a:cubicBezTo>
                    <a:cubicBezTo>
                      <a:pt x="112336" y="432274"/>
                      <a:pt x="105097" y="436560"/>
                      <a:pt x="97477" y="436560"/>
                    </a:cubicBezTo>
                    <a:close/>
                    <a:moveTo>
                      <a:pt x="144531" y="353502"/>
                    </a:moveTo>
                    <a:cubicBezTo>
                      <a:pt x="140911" y="353502"/>
                      <a:pt x="137197" y="352549"/>
                      <a:pt x="134053" y="350454"/>
                    </a:cubicBezTo>
                    <a:cubicBezTo>
                      <a:pt x="124909" y="344453"/>
                      <a:pt x="121766" y="332832"/>
                      <a:pt x="127576" y="323593"/>
                    </a:cubicBezTo>
                    <a:cubicBezTo>
                      <a:pt x="127672" y="323403"/>
                      <a:pt x="128624" y="321974"/>
                      <a:pt x="128719" y="321783"/>
                    </a:cubicBezTo>
                    <a:cubicBezTo>
                      <a:pt x="135006" y="312640"/>
                      <a:pt x="147484" y="310258"/>
                      <a:pt x="156627" y="316449"/>
                    </a:cubicBezTo>
                    <a:cubicBezTo>
                      <a:pt x="165772" y="322641"/>
                      <a:pt x="168248" y="335214"/>
                      <a:pt x="161961" y="344358"/>
                    </a:cubicBezTo>
                    <a:cubicBezTo>
                      <a:pt x="157961" y="350168"/>
                      <a:pt x="151198" y="353502"/>
                      <a:pt x="144531" y="353502"/>
                    </a:cubicBezTo>
                    <a:close/>
                    <a:moveTo>
                      <a:pt x="200157" y="276730"/>
                    </a:moveTo>
                    <a:cubicBezTo>
                      <a:pt x="195870" y="276730"/>
                      <a:pt x="191584" y="275397"/>
                      <a:pt x="187965" y="272539"/>
                    </a:cubicBezTo>
                    <a:cubicBezTo>
                      <a:pt x="179202" y="265681"/>
                      <a:pt x="177487" y="253299"/>
                      <a:pt x="184250" y="244536"/>
                    </a:cubicBezTo>
                    <a:lnTo>
                      <a:pt x="185584" y="242821"/>
                    </a:lnTo>
                    <a:cubicBezTo>
                      <a:pt x="192727" y="234344"/>
                      <a:pt x="205395" y="233296"/>
                      <a:pt x="213968" y="240440"/>
                    </a:cubicBezTo>
                    <a:cubicBezTo>
                      <a:pt x="222445" y="247584"/>
                      <a:pt x="223493" y="260347"/>
                      <a:pt x="216349" y="268824"/>
                    </a:cubicBezTo>
                    <a:cubicBezTo>
                      <a:pt x="212349" y="273968"/>
                      <a:pt x="206253" y="276730"/>
                      <a:pt x="200157" y="276730"/>
                    </a:cubicBezTo>
                    <a:close/>
                    <a:moveTo>
                      <a:pt x="263879" y="205483"/>
                    </a:moveTo>
                    <a:cubicBezTo>
                      <a:pt x="258735" y="205483"/>
                      <a:pt x="253687" y="203674"/>
                      <a:pt x="249877" y="199864"/>
                    </a:cubicBezTo>
                    <a:cubicBezTo>
                      <a:pt x="241972" y="192053"/>
                      <a:pt x="241591" y="179766"/>
                      <a:pt x="249401" y="171860"/>
                    </a:cubicBezTo>
                    <a:lnTo>
                      <a:pt x="250353" y="170907"/>
                    </a:lnTo>
                    <a:cubicBezTo>
                      <a:pt x="258164" y="163097"/>
                      <a:pt x="270927" y="163097"/>
                      <a:pt x="278833" y="170907"/>
                    </a:cubicBezTo>
                    <a:cubicBezTo>
                      <a:pt x="286644" y="178718"/>
                      <a:pt x="286644" y="191482"/>
                      <a:pt x="278833" y="199292"/>
                    </a:cubicBezTo>
                    <a:cubicBezTo>
                      <a:pt x="274833" y="203388"/>
                      <a:pt x="269308" y="205483"/>
                      <a:pt x="263879" y="205483"/>
                    </a:cubicBezTo>
                    <a:close/>
                    <a:moveTo>
                      <a:pt x="334459" y="142618"/>
                    </a:moveTo>
                    <a:cubicBezTo>
                      <a:pt x="328459" y="142618"/>
                      <a:pt x="322553" y="139951"/>
                      <a:pt x="318552" y="134903"/>
                    </a:cubicBezTo>
                    <a:cubicBezTo>
                      <a:pt x="311694" y="126140"/>
                      <a:pt x="313314" y="113472"/>
                      <a:pt x="322077" y="106709"/>
                    </a:cubicBezTo>
                    <a:lnTo>
                      <a:pt x="334459" y="122616"/>
                    </a:lnTo>
                    <a:lnTo>
                      <a:pt x="322553" y="106423"/>
                    </a:lnTo>
                    <a:cubicBezTo>
                      <a:pt x="331030" y="99375"/>
                      <a:pt x="343794" y="100518"/>
                      <a:pt x="350842" y="108995"/>
                    </a:cubicBezTo>
                    <a:cubicBezTo>
                      <a:pt x="357891" y="117472"/>
                      <a:pt x="356938" y="129950"/>
                      <a:pt x="348461" y="137094"/>
                    </a:cubicBezTo>
                    <a:lnTo>
                      <a:pt x="346747" y="138427"/>
                    </a:lnTo>
                    <a:cubicBezTo>
                      <a:pt x="343127" y="141285"/>
                      <a:pt x="338841" y="142618"/>
                      <a:pt x="334459" y="142618"/>
                    </a:cubicBezTo>
                    <a:close/>
                    <a:moveTo>
                      <a:pt x="411802" y="87278"/>
                    </a:moveTo>
                    <a:cubicBezTo>
                      <a:pt x="405135" y="87278"/>
                      <a:pt x="398562" y="83944"/>
                      <a:pt x="394752" y="77753"/>
                    </a:cubicBezTo>
                    <a:cubicBezTo>
                      <a:pt x="388942" y="68323"/>
                      <a:pt x="391800" y="55941"/>
                      <a:pt x="401230" y="50035"/>
                    </a:cubicBezTo>
                    <a:lnTo>
                      <a:pt x="411802" y="67085"/>
                    </a:lnTo>
                    <a:lnTo>
                      <a:pt x="401610" y="49749"/>
                    </a:lnTo>
                    <a:cubicBezTo>
                      <a:pt x="410850" y="43653"/>
                      <a:pt x="423327" y="46130"/>
                      <a:pt x="429519" y="55274"/>
                    </a:cubicBezTo>
                    <a:cubicBezTo>
                      <a:pt x="435615" y="64418"/>
                      <a:pt x="433329" y="76800"/>
                      <a:pt x="424185" y="82992"/>
                    </a:cubicBezTo>
                    <a:cubicBezTo>
                      <a:pt x="423994" y="83182"/>
                      <a:pt x="422566" y="84040"/>
                      <a:pt x="422375" y="84135"/>
                    </a:cubicBezTo>
                    <a:cubicBezTo>
                      <a:pt x="419041" y="86230"/>
                      <a:pt x="415422" y="87278"/>
                      <a:pt x="411802" y="87278"/>
                    </a:cubicBezTo>
                    <a:close/>
                    <a:moveTo>
                      <a:pt x="494765" y="40796"/>
                    </a:moveTo>
                    <a:cubicBezTo>
                      <a:pt x="487335" y="40796"/>
                      <a:pt x="480097" y="36605"/>
                      <a:pt x="476667" y="29461"/>
                    </a:cubicBezTo>
                    <a:cubicBezTo>
                      <a:pt x="471810" y="19460"/>
                      <a:pt x="476001" y="7458"/>
                      <a:pt x="486002" y="2601"/>
                    </a:cubicBezTo>
                    <a:lnTo>
                      <a:pt x="486955" y="2124"/>
                    </a:lnTo>
                    <a:cubicBezTo>
                      <a:pt x="496860" y="-2828"/>
                      <a:pt x="508957" y="1172"/>
                      <a:pt x="513910" y="11078"/>
                    </a:cubicBezTo>
                    <a:cubicBezTo>
                      <a:pt x="518863" y="20984"/>
                      <a:pt x="514863" y="33081"/>
                      <a:pt x="504957" y="38034"/>
                    </a:cubicBezTo>
                    <a:lnTo>
                      <a:pt x="503528" y="38700"/>
                    </a:lnTo>
                    <a:cubicBezTo>
                      <a:pt x="500670" y="40129"/>
                      <a:pt x="497718" y="40796"/>
                      <a:pt x="494765" y="40796"/>
                    </a:cubicBezTo>
                    <a:close/>
                  </a:path>
                </a:pathLst>
              </a:custGeom>
              <a:solidFill>
                <a:schemeClr val="bg1">
                  <a:lumMod val="65000"/>
                </a:scheme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7" name="Freeform: Shape 21">
                <a:extLst>
                  <a:ext uri="{FF2B5EF4-FFF2-40B4-BE49-F238E27FC236}">
                    <a16:creationId xmlns:a16="http://schemas.microsoft.com/office/drawing/2014/main" id="{7F75549F-A8C1-443A-8D2D-55B924FBB625}"/>
                  </a:ext>
                </a:extLst>
              </p:cNvPr>
              <p:cNvSpPr/>
              <p:nvPr/>
            </p:nvSpPr>
            <p:spPr>
              <a:xfrm>
                <a:off x="5328723" y="3431081"/>
                <a:ext cx="465755" cy="1832007"/>
              </a:xfrm>
              <a:custGeom>
                <a:avLst/>
                <a:gdLst>
                  <a:gd name="connsiteX0" fmla="*/ 630530 w 650723"/>
                  <a:gd name="connsiteY0" fmla="*/ 1983080 h 1983080"/>
                  <a:gd name="connsiteX1" fmla="*/ 614052 w 650723"/>
                  <a:gd name="connsiteY1" fmla="*/ 1974413 h 1983080"/>
                  <a:gd name="connsiteX2" fmla="*/ 618434 w 650723"/>
                  <a:gd name="connsiteY2" fmla="*/ 1946123 h 1983080"/>
                  <a:gd name="connsiteX3" fmla="*/ 645961 w 650723"/>
                  <a:gd name="connsiteY3" fmla="*/ 1949933 h 1983080"/>
                  <a:gd name="connsiteX4" fmla="*/ 647104 w 650723"/>
                  <a:gd name="connsiteY4" fmla="*/ 1951457 h 1983080"/>
                  <a:gd name="connsiteX5" fmla="*/ 642055 w 650723"/>
                  <a:gd name="connsiteY5" fmla="*/ 1979461 h 1983080"/>
                  <a:gd name="connsiteX6" fmla="*/ 630530 w 650723"/>
                  <a:gd name="connsiteY6" fmla="*/ 1983080 h 1983080"/>
                  <a:gd name="connsiteX7" fmla="*/ 580048 w 650723"/>
                  <a:gd name="connsiteY7" fmla="*/ 1902975 h 1983080"/>
                  <a:gd name="connsiteX8" fmla="*/ 562141 w 650723"/>
                  <a:gd name="connsiteY8" fmla="*/ 1892116 h 1983080"/>
                  <a:gd name="connsiteX9" fmla="*/ 570142 w 650723"/>
                  <a:gd name="connsiteY9" fmla="*/ 1864399 h 1983080"/>
                  <a:gd name="connsiteX10" fmla="*/ 597097 w 650723"/>
                  <a:gd name="connsiteY10" fmla="*/ 1872209 h 1983080"/>
                  <a:gd name="connsiteX11" fmla="*/ 597860 w 650723"/>
                  <a:gd name="connsiteY11" fmla="*/ 1873638 h 1983080"/>
                  <a:gd name="connsiteX12" fmla="*/ 589192 w 650723"/>
                  <a:gd name="connsiteY12" fmla="*/ 1900689 h 1983080"/>
                  <a:gd name="connsiteX13" fmla="*/ 580048 w 650723"/>
                  <a:gd name="connsiteY13" fmla="*/ 1902975 h 1983080"/>
                  <a:gd name="connsiteX14" fmla="*/ 541471 w 650723"/>
                  <a:gd name="connsiteY14" fmla="*/ 1816298 h 1983080"/>
                  <a:gd name="connsiteX15" fmla="*/ 522612 w 650723"/>
                  <a:gd name="connsiteY15" fmla="*/ 1803248 h 1983080"/>
                  <a:gd name="connsiteX16" fmla="*/ 522136 w 650723"/>
                  <a:gd name="connsiteY16" fmla="*/ 1802010 h 1983080"/>
                  <a:gd name="connsiteX17" fmla="*/ 533947 w 650723"/>
                  <a:gd name="connsiteY17" fmla="*/ 1776102 h 1983080"/>
                  <a:gd name="connsiteX18" fmla="*/ 559855 w 650723"/>
                  <a:gd name="connsiteY18" fmla="*/ 1787913 h 1983080"/>
                  <a:gd name="connsiteX19" fmla="*/ 560331 w 650723"/>
                  <a:gd name="connsiteY19" fmla="*/ 1789151 h 1983080"/>
                  <a:gd name="connsiteX20" fmla="*/ 548520 w 650723"/>
                  <a:gd name="connsiteY20" fmla="*/ 1815059 h 1983080"/>
                  <a:gd name="connsiteX21" fmla="*/ 541471 w 650723"/>
                  <a:gd name="connsiteY21" fmla="*/ 1816298 h 1983080"/>
                  <a:gd name="connsiteX22" fmla="*/ 513087 w 650723"/>
                  <a:gd name="connsiteY22" fmla="*/ 1725619 h 1983080"/>
                  <a:gd name="connsiteX23" fmla="*/ 493561 w 650723"/>
                  <a:gd name="connsiteY23" fmla="*/ 1710284 h 1983080"/>
                  <a:gd name="connsiteX24" fmla="*/ 507943 w 650723"/>
                  <a:gd name="connsiteY24" fmla="*/ 1685424 h 1983080"/>
                  <a:gd name="connsiteX25" fmla="*/ 532137 w 650723"/>
                  <a:gd name="connsiteY25" fmla="*/ 1698949 h 1983080"/>
                  <a:gd name="connsiteX26" fmla="*/ 532613 w 650723"/>
                  <a:gd name="connsiteY26" fmla="*/ 1700759 h 1983080"/>
                  <a:gd name="connsiteX27" fmla="*/ 517849 w 650723"/>
                  <a:gd name="connsiteY27" fmla="*/ 1725048 h 1983080"/>
                  <a:gd name="connsiteX28" fmla="*/ 513087 w 650723"/>
                  <a:gd name="connsiteY28" fmla="*/ 1725619 h 1983080"/>
                  <a:gd name="connsiteX29" fmla="*/ 492799 w 650723"/>
                  <a:gd name="connsiteY29" fmla="*/ 1632656 h 1983080"/>
                  <a:gd name="connsiteX30" fmla="*/ 473082 w 650723"/>
                  <a:gd name="connsiteY30" fmla="*/ 1616177 h 1983080"/>
                  <a:gd name="connsiteX31" fmla="*/ 472796 w 650723"/>
                  <a:gd name="connsiteY31" fmla="*/ 1614748 h 1983080"/>
                  <a:gd name="connsiteX32" fmla="*/ 489084 w 650723"/>
                  <a:gd name="connsiteY32" fmla="*/ 1591412 h 1983080"/>
                  <a:gd name="connsiteX33" fmla="*/ 512420 w 650723"/>
                  <a:gd name="connsiteY33" fmla="*/ 1607700 h 1983080"/>
                  <a:gd name="connsiteX34" fmla="*/ 512611 w 650723"/>
                  <a:gd name="connsiteY34" fmla="*/ 1608938 h 1983080"/>
                  <a:gd name="connsiteX35" fmla="*/ 496418 w 650723"/>
                  <a:gd name="connsiteY35" fmla="*/ 1632274 h 1983080"/>
                  <a:gd name="connsiteX36" fmla="*/ 492799 w 650723"/>
                  <a:gd name="connsiteY36" fmla="*/ 1632656 h 1983080"/>
                  <a:gd name="connsiteX37" fmla="*/ 478511 w 650723"/>
                  <a:gd name="connsiteY37" fmla="*/ 1538644 h 1983080"/>
                  <a:gd name="connsiteX38" fmla="*/ 458604 w 650723"/>
                  <a:gd name="connsiteY38" fmla="*/ 1521499 h 1983080"/>
                  <a:gd name="connsiteX39" fmla="*/ 458413 w 650723"/>
                  <a:gd name="connsiteY39" fmla="*/ 1519594 h 1983080"/>
                  <a:gd name="connsiteX40" fmla="*/ 476035 w 650723"/>
                  <a:gd name="connsiteY40" fmla="*/ 1497305 h 1983080"/>
                  <a:gd name="connsiteX41" fmla="*/ 498323 w 650723"/>
                  <a:gd name="connsiteY41" fmla="*/ 1514926 h 1983080"/>
                  <a:gd name="connsiteX42" fmla="*/ 498418 w 650723"/>
                  <a:gd name="connsiteY42" fmla="*/ 1515689 h 1983080"/>
                  <a:gd name="connsiteX43" fmla="*/ 481464 w 650723"/>
                  <a:gd name="connsiteY43" fmla="*/ 1538453 h 1983080"/>
                  <a:gd name="connsiteX44" fmla="*/ 478511 w 650723"/>
                  <a:gd name="connsiteY44" fmla="*/ 1538644 h 1983080"/>
                  <a:gd name="connsiteX45" fmla="*/ 468415 w 650723"/>
                  <a:gd name="connsiteY45" fmla="*/ 1443965 h 1983080"/>
                  <a:gd name="connsiteX46" fmla="*/ 448412 w 650723"/>
                  <a:gd name="connsiteY46" fmla="*/ 1425582 h 1983080"/>
                  <a:gd name="connsiteX47" fmla="*/ 466605 w 650723"/>
                  <a:gd name="connsiteY47" fmla="*/ 1403103 h 1983080"/>
                  <a:gd name="connsiteX48" fmla="*/ 488322 w 650723"/>
                  <a:gd name="connsiteY48" fmla="*/ 1420724 h 1983080"/>
                  <a:gd name="connsiteX49" fmla="*/ 488417 w 650723"/>
                  <a:gd name="connsiteY49" fmla="*/ 1422058 h 1983080"/>
                  <a:gd name="connsiteX50" fmla="*/ 470129 w 650723"/>
                  <a:gd name="connsiteY50" fmla="*/ 1443870 h 1983080"/>
                  <a:gd name="connsiteX51" fmla="*/ 468415 w 650723"/>
                  <a:gd name="connsiteY51" fmla="*/ 1443965 h 1983080"/>
                  <a:gd name="connsiteX52" fmla="*/ 461080 w 650723"/>
                  <a:gd name="connsiteY52" fmla="*/ 1349001 h 1983080"/>
                  <a:gd name="connsiteX53" fmla="*/ 441078 w 650723"/>
                  <a:gd name="connsiteY53" fmla="*/ 1330713 h 1983080"/>
                  <a:gd name="connsiteX54" fmla="*/ 440983 w 650723"/>
                  <a:gd name="connsiteY54" fmla="*/ 1328808 h 1983080"/>
                  <a:gd name="connsiteX55" fmla="*/ 459842 w 650723"/>
                  <a:gd name="connsiteY55" fmla="*/ 1307567 h 1983080"/>
                  <a:gd name="connsiteX56" fmla="*/ 481083 w 650723"/>
                  <a:gd name="connsiteY56" fmla="*/ 1326427 h 1983080"/>
                  <a:gd name="connsiteX57" fmla="*/ 460985 w 650723"/>
                  <a:gd name="connsiteY57" fmla="*/ 1327570 h 1983080"/>
                  <a:gd name="connsiteX58" fmla="*/ 481083 w 650723"/>
                  <a:gd name="connsiteY58" fmla="*/ 1327189 h 1983080"/>
                  <a:gd name="connsiteX59" fmla="*/ 462795 w 650723"/>
                  <a:gd name="connsiteY59" fmla="*/ 1349001 h 1983080"/>
                  <a:gd name="connsiteX60" fmla="*/ 461080 w 650723"/>
                  <a:gd name="connsiteY60" fmla="*/ 1349001 h 1983080"/>
                  <a:gd name="connsiteX61" fmla="*/ 455175 w 650723"/>
                  <a:gd name="connsiteY61" fmla="*/ 1253941 h 1983080"/>
                  <a:gd name="connsiteX62" fmla="*/ 435172 w 650723"/>
                  <a:gd name="connsiteY62" fmla="*/ 1234987 h 1983080"/>
                  <a:gd name="connsiteX63" fmla="*/ 454032 w 650723"/>
                  <a:gd name="connsiteY63" fmla="*/ 1213079 h 1983080"/>
                  <a:gd name="connsiteX64" fmla="*/ 475273 w 650723"/>
                  <a:gd name="connsiteY64" fmla="*/ 1231272 h 1983080"/>
                  <a:gd name="connsiteX65" fmla="*/ 475368 w 650723"/>
                  <a:gd name="connsiteY65" fmla="*/ 1232606 h 1983080"/>
                  <a:gd name="connsiteX66" fmla="*/ 456508 w 650723"/>
                  <a:gd name="connsiteY66" fmla="*/ 1253846 h 1983080"/>
                  <a:gd name="connsiteX67" fmla="*/ 455175 w 650723"/>
                  <a:gd name="connsiteY67" fmla="*/ 1253941 h 1983080"/>
                  <a:gd name="connsiteX68" fmla="*/ 449650 w 650723"/>
                  <a:gd name="connsiteY68" fmla="*/ 1158882 h 1983080"/>
                  <a:gd name="connsiteX69" fmla="*/ 429553 w 650723"/>
                  <a:gd name="connsiteY69" fmla="*/ 1139927 h 1983080"/>
                  <a:gd name="connsiteX70" fmla="*/ 448412 w 650723"/>
                  <a:gd name="connsiteY70" fmla="*/ 1118020 h 1983080"/>
                  <a:gd name="connsiteX71" fmla="*/ 469653 w 650723"/>
                  <a:gd name="connsiteY71" fmla="*/ 1136213 h 1983080"/>
                  <a:gd name="connsiteX72" fmla="*/ 469748 w 650723"/>
                  <a:gd name="connsiteY72" fmla="*/ 1137546 h 1983080"/>
                  <a:gd name="connsiteX73" fmla="*/ 450889 w 650723"/>
                  <a:gd name="connsiteY73" fmla="*/ 1158787 h 1983080"/>
                  <a:gd name="connsiteX74" fmla="*/ 449650 w 650723"/>
                  <a:gd name="connsiteY74" fmla="*/ 1158882 h 1983080"/>
                  <a:gd name="connsiteX75" fmla="*/ 443554 w 650723"/>
                  <a:gd name="connsiteY75" fmla="*/ 1063823 h 1983080"/>
                  <a:gd name="connsiteX76" fmla="*/ 423552 w 650723"/>
                  <a:gd name="connsiteY76" fmla="*/ 1045534 h 1983080"/>
                  <a:gd name="connsiteX77" fmla="*/ 423457 w 650723"/>
                  <a:gd name="connsiteY77" fmla="*/ 1043630 h 1983080"/>
                  <a:gd name="connsiteX78" fmla="*/ 442316 w 650723"/>
                  <a:gd name="connsiteY78" fmla="*/ 1022389 h 1983080"/>
                  <a:gd name="connsiteX79" fmla="*/ 463557 w 650723"/>
                  <a:gd name="connsiteY79" fmla="*/ 1041248 h 1983080"/>
                  <a:gd name="connsiteX80" fmla="*/ 443459 w 650723"/>
                  <a:gd name="connsiteY80" fmla="*/ 1042391 h 1983080"/>
                  <a:gd name="connsiteX81" fmla="*/ 463557 w 650723"/>
                  <a:gd name="connsiteY81" fmla="*/ 1042010 h 1983080"/>
                  <a:gd name="connsiteX82" fmla="*/ 445269 w 650723"/>
                  <a:gd name="connsiteY82" fmla="*/ 1063823 h 1983080"/>
                  <a:gd name="connsiteX83" fmla="*/ 443554 w 650723"/>
                  <a:gd name="connsiteY83" fmla="*/ 1063823 h 1983080"/>
                  <a:gd name="connsiteX84" fmla="*/ 435839 w 650723"/>
                  <a:gd name="connsiteY84" fmla="*/ 968763 h 1983080"/>
                  <a:gd name="connsiteX85" fmla="*/ 415837 w 650723"/>
                  <a:gd name="connsiteY85" fmla="*/ 950475 h 1983080"/>
                  <a:gd name="connsiteX86" fmla="*/ 434029 w 650723"/>
                  <a:gd name="connsiteY86" fmla="*/ 927996 h 1983080"/>
                  <a:gd name="connsiteX87" fmla="*/ 455746 w 650723"/>
                  <a:gd name="connsiteY87" fmla="*/ 945617 h 1983080"/>
                  <a:gd name="connsiteX88" fmla="*/ 455842 w 650723"/>
                  <a:gd name="connsiteY88" fmla="*/ 946951 h 1983080"/>
                  <a:gd name="connsiteX89" fmla="*/ 437554 w 650723"/>
                  <a:gd name="connsiteY89" fmla="*/ 968763 h 1983080"/>
                  <a:gd name="connsiteX90" fmla="*/ 435839 w 650723"/>
                  <a:gd name="connsiteY90" fmla="*/ 968763 h 1983080"/>
                  <a:gd name="connsiteX91" fmla="*/ 425743 w 650723"/>
                  <a:gd name="connsiteY91" fmla="*/ 874084 h 1983080"/>
                  <a:gd name="connsiteX92" fmla="*/ 405835 w 650723"/>
                  <a:gd name="connsiteY92" fmla="*/ 856939 h 1983080"/>
                  <a:gd name="connsiteX93" fmla="*/ 405645 w 650723"/>
                  <a:gd name="connsiteY93" fmla="*/ 855034 h 1983080"/>
                  <a:gd name="connsiteX94" fmla="*/ 423266 w 650723"/>
                  <a:gd name="connsiteY94" fmla="*/ 832746 h 1983080"/>
                  <a:gd name="connsiteX95" fmla="*/ 445555 w 650723"/>
                  <a:gd name="connsiteY95" fmla="*/ 850367 h 1983080"/>
                  <a:gd name="connsiteX96" fmla="*/ 445650 w 650723"/>
                  <a:gd name="connsiteY96" fmla="*/ 851129 h 1983080"/>
                  <a:gd name="connsiteX97" fmla="*/ 428695 w 650723"/>
                  <a:gd name="connsiteY97" fmla="*/ 873989 h 1983080"/>
                  <a:gd name="connsiteX98" fmla="*/ 425743 w 650723"/>
                  <a:gd name="connsiteY98" fmla="*/ 874084 h 1983080"/>
                  <a:gd name="connsiteX99" fmla="*/ 412217 w 650723"/>
                  <a:gd name="connsiteY99" fmla="*/ 779787 h 1983080"/>
                  <a:gd name="connsiteX100" fmla="*/ 392405 w 650723"/>
                  <a:gd name="connsiteY100" fmla="*/ 762737 h 1983080"/>
                  <a:gd name="connsiteX101" fmla="*/ 408693 w 650723"/>
                  <a:gd name="connsiteY101" fmla="*/ 739020 h 1983080"/>
                  <a:gd name="connsiteX102" fmla="*/ 431934 w 650723"/>
                  <a:gd name="connsiteY102" fmla="*/ 754927 h 1983080"/>
                  <a:gd name="connsiteX103" fmla="*/ 432220 w 650723"/>
                  <a:gd name="connsiteY103" fmla="*/ 756736 h 1983080"/>
                  <a:gd name="connsiteX104" fmla="*/ 415360 w 650723"/>
                  <a:gd name="connsiteY104" fmla="*/ 779597 h 1983080"/>
                  <a:gd name="connsiteX105" fmla="*/ 412217 w 650723"/>
                  <a:gd name="connsiteY105" fmla="*/ 779787 h 1983080"/>
                  <a:gd name="connsiteX106" fmla="*/ 394501 w 650723"/>
                  <a:gd name="connsiteY106" fmla="*/ 686347 h 1983080"/>
                  <a:gd name="connsiteX107" fmla="*/ 374974 w 650723"/>
                  <a:gd name="connsiteY107" fmla="*/ 670821 h 1983080"/>
                  <a:gd name="connsiteX108" fmla="*/ 374593 w 650723"/>
                  <a:gd name="connsiteY108" fmla="*/ 669106 h 1983080"/>
                  <a:gd name="connsiteX109" fmla="*/ 390119 w 650723"/>
                  <a:gd name="connsiteY109" fmla="*/ 645294 h 1983080"/>
                  <a:gd name="connsiteX110" fmla="*/ 413932 w 650723"/>
                  <a:gd name="connsiteY110" fmla="*/ 660820 h 1983080"/>
                  <a:gd name="connsiteX111" fmla="*/ 394215 w 650723"/>
                  <a:gd name="connsiteY111" fmla="*/ 665011 h 1983080"/>
                  <a:gd name="connsiteX112" fmla="*/ 414027 w 650723"/>
                  <a:gd name="connsiteY112" fmla="*/ 661677 h 1983080"/>
                  <a:gd name="connsiteX113" fmla="*/ 399073 w 650723"/>
                  <a:gd name="connsiteY113" fmla="*/ 685871 h 1983080"/>
                  <a:gd name="connsiteX114" fmla="*/ 394501 w 650723"/>
                  <a:gd name="connsiteY114" fmla="*/ 686347 h 1983080"/>
                  <a:gd name="connsiteX115" fmla="*/ 371545 w 650723"/>
                  <a:gd name="connsiteY115" fmla="*/ 594049 h 1983080"/>
                  <a:gd name="connsiteX116" fmla="*/ 352305 w 650723"/>
                  <a:gd name="connsiteY116" fmla="*/ 579762 h 1983080"/>
                  <a:gd name="connsiteX117" fmla="*/ 351733 w 650723"/>
                  <a:gd name="connsiteY117" fmla="*/ 577952 h 1983080"/>
                  <a:gd name="connsiteX118" fmla="*/ 365830 w 650723"/>
                  <a:gd name="connsiteY118" fmla="*/ 553282 h 1983080"/>
                  <a:gd name="connsiteX119" fmla="*/ 390500 w 650723"/>
                  <a:gd name="connsiteY119" fmla="*/ 567380 h 1983080"/>
                  <a:gd name="connsiteX120" fmla="*/ 390691 w 650723"/>
                  <a:gd name="connsiteY120" fmla="*/ 568141 h 1983080"/>
                  <a:gd name="connsiteX121" fmla="*/ 377260 w 650723"/>
                  <a:gd name="connsiteY121" fmla="*/ 593192 h 1983080"/>
                  <a:gd name="connsiteX122" fmla="*/ 371545 w 650723"/>
                  <a:gd name="connsiteY122" fmla="*/ 594049 h 1983080"/>
                  <a:gd name="connsiteX123" fmla="*/ 342589 w 650723"/>
                  <a:gd name="connsiteY123" fmla="*/ 503372 h 1983080"/>
                  <a:gd name="connsiteX124" fmla="*/ 323539 w 650723"/>
                  <a:gd name="connsiteY124" fmla="*/ 489846 h 1983080"/>
                  <a:gd name="connsiteX125" fmla="*/ 335541 w 650723"/>
                  <a:gd name="connsiteY125" fmla="*/ 463747 h 1983080"/>
                  <a:gd name="connsiteX126" fmla="*/ 360973 w 650723"/>
                  <a:gd name="connsiteY126" fmla="*/ 474987 h 1983080"/>
                  <a:gd name="connsiteX127" fmla="*/ 361639 w 650723"/>
                  <a:gd name="connsiteY127" fmla="*/ 476797 h 1983080"/>
                  <a:gd name="connsiteX128" fmla="*/ 349162 w 650723"/>
                  <a:gd name="connsiteY128" fmla="*/ 502324 h 1983080"/>
                  <a:gd name="connsiteX129" fmla="*/ 342589 w 650723"/>
                  <a:gd name="connsiteY129" fmla="*/ 503372 h 1983080"/>
                  <a:gd name="connsiteX130" fmla="*/ 306871 w 650723"/>
                  <a:gd name="connsiteY130" fmla="*/ 415170 h 1983080"/>
                  <a:gd name="connsiteX131" fmla="*/ 288678 w 650723"/>
                  <a:gd name="connsiteY131" fmla="*/ 403645 h 1983080"/>
                  <a:gd name="connsiteX132" fmla="*/ 288011 w 650723"/>
                  <a:gd name="connsiteY132" fmla="*/ 402121 h 1983080"/>
                  <a:gd name="connsiteX133" fmla="*/ 298108 w 650723"/>
                  <a:gd name="connsiteY133" fmla="*/ 375546 h 1983080"/>
                  <a:gd name="connsiteX134" fmla="*/ 324682 w 650723"/>
                  <a:gd name="connsiteY134" fmla="*/ 385642 h 1983080"/>
                  <a:gd name="connsiteX135" fmla="*/ 325159 w 650723"/>
                  <a:gd name="connsiteY135" fmla="*/ 386595 h 1983080"/>
                  <a:gd name="connsiteX136" fmla="*/ 315443 w 650723"/>
                  <a:gd name="connsiteY136" fmla="*/ 413360 h 1983080"/>
                  <a:gd name="connsiteX137" fmla="*/ 306871 w 650723"/>
                  <a:gd name="connsiteY137" fmla="*/ 415170 h 1983080"/>
                  <a:gd name="connsiteX138" fmla="*/ 263913 w 650723"/>
                  <a:gd name="connsiteY138" fmla="*/ 330397 h 1983080"/>
                  <a:gd name="connsiteX139" fmla="*/ 246292 w 650723"/>
                  <a:gd name="connsiteY139" fmla="*/ 320015 h 1983080"/>
                  <a:gd name="connsiteX140" fmla="*/ 253721 w 650723"/>
                  <a:gd name="connsiteY140" fmla="*/ 292202 h 1983080"/>
                  <a:gd name="connsiteX141" fmla="*/ 280677 w 650723"/>
                  <a:gd name="connsiteY141" fmla="*/ 299251 h 1983080"/>
                  <a:gd name="connsiteX142" fmla="*/ 281439 w 650723"/>
                  <a:gd name="connsiteY142" fmla="*/ 300584 h 1983080"/>
                  <a:gd name="connsiteX143" fmla="*/ 273533 w 650723"/>
                  <a:gd name="connsiteY143" fmla="*/ 327921 h 1983080"/>
                  <a:gd name="connsiteX144" fmla="*/ 263913 w 650723"/>
                  <a:gd name="connsiteY144" fmla="*/ 330397 h 1983080"/>
                  <a:gd name="connsiteX145" fmla="*/ 213526 w 650723"/>
                  <a:gd name="connsiteY145" fmla="*/ 249911 h 1983080"/>
                  <a:gd name="connsiteX146" fmla="*/ 197143 w 650723"/>
                  <a:gd name="connsiteY146" fmla="*/ 241529 h 1983080"/>
                  <a:gd name="connsiteX147" fmla="*/ 196095 w 650723"/>
                  <a:gd name="connsiteY147" fmla="*/ 240005 h 1983080"/>
                  <a:gd name="connsiteX148" fmla="*/ 201429 w 650723"/>
                  <a:gd name="connsiteY148" fmla="*/ 212097 h 1983080"/>
                  <a:gd name="connsiteX149" fmla="*/ 229337 w 650723"/>
                  <a:gd name="connsiteY149" fmla="*/ 217431 h 1983080"/>
                  <a:gd name="connsiteX150" fmla="*/ 212668 w 650723"/>
                  <a:gd name="connsiteY150" fmla="*/ 228671 h 1983080"/>
                  <a:gd name="connsiteX151" fmla="*/ 229813 w 650723"/>
                  <a:gd name="connsiteY151" fmla="*/ 218098 h 1983080"/>
                  <a:gd name="connsiteX152" fmla="*/ 225146 w 650723"/>
                  <a:gd name="connsiteY152" fmla="*/ 246101 h 1983080"/>
                  <a:gd name="connsiteX153" fmla="*/ 213526 w 650723"/>
                  <a:gd name="connsiteY153" fmla="*/ 249911 h 1983080"/>
                  <a:gd name="connsiteX154" fmla="*/ 155995 w 650723"/>
                  <a:gd name="connsiteY154" fmla="*/ 174473 h 1983080"/>
                  <a:gd name="connsiteX155" fmla="*/ 140659 w 650723"/>
                  <a:gd name="connsiteY155" fmla="*/ 167330 h 1983080"/>
                  <a:gd name="connsiteX156" fmla="*/ 142564 w 650723"/>
                  <a:gd name="connsiteY156" fmla="*/ 138469 h 1983080"/>
                  <a:gd name="connsiteX157" fmla="*/ 170473 w 650723"/>
                  <a:gd name="connsiteY157" fmla="*/ 140374 h 1983080"/>
                  <a:gd name="connsiteX158" fmla="*/ 171330 w 650723"/>
                  <a:gd name="connsiteY158" fmla="*/ 141422 h 1983080"/>
                  <a:gd name="connsiteX159" fmla="*/ 168949 w 650723"/>
                  <a:gd name="connsiteY159" fmla="*/ 169806 h 1983080"/>
                  <a:gd name="connsiteX160" fmla="*/ 155995 w 650723"/>
                  <a:gd name="connsiteY160" fmla="*/ 174473 h 1983080"/>
                  <a:gd name="connsiteX161" fmla="*/ 91606 w 650723"/>
                  <a:gd name="connsiteY161" fmla="*/ 104750 h 1983080"/>
                  <a:gd name="connsiteX162" fmla="*/ 77699 w 650723"/>
                  <a:gd name="connsiteY162" fmla="*/ 99130 h 1983080"/>
                  <a:gd name="connsiteX163" fmla="*/ 76461 w 650723"/>
                  <a:gd name="connsiteY163" fmla="*/ 97892 h 1983080"/>
                  <a:gd name="connsiteX164" fmla="*/ 76461 w 650723"/>
                  <a:gd name="connsiteY164" fmla="*/ 69508 h 1983080"/>
                  <a:gd name="connsiteX165" fmla="*/ 104845 w 650723"/>
                  <a:gd name="connsiteY165" fmla="*/ 69508 h 1983080"/>
                  <a:gd name="connsiteX166" fmla="*/ 105512 w 650723"/>
                  <a:gd name="connsiteY166" fmla="*/ 70174 h 1983080"/>
                  <a:gd name="connsiteX167" fmla="*/ 106084 w 650723"/>
                  <a:gd name="connsiteY167" fmla="*/ 98559 h 1983080"/>
                  <a:gd name="connsiteX168" fmla="*/ 91606 w 650723"/>
                  <a:gd name="connsiteY168" fmla="*/ 104750 h 1983080"/>
                  <a:gd name="connsiteX169" fmla="*/ 21025 w 650723"/>
                  <a:gd name="connsiteY169" fmla="*/ 41028 h 1983080"/>
                  <a:gd name="connsiteX170" fmla="*/ 8833 w 650723"/>
                  <a:gd name="connsiteY170" fmla="*/ 36837 h 1983080"/>
                  <a:gd name="connsiteX171" fmla="*/ 7119 w 650723"/>
                  <a:gd name="connsiteY171" fmla="*/ 35503 h 1983080"/>
                  <a:gd name="connsiteX172" fmla="*/ 4738 w 650723"/>
                  <a:gd name="connsiteY172" fmla="*/ 7119 h 1983080"/>
                  <a:gd name="connsiteX173" fmla="*/ 33122 w 650723"/>
                  <a:gd name="connsiteY173" fmla="*/ 4738 h 1983080"/>
                  <a:gd name="connsiteX174" fmla="*/ 20168 w 650723"/>
                  <a:gd name="connsiteY174" fmla="*/ 20073 h 1983080"/>
                  <a:gd name="connsiteX175" fmla="*/ 33598 w 650723"/>
                  <a:gd name="connsiteY175" fmla="*/ 5119 h 1983080"/>
                  <a:gd name="connsiteX176" fmla="*/ 36932 w 650723"/>
                  <a:gd name="connsiteY176" fmla="*/ 33313 h 1983080"/>
                  <a:gd name="connsiteX177" fmla="*/ 21025 w 650723"/>
                  <a:gd name="connsiteY177" fmla="*/ 41028 h 1983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Lst>
                <a:rect l="l" t="t" r="r" b="b"/>
                <a:pathLst>
                  <a:path w="650723" h="1983080">
                    <a:moveTo>
                      <a:pt x="630530" y="1983080"/>
                    </a:moveTo>
                    <a:cubicBezTo>
                      <a:pt x="624148" y="1983080"/>
                      <a:pt x="617957" y="1980032"/>
                      <a:pt x="614052" y="1974413"/>
                    </a:cubicBezTo>
                    <a:cubicBezTo>
                      <a:pt x="607765" y="1965459"/>
                      <a:pt x="609575" y="1952600"/>
                      <a:pt x="618434" y="1946123"/>
                    </a:cubicBezTo>
                    <a:cubicBezTo>
                      <a:pt x="627292" y="1939741"/>
                      <a:pt x="639388" y="1941075"/>
                      <a:pt x="645961" y="1949933"/>
                    </a:cubicBezTo>
                    <a:cubicBezTo>
                      <a:pt x="646151" y="1950124"/>
                      <a:pt x="646913" y="1951267"/>
                      <a:pt x="647104" y="1951457"/>
                    </a:cubicBezTo>
                    <a:cubicBezTo>
                      <a:pt x="653485" y="1960601"/>
                      <a:pt x="651200" y="1973079"/>
                      <a:pt x="642055" y="1979461"/>
                    </a:cubicBezTo>
                    <a:cubicBezTo>
                      <a:pt x="638531" y="1981937"/>
                      <a:pt x="634531" y="1983080"/>
                      <a:pt x="630530" y="1983080"/>
                    </a:cubicBezTo>
                    <a:close/>
                    <a:moveTo>
                      <a:pt x="580048" y="1902975"/>
                    </a:moveTo>
                    <a:cubicBezTo>
                      <a:pt x="572809" y="1902975"/>
                      <a:pt x="565760" y="1898974"/>
                      <a:pt x="562141" y="1892116"/>
                    </a:cubicBezTo>
                    <a:cubicBezTo>
                      <a:pt x="556902" y="1882306"/>
                      <a:pt x="560331" y="1869638"/>
                      <a:pt x="570142" y="1864399"/>
                    </a:cubicBezTo>
                    <a:cubicBezTo>
                      <a:pt x="579952" y="1859160"/>
                      <a:pt x="591859" y="1862398"/>
                      <a:pt x="597097" y="1872209"/>
                    </a:cubicBezTo>
                    <a:lnTo>
                      <a:pt x="597860" y="1873638"/>
                    </a:lnTo>
                    <a:cubicBezTo>
                      <a:pt x="602908" y="1883449"/>
                      <a:pt x="599098" y="1895641"/>
                      <a:pt x="589192" y="1900689"/>
                    </a:cubicBezTo>
                    <a:cubicBezTo>
                      <a:pt x="586334" y="1902308"/>
                      <a:pt x="583191" y="1902975"/>
                      <a:pt x="580048" y="1902975"/>
                    </a:cubicBezTo>
                    <a:close/>
                    <a:moveTo>
                      <a:pt x="541471" y="1816298"/>
                    </a:moveTo>
                    <a:cubicBezTo>
                      <a:pt x="533375" y="1816298"/>
                      <a:pt x="525660" y="1811344"/>
                      <a:pt x="522612" y="1803248"/>
                    </a:cubicBezTo>
                    <a:lnTo>
                      <a:pt x="522136" y="1802010"/>
                    </a:lnTo>
                    <a:cubicBezTo>
                      <a:pt x="518230" y="1791628"/>
                      <a:pt x="523469" y="1780007"/>
                      <a:pt x="533947" y="1776102"/>
                    </a:cubicBezTo>
                    <a:cubicBezTo>
                      <a:pt x="544329" y="1772197"/>
                      <a:pt x="555949" y="1777435"/>
                      <a:pt x="559855" y="1787913"/>
                    </a:cubicBezTo>
                    <a:lnTo>
                      <a:pt x="560331" y="1789151"/>
                    </a:lnTo>
                    <a:cubicBezTo>
                      <a:pt x="564236" y="1799533"/>
                      <a:pt x="558997" y="1811154"/>
                      <a:pt x="548520" y="1815059"/>
                    </a:cubicBezTo>
                    <a:cubicBezTo>
                      <a:pt x="546234" y="1815916"/>
                      <a:pt x="543853" y="1816298"/>
                      <a:pt x="541471" y="1816298"/>
                    </a:cubicBezTo>
                    <a:close/>
                    <a:moveTo>
                      <a:pt x="513087" y="1725619"/>
                    </a:moveTo>
                    <a:cubicBezTo>
                      <a:pt x="504038" y="1725619"/>
                      <a:pt x="495751" y="1719428"/>
                      <a:pt x="493561" y="1710284"/>
                    </a:cubicBezTo>
                    <a:cubicBezTo>
                      <a:pt x="490989" y="1699616"/>
                      <a:pt x="497275" y="1688186"/>
                      <a:pt x="507943" y="1685424"/>
                    </a:cubicBezTo>
                    <a:cubicBezTo>
                      <a:pt x="518611" y="1682757"/>
                      <a:pt x="529279" y="1688377"/>
                      <a:pt x="532137" y="1698949"/>
                    </a:cubicBezTo>
                    <a:cubicBezTo>
                      <a:pt x="532232" y="1699140"/>
                      <a:pt x="532613" y="1700569"/>
                      <a:pt x="532613" y="1700759"/>
                    </a:cubicBezTo>
                    <a:cubicBezTo>
                      <a:pt x="535185" y="1711523"/>
                      <a:pt x="528613" y="1722381"/>
                      <a:pt x="517849" y="1725048"/>
                    </a:cubicBezTo>
                    <a:cubicBezTo>
                      <a:pt x="516325" y="1725429"/>
                      <a:pt x="514706" y="1725619"/>
                      <a:pt x="513087" y="1725619"/>
                    </a:cubicBezTo>
                    <a:close/>
                    <a:moveTo>
                      <a:pt x="492799" y="1632656"/>
                    </a:moveTo>
                    <a:cubicBezTo>
                      <a:pt x="483274" y="1632656"/>
                      <a:pt x="474796" y="1625893"/>
                      <a:pt x="473082" y="1616177"/>
                    </a:cubicBezTo>
                    <a:lnTo>
                      <a:pt x="472796" y="1614748"/>
                    </a:lnTo>
                    <a:cubicBezTo>
                      <a:pt x="470891" y="1603795"/>
                      <a:pt x="478130" y="1593413"/>
                      <a:pt x="489084" y="1591412"/>
                    </a:cubicBezTo>
                    <a:cubicBezTo>
                      <a:pt x="499942" y="1589507"/>
                      <a:pt x="510420" y="1596746"/>
                      <a:pt x="512420" y="1607700"/>
                    </a:cubicBezTo>
                    <a:lnTo>
                      <a:pt x="512611" y="1608938"/>
                    </a:lnTo>
                    <a:cubicBezTo>
                      <a:pt x="514611" y="1619892"/>
                      <a:pt x="507372" y="1630369"/>
                      <a:pt x="496418" y="1632274"/>
                    </a:cubicBezTo>
                    <a:cubicBezTo>
                      <a:pt x="495180" y="1632560"/>
                      <a:pt x="494037" y="1632656"/>
                      <a:pt x="492799" y="1632656"/>
                    </a:cubicBezTo>
                    <a:close/>
                    <a:moveTo>
                      <a:pt x="478511" y="1538644"/>
                    </a:moveTo>
                    <a:cubicBezTo>
                      <a:pt x="468700" y="1538644"/>
                      <a:pt x="460128" y="1531500"/>
                      <a:pt x="458604" y="1521499"/>
                    </a:cubicBezTo>
                    <a:lnTo>
                      <a:pt x="458413" y="1519594"/>
                    </a:lnTo>
                    <a:cubicBezTo>
                      <a:pt x="457080" y="1508545"/>
                      <a:pt x="464986" y="1498543"/>
                      <a:pt x="476035" y="1497305"/>
                    </a:cubicBezTo>
                    <a:cubicBezTo>
                      <a:pt x="486893" y="1495876"/>
                      <a:pt x="497085" y="1503877"/>
                      <a:pt x="498323" y="1514926"/>
                    </a:cubicBezTo>
                    <a:lnTo>
                      <a:pt x="498418" y="1515689"/>
                    </a:lnTo>
                    <a:cubicBezTo>
                      <a:pt x="500038" y="1526642"/>
                      <a:pt x="492418" y="1536834"/>
                      <a:pt x="481464" y="1538453"/>
                    </a:cubicBezTo>
                    <a:cubicBezTo>
                      <a:pt x="480511" y="1538548"/>
                      <a:pt x="479464" y="1538644"/>
                      <a:pt x="478511" y="1538644"/>
                    </a:cubicBezTo>
                    <a:close/>
                    <a:moveTo>
                      <a:pt x="468415" y="1443965"/>
                    </a:moveTo>
                    <a:cubicBezTo>
                      <a:pt x="458128" y="1443965"/>
                      <a:pt x="449365" y="1436059"/>
                      <a:pt x="448412" y="1425582"/>
                    </a:cubicBezTo>
                    <a:cubicBezTo>
                      <a:pt x="447460" y="1414533"/>
                      <a:pt x="455556" y="1404056"/>
                      <a:pt x="466605" y="1403103"/>
                    </a:cubicBezTo>
                    <a:cubicBezTo>
                      <a:pt x="477654" y="1402246"/>
                      <a:pt x="487369" y="1409580"/>
                      <a:pt x="488322" y="1420724"/>
                    </a:cubicBezTo>
                    <a:lnTo>
                      <a:pt x="488417" y="1422058"/>
                    </a:lnTo>
                    <a:cubicBezTo>
                      <a:pt x="489370" y="1433107"/>
                      <a:pt x="481178" y="1442917"/>
                      <a:pt x="470129" y="1443870"/>
                    </a:cubicBezTo>
                    <a:cubicBezTo>
                      <a:pt x="469653" y="1443870"/>
                      <a:pt x="468986" y="1443965"/>
                      <a:pt x="468415" y="1443965"/>
                    </a:cubicBezTo>
                    <a:close/>
                    <a:moveTo>
                      <a:pt x="461080" y="1349001"/>
                    </a:moveTo>
                    <a:cubicBezTo>
                      <a:pt x="450793" y="1349001"/>
                      <a:pt x="442030" y="1341095"/>
                      <a:pt x="441078" y="1330713"/>
                    </a:cubicBezTo>
                    <a:cubicBezTo>
                      <a:pt x="441078" y="1330523"/>
                      <a:pt x="440983" y="1328998"/>
                      <a:pt x="440983" y="1328808"/>
                    </a:cubicBezTo>
                    <a:cubicBezTo>
                      <a:pt x="440316" y="1317759"/>
                      <a:pt x="448793" y="1308234"/>
                      <a:pt x="459842" y="1307567"/>
                    </a:cubicBezTo>
                    <a:cubicBezTo>
                      <a:pt x="470701" y="1306805"/>
                      <a:pt x="480416" y="1315378"/>
                      <a:pt x="481083" y="1326427"/>
                    </a:cubicBezTo>
                    <a:lnTo>
                      <a:pt x="460985" y="1327570"/>
                    </a:lnTo>
                    <a:lnTo>
                      <a:pt x="481083" y="1327189"/>
                    </a:lnTo>
                    <a:cubicBezTo>
                      <a:pt x="482035" y="1338238"/>
                      <a:pt x="473844" y="1347953"/>
                      <a:pt x="462795" y="1349001"/>
                    </a:cubicBezTo>
                    <a:cubicBezTo>
                      <a:pt x="462319" y="1348906"/>
                      <a:pt x="461652" y="1349001"/>
                      <a:pt x="461080" y="1349001"/>
                    </a:cubicBezTo>
                    <a:close/>
                    <a:moveTo>
                      <a:pt x="455175" y="1253941"/>
                    </a:moveTo>
                    <a:cubicBezTo>
                      <a:pt x="444602" y="1253941"/>
                      <a:pt x="435744" y="1245655"/>
                      <a:pt x="435172" y="1234987"/>
                    </a:cubicBezTo>
                    <a:cubicBezTo>
                      <a:pt x="434506" y="1223938"/>
                      <a:pt x="442888" y="1213746"/>
                      <a:pt x="454032" y="1213079"/>
                    </a:cubicBezTo>
                    <a:cubicBezTo>
                      <a:pt x="465176" y="1212508"/>
                      <a:pt x="474606" y="1220223"/>
                      <a:pt x="475273" y="1231272"/>
                    </a:cubicBezTo>
                    <a:lnTo>
                      <a:pt x="475368" y="1232606"/>
                    </a:lnTo>
                    <a:cubicBezTo>
                      <a:pt x="476035" y="1243655"/>
                      <a:pt x="467557" y="1253180"/>
                      <a:pt x="456508" y="1253846"/>
                    </a:cubicBezTo>
                    <a:cubicBezTo>
                      <a:pt x="456032" y="1253941"/>
                      <a:pt x="455556" y="1253941"/>
                      <a:pt x="455175" y="1253941"/>
                    </a:cubicBezTo>
                    <a:close/>
                    <a:moveTo>
                      <a:pt x="449650" y="1158882"/>
                    </a:moveTo>
                    <a:cubicBezTo>
                      <a:pt x="439078" y="1158882"/>
                      <a:pt x="430219" y="1150595"/>
                      <a:pt x="429553" y="1139927"/>
                    </a:cubicBezTo>
                    <a:cubicBezTo>
                      <a:pt x="428886" y="1128878"/>
                      <a:pt x="437268" y="1118686"/>
                      <a:pt x="448412" y="1118020"/>
                    </a:cubicBezTo>
                    <a:cubicBezTo>
                      <a:pt x="459366" y="1117353"/>
                      <a:pt x="468986" y="1125164"/>
                      <a:pt x="469653" y="1136213"/>
                    </a:cubicBezTo>
                    <a:lnTo>
                      <a:pt x="469748" y="1137546"/>
                    </a:lnTo>
                    <a:cubicBezTo>
                      <a:pt x="470415" y="1148595"/>
                      <a:pt x="461938" y="1158120"/>
                      <a:pt x="450889" y="1158787"/>
                    </a:cubicBezTo>
                    <a:cubicBezTo>
                      <a:pt x="450508" y="1158882"/>
                      <a:pt x="450031" y="1158882"/>
                      <a:pt x="449650" y="1158882"/>
                    </a:cubicBezTo>
                    <a:close/>
                    <a:moveTo>
                      <a:pt x="443554" y="1063823"/>
                    </a:moveTo>
                    <a:cubicBezTo>
                      <a:pt x="433267" y="1063823"/>
                      <a:pt x="424504" y="1055917"/>
                      <a:pt x="423552" y="1045534"/>
                    </a:cubicBezTo>
                    <a:cubicBezTo>
                      <a:pt x="423552" y="1045344"/>
                      <a:pt x="423457" y="1043820"/>
                      <a:pt x="423457" y="1043630"/>
                    </a:cubicBezTo>
                    <a:cubicBezTo>
                      <a:pt x="422790" y="1032581"/>
                      <a:pt x="431267" y="1023056"/>
                      <a:pt x="442316" y="1022389"/>
                    </a:cubicBezTo>
                    <a:cubicBezTo>
                      <a:pt x="453556" y="1021627"/>
                      <a:pt x="462890" y="1030199"/>
                      <a:pt x="463557" y="1041248"/>
                    </a:cubicBezTo>
                    <a:lnTo>
                      <a:pt x="443459" y="1042391"/>
                    </a:lnTo>
                    <a:lnTo>
                      <a:pt x="463557" y="1042010"/>
                    </a:lnTo>
                    <a:cubicBezTo>
                      <a:pt x="464509" y="1053059"/>
                      <a:pt x="456318" y="1062775"/>
                      <a:pt x="445269" y="1063823"/>
                    </a:cubicBezTo>
                    <a:cubicBezTo>
                      <a:pt x="444697" y="1063823"/>
                      <a:pt x="444126" y="1063823"/>
                      <a:pt x="443554" y="1063823"/>
                    </a:cubicBezTo>
                    <a:close/>
                    <a:moveTo>
                      <a:pt x="435839" y="968763"/>
                    </a:moveTo>
                    <a:cubicBezTo>
                      <a:pt x="425552" y="968763"/>
                      <a:pt x="416789" y="960857"/>
                      <a:pt x="415837" y="950475"/>
                    </a:cubicBezTo>
                    <a:cubicBezTo>
                      <a:pt x="414884" y="939426"/>
                      <a:pt x="422980" y="929044"/>
                      <a:pt x="434029" y="927996"/>
                    </a:cubicBezTo>
                    <a:cubicBezTo>
                      <a:pt x="445174" y="927139"/>
                      <a:pt x="454794" y="934473"/>
                      <a:pt x="455746" y="945617"/>
                    </a:cubicBezTo>
                    <a:lnTo>
                      <a:pt x="455842" y="946951"/>
                    </a:lnTo>
                    <a:cubicBezTo>
                      <a:pt x="456794" y="958000"/>
                      <a:pt x="448603" y="967810"/>
                      <a:pt x="437554" y="968763"/>
                    </a:cubicBezTo>
                    <a:cubicBezTo>
                      <a:pt x="437077" y="968763"/>
                      <a:pt x="436411" y="968763"/>
                      <a:pt x="435839" y="968763"/>
                    </a:cubicBezTo>
                    <a:close/>
                    <a:moveTo>
                      <a:pt x="425743" y="874084"/>
                    </a:moveTo>
                    <a:cubicBezTo>
                      <a:pt x="415932" y="874084"/>
                      <a:pt x="407359" y="866941"/>
                      <a:pt x="405835" y="856939"/>
                    </a:cubicBezTo>
                    <a:lnTo>
                      <a:pt x="405645" y="855034"/>
                    </a:lnTo>
                    <a:cubicBezTo>
                      <a:pt x="404311" y="843985"/>
                      <a:pt x="412217" y="833984"/>
                      <a:pt x="423266" y="832746"/>
                    </a:cubicBezTo>
                    <a:cubicBezTo>
                      <a:pt x="434125" y="831317"/>
                      <a:pt x="444316" y="839318"/>
                      <a:pt x="445555" y="850367"/>
                    </a:cubicBezTo>
                    <a:lnTo>
                      <a:pt x="445650" y="851129"/>
                    </a:lnTo>
                    <a:cubicBezTo>
                      <a:pt x="447269" y="862083"/>
                      <a:pt x="439649" y="872275"/>
                      <a:pt x="428695" y="873989"/>
                    </a:cubicBezTo>
                    <a:cubicBezTo>
                      <a:pt x="427648" y="873989"/>
                      <a:pt x="426695" y="874084"/>
                      <a:pt x="425743" y="874084"/>
                    </a:cubicBezTo>
                    <a:close/>
                    <a:moveTo>
                      <a:pt x="412217" y="779787"/>
                    </a:moveTo>
                    <a:cubicBezTo>
                      <a:pt x="402406" y="779787"/>
                      <a:pt x="393834" y="772643"/>
                      <a:pt x="392405" y="762737"/>
                    </a:cubicBezTo>
                    <a:cubicBezTo>
                      <a:pt x="390500" y="751783"/>
                      <a:pt x="397739" y="740925"/>
                      <a:pt x="408693" y="739020"/>
                    </a:cubicBezTo>
                    <a:cubicBezTo>
                      <a:pt x="419647" y="737115"/>
                      <a:pt x="430029" y="743973"/>
                      <a:pt x="431934" y="754927"/>
                    </a:cubicBezTo>
                    <a:lnTo>
                      <a:pt x="432220" y="756736"/>
                    </a:lnTo>
                    <a:cubicBezTo>
                      <a:pt x="433839" y="767690"/>
                      <a:pt x="426314" y="777977"/>
                      <a:pt x="415360" y="779597"/>
                    </a:cubicBezTo>
                    <a:cubicBezTo>
                      <a:pt x="414217" y="779692"/>
                      <a:pt x="413265" y="779787"/>
                      <a:pt x="412217" y="779787"/>
                    </a:cubicBezTo>
                    <a:close/>
                    <a:moveTo>
                      <a:pt x="394501" y="686347"/>
                    </a:moveTo>
                    <a:cubicBezTo>
                      <a:pt x="385357" y="686347"/>
                      <a:pt x="377165" y="680060"/>
                      <a:pt x="374974" y="670821"/>
                    </a:cubicBezTo>
                    <a:cubicBezTo>
                      <a:pt x="374974" y="670631"/>
                      <a:pt x="374593" y="669202"/>
                      <a:pt x="374593" y="669106"/>
                    </a:cubicBezTo>
                    <a:cubicBezTo>
                      <a:pt x="372307" y="658248"/>
                      <a:pt x="379261" y="647580"/>
                      <a:pt x="390119" y="645294"/>
                    </a:cubicBezTo>
                    <a:cubicBezTo>
                      <a:pt x="400978" y="643103"/>
                      <a:pt x="411646" y="649961"/>
                      <a:pt x="413932" y="660820"/>
                    </a:cubicBezTo>
                    <a:lnTo>
                      <a:pt x="394215" y="665011"/>
                    </a:lnTo>
                    <a:lnTo>
                      <a:pt x="414027" y="661677"/>
                    </a:lnTo>
                    <a:cubicBezTo>
                      <a:pt x="416599" y="672535"/>
                      <a:pt x="409836" y="683299"/>
                      <a:pt x="399073" y="685871"/>
                    </a:cubicBezTo>
                    <a:cubicBezTo>
                      <a:pt x="397549" y="686156"/>
                      <a:pt x="396025" y="686347"/>
                      <a:pt x="394501" y="686347"/>
                    </a:cubicBezTo>
                    <a:close/>
                    <a:moveTo>
                      <a:pt x="371545" y="594049"/>
                    </a:moveTo>
                    <a:cubicBezTo>
                      <a:pt x="362878" y="594049"/>
                      <a:pt x="354972" y="588430"/>
                      <a:pt x="352305" y="579762"/>
                    </a:cubicBezTo>
                    <a:lnTo>
                      <a:pt x="351733" y="577952"/>
                    </a:lnTo>
                    <a:cubicBezTo>
                      <a:pt x="348781" y="567284"/>
                      <a:pt x="355162" y="556140"/>
                      <a:pt x="365830" y="553282"/>
                    </a:cubicBezTo>
                    <a:cubicBezTo>
                      <a:pt x="376498" y="550330"/>
                      <a:pt x="387643" y="556711"/>
                      <a:pt x="390500" y="567380"/>
                    </a:cubicBezTo>
                    <a:lnTo>
                      <a:pt x="390691" y="568141"/>
                    </a:lnTo>
                    <a:cubicBezTo>
                      <a:pt x="393929" y="578714"/>
                      <a:pt x="387928" y="589954"/>
                      <a:pt x="377260" y="593192"/>
                    </a:cubicBezTo>
                    <a:cubicBezTo>
                      <a:pt x="375451" y="593764"/>
                      <a:pt x="373450" y="594049"/>
                      <a:pt x="371545" y="594049"/>
                    </a:cubicBezTo>
                    <a:close/>
                    <a:moveTo>
                      <a:pt x="342589" y="503372"/>
                    </a:moveTo>
                    <a:cubicBezTo>
                      <a:pt x="334207" y="503372"/>
                      <a:pt x="326397" y="498133"/>
                      <a:pt x="323539" y="489846"/>
                    </a:cubicBezTo>
                    <a:cubicBezTo>
                      <a:pt x="319920" y="479464"/>
                      <a:pt x="325159" y="467462"/>
                      <a:pt x="335541" y="463747"/>
                    </a:cubicBezTo>
                    <a:cubicBezTo>
                      <a:pt x="345828" y="460033"/>
                      <a:pt x="357067" y="464700"/>
                      <a:pt x="360973" y="474987"/>
                    </a:cubicBezTo>
                    <a:cubicBezTo>
                      <a:pt x="361068" y="475177"/>
                      <a:pt x="361544" y="476606"/>
                      <a:pt x="361639" y="476797"/>
                    </a:cubicBezTo>
                    <a:cubicBezTo>
                      <a:pt x="365259" y="487274"/>
                      <a:pt x="359639" y="498704"/>
                      <a:pt x="349162" y="502324"/>
                    </a:cubicBezTo>
                    <a:cubicBezTo>
                      <a:pt x="346971" y="502990"/>
                      <a:pt x="344780" y="503372"/>
                      <a:pt x="342589" y="503372"/>
                    </a:cubicBezTo>
                    <a:close/>
                    <a:moveTo>
                      <a:pt x="306871" y="415170"/>
                    </a:moveTo>
                    <a:cubicBezTo>
                      <a:pt x="299346" y="415170"/>
                      <a:pt x="292107" y="410884"/>
                      <a:pt x="288678" y="403645"/>
                    </a:cubicBezTo>
                    <a:lnTo>
                      <a:pt x="288011" y="402121"/>
                    </a:lnTo>
                    <a:cubicBezTo>
                      <a:pt x="283439" y="392024"/>
                      <a:pt x="287916" y="380118"/>
                      <a:pt x="298108" y="375546"/>
                    </a:cubicBezTo>
                    <a:cubicBezTo>
                      <a:pt x="308204" y="370974"/>
                      <a:pt x="320110" y="375451"/>
                      <a:pt x="324682" y="385642"/>
                    </a:cubicBezTo>
                    <a:lnTo>
                      <a:pt x="325159" y="386595"/>
                    </a:lnTo>
                    <a:cubicBezTo>
                      <a:pt x="329826" y="396691"/>
                      <a:pt x="325540" y="408598"/>
                      <a:pt x="315443" y="413360"/>
                    </a:cubicBezTo>
                    <a:cubicBezTo>
                      <a:pt x="312586" y="414598"/>
                      <a:pt x="309728" y="415170"/>
                      <a:pt x="306871" y="415170"/>
                    </a:cubicBezTo>
                    <a:close/>
                    <a:moveTo>
                      <a:pt x="263913" y="330397"/>
                    </a:moveTo>
                    <a:cubicBezTo>
                      <a:pt x="256864" y="330397"/>
                      <a:pt x="250006" y="326683"/>
                      <a:pt x="246292" y="320015"/>
                    </a:cubicBezTo>
                    <a:cubicBezTo>
                      <a:pt x="240958" y="310300"/>
                      <a:pt x="244101" y="297536"/>
                      <a:pt x="253721" y="292202"/>
                    </a:cubicBezTo>
                    <a:cubicBezTo>
                      <a:pt x="263437" y="286868"/>
                      <a:pt x="275248" y="289630"/>
                      <a:pt x="280677" y="299251"/>
                    </a:cubicBezTo>
                    <a:cubicBezTo>
                      <a:pt x="280677" y="299346"/>
                      <a:pt x="281439" y="300584"/>
                      <a:pt x="281439" y="300584"/>
                    </a:cubicBezTo>
                    <a:cubicBezTo>
                      <a:pt x="286773" y="310300"/>
                      <a:pt x="283249" y="322492"/>
                      <a:pt x="273533" y="327921"/>
                    </a:cubicBezTo>
                    <a:cubicBezTo>
                      <a:pt x="270580" y="329635"/>
                      <a:pt x="267151" y="330397"/>
                      <a:pt x="263913" y="330397"/>
                    </a:cubicBezTo>
                    <a:close/>
                    <a:moveTo>
                      <a:pt x="213526" y="249911"/>
                    </a:moveTo>
                    <a:cubicBezTo>
                      <a:pt x="207239" y="249911"/>
                      <a:pt x="201048" y="246958"/>
                      <a:pt x="197143" y="241529"/>
                    </a:cubicBezTo>
                    <a:cubicBezTo>
                      <a:pt x="197047" y="241434"/>
                      <a:pt x="196190" y="240196"/>
                      <a:pt x="196095" y="240005"/>
                    </a:cubicBezTo>
                    <a:cubicBezTo>
                      <a:pt x="189904" y="230861"/>
                      <a:pt x="192285" y="218288"/>
                      <a:pt x="201429" y="212097"/>
                    </a:cubicBezTo>
                    <a:cubicBezTo>
                      <a:pt x="210573" y="205906"/>
                      <a:pt x="223146" y="208287"/>
                      <a:pt x="229337" y="217431"/>
                    </a:cubicBezTo>
                    <a:lnTo>
                      <a:pt x="212668" y="228671"/>
                    </a:lnTo>
                    <a:lnTo>
                      <a:pt x="229813" y="218098"/>
                    </a:lnTo>
                    <a:cubicBezTo>
                      <a:pt x="236290" y="227147"/>
                      <a:pt x="234195" y="239719"/>
                      <a:pt x="225146" y="246101"/>
                    </a:cubicBezTo>
                    <a:cubicBezTo>
                      <a:pt x="221717" y="248673"/>
                      <a:pt x="217621" y="249911"/>
                      <a:pt x="213526" y="249911"/>
                    </a:cubicBezTo>
                    <a:close/>
                    <a:moveTo>
                      <a:pt x="155995" y="174473"/>
                    </a:moveTo>
                    <a:cubicBezTo>
                      <a:pt x="150280" y="174473"/>
                      <a:pt x="144565" y="172092"/>
                      <a:pt x="140659" y="167330"/>
                    </a:cubicBezTo>
                    <a:cubicBezTo>
                      <a:pt x="133516" y="158852"/>
                      <a:pt x="134087" y="145613"/>
                      <a:pt x="142564" y="138469"/>
                    </a:cubicBezTo>
                    <a:cubicBezTo>
                      <a:pt x="151042" y="131325"/>
                      <a:pt x="163329" y="131801"/>
                      <a:pt x="170473" y="140374"/>
                    </a:cubicBezTo>
                    <a:lnTo>
                      <a:pt x="171330" y="141422"/>
                    </a:lnTo>
                    <a:cubicBezTo>
                      <a:pt x="178474" y="149899"/>
                      <a:pt x="177426" y="162567"/>
                      <a:pt x="168949" y="169806"/>
                    </a:cubicBezTo>
                    <a:cubicBezTo>
                      <a:pt x="165139" y="172949"/>
                      <a:pt x="160567" y="174473"/>
                      <a:pt x="155995" y="174473"/>
                    </a:cubicBezTo>
                    <a:close/>
                    <a:moveTo>
                      <a:pt x="91606" y="104750"/>
                    </a:moveTo>
                    <a:cubicBezTo>
                      <a:pt x="86557" y="104750"/>
                      <a:pt x="81604" y="102940"/>
                      <a:pt x="77699" y="99130"/>
                    </a:cubicBezTo>
                    <a:lnTo>
                      <a:pt x="76461" y="97892"/>
                    </a:lnTo>
                    <a:cubicBezTo>
                      <a:pt x="68650" y="90082"/>
                      <a:pt x="68650" y="77318"/>
                      <a:pt x="76461" y="69508"/>
                    </a:cubicBezTo>
                    <a:cubicBezTo>
                      <a:pt x="84271" y="61697"/>
                      <a:pt x="97035" y="61697"/>
                      <a:pt x="104845" y="69508"/>
                    </a:cubicBezTo>
                    <a:lnTo>
                      <a:pt x="105512" y="70174"/>
                    </a:lnTo>
                    <a:cubicBezTo>
                      <a:pt x="113513" y="77890"/>
                      <a:pt x="113799" y="90558"/>
                      <a:pt x="106084" y="98559"/>
                    </a:cubicBezTo>
                    <a:cubicBezTo>
                      <a:pt x="102083" y="102655"/>
                      <a:pt x="96844" y="104750"/>
                      <a:pt x="91606" y="104750"/>
                    </a:cubicBezTo>
                    <a:close/>
                    <a:moveTo>
                      <a:pt x="21025" y="41028"/>
                    </a:moveTo>
                    <a:cubicBezTo>
                      <a:pt x="16739" y="41028"/>
                      <a:pt x="12453" y="39694"/>
                      <a:pt x="8833" y="36837"/>
                    </a:cubicBezTo>
                    <a:cubicBezTo>
                      <a:pt x="8643" y="36646"/>
                      <a:pt x="7405" y="35599"/>
                      <a:pt x="7119" y="35503"/>
                    </a:cubicBezTo>
                    <a:cubicBezTo>
                      <a:pt x="-1358" y="28360"/>
                      <a:pt x="-2406" y="15596"/>
                      <a:pt x="4738" y="7119"/>
                    </a:cubicBezTo>
                    <a:cubicBezTo>
                      <a:pt x="11881" y="-1358"/>
                      <a:pt x="24645" y="-2406"/>
                      <a:pt x="33122" y="4738"/>
                    </a:cubicBezTo>
                    <a:lnTo>
                      <a:pt x="20168" y="20073"/>
                    </a:lnTo>
                    <a:lnTo>
                      <a:pt x="33598" y="5119"/>
                    </a:lnTo>
                    <a:cubicBezTo>
                      <a:pt x="42266" y="11977"/>
                      <a:pt x="43790" y="24645"/>
                      <a:pt x="36932" y="33313"/>
                    </a:cubicBezTo>
                    <a:cubicBezTo>
                      <a:pt x="32932" y="38361"/>
                      <a:pt x="27026" y="41028"/>
                      <a:pt x="21025" y="41028"/>
                    </a:cubicBezTo>
                    <a:close/>
                  </a:path>
                </a:pathLst>
              </a:custGeom>
              <a:solidFill>
                <a:schemeClr val="bg1">
                  <a:lumMod val="65000"/>
                </a:scheme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8" name="Freeform: Shape 22">
                <a:extLst>
                  <a:ext uri="{FF2B5EF4-FFF2-40B4-BE49-F238E27FC236}">
                    <a16:creationId xmlns:a16="http://schemas.microsoft.com/office/drawing/2014/main" id="{E9C3C9E5-3E2D-4E3A-8B88-C1979A3029B9}"/>
                  </a:ext>
                </a:extLst>
              </p:cNvPr>
              <p:cNvSpPr/>
              <p:nvPr/>
            </p:nvSpPr>
            <p:spPr>
              <a:xfrm>
                <a:off x="5627990" y="3049979"/>
                <a:ext cx="290706" cy="814082"/>
              </a:xfrm>
              <a:custGeom>
                <a:avLst/>
                <a:gdLst>
                  <a:gd name="connsiteX0" fmla="*/ 386150 w 406156"/>
                  <a:gd name="connsiteY0" fmla="*/ 1137384 h 1137383"/>
                  <a:gd name="connsiteX1" fmla="*/ 372530 w 406156"/>
                  <a:gd name="connsiteY1" fmla="*/ 1132050 h 1137383"/>
                  <a:gd name="connsiteX2" fmla="*/ 370815 w 406156"/>
                  <a:gd name="connsiteY2" fmla="*/ 1103189 h 1137383"/>
                  <a:gd name="connsiteX3" fmla="*/ 398723 w 406156"/>
                  <a:gd name="connsiteY3" fmla="*/ 1101570 h 1137383"/>
                  <a:gd name="connsiteX4" fmla="*/ 399676 w 406156"/>
                  <a:gd name="connsiteY4" fmla="*/ 1102427 h 1137383"/>
                  <a:gd name="connsiteX5" fmla="*/ 400819 w 406156"/>
                  <a:gd name="connsiteY5" fmla="*/ 1130812 h 1137383"/>
                  <a:gd name="connsiteX6" fmla="*/ 386150 w 406156"/>
                  <a:gd name="connsiteY6" fmla="*/ 1137384 h 1137383"/>
                  <a:gd name="connsiteX7" fmla="*/ 318142 w 406156"/>
                  <a:gd name="connsiteY7" fmla="*/ 1070995 h 1137383"/>
                  <a:gd name="connsiteX8" fmla="*/ 303664 w 406156"/>
                  <a:gd name="connsiteY8" fmla="*/ 1064804 h 1137383"/>
                  <a:gd name="connsiteX9" fmla="*/ 303759 w 406156"/>
                  <a:gd name="connsiteY9" fmla="*/ 1035848 h 1137383"/>
                  <a:gd name="connsiteX10" fmla="*/ 331763 w 406156"/>
                  <a:gd name="connsiteY10" fmla="*/ 1035943 h 1137383"/>
                  <a:gd name="connsiteX11" fmla="*/ 332715 w 406156"/>
                  <a:gd name="connsiteY11" fmla="*/ 1036895 h 1137383"/>
                  <a:gd name="connsiteX12" fmla="*/ 332144 w 406156"/>
                  <a:gd name="connsiteY12" fmla="*/ 1065280 h 1137383"/>
                  <a:gd name="connsiteX13" fmla="*/ 318142 w 406156"/>
                  <a:gd name="connsiteY13" fmla="*/ 1070995 h 1137383"/>
                  <a:gd name="connsiteX14" fmla="*/ 254324 w 406156"/>
                  <a:gd name="connsiteY14" fmla="*/ 1000415 h 1137383"/>
                  <a:gd name="connsiteX15" fmla="*/ 238799 w 406156"/>
                  <a:gd name="connsiteY15" fmla="*/ 993175 h 1137383"/>
                  <a:gd name="connsiteX16" fmla="*/ 240799 w 406156"/>
                  <a:gd name="connsiteY16" fmla="*/ 964410 h 1137383"/>
                  <a:gd name="connsiteX17" fmla="*/ 268803 w 406156"/>
                  <a:gd name="connsiteY17" fmla="*/ 966315 h 1137383"/>
                  <a:gd name="connsiteX18" fmla="*/ 269755 w 406156"/>
                  <a:gd name="connsiteY18" fmla="*/ 967458 h 1137383"/>
                  <a:gd name="connsiteX19" fmla="*/ 267088 w 406156"/>
                  <a:gd name="connsiteY19" fmla="*/ 995747 h 1137383"/>
                  <a:gd name="connsiteX20" fmla="*/ 254324 w 406156"/>
                  <a:gd name="connsiteY20" fmla="*/ 1000415 h 1137383"/>
                  <a:gd name="connsiteX21" fmla="*/ 195650 w 406156"/>
                  <a:gd name="connsiteY21" fmla="*/ 925548 h 1137383"/>
                  <a:gd name="connsiteX22" fmla="*/ 179267 w 406156"/>
                  <a:gd name="connsiteY22" fmla="*/ 917166 h 1137383"/>
                  <a:gd name="connsiteX23" fmla="*/ 183363 w 406156"/>
                  <a:gd name="connsiteY23" fmla="*/ 888591 h 1137383"/>
                  <a:gd name="connsiteX24" fmla="*/ 211081 w 406156"/>
                  <a:gd name="connsiteY24" fmla="*/ 892592 h 1137383"/>
                  <a:gd name="connsiteX25" fmla="*/ 211938 w 406156"/>
                  <a:gd name="connsiteY25" fmla="*/ 893830 h 1137383"/>
                  <a:gd name="connsiteX26" fmla="*/ 207271 w 406156"/>
                  <a:gd name="connsiteY26" fmla="*/ 921833 h 1137383"/>
                  <a:gd name="connsiteX27" fmla="*/ 195650 w 406156"/>
                  <a:gd name="connsiteY27" fmla="*/ 925548 h 1137383"/>
                  <a:gd name="connsiteX28" fmla="*/ 143263 w 406156"/>
                  <a:gd name="connsiteY28" fmla="*/ 846205 h 1137383"/>
                  <a:gd name="connsiteX29" fmla="*/ 125927 w 406156"/>
                  <a:gd name="connsiteY29" fmla="*/ 836299 h 1137383"/>
                  <a:gd name="connsiteX30" fmla="*/ 132309 w 406156"/>
                  <a:gd name="connsiteY30" fmla="*/ 808200 h 1137383"/>
                  <a:gd name="connsiteX31" fmla="*/ 159646 w 406156"/>
                  <a:gd name="connsiteY31" fmla="*/ 814487 h 1137383"/>
                  <a:gd name="connsiteX32" fmla="*/ 160503 w 406156"/>
                  <a:gd name="connsiteY32" fmla="*/ 815915 h 1137383"/>
                  <a:gd name="connsiteX33" fmla="*/ 153359 w 406156"/>
                  <a:gd name="connsiteY33" fmla="*/ 843442 h 1137383"/>
                  <a:gd name="connsiteX34" fmla="*/ 143263 w 406156"/>
                  <a:gd name="connsiteY34" fmla="*/ 846205 h 1137383"/>
                  <a:gd name="connsiteX35" fmla="*/ 98305 w 406156"/>
                  <a:gd name="connsiteY35" fmla="*/ 762385 h 1137383"/>
                  <a:gd name="connsiteX36" fmla="*/ 80017 w 406156"/>
                  <a:gd name="connsiteY36" fmla="*/ 750669 h 1137383"/>
                  <a:gd name="connsiteX37" fmla="*/ 89161 w 406156"/>
                  <a:gd name="connsiteY37" fmla="*/ 723428 h 1137383"/>
                  <a:gd name="connsiteX38" fmla="*/ 115831 w 406156"/>
                  <a:gd name="connsiteY38" fmla="*/ 732381 h 1137383"/>
                  <a:gd name="connsiteX39" fmla="*/ 116593 w 406156"/>
                  <a:gd name="connsiteY39" fmla="*/ 734000 h 1137383"/>
                  <a:gd name="connsiteX40" fmla="*/ 106687 w 406156"/>
                  <a:gd name="connsiteY40" fmla="*/ 760670 h 1137383"/>
                  <a:gd name="connsiteX41" fmla="*/ 98305 w 406156"/>
                  <a:gd name="connsiteY41" fmla="*/ 762385 h 1137383"/>
                  <a:gd name="connsiteX42" fmla="*/ 61919 w 406156"/>
                  <a:gd name="connsiteY42" fmla="*/ 674088 h 1137383"/>
                  <a:gd name="connsiteX43" fmla="*/ 43155 w 406156"/>
                  <a:gd name="connsiteY43" fmla="*/ 660753 h 1137383"/>
                  <a:gd name="connsiteX44" fmla="*/ 55442 w 406156"/>
                  <a:gd name="connsiteY44" fmla="*/ 634559 h 1137383"/>
                  <a:gd name="connsiteX45" fmla="*/ 80779 w 406156"/>
                  <a:gd name="connsiteY45" fmla="*/ 646370 h 1137383"/>
                  <a:gd name="connsiteX46" fmla="*/ 80969 w 406156"/>
                  <a:gd name="connsiteY46" fmla="*/ 647037 h 1137383"/>
                  <a:gd name="connsiteX47" fmla="*/ 68587 w 406156"/>
                  <a:gd name="connsiteY47" fmla="*/ 672850 h 1137383"/>
                  <a:gd name="connsiteX48" fmla="*/ 61919 w 406156"/>
                  <a:gd name="connsiteY48" fmla="*/ 674088 h 1137383"/>
                  <a:gd name="connsiteX49" fmla="*/ 36297 w 406156"/>
                  <a:gd name="connsiteY49" fmla="*/ 582934 h 1137383"/>
                  <a:gd name="connsiteX50" fmla="*/ 16771 w 406156"/>
                  <a:gd name="connsiteY50" fmla="*/ 567599 h 1137383"/>
                  <a:gd name="connsiteX51" fmla="*/ 16295 w 406156"/>
                  <a:gd name="connsiteY51" fmla="*/ 565694 h 1137383"/>
                  <a:gd name="connsiteX52" fmla="*/ 31916 w 406156"/>
                  <a:gd name="connsiteY52" fmla="*/ 541881 h 1137383"/>
                  <a:gd name="connsiteX53" fmla="*/ 55728 w 406156"/>
                  <a:gd name="connsiteY53" fmla="*/ 557407 h 1137383"/>
                  <a:gd name="connsiteX54" fmla="*/ 36011 w 406156"/>
                  <a:gd name="connsiteY54" fmla="*/ 561503 h 1137383"/>
                  <a:gd name="connsiteX55" fmla="*/ 55823 w 406156"/>
                  <a:gd name="connsiteY55" fmla="*/ 558074 h 1137383"/>
                  <a:gd name="connsiteX56" fmla="*/ 41060 w 406156"/>
                  <a:gd name="connsiteY56" fmla="*/ 582362 h 1137383"/>
                  <a:gd name="connsiteX57" fmla="*/ 36297 w 406156"/>
                  <a:gd name="connsiteY57" fmla="*/ 582934 h 1137383"/>
                  <a:gd name="connsiteX58" fmla="*/ 21914 w 406156"/>
                  <a:gd name="connsiteY58" fmla="*/ 488922 h 1137383"/>
                  <a:gd name="connsiteX59" fmla="*/ 1912 w 406156"/>
                  <a:gd name="connsiteY59" fmla="*/ 470539 h 1137383"/>
                  <a:gd name="connsiteX60" fmla="*/ 20105 w 406156"/>
                  <a:gd name="connsiteY60" fmla="*/ 448060 h 1137383"/>
                  <a:gd name="connsiteX61" fmla="*/ 41822 w 406156"/>
                  <a:gd name="connsiteY61" fmla="*/ 465681 h 1137383"/>
                  <a:gd name="connsiteX62" fmla="*/ 41917 w 406156"/>
                  <a:gd name="connsiteY62" fmla="*/ 467015 h 1137383"/>
                  <a:gd name="connsiteX63" fmla="*/ 23629 w 406156"/>
                  <a:gd name="connsiteY63" fmla="*/ 488827 h 1137383"/>
                  <a:gd name="connsiteX64" fmla="*/ 21914 w 406156"/>
                  <a:gd name="connsiteY64" fmla="*/ 488922 h 1137383"/>
                  <a:gd name="connsiteX65" fmla="*/ 20105 w 406156"/>
                  <a:gd name="connsiteY65" fmla="*/ 393862 h 1137383"/>
                  <a:gd name="connsiteX66" fmla="*/ 19533 w 406156"/>
                  <a:gd name="connsiteY66" fmla="*/ 393862 h 1137383"/>
                  <a:gd name="connsiteX67" fmla="*/ 7 w 406156"/>
                  <a:gd name="connsiteY67" fmla="*/ 373193 h 1137383"/>
                  <a:gd name="connsiteX68" fmla="*/ 102 w 406156"/>
                  <a:gd name="connsiteY68" fmla="*/ 371288 h 1137383"/>
                  <a:gd name="connsiteX69" fmla="*/ 21343 w 406156"/>
                  <a:gd name="connsiteY69" fmla="*/ 352429 h 1137383"/>
                  <a:gd name="connsiteX70" fmla="*/ 40202 w 406156"/>
                  <a:gd name="connsiteY70" fmla="*/ 373670 h 1137383"/>
                  <a:gd name="connsiteX71" fmla="*/ 20105 w 406156"/>
                  <a:gd name="connsiteY71" fmla="*/ 372527 h 1137383"/>
                  <a:gd name="connsiteX72" fmla="*/ 40107 w 406156"/>
                  <a:gd name="connsiteY72" fmla="*/ 374432 h 1137383"/>
                  <a:gd name="connsiteX73" fmla="*/ 20105 w 406156"/>
                  <a:gd name="connsiteY73" fmla="*/ 393862 h 1137383"/>
                  <a:gd name="connsiteX74" fmla="*/ 31154 w 406156"/>
                  <a:gd name="connsiteY74" fmla="*/ 299375 h 1137383"/>
                  <a:gd name="connsiteX75" fmla="*/ 27058 w 406156"/>
                  <a:gd name="connsiteY75" fmla="*/ 298898 h 1137383"/>
                  <a:gd name="connsiteX76" fmla="*/ 11437 w 406156"/>
                  <a:gd name="connsiteY76" fmla="*/ 275086 h 1137383"/>
                  <a:gd name="connsiteX77" fmla="*/ 35059 w 406156"/>
                  <a:gd name="connsiteY77" fmla="*/ 258798 h 1137383"/>
                  <a:gd name="connsiteX78" fmla="*/ 51156 w 406156"/>
                  <a:gd name="connsiteY78" fmla="*/ 281467 h 1137383"/>
                  <a:gd name="connsiteX79" fmla="*/ 50775 w 406156"/>
                  <a:gd name="connsiteY79" fmla="*/ 283373 h 1137383"/>
                  <a:gd name="connsiteX80" fmla="*/ 31154 w 406156"/>
                  <a:gd name="connsiteY80" fmla="*/ 299375 h 1137383"/>
                  <a:gd name="connsiteX81" fmla="*/ 55252 w 406156"/>
                  <a:gd name="connsiteY81" fmla="*/ 207458 h 1137383"/>
                  <a:gd name="connsiteX82" fmla="*/ 48680 w 406156"/>
                  <a:gd name="connsiteY82" fmla="*/ 206315 h 1137383"/>
                  <a:gd name="connsiteX83" fmla="*/ 36202 w 406156"/>
                  <a:gd name="connsiteY83" fmla="*/ 180788 h 1137383"/>
                  <a:gd name="connsiteX84" fmla="*/ 61919 w 406156"/>
                  <a:gd name="connsiteY84" fmla="*/ 167644 h 1137383"/>
                  <a:gd name="connsiteX85" fmla="*/ 74683 w 406156"/>
                  <a:gd name="connsiteY85" fmla="*/ 192504 h 1137383"/>
                  <a:gd name="connsiteX86" fmla="*/ 74207 w 406156"/>
                  <a:gd name="connsiteY86" fmla="*/ 193837 h 1137383"/>
                  <a:gd name="connsiteX87" fmla="*/ 55252 w 406156"/>
                  <a:gd name="connsiteY87" fmla="*/ 207458 h 1137383"/>
                  <a:gd name="connsiteX88" fmla="*/ 92685 w 406156"/>
                  <a:gd name="connsiteY88" fmla="*/ 120019 h 1137383"/>
                  <a:gd name="connsiteX89" fmla="*/ 83255 w 406156"/>
                  <a:gd name="connsiteY89" fmla="*/ 117637 h 1137383"/>
                  <a:gd name="connsiteX90" fmla="*/ 74969 w 406156"/>
                  <a:gd name="connsiteY90" fmla="*/ 90396 h 1137383"/>
                  <a:gd name="connsiteX91" fmla="*/ 102496 w 406156"/>
                  <a:gd name="connsiteY91" fmla="*/ 81538 h 1137383"/>
                  <a:gd name="connsiteX92" fmla="*/ 111068 w 406156"/>
                  <a:gd name="connsiteY92" fmla="*/ 108112 h 1137383"/>
                  <a:gd name="connsiteX93" fmla="*/ 110402 w 406156"/>
                  <a:gd name="connsiteY93" fmla="*/ 109255 h 1137383"/>
                  <a:gd name="connsiteX94" fmla="*/ 92685 w 406156"/>
                  <a:gd name="connsiteY94" fmla="*/ 120019 h 1137383"/>
                  <a:gd name="connsiteX95" fmla="*/ 145644 w 406156"/>
                  <a:gd name="connsiteY95" fmla="*/ 41152 h 1137383"/>
                  <a:gd name="connsiteX96" fmla="*/ 132500 w 406156"/>
                  <a:gd name="connsiteY96" fmla="*/ 36294 h 1137383"/>
                  <a:gd name="connsiteX97" fmla="*/ 130404 w 406156"/>
                  <a:gd name="connsiteY97" fmla="*/ 7909 h 1137383"/>
                  <a:gd name="connsiteX98" fmla="*/ 131738 w 406156"/>
                  <a:gd name="connsiteY98" fmla="*/ 6481 h 1137383"/>
                  <a:gd name="connsiteX99" fmla="*/ 160122 w 406156"/>
                  <a:gd name="connsiteY99" fmla="*/ 5338 h 1137383"/>
                  <a:gd name="connsiteX100" fmla="*/ 161265 w 406156"/>
                  <a:gd name="connsiteY100" fmla="*/ 33722 h 1137383"/>
                  <a:gd name="connsiteX101" fmla="*/ 146501 w 406156"/>
                  <a:gd name="connsiteY101" fmla="*/ 20102 h 1137383"/>
                  <a:gd name="connsiteX102" fmla="*/ 160789 w 406156"/>
                  <a:gd name="connsiteY102" fmla="*/ 34199 h 1137383"/>
                  <a:gd name="connsiteX103" fmla="*/ 145644 w 406156"/>
                  <a:gd name="connsiteY103" fmla="*/ 41152 h 11373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Lst>
                <a:rect l="l" t="t" r="r" b="b"/>
                <a:pathLst>
                  <a:path w="406156" h="1137383">
                    <a:moveTo>
                      <a:pt x="386150" y="1137384"/>
                    </a:moveTo>
                    <a:cubicBezTo>
                      <a:pt x="381293" y="1137384"/>
                      <a:pt x="376435" y="1135670"/>
                      <a:pt x="372530" y="1132050"/>
                    </a:cubicBezTo>
                    <a:cubicBezTo>
                      <a:pt x="364338" y="1124525"/>
                      <a:pt x="363386" y="1111381"/>
                      <a:pt x="370815" y="1103189"/>
                    </a:cubicBezTo>
                    <a:cubicBezTo>
                      <a:pt x="378340" y="1094998"/>
                      <a:pt x="390627" y="1094045"/>
                      <a:pt x="398723" y="1101570"/>
                    </a:cubicBezTo>
                    <a:lnTo>
                      <a:pt x="399676" y="1102427"/>
                    </a:lnTo>
                    <a:cubicBezTo>
                      <a:pt x="407867" y="1109952"/>
                      <a:pt x="408344" y="1122620"/>
                      <a:pt x="400819" y="1130812"/>
                    </a:cubicBezTo>
                    <a:cubicBezTo>
                      <a:pt x="397009" y="1135193"/>
                      <a:pt x="391580" y="1137384"/>
                      <a:pt x="386150" y="1137384"/>
                    </a:cubicBezTo>
                    <a:close/>
                    <a:moveTo>
                      <a:pt x="318142" y="1070995"/>
                    </a:moveTo>
                    <a:cubicBezTo>
                      <a:pt x="312903" y="1070995"/>
                      <a:pt x="307569" y="1068899"/>
                      <a:pt x="303664" y="1064804"/>
                    </a:cubicBezTo>
                    <a:cubicBezTo>
                      <a:pt x="295949" y="1056803"/>
                      <a:pt x="295758" y="1043563"/>
                      <a:pt x="303759" y="1035848"/>
                    </a:cubicBezTo>
                    <a:cubicBezTo>
                      <a:pt x="311760" y="1028228"/>
                      <a:pt x="324047" y="1027942"/>
                      <a:pt x="331763" y="1035943"/>
                    </a:cubicBezTo>
                    <a:lnTo>
                      <a:pt x="332715" y="1036895"/>
                    </a:lnTo>
                    <a:cubicBezTo>
                      <a:pt x="340430" y="1044896"/>
                      <a:pt x="340145" y="1057660"/>
                      <a:pt x="332144" y="1065280"/>
                    </a:cubicBezTo>
                    <a:cubicBezTo>
                      <a:pt x="328143" y="1069090"/>
                      <a:pt x="323095" y="1070995"/>
                      <a:pt x="318142" y="1070995"/>
                    </a:cubicBezTo>
                    <a:close/>
                    <a:moveTo>
                      <a:pt x="254324" y="1000415"/>
                    </a:moveTo>
                    <a:cubicBezTo>
                      <a:pt x="248514" y="1000415"/>
                      <a:pt x="242799" y="997938"/>
                      <a:pt x="238799" y="993175"/>
                    </a:cubicBezTo>
                    <a:cubicBezTo>
                      <a:pt x="231655" y="984698"/>
                      <a:pt x="232322" y="971554"/>
                      <a:pt x="240799" y="964410"/>
                    </a:cubicBezTo>
                    <a:cubicBezTo>
                      <a:pt x="249276" y="957266"/>
                      <a:pt x="261563" y="957838"/>
                      <a:pt x="268803" y="966315"/>
                    </a:cubicBezTo>
                    <a:lnTo>
                      <a:pt x="269755" y="967458"/>
                    </a:lnTo>
                    <a:cubicBezTo>
                      <a:pt x="276804" y="976030"/>
                      <a:pt x="275661" y="988699"/>
                      <a:pt x="267088" y="995747"/>
                    </a:cubicBezTo>
                    <a:cubicBezTo>
                      <a:pt x="263373" y="998891"/>
                      <a:pt x="258896" y="1000415"/>
                      <a:pt x="254324" y="1000415"/>
                    </a:cubicBezTo>
                    <a:close/>
                    <a:moveTo>
                      <a:pt x="195650" y="925548"/>
                    </a:moveTo>
                    <a:cubicBezTo>
                      <a:pt x="189364" y="925548"/>
                      <a:pt x="183173" y="922595"/>
                      <a:pt x="179267" y="917166"/>
                    </a:cubicBezTo>
                    <a:cubicBezTo>
                      <a:pt x="172695" y="908213"/>
                      <a:pt x="174410" y="895163"/>
                      <a:pt x="183363" y="888591"/>
                    </a:cubicBezTo>
                    <a:cubicBezTo>
                      <a:pt x="192317" y="882114"/>
                      <a:pt x="204604" y="883543"/>
                      <a:pt x="211081" y="892592"/>
                    </a:cubicBezTo>
                    <a:lnTo>
                      <a:pt x="211938" y="893830"/>
                    </a:lnTo>
                    <a:cubicBezTo>
                      <a:pt x="218415" y="902879"/>
                      <a:pt x="216320" y="915452"/>
                      <a:pt x="207271" y="921833"/>
                    </a:cubicBezTo>
                    <a:cubicBezTo>
                      <a:pt x="203842" y="924310"/>
                      <a:pt x="199746" y="925548"/>
                      <a:pt x="195650" y="925548"/>
                    </a:cubicBezTo>
                    <a:close/>
                    <a:moveTo>
                      <a:pt x="143263" y="846205"/>
                    </a:moveTo>
                    <a:cubicBezTo>
                      <a:pt x="136405" y="846205"/>
                      <a:pt x="129642" y="842680"/>
                      <a:pt x="125927" y="836299"/>
                    </a:cubicBezTo>
                    <a:cubicBezTo>
                      <a:pt x="120117" y="826774"/>
                      <a:pt x="122879" y="814010"/>
                      <a:pt x="132309" y="808200"/>
                    </a:cubicBezTo>
                    <a:cubicBezTo>
                      <a:pt x="141834" y="802390"/>
                      <a:pt x="153931" y="804962"/>
                      <a:pt x="159646" y="814487"/>
                    </a:cubicBezTo>
                    <a:lnTo>
                      <a:pt x="160503" y="815915"/>
                    </a:lnTo>
                    <a:cubicBezTo>
                      <a:pt x="166123" y="825536"/>
                      <a:pt x="162884" y="837823"/>
                      <a:pt x="153359" y="843442"/>
                    </a:cubicBezTo>
                    <a:cubicBezTo>
                      <a:pt x="150216" y="845252"/>
                      <a:pt x="146692" y="846205"/>
                      <a:pt x="143263" y="846205"/>
                    </a:cubicBezTo>
                    <a:close/>
                    <a:moveTo>
                      <a:pt x="98305" y="762385"/>
                    </a:moveTo>
                    <a:cubicBezTo>
                      <a:pt x="90685" y="762385"/>
                      <a:pt x="83446" y="758003"/>
                      <a:pt x="80017" y="750669"/>
                    </a:cubicBezTo>
                    <a:cubicBezTo>
                      <a:pt x="75159" y="740668"/>
                      <a:pt x="79160" y="728190"/>
                      <a:pt x="89161" y="723428"/>
                    </a:cubicBezTo>
                    <a:cubicBezTo>
                      <a:pt x="99162" y="718570"/>
                      <a:pt x="110973" y="722380"/>
                      <a:pt x="115831" y="732381"/>
                    </a:cubicBezTo>
                    <a:lnTo>
                      <a:pt x="116593" y="734000"/>
                    </a:lnTo>
                    <a:cubicBezTo>
                      <a:pt x="121260" y="744097"/>
                      <a:pt x="116783" y="756003"/>
                      <a:pt x="106687" y="760670"/>
                    </a:cubicBezTo>
                    <a:cubicBezTo>
                      <a:pt x="103925" y="761813"/>
                      <a:pt x="101067" y="762385"/>
                      <a:pt x="98305" y="762385"/>
                    </a:cubicBezTo>
                    <a:close/>
                    <a:moveTo>
                      <a:pt x="61919" y="674088"/>
                    </a:moveTo>
                    <a:cubicBezTo>
                      <a:pt x="53633" y="674088"/>
                      <a:pt x="46013" y="669040"/>
                      <a:pt x="43155" y="660753"/>
                    </a:cubicBezTo>
                    <a:cubicBezTo>
                      <a:pt x="39536" y="650275"/>
                      <a:pt x="44965" y="638179"/>
                      <a:pt x="55442" y="634559"/>
                    </a:cubicBezTo>
                    <a:cubicBezTo>
                      <a:pt x="65920" y="630940"/>
                      <a:pt x="77159" y="635893"/>
                      <a:pt x="80779" y="646370"/>
                    </a:cubicBezTo>
                    <a:cubicBezTo>
                      <a:pt x="80779" y="646370"/>
                      <a:pt x="80969" y="647037"/>
                      <a:pt x="80969" y="647037"/>
                    </a:cubicBezTo>
                    <a:cubicBezTo>
                      <a:pt x="84589" y="657515"/>
                      <a:pt x="79064" y="669230"/>
                      <a:pt x="68587" y="672850"/>
                    </a:cubicBezTo>
                    <a:cubicBezTo>
                      <a:pt x="66396" y="673802"/>
                      <a:pt x="64110" y="674088"/>
                      <a:pt x="61919" y="674088"/>
                    </a:cubicBezTo>
                    <a:close/>
                    <a:moveTo>
                      <a:pt x="36297" y="582934"/>
                    </a:moveTo>
                    <a:cubicBezTo>
                      <a:pt x="27248" y="582934"/>
                      <a:pt x="18962" y="576742"/>
                      <a:pt x="16771" y="567599"/>
                    </a:cubicBezTo>
                    <a:cubicBezTo>
                      <a:pt x="16676" y="567408"/>
                      <a:pt x="16390" y="565884"/>
                      <a:pt x="16295" y="565694"/>
                    </a:cubicBezTo>
                    <a:cubicBezTo>
                      <a:pt x="14009" y="554835"/>
                      <a:pt x="20962" y="544167"/>
                      <a:pt x="31916" y="541881"/>
                    </a:cubicBezTo>
                    <a:cubicBezTo>
                      <a:pt x="42679" y="539595"/>
                      <a:pt x="53442" y="546548"/>
                      <a:pt x="55728" y="557407"/>
                    </a:cubicBezTo>
                    <a:lnTo>
                      <a:pt x="36011" y="561503"/>
                    </a:lnTo>
                    <a:lnTo>
                      <a:pt x="55823" y="558074"/>
                    </a:lnTo>
                    <a:cubicBezTo>
                      <a:pt x="58395" y="568837"/>
                      <a:pt x="51823" y="579695"/>
                      <a:pt x="41060" y="582362"/>
                    </a:cubicBezTo>
                    <a:cubicBezTo>
                      <a:pt x="39440" y="582743"/>
                      <a:pt x="37916" y="582934"/>
                      <a:pt x="36297" y="582934"/>
                    </a:cubicBezTo>
                    <a:close/>
                    <a:moveTo>
                      <a:pt x="21914" y="488922"/>
                    </a:moveTo>
                    <a:cubicBezTo>
                      <a:pt x="11627" y="488922"/>
                      <a:pt x="2864" y="481016"/>
                      <a:pt x="1912" y="470539"/>
                    </a:cubicBezTo>
                    <a:cubicBezTo>
                      <a:pt x="959" y="459490"/>
                      <a:pt x="9056" y="449012"/>
                      <a:pt x="20105" y="448060"/>
                    </a:cubicBezTo>
                    <a:cubicBezTo>
                      <a:pt x="31154" y="447012"/>
                      <a:pt x="40869" y="454632"/>
                      <a:pt x="41822" y="465681"/>
                    </a:cubicBezTo>
                    <a:lnTo>
                      <a:pt x="41917" y="467015"/>
                    </a:lnTo>
                    <a:cubicBezTo>
                      <a:pt x="42869" y="478063"/>
                      <a:pt x="34678" y="487874"/>
                      <a:pt x="23629" y="488827"/>
                    </a:cubicBezTo>
                    <a:cubicBezTo>
                      <a:pt x="23153" y="488922"/>
                      <a:pt x="22581" y="488922"/>
                      <a:pt x="21914" y="488922"/>
                    </a:cubicBezTo>
                    <a:close/>
                    <a:moveTo>
                      <a:pt x="20105" y="393862"/>
                    </a:moveTo>
                    <a:cubicBezTo>
                      <a:pt x="19914" y="393862"/>
                      <a:pt x="19724" y="393862"/>
                      <a:pt x="19533" y="393862"/>
                    </a:cubicBezTo>
                    <a:cubicBezTo>
                      <a:pt x="8389" y="393577"/>
                      <a:pt x="-279" y="384242"/>
                      <a:pt x="7" y="373193"/>
                    </a:cubicBezTo>
                    <a:cubicBezTo>
                      <a:pt x="7" y="373003"/>
                      <a:pt x="102" y="371479"/>
                      <a:pt x="102" y="371288"/>
                    </a:cubicBezTo>
                    <a:cubicBezTo>
                      <a:pt x="769" y="360239"/>
                      <a:pt x="10103" y="351762"/>
                      <a:pt x="21343" y="352429"/>
                    </a:cubicBezTo>
                    <a:cubicBezTo>
                      <a:pt x="32392" y="353095"/>
                      <a:pt x="40869" y="362620"/>
                      <a:pt x="40202" y="373670"/>
                    </a:cubicBezTo>
                    <a:lnTo>
                      <a:pt x="20105" y="372527"/>
                    </a:lnTo>
                    <a:lnTo>
                      <a:pt x="40107" y="374432"/>
                    </a:lnTo>
                    <a:cubicBezTo>
                      <a:pt x="39821" y="385195"/>
                      <a:pt x="30868" y="393862"/>
                      <a:pt x="20105" y="393862"/>
                    </a:cubicBezTo>
                    <a:close/>
                    <a:moveTo>
                      <a:pt x="31154" y="299375"/>
                    </a:moveTo>
                    <a:cubicBezTo>
                      <a:pt x="29820" y="299375"/>
                      <a:pt x="28391" y="299184"/>
                      <a:pt x="27058" y="298898"/>
                    </a:cubicBezTo>
                    <a:cubicBezTo>
                      <a:pt x="16199" y="296612"/>
                      <a:pt x="9246" y="285944"/>
                      <a:pt x="11437" y="275086"/>
                    </a:cubicBezTo>
                    <a:cubicBezTo>
                      <a:pt x="13723" y="264323"/>
                      <a:pt x="24391" y="256798"/>
                      <a:pt x="35059" y="258798"/>
                    </a:cubicBezTo>
                    <a:cubicBezTo>
                      <a:pt x="45822" y="260894"/>
                      <a:pt x="53061" y="270609"/>
                      <a:pt x="51156" y="281467"/>
                    </a:cubicBezTo>
                    <a:cubicBezTo>
                      <a:pt x="51156" y="281658"/>
                      <a:pt x="50870" y="283182"/>
                      <a:pt x="50775" y="283373"/>
                    </a:cubicBezTo>
                    <a:cubicBezTo>
                      <a:pt x="48775" y="292898"/>
                      <a:pt x="40393" y="299375"/>
                      <a:pt x="31154" y="299375"/>
                    </a:cubicBezTo>
                    <a:close/>
                    <a:moveTo>
                      <a:pt x="55252" y="207458"/>
                    </a:moveTo>
                    <a:cubicBezTo>
                      <a:pt x="53061" y="207458"/>
                      <a:pt x="50870" y="207077"/>
                      <a:pt x="48680" y="206315"/>
                    </a:cubicBezTo>
                    <a:cubicBezTo>
                      <a:pt x="38202" y="202696"/>
                      <a:pt x="32582" y="191266"/>
                      <a:pt x="36202" y="180788"/>
                    </a:cubicBezTo>
                    <a:cubicBezTo>
                      <a:pt x="39726" y="170311"/>
                      <a:pt x="51347" y="164024"/>
                      <a:pt x="61919" y="167644"/>
                    </a:cubicBezTo>
                    <a:cubicBezTo>
                      <a:pt x="72397" y="171168"/>
                      <a:pt x="78302" y="182027"/>
                      <a:pt x="74683" y="192504"/>
                    </a:cubicBezTo>
                    <a:lnTo>
                      <a:pt x="74207" y="193837"/>
                    </a:lnTo>
                    <a:cubicBezTo>
                      <a:pt x="71349" y="202220"/>
                      <a:pt x="63539" y="207458"/>
                      <a:pt x="55252" y="207458"/>
                    </a:cubicBezTo>
                    <a:close/>
                    <a:moveTo>
                      <a:pt x="92685" y="120019"/>
                    </a:moveTo>
                    <a:cubicBezTo>
                      <a:pt x="89447" y="120019"/>
                      <a:pt x="86208" y="119257"/>
                      <a:pt x="83255" y="117637"/>
                    </a:cubicBezTo>
                    <a:cubicBezTo>
                      <a:pt x="73445" y="112399"/>
                      <a:pt x="69730" y="100207"/>
                      <a:pt x="74969" y="90396"/>
                    </a:cubicBezTo>
                    <a:cubicBezTo>
                      <a:pt x="80207" y="80585"/>
                      <a:pt x="92685" y="76299"/>
                      <a:pt x="102496" y="81538"/>
                    </a:cubicBezTo>
                    <a:cubicBezTo>
                      <a:pt x="112307" y="86777"/>
                      <a:pt x="116307" y="98397"/>
                      <a:pt x="111068" y="108112"/>
                    </a:cubicBezTo>
                    <a:lnTo>
                      <a:pt x="110402" y="109255"/>
                    </a:lnTo>
                    <a:cubicBezTo>
                      <a:pt x="106782" y="116209"/>
                      <a:pt x="99829" y="120019"/>
                      <a:pt x="92685" y="120019"/>
                    </a:cubicBezTo>
                    <a:close/>
                    <a:moveTo>
                      <a:pt x="145644" y="41152"/>
                    </a:moveTo>
                    <a:cubicBezTo>
                      <a:pt x="140977" y="41152"/>
                      <a:pt x="136310" y="39533"/>
                      <a:pt x="132500" y="36294"/>
                    </a:cubicBezTo>
                    <a:cubicBezTo>
                      <a:pt x="124118" y="29055"/>
                      <a:pt x="123165" y="16387"/>
                      <a:pt x="130404" y="7909"/>
                    </a:cubicBezTo>
                    <a:cubicBezTo>
                      <a:pt x="130595" y="7719"/>
                      <a:pt x="131547" y="6576"/>
                      <a:pt x="131738" y="6481"/>
                    </a:cubicBezTo>
                    <a:cubicBezTo>
                      <a:pt x="139262" y="-1711"/>
                      <a:pt x="152026" y="-2187"/>
                      <a:pt x="160122" y="5338"/>
                    </a:cubicBezTo>
                    <a:cubicBezTo>
                      <a:pt x="168314" y="12862"/>
                      <a:pt x="168790" y="25531"/>
                      <a:pt x="161265" y="33722"/>
                    </a:cubicBezTo>
                    <a:lnTo>
                      <a:pt x="146501" y="20102"/>
                    </a:lnTo>
                    <a:lnTo>
                      <a:pt x="160789" y="34199"/>
                    </a:lnTo>
                    <a:cubicBezTo>
                      <a:pt x="156884" y="38866"/>
                      <a:pt x="151264" y="41152"/>
                      <a:pt x="145644" y="41152"/>
                    </a:cubicBezTo>
                    <a:close/>
                  </a:path>
                </a:pathLst>
              </a:custGeom>
              <a:solidFill>
                <a:schemeClr val="bg1">
                  <a:lumMod val="65000"/>
                </a:scheme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grpSp>
          <p:nvGrpSpPr>
            <p:cNvPr id="5" name="Group 3">
              <a:extLst>
                <a:ext uri="{FF2B5EF4-FFF2-40B4-BE49-F238E27FC236}">
                  <a16:creationId xmlns:a16="http://schemas.microsoft.com/office/drawing/2014/main" id="{EDBEC9E5-8F51-4D27-AA31-9CB109FEC76D}"/>
                </a:ext>
              </a:extLst>
            </p:cNvPr>
            <p:cNvGrpSpPr/>
            <p:nvPr/>
          </p:nvGrpSpPr>
          <p:grpSpPr>
            <a:xfrm>
              <a:off x="4586686" y="2501478"/>
              <a:ext cx="2656964" cy="3402592"/>
              <a:chOff x="4586686" y="2501478"/>
              <a:chExt cx="2656964" cy="3402592"/>
            </a:xfrm>
          </p:grpSpPr>
          <p:grpSp>
            <p:nvGrpSpPr>
              <p:cNvPr id="6" name="Group 4">
                <a:extLst>
                  <a:ext uri="{FF2B5EF4-FFF2-40B4-BE49-F238E27FC236}">
                    <a16:creationId xmlns:a16="http://schemas.microsoft.com/office/drawing/2014/main" id="{2EDBE617-9AD8-4DD8-BCD6-481EDD9A0858}"/>
                  </a:ext>
                </a:extLst>
              </p:cNvPr>
              <p:cNvGrpSpPr/>
              <p:nvPr/>
            </p:nvGrpSpPr>
            <p:grpSpPr>
              <a:xfrm>
                <a:off x="4586686" y="5350646"/>
                <a:ext cx="1942351" cy="553424"/>
                <a:chOff x="4586686" y="5350646"/>
                <a:chExt cx="1942351" cy="553424"/>
              </a:xfrm>
            </p:grpSpPr>
            <p:sp>
              <p:nvSpPr>
                <p:cNvPr id="10" name="Freeform: Shape 14">
                  <a:extLst>
                    <a:ext uri="{FF2B5EF4-FFF2-40B4-BE49-F238E27FC236}">
                      <a16:creationId xmlns:a16="http://schemas.microsoft.com/office/drawing/2014/main" id="{C6D4A8D9-E8DF-4569-BD90-9461C15DE165}"/>
                    </a:ext>
                  </a:extLst>
                </p:cNvPr>
                <p:cNvSpPr/>
                <p:nvPr/>
              </p:nvSpPr>
              <p:spPr>
                <a:xfrm>
                  <a:off x="5880924" y="5436065"/>
                  <a:ext cx="580633" cy="312157"/>
                </a:xfrm>
                <a:custGeom>
                  <a:avLst/>
                  <a:gdLst>
                    <a:gd name="connsiteX0" fmla="*/ 0 w 811222"/>
                    <a:gd name="connsiteY0" fmla="*/ 303537 h 436125"/>
                    <a:gd name="connsiteX1" fmla="*/ 611981 w 811222"/>
                    <a:gd name="connsiteY1" fmla="*/ 37028 h 436125"/>
                    <a:gd name="connsiteX2" fmla="*/ 703231 w 811222"/>
                    <a:gd name="connsiteY2" fmla="*/ 177045 h 436125"/>
                    <a:gd name="connsiteX3" fmla="*/ 144590 w 811222"/>
                    <a:gd name="connsiteY3" fmla="*/ 436125 h 436125"/>
                    <a:gd name="connsiteX4" fmla="*/ 95 w 811222"/>
                    <a:gd name="connsiteY4" fmla="*/ 397263 h 436125"/>
                    <a:gd name="connsiteX5" fmla="*/ 95 w 811222"/>
                    <a:gd name="connsiteY5" fmla="*/ 303537 h 436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11222" h="436125">
                      <a:moveTo>
                        <a:pt x="0" y="303537"/>
                      </a:moveTo>
                      <a:lnTo>
                        <a:pt x="611981" y="37028"/>
                      </a:lnTo>
                      <a:cubicBezTo>
                        <a:pt x="841629" y="-72033"/>
                        <a:pt x="873728" y="85701"/>
                        <a:pt x="703231" y="177045"/>
                      </a:cubicBezTo>
                      <a:cubicBezTo>
                        <a:pt x="514636" y="278011"/>
                        <a:pt x="144590" y="436125"/>
                        <a:pt x="144590" y="436125"/>
                      </a:cubicBezTo>
                      <a:lnTo>
                        <a:pt x="95" y="397263"/>
                      </a:lnTo>
                      <a:lnTo>
                        <a:pt x="95" y="303537"/>
                      </a:lnTo>
                      <a:close/>
                    </a:path>
                  </a:pathLst>
                </a:custGeom>
                <a:solidFill>
                  <a:srgbClr val="F7AB7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1" name="Freeform: Shape 15">
                  <a:extLst>
                    <a:ext uri="{FF2B5EF4-FFF2-40B4-BE49-F238E27FC236}">
                      <a16:creationId xmlns:a16="http://schemas.microsoft.com/office/drawing/2014/main" id="{27D9264A-5FAD-4BAB-BCDA-DF30DA4606EC}"/>
                    </a:ext>
                  </a:extLst>
                </p:cNvPr>
                <p:cNvSpPr/>
                <p:nvPr/>
              </p:nvSpPr>
              <p:spPr>
                <a:xfrm>
                  <a:off x="5051505" y="5350646"/>
                  <a:ext cx="1477532" cy="553424"/>
                </a:xfrm>
                <a:custGeom>
                  <a:avLst/>
                  <a:gdLst>
                    <a:gd name="connsiteX0" fmla="*/ 1158811 w 2064310"/>
                    <a:gd name="connsiteY0" fmla="*/ 773209 h 773208"/>
                    <a:gd name="connsiteX1" fmla="*/ 104394 w 2064310"/>
                    <a:gd name="connsiteY1" fmla="*/ 603950 h 773208"/>
                    <a:gd name="connsiteX2" fmla="*/ 0 w 2064310"/>
                    <a:gd name="connsiteY2" fmla="*/ 603569 h 773208"/>
                    <a:gd name="connsiteX3" fmla="*/ 0 w 2064310"/>
                    <a:gd name="connsiteY3" fmla="*/ 116460 h 773208"/>
                    <a:gd name="connsiteX4" fmla="*/ 126492 w 2064310"/>
                    <a:gd name="connsiteY4" fmla="*/ 114650 h 773208"/>
                    <a:gd name="connsiteX5" fmla="*/ 715137 w 2064310"/>
                    <a:gd name="connsiteY5" fmla="*/ 14257 h 773208"/>
                    <a:gd name="connsiteX6" fmla="*/ 1424464 w 2064310"/>
                    <a:gd name="connsiteY6" fmla="*/ 76550 h 773208"/>
                    <a:gd name="connsiteX7" fmla="*/ 1305211 w 2064310"/>
                    <a:gd name="connsiteY7" fmla="*/ 276480 h 773208"/>
                    <a:gd name="connsiteX8" fmla="*/ 847249 w 2064310"/>
                    <a:gd name="connsiteY8" fmla="*/ 294101 h 773208"/>
                    <a:gd name="connsiteX9" fmla="*/ 1224820 w 2064310"/>
                    <a:gd name="connsiteY9" fmla="*/ 446216 h 773208"/>
                    <a:gd name="connsiteX10" fmla="*/ 1898618 w 2064310"/>
                    <a:gd name="connsiteY10" fmla="*/ 205709 h 773208"/>
                    <a:gd name="connsiteX11" fmla="*/ 1990058 w 2064310"/>
                    <a:gd name="connsiteY11" fmla="*/ 346299 h 773208"/>
                    <a:gd name="connsiteX12" fmla="*/ 1158811 w 2064310"/>
                    <a:gd name="connsiteY12" fmla="*/ 773209 h 773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064310" h="773208">
                      <a:moveTo>
                        <a:pt x="1158811" y="773209"/>
                      </a:moveTo>
                      <a:cubicBezTo>
                        <a:pt x="947261" y="747873"/>
                        <a:pt x="124301" y="604331"/>
                        <a:pt x="104394" y="603950"/>
                      </a:cubicBezTo>
                      <a:lnTo>
                        <a:pt x="0" y="603569"/>
                      </a:lnTo>
                      <a:lnTo>
                        <a:pt x="0" y="116460"/>
                      </a:lnTo>
                      <a:lnTo>
                        <a:pt x="126492" y="114650"/>
                      </a:lnTo>
                      <a:cubicBezTo>
                        <a:pt x="347758" y="56262"/>
                        <a:pt x="410242" y="-35463"/>
                        <a:pt x="715137" y="14257"/>
                      </a:cubicBezTo>
                      <a:cubicBezTo>
                        <a:pt x="796576" y="27687"/>
                        <a:pt x="1213294" y="50547"/>
                        <a:pt x="1424464" y="76550"/>
                      </a:cubicBezTo>
                      <a:cubicBezTo>
                        <a:pt x="1565339" y="93981"/>
                        <a:pt x="1600772" y="264955"/>
                        <a:pt x="1305211" y="276480"/>
                      </a:cubicBezTo>
                      <a:cubicBezTo>
                        <a:pt x="992886" y="288672"/>
                        <a:pt x="847249" y="294101"/>
                        <a:pt x="847249" y="294101"/>
                      </a:cubicBezTo>
                      <a:cubicBezTo>
                        <a:pt x="847249" y="294101"/>
                        <a:pt x="1131094" y="411164"/>
                        <a:pt x="1224820" y="446216"/>
                      </a:cubicBezTo>
                      <a:lnTo>
                        <a:pt x="1898618" y="205709"/>
                      </a:lnTo>
                      <a:cubicBezTo>
                        <a:pt x="2084165" y="119223"/>
                        <a:pt x="2112740" y="277338"/>
                        <a:pt x="1990058" y="346299"/>
                      </a:cubicBezTo>
                      <a:cubicBezTo>
                        <a:pt x="1884902" y="405449"/>
                        <a:pt x="1513808" y="619857"/>
                        <a:pt x="1158811" y="773209"/>
                      </a:cubicBezTo>
                      <a:close/>
                    </a:path>
                  </a:pathLst>
                </a:custGeom>
                <a:solidFill>
                  <a:srgbClr val="FFC278"/>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2" name="Freeform: Shape 16">
                  <a:extLst>
                    <a:ext uri="{FF2B5EF4-FFF2-40B4-BE49-F238E27FC236}">
                      <a16:creationId xmlns:a16="http://schemas.microsoft.com/office/drawing/2014/main" id="{32C438B8-7B0F-4636-B276-DB4135D7FB58}"/>
                    </a:ext>
                  </a:extLst>
                </p:cNvPr>
                <p:cNvSpPr/>
                <p:nvPr/>
              </p:nvSpPr>
              <p:spPr>
                <a:xfrm>
                  <a:off x="4869341" y="5408301"/>
                  <a:ext cx="252997" cy="390644"/>
                </a:xfrm>
                <a:custGeom>
                  <a:avLst/>
                  <a:gdLst>
                    <a:gd name="connsiteX0" fmla="*/ 0 w 353472"/>
                    <a:gd name="connsiteY0" fmla="*/ 0 h 545782"/>
                    <a:gd name="connsiteX1" fmla="*/ 353473 w 353472"/>
                    <a:gd name="connsiteY1" fmla="*/ 0 h 545782"/>
                    <a:gd name="connsiteX2" fmla="*/ 353473 w 353472"/>
                    <a:gd name="connsiteY2" fmla="*/ 545782 h 545782"/>
                    <a:gd name="connsiteX3" fmla="*/ 0 w 353472"/>
                    <a:gd name="connsiteY3" fmla="*/ 545782 h 545782"/>
                  </a:gdLst>
                  <a:ahLst/>
                  <a:cxnLst>
                    <a:cxn ang="0">
                      <a:pos x="connsiteX0" y="connsiteY0"/>
                    </a:cxn>
                    <a:cxn ang="0">
                      <a:pos x="connsiteX1" y="connsiteY1"/>
                    </a:cxn>
                    <a:cxn ang="0">
                      <a:pos x="connsiteX2" y="connsiteY2"/>
                    </a:cxn>
                    <a:cxn ang="0">
                      <a:pos x="connsiteX3" y="connsiteY3"/>
                    </a:cxn>
                  </a:cxnLst>
                  <a:rect l="l" t="t" r="r" b="b"/>
                  <a:pathLst>
                    <a:path w="353472" h="545782">
                      <a:moveTo>
                        <a:pt x="0" y="0"/>
                      </a:moveTo>
                      <a:lnTo>
                        <a:pt x="353473" y="0"/>
                      </a:lnTo>
                      <a:lnTo>
                        <a:pt x="353473" y="545782"/>
                      </a:lnTo>
                      <a:lnTo>
                        <a:pt x="0" y="545782"/>
                      </a:lnTo>
                      <a:close/>
                    </a:path>
                  </a:pathLst>
                </a:custGeom>
                <a:solidFill>
                  <a:schemeClr val="accent1">
                    <a:lumMod val="60000"/>
                    <a:lumOff val="40000"/>
                  </a:scheme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3" name="Freeform: Shape 17">
                  <a:extLst>
                    <a:ext uri="{FF2B5EF4-FFF2-40B4-BE49-F238E27FC236}">
                      <a16:creationId xmlns:a16="http://schemas.microsoft.com/office/drawing/2014/main" id="{6767D0A1-C9AC-43A6-8923-1AD86D524DF4}"/>
                    </a:ext>
                  </a:extLst>
                </p:cNvPr>
                <p:cNvSpPr/>
                <p:nvPr/>
              </p:nvSpPr>
              <p:spPr>
                <a:xfrm>
                  <a:off x="4586686" y="5384508"/>
                  <a:ext cx="473954" cy="438162"/>
                </a:xfrm>
                <a:custGeom>
                  <a:avLst/>
                  <a:gdLst>
                    <a:gd name="connsiteX0" fmla="*/ 0 w 662178"/>
                    <a:gd name="connsiteY0" fmla="*/ 0 h 612171"/>
                    <a:gd name="connsiteX1" fmla="*/ 662178 w 662178"/>
                    <a:gd name="connsiteY1" fmla="*/ 0 h 612171"/>
                    <a:gd name="connsiteX2" fmla="*/ 662178 w 662178"/>
                    <a:gd name="connsiteY2" fmla="*/ 612172 h 612171"/>
                    <a:gd name="connsiteX3" fmla="*/ 0 w 662178"/>
                    <a:gd name="connsiteY3" fmla="*/ 612172 h 612171"/>
                  </a:gdLst>
                  <a:ahLst/>
                  <a:cxnLst>
                    <a:cxn ang="0">
                      <a:pos x="connsiteX0" y="connsiteY0"/>
                    </a:cxn>
                    <a:cxn ang="0">
                      <a:pos x="connsiteX1" y="connsiteY1"/>
                    </a:cxn>
                    <a:cxn ang="0">
                      <a:pos x="connsiteX2" y="connsiteY2"/>
                    </a:cxn>
                    <a:cxn ang="0">
                      <a:pos x="connsiteX3" y="connsiteY3"/>
                    </a:cxn>
                  </a:cxnLst>
                  <a:rect l="l" t="t" r="r" b="b"/>
                  <a:pathLst>
                    <a:path w="662178" h="612171">
                      <a:moveTo>
                        <a:pt x="0" y="0"/>
                      </a:moveTo>
                      <a:lnTo>
                        <a:pt x="662178" y="0"/>
                      </a:lnTo>
                      <a:lnTo>
                        <a:pt x="662178" y="612172"/>
                      </a:lnTo>
                      <a:lnTo>
                        <a:pt x="0" y="612172"/>
                      </a:lnTo>
                      <a:close/>
                    </a:path>
                  </a:pathLst>
                </a:custGeom>
                <a:solidFill>
                  <a:schemeClr val="accent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4" name="Freeform: Shape 18">
                  <a:extLst>
                    <a:ext uri="{FF2B5EF4-FFF2-40B4-BE49-F238E27FC236}">
                      <a16:creationId xmlns:a16="http://schemas.microsoft.com/office/drawing/2014/main" id="{69F9C7AD-7210-4436-9BD3-5FE50A43E845}"/>
                    </a:ext>
                  </a:extLst>
                </p:cNvPr>
                <p:cNvSpPr/>
                <p:nvPr/>
              </p:nvSpPr>
              <p:spPr>
                <a:xfrm>
                  <a:off x="5985711" y="5421118"/>
                  <a:ext cx="136145" cy="98086"/>
                </a:xfrm>
                <a:custGeom>
                  <a:avLst/>
                  <a:gdLst>
                    <a:gd name="connsiteX0" fmla="*/ 0 w 190214"/>
                    <a:gd name="connsiteY0" fmla="*/ 16286 h 137040"/>
                    <a:gd name="connsiteX1" fmla="*/ 0 w 190214"/>
                    <a:gd name="connsiteY1" fmla="*/ 120776 h 137040"/>
                    <a:gd name="connsiteX2" fmla="*/ 190214 w 190214"/>
                    <a:gd name="connsiteY2" fmla="*/ 68579 h 137040"/>
                    <a:gd name="connsiteX3" fmla="*/ 0 w 190214"/>
                    <a:gd name="connsiteY3" fmla="*/ 16286 h 137040"/>
                  </a:gdLst>
                  <a:ahLst/>
                  <a:cxnLst>
                    <a:cxn ang="0">
                      <a:pos x="connsiteX0" y="connsiteY0"/>
                    </a:cxn>
                    <a:cxn ang="0">
                      <a:pos x="connsiteX1" y="connsiteY1"/>
                    </a:cxn>
                    <a:cxn ang="0">
                      <a:pos x="connsiteX2" y="connsiteY2"/>
                    </a:cxn>
                    <a:cxn ang="0">
                      <a:pos x="connsiteX3" y="connsiteY3"/>
                    </a:cxn>
                  </a:cxnLst>
                  <a:rect l="l" t="t" r="r" b="b"/>
                  <a:pathLst>
                    <a:path w="190214" h="137040">
                      <a:moveTo>
                        <a:pt x="0" y="16286"/>
                      </a:moveTo>
                      <a:lnTo>
                        <a:pt x="0" y="120776"/>
                      </a:lnTo>
                      <a:cubicBezTo>
                        <a:pt x="76295" y="158685"/>
                        <a:pt x="190214" y="125824"/>
                        <a:pt x="190214" y="68579"/>
                      </a:cubicBezTo>
                      <a:cubicBezTo>
                        <a:pt x="190214" y="11334"/>
                        <a:pt x="76486" y="-21718"/>
                        <a:pt x="0" y="16286"/>
                      </a:cubicBezTo>
                      <a:close/>
                    </a:path>
                  </a:pathLst>
                </a:custGeom>
                <a:solidFill>
                  <a:srgbClr val="F5802E"/>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sp>
            <p:nvSpPr>
              <p:cNvPr id="7" name="Freeform: Shape 12">
                <a:extLst>
                  <a:ext uri="{FF2B5EF4-FFF2-40B4-BE49-F238E27FC236}">
                    <a16:creationId xmlns:a16="http://schemas.microsoft.com/office/drawing/2014/main" id="{3888D1E3-E632-41F2-A46D-CECEF1A07F8B}"/>
                  </a:ext>
                </a:extLst>
              </p:cNvPr>
              <p:cNvSpPr/>
              <p:nvPr/>
            </p:nvSpPr>
            <p:spPr>
              <a:xfrm>
                <a:off x="6639375" y="3358026"/>
                <a:ext cx="604275" cy="605157"/>
              </a:xfrm>
              <a:custGeom>
                <a:avLst/>
                <a:gdLst>
                  <a:gd name="connsiteX0" fmla="*/ 397817 w 844253"/>
                  <a:gd name="connsiteY0" fmla="*/ 845486 h 845486"/>
                  <a:gd name="connsiteX1" fmla="*/ 396579 w 844253"/>
                  <a:gd name="connsiteY1" fmla="*/ 845486 h 845486"/>
                  <a:gd name="connsiteX2" fmla="*/ 395245 w 844253"/>
                  <a:gd name="connsiteY2" fmla="*/ 845391 h 845486"/>
                  <a:gd name="connsiteX3" fmla="*/ 376386 w 844253"/>
                  <a:gd name="connsiteY3" fmla="*/ 824150 h 845486"/>
                  <a:gd name="connsiteX4" fmla="*/ 397626 w 844253"/>
                  <a:gd name="connsiteY4" fmla="*/ 805291 h 845486"/>
                  <a:gd name="connsiteX5" fmla="*/ 417153 w 844253"/>
                  <a:gd name="connsiteY5" fmla="*/ 826627 h 845486"/>
                  <a:gd name="connsiteX6" fmla="*/ 397817 w 844253"/>
                  <a:gd name="connsiteY6" fmla="*/ 845486 h 845486"/>
                  <a:gd name="connsiteX7" fmla="*/ 489924 w 844253"/>
                  <a:gd name="connsiteY7" fmla="*/ 840247 h 845486"/>
                  <a:gd name="connsiteX8" fmla="*/ 470207 w 844253"/>
                  <a:gd name="connsiteY8" fmla="*/ 823769 h 845486"/>
                  <a:gd name="connsiteX9" fmla="*/ 486399 w 844253"/>
                  <a:gd name="connsiteY9" fmla="*/ 800433 h 845486"/>
                  <a:gd name="connsiteX10" fmla="*/ 510403 w 844253"/>
                  <a:gd name="connsiteY10" fmla="*/ 816530 h 845486"/>
                  <a:gd name="connsiteX11" fmla="*/ 494877 w 844253"/>
                  <a:gd name="connsiteY11" fmla="*/ 839771 h 845486"/>
                  <a:gd name="connsiteX12" fmla="*/ 493543 w 844253"/>
                  <a:gd name="connsiteY12" fmla="*/ 839962 h 845486"/>
                  <a:gd name="connsiteX13" fmla="*/ 489924 w 844253"/>
                  <a:gd name="connsiteY13" fmla="*/ 840247 h 845486"/>
                  <a:gd name="connsiteX14" fmla="*/ 305615 w 844253"/>
                  <a:gd name="connsiteY14" fmla="*/ 829484 h 845486"/>
                  <a:gd name="connsiteX15" fmla="*/ 299614 w 844253"/>
                  <a:gd name="connsiteY15" fmla="*/ 828532 h 845486"/>
                  <a:gd name="connsiteX16" fmla="*/ 305615 w 844253"/>
                  <a:gd name="connsiteY16" fmla="*/ 809386 h 845486"/>
                  <a:gd name="connsiteX17" fmla="*/ 299043 w 844253"/>
                  <a:gd name="connsiteY17" fmla="*/ 828436 h 845486"/>
                  <a:gd name="connsiteX18" fmla="*/ 285041 w 844253"/>
                  <a:gd name="connsiteY18" fmla="*/ 803671 h 845486"/>
                  <a:gd name="connsiteX19" fmla="*/ 309615 w 844253"/>
                  <a:gd name="connsiteY19" fmla="*/ 789574 h 845486"/>
                  <a:gd name="connsiteX20" fmla="*/ 311616 w 844253"/>
                  <a:gd name="connsiteY20" fmla="*/ 790146 h 845486"/>
                  <a:gd name="connsiteX21" fmla="*/ 324760 w 844253"/>
                  <a:gd name="connsiteY21" fmla="*/ 815292 h 845486"/>
                  <a:gd name="connsiteX22" fmla="*/ 305615 w 844253"/>
                  <a:gd name="connsiteY22" fmla="*/ 829484 h 845486"/>
                  <a:gd name="connsiteX23" fmla="*/ 579840 w 844253"/>
                  <a:gd name="connsiteY23" fmla="*/ 813577 h 845486"/>
                  <a:gd name="connsiteX24" fmla="*/ 561456 w 844253"/>
                  <a:gd name="connsiteY24" fmla="*/ 801862 h 845486"/>
                  <a:gd name="connsiteX25" fmla="*/ 571077 w 844253"/>
                  <a:gd name="connsiteY25" fmla="*/ 775287 h 845486"/>
                  <a:gd name="connsiteX26" fmla="*/ 572982 w 844253"/>
                  <a:gd name="connsiteY26" fmla="*/ 774430 h 845486"/>
                  <a:gd name="connsiteX27" fmla="*/ 599271 w 844253"/>
                  <a:gd name="connsiteY27" fmla="*/ 785193 h 845486"/>
                  <a:gd name="connsiteX28" fmla="*/ 588507 w 844253"/>
                  <a:gd name="connsiteY28" fmla="*/ 811482 h 845486"/>
                  <a:gd name="connsiteX29" fmla="*/ 580697 w 844253"/>
                  <a:gd name="connsiteY29" fmla="*/ 792908 h 845486"/>
                  <a:gd name="connsiteX30" fmla="*/ 587936 w 844253"/>
                  <a:gd name="connsiteY30" fmla="*/ 811672 h 845486"/>
                  <a:gd name="connsiteX31" fmla="*/ 579840 w 844253"/>
                  <a:gd name="connsiteY31" fmla="*/ 813577 h 845486"/>
                  <a:gd name="connsiteX32" fmla="*/ 219604 w 844253"/>
                  <a:gd name="connsiteY32" fmla="*/ 792527 h 845486"/>
                  <a:gd name="connsiteX33" fmla="*/ 209413 w 844253"/>
                  <a:gd name="connsiteY33" fmla="*/ 789765 h 845486"/>
                  <a:gd name="connsiteX34" fmla="*/ 219604 w 844253"/>
                  <a:gd name="connsiteY34" fmla="*/ 772429 h 845486"/>
                  <a:gd name="connsiteX35" fmla="*/ 208555 w 844253"/>
                  <a:gd name="connsiteY35" fmla="*/ 789289 h 845486"/>
                  <a:gd name="connsiteX36" fmla="*/ 200935 w 844253"/>
                  <a:gd name="connsiteY36" fmla="*/ 761857 h 845486"/>
                  <a:gd name="connsiteX37" fmla="*/ 228367 w 844253"/>
                  <a:gd name="connsiteY37" fmla="*/ 754237 h 845486"/>
                  <a:gd name="connsiteX38" fmla="*/ 229796 w 844253"/>
                  <a:gd name="connsiteY38" fmla="*/ 755094 h 845486"/>
                  <a:gd name="connsiteX39" fmla="*/ 236940 w 844253"/>
                  <a:gd name="connsiteY39" fmla="*/ 782621 h 845486"/>
                  <a:gd name="connsiteX40" fmla="*/ 219604 w 844253"/>
                  <a:gd name="connsiteY40" fmla="*/ 792527 h 845486"/>
                  <a:gd name="connsiteX41" fmla="*/ 660802 w 844253"/>
                  <a:gd name="connsiteY41" fmla="*/ 767095 h 845486"/>
                  <a:gd name="connsiteX42" fmla="*/ 644610 w 844253"/>
                  <a:gd name="connsiteY42" fmla="*/ 758999 h 845486"/>
                  <a:gd name="connsiteX43" fmla="*/ 648801 w 844253"/>
                  <a:gd name="connsiteY43" fmla="*/ 730900 h 845486"/>
                  <a:gd name="connsiteX44" fmla="*/ 677471 w 844253"/>
                  <a:gd name="connsiteY44" fmla="*/ 734710 h 845486"/>
                  <a:gd name="connsiteX45" fmla="*/ 673851 w 844253"/>
                  <a:gd name="connsiteY45" fmla="*/ 762428 h 845486"/>
                  <a:gd name="connsiteX46" fmla="*/ 672804 w 844253"/>
                  <a:gd name="connsiteY46" fmla="*/ 763190 h 845486"/>
                  <a:gd name="connsiteX47" fmla="*/ 660802 w 844253"/>
                  <a:gd name="connsiteY47" fmla="*/ 767095 h 845486"/>
                  <a:gd name="connsiteX48" fmla="*/ 143880 w 844253"/>
                  <a:gd name="connsiteY48" fmla="*/ 736425 h 845486"/>
                  <a:gd name="connsiteX49" fmla="*/ 130926 w 844253"/>
                  <a:gd name="connsiteY49" fmla="*/ 731281 h 845486"/>
                  <a:gd name="connsiteX50" fmla="*/ 130260 w 844253"/>
                  <a:gd name="connsiteY50" fmla="*/ 730710 h 845486"/>
                  <a:gd name="connsiteX51" fmla="*/ 129021 w 844253"/>
                  <a:gd name="connsiteY51" fmla="*/ 702135 h 845486"/>
                  <a:gd name="connsiteX52" fmla="*/ 157120 w 844253"/>
                  <a:gd name="connsiteY52" fmla="*/ 700801 h 845486"/>
                  <a:gd name="connsiteX53" fmla="*/ 158739 w 844253"/>
                  <a:gd name="connsiteY53" fmla="*/ 729662 h 845486"/>
                  <a:gd name="connsiteX54" fmla="*/ 143880 w 844253"/>
                  <a:gd name="connsiteY54" fmla="*/ 736425 h 845486"/>
                  <a:gd name="connsiteX55" fmla="*/ 729001 w 844253"/>
                  <a:gd name="connsiteY55" fmla="*/ 702992 h 845486"/>
                  <a:gd name="connsiteX56" fmla="*/ 716047 w 844253"/>
                  <a:gd name="connsiteY56" fmla="*/ 698325 h 845486"/>
                  <a:gd name="connsiteX57" fmla="*/ 713571 w 844253"/>
                  <a:gd name="connsiteY57" fmla="*/ 670035 h 845486"/>
                  <a:gd name="connsiteX58" fmla="*/ 714428 w 844253"/>
                  <a:gd name="connsiteY58" fmla="*/ 668988 h 845486"/>
                  <a:gd name="connsiteX59" fmla="*/ 742813 w 844253"/>
                  <a:gd name="connsiteY59" fmla="*/ 666607 h 845486"/>
                  <a:gd name="connsiteX60" fmla="*/ 745194 w 844253"/>
                  <a:gd name="connsiteY60" fmla="*/ 694991 h 845486"/>
                  <a:gd name="connsiteX61" fmla="*/ 729858 w 844253"/>
                  <a:gd name="connsiteY61" fmla="*/ 682037 h 845486"/>
                  <a:gd name="connsiteX62" fmla="*/ 744432 w 844253"/>
                  <a:gd name="connsiteY62" fmla="*/ 695943 h 845486"/>
                  <a:gd name="connsiteX63" fmla="*/ 729001 w 844253"/>
                  <a:gd name="connsiteY63" fmla="*/ 702992 h 845486"/>
                  <a:gd name="connsiteX64" fmla="*/ 83492 w 844253"/>
                  <a:gd name="connsiteY64" fmla="*/ 664702 h 845486"/>
                  <a:gd name="connsiteX65" fmla="*/ 67585 w 844253"/>
                  <a:gd name="connsiteY65" fmla="*/ 656224 h 845486"/>
                  <a:gd name="connsiteX66" fmla="*/ 67109 w 844253"/>
                  <a:gd name="connsiteY66" fmla="*/ 655462 h 845486"/>
                  <a:gd name="connsiteX67" fmla="*/ 72538 w 844253"/>
                  <a:gd name="connsiteY67" fmla="*/ 627364 h 845486"/>
                  <a:gd name="connsiteX68" fmla="*/ 100161 w 844253"/>
                  <a:gd name="connsiteY68" fmla="*/ 632507 h 845486"/>
                  <a:gd name="connsiteX69" fmla="*/ 95208 w 844253"/>
                  <a:gd name="connsiteY69" fmla="*/ 660987 h 845486"/>
                  <a:gd name="connsiteX70" fmla="*/ 83492 w 844253"/>
                  <a:gd name="connsiteY70" fmla="*/ 664702 h 845486"/>
                  <a:gd name="connsiteX71" fmla="*/ 780722 w 844253"/>
                  <a:gd name="connsiteY71" fmla="*/ 624982 h 845486"/>
                  <a:gd name="connsiteX72" fmla="*/ 771768 w 844253"/>
                  <a:gd name="connsiteY72" fmla="*/ 622887 h 845486"/>
                  <a:gd name="connsiteX73" fmla="*/ 762815 w 844253"/>
                  <a:gd name="connsiteY73" fmla="*/ 595931 h 845486"/>
                  <a:gd name="connsiteX74" fmla="*/ 790056 w 844253"/>
                  <a:gd name="connsiteY74" fmla="*/ 586311 h 845486"/>
                  <a:gd name="connsiteX75" fmla="*/ 799391 w 844253"/>
                  <a:gd name="connsiteY75" fmla="*/ 612695 h 845486"/>
                  <a:gd name="connsiteX76" fmla="*/ 798820 w 844253"/>
                  <a:gd name="connsiteY76" fmla="*/ 613838 h 845486"/>
                  <a:gd name="connsiteX77" fmla="*/ 780722 w 844253"/>
                  <a:gd name="connsiteY77" fmla="*/ 624982 h 845486"/>
                  <a:gd name="connsiteX78" fmla="*/ 41391 w 844253"/>
                  <a:gd name="connsiteY78" fmla="*/ 580977 h 845486"/>
                  <a:gd name="connsiteX79" fmla="*/ 23199 w 844253"/>
                  <a:gd name="connsiteY79" fmla="*/ 568499 h 845486"/>
                  <a:gd name="connsiteX80" fmla="*/ 22627 w 844253"/>
                  <a:gd name="connsiteY80" fmla="*/ 566975 h 845486"/>
                  <a:gd name="connsiteX81" fmla="*/ 34819 w 844253"/>
                  <a:gd name="connsiteY81" fmla="*/ 541258 h 845486"/>
                  <a:gd name="connsiteX82" fmla="*/ 60537 w 844253"/>
                  <a:gd name="connsiteY82" fmla="*/ 553450 h 845486"/>
                  <a:gd name="connsiteX83" fmla="*/ 48726 w 844253"/>
                  <a:gd name="connsiteY83" fmla="*/ 579643 h 845486"/>
                  <a:gd name="connsiteX84" fmla="*/ 41391 w 844253"/>
                  <a:gd name="connsiteY84" fmla="*/ 580977 h 845486"/>
                  <a:gd name="connsiteX85" fmla="*/ 813107 w 844253"/>
                  <a:gd name="connsiteY85" fmla="*/ 537162 h 845486"/>
                  <a:gd name="connsiteX86" fmla="*/ 808821 w 844253"/>
                  <a:gd name="connsiteY86" fmla="*/ 536685 h 845486"/>
                  <a:gd name="connsiteX87" fmla="*/ 793486 w 844253"/>
                  <a:gd name="connsiteY87" fmla="*/ 512778 h 845486"/>
                  <a:gd name="connsiteX88" fmla="*/ 793866 w 844253"/>
                  <a:gd name="connsiteY88" fmla="*/ 511063 h 845486"/>
                  <a:gd name="connsiteX89" fmla="*/ 818155 w 844253"/>
                  <a:gd name="connsiteY89" fmla="*/ 496300 h 845486"/>
                  <a:gd name="connsiteX90" fmla="*/ 832919 w 844253"/>
                  <a:gd name="connsiteY90" fmla="*/ 520588 h 845486"/>
                  <a:gd name="connsiteX91" fmla="*/ 813393 w 844253"/>
                  <a:gd name="connsiteY91" fmla="*/ 515826 h 845486"/>
                  <a:gd name="connsiteX92" fmla="*/ 832729 w 844253"/>
                  <a:gd name="connsiteY92" fmla="*/ 521446 h 845486"/>
                  <a:gd name="connsiteX93" fmla="*/ 813107 w 844253"/>
                  <a:gd name="connsiteY93" fmla="*/ 537162 h 845486"/>
                  <a:gd name="connsiteX94" fmla="*/ 20055 w 844253"/>
                  <a:gd name="connsiteY94" fmla="*/ 489918 h 845486"/>
                  <a:gd name="connsiteX95" fmla="*/ 339 w 844253"/>
                  <a:gd name="connsiteY95" fmla="*/ 472868 h 845486"/>
                  <a:gd name="connsiteX96" fmla="*/ 148 w 844253"/>
                  <a:gd name="connsiteY96" fmla="*/ 471439 h 845486"/>
                  <a:gd name="connsiteX97" fmla="*/ 17770 w 844253"/>
                  <a:gd name="connsiteY97" fmla="*/ 449151 h 845486"/>
                  <a:gd name="connsiteX98" fmla="*/ 40058 w 844253"/>
                  <a:gd name="connsiteY98" fmla="*/ 466772 h 845486"/>
                  <a:gd name="connsiteX99" fmla="*/ 22532 w 844253"/>
                  <a:gd name="connsiteY99" fmla="*/ 489727 h 845486"/>
                  <a:gd name="connsiteX100" fmla="*/ 20055 w 844253"/>
                  <a:gd name="connsiteY100" fmla="*/ 489918 h 845486"/>
                  <a:gd name="connsiteX101" fmla="*/ 824156 w 844253"/>
                  <a:gd name="connsiteY101" fmla="*/ 444198 h 845486"/>
                  <a:gd name="connsiteX102" fmla="*/ 804058 w 844253"/>
                  <a:gd name="connsiteY102" fmla="*/ 424100 h 845486"/>
                  <a:gd name="connsiteX103" fmla="*/ 804058 w 844253"/>
                  <a:gd name="connsiteY103" fmla="*/ 423243 h 845486"/>
                  <a:gd name="connsiteX104" fmla="*/ 804058 w 844253"/>
                  <a:gd name="connsiteY104" fmla="*/ 422385 h 845486"/>
                  <a:gd name="connsiteX105" fmla="*/ 824156 w 844253"/>
                  <a:gd name="connsiteY105" fmla="*/ 401621 h 845486"/>
                  <a:gd name="connsiteX106" fmla="*/ 844254 w 844253"/>
                  <a:gd name="connsiteY106" fmla="*/ 421052 h 845486"/>
                  <a:gd name="connsiteX107" fmla="*/ 844254 w 844253"/>
                  <a:gd name="connsiteY107" fmla="*/ 422385 h 845486"/>
                  <a:gd name="connsiteX108" fmla="*/ 844254 w 844253"/>
                  <a:gd name="connsiteY108" fmla="*/ 422576 h 845486"/>
                  <a:gd name="connsiteX109" fmla="*/ 844254 w 844253"/>
                  <a:gd name="connsiteY109" fmla="*/ 422767 h 845486"/>
                  <a:gd name="connsiteX110" fmla="*/ 844254 w 844253"/>
                  <a:gd name="connsiteY110" fmla="*/ 424100 h 845486"/>
                  <a:gd name="connsiteX111" fmla="*/ 824156 w 844253"/>
                  <a:gd name="connsiteY111" fmla="*/ 444198 h 845486"/>
                  <a:gd name="connsiteX112" fmla="*/ 20151 w 844253"/>
                  <a:gd name="connsiteY112" fmla="*/ 396954 h 845486"/>
                  <a:gd name="connsiteX113" fmla="*/ 17674 w 844253"/>
                  <a:gd name="connsiteY113" fmla="*/ 396859 h 845486"/>
                  <a:gd name="connsiteX114" fmla="*/ 148 w 844253"/>
                  <a:gd name="connsiteY114" fmla="*/ 374475 h 845486"/>
                  <a:gd name="connsiteX115" fmla="*/ 20151 w 844253"/>
                  <a:gd name="connsiteY115" fmla="*/ 376856 h 845486"/>
                  <a:gd name="connsiteX116" fmla="*/ 243 w 844253"/>
                  <a:gd name="connsiteY116" fmla="*/ 373808 h 845486"/>
                  <a:gd name="connsiteX117" fmla="*/ 22056 w 844253"/>
                  <a:gd name="connsiteY117" fmla="*/ 355520 h 845486"/>
                  <a:gd name="connsiteX118" fmla="*/ 40344 w 844253"/>
                  <a:gd name="connsiteY118" fmla="*/ 377332 h 845486"/>
                  <a:gd name="connsiteX119" fmla="*/ 40153 w 844253"/>
                  <a:gd name="connsiteY119" fmla="*/ 379333 h 845486"/>
                  <a:gd name="connsiteX120" fmla="*/ 20151 w 844253"/>
                  <a:gd name="connsiteY120" fmla="*/ 396954 h 845486"/>
                  <a:gd name="connsiteX121" fmla="*/ 813297 w 844253"/>
                  <a:gd name="connsiteY121" fmla="*/ 349615 h 845486"/>
                  <a:gd name="connsiteX122" fmla="*/ 793771 w 844253"/>
                  <a:gd name="connsiteY122" fmla="*/ 334375 h 845486"/>
                  <a:gd name="connsiteX123" fmla="*/ 793390 w 844253"/>
                  <a:gd name="connsiteY123" fmla="*/ 332946 h 845486"/>
                  <a:gd name="connsiteX124" fmla="*/ 808154 w 844253"/>
                  <a:gd name="connsiteY124" fmla="*/ 308657 h 845486"/>
                  <a:gd name="connsiteX125" fmla="*/ 832443 w 844253"/>
                  <a:gd name="connsiteY125" fmla="*/ 323421 h 845486"/>
                  <a:gd name="connsiteX126" fmla="*/ 812916 w 844253"/>
                  <a:gd name="connsiteY126" fmla="*/ 328183 h 845486"/>
                  <a:gd name="connsiteX127" fmla="*/ 832729 w 844253"/>
                  <a:gd name="connsiteY127" fmla="*/ 324564 h 845486"/>
                  <a:gd name="connsiteX128" fmla="*/ 818060 w 844253"/>
                  <a:gd name="connsiteY128" fmla="*/ 348948 h 845486"/>
                  <a:gd name="connsiteX129" fmla="*/ 813297 w 844253"/>
                  <a:gd name="connsiteY129" fmla="*/ 349615 h 845486"/>
                  <a:gd name="connsiteX130" fmla="*/ 41296 w 844253"/>
                  <a:gd name="connsiteY130" fmla="*/ 305133 h 845486"/>
                  <a:gd name="connsiteX131" fmla="*/ 35010 w 844253"/>
                  <a:gd name="connsiteY131" fmla="*/ 304085 h 845486"/>
                  <a:gd name="connsiteX132" fmla="*/ 22341 w 844253"/>
                  <a:gd name="connsiteY132" fmla="*/ 279225 h 845486"/>
                  <a:gd name="connsiteX133" fmla="*/ 22722 w 844253"/>
                  <a:gd name="connsiteY133" fmla="*/ 278177 h 845486"/>
                  <a:gd name="connsiteX134" fmla="*/ 48535 w 844253"/>
                  <a:gd name="connsiteY134" fmla="*/ 265890 h 845486"/>
                  <a:gd name="connsiteX135" fmla="*/ 60822 w 844253"/>
                  <a:gd name="connsiteY135" fmla="*/ 291322 h 845486"/>
                  <a:gd name="connsiteX136" fmla="*/ 41296 w 844253"/>
                  <a:gd name="connsiteY136" fmla="*/ 305133 h 845486"/>
                  <a:gd name="connsiteX137" fmla="*/ 781198 w 844253"/>
                  <a:gd name="connsiteY137" fmla="*/ 261699 h 845486"/>
                  <a:gd name="connsiteX138" fmla="*/ 763482 w 844253"/>
                  <a:gd name="connsiteY138" fmla="*/ 251221 h 845486"/>
                  <a:gd name="connsiteX139" fmla="*/ 762529 w 844253"/>
                  <a:gd name="connsiteY139" fmla="*/ 249412 h 845486"/>
                  <a:gd name="connsiteX140" fmla="*/ 771483 w 844253"/>
                  <a:gd name="connsiteY140" fmla="*/ 222456 h 845486"/>
                  <a:gd name="connsiteX141" fmla="*/ 798439 w 844253"/>
                  <a:gd name="connsiteY141" fmla="*/ 231409 h 845486"/>
                  <a:gd name="connsiteX142" fmla="*/ 780436 w 844253"/>
                  <a:gd name="connsiteY142" fmla="*/ 240363 h 845486"/>
                  <a:gd name="connsiteX143" fmla="*/ 798724 w 844253"/>
                  <a:gd name="connsiteY143" fmla="*/ 231981 h 845486"/>
                  <a:gd name="connsiteX144" fmla="*/ 790628 w 844253"/>
                  <a:gd name="connsiteY144" fmla="*/ 259222 h 845486"/>
                  <a:gd name="connsiteX145" fmla="*/ 781198 w 844253"/>
                  <a:gd name="connsiteY145" fmla="*/ 261699 h 845486"/>
                  <a:gd name="connsiteX146" fmla="*/ 83301 w 844253"/>
                  <a:gd name="connsiteY146" fmla="*/ 222075 h 845486"/>
                  <a:gd name="connsiteX147" fmla="*/ 72443 w 844253"/>
                  <a:gd name="connsiteY147" fmla="*/ 218932 h 845486"/>
                  <a:gd name="connsiteX148" fmla="*/ 66442 w 844253"/>
                  <a:gd name="connsiteY148" fmla="*/ 191119 h 845486"/>
                  <a:gd name="connsiteX149" fmla="*/ 66823 w 844253"/>
                  <a:gd name="connsiteY149" fmla="*/ 190452 h 845486"/>
                  <a:gd name="connsiteX150" fmla="*/ 94731 w 844253"/>
                  <a:gd name="connsiteY150" fmla="*/ 184261 h 845486"/>
                  <a:gd name="connsiteX151" fmla="*/ 101018 w 844253"/>
                  <a:gd name="connsiteY151" fmla="*/ 211597 h 845486"/>
                  <a:gd name="connsiteX152" fmla="*/ 100256 w 844253"/>
                  <a:gd name="connsiteY152" fmla="*/ 212836 h 845486"/>
                  <a:gd name="connsiteX153" fmla="*/ 83301 w 844253"/>
                  <a:gd name="connsiteY153" fmla="*/ 222075 h 845486"/>
                  <a:gd name="connsiteX154" fmla="*/ 729763 w 844253"/>
                  <a:gd name="connsiteY154" fmla="*/ 183594 h 845486"/>
                  <a:gd name="connsiteX155" fmla="*/ 714142 w 844253"/>
                  <a:gd name="connsiteY155" fmla="*/ 176069 h 845486"/>
                  <a:gd name="connsiteX156" fmla="*/ 716428 w 844253"/>
                  <a:gd name="connsiteY156" fmla="*/ 147494 h 845486"/>
                  <a:gd name="connsiteX157" fmla="*/ 744146 w 844253"/>
                  <a:gd name="connsiteY157" fmla="*/ 149304 h 845486"/>
                  <a:gd name="connsiteX158" fmla="*/ 745384 w 844253"/>
                  <a:gd name="connsiteY158" fmla="*/ 150828 h 845486"/>
                  <a:gd name="connsiteX159" fmla="*/ 742336 w 844253"/>
                  <a:gd name="connsiteY159" fmla="*/ 179117 h 845486"/>
                  <a:gd name="connsiteX160" fmla="*/ 729763 w 844253"/>
                  <a:gd name="connsiteY160" fmla="*/ 183594 h 845486"/>
                  <a:gd name="connsiteX161" fmla="*/ 143595 w 844253"/>
                  <a:gd name="connsiteY161" fmla="*/ 149590 h 845486"/>
                  <a:gd name="connsiteX162" fmla="*/ 129212 w 844253"/>
                  <a:gd name="connsiteY162" fmla="*/ 143589 h 845486"/>
                  <a:gd name="connsiteX163" fmla="*/ 129403 w 844253"/>
                  <a:gd name="connsiteY163" fmla="*/ 115681 h 845486"/>
                  <a:gd name="connsiteX164" fmla="*/ 130546 w 844253"/>
                  <a:gd name="connsiteY164" fmla="*/ 114633 h 845486"/>
                  <a:gd name="connsiteX165" fmla="*/ 158930 w 844253"/>
                  <a:gd name="connsiteY165" fmla="*/ 115490 h 845486"/>
                  <a:gd name="connsiteX166" fmla="*/ 158073 w 844253"/>
                  <a:gd name="connsiteY166" fmla="*/ 143875 h 845486"/>
                  <a:gd name="connsiteX167" fmla="*/ 143595 w 844253"/>
                  <a:gd name="connsiteY167" fmla="*/ 149590 h 845486"/>
                  <a:gd name="connsiteX168" fmla="*/ 661659 w 844253"/>
                  <a:gd name="connsiteY168" fmla="*/ 119395 h 845486"/>
                  <a:gd name="connsiteX169" fmla="*/ 649753 w 844253"/>
                  <a:gd name="connsiteY169" fmla="*/ 115490 h 845486"/>
                  <a:gd name="connsiteX170" fmla="*/ 644991 w 844253"/>
                  <a:gd name="connsiteY170" fmla="*/ 87010 h 845486"/>
                  <a:gd name="connsiteX171" fmla="*/ 672613 w 844253"/>
                  <a:gd name="connsiteY171" fmla="*/ 82438 h 845486"/>
                  <a:gd name="connsiteX172" fmla="*/ 673661 w 844253"/>
                  <a:gd name="connsiteY172" fmla="*/ 83200 h 845486"/>
                  <a:gd name="connsiteX173" fmla="*/ 677852 w 844253"/>
                  <a:gd name="connsiteY173" fmla="*/ 111299 h 845486"/>
                  <a:gd name="connsiteX174" fmla="*/ 661659 w 844253"/>
                  <a:gd name="connsiteY174" fmla="*/ 119395 h 845486"/>
                  <a:gd name="connsiteX175" fmla="*/ 218938 w 844253"/>
                  <a:gd name="connsiteY175" fmla="*/ 93583 h 845486"/>
                  <a:gd name="connsiteX176" fmla="*/ 201412 w 844253"/>
                  <a:gd name="connsiteY176" fmla="*/ 83772 h 845486"/>
                  <a:gd name="connsiteX177" fmla="*/ 208079 w 844253"/>
                  <a:gd name="connsiteY177" fmla="*/ 56721 h 845486"/>
                  <a:gd name="connsiteX178" fmla="*/ 209413 w 844253"/>
                  <a:gd name="connsiteY178" fmla="*/ 55959 h 845486"/>
                  <a:gd name="connsiteX179" fmla="*/ 236845 w 844253"/>
                  <a:gd name="connsiteY179" fmla="*/ 63484 h 845486"/>
                  <a:gd name="connsiteX180" fmla="*/ 229320 w 844253"/>
                  <a:gd name="connsiteY180" fmla="*/ 90916 h 845486"/>
                  <a:gd name="connsiteX181" fmla="*/ 218938 w 844253"/>
                  <a:gd name="connsiteY181" fmla="*/ 93583 h 845486"/>
                  <a:gd name="connsiteX182" fmla="*/ 580602 w 844253"/>
                  <a:gd name="connsiteY182" fmla="*/ 72532 h 845486"/>
                  <a:gd name="connsiteX183" fmla="*/ 572791 w 844253"/>
                  <a:gd name="connsiteY183" fmla="*/ 71008 h 845486"/>
                  <a:gd name="connsiteX184" fmla="*/ 571363 w 844253"/>
                  <a:gd name="connsiteY184" fmla="*/ 70342 h 845486"/>
                  <a:gd name="connsiteX185" fmla="*/ 560980 w 844253"/>
                  <a:gd name="connsiteY185" fmla="*/ 43862 h 845486"/>
                  <a:gd name="connsiteX186" fmla="*/ 587460 w 844253"/>
                  <a:gd name="connsiteY186" fmla="*/ 33480 h 845486"/>
                  <a:gd name="connsiteX187" fmla="*/ 579459 w 844253"/>
                  <a:gd name="connsiteY187" fmla="*/ 51958 h 845486"/>
                  <a:gd name="connsiteX188" fmla="*/ 588412 w 844253"/>
                  <a:gd name="connsiteY188" fmla="*/ 33956 h 845486"/>
                  <a:gd name="connsiteX189" fmla="*/ 599175 w 844253"/>
                  <a:gd name="connsiteY189" fmla="*/ 60245 h 845486"/>
                  <a:gd name="connsiteX190" fmla="*/ 580602 w 844253"/>
                  <a:gd name="connsiteY190" fmla="*/ 72532 h 845486"/>
                  <a:gd name="connsiteX191" fmla="*/ 303996 w 844253"/>
                  <a:gd name="connsiteY191" fmla="*/ 56816 h 845486"/>
                  <a:gd name="connsiteX192" fmla="*/ 284755 w 844253"/>
                  <a:gd name="connsiteY192" fmla="*/ 42433 h 845486"/>
                  <a:gd name="connsiteX193" fmla="*/ 298281 w 844253"/>
                  <a:gd name="connsiteY193" fmla="*/ 17478 h 845486"/>
                  <a:gd name="connsiteX194" fmla="*/ 303996 w 844253"/>
                  <a:gd name="connsiteY194" fmla="*/ 36718 h 845486"/>
                  <a:gd name="connsiteX195" fmla="*/ 299424 w 844253"/>
                  <a:gd name="connsiteY195" fmla="*/ 17097 h 845486"/>
                  <a:gd name="connsiteX196" fmla="*/ 324474 w 844253"/>
                  <a:gd name="connsiteY196" fmla="*/ 30527 h 845486"/>
                  <a:gd name="connsiteX197" fmla="*/ 311044 w 844253"/>
                  <a:gd name="connsiteY197" fmla="*/ 55578 h 845486"/>
                  <a:gd name="connsiteX198" fmla="*/ 309711 w 844253"/>
                  <a:gd name="connsiteY198" fmla="*/ 55959 h 845486"/>
                  <a:gd name="connsiteX199" fmla="*/ 303996 w 844253"/>
                  <a:gd name="connsiteY199" fmla="*/ 56816 h 845486"/>
                  <a:gd name="connsiteX200" fmla="*/ 490972 w 844253"/>
                  <a:gd name="connsiteY200" fmla="*/ 45672 h 845486"/>
                  <a:gd name="connsiteX201" fmla="*/ 487733 w 844253"/>
                  <a:gd name="connsiteY201" fmla="*/ 45386 h 845486"/>
                  <a:gd name="connsiteX202" fmla="*/ 486304 w 844253"/>
                  <a:gd name="connsiteY202" fmla="*/ 45100 h 845486"/>
                  <a:gd name="connsiteX203" fmla="*/ 469826 w 844253"/>
                  <a:gd name="connsiteY203" fmla="*/ 21955 h 845486"/>
                  <a:gd name="connsiteX204" fmla="*/ 492972 w 844253"/>
                  <a:gd name="connsiteY204" fmla="*/ 5476 h 845486"/>
                  <a:gd name="connsiteX205" fmla="*/ 493638 w 844253"/>
                  <a:gd name="connsiteY205" fmla="*/ 5572 h 845486"/>
                  <a:gd name="connsiteX206" fmla="*/ 510403 w 844253"/>
                  <a:gd name="connsiteY206" fmla="*/ 28813 h 845486"/>
                  <a:gd name="connsiteX207" fmla="*/ 490972 w 844253"/>
                  <a:gd name="connsiteY207" fmla="*/ 45672 h 845486"/>
                  <a:gd name="connsiteX208" fmla="*/ 396198 w 844253"/>
                  <a:gd name="connsiteY208" fmla="*/ 40338 h 845486"/>
                  <a:gd name="connsiteX209" fmla="*/ 376100 w 844253"/>
                  <a:gd name="connsiteY209" fmla="*/ 21383 h 845486"/>
                  <a:gd name="connsiteX210" fmla="*/ 394959 w 844253"/>
                  <a:gd name="connsiteY210" fmla="*/ 142 h 845486"/>
                  <a:gd name="connsiteX211" fmla="*/ 396103 w 844253"/>
                  <a:gd name="connsiteY211" fmla="*/ 20240 h 845486"/>
                  <a:gd name="connsiteX212" fmla="*/ 396198 w 844253"/>
                  <a:gd name="connsiteY212" fmla="*/ 47 h 845486"/>
                  <a:gd name="connsiteX213" fmla="*/ 417438 w 844253"/>
                  <a:gd name="connsiteY213" fmla="*/ 18907 h 845486"/>
                  <a:gd name="connsiteX214" fmla="*/ 398579 w 844253"/>
                  <a:gd name="connsiteY214" fmla="*/ 40147 h 845486"/>
                  <a:gd name="connsiteX215" fmla="*/ 397246 w 844253"/>
                  <a:gd name="connsiteY215" fmla="*/ 40243 h 845486"/>
                  <a:gd name="connsiteX216" fmla="*/ 396198 w 844253"/>
                  <a:gd name="connsiteY216" fmla="*/ 40338 h 8454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Lst>
                <a:rect l="l" t="t" r="r" b="b"/>
                <a:pathLst>
                  <a:path w="844253" h="845486">
                    <a:moveTo>
                      <a:pt x="397817" y="845486"/>
                    </a:moveTo>
                    <a:cubicBezTo>
                      <a:pt x="397436" y="845486"/>
                      <a:pt x="397055" y="845486"/>
                      <a:pt x="396579" y="845486"/>
                    </a:cubicBezTo>
                    <a:cubicBezTo>
                      <a:pt x="396579" y="845486"/>
                      <a:pt x="395245" y="845391"/>
                      <a:pt x="395245" y="845391"/>
                    </a:cubicBezTo>
                    <a:cubicBezTo>
                      <a:pt x="384196" y="844724"/>
                      <a:pt x="375719" y="835199"/>
                      <a:pt x="376386" y="824150"/>
                    </a:cubicBezTo>
                    <a:cubicBezTo>
                      <a:pt x="377053" y="813101"/>
                      <a:pt x="386482" y="804624"/>
                      <a:pt x="397626" y="805291"/>
                    </a:cubicBezTo>
                    <a:cubicBezTo>
                      <a:pt x="408675" y="805957"/>
                      <a:pt x="417820" y="815482"/>
                      <a:pt x="417153" y="826627"/>
                    </a:cubicBezTo>
                    <a:cubicBezTo>
                      <a:pt x="416581" y="837294"/>
                      <a:pt x="408390" y="845486"/>
                      <a:pt x="397817" y="845486"/>
                    </a:cubicBezTo>
                    <a:close/>
                    <a:moveTo>
                      <a:pt x="489924" y="840247"/>
                    </a:moveTo>
                    <a:cubicBezTo>
                      <a:pt x="480399" y="840247"/>
                      <a:pt x="471922" y="833485"/>
                      <a:pt x="470207" y="823769"/>
                    </a:cubicBezTo>
                    <a:cubicBezTo>
                      <a:pt x="468207" y="812815"/>
                      <a:pt x="475446" y="802338"/>
                      <a:pt x="486399" y="800433"/>
                    </a:cubicBezTo>
                    <a:cubicBezTo>
                      <a:pt x="497353" y="798433"/>
                      <a:pt x="508402" y="805576"/>
                      <a:pt x="510403" y="816530"/>
                    </a:cubicBezTo>
                    <a:cubicBezTo>
                      <a:pt x="512403" y="827484"/>
                      <a:pt x="505735" y="837771"/>
                      <a:pt x="494877" y="839771"/>
                    </a:cubicBezTo>
                    <a:lnTo>
                      <a:pt x="493543" y="839962"/>
                    </a:lnTo>
                    <a:cubicBezTo>
                      <a:pt x="492305" y="840152"/>
                      <a:pt x="491162" y="840247"/>
                      <a:pt x="489924" y="840247"/>
                    </a:cubicBezTo>
                    <a:close/>
                    <a:moveTo>
                      <a:pt x="305615" y="829484"/>
                    </a:moveTo>
                    <a:cubicBezTo>
                      <a:pt x="303615" y="829484"/>
                      <a:pt x="301614" y="829198"/>
                      <a:pt x="299614" y="828532"/>
                    </a:cubicBezTo>
                    <a:lnTo>
                      <a:pt x="305615" y="809386"/>
                    </a:lnTo>
                    <a:lnTo>
                      <a:pt x="299043" y="828436"/>
                    </a:lnTo>
                    <a:cubicBezTo>
                      <a:pt x="288375" y="825484"/>
                      <a:pt x="282088" y="814435"/>
                      <a:pt x="285041" y="803671"/>
                    </a:cubicBezTo>
                    <a:cubicBezTo>
                      <a:pt x="287994" y="793003"/>
                      <a:pt x="298947" y="786622"/>
                      <a:pt x="309615" y="789574"/>
                    </a:cubicBezTo>
                    <a:cubicBezTo>
                      <a:pt x="309901" y="789669"/>
                      <a:pt x="311330" y="790051"/>
                      <a:pt x="311616" y="790146"/>
                    </a:cubicBezTo>
                    <a:cubicBezTo>
                      <a:pt x="322188" y="793480"/>
                      <a:pt x="328094" y="804719"/>
                      <a:pt x="324760" y="815292"/>
                    </a:cubicBezTo>
                    <a:cubicBezTo>
                      <a:pt x="322188" y="823960"/>
                      <a:pt x="314188" y="829484"/>
                      <a:pt x="305615" y="829484"/>
                    </a:cubicBezTo>
                    <a:close/>
                    <a:moveTo>
                      <a:pt x="579840" y="813577"/>
                    </a:moveTo>
                    <a:cubicBezTo>
                      <a:pt x="572220" y="813577"/>
                      <a:pt x="564886" y="809291"/>
                      <a:pt x="561456" y="801862"/>
                    </a:cubicBezTo>
                    <a:cubicBezTo>
                      <a:pt x="556884" y="791765"/>
                      <a:pt x="561075" y="779954"/>
                      <a:pt x="571077" y="775287"/>
                    </a:cubicBezTo>
                    <a:cubicBezTo>
                      <a:pt x="571363" y="775192"/>
                      <a:pt x="572791" y="774525"/>
                      <a:pt x="572982" y="774430"/>
                    </a:cubicBezTo>
                    <a:cubicBezTo>
                      <a:pt x="583269" y="770143"/>
                      <a:pt x="594984" y="775001"/>
                      <a:pt x="599271" y="785193"/>
                    </a:cubicBezTo>
                    <a:cubicBezTo>
                      <a:pt x="603557" y="795385"/>
                      <a:pt x="598795" y="807196"/>
                      <a:pt x="588507" y="811482"/>
                    </a:cubicBezTo>
                    <a:lnTo>
                      <a:pt x="580697" y="792908"/>
                    </a:lnTo>
                    <a:lnTo>
                      <a:pt x="587936" y="811672"/>
                    </a:lnTo>
                    <a:cubicBezTo>
                      <a:pt x="585459" y="813006"/>
                      <a:pt x="582602" y="813577"/>
                      <a:pt x="579840" y="813577"/>
                    </a:cubicBezTo>
                    <a:close/>
                    <a:moveTo>
                      <a:pt x="219604" y="792527"/>
                    </a:moveTo>
                    <a:cubicBezTo>
                      <a:pt x="216175" y="792527"/>
                      <a:pt x="212651" y="791670"/>
                      <a:pt x="209413" y="789765"/>
                    </a:cubicBezTo>
                    <a:lnTo>
                      <a:pt x="219604" y="772429"/>
                    </a:lnTo>
                    <a:lnTo>
                      <a:pt x="208555" y="789289"/>
                    </a:lnTo>
                    <a:cubicBezTo>
                      <a:pt x="198935" y="783859"/>
                      <a:pt x="195506" y="771572"/>
                      <a:pt x="200935" y="761857"/>
                    </a:cubicBezTo>
                    <a:cubicBezTo>
                      <a:pt x="206460" y="752236"/>
                      <a:pt x="218747" y="748807"/>
                      <a:pt x="228367" y="754237"/>
                    </a:cubicBezTo>
                    <a:cubicBezTo>
                      <a:pt x="228463" y="754237"/>
                      <a:pt x="229701" y="754999"/>
                      <a:pt x="229796" y="755094"/>
                    </a:cubicBezTo>
                    <a:cubicBezTo>
                      <a:pt x="239416" y="760714"/>
                      <a:pt x="242559" y="773001"/>
                      <a:pt x="236940" y="782621"/>
                    </a:cubicBezTo>
                    <a:cubicBezTo>
                      <a:pt x="233225" y="788908"/>
                      <a:pt x="226557" y="792527"/>
                      <a:pt x="219604" y="792527"/>
                    </a:cubicBezTo>
                    <a:close/>
                    <a:moveTo>
                      <a:pt x="660802" y="767095"/>
                    </a:moveTo>
                    <a:cubicBezTo>
                      <a:pt x="654611" y="767095"/>
                      <a:pt x="648610" y="764238"/>
                      <a:pt x="644610" y="758999"/>
                    </a:cubicBezTo>
                    <a:cubicBezTo>
                      <a:pt x="638038" y="750046"/>
                      <a:pt x="639847" y="737473"/>
                      <a:pt x="648801" y="730900"/>
                    </a:cubicBezTo>
                    <a:cubicBezTo>
                      <a:pt x="657754" y="724233"/>
                      <a:pt x="670899" y="725757"/>
                      <a:pt x="677471" y="734710"/>
                    </a:cubicBezTo>
                    <a:cubicBezTo>
                      <a:pt x="684043" y="743664"/>
                      <a:pt x="682710" y="755856"/>
                      <a:pt x="673851" y="762428"/>
                    </a:cubicBezTo>
                    <a:lnTo>
                      <a:pt x="672804" y="763190"/>
                    </a:lnTo>
                    <a:cubicBezTo>
                      <a:pt x="669184" y="765762"/>
                      <a:pt x="664993" y="767095"/>
                      <a:pt x="660802" y="767095"/>
                    </a:cubicBezTo>
                    <a:close/>
                    <a:moveTo>
                      <a:pt x="143880" y="736425"/>
                    </a:moveTo>
                    <a:cubicBezTo>
                      <a:pt x="139308" y="736425"/>
                      <a:pt x="134641" y="734806"/>
                      <a:pt x="130926" y="731281"/>
                    </a:cubicBezTo>
                    <a:cubicBezTo>
                      <a:pt x="130831" y="731281"/>
                      <a:pt x="130355" y="730710"/>
                      <a:pt x="130260" y="730710"/>
                    </a:cubicBezTo>
                    <a:cubicBezTo>
                      <a:pt x="122163" y="723185"/>
                      <a:pt x="121497" y="710231"/>
                      <a:pt x="129021" y="702135"/>
                    </a:cubicBezTo>
                    <a:cubicBezTo>
                      <a:pt x="136546" y="694039"/>
                      <a:pt x="148929" y="693277"/>
                      <a:pt x="157120" y="700801"/>
                    </a:cubicBezTo>
                    <a:cubicBezTo>
                      <a:pt x="165312" y="708326"/>
                      <a:pt x="166264" y="721471"/>
                      <a:pt x="158739" y="729662"/>
                    </a:cubicBezTo>
                    <a:cubicBezTo>
                      <a:pt x="154739" y="734139"/>
                      <a:pt x="149310" y="736425"/>
                      <a:pt x="143880" y="736425"/>
                    </a:cubicBezTo>
                    <a:close/>
                    <a:moveTo>
                      <a:pt x="729001" y="702992"/>
                    </a:moveTo>
                    <a:cubicBezTo>
                      <a:pt x="724429" y="702992"/>
                      <a:pt x="719857" y="701468"/>
                      <a:pt x="716047" y="698325"/>
                    </a:cubicBezTo>
                    <a:cubicBezTo>
                      <a:pt x="707570" y="691181"/>
                      <a:pt x="706427" y="678513"/>
                      <a:pt x="713571" y="670035"/>
                    </a:cubicBezTo>
                    <a:cubicBezTo>
                      <a:pt x="713571" y="670035"/>
                      <a:pt x="714428" y="668988"/>
                      <a:pt x="714428" y="668988"/>
                    </a:cubicBezTo>
                    <a:cubicBezTo>
                      <a:pt x="721572" y="660510"/>
                      <a:pt x="734240" y="659463"/>
                      <a:pt x="742813" y="666607"/>
                    </a:cubicBezTo>
                    <a:cubicBezTo>
                      <a:pt x="751290" y="673750"/>
                      <a:pt x="752338" y="686514"/>
                      <a:pt x="745194" y="694991"/>
                    </a:cubicBezTo>
                    <a:lnTo>
                      <a:pt x="729858" y="682037"/>
                    </a:lnTo>
                    <a:lnTo>
                      <a:pt x="744432" y="695943"/>
                    </a:lnTo>
                    <a:cubicBezTo>
                      <a:pt x="740431" y="700611"/>
                      <a:pt x="734716" y="702992"/>
                      <a:pt x="729001" y="702992"/>
                    </a:cubicBezTo>
                    <a:close/>
                    <a:moveTo>
                      <a:pt x="83492" y="664702"/>
                    </a:moveTo>
                    <a:cubicBezTo>
                      <a:pt x="77301" y="664702"/>
                      <a:pt x="71395" y="661844"/>
                      <a:pt x="67585" y="656224"/>
                    </a:cubicBezTo>
                    <a:cubicBezTo>
                      <a:pt x="67490" y="656129"/>
                      <a:pt x="67109" y="655558"/>
                      <a:pt x="67109" y="655462"/>
                    </a:cubicBezTo>
                    <a:cubicBezTo>
                      <a:pt x="61013" y="646223"/>
                      <a:pt x="63299" y="633555"/>
                      <a:pt x="72538" y="627364"/>
                    </a:cubicBezTo>
                    <a:cubicBezTo>
                      <a:pt x="81778" y="621172"/>
                      <a:pt x="93970" y="623363"/>
                      <a:pt x="100161" y="632507"/>
                    </a:cubicBezTo>
                    <a:cubicBezTo>
                      <a:pt x="106352" y="641651"/>
                      <a:pt x="104352" y="654700"/>
                      <a:pt x="95208" y="660987"/>
                    </a:cubicBezTo>
                    <a:cubicBezTo>
                      <a:pt x="91588" y="663559"/>
                      <a:pt x="87492" y="664702"/>
                      <a:pt x="83492" y="664702"/>
                    </a:cubicBezTo>
                    <a:close/>
                    <a:moveTo>
                      <a:pt x="780722" y="624982"/>
                    </a:moveTo>
                    <a:cubicBezTo>
                      <a:pt x="777674" y="624982"/>
                      <a:pt x="774626" y="624316"/>
                      <a:pt x="771768" y="622887"/>
                    </a:cubicBezTo>
                    <a:cubicBezTo>
                      <a:pt x="761863" y="617934"/>
                      <a:pt x="757862" y="605837"/>
                      <a:pt x="762815" y="595931"/>
                    </a:cubicBezTo>
                    <a:cubicBezTo>
                      <a:pt x="767768" y="586025"/>
                      <a:pt x="780246" y="581358"/>
                      <a:pt x="790056" y="586311"/>
                    </a:cubicBezTo>
                    <a:cubicBezTo>
                      <a:pt x="799963" y="591264"/>
                      <a:pt x="804344" y="602789"/>
                      <a:pt x="799391" y="612695"/>
                    </a:cubicBezTo>
                    <a:lnTo>
                      <a:pt x="798820" y="613838"/>
                    </a:lnTo>
                    <a:cubicBezTo>
                      <a:pt x="795200" y="620982"/>
                      <a:pt x="788151" y="624982"/>
                      <a:pt x="780722" y="624982"/>
                    </a:cubicBezTo>
                    <a:close/>
                    <a:moveTo>
                      <a:pt x="41391" y="580977"/>
                    </a:moveTo>
                    <a:cubicBezTo>
                      <a:pt x="33486" y="580977"/>
                      <a:pt x="26151" y="576405"/>
                      <a:pt x="23199" y="568499"/>
                    </a:cubicBezTo>
                    <a:cubicBezTo>
                      <a:pt x="23199" y="568404"/>
                      <a:pt x="22627" y="567070"/>
                      <a:pt x="22627" y="566975"/>
                    </a:cubicBezTo>
                    <a:cubicBezTo>
                      <a:pt x="18913" y="556498"/>
                      <a:pt x="24437" y="544972"/>
                      <a:pt x="34819" y="541258"/>
                    </a:cubicBezTo>
                    <a:cubicBezTo>
                      <a:pt x="45392" y="537543"/>
                      <a:pt x="56822" y="543067"/>
                      <a:pt x="60537" y="553450"/>
                    </a:cubicBezTo>
                    <a:cubicBezTo>
                      <a:pt x="64251" y="563832"/>
                      <a:pt x="59108" y="575929"/>
                      <a:pt x="48726" y="579643"/>
                    </a:cubicBezTo>
                    <a:cubicBezTo>
                      <a:pt x="46249" y="580596"/>
                      <a:pt x="43773" y="580977"/>
                      <a:pt x="41391" y="580977"/>
                    </a:cubicBezTo>
                    <a:close/>
                    <a:moveTo>
                      <a:pt x="813107" y="537162"/>
                    </a:moveTo>
                    <a:cubicBezTo>
                      <a:pt x="811678" y="537162"/>
                      <a:pt x="810249" y="536971"/>
                      <a:pt x="808821" y="536685"/>
                    </a:cubicBezTo>
                    <a:cubicBezTo>
                      <a:pt x="797962" y="534304"/>
                      <a:pt x="791104" y="523541"/>
                      <a:pt x="793486" y="512778"/>
                    </a:cubicBezTo>
                    <a:cubicBezTo>
                      <a:pt x="793486" y="512587"/>
                      <a:pt x="793866" y="511159"/>
                      <a:pt x="793866" y="511063"/>
                    </a:cubicBezTo>
                    <a:cubicBezTo>
                      <a:pt x="796533" y="500300"/>
                      <a:pt x="807297" y="493728"/>
                      <a:pt x="818155" y="496300"/>
                    </a:cubicBezTo>
                    <a:cubicBezTo>
                      <a:pt x="828918" y="498871"/>
                      <a:pt x="835586" y="509825"/>
                      <a:pt x="832919" y="520588"/>
                    </a:cubicBezTo>
                    <a:lnTo>
                      <a:pt x="813393" y="515826"/>
                    </a:lnTo>
                    <a:lnTo>
                      <a:pt x="832729" y="521446"/>
                    </a:lnTo>
                    <a:cubicBezTo>
                      <a:pt x="830633" y="530780"/>
                      <a:pt x="822346" y="537162"/>
                      <a:pt x="813107" y="537162"/>
                    </a:cubicBezTo>
                    <a:close/>
                    <a:moveTo>
                      <a:pt x="20055" y="489918"/>
                    </a:moveTo>
                    <a:cubicBezTo>
                      <a:pt x="10149" y="489918"/>
                      <a:pt x="1577" y="482965"/>
                      <a:pt x="339" y="472868"/>
                    </a:cubicBezTo>
                    <a:cubicBezTo>
                      <a:pt x="339" y="472868"/>
                      <a:pt x="148" y="471535"/>
                      <a:pt x="148" y="471439"/>
                    </a:cubicBezTo>
                    <a:cubicBezTo>
                      <a:pt x="-1185" y="460390"/>
                      <a:pt x="6721" y="450389"/>
                      <a:pt x="17770" y="449151"/>
                    </a:cubicBezTo>
                    <a:cubicBezTo>
                      <a:pt x="28628" y="447722"/>
                      <a:pt x="38820" y="455723"/>
                      <a:pt x="40058" y="466772"/>
                    </a:cubicBezTo>
                    <a:cubicBezTo>
                      <a:pt x="41391" y="477821"/>
                      <a:pt x="33581" y="488394"/>
                      <a:pt x="22532" y="489727"/>
                    </a:cubicBezTo>
                    <a:cubicBezTo>
                      <a:pt x="21770" y="489823"/>
                      <a:pt x="20913" y="489918"/>
                      <a:pt x="20055" y="489918"/>
                    </a:cubicBezTo>
                    <a:close/>
                    <a:moveTo>
                      <a:pt x="824156" y="444198"/>
                    </a:moveTo>
                    <a:cubicBezTo>
                      <a:pt x="813012" y="444198"/>
                      <a:pt x="804058" y="435149"/>
                      <a:pt x="804058" y="424100"/>
                    </a:cubicBezTo>
                    <a:cubicBezTo>
                      <a:pt x="804058" y="423814"/>
                      <a:pt x="804058" y="423529"/>
                      <a:pt x="804058" y="423243"/>
                    </a:cubicBezTo>
                    <a:cubicBezTo>
                      <a:pt x="804058" y="422957"/>
                      <a:pt x="804058" y="422671"/>
                      <a:pt x="804058" y="422385"/>
                    </a:cubicBezTo>
                    <a:cubicBezTo>
                      <a:pt x="804058" y="411241"/>
                      <a:pt x="813107" y="401621"/>
                      <a:pt x="824156" y="401621"/>
                    </a:cubicBezTo>
                    <a:cubicBezTo>
                      <a:pt x="835205" y="401621"/>
                      <a:pt x="844254" y="410003"/>
                      <a:pt x="844254" y="421052"/>
                    </a:cubicBezTo>
                    <a:lnTo>
                      <a:pt x="844254" y="422385"/>
                    </a:lnTo>
                    <a:cubicBezTo>
                      <a:pt x="844254" y="422481"/>
                      <a:pt x="844254" y="422481"/>
                      <a:pt x="844254" y="422576"/>
                    </a:cubicBezTo>
                    <a:cubicBezTo>
                      <a:pt x="844254" y="422671"/>
                      <a:pt x="844254" y="422671"/>
                      <a:pt x="844254" y="422767"/>
                    </a:cubicBezTo>
                    <a:lnTo>
                      <a:pt x="844254" y="424100"/>
                    </a:lnTo>
                    <a:cubicBezTo>
                      <a:pt x="844254" y="435244"/>
                      <a:pt x="835205" y="444198"/>
                      <a:pt x="824156" y="444198"/>
                    </a:cubicBezTo>
                    <a:close/>
                    <a:moveTo>
                      <a:pt x="20151" y="396954"/>
                    </a:moveTo>
                    <a:cubicBezTo>
                      <a:pt x="19389" y="396954"/>
                      <a:pt x="18531" y="396859"/>
                      <a:pt x="17674" y="396859"/>
                    </a:cubicBezTo>
                    <a:cubicBezTo>
                      <a:pt x="6625" y="395525"/>
                      <a:pt x="-1185" y="385524"/>
                      <a:pt x="148" y="374475"/>
                    </a:cubicBezTo>
                    <a:lnTo>
                      <a:pt x="20151" y="376856"/>
                    </a:lnTo>
                    <a:lnTo>
                      <a:pt x="243" y="373808"/>
                    </a:lnTo>
                    <a:cubicBezTo>
                      <a:pt x="1196" y="362759"/>
                      <a:pt x="11197" y="354568"/>
                      <a:pt x="22056" y="355520"/>
                    </a:cubicBezTo>
                    <a:cubicBezTo>
                      <a:pt x="33105" y="356473"/>
                      <a:pt x="41296" y="366283"/>
                      <a:pt x="40344" y="377332"/>
                    </a:cubicBezTo>
                    <a:cubicBezTo>
                      <a:pt x="40344" y="377523"/>
                      <a:pt x="40153" y="379047"/>
                      <a:pt x="40153" y="379333"/>
                    </a:cubicBezTo>
                    <a:cubicBezTo>
                      <a:pt x="38820" y="389429"/>
                      <a:pt x="30152" y="396954"/>
                      <a:pt x="20151" y="396954"/>
                    </a:cubicBezTo>
                    <a:close/>
                    <a:moveTo>
                      <a:pt x="813297" y="349615"/>
                    </a:moveTo>
                    <a:cubicBezTo>
                      <a:pt x="804249" y="349615"/>
                      <a:pt x="796057" y="343519"/>
                      <a:pt x="793771" y="334375"/>
                    </a:cubicBezTo>
                    <a:cubicBezTo>
                      <a:pt x="793771" y="334279"/>
                      <a:pt x="793390" y="332946"/>
                      <a:pt x="793390" y="332946"/>
                    </a:cubicBezTo>
                    <a:cubicBezTo>
                      <a:pt x="790818" y="322183"/>
                      <a:pt x="797391" y="311324"/>
                      <a:pt x="808154" y="308657"/>
                    </a:cubicBezTo>
                    <a:cubicBezTo>
                      <a:pt x="819013" y="306085"/>
                      <a:pt x="829776" y="312658"/>
                      <a:pt x="832443" y="323421"/>
                    </a:cubicBezTo>
                    <a:lnTo>
                      <a:pt x="812916" y="328183"/>
                    </a:lnTo>
                    <a:lnTo>
                      <a:pt x="832729" y="324564"/>
                    </a:lnTo>
                    <a:cubicBezTo>
                      <a:pt x="835396" y="335327"/>
                      <a:pt x="828918" y="346281"/>
                      <a:pt x="818060" y="348948"/>
                    </a:cubicBezTo>
                    <a:cubicBezTo>
                      <a:pt x="816536" y="349424"/>
                      <a:pt x="814917" y="349615"/>
                      <a:pt x="813297" y="349615"/>
                    </a:cubicBezTo>
                    <a:close/>
                    <a:moveTo>
                      <a:pt x="41296" y="305133"/>
                    </a:moveTo>
                    <a:cubicBezTo>
                      <a:pt x="39201" y="305133"/>
                      <a:pt x="37105" y="304752"/>
                      <a:pt x="35010" y="304085"/>
                    </a:cubicBezTo>
                    <a:cubicBezTo>
                      <a:pt x="24532" y="300466"/>
                      <a:pt x="18817" y="289607"/>
                      <a:pt x="22341" y="279225"/>
                    </a:cubicBezTo>
                    <a:cubicBezTo>
                      <a:pt x="22341" y="279130"/>
                      <a:pt x="22722" y="278272"/>
                      <a:pt x="22722" y="278177"/>
                    </a:cubicBezTo>
                    <a:cubicBezTo>
                      <a:pt x="26532" y="267795"/>
                      <a:pt x="38058" y="262080"/>
                      <a:pt x="48535" y="265890"/>
                    </a:cubicBezTo>
                    <a:cubicBezTo>
                      <a:pt x="59013" y="269605"/>
                      <a:pt x="64537" y="280844"/>
                      <a:pt x="60822" y="291322"/>
                    </a:cubicBezTo>
                    <a:cubicBezTo>
                      <a:pt x="57870" y="299513"/>
                      <a:pt x="49773" y="305133"/>
                      <a:pt x="41296" y="305133"/>
                    </a:cubicBezTo>
                    <a:close/>
                    <a:moveTo>
                      <a:pt x="781198" y="261699"/>
                    </a:moveTo>
                    <a:cubicBezTo>
                      <a:pt x="774055" y="261699"/>
                      <a:pt x="767197" y="257889"/>
                      <a:pt x="763482" y="251221"/>
                    </a:cubicBezTo>
                    <a:cubicBezTo>
                      <a:pt x="763387" y="251031"/>
                      <a:pt x="762624" y="249697"/>
                      <a:pt x="762529" y="249412"/>
                    </a:cubicBezTo>
                    <a:cubicBezTo>
                      <a:pt x="757576" y="239506"/>
                      <a:pt x="761577" y="227409"/>
                      <a:pt x="771483" y="222456"/>
                    </a:cubicBezTo>
                    <a:cubicBezTo>
                      <a:pt x="781484" y="217503"/>
                      <a:pt x="793486" y="221503"/>
                      <a:pt x="798439" y="231409"/>
                    </a:cubicBezTo>
                    <a:lnTo>
                      <a:pt x="780436" y="240363"/>
                    </a:lnTo>
                    <a:lnTo>
                      <a:pt x="798724" y="231981"/>
                    </a:lnTo>
                    <a:cubicBezTo>
                      <a:pt x="804058" y="241696"/>
                      <a:pt x="800343" y="253984"/>
                      <a:pt x="790628" y="259222"/>
                    </a:cubicBezTo>
                    <a:cubicBezTo>
                      <a:pt x="787771" y="260937"/>
                      <a:pt x="784437" y="261699"/>
                      <a:pt x="781198" y="261699"/>
                    </a:cubicBezTo>
                    <a:close/>
                    <a:moveTo>
                      <a:pt x="83301" y="222075"/>
                    </a:moveTo>
                    <a:cubicBezTo>
                      <a:pt x="79587" y="222075"/>
                      <a:pt x="75777" y="221027"/>
                      <a:pt x="72443" y="218932"/>
                    </a:cubicBezTo>
                    <a:cubicBezTo>
                      <a:pt x="63108" y="212931"/>
                      <a:pt x="60441" y="200453"/>
                      <a:pt x="66442" y="191119"/>
                    </a:cubicBezTo>
                    <a:cubicBezTo>
                      <a:pt x="66442" y="191023"/>
                      <a:pt x="66823" y="190547"/>
                      <a:pt x="66823" y="190452"/>
                    </a:cubicBezTo>
                    <a:cubicBezTo>
                      <a:pt x="72919" y="181213"/>
                      <a:pt x="85492" y="178355"/>
                      <a:pt x="94731" y="184261"/>
                    </a:cubicBezTo>
                    <a:cubicBezTo>
                      <a:pt x="103971" y="190261"/>
                      <a:pt x="106923" y="202263"/>
                      <a:pt x="101018" y="211597"/>
                    </a:cubicBezTo>
                    <a:cubicBezTo>
                      <a:pt x="101018" y="211597"/>
                      <a:pt x="100256" y="212836"/>
                      <a:pt x="100256" y="212836"/>
                    </a:cubicBezTo>
                    <a:cubicBezTo>
                      <a:pt x="96446" y="218836"/>
                      <a:pt x="89969" y="222075"/>
                      <a:pt x="83301" y="222075"/>
                    </a:cubicBezTo>
                    <a:close/>
                    <a:moveTo>
                      <a:pt x="729763" y="183594"/>
                    </a:moveTo>
                    <a:cubicBezTo>
                      <a:pt x="723858" y="183594"/>
                      <a:pt x="718047" y="181022"/>
                      <a:pt x="714142" y="176069"/>
                    </a:cubicBezTo>
                    <a:cubicBezTo>
                      <a:pt x="707284" y="167497"/>
                      <a:pt x="708046" y="154543"/>
                      <a:pt x="716428" y="147494"/>
                    </a:cubicBezTo>
                    <a:cubicBezTo>
                      <a:pt x="724906" y="140446"/>
                      <a:pt x="736907" y="141017"/>
                      <a:pt x="744146" y="149304"/>
                    </a:cubicBezTo>
                    <a:cubicBezTo>
                      <a:pt x="744337" y="149494"/>
                      <a:pt x="745289" y="150637"/>
                      <a:pt x="745384" y="150828"/>
                    </a:cubicBezTo>
                    <a:cubicBezTo>
                      <a:pt x="752338" y="159496"/>
                      <a:pt x="751004" y="172164"/>
                      <a:pt x="742336" y="179117"/>
                    </a:cubicBezTo>
                    <a:cubicBezTo>
                      <a:pt x="738622" y="182165"/>
                      <a:pt x="734145" y="183594"/>
                      <a:pt x="729763" y="183594"/>
                    </a:cubicBezTo>
                    <a:close/>
                    <a:moveTo>
                      <a:pt x="143595" y="149590"/>
                    </a:moveTo>
                    <a:cubicBezTo>
                      <a:pt x="138356" y="149590"/>
                      <a:pt x="133022" y="147589"/>
                      <a:pt x="129212" y="143589"/>
                    </a:cubicBezTo>
                    <a:cubicBezTo>
                      <a:pt x="121592" y="135588"/>
                      <a:pt x="121401" y="123301"/>
                      <a:pt x="129403" y="115681"/>
                    </a:cubicBezTo>
                    <a:cubicBezTo>
                      <a:pt x="129498" y="115681"/>
                      <a:pt x="130450" y="114728"/>
                      <a:pt x="130546" y="114633"/>
                    </a:cubicBezTo>
                    <a:cubicBezTo>
                      <a:pt x="138642" y="107013"/>
                      <a:pt x="151405" y="107394"/>
                      <a:pt x="158930" y="115490"/>
                    </a:cubicBezTo>
                    <a:cubicBezTo>
                      <a:pt x="166550" y="123586"/>
                      <a:pt x="166169" y="136350"/>
                      <a:pt x="158073" y="143875"/>
                    </a:cubicBezTo>
                    <a:cubicBezTo>
                      <a:pt x="154072" y="147685"/>
                      <a:pt x="148833" y="149590"/>
                      <a:pt x="143595" y="149590"/>
                    </a:cubicBezTo>
                    <a:close/>
                    <a:moveTo>
                      <a:pt x="661659" y="119395"/>
                    </a:moveTo>
                    <a:cubicBezTo>
                      <a:pt x="657468" y="119395"/>
                      <a:pt x="653278" y="118157"/>
                      <a:pt x="649753" y="115490"/>
                    </a:cubicBezTo>
                    <a:cubicBezTo>
                      <a:pt x="640800" y="108918"/>
                      <a:pt x="638418" y="95869"/>
                      <a:pt x="644991" y="87010"/>
                    </a:cubicBezTo>
                    <a:cubicBezTo>
                      <a:pt x="651658" y="78057"/>
                      <a:pt x="663660" y="75771"/>
                      <a:pt x="672613" y="82438"/>
                    </a:cubicBezTo>
                    <a:lnTo>
                      <a:pt x="673661" y="83200"/>
                    </a:lnTo>
                    <a:cubicBezTo>
                      <a:pt x="682614" y="89773"/>
                      <a:pt x="684424" y="102441"/>
                      <a:pt x="677852" y="111299"/>
                    </a:cubicBezTo>
                    <a:cubicBezTo>
                      <a:pt x="673851" y="116538"/>
                      <a:pt x="667756" y="119395"/>
                      <a:pt x="661659" y="119395"/>
                    </a:cubicBezTo>
                    <a:close/>
                    <a:moveTo>
                      <a:pt x="218938" y="93583"/>
                    </a:moveTo>
                    <a:cubicBezTo>
                      <a:pt x="211889" y="93583"/>
                      <a:pt x="205031" y="90154"/>
                      <a:pt x="201412" y="83772"/>
                    </a:cubicBezTo>
                    <a:cubicBezTo>
                      <a:pt x="195887" y="74152"/>
                      <a:pt x="198554" y="62341"/>
                      <a:pt x="208079" y="56721"/>
                    </a:cubicBezTo>
                    <a:cubicBezTo>
                      <a:pt x="208174" y="56721"/>
                      <a:pt x="209413" y="55959"/>
                      <a:pt x="209413" y="55959"/>
                    </a:cubicBezTo>
                    <a:cubicBezTo>
                      <a:pt x="219033" y="50434"/>
                      <a:pt x="231320" y="53863"/>
                      <a:pt x="236845" y="63484"/>
                    </a:cubicBezTo>
                    <a:cubicBezTo>
                      <a:pt x="242369" y="73104"/>
                      <a:pt x="238940" y="85391"/>
                      <a:pt x="229320" y="90916"/>
                    </a:cubicBezTo>
                    <a:cubicBezTo>
                      <a:pt x="226081" y="92725"/>
                      <a:pt x="222557" y="93583"/>
                      <a:pt x="218938" y="93583"/>
                    </a:cubicBezTo>
                    <a:close/>
                    <a:moveTo>
                      <a:pt x="580602" y="72532"/>
                    </a:moveTo>
                    <a:cubicBezTo>
                      <a:pt x="578030" y="72532"/>
                      <a:pt x="575363" y="72056"/>
                      <a:pt x="572791" y="71008"/>
                    </a:cubicBezTo>
                    <a:cubicBezTo>
                      <a:pt x="572696" y="71008"/>
                      <a:pt x="571363" y="70437"/>
                      <a:pt x="571363" y="70342"/>
                    </a:cubicBezTo>
                    <a:cubicBezTo>
                      <a:pt x="561171" y="65865"/>
                      <a:pt x="556504" y="54054"/>
                      <a:pt x="560980" y="43862"/>
                    </a:cubicBezTo>
                    <a:cubicBezTo>
                      <a:pt x="565362" y="33670"/>
                      <a:pt x="577268" y="29098"/>
                      <a:pt x="587460" y="33480"/>
                    </a:cubicBezTo>
                    <a:lnTo>
                      <a:pt x="579459" y="51958"/>
                    </a:lnTo>
                    <a:lnTo>
                      <a:pt x="588412" y="33956"/>
                    </a:lnTo>
                    <a:cubicBezTo>
                      <a:pt x="598604" y="38242"/>
                      <a:pt x="603462" y="50053"/>
                      <a:pt x="599175" y="60245"/>
                    </a:cubicBezTo>
                    <a:cubicBezTo>
                      <a:pt x="595937" y="67865"/>
                      <a:pt x="588507" y="72532"/>
                      <a:pt x="580602" y="72532"/>
                    </a:cubicBezTo>
                    <a:close/>
                    <a:moveTo>
                      <a:pt x="303996" y="56816"/>
                    </a:moveTo>
                    <a:cubicBezTo>
                      <a:pt x="295328" y="56816"/>
                      <a:pt x="287327" y="51196"/>
                      <a:pt x="284755" y="42433"/>
                    </a:cubicBezTo>
                    <a:cubicBezTo>
                      <a:pt x="281612" y="31765"/>
                      <a:pt x="287708" y="20621"/>
                      <a:pt x="298281" y="17478"/>
                    </a:cubicBezTo>
                    <a:lnTo>
                      <a:pt x="303996" y="36718"/>
                    </a:lnTo>
                    <a:lnTo>
                      <a:pt x="299424" y="17097"/>
                    </a:lnTo>
                    <a:cubicBezTo>
                      <a:pt x="309997" y="13858"/>
                      <a:pt x="321236" y="19859"/>
                      <a:pt x="324474" y="30527"/>
                    </a:cubicBezTo>
                    <a:cubicBezTo>
                      <a:pt x="327713" y="41195"/>
                      <a:pt x="321712" y="52339"/>
                      <a:pt x="311044" y="55578"/>
                    </a:cubicBezTo>
                    <a:cubicBezTo>
                      <a:pt x="311044" y="55578"/>
                      <a:pt x="309711" y="55959"/>
                      <a:pt x="309711" y="55959"/>
                    </a:cubicBezTo>
                    <a:cubicBezTo>
                      <a:pt x="307901" y="56530"/>
                      <a:pt x="305901" y="56816"/>
                      <a:pt x="303996" y="56816"/>
                    </a:cubicBezTo>
                    <a:close/>
                    <a:moveTo>
                      <a:pt x="490972" y="45672"/>
                    </a:moveTo>
                    <a:cubicBezTo>
                      <a:pt x="489924" y="45672"/>
                      <a:pt x="488876" y="45577"/>
                      <a:pt x="487733" y="45386"/>
                    </a:cubicBezTo>
                    <a:cubicBezTo>
                      <a:pt x="487733" y="45386"/>
                      <a:pt x="486399" y="45196"/>
                      <a:pt x="486304" y="45100"/>
                    </a:cubicBezTo>
                    <a:cubicBezTo>
                      <a:pt x="475350" y="43291"/>
                      <a:pt x="467921" y="32908"/>
                      <a:pt x="469826" y="21955"/>
                    </a:cubicBezTo>
                    <a:cubicBezTo>
                      <a:pt x="471636" y="11001"/>
                      <a:pt x="482018" y="3571"/>
                      <a:pt x="492972" y="5476"/>
                    </a:cubicBezTo>
                    <a:cubicBezTo>
                      <a:pt x="492972" y="5476"/>
                      <a:pt x="493638" y="5572"/>
                      <a:pt x="493638" y="5572"/>
                    </a:cubicBezTo>
                    <a:cubicBezTo>
                      <a:pt x="504497" y="7477"/>
                      <a:pt x="512212" y="17859"/>
                      <a:pt x="510403" y="28813"/>
                    </a:cubicBezTo>
                    <a:cubicBezTo>
                      <a:pt x="508783" y="38623"/>
                      <a:pt x="500497" y="45672"/>
                      <a:pt x="490972" y="45672"/>
                    </a:cubicBezTo>
                    <a:close/>
                    <a:moveTo>
                      <a:pt x="396198" y="40338"/>
                    </a:moveTo>
                    <a:cubicBezTo>
                      <a:pt x="385625" y="40338"/>
                      <a:pt x="376767" y="32146"/>
                      <a:pt x="376100" y="21383"/>
                    </a:cubicBezTo>
                    <a:cubicBezTo>
                      <a:pt x="375433" y="10334"/>
                      <a:pt x="383911" y="809"/>
                      <a:pt x="394959" y="142"/>
                    </a:cubicBezTo>
                    <a:lnTo>
                      <a:pt x="396103" y="20240"/>
                    </a:lnTo>
                    <a:lnTo>
                      <a:pt x="396198" y="47"/>
                    </a:lnTo>
                    <a:cubicBezTo>
                      <a:pt x="407532" y="-715"/>
                      <a:pt x="416772" y="7858"/>
                      <a:pt x="417438" y="18907"/>
                    </a:cubicBezTo>
                    <a:cubicBezTo>
                      <a:pt x="418105" y="29956"/>
                      <a:pt x="409628" y="39481"/>
                      <a:pt x="398579" y="40147"/>
                    </a:cubicBezTo>
                    <a:cubicBezTo>
                      <a:pt x="398579" y="40147"/>
                      <a:pt x="397246" y="40243"/>
                      <a:pt x="397246" y="40243"/>
                    </a:cubicBezTo>
                    <a:cubicBezTo>
                      <a:pt x="396960" y="40338"/>
                      <a:pt x="396579" y="40338"/>
                      <a:pt x="396198" y="40338"/>
                    </a:cubicBezTo>
                    <a:close/>
                  </a:path>
                </a:pathLst>
              </a:custGeom>
              <a:solidFill>
                <a:schemeClr val="accent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8" name="Freeform: Shape 10">
                <a:extLst>
                  <a:ext uri="{FF2B5EF4-FFF2-40B4-BE49-F238E27FC236}">
                    <a16:creationId xmlns:a16="http://schemas.microsoft.com/office/drawing/2014/main" id="{6B5701F8-C0AD-4ECE-B022-8B82E8C39110}"/>
                  </a:ext>
                </a:extLst>
              </p:cNvPr>
              <p:cNvSpPr/>
              <p:nvPr/>
            </p:nvSpPr>
            <p:spPr>
              <a:xfrm>
                <a:off x="5666695" y="2501478"/>
                <a:ext cx="604193" cy="605088"/>
              </a:xfrm>
              <a:custGeom>
                <a:avLst/>
                <a:gdLst>
                  <a:gd name="connsiteX0" fmla="*/ 397798 w 844139"/>
                  <a:gd name="connsiteY0" fmla="*/ 845391 h 845390"/>
                  <a:gd name="connsiteX1" fmla="*/ 396560 w 844139"/>
                  <a:gd name="connsiteY1" fmla="*/ 845391 h 845390"/>
                  <a:gd name="connsiteX2" fmla="*/ 397703 w 844139"/>
                  <a:gd name="connsiteY2" fmla="*/ 825293 h 845390"/>
                  <a:gd name="connsiteX3" fmla="*/ 395512 w 844139"/>
                  <a:gd name="connsiteY3" fmla="*/ 845296 h 845390"/>
                  <a:gd name="connsiteX4" fmla="*/ 376367 w 844139"/>
                  <a:gd name="connsiteY4" fmla="*/ 824341 h 845390"/>
                  <a:gd name="connsiteX5" fmla="*/ 397322 w 844139"/>
                  <a:gd name="connsiteY5" fmla="*/ 805195 h 845390"/>
                  <a:gd name="connsiteX6" fmla="*/ 398941 w 844139"/>
                  <a:gd name="connsiteY6" fmla="*/ 805291 h 845390"/>
                  <a:gd name="connsiteX7" fmla="*/ 417800 w 844139"/>
                  <a:gd name="connsiteY7" fmla="*/ 826531 h 845390"/>
                  <a:gd name="connsiteX8" fmla="*/ 397798 w 844139"/>
                  <a:gd name="connsiteY8" fmla="*/ 845391 h 845390"/>
                  <a:gd name="connsiteX9" fmla="*/ 489905 w 844139"/>
                  <a:gd name="connsiteY9" fmla="*/ 840152 h 845390"/>
                  <a:gd name="connsiteX10" fmla="*/ 470093 w 844139"/>
                  <a:gd name="connsiteY10" fmla="*/ 823388 h 845390"/>
                  <a:gd name="connsiteX11" fmla="*/ 486571 w 844139"/>
                  <a:gd name="connsiteY11" fmla="*/ 800242 h 845390"/>
                  <a:gd name="connsiteX12" fmla="*/ 510383 w 844139"/>
                  <a:gd name="connsiteY12" fmla="*/ 816530 h 845390"/>
                  <a:gd name="connsiteX13" fmla="*/ 494857 w 844139"/>
                  <a:gd name="connsiteY13" fmla="*/ 839676 h 845390"/>
                  <a:gd name="connsiteX14" fmla="*/ 493238 w 844139"/>
                  <a:gd name="connsiteY14" fmla="*/ 839962 h 845390"/>
                  <a:gd name="connsiteX15" fmla="*/ 489905 w 844139"/>
                  <a:gd name="connsiteY15" fmla="*/ 840152 h 845390"/>
                  <a:gd name="connsiteX16" fmla="*/ 305405 w 844139"/>
                  <a:gd name="connsiteY16" fmla="*/ 829389 h 845390"/>
                  <a:gd name="connsiteX17" fmla="*/ 299881 w 844139"/>
                  <a:gd name="connsiteY17" fmla="*/ 828532 h 845390"/>
                  <a:gd name="connsiteX18" fmla="*/ 298547 w 844139"/>
                  <a:gd name="connsiteY18" fmla="*/ 828151 h 845390"/>
                  <a:gd name="connsiteX19" fmla="*/ 285117 w 844139"/>
                  <a:gd name="connsiteY19" fmla="*/ 803100 h 845390"/>
                  <a:gd name="connsiteX20" fmla="*/ 310168 w 844139"/>
                  <a:gd name="connsiteY20" fmla="*/ 789670 h 845390"/>
                  <a:gd name="connsiteX21" fmla="*/ 324265 w 844139"/>
                  <a:gd name="connsiteY21" fmla="*/ 814911 h 845390"/>
                  <a:gd name="connsiteX22" fmla="*/ 305405 w 844139"/>
                  <a:gd name="connsiteY22" fmla="*/ 829389 h 845390"/>
                  <a:gd name="connsiteX23" fmla="*/ 579630 w 844139"/>
                  <a:gd name="connsiteY23" fmla="*/ 813577 h 845390"/>
                  <a:gd name="connsiteX24" fmla="*/ 561152 w 844139"/>
                  <a:gd name="connsiteY24" fmla="*/ 801481 h 845390"/>
                  <a:gd name="connsiteX25" fmla="*/ 571629 w 844139"/>
                  <a:gd name="connsiteY25" fmla="*/ 775001 h 845390"/>
                  <a:gd name="connsiteX26" fmla="*/ 598680 w 844139"/>
                  <a:gd name="connsiteY26" fmla="*/ 785193 h 845390"/>
                  <a:gd name="connsiteX27" fmla="*/ 588869 w 844139"/>
                  <a:gd name="connsiteY27" fmla="*/ 811387 h 845390"/>
                  <a:gd name="connsiteX28" fmla="*/ 587631 w 844139"/>
                  <a:gd name="connsiteY28" fmla="*/ 811958 h 845390"/>
                  <a:gd name="connsiteX29" fmla="*/ 579630 w 844139"/>
                  <a:gd name="connsiteY29" fmla="*/ 813577 h 845390"/>
                  <a:gd name="connsiteX30" fmla="*/ 219585 w 844139"/>
                  <a:gd name="connsiteY30" fmla="*/ 792337 h 845390"/>
                  <a:gd name="connsiteX31" fmla="*/ 209393 w 844139"/>
                  <a:gd name="connsiteY31" fmla="*/ 789574 h 845390"/>
                  <a:gd name="connsiteX32" fmla="*/ 219585 w 844139"/>
                  <a:gd name="connsiteY32" fmla="*/ 772239 h 845390"/>
                  <a:gd name="connsiteX33" fmla="*/ 208727 w 844139"/>
                  <a:gd name="connsiteY33" fmla="*/ 789193 h 845390"/>
                  <a:gd name="connsiteX34" fmla="*/ 200821 w 844139"/>
                  <a:gd name="connsiteY34" fmla="*/ 761857 h 845390"/>
                  <a:gd name="connsiteX35" fmla="*/ 228157 w 844139"/>
                  <a:gd name="connsiteY35" fmla="*/ 753951 h 845390"/>
                  <a:gd name="connsiteX36" fmla="*/ 229777 w 844139"/>
                  <a:gd name="connsiteY36" fmla="*/ 754903 h 845390"/>
                  <a:gd name="connsiteX37" fmla="*/ 236921 w 844139"/>
                  <a:gd name="connsiteY37" fmla="*/ 782431 h 845390"/>
                  <a:gd name="connsiteX38" fmla="*/ 219585 w 844139"/>
                  <a:gd name="connsiteY38" fmla="*/ 792337 h 845390"/>
                  <a:gd name="connsiteX39" fmla="*/ 660688 w 844139"/>
                  <a:gd name="connsiteY39" fmla="*/ 766905 h 845390"/>
                  <a:gd name="connsiteX40" fmla="*/ 644686 w 844139"/>
                  <a:gd name="connsiteY40" fmla="*/ 758999 h 845390"/>
                  <a:gd name="connsiteX41" fmla="*/ 648496 w 844139"/>
                  <a:gd name="connsiteY41" fmla="*/ 730805 h 845390"/>
                  <a:gd name="connsiteX42" fmla="*/ 649734 w 844139"/>
                  <a:gd name="connsiteY42" fmla="*/ 729853 h 845390"/>
                  <a:gd name="connsiteX43" fmla="*/ 677833 w 844139"/>
                  <a:gd name="connsiteY43" fmla="*/ 734044 h 845390"/>
                  <a:gd name="connsiteX44" fmla="*/ 673642 w 844139"/>
                  <a:gd name="connsiteY44" fmla="*/ 762142 h 845390"/>
                  <a:gd name="connsiteX45" fmla="*/ 661640 w 844139"/>
                  <a:gd name="connsiteY45" fmla="*/ 745950 h 845390"/>
                  <a:gd name="connsiteX46" fmla="*/ 672785 w 844139"/>
                  <a:gd name="connsiteY46" fmla="*/ 762714 h 845390"/>
                  <a:gd name="connsiteX47" fmla="*/ 660688 w 844139"/>
                  <a:gd name="connsiteY47" fmla="*/ 766905 h 845390"/>
                  <a:gd name="connsiteX48" fmla="*/ 143766 w 844139"/>
                  <a:gd name="connsiteY48" fmla="*/ 736330 h 845390"/>
                  <a:gd name="connsiteX49" fmla="*/ 130812 w 844139"/>
                  <a:gd name="connsiteY49" fmla="*/ 731186 h 845390"/>
                  <a:gd name="connsiteX50" fmla="*/ 130145 w 844139"/>
                  <a:gd name="connsiteY50" fmla="*/ 730615 h 845390"/>
                  <a:gd name="connsiteX51" fmla="*/ 128907 w 844139"/>
                  <a:gd name="connsiteY51" fmla="*/ 702040 h 845390"/>
                  <a:gd name="connsiteX52" fmla="*/ 157006 w 844139"/>
                  <a:gd name="connsiteY52" fmla="*/ 700706 h 845390"/>
                  <a:gd name="connsiteX53" fmla="*/ 158625 w 844139"/>
                  <a:gd name="connsiteY53" fmla="*/ 729567 h 845390"/>
                  <a:gd name="connsiteX54" fmla="*/ 143766 w 844139"/>
                  <a:gd name="connsiteY54" fmla="*/ 736330 h 845390"/>
                  <a:gd name="connsiteX55" fmla="*/ 728982 w 844139"/>
                  <a:gd name="connsiteY55" fmla="*/ 702325 h 845390"/>
                  <a:gd name="connsiteX56" fmla="*/ 716409 w 844139"/>
                  <a:gd name="connsiteY56" fmla="*/ 697849 h 845390"/>
                  <a:gd name="connsiteX57" fmla="*/ 713266 w 844139"/>
                  <a:gd name="connsiteY57" fmla="*/ 670131 h 845390"/>
                  <a:gd name="connsiteX58" fmla="*/ 714218 w 844139"/>
                  <a:gd name="connsiteY58" fmla="*/ 668988 h 845390"/>
                  <a:gd name="connsiteX59" fmla="*/ 742603 w 844139"/>
                  <a:gd name="connsiteY59" fmla="*/ 666607 h 845390"/>
                  <a:gd name="connsiteX60" fmla="*/ 745079 w 844139"/>
                  <a:gd name="connsiteY60" fmla="*/ 694801 h 845390"/>
                  <a:gd name="connsiteX61" fmla="*/ 744889 w 844139"/>
                  <a:gd name="connsiteY61" fmla="*/ 695086 h 845390"/>
                  <a:gd name="connsiteX62" fmla="*/ 728982 w 844139"/>
                  <a:gd name="connsiteY62" fmla="*/ 702325 h 845390"/>
                  <a:gd name="connsiteX63" fmla="*/ 83473 w 844139"/>
                  <a:gd name="connsiteY63" fmla="*/ 664606 h 845390"/>
                  <a:gd name="connsiteX64" fmla="*/ 67566 w 844139"/>
                  <a:gd name="connsiteY64" fmla="*/ 656129 h 845390"/>
                  <a:gd name="connsiteX65" fmla="*/ 67090 w 844139"/>
                  <a:gd name="connsiteY65" fmla="*/ 655367 h 845390"/>
                  <a:gd name="connsiteX66" fmla="*/ 72519 w 844139"/>
                  <a:gd name="connsiteY66" fmla="*/ 627268 h 845390"/>
                  <a:gd name="connsiteX67" fmla="*/ 100142 w 844139"/>
                  <a:gd name="connsiteY67" fmla="*/ 632412 h 845390"/>
                  <a:gd name="connsiteX68" fmla="*/ 95188 w 844139"/>
                  <a:gd name="connsiteY68" fmla="*/ 660892 h 845390"/>
                  <a:gd name="connsiteX69" fmla="*/ 83473 w 844139"/>
                  <a:gd name="connsiteY69" fmla="*/ 664606 h 845390"/>
                  <a:gd name="connsiteX70" fmla="*/ 780703 w 844139"/>
                  <a:gd name="connsiteY70" fmla="*/ 624887 h 845390"/>
                  <a:gd name="connsiteX71" fmla="*/ 771845 w 844139"/>
                  <a:gd name="connsiteY71" fmla="*/ 622792 h 845390"/>
                  <a:gd name="connsiteX72" fmla="*/ 762701 w 844139"/>
                  <a:gd name="connsiteY72" fmla="*/ 595836 h 845390"/>
                  <a:gd name="connsiteX73" fmla="*/ 763367 w 844139"/>
                  <a:gd name="connsiteY73" fmla="*/ 594502 h 845390"/>
                  <a:gd name="connsiteX74" fmla="*/ 790323 w 844139"/>
                  <a:gd name="connsiteY74" fmla="*/ 585549 h 845390"/>
                  <a:gd name="connsiteX75" fmla="*/ 799277 w 844139"/>
                  <a:gd name="connsiteY75" fmla="*/ 612505 h 845390"/>
                  <a:gd name="connsiteX76" fmla="*/ 781274 w 844139"/>
                  <a:gd name="connsiteY76" fmla="*/ 603551 h 845390"/>
                  <a:gd name="connsiteX77" fmla="*/ 798705 w 844139"/>
                  <a:gd name="connsiteY77" fmla="*/ 613648 h 845390"/>
                  <a:gd name="connsiteX78" fmla="*/ 780703 w 844139"/>
                  <a:gd name="connsiteY78" fmla="*/ 624887 h 845390"/>
                  <a:gd name="connsiteX79" fmla="*/ 41372 w 844139"/>
                  <a:gd name="connsiteY79" fmla="*/ 580882 h 845390"/>
                  <a:gd name="connsiteX80" fmla="*/ 23180 w 844139"/>
                  <a:gd name="connsiteY80" fmla="*/ 568499 h 845390"/>
                  <a:gd name="connsiteX81" fmla="*/ 22513 w 844139"/>
                  <a:gd name="connsiteY81" fmla="*/ 566594 h 845390"/>
                  <a:gd name="connsiteX82" fmla="*/ 34991 w 844139"/>
                  <a:gd name="connsiteY82" fmla="*/ 541067 h 845390"/>
                  <a:gd name="connsiteX83" fmla="*/ 60517 w 844139"/>
                  <a:gd name="connsiteY83" fmla="*/ 553545 h 845390"/>
                  <a:gd name="connsiteX84" fmla="*/ 48611 w 844139"/>
                  <a:gd name="connsiteY84" fmla="*/ 579643 h 845390"/>
                  <a:gd name="connsiteX85" fmla="*/ 41372 w 844139"/>
                  <a:gd name="connsiteY85" fmla="*/ 580882 h 845390"/>
                  <a:gd name="connsiteX86" fmla="*/ 812897 w 844139"/>
                  <a:gd name="connsiteY86" fmla="*/ 536400 h 845390"/>
                  <a:gd name="connsiteX87" fmla="*/ 808706 w 844139"/>
                  <a:gd name="connsiteY87" fmla="*/ 535924 h 845390"/>
                  <a:gd name="connsiteX88" fmla="*/ 793371 w 844139"/>
                  <a:gd name="connsiteY88" fmla="*/ 512683 h 845390"/>
                  <a:gd name="connsiteX89" fmla="*/ 793752 w 844139"/>
                  <a:gd name="connsiteY89" fmla="*/ 510968 h 845390"/>
                  <a:gd name="connsiteX90" fmla="*/ 818041 w 844139"/>
                  <a:gd name="connsiteY90" fmla="*/ 496109 h 845390"/>
                  <a:gd name="connsiteX91" fmla="*/ 832900 w 844139"/>
                  <a:gd name="connsiteY91" fmla="*/ 520303 h 845390"/>
                  <a:gd name="connsiteX92" fmla="*/ 832900 w 844139"/>
                  <a:gd name="connsiteY92" fmla="*/ 520398 h 845390"/>
                  <a:gd name="connsiteX93" fmla="*/ 812897 w 844139"/>
                  <a:gd name="connsiteY93" fmla="*/ 536400 h 845390"/>
                  <a:gd name="connsiteX94" fmla="*/ 20227 w 844139"/>
                  <a:gd name="connsiteY94" fmla="*/ 490394 h 845390"/>
                  <a:gd name="connsiteX95" fmla="*/ 320 w 844139"/>
                  <a:gd name="connsiteY95" fmla="*/ 472678 h 845390"/>
                  <a:gd name="connsiteX96" fmla="*/ 20322 w 844139"/>
                  <a:gd name="connsiteY96" fmla="*/ 470296 h 845390"/>
                  <a:gd name="connsiteX97" fmla="*/ 224 w 844139"/>
                  <a:gd name="connsiteY97" fmla="*/ 471439 h 845390"/>
                  <a:gd name="connsiteX98" fmla="*/ 17750 w 844139"/>
                  <a:gd name="connsiteY98" fmla="*/ 449056 h 845390"/>
                  <a:gd name="connsiteX99" fmla="*/ 40134 w 844139"/>
                  <a:gd name="connsiteY99" fmla="*/ 466582 h 845390"/>
                  <a:gd name="connsiteX100" fmla="*/ 40325 w 844139"/>
                  <a:gd name="connsiteY100" fmla="*/ 467915 h 845390"/>
                  <a:gd name="connsiteX101" fmla="*/ 22703 w 844139"/>
                  <a:gd name="connsiteY101" fmla="*/ 490299 h 845390"/>
                  <a:gd name="connsiteX102" fmla="*/ 20227 w 844139"/>
                  <a:gd name="connsiteY102" fmla="*/ 490394 h 845390"/>
                  <a:gd name="connsiteX103" fmla="*/ 824042 w 844139"/>
                  <a:gd name="connsiteY103" fmla="*/ 444103 h 845390"/>
                  <a:gd name="connsiteX104" fmla="*/ 803944 w 844139"/>
                  <a:gd name="connsiteY104" fmla="*/ 424005 h 845390"/>
                  <a:gd name="connsiteX105" fmla="*/ 803944 w 844139"/>
                  <a:gd name="connsiteY105" fmla="*/ 423148 h 845390"/>
                  <a:gd name="connsiteX106" fmla="*/ 803944 w 844139"/>
                  <a:gd name="connsiteY106" fmla="*/ 422386 h 845390"/>
                  <a:gd name="connsiteX107" fmla="*/ 824042 w 844139"/>
                  <a:gd name="connsiteY107" fmla="*/ 401621 h 845390"/>
                  <a:gd name="connsiteX108" fmla="*/ 844139 w 844139"/>
                  <a:gd name="connsiteY108" fmla="*/ 421052 h 845390"/>
                  <a:gd name="connsiteX109" fmla="*/ 844139 w 844139"/>
                  <a:gd name="connsiteY109" fmla="*/ 422386 h 845390"/>
                  <a:gd name="connsiteX110" fmla="*/ 844139 w 844139"/>
                  <a:gd name="connsiteY110" fmla="*/ 422576 h 845390"/>
                  <a:gd name="connsiteX111" fmla="*/ 844139 w 844139"/>
                  <a:gd name="connsiteY111" fmla="*/ 422767 h 845390"/>
                  <a:gd name="connsiteX112" fmla="*/ 844139 w 844139"/>
                  <a:gd name="connsiteY112" fmla="*/ 424100 h 845390"/>
                  <a:gd name="connsiteX113" fmla="*/ 824042 w 844139"/>
                  <a:gd name="connsiteY113" fmla="*/ 444103 h 845390"/>
                  <a:gd name="connsiteX114" fmla="*/ 20132 w 844139"/>
                  <a:gd name="connsiteY114" fmla="*/ 396859 h 845390"/>
                  <a:gd name="connsiteX115" fmla="*/ 17750 w 844139"/>
                  <a:gd name="connsiteY115" fmla="*/ 396668 h 845390"/>
                  <a:gd name="connsiteX116" fmla="*/ 129 w 844139"/>
                  <a:gd name="connsiteY116" fmla="*/ 374284 h 845390"/>
                  <a:gd name="connsiteX117" fmla="*/ 20132 w 844139"/>
                  <a:gd name="connsiteY117" fmla="*/ 376666 h 845390"/>
                  <a:gd name="connsiteX118" fmla="*/ 224 w 844139"/>
                  <a:gd name="connsiteY118" fmla="*/ 373522 h 845390"/>
                  <a:gd name="connsiteX119" fmla="*/ 22037 w 844139"/>
                  <a:gd name="connsiteY119" fmla="*/ 355330 h 845390"/>
                  <a:gd name="connsiteX120" fmla="*/ 40229 w 844139"/>
                  <a:gd name="connsiteY120" fmla="*/ 377142 h 845390"/>
                  <a:gd name="connsiteX121" fmla="*/ 40039 w 844139"/>
                  <a:gd name="connsiteY121" fmla="*/ 379047 h 845390"/>
                  <a:gd name="connsiteX122" fmla="*/ 20132 w 844139"/>
                  <a:gd name="connsiteY122" fmla="*/ 396859 h 845390"/>
                  <a:gd name="connsiteX123" fmla="*/ 813183 w 844139"/>
                  <a:gd name="connsiteY123" fmla="*/ 349519 h 845390"/>
                  <a:gd name="connsiteX124" fmla="*/ 793657 w 844139"/>
                  <a:gd name="connsiteY124" fmla="*/ 334184 h 845390"/>
                  <a:gd name="connsiteX125" fmla="*/ 808230 w 844139"/>
                  <a:gd name="connsiteY125" fmla="*/ 309229 h 845390"/>
                  <a:gd name="connsiteX126" fmla="*/ 832328 w 844139"/>
                  <a:gd name="connsiteY126" fmla="*/ 323326 h 845390"/>
                  <a:gd name="connsiteX127" fmla="*/ 832709 w 844139"/>
                  <a:gd name="connsiteY127" fmla="*/ 324659 h 845390"/>
                  <a:gd name="connsiteX128" fmla="*/ 817946 w 844139"/>
                  <a:gd name="connsiteY128" fmla="*/ 348948 h 845390"/>
                  <a:gd name="connsiteX129" fmla="*/ 813183 w 844139"/>
                  <a:gd name="connsiteY129" fmla="*/ 349519 h 845390"/>
                  <a:gd name="connsiteX130" fmla="*/ 41277 w 844139"/>
                  <a:gd name="connsiteY130" fmla="*/ 304942 h 845390"/>
                  <a:gd name="connsiteX131" fmla="*/ 35086 w 844139"/>
                  <a:gd name="connsiteY131" fmla="*/ 303895 h 845390"/>
                  <a:gd name="connsiteX132" fmla="*/ 22417 w 844139"/>
                  <a:gd name="connsiteY132" fmla="*/ 278939 h 845390"/>
                  <a:gd name="connsiteX133" fmla="*/ 22799 w 844139"/>
                  <a:gd name="connsiteY133" fmla="*/ 277987 h 845390"/>
                  <a:gd name="connsiteX134" fmla="*/ 48516 w 844139"/>
                  <a:gd name="connsiteY134" fmla="*/ 265604 h 845390"/>
                  <a:gd name="connsiteX135" fmla="*/ 60899 w 844139"/>
                  <a:gd name="connsiteY135" fmla="*/ 290941 h 845390"/>
                  <a:gd name="connsiteX136" fmla="*/ 41277 w 844139"/>
                  <a:gd name="connsiteY136" fmla="*/ 304942 h 845390"/>
                  <a:gd name="connsiteX137" fmla="*/ 781179 w 844139"/>
                  <a:gd name="connsiteY137" fmla="*/ 261604 h 845390"/>
                  <a:gd name="connsiteX138" fmla="*/ 763463 w 844139"/>
                  <a:gd name="connsiteY138" fmla="*/ 251126 h 845390"/>
                  <a:gd name="connsiteX139" fmla="*/ 762510 w 844139"/>
                  <a:gd name="connsiteY139" fmla="*/ 249316 h 845390"/>
                  <a:gd name="connsiteX140" fmla="*/ 771464 w 844139"/>
                  <a:gd name="connsiteY140" fmla="*/ 222361 h 845390"/>
                  <a:gd name="connsiteX141" fmla="*/ 798419 w 844139"/>
                  <a:gd name="connsiteY141" fmla="*/ 231314 h 845390"/>
                  <a:gd name="connsiteX142" fmla="*/ 780417 w 844139"/>
                  <a:gd name="connsiteY142" fmla="*/ 240268 h 845390"/>
                  <a:gd name="connsiteX143" fmla="*/ 798896 w 844139"/>
                  <a:gd name="connsiteY143" fmla="*/ 231886 h 845390"/>
                  <a:gd name="connsiteX144" fmla="*/ 790799 w 844139"/>
                  <a:gd name="connsiteY144" fmla="*/ 259127 h 845390"/>
                  <a:gd name="connsiteX145" fmla="*/ 781179 w 844139"/>
                  <a:gd name="connsiteY145" fmla="*/ 261604 h 845390"/>
                  <a:gd name="connsiteX146" fmla="*/ 83282 w 844139"/>
                  <a:gd name="connsiteY146" fmla="*/ 221980 h 845390"/>
                  <a:gd name="connsiteX147" fmla="*/ 72424 w 844139"/>
                  <a:gd name="connsiteY147" fmla="*/ 218741 h 845390"/>
                  <a:gd name="connsiteX148" fmla="*/ 66423 w 844139"/>
                  <a:gd name="connsiteY148" fmla="*/ 190928 h 845390"/>
                  <a:gd name="connsiteX149" fmla="*/ 66899 w 844139"/>
                  <a:gd name="connsiteY149" fmla="*/ 190261 h 845390"/>
                  <a:gd name="connsiteX150" fmla="*/ 94808 w 844139"/>
                  <a:gd name="connsiteY150" fmla="*/ 184070 h 845390"/>
                  <a:gd name="connsiteX151" fmla="*/ 101094 w 844139"/>
                  <a:gd name="connsiteY151" fmla="*/ 211407 h 845390"/>
                  <a:gd name="connsiteX152" fmla="*/ 100237 w 844139"/>
                  <a:gd name="connsiteY152" fmla="*/ 212645 h 845390"/>
                  <a:gd name="connsiteX153" fmla="*/ 83282 w 844139"/>
                  <a:gd name="connsiteY153" fmla="*/ 221980 h 845390"/>
                  <a:gd name="connsiteX154" fmla="*/ 729649 w 844139"/>
                  <a:gd name="connsiteY154" fmla="*/ 183499 h 845390"/>
                  <a:gd name="connsiteX155" fmla="*/ 714028 w 844139"/>
                  <a:gd name="connsiteY155" fmla="*/ 176069 h 845390"/>
                  <a:gd name="connsiteX156" fmla="*/ 716409 w 844139"/>
                  <a:gd name="connsiteY156" fmla="*/ 147494 h 845390"/>
                  <a:gd name="connsiteX157" fmla="*/ 744127 w 844139"/>
                  <a:gd name="connsiteY157" fmla="*/ 149304 h 845390"/>
                  <a:gd name="connsiteX158" fmla="*/ 745365 w 844139"/>
                  <a:gd name="connsiteY158" fmla="*/ 150828 h 845390"/>
                  <a:gd name="connsiteX159" fmla="*/ 742317 w 844139"/>
                  <a:gd name="connsiteY159" fmla="*/ 179117 h 845390"/>
                  <a:gd name="connsiteX160" fmla="*/ 729649 w 844139"/>
                  <a:gd name="connsiteY160" fmla="*/ 183499 h 845390"/>
                  <a:gd name="connsiteX161" fmla="*/ 143576 w 844139"/>
                  <a:gd name="connsiteY161" fmla="*/ 149399 h 845390"/>
                  <a:gd name="connsiteX162" fmla="*/ 129193 w 844139"/>
                  <a:gd name="connsiteY162" fmla="*/ 143398 h 845390"/>
                  <a:gd name="connsiteX163" fmla="*/ 129383 w 844139"/>
                  <a:gd name="connsiteY163" fmla="*/ 115490 h 845390"/>
                  <a:gd name="connsiteX164" fmla="*/ 130526 w 844139"/>
                  <a:gd name="connsiteY164" fmla="*/ 114442 h 845390"/>
                  <a:gd name="connsiteX165" fmla="*/ 158911 w 844139"/>
                  <a:gd name="connsiteY165" fmla="*/ 115300 h 845390"/>
                  <a:gd name="connsiteX166" fmla="*/ 158054 w 844139"/>
                  <a:gd name="connsiteY166" fmla="*/ 143684 h 845390"/>
                  <a:gd name="connsiteX167" fmla="*/ 143576 w 844139"/>
                  <a:gd name="connsiteY167" fmla="*/ 149399 h 845390"/>
                  <a:gd name="connsiteX168" fmla="*/ 661545 w 844139"/>
                  <a:gd name="connsiteY168" fmla="*/ 119300 h 845390"/>
                  <a:gd name="connsiteX169" fmla="*/ 649639 w 844139"/>
                  <a:gd name="connsiteY169" fmla="*/ 115395 h 845390"/>
                  <a:gd name="connsiteX170" fmla="*/ 644876 w 844139"/>
                  <a:gd name="connsiteY170" fmla="*/ 86915 h 845390"/>
                  <a:gd name="connsiteX171" fmla="*/ 672499 w 844139"/>
                  <a:gd name="connsiteY171" fmla="*/ 82343 h 845390"/>
                  <a:gd name="connsiteX172" fmla="*/ 673547 w 844139"/>
                  <a:gd name="connsiteY172" fmla="*/ 83105 h 845390"/>
                  <a:gd name="connsiteX173" fmla="*/ 677738 w 844139"/>
                  <a:gd name="connsiteY173" fmla="*/ 111204 h 845390"/>
                  <a:gd name="connsiteX174" fmla="*/ 661545 w 844139"/>
                  <a:gd name="connsiteY174" fmla="*/ 119300 h 845390"/>
                  <a:gd name="connsiteX175" fmla="*/ 218918 w 844139"/>
                  <a:gd name="connsiteY175" fmla="*/ 93392 h 845390"/>
                  <a:gd name="connsiteX176" fmla="*/ 201392 w 844139"/>
                  <a:gd name="connsiteY176" fmla="*/ 83581 h 845390"/>
                  <a:gd name="connsiteX177" fmla="*/ 208060 w 844139"/>
                  <a:gd name="connsiteY177" fmla="*/ 56530 h 845390"/>
                  <a:gd name="connsiteX178" fmla="*/ 209393 w 844139"/>
                  <a:gd name="connsiteY178" fmla="*/ 55768 h 845390"/>
                  <a:gd name="connsiteX179" fmla="*/ 236825 w 844139"/>
                  <a:gd name="connsiteY179" fmla="*/ 63293 h 845390"/>
                  <a:gd name="connsiteX180" fmla="*/ 229301 w 844139"/>
                  <a:gd name="connsiteY180" fmla="*/ 90725 h 845390"/>
                  <a:gd name="connsiteX181" fmla="*/ 218918 w 844139"/>
                  <a:gd name="connsiteY181" fmla="*/ 93392 h 845390"/>
                  <a:gd name="connsiteX182" fmla="*/ 580582 w 844139"/>
                  <a:gd name="connsiteY182" fmla="*/ 72437 h 845390"/>
                  <a:gd name="connsiteX183" fmla="*/ 572772 w 844139"/>
                  <a:gd name="connsiteY183" fmla="*/ 70913 h 845390"/>
                  <a:gd name="connsiteX184" fmla="*/ 571343 w 844139"/>
                  <a:gd name="connsiteY184" fmla="*/ 70246 h 845390"/>
                  <a:gd name="connsiteX185" fmla="*/ 560961 w 844139"/>
                  <a:gd name="connsiteY185" fmla="*/ 43767 h 845390"/>
                  <a:gd name="connsiteX186" fmla="*/ 587440 w 844139"/>
                  <a:gd name="connsiteY186" fmla="*/ 33385 h 845390"/>
                  <a:gd name="connsiteX187" fmla="*/ 579439 w 844139"/>
                  <a:gd name="connsiteY187" fmla="*/ 51863 h 845390"/>
                  <a:gd name="connsiteX188" fmla="*/ 588393 w 844139"/>
                  <a:gd name="connsiteY188" fmla="*/ 33861 h 845390"/>
                  <a:gd name="connsiteX189" fmla="*/ 599156 w 844139"/>
                  <a:gd name="connsiteY189" fmla="*/ 60150 h 845390"/>
                  <a:gd name="connsiteX190" fmla="*/ 580582 w 844139"/>
                  <a:gd name="connsiteY190" fmla="*/ 72437 h 845390"/>
                  <a:gd name="connsiteX191" fmla="*/ 303977 w 844139"/>
                  <a:gd name="connsiteY191" fmla="*/ 56721 h 845390"/>
                  <a:gd name="connsiteX192" fmla="*/ 284736 w 844139"/>
                  <a:gd name="connsiteY192" fmla="*/ 42338 h 845390"/>
                  <a:gd name="connsiteX193" fmla="*/ 298262 w 844139"/>
                  <a:gd name="connsiteY193" fmla="*/ 17383 h 845390"/>
                  <a:gd name="connsiteX194" fmla="*/ 303977 w 844139"/>
                  <a:gd name="connsiteY194" fmla="*/ 36623 h 845390"/>
                  <a:gd name="connsiteX195" fmla="*/ 299405 w 844139"/>
                  <a:gd name="connsiteY195" fmla="*/ 17002 h 845390"/>
                  <a:gd name="connsiteX196" fmla="*/ 324455 w 844139"/>
                  <a:gd name="connsiteY196" fmla="*/ 30432 h 845390"/>
                  <a:gd name="connsiteX197" fmla="*/ 311025 w 844139"/>
                  <a:gd name="connsiteY197" fmla="*/ 55483 h 845390"/>
                  <a:gd name="connsiteX198" fmla="*/ 309692 w 844139"/>
                  <a:gd name="connsiteY198" fmla="*/ 55864 h 845390"/>
                  <a:gd name="connsiteX199" fmla="*/ 303977 w 844139"/>
                  <a:gd name="connsiteY199" fmla="*/ 56721 h 845390"/>
                  <a:gd name="connsiteX200" fmla="*/ 490857 w 844139"/>
                  <a:gd name="connsiteY200" fmla="*/ 45577 h 845390"/>
                  <a:gd name="connsiteX201" fmla="*/ 487714 w 844139"/>
                  <a:gd name="connsiteY201" fmla="*/ 45291 h 845390"/>
                  <a:gd name="connsiteX202" fmla="*/ 486285 w 844139"/>
                  <a:gd name="connsiteY202" fmla="*/ 45005 h 845390"/>
                  <a:gd name="connsiteX203" fmla="*/ 469807 w 844139"/>
                  <a:gd name="connsiteY203" fmla="*/ 21859 h 845390"/>
                  <a:gd name="connsiteX204" fmla="*/ 492953 w 844139"/>
                  <a:gd name="connsiteY204" fmla="*/ 5381 h 845390"/>
                  <a:gd name="connsiteX205" fmla="*/ 493619 w 844139"/>
                  <a:gd name="connsiteY205" fmla="*/ 5476 h 845390"/>
                  <a:gd name="connsiteX206" fmla="*/ 510383 w 844139"/>
                  <a:gd name="connsiteY206" fmla="*/ 28717 h 845390"/>
                  <a:gd name="connsiteX207" fmla="*/ 490857 w 844139"/>
                  <a:gd name="connsiteY207" fmla="*/ 45577 h 845390"/>
                  <a:gd name="connsiteX208" fmla="*/ 396083 w 844139"/>
                  <a:gd name="connsiteY208" fmla="*/ 40243 h 845390"/>
                  <a:gd name="connsiteX209" fmla="*/ 375986 w 844139"/>
                  <a:gd name="connsiteY209" fmla="*/ 21288 h 845390"/>
                  <a:gd name="connsiteX210" fmla="*/ 394845 w 844139"/>
                  <a:gd name="connsiteY210" fmla="*/ 47 h 845390"/>
                  <a:gd name="connsiteX211" fmla="*/ 395988 w 844139"/>
                  <a:gd name="connsiteY211" fmla="*/ 20145 h 845390"/>
                  <a:gd name="connsiteX212" fmla="*/ 396083 w 844139"/>
                  <a:gd name="connsiteY212" fmla="*/ 47 h 845390"/>
                  <a:gd name="connsiteX213" fmla="*/ 417324 w 844139"/>
                  <a:gd name="connsiteY213" fmla="*/ 18907 h 845390"/>
                  <a:gd name="connsiteX214" fmla="*/ 398464 w 844139"/>
                  <a:gd name="connsiteY214" fmla="*/ 40147 h 845390"/>
                  <a:gd name="connsiteX215" fmla="*/ 397131 w 844139"/>
                  <a:gd name="connsiteY215" fmla="*/ 40243 h 845390"/>
                  <a:gd name="connsiteX216" fmla="*/ 396083 w 844139"/>
                  <a:gd name="connsiteY216" fmla="*/ 40243 h 845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Lst>
                <a:rect l="l" t="t" r="r" b="b"/>
                <a:pathLst>
                  <a:path w="844139" h="845390">
                    <a:moveTo>
                      <a:pt x="397798" y="845391"/>
                    </a:moveTo>
                    <a:cubicBezTo>
                      <a:pt x="397417" y="845391"/>
                      <a:pt x="397036" y="845391"/>
                      <a:pt x="396560" y="845391"/>
                    </a:cubicBezTo>
                    <a:lnTo>
                      <a:pt x="397703" y="825293"/>
                    </a:lnTo>
                    <a:lnTo>
                      <a:pt x="395512" y="845296"/>
                    </a:lnTo>
                    <a:cubicBezTo>
                      <a:pt x="384463" y="844819"/>
                      <a:pt x="375795" y="835390"/>
                      <a:pt x="376367" y="824341"/>
                    </a:cubicBezTo>
                    <a:cubicBezTo>
                      <a:pt x="376843" y="813292"/>
                      <a:pt x="386082" y="804719"/>
                      <a:pt x="397322" y="805195"/>
                    </a:cubicBezTo>
                    <a:cubicBezTo>
                      <a:pt x="397417" y="805195"/>
                      <a:pt x="398846" y="805291"/>
                      <a:pt x="398941" y="805291"/>
                    </a:cubicBezTo>
                    <a:cubicBezTo>
                      <a:pt x="409990" y="805957"/>
                      <a:pt x="418467" y="815482"/>
                      <a:pt x="417800" y="826531"/>
                    </a:cubicBezTo>
                    <a:cubicBezTo>
                      <a:pt x="417229" y="837199"/>
                      <a:pt x="408371" y="845391"/>
                      <a:pt x="397798" y="845391"/>
                    </a:cubicBezTo>
                    <a:close/>
                    <a:moveTo>
                      <a:pt x="489905" y="840152"/>
                    </a:moveTo>
                    <a:cubicBezTo>
                      <a:pt x="480284" y="840152"/>
                      <a:pt x="471712" y="833199"/>
                      <a:pt x="470093" y="823388"/>
                    </a:cubicBezTo>
                    <a:cubicBezTo>
                      <a:pt x="468283" y="812434"/>
                      <a:pt x="475617" y="802052"/>
                      <a:pt x="486571" y="800242"/>
                    </a:cubicBezTo>
                    <a:cubicBezTo>
                      <a:pt x="497715" y="798433"/>
                      <a:pt x="508478" y="805672"/>
                      <a:pt x="510383" y="816530"/>
                    </a:cubicBezTo>
                    <a:cubicBezTo>
                      <a:pt x="512288" y="827389"/>
                      <a:pt x="505716" y="837676"/>
                      <a:pt x="494857" y="839676"/>
                    </a:cubicBezTo>
                    <a:cubicBezTo>
                      <a:pt x="494762" y="839676"/>
                      <a:pt x="493334" y="839962"/>
                      <a:pt x="493238" y="839962"/>
                    </a:cubicBezTo>
                    <a:cubicBezTo>
                      <a:pt x="492095" y="840057"/>
                      <a:pt x="490952" y="840152"/>
                      <a:pt x="489905" y="840152"/>
                    </a:cubicBezTo>
                    <a:close/>
                    <a:moveTo>
                      <a:pt x="305405" y="829389"/>
                    </a:moveTo>
                    <a:cubicBezTo>
                      <a:pt x="303596" y="829389"/>
                      <a:pt x="301690" y="829103"/>
                      <a:pt x="299881" y="828532"/>
                    </a:cubicBezTo>
                    <a:cubicBezTo>
                      <a:pt x="299881" y="828532"/>
                      <a:pt x="298547" y="828151"/>
                      <a:pt x="298547" y="828151"/>
                    </a:cubicBezTo>
                    <a:cubicBezTo>
                      <a:pt x="287879" y="824912"/>
                      <a:pt x="281879" y="813673"/>
                      <a:pt x="285117" y="803100"/>
                    </a:cubicBezTo>
                    <a:cubicBezTo>
                      <a:pt x="288355" y="792432"/>
                      <a:pt x="299595" y="786526"/>
                      <a:pt x="310168" y="789670"/>
                    </a:cubicBezTo>
                    <a:cubicBezTo>
                      <a:pt x="320740" y="792908"/>
                      <a:pt x="327408" y="804243"/>
                      <a:pt x="324265" y="814911"/>
                    </a:cubicBezTo>
                    <a:cubicBezTo>
                      <a:pt x="321598" y="823579"/>
                      <a:pt x="313978" y="829389"/>
                      <a:pt x="305405" y="829389"/>
                    </a:cubicBezTo>
                    <a:close/>
                    <a:moveTo>
                      <a:pt x="579630" y="813577"/>
                    </a:moveTo>
                    <a:cubicBezTo>
                      <a:pt x="571820" y="813577"/>
                      <a:pt x="564485" y="809005"/>
                      <a:pt x="561152" y="801481"/>
                    </a:cubicBezTo>
                    <a:cubicBezTo>
                      <a:pt x="556770" y="791289"/>
                      <a:pt x="561437" y="779478"/>
                      <a:pt x="571629" y="775001"/>
                    </a:cubicBezTo>
                    <a:cubicBezTo>
                      <a:pt x="581821" y="770620"/>
                      <a:pt x="594298" y="775001"/>
                      <a:pt x="598680" y="785193"/>
                    </a:cubicBezTo>
                    <a:cubicBezTo>
                      <a:pt x="603062" y="795385"/>
                      <a:pt x="599061" y="806910"/>
                      <a:pt x="588869" y="811387"/>
                    </a:cubicBezTo>
                    <a:cubicBezTo>
                      <a:pt x="588869" y="811387"/>
                      <a:pt x="587631" y="811958"/>
                      <a:pt x="587631" y="811958"/>
                    </a:cubicBezTo>
                    <a:cubicBezTo>
                      <a:pt x="584964" y="813006"/>
                      <a:pt x="582297" y="813577"/>
                      <a:pt x="579630" y="813577"/>
                    </a:cubicBezTo>
                    <a:close/>
                    <a:moveTo>
                      <a:pt x="219585" y="792337"/>
                    </a:moveTo>
                    <a:cubicBezTo>
                      <a:pt x="216156" y="792337"/>
                      <a:pt x="212632" y="791479"/>
                      <a:pt x="209393" y="789574"/>
                    </a:cubicBezTo>
                    <a:lnTo>
                      <a:pt x="219585" y="772239"/>
                    </a:lnTo>
                    <a:lnTo>
                      <a:pt x="208727" y="789193"/>
                    </a:lnTo>
                    <a:cubicBezTo>
                      <a:pt x="199011" y="783859"/>
                      <a:pt x="195487" y="771572"/>
                      <a:pt x="200821" y="761857"/>
                    </a:cubicBezTo>
                    <a:cubicBezTo>
                      <a:pt x="206155" y="752141"/>
                      <a:pt x="218442" y="748617"/>
                      <a:pt x="228157" y="753951"/>
                    </a:cubicBezTo>
                    <a:cubicBezTo>
                      <a:pt x="228348" y="754046"/>
                      <a:pt x="229681" y="754808"/>
                      <a:pt x="229777" y="754903"/>
                    </a:cubicBezTo>
                    <a:cubicBezTo>
                      <a:pt x="239397" y="760523"/>
                      <a:pt x="242540" y="772810"/>
                      <a:pt x="236921" y="782431"/>
                    </a:cubicBezTo>
                    <a:cubicBezTo>
                      <a:pt x="233206" y="788812"/>
                      <a:pt x="226443" y="792337"/>
                      <a:pt x="219585" y="792337"/>
                    </a:cubicBezTo>
                    <a:close/>
                    <a:moveTo>
                      <a:pt x="660688" y="766905"/>
                    </a:moveTo>
                    <a:cubicBezTo>
                      <a:pt x="654592" y="766905"/>
                      <a:pt x="648591" y="764143"/>
                      <a:pt x="644686" y="758999"/>
                    </a:cubicBezTo>
                    <a:cubicBezTo>
                      <a:pt x="637923" y="750141"/>
                      <a:pt x="639733" y="737568"/>
                      <a:pt x="648496" y="730805"/>
                    </a:cubicBezTo>
                    <a:cubicBezTo>
                      <a:pt x="648591" y="730805"/>
                      <a:pt x="649734" y="729948"/>
                      <a:pt x="649734" y="729853"/>
                    </a:cubicBezTo>
                    <a:cubicBezTo>
                      <a:pt x="658688" y="723280"/>
                      <a:pt x="671261" y="725090"/>
                      <a:pt x="677833" y="734044"/>
                    </a:cubicBezTo>
                    <a:cubicBezTo>
                      <a:pt x="684405" y="742997"/>
                      <a:pt x="682595" y="755570"/>
                      <a:pt x="673642" y="762142"/>
                    </a:cubicBezTo>
                    <a:lnTo>
                      <a:pt x="661640" y="745950"/>
                    </a:lnTo>
                    <a:lnTo>
                      <a:pt x="672785" y="762714"/>
                    </a:lnTo>
                    <a:cubicBezTo>
                      <a:pt x="669260" y="765571"/>
                      <a:pt x="664974" y="766905"/>
                      <a:pt x="660688" y="766905"/>
                    </a:cubicBezTo>
                    <a:close/>
                    <a:moveTo>
                      <a:pt x="143766" y="736330"/>
                    </a:moveTo>
                    <a:cubicBezTo>
                      <a:pt x="139194" y="736330"/>
                      <a:pt x="134527" y="734710"/>
                      <a:pt x="130812" y="731186"/>
                    </a:cubicBezTo>
                    <a:cubicBezTo>
                      <a:pt x="130717" y="731186"/>
                      <a:pt x="130240" y="730615"/>
                      <a:pt x="130145" y="730615"/>
                    </a:cubicBezTo>
                    <a:cubicBezTo>
                      <a:pt x="122049" y="723090"/>
                      <a:pt x="121382" y="710136"/>
                      <a:pt x="128907" y="702040"/>
                    </a:cubicBezTo>
                    <a:cubicBezTo>
                      <a:pt x="136432" y="693943"/>
                      <a:pt x="148814" y="693181"/>
                      <a:pt x="157006" y="700706"/>
                    </a:cubicBezTo>
                    <a:cubicBezTo>
                      <a:pt x="165197" y="708231"/>
                      <a:pt x="166150" y="721375"/>
                      <a:pt x="158625" y="729567"/>
                    </a:cubicBezTo>
                    <a:cubicBezTo>
                      <a:pt x="154720" y="734044"/>
                      <a:pt x="149290" y="736330"/>
                      <a:pt x="143766" y="736330"/>
                    </a:cubicBezTo>
                    <a:close/>
                    <a:moveTo>
                      <a:pt x="728982" y="702325"/>
                    </a:moveTo>
                    <a:cubicBezTo>
                      <a:pt x="724505" y="702325"/>
                      <a:pt x="720029" y="700897"/>
                      <a:pt x="716409" y="697849"/>
                    </a:cubicBezTo>
                    <a:cubicBezTo>
                      <a:pt x="707932" y="690800"/>
                      <a:pt x="706313" y="678703"/>
                      <a:pt x="713266" y="670131"/>
                    </a:cubicBezTo>
                    <a:cubicBezTo>
                      <a:pt x="713361" y="670036"/>
                      <a:pt x="714123" y="669083"/>
                      <a:pt x="714218" y="668988"/>
                    </a:cubicBezTo>
                    <a:cubicBezTo>
                      <a:pt x="721457" y="660511"/>
                      <a:pt x="734221" y="659368"/>
                      <a:pt x="742603" y="666607"/>
                    </a:cubicBezTo>
                    <a:cubicBezTo>
                      <a:pt x="751080" y="673750"/>
                      <a:pt x="752223" y="686323"/>
                      <a:pt x="745079" y="694801"/>
                    </a:cubicBezTo>
                    <a:cubicBezTo>
                      <a:pt x="745079" y="694801"/>
                      <a:pt x="744889" y="695086"/>
                      <a:pt x="744889" y="695086"/>
                    </a:cubicBezTo>
                    <a:cubicBezTo>
                      <a:pt x="740888" y="699849"/>
                      <a:pt x="734888" y="702325"/>
                      <a:pt x="728982" y="702325"/>
                    </a:cubicBezTo>
                    <a:close/>
                    <a:moveTo>
                      <a:pt x="83473" y="664606"/>
                    </a:moveTo>
                    <a:cubicBezTo>
                      <a:pt x="77282" y="664606"/>
                      <a:pt x="71376" y="661749"/>
                      <a:pt x="67566" y="656129"/>
                    </a:cubicBezTo>
                    <a:cubicBezTo>
                      <a:pt x="67471" y="656034"/>
                      <a:pt x="67090" y="655462"/>
                      <a:pt x="67090" y="655367"/>
                    </a:cubicBezTo>
                    <a:cubicBezTo>
                      <a:pt x="60994" y="646128"/>
                      <a:pt x="63280" y="633460"/>
                      <a:pt x="72519" y="627268"/>
                    </a:cubicBezTo>
                    <a:cubicBezTo>
                      <a:pt x="81758" y="621077"/>
                      <a:pt x="93950" y="623268"/>
                      <a:pt x="100142" y="632412"/>
                    </a:cubicBezTo>
                    <a:cubicBezTo>
                      <a:pt x="106333" y="641556"/>
                      <a:pt x="104332" y="654605"/>
                      <a:pt x="95188" y="660892"/>
                    </a:cubicBezTo>
                    <a:cubicBezTo>
                      <a:pt x="91474" y="663368"/>
                      <a:pt x="87378" y="664606"/>
                      <a:pt x="83473" y="664606"/>
                    </a:cubicBezTo>
                    <a:close/>
                    <a:moveTo>
                      <a:pt x="780703" y="624887"/>
                    </a:moveTo>
                    <a:cubicBezTo>
                      <a:pt x="777750" y="624887"/>
                      <a:pt x="774702" y="624220"/>
                      <a:pt x="771845" y="622792"/>
                    </a:cubicBezTo>
                    <a:cubicBezTo>
                      <a:pt x="761843" y="617934"/>
                      <a:pt x="757747" y="605837"/>
                      <a:pt x="762701" y="595836"/>
                    </a:cubicBezTo>
                    <a:cubicBezTo>
                      <a:pt x="762701" y="595836"/>
                      <a:pt x="763367" y="594598"/>
                      <a:pt x="763367" y="594502"/>
                    </a:cubicBezTo>
                    <a:cubicBezTo>
                      <a:pt x="768320" y="584596"/>
                      <a:pt x="780417" y="580596"/>
                      <a:pt x="790323" y="585549"/>
                    </a:cubicBezTo>
                    <a:cubicBezTo>
                      <a:pt x="800229" y="590502"/>
                      <a:pt x="804325" y="602599"/>
                      <a:pt x="799277" y="612505"/>
                    </a:cubicBezTo>
                    <a:lnTo>
                      <a:pt x="781274" y="603551"/>
                    </a:lnTo>
                    <a:lnTo>
                      <a:pt x="798705" y="613648"/>
                    </a:lnTo>
                    <a:cubicBezTo>
                      <a:pt x="795181" y="620791"/>
                      <a:pt x="788132" y="624887"/>
                      <a:pt x="780703" y="624887"/>
                    </a:cubicBezTo>
                    <a:close/>
                    <a:moveTo>
                      <a:pt x="41372" y="580882"/>
                    </a:moveTo>
                    <a:cubicBezTo>
                      <a:pt x="33467" y="580882"/>
                      <a:pt x="26228" y="576310"/>
                      <a:pt x="23180" y="568499"/>
                    </a:cubicBezTo>
                    <a:cubicBezTo>
                      <a:pt x="23084" y="568309"/>
                      <a:pt x="22608" y="566880"/>
                      <a:pt x="22513" y="566594"/>
                    </a:cubicBezTo>
                    <a:cubicBezTo>
                      <a:pt x="18893" y="556117"/>
                      <a:pt x="24513" y="544687"/>
                      <a:pt x="34991" y="541067"/>
                    </a:cubicBezTo>
                    <a:cubicBezTo>
                      <a:pt x="45468" y="537448"/>
                      <a:pt x="56898" y="543067"/>
                      <a:pt x="60517" y="553545"/>
                    </a:cubicBezTo>
                    <a:cubicBezTo>
                      <a:pt x="64042" y="563927"/>
                      <a:pt x="58898" y="575833"/>
                      <a:pt x="48611" y="579643"/>
                    </a:cubicBezTo>
                    <a:cubicBezTo>
                      <a:pt x="46135" y="580501"/>
                      <a:pt x="43754" y="580882"/>
                      <a:pt x="41372" y="580882"/>
                    </a:cubicBezTo>
                    <a:close/>
                    <a:moveTo>
                      <a:pt x="812897" y="536400"/>
                    </a:moveTo>
                    <a:cubicBezTo>
                      <a:pt x="811469" y="536400"/>
                      <a:pt x="810135" y="536209"/>
                      <a:pt x="808706" y="535924"/>
                    </a:cubicBezTo>
                    <a:cubicBezTo>
                      <a:pt x="797943" y="533447"/>
                      <a:pt x="791085" y="523446"/>
                      <a:pt x="793371" y="512683"/>
                    </a:cubicBezTo>
                    <a:cubicBezTo>
                      <a:pt x="793466" y="512492"/>
                      <a:pt x="793752" y="511159"/>
                      <a:pt x="793752" y="510968"/>
                    </a:cubicBezTo>
                    <a:cubicBezTo>
                      <a:pt x="796419" y="500205"/>
                      <a:pt x="807278" y="493537"/>
                      <a:pt x="818041" y="496109"/>
                    </a:cubicBezTo>
                    <a:cubicBezTo>
                      <a:pt x="828804" y="498681"/>
                      <a:pt x="835472" y="509539"/>
                      <a:pt x="832900" y="520303"/>
                    </a:cubicBezTo>
                    <a:lnTo>
                      <a:pt x="832900" y="520398"/>
                    </a:lnTo>
                    <a:cubicBezTo>
                      <a:pt x="830519" y="529732"/>
                      <a:pt x="822041" y="536400"/>
                      <a:pt x="812897" y="536400"/>
                    </a:cubicBezTo>
                    <a:close/>
                    <a:moveTo>
                      <a:pt x="20227" y="490394"/>
                    </a:moveTo>
                    <a:cubicBezTo>
                      <a:pt x="10225" y="490394"/>
                      <a:pt x="1463" y="482869"/>
                      <a:pt x="320" y="472678"/>
                    </a:cubicBezTo>
                    <a:lnTo>
                      <a:pt x="20322" y="470296"/>
                    </a:lnTo>
                    <a:lnTo>
                      <a:pt x="224" y="471439"/>
                    </a:lnTo>
                    <a:cubicBezTo>
                      <a:pt x="-1109" y="460390"/>
                      <a:pt x="6701" y="450389"/>
                      <a:pt x="17750" y="449056"/>
                    </a:cubicBezTo>
                    <a:cubicBezTo>
                      <a:pt x="28799" y="447817"/>
                      <a:pt x="38800" y="455533"/>
                      <a:pt x="40134" y="466582"/>
                    </a:cubicBezTo>
                    <a:cubicBezTo>
                      <a:pt x="40134" y="466582"/>
                      <a:pt x="40325" y="467915"/>
                      <a:pt x="40325" y="467915"/>
                    </a:cubicBezTo>
                    <a:cubicBezTo>
                      <a:pt x="41658" y="478964"/>
                      <a:pt x="33752" y="488965"/>
                      <a:pt x="22703" y="490299"/>
                    </a:cubicBezTo>
                    <a:cubicBezTo>
                      <a:pt x="21846" y="490394"/>
                      <a:pt x="21084" y="490394"/>
                      <a:pt x="20227" y="490394"/>
                    </a:cubicBezTo>
                    <a:close/>
                    <a:moveTo>
                      <a:pt x="824042" y="444103"/>
                    </a:moveTo>
                    <a:cubicBezTo>
                      <a:pt x="812897" y="444103"/>
                      <a:pt x="803944" y="435149"/>
                      <a:pt x="803944" y="424005"/>
                    </a:cubicBezTo>
                    <a:cubicBezTo>
                      <a:pt x="803944" y="423719"/>
                      <a:pt x="803944" y="423433"/>
                      <a:pt x="803944" y="423148"/>
                    </a:cubicBezTo>
                    <a:cubicBezTo>
                      <a:pt x="803944" y="422862"/>
                      <a:pt x="803944" y="422576"/>
                      <a:pt x="803944" y="422386"/>
                    </a:cubicBezTo>
                    <a:cubicBezTo>
                      <a:pt x="803944" y="411241"/>
                      <a:pt x="812993" y="401621"/>
                      <a:pt x="824042" y="401621"/>
                    </a:cubicBezTo>
                    <a:cubicBezTo>
                      <a:pt x="835186" y="401621"/>
                      <a:pt x="844139" y="410003"/>
                      <a:pt x="844139" y="421052"/>
                    </a:cubicBezTo>
                    <a:lnTo>
                      <a:pt x="844139" y="422386"/>
                    </a:lnTo>
                    <a:cubicBezTo>
                      <a:pt x="844139" y="422386"/>
                      <a:pt x="844139" y="422481"/>
                      <a:pt x="844139" y="422576"/>
                    </a:cubicBezTo>
                    <a:cubicBezTo>
                      <a:pt x="844139" y="422576"/>
                      <a:pt x="844139" y="422671"/>
                      <a:pt x="844139" y="422767"/>
                    </a:cubicBezTo>
                    <a:lnTo>
                      <a:pt x="844139" y="424100"/>
                    </a:lnTo>
                    <a:cubicBezTo>
                      <a:pt x="844139" y="435149"/>
                      <a:pt x="835186" y="444103"/>
                      <a:pt x="824042" y="444103"/>
                    </a:cubicBezTo>
                    <a:close/>
                    <a:moveTo>
                      <a:pt x="20132" y="396859"/>
                    </a:moveTo>
                    <a:cubicBezTo>
                      <a:pt x="19370" y="396859"/>
                      <a:pt x="18512" y="396859"/>
                      <a:pt x="17750" y="396668"/>
                    </a:cubicBezTo>
                    <a:cubicBezTo>
                      <a:pt x="6701" y="395335"/>
                      <a:pt x="-1109" y="385333"/>
                      <a:pt x="129" y="374284"/>
                    </a:cubicBezTo>
                    <a:lnTo>
                      <a:pt x="20132" y="376666"/>
                    </a:lnTo>
                    <a:lnTo>
                      <a:pt x="224" y="373522"/>
                    </a:lnTo>
                    <a:cubicBezTo>
                      <a:pt x="1177" y="362473"/>
                      <a:pt x="10797" y="354282"/>
                      <a:pt x="22037" y="355330"/>
                    </a:cubicBezTo>
                    <a:cubicBezTo>
                      <a:pt x="33086" y="356282"/>
                      <a:pt x="41277" y="366093"/>
                      <a:pt x="40229" y="377142"/>
                    </a:cubicBezTo>
                    <a:cubicBezTo>
                      <a:pt x="40229" y="377332"/>
                      <a:pt x="40039" y="378856"/>
                      <a:pt x="40039" y="379047"/>
                    </a:cubicBezTo>
                    <a:cubicBezTo>
                      <a:pt x="38800" y="389334"/>
                      <a:pt x="30133" y="396859"/>
                      <a:pt x="20132" y="396859"/>
                    </a:cubicBezTo>
                    <a:close/>
                    <a:moveTo>
                      <a:pt x="813183" y="349519"/>
                    </a:moveTo>
                    <a:cubicBezTo>
                      <a:pt x="804134" y="349519"/>
                      <a:pt x="795847" y="343328"/>
                      <a:pt x="793657" y="334184"/>
                    </a:cubicBezTo>
                    <a:cubicBezTo>
                      <a:pt x="791085" y="323421"/>
                      <a:pt x="797467" y="311896"/>
                      <a:pt x="808230" y="309229"/>
                    </a:cubicBezTo>
                    <a:cubicBezTo>
                      <a:pt x="819089" y="306657"/>
                      <a:pt x="829756" y="312562"/>
                      <a:pt x="832328" y="323326"/>
                    </a:cubicBezTo>
                    <a:cubicBezTo>
                      <a:pt x="832328" y="323326"/>
                      <a:pt x="832614" y="324659"/>
                      <a:pt x="832709" y="324659"/>
                    </a:cubicBezTo>
                    <a:cubicBezTo>
                      <a:pt x="835281" y="335422"/>
                      <a:pt x="828709" y="346281"/>
                      <a:pt x="817946" y="348948"/>
                    </a:cubicBezTo>
                    <a:cubicBezTo>
                      <a:pt x="816326" y="349329"/>
                      <a:pt x="814802" y="349519"/>
                      <a:pt x="813183" y="349519"/>
                    </a:cubicBezTo>
                    <a:close/>
                    <a:moveTo>
                      <a:pt x="41277" y="304942"/>
                    </a:moveTo>
                    <a:cubicBezTo>
                      <a:pt x="39182" y="304942"/>
                      <a:pt x="37086" y="304657"/>
                      <a:pt x="35086" y="303895"/>
                    </a:cubicBezTo>
                    <a:cubicBezTo>
                      <a:pt x="24608" y="300275"/>
                      <a:pt x="18798" y="289512"/>
                      <a:pt x="22417" y="278939"/>
                    </a:cubicBezTo>
                    <a:cubicBezTo>
                      <a:pt x="22417" y="278844"/>
                      <a:pt x="22703" y="278082"/>
                      <a:pt x="22799" y="277987"/>
                    </a:cubicBezTo>
                    <a:cubicBezTo>
                      <a:pt x="26513" y="267604"/>
                      <a:pt x="38134" y="261889"/>
                      <a:pt x="48516" y="265604"/>
                    </a:cubicBezTo>
                    <a:cubicBezTo>
                      <a:pt x="58994" y="269319"/>
                      <a:pt x="64518" y="280463"/>
                      <a:pt x="60899" y="290941"/>
                    </a:cubicBezTo>
                    <a:cubicBezTo>
                      <a:pt x="57850" y="299323"/>
                      <a:pt x="49754" y="304942"/>
                      <a:pt x="41277" y="304942"/>
                    </a:cubicBezTo>
                    <a:close/>
                    <a:moveTo>
                      <a:pt x="781179" y="261604"/>
                    </a:moveTo>
                    <a:cubicBezTo>
                      <a:pt x="774035" y="261604"/>
                      <a:pt x="767177" y="257794"/>
                      <a:pt x="763463" y="251126"/>
                    </a:cubicBezTo>
                    <a:cubicBezTo>
                      <a:pt x="763367" y="250936"/>
                      <a:pt x="762701" y="249507"/>
                      <a:pt x="762510" y="249316"/>
                    </a:cubicBezTo>
                    <a:cubicBezTo>
                      <a:pt x="757557" y="239410"/>
                      <a:pt x="761557" y="227314"/>
                      <a:pt x="771464" y="222361"/>
                    </a:cubicBezTo>
                    <a:cubicBezTo>
                      <a:pt x="781370" y="217408"/>
                      <a:pt x="793466" y="221408"/>
                      <a:pt x="798419" y="231314"/>
                    </a:cubicBezTo>
                    <a:lnTo>
                      <a:pt x="780417" y="240268"/>
                    </a:lnTo>
                    <a:lnTo>
                      <a:pt x="798896" y="231886"/>
                    </a:lnTo>
                    <a:cubicBezTo>
                      <a:pt x="804134" y="241601"/>
                      <a:pt x="800515" y="253888"/>
                      <a:pt x="790799" y="259127"/>
                    </a:cubicBezTo>
                    <a:cubicBezTo>
                      <a:pt x="787751" y="260842"/>
                      <a:pt x="784418" y="261604"/>
                      <a:pt x="781179" y="261604"/>
                    </a:cubicBezTo>
                    <a:close/>
                    <a:moveTo>
                      <a:pt x="83282" y="221980"/>
                    </a:moveTo>
                    <a:cubicBezTo>
                      <a:pt x="79567" y="221980"/>
                      <a:pt x="75758" y="220932"/>
                      <a:pt x="72424" y="218741"/>
                    </a:cubicBezTo>
                    <a:cubicBezTo>
                      <a:pt x="63089" y="212740"/>
                      <a:pt x="60422" y="200263"/>
                      <a:pt x="66423" y="190928"/>
                    </a:cubicBezTo>
                    <a:cubicBezTo>
                      <a:pt x="66423" y="190833"/>
                      <a:pt x="66804" y="190357"/>
                      <a:pt x="66899" y="190261"/>
                    </a:cubicBezTo>
                    <a:cubicBezTo>
                      <a:pt x="72995" y="181022"/>
                      <a:pt x="85568" y="178069"/>
                      <a:pt x="94808" y="184070"/>
                    </a:cubicBezTo>
                    <a:cubicBezTo>
                      <a:pt x="104047" y="190071"/>
                      <a:pt x="106999" y="202072"/>
                      <a:pt x="101094" y="211407"/>
                    </a:cubicBezTo>
                    <a:cubicBezTo>
                      <a:pt x="101094" y="211407"/>
                      <a:pt x="100332" y="212645"/>
                      <a:pt x="100237" y="212645"/>
                    </a:cubicBezTo>
                    <a:cubicBezTo>
                      <a:pt x="96332" y="218646"/>
                      <a:pt x="89855" y="221980"/>
                      <a:pt x="83282" y="221980"/>
                    </a:cubicBezTo>
                    <a:close/>
                    <a:moveTo>
                      <a:pt x="729649" y="183499"/>
                    </a:moveTo>
                    <a:cubicBezTo>
                      <a:pt x="723743" y="183499"/>
                      <a:pt x="717933" y="180927"/>
                      <a:pt x="714028" y="176069"/>
                    </a:cubicBezTo>
                    <a:cubicBezTo>
                      <a:pt x="707170" y="167497"/>
                      <a:pt x="707932" y="154543"/>
                      <a:pt x="716409" y="147494"/>
                    </a:cubicBezTo>
                    <a:cubicBezTo>
                      <a:pt x="724886" y="140446"/>
                      <a:pt x="736888" y="141017"/>
                      <a:pt x="744127" y="149304"/>
                    </a:cubicBezTo>
                    <a:cubicBezTo>
                      <a:pt x="744222" y="149494"/>
                      <a:pt x="745270" y="150637"/>
                      <a:pt x="745365" y="150828"/>
                    </a:cubicBezTo>
                    <a:cubicBezTo>
                      <a:pt x="752318" y="159496"/>
                      <a:pt x="750985" y="172164"/>
                      <a:pt x="742317" y="179117"/>
                    </a:cubicBezTo>
                    <a:cubicBezTo>
                      <a:pt x="738602" y="182070"/>
                      <a:pt x="734126" y="183499"/>
                      <a:pt x="729649" y="183499"/>
                    </a:cubicBezTo>
                    <a:close/>
                    <a:moveTo>
                      <a:pt x="143576" y="149399"/>
                    </a:moveTo>
                    <a:cubicBezTo>
                      <a:pt x="138242" y="149399"/>
                      <a:pt x="133003" y="147399"/>
                      <a:pt x="129193" y="143398"/>
                    </a:cubicBezTo>
                    <a:cubicBezTo>
                      <a:pt x="121573" y="135397"/>
                      <a:pt x="121382" y="123110"/>
                      <a:pt x="129383" y="115490"/>
                    </a:cubicBezTo>
                    <a:cubicBezTo>
                      <a:pt x="129479" y="115490"/>
                      <a:pt x="130431" y="114442"/>
                      <a:pt x="130526" y="114442"/>
                    </a:cubicBezTo>
                    <a:cubicBezTo>
                      <a:pt x="138622" y="106822"/>
                      <a:pt x="151386" y="107203"/>
                      <a:pt x="158911" y="115300"/>
                    </a:cubicBezTo>
                    <a:cubicBezTo>
                      <a:pt x="166531" y="123396"/>
                      <a:pt x="166150" y="136159"/>
                      <a:pt x="158054" y="143684"/>
                    </a:cubicBezTo>
                    <a:cubicBezTo>
                      <a:pt x="154053" y="147494"/>
                      <a:pt x="148814" y="149399"/>
                      <a:pt x="143576" y="149399"/>
                    </a:cubicBezTo>
                    <a:close/>
                    <a:moveTo>
                      <a:pt x="661545" y="119300"/>
                    </a:moveTo>
                    <a:cubicBezTo>
                      <a:pt x="657354" y="119300"/>
                      <a:pt x="653163" y="118062"/>
                      <a:pt x="649639" y="115395"/>
                    </a:cubicBezTo>
                    <a:cubicBezTo>
                      <a:pt x="640685" y="108823"/>
                      <a:pt x="638304" y="95773"/>
                      <a:pt x="644876" y="86915"/>
                    </a:cubicBezTo>
                    <a:cubicBezTo>
                      <a:pt x="651544" y="77962"/>
                      <a:pt x="663545" y="75771"/>
                      <a:pt x="672499" y="82343"/>
                    </a:cubicBezTo>
                    <a:lnTo>
                      <a:pt x="673547" y="83105"/>
                    </a:lnTo>
                    <a:cubicBezTo>
                      <a:pt x="682500" y="89677"/>
                      <a:pt x="684310" y="102346"/>
                      <a:pt x="677738" y="111204"/>
                    </a:cubicBezTo>
                    <a:cubicBezTo>
                      <a:pt x="673832" y="116443"/>
                      <a:pt x="667736" y="119300"/>
                      <a:pt x="661545" y="119300"/>
                    </a:cubicBezTo>
                    <a:close/>
                    <a:moveTo>
                      <a:pt x="218918" y="93392"/>
                    </a:moveTo>
                    <a:cubicBezTo>
                      <a:pt x="211870" y="93392"/>
                      <a:pt x="205012" y="89963"/>
                      <a:pt x="201392" y="83581"/>
                    </a:cubicBezTo>
                    <a:cubicBezTo>
                      <a:pt x="195868" y="74056"/>
                      <a:pt x="198535" y="62150"/>
                      <a:pt x="208060" y="56530"/>
                    </a:cubicBezTo>
                    <a:cubicBezTo>
                      <a:pt x="208155" y="56530"/>
                      <a:pt x="209393" y="55768"/>
                      <a:pt x="209393" y="55768"/>
                    </a:cubicBezTo>
                    <a:cubicBezTo>
                      <a:pt x="219013" y="50244"/>
                      <a:pt x="231301" y="53673"/>
                      <a:pt x="236825" y="63293"/>
                    </a:cubicBezTo>
                    <a:cubicBezTo>
                      <a:pt x="242350" y="72913"/>
                      <a:pt x="238921" y="85201"/>
                      <a:pt x="229301" y="90725"/>
                    </a:cubicBezTo>
                    <a:cubicBezTo>
                      <a:pt x="226062" y="92535"/>
                      <a:pt x="222443" y="93392"/>
                      <a:pt x="218918" y="93392"/>
                    </a:cubicBezTo>
                    <a:close/>
                    <a:moveTo>
                      <a:pt x="580582" y="72437"/>
                    </a:moveTo>
                    <a:cubicBezTo>
                      <a:pt x="578011" y="72437"/>
                      <a:pt x="575344" y="71961"/>
                      <a:pt x="572772" y="70913"/>
                    </a:cubicBezTo>
                    <a:cubicBezTo>
                      <a:pt x="572677" y="70913"/>
                      <a:pt x="571343" y="70342"/>
                      <a:pt x="571343" y="70246"/>
                    </a:cubicBezTo>
                    <a:cubicBezTo>
                      <a:pt x="561152" y="65770"/>
                      <a:pt x="556484" y="53959"/>
                      <a:pt x="560961" y="43767"/>
                    </a:cubicBezTo>
                    <a:cubicBezTo>
                      <a:pt x="565343" y="33575"/>
                      <a:pt x="577249" y="29003"/>
                      <a:pt x="587440" y="33385"/>
                    </a:cubicBezTo>
                    <a:lnTo>
                      <a:pt x="579439" y="51863"/>
                    </a:lnTo>
                    <a:lnTo>
                      <a:pt x="588393" y="33861"/>
                    </a:lnTo>
                    <a:cubicBezTo>
                      <a:pt x="598585" y="38147"/>
                      <a:pt x="603443" y="49958"/>
                      <a:pt x="599156" y="60150"/>
                    </a:cubicBezTo>
                    <a:cubicBezTo>
                      <a:pt x="595918" y="67770"/>
                      <a:pt x="588393" y="72437"/>
                      <a:pt x="580582" y="72437"/>
                    </a:cubicBezTo>
                    <a:close/>
                    <a:moveTo>
                      <a:pt x="303977" y="56721"/>
                    </a:moveTo>
                    <a:cubicBezTo>
                      <a:pt x="295309" y="56721"/>
                      <a:pt x="287308" y="51101"/>
                      <a:pt x="284736" y="42338"/>
                    </a:cubicBezTo>
                    <a:cubicBezTo>
                      <a:pt x="281593" y="31670"/>
                      <a:pt x="287689" y="20526"/>
                      <a:pt x="298262" y="17383"/>
                    </a:cubicBezTo>
                    <a:lnTo>
                      <a:pt x="303977" y="36623"/>
                    </a:lnTo>
                    <a:lnTo>
                      <a:pt x="299405" y="17002"/>
                    </a:lnTo>
                    <a:cubicBezTo>
                      <a:pt x="309977" y="13763"/>
                      <a:pt x="321217" y="19764"/>
                      <a:pt x="324455" y="30432"/>
                    </a:cubicBezTo>
                    <a:cubicBezTo>
                      <a:pt x="327694" y="41100"/>
                      <a:pt x="321693" y="52244"/>
                      <a:pt x="311025" y="55483"/>
                    </a:cubicBezTo>
                    <a:cubicBezTo>
                      <a:pt x="311025" y="55483"/>
                      <a:pt x="309692" y="55864"/>
                      <a:pt x="309692" y="55864"/>
                    </a:cubicBezTo>
                    <a:cubicBezTo>
                      <a:pt x="307787" y="56435"/>
                      <a:pt x="305881" y="56721"/>
                      <a:pt x="303977" y="56721"/>
                    </a:cubicBezTo>
                    <a:close/>
                    <a:moveTo>
                      <a:pt x="490857" y="45577"/>
                    </a:moveTo>
                    <a:cubicBezTo>
                      <a:pt x="489809" y="45577"/>
                      <a:pt x="488762" y="45481"/>
                      <a:pt x="487714" y="45291"/>
                    </a:cubicBezTo>
                    <a:cubicBezTo>
                      <a:pt x="487714" y="45291"/>
                      <a:pt x="486380" y="45100"/>
                      <a:pt x="486285" y="45005"/>
                    </a:cubicBezTo>
                    <a:cubicBezTo>
                      <a:pt x="475331" y="43195"/>
                      <a:pt x="467902" y="32813"/>
                      <a:pt x="469807" y="21859"/>
                    </a:cubicBezTo>
                    <a:cubicBezTo>
                      <a:pt x="471617" y="10906"/>
                      <a:pt x="481904" y="3476"/>
                      <a:pt x="492953" y="5381"/>
                    </a:cubicBezTo>
                    <a:cubicBezTo>
                      <a:pt x="492953" y="5381"/>
                      <a:pt x="493619" y="5476"/>
                      <a:pt x="493619" y="5476"/>
                    </a:cubicBezTo>
                    <a:cubicBezTo>
                      <a:pt x="504573" y="7381"/>
                      <a:pt x="512193" y="17764"/>
                      <a:pt x="510383" y="28717"/>
                    </a:cubicBezTo>
                    <a:cubicBezTo>
                      <a:pt x="508669" y="38528"/>
                      <a:pt x="500477" y="45577"/>
                      <a:pt x="490857" y="45577"/>
                    </a:cubicBezTo>
                    <a:close/>
                    <a:moveTo>
                      <a:pt x="396083" y="40243"/>
                    </a:moveTo>
                    <a:cubicBezTo>
                      <a:pt x="385511" y="40243"/>
                      <a:pt x="376652" y="31956"/>
                      <a:pt x="375986" y="21288"/>
                    </a:cubicBezTo>
                    <a:cubicBezTo>
                      <a:pt x="375319" y="10239"/>
                      <a:pt x="383796" y="714"/>
                      <a:pt x="394845" y="47"/>
                    </a:cubicBezTo>
                    <a:lnTo>
                      <a:pt x="395988" y="20145"/>
                    </a:lnTo>
                    <a:lnTo>
                      <a:pt x="396083" y="47"/>
                    </a:lnTo>
                    <a:cubicBezTo>
                      <a:pt x="407228" y="-715"/>
                      <a:pt x="416657" y="7858"/>
                      <a:pt x="417324" y="18907"/>
                    </a:cubicBezTo>
                    <a:cubicBezTo>
                      <a:pt x="417991" y="29956"/>
                      <a:pt x="409609" y="39481"/>
                      <a:pt x="398464" y="40147"/>
                    </a:cubicBezTo>
                    <a:cubicBezTo>
                      <a:pt x="398464" y="40147"/>
                      <a:pt x="397131" y="40243"/>
                      <a:pt x="397131" y="40243"/>
                    </a:cubicBezTo>
                    <a:cubicBezTo>
                      <a:pt x="396940" y="40243"/>
                      <a:pt x="396464" y="40243"/>
                      <a:pt x="396083" y="40243"/>
                    </a:cubicBezTo>
                    <a:close/>
                  </a:path>
                </a:pathLst>
              </a:custGeom>
              <a:solidFill>
                <a:schemeClr val="accent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9" name="Freeform: Shape 8">
                <a:extLst>
                  <a:ext uri="{FF2B5EF4-FFF2-40B4-BE49-F238E27FC236}">
                    <a16:creationId xmlns:a16="http://schemas.microsoft.com/office/drawing/2014/main" id="{92FDF2D5-EAC2-4A68-B23A-3A7B5B7EA59F}"/>
                  </a:ext>
                </a:extLst>
              </p:cNvPr>
              <p:cNvSpPr/>
              <p:nvPr/>
            </p:nvSpPr>
            <p:spPr>
              <a:xfrm>
                <a:off x="4738352" y="2894117"/>
                <a:ext cx="604193" cy="605157"/>
              </a:xfrm>
              <a:custGeom>
                <a:avLst/>
                <a:gdLst>
                  <a:gd name="connsiteX0" fmla="*/ 397798 w 844139"/>
                  <a:gd name="connsiteY0" fmla="*/ 845486 h 845486"/>
                  <a:gd name="connsiteX1" fmla="*/ 396559 w 844139"/>
                  <a:gd name="connsiteY1" fmla="*/ 845486 h 845486"/>
                  <a:gd name="connsiteX2" fmla="*/ 395226 w 844139"/>
                  <a:gd name="connsiteY2" fmla="*/ 845391 h 845486"/>
                  <a:gd name="connsiteX3" fmla="*/ 376367 w 844139"/>
                  <a:gd name="connsiteY3" fmla="*/ 824150 h 845486"/>
                  <a:gd name="connsiteX4" fmla="*/ 397607 w 844139"/>
                  <a:gd name="connsiteY4" fmla="*/ 805291 h 845486"/>
                  <a:gd name="connsiteX5" fmla="*/ 417134 w 844139"/>
                  <a:gd name="connsiteY5" fmla="*/ 826627 h 845486"/>
                  <a:gd name="connsiteX6" fmla="*/ 397798 w 844139"/>
                  <a:gd name="connsiteY6" fmla="*/ 845486 h 845486"/>
                  <a:gd name="connsiteX7" fmla="*/ 489905 w 844139"/>
                  <a:gd name="connsiteY7" fmla="*/ 840247 h 845486"/>
                  <a:gd name="connsiteX8" fmla="*/ 470188 w 844139"/>
                  <a:gd name="connsiteY8" fmla="*/ 823769 h 845486"/>
                  <a:gd name="connsiteX9" fmla="*/ 486380 w 844139"/>
                  <a:gd name="connsiteY9" fmla="*/ 800433 h 845486"/>
                  <a:gd name="connsiteX10" fmla="*/ 510383 w 844139"/>
                  <a:gd name="connsiteY10" fmla="*/ 816530 h 845486"/>
                  <a:gd name="connsiteX11" fmla="*/ 494858 w 844139"/>
                  <a:gd name="connsiteY11" fmla="*/ 839771 h 845486"/>
                  <a:gd name="connsiteX12" fmla="*/ 493524 w 844139"/>
                  <a:gd name="connsiteY12" fmla="*/ 839962 h 845486"/>
                  <a:gd name="connsiteX13" fmla="*/ 489905 w 844139"/>
                  <a:gd name="connsiteY13" fmla="*/ 840247 h 845486"/>
                  <a:gd name="connsiteX14" fmla="*/ 305596 w 844139"/>
                  <a:gd name="connsiteY14" fmla="*/ 829389 h 845486"/>
                  <a:gd name="connsiteX15" fmla="*/ 299595 w 844139"/>
                  <a:gd name="connsiteY15" fmla="*/ 828436 h 845486"/>
                  <a:gd name="connsiteX16" fmla="*/ 305596 w 844139"/>
                  <a:gd name="connsiteY16" fmla="*/ 809291 h 845486"/>
                  <a:gd name="connsiteX17" fmla="*/ 299024 w 844139"/>
                  <a:gd name="connsiteY17" fmla="*/ 828341 h 845486"/>
                  <a:gd name="connsiteX18" fmla="*/ 285022 w 844139"/>
                  <a:gd name="connsiteY18" fmla="*/ 803576 h 845486"/>
                  <a:gd name="connsiteX19" fmla="*/ 309596 w 844139"/>
                  <a:gd name="connsiteY19" fmla="*/ 789479 h 845486"/>
                  <a:gd name="connsiteX20" fmla="*/ 311597 w 844139"/>
                  <a:gd name="connsiteY20" fmla="*/ 790051 h 845486"/>
                  <a:gd name="connsiteX21" fmla="*/ 324836 w 844139"/>
                  <a:gd name="connsiteY21" fmla="*/ 815197 h 845486"/>
                  <a:gd name="connsiteX22" fmla="*/ 305596 w 844139"/>
                  <a:gd name="connsiteY22" fmla="*/ 829389 h 845486"/>
                  <a:gd name="connsiteX23" fmla="*/ 579821 w 844139"/>
                  <a:gd name="connsiteY23" fmla="*/ 813577 h 845486"/>
                  <a:gd name="connsiteX24" fmla="*/ 561533 w 844139"/>
                  <a:gd name="connsiteY24" fmla="*/ 801862 h 845486"/>
                  <a:gd name="connsiteX25" fmla="*/ 571153 w 844139"/>
                  <a:gd name="connsiteY25" fmla="*/ 775287 h 845486"/>
                  <a:gd name="connsiteX26" fmla="*/ 573058 w 844139"/>
                  <a:gd name="connsiteY26" fmla="*/ 774430 h 845486"/>
                  <a:gd name="connsiteX27" fmla="*/ 599347 w 844139"/>
                  <a:gd name="connsiteY27" fmla="*/ 785193 h 845486"/>
                  <a:gd name="connsiteX28" fmla="*/ 588584 w 844139"/>
                  <a:gd name="connsiteY28" fmla="*/ 811482 h 845486"/>
                  <a:gd name="connsiteX29" fmla="*/ 580773 w 844139"/>
                  <a:gd name="connsiteY29" fmla="*/ 792908 h 845486"/>
                  <a:gd name="connsiteX30" fmla="*/ 588012 w 844139"/>
                  <a:gd name="connsiteY30" fmla="*/ 811672 h 845486"/>
                  <a:gd name="connsiteX31" fmla="*/ 579821 w 844139"/>
                  <a:gd name="connsiteY31" fmla="*/ 813577 h 845486"/>
                  <a:gd name="connsiteX32" fmla="*/ 219585 w 844139"/>
                  <a:gd name="connsiteY32" fmla="*/ 792432 h 845486"/>
                  <a:gd name="connsiteX33" fmla="*/ 209393 w 844139"/>
                  <a:gd name="connsiteY33" fmla="*/ 789670 h 845486"/>
                  <a:gd name="connsiteX34" fmla="*/ 219585 w 844139"/>
                  <a:gd name="connsiteY34" fmla="*/ 772334 h 845486"/>
                  <a:gd name="connsiteX35" fmla="*/ 208536 w 844139"/>
                  <a:gd name="connsiteY35" fmla="*/ 789193 h 845486"/>
                  <a:gd name="connsiteX36" fmla="*/ 200916 w 844139"/>
                  <a:gd name="connsiteY36" fmla="*/ 761761 h 845486"/>
                  <a:gd name="connsiteX37" fmla="*/ 228348 w 844139"/>
                  <a:gd name="connsiteY37" fmla="*/ 754141 h 845486"/>
                  <a:gd name="connsiteX38" fmla="*/ 229777 w 844139"/>
                  <a:gd name="connsiteY38" fmla="*/ 754903 h 845486"/>
                  <a:gd name="connsiteX39" fmla="*/ 236921 w 844139"/>
                  <a:gd name="connsiteY39" fmla="*/ 782431 h 845486"/>
                  <a:gd name="connsiteX40" fmla="*/ 219585 w 844139"/>
                  <a:gd name="connsiteY40" fmla="*/ 792432 h 845486"/>
                  <a:gd name="connsiteX41" fmla="*/ 660783 w 844139"/>
                  <a:gd name="connsiteY41" fmla="*/ 767000 h 845486"/>
                  <a:gd name="connsiteX42" fmla="*/ 644591 w 844139"/>
                  <a:gd name="connsiteY42" fmla="*/ 758904 h 845486"/>
                  <a:gd name="connsiteX43" fmla="*/ 648782 w 844139"/>
                  <a:gd name="connsiteY43" fmla="*/ 730805 h 845486"/>
                  <a:gd name="connsiteX44" fmla="*/ 677452 w 844139"/>
                  <a:gd name="connsiteY44" fmla="*/ 734615 h 845486"/>
                  <a:gd name="connsiteX45" fmla="*/ 673832 w 844139"/>
                  <a:gd name="connsiteY45" fmla="*/ 762333 h 845486"/>
                  <a:gd name="connsiteX46" fmla="*/ 672785 w 844139"/>
                  <a:gd name="connsiteY46" fmla="*/ 763095 h 845486"/>
                  <a:gd name="connsiteX47" fmla="*/ 660783 w 844139"/>
                  <a:gd name="connsiteY47" fmla="*/ 767000 h 845486"/>
                  <a:gd name="connsiteX48" fmla="*/ 143861 w 844139"/>
                  <a:gd name="connsiteY48" fmla="*/ 736425 h 845486"/>
                  <a:gd name="connsiteX49" fmla="*/ 130907 w 844139"/>
                  <a:gd name="connsiteY49" fmla="*/ 731281 h 845486"/>
                  <a:gd name="connsiteX50" fmla="*/ 130240 w 844139"/>
                  <a:gd name="connsiteY50" fmla="*/ 730710 h 845486"/>
                  <a:gd name="connsiteX51" fmla="*/ 129002 w 844139"/>
                  <a:gd name="connsiteY51" fmla="*/ 702135 h 845486"/>
                  <a:gd name="connsiteX52" fmla="*/ 157101 w 844139"/>
                  <a:gd name="connsiteY52" fmla="*/ 700801 h 845486"/>
                  <a:gd name="connsiteX53" fmla="*/ 158720 w 844139"/>
                  <a:gd name="connsiteY53" fmla="*/ 729662 h 845486"/>
                  <a:gd name="connsiteX54" fmla="*/ 143861 w 844139"/>
                  <a:gd name="connsiteY54" fmla="*/ 736425 h 845486"/>
                  <a:gd name="connsiteX55" fmla="*/ 728982 w 844139"/>
                  <a:gd name="connsiteY55" fmla="*/ 702992 h 845486"/>
                  <a:gd name="connsiteX56" fmla="*/ 716028 w 844139"/>
                  <a:gd name="connsiteY56" fmla="*/ 698325 h 845486"/>
                  <a:gd name="connsiteX57" fmla="*/ 713551 w 844139"/>
                  <a:gd name="connsiteY57" fmla="*/ 670035 h 845486"/>
                  <a:gd name="connsiteX58" fmla="*/ 714409 w 844139"/>
                  <a:gd name="connsiteY58" fmla="*/ 668988 h 845486"/>
                  <a:gd name="connsiteX59" fmla="*/ 742698 w 844139"/>
                  <a:gd name="connsiteY59" fmla="*/ 666607 h 845486"/>
                  <a:gd name="connsiteX60" fmla="*/ 745079 w 844139"/>
                  <a:gd name="connsiteY60" fmla="*/ 694991 h 845486"/>
                  <a:gd name="connsiteX61" fmla="*/ 729744 w 844139"/>
                  <a:gd name="connsiteY61" fmla="*/ 682037 h 845486"/>
                  <a:gd name="connsiteX62" fmla="*/ 744317 w 844139"/>
                  <a:gd name="connsiteY62" fmla="*/ 695943 h 845486"/>
                  <a:gd name="connsiteX63" fmla="*/ 728982 w 844139"/>
                  <a:gd name="connsiteY63" fmla="*/ 702992 h 845486"/>
                  <a:gd name="connsiteX64" fmla="*/ 83473 w 844139"/>
                  <a:gd name="connsiteY64" fmla="*/ 664606 h 845486"/>
                  <a:gd name="connsiteX65" fmla="*/ 67566 w 844139"/>
                  <a:gd name="connsiteY65" fmla="*/ 656129 h 845486"/>
                  <a:gd name="connsiteX66" fmla="*/ 67090 w 844139"/>
                  <a:gd name="connsiteY66" fmla="*/ 655367 h 845486"/>
                  <a:gd name="connsiteX67" fmla="*/ 72519 w 844139"/>
                  <a:gd name="connsiteY67" fmla="*/ 627268 h 845486"/>
                  <a:gd name="connsiteX68" fmla="*/ 100142 w 844139"/>
                  <a:gd name="connsiteY68" fmla="*/ 632412 h 845486"/>
                  <a:gd name="connsiteX69" fmla="*/ 95188 w 844139"/>
                  <a:gd name="connsiteY69" fmla="*/ 660892 h 845486"/>
                  <a:gd name="connsiteX70" fmla="*/ 83473 w 844139"/>
                  <a:gd name="connsiteY70" fmla="*/ 664606 h 845486"/>
                  <a:gd name="connsiteX71" fmla="*/ 780703 w 844139"/>
                  <a:gd name="connsiteY71" fmla="*/ 624982 h 845486"/>
                  <a:gd name="connsiteX72" fmla="*/ 771749 w 844139"/>
                  <a:gd name="connsiteY72" fmla="*/ 622887 h 845486"/>
                  <a:gd name="connsiteX73" fmla="*/ 762796 w 844139"/>
                  <a:gd name="connsiteY73" fmla="*/ 595931 h 845486"/>
                  <a:gd name="connsiteX74" fmla="*/ 790037 w 844139"/>
                  <a:gd name="connsiteY74" fmla="*/ 586311 h 845486"/>
                  <a:gd name="connsiteX75" fmla="*/ 799372 w 844139"/>
                  <a:gd name="connsiteY75" fmla="*/ 612695 h 845486"/>
                  <a:gd name="connsiteX76" fmla="*/ 798800 w 844139"/>
                  <a:gd name="connsiteY76" fmla="*/ 613838 h 845486"/>
                  <a:gd name="connsiteX77" fmla="*/ 780703 w 844139"/>
                  <a:gd name="connsiteY77" fmla="*/ 624982 h 845486"/>
                  <a:gd name="connsiteX78" fmla="*/ 41372 w 844139"/>
                  <a:gd name="connsiteY78" fmla="*/ 580977 h 845486"/>
                  <a:gd name="connsiteX79" fmla="*/ 23180 w 844139"/>
                  <a:gd name="connsiteY79" fmla="*/ 568499 h 845486"/>
                  <a:gd name="connsiteX80" fmla="*/ 22608 w 844139"/>
                  <a:gd name="connsiteY80" fmla="*/ 566880 h 845486"/>
                  <a:gd name="connsiteX81" fmla="*/ 34800 w 844139"/>
                  <a:gd name="connsiteY81" fmla="*/ 541162 h 845486"/>
                  <a:gd name="connsiteX82" fmla="*/ 60517 w 844139"/>
                  <a:gd name="connsiteY82" fmla="*/ 553354 h 845486"/>
                  <a:gd name="connsiteX83" fmla="*/ 48707 w 844139"/>
                  <a:gd name="connsiteY83" fmla="*/ 579548 h 845486"/>
                  <a:gd name="connsiteX84" fmla="*/ 41372 w 844139"/>
                  <a:gd name="connsiteY84" fmla="*/ 580977 h 845486"/>
                  <a:gd name="connsiteX85" fmla="*/ 812897 w 844139"/>
                  <a:gd name="connsiteY85" fmla="*/ 536495 h 845486"/>
                  <a:gd name="connsiteX86" fmla="*/ 808706 w 844139"/>
                  <a:gd name="connsiteY86" fmla="*/ 536019 h 845486"/>
                  <a:gd name="connsiteX87" fmla="*/ 793371 w 844139"/>
                  <a:gd name="connsiteY87" fmla="*/ 512778 h 845486"/>
                  <a:gd name="connsiteX88" fmla="*/ 793752 w 844139"/>
                  <a:gd name="connsiteY88" fmla="*/ 511063 h 845486"/>
                  <a:gd name="connsiteX89" fmla="*/ 818041 w 844139"/>
                  <a:gd name="connsiteY89" fmla="*/ 496204 h 845486"/>
                  <a:gd name="connsiteX90" fmla="*/ 832900 w 844139"/>
                  <a:gd name="connsiteY90" fmla="*/ 520398 h 845486"/>
                  <a:gd name="connsiteX91" fmla="*/ 832900 w 844139"/>
                  <a:gd name="connsiteY91" fmla="*/ 520493 h 845486"/>
                  <a:gd name="connsiteX92" fmla="*/ 812897 w 844139"/>
                  <a:gd name="connsiteY92" fmla="*/ 536495 h 845486"/>
                  <a:gd name="connsiteX93" fmla="*/ 20227 w 844139"/>
                  <a:gd name="connsiteY93" fmla="*/ 490489 h 845486"/>
                  <a:gd name="connsiteX94" fmla="*/ 319 w 844139"/>
                  <a:gd name="connsiteY94" fmla="*/ 472773 h 845486"/>
                  <a:gd name="connsiteX95" fmla="*/ 20322 w 844139"/>
                  <a:gd name="connsiteY95" fmla="*/ 470392 h 845486"/>
                  <a:gd name="connsiteX96" fmla="*/ 224 w 844139"/>
                  <a:gd name="connsiteY96" fmla="*/ 471535 h 845486"/>
                  <a:gd name="connsiteX97" fmla="*/ 17750 w 844139"/>
                  <a:gd name="connsiteY97" fmla="*/ 449151 h 845486"/>
                  <a:gd name="connsiteX98" fmla="*/ 40134 w 844139"/>
                  <a:gd name="connsiteY98" fmla="*/ 466677 h 845486"/>
                  <a:gd name="connsiteX99" fmla="*/ 40325 w 844139"/>
                  <a:gd name="connsiteY99" fmla="*/ 468010 h 845486"/>
                  <a:gd name="connsiteX100" fmla="*/ 22703 w 844139"/>
                  <a:gd name="connsiteY100" fmla="*/ 490394 h 845486"/>
                  <a:gd name="connsiteX101" fmla="*/ 20227 w 844139"/>
                  <a:gd name="connsiteY101" fmla="*/ 490489 h 845486"/>
                  <a:gd name="connsiteX102" fmla="*/ 824042 w 844139"/>
                  <a:gd name="connsiteY102" fmla="*/ 444198 h 845486"/>
                  <a:gd name="connsiteX103" fmla="*/ 803944 w 844139"/>
                  <a:gd name="connsiteY103" fmla="*/ 424100 h 845486"/>
                  <a:gd name="connsiteX104" fmla="*/ 803944 w 844139"/>
                  <a:gd name="connsiteY104" fmla="*/ 423243 h 845486"/>
                  <a:gd name="connsiteX105" fmla="*/ 803944 w 844139"/>
                  <a:gd name="connsiteY105" fmla="*/ 422481 h 845486"/>
                  <a:gd name="connsiteX106" fmla="*/ 824042 w 844139"/>
                  <a:gd name="connsiteY106" fmla="*/ 401716 h 845486"/>
                  <a:gd name="connsiteX107" fmla="*/ 844139 w 844139"/>
                  <a:gd name="connsiteY107" fmla="*/ 421147 h 845486"/>
                  <a:gd name="connsiteX108" fmla="*/ 844139 w 844139"/>
                  <a:gd name="connsiteY108" fmla="*/ 422481 h 845486"/>
                  <a:gd name="connsiteX109" fmla="*/ 844139 w 844139"/>
                  <a:gd name="connsiteY109" fmla="*/ 422671 h 845486"/>
                  <a:gd name="connsiteX110" fmla="*/ 844139 w 844139"/>
                  <a:gd name="connsiteY110" fmla="*/ 422862 h 845486"/>
                  <a:gd name="connsiteX111" fmla="*/ 844139 w 844139"/>
                  <a:gd name="connsiteY111" fmla="*/ 424195 h 845486"/>
                  <a:gd name="connsiteX112" fmla="*/ 824042 w 844139"/>
                  <a:gd name="connsiteY112" fmla="*/ 444198 h 845486"/>
                  <a:gd name="connsiteX113" fmla="*/ 20132 w 844139"/>
                  <a:gd name="connsiteY113" fmla="*/ 396859 h 845486"/>
                  <a:gd name="connsiteX114" fmla="*/ 17750 w 844139"/>
                  <a:gd name="connsiteY114" fmla="*/ 396668 h 845486"/>
                  <a:gd name="connsiteX115" fmla="*/ 129 w 844139"/>
                  <a:gd name="connsiteY115" fmla="*/ 374284 h 845486"/>
                  <a:gd name="connsiteX116" fmla="*/ 20132 w 844139"/>
                  <a:gd name="connsiteY116" fmla="*/ 376666 h 845486"/>
                  <a:gd name="connsiteX117" fmla="*/ 319 w 844139"/>
                  <a:gd name="connsiteY117" fmla="*/ 373237 h 845486"/>
                  <a:gd name="connsiteX118" fmla="*/ 22417 w 844139"/>
                  <a:gd name="connsiteY118" fmla="*/ 355330 h 845486"/>
                  <a:gd name="connsiteX119" fmla="*/ 40325 w 844139"/>
                  <a:gd name="connsiteY119" fmla="*/ 377428 h 845486"/>
                  <a:gd name="connsiteX120" fmla="*/ 40134 w 844139"/>
                  <a:gd name="connsiteY120" fmla="*/ 379047 h 845486"/>
                  <a:gd name="connsiteX121" fmla="*/ 20132 w 844139"/>
                  <a:gd name="connsiteY121" fmla="*/ 396859 h 845486"/>
                  <a:gd name="connsiteX122" fmla="*/ 813278 w 844139"/>
                  <a:gd name="connsiteY122" fmla="*/ 349615 h 845486"/>
                  <a:gd name="connsiteX123" fmla="*/ 793752 w 844139"/>
                  <a:gd name="connsiteY123" fmla="*/ 334279 h 845486"/>
                  <a:gd name="connsiteX124" fmla="*/ 808325 w 844139"/>
                  <a:gd name="connsiteY124" fmla="*/ 309324 h 845486"/>
                  <a:gd name="connsiteX125" fmla="*/ 832424 w 844139"/>
                  <a:gd name="connsiteY125" fmla="*/ 323421 h 845486"/>
                  <a:gd name="connsiteX126" fmla="*/ 832805 w 844139"/>
                  <a:gd name="connsiteY126" fmla="*/ 324754 h 845486"/>
                  <a:gd name="connsiteX127" fmla="*/ 818041 w 844139"/>
                  <a:gd name="connsiteY127" fmla="*/ 349043 h 845486"/>
                  <a:gd name="connsiteX128" fmla="*/ 813278 w 844139"/>
                  <a:gd name="connsiteY128" fmla="*/ 349615 h 845486"/>
                  <a:gd name="connsiteX129" fmla="*/ 41277 w 844139"/>
                  <a:gd name="connsiteY129" fmla="*/ 305038 h 845486"/>
                  <a:gd name="connsiteX130" fmla="*/ 35086 w 844139"/>
                  <a:gd name="connsiteY130" fmla="*/ 303990 h 845486"/>
                  <a:gd name="connsiteX131" fmla="*/ 22417 w 844139"/>
                  <a:gd name="connsiteY131" fmla="*/ 279034 h 845486"/>
                  <a:gd name="connsiteX132" fmla="*/ 22798 w 844139"/>
                  <a:gd name="connsiteY132" fmla="*/ 278082 h 845486"/>
                  <a:gd name="connsiteX133" fmla="*/ 48516 w 844139"/>
                  <a:gd name="connsiteY133" fmla="*/ 265699 h 845486"/>
                  <a:gd name="connsiteX134" fmla="*/ 60898 w 844139"/>
                  <a:gd name="connsiteY134" fmla="*/ 291036 h 845486"/>
                  <a:gd name="connsiteX135" fmla="*/ 41277 w 844139"/>
                  <a:gd name="connsiteY135" fmla="*/ 305038 h 845486"/>
                  <a:gd name="connsiteX136" fmla="*/ 781179 w 844139"/>
                  <a:gd name="connsiteY136" fmla="*/ 261699 h 845486"/>
                  <a:gd name="connsiteX137" fmla="*/ 763558 w 844139"/>
                  <a:gd name="connsiteY137" fmla="*/ 251221 h 845486"/>
                  <a:gd name="connsiteX138" fmla="*/ 762605 w 844139"/>
                  <a:gd name="connsiteY138" fmla="*/ 249412 h 845486"/>
                  <a:gd name="connsiteX139" fmla="*/ 771559 w 844139"/>
                  <a:gd name="connsiteY139" fmla="*/ 222456 h 845486"/>
                  <a:gd name="connsiteX140" fmla="*/ 798514 w 844139"/>
                  <a:gd name="connsiteY140" fmla="*/ 231409 h 845486"/>
                  <a:gd name="connsiteX141" fmla="*/ 780512 w 844139"/>
                  <a:gd name="connsiteY141" fmla="*/ 240363 h 845486"/>
                  <a:gd name="connsiteX142" fmla="*/ 798800 w 844139"/>
                  <a:gd name="connsiteY142" fmla="*/ 231981 h 845486"/>
                  <a:gd name="connsiteX143" fmla="*/ 790704 w 844139"/>
                  <a:gd name="connsiteY143" fmla="*/ 259222 h 845486"/>
                  <a:gd name="connsiteX144" fmla="*/ 781179 w 844139"/>
                  <a:gd name="connsiteY144" fmla="*/ 261699 h 845486"/>
                  <a:gd name="connsiteX145" fmla="*/ 83282 w 844139"/>
                  <a:gd name="connsiteY145" fmla="*/ 221980 h 845486"/>
                  <a:gd name="connsiteX146" fmla="*/ 72424 w 844139"/>
                  <a:gd name="connsiteY146" fmla="*/ 218741 h 845486"/>
                  <a:gd name="connsiteX147" fmla="*/ 66423 w 844139"/>
                  <a:gd name="connsiteY147" fmla="*/ 190928 h 845486"/>
                  <a:gd name="connsiteX148" fmla="*/ 66899 w 844139"/>
                  <a:gd name="connsiteY148" fmla="*/ 190261 h 845486"/>
                  <a:gd name="connsiteX149" fmla="*/ 94808 w 844139"/>
                  <a:gd name="connsiteY149" fmla="*/ 184070 h 845486"/>
                  <a:gd name="connsiteX150" fmla="*/ 101094 w 844139"/>
                  <a:gd name="connsiteY150" fmla="*/ 211407 h 845486"/>
                  <a:gd name="connsiteX151" fmla="*/ 100237 w 844139"/>
                  <a:gd name="connsiteY151" fmla="*/ 212645 h 845486"/>
                  <a:gd name="connsiteX152" fmla="*/ 83282 w 844139"/>
                  <a:gd name="connsiteY152" fmla="*/ 221980 h 845486"/>
                  <a:gd name="connsiteX153" fmla="*/ 729649 w 844139"/>
                  <a:gd name="connsiteY153" fmla="*/ 183594 h 845486"/>
                  <a:gd name="connsiteX154" fmla="*/ 714028 w 844139"/>
                  <a:gd name="connsiteY154" fmla="*/ 176164 h 845486"/>
                  <a:gd name="connsiteX155" fmla="*/ 716314 w 844139"/>
                  <a:gd name="connsiteY155" fmla="*/ 147589 h 845486"/>
                  <a:gd name="connsiteX156" fmla="*/ 744032 w 844139"/>
                  <a:gd name="connsiteY156" fmla="*/ 149399 h 845486"/>
                  <a:gd name="connsiteX157" fmla="*/ 745270 w 844139"/>
                  <a:gd name="connsiteY157" fmla="*/ 150923 h 845486"/>
                  <a:gd name="connsiteX158" fmla="*/ 742222 w 844139"/>
                  <a:gd name="connsiteY158" fmla="*/ 179212 h 845486"/>
                  <a:gd name="connsiteX159" fmla="*/ 729649 w 844139"/>
                  <a:gd name="connsiteY159" fmla="*/ 183594 h 845486"/>
                  <a:gd name="connsiteX160" fmla="*/ 143576 w 844139"/>
                  <a:gd name="connsiteY160" fmla="*/ 149494 h 845486"/>
                  <a:gd name="connsiteX161" fmla="*/ 129193 w 844139"/>
                  <a:gd name="connsiteY161" fmla="*/ 143494 h 845486"/>
                  <a:gd name="connsiteX162" fmla="*/ 129383 w 844139"/>
                  <a:gd name="connsiteY162" fmla="*/ 115585 h 845486"/>
                  <a:gd name="connsiteX163" fmla="*/ 130526 w 844139"/>
                  <a:gd name="connsiteY163" fmla="*/ 114538 h 845486"/>
                  <a:gd name="connsiteX164" fmla="*/ 158911 w 844139"/>
                  <a:gd name="connsiteY164" fmla="*/ 115395 h 845486"/>
                  <a:gd name="connsiteX165" fmla="*/ 158054 w 844139"/>
                  <a:gd name="connsiteY165" fmla="*/ 143779 h 845486"/>
                  <a:gd name="connsiteX166" fmla="*/ 143576 w 844139"/>
                  <a:gd name="connsiteY166" fmla="*/ 149494 h 845486"/>
                  <a:gd name="connsiteX167" fmla="*/ 661640 w 844139"/>
                  <a:gd name="connsiteY167" fmla="*/ 119300 h 845486"/>
                  <a:gd name="connsiteX168" fmla="*/ 649734 w 844139"/>
                  <a:gd name="connsiteY168" fmla="*/ 115395 h 845486"/>
                  <a:gd name="connsiteX169" fmla="*/ 644972 w 844139"/>
                  <a:gd name="connsiteY169" fmla="*/ 86915 h 845486"/>
                  <a:gd name="connsiteX170" fmla="*/ 672594 w 844139"/>
                  <a:gd name="connsiteY170" fmla="*/ 82343 h 845486"/>
                  <a:gd name="connsiteX171" fmla="*/ 673642 w 844139"/>
                  <a:gd name="connsiteY171" fmla="*/ 83105 h 845486"/>
                  <a:gd name="connsiteX172" fmla="*/ 677833 w 844139"/>
                  <a:gd name="connsiteY172" fmla="*/ 111204 h 845486"/>
                  <a:gd name="connsiteX173" fmla="*/ 661640 w 844139"/>
                  <a:gd name="connsiteY173" fmla="*/ 119300 h 845486"/>
                  <a:gd name="connsiteX174" fmla="*/ 218918 w 844139"/>
                  <a:gd name="connsiteY174" fmla="*/ 93487 h 845486"/>
                  <a:gd name="connsiteX175" fmla="*/ 201392 w 844139"/>
                  <a:gd name="connsiteY175" fmla="*/ 83677 h 845486"/>
                  <a:gd name="connsiteX176" fmla="*/ 208060 w 844139"/>
                  <a:gd name="connsiteY176" fmla="*/ 56626 h 845486"/>
                  <a:gd name="connsiteX177" fmla="*/ 209393 w 844139"/>
                  <a:gd name="connsiteY177" fmla="*/ 55864 h 845486"/>
                  <a:gd name="connsiteX178" fmla="*/ 236825 w 844139"/>
                  <a:gd name="connsiteY178" fmla="*/ 63388 h 845486"/>
                  <a:gd name="connsiteX179" fmla="*/ 229301 w 844139"/>
                  <a:gd name="connsiteY179" fmla="*/ 90820 h 845486"/>
                  <a:gd name="connsiteX180" fmla="*/ 218918 w 844139"/>
                  <a:gd name="connsiteY180" fmla="*/ 93487 h 845486"/>
                  <a:gd name="connsiteX181" fmla="*/ 580583 w 844139"/>
                  <a:gd name="connsiteY181" fmla="*/ 72437 h 845486"/>
                  <a:gd name="connsiteX182" fmla="*/ 572867 w 844139"/>
                  <a:gd name="connsiteY182" fmla="*/ 70818 h 845486"/>
                  <a:gd name="connsiteX183" fmla="*/ 571439 w 844139"/>
                  <a:gd name="connsiteY183" fmla="*/ 70151 h 845486"/>
                  <a:gd name="connsiteX184" fmla="*/ 561056 w 844139"/>
                  <a:gd name="connsiteY184" fmla="*/ 43672 h 845486"/>
                  <a:gd name="connsiteX185" fmla="*/ 587536 w 844139"/>
                  <a:gd name="connsiteY185" fmla="*/ 33289 h 845486"/>
                  <a:gd name="connsiteX186" fmla="*/ 579535 w 844139"/>
                  <a:gd name="connsiteY186" fmla="*/ 51768 h 845486"/>
                  <a:gd name="connsiteX187" fmla="*/ 588488 w 844139"/>
                  <a:gd name="connsiteY187" fmla="*/ 33766 h 845486"/>
                  <a:gd name="connsiteX188" fmla="*/ 599251 w 844139"/>
                  <a:gd name="connsiteY188" fmla="*/ 60055 h 845486"/>
                  <a:gd name="connsiteX189" fmla="*/ 580583 w 844139"/>
                  <a:gd name="connsiteY189" fmla="*/ 72437 h 845486"/>
                  <a:gd name="connsiteX190" fmla="*/ 303976 w 844139"/>
                  <a:gd name="connsiteY190" fmla="*/ 56721 h 845486"/>
                  <a:gd name="connsiteX191" fmla="*/ 284736 w 844139"/>
                  <a:gd name="connsiteY191" fmla="*/ 42338 h 845486"/>
                  <a:gd name="connsiteX192" fmla="*/ 298262 w 844139"/>
                  <a:gd name="connsiteY192" fmla="*/ 17383 h 845486"/>
                  <a:gd name="connsiteX193" fmla="*/ 303976 w 844139"/>
                  <a:gd name="connsiteY193" fmla="*/ 36623 h 845486"/>
                  <a:gd name="connsiteX194" fmla="*/ 299405 w 844139"/>
                  <a:gd name="connsiteY194" fmla="*/ 17002 h 845486"/>
                  <a:gd name="connsiteX195" fmla="*/ 324455 w 844139"/>
                  <a:gd name="connsiteY195" fmla="*/ 30432 h 845486"/>
                  <a:gd name="connsiteX196" fmla="*/ 311025 w 844139"/>
                  <a:gd name="connsiteY196" fmla="*/ 55483 h 845486"/>
                  <a:gd name="connsiteX197" fmla="*/ 309692 w 844139"/>
                  <a:gd name="connsiteY197" fmla="*/ 55864 h 845486"/>
                  <a:gd name="connsiteX198" fmla="*/ 303976 w 844139"/>
                  <a:gd name="connsiteY198" fmla="*/ 56721 h 845486"/>
                  <a:gd name="connsiteX199" fmla="*/ 490857 w 844139"/>
                  <a:gd name="connsiteY199" fmla="*/ 45577 h 845486"/>
                  <a:gd name="connsiteX200" fmla="*/ 487618 w 844139"/>
                  <a:gd name="connsiteY200" fmla="*/ 45291 h 845486"/>
                  <a:gd name="connsiteX201" fmla="*/ 486190 w 844139"/>
                  <a:gd name="connsiteY201" fmla="*/ 45005 h 845486"/>
                  <a:gd name="connsiteX202" fmla="*/ 469712 w 844139"/>
                  <a:gd name="connsiteY202" fmla="*/ 21859 h 845486"/>
                  <a:gd name="connsiteX203" fmla="*/ 492857 w 844139"/>
                  <a:gd name="connsiteY203" fmla="*/ 5286 h 845486"/>
                  <a:gd name="connsiteX204" fmla="*/ 493524 w 844139"/>
                  <a:gd name="connsiteY204" fmla="*/ 5381 h 845486"/>
                  <a:gd name="connsiteX205" fmla="*/ 510288 w 844139"/>
                  <a:gd name="connsiteY205" fmla="*/ 28622 h 845486"/>
                  <a:gd name="connsiteX206" fmla="*/ 490857 w 844139"/>
                  <a:gd name="connsiteY206" fmla="*/ 45577 h 845486"/>
                  <a:gd name="connsiteX207" fmla="*/ 396179 w 844139"/>
                  <a:gd name="connsiteY207" fmla="*/ 40338 h 845486"/>
                  <a:gd name="connsiteX208" fmla="*/ 376081 w 844139"/>
                  <a:gd name="connsiteY208" fmla="*/ 21383 h 845486"/>
                  <a:gd name="connsiteX209" fmla="*/ 394940 w 844139"/>
                  <a:gd name="connsiteY209" fmla="*/ 142 h 845486"/>
                  <a:gd name="connsiteX210" fmla="*/ 396083 w 844139"/>
                  <a:gd name="connsiteY210" fmla="*/ 20240 h 845486"/>
                  <a:gd name="connsiteX211" fmla="*/ 396179 w 844139"/>
                  <a:gd name="connsiteY211" fmla="*/ 47 h 845486"/>
                  <a:gd name="connsiteX212" fmla="*/ 417419 w 844139"/>
                  <a:gd name="connsiteY212" fmla="*/ 18907 h 845486"/>
                  <a:gd name="connsiteX213" fmla="*/ 398560 w 844139"/>
                  <a:gd name="connsiteY213" fmla="*/ 40147 h 845486"/>
                  <a:gd name="connsiteX214" fmla="*/ 397226 w 844139"/>
                  <a:gd name="connsiteY214" fmla="*/ 40243 h 845486"/>
                  <a:gd name="connsiteX215" fmla="*/ 396179 w 844139"/>
                  <a:gd name="connsiteY215" fmla="*/ 40338 h 8454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Lst>
                <a:rect l="l" t="t" r="r" b="b"/>
                <a:pathLst>
                  <a:path w="844139" h="845486">
                    <a:moveTo>
                      <a:pt x="397798" y="845486"/>
                    </a:moveTo>
                    <a:cubicBezTo>
                      <a:pt x="397417" y="845486"/>
                      <a:pt x="397036" y="845486"/>
                      <a:pt x="396559" y="845486"/>
                    </a:cubicBezTo>
                    <a:cubicBezTo>
                      <a:pt x="396559" y="845486"/>
                      <a:pt x="395226" y="845391"/>
                      <a:pt x="395226" y="845391"/>
                    </a:cubicBezTo>
                    <a:cubicBezTo>
                      <a:pt x="384177" y="844724"/>
                      <a:pt x="375700" y="835199"/>
                      <a:pt x="376367" y="824150"/>
                    </a:cubicBezTo>
                    <a:cubicBezTo>
                      <a:pt x="377033" y="813101"/>
                      <a:pt x="386558" y="804624"/>
                      <a:pt x="397607" y="805291"/>
                    </a:cubicBezTo>
                    <a:cubicBezTo>
                      <a:pt x="408656" y="805957"/>
                      <a:pt x="417800" y="815482"/>
                      <a:pt x="417134" y="826627"/>
                    </a:cubicBezTo>
                    <a:cubicBezTo>
                      <a:pt x="416562" y="837199"/>
                      <a:pt x="408275" y="845486"/>
                      <a:pt x="397798" y="845486"/>
                    </a:cubicBezTo>
                    <a:close/>
                    <a:moveTo>
                      <a:pt x="489905" y="840247"/>
                    </a:moveTo>
                    <a:cubicBezTo>
                      <a:pt x="480380" y="840247"/>
                      <a:pt x="471902" y="833485"/>
                      <a:pt x="470188" y="823769"/>
                    </a:cubicBezTo>
                    <a:cubicBezTo>
                      <a:pt x="468188" y="812815"/>
                      <a:pt x="475426" y="802338"/>
                      <a:pt x="486380" y="800433"/>
                    </a:cubicBezTo>
                    <a:cubicBezTo>
                      <a:pt x="497334" y="798433"/>
                      <a:pt x="508383" y="805576"/>
                      <a:pt x="510383" y="816530"/>
                    </a:cubicBezTo>
                    <a:cubicBezTo>
                      <a:pt x="512384" y="827484"/>
                      <a:pt x="505716" y="837771"/>
                      <a:pt x="494858" y="839771"/>
                    </a:cubicBezTo>
                    <a:lnTo>
                      <a:pt x="493524" y="839962"/>
                    </a:lnTo>
                    <a:cubicBezTo>
                      <a:pt x="492286" y="840152"/>
                      <a:pt x="491047" y="840247"/>
                      <a:pt x="489905" y="840247"/>
                    </a:cubicBezTo>
                    <a:close/>
                    <a:moveTo>
                      <a:pt x="305596" y="829389"/>
                    </a:moveTo>
                    <a:cubicBezTo>
                      <a:pt x="303596" y="829389"/>
                      <a:pt x="301595" y="829103"/>
                      <a:pt x="299595" y="828436"/>
                    </a:cubicBezTo>
                    <a:lnTo>
                      <a:pt x="305596" y="809291"/>
                    </a:lnTo>
                    <a:lnTo>
                      <a:pt x="299024" y="828341"/>
                    </a:lnTo>
                    <a:cubicBezTo>
                      <a:pt x="288355" y="825389"/>
                      <a:pt x="282069" y="814339"/>
                      <a:pt x="285022" y="803576"/>
                    </a:cubicBezTo>
                    <a:cubicBezTo>
                      <a:pt x="287975" y="792908"/>
                      <a:pt x="298928" y="786622"/>
                      <a:pt x="309596" y="789479"/>
                    </a:cubicBezTo>
                    <a:cubicBezTo>
                      <a:pt x="309787" y="789574"/>
                      <a:pt x="311311" y="789955"/>
                      <a:pt x="311597" y="790051"/>
                    </a:cubicBezTo>
                    <a:cubicBezTo>
                      <a:pt x="322169" y="793384"/>
                      <a:pt x="328075" y="804624"/>
                      <a:pt x="324836" y="815197"/>
                    </a:cubicBezTo>
                    <a:cubicBezTo>
                      <a:pt x="322074" y="823864"/>
                      <a:pt x="314168" y="829389"/>
                      <a:pt x="305596" y="829389"/>
                    </a:cubicBezTo>
                    <a:close/>
                    <a:moveTo>
                      <a:pt x="579821" y="813577"/>
                    </a:moveTo>
                    <a:cubicBezTo>
                      <a:pt x="572201" y="813577"/>
                      <a:pt x="564866" y="809291"/>
                      <a:pt x="561533" y="801862"/>
                    </a:cubicBezTo>
                    <a:cubicBezTo>
                      <a:pt x="556960" y="791765"/>
                      <a:pt x="561151" y="779954"/>
                      <a:pt x="571153" y="775287"/>
                    </a:cubicBezTo>
                    <a:cubicBezTo>
                      <a:pt x="571439" y="775192"/>
                      <a:pt x="572867" y="774525"/>
                      <a:pt x="573058" y="774430"/>
                    </a:cubicBezTo>
                    <a:cubicBezTo>
                      <a:pt x="583345" y="770048"/>
                      <a:pt x="595060" y="774906"/>
                      <a:pt x="599347" y="785193"/>
                    </a:cubicBezTo>
                    <a:cubicBezTo>
                      <a:pt x="603633" y="795385"/>
                      <a:pt x="598775" y="807196"/>
                      <a:pt x="588584" y="811482"/>
                    </a:cubicBezTo>
                    <a:lnTo>
                      <a:pt x="580773" y="792908"/>
                    </a:lnTo>
                    <a:lnTo>
                      <a:pt x="588012" y="811672"/>
                    </a:lnTo>
                    <a:cubicBezTo>
                      <a:pt x="585440" y="813006"/>
                      <a:pt x="582583" y="813577"/>
                      <a:pt x="579821" y="813577"/>
                    </a:cubicBezTo>
                    <a:close/>
                    <a:moveTo>
                      <a:pt x="219585" y="792432"/>
                    </a:moveTo>
                    <a:cubicBezTo>
                      <a:pt x="216156" y="792432"/>
                      <a:pt x="212632" y="791575"/>
                      <a:pt x="209393" y="789670"/>
                    </a:cubicBezTo>
                    <a:lnTo>
                      <a:pt x="219585" y="772334"/>
                    </a:lnTo>
                    <a:lnTo>
                      <a:pt x="208536" y="789193"/>
                    </a:lnTo>
                    <a:cubicBezTo>
                      <a:pt x="198916" y="783764"/>
                      <a:pt x="195487" y="771477"/>
                      <a:pt x="200916" y="761761"/>
                    </a:cubicBezTo>
                    <a:cubicBezTo>
                      <a:pt x="206345" y="752141"/>
                      <a:pt x="218728" y="748712"/>
                      <a:pt x="228348" y="754141"/>
                    </a:cubicBezTo>
                    <a:cubicBezTo>
                      <a:pt x="228443" y="754141"/>
                      <a:pt x="229682" y="754903"/>
                      <a:pt x="229777" y="754903"/>
                    </a:cubicBezTo>
                    <a:cubicBezTo>
                      <a:pt x="239397" y="760523"/>
                      <a:pt x="242540" y="772810"/>
                      <a:pt x="236921" y="782431"/>
                    </a:cubicBezTo>
                    <a:cubicBezTo>
                      <a:pt x="233206" y="788908"/>
                      <a:pt x="226443" y="792432"/>
                      <a:pt x="219585" y="792432"/>
                    </a:cubicBezTo>
                    <a:close/>
                    <a:moveTo>
                      <a:pt x="660783" y="767000"/>
                    </a:moveTo>
                    <a:cubicBezTo>
                      <a:pt x="654592" y="767000"/>
                      <a:pt x="648591" y="764143"/>
                      <a:pt x="644591" y="758904"/>
                    </a:cubicBezTo>
                    <a:cubicBezTo>
                      <a:pt x="638018" y="749950"/>
                      <a:pt x="639828" y="737377"/>
                      <a:pt x="648782" y="730805"/>
                    </a:cubicBezTo>
                    <a:cubicBezTo>
                      <a:pt x="657735" y="724233"/>
                      <a:pt x="670880" y="725662"/>
                      <a:pt x="677452" y="734615"/>
                    </a:cubicBezTo>
                    <a:cubicBezTo>
                      <a:pt x="684024" y="743568"/>
                      <a:pt x="682691" y="755760"/>
                      <a:pt x="673832" y="762333"/>
                    </a:cubicBezTo>
                    <a:lnTo>
                      <a:pt x="672785" y="763095"/>
                    </a:lnTo>
                    <a:cubicBezTo>
                      <a:pt x="669070" y="765762"/>
                      <a:pt x="664879" y="767000"/>
                      <a:pt x="660783" y="767000"/>
                    </a:cubicBezTo>
                    <a:close/>
                    <a:moveTo>
                      <a:pt x="143861" y="736425"/>
                    </a:moveTo>
                    <a:cubicBezTo>
                      <a:pt x="139289" y="736425"/>
                      <a:pt x="134622" y="734806"/>
                      <a:pt x="130907" y="731281"/>
                    </a:cubicBezTo>
                    <a:cubicBezTo>
                      <a:pt x="130812" y="731281"/>
                      <a:pt x="130336" y="730710"/>
                      <a:pt x="130240" y="730710"/>
                    </a:cubicBezTo>
                    <a:cubicBezTo>
                      <a:pt x="122144" y="723185"/>
                      <a:pt x="121478" y="710231"/>
                      <a:pt x="129002" y="702135"/>
                    </a:cubicBezTo>
                    <a:cubicBezTo>
                      <a:pt x="136527" y="694039"/>
                      <a:pt x="148909" y="693277"/>
                      <a:pt x="157101" y="700801"/>
                    </a:cubicBezTo>
                    <a:cubicBezTo>
                      <a:pt x="165292" y="708326"/>
                      <a:pt x="166245" y="721471"/>
                      <a:pt x="158720" y="729662"/>
                    </a:cubicBezTo>
                    <a:cubicBezTo>
                      <a:pt x="154720" y="734043"/>
                      <a:pt x="149290" y="736425"/>
                      <a:pt x="143861" y="736425"/>
                    </a:cubicBezTo>
                    <a:close/>
                    <a:moveTo>
                      <a:pt x="728982" y="702992"/>
                    </a:moveTo>
                    <a:cubicBezTo>
                      <a:pt x="724410" y="702992"/>
                      <a:pt x="719838" y="701468"/>
                      <a:pt x="716028" y="698325"/>
                    </a:cubicBezTo>
                    <a:cubicBezTo>
                      <a:pt x="707551" y="691181"/>
                      <a:pt x="706408" y="678513"/>
                      <a:pt x="713551" y="670035"/>
                    </a:cubicBezTo>
                    <a:cubicBezTo>
                      <a:pt x="713551" y="670035"/>
                      <a:pt x="714409" y="668988"/>
                      <a:pt x="714409" y="668988"/>
                    </a:cubicBezTo>
                    <a:cubicBezTo>
                      <a:pt x="721553" y="660510"/>
                      <a:pt x="734221" y="659463"/>
                      <a:pt x="742698" y="666607"/>
                    </a:cubicBezTo>
                    <a:cubicBezTo>
                      <a:pt x="751175" y="673750"/>
                      <a:pt x="752223" y="686514"/>
                      <a:pt x="745079" y="694991"/>
                    </a:cubicBezTo>
                    <a:lnTo>
                      <a:pt x="729744" y="682037"/>
                    </a:lnTo>
                    <a:lnTo>
                      <a:pt x="744317" y="695943"/>
                    </a:lnTo>
                    <a:cubicBezTo>
                      <a:pt x="740412" y="700516"/>
                      <a:pt x="734697" y="702992"/>
                      <a:pt x="728982" y="702992"/>
                    </a:cubicBezTo>
                    <a:close/>
                    <a:moveTo>
                      <a:pt x="83473" y="664606"/>
                    </a:moveTo>
                    <a:cubicBezTo>
                      <a:pt x="77282" y="664606"/>
                      <a:pt x="71376" y="661749"/>
                      <a:pt x="67566" y="656129"/>
                    </a:cubicBezTo>
                    <a:cubicBezTo>
                      <a:pt x="67471" y="656034"/>
                      <a:pt x="67090" y="655462"/>
                      <a:pt x="67090" y="655367"/>
                    </a:cubicBezTo>
                    <a:cubicBezTo>
                      <a:pt x="60994" y="646128"/>
                      <a:pt x="63280" y="633460"/>
                      <a:pt x="72519" y="627268"/>
                    </a:cubicBezTo>
                    <a:cubicBezTo>
                      <a:pt x="81758" y="621077"/>
                      <a:pt x="93950" y="623268"/>
                      <a:pt x="100142" y="632412"/>
                    </a:cubicBezTo>
                    <a:cubicBezTo>
                      <a:pt x="106333" y="641556"/>
                      <a:pt x="104333" y="654605"/>
                      <a:pt x="95188" y="660892"/>
                    </a:cubicBezTo>
                    <a:cubicBezTo>
                      <a:pt x="91474" y="663464"/>
                      <a:pt x="87473" y="664606"/>
                      <a:pt x="83473" y="664606"/>
                    </a:cubicBezTo>
                    <a:close/>
                    <a:moveTo>
                      <a:pt x="780703" y="624982"/>
                    </a:moveTo>
                    <a:cubicBezTo>
                      <a:pt x="777655" y="624982"/>
                      <a:pt x="774607" y="624316"/>
                      <a:pt x="771749" y="622887"/>
                    </a:cubicBezTo>
                    <a:cubicBezTo>
                      <a:pt x="761843" y="617934"/>
                      <a:pt x="757843" y="605837"/>
                      <a:pt x="762796" y="595931"/>
                    </a:cubicBezTo>
                    <a:cubicBezTo>
                      <a:pt x="767749" y="586025"/>
                      <a:pt x="780131" y="581358"/>
                      <a:pt x="790037" y="586311"/>
                    </a:cubicBezTo>
                    <a:cubicBezTo>
                      <a:pt x="799943" y="591264"/>
                      <a:pt x="804325" y="602789"/>
                      <a:pt x="799372" y="612695"/>
                    </a:cubicBezTo>
                    <a:lnTo>
                      <a:pt x="798800" y="613838"/>
                    </a:lnTo>
                    <a:cubicBezTo>
                      <a:pt x="795181" y="620887"/>
                      <a:pt x="788037" y="624982"/>
                      <a:pt x="780703" y="624982"/>
                    </a:cubicBezTo>
                    <a:close/>
                    <a:moveTo>
                      <a:pt x="41372" y="580977"/>
                    </a:moveTo>
                    <a:cubicBezTo>
                      <a:pt x="33467" y="580977"/>
                      <a:pt x="26132" y="576405"/>
                      <a:pt x="23180" y="568499"/>
                    </a:cubicBezTo>
                    <a:cubicBezTo>
                      <a:pt x="23180" y="568404"/>
                      <a:pt x="22608" y="567070"/>
                      <a:pt x="22608" y="566880"/>
                    </a:cubicBezTo>
                    <a:cubicBezTo>
                      <a:pt x="18893" y="556402"/>
                      <a:pt x="24418" y="544877"/>
                      <a:pt x="34800" y="541162"/>
                    </a:cubicBezTo>
                    <a:cubicBezTo>
                      <a:pt x="45277" y="537448"/>
                      <a:pt x="56803" y="542972"/>
                      <a:pt x="60517" y="553354"/>
                    </a:cubicBezTo>
                    <a:cubicBezTo>
                      <a:pt x="64232" y="563737"/>
                      <a:pt x="59089" y="575833"/>
                      <a:pt x="48707" y="579548"/>
                    </a:cubicBezTo>
                    <a:cubicBezTo>
                      <a:pt x="46230" y="580501"/>
                      <a:pt x="43754" y="580977"/>
                      <a:pt x="41372" y="580977"/>
                    </a:cubicBezTo>
                    <a:close/>
                    <a:moveTo>
                      <a:pt x="812897" y="536495"/>
                    </a:moveTo>
                    <a:cubicBezTo>
                      <a:pt x="811468" y="536495"/>
                      <a:pt x="810040" y="536305"/>
                      <a:pt x="808706" y="536019"/>
                    </a:cubicBezTo>
                    <a:cubicBezTo>
                      <a:pt x="797943" y="533542"/>
                      <a:pt x="791085" y="523541"/>
                      <a:pt x="793371" y="512778"/>
                    </a:cubicBezTo>
                    <a:cubicBezTo>
                      <a:pt x="793466" y="512587"/>
                      <a:pt x="793752" y="511254"/>
                      <a:pt x="793752" y="511063"/>
                    </a:cubicBezTo>
                    <a:cubicBezTo>
                      <a:pt x="796419" y="500300"/>
                      <a:pt x="807278" y="493633"/>
                      <a:pt x="818041" y="496204"/>
                    </a:cubicBezTo>
                    <a:cubicBezTo>
                      <a:pt x="828804" y="498776"/>
                      <a:pt x="835472" y="509635"/>
                      <a:pt x="832900" y="520398"/>
                    </a:cubicBezTo>
                    <a:lnTo>
                      <a:pt x="832900" y="520493"/>
                    </a:lnTo>
                    <a:cubicBezTo>
                      <a:pt x="830518" y="529828"/>
                      <a:pt x="822137" y="536495"/>
                      <a:pt x="812897" y="536495"/>
                    </a:cubicBezTo>
                    <a:close/>
                    <a:moveTo>
                      <a:pt x="20227" y="490489"/>
                    </a:moveTo>
                    <a:cubicBezTo>
                      <a:pt x="10225" y="490489"/>
                      <a:pt x="1463" y="482965"/>
                      <a:pt x="319" y="472773"/>
                    </a:cubicBezTo>
                    <a:lnTo>
                      <a:pt x="20322" y="470392"/>
                    </a:lnTo>
                    <a:lnTo>
                      <a:pt x="224" y="471535"/>
                    </a:lnTo>
                    <a:cubicBezTo>
                      <a:pt x="-1109" y="460486"/>
                      <a:pt x="6701" y="450484"/>
                      <a:pt x="17750" y="449151"/>
                    </a:cubicBezTo>
                    <a:cubicBezTo>
                      <a:pt x="28799" y="447817"/>
                      <a:pt x="38800" y="455628"/>
                      <a:pt x="40134" y="466677"/>
                    </a:cubicBezTo>
                    <a:cubicBezTo>
                      <a:pt x="40134" y="466677"/>
                      <a:pt x="40325" y="468010"/>
                      <a:pt x="40325" y="468010"/>
                    </a:cubicBezTo>
                    <a:cubicBezTo>
                      <a:pt x="41658" y="479059"/>
                      <a:pt x="33752" y="489061"/>
                      <a:pt x="22703" y="490394"/>
                    </a:cubicBezTo>
                    <a:cubicBezTo>
                      <a:pt x="21846" y="490394"/>
                      <a:pt x="21084" y="490489"/>
                      <a:pt x="20227" y="490489"/>
                    </a:cubicBezTo>
                    <a:close/>
                    <a:moveTo>
                      <a:pt x="824042" y="444198"/>
                    </a:moveTo>
                    <a:cubicBezTo>
                      <a:pt x="812897" y="444198"/>
                      <a:pt x="803944" y="435244"/>
                      <a:pt x="803944" y="424100"/>
                    </a:cubicBezTo>
                    <a:cubicBezTo>
                      <a:pt x="803944" y="423814"/>
                      <a:pt x="803944" y="423529"/>
                      <a:pt x="803944" y="423243"/>
                    </a:cubicBezTo>
                    <a:cubicBezTo>
                      <a:pt x="803944" y="422957"/>
                      <a:pt x="803944" y="422671"/>
                      <a:pt x="803944" y="422481"/>
                    </a:cubicBezTo>
                    <a:cubicBezTo>
                      <a:pt x="803944" y="411337"/>
                      <a:pt x="812993" y="401716"/>
                      <a:pt x="824042" y="401716"/>
                    </a:cubicBezTo>
                    <a:cubicBezTo>
                      <a:pt x="835186" y="401716"/>
                      <a:pt x="844139" y="410098"/>
                      <a:pt x="844139" y="421147"/>
                    </a:cubicBezTo>
                    <a:lnTo>
                      <a:pt x="844139" y="422481"/>
                    </a:lnTo>
                    <a:cubicBezTo>
                      <a:pt x="844139" y="422576"/>
                      <a:pt x="844139" y="422576"/>
                      <a:pt x="844139" y="422671"/>
                    </a:cubicBezTo>
                    <a:cubicBezTo>
                      <a:pt x="844139" y="422767"/>
                      <a:pt x="844139" y="422767"/>
                      <a:pt x="844139" y="422862"/>
                    </a:cubicBezTo>
                    <a:lnTo>
                      <a:pt x="844139" y="424195"/>
                    </a:lnTo>
                    <a:cubicBezTo>
                      <a:pt x="844139" y="435149"/>
                      <a:pt x="835186" y="444198"/>
                      <a:pt x="824042" y="444198"/>
                    </a:cubicBezTo>
                    <a:close/>
                    <a:moveTo>
                      <a:pt x="20132" y="396859"/>
                    </a:moveTo>
                    <a:cubicBezTo>
                      <a:pt x="19369" y="396859"/>
                      <a:pt x="18512" y="396859"/>
                      <a:pt x="17750" y="396668"/>
                    </a:cubicBezTo>
                    <a:cubicBezTo>
                      <a:pt x="6701" y="395335"/>
                      <a:pt x="-1109" y="385333"/>
                      <a:pt x="129" y="374284"/>
                    </a:cubicBezTo>
                    <a:lnTo>
                      <a:pt x="20132" y="376666"/>
                    </a:lnTo>
                    <a:lnTo>
                      <a:pt x="319" y="373237"/>
                    </a:lnTo>
                    <a:cubicBezTo>
                      <a:pt x="1463" y="362188"/>
                      <a:pt x="11464" y="354091"/>
                      <a:pt x="22417" y="355330"/>
                    </a:cubicBezTo>
                    <a:cubicBezTo>
                      <a:pt x="33467" y="356473"/>
                      <a:pt x="41467" y="366379"/>
                      <a:pt x="40325" y="377428"/>
                    </a:cubicBezTo>
                    <a:cubicBezTo>
                      <a:pt x="40325" y="377523"/>
                      <a:pt x="40134" y="378952"/>
                      <a:pt x="40134" y="379047"/>
                    </a:cubicBezTo>
                    <a:cubicBezTo>
                      <a:pt x="38896" y="389334"/>
                      <a:pt x="30133" y="396859"/>
                      <a:pt x="20132" y="396859"/>
                    </a:cubicBezTo>
                    <a:close/>
                    <a:moveTo>
                      <a:pt x="813278" y="349615"/>
                    </a:moveTo>
                    <a:cubicBezTo>
                      <a:pt x="804230" y="349615"/>
                      <a:pt x="795943" y="343423"/>
                      <a:pt x="793752" y="334279"/>
                    </a:cubicBezTo>
                    <a:cubicBezTo>
                      <a:pt x="791180" y="323516"/>
                      <a:pt x="797562" y="311991"/>
                      <a:pt x="808325" y="309324"/>
                    </a:cubicBezTo>
                    <a:cubicBezTo>
                      <a:pt x="819184" y="306752"/>
                      <a:pt x="829852" y="312658"/>
                      <a:pt x="832424" y="323421"/>
                    </a:cubicBezTo>
                    <a:cubicBezTo>
                      <a:pt x="832424" y="323421"/>
                      <a:pt x="832709" y="324754"/>
                      <a:pt x="832805" y="324754"/>
                    </a:cubicBezTo>
                    <a:cubicBezTo>
                      <a:pt x="835376" y="335518"/>
                      <a:pt x="828804" y="346376"/>
                      <a:pt x="818041" y="349043"/>
                    </a:cubicBezTo>
                    <a:cubicBezTo>
                      <a:pt x="816422" y="349424"/>
                      <a:pt x="814802" y="349615"/>
                      <a:pt x="813278" y="349615"/>
                    </a:cubicBezTo>
                    <a:close/>
                    <a:moveTo>
                      <a:pt x="41277" y="305038"/>
                    </a:moveTo>
                    <a:cubicBezTo>
                      <a:pt x="39182" y="305038"/>
                      <a:pt x="37086" y="304657"/>
                      <a:pt x="35086" y="303990"/>
                    </a:cubicBezTo>
                    <a:cubicBezTo>
                      <a:pt x="24608" y="300370"/>
                      <a:pt x="18798" y="289607"/>
                      <a:pt x="22417" y="279034"/>
                    </a:cubicBezTo>
                    <a:cubicBezTo>
                      <a:pt x="22417" y="278939"/>
                      <a:pt x="22703" y="278177"/>
                      <a:pt x="22798" y="278082"/>
                    </a:cubicBezTo>
                    <a:cubicBezTo>
                      <a:pt x="26513" y="267700"/>
                      <a:pt x="38134" y="261985"/>
                      <a:pt x="48516" y="265699"/>
                    </a:cubicBezTo>
                    <a:cubicBezTo>
                      <a:pt x="58994" y="269414"/>
                      <a:pt x="64518" y="280558"/>
                      <a:pt x="60898" y="291036"/>
                    </a:cubicBezTo>
                    <a:cubicBezTo>
                      <a:pt x="57946" y="299418"/>
                      <a:pt x="49754" y="305038"/>
                      <a:pt x="41277" y="305038"/>
                    </a:cubicBezTo>
                    <a:close/>
                    <a:moveTo>
                      <a:pt x="781179" y="261699"/>
                    </a:moveTo>
                    <a:cubicBezTo>
                      <a:pt x="774035" y="261699"/>
                      <a:pt x="767177" y="257889"/>
                      <a:pt x="763558" y="251221"/>
                    </a:cubicBezTo>
                    <a:cubicBezTo>
                      <a:pt x="763463" y="251031"/>
                      <a:pt x="762701" y="249602"/>
                      <a:pt x="762605" y="249412"/>
                    </a:cubicBezTo>
                    <a:cubicBezTo>
                      <a:pt x="757652" y="239506"/>
                      <a:pt x="761653" y="227409"/>
                      <a:pt x="771559" y="222456"/>
                    </a:cubicBezTo>
                    <a:cubicBezTo>
                      <a:pt x="781560" y="217503"/>
                      <a:pt x="793562" y="221503"/>
                      <a:pt x="798514" y="231409"/>
                    </a:cubicBezTo>
                    <a:lnTo>
                      <a:pt x="780512" y="240363"/>
                    </a:lnTo>
                    <a:lnTo>
                      <a:pt x="798800" y="231981"/>
                    </a:lnTo>
                    <a:cubicBezTo>
                      <a:pt x="804134" y="241792"/>
                      <a:pt x="800420" y="253984"/>
                      <a:pt x="790704" y="259222"/>
                    </a:cubicBezTo>
                    <a:cubicBezTo>
                      <a:pt x="787751" y="260842"/>
                      <a:pt x="784418" y="261699"/>
                      <a:pt x="781179" y="261699"/>
                    </a:cubicBezTo>
                    <a:close/>
                    <a:moveTo>
                      <a:pt x="83282" y="221980"/>
                    </a:moveTo>
                    <a:cubicBezTo>
                      <a:pt x="79567" y="221980"/>
                      <a:pt x="75758" y="220932"/>
                      <a:pt x="72424" y="218741"/>
                    </a:cubicBezTo>
                    <a:cubicBezTo>
                      <a:pt x="63089" y="212740"/>
                      <a:pt x="60422" y="200263"/>
                      <a:pt x="66423" y="190928"/>
                    </a:cubicBezTo>
                    <a:cubicBezTo>
                      <a:pt x="66423" y="190833"/>
                      <a:pt x="66804" y="190357"/>
                      <a:pt x="66899" y="190261"/>
                    </a:cubicBezTo>
                    <a:cubicBezTo>
                      <a:pt x="72995" y="181022"/>
                      <a:pt x="85568" y="178069"/>
                      <a:pt x="94808" y="184070"/>
                    </a:cubicBezTo>
                    <a:cubicBezTo>
                      <a:pt x="104047" y="190071"/>
                      <a:pt x="107000" y="202072"/>
                      <a:pt x="101094" y="211407"/>
                    </a:cubicBezTo>
                    <a:cubicBezTo>
                      <a:pt x="101094" y="211407"/>
                      <a:pt x="100332" y="212645"/>
                      <a:pt x="100237" y="212645"/>
                    </a:cubicBezTo>
                    <a:cubicBezTo>
                      <a:pt x="96427" y="218741"/>
                      <a:pt x="89950" y="221980"/>
                      <a:pt x="83282" y="221980"/>
                    </a:cubicBezTo>
                    <a:close/>
                    <a:moveTo>
                      <a:pt x="729649" y="183594"/>
                    </a:moveTo>
                    <a:cubicBezTo>
                      <a:pt x="723743" y="183594"/>
                      <a:pt x="717933" y="181022"/>
                      <a:pt x="714028" y="176164"/>
                    </a:cubicBezTo>
                    <a:cubicBezTo>
                      <a:pt x="707170" y="167592"/>
                      <a:pt x="707932" y="154638"/>
                      <a:pt x="716314" y="147589"/>
                    </a:cubicBezTo>
                    <a:cubicBezTo>
                      <a:pt x="724791" y="140541"/>
                      <a:pt x="736793" y="141112"/>
                      <a:pt x="744032" y="149399"/>
                    </a:cubicBezTo>
                    <a:cubicBezTo>
                      <a:pt x="744222" y="149590"/>
                      <a:pt x="745175" y="150733"/>
                      <a:pt x="745270" y="150923"/>
                    </a:cubicBezTo>
                    <a:cubicBezTo>
                      <a:pt x="752223" y="159591"/>
                      <a:pt x="750889" y="172259"/>
                      <a:pt x="742222" y="179212"/>
                    </a:cubicBezTo>
                    <a:cubicBezTo>
                      <a:pt x="738602" y="182070"/>
                      <a:pt x="734126" y="183594"/>
                      <a:pt x="729649" y="183594"/>
                    </a:cubicBezTo>
                    <a:close/>
                    <a:moveTo>
                      <a:pt x="143576" y="149494"/>
                    </a:moveTo>
                    <a:cubicBezTo>
                      <a:pt x="138242" y="149494"/>
                      <a:pt x="133003" y="147494"/>
                      <a:pt x="129193" y="143494"/>
                    </a:cubicBezTo>
                    <a:cubicBezTo>
                      <a:pt x="121573" y="135493"/>
                      <a:pt x="121382" y="123205"/>
                      <a:pt x="129383" y="115585"/>
                    </a:cubicBezTo>
                    <a:cubicBezTo>
                      <a:pt x="129479" y="115585"/>
                      <a:pt x="130431" y="114633"/>
                      <a:pt x="130526" y="114538"/>
                    </a:cubicBezTo>
                    <a:cubicBezTo>
                      <a:pt x="138623" y="106918"/>
                      <a:pt x="151386" y="107299"/>
                      <a:pt x="158911" y="115395"/>
                    </a:cubicBezTo>
                    <a:cubicBezTo>
                      <a:pt x="166531" y="123491"/>
                      <a:pt x="166150" y="136159"/>
                      <a:pt x="158054" y="143779"/>
                    </a:cubicBezTo>
                    <a:cubicBezTo>
                      <a:pt x="154053" y="147589"/>
                      <a:pt x="148814" y="149494"/>
                      <a:pt x="143576" y="149494"/>
                    </a:cubicBezTo>
                    <a:close/>
                    <a:moveTo>
                      <a:pt x="661640" y="119300"/>
                    </a:moveTo>
                    <a:cubicBezTo>
                      <a:pt x="657449" y="119300"/>
                      <a:pt x="653258" y="118062"/>
                      <a:pt x="649734" y="115395"/>
                    </a:cubicBezTo>
                    <a:cubicBezTo>
                      <a:pt x="640780" y="108823"/>
                      <a:pt x="638399" y="95773"/>
                      <a:pt x="644972" y="86915"/>
                    </a:cubicBezTo>
                    <a:cubicBezTo>
                      <a:pt x="651544" y="77962"/>
                      <a:pt x="663641" y="75771"/>
                      <a:pt x="672594" y="82343"/>
                    </a:cubicBezTo>
                    <a:lnTo>
                      <a:pt x="673642" y="83105"/>
                    </a:lnTo>
                    <a:cubicBezTo>
                      <a:pt x="682595" y="89677"/>
                      <a:pt x="684405" y="102346"/>
                      <a:pt x="677833" y="111204"/>
                    </a:cubicBezTo>
                    <a:cubicBezTo>
                      <a:pt x="673832" y="116538"/>
                      <a:pt x="667736" y="119300"/>
                      <a:pt x="661640" y="119300"/>
                    </a:cubicBezTo>
                    <a:close/>
                    <a:moveTo>
                      <a:pt x="218918" y="93487"/>
                    </a:moveTo>
                    <a:cubicBezTo>
                      <a:pt x="211870" y="93487"/>
                      <a:pt x="205012" y="90058"/>
                      <a:pt x="201392" y="83677"/>
                    </a:cubicBezTo>
                    <a:cubicBezTo>
                      <a:pt x="195868" y="74056"/>
                      <a:pt x="198535" y="62150"/>
                      <a:pt x="208060" y="56626"/>
                    </a:cubicBezTo>
                    <a:cubicBezTo>
                      <a:pt x="208155" y="56626"/>
                      <a:pt x="209393" y="55864"/>
                      <a:pt x="209393" y="55864"/>
                    </a:cubicBezTo>
                    <a:cubicBezTo>
                      <a:pt x="219013" y="50339"/>
                      <a:pt x="231301" y="53768"/>
                      <a:pt x="236825" y="63388"/>
                    </a:cubicBezTo>
                    <a:cubicBezTo>
                      <a:pt x="242350" y="73009"/>
                      <a:pt x="238921" y="85296"/>
                      <a:pt x="229301" y="90820"/>
                    </a:cubicBezTo>
                    <a:cubicBezTo>
                      <a:pt x="226062" y="92630"/>
                      <a:pt x="222442" y="93487"/>
                      <a:pt x="218918" y="93487"/>
                    </a:cubicBezTo>
                    <a:close/>
                    <a:moveTo>
                      <a:pt x="580583" y="72437"/>
                    </a:moveTo>
                    <a:cubicBezTo>
                      <a:pt x="578011" y="72437"/>
                      <a:pt x="575344" y="71961"/>
                      <a:pt x="572867" y="70818"/>
                    </a:cubicBezTo>
                    <a:cubicBezTo>
                      <a:pt x="572772" y="70818"/>
                      <a:pt x="571439" y="70246"/>
                      <a:pt x="571439" y="70151"/>
                    </a:cubicBezTo>
                    <a:cubicBezTo>
                      <a:pt x="561247" y="65674"/>
                      <a:pt x="556580" y="53863"/>
                      <a:pt x="561056" y="43672"/>
                    </a:cubicBezTo>
                    <a:cubicBezTo>
                      <a:pt x="565438" y="33480"/>
                      <a:pt x="577439" y="28908"/>
                      <a:pt x="587536" y="33289"/>
                    </a:cubicBezTo>
                    <a:lnTo>
                      <a:pt x="579535" y="51768"/>
                    </a:lnTo>
                    <a:lnTo>
                      <a:pt x="588488" y="33766"/>
                    </a:lnTo>
                    <a:cubicBezTo>
                      <a:pt x="598680" y="38052"/>
                      <a:pt x="603538" y="49863"/>
                      <a:pt x="599251" y="60055"/>
                    </a:cubicBezTo>
                    <a:cubicBezTo>
                      <a:pt x="595918" y="67865"/>
                      <a:pt x="588393" y="72437"/>
                      <a:pt x="580583" y="72437"/>
                    </a:cubicBezTo>
                    <a:close/>
                    <a:moveTo>
                      <a:pt x="303976" y="56721"/>
                    </a:moveTo>
                    <a:cubicBezTo>
                      <a:pt x="295309" y="56721"/>
                      <a:pt x="287308" y="51101"/>
                      <a:pt x="284736" y="42338"/>
                    </a:cubicBezTo>
                    <a:cubicBezTo>
                      <a:pt x="281593" y="31670"/>
                      <a:pt x="287689" y="20526"/>
                      <a:pt x="298262" y="17383"/>
                    </a:cubicBezTo>
                    <a:lnTo>
                      <a:pt x="303976" y="36623"/>
                    </a:lnTo>
                    <a:lnTo>
                      <a:pt x="299405" y="17002"/>
                    </a:lnTo>
                    <a:cubicBezTo>
                      <a:pt x="309977" y="13763"/>
                      <a:pt x="321217" y="19764"/>
                      <a:pt x="324455" y="30432"/>
                    </a:cubicBezTo>
                    <a:cubicBezTo>
                      <a:pt x="327694" y="41100"/>
                      <a:pt x="321693" y="52244"/>
                      <a:pt x="311025" y="55483"/>
                    </a:cubicBezTo>
                    <a:cubicBezTo>
                      <a:pt x="311025" y="55483"/>
                      <a:pt x="309692" y="55864"/>
                      <a:pt x="309692" y="55864"/>
                    </a:cubicBezTo>
                    <a:cubicBezTo>
                      <a:pt x="307787" y="56435"/>
                      <a:pt x="305882" y="56721"/>
                      <a:pt x="303976" y="56721"/>
                    </a:cubicBezTo>
                    <a:close/>
                    <a:moveTo>
                      <a:pt x="490857" y="45577"/>
                    </a:moveTo>
                    <a:cubicBezTo>
                      <a:pt x="489809" y="45577"/>
                      <a:pt x="488762" y="45481"/>
                      <a:pt x="487618" y="45291"/>
                    </a:cubicBezTo>
                    <a:cubicBezTo>
                      <a:pt x="487618" y="45291"/>
                      <a:pt x="486285" y="45100"/>
                      <a:pt x="486190" y="45005"/>
                    </a:cubicBezTo>
                    <a:cubicBezTo>
                      <a:pt x="475236" y="43195"/>
                      <a:pt x="467807" y="32813"/>
                      <a:pt x="469712" y="21859"/>
                    </a:cubicBezTo>
                    <a:cubicBezTo>
                      <a:pt x="471521" y="10906"/>
                      <a:pt x="481904" y="3476"/>
                      <a:pt x="492857" y="5286"/>
                    </a:cubicBezTo>
                    <a:cubicBezTo>
                      <a:pt x="492857" y="5286"/>
                      <a:pt x="493524" y="5381"/>
                      <a:pt x="493524" y="5381"/>
                    </a:cubicBezTo>
                    <a:cubicBezTo>
                      <a:pt x="504383" y="7286"/>
                      <a:pt x="512098" y="17668"/>
                      <a:pt x="510288" y="28622"/>
                    </a:cubicBezTo>
                    <a:cubicBezTo>
                      <a:pt x="508669" y="38623"/>
                      <a:pt x="500477" y="45577"/>
                      <a:pt x="490857" y="45577"/>
                    </a:cubicBezTo>
                    <a:close/>
                    <a:moveTo>
                      <a:pt x="396179" y="40338"/>
                    </a:moveTo>
                    <a:cubicBezTo>
                      <a:pt x="385606" y="40338"/>
                      <a:pt x="376747" y="32051"/>
                      <a:pt x="376081" y="21383"/>
                    </a:cubicBezTo>
                    <a:cubicBezTo>
                      <a:pt x="375414" y="10334"/>
                      <a:pt x="383891" y="809"/>
                      <a:pt x="394940" y="142"/>
                    </a:cubicBezTo>
                    <a:lnTo>
                      <a:pt x="396083" y="20240"/>
                    </a:lnTo>
                    <a:lnTo>
                      <a:pt x="396179" y="47"/>
                    </a:lnTo>
                    <a:cubicBezTo>
                      <a:pt x="407323" y="-715"/>
                      <a:pt x="416753" y="7858"/>
                      <a:pt x="417419" y="18907"/>
                    </a:cubicBezTo>
                    <a:cubicBezTo>
                      <a:pt x="418086" y="29956"/>
                      <a:pt x="409704" y="39481"/>
                      <a:pt x="398560" y="40147"/>
                    </a:cubicBezTo>
                    <a:cubicBezTo>
                      <a:pt x="398560" y="40147"/>
                      <a:pt x="397226" y="40243"/>
                      <a:pt x="397226" y="40243"/>
                    </a:cubicBezTo>
                    <a:cubicBezTo>
                      <a:pt x="396941" y="40243"/>
                      <a:pt x="396559" y="40338"/>
                      <a:pt x="396179" y="40338"/>
                    </a:cubicBezTo>
                    <a:close/>
                  </a:path>
                </a:pathLst>
              </a:custGeom>
              <a:solidFill>
                <a:schemeClr val="accent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grpSp>
      <p:sp>
        <p:nvSpPr>
          <p:cNvPr id="22" name="TextBox 43">
            <a:extLst>
              <a:ext uri="{FF2B5EF4-FFF2-40B4-BE49-F238E27FC236}">
                <a16:creationId xmlns:a16="http://schemas.microsoft.com/office/drawing/2014/main" id="{0E9F2690-F1F4-4E43-8D23-86838F1960BC}"/>
              </a:ext>
            </a:extLst>
          </p:cNvPr>
          <p:cNvSpPr txBox="1"/>
          <p:nvPr/>
        </p:nvSpPr>
        <p:spPr>
          <a:xfrm>
            <a:off x="719401" y="1138060"/>
            <a:ext cx="4619626" cy="132343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0" b="1" i="0" u="none" strike="noStrike" kern="1200" cap="none" spc="0" normalizeH="0" baseline="0" noProof="0" dirty="0">
                <a:ln>
                  <a:noFill/>
                </a:ln>
                <a:solidFill>
                  <a:srgbClr val="000000">
                    <a:lumMod val="85000"/>
                    <a:lumOff val="15000"/>
                  </a:srgbClr>
                </a:solidFill>
                <a:effectLst/>
                <a:uLnTx/>
                <a:uFillTx/>
                <a:latin typeface="等线 Light" panose="020F0302020204030204"/>
                <a:ea typeface="+mn-ea"/>
                <a:cs typeface="Arial" panose="020B0604020202020204" pitchFamily="34" charset="0"/>
              </a:rPr>
              <a:t>Your Title Text Goes Here</a:t>
            </a:r>
          </a:p>
        </p:txBody>
      </p:sp>
      <p:sp>
        <p:nvSpPr>
          <p:cNvPr id="23" name="TextBox 44">
            <a:extLst>
              <a:ext uri="{FF2B5EF4-FFF2-40B4-BE49-F238E27FC236}">
                <a16:creationId xmlns:a16="http://schemas.microsoft.com/office/drawing/2014/main" id="{CC4AC394-E033-47B5-B206-C231DC1BDDD4}"/>
              </a:ext>
            </a:extLst>
          </p:cNvPr>
          <p:cNvSpPr txBox="1"/>
          <p:nvPr/>
        </p:nvSpPr>
        <p:spPr>
          <a:xfrm>
            <a:off x="767027" y="2573146"/>
            <a:ext cx="4825923" cy="623312"/>
          </a:xfrm>
          <a:prstGeom prst="rect">
            <a:avLst/>
          </a:prstGeom>
          <a:noFill/>
        </p:spPr>
        <p:txBody>
          <a:bodyPr wrap="square" rtlCol="0">
            <a:spAutoFit/>
          </a:bodyPr>
          <a:lstStyle/>
          <a:p>
            <a:pPr marL="0" marR="0" lvl="0" indent="0" algn="l" defTabSz="914400" rtl="0" eaLnBrk="1" fontAlgn="auto" latinLnBrk="0" hangingPunct="1">
              <a:lnSpc>
                <a:spcPct val="13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000000">
                    <a:lumMod val="65000"/>
                    <a:lumOff val="35000"/>
                  </a:srgbClr>
                </a:solidFill>
                <a:effectLst/>
                <a:uLnTx/>
                <a:uFillTx/>
                <a:latin typeface="等线" panose="020F0502020204030204"/>
                <a:ea typeface="Open Sans" panose="020B0606030504020204" pitchFamily="34" charset="0"/>
                <a:cs typeface="Segoe UI" panose="020B0502040204020203" pitchFamily="34" charset="0"/>
              </a:rPr>
              <a:t>Leverage agile frameworks to provide a robust synopsis for high level overviews.</a:t>
            </a:r>
          </a:p>
        </p:txBody>
      </p:sp>
      <p:grpSp>
        <p:nvGrpSpPr>
          <p:cNvPr id="24" name="Group 65">
            <a:extLst>
              <a:ext uri="{FF2B5EF4-FFF2-40B4-BE49-F238E27FC236}">
                <a16:creationId xmlns:a16="http://schemas.microsoft.com/office/drawing/2014/main" id="{DDC1C11E-C4BD-4D70-AD32-384346BAA620}"/>
              </a:ext>
            </a:extLst>
          </p:cNvPr>
          <p:cNvGrpSpPr/>
          <p:nvPr/>
        </p:nvGrpSpPr>
        <p:grpSpPr>
          <a:xfrm>
            <a:off x="678897" y="3429000"/>
            <a:ext cx="7462158" cy="2628389"/>
            <a:chOff x="678897" y="3429000"/>
            <a:chExt cx="7462158" cy="2628389"/>
          </a:xfrm>
        </p:grpSpPr>
        <p:cxnSp>
          <p:nvCxnSpPr>
            <p:cNvPr id="25" name="Straight Connector 60">
              <a:extLst>
                <a:ext uri="{FF2B5EF4-FFF2-40B4-BE49-F238E27FC236}">
                  <a16:creationId xmlns:a16="http://schemas.microsoft.com/office/drawing/2014/main" id="{28C67BC0-AB8F-4394-90CF-453439C73FBD}"/>
                </a:ext>
              </a:extLst>
            </p:cNvPr>
            <p:cNvCxnSpPr>
              <a:cxnSpLocks/>
            </p:cNvCxnSpPr>
            <p:nvPr/>
          </p:nvCxnSpPr>
          <p:spPr>
            <a:xfrm>
              <a:off x="678897" y="4743194"/>
              <a:ext cx="7462158" cy="0"/>
            </a:xfrm>
            <a:prstGeom prst="line">
              <a:avLst/>
            </a:prstGeom>
            <a:ln>
              <a:solidFill>
                <a:schemeClr val="bg1">
                  <a:alpha val="10000"/>
                </a:schemeClr>
              </a:solidFill>
            </a:ln>
          </p:spPr>
          <p:style>
            <a:lnRef idx="1">
              <a:schemeClr val="accent1"/>
            </a:lnRef>
            <a:fillRef idx="0">
              <a:schemeClr val="accent1"/>
            </a:fillRef>
            <a:effectRef idx="0">
              <a:schemeClr val="accent1"/>
            </a:effectRef>
            <a:fontRef idx="minor">
              <a:schemeClr val="tx1"/>
            </a:fontRef>
          </p:style>
        </p:cxnSp>
        <p:cxnSp>
          <p:nvCxnSpPr>
            <p:cNvPr id="26" name="Straight Connector 61">
              <a:extLst>
                <a:ext uri="{FF2B5EF4-FFF2-40B4-BE49-F238E27FC236}">
                  <a16:creationId xmlns:a16="http://schemas.microsoft.com/office/drawing/2014/main" id="{778DD48C-E819-4325-9EE4-2E5368A21FD4}"/>
                </a:ext>
              </a:extLst>
            </p:cNvPr>
            <p:cNvCxnSpPr>
              <a:cxnSpLocks/>
            </p:cNvCxnSpPr>
            <p:nvPr/>
          </p:nvCxnSpPr>
          <p:spPr>
            <a:xfrm flipV="1">
              <a:off x="4409976" y="3429000"/>
              <a:ext cx="0" cy="2628389"/>
            </a:xfrm>
            <a:prstGeom prst="line">
              <a:avLst/>
            </a:prstGeom>
            <a:ln>
              <a:solidFill>
                <a:schemeClr val="bg1">
                  <a:alpha val="10000"/>
                </a:schemeClr>
              </a:solidFill>
            </a:ln>
          </p:spPr>
          <p:style>
            <a:lnRef idx="1">
              <a:schemeClr val="accent1"/>
            </a:lnRef>
            <a:fillRef idx="0">
              <a:schemeClr val="accent1"/>
            </a:fillRef>
            <a:effectRef idx="0">
              <a:schemeClr val="accent1"/>
            </a:effectRef>
            <a:fontRef idx="minor">
              <a:schemeClr val="tx1"/>
            </a:fontRef>
          </p:style>
        </p:cxnSp>
      </p:grpSp>
      <p:sp>
        <p:nvSpPr>
          <p:cNvPr id="27" name="Rectangle 66">
            <a:extLst>
              <a:ext uri="{FF2B5EF4-FFF2-40B4-BE49-F238E27FC236}">
                <a16:creationId xmlns:a16="http://schemas.microsoft.com/office/drawing/2014/main" id="{C8484255-7027-4BA4-8DC4-354F6CC6CCEB}"/>
              </a:ext>
            </a:extLst>
          </p:cNvPr>
          <p:cNvSpPr/>
          <p:nvPr/>
        </p:nvSpPr>
        <p:spPr>
          <a:xfrm>
            <a:off x="8509202" y="2169957"/>
            <a:ext cx="320006" cy="320002"/>
          </a:xfrm>
          <a:prstGeom prst="rect">
            <a:avLst/>
          </a:prstGeom>
          <a:blipFill>
            <a:blip r:embed="rId4">
              <a:duotone>
                <a:schemeClr val="accent1">
                  <a:shade val="45000"/>
                  <a:satMod val="135000"/>
                </a:schemeClr>
                <a:prstClr val="white"/>
              </a:duotone>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等线" panose="020F0502020204030204"/>
              <a:ea typeface="+mn-ea"/>
              <a:cs typeface="+mn-cs"/>
            </a:endParaRPr>
          </a:p>
        </p:txBody>
      </p:sp>
      <p:sp>
        <p:nvSpPr>
          <p:cNvPr id="28" name="Rectangle 67">
            <a:extLst>
              <a:ext uri="{FF2B5EF4-FFF2-40B4-BE49-F238E27FC236}">
                <a16:creationId xmlns:a16="http://schemas.microsoft.com/office/drawing/2014/main" id="{F95D39A8-8E6A-476E-9EB6-C40C0F13CF3F}"/>
              </a:ext>
            </a:extLst>
          </p:cNvPr>
          <p:cNvSpPr/>
          <p:nvPr/>
        </p:nvSpPr>
        <p:spPr>
          <a:xfrm>
            <a:off x="9686517" y="1674697"/>
            <a:ext cx="320006" cy="320002"/>
          </a:xfrm>
          <a:prstGeom prst="rect">
            <a:avLst/>
          </a:prstGeom>
          <a:blipFill>
            <a:blip r:embed="rId5">
              <a:duotone>
                <a:schemeClr val="accent2">
                  <a:shade val="45000"/>
                  <a:satMod val="135000"/>
                </a:schemeClr>
                <a:prstClr val="white"/>
              </a:duotone>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等线" panose="020F0502020204030204"/>
              <a:ea typeface="+mn-ea"/>
              <a:cs typeface="+mn-cs"/>
            </a:endParaRPr>
          </a:p>
        </p:txBody>
      </p:sp>
      <p:sp>
        <p:nvSpPr>
          <p:cNvPr id="29" name="Rectangle 68">
            <a:extLst>
              <a:ext uri="{FF2B5EF4-FFF2-40B4-BE49-F238E27FC236}">
                <a16:creationId xmlns:a16="http://schemas.microsoft.com/office/drawing/2014/main" id="{D3D49F0E-FDB3-4086-9E17-5B8B310464E3}"/>
              </a:ext>
            </a:extLst>
          </p:cNvPr>
          <p:cNvSpPr/>
          <p:nvPr/>
        </p:nvSpPr>
        <p:spPr>
          <a:xfrm>
            <a:off x="10919265" y="2766098"/>
            <a:ext cx="320006" cy="320002"/>
          </a:xfrm>
          <a:prstGeom prst="rect">
            <a:avLst/>
          </a:prstGeom>
          <a:blipFill>
            <a:blip r:embed="rId6">
              <a:duotone>
                <a:schemeClr val="accent3">
                  <a:shade val="45000"/>
                  <a:satMod val="135000"/>
                </a:schemeClr>
                <a:prstClr val="white"/>
              </a:duotone>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等线" panose="020F0502020204030204"/>
              <a:ea typeface="+mn-ea"/>
              <a:cs typeface="+mn-cs"/>
            </a:endParaRPr>
          </a:p>
        </p:txBody>
      </p:sp>
      <p:sp>
        <p:nvSpPr>
          <p:cNvPr id="30" name="TextBox 51">
            <a:extLst>
              <a:ext uri="{FF2B5EF4-FFF2-40B4-BE49-F238E27FC236}">
                <a16:creationId xmlns:a16="http://schemas.microsoft.com/office/drawing/2014/main" id="{013C8B3B-4700-4437-A671-26CB75CBC3FF}"/>
              </a:ext>
            </a:extLst>
          </p:cNvPr>
          <p:cNvSpPr txBox="1"/>
          <p:nvPr/>
        </p:nvSpPr>
        <p:spPr>
          <a:xfrm>
            <a:off x="1356230" y="3621192"/>
            <a:ext cx="1702796" cy="665888"/>
          </a:xfrm>
          <a:prstGeom prst="rect">
            <a:avLst/>
          </a:prstGeom>
        </p:spPr>
        <p:txBody>
          <a:bodyPr wrap="square" rtlCol="0">
            <a:spAutoFit/>
          </a:bodyPr>
          <a:lstStyle>
            <a:defPPr>
              <a:defRPr lang="en-US"/>
            </a:defPPr>
            <a:lvl1pPr>
              <a:lnSpc>
                <a:spcPct val="130000"/>
              </a:lnSpc>
              <a:defRPr sz="2000" b="1">
                <a:solidFill>
                  <a:schemeClr val="accent1"/>
                </a:solidFill>
                <a:latin typeface="Bahnschrift Condensed" panose="020B0502040204020203" pitchFamily="34" charset="0"/>
                <a:cs typeface="Poppins" panose="00000500000000000000" pitchFamily="2" charset="0"/>
              </a:defRPr>
            </a:lvl1pPr>
          </a:lstStyle>
          <a:p>
            <a:pPr marL="0" marR="0" lvl="0" indent="0" algn="l" defTabSz="914400" rtl="0" eaLnBrk="1" fontAlgn="auto" latinLnBrk="0" hangingPunct="1">
              <a:lnSpc>
                <a:spcPct val="130000"/>
              </a:lnSpc>
              <a:spcBef>
                <a:spcPts val="0"/>
              </a:spcBef>
              <a:spcAft>
                <a:spcPts val="0"/>
              </a:spcAft>
              <a:buClrTx/>
              <a:buSzTx/>
              <a:buFontTx/>
              <a:buNone/>
              <a:tabLst/>
              <a:defRPr/>
            </a:pPr>
            <a:r>
              <a:rPr kumimoji="0" lang="id-ID" sz="3200" b="1" i="0" u="none" strike="noStrike" kern="1200" cap="none" spc="0" normalizeH="0" baseline="0" noProof="0" dirty="0">
                <a:ln>
                  <a:noFill/>
                </a:ln>
                <a:solidFill>
                  <a:srgbClr val="FFFFFF"/>
                </a:solidFill>
                <a:effectLst/>
                <a:uLnTx/>
                <a:uFillTx/>
                <a:latin typeface="等线 Light" panose="020F0302020204030204"/>
                <a:ea typeface="+mn-ea"/>
                <a:cs typeface="Poppins" panose="00000500000000000000" pitchFamily="2" charset="0"/>
              </a:rPr>
              <a:t>+50K</a:t>
            </a:r>
          </a:p>
        </p:txBody>
      </p:sp>
      <p:sp>
        <p:nvSpPr>
          <p:cNvPr id="31" name="Rectangle 52">
            <a:extLst>
              <a:ext uri="{FF2B5EF4-FFF2-40B4-BE49-F238E27FC236}">
                <a16:creationId xmlns:a16="http://schemas.microsoft.com/office/drawing/2014/main" id="{54C4C71E-1D44-4A92-971D-F63357758979}"/>
              </a:ext>
            </a:extLst>
          </p:cNvPr>
          <p:cNvSpPr/>
          <p:nvPr/>
        </p:nvSpPr>
        <p:spPr>
          <a:xfrm>
            <a:off x="1356228" y="4278838"/>
            <a:ext cx="2394521" cy="307456"/>
          </a:xfrm>
          <a:prstGeom prst="rect">
            <a:avLst/>
          </a:prstGeom>
        </p:spPr>
        <p:txBody>
          <a:bodyPr wrap="square">
            <a:spAutoFit/>
          </a:bodyPr>
          <a:lstStyle/>
          <a:p>
            <a:pPr marL="0" marR="0" lvl="0" indent="0" algn="l" defTabSz="914400" rtl="0" eaLnBrk="1" fontAlgn="auto" latinLnBrk="0" hangingPunct="1">
              <a:lnSpc>
                <a:spcPct val="13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等线" panose="020F0502020204030204"/>
                <a:ea typeface="Open Sans" panose="020B0606030504020204" pitchFamily="34" charset="0"/>
                <a:cs typeface="Segoe UI" panose="020B0502040204020203" pitchFamily="34" charset="0"/>
              </a:rPr>
              <a:t>A wonderful serenity has taken.</a:t>
            </a:r>
            <a:endParaRPr kumimoji="0" lang="id-ID" sz="1200" b="0" i="0" u="none" strike="noStrike" kern="1200" cap="none" spc="0" normalizeH="0" baseline="0" noProof="0" dirty="0">
              <a:ln>
                <a:noFill/>
              </a:ln>
              <a:solidFill>
                <a:srgbClr val="FFFFFF"/>
              </a:solidFill>
              <a:effectLst/>
              <a:uLnTx/>
              <a:uFillTx/>
              <a:latin typeface="等线" panose="020F0502020204030204"/>
              <a:ea typeface="Open Sans" panose="020B0606030504020204" pitchFamily="34" charset="0"/>
              <a:cs typeface="Segoe UI" panose="020B0502040204020203" pitchFamily="34" charset="0"/>
            </a:endParaRPr>
          </a:p>
        </p:txBody>
      </p:sp>
      <p:sp>
        <p:nvSpPr>
          <p:cNvPr id="32" name="TextBox 53">
            <a:extLst>
              <a:ext uri="{FF2B5EF4-FFF2-40B4-BE49-F238E27FC236}">
                <a16:creationId xmlns:a16="http://schemas.microsoft.com/office/drawing/2014/main" id="{226E3F44-FAEB-4C47-95C1-2FDD217A2CFB}"/>
              </a:ext>
            </a:extLst>
          </p:cNvPr>
          <p:cNvSpPr txBox="1"/>
          <p:nvPr/>
        </p:nvSpPr>
        <p:spPr>
          <a:xfrm>
            <a:off x="4891311" y="3621192"/>
            <a:ext cx="1304842" cy="665888"/>
          </a:xfrm>
          <a:prstGeom prst="rect">
            <a:avLst/>
          </a:prstGeom>
        </p:spPr>
        <p:txBody>
          <a:bodyPr wrap="square" rtlCol="0">
            <a:spAutoFit/>
          </a:bodyPr>
          <a:lstStyle>
            <a:defPPr>
              <a:defRPr lang="en-US"/>
            </a:defPPr>
            <a:lvl1pPr>
              <a:lnSpc>
                <a:spcPct val="130000"/>
              </a:lnSpc>
              <a:defRPr sz="2000" b="1">
                <a:solidFill>
                  <a:schemeClr val="accent1"/>
                </a:solidFill>
                <a:latin typeface="Bahnschrift Condensed" panose="020B0502040204020203" pitchFamily="34" charset="0"/>
                <a:cs typeface="Poppins" panose="00000500000000000000" pitchFamily="2" charset="0"/>
              </a:defRPr>
            </a:lvl1pPr>
          </a:lstStyle>
          <a:p>
            <a:pPr marL="0" marR="0" lvl="0" indent="0" algn="l" defTabSz="914400" rtl="0" eaLnBrk="1" fontAlgn="auto" latinLnBrk="0" hangingPunct="1">
              <a:lnSpc>
                <a:spcPct val="130000"/>
              </a:lnSpc>
              <a:spcBef>
                <a:spcPts val="0"/>
              </a:spcBef>
              <a:spcAft>
                <a:spcPts val="0"/>
              </a:spcAft>
              <a:buClrTx/>
              <a:buSzTx/>
              <a:buFontTx/>
              <a:buNone/>
              <a:tabLst/>
              <a:defRPr/>
            </a:pPr>
            <a:r>
              <a:rPr kumimoji="0" lang="id-ID" sz="3200" b="1" i="0" u="none" strike="noStrike" kern="1200" cap="none" spc="0" normalizeH="0" baseline="0" noProof="0" dirty="0">
                <a:ln>
                  <a:noFill/>
                </a:ln>
                <a:solidFill>
                  <a:srgbClr val="FFFFFF"/>
                </a:solidFill>
                <a:effectLst/>
                <a:uLnTx/>
                <a:uFillTx/>
                <a:latin typeface="等线 Light" panose="020F0302020204030204"/>
                <a:ea typeface="+mn-ea"/>
                <a:cs typeface="Poppins" panose="00000500000000000000" pitchFamily="2" charset="0"/>
              </a:rPr>
              <a:t>65%</a:t>
            </a:r>
          </a:p>
        </p:txBody>
      </p:sp>
      <p:sp>
        <p:nvSpPr>
          <p:cNvPr id="33" name="Rectangle 54">
            <a:extLst>
              <a:ext uri="{FF2B5EF4-FFF2-40B4-BE49-F238E27FC236}">
                <a16:creationId xmlns:a16="http://schemas.microsoft.com/office/drawing/2014/main" id="{D4DF5440-750C-43D0-ACB6-5A17E7AE0EBB}"/>
              </a:ext>
            </a:extLst>
          </p:cNvPr>
          <p:cNvSpPr/>
          <p:nvPr/>
        </p:nvSpPr>
        <p:spPr>
          <a:xfrm>
            <a:off x="4891309" y="4278838"/>
            <a:ext cx="2394521" cy="307456"/>
          </a:xfrm>
          <a:prstGeom prst="rect">
            <a:avLst/>
          </a:prstGeom>
        </p:spPr>
        <p:txBody>
          <a:bodyPr wrap="square">
            <a:spAutoFit/>
          </a:bodyPr>
          <a:lstStyle/>
          <a:p>
            <a:pPr marL="0" marR="0" lvl="0" indent="0" algn="l" defTabSz="914400" rtl="0" eaLnBrk="1" fontAlgn="auto" latinLnBrk="0" hangingPunct="1">
              <a:lnSpc>
                <a:spcPct val="13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等线" panose="020F0502020204030204"/>
                <a:ea typeface="Open Sans" panose="020B0606030504020204" pitchFamily="34" charset="0"/>
                <a:cs typeface="Segoe UI" panose="020B0502040204020203" pitchFamily="34" charset="0"/>
              </a:rPr>
              <a:t>A wonderful serenity has taken.</a:t>
            </a:r>
            <a:endParaRPr kumimoji="0" lang="id-ID" sz="1200" b="0" i="0" u="none" strike="noStrike" kern="1200" cap="none" spc="0" normalizeH="0" baseline="0" noProof="0" dirty="0">
              <a:ln>
                <a:noFill/>
              </a:ln>
              <a:solidFill>
                <a:srgbClr val="FFFFFF"/>
              </a:solidFill>
              <a:effectLst/>
              <a:uLnTx/>
              <a:uFillTx/>
              <a:latin typeface="等线" panose="020F0502020204030204"/>
              <a:ea typeface="Open Sans" panose="020B0606030504020204" pitchFamily="34" charset="0"/>
              <a:cs typeface="Segoe UI" panose="020B0502040204020203" pitchFamily="34" charset="0"/>
            </a:endParaRPr>
          </a:p>
        </p:txBody>
      </p:sp>
      <p:sp>
        <p:nvSpPr>
          <p:cNvPr id="34" name="TextBox 55">
            <a:extLst>
              <a:ext uri="{FF2B5EF4-FFF2-40B4-BE49-F238E27FC236}">
                <a16:creationId xmlns:a16="http://schemas.microsoft.com/office/drawing/2014/main" id="{05D80591-FCDE-452C-A2AB-74D56CF8599C}"/>
              </a:ext>
            </a:extLst>
          </p:cNvPr>
          <p:cNvSpPr txBox="1"/>
          <p:nvPr/>
        </p:nvSpPr>
        <p:spPr>
          <a:xfrm>
            <a:off x="1356230" y="4732729"/>
            <a:ext cx="1335412" cy="665888"/>
          </a:xfrm>
          <a:prstGeom prst="rect">
            <a:avLst/>
          </a:prstGeom>
        </p:spPr>
        <p:txBody>
          <a:bodyPr wrap="square" rtlCol="0">
            <a:spAutoFit/>
          </a:bodyPr>
          <a:lstStyle>
            <a:defPPr>
              <a:defRPr lang="en-US"/>
            </a:defPPr>
            <a:lvl1pPr>
              <a:lnSpc>
                <a:spcPct val="130000"/>
              </a:lnSpc>
              <a:defRPr sz="2000" b="1">
                <a:solidFill>
                  <a:schemeClr val="accent1"/>
                </a:solidFill>
                <a:latin typeface="Bahnschrift Condensed" panose="020B0502040204020203" pitchFamily="34" charset="0"/>
                <a:cs typeface="Poppins" panose="00000500000000000000" pitchFamily="2" charset="0"/>
              </a:defRPr>
            </a:lvl1pPr>
          </a:lstStyle>
          <a:p>
            <a:pPr marL="0" marR="0" lvl="0" indent="0" algn="l" defTabSz="914400" rtl="0" eaLnBrk="1" fontAlgn="auto" latinLnBrk="0" hangingPunct="1">
              <a:lnSpc>
                <a:spcPct val="130000"/>
              </a:lnSpc>
              <a:spcBef>
                <a:spcPts val="0"/>
              </a:spcBef>
              <a:spcAft>
                <a:spcPts val="0"/>
              </a:spcAft>
              <a:buClrTx/>
              <a:buSzTx/>
              <a:buFontTx/>
              <a:buNone/>
              <a:tabLst/>
              <a:defRPr/>
            </a:pPr>
            <a:r>
              <a:rPr kumimoji="0" lang="id-ID" sz="3200" b="1" i="0" u="none" strike="noStrike" kern="1200" cap="none" spc="0" normalizeH="0" baseline="0" noProof="0" dirty="0">
                <a:ln>
                  <a:noFill/>
                </a:ln>
                <a:solidFill>
                  <a:srgbClr val="FFFFFF"/>
                </a:solidFill>
                <a:effectLst/>
                <a:uLnTx/>
                <a:uFillTx/>
                <a:latin typeface="等线 Light" panose="020F0302020204030204"/>
                <a:ea typeface="+mn-ea"/>
                <a:cs typeface="Poppins" panose="00000500000000000000" pitchFamily="2" charset="0"/>
              </a:rPr>
              <a:t>30%</a:t>
            </a:r>
          </a:p>
        </p:txBody>
      </p:sp>
      <p:sp>
        <p:nvSpPr>
          <p:cNvPr id="35" name="Rectangle 56">
            <a:extLst>
              <a:ext uri="{FF2B5EF4-FFF2-40B4-BE49-F238E27FC236}">
                <a16:creationId xmlns:a16="http://schemas.microsoft.com/office/drawing/2014/main" id="{CF24FE34-0B55-4A5B-97E4-3FF673DB4755}"/>
              </a:ext>
            </a:extLst>
          </p:cNvPr>
          <p:cNvSpPr/>
          <p:nvPr/>
        </p:nvSpPr>
        <p:spPr>
          <a:xfrm>
            <a:off x="1356228" y="5390375"/>
            <a:ext cx="2394521" cy="307456"/>
          </a:xfrm>
          <a:prstGeom prst="rect">
            <a:avLst/>
          </a:prstGeom>
        </p:spPr>
        <p:txBody>
          <a:bodyPr wrap="square">
            <a:spAutoFit/>
          </a:bodyPr>
          <a:lstStyle/>
          <a:p>
            <a:pPr marL="0" marR="0" lvl="0" indent="0" algn="l" defTabSz="914400" rtl="0" eaLnBrk="1" fontAlgn="auto" latinLnBrk="0" hangingPunct="1">
              <a:lnSpc>
                <a:spcPct val="13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等线" panose="020F0502020204030204"/>
                <a:ea typeface="Open Sans" panose="020B0606030504020204" pitchFamily="34" charset="0"/>
                <a:cs typeface="Segoe UI" panose="020B0502040204020203" pitchFamily="34" charset="0"/>
              </a:rPr>
              <a:t>A wonderful serenity has taken.</a:t>
            </a:r>
            <a:endParaRPr kumimoji="0" lang="id-ID" sz="1200" b="0" i="0" u="none" strike="noStrike" kern="1200" cap="none" spc="0" normalizeH="0" baseline="0" noProof="0" dirty="0">
              <a:ln>
                <a:noFill/>
              </a:ln>
              <a:solidFill>
                <a:srgbClr val="FFFFFF"/>
              </a:solidFill>
              <a:effectLst/>
              <a:uLnTx/>
              <a:uFillTx/>
              <a:latin typeface="等线" panose="020F0502020204030204"/>
              <a:ea typeface="Open Sans" panose="020B0606030504020204" pitchFamily="34" charset="0"/>
              <a:cs typeface="Segoe UI" panose="020B0502040204020203" pitchFamily="34" charset="0"/>
            </a:endParaRPr>
          </a:p>
        </p:txBody>
      </p:sp>
      <p:sp>
        <p:nvSpPr>
          <p:cNvPr id="36" name="TextBox 57">
            <a:extLst>
              <a:ext uri="{FF2B5EF4-FFF2-40B4-BE49-F238E27FC236}">
                <a16:creationId xmlns:a16="http://schemas.microsoft.com/office/drawing/2014/main" id="{00A6E50A-B6A8-4717-806C-497F5ED33EA1}"/>
              </a:ext>
            </a:extLst>
          </p:cNvPr>
          <p:cNvSpPr txBox="1"/>
          <p:nvPr/>
        </p:nvSpPr>
        <p:spPr>
          <a:xfrm>
            <a:off x="4891311" y="4732729"/>
            <a:ext cx="1483168" cy="665888"/>
          </a:xfrm>
          <a:prstGeom prst="rect">
            <a:avLst/>
          </a:prstGeom>
        </p:spPr>
        <p:txBody>
          <a:bodyPr wrap="square" rtlCol="0">
            <a:spAutoFit/>
          </a:bodyPr>
          <a:lstStyle>
            <a:defPPr>
              <a:defRPr lang="en-US"/>
            </a:defPPr>
            <a:lvl1pPr>
              <a:lnSpc>
                <a:spcPct val="130000"/>
              </a:lnSpc>
              <a:defRPr sz="2000" b="1">
                <a:solidFill>
                  <a:schemeClr val="accent1"/>
                </a:solidFill>
                <a:latin typeface="Bahnschrift Condensed" panose="020B0502040204020203" pitchFamily="34" charset="0"/>
                <a:cs typeface="Poppins" panose="00000500000000000000" pitchFamily="2" charset="0"/>
              </a:defRPr>
            </a:lvl1pPr>
          </a:lstStyle>
          <a:p>
            <a:pPr marL="0" marR="0" lvl="0" indent="0" algn="l" defTabSz="914400" rtl="0" eaLnBrk="1" fontAlgn="auto" latinLnBrk="0" hangingPunct="1">
              <a:lnSpc>
                <a:spcPct val="130000"/>
              </a:lnSpc>
              <a:spcBef>
                <a:spcPts val="0"/>
              </a:spcBef>
              <a:spcAft>
                <a:spcPts val="0"/>
              </a:spcAft>
              <a:buClrTx/>
              <a:buSzTx/>
              <a:buFontTx/>
              <a:buNone/>
              <a:tabLst/>
              <a:defRPr/>
            </a:pPr>
            <a:r>
              <a:rPr kumimoji="0" lang="id-ID" sz="3200" b="1" i="0" u="none" strike="noStrike" kern="1200" cap="none" spc="0" normalizeH="0" baseline="0" noProof="0" dirty="0">
                <a:ln>
                  <a:noFill/>
                </a:ln>
                <a:solidFill>
                  <a:srgbClr val="FFFFFF"/>
                </a:solidFill>
                <a:effectLst/>
                <a:uLnTx/>
                <a:uFillTx/>
                <a:latin typeface="等线 Light" panose="020F0302020204030204"/>
                <a:ea typeface="+mn-ea"/>
                <a:cs typeface="Poppins" panose="00000500000000000000" pitchFamily="2" charset="0"/>
              </a:rPr>
              <a:t>+85K</a:t>
            </a:r>
          </a:p>
        </p:txBody>
      </p:sp>
      <p:sp>
        <p:nvSpPr>
          <p:cNvPr id="37" name="Rectangle 58">
            <a:extLst>
              <a:ext uri="{FF2B5EF4-FFF2-40B4-BE49-F238E27FC236}">
                <a16:creationId xmlns:a16="http://schemas.microsoft.com/office/drawing/2014/main" id="{7DF854AC-CBA1-4F0D-8D0A-E9FF6DA62D11}"/>
              </a:ext>
            </a:extLst>
          </p:cNvPr>
          <p:cNvSpPr/>
          <p:nvPr/>
        </p:nvSpPr>
        <p:spPr>
          <a:xfrm>
            <a:off x="4891309" y="5390375"/>
            <a:ext cx="2394521" cy="307456"/>
          </a:xfrm>
          <a:prstGeom prst="rect">
            <a:avLst/>
          </a:prstGeom>
        </p:spPr>
        <p:txBody>
          <a:bodyPr wrap="square">
            <a:spAutoFit/>
          </a:bodyPr>
          <a:lstStyle/>
          <a:p>
            <a:pPr marL="0" marR="0" lvl="0" indent="0" algn="l" defTabSz="914400" rtl="0" eaLnBrk="1" fontAlgn="auto" latinLnBrk="0" hangingPunct="1">
              <a:lnSpc>
                <a:spcPct val="13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等线" panose="020F0502020204030204"/>
                <a:ea typeface="Open Sans" panose="020B0606030504020204" pitchFamily="34" charset="0"/>
                <a:cs typeface="Segoe UI" panose="020B0502040204020203" pitchFamily="34" charset="0"/>
              </a:rPr>
              <a:t>A wonderful serenity has taken.</a:t>
            </a:r>
            <a:endParaRPr kumimoji="0" lang="id-ID" sz="1200" b="0" i="0" u="none" strike="noStrike" kern="1200" cap="none" spc="0" normalizeH="0" baseline="0" noProof="0" dirty="0">
              <a:ln>
                <a:noFill/>
              </a:ln>
              <a:solidFill>
                <a:srgbClr val="FFFFFF"/>
              </a:solidFill>
              <a:effectLst/>
              <a:uLnTx/>
              <a:uFillTx/>
              <a:latin typeface="等线" panose="020F0502020204030204"/>
              <a:ea typeface="Open Sans" panose="020B0606030504020204" pitchFamily="34" charset="0"/>
              <a:cs typeface="Segoe UI" panose="020B0502040204020203" pitchFamily="34" charset="0"/>
            </a:endParaRPr>
          </a:p>
        </p:txBody>
      </p:sp>
    </p:spTree>
    <p:extLst>
      <p:ext uri="{BB962C8B-B14F-4D97-AF65-F5344CB8AC3E}">
        <p14:creationId xmlns:p14="http://schemas.microsoft.com/office/powerpoint/2010/main" val="1763895311"/>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8" presetClass="entr" presetSubtype="3" fill="hold" grpId="0" nodeType="with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strips(upRight)">
                                      <p:cBhvr>
                                        <p:cTn id="7" dur="500"/>
                                        <p:tgtEl>
                                          <p:spTgt spid="22"/>
                                        </p:tgtEl>
                                      </p:cBhvr>
                                    </p:animEffect>
                                  </p:childTnLst>
                                </p:cTn>
                              </p:par>
                              <p:par>
                                <p:cTn id="8" presetID="6" presetClass="emph" presetSubtype="0" accel="52000" decel="48000" autoRev="1" fill="hold" grpId="1" nodeType="withEffect">
                                  <p:stCondLst>
                                    <p:cond delay="0"/>
                                  </p:stCondLst>
                                  <p:childTnLst>
                                    <p:animScale>
                                      <p:cBhvr>
                                        <p:cTn id="9" dur="350" fill="hold"/>
                                        <p:tgtEl>
                                          <p:spTgt spid="22"/>
                                        </p:tgtEl>
                                      </p:cBhvr>
                                      <p:by x="110000" y="110000"/>
                                    </p:animScale>
                                  </p:childTnLst>
                                </p:cTn>
                              </p:par>
                              <p:par>
                                <p:cTn id="10" presetID="10" presetClass="entr" presetSubtype="0" fill="hold" grpId="0" nodeType="withEffect">
                                  <p:stCondLst>
                                    <p:cond delay="500"/>
                                  </p:stCondLst>
                                  <p:childTnLst>
                                    <p:set>
                                      <p:cBhvr>
                                        <p:cTn id="11" dur="1" fill="hold">
                                          <p:stCondLst>
                                            <p:cond delay="0"/>
                                          </p:stCondLst>
                                        </p:cTn>
                                        <p:tgtEl>
                                          <p:spTgt spid="23"/>
                                        </p:tgtEl>
                                        <p:attrNameLst>
                                          <p:attrName>style.visibility</p:attrName>
                                        </p:attrNameLst>
                                      </p:cBhvr>
                                      <p:to>
                                        <p:strVal val="visible"/>
                                      </p:to>
                                    </p:set>
                                    <p:animEffect transition="in" filter="fade">
                                      <p:cBhvr>
                                        <p:cTn id="12" dur="750"/>
                                        <p:tgtEl>
                                          <p:spTgt spid="23"/>
                                        </p:tgtEl>
                                      </p:cBhvr>
                                    </p:animEffect>
                                  </p:childTnLst>
                                </p:cTn>
                              </p:par>
                              <p:par>
                                <p:cTn id="13" presetID="22" presetClass="entr" presetSubtype="8" fill="hold" grpId="0" nodeType="withEffect">
                                  <p:stCondLst>
                                    <p:cond delay="500"/>
                                  </p:stCondLst>
                                  <p:childTnLst>
                                    <p:set>
                                      <p:cBhvr>
                                        <p:cTn id="14" dur="1" fill="hold">
                                          <p:stCondLst>
                                            <p:cond delay="0"/>
                                          </p:stCondLst>
                                        </p:cTn>
                                        <p:tgtEl>
                                          <p:spTgt spid="31"/>
                                        </p:tgtEl>
                                        <p:attrNameLst>
                                          <p:attrName>style.visibility</p:attrName>
                                        </p:attrNameLst>
                                      </p:cBhvr>
                                      <p:to>
                                        <p:strVal val="visible"/>
                                      </p:to>
                                    </p:set>
                                    <p:animEffect transition="in" filter="wipe(left)">
                                      <p:cBhvr>
                                        <p:cTn id="15" dur="750"/>
                                        <p:tgtEl>
                                          <p:spTgt spid="31"/>
                                        </p:tgtEl>
                                      </p:cBhvr>
                                    </p:animEffect>
                                  </p:childTnLst>
                                </p:cTn>
                              </p:par>
                              <p:par>
                                <p:cTn id="16" presetID="22" presetClass="entr" presetSubtype="8" fill="hold" grpId="0" nodeType="withEffect">
                                  <p:stCondLst>
                                    <p:cond delay="750"/>
                                  </p:stCondLst>
                                  <p:childTnLst>
                                    <p:set>
                                      <p:cBhvr>
                                        <p:cTn id="17" dur="1" fill="hold">
                                          <p:stCondLst>
                                            <p:cond delay="0"/>
                                          </p:stCondLst>
                                        </p:cTn>
                                        <p:tgtEl>
                                          <p:spTgt spid="33"/>
                                        </p:tgtEl>
                                        <p:attrNameLst>
                                          <p:attrName>style.visibility</p:attrName>
                                        </p:attrNameLst>
                                      </p:cBhvr>
                                      <p:to>
                                        <p:strVal val="visible"/>
                                      </p:to>
                                    </p:set>
                                    <p:animEffect transition="in" filter="wipe(left)">
                                      <p:cBhvr>
                                        <p:cTn id="18" dur="750"/>
                                        <p:tgtEl>
                                          <p:spTgt spid="33"/>
                                        </p:tgtEl>
                                      </p:cBhvr>
                                    </p:animEffect>
                                  </p:childTnLst>
                                </p:cTn>
                              </p:par>
                              <p:par>
                                <p:cTn id="19" presetID="22" presetClass="entr" presetSubtype="8" fill="hold" grpId="0" nodeType="withEffect">
                                  <p:stCondLst>
                                    <p:cond delay="1000"/>
                                  </p:stCondLst>
                                  <p:childTnLst>
                                    <p:set>
                                      <p:cBhvr>
                                        <p:cTn id="20" dur="1" fill="hold">
                                          <p:stCondLst>
                                            <p:cond delay="0"/>
                                          </p:stCondLst>
                                        </p:cTn>
                                        <p:tgtEl>
                                          <p:spTgt spid="35"/>
                                        </p:tgtEl>
                                        <p:attrNameLst>
                                          <p:attrName>style.visibility</p:attrName>
                                        </p:attrNameLst>
                                      </p:cBhvr>
                                      <p:to>
                                        <p:strVal val="visible"/>
                                      </p:to>
                                    </p:set>
                                    <p:animEffect transition="in" filter="wipe(left)">
                                      <p:cBhvr>
                                        <p:cTn id="21" dur="750"/>
                                        <p:tgtEl>
                                          <p:spTgt spid="35"/>
                                        </p:tgtEl>
                                      </p:cBhvr>
                                    </p:animEffect>
                                  </p:childTnLst>
                                </p:cTn>
                              </p:par>
                              <p:par>
                                <p:cTn id="22" presetID="22" presetClass="entr" presetSubtype="8" fill="hold" grpId="0" nodeType="withEffect">
                                  <p:stCondLst>
                                    <p:cond delay="1250"/>
                                  </p:stCondLst>
                                  <p:childTnLst>
                                    <p:set>
                                      <p:cBhvr>
                                        <p:cTn id="23" dur="1" fill="hold">
                                          <p:stCondLst>
                                            <p:cond delay="0"/>
                                          </p:stCondLst>
                                        </p:cTn>
                                        <p:tgtEl>
                                          <p:spTgt spid="37"/>
                                        </p:tgtEl>
                                        <p:attrNameLst>
                                          <p:attrName>style.visibility</p:attrName>
                                        </p:attrNameLst>
                                      </p:cBhvr>
                                      <p:to>
                                        <p:strVal val="visible"/>
                                      </p:to>
                                    </p:set>
                                    <p:animEffect transition="in" filter="wipe(left)">
                                      <p:cBhvr>
                                        <p:cTn id="24" dur="750"/>
                                        <p:tgtEl>
                                          <p:spTgt spid="37"/>
                                        </p:tgtEl>
                                      </p:cBhvr>
                                    </p:animEffect>
                                  </p:childTnLst>
                                </p:cTn>
                              </p:par>
                              <p:par>
                                <p:cTn id="25" presetID="18" presetClass="entr" presetSubtype="3" fill="hold" grpId="0" nodeType="withEffect">
                                  <p:stCondLst>
                                    <p:cond delay="250"/>
                                  </p:stCondLst>
                                  <p:childTnLst>
                                    <p:set>
                                      <p:cBhvr>
                                        <p:cTn id="26" dur="1" fill="hold">
                                          <p:stCondLst>
                                            <p:cond delay="0"/>
                                          </p:stCondLst>
                                        </p:cTn>
                                        <p:tgtEl>
                                          <p:spTgt spid="30"/>
                                        </p:tgtEl>
                                        <p:attrNameLst>
                                          <p:attrName>style.visibility</p:attrName>
                                        </p:attrNameLst>
                                      </p:cBhvr>
                                      <p:to>
                                        <p:strVal val="visible"/>
                                      </p:to>
                                    </p:set>
                                    <p:animEffect transition="in" filter="strips(upRight)">
                                      <p:cBhvr>
                                        <p:cTn id="27" dur="500"/>
                                        <p:tgtEl>
                                          <p:spTgt spid="30"/>
                                        </p:tgtEl>
                                      </p:cBhvr>
                                    </p:animEffect>
                                  </p:childTnLst>
                                </p:cTn>
                              </p:par>
                              <p:par>
                                <p:cTn id="28" presetID="6" presetClass="emph" presetSubtype="0" accel="52000" decel="48000" autoRev="1" fill="hold" grpId="1" nodeType="withEffect">
                                  <p:stCondLst>
                                    <p:cond delay="250"/>
                                  </p:stCondLst>
                                  <p:childTnLst>
                                    <p:animScale>
                                      <p:cBhvr>
                                        <p:cTn id="29" dur="350" fill="hold"/>
                                        <p:tgtEl>
                                          <p:spTgt spid="30"/>
                                        </p:tgtEl>
                                      </p:cBhvr>
                                      <p:by x="110000" y="110000"/>
                                    </p:animScale>
                                  </p:childTnLst>
                                </p:cTn>
                              </p:par>
                              <p:par>
                                <p:cTn id="30" presetID="18" presetClass="entr" presetSubtype="3" fill="hold" grpId="0" nodeType="withEffect">
                                  <p:stCondLst>
                                    <p:cond delay="250"/>
                                  </p:stCondLst>
                                  <p:childTnLst>
                                    <p:set>
                                      <p:cBhvr>
                                        <p:cTn id="31" dur="1" fill="hold">
                                          <p:stCondLst>
                                            <p:cond delay="0"/>
                                          </p:stCondLst>
                                        </p:cTn>
                                        <p:tgtEl>
                                          <p:spTgt spid="32"/>
                                        </p:tgtEl>
                                        <p:attrNameLst>
                                          <p:attrName>style.visibility</p:attrName>
                                        </p:attrNameLst>
                                      </p:cBhvr>
                                      <p:to>
                                        <p:strVal val="visible"/>
                                      </p:to>
                                    </p:set>
                                    <p:animEffect transition="in" filter="strips(upRight)">
                                      <p:cBhvr>
                                        <p:cTn id="32" dur="500"/>
                                        <p:tgtEl>
                                          <p:spTgt spid="32"/>
                                        </p:tgtEl>
                                      </p:cBhvr>
                                    </p:animEffect>
                                  </p:childTnLst>
                                </p:cTn>
                              </p:par>
                              <p:par>
                                <p:cTn id="33" presetID="6" presetClass="emph" presetSubtype="0" accel="52000" decel="48000" autoRev="1" fill="hold" grpId="1" nodeType="withEffect">
                                  <p:stCondLst>
                                    <p:cond delay="250"/>
                                  </p:stCondLst>
                                  <p:childTnLst>
                                    <p:animScale>
                                      <p:cBhvr>
                                        <p:cTn id="34" dur="350" fill="hold"/>
                                        <p:tgtEl>
                                          <p:spTgt spid="32"/>
                                        </p:tgtEl>
                                      </p:cBhvr>
                                      <p:by x="110000" y="110000"/>
                                    </p:animScale>
                                  </p:childTnLst>
                                </p:cTn>
                              </p:par>
                              <p:par>
                                <p:cTn id="35" presetID="18" presetClass="entr" presetSubtype="3" fill="hold" grpId="0" nodeType="withEffect">
                                  <p:stCondLst>
                                    <p:cond delay="250"/>
                                  </p:stCondLst>
                                  <p:childTnLst>
                                    <p:set>
                                      <p:cBhvr>
                                        <p:cTn id="36" dur="1" fill="hold">
                                          <p:stCondLst>
                                            <p:cond delay="0"/>
                                          </p:stCondLst>
                                        </p:cTn>
                                        <p:tgtEl>
                                          <p:spTgt spid="36"/>
                                        </p:tgtEl>
                                        <p:attrNameLst>
                                          <p:attrName>style.visibility</p:attrName>
                                        </p:attrNameLst>
                                      </p:cBhvr>
                                      <p:to>
                                        <p:strVal val="visible"/>
                                      </p:to>
                                    </p:set>
                                    <p:animEffect transition="in" filter="strips(upRight)">
                                      <p:cBhvr>
                                        <p:cTn id="37" dur="500"/>
                                        <p:tgtEl>
                                          <p:spTgt spid="36"/>
                                        </p:tgtEl>
                                      </p:cBhvr>
                                    </p:animEffect>
                                  </p:childTnLst>
                                </p:cTn>
                              </p:par>
                              <p:par>
                                <p:cTn id="38" presetID="6" presetClass="emph" presetSubtype="0" accel="52000" decel="48000" autoRev="1" fill="hold" grpId="1" nodeType="withEffect">
                                  <p:stCondLst>
                                    <p:cond delay="250"/>
                                  </p:stCondLst>
                                  <p:childTnLst>
                                    <p:animScale>
                                      <p:cBhvr>
                                        <p:cTn id="39" dur="350" fill="hold"/>
                                        <p:tgtEl>
                                          <p:spTgt spid="36"/>
                                        </p:tgtEl>
                                      </p:cBhvr>
                                      <p:by x="110000" y="110000"/>
                                    </p:animScale>
                                  </p:childTnLst>
                                </p:cTn>
                              </p:par>
                              <p:par>
                                <p:cTn id="40" presetID="18" presetClass="entr" presetSubtype="3" fill="hold" grpId="0" nodeType="withEffect">
                                  <p:stCondLst>
                                    <p:cond delay="250"/>
                                  </p:stCondLst>
                                  <p:childTnLst>
                                    <p:set>
                                      <p:cBhvr>
                                        <p:cTn id="41" dur="1" fill="hold">
                                          <p:stCondLst>
                                            <p:cond delay="0"/>
                                          </p:stCondLst>
                                        </p:cTn>
                                        <p:tgtEl>
                                          <p:spTgt spid="34"/>
                                        </p:tgtEl>
                                        <p:attrNameLst>
                                          <p:attrName>style.visibility</p:attrName>
                                        </p:attrNameLst>
                                      </p:cBhvr>
                                      <p:to>
                                        <p:strVal val="visible"/>
                                      </p:to>
                                    </p:set>
                                    <p:animEffect transition="in" filter="strips(upRight)">
                                      <p:cBhvr>
                                        <p:cTn id="42" dur="500"/>
                                        <p:tgtEl>
                                          <p:spTgt spid="34"/>
                                        </p:tgtEl>
                                      </p:cBhvr>
                                    </p:animEffect>
                                  </p:childTnLst>
                                </p:cTn>
                              </p:par>
                              <p:par>
                                <p:cTn id="43" presetID="6" presetClass="emph" presetSubtype="0" accel="52000" decel="48000" autoRev="1" fill="hold" grpId="1" nodeType="withEffect">
                                  <p:stCondLst>
                                    <p:cond delay="250"/>
                                  </p:stCondLst>
                                  <p:childTnLst>
                                    <p:animScale>
                                      <p:cBhvr>
                                        <p:cTn id="44" dur="350" fill="hold"/>
                                        <p:tgtEl>
                                          <p:spTgt spid="34"/>
                                        </p:tgtEl>
                                      </p:cBhvr>
                                      <p:by x="110000" y="110000"/>
                                    </p:animScale>
                                  </p:childTnLst>
                                </p:cTn>
                              </p:par>
                              <p:par>
                                <p:cTn id="45" presetID="2" presetClass="entr" presetSubtype="4" decel="100000" fill="hold" nodeType="withEffect">
                                  <p:stCondLst>
                                    <p:cond delay="0"/>
                                  </p:stCondLst>
                                  <p:childTnLst>
                                    <p:set>
                                      <p:cBhvr>
                                        <p:cTn id="46" dur="1" fill="hold">
                                          <p:stCondLst>
                                            <p:cond delay="0"/>
                                          </p:stCondLst>
                                        </p:cTn>
                                        <p:tgtEl>
                                          <p:spTgt spid="3"/>
                                        </p:tgtEl>
                                        <p:attrNameLst>
                                          <p:attrName>style.visibility</p:attrName>
                                        </p:attrNameLst>
                                      </p:cBhvr>
                                      <p:to>
                                        <p:strVal val="visible"/>
                                      </p:to>
                                    </p:set>
                                    <p:anim calcmode="lin" valueType="num">
                                      <p:cBhvr additive="base">
                                        <p:cTn id="47" dur="1250" fill="hold"/>
                                        <p:tgtEl>
                                          <p:spTgt spid="3"/>
                                        </p:tgtEl>
                                        <p:attrNameLst>
                                          <p:attrName>ppt_x</p:attrName>
                                        </p:attrNameLst>
                                      </p:cBhvr>
                                      <p:tavLst>
                                        <p:tav tm="0">
                                          <p:val>
                                            <p:strVal val="#ppt_x"/>
                                          </p:val>
                                        </p:tav>
                                        <p:tav tm="100000">
                                          <p:val>
                                            <p:strVal val="#ppt_x"/>
                                          </p:val>
                                        </p:tav>
                                      </p:tavLst>
                                    </p:anim>
                                    <p:anim calcmode="lin" valueType="num">
                                      <p:cBhvr additive="base">
                                        <p:cTn id="48" dur="1250" fill="hold"/>
                                        <p:tgtEl>
                                          <p:spTgt spid="3"/>
                                        </p:tgtEl>
                                        <p:attrNameLst>
                                          <p:attrName>ppt_y</p:attrName>
                                        </p:attrNameLst>
                                      </p:cBhvr>
                                      <p:tavLst>
                                        <p:tav tm="0">
                                          <p:val>
                                            <p:strVal val="1+#ppt_h/2"/>
                                          </p:val>
                                        </p:tav>
                                        <p:tav tm="100000">
                                          <p:val>
                                            <p:strVal val="#ppt_y"/>
                                          </p:val>
                                        </p:tav>
                                      </p:tavLst>
                                    </p:anim>
                                  </p:childTnLst>
                                </p:cTn>
                              </p:par>
                              <p:par>
                                <p:cTn id="49" presetID="2" presetClass="entr" presetSubtype="4" decel="100000" fill="hold" grpId="0" nodeType="withEffect">
                                  <p:stCondLst>
                                    <p:cond delay="0"/>
                                  </p:stCondLst>
                                  <p:childTnLst>
                                    <p:set>
                                      <p:cBhvr>
                                        <p:cTn id="50" dur="1" fill="hold">
                                          <p:stCondLst>
                                            <p:cond delay="0"/>
                                          </p:stCondLst>
                                        </p:cTn>
                                        <p:tgtEl>
                                          <p:spTgt spid="2"/>
                                        </p:tgtEl>
                                        <p:attrNameLst>
                                          <p:attrName>style.visibility</p:attrName>
                                        </p:attrNameLst>
                                      </p:cBhvr>
                                      <p:to>
                                        <p:strVal val="visible"/>
                                      </p:to>
                                    </p:set>
                                    <p:anim calcmode="lin" valueType="num">
                                      <p:cBhvr additive="base">
                                        <p:cTn id="51" dur="1000" fill="hold"/>
                                        <p:tgtEl>
                                          <p:spTgt spid="2"/>
                                        </p:tgtEl>
                                        <p:attrNameLst>
                                          <p:attrName>ppt_x</p:attrName>
                                        </p:attrNameLst>
                                      </p:cBhvr>
                                      <p:tavLst>
                                        <p:tav tm="0">
                                          <p:val>
                                            <p:strVal val="#ppt_x"/>
                                          </p:val>
                                        </p:tav>
                                        <p:tav tm="100000">
                                          <p:val>
                                            <p:strVal val="#ppt_x"/>
                                          </p:val>
                                        </p:tav>
                                      </p:tavLst>
                                    </p:anim>
                                    <p:anim calcmode="lin" valueType="num">
                                      <p:cBhvr additive="base">
                                        <p:cTn id="52" dur="1000" fill="hold"/>
                                        <p:tgtEl>
                                          <p:spTgt spid="2"/>
                                        </p:tgtEl>
                                        <p:attrNameLst>
                                          <p:attrName>ppt_y</p:attrName>
                                        </p:attrNameLst>
                                      </p:cBhvr>
                                      <p:tavLst>
                                        <p:tav tm="0">
                                          <p:val>
                                            <p:strVal val="1+#ppt_h/2"/>
                                          </p:val>
                                        </p:tav>
                                        <p:tav tm="100000">
                                          <p:val>
                                            <p:strVal val="#ppt_y"/>
                                          </p:val>
                                        </p:tav>
                                      </p:tavLst>
                                    </p:anim>
                                  </p:childTnLst>
                                </p:cTn>
                              </p:par>
                              <p:par>
                                <p:cTn id="53" presetID="2" presetClass="entr" presetSubtype="4" decel="100000" fill="hold" nodeType="withEffect">
                                  <p:stCondLst>
                                    <p:cond delay="0"/>
                                  </p:stCondLst>
                                  <p:childTnLst>
                                    <p:set>
                                      <p:cBhvr>
                                        <p:cTn id="54" dur="1" fill="hold">
                                          <p:stCondLst>
                                            <p:cond delay="0"/>
                                          </p:stCondLst>
                                        </p:cTn>
                                        <p:tgtEl>
                                          <p:spTgt spid="24"/>
                                        </p:tgtEl>
                                        <p:attrNameLst>
                                          <p:attrName>style.visibility</p:attrName>
                                        </p:attrNameLst>
                                      </p:cBhvr>
                                      <p:to>
                                        <p:strVal val="visible"/>
                                      </p:to>
                                    </p:set>
                                    <p:anim calcmode="lin" valueType="num">
                                      <p:cBhvr additive="base">
                                        <p:cTn id="55" dur="1000" fill="hold"/>
                                        <p:tgtEl>
                                          <p:spTgt spid="24"/>
                                        </p:tgtEl>
                                        <p:attrNameLst>
                                          <p:attrName>ppt_x</p:attrName>
                                        </p:attrNameLst>
                                      </p:cBhvr>
                                      <p:tavLst>
                                        <p:tav tm="0">
                                          <p:val>
                                            <p:strVal val="#ppt_x"/>
                                          </p:val>
                                        </p:tav>
                                        <p:tav tm="100000">
                                          <p:val>
                                            <p:strVal val="#ppt_x"/>
                                          </p:val>
                                        </p:tav>
                                      </p:tavLst>
                                    </p:anim>
                                    <p:anim calcmode="lin" valueType="num">
                                      <p:cBhvr additive="base">
                                        <p:cTn id="56" dur="1000" fill="hold"/>
                                        <p:tgtEl>
                                          <p:spTgt spid="24"/>
                                        </p:tgtEl>
                                        <p:attrNameLst>
                                          <p:attrName>ppt_y</p:attrName>
                                        </p:attrNameLst>
                                      </p:cBhvr>
                                      <p:tavLst>
                                        <p:tav tm="0">
                                          <p:val>
                                            <p:strVal val="1+#ppt_h/2"/>
                                          </p:val>
                                        </p:tav>
                                        <p:tav tm="100000">
                                          <p:val>
                                            <p:strVal val="#ppt_y"/>
                                          </p:val>
                                        </p:tav>
                                      </p:tavLst>
                                    </p:anim>
                                  </p:childTnLst>
                                </p:cTn>
                              </p:par>
                              <p:par>
                                <p:cTn id="57" presetID="2" presetClass="entr" presetSubtype="4" decel="100000" fill="hold" grpId="0" nodeType="withEffect">
                                  <p:stCondLst>
                                    <p:cond delay="0"/>
                                  </p:stCondLst>
                                  <p:childTnLst>
                                    <p:set>
                                      <p:cBhvr>
                                        <p:cTn id="58" dur="1" fill="hold">
                                          <p:stCondLst>
                                            <p:cond delay="0"/>
                                          </p:stCondLst>
                                        </p:cTn>
                                        <p:tgtEl>
                                          <p:spTgt spid="27"/>
                                        </p:tgtEl>
                                        <p:attrNameLst>
                                          <p:attrName>style.visibility</p:attrName>
                                        </p:attrNameLst>
                                      </p:cBhvr>
                                      <p:to>
                                        <p:strVal val="visible"/>
                                      </p:to>
                                    </p:set>
                                    <p:anim calcmode="lin" valueType="num">
                                      <p:cBhvr additive="base">
                                        <p:cTn id="59" dur="1250" fill="hold"/>
                                        <p:tgtEl>
                                          <p:spTgt spid="27"/>
                                        </p:tgtEl>
                                        <p:attrNameLst>
                                          <p:attrName>ppt_x</p:attrName>
                                        </p:attrNameLst>
                                      </p:cBhvr>
                                      <p:tavLst>
                                        <p:tav tm="0">
                                          <p:val>
                                            <p:strVal val="#ppt_x"/>
                                          </p:val>
                                        </p:tav>
                                        <p:tav tm="100000">
                                          <p:val>
                                            <p:strVal val="#ppt_x"/>
                                          </p:val>
                                        </p:tav>
                                      </p:tavLst>
                                    </p:anim>
                                    <p:anim calcmode="lin" valueType="num">
                                      <p:cBhvr additive="base">
                                        <p:cTn id="60" dur="1250" fill="hold"/>
                                        <p:tgtEl>
                                          <p:spTgt spid="27"/>
                                        </p:tgtEl>
                                        <p:attrNameLst>
                                          <p:attrName>ppt_y</p:attrName>
                                        </p:attrNameLst>
                                      </p:cBhvr>
                                      <p:tavLst>
                                        <p:tav tm="0">
                                          <p:val>
                                            <p:strVal val="1+#ppt_h/2"/>
                                          </p:val>
                                        </p:tav>
                                        <p:tav tm="100000">
                                          <p:val>
                                            <p:strVal val="#ppt_y"/>
                                          </p:val>
                                        </p:tav>
                                      </p:tavLst>
                                    </p:anim>
                                  </p:childTnLst>
                                </p:cTn>
                              </p:par>
                              <p:par>
                                <p:cTn id="61" presetID="2" presetClass="entr" presetSubtype="4" decel="100000" fill="hold" grpId="0" nodeType="withEffect">
                                  <p:stCondLst>
                                    <p:cond delay="0"/>
                                  </p:stCondLst>
                                  <p:childTnLst>
                                    <p:set>
                                      <p:cBhvr>
                                        <p:cTn id="62" dur="1" fill="hold">
                                          <p:stCondLst>
                                            <p:cond delay="0"/>
                                          </p:stCondLst>
                                        </p:cTn>
                                        <p:tgtEl>
                                          <p:spTgt spid="28"/>
                                        </p:tgtEl>
                                        <p:attrNameLst>
                                          <p:attrName>style.visibility</p:attrName>
                                        </p:attrNameLst>
                                      </p:cBhvr>
                                      <p:to>
                                        <p:strVal val="visible"/>
                                      </p:to>
                                    </p:set>
                                    <p:anim calcmode="lin" valueType="num">
                                      <p:cBhvr additive="base">
                                        <p:cTn id="63" dur="1250" fill="hold"/>
                                        <p:tgtEl>
                                          <p:spTgt spid="28"/>
                                        </p:tgtEl>
                                        <p:attrNameLst>
                                          <p:attrName>ppt_x</p:attrName>
                                        </p:attrNameLst>
                                      </p:cBhvr>
                                      <p:tavLst>
                                        <p:tav tm="0">
                                          <p:val>
                                            <p:strVal val="#ppt_x"/>
                                          </p:val>
                                        </p:tav>
                                        <p:tav tm="100000">
                                          <p:val>
                                            <p:strVal val="#ppt_x"/>
                                          </p:val>
                                        </p:tav>
                                      </p:tavLst>
                                    </p:anim>
                                    <p:anim calcmode="lin" valueType="num">
                                      <p:cBhvr additive="base">
                                        <p:cTn id="64" dur="1250" fill="hold"/>
                                        <p:tgtEl>
                                          <p:spTgt spid="28"/>
                                        </p:tgtEl>
                                        <p:attrNameLst>
                                          <p:attrName>ppt_y</p:attrName>
                                        </p:attrNameLst>
                                      </p:cBhvr>
                                      <p:tavLst>
                                        <p:tav tm="0">
                                          <p:val>
                                            <p:strVal val="1+#ppt_h/2"/>
                                          </p:val>
                                        </p:tav>
                                        <p:tav tm="100000">
                                          <p:val>
                                            <p:strVal val="#ppt_y"/>
                                          </p:val>
                                        </p:tav>
                                      </p:tavLst>
                                    </p:anim>
                                  </p:childTnLst>
                                </p:cTn>
                              </p:par>
                              <p:par>
                                <p:cTn id="65" presetID="2" presetClass="entr" presetSubtype="4" decel="100000" fill="hold" grpId="0" nodeType="withEffect">
                                  <p:stCondLst>
                                    <p:cond delay="0"/>
                                  </p:stCondLst>
                                  <p:childTnLst>
                                    <p:set>
                                      <p:cBhvr>
                                        <p:cTn id="66" dur="1" fill="hold">
                                          <p:stCondLst>
                                            <p:cond delay="0"/>
                                          </p:stCondLst>
                                        </p:cTn>
                                        <p:tgtEl>
                                          <p:spTgt spid="29"/>
                                        </p:tgtEl>
                                        <p:attrNameLst>
                                          <p:attrName>style.visibility</p:attrName>
                                        </p:attrNameLst>
                                      </p:cBhvr>
                                      <p:to>
                                        <p:strVal val="visible"/>
                                      </p:to>
                                    </p:set>
                                    <p:anim calcmode="lin" valueType="num">
                                      <p:cBhvr additive="base">
                                        <p:cTn id="67" dur="1250" fill="hold"/>
                                        <p:tgtEl>
                                          <p:spTgt spid="29"/>
                                        </p:tgtEl>
                                        <p:attrNameLst>
                                          <p:attrName>ppt_x</p:attrName>
                                        </p:attrNameLst>
                                      </p:cBhvr>
                                      <p:tavLst>
                                        <p:tav tm="0">
                                          <p:val>
                                            <p:strVal val="#ppt_x"/>
                                          </p:val>
                                        </p:tav>
                                        <p:tav tm="100000">
                                          <p:val>
                                            <p:strVal val="#ppt_x"/>
                                          </p:val>
                                        </p:tav>
                                      </p:tavLst>
                                    </p:anim>
                                    <p:anim calcmode="lin" valueType="num">
                                      <p:cBhvr additive="base">
                                        <p:cTn id="68" dur="1250" fill="hold"/>
                                        <p:tgtEl>
                                          <p:spTgt spid="2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22" grpId="0"/>
      <p:bldP spid="22" grpId="1"/>
      <p:bldP spid="23" grpId="0"/>
      <p:bldP spid="27" grpId="0" animBg="1"/>
      <p:bldP spid="28" grpId="0" animBg="1"/>
      <p:bldP spid="29" grpId="0" animBg="1"/>
      <p:bldP spid="30" grpId="0"/>
      <p:bldP spid="30" grpId="1"/>
      <p:bldP spid="31" grpId="0"/>
      <p:bldP spid="32" grpId="0"/>
      <p:bldP spid="32" grpId="1"/>
      <p:bldP spid="33" grpId="0"/>
      <p:bldP spid="34" grpId="0"/>
      <p:bldP spid="34" grpId="1"/>
      <p:bldP spid="35" grpId="0"/>
      <p:bldP spid="36" grpId="0"/>
      <p:bldP spid="36" grpId="1"/>
      <p:bldP spid="37" grpId="0"/>
    </p:bldLst>
  </p:timing>
</p:sld>
</file>

<file path=ppt/slides/slide6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5">
            <a:extLst>
              <a:ext uri="{FF2B5EF4-FFF2-40B4-BE49-F238E27FC236}">
                <a16:creationId xmlns:a16="http://schemas.microsoft.com/office/drawing/2014/main" id="{30034499-C4FC-45FC-9A99-3A8C10AD449B}"/>
              </a:ext>
            </a:extLst>
          </p:cNvPr>
          <p:cNvSpPr>
            <a:spLocks/>
          </p:cNvSpPr>
          <p:nvPr/>
        </p:nvSpPr>
        <p:spPr bwMode="auto">
          <a:xfrm>
            <a:off x="6083300" y="2035174"/>
            <a:ext cx="3707227" cy="4820902"/>
          </a:xfrm>
          <a:custGeom>
            <a:avLst/>
            <a:gdLst>
              <a:gd name="T0" fmla="*/ 8964 w 14406"/>
              <a:gd name="T1" fmla="*/ 14277 h 18578"/>
              <a:gd name="T2" fmla="*/ 8529 w 14406"/>
              <a:gd name="T3" fmla="*/ 10889 h 18578"/>
              <a:gd name="T4" fmla="*/ 8828 w 14406"/>
              <a:gd name="T5" fmla="*/ 9188 h 18578"/>
              <a:gd name="T6" fmla="*/ 10296 w 14406"/>
              <a:gd name="T7" fmla="*/ 7263 h 18578"/>
              <a:gd name="T8" fmla="*/ 12192 w 14406"/>
              <a:gd name="T9" fmla="*/ 6173 h 18578"/>
              <a:gd name="T10" fmla="*/ 13323 w 14406"/>
              <a:gd name="T11" fmla="*/ 6019 h 18578"/>
              <a:gd name="T12" fmla="*/ 12573 w 14406"/>
              <a:gd name="T13" fmla="*/ 5873 h 18578"/>
              <a:gd name="T14" fmla="*/ 10785 w 14406"/>
              <a:gd name="T15" fmla="*/ 6147 h 18578"/>
              <a:gd name="T16" fmla="*/ 9133 w 14406"/>
              <a:gd name="T17" fmla="*/ 7542 h 18578"/>
              <a:gd name="T18" fmla="*/ 8356 w 14406"/>
              <a:gd name="T19" fmla="*/ 8600 h 18578"/>
              <a:gd name="T20" fmla="*/ 8168 w 14406"/>
              <a:gd name="T21" fmla="*/ 8629 h 18578"/>
              <a:gd name="T22" fmla="*/ 8305 w 14406"/>
              <a:gd name="T23" fmla="*/ 6991 h 18578"/>
              <a:gd name="T24" fmla="*/ 9272 w 14406"/>
              <a:gd name="T25" fmla="*/ 5265 h 18578"/>
              <a:gd name="T26" fmla="*/ 11433 w 14406"/>
              <a:gd name="T27" fmla="*/ 3901 h 18578"/>
              <a:gd name="T28" fmla="*/ 13149 w 14406"/>
              <a:gd name="T29" fmla="*/ 2660 h 18578"/>
              <a:gd name="T30" fmla="*/ 14026 w 14406"/>
              <a:gd name="T31" fmla="*/ 1242 h 18578"/>
              <a:gd name="T32" fmla="*/ 14361 w 14406"/>
              <a:gd name="T33" fmla="*/ 323 h 18578"/>
              <a:gd name="T34" fmla="*/ 14142 w 14406"/>
              <a:gd name="T35" fmla="*/ 655 h 18578"/>
              <a:gd name="T36" fmla="*/ 13104 w 14406"/>
              <a:gd name="T37" fmla="*/ 2126 h 18578"/>
              <a:gd name="T38" fmla="*/ 11467 w 14406"/>
              <a:gd name="T39" fmla="*/ 3098 h 18578"/>
              <a:gd name="T40" fmla="*/ 9868 w 14406"/>
              <a:gd name="T41" fmla="*/ 4024 h 18578"/>
              <a:gd name="T42" fmla="*/ 9062 w 14406"/>
              <a:gd name="T43" fmla="*/ 4599 h 18578"/>
              <a:gd name="T44" fmla="*/ 9797 w 14406"/>
              <a:gd name="T45" fmla="*/ 3488 h 18578"/>
              <a:gd name="T46" fmla="*/ 10224 w 14406"/>
              <a:gd name="T47" fmla="*/ 2300 h 18578"/>
              <a:gd name="T48" fmla="*/ 10239 w 14406"/>
              <a:gd name="T49" fmla="*/ 1475 h 18578"/>
              <a:gd name="T50" fmla="*/ 10145 w 14406"/>
              <a:gd name="T51" fmla="*/ 1159 h 18578"/>
              <a:gd name="T52" fmla="*/ 10081 w 14406"/>
              <a:gd name="T53" fmla="*/ 1973 h 18578"/>
              <a:gd name="T54" fmla="*/ 9394 w 14406"/>
              <a:gd name="T55" fmla="*/ 3287 h 18578"/>
              <a:gd name="T56" fmla="*/ 8192 w 14406"/>
              <a:gd name="T57" fmla="*/ 4939 h 18578"/>
              <a:gd name="T58" fmla="*/ 7530 w 14406"/>
              <a:gd name="T59" fmla="*/ 6600 h 18578"/>
              <a:gd name="T60" fmla="*/ 7067 w 14406"/>
              <a:gd name="T61" fmla="*/ 6433 h 18578"/>
              <a:gd name="T62" fmla="*/ 6381 w 14406"/>
              <a:gd name="T63" fmla="*/ 4661 h 18578"/>
              <a:gd name="T64" fmla="*/ 6396 w 14406"/>
              <a:gd name="T65" fmla="*/ 2312 h 18578"/>
              <a:gd name="T66" fmla="*/ 7148 w 14406"/>
              <a:gd name="T67" fmla="*/ 643 h 18578"/>
              <a:gd name="T68" fmla="*/ 7678 w 14406"/>
              <a:gd name="T69" fmla="*/ 1 h 18578"/>
              <a:gd name="T70" fmla="*/ 7138 w 14406"/>
              <a:gd name="T71" fmla="*/ 268 h 18578"/>
              <a:gd name="T72" fmla="*/ 6342 w 14406"/>
              <a:gd name="T73" fmla="*/ 1134 h 18578"/>
              <a:gd name="T74" fmla="*/ 5831 w 14406"/>
              <a:gd name="T75" fmla="*/ 2291 h 18578"/>
              <a:gd name="T76" fmla="*/ 5809 w 14406"/>
              <a:gd name="T77" fmla="*/ 2920 h 18578"/>
              <a:gd name="T78" fmla="*/ 5648 w 14406"/>
              <a:gd name="T79" fmla="*/ 2575 h 18578"/>
              <a:gd name="T80" fmla="*/ 5088 w 14406"/>
              <a:gd name="T81" fmla="*/ 1609 h 18578"/>
              <a:gd name="T82" fmla="*/ 3930 w 14406"/>
              <a:gd name="T83" fmla="*/ 570 h 18578"/>
              <a:gd name="T84" fmla="*/ 2618 w 14406"/>
              <a:gd name="T85" fmla="*/ 237 h 18578"/>
              <a:gd name="T86" fmla="*/ 2666 w 14406"/>
              <a:gd name="T87" fmla="*/ 348 h 18578"/>
              <a:gd name="T88" fmla="*/ 4335 w 14406"/>
              <a:gd name="T89" fmla="*/ 1331 h 18578"/>
              <a:gd name="T90" fmla="*/ 5562 w 14406"/>
              <a:gd name="T91" fmla="*/ 3576 h 18578"/>
              <a:gd name="T92" fmla="*/ 6051 w 14406"/>
              <a:gd name="T93" fmla="*/ 5777 h 18578"/>
              <a:gd name="T94" fmla="*/ 6505 w 14406"/>
              <a:gd name="T95" fmla="*/ 6975 h 18578"/>
              <a:gd name="T96" fmla="*/ 7050 w 14406"/>
              <a:gd name="T97" fmla="*/ 8042 h 18578"/>
              <a:gd name="T98" fmla="*/ 6700 w 14406"/>
              <a:gd name="T99" fmla="*/ 9618 h 18578"/>
              <a:gd name="T100" fmla="*/ 5025 w 14406"/>
              <a:gd name="T101" fmla="*/ 8665 h 18578"/>
              <a:gd name="T102" fmla="*/ 3483 w 14406"/>
              <a:gd name="T103" fmla="*/ 6371 h 18578"/>
              <a:gd name="T104" fmla="*/ 1533 w 14406"/>
              <a:gd name="T105" fmla="*/ 4220 h 18578"/>
              <a:gd name="T106" fmla="*/ 31 w 14406"/>
              <a:gd name="T107" fmla="*/ 3194 h 18578"/>
              <a:gd name="T108" fmla="*/ 1091 w 14406"/>
              <a:gd name="T109" fmla="*/ 4173 h 18578"/>
              <a:gd name="T110" fmla="*/ 2925 w 14406"/>
              <a:gd name="T111" fmla="*/ 6649 h 18578"/>
              <a:gd name="T112" fmla="*/ 4534 w 14406"/>
              <a:gd name="T113" fmla="*/ 9665 h 18578"/>
              <a:gd name="T114" fmla="*/ 6554 w 14406"/>
              <a:gd name="T115" fmla="*/ 11002 h 18578"/>
              <a:gd name="T116" fmla="*/ 7391 w 14406"/>
              <a:gd name="T117" fmla="*/ 11628 h 18578"/>
              <a:gd name="T118" fmla="*/ 7355 w 14406"/>
              <a:gd name="T119" fmla="*/ 13512 h 18578"/>
              <a:gd name="T120" fmla="*/ 6997 w 14406"/>
              <a:gd name="T121" fmla="*/ 16006 h 18578"/>
              <a:gd name="T122" fmla="*/ 6140 w 14406"/>
              <a:gd name="T123" fmla="*/ 17787 h 18578"/>
              <a:gd name="T124" fmla="*/ 5425 w 14406"/>
              <a:gd name="T125" fmla="*/ 18536 h 185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4406" h="18578">
                <a:moveTo>
                  <a:pt x="5369" y="18578"/>
                </a:moveTo>
                <a:lnTo>
                  <a:pt x="9559" y="18578"/>
                </a:lnTo>
                <a:lnTo>
                  <a:pt x="9552" y="18522"/>
                </a:lnTo>
                <a:lnTo>
                  <a:pt x="9530" y="18364"/>
                </a:lnTo>
                <a:lnTo>
                  <a:pt x="9495" y="18115"/>
                </a:lnTo>
                <a:lnTo>
                  <a:pt x="9450" y="17786"/>
                </a:lnTo>
                <a:lnTo>
                  <a:pt x="9395" y="17390"/>
                </a:lnTo>
                <a:lnTo>
                  <a:pt x="9333" y="16940"/>
                </a:lnTo>
                <a:lnTo>
                  <a:pt x="9265" y="16445"/>
                </a:lnTo>
                <a:lnTo>
                  <a:pt x="9192" y="15920"/>
                </a:lnTo>
                <a:lnTo>
                  <a:pt x="9116" y="15376"/>
                </a:lnTo>
                <a:lnTo>
                  <a:pt x="9041" y="14824"/>
                </a:lnTo>
                <a:lnTo>
                  <a:pt x="8964" y="14277"/>
                </a:lnTo>
                <a:lnTo>
                  <a:pt x="8891" y="13747"/>
                </a:lnTo>
                <a:lnTo>
                  <a:pt x="8821" y="13245"/>
                </a:lnTo>
                <a:lnTo>
                  <a:pt x="8758" y="12784"/>
                </a:lnTo>
                <a:lnTo>
                  <a:pt x="8700" y="12375"/>
                </a:lnTo>
                <a:lnTo>
                  <a:pt x="8652" y="12032"/>
                </a:lnTo>
                <a:lnTo>
                  <a:pt x="8630" y="11879"/>
                </a:lnTo>
                <a:lnTo>
                  <a:pt x="8610" y="11730"/>
                </a:lnTo>
                <a:lnTo>
                  <a:pt x="8592" y="11583"/>
                </a:lnTo>
                <a:lnTo>
                  <a:pt x="8574" y="11441"/>
                </a:lnTo>
                <a:lnTo>
                  <a:pt x="8559" y="11299"/>
                </a:lnTo>
                <a:lnTo>
                  <a:pt x="8546" y="11161"/>
                </a:lnTo>
                <a:lnTo>
                  <a:pt x="8536" y="11024"/>
                </a:lnTo>
                <a:lnTo>
                  <a:pt x="8529" y="10889"/>
                </a:lnTo>
                <a:lnTo>
                  <a:pt x="8524" y="10756"/>
                </a:lnTo>
                <a:lnTo>
                  <a:pt x="8523" y="10623"/>
                </a:lnTo>
                <a:lnTo>
                  <a:pt x="8527" y="10492"/>
                </a:lnTo>
                <a:lnTo>
                  <a:pt x="8534" y="10362"/>
                </a:lnTo>
                <a:lnTo>
                  <a:pt x="8545" y="10232"/>
                </a:lnTo>
                <a:lnTo>
                  <a:pt x="8561" y="10103"/>
                </a:lnTo>
                <a:lnTo>
                  <a:pt x="8582" y="9974"/>
                </a:lnTo>
                <a:lnTo>
                  <a:pt x="8608" y="9844"/>
                </a:lnTo>
                <a:lnTo>
                  <a:pt x="8640" y="9715"/>
                </a:lnTo>
                <a:lnTo>
                  <a:pt x="8678" y="9584"/>
                </a:lnTo>
                <a:lnTo>
                  <a:pt x="8722" y="9453"/>
                </a:lnTo>
                <a:lnTo>
                  <a:pt x="8772" y="9322"/>
                </a:lnTo>
                <a:lnTo>
                  <a:pt x="8828" y="9188"/>
                </a:lnTo>
                <a:lnTo>
                  <a:pt x="8892" y="9053"/>
                </a:lnTo>
                <a:lnTo>
                  <a:pt x="8963" y="8916"/>
                </a:lnTo>
                <a:lnTo>
                  <a:pt x="9042" y="8778"/>
                </a:lnTo>
                <a:lnTo>
                  <a:pt x="9129" y="8638"/>
                </a:lnTo>
                <a:lnTo>
                  <a:pt x="9224" y="8494"/>
                </a:lnTo>
                <a:lnTo>
                  <a:pt x="9328" y="8348"/>
                </a:lnTo>
                <a:lnTo>
                  <a:pt x="9440" y="8199"/>
                </a:lnTo>
                <a:lnTo>
                  <a:pt x="9562" y="8048"/>
                </a:lnTo>
                <a:lnTo>
                  <a:pt x="9692" y="7892"/>
                </a:lnTo>
                <a:lnTo>
                  <a:pt x="9834" y="7733"/>
                </a:lnTo>
                <a:lnTo>
                  <a:pt x="9984" y="7571"/>
                </a:lnTo>
                <a:lnTo>
                  <a:pt x="10140" y="7411"/>
                </a:lnTo>
                <a:lnTo>
                  <a:pt x="10296" y="7263"/>
                </a:lnTo>
                <a:lnTo>
                  <a:pt x="10452" y="7126"/>
                </a:lnTo>
                <a:lnTo>
                  <a:pt x="10607" y="6999"/>
                </a:lnTo>
                <a:lnTo>
                  <a:pt x="10763" y="6882"/>
                </a:lnTo>
                <a:lnTo>
                  <a:pt x="10916" y="6775"/>
                </a:lnTo>
                <a:lnTo>
                  <a:pt x="11068" y="6676"/>
                </a:lnTo>
                <a:lnTo>
                  <a:pt x="11219" y="6587"/>
                </a:lnTo>
                <a:lnTo>
                  <a:pt x="11366" y="6506"/>
                </a:lnTo>
                <a:lnTo>
                  <a:pt x="11513" y="6433"/>
                </a:lnTo>
                <a:lnTo>
                  <a:pt x="11656" y="6368"/>
                </a:lnTo>
                <a:lnTo>
                  <a:pt x="11795" y="6310"/>
                </a:lnTo>
                <a:lnTo>
                  <a:pt x="11932" y="6257"/>
                </a:lnTo>
                <a:lnTo>
                  <a:pt x="12064" y="6212"/>
                </a:lnTo>
                <a:lnTo>
                  <a:pt x="12192" y="6173"/>
                </a:lnTo>
                <a:lnTo>
                  <a:pt x="12316" y="6139"/>
                </a:lnTo>
                <a:lnTo>
                  <a:pt x="12435" y="6110"/>
                </a:lnTo>
                <a:lnTo>
                  <a:pt x="12548" y="6085"/>
                </a:lnTo>
                <a:lnTo>
                  <a:pt x="12656" y="6067"/>
                </a:lnTo>
                <a:lnTo>
                  <a:pt x="12759" y="6051"/>
                </a:lnTo>
                <a:lnTo>
                  <a:pt x="12854" y="6039"/>
                </a:lnTo>
                <a:lnTo>
                  <a:pt x="12943" y="6030"/>
                </a:lnTo>
                <a:lnTo>
                  <a:pt x="13027" y="6024"/>
                </a:lnTo>
                <a:lnTo>
                  <a:pt x="13101" y="6019"/>
                </a:lnTo>
                <a:lnTo>
                  <a:pt x="13170" y="6018"/>
                </a:lnTo>
                <a:lnTo>
                  <a:pt x="13229" y="6017"/>
                </a:lnTo>
                <a:lnTo>
                  <a:pt x="13280" y="6018"/>
                </a:lnTo>
                <a:lnTo>
                  <a:pt x="13323" y="6019"/>
                </a:lnTo>
                <a:lnTo>
                  <a:pt x="13382" y="6023"/>
                </a:lnTo>
                <a:lnTo>
                  <a:pt x="13402" y="6025"/>
                </a:lnTo>
                <a:lnTo>
                  <a:pt x="13378" y="6018"/>
                </a:lnTo>
                <a:lnTo>
                  <a:pt x="13312" y="5998"/>
                </a:lnTo>
                <a:lnTo>
                  <a:pt x="13264" y="5986"/>
                </a:lnTo>
                <a:lnTo>
                  <a:pt x="13206" y="5972"/>
                </a:lnTo>
                <a:lnTo>
                  <a:pt x="13138" y="5957"/>
                </a:lnTo>
                <a:lnTo>
                  <a:pt x="13063" y="5941"/>
                </a:lnTo>
                <a:lnTo>
                  <a:pt x="12979" y="5925"/>
                </a:lnTo>
                <a:lnTo>
                  <a:pt x="12887" y="5910"/>
                </a:lnTo>
                <a:lnTo>
                  <a:pt x="12789" y="5896"/>
                </a:lnTo>
                <a:lnTo>
                  <a:pt x="12684" y="5883"/>
                </a:lnTo>
                <a:lnTo>
                  <a:pt x="12573" y="5873"/>
                </a:lnTo>
                <a:lnTo>
                  <a:pt x="12455" y="5865"/>
                </a:lnTo>
                <a:lnTo>
                  <a:pt x="12334" y="5860"/>
                </a:lnTo>
                <a:lnTo>
                  <a:pt x="12207" y="5859"/>
                </a:lnTo>
                <a:lnTo>
                  <a:pt x="12076" y="5861"/>
                </a:lnTo>
                <a:lnTo>
                  <a:pt x="11941" y="5868"/>
                </a:lnTo>
                <a:lnTo>
                  <a:pt x="11803" y="5880"/>
                </a:lnTo>
                <a:lnTo>
                  <a:pt x="11662" y="5899"/>
                </a:lnTo>
                <a:lnTo>
                  <a:pt x="11519" y="5922"/>
                </a:lnTo>
                <a:lnTo>
                  <a:pt x="11373" y="5952"/>
                </a:lnTo>
                <a:lnTo>
                  <a:pt x="11227" y="5989"/>
                </a:lnTo>
                <a:lnTo>
                  <a:pt x="11080" y="6033"/>
                </a:lnTo>
                <a:lnTo>
                  <a:pt x="10932" y="6087"/>
                </a:lnTo>
                <a:lnTo>
                  <a:pt x="10785" y="6147"/>
                </a:lnTo>
                <a:lnTo>
                  <a:pt x="10637" y="6218"/>
                </a:lnTo>
                <a:lnTo>
                  <a:pt x="10491" y="6297"/>
                </a:lnTo>
                <a:lnTo>
                  <a:pt x="10346" y="6386"/>
                </a:lnTo>
                <a:lnTo>
                  <a:pt x="10203" y="6487"/>
                </a:lnTo>
                <a:lnTo>
                  <a:pt x="10064" y="6598"/>
                </a:lnTo>
                <a:lnTo>
                  <a:pt x="9926" y="6721"/>
                </a:lnTo>
                <a:lnTo>
                  <a:pt x="9793" y="6847"/>
                </a:lnTo>
                <a:lnTo>
                  <a:pt x="9668" y="6971"/>
                </a:lnTo>
                <a:lnTo>
                  <a:pt x="9548" y="7092"/>
                </a:lnTo>
                <a:lnTo>
                  <a:pt x="9436" y="7209"/>
                </a:lnTo>
                <a:lnTo>
                  <a:pt x="9329" y="7324"/>
                </a:lnTo>
                <a:lnTo>
                  <a:pt x="9228" y="7435"/>
                </a:lnTo>
                <a:lnTo>
                  <a:pt x="9133" y="7542"/>
                </a:lnTo>
                <a:lnTo>
                  <a:pt x="9043" y="7646"/>
                </a:lnTo>
                <a:lnTo>
                  <a:pt x="8960" y="7746"/>
                </a:lnTo>
                <a:lnTo>
                  <a:pt x="8881" y="7843"/>
                </a:lnTo>
                <a:lnTo>
                  <a:pt x="8808" y="7936"/>
                </a:lnTo>
                <a:lnTo>
                  <a:pt x="8739" y="8026"/>
                </a:lnTo>
                <a:lnTo>
                  <a:pt x="8676" y="8112"/>
                </a:lnTo>
                <a:lnTo>
                  <a:pt x="8617" y="8193"/>
                </a:lnTo>
                <a:lnTo>
                  <a:pt x="8564" y="8271"/>
                </a:lnTo>
                <a:lnTo>
                  <a:pt x="8514" y="8345"/>
                </a:lnTo>
                <a:lnTo>
                  <a:pt x="8469" y="8415"/>
                </a:lnTo>
                <a:lnTo>
                  <a:pt x="8427" y="8481"/>
                </a:lnTo>
                <a:lnTo>
                  <a:pt x="8390" y="8542"/>
                </a:lnTo>
                <a:lnTo>
                  <a:pt x="8356" y="8600"/>
                </a:lnTo>
                <a:lnTo>
                  <a:pt x="8326" y="8654"/>
                </a:lnTo>
                <a:lnTo>
                  <a:pt x="8299" y="8703"/>
                </a:lnTo>
                <a:lnTo>
                  <a:pt x="8276" y="8747"/>
                </a:lnTo>
                <a:lnTo>
                  <a:pt x="8256" y="8787"/>
                </a:lnTo>
                <a:lnTo>
                  <a:pt x="8225" y="8854"/>
                </a:lnTo>
                <a:lnTo>
                  <a:pt x="8204" y="8902"/>
                </a:lnTo>
                <a:lnTo>
                  <a:pt x="8191" y="8931"/>
                </a:lnTo>
                <a:lnTo>
                  <a:pt x="8188" y="8942"/>
                </a:lnTo>
                <a:lnTo>
                  <a:pt x="8185" y="8914"/>
                </a:lnTo>
                <a:lnTo>
                  <a:pt x="8178" y="8834"/>
                </a:lnTo>
                <a:lnTo>
                  <a:pt x="8175" y="8776"/>
                </a:lnTo>
                <a:lnTo>
                  <a:pt x="8171" y="8707"/>
                </a:lnTo>
                <a:lnTo>
                  <a:pt x="8168" y="8629"/>
                </a:lnTo>
                <a:lnTo>
                  <a:pt x="8165" y="8541"/>
                </a:lnTo>
                <a:lnTo>
                  <a:pt x="8163" y="8444"/>
                </a:lnTo>
                <a:lnTo>
                  <a:pt x="8163" y="8338"/>
                </a:lnTo>
                <a:lnTo>
                  <a:pt x="8164" y="8225"/>
                </a:lnTo>
                <a:lnTo>
                  <a:pt x="8168" y="8106"/>
                </a:lnTo>
                <a:lnTo>
                  <a:pt x="8174" y="7980"/>
                </a:lnTo>
                <a:lnTo>
                  <a:pt x="8182" y="7850"/>
                </a:lnTo>
                <a:lnTo>
                  <a:pt x="8192" y="7715"/>
                </a:lnTo>
                <a:lnTo>
                  <a:pt x="8207" y="7575"/>
                </a:lnTo>
                <a:lnTo>
                  <a:pt x="8226" y="7432"/>
                </a:lnTo>
                <a:lnTo>
                  <a:pt x="8248" y="7287"/>
                </a:lnTo>
                <a:lnTo>
                  <a:pt x="8273" y="7140"/>
                </a:lnTo>
                <a:lnTo>
                  <a:pt x="8305" y="6991"/>
                </a:lnTo>
                <a:lnTo>
                  <a:pt x="8341" y="6843"/>
                </a:lnTo>
                <a:lnTo>
                  <a:pt x="8381" y="6694"/>
                </a:lnTo>
                <a:lnTo>
                  <a:pt x="8429" y="6545"/>
                </a:lnTo>
                <a:lnTo>
                  <a:pt x="8481" y="6399"/>
                </a:lnTo>
                <a:lnTo>
                  <a:pt x="8541" y="6255"/>
                </a:lnTo>
                <a:lnTo>
                  <a:pt x="8606" y="6114"/>
                </a:lnTo>
                <a:lnTo>
                  <a:pt x="8678" y="5976"/>
                </a:lnTo>
                <a:lnTo>
                  <a:pt x="8758" y="5844"/>
                </a:lnTo>
                <a:lnTo>
                  <a:pt x="8845" y="5716"/>
                </a:lnTo>
                <a:lnTo>
                  <a:pt x="8939" y="5593"/>
                </a:lnTo>
                <a:lnTo>
                  <a:pt x="9042" y="5477"/>
                </a:lnTo>
                <a:lnTo>
                  <a:pt x="9154" y="5369"/>
                </a:lnTo>
                <a:lnTo>
                  <a:pt x="9272" y="5265"/>
                </a:lnTo>
                <a:lnTo>
                  <a:pt x="9396" y="5164"/>
                </a:lnTo>
                <a:lnTo>
                  <a:pt x="9524" y="5065"/>
                </a:lnTo>
                <a:lnTo>
                  <a:pt x="9657" y="4968"/>
                </a:lnTo>
                <a:lnTo>
                  <a:pt x="9793" y="4873"/>
                </a:lnTo>
                <a:lnTo>
                  <a:pt x="9934" y="4780"/>
                </a:lnTo>
                <a:lnTo>
                  <a:pt x="10077" y="4689"/>
                </a:lnTo>
                <a:lnTo>
                  <a:pt x="10222" y="4598"/>
                </a:lnTo>
                <a:lnTo>
                  <a:pt x="10370" y="4510"/>
                </a:lnTo>
                <a:lnTo>
                  <a:pt x="10520" y="4422"/>
                </a:lnTo>
                <a:lnTo>
                  <a:pt x="10671" y="4334"/>
                </a:lnTo>
                <a:lnTo>
                  <a:pt x="10823" y="4247"/>
                </a:lnTo>
                <a:lnTo>
                  <a:pt x="11128" y="4074"/>
                </a:lnTo>
                <a:lnTo>
                  <a:pt x="11433" y="3901"/>
                </a:lnTo>
                <a:lnTo>
                  <a:pt x="11582" y="3814"/>
                </a:lnTo>
                <a:lnTo>
                  <a:pt x="11732" y="3726"/>
                </a:lnTo>
                <a:lnTo>
                  <a:pt x="11878" y="3638"/>
                </a:lnTo>
                <a:lnTo>
                  <a:pt x="12024" y="3547"/>
                </a:lnTo>
                <a:lnTo>
                  <a:pt x="12165" y="3457"/>
                </a:lnTo>
                <a:lnTo>
                  <a:pt x="12303" y="3364"/>
                </a:lnTo>
                <a:lnTo>
                  <a:pt x="12439" y="3270"/>
                </a:lnTo>
                <a:lnTo>
                  <a:pt x="12569" y="3175"/>
                </a:lnTo>
                <a:lnTo>
                  <a:pt x="12696" y="3077"/>
                </a:lnTo>
                <a:lnTo>
                  <a:pt x="12818" y="2976"/>
                </a:lnTo>
                <a:lnTo>
                  <a:pt x="12934" y="2874"/>
                </a:lnTo>
                <a:lnTo>
                  <a:pt x="13044" y="2768"/>
                </a:lnTo>
                <a:lnTo>
                  <a:pt x="13149" y="2660"/>
                </a:lnTo>
                <a:lnTo>
                  <a:pt x="13247" y="2550"/>
                </a:lnTo>
                <a:lnTo>
                  <a:pt x="13338" y="2435"/>
                </a:lnTo>
                <a:lnTo>
                  <a:pt x="13421" y="2318"/>
                </a:lnTo>
                <a:lnTo>
                  <a:pt x="13499" y="2199"/>
                </a:lnTo>
                <a:lnTo>
                  <a:pt x="13572" y="2083"/>
                </a:lnTo>
                <a:lnTo>
                  <a:pt x="13642" y="1968"/>
                </a:lnTo>
                <a:lnTo>
                  <a:pt x="13707" y="1857"/>
                </a:lnTo>
                <a:lnTo>
                  <a:pt x="13770" y="1747"/>
                </a:lnTo>
                <a:lnTo>
                  <a:pt x="13828" y="1641"/>
                </a:lnTo>
                <a:lnTo>
                  <a:pt x="13882" y="1537"/>
                </a:lnTo>
                <a:lnTo>
                  <a:pt x="13933" y="1435"/>
                </a:lnTo>
                <a:lnTo>
                  <a:pt x="13981" y="1338"/>
                </a:lnTo>
                <a:lnTo>
                  <a:pt x="14026" y="1242"/>
                </a:lnTo>
                <a:lnTo>
                  <a:pt x="14068" y="1150"/>
                </a:lnTo>
                <a:lnTo>
                  <a:pt x="14106" y="1061"/>
                </a:lnTo>
                <a:lnTo>
                  <a:pt x="14141" y="975"/>
                </a:lnTo>
                <a:lnTo>
                  <a:pt x="14175" y="893"/>
                </a:lnTo>
                <a:lnTo>
                  <a:pt x="14205" y="814"/>
                </a:lnTo>
                <a:lnTo>
                  <a:pt x="14232" y="738"/>
                </a:lnTo>
                <a:lnTo>
                  <a:pt x="14257" y="668"/>
                </a:lnTo>
                <a:lnTo>
                  <a:pt x="14279" y="599"/>
                </a:lnTo>
                <a:lnTo>
                  <a:pt x="14300" y="536"/>
                </a:lnTo>
                <a:lnTo>
                  <a:pt x="14319" y="476"/>
                </a:lnTo>
                <a:lnTo>
                  <a:pt x="14334" y="420"/>
                </a:lnTo>
                <a:lnTo>
                  <a:pt x="14349" y="369"/>
                </a:lnTo>
                <a:lnTo>
                  <a:pt x="14361" y="323"/>
                </a:lnTo>
                <a:lnTo>
                  <a:pt x="14371" y="281"/>
                </a:lnTo>
                <a:lnTo>
                  <a:pt x="14387" y="210"/>
                </a:lnTo>
                <a:lnTo>
                  <a:pt x="14399" y="158"/>
                </a:lnTo>
                <a:lnTo>
                  <a:pt x="14405" y="127"/>
                </a:lnTo>
                <a:lnTo>
                  <a:pt x="14406" y="116"/>
                </a:lnTo>
                <a:lnTo>
                  <a:pt x="14396" y="142"/>
                </a:lnTo>
                <a:lnTo>
                  <a:pt x="14363" y="214"/>
                </a:lnTo>
                <a:lnTo>
                  <a:pt x="14339" y="266"/>
                </a:lnTo>
                <a:lnTo>
                  <a:pt x="14310" y="327"/>
                </a:lnTo>
                <a:lnTo>
                  <a:pt x="14275" y="398"/>
                </a:lnTo>
                <a:lnTo>
                  <a:pt x="14235" y="477"/>
                </a:lnTo>
                <a:lnTo>
                  <a:pt x="14191" y="563"/>
                </a:lnTo>
                <a:lnTo>
                  <a:pt x="14142" y="655"/>
                </a:lnTo>
                <a:lnTo>
                  <a:pt x="14089" y="754"/>
                </a:lnTo>
                <a:lnTo>
                  <a:pt x="14030" y="857"/>
                </a:lnTo>
                <a:lnTo>
                  <a:pt x="13967" y="965"/>
                </a:lnTo>
                <a:lnTo>
                  <a:pt x="13900" y="1076"/>
                </a:lnTo>
                <a:lnTo>
                  <a:pt x="13828" y="1191"/>
                </a:lnTo>
                <a:lnTo>
                  <a:pt x="13752" y="1309"/>
                </a:lnTo>
                <a:lnTo>
                  <a:pt x="13671" y="1427"/>
                </a:lnTo>
                <a:lnTo>
                  <a:pt x="13586" y="1545"/>
                </a:lnTo>
                <a:lnTo>
                  <a:pt x="13498" y="1665"/>
                </a:lnTo>
                <a:lnTo>
                  <a:pt x="13405" y="1783"/>
                </a:lnTo>
                <a:lnTo>
                  <a:pt x="13309" y="1900"/>
                </a:lnTo>
                <a:lnTo>
                  <a:pt x="13209" y="2015"/>
                </a:lnTo>
                <a:lnTo>
                  <a:pt x="13104" y="2126"/>
                </a:lnTo>
                <a:lnTo>
                  <a:pt x="12997" y="2234"/>
                </a:lnTo>
                <a:lnTo>
                  <a:pt x="12885" y="2337"/>
                </a:lnTo>
                <a:lnTo>
                  <a:pt x="12770" y="2436"/>
                </a:lnTo>
                <a:lnTo>
                  <a:pt x="12652" y="2529"/>
                </a:lnTo>
                <a:lnTo>
                  <a:pt x="12530" y="2615"/>
                </a:lnTo>
                <a:lnTo>
                  <a:pt x="12406" y="2693"/>
                </a:lnTo>
                <a:lnTo>
                  <a:pt x="12277" y="2763"/>
                </a:lnTo>
                <a:lnTo>
                  <a:pt x="12145" y="2825"/>
                </a:lnTo>
                <a:lnTo>
                  <a:pt x="12012" y="2877"/>
                </a:lnTo>
                <a:lnTo>
                  <a:pt x="11875" y="2927"/>
                </a:lnTo>
                <a:lnTo>
                  <a:pt x="11739" y="2981"/>
                </a:lnTo>
                <a:lnTo>
                  <a:pt x="11603" y="3038"/>
                </a:lnTo>
                <a:lnTo>
                  <a:pt x="11467" y="3098"/>
                </a:lnTo>
                <a:lnTo>
                  <a:pt x="11332" y="3162"/>
                </a:lnTo>
                <a:lnTo>
                  <a:pt x="11197" y="3228"/>
                </a:lnTo>
                <a:lnTo>
                  <a:pt x="11065" y="3296"/>
                </a:lnTo>
                <a:lnTo>
                  <a:pt x="10933" y="3367"/>
                </a:lnTo>
                <a:lnTo>
                  <a:pt x="10803" y="3439"/>
                </a:lnTo>
                <a:lnTo>
                  <a:pt x="10676" y="3512"/>
                </a:lnTo>
                <a:lnTo>
                  <a:pt x="10550" y="3586"/>
                </a:lnTo>
                <a:lnTo>
                  <a:pt x="10428" y="3660"/>
                </a:lnTo>
                <a:lnTo>
                  <a:pt x="10309" y="3734"/>
                </a:lnTo>
                <a:lnTo>
                  <a:pt x="10193" y="3808"/>
                </a:lnTo>
                <a:lnTo>
                  <a:pt x="10080" y="3882"/>
                </a:lnTo>
                <a:lnTo>
                  <a:pt x="9972" y="3954"/>
                </a:lnTo>
                <a:lnTo>
                  <a:pt x="9868" y="4024"/>
                </a:lnTo>
                <a:lnTo>
                  <a:pt x="9768" y="4094"/>
                </a:lnTo>
                <a:lnTo>
                  <a:pt x="9674" y="4160"/>
                </a:lnTo>
                <a:lnTo>
                  <a:pt x="9583" y="4224"/>
                </a:lnTo>
                <a:lnTo>
                  <a:pt x="9500" y="4286"/>
                </a:lnTo>
                <a:lnTo>
                  <a:pt x="9421" y="4344"/>
                </a:lnTo>
                <a:lnTo>
                  <a:pt x="9349" y="4397"/>
                </a:lnTo>
                <a:lnTo>
                  <a:pt x="9282" y="4447"/>
                </a:lnTo>
                <a:lnTo>
                  <a:pt x="9171" y="4533"/>
                </a:lnTo>
                <a:lnTo>
                  <a:pt x="9087" y="4598"/>
                </a:lnTo>
                <a:lnTo>
                  <a:pt x="9036" y="4640"/>
                </a:lnTo>
                <a:lnTo>
                  <a:pt x="9019" y="4654"/>
                </a:lnTo>
                <a:lnTo>
                  <a:pt x="9029" y="4640"/>
                </a:lnTo>
                <a:lnTo>
                  <a:pt x="9062" y="4599"/>
                </a:lnTo>
                <a:lnTo>
                  <a:pt x="9112" y="4534"/>
                </a:lnTo>
                <a:lnTo>
                  <a:pt x="9178" y="4446"/>
                </a:lnTo>
                <a:lnTo>
                  <a:pt x="9257" y="4339"/>
                </a:lnTo>
                <a:lnTo>
                  <a:pt x="9345" y="4214"/>
                </a:lnTo>
                <a:lnTo>
                  <a:pt x="9393" y="4144"/>
                </a:lnTo>
                <a:lnTo>
                  <a:pt x="9441" y="4072"/>
                </a:lnTo>
                <a:lnTo>
                  <a:pt x="9491" y="3997"/>
                </a:lnTo>
                <a:lnTo>
                  <a:pt x="9542" y="3918"/>
                </a:lnTo>
                <a:lnTo>
                  <a:pt x="9594" y="3836"/>
                </a:lnTo>
                <a:lnTo>
                  <a:pt x="9645" y="3753"/>
                </a:lnTo>
                <a:lnTo>
                  <a:pt x="9697" y="3667"/>
                </a:lnTo>
                <a:lnTo>
                  <a:pt x="9747" y="3579"/>
                </a:lnTo>
                <a:lnTo>
                  <a:pt x="9797" y="3488"/>
                </a:lnTo>
                <a:lnTo>
                  <a:pt x="9845" y="3397"/>
                </a:lnTo>
                <a:lnTo>
                  <a:pt x="9893" y="3305"/>
                </a:lnTo>
                <a:lnTo>
                  <a:pt x="9938" y="3212"/>
                </a:lnTo>
                <a:lnTo>
                  <a:pt x="9982" y="3119"/>
                </a:lnTo>
                <a:lnTo>
                  <a:pt x="10023" y="3025"/>
                </a:lnTo>
                <a:lnTo>
                  <a:pt x="10061" y="2931"/>
                </a:lnTo>
                <a:lnTo>
                  <a:pt x="10096" y="2838"/>
                </a:lnTo>
                <a:lnTo>
                  <a:pt x="10126" y="2745"/>
                </a:lnTo>
                <a:lnTo>
                  <a:pt x="10154" y="2652"/>
                </a:lnTo>
                <a:lnTo>
                  <a:pt x="10178" y="2561"/>
                </a:lnTo>
                <a:lnTo>
                  <a:pt x="10196" y="2472"/>
                </a:lnTo>
                <a:lnTo>
                  <a:pt x="10211" y="2385"/>
                </a:lnTo>
                <a:lnTo>
                  <a:pt x="10224" y="2300"/>
                </a:lnTo>
                <a:lnTo>
                  <a:pt x="10234" y="2219"/>
                </a:lnTo>
                <a:lnTo>
                  <a:pt x="10244" y="2141"/>
                </a:lnTo>
                <a:lnTo>
                  <a:pt x="10251" y="2066"/>
                </a:lnTo>
                <a:lnTo>
                  <a:pt x="10255" y="1994"/>
                </a:lnTo>
                <a:lnTo>
                  <a:pt x="10259" y="1925"/>
                </a:lnTo>
                <a:lnTo>
                  <a:pt x="10260" y="1859"/>
                </a:lnTo>
                <a:lnTo>
                  <a:pt x="10261" y="1795"/>
                </a:lnTo>
                <a:lnTo>
                  <a:pt x="10260" y="1735"/>
                </a:lnTo>
                <a:lnTo>
                  <a:pt x="10258" y="1677"/>
                </a:lnTo>
                <a:lnTo>
                  <a:pt x="10254" y="1622"/>
                </a:lnTo>
                <a:lnTo>
                  <a:pt x="10250" y="1570"/>
                </a:lnTo>
                <a:lnTo>
                  <a:pt x="10245" y="1521"/>
                </a:lnTo>
                <a:lnTo>
                  <a:pt x="10239" y="1475"/>
                </a:lnTo>
                <a:lnTo>
                  <a:pt x="10232" y="1432"/>
                </a:lnTo>
                <a:lnTo>
                  <a:pt x="10225" y="1391"/>
                </a:lnTo>
                <a:lnTo>
                  <a:pt x="10218" y="1353"/>
                </a:lnTo>
                <a:lnTo>
                  <a:pt x="10210" y="1318"/>
                </a:lnTo>
                <a:lnTo>
                  <a:pt x="10202" y="1285"/>
                </a:lnTo>
                <a:lnTo>
                  <a:pt x="10187" y="1228"/>
                </a:lnTo>
                <a:lnTo>
                  <a:pt x="10172" y="1182"/>
                </a:lnTo>
                <a:lnTo>
                  <a:pt x="10159" y="1146"/>
                </a:lnTo>
                <a:lnTo>
                  <a:pt x="10149" y="1120"/>
                </a:lnTo>
                <a:lnTo>
                  <a:pt x="10140" y="1105"/>
                </a:lnTo>
                <a:lnTo>
                  <a:pt x="10138" y="1101"/>
                </a:lnTo>
                <a:lnTo>
                  <a:pt x="10140" y="1116"/>
                </a:lnTo>
                <a:lnTo>
                  <a:pt x="10145" y="1159"/>
                </a:lnTo>
                <a:lnTo>
                  <a:pt x="10147" y="1190"/>
                </a:lnTo>
                <a:lnTo>
                  <a:pt x="10151" y="1227"/>
                </a:lnTo>
                <a:lnTo>
                  <a:pt x="10152" y="1271"/>
                </a:lnTo>
                <a:lnTo>
                  <a:pt x="10153" y="1320"/>
                </a:lnTo>
                <a:lnTo>
                  <a:pt x="10153" y="1375"/>
                </a:lnTo>
                <a:lnTo>
                  <a:pt x="10152" y="1434"/>
                </a:lnTo>
                <a:lnTo>
                  <a:pt x="10150" y="1499"/>
                </a:lnTo>
                <a:lnTo>
                  <a:pt x="10145" y="1569"/>
                </a:lnTo>
                <a:lnTo>
                  <a:pt x="10137" y="1642"/>
                </a:lnTo>
                <a:lnTo>
                  <a:pt x="10128" y="1720"/>
                </a:lnTo>
                <a:lnTo>
                  <a:pt x="10115" y="1801"/>
                </a:lnTo>
                <a:lnTo>
                  <a:pt x="10100" y="1886"/>
                </a:lnTo>
                <a:lnTo>
                  <a:pt x="10081" y="1973"/>
                </a:lnTo>
                <a:lnTo>
                  <a:pt x="10058" y="2064"/>
                </a:lnTo>
                <a:lnTo>
                  <a:pt x="10031" y="2157"/>
                </a:lnTo>
                <a:lnTo>
                  <a:pt x="10001" y="2254"/>
                </a:lnTo>
                <a:lnTo>
                  <a:pt x="9965" y="2352"/>
                </a:lnTo>
                <a:lnTo>
                  <a:pt x="9924" y="2452"/>
                </a:lnTo>
                <a:lnTo>
                  <a:pt x="9879" y="2554"/>
                </a:lnTo>
                <a:lnTo>
                  <a:pt x="9829" y="2657"/>
                </a:lnTo>
                <a:lnTo>
                  <a:pt x="9772" y="2761"/>
                </a:lnTo>
                <a:lnTo>
                  <a:pt x="9710" y="2866"/>
                </a:lnTo>
                <a:lnTo>
                  <a:pt x="9641" y="2971"/>
                </a:lnTo>
                <a:lnTo>
                  <a:pt x="9566" y="3077"/>
                </a:lnTo>
                <a:lnTo>
                  <a:pt x="9483" y="3181"/>
                </a:lnTo>
                <a:lnTo>
                  <a:pt x="9394" y="3287"/>
                </a:lnTo>
                <a:lnTo>
                  <a:pt x="9296" y="3392"/>
                </a:lnTo>
                <a:lnTo>
                  <a:pt x="9192" y="3495"/>
                </a:lnTo>
                <a:lnTo>
                  <a:pt x="9085" y="3602"/>
                </a:lnTo>
                <a:lnTo>
                  <a:pt x="8982" y="3716"/>
                </a:lnTo>
                <a:lnTo>
                  <a:pt x="8881" y="3836"/>
                </a:lnTo>
                <a:lnTo>
                  <a:pt x="8783" y="3962"/>
                </a:lnTo>
                <a:lnTo>
                  <a:pt x="8689" y="4092"/>
                </a:lnTo>
                <a:lnTo>
                  <a:pt x="8597" y="4226"/>
                </a:lnTo>
                <a:lnTo>
                  <a:pt x="8510" y="4365"/>
                </a:lnTo>
                <a:lnTo>
                  <a:pt x="8426" y="4506"/>
                </a:lnTo>
                <a:lnTo>
                  <a:pt x="8344" y="4649"/>
                </a:lnTo>
                <a:lnTo>
                  <a:pt x="8266" y="4794"/>
                </a:lnTo>
                <a:lnTo>
                  <a:pt x="8192" y="4939"/>
                </a:lnTo>
                <a:lnTo>
                  <a:pt x="8121" y="5086"/>
                </a:lnTo>
                <a:lnTo>
                  <a:pt x="8053" y="5231"/>
                </a:lnTo>
                <a:lnTo>
                  <a:pt x="7988" y="5375"/>
                </a:lnTo>
                <a:lnTo>
                  <a:pt x="7927" y="5517"/>
                </a:lnTo>
                <a:lnTo>
                  <a:pt x="7869" y="5656"/>
                </a:lnTo>
                <a:lnTo>
                  <a:pt x="7815" y="5792"/>
                </a:lnTo>
                <a:lnTo>
                  <a:pt x="7764" y="5925"/>
                </a:lnTo>
                <a:lnTo>
                  <a:pt x="7716" y="6053"/>
                </a:lnTo>
                <a:lnTo>
                  <a:pt x="7672" y="6175"/>
                </a:lnTo>
                <a:lnTo>
                  <a:pt x="7631" y="6292"/>
                </a:lnTo>
                <a:lnTo>
                  <a:pt x="7594" y="6402"/>
                </a:lnTo>
                <a:lnTo>
                  <a:pt x="7561" y="6505"/>
                </a:lnTo>
                <a:lnTo>
                  <a:pt x="7530" y="6600"/>
                </a:lnTo>
                <a:lnTo>
                  <a:pt x="7480" y="6762"/>
                </a:lnTo>
                <a:lnTo>
                  <a:pt x="7444" y="6885"/>
                </a:lnTo>
                <a:lnTo>
                  <a:pt x="7422" y="6963"/>
                </a:lnTo>
                <a:lnTo>
                  <a:pt x="7415" y="6991"/>
                </a:lnTo>
                <a:lnTo>
                  <a:pt x="7402" y="6971"/>
                </a:lnTo>
                <a:lnTo>
                  <a:pt x="7360" y="6912"/>
                </a:lnTo>
                <a:lnTo>
                  <a:pt x="7331" y="6869"/>
                </a:lnTo>
                <a:lnTo>
                  <a:pt x="7297" y="6817"/>
                </a:lnTo>
                <a:lnTo>
                  <a:pt x="7259" y="6757"/>
                </a:lnTo>
                <a:lnTo>
                  <a:pt x="7216" y="6687"/>
                </a:lnTo>
                <a:lnTo>
                  <a:pt x="7169" y="6610"/>
                </a:lnTo>
                <a:lnTo>
                  <a:pt x="7119" y="6526"/>
                </a:lnTo>
                <a:lnTo>
                  <a:pt x="7067" y="6433"/>
                </a:lnTo>
                <a:lnTo>
                  <a:pt x="7014" y="6333"/>
                </a:lnTo>
                <a:lnTo>
                  <a:pt x="6958" y="6226"/>
                </a:lnTo>
                <a:lnTo>
                  <a:pt x="6901" y="6112"/>
                </a:lnTo>
                <a:lnTo>
                  <a:pt x="6843" y="5993"/>
                </a:lnTo>
                <a:lnTo>
                  <a:pt x="6785" y="5866"/>
                </a:lnTo>
                <a:lnTo>
                  <a:pt x="6728" y="5734"/>
                </a:lnTo>
                <a:lnTo>
                  <a:pt x="6672" y="5595"/>
                </a:lnTo>
                <a:lnTo>
                  <a:pt x="6617" y="5451"/>
                </a:lnTo>
                <a:lnTo>
                  <a:pt x="6564" y="5303"/>
                </a:lnTo>
                <a:lnTo>
                  <a:pt x="6513" y="5150"/>
                </a:lnTo>
                <a:lnTo>
                  <a:pt x="6466" y="4991"/>
                </a:lnTo>
                <a:lnTo>
                  <a:pt x="6422" y="4828"/>
                </a:lnTo>
                <a:lnTo>
                  <a:pt x="6381" y="4661"/>
                </a:lnTo>
                <a:lnTo>
                  <a:pt x="6345" y="4490"/>
                </a:lnTo>
                <a:lnTo>
                  <a:pt x="6314" y="4315"/>
                </a:lnTo>
                <a:lnTo>
                  <a:pt x="6288" y="4137"/>
                </a:lnTo>
                <a:lnTo>
                  <a:pt x="6268" y="3956"/>
                </a:lnTo>
                <a:lnTo>
                  <a:pt x="6254" y="3772"/>
                </a:lnTo>
                <a:lnTo>
                  <a:pt x="6247" y="3586"/>
                </a:lnTo>
                <a:lnTo>
                  <a:pt x="6249" y="3396"/>
                </a:lnTo>
                <a:lnTo>
                  <a:pt x="6257" y="3206"/>
                </a:lnTo>
                <a:lnTo>
                  <a:pt x="6273" y="3017"/>
                </a:lnTo>
                <a:lnTo>
                  <a:pt x="6295" y="2832"/>
                </a:lnTo>
                <a:lnTo>
                  <a:pt x="6323" y="2653"/>
                </a:lnTo>
                <a:lnTo>
                  <a:pt x="6357" y="2480"/>
                </a:lnTo>
                <a:lnTo>
                  <a:pt x="6396" y="2312"/>
                </a:lnTo>
                <a:lnTo>
                  <a:pt x="6439" y="2149"/>
                </a:lnTo>
                <a:lnTo>
                  <a:pt x="6487" y="1992"/>
                </a:lnTo>
                <a:lnTo>
                  <a:pt x="6538" y="1842"/>
                </a:lnTo>
                <a:lnTo>
                  <a:pt x="6591" y="1695"/>
                </a:lnTo>
                <a:lnTo>
                  <a:pt x="6648" y="1555"/>
                </a:lnTo>
                <a:lnTo>
                  <a:pt x="6707" y="1420"/>
                </a:lnTo>
                <a:lnTo>
                  <a:pt x="6769" y="1292"/>
                </a:lnTo>
                <a:lnTo>
                  <a:pt x="6830" y="1169"/>
                </a:lnTo>
                <a:lnTo>
                  <a:pt x="6894" y="1052"/>
                </a:lnTo>
                <a:lnTo>
                  <a:pt x="6958" y="941"/>
                </a:lnTo>
                <a:lnTo>
                  <a:pt x="7022" y="835"/>
                </a:lnTo>
                <a:lnTo>
                  <a:pt x="7086" y="736"/>
                </a:lnTo>
                <a:lnTo>
                  <a:pt x="7148" y="643"/>
                </a:lnTo>
                <a:lnTo>
                  <a:pt x="7210" y="555"/>
                </a:lnTo>
                <a:lnTo>
                  <a:pt x="7269" y="475"/>
                </a:lnTo>
                <a:lnTo>
                  <a:pt x="7327" y="399"/>
                </a:lnTo>
                <a:lnTo>
                  <a:pt x="7382" y="331"/>
                </a:lnTo>
                <a:lnTo>
                  <a:pt x="7433" y="269"/>
                </a:lnTo>
                <a:lnTo>
                  <a:pt x="7482" y="212"/>
                </a:lnTo>
                <a:lnTo>
                  <a:pt x="7526" y="164"/>
                </a:lnTo>
                <a:lnTo>
                  <a:pt x="7565" y="121"/>
                </a:lnTo>
                <a:lnTo>
                  <a:pt x="7600" y="84"/>
                </a:lnTo>
                <a:lnTo>
                  <a:pt x="7630" y="53"/>
                </a:lnTo>
                <a:lnTo>
                  <a:pt x="7671" y="14"/>
                </a:lnTo>
                <a:lnTo>
                  <a:pt x="7686" y="0"/>
                </a:lnTo>
                <a:lnTo>
                  <a:pt x="7678" y="1"/>
                </a:lnTo>
                <a:lnTo>
                  <a:pt x="7653" y="7"/>
                </a:lnTo>
                <a:lnTo>
                  <a:pt x="7615" y="19"/>
                </a:lnTo>
                <a:lnTo>
                  <a:pt x="7563" y="36"/>
                </a:lnTo>
                <a:lnTo>
                  <a:pt x="7533" y="48"/>
                </a:lnTo>
                <a:lnTo>
                  <a:pt x="7499" y="62"/>
                </a:lnTo>
                <a:lnTo>
                  <a:pt x="7462" y="77"/>
                </a:lnTo>
                <a:lnTo>
                  <a:pt x="7424" y="95"/>
                </a:lnTo>
                <a:lnTo>
                  <a:pt x="7382" y="117"/>
                </a:lnTo>
                <a:lnTo>
                  <a:pt x="7337" y="140"/>
                </a:lnTo>
                <a:lnTo>
                  <a:pt x="7290" y="168"/>
                </a:lnTo>
                <a:lnTo>
                  <a:pt x="7241" y="197"/>
                </a:lnTo>
                <a:lnTo>
                  <a:pt x="7191" y="231"/>
                </a:lnTo>
                <a:lnTo>
                  <a:pt x="7138" y="268"/>
                </a:lnTo>
                <a:lnTo>
                  <a:pt x="7083" y="309"/>
                </a:lnTo>
                <a:lnTo>
                  <a:pt x="7028" y="353"/>
                </a:lnTo>
                <a:lnTo>
                  <a:pt x="6970" y="401"/>
                </a:lnTo>
                <a:lnTo>
                  <a:pt x="6912" y="453"/>
                </a:lnTo>
                <a:lnTo>
                  <a:pt x="6851" y="510"/>
                </a:lnTo>
                <a:lnTo>
                  <a:pt x="6790" y="570"/>
                </a:lnTo>
                <a:lnTo>
                  <a:pt x="6727" y="636"/>
                </a:lnTo>
                <a:lnTo>
                  <a:pt x="6664" y="706"/>
                </a:lnTo>
                <a:lnTo>
                  <a:pt x="6600" y="781"/>
                </a:lnTo>
                <a:lnTo>
                  <a:pt x="6537" y="862"/>
                </a:lnTo>
                <a:lnTo>
                  <a:pt x="6472" y="946"/>
                </a:lnTo>
                <a:lnTo>
                  <a:pt x="6407" y="1038"/>
                </a:lnTo>
                <a:lnTo>
                  <a:pt x="6342" y="1134"/>
                </a:lnTo>
                <a:lnTo>
                  <a:pt x="6277" y="1235"/>
                </a:lnTo>
                <a:lnTo>
                  <a:pt x="6214" y="1340"/>
                </a:lnTo>
                <a:lnTo>
                  <a:pt x="6157" y="1441"/>
                </a:lnTo>
                <a:lnTo>
                  <a:pt x="6105" y="1538"/>
                </a:lnTo>
                <a:lnTo>
                  <a:pt x="6057" y="1634"/>
                </a:lnTo>
                <a:lnTo>
                  <a:pt x="6015" y="1727"/>
                </a:lnTo>
                <a:lnTo>
                  <a:pt x="5977" y="1816"/>
                </a:lnTo>
                <a:lnTo>
                  <a:pt x="5943" y="1902"/>
                </a:lnTo>
                <a:lnTo>
                  <a:pt x="5913" y="1986"/>
                </a:lnTo>
                <a:lnTo>
                  <a:pt x="5888" y="2067"/>
                </a:lnTo>
                <a:lnTo>
                  <a:pt x="5865" y="2145"/>
                </a:lnTo>
                <a:lnTo>
                  <a:pt x="5846" y="2219"/>
                </a:lnTo>
                <a:lnTo>
                  <a:pt x="5831" y="2291"/>
                </a:lnTo>
                <a:lnTo>
                  <a:pt x="5817" y="2358"/>
                </a:lnTo>
                <a:lnTo>
                  <a:pt x="5806" y="2423"/>
                </a:lnTo>
                <a:lnTo>
                  <a:pt x="5799" y="2486"/>
                </a:lnTo>
                <a:lnTo>
                  <a:pt x="5794" y="2544"/>
                </a:lnTo>
                <a:lnTo>
                  <a:pt x="5790" y="2600"/>
                </a:lnTo>
                <a:lnTo>
                  <a:pt x="5788" y="2652"/>
                </a:lnTo>
                <a:lnTo>
                  <a:pt x="5788" y="2701"/>
                </a:lnTo>
                <a:lnTo>
                  <a:pt x="5789" y="2746"/>
                </a:lnTo>
                <a:lnTo>
                  <a:pt x="5791" y="2788"/>
                </a:lnTo>
                <a:lnTo>
                  <a:pt x="5795" y="2826"/>
                </a:lnTo>
                <a:lnTo>
                  <a:pt x="5799" y="2861"/>
                </a:lnTo>
                <a:lnTo>
                  <a:pt x="5804" y="2892"/>
                </a:lnTo>
                <a:lnTo>
                  <a:pt x="5809" y="2920"/>
                </a:lnTo>
                <a:lnTo>
                  <a:pt x="5813" y="2945"/>
                </a:lnTo>
                <a:lnTo>
                  <a:pt x="5818" y="2966"/>
                </a:lnTo>
                <a:lnTo>
                  <a:pt x="5823" y="2982"/>
                </a:lnTo>
                <a:lnTo>
                  <a:pt x="5830" y="3005"/>
                </a:lnTo>
                <a:lnTo>
                  <a:pt x="5832" y="3013"/>
                </a:lnTo>
                <a:lnTo>
                  <a:pt x="5830" y="3006"/>
                </a:lnTo>
                <a:lnTo>
                  <a:pt x="5823" y="2985"/>
                </a:lnTo>
                <a:lnTo>
                  <a:pt x="5811" y="2950"/>
                </a:lnTo>
                <a:lnTo>
                  <a:pt x="5792" y="2902"/>
                </a:lnTo>
                <a:lnTo>
                  <a:pt x="5768" y="2840"/>
                </a:lnTo>
                <a:lnTo>
                  <a:pt x="5737" y="2765"/>
                </a:lnTo>
                <a:lnTo>
                  <a:pt x="5697" y="2676"/>
                </a:lnTo>
                <a:lnTo>
                  <a:pt x="5648" y="2575"/>
                </a:lnTo>
                <a:lnTo>
                  <a:pt x="5622" y="2521"/>
                </a:lnTo>
                <a:lnTo>
                  <a:pt x="5591" y="2462"/>
                </a:lnTo>
                <a:lnTo>
                  <a:pt x="5559" y="2400"/>
                </a:lnTo>
                <a:lnTo>
                  <a:pt x="5524" y="2335"/>
                </a:lnTo>
                <a:lnTo>
                  <a:pt x="5487" y="2267"/>
                </a:lnTo>
                <a:lnTo>
                  <a:pt x="5448" y="2196"/>
                </a:lnTo>
                <a:lnTo>
                  <a:pt x="5405" y="2120"/>
                </a:lnTo>
                <a:lnTo>
                  <a:pt x="5359" y="2044"/>
                </a:lnTo>
                <a:lnTo>
                  <a:pt x="5312" y="1962"/>
                </a:lnTo>
                <a:lnTo>
                  <a:pt x="5259" y="1879"/>
                </a:lnTo>
                <a:lnTo>
                  <a:pt x="5206" y="1792"/>
                </a:lnTo>
                <a:lnTo>
                  <a:pt x="5148" y="1702"/>
                </a:lnTo>
                <a:lnTo>
                  <a:pt x="5088" y="1609"/>
                </a:lnTo>
                <a:lnTo>
                  <a:pt x="5024" y="1514"/>
                </a:lnTo>
                <a:lnTo>
                  <a:pt x="4956" y="1415"/>
                </a:lnTo>
                <a:lnTo>
                  <a:pt x="4886" y="1313"/>
                </a:lnTo>
                <a:lnTo>
                  <a:pt x="4810" y="1213"/>
                </a:lnTo>
                <a:lnTo>
                  <a:pt x="4729" y="1119"/>
                </a:lnTo>
                <a:lnTo>
                  <a:pt x="4642" y="1032"/>
                </a:lnTo>
                <a:lnTo>
                  <a:pt x="4550" y="950"/>
                </a:lnTo>
                <a:lnTo>
                  <a:pt x="4455" y="873"/>
                </a:lnTo>
                <a:lnTo>
                  <a:pt x="4355" y="802"/>
                </a:lnTo>
                <a:lnTo>
                  <a:pt x="4252" y="737"/>
                </a:lnTo>
                <a:lnTo>
                  <a:pt x="4146" y="677"/>
                </a:lnTo>
                <a:lnTo>
                  <a:pt x="4039" y="621"/>
                </a:lnTo>
                <a:lnTo>
                  <a:pt x="3930" y="570"/>
                </a:lnTo>
                <a:lnTo>
                  <a:pt x="3820" y="524"/>
                </a:lnTo>
                <a:lnTo>
                  <a:pt x="3709" y="481"/>
                </a:lnTo>
                <a:lnTo>
                  <a:pt x="3599" y="442"/>
                </a:lnTo>
                <a:lnTo>
                  <a:pt x="3489" y="409"/>
                </a:lnTo>
                <a:lnTo>
                  <a:pt x="3380" y="377"/>
                </a:lnTo>
                <a:lnTo>
                  <a:pt x="3273" y="349"/>
                </a:lnTo>
                <a:lnTo>
                  <a:pt x="3168" y="326"/>
                </a:lnTo>
                <a:lnTo>
                  <a:pt x="3066" y="304"/>
                </a:lnTo>
                <a:lnTo>
                  <a:pt x="2969" y="287"/>
                </a:lnTo>
                <a:lnTo>
                  <a:pt x="2874" y="271"/>
                </a:lnTo>
                <a:lnTo>
                  <a:pt x="2783" y="257"/>
                </a:lnTo>
                <a:lnTo>
                  <a:pt x="2698" y="246"/>
                </a:lnTo>
                <a:lnTo>
                  <a:pt x="2618" y="237"/>
                </a:lnTo>
                <a:lnTo>
                  <a:pt x="2545" y="230"/>
                </a:lnTo>
                <a:lnTo>
                  <a:pt x="2478" y="224"/>
                </a:lnTo>
                <a:lnTo>
                  <a:pt x="2418" y="219"/>
                </a:lnTo>
                <a:lnTo>
                  <a:pt x="2366" y="217"/>
                </a:lnTo>
                <a:lnTo>
                  <a:pt x="2322" y="215"/>
                </a:lnTo>
                <a:lnTo>
                  <a:pt x="2262" y="212"/>
                </a:lnTo>
                <a:lnTo>
                  <a:pt x="2241" y="212"/>
                </a:lnTo>
                <a:lnTo>
                  <a:pt x="2270" y="221"/>
                </a:lnTo>
                <a:lnTo>
                  <a:pt x="2356" y="244"/>
                </a:lnTo>
                <a:lnTo>
                  <a:pt x="2417" y="264"/>
                </a:lnTo>
                <a:lnTo>
                  <a:pt x="2490" y="287"/>
                </a:lnTo>
                <a:lnTo>
                  <a:pt x="2573" y="315"/>
                </a:lnTo>
                <a:lnTo>
                  <a:pt x="2666" y="348"/>
                </a:lnTo>
                <a:lnTo>
                  <a:pt x="2767" y="387"/>
                </a:lnTo>
                <a:lnTo>
                  <a:pt x="2876" y="431"/>
                </a:lnTo>
                <a:lnTo>
                  <a:pt x="2991" y="481"/>
                </a:lnTo>
                <a:lnTo>
                  <a:pt x="3113" y="536"/>
                </a:lnTo>
                <a:lnTo>
                  <a:pt x="3240" y="598"/>
                </a:lnTo>
                <a:lnTo>
                  <a:pt x="3370" y="665"/>
                </a:lnTo>
                <a:lnTo>
                  <a:pt x="3505" y="740"/>
                </a:lnTo>
                <a:lnTo>
                  <a:pt x="3642" y="821"/>
                </a:lnTo>
                <a:lnTo>
                  <a:pt x="3781" y="908"/>
                </a:lnTo>
                <a:lnTo>
                  <a:pt x="3921" y="1003"/>
                </a:lnTo>
                <a:lnTo>
                  <a:pt x="4060" y="1104"/>
                </a:lnTo>
                <a:lnTo>
                  <a:pt x="4198" y="1213"/>
                </a:lnTo>
                <a:lnTo>
                  <a:pt x="4335" y="1331"/>
                </a:lnTo>
                <a:lnTo>
                  <a:pt x="4469" y="1455"/>
                </a:lnTo>
                <a:lnTo>
                  <a:pt x="4599" y="1587"/>
                </a:lnTo>
                <a:lnTo>
                  <a:pt x="4725" y="1728"/>
                </a:lnTo>
                <a:lnTo>
                  <a:pt x="4845" y="1876"/>
                </a:lnTo>
                <a:lnTo>
                  <a:pt x="4960" y="2034"/>
                </a:lnTo>
                <a:lnTo>
                  <a:pt x="5067" y="2200"/>
                </a:lnTo>
                <a:lnTo>
                  <a:pt x="5165" y="2375"/>
                </a:lnTo>
                <a:lnTo>
                  <a:pt x="5256" y="2559"/>
                </a:lnTo>
                <a:lnTo>
                  <a:pt x="5336" y="2752"/>
                </a:lnTo>
                <a:lnTo>
                  <a:pt x="5407" y="2955"/>
                </a:lnTo>
                <a:lnTo>
                  <a:pt x="5465" y="3168"/>
                </a:lnTo>
                <a:lnTo>
                  <a:pt x="5516" y="3378"/>
                </a:lnTo>
                <a:lnTo>
                  <a:pt x="5562" y="3576"/>
                </a:lnTo>
                <a:lnTo>
                  <a:pt x="5605" y="3762"/>
                </a:lnTo>
                <a:lnTo>
                  <a:pt x="5645" y="3937"/>
                </a:lnTo>
                <a:lnTo>
                  <a:pt x="5716" y="4254"/>
                </a:lnTo>
                <a:lnTo>
                  <a:pt x="5776" y="4535"/>
                </a:lnTo>
                <a:lnTo>
                  <a:pt x="5827" y="4782"/>
                </a:lnTo>
                <a:lnTo>
                  <a:pt x="5874" y="5001"/>
                </a:lnTo>
                <a:lnTo>
                  <a:pt x="5914" y="5197"/>
                </a:lnTo>
                <a:lnTo>
                  <a:pt x="5953" y="5376"/>
                </a:lnTo>
                <a:lnTo>
                  <a:pt x="5971" y="5460"/>
                </a:lnTo>
                <a:lnTo>
                  <a:pt x="5991" y="5541"/>
                </a:lnTo>
                <a:lnTo>
                  <a:pt x="6011" y="5621"/>
                </a:lnTo>
                <a:lnTo>
                  <a:pt x="6030" y="5699"/>
                </a:lnTo>
                <a:lnTo>
                  <a:pt x="6051" y="5777"/>
                </a:lnTo>
                <a:lnTo>
                  <a:pt x="6073" y="5853"/>
                </a:lnTo>
                <a:lnTo>
                  <a:pt x="6097" y="5931"/>
                </a:lnTo>
                <a:lnTo>
                  <a:pt x="6122" y="6010"/>
                </a:lnTo>
                <a:lnTo>
                  <a:pt x="6149" y="6091"/>
                </a:lnTo>
                <a:lnTo>
                  <a:pt x="6178" y="6175"/>
                </a:lnTo>
                <a:lnTo>
                  <a:pt x="6210" y="6261"/>
                </a:lnTo>
                <a:lnTo>
                  <a:pt x="6244" y="6350"/>
                </a:lnTo>
                <a:lnTo>
                  <a:pt x="6281" y="6444"/>
                </a:lnTo>
                <a:lnTo>
                  <a:pt x="6321" y="6544"/>
                </a:lnTo>
                <a:lnTo>
                  <a:pt x="6365" y="6649"/>
                </a:lnTo>
                <a:lnTo>
                  <a:pt x="6411" y="6759"/>
                </a:lnTo>
                <a:lnTo>
                  <a:pt x="6459" y="6870"/>
                </a:lnTo>
                <a:lnTo>
                  <a:pt x="6505" y="6975"/>
                </a:lnTo>
                <a:lnTo>
                  <a:pt x="6549" y="7074"/>
                </a:lnTo>
                <a:lnTo>
                  <a:pt x="6591" y="7166"/>
                </a:lnTo>
                <a:lnTo>
                  <a:pt x="6631" y="7254"/>
                </a:lnTo>
                <a:lnTo>
                  <a:pt x="6669" y="7336"/>
                </a:lnTo>
                <a:lnTo>
                  <a:pt x="6705" y="7413"/>
                </a:lnTo>
                <a:lnTo>
                  <a:pt x="6740" y="7483"/>
                </a:lnTo>
                <a:lnTo>
                  <a:pt x="6804" y="7612"/>
                </a:lnTo>
                <a:lnTo>
                  <a:pt x="6860" y="7721"/>
                </a:lnTo>
                <a:lnTo>
                  <a:pt x="6910" y="7814"/>
                </a:lnTo>
                <a:lnTo>
                  <a:pt x="6955" y="7891"/>
                </a:lnTo>
                <a:lnTo>
                  <a:pt x="6992" y="7954"/>
                </a:lnTo>
                <a:lnTo>
                  <a:pt x="7024" y="8004"/>
                </a:lnTo>
                <a:lnTo>
                  <a:pt x="7050" y="8042"/>
                </a:lnTo>
                <a:lnTo>
                  <a:pt x="7071" y="8071"/>
                </a:lnTo>
                <a:lnTo>
                  <a:pt x="7087" y="8091"/>
                </a:lnTo>
                <a:lnTo>
                  <a:pt x="7099" y="8102"/>
                </a:lnTo>
                <a:lnTo>
                  <a:pt x="7104" y="8109"/>
                </a:lnTo>
                <a:lnTo>
                  <a:pt x="7107" y="8110"/>
                </a:lnTo>
                <a:lnTo>
                  <a:pt x="7183" y="9752"/>
                </a:lnTo>
                <a:lnTo>
                  <a:pt x="7157" y="9748"/>
                </a:lnTo>
                <a:lnTo>
                  <a:pt x="7079" y="9729"/>
                </a:lnTo>
                <a:lnTo>
                  <a:pt x="7023" y="9715"/>
                </a:lnTo>
                <a:lnTo>
                  <a:pt x="6956" y="9698"/>
                </a:lnTo>
                <a:lnTo>
                  <a:pt x="6880" y="9674"/>
                </a:lnTo>
                <a:lnTo>
                  <a:pt x="6794" y="9649"/>
                </a:lnTo>
                <a:lnTo>
                  <a:pt x="6700" y="9618"/>
                </a:lnTo>
                <a:lnTo>
                  <a:pt x="6598" y="9582"/>
                </a:lnTo>
                <a:lnTo>
                  <a:pt x="6489" y="9540"/>
                </a:lnTo>
                <a:lnTo>
                  <a:pt x="6374" y="9493"/>
                </a:lnTo>
                <a:lnTo>
                  <a:pt x="6253" y="9440"/>
                </a:lnTo>
                <a:lnTo>
                  <a:pt x="6127" y="9382"/>
                </a:lnTo>
                <a:lnTo>
                  <a:pt x="5997" y="9317"/>
                </a:lnTo>
                <a:lnTo>
                  <a:pt x="5863" y="9246"/>
                </a:lnTo>
                <a:lnTo>
                  <a:pt x="5726" y="9167"/>
                </a:lnTo>
                <a:lnTo>
                  <a:pt x="5588" y="9082"/>
                </a:lnTo>
                <a:lnTo>
                  <a:pt x="5448" y="8989"/>
                </a:lnTo>
                <a:lnTo>
                  <a:pt x="5306" y="8890"/>
                </a:lnTo>
                <a:lnTo>
                  <a:pt x="5165" y="8782"/>
                </a:lnTo>
                <a:lnTo>
                  <a:pt x="5025" y="8665"/>
                </a:lnTo>
                <a:lnTo>
                  <a:pt x="4886" y="8541"/>
                </a:lnTo>
                <a:lnTo>
                  <a:pt x="4747" y="8408"/>
                </a:lnTo>
                <a:lnTo>
                  <a:pt x="4613" y="8266"/>
                </a:lnTo>
                <a:lnTo>
                  <a:pt x="4482" y="8115"/>
                </a:lnTo>
                <a:lnTo>
                  <a:pt x="4355" y="7955"/>
                </a:lnTo>
                <a:lnTo>
                  <a:pt x="4232" y="7784"/>
                </a:lnTo>
                <a:lnTo>
                  <a:pt x="4115" y="7604"/>
                </a:lnTo>
                <a:lnTo>
                  <a:pt x="4004" y="7414"/>
                </a:lnTo>
                <a:lnTo>
                  <a:pt x="3901" y="7213"/>
                </a:lnTo>
                <a:lnTo>
                  <a:pt x="3805" y="7000"/>
                </a:lnTo>
                <a:lnTo>
                  <a:pt x="3707" y="6786"/>
                </a:lnTo>
                <a:lnTo>
                  <a:pt x="3599" y="6575"/>
                </a:lnTo>
                <a:lnTo>
                  <a:pt x="3483" y="6371"/>
                </a:lnTo>
                <a:lnTo>
                  <a:pt x="3358" y="6171"/>
                </a:lnTo>
                <a:lnTo>
                  <a:pt x="3226" y="5976"/>
                </a:lnTo>
                <a:lnTo>
                  <a:pt x="3087" y="5787"/>
                </a:lnTo>
                <a:lnTo>
                  <a:pt x="2943" y="5604"/>
                </a:lnTo>
                <a:lnTo>
                  <a:pt x="2795" y="5426"/>
                </a:lnTo>
                <a:lnTo>
                  <a:pt x="2641" y="5253"/>
                </a:lnTo>
                <a:lnTo>
                  <a:pt x="2486" y="5087"/>
                </a:lnTo>
                <a:lnTo>
                  <a:pt x="2328" y="4927"/>
                </a:lnTo>
                <a:lnTo>
                  <a:pt x="2168" y="4772"/>
                </a:lnTo>
                <a:lnTo>
                  <a:pt x="2007" y="4625"/>
                </a:lnTo>
                <a:lnTo>
                  <a:pt x="1848" y="4483"/>
                </a:lnTo>
                <a:lnTo>
                  <a:pt x="1689" y="4348"/>
                </a:lnTo>
                <a:lnTo>
                  <a:pt x="1533" y="4220"/>
                </a:lnTo>
                <a:lnTo>
                  <a:pt x="1379" y="4098"/>
                </a:lnTo>
                <a:lnTo>
                  <a:pt x="1230" y="3984"/>
                </a:lnTo>
                <a:lnTo>
                  <a:pt x="1084" y="3876"/>
                </a:lnTo>
                <a:lnTo>
                  <a:pt x="944" y="3776"/>
                </a:lnTo>
                <a:lnTo>
                  <a:pt x="810" y="3683"/>
                </a:lnTo>
                <a:lnTo>
                  <a:pt x="684" y="3597"/>
                </a:lnTo>
                <a:lnTo>
                  <a:pt x="565" y="3519"/>
                </a:lnTo>
                <a:lnTo>
                  <a:pt x="456" y="3449"/>
                </a:lnTo>
                <a:lnTo>
                  <a:pt x="356" y="3386"/>
                </a:lnTo>
                <a:lnTo>
                  <a:pt x="267" y="3331"/>
                </a:lnTo>
                <a:lnTo>
                  <a:pt x="189" y="3285"/>
                </a:lnTo>
                <a:lnTo>
                  <a:pt x="123" y="3247"/>
                </a:lnTo>
                <a:lnTo>
                  <a:pt x="31" y="3194"/>
                </a:lnTo>
                <a:lnTo>
                  <a:pt x="0" y="3177"/>
                </a:lnTo>
                <a:lnTo>
                  <a:pt x="28" y="3199"/>
                </a:lnTo>
                <a:lnTo>
                  <a:pt x="108" y="3262"/>
                </a:lnTo>
                <a:lnTo>
                  <a:pt x="166" y="3309"/>
                </a:lnTo>
                <a:lnTo>
                  <a:pt x="235" y="3367"/>
                </a:lnTo>
                <a:lnTo>
                  <a:pt x="313" y="3435"/>
                </a:lnTo>
                <a:lnTo>
                  <a:pt x="402" y="3511"/>
                </a:lnTo>
                <a:lnTo>
                  <a:pt x="499" y="3598"/>
                </a:lnTo>
                <a:lnTo>
                  <a:pt x="605" y="3695"/>
                </a:lnTo>
                <a:lnTo>
                  <a:pt x="718" y="3802"/>
                </a:lnTo>
                <a:lnTo>
                  <a:pt x="836" y="3916"/>
                </a:lnTo>
                <a:lnTo>
                  <a:pt x="961" y="4041"/>
                </a:lnTo>
                <a:lnTo>
                  <a:pt x="1091" y="4173"/>
                </a:lnTo>
                <a:lnTo>
                  <a:pt x="1226" y="4316"/>
                </a:lnTo>
                <a:lnTo>
                  <a:pt x="1364" y="4466"/>
                </a:lnTo>
                <a:lnTo>
                  <a:pt x="1505" y="4625"/>
                </a:lnTo>
                <a:lnTo>
                  <a:pt x="1649" y="4792"/>
                </a:lnTo>
                <a:lnTo>
                  <a:pt x="1794" y="4967"/>
                </a:lnTo>
                <a:lnTo>
                  <a:pt x="1940" y="5152"/>
                </a:lnTo>
                <a:lnTo>
                  <a:pt x="2085" y="5342"/>
                </a:lnTo>
                <a:lnTo>
                  <a:pt x="2231" y="5542"/>
                </a:lnTo>
                <a:lnTo>
                  <a:pt x="2375" y="5749"/>
                </a:lnTo>
                <a:lnTo>
                  <a:pt x="2517" y="5964"/>
                </a:lnTo>
                <a:lnTo>
                  <a:pt x="2656" y="6184"/>
                </a:lnTo>
                <a:lnTo>
                  <a:pt x="2792" y="6413"/>
                </a:lnTo>
                <a:lnTo>
                  <a:pt x="2925" y="6649"/>
                </a:lnTo>
                <a:lnTo>
                  <a:pt x="3051" y="6891"/>
                </a:lnTo>
                <a:lnTo>
                  <a:pt x="3172" y="7141"/>
                </a:lnTo>
                <a:lnTo>
                  <a:pt x="3287" y="7396"/>
                </a:lnTo>
                <a:lnTo>
                  <a:pt x="3395" y="7659"/>
                </a:lnTo>
                <a:lnTo>
                  <a:pt x="3495" y="7927"/>
                </a:lnTo>
                <a:lnTo>
                  <a:pt x="3597" y="8192"/>
                </a:lnTo>
                <a:lnTo>
                  <a:pt x="3707" y="8443"/>
                </a:lnTo>
                <a:lnTo>
                  <a:pt x="3828" y="8678"/>
                </a:lnTo>
                <a:lnTo>
                  <a:pt x="3956" y="8901"/>
                </a:lnTo>
                <a:lnTo>
                  <a:pt x="4091" y="9111"/>
                </a:lnTo>
                <a:lnTo>
                  <a:pt x="4233" y="9308"/>
                </a:lnTo>
                <a:lnTo>
                  <a:pt x="4381" y="9492"/>
                </a:lnTo>
                <a:lnTo>
                  <a:pt x="4534" y="9665"/>
                </a:lnTo>
                <a:lnTo>
                  <a:pt x="4689" y="9827"/>
                </a:lnTo>
                <a:lnTo>
                  <a:pt x="4848" y="9978"/>
                </a:lnTo>
                <a:lnTo>
                  <a:pt x="5010" y="10117"/>
                </a:lnTo>
                <a:lnTo>
                  <a:pt x="5174" y="10246"/>
                </a:lnTo>
                <a:lnTo>
                  <a:pt x="5336" y="10364"/>
                </a:lnTo>
                <a:lnTo>
                  <a:pt x="5499" y="10473"/>
                </a:lnTo>
                <a:lnTo>
                  <a:pt x="5660" y="10574"/>
                </a:lnTo>
                <a:lnTo>
                  <a:pt x="5820" y="10665"/>
                </a:lnTo>
                <a:lnTo>
                  <a:pt x="5976" y="10747"/>
                </a:lnTo>
                <a:lnTo>
                  <a:pt x="6129" y="10823"/>
                </a:lnTo>
                <a:lnTo>
                  <a:pt x="6277" y="10889"/>
                </a:lnTo>
                <a:lnTo>
                  <a:pt x="6418" y="10948"/>
                </a:lnTo>
                <a:lnTo>
                  <a:pt x="6554" y="11002"/>
                </a:lnTo>
                <a:lnTo>
                  <a:pt x="6683" y="11047"/>
                </a:lnTo>
                <a:lnTo>
                  <a:pt x="6802" y="11088"/>
                </a:lnTo>
                <a:lnTo>
                  <a:pt x="6914" y="11121"/>
                </a:lnTo>
                <a:lnTo>
                  <a:pt x="7015" y="11150"/>
                </a:lnTo>
                <a:lnTo>
                  <a:pt x="7107" y="11174"/>
                </a:lnTo>
                <a:lnTo>
                  <a:pt x="7186" y="11192"/>
                </a:lnTo>
                <a:lnTo>
                  <a:pt x="7252" y="11207"/>
                </a:lnTo>
                <a:lnTo>
                  <a:pt x="7345" y="11225"/>
                </a:lnTo>
                <a:lnTo>
                  <a:pt x="7377" y="11230"/>
                </a:lnTo>
                <a:lnTo>
                  <a:pt x="7378" y="11257"/>
                </a:lnTo>
                <a:lnTo>
                  <a:pt x="7382" y="11335"/>
                </a:lnTo>
                <a:lnTo>
                  <a:pt x="7386" y="11459"/>
                </a:lnTo>
                <a:lnTo>
                  <a:pt x="7391" y="11628"/>
                </a:lnTo>
                <a:lnTo>
                  <a:pt x="7393" y="11726"/>
                </a:lnTo>
                <a:lnTo>
                  <a:pt x="7395" y="11835"/>
                </a:lnTo>
                <a:lnTo>
                  <a:pt x="7396" y="11953"/>
                </a:lnTo>
                <a:lnTo>
                  <a:pt x="7397" y="12078"/>
                </a:lnTo>
                <a:lnTo>
                  <a:pt x="7397" y="12212"/>
                </a:lnTo>
                <a:lnTo>
                  <a:pt x="7396" y="12353"/>
                </a:lnTo>
                <a:lnTo>
                  <a:pt x="7395" y="12502"/>
                </a:lnTo>
                <a:lnTo>
                  <a:pt x="7391" y="12656"/>
                </a:lnTo>
                <a:lnTo>
                  <a:pt x="7386" y="12818"/>
                </a:lnTo>
                <a:lnTo>
                  <a:pt x="7381" y="12984"/>
                </a:lnTo>
                <a:lnTo>
                  <a:pt x="7374" y="13156"/>
                </a:lnTo>
                <a:lnTo>
                  <a:pt x="7366" y="13332"/>
                </a:lnTo>
                <a:lnTo>
                  <a:pt x="7355" y="13512"/>
                </a:lnTo>
                <a:lnTo>
                  <a:pt x="7342" y="13697"/>
                </a:lnTo>
                <a:lnTo>
                  <a:pt x="7328" y="13884"/>
                </a:lnTo>
                <a:lnTo>
                  <a:pt x="7311" y="14073"/>
                </a:lnTo>
                <a:lnTo>
                  <a:pt x="7292" y="14266"/>
                </a:lnTo>
                <a:lnTo>
                  <a:pt x="7272" y="14459"/>
                </a:lnTo>
                <a:lnTo>
                  <a:pt x="7247" y="14655"/>
                </a:lnTo>
                <a:lnTo>
                  <a:pt x="7222" y="14851"/>
                </a:lnTo>
                <a:lnTo>
                  <a:pt x="7193" y="15047"/>
                </a:lnTo>
                <a:lnTo>
                  <a:pt x="7160" y="15243"/>
                </a:lnTo>
                <a:lnTo>
                  <a:pt x="7125" y="15438"/>
                </a:lnTo>
                <a:lnTo>
                  <a:pt x="7087" y="15633"/>
                </a:lnTo>
                <a:lnTo>
                  <a:pt x="7045" y="15824"/>
                </a:lnTo>
                <a:lnTo>
                  <a:pt x="6997" y="16006"/>
                </a:lnTo>
                <a:lnTo>
                  <a:pt x="6946" y="16183"/>
                </a:lnTo>
                <a:lnTo>
                  <a:pt x="6891" y="16353"/>
                </a:lnTo>
                <a:lnTo>
                  <a:pt x="6833" y="16516"/>
                </a:lnTo>
                <a:lnTo>
                  <a:pt x="6771" y="16673"/>
                </a:lnTo>
                <a:lnTo>
                  <a:pt x="6706" y="16822"/>
                </a:lnTo>
                <a:lnTo>
                  <a:pt x="6639" y="16965"/>
                </a:lnTo>
                <a:lnTo>
                  <a:pt x="6570" y="17101"/>
                </a:lnTo>
                <a:lnTo>
                  <a:pt x="6501" y="17232"/>
                </a:lnTo>
                <a:lnTo>
                  <a:pt x="6429" y="17355"/>
                </a:lnTo>
                <a:lnTo>
                  <a:pt x="6357" y="17473"/>
                </a:lnTo>
                <a:lnTo>
                  <a:pt x="6285" y="17584"/>
                </a:lnTo>
                <a:lnTo>
                  <a:pt x="6211" y="17689"/>
                </a:lnTo>
                <a:lnTo>
                  <a:pt x="6140" y="17787"/>
                </a:lnTo>
                <a:lnTo>
                  <a:pt x="6069" y="17880"/>
                </a:lnTo>
                <a:lnTo>
                  <a:pt x="5999" y="17967"/>
                </a:lnTo>
                <a:lnTo>
                  <a:pt x="5931" y="18047"/>
                </a:lnTo>
                <a:lnTo>
                  <a:pt x="5864" y="18123"/>
                </a:lnTo>
                <a:lnTo>
                  <a:pt x="5800" y="18191"/>
                </a:lnTo>
                <a:lnTo>
                  <a:pt x="5739" y="18254"/>
                </a:lnTo>
                <a:lnTo>
                  <a:pt x="5682" y="18311"/>
                </a:lnTo>
                <a:lnTo>
                  <a:pt x="5627" y="18363"/>
                </a:lnTo>
                <a:lnTo>
                  <a:pt x="5578" y="18408"/>
                </a:lnTo>
                <a:lnTo>
                  <a:pt x="5532" y="18449"/>
                </a:lnTo>
                <a:lnTo>
                  <a:pt x="5490" y="18483"/>
                </a:lnTo>
                <a:lnTo>
                  <a:pt x="5456" y="18513"/>
                </a:lnTo>
                <a:lnTo>
                  <a:pt x="5425" y="18536"/>
                </a:lnTo>
                <a:lnTo>
                  <a:pt x="5384" y="18568"/>
                </a:lnTo>
                <a:lnTo>
                  <a:pt x="5369" y="18578"/>
                </a:lnTo>
                <a:close/>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3" name="Rectangle 90">
            <a:extLst>
              <a:ext uri="{FF2B5EF4-FFF2-40B4-BE49-F238E27FC236}">
                <a16:creationId xmlns:a16="http://schemas.microsoft.com/office/drawing/2014/main" id="{53A005AA-F91F-4403-B0D1-9AFBE9B504B1}"/>
              </a:ext>
            </a:extLst>
          </p:cNvPr>
          <p:cNvSpPr/>
          <p:nvPr/>
        </p:nvSpPr>
        <p:spPr>
          <a:xfrm>
            <a:off x="1441923" y="1016378"/>
            <a:ext cx="3116194" cy="1920526"/>
          </a:xfrm>
          <a:prstGeom prst="rect">
            <a:avLst/>
          </a:prstGeom>
        </p:spPr>
        <p:txBody>
          <a:bodyPr wrap="square">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4400" b="1" i="0" u="none" strike="noStrike" kern="1200" cap="none" spc="0" normalizeH="0" baseline="0" noProof="0" dirty="0">
                <a:ln>
                  <a:noFill/>
                </a:ln>
                <a:solidFill>
                  <a:srgbClr val="000000">
                    <a:lumMod val="75000"/>
                    <a:lumOff val="25000"/>
                  </a:srgbClr>
                </a:solidFill>
                <a:effectLst/>
                <a:uLnTx/>
                <a:uFillTx/>
                <a:latin typeface="Segoe UI" panose="020B0502040204020203" pitchFamily="34" charset="0"/>
                <a:ea typeface="+mn-ea"/>
                <a:cs typeface="Segoe UI" panose="020B0502040204020203" pitchFamily="34" charset="0"/>
              </a:rPr>
              <a:t>Visual Decision Tree </a:t>
            </a:r>
          </a:p>
        </p:txBody>
      </p:sp>
      <p:grpSp>
        <p:nvGrpSpPr>
          <p:cNvPr id="4" name="Group 133">
            <a:extLst>
              <a:ext uri="{FF2B5EF4-FFF2-40B4-BE49-F238E27FC236}">
                <a16:creationId xmlns:a16="http://schemas.microsoft.com/office/drawing/2014/main" id="{4CB00FE7-02E8-4A1D-9428-3B98F29BC7C9}"/>
              </a:ext>
            </a:extLst>
          </p:cNvPr>
          <p:cNvGrpSpPr/>
          <p:nvPr/>
        </p:nvGrpSpPr>
        <p:grpSpPr>
          <a:xfrm>
            <a:off x="1536298" y="3080786"/>
            <a:ext cx="4178818" cy="2340492"/>
            <a:chOff x="555107" y="2201816"/>
            <a:chExt cx="4538295" cy="2541830"/>
          </a:xfrm>
        </p:grpSpPr>
        <p:grpSp>
          <p:nvGrpSpPr>
            <p:cNvPr id="5" name="Group 132">
              <a:extLst>
                <a:ext uri="{FF2B5EF4-FFF2-40B4-BE49-F238E27FC236}">
                  <a16:creationId xmlns:a16="http://schemas.microsoft.com/office/drawing/2014/main" id="{73C970D3-9F3D-4C04-877F-EFC19551F3E6}"/>
                </a:ext>
              </a:extLst>
            </p:cNvPr>
            <p:cNvGrpSpPr/>
            <p:nvPr/>
          </p:nvGrpSpPr>
          <p:grpSpPr>
            <a:xfrm>
              <a:off x="556045" y="2201816"/>
              <a:ext cx="4117989" cy="735176"/>
              <a:chOff x="1390375" y="2239119"/>
              <a:chExt cx="4117989" cy="735176"/>
            </a:xfrm>
          </p:grpSpPr>
          <p:grpSp>
            <p:nvGrpSpPr>
              <p:cNvPr id="28" name="Group 92">
                <a:extLst>
                  <a:ext uri="{FF2B5EF4-FFF2-40B4-BE49-F238E27FC236}">
                    <a16:creationId xmlns:a16="http://schemas.microsoft.com/office/drawing/2014/main" id="{31377234-3F9E-4B29-AB6A-D88ADC5D82E3}"/>
                  </a:ext>
                </a:extLst>
              </p:cNvPr>
              <p:cNvGrpSpPr/>
              <p:nvPr/>
            </p:nvGrpSpPr>
            <p:grpSpPr>
              <a:xfrm>
                <a:off x="1390375" y="2800981"/>
                <a:ext cx="3869413" cy="145420"/>
                <a:chOff x="1276075" y="2026281"/>
                <a:chExt cx="3869413" cy="145420"/>
              </a:xfrm>
            </p:grpSpPr>
            <p:sp>
              <p:nvSpPr>
                <p:cNvPr id="35" name="Rounded Rectangle 27">
                  <a:extLst>
                    <a:ext uri="{FF2B5EF4-FFF2-40B4-BE49-F238E27FC236}">
                      <a16:creationId xmlns:a16="http://schemas.microsoft.com/office/drawing/2014/main" id="{B2DBDC67-0301-4B85-9415-CA6E3CB41513}"/>
                    </a:ext>
                  </a:extLst>
                </p:cNvPr>
                <p:cNvSpPr/>
                <p:nvPr/>
              </p:nvSpPr>
              <p:spPr>
                <a:xfrm>
                  <a:off x="1296055" y="2026281"/>
                  <a:ext cx="3849433" cy="134396"/>
                </a:xfrm>
                <a:prstGeom prst="roundRect">
                  <a:avLst>
                    <a:gd name="adj" fmla="val 5000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000000">
                        <a:lumMod val="85000"/>
                        <a:lumOff val="15000"/>
                      </a:srgbClr>
                    </a:solidFill>
                    <a:effectLst/>
                    <a:uLnTx/>
                    <a:uFillTx/>
                    <a:latin typeface="Raleway" panose="020B0503030101060003" pitchFamily="34" charset="0"/>
                    <a:ea typeface="+mn-ea"/>
                    <a:cs typeface="+mn-cs"/>
                  </a:endParaRPr>
                </a:p>
              </p:txBody>
            </p:sp>
            <p:sp>
              <p:nvSpPr>
                <p:cNvPr id="36" name="Rounded Rectangle 27">
                  <a:extLst>
                    <a:ext uri="{FF2B5EF4-FFF2-40B4-BE49-F238E27FC236}">
                      <a16:creationId xmlns:a16="http://schemas.microsoft.com/office/drawing/2014/main" id="{81B7F9BF-E1AA-4995-B70A-969B450B2C50}"/>
                    </a:ext>
                  </a:extLst>
                </p:cNvPr>
                <p:cNvSpPr/>
                <p:nvPr/>
              </p:nvSpPr>
              <p:spPr>
                <a:xfrm>
                  <a:off x="1276075" y="2026281"/>
                  <a:ext cx="3393723" cy="145420"/>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000000">
                        <a:lumMod val="85000"/>
                        <a:lumOff val="15000"/>
                      </a:srgbClr>
                    </a:solidFill>
                    <a:effectLst/>
                    <a:uLnTx/>
                    <a:uFillTx/>
                    <a:latin typeface="Raleway" panose="020B0503030101060003" pitchFamily="34" charset="0"/>
                    <a:ea typeface="+mn-ea"/>
                    <a:cs typeface="+mn-cs"/>
                  </a:endParaRPr>
                </a:p>
              </p:txBody>
            </p:sp>
          </p:grpSp>
          <p:grpSp>
            <p:nvGrpSpPr>
              <p:cNvPr id="29" name="Group 93">
                <a:extLst>
                  <a:ext uri="{FF2B5EF4-FFF2-40B4-BE49-F238E27FC236}">
                    <a16:creationId xmlns:a16="http://schemas.microsoft.com/office/drawing/2014/main" id="{6ED0403C-106C-4C39-BF42-E1B161E1DC4D}"/>
                  </a:ext>
                </a:extLst>
              </p:cNvPr>
              <p:cNvGrpSpPr/>
              <p:nvPr/>
            </p:nvGrpSpPr>
            <p:grpSpPr>
              <a:xfrm>
                <a:off x="4605438" y="2239119"/>
                <a:ext cx="902926" cy="735176"/>
                <a:chOff x="3656065" y="1578719"/>
                <a:chExt cx="906337" cy="735176"/>
              </a:xfrm>
            </p:grpSpPr>
            <p:sp>
              <p:nvSpPr>
                <p:cNvPr id="31" name="Oval 126">
                  <a:extLst>
                    <a:ext uri="{FF2B5EF4-FFF2-40B4-BE49-F238E27FC236}">
                      <a16:creationId xmlns:a16="http://schemas.microsoft.com/office/drawing/2014/main" id="{41C8DF83-6B92-46A0-AFD9-261ED9103E1C}"/>
                    </a:ext>
                  </a:extLst>
                </p:cNvPr>
                <p:cNvSpPr/>
                <p:nvPr/>
              </p:nvSpPr>
              <p:spPr>
                <a:xfrm>
                  <a:off x="3656065" y="2084609"/>
                  <a:ext cx="229286" cy="229286"/>
                </a:xfrm>
                <a:prstGeom prst="ellipse">
                  <a:avLst/>
                </a:prstGeom>
                <a:solidFill>
                  <a:schemeClr val="accent1">
                    <a:lumMod val="75000"/>
                  </a:schemeClr>
                </a:solidFill>
                <a:ln>
                  <a:solidFill>
                    <a:schemeClr val="bg1"/>
                  </a:solidFill>
                </a:ln>
                <a:effectLst>
                  <a:outerShdw blurRad="203200" dist="76200" dir="1026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等线" panose="020F0502020204030204"/>
                    <a:ea typeface="+mn-ea"/>
                    <a:cs typeface="+mn-cs"/>
                  </a:endParaRPr>
                </a:p>
              </p:txBody>
            </p:sp>
            <p:sp>
              <p:nvSpPr>
                <p:cNvPr id="32" name="Rectangle: Rounded Corners 127">
                  <a:extLst>
                    <a:ext uri="{FF2B5EF4-FFF2-40B4-BE49-F238E27FC236}">
                      <a16:creationId xmlns:a16="http://schemas.microsoft.com/office/drawing/2014/main" id="{A96F4ED4-DDD0-42BE-9BF2-874A60220848}"/>
                    </a:ext>
                  </a:extLst>
                </p:cNvPr>
                <p:cNvSpPr/>
                <p:nvPr/>
              </p:nvSpPr>
              <p:spPr>
                <a:xfrm>
                  <a:off x="3767630" y="1607256"/>
                  <a:ext cx="794772" cy="467821"/>
                </a:xfrm>
                <a:prstGeom prst="roundRect">
                  <a:avLst>
                    <a:gd name="adj" fmla="val 4672"/>
                  </a:avLst>
                </a:prstGeom>
                <a:solidFill>
                  <a:schemeClr val="bg1"/>
                </a:solidFill>
                <a:ln>
                  <a:noFill/>
                </a:ln>
                <a:effectLst>
                  <a:outerShdw blurRad="1270000" sx="147000" sy="147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等线" panose="020F0502020204030204"/>
                    <a:ea typeface="+mn-ea"/>
                    <a:cs typeface="+mn-cs"/>
                  </a:endParaRPr>
                </a:p>
              </p:txBody>
            </p:sp>
            <p:sp>
              <p:nvSpPr>
                <p:cNvPr id="33" name="Isosceles Triangle 128">
                  <a:extLst>
                    <a:ext uri="{FF2B5EF4-FFF2-40B4-BE49-F238E27FC236}">
                      <a16:creationId xmlns:a16="http://schemas.microsoft.com/office/drawing/2014/main" id="{5BBE878C-F540-45E7-B8D8-E20C8982598E}"/>
                    </a:ext>
                  </a:extLst>
                </p:cNvPr>
                <p:cNvSpPr/>
                <p:nvPr/>
              </p:nvSpPr>
              <p:spPr>
                <a:xfrm rot="12600000">
                  <a:off x="3673767" y="1887359"/>
                  <a:ext cx="193883" cy="292672"/>
                </a:xfrm>
                <a:prstGeom prst="triangle">
                  <a:avLst>
                    <a:gd name="adj" fmla="val 0"/>
                  </a:avLst>
                </a:prstGeom>
                <a:solidFill>
                  <a:schemeClr val="bg1"/>
                </a:solidFill>
                <a:ln>
                  <a:noFill/>
                </a:ln>
                <a:effectLst>
                  <a:outerShdw blurRad="1270000" sx="88000" sy="88000" algn="ctr" rotWithShape="0">
                    <a:prstClr val="black">
                      <a:alpha val="2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等线" panose="020F0502020204030204"/>
                    <a:ea typeface="+mn-ea"/>
                    <a:cs typeface="+mn-cs"/>
                  </a:endParaRPr>
                </a:p>
              </p:txBody>
            </p:sp>
            <p:sp>
              <p:nvSpPr>
                <p:cNvPr id="34" name="TextBox 129">
                  <a:extLst>
                    <a:ext uri="{FF2B5EF4-FFF2-40B4-BE49-F238E27FC236}">
                      <a16:creationId xmlns:a16="http://schemas.microsoft.com/office/drawing/2014/main" id="{8CFE9DB5-518F-4AC7-B089-CE064EF7F687}"/>
                    </a:ext>
                  </a:extLst>
                </p:cNvPr>
                <p:cNvSpPr txBox="1"/>
                <p:nvPr/>
              </p:nvSpPr>
              <p:spPr>
                <a:xfrm>
                  <a:off x="3820582" y="1578719"/>
                  <a:ext cx="715234" cy="483209"/>
                </a:xfrm>
                <a:prstGeom prst="rect">
                  <a:avLst/>
                </a:prstGeom>
                <a:noFill/>
              </p:spPr>
              <p:txBody>
                <a:bodyPr wrap="square" rtlCol="0">
                  <a:spAutoFit/>
                </a:bodyPr>
                <a:lstStyle/>
                <a:p>
                  <a:pPr marL="0" marR="0" lvl="0" indent="0" algn="l" defTabSz="914400" rtl="0" eaLnBrk="1" fontAlgn="auto" latinLnBrk="0" hangingPunct="1">
                    <a:lnSpc>
                      <a:spcPct val="14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FFD229"/>
                      </a:solidFill>
                      <a:effectLst/>
                      <a:uLnTx/>
                      <a:uFillTx/>
                      <a:latin typeface="等线" panose="020F0502020204030204"/>
                      <a:ea typeface="+mn-ea"/>
                      <a:cs typeface="+mn-cs"/>
                    </a:rPr>
                    <a:t>95%</a:t>
                  </a:r>
                </a:p>
              </p:txBody>
            </p:sp>
          </p:grpSp>
          <p:sp>
            <p:nvSpPr>
              <p:cNvPr id="30" name="TextBox 94">
                <a:extLst>
                  <a:ext uri="{FF2B5EF4-FFF2-40B4-BE49-F238E27FC236}">
                    <a16:creationId xmlns:a16="http://schemas.microsoft.com/office/drawing/2014/main" id="{DCDDA6E0-F613-47BF-B7A2-473EAA7EC59C}"/>
                  </a:ext>
                </a:extLst>
              </p:cNvPr>
              <p:cNvSpPr txBox="1"/>
              <p:nvPr/>
            </p:nvSpPr>
            <p:spPr>
              <a:xfrm>
                <a:off x="1397155" y="2367998"/>
                <a:ext cx="1771887" cy="397413"/>
              </a:xfrm>
              <a:prstGeom prst="rect">
                <a:avLst/>
              </a:prstGeom>
              <a:noFill/>
            </p:spPr>
            <p:txBody>
              <a:bodyPr wrap="square" rtlCol="0">
                <a:spAutoFit/>
              </a:bodyPr>
              <a:lstStyle/>
              <a:p>
                <a:pPr marL="0" marR="0" lvl="0" indent="0" algn="l" defTabSz="914400" rtl="0" eaLnBrk="1" fontAlgn="auto" latinLnBrk="0" hangingPunct="1">
                  <a:lnSpc>
                    <a:spcPct val="14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lumMod val="65000"/>
                        <a:lumOff val="35000"/>
                      </a:srgbClr>
                    </a:solidFill>
                    <a:effectLst/>
                    <a:uLnTx/>
                    <a:uFillTx/>
                    <a:latin typeface="Calibri" panose="020F0502020204030204" pitchFamily="34" charset="0"/>
                    <a:ea typeface="+mn-ea"/>
                    <a:cs typeface="Calibri" panose="020F0502020204030204" pitchFamily="34" charset="0"/>
                  </a:rPr>
                  <a:t>Lorem ipsum dolor</a:t>
                </a:r>
              </a:p>
            </p:txBody>
          </p:sp>
        </p:grpSp>
        <p:grpSp>
          <p:nvGrpSpPr>
            <p:cNvPr id="6" name="Group 95">
              <a:extLst>
                <a:ext uri="{FF2B5EF4-FFF2-40B4-BE49-F238E27FC236}">
                  <a16:creationId xmlns:a16="http://schemas.microsoft.com/office/drawing/2014/main" id="{FAC9B2C8-6FC8-44DC-9B25-CDBF047D889B}"/>
                </a:ext>
              </a:extLst>
            </p:cNvPr>
            <p:cNvGrpSpPr/>
            <p:nvPr/>
          </p:nvGrpSpPr>
          <p:grpSpPr>
            <a:xfrm>
              <a:off x="555107" y="3085531"/>
              <a:ext cx="3869412" cy="784811"/>
              <a:chOff x="1432156" y="2792634"/>
              <a:chExt cx="3884030" cy="784811"/>
            </a:xfrm>
          </p:grpSpPr>
          <p:sp>
            <p:nvSpPr>
              <p:cNvPr id="18" name="AutoShape 115">
                <a:extLst>
                  <a:ext uri="{FF2B5EF4-FFF2-40B4-BE49-F238E27FC236}">
                    <a16:creationId xmlns:a16="http://schemas.microsoft.com/office/drawing/2014/main" id="{E7BB7CFA-84AB-4688-BBE2-2155F0AC9EC8}"/>
                  </a:ext>
                </a:extLst>
              </p:cNvPr>
              <p:cNvSpPr>
                <a:spLocks/>
              </p:cNvSpPr>
              <p:nvPr/>
            </p:nvSpPr>
            <p:spPr bwMode="auto">
              <a:xfrm>
                <a:off x="5044032" y="3325003"/>
                <a:ext cx="189116" cy="252442"/>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9800" y="12825"/>
                    </a:moveTo>
                    <a:lnTo>
                      <a:pt x="19800" y="13500"/>
                    </a:lnTo>
                    <a:lnTo>
                      <a:pt x="19800" y="14850"/>
                    </a:lnTo>
                    <a:lnTo>
                      <a:pt x="19800" y="15525"/>
                    </a:lnTo>
                    <a:cubicBezTo>
                      <a:pt x="19800" y="18129"/>
                      <a:pt x="16972" y="20249"/>
                      <a:pt x="13499" y="20249"/>
                    </a:cubicBezTo>
                    <a:lnTo>
                      <a:pt x="8099" y="20249"/>
                    </a:lnTo>
                    <a:cubicBezTo>
                      <a:pt x="4627" y="20249"/>
                      <a:pt x="1800" y="18129"/>
                      <a:pt x="1800" y="15525"/>
                    </a:cubicBezTo>
                    <a:lnTo>
                      <a:pt x="1800" y="14850"/>
                    </a:lnTo>
                    <a:lnTo>
                      <a:pt x="1800" y="13500"/>
                    </a:lnTo>
                    <a:lnTo>
                      <a:pt x="1800" y="12825"/>
                    </a:lnTo>
                    <a:lnTo>
                      <a:pt x="1800" y="10800"/>
                    </a:lnTo>
                    <a:cubicBezTo>
                      <a:pt x="1800" y="10427"/>
                      <a:pt x="2203" y="10124"/>
                      <a:pt x="2699" y="10124"/>
                    </a:cubicBezTo>
                    <a:lnTo>
                      <a:pt x="4499" y="10124"/>
                    </a:lnTo>
                    <a:lnTo>
                      <a:pt x="17100" y="10124"/>
                    </a:lnTo>
                    <a:lnTo>
                      <a:pt x="18899" y="10124"/>
                    </a:lnTo>
                    <a:cubicBezTo>
                      <a:pt x="19396" y="10124"/>
                      <a:pt x="19800" y="10427"/>
                      <a:pt x="19800" y="10800"/>
                    </a:cubicBezTo>
                    <a:cubicBezTo>
                      <a:pt x="19800" y="10800"/>
                      <a:pt x="19800" y="12825"/>
                      <a:pt x="19800" y="12825"/>
                    </a:cubicBezTo>
                    <a:close/>
                    <a:moveTo>
                      <a:pt x="14400" y="6075"/>
                    </a:moveTo>
                    <a:lnTo>
                      <a:pt x="14400" y="6076"/>
                    </a:lnTo>
                    <a:lnTo>
                      <a:pt x="14400" y="8774"/>
                    </a:lnTo>
                    <a:lnTo>
                      <a:pt x="7200" y="8774"/>
                    </a:lnTo>
                    <a:lnTo>
                      <a:pt x="7200" y="6076"/>
                    </a:lnTo>
                    <a:lnTo>
                      <a:pt x="7200" y="6075"/>
                    </a:lnTo>
                    <a:cubicBezTo>
                      <a:pt x="7200" y="4583"/>
                      <a:pt x="8811" y="3375"/>
                      <a:pt x="10800" y="3375"/>
                    </a:cubicBezTo>
                    <a:cubicBezTo>
                      <a:pt x="12788" y="3375"/>
                      <a:pt x="14400" y="4583"/>
                      <a:pt x="14400" y="6075"/>
                    </a:cubicBezTo>
                    <a:moveTo>
                      <a:pt x="4499" y="6075"/>
                    </a:moveTo>
                    <a:cubicBezTo>
                      <a:pt x="4499" y="3465"/>
                      <a:pt x="7320" y="1350"/>
                      <a:pt x="10800" y="1350"/>
                    </a:cubicBezTo>
                    <a:cubicBezTo>
                      <a:pt x="14279" y="1350"/>
                      <a:pt x="17100" y="3465"/>
                      <a:pt x="17100" y="6075"/>
                    </a:cubicBezTo>
                    <a:lnTo>
                      <a:pt x="17100" y="8774"/>
                    </a:lnTo>
                    <a:lnTo>
                      <a:pt x="15299" y="8774"/>
                    </a:lnTo>
                    <a:lnTo>
                      <a:pt x="15299" y="6076"/>
                    </a:lnTo>
                    <a:cubicBezTo>
                      <a:pt x="15299" y="4212"/>
                      <a:pt x="13285" y="2701"/>
                      <a:pt x="10800" y="2701"/>
                    </a:cubicBezTo>
                    <a:cubicBezTo>
                      <a:pt x="8314" y="2701"/>
                      <a:pt x="6299" y="4212"/>
                      <a:pt x="6299" y="6076"/>
                    </a:cubicBezTo>
                    <a:lnTo>
                      <a:pt x="6299" y="8774"/>
                    </a:lnTo>
                    <a:lnTo>
                      <a:pt x="4499" y="8774"/>
                    </a:lnTo>
                    <a:cubicBezTo>
                      <a:pt x="4499" y="8774"/>
                      <a:pt x="4499" y="6075"/>
                      <a:pt x="4499" y="6075"/>
                    </a:cubicBezTo>
                    <a:close/>
                    <a:moveTo>
                      <a:pt x="18899" y="8774"/>
                    </a:moveTo>
                    <a:lnTo>
                      <a:pt x="18899" y="6075"/>
                    </a:lnTo>
                    <a:cubicBezTo>
                      <a:pt x="18899" y="2719"/>
                      <a:pt x="15274" y="0"/>
                      <a:pt x="10800" y="0"/>
                    </a:cubicBezTo>
                    <a:cubicBezTo>
                      <a:pt x="6325" y="0"/>
                      <a:pt x="2699" y="2719"/>
                      <a:pt x="2699" y="6075"/>
                    </a:cubicBezTo>
                    <a:lnTo>
                      <a:pt x="2699" y="8774"/>
                    </a:lnTo>
                    <a:cubicBezTo>
                      <a:pt x="1208" y="8774"/>
                      <a:pt x="0" y="9681"/>
                      <a:pt x="0" y="10800"/>
                    </a:cubicBezTo>
                    <a:lnTo>
                      <a:pt x="0" y="12825"/>
                    </a:lnTo>
                    <a:lnTo>
                      <a:pt x="0" y="13500"/>
                    </a:lnTo>
                    <a:lnTo>
                      <a:pt x="0" y="14850"/>
                    </a:lnTo>
                    <a:lnTo>
                      <a:pt x="0" y="15525"/>
                    </a:lnTo>
                    <a:cubicBezTo>
                      <a:pt x="0" y="18880"/>
                      <a:pt x="3625" y="21599"/>
                      <a:pt x="8099" y="21599"/>
                    </a:cubicBezTo>
                    <a:lnTo>
                      <a:pt x="13499" y="21599"/>
                    </a:lnTo>
                    <a:cubicBezTo>
                      <a:pt x="17974" y="21599"/>
                      <a:pt x="21600" y="18880"/>
                      <a:pt x="21600" y="15525"/>
                    </a:cubicBezTo>
                    <a:lnTo>
                      <a:pt x="21600" y="14850"/>
                    </a:lnTo>
                    <a:lnTo>
                      <a:pt x="21600" y="13500"/>
                    </a:lnTo>
                    <a:lnTo>
                      <a:pt x="21600" y="12825"/>
                    </a:lnTo>
                    <a:lnTo>
                      <a:pt x="21600" y="10800"/>
                    </a:lnTo>
                    <a:cubicBezTo>
                      <a:pt x="21600" y="9681"/>
                      <a:pt x="20391" y="8774"/>
                      <a:pt x="18899" y="8774"/>
                    </a:cubicBezTo>
                  </a:path>
                </a:pathLst>
              </a:custGeom>
              <a:solidFill>
                <a:schemeClr val="bg1"/>
              </a:solidFill>
              <a:ln>
                <a:noFill/>
              </a:ln>
              <a:effectLst/>
              <a:extLst>
                <a:ext uri="{91240B29-F687-4f45-9708-019B960494DF}">
                  <a14:hiddenLine xmlns:a14="http://schemas.microsoft.com/office/drawing/2010/main" xmlns="" w="12700" cap="flat" cmpd="sng">
                    <a:solidFill>
                      <a:srgbClr val="000000"/>
                    </a:solidFill>
                    <a:prstDash val="solid"/>
                    <a:miter lim="0"/>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lIns="19050" tIns="19050" rIns="19050" bIns="19050" anchor="ctr"/>
              <a:lstStyle/>
              <a:p>
                <a:pPr marL="0" marR="0" lvl="0" indent="0" algn="ctr" defTabSz="228600" rtl="0" eaLnBrk="1" fontAlgn="base" latinLnBrk="0" hangingPunct="0">
                  <a:lnSpc>
                    <a:spcPct val="100000"/>
                  </a:lnSpc>
                  <a:spcBef>
                    <a:spcPct val="0"/>
                  </a:spcBef>
                  <a:spcAft>
                    <a:spcPct val="0"/>
                  </a:spcAft>
                  <a:buClrTx/>
                  <a:buSzTx/>
                  <a:buFontTx/>
                  <a:buNone/>
                  <a:tabLst/>
                  <a:defRPr/>
                </a:pPr>
                <a:endParaRPr kumimoji="0" lang="en-US" sz="1500" b="0" i="0" u="none" strike="noStrike" kern="1200" cap="none" spc="0" normalizeH="0" baseline="0" noProof="0" dirty="0">
                  <a:ln>
                    <a:noFill/>
                  </a:ln>
                  <a:solidFill>
                    <a:srgbClr val="FFFFFF"/>
                  </a:solidFill>
                  <a:effectLst>
                    <a:outerShdw blurRad="38100" dist="38100" dir="2700000" algn="tl">
                      <a:srgbClr val="000000"/>
                    </a:outerShdw>
                  </a:effectLst>
                  <a:uLnTx/>
                  <a:uFillTx/>
                  <a:latin typeface="Gill Sans" charset="0"/>
                  <a:ea typeface="+mn-ea"/>
                  <a:cs typeface="+mn-cs"/>
                  <a:sym typeface="Gill Sans" charset="0"/>
                </a:endParaRPr>
              </a:p>
            </p:txBody>
          </p:sp>
          <p:sp>
            <p:nvSpPr>
              <p:cNvPr id="19" name="AutoShape 116">
                <a:extLst>
                  <a:ext uri="{FF2B5EF4-FFF2-40B4-BE49-F238E27FC236}">
                    <a16:creationId xmlns:a16="http://schemas.microsoft.com/office/drawing/2014/main" id="{544AEAB7-99E0-4DE3-B51D-710808CB82AF}"/>
                  </a:ext>
                </a:extLst>
              </p:cNvPr>
              <p:cNvSpPr>
                <a:spLocks/>
              </p:cNvSpPr>
              <p:nvPr/>
            </p:nvSpPr>
            <p:spPr bwMode="auto">
              <a:xfrm>
                <a:off x="5122866" y="3474917"/>
                <a:ext cx="31448" cy="47387"/>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0800" y="0"/>
                    </a:moveTo>
                    <a:cubicBezTo>
                      <a:pt x="4838" y="0"/>
                      <a:pt x="0" y="3226"/>
                      <a:pt x="0" y="7201"/>
                    </a:cubicBezTo>
                    <a:cubicBezTo>
                      <a:pt x="0" y="9390"/>
                      <a:pt x="1798" y="13537"/>
                      <a:pt x="3601" y="16821"/>
                    </a:cubicBezTo>
                    <a:cubicBezTo>
                      <a:pt x="5070" y="19493"/>
                      <a:pt x="6916" y="21600"/>
                      <a:pt x="10800" y="21600"/>
                    </a:cubicBezTo>
                    <a:cubicBezTo>
                      <a:pt x="15016" y="21600"/>
                      <a:pt x="16529" y="19514"/>
                      <a:pt x="18003" y="16858"/>
                    </a:cubicBezTo>
                    <a:cubicBezTo>
                      <a:pt x="19828" y="13567"/>
                      <a:pt x="21600" y="9397"/>
                      <a:pt x="21600" y="7201"/>
                    </a:cubicBezTo>
                    <a:cubicBezTo>
                      <a:pt x="21600" y="3226"/>
                      <a:pt x="16761" y="0"/>
                      <a:pt x="10800" y="0"/>
                    </a:cubicBezTo>
                  </a:path>
                </a:pathLst>
              </a:custGeom>
              <a:solidFill>
                <a:schemeClr val="bg1"/>
              </a:solidFill>
              <a:ln>
                <a:noFill/>
              </a:ln>
              <a:effectLst/>
              <a:extLst>
                <a:ext uri="{91240B29-F687-4f45-9708-019B960494DF}">
                  <a14:hiddenLine xmlns:a14="http://schemas.microsoft.com/office/drawing/2010/main" xmlns="" w="12700" cap="flat" cmpd="sng">
                    <a:solidFill>
                      <a:srgbClr val="000000"/>
                    </a:solidFill>
                    <a:prstDash val="solid"/>
                    <a:miter lim="0"/>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lIns="19050" tIns="19050" rIns="19050" bIns="19050" anchor="ctr"/>
              <a:lstStyle/>
              <a:p>
                <a:pPr marL="0" marR="0" lvl="0" indent="0" algn="ctr" defTabSz="228600" rtl="0" eaLnBrk="1" fontAlgn="base" latinLnBrk="0" hangingPunct="0">
                  <a:lnSpc>
                    <a:spcPct val="100000"/>
                  </a:lnSpc>
                  <a:spcBef>
                    <a:spcPct val="0"/>
                  </a:spcBef>
                  <a:spcAft>
                    <a:spcPct val="0"/>
                  </a:spcAft>
                  <a:buClrTx/>
                  <a:buSzTx/>
                  <a:buFontTx/>
                  <a:buNone/>
                  <a:tabLst/>
                  <a:defRPr/>
                </a:pPr>
                <a:endParaRPr kumimoji="0" lang="en-US" sz="1500" b="0" i="0" u="none" strike="noStrike" kern="1200" cap="none" spc="0" normalizeH="0" baseline="0" noProof="0" dirty="0">
                  <a:ln>
                    <a:noFill/>
                  </a:ln>
                  <a:solidFill>
                    <a:srgbClr val="FFFFFF"/>
                  </a:solidFill>
                  <a:effectLst>
                    <a:outerShdw blurRad="38100" dist="38100" dir="2700000" algn="tl">
                      <a:srgbClr val="000000"/>
                    </a:outerShdw>
                  </a:effectLst>
                  <a:uLnTx/>
                  <a:uFillTx/>
                  <a:latin typeface="Gill Sans" charset="0"/>
                  <a:ea typeface="+mn-ea"/>
                  <a:cs typeface="+mn-cs"/>
                  <a:sym typeface="Gill Sans" charset="0"/>
                </a:endParaRPr>
              </a:p>
            </p:txBody>
          </p:sp>
          <p:sp>
            <p:nvSpPr>
              <p:cNvPr id="20" name="Rounded Rectangle 27">
                <a:extLst>
                  <a:ext uri="{FF2B5EF4-FFF2-40B4-BE49-F238E27FC236}">
                    <a16:creationId xmlns:a16="http://schemas.microsoft.com/office/drawing/2014/main" id="{A7E00D0C-EB3B-407C-B587-B4B1714291A7}"/>
                  </a:ext>
                </a:extLst>
              </p:cNvPr>
              <p:cNvSpPr/>
              <p:nvPr/>
            </p:nvSpPr>
            <p:spPr>
              <a:xfrm>
                <a:off x="1452211" y="3365707"/>
                <a:ext cx="3863975" cy="134396"/>
              </a:xfrm>
              <a:prstGeom prst="roundRect">
                <a:avLst>
                  <a:gd name="adj" fmla="val 5000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000000">
                      <a:lumMod val="85000"/>
                      <a:lumOff val="15000"/>
                    </a:srgbClr>
                  </a:solidFill>
                  <a:effectLst/>
                  <a:uLnTx/>
                  <a:uFillTx/>
                  <a:latin typeface="Raleway" panose="020B0503030101060003" pitchFamily="34" charset="0"/>
                  <a:ea typeface="+mn-ea"/>
                  <a:cs typeface="+mn-cs"/>
                </a:endParaRPr>
              </a:p>
            </p:txBody>
          </p:sp>
          <p:sp>
            <p:nvSpPr>
              <p:cNvPr id="21" name="Rounded Rectangle 27">
                <a:extLst>
                  <a:ext uri="{FF2B5EF4-FFF2-40B4-BE49-F238E27FC236}">
                    <a16:creationId xmlns:a16="http://schemas.microsoft.com/office/drawing/2014/main" id="{5868F276-41AD-4E51-9883-118AFA71D8F7}"/>
                  </a:ext>
                </a:extLst>
              </p:cNvPr>
              <p:cNvSpPr/>
              <p:nvPr/>
            </p:nvSpPr>
            <p:spPr>
              <a:xfrm>
                <a:off x="1432156" y="3357563"/>
                <a:ext cx="2314343" cy="142540"/>
              </a:xfrm>
              <a:prstGeom prst="roundRect">
                <a:avLst>
                  <a:gd name="adj" fmla="val 5000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000000">
                      <a:lumMod val="85000"/>
                      <a:lumOff val="15000"/>
                    </a:srgbClr>
                  </a:solidFill>
                  <a:effectLst/>
                  <a:uLnTx/>
                  <a:uFillTx/>
                  <a:latin typeface="Raleway" panose="020B0503030101060003" pitchFamily="34" charset="0"/>
                  <a:ea typeface="+mn-ea"/>
                  <a:cs typeface="+mn-cs"/>
                </a:endParaRPr>
              </a:p>
            </p:txBody>
          </p:sp>
          <p:sp>
            <p:nvSpPr>
              <p:cNvPr id="22" name="Oval 120">
                <a:extLst>
                  <a:ext uri="{FF2B5EF4-FFF2-40B4-BE49-F238E27FC236}">
                    <a16:creationId xmlns:a16="http://schemas.microsoft.com/office/drawing/2014/main" id="{14334F45-B607-4748-BAD2-8C6244564B64}"/>
                  </a:ext>
                </a:extLst>
              </p:cNvPr>
              <p:cNvSpPr/>
              <p:nvPr/>
            </p:nvSpPr>
            <p:spPr>
              <a:xfrm>
                <a:off x="3508562" y="3306763"/>
                <a:ext cx="229286" cy="229286"/>
              </a:xfrm>
              <a:prstGeom prst="ellipse">
                <a:avLst/>
              </a:prstGeom>
              <a:solidFill>
                <a:schemeClr val="accent2"/>
              </a:solidFill>
              <a:ln>
                <a:solidFill>
                  <a:schemeClr val="bg1"/>
                </a:solidFill>
              </a:ln>
              <a:effectLst>
                <a:outerShdw blurRad="203200" dist="76200" dir="1026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等线" panose="020F0502020204030204"/>
                  <a:ea typeface="+mn-ea"/>
                  <a:cs typeface="+mn-cs"/>
                </a:endParaRPr>
              </a:p>
            </p:txBody>
          </p:sp>
          <p:grpSp>
            <p:nvGrpSpPr>
              <p:cNvPr id="23" name="Group 121">
                <a:extLst>
                  <a:ext uri="{FF2B5EF4-FFF2-40B4-BE49-F238E27FC236}">
                    <a16:creationId xmlns:a16="http://schemas.microsoft.com/office/drawing/2014/main" id="{3B510A4B-5DD0-4FE3-BE4E-7EF4D5CA516D}"/>
                  </a:ext>
                </a:extLst>
              </p:cNvPr>
              <p:cNvGrpSpPr/>
              <p:nvPr/>
            </p:nvGrpSpPr>
            <p:grpSpPr>
              <a:xfrm>
                <a:off x="3507409" y="2792634"/>
                <a:ext cx="814449" cy="603029"/>
                <a:chOff x="3126409" y="2781439"/>
                <a:chExt cx="814449" cy="603029"/>
              </a:xfrm>
            </p:grpSpPr>
            <p:sp>
              <p:nvSpPr>
                <p:cNvPr id="25" name="Rectangle: Rounded Corners 123">
                  <a:extLst>
                    <a:ext uri="{FF2B5EF4-FFF2-40B4-BE49-F238E27FC236}">
                      <a16:creationId xmlns:a16="http://schemas.microsoft.com/office/drawing/2014/main" id="{B60EB06A-CAC4-4F23-928A-5B3F0B619726}"/>
                    </a:ext>
                  </a:extLst>
                </p:cNvPr>
                <p:cNvSpPr/>
                <p:nvPr/>
              </p:nvSpPr>
              <p:spPr>
                <a:xfrm>
                  <a:off x="3146086" y="2811331"/>
                  <a:ext cx="794772" cy="467821"/>
                </a:xfrm>
                <a:prstGeom prst="roundRect">
                  <a:avLst>
                    <a:gd name="adj" fmla="val 4672"/>
                  </a:avLst>
                </a:prstGeom>
                <a:solidFill>
                  <a:schemeClr val="bg1"/>
                </a:solidFill>
                <a:ln>
                  <a:noFill/>
                </a:ln>
                <a:effectLst>
                  <a:outerShdw blurRad="1270000" sx="147000" sy="147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等线" panose="020F0502020204030204"/>
                    <a:ea typeface="+mn-ea"/>
                    <a:cs typeface="+mn-cs"/>
                  </a:endParaRPr>
                </a:p>
              </p:txBody>
            </p:sp>
            <p:sp>
              <p:nvSpPr>
                <p:cNvPr id="26" name="Isosceles Triangle 124">
                  <a:extLst>
                    <a:ext uri="{FF2B5EF4-FFF2-40B4-BE49-F238E27FC236}">
                      <a16:creationId xmlns:a16="http://schemas.microsoft.com/office/drawing/2014/main" id="{8182CCC7-ACAC-451B-8CF0-5281EE6B11B7}"/>
                    </a:ext>
                  </a:extLst>
                </p:cNvPr>
                <p:cNvSpPr/>
                <p:nvPr/>
              </p:nvSpPr>
              <p:spPr>
                <a:xfrm rot="12600000">
                  <a:off x="3126409" y="3091796"/>
                  <a:ext cx="193883" cy="292672"/>
                </a:xfrm>
                <a:prstGeom prst="triangle">
                  <a:avLst>
                    <a:gd name="adj" fmla="val 0"/>
                  </a:avLst>
                </a:prstGeom>
                <a:solidFill>
                  <a:schemeClr val="bg1"/>
                </a:solidFill>
                <a:ln>
                  <a:noFill/>
                </a:ln>
                <a:effectLst>
                  <a:outerShdw blurRad="1270000" sx="88000" sy="88000" algn="ctr" rotWithShape="0">
                    <a:prstClr val="black">
                      <a:alpha val="2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等线" panose="020F0502020204030204"/>
                    <a:ea typeface="+mn-ea"/>
                    <a:cs typeface="+mn-cs"/>
                  </a:endParaRPr>
                </a:p>
              </p:txBody>
            </p:sp>
            <p:sp>
              <p:nvSpPr>
                <p:cNvPr id="27" name="TextBox 125">
                  <a:extLst>
                    <a:ext uri="{FF2B5EF4-FFF2-40B4-BE49-F238E27FC236}">
                      <a16:creationId xmlns:a16="http://schemas.microsoft.com/office/drawing/2014/main" id="{4D98C700-9F23-4369-A079-9CC185587818}"/>
                    </a:ext>
                  </a:extLst>
                </p:cNvPr>
                <p:cNvSpPr txBox="1"/>
                <p:nvPr/>
              </p:nvSpPr>
              <p:spPr>
                <a:xfrm>
                  <a:off x="3223350" y="2781439"/>
                  <a:ext cx="715234" cy="483209"/>
                </a:xfrm>
                <a:prstGeom prst="rect">
                  <a:avLst/>
                </a:prstGeom>
                <a:noFill/>
              </p:spPr>
              <p:txBody>
                <a:bodyPr wrap="square" rtlCol="0">
                  <a:spAutoFit/>
                </a:bodyPr>
                <a:lstStyle/>
                <a:p>
                  <a:pPr marL="0" marR="0" lvl="0" indent="0" algn="l" defTabSz="914400" rtl="0" eaLnBrk="1" fontAlgn="auto" latinLnBrk="0" hangingPunct="1">
                    <a:lnSpc>
                      <a:spcPct val="14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FF4C38"/>
                      </a:solidFill>
                      <a:effectLst/>
                      <a:uLnTx/>
                      <a:uFillTx/>
                      <a:latin typeface="等线" panose="020F0502020204030204"/>
                      <a:ea typeface="+mn-ea"/>
                      <a:cs typeface="+mn-cs"/>
                    </a:rPr>
                    <a:t>60%</a:t>
                  </a:r>
                </a:p>
              </p:txBody>
            </p:sp>
          </p:grpSp>
          <p:sp>
            <p:nvSpPr>
              <p:cNvPr id="24" name="TextBox 122">
                <a:extLst>
                  <a:ext uri="{FF2B5EF4-FFF2-40B4-BE49-F238E27FC236}">
                    <a16:creationId xmlns:a16="http://schemas.microsoft.com/office/drawing/2014/main" id="{D714F603-E91E-462C-A6A1-9076BD856606}"/>
                  </a:ext>
                </a:extLst>
              </p:cNvPr>
              <p:cNvSpPr txBox="1"/>
              <p:nvPr/>
            </p:nvSpPr>
            <p:spPr>
              <a:xfrm>
                <a:off x="1438962" y="2919067"/>
                <a:ext cx="1884967" cy="397413"/>
              </a:xfrm>
              <a:prstGeom prst="rect">
                <a:avLst/>
              </a:prstGeom>
              <a:noFill/>
            </p:spPr>
            <p:txBody>
              <a:bodyPr wrap="square" rtlCol="0">
                <a:spAutoFit/>
              </a:bodyPr>
              <a:lstStyle/>
              <a:p>
                <a:pPr marL="0" marR="0" lvl="0" indent="0" algn="l" defTabSz="914400" rtl="0" eaLnBrk="1" fontAlgn="auto" latinLnBrk="0" hangingPunct="1">
                  <a:lnSpc>
                    <a:spcPct val="14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lumMod val="65000"/>
                        <a:lumOff val="35000"/>
                      </a:srgbClr>
                    </a:solidFill>
                    <a:effectLst/>
                    <a:uLnTx/>
                    <a:uFillTx/>
                    <a:latin typeface="Calibri" panose="020F0502020204030204" pitchFamily="34" charset="0"/>
                    <a:ea typeface="+mn-ea"/>
                    <a:cs typeface="Calibri" panose="020F0502020204030204" pitchFamily="34" charset="0"/>
                  </a:rPr>
                  <a:t>Lorem ipsum dolor</a:t>
                </a:r>
              </a:p>
            </p:txBody>
          </p:sp>
        </p:grpSp>
        <p:grpSp>
          <p:nvGrpSpPr>
            <p:cNvPr id="7" name="Group 96">
              <a:extLst>
                <a:ext uri="{FF2B5EF4-FFF2-40B4-BE49-F238E27FC236}">
                  <a16:creationId xmlns:a16="http://schemas.microsoft.com/office/drawing/2014/main" id="{66FEE605-27A4-45ED-8DF7-5589FD2F0C58}"/>
                </a:ext>
              </a:extLst>
            </p:cNvPr>
            <p:cNvGrpSpPr/>
            <p:nvPr/>
          </p:nvGrpSpPr>
          <p:grpSpPr>
            <a:xfrm>
              <a:off x="564404" y="3977760"/>
              <a:ext cx="4528998" cy="765886"/>
              <a:chOff x="1400861" y="3761063"/>
              <a:chExt cx="4546108" cy="765886"/>
            </a:xfrm>
          </p:grpSpPr>
          <p:sp>
            <p:nvSpPr>
              <p:cNvPr id="8" name="AutoShape 113">
                <a:extLst>
                  <a:ext uri="{FF2B5EF4-FFF2-40B4-BE49-F238E27FC236}">
                    <a16:creationId xmlns:a16="http://schemas.microsoft.com/office/drawing/2014/main" id="{61395575-3D67-4BDF-BCBA-1C18D7CE2D44}"/>
                  </a:ext>
                </a:extLst>
              </p:cNvPr>
              <p:cNvSpPr>
                <a:spLocks/>
              </p:cNvSpPr>
              <p:nvPr/>
            </p:nvSpPr>
            <p:spPr bwMode="auto">
              <a:xfrm>
                <a:off x="5052002" y="4074148"/>
                <a:ext cx="173177" cy="252442"/>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5386" y="14175"/>
                    </a:moveTo>
                    <a:lnTo>
                      <a:pt x="6223" y="14175"/>
                    </a:lnTo>
                    <a:cubicBezTo>
                      <a:pt x="5734" y="13446"/>
                      <a:pt x="5147" y="12716"/>
                      <a:pt x="4568" y="12003"/>
                    </a:cubicBezTo>
                    <a:cubicBezTo>
                      <a:pt x="3287" y="10427"/>
                      <a:pt x="1963" y="8797"/>
                      <a:pt x="1963" y="7425"/>
                    </a:cubicBezTo>
                    <a:cubicBezTo>
                      <a:pt x="1963" y="4075"/>
                      <a:pt x="5927" y="1350"/>
                      <a:pt x="10800" y="1350"/>
                    </a:cubicBezTo>
                    <a:cubicBezTo>
                      <a:pt x="15672" y="1350"/>
                      <a:pt x="19636" y="4075"/>
                      <a:pt x="19636" y="7425"/>
                    </a:cubicBezTo>
                    <a:cubicBezTo>
                      <a:pt x="19636" y="8787"/>
                      <a:pt x="18312" y="10425"/>
                      <a:pt x="17029" y="12011"/>
                    </a:cubicBezTo>
                    <a:cubicBezTo>
                      <a:pt x="16455" y="12723"/>
                      <a:pt x="15873" y="13449"/>
                      <a:pt x="15386" y="14175"/>
                    </a:cubicBezTo>
                    <a:moveTo>
                      <a:pt x="10800" y="20249"/>
                    </a:moveTo>
                    <a:cubicBezTo>
                      <a:pt x="9805" y="20249"/>
                      <a:pt x="9347" y="20171"/>
                      <a:pt x="8839" y="19406"/>
                    </a:cubicBezTo>
                    <a:lnTo>
                      <a:pt x="13000" y="19048"/>
                    </a:lnTo>
                    <a:cubicBezTo>
                      <a:pt x="12398" y="20164"/>
                      <a:pt x="11959" y="20249"/>
                      <a:pt x="10800" y="20249"/>
                    </a:cubicBezTo>
                    <a:moveTo>
                      <a:pt x="7595" y="16813"/>
                    </a:moveTo>
                    <a:cubicBezTo>
                      <a:pt x="7417" y="16407"/>
                      <a:pt x="7215" y="15978"/>
                      <a:pt x="6991" y="15525"/>
                    </a:cubicBezTo>
                    <a:lnTo>
                      <a:pt x="14616" y="15525"/>
                    </a:lnTo>
                    <a:cubicBezTo>
                      <a:pt x="14496" y="15767"/>
                      <a:pt x="14375" y="16010"/>
                      <a:pt x="14270" y="16239"/>
                    </a:cubicBezTo>
                    <a:cubicBezTo>
                      <a:pt x="14270" y="16239"/>
                      <a:pt x="7595" y="16813"/>
                      <a:pt x="7595" y="16813"/>
                    </a:cubicBezTo>
                    <a:close/>
                    <a:moveTo>
                      <a:pt x="13345" y="18343"/>
                    </a:moveTo>
                    <a:lnTo>
                      <a:pt x="8476" y="18762"/>
                    </a:lnTo>
                    <a:cubicBezTo>
                      <a:pt x="8303" y="18416"/>
                      <a:pt x="8116" y="18011"/>
                      <a:pt x="7890" y="17483"/>
                    </a:cubicBezTo>
                    <a:cubicBezTo>
                      <a:pt x="7887" y="17477"/>
                      <a:pt x="7883" y="17469"/>
                      <a:pt x="7881" y="17462"/>
                    </a:cubicBezTo>
                    <a:lnTo>
                      <a:pt x="13957" y="16941"/>
                    </a:lnTo>
                    <a:cubicBezTo>
                      <a:pt x="13871" y="17140"/>
                      <a:pt x="13778" y="17350"/>
                      <a:pt x="13698" y="17537"/>
                    </a:cubicBezTo>
                    <a:cubicBezTo>
                      <a:pt x="13569" y="17841"/>
                      <a:pt x="13453" y="18104"/>
                      <a:pt x="13345" y="18343"/>
                    </a:cubicBezTo>
                    <a:moveTo>
                      <a:pt x="10800" y="0"/>
                    </a:moveTo>
                    <a:cubicBezTo>
                      <a:pt x="4835" y="0"/>
                      <a:pt x="0" y="3324"/>
                      <a:pt x="0" y="7425"/>
                    </a:cubicBezTo>
                    <a:cubicBezTo>
                      <a:pt x="0" y="10146"/>
                      <a:pt x="3621" y="13029"/>
                      <a:pt x="4939" y="15562"/>
                    </a:cubicBezTo>
                    <a:cubicBezTo>
                      <a:pt x="6906" y="19339"/>
                      <a:pt x="6688" y="21599"/>
                      <a:pt x="10800" y="21599"/>
                    </a:cubicBezTo>
                    <a:cubicBezTo>
                      <a:pt x="14972" y="21599"/>
                      <a:pt x="14692" y="19349"/>
                      <a:pt x="16660" y="15577"/>
                    </a:cubicBezTo>
                    <a:cubicBezTo>
                      <a:pt x="17983" y="13039"/>
                      <a:pt x="21600" y="10124"/>
                      <a:pt x="21600" y="7425"/>
                    </a:cubicBezTo>
                    <a:cubicBezTo>
                      <a:pt x="21600" y="3324"/>
                      <a:pt x="16764" y="0"/>
                      <a:pt x="10800" y="0"/>
                    </a:cubicBezTo>
                  </a:path>
                </a:pathLst>
              </a:custGeom>
              <a:solidFill>
                <a:schemeClr val="bg1"/>
              </a:solidFill>
              <a:ln>
                <a:noFill/>
              </a:ln>
              <a:effectLst/>
              <a:extLst>
                <a:ext uri="{91240B29-F687-4f45-9708-019B960494DF}">
                  <a14:hiddenLine xmlns:a14="http://schemas.microsoft.com/office/drawing/2010/main" xmlns="" w="12700" cap="flat" cmpd="sng">
                    <a:solidFill>
                      <a:srgbClr val="000000"/>
                    </a:solidFill>
                    <a:prstDash val="solid"/>
                    <a:miter lim="0"/>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lIns="19050" tIns="19050" rIns="19050" bIns="19050" anchor="ctr"/>
              <a:lstStyle/>
              <a:p>
                <a:pPr marL="0" marR="0" lvl="0" indent="0" algn="ctr" defTabSz="228600" rtl="0" eaLnBrk="1" fontAlgn="base" latinLnBrk="0" hangingPunct="0">
                  <a:lnSpc>
                    <a:spcPct val="100000"/>
                  </a:lnSpc>
                  <a:spcBef>
                    <a:spcPct val="0"/>
                  </a:spcBef>
                  <a:spcAft>
                    <a:spcPct val="0"/>
                  </a:spcAft>
                  <a:buClrTx/>
                  <a:buSzTx/>
                  <a:buFontTx/>
                  <a:buNone/>
                  <a:tabLst/>
                  <a:defRPr/>
                </a:pPr>
                <a:endParaRPr kumimoji="0" lang="en-US" sz="1500" b="0" i="0" u="none" strike="noStrike" kern="1200" cap="none" spc="0" normalizeH="0" baseline="0" noProof="0" dirty="0">
                  <a:ln>
                    <a:noFill/>
                  </a:ln>
                  <a:solidFill>
                    <a:srgbClr val="FFFFFF"/>
                  </a:solidFill>
                  <a:effectLst>
                    <a:outerShdw blurRad="38100" dist="38100" dir="2700000" algn="tl">
                      <a:srgbClr val="000000"/>
                    </a:outerShdw>
                  </a:effectLst>
                  <a:uLnTx/>
                  <a:uFillTx/>
                  <a:latin typeface="Gill Sans" charset="0"/>
                  <a:ea typeface="+mn-ea"/>
                  <a:cs typeface="+mn-cs"/>
                  <a:sym typeface="Gill Sans" charset="0"/>
                </a:endParaRPr>
              </a:p>
            </p:txBody>
          </p:sp>
          <p:sp>
            <p:nvSpPr>
              <p:cNvPr id="9" name="AutoShape 114">
                <a:extLst>
                  <a:ext uri="{FF2B5EF4-FFF2-40B4-BE49-F238E27FC236}">
                    <a16:creationId xmlns:a16="http://schemas.microsoft.com/office/drawing/2014/main" id="{8C6D1098-AAD6-4A10-9243-198301737DE7}"/>
                  </a:ext>
                </a:extLst>
              </p:cNvPr>
              <p:cNvSpPr>
                <a:spLocks/>
              </p:cNvSpPr>
              <p:nvPr/>
            </p:nvSpPr>
            <p:spPr bwMode="auto">
              <a:xfrm>
                <a:off x="5091204" y="4113780"/>
                <a:ext cx="51264" cy="51264"/>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9938" y="0"/>
                    </a:moveTo>
                    <a:cubicBezTo>
                      <a:pt x="8943" y="0"/>
                      <a:pt x="0" y="8942"/>
                      <a:pt x="0" y="19938"/>
                    </a:cubicBezTo>
                    <a:cubicBezTo>
                      <a:pt x="0" y="20855"/>
                      <a:pt x="743" y="21600"/>
                      <a:pt x="1661" y="21600"/>
                    </a:cubicBezTo>
                    <a:cubicBezTo>
                      <a:pt x="2579" y="21600"/>
                      <a:pt x="3323" y="20855"/>
                      <a:pt x="3323" y="19938"/>
                    </a:cubicBezTo>
                    <a:cubicBezTo>
                      <a:pt x="3323" y="10777"/>
                      <a:pt x="10777" y="3323"/>
                      <a:pt x="19938" y="3323"/>
                    </a:cubicBezTo>
                    <a:cubicBezTo>
                      <a:pt x="20856" y="3323"/>
                      <a:pt x="21600" y="2578"/>
                      <a:pt x="21600" y="1661"/>
                    </a:cubicBezTo>
                    <a:cubicBezTo>
                      <a:pt x="21600" y="744"/>
                      <a:pt x="20856" y="0"/>
                      <a:pt x="19938" y="0"/>
                    </a:cubicBezTo>
                  </a:path>
                </a:pathLst>
              </a:custGeom>
              <a:solidFill>
                <a:schemeClr val="bg1"/>
              </a:solidFill>
              <a:ln>
                <a:noFill/>
              </a:ln>
              <a:effectLst/>
              <a:extLst>
                <a:ext uri="{91240B29-F687-4f45-9708-019B960494DF}">
                  <a14:hiddenLine xmlns:a14="http://schemas.microsoft.com/office/drawing/2010/main" xmlns="" w="12700" cap="flat" cmpd="sng">
                    <a:solidFill>
                      <a:srgbClr val="000000"/>
                    </a:solidFill>
                    <a:prstDash val="solid"/>
                    <a:miter lim="0"/>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lIns="19050" tIns="19050" rIns="19050" bIns="19050" anchor="ctr"/>
              <a:lstStyle/>
              <a:p>
                <a:pPr marL="0" marR="0" lvl="0" indent="0" algn="ctr" defTabSz="228600" rtl="0" eaLnBrk="1" fontAlgn="base" latinLnBrk="0" hangingPunct="0">
                  <a:lnSpc>
                    <a:spcPct val="100000"/>
                  </a:lnSpc>
                  <a:spcBef>
                    <a:spcPct val="0"/>
                  </a:spcBef>
                  <a:spcAft>
                    <a:spcPct val="0"/>
                  </a:spcAft>
                  <a:buClrTx/>
                  <a:buSzTx/>
                  <a:buFontTx/>
                  <a:buNone/>
                  <a:tabLst/>
                  <a:defRPr/>
                </a:pPr>
                <a:endParaRPr kumimoji="0" lang="en-US" sz="1500" b="0" i="0" u="none" strike="noStrike" kern="1200" cap="none" spc="0" normalizeH="0" baseline="0" noProof="0" dirty="0">
                  <a:ln>
                    <a:noFill/>
                  </a:ln>
                  <a:solidFill>
                    <a:srgbClr val="FFFFFF"/>
                  </a:solidFill>
                  <a:effectLst>
                    <a:outerShdw blurRad="38100" dist="38100" dir="2700000" algn="tl">
                      <a:srgbClr val="000000"/>
                    </a:outerShdw>
                  </a:effectLst>
                  <a:uLnTx/>
                  <a:uFillTx/>
                  <a:latin typeface="Gill Sans" charset="0"/>
                  <a:ea typeface="+mn-ea"/>
                  <a:cs typeface="+mn-cs"/>
                  <a:sym typeface="Gill Sans" charset="0"/>
                </a:endParaRPr>
              </a:p>
            </p:txBody>
          </p:sp>
          <p:sp>
            <p:nvSpPr>
              <p:cNvPr id="10" name="Rounded Rectangle 27">
                <a:extLst>
                  <a:ext uri="{FF2B5EF4-FFF2-40B4-BE49-F238E27FC236}">
                    <a16:creationId xmlns:a16="http://schemas.microsoft.com/office/drawing/2014/main" id="{C2CFDFB7-21C0-4AE5-ACD2-4AA7EAFE2AEA}"/>
                  </a:ext>
                </a:extLst>
              </p:cNvPr>
              <p:cNvSpPr/>
              <p:nvPr/>
            </p:nvSpPr>
            <p:spPr>
              <a:xfrm>
                <a:off x="1452211" y="4361243"/>
                <a:ext cx="3863975" cy="134396"/>
              </a:xfrm>
              <a:prstGeom prst="roundRect">
                <a:avLst>
                  <a:gd name="adj" fmla="val 5000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000000">
                      <a:lumMod val="85000"/>
                      <a:lumOff val="15000"/>
                    </a:srgbClr>
                  </a:solidFill>
                  <a:effectLst/>
                  <a:uLnTx/>
                  <a:uFillTx/>
                  <a:latin typeface="Raleway" panose="020B0503030101060003" pitchFamily="34" charset="0"/>
                  <a:ea typeface="+mn-ea"/>
                  <a:cs typeface="+mn-cs"/>
                </a:endParaRPr>
              </a:p>
            </p:txBody>
          </p:sp>
          <p:sp>
            <p:nvSpPr>
              <p:cNvPr id="11" name="Rounded Rectangle 27">
                <a:extLst>
                  <a:ext uri="{FF2B5EF4-FFF2-40B4-BE49-F238E27FC236}">
                    <a16:creationId xmlns:a16="http://schemas.microsoft.com/office/drawing/2014/main" id="{F3FA1F0E-0E3B-4F56-A74D-172A609508CE}"/>
                  </a:ext>
                </a:extLst>
              </p:cNvPr>
              <p:cNvSpPr/>
              <p:nvPr/>
            </p:nvSpPr>
            <p:spPr>
              <a:xfrm>
                <a:off x="1433969" y="4343401"/>
                <a:ext cx="3853119" cy="165100"/>
              </a:xfrm>
              <a:prstGeom prst="roundRect">
                <a:avLst>
                  <a:gd name="adj" fmla="val 5000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000000">
                      <a:lumMod val="85000"/>
                      <a:lumOff val="15000"/>
                    </a:srgbClr>
                  </a:solidFill>
                  <a:effectLst/>
                  <a:uLnTx/>
                  <a:uFillTx/>
                  <a:latin typeface="Raleway" panose="020B0503030101060003" pitchFamily="34" charset="0"/>
                  <a:ea typeface="+mn-ea"/>
                  <a:cs typeface="+mn-cs"/>
                </a:endParaRPr>
              </a:p>
            </p:txBody>
          </p:sp>
          <p:sp>
            <p:nvSpPr>
              <p:cNvPr id="12" name="Oval 110">
                <a:extLst>
                  <a:ext uri="{FF2B5EF4-FFF2-40B4-BE49-F238E27FC236}">
                    <a16:creationId xmlns:a16="http://schemas.microsoft.com/office/drawing/2014/main" id="{8CE03D4B-4D24-4A33-98F3-7C24E59A082A}"/>
                  </a:ext>
                </a:extLst>
              </p:cNvPr>
              <p:cNvSpPr/>
              <p:nvPr/>
            </p:nvSpPr>
            <p:spPr>
              <a:xfrm>
                <a:off x="5105582" y="4297663"/>
                <a:ext cx="229286" cy="229286"/>
              </a:xfrm>
              <a:prstGeom prst="ellipse">
                <a:avLst/>
              </a:prstGeom>
              <a:solidFill>
                <a:schemeClr val="accent3"/>
              </a:solidFill>
              <a:ln>
                <a:solidFill>
                  <a:schemeClr val="bg1"/>
                </a:solidFill>
              </a:ln>
              <a:effectLst>
                <a:outerShdw blurRad="203200" dist="76200" dir="1026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等线" panose="020F0502020204030204"/>
                  <a:ea typeface="+mn-ea"/>
                  <a:cs typeface="+mn-cs"/>
                </a:endParaRPr>
              </a:p>
            </p:txBody>
          </p:sp>
          <p:grpSp>
            <p:nvGrpSpPr>
              <p:cNvPr id="13" name="Group 111">
                <a:extLst>
                  <a:ext uri="{FF2B5EF4-FFF2-40B4-BE49-F238E27FC236}">
                    <a16:creationId xmlns:a16="http://schemas.microsoft.com/office/drawing/2014/main" id="{1B39ABF5-99CF-4753-BD0E-ACECA23DF301}"/>
                  </a:ext>
                </a:extLst>
              </p:cNvPr>
              <p:cNvGrpSpPr/>
              <p:nvPr/>
            </p:nvGrpSpPr>
            <p:grpSpPr>
              <a:xfrm>
                <a:off x="5069697" y="3761063"/>
                <a:ext cx="877272" cy="612359"/>
                <a:chOff x="4021300" y="3757694"/>
                <a:chExt cx="877272" cy="612359"/>
              </a:xfrm>
            </p:grpSpPr>
            <p:sp>
              <p:nvSpPr>
                <p:cNvPr id="15" name="Rectangle: Rounded Corners 113">
                  <a:extLst>
                    <a:ext uri="{FF2B5EF4-FFF2-40B4-BE49-F238E27FC236}">
                      <a16:creationId xmlns:a16="http://schemas.microsoft.com/office/drawing/2014/main" id="{46F5A878-9310-4B68-A23E-1E50FF134E76}"/>
                    </a:ext>
                  </a:extLst>
                </p:cNvPr>
                <p:cNvSpPr/>
                <p:nvPr/>
              </p:nvSpPr>
              <p:spPr>
                <a:xfrm>
                  <a:off x="4040977" y="3796916"/>
                  <a:ext cx="794772" cy="467821"/>
                </a:xfrm>
                <a:prstGeom prst="roundRect">
                  <a:avLst>
                    <a:gd name="adj" fmla="val 4672"/>
                  </a:avLst>
                </a:prstGeom>
                <a:solidFill>
                  <a:schemeClr val="bg1"/>
                </a:solidFill>
                <a:ln>
                  <a:noFill/>
                </a:ln>
                <a:effectLst>
                  <a:outerShdw blurRad="1270000" sx="147000" sy="147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等线" panose="020F0502020204030204"/>
                    <a:ea typeface="+mn-ea"/>
                    <a:cs typeface="+mn-cs"/>
                  </a:endParaRPr>
                </a:p>
              </p:txBody>
            </p:sp>
            <p:sp>
              <p:nvSpPr>
                <p:cNvPr id="16" name="Isosceles Triangle 114">
                  <a:extLst>
                    <a:ext uri="{FF2B5EF4-FFF2-40B4-BE49-F238E27FC236}">
                      <a16:creationId xmlns:a16="http://schemas.microsoft.com/office/drawing/2014/main" id="{0A801C2D-8F9E-400A-89D2-28CD7B95D8DB}"/>
                    </a:ext>
                  </a:extLst>
                </p:cNvPr>
                <p:cNvSpPr/>
                <p:nvPr/>
              </p:nvSpPr>
              <p:spPr>
                <a:xfrm rot="12600000">
                  <a:off x="4021300" y="4077381"/>
                  <a:ext cx="193883" cy="292672"/>
                </a:xfrm>
                <a:prstGeom prst="triangle">
                  <a:avLst>
                    <a:gd name="adj" fmla="val 0"/>
                  </a:avLst>
                </a:prstGeom>
                <a:solidFill>
                  <a:schemeClr val="bg1"/>
                </a:solidFill>
                <a:ln>
                  <a:noFill/>
                </a:ln>
                <a:effectLst>
                  <a:outerShdw blurRad="1270000" sx="88000" sy="88000" algn="ctr" rotWithShape="0">
                    <a:prstClr val="black">
                      <a:alpha val="2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等线" panose="020F0502020204030204"/>
                    <a:ea typeface="+mn-ea"/>
                    <a:cs typeface="+mn-cs"/>
                  </a:endParaRPr>
                </a:p>
              </p:txBody>
            </p:sp>
            <p:sp>
              <p:nvSpPr>
                <p:cNvPr id="17" name="TextBox 115">
                  <a:extLst>
                    <a:ext uri="{FF2B5EF4-FFF2-40B4-BE49-F238E27FC236}">
                      <a16:creationId xmlns:a16="http://schemas.microsoft.com/office/drawing/2014/main" id="{D6130529-4FA0-401D-A743-1FD42EFC3340}"/>
                    </a:ext>
                  </a:extLst>
                </p:cNvPr>
                <p:cNvSpPr txBox="1"/>
                <p:nvPr/>
              </p:nvSpPr>
              <p:spPr>
                <a:xfrm>
                  <a:off x="4071588" y="3757694"/>
                  <a:ext cx="826984" cy="483209"/>
                </a:xfrm>
                <a:prstGeom prst="rect">
                  <a:avLst/>
                </a:prstGeom>
                <a:noFill/>
              </p:spPr>
              <p:txBody>
                <a:bodyPr wrap="square" rtlCol="0">
                  <a:spAutoFit/>
                </a:bodyPr>
                <a:lstStyle/>
                <a:p>
                  <a:pPr marL="0" marR="0" lvl="0" indent="0" algn="l" defTabSz="914400" rtl="0" eaLnBrk="1" fontAlgn="auto" latinLnBrk="0" hangingPunct="1">
                    <a:lnSpc>
                      <a:spcPct val="14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FF388A"/>
                      </a:solidFill>
                      <a:effectLst/>
                      <a:uLnTx/>
                      <a:uFillTx/>
                      <a:latin typeface="等线" panose="020F0502020204030204"/>
                      <a:ea typeface="+mn-ea"/>
                      <a:cs typeface="+mn-cs"/>
                    </a:rPr>
                    <a:t>100%</a:t>
                  </a:r>
                </a:p>
              </p:txBody>
            </p:sp>
          </p:grpSp>
          <p:sp>
            <p:nvSpPr>
              <p:cNvPr id="14" name="TextBox 112">
                <a:extLst>
                  <a:ext uri="{FF2B5EF4-FFF2-40B4-BE49-F238E27FC236}">
                    <a16:creationId xmlns:a16="http://schemas.microsoft.com/office/drawing/2014/main" id="{B45FD63F-958A-41A5-85EE-7490534ADA8E}"/>
                  </a:ext>
                </a:extLst>
              </p:cNvPr>
              <p:cNvSpPr txBox="1"/>
              <p:nvPr/>
            </p:nvSpPr>
            <p:spPr>
              <a:xfrm>
                <a:off x="1400861" y="3904331"/>
                <a:ext cx="1818359" cy="397413"/>
              </a:xfrm>
              <a:prstGeom prst="rect">
                <a:avLst/>
              </a:prstGeom>
              <a:noFill/>
            </p:spPr>
            <p:txBody>
              <a:bodyPr wrap="square" rtlCol="0">
                <a:spAutoFit/>
              </a:bodyPr>
              <a:lstStyle/>
              <a:p>
                <a:pPr marL="0" marR="0" lvl="0" indent="0" algn="l" defTabSz="914400" rtl="0" eaLnBrk="1" fontAlgn="auto" latinLnBrk="0" hangingPunct="1">
                  <a:lnSpc>
                    <a:spcPct val="14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lumMod val="65000"/>
                        <a:lumOff val="35000"/>
                      </a:srgbClr>
                    </a:solidFill>
                    <a:effectLst/>
                    <a:uLnTx/>
                    <a:uFillTx/>
                    <a:latin typeface="Calibri" panose="020F0502020204030204" pitchFamily="34" charset="0"/>
                    <a:ea typeface="+mn-ea"/>
                    <a:cs typeface="Calibri" panose="020F0502020204030204" pitchFamily="34" charset="0"/>
                  </a:rPr>
                  <a:t>Lorem ipsum dolor</a:t>
                </a:r>
              </a:p>
            </p:txBody>
          </p:sp>
        </p:grpSp>
      </p:grpSp>
      <p:grpSp>
        <p:nvGrpSpPr>
          <p:cNvPr id="37" name="Group 142">
            <a:extLst>
              <a:ext uri="{FF2B5EF4-FFF2-40B4-BE49-F238E27FC236}">
                <a16:creationId xmlns:a16="http://schemas.microsoft.com/office/drawing/2014/main" id="{B066FE45-43D9-4698-94E3-1707B009AA26}"/>
              </a:ext>
            </a:extLst>
          </p:cNvPr>
          <p:cNvGrpSpPr/>
          <p:nvPr/>
        </p:nvGrpSpPr>
        <p:grpSpPr>
          <a:xfrm>
            <a:off x="4506515" y="1356583"/>
            <a:ext cx="2386343" cy="1270797"/>
            <a:chOff x="8437398" y="1567570"/>
            <a:chExt cx="2386343" cy="1270797"/>
          </a:xfrm>
        </p:grpSpPr>
        <p:sp>
          <p:nvSpPr>
            <p:cNvPr id="38" name="TextBox 143">
              <a:extLst>
                <a:ext uri="{FF2B5EF4-FFF2-40B4-BE49-F238E27FC236}">
                  <a16:creationId xmlns:a16="http://schemas.microsoft.com/office/drawing/2014/main" id="{429B8FFE-3324-489B-8103-FD45700953D8}"/>
                </a:ext>
              </a:extLst>
            </p:cNvPr>
            <p:cNvSpPr txBox="1"/>
            <p:nvPr/>
          </p:nvSpPr>
          <p:spPr>
            <a:xfrm rot="20700000" flipH="1">
              <a:off x="8437398" y="1701005"/>
              <a:ext cx="671242" cy="702308"/>
            </a:xfrm>
            <a:prstGeom prst="rect">
              <a:avLst/>
            </a:prstGeom>
            <a:noFill/>
          </p:spPr>
          <p:txBody>
            <a:bodyPr wrap="square" rtlCol="0">
              <a:spAutoFit/>
            </a:bodyPr>
            <a:lstStyle/>
            <a:p>
              <a:pPr marL="0" marR="0" lvl="0" indent="0" algn="ctr" defTabSz="914400" rtl="0" eaLnBrk="1" fontAlgn="auto" latinLnBrk="0" hangingPunct="1">
                <a:lnSpc>
                  <a:spcPct val="140000"/>
                </a:lnSpc>
                <a:spcBef>
                  <a:spcPts val="0"/>
                </a:spcBef>
                <a:spcAft>
                  <a:spcPts val="0"/>
                </a:spcAft>
                <a:buClrTx/>
                <a:buSzTx/>
                <a:buFontTx/>
                <a:buNone/>
                <a:tabLst/>
                <a:defRPr/>
              </a:pPr>
              <a:r>
                <a:rPr kumimoji="0" lang="en-US" sz="3200" b="1" i="0" u="none" strike="noStrike" kern="1200" cap="none" spc="-150" normalizeH="0" baseline="0" noProof="0" dirty="0">
                  <a:ln>
                    <a:noFill/>
                  </a:ln>
                  <a:solidFill>
                    <a:srgbClr val="FF4C38"/>
                  </a:solidFill>
                  <a:effectLst/>
                  <a:uLnTx/>
                  <a:uFillTx/>
                  <a:latin typeface="Segoe UI" panose="020B0502040204020203" pitchFamily="34" charset="0"/>
                  <a:ea typeface="+mn-ea"/>
                  <a:cs typeface="Segoe UI" panose="020B0502040204020203" pitchFamily="34" charset="0"/>
                </a:rPr>
                <a:t>01</a:t>
              </a:r>
            </a:p>
          </p:txBody>
        </p:sp>
        <p:sp>
          <p:nvSpPr>
            <p:cNvPr id="39" name="TextBox 144">
              <a:extLst>
                <a:ext uri="{FF2B5EF4-FFF2-40B4-BE49-F238E27FC236}">
                  <a16:creationId xmlns:a16="http://schemas.microsoft.com/office/drawing/2014/main" id="{F465ABC2-D9C9-43E5-885A-783216CC2FB2}"/>
                </a:ext>
              </a:extLst>
            </p:cNvPr>
            <p:cNvSpPr txBox="1"/>
            <p:nvPr/>
          </p:nvSpPr>
          <p:spPr>
            <a:xfrm>
              <a:off x="9468165" y="1567570"/>
              <a:ext cx="1355576" cy="1270797"/>
            </a:xfrm>
            <a:prstGeom prst="rect">
              <a:avLst/>
            </a:prstGeom>
            <a:noFill/>
          </p:spPr>
          <p:txBody>
            <a:bodyPr wrap="square" rtlCol="0">
              <a:spAutoFit/>
            </a:bodyPr>
            <a:lstStyle/>
            <a:p>
              <a:pPr marL="0" marR="0" lvl="0" indent="0" algn="l" defTabSz="914400" rtl="0" eaLnBrk="1" fontAlgn="auto" latinLnBrk="0" hangingPunct="1">
                <a:lnSpc>
                  <a:spcPct val="14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lumMod val="65000"/>
                      <a:lumOff val="35000"/>
                    </a:srgbClr>
                  </a:solidFill>
                  <a:effectLst/>
                  <a:uLnTx/>
                  <a:uFillTx/>
                  <a:latin typeface="等线 Light" panose="020F0302020204030204"/>
                  <a:ea typeface="+mn-ea"/>
                  <a:cs typeface="+mn-cs"/>
                </a:rPr>
                <a:t>Lorem ipsum dolor sit </a:t>
              </a:r>
              <a:r>
                <a:rPr kumimoji="0" lang="en-US" sz="1400" b="0" i="0" u="none" strike="noStrike" kern="1200" cap="none" spc="0" normalizeH="0" baseline="0" noProof="0" dirty="0" err="1">
                  <a:ln>
                    <a:noFill/>
                  </a:ln>
                  <a:solidFill>
                    <a:srgbClr val="000000">
                      <a:lumMod val="65000"/>
                      <a:lumOff val="35000"/>
                    </a:srgbClr>
                  </a:solidFill>
                  <a:effectLst/>
                  <a:uLnTx/>
                  <a:uFillTx/>
                  <a:latin typeface="等线 Light" panose="020F0302020204030204"/>
                  <a:ea typeface="+mn-ea"/>
                  <a:cs typeface="+mn-cs"/>
                </a:rPr>
                <a:t>amet</a:t>
              </a:r>
              <a:r>
                <a:rPr kumimoji="0" lang="en-US" sz="1400" b="0" i="0" u="none" strike="noStrike" kern="1200" cap="none" spc="0" normalizeH="0" baseline="0" noProof="0" dirty="0">
                  <a:ln>
                    <a:noFill/>
                  </a:ln>
                  <a:solidFill>
                    <a:srgbClr val="000000">
                      <a:lumMod val="65000"/>
                      <a:lumOff val="35000"/>
                    </a:srgbClr>
                  </a:solidFill>
                  <a:effectLst/>
                  <a:uLnTx/>
                  <a:uFillTx/>
                  <a:latin typeface="等线 Light" panose="020F0302020204030204"/>
                  <a:ea typeface="+mn-ea"/>
                  <a:cs typeface="+mn-cs"/>
                </a:rPr>
                <a:t>, </a:t>
              </a:r>
              <a:r>
                <a:rPr kumimoji="0" lang="en-US" sz="1400" b="0" i="0" u="none" strike="noStrike" kern="1200" cap="none" spc="0" normalizeH="0" baseline="0" noProof="0" dirty="0" err="1">
                  <a:ln>
                    <a:noFill/>
                  </a:ln>
                  <a:solidFill>
                    <a:srgbClr val="000000">
                      <a:lumMod val="65000"/>
                      <a:lumOff val="35000"/>
                    </a:srgbClr>
                  </a:solidFill>
                  <a:effectLst/>
                  <a:uLnTx/>
                  <a:uFillTx/>
                  <a:latin typeface="等线 Light" panose="020F0302020204030204"/>
                  <a:ea typeface="+mn-ea"/>
                  <a:cs typeface="+mn-cs"/>
                </a:rPr>
                <a:t>consectetur</a:t>
              </a:r>
              <a:r>
                <a:rPr kumimoji="0" lang="en-US" sz="1400" b="0" i="0" u="none" strike="noStrike" kern="1200" cap="none" spc="0" normalizeH="0" baseline="0" noProof="0" dirty="0">
                  <a:ln>
                    <a:noFill/>
                  </a:ln>
                  <a:solidFill>
                    <a:srgbClr val="000000">
                      <a:lumMod val="65000"/>
                      <a:lumOff val="35000"/>
                    </a:srgbClr>
                  </a:solidFill>
                  <a:effectLst/>
                  <a:uLnTx/>
                  <a:uFillTx/>
                  <a:latin typeface="等线 Light" panose="020F0302020204030204"/>
                  <a:ea typeface="+mn-ea"/>
                  <a:cs typeface="+mn-cs"/>
                </a:rPr>
                <a:t> </a:t>
              </a:r>
              <a:r>
                <a:rPr kumimoji="0" lang="en-US" sz="1400" b="0" i="0" u="none" strike="noStrike" kern="1200" cap="none" spc="0" normalizeH="0" baseline="0" noProof="0" dirty="0" err="1">
                  <a:ln>
                    <a:noFill/>
                  </a:ln>
                  <a:solidFill>
                    <a:srgbClr val="000000">
                      <a:lumMod val="65000"/>
                      <a:lumOff val="35000"/>
                    </a:srgbClr>
                  </a:solidFill>
                  <a:effectLst/>
                  <a:uLnTx/>
                  <a:uFillTx/>
                  <a:latin typeface="等线 Light" panose="020F0302020204030204"/>
                  <a:ea typeface="+mn-ea"/>
                  <a:cs typeface="+mn-cs"/>
                </a:rPr>
                <a:t>adipiscing</a:t>
              </a:r>
              <a:r>
                <a:rPr kumimoji="0" lang="en-US" sz="1400" b="0" i="0" u="none" strike="noStrike" kern="1200" cap="none" spc="0" normalizeH="0" baseline="0" noProof="0" dirty="0">
                  <a:ln>
                    <a:noFill/>
                  </a:ln>
                  <a:solidFill>
                    <a:srgbClr val="000000">
                      <a:lumMod val="65000"/>
                      <a:lumOff val="35000"/>
                    </a:srgbClr>
                  </a:solidFill>
                  <a:effectLst/>
                  <a:uLnTx/>
                  <a:uFillTx/>
                  <a:latin typeface="等线 Light" panose="020F0302020204030204"/>
                  <a:ea typeface="+mn-ea"/>
                  <a:cs typeface="+mn-cs"/>
                </a:rPr>
                <a:t> </a:t>
              </a:r>
              <a:r>
                <a:rPr kumimoji="0" lang="en-US" sz="1400" b="0" i="0" u="none" strike="noStrike" kern="1200" cap="none" spc="0" normalizeH="0" baseline="0" noProof="0" dirty="0" err="1">
                  <a:ln>
                    <a:noFill/>
                  </a:ln>
                  <a:solidFill>
                    <a:srgbClr val="000000">
                      <a:lumMod val="65000"/>
                      <a:lumOff val="35000"/>
                    </a:srgbClr>
                  </a:solidFill>
                  <a:effectLst/>
                  <a:uLnTx/>
                  <a:uFillTx/>
                  <a:latin typeface="等线 Light" panose="020F0302020204030204"/>
                  <a:ea typeface="+mn-ea"/>
                  <a:cs typeface="+mn-cs"/>
                </a:rPr>
                <a:t>elit</a:t>
              </a:r>
              <a:r>
                <a:rPr kumimoji="0" lang="en-US" sz="1400" b="0" i="0" u="none" strike="noStrike" kern="1200" cap="none" spc="0" normalizeH="0" baseline="0" noProof="0" dirty="0">
                  <a:ln>
                    <a:noFill/>
                  </a:ln>
                  <a:solidFill>
                    <a:srgbClr val="000000">
                      <a:lumMod val="65000"/>
                      <a:lumOff val="35000"/>
                    </a:srgbClr>
                  </a:solidFill>
                  <a:effectLst/>
                  <a:uLnTx/>
                  <a:uFillTx/>
                  <a:latin typeface="等线 Light" panose="020F0302020204030204"/>
                  <a:ea typeface="+mn-ea"/>
                  <a:cs typeface="+mn-cs"/>
                </a:rPr>
                <a:t>, </a:t>
              </a:r>
            </a:p>
          </p:txBody>
        </p:sp>
        <p:cxnSp>
          <p:nvCxnSpPr>
            <p:cNvPr id="40" name="Straight Connector 145">
              <a:extLst>
                <a:ext uri="{FF2B5EF4-FFF2-40B4-BE49-F238E27FC236}">
                  <a16:creationId xmlns:a16="http://schemas.microsoft.com/office/drawing/2014/main" id="{085EAEC4-88E5-43A9-8929-6A53DCAF4D4C}"/>
                </a:ext>
              </a:extLst>
            </p:cNvPr>
            <p:cNvCxnSpPr>
              <a:cxnSpLocks/>
            </p:cNvCxnSpPr>
            <p:nvPr/>
          </p:nvCxnSpPr>
          <p:spPr>
            <a:xfrm>
              <a:off x="9222040" y="1656532"/>
              <a:ext cx="0" cy="877111"/>
            </a:xfrm>
            <a:prstGeom prst="line">
              <a:avLst/>
            </a:prstGeom>
            <a:ln>
              <a:solidFill>
                <a:schemeClr val="bg1">
                  <a:lumMod val="50000"/>
                  <a:alpha val="50000"/>
                </a:schemeClr>
              </a:solidFill>
            </a:ln>
          </p:spPr>
          <p:style>
            <a:lnRef idx="1">
              <a:schemeClr val="accent1"/>
            </a:lnRef>
            <a:fillRef idx="0">
              <a:schemeClr val="accent1"/>
            </a:fillRef>
            <a:effectRef idx="0">
              <a:schemeClr val="accent1"/>
            </a:effectRef>
            <a:fontRef idx="minor">
              <a:schemeClr val="tx1"/>
            </a:fontRef>
          </p:style>
        </p:cxnSp>
        <p:sp>
          <p:nvSpPr>
            <p:cNvPr id="41" name="Rectangle: Rounded Corners 146">
              <a:extLst>
                <a:ext uri="{FF2B5EF4-FFF2-40B4-BE49-F238E27FC236}">
                  <a16:creationId xmlns:a16="http://schemas.microsoft.com/office/drawing/2014/main" id="{6D852C3A-1039-4C09-807B-3447941D5FD1}"/>
                </a:ext>
              </a:extLst>
            </p:cNvPr>
            <p:cNvSpPr/>
            <p:nvPr/>
          </p:nvSpPr>
          <p:spPr>
            <a:xfrm>
              <a:off x="9199181" y="1842290"/>
              <a:ext cx="45719" cy="505595"/>
            </a:xfrm>
            <a:prstGeom prst="roundRect">
              <a:avLst>
                <a:gd name="adj" fmla="val 5000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等线" panose="020F0502020204030204"/>
                <a:ea typeface="+mn-ea"/>
                <a:cs typeface="+mn-cs"/>
              </a:endParaRPr>
            </a:p>
          </p:txBody>
        </p:sp>
      </p:grpSp>
      <p:grpSp>
        <p:nvGrpSpPr>
          <p:cNvPr id="42" name="Group 147">
            <a:extLst>
              <a:ext uri="{FF2B5EF4-FFF2-40B4-BE49-F238E27FC236}">
                <a16:creationId xmlns:a16="http://schemas.microsoft.com/office/drawing/2014/main" id="{DBF49DDE-DF7D-43C3-B219-5A8C643A0FA0}"/>
              </a:ext>
            </a:extLst>
          </p:cNvPr>
          <p:cNvGrpSpPr/>
          <p:nvPr/>
        </p:nvGrpSpPr>
        <p:grpSpPr>
          <a:xfrm>
            <a:off x="8741107" y="3766992"/>
            <a:ext cx="2731177" cy="969176"/>
            <a:chOff x="8437398" y="1567570"/>
            <a:chExt cx="2731177" cy="969176"/>
          </a:xfrm>
        </p:grpSpPr>
        <p:sp>
          <p:nvSpPr>
            <p:cNvPr id="43" name="TextBox 148">
              <a:extLst>
                <a:ext uri="{FF2B5EF4-FFF2-40B4-BE49-F238E27FC236}">
                  <a16:creationId xmlns:a16="http://schemas.microsoft.com/office/drawing/2014/main" id="{3339782C-3293-4198-A2FE-05AA78E393AC}"/>
                </a:ext>
              </a:extLst>
            </p:cNvPr>
            <p:cNvSpPr txBox="1"/>
            <p:nvPr/>
          </p:nvSpPr>
          <p:spPr>
            <a:xfrm rot="20700000" flipH="1">
              <a:off x="8437398" y="1701005"/>
              <a:ext cx="671242" cy="702308"/>
            </a:xfrm>
            <a:prstGeom prst="rect">
              <a:avLst/>
            </a:prstGeom>
            <a:noFill/>
          </p:spPr>
          <p:txBody>
            <a:bodyPr wrap="square" rtlCol="0">
              <a:spAutoFit/>
            </a:bodyPr>
            <a:lstStyle/>
            <a:p>
              <a:pPr marL="0" marR="0" lvl="0" indent="0" algn="ctr" defTabSz="914400" rtl="0" eaLnBrk="1" fontAlgn="auto" latinLnBrk="0" hangingPunct="1">
                <a:lnSpc>
                  <a:spcPct val="140000"/>
                </a:lnSpc>
                <a:spcBef>
                  <a:spcPts val="0"/>
                </a:spcBef>
                <a:spcAft>
                  <a:spcPts val="0"/>
                </a:spcAft>
                <a:buClrTx/>
                <a:buSzTx/>
                <a:buFontTx/>
                <a:buNone/>
                <a:tabLst/>
                <a:defRPr/>
              </a:pPr>
              <a:r>
                <a:rPr kumimoji="0" lang="en-US" sz="3200" b="1" i="0" u="none" strike="noStrike" kern="1200" cap="none" spc="-150" normalizeH="0" baseline="0" noProof="0" dirty="0">
                  <a:ln>
                    <a:noFill/>
                  </a:ln>
                  <a:solidFill>
                    <a:srgbClr val="FFD229"/>
                  </a:solidFill>
                  <a:effectLst/>
                  <a:uLnTx/>
                  <a:uFillTx/>
                  <a:latin typeface="Segoe UI" panose="020B0502040204020203" pitchFamily="34" charset="0"/>
                  <a:ea typeface="+mn-ea"/>
                  <a:cs typeface="Segoe UI" panose="020B0502040204020203" pitchFamily="34" charset="0"/>
                </a:rPr>
                <a:t>03</a:t>
              </a:r>
            </a:p>
          </p:txBody>
        </p:sp>
        <p:sp>
          <p:nvSpPr>
            <p:cNvPr id="44" name="TextBox 149">
              <a:extLst>
                <a:ext uri="{FF2B5EF4-FFF2-40B4-BE49-F238E27FC236}">
                  <a16:creationId xmlns:a16="http://schemas.microsoft.com/office/drawing/2014/main" id="{9AEC39E8-1E8B-4ACB-8AD7-F1C4D2D6A0A7}"/>
                </a:ext>
              </a:extLst>
            </p:cNvPr>
            <p:cNvSpPr txBox="1"/>
            <p:nvPr/>
          </p:nvSpPr>
          <p:spPr>
            <a:xfrm>
              <a:off x="9468165" y="1567570"/>
              <a:ext cx="1700410" cy="969176"/>
            </a:xfrm>
            <a:prstGeom prst="rect">
              <a:avLst/>
            </a:prstGeom>
            <a:noFill/>
          </p:spPr>
          <p:txBody>
            <a:bodyPr wrap="square" rtlCol="0">
              <a:spAutoFit/>
            </a:bodyPr>
            <a:lstStyle/>
            <a:p>
              <a:pPr marL="0" marR="0" lvl="0" indent="0" algn="l" defTabSz="914400" rtl="0" eaLnBrk="1" fontAlgn="auto" latinLnBrk="0" hangingPunct="1">
                <a:lnSpc>
                  <a:spcPct val="14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lumMod val="65000"/>
                      <a:lumOff val="35000"/>
                    </a:srgbClr>
                  </a:solidFill>
                  <a:effectLst/>
                  <a:uLnTx/>
                  <a:uFillTx/>
                  <a:latin typeface="等线 Light" panose="020F0302020204030204"/>
                  <a:ea typeface="+mn-ea"/>
                  <a:cs typeface="+mn-cs"/>
                </a:rPr>
                <a:t>Lorem ipsum dolor sit </a:t>
              </a:r>
              <a:r>
                <a:rPr kumimoji="0" lang="en-US" sz="1400" b="0" i="0" u="none" strike="noStrike" kern="1200" cap="none" spc="0" normalizeH="0" baseline="0" noProof="0" dirty="0" err="1">
                  <a:ln>
                    <a:noFill/>
                  </a:ln>
                  <a:solidFill>
                    <a:srgbClr val="000000">
                      <a:lumMod val="65000"/>
                      <a:lumOff val="35000"/>
                    </a:srgbClr>
                  </a:solidFill>
                  <a:effectLst/>
                  <a:uLnTx/>
                  <a:uFillTx/>
                  <a:latin typeface="等线 Light" panose="020F0302020204030204"/>
                  <a:ea typeface="+mn-ea"/>
                  <a:cs typeface="+mn-cs"/>
                </a:rPr>
                <a:t>amet</a:t>
              </a:r>
              <a:r>
                <a:rPr kumimoji="0" lang="en-US" sz="1400" b="0" i="0" u="none" strike="noStrike" kern="1200" cap="none" spc="0" normalizeH="0" baseline="0" noProof="0" dirty="0">
                  <a:ln>
                    <a:noFill/>
                  </a:ln>
                  <a:solidFill>
                    <a:srgbClr val="000000">
                      <a:lumMod val="65000"/>
                      <a:lumOff val="35000"/>
                    </a:srgbClr>
                  </a:solidFill>
                  <a:effectLst/>
                  <a:uLnTx/>
                  <a:uFillTx/>
                  <a:latin typeface="等线 Light" panose="020F0302020204030204"/>
                  <a:ea typeface="+mn-ea"/>
                  <a:cs typeface="+mn-cs"/>
                </a:rPr>
                <a:t>, </a:t>
              </a:r>
              <a:r>
                <a:rPr kumimoji="0" lang="en-US" sz="1400" b="0" i="0" u="none" strike="noStrike" kern="1200" cap="none" spc="0" normalizeH="0" baseline="0" noProof="0" dirty="0" err="1">
                  <a:ln>
                    <a:noFill/>
                  </a:ln>
                  <a:solidFill>
                    <a:srgbClr val="000000">
                      <a:lumMod val="65000"/>
                      <a:lumOff val="35000"/>
                    </a:srgbClr>
                  </a:solidFill>
                  <a:effectLst/>
                  <a:uLnTx/>
                  <a:uFillTx/>
                  <a:latin typeface="等线 Light" panose="020F0302020204030204"/>
                  <a:ea typeface="+mn-ea"/>
                  <a:cs typeface="+mn-cs"/>
                </a:rPr>
                <a:t>consectetur</a:t>
              </a:r>
              <a:r>
                <a:rPr kumimoji="0" lang="en-US" sz="1400" b="0" i="0" u="none" strike="noStrike" kern="1200" cap="none" spc="0" normalizeH="0" baseline="0" noProof="0" dirty="0">
                  <a:ln>
                    <a:noFill/>
                  </a:ln>
                  <a:solidFill>
                    <a:srgbClr val="000000">
                      <a:lumMod val="65000"/>
                      <a:lumOff val="35000"/>
                    </a:srgbClr>
                  </a:solidFill>
                  <a:effectLst/>
                  <a:uLnTx/>
                  <a:uFillTx/>
                  <a:latin typeface="等线 Light" panose="020F0302020204030204"/>
                  <a:ea typeface="+mn-ea"/>
                  <a:cs typeface="+mn-cs"/>
                </a:rPr>
                <a:t> </a:t>
              </a:r>
              <a:r>
                <a:rPr kumimoji="0" lang="en-US" sz="1400" b="0" i="0" u="none" strike="noStrike" kern="1200" cap="none" spc="0" normalizeH="0" baseline="0" noProof="0" dirty="0" err="1">
                  <a:ln>
                    <a:noFill/>
                  </a:ln>
                  <a:solidFill>
                    <a:srgbClr val="000000">
                      <a:lumMod val="65000"/>
                      <a:lumOff val="35000"/>
                    </a:srgbClr>
                  </a:solidFill>
                  <a:effectLst/>
                  <a:uLnTx/>
                  <a:uFillTx/>
                  <a:latin typeface="等线 Light" panose="020F0302020204030204"/>
                  <a:ea typeface="+mn-ea"/>
                  <a:cs typeface="+mn-cs"/>
                </a:rPr>
                <a:t>adipiscing</a:t>
              </a:r>
              <a:r>
                <a:rPr kumimoji="0" lang="en-US" sz="1400" b="0" i="0" u="none" strike="noStrike" kern="1200" cap="none" spc="0" normalizeH="0" baseline="0" noProof="0" dirty="0">
                  <a:ln>
                    <a:noFill/>
                  </a:ln>
                  <a:solidFill>
                    <a:srgbClr val="000000">
                      <a:lumMod val="65000"/>
                      <a:lumOff val="35000"/>
                    </a:srgbClr>
                  </a:solidFill>
                  <a:effectLst/>
                  <a:uLnTx/>
                  <a:uFillTx/>
                  <a:latin typeface="等线 Light" panose="020F0302020204030204"/>
                  <a:ea typeface="+mn-ea"/>
                  <a:cs typeface="+mn-cs"/>
                </a:rPr>
                <a:t> </a:t>
              </a:r>
              <a:r>
                <a:rPr kumimoji="0" lang="en-US" sz="1400" b="0" i="0" u="none" strike="noStrike" kern="1200" cap="none" spc="0" normalizeH="0" baseline="0" noProof="0" dirty="0" err="1">
                  <a:ln>
                    <a:noFill/>
                  </a:ln>
                  <a:solidFill>
                    <a:srgbClr val="000000">
                      <a:lumMod val="65000"/>
                      <a:lumOff val="35000"/>
                    </a:srgbClr>
                  </a:solidFill>
                  <a:effectLst/>
                  <a:uLnTx/>
                  <a:uFillTx/>
                  <a:latin typeface="等线 Light" panose="020F0302020204030204"/>
                  <a:ea typeface="+mn-ea"/>
                  <a:cs typeface="+mn-cs"/>
                </a:rPr>
                <a:t>elit</a:t>
              </a:r>
              <a:r>
                <a:rPr kumimoji="0" lang="en-US" sz="1400" b="0" i="0" u="none" strike="noStrike" kern="1200" cap="none" spc="0" normalizeH="0" baseline="0" noProof="0" dirty="0">
                  <a:ln>
                    <a:noFill/>
                  </a:ln>
                  <a:solidFill>
                    <a:srgbClr val="000000">
                      <a:lumMod val="65000"/>
                      <a:lumOff val="35000"/>
                    </a:srgbClr>
                  </a:solidFill>
                  <a:effectLst/>
                  <a:uLnTx/>
                  <a:uFillTx/>
                  <a:latin typeface="等线 Light" panose="020F0302020204030204"/>
                  <a:ea typeface="+mn-ea"/>
                  <a:cs typeface="+mn-cs"/>
                </a:rPr>
                <a:t>, </a:t>
              </a:r>
            </a:p>
          </p:txBody>
        </p:sp>
        <p:cxnSp>
          <p:nvCxnSpPr>
            <p:cNvPr id="45" name="Straight Connector 150">
              <a:extLst>
                <a:ext uri="{FF2B5EF4-FFF2-40B4-BE49-F238E27FC236}">
                  <a16:creationId xmlns:a16="http://schemas.microsoft.com/office/drawing/2014/main" id="{F2B16E0E-C3B5-479D-8C3A-D48AFF4AE2D5}"/>
                </a:ext>
              </a:extLst>
            </p:cNvPr>
            <p:cNvCxnSpPr>
              <a:cxnSpLocks/>
            </p:cNvCxnSpPr>
            <p:nvPr/>
          </p:nvCxnSpPr>
          <p:spPr>
            <a:xfrm>
              <a:off x="9222040" y="1656532"/>
              <a:ext cx="0" cy="877111"/>
            </a:xfrm>
            <a:prstGeom prst="line">
              <a:avLst/>
            </a:prstGeom>
            <a:ln>
              <a:solidFill>
                <a:schemeClr val="bg1">
                  <a:lumMod val="50000"/>
                  <a:alpha val="50000"/>
                </a:schemeClr>
              </a:solidFill>
            </a:ln>
          </p:spPr>
          <p:style>
            <a:lnRef idx="1">
              <a:schemeClr val="accent1"/>
            </a:lnRef>
            <a:fillRef idx="0">
              <a:schemeClr val="accent1"/>
            </a:fillRef>
            <a:effectRef idx="0">
              <a:schemeClr val="accent1"/>
            </a:effectRef>
            <a:fontRef idx="minor">
              <a:schemeClr val="tx1"/>
            </a:fontRef>
          </p:style>
        </p:cxnSp>
        <p:sp>
          <p:nvSpPr>
            <p:cNvPr id="46" name="Rectangle: Rounded Corners 151">
              <a:extLst>
                <a:ext uri="{FF2B5EF4-FFF2-40B4-BE49-F238E27FC236}">
                  <a16:creationId xmlns:a16="http://schemas.microsoft.com/office/drawing/2014/main" id="{717778D8-B9B8-4637-9BF7-D2D2F51FC611}"/>
                </a:ext>
              </a:extLst>
            </p:cNvPr>
            <p:cNvSpPr/>
            <p:nvPr/>
          </p:nvSpPr>
          <p:spPr>
            <a:xfrm>
              <a:off x="9199181" y="1842290"/>
              <a:ext cx="45719" cy="505595"/>
            </a:xfrm>
            <a:prstGeom prst="roundRect">
              <a:avLst>
                <a:gd name="adj" fmla="val 5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等线" panose="020F0502020204030204"/>
                <a:ea typeface="+mn-ea"/>
                <a:cs typeface="+mn-cs"/>
              </a:endParaRPr>
            </a:p>
          </p:txBody>
        </p:sp>
      </p:grpSp>
      <p:grpSp>
        <p:nvGrpSpPr>
          <p:cNvPr id="47" name="Group 152">
            <a:extLst>
              <a:ext uri="{FF2B5EF4-FFF2-40B4-BE49-F238E27FC236}">
                <a16:creationId xmlns:a16="http://schemas.microsoft.com/office/drawing/2014/main" id="{6FEC1A97-1C5D-4691-840E-21BDDD146B3A}"/>
              </a:ext>
            </a:extLst>
          </p:cNvPr>
          <p:cNvGrpSpPr/>
          <p:nvPr/>
        </p:nvGrpSpPr>
        <p:grpSpPr>
          <a:xfrm>
            <a:off x="7711139" y="1065998"/>
            <a:ext cx="2731177" cy="969176"/>
            <a:chOff x="8437398" y="1567570"/>
            <a:chExt cx="2731177" cy="969176"/>
          </a:xfrm>
        </p:grpSpPr>
        <p:sp>
          <p:nvSpPr>
            <p:cNvPr id="48" name="TextBox 153">
              <a:extLst>
                <a:ext uri="{FF2B5EF4-FFF2-40B4-BE49-F238E27FC236}">
                  <a16:creationId xmlns:a16="http://schemas.microsoft.com/office/drawing/2014/main" id="{4EBF2EF3-844A-4B37-A5AE-D60ECE1D6B1D}"/>
                </a:ext>
              </a:extLst>
            </p:cNvPr>
            <p:cNvSpPr txBox="1"/>
            <p:nvPr/>
          </p:nvSpPr>
          <p:spPr>
            <a:xfrm rot="20700000" flipH="1">
              <a:off x="8437398" y="1701005"/>
              <a:ext cx="671242" cy="702308"/>
            </a:xfrm>
            <a:prstGeom prst="rect">
              <a:avLst/>
            </a:prstGeom>
            <a:noFill/>
          </p:spPr>
          <p:txBody>
            <a:bodyPr wrap="square" rtlCol="0">
              <a:spAutoFit/>
            </a:bodyPr>
            <a:lstStyle/>
            <a:p>
              <a:pPr marL="0" marR="0" lvl="0" indent="0" algn="ctr" defTabSz="914400" rtl="0" eaLnBrk="1" fontAlgn="auto" latinLnBrk="0" hangingPunct="1">
                <a:lnSpc>
                  <a:spcPct val="140000"/>
                </a:lnSpc>
                <a:spcBef>
                  <a:spcPts val="0"/>
                </a:spcBef>
                <a:spcAft>
                  <a:spcPts val="0"/>
                </a:spcAft>
                <a:buClrTx/>
                <a:buSzTx/>
                <a:buFontTx/>
                <a:buNone/>
                <a:tabLst/>
                <a:defRPr/>
              </a:pPr>
              <a:r>
                <a:rPr kumimoji="0" lang="en-US" sz="3200" b="1" i="0" u="none" strike="noStrike" kern="1200" cap="none" spc="-150" normalizeH="0" baseline="0" noProof="0" dirty="0">
                  <a:ln>
                    <a:noFill/>
                  </a:ln>
                  <a:solidFill>
                    <a:srgbClr val="FF388A"/>
                  </a:solidFill>
                  <a:effectLst/>
                  <a:uLnTx/>
                  <a:uFillTx/>
                  <a:latin typeface="Segoe UI" panose="020B0502040204020203" pitchFamily="34" charset="0"/>
                  <a:ea typeface="+mn-ea"/>
                  <a:cs typeface="Segoe UI" panose="020B0502040204020203" pitchFamily="34" charset="0"/>
                </a:rPr>
                <a:t>02</a:t>
              </a:r>
            </a:p>
          </p:txBody>
        </p:sp>
        <p:sp>
          <p:nvSpPr>
            <p:cNvPr id="49" name="TextBox 154">
              <a:extLst>
                <a:ext uri="{FF2B5EF4-FFF2-40B4-BE49-F238E27FC236}">
                  <a16:creationId xmlns:a16="http://schemas.microsoft.com/office/drawing/2014/main" id="{B68F848F-F8F7-4B87-8FBE-8A66BD1A42C5}"/>
                </a:ext>
              </a:extLst>
            </p:cNvPr>
            <p:cNvSpPr txBox="1"/>
            <p:nvPr/>
          </p:nvSpPr>
          <p:spPr>
            <a:xfrm>
              <a:off x="9468165" y="1567570"/>
              <a:ext cx="1700410" cy="969176"/>
            </a:xfrm>
            <a:prstGeom prst="rect">
              <a:avLst/>
            </a:prstGeom>
            <a:noFill/>
          </p:spPr>
          <p:txBody>
            <a:bodyPr wrap="square" rtlCol="0">
              <a:spAutoFit/>
            </a:bodyPr>
            <a:lstStyle/>
            <a:p>
              <a:pPr marL="0" marR="0" lvl="0" indent="0" algn="l" defTabSz="914400" rtl="0" eaLnBrk="1" fontAlgn="auto" latinLnBrk="0" hangingPunct="1">
                <a:lnSpc>
                  <a:spcPct val="14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lumMod val="65000"/>
                      <a:lumOff val="35000"/>
                    </a:srgbClr>
                  </a:solidFill>
                  <a:effectLst/>
                  <a:uLnTx/>
                  <a:uFillTx/>
                  <a:latin typeface="等线 Light" panose="020F0302020204030204"/>
                  <a:ea typeface="+mn-ea"/>
                  <a:cs typeface="+mn-cs"/>
                </a:rPr>
                <a:t>Lorem ipsum dolor sit </a:t>
              </a:r>
              <a:r>
                <a:rPr kumimoji="0" lang="en-US" sz="1400" b="0" i="0" u="none" strike="noStrike" kern="1200" cap="none" spc="0" normalizeH="0" baseline="0" noProof="0" dirty="0" err="1">
                  <a:ln>
                    <a:noFill/>
                  </a:ln>
                  <a:solidFill>
                    <a:srgbClr val="000000">
                      <a:lumMod val="65000"/>
                      <a:lumOff val="35000"/>
                    </a:srgbClr>
                  </a:solidFill>
                  <a:effectLst/>
                  <a:uLnTx/>
                  <a:uFillTx/>
                  <a:latin typeface="等线 Light" panose="020F0302020204030204"/>
                  <a:ea typeface="+mn-ea"/>
                  <a:cs typeface="+mn-cs"/>
                </a:rPr>
                <a:t>amet</a:t>
              </a:r>
              <a:r>
                <a:rPr kumimoji="0" lang="en-US" sz="1400" b="0" i="0" u="none" strike="noStrike" kern="1200" cap="none" spc="0" normalizeH="0" baseline="0" noProof="0" dirty="0">
                  <a:ln>
                    <a:noFill/>
                  </a:ln>
                  <a:solidFill>
                    <a:srgbClr val="000000">
                      <a:lumMod val="65000"/>
                      <a:lumOff val="35000"/>
                    </a:srgbClr>
                  </a:solidFill>
                  <a:effectLst/>
                  <a:uLnTx/>
                  <a:uFillTx/>
                  <a:latin typeface="等线 Light" panose="020F0302020204030204"/>
                  <a:ea typeface="+mn-ea"/>
                  <a:cs typeface="+mn-cs"/>
                </a:rPr>
                <a:t>, </a:t>
              </a:r>
              <a:r>
                <a:rPr kumimoji="0" lang="en-US" sz="1400" b="0" i="0" u="none" strike="noStrike" kern="1200" cap="none" spc="0" normalizeH="0" baseline="0" noProof="0" dirty="0" err="1">
                  <a:ln>
                    <a:noFill/>
                  </a:ln>
                  <a:solidFill>
                    <a:srgbClr val="000000">
                      <a:lumMod val="65000"/>
                      <a:lumOff val="35000"/>
                    </a:srgbClr>
                  </a:solidFill>
                  <a:effectLst/>
                  <a:uLnTx/>
                  <a:uFillTx/>
                  <a:latin typeface="等线 Light" panose="020F0302020204030204"/>
                  <a:ea typeface="+mn-ea"/>
                  <a:cs typeface="+mn-cs"/>
                </a:rPr>
                <a:t>consectetur</a:t>
              </a:r>
              <a:r>
                <a:rPr kumimoji="0" lang="en-US" sz="1400" b="0" i="0" u="none" strike="noStrike" kern="1200" cap="none" spc="0" normalizeH="0" baseline="0" noProof="0" dirty="0">
                  <a:ln>
                    <a:noFill/>
                  </a:ln>
                  <a:solidFill>
                    <a:srgbClr val="000000">
                      <a:lumMod val="65000"/>
                      <a:lumOff val="35000"/>
                    </a:srgbClr>
                  </a:solidFill>
                  <a:effectLst/>
                  <a:uLnTx/>
                  <a:uFillTx/>
                  <a:latin typeface="等线 Light" panose="020F0302020204030204"/>
                  <a:ea typeface="+mn-ea"/>
                  <a:cs typeface="+mn-cs"/>
                </a:rPr>
                <a:t> </a:t>
              </a:r>
              <a:r>
                <a:rPr kumimoji="0" lang="en-US" sz="1400" b="0" i="0" u="none" strike="noStrike" kern="1200" cap="none" spc="0" normalizeH="0" baseline="0" noProof="0" dirty="0" err="1">
                  <a:ln>
                    <a:noFill/>
                  </a:ln>
                  <a:solidFill>
                    <a:srgbClr val="000000">
                      <a:lumMod val="65000"/>
                      <a:lumOff val="35000"/>
                    </a:srgbClr>
                  </a:solidFill>
                  <a:effectLst/>
                  <a:uLnTx/>
                  <a:uFillTx/>
                  <a:latin typeface="等线 Light" panose="020F0302020204030204"/>
                  <a:ea typeface="+mn-ea"/>
                  <a:cs typeface="+mn-cs"/>
                </a:rPr>
                <a:t>adipiscing</a:t>
              </a:r>
              <a:r>
                <a:rPr kumimoji="0" lang="en-US" sz="1400" b="0" i="0" u="none" strike="noStrike" kern="1200" cap="none" spc="0" normalizeH="0" baseline="0" noProof="0" dirty="0">
                  <a:ln>
                    <a:noFill/>
                  </a:ln>
                  <a:solidFill>
                    <a:srgbClr val="000000">
                      <a:lumMod val="65000"/>
                      <a:lumOff val="35000"/>
                    </a:srgbClr>
                  </a:solidFill>
                  <a:effectLst/>
                  <a:uLnTx/>
                  <a:uFillTx/>
                  <a:latin typeface="等线 Light" panose="020F0302020204030204"/>
                  <a:ea typeface="+mn-ea"/>
                  <a:cs typeface="+mn-cs"/>
                </a:rPr>
                <a:t> </a:t>
              </a:r>
              <a:r>
                <a:rPr kumimoji="0" lang="en-US" sz="1400" b="0" i="0" u="none" strike="noStrike" kern="1200" cap="none" spc="0" normalizeH="0" baseline="0" noProof="0" dirty="0" err="1">
                  <a:ln>
                    <a:noFill/>
                  </a:ln>
                  <a:solidFill>
                    <a:srgbClr val="000000">
                      <a:lumMod val="65000"/>
                      <a:lumOff val="35000"/>
                    </a:srgbClr>
                  </a:solidFill>
                  <a:effectLst/>
                  <a:uLnTx/>
                  <a:uFillTx/>
                  <a:latin typeface="等线 Light" panose="020F0302020204030204"/>
                  <a:ea typeface="+mn-ea"/>
                  <a:cs typeface="+mn-cs"/>
                </a:rPr>
                <a:t>elit</a:t>
              </a:r>
              <a:r>
                <a:rPr kumimoji="0" lang="en-US" sz="1400" b="0" i="0" u="none" strike="noStrike" kern="1200" cap="none" spc="0" normalizeH="0" baseline="0" noProof="0" dirty="0">
                  <a:ln>
                    <a:noFill/>
                  </a:ln>
                  <a:solidFill>
                    <a:srgbClr val="000000">
                      <a:lumMod val="65000"/>
                      <a:lumOff val="35000"/>
                    </a:srgbClr>
                  </a:solidFill>
                  <a:effectLst/>
                  <a:uLnTx/>
                  <a:uFillTx/>
                  <a:latin typeface="等线 Light" panose="020F0302020204030204"/>
                  <a:ea typeface="+mn-ea"/>
                  <a:cs typeface="+mn-cs"/>
                </a:rPr>
                <a:t>, </a:t>
              </a:r>
            </a:p>
          </p:txBody>
        </p:sp>
        <p:cxnSp>
          <p:nvCxnSpPr>
            <p:cNvPr id="50" name="Straight Connector 155">
              <a:extLst>
                <a:ext uri="{FF2B5EF4-FFF2-40B4-BE49-F238E27FC236}">
                  <a16:creationId xmlns:a16="http://schemas.microsoft.com/office/drawing/2014/main" id="{E305C50E-8334-452C-BB55-6884E9B2E0D6}"/>
                </a:ext>
              </a:extLst>
            </p:cNvPr>
            <p:cNvCxnSpPr>
              <a:cxnSpLocks/>
            </p:cNvCxnSpPr>
            <p:nvPr/>
          </p:nvCxnSpPr>
          <p:spPr>
            <a:xfrm>
              <a:off x="9222040" y="1656532"/>
              <a:ext cx="0" cy="877111"/>
            </a:xfrm>
            <a:prstGeom prst="line">
              <a:avLst/>
            </a:prstGeom>
            <a:ln>
              <a:solidFill>
                <a:schemeClr val="bg1">
                  <a:lumMod val="50000"/>
                  <a:alpha val="50000"/>
                </a:schemeClr>
              </a:solidFill>
            </a:ln>
          </p:spPr>
          <p:style>
            <a:lnRef idx="1">
              <a:schemeClr val="accent1"/>
            </a:lnRef>
            <a:fillRef idx="0">
              <a:schemeClr val="accent1"/>
            </a:fillRef>
            <a:effectRef idx="0">
              <a:schemeClr val="accent1"/>
            </a:effectRef>
            <a:fontRef idx="minor">
              <a:schemeClr val="tx1"/>
            </a:fontRef>
          </p:style>
        </p:cxnSp>
        <p:sp>
          <p:nvSpPr>
            <p:cNvPr id="51" name="Rectangle: Rounded Corners 156">
              <a:extLst>
                <a:ext uri="{FF2B5EF4-FFF2-40B4-BE49-F238E27FC236}">
                  <a16:creationId xmlns:a16="http://schemas.microsoft.com/office/drawing/2014/main" id="{79559CF1-D992-4293-9028-071D6BF67CE4}"/>
                </a:ext>
              </a:extLst>
            </p:cNvPr>
            <p:cNvSpPr/>
            <p:nvPr/>
          </p:nvSpPr>
          <p:spPr>
            <a:xfrm>
              <a:off x="9199181" y="1842290"/>
              <a:ext cx="45719" cy="505595"/>
            </a:xfrm>
            <a:prstGeom prst="roundRect">
              <a:avLst>
                <a:gd name="adj" fmla="val 5000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等线" panose="020F0502020204030204"/>
                <a:ea typeface="+mn-ea"/>
                <a:cs typeface="+mn-cs"/>
              </a:endParaRPr>
            </a:p>
          </p:txBody>
        </p:sp>
      </p:grpSp>
    </p:spTree>
    <p:extLst>
      <p:ext uri="{BB962C8B-B14F-4D97-AF65-F5344CB8AC3E}">
        <p14:creationId xmlns:p14="http://schemas.microsoft.com/office/powerpoint/2010/main" val="1366636173"/>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a:extLst>
              <a:ext uri="{FF2B5EF4-FFF2-40B4-BE49-F238E27FC236}">
                <a16:creationId xmlns:a16="http://schemas.microsoft.com/office/drawing/2014/main" id="{53FBD903-39EF-4D60-B27D-25E57A52D85A}"/>
              </a:ext>
            </a:extLst>
          </p:cNvPr>
          <p:cNvSpPr/>
          <p:nvPr/>
        </p:nvSpPr>
        <p:spPr>
          <a:xfrm>
            <a:off x="-1" y="2247900"/>
            <a:ext cx="5753101" cy="2362200"/>
          </a:xfrm>
          <a:prstGeom prst="rect">
            <a:avLst/>
          </a:prstGeom>
          <a:solidFill>
            <a:schemeClr val="accent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p>
        </p:txBody>
      </p:sp>
      <p:sp>
        <p:nvSpPr>
          <p:cNvPr id="3" name="文本框 2">
            <a:extLst>
              <a:ext uri="{FF2B5EF4-FFF2-40B4-BE49-F238E27FC236}">
                <a16:creationId xmlns:a16="http://schemas.microsoft.com/office/drawing/2014/main" id="{56A670B2-CA81-4818-A1D8-31BF030A05AB}"/>
              </a:ext>
            </a:extLst>
          </p:cNvPr>
          <p:cNvSpPr txBox="1"/>
          <p:nvPr/>
        </p:nvSpPr>
        <p:spPr>
          <a:xfrm>
            <a:off x="1401787" y="2544142"/>
            <a:ext cx="2949525" cy="1769715"/>
          </a:xfrm>
          <a:prstGeom prst="rect">
            <a:avLst/>
          </a:prstGeom>
          <a:noFill/>
        </p:spPr>
        <p:txBody>
          <a:bodyPr wrap="none" lIns="0" tIns="0" rIns="0" bIns="0" rtlCol="0" anchor="t">
            <a:spAutoFit/>
          </a:bodyPr>
          <a:lstStyle/>
          <a:p>
            <a:pPr algn="l"/>
            <a:r>
              <a:rPr lang="zh-CN" altLang="en-US" sz="11500" dirty="0">
                <a:solidFill>
                  <a:schemeClr val="bg1"/>
                </a:solidFill>
                <a:latin typeface="+mj-ea"/>
                <a:ea typeface="+mj-ea"/>
              </a:rPr>
              <a:t>目录</a:t>
            </a:r>
          </a:p>
        </p:txBody>
      </p:sp>
      <p:sp>
        <p:nvSpPr>
          <p:cNvPr id="4" name="矩形: 圆角 3">
            <a:extLst>
              <a:ext uri="{FF2B5EF4-FFF2-40B4-BE49-F238E27FC236}">
                <a16:creationId xmlns:a16="http://schemas.microsoft.com/office/drawing/2014/main" id="{98E8696B-83CA-4791-92C2-977C85E55B04}"/>
              </a:ext>
            </a:extLst>
          </p:cNvPr>
          <p:cNvSpPr/>
          <p:nvPr/>
        </p:nvSpPr>
        <p:spPr>
          <a:xfrm>
            <a:off x="6904495" y="1282328"/>
            <a:ext cx="505955" cy="505955"/>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600" dirty="0"/>
              <a:t>01</a:t>
            </a:r>
            <a:endParaRPr lang="zh-CN" altLang="en-US" sz="1600" dirty="0"/>
          </a:p>
        </p:txBody>
      </p:sp>
      <p:sp>
        <p:nvSpPr>
          <p:cNvPr id="5" name="文本框 4">
            <a:extLst>
              <a:ext uri="{FF2B5EF4-FFF2-40B4-BE49-F238E27FC236}">
                <a16:creationId xmlns:a16="http://schemas.microsoft.com/office/drawing/2014/main" id="{B6E6A0A9-319F-46B6-9E83-1249CBD5EF0A}"/>
              </a:ext>
            </a:extLst>
          </p:cNvPr>
          <p:cNvSpPr txBox="1"/>
          <p:nvPr/>
        </p:nvSpPr>
        <p:spPr>
          <a:xfrm>
            <a:off x="7600950" y="1319862"/>
            <a:ext cx="2872581" cy="430887"/>
          </a:xfrm>
          <a:prstGeom prst="rect">
            <a:avLst/>
          </a:prstGeom>
          <a:noFill/>
        </p:spPr>
        <p:txBody>
          <a:bodyPr wrap="none" lIns="0" tIns="0" rIns="0" bIns="0" rtlCol="0" anchor="t">
            <a:spAutoFit/>
          </a:bodyPr>
          <a:lstStyle/>
          <a:p>
            <a:pPr algn="l"/>
            <a:r>
              <a:rPr lang="zh-CN" altLang="en-US" sz="2800" dirty="0">
                <a:solidFill>
                  <a:schemeClr val="accent1"/>
                </a:solidFill>
                <a:latin typeface="+mj-ea"/>
                <a:ea typeface="+mj-ea"/>
              </a:rPr>
              <a:t>输入你的目录标题</a:t>
            </a:r>
          </a:p>
        </p:txBody>
      </p:sp>
      <p:sp>
        <p:nvSpPr>
          <p:cNvPr id="8" name="矩形: 圆角 7">
            <a:extLst>
              <a:ext uri="{FF2B5EF4-FFF2-40B4-BE49-F238E27FC236}">
                <a16:creationId xmlns:a16="http://schemas.microsoft.com/office/drawing/2014/main" id="{23A89159-DF96-48EE-B395-C179A7211DC3}"/>
              </a:ext>
            </a:extLst>
          </p:cNvPr>
          <p:cNvSpPr/>
          <p:nvPr/>
        </p:nvSpPr>
        <p:spPr>
          <a:xfrm>
            <a:off x="6904495" y="2544791"/>
            <a:ext cx="505955" cy="505955"/>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600" dirty="0"/>
              <a:t>02</a:t>
            </a:r>
            <a:endParaRPr lang="zh-CN" altLang="en-US" sz="1600" dirty="0"/>
          </a:p>
        </p:txBody>
      </p:sp>
      <p:sp>
        <p:nvSpPr>
          <p:cNvPr id="9" name="文本框 8">
            <a:extLst>
              <a:ext uri="{FF2B5EF4-FFF2-40B4-BE49-F238E27FC236}">
                <a16:creationId xmlns:a16="http://schemas.microsoft.com/office/drawing/2014/main" id="{C73A3387-7BC4-40A0-AF0F-C3379408D0C8}"/>
              </a:ext>
            </a:extLst>
          </p:cNvPr>
          <p:cNvSpPr txBox="1"/>
          <p:nvPr/>
        </p:nvSpPr>
        <p:spPr>
          <a:xfrm>
            <a:off x="7600950" y="2582325"/>
            <a:ext cx="2872581" cy="430887"/>
          </a:xfrm>
          <a:prstGeom prst="rect">
            <a:avLst/>
          </a:prstGeom>
          <a:noFill/>
        </p:spPr>
        <p:txBody>
          <a:bodyPr wrap="none" lIns="0" tIns="0" rIns="0" bIns="0" rtlCol="0" anchor="t">
            <a:spAutoFit/>
          </a:bodyPr>
          <a:lstStyle/>
          <a:p>
            <a:pPr algn="l"/>
            <a:r>
              <a:rPr lang="zh-CN" altLang="en-US" sz="2800" dirty="0">
                <a:solidFill>
                  <a:schemeClr val="accent1"/>
                </a:solidFill>
                <a:latin typeface="+mj-ea"/>
                <a:ea typeface="+mj-ea"/>
              </a:rPr>
              <a:t>输入你的目录标题</a:t>
            </a:r>
          </a:p>
        </p:txBody>
      </p:sp>
      <p:sp>
        <p:nvSpPr>
          <p:cNvPr id="11" name="矩形: 圆角 10">
            <a:extLst>
              <a:ext uri="{FF2B5EF4-FFF2-40B4-BE49-F238E27FC236}">
                <a16:creationId xmlns:a16="http://schemas.microsoft.com/office/drawing/2014/main" id="{F1C9DCD2-6FCC-4FBA-BF59-21FEF06E1922}"/>
              </a:ext>
            </a:extLst>
          </p:cNvPr>
          <p:cNvSpPr/>
          <p:nvPr/>
        </p:nvSpPr>
        <p:spPr>
          <a:xfrm>
            <a:off x="6904495" y="3807254"/>
            <a:ext cx="505955" cy="505955"/>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600" dirty="0"/>
              <a:t>03</a:t>
            </a:r>
            <a:endParaRPr lang="zh-CN" altLang="en-US" sz="1600" dirty="0"/>
          </a:p>
        </p:txBody>
      </p:sp>
      <p:sp>
        <p:nvSpPr>
          <p:cNvPr id="12" name="文本框 11">
            <a:extLst>
              <a:ext uri="{FF2B5EF4-FFF2-40B4-BE49-F238E27FC236}">
                <a16:creationId xmlns:a16="http://schemas.microsoft.com/office/drawing/2014/main" id="{C5150FD3-B238-4DE4-889F-604C7FD7F889}"/>
              </a:ext>
            </a:extLst>
          </p:cNvPr>
          <p:cNvSpPr txBox="1"/>
          <p:nvPr/>
        </p:nvSpPr>
        <p:spPr>
          <a:xfrm>
            <a:off x="7600950" y="3844788"/>
            <a:ext cx="2872581" cy="430887"/>
          </a:xfrm>
          <a:prstGeom prst="rect">
            <a:avLst/>
          </a:prstGeom>
          <a:noFill/>
        </p:spPr>
        <p:txBody>
          <a:bodyPr wrap="none" lIns="0" tIns="0" rIns="0" bIns="0" rtlCol="0" anchor="t">
            <a:spAutoFit/>
          </a:bodyPr>
          <a:lstStyle/>
          <a:p>
            <a:pPr algn="l"/>
            <a:r>
              <a:rPr lang="zh-CN" altLang="en-US" sz="2800" dirty="0">
                <a:solidFill>
                  <a:schemeClr val="accent1"/>
                </a:solidFill>
                <a:latin typeface="+mj-ea"/>
                <a:ea typeface="+mj-ea"/>
              </a:rPr>
              <a:t>输入你的目录标题</a:t>
            </a:r>
          </a:p>
        </p:txBody>
      </p:sp>
      <p:sp>
        <p:nvSpPr>
          <p:cNvPr id="14" name="矩形: 圆角 13">
            <a:extLst>
              <a:ext uri="{FF2B5EF4-FFF2-40B4-BE49-F238E27FC236}">
                <a16:creationId xmlns:a16="http://schemas.microsoft.com/office/drawing/2014/main" id="{2F571F03-9332-4283-B623-6D5577E1429A}"/>
              </a:ext>
            </a:extLst>
          </p:cNvPr>
          <p:cNvSpPr/>
          <p:nvPr/>
        </p:nvSpPr>
        <p:spPr>
          <a:xfrm>
            <a:off x="6904495" y="5069717"/>
            <a:ext cx="505955" cy="505955"/>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600" dirty="0"/>
              <a:t>04</a:t>
            </a:r>
            <a:endParaRPr lang="zh-CN" altLang="en-US" sz="1600" dirty="0"/>
          </a:p>
        </p:txBody>
      </p:sp>
      <p:sp>
        <p:nvSpPr>
          <p:cNvPr id="15" name="文本框 14">
            <a:extLst>
              <a:ext uri="{FF2B5EF4-FFF2-40B4-BE49-F238E27FC236}">
                <a16:creationId xmlns:a16="http://schemas.microsoft.com/office/drawing/2014/main" id="{2CA620CF-BF15-409A-81D7-5AE8BB33F371}"/>
              </a:ext>
            </a:extLst>
          </p:cNvPr>
          <p:cNvSpPr txBox="1"/>
          <p:nvPr/>
        </p:nvSpPr>
        <p:spPr>
          <a:xfrm>
            <a:off x="7600950" y="5107251"/>
            <a:ext cx="2872581" cy="430887"/>
          </a:xfrm>
          <a:prstGeom prst="rect">
            <a:avLst/>
          </a:prstGeom>
          <a:noFill/>
        </p:spPr>
        <p:txBody>
          <a:bodyPr wrap="none" lIns="0" tIns="0" rIns="0" bIns="0" rtlCol="0" anchor="t">
            <a:spAutoFit/>
          </a:bodyPr>
          <a:lstStyle/>
          <a:p>
            <a:pPr algn="l"/>
            <a:r>
              <a:rPr lang="zh-CN" altLang="en-US" sz="2800" dirty="0">
                <a:solidFill>
                  <a:schemeClr val="accent1"/>
                </a:solidFill>
                <a:latin typeface="+mj-ea"/>
                <a:ea typeface="+mj-ea"/>
              </a:rPr>
              <a:t>输入你的目录标题</a:t>
            </a:r>
          </a:p>
        </p:txBody>
      </p:sp>
      <p:cxnSp>
        <p:nvCxnSpPr>
          <p:cNvPr id="18" name="直接连接符 17">
            <a:extLst>
              <a:ext uri="{FF2B5EF4-FFF2-40B4-BE49-F238E27FC236}">
                <a16:creationId xmlns:a16="http://schemas.microsoft.com/office/drawing/2014/main" id="{38B4C7B1-7F54-4CEC-A857-A27893B0A3C2}"/>
              </a:ext>
            </a:extLst>
          </p:cNvPr>
          <p:cNvCxnSpPr>
            <a:cxnSpLocks/>
          </p:cNvCxnSpPr>
          <p:nvPr/>
        </p:nvCxnSpPr>
        <p:spPr>
          <a:xfrm>
            <a:off x="6904495" y="2114550"/>
            <a:ext cx="3569036" cy="0"/>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20" name="直接连接符 19">
            <a:extLst>
              <a:ext uri="{FF2B5EF4-FFF2-40B4-BE49-F238E27FC236}">
                <a16:creationId xmlns:a16="http://schemas.microsoft.com/office/drawing/2014/main" id="{6EDA7F96-B8F5-49DD-B80A-A4D81E25349C}"/>
              </a:ext>
            </a:extLst>
          </p:cNvPr>
          <p:cNvCxnSpPr>
            <a:cxnSpLocks/>
          </p:cNvCxnSpPr>
          <p:nvPr/>
        </p:nvCxnSpPr>
        <p:spPr>
          <a:xfrm>
            <a:off x="6904495" y="3429000"/>
            <a:ext cx="3569036" cy="0"/>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21" name="直接连接符 20">
            <a:extLst>
              <a:ext uri="{FF2B5EF4-FFF2-40B4-BE49-F238E27FC236}">
                <a16:creationId xmlns:a16="http://schemas.microsoft.com/office/drawing/2014/main" id="{C3CC6E1D-8679-4E7F-B61F-AFC8A4CB19C5}"/>
              </a:ext>
            </a:extLst>
          </p:cNvPr>
          <p:cNvCxnSpPr>
            <a:cxnSpLocks/>
          </p:cNvCxnSpPr>
          <p:nvPr/>
        </p:nvCxnSpPr>
        <p:spPr>
          <a:xfrm>
            <a:off x="6904495" y="4724400"/>
            <a:ext cx="3569036" cy="0"/>
          </a:xfrm>
          <a:prstGeom prst="line">
            <a:avLst/>
          </a:prstGeom>
          <a:ln w="1270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19858961"/>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6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Shape 7">
            <a:extLst>
              <a:ext uri="{FF2B5EF4-FFF2-40B4-BE49-F238E27FC236}">
                <a16:creationId xmlns:a16="http://schemas.microsoft.com/office/drawing/2014/main" id="{7868F82E-55A8-4D24-9123-88594B240FF5}"/>
              </a:ext>
            </a:extLst>
          </p:cNvPr>
          <p:cNvSpPr/>
          <p:nvPr/>
        </p:nvSpPr>
        <p:spPr>
          <a:xfrm>
            <a:off x="8511048" y="2483816"/>
            <a:ext cx="1133932" cy="4386431"/>
          </a:xfrm>
          <a:custGeom>
            <a:avLst/>
            <a:gdLst>
              <a:gd name="connsiteX0" fmla="*/ 156310 w 673510"/>
              <a:gd name="connsiteY0" fmla="*/ 1994097 h 2283728"/>
              <a:gd name="connsiteX1" fmla="*/ 141368 w 673510"/>
              <a:gd name="connsiteY1" fmla="*/ 2092939 h 2283728"/>
              <a:gd name="connsiteX2" fmla="*/ 98843 w 673510"/>
              <a:gd name="connsiteY2" fmla="*/ 2176841 h 2283728"/>
              <a:gd name="connsiteX3" fmla="*/ 0 w 673510"/>
              <a:gd name="connsiteY3" fmla="*/ 2283729 h 2283728"/>
              <a:gd name="connsiteX4" fmla="*/ 166654 w 673510"/>
              <a:gd name="connsiteY4" fmla="*/ 2280281 h 2283728"/>
              <a:gd name="connsiteX5" fmla="*/ 179296 w 673510"/>
              <a:gd name="connsiteY5" fmla="*/ 2279132 h 2283728"/>
              <a:gd name="connsiteX6" fmla="*/ 185043 w 673510"/>
              <a:gd name="connsiteY6" fmla="*/ 2279132 h 2283728"/>
              <a:gd name="connsiteX7" fmla="*/ 208030 w 673510"/>
              <a:gd name="connsiteY7" fmla="*/ 2279132 h 2283728"/>
              <a:gd name="connsiteX8" fmla="*/ 236763 w 673510"/>
              <a:gd name="connsiteY8" fmla="*/ 2279132 h 2283728"/>
              <a:gd name="connsiteX9" fmla="*/ 267795 w 673510"/>
              <a:gd name="connsiteY9" fmla="*/ 2279132 h 2283728"/>
              <a:gd name="connsiteX10" fmla="*/ 340203 w 673510"/>
              <a:gd name="connsiteY10" fmla="*/ 2279132 h 2283728"/>
              <a:gd name="connsiteX11" fmla="*/ 343651 w 673510"/>
              <a:gd name="connsiteY11" fmla="*/ 2279132 h 2283728"/>
              <a:gd name="connsiteX12" fmla="*/ 445942 w 673510"/>
              <a:gd name="connsiteY12" fmla="*/ 2279132 h 2283728"/>
              <a:gd name="connsiteX13" fmla="*/ 476974 w 673510"/>
              <a:gd name="connsiteY13" fmla="*/ 2279132 h 2283728"/>
              <a:gd name="connsiteX14" fmla="*/ 494214 w 673510"/>
              <a:gd name="connsiteY14" fmla="*/ 2279132 h 2283728"/>
              <a:gd name="connsiteX15" fmla="*/ 506857 w 673510"/>
              <a:gd name="connsiteY15" fmla="*/ 2280281 h 2283728"/>
              <a:gd name="connsiteX16" fmla="*/ 673510 w 673510"/>
              <a:gd name="connsiteY16" fmla="*/ 2283729 h 2283728"/>
              <a:gd name="connsiteX17" fmla="*/ 580414 w 673510"/>
              <a:gd name="connsiteY17" fmla="*/ 2168795 h 2283728"/>
              <a:gd name="connsiteX18" fmla="*/ 529843 w 673510"/>
              <a:gd name="connsiteY18" fmla="*/ 1989499 h 2283728"/>
              <a:gd name="connsiteX19" fmla="*/ 528694 w 673510"/>
              <a:gd name="connsiteY19" fmla="*/ 1768827 h 2283728"/>
              <a:gd name="connsiteX20" fmla="*/ 496513 w 673510"/>
              <a:gd name="connsiteY20" fmla="*/ 0 h 2283728"/>
              <a:gd name="connsiteX21" fmla="*/ 151712 w 673510"/>
              <a:gd name="connsiteY21" fmla="*/ 0 h 2283728"/>
              <a:gd name="connsiteX22" fmla="*/ 156310 w 673510"/>
              <a:gd name="connsiteY22" fmla="*/ 1994097 h 2283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673510" h="2283728">
                <a:moveTo>
                  <a:pt x="156310" y="1994097"/>
                </a:moveTo>
                <a:cubicBezTo>
                  <a:pt x="152861" y="2038921"/>
                  <a:pt x="148264" y="2075699"/>
                  <a:pt x="141368" y="2092939"/>
                </a:cubicBezTo>
                <a:cubicBezTo>
                  <a:pt x="129875" y="2125121"/>
                  <a:pt x="114933" y="2152705"/>
                  <a:pt x="98843" y="2176841"/>
                </a:cubicBezTo>
                <a:cubicBezTo>
                  <a:pt x="68960" y="2221665"/>
                  <a:pt x="36779" y="2261892"/>
                  <a:pt x="0" y="2283729"/>
                </a:cubicBezTo>
                <a:cubicBezTo>
                  <a:pt x="55168" y="2277982"/>
                  <a:pt x="110336" y="2276833"/>
                  <a:pt x="166654" y="2280281"/>
                </a:cubicBezTo>
                <a:cubicBezTo>
                  <a:pt x="171251" y="2280281"/>
                  <a:pt x="175848" y="2280281"/>
                  <a:pt x="179296" y="2279132"/>
                </a:cubicBezTo>
                <a:lnTo>
                  <a:pt x="185043" y="2279132"/>
                </a:lnTo>
                <a:lnTo>
                  <a:pt x="208030" y="2279132"/>
                </a:lnTo>
                <a:lnTo>
                  <a:pt x="236763" y="2279132"/>
                </a:lnTo>
                <a:lnTo>
                  <a:pt x="267795" y="2279132"/>
                </a:lnTo>
                <a:lnTo>
                  <a:pt x="340203" y="2279132"/>
                </a:lnTo>
                <a:lnTo>
                  <a:pt x="343651" y="2279132"/>
                </a:lnTo>
                <a:lnTo>
                  <a:pt x="445942" y="2279132"/>
                </a:lnTo>
                <a:lnTo>
                  <a:pt x="476974" y="2279132"/>
                </a:lnTo>
                <a:lnTo>
                  <a:pt x="494214" y="2279132"/>
                </a:lnTo>
                <a:cubicBezTo>
                  <a:pt x="498811" y="2280281"/>
                  <a:pt x="503409" y="2280281"/>
                  <a:pt x="506857" y="2280281"/>
                </a:cubicBezTo>
                <a:cubicBezTo>
                  <a:pt x="562025" y="2276833"/>
                  <a:pt x="618342" y="2279132"/>
                  <a:pt x="673510" y="2283729"/>
                </a:cubicBezTo>
                <a:cubicBezTo>
                  <a:pt x="653972" y="2272235"/>
                  <a:pt x="613745" y="2217068"/>
                  <a:pt x="580414" y="2168795"/>
                </a:cubicBezTo>
                <a:cubicBezTo>
                  <a:pt x="548233" y="2121673"/>
                  <a:pt x="529843" y="2056161"/>
                  <a:pt x="529843" y="1989499"/>
                </a:cubicBezTo>
                <a:cubicBezTo>
                  <a:pt x="528694" y="1896403"/>
                  <a:pt x="528694" y="1772275"/>
                  <a:pt x="528694" y="1768827"/>
                </a:cubicBezTo>
                <a:cubicBezTo>
                  <a:pt x="525246" y="1535512"/>
                  <a:pt x="506857" y="699945"/>
                  <a:pt x="496513" y="0"/>
                </a:cubicBezTo>
                <a:lnTo>
                  <a:pt x="151712" y="0"/>
                </a:lnTo>
                <a:cubicBezTo>
                  <a:pt x="154011" y="609148"/>
                  <a:pt x="155160" y="1522869"/>
                  <a:pt x="156310" y="1994097"/>
                </a:cubicBezTo>
                <a:close/>
              </a:path>
            </a:pathLst>
          </a:custGeom>
          <a:solidFill>
            <a:srgbClr val="7A5330"/>
          </a:solidFill>
          <a:ln w="1149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 name="Freeform: Shape 8">
            <a:extLst>
              <a:ext uri="{FF2B5EF4-FFF2-40B4-BE49-F238E27FC236}">
                <a16:creationId xmlns:a16="http://schemas.microsoft.com/office/drawing/2014/main" id="{933AA268-23A3-4F7D-AE82-E318528B467D}"/>
              </a:ext>
            </a:extLst>
          </p:cNvPr>
          <p:cNvSpPr/>
          <p:nvPr/>
        </p:nvSpPr>
        <p:spPr>
          <a:xfrm>
            <a:off x="6683404" y="4149221"/>
            <a:ext cx="4789220" cy="760469"/>
          </a:xfrm>
          <a:custGeom>
            <a:avLst/>
            <a:gdLst>
              <a:gd name="connsiteX0" fmla="*/ 2844604 w 2844603"/>
              <a:gd name="connsiteY0" fmla="*/ 0 h 451688"/>
              <a:gd name="connsiteX1" fmla="*/ 2844604 w 2844603"/>
              <a:gd name="connsiteY1" fmla="*/ 17240 h 451688"/>
              <a:gd name="connsiteX2" fmla="*/ 2844604 w 2844603"/>
              <a:gd name="connsiteY2" fmla="*/ 39078 h 451688"/>
              <a:gd name="connsiteX3" fmla="*/ 2838857 w 2844603"/>
              <a:gd name="connsiteY3" fmla="*/ 90798 h 451688"/>
              <a:gd name="connsiteX4" fmla="*/ 2838857 w 2844603"/>
              <a:gd name="connsiteY4" fmla="*/ 93096 h 451688"/>
              <a:gd name="connsiteX5" fmla="*/ 2456129 w 2844603"/>
              <a:gd name="connsiteY5" fmla="*/ 451689 h 451688"/>
              <a:gd name="connsiteX6" fmla="*/ 389625 w 2844603"/>
              <a:gd name="connsiteY6" fmla="*/ 451689 h 451688"/>
              <a:gd name="connsiteX7" fmla="*/ 5747 w 2844603"/>
              <a:gd name="connsiteY7" fmla="*/ 93096 h 451688"/>
              <a:gd name="connsiteX8" fmla="*/ 5747 w 2844603"/>
              <a:gd name="connsiteY8" fmla="*/ 90798 h 451688"/>
              <a:gd name="connsiteX9" fmla="*/ 0 w 2844603"/>
              <a:gd name="connsiteY9" fmla="*/ 39078 h 451688"/>
              <a:gd name="connsiteX10" fmla="*/ 0 w 2844603"/>
              <a:gd name="connsiteY10" fmla="*/ 17240 h 451688"/>
              <a:gd name="connsiteX11" fmla="*/ 0 w 2844603"/>
              <a:gd name="connsiteY11" fmla="*/ 0 h 451688"/>
              <a:gd name="connsiteX12" fmla="*/ 2844604 w 2844603"/>
              <a:gd name="connsiteY12" fmla="*/ 0 h 4516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844603" h="451688">
                <a:moveTo>
                  <a:pt x="2844604" y="0"/>
                </a:moveTo>
                <a:lnTo>
                  <a:pt x="2844604" y="17240"/>
                </a:lnTo>
                <a:cubicBezTo>
                  <a:pt x="2844604" y="24136"/>
                  <a:pt x="2844604" y="32182"/>
                  <a:pt x="2844604" y="39078"/>
                </a:cubicBezTo>
                <a:cubicBezTo>
                  <a:pt x="2843455" y="56318"/>
                  <a:pt x="2842305" y="73558"/>
                  <a:pt x="2838857" y="90798"/>
                </a:cubicBezTo>
                <a:cubicBezTo>
                  <a:pt x="2838857" y="91947"/>
                  <a:pt x="2838857" y="91947"/>
                  <a:pt x="2838857" y="93096"/>
                </a:cubicBezTo>
                <a:cubicBezTo>
                  <a:pt x="2805527" y="282737"/>
                  <a:pt x="2649217" y="431001"/>
                  <a:pt x="2456129" y="451689"/>
                </a:cubicBezTo>
                <a:lnTo>
                  <a:pt x="389625" y="451689"/>
                </a:lnTo>
                <a:cubicBezTo>
                  <a:pt x="196536" y="431001"/>
                  <a:pt x="40227" y="282737"/>
                  <a:pt x="5747" y="93096"/>
                </a:cubicBezTo>
                <a:cubicBezTo>
                  <a:pt x="5747" y="91947"/>
                  <a:pt x="5747" y="91947"/>
                  <a:pt x="5747" y="90798"/>
                </a:cubicBezTo>
                <a:cubicBezTo>
                  <a:pt x="3448" y="73558"/>
                  <a:pt x="1149" y="57467"/>
                  <a:pt x="0" y="39078"/>
                </a:cubicBezTo>
                <a:cubicBezTo>
                  <a:pt x="0" y="32182"/>
                  <a:pt x="0" y="24136"/>
                  <a:pt x="0" y="17240"/>
                </a:cubicBezTo>
                <a:lnTo>
                  <a:pt x="0" y="0"/>
                </a:lnTo>
                <a:lnTo>
                  <a:pt x="2844604" y="0"/>
                </a:lnTo>
                <a:close/>
              </a:path>
            </a:pathLst>
          </a:custGeom>
          <a:solidFill>
            <a:schemeClr val="accent4"/>
          </a:solidFill>
          <a:ln w="1149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nvGrpSpPr>
          <p:cNvPr id="4" name="Group 22">
            <a:extLst>
              <a:ext uri="{FF2B5EF4-FFF2-40B4-BE49-F238E27FC236}">
                <a16:creationId xmlns:a16="http://schemas.microsoft.com/office/drawing/2014/main" id="{2EBC7B55-0E28-43DA-B90C-D6BE1950056A}"/>
              </a:ext>
            </a:extLst>
          </p:cNvPr>
          <p:cNvGrpSpPr/>
          <p:nvPr/>
        </p:nvGrpSpPr>
        <p:grpSpPr>
          <a:xfrm>
            <a:off x="6682437" y="3388752"/>
            <a:ext cx="4791154" cy="961713"/>
            <a:chOff x="6682437" y="3388752"/>
            <a:chExt cx="4791154" cy="961713"/>
          </a:xfrm>
          <a:solidFill>
            <a:schemeClr val="accent3"/>
          </a:solidFill>
          <a:effectLst>
            <a:outerShdw blurRad="50800" dist="38100" dir="5400000" algn="t" rotWithShape="0">
              <a:schemeClr val="tx2">
                <a:alpha val="20000"/>
              </a:schemeClr>
            </a:outerShdw>
          </a:effectLst>
        </p:grpSpPr>
        <p:sp>
          <p:nvSpPr>
            <p:cNvPr id="5" name="Freeform: Shape 9">
              <a:extLst>
                <a:ext uri="{FF2B5EF4-FFF2-40B4-BE49-F238E27FC236}">
                  <a16:creationId xmlns:a16="http://schemas.microsoft.com/office/drawing/2014/main" id="{791110A3-3032-442F-A496-2168BB500EF9}"/>
                </a:ext>
              </a:extLst>
            </p:cNvPr>
            <p:cNvSpPr/>
            <p:nvPr/>
          </p:nvSpPr>
          <p:spPr>
            <a:xfrm>
              <a:off x="6682437" y="3388752"/>
              <a:ext cx="4791154" cy="760469"/>
            </a:xfrm>
            <a:custGeom>
              <a:avLst/>
              <a:gdLst>
                <a:gd name="connsiteX0" fmla="*/ 2845753 w 2845752"/>
                <a:gd name="connsiteY0" fmla="*/ 409163 h 451688"/>
                <a:gd name="connsiteX1" fmla="*/ 2845753 w 2845752"/>
                <a:gd name="connsiteY1" fmla="*/ 451689 h 451688"/>
                <a:gd name="connsiteX2" fmla="*/ 0 w 2845752"/>
                <a:gd name="connsiteY2" fmla="*/ 451689 h 451688"/>
                <a:gd name="connsiteX3" fmla="*/ 0 w 2845752"/>
                <a:gd name="connsiteY3" fmla="*/ 409163 h 451688"/>
                <a:gd name="connsiteX4" fmla="*/ 64362 w 2845752"/>
                <a:gd name="connsiteY4" fmla="*/ 181595 h 451688"/>
                <a:gd name="connsiteX5" fmla="*/ 285035 w 2845752"/>
                <a:gd name="connsiteY5" fmla="*/ 0 h 451688"/>
                <a:gd name="connsiteX6" fmla="*/ 2558419 w 2845752"/>
                <a:gd name="connsiteY6" fmla="*/ 0 h 451688"/>
                <a:gd name="connsiteX7" fmla="*/ 2779092 w 2845752"/>
                <a:gd name="connsiteY7" fmla="*/ 181595 h 451688"/>
                <a:gd name="connsiteX8" fmla="*/ 2845753 w 2845752"/>
                <a:gd name="connsiteY8" fmla="*/ 409163 h 4516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45752" h="451688">
                  <a:moveTo>
                    <a:pt x="2845753" y="409163"/>
                  </a:moveTo>
                  <a:lnTo>
                    <a:pt x="2845753" y="451689"/>
                  </a:lnTo>
                  <a:lnTo>
                    <a:pt x="0" y="451689"/>
                  </a:lnTo>
                  <a:lnTo>
                    <a:pt x="0" y="409163"/>
                  </a:lnTo>
                  <a:cubicBezTo>
                    <a:pt x="0" y="326411"/>
                    <a:pt x="24136" y="248256"/>
                    <a:pt x="64362" y="181595"/>
                  </a:cubicBezTo>
                  <a:cubicBezTo>
                    <a:pt x="114933" y="98843"/>
                    <a:pt x="193088" y="34480"/>
                    <a:pt x="285035" y="0"/>
                  </a:cubicBezTo>
                  <a:lnTo>
                    <a:pt x="2558419" y="0"/>
                  </a:lnTo>
                  <a:cubicBezTo>
                    <a:pt x="2650366" y="34480"/>
                    <a:pt x="2728521" y="98843"/>
                    <a:pt x="2779092" y="181595"/>
                  </a:cubicBezTo>
                  <a:cubicBezTo>
                    <a:pt x="2821617" y="248256"/>
                    <a:pt x="2845753" y="326411"/>
                    <a:pt x="2845753" y="409163"/>
                  </a:cubicBezTo>
                  <a:close/>
                </a:path>
              </a:pathLst>
            </a:custGeom>
            <a:grpFill/>
            <a:ln w="1149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6" name="Freeform: Shape 6">
              <a:extLst>
                <a:ext uri="{FF2B5EF4-FFF2-40B4-BE49-F238E27FC236}">
                  <a16:creationId xmlns:a16="http://schemas.microsoft.com/office/drawing/2014/main" id="{62F9F028-7AD3-4B7B-9351-D6209C38303E}"/>
                </a:ext>
              </a:extLst>
            </p:cNvPr>
            <p:cNvSpPr/>
            <p:nvPr/>
          </p:nvSpPr>
          <p:spPr>
            <a:xfrm>
              <a:off x="10591215" y="4149221"/>
              <a:ext cx="238009" cy="201244"/>
            </a:xfrm>
            <a:custGeom>
              <a:avLst/>
              <a:gdLst>
                <a:gd name="connsiteX0" fmla="*/ 141368 w 141368"/>
                <a:gd name="connsiteY0" fmla="*/ 0 h 119531"/>
                <a:gd name="connsiteX1" fmla="*/ 70109 w 141368"/>
                <a:gd name="connsiteY1" fmla="*/ 119531 h 119531"/>
                <a:gd name="connsiteX2" fmla="*/ 70109 w 141368"/>
                <a:gd name="connsiteY2" fmla="*/ 119531 h 119531"/>
                <a:gd name="connsiteX3" fmla="*/ 70109 w 141368"/>
                <a:gd name="connsiteY3" fmla="*/ 119531 h 119531"/>
                <a:gd name="connsiteX4" fmla="*/ 70109 w 141368"/>
                <a:gd name="connsiteY4" fmla="*/ 119531 h 119531"/>
                <a:gd name="connsiteX5" fmla="*/ 70109 w 141368"/>
                <a:gd name="connsiteY5" fmla="*/ 119531 h 119531"/>
                <a:gd name="connsiteX6" fmla="*/ 0 w 141368"/>
                <a:gd name="connsiteY6" fmla="*/ 0 h 119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1368" h="119531">
                  <a:moveTo>
                    <a:pt x="141368" y="0"/>
                  </a:moveTo>
                  <a:lnTo>
                    <a:pt x="70109" y="119531"/>
                  </a:lnTo>
                  <a:lnTo>
                    <a:pt x="70109" y="119531"/>
                  </a:lnTo>
                  <a:lnTo>
                    <a:pt x="70109" y="119531"/>
                  </a:lnTo>
                  <a:lnTo>
                    <a:pt x="70109" y="119531"/>
                  </a:lnTo>
                  <a:lnTo>
                    <a:pt x="70109" y="119531"/>
                  </a:lnTo>
                  <a:lnTo>
                    <a:pt x="0" y="0"/>
                  </a:lnTo>
                  <a:close/>
                </a:path>
              </a:pathLst>
            </a:custGeom>
            <a:grpFill/>
            <a:ln w="1149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grpSp>
        <p:nvGrpSpPr>
          <p:cNvPr id="7" name="Group 3">
            <a:extLst>
              <a:ext uri="{FF2B5EF4-FFF2-40B4-BE49-F238E27FC236}">
                <a16:creationId xmlns:a16="http://schemas.microsoft.com/office/drawing/2014/main" id="{AED75AB3-D168-440B-916B-7F151C8AFBD7}"/>
              </a:ext>
            </a:extLst>
          </p:cNvPr>
          <p:cNvGrpSpPr/>
          <p:nvPr/>
        </p:nvGrpSpPr>
        <p:grpSpPr>
          <a:xfrm>
            <a:off x="7166197" y="2636506"/>
            <a:ext cx="3823635" cy="963649"/>
            <a:chOff x="7166195" y="2636506"/>
            <a:chExt cx="3823635" cy="963649"/>
          </a:xfrm>
          <a:solidFill>
            <a:schemeClr val="accent2"/>
          </a:solidFill>
          <a:effectLst>
            <a:outerShdw blurRad="50800" dist="38100" dir="5400000" algn="t" rotWithShape="0">
              <a:schemeClr val="tx2">
                <a:alpha val="20000"/>
              </a:schemeClr>
            </a:outerShdw>
          </a:effectLst>
        </p:grpSpPr>
        <p:sp>
          <p:nvSpPr>
            <p:cNvPr id="8" name="Freeform: Shape 10">
              <a:extLst>
                <a:ext uri="{FF2B5EF4-FFF2-40B4-BE49-F238E27FC236}">
                  <a16:creationId xmlns:a16="http://schemas.microsoft.com/office/drawing/2014/main" id="{7980A2B4-E6DE-403F-8A40-F9FBAA8BE370}"/>
                </a:ext>
              </a:extLst>
            </p:cNvPr>
            <p:cNvSpPr/>
            <p:nvPr/>
          </p:nvSpPr>
          <p:spPr>
            <a:xfrm>
              <a:off x="7166195" y="2636506"/>
              <a:ext cx="3823635" cy="760469"/>
            </a:xfrm>
            <a:custGeom>
              <a:avLst/>
              <a:gdLst>
                <a:gd name="connsiteX0" fmla="*/ 2271086 w 2271085"/>
                <a:gd name="connsiteY0" fmla="*/ 451689 h 451688"/>
                <a:gd name="connsiteX1" fmla="*/ 0 w 2271085"/>
                <a:gd name="connsiteY1" fmla="*/ 451689 h 451688"/>
                <a:gd name="connsiteX2" fmla="*/ 72408 w 2271085"/>
                <a:gd name="connsiteY2" fmla="*/ 432150 h 451688"/>
                <a:gd name="connsiteX3" fmla="*/ 72408 w 2271085"/>
                <a:gd name="connsiteY3" fmla="*/ 429851 h 451688"/>
                <a:gd name="connsiteX4" fmla="*/ 110336 w 2271085"/>
                <a:gd name="connsiteY4" fmla="*/ 271243 h 451688"/>
                <a:gd name="connsiteX5" fmla="*/ 434448 w 2271085"/>
                <a:gd name="connsiteY5" fmla="*/ 19538 h 451688"/>
                <a:gd name="connsiteX6" fmla="*/ 437896 w 2271085"/>
                <a:gd name="connsiteY6" fmla="*/ 0 h 451688"/>
                <a:gd name="connsiteX7" fmla="*/ 1874565 w 2271085"/>
                <a:gd name="connsiteY7" fmla="*/ 0 h 451688"/>
                <a:gd name="connsiteX8" fmla="*/ 1872267 w 2271085"/>
                <a:gd name="connsiteY8" fmla="*/ 27584 h 451688"/>
                <a:gd name="connsiteX9" fmla="*/ 2159600 w 2271085"/>
                <a:gd name="connsiteY9" fmla="*/ 271243 h 451688"/>
                <a:gd name="connsiteX10" fmla="*/ 2197528 w 2271085"/>
                <a:gd name="connsiteY10" fmla="*/ 429851 h 451688"/>
                <a:gd name="connsiteX11" fmla="*/ 2197528 w 2271085"/>
                <a:gd name="connsiteY11" fmla="*/ 432150 h 451688"/>
                <a:gd name="connsiteX12" fmla="*/ 2271086 w 2271085"/>
                <a:gd name="connsiteY12" fmla="*/ 451689 h 4516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271085" h="451688">
                  <a:moveTo>
                    <a:pt x="2271086" y="451689"/>
                  </a:moveTo>
                  <a:lnTo>
                    <a:pt x="0" y="451689"/>
                  </a:lnTo>
                  <a:cubicBezTo>
                    <a:pt x="22987" y="443643"/>
                    <a:pt x="47122" y="436747"/>
                    <a:pt x="72408" y="432150"/>
                  </a:cubicBezTo>
                  <a:cubicBezTo>
                    <a:pt x="72408" y="431001"/>
                    <a:pt x="72408" y="429851"/>
                    <a:pt x="72408" y="429851"/>
                  </a:cubicBezTo>
                  <a:cubicBezTo>
                    <a:pt x="74707" y="373534"/>
                    <a:pt x="88499" y="320664"/>
                    <a:pt x="110336" y="271243"/>
                  </a:cubicBezTo>
                  <a:cubicBezTo>
                    <a:pt x="168952" y="141368"/>
                    <a:pt x="289632" y="44824"/>
                    <a:pt x="434448" y="19538"/>
                  </a:cubicBezTo>
                  <a:cubicBezTo>
                    <a:pt x="435598" y="12643"/>
                    <a:pt x="436747" y="6896"/>
                    <a:pt x="437896" y="0"/>
                  </a:cubicBezTo>
                  <a:lnTo>
                    <a:pt x="1874565" y="0"/>
                  </a:lnTo>
                  <a:cubicBezTo>
                    <a:pt x="1874565" y="9195"/>
                    <a:pt x="1873416" y="18389"/>
                    <a:pt x="1872267" y="27584"/>
                  </a:cubicBezTo>
                  <a:cubicBezTo>
                    <a:pt x="1999843" y="62064"/>
                    <a:pt x="2105581" y="152861"/>
                    <a:pt x="2159600" y="271243"/>
                  </a:cubicBezTo>
                  <a:cubicBezTo>
                    <a:pt x="2181438" y="319515"/>
                    <a:pt x="2195230" y="373534"/>
                    <a:pt x="2197528" y="429851"/>
                  </a:cubicBezTo>
                  <a:cubicBezTo>
                    <a:pt x="2197528" y="431001"/>
                    <a:pt x="2197528" y="432150"/>
                    <a:pt x="2197528" y="432150"/>
                  </a:cubicBezTo>
                  <a:cubicBezTo>
                    <a:pt x="2222814" y="436747"/>
                    <a:pt x="2248099" y="443643"/>
                    <a:pt x="2271086" y="451689"/>
                  </a:cubicBezTo>
                  <a:close/>
                </a:path>
              </a:pathLst>
            </a:custGeom>
            <a:grpFill/>
            <a:ln w="1149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9" name="Freeform: Shape 5">
              <a:extLst>
                <a:ext uri="{FF2B5EF4-FFF2-40B4-BE49-F238E27FC236}">
                  <a16:creationId xmlns:a16="http://schemas.microsoft.com/office/drawing/2014/main" id="{B28B15B3-BB0B-4B36-ADCB-841A0CF498B0}"/>
                </a:ext>
              </a:extLst>
            </p:cNvPr>
            <p:cNvSpPr/>
            <p:nvPr/>
          </p:nvSpPr>
          <p:spPr>
            <a:xfrm>
              <a:off x="7557074" y="3396976"/>
              <a:ext cx="238009" cy="203179"/>
            </a:xfrm>
            <a:custGeom>
              <a:avLst/>
              <a:gdLst>
                <a:gd name="connsiteX0" fmla="*/ 141368 w 141368"/>
                <a:gd name="connsiteY0" fmla="*/ 0 h 120680"/>
                <a:gd name="connsiteX1" fmla="*/ 71259 w 141368"/>
                <a:gd name="connsiteY1" fmla="*/ 119531 h 120680"/>
                <a:gd name="connsiteX2" fmla="*/ 71259 w 141368"/>
                <a:gd name="connsiteY2" fmla="*/ 120680 h 120680"/>
                <a:gd name="connsiteX3" fmla="*/ 71259 w 141368"/>
                <a:gd name="connsiteY3" fmla="*/ 120680 h 120680"/>
                <a:gd name="connsiteX4" fmla="*/ 71259 w 141368"/>
                <a:gd name="connsiteY4" fmla="*/ 120680 h 120680"/>
                <a:gd name="connsiteX5" fmla="*/ 71259 w 141368"/>
                <a:gd name="connsiteY5" fmla="*/ 119531 h 120680"/>
                <a:gd name="connsiteX6" fmla="*/ 0 w 141368"/>
                <a:gd name="connsiteY6" fmla="*/ 0 h 120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1368" h="120680">
                  <a:moveTo>
                    <a:pt x="141368" y="0"/>
                  </a:moveTo>
                  <a:lnTo>
                    <a:pt x="71259" y="119531"/>
                  </a:lnTo>
                  <a:lnTo>
                    <a:pt x="71259" y="120680"/>
                  </a:lnTo>
                  <a:lnTo>
                    <a:pt x="71259" y="120680"/>
                  </a:lnTo>
                  <a:lnTo>
                    <a:pt x="71259" y="120680"/>
                  </a:lnTo>
                  <a:lnTo>
                    <a:pt x="71259" y="119531"/>
                  </a:lnTo>
                  <a:lnTo>
                    <a:pt x="0" y="0"/>
                  </a:lnTo>
                  <a:close/>
                </a:path>
              </a:pathLst>
            </a:custGeom>
            <a:grpFill/>
            <a:ln w="1149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sp>
        <p:nvSpPr>
          <p:cNvPr id="10" name="Title 1">
            <a:extLst>
              <a:ext uri="{FF2B5EF4-FFF2-40B4-BE49-F238E27FC236}">
                <a16:creationId xmlns:a16="http://schemas.microsoft.com/office/drawing/2014/main" id="{ED8232E6-6ACD-4736-B895-7B934186F131}"/>
              </a:ext>
            </a:extLst>
          </p:cNvPr>
          <p:cNvSpPr txBox="1">
            <a:spLocks/>
          </p:cNvSpPr>
          <p:nvPr/>
        </p:nvSpPr>
        <p:spPr>
          <a:xfrm>
            <a:off x="2043113" y="304800"/>
            <a:ext cx="8105775" cy="1105808"/>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ID" sz="4400" b="0" i="0" u="none" strike="noStrike" kern="1200" cap="none" spc="0" normalizeH="0" baseline="0" noProof="0">
                <a:ln>
                  <a:noFill/>
                </a:ln>
                <a:solidFill>
                  <a:srgbClr val="000000"/>
                </a:solidFill>
                <a:effectLst/>
                <a:uLnTx/>
                <a:uFillTx/>
                <a:latin typeface="等线 Light" panose="020F0302020204030204"/>
                <a:ea typeface="+mj-ea"/>
                <a:cs typeface="+mj-cs"/>
              </a:rPr>
              <a:t>Tree Infographic</a:t>
            </a:r>
          </a:p>
        </p:txBody>
      </p:sp>
      <p:grpSp>
        <p:nvGrpSpPr>
          <p:cNvPr id="11" name="Group 2">
            <a:extLst>
              <a:ext uri="{FF2B5EF4-FFF2-40B4-BE49-F238E27FC236}">
                <a16:creationId xmlns:a16="http://schemas.microsoft.com/office/drawing/2014/main" id="{B2034D6B-24B3-4F02-8188-B58F7E4B0852}"/>
              </a:ext>
            </a:extLst>
          </p:cNvPr>
          <p:cNvGrpSpPr/>
          <p:nvPr/>
        </p:nvGrpSpPr>
        <p:grpSpPr>
          <a:xfrm>
            <a:off x="7905380" y="1837302"/>
            <a:ext cx="2418797" cy="1000447"/>
            <a:chOff x="7905380" y="1837302"/>
            <a:chExt cx="2418797" cy="1000447"/>
          </a:xfrm>
          <a:solidFill>
            <a:schemeClr val="accent1"/>
          </a:solidFill>
          <a:effectLst>
            <a:outerShdw blurRad="50800" dist="38100" dir="5400000" algn="t" rotWithShape="0">
              <a:schemeClr val="tx2">
                <a:alpha val="20000"/>
              </a:schemeClr>
            </a:outerShdw>
          </a:effectLst>
        </p:grpSpPr>
        <p:sp>
          <p:nvSpPr>
            <p:cNvPr id="12" name="Freeform: Shape 11">
              <a:extLst>
                <a:ext uri="{FF2B5EF4-FFF2-40B4-BE49-F238E27FC236}">
                  <a16:creationId xmlns:a16="http://schemas.microsoft.com/office/drawing/2014/main" id="{F2E5A980-4095-449F-BAA8-2ED134DEE90F}"/>
                </a:ext>
              </a:extLst>
            </p:cNvPr>
            <p:cNvSpPr/>
            <p:nvPr/>
          </p:nvSpPr>
          <p:spPr>
            <a:xfrm>
              <a:off x="7905380" y="1837302"/>
              <a:ext cx="2418797" cy="799203"/>
            </a:xfrm>
            <a:custGeom>
              <a:avLst/>
              <a:gdLst>
                <a:gd name="connsiteX0" fmla="*/ 1436669 w 1436668"/>
                <a:gd name="connsiteY0" fmla="*/ 435598 h 451688"/>
                <a:gd name="connsiteX1" fmla="*/ 1436669 w 1436668"/>
                <a:gd name="connsiteY1" fmla="*/ 451689 h 451688"/>
                <a:gd name="connsiteX2" fmla="*/ 0 w 1436668"/>
                <a:gd name="connsiteY2" fmla="*/ 451689 h 451688"/>
                <a:gd name="connsiteX3" fmla="*/ 27584 w 1436668"/>
                <a:gd name="connsiteY3" fmla="*/ 362041 h 451688"/>
                <a:gd name="connsiteX4" fmla="*/ 28733 w 1436668"/>
                <a:gd name="connsiteY4" fmla="*/ 359742 h 451688"/>
                <a:gd name="connsiteX5" fmla="*/ 429851 w 1436668"/>
                <a:gd name="connsiteY5" fmla="*/ 95395 h 451688"/>
                <a:gd name="connsiteX6" fmla="*/ 437897 w 1436668"/>
                <a:gd name="connsiteY6" fmla="*/ 95395 h 451688"/>
                <a:gd name="connsiteX7" fmla="*/ 657420 w 1436668"/>
                <a:gd name="connsiteY7" fmla="*/ 155160 h 451688"/>
                <a:gd name="connsiteX8" fmla="*/ 959695 w 1436668"/>
                <a:gd name="connsiteY8" fmla="*/ 0 h 451688"/>
                <a:gd name="connsiteX9" fmla="*/ 1032103 w 1436668"/>
                <a:gd name="connsiteY9" fmla="*/ 0 h 451688"/>
                <a:gd name="connsiteX10" fmla="*/ 1309092 w 1436668"/>
                <a:gd name="connsiteY10" fmla="*/ 127576 h 451688"/>
                <a:gd name="connsiteX11" fmla="*/ 1430922 w 1436668"/>
                <a:gd name="connsiteY11" fmla="*/ 359742 h 451688"/>
                <a:gd name="connsiteX12" fmla="*/ 1430922 w 1436668"/>
                <a:gd name="connsiteY12" fmla="*/ 362041 h 451688"/>
                <a:gd name="connsiteX13" fmla="*/ 1436669 w 1436668"/>
                <a:gd name="connsiteY13" fmla="*/ 435598 h 4516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36668" h="451688">
                  <a:moveTo>
                    <a:pt x="1436669" y="435598"/>
                  </a:moveTo>
                  <a:cubicBezTo>
                    <a:pt x="1436669" y="441345"/>
                    <a:pt x="1436669" y="445942"/>
                    <a:pt x="1436669" y="451689"/>
                  </a:cubicBezTo>
                  <a:lnTo>
                    <a:pt x="0" y="451689"/>
                  </a:lnTo>
                  <a:cubicBezTo>
                    <a:pt x="5747" y="420657"/>
                    <a:pt x="14942" y="390774"/>
                    <a:pt x="27584" y="362041"/>
                  </a:cubicBezTo>
                  <a:cubicBezTo>
                    <a:pt x="27584" y="360892"/>
                    <a:pt x="28733" y="360892"/>
                    <a:pt x="28733" y="359742"/>
                  </a:cubicBezTo>
                  <a:cubicBezTo>
                    <a:pt x="96544" y="204582"/>
                    <a:pt x="250555" y="95395"/>
                    <a:pt x="429851" y="95395"/>
                  </a:cubicBezTo>
                  <a:lnTo>
                    <a:pt x="437897" y="95395"/>
                  </a:lnTo>
                  <a:cubicBezTo>
                    <a:pt x="518350" y="95395"/>
                    <a:pt x="593057" y="117232"/>
                    <a:pt x="657420" y="155160"/>
                  </a:cubicBezTo>
                  <a:cubicBezTo>
                    <a:pt x="730977" y="67811"/>
                    <a:pt x="839015" y="9195"/>
                    <a:pt x="959695" y="0"/>
                  </a:cubicBezTo>
                  <a:lnTo>
                    <a:pt x="1032103" y="0"/>
                  </a:lnTo>
                  <a:cubicBezTo>
                    <a:pt x="1140140" y="8045"/>
                    <a:pt x="1236685" y="55168"/>
                    <a:pt x="1309092" y="127576"/>
                  </a:cubicBezTo>
                  <a:cubicBezTo>
                    <a:pt x="1371157" y="189640"/>
                    <a:pt x="1414831" y="270094"/>
                    <a:pt x="1430922" y="359742"/>
                  </a:cubicBezTo>
                  <a:cubicBezTo>
                    <a:pt x="1430922" y="360892"/>
                    <a:pt x="1430922" y="360892"/>
                    <a:pt x="1430922" y="362041"/>
                  </a:cubicBezTo>
                  <a:cubicBezTo>
                    <a:pt x="1434370" y="385027"/>
                    <a:pt x="1436669" y="410313"/>
                    <a:pt x="1436669" y="435598"/>
                  </a:cubicBezTo>
                  <a:close/>
                </a:path>
              </a:pathLst>
            </a:custGeom>
            <a:grpFill/>
            <a:ln w="1149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3" name="Freeform: Shape 4">
              <a:extLst>
                <a:ext uri="{FF2B5EF4-FFF2-40B4-BE49-F238E27FC236}">
                  <a16:creationId xmlns:a16="http://schemas.microsoft.com/office/drawing/2014/main" id="{9BF9B58A-20B6-489B-AE71-D32E6A75C723}"/>
                </a:ext>
              </a:extLst>
            </p:cNvPr>
            <p:cNvSpPr/>
            <p:nvPr/>
          </p:nvSpPr>
          <p:spPr>
            <a:xfrm>
              <a:off x="9913951" y="2634570"/>
              <a:ext cx="238009" cy="203179"/>
            </a:xfrm>
            <a:custGeom>
              <a:avLst/>
              <a:gdLst>
                <a:gd name="connsiteX0" fmla="*/ 141368 w 141368"/>
                <a:gd name="connsiteY0" fmla="*/ 0 h 120680"/>
                <a:gd name="connsiteX1" fmla="*/ 70109 w 141368"/>
                <a:gd name="connsiteY1" fmla="*/ 120680 h 120680"/>
                <a:gd name="connsiteX2" fmla="*/ 70109 w 141368"/>
                <a:gd name="connsiteY2" fmla="*/ 120680 h 120680"/>
                <a:gd name="connsiteX3" fmla="*/ 70109 w 141368"/>
                <a:gd name="connsiteY3" fmla="*/ 120680 h 120680"/>
                <a:gd name="connsiteX4" fmla="*/ 70109 w 141368"/>
                <a:gd name="connsiteY4" fmla="*/ 120680 h 120680"/>
                <a:gd name="connsiteX5" fmla="*/ 70109 w 141368"/>
                <a:gd name="connsiteY5" fmla="*/ 120680 h 120680"/>
                <a:gd name="connsiteX6" fmla="*/ 0 w 141368"/>
                <a:gd name="connsiteY6" fmla="*/ 0 h 120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1368" h="120680">
                  <a:moveTo>
                    <a:pt x="141368" y="0"/>
                  </a:moveTo>
                  <a:lnTo>
                    <a:pt x="70109" y="120680"/>
                  </a:lnTo>
                  <a:lnTo>
                    <a:pt x="70109" y="120680"/>
                  </a:lnTo>
                  <a:lnTo>
                    <a:pt x="70109" y="120680"/>
                  </a:lnTo>
                  <a:lnTo>
                    <a:pt x="70109" y="120680"/>
                  </a:lnTo>
                  <a:lnTo>
                    <a:pt x="70109" y="120680"/>
                  </a:lnTo>
                  <a:lnTo>
                    <a:pt x="0" y="0"/>
                  </a:lnTo>
                  <a:close/>
                </a:path>
              </a:pathLst>
            </a:custGeom>
            <a:grpFill/>
            <a:ln w="1149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sp>
        <p:nvSpPr>
          <p:cNvPr id="14" name="TextBox 12">
            <a:extLst>
              <a:ext uri="{FF2B5EF4-FFF2-40B4-BE49-F238E27FC236}">
                <a16:creationId xmlns:a16="http://schemas.microsoft.com/office/drawing/2014/main" id="{5A92C4E3-BD10-4CB4-B64C-5BDDE124F0D3}"/>
              </a:ext>
            </a:extLst>
          </p:cNvPr>
          <p:cNvSpPr txBox="1"/>
          <p:nvPr/>
        </p:nvSpPr>
        <p:spPr>
          <a:xfrm>
            <a:off x="1044097" y="3302143"/>
            <a:ext cx="1260281"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D" sz="1600" b="1" i="0" u="none" strike="noStrike" kern="1200" cap="none" spc="0" normalizeH="0" baseline="0" noProof="0">
                <a:ln>
                  <a:noFill/>
                </a:ln>
                <a:solidFill>
                  <a:srgbClr val="000000"/>
                </a:solidFill>
                <a:effectLst/>
                <a:uLnTx/>
                <a:uFillTx/>
                <a:latin typeface="等线 Light" panose="020F0302020204030204"/>
                <a:ea typeface="+mn-ea"/>
                <a:cs typeface="+mn-cs"/>
              </a:rPr>
              <a:t>Description</a:t>
            </a:r>
            <a:endParaRPr kumimoji="0" lang="id-ID" sz="1600" b="1" i="0" u="none" strike="noStrike" kern="1200" cap="none" spc="0" normalizeH="0" baseline="0" noProof="0" dirty="0">
              <a:ln>
                <a:noFill/>
              </a:ln>
              <a:solidFill>
                <a:srgbClr val="000000"/>
              </a:solidFill>
              <a:effectLst/>
              <a:uLnTx/>
              <a:uFillTx/>
              <a:latin typeface="等线 Light" panose="020F0302020204030204"/>
              <a:ea typeface="+mn-ea"/>
              <a:cs typeface="+mn-cs"/>
            </a:endParaRPr>
          </a:p>
        </p:txBody>
      </p:sp>
      <p:sp>
        <p:nvSpPr>
          <p:cNvPr id="15" name="TextBox 13">
            <a:extLst>
              <a:ext uri="{FF2B5EF4-FFF2-40B4-BE49-F238E27FC236}">
                <a16:creationId xmlns:a16="http://schemas.microsoft.com/office/drawing/2014/main" id="{65B6F783-65E6-4DEB-A3B6-6C28E6EC07D7}"/>
              </a:ext>
            </a:extLst>
          </p:cNvPr>
          <p:cNvSpPr txBox="1"/>
          <p:nvPr/>
        </p:nvSpPr>
        <p:spPr>
          <a:xfrm>
            <a:off x="1044096" y="3553490"/>
            <a:ext cx="2212625" cy="617157"/>
          </a:xfrm>
          <a:prstGeom prst="rect">
            <a:avLst/>
          </a:prstGeom>
          <a:noFill/>
        </p:spPr>
        <p:txBody>
          <a:bodyPr wrap="square" rtlCol="0">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等线" panose="020F0502020204030204"/>
                <a:ea typeface="+mn-ea"/>
                <a:cs typeface="+mn-cs"/>
              </a:rPr>
              <a:t>A wonderful serenity has taken has this possession of my entire</a:t>
            </a:r>
            <a:endPar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16" name="TextBox 14">
            <a:extLst>
              <a:ext uri="{FF2B5EF4-FFF2-40B4-BE49-F238E27FC236}">
                <a16:creationId xmlns:a16="http://schemas.microsoft.com/office/drawing/2014/main" id="{85512601-A8DF-47DE-9608-35F09E3DC75C}"/>
              </a:ext>
            </a:extLst>
          </p:cNvPr>
          <p:cNvSpPr txBox="1"/>
          <p:nvPr/>
        </p:nvSpPr>
        <p:spPr>
          <a:xfrm>
            <a:off x="4013409" y="3302143"/>
            <a:ext cx="1279517"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D" sz="1600" b="1" i="0" u="none" strike="noStrike" kern="1200" cap="none" spc="0" normalizeH="0" baseline="0" noProof="0">
                <a:ln>
                  <a:noFill/>
                </a:ln>
                <a:solidFill>
                  <a:srgbClr val="000000"/>
                </a:solidFill>
                <a:effectLst/>
                <a:uLnTx/>
                <a:uFillTx/>
                <a:latin typeface="等线 Light" panose="020F0302020204030204"/>
                <a:ea typeface="+mn-ea"/>
                <a:cs typeface="+mn-cs"/>
              </a:rPr>
              <a:t>Description</a:t>
            </a:r>
            <a:endParaRPr kumimoji="0" lang="id-ID" sz="1600" b="1" i="0" u="none" strike="noStrike" kern="1200" cap="none" spc="0" normalizeH="0" baseline="0" noProof="0" dirty="0">
              <a:ln>
                <a:noFill/>
              </a:ln>
              <a:solidFill>
                <a:srgbClr val="000000"/>
              </a:solidFill>
              <a:effectLst/>
              <a:uLnTx/>
              <a:uFillTx/>
              <a:latin typeface="等线 Light" panose="020F0302020204030204"/>
              <a:ea typeface="+mn-ea"/>
              <a:cs typeface="+mn-cs"/>
            </a:endParaRPr>
          </a:p>
        </p:txBody>
      </p:sp>
      <p:sp>
        <p:nvSpPr>
          <p:cNvPr id="17" name="TextBox 15">
            <a:extLst>
              <a:ext uri="{FF2B5EF4-FFF2-40B4-BE49-F238E27FC236}">
                <a16:creationId xmlns:a16="http://schemas.microsoft.com/office/drawing/2014/main" id="{0C2631FF-84F4-4E4A-8C63-FE035883545F}"/>
              </a:ext>
            </a:extLst>
          </p:cNvPr>
          <p:cNvSpPr txBox="1"/>
          <p:nvPr/>
        </p:nvSpPr>
        <p:spPr>
          <a:xfrm>
            <a:off x="4013408" y="3553490"/>
            <a:ext cx="2212625" cy="617157"/>
          </a:xfrm>
          <a:prstGeom prst="rect">
            <a:avLst/>
          </a:prstGeom>
          <a:noFill/>
        </p:spPr>
        <p:txBody>
          <a:bodyPr wrap="square" rtlCol="0">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等线" panose="020F0502020204030204"/>
                <a:ea typeface="+mn-ea"/>
                <a:cs typeface="+mn-cs"/>
              </a:rPr>
              <a:t>A wonderful serenity has taken has this possession of my entire</a:t>
            </a:r>
            <a:endPar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18" name="TextBox 16">
            <a:extLst>
              <a:ext uri="{FF2B5EF4-FFF2-40B4-BE49-F238E27FC236}">
                <a16:creationId xmlns:a16="http://schemas.microsoft.com/office/drawing/2014/main" id="{24BA791C-C7E7-4558-AE2B-C6CEEE487BBB}"/>
              </a:ext>
            </a:extLst>
          </p:cNvPr>
          <p:cNvSpPr txBox="1"/>
          <p:nvPr/>
        </p:nvSpPr>
        <p:spPr>
          <a:xfrm>
            <a:off x="635757" y="2145262"/>
            <a:ext cx="3177313"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d-ID" sz="1600" b="1" i="0" u="none" strike="noStrike" kern="1200" cap="none" spc="0" normalizeH="0" baseline="0" noProof="0" dirty="0">
                <a:ln>
                  <a:noFill/>
                </a:ln>
                <a:solidFill>
                  <a:srgbClr val="000000"/>
                </a:solidFill>
                <a:effectLst/>
                <a:uLnTx/>
                <a:uFillTx/>
                <a:latin typeface="等线 Light" panose="020F0302020204030204"/>
                <a:ea typeface="+mn-ea"/>
                <a:cs typeface="+mn-cs"/>
              </a:rPr>
              <a:t>Content</a:t>
            </a:r>
          </a:p>
        </p:txBody>
      </p:sp>
      <p:sp>
        <p:nvSpPr>
          <p:cNvPr id="19" name="Rectangle 17">
            <a:extLst>
              <a:ext uri="{FF2B5EF4-FFF2-40B4-BE49-F238E27FC236}">
                <a16:creationId xmlns:a16="http://schemas.microsoft.com/office/drawing/2014/main" id="{7DC067F4-ECD5-44D1-A3C6-2A97ABAA98CC}"/>
              </a:ext>
            </a:extLst>
          </p:cNvPr>
          <p:cNvSpPr/>
          <p:nvPr/>
        </p:nvSpPr>
        <p:spPr>
          <a:xfrm>
            <a:off x="635757" y="2414932"/>
            <a:ext cx="5692568" cy="617541"/>
          </a:xfrm>
          <a:prstGeom prst="rect">
            <a:avLst/>
          </a:prstGeom>
        </p:spPr>
        <p:txBody>
          <a:bodyPr wrap="square">
            <a:spAutoFit/>
          </a:bodyPr>
          <a:lstStyle/>
          <a:p>
            <a:pPr marL="0" marR="0" lvl="0" indent="0" algn="just" defTabSz="914400" rtl="0" eaLnBrk="1" fontAlgn="auto" latinLnBrk="0" hangingPunct="1">
              <a:lnSpc>
                <a:spcPct val="15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等线" panose="020F0502020204030204"/>
                <a:ea typeface="+mn-ea"/>
                <a:cs typeface="+mn-cs"/>
              </a:rPr>
              <a:t>A wonderful serenity has taken possession of my entire soul, like these sweet mornings of spring which I enjoy with my whole heart. I am alone,  in this wonderfull</a:t>
            </a:r>
            <a:endPar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20" name="TextBox 18">
            <a:extLst>
              <a:ext uri="{FF2B5EF4-FFF2-40B4-BE49-F238E27FC236}">
                <a16:creationId xmlns:a16="http://schemas.microsoft.com/office/drawing/2014/main" id="{1C6AADA0-8EA4-4608-92C5-C7F33016AA8B}"/>
              </a:ext>
            </a:extLst>
          </p:cNvPr>
          <p:cNvSpPr txBox="1"/>
          <p:nvPr/>
        </p:nvSpPr>
        <p:spPr>
          <a:xfrm>
            <a:off x="1044097" y="4626712"/>
            <a:ext cx="1279517"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D" sz="1600" b="1" i="0" u="none" strike="noStrike" kern="1200" cap="none" spc="0" normalizeH="0" baseline="0" noProof="0">
                <a:ln>
                  <a:noFill/>
                </a:ln>
                <a:solidFill>
                  <a:srgbClr val="000000"/>
                </a:solidFill>
                <a:effectLst/>
                <a:uLnTx/>
                <a:uFillTx/>
                <a:latin typeface="等线 Light" panose="020F0302020204030204"/>
                <a:ea typeface="+mn-ea"/>
                <a:cs typeface="+mn-cs"/>
              </a:rPr>
              <a:t>Description</a:t>
            </a:r>
            <a:endParaRPr kumimoji="0" lang="id-ID" sz="1600" b="1" i="0" u="none" strike="noStrike" kern="1200" cap="none" spc="0" normalizeH="0" baseline="0" noProof="0">
              <a:ln>
                <a:noFill/>
              </a:ln>
              <a:solidFill>
                <a:srgbClr val="000000"/>
              </a:solidFill>
              <a:effectLst/>
              <a:uLnTx/>
              <a:uFillTx/>
              <a:latin typeface="等线 Light" panose="020F0302020204030204"/>
              <a:ea typeface="+mn-ea"/>
              <a:cs typeface="+mn-cs"/>
            </a:endParaRPr>
          </a:p>
        </p:txBody>
      </p:sp>
      <p:sp>
        <p:nvSpPr>
          <p:cNvPr id="21" name="TextBox 19">
            <a:extLst>
              <a:ext uri="{FF2B5EF4-FFF2-40B4-BE49-F238E27FC236}">
                <a16:creationId xmlns:a16="http://schemas.microsoft.com/office/drawing/2014/main" id="{E21BDDDB-A44A-4398-9F98-CDA5A515CFCD}"/>
              </a:ext>
            </a:extLst>
          </p:cNvPr>
          <p:cNvSpPr txBox="1"/>
          <p:nvPr/>
        </p:nvSpPr>
        <p:spPr>
          <a:xfrm>
            <a:off x="1044097" y="4878059"/>
            <a:ext cx="2212624" cy="617157"/>
          </a:xfrm>
          <a:prstGeom prst="rect">
            <a:avLst/>
          </a:prstGeom>
          <a:noFill/>
        </p:spPr>
        <p:txBody>
          <a:bodyPr wrap="square" rtlCol="0">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等线" panose="020F0502020204030204"/>
                <a:ea typeface="+mn-ea"/>
                <a:cs typeface="+mn-cs"/>
              </a:rPr>
              <a:t>A wonderful serenity has taken has this possession of my entire</a:t>
            </a:r>
            <a:endPar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22" name="TextBox 20">
            <a:extLst>
              <a:ext uri="{FF2B5EF4-FFF2-40B4-BE49-F238E27FC236}">
                <a16:creationId xmlns:a16="http://schemas.microsoft.com/office/drawing/2014/main" id="{85A41206-7A8B-4EFA-A90F-0706F7755E34}"/>
              </a:ext>
            </a:extLst>
          </p:cNvPr>
          <p:cNvSpPr txBox="1"/>
          <p:nvPr/>
        </p:nvSpPr>
        <p:spPr>
          <a:xfrm>
            <a:off x="4013409" y="4626712"/>
            <a:ext cx="1279517"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D" sz="1600" b="1" i="0" u="none" strike="noStrike" kern="1200" cap="none" spc="0" normalizeH="0" baseline="0" noProof="0">
                <a:ln>
                  <a:noFill/>
                </a:ln>
                <a:solidFill>
                  <a:srgbClr val="000000"/>
                </a:solidFill>
                <a:effectLst/>
                <a:uLnTx/>
                <a:uFillTx/>
                <a:latin typeface="等线 Light" panose="020F0302020204030204"/>
                <a:ea typeface="+mn-ea"/>
                <a:cs typeface="+mn-cs"/>
              </a:rPr>
              <a:t>Description</a:t>
            </a:r>
            <a:endParaRPr kumimoji="0" lang="id-ID" sz="1600" b="1" i="0" u="none" strike="noStrike" kern="1200" cap="none" spc="0" normalizeH="0" baseline="0" noProof="0" dirty="0">
              <a:ln>
                <a:noFill/>
              </a:ln>
              <a:solidFill>
                <a:srgbClr val="000000"/>
              </a:solidFill>
              <a:effectLst/>
              <a:uLnTx/>
              <a:uFillTx/>
              <a:latin typeface="等线 Light" panose="020F0302020204030204"/>
              <a:ea typeface="+mn-ea"/>
              <a:cs typeface="+mn-cs"/>
            </a:endParaRPr>
          </a:p>
        </p:txBody>
      </p:sp>
      <p:sp>
        <p:nvSpPr>
          <p:cNvPr id="23" name="TextBox 21">
            <a:extLst>
              <a:ext uri="{FF2B5EF4-FFF2-40B4-BE49-F238E27FC236}">
                <a16:creationId xmlns:a16="http://schemas.microsoft.com/office/drawing/2014/main" id="{9F8C96B6-CC13-48D2-B2F0-1B556AC58A1E}"/>
              </a:ext>
            </a:extLst>
          </p:cNvPr>
          <p:cNvSpPr txBox="1"/>
          <p:nvPr/>
        </p:nvSpPr>
        <p:spPr>
          <a:xfrm>
            <a:off x="4013408" y="4878059"/>
            <a:ext cx="2212625" cy="617157"/>
          </a:xfrm>
          <a:prstGeom prst="rect">
            <a:avLst/>
          </a:prstGeom>
          <a:noFill/>
        </p:spPr>
        <p:txBody>
          <a:bodyPr wrap="square" rtlCol="0">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等线" panose="020F0502020204030204"/>
                <a:ea typeface="+mn-ea"/>
                <a:cs typeface="+mn-cs"/>
              </a:rPr>
              <a:t>A wonderful serenity has taken has this possession of my entire</a:t>
            </a:r>
            <a:endPar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24" name="Oval 46">
            <a:extLst>
              <a:ext uri="{FF2B5EF4-FFF2-40B4-BE49-F238E27FC236}">
                <a16:creationId xmlns:a16="http://schemas.microsoft.com/office/drawing/2014/main" id="{73048EB3-13DF-4A1C-9377-DF5CA451BC75}"/>
              </a:ext>
            </a:extLst>
          </p:cNvPr>
          <p:cNvSpPr/>
          <p:nvPr/>
        </p:nvSpPr>
        <p:spPr>
          <a:xfrm>
            <a:off x="718409" y="3339906"/>
            <a:ext cx="263028" cy="26302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FFFFFF"/>
              </a:solidFill>
              <a:effectLst/>
              <a:uLnTx/>
              <a:uFillTx/>
              <a:latin typeface="等线" panose="020F0502020204030204"/>
              <a:ea typeface="+mn-ea"/>
              <a:cs typeface="+mn-cs"/>
            </a:endParaRPr>
          </a:p>
        </p:txBody>
      </p:sp>
      <p:sp>
        <p:nvSpPr>
          <p:cNvPr id="25" name="Oval 47">
            <a:extLst>
              <a:ext uri="{FF2B5EF4-FFF2-40B4-BE49-F238E27FC236}">
                <a16:creationId xmlns:a16="http://schemas.microsoft.com/office/drawing/2014/main" id="{CD46DEE6-2A68-49B5-ADF4-35B8570AFAB1}"/>
              </a:ext>
            </a:extLst>
          </p:cNvPr>
          <p:cNvSpPr/>
          <p:nvPr/>
        </p:nvSpPr>
        <p:spPr>
          <a:xfrm>
            <a:off x="718409" y="4664475"/>
            <a:ext cx="263028" cy="263028"/>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FFFFFF"/>
              </a:solidFill>
              <a:effectLst/>
              <a:uLnTx/>
              <a:uFillTx/>
              <a:latin typeface="等线" panose="020F0502020204030204"/>
              <a:ea typeface="+mn-ea"/>
              <a:cs typeface="+mn-cs"/>
            </a:endParaRPr>
          </a:p>
        </p:txBody>
      </p:sp>
      <p:sp>
        <p:nvSpPr>
          <p:cNvPr id="26" name="Oval 48">
            <a:extLst>
              <a:ext uri="{FF2B5EF4-FFF2-40B4-BE49-F238E27FC236}">
                <a16:creationId xmlns:a16="http://schemas.microsoft.com/office/drawing/2014/main" id="{9CC8630C-3BD3-4E24-83C3-DFA3CAFDCD14}"/>
              </a:ext>
            </a:extLst>
          </p:cNvPr>
          <p:cNvSpPr/>
          <p:nvPr/>
        </p:nvSpPr>
        <p:spPr>
          <a:xfrm>
            <a:off x="3715609" y="3339906"/>
            <a:ext cx="263028" cy="263028"/>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FFFFFF"/>
              </a:solidFill>
              <a:effectLst/>
              <a:uLnTx/>
              <a:uFillTx/>
              <a:latin typeface="等线" panose="020F0502020204030204"/>
              <a:ea typeface="+mn-ea"/>
              <a:cs typeface="+mn-cs"/>
            </a:endParaRPr>
          </a:p>
        </p:txBody>
      </p:sp>
      <p:sp>
        <p:nvSpPr>
          <p:cNvPr id="27" name="Oval 49">
            <a:extLst>
              <a:ext uri="{FF2B5EF4-FFF2-40B4-BE49-F238E27FC236}">
                <a16:creationId xmlns:a16="http://schemas.microsoft.com/office/drawing/2014/main" id="{33763440-1982-4371-8530-22B319CF0055}"/>
              </a:ext>
            </a:extLst>
          </p:cNvPr>
          <p:cNvSpPr/>
          <p:nvPr/>
        </p:nvSpPr>
        <p:spPr>
          <a:xfrm>
            <a:off x="3715609" y="4664475"/>
            <a:ext cx="263028" cy="263028"/>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FFFFFF"/>
              </a:solidFill>
              <a:effectLst/>
              <a:uLnTx/>
              <a:uFillTx/>
              <a:latin typeface="等线" panose="020F0502020204030204"/>
              <a:ea typeface="+mn-ea"/>
              <a:cs typeface="+mn-cs"/>
            </a:endParaRPr>
          </a:p>
        </p:txBody>
      </p:sp>
      <p:sp>
        <p:nvSpPr>
          <p:cNvPr id="28" name="TextBox 51">
            <a:extLst>
              <a:ext uri="{FF2B5EF4-FFF2-40B4-BE49-F238E27FC236}">
                <a16:creationId xmlns:a16="http://schemas.microsoft.com/office/drawing/2014/main" id="{24087258-71E8-45B9-ACA9-780DD14C437B}"/>
              </a:ext>
            </a:extLst>
          </p:cNvPr>
          <p:cNvSpPr txBox="1"/>
          <p:nvPr/>
        </p:nvSpPr>
        <p:spPr>
          <a:xfrm>
            <a:off x="8684943" y="2130012"/>
            <a:ext cx="992579" cy="52322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D" sz="2800" b="1" i="0" u="none" strike="noStrike" kern="1200" cap="none" spc="0" normalizeH="0" baseline="0" noProof="0">
                <a:ln>
                  <a:noFill/>
                </a:ln>
                <a:solidFill>
                  <a:srgbClr val="F0F0F0"/>
                </a:solidFill>
                <a:effectLst/>
                <a:uLnTx/>
                <a:uFillTx/>
                <a:latin typeface="等线 Light" panose="020F0302020204030204"/>
                <a:ea typeface="+mn-ea"/>
                <a:cs typeface="+mn-cs"/>
              </a:rPr>
              <a:t>345k</a:t>
            </a:r>
            <a:endParaRPr kumimoji="0" lang="id-ID" sz="2800" b="1" i="0" u="none" strike="noStrike" kern="1200" cap="none" spc="0" normalizeH="0" baseline="0" noProof="0" dirty="0">
              <a:ln>
                <a:noFill/>
              </a:ln>
              <a:solidFill>
                <a:srgbClr val="F0F0F0"/>
              </a:solidFill>
              <a:effectLst/>
              <a:uLnTx/>
              <a:uFillTx/>
              <a:latin typeface="等线 Light" panose="020F0302020204030204"/>
              <a:ea typeface="+mn-ea"/>
              <a:cs typeface="+mn-cs"/>
            </a:endParaRPr>
          </a:p>
        </p:txBody>
      </p:sp>
      <p:sp>
        <p:nvSpPr>
          <p:cNvPr id="29" name="TextBox 54">
            <a:extLst>
              <a:ext uri="{FF2B5EF4-FFF2-40B4-BE49-F238E27FC236}">
                <a16:creationId xmlns:a16="http://schemas.microsoft.com/office/drawing/2014/main" id="{5BD1D3A6-87EB-4FC5-824A-B95F87847282}"/>
              </a:ext>
            </a:extLst>
          </p:cNvPr>
          <p:cNvSpPr txBox="1"/>
          <p:nvPr/>
        </p:nvSpPr>
        <p:spPr>
          <a:xfrm>
            <a:off x="8684141" y="2811304"/>
            <a:ext cx="994183" cy="52322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D" sz="2800" b="1" i="0" u="none" strike="noStrike" kern="1200" cap="none" spc="0" normalizeH="0" baseline="0" noProof="0">
                <a:ln>
                  <a:noFill/>
                </a:ln>
                <a:solidFill>
                  <a:srgbClr val="F0F0F0"/>
                </a:solidFill>
                <a:effectLst/>
                <a:uLnTx/>
                <a:uFillTx/>
                <a:latin typeface="等线 Light" panose="020F0302020204030204"/>
                <a:ea typeface="+mn-ea"/>
                <a:cs typeface="+mn-cs"/>
              </a:rPr>
              <a:t>332k</a:t>
            </a:r>
            <a:endParaRPr kumimoji="0" lang="id-ID" sz="2800" b="1" i="0" u="none" strike="noStrike" kern="1200" cap="none" spc="0" normalizeH="0" baseline="0" noProof="0" dirty="0">
              <a:ln>
                <a:noFill/>
              </a:ln>
              <a:solidFill>
                <a:srgbClr val="F0F0F0"/>
              </a:solidFill>
              <a:effectLst/>
              <a:uLnTx/>
              <a:uFillTx/>
              <a:latin typeface="等线 Light" panose="020F0302020204030204"/>
              <a:ea typeface="+mn-ea"/>
              <a:cs typeface="+mn-cs"/>
            </a:endParaRPr>
          </a:p>
        </p:txBody>
      </p:sp>
      <p:sp>
        <p:nvSpPr>
          <p:cNvPr id="30" name="TextBox 55">
            <a:extLst>
              <a:ext uri="{FF2B5EF4-FFF2-40B4-BE49-F238E27FC236}">
                <a16:creationId xmlns:a16="http://schemas.microsoft.com/office/drawing/2014/main" id="{756DF0B9-3D13-4DC6-87CC-DEF70C353495}"/>
              </a:ext>
            </a:extLst>
          </p:cNvPr>
          <p:cNvSpPr txBox="1"/>
          <p:nvPr/>
        </p:nvSpPr>
        <p:spPr>
          <a:xfrm>
            <a:off x="8684141" y="3525044"/>
            <a:ext cx="1013419" cy="52322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D" sz="2800" b="1" i="0" u="none" strike="noStrike" kern="1200" cap="none" spc="0" normalizeH="0" baseline="0" noProof="0">
                <a:ln>
                  <a:noFill/>
                </a:ln>
                <a:solidFill>
                  <a:srgbClr val="F0F0F0"/>
                </a:solidFill>
                <a:effectLst/>
                <a:uLnTx/>
                <a:uFillTx/>
                <a:latin typeface="等线 Light" panose="020F0302020204030204"/>
                <a:ea typeface="+mn-ea"/>
                <a:cs typeface="+mn-cs"/>
              </a:rPr>
              <a:t>200k</a:t>
            </a:r>
            <a:endParaRPr kumimoji="0" lang="id-ID" sz="2800" b="1" i="0" u="none" strike="noStrike" kern="1200" cap="none" spc="0" normalizeH="0" baseline="0" noProof="0" dirty="0">
              <a:ln>
                <a:noFill/>
              </a:ln>
              <a:solidFill>
                <a:srgbClr val="F0F0F0"/>
              </a:solidFill>
              <a:effectLst/>
              <a:uLnTx/>
              <a:uFillTx/>
              <a:latin typeface="等线 Light" panose="020F0302020204030204"/>
              <a:ea typeface="+mn-ea"/>
              <a:cs typeface="+mn-cs"/>
            </a:endParaRPr>
          </a:p>
        </p:txBody>
      </p:sp>
      <p:sp>
        <p:nvSpPr>
          <p:cNvPr id="31" name="TextBox 56">
            <a:extLst>
              <a:ext uri="{FF2B5EF4-FFF2-40B4-BE49-F238E27FC236}">
                <a16:creationId xmlns:a16="http://schemas.microsoft.com/office/drawing/2014/main" id="{AD809E11-16F9-488B-8534-803D5DD48B43}"/>
              </a:ext>
            </a:extLst>
          </p:cNvPr>
          <p:cNvSpPr txBox="1"/>
          <p:nvPr/>
        </p:nvSpPr>
        <p:spPr>
          <a:xfrm>
            <a:off x="8684141" y="4261644"/>
            <a:ext cx="1003801" cy="52322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D" sz="2800" b="1" i="0" u="none" strike="noStrike" kern="1200" cap="none" spc="0" normalizeH="0" baseline="0" noProof="0">
                <a:ln>
                  <a:noFill/>
                </a:ln>
                <a:solidFill>
                  <a:srgbClr val="F0F0F0"/>
                </a:solidFill>
                <a:effectLst/>
                <a:uLnTx/>
                <a:uFillTx/>
                <a:latin typeface="等线 Light" panose="020F0302020204030204"/>
                <a:ea typeface="+mn-ea"/>
                <a:cs typeface="+mn-cs"/>
              </a:rPr>
              <a:t>230k</a:t>
            </a:r>
            <a:endParaRPr kumimoji="0" lang="id-ID" sz="2800" b="1" i="0" u="none" strike="noStrike" kern="1200" cap="none" spc="0" normalizeH="0" baseline="0" noProof="0" dirty="0">
              <a:ln>
                <a:noFill/>
              </a:ln>
              <a:solidFill>
                <a:srgbClr val="F0F0F0"/>
              </a:solidFill>
              <a:effectLst/>
              <a:uLnTx/>
              <a:uFillTx/>
              <a:latin typeface="等线 Light" panose="020F0302020204030204"/>
              <a:ea typeface="+mn-ea"/>
              <a:cs typeface="+mn-cs"/>
            </a:endParaRPr>
          </a:p>
        </p:txBody>
      </p:sp>
    </p:spTree>
    <p:extLst>
      <p:ext uri="{BB962C8B-B14F-4D97-AF65-F5344CB8AC3E}">
        <p14:creationId xmlns:p14="http://schemas.microsoft.com/office/powerpoint/2010/main" val="3410814755"/>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500"/>
                                        <p:tgtEl>
                                          <p:spTgt spid="2"/>
                                        </p:tgtEl>
                                      </p:cBhvr>
                                    </p:animEffect>
                                  </p:childTnLst>
                                </p:cTn>
                              </p:par>
                              <p:par>
                                <p:cTn id="12" presetID="10" presetClass="entr" presetSubtype="0" fill="hold" nodeType="withEffect">
                                  <p:stCondLst>
                                    <p:cond delay="0"/>
                                  </p:stCondLst>
                                  <p:childTnLst>
                                    <p:set>
                                      <p:cBhvr>
                                        <p:cTn id="13" dur="1" fill="hold">
                                          <p:stCondLst>
                                            <p:cond delay="0"/>
                                          </p:stCondLst>
                                        </p:cTn>
                                        <p:tgtEl>
                                          <p:spTgt spid="11"/>
                                        </p:tgtEl>
                                        <p:attrNameLst>
                                          <p:attrName>style.visibility</p:attrName>
                                        </p:attrNameLst>
                                      </p:cBhvr>
                                      <p:to>
                                        <p:strVal val="visible"/>
                                      </p:to>
                                    </p:set>
                                    <p:animEffect transition="in" filter="fade">
                                      <p:cBhvr>
                                        <p:cTn id="14" dur="500"/>
                                        <p:tgtEl>
                                          <p:spTgt spid="11"/>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28"/>
                                        </p:tgtEl>
                                        <p:attrNameLst>
                                          <p:attrName>style.visibility</p:attrName>
                                        </p:attrNameLst>
                                      </p:cBhvr>
                                      <p:to>
                                        <p:strVal val="visible"/>
                                      </p:to>
                                    </p:set>
                                    <p:animEffect transition="in" filter="fade">
                                      <p:cBhvr>
                                        <p:cTn id="17" dur="500"/>
                                        <p:tgtEl>
                                          <p:spTgt spid="28"/>
                                        </p:tgtEl>
                                      </p:cBhvr>
                                    </p:animEffect>
                                  </p:childTnLst>
                                </p:cTn>
                              </p:par>
                            </p:childTnLst>
                          </p:cTn>
                        </p:par>
                        <p:par>
                          <p:cTn id="18" fill="hold">
                            <p:stCondLst>
                              <p:cond delay="1000"/>
                            </p:stCondLst>
                            <p:childTnLst>
                              <p:par>
                                <p:cTn id="19" presetID="10" presetClass="entr" presetSubtype="0" fill="hold" nodeType="afterEffect">
                                  <p:stCondLst>
                                    <p:cond delay="0"/>
                                  </p:stCondLst>
                                  <p:childTnLst>
                                    <p:set>
                                      <p:cBhvr>
                                        <p:cTn id="20" dur="1" fill="hold">
                                          <p:stCondLst>
                                            <p:cond delay="0"/>
                                          </p:stCondLst>
                                        </p:cTn>
                                        <p:tgtEl>
                                          <p:spTgt spid="7"/>
                                        </p:tgtEl>
                                        <p:attrNameLst>
                                          <p:attrName>style.visibility</p:attrName>
                                        </p:attrNameLst>
                                      </p:cBhvr>
                                      <p:to>
                                        <p:strVal val="visible"/>
                                      </p:to>
                                    </p:set>
                                    <p:animEffect transition="in" filter="fade">
                                      <p:cBhvr>
                                        <p:cTn id="21" dur="500"/>
                                        <p:tgtEl>
                                          <p:spTgt spid="7"/>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29"/>
                                        </p:tgtEl>
                                        <p:attrNameLst>
                                          <p:attrName>style.visibility</p:attrName>
                                        </p:attrNameLst>
                                      </p:cBhvr>
                                      <p:to>
                                        <p:strVal val="visible"/>
                                      </p:to>
                                    </p:set>
                                    <p:animEffect transition="in" filter="fade">
                                      <p:cBhvr>
                                        <p:cTn id="24" dur="500"/>
                                        <p:tgtEl>
                                          <p:spTgt spid="29"/>
                                        </p:tgtEl>
                                      </p:cBhvr>
                                    </p:animEffect>
                                  </p:childTnLst>
                                </p:cTn>
                              </p:par>
                            </p:childTnLst>
                          </p:cTn>
                        </p:par>
                        <p:par>
                          <p:cTn id="25" fill="hold">
                            <p:stCondLst>
                              <p:cond delay="1500"/>
                            </p:stCondLst>
                            <p:childTnLst>
                              <p:par>
                                <p:cTn id="26" presetID="10" presetClass="entr" presetSubtype="0" fill="hold" nodeType="afterEffect">
                                  <p:stCondLst>
                                    <p:cond delay="0"/>
                                  </p:stCondLst>
                                  <p:childTnLst>
                                    <p:set>
                                      <p:cBhvr>
                                        <p:cTn id="27" dur="1" fill="hold">
                                          <p:stCondLst>
                                            <p:cond delay="0"/>
                                          </p:stCondLst>
                                        </p:cTn>
                                        <p:tgtEl>
                                          <p:spTgt spid="4"/>
                                        </p:tgtEl>
                                        <p:attrNameLst>
                                          <p:attrName>style.visibility</p:attrName>
                                        </p:attrNameLst>
                                      </p:cBhvr>
                                      <p:to>
                                        <p:strVal val="visible"/>
                                      </p:to>
                                    </p:set>
                                    <p:animEffect transition="in" filter="fade">
                                      <p:cBhvr>
                                        <p:cTn id="28" dur="500"/>
                                        <p:tgtEl>
                                          <p:spTgt spid="4"/>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30"/>
                                        </p:tgtEl>
                                        <p:attrNameLst>
                                          <p:attrName>style.visibility</p:attrName>
                                        </p:attrNameLst>
                                      </p:cBhvr>
                                      <p:to>
                                        <p:strVal val="visible"/>
                                      </p:to>
                                    </p:set>
                                    <p:animEffect transition="in" filter="fade">
                                      <p:cBhvr>
                                        <p:cTn id="31" dur="500"/>
                                        <p:tgtEl>
                                          <p:spTgt spid="30"/>
                                        </p:tgtEl>
                                      </p:cBhvr>
                                    </p:animEffect>
                                  </p:childTnLst>
                                </p:cTn>
                              </p:par>
                            </p:childTnLst>
                          </p:cTn>
                        </p:par>
                        <p:par>
                          <p:cTn id="32" fill="hold">
                            <p:stCondLst>
                              <p:cond delay="2000"/>
                            </p:stCondLst>
                            <p:childTnLst>
                              <p:par>
                                <p:cTn id="33" presetID="10" presetClass="entr" presetSubtype="0" fill="hold" grpId="0" nodeType="afterEffect">
                                  <p:stCondLst>
                                    <p:cond delay="0"/>
                                  </p:stCondLst>
                                  <p:childTnLst>
                                    <p:set>
                                      <p:cBhvr>
                                        <p:cTn id="34" dur="1" fill="hold">
                                          <p:stCondLst>
                                            <p:cond delay="0"/>
                                          </p:stCondLst>
                                        </p:cTn>
                                        <p:tgtEl>
                                          <p:spTgt spid="3"/>
                                        </p:tgtEl>
                                        <p:attrNameLst>
                                          <p:attrName>style.visibility</p:attrName>
                                        </p:attrNameLst>
                                      </p:cBhvr>
                                      <p:to>
                                        <p:strVal val="visible"/>
                                      </p:to>
                                    </p:set>
                                    <p:animEffect transition="in" filter="fade">
                                      <p:cBhvr>
                                        <p:cTn id="35" dur="500"/>
                                        <p:tgtEl>
                                          <p:spTgt spid="3"/>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31"/>
                                        </p:tgtEl>
                                        <p:attrNameLst>
                                          <p:attrName>style.visibility</p:attrName>
                                        </p:attrNameLst>
                                      </p:cBhvr>
                                      <p:to>
                                        <p:strVal val="visible"/>
                                      </p:to>
                                    </p:set>
                                    <p:animEffect transition="in" filter="fade">
                                      <p:cBhvr>
                                        <p:cTn id="38" dur="500"/>
                                        <p:tgtEl>
                                          <p:spTgt spid="31"/>
                                        </p:tgtEl>
                                      </p:cBhvr>
                                    </p:animEffect>
                                  </p:childTnLst>
                                </p:cTn>
                              </p:par>
                            </p:childTnLst>
                          </p:cTn>
                        </p:par>
                        <p:par>
                          <p:cTn id="39" fill="hold">
                            <p:stCondLst>
                              <p:cond delay="2500"/>
                            </p:stCondLst>
                            <p:childTnLst>
                              <p:par>
                                <p:cTn id="40" presetID="10" presetClass="entr" presetSubtype="0" fill="hold" grpId="0" nodeType="afterEffect">
                                  <p:stCondLst>
                                    <p:cond delay="0"/>
                                  </p:stCondLst>
                                  <p:childTnLst>
                                    <p:set>
                                      <p:cBhvr>
                                        <p:cTn id="41" dur="1" fill="hold">
                                          <p:stCondLst>
                                            <p:cond delay="0"/>
                                          </p:stCondLst>
                                        </p:cTn>
                                        <p:tgtEl>
                                          <p:spTgt spid="18"/>
                                        </p:tgtEl>
                                        <p:attrNameLst>
                                          <p:attrName>style.visibility</p:attrName>
                                        </p:attrNameLst>
                                      </p:cBhvr>
                                      <p:to>
                                        <p:strVal val="visible"/>
                                      </p:to>
                                    </p:set>
                                    <p:animEffect transition="in" filter="fade">
                                      <p:cBhvr>
                                        <p:cTn id="42" dur="500"/>
                                        <p:tgtEl>
                                          <p:spTgt spid="18"/>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19"/>
                                        </p:tgtEl>
                                        <p:attrNameLst>
                                          <p:attrName>style.visibility</p:attrName>
                                        </p:attrNameLst>
                                      </p:cBhvr>
                                      <p:to>
                                        <p:strVal val="visible"/>
                                      </p:to>
                                    </p:set>
                                    <p:animEffect transition="in" filter="fade">
                                      <p:cBhvr>
                                        <p:cTn id="45" dur="500"/>
                                        <p:tgtEl>
                                          <p:spTgt spid="19"/>
                                        </p:tgtEl>
                                      </p:cBhvr>
                                    </p:animEffect>
                                  </p:childTnLst>
                                </p:cTn>
                              </p:par>
                            </p:childTnLst>
                          </p:cTn>
                        </p:par>
                        <p:par>
                          <p:cTn id="46" fill="hold">
                            <p:stCondLst>
                              <p:cond delay="3000"/>
                            </p:stCondLst>
                            <p:childTnLst>
                              <p:par>
                                <p:cTn id="47" presetID="10" presetClass="entr" presetSubtype="0" fill="hold" grpId="0" nodeType="afterEffect">
                                  <p:stCondLst>
                                    <p:cond delay="0"/>
                                  </p:stCondLst>
                                  <p:childTnLst>
                                    <p:set>
                                      <p:cBhvr>
                                        <p:cTn id="48" dur="1" fill="hold">
                                          <p:stCondLst>
                                            <p:cond delay="0"/>
                                          </p:stCondLst>
                                        </p:cTn>
                                        <p:tgtEl>
                                          <p:spTgt spid="24"/>
                                        </p:tgtEl>
                                        <p:attrNameLst>
                                          <p:attrName>style.visibility</p:attrName>
                                        </p:attrNameLst>
                                      </p:cBhvr>
                                      <p:to>
                                        <p:strVal val="visible"/>
                                      </p:to>
                                    </p:set>
                                    <p:animEffect transition="in" filter="fade">
                                      <p:cBhvr>
                                        <p:cTn id="49" dur="500"/>
                                        <p:tgtEl>
                                          <p:spTgt spid="24"/>
                                        </p:tgtEl>
                                      </p:cBhvr>
                                    </p:animEffect>
                                  </p:childTnLst>
                                </p:cTn>
                              </p:par>
                              <p:par>
                                <p:cTn id="50" presetID="10" presetClass="entr" presetSubtype="0" fill="hold" grpId="0" nodeType="withEffect">
                                  <p:stCondLst>
                                    <p:cond delay="0"/>
                                  </p:stCondLst>
                                  <p:childTnLst>
                                    <p:set>
                                      <p:cBhvr>
                                        <p:cTn id="51" dur="1" fill="hold">
                                          <p:stCondLst>
                                            <p:cond delay="0"/>
                                          </p:stCondLst>
                                        </p:cTn>
                                        <p:tgtEl>
                                          <p:spTgt spid="25"/>
                                        </p:tgtEl>
                                        <p:attrNameLst>
                                          <p:attrName>style.visibility</p:attrName>
                                        </p:attrNameLst>
                                      </p:cBhvr>
                                      <p:to>
                                        <p:strVal val="visible"/>
                                      </p:to>
                                    </p:set>
                                    <p:animEffect transition="in" filter="fade">
                                      <p:cBhvr>
                                        <p:cTn id="52" dur="500"/>
                                        <p:tgtEl>
                                          <p:spTgt spid="25"/>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26"/>
                                        </p:tgtEl>
                                        <p:attrNameLst>
                                          <p:attrName>style.visibility</p:attrName>
                                        </p:attrNameLst>
                                      </p:cBhvr>
                                      <p:to>
                                        <p:strVal val="visible"/>
                                      </p:to>
                                    </p:set>
                                    <p:animEffect transition="in" filter="fade">
                                      <p:cBhvr>
                                        <p:cTn id="55" dur="500"/>
                                        <p:tgtEl>
                                          <p:spTgt spid="26"/>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27"/>
                                        </p:tgtEl>
                                        <p:attrNameLst>
                                          <p:attrName>style.visibility</p:attrName>
                                        </p:attrNameLst>
                                      </p:cBhvr>
                                      <p:to>
                                        <p:strVal val="visible"/>
                                      </p:to>
                                    </p:set>
                                    <p:animEffect transition="in" filter="fade">
                                      <p:cBhvr>
                                        <p:cTn id="58" dur="500"/>
                                        <p:tgtEl>
                                          <p:spTgt spid="27"/>
                                        </p:tgtEl>
                                      </p:cBhvr>
                                    </p:animEffect>
                                  </p:childTnLst>
                                </p:cTn>
                              </p:par>
                            </p:childTnLst>
                          </p:cTn>
                        </p:par>
                        <p:par>
                          <p:cTn id="59" fill="hold">
                            <p:stCondLst>
                              <p:cond delay="3500"/>
                            </p:stCondLst>
                            <p:childTnLst>
                              <p:par>
                                <p:cTn id="60" presetID="22" presetClass="entr" presetSubtype="8" fill="hold" grpId="0" nodeType="afterEffect">
                                  <p:stCondLst>
                                    <p:cond delay="0"/>
                                  </p:stCondLst>
                                  <p:childTnLst>
                                    <p:set>
                                      <p:cBhvr>
                                        <p:cTn id="61" dur="1" fill="hold">
                                          <p:stCondLst>
                                            <p:cond delay="0"/>
                                          </p:stCondLst>
                                        </p:cTn>
                                        <p:tgtEl>
                                          <p:spTgt spid="14"/>
                                        </p:tgtEl>
                                        <p:attrNameLst>
                                          <p:attrName>style.visibility</p:attrName>
                                        </p:attrNameLst>
                                      </p:cBhvr>
                                      <p:to>
                                        <p:strVal val="visible"/>
                                      </p:to>
                                    </p:set>
                                    <p:animEffect transition="in" filter="wipe(left)">
                                      <p:cBhvr>
                                        <p:cTn id="62" dur="500"/>
                                        <p:tgtEl>
                                          <p:spTgt spid="14"/>
                                        </p:tgtEl>
                                      </p:cBhvr>
                                    </p:animEffect>
                                  </p:childTnLst>
                                </p:cTn>
                              </p:par>
                              <p:par>
                                <p:cTn id="63" presetID="22" presetClass="entr" presetSubtype="8" fill="hold" grpId="0" nodeType="withEffect">
                                  <p:stCondLst>
                                    <p:cond delay="0"/>
                                  </p:stCondLst>
                                  <p:childTnLst>
                                    <p:set>
                                      <p:cBhvr>
                                        <p:cTn id="64" dur="1" fill="hold">
                                          <p:stCondLst>
                                            <p:cond delay="0"/>
                                          </p:stCondLst>
                                        </p:cTn>
                                        <p:tgtEl>
                                          <p:spTgt spid="15"/>
                                        </p:tgtEl>
                                        <p:attrNameLst>
                                          <p:attrName>style.visibility</p:attrName>
                                        </p:attrNameLst>
                                      </p:cBhvr>
                                      <p:to>
                                        <p:strVal val="visible"/>
                                      </p:to>
                                    </p:set>
                                    <p:animEffect transition="in" filter="wipe(left)">
                                      <p:cBhvr>
                                        <p:cTn id="65" dur="500"/>
                                        <p:tgtEl>
                                          <p:spTgt spid="15"/>
                                        </p:tgtEl>
                                      </p:cBhvr>
                                    </p:animEffect>
                                  </p:childTnLst>
                                </p:cTn>
                              </p:par>
                              <p:par>
                                <p:cTn id="66" presetID="22" presetClass="entr" presetSubtype="8" fill="hold" grpId="0" nodeType="withEffect">
                                  <p:stCondLst>
                                    <p:cond delay="0"/>
                                  </p:stCondLst>
                                  <p:childTnLst>
                                    <p:set>
                                      <p:cBhvr>
                                        <p:cTn id="67" dur="1" fill="hold">
                                          <p:stCondLst>
                                            <p:cond delay="0"/>
                                          </p:stCondLst>
                                        </p:cTn>
                                        <p:tgtEl>
                                          <p:spTgt spid="21"/>
                                        </p:tgtEl>
                                        <p:attrNameLst>
                                          <p:attrName>style.visibility</p:attrName>
                                        </p:attrNameLst>
                                      </p:cBhvr>
                                      <p:to>
                                        <p:strVal val="visible"/>
                                      </p:to>
                                    </p:set>
                                    <p:animEffect transition="in" filter="wipe(left)">
                                      <p:cBhvr>
                                        <p:cTn id="68" dur="500"/>
                                        <p:tgtEl>
                                          <p:spTgt spid="21"/>
                                        </p:tgtEl>
                                      </p:cBhvr>
                                    </p:animEffect>
                                  </p:childTnLst>
                                </p:cTn>
                              </p:par>
                              <p:par>
                                <p:cTn id="69" presetID="22" presetClass="entr" presetSubtype="8" fill="hold" grpId="0" nodeType="withEffect">
                                  <p:stCondLst>
                                    <p:cond delay="0"/>
                                  </p:stCondLst>
                                  <p:childTnLst>
                                    <p:set>
                                      <p:cBhvr>
                                        <p:cTn id="70" dur="1" fill="hold">
                                          <p:stCondLst>
                                            <p:cond delay="0"/>
                                          </p:stCondLst>
                                        </p:cTn>
                                        <p:tgtEl>
                                          <p:spTgt spid="20"/>
                                        </p:tgtEl>
                                        <p:attrNameLst>
                                          <p:attrName>style.visibility</p:attrName>
                                        </p:attrNameLst>
                                      </p:cBhvr>
                                      <p:to>
                                        <p:strVal val="visible"/>
                                      </p:to>
                                    </p:set>
                                    <p:animEffect transition="in" filter="wipe(left)">
                                      <p:cBhvr>
                                        <p:cTn id="71" dur="500"/>
                                        <p:tgtEl>
                                          <p:spTgt spid="20"/>
                                        </p:tgtEl>
                                      </p:cBhvr>
                                    </p:animEffect>
                                  </p:childTnLst>
                                </p:cTn>
                              </p:par>
                              <p:par>
                                <p:cTn id="72" presetID="22" presetClass="entr" presetSubtype="8" fill="hold" grpId="0" nodeType="withEffect">
                                  <p:stCondLst>
                                    <p:cond delay="0"/>
                                  </p:stCondLst>
                                  <p:childTnLst>
                                    <p:set>
                                      <p:cBhvr>
                                        <p:cTn id="73" dur="1" fill="hold">
                                          <p:stCondLst>
                                            <p:cond delay="0"/>
                                          </p:stCondLst>
                                        </p:cTn>
                                        <p:tgtEl>
                                          <p:spTgt spid="16"/>
                                        </p:tgtEl>
                                        <p:attrNameLst>
                                          <p:attrName>style.visibility</p:attrName>
                                        </p:attrNameLst>
                                      </p:cBhvr>
                                      <p:to>
                                        <p:strVal val="visible"/>
                                      </p:to>
                                    </p:set>
                                    <p:animEffect transition="in" filter="wipe(left)">
                                      <p:cBhvr>
                                        <p:cTn id="74" dur="500"/>
                                        <p:tgtEl>
                                          <p:spTgt spid="16"/>
                                        </p:tgtEl>
                                      </p:cBhvr>
                                    </p:animEffect>
                                  </p:childTnLst>
                                </p:cTn>
                              </p:par>
                              <p:par>
                                <p:cTn id="75" presetID="22" presetClass="entr" presetSubtype="8" fill="hold" grpId="0" nodeType="withEffect">
                                  <p:stCondLst>
                                    <p:cond delay="0"/>
                                  </p:stCondLst>
                                  <p:childTnLst>
                                    <p:set>
                                      <p:cBhvr>
                                        <p:cTn id="76" dur="1" fill="hold">
                                          <p:stCondLst>
                                            <p:cond delay="0"/>
                                          </p:stCondLst>
                                        </p:cTn>
                                        <p:tgtEl>
                                          <p:spTgt spid="17"/>
                                        </p:tgtEl>
                                        <p:attrNameLst>
                                          <p:attrName>style.visibility</p:attrName>
                                        </p:attrNameLst>
                                      </p:cBhvr>
                                      <p:to>
                                        <p:strVal val="visible"/>
                                      </p:to>
                                    </p:set>
                                    <p:animEffect transition="in" filter="wipe(left)">
                                      <p:cBhvr>
                                        <p:cTn id="77" dur="500"/>
                                        <p:tgtEl>
                                          <p:spTgt spid="17"/>
                                        </p:tgtEl>
                                      </p:cBhvr>
                                    </p:animEffect>
                                  </p:childTnLst>
                                </p:cTn>
                              </p:par>
                              <p:par>
                                <p:cTn id="78" presetID="22" presetClass="entr" presetSubtype="8" fill="hold" grpId="0" nodeType="withEffect">
                                  <p:stCondLst>
                                    <p:cond delay="0"/>
                                  </p:stCondLst>
                                  <p:childTnLst>
                                    <p:set>
                                      <p:cBhvr>
                                        <p:cTn id="79" dur="1" fill="hold">
                                          <p:stCondLst>
                                            <p:cond delay="0"/>
                                          </p:stCondLst>
                                        </p:cTn>
                                        <p:tgtEl>
                                          <p:spTgt spid="22"/>
                                        </p:tgtEl>
                                        <p:attrNameLst>
                                          <p:attrName>style.visibility</p:attrName>
                                        </p:attrNameLst>
                                      </p:cBhvr>
                                      <p:to>
                                        <p:strVal val="visible"/>
                                      </p:to>
                                    </p:set>
                                    <p:animEffect transition="in" filter="wipe(left)">
                                      <p:cBhvr>
                                        <p:cTn id="80" dur="500"/>
                                        <p:tgtEl>
                                          <p:spTgt spid="22"/>
                                        </p:tgtEl>
                                      </p:cBhvr>
                                    </p:animEffect>
                                  </p:childTnLst>
                                </p:cTn>
                              </p:par>
                              <p:par>
                                <p:cTn id="81" presetID="22" presetClass="entr" presetSubtype="8" fill="hold" grpId="0" nodeType="withEffect">
                                  <p:stCondLst>
                                    <p:cond delay="0"/>
                                  </p:stCondLst>
                                  <p:childTnLst>
                                    <p:set>
                                      <p:cBhvr>
                                        <p:cTn id="82" dur="1" fill="hold">
                                          <p:stCondLst>
                                            <p:cond delay="0"/>
                                          </p:stCondLst>
                                        </p:cTn>
                                        <p:tgtEl>
                                          <p:spTgt spid="23"/>
                                        </p:tgtEl>
                                        <p:attrNameLst>
                                          <p:attrName>style.visibility</p:attrName>
                                        </p:attrNameLst>
                                      </p:cBhvr>
                                      <p:to>
                                        <p:strVal val="visible"/>
                                      </p:to>
                                    </p:set>
                                    <p:animEffect transition="in" filter="wipe(left)">
                                      <p:cBhvr>
                                        <p:cTn id="83" dur="5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3" grpId="0" animBg="1"/>
      <p:bldP spid="10" grpId="0"/>
      <p:bldP spid="14" grpId="0"/>
      <p:bldP spid="15" grpId="0"/>
      <p:bldP spid="16" grpId="0"/>
      <p:bldP spid="17" grpId="0"/>
      <p:bldP spid="18" grpId="0"/>
      <p:bldP spid="19" grpId="0"/>
      <p:bldP spid="20" grpId="0"/>
      <p:bldP spid="21" grpId="0"/>
      <p:bldP spid="22" grpId="0"/>
      <p:bldP spid="23" grpId="0"/>
      <p:bldP spid="24" grpId="0" animBg="1"/>
      <p:bldP spid="25" grpId="0" animBg="1"/>
      <p:bldP spid="26" grpId="0" animBg="1"/>
      <p:bldP spid="27" grpId="0" animBg="1"/>
      <p:bldP spid="28" grpId="0"/>
      <p:bldP spid="29" grpId="0"/>
      <p:bldP spid="30" grpId="0"/>
      <p:bldP spid="31" grpId="0"/>
    </p:bldLst>
  </p:timing>
</p:sld>
</file>

<file path=ppt/slides/slide6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4B5FA-9BD7-453F-807F-90C32F770F55}"/>
              </a:ext>
            </a:extLst>
          </p:cNvPr>
          <p:cNvSpPr txBox="1">
            <a:spLocks/>
          </p:cNvSpPr>
          <p:nvPr/>
        </p:nvSpPr>
        <p:spPr>
          <a:xfrm>
            <a:off x="2043113" y="304800"/>
            <a:ext cx="8105775" cy="1105808"/>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4400" b="0" i="0" u="none" strike="noStrike" kern="1200" cap="none" spc="0" normalizeH="0" baseline="0" noProof="0">
                <a:ln>
                  <a:noFill/>
                </a:ln>
                <a:solidFill>
                  <a:srgbClr val="000000"/>
                </a:solidFill>
                <a:effectLst/>
                <a:uLnTx/>
                <a:uFillTx/>
                <a:latin typeface="等线 Light" panose="020F0302020204030204"/>
                <a:ea typeface="+mj-ea"/>
                <a:cs typeface="+mj-cs"/>
              </a:rPr>
              <a:t>Tree Infographic</a:t>
            </a:r>
            <a:endParaRPr kumimoji="0" lang="en-ID" sz="4400" b="0" i="0" u="none" strike="noStrike" kern="1200" cap="none" spc="0" normalizeH="0" baseline="0" noProof="0">
              <a:ln>
                <a:noFill/>
              </a:ln>
              <a:solidFill>
                <a:srgbClr val="000000"/>
              </a:solidFill>
              <a:effectLst/>
              <a:uLnTx/>
              <a:uFillTx/>
              <a:latin typeface="等线 Light" panose="020F0302020204030204"/>
              <a:ea typeface="+mj-ea"/>
              <a:cs typeface="+mj-cs"/>
            </a:endParaRPr>
          </a:p>
        </p:txBody>
      </p:sp>
      <p:sp>
        <p:nvSpPr>
          <p:cNvPr id="3" name="Freeform: Shape 4">
            <a:extLst>
              <a:ext uri="{FF2B5EF4-FFF2-40B4-BE49-F238E27FC236}">
                <a16:creationId xmlns:a16="http://schemas.microsoft.com/office/drawing/2014/main" id="{B8567031-D4B6-454B-B2FD-CE54BA135773}"/>
              </a:ext>
            </a:extLst>
          </p:cNvPr>
          <p:cNvSpPr/>
          <p:nvPr/>
        </p:nvSpPr>
        <p:spPr>
          <a:xfrm>
            <a:off x="8551406" y="1435401"/>
            <a:ext cx="1457803" cy="1428993"/>
          </a:xfrm>
          <a:custGeom>
            <a:avLst/>
            <a:gdLst>
              <a:gd name="connsiteX0" fmla="*/ 963930 w 963929"/>
              <a:gd name="connsiteY0" fmla="*/ 472440 h 944880"/>
              <a:gd name="connsiteX1" fmla="*/ 481965 w 963929"/>
              <a:gd name="connsiteY1" fmla="*/ 944880 h 944880"/>
              <a:gd name="connsiteX2" fmla="*/ 0 w 963929"/>
              <a:gd name="connsiteY2" fmla="*/ 472440 h 944880"/>
              <a:gd name="connsiteX3" fmla="*/ 481965 w 963929"/>
              <a:gd name="connsiteY3" fmla="*/ 0 h 944880"/>
              <a:gd name="connsiteX4" fmla="*/ 963930 w 963929"/>
              <a:gd name="connsiteY4" fmla="*/ 472440 h 9448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3929" h="944880">
                <a:moveTo>
                  <a:pt x="963930" y="472440"/>
                </a:moveTo>
                <a:cubicBezTo>
                  <a:pt x="963930" y="733361"/>
                  <a:pt x="748147" y="944880"/>
                  <a:pt x="481965" y="944880"/>
                </a:cubicBezTo>
                <a:cubicBezTo>
                  <a:pt x="215783" y="944880"/>
                  <a:pt x="0" y="733361"/>
                  <a:pt x="0" y="472440"/>
                </a:cubicBezTo>
                <a:cubicBezTo>
                  <a:pt x="0" y="211519"/>
                  <a:pt x="215783" y="0"/>
                  <a:pt x="481965" y="0"/>
                </a:cubicBezTo>
                <a:cubicBezTo>
                  <a:pt x="748147" y="0"/>
                  <a:pt x="963930" y="211519"/>
                  <a:pt x="963930" y="472440"/>
                </a:cubicBezTo>
                <a:close/>
              </a:path>
            </a:pathLst>
          </a:custGeom>
          <a:solidFill>
            <a:schemeClr val="accent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4" name="Freeform: Shape 5">
            <a:extLst>
              <a:ext uri="{FF2B5EF4-FFF2-40B4-BE49-F238E27FC236}">
                <a16:creationId xmlns:a16="http://schemas.microsoft.com/office/drawing/2014/main" id="{DC459DD2-0249-4D1B-8F37-DD92983BA384}"/>
              </a:ext>
            </a:extLst>
          </p:cNvPr>
          <p:cNvSpPr/>
          <p:nvPr/>
        </p:nvSpPr>
        <p:spPr>
          <a:xfrm>
            <a:off x="6690256" y="3051662"/>
            <a:ext cx="1152415" cy="1129366"/>
          </a:xfrm>
          <a:custGeom>
            <a:avLst/>
            <a:gdLst>
              <a:gd name="connsiteX0" fmla="*/ 762000 w 762000"/>
              <a:gd name="connsiteY0" fmla="*/ 373380 h 746760"/>
              <a:gd name="connsiteX1" fmla="*/ 381000 w 762000"/>
              <a:gd name="connsiteY1" fmla="*/ 746760 h 746760"/>
              <a:gd name="connsiteX2" fmla="*/ 0 w 762000"/>
              <a:gd name="connsiteY2" fmla="*/ 373380 h 746760"/>
              <a:gd name="connsiteX3" fmla="*/ 381000 w 762000"/>
              <a:gd name="connsiteY3" fmla="*/ 0 h 746760"/>
              <a:gd name="connsiteX4" fmla="*/ 762000 w 762000"/>
              <a:gd name="connsiteY4" fmla="*/ 373380 h 7467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000" h="746760">
                <a:moveTo>
                  <a:pt x="762000" y="373380"/>
                </a:moveTo>
                <a:cubicBezTo>
                  <a:pt x="762000" y="579592"/>
                  <a:pt x="591421" y="746760"/>
                  <a:pt x="381000" y="746760"/>
                </a:cubicBezTo>
                <a:cubicBezTo>
                  <a:pt x="170580" y="746760"/>
                  <a:pt x="0" y="579592"/>
                  <a:pt x="0" y="373380"/>
                </a:cubicBezTo>
                <a:cubicBezTo>
                  <a:pt x="0" y="167168"/>
                  <a:pt x="170580" y="0"/>
                  <a:pt x="381000" y="0"/>
                </a:cubicBezTo>
                <a:cubicBezTo>
                  <a:pt x="591421" y="0"/>
                  <a:pt x="762000" y="167168"/>
                  <a:pt x="762000" y="373380"/>
                </a:cubicBezTo>
                <a:close/>
              </a:path>
            </a:pathLst>
          </a:custGeom>
          <a:solidFill>
            <a:schemeClr val="accent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5" name="Freeform: Shape 6">
            <a:extLst>
              <a:ext uri="{FF2B5EF4-FFF2-40B4-BE49-F238E27FC236}">
                <a16:creationId xmlns:a16="http://schemas.microsoft.com/office/drawing/2014/main" id="{C9790623-C3E2-4E03-93F4-4876EDB467DA}"/>
              </a:ext>
            </a:extLst>
          </p:cNvPr>
          <p:cNvSpPr/>
          <p:nvPr/>
        </p:nvSpPr>
        <p:spPr>
          <a:xfrm>
            <a:off x="10578215" y="2387582"/>
            <a:ext cx="749070" cy="734664"/>
          </a:xfrm>
          <a:custGeom>
            <a:avLst/>
            <a:gdLst>
              <a:gd name="connsiteX0" fmla="*/ 495300 w 495300"/>
              <a:gd name="connsiteY0" fmla="*/ 242887 h 485775"/>
              <a:gd name="connsiteX1" fmla="*/ 247650 w 495300"/>
              <a:gd name="connsiteY1" fmla="*/ 485775 h 485775"/>
              <a:gd name="connsiteX2" fmla="*/ 0 w 495300"/>
              <a:gd name="connsiteY2" fmla="*/ 242887 h 485775"/>
              <a:gd name="connsiteX3" fmla="*/ 247650 w 495300"/>
              <a:gd name="connsiteY3" fmla="*/ 0 h 485775"/>
              <a:gd name="connsiteX4" fmla="*/ 495300 w 495300"/>
              <a:gd name="connsiteY4" fmla="*/ 242887 h 485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5300" h="485775">
                <a:moveTo>
                  <a:pt x="495300" y="242887"/>
                </a:moveTo>
                <a:cubicBezTo>
                  <a:pt x="495300" y="377031"/>
                  <a:pt x="384423" y="485775"/>
                  <a:pt x="247650" y="485775"/>
                </a:cubicBezTo>
                <a:cubicBezTo>
                  <a:pt x="110877" y="485775"/>
                  <a:pt x="0" y="377031"/>
                  <a:pt x="0" y="242887"/>
                </a:cubicBezTo>
                <a:cubicBezTo>
                  <a:pt x="0" y="108744"/>
                  <a:pt x="110877" y="0"/>
                  <a:pt x="247650" y="0"/>
                </a:cubicBezTo>
                <a:cubicBezTo>
                  <a:pt x="384423" y="0"/>
                  <a:pt x="495300" y="108744"/>
                  <a:pt x="495300" y="242887"/>
                </a:cubicBezTo>
                <a:close/>
              </a:path>
            </a:pathLst>
          </a:custGeom>
          <a:solidFill>
            <a:schemeClr val="accent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6" name="Freeform: Shape 7">
            <a:extLst>
              <a:ext uri="{FF2B5EF4-FFF2-40B4-BE49-F238E27FC236}">
                <a16:creationId xmlns:a16="http://schemas.microsoft.com/office/drawing/2014/main" id="{A5A29B91-C447-46A4-B2C1-92D510388077}"/>
              </a:ext>
            </a:extLst>
          </p:cNvPr>
          <p:cNvSpPr/>
          <p:nvPr/>
        </p:nvSpPr>
        <p:spPr>
          <a:xfrm>
            <a:off x="8747317" y="3622106"/>
            <a:ext cx="429275" cy="420630"/>
          </a:xfrm>
          <a:custGeom>
            <a:avLst/>
            <a:gdLst>
              <a:gd name="connsiteX0" fmla="*/ 283845 w 283845"/>
              <a:gd name="connsiteY0" fmla="*/ 139065 h 278129"/>
              <a:gd name="connsiteX1" fmla="*/ 141923 w 283845"/>
              <a:gd name="connsiteY1" fmla="*/ 278130 h 278129"/>
              <a:gd name="connsiteX2" fmla="*/ 0 w 283845"/>
              <a:gd name="connsiteY2" fmla="*/ 139065 h 278129"/>
              <a:gd name="connsiteX3" fmla="*/ 141923 w 283845"/>
              <a:gd name="connsiteY3" fmla="*/ 0 h 278129"/>
              <a:gd name="connsiteX4" fmla="*/ 283845 w 283845"/>
              <a:gd name="connsiteY4" fmla="*/ 139065 h 2781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845" h="278129">
                <a:moveTo>
                  <a:pt x="283845" y="139065"/>
                </a:moveTo>
                <a:cubicBezTo>
                  <a:pt x="283845" y="215868"/>
                  <a:pt x="220304" y="278130"/>
                  <a:pt x="141923" y="278130"/>
                </a:cubicBezTo>
                <a:cubicBezTo>
                  <a:pt x="63541" y="278130"/>
                  <a:pt x="0" y="215869"/>
                  <a:pt x="0" y="139065"/>
                </a:cubicBezTo>
                <a:cubicBezTo>
                  <a:pt x="0" y="62261"/>
                  <a:pt x="63541" y="0"/>
                  <a:pt x="141923" y="0"/>
                </a:cubicBezTo>
                <a:cubicBezTo>
                  <a:pt x="220304" y="0"/>
                  <a:pt x="283845" y="62261"/>
                  <a:pt x="283845" y="139065"/>
                </a:cubicBezTo>
                <a:close/>
              </a:path>
            </a:pathLst>
          </a:custGeom>
          <a:solidFill>
            <a:schemeClr val="accent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7" name="Freeform: Shape 8">
            <a:extLst>
              <a:ext uri="{FF2B5EF4-FFF2-40B4-BE49-F238E27FC236}">
                <a16:creationId xmlns:a16="http://schemas.microsoft.com/office/drawing/2014/main" id="{DF0DB1A2-F706-4955-B56D-BB33B052E877}"/>
              </a:ext>
            </a:extLst>
          </p:cNvPr>
          <p:cNvSpPr/>
          <p:nvPr/>
        </p:nvSpPr>
        <p:spPr>
          <a:xfrm>
            <a:off x="8065951" y="3980795"/>
            <a:ext cx="429275" cy="420630"/>
          </a:xfrm>
          <a:custGeom>
            <a:avLst/>
            <a:gdLst>
              <a:gd name="connsiteX0" fmla="*/ 283845 w 283845"/>
              <a:gd name="connsiteY0" fmla="*/ 139065 h 278129"/>
              <a:gd name="connsiteX1" fmla="*/ 141923 w 283845"/>
              <a:gd name="connsiteY1" fmla="*/ 278130 h 278129"/>
              <a:gd name="connsiteX2" fmla="*/ 0 w 283845"/>
              <a:gd name="connsiteY2" fmla="*/ 139065 h 278129"/>
              <a:gd name="connsiteX3" fmla="*/ 141923 w 283845"/>
              <a:gd name="connsiteY3" fmla="*/ 0 h 278129"/>
              <a:gd name="connsiteX4" fmla="*/ 283845 w 283845"/>
              <a:gd name="connsiteY4" fmla="*/ 139065 h 2781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845" h="278129">
                <a:moveTo>
                  <a:pt x="283845" y="139065"/>
                </a:moveTo>
                <a:cubicBezTo>
                  <a:pt x="283845" y="215868"/>
                  <a:pt x="220304" y="278130"/>
                  <a:pt x="141923" y="278130"/>
                </a:cubicBezTo>
                <a:cubicBezTo>
                  <a:pt x="63541" y="278130"/>
                  <a:pt x="0" y="215869"/>
                  <a:pt x="0" y="139065"/>
                </a:cubicBezTo>
                <a:cubicBezTo>
                  <a:pt x="0" y="62262"/>
                  <a:pt x="63541" y="0"/>
                  <a:pt x="141923" y="0"/>
                </a:cubicBezTo>
                <a:cubicBezTo>
                  <a:pt x="220304" y="0"/>
                  <a:pt x="283845" y="62261"/>
                  <a:pt x="283845" y="139065"/>
                </a:cubicBezTo>
                <a:close/>
              </a:path>
            </a:pathLst>
          </a:custGeom>
          <a:solidFill>
            <a:schemeClr val="accent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8" name="Freeform: Shape 9">
            <a:extLst>
              <a:ext uri="{FF2B5EF4-FFF2-40B4-BE49-F238E27FC236}">
                <a16:creationId xmlns:a16="http://schemas.microsoft.com/office/drawing/2014/main" id="{32D9AA8C-F787-4515-88E4-3607AAD75137}"/>
              </a:ext>
            </a:extLst>
          </p:cNvPr>
          <p:cNvSpPr/>
          <p:nvPr/>
        </p:nvSpPr>
        <p:spPr>
          <a:xfrm>
            <a:off x="10931143" y="4865272"/>
            <a:ext cx="429273" cy="420631"/>
          </a:xfrm>
          <a:custGeom>
            <a:avLst/>
            <a:gdLst>
              <a:gd name="connsiteX0" fmla="*/ 283845 w 283844"/>
              <a:gd name="connsiteY0" fmla="*/ 139065 h 278130"/>
              <a:gd name="connsiteX1" fmla="*/ 141923 w 283844"/>
              <a:gd name="connsiteY1" fmla="*/ 278130 h 278130"/>
              <a:gd name="connsiteX2" fmla="*/ 0 w 283844"/>
              <a:gd name="connsiteY2" fmla="*/ 139065 h 278130"/>
              <a:gd name="connsiteX3" fmla="*/ 141923 w 283844"/>
              <a:gd name="connsiteY3" fmla="*/ 0 h 278130"/>
              <a:gd name="connsiteX4" fmla="*/ 283845 w 283844"/>
              <a:gd name="connsiteY4" fmla="*/ 139065 h 2781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844" h="278130">
                <a:moveTo>
                  <a:pt x="283845" y="139065"/>
                </a:moveTo>
                <a:cubicBezTo>
                  <a:pt x="283845" y="215869"/>
                  <a:pt x="220304" y="278130"/>
                  <a:pt x="141923" y="278130"/>
                </a:cubicBezTo>
                <a:cubicBezTo>
                  <a:pt x="63541" y="278130"/>
                  <a:pt x="0" y="215868"/>
                  <a:pt x="0" y="139065"/>
                </a:cubicBezTo>
                <a:cubicBezTo>
                  <a:pt x="0" y="62261"/>
                  <a:pt x="63541" y="0"/>
                  <a:pt x="141923" y="0"/>
                </a:cubicBezTo>
                <a:cubicBezTo>
                  <a:pt x="220304" y="0"/>
                  <a:pt x="283845" y="62261"/>
                  <a:pt x="283845" y="139065"/>
                </a:cubicBezTo>
                <a:close/>
              </a:path>
            </a:pathLst>
          </a:custGeom>
          <a:solidFill>
            <a:schemeClr val="accent4"/>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9" name="Freeform: Shape 10">
            <a:extLst>
              <a:ext uri="{FF2B5EF4-FFF2-40B4-BE49-F238E27FC236}">
                <a16:creationId xmlns:a16="http://schemas.microsoft.com/office/drawing/2014/main" id="{F8F19DBE-245C-4334-A1DD-C63598679C08}"/>
              </a:ext>
            </a:extLst>
          </p:cNvPr>
          <p:cNvSpPr/>
          <p:nvPr/>
        </p:nvSpPr>
        <p:spPr>
          <a:xfrm>
            <a:off x="7841230" y="4649195"/>
            <a:ext cx="388940" cy="380295"/>
          </a:xfrm>
          <a:custGeom>
            <a:avLst/>
            <a:gdLst>
              <a:gd name="connsiteX0" fmla="*/ 257175 w 257175"/>
              <a:gd name="connsiteY0" fmla="*/ 125730 h 251459"/>
              <a:gd name="connsiteX1" fmla="*/ 128588 w 257175"/>
              <a:gd name="connsiteY1" fmla="*/ 251460 h 251459"/>
              <a:gd name="connsiteX2" fmla="*/ 0 w 257175"/>
              <a:gd name="connsiteY2" fmla="*/ 125730 h 251459"/>
              <a:gd name="connsiteX3" fmla="*/ 128588 w 257175"/>
              <a:gd name="connsiteY3" fmla="*/ 0 h 251459"/>
              <a:gd name="connsiteX4" fmla="*/ 257175 w 257175"/>
              <a:gd name="connsiteY4" fmla="*/ 125730 h 2514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7175" h="251459">
                <a:moveTo>
                  <a:pt x="257175" y="125730"/>
                </a:moveTo>
                <a:cubicBezTo>
                  <a:pt x="257175" y="195169"/>
                  <a:pt x="199604" y="251460"/>
                  <a:pt x="128588" y="251460"/>
                </a:cubicBezTo>
                <a:cubicBezTo>
                  <a:pt x="57571" y="251460"/>
                  <a:pt x="0" y="195169"/>
                  <a:pt x="0" y="125730"/>
                </a:cubicBezTo>
                <a:cubicBezTo>
                  <a:pt x="0" y="56291"/>
                  <a:pt x="57571" y="0"/>
                  <a:pt x="128588" y="0"/>
                </a:cubicBezTo>
                <a:cubicBezTo>
                  <a:pt x="199604" y="0"/>
                  <a:pt x="257175" y="56291"/>
                  <a:pt x="257175" y="125730"/>
                </a:cubicBezTo>
                <a:close/>
              </a:path>
            </a:pathLst>
          </a:custGeom>
          <a:solidFill>
            <a:schemeClr val="accent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0" name="Freeform: Shape 11">
            <a:extLst>
              <a:ext uri="{FF2B5EF4-FFF2-40B4-BE49-F238E27FC236}">
                <a16:creationId xmlns:a16="http://schemas.microsoft.com/office/drawing/2014/main" id="{5B9D2E1E-C9B2-4D20-902A-EC64CE1C6EB7}"/>
              </a:ext>
            </a:extLst>
          </p:cNvPr>
          <p:cNvSpPr/>
          <p:nvPr/>
        </p:nvSpPr>
        <p:spPr>
          <a:xfrm>
            <a:off x="10504750" y="5399705"/>
            <a:ext cx="388940" cy="380295"/>
          </a:xfrm>
          <a:custGeom>
            <a:avLst/>
            <a:gdLst>
              <a:gd name="connsiteX0" fmla="*/ 257175 w 257175"/>
              <a:gd name="connsiteY0" fmla="*/ 125730 h 251459"/>
              <a:gd name="connsiteX1" fmla="*/ 128587 w 257175"/>
              <a:gd name="connsiteY1" fmla="*/ 251460 h 251459"/>
              <a:gd name="connsiteX2" fmla="*/ 0 w 257175"/>
              <a:gd name="connsiteY2" fmla="*/ 125730 h 251459"/>
              <a:gd name="connsiteX3" fmla="*/ 128587 w 257175"/>
              <a:gd name="connsiteY3" fmla="*/ 0 h 251459"/>
              <a:gd name="connsiteX4" fmla="*/ 257175 w 257175"/>
              <a:gd name="connsiteY4" fmla="*/ 125730 h 2514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7175" h="251459">
                <a:moveTo>
                  <a:pt x="257175" y="125730"/>
                </a:moveTo>
                <a:cubicBezTo>
                  <a:pt x="257175" y="195169"/>
                  <a:pt x="199604" y="251460"/>
                  <a:pt x="128587" y="251460"/>
                </a:cubicBezTo>
                <a:cubicBezTo>
                  <a:pt x="57570" y="251460"/>
                  <a:pt x="0" y="195169"/>
                  <a:pt x="0" y="125730"/>
                </a:cubicBezTo>
                <a:cubicBezTo>
                  <a:pt x="0" y="56291"/>
                  <a:pt x="57570" y="0"/>
                  <a:pt x="128587" y="0"/>
                </a:cubicBezTo>
                <a:cubicBezTo>
                  <a:pt x="199604" y="0"/>
                  <a:pt x="257175" y="56291"/>
                  <a:pt x="257175" y="125730"/>
                </a:cubicBezTo>
                <a:close/>
              </a:path>
            </a:pathLst>
          </a:custGeom>
          <a:solidFill>
            <a:schemeClr val="accent4"/>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1" name="Freeform: Shape 12">
            <a:extLst>
              <a:ext uri="{FF2B5EF4-FFF2-40B4-BE49-F238E27FC236}">
                <a16:creationId xmlns:a16="http://schemas.microsoft.com/office/drawing/2014/main" id="{7E0AC2B3-AC9D-4117-9646-01FA61E8432E}"/>
              </a:ext>
            </a:extLst>
          </p:cNvPr>
          <p:cNvSpPr/>
          <p:nvPr/>
        </p:nvSpPr>
        <p:spPr>
          <a:xfrm>
            <a:off x="9963115" y="5546638"/>
            <a:ext cx="570445" cy="558919"/>
          </a:xfrm>
          <a:custGeom>
            <a:avLst/>
            <a:gdLst>
              <a:gd name="connsiteX0" fmla="*/ 377190 w 377190"/>
              <a:gd name="connsiteY0" fmla="*/ 184785 h 369569"/>
              <a:gd name="connsiteX1" fmla="*/ 188595 w 377190"/>
              <a:gd name="connsiteY1" fmla="*/ 369570 h 369569"/>
              <a:gd name="connsiteX2" fmla="*/ 0 w 377190"/>
              <a:gd name="connsiteY2" fmla="*/ 184785 h 369569"/>
              <a:gd name="connsiteX3" fmla="*/ 188595 w 377190"/>
              <a:gd name="connsiteY3" fmla="*/ 0 h 369569"/>
              <a:gd name="connsiteX4" fmla="*/ 377190 w 377190"/>
              <a:gd name="connsiteY4" fmla="*/ 184785 h 3695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7190" h="369569">
                <a:moveTo>
                  <a:pt x="377190" y="184785"/>
                </a:moveTo>
                <a:cubicBezTo>
                  <a:pt x="377190" y="286839"/>
                  <a:pt x="292753" y="369570"/>
                  <a:pt x="188595" y="369570"/>
                </a:cubicBezTo>
                <a:cubicBezTo>
                  <a:pt x="84437" y="369570"/>
                  <a:pt x="0" y="286839"/>
                  <a:pt x="0" y="184785"/>
                </a:cubicBezTo>
                <a:cubicBezTo>
                  <a:pt x="0" y="82731"/>
                  <a:pt x="84437" y="0"/>
                  <a:pt x="188595" y="0"/>
                </a:cubicBezTo>
                <a:cubicBezTo>
                  <a:pt x="292753" y="0"/>
                  <a:pt x="377190" y="82731"/>
                  <a:pt x="377190" y="184785"/>
                </a:cubicBezTo>
                <a:close/>
              </a:path>
            </a:pathLst>
          </a:custGeom>
          <a:solidFill>
            <a:schemeClr val="accent4"/>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2" name="Freeform: Shape 13">
            <a:extLst>
              <a:ext uri="{FF2B5EF4-FFF2-40B4-BE49-F238E27FC236}">
                <a16:creationId xmlns:a16="http://schemas.microsoft.com/office/drawing/2014/main" id="{52544B49-A6DE-4593-87D9-E85DFE97CF12}"/>
              </a:ext>
            </a:extLst>
          </p:cNvPr>
          <p:cNvSpPr/>
          <p:nvPr/>
        </p:nvSpPr>
        <p:spPr>
          <a:xfrm>
            <a:off x="7394669" y="4618945"/>
            <a:ext cx="322675" cy="316914"/>
          </a:xfrm>
          <a:custGeom>
            <a:avLst/>
            <a:gdLst>
              <a:gd name="connsiteX0" fmla="*/ 213360 w 213359"/>
              <a:gd name="connsiteY0" fmla="*/ 104775 h 209550"/>
              <a:gd name="connsiteX1" fmla="*/ 106680 w 213359"/>
              <a:gd name="connsiteY1" fmla="*/ 209550 h 209550"/>
              <a:gd name="connsiteX2" fmla="*/ 0 w 213359"/>
              <a:gd name="connsiteY2" fmla="*/ 104775 h 209550"/>
              <a:gd name="connsiteX3" fmla="*/ 106680 w 213359"/>
              <a:gd name="connsiteY3" fmla="*/ 0 h 209550"/>
              <a:gd name="connsiteX4" fmla="*/ 213360 w 213359"/>
              <a:gd name="connsiteY4" fmla="*/ 104775 h 2095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359" h="209550">
                <a:moveTo>
                  <a:pt x="213360" y="104775"/>
                </a:moveTo>
                <a:cubicBezTo>
                  <a:pt x="213360" y="162641"/>
                  <a:pt x="165598" y="209550"/>
                  <a:pt x="106680" y="209550"/>
                </a:cubicBezTo>
                <a:cubicBezTo>
                  <a:pt x="47762" y="209550"/>
                  <a:pt x="0" y="162641"/>
                  <a:pt x="0" y="104775"/>
                </a:cubicBezTo>
                <a:cubicBezTo>
                  <a:pt x="0" y="46909"/>
                  <a:pt x="47762" y="0"/>
                  <a:pt x="106680" y="0"/>
                </a:cubicBezTo>
                <a:cubicBezTo>
                  <a:pt x="165598" y="0"/>
                  <a:pt x="213360" y="46909"/>
                  <a:pt x="213360" y="104775"/>
                </a:cubicBezTo>
                <a:close/>
              </a:path>
            </a:pathLst>
          </a:custGeom>
          <a:solidFill>
            <a:schemeClr val="accent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3" name="Freeform: Shape 14">
            <a:extLst>
              <a:ext uri="{FF2B5EF4-FFF2-40B4-BE49-F238E27FC236}">
                <a16:creationId xmlns:a16="http://schemas.microsoft.com/office/drawing/2014/main" id="{E564A838-02F4-48B2-9252-4B579F5ED384}"/>
              </a:ext>
            </a:extLst>
          </p:cNvPr>
          <p:cNvSpPr/>
          <p:nvPr/>
        </p:nvSpPr>
        <p:spPr>
          <a:xfrm>
            <a:off x="10549405" y="5042457"/>
            <a:ext cx="322675" cy="316914"/>
          </a:xfrm>
          <a:custGeom>
            <a:avLst/>
            <a:gdLst>
              <a:gd name="connsiteX0" fmla="*/ 213360 w 213359"/>
              <a:gd name="connsiteY0" fmla="*/ 104775 h 209550"/>
              <a:gd name="connsiteX1" fmla="*/ 106680 w 213359"/>
              <a:gd name="connsiteY1" fmla="*/ 209550 h 209550"/>
              <a:gd name="connsiteX2" fmla="*/ 0 w 213359"/>
              <a:gd name="connsiteY2" fmla="*/ 104775 h 209550"/>
              <a:gd name="connsiteX3" fmla="*/ 106680 w 213359"/>
              <a:gd name="connsiteY3" fmla="*/ 0 h 209550"/>
              <a:gd name="connsiteX4" fmla="*/ 213360 w 213359"/>
              <a:gd name="connsiteY4" fmla="*/ 104775 h 2095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359" h="209550">
                <a:moveTo>
                  <a:pt x="213360" y="104775"/>
                </a:moveTo>
                <a:cubicBezTo>
                  <a:pt x="213360" y="162641"/>
                  <a:pt x="165598" y="209550"/>
                  <a:pt x="106680" y="209550"/>
                </a:cubicBezTo>
                <a:cubicBezTo>
                  <a:pt x="47762" y="209550"/>
                  <a:pt x="0" y="162641"/>
                  <a:pt x="0" y="104775"/>
                </a:cubicBezTo>
                <a:cubicBezTo>
                  <a:pt x="0" y="46909"/>
                  <a:pt x="47762" y="0"/>
                  <a:pt x="106680" y="0"/>
                </a:cubicBezTo>
                <a:cubicBezTo>
                  <a:pt x="165597" y="0"/>
                  <a:pt x="213360" y="46909"/>
                  <a:pt x="213360" y="104775"/>
                </a:cubicBezTo>
                <a:close/>
              </a:path>
            </a:pathLst>
          </a:custGeom>
          <a:solidFill>
            <a:schemeClr val="accent4"/>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4" name="Freeform: Shape 15">
            <a:extLst>
              <a:ext uri="{FF2B5EF4-FFF2-40B4-BE49-F238E27FC236}">
                <a16:creationId xmlns:a16="http://schemas.microsoft.com/office/drawing/2014/main" id="{AF097350-F5CC-4E8D-A2EE-A93568334F66}"/>
              </a:ext>
            </a:extLst>
          </p:cNvPr>
          <p:cNvSpPr/>
          <p:nvPr/>
        </p:nvSpPr>
        <p:spPr>
          <a:xfrm>
            <a:off x="9905494" y="2425036"/>
            <a:ext cx="429275" cy="420630"/>
          </a:xfrm>
          <a:custGeom>
            <a:avLst/>
            <a:gdLst>
              <a:gd name="connsiteX0" fmla="*/ 283845 w 283845"/>
              <a:gd name="connsiteY0" fmla="*/ 139065 h 278129"/>
              <a:gd name="connsiteX1" fmla="*/ 141923 w 283845"/>
              <a:gd name="connsiteY1" fmla="*/ 278130 h 278129"/>
              <a:gd name="connsiteX2" fmla="*/ 0 w 283845"/>
              <a:gd name="connsiteY2" fmla="*/ 139065 h 278129"/>
              <a:gd name="connsiteX3" fmla="*/ 141923 w 283845"/>
              <a:gd name="connsiteY3" fmla="*/ 0 h 278129"/>
              <a:gd name="connsiteX4" fmla="*/ 283845 w 283845"/>
              <a:gd name="connsiteY4" fmla="*/ 139065 h 2781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845" h="278129">
                <a:moveTo>
                  <a:pt x="283845" y="139065"/>
                </a:moveTo>
                <a:cubicBezTo>
                  <a:pt x="283845" y="215868"/>
                  <a:pt x="220304" y="278130"/>
                  <a:pt x="141923" y="278130"/>
                </a:cubicBezTo>
                <a:cubicBezTo>
                  <a:pt x="63541" y="278130"/>
                  <a:pt x="0" y="215868"/>
                  <a:pt x="0" y="139065"/>
                </a:cubicBezTo>
                <a:cubicBezTo>
                  <a:pt x="0" y="62262"/>
                  <a:pt x="63541" y="0"/>
                  <a:pt x="141923" y="0"/>
                </a:cubicBezTo>
                <a:cubicBezTo>
                  <a:pt x="220304" y="0"/>
                  <a:pt x="283845" y="62262"/>
                  <a:pt x="283845" y="139065"/>
                </a:cubicBezTo>
                <a:close/>
              </a:path>
            </a:pathLst>
          </a:custGeom>
          <a:solidFill>
            <a:schemeClr val="accent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5" name="Freeform: Shape 16">
            <a:extLst>
              <a:ext uri="{FF2B5EF4-FFF2-40B4-BE49-F238E27FC236}">
                <a16:creationId xmlns:a16="http://schemas.microsoft.com/office/drawing/2014/main" id="{0C118B1B-DF6C-44A9-9E8E-36D38CA3C771}"/>
              </a:ext>
            </a:extLst>
          </p:cNvPr>
          <p:cNvSpPr/>
          <p:nvPr/>
        </p:nvSpPr>
        <p:spPr>
          <a:xfrm>
            <a:off x="10231051" y="2896086"/>
            <a:ext cx="429273" cy="420630"/>
          </a:xfrm>
          <a:custGeom>
            <a:avLst/>
            <a:gdLst>
              <a:gd name="connsiteX0" fmla="*/ 283845 w 283844"/>
              <a:gd name="connsiteY0" fmla="*/ 139065 h 278129"/>
              <a:gd name="connsiteX1" fmla="*/ 141923 w 283844"/>
              <a:gd name="connsiteY1" fmla="*/ 278130 h 278129"/>
              <a:gd name="connsiteX2" fmla="*/ 0 w 283844"/>
              <a:gd name="connsiteY2" fmla="*/ 139065 h 278129"/>
              <a:gd name="connsiteX3" fmla="*/ 141923 w 283844"/>
              <a:gd name="connsiteY3" fmla="*/ 0 h 278129"/>
              <a:gd name="connsiteX4" fmla="*/ 283845 w 283844"/>
              <a:gd name="connsiteY4" fmla="*/ 139065 h 2781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844" h="278129">
                <a:moveTo>
                  <a:pt x="283845" y="139065"/>
                </a:moveTo>
                <a:cubicBezTo>
                  <a:pt x="283845" y="215868"/>
                  <a:pt x="220304" y="278130"/>
                  <a:pt x="141923" y="278130"/>
                </a:cubicBezTo>
                <a:cubicBezTo>
                  <a:pt x="63541" y="278130"/>
                  <a:pt x="0" y="215869"/>
                  <a:pt x="0" y="139065"/>
                </a:cubicBezTo>
                <a:cubicBezTo>
                  <a:pt x="0" y="62262"/>
                  <a:pt x="63541" y="0"/>
                  <a:pt x="141923" y="0"/>
                </a:cubicBezTo>
                <a:cubicBezTo>
                  <a:pt x="220304" y="0"/>
                  <a:pt x="283845" y="62262"/>
                  <a:pt x="283845" y="139065"/>
                </a:cubicBezTo>
                <a:close/>
              </a:path>
            </a:pathLst>
          </a:custGeom>
          <a:solidFill>
            <a:schemeClr val="accent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6" name="Freeform: Shape 17">
            <a:extLst>
              <a:ext uri="{FF2B5EF4-FFF2-40B4-BE49-F238E27FC236}">
                <a16:creationId xmlns:a16="http://schemas.microsoft.com/office/drawing/2014/main" id="{DFFB746A-8971-4589-B146-6E36816DF9FC}"/>
              </a:ext>
            </a:extLst>
          </p:cNvPr>
          <p:cNvSpPr/>
          <p:nvPr/>
        </p:nvSpPr>
        <p:spPr>
          <a:xfrm>
            <a:off x="7816742" y="2158541"/>
            <a:ext cx="625185" cy="613659"/>
          </a:xfrm>
          <a:custGeom>
            <a:avLst/>
            <a:gdLst>
              <a:gd name="connsiteX0" fmla="*/ 413385 w 413385"/>
              <a:gd name="connsiteY0" fmla="*/ 202883 h 405764"/>
              <a:gd name="connsiteX1" fmla="*/ 206693 w 413385"/>
              <a:gd name="connsiteY1" fmla="*/ 405765 h 405764"/>
              <a:gd name="connsiteX2" fmla="*/ 0 w 413385"/>
              <a:gd name="connsiteY2" fmla="*/ 202883 h 405764"/>
              <a:gd name="connsiteX3" fmla="*/ 206693 w 413385"/>
              <a:gd name="connsiteY3" fmla="*/ 0 h 405764"/>
              <a:gd name="connsiteX4" fmla="*/ 413385 w 413385"/>
              <a:gd name="connsiteY4" fmla="*/ 202883 h 4057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3385" h="405764">
                <a:moveTo>
                  <a:pt x="413385" y="202883"/>
                </a:moveTo>
                <a:cubicBezTo>
                  <a:pt x="413385" y="314931"/>
                  <a:pt x="320846" y="405765"/>
                  <a:pt x="206693" y="405765"/>
                </a:cubicBezTo>
                <a:cubicBezTo>
                  <a:pt x="92539" y="405765"/>
                  <a:pt x="0" y="314931"/>
                  <a:pt x="0" y="202883"/>
                </a:cubicBezTo>
                <a:cubicBezTo>
                  <a:pt x="0" y="90834"/>
                  <a:pt x="92539" y="0"/>
                  <a:pt x="206693" y="0"/>
                </a:cubicBezTo>
                <a:cubicBezTo>
                  <a:pt x="320846" y="0"/>
                  <a:pt x="413385" y="90834"/>
                  <a:pt x="413385" y="202883"/>
                </a:cubicBezTo>
                <a:close/>
              </a:path>
            </a:pathLst>
          </a:custGeom>
          <a:solidFill>
            <a:schemeClr val="accent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7" name="Freeform: Shape 18">
            <a:extLst>
              <a:ext uri="{FF2B5EF4-FFF2-40B4-BE49-F238E27FC236}">
                <a16:creationId xmlns:a16="http://schemas.microsoft.com/office/drawing/2014/main" id="{D832FF75-F217-46E8-8925-EA9AA0F979AC}"/>
              </a:ext>
            </a:extLst>
          </p:cNvPr>
          <p:cNvSpPr/>
          <p:nvPr/>
        </p:nvSpPr>
        <p:spPr>
          <a:xfrm>
            <a:off x="10896571" y="3119365"/>
            <a:ext cx="625184" cy="613660"/>
          </a:xfrm>
          <a:custGeom>
            <a:avLst/>
            <a:gdLst>
              <a:gd name="connsiteX0" fmla="*/ 413385 w 413384"/>
              <a:gd name="connsiteY0" fmla="*/ 202882 h 405765"/>
              <a:gd name="connsiteX1" fmla="*/ 206692 w 413384"/>
              <a:gd name="connsiteY1" fmla="*/ 405765 h 405765"/>
              <a:gd name="connsiteX2" fmla="*/ 0 w 413384"/>
              <a:gd name="connsiteY2" fmla="*/ 202882 h 405765"/>
              <a:gd name="connsiteX3" fmla="*/ 206692 w 413384"/>
              <a:gd name="connsiteY3" fmla="*/ 0 h 405765"/>
              <a:gd name="connsiteX4" fmla="*/ 413385 w 413384"/>
              <a:gd name="connsiteY4" fmla="*/ 202882 h 4057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3384" h="405765">
                <a:moveTo>
                  <a:pt x="413385" y="202882"/>
                </a:moveTo>
                <a:cubicBezTo>
                  <a:pt x="413385" y="314931"/>
                  <a:pt x="320846" y="405765"/>
                  <a:pt x="206692" y="405765"/>
                </a:cubicBezTo>
                <a:cubicBezTo>
                  <a:pt x="92539" y="405765"/>
                  <a:pt x="0" y="314931"/>
                  <a:pt x="0" y="202882"/>
                </a:cubicBezTo>
                <a:cubicBezTo>
                  <a:pt x="0" y="90834"/>
                  <a:pt x="92539" y="0"/>
                  <a:pt x="206692" y="0"/>
                </a:cubicBezTo>
                <a:cubicBezTo>
                  <a:pt x="320846" y="0"/>
                  <a:pt x="413385" y="90834"/>
                  <a:pt x="413385" y="202882"/>
                </a:cubicBezTo>
                <a:close/>
              </a:path>
            </a:pathLst>
          </a:custGeom>
          <a:solidFill>
            <a:schemeClr val="accent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8" name="Freeform: Shape 19">
            <a:extLst>
              <a:ext uri="{FF2B5EF4-FFF2-40B4-BE49-F238E27FC236}">
                <a16:creationId xmlns:a16="http://schemas.microsoft.com/office/drawing/2014/main" id="{C4BC5123-74CF-4A78-B8FB-A09865858979}"/>
              </a:ext>
            </a:extLst>
          </p:cNvPr>
          <p:cNvSpPr/>
          <p:nvPr/>
        </p:nvSpPr>
        <p:spPr>
          <a:xfrm>
            <a:off x="10540762" y="3305193"/>
            <a:ext cx="319795" cy="314033"/>
          </a:xfrm>
          <a:custGeom>
            <a:avLst/>
            <a:gdLst>
              <a:gd name="connsiteX0" fmla="*/ 211455 w 211455"/>
              <a:gd name="connsiteY0" fmla="*/ 103822 h 207645"/>
              <a:gd name="connsiteX1" fmla="*/ 105727 w 211455"/>
              <a:gd name="connsiteY1" fmla="*/ 207645 h 207645"/>
              <a:gd name="connsiteX2" fmla="*/ 0 w 211455"/>
              <a:gd name="connsiteY2" fmla="*/ 103822 h 207645"/>
              <a:gd name="connsiteX3" fmla="*/ 105727 w 211455"/>
              <a:gd name="connsiteY3" fmla="*/ 0 h 207645"/>
              <a:gd name="connsiteX4" fmla="*/ 211455 w 211455"/>
              <a:gd name="connsiteY4" fmla="*/ 103822 h 2076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1455" h="207645">
                <a:moveTo>
                  <a:pt x="211455" y="103822"/>
                </a:moveTo>
                <a:cubicBezTo>
                  <a:pt x="211455" y="161162"/>
                  <a:pt x="164119" y="207645"/>
                  <a:pt x="105727" y="207645"/>
                </a:cubicBezTo>
                <a:cubicBezTo>
                  <a:pt x="47336" y="207645"/>
                  <a:pt x="0" y="161162"/>
                  <a:pt x="0" y="103822"/>
                </a:cubicBezTo>
                <a:cubicBezTo>
                  <a:pt x="0" y="46483"/>
                  <a:pt x="47336" y="0"/>
                  <a:pt x="105727" y="0"/>
                </a:cubicBezTo>
                <a:cubicBezTo>
                  <a:pt x="164119" y="0"/>
                  <a:pt x="211455" y="46483"/>
                  <a:pt x="211455" y="103822"/>
                </a:cubicBezTo>
                <a:close/>
              </a:path>
            </a:pathLst>
          </a:custGeom>
          <a:solidFill>
            <a:schemeClr val="accent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9" name="Freeform: Shape 20">
            <a:extLst>
              <a:ext uri="{FF2B5EF4-FFF2-40B4-BE49-F238E27FC236}">
                <a16:creationId xmlns:a16="http://schemas.microsoft.com/office/drawing/2014/main" id="{D2A83A1D-2734-4973-97AE-95A1CA0BB0E8}"/>
              </a:ext>
            </a:extLst>
          </p:cNvPr>
          <p:cNvSpPr/>
          <p:nvPr/>
        </p:nvSpPr>
        <p:spPr>
          <a:xfrm>
            <a:off x="7937745" y="1665884"/>
            <a:ext cx="388940" cy="383178"/>
          </a:xfrm>
          <a:custGeom>
            <a:avLst/>
            <a:gdLst>
              <a:gd name="connsiteX0" fmla="*/ 257175 w 257175"/>
              <a:gd name="connsiteY0" fmla="*/ 126682 h 253365"/>
              <a:gd name="connsiteX1" fmla="*/ 128587 w 257175"/>
              <a:gd name="connsiteY1" fmla="*/ 253365 h 253365"/>
              <a:gd name="connsiteX2" fmla="*/ 0 w 257175"/>
              <a:gd name="connsiteY2" fmla="*/ 126682 h 253365"/>
              <a:gd name="connsiteX3" fmla="*/ 128587 w 257175"/>
              <a:gd name="connsiteY3" fmla="*/ 0 h 253365"/>
              <a:gd name="connsiteX4" fmla="*/ 257175 w 257175"/>
              <a:gd name="connsiteY4" fmla="*/ 126682 h 2533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7175" h="253365">
                <a:moveTo>
                  <a:pt x="257175" y="126682"/>
                </a:moveTo>
                <a:cubicBezTo>
                  <a:pt x="257175" y="196647"/>
                  <a:pt x="199604" y="253365"/>
                  <a:pt x="128587" y="253365"/>
                </a:cubicBezTo>
                <a:cubicBezTo>
                  <a:pt x="57571" y="253365"/>
                  <a:pt x="0" y="196647"/>
                  <a:pt x="0" y="126682"/>
                </a:cubicBezTo>
                <a:cubicBezTo>
                  <a:pt x="0" y="56718"/>
                  <a:pt x="57571" y="0"/>
                  <a:pt x="128587" y="0"/>
                </a:cubicBezTo>
                <a:cubicBezTo>
                  <a:pt x="199604" y="0"/>
                  <a:pt x="257175" y="56718"/>
                  <a:pt x="257175" y="126682"/>
                </a:cubicBezTo>
                <a:close/>
              </a:path>
            </a:pathLst>
          </a:custGeom>
          <a:solidFill>
            <a:schemeClr val="accent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0" name="Freeform: Shape 21">
            <a:extLst>
              <a:ext uri="{FF2B5EF4-FFF2-40B4-BE49-F238E27FC236}">
                <a16:creationId xmlns:a16="http://schemas.microsoft.com/office/drawing/2014/main" id="{FF02972A-5DE3-4CC6-A54D-ECF2A5C9A5AF}"/>
              </a:ext>
            </a:extLst>
          </p:cNvPr>
          <p:cNvSpPr/>
          <p:nvPr/>
        </p:nvSpPr>
        <p:spPr>
          <a:xfrm>
            <a:off x="8356935" y="1520391"/>
            <a:ext cx="319795" cy="314033"/>
          </a:xfrm>
          <a:custGeom>
            <a:avLst/>
            <a:gdLst>
              <a:gd name="connsiteX0" fmla="*/ 211455 w 211455"/>
              <a:gd name="connsiteY0" fmla="*/ 103822 h 207645"/>
              <a:gd name="connsiteX1" fmla="*/ 105727 w 211455"/>
              <a:gd name="connsiteY1" fmla="*/ 207645 h 207645"/>
              <a:gd name="connsiteX2" fmla="*/ 0 w 211455"/>
              <a:gd name="connsiteY2" fmla="*/ 103822 h 207645"/>
              <a:gd name="connsiteX3" fmla="*/ 105727 w 211455"/>
              <a:gd name="connsiteY3" fmla="*/ 0 h 207645"/>
              <a:gd name="connsiteX4" fmla="*/ 211455 w 211455"/>
              <a:gd name="connsiteY4" fmla="*/ 103822 h 2076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1455" h="207645">
                <a:moveTo>
                  <a:pt x="211455" y="103822"/>
                </a:moveTo>
                <a:cubicBezTo>
                  <a:pt x="211455" y="161162"/>
                  <a:pt x="164119" y="207645"/>
                  <a:pt x="105727" y="207645"/>
                </a:cubicBezTo>
                <a:cubicBezTo>
                  <a:pt x="47336" y="207645"/>
                  <a:pt x="0" y="161162"/>
                  <a:pt x="0" y="103822"/>
                </a:cubicBezTo>
                <a:cubicBezTo>
                  <a:pt x="0" y="46483"/>
                  <a:pt x="47336" y="0"/>
                  <a:pt x="105727" y="0"/>
                </a:cubicBezTo>
                <a:cubicBezTo>
                  <a:pt x="164119" y="0"/>
                  <a:pt x="211455" y="46483"/>
                  <a:pt x="211455" y="103822"/>
                </a:cubicBezTo>
                <a:close/>
              </a:path>
            </a:pathLst>
          </a:custGeom>
          <a:solidFill>
            <a:schemeClr val="accent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1" name="Freeform: Shape 22">
            <a:extLst>
              <a:ext uri="{FF2B5EF4-FFF2-40B4-BE49-F238E27FC236}">
                <a16:creationId xmlns:a16="http://schemas.microsoft.com/office/drawing/2014/main" id="{E7AB9D9E-DC58-4BC5-9312-0C13F1AA1EFA}"/>
              </a:ext>
            </a:extLst>
          </p:cNvPr>
          <p:cNvSpPr/>
          <p:nvPr/>
        </p:nvSpPr>
        <p:spPr>
          <a:xfrm>
            <a:off x="11190437" y="4585812"/>
            <a:ext cx="319795" cy="314033"/>
          </a:xfrm>
          <a:custGeom>
            <a:avLst/>
            <a:gdLst>
              <a:gd name="connsiteX0" fmla="*/ 211455 w 211455"/>
              <a:gd name="connsiteY0" fmla="*/ 103823 h 207645"/>
              <a:gd name="connsiteX1" fmla="*/ 105728 w 211455"/>
              <a:gd name="connsiteY1" fmla="*/ 207645 h 207645"/>
              <a:gd name="connsiteX2" fmla="*/ 0 w 211455"/>
              <a:gd name="connsiteY2" fmla="*/ 103823 h 207645"/>
              <a:gd name="connsiteX3" fmla="*/ 105728 w 211455"/>
              <a:gd name="connsiteY3" fmla="*/ 0 h 207645"/>
              <a:gd name="connsiteX4" fmla="*/ 211455 w 211455"/>
              <a:gd name="connsiteY4" fmla="*/ 103823 h 2076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1455" h="207645">
                <a:moveTo>
                  <a:pt x="211455" y="103823"/>
                </a:moveTo>
                <a:cubicBezTo>
                  <a:pt x="211455" y="161162"/>
                  <a:pt x="164119" y="207645"/>
                  <a:pt x="105728" y="207645"/>
                </a:cubicBezTo>
                <a:cubicBezTo>
                  <a:pt x="47336" y="207645"/>
                  <a:pt x="0" y="161162"/>
                  <a:pt x="0" y="103823"/>
                </a:cubicBezTo>
                <a:cubicBezTo>
                  <a:pt x="0" y="46483"/>
                  <a:pt x="47336" y="0"/>
                  <a:pt x="105728" y="0"/>
                </a:cubicBezTo>
                <a:cubicBezTo>
                  <a:pt x="164119" y="0"/>
                  <a:pt x="211455" y="46483"/>
                  <a:pt x="211455" y="103823"/>
                </a:cubicBezTo>
                <a:close/>
              </a:path>
            </a:pathLst>
          </a:custGeom>
          <a:solidFill>
            <a:schemeClr val="accent4"/>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2" name="Freeform: Shape 23">
            <a:extLst>
              <a:ext uri="{FF2B5EF4-FFF2-40B4-BE49-F238E27FC236}">
                <a16:creationId xmlns:a16="http://schemas.microsoft.com/office/drawing/2014/main" id="{F2874D72-7207-4541-BA18-9846D36AA7EF}"/>
              </a:ext>
            </a:extLst>
          </p:cNvPr>
          <p:cNvSpPr/>
          <p:nvPr/>
        </p:nvSpPr>
        <p:spPr>
          <a:xfrm>
            <a:off x="9610187" y="2767879"/>
            <a:ext cx="239126" cy="236245"/>
          </a:xfrm>
          <a:custGeom>
            <a:avLst/>
            <a:gdLst>
              <a:gd name="connsiteX0" fmla="*/ 158115 w 158115"/>
              <a:gd name="connsiteY0" fmla="*/ 78105 h 156210"/>
              <a:gd name="connsiteX1" fmla="*/ 79058 w 158115"/>
              <a:gd name="connsiteY1" fmla="*/ 156210 h 156210"/>
              <a:gd name="connsiteX2" fmla="*/ 0 w 158115"/>
              <a:gd name="connsiteY2" fmla="*/ 78105 h 156210"/>
              <a:gd name="connsiteX3" fmla="*/ 79058 w 158115"/>
              <a:gd name="connsiteY3" fmla="*/ 0 h 156210"/>
              <a:gd name="connsiteX4" fmla="*/ 158115 w 158115"/>
              <a:gd name="connsiteY4" fmla="*/ 78105 h 1562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115" h="156210">
                <a:moveTo>
                  <a:pt x="158115" y="78105"/>
                </a:moveTo>
                <a:cubicBezTo>
                  <a:pt x="158115" y="121241"/>
                  <a:pt x="122720" y="156210"/>
                  <a:pt x="79058" y="156210"/>
                </a:cubicBezTo>
                <a:cubicBezTo>
                  <a:pt x="35395" y="156210"/>
                  <a:pt x="0" y="121241"/>
                  <a:pt x="0" y="78105"/>
                </a:cubicBezTo>
                <a:cubicBezTo>
                  <a:pt x="0" y="34969"/>
                  <a:pt x="35395" y="0"/>
                  <a:pt x="79058" y="0"/>
                </a:cubicBezTo>
                <a:cubicBezTo>
                  <a:pt x="122720" y="0"/>
                  <a:pt x="158115" y="34969"/>
                  <a:pt x="158115" y="78105"/>
                </a:cubicBezTo>
                <a:close/>
              </a:path>
            </a:pathLst>
          </a:custGeom>
          <a:solidFill>
            <a:schemeClr val="accent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3" name="Freeform: Shape 24">
            <a:extLst>
              <a:ext uri="{FF2B5EF4-FFF2-40B4-BE49-F238E27FC236}">
                <a16:creationId xmlns:a16="http://schemas.microsoft.com/office/drawing/2014/main" id="{AC7DD6E8-64C4-4EAB-ABF4-295A0DA76192}"/>
              </a:ext>
            </a:extLst>
          </p:cNvPr>
          <p:cNvSpPr/>
          <p:nvPr/>
        </p:nvSpPr>
        <p:spPr>
          <a:xfrm>
            <a:off x="10772686" y="2136932"/>
            <a:ext cx="239126" cy="236243"/>
          </a:xfrm>
          <a:custGeom>
            <a:avLst/>
            <a:gdLst>
              <a:gd name="connsiteX0" fmla="*/ 158115 w 158115"/>
              <a:gd name="connsiteY0" fmla="*/ 78105 h 156209"/>
              <a:gd name="connsiteX1" fmla="*/ 79058 w 158115"/>
              <a:gd name="connsiteY1" fmla="*/ 156210 h 156209"/>
              <a:gd name="connsiteX2" fmla="*/ 0 w 158115"/>
              <a:gd name="connsiteY2" fmla="*/ 78105 h 156209"/>
              <a:gd name="connsiteX3" fmla="*/ 79058 w 158115"/>
              <a:gd name="connsiteY3" fmla="*/ 0 h 156209"/>
              <a:gd name="connsiteX4" fmla="*/ 158115 w 158115"/>
              <a:gd name="connsiteY4" fmla="*/ 78105 h 1562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115" h="156209">
                <a:moveTo>
                  <a:pt x="158115" y="78105"/>
                </a:moveTo>
                <a:cubicBezTo>
                  <a:pt x="158115" y="121241"/>
                  <a:pt x="122720" y="156210"/>
                  <a:pt x="79058" y="156210"/>
                </a:cubicBezTo>
                <a:cubicBezTo>
                  <a:pt x="35395" y="156210"/>
                  <a:pt x="0" y="121241"/>
                  <a:pt x="0" y="78105"/>
                </a:cubicBezTo>
                <a:cubicBezTo>
                  <a:pt x="0" y="34969"/>
                  <a:pt x="35395" y="0"/>
                  <a:pt x="79058" y="0"/>
                </a:cubicBezTo>
                <a:cubicBezTo>
                  <a:pt x="122720" y="0"/>
                  <a:pt x="158115" y="34969"/>
                  <a:pt x="158115" y="78105"/>
                </a:cubicBezTo>
                <a:close/>
              </a:path>
            </a:pathLst>
          </a:custGeom>
          <a:solidFill>
            <a:schemeClr val="accent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4" name="Freeform: Shape 25">
            <a:extLst>
              <a:ext uri="{FF2B5EF4-FFF2-40B4-BE49-F238E27FC236}">
                <a16:creationId xmlns:a16="http://schemas.microsoft.com/office/drawing/2014/main" id="{E38E2E08-71D1-46D5-8F95-3B80C9F87AA6}"/>
              </a:ext>
            </a:extLst>
          </p:cNvPr>
          <p:cNvSpPr/>
          <p:nvPr/>
        </p:nvSpPr>
        <p:spPr>
          <a:xfrm>
            <a:off x="11449730" y="3590415"/>
            <a:ext cx="239126" cy="236243"/>
          </a:xfrm>
          <a:custGeom>
            <a:avLst/>
            <a:gdLst>
              <a:gd name="connsiteX0" fmla="*/ 158115 w 158115"/>
              <a:gd name="connsiteY0" fmla="*/ 78105 h 156209"/>
              <a:gd name="connsiteX1" fmla="*/ 79058 w 158115"/>
              <a:gd name="connsiteY1" fmla="*/ 156210 h 156209"/>
              <a:gd name="connsiteX2" fmla="*/ 0 w 158115"/>
              <a:gd name="connsiteY2" fmla="*/ 78105 h 156209"/>
              <a:gd name="connsiteX3" fmla="*/ 79058 w 158115"/>
              <a:gd name="connsiteY3" fmla="*/ 0 h 156209"/>
              <a:gd name="connsiteX4" fmla="*/ 158115 w 158115"/>
              <a:gd name="connsiteY4" fmla="*/ 78105 h 1562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115" h="156209">
                <a:moveTo>
                  <a:pt x="158115" y="78105"/>
                </a:moveTo>
                <a:cubicBezTo>
                  <a:pt x="158115" y="121241"/>
                  <a:pt x="122720" y="156210"/>
                  <a:pt x="79058" y="156210"/>
                </a:cubicBezTo>
                <a:cubicBezTo>
                  <a:pt x="35395" y="156210"/>
                  <a:pt x="0" y="121241"/>
                  <a:pt x="0" y="78105"/>
                </a:cubicBezTo>
                <a:cubicBezTo>
                  <a:pt x="0" y="34969"/>
                  <a:pt x="35395" y="0"/>
                  <a:pt x="79058" y="0"/>
                </a:cubicBezTo>
                <a:cubicBezTo>
                  <a:pt x="122720" y="0"/>
                  <a:pt x="158115" y="34969"/>
                  <a:pt x="158115" y="78105"/>
                </a:cubicBezTo>
                <a:close/>
              </a:path>
            </a:pathLst>
          </a:custGeom>
          <a:solidFill>
            <a:schemeClr val="accent4"/>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5" name="Freeform: Shape 26">
            <a:extLst>
              <a:ext uri="{FF2B5EF4-FFF2-40B4-BE49-F238E27FC236}">
                <a16:creationId xmlns:a16="http://schemas.microsoft.com/office/drawing/2014/main" id="{F0660FE3-A292-48EA-80B7-4B38705190E3}"/>
              </a:ext>
            </a:extLst>
          </p:cNvPr>
          <p:cNvSpPr/>
          <p:nvPr/>
        </p:nvSpPr>
        <p:spPr>
          <a:xfrm>
            <a:off x="11285511" y="2904729"/>
            <a:ext cx="239126" cy="236245"/>
          </a:xfrm>
          <a:custGeom>
            <a:avLst/>
            <a:gdLst>
              <a:gd name="connsiteX0" fmla="*/ 158115 w 158115"/>
              <a:gd name="connsiteY0" fmla="*/ 78105 h 156210"/>
              <a:gd name="connsiteX1" fmla="*/ 79058 w 158115"/>
              <a:gd name="connsiteY1" fmla="*/ 156210 h 156210"/>
              <a:gd name="connsiteX2" fmla="*/ 0 w 158115"/>
              <a:gd name="connsiteY2" fmla="*/ 78105 h 156210"/>
              <a:gd name="connsiteX3" fmla="*/ 79058 w 158115"/>
              <a:gd name="connsiteY3" fmla="*/ 0 h 156210"/>
              <a:gd name="connsiteX4" fmla="*/ 158115 w 158115"/>
              <a:gd name="connsiteY4" fmla="*/ 78105 h 1562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115" h="156210">
                <a:moveTo>
                  <a:pt x="158115" y="78105"/>
                </a:moveTo>
                <a:cubicBezTo>
                  <a:pt x="158115" y="121241"/>
                  <a:pt x="122720" y="156210"/>
                  <a:pt x="79058" y="156210"/>
                </a:cubicBezTo>
                <a:cubicBezTo>
                  <a:pt x="35396" y="156210"/>
                  <a:pt x="0" y="121241"/>
                  <a:pt x="0" y="78105"/>
                </a:cubicBezTo>
                <a:cubicBezTo>
                  <a:pt x="0" y="34969"/>
                  <a:pt x="35396" y="0"/>
                  <a:pt x="79058" y="0"/>
                </a:cubicBezTo>
                <a:cubicBezTo>
                  <a:pt x="122720" y="0"/>
                  <a:pt x="158115" y="34969"/>
                  <a:pt x="158115" y="78105"/>
                </a:cubicBezTo>
                <a:close/>
              </a:path>
            </a:pathLst>
          </a:custGeom>
          <a:solidFill>
            <a:schemeClr val="accent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6" name="Freeform: Shape 27">
            <a:extLst>
              <a:ext uri="{FF2B5EF4-FFF2-40B4-BE49-F238E27FC236}">
                <a16:creationId xmlns:a16="http://schemas.microsoft.com/office/drawing/2014/main" id="{CBC7F41C-FE30-4A77-AF17-D15E3BF412A0}"/>
              </a:ext>
            </a:extLst>
          </p:cNvPr>
          <p:cNvSpPr/>
          <p:nvPr/>
        </p:nvSpPr>
        <p:spPr>
          <a:xfrm>
            <a:off x="9032539" y="4090274"/>
            <a:ext cx="193028" cy="190147"/>
          </a:xfrm>
          <a:custGeom>
            <a:avLst/>
            <a:gdLst>
              <a:gd name="connsiteX0" fmla="*/ 127635 w 127634"/>
              <a:gd name="connsiteY0" fmla="*/ 62865 h 125729"/>
              <a:gd name="connsiteX1" fmla="*/ 63818 w 127634"/>
              <a:gd name="connsiteY1" fmla="*/ 125730 h 125729"/>
              <a:gd name="connsiteX2" fmla="*/ 0 w 127634"/>
              <a:gd name="connsiteY2" fmla="*/ 62865 h 125729"/>
              <a:gd name="connsiteX3" fmla="*/ 63818 w 127634"/>
              <a:gd name="connsiteY3" fmla="*/ 0 h 125729"/>
              <a:gd name="connsiteX4" fmla="*/ 127635 w 127634"/>
              <a:gd name="connsiteY4" fmla="*/ 62865 h 1257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634" h="125729">
                <a:moveTo>
                  <a:pt x="127635" y="62865"/>
                </a:moveTo>
                <a:cubicBezTo>
                  <a:pt x="127635" y="97584"/>
                  <a:pt x="99063" y="125730"/>
                  <a:pt x="63818" y="125730"/>
                </a:cubicBezTo>
                <a:cubicBezTo>
                  <a:pt x="28572" y="125730"/>
                  <a:pt x="0" y="97584"/>
                  <a:pt x="0" y="62865"/>
                </a:cubicBezTo>
                <a:cubicBezTo>
                  <a:pt x="0" y="28146"/>
                  <a:pt x="28572" y="0"/>
                  <a:pt x="63818" y="0"/>
                </a:cubicBezTo>
                <a:cubicBezTo>
                  <a:pt x="99063" y="0"/>
                  <a:pt x="127635" y="28146"/>
                  <a:pt x="127635" y="62865"/>
                </a:cubicBezTo>
                <a:close/>
              </a:path>
            </a:pathLst>
          </a:custGeom>
          <a:solidFill>
            <a:schemeClr val="accent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7" name="Freeform: Shape 28">
            <a:extLst>
              <a:ext uri="{FF2B5EF4-FFF2-40B4-BE49-F238E27FC236}">
                <a16:creationId xmlns:a16="http://schemas.microsoft.com/office/drawing/2014/main" id="{0898572B-F42C-41A7-999F-23D8FBE00153}"/>
              </a:ext>
            </a:extLst>
          </p:cNvPr>
          <p:cNvSpPr/>
          <p:nvPr/>
        </p:nvSpPr>
        <p:spPr>
          <a:xfrm>
            <a:off x="10555167" y="4142133"/>
            <a:ext cx="193028" cy="190147"/>
          </a:xfrm>
          <a:custGeom>
            <a:avLst/>
            <a:gdLst>
              <a:gd name="connsiteX0" fmla="*/ 127635 w 127634"/>
              <a:gd name="connsiteY0" fmla="*/ 62865 h 125729"/>
              <a:gd name="connsiteX1" fmla="*/ 63818 w 127634"/>
              <a:gd name="connsiteY1" fmla="*/ 125730 h 125729"/>
              <a:gd name="connsiteX2" fmla="*/ 0 w 127634"/>
              <a:gd name="connsiteY2" fmla="*/ 62865 h 125729"/>
              <a:gd name="connsiteX3" fmla="*/ 63818 w 127634"/>
              <a:gd name="connsiteY3" fmla="*/ 0 h 125729"/>
              <a:gd name="connsiteX4" fmla="*/ 127635 w 127634"/>
              <a:gd name="connsiteY4" fmla="*/ 62865 h 1257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634" h="125729">
                <a:moveTo>
                  <a:pt x="127635" y="62865"/>
                </a:moveTo>
                <a:cubicBezTo>
                  <a:pt x="127635" y="97584"/>
                  <a:pt x="99063" y="125730"/>
                  <a:pt x="63818" y="125730"/>
                </a:cubicBezTo>
                <a:cubicBezTo>
                  <a:pt x="28572" y="125730"/>
                  <a:pt x="0" y="97584"/>
                  <a:pt x="0" y="62865"/>
                </a:cubicBezTo>
                <a:cubicBezTo>
                  <a:pt x="0" y="28146"/>
                  <a:pt x="28572" y="0"/>
                  <a:pt x="63818" y="0"/>
                </a:cubicBezTo>
                <a:cubicBezTo>
                  <a:pt x="99063" y="0"/>
                  <a:pt x="127635" y="28146"/>
                  <a:pt x="127635" y="62865"/>
                </a:cubicBezTo>
                <a:close/>
              </a:path>
            </a:pathLst>
          </a:custGeom>
          <a:solidFill>
            <a:schemeClr val="accent4"/>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8" name="Freeform: Shape 29">
            <a:extLst>
              <a:ext uri="{FF2B5EF4-FFF2-40B4-BE49-F238E27FC236}">
                <a16:creationId xmlns:a16="http://schemas.microsoft.com/office/drawing/2014/main" id="{AEB3322B-7A97-42E4-8D4E-EA13B89D79CB}"/>
              </a:ext>
            </a:extLst>
          </p:cNvPr>
          <p:cNvSpPr/>
          <p:nvPr/>
        </p:nvSpPr>
        <p:spPr>
          <a:xfrm>
            <a:off x="8287791" y="1956868"/>
            <a:ext cx="244888" cy="242005"/>
          </a:xfrm>
          <a:custGeom>
            <a:avLst/>
            <a:gdLst>
              <a:gd name="connsiteX0" fmla="*/ 161925 w 161925"/>
              <a:gd name="connsiteY0" fmla="*/ 80010 h 160019"/>
              <a:gd name="connsiteX1" fmla="*/ 80963 w 161925"/>
              <a:gd name="connsiteY1" fmla="*/ 160020 h 160019"/>
              <a:gd name="connsiteX2" fmla="*/ 0 w 161925"/>
              <a:gd name="connsiteY2" fmla="*/ 80010 h 160019"/>
              <a:gd name="connsiteX3" fmla="*/ 80963 w 161925"/>
              <a:gd name="connsiteY3" fmla="*/ 0 h 160019"/>
              <a:gd name="connsiteX4" fmla="*/ 161925 w 161925"/>
              <a:gd name="connsiteY4" fmla="*/ 80010 h 1600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925" h="160019">
                <a:moveTo>
                  <a:pt x="161925" y="80010"/>
                </a:moveTo>
                <a:cubicBezTo>
                  <a:pt x="161925" y="124198"/>
                  <a:pt x="125677" y="160020"/>
                  <a:pt x="80963" y="160020"/>
                </a:cubicBezTo>
                <a:cubicBezTo>
                  <a:pt x="36248" y="160020"/>
                  <a:pt x="0" y="124198"/>
                  <a:pt x="0" y="80010"/>
                </a:cubicBezTo>
                <a:cubicBezTo>
                  <a:pt x="0" y="35822"/>
                  <a:pt x="36248" y="0"/>
                  <a:pt x="80963" y="0"/>
                </a:cubicBezTo>
                <a:cubicBezTo>
                  <a:pt x="125677" y="0"/>
                  <a:pt x="161925" y="35822"/>
                  <a:pt x="161925" y="80010"/>
                </a:cubicBezTo>
                <a:close/>
              </a:path>
            </a:pathLst>
          </a:custGeom>
          <a:solidFill>
            <a:schemeClr val="accent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9" name="Freeform: Shape 30">
            <a:extLst>
              <a:ext uri="{FF2B5EF4-FFF2-40B4-BE49-F238E27FC236}">
                <a16:creationId xmlns:a16="http://schemas.microsoft.com/office/drawing/2014/main" id="{176C9EE9-5CDC-4FCD-8D3B-336D8F63C528}"/>
              </a:ext>
            </a:extLst>
          </p:cNvPr>
          <p:cNvSpPr/>
          <p:nvPr/>
        </p:nvSpPr>
        <p:spPr>
          <a:xfrm>
            <a:off x="8475058" y="2566206"/>
            <a:ext cx="193028" cy="190147"/>
          </a:xfrm>
          <a:custGeom>
            <a:avLst/>
            <a:gdLst>
              <a:gd name="connsiteX0" fmla="*/ 127635 w 127634"/>
              <a:gd name="connsiteY0" fmla="*/ 62865 h 125729"/>
              <a:gd name="connsiteX1" fmla="*/ 63818 w 127634"/>
              <a:gd name="connsiteY1" fmla="*/ 125730 h 125729"/>
              <a:gd name="connsiteX2" fmla="*/ 0 w 127634"/>
              <a:gd name="connsiteY2" fmla="*/ 62865 h 125729"/>
              <a:gd name="connsiteX3" fmla="*/ 63818 w 127634"/>
              <a:gd name="connsiteY3" fmla="*/ 0 h 125729"/>
              <a:gd name="connsiteX4" fmla="*/ 127635 w 127634"/>
              <a:gd name="connsiteY4" fmla="*/ 62865 h 1257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634" h="125729">
                <a:moveTo>
                  <a:pt x="127635" y="62865"/>
                </a:moveTo>
                <a:cubicBezTo>
                  <a:pt x="127635" y="97584"/>
                  <a:pt x="99063" y="125730"/>
                  <a:pt x="63818" y="125730"/>
                </a:cubicBezTo>
                <a:cubicBezTo>
                  <a:pt x="28572" y="125730"/>
                  <a:pt x="0" y="97584"/>
                  <a:pt x="0" y="62865"/>
                </a:cubicBezTo>
                <a:cubicBezTo>
                  <a:pt x="0" y="28146"/>
                  <a:pt x="28572" y="0"/>
                  <a:pt x="63818" y="0"/>
                </a:cubicBezTo>
                <a:cubicBezTo>
                  <a:pt x="99063" y="0"/>
                  <a:pt x="127635" y="28146"/>
                  <a:pt x="127635" y="62865"/>
                </a:cubicBezTo>
                <a:close/>
              </a:path>
            </a:pathLst>
          </a:custGeom>
          <a:solidFill>
            <a:schemeClr val="accent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0" name="Freeform: Shape 31">
            <a:extLst>
              <a:ext uri="{FF2B5EF4-FFF2-40B4-BE49-F238E27FC236}">
                <a16:creationId xmlns:a16="http://schemas.microsoft.com/office/drawing/2014/main" id="{5917522C-AD9C-44D0-B101-4ED63A28B6A9}"/>
              </a:ext>
            </a:extLst>
          </p:cNvPr>
          <p:cNvSpPr/>
          <p:nvPr/>
        </p:nvSpPr>
        <p:spPr>
          <a:xfrm rot="17457907">
            <a:off x="7754238" y="1983652"/>
            <a:ext cx="210316" cy="213197"/>
          </a:xfrm>
          <a:custGeom>
            <a:avLst/>
            <a:gdLst>
              <a:gd name="connsiteX0" fmla="*/ 139065 w 139065"/>
              <a:gd name="connsiteY0" fmla="*/ 70485 h 140970"/>
              <a:gd name="connsiteX1" fmla="*/ 69533 w 139065"/>
              <a:gd name="connsiteY1" fmla="*/ 140970 h 140970"/>
              <a:gd name="connsiteX2" fmla="*/ 0 w 139065"/>
              <a:gd name="connsiteY2" fmla="*/ 70485 h 140970"/>
              <a:gd name="connsiteX3" fmla="*/ 69533 w 139065"/>
              <a:gd name="connsiteY3" fmla="*/ 0 h 140970"/>
              <a:gd name="connsiteX4" fmla="*/ 139065 w 139065"/>
              <a:gd name="connsiteY4" fmla="*/ 70485 h 1409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9065" h="140970">
                <a:moveTo>
                  <a:pt x="139065" y="70485"/>
                </a:moveTo>
                <a:cubicBezTo>
                  <a:pt x="139065" y="109413"/>
                  <a:pt x="107934" y="140970"/>
                  <a:pt x="69533" y="140970"/>
                </a:cubicBezTo>
                <a:cubicBezTo>
                  <a:pt x="31131" y="140970"/>
                  <a:pt x="0" y="109413"/>
                  <a:pt x="0" y="70485"/>
                </a:cubicBezTo>
                <a:cubicBezTo>
                  <a:pt x="0" y="31557"/>
                  <a:pt x="31131" y="0"/>
                  <a:pt x="69533" y="0"/>
                </a:cubicBezTo>
                <a:cubicBezTo>
                  <a:pt x="107934" y="0"/>
                  <a:pt x="139065" y="31557"/>
                  <a:pt x="139065" y="70485"/>
                </a:cubicBezTo>
                <a:close/>
              </a:path>
            </a:pathLst>
          </a:custGeom>
          <a:solidFill>
            <a:schemeClr val="accent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1" name="Freeform: Shape 32">
            <a:extLst>
              <a:ext uri="{FF2B5EF4-FFF2-40B4-BE49-F238E27FC236}">
                <a16:creationId xmlns:a16="http://schemas.microsoft.com/office/drawing/2014/main" id="{3B1D3242-4F49-47F0-BF8F-E92B211EA9C7}"/>
              </a:ext>
            </a:extLst>
          </p:cNvPr>
          <p:cNvSpPr/>
          <p:nvPr/>
        </p:nvSpPr>
        <p:spPr>
          <a:xfrm rot="17457907">
            <a:off x="7438291" y="2002865"/>
            <a:ext cx="308271" cy="314033"/>
          </a:xfrm>
          <a:custGeom>
            <a:avLst/>
            <a:gdLst>
              <a:gd name="connsiteX0" fmla="*/ 203835 w 203835"/>
              <a:gd name="connsiteY0" fmla="*/ 103823 h 207645"/>
              <a:gd name="connsiteX1" fmla="*/ 101918 w 203835"/>
              <a:gd name="connsiteY1" fmla="*/ 207645 h 207645"/>
              <a:gd name="connsiteX2" fmla="*/ 0 w 203835"/>
              <a:gd name="connsiteY2" fmla="*/ 103823 h 207645"/>
              <a:gd name="connsiteX3" fmla="*/ 101918 w 203835"/>
              <a:gd name="connsiteY3" fmla="*/ 0 h 207645"/>
              <a:gd name="connsiteX4" fmla="*/ 203835 w 203835"/>
              <a:gd name="connsiteY4" fmla="*/ 103823 h 2076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3835" h="207645">
                <a:moveTo>
                  <a:pt x="203835" y="103823"/>
                </a:moveTo>
                <a:cubicBezTo>
                  <a:pt x="203835" y="161162"/>
                  <a:pt x="158205" y="207645"/>
                  <a:pt x="101918" y="207645"/>
                </a:cubicBezTo>
                <a:cubicBezTo>
                  <a:pt x="45630" y="207645"/>
                  <a:pt x="0" y="161162"/>
                  <a:pt x="0" y="103823"/>
                </a:cubicBezTo>
                <a:cubicBezTo>
                  <a:pt x="0" y="46483"/>
                  <a:pt x="45630" y="0"/>
                  <a:pt x="101918" y="0"/>
                </a:cubicBezTo>
                <a:cubicBezTo>
                  <a:pt x="158205" y="0"/>
                  <a:pt x="203835" y="46483"/>
                  <a:pt x="203835" y="103823"/>
                </a:cubicBezTo>
                <a:close/>
              </a:path>
            </a:pathLst>
          </a:custGeom>
          <a:solidFill>
            <a:schemeClr val="accent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2" name="Freeform: Shape 33">
            <a:extLst>
              <a:ext uri="{FF2B5EF4-FFF2-40B4-BE49-F238E27FC236}">
                <a16:creationId xmlns:a16="http://schemas.microsoft.com/office/drawing/2014/main" id="{40A0A809-3624-412B-95F8-E2611F8D857B}"/>
              </a:ext>
            </a:extLst>
          </p:cNvPr>
          <p:cNvSpPr/>
          <p:nvPr/>
        </p:nvSpPr>
        <p:spPr>
          <a:xfrm>
            <a:off x="10823103" y="3691251"/>
            <a:ext cx="193028" cy="190147"/>
          </a:xfrm>
          <a:custGeom>
            <a:avLst/>
            <a:gdLst>
              <a:gd name="connsiteX0" fmla="*/ 127635 w 127634"/>
              <a:gd name="connsiteY0" fmla="*/ 62865 h 125729"/>
              <a:gd name="connsiteX1" fmla="*/ 63817 w 127634"/>
              <a:gd name="connsiteY1" fmla="*/ 125730 h 125729"/>
              <a:gd name="connsiteX2" fmla="*/ 0 w 127634"/>
              <a:gd name="connsiteY2" fmla="*/ 62865 h 125729"/>
              <a:gd name="connsiteX3" fmla="*/ 63817 w 127634"/>
              <a:gd name="connsiteY3" fmla="*/ 0 h 125729"/>
              <a:gd name="connsiteX4" fmla="*/ 127635 w 127634"/>
              <a:gd name="connsiteY4" fmla="*/ 62865 h 1257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634" h="125729">
                <a:moveTo>
                  <a:pt x="127635" y="62865"/>
                </a:moveTo>
                <a:cubicBezTo>
                  <a:pt x="127635" y="97584"/>
                  <a:pt x="99063" y="125730"/>
                  <a:pt x="63817" y="125730"/>
                </a:cubicBezTo>
                <a:cubicBezTo>
                  <a:pt x="28572" y="125730"/>
                  <a:pt x="0" y="97584"/>
                  <a:pt x="0" y="62865"/>
                </a:cubicBezTo>
                <a:cubicBezTo>
                  <a:pt x="0" y="28146"/>
                  <a:pt x="28572" y="0"/>
                  <a:pt x="63817" y="0"/>
                </a:cubicBezTo>
                <a:cubicBezTo>
                  <a:pt x="99063" y="0"/>
                  <a:pt x="127635" y="28146"/>
                  <a:pt x="127635" y="62865"/>
                </a:cubicBezTo>
                <a:close/>
              </a:path>
            </a:pathLst>
          </a:custGeom>
          <a:solidFill>
            <a:schemeClr val="accent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3" name="Freeform: Shape 34">
            <a:extLst>
              <a:ext uri="{FF2B5EF4-FFF2-40B4-BE49-F238E27FC236}">
                <a16:creationId xmlns:a16="http://schemas.microsoft.com/office/drawing/2014/main" id="{6F257219-3FCE-4E27-A96B-6D7E6A044010}"/>
              </a:ext>
            </a:extLst>
          </p:cNvPr>
          <p:cNvSpPr/>
          <p:nvPr/>
        </p:nvSpPr>
        <p:spPr>
          <a:xfrm>
            <a:off x="9447409" y="5509184"/>
            <a:ext cx="469609" cy="460966"/>
          </a:xfrm>
          <a:custGeom>
            <a:avLst/>
            <a:gdLst>
              <a:gd name="connsiteX0" fmla="*/ 310515 w 310515"/>
              <a:gd name="connsiteY0" fmla="*/ 152400 h 304800"/>
              <a:gd name="connsiteX1" fmla="*/ 155257 w 310515"/>
              <a:gd name="connsiteY1" fmla="*/ 304800 h 304800"/>
              <a:gd name="connsiteX2" fmla="*/ 0 w 310515"/>
              <a:gd name="connsiteY2" fmla="*/ 152400 h 304800"/>
              <a:gd name="connsiteX3" fmla="*/ 155257 w 310515"/>
              <a:gd name="connsiteY3" fmla="*/ 0 h 304800"/>
              <a:gd name="connsiteX4" fmla="*/ 310515 w 310515"/>
              <a:gd name="connsiteY4" fmla="*/ 152400 h 304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515" h="304800">
                <a:moveTo>
                  <a:pt x="310515" y="152400"/>
                </a:moveTo>
                <a:cubicBezTo>
                  <a:pt x="310515" y="236568"/>
                  <a:pt x="241004" y="304800"/>
                  <a:pt x="155257" y="304800"/>
                </a:cubicBezTo>
                <a:cubicBezTo>
                  <a:pt x="69511" y="304800"/>
                  <a:pt x="0" y="236568"/>
                  <a:pt x="0" y="152400"/>
                </a:cubicBezTo>
                <a:cubicBezTo>
                  <a:pt x="0" y="68232"/>
                  <a:pt x="69511" y="0"/>
                  <a:pt x="155257" y="0"/>
                </a:cubicBezTo>
                <a:cubicBezTo>
                  <a:pt x="241004" y="0"/>
                  <a:pt x="310515" y="68232"/>
                  <a:pt x="310515" y="152400"/>
                </a:cubicBezTo>
                <a:close/>
              </a:path>
            </a:pathLst>
          </a:custGeom>
          <a:solidFill>
            <a:schemeClr val="accent4"/>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4" name="Freeform: Shape 35">
            <a:extLst>
              <a:ext uri="{FF2B5EF4-FFF2-40B4-BE49-F238E27FC236}">
                <a16:creationId xmlns:a16="http://schemas.microsoft.com/office/drawing/2014/main" id="{F3EFE956-920D-4EAD-B9C9-1B0063F5A941}"/>
              </a:ext>
            </a:extLst>
          </p:cNvPr>
          <p:cNvSpPr/>
          <p:nvPr/>
        </p:nvSpPr>
        <p:spPr>
          <a:xfrm>
            <a:off x="9447409" y="6013365"/>
            <a:ext cx="308269" cy="302509"/>
          </a:xfrm>
          <a:custGeom>
            <a:avLst/>
            <a:gdLst>
              <a:gd name="connsiteX0" fmla="*/ 203835 w 203834"/>
              <a:gd name="connsiteY0" fmla="*/ 100012 h 200025"/>
              <a:gd name="connsiteX1" fmla="*/ 101918 w 203834"/>
              <a:gd name="connsiteY1" fmla="*/ 200025 h 200025"/>
              <a:gd name="connsiteX2" fmla="*/ 0 w 203834"/>
              <a:gd name="connsiteY2" fmla="*/ 100012 h 200025"/>
              <a:gd name="connsiteX3" fmla="*/ 101918 w 203834"/>
              <a:gd name="connsiteY3" fmla="*/ 0 h 200025"/>
              <a:gd name="connsiteX4" fmla="*/ 203835 w 203834"/>
              <a:gd name="connsiteY4" fmla="*/ 100012 h 2000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3834" h="200025">
                <a:moveTo>
                  <a:pt x="203835" y="100012"/>
                </a:moveTo>
                <a:cubicBezTo>
                  <a:pt x="203835" y="155248"/>
                  <a:pt x="158205" y="200025"/>
                  <a:pt x="101918" y="200025"/>
                </a:cubicBezTo>
                <a:cubicBezTo>
                  <a:pt x="45630" y="200025"/>
                  <a:pt x="0" y="155248"/>
                  <a:pt x="0" y="100012"/>
                </a:cubicBezTo>
                <a:cubicBezTo>
                  <a:pt x="0" y="44777"/>
                  <a:pt x="45630" y="0"/>
                  <a:pt x="101918" y="0"/>
                </a:cubicBezTo>
                <a:cubicBezTo>
                  <a:pt x="158205" y="0"/>
                  <a:pt x="203835" y="44777"/>
                  <a:pt x="203835" y="100012"/>
                </a:cubicBezTo>
                <a:close/>
              </a:path>
            </a:pathLst>
          </a:custGeom>
          <a:solidFill>
            <a:schemeClr val="accent4"/>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5" name="Freeform: Shape 36">
            <a:extLst>
              <a:ext uri="{FF2B5EF4-FFF2-40B4-BE49-F238E27FC236}">
                <a16:creationId xmlns:a16="http://schemas.microsoft.com/office/drawing/2014/main" id="{7C3228C8-31AE-45C7-83CE-DB9672B22F58}"/>
              </a:ext>
            </a:extLst>
          </p:cNvPr>
          <p:cNvSpPr/>
          <p:nvPr/>
        </p:nvSpPr>
        <p:spPr>
          <a:xfrm>
            <a:off x="7684214" y="5712297"/>
            <a:ext cx="193030" cy="190148"/>
          </a:xfrm>
          <a:custGeom>
            <a:avLst/>
            <a:gdLst>
              <a:gd name="connsiteX0" fmla="*/ 127635 w 127635"/>
              <a:gd name="connsiteY0" fmla="*/ 62865 h 125730"/>
              <a:gd name="connsiteX1" fmla="*/ 63818 w 127635"/>
              <a:gd name="connsiteY1" fmla="*/ 125730 h 125730"/>
              <a:gd name="connsiteX2" fmla="*/ 0 w 127635"/>
              <a:gd name="connsiteY2" fmla="*/ 62865 h 125730"/>
              <a:gd name="connsiteX3" fmla="*/ 63818 w 127635"/>
              <a:gd name="connsiteY3" fmla="*/ 0 h 125730"/>
              <a:gd name="connsiteX4" fmla="*/ 127635 w 127635"/>
              <a:gd name="connsiteY4" fmla="*/ 62865 h 1257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635" h="125730">
                <a:moveTo>
                  <a:pt x="127635" y="62865"/>
                </a:moveTo>
                <a:cubicBezTo>
                  <a:pt x="127635" y="97584"/>
                  <a:pt x="99063" y="125730"/>
                  <a:pt x="63818" y="125730"/>
                </a:cubicBezTo>
                <a:cubicBezTo>
                  <a:pt x="28572" y="125730"/>
                  <a:pt x="0" y="97584"/>
                  <a:pt x="0" y="62865"/>
                </a:cubicBezTo>
                <a:cubicBezTo>
                  <a:pt x="0" y="28146"/>
                  <a:pt x="28572" y="0"/>
                  <a:pt x="63818" y="0"/>
                </a:cubicBezTo>
                <a:cubicBezTo>
                  <a:pt x="99063" y="0"/>
                  <a:pt x="127635" y="28146"/>
                  <a:pt x="127635" y="62865"/>
                </a:cubicBezTo>
                <a:close/>
              </a:path>
            </a:pathLst>
          </a:custGeom>
          <a:solidFill>
            <a:schemeClr val="accent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6" name="Freeform: Shape 37">
            <a:extLst>
              <a:ext uri="{FF2B5EF4-FFF2-40B4-BE49-F238E27FC236}">
                <a16:creationId xmlns:a16="http://schemas.microsoft.com/office/drawing/2014/main" id="{37888DC8-D985-4B97-878E-FD4592D3861E}"/>
              </a:ext>
            </a:extLst>
          </p:cNvPr>
          <p:cNvSpPr/>
          <p:nvPr/>
        </p:nvSpPr>
        <p:spPr>
          <a:xfrm>
            <a:off x="10896571" y="5317595"/>
            <a:ext cx="193028" cy="190148"/>
          </a:xfrm>
          <a:custGeom>
            <a:avLst/>
            <a:gdLst>
              <a:gd name="connsiteX0" fmla="*/ 127635 w 127634"/>
              <a:gd name="connsiteY0" fmla="*/ 62865 h 125730"/>
              <a:gd name="connsiteX1" fmla="*/ 63817 w 127634"/>
              <a:gd name="connsiteY1" fmla="*/ 125730 h 125730"/>
              <a:gd name="connsiteX2" fmla="*/ 0 w 127634"/>
              <a:gd name="connsiteY2" fmla="*/ 62865 h 125730"/>
              <a:gd name="connsiteX3" fmla="*/ 63817 w 127634"/>
              <a:gd name="connsiteY3" fmla="*/ 0 h 125730"/>
              <a:gd name="connsiteX4" fmla="*/ 127635 w 127634"/>
              <a:gd name="connsiteY4" fmla="*/ 62865 h 1257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634" h="125730">
                <a:moveTo>
                  <a:pt x="127635" y="62865"/>
                </a:moveTo>
                <a:cubicBezTo>
                  <a:pt x="127635" y="97584"/>
                  <a:pt x="99063" y="125730"/>
                  <a:pt x="63817" y="125730"/>
                </a:cubicBezTo>
                <a:cubicBezTo>
                  <a:pt x="28572" y="125730"/>
                  <a:pt x="0" y="97584"/>
                  <a:pt x="0" y="62865"/>
                </a:cubicBezTo>
                <a:cubicBezTo>
                  <a:pt x="0" y="28146"/>
                  <a:pt x="28572" y="0"/>
                  <a:pt x="63817" y="0"/>
                </a:cubicBezTo>
                <a:cubicBezTo>
                  <a:pt x="99063" y="0"/>
                  <a:pt x="127635" y="28146"/>
                  <a:pt x="127635" y="62865"/>
                </a:cubicBezTo>
                <a:close/>
              </a:path>
            </a:pathLst>
          </a:custGeom>
          <a:solidFill>
            <a:schemeClr val="accent4"/>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7" name="Freeform: Shape 38">
            <a:extLst>
              <a:ext uri="{FF2B5EF4-FFF2-40B4-BE49-F238E27FC236}">
                <a16:creationId xmlns:a16="http://schemas.microsoft.com/office/drawing/2014/main" id="{DEBEA78C-C260-44D8-8A6E-6D508C1CE56B}"/>
              </a:ext>
            </a:extLst>
          </p:cNvPr>
          <p:cNvSpPr/>
          <p:nvPr/>
        </p:nvSpPr>
        <p:spPr>
          <a:xfrm>
            <a:off x="7600664" y="4189670"/>
            <a:ext cx="443680" cy="435035"/>
          </a:xfrm>
          <a:custGeom>
            <a:avLst/>
            <a:gdLst>
              <a:gd name="connsiteX0" fmla="*/ 293370 w 293370"/>
              <a:gd name="connsiteY0" fmla="*/ 143828 h 287654"/>
              <a:gd name="connsiteX1" fmla="*/ 146685 w 293370"/>
              <a:gd name="connsiteY1" fmla="*/ 287655 h 287654"/>
              <a:gd name="connsiteX2" fmla="*/ 0 w 293370"/>
              <a:gd name="connsiteY2" fmla="*/ 143828 h 287654"/>
              <a:gd name="connsiteX3" fmla="*/ 146685 w 293370"/>
              <a:gd name="connsiteY3" fmla="*/ 0 h 287654"/>
              <a:gd name="connsiteX4" fmla="*/ 293370 w 293370"/>
              <a:gd name="connsiteY4" fmla="*/ 143828 h 2876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3370" h="287654">
                <a:moveTo>
                  <a:pt x="293370" y="143828"/>
                </a:moveTo>
                <a:cubicBezTo>
                  <a:pt x="293370" y="223261"/>
                  <a:pt x="227697" y="287655"/>
                  <a:pt x="146685" y="287655"/>
                </a:cubicBezTo>
                <a:cubicBezTo>
                  <a:pt x="65673" y="287655"/>
                  <a:pt x="0" y="223261"/>
                  <a:pt x="0" y="143828"/>
                </a:cubicBezTo>
                <a:cubicBezTo>
                  <a:pt x="0" y="64394"/>
                  <a:pt x="65673" y="0"/>
                  <a:pt x="146685" y="0"/>
                </a:cubicBezTo>
                <a:cubicBezTo>
                  <a:pt x="227697" y="0"/>
                  <a:pt x="293370" y="64394"/>
                  <a:pt x="293370" y="143828"/>
                </a:cubicBezTo>
                <a:close/>
              </a:path>
            </a:pathLst>
          </a:custGeom>
          <a:solidFill>
            <a:schemeClr val="accent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8" name="Freeform: Shape 39">
            <a:extLst>
              <a:ext uri="{FF2B5EF4-FFF2-40B4-BE49-F238E27FC236}">
                <a16:creationId xmlns:a16="http://schemas.microsoft.com/office/drawing/2014/main" id="{AAE09008-EEE6-40EB-9AC9-54F44477EB82}"/>
              </a:ext>
            </a:extLst>
          </p:cNvPr>
          <p:cNvSpPr/>
          <p:nvPr/>
        </p:nvSpPr>
        <p:spPr>
          <a:xfrm>
            <a:off x="6743554" y="4206957"/>
            <a:ext cx="584849" cy="573326"/>
          </a:xfrm>
          <a:custGeom>
            <a:avLst/>
            <a:gdLst>
              <a:gd name="connsiteX0" fmla="*/ 386715 w 386714"/>
              <a:gd name="connsiteY0" fmla="*/ 189548 h 379095"/>
              <a:gd name="connsiteX1" fmla="*/ 193358 w 386714"/>
              <a:gd name="connsiteY1" fmla="*/ 379095 h 379095"/>
              <a:gd name="connsiteX2" fmla="*/ 0 w 386714"/>
              <a:gd name="connsiteY2" fmla="*/ 189548 h 379095"/>
              <a:gd name="connsiteX3" fmla="*/ 193358 w 386714"/>
              <a:gd name="connsiteY3" fmla="*/ 0 h 379095"/>
              <a:gd name="connsiteX4" fmla="*/ 386715 w 386714"/>
              <a:gd name="connsiteY4" fmla="*/ 189548 h 3790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6714" h="379095">
                <a:moveTo>
                  <a:pt x="386715" y="189548"/>
                </a:moveTo>
                <a:cubicBezTo>
                  <a:pt x="386715" y="294232"/>
                  <a:pt x="300146" y="379095"/>
                  <a:pt x="193358" y="379095"/>
                </a:cubicBezTo>
                <a:cubicBezTo>
                  <a:pt x="86569" y="379095"/>
                  <a:pt x="0" y="294232"/>
                  <a:pt x="0" y="189548"/>
                </a:cubicBezTo>
                <a:cubicBezTo>
                  <a:pt x="0" y="84863"/>
                  <a:pt x="86569" y="0"/>
                  <a:pt x="193358" y="0"/>
                </a:cubicBezTo>
                <a:cubicBezTo>
                  <a:pt x="300146" y="0"/>
                  <a:pt x="386715" y="84863"/>
                  <a:pt x="386715" y="189548"/>
                </a:cubicBezTo>
                <a:close/>
              </a:path>
            </a:pathLst>
          </a:custGeom>
          <a:solidFill>
            <a:schemeClr val="accent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9" name="Freeform: Shape 40">
            <a:extLst>
              <a:ext uri="{FF2B5EF4-FFF2-40B4-BE49-F238E27FC236}">
                <a16:creationId xmlns:a16="http://schemas.microsoft.com/office/drawing/2014/main" id="{D02457FD-2463-4D41-8937-5A16B3B82760}"/>
              </a:ext>
            </a:extLst>
          </p:cNvPr>
          <p:cNvSpPr/>
          <p:nvPr/>
        </p:nvSpPr>
        <p:spPr>
          <a:xfrm>
            <a:off x="9447409" y="4121965"/>
            <a:ext cx="270818" cy="265054"/>
          </a:xfrm>
          <a:custGeom>
            <a:avLst/>
            <a:gdLst>
              <a:gd name="connsiteX0" fmla="*/ 179070 w 179070"/>
              <a:gd name="connsiteY0" fmla="*/ 87630 h 175259"/>
              <a:gd name="connsiteX1" fmla="*/ 89535 w 179070"/>
              <a:gd name="connsiteY1" fmla="*/ 175260 h 175259"/>
              <a:gd name="connsiteX2" fmla="*/ 0 w 179070"/>
              <a:gd name="connsiteY2" fmla="*/ 87630 h 175259"/>
              <a:gd name="connsiteX3" fmla="*/ 89535 w 179070"/>
              <a:gd name="connsiteY3" fmla="*/ 0 h 175259"/>
              <a:gd name="connsiteX4" fmla="*/ 179070 w 179070"/>
              <a:gd name="connsiteY4" fmla="*/ 87630 h 1752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9070" h="175259">
                <a:moveTo>
                  <a:pt x="179070" y="87630"/>
                </a:moveTo>
                <a:cubicBezTo>
                  <a:pt x="179070" y="136027"/>
                  <a:pt x="138984" y="175260"/>
                  <a:pt x="89535" y="175260"/>
                </a:cubicBezTo>
                <a:cubicBezTo>
                  <a:pt x="40086" y="175260"/>
                  <a:pt x="0" y="136027"/>
                  <a:pt x="0" y="87630"/>
                </a:cubicBezTo>
                <a:cubicBezTo>
                  <a:pt x="0" y="39233"/>
                  <a:pt x="40086" y="0"/>
                  <a:pt x="89535" y="0"/>
                </a:cubicBezTo>
                <a:cubicBezTo>
                  <a:pt x="138984" y="0"/>
                  <a:pt x="179070" y="39233"/>
                  <a:pt x="179070" y="87630"/>
                </a:cubicBezTo>
                <a:close/>
              </a:path>
            </a:pathLst>
          </a:custGeom>
          <a:solidFill>
            <a:schemeClr val="accent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40" name="Freeform: Shape 41">
            <a:extLst>
              <a:ext uri="{FF2B5EF4-FFF2-40B4-BE49-F238E27FC236}">
                <a16:creationId xmlns:a16="http://schemas.microsoft.com/office/drawing/2014/main" id="{CC5AF19C-2FB0-455C-9DC7-72F706E3C485}"/>
              </a:ext>
            </a:extLst>
          </p:cNvPr>
          <p:cNvSpPr/>
          <p:nvPr/>
        </p:nvSpPr>
        <p:spPr>
          <a:xfrm>
            <a:off x="8914417" y="4827819"/>
            <a:ext cx="270818" cy="265054"/>
          </a:xfrm>
          <a:custGeom>
            <a:avLst/>
            <a:gdLst>
              <a:gd name="connsiteX0" fmla="*/ 179070 w 179070"/>
              <a:gd name="connsiteY0" fmla="*/ 87630 h 175259"/>
              <a:gd name="connsiteX1" fmla="*/ 89535 w 179070"/>
              <a:gd name="connsiteY1" fmla="*/ 175260 h 175259"/>
              <a:gd name="connsiteX2" fmla="*/ 0 w 179070"/>
              <a:gd name="connsiteY2" fmla="*/ 87630 h 175259"/>
              <a:gd name="connsiteX3" fmla="*/ 89535 w 179070"/>
              <a:gd name="connsiteY3" fmla="*/ 0 h 175259"/>
              <a:gd name="connsiteX4" fmla="*/ 179070 w 179070"/>
              <a:gd name="connsiteY4" fmla="*/ 87630 h 1752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9070" h="175259">
                <a:moveTo>
                  <a:pt x="179070" y="87630"/>
                </a:moveTo>
                <a:cubicBezTo>
                  <a:pt x="179070" y="136027"/>
                  <a:pt x="138984" y="175260"/>
                  <a:pt x="89535" y="175260"/>
                </a:cubicBezTo>
                <a:cubicBezTo>
                  <a:pt x="40086" y="175260"/>
                  <a:pt x="0" y="136027"/>
                  <a:pt x="0" y="87630"/>
                </a:cubicBezTo>
                <a:cubicBezTo>
                  <a:pt x="0" y="39233"/>
                  <a:pt x="40086" y="0"/>
                  <a:pt x="89535" y="0"/>
                </a:cubicBezTo>
                <a:cubicBezTo>
                  <a:pt x="138984" y="0"/>
                  <a:pt x="179070" y="39233"/>
                  <a:pt x="179070" y="87630"/>
                </a:cubicBezTo>
                <a:close/>
              </a:path>
            </a:pathLst>
          </a:custGeom>
          <a:solidFill>
            <a:schemeClr val="accent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41" name="Freeform: Shape 42">
            <a:extLst>
              <a:ext uri="{FF2B5EF4-FFF2-40B4-BE49-F238E27FC236}">
                <a16:creationId xmlns:a16="http://schemas.microsoft.com/office/drawing/2014/main" id="{45041591-3F98-458E-9C1E-8872606AFCC6}"/>
              </a:ext>
            </a:extLst>
          </p:cNvPr>
          <p:cNvSpPr/>
          <p:nvPr/>
        </p:nvSpPr>
        <p:spPr>
          <a:xfrm>
            <a:off x="6955311" y="4875357"/>
            <a:ext cx="331319" cy="322674"/>
          </a:xfrm>
          <a:custGeom>
            <a:avLst/>
            <a:gdLst>
              <a:gd name="connsiteX0" fmla="*/ 219075 w 219075"/>
              <a:gd name="connsiteY0" fmla="*/ 106680 h 213359"/>
              <a:gd name="connsiteX1" fmla="*/ 109538 w 219075"/>
              <a:gd name="connsiteY1" fmla="*/ 213360 h 213359"/>
              <a:gd name="connsiteX2" fmla="*/ 0 w 219075"/>
              <a:gd name="connsiteY2" fmla="*/ 106680 h 213359"/>
              <a:gd name="connsiteX3" fmla="*/ 109538 w 219075"/>
              <a:gd name="connsiteY3" fmla="*/ 0 h 213359"/>
              <a:gd name="connsiteX4" fmla="*/ 219075 w 219075"/>
              <a:gd name="connsiteY4" fmla="*/ 106680 h 2133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9075" h="213359">
                <a:moveTo>
                  <a:pt x="219075" y="106680"/>
                </a:moveTo>
                <a:cubicBezTo>
                  <a:pt x="219075" y="165598"/>
                  <a:pt x="170033" y="213360"/>
                  <a:pt x="109538" y="213360"/>
                </a:cubicBezTo>
                <a:cubicBezTo>
                  <a:pt x="49042" y="213360"/>
                  <a:pt x="0" y="165598"/>
                  <a:pt x="0" y="106680"/>
                </a:cubicBezTo>
                <a:cubicBezTo>
                  <a:pt x="0" y="47762"/>
                  <a:pt x="49042" y="0"/>
                  <a:pt x="109538" y="0"/>
                </a:cubicBezTo>
                <a:cubicBezTo>
                  <a:pt x="170033" y="0"/>
                  <a:pt x="219075" y="47762"/>
                  <a:pt x="219075" y="106680"/>
                </a:cubicBezTo>
                <a:close/>
              </a:path>
            </a:pathLst>
          </a:custGeom>
          <a:solidFill>
            <a:schemeClr val="accent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42" name="Freeform: Shape 43">
            <a:extLst>
              <a:ext uri="{FF2B5EF4-FFF2-40B4-BE49-F238E27FC236}">
                <a16:creationId xmlns:a16="http://schemas.microsoft.com/office/drawing/2014/main" id="{9C565F49-7079-4366-BC96-2F28C7383905}"/>
              </a:ext>
            </a:extLst>
          </p:cNvPr>
          <p:cNvSpPr/>
          <p:nvPr/>
        </p:nvSpPr>
        <p:spPr>
          <a:xfrm>
            <a:off x="9932863" y="1595298"/>
            <a:ext cx="305388" cy="299626"/>
          </a:xfrm>
          <a:custGeom>
            <a:avLst/>
            <a:gdLst>
              <a:gd name="connsiteX0" fmla="*/ 201930 w 201929"/>
              <a:gd name="connsiteY0" fmla="*/ 99060 h 198119"/>
              <a:gd name="connsiteX1" fmla="*/ 100965 w 201929"/>
              <a:gd name="connsiteY1" fmla="*/ 198120 h 198119"/>
              <a:gd name="connsiteX2" fmla="*/ 0 w 201929"/>
              <a:gd name="connsiteY2" fmla="*/ 99060 h 198119"/>
              <a:gd name="connsiteX3" fmla="*/ 100965 w 201929"/>
              <a:gd name="connsiteY3" fmla="*/ 0 h 198119"/>
              <a:gd name="connsiteX4" fmla="*/ 201930 w 201929"/>
              <a:gd name="connsiteY4" fmla="*/ 99060 h 198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1929" h="198119">
                <a:moveTo>
                  <a:pt x="201930" y="99060"/>
                </a:moveTo>
                <a:cubicBezTo>
                  <a:pt x="201930" y="153769"/>
                  <a:pt x="156726" y="198120"/>
                  <a:pt x="100965" y="198120"/>
                </a:cubicBezTo>
                <a:cubicBezTo>
                  <a:pt x="45204" y="198120"/>
                  <a:pt x="0" y="153769"/>
                  <a:pt x="0" y="99060"/>
                </a:cubicBezTo>
                <a:cubicBezTo>
                  <a:pt x="0" y="44351"/>
                  <a:pt x="45204" y="0"/>
                  <a:pt x="100965" y="0"/>
                </a:cubicBezTo>
                <a:cubicBezTo>
                  <a:pt x="156726" y="0"/>
                  <a:pt x="201930" y="44351"/>
                  <a:pt x="201930" y="99060"/>
                </a:cubicBezTo>
                <a:close/>
              </a:path>
            </a:pathLst>
          </a:custGeom>
          <a:solidFill>
            <a:schemeClr val="accent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43" name="Freeform: Shape 44">
            <a:extLst>
              <a:ext uri="{FF2B5EF4-FFF2-40B4-BE49-F238E27FC236}">
                <a16:creationId xmlns:a16="http://schemas.microsoft.com/office/drawing/2014/main" id="{1CB2645F-3C00-45B0-88A1-FB964AD5AC12}"/>
              </a:ext>
            </a:extLst>
          </p:cNvPr>
          <p:cNvSpPr/>
          <p:nvPr/>
        </p:nvSpPr>
        <p:spPr>
          <a:xfrm>
            <a:off x="9129053" y="2898967"/>
            <a:ext cx="365890" cy="360129"/>
          </a:xfrm>
          <a:custGeom>
            <a:avLst/>
            <a:gdLst>
              <a:gd name="connsiteX0" fmla="*/ 241935 w 241934"/>
              <a:gd name="connsiteY0" fmla="*/ 119062 h 238125"/>
              <a:gd name="connsiteX1" fmla="*/ 120968 w 241934"/>
              <a:gd name="connsiteY1" fmla="*/ 238125 h 238125"/>
              <a:gd name="connsiteX2" fmla="*/ 0 w 241934"/>
              <a:gd name="connsiteY2" fmla="*/ 119062 h 238125"/>
              <a:gd name="connsiteX3" fmla="*/ 120968 w 241934"/>
              <a:gd name="connsiteY3" fmla="*/ 0 h 238125"/>
              <a:gd name="connsiteX4" fmla="*/ 241935 w 241934"/>
              <a:gd name="connsiteY4" fmla="*/ 119062 h 2381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1934" h="238125">
                <a:moveTo>
                  <a:pt x="241935" y="119062"/>
                </a:moveTo>
                <a:cubicBezTo>
                  <a:pt x="241935" y="184819"/>
                  <a:pt x="187776" y="238125"/>
                  <a:pt x="120968" y="238125"/>
                </a:cubicBezTo>
                <a:cubicBezTo>
                  <a:pt x="54159" y="238125"/>
                  <a:pt x="0" y="184819"/>
                  <a:pt x="0" y="119062"/>
                </a:cubicBezTo>
                <a:cubicBezTo>
                  <a:pt x="0" y="53306"/>
                  <a:pt x="54159" y="0"/>
                  <a:pt x="120968" y="0"/>
                </a:cubicBezTo>
                <a:cubicBezTo>
                  <a:pt x="187776" y="0"/>
                  <a:pt x="241935" y="53306"/>
                  <a:pt x="241935" y="119062"/>
                </a:cubicBezTo>
                <a:close/>
              </a:path>
            </a:pathLst>
          </a:custGeom>
          <a:solidFill>
            <a:schemeClr val="accent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44" name="Freeform: Shape 45">
            <a:extLst>
              <a:ext uri="{FF2B5EF4-FFF2-40B4-BE49-F238E27FC236}">
                <a16:creationId xmlns:a16="http://schemas.microsoft.com/office/drawing/2014/main" id="{E6E5CD5B-CD47-4A4A-AB3A-58B715E306F1}"/>
              </a:ext>
            </a:extLst>
          </p:cNvPr>
          <p:cNvSpPr/>
          <p:nvPr/>
        </p:nvSpPr>
        <p:spPr>
          <a:xfrm>
            <a:off x="10053866" y="1808494"/>
            <a:ext cx="682804" cy="668399"/>
          </a:xfrm>
          <a:custGeom>
            <a:avLst/>
            <a:gdLst>
              <a:gd name="connsiteX0" fmla="*/ 451485 w 451484"/>
              <a:gd name="connsiteY0" fmla="*/ 220980 h 441959"/>
              <a:gd name="connsiteX1" fmla="*/ 225742 w 451484"/>
              <a:gd name="connsiteY1" fmla="*/ 441960 h 441959"/>
              <a:gd name="connsiteX2" fmla="*/ 0 w 451484"/>
              <a:gd name="connsiteY2" fmla="*/ 220980 h 441959"/>
              <a:gd name="connsiteX3" fmla="*/ 225742 w 451484"/>
              <a:gd name="connsiteY3" fmla="*/ 0 h 441959"/>
              <a:gd name="connsiteX4" fmla="*/ 451485 w 451484"/>
              <a:gd name="connsiteY4" fmla="*/ 220980 h 4419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1484" h="441959">
                <a:moveTo>
                  <a:pt x="451485" y="220980"/>
                </a:moveTo>
                <a:cubicBezTo>
                  <a:pt x="451485" y="343024"/>
                  <a:pt x="350417" y="441960"/>
                  <a:pt x="225742" y="441960"/>
                </a:cubicBezTo>
                <a:cubicBezTo>
                  <a:pt x="101068" y="441960"/>
                  <a:pt x="0" y="343024"/>
                  <a:pt x="0" y="220980"/>
                </a:cubicBezTo>
                <a:cubicBezTo>
                  <a:pt x="0" y="98936"/>
                  <a:pt x="101068" y="0"/>
                  <a:pt x="225742" y="0"/>
                </a:cubicBezTo>
                <a:cubicBezTo>
                  <a:pt x="350416" y="0"/>
                  <a:pt x="451485" y="98936"/>
                  <a:pt x="451485" y="220980"/>
                </a:cubicBezTo>
                <a:close/>
              </a:path>
            </a:pathLst>
          </a:custGeom>
          <a:solidFill>
            <a:schemeClr val="accent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45" name="Freeform: Shape 46">
            <a:extLst>
              <a:ext uri="{FF2B5EF4-FFF2-40B4-BE49-F238E27FC236}">
                <a16:creationId xmlns:a16="http://schemas.microsoft.com/office/drawing/2014/main" id="{8A0C2022-76C8-4C0E-86F8-B1DFD628EE1E}"/>
              </a:ext>
            </a:extLst>
          </p:cNvPr>
          <p:cNvSpPr/>
          <p:nvPr/>
        </p:nvSpPr>
        <p:spPr>
          <a:xfrm>
            <a:off x="9463254" y="3195713"/>
            <a:ext cx="1063103" cy="1040052"/>
          </a:xfrm>
          <a:custGeom>
            <a:avLst/>
            <a:gdLst>
              <a:gd name="connsiteX0" fmla="*/ 702945 w 702945"/>
              <a:gd name="connsiteY0" fmla="*/ 343853 h 687704"/>
              <a:gd name="connsiteX1" fmla="*/ 351472 w 702945"/>
              <a:gd name="connsiteY1" fmla="*/ 687705 h 687704"/>
              <a:gd name="connsiteX2" fmla="*/ 0 w 702945"/>
              <a:gd name="connsiteY2" fmla="*/ 343853 h 687704"/>
              <a:gd name="connsiteX3" fmla="*/ 351472 w 702945"/>
              <a:gd name="connsiteY3" fmla="*/ 0 h 687704"/>
              <a:gd name="connsiteX4" fmla="*/ 702945 w 702945"/>
              <a:gd name="connsiteY4" fmla="*/ 343853 h 6877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2945" h="687704">
                <a:moveTo>
                  <a:pt x="702945" y="343853"/>
                </a:moveTo>
                <a:cubicBezTo>
                  <a:pt x="702945" y="533757"/>
                  <a:pt x="545585" y="687705"/>
                  <a:pt x="351472" y="687705"/>
                </a:cubicBezTo>
                <a:cubicBezTo>
                  <a:pt x="157360" y="687705"/>
                  <a:pt x="0" y="533757"/>
                  <a:pt x="0" y="343853"/>
                </a:cubicBezTo>
                <a:cubicBezTo>
                  <a:pt x="0" y="153948"/>
                  <a:pt x="157360" y="0"/>
                  <a:pt x="351472" y="0"/>
                </a:cubicBezTo>
                <a:cubicBezTo>
                  <a:pt x="545585" y="0"/>
                  <a:pt x="702945" y="153948"/>
                  <a:pt x="702945" y="343853"/>
                </a:cubicBezTo>
                <a:close/>
              </a:path>
            </a:pathLst>
          </a:custGeom>
          <a:solidFill>
            <a:schemeClr val="accent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46" name="Freeform: Shape 47">
            <a:extLst>
              <a:ext uri="{FF2B5EF4-FFF2-40B4-BE49-F238E27FC236}">
                <a16:creationId xmlns:a16="http://schemas.microsoft.com/office/drawing/2014/main" id="{51D0D20C-6B4B-485F-9A4D-10EFAF6B0738}"/>
              </a:ext>
            </a:extLst>
          </p:cNvPr>
          <p:cNvSpPr/>
          <p:nvPr/>
        </p:nvSpPr>
        <p:spPr>
          <a:xfrm>
            <a:off x="10859117" y="3763277"/>
            <a:ext cx="815334" cy="800928"/>
          </a:xfrm>
          <a:custGeom>
            <a:avLst/>
            <a:gdLst>
              <a:gd name="connsiteX0" fmla="*/ 539115 w 539115"/>
              <a:gd name="connsiteY0" fmla="*/ 264795 h 529590"/>
              <a:gd name="connsiteX1" fmla="*/ 269558 w 539115"/>
              <a:gd name="connsiteY1" fmla="*/ 529590 h 529590"/>
              <a:gd name="connsiteX2" fmla="*/ 0 w 539115"/>
              <a:gd name="connsiteY2" fmla="*/ 264795 h 529590"/>
              <a:gd name="connsiteX3" fmla="*/ 269558 w 539115"/>
              <a:gd name="connsiteY3" fmla="*/ 0 h 529590"/>
              <a:gd name="connsiteX4" fmla="*/ 539115 w 539115"/>
              <a:gd name="connsiteY4" fmla="*/ 264795 h 5295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9115" h="529590">
                <a:moveTo>
                  <a:pt x="539115" y="264795"/>
                </a:moveTo>
                <a:cubicBezTo>
                  <a:pt x="539115" y="411037"/>
                  <a:pt x="418430" y="529590"/>
                  <a:pt x="269558" y="529590"/>
                </a:cubicBezTo>
                <a:cubicBezTo>
                  <a:pt x="120685" y="529590"/>
                  <a:pt x="0" y="411037"/>
                  <a:pt x="0" y="264795"/>
                </a:cubicBezTo>
                <a:cubicBezTo>
                  <a:pt x="0" y="118553"/>
                  <a:pt x="120685" y="0"/>
                  <a:pt x="269558" y="0"/>
                </a:cubicBezTo>
                <a:cubicBezTo>
                  <a:pt x="418430" y="0"/>
                  <a:pt x="539115" y="118553"/>
                  <a:pt x="539115" y="264795"/>
                </a:cubicBezTo>
                <a:close/>
              </a:path>
            </a:pathLst>
          </a:custGeom>
          <a:solidFill>
            <a:schemeClr val="accent4"/>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47" name="Freeform: Shape 48">
            <a:extLst>
              <a:ext uri="{FF2B5EF4-FFF2-40B4-BE49-F238E27FC236}">
                <a16:creationId xmlns:a16="http://schemas.microsoft.com/office/drawing/2014/main" id="{77C3D2F9-86D8-41CE-94F5-883E0CE7849A}"/>
              </a:ext>
            </a:extLst>
          </p:cNvPr>
          <p:cNvSpPr/>
          <p:nvPr/>
        </p:nvSpPr>
        <p:spPr>
          <a:xfrm>
            <a:off x="9480540" y="4505143"/>
            <a:ext cx="1063103" cy="1040054"/>
          </a:xfrm>
          <a:custGeom>
            <a:avLst/>
            <a:gdLst>
              <a:gd name="connsiteX0" fmla="*/ 702945 w 702945"/>
              <a:gd name="connsiteY0" fmla="*/ 343852 h 687705"/>
              <a:gd name="connsiteX1" fmla="*/ 351473 w 702945"/>
              <a:gd name="connsiteY1" fmla="*/ 687705 h 687705"/>
              <a:gd name="connsiteX2" fmla="*/ 0 w 702945"/>
              <a:gd name="connsiteY2" fmla="*/ 343852 h 687705"/>
              <a:gd name="connsiteX3" fmla="*/ 351473 w 702945"/>
              <a:gd name="connsiteY3" fmla="*/ 0 h 687705"/>
              <a:gd name="connsiteX4" fmla="*/ 702945 w 702945"/>
              <a:gd name="connsiteY4" fmla="*/ 343852 h 6877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2945" h="687705">
                <a:moveTo>
                  <a:pt x="702945" y="343852"/>
                </a:moveTo>
                <a:cubicBezTo>
                  <a:pt x="702945" y="533757"/>
                  <a:pt x="545585" y="687705"/>
                  <a:pt x="351473" y="687705"/>
                </a:cubicBezTo>
                <a:cubicBezTo>
                  <a:pt x="157360" y="687705"/>
                  <a:pt x="0" y="533757"/>
                  <a:pt x="0" y="343852"/>
                </a:cubicBezTo>
                <a:cubicBezTo>
                  <a:pt x="0" y="153948"/>
                  <a:pt x="157360" y="0"/>
                  <a:pt x="351473" y="0"/>
                </a:cubicBezTo>
                <a:cubicBezTo>
                  <a:pt x="545585" y="0"/>
                  <a:pt x="702945" y="153948"/>
                  <a:pt x="702945" y="343852"/>
                </a:cubicBezTo>
                <a:close/>
              </a:path>
            </a:pathLst>
          </a:custGeom>
          <a:solidFill>
            <a:schemeClr val="accent4"/>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48" name="Freeform: Shape 49">
            <a:extLst>
              <a:ext uri="{FF2B5EF4-FFF2-40B4-BE49-F238E27FC236}">
                <a16:creationId xmlns:a16="http://schemas.microsoft.com/office/drawing/2014/main" id="{75B464B3-BFF8-4186-855E-86B60FFEA73B}"/>
              </a:ext>
            </a:extLst>
          </p:cNvPr>
          <p:cNvSpPr/>
          <p:nvPr/>
        </p:nvSpPr>
        <p:spPr>
          <a:xfrm>
            <a:off x="10526357" y="4450403"/>
            <a:ext cx="527230" cy="518586"/>
          </a:xfrm>
          <a:custGeom>
            <a:avLst/>
            <a:gdLst>
              <a:gd name="connsiteX0" fmla="*/ 348615 w 348615"/>
              <a:gd name="connsiteY0" fmla="*/ 171450 h 342900"/>
              <a:gd name="connsiteX1" fmla="*/ 174308 w 348615"/>
              <a:gd name="connsiteY1" fmla="*/ 342900 h 342900"/>
              <a:gd name="connsiteX2" fmla="*/ 0 w 348615"/>
              <a:gd name="connsiteY2" fmla="*/ 171450 h 342900"/>
              <a:gd name="connsiteX3" fmla="*/ 174308 w 348615"/>
              <a:gd name="connsiteY3" fmla="*/ 0 h 342900"/>
              <a:gd name="connsiteX4" fmla="*/ 348615 w 348615"/>
              <a:gd name="connsiteY4" fmla="*/ 171450 h 342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8615" h="342900">
                <a:moveTo>
                  <a:pt x="348615" y="171450"/>
                </a:moveTo>
                <a:cubicBezTo>
                  <a:pt x="348615" y="266139"/>
                  <a:pt x="270575" y="342900"/>
                  <a:pt x="174308" y="342900"/>
                </a:cubicBezTo>
                <a:cubicBezTo>
                  <a:pt x="78040" y="342900"/>
                  <a:pt x="0" y="266139"/>
                  <a:pt x="0" y="171450"/>
                </a:cubicBezTo>
                <a:cubicBezTo>
                  <a:pt x="0" y="76761"/>
                  <a:pt x="78040" y="0"/>
                  <a:pt x="174308" y="0"/>
                </a:cubicBezTo>
                <a:cubicBezTo>
                  <a:pt x="270575" y="0"/>
                  <a:pt x="348615" y="76761"/>
                  <a:pt x="348615" y="171450"/>
                </a:cubicBezTo>
                <a:close/>
              </a:path>
            </a:pathLst>
          </a:custGeom>
          <a:solidFill>
            <a:schemeClr val="accent4"/>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49" name="Freeform: Shape 50">
            <a:extLst>
              <a:ext uri="{FF2B5EF4-FFF2-40B4-BE49-F238E27FC236}">
                <a16:creationId xmlns:a16="http://schemas.microsoft.com/office/drawing/2014/main" id="{C8D537E9-3AFF-4929-B9FE-5941A76B6703}"/>
              </a:ext>
            </a:extLst>
          </p:cNvPr>
          <p:cNvSpPr/>
          <p:nvPr/>
        </p:nvSpPr>
        <p:spPr>
          <a:xfrm>
            <a:off x="7933423" y="5202353"/>
            <a:ext cx="1063101" cy="1040054"/>
          </a:xfrm>
          <a:custGeom>
            <a:avLst/>
            <a:gdLst>
              <a:gd name="connsiteX0" fmla="*/ 702945 w 702944"/>
              <a:gd name="connsiteY0" fmla="*/ 343853 h 687705"/>
              <a:gd name="connsiteX1" fmla="*/ 351473 w 702944"/>
              <a:gd name="connsiteY1" fmla="*/ 687705 h 687705"/>
              <a:gd name="connsiteX2" fmla="*/ 0 w 702944"/>
              <a:gd name="connsiteY2" fmla="*/ 343853 h 687705"/>
              <a:gd name="connsiteX3" fmla="*/ 351473 w 702944"/>
              <a:gd name="connsiteY3" fmla="*/ 0 h 687705"/>
              <a:gd name="connsiteX4" fmla="*/ 702945 w 702944"/>
              <a:gd name="connsiteY4" fmla="*/ 343853 h 6877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2944" h="687705">
                <a:moveTo>
                  <a:pt x="702945" y="343853"/>
                </a:moveTo>
                <a:cubicBezTo>
                  <a:pt x="702945" y="533757"/>
                  <a:pt x="545586" y="687705"/>
                  <a:pt x="351473" y="687705"/>
                </a:cubicBezTo>
                <a:cubicBezTo>
                  <a:pt x="157360" y="687705"/>
                  <a:pt x="0" y="533757"/>
                  <a:pt x="0" y="343853"/>
                </a:cubicBezTo>
                <a:cubicBezTo>
                  <a:pt x="0" y="153948"/>
                  <a:pt x="157360" y="0"/>
                  <a:pt x="351473" y="0"/>
                </a:cubicBezTo>
                <a:cubicBezTo>
                  <a:pt x="545586" y="0"/>
                  <a:pt x="702945" y="153948"/>
                  <a:pt x="702945" y="343853"/>
                </a:cubicBezTo>
                <a:close/>
              </a:path>
            </a:pathLst>
          </a:custGeom>
          <a:solidFill>
            <a:schemeClr val="accent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50" name="Freeform: Shape 51">
            <a:extLst>
              <a:ext uri="{FF2B5EF4-FFF2-40B4-BE49-F238E27FC236}">
                <a16:creationId xmlns:a16="http://schemas.microsoft.com/office/drawing/2014/main" id="{CC952423-D5A8-4EDD-BFB6-37A66DEAE6E8}"/>
              </a:ext>
            </a:extLst>
          </p:cNvPr>
          <p:cNvSpPr/>
          <p:nvPr/>
        </p:nvSpPr>
        <p:spPr>
          <a:xfrm>
            <a:off x="7955031" y="2773641"/>
            <a:ext cx="1017005" cy="996837"/>
          </a:xfrm>
          <a:custGeom>
            <a:avLst/>
            <a:gdLst>
              <a:gd name="connsiteX0" fmla="*/ 672465 w 672464"/>
              <a:gd name="connsiteY0" fmla="*/ 329565 h 659129"/>
              <a:gd name="connsiteX1" fmla="*/ 336232 w 672464"/>
              <a:gd name="connsiteY1" fmla="*/ 659130 h 659129"/>
              <a:gd name="connsiteX2" fmla="*/ 0 w 672464"/>
              <a:gd name="connsiteY2" fmla="*/ 329565 h 659129"/>
              <a:gd name="connsiteX3" fmla="*/ 336232 w 672464"/>
              <a:gd name="connsiteY3" fmla="*/ 0 h 659129"/>
              <a:gd name="connsiteX4" fmla="*/ 672465 w 672464"/>
              <a:gd name="connsiteY4" fmla="*/ 329565 h 6591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2464" h="659129">
                <a:moveTo>
                  <a:pt x="672465" y="329565"/>
                </a:moveTo>
                <a:cubicBezTo>
                  <a:pt x="672465" y="511579"/>
                  <a:pt x="521929" y="659130"/>
                  <a:pt x="336232" y="659130"/>
                </a:cubicBezTo>
                <a:cubicBezTo>
                  <a:pt x="150536" y="659130"/>
                  <a:pt x="0" y="511579"/>
                  <a:pt x="0" y="329565"/>
                </a:cubicBezTo>
                <a:cubicBezTo>
                  <a:pt x="0" y="147551"/>
                  <a:pt x="150536" y="0"/>
                  <a:pt x="336232" y="0"/>
                </a:cubicBezTo>
                <a:cubicBezTo>
                  <a:pt x="521929" y="0"/>
                  <a:pt x="672465" y="147551"/>
                  <a:pt x="672465" y="329565"/>
                </a:cubicBezTo>
                <a:close/>
              </a:path>
            </a:pathLst>
          </a:custGeom>
          <a:solidFill>
            <a:schemeClr val="accent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51" name="Freeform: Shape 52">
            <a:extLst>
              <a:ext uri="{FF2B5EF4-FFF2-40B4-BE49-F238E27FC236}">
                <a16:creationId xmlns:a16="http://schemas.microsoft.com/office/drawing/2014/main" id="{3421AAE2-44A2-4D04-876E-79B992C90668}"/>
              </a:ext>
            </a:extLst>
          </p:cNvPr>
          <p:cNvSpPr/>
          <p:nvPr/>
        </p:nvSpPr>
        <p:spPr>
          <a:xfrm>
            <a:off x="7069112" y="2299711"/>
            <a:ext cx="746187" cy="731783"/>
          </a:xfrm>
          <a:custGeom>
            <a:avLst/>
            <a:gdLst>
              <a:gd name="connsiteX0" fmla="*/ 493395 w 493394"/>
              <a:gd name="connsiteY0" fmla="*/ 241935 h 483870"/>
              <a:gd name="connsiteX1" fmla="*/ 246697 w 493394"/>
              <a:gd name="connsiteY1" fmla="*/ 483870 h 483870"/>
              <a:gd name="connsiteX2" fmla="*/ 0 w 493394"/>
              <a:gd name="connsiteY2" fmla="*/ 241935 h 483870"/>
              <a:gd name="connsiteX3" fmla="*/ 246697 w 493394"/>
              <a:gd name="connsiteY3" fmla="*/ 0 h 483870"/>
              <a:gd name="connsiteX4" fmla="*/ 493395 w 493394"/>
              <a:gd name="connsiteY4" fmla="*/ 241935 h 4838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3394" h="483870">
                <a:moveTo>
                  <a:pt x="493395" y="241935"/>
                </a:moveTo>
                <a:cubicBezTo>
                  <a:pt x="493395" y="375552"/>
                  <a:pt x="382945" y="483870"/>
                  <a:pt x="246697" y="483870"/>
                </a:cubicBezTo>
                <a:cubicBezTo>
                  <a:pt x="110450" y="483870"/>
                  <a:pt x="0" y="375552"/>
                  <a:pt x="0" y="241935"/>
                </a:cubicBezTo>
                <a:cubicBezTo>
                  <a:pt x="0" y="108318"/>
                  <a:pt x="110450" y="0"/>
                  <a:pt x="246697" y="0"/>
                </a:cubicBezTo>
                <a:cubicBezTo>
                  <a:pt x="382945" y="0"/>
                  <a:pt x="493395" y="108318"/>
                  <a:pt x="493395" y="241935"/>
                </a:cubicBezTo>
                <a:close/>
              </a:path>
            </a:pathLst>
          </a:custGeom>
          <a:solidFill>
            <a:schemeClr val="accent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52" name="Freeform: Shape 53">
            <a:extLst>
              <a:ext uri="{FF2B5EF4-FFF2-40B4-BE49-F238E27FC236}">
                <a16:creationId xmlns:a16="http://schemas.microsoft.com/office/drawing/2014/main" id="{A8226F33-9331-4AED-8A31-D4B3A1886A6B}"/>
              </a:ext>
            </a:extLst>
          </p:cNvPr>
          <p:cNvSpPr/>
          <p:nvPr/>
        </p:nvSpPr>
        <p:spPr>
          <a:xfrm>
            <a:off x="8358377" y="4273220"/>
            <a:ext cx="682804" cy="668399"/>
          </a:xfrm>
          <a:custGeom>
            <a:avLst/>
            <a:gdLst>
              <a:gd name="connsiteX0" fmla="*/ 451485 w 451484"/>
              <a:gd name="connsiteY0" fmla="*/ 220980 h 441959"/>
              <a:gd name="connsiteX1" fmla="*/ 225743 w 451484"/>
              <a:gd name="connsiteY1" fmla="*/ 441960 h 441959"/>
              <a:gd name="connsiteX2" fmla="*/ 0 w 451484"/>
              <a:gd name="connsiteY2" fmla="*/ 220980 h 441959"/>
              <a:gd name="connsiteX3" fmla="*/ 225743 w 451484"/>
              <a:gd name="connsiteY3" fmla="*/ 0 h 441959"/>
              <a:gd name="connsiteX4" fmla="*/ 451485 w 451484"/>
              <a:gd name="connsiteY4" fmla="*/ 220980 h 4419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1484" h="441959">
                <a:moveTo>
                  <a:pt x="451485" y="220980"/>
                </a:moveTo>
                <a:cubicBezTo>
                  <a:pt x="451485" y="343024"/>
                  <a:pt x="350417" y="441960"/>
                  <a:pt x="225743" y="441960"/>
                </a:cubicBezTo>
                <a:cubicBezTo>
                  <a:pt x="101068" y="441960"/>
                  <a:pt x="0" y="343024"/>
                  <a:pt x="0" y="220980"/>
                </a:cubicBezTo>
                <a:cubicBezTo>
                  <a:pt x="0" y="98936"/>
                  <a:pt x="101068" y="0"/>
                  <a:pt x="225743" y="0"/>
                </a:cubicBezTo>
                <a:cubicBezTo>
                  <a:pt x="350417" y="0"/>
                  <a:pt x="451485" y="98936"/>
                  <a:pt x="451485" y="220980"/>
                </a:cubicBezTo>
                <a:close/>
              </a:path>
            </a:pathLst>
          </a:custGeom>
          <a:solidFill>
            <a:schemeClr val="accent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53" name="Freeform: Shape 54">
            <a:extLst>
              <a:ext uri="{FF2B5EF4-FFF2-40B4-BE49-F238E27FC236}">
                <a16:creationId xmlns:a16="http://schemas.microsoft.com/office/drawing/2014/main" id="{9F0FE18C-BC97-48E9-A02B-EB5E4B5518F7}"/>
              </a:ext>
            </a:extLst>
          </p:cNvPr>
          <p:cNvSpPr/>
          <p:nvPr/>
        </p:nvSpPr>
        <p:spPr>
          <a:xfrm>
            <a:off x="7254939" y="5009324"/>
            <a:ext cx="682804" cy="668399"/>
          </a:xfrm>
          <a:custGeom>
            <a:avLst/>
            <a:gdLst>
              <a:gd name="connsiteX0" fmla="*/ 451485 w 451484"/>
              <a:gd name="connsiteY0" fmla="*/ 220980 h 441959"/>
              <a:gd name="connsiteX1" fmla="*/ 225742 w 451484"/>
              <a:gd name="connsiteY1" fmla="*/ 441960 h 441959"/>
              <a:gd name="connsiteX2" fmla="*/ 0 w 451484"/>
              <a:gd name="connsiteY2" fmla="*/ 220980 h 441959"/>
              <a:gd name="connsiteX3" fmla="*/ 225742 w 451484"/>
              <a:gd name="connsiteY3" fmla="*/ 0 h 441959"/>
              <a:gd name="connsiteX4" fmla="*/ 451485 w 451484"/>
              <a:gd name="connsiteY4" fmla="*/ 220980 h 4419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1484" h="441959">
                <a:moveTo>
                  <a:pt x="451485" y="220980"/>
                </a:moveTo>
                <a:cubicBezTo>
                  <a:pt x="451485" y="343024"/>
                  <a:pt x="350417" y="441960"/>
                  <a:pt x="225742" y="441960"/>
                </a:cubicBezTo>
                <a:cubicBezTo>
                  <a:pt x="101068" y="441960"/>
                  <a:pt x="0" y="343024"/>
                  <a:pt x="0" y="220980"/>
                </a:cubicBezTo>
                <a:cubicBezTo>
                  <a:pt x="0" y="98936"/>
                  <a:pt x="101068" y="0"/>
                  <a:pt x="225742" y="0"/>
                </a:cubicBezTo>
                <a:cubicBezTo>
                  <a:pt x="350417" y="0"/>
                  <a:pt x="451485" y="98936"/>
                  <a:pt x="451485" y="220980"/>
                </a:cubicBezTo>
                <a:close/>
              </a:path>
            </a:pathLst>
          </a:custGeom>
          <a:solidFill>
            <a:schemeClr val="accent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54" name="Freeform: Shape 55">
            <a:extLst>
              <a:ext uri="{FF2B5EF4-FFF2-40B4-BE49-F238E27FC236}">
                <a16:creationId xmlns:a16="http://schemas.microsoft.com/office/drawing/2014/main" id="{C533521C-9144-4208-9574-A6BB5F99DDB5}"/>
              </a:ext>
            </a:extLst>
          </p:cNvPr>
          <p:cNvSpPr/>
          <p:nvPr/>
        </p:nvSpPr>
        <p:spPr>
          <a:xfrm>
            <a:off x="7257820" y="2208958"/>
            <a:ext cx="3631547" cy="5603613"/>
          </a:xfrm>
          <a:custGeom>
            <a:avLst/>
            <a:gdLst>
              <a:gd name="connsiteX0" fmla="*/ 2391728 w 2401252"/>
              <a:gd name="connsiteY0" fmla="*/ 892492 h 3705225"/>
              <a:gd name="connsiteX1" fmla="*/ 2381250 w 2401252"/>
              <a:gd name="connsiteY1" fmla="*/ 913448 h 3705225"/>
              <a:gd name="connsiteX2" fmla="*/ 2366010 w 2401252"/>
              <a:gd name="connsiteY2" fmla="*/ 942023 h 3705225"/>
              <a:gd name="connsiteX3" fmla="*/ 2256472 w 2401252"/>
              <a:gd name="connsiteY3" fmla="*/ 1114425 h 3705225"/>
              <a:gd name="connsiteX4" fmla="*/ 2164080 w 2401252"/>
              <a:gd name="connsiteY4" fmla="*/ 1217295 h 3705225"/>
              <a:gd name="connsiteX5" fmla="*/ 2038350 w 2401252"/>
              <a:gd name="connsiteY5" fmla="*/ 1307783 h 3705225"/>
              <a:gd name="connsiteX6" fmla="*/ 2001203 w 2401252"/>
              <a:gd name="connsiteY6" fmla="*/ 1325880 h 3705225"/>
              <a:gd name="connsiteX7" fmla="*/ 1982153 w 2401252"/>
              <a:gd name="connsiteY7" fmla="*/ 1334453 h 3705225"/>
              <a:gd name="connsiteX8" fmla="*/ 1962150 w 2401252"/>
              <a:gd name="connsiteY8" fmla="*/ 1342073 h 3705225"/>
              <a:gd name="connsiteX9" fmla="*/ 1877378 w 2401252"/>
              <a:gd name="connsiteY9" fmla="*/ 1365885 h 3705225"/>
              <a:gd name="connsiteX10" fmla="*/ 1686878 w 2401252"/>
              <a:gd name="connsiteY10" fmla="*/ 1407795 h 3705225"/>
              <a:gd name="connsiteX11" fmla="*/ 1500187 w 2401252"/>
              <a:gd name="connsiteY11" fmla="*/ 1498283 h 3705225"/>
              <a:gd name="connsiteX12" fmla="*/ 1452562 w 2401252"/>
              <a:gd name="connsiteY12" fmla="*/ 1545908 h 3705225"/>
              <a:gd name="connsiteX13" fmla="*/ 1442085 w 2401252"/>
              <a:gd name="connsiteY13" fmla="*/ 1379220 h 3705225"/>
              <a:gd name="connsiteX14" fmla="*/ 1410653 w 2401252"/>
              <a:gd name="connsiteY14" fmla="*/ 1163003 h 3705225"/>
              <a:gd name="connsiteX15" fmla="*/ 1419225 w 2401252"/>
              <a:gd name="connsiteY15" fmla="*/ 1000125 h 3705225"/>
              <a:gd name="connsiteX16" fmla="*/ 1489710 w 2401252"/>
              <a:gd name="connsiteY16" fmla="*/ 789623 h 3705225"/>
              <a:gd name="connsiteX17" fmla="*/ 1647825 w 2401252"/>
              <a:gd name="connsiteY17" fmla="*/ 631508 h 3705225"/>
              <a:gd name="connsiteX18" fmla="*/ 1742123 w 2401252"/>
              <a:gd name="connsiteY18" fmla="*/ 578168 h 3705225"/>
              <a:gd name="connsiteX19" fmla="*/ 1841183 w 2401252"/>
              <a:gd name="connsiteY19" fmla="*/ 539115 h 3705225"/>
              <a:gd name="connsiteX20" fmla="*/ 1941195 w 2401252"/>
              <a:gd name="connsiteY20" fmla="*/ 501015 h 3705225"/>
              <a:gd name="connsiteX21" fmla="*/ 1988820 w 2401252"/>
              <a:gd name="connsiteY21" fmla="*/ 477203 h 3705225"/>
              <a:gd name="connsiteX22" fmla="*/ 2010728 w 2401252"/>
              <a:gd name="connsiteY22" fmla="*/ 463868 h 3705225"/>
              <a:gd name="connsiteX23" fmla="*/ 2031683 w 2401252"/>
              <a:gd name="connsiteY23" fmla="*/ 449580 h 3705225"/>
              <a:gd name="connsiteX24" fmla="*/ 2161222 w 2401252"/>
              <a:gd name="connsiteY24" fmla="*/ 318135 h 3705225"/>
              <a:gd name="connsiteX25" fmla="*/ 2236470 w 2401252"/>
              <a:gd name="connsiteY25" fmla="*/ 189547 h 3705225"/>
              <a:gd name="connsiteX26" fmla="*/ 2281238 w 2401252"/>
              <a:gd name="connsiteY26" fmla="*/ 87630 h 3705225"/>
              <a:gd name="connsiteX27" fmla="*/ 2306955 w 2401252"/>
              <a:gd name="connsiteY27" fmla="*/ 22860 h 3705225"/>
              <a:gd name="connsiteX28" fmla="*/ 2315528 w 2401252"/>
              <a:gd name="connsiteY28" fmla="*/ 0 h 3705225"/>
              <a:gd name="connsiteX29" fmla="*/ 2304097 w 2401252"/>
              <a:gd name="connsiteY29" fmla="*/ 21907 h 3705225"/>
              <a:gd name="connsiteX30" fmla="*/ 2270760 w 2401252"/>
              <a:gd name="connsiteY30" fmla="*/ 83820 h 3705225"/>
              <a:gd name="connsiteX31" fmla="*/ 2214563 w 2401252"/>
              <a:gd name="connsiteY31" fmla="*/ 179070 h 3705225"/>
              <a:gd name="connsiteX32" fmla="*/ 2129790 w 2401252"/>
              <a:gd name="connsiteY32" fmla="*/ 295275 h 3705225"/>
              <a:gd name="connsiteX33" fmla="*/ 2002155 w 2401252"/>
              <a:gd name="connsiteY33" fmla="*/ 406718 h 3705225"/>
              <a:gd name="connsiteX34" fmla="*/ 1982153 w 2401252"/>
              <a:gd name="connsiteY34" fmla="*/ 418147 h 3705225"/>
              <a:gd name="connsiteX35" fmla="*/ 1962150 w 2401252"/>
              <a:gd name="connsiteY35" fmla="*/ 428625 h 3705225"/>
              <a:gd name="connsiteX36" fmla="*/ 1918335 w 2401252"/>
              <a:gd name="connsiteY36" fmla="*/ 446722 h 3705225"/>
              <a:gd name="connsiteX37" fmla="*/ 1820228 w 2401252"/>
              <a:gd name="connsiteY37" fmla="*/ 478155 h 3705225"/>
              <a:gd name="connsiteX38" fmla="*/ 1712595 w 2401252"/>
              <a:gd name="connsiteY38" fmla="*/ 515303 h 3705225"/>
              <a:gd name="connsiteX39" fmla="*/ 1605915 w 2401252"/>
              <a:gd name="connsiteY39" fmla="*/ 571500 h 3705225"/>
              <a:gd name="connsiteX40" fmla="*/ 1423035 w 2401252"/>
              <a:gd name="connsiteY40" fmla="*/ 750570 h 3705225"/>
              <a:gd name="connsiteX41" fmla="*/ 1367790 w 2401252"/>
              <a:gd name="connsiteY41" fmla="*/ 870585 h 3705225"/>
              <a:gd name="connsiteX42" fmla="*/ 1351598 w 2401252"/>
              <a:gd name="connsiteY42" fmla="*/ 936308 h 3705225"/>
              <a:gd name="connsiteX43" fmla="*/ 1347787 w 2401252"/>
              <a:gd name="connsiteY43" fmla="*/ 923925 h 3705225"/>
              <a:gd name="connsiteX44" fmla="*/ 1324928 w 2401252"/>
              <a:gd name="connsiteY44" fmla="*/ 859155 h 3705225"/>
              <a:gd name="connsiteX45" fmla="*/ 1313498 w 2401252"/>
              <a:gd name="connsiteY45" fmla="*/ 827723 h 3705225"/>
              <a:gd name="connsiteX46" fmla="*/ 1301115 w 2401252"/>
              <a:gd name="connsiteY46" fmla="*/ 798195 h 3705225"/>
              <a:gd name="connsiteX47" fmla="*/ 1106805 w 2401252"/>
              <a:gd name="connsiteY47" fmla="*/ 447675 h 3705225"/>
              <a:gd name="connsiteX48" fmla="*/ 1086803 w 2401252"/>
              <a:gd name="connsiteY48" fmla="*/ 421005 h 3705225"/>
              <a:gd name="connsiteX49" fmla="*/ 1068705 w 2401252"/>
              <a:gd name="connsiteY49" fmla="*/ 398145 h 3705225"/>
              <a:gd name="connsiteX50" fmla="*/ 1039178 w 2401252"/>
              <a:gd name="connsiteY50" fmla="*/ 362903 h 3705225"/>
              <a:gd name="connsiteX51" fmla="*/ 1014412 w 2401252"/>
              <a:gd name="connsiteY51" fmla="*/ 334328 h 3705225"/>
              <a:gd name="connsiteX52" fmla="*/ 1033462 w 2401252"/>
              <a:gd name="connsiteY52" fmla="*/ 366712 h 3705225"/>
              <a:gd name="connsiteX53" fmla="*/ 1056323 w 2401252"/>
              <a:gd name="connsiteY53" fmla="*/ 405765 h 3705225"/>
              <a:gd name="connsiteX54" fmla="*/ 1070610 w 2401252"/>
              <a:gd name="connsiteY54" fmla="*/ 431483 h 3705225"/>
              <a:gd name="connsiteX55" fmla="*/ 1085850 w 2401252"/>
              <a:gd name="connsiteY55" fmla="*/ 461010 h 3705225"/>
              <a:gd name="connsiteX56" fmla="*/ 1226820 w 2401252"/>
              <a:gd name="connsiteY56" fmla="*/ 823912 h 3705225"/>
              <a:gd name="connsiteX57" fmla="*/ 1235393 w 2401252"/>
              <a:gd name="connsiteY57" fmla="*/ 853440 h 3705225"/>
              <a:gd name="connsiteX58" fmla="*/ 1243012 w 2401252"/>
              <a:gd name="connsiteY58" fmla="*/ 884873 h 3705225"/>
              <a:gd name="connsiteX59" fmla="*/ 1258253 w 2401252"/>
              <a:gd name="connsiteY59" fmla="*/ 948690 h 3705225"/>
              <a:gd name="connsiteX60" fmla="*/ 1271587 w 2401252"/>
              <a:gd name="connsiteY60" fmla="*/ 1015365 h 3705225"/>
              <a:gd name="connsiteX61" fmla="*/ 1274445 w 2401252"/>
              <a:gd name="connsiteY61" fmla="*/ 1032510 h 3705225"/>
              <a:gd name="connsiteX62" fmla="*/ 1277303 w 2401252"/>
              <a:gd name="connsiteY62" fmla="*/ 1049655 h 3705225"/>
              <a:gd name="connsiteX63" fmla="*/ 1283018 w 2401252"/>
              <a:gd name="connsiteY63" fmla="*/ 1084898 h 3705225"/>
              <a:gd name="connsiteX64" fmla="*/ 1309687 w 2401252"/>
              <a:gd name="connsiteY64" fmla="*/ 1389698 h 3705225"/>
              <a:gd name="connsiteX65" fmla="*/ 1309687 w 2401252"/>
              <a:gd name="connsiteY65" fmla="*/ 1598295 h 3705225"/>
              <a:gd name="connsiteX66" fmla="*/ 1198245 w 2401252"/>
              <a:gd name="connsiteY66" fmla="*/ 1376363 h 3705225"/>
              <a:gd name="connsiteX67" fmla="*/ 1104900 w 2401252"/>
              <a:gd name="connsiteY67" fmla="*/ 1271588 h 3705225"/>
              <a:gd name="connsiteX68" fmla="*/ 995362 w 2401252"/>
              <a:gd name="connsiteY68" fmla="*/ 1179195 h 3705225"/>
              <a:gd name="connsiteX69" fmla="*/ 867728 w 2401252"/>
              <a:gd name="connsiteY69" fmla="*/ 1106805 h 3705225"/>
              <a:gd name="connsiteX70" fmla="*/ 726757 w 2401252"/>
              <a:gd name="connsiteY70" fmla="*/ 1073467 h 3705225"/>
              <a:gd name="connsiteX71" fmla="*/ 685800 w 2401252"/>
              <a:gd name="connsiteY71" fmla="*/ 1071563 h 3705225"/>
              <a:gd name="connsiteX72" fmla="*/ 630555 w 2401252"/>
              <a:gd name="connsiteY72" fmla="*/ 1058228 h 3705225"/>
              <a:gd name="connsiteX73" fmla="*/ 572453 w 2401252"/>
              <a:gd name="connsiteY73" fmla="*/ 1030605 h 3705225"/>
              <a:gd name="connsiteX74" fmla="*/ 525780 w 2401252"/>
              <a:gd name="connsiteY74" fmla="*/ 988695 h 3705225"/>
              <a:gd name="connsiteX75" fmla="*/ 465773 w 2401252"/>
              <a:gd name="connsiteY75" fmla="*/ 882015 h 3705225"/>
              <a:gd name="connsiteX76" fmla="*/ 437198 w 2401252"/>
              <a:gd name="connsiteY76" fmla="*/ 769620 h 3705225"/>
              <a:gd name="connsiteX77" fmla="*/ 421005 w 2401252"/>
              <a:gd name="connsiteY77" fmla="*/ 667703 h 3705225"/>
              <a:gd name="connsiteX78" fmla="*/ 386715 w 2401252"/>
              <a:gd name="connsiteY78" fmla="*/ 464820 h 3705225"/>
              <a:gd name="connsiteX79" fmla="*/ 395288 w 2401252"/>
              <a:gd name="connsiteY79" fmla="*/ 670560 h 3705225"/>
              <a:gd name="connsiteX80" fmla="*/ 401955 w 2401252"/>
              <a:gd name="connsiteY80" fmla="*/ 774383 h 3705225"/>
              <a:gd name="connsiteX81" fmla="*/ 423863 w 2401252"/>
              <a:gd name="connsiteY81" fmla="*/ 895350 h 3705225"/>
              <a:gd name="connsiteX82" fmla="*/ 486728 w 2401252"/>
              <a:gd name="connsiteY82" fmla="*/ 1020128 h 3705225"/>
              <a:gd name="connsiteX83" fmla="*/ 541973 w 2401252"/>
              <a:gd name="connsiteY83" fmla="*/ 1072515 h 3705225"/>
              <a:gd name="connsiteX84" fmla="*/ 559118 w 2401252"/>
              <a:gd name="connsiteY84" fmla="*/ 1083945 h 3705225"/>
              <a:gd name="connsiteX85" fmla="*/ 461010 w 2401252"/>
              <a:gd name="connsiteY85" fmla="*/ 1114425 h 3705225"/>
              <a:gd name="connsiteX86" fmla="*/ 351473 w 2401252"/>
              <a:gd name="connsiteY86" fmla="*/ 1171575 h 3705225"/>
              <a:gd name="connsiteX87" fmla="*/ 260032 w 2401252"/>
              <a:gd name="connsiteY87" fmla="*/ 1243965 h 3705225"/>
              <a:gd name="connsiteX88" fmla="*/ 187642 w 2401252"/>
              <a:gd name="connsiteY88" fmla="*/ 1323975 h 3705225"/>
              <a:gd name="connsiteX89" fmla="*/ 132397 w 2401252"/>
              <a:gd name="connsiteY89" fmla="*/ 1404938 h 3705225"/>
              <a:gd name="connsiteX90" fmla="*/ 21907 w 2401252"/>
              <a:gd name="connsiteY90" fmla="*/ 1676400 h 3705225"/>
              <a:gd name="connsiteX91" fmla="*/ 4763 w 2401252"/>
              <a:gd name="connsiteY91" fmla="*/ 1753553 h 3705225"/>
              <a:gd name="connsiteX92" fmla="*/ 0 w 2401252"/>
              <a:gd name="connsiteY92" fmla="*/ 1780223 h 3705225"/>
              <a:gd name="connsiteX93" fmla="*/ 7620 w 2401252"/>
              <a:gd name="connsiteY93" fmla="*/ 1754505 h 3705225"/>
              <a:gd name="connsiteX94" fmla="*/ 33338 w 2401252"/>
              <a:gd name="connsiteY94" fmla="*/ 1680210 h 3705225"/>
              <a:gd name="connsiteX95" fmla="*/ 164783 w 2401252"/>
              <a:gd name="connsiteY95" fmla="*/ 1426845 h 3705225"/>
              <a:gd name="connsiteX96" fmla="*/ 222885 w 2401252"/>
              <a:gd name="connsiteY96" fmla="*/ 1353503 h 3705225"/>
              <a:gd name="connsiteX97" fmla="*/ 295275 w 2401252"/>
              <a:gd name="connsiteY97" fmla="*/ 1283970 h 3705225"/>
              <a:gd name="connsiteX98" fmla="*/ 381953 w 2401252"/>
              <a:gd name="connsiteY98" fmla="*/ 1223010 h 3705225"/>
              <a:gd name="connsiteX99" fmla="*/ 483870 w 2401252"/>
              <a:gd name="connsiteY99" fmla="*/ 1176338 h 3705225"/>
              <a:gd name="connsiteX100" fmla="*/ 597218 w 2401252"/>
              <a:gd name="connsiteY100" fmla="*/ 1148715 h 3705225"/>
              <a:gd name="connsiteX101" fmla="*/ 717232 w 2401252"/>
              <a:gd name="connsiteY101" fmla="*/ 1146810 h 3705225"/>
              <a:gd name="connsiteX102" fmla="*/ 836295 w 2401252"/>
              <a:gd name="connsiteY102" fmla="*/ 1177290 h 3705225"/>
              <a:gd name="connsiteX103" fmla="*/ 947737 w 2401252"/>
              <a:gd name="connsiteY103" fmla="*/ 1242060 h 3705225"/>
              <a:gd name="connsiteX104" fmla="*/ 1137285 w 2401252"/>
              <a:gd name="connsiteY104" fmla="*/ 1421130 h 3705225"/>
              <a:gd name="connsiteX105" fmla="*/ 1250633 w 2401252"/>
              <a:gd name="connsiteY105" fmla="*/ 1633538 h 3705225"/>
              <a:gd name="connsiteX106" fmla="*/ 1294448 w 2401252"/>
              <a:gd name="connsiteY106" fmla="*/ 1817370 h 3705225"/>
              <a:gd name="connsiteX107" fmla="*/ 1286828 w 2401252"/>
              <a:gd name="connsiteY107" fmla="*/ 1889760 h 3705225"/>
              <a:gd name="connsiteX108" fmla="*/ 1268730 w 2401252"/>
              <a:gd name="connsiteY108" fmla="*/ 1964055 h 3705225"/>
              <a:gd name="connsiteX109" fmla="*/ 1266825 w 2401252"/>
              <a:gd name="connsiteY109" fmla="*/ 1972627 h 3705225"/>
              <a:gd name="connsiteX110" fmla="*/ 1221105 w 2401252"/>
              <a:gd name="connsiteY110" fmla="*/ 2066925 h 3705225"/>
              <a:gd name="connsiteX111" fmla="*/ 1218248 w 2401252"/>
              <a:gd name="connsiteY111" fmla="*/ 2073592 h 3705225"/>
              <a:gd name="connsiteX112" fmla="*/ 1217295 w 2401252"/>
              <a:gd name="connsiteY112" fmla="*/ 2074545 h 3705225"/>
              <a:gd name="connsiteX113" fmla="*/ 1217295 w 2401252"/>
              <a:gd name="connsiteY113" fmla="*/ 2074545 h 3705225"/>
              <a:gd name="connsiteX114" fmla="*/ 1217295 w 2401252"/>
              <a:gd name="connsiteY114" fmla="*/ 2074545 h 3705225"/>
              <a:gd name="connsiteX115" fmla="*/ 1217295 w 2401252"/>
              <a:gd name="connsiteY115" fmla="*/ 2074545 h 3705225"/>
              <a:gd name="connsiteX116" fmla="*/ 1217295 w 2401252"/>
              <a:gd name="connsiteY116" fmla="*/ 2076450 h 3705225"/>
              <a:gd name="connsiteX117" fmla="*/ 1216343 w 2401252"/>
              <a:gd name="connsiteY117" fmla="*/ 2076450 h 3705225"/>
              <a:gd name="connsiteX118" fmla="*/ 1215390 w 2401252"/>
              <a:gd name="connsiteY118" fmla="*/ 2075498 h 3705225"/>
              <a:gd name="connsiteX119" fmla="*/ 1214437 w 2401252"/>
              <a:gd name="connsiteY119" fmla="*/ 2074545 h 3705225"/>
              <a:gd name="connsiteX120" fmla="*/ 1213485 w 2401252"/>
              <a:gd name="connsiteY120" fmla="*/ 2072640 h 3705225"/>
              <a:gd name="connsiteX121" fmla="*/ 1211580 w 2401252"/>
              <a:gd name="connsiteY121" fmla="*/ 2069783 h 3705225"/>
              <a:gd name="connsiteX122" fmla="*/ 1190625 w 2401252"/>
              <a:gd name="connsiteY122" fmla="*/ 2031683 h 3705225"/>
              <a:gd name="connsiteX123" fmla="*/ 1182053 w 2401252"/>
              <a:gd name="connsiteY123" fmla="*/ 2009775 h 3705225"/>
              <a:gd name="connsiteX124" fmla="*/ 1123950 w 2401252"/>
              <a:gd name="connsiteY124" fmla="*/ 1912620 h 3705225"/>
              <a:gd name="connsiteX125" fmla="*/ 1089660 w 2401252"/>
              <a:gd name="connsiteY125" fmla="*/ 1882140 h 3705225"/>
              <a:gd name="connsiteX126" fmla="*/ 1085850 w 2401252"/>
              <a:gd name="connsiteY126" fmla="*/ 1877378 h 3705225"/>
              <a:gd name="connsiteX127" fmla="*/ 1085850 w 2401252"/>
              <a:gd name="connsiteY127" fmla="*/ 1879283 h 3705225"/>
              <a:gd name="connsiteX128" fmla="*/ 1075373 w 2401252"/>
              <a:gd name="connsiteY128" fmla="*/ 1872615 h 3705225"/>
              <a:gd name="connsiteX129" fmla="*/ 1017270 w 2401252"/>
              <a:gd name="connsiteY129" fmla="*/ 1848803 h 3705225"/>
              <a:gd name="connsiteX130" fmla="*/ 902970 w 2401252"/>
              <a:gd name="connsiteY130" fmla="*/ 1826895 h 3705225"/>
              <a:gd name="connsiteX131" fmla="*/ 852487 w 2401252"/>
              <a:gd name="connsiteY131" fmla="*/ 1814513 h 3705225"/>
              <a:gd name="connsiteX132" fmla="*/ 809625 w 2401252"/>
              <a:gd name="connsiteY132" fmla="*/ 1794510 h 3705225"/>
              <a:gd name="connsiteX133" fmla="*/ 745807 w 2401252"/>
              <a:gd name="connsiteY133" fmla="*/ 1730692 h 3705225"/>
              <a:gd name="connsiteX134" fmla="*/ 697230 w 2401252"/>
              <a:gd name="connsiteY134" fmla="*/ 1662113 h 3705225"/>
              <a:gd name="connsiteX135" fmla="*/ 649605 w 2401252"/>
              <a:gd name="connsiteY135" fmla="*/ 1608773 h 3705225"/>
              <a:gd name="connsiteX136" fmla="*/ 604838 w 2401252"/>
              <a:gd name="connsiteY136" fmla="*/ 1579245 h 3705225"/>
              <a:gd name="connsiteX137" fmla="*/ 572453 w 2401252"/>
              <a:gd name="connsiteY137" fmla="*/ 1569720 h 3705225"/>
              <a:gd name="connsiteX138" fmla="*/ 561023 w 2401252"/>
              <a:gd name="connsiteY138" fmla="*/ 1568767 h 3705225"/>
              <a:gd name="connsiteX139" fmla="*/ 572453 w 2401252"/>
              <a:gd name="connsiteY139" fmla="*/ 1571625 h 3705225"/>
              <a:gd name="connsiteX140" fmla="*/ 601980 w 2401252"/>
              <a:gd name="connsiteY140" fmla="*/ 1585913 h 3705225"/>
              <a:gd name="connsiteX141" fmla="*/ 641032 w 2401252"/>
              <a:gd name="connsiteY141" fmla="*/ 1619250 h 3705225"/>
              <a:gd name="connsiteX142" fmla="*/ 680085 w 2401252"/>
              <a:gd name="connsiteY142" fmla="*/ 1674495 h 3705225"/>
              <a:gd name="connsiteX143" fmla="*/ 721995 w 2401252"/>
              <a:gd name="connsiteY143" fmla="*/ 1747838 h 3705225"/>
              <a:gd name="connsiteX144" fmla="*/ 789623 w 2401252"/>
              <a:gd name="connsiteY144" fmla="*/ 1824990 h 3705225"/>
              <a:gd name="connsiteX145" fmla="*/ 840105 w 2401252"/>
              <a:gd name="connsiteY145" fmla="*/ 1851660 h 3705225"/>
              <a:gd name="connsiteX146" fmla="*/ 895350 w 2401252"/>
              <a:gd name="connsiteY146" fmla="*/ 1867853 h 3705225"/>
              <a:gd name="connsiteX147" fmla="*/ 1006793 w 2401252"/>
              <a:gd name="connsiteY147" fmla="*/ 1890713 h 3705225"/>
              <a:gd name="connsiteX148" fmla="*/ 1056323 w 2401252"/>
              <a:gd name="connsiteY148" fmla="*/ 1910715 h 3705225"/>
              <a:gd name="connsiteX149" fmla="*/ 1096328 w 2401252"/>
              <a:gd name="connsiteY149" fmla="*/ 1941195 h 3705225"/>
              <a:gd name="connsiteX150" fmla="*/ 1150620 w 2401252"/>
              <a:gd name="connsiteY150" fmla="*/ 2023110 h 3705225"/>
              <a:gd name="connsiteX151" fmla="*/ 1137285 w 2401252"/>
              <a:gd name="connsiteY151" fmla="*/ 2007870 h 3705225"/>
              <a:gd name="connsiteX152" fmla="*/ 1096328 w 2401252"/>
              <a:gd name="connsiteY152" fmla="*/ 1968817 h 3705225"/>
              <a:gd name="connsiteX153" fmla="*/ 1047750 w 2401252"/>
              <a:gd name="connsiteY153" fmla="*/ 1934527 h 3705225"/>
              <a:gd name="connsiteX154" fmla="*/ 992505 w 2401252"/>
              <a:gd name="connsiteY154" fmla="*/ 1910715 h 3705225"/>
              <a:gd name="connsiteX155" fmla="*/ 935355 w 2401252"/>
              <a:gd name="connsiteY155" fmla="*/ 1900238 h 3705225"/>
              <a:gd name="connsiteX156" fmla="*/ 829628 w 2401252"/>
              <a:gd name="connsiteY156" fmla="*/ 1908810 h 3705225"/>
              <a:gd name="connsiteX157" fmla="*/ 740093 w 2401252"/>
              <a:gd name="connsiteY157" fmla="*/ 1927860 h 3705225"/>
              <a:gd name="connsiteX158" fmla="*/ 662940 w 2401252"/>
              <a:gd name="connsiteY158" fmla="*/ 1937385 h 3705225"/>
              <a:gd name="connsiteX159" fmla="*/ 599123 w 2401252"/>
              <a:gd name="connsiteY159" fmla="*/ 1932623 h 3705225"/>
              <a:gd name="connsiteX160" fmla="*/ 553403 w 2401252"/>
              <a:gd name="connsiteY160" fmla="*/ 1917383 h 3705225"/>
              <a:gd name="connsiteX161" fmla="*/ 527685 w 2401252"/>
              <a:gd name="connsiteY161" fmla="*/ 1900238 h 3705225"/>
              <a:gd name="connsiteX162" fmla="*/ 519113 w 2401252"/>
              <a:gd name="connsiteY162" fmla="*/ 1893570 h 3705225"/>
              <a:gd name="connsiteX163" fmla="*/ 526732 w 2401252"/>
              <a:gd name="connsiteY163" fmla="*/ 1902142 h 3705225"/>
              <a:gd name="connsiteX164" fmla="*/ 550545 w 2401252"/>
              <a:gd name="connsiteY164" fmla="*/ 1923098 h 3705225"/>
              <a:gd name="connsiteX165" fmla="*/ 596265 w 2401252"/>
              <a:gd name="connsiteY165" fmla="*/ 1945958 h 3705225"/>
              <a:gd name="connsiteX166" fmla="*/ 662940 w 2401252"/>
              <a:gd name="connsiteY166" fmla="*/ 1959292 h 3705225"/>
              <a:gd name="connsiteX167" fmla="*/ 744855 w 2401252"/>
              <a:gd name="connsiteY167" fmla="*/ 1957388 h 3705225"/>
              <a:gd name="connsiteX168" fmla="*/ 836295 w 2401252"/>
              <a:gd name="connsiteY168" fmla="*/ 1945005 h 3705225"/>
              <a:gd name="connsiteX169" fmla="*/ 932498 w 2401252"/>
              <a:gd name="connsiteY169" fmla="*/ 1941195 h 3705225"/>
              <a:gd name="connsiteX170" fmla="*/ 980123 w 2401252"/>
              <a:gd name="connsiteY170" fmla="*/ 1950720 h 3705225"/>
              <a:gd name="connsiteX171" fmla="*/ 1026795 w 2401252"/>
              <a:gd name="connsiteY171" fmla="*/ 1971675 h 3705225"/>
              <a:gd name="connsiteX172" fmla="*/ 1068705 w 2401252"/>
              <a:gd name="connsiteY172" fmla="*/ 2001202 h 3705225"/>
              <a:gd name="connsiteX173" fmla="*/ 1105853 w 2401252"/>
              <a:gd name="connsiteY173" fmla="*/ 2035492 h 3705225"/>
              <a:gd name="connsiteX174" fmla="*/ 1169670 w 2401252"/>
              <a:gd name="connsiteY174" fmla="*/ 2110740 h 3705225"/>
              <a:gd name="connsiteX175" fmla="*/ 1203008 w 2401252"/>
              <a:gd name="connsiteY175" fmla="*/ 2157413 h 3705225"/>
              <a:gd name="connsiteX176" fmla="*/ 1211580 w 2401252"/>
              <a:gd name="connsiteY176" fmla="*/ 2185035 h 3705225"/>
              <a:gd name="connsiteX177" fmla="*/ 1113473 w 2401252"/>
              <a:gd name="connsiteY177" fmla="*/ 2548890 h 3705225"/>
              <a:gd name="connsiteX178" fmla="*/ 1049655 w 2401252"/>
              <a:gd name="connsiteY178" fmla="*/ 2862263 h 3705225"/>
              <a:gd name="connsiteX179" fmla="*/ 1021080 w 2401252"/>
              <a:gd name="connsiteY179" fmla="*/ 3161348 h 3705225"/>
              <a:gd name="connsiteX180" fmla="*/ 1040130 w 2401252"/>
              <a:gd name="connsiteY180" fmla="*/ 3664268 h 3705225"/>
              <a:gd name="connsiteX181" fmla="*/ 1044893 w 2401252"/>
              <a:gd name="connsiteY181" fmla="*/ 3705225 h 3705225"/>
              <a:gd name="connsiteX182" fmla="*/ 1623060 w 2401252"/>
              <a:gd name="connsiteY182" fmla="*/ 3705225 h 3705225"/>
              <a:gd name="connsiteX183" fmla="*/ 1579245 w 2401252"/>
              <a:gd name="connsiteY183" fmla="*/ 3588068 h 3705225"/>
              <a:gd name="connsiteX184" fmla="*/ 1528762 w 2401252"/>
              <a:gd name="connsiteY184" fmla="*/ 3383280 h 3705225"/>
              <a:gd name="connsiteX185" fmla="*/ 1483995 w 2401252"/>
              <a:gd name="connsiteY185" fmla="*/ 3116580 h 3705225"/>
              <a:gd name="connsiteX186" fmla="*/ 1443037 w 2401252"/>
              <a:gd name="connsiteY186" fmla="*/ 2807970 h 3705225"/>
              <a:gd name="connsiteX187" fmla="*/ 1416368 w 2401252"/>
              <a:gd name="connsiteY187" fmla="*/ 2468880 h 3705225"/>
              <a:gd name="connsiteX188" fmla="*/ 1414462 w 2401252"/>
              <a:gd name="connsiteY188" fmla="*/ 2290763 h 3705225"/>
              <a:gd name="connsiteX189" fmla="*/ 1424940 w 2401252"/>
              <a:gd name="connsiteY189" fmla="*/ 2107883 h 3705225"/>
              <a:gd name="connsiteX190" fmla="*/ 1453515 w 2401252"/>
              <a:gd name="connsiteY190" fmla="*/ 1734503 h 3705225"/>
              <a:gd name="connsiteX191" fmla="*/ 1454468 w 2401252"/>
              <a:gd name="connsiteY191" fmla="*/ 1691640 h 3705225"/>
              <a:gd name="connsiteX192" fmla="*/ 1456373 w 2401252"/>
              <a:gd name="connsiteY192" fmla="*/ 1685925 h 3705225"/>
              <a:gd name="connsiteX193" fmla="*/ 1492568 w 2401252"/>
              <a:gd name="connsiteY193" fmla="*/ 1615440 h 3705225"/>
              <a:gd name="connsiteX194" fmla="*/ 1548765 w 2401252"/>
              <a:gd name="connsiteY194" fmla="*/ 1558290 h 3705225"/>
              <a:gd name="connsiteX195" fmla="*/ 1601153 w 2401252"/>
              <a:gd name="connsiteY195" fmla="*/ 1525905 h 3705225"/>
              <a:gd name="connsiteX196" fmla="*/ 1621155 w 2401252"/>
              <a:gd name="connsiteY196" fmla="*/ 1518285 h 3705225"/>
              <a:gd name="connsiteX197" fmla="*/ 1834515 w 2401252"/>
              <a:gd name="connsiteY197" fmla="*/ 1491615 h 3705225"/>
              <a:gd name="connsiteX198" fmla="*/ 2058353 w 2401252"/>
              <a:gd name="connsiteY198" fmla="*/ 1488758 h 3705225"/>
              <a:gd name="connsiteX199" fmla="*/ 2239328 w 2401252"/>
              <a:gd name="connsiteY199" fmla="*/ 1447800 h 3705225"/>
              <a:gd name="connsiteX200" fmla="*/ 2344103 w 2401252"/>
              <a:gd name="connsiteY200" fmla="*/ 1381125 h 3705225"/>
              <a:gd name="connsiteX201" fmla="*/ 2357438 w 2401252"/>
              <a:gd name="connsiteY201" fmla="*/ 1366838 h 3705225"/>
              <a:gd name="connsiteX202" fmla="*/ 2366010 w 2401252"/>
              <a:gd name="connsiteY202" fmla="*/ 1355408 h 3705225"/>
              <a:gd name="connsiteX203" fmla="*/ 2373630 w 2401252"/>
              <a:gd name="connsiteY203" fmla="*/ 1346835 h 3705225"/>
              <a:gd name="connsiteX204" fmla="*/ 2365058 w 2401252"/>
              <a:gd name="connsiteY204" fmla="*/ 1354455 h 3705225"/>
              <a:gd name="connsiteX205" fmla="*/ 2354580 w 2401252"/>
              <a:gd name="connsiteY205" fmla="*/ 1363980 h 3705225"/>
              <a:gd name="connsiteX206" fmla="*/ 2339340 w 2401252"/>
              <a:gd name="connsiteY206" fmla="*/ 1375410 h 3705225"/>
              <a:gd name="connsiteX207" fmla="*/ 2231708 w 2401252"/>
              <a:gd name="connsiteY207" fmla="*/ 1427798 h 3705225"/>
              <a:gd name="connsiteX208" fmla="*/ 2056448 w 2401252"/>
              <a:gd name="connsiteY208" fmla="*/ 1452563 h 3705225"/>
              <a:gd name="connsiteX209" fmla="*/ 1863090 w 2401252"/>
              <a:gd name="connsiteY209" fmla="*/ 1448753 h 3705225"/>
              <a:gd name="connsiteX210" fmla="*/ 1898333 w 2401252"/>
              <a:gd name="connsiteY210" fmla="*/ 1440180 h 3705225"/>
              <a:gd name="connsiteX211" fmla="*/ 1989773 w 2401252"/>
              <a:gd name="connsiteY211" fmla="*/ 1410653 h 3705225"/>
              <a:gd name="connsiteX212" fmla="*/ 2011680 w 2401252"/>
              <a:gd name="connsiteY212" fmla="*/ 1401128 h 3705225"/>
              <a:gd name="connsiteX213" fmla="*/ 2032635 w 2401252"/>
              <a:gd name="connsiteY213" fmla="*/ 1390650 h 3705225"/>
              <a:gd name="connsiteX214" fmla="*/ 2072640 w 2401252"/>
              <a:gd name="connsiteY214" fmla="*/ 1367790 h 3705225"/>
              <a:gd name="connsiteX215" fmla="*/ 2203133 w 2401252"/>
              <a:gd name="connsiteY215" fmla="*/ 1257300 h 3705225"/>
              <a:gd name="connsiteX216" fmla="*/ 2289810 w 2401252"/>
              <a:gd name="connsiteY216" fmla="*/ 1139190 h 3705225"/>
              <a:gd name="connsiteX217" fmla="*/ 2378393 w 2401252"/>
              <a:gd name="connsiteY217" fmla="*/ 949642 h 3705225"/>
              <a:gd name="connsiteX218" fmla="*/ 2388870 w 2401252"/>
              <a:gd name="connsiteY218" fmla="*/ 919162 h 3705225"/>
              <a:gd name="connsiteX219" fmla="*/ 2395538 w 2401252"/>
              <a:gd name="connsiteY219" fmla="*/ 896303 h 3705225"/>
              <a:gd name="connsiteX220" fmla="*/ 2401253 w 2401252"/>
              <a:gd name="connsiteY220" fmla="*/ 878205 h 3705225"/>
              <a:gd name="connsiteX221" fmla="*/ 2391728 w 2401252"/>
              <a:gd name="connsiteY221" fmla="*/ 892492 h 3705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Lst>
            <a:rect l="l" t="t" r="r" b="b"/>
            <a:pathLst>
              <a:path w="2401252" h="3705225">
                <a:moveTo>
                  <a:pt x="2391728" y="892492"/>
                </a:moveTo>
                <a:cubicBezTo>
                  <a:pt x="2388870" y="898208"/>
                  <a:pt x="2385060" y="905828"/>
                  <a:pt x="2381250" y="913448"/>
                </a:cubicBezTo>
                <a:cubicBezTo>
                  <a:pt x="2376488" y="922020"/>
                  <a:pt x="2371725" y="931545"/>
                  <a:pt x="2366010" y="942023"/>
                </a:cubicBezTo>
                <a:cubicBezTo>
                  <a:pt x="2343150" y="984885"/>
                  <a:pt x="2308860" y="1045845"/>
                  <a:pt x="2256472" y="1114425"/>
                </a:cubicBezTo>
                <a:cubicBezTo>
                  <a:pt x="2230755" y="1147763"/>
                  <a:pt x="2200275" y="1183005"/>
                  <a:pt x="2164080" y="1217295"/>
                </a:cubicBezTo>
                <a:cubicBezTo>
                  <a:pt x="2127885" y="1250633"/>
                  <a:pt x="2085975" y="1283017"/>
                  <a:pt x="2038350" y="1307783"/>
                </a:cubicBezTo>
                <a:cubicBezTo>
                  <a:pt x="2025968" y="1313498"/>
                  <a:pt x="2014537" y="1321117"/>
                  <a:pt x="2001203" y="1325880"/>
                </a:cubicBezTo>
                <a:cubicBezTo>
                  <a:pt x="1994535" y="1328738"/>
                  <a:pt x="1988820" y="1331595"/>
                  <a:pt x="1982153" y="1334453"/>
                </a:cubicBezTo>
                <a:cubicBezTo>
                  <a:pt x="1975485" y="1337310"/>
                  <a:pt x="1968818" y="1339215"/>
                  <a:pt x="1962150" y="1342073"/>
                </a:cubicBezTo>
                <a:cubicBezTo>
                  <a:pt x="1935480" y="1351598"/>
                  <a:pt x="1906905" y="1359217"/>
                  <a:pt x="1877378" y="1365885"/>
                </a:cubicBezTo>
                <a:cubicBezTo>
                  <a:pt x="1818323" y="1379220"/>
                  <a:pt x="1753553" y="1389698"/>
                  <a:pt x="1686878" y="1407795"/>
                </a:cubicBezTo>
                <a:cubicBezTo>
                  <a:pt x="1620203" y="1426845"/>
                  <a:pt x="1554480" y="1453515"/>
                  <a:pt x="1500187" y="1498283"/>
                </a:cubicBezTo>
                <a:cubicBezTo>
                  <a:pt x="1483043" y="1512570"/>
                  <a:pt x="1465898" y="1528763"/>
                  <a:pt x="1452562" y="1545908"/>
                </a:cubicBezTo>
                <a:cubicBezTo>
                  <a:pt x="1450658" y="1488758"/>
                  <a:pt x="1446848" y="1433513"/>
                  <a:pt x="1442085" y="1379220"/>
                </a:cubicBezTo>
                <a:cubicBezTo>
                  <a:pt x="1435418" y="1303973"/>
                  <a:pt x="1423987" y="1231583"/>
                  <a:pt x="1410653" y="1163003"/>
                </a:cubicBezTo>
                <a:cubicBezTo>
                  <a:pt x="1411605" y="1108710"/>
                  <a:pt x="1412558" y="1054417"/>
                  <a:pt x="1419225" y="1000125"/>
                </a:cubicBezTo>
                <a:cubicBezTo>
                  <a:pt x="1427798" y="925830"/>
                  <a:pt x="1448753" y="853440"/>
                  <a:pt x="1489710" y="789623"/>
                </a:cubicBezTo>
                <a:cubicBezTo>
                  <a:pt x="1530668" y="724853"/>
                  <a:pt x="1586865" y="672465"/>
                  <a:pt x="1647825" y="631508"/>
                </a:cubicBezTo>
                <a:cubicBezTo>
                  <a:pt x="1678305" y="610553"/>
                  <a:pt x="1709737" y="593408"/>
                  <a:pt x="1742123" y="578168"/>
                </a:cubicBezTo>
                <a:cubicBezTo>
                  <a:pt x="1774508" y="562928"/>
                  <a:pt x="1807845" y="550545"/>
                  <a:pt x="1841183" y="539115"/>
                </a:cubicBezTo>
                <a:cubicBezTo>
                  <a:pt x="1874520" y="526733"/>
                  <a:pt x="1908810" y="515303"/>
                  <a:pt x="1941195" y="501015"/>
                </a:cubicBezTo>
                <a:cubicBezTo>
                  <a:pt x="1957387" y="493395"/>
                  <a:pt x="1973580" y="485775"/>
                  <a:pt x="1988820" y="477203"/>
                </a:cubicBezTo>
                <a:cubicBezTo>
                  <a:pt x="1996440" y="473393"/>
                  <a:pt x="2004060" y="468630"/>
                  <a:pt x="2010728" y="463868"/>
                </a:cubicBezTo>
                <a:cubicBezTo>
                  <a:pt x="2018348" y="459105"/>
                  <a:pt x="2025015" y="454343"/>
                  <a:pt x="2031683" y="449580"/>
                </a:cubicBezTo>
                <a:cubicBezTo>
                  <a:pt x="2085975" y="409575"/>
                  <a:pt x="2128838" y="363855"/>
                  <a:pt x="2161222" y="318135"/>
                </a:cubicBezTo>
                <a:cubicBezTo>
                  <a:pt x="2193608" y="272415"/>
                  <a:pt x="2217420" y="228600"/>
                  <a:pt x="2236470" y="189547"/>
                </a:cubicBezTo>
                <a:cubicBezTo>
                  <a:pt x="2255520" y="150495"/>
                  <a:pt x="2269808" y="116205"/>
                  <a:pt x="2281238" y="87630"/>
                </a:cubicBezTo>
                <a:cubicBezTo>
                  <a:pt x="2292668" y="59055"/>
                  <a:pt x="2301240" y="37147"/>
                  <a:pt x="2306955" y="22860"/>
                </a:cubicBezTo>
                <a:cubicBezTo>
                  <a:pt x="2312670" y="7620"/>
                  <a:pt x="2315528" y="0"/>
                  <a:pt x="2315528" y="0"/>
                </a:cubicBezTo>
                <a:cubicBezTo>
                  <a:pt x="2315528" y="0"/>
                  <a:pt x="2311718" y="7620"/>
                  <a:pt x="2304097" y="21907"/>
                </a:cubicBezTo>
                <a:cubicBezTo>
                  <a:pt x="2296478" y="36195"/>
                  <a:pt x="2285047" y="57150"/>
                  <a:pt x="2270760" y="83820"/>
                </a:cubicBezTo>
                <a:cubicBezTo>
                  <a:pt x="2256472" y="110490"/>
                  <a:pt x="2238375" y="142875"/>
                  <a:pt x="2214563" y="179070"/>
                </a:cubicBezTo>
                <a:cubicBezTo>
                  <a:pt x="2191703" y="215265"/>
                  <a:pt x="2164080" y="255270"/>
                  <a:pt x="2129790" y="295275"/>
                </a:cubicBezTo>
                <a:cubicBezTo>
                  <a:pt x="2095500" y="335280"/>
                  <a:pt x="2052637" y="374333"/>
                  <a:pt x="2002155" y="406718"/>
                </a:cubicBezTo>
                <a:cubicBezTo>
                  <a:pt x="1995487" y="410528"/>
                  <a:pt x="1988820" y="414337"/>
                  <a:pt x="1982153" y="418147"/>
                </a:cubicBezTo>
                <a:cubicBezTo>
                  <a:pt x="1975485" y="421958"/>
                  <a:pt x="1968818" y="425768"/>
                  <a:pt x="1962150" y="428625"/>
                </a:cubicBezTo>
                <a:cubicBezTo>
                  <a:pt x="1947862" y="435293"/>
                  <a:pt x="1933575" y="441008"/>
                  <a:pt x="1918335" y="446722"/>
                </a:cubicBezTo>
                <a:cubicBezTo>
                  <a:pt x="1887855" y="458153"/>
                  <a:pt x="1855470" y="467678"/>
                  <a:pt x="1820228" y="478155"/>
                </a:cubicBezTo>
                <a:cubicBezTo>
                  <a:pt x="1785937" y="488633"/>
                  <a:pt x="1749743" y="500062"/>
                  <a:pt x="1712595" y="515303"/>
                </a:cubicBezTo>
                <a:cubicBezTo>
                  <a:pt x="1676400" y="530543"/>
                  <a:pt x="1640205" y="548640"/>
                  <a:pt x="1605915" y="571500"/>
                </a:cubicBezTo>
                <a:cubicBezTo>
                  <a:pt x="1536383" y="616268"/>
                  <a:pt x="1471612" y="675323"/>
                  <a:pt x="1423035" y="750570"/>
                </a:cubicBezTo>
                <a:cubicBezTo>
                  <a:pt x="1399223" y="788670"/>
                  <a:pt x="1380173" y="829628"/>
                  <a:pt x="1367790" y="870585"/>
                </a:cubicBezTo>
                <a:cubicBezTo>
                  <a:pt x="1361123" y="892492"/>
                  <a:pt x="1355408" y="914400"/>
                  <a:pt x="1351598" y="936308"/>
                </a:cubicBezTo>
                <a:cubicBezTo>
                  <a:pt x="1350645" y="932498"/>
                  <a:pt x="1348740" y="928687"/>
                  <a:pt x="1347787" y="923925"/>
                </a:cubicBezTo>
                <a:cubicBezTo>
                  <a:pt x="1341120" y="902017"/>
                  <a:pt x="1332548" y="880110"/>
                  <a:pt x="1324928" y="859155"/>
                </a:cubicBezTo>
                <a:cubicBezTo>
                  <a:pt x="1321118" y="848678"/>
                  <a:pt x="1317308" y="838200"/>
                  <a:pt x="1313498" y="827723"/>
                </a:cubicBezTo>
                <a:cubicBezTo>
                  <a:pt x="1309687" y="817245"/>
                  <a:pt x="1304925" y="807720"/>
                  <a:pt x="1301115" y="798195"/>
                </a:cubicBezTo>
                <a:cubicBezTo>
                  <a:pt x="1236345" y="640080"/>
                  <a:pt x="1163003" y="522922"/>
                  <a:pt x="1106805" y="447675"/>
                </a:cubicBezTo>
                <a:cubicBezTo>
                  <a:pt x="1100137" y="438150"/>
                  <a:pt x="1093470" y="429578"/>
                  <a:pt x="1086803" y="421005"/>
                </a:cubicBezTo>
                <a:cubicBezTo>
                  <a:pt x="1080135" y="412433"/>
                  <a:pt x="1074420" y="404812"/>
                  <a:pt x="1068705" y="398145"/>
                </a:cubicBezTo>
                <a:cubicBezTo>
                  <a:pt x="1057275" y="384810"/>
                  <a:pt x="1046798" y="372428"/>
                  <a:pt x="1039178" y="362903"/>
                </a:cubicBezTo>
                <a:cubicBezTo>
                  <a:pt x="1023937" y="345758"/>
                  <a:pt x="1015365" y="335280"/>
                  <a:pt x="1014412" y="334328"/>
                </a:cubicBezTo>
                <a:cubicBezTo>
                  <a:pt x="1015365" y="335280"/>
                  <a:pt x="1022032" y="346710"/>
                  <a:pt x="1033462" y="366712"/>
                </a:cubicBezTo>
                <a:cubicBezTo>
                  <a:pt x="1040130" y="377190"/>
                  <a:pt x="1047750" y="390525"/>
                  <a:pt x="1056323" y="405765"/>
                </a:cubicBezTo>
                <a:cubicBezTo>
                  <a:pt x="1061085" y="413385"/>
                  <a:pt x="1065848" y="421958"/>
                  <a:pt x="1070610" y="431483"/>
                </a:cubicBezTo>
                <a:cubicBezTo>
                  <a:pt x="1075373" y="441008"/>
                  <a:pt x="1080135" y="450533"/>
                  <a:pt x="1085850" y="461010"/>
                </a:cubicBezTo>
                <a:cubicBezTo>
                  <a:pt x="1128712" y="542925"/>
                  <a:pt x="1183958" y="665798"/>
                  <a:pt x="1226820" y="823912"/>
                </a:cubicBezTo>
                <a:cubicBezTo>
                  <a:pt x="1229678" y="833437"/>
                  <a:pt x="1232535" y="843915"/>
                  <a:pt x="1235393" y="853440"/>
                </a:cubicBezTo>
                <a:cubicBezTo>
                  <a:pt x="1238250" y="863917"/>
                  <a:pt x="1240155" y="874395"/>
                  <a:pt x="1243012" y="884873"/>
                </a:cubicBezTo>
                <a:cubicBezTo>
                  <a:pt x="1247775" y="905828"/>
                  <a:pt x="1253490" y="926783"/>
                  <a:pt x="1258253" y="948690"/>
                </a:cubicBezTo>
                <a:cubicBezTo>
                  <a:pt x="1262062" y="970598"/>
                  <a:pt x="1266825" y="992505"/>
                  <a:pt x="1271587" y="1015365"/>
                </a:cubicBezTo>
                <a:cubicBezTo>
                  <a:pt x="1272540" y="1021080"/>
                  <a:pt x="1273493" y="1026795"/>
                  <a:pt x="1274445" y="1032510"/>
                </a:cubicBezTo>
                <a:cubicBezTo>
                  <a:pt x="1275398" y="1038225"/>
                  <a:pt x="1276350" y="1043940"/>
                  <a:pt x="1277303" y="1049655"/>
                </a:cubicBezTo>
                <a:cubicBezTo>
                  <a:pt x="1279208" y="1061085"/>
                  <a:pt x="1281112" y="1073467"/>
                  <a:pt x="1283018" y="1084898"/>
                </a:cubicBezTo>
                <a:cubicBezTo>
                  <a:pt x="1297305" y="1180148"/>
                  <a:pt x="1306830" y="1282065"/>
                  <a:pt x="1309687" y="1389698"/>
                </a:cubicBezTo>
                <a:cubicBezTo>
                  <a:pt x="1311593" y="1457325"/>
                  <a:pt x="1311593" y="1526858"/>
                  <a:pt x="1309687" y="1598295"/>
                </a:cubicBezTo>
                <a:cubicBezTo>
                  <a:pt x="1285875" y="1523048"/>
                  <a:pt x="1249680" y="1446848"/>
                  <a:pt x="1198245" y="1376363"/>
                </a:cubicBezTo>
                <a:cubicBezTo>
                  <a:pt x="1170623" y="1339215"/>
                  <a:pt x="1139190" y="1303973"/>
                  <a:pt x="1104900" y="1271588"/>
                </a:cubicBezTo>
                <a:cubicBezTo>
                  <a:pt x="1070610" y="1239203"/>
                  <a:pt x="1034415" y="1208723"/>
                  <a:pt x="995362" y="1179195"/>
                </a:cubicBezTo>
                <a:cubicBezTo>
                  <a:pt x="955357" y="1150620"/>
                  <a:pt x="913448" y="1124903"/>
                  <a:pt x="867728" y="1106805"/>
                </a:cubicBezTo>
                <a:cubicBezTo>
                  <a:pt x="822007" y="1088708"/>
                  <a:pt x="774382" y="1077278"/>
                  <a:pt x="726757" y="1073467"/>
                </a:cubicBezTo>
                <a:cubicBezTo>
                  <a:pt x="713423" y="1072515"/>
                  <a:pt x="699135" y="1071563"/>
                  <a:pt x="685800" y="1071563"/>
                </a:cubicBezTo>
                <a:cubicBezTo>
                  <a:pt x="666750" y="1067753"/>
                  <a:pt x="648653" y="1063942"/>
                  <a:pt x="630555" y="1058228"/>
                </a:cubicBezTo>
                <a:cubicBezTo>
                  <a:pt x="609600" y="1051560"/>
                  <a:pt x="589598" y="1042987"/>
                  <a:pt x="572453" y="1030605"/>
                </a:cubicBezTo>
                <a:cubicBezTo>
                  <a:pt x="555307" y="1019175"/>
                  <a:pt x="540068" y="1004887"/>
                  <a:pt x="525780" y="988695"/>
                </a:cubicBezTo>
                <a:cubicBezTo>
                  <a:pt x="499110" y="957262"/>
                  <a:pt x="479107" y="919162"/>
                  <a:pt x="465773" y="882015"/>
                </a:cubicBezTo>
                <a:cubicBezTo>
                  <a:pt x="452438" y="843915"/>
                  <a:pt x="443865" y="805815"/>
                  <a:pt x="437198" y="769620"/>
                </a:cubicBezTo>
                <a:cubicBezTo>
                  <a:pt x="430530" y="733425"/>
                  <a:pt x="425767" y="699135"/>
                  <a:pt x="421005" y="667703"/>
                </a:cubicBezTo>
                <a:cubicBezTo>
                  <a:pt x="401003" y="541973"/>
                  <a:pt x="386715" y="464820"/>
                  <a:pt x="386715" y="464820"/>
                </a:cubicBezTo>
                <a:cubicBezTo>
                  <a:pt x="386715" y="464820"/>
                  <a:pt x="388620" y="543878"/>
                  <a:pt x="395288" y="670560"/>
                </a:cubicBezTo>
                <a:cubicBezTo>
                  <a:pt x="397192" y="701993"/>
                  <a:pt x="399098" y="737235"/>
                  <a:pt x="401955" y="774383"/>
                </a:cubicBezTo>
                <a:cubicBezTo>
                  <a:pt x="405765" y="812483"/>
                  <a:pt x="411480" y="853440"/>
                  <a:pt x="423863" y="895350"/>
                </a:cubicBezTo>
                <a:cubicBezTo>
                  <a:pt x="436245" y="937260"/>
                  <a:pt x="456248" y="981075"/>
                  <a:pt x="486728" y="1020128"/>
                </a:cubicBezTo>
                <a:cubicBezTo>
                  <a:pt x="501967" y="1039178"/>
                  <a:pt x="521017" y="1057275"/>
                  <a:pt x="541973" y="1072515"/>
                </a:cubicBezTo>
                <a:cubicBezTo>
                  <a:pt x="547688" y="1076325"/>
                  <a:pt x="553403" y="1080135"/>
                  <a:pt x="559118" y="1083945"/>
                </a:cubicBezTo>
                <a:cubicBezTo>
                  <a:pt x="524828" y="1091565"/>
                  <a:pt x="491490" y="1102042"/>
                  <a:pt x="461010" y="1114425"/>
                </a:cubicBezTo>
                <a:cubicBezTo>
                  <a:pt x="421005" y="1129665"/>
                  <a:pt x="384810" y="1150620"/>
                  <a:pt x="351473" y="1171575"/>
                </a:cubicBezTo>
                <a:cubicBezTo>
                  <a:pt x="318135" y="1193483"/>
                  <a:pt x="287655" y="1218248"/>
                  <a:pt x="260032" y="1243965"/>
                </a:cubicBezTo>
                <a:cubicBezTo>
                  <a:pt x="232410" y="1269683"/>
                  <a:pt x="209550" y="1297305"/>
                  <a:pt x="187642" y="1323975"/>
                </a:cubicBezTo>
                <a:cubicBezTo>
                  <a:pt x="166688" y="1351598"/>
                  <a:pt x="147638" y="1378267"/>
                  <a:pt x="132397" y="1404938"/>
                </a:cubicBezTo>
                <a:cubicBezTo>
                  <a:pt x="67627" y="1512570"/>
                  <a:pt x="39052" y="1609725"/>
                  <a:pt x="21907" y="1676400"/>
                </a:cubicBezTo>
                <a:cubicBezTo>
                  <a:pt x="13335" y="1709738"/>
                  <a:pt x="8572" y="1736408"/>
                  <a:pt x="4763" y="1753553"/>
                </a:cubicBezTo>
                <a:cubicBezTo>
                  <a:pt x="1905" y="1768792"/>
                  <a:pt x="0" y="1778317"/>
                  <a:pt x="0" y="1780223"/>
                </a:cubicBezTo>
                <a:cubicBezTo>
                  <a:pt x="952" y="1778317"/>
                  <a:pt x="2857" y="1769745"/>
                  <a:pt x="7620" y="1754505"/>
                </a:cubicBezTo>
                <a:cubicBezTo>
                  <a:pt x="13335" y="1737360"/>
                  <a:pt x="20955" y="1711642"/>
                  <a:pt x="33338" y="1680210"/>
                </a:cubicBezTo>
                <a:cubicBezTo>
                  <a:pt x="57150" y="1616392"/>
                  <a:pt x="95250" y="1524953"/>
                  <a:pt x="164783" y="1426845"/>
                </a:cubicBezTo>
                <a:cubicBezTo>
                  <a:pt x="181927" y="1402080"/>
                  <a:pt x="201930" y="1378267"/>
                  <a:pt x="222885" y="1353503"/>
                </a:cubicBezTo>
                <a:cubicBezTo>
                  <a:pt x="244792" y="1329690"/>
                  <a:pt x="268605" y="1305878"/>
                  <a:pt x="295275" y="1283970"/>
                </a:cubicBezTo>
                <a:cubicBezTo>
                  <a:pt x="321945" y="1262063"/>
                  <a:pt x="350520" y="1241108"/>
                  <a:pt x="381953" y="1223010"/>
                </a:cubicBezTo>
                <a:cubicBezTo>
                  <a:pt x="413385" y="1204913"/>
                  <a:pt x="447675" y="1187767"/>
                  <a:pt x="483870" y="1176338"/>
                </a:cubicBezTo>
                <a:cubicBezTo>
                  <a:pt x="520065" y="1163955"/>
                  <a:pt x="558165" y="1154430"/>
                  <a:pt x="597218" y="1148715"/>
                </a:cubicBezTo>
                <a:cubicBezTo>
                  <a:pt x="636270" y="1143953"/>
                  <a:pt x="677228" y="1143000"/>
                  <a:pt x="717232" y="1146810"/>
                </a:cubicBezTo>
                <a:cubicBezTo>
                  <a:pt x="757238" y="1151573"/>
                  <a:pt x="797243" y="1161098"/>
                  <a:pt x="836295" y="1177290"/>
                </a:cubicBezTo>
                <a:cubicBezTo>
                  <a:pt x="874395" y="1193483"/>
                  <a:pt x="911543" y="1215390"/>
                  <a:pt x="947737" y="1242060"/>
                </a:cubicBezTo>
                <a:cubicBezTo>
                  <a:pt x="1020128" y="1295400"/>
                  <a:pt x="1085850" y="1355408"/>
                  <a:pt x="1137285" y="1421130"/>
                </a:cubicBezTo>
                <a:cubicBezTo>
                  <a:pt x="1187768" y="1486853"/>
                  <a:pt x="1224915" y="1560195"/>
                  <a:pt x="1250633" y="1633538"/>
                </a:cubicBezTo>
                <a:cubicBezTo>
                  <a:pt x="1272540" y="1695450"/>
                  <a:pt x="1285875" y="1757363"/>
                  <a:pt x="1294448" y="1817370"/>
                </a:cubicBezTo>
                <a:cubicBezTo>
                  <a:pt x="1292543" y="1841183"/>
                  <a:pt x="1289685" y="1864995"/>
                  <a:pt x="1286828" y="1889760"/>
                </a:cubicBezTo>
                <a:cubicBezTo>
                  <a:pt x="1281112" y="1914525"/>
                  <a:pt x="1275398" y="1939290"/>
                  <a:pt x="1268730" y="1964055"/>
                </a:cubicBezTo>
                <a:cubicBezTo>
                  <a:pt x="1267778" y="1966913"/>
                  <a:pt x="1267778" y="1969770"/>
                  <a:pt x="1266825" y="1972627"/>
                </a:cubicBezTo>
                <a:cubicBezTo>
                  <a:pt x="1252537" y="2002155"/>
                  <a:pt x="1236345" y="2033588"/>
                  <a:pt x="1221105" y="2066925"/>
                </a:cubicBezTo>
                <a:lnTo>
                  <a:pt x="1218248" y="2073592"/>
                </a:lnTo>
                <a:lnTo>
                  <a:pt x="1217295" y="2074545"/>
                </a:lnTo>
                <a:lnTo>
                  <a:pt x="1217295" y="2074545"/>
                </a:lnTo>
                <a:lnTo>
                  <a:pt x="1217295" y="2074545"/>
                </a:lnTo>
                <a:cubicBezTo>
                  <a:pt x="1217295" y="2074545"/>
                  <a:pt x="1217295" y="2074545"/>
                  <a:pt x="1217295" y="2074545"/>
                </a:cubicBezTo>
                <a:cubicBezTo>
                  <a:pt x="1217295" y="2074545"/>
                  <a:pt x="1217295" y="2075498"/>
                  <a:pt x="1217295" y="2076450"/>
                </a:cubicBezTo>
                <a:cubicBezTo>
                  <a:pt x="1217295" y="2076450"/>
                  <a:pt x="1217295" y="2076450"/>
                  <a:pt x="1216343" y="2076450"/>
                </a:cubicBezTo>
                <a:cubicBezTo>
                  <a:pt x="1216343" y="2076450"/>
                  <a:pt x="1215390" y="2075498"/>
                  <a:pt x="1215390" y="2075498"/>
                </a:cubicBezTo>
                <a:lnTo>
                  <a:pt x="1214437" y="2074545"/>
                </a:lnTo>
                <a:cubicBezTo>
                  <a:pt x="1214437" y="2074545"/>
                  <a:pt x="1213485" y="2073592"/>
                  <a:pt x="1213485" y="2072640"/>
                </a:cubicBezTo>
                <a:lnTo>
                  <a:pt x="1211580" y="2069783"/>
                </a:lnTo>
                <a:cubicBezTo>
                  <a:pt x="1204912" y="2056448"/>
                  <a:pt x="1197293" y="2044065"/>
                  <a:pt x="1190625" y="2031683"/>
                </a:cubicBezTo>
                <a:cubicBezTo>
                  <a:pt x="1187768" y="2024063"/>
                  <a:pt x="1184910" y="2017395"/>
                  <a:pt x="1182053" y="2009775"/>
                </a:cubicBezTo>
                <a:cubicBezTo>
                  <a:pt x="1168718" y="1977390"/>
                  <a:pt x="1151573" y="1943100"/>
                  <a:pt x="1123950" y="1912620"/>
                </a:cubicBezTo>
                <a:cubicBezTo>
                  <a:pt x="1113473" y="1902142"/>
                  <a:pt x="1102043" y="1891665"/>
                  <a:pt x="1089660" y="1882140"/>
                </a:cubicBezTo>
                <a:cubicBezTo>
                  <a:pt x="1087755" y="1879283"/>
                  <a:pt x="1085850" y="1877378"/>
                  <a:pt x="1085850" y="1877378"/>
                </a:cubicBezTo>
                <a:cubicBezTo>
                  <a:pt x="1085850" y="1877378"/>
                  <a:pt x="1085850" y="1878330"/>
                  <a:pt x="1085850" y="1879283"/>
                </a:cubicBezTo>
                <a:cubicBezTo>
                  <a:pt x="1082040" y="1877378"/>
                  <a:pt x="1079183" y="1874520"/>
                  <a:pt x="1075373" y="1872615"/>
                </a:cubicBezTo>
                <a:cubicBezTo>
                  <a:pt x="1057275" y="1862138"/>
                  <a:pt x="1037273" y="1854517"/>
                  <a:pt x="1017270" y="1848803"/>
                </a:cubicBezTo>
                <a:cubicBezTo>
                  <a:pt x="977265" y="1837373"/>
                  <a:pt x="938212" y="1833563"/>
                  <a:pt x="902970" y="1826895"/>
                </a:cubicBezTo>
                <a:cubicBezTo>
                  <a:pt x="884873" y="1824038"/>
                  <a:pt x="868680" y="1819275"/>
                  <a:pt x="852487" y="1814513"/>
                </a:cubicBezTo>
                <a:cubicBezTo>
                  <a:pt x="837248" y="1809750"/>
                  <a:pt x="822960" y="1802130"/>
                  <a:pt x="809625" y="1794510"/>
                </a:cubicBezTo>
                <a:cubicBezTo>
                  <a:pt x="783907" y="1778317"/>
                  <a:pt x="762953" y="1754505"/>
                  <a:pt x="745807" y="1730692"/>
                </a:cubicBezTo>
                <a:cubicBezTo>
                  <a:pt x="727710" y="1706880"/>
                  <a:pt x="712470" y="1683067"/>
                  <a:pt x="697230" y="1662113"/>
                </a:cubicBezTo>
                <a:cubicBezTo>
                  <a:pt x="681038" y="1641158"/>
                  <a:pt x="664845" y="1623060"/>
                  <a:pt x="649605" y="1608773"/>
                </a:cubicBezTo>
                <a:cubicBezTo>
                  <a:pt x="633413" y="1595438"/>
                  <a:pt x="618173" y="1584960"/>
                  <a:pt x="604838" y="1579245"/>
                </a:cubicBezTo>
                <a:cubicBezTo>
                  <a:pt x="591503" y="1573530"/>
                  <a:pt x="580073" y="1570673"/>
                  <a:pt x="572453" y="1569720"/>
                </a:cubicBezTo>
                <a:cubicBezTo>
                  <a:pt x="564832" y="1568767"/>
                  <a:pt x="561023" y="1568767"/>
                  <a:pt x="561023" y="1568767"/>
                </a:cubicBezTo>
                <a:cubicBezTo>
                  <a:pt x="561023" y="1568767"/>
                  <a:pt x="564832" y="1569720"/>
                  <a:pt x="572453" y="1571625"/>
                </a:cubicBezTo>
                <a:cubicBezTo>
                  <a:pt x="580073" y="1574483"/>
                  <a:pt x="589598" y="1578292"/>
                  <a:pt x="601980" y="1585913"/>
                </a:cubicBezTo>
                <a:cubicBezTo>
                  <a:pt x="614363" y="1593533"/>
                  <a:pt x="627698" y="1604963"/>
                  <a:pt x="641032" y="1619250"/>
                </a:cubicBezTo>
                <a:cubicBezTo>
                  <a:pt x="654368" y="1634490"/>
                  <a:pt x="667703" y="1652588"/>
                  <a:pt x="680085" y="1674495"/>
                </a:cubicBezTo>
                <a:cubicBezTo>
                  <a:pt x="693420" y="1696403"/>
                  <a:pt x="705803" y="1721167"/>
                  <a:pt x="721995" y="1747838"/>
                </a:cubicBezTo>
                <a:cubicBezTo>
                  <a:pt x="738188" y="1774508"/>
                  <a:pt x="759143" y="1802130"/>
                  <a:pt x="789623" y="1824990"/>
                </a:cubicBezTo>
                <a:cubicBezTo>
                  <a:pt x="804863" y="1835467"/>
                  <a:pt x="822007" y="1844992"/>
                  <a:pt x="840105" y="1851660"/>
                </a:cubicBezTo>
                <a:cubicBezTo>
                  <a:pt x="858203" y="1858328"/>
                  <a:pt x="876300" y="1863090"/>
                  <a:pt x="895350" y="1867853"/>
                </a:cubicBezTo>
                <a:cubicBezTo>
                  <a:pt x="932498" y="1876425"/>
                  <a:pt x="970598" y="1881188"/>
                  <a:pt x="1006793" y="1890713"/>
                </a:cubicBezTo>
                <a:cubicBezTo>
                  <a:pt x="1024890" y="1895475"/>
                  <a:pt x="1041082" y="1902142"/>
                  <a:pt x="1056323" y="1910715"/>
                </a:cubicBezTo>
                <a:cubicBezTo>
                  <a:pt x="1071562" y="1918335"/>
                  <a:pt x="1083945" y="1929765"/>
                  <a:pt x="1096328" y="1941195"/>
                </a:cubicBezTo>
                <a:cubicBezTo>
                  <a:pt x="1119187" y="1965008"/>
                  <a:pt x="1136333" y="1993583"/>
                  <a:pt x="1150620" y="2023110"/>
                </a:cubicBezTo>
                <a:cubicBezTo>
                  <a:pt x="1145858" y="2017395"/>
                  <a:pt x="1142048" y="2012633"/>
                  <a:pt x="1137285" y="2007870"/>
                </a:cubicBezTo>
                <a:cubicBezTo>
                  <a:pt x="1124903" y="1994535"/>
                  <a:pt x="1111568" y="1981200"/>
                  <a:pt x="1096328" y="1968817"/>
                </a:cubicBezTo>
                <a:cubicBezTo>
                  <a:pt x="1082040" y="1956435"/>
                  <a:pt x="1065848" y="1945005"/>
                  <a:pt x="1047750" y="1934527"/>
                </a:cubicBezTo>
                <a:cubicBezTo>
                  <a:pt x="1030605" y="1925003"/>
                  <a:pt x="1011555" y="1916430"/>
                  <a:pt x="992505" y="1910715"/>
                </a:cubicBezTo>
                <a:cubicBezTo>
                  <a:pt x="973455" y="1905000"/>
                  <a:pt x="954405" y="1901190"/>
                  <a:pt x="935355" y="1900238"/>
                </a:cubicBezTo>
                <a:cubicBezTo>
                  <a:pt x="897255" y="1897380"/>
                  <a:pt x="862012" y="1903095"/>
                  <a:pt x="829628" y="1908810"/>
                </a:cubicBezTo>
                <a:cubicBezTo>
                  <a:pt x="797243" y="1914525"/>
                  <a:pt x="767715" y="1922145"/>
                  <a:pt x="740093" y="1927860"/>
                </a:cubicBezTo>
                <a:cubicBezTo>
                  <a:pt x="712470" y="1933575"/>
                  <a:pt x="686753" y="1936433"/>
                  <a:pt x="662940" y="1937385"/>
                </a:cubicBezTo>
                <a:cubicBezTo>
                  <a:pt x="639128" y="1938338"/>
                  <a:pt x="617220" y="1936433"/>
                  <a:pt x="599123" y="1932623"/>
                </a:cubicBezTo>
                <a:cubicBezTo>
                  <a:pt x="581025" y="1928813"/>
                  <a:pt x="564832" y="1923098"/>
                  <a:pt x="553403" y="1917383"/>
                </a:cubicBezTo>
                <a:cubicBezTo>
                  <a:pt x="541973" y="1910715"/>
                  <a:pt x="532448" y="1905000"/>
                  <a:pt x="527685" y="1900238"/>
                </a:cubicBezTo>
                <a:cubicBezTo>
                  <a:pt x="522923" y="1896428"/>
                  <a:pt x="520065" y="1893570"/>
                  <a:pt x="519113" y="1893570"/>
                </a:cubicBezTo>
                <a:cubicBezTo>
                  <a:pt x="520065" y="1894523"/>
                  <a:pt x="521970" y="1897380"/>
                  <a:pt x="526732" y="1902142"/>
                </a:cubicBezTo>
                <a:cubicBezTo>
                  <a:pt x="531495" y="1907858"/>
                  <a:pt x="539115" y="1915478"/>
                  <a:pt x="550545" y="1923098"/>
                </a:cubicBezTo>
                <a:cubicBezTo>
                  <a:pt x="561975" y="1930717"/>
                  <a:pt x="577215" y="1939290"/>
                  <a:pt x="596265" y="1945958"/>
                </a:cubicBezTo>
                <a:cubicBezTo>
                  <a:pt x="615315" y="1952625"/>
                  <a:pt x="638175" y="1957388"/>
                  <a:pt x="662940" y="1959292"/>
                </a:cubicBezTo>
                <a:cubicBezTo>
                  <a:pt x="687705" y="1961198"/>
                  <a:pt x="716280" y="1961198"/>
                  <a:pt x="744855" y="1957388"/>
                </a:cubicBezTo>
                <a:cubicBezTo>
                  <a:pt x="774382" y="1954530"/>
                  <a:pt x="804863" y="1948815"/>
                  <a:pt x="836295" y="1945005"/>
                </a:cubicBezTo>
                <a:cubicBezTo>
                  <a:pt x="867728" y="1941195"/>
                  <a:pt x="900112" y="1938338"/>
                  <a:pt x="932498" y="1941195"/>
                </a:cubicBezTo>
                <a:cubicBezTo>
                  <a:pt x="948690" y="1943100"/>
                  <a:pt x="964882" y="1945958"/>
                  <a:pt x="980123" y="1950720"/>
                </a:cubicBezTo>
                <a:cubicBezTo>
                  <a:pt x="996315" y="1955483"/>
                  <a:pt x="1011555" y="1963102"/>
                  <a:pt x="1026795" y="1971675"/>
                </a:cubicBezTo>
                <a:cubicBezTo>
                  <a:pt x="1042035" y="1980248"/>
                  <a:pt x="1055370" y="1989773"/>
                  <a:pt x="1068705" y="2001202"/>
                </a:cubicBezTo>
                <a:cubicBezTo>
                  <a:pt x="1082040" y="2011680"/>
                  <a:pt x="1094423" y="2023110"/>
                  <a:pt x="1105853" y="2035492"/>
                </a:cubicBezTo>
                <a:cubicBezTo>
                  <a:pt x="1129665" y="2059305"/>
                  <a:pt x="1150620" y="2085975"/>
                  <a:pt x="1169670" y="2110740"/>
                </a:cubicBezTo>
                <a:cubicBezTo>
                  <a:pt x="1181100" y="2126933"/>
                  <a:pt x="1192530" y="2142173"/>
                  <a:pt x="1203008" y="2157413"/>
                </a:cubicBezTo>
                <a:cubicBezTo>
                  <a:pt x="1205865" y="2166938"/>
                  <a:pt x="1208723" y="2176463"/>
                  <a:pt x="1211580" y="2185035"/>
                </a:cubicBezTo>
                <a:cubicBezTo>
                  <a:pt x="1179195" y="2300288"/>
                  <a:pt x="1144905" y="2421255"/>
                  <a:pt x="1113473" y="2548890"/>
                </a:cubicBezTo>
                <a:cubicBezTo>
                  <a:pt x="1086803" y="2654618"/>
                  <a:pt x="1065848" y="2759393"/>
                  <a:pt x="1049655" y="2862263"/>
                </a:cubicBezTo>
                <a:cubicBezTo>
                  <a:pt x="1033462" y="2965133"/>
                  <a:pt x="1024890" y="3066098"/>
                  <a:pt x="1021080" y="3161348"/>
                </a:cubicBezTo>
                <a:cubicBezTo>
                  <a:pt x="1014412" y="3351848"/>
                  <a:pt x="1025843" y="3522345"/>
                  <a:pt x="1040130" y="3664268"/>
                </a:cubicBezTo>
                <a:cubicBezTo>
                  <a:pt x="1041082" y="3678555"/>
                  <a:pt x="1042987" y="3691890"/>
                  <a:pt x="1044893" y="3705225"/>
                </a:cubicBezTo>
                <a:lnTo>
                  <a:pt x="1623060" y="3705225"/>
                </a:lnTo>
                <a:cubicBezTo>
                  <a:pt x="1608773" y="3666173"/>
                  <a:pt x="1594485" y="3627120"/>
                  <a:pt x="1579245" y="3588068"/>
                </a:cubicBezTo>
                <a:cubicBezTo>
                  <a:pt x="1561148" y="3528060"/>
                  <a:pt x="1544003" y="3459480"/>
                  <a:pt x="1528762" y="3383280"/>
                </a:cubicBezTo>
                <a:cubicBezTo>
                  <a:pt x="1512570" y="3302318"/>
                  <a:pt x="1498283" y="3212783"/>
                  <a:pt x="1483995" y="3116580"/>
                </a:cubicBezTo>
                <a:cubicBezTo>
                  <a:pt x="1470660" y="3019425"/>
                  <a:pt x="1456373" y="2916555"/>
                  <a:pt x="1443037" y="2807970"/>
                </a:cubicBezTo>
                <a:cubicBezTo>
                  <a:pt x="1430655" y="2699385"/>
                  <a:pt x="1420178" y="2586038"/>
                  <a:pt x="1416368" y="2468880"/>
                </a:cubicBezTo>
                <a:cubicBezTo>
                  <a:pt x="1414462" y="2409825"/>
                  <a:pt x="1413510" y="2350770"/>
                  <a:pt x="1414462" y="2290763"/>
                </a:cubicBezTo>
                <a:cubicBezTo>
                  <a:pt x="1416368" y="2230755"/>
                  <a:pt x="1419225" y="2169795"/>
                  <a:pt x="1424940" y="2107883"/>
                </a:cubicBezTo>
                <a:cubicBezTo>
                  <a:pt x="1435418" y="1983105"/>
                  <a:pt x="1449705" y="1858328"/>
                  <a:pt x="1453515" y="1734503"/>
                </a:cubicBezTo>
                <a:cubicBezTo>
                  <a:pt x="1454468" y="1720215"/>
                  <a:pt x="1454468" y="1705928"/>
                  <a:pt x="1454468" y="1691640"/>
                </a:cubicBezTo>
                <a:cubicBezTo>
                  <a:pt x="1455420" y="1689735"/>
                  <a:pt x="1455420" y="1687830"/>
                  <a:pt x="1456373" y="1685925"/>
                </a:cubicBezTo>
                <a:cubicBezTo>
                  <a:pt x="1465898" y="1661160"/>
                  <a:pt x="1477328" y="1636395"/>
                  <a:pt x="1492568" y="1615440"/>
                </a:cubicBezTo>
                <a:cubicBezTo>
                  <a:pt x="1507808" y="1593533"/>
                  <a:pt x="1525905" y="1574483"/>
                  <a:pt x="1548765" y="1558290"/>
                </a:cubicBezTo>
                <a:cubicBezTo>
                  <a:pt x="1564958" y="1545908"/>
                  <a:pt x="1582103" y="1535430"/>
                  <a:pt x="1601153" y="1525905"/>
                </a:cubicBezTo>
                <a:cubicBezTo>
                  <a:pt x="1607820" y="1523048"/>
                  <a:pt x="1614487" y="1521142"/>
                  <a:pt x="1621155" y="1518285"/>
                </a:cubicBezTo>
                <a:cubicBezTo>
                  <a:pt x="1684020" y="1498283"/>
                  <a:pt x="1757362" y="1491615"/>
                  <a:pt x="1834515" y="1491615"/>
                </a:cubicBezTo>
                <a:cubicBezTo>
                  <a:pt x="1912620" y="1490663"/>
                  <a:pt x="1987868" y="1494473"/>
                  <a:pt x="2058353" y="1488758"/>
                </a:cubicBezTo>
                <a:cubicBezTo>
                  <a:pt x="2127885" y="1483042"/>
                  <a:pt x="2189797" y="1468755"/>
                  <a:pt x="2239328" y="1447800"/>
                </a:cubicBezTo>
                <a:cubicBezTo>
                  <a:pt x="2288858" y="1427798"/>
                  <a:pt x="2323147" y="1401128"/>
                  <a:pt x="2344103" y="1381125"/>
                </a:cubicBezTo>
                <a:cubicBezTo>
                  <a:pt x="2348865" y="1376363"/>
                  <a:pt x="2353628" y="1371600"/>
                  <a:pt x="2357438" y="1366838"/>
                </a:cubicBezTo>
                <a:cubicBezTo>
                  <a:pt x="2361247" y="1362075"/>
                  <a:pt x="2364105" y="1359217"/>
                  <a:pt x="2366010" y="1355408"/>
                </a:cubicBezTo>
                <a:cubicBezTo>
                  <a:pt x="2369820" y="1350645"/>
                  <a:pt x="2372678" y="1346835"/>
                  <a:pt x="2373630" y="1346835"/>
                </a:cubicBezTo>
                <a:cubicBezTo>
                  <a:pt x="2372678" y="1347788"/>
                  <a:pt x="2369820" y="1349692"/>
                  <a:pt x="2365058" y="1354455"/>
                </a:cubicBezTo>
                <a:cubicBezTo>
                  <a:pt x="2362200" y="1357313"/>
                  <a:pt x="2358390" y="1360170"/>
                  <a:pt x="2354580" y="1363980"/>
                </a:cubicBezTo>
                <a:cubicBezTo>
                  <a:pt x="2350770" y="1367790"/>
                  <a:pt x="2345055" y="1371600"/>
                  <a:pt x="2339340" y="1375410"/>
                </a:cubicBezTo>
                <a:cubicBezTo>
                  <a:pt x="2316480" y="1392555"/>
                  <a:pt x="2280285" y="1413510"/>
                  <a:pt x="2231708" y="1427798"/>
                </a:cubicBezTo>
                <a:cubicBezTo>
                  <a:pt x="2183130" y="1442085"/>
                  <a:pt x="2123122" y="1450658"/>
                  <a:pt x="2056448" y="1452563"/>
                </a:cubicBezTo>
                <a:cubicBezTo>
                  <a:pt x="1997393" y="1454467"/>
                  <a:pt x="1932623" y="1449705"/>
                  <a:pt x="1863090" y="1448753"/>
                </a:cubicBezTo>
                <a:cubicBezTo>
                  <a:pt x="1874520" y="1445895"/>
                  <a:pt x="1886903" y="1443038"/>
                  <a:pt x="1898333" y="1440180"/>
                </a:cubicBezTo>
                <a:cubicBezTo>
                  <a:pt x="1929765" y="1431608"/>
                  <a:pt x="1960245" y="1422083"/>
                  <a:pt x="1989773" y="1410653"/>
                </a:cubicBezTo>
                <a:cubicBezTo>
                  <a:pt x="1997393" y="1407795"/>
                  <a:pt x="2004060" y="1404938"/>
                  <a:pt x="2011680" y="1401128"/>
                </a:cubicBezTo>
                <a:cubicBezTo>
                  <a:pt x="2019300" y="1397317"/>
                  <a:pt x="2025968" y="1394460"/>
                  <a:pt x="2032635" y="1390650"/>
                </a:cubicBezTo>
                <a:cubicBezTo>
                  <a:pt x="2046923" y="1383983"/>
                  <a:pt x="2060258" y="1375410"/>
                  <a:pt x="2072640" y="1367790"/>
                </a:cubicBezTo>
                <a:cubicBezTo>
                  <a:pt x="2124075" y="1335405"/>
                  <a:pt x="2167890" y="1297305"/>
                  <a:pt x="2203133" y="1257300"/>
                </a:cubicBezTo>
                <a:cubicBezTo>
                  <a:pt x="2238375" y="1217295"/>
                  <a:pt x="2266950" y="1177290"/>
                  <a:pt x="2289810" y="1139190"/>
                </a:cubicBezTo>
                <a:cubicBezTo>
                  <a:pt x="2335530" y="1062990"/>
                  <a:pt x="2361247" y="996315"/>
                  <a:pt x="2378393" y="949642"/>
                </a:cubicBezTo>
                <a:cubicBezTo>
                  <a:pt x="2382203" y="938212"/>
                  <a:pt x="2386013" y="927735"/>
                  <a:pt x="2388870" y="919162"/>
                </a:cubicBezTo>
                <a:cubicBezTo>
                  <a:pt x="2391728" y="909637"/>
                  <a:pt x="2393633" y="902017"/>
                  <a:pt x="2395538" y="896303"/>
                </a:cubicBezTo>
                <a:cubicBezTo>
                  <a:pt x="2398395" y="885825"/>
                  <a:pt x="2400300" y="879158"/>
                  <a:pt x="2401253" y="878205"/>
                </a:cubicBezTo>
                <a:cubicBezTo>
                  <a:pt x="2400300" y="877253"/>
                  <a:pt x="2397443" y="882967"/>
                  <a:pt x="2391728" y="892492"/>
                </a:cubicBezTo>
                <a:close/>
              </a:path>
            </a:pathLst>
          </a:custGeom>
          <a:solidFill>
            <a:srgbClr val="60391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55" name="TextBox 110">
            <a:extLst>
              <a:ext uri="{FF2B5EF4-FFF2-40B4-BE49-F238E27FC236}">
                <a16:creationId xmlns:a16="http://schemas.microsoft.com/office/drawing/2014/main" id="{24AC50CD-646F-4A13-93D9-0715D5F0FE1E}"/>
              </a:ext>
            </a:extLst>
          </p:cNvPr>
          <p:cNvSpPr txBox="1"/>
          <p:nvPr/>
        </p:nvSpPr>
        <p:spPr>
          <a:xfrm>
            <a:off x="9529437" y="3486664"/>
            <a:ext cx="926052" cy="46166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F0F0F0"/>
                </a:solidFill>
                <a:effectLst/>
                <a:uLnTx/>
                <a:uFillTx/>
                <a:latin typeface="等线 Light" panose="020F0302020204030204"/>
                <a:ea typeface="+mn-ea"/>
                <a:cs typeface="+mn-cs"/>
              </a:rPr>
              <a:t>350K</a:t>
            </a:r>
          </a:p>
        </p:txBody>
      </p:sp>
      <p:sp>
        <p:nvSpPr>
          <p:cNvPr id="56" name="TextBox 111">
            <a:extLst>
              <a:ext uri="{FF2B5EF4-FFF2-40B4-BE49-F238E27FC236}">
                <a16:creationId xmlns:a16="http://schemas.microsoft.com/office/drawing/2014/main" id="{55326196-2966-4B41-8EE5-B93A9BA205DD}"/>
              </a:ext>
            </a:extLst>
          </p:cNvPr>
          <p:cNvSpPr txBox="1"/>
          <p:nvPr/>
        </p:nvSpPr>
        <p:spPr>
          <a:xfrm>
            <a:off x="8806276" y="1947952"/>
            <a:ext cx="984596" cy="46166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F0F0F0"/>
                </a:solidFill>
                <a:effectLst/>
                <a:uLnTx/>
                <a:uFillTx/>
                <a:latin typeface="等线 Light" panose="020F0302020204030204"/>
                <a:ea typeface="+mn-ea"/>
                <a:cs typeface="+mn-cs"/>
              </a:rPr>
              <a:t>200k</a:t>
            </a:r>
          </a:p>
        </p:txBody>
      </p:sp>
      <p:sp>
        <p:nvSpPr>
          <p:cNvPr id="57" name="TextBox 112">
            <a:extLst>
              <a:ext uri="{FF2B5EF4-FFF2-40B4-BE49-F238E27FC236}">
                <a16:creationId xmlns:a16="http://schemas.microsoft.com/office/drawing/2014/main" id="{4CDBDAA1-69CA-4511-9104-9A44908D1837}"/>
              </a:ext>
            </a:extLst>
          </p:cNvPr>
          <p:cNvSpPr txBox="1"/>
          <p:nvPr/>
        </p:nvSpPr>
        <p:spPr>
          <a:xfrm>
            <a:off x="6759704" y="3381648"/>
            <a:ext cx="952010" cy="46166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F0F0F0"/>
                </a:solidFill>
                <a:effectLst/>
                <a:uLnTx/>
                <a:uFillTx/>
                <a:latin typeface="等线 Light" panose="020F0302020204030204"/>
                <a:ea typeface="+mn-ea"/>
                <a:cs typeface="+mn-cs"/>
              </a:rPr>
              <a:t>300k</a:t>
            </a:r>
          </a:p>
        </p:txBody>
      </p:sp>
      <p:sp>
        <p:nvSpPr>
          <p:cNvPr id="58" name="TextBox 114">
            <a:extLst>
              <a:ext uri="{FF2B5EF4-FFF2-40B4-BE49-F238E27FC236}">
                <a16:creationId xmlns:a16="http://schemas.microsoft.com/office/drawing/2014/main" id="{7FCCB98B-9DE9-4A4E-8EC7-1E2D872FFE1B}"/>
              </a:ext>
            </a:extLst>
          </p:cNvPr>
          <p:cNvSpPr txBox="1"/>
          <p:nvPr/>
        </p:nvSpPr>
        <p:spPr>
          <a:xfrm>
            <a:off x="9517352" y="4800270"/>
            <a:ext cx="975292" cy="46166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F0F0F0"/>
                </a:solidFill>
                <a:effectLst/>
                <a:uLnTx/>
                <a:uFillTx/>
                <a:latin typeface="等线 Light" panose="020F0302020204030204"/>
                <a:ea typeface="+mn-ea"/>
                <a:cs typeface="+mn-cs"/>
              </a:rPr>
              <a:t>250K</a:t>
            </a:r>
          </a:p>
        </p:txBody>
      </p:sp>
      <p:sp>
        <p:nvSpPr>
          <p:cNvPr id="59" name="TextBox 135">
            <a:extLst>
              <a:ext uri="{FF2B5EF4-FFF2-40B4-BE49-F238E27FC236}">
                <a16:creationId xmlns:a16="http://schemas.microsoft.com/office/drawing/2014/main" id="{ECC8B8D2-B0D0-4112-9F98-271C0FC9FD93}"/>
              </a:ext>
            </a:extLst>
          </p:cNvPr>
          <p:cNvSpPr txBox="1"/>
          <p:nvPr/>
        </p:nvSpPr>
        <p:spPr>
          <a:xfrm>
            <a:off x="614844" y="5191655"/>
            <a:ext cx="2517336" cy="894156"/>
          </a:xfrm>
          <a:prstGeom prst="rect">
            <a:avLst/>
          </a:prstGeom>
          <a:noFill/>
        </p:spPr>
        <p:txBody>
          <a:bodyPr wrap="square" rtlCol="0">
            <a:sp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等线" panose="020F0502020204030204"/>
                <a:ea typeface="+mn-ea"/>
                <a:cs typeface="+mn-cs"/>
              </a:rPr>
              <a:t>A wonderful serenity has taken has this possession of my entire soul. A wonderful serenity has taken</a:t>
            </a:r>
          </a:p>
        </p:txBody>
      </p:sp>
      <p:sp>
        <p:nvSpPr>
          <p:cNvPr id="60" name="TextBox 136">
            <a:extLst>
              <a:ext uri="{FF2B5EF4-FFF2-40B4-BE49-F238E27FC236}">
                <a16:creationId xmlns:a16="http://schemas.microsoft.com/office/drawing/2014/main" id="{43E0105A-55B7-466E-A6B8-8BD7CC2FD376}"/>
              </a:ext>
            </a:extLst>
          </p:cNvPr>
          <p:cNvSpPr txBox="1"/>
          <p:nvPr/>
        </p:nvSpPr>
        <p:spPr>
          <a:xfrm>
            <a:off x="799501" y="4892221"/>
            <a:ext cx="2148023" cy="33855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等线 Light" panose="020F0302020204030204"/>
                <a:ea typeface="+mn-ea"/>
                <a:cs typeface="+mn-cs"/>
              </a:rPr>
              <a:t>Description</a:t>
            </a:r>
          </a:p>
        </p:txBody>
      </p:sp>
      <p:sp>
        <p:nvSpPr>
          <p:cNvPr id="61" name="TextBox 156">
            <a:extLst>
              <a:ext uri="{FF2B5EF4-FFF2-40B4-BE49-F238E27FC236}">
                <a16:creationId xmlns:a16="http://schemas.microsoft.com/office/drawing/2014/main" id="{FEF4B0F7-D67B-438C-A42D-F756A8FD393E}"/>
              </a:ext>
            </a:extLst>
          </p:cNvPr>
          <p:cNvSpPr txBox="1"/>
          <p:nvPr/>
        </p:nvSpPr>
        <p:spPr>
          <a:xfrm>
            <a:off x="614844" y="2918355"/>
            <a:ext cx="2517336" cy="894156"/>
          </a:xfrm>
          <a:prstGeom prst="rect">
            <a:avLst/>
          </a:prstGeom>
          <a:noFill/>
        </p:spPr>
        <p:txBody>
          <a:bodyPr wrap="square" rtlCol="0">
            <a:sp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rPr>
              <a:t>A wonderful serenity </a:t>
            </a:r>
            <a:r>
              <a:rPr kumimoji="0" lang="en-US" sz="1200" b="0" i="0" u="none" strike="noStrike" kern="1200" cap="none" spc="0" normalizeH="0" baseline="0" noProof="0">
                <a:ln>
                  <a:noFill/>
                </a:ln>
                <a:solidFill>
                  <a:srgbClr val="000000"/>
                </a:solidFill>
                <a:effectLst/>
                <a:uLnTx/>
                <a:uFillTx/>
                <a:latin typeface="等线" panose="020F0502020204030204"/>
                <a:ea typeface="+mn-ea"/>
                <a:cs typeface="+mn-cs"/>
              </a:rPr>
              <a:t>has taken has this </a:t>
            </a:r>
            <a:r>
              <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rPr>
              <a:t>possession of my </a:t>
            </a:r>
            <a:r>
              <a:rPr kumimoji="0" lang="en-US" sz="1200" b="0" i="0" u="none" strike="noStrike" kern="1200" cap="none" spc="0" normalizeH="0" baseline="0" noProof="0">
                <a:ln>
                  <a:noFill/>
                </a:ln>
                <a:solidFill>
                  <a:srgbClr val="000000"/>
                </a:solidFill>
                <a:effectLst/>
                <a:uLnTx/>
                <a:uFillTx/>
                <a:latin typeface="等线" panose="020F0502020204030204"/>
                <a:ea typeface="+mn-ea"/>
                <a:cs typeface="+mn-cs"/>
              </a:rPr>
              <a:t>entire soul. A wonderful serenity has taken</a:t>
            </a:r>
          </a:p>
        </p:txBody>
      </p:sp>
      <p:sp>
        <p:nvSpPr>
          <p:cNvPr id="62" name="TextBox 157">
            <a:extLst>
              <a:ext uri="{FF2B5EF4-FFF2-40B4-BE49-F238E27FC236}">
                <a16:creationId xmlns:a16="http://schemas.microsoft.com/office/drawing/2014/main" id="{AE41B597-E156-4350-A0C5-7CEF4D02AD26}"/>
              </a:ext>
            </a:extLst>
          </p:cNvPr>
          <p:cNvSpPr txBox="1"/>
          <p:nvPr/>
        </p:nvSpPr>
        <p:spPr>
          <a:xfrm>
            <a:off x="799501" y="2618921"/>
            <a:ext cx="2148023" cy="33855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等线 Light" panose="020F0302020204030204"/>
                <a:ea typeface="+mn-ea"/>
                <a:cs typeface="+mn-cs"/>
              </a:rPr>
              <a:t>Description</a:t>
            </a:r>
          </a:p>
        </p:txBody>
      </p:sp>
      <p:sp>
        <p:nvSpPr>
          <p:cNvPr id="63" name="TextBox 164">
            <a:extLst>
              <a:ext uri="{FF2B5EF4-FFF2-40B4-BE49-F238E27FC236}">
                <a16:creationId xmlns:a16="http://schemas.microsoft.com/office/drawing/2014/main" id="{0B3420FD-54BF-4BF2-9D97-33CA64FB4D32}"/>
              </a:ext>
            </a:extLst>
          </p:cNvPr>
          <p:cNvSpPr txBox="1"/>
          <p:nvPr/>
        </p:nvSpPr>
        <p:spPr>
          <a:xfrm>
            <a:off x="3572359" y="5191655"/>
            <a:ext cx="2517336" cy="894156"/>
          </a:xfrm>
          <a:prstGeom prst="rect">
            <a:avLst/>
          </a:prstGeom>
          <a:noFill/>
        </p:spPr>
        <p:txBody>
          <a:bodyPr wrap="square" rtlCol="0">
            <a:sp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等线" panose="020F0502020204030204"/>
                <a:ea typeface="+mn-ea"/>
                <a:cs typeface="+mn-cs"/>
              </a:rPr>
              <a:t>A wonderful serenity has taken has this possession of my entire soul. A wonderful serenity has taken</a:t>
            </a:r>
          </a:p>
        </p:txBody>
      </p:sp>
      <p:sp>
        <p:nvSpPr>
          <p:cNvPr id="64" name="TextBox 165">
            <a:extLst>
              <a:ext uri="{FF2B5EF4-FFF2-40B4-BE49-F238E27FC236}">
                <a16:creationId xmlns:a16="http://schemas.microsoft.com/office/drawing/2014/main" id="{B1AAE6BC-C377-4524-824F-F0A84B0CF0A3}"/>
              </a:ext>
            </a:extLst>
          </p:cNvPr>
          <p:cNvSpPr txBox="1"/>
          <p:nvPr/>
        </p:nvSpPr>
        <p:spPr>
          <a:xfrm>
            <a:off x="3757016" y="4892221"/>
            <a:ext cx="2148023" cy="33855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等线 Light" panose="020F0302020204030204"/>
                <a:ea typeface="+mn-ea"/>
                <a:cs typeface="+mn-cs"/>
              </a:rPr>
              <a:t>Description</a:t>
            </a:r>
          </a:p>
        </p:txBody>
      </p:sp>
      <p:sp>
        <p:nvSpPr>
          <p:cNvPr id="65" name="TextBox 172">
            <a:extLst>
              <a:ext uri="{FF2B5EF4-FFF2-40B4-BE49-F238E27FC236}">
                <a16:creationId xmlns:a16="http://schemas.microsoft.com/office/drawing/2014/main" id="{E4FF994A-2EE0-4772-9B72-407DB745D79B}"/>
              </a:ext>
            </a:extLst>
          </p:cNvPr>
          <p:cNvSpPr txBox="1"/>
          <p:nvPr/>
        </p:nvSpPr>
        <p:spPr>
          <a:xfrm>
            <a:off x="3572359" y="2918355"/>
            <a:ext cx="2517336" cy="894156"/>
          </a:xfrm>
          <a:prstGeom prst="rect">
            <a:avLst/>
          </a:prstGeom>
          <a:noFill/>
        </p:spPr>
        <p:txBody>
          <a:bodyPr wrap="square" rtlCol="0">
            <a:sp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等线" panose="020F0502020204030204"/>
                <a:ea typeface="+mn-ea"/>
                <a:cs typeface="+mn-cs"/>
              </a:rPr>
              <a:t>A wonderful serenity has taken has this possession of my entire soul. A wonderful serenity has taken</a:t>
            </a:r>
          </a:p>
        </p:txBody>
      </p:sp>
      <p:sp>
        <p:nvSpPr>
          <p:cNvPr id="66" name="TextBox 173">
            <a:extLst>
              <a:ext uri="{FF2B5EF4-FFF2-40B4-BE49-F238E27FC236}">
                <a16:creationId xmlns:a16="http://schemas.microsoft.com/office/drawing/2014/main" id="{C90BC102-B68C-4383-BD3B-B6BFD304DA69}"/>
              </a:ext>
            </a:extLst>
          </p:cNvPr>
          <p:cNvSpPr txBox="1"/>
          <p:nvPr/>
        </p:nvSpPr>
        <p:spPr>
          <a:xfrm>
            <a:off x="3757016" y="2618921"/>
            <a:ext cx="2148023" cy="33855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等线 Light" panose="020F0302020204030204"/>
                <a:ea typeface="+mn-ea"/>
                <a:cs typeface="+mn-cs"/>
              </a:rPr>
              <a:t>Description</a:t>
            </a:r>
          </a:p>
        </p:txBody>
      </p:sp>
      <p:sp>
        <p:nvSpPr>
          <p:cNvPr id="67" name="Freeform: Shape 92">
            <a:extLst>
              <a:ext uri="{FF2B5EF4-FFF2-40B4-BE49-F238E27FC236}">
                <a16:creationId xmlns:a16="http://schemas.microsoft.com/office/drawing/2014/main" id="{257BDF45-03B4-42D2-BB6A-4421299A1E66}"/>
              </a:ext>
            </a:extLst>
          </p:cNvPr>
          <p:cNvSpPr/>
          <p:nvPr/>
        </p:nvSpPr>
        <p:spPr>
          <a:xfrm>
            <a:off x="1649786" y="4205402"/>
            <a:ext cx="447452" cy="631996"/>
          </a:xfrm>
          <a:custGeom>
            <a:avLst/>
            <a:gdLst>
              <a:gd name="connsiteX0" fmla="*/ 337185 w 674370"/>
              <a:gd name="connsiteY0" fmla="*/ 0 h 952500"/>
              <a:gd name="connsiteX1" fmla="*/ 0 w 674370"/>
              <a:gd name="connsiteY1" fmla="*/ 615315 h 952500"/>
              <a:gd name="connsiteX2" fmla="*/ 337185 w 674370"/>
              <a:gd name="connsiteY2" fmla="*/ 952500 h 952500"/>
              <a:gd name="connsiteX3" fmla="*/ 674370 w 674370"/>
              <a:gd name="connsiteY3" fmla="*/ 615315 h 952500"/>
              <a:gd name="connsiteX4" fmla="*/ 337185 w 674370"/>
              <a:gd name="connsiteY4" fmla="*/ 0 h 952500"/>
              <a:gd name="connsiteX5" fmla="*/ 332423 w 674370"/>
              <a:gd name="connsiteY5" fmla="*/ 876300 h 952500"/>
              <a:gd name="connsiteX6" fmla="*/ 76200 w 674370"/>
              <a:gd name="connsiteY6" fmla="*/ 654368 h 952500"/>
              <a:gd name="connsiteX7" fmla="*/ 121920 w 674370"/>
              <a:gd name="connsiteY7" fmla="*/ 641985 h 952500"/>
              <a:gd name="connsiteX8" fmla="*/ 341948 w 674370"/>
              <a:gd name="connsiteY8" fmla="*/ 830580 h 952500"/>
              <a:gd name="connsiteX9" fmla="*/ 332423 w 674370"/>
              <a:gd name="connsiteY9" fmla="*/ 876300 h 952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74370" h="952500">
                <a:moveTo>
                  <a:pt x="337185" y="0"/>
                </a:moveTo>
                <a:cubicBezTo>
                  <a:pt x="337185" y="0"/>
                  <a:pt x="0" y="429578"/>
                  <a:pt x="0" y="615315"/>
                </a:cubicBezTo>
                <a:cubicBezTo>
                  <a:pt x="0" y="801053"/>
                  <a:pt x="150495" y="952500"/>
                  <a:pt x="337185" y="952500"/>
                </a:cubicBezTo>
                <a:cubicBezTo>
                  <a:pt x="522923" y="952500"/>
                  <a:pt x="674370" y="802005"/>
                  <a:pt x="674370" y="615315"/>
                </a:cubicBezTo>
                <a:cubicBezTo>
                  <a:pt x="674370" y="429578"/>
                  <a:pt x="337185" y="0"/>
                  <a:pt x="337185" y="0"/>
                </a:cubicBezTo>
                <a:close/>
                <a:moveTo>
                  <a:pt x="332423" y="876300"/>
                </a:moveTo>
                <a:cubicBezTo>
                  <a:pt x="128588" y="834390"/>
                  <a:pt x="78105" y="661988"/>
                  <a:pt x="76200" y="654368"/>
                </a:cubicBezTo>
                <a:lnTo>
                  <a:pt x="121920" y="641985"/>
                </a:lnTo>
                <a:cubicBezTo>
                  <a:pt x="123825" y="648653"/>
                  <a:pt x="167640" y="794385"/>
                  <a:pt x="341948" y="830580"/>
                </a:cubicBezTo>
                <a:lnTo>
                  <a:pt x="332423" y="876300"/>
                </a:lnTo>
                <a:close/>
              </a:path>
            </a:pathLst>
          </a:custGeom>
          <a:solidFill>
            <a:schemeClr val="accent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nvGrpSpPr>
          <p:cNvPr id="68" name="Graphic 1">
            <a:extLst>
              <a:ext uri="{FF2B5EF4-FFF2-40B4-BE49-F238E27FC236}">
                <a16:creationId xmlns:a16="http://schemas.microsoft.com/office/drawing/2014/main" id="{F3F98371-5A1B-45C5-95AE-0F0FE4303920}"/>
              </a:ext>
            </a:extLst>
          </p:cNvPr>
          <p:cNvGrpSpPr/>
          <p:nvPr/>
        </p:nvGrpSpPr>
        <p:grpSpPr>
          <a:xfrm>
            <a:off x="4551591" y="4262283"/>
            <a:ext cx="558872" cy="518234"/>
            <a:chOff x="8864467" y="1326832"/>
            <a:chExt cx="842293" cy="781050"/>
          </a:xfrm>
          <a:solidFill>
            <a:schemeClr val="accent4"/>
          </a:solidFill>
        </p:grpSpPr>
        <p:sp>
          <p:nvSpPr>
            <p:cNvPr id="69" name="Freeform: Shape 99">
              <a:extLst>
                <a:ext uri="{FF2B5EF4-FFF2-40B4-BE49-F238E27FC236}">
                  <a16:creationId xmlns:a16="http://schemas.microsoft.com/office/drawing/2014/main" id="{587BAC1C-5C3E-47A5-8E34-334C7C1A2076}"/>
                </a:ext>
              </a:extLst>
            </p:cNvPr>
            <p:cNvSpPr/>
            <p:nvPr/>
          </p:nvSpPr>
          <p:spPr>
            <a:xfrm>
              <a:off x="8864467" y="1326832"/>
              <a:ext cx="842293" cy="322897"/>
            </a:xfrm>
            <a:custGeom>
              <a:avLst/>
              <a:gdLst>
                <a:gd name="connsiteX0" fmla="*/ 835793 w 842293"/>
                <a:gd name="connsiteY0" fmla="*/ 293370 h 322897"/>
                <a:gd name="connsiteX1" fmla="*/ 687202 w 842293"/>
                <a:gd name="connsiteY1" fmla="*/ 188595 h 322897"/>
                <a:gd name="connsiteX2" fmla="*/ 687202 w 842293"/>
                <a:gd name="connsiteY2" fmla="*/ 52387 h 322897"/>
                <a:gd name="connsiteX3" fmla="*/ 705300 w 842293"/>
                <a:gd name="connsiteY3" fmla="*/ 52387 h 322897"/>
                <a:gd name="connsiteX4" fmla="*/ 705300 w 842293"/>
                <a:gd name="connsiteY4" fmla="*/ 14288 h 322897"/>
                <a:gd name="connsiteX5" fmla="*/ 562425 w 842293"/>
                <a:gd name="connsiteY5" fmla="*/ 14288 h 322897"/>
                <a:gd name="connsiteX6" fmla="*/ 562425 w 842293"/>
                <a:gd name="connsiteY6" fmla="*/ 52387 h 322897"/>
                <a:gd name="connsiteX7" fmla="*/ 580522 w 842293"/>
                <a:gd name="connsiteY7" fmla="*/ 52387 h 322897"/>
                <a:gd name="connsiteX8" fmla="*/ 580522 w 842293"/>
                <a:gd name="connsiteY8" fmla="*/ 112395 h 322897"/>
                <a:gd name="connsiteX9" fmla="*/ 421455 w 842293"/>
                <a:gd name="connsiteY9" fmla="*/ 0 h 322897"/>
                <a:gd name="connsiteX10" fmla="*/ 7118 w 842293"/>
                <a:gd name="connsiteY10" fmla="*/ 293370 h 322897"/>
                <a:gd name="connsiteX11" fmla="*/ 16643 w 842293"/>
                <a:gd name="connsiteY11" fmla="*/ 322898 h 322897"/>
                <a:gd name="connsiteX12" fmla="*/ 827220 w 842293"/>
                <a:gd name="connsiteY12" fmla="*/ 322898 h 322897"/>
                <a:gd name="connsiteX13" fmla="*/ 835793 w 842293"/>
                <a:gd name="connsiteY13" fmla="*/ 293370 h 322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42293" h="322897">
                  <a:moveTo>
                    <a:pt x="835793" y="293370"/>
                  </a:moveTo>
                  <a:lnTo>
                    <a:pt x="687202" y="188595"/>
                  </a:lnTo>
                  <a:lnTo>
                    <a:pt x="687202" y="52387"/>
                  </a:lnTo>
                  <a:lnTo>
                    <a:pt x="705300" y="52387"/>
                  </a:lnTo>
                  <a:lnTo>
                    <a:pt x="705300" y="14288"/>
                  </a:lnTo>
                  <a:lnTo>
                    <a:pt x="562425" y="14288"/>
                  </a:lnTo>
                  <a:lnTo>
                    <a:pt x="562425" y="52387"/>
                  </a:lnTo>
                  <a:lnTo>
                    <a:pt x="580522" y="52387"/>
                  </a:lnTo>
                  <a:lnTo>
                    <a:pt x="580522" y="112395"/>
                  </a:lnTo>
                  <a:lnTo>
                    <a:pt x="421455" y="0"/>
                  </a:lnTo>
                  <a:lnTo>
                    <a:pt x="7118" y="293370"/>
                  </a:lnTo>
                  <a:cubicBezTo>
                    <a:pt x="-6218" y="302895"/>
                    <a:pt x="450" y="322898"/>
                    <a:pt x="16643" y="322898"/>
                  </a:cubicBezTo>
                  <a:lnTo>
                    <a:pt x="827220" y="322898"/>
                  </a:lnTo>
                  <a:cubicBezTo>
                    <a:pt x="841508" y="322898"/>
                    <a:pt x="848175" y="302895"/>
                    <a:pt x="835793" y="293370"/>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70" name="Freeform: Shape 100">
              <a:extLst>
                <a:ext uri="{FF2B5EF4-FFF2-40B4-BE49-F238E27FC236}">
                  <a16:creationId xmlns:a16="http://schemas.microsoft.com/office/drawing/2014/main" id="{AA31E8AD-5FB6-453A-8B4F-1464830903A8}"/>
                </a:ext>
              </a:extLst>
            </p:cNvPr>
            <p:cNvSpPr/>
            <p:nvPr/>
          </p:nvSpPr>
          <p:spPr>
            <a:xfrm>
              <a:off x="8962072" y="1684019"/>
              <a:ext cx="646747" cy="423862"/>
            </a:xfrm>
            <a:custGeom>
              <a:avLst/>
              <a:gdLst>
                <a:gd name="connsiteX0" fmla="*/ 0 w 646747"/>
                <a:gd name="connsiteY0" fmla="*/ 0 h 423862"/>
                <a:gd name="connsiteX1" fmla="*/ 0 w 646747"/>
                <a:gd name="connsiteY1" fmla="*/ 423863 h 423862"/>
                <a:gd name="connsiteX2" fmla="*/ 646747 w 646747"/>
                <a:gd name="connsiteY2" fmla="*/ 423863 h 423862"/>
                <a:gd name="connsiteX3" fmla="*/ 646747 w 646747"/>
                <a:gd name="connsiteY3" fmla="*/ 0 h 423862"/>
                <a:gd name="connsiteX4" fmla="*/ 0 w 646747"/>
                <a:gd name="connsiteY4" fmla="*/ 0 h 423862"/>
                <a:gd name="connsiteX5" fmla="*/ 280988 w 646747"/>
                <a:gd name="connsiteY5" fmla="*/ 341947 h 423862"/>
                <a:gd name="connsiteX6" fmla="*/ 246697 w 646747"/>
                <a:gd name="connsiteY6" fmla="*/ 308610 h 423862"/>
                <a:gd name="connsiteX7" fmla="*/ 320040 w 646747"/>
                <a:gd name="connsiteY7" fmla="*/ 233363 h 423862"/>
                <a:gd name="connsiteX8" fmla="*/ 213360 w 646747"/>
                <a:gd name="connsiteY8" fmla="*/ 233363 h 423862"/>
                <a:gd name="connsiteX9" fmla="*/ 364807 w 646747"/>
                <a:gd name="connsiteY9" fmla="*/ 81915 h 423862"/>
                <a:gd name="connsiteX10" fmla="*/ 398145 w 646747"/>
                <a:gd name="connsiteY10" fmla="*/ 115253 h 423862"/>
                <a:gd name="connsiteX11" fmla="*/ 327660 w 646747"/>
                <a:gd name="connsiteY11" fmla="*/ 185738 h 423862"/>
                <a:gd name="connsiteX12" fmla="*/ 434340 w 646747"/>
                <a:gd name="connsiteY12" fmla="*/ 185738 h 423862"/>
                <a:gd name="connsiteX13" fmla="*/ 280988 w 646747"/>
                <a:gd name="connsiteY13" fmla="*/ 341947 h 423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46747" h="423862">
                  <a:moveTo>
                    <a:pt x="0" y="0"/>
                  </a:moveTo>
                  <a:lnTo>
                    <a:pt x="0" y="423863"/>
                  </a:lnTo>
                  <a:lnTo>
                    <a:pt x="646747" y="423863"/>
                  </a:lnTo>
                  <a:lnTo>
                    <a:pt x="646747" y="0"/>
                  </a:lnTo>
                  <a:lnTo>
                    <a:pt x="0" y="0"/>
                  </a:lnTo>
                  <a:close/>
                  <a:moveTo>
                    <a:pt x="280988" y="341947"/>
                  </a:moveTo>
                  <a:lnTo>
                    <a:pt x="246697" y="308610"/>
                  </a:lnTo>
                  <a:lnTo>
                    <a:pt x="320040" y="233363"/>
                  </a:lnTo>
                  <a:lnTo>
                    <a:pt x="213360" y="233363"/>
                  </a:lnTo>
                  <a:lnTo>
                    <a:pt x="364807" y="81915"/>
                  </a:lnTo>
                  <a:lnTo>
                    <a:pt x="398145" y="115253"/>
                  </a:lnTo>
                  <a:lnTo>
                    <a:pt x="327660" y="185738"/>
                  </a:lnTo>
                  <a:lnTo>
                    <a:pt x="434340" y="185738"/>
                  </a:lnTo>
                  <a:lnTo>
                    <a:pt x="280988" y="341947"/>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grpSp>
        <p:nvGrpSpPr>
          <p:cNvPr id="71" name="Graphic 1">
            <a:extLst>
              <a:ext uri="{FF2B5EF4-FFF2-40B4-BE49-F238E27FC236}">
                <a16:creationId xmlns:a16="http://schemas.microsoft.com/office/drawing/2014/main" id="{4D73F48D-00BF-44E4-A155-63C943E7B7AF}"/>
              </a:ext>
            </a:extLst>
          </p:cNvPr>
          <p:cNvGrpSpPr/>
          <p:nvPr/>
        </p:nvGrpSpPr>
        <p:grpSpPr>
          <a:xfrm>
            <a:off x="1632090" y="1948234"/>
            <a:ext cx="482844" cy="484108"/>
            <a:chOff x="8959214" y="2548890"/>
            <a:chExt cx="727710" cy="729614"/>
          </a:xfrm>
          <a:solidFill>
            <a:schemeClr val="accent1"/>
          </a:solidFill>
        </p:grpSpPr>
        <p:sp>
          <p:nvSpPr>
            <p:cNvPr id="72" name="Freeform: Shape 102">
              <a:extLst>
                <a:ext uri="{FF2B5EF4-FFF2-40B4-BE49-F238E27FC236}">
                  <a16:creationId xmlns:a16="http://schemas.microsoft.com/office/drawing/2014/main" id="{2EC916F7-498D-4154-A9EB-9D0EB0CFECE1}"/>
                </a:ext>
              </a:extLst>
            </p:cNvPr>
            <p:cNvSpPr/>
            <p:nvPr/>
          </p:nvSpPr>
          <p:spPr>
            <a:xfrm>
              <a:off x="8959214" y="3156584"/>
              <a:ext cx="120967" cy="121920"/>
            </a:xfrm>
            <a:custGeom>
              <a:avLst/>
              <a:gdLst>
                <a:gd name="connsiteX0" fmla="*/ 120968 w 120967"/>
                <a:gd name="connsiteY0" fmla="*/ 33338 h 121920"/>
                <a:gd name="connsiteX1" fmla="*/ 33338 w 120967"/>
                <a:gd name="connsiteY1" fmla="*/ 121920 h 121920"/>
                <a:gd name="connsiteX2" fmla="*/ 0 w 120967"/>
                <a:gd name="connsiteY2" fmla="*/ 88583 h 121920"/>
                <a:gd name="connsiteX3" fmla="*/ 87630 w 120967"/>
                <a:gd name="connsiteY3" fmla="*/ 0 h 121920"/>
                <a:gd name="connsiteX4" fmla="*/ 103823 w 120967"/>
                <a:gd name="connsiteY4" fmla="*/ 18098 h 121920"/>
                <a:gd name="connsiteX5" fmla="*/ 120968 w 120967"/>
                <a:gd name="connsiteY5" fmla="*/ 33338 h 121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0967" h="121920">
                  <a:moveTo>
                    <a:pt x="120968" y="33338"/>
                  </a:moveTo>
                  <a:lnTo>
                    <a:pt x="33338" y="121920"/>
                  </a:lnTo>
                  <a:lnTo>
                    <a:pt x="0" y="88583"/>
                  </a:lnTo>
                  <a:lnTo>
                    <a:pt x="87630" y="0"/>
                  </a:lnTo>
                  <a:cubicBezTo>
                    <a:pt x="92393" y="5715"/>
                    <a:pt x="98108" y="12383"/>
                    <a:pt x="103823" y="18098"/>
                  </a:cubicBezTo>
                  <a:cubicBezTo>
                    <a:pt x="109538" y="22860"/>
                    <a:pt x="115253" y="27623"/>
                    <a:pt x="120968" y="3333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nvGrpSpPr>
            <p:cNvPr id="73" name="Graphic 1">
              <a:extLst>
                <a:ext uri="{FF2B5EF4-FFF2-40B4-BE49-F238E27FC236}">
                  <a16:creationId xmlns:a16="http://schemas.microsoft.com/office/drawing/2014/main" id="{15A4EB03-0158-44C3-B4C5-D32E3F6366C1}"/>
                </a:ext>
              </a:extLst>
            </p:cNvPr>
            <p:cNvGrpSpPr/>
            <p:nvPr/>
          </p:nvGrpSpPr>
          <p:grpSpPr>
            <a:xfrm>
              <a:off x="8971174" y="2548890"/>
              <a:ext cx="715750" cy="716279"/>
              <a:chOff x="8971174" y="2548890"/>
              <a:chExt cx="715750" cy="716279"/>
            </a:xfrm>
            <a:grpFill/>
          </p:grpSpPr>
          <p:sp>
            <p:nvSpPr>
              <p:cNvPr id="74" name="Freeform: Shape 104">
                <a:extLst>
                  <a:ext uri="{FF2B5EF4-FFF2-40B4-BE49-F238E27FC236}">
                    <a16:creationId xmlns:a16="http://schemas.microsoft.com/office/drawing/2014/main" id="{BAFE756A-0378-4FA8-A92B-EBF5AD140C64}"/>
                  </a:ext>
                </a:extLst>
              </p:cNvPr>
              <p:cNvSpPr/>
              <p:nvPr/>
            </p:nvSpPr>
            <p:spPr>
              <a:xfrm>
                <a:off x="8971174" y="2548890"/>
                <a:ext cx="715750" cy="716279"/>
              </a:xfrm>
              <a:custGeom>
                <a:avLst/>
                <a:gdLst>
                  <a:gd name="connsiteX0" fmla="*/ 686223 w 715750"/>
                  <a:gd name="connsiteY0" fmla="*/ 3810 h 716279"/>
                  <a:gd name="connsiteX1" fmla="*/ 91863 w 715750"/>
                  <a:gd name="connsiteY1" fmla="*/ 180975 h 716279"/>
                  <a:gd name="connsiteX2" fmla="*/ 75670 w 715750"/>
                  <a:gd name="connsiteY2" fmla="*/ 606743 h 716279"/>
                  <a:gd name="connsiteX3" fmla="*/ 149965 w 715750"/>
                  <a:gd name="connsiteY3" fmla="*/ 532447 h 716279"/>
                  <a:gd name="connsiteX4" fmla="*/ 183303 w 715750"/>
                  <a:gd name="connsiteY4" fmla="*/ 565785 h 716279"/>
                  <a:gd name="connsiteX5" fmla="*/ 109008 w 715750"/>
                  <a:gd name="connsiteY5" fmla="*/ 640080 h 716279"/>
                  <a:gd name="connsiteX6" fmla="*/ 313795 w 715750"/>
                  <a:gd name="connsiteY6" fmla="*/ 716280 h 716279"/>
                  <a:gd name="connsiteX7" fmla="*/ 535728 w 715750"/>
                  <a:gd name="connsiteY7" fmla="*/ 624840 h 716279"/>
                  <a:gd name="connsiteX8" fmla="*/ 711940 w 715750"/>
                  <a:gd name="connsiteY8" fmla="*/ 30480 h 716279"/>
                  <a:gd name="connsiteX9" fmla="*/ 715750 w 715750"/>
                  <a:gd name="connsiteY9" fmla="*/ 0 h 716279"/>
                  <a:gd name="connsiteX10" fmla="*/ 686223 w 715750"/>
                  <a:gd name="connsiteY10" fmla="*/ 3810 h 716279"/>
                  <a:gd name="connsiteX11" fmla="*/ 390948 w 715750"/>
                  <a:gd name="connsiteY11" fmla="*/ 454342 h 716279"/>
                  <a:gd name="connsiteX12" fmla="*/ 303318 w 715750"/>
                  <a:gd name="connsiteY12" fmla="*/ 488632 h 716279"/>
                  <a:gd name="connsiteX13" fmla="*/ 215688 w 715750"/>
                  <a:gd name="connsiteY13" fmla="*/ 455295 h 716279"/>
                  <a:gd name="connsiteX14" fmla="*/ 183303 w 715750"/>
                  <a:gd name="connsiteY14" fmla="*/ 362902 h 716279"/>
                  <a:gd name="connsiteX15" fmla="*/ 194733 w 715750"/>
                  <a:gd name="connsiteY15" fmla="*/ 299085 h 716279"/>
                  <a:gd name="connsiteX16" fmla="*/ 217593 w 715750"/>
                  <a:gd name="connsiteY16" fmla="*/ 264795 h 716279"/>
                  <a:gd name="connsiteX17" fmla="*/ 249978 w 715750"/>
                  <a:gd name="connsiteY17" fmla="*/ 242888 h 716279"/>
                  <a:gd name="connsiteX18" fmla="*/ 303318 w 715750"/>
                  <a:gd name="connsiteY18" fmla="*/ 233363 h 716279"/>
                  <a:gd name="connsiteX19" fmla="*/ 390948 w 715750"/>
                  <a:gd name="connsiteY19" fmla="*/ 267652 h 716279"/>
                  <a:gd name="connsiteX20" fmla="*/ 424286 w 715750"/>
                  <a:gd name="connsiteY20" fmla="*/ 361950 h 716279"/>
                  <a:gd name="connsiteX21" fmla="*/ 390948 w 715750"/>
                  <a:gd name="connsiteY21" fmla="*/ 454342 h 716279"/>
                  <a:gd name="connsiteX22" fmla="*/ 500486 w 715750"/>
                  <a:gd name="connsiteY22" fmla="*/ 500063 h 716279"/>
                  <a:gd name="connsiteX23" fmla="*/ 500486 w 715750"/>
                  <a:gd name="connsiteY23" fmla="*/ 516255 h 716279"/>
                  <a:gd name="connsiteX24" fmla="*/ 439525 w 715750"/>
                  <a:gd name="connsiteY24" fmla="*/ 516255 h 716279"/>
                  <a:gd name="connsiteX25" fmla="*/ 445240 w 715750"/>
                  <a:gd name="connsiteY25" fmla="*/ 499110 h 716279"/>
                  <a:gd name="connsiteX26" fmla="*/ 465243 w 715750"/>
                  <a:gd name="connsiteY26" fmla="*/ 477202 h 716279"/>
                  <a:gd name="connsiteX27" fmla="*/ 479530 w 715750"/>
                  <a:gd name="connsiteY27" fmla="*/ 461963 h 716279"/>
                  <a:gd name="connsiteX28" fmla="*/ 483340 w 715750"/>
                  <a:gd name="connsiteY28" fmla="*/ 451485 h 716279"/>
                  <a:gd name="connsiteX29" fmla="*/ 480483 w 715750"/>
                  <a:gd name="connsiteY29" fmla="*/ 442913 h 716279"/>
                  <a:gd name="connsiteX30" fmla="*/ 471911 w 715750"/>
                  <a:gd name="connsiteY30" fmla="*/ 440055 h 716279"/>
                  <a:gd name="connsiteX31" fmla="*/ 463338 w 715750"/>
                  <a:gd name="connsiteY31" fmla="*/ 442913 h 716279"/>
                  <a:gd name="connsiteX32" fmla="*/ 459528 w 715750"/>
                  <a:gd name="connsiteY32" fmla="*/ 454342 h 716279"/>
                  <a:gd name="connsiteX33" fmla="*/ 442383 w 715750"/>
                  <a:gd name="connsiteY33" fmla="*/ 452438 h 716279"/>
                  <a:gd name="connsiteX34" fmla="*/ 451908 w 715750"/>
                  <a:gd name="connsiteY34" fmla="*/ 431482 h 716279"/>
                  <a:gd name="connsiteX35" fmla="*/ 472863 w 715750"/>
                  <a:gd name="connsiteY35" fmla="*/ 424815 h 716279"/>
                  <a:gd name="connsiteX36" fmla="*/ 493818 w 715750"/>
                  <a:gd name="connsiteY36" fmla="*/ 432435 h 716279"/>
                  <a:gd name="connsiteX37" fmla="*/ 501438 w 715750"/>
                  <a:gd name="connsiteY37" fmla="*/ 450532 h 716279"/>
                  <a:gd name="connsiteX38" fmla="*/ 499533 w 715750"/>
                  <a:gd name="connsiteY38" fmla="*/ 461963 h 716279"/>
                  <a:gd name="connsiteX39" fmla="*/ 492865 w 715750"/>
                  <a:gd name="connsiteY39" fmla="*/ 473392 h 716279"/>
                  <a:gd name="connsiteX40" fmla="*/ 481436 w 715750"/>
                  <a:gd name="connsiteY40" fmla="*/ 484822 h 716279"/>
                  <a:gd name="connsiteX41" fmla="*/ 470958 w 715750"/>
                  <a:gd name="connsiteY41" fmla="*/ 495300 h 716279"/>
                  <a:gd name="connsiteX42" fmla="*/ 467148 w 715750"/>
                  <a:gd name="connsiteY42" fmla="*/ 500063 h 716279"/>
                  <a:gd name="connsiteX43" fmla="*/ 500486 w 715750"/>
                  <a:gd name="connsiteY43" fmla="*/ 500063 h 716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715750" h="716279">
                    <a:moveTo>
                      <a:pt x="686223" y="3810"/>
                    </a:moveTo>
                    <a:cubicBezTo>
                      <a:pt x="667173" y="6667"/>
                      <a:pt x="209973" y="62865"/>
                      <a:pt x="91863" y="180975"/>
                    </a:cubicBezTo>
                    <a:cubicBezTo>
                      <a:pt x="-25295" y="297180"/>
                      <a:pt x="-30057" y="483870"/>
                      <a:pt x="75670" y="606743"/>
                    </a:cubicBezTo>
                    <a:lnTo>
                      <a:pt x="149965" y="532447"/>
                    </a:lnTo>
                    <a:lnTo>
                      <a:pt x="183303" y="565785"/>
                    </a:lnTo>
                    <a:lnTo>
                      <a:pt x="109008" y="640080"/>
                    </a:lnTo>
                    <a:cubicBezTo>
                      <a:pt x="168063" y="690563"/>
                      <a:pt x="240453" y="716280"/>
                      <a:pt x="313795" y="716280"/>
                    </a:cubicBezTo>
                    <a:cubicBezTo>
                      <a:pt x="393805" y="716280"/>
                      <a:pt x="474768" y="685800"/>
                      <a:pt x="535728" y="624840"/>
                    </a:cubicBezTo>
                    <a:cubicBezTo>
                      <a:pt x="653838" y="506730"/>
                      <a:pt x="710036" y="50482"/>
                      <a:pt x="711940" y="30480"/>
                    </a:cubicBezTo>
                    <a:lnTo>
                      <a:pt x="715750" y="0"/>
                    </a:lnTo>
                    <a:lnTo>
                      <a:pt x="686223" y="3810"/>
                    </a:lnTo>
                    <a:close/>
                    <a:moveTo>
                      <a:pt x="390948" y="454342"/>
                    </a:moveTo>
                    <a:cubicBezTo>
                      <a:pt x="369040" y="477202"/>
                      <a:pt x="340465" y="488632"/>
                      <a:pt x="303318" y="488632"/>
                    </a:cubicBezTo>
                    <a:cubicBezTo>
                      <a:pt x="266170" y="488632"/>
                      <a:pt x="237595" y="477202"/>
                      <a:pt x="215688" y="455295"/>
                    </a:cubicBezTo>
                    <a:cubicBezTo>
                      <a:pt x="193780" y="432435"/>
                      <a:pt x="183303" y="401955"/>
                      <a:pt x="183303" y="362902"/>
                    </a:cubicBezTo>
                    <a:cubicBezTo>
                      <a:pt x="183303" y="338138"/>
                      <a:pt x="187113" y="316230"/>
                      <a:pt x="194733" y="299085"/>
                    </a:cubicBezTo>
                    <a:cubicBezTo>
                      <a:pt x="200448" y="286702"/>
                      <a:pt x="208068" y="275272"/>
                      <a:pt x="217593" y="264795"/>
                    </a:cubicBezTo>
                    <a:cubicBezTo>
                      <a:pt x="227118" y="254317"/>
                      <a:pt x="237595" y="247650"/>
                      <a:pt x="249978" y="242888"/>
                    </a:cubicBezTo>
                    <a:cubicBezTo>
                      <a:pt x="265218" y="236220"/>
                      <a:pt x="283315" y="233363"/>
                      <a:pt x="303318" y="233363"/>
                    </a:cubicBezTo>
                    <a:cubicBezTo>
                      <a:pt x="339513" y="233363"/>
                      <a:pt x="369040" y="244792"/>
                      <a:pt x="390948" y="267652"/>
                    </a:cubicBezTo>
                    <a:cubicBezTo>
                      <a:pt x="412855" y="290513"/>
                      <a:pt x="424286" y="321945"/>
                      <a:pt x="424286" y="361950"/>
                    </a:cubicBezTo>
                    <a:cubicBezTo>
                      <a:pt x="423333" y="400050"/>
                      <a:pt x="412855" y="431482"/>
                      <a:pt x="390948" y="454342"/>
                    </a:cubicBezTo>
                    <a:close/>
                    <a:moveTo>
                      <a:pt x="500486" y="500063"/>
                    </a:moveTo>
                    <a:lnTo>
                      <a:pt x="500486" y="516255"/>
                    </a:lnTo>
                    <a:lnTo>
                      <a:pt x="439525" y="516255"/>
                    </a:lnTo>
                    <a:cubicBezTo>
                      <a:pt x="440478" y="510540"/>
                      <a:pt x="442383" y="503872"/>
                      <a:pt x="445240" y="499110"/>
                    </a:cubicBezTo>
                    <a:cubicBezTo>
                      <a:pt x="448098" y="493395"/>
                      <a:pt x="454765" y="486727"/>
                      <a:pt x="465243" y="477202"/>
                    </a:cubicBezTo>
                    <a:cubicBezTo>
                      <a:pt x="472863" y="469582"/>
                      <a:pt x="477625" y="464820"/>
                      <a:pt x="479530" y="461963"/>
                    </a:cubicBezTo>
                    <a:cubicBezTo>
                      <a:pt x="482388" y="458152"/>
                      <a:pt x="483340" y="454342"/>
                      <a:pt x="483340" y="451485"/>
                    </a:cubicBezTo>
                    <a:cubicBezTo>
                      <a:pt x="483340" y="447675"/>
                      <a:pt x="482388" y="444817"/>
                      <a:pt x="480483" y="442913"/>
                    </a:cubicBezTo>
                    <a:cubicBezTo>
                      <a:pt x="478578" y="441007"/>
                      <a:pt x="475720" y="440055"/>
                      <a:pt x="471911" y="440055"/>
                    </a:cubicBezTo>
                    <a:cubicBezTo>
                      <a:pt x="468100" y="440055"/>
                      <a:pt x="465243" y="441007"/>
                      <a:pt x="463338" y="442913"/>
                    </a:cubicBezTo>
                    <a:cubicBezTo>
                      <a:pt x="461433" y="444817"/>
                      <a:pt x="459528" y="448627"/>
                      <a:pt x="459528" y="454342"/>
                    </a:cubicBezTo>
                    <a:lnTo>
                      <a:pt x="442383" y="452438"/>
                    </a:lnTo>
                    <a:cubicBezTo>
                      <a:pt x="443336" y="442913"/>
                      <a:pt x="447145" y="436245"/>
                      <a:pt x="451908" y="431482"/>
                    </a:cubicBezTo>
                    <a:cubicBezTo>
                      <a:pt x="456670" y="426720"/>
                      <a:pt x="464290" y="424815"/>
                      <a:pt x="472863" y="424815"/>
                    </a:cubicBezTo>
                    <a:cubicBezTo>
                      <a:pt x="481436" y="424815"/>
                      <a:pt x="489055" y="427672"/>
                      <a:pt x="493818" y="432435"/>
                    </a:cubicBezTo>
                    <a:cubicBezTo>
                      <a:pt x="498580" y="437197"/>
                      <a:pt x="501438" y="442913"/>
                      <a:pt x="501438" y="450532"/>
                    </a:cubicBezTo>
                    <a:cubicBezTo>
                      <a:pt x="501438" y="454342"/>
                      <a:pt x="500486" y="458152"/>
                      <a:pt x="499533" y="461963"/>
                    </a:cubicBezTo>
                    <a:cubicBezTo>
                      <a:pt x="497628" y="465772"/>
                      <a:pt x="495723" y="469582"/>
                      <a:pt x="492865" y="473392"/>
                    </a:cubicBezTo>
                    <a:cubicBezTo>
                      <a:pt x="490961" y="476250"/>
                      <a:pt x="487150" y="480060"/>
                      <a:pt x="481436" y="484822"/>
                    </a:cubicBezTo>
                    <a:cubicBezTo>
                      <a:pt x="475720" y="489585"/>
                      <a:pt x="472863" y="493395"/>
                      <a:pt x="470958" y="495300"/>
                    </a:cubicBezTo>
                    <a:cubicBezTo>
                      <a:pt x="469053" y="497205"/>
                      <a:pt x="468100" y="498157"/>
                      <a:pt x="467148" y="500063"/>
                    </a:cubicBezTo>
                    <a:lnTo>
                      <a:pt x="500486" y="500063"/>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75" name="Freeform: Shape 105">
                <a:extLst>
                  <a:ext uri="{FF2B5EF4-FFF2-40B4-BE49-F238E27FC236}">
                    <a16:creationId xmlns:a16="http://schemas.microsoft.com/office/drawing/2014/main" id="{DD61BC3D-C50A-44F3-B758-86CF344AA3D2}"/>
                  </a:ext>
                </a:extLst>
              </p:cNvPr>
              <p:cNvSpPr/>
              <p:nvPr/>
            </p:nvSpPr>
            <p:spPr>
              <a:xfrm>
                <a:off x="9205912" y="2824162"/>
                <a:ext cx="137160" cy="170497"/>
              </a:xfrm>
              <a:custGeom>
                <a:avLst/>
                <a:gdLst>
                  <a:gd name="connsiteX0" fmla="*/ 68580 w 137160"/>
                  <a:gd name="connsiteY0" fmla="*/ 0 h 170497"/>
                  <a:gd name="connsiteX1" fmla="*/ 19050 w 137160"/>
                  <a:gd name="connsiteY1" fmla="*/ 20955 h 170497"/>
                  <a:gd name="connsiteX2" fmla="*/ 0 w 137160"/>
                  <a:gd name="connsiteY2" fmla="*/ 84772 h 170497"/>
                  <a:gd name="connsiteX3" fmla="*/ 19050 w 137160"/>
                  <a:gd name="connsiteY3" fmla="*/ 148590 h 170497"/>
                  <a:gd name="connsiteX4" fmla="*/ 68580 w 137160"/>
                  <a:gd name="connsiteY4" fmla="*/ 170497 h 170497"/>
                  <a:gd name="connsiteX5" fmla="*/ 118110 w 137160"/>
                  <a:gd name="connsiteY5" fmla="*/ 148590 h 170497"/>
                  <a:gd name="connsiteX6" fmla="*/ 137160 w 137160"/>
                  <a:gd name="connsiteY6" fmla="*/ 83820 h 170497"/>
                  <a:gd name="connsiteX7" fmla="*/ 118110 w 137160"/>
                  <a:gd name="connsiteY7" fmla="*/ 20003 h 170497"/>
                  <a:gd name="connsiteX8" fmla="*/ 68580 w 137160"/>
                  <a:gd name="connsiteY8" fmla="*/ 0 h 1704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7160" h="170497">
                    <a:moveTo>
                      <a:pt x="68580" y="0"/>
                    </a:moveTo>
                    <a:cubicBezTo>
                      <a:pt x="47625" y="0"/>
                      <a:pt x="31432" y="6667"/>
                      <a:pt x="19050" y="20955"/>
                    </a:cubicBezTo>
                    <a:cubicBezTo>
                      <a:pt x="6668" y="35242"/>
                      <a:pt x="0" y="56197"/>
                      <a:pt x="0" y="84772"/>
                    </a:cubicBezTo>
                    <a:cubicBezTo>
                      <a:pt x="0" y="112395"/>
                      <a:pt x="6668" y="134303"/>
                      <a:pt x="19050" y="148590"/>
                    </a:cubicBezTo>
                    <a:cubicBezTo>
                      <a:pt x="32385" y="162878"/>
                      <a:pt x="48577" y="170497"/>
                      <a:pt x="68580" y="170497"/>
                    </a:cubicBezTo>
                    <a:cubicBezTo>
                      <a:pt x="88582" y="170497"/>
                      <a:pt x="104775" y="162878"/>
                      <a:pt x="118110" y="148590"/>
                    </a:cubicBezTo>
                    <a:cubicBezTo>
                      <a:pt x="130493" y="134303"/>
                      <a:pt x="137160" y="112395"/>
                      <a:pt x="137160" y="83820"/>
                    </a:cubicBezTo>
                    <a:cubicBezTo>
                      <a:pt x="137160" y="55245"/>
                      <a:pt x="130493" y="34290"/>
                      <a:pt x="118110" y="20003"/>
                    </a:cubicBezTo>
                    <a:cubicBezTo>
                      <a:pt x="105727" y="6667"/>
                      <a:pt x="89535" y="0"/>
                      <a:pt x="68580" y="0"/>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grpSp>
      <p:grpSp>
        <p:nvGrpSpPr>
          <p:cNvPr id="76" name="Graphic 1">
            <a:extLst>
              <a:ext uri="{FF2B5EF4-FFF2-40B4-BE49-F238E27FC236}">
                <a16:creationId xmlns:a16="http://schemas.microsoft.com/office/drawing/2014/main" id="{226B569F-9C1C-4DDC-A5A2-4DACB4C04C02}"/>
              </a:ext>
            </a:extLst>
          </p:cNvPr>
          <p:cNvGrpSpPr/>
          <p:nvPr/>
        </p:nvGrpSpPr>
        <p:grpSpPr>
          <a:xfrm>
            <a:off x="4525239" y="1944849"/>
            <a:ext cx="611576" cy="490878"/>
            <a:chOff x="6348412" y="2426970"/>
            <a:chExt cx="1081087" cy="867727"/>
          </a:xfrm>
          <a:solidFill>
            <a:schemeClr val="accent2"/>
          </a:solidFill>
        </p:grpSpPr>
        <p:grpSp>
          <p:nvGrpSpPr>
            <p:cNvPr id="77" name="Graphic 1">
              <a:extLst>
                <a:ext uri="{FF2B5EF4-FFF2-40B4-BE49-F238E27FC236}">
                  <a16:creationId xmlns:a16="http://schemas.microsoft.com/office/drawing/2014/main" id="{70D92D41-9D81-421A-B058-68D8B74A0BCF}"/>
                </a:ext>
              </a:extLst>
            </p:cNvPr>
            <p:cNvGrpSpPr/>
            <p:nvPr/>
          </p:nvGrpSpPr>
          <p:grpSpPr>
            <a:xfrm>
              <a:off x="6348412" y="2426970"/>
              <a:ext cx="1081087" cy="529589"/>
              <a:chOff x="6348412" y="2426970"/>
              <a:chExt cx="1081087" cy="529589"/>
            </a:xfrm>
            <a:grpFill/>
          </p:grpSpPr>
          <p:sp>
            <p:nvSpPr>
              <p:cNvPr id="79" name="Freeform: Shape 109">
                <a:extLst>
                  <a:ext uri="{FF2B5EF4-FFF2-40B4-BE49-F238E27FC236}">
                    <a16:creationId xmlns:a16="http://schemas.microsoft.com/office/drawing/2014/main" id="{3AF9A07A-2628-443E-BF38-F1D472AB198F}"/>
                  </a:ext>
                </a:extLst>
              </p:cNvPr>
              <p:cNvSpPr/>
              <p:nvPr/>
            </p:nvSpPr>
            <p:spPr>
              <a:xfrm>
                <a:off x="6348412" y="2426970"/>
                <a:ext cx="463867" cy="333375"/>
              </a:xfrm>
              <a:custGeom>
                <a:avLst/>
                <a:gdLst>
                  <a:gd name="connsiteX0" fmla="*/ 442913 w 463867"/>
                  <a:gd name="connsiteY0" fmla="*/ 189547 h 333375"/>
                  <a:gd name="connsiteX1" fmla="*/ 462915 w 463867"/>
                  <a:gd name="connsiteY1" fmla="*/ 194310 h 333375"/>
                  <a:gd name="connsiteX2" fmla="*/ 299085 w 463867"/>
                  <a:gd name="connsiteY2" fmla="*/ 333375 h 333375"/>
                  <a:gd name="connsiteX3" fmla="*/ 22860 w 463867"/>
                  <a:gd name="connsiteY3" fmla="*/ 184785 h 333375"/>
                  <a:gd name="connsiteX4" fmla="*/ 0 w 463867"/>
                  <a:gd name="connsiteY4" fmla="*/ 166688 h 333375"/>
                  <a:gd name="connsiteX5" fmla="*/ 22860 w 463867"/>
                  <a:gd name="connsiteY5" fmla="*/ 148590 h 333375"/>
                  <a:gd name="connsiteX6" fmla="*/ 299085 w 463867"/>
                  <a:gd name="connsiteY6" fmla="*/ 0 h 333375"/>
                  <a:gd name="connsiteX7" fmla="*/ 463868 w 463867"/>
                  <a:gd name="connsiteY7" fmla="*/ 146685 h 333375"/>
                  <a:gd name="connsiteX8" fmla="*/ 442913 w 463867"/>
                  <a:gd name="connsiteY8" fmla="*/ 143827 h 333375"/>
                  <a:gd name="connsiteX9" fmla="*/ 293370 w 463867"/>
                  <a:gd name="connsiteY9" fmla="*/ 143827 h 333375"/>
                  <a:gd name="connsiteX10" fmla="*/ 293370 w 463867"/>
                  <a:gd name="connsiteY10" fmla="*/ 189547 h 333375"/>
                  <a:gd name="connsiteX11" fmla="*/ 442913 w 463867"/>
                  <a:gd name="connsiteY11" fmla="*/ 189547 h 333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63867" h="333375">
                    <a:moveTo>
                      <a:pt x="442913" y="189547"/>
                    </a:moveTo>
                    <a:cubicBezTo>
                      <a:pt x="450532" y="189547"/>
                      <a:pt x="457200" y="191452"/>
                      <a:pt x="462915" y="194310"/>
                    </a:cubicBezTo>
                    <a:cubicBezTo>
                      <a:pt x="449580" y="273367"/>
                      <a:pt x="381000" y="333375"/>
                      <a:pt x="299085" y="333375"/>
                    </a:cubicBezTo>
                    <a:cubicBezTo>
                      <a:pt x="214313" y="333375"/>
                      <a:pt x="41910" y="200025"/>
                      <a:pt x="22860" y="184785"/>
                    </a:cubicBezTo>
                    <a:lnTo>
                      <a:pt x="0" y="166688"/>
                    </a:lnTo>
                    <a:lnTo>
                      <a:pt x="22860" y="148590"/>
                    </a:lnTo>
                    <a:cubicBezTo>
                      <a:pt x="41910" y="133350"/>
                      <a:pt x="215265" y="0"/>
                      <a:pt x="299085" y="0"/>
                    </a:cubicBezTo>
                    <a:cubicBezTo>
                      <a:pt x="383857" y="0"/>
                      <a:pt x="454343" y="63817"/>
                      <a:pt x="463868" y="146685"/>
                    </a:cubicBezTo>
                    <a:cubicBezTo>
                      <a:pt x="457200" y="144780"/>
                      <a:pt x="449580" y="143827"/>
                      <a:pt x="442913" y="143827"/>
                    </a:cubicBezTo>
                    <a:lnTo>
                      <a:pt x="293370" y="143827"/>
                    </a:lnTo>
                    <a:lnTo>
                      <a:pt x="293370" y="189547"/>
                    </a:lnTo>
                    <a:lnTo>
                      <a:pt x="442913" y="189547"/>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80" name="Freeform: Shape 113">
                <a:extLst>
                  <a:ext uri="{FF2B5EF4-FFF2-40B4-BE49-F238E27FC236}">
                    <a16:creationId xmlns:a16="http://schemas.microsoft.com/office/drawing/2014/main" id="{8C66F29A-C6B6-4C4D-AF72-FFDABF7A7801}"/>
                  </a:ext>
                </a:extLst>
              </p:cNvPr>
              <p:cNvSpPr/>
              <p:nvPr/>
            </p:nvSpPr>
            <p:spPr>
              <a:xfrm>
                <a:off x="7052309" y="2685097"/>
                <a:ext cx="377189" cy="271462"/>
              </a:xfrm>
              <a:custGeom>
                <a:avLst/>
                <a:gdLst>
                  <a:gd name="connsiteX0" fmla="*/ 377190 w 377189"/>
                  <a:gd name="connsiteY0" fmla="*/ 135255 h 271462"/>
                  <a:gd name="connsiteX1" fmla="*/ 354330 w 377189"/>
                  <a:gd name="connsiteY1" fmla="*/ 153353 h 271462"/>
                  <a:gd name="connsiteX2" fmla="*/ 133350 w 377189"/>
                  <a:gd name="connsiteY2" fmla="*/ 271463 h 271462"/>
                  <a:gd name="connsiteX3" fmla="*/ 0 w 377189"/>
                  <a:gd name="connsiteY3" fmla="*/ 160973 h 271462"/>
                  <a:gd name="connsiteX4" fmla="*/ 28575 w 377189"/>
                  <a:gd name="connsiteY4" fmla="*/ 158115 h 271462"/>
                  <a:gd name="connsiteX5" fmla="*/ 155257 w 377189"/>
                  <a:gd name="connsiteY5" fmla="*/ 158115 h 271462"/>
                  <a:gd name="connsiteX6" fmla="*/ 155257 w 377189"/>
                  <a:gd name="connsiteY6" fmla="*/ 112395 h 271462"/>
                  <a:gd name="connsiteX7" fmla="*/ 29527 w 377189"/>
                  <a:gd name="connsiteY7" fmla="*/ 112395 h 271462"/>
                  <a:gd name="connsiteX8" fmla="*/ 0 w 377189"/>
                  <a:gd name="connsiteY8" fmla="*/ 115253 h 271462"/>
                  <a:gd name="connsiteX9" fmla="*/ 134302 w 377189"/>
                  <a:gd name="connsiteY9" fmla="*/ 0 h 271462"/>
                  <a:gd name="connsiteX10" fmla="*/ 355282 w 377189"/>
                  <a:gd name="connsiteY10" fmla="*/ 118110 h 271462"/>
                  <a:gd name="connsiteX11" fmla="*/ 377190 w 377189"/>
                  <a:gd name="connsiteY11" fmla="*/ 135255 h 2714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77189" h="271462">
                    <a:moveTo>
                      <a:pt x="377190" y="135255"/>
                    </a:moveTo>
                    <a:lnTo>
                      <a:pt x="354330" y="153353"/>
                    </a:lnTo>
                    <a:cubicBezTo>
                      <a:pt x="339090" y="165735"/>
                      <a:pt x="201930" y="271463"/>
                      <a:pt x="133350" y="271463"/>
                    </a:cubicBezTo>
                    <a:cubicBezTo>
                      <a:pt x="67627" y="271463"/>
                      <a:pt x="12382" y="223838"/>
                      <a:pt x="0" y="160973"/>
                    </a:cubicBezTo>
                    <a:cubicBezTo>
                      <a:pt x="8572" y="159068"/>
                      <a:pt x="18097" y="158115"/>
                      <a:pt x="28575" y="158115"/>
                    </a:cubicBezTo>
                    <a:lnTo>
                      <a:pt x="155257" y="158115"/>
                    </a:lnTo>
                    <a:lnTo>
                      <a:pt x="155257" y="112395"/>
                    </a:lnTo>
                    <a:lnTo>
                      <a:pt x="29527" y="112395"/>
                    </a:lnTo>
                    <a:cubicBezTo>
                      <a:pt x="19050" y="112395"/>
                      <a:pt x="9525" y="113348"/>
                      <a:pt x="0" y="115253"/>
                    </a:cubicBezTo>
                    <a:cubicBezTo>
                      <a:pt x="9525" y="49530"/>
                      <a:pt x="66675" y="0"/>
                      <a:pt x="134302" y="0"/>
                    </a:cubicBezTo>
                    <a:cubicBezTo>
                      <a:pt x="202882" y="0"/>
                      <a:pt x="340042" y="105728"/>
                      <a:pt x="355282" y="118110"/>
                    </a:cubicBezTo>
                    <a:lnTo>
                      <a:pt x="377190" y="135255"/>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sp>
          <p:nvSpPr>
            <p:cNvPr id="78" name="Freeform: Shape 108">
              <a:extLst>
                <a:ext uri="{FF2B5EF4-FFF2-40B4-BE49-F238E27FC236}">
                  <a16:creationId xmlns:a16="http://schemas.microsoft.com/office/drawing/2014/main" id="{F2CE1617-F0ED-4FD5-A883-81526B256E7C}"/>
                </a:ext>
              </a:extLst>
            </p:cNvPr>
            <p:cNvSpPr/>
            <p:nvPr/>
          </p:nvSpPr>
          <p:spPr>
            <a:xfrm>
              <a:off x="6679881" y="2572702"/>
              <a:ext cx="498157" cy="721994"/>
            </a:xfrm>
            <a:custGeom>
              <a:avLst/>
              <a:gdLst>
                <a:gd name="connsiteX0" fmla="*/ 272415 w 498157"/>
                <a:gd name="connsiteY0" fmla="*/ 452438 h 721994"/>
                <a:gd name="connsiteX1" fmla="*/ 324803 w 498157"/>
                <a:gd name="connsiteY1" fmla="*/ 300990 h 721994"/>
                <a:gd name="connsiteX2" fmla="*/ 373380 w 498157"/>
                <a:gd name="connsiteY2" fmla="*/ 273367 h 721994"/>
                <a:gd name="connsiteX3" fmla="*/ 370523 w 498157"/>
                <a:gd name="connsiteY3" fmla="*/ 247650 h 721994"/>
                <a:gd name="connsiteX4" fmla="*/ 372428 w 498157"/>
                <a:gd name="connsiteY4" fmla="*/ 227647 h 721994"/>
                <a:gd name="connsiteX5" fmla="*/ 292418 w 498157"/>
                <a:gd name="connsiteY5" fmla="*/ 269557 h 721994"/>
                <a:gd name="connsiteX6" fmla="*/ 265748 w 498157"/>
                <a:gd name="connsiteY6" fmla="*/ 304800 h 721994"/>
                <a:gd name="connsiteX7" fmla="*/ 181928 w 498157"/>
                <a:gd name="connsiteY7" fmla="*/ 29527 h 721994"/>
                <a:gd name="connsiteX8" fmla="*/ 132398 w 498157"/>
                <a:gd name="connsiteY8" fmla="*/ 0 h 721994"/>
                <a:gd name="connsiteX9" fmla="*/ 133350 w 498157"/>
                <a:gd name="connsiteY9" fmla="*/ 20002 h 721994"/>
                <a:gd name="connsiteX10" fmla="*/ 131445 w 498157"/>
                <a:gd name="connsiteY10" fmla="*/ 47625 h 721994"/>
                <a:gd name="connsiteX11" fmla="*/ 149543 w 498157"/>
                <a:gd name="connsiteY11" fmla="*/ 60960 h 721994"/>
                <a:gd name="connsiteX12" fmla="*/ 226695 w 498157"/>
                <a:gd name="connsiteY12" fmla="*/ 451485 h 721994"/>
                <a:gd name="connsiteX13" fmla="*/ 0 w 498157"/>
                <a:gd name="connsiteY13" fmla="*/ 699135 h 721994"/>
                <a:gd name="connsiteX14" fmla="*/ 0 w 498157"/>
                <a:gd name="connsiteY14" fmla="*/ 721995 h 721994"/>
                <a:gd name="connsiteX15" fmla="*/ 498157 w 498157"/>
                <a:gd name="connsiteY15" fmla="*/ 721995 h 721994"/>
                <a:gd name="connsiteX16" fmla="*/ 498157 w 498157"/>
                <a:gd name="connsiteY16" fmla="*/ 699135 h 721994"/>
                <a:gd name="connsiteX17" fmla="*/ 272415 w 498157"/>
                <a:gd name="connsiteY17" fmla="*/ 452438 h 721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98157" h="721994">
                  <a:moveTo>
                    <a:pt x="272415" y="452438"/>
                  </a:moveTo>
                  <a:cubicBezTo>
                    <a:pt x="274320" y="416242"/>
                    <a:pt x="283845" y="342900"/>
                    <a:pt x="324803" y="300990"/>
                  </a:cubicBezTo>
                  <a:cubicBezTo>
                    <a:pt x="339090" y="286702"/>
                    <a:pt x="354330" y="277177"/>
                    <a:pt x="373380" y="273367"/>
                  </a:cubicBezTo>
                  <a:cubicBezTo>
                    <a:pt x="371475" y="264795"/>
                    <a:pt x="370523" y="256222"/>
                    <a:pt x="370523" y="247650"/>
                  </a:cubicBezTo>
                  <a:cubicBezTo>
                    <a:pt x="370523" y="240982"/>
                    <a:pt x="371475" y="234315"/>
                    <a:pt x="372428" y="227647"/>
                  </a:cubicBezTo>
                  <a:cubicBezTo>
                    <a:pt x="340995" y="233363"/>
                    <a:pt x="314325" y="247650"/>
                    <a:pt x="292418" y="269557"/>
                  </a:cubicBezTo>
                  <a:cubicBezTo>
                    <a:pt x="281940" y="280035"/>
                    <a:pt x="273368" y="292417"/>
                    <a:pt x="265748" y="304800"/>
                  </a:cubicBezTo>
                  <a:cubicBezTo>
                    <a:pt x="256223" y="202882"/>
                    <a:pt x="234315" y="83820"/>
                    <a:pt x="181928" y="29527"/>
                  </a:cubicBezTo>
                  <a:cubicBezTo>
                    <a:pt x="167640" y="14288"/>
                    <a:pt x="150495" y="4763"/>
                    <a:pt x="132398" y="0"/>
                  </a:cubicBezTo>
                  <a:cubicBezTo>
                    <a:pt x="133350" y="6667"/>
                    <a:pt x="133350" y="13335"/>
                    <a:pt x="133350" y="20002"/>
                  </a:cubicBezTo>
                  <a:cubicBezTo>
                    <a:pt x="133350" y="29527"/>
                    <a:pt x="132398" y="38100"/>
                    <a:pt x="131445" y="47625"/>
                  </a:cubicBezTo>
                  <a:cubicBezTo>
                    <a:pt x="137160" y="50482"/>
                    <a:pt x="143828" y="55245"/>
                    <a:pt x="149543" y="60960"/>
                  </a:cubicBezTo>
                  <a:cubicBezTo>
                    <a:pt x="214313" y="127635"/>
                    <a:pt x="227648" y="348615"/>
                    <a:pt x="226695" y="451485"/>
                  </a:cubicBezTo>
                  <a:cubicBezTo>
                    <a:pt x="100013" y="462915"/>
                    <a:pt x="0" y="569595"/>
                    <a:pt x="0" y="699135"/>
                  </a:cubicBezTo>
                  <a:lnTo>
                    <a:pt x="0" y="721995"/>
                  </a:lnTo>
                  <a:lnTo>
                    <a:pt x="498157" y="721995"/>
                  </a:lnTo>
                  <a:lnTo>
                    <a:pt x="498157" y="699135"/>
                  </a:lnTo>
                  <a:cubicBezTo>
                    <a:pt x="498157" y="571500"/>
                    <a:pt x="398145" y="464820"/>
                    <a:pt x="272415" y="45243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sp>
        <p:nvSpPr>
          <p:cNvPr id="81" name="TextBox 82">
            <a:extLst>
              <a:ext uri="{FF2B5EF4-FFF2-40B4-BE49-F238E27FC236}">
                <a16:creationId xmlns:a16="http://schemas.microsoft.com/office/drawing/2014/main" id="{D9F236FE-2DAE-48CD-8F03-EAE52FBF5F1D}"/>
              </a:ext>
            </a:extLst>
          </p:cNvPr>
          <p:cNvSpPr txBox="1"/>
          <p:nvPr/>
        </p:nvSpPr>
        <p:spPr>
          <a:xfrm>
            <a:off x="7951788" y="3116761"/>
            <a:ext cx="1022880" cy="33855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F0F0F0"/>
                </a:solidFill>
                <a:effectLst/>
                <a:uLnTx/>
                <a:uFillTx/>
                <a:latin typeface="等线 Light" panose="020F0302020204030204"/>
                <a:ea typeface="+mn-ea"/>
                <a:cs typeface="+mn-cs"/>
              </a:rPr>
              <a:t>Idea</a:t>
            </a:r>
          </a:p>
        </p:txBody>
      </p:sp>
      <p:sp>
        <p:nvSpPr>
          <p:cNvPr id="82" name="TextBox 83">
            <a:extLst>
              <a:ext uri="{FF2B5EF4-FFF2-40B4-BE49-F238E27FC236}">
                <a16:creationId xmlns:a16="http://schemas.microsoft.com/office/drawing/2014/main" id="{3DB9300A-349E-4B09-942F-729CC30BCEFE}"/>
              </a:ext>
            </a:extLst>
          </p:cNvPr>
          <p:cNvSpPr txBox="1"/>
          <p:nvPr/>
        </p:nvSpPr>
        <p:spPr>
          <a:xfrm>
            <a:off x="10372691" y="2598601"/>
            <a:ext cx="1164554" cy="33855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F0F0F0"/>
                </a:solidFill>
                <a:effectLst/>
                <a:uLnTx/>
                <a:uFillTx/>
                <a:latin typeface="等线 Light" panose="020F0302020204030204"/>
                <a:ea typeface="+mn-ea"/>
                <a:cs typeface="+mn-cs"/>
              </a:rPr>
              <a:t>Cost</a:t>
            </a:r>
          </a:p>
        </p:txBody>
      </p:sp>
      <p:sp>
        <p:nvSpPr>
          <p:cNvPr id="83" name="TextBox 84">
            <a:extLst>
              <a:ext uri="{FF2B5EF4-FFF2-40B4-BE49-F238E27FC236}">
                <a16:creationId xmlns:a16="http://schemas.microsoft.com/office/drawing/2014/main" id="{C9152B5D-E083-4646-80F7-C7D07A338994}"/>
              </a:ext>
            </a:extLst>
          </p:cNvPr>
          <p:cNvSpPr txBox="1"/>
          <p:nvPr/>
        </p:nvSpPr>
        <p:spPr>
          <a:xfrm>
            <a:off x="10178136" y="3985441"/>
            <a:ext cx="2148023" cy="33855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F0F0F0"/>
                </a:solidFill>
                <a:effectLst/>
                <a:uLnTx/>
                <a:uFillTx/>
                <a:latin typeface="等线 Light" panose="020F0302020204030204"/>
                <a:ea typeface="+mn-ea"/>
                <a:cs typeface="+mn-cs"/>
              </a:rPr>
              <a:t>Tax</a:t>
            </a:r>
          </a:p>
        </p:txBody>
      </p:sp>
      <p:sp>
        <p:nvSpPr>
          <p:cNvPr id="84" name="TextBox 85">
            <a:extLst>
              <a:ext uri="{FF2B5EF4-FFF2-40B4-BE49-F238E27FC236}">
                <a16:creationId xmlns:a16="http://schemas.microsoft.com/office/drawing/2014/main" id="{66E31A2F-A9C8-497F-BC2F-ACBA2CB10F91}"/>
              </a:ext>
            </a:extLst>
          </p:cNvPr>
          <p:cNvSpPr txBox="1"/>
          <p:nvPr/>
        </p:nvSpPr>
        <p:spPr>
          <a:xfrm>
            <a:off x="7864864" y="5562781"/>
            <a:ext cx="1166248" cy="33855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F0F0F0"/>
                </a:solidFill>
                <a:effectLst/>
                <a:uLnTx/>
                <a:uFillTx/>
                <a:latin typeface="等线 Light" panose="020F0302020204030204"/>
                <a:ea typeface="+mn-ea"/>
                <a:cs typeface="+mn-cs"/>
              </a:rPr>
              <a:t>Brief</a:t>
            </a:r>
          </a:p>
        </p:txBody>
      </p:sp>
      <p:sp>
        <p:nvSpPr>
          <p:cNvPr id="85" name="TextBox 86">
            <a:extLst>
              <a:ext uri="{FF2B5EF4-FFF2-40B4-BE49-F238E27FC236}">
                <a16:creationId xmlns:a16="http://schemas.microsoft.com/office/drawing/2014/main" id="{315734F5-780C-4225-A52B-CE0E1B2B5165}"/>
              </a:ext>
            </a:extLst>
          </p:cNvPr>
          <p:cNvSpPr txBox="1"/>
          <p:nvPr/>
        </p:nvSpPr>
        <p:spPr>
          <a:xfrm>
            <a:off x="9909496" y="2000329"/>
            <a:ext cx="950416" cy="30777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0F0F0"/>
                </a:solidFill>
                <a:effectLst/>
                <a:uLnTx/>
                <a:uFillTx/>
                <a:latin typeface="等线 Light" panose="020F0302020204030204"/>
                <a:ea typeface="+mn-ea"/>
                <a:cs typeface="+mn-cs"/>
              </a:rPr>
              <a:t>Client</a:t>
            </a:r>
          </a:p>
        </p:txBody>
      </p:sp>
    </p:spTree>
    <p:extLst>
      <p:ext uri="{BB962C8B-B14F-4D97-AF65-F5344CB8AC3E}">
        <p14:creationId xmlns:p14="http://schemas.microsoft.com/office/powerpoint/2010/main" val="1192957197"/>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par>
                          <p:cTn id="8" fill="hold">
                            <p:stCondLst>
                              <p:cond delay="500"/>
                            </p:stCondLst>
                            <p:childTnLst>
                              <p:par>
                                <p:cTn id="9" presetID="22" presetClass="entr" presetSubtype="4" fill="hold" grpId="0" nodeType="afterEffect">
                                  <p:stCondLst>
                                    <p:cond delay="0"/>
                                  </p:stCondLst>
                                  <p:childTnLst>
                                    <p:set>
                                      <p:cBhvr>
                                        <p:cTn id="10" dur="1" fill="hold">
                                          <p:stCondLst>
                                            <p:cond delay="0"/>
                                          </p:stCondLst>
                                        </p:cTn>
                                        <p:tgtEl>
                                          <p:spTgt spid="54"/>
                                        </p:tgtEl>
                                        <p:attrNameLst>
                                          <p:attrName>style.visibility</p:attrName>
                                        </p:attrNameLst>
                                      </p:cBhvr>
                                      <p:to>
                                        <p:strVal val="visible"/>
                                      </p:to>
                                    </p:set>
                                    <p:animEffect transition="in" filter="wipe(down)">
                                      <p:cBhvr>
                                        <p:cTn id="11" dur="500"/>
                                        <p:tgtEl>
                                          <p:spTgt spid="54"/>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49"/>
                                        </p:tgtEl>
                                        <p:attrNameLst>
                                          <p:attrName>style.visibility</p:attrName>
                                        </p:attrNameLst>
                                      </p:cBhvr>
                                      <p:to>
                                        <p:strVal val="visible"/>
                                      </p:to>
                                    </p:set>
                                    <p:animEffect transition="in" filter="fade">
                                      <p:cBhvr>
                                        <p:cTn id="15" dur="500"/>
                                        <p:tgtEl>
                                          <p:spTgt spid="49"/>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53"/>
                                        </p:tgtEl>
                                        <p:attrNameLst>
                                          <p:attrName>style.visibility</p:attrName>
                                        </p:attrNameLst>
                                      </p:cBhvr>
                                      <p:to>
                                        <p:strVal val="visible"/>
                                      </p:to>
                                    </p:set>
                                    <p:animEffect transition="in" filter="fade">
                                      <p:cBhvr>
                                        <p:cTn id="18" dur="500"/>
                                        <p:tgtEl>
                                          <p:spTgt spid="53"/>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41"/>
                                        </p:tgtEl>
                                        <p:attrNameLst>
                                          <p:attrName>style.visibility</p:attrName>
                                        </p:attrNameLst>
                                      </p:cBhvr>
                                      <p:to>
                                        <p:strVal val="visible"/>
                                      </p:to>
                                    </p:set>
                                    <p:animEffect transition="in" filter="fade">
                                      <p:cBhvr>
                                        <p:cTn id="21" dur="500"/>
                                        <p:tgtEl>
                                          <p:spTgt spid="41"/>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84"/>
                                        </p:tgtEl>
                                        <p:attrNameLst>
                                          <p:attrName>style.visibility</p:attrName>
                                        </p:attrNameLst>
                                      </p:cBhvr>
                                      <p:to>
                                        <p:strVal val="visible"/>
                                      </p:to>
                                    </p:set>
                                    <p:animEffect transition="in" filter="fade">
                                      <p:cBhvr>
                                        <p:cTn id="24" dur="500"/>
                                        <p:tgtEl>
                                          <p:spTgt spid="84"/>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12"/>
                                        </p:tgtEl>
                                        <p:attrNameLst>
                                          <p:attrName>style.visibility</p:attrName>
                                        </p:attrNameLst>
                                      </p:cBhvr>
                                      <p:to>
                                        <p:strVal val="visible"/>
                                      </p:to>
                                    </p:set>
                                    <p:animEffect transition="in" filter="fade">
                                      <p:cBhvr>
                                        <p:cTn id="27" dur="500"/>
                                        <p:tgtEl>
                                          <p:spTgt spid="12"/>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9"/>
                                        </p:tgtEl>
                                        <p:attrNameLst>
                                          <p:attrName>style.visibility</p:attrName>
                                        </p:attrNameLst>
                                      </p:cBhvr>
                                      <p:to>
                                        <p:strVal val="visible"/>
                                      </p:to>
                                    </p:set>
                                    <p:animEffect transition="in" filter="fade">
                                      <p:cBhvr>
                                        <p:cTn id="30" dur="500"/>
                                        <p:tgtEl>
                                          <p:spTgt spid="9"/>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37"/>
                                        </p:tgtEl>
                                        <p:attrNameLst>
                                          <p:attrName>style.visibility</p:attrName>
                                        </p:attrNameLst>
                                      </p:cBhvr>
                                      <p:to>
                                        <p:strVal val="visible"/>
                                      </p:to>
                                    </p:set>
                                    <p:animEffect transition="in" filter="fade">
                                      <p:cBhvr>
                                        <p:cTn id="33" dur="500"/>
                                        <p:tgtEl>
                                          <p:spTgt spid="37"/>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7"/>
                                        </p:tgtEl>
                                        <p:attrNameLst>
                                          <p:attrName>style.visibility</p:attrName>
                                        </p:attrNameLst>
                                      </p:cBhvr>
                                      <p:to>
                                        <p:strVal val="visible"/>
                                      </p:to>
                                    </p:set>
                                    <p:animEffect transition="in" filter="fade">
                                      <p:cBhvr>
                                        <p:cTn id="36" dur="500"/>
                                        <p:tgtEl>
                                          <p:spTgt spid="7"/>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52"/>
                                        </p:tgtEl>
                                        <p:attrNameLst>
                                          <p:attrName>style.visibility</p:attrName>
                                        </p:attrNameLst>
                                      </p:cBhvr>
                                      <p:to>
                                        <p:strVal val="visible"/>
                                      </p:to>
                                    </p:set>
                                    <p:animEffect transition="in" filter="fade">
                                      <p:cBhvr>
                                        <p:cTn id="39" dur="500"/>
                                        <p:tgtEl>
                                          <p:spTgt spid="52"/>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40"/>
                                        </p:tgtEl>
                                        <p:attrNameLst>
                                          <p:attrName>style.visibility</p:attrName>
                                        </p:attrNameLst>
                                      </p:cBhvr>
                                      <p:to>
                                        <p:strVal val="visible"/>
                                      </p:to>
                                    </p:set>
                                    <p:animEffect transition="in" filter="fade">
                                      <p:cBhvr>
                                        <p:cTn id="42" dur="500"/>
                                        <p:tgtEl>
                                          <p:spTgt spid="40"/>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38"/>
                                        </p:tgtEl>
                                        <p:attrNameLst>
                                          <p:attrName>style.visibility</p:attrName>
                                        </p:attrNameLst>
                                      </p:cBhvr>
                                      <p:to>
                                        <p:strVal val="visible"/>
                                      </p:to>
                                    </p:set>
                                    <p:animEffect transition="in" filter="fade">
                                      <p:cBhvr>
                                        <p:cTn id="45" dur="500"/>
                                        <p:tgtEl>
                                          <p:spTgt spid="38"/>
                                        </p:tgtEl>
                                      </p:cBhvr>
                                    </p:animEffect>
                                  </p:childTnLst>
                                </p:cTn>
                              </p:par>
                              <p:par>
                                <p:cTn id="46" presetID="10" presetClass="entr" presetSubtype="0" fill="hold" grpId="0" nodeType="withEffect">
                                  <p:stCondLst>
                                    <p:cond delay="0"/>
                                  </p:stCondLst>
                                  <p:childTnLst>
                                    <p:set>
                                      <p:cBhvr>
                                        <p:cTn id="47" dur="1" fill="hold">
                                          <p:stCondLst>
                                            <p:cond delay="0"/>
                                          </p:stCondLst>
                                        </p:cTn>
                                        <p:tgtEl>
                                          <p:spTgt spid="4"/>
                                        </p:tgtEl>
                                        <p:attrNameLst>
                                          <p:attrName>style.visibility</p:attrName>
                                        </p:attrNameLst>
                                      </p:cBhvr>
                                      <p:to>
                                        <p:strVal val="visible"/>
                                      </p:to>
                                    </p:set>
                                    <p:animEffect transition="in" filter="fade">
                                      <p:cBhvr>
                                        <p:cTn id="48" dur="500"/>
                                        <p:tgtEl>
                                          <p:spTgt spid="4"/>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57"/>
                                        </p:tgtEl>
                                        <p:attrNameLst>
                                          <p:attrName>style.visibility</p:attrName>
                                        </p:attrNameLst>
                                      </p:cBhvr>
                                      <p:to>
                                        <p:strVal val="visible"/>
                                      </p:to>
                                    </p:set>
                                    <p:animEffect transition="in" filter="fade">
                                      <p:cBhvr>
                                        <p:cTn id="51" dur="500"/>
                                        <p:tgtEl>
                                          <p:spTgt spid="57"/>
                                        </p:tgtEl>
                                      </p:cBhvr>
                                    </p:animEffect>
                                  </p:childTnLst>
                                </p:cTn>
                              </p:par>
                              <p:par>
                                <p:cTn id="52" presetID="10" presetClass="entr" presetSubtype="0" fill="hold" grpId="0" nodeType="withEffect">
                                  <p:stCondLst>
                                    <p:cond delay="0"/>
                                  </p:stCondLst>
                                  <p:childTnLst>
                                    <p:set>
                                      <p:cBhvr>
                                        <p:cTn id="53" dur="1" fill="hold">
                                          <p:stCondLst>
                                            <p:cond delay="0"/>
                                          </p:stCondLst>
                                        </p:cTn>
                                        <p:tgtEl>
                                          <p:spTgt spid="50"/>
                                        </p:tgtEl>
                                        <p:attrNameLst>
                                          <p:attrName>style.visibility</p:attrName>
                                        </p:attrNameLst>
                                      </p:cBhvr>
                                      <p:to>
                                        <p:strVal val="visible"/>
                                      </p:to>
                                    </p:set>
                                    <p:animEffect transition="in" filter="fade">
                                      <p:cBhvr>
                                        <p:cTn id="54" dur="500"/>
                                        <p:tgtEl>
                                          <p:spTgt spid="50"/>
                                        </p:tgtEl>
                                      </p:cBhvr>
                                    </p:animEffect>
                                  </p:childTnLst>
                                </p:cTn>
                              </p:par>
                              <p:par>
                                <p:cTn id="55" presetID="10" presetClass="entr" presetSubtype="0" fill="hold" grpId="0" nodeType="withEffect">
                                  <p:stCondLst>
                                    <p:cond delay="0"/>
                                  </p:stCondLst>
                                  <p:childTnLst>
                                    <p:set>
                                      <p:cBhvr>
                                        <p:cTn id="56" dur="1" fill="hold">
                                          <p:stCondLst>
                                            <p:cond delay="0"/>
                                          </p:stCondLst>
                                        </p:cTn>
                                        <p:tgtEl>
                                          <p:spTgt spid="81"/>
                                        </p:tgtEl>
                                        <p:attrNameLst>
                                          <p:attrName>style.visibility</p:attrName>
                                        </p:attrNameLst>
                                      </p:cBhvr>
                                      <p:to>
                                        <p:strVal val="visible"/>
                                      </p:to>
                                    </p:set>
                                    <p:animEffect transition="in" filter="fade">
                                      <p:cBhvr>
                                        <p:cTn id="57" dur="500"/>
                                        <p:tgtEl>
                                          <p:spTgt spid="81"/>
                                        </p:tgtEl>
                                      </p:cBhvr>
                                    </p:animEffect>
                                  </p:childTnLst>
                                </p:cTn>
                              </p:par>
                              <p:par>
                                <p:cTn id="58" presetID="10" presetClass="entr" presetSubtype="0" fill="hold" grpId="0" nodeType="withEffect">
                                  <p:stCondLst>
                                    <p:cond delay="0"/>
                                  </p:stCondLst>
                                  <p:childTnLst>
                                    <p:set>
                                      <p:cBhvr>
                                        <p:cTn id="59" dur="1" fill="hold">
                                          <p:stCondLst>
                                            <p:cond delay="0"/>
                                          </p:stCondLst>
                                        </p:cTn>
                                        <p:tgtEl>
                                          <p:spTgt spid="6"/>
                                        </p:tgtEl>
                                        <p:attrNameLst>
                                          <p:attrName>style.visibility</p:attrName>
                                        </p:attrNameLst>
                                      </p:cBhvr>
                                      <p:to>
                                        <p:strVal val="visible"/>
                                      </p:to>
                                    </p:set>
                                    <p:animEffect transition="in" filter="fade">
                                      <p:cBhvr>
                                        <p:cTn id="60" dur="500"/>
                                        <p:tgtEl>
                                          <p:spTgt spid="6"/>
                                        </p:tgtEl>
                                      </p:cBhvr>
                                    </p:animEffect>
                                  </p:childTnLst>
                                </p:cTn>
                              </p:par>
                              <p:par>
                                <p:cTn id="61" presetID="10" presetClass="entr" presetSubtype="0" fill="hold" grpId="0" nodeType="withEffect">
                                  <p:stCondLst>
                                    <p:cond delay="0"/>
                                  </p:stCondLst>
                                  <p:childTnLst>
                                    <p:set>
                                      <p:cBhvr>
                                        <p:cTn id="62" dur="1" fill="hold">
                                          <p:stCondLst>
                                            <p:cond delay="0"/>
                                          </p:stCondLst>
                                        </p:cTn>
                                        <p:tgtEl>
                                          <p:spTgt spid="26"/>
                                        </p:tgtEl>
                                        <p:attrNameLst>
                                          <p:attrName>style.visibility</p:attrName>
                                        </p:attrNameLst>
                                      </p:cBhvr>
                                      <p:to>
                                        <p:strVal val="visible"/>
                                      </p:to>
                                    </p:set>
                                    <p:animEffect transition="in" filter="fade">
                                      <p:cBhvr>
                                        <p:cTn id="63" dur="500"/>
                                        <p:tgtEl>
                                          <p:spTgt spid="26"/>
                                        </p:tgtEl>
                                      </p:cBhvr>
                                    </p:animEffect>
                                  </p:childTnLst>
                                </p:cTn>
                              </p:par>
                              <p:par>
                                <p:cTn id="64" presetID="10" presetClass="entr" presetSubtype="0" fill="hold" grpId="0" nodeType="withEffect">
                                  <p:stCondLst>
                                    <p:cond delay="0"/>
                                  </p:stCondLst>
                                  <p:childTnLst>
                                    <p:set>
                                      <p:cBhvr>
                                        <p:cTn id="65" dur="1" fill="hold">
                                          <p:stCondLst>
                                            <p:cond delay="0"/>
                                          </p:stCondLst>
                                        </p:cTn>
                                        <p:tgtEl>
                                          <p:spTgt spid="51"/>
                                        </p:tgtEl>
                                        <p:attrNameLst>
                                          <p:attrName>style.visibility</p:attrName>
                                        </p:attrNameLst>
                                      </p:cBhvr>
                                      <p:to>
                                        <p:strVal val="visible"/>
                                      </p:to>
                                    </p:set>
                                    <p:animEffect transition="in" filter="fade">
                                      <p:cBhvr>
                                        <p:cTn id="66" dur="500"/>
                                        <p:tgtEl>
                                          <p:spTgt spid="51"/>
                                        </p:tgtEl>
                                      </p:cBhvr>
                                    </p:animEffect>
                                  </p:childTnLst>
                                </p:cTn>
                              </p:par>
                              <p:par>
                                <p:cTn id="67" presetID="10" presetClass="entr" presetSubtype="0" fill="hold" grpId="0" nodeType="withEffect">
                                  <p:stCondLst>
                                    <p:cond delay="0"/>
                                  </p:stCondLst>
                                  <p:childTnLst>
                                    <p:set>
                                      <p:cBhvr>
                                        <p:cTn id="68" dur="1" fill="hold">
                                          <p:stCondLst>
                                            <p:cond delay="0"/>
                                          </p:stCondLst>
                                        </p:cTn>
                                        <p:tgtEl>
                                          <p:spTgt spid="16"/>
                                        </p:tgtEl>
                                        <p:attrNameLst>
                                          <p:attrName>style.visibility</p:attrName>
                                        </p:attrNameLst>
                                      </p:cBhvr>
                                      <p:to>
                                        <p:strVal val="visible"/>
                                      </p:to>
                                    </p:set>
                                    <p:animEffect transition="in" filter="fade">
                                      <p:cBhvr>
                                        <p:cTn id="69" dur="500"/>
                                        <p:tgtEl>
                                          <p:spTgt spid="16"/>
                                        </p:tgtEl>
                                      </p:cBhvr>
                                    </p:animEffect>
                                  </p:childTnLst>
                                </p:cTn>
                              </p:par>
                              <p:par>
                                <p:cTn id="70" presetID="10" presetClass="entr" presetSubtype="0" fill="hold" grpId="0" nodeType="withEffect">
                                  <p:stCondLst>
                                    <p:cond delay="0"/>
                                  </p:stCondLst>
                                  <p:childTnLst>
                                    <p:set>
                                      <p:cBhvr>
                                        <p:cTn id="71" dur="1" fill="hold">
                                          <p:stCondLst>
                                            <p:cond delay="0"/>
                                          </p:stCondLst>
                                        </p:cTn>
                                        <p:tgtEl>
                                          <p:spTgt spid="30"/>
                                        </p:tgtEl>
                                        <p:attrNameLst>
                                          <p:attrName>style.visibility</p:attrName>
                                        </p:attrNameLst>
                                      </p:cBhvr>
                                      <p:to>
                                        <p:strVal val="visible"/>
                                      </p:to>
                                    </p:set>
                                    <p:animEffect transition="in" filter="fade">
                                      <p:cBhvr>
                                        <p:cTn id="72" dur="500"/>
                                        <p:tgtEl>
                                          <p:spTgt spid="30"/>
                                        </p:tgtEl>
                                      </p:cBhvr>
                                    </p:animEffect>
                                  </p:childTnLst>
                                </p:cTn>
                              </p:par>
                              <p:par>
                                <p:cTn id="73" presetID="10" presetClass="entr" presetSubtype="0" fill="hold" grpId="0" nodeType="withEffect">
                                  <p:stCondLst>
                                    <p:cond delay="0"/>
                                  </p:stCondLst>
                                  <p:childTnLst>
                                    <p:set>
                                      <p:cBhvr>
                                        <p:cTn id="74" dur="1" fill="hold">
                                          <p:stCondLst>
                                            <p:cond delay="0"/>
                                          </p:stCondLst>
                                        </p:cTn>
                                        <p:tgtEl>
                                          <p:spTgt spid="31"/>
                                        </p:tgtEl>
                                        <p:attrNameLst>
                                          <p:attrName>style.visibility</p:attrName>
                                        </p:attrNameLst>
                                      </p:cBhvr>
                                      <p:to>
                                        <p:strVal val="visible"/>
                                      </p:to>
                                    </p:set>
                                    <p:animEffect transition="in" filter="fade">
                                      <p:cBhvr>
                                        <p:cTn id="75" dur="500"/>
                                        <p:tgtEl>
                                          <p:spTgt spid="31"/>
                                        </p:tgtEl>
                                      </p:cBhvr>
                                    </p:animEffect>
                                  </p:childTnLst>
                                </p:cTn>
                              </p:par>
                              <p:par>
                                <p:cTn id="76" presetID="10" presetClass="entr" presetSubtype="0" fill="hold" grpId="0" nodeType="withEffect">
                                  <p:stCondLst>
                                    <p:cond delay="0"/>
                                  </p:stCondLst>
                                  <p:childTnLst>
                                    <p:set>
                                      <p:cBhvr>
                                        <p:cTn id="77" dur="1" fill="hold">
                                          <p:stCondLst>
                                            <p:cond delay="0"/>
                                          </p:stCondLst>
                                        </p:cTn>
                                        <p:tgtEl>
                                          <p:spTgt spid="29"/>
                                        </p:tgtEl>
                                        <p:attrNameLst>
                                          <p:attrName>style.visibility</p:attrName>
                                        </p:attrNameLst>
                                      </p:cBhvr>
                                      <p:to>
                                        <p:strVal val="visible"/>
                                      </p:to>
                                    </p:set>
                                    <p:animEffect transition="in" filter="fade">
                                      <p:cBhvr>
                                        <p:cTn id="78" dur="500"/>
                                        <p:tgtEl>
                                          <p:spTgt spid="29"/>
                                        </p:tgtEl>
                                      </p:cBhvr>
                                    </p:animEffect>
                                  </p:childTnLst>
                                </p:cTn>
                              </p:par>
                              <p:par>
                                <p:cTn id="79" presetID="10" presetClass="entr" presetSubtype="0" fill="hold" grpId="0" nodeType="withEffect">
                                  <p:stCondLst>
                                    <p:cond delay="0"/>
                                  </p:stCondLst>
                                  <p:childTnLst>
                                    <p:set>
                                      <p:cBhvr>
                                        <p:cTn id="80" dur="1" fill="hold">
                                          <p:stCondLst>
                                            <p:cond delay="0"/>
                                          </p:stCondLst>
                                        </p:cTn>
                                        <p:tgtEl>
                                          <p:spTgt spid="35"/>
                                        </p:tgtEl>
                                        <p:attrNameLst>
                                          <p:attrName>style.visibility</p:attrName>
                                        </p:attrNameLst>
                                      </p:cBhvr>
                                      <p:to>
                                        <p:strVal val="visible"/>
                                      </p:to>
                                    </p:set>
                                    <p:animEffect transition="in" filter="fade">
                                      <p:cBhvr>
                                        <p:cTn id="81" dur="500"/>
                                        <p:tgtEl>
                                          <p:spTgt spid="35"/>
                                        </p:tgtEl>
                                      </p:cBhvr>
                                    </p:animEffect>
                                  </p:childTnLst>
                                </p:cTn>
                              </p:par>
                            </p:childTnLst>
                          </p:cTn>
                        </p:par>
                        <p:par>
                          <p:cTn id="82" fill="hold">
                            <p:stCondLst>
                              <p:cond delay="1500"/>
                            </p:stCondLst>
                            <p:childTnLst>
                              <p:par>
                                <p:cTn id="83" presetID="10" presetClass="entr" presetSubtype="0" fill="hold" grpId="0" nodeType="afterEffect">
                                  <p:stCondLst>
                                    <p:cond delay="0"/>
                                  </p:stCondLst>
                                  <p:childTnLst>
                                    <p:set>
                                      <p:cBhvr>
                                        <p:cTn id="84" dur="1" fill="hold">
                                          <p:stCondLst>
                                            <p:cond delay="0"/>
                                          </p:stCondLst>
                                        </p:cTn>
                                        <p:tgtEl>
                                          <p:spTgt spid="34"/>
                                        </p:tgtEl>
                                        <p:attrNameLst>
                                          <p:attrName>style.visibility</p:attrName>
                                        </p:attrNameLst>
                                      </p:cBhvr>
                                      <p:to>
                                        <p:strVal val="visible"/>
                                      </p:to>
                                    </p:set>
                                    <p:animEffect transition="in" filter="fade">
                                      <p:cBhvr>
                                        <p:cTn id="85" dur="500"/>
                                        <p:tgtEl>
                                          <p:spTgt spid="34"/>
                                        </p:tgtEl>
                                      </p:cBhvr>
                                    </p:animEffect>
                                  </p:childTnLst>
                                </p:cTn>
                              </p:par>
                              <p:par>
                                <p:cTn id="86" presetID="10" presetClass="entr" presetSubtype="0" fill="hold" grpId="0" nodeType="withEffect">
                                  <p:stCondLst>
                                    <p:cond delay="0"/>
                                  </p:stCondLst>
                                  <p:childTnLst>
                                    <p:set>
                                      <p:cBhvr>
                                        <p:cTn id="87" dur="1" fill="hold">
                                          <p:stCondLst>
                                            <p:cond delay="0"/>
                                          </p:stCondLst>
                                        </p:cTn>
                                        <p:tgtEl>
                                          <p:spTgt spid="33"/>
                                        </p:tgtEl>
                                        <p:attrNameLst>
                                          <p:attrName>style.visibility</p:attrName>
                                        </p:attrNameLst>
                                      </p:cBhvr>
                                      <p:to>
                                        <p:strVal val="visible"/>
                                      </p:to>
                                    </p:set>
                                    <p:animEffect transition="in" filter="fade">
                                      <p:cBhvr>
                                        <p:cTn id="88" dur="500"/>
                                        <p:tgtEl>
                                          <p:spTgt spid="33"/>
                                        </p:tgtEl>
                                      </p:cBhvr>
                                    </p:animEffect>
                                  </p:childTnLst>
                                </p:cTn>
                              </p:par>
                              <p:par>
                                <p:cTn id="89" presetID="10" presetClass="entr" presetSubtype="0" fill="hold" grpId="0" nodeType="withEffect">
                                  <p:stCondLst>
                                    <p:cond delay="0"/>
                                  </p:stCondLst>
                                  <p:childTnLst>
                                    <p:set>
                                      <p:cBhvr>
                                        <p:cTn id="90" dur="1" fill="hold">
                                          <p:stCondLst>
                                            <p:cond delay="0"/>
                                          </p:stCondLst>
                                        </p:cTn>
                                        <p:tgtEl>
                                          <p:spTgt spid="11"/>
                                        </p:tgtEl>
                                        <p:attrNameLst>
                                          <p:attrName>style.visibility</p:attrName>
                                        </p:attrNameLst>
                                      </p:cBhvr>
                                      <p:to>
                                        <p:strVal val="visible"/>
                                      </p:to>
                                    </p:set>
                                    <p:animEffect transition="in" filter="fade">
                                      <p:cBhvr>
                                        <p:cTn id="91" dur="500"/>
                                        <p:tgtEl>
                                          <p:spTgt spid="11"/>
                                        </p:tgtEl>
                                      </p:cBhvr>
                                    </p:animEffect>
                                  </p:childTnLst>
                                </p:cTn>
                              </p:par>
                              <p:par>
                                <p:cTn id="92" presetID="10" presetClass="entr" presetSubtype="0" fill="hold" grpId="0" nodeType="withEffect">
                                  <p:stCondLst>
                                    <p:cond delay="0"/>
                                  </p:stCondLst>
                                  <p:childTnLst>
                                    <p:set>
                                      <p:cBhvr>
                                        <p:cTn id="93" dur="1" fill="hold">
                                          <p:stCondLst>
                                            <p:cond delay="0"/>
                                          </p:stCondLst>
                                        </p:cTn>
                                        <p:tgtEl>
                                          <p:spTgt spid="10"/>
                                        </p:tgtEl>
                                        <p:attrNameLst>
                                          <p:attrName>style.visibility</p:attrName>
                                        </p:attrNameLst>
                                      </p:cBhvr>
                                      <p:to>
                                        <p:strVal val="visible"/>
                                      </p:to>
                                    </p:set>
                                    <p:animEffect transition="in" filter="fade">
                                      <p:cBhvr>
                                        <p:cTn id="94" dur="500"/>
                                        <p:tgtEl>
                                          <p:spTgt spid="10"/>
                                        </p:tgtEl>
                                      </p:cBhvr>
                                    </p:animEffect>
                                  </p:childTnLst>
                                </p:cTn>
                              </p:par>
                              <p:par>
                                <p:cTn id="95" presetID="10" presetClass="entr" presetSubtype="0" fill="hold" grpId="0" nodeType="withEffect">
                                  <p:stCondLst>
                                    <p:cond delay="0"/>
                                  </p:stCondLst>
                                  <p:childTnLst>
                                    <p:set>
                                      <p:cBhvr>
                                        <p:cTn id="96" dur="1" fill="hold">
                                          <p:stCondLst>
                                            <p:cond delay="0"/>
                                          </p:stCondLst>
                                        </p:cTn>
                                        <p:tgtEl>
                                          <p:spTgt spid="13"/>
                                        </p:tgtEl>
                                        <p:attrNameLst>
                                          <p:attrName>style.visibility</p:attrName>
                                        </p:attrNameLst>
                                      </p:cBhvr>
                                      <p:to>
                                        <p:strVal val="visible"/>
                                      </p:to>
                                    </p:set>
                                    <p:animEffect transition="in" filter="fade">
                                      <p:cBhvr>
                                        <p:cTn id="97" dur="500"/>
                                        <p:tgtEl>
                                          <p:spTgt spid="13"/>
                                        </p:tgtEl>
                                      </p:cBhvr>
                                    </p:animEffect>
                                  </p:childTnLst>
                                </p:cTn>
                              </p:par>
                              <p:par>
                                <p:cTn id="98" presetID="10" presetClass="entr" presetSubtype="0" fill="hold" grpId="0" nodeType="withEffect">
                                  <p:stCondLst>
                                    <p:cond delay="0"/>
                                  </p:stCondLst>
                                  <p:childTnLst>
                                    <p:set>
                                      <p:cBhvr>
                                        <p:cTn id="99" dur="1" fill="hold">
                                          <p:stCondLst>
                                            <p:cond delay="0"/>
                                          </p:stCondLst>
                                        </p:cTn>
                                        <p:tgtEl>
                                          <p:spTgt spid="47"/>
                                        </p:tgtEl>
                                        <p:attrNameLst>
                                          <p:attrName>style.visibility</p:attrName>
                                        </p:attrNameLst>
                                      </p:cBhvr>
                                      <p:to>
                                        <p:strVal val="visible"/>
                                      </p:to>
                                    </p:set>
                                    <p:animEffect transition="in" filter="fade">
                                      <p:cBhvr>
                                        <p:cTn id="100" dur="500"/>
                                        <p:tgtEl>
                                          <p:spTgt spid="47"/>
                                        </p:tgtEl>
                                      </p:cBhvr>
                                    </p:animEffect>
                                  </p:childTnLst>
                                </p:cTn>
                              </p:par>
                              <p:par>
                                <p:cTn id="101" presetID="10" presetClass="entr" presetSubtype="0" fill="hold" grpId="0" nodeType="withEffect">
                                  <p:stCondLst>
                                    <p:cond delay="0"/>
                                  </p:stCondLst>
                                  <p:childTnLst>
                                    <p:set>
                                      <p:cBhvr>
                                        <p:cTn id="102" dur="1" fill="hold">
                                          <p:stCondLst>
                                            <p:cond delay="0"/>
                                          </p:stCondLst>
                                        </p:cTn>
                                        <p:tgtEl>
                                          <p:spTgt spid="58"/>
                                        </p:tgtEl>
                                        <p:attrNameLst>
                                          <p:attrName>style.visibility</p:attrName>
                                        </p:attrNameLst>
                                      </p:cBhvr>
                                      <p:to>
                                        <p:strVal val="visible"/>
                                      </p:to>
                                    </p:set>
                                    <p:animEffect transition="in" filter="fade">
                                      <p:cBhvr>
                                        <p:cTn id="103" dur="500"/>
                                        <p:tgtEl>
                                          <p:spTgt spid="58"/>
                                        </p:tgtEl>
                                      </p:cBhvr>
                                    </p:animEffect>
                                  </p:childTnLst>
                                </p:cTn>
                              </p:par>
                              <p:par>
                                <p:cTn id="104" presetID="10" presetClass="entr" presetSubtype="0" fill="hold" grpId="0" nodeType="withEffect">
                                  <p:stCondLst>
                                    <p:cond delay="0"/>
                                  </p:stCondLst>
                                  <p:childTnLst>
                                    <p:set>
                                      <p:cBhvr>
                                        <p:cTn id="105" dur="1" fill="hold">
                                          <p:stCondLst>
                                            <p:cond delay="0"/>
                                          </p:stCondLst>
                                        </p:cTn>
                                        <p:tgtEl>
                                          <p:spTgt spid="48"/>
                                        </p:tgtEl>
                                        <p:attrNameLst>
                                          <p:attrName>style.visibility</p:attrName>
                                        </p:attrNameLst>
                                      </p:cBhvr>
                                      <p:to>
                                        <p:strVal val="visible"/>
                                      </p:to>
                                    </p:set>
                                    <p:animEffect transition="in" filter="fade">
                                      <p:cBhvr>
                                        <p:cTn id="106" dur="500"/>
                                        <p:tgtEl>
                                          <p:spTgt spid="48"/>
                                        </p:tgtEl>
                                      </p:cBhvr>
                                    </p:animEffect>
                                  </p:childTnLst>
                                </p:cTn>
                              </p:par>
                              <p:par>
                                <p:cTn id="107" presetID="10" presetClass="entr" presetSubtype="0" fill="hold" grpId="0" nodeType="withEffect">
                                  <p:stCondLst>
                                    <p:cond delay="0"/>
                                  </p:stCondLst>
                                  <p:childTnLst>
                                    <p:set>
                                      <p:cBhvr>
                                        <p:cTn id="108" dur="1" fill="hold">
                                          <p:stCondLst>
                                            <p:cond delay="0"/>
                                          </p:stCondLst>
                                        </p:cTn>
                                        <p:tgtEl>
                                          <p:spTgt spid="8"/>
                                        </p:tgtEl>
                                        <p:attrNameLst>
                                          <p:attrName>style.visibility</p:attrName>
                                        </p:attrNameLst>
                                      </p:cBhvr>
                                      <p:to>
                                        <p:strVal val="visible"/>
                                      </p:to>
                                    </p:set>
                                    <p:animEffect transition="in" filter="fade">
                                      <p:cBhvr>
                                        <p:cTn id="109" dur="500"/>
                                        <p:tgtEl>
                                          <p:spTgt spid="8"/>
                                        </p:tgtEl>
                                      </p:cBhvr>
                                    </p:animEffect>
                                  </p:childTnLst>
                                </p:cTn>
                              </p:par>
                              <p:par>
                                <p:cTn id="110" presetID="10" presetClass="entr" presetSubtype="0" fill="hold" grpId="0" nodeType="withEffect">
                                  <p:stCondLst>
                                    <p:cond delay="0"/>
                                  </p:stCondLst>
                                  <p:childTnLst>
                                    <p:set>
                                      <p:cBhvr>
                                        <p:cTn id="111" dur="1" fill="hold">
                                          <p:stCondLst>
                                            <p:cond delay="0"/>
                                          </p:stCondLst>
                                        </p:cTn>
                                        <p:tgtEl>
                                          <p:spTgt spid="36"/>
                                        </p:tgtEl>
                                        <p:attrNameLst>
                                          <p:attrName>style.visibility</p:attrName>
                                        </p:attrNameLst>
                                      </p:cBhvr>
                                      <p:to>
                                        <p:strVal val="visible"/>
                                      </p:to>
                                    </p:set>
                                    <p:animEffect transition="in" filter="fade">
                                      <p:cBhvr>
                                        <p:cTn id="112" dur="500"/>
                                        <p:tgtEl>
                                          <p:spTgt spid="36"/>
                                        </p:tgtEl>
                                      </p:cBhvr>
                                    </p:animEffect>
                                  </p:childTnLst>
                                </p:cTn>
                              </p:par>
                              <p:par>
                                <p:cTn id="113" presetID="10" presetClass="entr" presetSubtype="0" fill="hold" grpId="0" nodeType="withEffect">
                                  <p:stCondLst>
                                    <p:cond delay="0"/>
                                  </p:stCondLst>
                                  <p:childTnLst>
                                    <p:set>
                                      <p:cBhvr>
                                        <p:cTn id="114" dur="1" fill="hold">
                                          <p:stCondLst>
                                            <p:cond delay="0"/>
                                          </p:stCondLst>
                                        </p:cTn>
                                        <p:tgtEl>
                                          <p:spTgt spid="21"/>
                                        </p:tgtEl>
                                        <p:attrNameLst>
                                          <p:attrName>style.visibility</p:attrName>
                                        </p:attrNameLst>
                                      </p:cBhvr>
                                      <p:to>
                                        <p:strVal val="visible"/>
                                      </p:to>
                                    </p:set>
                                    <p:animEffect transition="in" filter="fade">
                                      <p:cBhvr>
                                        <p:cTn id="115" dur="500"/>
                                        <p:tgtEl>
                                          <p:spTgt spid="21"/>
                                        </p:tgtEl>
                                      </p:cBhvr>
                                    </p:animEffect>
                                  </p:childTnLst>
                                </p:cTn>
                              </p:par>
                              <p:par>
                                <p:cTn id="116" presetID="10" presetClass="entr" presetSubtype="0" fill="hold" grpId="0" nodeType="withEffect">
                                  <p:stCondLst>
                                    <p:cond delay="0"/>
                                  </p:stCondLst>
                                  <p:childTnLst>
                                    <p:set>
                                      <p:cBhvr>
                                        <p:cTn id="117" dur="1" fill="hold">
                                          <p:stCondLst>
                                            <p:cond delay="0"/>
                                          </p:stCondLst>
                                        </p:cTn>
                                        <p:tgtEl>
                                          <p:spTgt spid="46"/>
                                        </p:tgtEl>
                                        <p:attrNameLst>
                                          <p:attrName>style.visibility</p:attrName>
                                        </p:attrNameLst>
                                      </p:cBhvr>
                                      <p:to>
                                        <p:strVal val="visible"/>
                                      </p:to>
                                    </p:set>
                                    <p:animEffect transition="in" filter="fade">
                                      <p:cBhvr>
                                        <p:cTn id="118" dur="500"/>
                                        <p:tgtEl>
                                          <p:spTgt spid="46"/>
                                        </p:tgtEl>
                                      </p:cBhvr>
                                    </p:animEffect>
                                  </p:childTnLst>
                                </p:cTn>
                              </p:par>
                              <p:par>
                                <p:cTn id="119" presetID="10" presetClass="entr" presetSubtype="0" fill="hold" grpId="0" nodeType="withEffect">
                                  <p:stCondLst>
                                    <p:cond delay="0"/>
                                  </p:stCondLst>
                                  <p:childTnLst>
                                    <p:set>
                                      <p:cBhvr>
                                        <p:cTn id="120" dur="1" fill="hold">
                                          <p:stCondLst>
                                            <p:cond delay="0"/>
                                          </p:stCondLst>
                                        </p:cTn>
                                        <p:tgtEl>
                                          <p:spTgt spid="83"/>
                                        </p:tgtEl>
                                        <p:attrNameLst>
                                          <p:attrName>style.visibility</p:attrName>
                                        </p:attrNameLst>
                                      </p:cBhvr>
                                      <p:to>
                                        <p:strVal val="visible"/>
                                      </p:to>
                                    </p:set>
                                    <p:animEffect transition="in" filter="fade">
                                      <p:cBhvr>
                                        <p:cTn id="121" dur="500"/>
                                        <p:tgtEl>
                                          <p:spTgt spid="83"/>
                                        </p:tgtEl>
                                      </p:cBhvr>
                                    </p:animEffect>
                                  </p:childTnLst>
                                </p:cTn>
                              </p:par>
                              <p:par>
                                <p:cTn id="122" presetID="10" presetClass="entr" presetSubtype="0" fill="hold" grpId="0" nodeType="withEffect">
                                  <p:stCondLst>
                                    <p:cond delay="0"/>
                                  </p:stCondLst>
                                  <p:childTnLst>
                                    <p:set>
                                      <p:cBhvr>
                                        <p:cTn id="123" dur="1" fill="hold">
                                          <p:stCondLst>
                                            <p:cond delay="0"/>
                                          </p:stCondLst>
                                        </p:cTn>
                                        <p:tgtEl>
                                          <p:spTgt spid="27"/>
                                        </p:tgtEl>
                                        <p:attrNameLst>
                                          <p:attrName>style.visibility</p:attrName>
                                        </p:attrNameLst>
                                      </p:cBhvr>
                                      <p:to>
                                        <p:strVal val="visible"/>
                                      </p:to>
                                    </p:set>
                                    <p:animEffect transition="in" filter="fade">
                                      <p:cBhvr>
                                        <p:cTn id="124" dur="500"/>
                                        <p:tgtEl>
                                          <p:spTgt spid="27"/>
                                        </p:tgtEl>
                                      </p:cBhvr>
                                    </p:animEffect>
                                  </p:childTnLst>
                                </p:cTn>
                              </p:par>
                              <p:par>
                                <p:cTn id="125" presetID="10" presetClass="entr" presetSubtype="0" fill="hold" grpId="0" nodeType="withEffect">
                                  <p:stCondLst>
                                    <p:cond delay="0"/>
                                  </p:stCondLst>
                                  <p:childTnLst>
                                    <p:set>
                                      <p:cBhvr>
                                        <p:cTn id="126" dur="1" fill="hold">
                                          <p:stCondLst>
                                            <p:cond delay="0"/>
                                          </p:stCondLst>
                                        </p:cTn>
                                        <p:tgtEl>
                                          <p:spTgt spid="24"/>
                                        </p:tgtEl>
                                        <p:attrNameLst>
                                          <p:attrName>style.visibility</p:attrName>
                                        </p:attrNameLst>
                                      </p:cBhvr>
                                      <p:to>
                                        <p:strVal val="visible"/>
                                      </p:to>
                                    </p:set>
                                    <p:animEffect transition="in" filter="fade">
                                      <p:cBhvr>
                                        <p:cTn id="127" dur="500"/>
                                        <p:tgtEl>
                                          <p:spTgt spid="24"/>
                                        </p:tgtEl>
                                      </p:cBhvr>
                                    </p:animEffect>
                                  </p:childTnLst>
                                </p:cTn>
                              </p:par>
                            </p:childTnLst>
                          </p:cTn>
                        </p:par>
                        <p:par>
                          <p:cTn id="128" fill="hold">
                            <p:stCondLst>
                              <p:cond delay="2000"/>
                            </p:stCondLst>
                            <p:childTnLst>
                              <p:par>
                                <p:cTn id="129" presetID="10" presetClass="entr" presetSubtype="0" fill="hold" grpId="0" nodeType="afterEffect">
                                  <p:stCondLst>
                                    <p:cond delay="0"/>
                                  </p:stCondLst>
                                  <p:childTnLst>
                                    <p:set>
                                      <p:cBhvr>
                                        <p:cTn id="130" dur="1" fill="hold">
                                          <p:stCondLst>
                                            <p:cond delay="0"/>
                                          </p:stCondLst>
                                        </p:cTn>
                                        <p:tgtEl>
                                          <p:spTgt spid="39"/>
                                        </p:tgtEl>
                                        <p:attrNameLst>
                                          <p:attrName>style.visibility</p:attrName>
                                        </p:attrNameLst>
                                      </p:cBhvr>
                                      <p:to>
                                        <p:strVal val="visible"/>
                                      </p:to>
                                    </p:set>
                                    <p:animEffect transition="in" filter="fade">
                                      <p:cBhvr>
                                        <p:cTn id="131" dur="500"/>
                                        <p:tgtEl>
                                          <p:spTgt spid="39"/>
                                        </p:tgtEl>
                                      </p:cBhvr>
                                    </p:animEffect>
                                  </p:childTnLst>
                                </p:cTn>
                              </p:par>
                              <p:par>
                                <p:cTn id="132" presetID="10" presetClass="entr" presetSubtype="0" fill="hold" grpId="0" nodeType="withEffect">
                                  <p:stCondLst>
                                    <p:cond delay="0"/>
                                  </p:stCondLst>
                                  <p:childTnLst>
                                    <p:set>
                                      <p:cBhvr>
                                        <p:cTn id="133" dur="1" fill="hold">
                                          <p:stCondLst>
                                            <p:cond delay="0"/>
                                          </p:stCondLst>
                                        </p:cTn>
                                        <p:tgtEl>
                                          <p:spTgt spid="45"/>
                                        </p:tgtEl>
                                        <p:attrNameLst>
                                          <p:attrName>style.visibility</p:attrName>
                                        </p:attrNameLst>
                                      </p:cBhvr>
                                      <p:to>
                                        <p:strVal val="visible"/>
                                      </p:to>
                                    </p:set>
                                    <p:animEffect transition="in" filter="fade">
                                      <p:cBhvr>
                                        <p:cTn id="134" dur="500"/>
                                        <p:tgtEl>
                                          <p:spTgt spid="45"/>
                                        </p:tgtEl>
                                      </p:cBhvr>
                                    </p:animEffect>
                                  </p:childTnLst>
                                </p:cTn>
                              </p:par>
                              <p:par>
                                <p:cTn id="135" presetID="10" presetClass="entr" presetSubtype="0" fill="hold" grpId="0" nodeType="withEffect">
                                  <p:stCondLst>
                                    <p:cond delay="0"/>
                                  </p:stCondLst>
                                  <p:childTnLst>
                                    <p:set>
                                      <p:cBhvr>
                                        <p:cTn id="136" dur="1" fill="hold">
                                          <p:stCondLst>
                                            <p:cond delay="0"/>
                                          </p:stCondLst>
                                        </p:cTn>
                                        <p:tgtEl>
                                          <p:spTgt spid="55"/>
                                        </p:tgtEl>
                                        <p:attrNameLst>
                                          <p:attrName>style.visibility</p:attrName>
                                        </p:attrNameLst>
                                      </p:cBhvr>
                                      <p:to>
                                        <p:strVal val="visible"/>
                                      </p:to>
                                    </p:set>
                                    <p:animEffect transition="in" filter="fade">
                                      <p:cBhvr>
                                        <p:cTn id="137" dur="500"/>
                                        <p:tgtEl>
                                          <p:spTgt spid="55"/>
                                        </p:tgtEl>
                                      </p:cBhvr>
                                    </p:animEffect>
                                  </p:childTnLst>
                                </p:cTn>
                              </p:par>
                              <p:par>
                                <p:cTn id="138" presetID="10" presetClass="entr" presetSubtype="0" fill="hold" grpId="0" nodeType="withEffect">
                                  <p:stCondLst>
                                    <p:cond delay="0"/>
                                  </p:stCondLst>
                                  <p:childTnLst>
                                    <p:set>
                                      <p:cBhvr>
                                        <p:cTn id="139" dur="1" fill="hold">
                                          <p:stCondLst>
                                            <p:cond delay="0"/>
                                          </p:stCondLst>
                                        </p:cTn>
                                        <p:tgtEl>
                                          <p:spTgt spid="18"/>
                                        </p:tgtEl>
                                        <p:attrNameLst>
                                          <p:attrName>style.visibility</p:attrName>
                                        </p:attrNameLst>
                                      </p:cBhvr>
                                      <p:to>
                                        <p:strVal val="visible"/>
                                      </p:to>
                                    </p:set>
                                    <p:animEffect transition="in" filter="fade">
                                      <p:cBhvr>
                                        <p:cTn id="140" dur="500"/>
                                        <p:tgtEl>
                                          <p:spTgt spid="18"/>
                                        </p:tgtEl>
                                      </p:cBhvr>
                                    </p:animEffect>
                                  </p:childTnLst>
                                </p:cTn>
                              </p:par>
                              <p:par>
                                <p:cTn id="141" presetID="10" presetClass="entr" presetSubtype="0" fill="hold" grpId="0" nodeType="withEffect">
                                  <p:stCondLst>
                                    <p:cond delay="0"/>
                                  </p:stCondLst>
                                  <p:childTnLst>
                                    <p:set>
                                      <p:cBhvr>
                                        <p:cTn id="142" dur="1" fill="hold">
                                          <p:stCondLst>
                                            <p:cond delay="0"/>
                                          </p:stCondLst>
                                        </p:cTn>
                                        <p:tgtEl>
                                          <p:spTgt spid="32"/>
                                        </p:tgtEl>
                                        <p:attrNameLst>
                                          <p:attrName>style.visibility</p:attrName>
                                        </p:attrNameLst>
                                      </p:cBhvr>
                                      <p:to>
                                        <p:strVal val="visible"/>
                                      </p:to>
                                    </p:set>
                                    <p:animEffect transition="in" filter="fade">
                                      <p:cBhvr>
                                        <p:cTn id="143" dur="500"/>
                                        <p:tgtEl>
                                          <p:spTgt spid="32"/>
                                        </p:tgtEl>
                                      </p:cBhvr>
                                    </p:animEffect>
                                  </p:childTnLst>
                                </p:cTn>
                              </p:par>
                              <p:par>
                                <p:cTn id="144" presetID="10" presetClass="entr" presetSubtype="0" fill="hold" grpId="0" nodeType="withEffect">
                                  <p:stCondLst>
                                    <p:cond delay="0"/>
                                  </p:stCondLst>
                                  <p:childTnLst>
                                    <p:set>
                                      <p:cBhvr>
                                        <p:cTn id="145" dur="1" fill="hold">
                                          <p:stCondLst>
                                            <p:cond delay="0"/>
                                          </p:stCondLst>
                                        </p:cTn>
                                        <p:tgtEl>
                                          <p:spTgt spid="17"/>
                                        </p:tgtEl>
                                        <p:attrNameLst>
                                          <p:attrName>style.visibility</p:attrName>
                                        </p:attrNameLst>
                                      </p:cBhvr>
                                      <p:to>
                                        <p:strVal val="visible"/>
                                      </p:to>
                                    </p:set>
                                    <p:animEffect transition="in" filter="fade">
                                      <p:cBhvr>
                                        <p:cTn id="146" dur="500"/>
                                        <p:tgtEl>
                                          <p:spTgt spid="17"/>
                                        </p:tgtEl>
                                      </p:cBhvr>
                                    </p:animEffect>
                                  </p:childTnLst>
                                </p:cTn>
                              </p:par>
                              <p:par>
                                <p:cTn id="147" presetID="10" presetClass="entr" presetSubtype="0" fill="hold" grpId="0" nodeType="withEffect">
                                  <p:stCondLst>
                                    <p:cond delay="0"/>
                                  </p:stCondLst>
                                  <p:childTnLst>
                                    <p:set>
                                      <p:cBhvr>
                                        <p:cTn id="148" dur="1" fill="hold">
                                          <p:stCondLst>
                                            <p:cond delay="0"/>
                                          </p:stCondLst>
                                        </p:cTn>
                                        <p:tgtEl>
                                          <p:spTgt spid="25"/>
                                        </p:tgtEl>
                                        <p:attrNameLst>
                                          <p:attrName>style.visibility</p:attrName>
                                        </p:attrNameLst>
                                      </p:cBhvr>
                                      <p:to>
                                        <p:strVal val="visible"/>
                                      </p:to>
                                    </p:set>
                                    <p:animEffect transition="in" filter="fade">
                                      <p:cBhvr>
                                        <p:cTn id="149" dur="500"/>
                                        <p:tgtEl>
                                          <p:spTgt spid="25"/>
                                        </p:tgtEl>
                                      </p:cBhvr>
                                    </p:animEffect>
                                  </p:childTnLst>
                                </p:cTn>
                              </p:par>
                              <p:par>
                                <p:cTn id="150" presetID="10" presetClass="entr" presetSubtype="0" fill="hold" grpId="0" nodeType="withEffect">
                                  <p:stCondLst>
                                    <p:cond delay="0"/>
                                  </p:stCondLst>
                                  <p:childTnLst>
                                    <p:set>
                                      <p:cBhvr>
                                        <p:cTn id="151" dur="1" fill="hold">
                                          <p:stCondLst>
                                            <p:cond delay="0"/>
                                          </p:stCondLst>
                                        </p:cTn>
                                        <p:tgtEl>
                                          <p:spTgt spid="15"/>
                                        </p:tgtEl>
                                        <p:attrNameLst>
                                          <p:attrName>style.visibility</p:attrName>
                                        </p:attrNameLst>
                                      </p:cBhvr>
                                      <p:to>
                                        <p:strVal val="visible"/>
                                      </p:to>
                                    </p:set>
                                    <p:animEffect transition="in" filter="fade">
                                      <p:cBhvr>
                                        <p:cTn id="152" dur="500"/>
                                        <p:tgtEl>
                                          <p:spTgt spid="15"/>
                                        </p:tgtEl>
                                      </p:cBhvr>
                                    </p:animEffect>
                                  </p:childTnLst>
                                </p:cTn>
                              </p:par>
                              <p:par>
                                <p:cTn id="153" presetID="10" presetClass="entr" presetSubtype="0" fill="hold" grpId="0" nodeType="withEffect">
                                  <p:stCondLst>
                                    <p:cond delay="0"/>
                                  </p:stCondLst>
                                  <p:childTnLst>
                                    <p:set>
                                      <p:cBhvr>
                                        <p:cTn id="154" dur="1" fill="hold">
                                          <p:stCondLst>
                                            <p:cond delay="0"/>
                                          </p:stCondLst>
                                        </p:cTn>
                                        <p:tgtEl>
                                          <p:spTgt spid="5"/>
                                        </p:tgtEl>
                                        <p:attrNameLst>
                                          <p:attrName>style.visibility</p:attrName>
                                        </p:attrNameLst>
                                      </p:cBhvr>
                                      <p:to>
                                        <p:strVal val="visible"/>
                                      </p:to>
                                    </p:set>
                                    <p:animEffect transition="in" filter="fade">
                                      <p:cBhvr>
                                        <p:cTn id="155" dur="500"/>
                                        <p:tgtEl>
                                          <p:spTgt spid="5"/>
                                        </p:tgtEl>
                                      </p:cBhvr>
                                    </p:animEffect>
                                  </p:childTnLst>
                                </p:cTn>
                              </p:par>
                              <p:par>
                                <p:cTn id="156" presetID="10" presetClass="entr" presetSubtype="0" fill="hold" grpId="0" nodeType="withEffect">
                                  <p:stCondLst>
                                    <p:cond delay="0"/>
                                  </p:stCondLst>
                                  <p:childTnLst>
                                    <p:set>
                                      <p:cBhvr>
                                        <p:cTn id="157" dur="1" fill="hold">
                                          <p:stCondLst>
                                            <p:cond delay="0"/>
                                          </p:stCondLst>
                                        </p:cTn>
                                        <p:tgtEl>
                                          <p:spTgt spid="82"/>
                                        </p:tgtEl>
                                        <p:attrNameLst>
                                          <p:attrName>style.visibility</p:attrName>
                                        </p:attrNameLst>
                                      </p:cBhvr>
                                      <p:to>
                                        <p:strVal val="visible"/>
                                      </p:to>
                                    </p:set>
                                    <p:animEffect transition="in" filter="fade">
                                      <p:cBhvr>
                                        <p:cTn id="158" dur="500"/>
                                        <p:tgtEl>
                                          <p:spTgt spid="82"/>
                                        </p:tgtEl>
                                      </p:cBhvr>
                                    </p:animEffect>
                                  </p:childTnLst>
                                </p:cTn>
                              </p:par>
                              <p:par>
                                <p:cTn id="159" presetID="10" presetClass="entr" presetSubtype="0" fill="hold" grpId="0" nodeType="withEffect">
                                  <p:stCondLst>
                                    <p:cond delay="0"/>
                                  </p:stCondLst>
                                  <p:childTnLst>
                                    <p:set>
                                      <p:cBhvr>
                                        <p:cTn id="160" dur="1" fill="hold">
                                          <p:stCondLst>
                                            <p:cond delay="0"/>
                                          </p:stCondLst>
                                        </p:cTn>
                                        <p:tgtEl>
                                          <p:spTgt spid="23"/>
                                        </p:tgtEl>
                                        <p:attrNameLst>
                                          <p:attrName>style.visibility</p:attrName>
                                        </p:attrNameLst>
                                      </p:cBhvr>
                                      <p:to>
                                        <p:strVal val="visible"/>
                                      </p:to>
                                    </p:set>
                                    <p:animEffect transition="in" filter="fade">
                                      <p:cBhvr>
                                        <p:cTn id="161" dur="500"/>
                                        <p:tgtEl>
                                          <p:spTgt spid="23"/>
                                        </p:tgtEl>
                                      </p:cBhvr>
                                    </p:animEffect>
                                  </p:childTnLst>
                                </p:cTn>
                              </p:par>
                            </p:childTnLst>
                          </p:cTn>
                        </p:par>
                        <p:par>
                          <p:cTn id="162" fill="hold">
                            <p:stCondLst>
                              <p:cond delay="2500"/>
                            </p:stCondLst>
                            <p:childTnLst>
                              <p:par>
                                <p:cTn id="163" presetID="10" presetClass="entr" presetSubtype="0" fill="hold" grpId="0" nodeType="afterEffect">
                                  <p:stCondLst>
                                    <p:cond delay="0"/>
                                  </p:stCondLst>
                                  <p:childTnLst>
                                    <p:set>
                                      <p:cBhvr>
                                        <p:cTn id="164" dur="1" fill="hold">
                                          <p:stCondLst>
                                            <p:cond delay="0"/>
                                          </p:stCondLst>
                                        </p:cTn>
                                        <p:tgtEl>
                                          <p:spTgt spid="28"/>
                                        </p:tgtEl>
                                        <p:attrNameLst>
                                          <p:attrName>style.visibility</p:attrName>
                                        </p:attrNameLst>
                                      </p:cBhvr>
                                      <p:to>
                                        <p:strVal val="visible"/>
                                      </p:to>
                                    </p:set>
                                    <p:animEffect transition="in" filter="fade">
                                      <p:cBhvr>
                                        <p:cTn id="165" dur="500"/>
                                        <p:tgtEl>
                                          <p:spTgt spid="28"/>
                                        </p:tgtEl>
                                      </p:cBhvr>
                                    </p:animEffect>
                                  </p:childTnLst>
                                </p:cTn>
                              </p:par>
                              <p:par>
                                <p:cTn id="166" presetID="10" presetClass="entr" presetSubtype="0" fill="hold" grpId="0" nodeType="withEffect">
                                  <p:stCondLst>
                                    <p:cond delay="0"/>
                                  </p:stCondLst>
                                  <p:childTnLst>
                                    <p:set>
                                      <p:cBhvr>
                                        <p:cTn id="167" dur="1" fill="hold">
                                          <p:stCondLst>
                                            <p:cond delay="0"/>
                                          </p:stCondLst>
                                        </p:cTn>
                                        <p:tgtEl>
                                          <p:spTgt spid="19"/>
                                        </p:tgtEl>
                                        <p:attrNameLst>
                                          <p:attrName>style.visibility</p:attrName>
                                        </p:attrNameLst>
                                      </p:cBhvr>
                                      <p:to>
                                        <p:strVal val="visible"/>
                                      </p:to>
                                    </p:set>
                                    <p:animEffect transition="in" filter="fade">
                                      <p:cBhvr>
                                        <p:cTn id="168" dur="500"/>
                                        <p:tgtEl>
                                          <p:spTgt spid="19"/>
                                        </p:tgtEl>
                                      </p:cBhvr>
                                    </p:animEffect>
                                  </p:childTnLst>
                                </p:cTn>
                              </p:par>
                              <p:par>
                                <p:cTn id="169" presetID="10" presetClass="entr" presetSubtype="0" fill="hold" grpId="0" nodeType="withEffect">
                                  <p:stCondLst>
                                    <p:cond delay="0"/>
                                  </p:stCondLst>
                                  <p:childTnLst>
                                    <p:set>
                                      <p:cBhvr>
                                        <p:cTn id="170" dur="1" fill="hold">
                                          <p:stCondLst>
                                            <p:cond delay="0"/>
                                          </p:stCondLst>
                                        </p:cTn>
                                        <p:tgtEl>
                                          <p:spTgt spid="20"/>
                                        </p:tgtEl>
                                        <p:attrNameLst>
                                          <p:attrName>style.visibility</p:attrName>
                                        </p:attrNameLst>
                                      </p:cBhvr>
                                      <p:to>
                                        <p:strVal val="visible"/>
                                      </p:to>
                                    </p:set>
                                    <p:animEffect transition="in" filter="fade">
                                      <p:cBhvr>
                                        <p:cTn id="171" dur="500"/>
                                        <p:tgtEl>
                                          <p:spTgt spid="20"/>
                                        </p:tgtEl>
                                      </p:cBhvr>
                                    </p:animEffect>
                                  </p:childTnLst>
                                </p:cTn>
                              </p:par>
                              <p:par>
                                <p:cTn id="172" presetID="10" presetClass="entr" presetSubtype="0" fill="hold" grpId="0" nodeType="withEffect">
                                  <p:stCondLst>
                                    <p:cond delay="0"/>
                                  </p:stCondLst>
                                  <p:childTnLst>
                                    <p:set>
                                      <p:cBhvr>
                                        <p:cTn id="173" dur="1" fill="hold">
                                          <p:stCondLst>
                                            <p:cond delay="0"/>
                                          </p:stCondLst>
                                        </p:cTn>
                                        <p:tgtEl>
                                          <p:spTgt spid="3"/>
                                        </p:tgtEl>
                                        <p:attrNameLst>
                                          <p:attrName>style.visibility</p:attrName>
                                        </p:attrNameLst>
                                      </p:cBhvr>
                                      <p:to>
                                        <p:strVal val="visible"/>
                                      </p:to>
                                    </p:set>
                                    <p:animEffect transition="in" filter="fade">
                                      <p:cBhvr>
                                        <p:cTn id="174" dur="500"/>
                                        <p:tgtEl>
                                          <p:spTgt spid="3"/>
                                        </p:tgtEl>
                                      </p:cBhvr>
                                    </p:animEffect>
                                  </p:childTnLst>
                                </p:cTn>
                              </p:par>
                              <p:par>
                                <p:cTn id="175" presetID="10" presetClass="entr" presetSubtype="0" fill="hold" grpId="0" nodeType="withEffect">
                                  <p:stCondLst>
                                    <p:cond delay="0"/>
                                  </p:stCondLst>
                                  <p:childTnLst>
                                    <p:set>
                                      <p:cBhvr>
                                        <p:cTn id="176" dur="1" fill="hold">
                                          <p:stCondLst>
                                            <p:cond delay="0"/>
                                          </p:stCondLst>
                                        </p:cTn>
                                        <p:tgtEl>
                                          <p:spTgt spid="43"/>
                                        </p:tgtEl>
                                        <p:attrNameLst>
                                          <p:attrName>style.visibility</p:attrName>
                                        </p:attrNameLst>
                                      </p:cBhvr>
                                      <p:to>
                                        <p:strVal val="visible"/>
                                      </p:to>
                                    </p:set>
                                    <p:animEffect transition="in" filter="fade">
                                      <p:cBhvr>
                                        <p:cTn id="177" dur="500"/>
                                        <p:tgtEl>
                                          <p:spTgt spid="43"/>
                                        </p:tgtEl>
                                      </p:cBhvr>
                                    </p:animEffect>
                                  </p:childTnLst>
                                </p:cTn>
                              </p:par>
                              <p:par>
                                <p:cTn id="178" presetID="10" presetClass="entr" presetSubtype="0" fill="hold" grpId="0" nodeType="withEffect">
                                  <p:stCondLst>
                                    <p:cond delay="0"/>
                                  </p:stCondLst>
                                  <p:childTnLst>
                                    <p:set>
                                      <p:cBhvr>
                                        <p:cTn id="179" dur="1" fill="hold">
                                          <p:stCondLst>
                                            <p:cond delay="0"/>
                                          </p:stCondLst>
                                        </p:cTn>
                                        <p:tgtEl>
                                          <p:spTgt spid="22"/>
                                        </p:tgtEl>
                                        <p:attrNameLst>
                                          <p:attrName>style.visibility</p:attrName>
                                        </p:attrNameLst>
                                      </p:cBhvr>
                                      <p:to>
                                        <p:strVal val="visible"/>
                                      </p:to>
                                    </p:set>
                                    <p:animEffect transition="in" filter="fade">
                                      <p:cBhvr>
                                        <p:cTn id="180" dur="500"/>
                                        <p:tgtEl>
                                          <p:spTgt spid="22"/>
                                        </p:tgtEl>
                                      </p:cBhvr>
                                    </p:animEffect>
                                  </p:childTnLst>
                                </p:cTn>
                              </p:par>
                              <p:par>
                                <p:cTn id="181" presetID="10" presetClass="entr" presetSubtype="0" fill="hold" grpId="0" nodeType="withEffect">
                                  <p:stCondLst>
                                    <p:cond delay="0"/>
                                  </p:stCondLst>
                                  <p:childTnLst>
                                    <p:set>
                                      <p:cBhvr>
                                        <p:cTn id="182" dur="1" fill="hold">
                                          <p:stCondLst>
                                            <p:cond delay="0"/>
                                          </p:stCondLst>
                                        </p:cTn>
                                        <p:tgtEl>
                                          <p:spTgt spid="14"/>
                                        </p:tgtEl>
                                        <p:attrNameLst>
                                          <p:attrName>style.visibility</p:attrName>
                                        </p:attrNameLst>
                                      </p:cBhvr>
                                      <p:to>
                                        <p:strVal val="visible"/>
                                      </p:to>
                                    </p:set>
                                    <p:animEffect transition="in" filter="fade">
                                      <p:cBhvr>
                                        <p:cTn id="183" dur="500"/>
                                        <p:tgtEl>
                                          <p:spTgt spid="14"/>
                                        </p:tgtEl>
                                      </p:cBhvr>
                                    </p:animEffect>
                                  </p:childTnLst>
                                </p:cTn>
                              </p:par>
                              <p:par>
                                <p:cTn id="184" presetID="10" presetClass="entr" presetSubtype="0" fill="hold" grpId="0" nodeType="withEffect">
                                  <p:stCondLst>
                                    <p:cond delay="0"/>
                                  </p:stCondLst>
                                  <p:childTnLst>
                                    <p:set>
                                      <p:cBhvr>
                                        <p:cTn id="185" dur="1" fill="hold">
                                          <p:stCondLst>
                                            <p:cond delay="0"/>
                                          </p:stCondLst>
                                        </p:cTn>
                                        <p:tgtEl>
                                          <p:spTgt spid="44"/>
                                        </p:tgtEl>
                                        <p:attrNameLst>
                                          <p:attrName>style.visibility</p:attrName>
                                        </p:attrNameLst>
                                      </p:cBhvr>
                                      <p:to>
                                        <p:strVal val="visible"/>
                                      </p:to>
                                    </p:set>
                                    <p:animEffect transition="in" filter="fade">
                                      <p:cBhvr>
                                        <p:cTn id="186" dur="500"/>
                                        <p:tgtEl>
                                          <p:spTgt spid="44"/>
                                        </p:tgtEl>
                                      </p:cBhvr>
                                    </p:animEffect>
                                  </p:childTnLst>
                                </p:cTn>
                              </p:par>
                              <p:par>
                                <p:cTn id="187" presetID="10" presetClass="entr" presetSubtype="0" fill="hold" grpId="0" nodeType="withEffect">
                                  <p:stCondLst>
                                    <p:cond delay="0"/>
                                  </p:stCondLst>
                                  <p:childTnLst>
                                    <p:set>
                                      <p:cBhvr>
                                        <p:cTn id="188" dur="1" fill="hold">
                                          <p:stCondLst>
                                            <p:cond delay="0"/>
                                          </p:stCondLst>
                                        </p:cTn>
                                        <p:tgtEl>
                                          <p:spTgt spid="85"/>
                                        </p:tgtEl>
                                        <p:attrNameLst>
                                          <p:attrName>style.visibility</p:attrName>
                                        </p:attrNameLst>
                                      </p:cBhvr>
                                      <p:to>
                                        <p:strVal val="visible"/>
                                      </p:to>
                                    </p:set>
                                    <p:animEffect transition="in" filter="fade">
                                      <p:cBhvr>
                                        <p:cTn id="189" dur="500"/>
                                        <p:tgtEl>
                                          <p:spTgt spid="85"/>
                                        </p:tgtEl>
                                      </p:cBhvr>
                                    </p:animEffect>
                                  </p:childTnLst>
                                </p:cTn>
                              </p:par>
                              <p:par>
                                <p:cTn id="190" presetID="10" presetClass="entr" presetSubtype="0" fill="hold" grpId="0" nodeType="withEffect">
                                  <p:stCondLst>
                                    <p:cond delay="0"/>
                                  </p:stCondLst>
                                  <p:childTnLst>
                                    <p:set>
                                      <p:cBhvr>
                                        <p:cTn id="191" dur="1" fill="hold">
                                          <p:stCondLst>
                                            <p:cond delay="0"/>
                                          </p:stCondLst>
                                        </p:cTn>
                                        <p:tgtEl>
                                          <p:spTgt spid="42"/>
                                        </p:tgtEl>
                                        <p:attrNameLst>
                                          <p:attrName>style.visibility</p:attrName>
                                        </p:attrNameLst>
                                      </p:cBhvr>
                                      <p:to>
                                        <p:strVal val="visible"/>
                                      </p:to>
                                    </p:set>
                                    <p:animEffect transition="in" filter="fade">
                                      <p:cBhvr>
                                        <p:cTn id="192" dur="500"/>
                                        <p:tgtEl>
                                          <p:spTgt spid="42"/>
                                        </p:tgtEl>
                                      </p:cBhvr>
                                    </p:animEffect>
                                  </p:childTnLst>
                                </p:cTn>
                              </p:par>
                            </p:childTnLst>
                          </p:cTn>
                        </p:par>
                        <p:par>
                          <p:cTn id="193" fill="hold">
                            <p:stCondLst>
                              <p:cond delay="3000"/>
                            </p:stCondLst>
                            <p:childTnLst>
                              <p:par>
                                <p:cTn id="194" presetID="10" presetClass="entr" presetSubtype="0" fill="hold" nodeType="afterEffect">
                                  <p:stCondLst>
                                    <p:cond delay="0"/>
                                  </p:stCondLst>
                                  <p:childTnLst>
                                    <p:set>
                                      <p:cBhvr>
                                        <p:cTn id="195" dur="1" fill="hold">
                                          <p:stCondLst>
                                            <p:cond delay="0"/>
                                          </p:stCondLst>
                                        </p:cTn>
                                        <p:tgtEl>
                                          <p:spTgt spid="71"/>
                                        </p:tgtEl>
                                        <p:attrNameLst>
                                          <p:attrName>style.visibility</p:attrName>
                                        </p:attrNameLst>
                                      </p:cBhvr>
                                      <p:to>
                                        <p:strVal val="visible"/>
                                      </p:to>
                                    </p:set>
                                    <p:animEffect transition="in" filter="fade">
                                      <p:cBhvr>
                                        <p:cTn id="196" dur="500"/>
                                        <p:tgtEl>
                                          <p:spTgt spid="71"/>
                                        </p:tgtEl>
                                      </p:cBhvr>
                                    </p:animEffect>
                                  </p:childTnLst>
                                </p:cTn>
                              </p:par>
                              <p:par>
                                <p:cTn id="197" presetID="10" presetClass="entr" presetSubtype="0" fill="hold" nodeType="withEffect">
                                  <p:stCondLst>
                                    <p:cond delay="0"/>
                                  </p:stCondLst>
                                  <p:childTnLst>
                                    <p:set>
                                      <p:cBhvr>
                                        <p:cTn id="198" dur="1" fill="hold">
                                          <p:stCondLst>
                                            <p:cond delay="0"/>
                                          </p:stCondLst>
                                        </p:cTn>
                                        <p:tgtEl>
                                          <p:spTgt spid="76"/>
                                        </p:tgtEl>
                                        <p:attrNameLst>
                                          <p:attrName>style.visibility</p:attrName>
                                        </p:attrNameLst>
                                      </p:cBhvr>
                                      <p:to>
                                        <p:strVal val="visible"/>
                                      </p:to>
                                    </p:set>
                                    <p:animEffect transition="in" filter="fade">
                                      <p:cBhvr>
                                        <p:cTn id="199" dur="500"/>
                                        <p:tgtEl>
                                          <p:spTgt spid="76"/>
                                        </p:tgtEl>
                                      </p:cBhvr>
                                    </p:animEffect>
                                  </p:childTnLst>
                                </p:cTn>
                              </p:par>
                              <p:par>
                                <p:cTn id="200" presetID="10" presetClass="entr" presetSubtype="0" fill="hold" grpId="0" nodeType="withEffect">
                                  <p:stCondLst>
                                    <p:cond delay="0"/>
                                  </p:stCondLst>
                                  <p:childTnLst>
                                    <p:set>
                                      <p:cBhvr>
                                        <p:cTn id="201" dur="1" fill="hold">
                                          <p:stCondLst>
                                            <p:cond delay="0"/>
                                          </p:stCondLst>
                                        </p:cTn>
                                        <p:tgtEl>
                                          <p:spTgt spid="67"/>
                                        </p:tgtEl>
                                        <p:attrNameLst>
                                          <p:attrName>style.visibility</p:attrName>
                                        </p:attrNameLst>
                                      </p:cBhvr>
                                      <p:to>
                                        <p:strVal val="visible"/>
                                      </p:to>
                                    </p:set>
                                    <p:animEffect transition="in" filter="fade">
                                      <p:cBhvr>
                                        <p:cTn id="202" dur="500"/>
                                        <p:tgtEl>
                                          <p:spTgt spid="67"/>
                                        </p:tgtEl>
                                      </p:cBhvr>
                                    </p:animEffect>
                                  </p:childTnLst>
                                </p:cTn>
                              </p:par>
                              <p:par>
                                <p:cTn id="203" presetID="10" presetClass="entr" presetSubtype="0" fill="hold" nodeType="withEffect">
                                  <p:stCondLst>
                                    <p:cond delay="0"/>
                                  </p:stCondLst>
                                  <p:childTnLst>
                                    <p:set>
                                      <p:cBhvr>
                                        <p:cTn id="204" dur="1" fill="hold">
                                          <p:stCondLst>
                                            <p:cond delay="0"/>
                                          </p:stCondLst>
                                        </p:cTn>
                                        <p:tgtEl>
                                          <p:spTgt spid="68"/>
                                        </p:tgtEl>
                                        <p:attrNameLst>
                                          <p:attrName>style.visibility</p:attrName>
                                        </p:attrNameLst>
                                      </p:cBhvr>
                                      <p:to>
                                        <p:strVal val="visible"/>
                                      </p:to>
                                    </p:set>
                                    <p:animEffect transition="in" filter="fade">
                                      <p:cBhvr>
                                        <p:cTn id="205" dur="500"/>
                                        <p:tgtEl>
                                          <p:spTgt spid="68"/>
                                        </p:tgtEl>
                                      </p:cBhvr>
                                    </p:animEffect>
                                  </p:childTnLst>
                                </p:cTn>
                              </p:par>
                            </p:childTnLst>
                          </p:cTn>
                        </p:par>
                        <p:par>
                          <p:cTn id="206" fill="hold">
                            <p:stCondLst>
                              <p:cond delay="3500"/>
                            </p:stCondLst>
                            <p:childTnLst>
                              <p:par>
                                <p:cTn id="207" presetID="10" presetClass="entr" presetSubtype="0" fill="hold" grpId="0" nodeType="afterEffect">
                                  <p:stCondLst>
                                    <p:cond delay="0"/>
                                  </p:stCondLst>
                                  <p:childTnLst>
                                    <p:set>
                                      <p:cBhvr>
                                        <p:cTn id="208" dur="1" fill="hold">
                                          <p:stCondLst>
                                            <p:cond delay="0"/>
                                          </p:stCondLst>
                                        </p:cTn>
                                        <p:tgtEl>
                                          <p:spTgt spid="62"/>
                                        </p:tgtEl>
                                        <p:attrNameLst>
                                          <p:attrName>style.visibility</p:attrName>
                                        </p:attrNameLst>
                                      </p:cBhvr>
                                      <p:to>
                                        <p:strVal val="visible"/>
                                      </p:to>
                                    </p:set>
                                    <p:animEffect transition="in" filter="fade">
                                      <p:cBhvr>
                                        <p:cTn id="209" dur="500"/>
                                        <p:tgtEl>
                                          <p:spTgt spid="62"/>
                                        </p:tgtEl>
                                      </p:cBhvr>
                                    </p:animEffect>
                                  </p:childTnLst>
                                </p:cTn>
                              </p:par>
                              <p:par>
                                <p:cTn id="210" presetID="10" presetClass="entr" presetSubtype="0" fill="hold" grpId="0" nodeType="withEffect">
                                  <p:stCondLst>
                                    <p:cond delay="0"/>
                                  </p:stCondLst>
                                  <p:childTnLst>
                                    <p:set>
                                      <p:cBhvr>
                                        <p:cTn id="211" dur="1" fill="hold">
                                          <p:stCondLst>
                                            <p:cond delay="0"/>
                                          </p:stCondLst>
                                        </p:cTn>
                                        <p:tgtEl>
                                          <p:spTgt spid="61"/>
                                        </p:tgtEl>
                                        <p:attrNameLst>
                                          <p:attrName>style.visibility</p:attrName>
                                        </p:attrNameLst>
                                      </p:cBhvr>
                                      <p:to>
                                        <p:strVal val="visible"/>
                                      </p:to>
                                    </p:set>
                                    <p:animEffect transition="in" filter="fade">
                                      <p:cBhvr>
                                        <p:cTn id="212" dur="500"/>
                                        <p:tgtEl>
                                          <p:spTgt spid="61"/>
                                        </p:tgtEl>
                                      </p:cBhvr>
                                    </p:animEffect>
                                  </p:childTnLst>
                                </p:cTn>
                              </p:par>
                              <p:par>
                                <p:cTn id="213" presetID="10" presetClass="entr" presetSubtype="0" fill="hold" grpId="0" nodeType="withEffect">
                                  <p:stCondLst>
                                    <p:cond delay="0"/>
                                  </p:stCondLst>
                                  <p:childTnLst>
                                    <p:set>
                                      <p:cBhvr>
                                        <p:cTn id="214" dur="1" fill="hold">
                                          <p:stCondLst>
                                            <p:cond delay="0"/>
                                          </p:stCondLst>
                                        </p:cTn>
                                        <p:tgtEl>
                                          <p:spTgt spid="66"/>
                                        </p:tgtEl>
                                        <p:attrNameLst>
                                          <p:attrName>style.visibility</p:attrName>
                                        </p:attrNameLst>
                                      </p:cBhvr>
                                      <p:to>
                                        <p:strVal val="visible"/>
                                      </p:to>
                                    </p:set>
                                    <p:animEffect transition="in" filter="fade">
                                      <p:cBhvr>
                                        <p:cTn id="215" dur="500"/>
                                        <p:tgtEl>
                                          <p:spTgt spid="66"/>
                                        </p:tgtEl>
                                      </p:cBhvr>
                                    </p:animEffect>
                                  </p:childTnLst>
                                </p:cTn>
                              </p:par>
                              <p:par>
                                <p:cTn id="216" presetID="10" presetClass="entr" presetSubtype="0" fill="hold" grpId="0" nodeType="withEffect">
                                  <p:stCondLst>
                                    <p:cond delay="0"/>
                                  </p:stCondLst>
                                  <p:childTnLst>
                                    <p:set>
                                      <p:cBhvr>
                                        <p:cTn id="217" dur="1" fill="hold">
                                          <p:stCondLst>
                                            <p:cond delay="0"/>
                                          </p:stCondLst>
                                        </p:cTn>
                                        <p:tgtEl>
                                          <p:spTgt spid="65"/>
                                        </p:tgtEl>
                                        <p:attrNameLst>
                                          <p:attrName>style.visibility</p:attrName>
                                        </p:attrNameLst>
                                      </p:cBhvr>
                                      <p:to>
                                        <p:strVal val="visible"/>
                                      </p:to>
                                    </p:set>
                                    <p:animEffect transition="in" filter="fade">
                                      <p:cBhvr>
                                        <p:cTn id="218" dur="500"/>
                                        <p:tgtEl>
                                          <p:spTgt spid="65"/>
                                        </p:tgtEl>
                                      </p:cBhvr>
                                    </p:animEffect>
                                  </p:childTnLst>
                                </p:cTn>
                              </p:par>
                              <p:par>
                                <p:cTn id="219" presetID="10" presetClass="entr" presetSubtype="0" fill="hold" grpId="0" nodeType="withEffect">
                                  <p:stCondLst>
                                    <p:cond delay="0"/>
                                  </p:stCondLst>
                                  <p:childTnLst>
                                    <p:set>
                                      <p:cBhvr>
                                        <p:cTn id="220" dur="1" fill="hold">
                                          <p:stCondLst>
                                            <p:cond delay="0"/>
                                          </p:stCondLst>
                                        </p:cTn>
                                        <p:tgtEl>
                                          <p:spTgt spid="60"/>
                                        </p:tgtEl>
                                        <p:attrNameLst>
                                          <p:attrName>style.visibility</p:attrName>
                                        </p:attrNameLst>
                                      </p:cBhvr>
                                      <p:to>
                                        <p:strVal val="visible"/>
                                      </p:to>
                                    </p:set>
                                    <p:animEffect transition="in" filter="fade">
                                      <p:cBhvr>
                                        <p:cTn id="221" dur="500"/>
                                        <p:tgtEl>
                                          <p:spTgt spid="60"/>
                                        </p:tgtEl>
                                      </p:cBhvr>
                                    </p:animEffect>
                                  </p:childTnLst>
                                </p:cTn>
                              </p:par>
                              <p:par>
                                <p:cTn id="222" presetID="10" presetClass="entr" presetSubtype="0" fill="hold" grpId="0" nodeType="withEffect">
                                  <p:stCondLst>
                                    <p:cond delay="0"/>
                                  </p:stCondLst>
                                  <p:childTnLst>
                                    <p:set>
                                      <p:cBhvr>
                                        <p:cTn id="223" dur="1" fill="hold">
                                          <p:stCondLst>
                                            <p:cond delay="0"/>
                                          </p:stCondLst>
                                        </p:cTn>
                                        <p:tgtEl>
                                          <p:spTgt spid="59"/>
                                        </p:tgtEl>
                                        <p:attrNameLst>
                                          <p:attrName>style.visibility</p:attrName>
                                        </p:attrNameLst>
                                      </p:cBhvr>
                                      <p:to>
                                        <p:strVal val="visible"/>
                                      </p:to>
                                    </p:set>
                                    <p:animEffect transition="in" filter="fade">
                                      <p:cBhvr>
                                        <p:cTn id="224" dur="500"/>
                                        <p:tgtEl>
                                          <p:spTgt spid="59"/>
                                        </p:tgtEl>
                                      </p:cBhvr>
                                    </p:animEffect>
                                  </p:childTnLst>
                                </p:cTn>
                              </p:par>
                              <p:par>
                                <p:cTn id="225" presetID="10" presetClass="entr" presetSubtype="0" fill="hold" grpId="0" nodeType="withEffect">
                                  <p:stCondLst>
                                    <p:cond delay="0"/>
                                  </p:stCondLst>
                                  <p:childTnLst>
                                    <p:set>
                                      <p:cBhvr>
                                        <p:cTn id="226" dur="1" fill="hold">
                                          <p:stCondLst>
                                            <p:cond delay="0"/>
                                          </p:stCondLst>
                                        </p:cTn>
                                        <p:tgtEl>
                                          <p:spTgt spid="64"/>
                                        </p:tgtEl>
                                        <p:attrNameLst>
                                          <p:attrName>style.visibility</p:attrName>
                                        </p:attrNameLst>
                                      </p:cBhvr>
                                      <p:to>
                                        <p:strVal val="visible"/>
                                      </p:to>
                                    </p:set>
                                    <p:animEffect transition="in" filter="fade">
                                      <p:cBhvr>
                                        <p:cTn id="227" dur="500"/>
                                        <p:tgtEl>
                                          <p:spTgt spid="64"/>
                                        </p:tgtEl>
                                      </p:cBhvr>
                                    </p:animEffect>
                                  </p:childTnLst>
                                </p:cTn>
                              </p:par>
                              <p:par>
                                <p:cTn id="228" presetID="10" presetClass="entr" presetSubtype="0" fill="hold" grpId="0" nodeType="withEffect">
                                  <p:stCondLst>
                                    <p:cond delay="0"/>
                                  </p:stCondLst>
                                  <p:childTnLst>
                                    <p:set>
                                      <p:cBhvr>
                                        <p:cTn id="229" dur="1" fill="hold">
                                          <p:stCondLst>
                                            <p:cond delay="0"/>
                                          </p:stCondLst>
                                        </p:cTn>
                                        <p:tgtEl>
                                          <p:spTgt spid="63"/>
                                        </p:tgtEl>
                                        <p:attrNameLst>
                                          <p:attrName>style.visibility</p:attrName>
                                        </p:attrNameLst>
                                      </p:cBhvr>
                                      <p:to>
                                        <p:strVal val="visible"/>
                                      </p:to>
                                    </p:set>
                                    <p:animEffect transition="in" filter="fade">
                                      <p:cBhvr>
                                        <p:cTn id="230" dur="500"/>
                                        <p:tgtEl>
                                          <p:spTgt spid="6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animBg="1"/>
      <p:bldP spid="4" grpId="0" animBg="1"/>
      <p:bldP spid="5" grpId="0" animBg="1"/>
      <p:bldP spid="6" grpId="0" animBg="1"/>
      <p:bldP spid="7" grpId="0" animBg="1"/>
      <p:bldP spid="8" grpId="0" animBg="1"/>
      <p:bldP spid="9" grpId="0" animBg="1"/>
      <p:bldP spid="10"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26" grpId="0" animBg="1"/>
      <p:bldP spid="27" grpId="0" animBg="1"/>
      <p:bldP spid="28" grpId="0" animBg="1"/>
      <p:bldP spid="29" grpId="0" animBg="1"/>
      <p:bldP spid="30" grpId="0" animBg="1"/>
      <p:bldP spid="31" grpId="0" animBg="1"/>
      <p:bldP spid="32" grpId="0" animBg="1"/>
      <p:bldP spid="33" grpId="0" animBg="1"/>
      <p:bldP spid="34" grpId="0" animBg="1"/>
      <p:bldP spid="35" grpId="0" animBg="1"/>
      <p:bldP spid="36" grpId="0" animBg="1"/>
      <p:bldP spid="37" grpId="0" animBg="1"/>
      <p:bldP spid="38" grpId="0" animBg="1"/>
      <p:bldP spid="39" grpId="0" animBg="1"/>
      <p:bldP spid="40" grpId="0" animBg="1"/>
      <p:bldP spid="41" grpId="0" animBg="1"/>
      <p:bldP spid="42" grpId="0" animBg="1"/>
      <p:bldP spid="43" grpId="0" animBg="1"/>
      <p:bldP spid="44" grpId="0" animBg="1"/>
      <p:bldP spid="45" grpId="0" animBg="1"/>
      <p:bldP spid="46" grpId="0" animBg="1"/>
      <p:bldP spid="47" grpId="0" animBg="1"/>
      <p:bldP spid="48" grpId="0" animBg="1"/>
      <p:bldP spid="49" grpId="0" animBg="1"/>
      <p:bldP spid="50" grpId="0" animBg="1"/>
      <p:bldP spid="51" grpId="0" animBg="1"/>
      <p:bldP spid="52" grpId="0" animBg="1"/>
      <p:bldP spid="53" grpId="0" animBg="1"/>
      <p:bldP spid="54" grpId="0" animBg="1"/>
      <p:bldP spid="55" grpId="0"/>
      <p:bldP spid="57" grpId="0"/>
      <p:bldP spid="58" grpId="0"/>
      <p:bldP spid="59" grpId="0"/>
      <p:bldP spid="60" grpId="0"/>
      <p:bldP spid="61" grpId="0"/>
      <p:bldP spid="62" grpId="0"/>
      <p:bldP spid="63" grpId="0"/>
      <p:bldP spid="64" grpId="0"/>
      <p:bldP spid="65" grpId="0"/>
      <p:bldP spid="66" grpId="0"/>
      <p:bldP spid="67" grpId="0" animBg="1"/>
      <p:bldP spid="81" grpId="0"/>
      <p:bldP spid="82" grpId="0"/>
      <p:bldP spid="83" grpId="0"/>
      <p:bldP spid="84" grpId="0"/>
      <p:bldP spid="85" grpId="0"/>
    </p:bldLst>
  </p:timing>
</p:sld>
</file>

<file path=ppt/slides/slide6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F59DCC5E-48A0-484F-BEA3-BBADB8B28431}"/>
              </a:ext>
            </a:extLst>
          </p:cNvPr>
          <p:cNvGrpSpPr/>
          <p:nvPr/>
        </p:nvGrpSpPr>
        <p:grpSpPr>
          <a:xfrm>
            <a:off x="5565366" y="1636713"/>
            <a:ext cx="6051551" cy="5221288"/>
            <a:chOff x="3070226" y="1636713"/>
            <a:chExt cx="6051550" cy="5221288"/>
          </a:xfrm>
        </p:grpSpPr>
        <p:sp>
          <p:nvSpPr>
            <p:cNvPr id="3" name="Freeform 5">
              <a:extLst>
                <a:ext uri="{FF2B5EF4-FFF2-40B4-BE49-F238E27FC236}">
                  <a16:creationId xmlns:a16="http://schemas.microsoft.com/office/drawing/2014/main" id="{677B346A-9102-411D-9C1C-C8F6D0859E29}"/>
                </a:ext>
              </a:extLst>
            </p:cNvPr>
            <p:cNvSpPr>
              <a:spLocks/>
            </p:cNvSpPr>
            <p:nvPr/>
          </p:nvSpPr>
          <p:spPr bwMode="auto">
            <a:xfrm>
              <a:off x="5832476" y="3240088"/>
              <a:ext cx="584200" cy="3617913"/>
            </a:xfrm>
            <a:custGeom>
              <a:avLst/>
              <a:gdLst>
                <a:gd name="T0" fmla="*/ 58 w 267"/>
                <a:gd name="T1" fmla="*/ 1329 h 1656"/>
                <a:gd name="T2" fmla="*/ 56 w 267"/>
                <a:gd name="T3" fmla="*/ 1656 h 1656"/>
                <a:gd name="T4" fmla="*/ 149 w 267"/>
                <a:gd name="T5" fmla="*/ 1656 h 1656"/>
                <a:gd name="T6" fmla="*/ 148 w 267"/>
                <a:gd name="T7" fmla="*/ 1366 h 1656"/>
                <a:gd name="T8" fmla="*/ 155 w 267"/>
                <a:gd name="T9" fmla="*/ 1190 h 1656"/>
                <a:gd name="T10" fmla="*/ 173 w 267"/>
                <a:gd name="T11" fmla="*/ 949 h 1656"/>
                <a:gd name="T12" fmla="*/ 165 w 267"/>
                <a:gd name="T13" fmla="*/ 857 h 1656"/>
                <a:gd name="T14" fmla="*/ 188 w 267"/>
                <a:gd name="T15" fmla="*/ 730 h 1656"/>
                <a:gd name="T16" fmla="*/ 163 w 267"/>
                <a:gd name="T17" fmla="*/ 554 h 1656"/>
                <a:gd name="T18" fmla="*/ 84 w 267"/>
                <a:gd name="T19" fmla="*/ 401 h 1656"/>
                <a:gd name="T20" fmla="*/ 60 w 267"/>
                <a:gd name="T21" fmla="*/ 269 h 1656"/>
                <a:gd name="T22" fmla="*/ 116 w 267"/>
                <a:gd name="T23" fmla="*/ 128 h 1656"/>
                <a:gd name="T24" fmla="*/ 172 w 267"/>
                <a:gd name="T25" fmla="*/ 73 h 1656"/>
                <a:gd name="T26" fmla="*/ 215 w 267"/>
                <a:gd name="T27" fmla="*/ 67 h 1656"/>
                <a:gd name="T28" fmla="*/ 191 w 267"/>
                <a:gd name="T29" fmla="*/ 90 h 1656"/>
                <a:gd name="T30" fmla="*/ 177 w 267"/>
                <a:gd name="T31" fmla="*/ 113 h 1656"/>
                <a:gd name="T32" fmla="*/ 234 w 267"/>
                <a:gd name="T33" fmla="*/ 45 h 1656"/>
                <a:gd name="T34" fmla="*/ 105 w 267"/>
                <a:gd name="T35" fmla="*/ 81 h 1656"/>
                <a:gd name="T36" fmla="*/ 17 w 267"/>
                <a:gd name="T37" fmla="*/ 372 h 1656"/>
                <a:gd name="T38" fmla="*/ 81 w 267"/>
                <a:gd name="T39" fmla="*/ 551 h 1656"/>
                <a:gd name="T40" fmla="*/ 99 w 267"/>
                <a:gd name="T41" fmla="*/ 739 h 1656"/>
                <a:gd name="T42" fmla="*/ 46 w 267"/>
                <a:gd name="T43" fmla="*/ 928 h 1656"/>
                <a:gd name="T44" fmla="*/ 39 w 267"/>
                <a:gd name="T45" fmla="*/ 948 h 1656"/>
                <a:gd name="T46" fmla="*/ 51 w 267"/>
                <a:gd name="T47" fmla="*/ 1153 h 1656"/>
                <a:gd name="T48" fmla="*/ 58 w 267"/>
                <a:gd name="T49" fmla="*/ 1329 h 16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67" h="1656">
                  <a:moveTo>
                    <a:pt x="58" y="1329"/>
                  </a:moveTo>
                  <a:cubicBezTo>
                    <a:pt x="61" y="1438"/>
                    <a:pt x="58" y="1547"/>
                    <a:pt x="56" y="1656"/>
                  </a:cubicBezTo>
                  <a:cubicBezTo>
                    <a:pt x="149" y="1656"/>
                    <a:pt x="149" y="1656"/>
                    <a:pt x="149" y="1656"/>
                  </a:cubicBezTo>
                  <a:cubicBezTo>
                    <a:pt x="147" y="1560"/>
                    <a:pt x="145" y="1463"/>
                    <a:pt x="148" y="1366"/>
                  </a:cubicBezTo>
                  <a:cubicBezTo>
                    <a:pt x="150" y="1308"/>
                    <a:pt x="151" y="1249"/>
                    <a:pt x="155" y="1190"/>
                  </a:cubicBezTo>
                  <a:cubicBezTo>
                    <a:pt x="155" y="1109"/>
                    <a:pt x="158" y="1028"/>
                    <a:pt x="173" y="949"/>
                  </a:cubicBezTo>
                  <a:cubicBezTo>
                    <a:pt x="171" y="918"/>
                    <a:pt x="168" y="888"/>
                    <a:pt x="165" y="857"/>
                  </a:cubicBezTo>
                  <a:cubicBezTo>
                    <a:pt x="177" y="816"/>
                    <a:pt x="186" y="774"/>
                    <a:pt x="188" y="730"/>
                  </a:cubicBezTo>
                  <a:cubicBezTo>
                    <a:pt x="191" y="671"/>
                    <a:pt x="182" y="610"/>
                    <a:pt x="163" y="554"/>
                  </a:cubicBezTo>
                  <a:cubicBezTo>
                    <a:pt x="145" y="498"/>
                    <a:pt x="112" y="452"/>
                    <a:pt x="84" y="401"/>
                  </a:cubicBezTo>
                  <a:cubicBezTo>
                    <a:pt x="63" y="360"/>
                    <a:pt x="55" y="315"/>
                    <a:pt x="60" y="269"/>
                  </a:cubicBezTo>
                  <a:cubicBezTo>
                    <a:pt x="66" y="218"/>
                    <a:pt x="85" y="169"/>
                    <a:pt x="116" y="128"/>
                  </a:cubicBezTo>
                  <a:cubicBezTo>
                    <a:pt x="132" y="107"/>
                    <a:pt x="151" y="88"/>
                    <a:pt x="172" y="73"/>
                  </a:cubicBezTo>
                  <a:cubicBezTo>
                    <a:pt x="183" y="65"/>
                    <a:pt x="204" y="49"/>
                    <a:pt x="215" y="67"/>
                  </a:cubicBezTo>
                  <a:cubicBezTo>
                    <a:pt x="224" y="83"/>
                    <a:pt x="205" y="97"/>
                    <a:pt x="191" y="90"/>
                  </a:cubicBezTo>
                  <a:cubicBezTo>
                    <a:pt x="175" y="82"/>
                    <a:pt x="161" y="105"/>
                    <a:pt x="177" y="113"/>
                  </a:cubicBezTo>
                  <a:cubicBezTo>
                    <a:pt x="220" y="135"/>
                    <a:pt x="267" y="85"/>
                    <a:pt x="234" y="45"/>
                  </a:cubicBezTo>
                  <a:cubicBezTo>
                    <a:pt x="198" y="0"/>
                    <a:pt x="134" y="52"/>
                    <a:pt x="105" y="81"/>
                  </a:cubicBezTo>
                  <a:cubicBezTo>
                    <a:pt x="31" y="157"/>
                    <a:pt x="0" y="268"/>
                    <a:pt x="17" y="372"/>
                  </a:cubicBezTo>
                  <a:cubicBezTo>
                    <a:pt x="28" y="436"/>
                    <a:pt x="61" y="490"/>
                    <a:pt x="81" y="551"/>
                  </a:cubicBezTo>
                  <a:cubicBezTo>
                    <a:pt x="100" y="611"/>
                    <a:pt x="107" y="676"/>
                    <a:pt x="99" y="739"/>
                  </a:cubicBezTo>
                  <a:cubicBezTo>
                    <a:pt x="90" y="805"/>
                    <a:pt x="59" y="864"/>
                    <a:pt x="46" y="928"/>
                  </a:cubicBezTo>
                  <a:cubicBezTo>
                    <a:pt x="43" y="934"/>
                    <a:pt x="41" y="941"/>
                    <a:pt x="39" y="948"/>
                  </a:cubicBezTo>
                  <a:cubicBezTo>
                    <a:pt x="49" y="1015"/>
                    <a:pt x="51" y="1084"/>
                    <a:pt x="51" y="1153"/>
                  </a:cubicBezTo>
                  <a:cubicBezTo>
                    <a:pt x="54" y="1212"/>
                    <a:pt x="56" y="1271"/>
                    <a:pt x="58" y="1329"/>
                  </a:cubicBezTo>
                  <a:close/>
                </a:path>
              </a:pathLst>
            </a:custGeom>
            <a:solidFill>
              <a:srgbClr val="9EC1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4" name="Freeform 6">
              <a:extLst>
                <a:ext uri="{FF2B5EF4-FFF2-40B4-BE49-F238E27FC236}">
                  <a16:creationId xmlns:a16="http://schemas.microsoft.com/office/drawing/2014/main" id="{3FB911D7-A223-4CE2-BBF1-BAAF425F35E9}"/>
                </a:ext>
              </a:extLst>
            </p:cNvPr>
            <p:cNvSpPr>
              <a:spLocks/>
            </p:cNvSpPr>
            <p:nvPr/>
          </p:nvSpPr>
          <p:spPr bwMode="auto">
            <a:xfrm>
              <a:off x="4384676" y="3130550"/>
              <a:ext cx="1581150" cy="3727450"/>
            </a:xfrm>
            <a:custGeom>
              <a:avLst/>
              <a:gdLst>
                <a:gd name="T0" fmla="*/ 719 w 722"/>
                <a:gd name="T1" fmla="*/ 1379 h 1706"/>
                <a:gd name="T2" fmla="*/ 712 w 722"/>
                <a:gd name="T3" fmla="*/ 1203 h 1706"/>
                <a:gd name="T4" fmla="*/ 700 w 722"/>
                <a:gd name="T5" fmla="*/ 998 h 1706"/>
                <a:gd name="T6" fmla="*/ 682 w 722"/>
                <a:gd name="T7" fmla="*/ 913 h 1706"/>
                <a:gd name="T8" fmla="*/ 540 w 722"/>
                <a:gd name="T9" fmla="*/ 646 h 1706"/>
                <a:gd name="T10" fmla="*/ 564 w 722"/>
                <a:gd name="T11" fmla="*/ 578 h 1706"/>
                <a:gd name="T12" fmla="*/ 622 w 722"/>
                <a:gd name="T13" fmla="*/ 470 h 1706"/>
                <a:gd name="T14" fmla="*/ 607 w 722"/>
                <a:gd name="T15" fmla="*/ 350 h 1706"/>
                <a:gd name="T16" fmla="*/ 591 w 722"/>
                <a:gd name="T17" fmla="*/ 354 h 1706"/>
                <a:gd name="T18" fmla="*/ 571 w 722"/>
                <a:gd name="T19" fmla="*/ 485 h 1706"/>
                <a:gd name="T20" fmla="*/ 499 w 722"/>
                <a:gd name="T21" fmla="*/ 596 h 1706"/>
                <a:gd name="T22" fmla="*/ 497 w 722"/>
                <a:gd name="T23" fmla="*/ 601 h 1706"/>
                <a:gd name="T24" fmla="*/ 489 w 722"/>
                <a:gd name="T25" fmla="*/ 594 h 1706"/>
                <a:gd name="T26" fmla="*/ 489 w 722"/>
                <a:gd name="T27" fmla="*/ 591 h 1706"/>
                <a:gd name="T28" fmla="*/ 497 w 722"/>
                <a:gd name="T29" fmla="*/ 389 h 1706"/>
                <a:gd name="T30" fmla="*/ 493 w 722"/>
                <a:gd name="T31" fmla="*/ 203 h 1706"/>
                <a:gd name="T32" fmla="*/ 413 w 722"/>
                <a:gd name="T33" fmla="*/ 8 h 1706"/>
                <a:gd name="T34" fmla="*/ 401 w 722"/>
                <a:gd name="T35" fmla="*/ 15 h 1706"/>
                <a:gd name="T36" fmla="*/ 448 w 722"/>
                <a:gd name="T37" fmla="*/ 395 h 1706"/>
                <a:gd name="T38" fmla="*/ 428 w 722"/>
                <a:gd name="T39" fmla="*/ 548 h 1706"/>
                <a:gd name="T40" fmla="*/ 391 w 722"/>
                <a:gd name="T41" fmla="*/ 530 h 1706"/>
                <a:gd name="T42" fmla="*/ 228 w 722"/>
                <a:gd name="T43" fmla="*/ 519 h 1706"/>
                <a:gd name="T44" fmla="*/ 38 w 722"/>
                <a:gd name="T45" fmla="*/ 284 h 1706"/>
                <a:gd name="T46" fmla="*/ 9 w 722"/>
                <a:gd name="T47" fmla="*/ 288 h 1706"/>
                <a:gd name="T48" fmla="*/ 189 w 722"/>
                <a:gd name="T49" fmla="*/ 570 h 1706"/>
                <a:gd name="T50" fmla="*/ 272 w 722"/>
                <a:gd name="T51" fmla="*/ 583 h 1706"/>
                <a:gd name="T52" fmla="*/ 354 w 722"/>
                <a:gd name="T53" fmla="*/ 590 h 1706"/>
                <a:gd name="T54" fmla="*/ 446 w 722"/>
                <a:gd name="T55" fmla="*/ 650 h 1706"/>
                <a:gd name="T56" fmla="*/ 503 w 722"/>
                <a:gd name="T57" fmla="*/ 793 h 1706"/>
                <a:gd name="T58" fmla="*/ 503 w 722"/>
                <a:gd name="T59" fmla="*/ 793 h 1706"/>
                <a:gd name="T60" fmla="*/ 366 w 722"/>
                <a:gd name="T61" fmla="*/ 755 h 1706"/>
                <a:gd name="T62" fmla="*/ 264 w 722"/>
                <a:gd name="T63" fmla="*/ 776 h 1706"/>
                <a:gd name="T64" fmla="*/ 183 w 722"/>
                <a:gd name="T65" fmla="*/ 833 h 1706"/>
                <a:gd name="T66" fmla="*/ 24 w 722"/>
                <a:gd name="T67" fmla="*/ 797 h 1706"/>
                <a:gd name="T68" fmla="*/ 5 w 722"/>
                <a:gd name="T69" fmla="*/ 805 h 1706"/>
                <a:gd name="T70" fmla="*/ 52 w 722"/>
                <a:gd name="T71" fmla="*/ 887 h 1706"/>
                <a:gd name="T72" fmla="*/ 159 w 722"/>
                <a:gd name="T73" fmla="*/ 910 h 1706"/>
                <a:gd name="T74" fmla="*/ 246 w 722"/>
                <a:gd name="T75" fmla="*/ 867 h 1706"/>
                <a:gd name="T76" fmla="*/ 323 w 722"/>
                <a:gd name="T77" fmla="*/ 835 h 1706"/>
                <a:gd name="T78" fmla="*/ 486 w 722"/>
                <a:gd name="T79" fmla="*/ 884 h 1706"/>
                <a:gd name="T80" fmla="*/ 582 w 722"/>
                <a:gd name="T81" fmla="*/ 1031 h 1706"/>
                <a:gd name="T82" fmla="*/ 609 w 722"/>
                <a:gd name="T83" fmla="*/ 1236 h 1706"/>
                <a:gd name="T84" fmla="*/ 606 w 722"/>
                <a:gd name="T85" fmla="*/ 1345 h 1706"/>
                <a:gd name="T86" fmla="*/ 602 w 722"/>
                <a:gd name="T87" fmla="*/ 1706 h 1706"/>
                <a:gd name="T88" fmla="*/ 717 w 722"/>
                <a:gd name="T89" fmla="*/ 1706 h 1706"/>
                <a:gd name="T90" fmla="*/ 719 w 722"/>
                <a:gd name="T91" fmla="*/ 1379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22" h="1706">
                  <a:moveTo>
                    <a:pt x="719" y="1379"/>
                  </a:moveTo>
                  <a:cubicBezTo>
                    <a:pt x="717" y="1321"/>
                    <a:pt x="715" y="1262"/>
                    <a:pt x="712" y="1203"/>
                  </a:cubicBezTo>
                  <a:cubicBezTo>
                    <a:pt x="712" y="1134"/>
                    <a:pt x="710" y="1065"/>
                    <a:pt x="700" y="998"/>
                  </a:cubicBezTo>
                  <a:cubicBezTo>
                    <a:pt x="696" y="969"/>
                    <a:pt x="690" y="941"/>
                    <a:pt x="682" y="913"/>
                  </a:cubicBezTo>
                  <a:cubicBezTo>
                    <a:pt x="655" y="815"/>
                    <a:pt x="606" y="723"/>
                    <a:pt x="540" y="646"/>
                  </a:cubicBezTo>
                  <a:cubicBezTo>
                    <a:pt x="541" y="622"/>
                    <a:pt x="549" y="599"/>
                    <a:pt x="564" y="578"/>
                  </a:cubicBezTo>
                  <a:cubicBezTo>
                    <a:pt x="590" y="543"/>
                    <a:pt x="614" y="513"/>
                    <a:pt x="622" y="470"/>
                  </a:cubicBezTo>
                  <a:cubicBezTo>
                    <a:pt x="631" y="428"/>
                    <a:pt x="623" y="389"/>
                    <a:pt x="607" y="350"/>
                  </a:cubicBezTo>
                  <a:cubicBezTo>
                    <a:pt x="603" y="340"/>
                    <a:pt x="588" y="343"/>
                    <a:pt x="591" y="354"/>
                  </a:cubicBezTo>
                  <a:cubicBezTo>
                    <a:pt x="600" y="396"/>
                    <a:pt x="589" y="447"/>
                    <a:pt x="571" y="485"/>
                  </a:cubicBezTo>
                  <a:cubicBezTo>
                    <a:pt x="551" y="525"/>
                    <a:pt x="514" y="554"/>
                    <a:pt x="499" y="596"/>
                  </a:cubicBezTo>
                  <a:cubicBezTo>
                    <a:pt x="498" y="597"/>
                    <a:pt x="497" y="599"/>
                    <a:pt x="497" y="601"/>
                  </a:cubicBezTo>
                  <a:cubicBezTo>
                    <a:pt x="494" y="598"/>
                    <a:pt x="492" y="596"/>
                    <a:pt x="489" y="594"/>
                  </a:cubicBezTo>
                  <a:cubicBezTo>
                    <a:pt x="489" y="593"/>
                    <a:pt x="489" y="592"/>
                    <a:pt x="489" y="591"/>
                  </a:cubicBezTo>
                  <a:cubicBezTo>
                    <a:pt x="471" y="522"/>
                    <a:pt x="486" y="458"/>
                    <a:pt x="497" y="389"/>
                  </a:cubicBezTo>
                  <a:cubicBezTo>
                    <a:pt x="506" y="327"/>
                    <a:pt x="504" y="265"/>
                    <a:pt x="493" y="203"/>
                  </a:cubicBezTo>
                  <a:cubicBezTo>
                    <a:pt x="479" y="132"/>
                    <a:pt x="451" y="69"/>
                    <a:pt x="413" y="8"/>
                  </a:cubicBezTo>
                  <a:cubicBezTo>
                    <a:pt x="408" y="0"/>
                    <a:pt x="397" y="7"/>
                    <a:pt x="401" y="15"/>
                  </a:cubicBezTo>
                  <a:cubicBezTo>
                    <a:pt x="461" y="130"/>
                    <a:pt x="474" y="269"/>
                    <a:pt x="448" y="395"/>
                  </a:cubicBezTo>
                  <a:cubicBezTo>
                    <a:pt x="436" y="447"/>
                    <a:pt x="427" y="497"/>
                    <a:pt x="428" y="548"/>
                  </a:cubicBezTo>
                  <a:cubicBezTo>
                    <a:pt x="416" y="541"/>
                    <a:pt x="404" y="535"/>
                    <a:pt x="391" y="530"/>
                  </a:cubicBezTo>
                  <a:cubicBezTo>
                    <a:pt x="337" y="508"/>
                    <a:pt x="283" y="529"/>
                    <a:pt x="228" y="519"/>
                  </a:cubicBezTo>
                  <a:cubicBezTo>
                    <a:pt x="114" y="499"/>
                    <a:pt x="65" y="384"/>
                    <a:pt x="38" y="284"/>
                  </a:cubicBezTo>
                  <a:cubicBezTo>
                    <a:pt x="34" y="267"/>
                    <a:pt x="11" y="272"/>
                    <a:pt x="9" y="288"/>
                  </a:cubicBezTo>
                  <a:cubicBezTo>
                    <a:pt x="0" y="410"/>
                    <a:pt x="73" y="529"/>
                    <a:pt x="189" y="570"/>
                  </a:cubicBezTo>
                  <a:cubicBezTo>
                    <a:pt x="216" y="579"/>
                    <a:pt x="244" y="583"/>
                    <a:pt x="272" y="583"/>
                  </a:cubicBezTo>
                  <a:cubicBezTo>
                    <a:pt x="301" y="582"/>
                    <a:pt x="327" y="581"/>
                    <a:pt x="354" y="590"/>
                  </a:cubicBezTo>
                  <a:cubicBezTo>
                    <a:pt x="389" y="602"/>
                    <a:pt x="419" y="624"/>
                    <a:pt x="446" y="650"/>
                  </a:cubicBezTo>
                  <a:cubicBezTo>
                    <a:pt x="460" y="699"/>
                    <a:pt x="480" y="748"/>
                    <a:pt x="503" y="793"/>
                  </a:cubicBezTo>
                  <a:cubicBezTo>
                    <a:pt x="503" y="793"/>
                    <a:pt x="503" y="793"/>
                    <a:pt x="503" y="793"/>
                  </a:cubicBezTo>
                  <a:cubicBezTo>
                    <a:pt x="462" y="769"/>
                    <a:pt x="416" y="755"/>
                    <a:pt x="366" y="755"/>
                  </a:cubicBezTo>
                  <a:cubicBezTo>
                    <a:pt x="331" y="755"/>
                    <a:pt x="296" y="762"/>
                    <a:pt x="264" y="776"/>
                  </a:cubicBezTo>
                  <a:cubicBezTo>
                    <a:pt x="233" y="790"/>
                    <a:pt x="209" y="811"/>
                    <a:pt x="183" y="833"/>
                  </a:cubicBezTo>
                  <a:cubicBezTo>
                    <a:pt x="133" y="877"/>
                    <a:pt x="51" y="858"/>
                    <a:pt x="24" y="797"/>
                  </a:cubicBezTo>
                  <a:cubicBezTo>
                    <a:pt x="19" y="786"/>
                    <a:pt x="3" y="795"/>
                    <a:pt x="5" y="805"/>
                  </a:cubicBezTo>
                  <a:cubicBezTo>
                    <a:pt x="12" y="837"/>
                    <a:pt x="26" y="867"/>
                    <a:pt x="52" y="887"/>
                  </a:cubicBezTo>
                  <a:cubicBezTo>
                    <a:pt x="83" y="910"/>
                    <a:pt x="121" y="917"/>
                    <a:pt x="159" y="910"/>
                  </a:cubicBezTo>
                  <a:cubicBezTo>
                    <a:pt x="192" y="905"/>
                    <a:pt x="219" y="886"/>
                    <a:pt x="246" y="867"/>
                  </a:cubicBezTo>
                  <a:cubicBezTo>
                    <a:pt x="270" y="850"/>
                    <a:pt x="295" y="839"/>
                    <a:pt x="323" y="835"/>
                  </a:cubicBezTo>
                  <a:cubicBezTo>
                    <a:pt x="381" y="828"/>
                    <a:pt x="442" y="847"/>
                    <a:pt x="486" y="884"/>
                  </a:cubicBezTo>
                  <a:cubicBezTo>
                    <a:pt x="532" y="923"/>
                    <a:pt x="564" y="975"/>
                    <a:pt x="582" y="1031"/>
                  </a:cubicBezTo>
                  <a:cubicBezTo>
                    <a:pt x="604" y="1099"/>
                    <a:pt x="602" y="1167"/>
                    <a:pt x="609" y="1236"/>
                  </a:cubicBezTo>
                  <a:cubicBezTo>
                    <a:pt x="608" y="1272"/>
                    <a:pt x="607" y="1309"/>
                    <a:pt x="606" y="1345"/>
                  </a:cubicBezTo>
                  <a:cubicBezTo>
                    <a:pt x="603" y="1465"/>
                    <a:pt x="598" y="1586"/>
                    <a:pt x="602" y="1706"/>
                  </a:cubicBezTo>
                  <a:cubicBezTo>
                    <a:pt x="717" y="1706"/>
                    <a:pt x="717" y="1706"/>
                    <a:pt x="717" y="1706"/>
                  </a:cubicBezTo>
                  <a:cubicBezTo>
                    <a:pt x="719" y="1597"/>
                    <a:pt x="722" y="1488"/>
                    <a:pt x="719" y="1379"/>
                  </a:cubicBezTo>
                  <a:close/>
                </a:path>
              </a:pathLst>
            </a:custGeom>
            <a:solidFill>
              <a:srgbClr val="6B93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5" name="Freeform 7">
              <a:extLst>
                <a:ext uri="{FF2B5EF4-FFF2-40B4-BE49-F238E27FC236}">
                  <a16:creationId xmlns:a16="http://schemas.microsoft.com/office/drawing/2014/main" id="{EA9BF21D-8861-4730-9C17-65ED3B7A65F9}"/>
                </a:ext>
              </a:extLst>
            </p:cNvPr>
            <p:cNvSpPr>
              <a:spLocks/>
            </p:cNvSpPr>
            <p:nvPr/>
          </p:nvSpPr>
          <p:spPr bwMode="auto">
            <a:xfrm>
              <a:off x="6149976" y="3797300"/>
              <a:ext cx="1579563" cy="3060700"/>
            </a:xfrm>
            <a:custGeom>
              <a:avLst/>
              <a:gdLst>
                <a:gd name="T0" fmla="*/ 698 w 722"/>
                <a:gd name="T1" fmla="*/ 530 h 1401"/>
                <a:gd name="T2" fmla="*/ 539 w 722"/>
                <a:gd name="T3" fmla="*/ 565 h 1401"/>
                <a:gd name="T4" fmla="*/ 458 w 722"/>
                <a:gd name="T5" fmla="*/ 508 h 1401"/>
                <a:gd name="T6" fmla="*/ 356 w 722"/>
                <a:gd name="T7" fmla="*/ 487 h 1401"/>
                <a:gd name="T8" fmla="*/ 137 w 722"/>
                <a:gd name="T9" fmla="*/ 595 h 1401"/>
                <a:gd name="T10" fmla="*/ 248 w 722"/>
                <a:gd name="T11" fmla="*/ 412 h 1401"/>
                <a:gd name="T12" fmla="*/ 368 w 722"/>
                <a:gd name="T13" fmla="*/ 322 h 1401"/>
                <a:gd name="T14" fmla="*/ 449 w 722"/>
                <a:gd name="T15" fmla="*/ 315 h 1401"/>
                <a:gd name="T16" fmla="*/ 533 w 722"/>
                <a:gd name="T17" fmla="*/ 302 h 1401"/>
                <a:gd name="T18" fmla="*/ 712 w 722"/>
                <a:gd name="T19" fmla="*/ 20 h 1401"/>
                <a:gd name="T20" fmla="*/ 684 w 722"/>
                <a:gd name="T21" fmla="*/ 16 h 1401"/>
                <a:gd name="T22" fmla="*/ 494 w 722"/>
                <a:gd name="T23" fmla="*/ 252 h 1401"/>
                <a:gd name="T24" fmla="*/ 331 w 722"/>
                <a:gd name="T25" fmla="*/ 262 h 1401"/>
                <a:gd name="T26" fmla="*/ 203 w 722"/>
                <a:gd name="T27" fmla="*/ 355 h 1401"/>
                <a:gd name="T28" fmla="*/ 232 w 722"/>
                <a:gd name="T29" fmla="*/ 288 h 1401"/>
                <a:gd name="T30" fmla="*/ 214 w 722"/>
                <a:gd name="T31" fmla="*/ 104 h 1401"/>
                <a:gd name="T32" fmla="*/ 191 w 722"/>
                <a:gd name="T33" fmla="*/ 114 h 1401"/>
                <a:gd name="T34" fmla="*/ 175 w 722"/>
                <a:gd name="T35" fmla="*/ 300 h 1401"/>
                <a:gd name="T36" fmla="*/ 124 w 722"/>
                <a:gd name="T37" fmla="*/ 385 h 1401"/>
                <a:gd name="T38" fmla="*/ 83 w 722"/>
                <a:gd name="T39" fmla="*/ 471 h 1401"/>
                <a:gd name="T40" fmla="*/ 52 w 722"/>
                <a:gd name="T41" fmla="*/ 605 h 1401"/>
                <a:gd name="T42" fmla="*/ 40 w 722"/>
                <a:gd name="T43" fmla="*/ 645 h 1401"/>
                <a:gd name="T44" fmla="*/ 28 w 722"/>
                <a:gd name="T45" fmla="*/ 694 h 1401"/>
                <a:gd name="T46" fmla="*/ 10 w 722"/>
                <a:gd name="T47" fmla="*/ 935 h 1401"/>
                <a:gd name="T48" fmla="*/ 3 w 722"/>
                <a:gd name="T49" fmla="*/ 1111 h 1401"/>
                <a:gd name="T50" fmla="*/ 4 w 722"/>
                <a:gd name="T51" fmla="*/ 1401 h 1401"/>
                <a:gd name="T52" fmla="*/ 120 w 722"/>
                <a:gd name="T53" fmla="*/ 1401 h 1401"/>
                <a:gd name="T54" fmla="*/ 116 w 722"/>
                <a:gd name="T55" fmla="*/ 1077 h 1401"/>
                <a:gd name="T56" fmla="*/ 113 w 722"/>
                <a:gd name="T57" fmla="*/ 968 h 1401"/>
                <a:gd name="T58" fmla="*/ 139 w 722"/>
                <a:gd name="T59" fmla="*/ 764 h 1401"/>
                <a:gd name="T60" fmla="*/ 235 w 722"/>
                <a:gd name="T61" fmla="*/ 616 h 1401"/>
                <a:gd name="T62" fmla="*/ 398 w 722"/>
                <a:gd name="T63" fmla="*/ 567 h 1401"/>
                <a:gd name="T64" fmla="*/ 476 w 722"/>
                <a:gd name="T65" fmla="*/ 599 h 1401"/>
                <a:gd name="T66" fmla="*/ 563 w 722"/>
                <a:gd name="T67" fmla="*/ 643 h 1401"/>
                <a:gd name="T68" fmla="*/ 669 w 722"/>
                <a:gd name="T69" fmla="*/ 619 h 1401"/>
                <a:gd name="T70" fmla="*/ 717 w 722"/>
                <a:gd name="T71" fmla="*/ 538 h 1401"/>
                <a:gd name="T72" fmla="*/ 698 w 722"/>
                <a:gd name="T73" fmla="*/ 530 h 1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22" h="1401">
                  <a:moveTo>
                    <a:pt x="698" y="530"/>
                  </a:moveTo>
                  <a:cubicBezTo>
                    <a:pt x="670" y="591"/>
                    <a:pt x="589" y="609"/>
                    <a:pt x="539" y="565"/>
                  </a:cubicBezTo>
                  <a:cubicBezTo>
                    <a:pt x="513" y="543"/>
                    <a:pt x="489" y="522"/>
                    <a:pt x="458" y="508"/>
                  </a:cubicBezTo>
                  <a:cubicBezTo>
                    <a:pt x="426" y="494"/>
                    <a:pt x="391" y="487"/>
                    <a:pt x="356" y="487"/>
                  </a:cubicBezTo>
                  <a:cubicBezTo>
                    <a:pt x="267" y="488"/>
                    <a:pt x="192" y="531"/>
                    <a:pt x="137" y="595"/>
                  </a:cubicBezTo>
                  <a:cubicBezTo>
                    <a:pt x="163" y="528"/>
                    <a:pt x="200" y="466"/>
                    <a:pt x="248" y="412"/>
                  </a:cubicBezTo>
                  <a:cubicBezTo>
                    <a:pt x="281" y="375"/>
                    <a:pt x="319" y="339"/>
                    <a:pt x="368" y="322"/>
                  </a:cubicBezTo>
                  <a:cubicBezTo>
                    <a:pt x="395" y="313"/>
                    <a:pt x="421" y="314"/>
                    <a:pt x="449" y="315"/>
                  </a:cubicBezTo>
                  <a:cubicBezTo>
                    <a:pt x="478" y="315"/>
                    <a:pt x="506" y="312"/>
                    <a:pt x="533" y="302"/>
                  </a:cubicBezTo>
                  <a:cubicBezTo>
                    <a:pt x="649" y="261"/>
                    <a:pt x="722" y="142"/>
                    <a:pt x="712" y="20"/>
                  </a:cubicBezTo>
                  <a:cubicBezTo>
                    <a:pt x="711" y="4"/>
                    <a:pt x="688" y="0"/>
                    <a:pt x="684" y="16"/>
                  </a:cubicBezTo>
                  <a:cubicBezTo>
                    <a:pt x="657" y="116"/>
                    <a:pt x="608" y="231"/>
                    <a:pt x="494" y="252"/>
                  </a:cubicBezTo>
                  <a:cubicBezTo>
                    <a:pt x="439" y="261"/>
                    <a:pt x="385" y="241"/>
                    <a:pt x="331" y="262"/>
                  </a:cubicBezTo>
                  <a:cubicBezTo>
                    <a:pt x="281" y="282"/>
                    <a:pt x="239" y="316"/>
                    <a:pt x="203" y="355"/>
                  </a:cubicBezTo>
                  <a:cubicBezTo>
                    <a:pt x="215" y="334"/>
                    <a:pt x="225" y="312"/>
                    <a:pt x="232" y="288"/>
                  </a:cubicBezTo>
                  <a:cubicBezTo>
                    <a:pt x="250" y="224"/>
                    <a:pt x="240" y="164"/>
                    <a:pt x="214" y="104"/>
                  </a:cubicBezTo>
                  <a:cubicBezTo>
                    <a:pt x="208" y="91"/>
                    <a:pt x="187" y="100"/>
                    <a:pt x="191" y="114"/>
                  </a:cubicBezTo>
                  <a:cubicBezTo>
                    <a:pt x="211" y="173"/>
                    <a:pt x="203" y="245"/>
                    <a:pt x="175" y="300"/>
                  </a:cubicBezTo>
                  <a:cubicBezTo>
                    <a:pt x="160" y="330"/>
                    <a:pt x="140" y="356"/>
                    <a:pt x="124" y="385"/>
                  </a:cubicBezTo>
                  <a:cubicBezTo>
                    <a:pt x="107" y="412"/>
                    <a:pt x="94" y="441"/>
                    <a:pt x="83" y="471"/>
                  </a:cubicBezTo>
                  <a:cubicBezTo>
                    <a:pt x="68" y="515"/>
                    <a:pt x="58" y="560"/>
                    <a:pt x="52" y="605"/>
                  </a:cubicBezTo>
                  <a:cubicBezTo>
                    <a:pt x="48" y="619"/>
                    <a:pt x="43" y="632"/>
                    <a:pt x="40" y="645"/>
                  </a:cubicBezTo>
                  <a:cubicBezTo>
                    <a:pt x="35" y="661"/>
                    <a:pt x="31" y="678"/>
                    <a:pt x="28" y="694"/>
                  </a:cubicBezTo>
                  <a:cubicBezTo>
                    <a:pt x="13" y="773"/>
                    <a:pt x="10" y="854"/>
                    <a:pt x="10" y="935"/>
                  </a:cubicBezTo>
                  <a:cubicBezTo>
                    <a:pt x="6" y="994"/>
                    <a:pt x="5" y="1053"/>
                    <a:pt x="3" y="1111"/>
                  </a:cubicBezTo>
                  <a:cubicBezTo>
                    <a:pt x="0" y="1208"/>
                    <a:pt x="2" y="1305"/>
                    <a:pt x="4" y="1401"/>
                  </a:cubicBezTo>
                  <a:cubicBezTo>
                    <a:pt x="120" y="1401"/>
                    <a:pt x="120" y="1401"/>
                    <a:pt x="120" y="1401"/>
                  </a:cubicBezTo>
                  <a:cubicBezTo>
                    <a:pt x="123" y="1293"/>
                    <a:pt x="119" y="1185"/>
                    <a:pt x="116" y="1077"/>
                  </a:cubicBezTo>
                  <a:cubicBezTo>
                    <a:pt x="115" y="1041"/>
                    <a:pt x="114" y="1005"/>
                    <a:pt x="113" y="968"/>
                  </a:cubicBezTo>
                  <a:cubicBezTo>
                    <a:pt x="120" y="899"/>
                    <a:pt x="118" y="831"/>
                    <a:pt x="139" y="764"/>
                  </a:cubicBezTo>
                  <a:cubicBezTo>
                    <a:pt x="157" y="707"/>
                    <a:pt x="190" y="655"/>
                    <a:pt x="235" y="616"/>
                  </a:cubicBezTo>
                  <a:cubicBezTo>
                    <a:pt x="279" y="579"/>
                    <a:pt x="341" y="560"/>
                    <a:pt x="398" y="567"/>
                  </a:cubicBezTo>
                  <a:cubicBezTo>
                    <a:pt x="427" y="571"/>
                    <a:pt x="452" y="583"/>
                    <a:pt x="476" y="599"/>
                  </a:cubicBezTo>
                  <a:cubicBezTo>
                    <a:pt x="503" y="618"/>
                    <a:pt x="530" y="637"/>
                    <a:pt x="563" y="643"/>
                  </a:cubicBezTo>
                  <a:cubicBezTo>
                    <a:pt x="600" y="649"/>
                    <a:pt x="639" y="642"/>
                    <a:pt x="669" y="619"/>
                  </a:cubicBezTo>
                  <a:cubicBezTo>
                    <a:pt x="695" y="599"/>
                    <a:pt x="710" y="569"/>
                    <a:pt x="717" y="538"/>
                  </a:cubicBezTo>
                  <a:cubicBezTo>
                    <a:pt x="719" y="527"/>
                    <a:pt x="703" y="519"/>
                    <a:pt x="698" y="530"/>
                  </a:cubicBezTo>
                  <a:close/>
                </a:path>
              </a:pathLst>
            </a:custGeom>
            <a:solidFill>
              <a:srgbClr val="6B93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6" name="Freeform 8">
              <a:extLst>
                <a:ext uri="{FF2B5EF4-FFF2-40B4-BE49-F238E27FC236}">
                  <a16:creationId xmlns:a16="http://schemas.microsoft.com/office/drawing/2014/main" id="{5F5B1902-7A08-46C7-A3CC-2F2F0127696F}"/>
                </a:ext>
              </a:extLst>
            </p:cNvPr>
            <p:cNvSpPr>
              <a:spLocks/>
            </p:cNvSpPr>
            <p:nvPr/>
          </p:nvSpPr>
          <p:spPr bwMode="auto">
            <a:xfrm>
              <a:off x="7185026" y="2135188"/>
              <a:ext cx="1466850" cy="1858963"/>
            </a:xfrm>
            <a:custGeom>
              <a:avLst/>
              <a:gdLst>
                <a:gd name="T0" fmla="*/ 541 w 670"/>
                <a:gd name="T1" fmla="*/ 30 h 851"/>
                <a:gd name="T2" fmla="*/ 260 w 670"/>
                <a:gd name="T3" fmla="*/ 200 h 851"/>
                <a:gd name="T4" fmla="*/ 49 w 670"/>
                <a:gd name="T5" fmla="*/ 448 h 851"/>
                <a:gd name="T6" fmla="*/ 20 w 670"/>
                <a:gd name="T7" fmla="*/ 676 h 851"/>
                <a:gd name="T8" fmla="*/ 176 w 670"/>
                <a:gd name="T9" fmla="*/ 833 h 851"/>
                <a:gd name="T10" fmla="*/ 254 w 670"/>
                <a:gd name="T11" fmla="*/ 815 h 851"/>
                <a:gd name="T12" fmla="*/ 256 w 670"/>
                <a:gd name="T13" fmla="*/ 839 h 851"/>
                <a:gd name="T14" fmla="*/ 276 w 670"/>
                <a:gd name="T15" fmla="*/ 846 h 851"/>
                <a:gd name="T16" fmla="*/ 566 w 670"/>
                <a:gd name="T17" fmla="*/ 692 h 851"/>
                <a:gd name="T18" fmla="*/ 668 w 670"/>
                <a:gd name="T19" fmla="*/ 370 h 851"/>
                <a:gd name="T20" fmla="*/ 658 w 670"/>
                <a:gd name="T21" fmla="*/ 242 h 851"/>
                <a:gd name="T22" fmla="*/ 597 w 670"/>
                <a:gd name="T23" fmla="*/ 100 h 851"/>
                <a:gd name="T24" fmla="*/ 594 w 670"/>
                <a:gd name="T25" fmla="*/ 1 h 851"/>
                <a:gd name="T26" fmla="*/ 541 w 670"/>
                <a:gd name="T27" fmla="*/ 30 h 8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70" h="851">
                  <a:moveTo>
                    <a:pt x="541" y="30"/>
                  </a:moveTo>
                  <a:cubicBezTo>
                    <a:pt x="444" y="81"/>
                    <a:pt x="347" y="133"/>
                    <a:pt x="260" y="200"/>
                  </a:cubicBezTo>
                  <a:cubicBezTo>
                    <a:pt x="173" y="267"/>
                    <a:pt x="95" y="349"/>
                    <a:pt x="49" y="448"/>
                  </a:cubicBezTo>
                  <a:cubicBezTo>
                    <a:pt x="16" y="519"/>
                    <a:pt x="0" y="601"/>
                    <a:pt x="20" y="676"/>
                  </a:cubicBezTo>
                  <a:cubicBezTo>
                    <a:pt x="39" y="752"/>
                    <a:pt x="99" y="819"/>
                    <a:pt x="176" y="833"/>
                  </a:cubicBezTo>
                  <a:cubicBezTo>
                    <a:pt x="205" y="630"/>
                    <a:pt x="298" y="635"/>
                    <a:pt x="254" y="815"/>
                  </a:cubicBezTo>
                  <a:cubicBezTo>
                    <a:pt x="252" y="823"/>
                    <a:pt x="251" y="832"/>
                    <a:pt x="256" y="839"/>
                  </a:cubicBezTo>
                  <a:cubicBezTo>
                    <a:pt x="260" y="844"/>
                    <a:pt x="269" y="845"/>
                    <a:pt x="276" y="846"/>
                  </a:cubicBezTo>
                  <a:cubicBezTo>
                    <a:pt x="390" y="851"/>
                    <a:pt x="499" y="784"/>
                    <a:pt x="566" y="692"/>
                  </a:cubicBezTo>
                  <a:cubicBezTo>
                    <a:pt x="633" y="599"/>
                    <a:pt x="661" y="484"/>
                    <a:pt x="668" y="370"/>
                  </a:cubicBezTo>
                  <a:cubicBezTo>
                    <a:pt x="670" y="327"/>
                    <a:pt x="670" y="283"/>
                    <a:pt x="658" y="242"/>
                  </a:cubicBezTo>
                  <a:cubicBezTo>
                    <a:pt x="644" y="192"/>
                    <a:pt x="615" y="148"/>
                    <a:pt x="597" y="100"/>
                  </a:cubicBezTo>
                  <a:cubicBezTo>
                    <a:pt x="579" y="51"/>
                    <a:pt x="594" y="1"/>
                    <a:pt x="594" y="1"/>
                  </a:cubicBezTo>
                  <a:cubicBezTo>
                    <a:pt x="590" y="0"/>
                    <a:pt x="568" y="13"/>
                    <a:pt x="541" y="30"/>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7" name="Freeform 9">
              <a:extLst>
                <a:ext uri="{FF2B5EF4-FFF2-40B4-BE49-F238E27FC236}">
                  <a16:creationId xmlns:a16="http://schemas.microsoft.com/office/drawing/2014/main" id="{C20B8D9B-CA65-47DD-A0A5-50DC9DB176B5}"/>
                </a:ext>
              </a:extLst>
            </p:cNvPr>
            <p:cNvSpPr>
              <a:spLocks/>
            </p:cNvSpPr>
            <p:nvPr/>
          </p:nvSpPr>
          <p:spPr bwMode="auto">
            <a:xfrm>
              <a:off x="5838826" y="1636713"/>
              <a:ext cx="1295400" cy="1643063"/>
            </a:xfrm>
            <a:custGeom>
              <a:avLst/>
              <a:gdLst>
                <a:gd name="T0" fmla="*/ 478 w 592"/>
                <a:gd name="T1" fmla="*/ 26 h 752"/>
                <a:gd name="T2" fmla="*/ 229 w 592"/>
                <a:gd name="T3" fmla="*/ 177 h 752"/>
                <a:gd name="T4" fmla="*/ 43 w 592"/>
                <a:gd name="T5" fmla="*/ 396 h 752"/>
                <a:gd name="T6" fmla="*/ 17 w 592"/>
                <a:gd name="T7" fmla="*/ 598 h 752"/>
                <a:gd name="T8" fmla="*/ 155 w 592"/>
                <a:gd name="T9" fmla="*/ 736 h 752"/>
                <a:gd name="T10" fmla="*/ 224 w 592"/>
                <a:gd name="T11" fmla="*/ 721 h 752"/>
                <a:gd name="T12" fmla="*/ 226 w 592"/>
                <a:gd name="T13" fmla="*/ 741 h 752"/>
                <a:gd name="T14" fmla="*/ 243 w 592"/>
                <a:gd name="T15" fmla="*/ 747 h 752"/>
                <a:gd name="T16" fmla="*/ 500 w 592"/>
                <a:gd name="T17" fmla="*/ 611 h 752"/>
                <a:gd name="T18" fmla="*/ 590 w 592"/>
                <a:gd name="T19" fmla="*/ 327 h 752"/>
                <a:gd name="T20" fmla="*/ 581 w 592"/>
                <a:gd name="T21" fmla="*/ 214 h 752"/>
                <a:gd name="T22" fmla="*/ 527 w 592"/>
                <a:gd name="T23" fmla="*/ 88 h 752"/>
                <a:gd name="T24" fmla="*/ 524 w 592"/>
                <a:gd name="T25" fmla="*/ 1 h 752"/>
                <a:gd name="T26" fmla="*/ 478 w 592"/>
                <a:gd name="T27" fmla="*/ 26 h 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2" h="752">
                  <a:moveTo>
                    <a:pt x="478" y="26"/>
                  </a:moveTo>
                  <a:cubicBezTo>
                    <a:pt x="392" y="72"/>
                    <a:pt x="306" y="118"/>
                    <a:pt x="229" y="177"/>
                  </a:cubicBezTo>
                  <a:cubicBezTo>
                    <a:pt x="152" y="236"/>
                    <a:pt x="84" y="308"/>
                    <a:pt x="43" y="396"/>
                  </a:cubicBezTo>
                  <a:cubicBezTo>
                    <a:pt x="14" y="459"/>
                    <a:pt x="0" y="531"/>
                    <a:pt x="17" y="598"/>
                  </a:cubicBezTo>
                  <a:cubicBezTo>
                    <a:pt x="34" y="664"/>
                    <a:pt x="87" y="724"/>
                    <a:pt x="155" y="736"/>
                  </a:cubicBezTo>
                  <a:cubicBezTo>
                    <a:pt x="181" y="557"/>
                    <a:pt x="263" y="561"/>
                    <a:pt x="224" y="721"/>
                  </a:cubicBezTo>
                  <a:cubicBezTo>
                    <a:pt x="223" y="727"/>
                    <a:pt x="221" y="736"/>
                    <a:pt x="226" y="741"/>
                  </a:cubicBezTo>
                  <a:cubicBezTo>
                    <a:pt x="230" y="746"/>
                    <a:pt x="237" y="747"/>
                    <a:pt x="243" y="747"/>
                  </a:cubicBezTo>
                  <a:cubicBezTo>
                    <a:pt x="344" y="752"/>
                    <a:pt x="441" y="693"/>
                    <a:pt x="500" y="611"/>
                  </a:cubicBezTo>
                  <a:cubicBezTo>
                    <a:pt x="559" y="530"/>
                    <a:pt x="584" y="428"/>
                    <a:pt x="590" y="327"/>
                  </a:cubicBezTo>
                  <a:cubicBezTo>
                    <a:pt x="592" y="289"/>
                    <a:pt x="592" y="250"/>
                    <a:pt x="581" y="214"/>
                  </a:cubicBezTo>
                  <a:cubicBezTo>
                    <a:pt x="569" y="170"/>
                    <a:pt x="543" y="131"/>
                    <a:pt x="527" y="88"/>
                  </a:cubicBezTo>
                  <a:cubicBezTo>
                    <a:pt x="511" y="45"/>
                    <a:pt x="524" y="1"/>
                    <a:pt x="524" y="1"/>
                  </a:cubicBezTo>
                  <a:cubicBezTo>
                    <a:pt x="521" y="0"/>
                    <a:pt x="502" y="11"/>
                    <a:pt x="478" y="26"/>
                  </a:cubicBezTo>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8" name="Freeform 10">
              <a:extLst>
                <a:ext uri="{FF2B5EF4-FFF2-40B4-BE49-F238E27FC236}">
                  <a16:creationId xmlns:a16="http://schemas.microsoft.com/office/drawing/2014/main" id="{FDB81315-24E1-4C15-A9DE-DF5683A28B39}"/>
                </a:ext>
              </a:extLst>
            </p:cNvPr>
            <p:cNvSpPr>
              <a:spLocks/>
            </p:cNvSpPr>
            <p:nvPr/>
          </p:nvSpPr>
          <p:spPr bwMode="auto">
            <a:xfrm>
              <a:off x="7519988" y="4170363"/>
              <a:ext cx="1601788" cy="1089025"/>
            </a:xfrm>
            <a:custGeom>
              <a:avLst/>
              <a:gdLst>
                <a:gd name="T0" fmla="*/ 684 w 732"/>
                <a:gd name="T1" fmla="*/ 58 h 498"/>
                <a:gd name="T2" fmla="*/ 416 w 732"/>
                <a:gd name="T3" fmla="*/ 7 h 498"/>
                <a:gd name="T4" fmla="*/ 155 w 732"/>
                <a:gd name="T5" fmla="*/ 43 h 498"/>
                <a:gd name="T6" fmla="*/ 24 w 732"/>
                <a:gd name="T7" fmla="*/ 166 h 498"/>
                <a:gd name="T8" fmla="*/ 50 w 732"/>
                <a:gd name="T9" fmla="*/ 349 h 498"/>
                <a:gd name="T10" fmla="*/ 111 w 732"/>
                <a:gd name="T11" fmla="*/ 381 h 498"/>
                <a:gd name="T12" fmla="*/ 100 w 732"/>
                <a:gd name="T13" fmla="*/ 396 h 498"/>
                <a:gd name="T14" fmla="*/ 110 w 732"/>
                <a:gd name="T15" fmla="*/ 412 h 498"/>
                <a:gd name="T16" fmla="*/ 376 w 732"/>
                <a:gd name="T17" fmla="*/ 478 h 498"/>
                <a:gd name="T18" fmla="*/ 600 w 732"/>
                <a:gd name="T19" fmla="*/ 337 h 498"/>
                <a:gd name="T20" fmla="*/ 657 w 732"/>
                <a:gd name="T21" fmla="*/ 253 h 498"/>
                <a:gd name="T22" fmla="*/ 686 w 732"/>
                <a:gd name="T23" fmla="*/ 132 h 498"/>
                <a:gd name="T24" fmla="*/ 732 w 732"/>
                <a:gd name="T25" fmla="*/ 70 h 498"/>
                <a:gd name="T26" fmla="*/ 684 w 732"/>
                <a:gd name="T27" fmla="*/ 58 h 4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32" h="498">
                  <a:moveTo>
                    <a:pt x="684" y="58"/>
                  </a:moveTo>
                  <a:cubicBezTo>
                    <a:pt x="595" y="36"/>
                    <a:pt x="505" y="14"/>
                    <a:pt x="416" y="7"/>
                  </a:cubicBezTo>
                  <a:cubicBezTo>
                    <a:pt x="326" y="0"/>
                    <a:pt x="234" y="7"/>
                    <a:pt x="155" y="43"/>
                  </a:cubicBezTo>
                  <a:cubicBezTo>
                    <a:pt x="99" y="68"/>
                    <a:pt x="49" y="109"/>
                    <a:pt x="24" y="166"/>
                  </a:cubicBezTo>
                  <a:cubicBezTo>
                    <a:pt x="0" y="223"/>
                    <a:pt x="7" y="298"/>
                    <a:pt x="50" y="349"/>
                  </a:cubicBezTo>
                  <a:cubicBezTo>
                    <a:pt x="169" y="241"/>
                    <a:pt x="228" y="295"/>
                    <a:pt x="111" y="381"/>
                  </a:cubicBezTo>
                  <a:cubicBezTo>
                    <a:pt x="106" y="385"/>
                    <a:pt x="100" y="390"/>
                    <a:pt x="100" y="396"/>
                  </a:cubicBezTo>
                  <a:cubicBezTo>
                    <a:pt x="100" y="402"/>
                    <a:pt x="105" y="408"/>
                    <a:pt x="110" y="412"/>
                  </a:cubicBezTo>
                  <a:cubicBezTo>
                    <a:pt x="182" y="478"/>
                    <a:pt x="287" y="498"/>
                    <a:pt x="376" y="478"/>
                  </a:cubicBezTo>
                  <a:cubicBezTo>
                    <a:pt x="465" y="458"/>
                    <a:pt x="540" y="403"/>
                    <a:pt x="600" y="337"/>
                  </a:cubicBezTo>
                  <a:cubicBezTo>
                    <a:pt x="623" y="312"/>
                    <a:pt x="644" y="285"/>
                    <a:pt x="657" y="253"/>
                  </a:cubicBezTo>
                  <a:cubicBezTo>
                    <a:pt x="672" y="215"/>
                    <a:pt x="674" y="171"/>
                    <a:pt x="686" y="132"/>
                  </a:cubicBezTo>
                  <a:cubicBezTo>
                    <a:pt x="698" y="92"/>
                    <a:pt x="732" y="70"/>
                    <a:pt x="732" y="70"/>
                  </a:cubicBezTo>
                  <a:cubicBezTo>
                    <a:pt x="730" y="67"/>
                    <a:pt x="710" y="62"/>
                    <a:pt x="684" y="58"/>
                  </a:cubicBez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9" name="Freeform 11">
              <a:extLst>
                <a:ext uri="{FF2B5EF4-FFF2-40B4-BE49-F238E27FC236}">
                  <a16:creationId xmlns:a16="http://schemas.microsoft.com/office/drawing/2014/main" id="{99344915-0D14-4644-A22C-C070BEC65CF9}"/>
                </a:ext>
              </a:extLst>
            </p:cNvPr>
            <p:cNvSpPr>
              <a:spLocks/>
            </p:cNvSpPr>
            <p:nvPr/>
          </p:nvSpPr>
          <p:spPr bwMode="auto">
            <a:xfrm>
              <a:off x="3070226" y="4064000"/>
              <a:ext cx="1516063" cy="1041400"/>
            </a:xfrm>
            <a:custGeom>
              <a:avLst/>
              <a:gdLst>
                <a:gd name="T0" fmla="*/ 46 w 693"/>
                <a:gd name="T1" fmla="*/ 25 h 477"/>
                <a:gd name="T2" fmla="*/ 300 w 693"/>
                <a:gd name="T3" fmla="*/ 1 h 477"/>
                <a:gd name="T4" fmla="*/ 547 w 693"/>
                <a:gd name="T5" fmla="*/ 60 h 477"/>
                <a:gd name="T6" fmla="*/ 670 w 693"/>
                <a:gd name="T7" fmla="*/ 188 h 477"/>
                <a:gd name="T8" fmla="*/ 645 w 693"/>
                <a:gd name="T9" fmla="*/ 359 h 477"/>
                <a:gd name="T10" fmla="*/ 588 w 693"/>
                <a:gd name="T11" fmla="*/ 384 h 477"/>
                <a:gd name="T12" fmla="*/ 598 w 693"/>
                <a:gd name="T13" fmla="*/ 399 h 477"/>
                <a:gd name="T14" fmla="*/ 588 w 693"/>
                <a:gd name="T15" fmla="*/ 413 h 477"/>
                <a:gd name="T16" fmla="*/ 336 w 693"/>
                <a:gd name="T17" fmla="*/ 450 h 477"/>
                <a:gd name="T18" fmla="*/ 124 w 693"/>
                <a:gd name="T19" fmla="*/ 296 h 477"/>
                <a:gd name="T20" fmla="*/ 70 w 693"/>
                <a:gd name="T21" fmla="*/ 211 h 477"/>
                <a:gd name="T22" fmla="*/ 43 w 693"/>
                <a:gd name="T23" fmla="*/ 94 h 477"/>
                <a:gd name="T24" fmla="*/ 0 w 693"/>
                <a:gd name="T25" fmla="*/ 31 h 477"/>
                <a:gd name="T26" fmla="*/ 46 w 693"/>
                <a:gd name="T27" fmla="*/ 25 h 4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93" h="477">
                  <a:moveTo>
                    <a:pt x="46" y="25"/>
                  </a:moveTo>
                  <a:cubicBezTo>
                    <a:pt x="130" y="12"/>
                    <a:pt x="215" y="0"/>
                    <a:pt x="300" y="1"/>
                  </a:cubicBezTo>
                  <a:cubicBezTo>
                    <a:pt x="385" y="3"/>
                    <a:pt x="472" y="19"/>
                    <a:pt x="547" y="60"/>
                  </a:cubicBezTo>
                  <a:cubicBezTo>
                    <a:pt x="600" y="89"/>
                    <a:pt x="648" y="132"/>
                    <a:pt x="670" y="188"/>
                  </a:cubicBezTo>
                  <a:cubicBezTo>
                    <a:pt x="693" y="245"/>
                    <a:pt x="687" y="315"/>
                    <a:pt x="645" y="359"/>
                  </a:cubicBezTo>
                  <a:cubicBezTo>
                    <a:pt x="533" y="245"/>
                    <a:pt x="477" y="291"/>
                    <a:pt x="588" y="384"/>
                  </a:cubicBezTo>
                  <a:cubicBezTo>
                    <a:pt x="592" y="388"/>
                    <a:pt x="598" y="393"/>
                    <a:pt x="598" y="399"/>
                  </a:cubicBezTo>
                  <a:cubicBezTo>
                    <a:pt x="597" y="405"/>
                    <a:pt x="593" y="409"/>
                    <a:pt x="588" y="413"/>
                  </a:cubicBezTo>
                  <a:cubicBezTo>
                    <a:pt x="519" y="468"/>
                    <a:pt x="420" y="477"/>
                    <a:pt x="336" y="450"/>
                  </a:cubicBezTo>
                  <a:cubicBezTo>
                    <a:pt x="251" y="423"/>
                    <a:pt x="180" y="364"/>
                    <a:pt x="124" y="296"/>
                  </a:cubicBezTo>
                  <a:cubicBezTo>
                    <a:pt x="102" y="270"/>
                    <a:pt x="82" y="243"/>
                    <a:pt x="70" y="211"/>
                  </a:cubicBezTo>
                  <a:cubicBezTo>
                    <a:pt x="56" y="174"/>
                    <a:pt x="54" y="133"/>
                    <a:pt x="43" y="94"/>
                  </a:cubicBezTo>
                  <a:cubicBezTo>
                    <a:pt x="32" y="56"/>
                    <a:pt x="0" y="31"/>
                    <a:pt x="0" y="31"/>
                  </a:cubicBezTo>
                  <a:cubicBezTo>
                    <a:pt x="2" y="29"/>
                    <a:pt x="21" y="27"/>
                    <a:pt x="46" y="25"/>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10" name="Freeform 12">
              <a:extLst>
                <a:ext uri="{FF2B5EF4-FFF2-40B4-BE49-F238E27FC236}">
                  <a16:creationId xmlns:a16="http://schemas.microsoft.com/office/drawing/2014/main" id="{B95972F6-580C-44E7-B48B-046DB028D046}"/>
                </a:ext>
              </a:extLst>
            </p:cNvPr>
            <p:cNvSpPr>
              <a:spLocks/>
            </p:cNvSpPr>
            <p:nvPr/>
          </p:nvSpPr>
          <p:spPr bwMode="auto">
            <a:xfrm>
              <a:off x="3078163" y="2936875"/>
              <a:ext cx="1517650" cy="1041400"/>
            </a:xfrm>
            <a:custGeom>
              <a:avLst/>
              <a:gdLst>
                <a:gd name="T0" fmla="*/ 46 w 693"/>
                <a:gd name="T1" fmla="*/ 24 h 477"/>
                <a:gd name="T2" fmla="*/ 300 w 693"/>
                <a:gd name="T3" fmla="*/ 1 h 477"/>
                <a:gd name="T4" fmla="*/ 547 w 693"/>
                <a:gd name="T5" fmla="*/ 59 h 477"/>
                <a:gd name="T6" fmla="*/ 670 w 693"/>
                <a:gd name="T7" fmla="*/ 188 h 477"/>
                <a:gd name="T8" fmla="*/ 645 w 693"/>
                <a:gd name="T9" fmla="*/ 358 h 477"/>
                <a:gd name="T10" fmla="*/ 588 w 693"/>
                <a:gd name="T11" fmla="*/ 383 h 477"/>
                <a:gd name="T12" fmla="*/ 598 w 693"/>
                <a:gd name="T13" fmla="*/ 399 h 477"/>
                <a:gd name="T14" fmla="*/ 588 w 693"/>
                <a:gd name="T15" fmla="*/ 412 h 477"/>
                <a:gd name="T16" fmla="*/ 336 w 693"/>
                <a:gd name="T17" fmla="*/ 450 h 477"/>
                <a:gd name="T18" fmla="*/ 124 w 693"/>
                <a:gd name="T19" fmla="*/ 296 h 477"/>
                <a:gd name="T20" fmla="*/ 70 w 693"/>
                <a:gd name="T21" fmla="*/ 211 h 477"/>
                <a:gd name="T22" fmla="*/ 43 w 693"/>
                <a:gd name="T23" fmla="*/ 94 h 477"/>
                <a:gd name="T24" fmla="*/ 0 w 693"/>
                <a:gd name="T25" fmla="*/ 31 h 477"/>
                <a:gd name="T26" fmla="*/ 46 w 693"/>
                <a:gd name="T27" fmla="*/ 24 h 4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93" h="477">
                  <a:moveTo>
                    <a:pt x="46" y="24"/>
                  </a:moveTo>
                  <a:cubicBezTo>
                    <a:pt x="130" y="12"/>
                    <a:pt x="215" y="0"/>
                    <a:pt x="300" y="1"/>
                  </a:cubicBezTo>
                  <a:cubicBezTo>
                    <a:pt x="385" y="3"/>
                    <a:pt x="472" y="18"/>
                    <a:pt x="547" y="59"/>
                  </a:cubicBezTo>
                  <a:cubicBezTo>
                    <a:pt x="600" y="88"/>
                    <a:pt x="648" y="132"/>
                    <a:pt x="670" y="188"/>
                  </a:cubicBezTo>
                  <a:cubicBezTo>
                    <a:pt x="693" y="244"/>
                    <a:pt x="687" y="314"/>
                    <a:pt x="645" y="358"/>
                  </a:cubicBezTo>
                  <a:cubicBezTo>
                    <a:pt x="533" y="245"/>
                    <a:pt x="477" y="291"/>
                    <a:pt x="588" y="383"/>
                  </a:cubicBezTo>
                  <a:cubicBezTo>
                    <a:pt x="592" y="387"/>
                    <a:pt x="598" y="392"/>
                    <a:pt x="598" y="399"/>
                  </a:cubicBezTo>
                  <a:cubicBezTo>
                    <a:pt x="597" y="404"/>
                    <a:pt x="593" y="409"/>
                    <a:pt x="588" y="412"/>
                  </a:cubicBezTo>
                  <a:cubicBezTo>
                    <a:pt x="519" y="468"/>
                    <a:pt x="420" y="477"/>
                    <a:pt x="336" y="450"/>
                  </a:cubicBezTo>
                  <a:cubicBezTo>
                    <a:pt x="251" y="423"/>
                    <a:pt x="180" y="364"/>
                    <a:pt x="124" y="296"/>
                  </a:cubicBezTo>
                  <a:cubicBezTo>
                    <a:pt x="102" y="270"/>
                    <a:pt x="82" y="242"/>
                    <a:pt x="70" y="211"/>
                  </a:cubicBezTo>
                  <a:cubicBezTo>
                    <a:pt x="56" y="174"/>
                    <a:pt x="54" y="132"/>
                    <a:pt x="43" y="94"/>
                  </a:cubicBezTo>
                  <a:cubicBezTo>
                    <a:pt x="32" y="55"/>
                    <a:pt x="0" y="31"/>
                    <a:pt x="0" y="31"/>
                  </a:cubicBezTo>
                  <a:cubicBezTo>
                    <a:pt x="2" y="28"/>
                    <a:pt x="21" y="26"/>
                    <a:pt x="46" y="24"/>
                  </a:cubicBezTo>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11" name="Freeform 13">
              <a:extLst>
                <a:ext uri="{FF2B5EF4-FFF2-40B4-BE49-F238E27FC236}">
                  <a16:creationId xmlns:a16="http://schemas.microsoft.com/office/drawing/2014/main" id="{8A4EA7F3-ED0B-43A6-84AA-8D43F4B0F03E}"/>
                </a:ext>
              </a:extLst>
            </p:cNvPr>
            <p:cNvSpPr>
              <a:spLocks/>
            </p:cNvSpPr>
            <p:nvPr/>
          </p:nvSpPr>
          <p:spPr bwMode="auto">
            <a:xfrm>
              <a:off x="4332288" y="2047875"/>
              <a:ext cx="1265238" cy="1346200"/>
            </a:xfrm>
            <a:custGeom>
              <a:avLst/>
              <a:gdLst>
                <a:gd name="T0" fmla="*/ 50 w 578"/>
                <a:gd name="T1" fmla="*/ 13 h 616"/>
                <a:gd name="T2" fmla="*/ 300 w 578"/>
                <a:gd name="T3" fmla="*/ 90 h 616"/>
                <a:gd name="T4" fmla="*/ 510 w 578"/>
                <a:gd name="T5" fmla="*/ 241 h 616"/>
                <a:gd name="T6" fmla="*/ 577 w 578"/>
                <a:gd name="T7" fmla="*/ 410 h 616"/>
                <a:gd name="T8" fmla="*/ 487 w 578"/>
                <a:gd name="T9" fmla="*/ 562 h 616"/>
                <a:gd name="T10" fmla="*/ 423 w 578"/>
                <a:gd name="T11" fmla="*/ 563 h 616"/>
                <a:gd name="T12" fmla="*/ 427 w 578"/>
                <a:gd name="T13" fmla="*/ 581 h 616"/>
                <a:gd name="T14" fmla="*/ 413 w 578"/>
                <a:gd name="T15" fmla="*/ 590 h 616"/>
                <a:gd name="T16" fmla="*/ 159 w 578"/>
                <a:gd name="T17" fmla="*/ 528 h 616"/>
                <a:gd name="T18" fmla="*/ 19 w 578"/>
                <a:gd name="T19" fmla="*/ 300 h 616"/>
                <a:gd name="T20" fmla="*/ 1 w 578"/>
                <a:gd name="T21" fmla="*/ 199 h 616"/>
                <a:gd name="T22" fmla="*/ 21 w 578"/>
                <a:gd name="T23" fmla="*/ 78 h 616"/>
                <a:gd name="T24" fmla="*/ 4 w 578"/>
                <a:gd name="T25" fmla="*/ 2 h 616"/>
                <a:gd name="T26" fmla="*/ 50 w 578"/>
                <a:gd name="T27" fmla="*/ 13 h 6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8" h="616">
                  <a:moveTo>
                    <a:pt x="50" y="13"/>
                  </a:moveTo>
                  <a:cubicBezTo>
                    <a:pt x="135" y="34"/>
                    <a:pt x="220" y="56"/>
                    <a:pt x="300" y="90"/>
                  </a:cubicBezTo>
                  <a:cubicBezTo>
                    <a:pt x="380" y="124"/>
                    <a:pt x="456" y="173"/>
                    <a:pt x="510" y="241"/>
                  </a:cubicBezTo>
                  <a:cubicBezTo>
                    <a:pt x="549" y="289"/>
                    <a:pt x="578" y="348"/>
                    <a:pt x="577" y="410"/>
                  </a:cubicBezTo>
                  <a:cubicBezTo>
                    <a:pt x="577" y="472"/>
                    <a:pt x="544" y="536"/>
                    <a:pt x="487" y="562"/>
                  </a:cubicBezTo>
                  <a:cubicBezTo>
                    <a:pt x="425" y="411"/>
                    <a:pt x="355" y="432"/>
                    <a:pt x="423" y="563"/>
                  </a:cubicBezTo>
                  <a:cubicBezTo>
                    <a:pt x="426" y="569"/>
                    <a:pt x="429" y="575"/>
                    <a:pt x="427" y="581"/>
                  </a:cubicBezTo>
                  <a:cubicBezTo>
                    <a:pt x="424" y="586"/>
                    <a:pt x="418" y="589"/>
                    <a:pt x="413" y="590"/>
                  </a:cubicBezTo>
                  <a:cubicBezTo>
                    <a:pt x="326" y="616"/>
                    <a:pt x="229" y="587"/>
                    <a:pt x="159" y="528"/>
                  </a:cubicBezTo>
                  <a:cubicBezTo>
                    <a:pt x="90" y="470"/>
                    <a:pt x="46" y="386"/>
                    <a:pt x="19" y="300"/>
                  </a:cubicBezTo>
                  <a:cubicBezTo>
                    <a:pt x="8" y="267"/>
                    <a:pt x="0" y="234"/>
                    <a:pt x="1" y="199"/>
                  </a:cubicBezTo>
                  <a:cubicBezTo>
                    <a:pt x="2" y="158"/>
                    <a:pt x="17" y="119"/>
                    <a:pt x="21" y="78"/>
                  </a:cubicBezTo>
                  <a:cubicBezTo>
                    <a:pt x="25" y="37"/>
                    <a:pt x="4" y="2"/>
                    <a:pt x="4" y="2"/>
                  </a:cubicBezTo>
                  <a:cubicBezTo>
                    <a:pt x="7" y="0"/>
                    <a:pt x="26" y="5"/>
                    <a:pt x="50" y="13"/>
                  </a:cubicBezTo>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grpSp>
      <p:sp>
        <p:nvSpPr>
          <p:cNvPr id="12" name="TextBox 13">
            <a:extLst>
              <a:ext uri="{FF2B5EF4-FFF2-40B4-BE49-F238E27FC236}">
                <a16:creationId xmlns:a16="http://schemas.microsoft.com/office/drawing/2014/main" id="{7F8EE4AD-FE17-4522-84EC-44E1AE310A9A}"/>
              </a:ext>
            </a:extLst>
          </p:cNvPr>
          <p:cNvSpPr txBox="1"/>
          <p:nvPr/>
        </p:nvSpPr>
        <p:spPr>
          <a:xfrm>
            <a:off x="1424921" y="704292"/>
            <a:ext cx="5172959" cy="107721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000000">
                    <a:lumMod val="85000"/>
                    <a:lumOff val="15000"/>
                  </a:srgbClr>
                </a:solidFill>
                <a:effectLst/>
                <a:uLnTx/>
                <a:uFillTx/>
                <a:latin typeface="等线 Light" panose="020F0302020204030204"/>
                <a:ea typeface="+mn-ea"/>
                <a:cs typeface="+mn-cs"/>
              </a:rPr>
              <a:t>INFOGRAPHIC</a:t>
            </a:r>
            <a:endParaRPr kumimoji="0" lang="en-US" sz="3200" b="1" i="0" u="none" strike="noStrike" kern="1200" cap="none" spc="0" normalizeH="0" baseline="0" noProof="0" dirty="0">
              <a:ln>
                <a:noFill/>
              </a:ln>
              <a:solidFill>
                <a:srgbClr val="000000">
                  <a:lumMod val="85000"/>
                  <a:lumOff val="15000"/>
                </a:srgbClr>
              </a:solidFill>
              <a:effectLst/>
              <a:uLnTx/>
              <a:uFillTx/>
              <a:latin typeface="等线"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000000">
                    <a:lumMod val="85000"/>
                    <a:lumOff val="15000"/>
                  </a:srgbClr>
                </a:solidFill>
                <a:effectLst/>
                <a:uLnTx/>
                <a:uFillTx/>
                <a:latin typeface="等线 Light" panose="020F0302020204030204"/>
                <a:ea typeface="+mn-ea"/>
                <a:cs typeface="+mn-cs"/>
              </a:rPr>
              <a:t>TREE</a:t>
            </a:r>
          </a:p>
        </p:txBody>
      </p:sp>
      <p:sp>
        <p:nvSpPr>
          <p:cNvPr id="13" name="TextBox 14">
            <a:extLst>
              <a:ext uri="{FF2B5EF4-FFF2-40B4-BE49-F238E27FC236}">
                <a16:creationId xmlns:a16="http://schemas.microsoft.com/office/drawing/2014/main" id="{330AB58E-DEA6-49A2-8E2D-1B72AAD05818}"/>
              </a:ext>
            </a:extLst>
          </p:cNvPr>
          <p:cNvSpPr txBox="1"/>
          <p:nvPr/>
        </p:nvSpPr>
        <p:spPr>
          <a:xfrm>
            <a:off x="1426081" y="4295445"/>
            <a:ext cx="2864179"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lumMod val="85000"/>
                    <a:lumOff val="15000"/>
                  </a:srgbClr>
                </a:solidFill>
                <a:effectLst/>
                <a:uLnTx/>
                <a:uFillTx/>
                <a:latin typeface="等线 Light" panose="020F0302020204030204"/>
                <a:ea typeface="+mn-ea"/>
                <a:cs typeface="+mn-cs"/>
              </a:rPr>
              <a:t>Insert Your Text Here</a:t>
            </a:r>
          </a:p>
        </p:txBody>
      </p:sp>
      <p:sp>
        <p:nvSpPr>
          <p:cNvPr id="14" name="Rectangle 15">
            <a:extLst>
              <a:ext uri="{FF2B5EF4-FFF2-40B4-BE49-F238E27FC236}">
                <a16:creationId xmlns:a16="http://schemas.microsoft.com/office/drawing/2014/main" id="{F20B1095-E54E-4B3C-A1A5-3B902EAE9B14}"/>
              </a:ext>
            </a:extLst>
          </p:cNvPr>
          <p:cNvSpPr/>
          <p:nvPr/>
        </p:nvSpPr>
        <p:spPr>
          <a:xfrm>
            <a:off x="1426081" y="4591963"/>
            <a:ext cx="3760355" cy="1080937"/>
          </a:xfrm>
          <a:prstGeom prst="rect">
            <a:avLst/>
          </a:prstGeom>
        </p:spPr>
        <p:txBody>
          <a:bodyPr wrap="square">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lumMod val="50000"/>
                    <a:lumOff val="50000"/>
                  </a:srgbClr>
                </a:solidFill>
                <a:effectLst/>
                <a:uLnTx/>
                <a:uFillTx/>
                <a:latin typeface="等线" panose="020F0502020204030204"/>
                <a:ea typeface="+mn-ea"/>
                <a:cs typeface="+mn-cs"/>
              </a:rPr>
              <a:t>Lorem Ipsum is simply dummy text of the printing and typesetting industry. Lorem Ipsum has been the industry's standard dummy text ever since the 1500s, when an unknown printer took a</a:t>
            </a:r>
          </a:p>
        </p:txBody>
      </p:sp>
      <p:sp>
        <p:nvSpPr>
          <p:cNvPr id="15" name="Rectangle 16">
            <a:extLst>
              <a:ext uri="{FF2B5EF4-FFF2-40B4-BE49-F238E27FC236}">
                <a16:creationId xmlns:a16="http://schemas.microsoft.com/office/drawing/2014/main" id="{09CAB206-6DDD-4217-B791-97001E6DFC0F}"/>
              </a:ext>
            </a:extLst>
          </p:cNvPr>
          <p:cNvSpPr/>
          <p:nvPr/>
        </p:nvSpPr>
        <p:spPr>
          <a:xfrm>
            <a:off x="1435101" y="2347119"/>
            <a:ext cx="3760355" cy="677301"/>
          </a:xfrm>
          <a:prstGeom prst="rect">
            <a:avLst/>
          </a:prstGeom>
        </p:spPr>
        <p:txBody>
          <a:bodyPr wrap="square">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351" b="0" i="1" u="none" strike="noStrike" kern="1200" cap="none" spc="0" normalizeH="0" baseline="0" noProof="0" dirty="0">
                <a:ln>
                  <a:noFill/>
                </a:ln>
                <a:solidFill>
                  <a:srgbClr val="8F38FF"/>
                </a:solidFill>
                <a:effectLst/>
                <a:uLnTx/>
                <a:uFillTx/>
                <a:latin typeface="等线 Light" panose="020F0302020204030204"/>
                <a:ea typeface="+mn-ea"/>
                <a:cs typeface="+mn-cs"/>
              </a:rPr>
              <a:t>There Are Few Plants That Are Ugly. It's How You Use Them That May Not Be Pretty.</a:t>
            </a:r>
          </a:p>
        </p:txBody>
      </p:sp>
    </p:spTree>
    <p:extLst>
      <p:ext uri="{BB962C8B-B14F-4D97-AF65-F5344CB8AC3E}">
        <p14:creationId xmlns:p14="http://schemas.microsoft.com/office/powerpoint/2010/main" val="2039093170"/>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wipe(left)">
                                      <p:cBhvr>
                                        <p:cTn id="7" dur="500"/>
                                        <p:tgtEl>
                                          <p:spTgt spid="12"/>
                                        </p:tgtEl>
                                      </p:cBhvr>
                                    </p:animEffect>
                                  </p:childTnLst>
                                </p:cTn>
                              </p:par>
                            </p:childTnLst>
                          </p:cTn>
                        </p:par>
                        <p:par>
                          <p:cTn id="8" fill="hold">
                            <p:stCondLst>
                              <p:cond delay="500"/>
                            </p:stCondLst>
                            <p:childTnLst>
                              <p:par>
                                <p:cTn id="9" presetID="22" presetClass="entr" presetSubtype="8" fill="hold" grpId="0" nodeType="afterEffect">
                                  <p:stCondLst>
                                    <p:cond delay="0"/>
                                  </p:stCondLst>
                                  <p:childTnLst>
                                    <p:set>
                                      <p:cBhvr>
                                        <p:cTn id="10" dur="1" fill="hold">
                                          <p:stCondLst>
                                            <p:cond delay="0"/>
                                          </p:stCondLst>
                                        </p:cTn>
                                        <p:tgtEl>
                                          <p:spTgt spid="15"/>
                                        </p:tgtEl>
                                        <p:attrNameLst>
                                          <p:attrName>style.visibility</p:attrName>
                                        </p:attrNameLst>
                                      </p:cBhvr>
                                      <p:to>
                                        <p:strVal val="visible"/>
                                      </p:to>
                                    </p:set>
                                    <p:animEffect transition="in" filter="wipe(left)">
                                      <p:cBhvr>
                                        <p:cTn id="11" dur="500"/>
                                        <p:tgtEl>
                                          <p:spTgt spid="15"/>
                                        </p:tgtEl>
                                      </p:cBhvr>
                                    </p:animEffect>
                                  </p:childTnLst>
                                </p:cTn>
                              </p:par>
                            </p:childTnLst>
                          </p:cTn>
                        </p:par>
                        <p:par>
                          <p:cTn id="12" fill="hold">
                            <p:stCondLst>
                              <p:cond delay="1000"/>
                            </p:stCondLst>
                            <p:childTnLst>
                              <p:par>
                                <p:cTn id="13" presetID="22" presetClass="entr" presetSubtype="8" fill="hold" grpId="0" nodeType="afterEffect">
                                  <p:stCondLst>
                                    <p:cond delay="0"/>
                                  </p:stCondLst>
                                  <p:childTnLst>
                                    <p:set>
                                      <p:cBhvr>
                                        <p:cTn id="14" dur="1" fill="hold">
                                          <p:stCondLst>
                                            <p:cond delay="0"/>
                                          </p:stCondLst>
                                        </p:cTn>
                                        <p:tgtEl>
                                          <p:spTgt spid="13"/>
                                        </p:tgtEl>
                                        <p:attrNameLst>
                                          <p:attrName>style.visibility</p:attrName>
                                        </p:attrNameLst>
                                      </p:cBhvr>
                                      <p:to>
                                        <p:strVal val="visible"/>
                                      </p:to>
                                    </p:set>
                                    <p:animEffect transition="in" filter="wipe(left)">
                                      <p:cBhvr>
                                        <p:cTn id="15" dur="500"/>
                                        <p:tgtEl>
                                          <p:spTgt spid="13"/>
                                        </p:tgtEl>
                                      </p:cBhvr>
                                    </p:animEffect>
                                  </p:childTnLst>
                                </p:cTn>
                              </p:par>
                            </p:childTnLst>
                          </p:cTn>
                        </p:par>
                        <p:par>
                          <p:cTn id="16" fill="hold">
                            <p:stCondLst>
                              <p:cond delay="1500"/>
                            </p:stCondLst>
                            <p:childTnLst>
                              <p:par>
                                <p:cTn id="17" presetID="42" presetClass="entr" presetSubtype="0" fill="hold" grpId="0" nodeType="afterEffect">
                                  <p:stCondLst>
                                    <p:cond delay="0"/>
                                  </p:stCondLst>
                                  <p:childTnLst>
                                    <p:set>
                                      <p:cBhvr>
                                        <p:cTn id="18" dur="1" fill="hold">
                                          <p:stCondLst>
                                            <p:cond delay="0"/>
                                          </p:stCondLst>
                                        </p:cTn>
                                        <p:tgtEl>
                                          <p:spTgt spid="14"/>
                                        </p:tgtEl>
                                        <p:attrNameLst>
                                          <p:attrName>style.visibility</p:attrName>
                                        </p:attrNameLst>
                                      </p:cBhvr>
                                      <p:to>
                                        <p:strVal val="visible"/>
                                      </p:to>
                                    </p:set>
                                    <p:animEffect transition="in" filter="fade">
                                      <p:cBhvr>
                                        <p:cTn id="19" dur="500"/>
                                        <p:tgtEl>
                                          <p:spTgt spid="14"/>
                                        </p:tgtEl>
                                      </p:cBhvr>
                                    </p:animEffect>
                                    <p:anim calcmode="lin" valueType="num">
                                      <p:cBhvr>
                                        <p:cTn id="20" dur="500" fill="hold"/>
                                        <p:tgtEl>
                                          <p:spTgt spid="14"/>
                                        </p:tgtEl>
                                        <p:attrNameLst>
                                          <p:attrName>ppt_x</p:attrName>
                                        </p:attrNameLst>
                                      </p:cBhvr>
                                      <p:tavLst>
                                        <p:tav tm="0">
                                          <p:val>
                                            <p:strVal val="#ppt_x"/>
                                          </p:val>
                                        </p:tav>
                                        <p:tav tm="100000">
                                          <p:val>
                                            <p:strVal val="#ppt_x"/>
                                          </p:val>
                                        </p:tav>
                                      </p:tavLst>
                                    </p:anim>
                                    <p:anim calcmode="lin" valueType="num">
                                      <p:cBhvr>
                                        <p:cTn id="21" dur="500" fill="hold"/>
                                        <p:tgtEl>
                                          <p:spTgt spid="14"/>
                                        </p:tgtEl>
                                        <p:attrNameLst>
                                          <p:attrName>ppt_y</p:attrName>
                                        </p:attrNameLst>
                                      </p:cBhvr>
                                      <p:tavLst>
                                        <p:tav tm="0">
                                          <p:val>
                                            <p:strVal val="#ppt_y+.1"/>
                                          </p:val>
                                        </p:tav>
                                        <p:tav tm="100000">
                                          <p:val>
                                            <p:strVal val="#ppt_y"/>
                                          </p:val>
                                        </p:tav>
                                      </p:tavLst>
                                    </p:anim>
                                  </p:childTnLst>
                                </p:cTn>
                              </p:par>
                            </p:childTnLst>
                          </p:cTn>
                        </p:par>
                        <p:par>
                          <p:cTn id="22" fill="hold">
                            <p:stCondLst>
                              <p:cond delay="2000"/>
                            </p:stCondLst>
                            <p:childTnLst>
                              <p:par>
                                <p:cTn id="23" presetID="22" presetClass="entr" presetSubtype="4" fill="hold" nodeType="afterEffect">
                                  <p:stCondLst>
                                    <p:cond delay="0"/>
                                  </p:stCondLst>
                                  <p:childTnLst>
                                    <p:set>
                                      <p:cBhvr>
                                        <p:cTn id="24" dur="1" fill="hold">
                                          <p:stCondLst>
                                            <p:cond delay="0"/>
                                          </p:stCondLst>
                                        </p:cTn>
                                        <p:tgtEl>
                                          <p:spTgt spid="2"/>
                                        </p:tgtEl>
                                        <p:attrNameLst>
                                          <p:attrName>style.visibility</p:attrName>
                                        </p:attrNameLst>
                                      </p:cBhvr>
                                      <p:to>
                                        <p:strVal val="visible"/>
                                      </p:to>
                                    </p:set>
                                    <p:animEffect transition="in" filter="wipe(down)">
                                      <p:cBhvr>
                                        <p:cTn id="25"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13" grpId="0"/>
      <p:bldP spid="14" grpId="0"/>
      <p:bldP spid="15" grpId="0"/>
    </p:bldLst>
  </p:timing>
</p:sld>
</file>

<file path=ppt/slides/slide6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72">
            <a:extLst>
              <a:ext uri="{FF2B5EF4-FFF2-40B4-BE49-F238E27FC236}">
                <a16:creationId xmlns:a16="http://schemas.microsoft.com/office/drawing/2014/main" id="{25490CBB-ACC2-44F2-92EF-F9299F043185}"/>
              </a:ext>
            </a:extLst>
          </p:cNvPr>
          <p:cNvGrpSpPr/>
          <p:nvPr/>
        </p:nvGrpSpPr>
        <p:grpSpPr>
          <a:xfrm>
            <a:off x="5638205" y="872838"/>
            <a:ext cx="6165871" cy="5985164"/>
            <a:chOff x="2955925" y="758825"/>
            <a:chExt cx="6283325" cy="6099176"/>
          </a:xfrm>
        </p:grpSpPr>
        <p:sp>
          <p:nvSpPr>
            <p:cNvPr id="3" name="Freeform 5">
              <a:extLst>
                <a:ext uri="{FF2B5EF4-FFF2-40B4-BE49-F238E27FC236}">
                  <a16:creationId xmlns:a16="http://schemas.microsoft.com/office/drawing/2014/main" id="{BBFE4FBA-0C75-41BB-93D5-E06B2500B9AB}"/>
                </a:ext>
              </a:extLst>
            </p:cNvPr>
            <p:cNvSpPr>
              <a:spLocks/>
            </p:cNvSpPr>
            <p:nvPr/>
          </p:nvSpPr>
          <p:spPr bwMode="auto">
            <a:xfrm>
              <a:off x="5429250" y="3306763"/>
              <a:ext cx="1441450" cy="3551238"/>
            </a:xfrm>
            <a:custGeom>
              <a:avLst/>
              <a:gdLst>
                <a:gd name="T0" fmla="*/ 545 w 601"/>
                <a:gd name="T1" fmla="*/ 1455 h 1485"/>
                <a:gd name="T2" fmla="*/ 449 w 601"/>
                <a:gd name="T3" fmla="*/ 1010 h 1485"/>
                <a:gd name="T4" fmla="*/ 463 w 601"/>
                <a:gd name="T5" fmla="*/ 555 h 1485"/>
                <a:gd name="T6" fmla="*/ 480 w 601"/>
                <a:gd name="T7" fmla="*/ 468 h 1485"/>
                <a:gd name="T8" fmla="*/ 526 w 601"/>
                <a:gd name="T9" fmla="*/ 353 h 1485"/>
                <a:gd name="T10" fmla="*/ 532 w 601"/>
                <a:gd name="T11" fmla="*/ 344 h 1485"/>
                <a:gd name="T12" fmla="*/ 539 w 601"/>
                <a:gd name="T13" fmla="*/ 334 h 1485"/>
                <a:gd name="T14" fmla="*/ 546 w 601"/>
                <a:gd name="T15" fmla="*/ 322 h 1485"/>
                <a:gd name="T16" fmla="*/ 548 w 601"/>
                <a:gd name="T17" fmla="*/ 320 h 1485"/>
                <a:gd name="T18" fmla="*/ 601 w 601"/>
                <a:gd name="T19" fmla="*/ 240 h 1485"/>
                <a:gd name="T20" fmla="*/ 589 w 601"/>
                <a:gd name="T21" fmla="*/ 233 h 1485"/>
                <a:gd name="T22" fmla="*/ 500 w 601"/>
                <a:gd name="T23" fmla="*/ 291 h 1485"/>
                <a:gd name="T24" fmla="*/ 461 w 601"/>
                <a:gd name="T25" fmla="*/ 337 h 1485"/>
                <a:gd name="T26" fmla="*/ 465 w 601"/>
                <a:gd name="T27" fmla="*/ 302 h 1485"/>
                <a:gd name="T28" fmla="*/ 475 w 601"/>
                <a:gd name="T29" fmla="*/ 247 h 1485"/>
                <a:gd name="T30" fmla="*/ 477 w 601"/>
                <a:gd name="T31" fmla="*/ 243 h 1485"/>
                <a:gd name="T32" fmla="*/ 496 w 601"/>
                <a:gd name="T33" fmla="*/ 188 h 1485"/>
                <a:gd name="T34" fmla="*/ 514 w 601"/>
                <a:gd name="T35" fmla="*/ 145 h 1485"/>
                <a:gd name="T36" fmla="*/ 550 w 601"/>
                <a:gd name="T37" fmla="*/ 62 h 1485"/>
                <a:gd name="T38" fmla="*/ 526 w 601"/>
                <a:gd name="T39" fmla="*/ 62 h 1485"/>
                <a:gd name="T40" fmla="*/ 485 w 601"/>
                <a:gd name="T41" fmla="*/ 107 h 1485"/>
                <a:gd name="T42" fmla="*/ 449 w 601"/>
                <a:gd name="T43" fmla="*/ 167 h 1485"/>
                <a:gd name="T44" fmla="*/ 398 w 601"/>
                <a:gd name="T45" fmla="*/ 286 h 1485"/>
                <a:gd name="T46" fmla="*/ 375 w 601"/>
                <a:gd name="T47" fmla="*/ 359 h 1485"/>
                <a:gd name="T48" fmla="*/ 346 w 601"/>
                <a:gd name="T49" fmla="*/ 263 h 1485"/>
                <a:gd name="T50" fmla="*/ 192 w 601"/>
                <a:gd name="T51" fmla="*/ 7 h 1485"/>
                <a:gd name="T52" fmla="*/ 185 w 601"/>
                <a:gd name="T53" fmla="*/ 5 h 1485"/>
                <a:gd name="T54" fmla="*/ 170 w 601"/>
                <a:gd name="T55" fmla="*/ 15 h 1485"/>
                <a:gd name="T56" fmla="*/ 222 w 601"/>
                <a:gd name="T57" fmla="*/ 153 h 1485"/>
                <a:gd name="T58" fmla="*/ 252 w 601"/>
                <a:gd name="T59" fmla="*/ 296 h 1485"/>
                <a:gd name="T60" fmla="*/ 259 w 601"/>
                <a:gd name="T61" fmla="*/ 355 h 1485"/>
                <a:gd name="T62" fmla="*/ 223 w 601"/>
                <a:gd name="T63" fmla="*/ 321 h 1485"/>
                <a:gd name="T64" fmla="*/ 123 w 601"/>
                <a:gd name="T65" fmla="*/ 260 h 1485"/>
                <a:gd name="T66" fmla="*/ 66 w 601"/>
                <a:gd name="T67" fmla="*/ 241 h 1485"/>
                <a:gd name="T68" fmla="*/ 40 w 601"/>
                <a:gd name="T69" fmla="*/ 238 h 1485"/>
                <a:gd name="T70" fmla="*/ 12 w 601"/>
                <a:gd name="T71" fmla="*/ 244 h 1485"/>
                <a:gd name="T72" fmla="*/ 10 w 601"/>
                <a:gd name="T73" fmla="*/ 245 h 1485"/>
                <a:gd name="T74" fmla="*/ 9 w 601"/>
                <a:gd name="T75" fmla="*/ 245 h 1485"/>
                <a:gd name="T76" fmla="*/ 4 w 601"/>
                <a:gd name="T77" fmla="*/ 259 h 1485"/>
                <a:gd name="T78" fmla="*/ 66 w 601"/>
                <a:gd name="T79" fmla="*/ 306 h 1485"/>
                <a:gd name="T80" fmla="*/ 128 w 601"/>
                <a:gd name="T81" fmla="*/ 366 h 1485"/>
                <a:gd name="T82" fmla="*/ 215 w 601"/>
                <a:gd name="T83" fmla="*/ 519 h 1485"/>
                <a:gd name="T84" fmla="*/ 250 w 601"/>
                <a:gd name="T85" fmla="*/ 625 h 1485"/>
                <a:gd name="T86" fmla="*/ 258 w 601"/>
                <a:gd name="T87" fmla="*/ 663 h 1485"/>
                <a:gd name="T88" fmla="*/ 264 w 601"/>
                <a:gd name="T89" fmla="*/ 691 h 1485"/>
                <a:gd name="T90" fmla="*/ 274 w 601"/>
                <a:gd name="T91" fmla="*/ 975 h 1485"/>
                <a:gd name="T92" fmla="*/ 236 w 601"/>
                <a:gd name="T93" fmla="*/ 1186 h 1485"/>
                <a:gd name="T94" fmla="*/ 225 w 601"/>
                <a:gd name="T95" fmla="*/ 1243 h 1485"/>
                <a:gd name="T96" fmla="*/ 197 w 601"/>
                <a:gd name="T97" fmla="*/ 1339 h 1485"/>
                <a:gd name="T98" fmla="*/ 164 w 601"/>
                <a:gd name="T99" fmla="*/ 1460 h 1485"/>
                <a:gd name="T100" fmla="*/ 167 w 601"/>
                <a:gd name="T101" fmla="*/ 1485 h 1485"/>
                <a:gd name="T102" fmla="*/ 549 w 601"/>
                <a:gd name="T103" fmla="*/ 1485 h 1485"/>
                <a:gd name="T104" fmla="*/ 545 w 601"/>
                <a:gd name="T105" fmla="*/ 1455 h 14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01" h="1485">
                  <a:moveTo>
                    <a:pt x="545" y="1455"/>
                  </a:moveTo>
                  <a:cubicBezTo>
                    <a:pt x="483" y="1315"/>
                    <a:pt x="458" y="1162"/>
                    <a:pt x="449" y="1010"/>
                  </a:cubicBezTo>
                  <a:cubicBezTo>
                    <a:pt x="441" y="860"/>
                    <a:pt x="440" y="705"/>
                    <a:pt x="463" y="555"/>
                  </a:cubicBezTo>
                  <a:cubicBezTo>
                    <a:pt x="467" y="526"/>
                    <a:pt x="473" y="496"/>
                    <a:pt x="480" y="468"/>
                  </a:cubicBezTo>
                  <a:cubicBezTo>
                    <a:pt x="495" y="429"/>
                    <a:pt x="510" y="391"/>
                    <a:pt x="526" y="353"/>
                  </a:cubicBezTo>
                  <a:cubicBezTo>
                    <a:pt x="528" y="350"/>
                    <a:pt x="530" y="347"/>
                    <a:pt x="532" y="344"/>
                  </a:cubicBezTo>
                  <a:cubicBezTo>
                    <a:pt x="534" y="340"/>
                    <a:pt x="537" y="337"/>
                    <a:pt x="539" y="334"/>
                  </a:cubicBezTo>
                  <a:cubicBezTo>
                    <a:pt x="542" y="330"/>
                    <a:pt x="544" y="326"/>
                    <a:pt x="546" y="322"/>
                  </a:cubicBezTo>
                  <a:cubicBezTo>
                    <a:pt x="547" y="322"/>
                    <a:pt x="547" y="321"/>
                    <a:pt x="548" y="320"/>
                  </a:cubicBezTo>
                  <a:cubicBezTo>
                    <a:pt x="562" y="292"/>
                    <a:pt x="581" y="265"/>
                    <a:pt x="601" y="240"/>
                  </a:cubicBezTo>
                  <a:cubicBezTo>
                    <a:pt x="599" y="236"/>
                    <a:pt x="594" y="232"/>
                    <a:pt x="589" y="233"/>
                  </a:cubicBezTo>
                  <a:cubicBezTo>
                    <a:pt x="555" y="236"/>
                    <a:pt x="523" y="267"/>
                    <a:pt x="500" y="291"/>
                  </a:cubicBezTo>
                  <a:cubicBezTo>
                    <a:pt x="486" y="305"/>
                    <a:pt x="473" y="321"/>
                    <a:pt x="461" y="337"/>
                  </a:cubicBezTo>
                  <a:cubicBezTo>
                    <a:pt x="462" y="325"/>
                    <a:pt x="464" y="314"/>
                    <a:pt x="465" y="302"/>
                  </a:cubicBezTo>
                  <a:cubicBezTo>
                    <a:pt x="468" y="284"/>
                    <a:pt x="472" y="266"/>
                    <a:pt x="475" y="247"/>
                  </a:cubicBezTo>
                  <a:cubicBezTo>
                    <a:pt x="476" y="246"/>
                    <a:pt x="477" y="245"/>
                    <a:pt x="477" y="243"/>
                  </a:cubicBezTo>
                  <a:cubicBezTo>
                    <a:pt x="481" y="224"/>
                    <a:pt x="488" y="206"/>
                    <a:pt x="496" y="188"/>
                  </a:cubicBezTo>
                  <a:cubicBezTo>
                    <a:pt x="501" y="173"/>
                    <a:pt x="507" y="159"/>
                    <a:pt x="514" y="145"/>
                  </a:cubicBezTo>
                  <a:cubicBezTo>
                    <a:pt x="527" y="118"/>
                    <a:pt x="537" y="89"/>
                    <a:pt x="550" y="62"/>
                  </a:cubicBezTo>
                  <a:cubicBezTo>
                    <a:pt x="544" y="56"/>
                    <a:pt x="534" y="54"/>
                    <a:pt x="526" y="62"/>
                  </a:cubicBezTo>
                  <a:cubicBezTo>
                    <a:pt x="511" y="76"/>
                    <a:pt x="498" y="90"/>
                    <a:pt x="485" y="107"/>
                  </a:cubicBezTo>
                  <a:cubicBezTo>
                    <a:pt x="472" y="126"/>
                    <a:pt x="460" y="146"/>
                    <a:pt x="449" y="167"/>
                  </a:cubicBezTo>
                  <a:cubicBezTo>
                    <a:pt x="429" y="205"/>
                    <a:pt x="414" y="246"/>
                    <a:pt x="398" y="286"/>
                  </a:cubicBezTo>
                  <a:cubicBezTo>
                    <a:pt x="389" y="310"/>
                    <a:pt x="382" y="334"/>
                    <a:pt x="375" y="359"/>
                  </a:cubicBezTo>
                  <a:cubicBezTo>
                    <a:pt x="367" y="326"/>
                    <a:pt x="357" y="294"/>
                    <a:pt x="346" y="263"/>
                  </a:cubicBezTo>
                  <a:cubicBezTo>
                    <a:pt x="313" y="170"/>
                    <a:pt x="265" y="75"/>
                    <a:pt x="192" y="7"/>
                  </a:cubicBezTo>
                  <a:cubicBezTo>
                    <a:pt x="190" y="5"/>
                    <a:pt x="188" y="5"/>
                    <a:pt x="185" y="5"/>
                  </a:cubicBezTo>
                  <a:cubicBezTo>
                    <a:pt x="179" y="0"/>
                    <a:pt x="167" y="6"/>
                    <a:pt x="170" y="15"/>
                  </a:cubicBezTo>
                  <a:cubicBezTo>
                    <a:pt x="185" y="62"/>
                    <a:pt x="208" y="106"/>
                    <a:pt x="222" y="153"/>
                  </a:cubicBezTo>
                  <a:cubicBezTo>
                    <a:pt x="236" y="200"/>
                    <a:pt x="245" y="248"/>
                    <a:pt x="252" y="296"/>
                  </a:cubicBezTo>
                  <a:cubicBezTo>
                    <a:pt x="255" y="316"/>
                    <a:pt x="257" y="335"/>
                    <a:pt x="259" y="355"/>
                  </a:cubicBezTo>
                  <a:cubicBezTo>
                    <a:pt x="248" y="343"/>
                    <a:pt x="236" y="332"/>
                    <a:pt x="223" y="321"/>
                  </a:cubicBezTo>
                  <a:cubicBezTo>
                    <a:pt x="192" y="296"/>
                    <a:pt x="160" y="275"/>
                    <a:pt x="123" y="260"/>
                  </a:cubicBezTo>
                  <a:cubicBezTo>
                    <a:pt x="105" y="252"/>
                    <a:pt x="86" y="245"/>
                    <a:pt x="66" y="241"/>
                  </a:cubicBezTo>
                  <a:cubicBezTo>
                    <a:pt x="58" y="240"/>
                    <a:pt x="49" y="239"/>
                    <a:pt x="40" y="238"/>
                  </a:cubicBezTo>
                  <a:cubicBezTo>
                    <a:pt x="29" y="238"/>
                    <a:pt x="23" y="241"/>
                    <a:pt x="12" y="244"/>
                  </a:cubicBezTo>
                  <a:cubicBezTo>
                    <a:pt x="12" y="244"/>
                    <a:pt x="11" y="245"/>
                    <a:pt x="10" y="245"/>
                  </a:cubicBezTo>
                  <a:cubicBezTo>
                    <a:pt x="10" y="245"/>
                    <a:pt x="10" y="245"/>
                    <a:pt x="9" y="245"/>
                  </a:cubicBezTo>
                  <a:cubicBezTo>
                    <a:pt x="4" y="247"/>
                    <a:pt x="0" y="254"/>
                    <a:pt x="4" y="259"/>
                  </a:cubicBezTo>
                  <a:cubicBezTo>
                    <a:pt x="17" y="280"/>
                    <a:pt x="47" y="291"/>
                    <a:pt x="66" y="306"/>
                  </a:cubicBezTo>
                  <a:cubicBezTo>
                    <a:pt x="89" y="323"/>
                    <a:pt x="109" y="344"/>
                    <a:pt x="128" y="366"/>
                  </a:cubicBezTo>
                  <a:cubicBezTo>
                    <a:pt x="165" y="411"/>
                    <a:pt x="193" y="464"/>
                    <a:pt x="215" y="519"/>
                  </a:cubicBezTo>
                  <a:cubicBezTo>
                    <a:pt x="228" y="553"/>
                    <a:pt x="240" y="589"/>
                    <a:pt x="250" y="625"/>
                  </a:cubicBezTo>
                  <a:cubicBezTo>
                    <a:pt x="253" y="638"/>
                    <a:pt x="255" y="651"/>
                    <a:pt x="258" y="663"/>
                  </a:cubicBezTo>
                  <a:cubicBezTo>
                    <a:pt x="260" y="672"/>
                    <a:pt x="262" y="682"/>
                    <a:pt x="264" y="691"/>
                  </a:cubicBezTo>
                  <a:cubicBezTo>
                    <a:pt x="274" y="785"/>
                    <a:pt x="287" y="880"/>
                    <a:pt x="274" y="975"/>
                  </a:cubicBezTo>
                  <a:cubicBezTo>
                    <a:pt x="264" y="1046"/>
                    <a:pt x="249" y="1116"/>
                    <a:pt x="236" y="1186"/>
                  </a:cubicBezTo>
                  <a:cubicBezTo>
                    <a:pt x="232" y="1205"/>
                    <a:pt x="229" y="1224"/>
                    <a:pt x="225" y="1243"/>
                  </a:cubicBezTo>
                  <a:cubicBezTo>
                    <a:pt x="216" y="1275"/>
                    <a:pt x="206" y="1307"/>
                    <a:pt x="197" y="1339"/>
                  </a:cubicBezTo>
                  <a:cubicBezTo>
                    <a:pt x="186" y="1379"/>
                    <a:pt x="170" y="1419"/>
                    <a:pt x="164" y="1460"/>
                  </a:cubicBezTo>
                  <a:cubicBezTo>
                    <a:pt x="162" y="1470"/>
                    <a:pt x="163" y="1478"/>
                    <a:pt x="167" y="1485"/>
                  </a:cubicBezTo>
                  <a:cubicBezTo>
                    <a:pt x="549" y="1485"/>
                    <a:pt x="549" y="1485"/>
                    <a:pt x="549" y="1485"/>
                  </a:cubicBezTo>
                  <a:cubicBezTo>
                    <a:pt x="551" y="1475"/>
                    <a:pt x="550" y="1465"/>
                    <a:pt x="545" y="1455"/>
                  </a:cubicBezTo>
                  <a:close/>
                </a:path>
              </a:pathLst>
            </a:custGeom>
            <a:solidFill>
              <a:schemeClr val="tx1">
                <a:lumMod val="85000"/>
                <a:lumOff val="1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4" name="Freeform 6">
              <a:extLst>
                <a:ext uri="{FF2B5EF4-FFF2-40B4-BE49-F238E27FC236}">
                  <a16:creationId xmlns:a16="http://schemas.microsoft.com/office/drawing/2014/main" id="{5E14334C-6948-4DDA-9F10-404282C7F277}"/>
                </a:ext>
              </a:extLst>
            </p:cNvPr>
            <p:cNvSpPr>
              <a:spLocks/>
            </p:cNvSpPr>
            <p:nvPr/>
          </p:nvSpPr>
          <p:spPr bwMode="auto">
            <a:xfrm>
              <a:off x="6318250" y="2081213"/>
              <a:ext cx="1116013" cy="1331913"/>
            </a:xfrm>
            <a:custGeom>
              <a:avLst/>
              <a:gdLst>
                <a:gd name="T0" fmla="*/ 394 w 465"/>
                <a:gd name="T1" fmla="*/ 17 h 557"/>
                <a:gd name="T2" fmla="*/ 196 w 465"/>
                <a:gd name="T3" fmla="*/ 115 h 557"/>
                <a:gd name="T4" fmla="*/ 41 w 465"/>
                <a:gd name="T5" fmla="*/ 269 h 557"/>
                <a:gd name="T6" fmla="*/ 8 w 465"/>
                <a:gd name="T7" fmla="*/ 419 h 557"/>
                <a:gd name="T8" fmla="*/ 104 w 465"/>
                <a:gd name="T9" fmla="*/ 533 h 557"/>
                <a:gd name="T10" fmla="*/ 343 w 465"/>
                <a:gd name="T11" fmla="*/ 129 h 557"/>
                <a:gd name="T12" fmla="*/ 157 w 465"/>
                <a:gd name="T13" fmla="*/ 526 h 557"/>
                <a:gd name="T14" fmla="*/ 157 w 465"/>
                <a:gd name="T15" fmla="*/ 541 h 557"/>
                <a:gd name="T16" fmla="*/ 170 w 465"/>
                <a:gd name="T17" fmla="*/ 547 h 557"/>
                <a:gd name="T18" fmla="*/ 373 w 465"/>
                <a:gd name="T19" fmla="*/ 461 h 557"/>
                <a:gd name="T20" fmla="*/ 459 w 465"/>
                <a:gd name="T21" fmla="*/ 251 h 557"/>
                <a:gd name="T22" fmla="*/ 460 w 465"/>
                <a:gd name="T23" fmla="*/ 165 h 557"/>
                <a:gd name="T24" fmla="*/ 427 w 465"/>
                <a:gd name="T25" fmla="*/ 67 h 557"/>
                <a:gd name="T26" fmla="*/ 430 w 465"/>
                <a:gd name="T27" fmla="*/ 1 h 557"/>
                <a:gd name="T28" fmla="*/ 394 w 465"/>
                <a:gd name="T29" fmla="*/ 17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65" h="557">
                  <a:moveTo>
                    <a:pt x="394" y="17"/>
                  </a:moveTo>
                  <a:cubicBezTo>
                    <a:pt x="326" y="46"/>
                    <a:pt x="258" y="75"/>
                    <a:pt x="196" y="115"/>
                  </a:cubicBezTo>
                  <a:cubicBezTo>
                    <a:pt x="134" y="154"/>
                    <a:pt x="78" y="205"/>
                    <a:pt x="41" y="269"/>
                  </a:cubicBezTo>
                  <a:cubicBezTo>
                    <a:pt x="15" y="314"/>
                    <a:pt x="0" y="368"/>
                    <a:pt x="8" y="419"/>
                  </a:cubicBezTo>
                  <a:cubicBezTo>
                    <a:pt x="17" y="471"/>
                    <a:pt x="54" y="519"/>
                    <a:pt x="104" y="533"/>
                  </a:cubicBezTo>
                  <a:cubicBezTo>
                    <a:pt x="135" y="399"/>
                    <a:pt x="233" y="212"/>
                    <a:pt x="343" y="129"/>
                  </a:cubicBezTo>
                  <a:cubicBezTo>
                    <a:pt x="257" y="220"/>
                    <a:pt x="197" y="407"/>
                    <a:pt x="157" y="526"/>
                  </a:cubicBezTo>
                  <a:cubicBezTo>
                    <a:pt x="156" y="531"/>
                    <a:pt x="154" y="537"/>
                    <a:pt x="157" y="541"/>
                  </a:cubicBezTo>
                  <a:cubicBezTo>
                    <a:pt x="160" y="545"/>
                    <a:pt x="165" y="546"/>
                    <a:pt x="170" y="547"/>
                  </a:cubicBezTo>
                  <a:cubicBezTo>
                    <a:pt x="246" y="557"/>
                    <a:pt x="323" y="519"/>
                    <a:pt x="373" y="461"/>
                  </a:cubicBezTo>
                  <a:cubicBezTo>
                    <a:pt x="422" y="403"/>
                    <a:pt x="448" y="327"/>
                    <a:pt x="459" y="251"/>
                  </a:cubicBezTo>
                  <a:cubicBezTo>
                    <a:pt x="463" y="223"/>
                    <a:pt x="465" y="194"/>
                    <a:pt x="460" y="165"/>
                  </a:cubicBezTo>
                  <a:cubicBezTo>
                    <a:pt x="453" y="131"/>
                    <a:pt x="436" y="100"/>
                    <a:pt x="427" y="67"/>
                  </a:cubicBezTo>
                  <a:cubicBezTo>
                    <a:pt x="418" y="33"/>
                    <a:pt x="430" y="1"/>
                    <a:pt x="430" y="1"/>
                  </a:cubicBezTo>
                  <a:cubicBezTo>
                    <a:pt x="428" y="0"/>
                    <a:pt x="413" y="7"/>
                    <a:pt x="394" y="17"/>
                  </a:cubicBezTo>
                </a:path>
              </a:pathLst>
            </a:custGeom>
            <a:solidFill>
              <a:schemeClr val="accent4">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5" name="Freeform 7">
              <a:extLst>
                <a:ext uri="{FF2B5EF4-FFF2-40B4-BE49-F238E27FC236}">
                  <a16:creationId xmlns:a16="http://schemas.microsoft.com/office/drawing/2014/main" id="{3036D93B-309F-4148-8DB3-10CFB7AC389C}"/>
                </a:ext>
              </a:extLst>
            </p:cNvPr>
            <p:cNvSpPr>
              <a:spLocks/>
            </p:cNvSpPr>
            <p:nvPr/>
          </p:nvSpPr>
          <p:spPr bwMode="auto">
            <a:xfrm>
              <a:off x="6865938" y="1216025"/>
              <a:ext cx="404813" cy="482600"/>
            </a:xfrm>
            <a:custGeom>
              <a:avLst/>
              <a:gdLst>
                <a:gd name="T0" fmla="*/ 143 w 169"/>
                <a:gd name="T1" fmla="*/ 7 h 202"/>
                <a:gd name="T2" fmla="*/ 71 w 169"/>
                <a:gd name="T3" fmla="*/ 42 h 202"/>
                <a:gd name="T4" fmla="*/ 15 w 169"/>
                <a:gd name="T5" fmla="*/ 98 h 202"/>
                <a:gd name="T6" fmla="*/ 3 w 169"/>
                <a:gd name="T7" fmla="*/ 152 h 202"/>
                <a:gd name="T8" fmla="*/ 38 w 169"/>
                <a:gd name="T9" fmla="*/ 193 h 202"/>
                <a:gd name="T10" fmla="*/ 124 w 169"/>
                <a:gd name="T11" fmla="*/ 47 h 202"/>
                <a:gd name="T12" fmla="*/ 57 w 169"/>
                <a:gd name="T13" fmla="*/ 191 h 202"/>
                <a:gd name="T14" fmla="*/ 57 w 169"/>
                <a:gd name="T15" fmla="*/ 196 h 202"/>
                <a:gd name="T16" fmla="*/ 62 w 169"/>
                <a:gd name="T17" fmla="*/ 198 h 202"/>
                <a:gd name="T18" fmla="*/ 135 w 169"/>
                <a:gd name="T19" fmla="*/ 167 h 202"/>
                <a:gd name="T20" fmla="*/ 166 w 169"/>
                <a:gd name="T21" fmla="*/ 91 h 202"/>
                <a:gd name="T22" fmla="*/ 167 w 169"/>
                <a:gd name="T23" fmla="*/ 60 h 202"/>
                <a:gd name="T24" fmla="*/ 155 w 169"/>
                <a:gd name="T25" fmla="*/ 25 h 202"/>
                <a:gd name="T26" fmla="*/ 156 w 169"/>
                <a:gd name="T27" fmla="*/ 1 h 202"/>
                <a:gd name="T28" fmla="*/ 143 w 169"/>
                <a:gd name="T29" fmla="*/ 7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9" h="202">
                  <a:moveTo>
                    <a:pt x="143" y="7"/>
                  </a:moveTo>
                  <a:cubicBezTo>
                    <a:pt x="118" y="17"/>
                    <a:pt x="93" y="28"/>
                    <a:pt x="71" y="42"/>
                  </a:cubicBezTo>
                  <a:cubicBezTo>
                    <a:pt x="49" y="56"/>
                    <a:pt x="28" y="75"/>
                    <a:pt x="15" y="98"/>
                  </a:cubicBezTo>
                  <a:cubicBezTo>
                    <a:pt x="6" y="114"/>
                    <a:pt x="0" y="134"/>
                    <a:pt x="3" y="152"/>
                  </a:cubicBezTo>
                  <a:cubicBezTo>
                    <a:pt x="6" y="171"/>
                    <a:pt x="20" y="188"/>
                    <a:pt x="38" y="193"/>
                  </a:cubicBezTo>
                  <a:cubicBezTo>
                    <a:pt x="49" y="145"/>
                    <a:pt x="84" y="77"/>
                    <a:pt x="124" y="47"/>
                  </a:cubicBezTo>
                  <a:cubicBezTo>
                    <a:pt x="93" y="80"/>
                    <a:pt x="71" y="148"/>
                    <a:pt x="57" y="191"/>
                  </a:cubicBezTo>
                  <a:cubicBezTo>
                    <a:pt x="56" y="193"/>
                    <a:pt x="56" y="195"/>
                    <a:pt x="57" y="196"/>
                  </a:cubicBezTo>
                  <a:cubicBezTo>
                    <a:pt x="58" y="198"/>
                    <a:pt x="60" y="198"/>
                    <a:pt x="62" y="198"/>
                  </a:cubicBezTo>
                  <a:cubicBezTo>
                    <a:pt x="89" y="202"/>
                    <a:pt x="117" y="188"/>
                    <a:pt x="135" y="167"/>
                  </a:cubicBezTo>
                  <a:cubicBezTo>
                    <a:pt x="153" y="146"/>
                    <a:pt x="162" y="119"/>
                    <a:pt x="166" y="91"/>
                  </a:cubicBezTo>
                  <a:cubicBezTo>
                    <a:pt x="168" y="81"/>
                    <a:pt x="169" y="71"/>
                    <a:pt x="167" y="60"/>
                  </a:cubicBezTo>
                  <a:cubicBezTo>
                    <a:pt x="164" y="48"/>
                    <a:pt x="158" y="37"/>
                    <a:pt x="155" y="25"/>
                  </a:cubicBezTo>
                  <a:cubicBezTo>
                    <a:pt x="151" y="12"/>
                    <a:pt x="156" y="1"/>
                    <a:pt x="156" y="1"/>
                  </a:cubicBezTo>
                  <a:cubicBezTo>
                    <a:pt x="155" y="0"/>
                    <a:pt x="149" y="3"/>
                    <a:pt x="143" y="7"/>
                  </a:cubicBezTo>
                </a:path>
              </a:pathLst>
            </a:custGeom>
            <a:solidFill>
              <a:schemeClr val="accent4">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6" name="Freeform 8">
              <a:extLst>
                <a:ext uri="{FF2B5EF4-FFF2-40B4-BE49-F238E27FC236}">
                  <a16:creationId xmlns:a16="http://schemas.microsoft.com/office/drawing/2014/main" id="{5E73E4CC-F4FF-4513-8A5F-9F618F835D4C}"/>
                </a:ext>
              </a:extLst>
            </p:cNvPr>
            <p:cNvSpPr>
              <a:spLocks/>
            </p:cNvSpPr>
            <p:nvPr/>
          </p:nvSpPr>
          <p:spPr bwMode="auto">
            <a:xfrm>
              <a:off x="7321550" y="1192213"/>
              <a:ext cx="568325" cy="679450"/>
            </a:xfrm>
            <a:custGeom>
              <a:avLst/>
              <a:gdLst>
                <a:gd name="T0" fmla="*/ 201 w 237"/>
                <a:gd name="T1" fmla="*/ 9 h 284"/>
                <a:gd name="T2" fmla="*/ 100 w 237"/>
                <a:gd name="T3" fmla="*/ 59 h 284"/>
                <a:gd name="T4" fmla="*/ 21 w 237"/>
                <a:gd name="T5" fmla="*/ 137 h 284"/>
                <a:gd name="T6" fmla="*/ 5 w 237"/>
                <a:gd name="T7" fmla="*/ 214 h 284"/>
                <a:gd name="T8" fmla="*/ 53 w 237"/>
                <a:gd name="T9" fmla="*/ 272 h 284"/>
                <a:gd name="T10" fmla="*/ 175 w 237"/>
                <a:gd name="T11" fmla="*/ 66 h 284"/>
                <a:gd name="T12" fmla="*/ 81 w 237"/>
                <a:gd name="T13" fmla="*/ 268 h 284"/>
                <a:gd name="T14" fmla="*/ 80 w 237"/>
                <a:gd name="T15" fmla="*/ 276 h 284"/>
                <a:gd name="T16" fmla="*/ 87 w 237"/>
                <a:gd name="T17" fmla="*/ 279 h 284"/>
                <a:gd name="T18" fmla="*/ 190 w 237"/>
                <a:gd name="T19" fmla="*/ 235 h 284"/>
                <a:gd name="T20" fmla="*/ 234 w 237"/>
                <a:gd name="T21" fmla="*/ 128 h 284"/>
                <a:gd name="T22" fmla="*/ 235 w 237"/>
                <a:gd name="T23" fmla="*/ 84 h 284"/>
                <a:gd name="T24" fmla="*/ 218 w 237"/>
                <a:gd name="T25" fmla="*/ 34 h 284"/>
                <a:gd name="T26" fmla="*/ 220 w 237"/>
                <a:gd name="T27" fmla="*/ 1 h 284"/>
                <a:gd name="T28" fmla="*/ 201 w 237"/>
                <a:gd name="T29" fmla="*/ 9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7" h="284">
                  <a:moveTo>
                    <a:pt x="201" y="9"/>
                  </a:moveTo>
                  <a:cubicBezTo>
                    <a:pt x="166" y="23"/>
                    <a:pt x="132" y="38"/>
                    <a:pt x="100" y="59"/>
                  </a:cubicBezTo>
                  <a:cubicBezTo>
                    <a:pt x="69" y="79"/>
                    <a:pt x="40" y="104"/>
                    <a:pt x="21" y="137"/>
                  </a:cubicBezTo>
                  <a:cubicBezTo>
                    <a:pt x="8" y="160"/>
                    <a:pt x="0" y="187"/>
                    <a:pt x="5" y="214"/>
                  </a:cubicBezTo>
                  <a:cubicBezTo>
                    <a:pt x="9" y="240"/>
                    <a:pt x="28" y="265"/>
                    <a:pt x="53" y="272"/>
                  </a:cubicBezTo>
                  <a:cubicBezTo>
                    <a:pt x="69" y="203"/>
                    <a:pt x="119" y="108"/>
                    <a:pt x="175" y="66"/>
                  </a:cubicBezTo>
                  <a:cubicBezTo>
                    <a:pt x="131" y="112"/>
                    <a:pt x="101" y="208"/>
                    <a:pt x="81" y="268"/>
                  </a:cubicBezTo>
                  <a:cubicBezTo>
                    <a:pt x="80" y="270"/>
                    <a:pt x="79" y="273"/>
                    <a:pt x="80" y="276"/>
                  </a:cubicBezTo>
                  <a:cubicBezTo>
                    <a:pt x="82" y="278"/>
                    <a:pt x="85" y="278"/>
                    <a:pt x="87" y="279"/>
                  </a:cubicBezTo>
                  <a:cubicBezTo>
                    <a:pt x="126" y="284"/>
                    <a:pt x="165" y="264"/>
                    <a:pt x="190" y="235"/>
                  </a:cubicBezTo>
                  <a:cubicBezTo>
                    <a:pt x="216" y="205"/>
                    <a:pt x="229" y="167"/>
                    <a:pt x="234" y="128"/>
                  </a:cubicBezTo>
                  <a:cubicBezTo>
                    <a:pt x="236" y="114"/>
                    <a:pt x="237" y="99"/>
                    <a:pt x="235" y="84"/>
                  </a:cubicBezTo>
                  <a:cubicBezTo>
                    <a:pt x="231" y="67"/>
                    <a:pt x="222" y="51"/>
                    <a:pt x="218" y="34"/>
                  </a:cubicBezTo>
                  <a:cubicBezTo>
                    <a:pt x="213" y="17"/>
                    <a:pt x="220" y="1"/>
                    <a:pt x="220" y="1"/>
                  </a:cubicBezTo>
                  <a:cubicBezTo>
                    <a:pt x="218" y="0"/>
                    <a:pt x="211" y="4"/>
                    <a:pt x="201" y="9"/>
                  </a:cubicBezTo>
                </a:path>
              </a:pathLst>
            </a:custGeom>
            <a:solidFill>
              <a:schemeClr val="accent4">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7" name="Freeform 9">
              <a:extLst>
                <a:ext uri="{FF2B5EF4-FFF2-40B4-BE49-F238E27FC236}">
                  <a16:creationId xmlns:a16="http://schemas.microsoft.com/office/drawing/2014/main" id="{83788E34-35F3-4E24-B6FD-844ED86BBCA9}"/>
                </a:ext>
              </a:extLst>
            </p:cNvPr>
            <p:cNvSpPr>
              <a:spLocks/>
            </p:cNvSpPr>
            <p:nvPr/>
          </p:nvSpPr>
          <p:spPr bwMode="auto">
            <a:xfrm>
              <a:off x="6881813" y="3203575"/>
              <a:ext cx="1493838" cy="958850"/>
            </a:xfrm>
            <a:custGeom>
              <a:avLst/>
              <a:gdLst>
                <a:gd name="T0" fmla="*/ 584 w 623"/>
                <a:gd name="T1" fmla="*/ 63 h 401"/>
                <a:gd name="T2" fmla="*/ 370 w 623"/>
                <a:gd name="T3" fmla="*/ 10 h 401"/>
                <a:gd name="T4" fmla="*/ 152 w 623"/>
                <a:gd name="T5" fmla="*/ 28 h 401"/>
                <a:gd name="T6" fmla="*/ 30 w 623"/>
                <a:gd name="T7" fmla="*/ 122 h 401"/>
                <a:gd name="T8" fmla="*/ 30 w 623"/>
                <a:gd name="T9" fmla="*/ 271 h 401"/>
                <a:gd name="T10" fmla="*/ 473 w 623"/>
                <a:gd name="T11" fmla="*/ 116 h 401"/>
                <a:gd name="T12" fmla="*/ 76 w 623"/>
                <a:gd name="T13" fmla="*/ 299 h 401"/>
                <a:gd name="T14" fmla="*/ 65 w 623"/>
                <a:gd name="T15" fmla="*/ 311 h 401"/>
                <a:gd name="T16" fmla="*/ 71 w 623"/>
                <a:gd name="T17" fmla="*/ 324 h 401"/>
                <a:gd name="T18" fmla="*/ 282 w 623"/>
                <a:gd name="T19" fmla="*/ 389 h 401"/>
                <a:gd name="T20" fmla="*/ 483 w 623"/>
                <a:gd name="T21" fmla="*/ 284 h 401"/>
                <a:gd name="T22" fmla="*/ 539 w 623"/>
                <a:gd name="T23" fmla="*/ 219 h 401"/>
                <a:gd name="T24" fmla="*/ 577 w 623"/>
                <a:gd name="T25" fmla="*/ 123 h 401"/>
                <a:gd name="T26" fmla="*/ 623 w 623"/>
                <a:gd name="T27" fmla="*/ 75 h 401"/>
                <a:gd name="T28" fmla="*/ 584 w 623"/>
                <a:gd name="T29" fmla="*/ 63 h 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23" h="401">
                  <a:moveTo>
                    <a:pt x="584" y="63"/>
                  </a:moveTo>
                  <a:cubicBezTo>
                    <a:pt x="514" y="42"/>
                    <a:pt x="443" y="20"/>
                    <a:pt x="370" y="10"/>
                  </a:cubicBezTo>
                  <a:cubicBezTo>
                    <a:pt x="297" y="0"/>
                    <a:pt x="221" y="3"/>
                    <a:pt x="152" y="28"/>
                  </a:cubicBezTo>
                  <a:cubicBezTo>
                    <a:pt x="103" y="46"/>
                    <a:pt x="57" y="77"/>
                    <a:pt x="30" y="122"/>
                  </a:cubicBezTo>
                  <a:cubicBezTo>
                    <a:pt x="4" y="167"/>
                    <a:pt x="0" y="228"/>
                    <a:pt x="30" y="271"/>
                  </a:cubicBezTo>
                  <a:cubicBezTo>
                    <a:pt x="140" y="188"/>
                    <a:pt x="336" y="108"/>
                    <a:pt x="473" y="116"/>
                  </a:cubicBezTo>
                  <a:cubicBezTo>
                    <a:pt x="349" y="130"/>
                    <a:pt x="182" y="234"/>
                    <a:pt x="76" y="299"/>
                  </a:cubicBezTo>
                  <a:cubicBezTo>
                    <a:pt x="71" y="302"/>
                    <a:pt x="66" y="306"/>
                    <a:pt x="65" y="311"/>
                  </a:cubicBezTo>
                  <a:cubicBezTo>
                    <a:pt x="65" y="316"/>
                    <a:pt x="68" y="320"/>
                    <a:pt x="71" y="324"/>
                  </a:cubicBezTo>
                  <a:cubicBezTo>
                    <a:pt x="123" y="380"/>
                    <a:pt x="206" y="401"/>
                    <a:pt x="282" y="389"/>
                  </a:cubicBezTo>
                  <a:cubicBezTo>
                    <a:pt x="357" y="376"/>
                    <a:pt x="426" y="335"/>
                    <a:pt x="483" y="284"/>
                  </a:cubicBezTo>
                  <a:cubicBezTo>
                    <a:pt x="504" y="265"/>
                    <a:pt x="525" y="244"/>
                    <a:pt x="539" y="219"/>
                  </a:cubicBezTo>
                  <a:cubicBezTo>
                    <a:pt x="556" y="189"/>
                    <a:pt x="563" y="154"/>
                    <a:pt x="577" y="123"/>
                  </a:cubicBezTo>
                  <a:cubicBezTo>
                    <a:pt x="592" y="91"/>
                    <a:pt x="623" y="75"/>
                    <a:pt x="623" y="75"/>
                  </a:cubicBezTo>
                  <a:cubicBezTo>
                    <a:pt x="621" y="72"/>
                    <a:pt x="605" y="68"/>
                    <a:pt x="584" y="63"/>
                  </a:cubicBezTo>
                </a:path>
              </a:pathLst>
            </a:custGeom>
            <a:solidFill>
              <a:schemeClr val="accent5">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8" name="Freeform 10">
              <a:extLst>
                <a:ext uri="{FF2B5EF4-FFF2-40B4-BE49-F238E27FC236}">
                  <a16:creationId xmlns:a16="http://schemas.microsoft.com/office/drawing/2014/main" id="{2722E4CD-8C89-4BF2-AE6A-736D20C73F35}"/>
                </a:ext>
              </a:extLst>
            </p:cNvPr>
            <p:cNvSpPr>
              <a:spLocks/>
            </p:cNvSpPr>
            <p:nvPr/>
          </p:nvSpPr>
          <p:spPr bwMode="auto">
            <a:xfrm>
              <a:off x="8547100" y="3198813"/>
              <a:ext cx="692150" cy="436563"/>
            </a:xfrm>
            <a:custGeom>
              <a:avLst/>
              <a:gdLst>
                <a:gd name="T0" fmla="*/ 275 w 289"/>
                <a:gd name="T1" fmla="*/ 89 h 183"/>
                <a:gd name="T2" fmla="*/ 193 w 289"/>
                <a:gd name="T3" fmla="*/ 30 h 183"/>
                <a:gd name="T4" fmla="*/ 98 w 289"/>
                <a:gd name="T5" fmla="*/ 1 h 183"/>
                <a:gd name="T6" fmla="*/ 31 w 289"/>
                <a:gd name="T7" fmla="*/ 20 h 183"/>
                <a:gd name="T8" fmla="*/ 5 w 289"/>
                <a:gd name="T9" fmla="*/ 83 h 183"/>
                <a:gd name="T10" fmla="*/ 219 w 289"/>
                <a:gd name="T11" fmla="*/ 93 h 183"/>
                <a:gd name="T12" fmla="*/ 20 w 289"/>
                <a:gd name="T13" fmla="*/ 103 h 183"/>
                <a:gd name="T14" fmla="*/ 14 w 289"/>
                <a:gd name="T15" fmla="*/ 106 h 183"/>
                <a:gd name="T16" fmla="*/ 14 w 289"/>
                <a:gd name="T17" fmla="*/ 113 h 183"/>
                <a:gd name="T18" fmla="*/ 92 w 289"/>
                <a:gd name="T19" fmla="*/ 176 h 183"/>
                <a:gd name="T20" fmla="*/ 195 w 289"/>
                <a:gd name="T21" fmla="*/ 165 h 183"/>
                <a:gd name="T22" fmla="*/ 230 w 289"/>
                <a:gd name="T23" fmla="*/ 147 h 183"/>
                <a:gd name="T24" fmla="*/ 262 w 289"/>
                <a:gd name="T25" fmla="*/ 113 h 183"/>
                <a:gd name="T26" fmla="*/ 289 w 289"/>
                <a:gd name="T27" fmla="*/ 100 h 183"/>
                <a:gd name="T28" fmla="*/ 275 w 289"/>
                <a:gd name="T29" fmla="*/ 89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89" h="183">
                  <a:moveTo>
                    <a:pt x="275" y="89"/>
                  </a:moveTo>
                  <a:cubicBezTo>
                    <a:pt x="249" y="68"/>
                    <a:pt x="223" y="47"/>
                    <a:pt x="193" y="30"/>
                  </a:cubicBezTo>
                  <a:cubicBezTo>
                    <a:pt x="164" y="14"/>
                    <a:pt x="132" y="2"/>
                    <a:pt x="98" y="1"/>
                  </a:cubicBezTo>
                  <a:cubicBezTo>
                    <a:pt x="74" y="0"/>
                    <a:pt x="50" y="6"/>
                    <a:pt x="31" y="20"/>
                  </a:cubicBezTo>
                  <a:cubicBezTo>
                    <a:pt x="12" y="35"/>
                    <a:pt x="0" y="60"/>
                    <a:pt x="5" y="83"/>
                  </a:cubicBezTo>
                  <a:cubicBezTo>
                    <a:pt x="66" y="67"/>
                    <a:pt x="162" y="66"/>
                    <a:pt x="219" y="93"/>
                  </a:cubicBezTo>
                  <a:cubicBezTo>
                    <a:pt x="164" y="77"/>
                    <a:pt x="76" y="93"/>
                    <a:pt x="20" y="103"/>
                  </a:cubicBezTo>
                  <a:cubicBezTo>
                    <a:pt x="18" y="103"/>
                    <a:pt x="15" y="104"/>
                    <a:pt x="14" y="106"/>
                  </a:cubicBezTo>
                  <a:cubicBezTo>
                    <a:pt x="13" y="108"/>
                    <a:pt x="13" y="111"/>
                    <a:pt x="14" y="113"/>
                  </a:cubicBezTo>
                  <a:cubicBezTo>
                    <a:pt x="26" y="145"/>
                    <a:pt x="58" y="168"/>
                    <a:pt x="92" y="176"/>
                  </a:cubicBezTo>
                  <a:cubicBezTo>
                    <a:pt x="126" y="183"/>
                    <a:pt x="162" y="177"/>
                    <a:pt x="195" y="165"/>
                  </a:cubicBezTo>
                  <a:cubicBezTo>
                    <a:pt x="207" y="161"/>
                    <a:pt x="219" y="156"/>
                    <a:pt x="230" y="147"/>
                  </a:cubicBezTo>
                  <a:cubicBezTo>
                    <a:pt x="242" y="137"/>
                    <a:pt x="251" y="124"/>
                    <a:pt x="262" y="113"/>
                  </a:cubicBezTo>
                  <a:cubicBezTo>
                    <a:pt x="274" y="102"/>
                    <a:pt x="289" y="100"/>
                    <a:pt x="289" y="100"/>
                  </a:cubicBezTo>
                  <a:cubicBezTo>
                    <a:pt x="289" y="99"/>
                    <a:pt x="283" y="94"/>
                    <a:pt x="275" y="89"/>
                  </a:cubicBezTo>
                </a:path>
              </a:pathLst>
            </a:custGeom>
            <a:solidFill>
              <a:schemeClr val="accent5">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9" name="Freeform 11">
              <a:extLst>
                <a:ext uri="{FF2B5EF4-FFF2-40B4-BE49-F238E27FC236}">
                  <a16:creationId xmlns:a16="http://schemas.microsoft.com/office/drawing/2014/main" id="{A8E9310D-2BA5-4C7D-AA7B-A9FB9BF96347}"/>
                </a:ext>
              </a:extLst>
            </p:cNvPr>
            <p:cNvSpPr>
              <a:spLocks/>
            </p:cNvSpPr>
            <p:nvPr/>
          </p:nvSpPr>
          <p:spPr bwMode="auto">
            <a:xfrm>
              <a:off x="8296275" y="3751263"/>
              <a:ext cx="603250" cy="511175"/>
            </a:xfrm>
            <a:custGeom>
              <a:avLst/>
              <a:gdLst>
                <a:gd name="T0" fmla="*/ 244 w 251"/>
                <a:gd name="T1" fmla="*/ 184 h 214"/>
                <a:gd name="T2" fmla="*/ 202 w 251"/>
                <a:gd name="T3" fmla="*/ 93 h 214"/>
                <a:gd name="T4" fmla="*/ 133 w 251"/>
                <a:gd name="T5" fmla="*/ 20 h 214"/>
                <a:gd name="T6" fmla="*/ 65 w 251"/>
                <a:gd name="T7" fmla="*/ 3 h 214"/>
                <a:gd name="T8" fmla="*/ 12 w 251"/>
                <a:gd name="T9" fmla="*/ 46 h 214"/>
                <a:gd name="T10" fmla="*/ 193 w 251"/>
                <a:gd name="T11" fmla="*/ 159 h 214"/>
                <a:gd name="T12" fmla="*/ 15 w 251"/>
                <a:gd name="T13" fmla="*/ 70 h 214"/>
                <a:gd name="T14" fmla="*/ 8 w 251"/>
                <a:gd name="T15" fmla="*/ 70 h 214"/>
                <a:gd name="T16" fmla="*/ 5 w 251"/>
                <a:gd name="T17" fmla="*/ 75 h 214"/>
                <a:gd name="T18" fmla="*/ 42 w 251"/>
                <a:gd name="T19" fmla="*/ 169 h 214"/>
                <a:gd name="T20" fmla="*/ 136 w 251"/>
                <a:gd name="T21" fmla="*/ 211 h 214"/>
                <a:gd name="T22" fmla="*/ 175 w 251"/>
                <a:gd name="T23" fmla="*/ 212 h 214"/>
                <a:gd name="T24" fmla="*/ 221 w 251"/>
                <a:gd name="T25" fmla="*/ 198 h 214"/>
                <a:gd name="T26" fmla="*/ 251 w 251"/>
                <a:gd name="T27" fmla="*/ 201 h 214"/>
                <a:gd name="T28" fmla="*/ 244 w 251"/>
                <a:gd name="T29" fmla="*/ 184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51" h="214">
                  <a:moveTo>
                    <a:pt x="244" y="184"/>
                  </a:moveTo>
                  <a:cubicBezTo>
                    <a:pt x="231" y="153"/>
                    <a:pt x="219" y="121"/>
                    <a:pt x="202" y="93"/>
                  </a:cubicBezTo>
                  <a:cubicBezTo>
                    <a:pt x="185" y="64"/>
                    <a:pt x="162" y="38"/>
                    <a:pt x="133" y="20"/>
                  </a:cubicBezTo>
                  <a:cubicBezTo>
                    <a:pt x="113" y="8"/>
                    <a:pt x="89" y="0"/>
                    <a:pt x="65" y="3"/>
                  </a:cubicBezTo>
                  <a:cubicBezTo>
                    <a:pt x="42" y="7"/>
                    <a:pt x="19" y="23"/>
                    <a:pt x="12" y="46"/>
                  </a:cubicBezTo>
                  <a:cubicBezTo>
                    <a:pt x="73" y="61"/>
                    <a:pt x="157" y="108"/>
                    <a:pt x="193" y="159"/>
                  </a:cubicBezTo>
                  <a:cubicBezTo>
                    <a:pt x="153" y="119"/>
                    <a:pt x="69" y="89"/>
                    <a:pt x="15" y="70"/>
                  </a:cubicBezTo>
                  <a:cubicBezTo>
                    <a:pt x="13" y="69"/>
                    <a:pt x="10" y="68"/>
                    <a:pt x="8" y="70"/>
                  </a:cubicBezTo>
                  <a:cubicBezTo>
                    <a:pt x="6" y="71"/>
                    <a:pt x="6" y="73"/>
                    <a:pt x="5" y="75"/>
                  </a:cubicBezTo>
                  <a:cubicBezTo>
                    <a:pt x="0" y="110"/>
                    <a:pt x="16" y="145"/>
                    <a:pt x="42" y="169"/>
                  </a:cubicBezTo>
                  <a:cubicBezTo>
                    <a:pt x="68" y="192"/>
                    <a:pt x="102" y="205"/>
                    <a:pt x="136" y="211"/>
                  </a:cubicBezTo>
                  <a:cubicBezTo>
                    <a:pt x="149" y="213"/>
                    <a:pt x="163" y="214"/>
                    <a:pt x="175" y="212"/>
                  </a:cubicBezTo>
                  <a:cubicBezTo>
                    <a:pt x="191" y="210"/>
                    <a:pt x="205" y="202"/>
                    <a:pt x="221" y="198"/>
                  </a:cubicBezTo>
                  <a:cubicBezTo>
                    <a:pt x="236" y="195"/>
                    <a:pt x="251" y="201"/>
                    <a:pt x="251" y="201"/>
                  </a:cubicBezTo>
                  <a:cubicBezTo>
                    <a:pt x="251" y="200"/>
                    <a:pt x="248" y="193"/>
                    <a:pt x="244" y="184"/>
                  </a:cubicBezTo>
                </a:path>
              </a:pathLst>
            </a:custGeom>
            <a:solidFill>
              <a:schemeClr val="accent5">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10" name="Freeform 12">
              <a:extLst>
                <a:ext uri="{FF2B5EF4-FFF2-40B4-BE49-F238E27FC236}">
                  <a16:creationId xmlns:a16="http://schemas.microsoft.com/office/drawing/2014/main" id="{EB986DDB-21F2-4B6C-845D-424B94BB89DB}"/>
                </a:ext>
              </a:extLst>
            </p:cNvPr>
            <p:cNvSpPr>
              <a:spLocks/>
            </p:cNvSpPr>
            <p:nvPr/>
          </p:nvSpPr>
          <p:spPr bwMode="auto">
            <a:xfrm>
              <a:off x="3897313" y="3325813"/>
              <a:ext cx="1531938" cy="931863"/>
            </a:xfrm>
            <a:custGeom>
              <a:avLst/>
              <a:gdLst>
                <a:gd name="T0" fmla="*/ 36 w 639"/>
                <a:gd name="T1" fmla="*/ 118 h 390"/>
                <a:gd name="T2" fmla="*/ 239 w 639"/>
                <a:gd name="T3" fmla="*/ 31 h 390"/>
                <a:gd name="T4" fmla="*/ 457 w 639"/>
                <a:gd name="T5" fmla="*/ 14 h 390"/>
                <a:gd name="T6" fmla="*/ 592 w 639"/>
                <a:gd name="T7" fmla="*/ 87 h 390"/>
                <a:gd name="T8" fmla="*/ 617 w 639"/>
                <a:gd name="T9" fmla="*/ 233 h 390"/>
                <a:gd name="T10" fmla="*/ 154 w 639"/>
                <a:gd name="T11" fmla="*/ 152 h 390"/>
                <a:gd name="T12" fmla="*/ 576 w 639"/>
                <a:gd name="T13" fmla="*/ 269 h 390"/>
                <a:gd name="T14" fmla="*/ 588 w 639"/>
                <a:gd name="T15" fmla="*/ 279 h 390"/>
                <a:gd name="T16" fmla="*/ 584 w 639"/>
                <a:gd name="T17" fmla="*/ 292 h 390"/>
                <a:gd name="T18" fmla="*/ 387 w 639"/>
                <a:gd name="T19" fmla="*/ 390 h 390"/>
                <a:gd name="T20" fmla="*/ 172 w 639"/>
                <a:gd name="T21" fmla="*/ 320 h 390"/>
                <a:gd name="T22" fmla="*/ 106 w 639"/>
                <a:gd name="T23" fmla="*/ 265 h 390"/>
                <a:gd name="T24" fmla="*/ 52 w 639"/>
                <a:gd name="T25" fmla="*/ 175 h 390"/>
                <a:gd name="T26" fmla="*/ 0 w 639"/>
                <a:gd name="T27" fmla="*/ 135 h 390"/>
                <a:gd name="T28" fmla="*/ 36 w 639"/>
                <a:gd name="T29" fmla="*/ 118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39" h="390">
                  <a:moveTo>
                    <a:pt x="36" y="118"/>
                  </a:moveTo>
                  <a:cubicBezTo>
                    <a:pt x="102" y="85"/>
                    <a:pt x="168" y="53"/>
                    <a:pt x="239" y="31"/>
                  </a:cubicBezTo>
                  <a:cubicBezTo>
                    <a:pt x="309" y="10"/>
                    <a:pt x="384" y="0"/>
                    <a:pt x="457" y="14"/>
                  </a:cubicBezTo>
                  <a:cubicBezTo>
                    <a:pt x="508" y="23"/>
                    <a:pt x="559" y="46"/>
                    <a:pt x="592" y="87"/>
                  </a:cubicBezTo>
                  <a:cubicBezTo>
                    <a:pt x="626" y="127"/>
                    <a:pt x="639" y="186"/>
                    <a:pt x="617" y="233"/>
                  </a:cubicBezTo>
                  <a:cubicBezTo>
                    <a:pt x="495" y="170"/>
                    <a:pt x="288" y="122"/>
                    <a:pt x="154" y="152"/>
                  </a:cubicBezTo>
                  <a:cubicBezTo>
                    <a:pt x="279" y="146"/>
                    <a:pt x="461" y="222"/>
                    <a:pt x="576" y="269"/>
                  </a:cubicBezTo>
                  <a:cubicBezTo>
                    <a:pt x="581" y="271"/>
                    <a:pt x="587" y="274"/>
                    <a:pt x="588" y="279"/>
                  </a:cubicBezTo>
                  <a:cubicBezTo>
                    <a:pt x="590" y="283"/>
                    <a:pt x="587" y="288"/>
                    <a:pt x="584" y="292"/>
                  </a:cubicBezTo>
                  <a:cubicBezTo>
                    <a:pt x="542" y="356"/>
                    <a:pt x="464" y="390"/>
                    <a:pt x="387" y="390"/>
                  </a:cubicBezTo>
                  <a:cubicBezTo>
                    <a:pt x="311" y="390"/>
                    <a:pt x="237" y="361"/>
                    <a:pt x="172" y="320"/>
                  </a:cubicBezTo>
                  <a:cubicBezTo>
                    <a:pt x="147" y="304"/>
                    <a:pt x="124" y="287"/>
                    <a:pt x="106" y="265"/>
                  </a:cubicBezTo>
                  <a:cubicBezTo>
                    <a:pt x="84" y="237"/>
                    <a:pt x="72" y="204"/>
                    <a:pt x="52" y="175"/>
                  </a:cubicBezTo>
                  <a:cubicBezTo>
                    <a:pt x="33" y="147"/>
                    <a:pt x="0" y="135"/>
                    <a:pt x="0" y="135"/>
                  </a:cubicBezTo>
                  <a:cubicBezTo>
                    <a:pt x="1" y="133"/>
                    <a:pt x="16" y="126"/>
                    <a:pt x="36" y="118"/>
                  </a:cubicBezTo>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11" name="Freeform 13">
              <a:extLst>
                <a:ext uri="{FF2B5EF4-FFF2-40B4-BE49-F238E27FC236}">
                  <a16:creationId xmlns:a16="http://schemas.microsoft.com/office/drawing/2014/main" id="{38370E82-8129-4E87-957B-16393B2003BD}"/>
                </a:ext>
              </a:extLst>
            </p:cNvPr>
            <p:cNvSpPr>
              <a:spLocks/>
            </p:cNvSpPr>
            <p:nvPr/>
          </p:nvSpPr>
          <p:spPr bwMode="auto">
            <a:xfrm>
              <a:off x="3446463" y="3898900"/>
              <a:ext cx="719138" cy="469900"/>
            </a:xfrm>
            <a:custGeom>
              <a:avLst/>
              <a:gdLst>
                <a:gd name="T0" fmla="*/ 14 w 300"/>
                <a:gd name="T1" fmla="*/ 110 h 196"/>
                <a:gd name="T2" fmla="*/ 94 w 300"/>
                <a:gd name="T3" fmla="*/ 42 h 196"/>
                <a:gd name="T4" fmla="*/ 191 w 300"/>
                <a:gd name="T5" fmla="*/ 2 h 196"/>
                <a:gd name="T6" fmla="*/ 264 w 300"/>
                <a:gd name="T7" fmla="*/ 16 h 196"/>
                <a:gd name="T8" fmla="*/ 296 w 300"/>
                <a:gd name="T9" fmla="*/ 80 h 196"/>
                <a:gd name="T10" fmla="*/ 73 w 300"/>
                <a:gd name="T11" fmla="*/ 109 h 196"/>
                <a:gd name="T12" fmla="*/ 283 w 300"/>
                <a:gd name="T13" fmla="*/ 102 h 196"/>
                <a:gd name="T14" fmla="*/ 290 w 300"/>
                <a:gd name="T15" fmla="*/ 105 h 196"/>
                <a:gd name="T16" fmla="*/ 290 w 300"/>
                <a:gd name="T17" fmla="*/ 112 h 196"/>
                <a:gd name="T18" fmla="*/ 213 w 300"/>
                <a:gd name="T19" fmla="*/ 185 h 196"/>
                <a:gd name="T20" fmla="*/ 105 w 300"/>
                <a:gd name="T21" fmla="*/ 184 h 196"/>
                <a:gd name="T22" fmla="*/ 67 w 300"/>
                <a:gd name="T23" fmla="*/ 168 h 196"/>
                <a:gd name="T24" fmla="*/ 29 w 300"/>
                <a:gd name="T25" fmla="*/ 134 h 196"/>
                <a:gd name="T26" fmla="*/ 0 w 300"/>
                <a:gd name="T27" fmla="*/ 123 h 196"/>
                <a:gd name="T28" fmla="*/ 14 w 300"/>
                <a:gd name="T29" fmla="*/ 110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0" h="196">
                  <a:moveTo>
                    <a:pt x="14" y="110"/>
                  </a:moveTo>
                  <a:cubicBezTo>
                    <a:pt x="39" y="86"/>
                    <a:pt x="65" y="62"/>
                    <a:pt x="94" y="42"/>
                  </a:cubicBezTo>
                  <a:cubicBezTo>
                    <a:pt x="123" y="22"/>
                    <a:pt x="156" y="6"/>
                    <a:pt x="191" y="2"/>
                  </a:cubicBezTo>
                  <a:cubicBezTo>
                    <a:pt x="216" y="0"/>
                    <a:pt x="243" y="3"/>
                    <a:pt x="264" y="16"/>
                  </a:cubicBezTo>
                  <a:cubicBezTo>
                    <a:pt x="285" y="30"/>
                    <a:pt x="300" y="55"/>
                    <a:pt x="296" y="80"/>
                  </a:cubicBezTo>
                  <a:cubicBezTo>
                    <a:pt x="231" y="69"/>
                    <a:pt x="130" y="76"/>
                    <a:pt x="73" y="109"/>
                  </a:cubicBezTo>
                  <a:cubicBezTo>
                    <a:pt x="129" y="88"/>
                    <a:pt x="223" y="97"/>
                    <a:pt x="283" y="102"/>
                  </a:cubicBezTo>
                  <a:cubicBezTo>
                    <a:pt x="285" y="103"/>
                    <a:pt x="288" y="103"/>
                    <a:pt x="290" y="105"/>
                  </a:cubicBezTo>
                  <a:cubicBezTo>
                    <a:pt x="291" y="107"/>
                    <a:pt x="291" y="110"/>
                    <a:pt x="290" y="112"/>
                  </a:cubicBezTo>
                  <a:cubicBezTo>
                    <a:pt x="280" y="147"/>
                    <a:pt x="249" y="174"/>
                    <a:pt x="213" y="185"/>
                  </a:cubicBezTo>
                  <a:cubicBezTo>
                    <a:pt x="178" y="196"/>
                    <a:pt x="140" y="193"/>
                    <a:pt x="105" y="184"/>
                  </a:cubicBezTo>
                  <a:cubicBezTo>
                    <a:pt x="91" y="180"/>
                    <a:pt x="78" y="175"/>
                    <a:pt x="67" y="168"/>
                  </a:cubicBezTo>
                  <a:cubicBezTo>
                    <a:pt x="53" y="158"/>
                    <a:pt x="42" y="145"/>
                    <a:pt x="29" y="134"/>
                  </a:cubicBezTo>
                  <a:cubicBezTo>
                    <a:pt x="16" y="124"/>
                    <a:pt x="0" y="123"/>
                    <a:pt x="0" y="123"/>
                  </a:cubicBezTo>
                  <a:cubicBezTo>
                    <a:pt x="0" y="122"/>
                    <a:pt x="6" y="117"/>
                    <a:pt x="14" y="110"/>
                  </a:cubicBezTo>
                </a:path>
              </a:pathLst>
            </a:custGeom>
            <a:solidFill>
              <a:schemeClr val="accent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12" name="Freeform 14">
              <a:extLst>
                <a:ext uri="{FF2B5EF4-FFF2-40B4-BE49-F238E27FC236}">
                  <a16:creationId xmlns:a16="http://schemas.microsoft.com/office/drawing/2014/main" id="{49A3B089-E746-46C7-B4E4-47D1649773E3}"/>
                </a:ext>
              </a:extLst>
            </p:cNvPr>
            <p:cNvSpPr>
              <a:spLocks/>
            </p:cNvSpPr>
            <p:nvPr/>
          </p:nvSpPr>
          <p:spPr bwMode="auto">
            <a:xfrm>
              <a:off x="2955925" y="3444875"/>
              <a:ext cx="719138" cy="471488"/>
            </a:xfrm>
            <a:custGeom>
              <a:avLst/>
              <a:gdLst>
                <a:gd name="T0" fmla="*/ 14 w 300"/>
                <a:gd name="T1" fmla="*/ 111 h 197"/>
                <a:gd name="T2" fmla="*/ 95 w 300"/>
                <a:gd name="T3" fmla="*/ 42 h 197"/>
                <a:gd name="T4" fmla="*/ 192 w 300"/>
                <a:gd name="T5" fmla="*/ 3 h 197"/>
                <a:gd name="T6" fmla="*/ 265 w 300"/>
                <a:gd name="T7" fmla="*/ 17 h 197"/>
                <a:gd name="T8" fmla="*/ 297 w 300"/>
                <a:gd name="T9" fmla="*/ 81 h 197"/>
                <a:gd name="T10" fmla="*/ 73 w 300"/>
                <a:gd name="T11" fmla="*/ 110 h 197"/>
                <a:gd name="T12" fmla="*/ 283 w 300"/>
                <a:gd name="T13" fmla="*/ 103 h 197"/>
                <a:gd name="T14" fmla="*/ 290 w 300"/>
                <a:gd name="T15" fmla="*/ 106 h 197"/>
                <a:gd name="T16" fmla="*/ 291 w 300"/>
                <a:gd name="T17" fmla="*/ 113 h 197"/>
                <a:gd name="T18" fmla="*/ 214 w 300"/>
                <a:gd name="T19" fmla="*/ 186 h 197"/>
                <a:gd name="T20" fmla="*/ 105 w 300"/>
                <a:gd name="T21" fmla="*/ 184 h 197"/>
                <a:gd name="T22" fmla="*/ 67 w 300"/>
                <a:gd name="T23" fmla="*/ 168 h 197"/>
                <a:gd name="T24" fmla="*/ 30 w 300"/>
                <a:gd name="T25" fmla="*/ 135 h 197"/>
                <a:gd name="T26" fmla="*/ 0 w 300"/>
                <a:gd name="T27" fmla="*/ 124 h 197"/>
                <a:gd name="T28" fmla="*/ 14 w 300"/>
                <a:gd name="T29" fmla="*/ 111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0" h="197">
                  <a:moveTo>
                    <a:pt x="14" y="111"/>
                  </a:moveTo>
                  <a:cubicBezTo>
                    <a:pt x="40" y="87"/>
                    <a:pt x="66" y="62"/>
                    <a:pt x="95" y="42"/>
                  </a:cubicBezTo>
                  <a:cubicBezTo>
                    <a:pt x="124" y="22"/>
                    <a:pt x="157" y="7"/>
                    <a:pt x="192" y="3"/>
                  </a:cubicBezTo>
                  <a:cubicBezTo>
                    <a:pt x="217" y="0"/>
                    <a:pt x="244" y="4"/>
                    <a:pt x="265" y="17"/>
                  </a:cubicBezTo>
                  <a:cubicBezTo>
                    <a:pt x="286" y="31"/>
                    <a:pt x="300" y="56"/>
                    <a:pt x="297" y="81"/>
                  </a:cubicBezTo>
                  <a:cubicBezTo>
                    <a:pt x="232" y="69"/>
                    <a:pt x="131" y="77"/>
                    <a:pt x="73" y="110"/>
                  </a:cubicBezTo>
                  <a:cubicBezTo>
                    <a:pt x="130" y="89"/>
                    <a:pt x="224" y="98"/>
                    <a:pt x="283" y="103"/>
                  </a:cubicBezTo>
                  <a:cubicBezTo>
                    <a:pt x="286" y="103"/>
                    <a:pt x="289" y="104"/>
                    <a:pt x="290" y="106"/>
                  </a:cubicBezTo>
                  <a:cubicBezTo>
                    <a:pt x="292" y="108"/>
                    <a:pt x="291" y="110"/>
                    <a:pt x="291" y="113"/>
                  </a:cubicBezTo>
                  <a:cubicBezTo>
                    <a:pt x="281" y="148"/>
                    <a:pt x="249" y="175"/>
                    <a:pt x="214" y="186"/>
                  </a:cubicBezTo>
                  <a:cubicBezTo>
                    <a:pt x="179" y="197"/>
                    <a:pt x="141" y="194"/>
                    <a:pt x="105" y="184"/>
                  </a:cubicBezTo>
                  <a:cubicBezTo>
                    <a:pt x="92" y="181"/>
                    <a:pt x="79" y="176"/>
                    <a:pt x="67" y="168"/>
                  </a:cubicBezTo>
                  <a:cubicBezTo>
                    <a:pt x="53" y="159"/>
                    <a:pt x="43" y="146"/>
                    <a:pt x="30" y="135"/>
                  </a:cubicBezTo>
                  <a:cubicBezTo>
                    <a:pt x="17" y="125"/>
                    <a:pt x="0" y="124"/>
                    <a:pt x="0" y="124"/>
                  </a:cubicBezTo>
                  <a:cubicBezTo>
                    <a:pt x="0" y="123"/>
                    <a:pt x="6" y="118"/>
                    <a:pt x="14" y="111"/>
                  </a:cubicBezTo>
                </a:path>
              </a:pathLst>
            </a:custGeom>
            <a:solidFill>
              <a:schemeClr val="accent1">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13" name="Freeform 15">
              <a:extLst>
                <a:ext uri="{FF2B5EF4-FFF2-40B4-BE49-F238E27FC236}">
                  <a16:creationId xmlns:a16="http://schemas.microsoft.com/office/drawing/2014/main" id="{D3803F8E-395E-428A-8E42-3E84B8DA797E}"/>
                </a:ext>
              </a:extLst>
            </p:cNvPr>
            <p:cNvSpPr>
              <a:spLocks/>
            </p:cNvSpPr>
            <p:nvPr/>
          </p:nvSpPr>
          <p:spPr bwMode="auto">
            <a:xfrm>
              <a:off x="4606925" y="2298700"/>
              <a:ext cx="1358900" cy="1046163"/>
            </a:xfrm>
            <a:custGeom>
              <a:avLst/>
              <a:gdLst>
                <a:gd name="T0" fmla="*/ 40 w 567"/>
                <a:gd name="T1" fmla="*/ 2 h 437"/>
                <a:gd name="T2" fmla="*/ 260 w 567"/>
                <a:gd name="T3" fmla="*/ 12 h 437"/>
                <a:gd name="T4" fmla="*/ 464 w 567"/>
                <a:gd name="T5" fmla="*/ 91 h 437"/>
                <a:gd name="T6" fmla="*/ 554 w 567"/>
                <a:gd name="T7" fmla="*/ 216 h 437"/>
                <a:gd name="T8" fmla="*/ 512 w 567"/>
                <a:gd name="T9" fmla="*/ 359 h 437"/>
                <a:gd name="T10" fmla="*/ 131 w 567"/>
                <a:gd name="T11" fmla="*/ 85 h 437"/>
                <a:gd name="T12" fmla="*/ 461 w 567"/>
                <a:gd name="T13" fmla="*/ 373 h 437"/>
                <a:gd name="T14" fmla="*/ 467 w 567"/>
                <a:gd name="T15" fmla="*/ 387 h 437"/>
                <a:gd name="T16" fmla="*/ 458 w 567"/>
                <a:gd name="T17" fmla="*/ 398 h 437"/>
                <a:gd name="T18" fmla="*/ 237 w 567"/>
                <a:gd name="T19" fmla="*/ 400 h 437"/>
                <a:gd name="T20" fmla="*/ 74 w 567"/>
                <a:gd name="T21" fmla="*/ 243 h 437"/>
                <a:gd name="T22" fmla="*/ 39 w 567"/>
                <a:gd name="T23" fmla="*/ 164 h 437"/>
                <a:gd name="T24" fmla="*/ 30 w 567"/>
                <a:gd name="T25" fmla="*/ 61 h 437"/>
                <a:gd name="T26" fmla="*/ 0 w 567"/>
                <a:gd name="T27" fmla="*/ 2 h 437"/>
                <a:gd name="T28" fmla="*/ 40 w 567"/>
                <a:gd name="T29" fmla="*/ 2 h 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67" h="437">
                  <a:moveTo>
                    <a:pt x="40" y="2"/>
                  </a:moveTo>
                  <a:cubicBezTo>
                    <a:pt x="114" y="1"/>
                    <a:pt x="188" y="1"/>
                    <a:pt x="260" y="12"/>
                  </a:cubicBezTo>
                  <a:cubicBezTo>
                    <a:pt x="333" y="24"/>
                    <a:pt x="405" y="47"/>
                    <a:pt x="464" y="91"/>
                  </a:cubicBezTo>
                  <a:cubicBezTo>
                    <a:pt x="506" y="122"/>
                    <a:pt x="542" y="165"/>
                    <a:pt x="554" y="216"/>
                  </a:cubicBezTo>
                  <a:cubicBezTo>
                    <a:pt x="567" y="267"/>
                    <a:pt x="553" y="326"/>
                    <a:pt x="512" y="359"/>
                  </a:cubicBezTo>
                  <a:cubicBezTo>
                    <a:pt x="430" y="248"/>
                    <a:pt x="265" y="116"/>
                    <a:pt x="131" y="85"/>
                  </a:cubicBezTo>
                  <a:cubicBezTo>
                    <a:pt x="246" y="133"/>
                    <a:pt x="377" y="281"/>
                    <a:pt x="461" y="373"/>
                  </a:cubicBezTo>
                  <a:cubicBezTo>
                    <a:pt x="464" y="377"/>
                    <a:pt x="468" y="382"/>
                    <a:pt x="467" y="387"/>
                  </a:cubicBezTo>
                  <a:cubicBezTo>
                    <a:pt x="466" y="392"/>
                    <a:pt x="462" y="395"/>
                    <a:pt x="458" y="398"/>
                  </a:cubicBezTo>
                  <a:cubicBezTo>
                    <a:pt x="392" y="437"/>
                    <a:pt x="306" y="433"/>
                    <a:pt x="237" y="400"/>
                  </a:cubicBezTo>
                  <a:cubicBezTo>
                    <a:pt x="169" y="367"/>
                    <a:pt x="115" y="308"/>
                    <a:pt x="74" y="243"/>
                  </a:cubicBezTo>
                  <a:cubicBezTo>
                    <a:pt x="59" y="218"/>
                    <a:pt x="45" y="193"/>
                    <a:pt x="39" y="164"/>
                  </a:cubicBezTo>
                  <a:cubicBezTo>
                    <a:pt x="31" y="131"/>
                    <a:pt x="35" y="95"/>
                    <a:pt x="30" y="61"/>
                  </a:cubicBezTo>
                  <a:cubicBezTo>
                    <a:pt x="24" y="27"/>
                    <a:pt x="0" y="2"/>
                    <a:pt x="0" y="2"/>
                  </a:cubicBezTo>
                  <a:cubicBezTo>
                    <a:pt x="2" y="0"/>
                    <a:pt x="19" y="0"/>
                    <a:pt x="40" y="2"/>
                  </a:cubicBezTo>
                </a:path>
              </a:pathLst>
            </a:custGeom>
            <a:solidFill>
              <a:schemeClr val="accent3">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14" name="Freeform 16">
              <a:extLst>
                <a:ext uri="{FF2B5EF4-FFF2-40B4-BE49-F238E27FC236}">
                  <a16:creationId xmlns:a16="http://schemas.microsoft.com/office/drawing/2014/main" id="{4DA55A3E-6508-4734-AB58-48B2B600488F}"/>
                </a:ext>
              </a:extLst>
            </p:cNvPr>
            <p:cNvSpPr>
              <a:spLocks/>
            </p:cNvSpPr>
            <p:nvPr/>
          </p:nvSpPr>
          <p:spPr bwMode="auto">
            <a:xfrm>
              <a:off x="4000500" y="1514475"/>
              <a:ext cx="741363" cy="571500"/>
            </a:xfrm>
            <a:custGeom>
              <a:avLst/>
              <a:gdLst>
                <a:gd name="T0" fmla="*/ 22 w 309"/>
                <a:gd name="T1" fmla="*/ 1 h 239"/>
                <a:gd name="T2" fmla="*/ 142 w 309"/>
                <a:gd name="T3" fmla="*/ 7 h 239"/>
                <a:gd name="T4" fmla="*/ 253 w 309"/>
                <a:gd name="T5" fmla="*/ 50 h 239"/>
                <a:gd name="T6" fmla="*/ 302 w 309"/>
                <a:gd name="T7" fmla="*/ 118 h 239"/>
                <a:gd name="T8" fmla="*/ 279 w 309"/>
                <a:gd name="T9" fmla="*/ 196 h 239"/>
                <a:gd name="T10" fmla="*/ 71 w 309"/>
                <a:gd name="T11" fmla="*/ 47 h 239"/>
                <a:gd name="T12" fmla="*/ 251 w 309"/>
                <a:gd name="T13" fmla="*/ 204 h 239"/>
                <a:gd name="T14" fmla="*/ 254 w 309"/>
                <a:gd name="T15" fmla="*/ 212 h 239"/>
                <a:gd name="T16" fmla="*/ 249 w 309"/>
                <a:gd name="T17" fmla="*/ 217 h 239"/>
                <a:gd name="T18" fmla="*/ 129 w 309"/>
                <a:gd name="T19" fmla="*/ 219 h 239"/>
                <a:gd name="T20" fmla="*/ 40 w 309"/>
                <a:gd name="T21" fmla="*/ 133 h 239"/>
                <a:gd name="T22" fmla="*/ 21 w 309"/>
                <a:gd name="T23" fmla="*/ 90 h 239"/>
                <a:gd name="T24" fmla="*/ 16 w 309"/>
                <a:gd name="T25" fmla="*/ 34 h 239"/>
                <a:gd name="T26" fmla="*/ 0 w 309"/>
                <a:gd name="T27" fmla="*/ 2 h 239"/>
                <a:gd name="T28" fmla="*/ 22 w 309"/>
                <a:gd name="T29" fmla="*/ 1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9" h="239">
                  <a:moveTo>
                    <a:pt x="22" y="1"/>
                  </a:moveTo>
                  <a:cubicBezTo>
                    <a:pt x="62" y="1"/>
                    <a:pt x="102" y="1"/>
                    <a:pt x="142" y="7"/>
                  </a:cubicBezTo>
                  <a:cubicBezTo>
                    <a:pt x="181" y="13"/>
                    <a:pt x="220" y="26"/>
                    <a:pt x="253" y="50"/>
                  </a:cubicBezTo>
                  <a:cubicBezTo>
                    <a:pt x="276" y="67"/>
                    <a:pt x="295" y="90"/>
                    <a:pt x="302" y="118"/>
                  </a:cubicBezTo>
                  <a:cubicBezTo>
                    <a:pt x="309" y="146"/>
                    <a:pt x="301" y="178"/>
                    <a:pt x="279" y="196"/>
                  </a:cubicBezTo>
                  <a:cubicBezTo>
                    <a:pt x="234" y="136"/>
                    <a:pt x="144" y="64"/>
                    <a:pt x="71" y="47"/>
                  </a:cubicBezTo>
                  <a:cubicBezTo>
                    <a:pt x="134" y="73"/>
                    <a:pt x="205" y="153"/>
                    <a:pt x="251" y="204"/>
                  </a:cubicBezTo>
                  <a:cubicBezTo>
                    <a:pt x="253" y="206"/>
                    <a:pt x="255" y="209"/>
                    <a:pt x="254" y="212"/>
                  </a:cubicBezTo>
                  <a:cubicBezTo>
                    <a:pt x="254" y="214"/>
                    <a:pt x="252" y="216"/>
                    <a:pt x="249" y="217"/>
                  </a:cubicBezTo>
                  <a:cubicBezTo>
                    <a:pt x="213" y="239"/>
                    <a:pt x="167" y="237"/>
                    <a:pt x="129" y="219"/>
                  </a:cubicBezTo>
                  <a:cubicBezTo>
                    <a:pt x="92" y="200"/>
                    <a:pt x="62" y="168"/>
                    <a:pt x="40" y="133"/>
                  </a:cubicBezTo>
                  <a:cubicBezTo>
                    <a:pt x="32" y="120"/>
                    <a:pt x="24" y="105"/>
                    <a:pt x="21" y="90"/>
                  </a:cubicBezTo>
                  <a:cubicBezTo>
                    <a:pt x="17" y="72"/>
                    <a:pt x="19" y="52"/>
                    <a:pt x="16" y="34"/>
                  </a:cubicBezTo>
                  <a:cubicBezTo>
                    <a:pt x="13" y="15"/>
                    <a:pt x="0" y="2"/>
                    <a:pt x="0" y="2"/>
                  </a:cubicBezTo>
                  <a:cubicBezTo>
                    <a:pt x="1" y="0"/>
                    <a:pt x="10" y="1"/>
                    <a:pt x="22" y="1"/>
                  </a:cubicBezTo>
                </a:path>
              </a:pathLst>
            </a:custGeom>
            <a:solidFill>
              <a:schemeClr val="accent3">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15" name="Freeform 17">
              <a:extLst>
                <a:ext uri="{FF2B5EF4-FFF2-40B4-BE49-F238E27FC236}">
                  <a16:creationId xmlns:a16="http://schemas.microsoft.com/office/drawing/2014/main" id="{05666888-ED19-4D7D-A56B-07E944C7E8AB}"/>
                </a:ext>
              </a:extLst>
            </p:cNvPr>
            <p:cNvSpPr>
              <a:spLocks/>
            </p:cNvSpPr>
            <p:nvPr/>
          </p:nvSpPr>
          <p:spPr bwMode="auto">
            <a:xfrm>
              <a:off x="4770438" y="1184275"/>
              <a:ext cx="565150" cy="765175"/>
            </a:xfrm>
            <a:custGeom>
              <a:avLst/>
              <a:gdLst>
                <a:gd name="T0" fmla="*/ 61 w 236"/>
                <a:gd name="T1" fmla="*/ 13 h 320"/>
                <a:gd name="T2" fmla="*/ 157 w 236"/>
                <a:gd name="T3" fmla="*/ 86 h 320"/>
                <a:gd name="T4" fmla="*/ 224 w 236"/>
                <a:gd name="T5" fmla="*/ 184 h 320"/>
                <a:gd name="T6" fmla="*/ 226 w 236"/>
                <a:gd name="T7" fmla="*/ 268 h 320"/>
                <a:gd name="T8" fmla="*/ 163 w 236"/>
                <a:gd name="T9" fmla="*/ 319 h 320"/>
                <a:gd name="T10" fmla="*/ 77 w 236"/>
                <a:gd name="T11" fmla="*/ 78 h 320"/>
                <a:gd name="T12" fmla="*/ 135 w 236"/>
                <a:gd name="T13" fmla="*/ 310 h 320"/>
                <a:gd name="T14" fmla="*/ 134 w 236"/>
                <a:gd name="T15" fmla="*/ 318 h 320"/>
                <a:gd name="T16" fmla="*/ 126 w 236"/>
                <a:gd name="T17" fmla="*/ 320 h 320"/>
                <a:gd name="T18" fmla="*/ 27 w 236"/>
                <a:gd name="T19" fmla="*/ 253 h 320"/>
                <a:gd name="T20" fmla="*/ 2 w 236"/>
                <a:gd name="T21" fmla="*/ 132 h 320"/>
                <a:gd name="T22" fmla="*/ 10 w 236"/>
                <a:gd name="T23" fmla="*/ 85 h 320"/>
                <a:gd name="T24" fmla="*/ 38 w 236"/>
                <a:gd name="T25" fmla="*/ 36 h 320"/>
                <a:gd name="T26" fmla="*/ 43 w 236"/>
                <a:gd name="T27" fmla="*/ 0 h 320"/>
                <a:gd name="T28" fmla="*/ 61 w 236"/>
                <a:gd name="T29" fmla="*/ 13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6" h="320">
                  <a:moveTo>
                    <a:pt x="61" y="13"/>
                  </a:moveTo>
                  <a:cubicBezTo>
                    <a:pt x="94" y="35"/>
                    <a:pt x="128" y="58"/>
                    <a:pt x="157" y="86"/>
                  </a:cubicBezTo>
                  <a:cubicBezTo>
                    <a:pt x="186" y="113"/>
                    <a:pt x="211" y="146"/>
                    <a:pt x="224" y="184"/>
                  </a:cubicBezTo>
                  <a:cubicBezTo>
                    <a:pt x="233" y="211"/>
                    <a:pt x="236" y="241"/>
                    <a:pt x="226" y="268"/>
                  </a:cubicBezTo>
                  <a:cubicBezTo>
                    <a:pt x="216" y="295"/>
                    <a:pt x="191" y="317"/>
                    <a:pt x="163" y="319"/>
                  </a:cubicBezTo>
                  <a:cubicBezTo>
                    <a:pt x="160" y="244"/>
                    <a:pt x="127" y="134"/>
                    <a:pt x="77" y="78"/>
                  </a:cubicBezTo>
                  <a:cubicBezTo>
                    <a:pt x="113" y="135"/>
                    <a:pt x="126" y="242"/>
                    <a:pt x="135" y="310"/>
                  </a:cubicBezTo>
                  <a:cubicBezTo>
                    <a:pt x="135" y="312"/>
                    <a:pt x="136" y="316"/>
                    <a:pt x="134" y="318"/>
                  </a:cubicBezTo>
                  <a:cubicBezTo>
                    <a:pt x="132" y="320"/>
                    <a:pt x="129" y="320"/>
                    <a:pt x="126" y="320"/>
                  </a:cubicBezTo>
                  <a:cubicBezTo>
                    <a:pt x="84" y="317"/>
                    <a:pt x="47" y="289"/>
                    <a:pt x="27" y="253"/>
                  </a:cubicBezTo>
                  <a:cubicBezTo>
                    <a:pt x="6" y="216"/>
                    <a:pt x="0" y="173"/>
                    <a:pt x="2" y="132"/>
                  </a:cubicBezTo>
                  <a:cubicBezTo>
                    <a:pt x="3" y="116"/>
                    <a:pt x="5" y="100"/>
                    <a:pt x="10" y="85"/>
                  </a:cubicBezTo>
                  <a:cubicBezTo>
                    <a:pt x="17" y="68"/>
                    <a:pt x="30" y="53"/>
                    <a:pt x="38" y="36"/>
                  </a:cubicBezTo>
                  <a:cubicBezTo>
                    <a:pt x="47" y="19"/>
                    <a:pt x="43" y="0"/>
                    <a:pt x="43" y="0"/>
                  </a:cubicBezTo>
                  <a:cubicBezTo>
                    <a:pt x="45" y="0"/>
                    <a:pt x="52" y="6"/>
                    <a:pt x="61" y="13"/>
                  </a:cubicBezTo>
                </a:path>
              </a:pathLst>
            </a:custGeom>
            <a:solidFill>
              <a:schemeClr val="accent3">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16" name="Oval 20">
              <a:extLst>
                <a:ext uri="{FF2B5EF4-FFF2-40B4-BE49-F238E27FC236}">
                  <a16:creationId xmlns:a16="http://schemas.microsoft.com/office/drawing/2014/main" id="{D21D140A-18A0-4AC2-951D-1B0F59C9A430}"/>
                </a:ext>
              </a:extLst>
            </p:cNvPr>
            <p:cNvSpPr>
              <a:spLocks noChangeArrowheads="1"/>
            </p:cNvSpPr>
            <p:nvPr/>
          </p:nvSpPr>
          <p:spPr bwMode="auto">
            <a:xfrm>
              <a:off x="7354888" y="4389438"/>
              <a:ext cx="1395413" cy="1392238"/>
            </a:xfrm>
            <a:prstGeom prst="ellipse">
              <a:avLst/>
            </a:pr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grpSp>
          <p:nvGrpSpPr>
            <p:cNvPr id="17" name="Group 71">
              <a:extLst>
                <a:ext uri="{FF2B5EF4-FFF2-40B4-BE49-F238E27FC236}">
                  <a16:creationId xmlns:a16="http://schemas.microsoft.com/office/drawing/2014/main" id="{E859492D-42BF-4451-9A87-37EC941AD069}"/>
                </a:ext>
              </a:extLst>
            </p:cNvPr>
            <p:cNvGrpSpPr/>
            <p:nvPr/>
          </p:nvGrpSpPr>
          <p:grpSpPr>
            <a:xfrm>
              <a:off x="7570788" y="1706563"/>
              <a:ext cx="1395413" cy="1390650"/>
              <a:chOff x="7570788" y="1706563"/>
              <a:chExt cx="1395413" cy="1390650"/>
            </a:xfrm>
          </p:grpSpPr>
          <p:sp>
            <p:nvSpPr>
              <p:cNvPr id="41" name="Oval 21">
                <a:extLst>
                  <a:ext uri="{FF2B5EF4-FFF2-40B4-BE49-F238E27FC236}">
                    <a16:creationId xmlns:a16="http://schemas.microsoft.com/office/drawing/2014/main" id="{1D0241A0-CEDB-4247-B38A-0CD0936FEF97}"/>
                  </a:ext>
                </a:extLst>
              </p:cNvPr>
              <p:cNvSpPr>
                <a:spLocks noChangeArrowheads="1"/>
              </p:cNvSpPr>
              <p:nvPr/>
            </p:nvSpPr>
            <p:spPr bwMode="auto">
              <a:xfrm>
                <a:off x="7570788" y="1706563"/>
                <a:ext cx="1395413" cy="1390650"/>
              </a:xfrm>
              <a:prstGeom prst="ellipse">
                <a:avLst/>
              </a:pr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grpSp>
            <p:nvGrpSpPr>
              <p:cNvPr id="42" name="Group 37">
                <a:extLst>
                  <a:ext uri="{FF2B5EF4-FFF2-40B4-BE49-F238E27FC236}">
                    <a16:creationId xmlns:a16="http://schemas.microsoft.com/office/drawing/2014/main" id="{FA4F3BE3-E869-4F02-A924-74ADE14D6930}"/>
                  </a:ext>
                </a:extLst>
              </p:cNvPr>
              <p:cNvGrpSpPr>
                <a:grpSpLocks noChangeAspect="1"/>
              </p:cNvGrpSpPr>
              <p:nvPr/>
            </p:nvGrpSpPr>
            <p:grpSpPr bwMode="auto">
              <a:xfrm>
                <a:off x="8002653" y="2132089"/>
                <a:ext cx="531682" cy="539598"/>
                <a:chOff x="3294" y="3298"/>
                <a:chExt cx="470" cy="477"/>
              </a:xfrm>
              <a:solidFill>
                <a:schemeClr val="bg1"/>
              </a:solidFill>
            </p:grpSpPr>
            <p:sp>
              <p:nvSpPr>
                <p:cNvPr id="43" name="Freeform 39">
                  <a:extLst>
                    <a:ext uri="{FF2B5EF4-FFF2-40B4-BE49-F238E27FC236}">
                      <a16:creationId xmlns:a16="http://schemas.microsoft.com/office/drawing/2014/main" id="{7955E5A7-BCB3-4C2F-8253-19626668269C}"/>
                    </a:ext>
                  </a:extLst>
                </p:cNvPr>
                <p:cNvSpPr>
                  <a:spLocks/>
                </p:cNvSpPr>
                <p:nvPr/>
              </p:nvSpPr>
              <p:spPr bwMode="auto">
                <a:xfrm>
                  <a:off x="3442" y="3327"/>
                  <a:ext cx="144" cy="131"/>
                </a:xfrm>
                <a:custGeom>
                  <a:avLst/>
                  <a:gdLst>
                    <a:gd name="T0" fmla="*/ 181 w 1011"/>
                    <a:gd name="T1" fmla="*/ 0 h 915"/>
                    <a:gd name="T2" fmla="*/ 831 w 1011"/>
                    <a:gd name="T3" fmla="*/ 0 h 915"/>
                    <a:gd name="T4" fmla="*/ 863 w 1011"/>
                    <a:gd name="T5" fmla="*/ 3 h 915"/>
                    <a:gd name="T6" fmla="*/ 894 w 1011"/>
                    <a:gd name="T7" fmla="*/ 12 h 915"/>
                    <a:gd name="T8" fmla="*/ 922 w 1011"/>
                    <a:gd name="T9" fmla="*/ 26 h 915"/>
                    <a:gd name="T10" fmla="*/ 947 w 1011"/>
                    <a:gd name="T11" fmla="*/ 44 h 915"/>
                    <a:gd name="T12" fmla="*/ 968 w 1011"/>
                    <a:gd name="T13" fmla="*/ 66 h 915"/>
                    <a:gd name="T14" fmla="*/ 987 w 1011"/>
                    <a:gd name="T15" fmla="*/ 92 h 915"/>
                    <a:gd name="T16" fmla="*/ 1000 w 1011"/>
                    <a:gd name="T17" fmla="*/ 121 h 915"/>
                    <a:gd name="T18" fmla="*/ 1009 w 1011"/>
                    <a:gd name="T19" fmla="*/ 152 h 915"/>
                    <a:gd name="T20" fmla="*/ 1011 w 1011"/>
                    <a:gd name="T21" fmla="*/ 185 h 915"/>
                    <a:gd name="T22" fmla="*/ 1011 w 1011"/>
                    <a:gd name="T23" fmla="*/ 492 h 915"/>
                    <a:gd name="T24" fmla="*/ 1009 w 1011"/>
                    <a:gd name="T25" fmla="*/ 525 h 915"/>
                    <a:gd name="T26" fmla="*/ 1000 w 1011"/>
                    <a:gd name="T27" fmla="*/ 556 h 915"/>
                    <a:gd name="T28" fmla="*/ 987 w 1011"/>
                    <a:gd name="T29" fmla="*/ 585 h 915"/>
                    <a:gd name="T30" fmla="*/ 968 w 1011"/>
                    <a:gd name="T31" fmla="*/ 610 h 915"/>
                    <a:gd name="T32" fmla="*/ 947 w 1011"/>
                    <a:gd name="T33" fmla="*/ 632 h 915"/>
                    <a:gd name="T34" fmla="*/ 922 w 1011"/>
                    <a:gd name="T35" fmla="*/ 650 h 915"/>
                    <a:gd name="T36" fmla="*/ 894 w 1011"/>
                    <a:gd name="T37" fmla="*/ 664 h 915"/>
                    <a:gd name="T38" fmla="*/ 863 w 1011"/>
                    <a:gd name="T39" fmla="*/ 673 h 915"/>
                    <a:gd name="T40" fmla="*/ 831 w 1011"/>
                    <a:gd name="T41" fmla="*/ 676 h 915"/>
                    <a:gd name="T42" fmla="*/ 758 w 1011"/>
                    <a:gd name="T43" fmla="*/ 676 h 915"/>
                    <a:gd name="T44" fmla="*/ 901 w 1011"/>
                    <a:gd name="T45" fmla="*/ 915 h 915"/>
                    <a:gd name="T46" fmla="*/ 488 w 1011"/>
                    <a:gd name="T47" fmla="*/ 676 h 915"/>
                    <a:gd name="T48" fmla="*/ 181 w 1011"/>
                    <a:gd name="T49" fmla="*/ 676 h 915"/>
                    <a:gd name="T50" fmla="*/ 147 w 1011"/>
                    <a:gd name="T51" fmla="*/ 673 h 915"/>
                    <a:gd name="T52" fmla="*/ 117 w 1011"/>
                    <a:gd name="T53" fmla="*/ 664 h 915"/>
                    <a:gd name="T54" fmla="*/ 89 w 1011"/>
                    <a:gd name="T55" fmla="*/ 650 h 915"/>
                    <a:gd name="T56" fmla="*/ 64 w 1011"/>
                    <a:gd name="T57" fmla="*/ 632 h 915"/>
                    <a:gd name="T58" fmla="*/ 43 w 1011"/>
                    <a:gd name="T59" fmla="*/ 610 h 915"/>
                    <a:gd name="T60" fmla="*/ 25 w 1011"/>
                    <a:gd name="T61" fmla="*/ 585 h 915"/>
                    <a:gd name="T62" fmla="*/ 11 w 1011"/>
                    <a:gd name="T63" fmla="*/ 556 h 915"/>
                    <a:gd name="T64" fmla="*/ 3 w 1011"/>
                    <a:gd name="T65" fmla="*/ 525 h 915"/>
                    <a:gd name="T66" fmla="*/ 0 w 1011"/>
                    <a:gd name="T67" fmla="*/ 492 h 915"/>
                    <a:gd name="T68" fmla="*/ 0 w 1011"/>
                    <a:gd name="T69" fmla="*/ 185 h 915"/>
                    <a:gd name="T70" fmla="*/ 3 w 1011"/>
                    <a:gd name="T71" fmla="*/ 152 h 915"/>
                    <a:gd name="T72" fmla="*/ 11 w 1011"/>
                    <a:gd name="T73" fmla="*/ 121 h 915"/>
                    <a:gd name="T74" fmla="*/ 25 w 1011"/>
                    <a:gd name="T75" fmla="*/ 92 h 915"/>
                    <a:gd name="T76" fmla="*/ 43 w 1011"/>
                    <a:gd name="T77" fmla="*/ 66 h 915"/>
                    <a:gd name="T78" fmla="*/ 64 w 1011"/>
                    <a:gd name="T79" fmla="*/ 44 h 915"/>
                    <a:gd name="T80" fmla="*/ 89 w 1011"/>
                    <a:gd name="T81" fmla="*/ 26 h 915"/>
                    <a:gd name="T82" fmla="*/ 117 w 1011"/>
                    <a:gd name="T83" fmla="*/ 12 h 915"/>
                    <a:gd name="T84" fmla="*/ 147 w 1011"/>
                    <a:gd name="T85" fmla="*/ 3 h 915"/>
                    <a:gd name="T86" fmla="*/ 181 w 1011"/>
                    <a:gd name="T87" fmla="*/ 0 h 9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011" h="915">
                      <a:moveTo>
                        <a:pt x="181" y="0"/>
                      </a:moveTo>
                      <a:lnTo>
                        <a:pt x="831" y="0"/>
                      </a:lnTo>
                      <a:lnTo>
                        <a:pt x="863" y="3"/>
                      </a:lnTo>
                      <a:lnTo>
                        <a:pt x="894" y="12"/>
                      </a:lnTo>
                      <a:lnTo>
                        <a:pt x="922" y="26"/>
                      </a:lnTo>
                      <a:lnTo>
                        <a:pt x="947" y="44"/>
                      </a:lnTo>
                      <a:lnTo>
                        <a:pt x="968" y="66"/>
                      </a:lnTo>
                      <a:lnTo>
                        <a:pt x="987" y="92"/>
                      </a:lnTo>
                      <a:lnTo>
                        <a:pt x="1000" y="121"/>
                      </a:lnTo>
                      <a:lnTo>
                        <a:pt x="1009" y="152"/>
                      </a:lnTo>
                      <a:lnTo>
                        <a:pt x="1011" y="185"/>
                      </a:lnTo>
                      <a:lnTo>
                        <a:pt x="1011" y="492"/>
                      </a:lnTo>
                      <a:lnTo>
                        <a:pt x="1009" y="525"/>
                      </a:lnTo>
                      <a:lnTo>
                        <a:pt x="1000" y="556"/>
                      </a:lnTo>
                      <a:lnTo>
                        <a:pt x="987" y="585"/>
                      </a:lnTo>
                      <a:lnTo>
                        <a:pt x="968" y="610"/>
                      </a:lnTo>
                      <a:lnTo>
                        <a:pt x="947" y="632"/>
                      </a:lnTo>
                      <a:lnTo>
                        <a:pt x="922" y="650"/>
                      </a:lnTo>
                      <a:lnTo>
                        <a:pt x="894" y="664"/>
                      </a:lnTo>
                      <a:lnTo>
                        <a:pt x="863" y="673"/>
                      </a:lnTo>
                      <a:lnTo>
                        <a:pt x="831" y="676"/>
                      </a:lnTo>
                      <a:lnTo>
                        <a:pt x="758" y="676"/>
                      </a:lnTo>
                      <a:lnTo>
                        <a:pt x="901" y="915"/>
                      </a:lnTo>
                      <a:lnTo>
                        <a:pt x="488" y="676"/>
                      </a:lnTo>
                      <a:lnTo>
                        <a:pt x="181" y="676"/>
                      </a:lnTo>
                      <a:lnTo>
                        <a:pt x="147" y="673"/>
                      </a:lnTo>
                      <a:lnTo>
                        <a:pt x="117" y="664"/>
                      </a:lnTo>
                      <a:lnTo>
                        <a:pt x="89" y="650"/>
                      </a:lnTo>
                      <a:lnTo>
                        <a:pt x="64" y="632"/>
                      </a:lnTo>
                      <a:lnTo>
                        <a:pt x="43" y="610"/>
                      </a:lnTo>
                      <a:lnTo>
                        <a:pt x="25" y="585"/>
                      </a:lnTo>
                      <a:lnTo>
                        <a:pt x="11" y="556"/>
                      </a:lnTo>
                      <a:lnTo>
                        <a:pt x="3" y="525"/>
                      </a:lnTo>
                      <a:lnTo>
                        <a:pt x="0" y="492"/>
                      </a:lnTo>
                      <a:lnTo>
                        <a:pt x="0" y="185"/>
                      </a:lnTo>
                      <a:lnTo>
                        <a:pt x="3" y="152"/>
                      </a:lnTo>
                      <a:lnTo>
                        <a:pt x="11" y="121"/>
                      </a:lnTo>
                      <a:lnTo>
                        <a:pt x="25" y="92"/>
                      </a:lnTo>
                      <a:lnTo>
                        <a:pt x="43" y="66"/>
                      </a:lnTo>
                      <a:lnTo>
                        <a:pt x="64" y="44"/>
                      </a:lnTo>
                      <a:lnTo>
                        <a:pt x="89" y="26"/>
                      </a:lnTo>
                      <a:lnTo>
                        <a:pt x="117" y="12"/>
                      </a:lnTo>
                      <a:lnTo>
                        <a:pt x="147" y="3"/>
                      </a:lnTo>
                      <a:lnTo>
                        <a:pt x="18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44" name="Rectangle 40">
                  <a:extLst>
                    <a:ext uri="{FF2B5EF4-FFF2-40B4-BE49-F238E27FC236}">
                      <a16:creationId xmlns:a16="http://schemas.microsoft.com/office/drawing/2014/main" id="{C1A7C2EA-1007-4463-BC3C-CCBB25CB6319}"/>
                    </a:ext>
                  </a:extLst>
                </p:cNvPr>
                <p:cNvSpPr>
                  <a:spLocks noChangeArrowheads="1"/>
                </p:cNvSpPr>
                <p:nvPr/>
              </p:nvSpPr>
              <p:spPr bwMode="auto">
                <a:xfrm>
                  <a:off x="3294" y="3342"/>
                  <a:ext cx="30" cy="32"/>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45" name="Rectangle 41">
                  <a:extLst>
                    <a:ext uri="{FF2B5EF4-FFF2-40B4-BE49-F238E27FC236}">
                      <a16:creationId xmlns:a16="http://schemas.microsoft.com/office/drawing/2014/main" id="{6B3E07BF-F9A1-4DF2-AA85-AAD9B69DF5EE}"/>
                    </a:ext>
                  </a:extLst>
                </p:cNvPr>
                <p:cNvSpPr>
                  <a:spLocks noChangeArrowheads="1"/>
                </p:cNvSpPr>
                <p:nvPr/>
              </p:nvSpPr>
              <p:spPr bwMode="auto">
                <a:xfrm>
                  <a:off x="3294" y="3407"/>
                  <a:ext cx="30" cy="32"/>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46" name="Rectangle 42">
                  <a:extLst>
                    <a:ext uri="{FF2B5EF4-FFF2-40B4-BE49-F238E27FC236}">
                      <a16:creationId xmlns:a16="http://schemas.microsoft.com/office/drawing/2014/main" id="{70B6573F-31D4-418A-BE6F-A120448DE9AE}"/>
                    </a:ext>
                  </a:extLst>
                </p:cNvPr>
                <p:cNvSpPr>
                  <a:spLocks noChangeArrowheads="1"/>
                </p:cNvSpPr>
                <p:nvPr/>
              </p:nvSpPr>
              <p:spPr bwMode="auto">
                <a:xfrm>
                  <a:off x="3294" y="3472"/>
                  <a:ext cx="30" cy="32"/>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47" name="Rectangle 43">
                  <a:extLst>
                    <a:ext uri="{FF2B5EF4-FFF2-40B4-BE49-F238E27FC236}">
                      <a16:creationId xmlns:a16="http://schemas.microsoft.com/office/drawing/2014/main" id="{F729549F-EC79-409D-8957-E771495DF7E5}"/>
                    </a:ext>
                  </a:extLst>
                </p:cNvPr>
                <p:cNvSpPr>
                  <a:spLocks noChangeArrowheads="1"/>
                </p:cNvSpPr>
                <p:nvPr/>
              </p:nvSpPr>
              <p:spPr bwMode="auto">
                <a:xfrm>
                  <a:off x="3294" y="3537"/>
                  <a:ext cx="30" cy="32"/>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48" name="Rectangle 44">
                  <a:extLst>
                    <a:ext uri="{FF2B5EF4-FFF2-40B4-BE49-F238E27FC236}">
                      <a16:creationId xmlns:a16="http://schemas.microsoft.com/office/drawing/2014/main" id="{E368CAD9-FE1B-4D5F-9AF4-B6F508C2047E}"/>
                    </a:ext>
                  </a:extLst>
                </p:cNvPr>
                <p:cNvSpPr>
                  <a:spLocks noChangeArrowheads="1"/>
                </p:cNvSpPr>
                <p:nvPr/>
              </p:nvSpPr>
              <p:spPr bwMode="auto">
                <a:xfrm>
                  <a:off x="3294" y="3602"/>
                  <a:ext cx="30" cy="32"/>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49" name="Freeform 45">
                  <a:extLst>
                    <a:ext uri="{FF2B5EF4-FFF2-40B4-BE49-F238E27FC236}">
                      <a16:creationId xmlns:a16="http://schemas.microsoft.com/office/drawing/2014/main" id="{B5092DA7-E2C4-487D-AF01-33D04E2CF17E}"/>
                    </a:ext>
                  </a:extLst>
                </p:cNvPr>
                <p:cNvSpPr>
                  <a:spLocks/>
                </p:cNvSpPr>
                <p:nvPr/>
              </p:nvSpPr>
              <p:spPr bwMode="auto">
                <a:xfrm>
                  <a:off x="3345" y="3298"/>
                  <a:ext cx="419" cy="426"/>
                </a:xfrm>
                <a:custGeom>
                  <a:avLst/>
                  <a:gdLst>
                    <a:gd name="T0" fmla="*/ 0 w 2938"/>
                    <a:gd name="T1" fmla="*/ 0 h 2981"/>
                    <a:gd name="T2" fmla="*/ 323 w 2938"/>
                    <a:gd name="T3" fmla="*/ 0 h 2981"/>
                    <a:gd name="T4" fmla="*/ 323 w 2938"/>
                    <a:gd name="T5" fmla="*/ 2650 h 2981"/>
                    <a:gd name="T6" fmla="*/ 2938 w 2938"/>
                    <a:gd name="T7" fmla="*/ 2650 h 2981"/>
                    <a:gd name="T8" fmla="*/ 2938 w 2938"/>
                    <a:gd name="T9" fmla="*/ 2981 h 2981"/>
                    <a:gd name="T10" fmla="*/ 0 w 2938"/>
                    <a:gd name="T11" fmla="*/ 2981 h 2981"/>
                    <a:gd name="T12" fmla="*/ 0 w 2938"/>
                    <a:gd name="T13" fmla="*/ 0 h 2981"/>
                  </a:gdLst>
                  <a:ahLst/>
                  <a:cxnLst>
                    <a:cxn ang="0">
                      <a:pos x="T0" y="T1"/>
                    </a:cxn>
                    <a:cxn ang="0">
                      <a:pos x="T2" y="T3"/>
                    </a:cxn>
                    <a:cxn ang="0">
                      <a:pos x="T4" y="T5"/>
                    </a:cxn>
                    <a:cxn ang="0">
                      <a:pos x="T6" y="T7"/>
                    </a:cxn>
                    <a:cxn ang="0">
                      <a:pos x="T8" y="T9"/>
                    </a:cxn>
                    <a:cxn ang="0">
                      <a:pos x="T10" y="T11"/>
                    </a:cxn>
                    <a:cxn ang="0">
                      <a:pos x="T12" y="T13"/>
                    </a:cxn>
                  </a:cxnLst>
                  <a:rect l="0" t="0" r="r" b="b"/>
                  <a:pathLst>
                    <a:path w="2938" h="2981">
                      <a:moveTo>
                        <a:pt x="0" y="0"/>
                      </a:moveTo>
                      <a:lnTo>
                        <a:pt x="323" y="0"/>
                      </a:lnTo>
                      <a:lnTo>
                        <a:pt x="323" y="2650"/>
                      </a:lnTo>
                      <a:lnTo>
                        <a:pt x="2938" y="2650"/>
                      </a:lnTo>
                      <a:lnTo>
                        <a:pt x="2938" y="2981"/>
                      </a:lnTo>
                      <a:lnTo>
                        <a:pt x="0" y="2981"/>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50" name="Rectangle 46">
                  <a:extLst>
                    <a:ext uri="{FF2B5EF4-FFF2-40B4-BE49-F238E27FC236}">
                      <a16:creationId xmlns:a16="http://schemas.microsoft.com/office/drawing/2014/main" id="{AB9BCE33-B35F-4629-A871-A2B1EC517F14}"/>
                    </a:ext>
                  </a:extLst>
                </p:cNvPr>
                <p:cNvSpPr>
                  <a:spLocks noChangeArrowheads="1"/>
                </p:cNvSpPr>
                <p:nvPr/>
              </p:nvSpPr>
              <p:spPr bwMode="auto">
                <a:xfrm>
                  <a:off x="3690" y="3744"/>
                  <a:ext cx="31" cy="31"/>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51" name="Rectangle 47">
                  <a:extLst>
                    <a:ext uri="{FF2B5EF4-FFF2-40B4-BE49-F238E27FC236}">
                      <a16:creationId xmlns:a16="http://schemas.microsoft.com/office/drawing/2014/main" id="{249AD1E4-8402-43EE-8035-0F89AB4842DE}"/>
                    </a:ext>
                  </a:extLst>
                </p:cNvPr>
                <p:cNvSpPr>
                  <a:spLocks noChangeArrowheads="1"/>
                </p:cNvSpPr>
                <p:nvPr/>
              </p:nvSpPr>
              <p:spPr bwMode="auto">
                <a:xfrm>
                  <a:off x="3626" y="3744"/>
                  <a:ext cx="31" cy="31"/>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52" name="Rectangle 48">
                  <a:extLst>
                    <a:ext uri="{FF2B5EF4-FFF2-40B4-BE49-F238E27FC236}">
                      <a16:creationId xmlns:a16="http://schemas.microsoft.com/office/drawing/2014/main" id="{04AF1C52-19D8-4233-8270-34906372F5E5}"/>
                    </a:ext>
                  </a:extLst>
                </p:cNvPr>
                <p:cNvSpPr>
                  <a:spLocks noChangeArrowheads="1"/>
                </p:cNvSpPr>
                <p:nvPr/>
              </p:nvSpPr>
              <p:spPr bwMode="auto">
                <a:xfrm>
                  <a:off x="3562" y="3744"/>
                  <a:ext cx="31" cy="31"/>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53" name="Rectangle 49">
                  <a:extLst>
                    <a:ext uri="{FF2B5EF4-FFF2-40B4-BE49-F238E27FC236}">
                      <a16:creationId xmlns:a16="http://schemas.microsoft.com/office/drawing/2014/main" id="{27516A65-EC61-48AF-B179-54CF104EA344}"/>
                    </a:ext>
                  </a:extLst>
                </p:cNvPr>
                <p:cNvSpPr>
                  <a:spLocks noChangeArrowheads="1"/>
                </p:cNvSpPr>
                <p:nvPr/>
              </p:nvSpPr>
              <p:spPr bwMode="auto">
                <a:xfrm>
                  <a:off x="3499" y="3744"/>
                  <a:ext cx="31" cy="31"/>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54" name="Rectangle 50">
                  <a:extLst>
                    <a:ext uri="{FF2B5EF4-FFF2-40B4-BE49-F238E27FC236}">
                      <a16:creationId xmlns:a16="http://schemas.microsoft.com/office/drawing/2014/main" id="{6C119EC9-FE08-49EB-B65E-151A3E9B5541}"/>
                    </a:ext>
                  </a:extLst>
                </p:cNvPr>
                <p:cNvSpPr>
                  <a:spLocks noChangeArrowheads="1"/>
                </p:cNvSpPr>
                <p:nvPr/>
              </p:nvSpPr>
              <p:spPr bwMode="auto">
                <a:xfrm>
                  <a:off x="3435" y="3744"/>
                  <a:ext cx="31" cy="31"/>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55" name="Freeform 51">
                  <a:extLst>
                    <a:ext uri="{FF2B5EF4-FFF2-40B4-BE49-F238E27FC236}">
                      <a16:creationId xmlns:a16="http://schemas.microsoft.com/office/drawing/2014/main" id="{91916EA1-AF72-4015-8C6B-B23649D0FDD7}"/>
                    </a:ext>
                  </a:extLst>
                </p:cNvPr>
                <p:cNvSpPr>
                  <a:spLocks/>
                </p:cNvSpPr>
                <p:nvPr/>
              </p:nvSpPr>
              <p:spPr bwMode="auto">
                <a:xfrm>
                  <a:off x="3407" y="3395"/>
                  <a:ext cx="355" cy="264"/>
                </a:xfrm>
                <a:custGeom>
                  <a:avLst/>
                  <a:gdLst>
                    <a:gd name="T0" fmla="*/ 2294 w 2482"/>
                    <a:gd name="T1" fmla="*/ 0 h 1851"/>
                    <a:gd name="T2" fmla="*/ 2482 w 2482"/>
                    <a:gd name="T3" fmla="*/ 109 h 1851"/>
                    <a:gd name="T4" fmla="*/ 1993 w 2482"/>
                    <a:gd name="T5" fmla="*/ 1003 h 1851"/>
                    <a:gd name="T6" fmla="*/ 1498 w 2482"/>
                    <a:gd name="T7" fmla="*/ 753 h 1851"/>
                    <a:gd name="T8" fmla="*/ 1173 w 2482"/>
                    <a:gd name="T9" fmla="*/ 1396 h 1851"/>
                    <a:gd name="T10" fmla="*/ 607 w 2482"/>
                    <a:gd name="T11" fmla="*/ 1120 h 1851"/>
                    <a:gd name="T12" fmla="*/ 186 w 2482"/>
                    <a:gd name="T13" fmla="*/ 1851 h 1851"/>
                    <a:gd name="T14" fmla="*/ 0 w 2482"/>
                    <a:gd name="T15" fmla="*/ 1740 h 1851"/>
                    <a:gd name="T16" fmla="*/ 521 w 2482"/>
                    <a:gd name="T17" fmla="*/ 833 h 1851"/>
                    <a:gd name="T18" fmla="*/ 1077 w 2482"/>
                    <a:gd name="T19" fmla="*/ 1105 h 1851"/>
                    <a:gd name="T20" fmla="*/ 1404 w 2482"/>
                    <a:gd name="T21" fmla="*/ 460 h 1851"/>
                    <a:gd name="T22" fmla="*/ 1904 w 2482"/>
                    <a:gd name="T23" fmla="*/ 712 h 1851"/>
                    <a:gd name="T24" fmla="*/ 2294 w 2482"/>
                    <a:gd name="T25" fmla="*/ 0 h 18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82" h="1851">
                      <a:moveTo>
                        <a:pt x="2294" y="0"/>
                      </a:moveTo>
                      <a:lnTo>
                        <a:pt x="2482" y="109"/>
                      </a:lnTo>
                      <a:lnTo>
                        <a:pt x="1993" y="1003"/>
                      </a:lnTo>
                      <a:lnTo>
                        <a:pt x="1498" y="753"/>
                      </a:lnTo>
                      <a:lnTo>
                        <a:pt x="1173" y="1396"/>
                      </a:lnTo>
                      <a:lnTo>
                        <a:pt x="607" y="1120"/>
                      </a:lnTo>
                      <a:lnTo>
                        <a:pt x="186" y="1851"/>
                      </a:lnTo>
                      <a:lnTo>
                        <a:pt x="0" y="1740"/>
                      </a:lnTo>
                      <a:lnTo>
                        <a:pt x="521" y="833"/>
                      </a:lnTo>
                      <a:lnTo>
                        <a:pt x="1077" y="1105"/>
                      </a:lnTo>
                      <a:lnTo>
                        <a:pt x="1404" y="460"/>
                      </a:lnTo>
                      <a:lnTo>
                        <a:pt x="1904" y="712"/>
                      </a:lnTo>
                      <a:lnTo>
                        <a:pt x="229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grpSp>
        </p:grpSp>
        <p:grpSp>
          <p:nvGrpSpPr>
            <p:cNvPr id="18" name="Group 2">
              <a:extLst>
                <a:ext uri="{FF2B5EF4-FFF2-40B4-BE49-F238E27FC236}">
                  <a16:creationId xmlns:a16="http://schemas.microsoft.com/office/drawing/2014/main" id="{7B429B26-FC52-4521-9BEE-7E04DFE135E1}"/>
                </a:ext>
              </a:extLst>
            </p:cNvPr>
            <p:cNvGrpSpPr/>
            <p:nvPr/>
          </p:nvGrpSpPr>
          <p:grpSpPr>
            <a:xfrm>
              <a:off x="3168650" y="2084388"/>
              <a:ext cx="1395413" cy="1389063"/>
              <a:chOff x="3168650" y="2084388"/>
              <a:chExt cx="1395413" cy="1389063"/>
            </a:xfrm>
          </p:grpSpPr>
          <p:sp>
            <p:nvSpPr>
              <p:cNvPr id="36" name="Oval 18">
                <a:extLst>
                  <a:ext uri="{FF2B5EF4-FFF2-40B4-BE49-F238E27FC236}">
                    <a16:creationId xmlns:a16="http://schemas.microsoft.com/office/drawing/2014/main" id="{79C3FE60-D976-4937-BB8C-F08A36F6DAF6}"/>
                  </a:ext>
                </a:extLst>
              </p:cNvPr>
              <p:cNvSpPr>
                <a:spLocks noChangeArrowheads="1"/>
              </p:cNvSpPr>
              <p:nvPr/>
            </p:nvSpPr>
            <p:spPr bwMode="auto">
              <a:xfrm>
                <a:off x="3168650" y="2084388"/>
                <a:ext cx="1395413" cy="1389063"/>
              </a:xfrm>
              <a:prstGeom prst="ellipse">
                <a:avLst/>
              </a:pr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grpSp>
            <p:nvGrpSpPr>
              <p:cNvPr id="37" name="Group 369">
                <a:extLst>
                  <a:ext uri="{FF2B5EF4-FFF2-40B4-BE49-F238E27FC236}">
                    <a16:creationId xmlns:a16="http://schemas.microsoft.com/office/drawing/2014/main" id="{E5565E40-323C-4299-8374-0DCB9E6CC3C9}"/>
                  </a:ext>
                </a:extLst>
              </p:cNvPr>
              <p:cNvGrpSpPr>
                <a:grpSpLocks noChangeAspect="1"/>
              </p:cNvGrpSpPr>
              <p:nvPr/>
            </p:nvGrpSpPr>
            <p:grpSpPr bwMode="auto">
              <a:xfrm>
                <a:off x="3505331" y="2490993"/>
                <a:ext cx="722050" cy="575852"/>
                <a:chOff x="4795" y="713"/>
                <a:chExt cx="484" cy="386"/>
              </a:xfrm>
              <a:solidFill>
                <a:schemeClr val="bg1"/>
              </a:solidFill>
            </p:grpSpPr>
            <p:sp>
              <p:nvSpPr>
                <p:cNvPr id="38" name="Freeform 371">
                  <a:extLst>
                    <a:ext uri="{FF2B5EF4-FFF2-40B4-BE49-F238E27FC236}">
                      <a16:creationId xmlns:a16="http://schemas.microsoft.com/office/drawing/2014/main" id="{D26C2BB7-9E84-45D7-AD48-506A4E504B26}"/>
                    </a:ext>
                  </a:extLst>
                </p:cNvPr>
                <p:cNvSpPr>
                  <a:spLocks noEditPoints="1"/>
                </p:cNvSpPr>
                <p:nvPr/>
              </p:nvSpPr>
              <p:spPr bwMode="auto">
                <a:xfrm>
                  <a:off x="4829" y="713"/>
                  <a:ext cx="415" cy="303"/>
                </a:xfrm>
                <a:custGeom>
                  <a:avLst/>
                  <a:gdLst>
                    <a:gd name="T0" fmla="*/ 325 w 2905"/>
                    <a:gd name="T1" fmla="*/ 320 h 2123"/>
                    <a:gd name="T2" fmla="*/ 325 w 2905"/>
                    <a:gd name="T3" fmla="*/ 1803 h 2123"/>
                    <a:gd name="T4" fmla="*/ 2578 w 2905"/>
                    <a:gd name="T5" fmla="*/ 1803 h 2123"/>
                    <a:gd name="T6" fmla="*/ 2578 w 2905"/>
                    <a:gd name="T7" fmla="*/ 320 h 2123"/>
                    <a:gd name="T8" fmla="*/ 325 w 2905"/>
                    <a:gd name="T9" fmla="*/ 320 h 2123"/>
                    <a:gd name="T10" fmla="*/ 0 w 2905"/>
                    <a:gd name="T11" fmla="*/ 0 h 2123"/>
                    <a:gd name="T12" fmla="*/ 2905 w 2905"/>
                    <a:gd name="T13" fmla="*/ 0 h 2123"/>
                    <a:gd name="T14" fmla="*/ 2905 w 2905"/>
                    <a:gd name="T15" fmla="*/ 2123 h 2123"/>
                    <a:gd name="T16" fmla="*/ 0 w 2905"/>
                    <a:gd name="T17" fmla="*/ 2123 h 2123"/>
                    <a:gd name="T18" fmla="*/ 0 w 2905"/>
                    <a:gd name="T19" fmla="*/ 0 h 2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05" h="2123">
                      <a:moveTo>
                        <a:pt x="325" y="320"/>
                      </a:moveTo>
                      <a:lnTo>
                        <a:pt x="325" y="1803"/>
                      </a:lnTo>
                      <a:lnTo>
                        <a:pt x="2578" y="1803"/>
                      </a:lnTo>
                      <a:lnTo>
                        <a:pt x="2578" y="320"/>
                      </a:lnTo>
                      <a:lnTo>
                        <a:pt x="325" y="320"/>
                      </a:lnTo>
                      <a:close/>
                      <a:moveTo>
                        <a:pt x="0" y="0"/>
                      </a:moveTo>
                      <a:lnTo>
                        <a:pt x="2905" y="0"/>
                      </a:lnTo>
                      <a:lnTo>
                        <a:pt x="2905" y="2123"/>
                      </a:lnTo>
                      <a:lnTo>
                        <a:pt x="0" y="2123"/>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39" name="Freeform 372">
                  <a:extLst>
                    <a:ext uri="{FF2B5EF4-FFF2-40B4-BE49-F238E27FC236}">
                      <a16:creationId xmlns:a16="http://schemas.microsoft.com/office/drawing/2014/main" id="{A8BF4B15-BED0-4903-8092-9E978ABA4BD7}"/>
                    </a:ext>
                  </a:extLst>
                </p:cNvPr>
                <p:cNvSpPr>
                  <a:spLocks/>
                </p:cNvSpPr>
                <p:nvPr/>
              </p:nvSpPr>
              <p:spPr bwMode="auto">
                <a:xfrm>
                  <a:off x="4795" y="1044"/>
                  <a:ext cx="484" cy="55"/>
                </a:xfrm>
                <a:custGeom>
                  <a:avLst/>
                  <a:gdLst>
                    <a:gd name="T0" fmla="*/ 0 w 3387"/>
                    <a:gd name="T1" fmla="*/ 0 h 386"/>
                    <a:gd name="T2" fmla="*/ 1297 w 3387"/>
                    <a:gd name="T3" fmla="*/ 0 h 386"/>
                    <a:gd name="T4" fmla="*/ 1297 w 3387"/>
                    <a:gd name="T5" fmla="*/ 193 h 386"/>
                    <a:gd name="T6" fmla="*/ 2089 w 3387"/>
                    <a:gd name="T7" fmla="*/ 193 h 386"/>
                    <a:gd name="T8" fmla="*/ 2089 w 3387"/>
                    <a:gd name="T9" fmla="*/ 0 h 386"/>
                    <a:gd name="T10" fmla="*/ 3387 w 3387"/>
                    <a:gd name="T11" fmla="*/ 0 h 386"/>
                    <a:gd name="T12" fmla="*/ 3387 w 3387"/>
                    <a:gd name="T13" fmla="*/ 386 h 386"/>
                    <a:gd name="T14" fmla="*/ 0 w 3387"/>
                    <a:gd name="T15" fmla="*/ 386 h 386"/>
                    <a:gd name="T16" fmla="*/ 0 w 3387"/>
                    <a:gd name="T17" fmla="*/ 0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87" h="386">
                      <a:moveTo>
                        <a:pt x="0" y="0"/>
                      </a:moveTo>
                      <a:lnTo>
                        <a:pt x="1297" y="0"/>
                      </a:lnTo>
                      <a:lnTo>
                        <a:pt x="1297" y="193"/>
                      </a:lnTo>
                      <a:lnTo>
                        <a:pt x="2089" y="193"/>
                      </a:lnTo>
                      <a:lnTo>
                        <a:pt x="2089" y="0"/>
                      </a:lnTo>
                      <a:lnTo>
                        <a:pt x="3387" y="0"/>
                      </a:lnTo>
                      <a:lnTo>
                        <a:pt x="3387" y="386"/>
                      </a:lnTo>
                      <a:lnTo>
                        <a:pt x="0" y="386"/>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40" name="Freeform 373">
                  <a:extLst>
                    <a:ext uri="{FF2B5EF4-FFF2-40B4-BE49-F238E27FC236}">
                      <a16:creationId xmlns:a16="http://schemas.microsoft.com/office/drawing/2014/main" id="{9CA3142F-8C15-4501-AB61-2F4D8F6914A6}"/>
                    </a:ext>
                  </a:extLst>
                </p:cNvPr>
                <p:cNvSpPr>
                  <a:spLocks noEditPoints="1"/>
                </p:cNvSpPr>
                <p:nvPr/>
              </p:nvSpPr>
              <p:spPr bwMode="auto">
                <a:xfrm>
                  <a:off x="4963" y="792"/>
                  <a:ext cx="152" cy="149"/>
                </a:xfrm>
                <a:custGeom>
                  <a:avLst/>
                  <a:gdLst>
                    <a:gd name="T0" fmla="*/ 392 w 1065"/>
                    <a:gd name="T1" fmla="*/ 150 h 1044"/>
                    <a:gd name="T2" fmla="*/ 324 w 1065"/>
                    <a:gd name="T3" fmla="*/ 168 h 1044"/>
                    <a:gd name="T4" fmla="*/ 261 w 1065"/>
                    <a:gd name="T5" fmla="*/ 203 h 1044"/>
                    <a:gd name="T6" fmla="*/ 208 w 1065"/>
                    <a:gd name="T7" fmla="*/ 256 h 1044"/>
                    <a:gd name="T8" fmla="*/ 172 w 1065"/>
                    <a:gd name="T9" fmla="*/ 318 h 1044"/>
                    <a:gd name="T10" fmla="*/ 154 w 1065"/>
                    <a:gd name="T11" fmla="*/ 385 h 1044"/>
                    <a:gd name="T12" fmla="*/ 154 w 1065"/>
                    <a:gd name="T13" fmla="*/ 455 h 1044"/>
                    <a:gd name="T14" fmla="*/ 172 w 1065"/>
                    <a:gd name="T15" fmla="*/ 523 h 1044"/>
                    <a:gd name="T16" fmla="*/ 208 w 1065"/>
                    <a:gd name="T17" fmla="*/ 584 h 1044"/>
                    <a:gd name="T18" fmla="*/ 261 w 1065"/>
                    <a:gd name="T19" fmla="*/ 636 h 1044"/>
                    <a:gd name="T20" fmla="*/ 324 w 1065"/>
                    <a:gd name="T21" fmla="*/ 672 h 1044"/>
                    <a:gd name="T22" fmla="*/ 392 w 1065"/>
                    <a:gd name="T23" fmla="*/ 690 h 1044"/>
                    <a:gd name="T24" fmla="*/ 464 w 1065"/>
                    <a:gd name="T25" fmla="*/ 690 h 1044"/>
                    <a:gd name="T26" fmla="*/ 532 w 1065"/>
                    <a:gd name="T27" fmla="*/ 672 h 1044"/>
                    <a:gd name="T28" fmla="*/ 595 w 1065"/>
                    <a:gd name="T29" fmla="*/ 637 h 1044"/>
                    <a:gd name="T30" fmla="*/ 649 w 1065"/>
                    <a:gd name="T31" fmla="*/ 585 h 1044"/>
                    <a:gd name="T32" fmla="*/ 685 w 1065"/>
                    <a:gd name="T33" fmla="*/ 523 h 1044"/>
                    <a:gd name="T34" fmla="*/ 703 w 1065"/>
                    <a:gd name="T35" fmla="*/ 455 h 1044"/>
                    <a:gd name="T36" fmla="*/ 703 w 1065"/>
                    <a:gd name="T37" fmla="*/ 385 h 1044"/>
                    <a:gd name="T38" fmla="*/ 685 w 1065"/>
                    <a:gd name="T39" fmla="*/ 318 h 1044"/>
                    <a:gd name="T40" fmla="*/ 649 w 1065"/>
                    <a:gd name="T41" fmla="*/ 256 h 1044"/>
                    <a:gd name="T42" fmla="*/ 596 w 1065"/>
                    <a:gd name="T43" fmla="*/ 203 h 1044"/>
                    <a:gd name="T44" fmla="*/ 532 w 1065"/>
                    <a:gd name="T45" fmla="*/ 168 h 1044"/>
                    <a:gd name="T46" fmla="*/ 464 w 1065"/>
                    <a:gd name="T47" fmla="*/ 150 h 1044"/>
                    <a:gd name="T48" fmla="*/ 429 w 1065"/>
                    <a:gd name="T49" fmla="*/ 0 h 1044"/>
                    <a:gd name="T50" fmla="*/ 522 w 1065"/>
                    <a:gd name="T51" fmla="*/ 11 h 1044"/>
                    <a:gd name="T52" fmla="*/ 611 w 1065"/>
                    <a:gd name="T53" fmla="*/ 40 h 1044"/>
                    <a:gd name="T54" fmla="*/ 694 w 1065"/>
                    <a:gd name="T55" fmla="*/ 91 h 1044"/>
                    <a:gd name="T56" fmla="*/ 764 w 1065"/>
                    <a:gd name="T57" fmla="*/ 159 h 1044"/>
                    <a:gd name="T58" fmla="*/ 815 w 1065"/>
                    <a:gd name="T59" fmla="*/ 239 h 1044"/>
                    <a:gd name="T60" fmla="*/ 845 w 1065"/>
                    <a:gd name="T61" fmla="*/ 326 h 1044"/>
                    <a:gd name="T62" fmla="*/ 856 w 1065"/>
                    <a:gd name="T63" fmla="*/ 416 h 1044"/>
                    <a:gd name="T64" fmla="*/ 846 w 1065"/>
                    <a:gd name="T65" fmla="*/ 507 h 1044"/>
                    <a:gd name="T66" fmla="*/ 818 w 1065"/>
                    <a:gd name="T67" fmla="*/ 594 h 1044"/>
                    <a:gd name="T68" fmla="*/ 853 w 1065"/>
                    <a:gd name="T69" fmla="*/ 1044 h 1044"/>
                    <a:gd name="T70" fmla="*/ 562 w 1065"/>
                    <a:gd name="T71" fmla="*/ 819 h 1044"/>
                    <a:gd name="T72" fmla="*/ 471 w 1065"/>
                    <a:gd name="T73" fmla="*/ 838 h 1044"/>
                    <a:gd name="T74" fmla="*/ 379 w 1065"/>
                    <a:gd name="T75" fmla="*/ 837 h 1044"/>
                    <a:gd name="T76" fmla="*/ 287 w 1065"/>
                    <a:gd name="T77" fmla="*/ 817 h 1044"/>
                    <a:gd name="T78" fmla="*/ 202 w 1065"/>
                    <a:gd name="T79" fmla="*/ 776 h 1044"/>
                    <a:gd name="T80" fmla="*/ 125 w 1065"/>
                    <a:gd name="T81" fmla="*/ 717 h 1044"/>
                    <a:gd name="T82" fmla="*/ 64 w 1065"/>
                    <a:gd name="T83" fmla="*/ 641 h 1044"/>
                    <a:gd name="T84" fmla="*/ 23 w 1065"/>
                    <a:gd name="T85" fmla="*/ 556 h 1044"/>
                    <a:gd name="T86" fmla="*/ 2 w 1065"/>
                    <a:gd name="T87" fmla="*/ 466 h 1044"/>
                    <a:gd name="T88" fmla="*/ 2 w 1065"/>
                    <a:gd name="T89" fmla="*/ 374 h 1044"/>
                    <a:gd name="T90" fmla="*/ 23 w 1065"/>
                    <a:gd name="T91" fmla="*/ 283 h 1044"/>
                    <a:gd name="T92" fmla="*/ 64 w 1065"/>
                    <a:gd name="T93" fmla="*/ 199 h 1044"/>
                    <a:gd name="T94" fmla="*/ 125 w 1065"/>
                    <a:gd name="T95" fmla="*/ 123 h 1044"/>
                    <a:gd name="T96" fmla="*/ 203 w 1065"/>
                    <a:gd name="T97" fmla="*/ 63 h 1044"/>
                    <a:gd name="T98" fmla="*/ 290 w 1065"/>
                    <a:gd name="T99" fmla="*/ 23 h 1044"/>
                    <a:gd name="T100" fmla="*/ 381 w 1065"/>
                    <a:gd name="T101" fmla="*/ 2 h 10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065" h="1044">
                      <a:moveTo>
                        <a:pt x="429" y="148"/>
                      </a:moveTo>
                      <a:lnTo>
                        <a:pt x="392" y="150"/>
                      </a:lnTo>
                      <a:lnTo>
                        <a:pt x="357" y="157"/>
                      </a:lnTo>
                      <a:lnTo>
                        <a:pt x="324" y="168"/>
                      </a:lnTo>
                      <a:lnTo>
                        <a:pt x="292" y="183"/>
                      </a:lnTo>
                      <a:lnTo>
                        <a:pt x="261" y="203"/>
                      </a:lnTo>
                      <a:lnTo>
                        <a:pt x="232" y="228"/>
                      </a:lnTo>
                      <a:lnTo>
                        <a:pt x="208" y="256"/>
                      </a:lnTo>
                      <a:lnTo>
                        <a:pt x="187" y="285"/>
                      </a:lnTo>
                      <a:lnTo>
                        <a:pt x="172" y="318"/>
                      </a:lnTo>
                      <a:lnTo>
                        <a:pt x="160" y="351"/>
                      </a:lnTo>
                      <a:lnTo>
                        <a:pt x="154" y="385"/>
                      </a:lnTo>
                      <a:lnTo>
                        <a:pt x="152" y="421"/>
                      </a:lnTo>
                      <a:lnTo>
                        <a:pt x="154" y="455"/>
                      </a:lnTo>
                      <a:lnTo>
                        <a:pt x="160" y="489"/>
                      </a:lnTo>
                      <a:lnTo>
                        <a:pt x="172" y="523"/>
                      </a:lnTo>
                      <a:lnTo>
                        <a:pt x="187" y="555"/>
                      </a:lnTo>
                      <a:lnTo>
                        <a:pt x="208" y="584"/>
                      </a:lnTo>
                      <a:lnTo>
                        <a:pt x="232" y="612"/>
                      </a:lnTo>
                      <a:lnTo>
                        <a:pt x="261" y="636"/>
                      </a:lnTo>
                      <a:lnTo>
                        <a:pt x="292" y="657"/>
                      </a:lnTo>
                      <a:lnTo>
                        <a:pt x="324" y="672"/>
                      </a:lnTo>
                      <a:lnTo>
                        <a:pt x="357" y="683"/>
                      </a:lnTo>
                      <a:lnTo>
                        <a:pt x="392" y="690"/>
                      </a:lnTo>
                      <a:lnTo>
                        <a:pt x="429" y="692"/>
                      </a:lnTo>
                      <a:lnTo>
                        <a:pt x="464" y="690"/>
                      </a:lnTo>
                      <a:lnTo>
                        <a:pt x="499" y="683"/>
                      </a:lnTo>
                      <a:lnTo>
                        <a:pt x="532" y="672"/>
                      </a:lnTo>
                      <a:lnTo>
                        <a:pt x="565" y="657"/>
                      </a:lnTo>
                      <a:lnTo>
                        <a:pt x="595" y="637"/>
                      </a:lnTo>
                      <a:lnTo>
                        <a:pt x="624" y="613"/>
                      </a:lnTo>
                      <a:lnTo>
                        <a:pt x="649" y="585"/>
                      </a:lnTo>
                      <a:lnTo>
                        <a:pt x="669" y="555"/>
                      </a:lnTo>
                      <a:lnTo>
                        <a:pt x="685" y="523"/>
                      </a:lnTo>
                      <a:lnTo>
                        <a:pt x="696" y="489"/>
                      </a:lnTo>
                      <a:lnTo>
                        <a:pt x="703" y="455"/>
                      </a:lnTo>
                      <a:lnTo>
                        <a:pt x="705" y="421"/>
                      </a:lnTo>
                      <a:lnTo>
                        <a:pt x="703" y="385"/>
                      </a:lnTo>
                      <a:lnTo>
                        <a:pt x="696" y="351"/>
                      </a:lnTo>
                      <a:lnTo>
                        <a:pt x="685" y="318"/>
                      </a:lnTo>
                      <a:lnTo>
                        <a:pt x="669" y="285"/>
                      </a:lnTo>
                      <a:lnTo>
                        <a:pt x="649" y="256"/>
                      </a:lnTo>
                      <a:lnTo>
                        <a:pt x="625" y="228"/>
                      </a:lnTo>
                      <a:lnTo>
                        <a:pt x="596" y="203"/>
                      </a:lnTo>
                      <a:lnTo>
                        <a:pt x="565" y="183"/>
                      </a:lnTo>
                      <a:lnTo>
                        <a:pt x="532" y="168"/>
                      </a:lnTo>
                      <a:lnTo>
                        <a:pt x="499" y="157"/>
                      </a:lnTo>
                      <a:lnTo>
                        <a:pt x="464" y="150"/>
                      </a:lnTo>
                      <a:lnTo>
                        <a:pt x="429" y="148"/>
                      </a:lnTo>
                      <a:close/>
                      <a:moveTo>
                        <a:pt x="429" y="0"/>
                      </a:moveTo>
                      <a:lnTo>
                        <a:pt x="475" y="2"/>
                      </a:lnTo>
                      <a:lnTo>
                        <a:pt x="522" y="11"/>
                      </a:lnTo>
                      <a:lnTo>
                        <a:pt x="567" y="23"/>
                      </a:lnTo>
                      <a:lnTo>
                        <a:pt x="611" y="40"/>
                      </a:lnTo>
                      <a:lnTo>
                        <a:pt x="653" y="63"/>
                      </a:lnTo>
                      <a:lnTo>
                        <a:pt x="694" y="91"/>
                      </a:lnTo>
                      <a:lnTo>
                        <a:pt x="731" y="123"/>
                      </a:lnTo>
                      <a:lnTo>
                        <a:pt x="764" y="159"/>
                      </a:lnTo>
                      <a:lnTo>
                        <a:pt x="791" y="198"/>
                      </a:lnTo>
                      <a:lnTo>
                        <a:pt x="815" y="239"/>
                      </a:lnTo>
                      <a:lnTo>
                        <a:pt x="833" y="281"/>
                      </a:lnTo>
                      <a:lnTo>
                        <a:pt x="845" y="326"/>
                      </a:lnTo>
                      <a:lnTo>
                        <a:pt x="853" y="371"/>
                      </a:lnTo>
                      <a:lnTo>
                        <a:pt x="856" y="416"/>
                      </a:lnTo>
                      <a:lnTo>
                        <a:pt x="854" y="462"/>
                      </a:lnTo>
                      <a:lnTo>
                        <a:pt x="846" y="507"/>
                      </a:lnTo>
                      <a:lnTo>
                        <a:pt x="835" y="552"/>
                      </a:lnTo>
                      <a:lnTo>
                        <a:pt x="818" y="594"/>
                      </a:lnTo>
                      <a:lnTo>
                        <a:pt x="1065" y="837"/>
                      </a:lnTo>
                      <a:lnTo>
                        <a:pt x="853" y="1044"/>
                      </a:lnTo>
                      <a:lnTo>
                        <a:pt x="606" y="801"/>
                      </a:lnTo>
                      <a:lnTo>
                        <a:pt x="562" y="819"/>
                      </a:lnTo>
                      <a:lnTo>
                        <a:pt x="517" y="831"/>
                      </a:lnTo>
                      <a:lnTo>
                        <a:pt x="471" y="838"/>
                      </a:lnTo>
                      <a:lnTo>
                        <a:pt x="424" y="840"/>
                      </a:lnTo>
                      <a:lnTo>
                        <a:pt x="379" y="837"/>
                      </a:lnTo>
                      <a:lnTo>
                        <a:pt x="332" y="828"/>
                      </a:lnTo>
                      <a:lnTo>
                        <a:pt x="287" y="817"/>
                      </a:lnTo>
                      <a:lnTo>
                        <a:pt x="244" y="799"/>
                      </a:lnTo>
                      <a:lnTo>
                        <a:pt x="202" y="776"/>
                      </a:lnTo>
                      <a:lnTo>
                        <a:pt x="162" y="749"/>
                      </a:lnTo>
                      <a:lnTo>
                        <a:pt x="125" y="717"/>
                      </a:lnTo>
                      <a:lnTo>
                        <a:pt x="92" y="681"/>
                      </a:lnTo>
                      <a:lnTo>
                        <a:pt x="64" y="641"/>
                      </a:lnTo>
                      <a:lnTo>
                        <a:pt x="40" y="600"/>
                      </a:lnTo>
                      <a:lnTo>
                        <a:pt x="23" y="556"/>
                      </a:lnTo>
                      <a:lnTo>
                        <a:pt x="11" y="511"/>
                      </a:lnTo>
                      <a:lnTo>
                        <a:pt x="2" y="466"/>
                      </a:lnTo>
                      <a:lnTo>
                        <a:pt x="0" y="420"/>
                      </a:lnTo>
                      <a:lnTo>
                        <a:pt x="2" y="374"/>
                      </a:lnTo>
                      <a:lnTo>
                        <a:pt x="11" y="328"/>
                      </a:lnTo>
                      <a:lnTo>
                        <a:pt x="23" y="283"/>
                      </a:lnTo>
                      <a:lnTo>
                        <a:pt x="40" y="241"/>
                      </a:lnTo>
                      <a:lnTo>
                        <a:pt x="64" y="199"/>
                      </a:lnTo>
                      <a:lnTo>
                        <a:pt x="92" y="159"/>
                      </a:lnTo>
                      <a:lnTo>
                        <a:pt x="125" y="123"/>
                      </a:lnTo>
                      <a:lnTo>
                        <a:pt x="162" y="91"/>
                      </a:lnTo>
                      <a:lnTo>
                        <a:pt x="203" y="63"/>
                      </a:lnTo>
                      <a:lnTo>
                        <a:pt x="245" y="40"/>
                      </a:lnTo>
                      <a:lnTo>
                        <a:pt x="290" y="23"/>
                      </a:lnTo>
                      <a:lnTo>
                        <a:pt x="334" y="11"/>
                      </a:lnTo>
                      <a:lnTo>
                        <a:pt x="381" y="2"/>
                      </a:lnTo>
                      <a:lnTo>
                        <a:pt x="42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grpSp>
        </p:grpSp>
        <p:grpSp>
          <p:nvGrpSpPr>
            <p:cNvPr id="19" name="Group 3">
              <a:extLst>
                <a:ext uri="{FF2B5EF4-FFF2-40B4-BE49-F238E27FC236}">
                  <a16:creationId xmlns:a16="http://schemas.microsoft.com/office/drawing/2014/main" id="{975A2BD6-D0B3-4D34-B952-322D5EC0D760}"/>
                </a:ext>
              </a:extLst>
            </p:cNvPr>
            <p:cNvGrpSpPr/>
            <p:nvPr/>
          </p:nvGrpSpPr>
          <p:grpSpPr>
            <a:xfrm>
              <a:off x="5368925" y="758825"/>
              <a:ext cx="1395413" cy="1392238"/>
              <a:chOff x="5368925" y="758825"/>
              <a:chExt cx="1395413" cy="1392238"/>
            </a:xfrm>
          </p:grpSpPr>
          <p:sp>
            <p:nvSpPr>
              <p:cNvPr id="34" name="Oval 22">
                <a:extLst>
                  <a:ext uri="{FF2B5EF4-FFF2-40B4-BE49-F238E27FC236}">
                    <a16:creationId xmlns:a16="http://schemas.microsoft.com/office/drawing/2014/main" id="{2C9DE32A-36FF-4528-B0BB-1C2106CC5490}"/>
                  </a:ext>
                </a:extLst>
              </p:cNvPr>
              <p:cNvSpPr>
                <a:spLocks noChangeArrowheads="1"/>
              </p:cNvSpPr>
              <p:nvPr/>
            </p:nvSpPr>
            <p:spPr bwMode="auto">
              <a:xfrm>
                <a:off x="5368925" y="758825"/>
                <a:ext cx="1395413" cy="1392238"/>
              </a:xfrm>
              <a:prstGeom prst="ellipse">
                <a:avLst/>
              </a:pr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35" name="Freeform 239">
                <a:extLst>
                  <a:ext uri="{FF2B5EF4-FFF2-40B4-BE49-F238E27FC236}">
                    <a16:creationId xmlns:a16="http://schemas.microsoft.com/office/drawing/2014/main" id="{9FAB1A89-FE37-4406-B3E5-3DBB87320415}"/>
                  </a:ext>
                </a:extLst>
              </p:cNvPr>
              <p:cNvSpPr>
                <a:spLocks noEditPoints="1"/>
              </p:cNvSpPr>
              <p:nvPr/>
            </p:nvSpPr>
            <p:spPr bwMode="auto">
              <a:xfrm>
                <a:off x="5809766" y="1209203"/>
                <a:ext cx="513730" cy="491482"/>
              </a:xfrm>
              <a:custGeom>
                <a:avLst/>
                <a:gdLst>
                  <a:gd name="T0" fmla="*/ 2245 w 3396"/>
                  <a:gd name="T1" fmla="*/ 2622 h 3249"/>
                  <a:gd name="T2" fmla="*/ 2543 w 3396"/>
                  <a:gd name="T3" fmla="*/ 1381 h 3249"/>
                  <a:gd name="T4" fmla="*/ 1548 w 3396"/>
                  <a:gd name="T5" fmla="*/ 1381 h 3249"/>
                  <a:gd name="T6" fmla="*/ 1848 w 3396"/>
                  <a:gd name="T7" fmla="*/ 2622 h 3249"/>
                  <a:gd name="T8" fmla="*/ 1548 w 3396"/>
                  <a:gd name="T9" fmla="*/ 1381 h 3249"/>
                  <a:gd name="T10" fmla="*/ 853 w 3396"/>
                  <a:gd name="T11" fmla="*/ 2622 h 3249"/>
                  <a:gd name="T12" fmla="*/ 1151 w 3396"/>
                  <a:gd name="T13" fmla="*/ 1381 h 3249"/>
                  <a:gd name="T14" fmla="*/ 1698 w 3396"/>
                  <a:gd name="T15" fmla="*/ 384 h 3249"/>
                  <a:gd name="T16" fmla="*/ 1629 w 3396"/>
                  <a:gd name="T17" fmla="*/ 395 h 3249"/>
                  <a:gd name="T18" fmla="*/ 1570 w 3396"/>
                  <a:gd name="T19" fmla="*/ 426 h 3249"/>
                  <a:gd name="T20" fmla="*/ 1523 w 3396"/>
                  <a:gd name="T21" fmla="*/ 473 h 3249"/>
                  <a:gd name="T22" fmla="*/ 1492 w 3396"/>
                  <a:gd name="T23" fmla="*/ 532 h 3249"/>
                  <a:gd name="T24" fmla="*/ 1481 w 3396"/>
                  <a:gd name="T25" fmla="*/ 601 h 3249"/>
                  <a:gd name="T26" fmla="*/ 1492 w 3396"/>
                  <a:gd name="T27" fmla="*/ 670 h 3249"/>
                  <a:gd name="T28" fmla="*/ 1523 w 3396"/>
                  <a:gd name="T29" fmla="*/ 729 h 3249"/>
                  <a:gd name="T30" fmla="*/ 1570 w 3396"/>
                  <a:gd name="T31" fmla="*/ 776 h 3249"/>
                  <a:gd name="T32" fmla="*/ 1629 w 3396"/>
                  <a:gd name="T33" fmla="*/ 807 h 3249"/>
                  <a:gd name="T34" fmla="*/ 1698 w 3396"/>
                  <a:gd name="T35" fmla="*/ 817 h 3249"/>
                  <a:gd name="T36" fmla="*/ 1767 w 3396"/>
                  <a:gd name="T37" fmla="*/ 807 h 3249"/>
                  <a:gd name="T38" fmla="*/ 1826 w 3396"/>
                  <a:gd name="T39" fmla="*/ 776 h 3249"/>
                  <a:gd name="T40" fmla="*/ 1873 w 3396"/>
                  <a:gd name="T41" fmla="*/ 729 h 3249"/>
                  <a:gd name="T42" fmla="*/ 1904 w 3396"/>
                  <a:gd name="T43" fmla="*/ 670 h 3249"/>
                  <a:gd name="T44" fmla="*/ 1915 w 3396"/>
                  <a:gd name="T45" fmla="*/ 601 h 3249"/>
                  <a:gd name="T46" fmla="*/ 1904 w 3396"/>
                  <a:gd name="T47" fmla="*/ 532 h 3249"/>
                  <a:gd name="T48" fmla="*/ 1873 w 3396"/>
                  <a:gd name="T49" fmla="*/ 473 h 3249"/>
                  <a:gd name="T50" fmla="*/ 1826 w 3396"/>
                  <a:gd name="T51" fmla="*/ 426 h 3249"/>
                  <a:gd name="T52" fmla="*/ 1767 w 3396"/>
                  <a:gd name="T53" fmla="*/ 395 h 3249"/>
                  <a:gd name="T54" fmla="*/ 1698 w 3396"/>
                  <a:gd name="T55" fmla="*/ 384 h 3249"/>
                  <a:gd name="T56" fmla="*/ 1698 w 3396"/>
                  <a:gd name="T57" fmla="*/ 0 h 3249"/>
                  <a:gd name="T58" fmla="*/ 3057 w 3396"/>
                  <a:gd name="T59" fmla="*/ 1122 h 3249"/>
                  <a:gd name="T60" fmla="*/ 3396 w 3396"/>
                  <a:gd name="T61" fmla="*/ 1381 h 3249"/>
                  <a:gd name="T62" fmla="*/ 2941 w 3396"/>
                  <a:gd name="T63" fmla="*/ 2622 h 3249"/>
                  <a:gd name="T64" fmla="*/ 3396 w 3396"/>
                  <a:gd name="T65" fmla="*/ 3249 h 3249"/>
                  <a:gd name="T66" fmla="*/ 106 w 3396"/>
                  <a:gd name="T67" fmla="*/ 2622 h 3249"/>
                  <a:gd name="T68" fmla="*/ 455 w 3396"/>
                  <a:gd name="T69" fmla="*/ 1381 h 3249"/>
                  <a:gd name="T70" fmla="*/ 0 w 3396"/>
                  <a:gd name="T71" fmla="*/ 1122 h 3249"/>
                  <a:gd name="T72" fmla="*/ 339 w 3396"/>
                  <a:gd name="T73" fmla="*/ 944 h 3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396" h="3249">
                    <a:moveTo>
                      <a:pt x="2245" y="1381"/>
                    </a:moveTo>
                    <a:lnTo>
                      <a:pt x="2245" y="2622"/>
                    </a:lnTo>
                    <a:lnTo>
                      <a:pt x="2543" y="2622"/>
                    </a:lnTo>
                    <a:lnTo>
                      <a:pt x="2543" y="1381"/>
                    </a:lnTo>
                    <a:lnTo>
                      <a:pt x="2245" y="1381"/>
                    </a:lnTo>
                    <a:close/>
                    <a:moveTo>
                      <a:pt x="1548" y="1381"/>
                    </a:moveTo>
                    <a:lnTo>
                      <a:pt x="1548" y="2622"/>
                    </a:lnTo>
                    <a:lnTo>
                      <a:pt x="1848" y="2622"/>
                    </a:lnTo>
                    <a:lnTo>
                      <a:pt x="1848" y="1381"/>
                    </a:lnTo>
                    <a:lnTo>
                      <a:pt x="1548" y="1381"/>
                    </a:lnTo>
                    <a:close/>
                    <a:moveTo>
                      <a:pt x="853" y="1381"/>
                    </a:moveTo>
                    <a:lnTo>
                      <a:pt x="853" y="2622"/>
                    </a:lnTo>
                    <a:lnTo>
                      <a:pt x="1151" y="2622"/>
                    </a:lnTo>
                    <a:lnTo>
                      <a:pt x="1151" y="1381"/>
                    </a:lnTo>
                    <a:lnTo>
                      <a:pt x="853" y="1381"/>
                    </a:lnTo>
                    <a:close/>
                    <a:moveTo>
                      <a:pt x="1698" y="384"/>
                    </a:moveTo>
                    <a:lnTo>
                      <a:pt x="1663" y="387"/>
                    </a:lnTo>
                    <a:lnTo>
                      <a:pt x="1629" y="395"/>
                    </a:lnTo>
                    <a:lnTo>
                      <a:pt x="1598" y="408"/>
                    </a:lnTo>
                    <a:lnTo>
                      <a:pt x="1570" y="426"/>
                    </a:lnTo>
                    <a:lnTo>
                      <a:pt x="1544" y="447"/>
                    </a:lnTo>
                    <a:lnTo>
                      <a:pt x="1523" y="473"/>
                    </a:lnTo>
                    <a:lnTo>
                      <a:pt x="1505" y="501"/>
                    </a:lnTo>
                    <a:lnTo>
                      <a:pt x="1492" y="532"/>
                    </a:lnTo>
                    <a:lnTo>
                      <a:pt x="1484" y="566"/>
                    </a:lnTo>
                    <a:lnTo>
                      <a:pt x="1481" y="601"/>
                    </a:lnTo>
                    <a:lnTo>
                      <a:pt x="1484" y="636"/>
                    </a:lnTo>
                    <a:lnTo>
                      <a:pt x="1492" y="670"/>
                    </a:lnTo>
                    <a:lnTo>
                      <a:pt x="1505" y="701"/>
                    </a:lnTo>
                    <a:lnTo>
                      <a:pt x="1523" y="729"/>
                    </a:lnTo>
                    <a:lnTo>
                      <a:pt x="1544" y="755"/>
                    </a:lnTo>
                    <a:lnTo>
                      <a:pt x="1570" y="776"/>
                    </a:lnTo>
                    <a:lnTo>
                      <a:pt x="1598" y="794"/>
                    </a:lnTo>
                    <a:lnTo>
                      <a:pt x="1629" y="807"/>
                    </a:lnTo>
                    <a:lnTo>
                      <a:pt x="1663" y="815"/>
                    </a:lnTo>
                    <a:lnTo>
                      <a:pt x="1698" y="817"/>
                    </a:lnTo>
                    <a:lnTo>
                      <a:pt x="1733" y="815"/>
                    </a:lnTo>
                    <a:lnTo>
                      <a:pt x="1767" y="807"/>
                    </a:lnTo>
                    <a:lnTo>
                      <a:pt x="1798" y="794"/>
                    </a:lnTo>
                    <a:lnTo>
                      <a:pt x="1826" y="776"/>
                    </a:lnTo>
                    <a:lnTo>
                      <a:pt x="1852" y="755"/>
                    </a:lnTo>
                    <a:lnTo>
                      <a:pt x="1873" y="729"/>
                    </a:lnTo>
                    <a:lnTo>
                      <a:pt x="1891" y="701"/>
                    </a:lnTo>
                    <a:lnTo>
                      <a:pt x="1904" y="670"/>
                    </a:lnTo>
                    <a:lnTo>
                      <a:pt x="1912" y="636"/>
                    </a:lnTo>
                    <a:lnTo>
                      <a:pt x="1915" y="601"/>
                    </a:lnTo>
                    <a:lnTo>
                      <a:pt x="1912" y="566"/>
                    </a:lnTo>
                    <a:lnTo>
                      <a:pt x="1904" y="532"/>
                    </a:lnTo>
                    <a:lnTo>
                      <a:pt x="1891" y="501"/>
                    </a:lnTo>
                    <a:lnTo>
                      <a:pt x="1873" y="473"/>
                    </a:lnTo>
                    <a:lnTo>
                      <a:pt x="1852" y="447"/>
                    </a:lnTo>
                    <a:lnTo>
                      <a:pt x="1826" y="426"/>
                    </a:lnTo>
                    <a:lnTo>
                      <a:pt x="1798" y="408"/>
                    </a:lnTo>
                    <a:lnTo>
                      <a:pt x="1767" y="395"/>
                    </a:lnTo>
                    <a:lnTo>
                      <a:pt x="1733" y="387"/>
                    </a:lnTo>
                    <a:lnTo>
                      <a:pt x="1698" y="384"/>
                    </a:lnTo>
                    <a:close/>
                    <a:moveTo>
                      <a:pt x="1698" y="0"/>
                    </a:moveTo>
                    <a:lnTo>
                      <a:pt x="1698" y="0"/>
                    </a:lnTo>
                    <a:lnTo>
                      <a:pt x="3057" y="944"/>
                    </a:lnTo>
                    <a:lnTo>
                      <a:pt x="3057" y="1122"/>
                    </a:lnTo>
                    <a:lnTo>
                      <a:pt x="3396" y="1122"/>
                    </a:lnTo>
                    <a:lnTo>
                      <a:pt x="3396" y="1381"/>
                    </a:lnTo>
                    <a:lnTo>
                      <a:pt x="2941" y="1381"/>
                    </a:lnTo>
                    <a:lnTo>
                      <a:pt x="2941" y="2622"/>
                    </a:lnTo>
                    <a:lnTo>
                      <a:pt x="3290" y="2622"/>
                    </a:lnTo>
                    <a:lnTo>
                      <a:pt x="3396" y="3249"/>
                    </a:lnTo>
                    <a:lnTo>
                      <a:pt x="0" y="3249"/>
                    </a:lnTo>
                    <a:lnTo>
                      <a:pt x="106" y="2622"/>
                    </a:lnTo>
                    <a:lnTo>
                      <a:pt x="455" y="2622"/>
                    </a:lnTo>
                    <a:lnTo>
                      <a:pt x="455" y="1381"/>
                    </a:lnTo>
                    <a:lnTo>
                      <a:pt x="0" y="1381"/>
                    </a:lnTo>
                    <a:lnTo>
                      <a:pt x="0" y="1122"/>
                    </a:lnTo>
                    <a:lnTo>
                      <a:pt x="339" y="1122"/>
                    </a:lnTo>
                    <a:lnTo>
                      <a:pt x="339" y="944"/>
                    </a:lnTo>
                    <a:lnTo>
                      <a:pt x="1698"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grpSp>
        <p:grpSp>
          <p:nvGrpSpPr>
            <p:cNvPr id="20" name="Group 299">
              <a:extLst>
                <a:ext uri="{FF2B5EF4-FFF2-40B4-BE49-F238E27FC236}">
                  <a16:creationId xmlns:a16="http://schemas.microsoft.com/office/drawing/2014/main" id="{6134D232-AD2A-4D7A-900E-0E9EA49547D3}"/>
                </a:ext>
              </a:extLst>
            </p:cNvPr>
            <p:cNvGrpSpPr>
              <a:grpSpLocks noChangeAspect="1"/>
            </p:cNvGrpSpPr>
            <p:nvPr/>
          </p:nvGrpSpPr>
          <p:grpSpPr bwMode="auto">
            <a:xfrm>
              <a:off x="7806851" y="4835578"/>
              <a:ext cx="491486" cy="499958"/>
              <a:chOff x="4241" y="1331"/>
              <a:chExt cx="464" cy="472"/>
            </a:xfrm>
            <a:solidFill>
              <a:schemeClr val="bg1"/>
            </a:solidFill>
          </p:grpSpPr>
          <p:sp>
            <p:nvSpPr>
              <p:cNvPr id="31" name="Freeform 301">
                <a:extLst>
                  <a:ext uri="{FF2B5EF4-FFF2-40B4-BE49-F238E27FC236}">
                    <a16:creationId xmlns:a16="http://schemas.microsoft.com/office/drawing/2014/main" id="{9614E9AD-C735-4087-A3C2-F6167BC6A764}"/>
                  </a:ext>
                </a:extLst>
              </p:cNvPr>
              <p:cNvSpPr>
                <a:spLocks/>
              </p:cNvSpPr>
              <p:nvPr/>
            </p:nvSpPr>
            <p:spPr bwMode="auto">
              <a:xfrm>
                <a:off x="4490" y="1331"/>
                <a:ext cx="215" cy="219"/>
              </a:xfrm>
              <a:custGeom>
                <a:avLst/>
                <a:gdLst>
                  <a:gd name="T0" fmla="*/ 0 w 1506"/>
                  <a:gd name="T1" fmla="*/ 0 h 1533"/>
                  <a:gd name="T2" fmla="*/ 100 w 1506"/>
                  <a:gd name="T3" fmla="*/ 10 h 1533"/>
                  <a:gd name="T4" fmla="*/ 198 w 1506"/>
                  <a:gd name="T5" fmla="*/ 26 h 1533"/>
                  <a:gd name="T6" fmla="*/ 295 w 1506"/>
                  <a:gd name="T7" fmla="*/ 48 h 1533"/>
                  <a:gd name="T8" fmla="*/ 388 w 1506"/>
                  <a:gd name="T9" fmla="*/ 76 h 1533"/>
                  <a:gd name="T10" fmla="*/ 479 w 1506"/>
                  <a:gd name="T11" fmla="*/ 109 h 1533"/>
                  <a:gd name="T12" fmla="*/ 567 w 1506"/>
                  <a:gd name="T13" fmla="*/ 147 h 1533"/>
                  <a:gd name="T14" fmla="*/ 654 w 1506"/>
                  <a:gd name="T15" fmla="*/ 192 h 1533"/>
                  <a:gd name="T16" fmla="*/ 736 w 1506"/>
                  <a:gd name="T17" fmla="*/ 239 h 1533"/>
                  <a:gd name="T18" fmla="*/ 816 w 1506"/>
                  <a:gd name="T19" fmla="*/ 293 h 1533"/>
                  <a:gd name="T20" fmla="*/ 892 w 1506"/>
                  <a:gd name="T21" fmla="*/ 351 h 1533"/>
                  <a:gd name="T22" fmla="*/ 965 w 1506"/>
                  <a:gd name="T23" fmla="*/ 413 h 1533"/>
                  <a:gd name="T24" fmla="*/ 1034 w 1506"/>
                  <a:gd name="T25" fmla="*/ 479 h 1533"/>
                  <a:gd name="T26" fmla="*/ 1100 w 1506"/>
                  <a:gd name="T27" fmla="*/ 550 h 1533"/>
                  <a:gd name="T28" fmla="*/ 1160 w 1506"/>
                  <a:gd name="T29" fmla="*/ 624 h 1533"/>
                  <a:gd name="T30" fmla="*/ 1217 w 1506"/>
                  <a:gd name="T31" fmla="*/ 702 h 1533"/>
                  <a:gd name="T32" fmla="*/ 1269 w 1506"/>
                  <a:gd name="T33" fmla="*/ 783 h 1533"/>
                  <a:gd name="T34" fmla="*/ 1317 w 1506"/>
                  <a:gd name="T35" fmla="*/ 867 h 1533"/>
                  <a:gd name="T36" fmla="*/ 1360 w 1506"/>
                  <a:gd name="T37" fmla="*/ 955 h 1533"/>
                  <a:gd name="T38" fmla="*/ 1397 w 1506"/>
                  <a:gd name="T39" fmla="*/ 1045 h 1533"/>
                  <a:gd name="T40" fmla="*/ 1431 w 1506"/>
                  <a:gd name="T41" fmla="*/ 1138 h 1533"/>
                  <a:gd name="T42" fmla="*/ 1458 w 1506"/>
                  <a:gd name="T43" fmla="*/ 1233 h 1533"/>
                  <a:gd name="T44" fmla="*/ 1480 w 1506"/>
                  <a:gd name="T45" fmla="*/ 1332 h 1533"/>
                  <a:gd name="T46" fmla="*/ 1495 w 1506"/>
                  <a:gd name="T47" fmla="*/ 1431 h 1533"/>
                  <a:gd name="T48" fmla="*/ 1506 w 1506"/>
                  <a:gd name="T49" fmla="*/ 1533 h 1533"/>
                  <a:gd name="T50" fmla="*/ 0 w 1506"/>
                  <a:gd name="T51" fmla="*/ 1533 h 1533"/>
                  <a:gd name="T52" fmla="*/ 0 w 1506"/>
                  <a:gd name="T53" fmla="*/ 0 h 15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506" h="1533">
                    <a:moveTo>
                      <a:pt x="0" y="0"/>
                    </a:moveTo>
                    <a:lnTo>
                      <a:pt x="100" y="10"/>
                    </a:lnTo>
                    <a:lnTo>
                      <a:pt x="198" y="26"/>
                    </a:lnTo>
                    <a:lnTo>
                      <a:pt x="295" y="48"/>
                    </a:lnTo>
                    <a:lnTo>
                      <a:pt x="388" y="76"/>
                    </a:lnTo>
                    <a:lnTo>
                      <a:pt x="479" y="109"/>
                    </a:lnTo>
                    <a:lnTo>
                      <a:pt x="567" y="147"/>
                    </a:lnTo>
                    <a:lnTo>
                      <a:pt x="654" y="192"/>
                    </a:lnTo>
                    <a:lnTo>
                      <a:pt x="736" y="239"/>
                    </a:lnTo>
                    <a:lnTo>
                      <a:pt x="816" y="293"/>
                    </a:lnTo>
                    <a:lnTo>
                      <a:pt x="892" y="351"/>
                    </a:lnTo>
                    <a:lnTo>
                      <a:pt x="965" y="413"/>
                    </a:lnTo>
                    <a:lnTo>
                      <a:pt x="1034" y="479"/>
                    </a:lnTo>
                    <a:lnTo>
                      <a:pt x="1100" y="550"/>
                    </a:lnTo>
                    <a:lnTo>
                      <a:pt x="1160" y="624"/>
                    </a:lnTo>
                    <a:lnTo>
                      <a:pt x="1217" y="702"/>
                    </a:lnTo>
                    <a:lnTo>
                      <a:pt x="1269" y="783"/>
                    </a:lnTo>
                    <a:lnTo>
                      <a:pt x="1317" y="867"/>
                    </a:lnTo>
                    <a:lnTo>
                      <a:pt x="1360" y="955"/>
                    </a:lnTo>
                    <a:lnTo>
                      <a:pt x="1397" y="1045"/>
                    </a:lnTo>
                    <a:lnTo>
                      <a:pt x="1431" y="1138"/>
                    </a:lnTo>
                    <a:lnTo>
                      <a:pt x="1458" y="1233"/>
                    </a:lnTo>
                    <a:lnTo>
                      <a:pt x="1480" y="1332"/>
                    </a:lnTo>
                    <a:lnTo>
                      <a:pt x="1495" y="1431"/>
                    </a:lnTo>
                    <a:lnTo>
                      <a:pt x="1506" y="1533"/>
                    </a:lnTo>
                    <a:lnTo>
                      <a:pt x="0" y="1533"/>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32" name="Freeform 302">
                <a:extLst>
                  <a:ext uri="{FF2B5EF4-FFF2-40B4-BE49-F238E27FC236}">
                    <a16:creationId xmlns:a16="http://schemas.microsoft.com/office/drawing/2014/main" id="{462DEB1E-C5D0-4B01-994D-0763F233EA23}"/>
                  </a:ext>
                </a:extLst>
              </p:cNvPr>
              <p:cNvSpPr>
                <a:spLocks noEditPoints="1"/>
              </p:cNvSpPr>
              <p:nvPr/>
            </p:nvSpPr>
            <p:spPr bwMode="auto">
              <a:xfrm>
                <a:off x="4493" y="1583"/>
                <a:ext cx="212" cy="190"/>
              </a:xfrm>
              <a:custGeom>
                <a:avLst/>
                <a:gdLst>
                  <a:gd name="T0" fmla="*/ 362 w 1480"/>
                  <a:gd name="T1" fmla="*/ 231 h 1332"/>
                  <a:gd name="T2" fmla="*/ 732 w 1480"/>
                  <a:gd name="T3" fmla="*/ 996 h 1332"/>
                  <a:gd name="T4" fmla="*/ 796 w 1480"/>
                  <a:gd name="T5" fmla="*/ 941 h 1332"/>
                  <a:gd name="T6" fmla="*/ 856 w 1480"/>
                  <a:gd name="T7" fmla="*/ 883 h 1332"/>
                  <a:gd name="T8" fmla="*/ 912 w 1480"/>
                  <a:gd name="T9" fmla="*/ 821 h 1332"/>
                  <a:gd name="T10" fmla="*/ 965 w 1480"/>
                  <a:gd name="T11" fmla="*/ 757 h 1332"/>
                  <a:gd name="T12" fmla="*/ 1014 w 1480"/>
                  <a:gd name="T13" fmla="*/ 689 h 1332"/>
                  <a:gd name="T14" fmla="*/ 1059 w 1480"/>
                  <a:gd name="T15" fmla="*/ 618 h 1332"/>
                  <a:gd name="T16" fmla="*/ 1099 w 1480"/>
                  <a:gd name="T17" fmla="*/ 546 h 1332"/>
                  <a:gd name="T18" fmla="*/ 1135 w 1480"/>
                  <a:gd name="T19" fmla="*/ 469 h 1332"/>
                  <a:gd name="T20" fmla="*/ 1166 w 1480"/>
                  <a:gd name="T21" fmla="*/ 392 h 1332"/>
                  <a:gd name="T22" fmla="*/ 1194 w 1480"/>
                  <a:gd name="T23" fmla="*/ 312 h 1332"/>
                  <a:gd name="T24" fmla="*/ 1216 w 1480"/>
                  <a:gd name="T25" fmla="*/ 231 h 1332"/>
                  <a:gd name="T26" fmla="*/ 362 w 1480"/>
                  <a:gd name="T27" fmla="*/ 231 h 1332"/>
                  <a:gd name="T28" fmla="*/ 0 w 1480"/>
                  <a:gd name="T29" fmla="*/ 0 h 1332"/>
                  <a:gd name="T30" fmla="*/ 1480 w 1480"/>
                  <a:gd name="T31" fmla="*/ 0 h 1332"/>
                  <a:gd name="T32" fmla="*/ 1470 w 1480"/>
                  <a:gd name="T33" fmla="*/ 101 h 1332"/>
                  <a:gd name="T34" fmla="*/ 1455 w 1480"/>
                  <a:gd name="T35" fmla="*/ 200 h 1332"/>
                  <a:gd name="T36" fmla="*/ 1433 w 1480"/>
                  <a:gd name="T37" fmla="*/ 296 h 1332"/>
                  <a:gd name="T38" fmla="*/ 1406 w 1480"/>
                  <a:gd name="T39" fmla="*/ 391 h 1332"/>
                  <a:gd name="T40" fmla="*/ 1374 w 1480"/>
                  <a:gd name="T41" fmla="*/ 483 h 1332"/>
                  <a:gd name="T42" fmla="*/ 1337 w 1480"/>
                  <a:gd name="T43" fmla="*/ 572 h 1332"/>
                  <a:gd name="T44" fmla="*/ 1294 w 1480"/>
                  <a:gd name="T45" fmla="*/ 659 h 1332"/>
                  <a:gd name="T46" fmla="*/ 1248 w 1480"/>
                  <a:gd name="T47" fmla="*/ 743 h 1332"/>
                  <a:gd name="T48" fmla="*/ 1196 w 1480"/>
                  <a:gd name="T49" fmla="*/ 823 h 1332"/>
                  <a:gd name="T50" fmla="*/ 1140 w 1480"/>
                  <a:gd name="T51" fmla="*/ 900 h 1332"/>
                  <a:gd name="T52" fmla="*/ 1081 w 1480"/>
                  <a:gd name="T53" fmla="*/ 974 h 1332"/>
                  <a:gd name="T54" fmla="*/ 1016 w 1480"/>
                  <a:gd name="T55" fmla="*/ 1044 h 1332"/>
                  <a:gd name="T56" fmla="*/ 949 w 1480"/>
                  <a:gd name="T57" fmla="*/ 1110 h 1332"/>
                  <a:gd name="T58" fmla="*/ 877 w 1480"/>
                  <a:gd name="T59" fmla="*/ 1171 h 1332"/>
                  <a:gd name="T60" fmla="*/ 802 w 1480"/>
                  <a:gd name="T61" fmla="*/ 1230 h 1332"/>
                  <a:gd name="T62" fmla="*/ 724 w 1480"/>
                  <a:gd name="T63" fmla="*/ 1283 h 1332"/>
                  <a:gd name="T64" fmla="*/ 643 w 1480"/>
                  <a:gd name="T65" fmla="*/ 1332 h 1332"/>
                  <a:gd name="T66" fmla="*/ 0 w 1480"/>
                  <a:gd name="T67" fmla="*/ 0 h 1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480" h="1332">
                    <a:moveTo>
                      <a:pt x="362" y="231"/>
                    </a:moveTo>
                    <a:lnTo>
                      <a:pt x="732" y="996"/>
                    </a:lnTo>
                    <a:lnTo>
                      <a:pt x="796" y="941"/>
                    </a:lnTo>
                    <a:lnTo>
                      <a:pt x="856" y="883"/>
                    </a:lnTo>
                    <a:lnTo>
                      <a:pt x="912" y="821"/>
                    </a:lnTo>
                    <a:lnTo>
                      <a:pt x="965" y="757"/>
                    </a:lnTo>
                    <a:lnTo>
                      <a:pt x="1014" y="689"/>
                    </a:lnTo>
                    <a:lnTo>
                      <a:pt x="1059" y="618"/>
                    </a:lnTo>
                    <a:lnTo>
                      <a:pt x="1099" y="546"/>
                    </a:lnTo>
                    <a:lnTo>
                      <a:pt x="1135" y="469"/>
                    </a:lnTo>
                    <a:lnTo>
                      <a:pt x="1166" y="392"/>
                    </a:lnTo>
                    <a:lnTo>
                      <a:pt x="1194" y="312"/>
                    </a:lnTo>
                    <a:lnTo>
                      <a:pt x="1216" y="231"/>
                    </a:lnTo>
                    <a:lnTo>
                      <a:pt x="362" y="231"/>
                    </a:lnTo>
                    <a:close/>
                    <a:moveTo>
                      <a:pt x="0" y="0"/>
                    </a:moveTo>
                    <a:lnTo>
                      <a:pt x="1480" y="0"/>
                    </a:lnTo>
                    <a:lnTo>
                      <a:pt x="1470" y="101"/>
                    </a:lnTo>
                    <a:lnTo>
                      <a:pt x="1455" y="200"/>
                    </a:lnTo>
                    <a:lnTo>
                      <a:pt x="1433" y="296"/>
                    </a:lnTo>
                    <a:lnTo>
                      <a:pt x="1406" y="391"/>
                    </a:lnTo>
                    <a:lnTo>
                      <a:pt x="1374" y="483"/>
                    </a:lnTo>
                    <a:lnTo>
                      <a:pt x="1337" y="572"/>
                    </a:lnTo>
                    <a:lnTo>
                      <a:pt x="1294" y="659"/>
                    </a:lnTo>
                    <a:lnTo>
                      <a:pt x="1248" y="743"/>
                    </a:lnTo>
                    <a:lnTo>
                      <a:pt x="1196" y="823"/>
                    </a:lnTo>
                    <a:lnTo>
                      <a:pt x="1140" y="900"/>
                    </a:lnTo>
                    <a:lnTo>
                      <a:pt x="1081" y="974"/>
                    </a:lnTo>
                    <a:lnTo>
                      <a:pt x="1016" y="1044"/>
                    </a:lnTo>
                    <a:lnTo>
                      <a:pt x="949" y="1110"/>
                    </a:lnTo>
                    <a:lnTo>
                      <a:pt x="877" y="1171"/>
                    </a:lnTo>
                    <a:lnTo>
                      <a:pt x="802" y="1230"/>
                    </a:lnTo>
                    <a:lnTo>
                      <a:pt x="724" y="1283"/>
                    </a:lnTo>
                    <a:lnTo>
                      <a:pt x="643" y="1332"/>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33" name="Freeform 303">
                <a:extLst>
                  <a:ext uri="{FF2B5EF4-FFF2-40B4-BE49-F238E27FC236}">
                    <a16:creationId xmlns:a16="http://schemas.microsoft.com/office/drawing/2014/main" id="{29921A65-EE80-406E-A59D-EEA9AD1738EB}"/>
                  </a:ext>
                </a:extLst>
              </p:cNvPr>
              <p:cNvSpPr>
                <a:spLocks noEditPoints="1"/>
              </p:cNvSpPr>
              <p:nvPr/>
            </p:nvSpPr>
            <p:spPr bwMode="auto">
              <a:xfrm>
                <a:off x="4241" y="1331"/>
                <a:ext cx="315" cy="472"/>
              </a:xfrm>
              <a:custGeom>
                <a:avLst/>
                <a:gdLst>
                  <a:gd name="T0" fmla="*/ 1515 w 2204"/>
                  <a:gd name="T1" fmla="*/ 1762 h 3301"/>
                  <a:gd name="T2" fmla="*/ 2126 w 2204"/>
                  <a:gd name="T3" fmla="*/ 3218 h 3301"/>
                  <a:gd name="T4" fmla="*/ 1965 w 2204"/>
                  <a:gd name="T5" fmla="*/ 3263 h 3301"/>
                  <a:gd name="T6" fmla="*/ 1797 w 2204"/>
                  <a:gd name="T7" fmla="*/ 3292 h 3301"/>
                  <a:gd name="T8" fmla="*/ 1624 w 2204"/>
                  <a:gd name="T9" fmla="*/ 3301 h 3301"/>
                  <a:gd name="T10" fmla="*/ 1420 w 2204"/>
                  <a:gd name="T11" fmla="*/ 3289 h 3301"/>
                  <a:gd name="T12" fmla="*/ 1225 w 2204"/>
                  <a:gd name="T13" fmla="*/ 3250 h 3301"/>
                  <a:gd name="T14" fmla="*/ 1037 w 2204"/>
                  <a:gd name="T15" fmla="*/ 3190 h 3301"/>
                  <a:gd name="T16" fmla="*/ 861 w 2204"/>
                  <a:gd name="T17" fmla="*/ 3107 h 3301"/>
                  <a:gd name="T18" fmla="*/ 697 w 2204"/>
                  <a:gd name="T19" fmla="*/ 3005 h 3301"/>
                  <a:gd name="T20" fmla="*/ 546 w 2204"/>
                  <a:gd name="T21" fmla="*/ 2883 h 3301"/>
                  <a:gd name="T22" fmla="*/ 410 w 2204"/>
                  <a:gd name="T23" fmla="*/ 2746 h 3301"/>
                  <a:gd name="T24" fmla="*/ 292 w 2204"/>
                  <a:gd name="T25" fmla="*/ 2593 h 3301"/>
                  <a:gd name="T26" fmla="*/ 191 w 2204"/>
                  <a:gd name="T27" fmla="*/ 2425 h 3301"/>
                  <a:gd name="T28" fmla="*/ 109 w 2204"/>
                  <a:gd name="T29" fmla="*/ 2245 h 3301"/>
                  <a:gd name="T30" fmla="*/ 50 w 2204"/>
                  <a:gd name="T31" fmla="*/ 2055 h 3301"/>
                  <a:gd name="T32" fmla="*/ 13 w 2204"/>
                  <a:gd name="T33" fmla="*/ 1855 h 3301"/>
                  <a:gd name="T34" fmla="*/ 0 w 2204"/>
                  <a:gd name="T35" fmla="*/ 1648 h 3301"/>
                  <a:gd name="T36" fmla="*/ 13 w 2204"/>
                  <a:gd name="T37" fmla="*/ 1441 h 3301"/>
                  <a:gd name="T38" fmla="*/ 50 w 2204"/>
                  <a:gd name="T39" fmla="*/ 1242 h 3301"/>
                  <a:gd name="T40" fmla="*/ 109 w 2204"/>
                  <a:gd name="T41" fmla="*/ 1052 h 3301"/>
                  <a:gd name="T42" fmla="*/ 189 w 2204"/>
                  <a:gd name="T43" fmla="*/ 873 h 3301"/>
                  <a:gd name="T44" fmla="*/ 290 w 2204"/>
                  <a:gd name="T45" fmla="*/ 705 h 3301"/>
                  <a:gd name="T46" fmla="*/ 408 w 2204"/>
                  <a:gd name="T47" fmla="*/ 552 h 3301"/>
                  <a:gd name="T48" fmla="*/ 544 w 2204"/>
                  <a:gd name="T49" fmla="*/ 414 h 3301"/>
                  <a:gd name="T50" fmla="*/ 693 w 2204"/>
                  <a:gd name="T51" fmla="*/ 293 h 3301"/>
                  <a:gd name="T52" fmla="*/ 857 w 2204"/>
                  <a:gd name="T53" fmla="*/ 192 h 3301"/>
                  <a:gd name="T54" fmla="*/ 1033 w 2204"/>
                  <a:gd name="T55" fmla="*/ 109 h 3301"/>
                  <a:gd name="T56" fmla="*/ 1219 w 2204"/>
                  <a:gd name="T57" fmla="*/ 47 h 3301"/>
                  <a:gd name="T58" fmla="*/ 1415 w 2204"/>
                  <a:gd name="T59" fmla="*/ 9 h 3301"/>
                  <a:gd name="T60" fmla="*/ 1515 w 2204"/>
                  <a:gd name="T61" fmla="*/ 0 h 3301"/>
                  <a:gd name="T62" fmla="*/ 1515 w 2204"/>
                  <a:gd name="T63" fmla="*/ 0 h 3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204" h="3301">
                    <a:moveTo>
                      <a:pt x="1515" y="0"/>
                    </a:moveTo>
                    <a:lnTo>
                      <a:pt x="1515" y="1762"/>
                    </a:lnTo>
                    <a:lnTo>
                      <a:pt x="2204" y="3189"/>
                    </a:lnTo>
                    <a:lnTo>
                      <a:pt x="2126" y="3218"/>
                    </a:lnTo>
                    <a:lnTo>
                      <a:pt x="2046" y="3243"/>
                    </a:lnTo>
                    <a:lnTo>
                      <a:pt x="1965" y="3263"/>
                    </a:lnTo>
                    <a:lnTo>
                      <a:pt x="1882" y="3279"/>
                    </a:lnTo>
                    <a:lnTo>
                      <a:pt x="1797" y="3292"/>
                    </a:lnTo>
                    <a:lnTo>
                      <a:pt x="1711" y="3299"/>
                    </a:lnTo>
                    <a:lnTo>
                      <a:pt x="1624" y="3301"/>
                    </a:lnTo>
                    <a:lnTo>
                      <a:pt x="1521" y="3298"/>
                    </a:lnTo>
                    <a:lnTo>
                      <a:pt x="1420" y="3289"/>
                    </a:lnTo>
                    <a:lnTo>
                      <a:pt x="1321" y="3273"/>
                    </a:lnTo>
                    <a:lnTo>
                      <a:pt x="1225" y="3250"/>
                    </a:lnTo>
                    <a:lnTo>
                      <a:pt x="1130" y="3223"/>
                    </a:lnTo>
                    <a:lnTo>
                      <a:pt x="1037" y="3190"/>
                    </a:lnTo>
                    <a:lnTo>
                      <a:pt x="948" y="3152"/>
                    </a:lnTo>
                    <a:lnTo>
                      <a:pt x="861" y="3107"/>
                    </a:lnTo>
                    <a:lnTo>
                      <a:pt x="777" y="3058"/>
                    </a:lnTo>
                    <a:lnTo>
                      <a:pt x="697" y="3005"/>
                    </a:lnTo>
                    <a:lnTo>
                      <a:pt x="620" y="2947"/>
                    </a:lnTo>
                    <a:lnTo>
                      <a:pt x="546" y="2883"/>
                    </a:lnTo>
                    <a:lnTo>
                      <a:pt x="476" y="2817"/>
                    </a:lnTo>
                    <a:lnTo>
                      <a:pt x="410" y="2746"/>
                    </a:lnTo>
                    <a:lnTo>
                      <a:pt x="349" y="2671"/>
                    </a:lnTo>
                    <a:lnTo>
                      <a:pt x="292" y="2593"/>
                    </a:lnTo>
                    <a:lnTo>
                      <a:pt x="238" y="2510"/>
                    </a:lnTo>
                    <a:lnTo>
                      <a:pt x="191" y="2425"/>
                    </a:lnTo>
                    <a:lnTo>
                      <a:pt x="148" y="2336"/>
                    </a:lnTo>
                    <a:lnTo>
                      <a:pt x="109" y="2245"/>
                    </a:lnTo>
                    <a:lnTo>
                      <a:pt x="77" y="2152"/>
                    </a:lnTo>
                    <a:lnTo>
                      <a:pt x="50" y="2055"/>
                    </a:lnTo>
                    <a:lnTo>
                      <a:pt x="29" y="1955"/>
                    </a:lnTo>
                    <a:lnTo>
                      <a:pt x="13" y="1855"/>
                    </a:lnTo>
                    <a:lnTo>
                      <a:pt x="4" y="1752"/>
                    </a:lnTo>
                    <a:lnTo>
                      <a:pt x="0" y="1648"/>
                    </a:lnTo>
                    <a:lnTo>
                      <a:pt x="4" y="1543"/>
                    </a:lnTo>
                    <a:lnTo>
                      <a:pt x="13" y="1441"/>
                    </a:lnTo>
                    <a:lnTo>
                      <a:pt x="28" y="1340"/>
                    </a:lnTo>
                    <a:lnTo>
                      <a:pt x="50" y="1242"/>
                    </a:lnTo>
                    <a:lnTo>
                      <a:pt x="77" y="1145"/>
                    </a:lnTo>
                    <a:lnTo>
                      <a:pt x="109" y="1052"/>
                    </a:lnTo>
                    <a:lnTo>
                      <a:pt x="147" y="961"/>
                    </a:lnTo>
                    <a:lnTo>
                      <a:pt x="189" y="873"/>
                    </a:lnTo>
                    <a:lnTo>
                      <a:pt x="237" y="788"/>
                    </a:lnTo>
                    <a:lnTo>
                      <a:pt x="290" y="705"/>
                    </a:lnTo>
                    <a:lnTo>
                      <a:pt x="347" y="628"/>
                    </a:lnTo>
                    <a:lnTo>
                      <a:pt x="408" y="552"/>
                    </a:lnTo>
                    <a:lnTo>
                      <a:pt x="474" y="481"/>
                    </a:lnTo>
                    <a:lnTo>
                      <a:pt x="544" y="414"/>
                    </a:lnTo>
                    <a:lnTo>
                      <a:pt x="616" y="352"/>
                    </a:lnTo>
                    <a:lnTo>
                      <a:pt x="693" y="293"/>
                    </a:lnTo>
                    <a:lnTo>
                      <a:pt x="774" y="240"/>
                    </a:lnTo>
                    <a:lnTo>
                      <a:pt x="857" y="192"/>
                    </a:lnTo>
                    <a:lnTo>
                      <a:pt x="943" y="147"/>
                    </a:lnTo>
                    <a:lnTo>
                      <a:pt x="1033" y="109"/>
                    </a:lnTo>
                    <a:lnTo>
                      <a:pt x="1126" y="76"/>
                    </a:lnTo>
                    <a:lnTo>
                      <a:pt x="1219" y="47"/>
                    </a:lnTo>
                    <a:lnTo>
                      <a:pt x="1316" y="26"/>
                    </a:lnTo>
                    <a:lnTo>
                      <a:pt x="1415" y="9"/>
                    </a:lnTo>
                    <a:lnTo>
                      <a:pt x="1515" y="0"/>
                    </a:lnTo>
                    <a:close/>
                    <a:moveTo>
                      <a:pt x="1515" y="0"/>
                    </a:moveTo>
                    <a:lnTo>
                      <a:pt x="1516" y="0"/>
                    </a:lnTo>
                    <a:lnTo>
                      <a:pt x="1515" y="0"/>
                    </a:lnTo>
                    <a:lnTo>
                      <a:pt x="151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grpSp>
        <p:grpSp>
          <p:nvGrpSpPr>
            <p:cNvPr id="21" name="Group 1">
              <a:extLst>
                <a:ext uri="{FF2B5EF4-FFF2-40B4-BE49-F238E27FC236}">
                  <a16:creationId xmlns:a16="http://schemas.microsoft.com/office/drawing/2014/main" id="{F57DB69D-B8AF-48E3-BBC1-E798F84ADCA7}"/>
                </a:ext>
              </a:extLst>
            </p:cNvPr>
            <p:cNvGrpSpPr/>
            <p:nvPr/>
          </p:nvGrpSpPr>
          <p:grpSpPr>
            <a:xfrm>
              <a:off x="3910013" y="4389438"/>
              <a:ext cx="1395413" cy="1392238"/>
              <a:chOff x="3910013" y="4389438"/>
              <a:chExt cx="1395413" cy="1392238"/>
            </a:xfrm>
          </p:grpSpPr>
          <p:sp>
            <p:nvSpPr>
              <p:cNvPr id="22" name="Oval 19">
                <a:extLst>
                  <a:ext uri="{FF2B5EF4-FFF2-40B4-BE49-F238E27FC236}">
                    <a16:creationId xmlns:a16="http://schemas.microsoft.com/office/drawing/2014/main" id="{6B18E1F4-E545-4B37-AF73-A5B75EB5001B}"/>
                  </a:ext>
                </a:extLst>
              </p:cNvPr>
              <p:cNvSpPr>
                <a:spLocks noChangeArrowheads="1"/>
              </p:cNvSpPr>
              <p:nvPr/>
            </p:nvSpPr>
            <p:spPr bwMode="auto">
              <a:xfrm>
                <a:off x="3910013" y="4389438"/>
                <a:ext cx="1395413" cy="1392238"/>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grpSp>
            <p:nvGrpSpPr>
              <p:cNvPr id="23" name="Group 136">
                <a:extLst>
                  <a:ext uri="{FF2B5EF4-FFF2-40B4-BE49-F238E27FC236}">
                    <a16:creationId xmlns:a16="http://schemas.microsoft.com/office/drawing/2014/main" id="{5EAE4FCB-D572-418F-B8A0-583AF6ACC5AE}"/>
                  </a:ext>
                </a:extLst>
              </p:cNvPr>
              <p:cNvGrpSpPr>
                <a:grpSpLocks noChangeAspect="1"/>
              </p:cNvGrpSpPr>
              <p:nvPr/>
            </p:nvGrpSpPr>
            <p:grpSpPr bwMode="auto">
              <a:xfrm>
                <a:off x="4333365" y="4780888"/>
                <a:ext cx="548708" cy="609338"/>
                <a:chOff x="2073" y="2829"/>
                <a:chExt cx="181" cy="201"/>
              </a:xfrm>
              <a:solidFill>
                <a:schemeClr val="bg1"/>
              </a:solidFill>
            </p:grpSpPr>
            <p:sp>
              <p:nvSpPr>
                <p:cNvPr id="24" name="Freeform 138">
                  <a:extLst>
                    <a:ext uri="{FF2B5EF4-FFF2-40B4-BE49-F238E27FC236}">
                      <a16:creationId xmlns:a16="http://schemas.microsoft.com/office/drawing/2014/main" id="{20E4B1BB-499A-4B9D-9D4B-EFFA0F0E548E}"/>
                    </a:ext>
                  </a:extLst>
                </p:cNvPr>
                <p:cNvSpPr>
                  <a:spLocks/>
                </p:cNvSpPr>
                <p:nvPr/>
              </p:nvSpPr>
              <p:spPr bwMode="auto">
                <a:xfrm>
                  <a:off x="2073" y="2845"/>
                  <a:ext cx="45" cy="46"/>
                </a:xfrm>
                <a:custGeom>
                  <a:avLst/>
                  <a:gdLst>
                    <a:gd name="T0" fmla="*/ 384 w 767"/>
                    <a:gd name="T1" fmla="*/ 0 h 770"/>
                    <a:gd name="T2" fmla="*/ 432 w 767"/>
                    <a:gd name="T3" fmla="*/ 3 h 770"/>
                    <a:gd name="T4" fmla="*/ 477 w 767"/>
                    <a:gd name="T5" fmla="*/ 12 h 770"/>
                    <a:gd name="T6" fmla="*/ 522 w 767"/>
                    <a:gd name="T7" fmla="*/ 26 h 770"/>
                    <a:gd name="T8" fmla="*/ 563 w 767"/>
                    <a:gd name="T9" fmla="*/ 46 h 770"/>
                    <a:gd name="T10" fmla="*/ 603 w 767"/>
                    <a:gd name="T11" fmla="*/ 70 h 770"/>
                    <a:gd name="T12" fmla="*/ 638 w 767"/>
                    <a:gd name="T13" fmla="*/ 98 h 770"/>
                    <a:gd name="T14" fmla="*/ 670 w 767"/>
                    <a:gd name="T15" fmla="*/ 130 h 770"/>
                    <a:gd name="T16" fmla="*/ 698 w 767"/>
                    <a:gd name="T17" fmla="*/ 165 h 770"/>
                    <a:gd name="T18" fmla="*/ 722 w 767"/>
                    <a:gd name="T19" fmla="*/ 204 h 770"/>
                    <a:gd name="T20" fmla="*/ 741 w 767"/>
                    <a:gd name="T21" fmla="*/ 245 h 770"/>
                    <a:gd name="T22" fmla="*/ 755 w 767"/>
                    <a:gd name="T23" fmla="*/ 290 h 770"/>
                    <a:gd name="T24" fmla="*/ 764 w 767"/>
                    <a:gd name="T25" fmla="*/ 337 h 770"/>
                    <a:gd name="T26" fmla="*/ 767 w 767"/>
                    <a:gd name="T27" fmla="*/ 385 h 770"/>
                    <a:gd name="T28" fmla="*/ 764 w 767"/>
                    <a:gd name="T29" fmla="*/ 433 h 770"/>
                    <a:gd name="T30" fmla="*/ 755 w 767"/>
                    <a:gd name="T31" fmla="*/ 480 h 770"/>
                    <a:gd name="T32" fmla="*/ 741 w 767"/>
                    <a:gd name="T33" fmla="*/ 523 h 770"/>
                    <a:gd name="T34" fmla="*/ 722 w 767"/>
                    <a:gd name="T35" fmla="*/ 566 h 770"/>
                    <a:gd name="T36" fmla="*/ 698 w 767"/>
                    <a:gd name="T37" fmla="*/ 604 h 770"/>
                    <a:gd name="T38" fmla="*/ 670 w 767"/>
                    <a:gd name="T39" fmla="*/ 640 h 770"/>
                    <a:gd name="T40" fmla="*/ 638 w 767"/>
                    <a:gd name="T41" fmla="*/ 672 h 770"/>
                    <a:gd name="T42" fmla="*/ 603 w 767"/>
                    <a:gd name="T43" fmla="*/ 700 h 770"/>
                    <a:gd name="T44" fmla="*/ 563 w 767"/>
                    <a:gd name="T45" fmla="*/ 724 h 770"/>
                    <a:gd name="T46" fmla="*/ 522 w 767"/>
                    <a:gd name="T47" fmla="*/ 744 h 770"/>
                    <a:gd name="T48" fmla="*/ 477 w 767"/>
                    <a:gd name="T49" fmla="*/ 757 h 770"/>
                    <a:gd name="T50" fmla="*/ 432 w 767"/>
                    <a:gd name="T51" fmla="*/ 767 h 770"/>
                    <a:gd name="T52" fmla="*/ 384 w 767"/>
                    <a:gd name="T53" fmla="*/ 770 h 770"/>
                    <a:gd name="T54" fmla="*/ 335 w 767"/>
                    <a:gd name="T55" fmla="*/ 767 h 770"/>
                    <a:gd name="T56" fmla="*/ 289 w 767"/>
                    <a:gd name="T57" fmla="*/ 757 h 770"/>
                    <a:gd name="T58" fmla="*/ 245 w 767"/>
                    <a:gd name="T59" fmla="*/ 744 h 770"/>
                    <a:gd name="T60" fmla="*/ 203 w 767"/>
                    <a:gd name="T61" fmla="*/ 724 h 770"/>
                    <a:gd name="T62" fmla="*/ 164 w 767"/>
                    <a:gd name="T63" fmla="*/ 700 h 770"/>
                    <a:gd name="T64" fmla="*/ 129 w 767"/>
                    <a:gd name="T65" fmla="*/ 672 h 770"/>
                    <a:gd name="T66" fmla="*/ 96 w 767"/>
                    <a:gd name="T67" fmla="*/ 640 h 770"/>
                    <a:gd name="T68" fmla="*/ 68 w 767"/>
                    <a:gd name="T69" fmla="*/ 604 h 770"/>
                    <a:gd name="T70" fmla="*/ 45 w 767"/>
                    <a:gd name="T71" fmla="*/ 566 h 770"/>
                    <a:gd name="T72" fmla="*/ 26 w 767"/>
                    <a:gd name="T73" fmla="*/ 523 h 770"/>
                    <a:gd name="T74" fmla="*/ 11 w 767"/>
                    <a:gd name="T75" fmla="*/ 480 h 770"/>
                    <a:gd name="T76" fmla="*/ 3 w 767"/>
                    <a:gd name="T77" fmla="*/ 433 h 770"/>
                    <a:gd name="T78" fmla="*/ 0 w 767"/>
                    <a:gd name="T79" fmla="*/ 385 h 770"/>
                    <a:gd name="T80" fmla="*/ 3 w 767"/>
                    <a:gd name="T81" fmla="*/ 337 h 770"/>
                    <a:gd name="T82" fmla="*/ 11 w 767"/>
                    <a:gd name="T83" fmla="*/ 290 h 770"/>
                    <a:gd name="T84" fmla="*/ 26 w 767"/>
                    <a:gd name="T85" fmla="*/ 245 h 770"/>
                    <a:gd name="T86" fmla="*/ 45 w 767"/>
                    <a:gd name="T87" fmla="*/ 204 h 770"/>
                    <a:gd name="T88" fmla="*/ 68 w 767"/>
                    <a:gd name="T89" fmla="*/ 165 h 770"/>
                    <a:gd name="T90" fmla="*/ 96 w 767"/>
                    <a:gd name="T91" fmla="*/ 130 h 770"/>
                    <a:gd name="T92" fmla="*/ 129 w 767"/>
                    <a:gd name="T93" fmla="*/ 98 h 770"/>
                    <a:gd name="T94" fmla="*/ 164 w 767"/>
                    <a:gd name="T95" fmla="*/ 70 h 770"/>
                    <a:gd name="T96" fmla="*/ 203 w 767"/>
                    <a:gd name="T97" fmla="*/ 46 h 770"/>
                    <a:gd name="T98" fmla="*/ 245 w 767"/>
                    <a:gd name="T99" fmla="*/ 26 h 770"/>
                    <a:gd name="T100" fmla="*/ 289 w 767"/>
                    <a:gd name="T101" fmla="*/ 12 h 770"/>
                    <a:gd name="T102" fmla="*/ 335 w 767"/>
                    <a:gd name="T103" fmla="*/ 3 h 770"/>
                    <a:gd name="T104" fmla="*/ 384 w 767"/>
                    <a:gd name="T105" fmla="*/ 0 h 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67" h="770">
                      <a:moveTo>
                        <a:pt x="384" y="0"/>
                      </a:moveTo>
                      <a:lnTo>
                        <a:pt x="432" y="3"/>
                      </a:lnTo>
                      <a:lnTo>
                        <a:pt x="477" y="12"/>
                      </a:lnTo>
                      <a:lnTo>
                        <a:pt x="522" y="26"/>
                      </a:lnTo>
                      <a:lnTo>
                        <a:pt x="563" y="46"/>
                      </a:lnTo>
                      <a:lnTo>
                        <a:pt x="603" y="70"/>
                      </a:lnTo>
                      <a:lnTo>
                        <a:pt x="638" y="98"/>
                      </a:lnTo>
                      <a:lnTo>
                        <a:pt x="670" y="130"/>
                      </a:lnTo>
                      <a:lnTo>
                        <a:pt x="698" y="165"/>
                      </a:lnTo>
                      <a:lnTo>
                        <a:pt x="722" y="204"/>
                      </a:lnTo>
                      <a:lnTo>
                        <a:pt x="741" y="245"/>
                      </a:lnTo>
                      <a:lnTo>
                        <a:pt x="755" y="290"/>
                      </a:lnTo>
                      <a:lnTo>
                        <a:pt x="764" y="337"/>
                      </a:lnTo>
                      <a:lnTo>
                        <a:pt x="767" y="385"/>
                      </a:lnTo>
                      <a:lnTo>
                        <a:pt x="764" y="433"/>
                      </a:lnTo>
                      <a:lnTo>
                        <a:pt x="755" y="480"/>
                      </a:lnTo>
                      <a:lnTo>
                        <a:pt x="741" y="523"/>
                      </a:lnTo>
                      <a:lnTo>
                        <a:pt x="722" y="566"/>
                      </a:lnTo>
                      <a:lnTo>
                        <a:pt x="698" y="604"/>
                      </a:lnTo>
                      <a:lnTo>
                        <a:pt x="670" y="640"/>
                      </a:lnTo>
                      <a:lnTo>
                        <a:pt x="638" y="672"/>
                      </a:lnTo>
                      <a:lnTo>
                        <a:pt x="603" y="700"/>
                      </a:lnTo>
                      <a:lnTo>
                        <a:pt x="563" y="724"/>
                      </a:lnTo>
                      <a:lnTo>
                        <a:pt x="522" y="744"/>
                      </a:lnTo>
                      <a:lnTo>
                        <a:pt x="477" y="757"/>
                      </a:lnTo>
                      <a:lnTo>
                        <a:pt x="432" y="767"/>
                      </a:lnTo>
                      <a:lnTo>
                        <a:pt x="384" y="770"/>
                      </a:lnTo>
                      <a:lnTo>
                        <a:pt x="335" y="767"/>
                      </a:lnTo>
                      <a:lnTo>
                        <a:pt x="289" y="757"/>
                      </a:lnTo>
                      <a:lnTo>
                        <a:pt x="245" y="744"/>
                      </a:lnTo>
                      <a:lnTo>
                        <a:pt x="203" y="724"/>
                      </a:lnTo>
                      <a:lnTo>
                        <a:pt x="164" y="700"/>
                      </a:lnTo>
                      <a:lnTo>
                        <a:pt x="129" y="672"/>
                      </a:lnTo>
                      <a:lnTo>
                        <a:pt x="96" y="640"/>
                      </a:lnTo>
                      <a:lnTo>
                        <a:pt x="68" y="604"/>
                      </a:lnTo>
                      <a:lnTo>
                        <a:pt x="45" y="566"/>
                      </a:lnTo>
                      <a:lnTo>
                        <a:pt x="26" y="523"/>
                      </a:lnTo>
                      <a:lnTo>
                        <a:pt x="11" y="480"/>
                      </a:lnTo>
                      <a:lnTo>
                        <a:pt x="3" y="433"/>
                      </a:lnTo>
                      <a:lnTo>
                        <a:pt x="0" y="385"/>
                      </a:lnTo>
                      <a:lnTo>
                        <a:pt x="3" y="337"/>
                      </a:lnTo>
                      <a:lnTo>
                        <a:pt x="11" y="290"/>
                      </a:lnTo>
                      <a:lnTo>
                        <a:pt x="26" y="245"/>
                      </a:lnTo>
                      <a:lnTo>
                        <a:pt x="45" y="204"/>
                      </a:lnTo>
                      <a:lnTo>
                        <a:pt x="68" y="165"/>
                      </a:lnTo>
                      <a:lnTo>
                        <a:pt x="96" y="130"/>
                      </a:lnTo>
                      <a:lnTo>
                        <a:pt x="129" y="98"/>
                      </a:lnTo>
                      <a:lnTo>
                        <a:pt x="164" y="70"/>
                      </a:lnTo>
                      <a:lnTo>
                        <a:pt x="203" y="46"/>
                      </a:lnTo>
                      <a:lnTo>
                        <a:pt x="245" y="26"/>
                      </a:lnTo>
                      <a:lnTo>
                        <a:pt x="289" y="12"/>
                      </a:lnTo>
                      <a:lnTo>
                        <a:pt x="335" y="3"/>
                      </a:lnTo>
                      <a:lnTo>
                        <a:pt x="38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25" name="Freeform 139">
                  <a:extLst>
                    <a:ext uri="{FF2B5EF4-FFF2-40B4-BE49-F238E27FC236}">
                      <a16:creationId xmlns:a16="http://schemas.microsoft.com/office/drawing/2014/main" id="{DF1C6916-542E-4DD6-9144-B1EF0489E185}"/>
                    </a:ext>
                  </a:extLst>
                </p:cNvPr>
                <p:cNvSpPr>
                  <a:spLocks/>
                </p:cNvSpPr>
                <p:nvPr/>
              </p:nvSpPr>
              <p:spPr bwMode="auto">
                <a:xfrm>
                  <a:off x="2075" y="2896"/>
                  <a:ext cx="77" cy="133"/>
                </a:xfrm>
                <a:custGeom>
                  <a:avLst/>
                  <a:gdLst>
                    <a:gd name="T0" fmla="*/ 394 w 1309"/>
                    <a:gd name="T1" fmla="*/ 3 h 2258"/>
                    <a:gd name="T2" fmla="*/ 481 w 1309"/>
                    <a:gd name="T3" fmla="*/ 27 h 2258"/>
                    <a:gd name="T4" fmla="*/ 558 w 1309"/>
                    <a:gd name="T5" fmla="*/ 72 h 2258"/>
                    <a:gd name="T6" fmla="*/ 620 w 1309"/>
                    <a:gd name="T7" fmla="*/ 135 h 2258"/>
                    <a:gd name="T8" fmla="*/ 665 w 1309"/>
                    <a:gd name="T9" fmla="*/ 212 h 2258"/>
                    <a:gd name="T10" fmla="*/ 689 w 1309"/>
                    <a:gd name="T11" fmla="*/ 299 h 2258"/>
                    <a:gd name="T12" fmla="*/ 692 w 1309"/>
                    <a:gd name="T13" fmla="*/ 858 h 2258"/>
                    <a:gd name="T14" fmla="*/ 1070 w 1309"/>
                    <a:gd name="T15" fmla="*/ 861 h 2258"/>
                    <a:gd name="T16" fmla="*/ 1147 w 1309"/>
                    <a:gd name="T17" fmla="*/ 884 h 2258"/>
                    <a:gd name="T18" fmla="*/ 1212 w 1309"/>
                    <a:gd name="T19" fmla="*/ 927 h 2258"/>
                    <a:gd name="T20" fmla="*/ 1263 w 1309"/>
                    <a:gd name="T21" fmla="*/ 986 h 2258"/>
                    <a:gd name="T22" fmla="*/ 1296 w 1309"/>
                    <a:gd name="T23" fmla="*/ 1058 h 2258"/>
                    <a:gd name="T24" fmla="*/ 1309 w 1309"/>
                    <a:gd name="T25" fmla="*/ 1139 h 2258"/>
                    <a:gd name="T26" fmla="*/ 1306 w 1309"/>
                    <a:gd name="T27" fmla="*/ 2198 h 2258"/>
                    <a:gd name="T28" fmla="*/ 1285 w 1309"/>
                    <a:gd name="T29" fmla="*/ 2235 h 2258"/>
                    <a:gd name="T30" fmla="*/ 1249 w 1309"/>
                    <a:gd name="T31" fmla="*/ 2256 h 2258"/>
                    <a:gd name="T32" fmla="*/ 845 w 1309"/>
                    <a:gd name="T33" fmla="*/ 2258 h 2258"/>
                    <a:gd name="T34" fmla="*/ 803 w 1309"/>
                    <a:gd name="T35" fmla="*/ 2247 h 2258"/>
                    <a:gd name="T36" fmla="*/ 774 w 1309"/>
                    <a:gd name="T37" fmla="*/ 2218 h 2258"/>
                    <a:gd name="T38" fmla="*/ 764 w 1309"/>
                    <a:gd name="T39" fmla="*/ 2177 h 2258"/>
                    <a:gd name="T40" fmla="*/ 332 w 1309"/>
                    <a:gd name="T41" fmla="*/ 1399 h 2258"/>
                    <a:gd name="T42" fmla="*/ 244 w 1309"/>
                    <a:gd name="T43" fmla="*/ 1388 h 2258"/>
                    <a:gd name="T44" fmla="*/ 164 w 1309"/>
                    <a:gd name="T45" fmla="*/ 1354 h 2258"/>
                    <a:gd name="T46" fmla="*/ 98 w 1309"/>
                    <a:gd name="T47" fmla="*/ 1302 h 2258"/>
                    <a:gd name="T48" fmla="*/ 46 w 1309"/>
                    <a:gd name="T49" fmla="*/ 1235 h 2258"/>
                    <a:gd name="T50" fmla="*/ 13 w 1309"/>
                    <a:gd name="T51" fmla="*/ 1156 h 2258"/>
                    <a:gd name="T52" fmla="*/ 0 w 1309"/>
                    <a:gd name="T53" fmla="*/ 1067 h 2258"/>
                    <a:gd name="T54" fmla="*/ 3 w 1309"/>
                    <a:gd name="T55" fmla="*/ 299 h 2258"/>
                    <a:gd name="T56" fmla="*/ 27 w 1309"/>
                    <a:gd name="T57" fmla="*/ 212 h 2258"/>
                    <a:gd name="T58" fmla="*/ 73 w 1309"/>
                    <a:gd name="T59" fmla="*/ 135 h 2258"/>
                    <a:gd name="T60" fmla="*/ 135 w 1309"/>
                    <a:gd name="T61" fmla="*/ 72 h 2258"/>
                    <a:gd name="T62" fmla="*/ 212 w 1309"/>
                    <a:gd name="T63" fmla="*/ 27 h 2258"/>
                    <a:gd name="T64" fmla="*/ 299 w 1309"/>
                    <a:gd name="T65" fmla="*/ 3 h 2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09" h="2258">
                      <a:moveTo>
                        <a:pt x="347" y="0"/>
                      </a:moveTo>
                      <a:lnTo>
                        <a:pt x="394" y="3"/>
                      </a:lnTo>
                      <a:lnTo>
                        <a:pt x="438" y="12"/>
                      </a:lnTo>
                      <a:lnTo>
                        <a:pt x="481" y="27"/>
                      </a:lnTo>
                      <a:lnTo>
                        <a:pt x="521" y="47"/>
                      </a:lnTo>
                      <a:lnTo>
                        <a:pt x="558" y="72"/>
                      </a:lnTo>
                      <a:lnTo>
                        <a:pt x="591" y="102"/>
                      </a:lnTo>
                      <a:lnTo>
                        <a:pt x="620" y="135"/>
                      </a:lnTo>
                      <a:lnTo>
                        <a:pt x="645" y="171"/>
                      </a:lnTo>
                      <a:lnTo>
                        <a:pt x="665" y="212"/>
                      </a:lnTo>
                      <a:lnTo>
                        <a:pt x="680" y="255"/>
                      </a:lnTo>
                      <a:lnTo>
                        <a:pt x="689" y="299"/>
                      </a:lnTo>
                      <a:lnTo>
                        <a:pt x="692" y="346"/>
                      </a:lnTo>
                      <a:lnTo>
                        <a:pt x="692" y="858"/>
                      </a:lnTo>
                      <a:lnTo>
                        <a:pt x="1029" y="858"/>
                      </a:lnTo>
                      <a:lnTo>
                        <a:pt x="1070" y="861"/>
                      </a:lnTo>
                      <a:lnTo>
                        <a:pt x="1110" y="870"/>
                      </a:lnTo>
                      <a:lnTo>
                        <a:pt x="1147" y="884"/>
                      </a:lnTo>
                      <a:lnTo>
                        <a:pt x="1181" y="903"/>
                      </a:lnTo>
                      <a:lnTo>
                        <a:pt x="1212" y="927"/>
                      </a:lnTo>
                      <a:lnTo>
                        <a:pt x="1240" y="955"/>
                      </a:lnTo>
                      <a:lnTo>
                        <a:pt x="1263" y="986"/>
                      </a:lnTo>
                      <a:lnTo>
                        <a:pt x="1283" y="1020"/>
                      </a:lnTo>
                      <a:lnTo>
                        <a:pt x="1296" y="1058"/>
                      </a:lnTo>
                      <a:lnTo>
                        <a:pt x="1306" y="1097"/>
                      </a:lnTo>
                      <a:lnTo>
                        <a:pt x="1309" y="1139"/>
                      </a:lnTo>
                      <a:lnTo>
                        <a:pt x="1309" y="2177"/>
                      </a:lnTo>
                      <a:lnTo>
                        <a:pt x="1306" y="2198"/>
                      </a:lnTo>
                      <a:lnTo>
                        <a:pt x="1297" y="2218"/>
                      </a:lnTo>
                      <a:lnTo>
                        <a:pt x="1285" y="2235"/>
                      </a:lnTo>
                      <a:lnTo>
                        <a:pt x="1268" y="2247"/>
                      </a:lnTo>
                      <a:lnTo>
                        <a:pt x="1249" y="2256"/>
                      </a:lnTo>
                      <a:lnTo>
                        <a:pt x="1228" y="2258"/>
                      </a:lnTo>
                      <a:lnTo>
                        <a:pt x="845" y="2258"/>
                      </a:lnTo>
                      <a:lnTo>
                        <a:pt x="823" y="2256"/>
                      </a:lnTo>
                      <a:lnTo>
                        <a:pt x="803" y="2247"/>
                      </a:lnTo>
                      <a:lnTo>
                        <a:pt x="788" y="2235"/>
                      </a:lnTo>
                      <a:lnTo>
                        <a:pt x="774" y="2218"/>
                      </a:lnTo>
                      <a:lnTo>
                        <a:pt x="767" y="2198"/>
                      </a:lnTo>
                      <a:lnTo>
                        <a:pt x="764" y="2177"/>
                      </a:lnTo>
                      <a:lnTo>
                        <a:pt x="764" y="1399"/>
                      </a:lnTo>
                      <a:lnTo>
                        <a:pt x="332" y="1399"/>
                      </a:lnTo>
                      <a:lnTo>
                        <a:pt x="287" y="1397"/>
                      </a:lnTo>
                      <a:lnTo>
                        <a:pt x="244" y="1388"/>
                      </a:lnTo>
                      <a:lnTo>
                        <a:pt x="203" y="1373"/>
                      </a:lnTo>
                      <a:lnTo>
                        <a:pt x="164" y="1354"/>
                      </a:lnTo>
                      <a:lnTo>
                        <a:pt x="129" y="1331"/>
                      </a:lnTo>
                      <a:lnTo>
                        <a:pt x="98" y="1302"/>
                      </a:lnTo>
                      <a:lnTo>
                        <a:pt x="70" y="1270"/>
                      </a:lnTo>
                      <a:lnTo>
                        <a:pt x="46" y="1235"/>
                      </a:lnTo>
                      <a:lnTo>
                        <a:pt x="26" y="1196"/>
                      </a:lnTo>
                      <a:lnTo>
                        <a:pt x="13" y="1156"/>
                      </a:lnTo>
                      <a:lnTo>
                        <a:pt x="3" y="1112"/>
                      </a:lnTo>
                      <a:lnTo>
                        <a:pt x="0" y="1067"/>
                      </a:lnTo>
                      <a:lnTo>
                        <a:pt x="0" y="346"/>
                      </a:lnTo>
                      <a:lnTo>
                        <a:pt x="3" y="299"/>
                      </a:lnTo>
                      <a:lnTo>
                        <a:pt x="13" y="255"/>
                      </a:lnTo>
                      <a:lnTo>
                        <a:pt x="27" y="212"/>
                      </a:lnTo>
                      <a:lnTo>
                        <a:pt x="48" y="171"/>
                      </a:lnTo>
                      <a:lnTo>
                        <a:pt x="73" y="135"/>
                      </a:lnTo>
                      <a:lnTo>
                        <a:pt x="102" y="102"/>
                      </a:lnTo>
                      <a:lnTo>
                        <a:pt x="135" y="72"/>
                      </a:lnTo>
                      <a:lnTo>
                        <a:pt x="172" y="47"/>
                      </a:lnTo>
                      <a:lnTo>
                        <a:pt x="212" y="27"/>
                      </a:lnTo>
                      <a:lnTo>
                        <a:pt x="255" y="12"/>
                      </a:lnTo>
                      <a:lnTo>
                        <a:pt x="299" y="3"/>
                      </a:lnTo>
                      <a:lnTo>
                        <a:pt x="34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26" name="Freeform 140">
                  <a:extLst>
                    <a:ext uri="{FF2B5EF4-FFF2-40B4-BE49-F238E27FC236}">
                      <a16:creationId xmlns:a16="http://schemas.microsoft.com/office/drawing/2014/main" id="{6F84803C-AE1E-4BE1-8D54-1B837CADB2E8}"/>
                    </a:ext>
                  </a:extLst>
                </p:cNvPr>
                <p:cNvSpPr>
                  <a:spLocks/>
                </p:cNvSpPr>
                <p:nvPr/>
              </p:nvSpPr>
              <p:spPr bwMode="auto">
                <a:xfrm>
                  <a:off x="2191" y="2829"/>
                  <a:ext cx="34" cy="68"/>
                </a:xfrm>
                <a:custGeom>
                  <a:avLst/>
                  <a:gdLst>
                    <a:gd name="T0" fmla="*/ 473 w 579"/>
                    <a:gd name="T1" fmla="*/ 0 h 1156"/>
                    <a:gd name="T2" fmla="*/ 495 w 579"/>
                    <a:gd name="T3" fmla="*/ 1 h 1156"/>
                    <a:gd name="T4" fmla="*/ 517 w 579"/>
                    <a:gd name="T5" fmla="*/ 6 h 1156"/>
                    <a:gd name="T6" fmla="*/ 537 w 579"/>
                    <a:gd name="T7" fmla="*/ 18 h 1156"/>
                    <a:gd name="T8" fmla="*/ 554 w 579"/>
                    <a:gd name="T9" fmla="*/ 32 h 1156"/>
                    <a:gd name="T10" fmla="*/ 566 w 579"/>
                    <a:gd name="T11" fmla="*/ 50 h 1156"/>
                    <a:gd name="T12" fmla="*/ 575 w 579"/>
                    <a:gd name="T13" fmla="*/ 70 h 1156"/>
                    <a:gd name="T14" fmla="*/ 579 w 579"/>
                    <a:gd name="T15" fmla="*/ 91 h 1156"/>
                    <a:gd name="T16" fmla="*/ 578 w 579"/>
                    <a:gd name="T17" fmla="*/ 114 h 1156"/>
                    <a:gd name="T18" fmla="*/ 572 w 579"/>
                    <a:gd name="T19" fmla="*/ 135 h 1156"/>
                    <a:gd name="T20" fmla="*/ 190 w 579"/>
                    <a:gd name="T21" fmla="*/ 1095 h 1156"/>
                    <a:gd name="T22" fmla="*/ 180 w 579"/>
                    <a:gd name="T23" fmla="*/ 1113 h 1156"/>
                    <a:gd name="T24" fmla="*/ 168 w 579"/>
                    <a:gd name="T25" fmla="*/ 1128 h 1156"/>
                    <a:gd name="T26" fmla="*/ 152 w 579"/>
                    <a:gd name="T27" fmla="*/ 1141 h 1156"/>
                    <a:gd name="T28" fmla="*/ 136 w 579"/>
                    <a:gd name="T29" fmla="*/ 1149 h 1156"/>
                    <a:gd name="T30" fmla="*/ 117 w 579"/>
                    <a:gd name="T31" fmla="*/ 1155 h 1156"/>
                    <a:gd name="T32" fmla="*/ 97 w 579"/>
                    <a:gd name="T33" fmla="*/ 1156 h 1156"/>
                    <a:gd name="T34" fmla="*/ 80 w 579"/>
                    <a:gd name="T35" fmla="*/ 1155 h 1156"/>
                    <a:gd name="T36" fmla="*/ 61 w 579"/>
                    <a:gd name="T37" fmla="*/ 1150 h 1156"/>
                    <a:gd name="T38" fmla="*/ 41 w 579"/>
                    <a:gd name="T39" fmla="*/ 1139 h 1156"/>
                    <a:gd name="T40" fmla="*/ 25 w 579"/>
                    <a:gd name="T41" fmla="*/ 1124 h 1156"/>
                    <a:gd name="T42" fmla="*/ 12 w 579"/>
                    <a:gd name="T43" fmla="*/ 1106 h 1156"/>
                    <a:gd name="T44" fmla="*/ 4 w 579"/>
                    <a:gd name="T45" fmla="*/ 1087 h 1156"/>
                    <a:gd name="T46" fmla="*/ 0 w 579"/>
                    <a:gd name="T47" fmla="*/ 1066 h 1156"/>
                    <a:gd name="T48" fmla="*/ 1 w 579"/>
                    <a:gd name="T49" fmla="*/ 1043 h 1156"/>
                    <a:gd name="T50" fmla="*/ 6 w 579"/>
                    <a:gd name="T51" fmla="*/ 1021 h 1156"/>
                    <a:gd name="T52" fmla="*/ 389 w 579"/>
                    <a:gd name="T53" fmla="*/ 62 h 1156"/>
                    <a:gd name="T54" fmla="*/ 399 w 579"/>
                    <a:gd name="T55" fmla="*/ 42 h 1156"/>
                    <a:gd name="T56" fmla="*/ 414 w 579"/>
                    <a:gd name="T57" fmla="*/ 25 h 1156"/>
                    <a:gd name="T58" fmla="*/ 431 w 579"/>
                    <a:gd name="T59" fmla="*/ 13 h 1156"/>
                    <a:gd name="T60" fmla="*/ 452 w 579"/>
                    <a:gd name="T61" fmla="*/ 4 h 1156"/>
                    <a:gd name="T62" fmla="*/ 473 w 579"/>
                    <a:gd name="T63" fmla="*/ 0 h 1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79" h="1156">
                      <a:moveTo>
                        <a:pt x="473" y="0"/>
                      </a:moveTo>
                      <a:lnTo>
                        <a:pt x="495" y="1"/>
                      </a:lnTo>
                      <a:lnTo>
                        <a:pt x="517" y="6"/>
                      </a:lnTo>
                      <a:lnTo>
                        <a:pt x="537" y="18"/>
                      </a:lnTo>
                      <a:lnTo>
                        <a:pt x="554" y="32"/>
                      </a:lnTo>
                      <a:lnTo>
                        <a:pt x="566" y="50"/>
                      </a:lnTo>
                      <a:lnTo>
                        <a:pt x="575" y="70"/>
                      </a:lnTo>
                      <a:lnTo>
                        <a:pt x="579" y="91"/>
                      </a:lnTo>
                      <a:lnTo>
                        <a:pt x="578" y="114"/>
                      </a:lnTo>
                      <a:lnTo>
                        <a:pt x="572" y="135"/>
                      </a:lnTo>
                      <a:lnTo>
                        <a:pt x="190" y="1095"/>
                      </a:lnTo>
                      <a:lnTo>
                        <a:pt x="180" y="1113"/>
                      </a:lnTo>
                      <a:lnTo>
                        <a:pt x="168" y="1128"/>
                      </a:lnTo>
                      <a:lnTo>
                        <a:pt x="152" y="1141"/>
                      </a:lnTo>
                      <a:lnTo>
                        <a:pt x="136" y="1149"/>
                      </a:lnTo>
                      <a:lnTo>
                        <a:pt x="117" y="1155"/>
                      </a:lnTo>
                      <a:lnTo>
                        <a:pt x="97" y="1156"/>
                      </a:lnTo>
                      <a:lnTo>
                        <a:pt x="80" y="1155"/>
                      </a:lnTo>
                      <a:lnTo>
                        <a:pt x="61" y="1150"/>
                      </a:lnTo>
                      <a:lnTo>
                        <a:pt x="41" y="1139"/>
                      </a:lnTo>
                      <a:lnTo>
                        <a:pt x="25" y="1124"/>
                      </a:lnTo>
                      <a:lnTo>
                        <a:pt x="12" y="1106"/>
                      </a:lnTo>
                      <a:lnTo>
                        <a:pt x="4" y="1087"/>
                      </a:lnTo>
                      <a:lnTo>
                        <a:pt x="0" y="1066"/>
                      </a:lnTo>
                      <a:lnTo>
                        <a:pt x="1" y="1043"/>
                      </a:lnTo>
                      <a:lnTo>
                        <a:pt x="6" y="1021"/>
                      </a:lnTo>
                      <a:lnTo>
                        <a:pt x="389" y="62"/>
                      </a:lnTo>
                      <a:lnTo>
                        <a:pt x="399" y="42"/>
                      </a:lnTo>
                      <a:lnTo>
                        <a:pt x="414" y="25"/>
                      </a:lnTo>
                      <a:lnTo>
                        <a:pt x="431" y="13"/>
                      </a:lnTo>
                      <a:lnTo>
                        <a:pt x="452" y="4"/>
                      </a:lnTo>
                      <a:lnTo>
                        <a:pt x="47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27" name="Freeform 141">
                  <a:extLst>
                    <a:ext uri="{FF2B5EF4-FFF2-40B4-BE49-F238E27FC236}">
                      <a16:creationId xmlns:a16="http://schemas.microsoft.com/office/drawing/2014/main" id="{40882223-B5D8-4884-B6EE-EB7FB4F92E82}"/>
                    </a:ext>
                  </a:extLst>
                </p:cNvPr>
                <p:cNvSpPr>
                  <a:spLocks/>
                </p:cNvSpPr>
                <p:nvPr/>
              </p:nvSpPr>
              <p:spPr bwMode="auto">
                <a:xfrm>
                  <a:off x="2187" y="2874"/>
                  <a:ext cx="34" cy="46"/>
                </a:xfrm>
                <a:custGeom>
                  <a:avLst/>
                  <a:gdLst>
                    <a:gd name="T0" fmla="*/ 481 w 580"/>
                    <a:gd name="T1" fmla="*/ 0 h 773"/>
                    <a:gd name="T2" fmla="*/ 504 w 580"/>
                    <a:gd name="T3" fmla="*/ 3 h 773"/>
                    <a:gd name="T4" fmla="*/ 525 w 580"/>
                    <a:gd name="T5" fmla="*/ 11 h 773"/>
                    <a:gd name="T6" fmla="*/ 543 w 580"/>
                    <a:gd name="T7" fmla="*/ 22 h 773"/>
                    <a:gd name="T8" fmla="*/ 558 w 580"/>
                    <a:gd name="T9" fmla="*/ 38 h 773"/>
                    <a:gd name="T10" fmla="*/ 570 w 580"/>
                    <a:gd name="T11" fmla="*/ 55 h 773"/>
                    <a:gd name="T12" fmla="*/ 577 w 580"/>
                    <a:gd name="T13" fmla="*/ 76 h 773"/>
                    <a:gd name="T14" fmla="*/ 580 w 580"/>
                    <a:gd name="T15" fmla="*/ 99 h 773"/>
                    <a:gd name="T16" fmla="*/ 580 w 580"/>
                    <a:gd name="T17" fmla="*/ 674 h 773"/>
                    <a:gd name="T18" fmla="*/ 577 w 580"/>
                    <a:gd name="T19" fmla="*/ 697 h 773"/>
                    <a:gd name="T20" fmla="*/ 570 w 580"/>
                    <a:gd name="T21" fmla="*/ 718 h 773"/>
                    <a:gd name="T22" fmla="*/ 558 w 580"/>
                    <a:gd name="T23" fmla="*/ 737 h 773"/>
                    <a:gd name="T24" fmla="*/ 543 w 580"/>
                    <a:gd name="T25" fmla="*/ 751 h 773"/>
                    <a:gd name="T26" fmla="*/ 525 w 580"/>
                    <a:gd name="T27" fmla="*/ 764 h 773"/>
                    <a:gd name="T28" fmla="*/ 504 w 580"/>
                    <a:gd name="T29" fmla="*/ 771 h 773"/>
                    <a:gd name="T30" fmla="*/ 481 w 580"/>
                    <a:gd name="T31" fmla="*/ 773 h 773"/>
                    <a:gd name="T32" fmla="*/ 98 w 580"/>
                    <a:gd name="T33" fmla="*/ 773 h 773"/>
                    <a:gd name="T34" fmla="*/ 76 w 580"/>
                    <a:gd name="T35" fmla="*/ 771 h 773"/>
                    <a:gd name="T36" fmla="*/ 55 w 580"/>
                    <a:gd name="T37" fmla="*/ 764 h 773"/>
                    <a:gd name="T38" fmla="*/ 37 w 580"/>
                    <a:gd name="T39" fmla="*/ 751 h 773"/>
                    <a:gd name="T40" fmla="*/ 22 w 580"/>
                    <a:gd name="T41" fmla="*/ 737 h 773"/>
                    <a:gd name="T42" fmla="*/ 10 w 580"/>
                    <a:gd name="T43" fmla="*/ 718 h 773"/>
                    <a:gd name="T44" fmla="*/ 3 w 580"/>
                    <a:gd name="T45" fmla="*/ 697 h 773"/>
                    <a:gd name="T46" fmla="*/ 0 w 580"/>
                    <a:gd name="T47" fmla="*/ 674 h 773"/>
                    <a:gd name="T48" fmla="*/ 3 w 580"/>
                    <a:gd name="T49" fmla="*/ 652 h 773"/>
                    <a:gd name="T50" fmla="*/ 10 w 580"/>
                    <a:gd name="T51" fmla="*/ 631 h 773"/>
                    <a:gd name="T52" fmla="*/ 22 w 580"/>
                    <a:gd name="T53" fmla="*/ 613 h 773"/>
                    <a:gd name="T54" fmla="*/ 37 w 580"/>
                    <a:gd name="T55" fmla="*/ 597 h 773"/>
                    <a:gd name="T56" fmla="*/ 55 w 580"/>
                    <a:gd name="T57" fmla="*/ 586 h 773"/>
                    <a:gd name="T58" fmla="*/ 76 w 580"/>
                    <a:gd name="T59" fmla="*/ 579 h 773"/>
                    <a:gd name="T60" fmla="*/ 98 w 580"/>
                    <a:gd name="T61" fmla="*/ 576 h 773"/>
                    <a:gd name="T62" fmla="*/ 383 w 580"/>
                    <a:gd name="T63" fmla="*/ 576 h 773"/>
                    <a:gd name="T64" fmla="*/ 383 w 580"/>
                    <a:gd name="T65" fmla="*/ 99 h 773"/>
                    <a:gd name="T66" fmla="*/ 385 w 580"/>
                    <a:gd name="T67" fmla="*/ 76 h 773"/>
                    <a:gd name="T68" fmla="*/ 393 w 580"/>
                    <a:gd name="T69" fmla="*/ 55 h 773"/>
                    <a:gd name="T70" fmla="*/ 405 w 580"/>
                    <a:gd name="T71" fmla="*/ 38 h 773"/>
                    <a:gd name="T72" fmla="*/ 420 w 580"/>
                    <a:gd name="T73" fmla="*/ 22 h 773"/>
                    <a:gd name="T74" fmla="*/ 438 w 580"/>
                    <a:gd name="T75" fmla="*/ 11 h 773"/>
                    <a:gd name="T76" fmla="*/ 458 w 580"/>
                    <a:gd name="T77" fmla="*/ 3 h 773"/>
                    <a:gd name="T78" fmla="*/ 481 w 580"/>
                    <a:gd name="T79" fmla="*/ 0 h 7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80" h="773">
                      <a:moveTo>
                        <a:pt x="481" y="0"/>
                      </a:moveTo>
                      <a:lnTo>
                        <a:pt x="504" y="3"/>
                      </a:lnTo>
                      <a:lnTo>
                        <a:pt x="525" y="11"/>
                      </a:lnTo>
                      <a:lnTo>
                        <a:pt x="543" y="22"/>
                      </a:lnTo>
                      <a:lnTo>
                        <a:pt x="558" y="38"/>
                      </a:lnTo>
                      <a:lnTo>
                        <a:pt x="570" y="55"/>
                      </a:lnTo>
                      <a:lnTo>
                        <a:pt x="577" y="76"/>
                      </a:lnTo>
                      <a:lnTo>
                        <a:pt x="580" y="99"/>
                      </a:lnTo>
                      <a:lnTo>
                        <a:pt x="580" y="674"/>
                      </a:lnTo>
                      <a:lnTo>
                        <a:pt x="577" y="697"/>
                      </a:lnTo>
                      <a:lnTo>
                        <a:pt x="570" y="718"/>
                      </a:lnTo>
                      <a:lnTo>
                        <a:pt x="558" y="737"/>
                      </a:lnTo>
                      <a:lnTo>
                        <a:pt x="543" y="751"/>
                      </a:lnTo>
                      <a:lnTo>
                        <a:pt x="525" y="764"/>
                      </a:lnTo>
                      <a:lnTo>
                        <a:pt x="504" y="771"/>
                      </a:lnTo>
                      <a:lnTo>
                        <a:pt x="481" y="773"/>
                      </a:lnTo>
                      <a:lnTo>
                        <a:pt x="98" y="773"/>
                      </a:lnTo>
                      <a:lnTo>
                        <a:pt x="76" y="771"/>
                      </a:lnTo>
                      <a:lnTo>
                        <a:pt x="55" y="764"/>
                      </a:lnTo>
                      <a:lnTo>
                        <a:pt x="37" y="751"/>
                      </a:lnTo>
                      <a:lnTo>
                        <a:pt x="22" y="737"/>
                      </a:lnTo>
                      <a:lnTo>
                        <a:pt x="10" y="718"/>
                      </a:lnTo>
                      <a:lnTo>
                        <a:pt x="3" y="697"/>
                      </a:lnTo>
                      <a:lnTo>
                        <a:pt x="0" y="674"/>
                      </a:lnTo>
                      <a:lnTo>
                        <a:pt x="3" y="652"/>
                      </a:lnTo>
                      <a:lnTo>
                        <a:pt x="10" y="631"/>
                      </a:lnTo>
                      <a:lnTo>
                        <a:pt x="22" y="613"/>
                      </a:lnTo>
                      <a:lnTo>
                        <a:pt x="37" y="597"/>
                      </a:lnTo>
                      <a:lnTo>
                        <a:pt x="55" y="586"/>
                      </a:lnTo>
                      <a:lnTo>
                        <a:pt x="76" y="579"/>
                      </a:lnTo>
                      <a:lnTo>
                        <a:pt x="98" y="576"/>
                      </a:lnTo>
                      <a:lnTo>
                        <a:pt x="383" y="576"/>
                      </a:lnTo>
                      <a:lnTo>
                        <a:pt x="383" y="99"/>
                      </a:lnTo>
                      <a:lnTo>
                        <a:pt x="385" y="76"/>
                      </a:lnTo>
                      <a:lnTo>
                        <a:pt x="393" y="55"/>
                      </a:lnTo>
                      <a:lnTo>
                        <a:pt x="405" y="38"/>
                      </a:lnTo>
                      <a:lnTo>
                        <a:pt x="420" y="22"/>
                      </a:lnTo>
                      <a:lnTo>
                        <a:pt x="438" y="11"/>
                      </a:lnTo>
                      <a:lnTo>
                        <a:pt x="458" y="3"/>
                      </a:lnTo>
                      <a:lnTo>
                        <a:pt x="48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28" name="Freeform 142">
                  <a:extLst>
                    <a:ext uri="{FF2B5EF4-FFF2-40B4-BE49-F238E27FC236}">
                      <a16:creationId xmlns:a16="http://schemas.microsoft.com/office/drawing/2014/main" id="{03B3CB8B-C553-46B5-82DE-B18DBC32D093}"/>
                    </a:ext>
                  </a:extLst>
                </p:cNvPr>
                <p:cNvSpPr>
                  <a:spLocks/>
                </p:cNvSpPr>
                <p:nvPr/>
              </p:nvSpPr>
              <p:spPr bwMode="auto">
                <a:xfrm>
                  <a:off x="2243" y="2963"/>
                  <a:ext cx="11" cy="67"/>
                </a:xfrm>
                <a:custGeom>
                  <a:avLst/>
                  <a:gdLst>
                    <a:gd name="T0" fmla="*/ 0 w 197"/>
                    <a:gd name="T1" fmla="*/ 0 h 1137"/>
                    <a:gd name="T2" fmla="*/ 197 w 197"/>
                    <a:gd name="T3" fmla="*/ 0 h 1137"/>
                    <a:gd name="T4" fmla="*/ 197 w 197"/>
                    <a:gd name="T5" fmla="*/ 1039 h 1137"/>
                    <a:gd name="T6" fmla="*/ 195 w 197"/>
                    <a:gd name="T7" fmla="*/ 1061 h 1137"/>
                    <a:gd name="T8" fmla="*/ 186 w 197"/>
                    <a:gd name="T9" fmla="*/ 1082 h 1137"/>
                    <a:gd name="T10" fmla="*/ 175 w 197"/>
                    <a:gd name="T11" fmla="*/ 1101 h 1137"/>
                    <a:gd name="T12" fmla="*/ 160 w 197"/>
                    <a:gd name="T13" fmla="*/ 1116 h 1137"/>
                    <a:gd name="T14" fmla="*/ 142 w 197"/>
                    <a:gd name="T15" fmla="*/ 1128 h 1137"/>
                    <a:gd name="T16" fmla="*/ 121 w 197"/>
                    <a:gd name="T17" fmla="*/ 1135 h 1137"/>
                    <a:gd name="T18" fmla="*/ 98 w 197"/>
                    <a:gd name="T19" fmla="*/ 1137 h 1137"/>
                    <a:gd name="T20" fmla="*/ 75 w 197"/>
                    <a:gd name="T21" fmla="*/ 1135 h 1137"/>
                    <a:gd name="T22" fmla="*/ 55 w 197"/>
                    <a:gd name="T23" fmla="*/ 1128 h 1137"/>
                    <a:gd name="T24" fmla="*/ 37 w 197"/>
                    <a:gd name="T25" fmla="*/ 1116 h 1137"/>
                    <a:gd name="T26" fmla="*/ 21 w 197"/>
                    <a:gd name="T27" fmla="*/ 1101 h 1137"/>
                    <a:gd name="T28" fmla="*/ 10 w 197"/>
                    <a:gd name="T29" fmla="*/ 1082 h 1137"/>
                    <a:gd name="T30" fmla="*/ 3 w 197"/>
                    <a:gd name="T31" fmla="*/ 1061 h 1137"/>
                    <a:gd name="T32" fmla="*/ 0 w 197"/>
                    <a:gd name="T33" fmla="*/ 1039 h 1137"/>
                    <a:gd name="T34" fmla="*/ 0 w 197"/>
                    <a:gd name="T35" fmla="*/ 0 h 1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97" h="1137">
                      <a:moveTo>
                        <a:pt x="0" y="0"/>
                      </a:moveTo>
                      <a:lnTo>
                        <a:pt x="197" y="0"/>
                      </a:lnTo>
                      <a:lnTo>
                        <a:pt x="197" y="1039"/>
                      </a:lnTo>
                      <a:lnTo>
                        <a:pt x="195" y="1061"/>
                      </a:lnTo>
                      <a:lnTo>
                        <a:pt x="186" y="1082"/>
                      </a:lnTo>
                      <a:lnTo>
                        <a:pt x="175" y="1101"/>
                      </a:lnTo>
                      <a:lnTo>
                        <a:pt x="160" y="1116"/>
                      </a:lnTo>
                      <a:lnTo>
                        <a:pt x="142" y="1128"/>
                      </a:lnTo>
                      <a:lnTo>
                        <a:pt x="121" y="1135"/>
                      </a:lnTo>
                      <a:lnTo>
                        <a:pt x="98" y="1137"/>
                      </a:lnTo>
                      <a:lnTo>
                        <a:pt x="75" y="1135"/>
                      </a:lnTo>
                      <a:lnTo>
                        <a:pt x="55" y="1128"/>
                      </a:lnTo>
                      <a:lnTo>
                        <a:pt x="37" y="1116"/>
                      </a:lnTo>
                      <a:lnTo>
                        <a:pt x="21" y="1101"/>
                      </a:lnTo>
                      <a:lnTo>
                        <a:pt x="10" y="1082"/>
                      </a:lnTo>
                      <a:lnTo>
                        <a:pt x="3" y="1061"/>
                      </a:lnTo>
                      <a:lnTo>
                        <a:pt x="0" y="1039"/>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29" name="Freeform 143">
                  <a:extLst>
                    <a:ext uri="{FF2B5EF4-FFF2-40B4-BE49-F238E27FC236}">
                      <a16:creationId xmlns:a16="http://schemas.microsoft.com/office/drawing/2014/main" id="{9C2FAC55-9B21-48A2-AC00-14F0C97AFFE4}"/>
                    </a:ext>
                  </a:extLst>
                </p:cNvPr>
                <p:cNvSpPr>
                  <a:spLocks/>
                </p:cNvSpPr>
                <p:nvPr/>
              </p:nvSpPr>
              <p:spPr bwMode="auto">
                <a:xfrm>
                  <a:off x="2164" y="2929"/>
                  <a:ext cx="90" cy="23"/>
                </a:xfrm>
                <a:custGeom>
                  <a:avLst/>
                  <a:gdLst>
                    <a:gd name="T0" fmla="*/ 99 w 1537"/>
                    <a:gd name="T1" fmla="*/ 0 h 397"/>
                    <a:gd name="T2" fmla="*/ 1438 w 1537"/>
                    <a:gd name="T3" fmla="*/ 0 h 397"/>
                    <a:gd name="T4" fmla="*/ 1461 w 1537"/>
                    <a:gd name="T5" fmla="*/ 2 h 397"/>
                    <a:gd name="T6" fmla="*/ 1482 w 1537"/>
                    <a:gd name="T7" fmla="*/ 9 h 397"/>
                    <a:gd name="T8" fmla="*/ 1500 w 1537"/>
                    <a:gd name="T9" fmla="*/ 21 h 397"/>
                    <a:gd name="T10" fmla="*/ 1515 w 1537"/>
                    <a:gd name="T11" fmla="*/ 37 h 397"/>
                    <a:gd name="T12" fmla="*/ 1526 w 1537"/>
                    <a:gd name="T13" fmla="*/ 55 h 397"/>
                    <a:gd name="T14" fmla="*/ 1535 w 1537"/>
                    <a:gd name="T15" fmla="*/ 76 h 397"/>
                    <a:gd name="T16" fmla="*/ 1537 w 1537"/>
                    <a:gd name="T17" fmla="*/ 99 h 397"/>
                    <a:gd name="T18" fmla="*/ 1537 w 1537"/>
                    <a:gd name="T19" fmla="*/ 397 h 397"/>
                    <a:gd name="T20" fmla="*/ 0 w 1537"/>
                    <a:gd name="T21" fmla="*/ 397 h 397"/>
                    <a:gd name="T22" fmla="*/ 0 w 1537"/>
                    <a:gd name="T23" fmla="*/ 99 h 397"/>
                    <a:gd name="T24" fmla="*/ 3 w 1537"/>
                    <a:gd name="T25" fmla="*/ 76 h 397"/>
                    <a:gd name="T26" fmla="*/ 10 w 1537"/>
                    <a:gd name="T27" fmla="*/ 55 h 397"/>
                    <a:gd name="T28" fmla="*/ 22 w 1537"/>
                    <a:gd name="T29" fmla="*/ 37 h 397"/>
                    <a:gd name="T30" fmla="*/ 37 w 1537"/>
                    <a:gd name="T31" fmla="*/ 21 h 397"/>
                    <a:gd name="T32" fmla="*/ 56 w 1537"/>
                    <a:gd name="T33" fmla="*/ 9 h 397"/>
                    <a:gd name="T34" fmla="*/ 77 w 1537"/>
                    <a:gd name="T35" fmla="*/ 2 h 397"/>
                    <a:gd name="T36" fmla="*/ 99 w 1537"/>
                    <a:gd name="T37" fmla="*/ 0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537" h="397">
                      <a:moveTo>
                        <a:pt x="99" y="0"/>
                      </a:moveTo>
                      <a:lnTo>
                        <a:pt x="1438" y="0"/>
                      </a:lnTo>
                      <a:lnTo>
                        <a:pt x="1461" y="2"/>
                      </a:lnTo>
                      <a:lnTo>
                        <a:pt x="1482" y="9"/>
                      </a:lnTo>
                      <a:lnTo>
                        <a:pt x="1500" y="21"/>
                      </a:lnTo>
                      <a:lnTo>
                        <a:pt x="1515" y="37"/>
                      </a:lnTo>
                      <a:lnTo>
                        <a:pt x="1526" y="55"/>
                      </a:lnTo>
                      <a:lnTo>
                        <a:pt x="1535" y="76"/>
                      </a:lnTo>
                      <a:lnTo>
                        <a:pt x="1537" y="99"/>
                      </a:lnTo>
                      <a:lnTo>
                        <a:pt x="1537" y="397"/>
                      </a:lnTo>
                      <a:lnTo>
                        <a:pt x="0" y="397"/>
                      </a:lnTo>
                      <a:lnTo>
                        <a:pt x="0" y="99"/>
                      </a:lnTo>
                      <a:lnTo>
                        <a:pt x="3" y="76"/>
                      </a:lnTo>
                      <a:lnTo>
                        <a:pt x="10" y="55"/>
                      </a:lnTo>
                      <a:lnTo>
                        <a:pt x="22" y="37"/>
                      </a:lnTo>
                      <a:lnTo>
                        <a:pt x="37" y="21"/>
                      </a:lnTo>
                      <a:lnTo>
                        <a:pt x="56" y="9"/>
                      </a:lnTo>
                      <a:lnTo>
                        <a:pt x="77" y="2"/>
                      </a:lnTo>
                      <a:lnTo>
                        <a:pt x="9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30" name="Freeform 144">
                  <a:extLst>
                    <a:ext uri="{FF2B5EF4-FFF2-40B4-BE49-F238E27FC236}">
                      <a16:creationId xmlns:a16="http://schemas.microsoft.com/office/drawing/2014/main" id="{32F82062-DAB0-43D9-9163-82C20C24A27F}"/>
                    </a:ext>
                  </a:extLst>
                </p:cNvPr>
                <p:cNvSpPr>
                  <a:spLocks/>
                </p:cNvSpPr>
                <p:nvPr/>
              </p:nvSpPr>
              <p:spPr bwMode="auto">
                <a:xfrm>
                  <a:off x="2164" y="2963"/>
                  <a:ext cx="12" cy="67"/>
                </a:xfrm>
                <a:custGeom>
                  <a:avLst/>
                  <a:gdLst>
                    <a:gd name="T0" fmla="*/ 0 w 197"/>
                    <a:gd name="T1" fmla="*/ 0 h 1137"/>
                    <a:gd name="T2" fmla="*/ 197 w 197"/>
                    <a:gd name="T3" fmla="*/ 0 h 1137"/>
                    <a:gd name="T4" fmla="*/ 197 w 197"/>
                    <a:gd name="T5" fmla="*/ 1039 h 1137"/>
                    <a:gd name="T6" fmla="*/ 195 w 197"/>
                    <a:gd name="T7" fmla="*/ 1061 h 1137"/>
                    <a:gd name="T8" fmla="*/ 188 w 197"/>
                    <a:gd name="T9" fmla="*/ 1082 h 1137"/>
                    <a:gd name="T10" fmla="*/ 176 w 197"/>
                    <a:gd name="T11" fmla="*/ 1101 h 1137"/>
                    <a:gd name="T12" fmla="*/ 161 w 197"/>
                    <a:gd name="T13" fmla="*/ 1116 h 1137"/>
                    <a:gd name="T14" fmla="*/ 142 w 197"/>
                    <a:gd name="T15" fmla="*/ 1128 h 1137"/>
                    <a:gd name="T16" fmla="*/ 121 w 197"/>
                    <a:gd name="T17" fmla="*/ 1135 h 1137"/>
                    <a:gd name="T18" fmla="*/ 99 w 197"/>
                    <a:gd name="T19" fmla="*/ 1137 h 1137"/>
                    <a:gd name="T20" fmla="*/ 77 w 197"/>
                    <a:gd name="T21" fmla="*/ 1135 h 1137"/>
                    <a:gd name="T22" fmla="*/ 56 w 197"/>
                    <a:gd name="T23" fmla="*/ 1128 h 1137"/>
                    <a:gd name="T24" fmla="*/ 37 w 197"/>
                    <a:gd name="T25" fmla="*/ 1116 h 1137"/>
                    <a:gd name="T26" fmla="*/ 22 w 197"/>
                    <a:gd name="T27" fmla="*/ 1101 h 1137"/>
                    <a:gd name="T28" fmla="*/ 10 w 197"/>
                    <a:gd name="T29" fmla="*/ 1082 h 1137"/>
                    <a:gd name="T30" fmla="*/ 3 w 197"/>
                    <a:gd name="T31" fmla="*/ 1061 h 1137"/>
                    <a:gd name="T32" fmla="*/ 0 w 197"/>
                    <a:gd name="T33" fmla="*/ 1039 h 1137"/>
                    <a:gd name="T34" fmla="*/ 0 w 197"/>
                    <a:gd name="T35" fmla="*/ 0 h 1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97" h="1137">
                      <a:moveTo>
                        <a:pt x="0" y="0"/>
                      </a:moveTo>
                      <a:lnTo>
                        <a:pt x="197" y="0"/>
                      </a:lnTo>
                      <a:lnTo>
                        <a:pt x="197" y="1039"/>
                      </a:lnTo>
                      <a:lnTo>
                        <a:pt x="195" y="1061"/>
                      </a:lnTo>
                      <a:lnTo>
                        <a:pt x="188" y="1082"/>
                      </a:lnTo>
                      <a:lnTo>
                        <a:pt x="176" y="1101"/>
                      </a:lnTo>
                      <a:lnTo>
                        <a:pt x="161" y="1116"/>
                      </a:lnTo>
                      <a:lnTo>
                        <a:pt x="142" y="1128"/>
                      </a:lnTo>
                      <a:lnTo>
                        <a:pt x="121" y="1135"/>
                      </a:lnTo>
                      <a:lnTo>
                        <a:pt x="99" y="1137"/>
                      </a:lnTo>
                      <a:lnTo>
                        <a:pt x="77" y="1135"/>
                      </a:lnTo>
                      <a:lnTo>
                        <a:pt x="56" y="1128"/>
                      </a:lnTo>
                      <a:lnTo>
                        <a:pt x="37" y="1116"/>
                      </a:lnTo>
                      <a:lnTo>
                        <a:pt x="22" y="1101"/>
                      </a:lnTo>
                      <a:lnTo>
                        <a:pt x="10" y="1082"/>
                      </a:lnTo>
                      <a:lnTo>
                        <a:pt x="3" y="1061"/>
                      </a:lnTo>
                      <a:lnTo>
                        <a:pt x="0" y="1039"/>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grpSp>
        </p:grpSp>
      </p:grpSp>
      <p:sp>
        <p:nvSpPr>
          <p:cNvPr id="56" name="Rectangle 74">
            <a:extLst>
              <a:ext uri="{FF2B5EF4-FFF2-40B4-BE49-F238E27FC236}">
                <a16:creationId xmlns:a16="http://schemas.microsoft.com/office/drawing/2014/main" id="{D5A5CDAB-A629-4AC1-98C5-726BEBDA1896}"/>
              </a:ext>
            </a:extLst>
          </p:cNvPr>
          <p:cNvSpPr/>
          <p:nvPr/>
        </p:nvSpPr>
        <p:spPr>
          <a:xfrm>
            <a:off x="1426082" y="3086934"/>
            <a:ext cx="3763471" cy="1080937"/>
          </a:xfrm>
          <a:prstGeom prst="rect">
            <a:avLst/>
          </a:prstGeom>
        </p:spPr>
        <p:txBody>
          <a:bodyPr wrap="square">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lumMod val="50000"/>
                    <a:lumOff val="50000"/>
                  </a:srgbClr>
                </a:solidFill>
                <a:effectLst/>
                <a:uLnTx/>
                <a:uFillTx/>
                <a:latin typeface="等线" panose="020F0502020204030204"/>
                <a:ea typeface="+mn-ea"/>
                <a:cs typeface="+mn-cs"/>
              </a:rPr>
              <a:t>Lorem Ipsum is simply dummy text of the printing and typesetting industry. Lorem Ipsum has been the industry's standard dummy text ever since the 1500s, when an unknown printer took a</a:t>
            </a:r>
          </a:p>
        </p:txBody>
      </p:sp>
      <p:sp>
        <p:nvSpPr>
          <p:cNvPr id="57" name="TextBox 75">
            <a:extLst>
              <a:ext uri="{FF2B5EF4-FFF2-40B4-BE49-F238E27FC236}">
                <a16:creationId xmlns:a16="http://schemas.microsoft.com/office/drawing/2014/main" id="{6D202E66-F271-44FE-B2DC-B88AA78F0599}"/>
              </a:ext>
            </a:extLst>
          </p:cNvPr>
          <p:cNvSpPr txBox="1"/>
          <p:nvPr/>
        </p:nvSpPr>
        <p:spPr>
          <a:xfrm>
            <a:off x="1410407" y="1180704"/>
            <a:ext cx="5172959"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000000">
                    <a:lumMod val="85000"/>
                    <a:lumOff val="15000"/>
                  </a:srgbClr>
                </a:solidFill>
                <a:effectLst/>
                <a:uLnTx/>
                <a:uFillTx/>
                <a:latin typeface="等线 Light" panose="020F0302020204030204"/>
                <a:ea typeface="+mn-ea"/>
                <a:cs typeface="+mn-cs"/>
              </a:rPr>
              <a:t>INFOGRAPHIC</a:t>
            </a:r>
            <a:r>
              <a:rPr kumimoji="0" lang="en-US" sz="3200" b="1" i="0" u="none" strike="noStrike" kern="1200" cap="none" spc="0" normalizeH="0" baseline="0" noProof="0" dirty="0">
                <a:ln>
                  <a:noFill/>
                </a:ln>
                <a:solidFill>
                  <a:srgbClr val="000000">
                    <a:lumMod val="85000"/>
                    <a:lumOff val="15000"/>
                  </a:srgbClr>
                </a:solidFill>
                <a:effectLst/>
                <a:uLnTx/>
                <a:uFillTx/>
                <a:latin typeface="等线" panose="020F0502020204030204"/>
                <a:ea typeface="+mn-ea"/>
                <a:cs typeface="+mn-cs"/>
              </a:rPr>
              <a:t> </a:t>
            </a:r>
            <a:r>
              <a:rPr kumimoji="0" lang="en-US" sz="3200" b="1" i="0" u="none" strike="noStrike" kern="1200" cap="none" spc="0" normalizeH="0" baseline="0" noProof="0" dirty="0">
                <a:ln>
                  <a:noFill/>
                </a:ln>
                <a:solidFill>
                  <a:srgbClr val="000000">
                    <a:lumMod val="85000"/>
                    <a:lumOff val="15000"/>
                  </a:srgbClr>
                </a:solidFill>
                <a:effectLst/>
                <a:uLnTx/>
                <a:uFillTx/>
                <a:latin typeface="等线 Light" panose="020F0302020204030204"/>
                <a:ea typeface="+mn-ea"/>
                <a:cs typeface="+mn-cs"/>
              </a:rPr>
              <a:t>TREE</a:t>
            </a:r>
          </a:p>
        </p:txBody>
      </p:sp>
      <p:sp>
        <p:nvSpPr>
          <p:cNvPr id="58" name="TextBox 76">
            <a:extLst>
              <a:ext uri="{FF2B5EF4-FFF2-40B4-BE49-F238E27FC236}">
                <a16:creationId xmlns:a16="http://schemas.microsoft.com/office/drawing/2014/main" id="{C358AE5B-8102-4A94-81D8-580DB1CF5932}"/>
              </a:ext>
            </a:extLst>
          </p:cNvPr>
          <p:cNvSpPr txBox="1"/>
          <p:nvPr/>
        </p:nvSpPr>
        <p:spPr>
          <a:xfrm>
            <a:off x="1426081" y="2825045"/>
            <a:ext cx="2864179"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lumMod val="85000"/>
                    <a:lumOff val="15000"/>
                  </a:srgbClr>
                </a:solidFill>
                <a:effectLst/>
                <a:uLnTx/>
                <a:uFillTx/>
                <a:latin typeface="等线 Light" panose="020F0302020204030204"/>
                <a:ea typeface="+mn-ea"/>
                <a:cs typeface="+mn-cs"/>
              </a:rPr>
              <a:t>Insert Your Text Here</a:t>
            </a:r>
          </a:p>
        </p:txBody>
      </p:sp>
      <p:sp>
        <p:nvSpPr>
          <p:cNvPr id="59" name="Rectangle 77">
            <a:extLst>
              <a:ext uri="{FF2B5EF4-FFF2-40B4-BE49-F238E27FC236}">
                <a16:creationId xmlns:a16="http://schemas.microsoft.com/office/drawing/2014/main" id="{D10ACDD0-BE93-46C6-892B-709E47A13CCC}"/>
              </a:ext>
            </a:extLst>
          </p:cNvPr>
          <p:cNvSpPr/>
          <p:nvPr/>
        </p:nvSpPr>
        <p:spPr>
          <a:xfrm>
            <a:off x="1426081" y="5515245"/>
            <a:ext cx="2864179" cy="573106"/>
          </a:xfrm>
          <a:prstGeom prst="rect">
            <a:avLst/>
          </a:prstGeom>
        </p:spPr>
        <p:txBody>
          <a:bodyPr wrap="square">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lumMod val="50000"/>
                    <a:lumOff val="50000"/>
                  </a:srgbClr>
                </a:solidFill>
                <a:effectLst/>
                <a:uLnTx/>
                <a:uFillTx/>
                <a:latin typeface="等线" panose="020F0502020204030204"/>
                <a:ea typeface="+mn-ea"/>
                <a:cs typeface="+mn-cs"/>
              </a:rPr>
              <a:t>Lorem Ipsum is simply dummy text of the printing and typesetting industry. </a:t>
            </a:r>
          </a:p>
        </p:txBody>
      </p:sp>
      <p:sp>
        <p:nvSpPr>
          <p:cNvPr id="60" name="TextBox 78">
            <a:extLst>
              <a:ext uri="{FF2B5EF4-FFF2-40B4-BE49-F238E27FC236}">
                <a16:creationId xmlns:a16="http://schemas.microsoft.com/office/drawing/2014/main" id="{930DA10F-54F7-4D03-A5F4-7774E7F53B5E}"/>
              </a:ext>
            </a:extLst>
          </p:cNvPr>
          <p:cNvSpPr txBox="1"/>
          <p:nvPr/>
        </p:nvSpPr>
        <p:spPr>
          <a:xfrm>
            <a:off x="1346315" y="4719883"/>
            <a:ext cx="3843236" cy="76944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400" b="1" i="0" u="none" strike="noStrike" kern="1200" cap="none" spc="0" normalizeH="0" baseline="0" noProof="0" dirty="0">
                <a:ln>
                  <a:noFill/>
                </a:ln>
                <a:solidFill>
                  <a:srgbClr val="FFD229"/>
                </a:solidFill>
                <a:effectLst/>
                <a:uLnTx/>
                <a:uFillTx/>
                <a:latin typeface="等线 Light" panose="020F0302020204030204"/>
                <a:ea typeface="+mn-ea"/>
                <a:cs typeface="+mn-cs"/>
              </a:rPr>
              <a:t>70% </a:t>
            </a:r>
            <a:r>
              <a:rPr kumimoji="0" lang="en-US" sz="1400" b="1" i="0" u="none" strike="noStrike" kern="1200" cap="none" spc="0" normalizeH="0" baseline="0" noProof="0" dirty="0">
                <a:ln>
                  <a:noFill/>
                </a:ln>
                <a:solidFill>
                  <a:srgbClr val="000000">
                    <a:lumMod val="85000"/>
                    <a:lumOff val="15000"/>
                  </a:srgbClr>
                </a:solidFill>
                <a:effectLst/>
                <a:uLnTx/>
                <a:uFillTx/>
                <a:latin typeface="等线 Light" panose="020F0302020204030204"/>
                <a:ea typeface="+mn-ea"/>
                <a:cs typeface="+mn-cs"/>
              </a:rPr>
              <a:t>Insert Your Text Here</a:t>
            </a:r>
            <a:endParaRPr kumimoji="0" lang="en-US" sz="1800" b="1" i="0" u="none" strike="noStrike" kern="1200" cap="none" spc="0" normalizeH="0" baseline="0" noProof="0" dirty="0">
              <a:ln>
                <a:noFill/>
              </a:ln>
              <a:solidFill>
                <a:srgbClr val="000000">
                  <a:lumMod val="85000"/>
                  <a:lumOff val="15000"/>
                </a:srgbClr>
              </a:solidFill>
              <a:effectLst/>
              <a:uLnTx/>
              <a:uFillTx/>
              <a:latin typeface="等线 Light" panose="020F0302020204030204"/>
              <a:ea typeface="+mn-ea"/>
              <a:cs typeface="+mn-cs"/>
            </a:endParaRPr>
          </a:p>
        </p:txBody>
      </p:sp>
    </p:spTree>
    <p:extLst>
      <p:ext uri="{BB962C8B-B14F-4D97-AF65-F5344CB8AC3E}">
        <p14:creationId xmlns:p14="http://schemas.microsoft.com/office/powerpoint/2010/main" val="3271704081"/>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57"/>
                                        </p:tgtEl>
                                        <p:attrNameLst>
                                          <p:attrName>style.visibility</p:attrName>
                                        </p:attrNameLst>
                                      </p:cBhvr>
                                      <p:to>
                                        <p:strVal val="visible"/>
                                      </p:to>
                                    </p:set>
                                    <p:animEffect transition="in" filter="wipe(left)">
                                      <p:cBhvr>
                                        <p:cTn id="7" dur="500"/>
                                        <p:tgtEl>
                                          <p:spTgt spid="57"/>
                                        </p:tgtEl>
                                      </p:cBhvr>
                                    </p:animEffect>
                                  </p:childTnLst>
                                </p:cTn>
                              </p:par>
                            </p:childTnLst>
                          </p:cTn>
                        </p:par>
                        <p:par>
                          <p:cTn id="8" fill="hold">
                            <p:stCondLst>
                              <p:cond delay="500"/>
                            </p:stCondLst>
                            <p:childTnLst>
                              <p:par>
                                <p:cTn id="9" presetID="22" presetClass="entr" presetSubtype="8" fill="hold" grpId="0" nodeType="afterEffect">
                                  <p:stCondLst>
                                    <p:cond delay="0"/>
                                  </p:stCondLst>
                                  <p:childTnLst>
                                    <p:set>
                                      <p:cBhvr>
                                        <p:cTn id="10" dur="1" fill="hold">
                                          <p:stCondLst>
                                            <p:cond delay="0"/>
                                          </p:stCondLst>
                                        </p:cTn>
                                        <p:tgtEl>
                                          <p:spTgt spid="58"/>
                                        </p:tgtEl>
                                        <p:attrNameLst>
                                          <p:attrName>style.visibility</p:attrName>
                                        </p:attrNameLst>
                                      </p:cBhvr>
                                      <p:to>
                                        <p:strVal val="visible"/>
                                      </p:to>
                                    </p:set>
                                    <p:animEffect transition="in" filter="wipe(left)">
                                      <p:cBhvr>
                                        <p:cTn id="11" dur="500"/>
                                        <p:tgtEl>
                                          <p:spTgt spid="58"/>
                                        </p:tgtEl>
                                      </p:cBhvr>
                                    </p:animEffect>
                                  </p:childTnLst>
                                </p:cTn>
                              </p:par>
                            </p:childTnLst>
                          </p:cTn>
                        </p:par>
                        <p:par>
                          <p:cTn id="12" fill="hold">
                            <p:stCondLst>
                              <p:cond delay="1000"/>
                            </p:stCondLst>
                            <p:childTnLst>
                              <p:par>
                                <p:cTn id="13" presetID="42" presetClass="entr" presetSubtype="0" fill="hold" grpId="0" nodeType="afterEffect">
                                  <p:stCondLst>
                                    <p:cond delay="0"/>
                                  </p:stCondLst>
                                  <p:childTnLst>
                                    <p:set>
                                      <p:cBhvr>
                                        <p:cTn id="14" dur="1" fill="hold">
                                          <p:stCondLst>
                                            <p:cond delay="0"/>
                                          </p:stCondLst>
                                        </p:cTn>
                                        <p:tgtEl>
                                          <p:spTgt spid="56"/>
                                        </p:tgtEl>
                                        <p:attrNameLst>
                                          <p:attrName>style.visibility</p:attrName>
                                        </p:attrNameLst>
                                      </p:cBhvr>
                                      <p:to>
                                        <p:strVal val="visible"/>
                                      </p:to>
                                    </p:set>
                                    <p:animEffect transition="in" filter="fade">
                                      <p:cBhvr>
                                        <p:cTn id="15" dur="500"/>
                                        <p:tgtEl>
                                          <p:spTgt spid="56"/>
                                        </p:tgtEl>
                                      </p:cBhvr>
                                    </p:animEffect>
                                    <p:anim calcmode="lin" valueType="num">
                                      <p:cBhvr>
                                        <p:cTn id="16" dur="500" fill="hold"/>
                                        <p:tgtEl>
                                          <p:spTgt spid="56"/>
                                        </p:tgtEl>
                                        <p:attrNameLst>
                                          <p:attrName>ppt_x</p:attrName>
                                        </p:attrNameLst>
                                      </p:cBhvr>
                                      <p:tavLst>
                                        <p:tav tm="0">
                                          <p:val>
                                            <p:strVal val="#ppt_x"/>
                                          </p:val>
                                        </p:tav>
                                        <p:tav tm="100000">
                                          <p:val>
                                            <p:strVal val="#ppt_x"/>
                                          </p:val>
                                        </p:tav>
                                      </p:tavLst>
                                    </p:anim>
                                    <p:anim calcmode="lin" valueType="num">
                                      <p:cBhvr>
                                        <p:cTn id="17" dur="500" fill="hold"/>
                                        <p:tgtEl>
                                          <p:spTgt spid="56"/>
                                        </p:tgtEl>
                                        <p:attrNameLst>
                                          <p:attrName>ppt_y</p:attrName>
                                        </p:attrNameLst>
                                      </p:cBhvr>
                                      <p:tavLst>
                                        <p:tav tm="0">
                                          <p:val>
                                            <p:strVal val="#ppt_y+.1"/>
                                          </p:val>
                                        </p:tav>
                                        <p:tav tm="100000">
                                          <p:val>
                                            <p:strVal val="#ppt_y"/>
                                          </p:val>
                                        </p:tav>
                                      </p:tavLst>
                                    </p:anim>
                                  </p:childTnLst>
                                </p:cTn>
                              </p:par>
                            </p:childTnLst>
                          </p:cTn>
                        </p:par>
                        <p:par>
                          <p:cTn id="18" fill="hold">
                            <p:stCondLst>
                              <p:cond delay="1500"/>
                            </p:stCondLst>
                            <p:childTnLst>
                              <p:par>
                                <p:cTn id="19" presetID="22" presetClass="entr" presetSubtype="8" fill="hold" grpId="0" nodeType="afterEffect">
                                  <p:stCondLst>
                                    <p:cond delay="0"/>
                                  </p:stCondLst>
                                  <p:childTnLst>
                                    <p:set>
                                      <p:cBhvr>
                                        <p:cTn id="20" dur="1" fill="hold">
                                          <p:stCondLst>
                                            <p:cond delay="0"/>
                                          </p:stCondLst>
                                        </p:cTn>
                                        <p:tgtEl>
                                          <p:spTgt spid="60"/>
                                        </p:tgtEl>
                                        <p:attrNameLst>
                                          <p:attrName>style.visibility</p:attrName>
                                        </p:attrNameLst>
                                      </p:cBhvr>
                                      <p:to>
                                        <p:strVal val="visible"/>
                                      </p:to>
                                    </p:set>
                                    <p:animEffect transition="in" filter="wipe(left)">
                                      <p:cBhvr>
                                        <p:cTn id="21" dur="500"/>
                                        <p:tgtEl>
                                          <p:spTgt spid="60"/>
                                        </p:tgtEl>
                                      </p:cBhvr>
                                    </p:animEffect>
                                  </p:childTnLst>
                                </p:cTn>
                              </p:par>
                            </p:childTnLst>
                          </p:cTn>
                        </p:par>
                        <p:par>
                          <p:cTn id="22" fill="hold">
                            <p:stCondLst>
                              <p:cond delay="2000"/>
                            </p:stCondLst>
                            <p:childTnLst>
                              <p:par>
                                <p:cTn id="23" presetID="42" presetClass="entr" presetSubtype="0" fill="hold" grpId="0" nodeType="afterEffect">
                                  <p:stCondLst>
                                    <p:cond delay="0"/>
                                  </p:stCondLst>
                                  <p:childTnLst>
                                    <p:set>
                                      <p:cBhvr>
                                        <p:cTn id="24" dur="1" fill="hold">
                                          <p:stCondLst>
                                            <p:cond delay="0"/>
                                          </p:stCondLst>
                                        </p:cTn>
                                        <p:tgtEl>
                                          <p:spTgt spid="59"/>
                                        </p:tgtEl>
                                        <p:attrNameLst>
                                          <p:attrName>style.visibility</p:attrName>
                                        </p:attrNameLst>
                                      </p:cBhvr>
                                      <p:to>
                                        <p:strVal val="visible"/>
                                      </p:to>
                                    </p:set>
                                    <p:animEffect transition="in" filter="fade">
                                      <p:cBhvr>
                                        <p:cTn id="25" dur="500"/>
                                        <p:tgtEl>
                                          <p:spTgt spid="59"/>
                                        </p:tgtEl>
                                      </p:cBhvr>
                                    </p:animEffect>
                                    <p:anim calcmode="lin" valueType="num">
                                      <p:cBhvr>
                                        <p:cTn id="26" dur="500" fill="hold"/>
                                        <p:tgtEl>
                                          <p:spTgt spid="59"/>
                                        </p:tgtEl>
                                        <p:attrNameLst>
                                          <p:attrName>ppt_x</p:attrName>
                                        </p:attrNameLst>
                                      </p:cBhvr>
                                      <p:tavLst>
                                        <p:tav tm="0">
                                          <p:val>
                                            <p:strVal val="#ppt_x"/>
                                          </p:val>
                                        </p:tav>
                                        <p:tav tm="100000">
                                          <p:val>
                                            <p:strVal val="#ppt_x"/>
                                          </p:val>
                                        </p:tav>
                                      </p:tavLst>
                                    </p:anim>
                                    <p:anim calcmode="lin" valueType="num">
                                      <p:cBhvr>
                                        <p:cTn id="27" dur="500" fill="hold"/>
                                        <p:tgtEl>
                                          <p:spTgt spid="59"/>
                                        </p:tgtEl>
                                        <p:attrNameLst>
                                          <p:attrName>ppt_y</p:attrName>
                                        </p:attrNameLst>
                                      </p:cBhvr>
                                      <p:tavLst>
                                        <p:tav tm="0">
                                          <p:val>
                                            <p:strVal val="#ppt_y+.1"/>
                                          </p:val>
                                        </p:tav>
                                        <p:tav tm="100000">
                                          <p:val>
                                            <p:strVal val="#ppt_y"/>
                                          </p:val>
                                        </p:tav>
                                      </p:tavLst>
                                    </p:anim>
                                  </p:childTnLst>
                                </p:cTn>
                              </p:par>
                            </p:childTnLst>
                          </p:cTn>
                        </p:par>
                        <p:par>
                          <p:cTn id="28" fill="hold">
                            <p:stCondLst>
                              <p:cond delay="2500"/>
                            </p:stCondLst>
                            <p:childTnLst>
                              <p:par>
                                <p:cTn id="29" presetID="22" presetClass="entr" presetSubtype="4" fill="hold" nodeType="afterEffect">
                                  <p:stCondLst>
                                    <p:cond delay="0"/>
                                  </p:stCondLst>
                                  <p:childTnLst>
                                    <p:set>
                                      <p:cBhvr>
                                        <p:cTn id="30" dur="1" fill="hold">
                                          <p:stCondLst>
                                            <p:cond delay="0"/>
                                          </p:stCondLst>
                                        </p:cTn>
                                        <p:tgtEl>
                                          <p:spTgt spid="2"/>
                                        </p:tgtEl>
                                        <p:attrNameLst>
                                          <p:attrName>style.visibility</p:attrName>
                                        </p:attrNameLst>
                                      </p:cBhvr>
                                      <p:to>
                                        <p:strVal val="visible"/>
                                      </p:to>
                                    </p:set>
                                    <p:animEffect transition="in" filter="wipe(down)">
                                      <p:cBhvr>
                                        <p:cTn id="31"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6" grpId="0"/>
      <p:bldP spid="57" grpId="0"/>
      <p:bldP spid="58" grpId="0"/>
      <p:bldP spid="59" grpId="0"/>
      <p:bldP spid="60" grpId="0"/>
    </p:bldLst>
  </p:timing>
</p:sld>
</file>

<file path=ppt/slides/slide6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70ADFFC-C5CE-4733-89B8-EF62AC93DC8F}"/>
              </a:ext>
            </a:extLst>
          </p:cNvPr>
          <p:cNvSpPr/>
          <p:nvPr/>
        </p:nvSpPr>
        <p:spPr>
          <a:xfrm>
            <a:off x="0" y="6295049"/>
            <a:ext cx="12192000" cy="562951"/>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FFFFFF"/>
              </a:solidFill>
              <a:effectLst/>
              <a:uLnTx/>
              <a:uFillTx/>
              <a:latin typeface="等线" panose="020F0502020204030204"/>
              <a:ea typeface="+mn-ea"/>
              <a:cs typeface="+mn-cs"/>
            </a:endParaRPr>
          </a:p>
        </p:txBody>
      </p:sp>
      <p:sp>
        <p:nvSpPr>
          <p:cNvPr id="3" name="Freeform 5">
            <a:extLst>
              <a:ext uri="{FF2B5EF4-FFF2-40B4-BE49-F238E27FC236}">
                <a16:creationId xmlns:a16="http://schemas.microsoft.com/office/drawing/2014/main" id="{7CD21CF8-8064-4073-8D01-9EED4B217325}"/>
              </a:ext>
            </a:extLst>
          </p:cNvPr>
          <p:cNvSpPr>
            <a:spLocks/>
          </p:cNvSpPr>
          <p:nvPr/>
        </p:nvSpPr>
        <p:spPr bwMode="auto">
          <a:xfrm>
            <a:off x="6668784" y="2333906"/>
            <a:ext cx="3380159" cy="4106286"/>
          </a:xfrm>
          <a:custGeom>
            <a:avLst/>
            <a:gdLst>
              <a:gd name="T0" fmla="*/ 8964 w 14406"/>
              <a:gd name="T1" fmla="*/ 14277 h 18578"/>
              <a:gd name="T2" fmla="*/ 8529 w 14406"/>
              <a:gd name="T3" fmla="*/ 10889 h 18578"/>
              <a:gd name="T4" fmla="*/ 8828 w 14406"/>
              <a:gd name="T5" fmla="*/ 9188 h 18578"/>
              <a:gd name="T6" fmla="*/ 10296 w 14406"/>
              <a:gd name="T7" fmla="*/ 7263 h 18578"/>
              <a:gd name="T8" fmla="*/ 12192 w 14406"/>
              <a:gd name="T9" fmla="*/ 6173 h 18578"/>
              <a:gd name="T10" fmla="*/ 13323 w 14406"/>
              <a:gd name="T11" fmla="*/ 6019 h 18578"/>
              <a:gd name="T12" fmla="*/ 12573 w 14406"/>
              <a:gd name="T13" fmla="*/ 5873 h 18578"/>
              <a:gd name="T14" fmla="*/ 10785 w 14406"/>
              <a:gd name="T15" fmla="*/ 6147 h 18578"/>
              <a:gd name="T16" fmla="*/ 9133 w 14406"/>
              <a:gd name="T17" fmla="*/ 7542 h 18578"/>
              <a:gd name="T18" fmla="*/ 8356 w 14406"/>
              <a:gd name="T19" fmla="*/ 8600 h 18578"/>
              <a:gd name="T20" fmla="*/ 8168 w 14406"/>
              <a:gd name="T21" fmla="*/ 8629 h 18578"/>
              <a:gd name="T22" fmla="*/ 8305 w 14406"/>
              <a:gd name="T23" fmla="*/ 6991 h 18578"/>
              <a:gd name="T24" fmla="*/ 9272 w 14406"/>
              <a:gd name="T25" fmla="*/ 5265 h 18578"/>
              <a:gd name="T26" fmla="*/ 11433 w 14406"/>
              <a:gd name="T27" fmla="*/ 3901 h 18578"/>
              <a:gd name="T28" fmla="*/ 13149 w 14406"/>
              <a:gd name="T29" fmla="*/ 2660 h 18578"/>
              <a:gd name="T30" fmla="*/ 14026 w 14406"/>
              <a:gd name="T31" fmla="*/ 1242 h 18578"/>
              <a:gd name="T32" fmla="*/ 14361 w 14406"/>
              <a:gd name="T33" fmla="*/ 323 h 18578"/>
              <a:gd name="T34" fmla="*/ 14142 w 14406"/>
              <a:gd name="T35" fmla="*/ 655 h 18578"/>
              <a:gd name="T36" fmla="*/ 13104 w 14406"/>
              <a:gd name="T37" fmla="*/ 2126 h 18578"/>
              <a:gd name="T38" fmla="*/ 11467 w 14406"/>
              <a:gd name="T39" fmla="*/ 3098 h 18578"/>
              <a:gd name="T40" fmla="*/ 9868 w 14406"/>
              <a:gd name="T41" fmla="*/ 4024 h 18578"/>
              <a:gd name="T42" fmla="*/ 9062 w 14406"/>
              <a:gd name="T43" fmla="*/ 4599 h 18578"/>
              <a:gd name="T44" fmla="*/ 9797 w 14406"/>
              <a:gd name="T45" fmla="*/ 3488 h 18578"/>
              <a:gd name="T46" fmla="*/ 10224 w 14406"/>
              <a:gd name="T47" fmla="*/ 2300 h 18578"/>
              <a:gd name="T48" fmla="*/ 10239 w 14406"/>
              <a:gd name="T49" fmla="*/ 1475 h 18578"/>
              <a:gd name="T50" fmla="*/ 10145 w 14406"/>
              <a:gd name="T51" fmla="*/ 1159 h 18578"/>
              <a:gd name="T52" fmla="*/ 10081 w 14406"/>
              <a:gd name="T53" fmla="*/ 1973 h 18578"/>
              <a:gd name="T54" fmla="*/ 9394 w 14406"/>
              <a:gd name="T55" fmla="*/ 3287 h 18578"/>
              <a:gd name="T56" fmla="*/ 8192 w 14406"/>
              <a:gd name="T57" fmla="*/ 4939 h 18578"/>
              <a:gd name="T58" fmla="*/ 7530 w 14406"/>
              <a:gd name="T59" fmla="*/ 6600 h 18578"/>
              <a:gd name="T60" fmla="*/ 7067 w 14406"/>
              <a:gd name="T61" fmla="*/ 6433 h 18578"/>
              <a:gd name="T62" fmla="*/ 6381 w 14406"/>
              <a:gd name="T63" fmla="*/ 4661 h 18578"/>
              <a:gd name="T64" fmla="*/ 6396 w 14406"/>
              <a:gd name="T65" fmla="*/ 2312 h 18578"/>
              <a:gd name="T66" fmla="*/ 7148 w 14406"/>
              <a:gd name="T67" fmla="*/ 643 h 18578"/>
              <a:gd name="T68" fmla="*/ 7678 w 14406"/>
              <a:gd name="T69" fmla="*/ 1 h 18578"/>
              <a:gd name="T70" fmla="*/ 7138 w 14406"/>
              <a:gd name="T71" fmla="*/ 268 h 18578"/>
              <a:gd name="T72" fmla="*/ 6342 w 14406"/>
              <a:gd name="T73" fmla="*/ 1134 h 18578"/>
              <a:gd name="T74" fmla="*/ 5831 w 14406"/>
              <a:gd name="T75" fmla="*/ 2291 h 18578"/>
              <a:gd name="T76" fmla="*/ 5809 w 14406"/>
              <a:gd name="T77" fmla="*/ 2920 h 18578"/>
              <a:gd name="T78" fmla="*/ 5648 w 14406"/>
              <a:gd name="T79" fmla="*/ 2575 h 18578"/>
              <a:gd name="T80" fmla="*/ 5088 w 14406"/>
              <a:gd name="T81" fmla="*/ 1609 h 18578"/>
              <a:gd name="T82" fmla="*/ 3930 w 14406"/>
              <a:gd name="T83" fmla="*/ 570 h 18578"/>
              <a:gd name="T84" fmla="*/ 2618 w 14406"/>
              <a:gd name="T85" fmla="*/ 237 h 18578"/>
              <a:gd name="T86" fmla="*/ 2666 w 14406"/>
              <a:gd name="T87" fmla="*/ 348 h 18578"/>
              <a:gd name="T88" fmla="*/ 4335 w 14406"/>
              <a:gd name="T89" fmla="*/ 1331 h 18578"/>
              <a:gd name="T90" fmla="*/ 5562 w 14406"/>
              <a:gd name="T91" fmla="*/ 3576 h 18578"/>
              <a:gd name="T92" fmla="*/ 6051 w 14406"/>
              <a:gd name="T93" fmla="*/ 5777 h 18578"/>
              <a:gd name="T94" fmla="*/ 6505 w 14406"/>
              <a:gd name="T95" fmla="*/ 6975 h 18578"/>
              <a:gd name="T96" fmla="*/ 7050 w 14406"/>
              <a:gd name="T97" fmla="*/ 8042 h 18578"/>
              <a:gd name="T98" fmla="*/ 6700 w 14406"/>
              <a:gd name="T99" fmla="*/ 9618 h 18578"/>
              <a:gd name="T100" fmla="*/ 5025 w 14406"/>
              <a:gd name="T101" fmla="*/ 8665 h 18578"/>
              <a:gd name="T102" fmla="*/ 3483 w 14406"/>
              <a:gd name="T103" fmla="*/ 6371 h 18578"/>
              <a:gd name="T104" fmla="*/ 1533 w 14406"/>
              <a:gd name="T105" fmla="*/ 4220 h 18578"/>
              <a:gd name="T106" fmla="*/ 31 w 14406"/>
              <a:gd name="T107" fmla="*/ 3194 h 18578"/>
              <a:gd name="T108" fmla="*/ 1091 w 14406"/>
              <a:gd name="T109" fmla="*/ 4173 h 18578"/>
              <a:gd name="T110" fmla="*/ 2925 w 14406"/>
              <a:gd name="T111" fmla="*/ 6649 h 18578"/>
              <a:gd name="T112" fmla="*/ 4534 w 14406"/>
              <a:gd name="T113" fmla="*/ 9665 h 18578"/>
              <a:gd name="T114" fmla="*/ 6554 w 14406"/>
              <a:gd name="T115" fmla="*/ 11002 h 18578"/>
              <a:gd name="T116" fmla="*/ 7391 w 14406"/>
              <a:gd name="T117" fmla="*/ 11628 h 18578"/>
              <a:gd name="T118" fmla="*/ 7355 w 14406"/>
              <a:gd name="T119" fmla="*/ 13512 h 18578"/>
              <a:gd name="T120" fmla="*/ 6997 w 14406"/>
              <a:gd name="T121" fmla="*/ 16006 h 18578"/>
              <a:gd name="T122" fmla="*/ 6140 w 14406"/>
              <a:gd name="T123" fmla="*/ 17787 h 18578"/>
              <a:gd name="T124" fmla="*/ 5425 w 14406"/>
              <a:gd name="T125" fmla="*/ 18536 h 185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4406" h="18578">
                <a:moveTo>
                  <a:pt x="5369" y="18578"/>
                </a:moveTo>
                <a:lnTo>
                  <a:pt x="9559" y="18578"/>
                </a:lnTo>
                <a:lnTo>
                  <a:pt x="9552" y="18522"/>
                </a:lnTo>
                <a:lnTo>
                  <a:pt x="9530" y="18364"/>
                </a:lnTo>
                <a:lnTo>
                  <a:pt x="9495" y="18115"/>
                </a:lnTo>
                <a:lnTo>
                  <a:pt x="9450" y="17786"/>
                </a:lnTo>
                <a:lnTo>
                  <a:pt x="9395" y="17390"/>
                </a:lnTo>
                <a:lnTo>
                  <a:pt x="9333" y="16940"/>
                </a:lnTo>
                <a:lnTo>
                  <a:pt x="9265" y="16445"/>
                </a:lnTo>
                <a:lnTo>
                  <a:pt x="9192" y="15920"/>
                </a:lnTo>
                <a:lnTo>
                  <a:pt x="9116" y="15376"/>
                </a:lnTo>
                <a:lnTo>
                  <a:pt x="9041" y="14824"/>
                </a:lnTo>
                <a:lnTo>
                  <a:pt x="8964" y="14277"/>
                </a:lnTo>
                <a:lnTo>
                  <a:pt x="8891" y="13747"/>
                </a:lnTo>
                <a:lnTo>
                  <a:pt x="8821" y="13245"/>
                </a:lnTo>
                <a:lnTo>
                  <a:pt x="8758" y="12784"/>
                </a:lnTo>
                <a:lnTo>
                  <a:pt x="8700" y="12375"/>
                </a:lnTo>
                <a:lnTo>
                  <a:pt x="8652" y="12032"/>
                </a:lnTo>
                <a:lnTo>
                  <a:pt x="8630" y="11879"/>
                </a:lnTo>
                <a:lnTo>
                  <a:pt x="8610" y="11730"/>
                </a:lnTo>
                <a:lnTo>
                  <a:pt x="8592" y="11583"/>
                </a:lnTo>
                <a:lnTo>
                  <a:pt x="8574" y="11441"/>
                </a:lnTo>
                <a:lnTo>
                  <a:pt x="8559" y="11299"/>
                </a:lnTo>
                <a:lnTo>
                  <a:pt x="8546" y="11161"/>
                </a:lnTo>
                <a:lnTo>
                  <a:pt x="8536" y="11024"/>
                </a:lnTo>
                <a:lnTo>
                  <a:pt x="8529" y="10889"/>
                </a:lnTo>
                <a:lnTo>
                  <a:pt x="8524" y="10756"/>
                </a:lnTo>
                <a:lnTo>
                  <a:pt x="8523" y="10623"/>
                </a:lnTo>
                <a:lnTo>
                  <a:pt x="8527" y="10492"/>
                </a:lnTo>
                <a:lnTo>
                  <a:pt x="8534" y="10362"/>
                </a:lnTo>
                <a:lnTo>
                  <a:pt x="8545" y="10232"/>
                </a:lnTo>
                <a:lnTo>
                  <a:pt x="8561" y="10103"/>
                </a:lnTo>
                <a:lnTo>
                  <a:pt x="8582" y="9974"/>
                </a:lnTo>
                <a:lnTo>
                  <a:pt x="8608" y="9844"/>
                </a:lnTo>
                <a:lnTo>
                  <a:pt x="8640" y="9715"/>
                </a:lnTo>
                <a:lnTo>
                  <a:pt x="8678" y="9584"/>
                </a:lnTo>
                <a:lnTo>
                  <a:pt x="8722" y="9453"/>
                </a:lnTo>
                <a:lnTo>
                  <a:pt x="8772" y="9322"/>
                </a:lnTo>
                <a:lnTo>
                  <a:pt x="8828" y="9188"/>
                </a:lnTo>
                <a:lnTo>
                  <a:pt x="8892" y="9053"/>
                </a:lnTo>
                <a:lnTo>
                  <a:pt x="8963" y="8916"/>
                </a:lnTo>
                <a:lnTo>
                  <a:pt x="9042" y="8778"/>
                </a:lnTo>
                <a:lnTo>
                  <a:pt x="9129" y="8638"/>
                </a:lnTo>
                <a:lnTo>
                  <a:pt x="9224" y="8494"/>
                </a:lnTo>
                <a:lnTo>
                  <a:pt x="9328" y="8348"/>
                </a:lnTo>
                <a:lnTo>
                  <a:pt x="9440" y="8199"/>
                </a:lnTo>
                <a:lnTo>
                  <a:pt x="9562" y="8048"/>
                </a:lnTo>
                <a:lnTo>
                  <a:pt x="9692" y="7892"/>
                </a:lnTo>
                <a:lnTo>
                  <a:pt x="9834" y="7733"/>
                </a:lnTo>
                <a:lnTo>
                  <a:pt x="9984" y="7571"/>
                </a:lnTo>
                <a:lnTo>
                  <a:pt x="10140" y="7411"/>
                </a:lnTo>
                <a:lnTo>
                  <a:pt x="10296" y="7263"/>
                </a:lnTo>
                <a:lnTo>
                  <a:pt x="10452" y="7126"/>
                </a:lnTo>
                <a:lnTo>
                  <a:pt x="10607" y="6999"/>
                </a:lnTo>
                <a:lnTo>
                  <a:pt x="10763" y="6882"/>
                </a:lnTo>
                <a:lnTo>
                  <a:pt x="10916" y="6775"/>
                </a:lnTo>
                <a:lnTo>
                  <a:pt x="11068" y="6676"/>
                </a:lnTo>
                <a:lnTo>
                  <a:pt x="11219" y="6587"/>
                </a:lnTo>
                <a:lnTo>
                  <a:pt x="11366" y="6506"/>
                </a:lnTo>
                <a:lnTo>
                  <a:pt x="11513" y="6433"/>
                </a:lnTo>
                <a:lnTo>
                  <a:pt x="11656" y="6368"/>
                </a:lnTo>
                <a:lnTo>
                  <a:pt x="11795" y="6310"/>
                </a:lnTo>
                <a:lnTo>
                  <a:pt x="11932" y="6257"/>
                </a:lnTo>
                <a:lnTo>
                  <a:pt x="12064" y="6212"/>
                </a:lnTo>
                <a:lnTo>
                  <a:pt x="12192" y="6173"/>
                </a:lnTo>
                <a:lnTo>
                  <a:pt x="12316" y="6139"/>
                </a:lnTo>
                <a:lnTo>
                  <a:pt x="12435" y="6110"/>
                </a:lnTo>
                <a:lnTo>
                  <a:pt x="12548" y="6085"/>
                </a:lnTo>
                <a:lnTo>
                  <a:pt x="12656" y="6067"/>
                </a:lnTo>
                <a:lnTo>
                  <a:pt x="12759" y="6051"/>
                </a:lnTo>
                <a:lnTo>
                  <a:pt x="12854" y="6039"/>
                </a:lnTo>
                <a:lnTo>
                  <a:pt x="12943" y="6030"/>
                </a:lnTo>
                <a:lnTo>
                  <a:pt x="13027" y="6024"/>
                </a:lnTo>
                <a:lnTo>
                  <a:pt x="13101" y="6019"/>
                </a:lnTo>
                <a:lnTo>
                  <a:pt x="13170" y="6018"/>
                </a:lnTo>
                <a:lnTo>
                  <a:pt x="13229" y="6017"/>
                </a:lnTo>
                <a:lnTo>
                  <a:pt x="13280" y="6018"/>
                </a:lnTo>
                <a:lnTo>
                  <a:pt x="13323" y="6019"/>
                </a:lnTo>
                <a:lnTo>
                  <a:pt x="13382" y="6023"/>
                </a:lnTo>
                <a:lnTo>
                  <a:pt x="13402" y="6025"/>
                </a:lnTo>
                <a:lnTo>
                  <a:pt x="13378" y="6018"/>
                </a:lnTo>
                <a:lnTo>
                  <a:pt x="13312" y="5998"/>
                </a:lnTo>
                <a:lnTo>
                  <a:pt x="13264" y="5986"/>
                </a:lnTo>
                <a:lnTo>
                  <a:pt x="13206" y="5972"/>
                </a:lnTo>
                <a:lnTo>
                  <a:pt x="13138" y="5957"/>
                </a:lnTo>
                <a:lnTo>
                  <a:pt x="13063" y="5941"/>
                </a:lnTo>
                <a:lnTo>
                  <a:pt x="12979" y="5925"/>
                </a:lnTo>
                <a:lnTo>
                  <a:pt x="12887" y="5910"/>
                </a:lnTo>
                <a:lnTo>
                  <a:pt x="12789" y="5896"/>
                </a:lnTo>
                <a:lnTo>
                  <a:pt x="12684" y="5883"/>
                </a:lnTo>
                <a:lnTo>
                  <a:pt x="12573" y="5873"/>
                </a:lnTo>
                <a:lnTo>
                  <a:pt x="12455" y="5865"/>
                </a:lnTo>
                <a:lnTo>
                  <a:pt x="12334" y="5860"/>
                </a:lnTo>
                <a:lnTo>
                  <a:pt x="12207" y="5859"/>
                </a:lnTo>
                <a:lnTo>
                  <a:pt x="12076" y="5861"/>
                </a:lnTo>
                <a:lnTo>
                  <a:pt x="11941" y="5868"/>
                </a:lnTo>
                <a:lnTo>
                  <a:pt x="11803" y="5880"/>
                </a:lnTo>
                <a:lnTo>
                  <a:pt x="11662" y="5899"/>
                </a:lnTo>
                <a:lnTo>
                  <a:pt x="11519" y="5922"/>
                </a:lnTo>
                <a:lnTo>
                  <a:pt x="11373" y="5952"/>
                </a:lnTo>
                <a:lnTo>
                  <a:pt x="11227" y="5989"/>
                </a:lnTo>
                <a:lnTo>
                  <a:pt x="11080" y="6033"/>
                </a:lnTo>
                <a:lnTo>
                  <a:pt x="10932" y="6087"/>
                </a:lnTo>
                <a:lnTo>
                  <a:pt x="10785" y="6147"/>
                </a:lnTo>
                <a:lnTo>
                  <a:pt x="10637" y="6218"/>
                </a:lnTo>
                <a:lnTo>
                  <a:pt x="10491" y="6297"/>
                </a:lnTo>
                <a:lnTo>
                  <a:pt x="10346" y="6386"/>
                </a:lnTo>
                <a:lnTo>
                  <a:pt x="10203" y="6487"/>
                </a:lnTo>
                <a:lnTo>
                  <a:pt x="10064" y="6598"/>
                </a:lnTo>
                <a:lnTo>
                  <a:pt x="9926" y="6721"/>
                </a:lnTo>
                <a:lnTo>
                  <a:pt x="9793" y="6847"/>
                </a:lnTo>
                <a:lnTo>
                  <a:pt x="9668" y="6971"/>
                </a:lnTo>
                <a:lnTo>
                  <a:pt x="9548" y="7092"/>
                </a:lnTo>
                <a:lnTo>
                  <a:pt x="9436" y="7209"/>
                </a:lnTo>
                <a:lnTo>
                  <a:pt x="9329" y="7324"/>
                </a:lnTo>
                <a:lnTo>
                  <a:pt x="9228" y="7435"/>
                </a:lnTo>
                <a:lnTo>
                  <a:pt x="9133" y="7542"/>
                </a:lnTo>
                <a:lnTo>
                  <a:pt x="9043" y="7646"/>
                </a:lnTo>
                <a:lnTo>
                  <a:pt x="8960" y="7746"/>
                </a:lnTo>
                <a:lnTo>
                  <a:pt x="8881" y="7843"/>
                </a:lnTo>
                <a:lnTo>
                  <a:pt x="8808" y="7936"/>
                </a:lnTo>
                <a:lnTo>
                  <a:pt x="8739" y="8026"/>
                </a:lnTo>
                <a:lnTo>
                  <a:pt x="8676" y="8112"/>
                </a:lnTo>
                <a:lnTo>
                  <a:pt x="8617" y="8193"/>
                </a:lnTo>
                <a:lnTo>
                  <a:pt x="8564" y="8271"/>
                </a:lnTo>
                <a:lnTo>
                  <a:pt x="8514" y="8345"/>
                </a:lnTo>
                <a:lnTo>
                  <a:pt x="8469" y="8415"/>
                </a:lnTo>
                <a:lnTo>
                  <a:pt x="8427" y="8481"/>
                </a:lnTo>
                <a:lnTo>
                  <a:pt x="8390" y="8542"/>
                </a:lnTo>
                <a:lnTo>
                  <a:pt x="8356" y="8600"/>
                </a:lnTo>
                <a:lnTo>
                  <a:pt x="8326" y="8654"/>
                </a:lnTo>
                <a:lnTo>
                  <a:pt x="8299" y="8703"/>
                </a:lnTo>
                <a:lnTo>
                  <a:pt x="8276" y="8747"/>
                </a:lnTo>
                <a:lnTo>
                  <a:pt x="8256" y="8787"/>
                </a:lnTo>
                <a:lnTo>
                  <a:pt x="8225" y="8854"/>
                </a:lnTo>
                <a:lnTo>
                  <a:pt x="8204" y="8902"/>
                </a:lnTo>
                <a:lnTo>
                  <a:pt x="8191" y="8931"/>
                </a:lnTo>
                <a:lnTo>
                  <a:pt x="8188" y="8942"/>
                </a:lnTo>
                <a:lnTo>
                  <a:pt x="8185" y="8914"/>
                </a:lnTo>
                <a:lnTo>
                  <a:pt x="8178" y="8834"/>
                </a:lnTo>
                <a:lnTo>
                  <a:pt x="8175" y="8776"/>
                </a:lnTo>
                <a:lnTo>
                  <a:pt x="8171" y="8707"/>
                </a:lnTo>
                <a:lnTo>
                  <a:pt x="8168" y="8629"/>
                </a:lnTo>
                <a:lnTo>
                  <a:pt x="8165" y="8541"/>
                </a:lnTo>
                <a:lnTo>
                  <a:pt x="8163" y="8444"/>
                </a:lnTo>
                <a:lnTo>
                  <a:pt x="8163" y="8338"/>
                </a:lnTo>
                <a:lnTo>
                  <a:pt x="8164" y="8225"/>
                </a:lnTo>
                <a:lnTo>
                  <a:pt x="8168" y="8106"/>
                </a:lnTo>
                <a:lnTo>
                  <a:pt x="8174" y="7980"/>
                </a:lnTo>
                <a:lnTo>
                  <a:pt x="8182" y="7850"/>
                </a:lnTo>
                <a:lnTo>
                  <a:pt x="8192" y="7715"/>
                </a:lnTo>
                <a:lnTo>
                  <a:pt x="8207" y="7575"/>
                </a:lnTo>
                <a:lnTo>
                  <a:pt x="8226" y="7432"/>
                </a:lnTo>
                <a:lnTo>
                  <a:pt x="8248" y="7287"/>
                </a:lnTo>
                <a:lnTo>
                  <a:pt x="8273" y="7140"/>
                </a:lnTo>
                <a:lnTo>
                  <a:pt x="8305" y="6991"/>
                </a:lnTo>
                <a:lnTo>
                  <a:pt x="8341" y="6843"/>
                </a:lnTo>
                <a:lnTo>
                  <a:pt x="8381" y="6694"/>
                </a:lnTo>
                <a:lnTo>
                  <a:pt x="8429" y="6545"/>
                </a:lnTo>
                <a:lnTo>
                  <a:pt x="8481" y="6399"/>
                </a:lnTo>
                <a:lnTo>
                  <a:pt x="8541" y="6255"/>
                </a:lnTo>
                <a:lnTo>
                  <a:pt x="8606" y="6114"/>
                </a:lnTo>
                <a:lnTo>
                  <a:pt x="8678" y="5976"/>
                </a:lnTo>
                <a:lnTo>
                  <a:pt x="8758" y="5844"/>
                </a:lnTo>
                <a:lnTo>
                  <a:pt x="8845" y="5716"/>
                </a:lnTo>
                <a:lnTo>
                  <a:pt x="8939" y="5593"/>
                </a:lnTo>
                <a:lnTo>
                  <a:pt x="9042" y="5477"/>
                </a:lnTo>
                <a:lnTo>
                  <a:pt x="9154" y="5369"/>
                </a:lnTo>
                <a:lnTo>
                  <a:pt x="9272" y="5265"/>
                </a:lnTo>
                <a:lnTo>
                  <a:pt x="9396" y="5164"/>
                </a:lnTo>
                <a:lnTo>
                  <a:pt x="9524" y="5065"/>
                </a:lnTo>
                <a:lnTo>
                  <a:pt x="9657" y="4968"/>
                </a:lnTo>
                <a:lnTo>
                  <a:pt x="9793" y="4873"/>
                </a:lnTo>
                <a:lnTo>
                  <a:pt x="9934" y="4780"/>
                </a:lnTo>
                <a:lnTo>
                  <a:pt x="10077" y="4689"/>
                </a:lnTo>
                <a:lnTo>
                  <a:pt x="10222" y="4598"/>
                </a:lnTo>
                <a:lnTo>
                  <a:pt x="10370" y="4510"/>
                </a:lnTo>
                <a:lnTo>
                  <a:pt x="10520" y="4422"/>
                </a:lnTo>
                <a:lnTo>
                  <a:pt x="10671" y="4334"/>
                </a:lnTo>
                <a:lnTo>
                  <a:pt x="10823" y="4247"/>
                </a:lnTo>
                <a:lnTo>
                  <a:pt x="11128" y="4074"/>
                </a:lnTo>
                <a:lnTo>
                  <a:pt x="11433" y="3901"/>
                </a:lnTo>
                <a:lnTo>
                  <a:pt x="11582" y="3814"/>
                </a:lnTo>
                <a:lnTo>
                  <a:pt x="11732" y="3726"/>
                </a:lnTo>
                <a:lnTo>
                  <a:pt x="11878" y="3638"/>
                </a:lnTo>
                <a:lnTo>
                  <a:pt x="12024" y="3547"/>
                </a:lnTo>
                <a:lnTo>
                  <a:pt x="12165" y="3457"/>
                </a:lnTo>
                <a:lnTo>
                  <a:pt x="12303" y="3364"/>
                </a:lnTo>
                <a:lnTo>
                  <a:pt x="12439" y="3270"/>
                </a:lnTo>
                <a:lnTo>
                  <a:pt x="12569" y="3175"/>
                </a:lnTo>
                <a:lnTo>
                  <a:pt x="12696" y="3077"/>
                </a:lnTo>
                <a:lnTo>
                  <a:pt x="12818" y="2976"/>
                </a:lnTo>
                <a:lnTo>
                  <a:pt x="12934" y="2874"/>
                </a:lnTo>
                <a:lnTo>
                  <a:pt x="13044" y="2768"/>
                </a:lnTo>
                <a:lnTo>
                  <a:pt x="13149" y="2660"/>
                </a:lnTo>
                <a:lnTo>
                  <a:pt x="13247" y="2550"/>
                </a:lnTo>
                <a:lnTo>
                  <a:pt x="13338" y="2435"/>
                </a:lnTo>
                <a:lnTo>
                  <a:pt x="13421" y="2318"/>
                </a:lnTo>
                <a:lnTo>
                  <a:pt x="13499" y="2199"/>
                </a:lnTo>
                <a:lnTo>
                  <a:pt x="13572" y="2083"/>
                </a:lnTo>
                <a:lnTo>
                  <a:pt x="13642" y="1968"/>
                </a:lnTo>
                <a:lnTo>
                  <a:pt x="13707" y="1857"/>
                </a:lnTo>
                <a:lnTo>
                  <a:pt x="13770" y="1747"/>
                </a:lnTo>
                <a:lnTo>
                  <a:pt x="13828" y="1641"/>
                </a:lnTo>
                <a:lnTo>
                  <a:pt x="13882" y="1537"/>
                </a:lnTo>
                <a:lnTo>
                  <a:pt x="13933" y="1435"/>
                </a:lnTo>
                <a:lnTo>
                  <a:pt x="13981" y="1338"/>
                </a:lnTo>
                <a:lnTo>
                  <a:pt x="14026" y="1242"/>
                </a:lnTo>
                <a:lnTo>
                  <a:pt x="14068" y="1150"/>
                </a:lnTo>
                <a:lnTo>
                  <a:pt x="14106" y="1061"/>
                </a:lnTo>
                <a:lnTo>
                  <a:pt x="14141" y="975"/>
                </a:lnTo>
                <a:lnTo>
                  <a:pt x="14175" y="893"/>
                </a:lnTo>
                <a:lnTo>
                  <a:pt x="14205" y="814"/>
                </a:lnTo>
                <a:lnTo>
                  <a:pt x="14232" y="738"/>
                </a:lnTo>
                <a:lnTo>
                  <a:pt x="14257" y="668"/>
                </a:lnTo>
                <a:lnTo>
                  <a:pt x="14279" y="599"/>
                </a:lnTo>
                <a:lnTo>
                  <a:pt x="14300" y="536"/>
                </a:lnTo>
                <a:lnTo>
                  <a:pt x="14319" y="476"/>
                </a:lnTo>
                <a:lnTo>
                  <a:pt x="14334" y="420"/>
                </a:lnTo>
                <a:lnTo>
                  <a:pt x="14349" y="369"/>
                </a:lnTo>
                <a:lnTo>
                  <a:pt x="14361" y="323"/>
                </a:lnTo>
                <a:lnTo>
                  <a:pt x="14371" y="281"/>
                </a:lnTo>
                <a:lnTo>
                  <a:pt x="14387" y="210"/>
                </a:lnTo>
                <a:lnTo>
                  <a:pt x="14399" y="158"/>
                </a:lnTo>
                <a:lnTo>
                  <a:pt x="14405" y="127"/>
                </a:lnTo>
                <a:lnTo>
                  <a:pt x="14406" y="116"/>
                </a:lnTo>
                <a:lnTo>
                  <a:pt x="14396" y="142"/>
                </a:lnTo>
                <a:lnTo>
                  <a:pt x="14363" y="214"/>
                </a:lnTo>
                <a:lnTo>
                  <a:pt x="14339" y="266"/>
                </a:lnTo>
                <a:lnTo>
                  <a:pt x="14310" y="327"/>
                </a:lnTo>
                <a:lnTo>
                  <a:pt x="14275" y="398"/>
                </a:lnTo>
                <a:lnTo>
                  <a:pt x="14235" y="477"/>
                </a:lnTo>
                <a:lnTo>
                  <a:pt x="14191" y="563"/>
                </a:lnTo>
                <a:lnTo>
                  <a:pt x="14142" y="655"/>
                </a:lnTo>
                <a:lnTo>
                  <a:pt x="14089" y="754"/>
                </a:lnTo>
                <a:lnTo>
                  <a:pt x="14030" y="857"/>
                </a:lnTo>
                <a:lnTo>
                  <a:pt x="13967" y="965"/>
                </a:lnTo>
                <a:lnTo>
                  <a:pt x="13900" y="1076"/>
                </a:lnTo>
                <a:lnTo>
                  <a:pt x="13828" y="1191"/>
                </a:lnTo>
                <a:lnTo>
                  <a:pt x="13752" y="1309"/>
                </a:lnTo>
                <a:lnTo>
                  <a:pt x="13671" y="1427"/>
                </a:lnTo>
                <a:lnTo>
                  <a:pt x="13586" y="1545"/>
                </a:lnTo>
                <a:lnTo>
                  <a:pt x="13498" y="1665"/>
                </a:lnTo>
                <a:lnTo>
                  <a:pt x="13405" y="1783"/>
                </a:lnTo>
                <a:lnTo>
                  <a:pt x="13309" y="1900"/>
                </a:lnTo>
                <a:lnTo>
                  <a:pt x="13209" y="2015"/>
                </a:lnTo>
                <a:lnTo>
                  <a:pt x="13104" y="2126"/>
                </a:lnTo>
                <a:lnTo>
                  <a:pt x="12997" y="2234"/>
                </a:lnTo>
                <a:lnTo>
                  <a:pt x="12885" y="2337"/>
                </a:lnTo>
                <a:lnTo>
                  <a:pt x="12770" y="2436"/>
                </a:lnTo>
                <a:lnTo>
                  <a:pt x="12652" y="2529"/>
                </a:lnTo>
                <a:lnTo>
                  <a:pt x="12530" y="2615"/>
                </a:lnTo>
                <a:lnTo>
                  <a:pt x="12406" y="2693"/>
                </a:lnTo>
                <a:lnTo>
                  <a:pt x="12277" y="2763"/>
                </a:lnTo>
                <a:lnTo>
                  <a:pt x="12145" y="2825"/>
                </a:lnTo>
                <a:lnTo>
                  <a:pt x="12012" y="2877"/>
                </a:lnTo>
                <a:lnTo>
                  <a:pt x="11875" y="2927"/>
                </a:lnTo>
                <a:lnTo>
                  <a:pt x="11739" y="2981"/>
                </a:lnTo>
                <a:lnTo>
                  <a:pt x="11603" y="3038"/>
                </a:lnTo>
                <a:lnTo>
                  <a:pt x="11467" y="3098"/>
                </a:lnTo>
                <a:lnTo>
                  <a:pt x="11332" y="3162"/>
                </a:lnTo>
                <a:lnTo>
                  <a:pt x="11197" y="3228"/>
                </a:lnTo>
                <a:lnTo>
                  <a:pt x="11065" y="3296"/>
                </a:lnTo>
                <a:lnTo>
                  <a:pt x="10933" y="3367"/>
                </a:lnTo>
                <a:lnTo>
                  <a:pt x="10803" y="3439"/>
                </a:lnTo>
                <a:lnTo>
                  <a:pt x="10676" y="3512"/>
                </a:lnTo>
                <a:lnTo>
                  <a:pt x="10550" y="3586"/>
                </a:lnTo>
                <a:lnTo>
                  <a:pt x="10428" y="3660"/>
                </a:lnTo>
                <a:lnTo>
                  <a:pt x="10309" y="3734"/>
                </a:lnTo>
                <a:lnTo>
                  <a:pt x="10193" y="3808"/>
                </a:lnTo>
                <a:lnTo>
                  <a:pt x="10080" y="3882"/>
                </a:lnTo>
                <a:lnTo>
                  <a:pt x="9972" y="3954"/>
                </a:lnTo>
                <a:lnTo>
                  <a:pt x="9868" y="4024"/>
                </a:lnTo>
                <a:lnTo>
                  <a:pt x="9768" y="4094"/>
                </a:lnTo>
                <a:lnTo>
                  <a:pt x="9674" y="4160"/>
                </a:lnTo>
                <a:lnTo>
                  <a:pt x="9583" y="4224"/>
                </a:lnTo>
                <a:lnTo>
                  <a:pt x="9500" y="4286"/>
                </a:lnTo>
                <a:lnTo>
                  <a:pt x="9421" y="4344"/>
                </a:lnTo>
                <a:lnTo>
                  <a:pt x="9349" y="4397"/>
                </a:lnTo>
                <a:lnTo>
                  <a:pt x="9282" y="4447"/>
                </a:lnTo>
                <a:lnTo>
                  <a:pt x="9171" y="4533"/>
                </a:lnTo>
                <a:lnTo>
                  <a:pt x="9087" y="4598"/>
                </a:lnTo>
                <a:lnTo>
                  <a:pt x="9036" y="4640"/>
                </a:lnTo>
                <a:lnTo>
                  <a:pt x="9019" y="4654"/>
                </a:lnTo>
                <a:lnTo>
                  <a:pt x="9029" y="4640"/>
                </a:lnTo>
                <a:lnTo>
                  <a:pt x="9062" y="4599"/>
                </a:lnTo>
                <a:lnTo>
                  <a:pt x="9112" y="4534"/>
                </a:lnTo>
                <a:lnTo>
                  <a:pt x="9178" y="4446"/>
                </a:lnTo>
                <a:lnTo>
                  <a:pt x="9257" y="4339"/>
                </a:lnTo>
                <a:lnTo>
                  <a:pt x="9345" y="4214"/>
                </a:lnTo>
                <a:lnTo>
                  <a:pt x="9393" y="4144"/>
                </a:lnTo>
                <a:lnTo>
                  <a:pt x="9441" y="4072"/>
                </a:lnTo>
                <a:lnTo>
                  <a:pt x="9491" y="3997"/>
                </a:lnTo>
                <a:lnTo>
                  <a:pt x="9542" y="3918"/>
                </a:lnTo>
                <a:lnTo>
                  <a:pt x="9594" y="3836"/>
                </a:lnTo>
                <a:lnTo>
                  <a:pt x="9645" y="3753"/>
                </a:lnTo>
                <a:lnTo>
                  <a:pt x="9697" y="3667"/>
                </a:lnTo>
                <a:lnTo>
                  <a:pt x="9747" y="3579"/>
                </a:lnTo>
                <a:lnTo>
                  <a:pt x="9797" y="3488"/>
                </a:lnTo>
                <a:lnTo>
                  <a:pt x="9845" y="3397"/>
                </a:lnTo>
                <a:lnTo>
                  <a:pt x="9893" y="3305"/>
                </a:lnTo>
                <a:lnTo>
                  <a:pt x="9938" y="3212"/>
                </a:lnTo>
                <a:lnTo>
                  <a:pt x="9982" y="3119"/>
                </a:lnTo>
                <a:lnTo>
                  <a:pt x="10023" y="3025"/>
                </a:lnTo>
                <a:lnTo>
                  <a:pt x="10061" y="2931"/>
                </a:lnTo>
                <a:lnTo>
                  <a:pt x="10096" y="2838"/>
                </a:lnTo>
                <a:lnTo>
                  <a:pt x="10126" y="2745"/>
                </a:lnTo>
                <a:lnTo>
                  <a:pt x="10154" y="2652"/>
                </a:lnTo>
                <a:lnTo>
                  <a:pt x="10178" y="2561"/>
                </a:lnTo>
                <a:lnTo>
                  <a:pt x="10196" y="2472"/>
                </a:lnTo>
                <a:lnTo>
                  <a:pt x="10211" y="2385"/>
                </a:lnTo>
                <a:lnTo>
                  <a:pt x="10224" y="2300"/>
                </a:lnTo>
                <a:lnTo>
                  <a:pt x="10234" y="2219"/>
                </a:lnTo>
                <a:lnTo>
                  <a:pt x="10244" y="2141"/>
                </a:lnTo>
                <a:lnTo>
                  <a:pt x="10251" y="2066"/>
                </a:lnTo>
                <a:lnTo>
                  <a:pt x="10255" y="1994"/>
                </a:lnTo>
                <a:lnTo>
                  <a:pt x="10259" y="1925"/>
                </a:lnTo>
                <a:lnTo>
                  <a:pt x="10260" y="1859"/>
                </a:lnTo>
                <a:lnTo>
                  <a:pt x="10261" y="1795"/>
                </a:lnTo>
                <a:lnTo>
                  <a:pt x="10260" y="1735"/>
                </a:lnTo>
                <a:lnTo>
                  <a:pt x="10258" y="1677"/>
                </a:lnTo>
                <a:lnTo>
                  <a:pt x="10254" y="1622"/>
                </a:lnTo>
                <a:lnTo>
                  <a:pt x="10250" y="1570"/>
                </a:lnTo>
                <a:lnTo>
                  <a:pt x="10245" y="1521"/>
                </a:lnTo>
                <a:lnTo>
                  <a:pt x="10239" y="1475"/>
                </a:lnTo>
                <a:lnTo>
                  <a:pt x="10232" y="1432"/>
                </a:lnTo>
                <a:lnTo>
                  <a:pt x="10225" y="1391"/>
                </a:lnTo>
                <a:lnTo>
                  <a:pt x="10218" y="1353"/>
                </a:lnTo>
                <a:lnTo>
                  <a:pt x="10210" y="1318"/>
                </a:lnTo>
                <a:lnTo>
                  <a:pt x="10202" y="1285"/>
                </a:lnTo>
                <a:lnTo>
                  <a:pt x="10187" y="1228"/>
                </a:lnTo>
                <a:lnTo>
                  <a:pt x="10172" y="1182"/>
                </a:lnTo>
                <a:lnTo>
                  <a:pt x="10159" y="1146"/>
                </a:lnTo>
                <a:lnTo>
                  <a:pt x="10149" y="1120"/>
                </a:lnTo>
                <a:lnTo>
                  <a:pt x="10140" y="1105"/>
                </a:lnTo>
                <a:lnTo>
                  <a:pt x="10138" y="1101"/>
                </a:lnTo>
                <a:lnTo>
                  <a:pt x="10140" y="1116"/>
                </a:lnTo>
                <a:lnTo>
                  <a:pt x="10145" y="1159"/>
                </a:lnTo>
                <a:lnTo>
                  <a:pt x="10147" y="1190"/>
                </a:lnTo>
                <a:lnTo>
                  <a:pt x="10151" y="1227"/>
                </a:lnTo>
                <a:lnTo>
                  <a:pt x="10152" y="1271"/>
                </a:lnTo>
                <a:lnTo>
                  <a:pt x="10153" y="1320"/>
                </a:lnTo>
                <a:lnTo>
                  <a:pt x="10153" y="1375"/>
                </a:lnTo>
                <a:lnTo>
                  <a:pt x="10152" y="1434"/>
                </a:lnTo>
                <a:lnTo>
                  <a:pt x="10150" y="1499"/>
                </a:lnTo>
                <a:lnTo>
                  <a:pt x="10145" y="1569"/>
                </a:lnTo>
                <a:lnTo>
                  <a:pt x="10137" y="1642"/>
                </a:lnTo>
                <a:lnTo>
                  <a:pt x="10128" y="1720"/>
                </a:lnTo>
                <a:lnTo>
                  <a:pt x="10115" y="1801"/>
                </a:lnTo>
                <a:lnTo>
                  <a:pt x="10100" y="1886"/>
                </a:lnTo>
                <a:lnTo>
                  <a:pt x="10081" y="1973"/>
                </a:lnTo>
                <a:lnTo>
                  <a:pt x="10058" y="2064"/>
                </a:lnTo>
                <a:lnTo>
                  <a:pt x="10031" y="2157"/>
                </a:lnTo>
                <a:lnTo>
                  <a:pt x="10001" y="2254"/>
                </a:lnTo>
                <a:lnTo>
                  <a:pt x="9965" y="2352"/>
                </a:lnTo>
                <a:lnTo>
                  <a:pt x="9924" y="2452"/>
                </a:lnTo>
                <a:lnTo>
                  <a:pt x="9879" y="2554"/>
                </a:lnTo>
                <a:lnTo>
                  <a:pt x="9829" y="2657"/>
                </a:lnTo>
                <a:lnTo>
                  <a:pt x="9772" y="2761"/>
                </a:lnTo>
                <a:lnTo>
                  <a:pt x="9710" y="2866"/>
                </a:lnTo>
                <a:lnTo>
                  <a:pt x="9641" y="2971"/>
                </a:lnTo>
                <a:lnTo>
                  <a:pt x="9566" y="3077"/>
                </a:lnTo>
                <a:lnTo>
                  <a:pt x="9483" y="3181"/>
                </a:lnTo>
                <a:lnTo>
                  <a:pt x="9394" y="3287"/>
                </a:lnTo>
                <a:lnTo>
                  <a:pt x="9296" y="3392"/>
                </a:lnTo>
                <a:lnTo>
                  <a:pt x="9192" y="3495"/>
                </a:lnTo>
                <a:lnTo>
                  <a:pt x="9085" y="3602"/>
                </a:lnTo>
                <a:lnTo>
                  <a:pt x="8982" y="3716"/>
                </a:lnTo>
                <a:lnTo>
                  <a:pt x="8881" y="3836"/>
                </a:lnTo>
                <a:lnTo>
                  <a:pt x="8783" y="3962"/>
                </a:lnTo>
                <a:lnTo>
                  <a:pt x="8689" y="4092"/>
                </a:lnTo>
                <a:lnTo>
                  <a:pt x="8597" y="4226"/>
                </a:lnTo>
                <a:lnTo>
                  <a:pt x="8510" y="4365"/>
                </a:lnTo>
                <a:lnTo>
                  <a:pt x="8426" y="4506"/>
                </a:lnTo>
                <a:lnTo>
                  <a:pt x="8344" y="4649"/>
                </a:lnTo>
                <a:lnTo>
                  <a:pt x="8266" y="4794"/>
                </a:lnTo>
                <a:lnTo>
                  <a:pt x="8192" y="4939"/>
                </a:lnTo>
                <a:lnTo>
                  <a:pt x="8121" y="5086"/>
                </a:lnTo>
                <a:lnTo>
                  <a:pt x="8053" y="5231"/>
                </a:lnTo>
                <a:lnTo>
                  <a:pt x="7988" y="5375"/>
                </a:lnTo>
                <a:lnTo>
                  <a:pt x="7927" y="5517"/>
                </a:lnTo>
                <a:lnTo>
                  <a:pt x="7869" y="5656"/>
                </a:lnTo>
                <a:lnTo>
                  <a:pt x="7815" y="5792"/>
                </a:lnTo>
                <a:lnTo>
                  <a:pt x="7764" y="5925"/>
                </a:lnTo>
                <a:lnTo>
                  <a:pt x="7716" y="6053"/>
                </a:lnTo>
                <a:lnTo>
                  <a:pt x="7672" y="6175"/>
                </a:lnTo>
                <a:lnTo>
                  <a:pt x="7631" y="6292"/>
                </a:lnTo>
                <a:lnTo>
                  <a:pt x="7594" y="6402"/>
                </a:lnTo>
                <a:lnTo>
                  <a:pt x="7561" y="6505"/>
                </a:lnTo>
                <a:lnTo>
                  <a:pt x="7530" y="6600"/>
                </a:lnTo>
                <a:lnTo>
                  <a:pt x="7480" y="6762"/>
                </a:lnTo>
                <a:lnTo>
                  <a:pt x="7444" y="6885"/>
                </a:lnTo>
                <a:lnTo>
                  <a:pt x="7422" y="6963"/>
                </a:lnTo>
                <a:lnTo>
                  <a:pt x="7415" y="6991"/>
                </a:lnTo>
                <a:lnTo>
                  <a:pt x="7402" y="6971"/>
                </a:lnTo>
                <a:lnTo>
                  <a:pt x="7360" y="6912"/>
                </a:lnTo>
                <a:lnTo>
                  <a:pt x="7331" y="6869"/>
                </a:lnTo>
                <a:lnTo>
                  <a:pt x="7297" y="6817"/>
                </a:lnTo>
                <a:lnTo>
                  <a:pt x="7259" y="6757"/>
                </a:lnTo>
                <a:lnTo>
                  <a:pt x="7216" y="6687"/>
                </a:lnTo>
                <a:lnTo>
                  <a:pt x="7169" y="6610"/>
                </a:lnTo>
                <a:lnTo>
                  <a:pt x="7119" y="6526"/>
                </a:lnTo>
                <a:lnTo>
                  <a:pt x="7067" y="6433"/>
                </a:lnTo>
                <a:lnTo>
                  <a:pt x="7014" y="6333"/>
                </a:lnTo>
                <a:lnTo>
                  <a:pt x="6958" y="6226"/>
                </a:lnTo>
                <a:lnTo>
                  <a:pt x="6901" y="6112"/>
                </a:lnTo>
                <a:lnTo>
                  <a:pt x="6843" y="5993"/>
                </a:lnTo>
                <a:lnTo>
                  <a:pt x="6785" y="5866"/>
                </a:lnTo>
                <a:lnTo>
                  <a:pt x="6728" y="5734"/>
                </a:lnTo>
                <a:lnTo>
                  <a:pt x="6672" y="5595"/>
                </a:lnTo>
                <a:lnTo>
                  <a:pt x="6617" y="5451"/>
                </a:lnTo>
                <a:lnTo>
                  <a:pt x="6564" y="5303"/>
                </a:lnTo>
                <a:lnTo>
                  <a:pt x="6513" y="5150"/>
                </a:lnTo>
                <a:lnTo>
                  <a:pt x="6466" y="4991"/>
                </a:lnTo>
                <a:lnTo>
                  <a:pt x="6422" y="4828"/>
                </a:lnTo>
                <a:lnTo>
                  <a:pt x="6381" y="4661"/>
                </a:lnTo>
                <a:lnTo>
                  <a:pt x="6345" y="4490"/>
                </a:lnTo>
                <a:lnTo>
                  <a:pt x="6314" y="4315"/>
                </a:lnTo>
                <a:lnTo>
                  <a:pt x="6288" y="4137"/>
                </a:lnTo>
                <a:lnTo>
                  <a:pt x="6268" y="3956"/>
                </a:lnTo>
                <a:lnTo>
                  <a:pt x="6254" y="3772"/>
                </a:lnTo>
                <a:lnTo>
                  <a:pt x="6247" y="3586"/>
                </a:lnTo>
                <a:lnTo>
                  <a:pt x="6249" y="3396"/>
                </a:lnTo>
                <a:lnTo>
                  <a:pt x="6257" y="3206"/>
                </a:lnTo>
                <a:lnTo>
                  <a:pt x="6273" y="3017"/>
                </a:lnTo>
                <a:lnTo>
                  <a:pt x="6295" y="2832"/>
                </a:lnTo>
                <a:lnTo>
                  <a:pt x="6323" y="2653"/>
                </a:lnTo>
                <a:lnTo>
                  <a:pt x="6357" y="2480"/>
                </a:lnTo>
                <a:lnTo>
                  <a:pt x="6396" y="2312"/>
                </a:lnTo>
                <a:lnTo>
                  <a:pt x="6439" y="2149"/>
                </a:lnTo>
                <a:lnTo>
                  <a:pt x="6487" y="1992"/>
                </a:lnTo>
                <a:lnTo>
                  <a:pt x="6538" y="1842"/>
                </a:lnTo>
                <a:lnTo>
                  <a:pt x="6591" y="1695"/>
                </a:lnTo>
                <a:lnTo>
                  <a:pt x="6648" y="1555"/>
                </a:lnTo>
                <a:lnTo>
                  <a:pt x="6707" y="1420"/>
                </a:lnTo>
                <a:lnTo>
                  <a:pt x="6769" y="1292"/>
                </a:lnTo>
                <a:lnTo>
                  <a:pt x="6830" y="1169"/>
                </a:lnTo>
                <a:lnTo>
                  <a:pt x="6894" y="1052"/>
                </a:lnTo>
                <a:lnTo>
                  <a:pt x="6958" y="941"/>
                </a:lnTo>
                <a:lnTo>
                  <a:pt x="7022" y="835"/>
                </a:lnTo>
                <a:lnTo>
                  <a:pt x="7086" y="736"/>
                </a:lnTo>
                <a:lnTo>
                  <a:pt x="7148" y="643"/>
                </a:lnTo>
                <a:lnTo>
                  <a:pt x="7210" y="555"/>
                </a:lnTo>
                <a:lnTo>
                  <a:pt x="7269" y="475"/>
                </a:lnTo>
                <a:lnTo>
                  <a:pt x="7327" y="399"/>
                </a:lnTo>
                <a:lnTo>
                  <a:pt x="7382" y="331"/>
                </a:lnTo>
                <a:lnTo>
                  <a:pt x="7433" y="269"/>
                </a:lnTo>
                <a:lnTo>
                  <a:pt x="7482" y="212"/>
                </a:lnTo>
                <a:lnTo>
                  <a:pt x="7526" y="164"/>
                </a:lnTo>
                <a:lnTo>
                  <a:pt x="7565" y="121"/>
                </a:lnTo>
                <a:lnTo>
                  <a:pt x="7600" y="84"/>
                </a:lnTo>
                <a:lnTo>
                  <a:pt x="7630" y="53"/>
                </a:lnTo>
                <a:lnTo>
                  <a:pt x="7671" y="14"/>
                </a:lnTo>
                <a:lnTo>
                  <a:pt x="7686" y="0"/>
                </a:lnTo>
                <a:lnTo>
                  <a:pt x="7678" y="1"/>
                </a:lnTo>
                <a:lnTo>
                  <a:pt x="7653" y="7"/>
                </a:lnTo>
                <a:lnTo>
                  <a:pt x="7615" y="19"/>
                </a:lnTo>
                <a:lnTo>
                  <a:pt x="7563" y="36"/>
                </a:lnTo>
                <a:lnTo>
                  <a:pt x="7533" y="48"/>
                </a:lnTo>
                <a:lnTo>
                  <a:pt x="7499" y="62"/>
                </a:lnTo>
                <a:lnTo>
                  <a:pt x="7462" y="77"/>
                </a:lnTo>
                <a:lnTo>
                  <a:pt x="7424" y="95"/>
                </a:lnTo>
                <a:lnTo>
                  <a:pt x="7382" y="117"/>
                </a:lnTo>
                <a:lnTo>
                  <a:pt x="7337" y="140"/>
                </a:lnTo>
                <a:lnTo>
                  <a:pt x="7290" y="168"/>
                </a:lnTo>
                <a:lnTo>
                  <a:pt x="7241" y="197"/>
                </a:lnTo>
                <a:lnTo>
                  <a:pt x="7191" y="231"/>
                </a:lnTo>
                <a:lnTo>
                  <a:pt x="7138" y="268"/>
                </a:lnTo>
                <a:lnTo>
                  <a:pt x="7083" y="309"/>
                </a:lnTo>
                <a:lnTo>
                  <a:pt x="7028" y="353"/>
                </a:lnTo>
                <a:lnTo>
                  <a:pt x="6970" y="401"/>
                </a:lnTo>
                <a:lnTo>
                  <a:pt x="6912" y="453"/>
                </a:lnTo>
                <a:lnTo>
                  <a:pt x="6851" y="510"/>
                </a:lnTo>
                <a:lnTo>
                  <a:pt x="6790" y="570"/>
                </a:lnTo>
                <a:lnTo>
                  <a:pt x="6727" y="636"/>
                </a:lnTo>
                <a:lnTo>
                  <a:pt x="6664" y="706"/>
                </a:lnTo>
                <a:lnTo>
                  <a:pt x="6600" y="781"/>
                </a:lnTo>
                <a:lnTo>
                  <a:pt x="6537" y="862"/>
                </a:lnTo>
                <a:lnTo>
                  <a:pt x="6472" y="946"/>
                </a:lnTo>
                <a:lnTo>
                  <a:pt x="6407" y="1038"/>
                </a:lnTo>
                <a:lnTo>
                  <a:pt x="6342" y="1134"/>
                </a:lnTo>
                <a:lnTo>
                  <a:pt x="6277" y="1235"/>
                </a:lnTo>
                <a:lnTo>
                  <a:pt x="6214" y="1340"/>
                </a:lnTo>
                <a:lnTo>
                  <a:pt x="6157" y="1441"/>
                </a:lnTo>
                <a:lnTo>
                  <a:pt x="6105" y="1538"/>
                </a:lnTo>
                <a:lnTo>
                  <a:pt x="6057" y="1634"/>
                </a:lnTo>
                <a:lnTo>
                  <a:pt x="6015" y="1727"/>
                </a:lnTo>
                <a:lnTo>
                  <a:pt x="5977" y="1816"/>
                </a:lnTo>
                <a:lnTo>
                  <a:pt x="5943" y="1902"/>
                </a:lnTo>
                <a:lnTo>
                  <a:pt x="5913" y="1986"/>
                </a:lnTo>
                <a:lnTo>
                  <a:pt x="5888" y="2067"/>
                </a:lnTo>
                <a:lnTo>
                  <a:pt x="5865" y="2145"/>
                </a:lnTo>
                <a:lnTo>
                  <a:pt x="5846" y="2219"/>
                </a:lnTo>
                <a:lnTo>
                  <a:pt x="5831" y="2291"/>
                </a:lnTo>
                <a:lnTo>
                  <a:pt x="5817" y="2358"/>
                </a:lnTo>
                <a:lnTo>
                  <a:pt x="5806" y="2423"/>
                </a:lnTo>
                <a:lnTo>
                  <a:pt x="5799" y="2486"/>
                </a:lnTo>
                <a:lnTo>
                  <a:pt x="5794" y="2544"/>
                </a:lnTo>
                <a:lnTo>
                  <a:pt x="5790" y="2600"/>
                </a:lnTo>
                <a:lnTo>
                  <a:pt x="5788" y="2652"/>
                </a:lnTo>
                <a:lnTo>
                  <a:pt x="5788" y="2701"/>
                </a:lnTo>
                <a:lnTo>
                  <a:pt x="5789" y="2746"/>
                </a:lnTo>
                <a:lnTo>
                  <a:pt x="5791" y="2788"/>
                </a:lnTo>
                <a:lnTo>
                  <a:pt x="5795" y="2826"/>
                </a:lnTo>
                <a:lnTo>
                  <a:pt x="5799" y="2861"/>
                </a:lnTo>
                <a:lnTo>
                  <a:pt x="5804" y="2892"/>
                </a:lnTo>
                <a:lnTo>
                  <a:pt x="5809" y="2920"/>
                </a:lnTo>
                <a:lnTo>
                  <a:pt x="5813" y="2945"/>
                </a:lnTo>
                <a:lnTo>
                  <a:pt x="5818" y="2966"/>
                </a:lnTo>
                <a:lnTo>
                  <a:pt x="5823" y="2982"/>
                </a:lnTo>
                <a:lnTo>
                  <a:pt x="5830" y="3005"/>
                </a:lnTo>
                <a:lnTo>
                  <a:pt x="5832" y="3013"/>
                </a:lnTo>
                <a:lnTo>
                  <a:pt x="5830" y="3006"/>
                </a:lnTo>
                <a:lnTo>
                  <a:pt x="5823" y="2985"/>
                </a:lnTo>
                <a:lnTo>
                  <a:pt x="5811" y="2950"/>
                </a:lnTo>
                <a:lnTo>
                  <a:pt x="5792" y="2902"/>
                </a:lnTo>
                <a:lnTo>
                  <a:pt x="5768" y="2840"/>
                </a:lnTo>
                <a:lnTo>
                  <a:pt x="5737" y="2765"/>
                </a:lnTo>
                <a:lnTo>
                  <a:pt x="5697" y="2676"/>
                </a:lnTo>
                <a:lnTo>
                  <a:pt x="5648" y="2575"/>
                </a:lnTo>
                <a:lnTo>
                  <a:pt x="5622" y="2521"/>
                </a:lnTo>
                <a:lnTo>
                  <a:pt x="5591" y="2462"/>
                </a:lnTo>
                <a:lnTo>
                  <a:pt x="5559" y="2400"/>
                </a:lnTo>
                <a:lnTo>
                  <a:pt x="5524" y="2335"/>
                </a:lnTo>
                <a:lnTo>
                  <a:pt x="5487" y="2267"/>
                </a:lnTo>
                <a:lnTo>
                  <a:pt x="5448" y="2196"/>
                </a:lnTo>
                <a:lnTo>
                  <a:pt x="5405" y="2120"/>
                </a:lnTo>
                <a:lnTo>
                  <a:pt x="5359" y="2044"/>
                </a:lnTo>
                <a:lnTo>
                  <a:pt x="5312" y="1962"/>
                </a:lnTo>
                <a:lnTo>
                  <a:pt x="5259" y="1879"/>
                </a:lnTo>
                <a:lnTo>
                  <a:pt x="5206" y="1792"/>
                </a:lnTo>
                <a:lnTo>
                  <a:pt x="5148" y="1702"/>
                </a:lnTo>
                <a:lnTo>
                  <a:pt x="5088" y="1609"/>
                </a:lnTo>
                <a:lnTo>
                  <a:pt x="5024" y="1514"/>
                </a:lnTo>
                <a:lnTo>
                  <a:pt x="4956" y="1415"/>
                </a:lnTo>
                <a:lnTo>
                  <a:pt x="4886" y="1313"/>
                </a:lnTo>
                <a:lnTo>
                  <a:pt x="4810" y="1213"/>
                </a:lnTo>
                <a:lnTo>
                  <a:pt x="4729" y="1119"/>
                </a:lnTo>
                <a:lnTo>
                  <a:pt x="4642" y="1032"/>
                </a:lnTo>
                <a:lnTo>
                  <a:pt x="4550" y="950"/>
                </a:lnTo>
                <a:lnTo>
                  <a:pt x="4455" y="873"/>
                </a:lnTo>
                <a:lnTo>
                  <a:pt x="4355" y="802"/>
                </a:lnTo>
                <a:lnTo>
                  <a:pt x="4252" y="737"/>
                </a:lnTo>
                <a:lnTo>
                  <a:pt x="4146" y="677"/>
                </a:lnTo>
                <a:lnTo>
                  <a:pt x="4039" y="621"/>
                </a:lnTo>
                <a:lnTo>
                  <a:pt x="3930" y="570"/>
                </a:lnTo>
                <a:lnTo>
                  <a:pt x="3820" y="524"/>
                </a:lnTo>
                <a:lnTo>
                  <a:pt x="3709" y="481"/>
                </a:lnTo>
                <a:lnTo>
                  <a:pt x="3599" y="442"/>
                </a:lnTo>
                <a:lnTo>
                  <a:pt x="3489" y="409"/>
                </a:lnTo>
                <a:lnTo>
                  <a:pt x="3380" y="377"/>
                </a:lnTo>
                <a:lnTo>
                  <a:pt x="3273" y="349"/>
                </a:lnTo>
                <a:lnTo>
                  <a:pt x="3168" y="326"/>
                </a:lnTo>
                <a:lnTo>
                  <a:pt x="3066" y="304"/>
                </a:lnTo>
                <a:lnTo>
                  <a:pt x="2969" y="287"/>
                </a:lnTo>
                <a:lnTo>
                  <a:pt x="2874" y="271"/>
                </a:lnTo>
                <a:lnTo>
                  <a:pt x="2783" y="257"/>
                </a:lnTo>
                <a:lnTo>
                  <a:pt x="2698" y="246"/>
                </a:lnTo>
                <a:lnTo>
                  <a:pt x="2618" y="237"/>
                </a:lnTo>
                <a:lnTo>
                  <a:pt x="2545" y="230"/>
                </a:lnTo>
                <a:lnTo>
                  <a:pt x="2478" y="224"/>
                </a:lnTo>
                <a:lnTo>
                  <a:pt x="2418" y="219"/>
                </a:lnTo>
                <a:lnTo>
                  <a:pt x="2366" y="217"/>
                </a:lnTo>
                <a:lnTo>
                  <a:pt x="2322" y="215"/>
                </a:lnTo>
                <a:lnTo>
                  <a:pt x="2262" y="212"/>
                </a:lnTo>
                <a:lnTo>
                  <a:pt x="2241" y="212"/>
                </a:lnTo>
                <a:lnTo>
                  <a:pt x="2270" y="221"/>
                </a:lnTo>
                <a:lnTo>
                  <a:pt x="2356" y="244"/>
                </a:lnTo>
                <a:lnTo>
                  <a:pt x="2417" y="264"/>
                </a:lnTo>
                <a:lnTo>
                  <a:pt x="2490" y="287"/>
                </a:lnTo>
                <a:lnTo>
                  <a:pt x="2573" y="315"/>
                </a:lnTo>
                <a:lnTo>
                  <a:pt x="2666" y="348"/>
                </a:lnTo>
                <a:lnTo>
                  <a:pt x="2767" y="387"/>
                </a:lnTo>
                <a:lnTo>
                  <a:pt x="2876" y="431"/>
                </a:lnTo>
                <a:lnTo>
                  <a:pt x="2991" y="481"/>
                </a:lnTo>
                <a:lnTo>
                  <a:pt x="3113" y="536"/>
                </a:lnTo>
                <a:lnTo>
                  <a:pt x="3240" y="598"/>
                </a:lnTo>
                <a:lnTo>
                  <a:pt x="3370" y="665"/>
                </a:lnTo>
                <a:lnTo>
                  <a:pt x="3505" y="740"/>
                </a:lnTo>
                <a:lnTo>
                  <a:pt x="3642" y="821"/>
                </a:lnTo>
                <a:lnTo>
                  <a:pt x="3781" y="908"/>
                </a:lnTo>
                <a:lnTo>
                  <a:pt x="3921" y="1003"/>
                </a:lnTo>
                <a:lnTo>
                  <a:pt x="4060" y="1104"/>
                </a:lnTo>
                <a:lnTo>
                  <a:pt x="4198" y="1213"/>
                </a:lnTo>
                <a:lnTo>
                  <a:pt x="4335" y="1331"/>
                </a:lnTo>
                <a:lnTo>
                  <a:pt x="4469" y="1455"/>
                </a:lnTo>
                <a:lnTo>
                  <a:pt x="4599" y="1587"/>
                </a:lnTo>
                <a:lnTo>
                  <a:pt x="4725" y="1728"/>
                </a:lnTo>
                <a:lnTo>
                  <a:pt x="4845" y="1876"/>
                </a:lnTo>
                <a:lnTo>
                  <a:pt x="4960" y="2034"/>
                </a:lnTo>
                <a:lnTo>
                  <a:pt x="5067" y="2200"/>
                </a:lnTo>
                <a:lnTo>
                  <a:pt x="5165" y="2375"/>
                </a:lnTo>
                <a:lnTo>
                  <a:pt x="5256" y="2559"/>
                </a:lnTo>
                <a:lnTo>
                  <a:pt x="5336" y="2752"/>
                </a:lnTo>
                <a:lnTo>
                  <a:pt x="5407" y="2955"/>
                </a:lnTo>
                <a:lnTo>
                  <a:pt x="5465" y="3168"/>
                </a:lnTo>
                <a:lnTo>
                  <a:pt x="5516" y="3378"/>
                </a:lnTo>
                <a:lnTo>
                  <a:pt x="5562" y="3576"/>
                </a:lnTo>
                <a:lnTo>
                  <a:pt x="5605" y="3762"/>
                </a:lnTo>
                <a:lnTo>
                  <a:pt x="5645" y="3937"/>
                </a:lnTo>
                <a:lnTo>
                  <a:pt x="5716" y="4254"/>
                </a:lnTo>
                <a:lnTo>
                  <a:pt x="5776" y="4535"/>
                </a:lnTo>
                <a:lnTo>
                  <a:pt x="5827" y="4782"/>
                </a:lnTo>
                <a:lnTo>
                  <a:pt x="5874" y="5001"/>
                </a:lnTo>
                <a:lnTo>
                  <a:pt x="5914" y="5197"/>
                </a:lnTo>
                <a:lnTo>
                  <a:pt x="5953" y="5376"/>
                </a:lnTo>
                <a:lnTo>
                  <a:pt x="5971" y="5460"/>
                </a:lnTo>
                <a:lnTo>
                  <a:pt x="5991" y="5541"/>
                </a:lnTo>
                <a:lnTo>
                  <a:pt x="6011" y="5621"/>
                </a:lnTo>
                <a:lnTo>
                  <a:pt x="6030" y="5699"/>
                </a:lnTo>
                <a:lnTo>
                  <a:pt x="6051" y="5777"/>
                </a:lnTo>
                <a:lnTo>
                  <a:pt x="6073" y="5853"/>
                </a:lnTo>
                <a:lnTo>
                  <a:pt x="6097" y="5931"/>
                </a:lnTo>
                <a:lnTo>
                  <a:pt x="6122" y="6010"/>
                </a:lnTo>
                <a:lnTo>
                  <a:pt x="6149" y="6091"/>
                </a:lnTo>
                <a:lnTo>
                  <a:pt x="6178" y="6175"/>
                </a:lnTo>
                <a:lnTo>
                  <a:pt x="6210" y="6261"/>
                </a:lnTo>
                <a:lnTo>
                  <a:pt x="6244" y="6350"/>
                </a:lnTo>
                <a:lnTo>
                  <a:pt x="6281" y="6444"/>
                </a:lnTo>
                <a:lnTo>
                  <a:pt x="6321" y="6544"/>
                </a:lnTo>
                <a:lnTo>
                  <a:pt x="6365" y="6649"/>
                </a:lnTo>
                <a:lnTo>
                  <a:pt x="6411" y="6759"/>
                </a:lnTo>
                <a:lnTo>
                  <a:pt x="6459" y="6870"/>
                </a:lnTo>
                <a:lnTo>
                  <a:pt x="6505" y="6975"/>
                </a:lnTo>
                <a:lnTo>
                  <a:pt x="6549" y="7074"/>
                </a:lnTo>
                <a:lnTo>
                  <a:pt x="6591" y="7166"/>
                </a:lnTo>
                <a:lnTo>
                  <a:pt x="6631" y="7254"/>
                </a:lnTo>
                <a:lnTo>
                  <a:pt x="6669" y="7336"/>
                </a:lnTo>
                <a:lnTo>
                  <a:pt x="6705" y="7413"/>
                </a:lnTo>
                <a:lnTo>
                  <a:pt x="6740" y="7483"/>
                </a:lnTo>
                <a:lnTo>
                  <a:pt x="6804" y="7612"/>
                </a:lnTo>
                <a:lnTo>
                  <a:pt x="6860" y="7721"/>
                </a:lnTo>
                <a:lnTo>
                  <a:pt x="6910" y="7814"/>
                </a:lnTo>
                <a:lnTo>
                  <a:pt x="6955" y="7891"/>
                </a:lnTo>
                <a:lnTo>
                  <a:pt x="6992" y="7954"/>
                </a:lnTo>
                <a:lnTo>
                  <a:pt x="7024" y="8004"/>
                </a:lnTo>
                <a:lnTo>
                  <a:pt x="7050" y="8042"/>
                </a:lnTo>
                <a:lnTo>
                  <a:pt x="7071" y="8071"/>
                </a:lnTo>
                <a:lnTo>
                  <a:pt x="7087" y="8091"/>
                </a:lnTo>
                <a:lnTo>
                  <a:pt x="7099" y="8102"/>
                </a:lnTo>
                <a:lnTo>
                  <a:pt x="7104" y="8109"/>
                </a:lnTo>
                <a:lnTo>
                  <a:pt x="7107" y="8110"/>
                </a:lnTo>
                <a:lnTo>
                  <a:pt x="7183" y="9752"/>
                </a:lnTo>
                <a:lnTo>
                  <a:pt x="7157" y="9748"/>
                </a:lnTo>
                <a:lnTo>
                  <a:pt x="7079" y="9729"/>
                </a:lnTo>
                <a:lnTo>
                  <a:pt x="7023" y="9715"/>
                </a:lnTo>
                <a:lnTo>
                  <a:pt x="6956" y="9698"/>
                </a:lnTo>
                <a:lnTo>
                  <a:pt x="6880" y="9674"/>
                </a:lnTo>
                <a:lnTo>
                  <a:pt x="6794" y="9649"/>
                </a:lnTo>
                <a:lnTo>
                  <a:pt x="6700" y="9618"/>
                </a:lnTo>
                <a:lnTo>
                  <a:pt x="6598" y="9582"/>
                </a:lnTo>
                <a:lnTo>
                  <a:pt x="6489" y="9540"/>
                </a:lnTo>
                <a:lnTo>
                  <a:pt x="6374" y="9493"/>
                </a:lnTo>
                <a:lnTo>
                  <a:pt x="6253" y="9440"/>
                </a:lnTo>
                <a:lnTo>
                  <a:pt x="6127" y="9382"/>
                </a:lnTo>
                <a:lnTo>
                  <a:pt x="5997" y="9317"/>
                </a:lnTo>
                <a:lnTo>
                  <a:pt x="5863" y="9246"/>
                </a:lnTo>
                <a:lnTo>
                  <a:pt x="5726" y="9167"/>
                </a:lnTo>
                <a:lnTo>
                  <a:pt x="5588" y="9082"/>
                </a:lnTo>
                <a:lnTo>
                  <a:pt x="5448" y="8989"/>
                </a:lnTo>
                <a:lnTo>
                  <a:pt x="5306" y="8890"/>
                </a:lnTo>
                <a:lnTo>
                  <a:pt x="5165" y="8782"/>
                </a:lnTo>
                <a:lnTo>
                  <a:pt x="5025" y="8665"/>
                </a:lnTo>
                <a:lnTo>
                  <a:pt x="4886" y="8541"/>
                </a:lnTo>
                <a:lnTo>
                  <a:pt x="4747" y="8408"/>
                </a:lnTo>
                <a:lnTo>
                  <a:pt x="4613" y="8266"/>
                </a:lnTo>
                <a:lnTo>
                  <a:pt x="4482" y="8115"/>
                </a:lnTo>
                <a:lnTo>
                  <a:pt x="4355" y="7955"/>
                </a:lnTo>
                <a:lnTo>
                  <a:pt x="4232" y="7784"/>
                </a:lnTo>
                <a:lnTo>
                  <a:pt x="4115" y="7604"/>
                </a:lnTo>
                <a:lnTo>
                  <a:pt x="4004" y="7414"/>
                </a:lnTo>
                <a:lnTo>
                  <a:pt x="3901" y="7213"/>
                </a:lnTo>
                <a:lnTo>
                  <a:pt x="3805" y="7000"/>
                </a:lnTo>
                <a:lnTo>
                  <a:pt x="3707" y="6786"/>
                </a:lnTo>
                <a:lnTo>
                  <a:pt x="3599" y="6575"/>
                </a:lnTo>
                <a:lnTo>
                  <a:pt x="3483" y="6371"/>
                </a:lnTo>
                <a:lnTo>
                  <a:pt x="3358" y="6171"/>
                </a:lnTo>
                <a:lnTo>
                  <a:pt x="3226" y="5976"/>
                </a:lnTo>
                <a:lnTo>
                  <a:pt x="3087" y="5787"/>
                </a:lnTo>
                <a:lnTo>
                  <a:pt x="2943" y="5604"/>
                </a:lnTo>
                <a:lnTo>
                  <a:pt x="2795" y="5426"/>
                </a:lnTo>
                <a:lnTo>
                  <a:pt x="2641" y="5253"/>
                </a:lnTo>
                <a:lnTo>
                  <a:pt x="2486" y="5087"/>
                </a:lnTo>
                <a:lnTo>
                  <a:pt x="2328" y="4927"/>
                </a:lnTo>
                <a:lnTo>
                  <a:pt x="2168" y="4772"/>
                </a:lnTo>
                <a:lnTo>
                  <a:pt x="2007" y="4625"/>
                </a:lnTo>
                <a:lnTo>
                  <a:pt x="1848" y="4483"/>
                </a:lnTo>
                <a:lnTo>
                  <a:pt x="1689" y="4348"/>
                </a:lnTo>
                <a:lnTo>
                  <a:pt x="1533" y="4220"/>
                </a:lnTo>
                <a:lnTo>
                  <a:pt x="1379" y="4098"/>
                </a:lnTo>
                <a:lnTo>
                  <a:pt x="1230" y="3984"/>
                </a:lnTo>
                <a:lnTo>
                  <a:pt x="1084" y="3876"/>
                </a:lnTo>
                <a:lnTo>
                  <a:pt x="944" y="3776"/>
                </a:lnTo>
                <a:lnTo>
                  <a:pt x="810" y="3683"/>
                </a:lnTo>
                <a:lnTo>
                  <a:pt x="684" y="3597"/>
                </a:lnTo>
                <a:lnTo>
                  <a:pt x="565" y="3519"/>
                </a:lnTo>
                <a:lnTo>
                  <a:pt x="456" y="3449"/>
                </a:lnTo>
                <a:lnTo>
                  <a:pt x="356" y="3386"/>
                </a:lnTo>
                <a:lnTo>
                  <a:pt x="267" y="3331"/>
                </a:lnTo>
                <a:lnTo>
                  <a:pt x="189" y="3285"/>
                </a:lnTo>
                <a:lnTo>
                  <a:pt x="123" y="3247"/>
                </a:lnTo>
                <a:lnTo>
                  <a:pt x="31" y="3194"/>
                </a:lnTo>
                <a:lnTo>
                  <a:pt x="0" y="3177"/>
                </a:lnTo>
                <a:lnTo>
                  <a:pt x="28" y="3199"/>
                </a:lnTo>
                <a:lnTo>
                  <a:pt x="108" y="3262"/>
                </a:lnTo>
                <a:lnTo>
                  <a:pt x="166" y="3309"/>
                </a:lnTo>
                <a:lnTo>
                  <a:pt x="235" y="3367"/>
                </a:lnTo>
                <a:lnTo>
                  <a:pt x="313" y="3435"/>
                </a:lnTo>
                <a:lnTo>
                  <a:pt x="402" y="3511"/>
                </a:lnTo>
                <a:lnTo>
                  <a:pt x="499" y="3598"/>
                </a:lnTo>
                <a:lnTo>
                  <a:pt x="605" y="3695"/>
                </a:lnTo>
                <a:lnTo>
                  <a:pt x="718" y="3802"/>
                </a:lnTo>
                <a:lnTo>
                  <a:pt x="836" y="3916"/>
                </a:lnTo>
                <a:lnTo>
                  <a:pt x="961" y="4041"/>
                </a:lnTo>
                <a:lnTo>
                  <a:pt x="1091" y="4173"/>
                </a:lnTo>
                <a:lnTo>
                  <a:pt x="1226" y="4316"/>
                </a:lnTo>
                <a:lnTo>
                  <a:pt x="1364" y="4466"/>
                </a:lnTo>
                <a:lnTo>
                  <a:pt x="1505" y="4625"/>
                </a:lnTo>
                <a:lnTo>
                  <a:pt x="1649" y="4792"/>
                </a:lnTo>
                <a:lnTo>
                  <a:pt x="1794" y="4967"/>
                </a:lnTo>
                <a:lnTo>
                  <a:pt x="1940" y="5152"/>
                </a:lnTo>
                <a:lnTo>
                  <a:pt x="2085" y="5342"/>
                </a:lnTo>
                <a:lnTo>
                  <a:pt x="2231" y="5542"/>
                </a:lnTo>
                <a:lnTo>
                  <a:pt x="2375" y="5749"/>
                </a:lnTo>
                <a:lnTo>
                  <a:pt x="2517" y="5964"/>
                </a:lnTo>
                <a:lnTo>
                  <a:pt x="2656" y="6184"/>
                </a:lnTo>
                <a:lnTo>
                  <a:pt x="2792" y="6413"/>
                </a:lnTo>
                <a:lnTo>
                  <a:pt x="2925" y="6649"/>
                </a:lnTo>
                <a:lnTo>
                  <a:pt x="3051" y="6891"/>
                </a:lnTo>
                <a:lnTo>
                  <a:pt x="3172" y="7141"/>
                </a:lnTo>
                <a:lnTo>
                  <a:pt x="3287" y="7396"/>
                </a:lnTo>
                <a:lnTo>
                  <a:pt x="3395" y="7659"/>
                </a:lnTo>
                <a:lnTo>
                  <a:pt x="3495" y="7927"/>
                </a:lnTo>
                <a:lnTo>
                  <a:pt x="3597" y="8192"/>
                </a:lnTo>
                <a:lnTo>
                  <a:pt x="3707" y="8443"/>
                </a:lnTo>
                <a:lnTo>
                  <a:pt x="3828" y="8678"/>
                </a:lnTo>
                <a:lnTo>
                  <a:pt x="3956" y="8901"/>
                </a:lnTo>
                <a:lnTo>
                  <a:pt x="4091" y="9111"/>
                </a:lnTo>
                <a:lnTo>
                  <a:pt x="4233" y="9308"/>
                </a:lnTo>
                <a:lnTo>
                  <a:pt x="4381" y="9492"/>
                </a:lnTo>
                <a:lnTo>
                  <a:pt x="4534" y="9665"/>
                </a:lnTo>
                <a:lnTo>
                  <a:pt x="4689" y="9827"/>
                </a:lnTo>
                <a:lnTo>
                  <a:pt x="4848" y="9978"/>
                </a:lnTo>
                <a:lnTo>
                  <a:pt x="5010" y="10117"/>
                </a:lnTo>
                <a:lnTo>
                  <a:pt x="5174" y="10246"/>
                </a:lnTo>
                <a:lnTo>
                  <a:pt x="5336" y="10364"/>
                </a:lnTo>
                <a:lnTo>
                  <a:pt x="5499" y="10473"/>
                </a:lnTo>
                <a:lnTo>
                  <a:pt x="5660" y="10574"/>
                </a:lnTo>
                <a:lnTo>
                  <a:pt x="5820" y="10665"/>
                </a:lnTo>
                <a:lnTo>
                  <a:pt x="5976" y="10747"/>
                </a:lnTo>
                <a:lnTo>
                  <a:pt x="6129" y="10823"/>
                </a:lnTo>
                <a:lnTo>
                  <a:pt x="6277" y="10889"/>
                </a:lnTo>
                <a:lnTo>
                  <a:pt x="6418" y="10948"/>
                </a:lnTo>
                <a:lnTo>
                  <a:pt x="6554" y="11002"/>
                </a:lnTo>
                <a:lnTo>
                  <a:pt x="6683" y="11047"/>
                </a:lnTo>
                <a:lnTo>
                  <a:pt x="6802" y="11088"/>
                </a:lnTo>
                <a:lnTo>
                  <a:pt x="6914" y="11121"/>
                </a:lnTo>
                <a:lnTo>
                  <a:pt x="7015" y="11150"/>
                </a:lnTo>
                <a:lnTo>
                  <a:pt x="7107" y="11174"/>
                </a:lnTo>
                <a:lnTo>
                  <a:pt x="7186" y="11192"/>
                </a:lnTo>
                <a:lnTo>
                  <a:pt x="7252" y="11207"/>
                </a:lnTo>
                <a:lnTo>
                  <a:pt x="7345" y="11225"/>
                </a:lnTo>
                <a:lnTo>
                  <a:pt x="7377" y="11230"/>
                </a:lnTo>
                <a:lnTo>
                  <a:pt x="7378" y="11257"/>
                </a:lnTo>
                <a:lnTo>
                  <a:pt x="7382" y="11335"/>
                </a:lnTo>
                <a:lnTo>
                  <a:pt x="7386" y="11459"/>
                </a:lnTo>
                <a:lnTo>
                  <a:pt x="7391" y="11628"/>
                </a:lnTo>
                <a:lnTo>
                  <a:pt x="7393" y="11726"/>
                </a:lnTo>
                <a:lnTo>
                  <a:pt x="7395" y="11835"/>
                </a:lnTo>
                <a:lnTo>
                  <a:pt x="7396" y="11953"/>
                </a:lnTo>
                <a:lnTo>
                  <a:pt x="7397" y="12078"/>
                </a:lnTo>
                <a:lnTo>
                  <a:pt x="7397" y="12212"/>
                </a:lnTo>
                <a:lnTo>
                  <a:pt x="7396" y="12353"/>
                </a:lnTo>
                <a:lnTo>
                  <a:pt x="7395" y="12502"/>
                </a:lnTo>
                <a:lnTo>
                  <a:pt x="7391" y="12656"/>
                </a:lnTo>
                <a:lnTo>
                  <a:pt x="7386" y="12818"/>
                </a:lnTo>
                <a:lnTo>
                  <a:pt x="7381" y="12984"/>
                </a:lnTo>
                <a:lnTo>
                  <a:pt x="7374" y="13156"/>
                </a:lnTo>
                <a:lnTo>
                  <a:pt x="7366" y="13332"/>
                </a:lnTo>
                <a:lnTo>
                  <a:pt x="7355" y="13512"/>
                </a:lnTo>
                <a:lnTo>
                  <a:pt x="7342" y="13697"/>
                </a:lnTo>
                <a:lnTo>
                  <a:pt x="7328" y="13884"/>
                </a:lnTo>
                <a:lnTo>
                  <a:pt x="7311" y="14073"/>
                </a:lnTo>
                <a:lnTo>
                  <a:pt x="7292" y="14266"/>
                </a:lnTo>
                <a:lnTo>
                  <a:pt x="7272" y="14459"/>
                </a:lnTo>
                <a:lnTo>
                  <a:pt x="7247" y="14655"/>
                </a:lnTo>
                <a:lnTo>
                  <a:pt x="7222" y="14851"/>
                </a:lnTo>
                <a:lnTo>
                  <a:pt x="7193" y="15047"/>
                </a:lnTo>
                <a:lnTo>
                  <a:pt x="7160" y="15243"/>
                </a:lnTo>
                <a:lnTo>
                  <a:pt x="7125" y="15438"/>
                </a:lnTo>
                <a:lnTo>
                  <a:pt x="7087" y="15633"/>
                </a:lnTo>
                <a:lnTo>
                  <a:pt x="7045" y="15824"/>
                </a:lnTo>
                <a:lnTo>
                  <a:pt x="6997" y="16006"/>
                </a:lnTo>
                <a:lnTo>
                  <a:pt x="6946" y="16183"/>
                </a:lnTo>
                <a:lnTo>
                  <a:pt x="6891" y="16353"/>
                </a:lnTo>
                <a:lnTo>
                  <a:pt x="6833" y="16516"/>
                </a:lnTo>
                <a:lnTo>
                  <a:pt x="6771" y="16673"/>
                </a:lnTo>
                <a:lnTo>
                  <a:pt x="6706" y="16822"/>
                </a:lnTo>
                <a:lnTo>
                  <a:pt x="6639" y="16965"/>
                </a:lnTo>
                <a:lnTo>
                  <a:pt x="6570" y="17101"/>
                </a:lnTo>
                <a:lnTo>
                  <a:pt x="6501" y="17232"/>
                </a:lnTo>
                <a:lnTo>
                  <a:pt x="6429" y="17355"/>
                </a:lnTo>
                <a:lnTo>
                  <a:pt x="6357" y="17473"/>
                </a:lnTo>
                <a:lnTo>
                  <a:pt x="6285" y="17584"/>
                </a:lnTo>
                <a:lnTo>
                  <a:pt x="6211" y="17689"/>
                </a:lnTo>
                <a:lnTo>
                  <a:pt x="6140" y="17787"/>
                </a:lnTo>
                <a:lnTo>
                  <a:pt x="6069" y="17880"/>
                </a:lnTo>
                <a:lnTo>
                  <a:pt x="5999" y="17967"/>
                </a:lnTo>
                <a:lnTo>
                  <a:pt x="5931" y="18047"/>
                </a:lnTo>
                <a:lnTo>
                  <a:pt x="5864" y="18123"/>
                </a:lnTo>
                <a:lnTo>
                  <a:pt x="5800" y="18191"/>
                </a:lnTo>
                <a:lnTo>
                  <a:pt x="5739" y="18254"/>
                </a:lnTo>
                <a:lnTo>
                  <a:pt x="5682" y="18311"/>
                </a:lnTo>
                <a:lnTo>
                  <a:pt x="5627" y="18363"/>
                </a:lnTo>
                <a:lnTo>
                  <a:pt x="5578" y="18408"/>
                </a:lnTo>
                <a:lnTo>
                  <a:pt x="5532" y="18449"/>
                </a:lnTo>
                <a:lnTo>
                  <a:pt x="5490" y="18483"/>
                </a:lnTo>
                <a:lnTo>
                  <a:pt x="5456" y="18513"/>
                </a:lnTo>
                <a:lnTo>
                  <a:pt x="5425" y="18536"/>
                </a:lnTo>
                <a:lnTo>
                  <a:pt x="5384" y="18568"/>
                </a:lnTo>
                <a:lnTo>
                  <a:pt x="5369" y="18578"/>
                </a:ln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nvGrpSpPr>
          <p:cNvPr id="4" name="Group 92">
            <a:extLst>
              <a:ext uri="{FF2B5EF4-FFF2-40B4-BE49-F238E27FC236}">
                <a16:creationId xmlns:a16="http://schemas.microsoft.com/office/drawing/2014/main" id="{602FE982-209E-4DA3-B41F-85E7C740BCBE}"/>
              </a:ext>
            </a:extLst>
          </p:cNvPr>
          <p:cNvGrpSpPr/>
          <p:nvPr/>
        </p:nvGrpSpPr>
        <p:grpSpPr>
          <a:xfrm>
            <a:off x="5801976" y="1611274"/>
            <a:ext cx="2502926" cy="624896"/>
            <a:chOff x="2546382" y="2667000"/>
            <a:chExt cx="3118188" cy="778506"/>
          </a:xfrm>
        </p:grpSpPr>
        <p:grpSp>
          <p:nvGrpSpPr>
            <p:cNvPr id="5" name="Group 93">
              <a:extLst>
                <a:ext uri="{FF2B5EF4-FFF2-40B4-BE49-F238E27FC236}">
                  <a16:creationId xmlns:a16="http://schemas.microsoft.com/office/drawing/2014/main" id="{0A0D04AA-C077-4288-B8EB-5A4CE018BD71}"/>
                </a:ext>
              </a:extLst>
            </p:cNvPr>
            <p:cNvGrpSpPr/>
            <p:nvPr/>
          </p:nvGrpSpPr>
          <p:grpSpPr>
            <a:xfrm>
              <a:off x="2546382" y="2667000"/>
              <a:ext cx="3118188" cy="778506"/>
              <a:chOff x="1007217" y="2853340"/>
              <a:chExt cx="3118188" cy="778506"/>
            </a:xfrm>
          </p:grpSpPr>
          <p:sp>
            <p:nvSpPr>
              <p:cNvPr id="8" name="Rectangle: Rounded Corners 5">
                <a:extLst>
                  <a:ext uri="{FF2B5EF4-FFF2-40B4-BE49-F238E27FC236}">
                    <a16:creationId xmlns:a16="http://schemas.microsoft.com/office/drawing/2014/main" id="{6B6A7378-27F6-4157-A483-7BF7754DFCBE}"/>
                  </a:ext>
                </a:extLst>
              </p:cNvPr>
              <p:cNvSpPr/>
              <p:nvPr/>
            </p:nvSpPr>
            <p:spPr>
              <a:xfrm>
                <a:off x="1007217" y="2853340"/>
                <a:ext cx="3118188" cy="778506"/>
              </a:xfrm>
              <a:prstGeom prst="roundRect">
                <a:avLst>
                  <a:gd name="adj" fmla="val 50000"/>
                </a:avLst>
              </a:prstGeom>
              <a:solidFill>
                <a:schemeClr val="bg1"/>
              </a:solidFill>
              <a:ln>
                <a:noFill/>
              </a:ln>
              <a:effectLst>
                <a:outerShdw blurRad="190500" dist="152400" dir="5400000" algn="t" rotWithShape="0">
                  <a:prstClr val="black">
                    <a:alpha val="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等线" panose="020F0502020204030204"/>
                  <a:ea typeface="+mn-ea"/>
                  <a:cs typeface="+mn-cs"/>
                </a:endParaRPr>
              </a:p>
            </p:txBody>
          </p:sp>
          <p:sp>
            <p:nvSpPr>
              <p:cNvPr id="9" name="Oval 96">
                <a:extLst>
                  <a:ext uri="{FF2B5EF4-FFF2-40B4-BE49-F238E27FC236}">
                    <a16:creationId xmlns:a16="http://schemas.microsoft.com/office/drawing/2014/main" id="{A372B6B9-F90F-4F77-8DFE-B7E28F308F86}"/>
                  </a:ext>
                </a:extLst>
              </p:cNvPr>
              <p:cNvSpPr/>
              <p:nvPr/>
            </p:nvSpPr>
            <p:spPr>
              <a:xfrm>
                <a:off x="1093779" y="2920646"/>
                <a:ext cx="643894" cy="643894"/>
              </a:xfrm>
              <a:prstGeom prst="ellipse">
                <a:avLst/>
              </a:prstGeom>
              <a:solidFill>
                <a:schemeClr val="accent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等线" panose="020F0502020204030204"/>
                  <a:ea typeface="+mn-ea"/>
                  <a:cs typeface="+mn-cs"/>
                </a:endParaRPr>
              </a:p>
            </p:txBody>
          </p:sp>
        </p:grpSp>
        <p:sp>
          <p:nvSpPr>
            <p:cNvPr id="6" name="TextBox 94">
              <a:extLst>
                <a:ext uri="{FF2B5EF4-FFF2-40B4-BE49-F238E27FC236}">
                  <a16:creationId xmlns:a16="http://schemas.microsoft.com/office/drawing/2014/main" id="{F7DF97F7-6C74-4F25-95EF-4543F1E4F086}"/>
                </a:ext>
              </a:extLst>
            </p:cNvPr>
            <p:cNvSpPr txBox="1"/>
            <p:nvPr/>
          </p:nvSpPr>
          <p:spPr>
            <a:xfrm>
              <a:off x="3398355" y="2777356"/>
              <a:ext cx="2266215" cy="467869"/>
            </a:xfrm>
            <a:prstGeom prst="rect">
              <a:avLst/>
            </a:prstGeom>
            <a:noFill/>
          </p:spPr>
          <p:txBody>
            <a:bodyPr wrap="square" rtlCol="0">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4C38"/>
                  </a:solidFill>
                  <a:effectLst/>
                  <a:uLnTx/>
                  <a:uFillTx/>
                  <a:latin typeface="等线" panose="020F0502020204030204"/>
                  <a:ea typeface="+mn-ea"/>
                  <a:cs typeface="Arial" panose="020B0604020202020204" pitchFamily="34" charset="0"/>
                </a:rPr>
                <a:t>Option Here</a:t>
              </a:r>
            </a:p>
          </p:txBody>
        </p:sp>
        <p:sp>
          <p:nvSpPr>
            <p:cNvPr id="7" name="TextBox 146">
              <a:extLst>
                <a:ext uri="{FF2B5EF4-FFF2-40B4-BE49-F238E27FC236}">
                  <a16:creationId xmlns:a16="http://schemas.microsoft.com/office/drawing/2014/main" id="{1767B09D-267A-45F3-B6E8-6147F03F9F71}"/>
                </a:ext>
              </a:extLst>
            </p:cNvPr>
            <p:cNvSpPr txBox="1"/>
            <p:nvPr/>
          </p:nvSpPr>
          <p:spPr>
            <a:xfrm>
              <a:off x="2632943" y="2777356"/>
              <a:ext cx="643896" cy="467869"/>
            </a:xfrm>
            <a:prstGeom prst="rect">
              <a:avLst/>
            </a:prstGeom>
            <a:noFill/>
          </p:spPr>
          <p:txBody>
            <a:bodyPr wrap="square" rtlCol="0">
              <a:sp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4C38"/>
                  </a:solidFill>
                  <a:effectLst/>
                  <a:uLnTx/>
                  <a:uFillTx/>
                  <a:latin typeface="等线" panose="020F0502020204030204"/>
                  <a:ea typeface="+mn-ea"/>
                  <a:cs typeface="Arial" panose="020B0604020202020204" pitchFamily="34" charset="0"/>
                </a:rPr>
                <a:t>01</a:t>
              </a:r>
            </a:p>
          </p:txBody>
        </p:sp>
      </p:grpSp>
      <p:sp>
        <p:nvSpPr>
          <p:cNvPr id="10" name="TextBox 110">
            <a:extLst>
              <a:ext uri="{FF2B5EF4-FFF2-40B4-BE49-F238E27FC236}">
                <a16:creationId xmlns:a16="http://schemas.microsoft.com/office/drawing/2014/main" id="{73796E16-385C-4F22-937C-13E264F8031C}"/>
              </a:ext>
            </a:extLst>
          </p:cNvPr>
          <p:cNvSpPr txBox="1"/>
          <p:nvPr/>
        </p:nvSpPr>
        <p:spPr>
          <a:xfrm>
            <a:off x="689156" y="1896358"/>
            <a:ext cx="4619626" cy="132343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0" b="1" i="0" u="none" strike="noStrike" kern="1200" cap="none" spc="0" normalizeH="0" baseline="0" noProof="0" dirty="0">
                <a:ln>
                  <a:noFill/>
                </a:ln>
                <a:solidFill>
                  <a:srgbClr val="000000">
                    <a:lumMod val="85000"/>
                    <a:lumOff val="15000"/>
                  </a:srgbClr>
                </a:solidFill>
                <a:effectLst/>
                <a:uLnTx/>
                <a:uFillTx/>
                <a:latin typeface="等线 Light" panose="020F0302020204030204"/>
                <a:ea typeface="+mn-ea"/>
                <a:cs typeface="Arial" panose="020B0604020202020204" pitchFamily="34" charset="0"/>
              </a:rPr>
              <a:t>Your Title </a:t>
            </a:r>
            <a:r>
              <a:rPr kumimoji="0" lang="en-US" sz="4000" b="1" i="0" u="none" strike="noStrike" kern="1200" cap="none" spc="0" normalizeH="0" baseline="0" noProof="0">
                <a:ln>
                  <a:noFill/>
                </a:ln>
                <a:solidFill>
                  <a:srgbClr val="000000">
                    <a:lumMod val="85000"/>
                    <a:lumOff val="15000"/>
                  </a:srgbClr>
                </a:solidFill>
                <a:effectLst/>
                <a:uLnTx/>
                <a:uFillTx/>
                <a:latin typeface="等线 Light" panose="020F0302020204030204"/>
                <a:ea typeface="+mn-ea"/>
                <a:cs typeface="Arial" panose="020B0604020202020204" pitchFamily="34" charset="0"/>
              </a:rPr>
              <a:t>Tex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0" b="1" i="0" u="none" strike="noStrike" kern="1200" cap="none" spc="0" normalizeH="0" baseline="0" noProof="0">
                <a:ln>
                  <a:noFill/>
                </a:ln>
                <a:solidFill>
                  <a:srgbClr val="000000">
                    <a:lumMod val="85000"/>
                    <a:lumOff val="15000"/>
                  </a:srgbClr>
                </a:solidFill>
                <a:effectLst/>
                <a:uLnTx/>
                <a:uFillTx/>
                <a:latin typeface="等线 Light" panose="020F0302020204030204"/>
                <a:ea typeface="+mn-ea"/>
                <a:cs typeface="Arial" panose="020B0604020202020204" pitchFamily="34" charset="0"/>
              </a:rPr>
              <a:t>Goes </a:t>
            </a:r>
            <a:r>
              <a:rPr kumimoji="0" lang="en-US" sz="4000" b="1" i="0" u="none" strike="noStrike" kern="1200" cap="none" spc="0" normalizeH="0" baseline="0" noProof="0" dirty="0">
                <a:ln>
                  <a:noFill/>
                </a:ln>
                <a:solidFill>
                  <a:srgbClr val="000000">
                    <a:lumMod val="85000"/>
                    <a:lumOff val="15000"/>
                  </a:srgbClr>
                </a:solidFill>
                <a:effectLst/>
                <a:uLnTx/>
                <a:uFillTx/>
                <a:latin typeface="等线 Light" panose="020F0302020204030204"/>
                <a:ea typeface="+mn-ea"/>
                <a:cs typeface="Arial" panose="020B0604020202020204" pitchFamily="34" charset="0"/>
              </a:rPr>
              <a:t>Here</a:t>
            </a:r>
          </a:p>
        </p:txBody>
      </p:sp>
      <p:sp>
        <p:nvSpPr>
          <p:cNvPr id="11" name="TextBox 111">
            <a:extLst>
              <a:ext uri="{FF2B5EF4-FFF2-40B4-BE49-F238E27FC236}">
                <a16:creationId xmlns:a16="http://schemas.microsoft.com/office/drawing/2014/main" id="{F38A70A6-E3B9-4FA9-9A5C-49BB369D8073}"/>
              </a:ext>
            </a:extLst>
          </p:cNvPr>
          <p:cNvSpPr txBox="1"/>
          <p:nvPr/>
        </p:nvSpPr>
        <p:spPr>
          <a:xfrm>
            <a:off x="736782" y="3331444"/>
            <a:ext cx="4251844" cy="1463542"/>
          </a:xfrm>
          <a:prstGeom prst="rect">
            <a:avLst/>
          </a:prstGeom>
          <a:noFill/>
        </p:spPr>
        <p:txBody>
          <a:bodyPr wrap="square" rtlCol="0">
            <a:spAutoFit/>
          </a:bodyPr>
          <a:lstStyle/>
          <a:p>
            <a:pPr marL="0" marR="0" lvl="0" indent="0" algn="l" defTabSz="914400" rtl="0" eaLnBrk="1" fontAlgn="auto" latinLnBrk="0" hangingPunct="1">
              <a:lnSpc>
                <a:spcPct val="13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000000">
                    <a:lumMod val="65000"/>
                    <a:lumOff val="35000"/>
                  </a:srgbClr>
                </a:solidFill>
                <a:effectLst/>
                <a:uLnTx/>
                <a:uFillTx/>
                <a:latin typeface="等线" panose="020F0502020204030204"/>
                <a:ea typeface="Open Sans" panose="020B0606030504020204" pitchFamily="34" charset="0"/>
                <a:cs typeface="Segoe UI" panose="020B0502040204020203" pitchFamily="34" charset="0"/>
              </a:rPr>
              <a:t>Leverage agile frameworks to provide a robust synopsis for high level overviews. Leverage agile frameworks to provide a robust synopsis for high level overviews.</a:t>
            </a:r>
          </a:p>
          <a:p>
            <a:pPr marL="0" marR="0" lvl="0" indent="0" algn="l" defTabSz="914400" rtl="0" eaLnBrk="1" fontAlgn="auto" latinLnBrk="0" hangingPunct="1">
              <a:lnSpc>
                <a:spcPct val="13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000000">
                  <a:lumMod val="65000"/>
                  <a:lumOff val="35000"/>
                </a:srgbClr>
              </a:solidFill>
              <a:effectLst/>
              <a:uLnTx/>
              <a:uFillTx/>
              <a:latin typeface="等线" panose="020F0502020204030204"/>
              <a:ea typeface="Open Sans" panose="020B0606030504020204" pitchFamily="34" charset="0"/>
              <a:cs typeface="Segoe UI" panose="020B0502040204020203" pitchFamily="34" charset="0"/>
            </a:endParaRPr>
          </a:p>
        </p:txBody>
      </p:sp>
      <p:grpSp>
        <p:nvGrpSpPr>
          <p:cNvPr id="12" name="Group 148">
            <a:extLst>
              <a:ext uri="{FF2B5EF4-FFF2-40B4-BE49-F238E27FC236}">
                <a16:creationId xmlns:a16="http://schemas.microsoft.com/office/drawing/2014/main" id="{AF24CD4F-6503-4695-BAAE-5901CDCCA7CB}"/>
              </a:ext>
            </a:extLst>
          </p:cNvPr>
          <p:cNvGrpSpPr/>
          <p:nvPr/>
        </p:nvGrpSpPr>
        <p:grpSpPr>
          <a:xfrm>
            <a:off x="8797480" y="1592437"/>
            <a:ext cx="2502926" cy="624896"/>
            <a:chOff x="2546382" y="2667000"/>
            <a:chExt cx="3118188" cy="778506"/>
          </a:xfrm>
        </p:grpSpPr>
        <p:grpSp>
          <p:nvGrpSpPr>
            <p:cNvPr id="13" name="Group 149">
              <a:extLst>
                <a:ext uri="{FF2B5EF4-FFF2-40B4-BE49-F238E27FC236}">
                  <a16:creationId xmlns:a16="http://schemas.microsoft.com/office/drawing/2014/main" id="{C89CB36E-9999-44CC-ACF7-6C365DECD34E}"/>
                </a:ext>
              </a:extLst>
            </p:cNvPr>
            <p:cNvGrpSpPr/>
            <p:nvPr/>
          </p:nvGrpSpPr>
          <p:grpSpPr>
            <a:xfrm>
              <a:off x="2546382" y="2667000"/>
              <a:ext cx="3118188" cy="778506"/>
              <a:chOff x="1007217" y="2853340"/>
              <a:chExt cx="3118188" cy="778506"/>
            </a:xfrm>
          </p:grpSpPr>
          <p:sp>
            <p:nvSpPr>
              <p:cNvPr id="16" name="Rectangle: Rounded Corners 5">
                <a:extLst>
                  <a:ext uri="{FF2B5EF4-FFF2-40B4-BE49-F238E27FC236}">
                    <a16:creationId xmlns:a16="http://schemas.microsoft.com/office/drawing/2014/main" id="{30E3685E-BCAB-40A8-AA96-6D719951A8E0}"/>
                  </a:ext>
                </a:extLst>
              </p:cNvPr>
              <p:cNvSpPr/>
              <p:nvPr/>
            </p:nvSpPr>
            <p:spPr>
              <a:xfrm>
                <a:off x="1007217" y="2853340"/>
                <a:ext cx="3118188" cy="778506"/>
              </a:xfrm>
              <a:prstGeom prst="roundRect">
                <a:avLst>
                  <a:gd name="adj" fmla="val 50000"/>
                </a:avLst>
              </a:prstGeom>
              <a:solidFill>
                <a:schemeClr val="accent2"/>
              </a:solidFill>
              <a:ln>
                <a:noFill/>
              </a:ln>
              <a:effectLst>
                <a:outerShdw blurRad="190500" dist="152400" dir="5400000" algn="t" rotWithShape="0">
                  <a:prstClr val="black">
                    <a:alpha val="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等线" panose="020F0502020204030204"/>
                  <a:ea typeface="+mn-ea"/>
                  <a:cs typeface="+mn-cs"/>
                </a:endParaRPr>
              </a:p>
            </p:txBody>
          </p:sp>
          <p:sp>
            <p:nvSpPr>
              <p:cNvPr id="17" name="Oval 153">
                <a:extLst>
                  <a:ext uri="{FF2B5EF4-FFF2-40B4-BE49-F238E27FC236}">
                    <a16:creationId xmlns:a16="http://schemas.microsoft.com/office/drawing/2014/main" id="{9E464475-CBCD-4C5C-8343-2348A3ACC697}"/>
                  </a:ext>
                </a:extLst>
              </p:cNvPr>
              <p:cNvSpPr/>
              <p:nvPr/>
            </p:nvSpPr>
            <p:spPr>
              <a:xfrm>
                <a:off x="1093779" y="2920646"/>
                <a:ext cx="643894" cy="643894"/>
              </a:xfrm>
              <a:prstGeom prst="ellipse">
                <a:avLst/>
              </a:prstGeom>
              <a:solidFill>
                <a:schemeClr val="accent2">
                  <a:lumMod val="50000"/>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等线" panose="020F0502020204030204"/>
                  <a:ea typeface="+mn-ea"/>
                  <a:cs typeface="+mn-cs"/>
                </a:endParaRPr>
              </a:p>
            </p:txBody>
          </p:sp>
        </p:grpSp>
        <p:sp>
          <p:nvSpPr>
            <p:cNvPr id="14" name="TextBox 150">
              <a:extLst>
                <a:ext uri="{FF2B5EF4-FFF2-40B4-BE49-F238E27FC236}">
                  <a16:creationId xmlns:a16="http://schemas.microsoft.com/office/drawing/2014/main" id="{06A4C30B-2255-4C46-9F38-96C3AD1B5F61}"/>
                </a:ext>
              </a:extLst>
            </p:cNvPr>
            <p:cNvSpPr txBox="1"/>
            <p:nvPr/>
          </p:nvSpPr>
          <p:spPr>
            <a:xfrm>
              <a:off x="3398355" y="2777356"/>
              <a:ext cx="2266215" cy="467869"/>
            </a:xfrm>
            <a:prstGeom prst="rect">
              <a:avLst/>
            </a:prstGeom>
            <a:noFill/>
          </p:spPr>
          <p:txBody>
            <a:bodyPr wrap="square" rtlCol="0">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等线" panose="020F0502020204030204"/>
                  <a:ea typeface="+mn-ea"/>
                  <a:cs typeface="Arial" panose="020B0604020202020204" pitchFamily="34" charset="0"/>
                </a:rPr>
                <a:t>Option Here</a:t>
              </a:r>
            </a:p>
          </p:txBody>
        </p:sp>
        <p:sp>
          <p:nvSpPr>
            <p:cNvPr id="15" name="TextBox 151">
              <a:extLst>
                <a:ext uri="{FF2B5EF4-FFF2-40B4-BE49-F238E27FC236}">
                  <a16:creationId xmlns:a16="http://schemas.microsoft.com/office/drawing/2014/main" id="{5329D3CE-EFD4-48AF-AF4B-D7ACD6468D70}"/>
                </a:ext>
              </a:extLst>
            </p:cNvPr>
            <p:cNvSpPr txBox="1"/>
            <p:nvPr/>
          </p:nvSpPr>
          <p:spPr>
            <a:xfrm>
              <a:off x="2632943" y="2777356"/>
              <a:ext cx="643896" cy="467869"/>
            </a:xfrm>
            <a:prstGeom prst="rect">
              <a:avLst/>
            </a:prstGeom>
            <a:noFill/>
          </p:spPr>
          <p:txBody>
            <a:bodyPr wrap="square" rtlCol="0">
              <a:sp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等线" panose="020F0502020204030204"/>
                  <a:ea typeface="+mn-ea"/>
                  <a:cs typeface="Arial" panose="020B0604020202020204" pitchFamily="34" charset="0"/>
                </a:rPr>
                <a:t>02</a:t>
              </a:r>
            </a:p>
          </p:txBody>
        </p:sp>
      </p:grpSp>
      <p:grpSp>
        <p:nvGrpSpPr>
          <p:cNvPr id="18" name="Group 154">
            <a:extLst>
              <a:ext uri="{FF2B5EF4-FFF2-40B4-BE49-F238E27FC236}">
                <a16:creationId xmlns:a16="http://schemas.microsoft.com/office/drawing/2014/main" id="{1D010EFE-6709-4481-A97B-4A44335F0673}"/>
              </a:ext>
            </a:extLst>
          </p:cNvPr>
          <p:cNvGrpSpPr/>
          <p:nvPr/>
        </p:nvGrpSpPr>
        <p:grpSpPr>
          <a:xfrm>
            <a:off x="9147628" y="3344026"/>
            <a:ext cx="2502926" cy="624896"/>
            <a:chOff x="2546382" y="2667000"/>
            <a:chExt cx="3118188" cy="778506"/>
          </a:xfrm>
        </p:grpSpPr>
        <p:grpSp>
          <p:nvGrpSpPr>
            <p:cNvPr id="19" name="Group 155">
              <a:extLst>
                <a:ext uri="{FF2B5EF4-FFF2-40B4-BE49-F238E27FC236}">
                  <a16:creationId xmlns:a16="http://schemas.microsoft.com/office/drawing/2014/main" id="{25FD6D94-1770-448C-A3C2-36D90202C0CD}"/>
                </a:ext>
              </a:extLst>
            </p:cNvPr>
            <p:cNvGrpSpPr/>
            <p:nvPr/>
          </p:nvGrpSpPr>
          <p:grpSpPr>
            <a:xfrm>
              <a:off x="2546382" y="2667000"/>
              <a:ext cx="3118188" cy="778506"/>
              <a:chOff x="1007217" y="2853340"/>
              <a:chExt cx="3118188" cy="778506"/>
            </a:xfrm>
          </p:grpSpPr>
          <p:sp>
            <p:nvSpPr>
              <p:cNvPr id="22" name="Rectangle: Rounded Corners 5">
                <a:extLst>
                  <a:ext uri="{FF2B5EF4-FFF2-40B4-BE49-F238E27FC236}">
                    <a16:creationId xmlns:a16="http://schemas.microsoft.com/office/drawing/2014/main" id="{5B165543-A959-42A2-9133-13E5853CBE9D}"/>
                  </a:ext>
                </a:extLst>
              </p:cNvPr>
              <p:cNvSpPr/>
              <p:nvPr/>
            </p:nvSpPr>
            <p:spPr>
              <a:xfrm>
                <a:off x="1007217" y="2853340"/>
                <a:ext cx="3118188" cy="778506"/>
              </a:xfrm>
              <a:prstGeom prst="roundRect">
                <a:avLst>
                  <a:gd name="adj" fmla="val 50000"/>
                </a:avLst>
              </a:prstGeom>
              <a:solidFill>
                <a:schemeClr val="bg1"/>
              </a:solidFill>
              <a:ln>
                <a:noFill/>
              </a:ln>
              <a:effectLst>
                <a:outerShdw blurRad="190500" dist="152400" dir="5400000" algn="t" rotWithShape="0">
                  <a:prstClr val="black">
                    <a:alpha val="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85FFF"/>
                  </a:solidFill>
                  <a:effectLst/>
                  <a:uLnTx/>
                  <a:uFillTx/>
                  <a:latin typeface="等线" panose="020F0502020204030204"/>
                  <a:ea typeface="+mn-ea"/>
                  <a:cs typeface="+mn-cs"/>
                </a:endParaRPr>
              </a:p>
            </p:txBody>
          </p:sp>
          <p:sp>
            <p:nvSpPr>
              <p:cNvPr id="23" name="Oval 159">
                <a:extLst>
                  <a:ext uri="{FF2B5EF4-FFF2-40B4-BE49-F238E27FC236}">
                    <a16:creationId xmlns:a16="http://schemas.microsoft.com/office/drawing/2014/main" id="{55898B02-06A1-4AEC-AFD6-19F130DF516F}"/>
                  </a:ext>
                </a:extLst>
              </p:cNvPr>
              <p:cNvSpPr/>
              <p:nvPr/>
            </p:nvSpPr>
            <p:spPr>
              <a:xfrm>
                <a:off x="1093779" y="2920646"/>
                <a:ext cx="643894" cy="643894"/>
              </a:xfrm>
              <a:prstGeom prst="ellipse">
                <a:avLst/>
              </a:prstGeom>
              <a:solidFill>
                <a:schemeClr val="accent6">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85FFF"/>
                  </a:solidFill>
                  <a:effectLst/>
                  <a:uLnTx/>
                  <a:uFillTx/>
                  <a:latin typeface="等线" panose="020F0502020204030204"/>
                  <a:ea typeface="+mn-ea"/>
                  <a:cs typeface="+mn-cs"/>
                </a:endParaRPr>
              </a:p>
            </p:txBody>
          </p:sp>
        </p:grpSp>
        <p:sp>
          <p:nvSpPr>
            <p:cNvPr id="20" name="TextBox 156">
              <a:extLst>
                <a:ext uri="{FF2B5EF4-FFF2-40B4-BE49-F238E27FC236}">
                  <a16:creationId xmlns:a16="http://schemas.microsoft.com/office/drawing/2014/main" id="{6EAC4DAC-99CE-4931-939A-E825DA5759C4}"/>
                </a:ext>
              </a:extLst>
            </p:cNvPr>
            <p:cNvSpPr txBox="1"/>
            <p:nvPr/>
          </p:nvSpPr>
          <p:spPr>
            <a:xfrm>
              <a:off x="3398355" y="2777356"/>
              <a:ext cx="2266215" cy="467869"/>
            </a:xfrm>
            <a:prstGeom prst="rect">
              <a:avLst/>
            </a:prstGeom>
            <a:noFill/>
          </p:spPr>
          <p:txBody>
            <a:bodyPr wrap="square" rtlCol="0">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385FFF"/>
                  </a:solidFill>
                  <a:effectLst/>
                  <a:uLnTx/>
                  <a:uFillTx/>
                  <a:latin typeface="等线" panose="020F0502020204030204"/>
                  <a:ea typeface="+mn-ea"/>
                  <a:cs typeface="Arial" panose="020B0604020202020204" pitchFamily="34" charset="0"/>
                </a:rPr>
                <a:t>Option Here</a:t>
              </a:r>
            </a:p>
          </p:txBody>
        </p:sp>
        <p:sp>
          <p:nvSpPr>
            <p:cNvPr id="21" name="TextBox 157">
              <a:extLst>
                <a:ext uri="{FF2B5EF4-FFF2-40B4-BE49-F238E27FC236}">
                  <a16:creationId xmlns:a16="http://schemas.microsoft.com/office/drawing/2014/main" id="{A3F75354-018B-4A8E-AD8D-E2ED2C9B7A93}"/>
                </a:ext>
              </a:extLst>
            </p:cNvPr>
            <p:cNvSpPr txBox="1"/>
            <p:nvPr/>
          </p:nvSpPr>
          <p:spPr>
            <a:xfrm>
              <a:off x="2632943" y="2777356"/>
              <a:ext cx="643896" cy="467869"/>
            </a:xfrm>
            <a:prstGeom prst="rect">
              <a:avLst/>
            </a:prstGeom>
            <a:noFill/>
          </p:spPr>
          <p:txBody>
            <a:bodyPr wrap="square" rtlCol="0">
              <a:sp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385FFF"/>
                  </a:solidFill>
                  <a:effectLst/>
                  <a:uLnTx/>
                  <a:uFillTx/>
                  <a:latin typeface="等线" panose="020F0502020204030204"/>
                  <a:ea typeface="+mn-ea"/>
                  <a:cs typeface="Arial" panose="020B0604020202020204" pitchFamily="34" charset="0"/>
                </a:rPr>
                <a:t>04</a:t>
              </a:r>
            </a:p>
          </p:txBody>
        </p:sp>
      </p:grpSp>
      <p:grpSp>
        <p:nvGrpSpPr>
          <p:cNvPr id="24" name="Group 160">
            <a:extLst>
              <a:ext uri="{FF2B5EF4-FFF2-40B4-BE49-F238E27FC236}">
                <a16:creationId xmlns:a16="http://schemas.microsoft.com/office/drawing/2014/main" id="{B65CC74A-3EDD-438E-904F-6365C424821C}"/>
              </a:ext>
            </a:extLst>
          </p:cNvPr>
          <p:cNvGrpSpPr/>
          <p:nvPr/>
        </p:nvGrpSpPr>
        <p:grpSpPr>
          <a:xfrm>
            <a:off x="5855366" y="4441561"/>
            <a:ext cx="2502926" cy="624896"/>
            <a:chOff x="2546382" y="2667000"/>
            <a:chExt cx="3118188" cy="778506"/>
          </a:xfrm>
        </p:grpSpPr>
        <p:grpSp>
          <p:nvGrpSpPr>
            <p:cNvPr id="25" name="Group 161">
              <a:extLst>
                <a:ext uri="{FF2B5EF4-FFF2-40B4-BE49-F238E27FC236}">
                  <a16:creationId xmlns:a16="http://schemas.microsoft.com/office/drawing/2014/main" id="{5D70CE6B-D976-4078-89AB-8198754ACAC8}"/>
                </a:ext>
              </a:extLst>
            </p:cNvPr>
            <p:cNvGrpSpPr/>
            <p:nvPr/>
          </p:nvGrpSpPr>
          <p:grpSpPr>
            <a:xfrm>
              <a:off x="2546382" y="2667000"/>
              <a:ext cx="3118188" cy="778506"/>
              <a:chOff x="1007217" y="2853340"/>
              <a:chExt cx="3118188" cy="778506"/>
            </a:xfrm>
          </p:grpSpPr>
          <p:sp>
            <p:nvSpPr>
              <p:cNvPr id="28" name="Rectangle: Rounded Corners 5">
                <a:extLst>
                  <a:ext uri="{FF2B5EF4-FFF2-40B4-BE49-F238E27FC236}">
                    <a16:creationId xmlns:a16="http://schemas.microsoft.com/office/drawing/2014/main" id="{2FE89A5C-8CB5-4842-8BB5-25E5A4144C69}"/>
                  </a:ext>
                </a:extLst>
              </p:cNvPr>
              <p:cNvSpPr/>
              <p:nvPr/>
            </p:nvSpPr>
            <p:spPr>
              <a:xfrm>
                <a:off x="1007217" y="2853340"/>
                <a:ext cx="3118188" cy="778506"/>
              </a:xfrm>
              <a:prstGeom prst="roundRect">
                <a:avLst>
                  <a:gd name="adj" fmla="val 50000"/>
                </a:avLst>
              </a:prstGeom>
              <a:solidFill>
                <a:schemeClr val="bg1"/>
              </a:solidFill>
              <a:ln>
                <a:noFill/>
              </a:ln>
              <a:effectLst>
                <a:outerShdw blurRad="190500" dist="152400" dir="5400000" algn="t" rotWithShape="0">
                  <a:prstClr val="black">
                    <a:alpha val="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D99B"/>
                  </a:solidFill>
                  <a:effectLst/>
                  <a:uLnTx/>
                  <a:uFillTx/>
                  <a:latin typeface="等线" panose="020F0502020204030204"/>
                  <a:ea typeface="+mn-ea"/>
                  <a:cs typeface="+mn-cs"/>
                </a:endParaRPr>
              </a:p>
            </p:txBody>
          </p:sp>
          <p:sp>
            <p:nvSpPr>
              <p:cNvPr id="29" name="Oval 165">
                <a:extLst>
                  <a:ext uri="{FF2B5EF4-FFF2-40B4-BE49-F238E27FC236}">
                    <a16:creationId xmlns:a16="http://schemas.microsoft.com/office/drawing/2014/main" id="{D06E6ADB-6157-4106-9256-8B29E767FEE7}"/>
                  </a:ext>
                </a:extLst>
              </p:cNvPr>
              <p:cNvSpPr/>
              <p:nvPr/>
            </p:nvSpPr>
            <p:spPr>
              <a:xfrm>
                <a:off x="1093779" y="2920646"/>
                <a:ext cx="643894" cy="643894"/>
              </a:xfrm>
              <a:prstGeom prst="ellipse">
                <a:avLst/>
              </a:prstGeom>
              <a:solidFill>
                <a:schemeClr val="accent5">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D99B"/>
                  </a:solidFill>
                  <a:effectLst/>
                  <a:uLnTx/>
                  <a:uFillTx/>
                  <a:latin typeface="等线" panose="020F0502020204030204"/>
                  <a:ea typeface="+mn-ea"/>
                  <a:cs typeface="+mn-cs"/>
                </a:endParaRPr>
              </a:p>
            </p:txBody>
          </p:sp>
        </p:grpSp>
        <p:sp>
          <p:nvSpPr>
            <p:cNvPr id="26" name="TextBox 162">
              <a:extLst>
                <a:ext uri="{FF2B5EF4-FFF2-40B4-BE49-F238E27FC236}">
                  <a16:creationId xmlns:a16="http://schemas.microsoft.com/office/drawing/2014/main" id="{17D6F0D5-03C3-4A0F-A2AC-3098C222C6A5}"/>
                </a:ext>
              </a:extLst>
            </p:cNvPr>
            <p:cNvSpPr txBox="1"/>
            <p:nvPr/>
          </p:nvSpPr>
          <p:spPr>
            <a:xfrm>
              <a:off x="3398355" y="2777356"/>
              <a:ext cx="2266215" cy="467869"/>
            </a:xfrm>
            <a:prstGeom prst="rect">
              <a:avLst/>
            </a:prstGeom>
            <a:noFill/>
          </p:spPr>
          <p:txBody>
            <a:bodyPr wrap="square" rtlCol="0">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D99B"/>
                  </a:solidFill>
                  <a:effectLst/>
                  <a:uLnTx/>
                  <a:uFillTx/>
                  <a:latin typeface="等线" panose="020F0502020204030204"/>
                  <a:ea typeface="+mn-ea"/>
                  <a:cs typeface="Arial" panose="020B0604020202020204" pitchFamily="34" charset="0"/>
                </a:rPr>
                <a:t>Option Here</a:t>
              </a:r>
            </a:p>
          </p:txBody>
        </p:sp>
        <p:sp>
          <p:nvSpPr>
            <p:cNvPr id="27" name="TextBox 163">
              <a:extLst>
                <a:ext uri="{FF2B5EF4-FFF2-40B4-BE49-F238E27FC236}">
                  <a16:creationId xmlns:a16="http://schemas.microsoft.com/office/drawing/2014/main" id="{3F1074F9-AF61-49B3-8EFA-7F4D7185F955}"/>
                </a:ext>
              </a:extLst>
            </p:cNvPr>
            <p:cNvSpPr txBox="1"/>
            <p:nvPr/>
          </p:nvSpPr>
          <p:spPr>
            <a:xfrm>
              <a:off x="2632943" y="2777356"/>
              <a:ext cx="643896" cy="467869"/>
            </a:xfrm>
            <a:prstGeom prst="rect">
              <a:avLst/>
            </a:prstGeom>
            <a:noFill/>
          </p:spPr>
          <p:txBody>
            <a:bodyPr wrap="square" rtlCol="0">
              <a:sp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D99B"/>
                  </a:solidFill>
                  <a:effectLst/>
                  <a:uLnTx/>
                  <a:uFillTx/>
                  <a:latin typeface="等线" panose="020F0502020204030204"/>
                  <a:ea typeface="+mn-ea"/>
                  <a:cs typeface="Arial" panose="020B0604020202020204" pitchFamily="34" charset="0"/>
                </a:rPr>
                <a:t>05</a:t>
              </a:r>
            </a:p>
          </p:txBody>
        </p:sp>
      </p:grpSp>
      <p:grpSp>
        <p:nvGrpSpPr>
          <p:cNvPr id="30" name="Group 166">
            <a:extLst>
              <a:ext uri="{FF2B5EF4-FFF2-40B4-BE49-F238E27FC236}">
                <a16:creationId xmlns:a16="http://schemas.microsoft.com/office/drawing/2014/main" id="{D4FAC30A-D5A5-43A6-8811-93B29F72B482}"/>
              </a:ext>
            </a:extLst>
          </p:cNvPr>
          <p:cNvGrpSpPr/>
          <p:nvPr/>
        </p:nvGrpSpPr>
        <p:grpSpPr>
          <a:xfrm>
            <a:off x="5324967" y="3018996"/>
            <a:ext cx="2502926" cy="624896"/>
            <a:chOff x="2546382" y="2667000"/>
            <a:chExt cx="3118188" cy="778506"/>
          </a:xfrm>
        </p:grpSpPr>
        <p:grpSp>
          <p:nvGrpSpPr>
            <p:cNvPr id="31" name="Group 167">
              <a:extLst>
                <a:ext uri="{FF2B5EF4-FFF2-40B4-BE49-F238E27FC236}">
                  <a16:creationId xmlns:a16="http://schemas.microsoft.com/office/drawing/2014/main" id="{AACDB64D-0799-4120-8A6F-4DC9A0F44FBE}"/>
                </a:ext>
              </a:extLst>
            </p:cNvPr>
            <p:cNvGrpSpPr/>
            <p:nvPr/>
          </p:nvGrpSpPr>
          <p:grpSpPr>
            <a:xfrm>
              <a:off x="2546382" y="2667000"/>
              <a:ext cx="3118188" cy="778506"/>
              <a:chOff x="1007217" y="2853340"/>
              <a:chExt cx="3118188" cy="778506"/>
            </a:xfrm>
          </p:grpSpPr>
          <p:sp>
            <p:nvSpPr>
              <p:cNvPr id="34" name="Rectangle: Rounded Corners 5">
                <a:extLst>
                  <a:ext uri="{FF2B5EF4-FFF2-40B4-BE49-F238E27FC236}">
                    <a16:creationId xmlns:a16="http://schemas.microsoft.com/office/drawing/2014/main" id="{933A52D9-15B3-4EE1-A43B-BC1E66BA08BD}"/>
                  </a:ext>
                </a:extLst>
              </p:cNvPr>
              <p:cNvSpPr/>
              <p:nvPr/>
            </p:nvSpPr>
            <p:spPr>
              <a:xfrm>
                <a:off x="1007217" y="2853340"/>
                <a:ext cx="3118188" cy="778506"/>
              </a:xfrm>
              <a:prstGeom prst="roundRect">
                <a:avLst>
                  <a:gd name="adj" fmla="val 50000"/>
                </a:avLst>
              </a:prstGeom>
              <a:solidFill>
                <a:schemeClr val="bg1"/>
              </a:solidFill>
              <a:ln>
                <a:noFill/>
              </a:ln>
              <a:effectLst>
                <a:outerShdw blurRad="190500" dist="152400" dir="5400000" algn="t" rotWithShape="0">
                  <a:prstClr val="black">
                    <a:alpha val="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388A"/>
                  </a:solidFill>
                  <a:effectLst/>
                  <a:uLnTx/>
                  <a:uFillTx/>
                  <a:latin typeface="等线" panose="020F0502020204030204"/>
                  <a:ea typeface="+mn-ea"/>
                  <a:cs typeface="+mn-cs"/>
                </a:endParaRPr>
              </a:p>
            </p:txBody>
          </p:sp>
          <p:sp>
            <p:nvSpPr>
              <p:cNvPr id="35" name="Oval 171">
                <a:extLst>
                  <a:ext uri="{FF2B5EF4-FFF2-40B4-BE49-F238E27FC236}">
                    <a16:creationId xmlns:a16="http://schemas.microsoft.com/office/drawing/2014/main" id="{BF62F0A4-F22B-4496-9716-A221A4EF294B}"/>
                  </a:ext>
                </a:extLst>
              </p:cNvPr>
              <p:cNvSpPr/>
              <p:nvPr/>
            </p:nvSpPr>
            <p:spPr>
              <a:xfrm>
                <a:off x="1093779" y="2920646"/>
                <a:ext cx="643894" cy="643894"/>
              </a:xfrm>
              <a:prstGeom prst="ellipse">
                <a:avLst/>
              </a:prstGeom>
              <a:solidFill>
                <a:schemeClr val="accent3">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388A"/>
                  </a:solidFill>
                  <a:effectLst/>
                  <a:uLnTx/>
                  <a:uFillTx/>
                  <a:latin typeface="等线" panose="020F0502020204030204"/>
                  <a:ea typeface="+mn-ea"/>
                  <a:cs typeface="+mn-cs"/>
                </a:endParaRPr>
              </a:p>
            </p:txBody>
          </p:sp>
        </p:grpSp>
        <p:sp>
          <p:nvSpPr>
            <p:cNvPr id="32" name="TextBox 168">
              <a:extLst>
                <a:ext uri="{FF2B5EF4-FFF2-40B4-BE49-F238E27FC236}">
                  <a16:creationId xmlns:a16="http://schemas.microsoft.com/office/drawing/2014/main" id="{108D67CB-F7E2-402D-AF26-F411913DEDC0}"/>
                </a:ext>
              </a:extLst>
            </p:cNvPr>
            <p:cNvSpPr txBox="1"/>
            <p:nvPr/>
          </p:nvSpPr>
          <p:spPr>
            <a:xfrm>
              <a:off x="3398355" y="2777356"/>
              <a:ext cx="2266215" cy="467869"/>
            </a:xfrm>
            <a:prstGeom prst="rect">
              <a:avLst/>
            </a:prstGeom>
            <a:noFill/>
          </p:spPr>
          <p:txBody>
            <a:bodyPr wrap="square" rtlCol="0">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388A"/>
                  </a:solidFill>
                  <a:effectLst/>
                  <a:uLnTx/>
                  <a:uFillTx/>
                  <a:latin typeface="等线" panose="020F0502020204030204"/>
                  <a:ea typeface="+mn-ea"/>
                  <a:cs typeface="Arial" panose="020B0604020202020204" pitchFamily="34" charset="0"/>
                </a:rPr>
                <a:t>Option Here</a:t>
              </a:r>
            </a:p>
          </p:txBody>
        </p:sp>
        <p:sp>
          <p:nvSpPr>
            <p:cNvPr id="33" name="TextBox 169">
              <a:extLst>
                <a:ext uri="{FF2B5EF4-FFF2-40B4-BE49-F238E27FC236}">
                  <a16:creationId xmlns:a16="http://schemas.microsoft.com/office/drawing/2014/main" id="{69F3CFAC-463C-4273-8FC5-39FA4F8C7AE5}"/>
                </a:ext>
              </a:extLst>
            </p:cNvPr>
            <p:cNvSpPr txBox="1"/>
            <p:nvPr/>
          </p:nvSpPr>
          <p:spPr>
            <a:xfrm>
              <a:off x="2632943" y="2777356"/>
              <a:ext cx="643896" cy="467869"/>
            </a:xfrm>
            <a:prstGeom prst="rect">
              <a:avLst/>
            </a:prstGeom>
            <a:noFill/>
          </p:spPr>
          <p:txBody>
            <a:bodyPr wrap="square" rtlCol="0">
              <a:sp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388A"/>
                  </a:solidFill>
                  <a:effectLst/>
                  <a:uLnTx/>
                  <a:uFillTx/>
                  <a:latin typeface="等线" panose="020F0502020204030204"/>
                  <a:ea typeface="+mn-ea"/>
                  <a:cs typeface="Arial" panose="020B0604020202020204" pitchFamily="34" charset="0"/>
                </a:rPr>
                <a:t>03</a:t>
              </a:r>
            </a:p>
          </p:txBody>
        </p:sp>
      </p:grpSp>
      <p:grpSp>
        <p:nvGrpSpPr>
          <p:cNvPr id="36" name="Group 172">
            <a:extLst>
              <a:ext uri="{FF2B5EF4-FFF2-40B4-BE49-F238E27FC236}">
                <a16:creationId xmlns:a16="http://schemas.microsoft.com/office/drawing/2014/main" id="{913701A5-9408-49B2-9A7B-B70228643E69}"/>
              </a:ext>
            </a:extLst>
          </p:cNvPr>
          <p:cNvGrpSpPr/>
          <p:nvPr/>
        </p:nvGrpSpPr>
        <p:grpSpPr>
          <a:xfrm>
            <a:off x="9034621" y="4706405"/>
            <a:ext cx="2502926" cy="624896"/>
            <a:chOff x="2546382" y="2667000"/>
            <a:chExt cx="3118188" cy="778506"/>
          </a:xfrm>
        </p:grpSpPr>
        <p:grpSp>
          <p:nvGrpSpPr>
            <p:cNvPr id="37" name="Group 173">
              <a:extLst>
                <a:ext uri="{FF2B5EF4-FFF2-40B4-BE49-F238E27FC236}">
                  <a16:creationId xmlns:a16="http://schemas.microsoft.com/office/drawing/2014/main" id="{F00AB6B0-DA5D-47EC-B605-9E0ADD208B4E}"/>
                </a:ext>
              </a:extLst>
            </p:cNvPr>
            <p:cNvGrpSpPr/>
            <p:nvPr/>
          </p:nvGrpSpPr>
          <p:grpSpPr>
            <a:xfrm>
              <a:off x="2546382" y="2667000"/>
              <a:ext cx="3118188" cy="778506"/>
              <a:chOff x="1007217" y="2853340"/>
              <a:chExt cx="3118188" cy="778506"/>
            </a:xfrm>
          </p:grpSpPr>
          <p:sp>
            <p:nvSpPr>
              <p:cNvPr id="40" name="Rectangle: Rounded Corners 5">
                <a:extLst>
                  <a:ext uri="{FF2B5EF4-FFF2-40B4-BE49-F238E27FC236}">
                    <a16:creationId xmlns:a16="http://schemas.microsoft.com/office/drawing/2014/main" id="{C62D7846-919A-4664-A442-BD9F6F0B6182}"/>
                  </a:ext>
                </a:extLst>
              </p:cNvPr>
              <p:cNvSpPr/>
              <p:nvPr/>
            </p:nvSpPr>
            <p:spPr>
              <a:xfrm>
                <a:off x="1007217" y="2853340"/>
                <a:ext cx="3118188" cy="778506"/>
              </a:xfrm>
              <a:prstGeom prst="roundRect">
                <a:avLst>
                  <a:gd name="adj" fmla="val 50000"/>
                </a:avLst>
              </a:prstGeom>
              <a:solidFill>
                <a:schemeClr val="accent1"/>
              </a:solidFill>
              <a:ln>
                <a:noFill/>
              </a:ln>
              <a:effectLst>
                <a:outerShdw blurRad="190500" dist="152400" dir="5400000" algn="t" rotWithShape="0">
                  <a:prstClr val="black">
                    <a:alpha val="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388A"/>
                  </a:solidFill>
                  <a:effectLst/>
                  <a:uLnTx/>
                  <a:uFillTx/>
                  <a:latin typeface="等线" panose="020F0502020204030204"/>
                  <a:ea typeface="+mn-ea"/>
                  <a:cs typeface="+mn-cs"/>
                </a:endParaRPr>
              </a:p>
            </p:txBody>
          </p:sp>
          <p:sp>
            <p:nvSpPr>
              <p:cNvPr id="41" name="Oval 177">
                <a:extLst>
                  <a:ext uri="{FF2B5EF4-FFF2-40B4-BE49-F238E27FC236}">
                    <a16:creationId xmlns:a16="http://schemas.microsoft.com/office/drawing/2014/main" id="{FB8A3624-A39F-434A-BE54-813CB2A82864}"/>
                  </a:ext>
                </a:extLst>
              </p:cNvPr>
              <p:cNvSpPr/>
              <p:nvPr/>
            </p:nvSpPr>
            <p:spPr>
              <a:xfrm>
                <a:off x="1093779" y="2920646"/>
                <a:ext cx="643894" cy="643894"/>
              </a:xfrm>
              <a:prstGeom prst="ellipse">
                <a:avLst/>
              </a:prstGeom>
              <a:solidFill>
                <a:schemeClr val="accent1">
                  <a:lumMod val="50000"/>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388A"/>
                  </a:solidFill>
                  <a:effectLst/>
                  <a:uLnTx/>
                  <a:uFillTx/>
                  <a:latin typeface="等线" panose="020F0502020204030204"/>
                  <a:ea typeface="+mn-ea"/>
                  <a:cs typeface="+mn-cs"/>
                </a:endParaRPr>
              </a:p>
            </p:txBody>
          </p:sp>
        </p:grpSp>
        <p:sp>
          <p:nvSpPr>
            <p:cNvPr id="38" name="TextBox 174">
              <a:extLst>
                <a:ext uri="{FF2B5EF4-FFF2-40B4-BE49-F238E27FC236}">
                  <a16:creationId xmlns:a16="http://schemas.microsoft.com/office/drawing/2014/main" id="{D812F230-D042-461E-8289-1A4F68C4970E}"/>
                </a:ext>
              </a:extLst>
            </p:cNvPr>
            <p:cNvSpPr txBox="1"/>
            <p:nvPr/>
          </p:nvSpPr>
          <p:spPr>
            <a:xfrm>
              <a:off x="3398355" y="2777356"/>
              <a:ext cx="2266215" cy="467869"/>
            </a:xfrm>
            <a:prstGeom prst="rect">
              <a:avLst/>
            </a:prstGeom>
            <a:noFill/>
          </p:spPr>
          <p:txBody>
            <a:bodyPr wrap="square" rtlCol="0">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等线" panose="020F0502020204030204"/>
                  <a:ea typeface="+mn-ea"/>
                  <a:cs typeface="Arial" panose="020B0604020202020204" pitchFamily="34" charset="0"/>
                </a:rPr>
                <a:t>Option Here</a:t>
              </a:r>
            </a:p>
          </p:txBody>
        </p:sp>
        <p:sp>
          <p:nvSpPr>
            <p:cNvPr id="39" name="TextBox 175">
              <a:extLst>
                <a:ext uri="{FF2B5EF4-FFF2-40B4-BE49-F238E27FC236}">
                  <a16:creationId xmlns:a16="http://schemas.microsoft.com/office/drawing/2014/main" id="{E2B8BA56-769A-40D6-AEFE-D3B981B483E9}"/>
                </a:ext>
              </a:extLst>
            </p:cNvPr>
            <p:cNvSpPr txBox="1"/>
            <p:nvPr/>
          </p:nvSpPr>
          <p:spPr>
            <a:xfrm>
              <a:off x="2632943" y="2777356"/>
              <a:ext cx="643896" cy="467869"/>
            </a:xfrm>
            <a:prstGeom prst="rect">
              <a:avLst/>
            </a:prstGeom>
            <a:noFill/>
          </p:spPr>
          <p:txBody>
            <a:bodyPr wrap="square" rtlCol="0">
              <a:sp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等线" panose="020F0502020204030204"/>
                  <a:ea typeface="+mn-ea"/>
                  <a:cs typeface="Arial" panose="020B0604020202020204" pitchFamily="34" charset="0"/>
                </a:rPr>
                <a:t>06</a:t>
              </a:r>
            </a:p>
          </p:txBody>
        </p:sp>
      </p:grpSp>
      <p:sp>
        <p:nvSpPr>
          <p:cNvPr id="42" name="Freeform 7">
            <a:extLst>
              <a:ext uri="{FF2B5EF4-FFF2-40B4-BE49-F238E27FC236}">
                <a16:creationId xmlns:a16="http://schemas.microsoft.com/office/drawing/2014/main" id="{615901CA-CAB6-4D6C-85C8-224BF4670BB6}"/>
              </a:ext>
            </a:extLst>
          </p:cNvPr>
          <p:cNvSpPr>
            <a:spLocks/>
          </p:cNvSpPr>
          <p:nvPr/>
        </p:nvSpPr>
        <p:spPr bwMode="auto">
          <a:xfrm rot="3600000">
            <a:off x="8535874" y="2406220"/>
            <a:ext cx="502954" cy="253810"/>
          </a:xfrm>
          <a:custGeom>
            <a:avLst/>
            <a:gdLst>
              <a:gd name="T0" fmla="*/ 4456 w 8085"/>
              <a:gd name="T1" fmla="*/ 75 h 16320"/>
              <a:gd name="T2" fmla="*/ 5053 w 8085"/>
              <a:gd name="T3" fmla="*/ 448 h 16320"/>
              <a:gd name="T4" fmla="*/ 5616 w 8085"/>
              <a:gd name="T5" fmla="*/ 1081 h 16320"/>
              <a:gd name="T6" fmla="*/ 6138 w 8085"/>
              <a:gd name="T7" fmla="*/ 1921 h 16320"/>
              <a:gd name="T8" fmla="*/ 6613 w 8085"/>
              <a:gd name="T9" fmla="*/ 2912 h 16320"/>
              <a:gd name="T10" fmla="*/ 7035 w 8085"/>
              <a:gd name="T11" fmla="*/ 4000 h 16320"/>
              <a:gd name="T12" fmla="*/ 7395 w 8085"/>
              <a:gd name="T13" fmla="*/ 5130 h 16320"/>
              <a:gd name="T14" fmla="*/ 7687 w 8085"/>
              <a:gd name="T15" fmla="*/ 6246 h 16320"/>
              <a:gd name="T16" fmla="*/ 7903 w 8085"/>
              <a:gd name="T17" fmla="*/ 7295 h 16320"/>
              <a:gd name="T18" fmla="*/ 8038 w 8085"/>
              <a:gd name="T19" fmla="*/ 8220 h 16320"/>
              <a:gd name="T20" fmla="*/ 8085 w 8085"/>
              <a:gd name="T21" fmla="*/ 8968 h 16320"/>
              <a:gd name="T22" fmla="*/ 8038 w 8085"/>
              <a:gd name="T23" fmla="*/ 9675 h 16320"/>
              <a:gd name="T24" fmla="*/ 7903 w 8085"/>
              <a:gd name="T25" fmla="*/ 10492 h 16320"/>
              <a:gd name="T26" fmla="*/ 7687 w 8085"/>
              <a:gd name="T27" fmla="*/ 11377 h 16320"/>
              <a:gd name="T28" fmla="*/ 7395 w 8085"/>
              <a:gd name="T29" fmla="*/ 12294 h 16320"/>
              <a:gd name="T30" fmla="*/ 7035 w 8085"/>
              <a:gd name="T31" fmla="*/ 13203 h 16320"/>
              <a:gd name="T32" fmla="*/ 6613 w 8085"/>
              <a:gd name="T33" fmla="*/ 14065 h 16320"/>
              <a:gd name="T34" fmla="*/ 6138 w 8085"/>
              <a:gd name="T35" fmla="*/ 14841 h 16320"/>
              <a:gd name="T36" fmla="*/ 5616 w 8085"/>
              <a:gd name="T37" fmla="*/ 15492 h 16320"/>
              <a:gd name="T38" fmla="*/ 5053 w 8085"/>
              <a:gd name="T39" fmla="*/ 15978 h 16320"/>
              <a:gd name="T40" fmla="*/ 4456 w 8085"/>
              <a:gd name="T41" fmla="*/ 16263 h 16320"/>
              <a:gd name="T42" fmla="*/ 3834 w 8085"/>
              <a:gd name="T43" fmla="*/ 16306 h 16320"/>
              <a:gd name="T44" fmla="*/ 3228 w 8085"/>
              <a:gd name="T45" fmla="*/ 16098 h 16320"/>
              <a:gd name="T46" fmla="*/ 2653 w 8085"/>
              <a:gd name="T47" fmla="*/ 15673 h 16320"/>
              <a:gd name="T48" fmla="*/ 2116 w 8085"/>
              <a:gd name="T49" fmla="*/ 15074 h 16320"/>
              <a:gd name="T50" fmla="*/ 1624 w 8085"/>
              <a:gd name="T51" fmla="*/ 14335 h 16320"/>
              <a:gd name="T52" fmla="*/ 1184 w 8085"/>
              <a:gd name="T53" fmla="*/ 13498 h 16320"/>
              <a:gd name="T54" fmla="*/ 803 w 8085"/>
              <a:gd name="T55" fmla="*/ 12600 h 16320"/>
              <a:gd name="T56" fmla="*/ 488 w 8085"/>
              <a:gd name="T57" fmla="*/ 11682 h 16320"/>
              <a:gd name="T58" fmla="*/ 245 w 8085"/>
              <a:gd name="T59" fmla="*/ 10781 h 16320"/>
              <a:gd name="T60" fmla="*/ 82 w 8085"/>
              <a:gd name="T61" fmla="*/ 9937 h 16320"/>
              <a:gd name="T62" fmla="*/ 5 w 8085"/>
              <a:gd name="T63" fmla="*/ 9189 h 16320"/>
              <a:gd name="T64" fmla="*/ 21 w 8085"/>
              <a:gd name="T65" fmla="*/ 8492 h 16320"/>
              <a:gd name="T66" fmla="*/ 127 w 8085"/>
              <a:gd name="T67" fmla="*/ 7619 h 16320"/>
              <a:gd name="T68" fmla="*/ 318 w 8085"/>
              <a:gd name="T69" fmla="*/ 6606 h 16320"/>
              <a:gd name="T70" fmla="*/ 585 w 8085"/>
              <a:gd name="T71" fmla="*/ 5506 h 16320"/>
              <a:gd name="T72" fmla="*/ 923 w 8085"/>
              <a:gd name="T73" fmla="*/ 4375 h 16320"/>
              <a:gd name="T74" fmla="*/ 1324 w 8085"/>
              <a:gd name="T75" fmla="*/ 3267 h 16320"/>
              <a:gd name="T76" fmla="*/ 1783 w 8085"/>
              <a:gd name="T77" fmla="*/ 2237 h 16320"/>
              <a:gd name="T78" fmla="*/ 2290 w 8085"/>
              <a:gd name="T79" fmla="*/ 1340 h 16320"/>
              <a:gd name="T80" fmla="*/ 2840 w 8085"/>
              <a:gd name="T81" fmla="*/ 632 h 16320"/>
              <a:gd name="T82" fmla="*/ 3427 w 8085"/>
              <a:gd name="T83" fmla="*/ 167 h 16320"/>
              <a:gd name="T84" fmla="*/ 4043 w 8085"/>
              <a:gd name="T85" fmla="*/ 0 h 16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085" h="16320">
                <a:moveTo>
                  <a:pt x="4043" y="0"/>
                </a:moveTo>
                <a:lnTo>
                  <a:pt x="4251" y="19"/>
                </a:lnTo>
                <a:lnTo>
                  <a:pt x="4456" y="75"/>
                </a:lnTo>
                <a:lnTo>
                  <a:pt x="4658" y="167"/>
                </a:lnTo>
                <a:lnTo>
                  <a:pt x="4857" y="292"/>
                </a:lnTo>
                <a:lnTo>
                  <a:pt x="5053" y="448"/>
                </a:lnTo>
                <a:lnTo>
                  <a:pt x="5245" y="632"/>
                </a:lnTo>
                <a:lnTo>
                  <a:pt x="5432" y="845"/>
                </a:lnTo>
                <a:lnTo>
                  <a:pt x="5616" y="1081"/>
                </a:lnTo>
                <a:lnTo>
                  <a:pt x="5795" y="1340"/>
                </a:lnTo>
                <a:lnTo>
                  <a:pt x="5969" y="1622"/>
                </a:lnTo>
                <a:lnTo>
                  <a:pt x="6138" y="1921"/>
                </a:lnTo>
                <a:lnTo>
                  <a:pt x="6302" y="2237"/>
                </a:lnTo>
                <a:lnTo>
                  <a:pt x="6461" y="2568"/>
                </a:lnTo>
                <a:lnTo>
                  <a:pt x="6613" y="2912"/>
                </a:lnTo>
                <a:lnTo>
                  <a:pt x="6761" y="3267"/>
                </a:lnTo>
                <a:lnTo>
                  <a:pt x="6901" y="3630"/>
                </a:lnTo>
                <a:lnTo>
                  <a:pt x="7035" y="4000"/>
                </a:lnTo>
                <a:lnTo>
                  <a:pt x="7162" y="4375"/>
                </a:lnTo>
                <a:lnTo>
                  <a:pt x="7282" y="4752"/>
                </a:lnTo>
                <a:lnTo>
                  <a:pt x="7395" y="5130"/>
                </a:lnTo>
                <a:lnTo>
                  <a:pt x="7500" y="5506"/>
                </a:lnTo>
                <a:lnTo>
                  <a:pt x="7597" y="5879"/>
                </a:lnTo>
                <a:lnTo>
                  <a:pt x="7687" y="6246"/>
                </a:lnTo>
                <a:lnTo>
                  <a:pt x="7767" y="6606"/>
                </a:lnTo>
                <a:lnTo>
                  <a:pt x="7840" y="6956"/>
                </a:lnTo>
                <a:lnTo>
                  <a:pt x="7903" y="7295"/>
                </a:lnTo>
                <a:lnTo>
                  <a:pt x="7958" y="7619"/>
                </a:lnTo>
                <a:lnTo>
                  <a:pt x="8003" y="7928"/>
                </a:lnTo>
                <a:lnTo>
                  <a:pt x="8038" y="8220"/>
                </a:lnTo>
                <a:lnTo>
                  <a:pt x="8064" y="8492"/>
                </a:lnTo>
                <a:lnTo>
                  <a:pt x="8080" y="8741"/>
                </a:lnTo>
                <a:lnTo>
                  <a:pt x="8085" y="8968"/>
                </a:lnTo>
                <a:lnTo>
                  <a:pt x="8080" y="9189"/>
                </a:lnTo>
                <a:lnTo>
                  <a:pt x="8064" y="9426"/>
                </a:lnTo>
                <a:lnTo>
                  <a:pt x="8038" y="9675"/>
                </a:lnTo>
                <a:lnTo>
                  <a:pt x="8003" y="9937"/>
                </a:lnTo>
                <a:lnTo>
                  <a:pt x="7958" y="10210"/>
                </a:lnTo>
                <a:lnTo>
                  <a:pt x="7903" y="10492"/>
                </a:lnTo>
                <a:lnTo>
                  <a:pt x="7840" y="10781"/>
                </a:lnTo>
                <a:lnTo>
                  <a:pt x="7767" y="11077"/>
                </a:lnTo>
                <a:lnTo>
                  <a:pt x="7687" y="11377"/>
                </a:lnTo>
                <a:lnTo>
                  <a:pt x="7597" y="11682"/>
                </a:lnTo>
                <a:lnTo>
                  <a:pt x="7500" y="11988"/>
                </a:lnTo>
                <a:lnTo>
                  <a:pt x="7395" y="12294"/>
                </a:lnTo>
                <a:lnTo>
                  <a:pt x="7282" y="12600"/>
                </a:lnTo>
                <a:lnTo>
                  <a:pt x="7162" y="12904"/>
                </a:lnTo>
                <a:lnTo>
                  <a:pt x="7035" y="13203"/>
                </a:lnTo>
                <a:lnTo>
                  <a:pt x="6901" y="13498"/>
                </a:lnTo>
                <a:lnTo>
                  <a:pt x="6761" y="13785"/>
                </a:lnTo>
                <a:lnTo>
                  <a:pt x="6613" y="14065"/>
                </a:lnTo>
                <a:lnTo>
                  <a:pt x="6461" y="14335"/>
                </a:lnTo>
                <a:lnTo>
                  <a:pt x="6302" y="14594"/>
                </a:lnTo>
                <a:lnTo>
                  <a:pt x="6138" y="14841"/>
                </a:lnTo>
                <a:lnTo>
                  <a:pt x="5969" y="15074"/>
                </a:lnTo>
                <a:lnTo>
                  <a:pt x="5795" y="15291"/>
                </a:lnTo>
                <a:lnTo>
                  <a:pt x="5616" y="15492"/>
                </a:lnTo>
                <a:lnTo>
                  <a:pt x="5432" y="15673"/>
                </a:lnTo>
                <a:lnTo>
                  <a:pt x="5245" y="15837"/>
                </a:lnTo>
                <a:lnTo>
                  <a:pt x="5053" y="15978"/>
                </a:lnTo>
                <a:lnTo>
                  <a:pt x="4857" y="16098"/>
                </a:lnTo>
                <a:lnTo>
                  <a:pt x="4658" y="16193"/>
                </a:lnTo>
                <a:lnTo>
                  <a:pt x="4456" y="16263"/>
                </a:lnTo>
                <a:lnTo>
                  <a:pt x="4251" y="16306"/>
                </a:lnTo>
                <a:lnTo>
                  <a:pt x="4043" y="16320"/>
                </a:lnTo>
                <a:lnTo>
                  <a:pt x="3834" y="16306"/>
                </a:lnTo>
                <a:lnTo>
                  <a:pt x="3629" y="16263"/>
                </a:lnTo>
                <a:lnTo>
                  <a:pt x="3427" y="16193"/>
                </a:lnTo>
                <a:lnTo>
                  <a:pt x="3228" y="16098"/>
                </a:lnTo>
                <a:lnTo>
                  <a:pt x="3032" y="15978"/>
                </a:lnTo>
                <a:lnTo>
                  <a:pt x="2840" y="15837"/>
                </a:lnTo>
                <a:lnTo>
                  <a:pt x="2653" y="15673"/>
                </a:lnTo>
                <a:lnTo>
                  <a:pt x="2469" y="15492"/>
                </a:lnTo>
                <a:lnTo>
                  <a:pt x="2290" y="15291"/>
                </a:lnTo>
                <a:lnTo>
                  <a:pt x="2116" y="15074"/>
                </a:lnTo>
                <a:lnTo>
                  <a:pt x="1947" y="14841"/>
                </a:lnTo>
                <a:lnTo>
                  <a:pt x="1783" y="14594"/>
                </a:lnTo>
                <a:lnTo>
                  <a:pt x="1624" y="14335"/>
                </a:lnTo>
                <a:lnTo>
                  <a:pt x="1472" y="14065"/>
                </a:lnTo>
                <a:lnTo>
                  <a:pt x="1324" y="13785"/>
                </a:lnTo>
                <a:lnTo>
                  <a:pt x="1184" y="13498"/>
                </a:lnTo>
                <a:lnTo>
                  <a:pt x="1050" y="13203"/>
                </a:lnTo>
                <a:lnTo>
                  <a:pt x="923" y="12904"/>
                </a:lnTo>
                <a:lnTo>
                  <a:pt x="803" y="12600"/>
                </a:lnTo>
                <a:lnTo>
                  <a:pt x="690" y="12294"/>
                </a:lnTo>
                <a:lnTo>
                  <a:pt x="585" y="11988"/>
                </a:lnTo>
                <a:lnTo>
                  <a:pt x="488" y="11682"/>
                </a:lnTo>
                <a:lnTo>
                  <a:pt x="398" y="11377"/>
                </a:lnTo>
                <a:lnTo>
                  <a:pt x="318" y="11077"/>
                </a:lnTo>
                <a:lnTo>
                  <a:pt x="245" y="10781"/>
                </a:lnTo>
                <a:lnTo>
                  <a:pt x="182" y="10492"/>
                </a:lnTo>
                <a:lnTo>
                  <a:pt x="127" y="10210"/>
                </a:lnTo>
                <a:lnTo>
                  <a:pt x="82" y="9937"/>
                </a:lnTo>
                <a:lnTo>
                  <a:pt x="47" y="9675"/>
                </a:lnTo>
                <a:lnTo>
                  <a:pt x="21" y="9426"/>
                </a:lnTo>
                <a:lnTo>
                  <a:pt x="5" y="9189"/>
                </a:lnTo>
                <a:lnTo>
                  <a:pt x="0" y="8968"/>
                </a:lnTo>
                <a:lnTo>
                  <a:pt x="5" y="8741"/>
                </a:lnTo>
                <a:lnTo>
                  <a:pt x="21" y="8492"/>
                </a:lnTo>
                <a:lnTo>
                  <a:pt x="47" y="8220"/>
                </a:lnTo>
                <a:lnTo>
                  <a:pt x="82" y="7928"/>
                </a:lnTo>
                <a:lnTo>
                  <a:pt x="127" y="7619"/>
                </a:lnTo>
                <a:lnTo>
                  <a:pt x="182" y="7295"/>
                </a:lnTo>
                <a:lnTo>
                  <a:pt x="245" y="6956"/>
                </a:lnTo>
                <a:lnTo>
                  <a:pt x="318" y="6606"/>
                </a:lnTo>
                <a:lnTo>
                  <a:pt x="398" y="6246"/>
                </a:lnTo>
                <a:lnTo>
                  <a:pt x="488" y="5879"/>
                </a:lnTo>
                <a:lnTo>
                  <a:pt x="585" y="5506"/>
                </a:lnTo>
                <a:lnTo>
                  <a:pt x="690" y="5130"/>
                </a:lnTo>
                <a:lnTo>
                  <a:pt x="803" y="4752"/>
                </a:lnTo>
                <a:lnTo>
                  <a:pt x="923" y="4375"/>
                </a:lnTo>
                <a:lnTo>
                  <a:pt x="1050" y="4000"/>
                </a:lnTo>
                <a:lnTo>
                  <a:pt x="1184" y="3630"/>
                </a:lnTo>
                <a:lnTo>
                  <a:pt x="1324" y="3267"/>
                </a:lnTo>
                <a:lnTo>
                  <a:pt x="1472" y="2912"/>
                </a:lnTo>
                <a:lnTo>
                  <a:pt x="1624" y="2568"/>
                </a:lnTo>
                <a:lnTo>
                  <a:pt x="1783" y="2237"/>
                </a:lnTo>
                <a:lnTo>
                  <a:pt x="1947" y="1921"/>
                </a:lnTo>
                <a:lnTo>
                  <a:pt x="2116" y="1622"/>
                </a:lnTo>
                <a:lnTo>
                  <a:pt x="2290" y="1340"/>
                </a:lnTo>
                <a:lnTo>
                  <a:pt x="2469" y="1081"/>
                </a:lnTo>
                <a:lnTo>
                  <a:pt x="2653" y="845"/>
                </a:lnTo>
                <a:lnTo>
                  <a:pt x="2840" y="632"/>
                </a:lnTo>
                <a:lnTo>
                  <a:pt x="3032" y="448"/>
                </a:lnTo>
                <a:lnTo>
                  <a:pt x="3228" y="292"/>
                </a:lnTo>
                <a:lnTo>
                  <a:pt x="3427" y="167"/>
                </a:lnTo>
                <a:lnTo>
                  <a:pt x="3629" y="75"/>
                </a:lnTo>
                <a:lnTo>
                  <a:pt x="3834" y="19"/>
                </a:lnTo>
                <a:lnTo>
                  <a:pt x="4043" y="0"/>
                </a:lnTo>
                <a:close/>
              </a:path>
            </a:pathLst>
          </a:custGeom>
          <a:solidFill>
            <a:schemeClr val="accent3"/>
          </a:solidFill>
          <a:ln w="76200">
            <a:solidFill>
              <a:schemeClr val="bg1"/>
            </a:solidFill>
            <a:round/>
            <a:headEnd/>
            <a:tailEnd/>
          </a:ln>
          <a:effectLst>
            <a:outerShdw blurRad="1270000" dist="685800" dir="5400000" sx="84000" sy="84000" algn="t" rotWithShape="0">
              <a:prstClr val="black">
                <a:alpha val="15000"/>
              </a:prstClr>
            </a:outerShdw>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43" name="Freeform 8">
            <a:extLst>
              <a:ext uri="{FF2B5EF4-FFF2-40B4-BE49-F238E27FC236}">
                <a16:creationId xmlns:a16="http://schemas.microsoft.com/office/drawing/2014/main" id="{3949D393-7993-443F-BACE-8D6333EF1DB2}"/>
              </a:ext>
            </a:extLst>
          </p:cNvPr>
          <p:cNvSpPr>
            <a:spLocks/>
          </p:cNvSpPr>
          <p:nvPr/>
        </p:nvSpPr>
        <p:spPr bwMode="auto">
          <a:xfrm rot="6300000">
            <a:off x="9171559" y="2592318"/>
            <a:ext cx="359042" cy="181186"/>
          </a:xfrm>
          <a:custGeom>
            <a:avLst/>
            <a:gdLst>
              <a:gd name="T0" fmla="*/ 4456 w 8085"/>
              <a:gd name="T1" fmla="*/ 75 h 16320"/>
              <a:gd name="T2" fmla="*/ 5053 w 8085"/>
              <a:gd name="T3" fmla="*/ 448 h 16320"/>
              <a:gd name="T4" fmla="*/ 5616 w 8085"/>
              <a:gd name="T5" fmla="*/ 1081 h 16320"/>
              <a:gd name="T6" fmla="*/ 6138 w 8085"/>
              <a:gd name="T7" fmla="*/ 1921 h 16320"/>
              <a:gd name="T8" fmla="*/ 6613 w 8085"/>
              <a:gd name="T9" fmla="*/ 2912 h 16320"/>
              <a:gd name="T10" fmla="*/ 7035 w 8085"/>
              <a:gd name="T11" fmla="*/ 4000 h 16320"/>
              <a:gd name="T12" fmla="*/ 7395 w 8085"/>
              <a:gd name="T13" fmla="*/ 5130 h 16320"/>
              <a:gd name="T14" fmla="*/ 7687 w 8085"/>
              <a:gd name="T15" fmla="*/ 6246 h 16320"/>
              <a:gd name="T16" fmla="*/ 7903 w 8085"/>
              <a:gd name="T17" fmla="*/ 7295 h 16320"/>
              <a:gd name="T18" fmla="*/ 8038 w 8085"/>
              <a:gd name="T19" fmla="*/ 8220 h 16320"/>
              <a:gd name="T20" fmla="*/ 8085 w 8085"/>
              <a:gd name="T21" fmla="*/ 8968 h 16320"/>
              <a:gd name="T22" fmla="*/ 8038 w 8085"/>
              <a:gd name="T23" fmla="*/ 9675 h 16320"/>
              <a:gd name="T24" fmla="*/ 7903 w 8085"/>
              <a:gd name="T25" fmla="*/ 10492 h 16320"/>
              <a:gd name="T26" fmla="*/ 7687 w 8085"/>
              <a:gd name="T27" fmla="*/ 11377 h 16320"/>
              <a:gd name="T28" fmla="*/ 7395 w 8085"/>
              <a:gd name="T29" fmla="*/ 12294 h 16320"/>
              <a:gd name="T30" fmla="*/ 7035 w 8085"/>
              <a:gd name="T31" fmla="*/ 13203 h 16320"/>
              <a:gd name="T32" fmla="*/ 6613 w 8085"/>
              <a:gd name="T33" fmla="*/ 14065 h 16320"/>
              <a:gd name="T34" fmla="*/ 6138 w 8085"/>
              <a:gd name="T35" fmla="*/ 14841 h 16320"/>
              <a:gd name="T36" fmla="*/ 5616 w 8085"/>
              <a:gd name="T37" fmla="*/ 15492 h 16320"/>
              <a:gd name="T38" fmla="*/ 5053 w 8085"/>
              <a:gd name="T39" fmla="*/ 15978 h 16320"/>
              <a:gd name="T40" fmla="*/ 4456 w 8085"/>
              <a:gd name="T41" fmla="*/ 16263 h 16320"/>
              <a:gd name="T42" fmla="*/ 3834 w 8085"/>
              <a:gd name="T43" fmla="*/ 16306 h 16320"/>
              <a:gd name="T44" fmla="*/ 3228 w 8085"/>
              <a:gd name="T45" fmla="*/ 16098 h 16320"/>
              <a:gd name="T46" fmla="*/ 2653 w 8085"/>
              <a:gd name="T47" fmla="*/ 15673 h 16320"/>
              <a:gd name="T48" fmla="*/ 2116 w 8085"/>
              <a:gd name="T49" fmla="*/ 15074 h 16320"/>
              <a:gd name="T50" fmla="*/ 1624 w 8085"/>
              <a:gd name="T51" fmla="*/ 14335 h 16320"/>
              <a:gd name="T52" fmla="*/ 1184 w 8085"/>
              <a:gd name="T53" fmla="*/ 13498 h 16320"/>
              <a:gd name="T54" fmla="*/ 803 w 8085"/>
              <a:gd name="T55" fmla="*/ 12600 h 16320"/>
              <a:gd name="T56" fmla="*/ 488 w 8085"/>
              <a:gd name="T57" fmla="*/ 11682 h 16320"/>
              <a:gd name="T58" fmla="*/ 245 w 8085"/>
              <a:gd name="T59" fmla="*/ 10781 h 16320"/>
              <a:gd name="T60" fmla="*/ 82 w 8085"/>
              <a:gd name="T61" fmla="*/ 9937 h 16320"/>
              <a:gd name="T62" fmla="*/ 5 w 8085"/>
              <a:gd name="T63" fmla="*/ 9189 h 16320"/>
              <a:gd name="T64" fmla="*/ 21 w 8085"/>
              <a:gd name="T65" fmla="*/ 8492 h 16320"/>
              <a:gd name="T66" fmla="*/ 127 w 8085"/>
              <a:gd name="T67" fmla="*/ 7619 h 16320"/>
              <a:gd name="T68" fmla="*/ 318 w 8085"/>
              <a:gd name="T69" fmla="*/ 6606 h 16320"/>
              <a:gd name="T70" fmla="*/ 585 w 8085"/>
              <a:gd name="T71" fmla="*/ 5506 h 16320"/>
              <a:gd name="T72" fmla="*/ 923 w 8085"/>
              <a:gd name="T73" fmla="*/ 4375 h 16320"/>
              <a:gd name="T74" fmla="*/ 1324 w 8085"/>
              <a:gd name="T75" fmla="*/ 3267 h 16320"/>
              <a:gd name="T76" fmla="*/ 1783 w 8085"/>
              <a:gd name="T77" fmla="*/ 2237 h 16320"/>
              <a:gd name="T78" fmla="*/ 2290 w 8085"/>
              <a:gd name="T79" fmla="*/ 1340 h 16320"/>
              <a:gd name="T80" fmla="*/ 2840 w 8085"/>
              <a:gd name="T81" fmla="*/ 632 h 16320"/>
              <a:gd name="T82" fmla="*/ 3427 w 8085"/>
              <a:gd name="T83" fmla="*/ 167 h 16320"/>
              <a:gd name="T84" fmla="*/ 4043 w 8085"/>
              <a:gd name="T85" fmla="*/ 0 h 16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085" h="16320">
                <a:moveTo>
                  <a:pt x="4043" y="0"/>
                </a:moveTo>
                <a:lnTo>
                  <a:pt x="4251" y="19"/>
                </a:lnTo>
                <a:lnTo>
                  <a:pt x="4456" y="75"/>
                </a:lnTo>
                <a:lnTo>
                  <a:pt x="4658" y="167"/>
                </a:lnTo>
                <a:lnTo>
                  <a:pt x="4857" y="292"/>
                </a:lnTo>
                <a:lnTo>
                  <a:pt x="5053" y="448"/>
                </a:lnTo>
                <a:lnTo>
                  <a:pt x="5245" y="632"/>
                </a:lnTo>
                <a:lnTo>
                  <a:pt x="5432" y="845"/>
                </a:lnTo>
                <a:lnTo>
                  <a:pt x="5616" y="1081"/>
                </a:lnTo>
                <a:lnTo>
                  <a:pt x="5795" y="1340"/>
                </a:lnTo>
                <a:lnTo>
                  <a:pt x="5969" y="1622"/>
                </a:lnTo>
                <a:lnTo>
                  <a:pt x="6138" y="1921"/>
                </a:lnTo>
                <a:lnTo>
                  <a:pt x="6302" y="2237"/>
                </a:lnTo>
                <a:lnTo>
                  <a:pt x="6461" y="2568"/>
                </a:lnTo>
                <a:lnTo>
                  <a:pt x="6613" y="2912"/>
                </a:lnTo>
                <a:lnTo>
                  <a:pt x="6761" y="3267"/>
                </a:lnTo>
                <a:lnTo>
                  <a:pt x="6901" y="3630"/>
                </a:lnTo>
                <a:lnTo>
                  <a:pt x="7035" y="4000"/>
                </a:lnTo>
                <a:lnTo>
                  <a:pt x="7162" y="4375"/>
                </a:lnTo>
                <a:lnTo>
                  <a:pt x="7282" y="4752"/>
                </a:lnTo>
                <a:lnTo>
                  <a:pt x="7395" y="5130"/>
                </a:lnTo>
                <a:lnTo>
                  <a:pt x="7500" y="5506"/>
                </a:lnTo>
                <a:lnTo>
                  <a:pt x="7597" y="5879"/>
                </a:lnTo>
                <a:lnTo>
                  <a:pt x="7687" y="6246"/>
                </a:lnTo>
                <a:lnTo>
                  <a:pt x="7767" y="6606"/>
                </a:lnTo>
                <a:lnTo>
                  <a:pt x="7840" y="6956"/>
                </a:lnTo>
                <a:lnTo>
                  <a:pt x="7903" y="7295"/>
                </a:lnTo>
                <a:lnTo>
                  <a:pt x="7958" y="7619"/>
                </a:lnTo>
                <a:lnTo>
                  <a:pt x="8003" y="7928"/>
                </a:lnTo>
                <a:lnTo>
                  <a:pt x="8038" y="8220"/>
                </a:lnTo>
                <a:lnTo>
                  <a:pt x="8064" y="8492"/>
                </a:lnTo>
                <a:lnTo>
                  <a:pt x="8080" y="8741"/>
                </a:lnTo>
                <a:lnTo>
                  <a:pt x="8085" y="8968"/>
                </a:lnTo>
                <a:lnTo>
                  <a:pt x="8080" y="9189"/>
                </a:lnTo>
                <a:lnTo>
                  <a:pt x="8064" y="9426"/>
                </a:lnTo>
                <a:lnTo>
                  <a:pt x="8038" y="9675"/>
                </a:lnTo>
                <a:lnTo>
                  <a:pt x="8003" y="9937"/>
                </a:lnTo>
                <a:lnTo>
                  <a:pt x="7958" y="10210"/>
                </a:lnTo>
                <a:lnTo>
                  <a:pt x="7903" y="10492"/>
                </a:lnTo>
                <a:lnTo>
                  <a:pt x="7840" y="10781"/>
                </a:lnTo>
                <a:lnTo>
                  <a:pt x="7767" y="11077"/>
                </a:lnTo>
                <a:lnTo>
                  <a:pt x="7687" y="11377"/>
                </a:lnTo>
                <a:lnTo>
                  <a:pt x="7597" y="11682"/>
                </a:lnTo>
                <a:lnTo>
                  <a:pt x="7500" y="11988"/>
                </a:lnTo>
                <a:lnTo>
                  <a:pt x="7395" y="12294"/>
                </a:lnTo>
                <a:lnTo>
                  <a:pt x="7282" y="12600"/>
                </a:lnTo>
                <a:lnTo>
                  <a:pt x="7162" y="12904"/>
                </a:lnTo>
                <a:lnTo>
                  <a:pt x="7035" y="13203"/>
                </a:lnTo>
                <a:lnTo>
                  <a:pt x="6901" y="13498"/>
                </a:lnTo>
                <a:lnTo>
                  <a:pt x="6761" y="13785"/>
                </a:lnTo>
                <a:lnTo>
                  <a:pt x="6613" y="14065"/>
                </a:lnTo>
                <a:lnTo>
                  <a:pt x="6461" y="14335"/>
                </a:lnTo>
                <a:lnTo>
                  <a:pt x="6302" y="14594"/>
                </a:lnTo>
                <a:lnTo>
                  <a:pt x="6138" y="14841"/>
                </a:lnTo>
                <a:lnTo>
                  <a:pt x="5969" y="15074"/>
                </a:lnTo>
                <a:lnTo>
                  <a:pt x="5795" y="15291"/>
                </a:lnTo>
                <a:lnTo>
                  <a:pt x="5616" y="15492"/>
                </a:lnTo>
                <a:lnTo>
                  <a:pt x="5432" y="15673"/>
                </a:lnTo>
                <a:lnTo>
                  <a:pt x="5245" y="15837"/>
                </a:lnTo>
                <a:lnTo>
                  <a:pt x="5053" y="15978"/>
                </a:lnTo>
                <a:lnTo>
                  <a:pt x="4857" y="16098"/>
                </a:lnTo>
                <a:lnTo>
                  <a:pt x="4658" y="16193"/>
                </a:lnTo>
                <a:lnTo>
                  <a:pt x="4456" y="16263"/>
                </a:lnTo>
                <a:lnTo>
                  <a:pt x="4251" y="16306"/>
                </a:lnTo>
                <a:lnTo>
                  <a:pt x="4043" y="16320"/>
                </a:lnTo>
                <a:lnTo>
                  <a:pt x="3834" y="16306"/>
                </a:lnTo>
                <a:lnTo>
                  <a:pt x="3629" y="16263"/>
                </a:lnTo>
                <a:lnTo>
                  <a:pt x="3427" y="16193"/>
                </a:lnTo>
                <a:lnTo>
                  <a:pt x="3228" y="16098"/>
                </a:lnTo>
                <a:lnTo>
                  <a:pt x="3032" y="15978"/>
                </a:lnTo>
                <a:lnTo>
                  <a:pt x="2840" y="15837"/>
                </a:lnTo>
                <a:lnTo>
                  <a:pt x="2653" y="15673"/>
                </a:lnTo>
                <a:lnTo>
                  <a:pt x="2469" y="15492"/>
                </a:lnTo>
                <a:lnTo>
                  <a:pt x="2290" y="15291"/>
                </a:lnTo>
                <a:lnTo>
                  <a:pt x="2116" y="15074"/>
                </a:lnTo>
                <a:lnTo>
                  <a:pt x="1947" y="14841"/>
                </a:lnTo>
                <a:lnTo>
                  <a:pt x="1783" y="14594"/>
                </a:lnTo>
                <a:lnTo>
                  <a:pt x="1624" y="14335"/>
                </a:lnTo>
                <a:lnTo>
                  <a:pt x="1472" y="14065"/>
                </a:lnTo>
                <a:lnTo>
                  <a:pt x="1324" y="13785"/>
                </a:lnTo>
                <a:lnTo>
                  <a:pt x="1184" y="13498"/>
                </a:lnTo>
                <a:lnTo>
                  <a:pt x="1050" y="13203"/>
                </a:lnTo>
                <a:lnTo>
                  <a:pt x="923" y="12904"/>
                </a:lnTo>
                <a:lnTo>
                  <a:pt x="803" y="12600"/>
                </a:lnTo>
                <a:lnTo>
                  <a:pt x="690" y="12294"/>
                </a:lnTo>
                <a:lnTo>
                  <a:pt x="585" y="11988"/>
                </a:lnTo>
                <a:lnTo>
                  <a:pt x="488" y="11682"/>
                </a:lnTo>
                <a:lnTo>
                  <a:pt x="398" y="11377"/>
                </a:lnTo>
                <a:lnTo>
                  <a:pt x="318" y="11077"/>
                </a:lnTo>
                <a:lnTo>
                  <a:pt x="245" y="10781"/>
                </a:lnTo>
                <a:lnTo>
                  <a:pt x="182" y="10492"/>
                </a:lnTo>
                <a:lnTo>
                  <a:pt x="127" y="10210"/>
                </a:lnTo>
                <a:lnTo>
                  <a:pt x="82" y="9937"/>
                </a:lnTo>
                <a:lnTo>
                  <a:pt x="47" y="9675"/>
                </a:lnTo>
                <a:lnTo>
                  <a:pt x="21" y="9426"/>
                </a:lnTo>
                <a:lnTo>
                  <a:pt x="5" y="9189"/>
                </a:lnTo>
                <a:lnTo>
                  <a:pt x="0" y="8968"/>
                </a:lnTo>
                <a:lnTo>
                  <a:pt x="5" y="8741"/>
                </a:lnTo>
                <a:lnTo>
                  <a:pt x="21" y="8492"/>
                </a:lnTo>
                <a:lnTo>
                  <a:pt x="47" y="8220"/>
                </a:lnTo>
                <a:lnTo>
                  <a:pt x="82" y="7928"/>
                </a:lnTo>
                <a:lnTo>
                  <a:pt x="127" y="7619"/>
                </a:lnTo>
                <a:lnTo>
                  <a:pt x="182" y="7295"/>
                </a:lnTo>
                <a:lnTo>
                  <a:pt x="245" y="6956"/>
                </a:lnTo>
                <a:lnTo>
                  <a:pt x="318" y="6606"/>
                </a:lnTo>
                <a:lnTo>
                  <a:pt x="398" y="6246"/>
                </a:lnTo>
                <a:lnTo>
                  <a:pt x="488" y="5879"/>
                </a:lnTo>
                <a:lnTo>
                  <a:pt x="585" y="5506"/>
                </a:lnTo>
                <a:lnTo>
                  <a:pt x="690" y="5130"/>
                </a:lnTo>
                <a:lnTo>
                  <a:pt x="803" y="4752"/>
                </a:lnTo>
                <a:lnTo>
                  <a:pt x="923" y="4375"/>
                </a:lnTo>
                <a:lnTo>
                  <a:pt x="1050" y="4000"/>
                </a:lnTo>
                <a:lnTo>
                  <a:pt x="1184" y="3630"/>
                </a:lnTo>
                <a:lnTo>
                  <a:pt x="1324" y="3267"/>
                </a:lnTo>
                <a:lnTo>
                  <a:pt x="1472" y="2912"/>
                </a:lnTo>
                <a:lnTo>
                  <a:pt x="1624" y="2568"/>
                </a:lnTo>
                <a:lnTo>
                  <a:pt x="1783" y="2237"/>
                </a:lnTo>
                <a:lnTo>
                  <a:pt x="1947" y="1921"/>
                </a:lnTo>
                <a:lnTo>
                  <a:pt x="2116" y="1622"/>
                </a:lnTo>
                <a:lnTo>
                  <a:pt x="2290" y="1340"/>
                </a:lnTo>
                <a:lnTo>
                  <a:pt x="2469" y="1081"/>
                </a:lnTo>
                <a:lnTo>
                  <a:pt x="2653" y="845"/>
                </a:lnTo>
                <a:lnTo>
                  <a:pt x="2840" y="632"/>
                </a:lnTo>
                <a:lnTo>
                  <a:pt x="3032" y="448"/>
                </a:lnTo>
                <a:lnTo>
                  <a:pt x="3228" y="292"/>
                </a:lnTo>
                <a:lnTo>
                  <a:pt x="3427" y="167"/>
                </a:lnTo>
                <a:lnTo>
                  <a:pt x="3629" y="75"/>
                </a:lnTo>
                <a:lnTo>
                  <a:pt x="3834" y="19"/>
                </a:lnTo>
                <a:lnTo>
                  <a:pt x="4043"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lumMod val="50000"/>
                </a:srgbClr>
              </a:solidFill>
              <a:effectLst/>
              <a:uLnTx/>
              <a:uFillTx/>
              <a:latin typeface="等线 Light" panose="020F0302020204030204"/>
              <a:ea typeface="+mn-ea"/>
              <a:cs typeface="+mn-cs"/>
            </a:endParaRPr>
          </a:p>
        </p:txBody>
      </p:sp>
      <p:sp>
        <p:nvSpPr>
          <p:cNvPr id="44" name="Freeform 9">
            <a:extLst>
              <a:ext uri="{FF2B5EF4-FFF2-40B4-BE49-F238E27FC236}">
                <a16:creationId xmlns:a16="http://schemas.microsoft.com/office/drawing/2014/main" id="{EC1E073B-3400-41F6-82B5-7C4935D798E3}"/>
              </a:ext>
            </a:extLst>
          </p:cNvPr>
          <p:cNvSpPr>
            <a:spLocks/>
          </p:cNvSpPr>
          <p:nvPr/>
        </p:nvSpPr>
        <p:spPr bwMode="auto">
          <a:xfrm rot="900000">
            <a:off x="7149382" y="2648511"/>
            <a:ext cx="359046" cy="181188"/>
          </a:xfrm>
          <a:custGeom>
            <a:avLst/>
            <a:gdLst>
              <a:gd name="T0" fmla="*/ 4456 w 8085"/>
              <a:gd name="T1" fmla="*/ 75 h 16320"/>
              <a:gd name="T2" fmla="*/ 5053 w 8085"/>
              <a:gd name="T3" fmla="*/ 448 h 16320"/>
              <a:gd name="T4" fmla="*/ 5616 w 8085"/>
              <a:gd name="T5" fmla="*/ 1081 h 16320"/>
              <a:gd name="T6" fmla="*/ 6138 w 8085"/>
              <a:gd name="T7" fmla="*/ 1921 h 16320"/>
              <a:gd name="T8" fmla="*/ 6613 w 8085"/>
              <a:gd name="T9" fmla="*/ 2912 h 16320"/>
              <a:gd name="T10" fmla="*/ 7035 w 8085"/>
              <a:gd name="T11" fmla="*/ 4000 h 16320"/>
              <a:gd name="T12" fmla="*/ 7395 w 8085"/>
              <a:gd name="T13" fmla="*/ 5130 h 16320"/>
              <a:gd name="T14" fmla="*/ 7687 w 8085"/>
              <a:gd name="T15" fmla="*/ 6246 h 16320"/>
              <a:gd name="T16" fmla="*/ 7903 w 8085"/>
              <a:gd name="T17" fmla="*/ 7295 h 16320"/>
              <a:gd name="T18" fmla="*/ 8038 w 8085"/>
              <a:gd name="T19" fmla="*/ 8220 h 16320"/>
              <a:gd name="T20" fmla="*/ 8085 w 8085"/>
              <a:gd name="T21" fmla="*/ 8968 h 16320"/>
              <a:gd name="T22" fmla="*/ 8038 w 8085"/>
              <a:gd name="T23" fmla="*/ 9675 h 16320"/>
              <a:gd name="T24" fmla="*/ 7903 w 8085"/>
              <a:gd name="T25" fmla="*/ 10492 h 16320"/>
              <a:gd name="T26" fmla="*/ 7687 w 8085"/>
              <a:gd name="T27" fmla="*/ 11377 h 16320"/>
              <a:gd name="T28" fmla="*/ 7395 w 8085"/>
              <a:gd name="T29" fmla="*/ 12294 h 16320"/>
              <a:gd name="T30" fmla="*/ 7035 w 8085"/>
              <a:gd name="T31" fmla="*/ 13203 h 16320"/>
              <a:gd name="T32" fmla="*/ 6613 w 8085"/>
              <a:gd name="T33" fmla="*/ 14065 h 16320"/>
              <a:gd name="T34" fmla="*/ 6138 w 8085"/>
              <a:gd name="T35" fmla="*/ 14841 h 16320"/>
              <a:gd name="T36" fmla="*/ 5616 w 8085"/>
              <a:gd name="T37" fmla="*/ 15492 h 16320"/>
              <a:gd name="T38" fmla="*/ 5053 w 8085"/>
              <a:gd name="T39" fmla="*/ 15978 h 16320"/>
              <a:gd name="T40" fmla="*/ 4456 w 8085"/>
              <a:gd name="T41" fmla="*/ 16263 h 16320"/>
              <a:gd name="T42" fmla="*/ 3834 w 8085"/>
              <a:gd name="T43" fmla="*/ 16306 h 16320"/>
              <a:gd name="T44" fmla="*/ 3228 w 8085"/>
              <a:gd name="T45" fmla="*/ 16098 h 16320"/>
              <a:gd name="T46" fmla="*/ 2653 w 8085"/>
              <a:gd name="T47" fmla="*/ 15673 h 16320"/>
              <a:gd name="T48" fmla="*/ 2116 w 8085"/>
              <a:gd name="T49" fmla="*/ 15074 h 16320"/>
              <a:gd name="T50" fmla="*/ 1624 w 8085"/>
              <a:gd name="T51" fmla="*/ 14335 h 16320"/>
              <a:gd name="T52" fmla="*/ 1184 w 8085"/>
              <a:gd name="T53" fmla="*/ 13498 h 16320"/>
              <a:gd name="T54" fmla="*/ 803 w 8085"/>
              <a:gd name="T55" fmla="*/ 12600 h 16320"/>
              <a:gd name="T56" fmla="*/ 488 w 8085"/>
              <a:gd name="T57" fmla="*/ 11682 h 16320"/>
              <a:gd name="T58" fmla="*/ 245 w 8085"/>
              <a:gd name="T59" fmla="*/ 10781 h 16320"/>
              <a:gd name="T60" fmla="*/ 82 w 8085"/>
              <a:gd name="T61" fmla="*/ 9937 h 16320"/>
              <a:gd name="T62" fmla="*/ 5 w 8085"/>
              <a:gd name="T63" fmla="*/ 9189 h 16320"/>
              <a:gd name="T64" fmla="*/ 21 w 8085"/>
              <a:gd name="T65" fmla="*/ 8492 h 16320"/>
              <a:gd name="T66" fmla="*/ 127 w 8085"/>
              <a:gd name="T67" fmla="*/ 7619 h 16320"/>
              <a:gd name="T68" fmla="*/ 318 w 8085"/>
              <a:gd name="T69" fmla="*/ 6606 h 16320"/>
              <a:gd name="T70" fmla="*/ 585 w 8085"/>
              <a:gd name="T71" fmla="*/ 5506 h 16320"/>
              <a:gd name="T72" fmla="*/ 923 w 8085"/>
              <a:gd name="T73" fmla="*/ 4375 h 16320"/>
              <a:gd name="T74" fmla="*/ 1324 w 8085"/>
              <a:gd name="T75" fmla="*/ 3267 h 16320"/>
              <a:gd name="T76" fmla="*/ 1783 w 8085"/>
              <a:gd name="T77" fmla="*/ 2237 h 16320"/>
              <a:gd name="T78" fmla="*/ 2290 w 8085"/>
              <a:gd name="T79" fmla="*/ 1340 h 16320"/>
              <a:gd name="T80" fmla="*/ 2840 w 8085"/>
              <a:gd name="T81" fmla="*/ 632 h 16320"/>
              <a:gd name="T82" fmla="*/ 3427 w 8085"/>
              <a:gd name="T83" fmla="*/ 167 h 16320"/>
              <a:gd name="T84" fmla="*/ 4043 w 8085"/>
              <a:gd name="T85" fmla="*/ 0 h 16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085" h="16320">
                <a:moveTo>
                  <a:pt x="4043" y="0"/>
                </a:moveTo>
                <a:lnTo>
                  <a:pt x="4251" y="19"/>
                </a:lnTo>
                <a:lnTo>
                  <a:pt x="4456" y="75"/>
                </a:lnTo>
                <a:lnTo>
                  <a:pt x="4658" y="167"/>
                </a:lnTo>
                <a:lnTo>
                  <a:pt x="4857" y="292"/>
                </a:lnTo>
                <a:lnTo>
                  <a:pt x="5053" y="448"/>
                </a:lnTo>
                <a:lnTo>
                  <a:pt x="5245" y="632"/>
                </a:lnTo>
                <a:lnTo>
                  <a:pt x="5432" y="845"/>
                </a:lnTo>
                <a:lnTo>
                  <a:pt x="5616" y="1081"/>
                </a:lnTo>
                <a:lnTo>
                  <a:pt x="5795" y="1340"/>
                </a:lnTo>
                <a:lnTo>
                  <a:pt x="5969" y="1622"/>
                </a:lnTo>
                <a:lnTo>
                  <a:pt x="6138" y="1921"/>
                </a:lnTo>
                <a:lnTo>
                  <a:pt x="6302" y="2237"/>
                </a:lnTo>
                <a:lnTo>
                  <a:pt x="6461" y="2568"/>
                </a:lnTo>
                <a:lnTo>
                  <a:pt x="6613" y="2912"/>
                </a:lnTo>
                <a:lnTo>
                  <a:pt x="6761" y="3267"/>
                </a:lnTo>
                <a:lnTo>
                  <a:pt x="6901" y="3630"/>
                </a:lnTo>
                <a:lnTo>
                  <a:pt x="7035" y="4000"/>
                </a:lnTo>
                <a:lnTo>
                  <a:pt x="7162" y="4375"/>
                </a:lnTo>
                <a:lnTo>
                  <a:pt x="7282" y="4752"/>
                </a:lnTo>
                <a:lnTo>
                  <a:pt x="7395" y="5130"/>
                </a:lnTo>
                <a:lnTo>
                  <a:pt x="7500" y="5506"/>
                </a:lnTo>
                <a:lnTo>
                  <a:pt x="7597" y="5879"/>
                </a:lnTo>
                <a:lnTo>
                  <a:pt x="7687" y="6246"/>
                </a:lnTo>
                <a:lnTo>
                  <a:pt x="7767" y="6606"/>
                </a:lnTo>
                <a:lnTo>
                  <a:pt x="7840" y="6956"/>
                </a:lnTo>
                <a:lnTo>
                  <a:pt x="7903" y="7295"/>
                </a:lnTo>
                <a:lnTo>
                  <a:pt x="7958" y="7619"/>
                </a:lnTo>
                <a:lnTo>
                  <a:pt x="8003" y="7928"/>
                </a:lnTo>
                <a:lnTo>
                  <a:pt x="8038" y="8220"/>
                </a:lnTo>
                <a:lnTo>
                  <a:pt x="8064" y="8492"/>
                </a:lnTo>
                <a:lnTo>
                  <a:pt x="8080" y="8741"/>
                </a:lnTo>
                <a:lnTo>
                  <a:pt x="8085" y="8968"/>
                </a:lnTo>
                <a:lnTo>
                  <a:pt x="8080" y="9189"/>
                </a:lnTo>
                <a:lnTo>
                  <a:pt x="8064" y="9426"/>
                </a:lnTo>
                <a:lnTo>
                  <a:pt x="8038" y="9675"/>
                </a:lnTo>
                <a:lnTo>
                  <a:pt x="8003" y="9937"/>
                </a:lnTo>
                <a:lnTo>
                  <a:pt x="7958" y="10210"/>
                </a:lnTo>
                <a:lnTo>
                  <a:pt x="7903" y="10492"/>
                </a:lnTo>
                <a:lnTo>
                  <a:pt x="7840" y="10781"/>
                </a:lnTo>
                <a:lnTo>
                  <a:pt x="7767" y="11077"/>
                </a:lnTo>
                <a:lnTo>
                  <a:pt x="7687" y="11377"/>
                </a:lnTo>
                <a:lnTo>
                  <a:pt x="7597" y="11682"/>
                </a:lnTo>
                <a:lnTo>
                  <a:pt x="7500" y="11988"/>
                </a:lnTo>
                <a:lnTo>
                  <a:pt x="7395" y="12294"/>
                </a:lnTo>
                <a:lnTo>
                  <a:pt x="7282" y="12600"/>
                </a:lnTo>
                <a:lnTo>
                  <a:pt x="7162" y="12904"/>
                </a:lnTo>
                <a:lnTo>
                  <a:pt x="7035" y="13203"/>
                </a:lnTo>
                <a:lnTo>
                  <a:pt x="6901" y="13498"/>
                </a:lnTo>
                <a:lnTo>
                  <a:pt x="6761" y="13785"/>
                </a:lnTo>
                <a:lnTo>
                  <a:pt x="6613" y="14065"/>
                </a:lnTo>
                <a:lnTo>
                  <a:pt x="6461" y="14335"/>
                </a:lnTo>
                <a:lnTo>
                  <a:pt x="6302" y="14594"/>
                </a:lnTo>
                <a:lnTo>
                  <a:pt x="6138" y="14841"/>
                </a:lnTo>
                <a:lnTo>
                  <a:pt x="5969" y="15074"/>
                </a:lnTo>
                <a:lnTo>
                  <a:pt x="5795" y="15291"/>
                </a:lnTo>
                <a:lnTo>
                  <a:pt x="5616" y="15492"/>
                </a:lnTo>
                <a:lnTo>
                  <a:pt x="5432" y="15673"/>
                </a:lnTo>
                <a:lnTo>
                  <a:pt x="5245" y="15837"/>
                </a:lnTo>
                <a:lnTo>
                  <a:pt x="5053" y="15978"/>
                </a:lnTo>
                <a:lnTo>
                  <a:pt x="4857" y="16098"/>
                </a:lnTo>
                <a:lnTo>
                  <a:pt x="4658" y="16193"/>
                </a:lnTo>
                <a:lnTo>
                  <a:pt x="4456" y="16263"/>
                </a:lnTo>
                <a:lnTo>
                  <a:pt x="4251" y="16306"/>
                </a:lnTo>
                <a:lnTo>
                  <a:pt x="4043" y="16320"/>
                </a:lnTo>
                <a:lnTo>
                  <a:pt x="3834" y="16306"/>
                </a:lnTo>
                <a:lnTo>
                  <a:pt x="3629" y="16263"/>
                </a:lnTo>
                <a:lnTo>
                  <a:pt x="3427" y="16193"/>
                </a:lnTo>
                <a:lnTo>
                  <a:pt x="3228" y="16098"/>
                </a:lnTo>
                <a:lnTo>
                  <a:pt x="3032" y="15978"/>
                </a:lnTo>
                <a:lnTo>
                  <a:pt x="2840" y="15837"/>
                </a:lnTo>
                <a:lnTo>
                  <a:pt x="2653" y="15673"/>
                </a:lnTo>
                <a:lnTo>
                  <a:pt x="2469" y="15492"/>
                </a:lnTo>
                <a:lnTo>
                  <a:pt x="2290" y="15291"/>
                </a:lnTo>
                <a:lnTo>
                  <a:pt x="2116" y="15074"/>
                </a:lnTo>
                <a:lnTo>
                  <a:pt x="1947" y="14841"/>
                </a:lnTo>
                <a:lnTo>
                  <a:pt x="1783" y="14594"/>
                </a:lnTo>
                <a:lnTo>
                  <a:pt x="1624" y="14335"/>
                </a:lnTo>
                <a:lnTo>
                  <a:pt x="1472" y="14065"/>
                </a:lnTo>
                <a:lnTo>
                  <a:pt x="1324" y="13785"/>
                </a:lnTo>
                <a:lnTo>
                  <a:pt x="1184" y="13498"/>
                </a:lnTo>
                <a:lnTo>
                  <a:pt x="1050" y="13203"/>
                </a:lnTo>
                <a:lnTo>
                  <a:pt x="923" y="12904"/>
                </a:lnTo>
                <a:lnTo>
                  <a:pt x="803" y="12600"/>
                </a:lnTo>
                <a:lnTo>
                  <a:pt x="690" y="12294"/>
                </a:lnTo>
                <a:lnTo>
                  <a:pt x="585" y="11988"/>
                </a:lnTo>
                <a:lnTo>
                  <a:pt x="488" y="11682"/>
                </a:lnTo>
                <a:lnTo>
                  <a:pt x="398" y="11377"/>
                </a:lnTo>
                <a:lnTo>
                  <a:pt x="318" y="11077"/>
                </a:lnTo>
                <a:lnTo>
                  <a:pt x="245" y="10781"/>
                </a:lnTo>
                <a:lnTo>
                  <a:pt x="182" y="10492"/>
                </a:lnTo>
                <a:lnTo>
                  <a:pt x="127" y="10210"/>
                </a:lnTo>
                <a:lnTo>
                  <a:pt x="82" y="9937"/>
                </a:lnTo>
                <a:lnTo>
                  <a:pt x="47" y="9675"/>
                </a:lnTo>
                <a:lnTo>
                  <a:pt x="21" y="9426"/>
                </a:lnTo>
                <a:lnTo>
                  <a:pt x="5" y="9189"/>
                </a:lnTo>
                <a:lnTo>
                  <a:pt x="0" y="8968"/>
                </a:lnTo>
                <a:lnTo>
                  <a:pt x="5" y="8741"/>
                </a:lnTo>
                <a:lnTo>
                  <a:pt x="21" y="8492"/>
                </a:lnTo>
                <a:lnTo>
                  <a:pt x="47" y="8220"/>
                </a:lnTo>
                <a:lnTo>
                  <a:pt x="82" y="7928"/>
                </a:lnTo>
                <a:lnTo>
                  <a:pt x="127" y="7619"/>
                </a:lnTo>
                <a:lnTo>
                  <a:pt x="182" y="7295"/>
                </a:lnTo>
                <a:lnTo>
                  <a:pt x="245" y="6956"/>
                </a:lnTo>
                <a:lnTo>
                  <a:pt x="318" y="6606"/>
                </a:lnTo>
                <a:lnTo>
                  <a:pt x="398" y="6246"/>
                </a:lnTo>
                <a:lnTo>
                  <a:pt x="488" y="5879"/>
                </a:lnTo>
                <a:lnTo>
                  <a:pt x="585" y="5506"/>
                </a:lnTo>
                <a:lnTo>
                  <a:pt x="690" y="5130"/>
                </a:lnTo>
                <a:lnTo>
                  <a:pt x="803" y="4752"/>
                </a:lnTo>
                <a:lnTo>
                  <a:pt x="923" y="4375"/>
                </a:lnTo>
                <a:lnTo>
                  <a:pt x="1050" y="4000"/>
                </a:lnTo>
                <a:lnTo>
                  <a:pt x="1184" y="3630"/>
                </a:lnTo>
                <a:lnTo>
                  <a:pt x="1324" y="3267"/>
                </a:lnTo>
                <a:lnTo>
                  <a:pt x="1472" y="2912"/>
                </a:lnTo>
                <a:lnTo>
                  <a:pt x="1624" y="2568"/>
                </a:lnTo>
                <a:lnTo>
                  <a:pt x="1783" y="2237"/>
                </a:lnTo>
                <a:lnTo>
                  <a:pt x="1947" y="1921"/>
                </a:lnTo>
                <a:lnTo>
                  <a:pt x="2116" y="1622"/>
                </a:lnTo>
                <a:lnTo>
                  <a:pt x="2290" y="1340"/>
                </a:lnTo>
                <a:lnTo>
                  <a:pt x="2469" y="1081"/>
                </a:lnTo>
                <a:lnTo>
                  <a:pt x="2653" y="845"/>
                </a:lnTo>
                <a:lnTo>
                  <a:pt x="2840" y="632"/>
                </a:lnTo>
                <a:lnTo>
                  <a:pt x="3032" y="448"/>
                </a:lnTo>
                <a:lnTo>
                  <a:pt x="3228" y="292"/>
                </a:lnTo>
                <a:lnTo>
                  <a:pt x="3427" y="167"/>
                </a:lnTo>
                <a:lnTo>
                  <a:pt x="3629" y="75"/>
                </a:lnTo>
                <a:lnTo>
                  <a:pt x="3834" y="19"/>
                </a:lnTo>
                <a:lnTo>
                  <a:pt x="4043" y="0"/>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lumMod val="50000"/>
                </a:srgbClr>
              </a:solidFill>
              <a:effectLst/>
              <a:uLnTx/>
              <a:uFillTx/>
              <a:latin typeface="等线 Light" panose="020F0302020204030204"/>
              <a:ea typeface="+mn-ea"/>
              <a:cs typeface="+mn-cs"/>
            </a:endParaRPr>
          </a:p>
        </p:txBody>
      </p:sp>
      <p:sp>
        <p:nvSpPr>
          <p:cNvPr id="45" name="Freeform 10">
            <a:extLst>
              <a:ext uri="{FF2B5EF4-FFF2-40B4-BE49-F238E27FC236}">
                <a16:creationId xmlns:a16="http://schemas.microsoft.com/office/drawing/2014/main" id="{7D2EE810-6EB5-4B9A-944C-0B2DBE3FF997}"/>
              </a:ext>
            </a:extLst>
          </p:cNvPr>
          <p:cNvSpPr>
            <a:spLocks/>
          </p:cNvSpPr>
          <p:nvPr/>
        </p:nvSpPr>
        <p:spPr bwMode="auto">
          <a:xfrm rot="9000000">
            <a:off x="10116569" y="2451558"/>
            <a:ext cx="252982" cy="127664"/>
          </a:xfrm>
          <a:custGeom>
            <a:avLst/>
            <a:gdLst>
              <a:gd name="T0" fmla="*/ 4456 w 8085"/>
              <a:gd name="T1" fmla="*/ 75 h 16320"/>
              <a:gd name="T2" fmla="*/ 5053 w 8085"/>
              <a:gd name="T3" fmla="*/ 448 h 16320"/>
              <a:gd name="T4" fmla="*/ 5616 w 8085"/>
              <a:gd name="T5" fmla="*/ 1081 h 16320"/>
              <a:gd name="T6" fmla="*/ 6138 w 8085"/>
              <a:gd name="T7" fmla="*/ 1921 h 16320"/>
              <a:gd name="T8" fmla="*/ 6613 w 8085"/>
              <a:gd name="T9" fmla="*/ 2912 h 16320"/>
              <a:gd name="T10" fmla="*/ 7035 w 8085"/>
              <a:gd name="T11" fmla="*/ 4000 h 16320"/>
              <a:gd name="T12" fmla="*/ 7395 w 8085"/>
              <a:gd name="T13" fmla="*/ 5130 h 16320"/>
              <a:gd name="T14" fmla="*/ 7687 w 8085"/>
              <a:gd name="T15" fmla="*/ 6246 h 16320"/>
              <a:gd name="T16" fmla="*/ 7903 w 8085"/>
              <a:gd name="T17" fmla="*/ 7295 h 16320"/>
              <a:gd name="T18" fmla="*/ 8038 w 8085"/>
              <a:gd name="T19" fmla="*/ 8220 h 16320"/>
              <a:gd name="T20" fmla="*/ 8085 w 8085"/>
              <a:gd name="T21" fmla="*/ 8968 h 16320"/>
              <a:gd name="T22" fmla="*/ 8038 w 8085"/>
              <a:gd name="T23" fmla="*/ 9675 h 16320"/>
              <a:gd name="T24" fmla="*/ 7903 w 8085"/>
              <a:gd name="T25" fmla="*/ 10492 h 16320"/>
              <a:gd name="T26" fmla="*/ 7687 w 8085"/>
              <a:gd name="T27" fmla="*/ 11377 h 16320"/>
              <a:gd name="T28" fmla="*/ 7395 w 8085"/>
              <a:gd name="T29" fmla="*/ 12294 h 16320"/>
              <a:gd name="T30" fmla="*/ 7035 w 8085"/>
              <a:gd name="T31" fmla="*/ 13203 h 16320"/>
              <a:gd name="T32" fmla="*/ 6613 w 8085"/>
              <a:gd name="T33" fmla="*/ 14065 h 16320"/>
              <a:gd name="T34" fmla="*/ 6138 w 8085"/>
              <a:gd name="T35" fmla="*/ 14841 h 16320"/>
              <a:gd name="T36" fmla="*/ 5616 w 8085"/>
              <a:gd name="T37" fmla="*/ 15492 h 16320"/>
              <a:gd name="T38" fmla="*/ 5053 w 8085"/>
              <a:gd name="T39" fmla="*/ 15978 h 16320"/>
              <a:gd name="T40" fmla="*/ 4456 w 8085"/>
              <a:gd name="T41" fmla="*/ 16263 h 16320"/>
              <a:gd name="T42" fmla="*/ 3834 w 8085"/>
              <a:gd name="T43" fmla="*/ 16306 h 16320"/>
              <a:gd name="T44" fmla="*/ 3228 w 8085"/>
              <a:gd name="T45" fmla="*/ 16098 h 16320"/>
              <a:gd name="T46" fmla="*/ 2653 w 8085"/>
              <a:gd name="T47" fmla="*/ 15673 h 16320"/>
              <a:gd name="T48" fmla="*/ 2116 w 8085"/>
              <a:gd name="T49" fmla="*/ 15074 h 16320"/>
              <a:gd name="T50" fmla="*/ 1624 w 8085"/>
              <a:gd name="T51" fmla="*/ 14335 h 16320"/>
              <a:gd name="T52" fmla="*/ 1184 w 8085"/>
              <a:gd name="T53" fmla="*/ 13498 h 16320"/>
              <a:gd name="T54" fmla="*/ 803 w 8085"/>
              <a:gd name="T55" fmla="*/ 12600 h 16320"/>
              <a:gd name="T56" fmla="*/ 488 w 8085"/>
              <a:gd name="T57" fmla="*/ 11682 h 16320"/>
              <a:gd name="T58" fmla="*/ 245 w 8085"/>
              <a:gd name="T59" fmla="*/ 10781 h 16320"/>
              <a:gd name="T60" fmla="*/ 82 w 8085"/>
              <a:gd name="T61" fmla="*/ 9937 h 16320"/>
              <a:gd name="T62" fmla="*/ 5 w 8085"/>
              <a:gd name="T63" fmla="*/ 9189 h 16320"/>
              <a:gd name="T64" fmla="*/ 21 w 8085"/>
              <a:gd name="T65" fmla="*/ 8492 h 16320"/>
              <a:gd name="T66" fmla="*/ 127 w 8085"/>
              <a:gd name="T67" fmla="*/ 7619 h 16320"/>
              <a:gd name="T68" fmla="*/ 318 w 8085"/>
              <a:gd name="T69" fmla="*/ 6606 h 16320"/>
              <a:gd name="T70" fmla="*/ 585 w 8085"/>
              <a:gd name="T71" fmla="*/ 5506 h 16320"/>
              <a:gd name="T72" fmla="*/ 923 w 8085"/>
              <a:gd name="T73" fmla="*/ 4375 h 16320"/>
              <a:gd name="T74" fmla="*/ 1324 w 8085"/>
              <a:gd name="T75" fmla="*/ 3267 h 16320"/>
              <a:gd name="T76" fmla="*/ 1783 w 8085"/>
              <a:gd name="T77" fmla="*/ 2237 h 16320"/>
              <a:gd name="T78" fmla="*/ 2290 w 8085"/>
              <a:gd name="T79" fmla="*/ 1340 h 16320"/>
              <a:gd name="T80" fmla="*/ 2840 w 8085"/>
              <a:gd name="T81" fmla="*/ 632 h 16320"/>
              <a:gd name="T82" fmla="*/ 3427 w 8085"/>
              <a:gd name="T83" fmla="*/ 167 h 16320"/>
              <a:gd name="T84" fmla="*/ 4043 w 8085"/>
              <a:gd name="T85" fmla="*/ 0 h 16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085" h="16320">
                <a:moveTo>
                  <a:pt x="4043" y="0"/>
                </a:moveTo>
                <a:lnTo>
                  <a:pt x="4251" y="19"/>
                </a:lnTo>
                <a:lnTo>
                  <a:pt x="4456" y="75"/>
                </a:lnTo>
                <a:lnTo>
                  <a:pt x="4658" y="167"/>
                </a:lnTo>
                <a:lnTo>
                  <a:pt x="4857" y="292"/>
                </a:lnTo>
                <a:lnTo>
                  <a:pt x="5053" y="448"/>
                </a:lnTo>
                <a:lnTo>
                  <a:pt x="5245" y="632"/>
                </a:lnTo>
                <a:lnTo>
                  <a:pt x="5432" y="845"/>
                </a:lnTo>
                <a:lnTo>
                  <a:pt x="5616" y="1081"/>
                </a:lnTo>
                <a:lnTo>
                  <a:pt x="5795" y="1340"/>
                </a:lnTo>
                <a:lnTo>
                  <a:pt x="5969" y="1622"/>
                </a:lnTo>
                <a:lnTo>
                  <a:pt x="6138" y="1921"/>
                </a:lnTo>
                <a:lnTo>
                  <a:pt x="6302" y="2237"/>
                </a:lnTo>
                <a:lnTo>
                  <a:pt x="6461" y="2568"/>
                </a:lnTo>
                <a:lnTo>
                  <a:pt x="6613" y="2912"/>
                </a:lnTo>
                <a:lnTo>
                  <a:pt x="6761" y="3267"/>
                </a:lnTo>
                <a:lnTo>
                  <a:pt x="6901" y="3630"/>
                </a:lnTo>
                <a:lnTo>
                  <a:pt x="7035" y="4000"/>
                </a:lnTo>
                <a:lnTo>
                  <a:pt x="7162" y="4375"/>
                </a:lnTo>
                <a:lnTo>
                  <a:pt x="7282" y="4752"/>
                </a:lnTo>
                <a:lnTo>
                  <a:pt x="7395" y="5130"/>
                </a:lnTo>
                <a:lnTo>
                  <a:pt x="7500" y="5506"/>
                </a:lnTo>
                <a:lnTo>
                  <a:pt x="7597" y="5879"/>
                </a:lnTo>
                <a:lnTo>
                  <a:pt x="7687" y="6246"/>
                </a:lnTo>
                <a:lnTo>
                  <a:pt x="7767" y="6606"/>
                </a:lnTo>
                <a:lnTo>
                  <a:pt x="7840" y="6956"/>
                </a:lnTo>
                <a:lnTo>
                  <a:pt x="7903" y="7295"/>
                </a:lnTo>
                <a:lnTo>
                  <a:pt x="7958" y="7619"/>
                </a:lnTo>
                <a:lnTo>
                  <a:pt x="8003" y="7928"/>
                </a:lnTo>
                <a:lnTo>
                  <a:pt x="8038" y="8220"/>
                </a:lnTo>
                <a:lnTo>
                  <a:pt x="8064" y="8492"/>
                </a:lnTo>
                <a:lnTo>
                  <a:pt x="8080" y="8741"/>
                </a:lnTo>
                <a:lnTo>
                  <a:pt x="8085" y="8968"/>
                </a:lnTo>
                <a:lnTo>
                  <a:pt x="8080" y="9189"/>
                </a:lnTo>
                <a:lnTo>
                  <a:pt x="8064" y="9426"/>
                </a:lnTo>
                <a:lnTo>
                  <a:pt x="8038" y="9675"/>
                </a:lnTo>
                <a:lnTo>
                  <a:pt x="8003" y="9937"/>
                </a:lnTo>
                <a:lnTo>
                  <a:pt x="7958" y="10210"/>
                </a:lnTo>
                <a:lnTo>
                  <a:pt x="7903" y="10492"/>
                </a:lnTo>
                <a:lnTo>
                  <a:pt x="7840" y="10781"/>
                </a:lnTo>
                <a:lnTo>
                  <a:pt x="7767" y="11077"/>
                </a:lnTo>
                <a:lnTo>
                  <a:pt x="7687" y="11377"/>
                </a:lnTo>
                <a:lnTo>
                  <a:pt x="7597" y="11682"/>
                </a:lnTo>
                <a:lnTo>
                  <a:pt x="7500" y="11988"/>
                </a:lnTo>
                <a:lnTo>
                  <a:pt x="7395" y="12294"/>
                </a:lnTo>
                <a:lnTo>
                  <a:pt x="7282" y="12600"/>
                </a:lnTo>
                <a:lnTo>
                  <a:pt x="7162" y="12904"/>
                </a:lnTo>
                <a:lnTo>
                  <a:pt x="7035" y="13203"/>
                </a:lnTo>
                <a:lnTo>
                  <a:pt x="6901" y="13498"/>
                </a:lnTo>
                <a:lnTo>
                  <a:pt x="6761" y="13785"/>
                </a:lnTo>
                <a:lnTo>
                  <a:pt x="6613" y="14065"/>
                </a:lnTo>
                <a:lnTo>
                  <a:pt x="6461" y="14335"/>
                </a:lnTo>
                <a:lnTo>
                  <a:pt x="6302" y="14594"/>
                </a:lnTo>
                <a:lnTo>
                  <a:pt x="6138" y="14841"/>
                </a:lnTo>
                <a:lnTo>
                  <a:pt x="5969" y="15074"/>
                </a:lnTo>
                <a:lnTo>
                  <a:pt x="5795" y="15291"/>
                </a:lnTo>
                <a:lnTo>
                  <a:pt x="5616" y="15492"/>
                </a:lnTo>
                <a:lnTo>
                  <a:pt x="5432" y="15673"/>
                </a:lnTo>
                <a:lnTo>
                  <a:pt x="5245" y="15837"/>
                </a:lnTo>
                <a:lnTo>
                  <a:pt x="5053" y="15978"/>
                </a:lnTo>
                <a:lnTo>
                  <a:pt x="4857" y="16098"/>
                </a:lnTo>
                <a:lnTo>
                  <a:pt x="4658" y="16193"/>
                </a:lnTo>
                <a:lnTo>
                  <a:pt x="4456" y="16263"/>
                </a:lnTo>
                <a:lnTo>
                  <a:pt x="4251" y="16306"/>
                </a:lnTo>
                <a:lnTo>
                  <a:pt x="4043" y="16320"/>
                </a:lnTo>
                <a:lnTo>
                  <a:pt x="3834" y="16306"/>
                </a:lnTo>
                <a:lnTo>
                  <a:pt x="3629" y="16263"/>
                </a:lnTo>
                <a:lnTo>
                  <a:pt x="3427" y="16193"/>
                </a:lnTo>
                <a:lnTo>
                  <a:pt x="3228" y="16098"/>
                </a:lnTo>
                <a:lnTo>
                  <a:pt x="3032" y="15978"/>
                </a:lnTo>
                <a:lnTo>
                  <a:pt x="2840" y="15837"/>
                </a:lnTo>
                <a:lnTo>
                  <a:pt x="2653" y="15673"/>
                </a:lnTo>
                <a:lnTo>
                  <a:pt x="2469" y="15492"/>
                </a:lnTo>
                <a:lnTo>
                  <a:pt x="2290" y="15291"/>
                </a:lnTo>
                <a:lnTo>
                  <a:pt x="2116" y="15074"/>
                </a:lnTo>
                <a:lnTo>
                  <a:pt x="1947" y="14841"/>
                </a:lnTo>
                <a:lnTo>
                  <a:pt x="1783" y="14594"/>
                </a:lnTo>
                <a:lnTo>
                  <a:pt x="1624" y="14335"/>
                </a:lnTo>
                <a:lnTo>
                  <a:pt x="1472" y="14065"/>
                </a:lnTo>
                <a:lnTo>
                  <a:pt x="1324" y="13785"/>
                </a:lnTo>
                <a:lnTo>
                  <a:pt x="1184" y="13498"/>
                </a:lnTo>
                <a:lnTo>
                  <a:pt x="1050" y="13203"/>
                </a:lnTo>
                <a:lnTo>
                  <a:pt x="923" y="12904"/>
                </a:lnTo>
                <a:lnTo>
                  <a:pt x="803" y="12600"/>
                </a:lnTo>
                <a:lnTo>
                  <a:pt x="690" y="12294"/>
                </a:lnTo>
                <a:lnTo>
                  <a:pt x="585" y="11988"/>
                </a:lnTo>
                <a:lnTo>
                  <a:pt x="488" y="11682"/>
                </a:lnTo>
                <a:lnTo>
                  <a:pt x="398" y="11377"/>
                </a:lnTo>
                <a:lnTo>
                  <a:pt x="318" y="11077"/>
                </a:lnTo>
                <a:lnTo>
                  <a:pt x="245" y="10781"/>
                </a:lnTo>
                <a:lnTo>
                  <a:pt x="182" y="10492"/>
                </a:lnTo>
                <a:lnTo>
                  <a:pt x="127" y="10210"/>
                </a:lnTo>
                <a:lnTo>
                  <a:pt x="82" y="9937"/>
                </a:lnTo>
                <a:lnTo>
                  <a:pt x="47" y="9675"/>
                </a:lnTo>
                <a:lnTo>
                  <a:pt x="21" y="9426"/>
                </a:lnTo>
                <a:lnTo>
                  <a:pt x="5" y="9189"/>
                </a:lnTo>
                <a:lnTo>
                  <a:pt x="0" y="8968"/>
                </a:lnTo>
                <a:lnTo>
                  <a:pt x="5" y="8741"/>
                </a:lnTo>
                <a:lnTo>
                  <a:pt x="21" y="8492"/>
                </a:lnTo>
                <a:lnTo>
                  <a:pt x="47" y="8220"/>
                </a:lnTo>
                <a:lnTo>
                  <a:pt x="82" y="7928"/>
                </a:lnTo>
                <a:lnTo>
                  <a:pt x="127" y="7619"/>
                </a:lnTo>
                <a:lnTo>
                  <a:pt x="182" y="7295"/>
                </a:lnTo>
                <a:lnTo>
                  <a:pt x="245" y="6956"/>
                </a:lnTo>
                <a:lnTo>
                  <a:pt x="318" y="6606"/>
                </a:lnTo>
                <a:lnTo>
                  <a:pt x="398" y="6246"/>
                </a:lnTo>
                <a:lnTo>
                  <a:pt x="488" y="5879"/>
                </a:lnTo>
                <a:lnTo>
                  <a:pt x="585" y="5506"/>
                </a:lnTo>
                <a:lnTo>
                  <a:pt x="690" y="5130"/>
                </a:lnTo>
                <a:lnTo>
                  <a:pt x="803" y="4752"/>
                </a:lnTo>
                <a:lnTo>
                  <a:pt x="923" y="4375"/>
                </a:lnTo>
                <a:lnTo>
                  <a:pt x="1050" y="4000"/>
                </a:lnTo>
                <a:lnTo>
                  <a:pt x="1184" y="3630"/>
                </a:lnTo>
                <a:lnTo>
                  <a:pt x="1324" y="3267"/>
                </a:lnTo>
                <a:lnTo>
                  <a:pt x="1472" y="2912"/>
                </a:lnTo>
                <a:lnTo>
                  <a:pt x="1624" y="2568"/>
                </a:lnTo>
                <a:lnTo>
                  <a:pt x="1783" y="2237"/>
                </a:lnTo>
                <a:lnTo>
                  <a:pt x="1947" y="1921"/>
                </a:lnTo>
                <a:lnTo>
                  <a:pt x="2116" y="1622"/>
                </a:lnTo>
                <a:lnTo>
                  <a:pt x="2290" y="1340"/>
                </a:lnTo>
                <a:lnTo>
                  <a:pt x="2469" y="1081"/>
                </a:lnTo>
                <a:lnTo>
                  <a:pt x="2653" y="845"/>
                </a:lnTo>
                <a:lnTo>
                  <a:pt x="2840" y="632"/>
                </a:lnTo>
                <a:lnTo>
                  <a:pt x="3032" y="448"/>
                </a:lnTo>
                <a:lnTo>
                  <a:pt x="3228" y="292"/>
                </a:lnTo>
                <a:lnTo>
                  <a:pt x="3427" y="167"/>
                </a:lnTo>
                <a:lnTo>
                  <a:pt x="3629" y="75"/>
                </a:lnTo>
                <a:lnTo>
                  <a:pt x="3834" y="19"/>
                </a:lnTo>
                <a:lnTo>
                  <a:pt x="4043" y="0"/>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lumMod val="50000"/>
                </a:srgbClr>
              </a:solidFill>
              <a:effectLst/>
              <a:uLnTx/>
              <a:uFillTx/>
              <a:latin typeface="等线 Light" panose="020F0302020204030204"/>
              <a:ea typeface="+mn-ea"/>
              <a:cs typeface="+mn-cs"/>
            </a:endParaRPr>
          </a:p>
        </p:txBody>
      </p:sp>
      <p:sp>
        <p:nvSpPr>
          <p:cNvPr id="46" name="Freeform 15">
            <a:extLst>
              <a:ext uri="{FF2B5EF4-FFF2-40B4-BE49-F238E27FC236}">
                <a16:creationId xmlns:a16="http://schemas.microsoft.com/office/drawing/2014/main" id="{EC98FCC6-AE42-4BD3-B263-2C85C455FCB9}"/>
              </a:ext>
            </a:extLst>
          </p:cNvPr>
          <p:cNvSpPr>
            <a:spLocks/>
          </p:cNvSpPr>
          <p:nvPr/>
        </p:nvSpPr>
        <p:spPr bwMode="auto">
          <a:xfrm rot="14400000">
            <a:off x="8612749" y="2794903"/>
            <a:ext cx="214062" cy="108024"/>
          </a:xfrm>
          <a:custGeom>
            <a:avLst/>
            <a:gdLst>
              <a:gd name="T0" fmla="*/ 4456 w 8085"/>
              <a:gd name="T1" fmla="*/ 75 h 16320"/>
              <a:gd name="T2" fmla="*/ 5053 w 8085"/>
              <a:gd name="T3" fmla="*/ 448 h 16320"/>
              <a:gd name="T4" fmla="*/ 5616 w 8085"/>
              <a:gd name="T5" fmla="*/ 1081 h 16320"/>
              <a:gd name="T6" fmla="*/ 6138 w 8085"/>
              <a:gd name="T7" fmla="*/ 1921 h 16320"/>
              <a:gd name="T8" fmla="*/ 6613 w 8085"/>
              <a:gd name="T9" fmla="*/ 2912 h 16320"/>
              <a:gd name="T10" fmla="*/ 7035 w 8085"/>
              <a:gd name="T11" fmla="*/ 4000 h 16320"/>
              <a:gd name="T12" fmla="*/ 7395 w 8085"/>
              <a:gd name="T13" fmla="*/ 5130 h 16320"/>
              <a:gd name="T14" fmla="*/ 7687 w 8085"/>
              <a:gd name="T15" fmla="*/ 6246 h 16320"/>
              <a:gd name="T16" fmla="*/ 7903 w 8085"/>
              <a:gd name="T17" fmla="*/ 7295 h 16320"/>
              <a:gd name="T18" fmla="*/ 8038 w 8085"/>
              <a:gd name="T19" fmla="*/ 8220 h 16320"/>
              <a:gd name="T20" fmla="*/ 8085 w 8085"/>
              <a:gd name="T21" fmla="*/ 8968 h 16320"/>
              <a:gd name="T22" fmla="*/ 8038 w 8085"/>
              <a:gd name="T23" fmla="*/ 9675 h 16320"/>
              <a:gd name="T24" fmla="*/ 7903 w 8085"/>
              <a:gd name="T25" fmla="*/ 10492 h 16320"/>
              <a:gd name="T26" fmla="*/ 7687 w 8085"/>
              <a:gd name="T27" fmla="*/ 11377 h 16320"/>
              <a:gd name="T28" fmla="*/ 7395 w 8085"/>
              <a:gd name="T29" fmla="*/ 12294 h 16320"/>
              <a:gd name="T30" fmla="*/ 7035 w 8085"/>
              <a:gd name="T31" fmla="*/ 13203 h 16320"/>
              <a:gd name="T32" fmla="*/ 6613 w 8085"/>
              <a:gd name="T33" fmla="*/ 14065 h 16320"/>
              <a:gd name="T34" fmla="*/ 6138 w 8085"/>
              <a:gd name="T35" fmla="*/ 14841 h 16320"/>
              <a:gd name="T36" fmla="*/ 5616 w 8085"/>
              <a:gd name="T37" fmla="*/ 15492 h 16320"/>
              <a:gd name="T38" fmla="*/ 5053 w 8085"/>
              <a:gd name="T39" fmla="*/ 15978 h 16320"/>
              <a:gd name="T40" fmla="*/ 4456 w 8085"/>
              <a:gd name="T41" fmla="*/ 16263 h 16320"/>
              <a:gd name="T42" fmla="*/ 3834 w 8085"/>
              <a:gd name="T43" fmla="*/ 16306 h 16320"/>
              <a:gd name="T44" fmla="*/ 3228 w 8085"/>
              <a:gd name="T45" fmla="*/ 16098 h 16320"/>
              <a:gd name="T46" fmla="*/ 2653 w 8085"/>
              <a:gd name="T47" fmla="*/ 15673 h 16320"/>
              <a:gd name="T48" fmla="*/ 2116 w 8085"/>
              <a:gd name="T49" fmla="*/ 15074 h 16320"/>
              <a:gd name="T50" fmla="*/ 1624 w 8085"/>
              <a:gd name="T51" fmla="*/ 14335 h 16320"/>
              <a:gd name="T52" fmla="*/ 1184 w 8085"/>
              <a:gd name="T53" fmla="*/ 13498 h 16320"/>
              <a:gd name="T54" fmla="*/ 803 w 8085"/>
              <a:gd name="T55" fmla="*/ 12600 h 16320"/>
              <a:gd name="T56" fmla="*/ 488 w 8085"/>
              <a:gd name="T57" fmla="*/ 11682 h 16320"/>
              <a:gd name="T58" fmla="*/ 245 w 8085"/>
              <a:gd name="T59" fmla="*/ 10781 h 16320"/>
              <a:gd name="T60" fmla="*/ 82 w 8085"/>
              <a:gd name="T61" fmla="*/ 9937 h 16320"/>
              <a:gd name="T62" fmla="*/ 5 w 8085"/>
              <a:gd name="T63" fmla="*/ 9189 h 16320"/>
              <a:gd name="T64" fmla="*/ 21 w 8085"/>
              <a:gd name="T65" fmla="*/ 8492 h 16320"/>
              <a:gd name="T66" fmla="*/ 127 w 8085"/>
              <a:gd name="T67" fmla="*/ 7619 h 16320"/>
              <a:gd name="T68" fmla="*/ 318 w 8085"/>
              <a:gd name="T69" fmla="*/ 6606 h 16320"/>
              <a:gd name="T70" fmla="*/ 585 w 8085"/>
              <a:gd name="T71" fmla="*/ 5506 h 16320"/>
              <a:gd name="T72" fmla="*/ 923 w 8085"/>
              <a:gd name="T73" fmla="*/ 4375 h 16320"/>
              <a:gd name="T74" fmla="*/ 1324 w 8085"/>
              <a:gd name="T75" fmla="*/ 3267 h 16320"/>
              <a:gd name="T76" fmla="*/ 1783 w 8085"/>
              <a:gd name="T77" fmla="*/ 2237 h 16320"/>
              <a:gd name="T78" fmla="*/ 2290 w 8085"/>
              <a:gd name="T79" fmla="*/ 1340 h 16320"/>
              <a:gd name="T80" fmla="*/ 2840 w 8085"/>
              <a:gd name="T81" fmla="*/ 632 h 16320"/>
              <a:gd name="T82" fmla="*/ 3427 w 8085"/>
              <a:gd name="T83" fmla="*/ 167 h 16320"/>
              <a:gd name="T84" fmla="*/ 4043 w 8085"/>
              <a:gd name="T85" fmla="*/ 0 h 16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085" h="16320">
                <a:moveTo>
                  <a:pt x="4043" y="0"/>
                </a:moveTo>
                <a:lnTo>
                  <a:pt x="4251" y="19"/>
                </a:lnTo>
                <a:lnTo>
                  <a:pt x="4456" y="75"/>
                </a:lnTo>
                <a:lnTo>
                  <a:pt x="4658" y="167"/>
                </a:lnTo>
                <a:lnTo>
                  <a:pt x="4857" y="292"/>
                </a:lnTo>
                <a:lnTo>
                  <a:pt x="5053" y="448"/>
                </a:lnTo>
                <a:lnTo>
                  <a:pt x="5245" y="632"/>
                </a:lnTo>
                <a:lnTo>
                  <a:pt x="5432" y="845"/>
                </a:lnTo>
                <a:lnTo>
                  <a:pt x="5616" y="1081"/>
                </a:lnTo>
                <a:lnTo>
                  <a:pt x="5795" y="1340"/>
                </a:lnTo>
                <a:lnTo>
                  <a:pt x="5969" y="1622"/>
                </a:lnTo>
                <a:lnTo>
                  <a:pt x="6138" y="1921"/>
                </a:lnTo>
                <a:lnTo>
                  <a:pt x="6302" y="2237"/>
                </a:lnTo>
                <a:lnTo>
                  <a:pt x="6461" y="2568"/>
                </a:lnTo>
                <a:lnTo>
                  <a:pt x="6613" y="2912"/>
                </a:lnTo>
                <a:lnTo>
                  <a:pt x="6761" y="3267"/>
                </a:lnTo>
                <a:lnTo>
                  <a:pt x="6901" y="3630"/>
                </a:lnTo>
                <a:lnTo>
                  <a:pt x="7035" y="4000"/>
                </a:lnTo>
                <a:lnTo>
                  <a:pt x="7162" y="4375"/>
                </a:lnTo>
                <a:lnTo>
                  <a:pt x="7282" y="4752"/>
                </a:lnTo>
                <a:lnTo>
                  <a:pt x="7395" y="5130"/>
                </a:lnTo>
                <a:lnTo>
                  <a:pt x="7500" y="5506"/>
                </a:lnTo>
                <a:lnTo>
                  <a:pt x="7597" y="5879"/>
                </a:lnTo>
                <a:lnTo>
                  <a:pt x="7687" y="6246"/>
                </a:lnTo>
                <a:lnTo>
                  <a:pt x="7767" y="6606"/>
                </a:lnTo>
                <a:lnTo>
                  <a:pt x="7840" y="6956"/>
                </a:lnTo>
                <a:lnTo>
                  <a:pt x="7903" y="7295"/>
                </a:lnTo>
                <a:lnTo>
                  <a:pt x="7958" y="7619"/>
                </a:lnTo>
                <a:lnTo>
                  <a:pt x="8003" y="7928"/>
                </a:lnTo>
                <a:lnTo>
                  <a:pt x="8038" y="8220"/>
                </a:lnTo>
                <a:lnTo>
                  <a:pt x="8064" y="8492"/>
                </a:lnTo>
                <a:lnTo>
                  <a:pt x="8080" y="8741"/>
                </a:lnTo>
                <a:lnTo>
                  <a:pt x="8085" y="8968"/>
                </a:lnTo>
                <a:lnTo>
                  <a:pt x="8080" y="9189"/>
                </a:lnTo>
                <a:lnTo>
                  <a:pt x="8064" y="9426"/>
                </a:lnTo>
                <a:lnTo>
                  <a:pt x="8038" y="9675"/>
                </a:lnTo>
                <a:lnTo>
                  <a:pt x="8003" y="9937"/>
                </a:lnTo>
                <a:lnTo>
                  <a:pt x="7958" y="10210"/>
                </a:lnTo>
                <a:lnTo>
                  <a:pt x="7903" y="10492"/>
                </a:lnTo>
                <a:lnTo>
                  <a:pt x="7840" y="10781"/>
                </a:lnTo>
                <a:lnTo>
                  <a:pt x="7767" y="11077"/>
                </a:lnTo>
                <a:lnTo>
                  <a:pt x="7687" y="11377"/>
                </a:lnTo>
                <a:lnTo>
                  <a:pt x="7597" y="11682"/>
                </a:lnTo>
                <a:lnTo>
                  <a:pt x="7500" y="11988"/>
                </a:lnTo>
                <a:lnTo>
                  <a:pt x="7395" y="12294"/>
                </a:lnTo>
                <a:lnTo>
                  <a:pt x="7282" y="12600"/>
                </a:lnTo>
                <a:lnTo>
                  <a:pt x="7162" y="12904"/>
                </a:lnTo>
                <a:lnTo>
                  <a:pt x="7035" y="13203"/>
                </a:lnTo>
                <a:lnTo>
                  <a:pt x="6901" y="13498"/>
                </a:lnTo>
                <a:lnTo>
                  <a:pt x="6761" y="13785"/>
                </a:lnTo>
                <a:lnTo>
                  <a:pt x="6613" y="14065"/>
                </a:lnTo>
                <a:lnTo>
                  <a:pt x="6461" y="14335"/>
                </a:lnTo>
                <a:lnTo>
                  <a:pt x="6302" y="14594"/>
                </a:lnTo>
                <a:lnTo>
                  <a:pt x="6138" y="14841"/>
                </a:lnTo>
                <a:lnTo>
                  <a:pt x="5969" y="15074"/>
                </a:lnTo>
                <a:lnTo>
                  <a:pt x="5795" y="15291"/>
                </a:lnTo>
                <a:lnTo>
                  <a:pt x="5616" y="15492"/>
                </a:lnTo>
                <a:lnTo>
                  <a:pt x="5432" y="15673"/>
                </a:lnTo>
                <a:lnTo>
                  <a:pt x="5245" y="15837"/>
                </a:lnTo>
                <a:lnTo>
                  <a:pt x="5053" y="15978"/>
                </a:lnTo>
                <a:lnTo>
                  <a:pt x="4857" y="16098"/>
                </a:lnTo>
                <a:lnTo>
                  <a:pt x="4658" y="16193"/>
                </a:lnTo>
                <a:lnTo>
                  <a:pt x="4456" y="16263"/>
                </a:lnTo>
                <a:lnTo>
                  <a:pt x="4251" y="16306"/>
                </a:lnTo>
                <a:lnTo>
                  <a:pt x="4043" y="16320"/>
                </a:lnTo>
                <a:lnTo>
                  <a:pt x="3834" y="16306"/>
                </a:lnTo>
                <a:lnTo>
                  <a:pt x="3629" y="16263"/>
                </a:lnTo>
                <a:lnTo>
                  <a:pt x="3427" y="16193"/>
                </a:lnTo>
                <a:lnTo>
                  <a:pt x="3228" y="16098"/>
                </a:lnTo>
                <a:lnTo>
                  <a:pt x="3032" y="15978"/>
                </a:lnTo>
                <a:lnTo>
                  <a:pt x="2840" y="15837"/>
                </a:lnTo>
                <a:lnTo>
                  <a:pt x="2653" y="15673"/>
                </a:lnTo>
                <a:lnTo>
                  <a:pt x="2469" y="15492"/>
                </a:lnTo>
                <a:lnTo>
                  <a:pt x="2290" y="15291"/>
                </a:lnTo>
                <a:lnTo>
                  <a:pt x="2116" y="15074"/>
                </a:lnTo>
                <a:lnTo>
                  <a:pt x="1947" y="14841"/>
                </a:lnTo>
                <a:lnTo>
                  <a:pt x="1783" y="14594"/>
                </a:lnTo>
                <a:lnTo>
                  <a:pt x="1624" y="14335"/>
                </a:lnTo>
                <a:lnTo>
                  <a:pt x="1472" y="14065"/>
                </a:lnTo>
                <a:lnTo>
                  <a:pt x="1324" y="13785"/>
                </a:lnTo>
                <a:lnTo>
                  <a:pt x="1184" y="13498"/>
                </a:lnTo>
                <a:lnTo>
                  <a:pt x="1050" y="13203"/>
                </a:lnTo>
                <a:lnTo>
                  <a:pt x="923" y="12904"/>
                </a:lnTo>
                <a:lnTo>
                  <a:pt x="803" y="12600"/>
                </a:lnTo>
                <a:lnTo>
                  <a:pt x="690" y="12294"/>
                </a:lnTo>
                <a:lnTo>
                  <a:pt x="585" y="11988"/>
                </a:lnTo>
                <a:lnTo>
                  <a:pt x="488" y="11682"/>
                </a:lnTo>
                <a:lnTo>
                  <a:pt x="398" y="11377"/>
                </a:lnTo>
                <a:lnTo>
                  <a:pt x="318" y="11077"/>
                </a:lnTo>
                <a:lnTo>
                  <a:pt x="245" y="10781"/>
                </a:lnTo>
                <a:lnTo>
                  <a:pt x="182" y="10492"/>
                </a:lnTo>
                <a:lnTo>
                  <a:pt x="127" y="10210"/>
                </a:lnTo>
                <a:lnTo>
                  <a:pt x="82" y="9937"/>
                </a:lnTo>
                <a:lnTo>
                  <a:pt x="47" y="9675"/>
                </a:lnTo>
                <a:lnTo>
                  <a:pt x="21" y="9426"/>
                </a:lnTo>
                <a:lnTo>
                  <a:pt x="5" y="9189"/>
                </a:lnTo>
                <a:lnTo>
                  <a:pt x="0" y="8968"/>
                </a:lnTo>
                <a:lnTo>
                  <a:pt x="5" y="8741"/>
                </a:lnTo>
                <a:lnTo>
                  <a:pt x="21" y="8492"/>
                </a:lnTo>
                <a:lnTo>
                  <a:pt x="47" y="8220"/>
                </a:lnTo>
                <a:lnTo>
                  <a:pt x="82" y="7928"/>
                </a:lnTo>
                <a:lnTo>
                  <a:pt x="127" y="7619"/>
                </a:lnTo>
                <a:lnTo>
                  <a:pt x="182" y="7295"/>
                </a:lnTo>
                <a:lnTo>
                  <a:pt x="245" y="6956"/>
                </a:lnTo>
                <a:lnTo>
                  <a:pt x="318" y="6606"/>
                </a:lnTo>
                <a:lnTo>
                  <a:pt x="398" y="6246"/>
                </a:lnTo>
                <a:lnTo>
                  <a:pt x="488" y="5879"/>
                </a:lnTo>
                <a:lnTo>
                  <a:pt x="585" y="5506"/>
                </a:lnTo>
                <a:lnTo>
                  <a:pt x="690" y="5130"/>
                </a:lnTo>
                <a:lnTo>
                  <a:pt x="803" y="4752"/>
                </a:lnTo>
                <a:lnTo>
                  <a:pt x="923" y="4375"/>
                </a:lnTo>
                <a:lnTo>
                  <a:pt x="1050" y="4000"/>
                </a:lnTo>
                <a:lnTo>
                  <a:pt x="1184" y="3630"/>
                </a:lnTo>
                <a:lnTo>
                  <a:pt x="1324" y="3267"/>
                </a:lnTo>
                <a:lnTo>
                  <a:pt x="1472" y="2912"/>
                </a:lnTo>
                <a:lnTo>
                  <a:pt x="1624" y="2568"/>
                </a:lnTo>
                <a:lnTo>
                  <a:pt x="1783" y="2237"/>
                </a:lnTo>
                <a:lnTo>
                  <a:pt x="1947" y="1921"/>
                </a:lnTo>
                <a:lnTo>
                  <a:pt x="2116" y="1622"/>
                </a:lnTo>
                <a:lnTo>
                  <a:pt x="2290" y="1340"/>
                </a:lnTo>
                <a:lnTo>
                  <a:pt x="2469" y="1081"/>
                </a:lnTo>
                <a:lnTo>
                  <a:pt x="2653" y="845"/>
                </a:lnTo>
                <a:lnTo>
                  <a:pt x="2840" y="632"/>
                </a:lnTo>
                <a:lnTo>
                  <a:pt x="3032" y="448"/>
                </a:lnTo>
                <a:lnTo>
                  <a:pt x="3228" y="292"/>
                </a:lnTo>
                <a:lnTo>
                  <a:pt x="3427" y="167"/>
                </a:lnTo>
                <a:lnTo>
                  <a:pt x="3629" y="75"/>
                </a:lnTo>
                <a:lnTo>
                  <a:pt x="3834" y="19"/>
                </a:lnTo>
                <a:lnTo>
                  <a:pt x="4043" y="0"/>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lumMod val="50000"/>
                </a:srgbClr>
              </a:solidFill>
              <a:effectLst/>
              <a:uLnTx/>
              <a:uFillTx/>
              <a:latin typeface="等线 Light" panose="020F0302020204030204"/>
              <a:ea typeface="+mn-ea"/>
              <a:cs typeface="+mn-cs"/>
            </a:endParaRPr>
          </a:p>
        </p:txBody>
      </p:sp>
      <p:sp>
        <p:nvSpPr>
          <p:cNvPr id="47" name="Freeform 17">
            <a:extLst>
              <a:ext uri="{FF2B5EF4-FFF2-40B4-BE49-F238E27FC236}">
                <a16:creationId xmlns:a16="http://schemas.microsoft.com/office/drawing/2014/main" id="{F1C7DFC6-0FD5-42BF-9387-90A53440276E}"/>
              </a:ext>
            </a:extLst>
          </p:cNvPr>
          <p:cNvSpPr>
            <a:spLocks/>
          </p:cNvSpPr>
          <p:nvPr/>
        </p:nvSpPr>
        <p:spPr bwMode="auto">
          <a:xfrm rot="5400000">
            <a:off x="7632017" y="3865015"/>
            <a:ext cx="303806" cy="153312"/>
          </a:xfrm>
          <a:custGeom>
            <a:avLst/>
            <a:gdLst>
              <a:gd name="T0" fmla="*/ 4456 w 8085"/>
              <a:gd name="T1" fmla="*/ 75 h 16320"/>
              <a:gd name="T2" fmla="*/ 5053 w 8085"/>
              <a:gd name="T3" fmla="*/ 448 h 16320"/>
              <a:gd name="T4" fmla="*/ 5616 w 8085"/>
              <a:gd name="T5" fmla="*/ 1081 h 16320"/>
              <a:gd name="T6" fmla="*/ 6138 w 8085"/>
              <a:gd name="T7" fmla="*/ 1921 h 16320"/>
              <a:gd name="T8" fmla="*/ 6613 w 8085"/>
              <a:gd name="T9" fmla="*/ 2912 h 16320"/>
              <a:gd name="T10" fmla="*/ 7035 w 8085"/>
              <a:gd name="T11" fmla="*/ 4000 h 16320"/>
              <a:gd name="T12" fmla="*/ 7395 w 8085"/>
              <a:gd name="T13" fmla="*/ 5130 h 16320"/>
              <a:gd name="T14" fmla="*/ 7687 w 8085"/>
              <a:gd name="T15" fmla="*/ 6246 h 16320"/>
              <a:gd name="T16" fmla="*/ 7903 w 8085"/>
              <a:gd name="T17" fmla="*/ 7295 h 16320"/>
              <a:gd name="T18" fmla="*/ 8038 w 8085"/>
              <a:gd name="T19" fmla="*/ 8220 h 16320"/>
              <a:gd name="T20" fmla="*/ 8085 w 8085"/>
              <a:gd name="T21" fmla="*/ 8968 h 16320"/>
              <a:gd name="T22" fmla="*/ 8038 w 8085"/>
              <a:gd name="T23" fmla="*/ 9675 h 16320"/>
              <a:gd name="T24" fmla="*/ 7903 w 8085"/>
              <a:gd name="T25" fmla="*/ 10492 h 16320"/>
              <a:gd name="T26" fmla="*/ 7687 w 8085"/>
              <a:gd name="T27" fmla="*/ 11377 h 16320"/>
              <a:gd name="T28" fmla="*/ 7395 w 8085"/>
              <a:gd name="T29" fmla="*/ 12294 h 16320"/>
              <a:gd name="T30" fmla="*/ 7035 w 8085"/>
              <a:gd name="T31" fmla="*/ 13203 h 16320"/>
              <a:gd name="T32" fmla="*/ 6613 w 8085"/>
              <a:gd name="T33" fmla="*/ 14065 h 16320"/>
              <a:gd name="T34" fmla="*/ 6138 w 8085"/>
              <a:gd name="T35" fmla="*/ 14841 h 16320"/>
              <a:gd name="T36" fmla="*/ 5616 w 8085"/>
              <a:gd name="T37" fmla="*/ 15492 h 16320"/>
              <a:gd name="T38" fmla="*/ 5053 w 8085"/>
              <a:gd name="T39" fmla="*/ 15978 h 16320"/>
              <a:gd name="T40" fmla="*/ 4456 w 8085"/>
              <a:gd name="T41" fmla="*/ 16263 h 16320"/>
              <a:gd name="T42" fmla="*/ 3834 w 8085"/>
              <a:gd name="T43" fmla="*/ 16306 h 16320"/>
              <a:gd name="T44" fmla="*/ 3228 w 8085"/>
              <a:gd name="T45" fmla="*/ 16098 h 16320"/>
              <a:gd name="T46" fmla="*/ 2653 w 8085"/>
              <a:gd name="T47" fmla="*/ 15673 h 16320"/>
              <a:gd name="T48" fmla="*/ 2116 w 8085"/>
              <a:gd name="T49" fmla="*/ 15074 h 16320"/>
              <a:gd name="T50" fmla="*/ 1624 w 8085"/>
              <a:gd name="T51" fmla="*/ 14335 h 16320"/>
              <a:gd name="T52" fmla="*/ 1184 w 8085"/>
              <a:gd name="T53" fmla="*/ 13498 h 16320"/>
              <a:gd name="T54" fmla="*/ 803 w 8085"/>
              <a:gd name="T55" fmla="*/ 12600 h 16320"/>
              <a:gd name="T56" fmla="*/ 488 w 8085"/>
              <a:gd name="T57" fmla="*/ 11682 h 16320"/>
              <a:gd name="T58" fmla="*/ 245 w 8085"/>
              <a:gd name="T59" fmla="*/ 10781 h 16320"/>
              <a:gd name="T60" fmla="*/ 82 w 8085"/>
              <a:gd name="T61" fmla="*/ 9937 h 16320"/>
              <a:gd name="T62" fmla="*/ 5 w 8085"/>
              <a:gd name="T63" fmla="*/ 9189 h 16320"/>
              <a:gd name="T64" fmla="*/ 21 w 8085"/>
              <a:gd name="T65" fmla="*/ 8492 h 16320"/>
              <a:gd name="T66" fmla="*/ 127 w 8085"/>
              <a:gd name="T67" fmla="*/ 7619 h 16320"/>
              <a:gd name="T68" fmla="*/ 318 w 8085"/>
              <a:gd name="T69" fmla="*/ 6606 h 16320"/>
              <a:gd name="T70" fmla="*/ 585 w 8085"/>
              <a:gd name="T71" fmla="*/ 5506 h 16320"/>
              <a:gd name="T72" fmla="*/ 923 w 8085"/>
              <a:gd name="T73" fmla="*/ 4375 h 16320"/>
              <a:gd name="T74" fmla="*/ 1324 w 8085"/>
              <a:gd name="T75" fmla="*/ 3267 h 16320"/>
              <a:gd name="T76" fmla="*/ 1783 w 8085"/>
              <a:gd name="T77" fmla="*/ 2237 h 16320"/>
              <a:gd name="T78" fmla="*/ 2290 w 8085"/>
              <a:gd name="T79" fmla="*/ 1340 h 16320"/>
              <a:gd name="T80" fmla="*/ 2840 w 8085"/>
              <a:gd name="T81" fmla="*/ 632 h 16320"/>
              <a:gd name="T82" fmla="*/ 3427 w 8085"/>
              <a:gd name="T83" fmla="*/ 167 h 16320"/>
              <a:gd name="T84" fmla="*/ 4043 w 8085"/>
              <a:gd name="T85" fmla="*/ 0 h 16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085" h="16320">
                <a:moveTo>
                  <a:pt x="4043" y="0"/>
                </a:moveTo>
                <a:lnTo>
                  <a:pt x="4251" y="19"/>
                </a:lnTo>
                <a:lnTo>
                  <a:pt x="4456" y="75"/>
                </a:lnTo>
                <a:lnTo>
                  <a:pt x="4658" y="167"/>
                </a:lnTo>
                <a:lnTo>
                  <a:pt x="4857" y="292"/>
                </a:lnTo>
                <a:lnTo>
                  <a:pt x="5053" y="448"/>
                </a:lnTo>
                <a:lnTo>
                  <a:pt x="5245" y="632"/>
                </a:lnTo>
                <a:lnTo>
                  <a:pt x="5432" y="845"/>
                </a:lnTo>
                <a:lnTo>
                  <a:pt x="5616" y="1081"/>
                </a:lnTo>
                <a:lnTo>
                  <a:pt x="5795" y="1340"/>
                </a:lnTo>
                <a:lnTo>
                  <a:pt x="5969" y="1622"/>
                </a:lnTo>
                <a:lnTo>
                  <a:pt x="6138" y="1921"/>
                </a:lnTo>
                <a:lnTo>
                  <a:pt x="6302" y="2237"/>
                </a:lnTo>
                <a:lnTo>
                  <a:pt x="6461" y="2568"/>
                </a:lnTo>
                <a:lnTo>
                  <a:pt x="6613" y="2912"/>
                </a:lnTo>
                <a:lnTo>
                  <a:pt x="6761" y="3267"/>
                </a:lnTo>
                <a:lnTo>
                  <a:pt x="6901" y="3630"/>
                </a:lnTo>
                <a:lnTo>
                  <a:pt x="7035" y="4000"/>
                </a:lnTo>
                <a:lnTo>
                  <a:pt x="7162" y="4375"/>
                </a:lnTo>
                <a:lnTo>
                  <a:pt x="7282" y="4752"/>
                </a:lnTo>
                <a:lnTo>
                  <a:pt x="7395" y="5130"/>
                </a:lnTo>
                <a:lnTo>
                  <a:pt x="7500" y="5506"/>
                </a:lnTo>
                <a:lnTo>
                  <a:pt x="7597" y="5879"/>
                </a:lnTo>
                <a:lnTo>
                  <a:pt x="7687" y="6246"/>
                </a:lnTo>
                <a:lnTo>
                  <a:pt x="7767" y="6606"/>
                </a:lnTo>
                <a:lnTo>
                  <a:pt x="7840" y="6956"/>
                </a:lnTo>
                <a:lnTo>
                  <a:pt x="7903" y="7295"/>
                </a:lnTo>
                <a:lnTo>
                  <a:pt x="7958" y="7619"/>
                </a:lnTo>
                <a:lnTo>
                  <a:pt x="8003" y="7928"/>
                </a:lnTo>
                <a:lnTo>
                  <a:pt x="8038" y="8220"/>
                </a:lnTo>
                <a:lnTo>
                  <a:pt x="8064" y="8492"/>
                </a:lnTo>
                <a:lnTo>
                  <a:pt x="8080" y="8741"/>
                </a:lnTo>
                <a:lnTo>
                  <a:pt x="8085" y="8968"/>
                </a:lnTo>
                <a:lnTo>
                  <a:pt x="8080" y="9189"/>
                </a:lnTo>
                <a:lnTo>
                  <a:pt x="8064" y="9426"/>
                </a:lnTo>
                <a:lnTo>
                  <a:pt x="8038" y="9675"/>
                </a:lnTo>
                <a:lnTo>
                  <a:pt x="8003" y="9937"/>
                </a:lnTo>
                <a:lnTo>
                  <a:pt x="7958" y="10210"/>
                </a:lnTo>
                <a:lnTo>
                  <a:pt x="7903" y="10492"/>
                </a:lnTo>
                <a:lnTo>
                  <a:pt x="7840" y="10781"/>
                </a:lnTo>
                <a:lnTo>
                  <a:pt x="7767" y="11077"/>
                </a:lnTo>
                <a:lnTo>
                  <a:pt x="7687" y="11377"/>
                </a:lnTo>
                <a:lnTo>
                  <a:pt x="7597" y="11682"/>
                </a:lnTo>
                <a:lnTo>
                  <a:pt x="7500" y="11988"/>
                </a:lnTo>
                <a:lnTo>
                  <a:pt x="7395" y="12294"/>
                </a:lnTo>
                <a:lnTo>
                  <a:pt x="7282" y="12600"/>
                </a:lnTo>
                <a:lnTo>
                  <a:pt x="7162" y="12904"/>
                </a:lnTo>
                <a:lnTo>
                  <a:pt x="7035" y="13203"/>
                </a:lnTo>
                <a:lnTo>
                  <a:pt x="6901" y="13498"/>
                </a:lnTo>
                <a:lnTo>
                  <a:pt x="6761" y="13785"/>
                </a:lnTo>
                <a:lnTo>
                  <a:pt x="6613" y="14065"/>
                </a:lnTo>
                <a:lnTo>
                  <a:pt x="6461" y="14335"/>
                </a:lnTo>
                <a:lnTo>
                  <a:pt x="6302" y="14594"/>
                </a:lnTo>
                <a:lnTo>
                  <a:pt x="6138" y="14841"/>
                </a:lnTo>
                <a:lnTo>
                  <a:pt x="5969" y="15074"/>
                </a:lnTo>
                <a:lnTo>
                  <a:pt x="5795" y="15291"/>
                </a:lnTo>
                <a:lnTo>
                  <a:pt x="5616" y="15492"/>
                </a:lnTo>
                <a:lnTo>
                  <a:pt x="5432" y="15673"/>
                </a:lnTo>
                <a:lnTo>
                  <a:pt x="5245" y="15837"/>
                </a:lnTo>
                <a:lnTo>
                  <a:pt x="5053" y="15978"/>
                </a:lnTo>
                <a:lnTo>
                  <a:pt x="4857" y="16098"/>
                </a:lnTo>
                <a:lnTo>
                  <a:pt x="4658" y="16193"/>
                </a:lnTo>
                <a:lnTo>
                  <a:pt x="4456" y="16263"/>
                </a:lnTo>
                <a:lnTo>
                  <a:pt x="4251" y="16306"/>
                </a:lnTo>
                <a:lnTo>
                  <a:pt x="4043" y="16320"/>
                </a:lnTo>
                <a:lnTo>
                  <a:pt x="3834" y="16306"/>
                </a:lnTo>
                <a:lnTo>
                  <a:pt x="3629" y="16263"/>
                </a:lnTo>
                <a:lnTo>
                  <a:pt x="3427" y="16193"/>
                </a:lnTo>
                <a:lnTo>
                  <a:pt x="3228" y="16098"/>
                </a:lnTo>
                <a:lnTo>
                  <a:pt x="3032" y="15978"/>
                </a:lnTo>
                <a:lnTo>
                  <a:pt x="2840" y="15837"/>
                </a:lnTo>
                <a:lnTo>
                  <a:pt x="2653" y="15673"/>
                </a:lnTo>
                <a:lnTo>
                  <a:pt x="2469" y="15492"/>
                </a:lnTo>
                <a:lnTo>
                  <a:pt x="2290" y="15291"/>
                </a:lnTo>
                <a:lnTo>
                  <a:pt x="2116" y="15074"/>
                </a:lnTo>
                <a:lnTo>
                  <a:pt x="1947" y="14841"/>
                </a:lnTo>
                <a:lnTo>
                  <a:pt x="1783" y="14594"/>
                </a:lnTo>
                <a:lnTo>
                  <a:pt x="1624" y="14335"/>
                </a:lnTo>
                <a:lnTo>
                  <a:pt x="1472" y="14065"/>
                </a:lnTo>
                <a:lnTo>
                  <a:pt x="1324" y="13785"/>
                </a:lnTo>
                <a:lnTo>
                  <a:pt x="1184" y="13498"/>
                </a:lnTo>
                <a:lnTo>
                  <a:pt x="1050" y="13203"/>
                </a:lnTo>
                <a:lnTo>
                  <a:pt x="923" y="12904"/>
                </a:lnTo>
                <a:lnTo>
                  <a:pt x="803" y="12600"/>
                </a:lnTo>
                <a:lnTo>
                  <a:pt x="690" y="12294"/>
                </a:lnTo>
                <a:lnTo>
                  <a:pt x="585" y="11988"/>
                </a:lnTo>
                <a:lnTo>
                  <a:pt x="488" y="11682"/>
                </a:lnTo>
                <a:lnTo>
                  <a:pt x="398" y="11377"/>
                </a:lnTo>
                <a:lnTo>
                  <a:pt x="318" y="11077"/>
                </a:lnTo>
                <a:lnTo>
                  <a:pt x="245" y="10781"/>
                </a:lnTo>
                <a:lnTo>
                  <a:pt x="182" y="10492"/>
                </a:lnTo>
                <a:lnTo>
                  <a:pt x="127" y="10210"/>
                </a:lnTo>
                <a:lnTo>
                  <a:pt x="82" y="9937"/>
                </a:lnTo>
                <a:lnTo>
                  <a:pt x="47" y="9675"/>
                </a:lnTo>
                <a:lnTo>
                  <a:pt x="21" y="9426"/>
                </a:lnTo>
                <a:lnTo>
                  <a:pt x="5" y="9189"/>
                </a:lnTo>
                <a:lnTo>
                  <a:pt x="0" y="8968"/>
                </a:lnTo>
                <a:lnTo>
                  <a:pt x="5" y="8741"/>
                </a:lnTo>
                <a:lnTo>
                  <a:pt x="21" y="8492"/>
                </a:lnTo>
                <a:lnTo>
                  <a:pt x="47" y="8220"/>
                </a:lnTo>
                <a:lnTo>
                  <a:pt x="82" y="7928"/>
                </a:lnTo>
                <a:lnTo>
                  <a:pt x="127" y="7619"/>
                </a:lnTo>
                <a:lnTo>
                  <a:pt x="182" y="7295"/>
                </a:lnTo>
                <a:lnTo>
                  <a:pt x="245" y="6956"/>
                </a:lnTo>
                <a:lnTo>
                  <a:pt x="318" y="6606"/>
                </a:lnTo>
                <a:lnTo>
                  <a:pt x="398" y="6246"/>
                </a:lnTo>
                <a:lnTo>
                  <a:pt x="488" y="5879"/>
                </a:lnTo>
                <a:lnTo>
                  <a:pt x="585" y="5506"/>
                </a:lnTo>
                <a:lnTo>
                  <a:pt x="690" y="5130"/>
                </a:lnTo>
                <a:lnTo>
                  <a:pt x="803" y="4752"/>
                </a:lnTo>
                <a:lnTo>
                  <a:pt x="923" y="4375"/>
                </a:lnTo>
                <a:lnTo>
                  <a:pt x="1050" y="4000"/>
                </a:lnTo>
                <a:lnTo>
                  <a:pt x="1184" y="3630"/>
                </a:lnTo>
                <a:lnTo>
                  <a:pt x="1324" y="3267"/>
                </a:lnTo>
                <a:lnTo>
                  <a:pt x="1472" y="2912"/>
                </a:lnTo>
                <a:lnTo>
                  <a:pt x="1624" y="2568"/>
                </a:lnTo>
                <a:lnTo>
                  <a:pt x="1783" y="2237"/>
                </a:lnTo>
                <a:lnTo>
                  <a:pt x="1947" y="1921"/>
                </a:lnTo>
                <a:lnTo>
                  <a:pt x="2116" y="1622"/>
                </a:lnTo>
                <a:lnTo>
                  <a:pt x="2290" y="1340"/>
                </a:lnTo>
                <a:lnTo>
                  <a:pt x="2469" y="1081"/>
                </a:lnTo>
                <a:lnTo>
                  <a:pt x="2653" y="845"/>
                </a:lnTo>
                <a:lnTo>
                  <a:pt x="2840" y="632"/>
                </a:lnTo>
                <a:lnTo>
                  <a:pt x="3032" y="448"/>
                </a:lnTo>
                <a:lnTo>
                  <a:pt x="3228" y="292"/>
                </a:lnTo>
                <a:lnTo>
                  <a:pt x="3427" y="167"/>
                </a:lnTo>
                <a:lnTo>
                  <a:pt x="3629" y="75"/>
                </a:lnTo>
                <a:lnTo>
                  <a:pt x="3834" y="19"/>
                </a:lnTo>
                <a:lnTo>
                  <a:pt x="4043" y="0"/>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lumMod val="50000"/>
                </a:srgbClr>
              </a:solidFill>
              <a:effectLst/>
              <a:uLnTx/>
              <a:uFillTx/>
              <a:latin typeface="等线 Light" panose="020F0302020204030204"/>
              <a:ea typeface="+mn-ea"/>
              <a:cs typeface="+mn-cs"/>
            </a:endParaRPr>
          </a:p>
        </p:txBody>
      </p:sp>
    </p:spTree>
    <p:extLst>
      <p:ext uri="{BB962C8B-B14F-4D97-AF65-F5344CB8AC3E}">
        <p14:creationId xmlns:p14="http://schemas.microsoft.com/office/powerpoint/2010/main" val="2050863981"/>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8" presetClass="entr" presetSubtype="3"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strips(upRight)">
                                      <p:cBhvr>
                                        <p:cTn id="7" dur="500"/>
                                        <p:tgtEl>
                                          <p:spTgt spid="10"/>
                                        </p:tgtEl>
                                      </p:cBhvr>
                                    </p:animEffect>
                                  </p:childTnLst>
                                </p:cTn>
                              </p:par>
                              <p:par>
                                <p:cTn id="8" presetID="6" presetClass="emph" presetSubtype="0" accel="52000" decel="48000" autoRev="1" fill="hold" grpId="1" nodeType="withEffect">
                                  <p:stCondLst>
                                    <p:cond delay="0"/>
                                  </p:stCondLst>
                                  <p:childTnLst>
                                    <p:animScale>
                                      <p:cBhvr>
                                        <p:cTn id="9" dur="350" fill="hold"/>
                                        <p:tgtEl>
                                          <p:spTgt spid="10"/>
                                        </p:tgtEl>
                                      </p:cBhvr>
                                      <p:by x="110000" y="110000"/>
                                    </p:animScale>
                                  </p:childTnLst>
                                </p:cTn>
                              </p:par>
                              <p:par>
                                <p:cTn id="10" presetID="10" presetClass="entr" presetSubtype="0" fill="hold" grpId="0" nodeType="withEffect">
                                  <p:stCondLst>
                                    <p:cond delay="500"/>
                                  </p:stCondLst>
                                  <p:childTnLst>
                                    <p:set>
                                      <p:cBhvr>
                                        <p:cTn id="11" dur="1" fill="hold">
                                          <p:stCondLst>
                                            <p:cond delay="0"/>
                                          </p:stCondLst>
                                        </p:cTn>
                                        <p:tgtEl>
                                          <p:spTgt spid="11"/>
                                        </p:tgtEl>
                                        <p:attrNameLst>
                                          <p:attrName>style.visibility</p:attrName>
                                        </p:attrNameLst>
                                      </p:cBhvr>
                                      <p:to>
                                        <p:strVal val="visible"/>
                                      </p:to>
                                    </p:set>
                                    <p:animEffect transition="in" filter="fade">
                                      <p:cBhvr>
                                        <p:cTn id="12" dur="750"/>
                                        <p:tgtEl>
                                          <p:spTgt spid="11"/>
                                        </p:tgtEl>
                                      </p:cBhvr>
                                    </p:animEffect>
                                  </p:childTnLst>
                                </p:cTn>
                              </p:par>
                              <p:par>
                                <p:cTn id="13" presetID="2" presetClass="entr" presetSubtype="4" decel="100000" fill="hold" grpId="0" nodeType="withEffect">
                                  <p:stCondLst>
                                    <p:cond delay="250"/>
                                  </p:stCondLst>
                                  <p:childTnLst>
                                    <p:set>
                                      <p:cBhvr>
                                        <p:cTn id="14" dur="1" fill="hold">
                                          <p:stCondLst>
                                            <p:cond delay="0"/>
                                          </p:stCondLst>
                                        </p:cTn>
                                        <p:tgtEl>
                                          <p:spTgt spid="3"/>
                                        </p:tgtEl>
                                        <p:attrNameLst>
                                          <p:attrName>style.visibility</p:attrName>
                                        </p:attrNameLst>
                                      </p:cBhvr>
                                      <p:to>
                                        <p:strVal val="visible"/>
                                      </p:to>
                                    </p:set>
                                    <p:anim calcmode="lin" valueType="num">
                                      <p:cBhvr additive="base">
                                        <p:cTn id="15" dur="1250" fill="hold"/>
                                        <p:tgtEl>
                                          <p:spTgt spid="3"/>
                                        </p:tgtEl>
                                        <p:attrNameLst>
                                          <p:attrName>ppt_x</p:attrName>
                                        </p:attrNameLst>
                                      </p:cBhvr>
                                      <p:tavLst>
                                        <p:tav tm="0">
                                          <p:val>
                                            <p:strVal val="#ppt_x"/>
                                          </p:val>
                                        </p:tav>
                                        <p:tav tm="100000">
                                          <p:val>
                                            <p:strVal val="#ppt_x"/>
                                          </p:val>
                                        </p:tav>
                                      </p:tavLst>
                                    </p:anim>
                                    <p:anim calcmode="lin" valueType="num">
                                      <p:cBhvr additive="base">
                                        <p:cTn id="16" dur="1250" fill="hold"/>
                                        <p:tgtEl>
                                          <p:spTgt spid="3"/>
                                        </p:tgtEl>
                                        <p:attrNameLst>
                                          <p:attrName>ppt_y</p:attrName>
                                        </p:attrNameLst>
                                      </p:cBhvr>
                                      <p:tavLst>
                                        <p:tav tm="0">
                                          <p:val>
                                            <p:strVal val="1+#ppt_h/2"/>
                                          </p:val>
                                        </p:tav>
                                        <p:tav tm="100000">
                                          <p:val>
                                            <p:strVal val="#ppt_y"/>
                                          </p:val>
                                        </p:tav>
                                      </p:tavLst>
                                    </p:anim>
                                  </p:childTnLst>
                                </p:cTn>
                              </p:par>
                              <p:par>
                                <p:cTn id="17" presetID="2" presetClass="entr" presetSubtype="4" decel="100000" fill="hold" grpId="0" nodeType="withEffect">
                                  <p:stCondLst>
                                    <p:cond delay="250"/>
                                  </p:stCondLst>
                                  <p:childTnLst>
                                    <p:set>
                                      <p:cBhvr>
                                        <p:cTn id="18" dur="1" fill="hold">
                                          <p:stCondLst>
                                            <p:cond delay="0"/>
                                          </p:stCondLst>
                                        </p:cTn>
                                        <p:tgtEl>
                                          <p:spTgt spid="2"/>
                                        </p:tgtEl>
                                        <p:attrNameLst>
                                          <p:attrName>style.visibility</p:attrName>
                                        </p:attrNameLst>
                                      </p:cBhvr>
                                      <p:to>
                                        <p:strVal val="visible"/>
                                      </p:to>
                                    </p:set>
                                    <p:anim calcmode="lin" valueType="num">
                                      <p:cBhvr additive="base">
                                        <p:cTn id="19" dur="1250" fill="hold"/>
                                        <p:tgtEl>
                                          <p:spTgt spid="2"/>
                                        </p:tgtEl>
                                        <p:attrNameLst>
                                          <p:attrName>ppt_x</p:attrName>
                                        </p:attrNameLst>
                                      </p:cBhvr>
                                      <p:tavLst>
                                        <p:tav tm="0">
                                          <p:val>
                                            <p:strVal val="#ppt_x"/>
                                          </p:val>
                                        </p:tav>
                                        <p:tav tm="100000">
                                          <p:val>
                                            <p:strVal val="#ppt_x"/>
                                          </p:val>
                                        </p:tav>
                                      </p:tavLst>
                                    </p:anim>
                                    <p:anim calcmode="lin" valueType="num">
                                      <p:cBhvr additive="base">
                                        <p:cTn id="20" dur="1250" fill="hold"/>
                                        <p:tgtEl>
                                          <p:spTgt spid="2"/>
                                        </p:tgtEl>
                                        <p:attrNameLst>
                                          <p:attrName>ppt_y</p:attrName>
                                        </p:attrNameLst>
                                      </p:cBhvr>
                                      <p:tavLst>
                                        <p:tav tm="0">
                                          <p:val>
                                            <p:strVal val="1+#ppt_h/2"/>
                                          </p:val>
                                        </p:tav>
                                        <p:tav tm="100000">
                                          <p:val>
                                            <p:strVal val="#ppt_y"/>
                                          </p:val>
                                        </p:tav>
                                      </p:tavLst>
                                    </p:anim>
                                  </p:childTnLst>
                                </p:cTn>
                              </p:par>
                              <p:par>
                                <p:cTn id="21" presetID="2" presetClass="entr" presetSubtype="4" decel="100000" fill="hold" grpId="0" nodeType="withEffect">
                                  <p:stCondLst>
                                    <p:cond delay="250"/>
                                  </p:stCondLst>
                                  <p:childTnLst>
                                    <p:set>
                                      <p:cBhvr>
                                        <p:cTn id="22" dur="1" fill="hold">
                                          <p:stCondLst>
                                            <p:cond delay="0"/>
                                          </p:stCondLst>
                                        </p:cTn>
                                        <p:tgtEl>
                                          <p:spTgt spid="47"/>
                                        </p:tgtEl>
                                        <p:attrNameLst>
                                          <p:attrName>style.visibility</p:attrName>
                                        </p:attrNameLst>
                                      </p:cBhvr>
                                      <p:to>
                                        <p:strVal val="visible"/>
                                      </p:to>
                                    </p:set>
                                    <p:anim calcmode="lin" valueType="num">
                                      <p:cBhvr additive="base">
                                        <p:cTn id="23" dur="1250" fill="hold"/>
                                        <p:tgtEl>
                                          <p:spTgt spid="47"/>
                                        </p:tgtEl>
                                        <p:attrNameLst>
                                          <p:attrName>ppt_x</p:attrName>
                                        </p:attrNameLst>
                                      </p:cBhvr>
                                      <p:tavLst>
                                        <p:tav tm="0">
                                          <p:val>
                                            <p:strVal val="#ppt_x"/>
                                          </p:val>
                                        </p:tav>
                                        <p:tav tm="100000">
                                          <p:val>
                                            <p:strVal val="#ppt_x"/>
                                          </p:val>
                                        </p:tav>
                                      </p:tavLst>
                                    </p:anim>
                                    <p:anim calcmode="lin" valueType="num">
                                      <p:cBhvr additive="base">
                                        <p:cTn id="24" dur="1250" fill="hold"/>
                                        <p:tgtEl>
                                          <p:spTgt spid="47"/>
                                        </p:tgtEl>
                                        <p:attrNameLst>
                                          <p:attrName>ppt_y</p:attrName>
                                        </p:attrNameLst>
                                      </p:cBhvr>
                                      <p:tavLst>
                                        <p:tav tm="0">
                                          <p:val>
                                            <p:strVal val="1+#ppt_h/2"/>
                                          </p:val>
                                        </p:tav>
                                        <p:tav tm="100000">
                                          <p:val>
                                            <p:strVal val="#ppt_y"/>
                                          </p:val>
                                        </p:tav>
                                      </p:tavLst>
                                    </p:anim>
                                  </p:childTnLst>
                                </p:cTn>
                              </p:par>
                              <p:par>
                                <p:cTn id="25" presetID="2" presetClass="entr" presetSubtype="4" decel="100000" fill="hold" grpId="0" nodeType="withEffect">
                                  <p:stCondLst>
                                    <p:cond delay="250"/>
                                  </p:stCondLst>
                                  <p:childTnLst>
                                    <p:set>
                                      <p:cBhvr>
                                        <p:cTn id="26" dur="1" fill="hold">
                                          <p:stCondLst>
                                            <p:cond delay="0"/>
                                          </p:stCondLst>
                                        </p:cTn>
                                        <p:tgtEl>
                                          <p:spTgt spid="44"/>
                                        </p:tgtEl>
                                        <p:attrNameLst>
                                          <p:attrName>style.visibility</p:attrName>
                                        </p:attrNameLst>
                                      </p:cBhvr>
                                      <p:to>
                                        <p:strVal val="visible"/>
                                      </p:to>
                                    </p:set>
                                    <p:anim calcmode="lin" valueType="num">
                                      <p:cBhvr additive="base">
                                        <p:cTn id="27" dur="1250" fill="hold"/>
                                        <p:tgtEl>
                                          <p:spTgt spid="44"/>
                                        </p:tgtEl>
                                        <p:attrNameLst>
                                          <p:attrName>ppt_x</p:attrName>
                                        </p:attrNameLst>
                                      </p:cBhvr>
                                      <p:tavLst>
                                        <p:tav tm="0">
                                          <p:val>
                                            <p:strVal val="#ppt_x"/>
                                          </p:val>
                                        </p:tav>
                                        <p:tav tm="100000">
                                          <p:val>
                                            <p:strVal val="#ppt_x"/>
                                          </p:val>
                                        </p:tav>
                                      </p:tavLst>
                                    </p:anim>
                                    <p:anim calcmode="lin" valueType="num">
                                      <p:cBhvr additive="base">
                                        <p:cTn id="28" dur="1250" fill="hold"/>
                                        <p:tgtEl>
                                          <p:spTgt spid="44"/>
                                        </p:tgtEl>
                                        <p:attrNameLst>
                                          <p:attrName>ppt_y</p:attrName>
                                        </p:attrNameLst>
                                      </p:cBhvr>
                                      <p:tavLst>
                                        <p:tav tm="0">
                                          <p:val>
                                            <p:strVal val="1+#ppt_h/2"/>
                                          </p:val>
                                        </p:tav>
                                        <p:tav tm="100000">
                                          <p:val>
                                            <p:strVal val="#ppt_y"/>
                                          </p:val>
                                        </p:tav>
                                      </p:tavLst>
                                    </p:anim>
                                  </p:childTnLst>
                                </p:cTn>
                              </p:par>
                              <p:par>
                                <p:cTn id="29" presetID="2" presetClass="entr" presetSubtype="4" decel="100000" fill="hold" grpId="0" nodeType="withEffect">
                                  <p:stCondLst>
                                    <p:cond delay="250"/>
                                  </p:stCondLst>
                                  <p:childTnLst>
                                    <p:set>
                                      <p:cBhvr>
                                        <p:cTn id="30" dur="1" fill="hold">
                                          <p:stCondLst>
                                            <p:cond delay="0"/>
                                          </p:stCondLst>
                                        </p:cTn>
                                        <p:tgtEl>
                                          <p:spTgt spid="46"/>
                                        </p:tgtEl>
                                        <p:attrNameLst>
                                          <p:attrName>style.visibility</p:attrName>
                                        </p:attrNameLst>
                                      </p:cBhvr>
                                      <p:to>
                                        <p:strVal val="visible"/>
                                      </p:to>
                                    </p:set>
                                    <p:anim calcmode="lin" valueType="num">
                                      <p:cBhvr additive="base">
                                        <p:cTn id="31" dur="1250" fill="hold"/>
                                        <p:tgtEl>
                                          <p:spTgt spid="46"/>
                                        </p:tgtEl>
                                        <p:attrNameLst>
                                          <p:attrName>ppt_x</p:attrName>
                                        </p:attrNameLst>
                                      </p:cBhvr>
                                      <p:tavLst>
                                        <p:tav tm="0">
                                          <p:val>
                                            <p:strVal val="#ppt_x"/>
                                          </p:val>
                                        </p:tav>
                                        <p:tav tm="100000">
                                          <p:val>
                                            <p:strVal val="#ppt_x"/>
                                          </p:val>
                                        </p:tav>
                                      </p:tavLst>
                                    </p:anim>
                                    <p:anim calcmode="lin" valueType="num">
                                      <p:cBhvr additive="base">
                                        <p:cTn id="32" dur="1250" fill="hold"/>
                                        <p:tgtEl>
                                          <p:spTgt spid="46"/>
                                        </p:tgtEl>
                                        <p:attrNameLst>
                                          <p:attrName>ppt_y</p:attrName>
                                        </p:attrNameLst>
                                      </p:cBhvr>
                                      <p:tavLst>
                                        <p:tav tm="0">
                                          <p:val>
                                            <p:strVal val="1+#ppt_h/2"/>
                                          </p:val>
                                        </p:tav>
                                        <p:tav tm="100000">
                                          <p:val>
                                            <p:strVal val="#ppt_y"/>
                                          </p:val>
                                        </p:tav>
                                      </p:tavLst>
                                    </p:anim>
                                  </p:childTnLst>
                                </p:cTn>
                              </p:par>
                              <p:par>
                                <p:cTn id="33" presetID="2" presetClass="entr" presetSubtype="4" decel="100000" fill="hold" grpId="0" nodeType="withEffect">
                                  <p:stCondLst>
                                    <p:cond delay="250"/>
                                  </p:stCondLst>
                                  <p:childTnLst>
                                    <p:set>
                                      <p:cBhvr>
                                        <p:cTn id="34" dur="1" fill="hold">
                                          <p:stCondLst>
                                            <p:cond delay="0"/>
                                          </p:stCondLst>
                                        </p:cTn>
                                        <p:tgtEl>
                                          <p:spTgt spid="42"/>
                                        </p:tgtEl>
                                        <p:attrNameLst>
                                          <p:attrName>style.visibility</p:attrName>
                                        </p:attrNameLst>
                                      </p:cBhvr>
                                      <p:to>
                                        <p:strVal val="visible"/>
                                      </p:to>
                                    </p:set>
                                    <p:anim calcmode="lin" valueType="num">
                                      <p:cBhvr additive="base">
                                        <p:cTn id="35" dur="1250" fill="hold"/>
                                        <p:tgtEl>
                                          <p:spTgt spid="42"/>
                                        </p:tgtEl>
                                        <p:attrNameLst>
                                          <p:attrName>ppt_x</p:attrName>
                                        </p:attrNameLst>
                                      </p:cBhvr>
                                      <p:tavLst>
                                        <p:tav tm="0">
                                          <p:val>
                                            <p:strVal val="#ppt_x"/>
                                          </p:val>
                                        </p:tav>
                                        <p:tav tm="100000">
                                          <p:val>
                                            <p:strVal val="#ppt_x"/>
                                          </p:val>
                                        </p:tav>
                                      </p:tavLst>
                                    </p:anim>
                                    <p:anim calcmode="lin" valueType="num">
                                      <p:cBhvr additive="base">
                                        <p:cTn id="36" dur="1250" fill="hold"/>
                                        <p:tgtEl>
                                          <p:spTgt spid="42"/>
                                        </p:tgtEl>
                                        <p:attrNameLst>
                                          <p:attrName>ppt_y</p:attrName>
                                        </p:attrNameLst>
                                      </p:cBhvr>
                                      <p:tavLst>
                                        <p:tav tm="0">
                                          <p:val>
                                            <p:strVal val="1+#ppt_h/2"/>
                                          </p:val>
                                        </p:tav>
                                        <p:tav tm="100000">
                                          <p:val>
                                            <p:strVal val="#ppt_y"/>
                                          </p:val>
                                        </p:tav>
                                      </p:tavLst>
                                    </p:anim>
                                  </p:childTnLst>
                                </p:cTn>
                              </p:par>
                              <p:par>
                                <p:cTn id="37" presetID="2" presetClass="entr" presetSubtype="4" decel="100000" fill="hold" grpId="0" nodeType="withEffect">
                                  <p:stCondLst>
                                    <p:cond delay="250"/>
                                  </p:stCondLst>
                                  <p:childTnLst>
                                    <p:set>
                                      <p:cBhvr>
                                        <p:cTn id="38" dur="1" fill="hold">
                                          <p:stCondLst>
                                            <p:cond delay="0"/>
                                          </p:stCondLst>
                                        </p:cTn>
                                        <p:tgtEl>
                                          <p:spTgt spid="43"/>
                                        </p:tgtEl>
                                        <p:attrNameLst>
                                          <p:attrName>style.visibility</p:attrName>
                                        </p:attrNameLst>
                                      </p:cBhvr>
                                      <p:to>
                                        <p:strVal val="visible"/>
                                      </p:to>
                                    </p:set>
                                    <p:anim calcmode="lin" valueType="num">
                                      <p:cBhvr additive="base">
                                        <p:cTn id="39" dur="1250" fill="hold"/>
                                        <p:tgtEl>
                                          <p:spTgt spid="43"/>
                                        </p:tgtEl>
                                        <p:attrNameLst>
                                          <p:attrName>ppt_x</p:attrName>
                                        </p:attrNameLst>
                                      </p:cBhvr>
                                      <p:tavLst>
                                        <p:tav tm="0">
                                          <p:val>
                                            <p:strVal val="#ppt_x"/>
                                          </p:val>
                                        </p:tav>
                                        <p:tav tm="100000">
                                          <p:val>
                                            <p:strVal val="#ppt_x"/>
                                          </p:val>
                                        </p:tav>
                                      </p:tavLst>
                                    </p:anim>
                                    <p:anim calcmode="lin" valueType="num">
                                      <p:cBhvr additive="base">
                                        <p:cTn id="40" dur="1250" fill="hold"/>
                                        <p:tgtEl>
                                          <p:spTgt spid="43"/>
                                        </p:tgtEl>
                                        <p:attrNameLst>
                                          <p:attrName>ppt_y</p:attrName>
                                        </p:attrNameLst>
                                      </p:cBhvr>
                                      <p:tavLst>
                                        <p:tav tm="0">
                                          <p:val>
                                            <p:strVal val="1+#ppt_h/2"/>
                                          </p:val>
                                        </p:tav>
                                        <p:tav tm="100000">
                                          <p:val>
                                            <p:strVal val="#ppt_y"/>
                                          </p:val>
                                        </p:tav>
                                      </p:tavLst>
                                    </p:anim>
                                  </p:childTnLst>
                                </p:cTn>
                              </p:par>
                              <p:par>
                                <p:cTn id="41" presetID="2" presetClass="entr" presetSubtype="4" decel="100000" fill="hold" grpId="0" nodeType="withEffect">
                                  <p:stCondLst>
                                    <p:cond delay="250"/>
                                  </p:stCondLst>
                                  <p:childTnLst>
                                    <p:set>
                                      <p:cBhvr>
                                        <p:cTn id="42" dur="1" fill="hold">
                                          <p:stCondLst>
                                            <p:cond delay="0"/>
                                          </p:stCondLst>
                                        </p:cTn>
                                        <p:tgtEl>
                                          <p:spTgt spid="45"/>
                                        </p:tgtEl>
                                        <p:attrNameLst>
                                          <p:attrName>style.visibility</p:attrName>
                                        </p:attrNameLst>
                                      </p:cBhvr>
                                      <p:to>
                                        <p:strVal val="visible"/>
                                      </p:to>
                                    </p:set>
                                    <p:anim calcmode="lin" valueType="num">
                                      <p:cBhvr additive="base">
                                        <p:cTn id="43" dur="1250" fill="hold"/>
                                        <p:tgtEl>
                                          <p:spTgt spid="45"/>
                                        </p:tgtEl>
                                        <p:attrNameLst>
                                          <p:attrName>ppt_x</p:attrName>
                                        </p:attrNameLst>
                                      </p:cBhvr>
                                      <p:tavLst>
                                        <p:tav tm="0">
                                          <p:val>
                                            <p:strVal val="#ppt_x"/>
                                          </p:val>
                                        </p:tav>
                                        <p:tav tm="100000">
                                          <p:val>
                                            <p:strVal val="#ppt_x"/>
                                          </p:val>
                                        </p:tav>
                                      </p:tavLst>
                                    </p:anim>
                                    <p:anim calcmode="lin" valueType="num">
                                      <p:cBhvr additive="base">
                                        <p:cTn id="44" dur="1250" fill="hold"/>
                                        <p:tgtEl>
                                          <p:spTgt spid="45"/>
                                        </p:tgtEl>
                                        <p:attrNameLst>
                                          <p:attrName>ppt_y</p:attrName>
                                        </p:attrNameLst>
                                      </p:cBhvr>
                                      <p:tavLst>
                                        <p:tav tm="0">
                                          <p:val>
                                            <p:strVal val="1+#ppt_h/2"/>
                                          </p:val>
                                        </p:tav>
                                        <p:tav tm="100000">
                                          <p:val>
                                            <p:strVal val="#ppt_y"/>
                                          </p:val>
                                        </p:tav>
                                      </p:tavLst>
                                    </p:anim>
                                  </p:childTnLst>
                                </p:cTn>
                              </p:par>
                              <p:par>
                                <p:cTn id="45" presetID="18" presetClass="entr" presetSubtype="3" fill="hold" nodeType="withEffect">
                                  <p:stCondLst>
                                    <p:cond delay="500"/>
                                  </p:stCondLst>
                                  <p:childTnLst>
                                    <p:set>
                                      <p:cBhvr>
                                        <p:cTn id="46" dur="1" fill="hold">
                                          <p:stCondLst>
                                            <p:cond delay="0"/>
                                          </p:stCondLst>
                                        </p:cTn>
                                        <p:tgtEl>
                                          <p:spTgt spid="4"/>
                                        </p:tgtEl>
                                        <p:attrNameLst>
                                          <p:attrName>style.visibility</p:attrName>
                                        </p:attrNameLst>
                                      </p:cBhvr>
                                      <p:to>
                                        <p:strVal val="visible"/>
                                      </p:to>
                                    </p:set>
                                    <p:animEffect transition="in" filter="strips(upRight)">
                                      <p:cBhvr>
                                        <p:cTn id="47" dur="500"/>
                                        <p:tgtEl>
                                          <p:spTgt spid="4"/>
                                        </p:tgtEl>
                                      </p:cBhvr>
                                    </p:animEffect>
                                  </p:childTnLst>
                                </p:cTn>
                              </p:par>
                              <p:par>
                                <p:cTn id="48" presetID="6" presetClass="emph" presetSubtype="0" accel="52000" decel="48000" autoRev="1" fill="hold" nodeType="withEffect">
                                  <p:stCondLst>
                                    <p:cond delay="500"/>
                                  </p:stCondLst>
                                  <p:childTnLst>
                                    <p:animScale>
                                      <p:cBhvr>
                                        <p:cTn id="49" dur="350" fill="hold"/>
                                        <p:tgtEl>
                                          <p:spTgt spid="4"/>
                                        </p:tgtEl>
                                      </p:cBhvr>
                                      <p:by x="110000" y="110000"/>
                                    </p:animScale>
                                  </p:childTnLst>
                                </p:cTn>
                              </p:par>
                              <p:par>
                                <p:cTn id="50" presetID="18" presetClass="entr" presetSubtype="3" fill="hold" nodeType="withEffect">
                                  <p:stCondLst>
                                    <p:cond delay="750"/>
                                  </p:stCondLst>
                                  <p:childTnLst>
                                    <p:set>
                                      <p:cBhvr>
                                        <p:cTn id="51" dur="1" fill="hold">
                                          <p:stCondLst>
                                            <p:cond delay="0"/>
                                          </p:stCondLst>
                                        </p:cTn>
                                        <p:tgtEl>
                                          <p:spTgt spid="12"/>
                                        </p:tgtEl>
                                        <p:attrNameLst>
                                          <p:attrName>style.visibility</p:attrName>
                                        </p:attrNameLst>
                                      </p:cBhvr>
                                      <p:to>
                                        <p:strVal val="visible"/>
                                      </p:to>
                                    </p:set>
                                    <p:animEffect transition="in" filter="strips(upRight)">
                                      <p:cBhvr>
                                        <p:cTn id="52" dur="500"/>
                                        <p:tgtEl>
                                          <p:spTgt spid="12"/>
                                        </p:tgtEl>
                                      </p:cBhvr>
                                    </p:animEffect>
                                  </p:childTnLst>
                                </p:cTn>
                              </p:par>
                              <p:par>
                                <p:cTn id="53" presetID="6" presetClass="emph" presetSubtype="0" accel="52000" decel="48000" autoRev="1" fill="hold" nodeType="withEffect">
                                  <p:stCondLst>
                                    <p:cond delay="750"/>
                                  </p:stCondLst>
                                  <p:childTnLst>
                                    <p:animScale>
                                      <p:cBhvr>
                                        <p:cTn id="54" dur="350" fill="hold"/>
                                        <p:tgtEl>
                                          <p:spTgt spid="12"/>
                                        </p:tgtEl>
                                      </p:cBhvr>
                                      <p:by x="110000" y="110000"/>
                                    </p:animScale>
                                  </p:childTnLst>
                                </p:cTn>
                              </p:par>
                              <p:par>
                                <p:cTn id="55" presetID="18" presetClass="entr" presetSubtype="3" fill="hold" nodeType="withEffect">
                                  <p:stCondLst>
                                    <p:cond delay="1000"/>
                                  </p:stCondLst>
                                  <p:childTnLst>
                                    <p:set>
                                      <p:cBhvr>
                                        <p:cTn id="56" dur="1" fill="hold">
                                          <p:stCondLst>
                                            <p:cond delay="0"/>
                                          </p:stCondLst>
                                        </p:cTn>
                                        <p:tgtEl>
                                          <p:spTgt spid="30"/>
                                        </p:tgtEl>
                                        <p:attrNameLst>
                                          <p:attrName>style.visibility</p:attrName>
                                        </p:attrNameLst>
                                      </p:cBhvr>
                                      <p:to>
                                        <p:strVal val="visible"/>
                                      </p:to>
                                    </p:set>
                                    <p:animEffect transition="in" filter="strips(upRight)">
                                      <p:cBhvr>
                                        <p:cTn id="57" dur="500"/>
                                        <p:tgtEl>
                                          <p:spTgt spid="30"/>
                                        </p:tgtEl>
                                      </p:cBhvr>
                                    </p:animEffect>
                                  </p:childTnLst>
                                </p:cTn>
                              </p:par>
                              <p:par>
                                <p:cTn id="58" presetID="6" presetClass="emph" presetSubtype="0" accel="52000" decel="48000" autoRev="1" fill="hold" nodeType="withEffect">
                                  <p:stCondLst>
                                    <p:cond delay="1000"/>
                                  </p:stCondLst>
                                  <p:childTnLst>
                                    <p:animScale>
                                      <p:cBhvr>
                                        <p:cTn id="59" dur="350" fill="hold"/>
                                        <p:tgtEl>
                                          <p:spTgt spid="30"/>
                                        </p:tgtEl>
                                      </p:cBhvr>
                                      <p:by x="110000" y="110000"/>
                                    </p:animScale>
                                  </p:childTnLst>
                                </p:cTn>
                              </p:par>
                              <p:par>
                                <p:cTn id="60" presetID="18" presetClass="entr" presetSubtype="3" fill="hold" nodeType="withEffect">
                                  <p:stCondLst>
                                    <p:cond delay="1500"/>
                                  </p:stCondLst>
                                  <p:childTnLst>
                                    <p:set>
                                      <p:cBhvr>
                                        <p:cTn id="61" dur="1" fill="hold">
                                          <p:stCondLst>
                                            <p:cond delay="0"/>
                                          </p:stCondLst>
                                        </p:cTn>
                                        <p:tgtEl>
                                          <p:spTgt spid="24"/>
                                        </p:tgtEl>
                                        <p:attrNameLst>
                                          <p:attrName>style.visibility</p:attrName>
                                        </p:attrNameLst>
                                      </p:cBhvr>
                                      <p:to>
                                        <p:strVal val="visible"/>
                                      </p:to>
                                    </p:set>
                                    <p:animEffect transition="in" filter="strips(upRight)">
                                      <p:cBhvr>
                                        <p:cTn id="62" dur="500"/>
                                        <p:tgtEl>
                                          <p:spTgt spid="24"/>
                                        </p:tgtEl>
                                      </p:cBhvr>
                                    </p:animEffect>
                                  </p:childTnLst>
                                </p:cTn>
                              </p:par>
                              <p:par>
                                <p:cTn id="63" presetID="6" presetClass="emph" presetSubtype="0" accel="52000" decel="48000" autoRev="1" fill="hold" nodeType="withEffect">
                                  <p:stCondLst>
                                    <p:cond delay="1500"/>
                                  </p:stCondLst>
                                  <p:childTnLst>
                                    <p:animScale>
                                      <p:cBhvr>
                                        <p:cTn id="64" dur="350" fill="hold"/>
                                        <p:tgtEl>
                                          <p:spTgt spid="24"/>
                                        </p:tgtEl>
                                      </p:cBhvr>
                                      <p:by x="110000" y="110000"/>
                                    </p:animScale>
                                  </p:childTnLst>
                                </p:cTn>
                              </p:par>
                              <p:par>
                                <p:cTn id="65" presetID="18" presetClass="entr" presetSubtype="3" fill="hold" nodeType="withEffect">
                                  <p:stCondLst>
                                    <p:cond delay="2000"/>
                                  </p:stCondLst>
                                  <p:childTnLst>
                                    <p:set>
                                      <p:cBhvr>
                                        <p:cTn id="66" dur="1" fill="hold">
                                          <p:stCondLst>
                                            <p:cond delay="0"/>
                                          </p:stCondLst>
                                        </p:cTn>
                                        <p:tgtEl>
                                          <p:spTgt spid="36"/>
                                        </p:tgtEl>
                                        <p:attrNameLst>
                                          <p:attrName>style.visibility</p:attrName>
                                        </p:attrNameLst>
                                      </p:cBhvr>
                                      <p:to>
                                        <p:strVal val="visible"/>
                                      </p:to>
                                    </p:set>
                                    <p:animEffect transition="in" filter="strips(upRight)">
                                      <p:cBhvr>
                                        <p:cTn id="67" dur="500"/>
                                        <p:tgtEl>
                                          <p:spTgt spid="36"/>
                                        </p:tgtEl>
                                      </p:cBhvr>
                                    </p:animEffect>
                                  </p:childTnLst>
                                </p:cTn>
                              </p:par>
                              <p:par>
                                <p:cTn id="68" presetID="6" presetClass="emph" presetSubtype="0" accel="52000" decel="48000" autoRev="1" fill="hold" nodeType="withEffect">
                                  <p:stCondLst>
                                    <p:cond delay="2000"/>
                                  </p:stCondLst>
                                  <p:childTnLst>
                                    <p:animScale>
                                      <p:cBhvr>
                                        <p:cTn id="69" dur="350" fill="hold"/>
                                        <p:tgtEl>
                                          <p:spTgt spid="36"/>
                                        </p:tgtEl>
                                      </p:cBhvr>
                                      <p:by x="110000" y="110000"/>
                                    </p:animScale>
                                  </p:childTnLst>
                                </p:cTn>
                              </p:par>
                              <p:par>
                                <p:cTn id="70" presetID="18" presetClass="entr" presetSubtype="3" fill="hold" nodeType="withEffect">
                                  <p:stCondLst>
                                    <p:cond delay="1250"/>
                                  </p:stCondLst>
                                  <p:childTnLst>
                                    <p:set>
                                      <p:cBhvr>
                                        <p:cTn id="71" dur="1" fill="hold">
                                          <p:stCondLst>
                                            <p:cond delay="0"/>
                                          </p:stCondLst>
                                        </p:cTn>
                                        <p:tgtEl>
                                          <p:spTgt spid="18"/>
                                        </p:tgtEl>
                                        <p:attrNameLst>
                                          <p:attrName>style.visibility</p:attrName>
                                        </p:attrNameLst>
                                      </p:cBhvr>
                                      <p:to>
                                        <p:strVal val="visible"/>
                                      </p:to>
                                    </p:set>
                                    <p:animEffect transition="in" filter="strips(upRight)">
                                      <p:cBhvr>
                                        <p:cTn id="72" dur="500"/>
                                        <p:tgtEl>
                                          <p:spTgt spid="18"/>
                                        </p:tgtEl>
                                      </p:cBhvr>
                                    </p:animEffect>
                                  </p:childTnLst>
                                </p:cTn>
                              </p:par>
                              <p:par>
                                <p:cTn id="73" presetID="6" presetClass="emph" presetSubtype="0" accel="52000" decel="48000" autoRev="1" fill="hold" nodeType="withEffect">
                                  <p:stCondLst>
                                    <p:cond delay="1250"/>
                                  </p:stCondLst>
                                  <p:childTnLst>
                                    <p:animScale>
                                      <p:cBhvr>
                                        <p:cTn id="74" dur="350" fill="hold"/>
                                        <p:tgtEl>
                                          <p:spTgt spid="18"/>
                                        </p:tgtEl>
                                      </p:cBhvr>
                                      <p:by x="110000" y="11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3" grpId="0" animBg="1"/>
      <p:bldP spid="10" grpId="0"/>
      <p:bldP spid="10" grpId="1"/>
      <p:bldP spid="11" grpId="0"/>
      <p:bldP spid="42" grpId="0" animBg="1"/>
      <p:bldP spid="43" grpId="0" animBg="1"/>
      <p:bldP spid="44" grpId="0" animBg="1"/>
      <p:bldP spid="45" grpId="0" animBg="1"/>
      <p:bldP spid="46" grpId="0" animBg="1"/>
      <p:bldP spid="47" grpId="0" animBg="1"/>
    </p:bldLst>
  </p:timing>
</p:sld>
</file>

<file path=ppt/slides/slide6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A5E0AEB-B0F1-4ED8-9A5D-D30D0AA840DA}"/>
              </a:ext>
            </a:extLst>
          </p:cNvPr>
          <p:cNvSpPr/>
          <p:nvPr/>
        </p:nvSpPr>
        <p:spPr>
          <a:xfrm>
            <a:off x="0" y="0"/>
            <a:ext cx="12192000" cy="292833"/>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FFFFFF"/>
              </a:solidFill>
              <a:effectLst/>
              <a:uLnTx/>
              <a:uFillTx/>
              <a:latin typeface="等线" panose="020F0502020204030204"/>
              <a:ea typeface="+mn-ea"/>
              <a:cs typeface="+mn-cs"/>
            </a:endParaRPr>
          </a:p>
        </p:txBody>
      </p:sp>
      <p:sp>
        <p:nvSpPr>
          <p:cNvPr id="3" name="Freeform 5">
            <a:extLst>
              <a:ext uri="{FF2B5EF4-FFF2-40B4-BE49-F238E27FC236}">
                <a16:creationId xmlns:a16="http://schemas.microsoft.com/office/drawing/2014/main" id="{71E1B762-91E1-4487-B1EE-1CC8D7A7E84C}"/>
              </a:ext>
            </a:extLst>
          </p:cNvPr>
          <p:cNvSpPr>
            <a:spLocks/>
          </p:cNvSpPr>
          <p:nvPr/>
        </p:nvSpPr>
        <p:spPr bwMode="auto">
          <a:xfrm rot="10800000">
            <a:off x="6096000" y="0"/>
            <a:ext cx="3981450" cy="2433064"/>
          </a:xfrm>
          <a:custGeom>
            <a:avLst/>
            <a:gdLst>
              <a:gd name="connsiteX0" fmla="*/ 1934635 w 3267075"/>
              <a:gd name="connsiteY0" fmla="*/ 2336800 h 2336800"/>
              <a:gd name="connsiteX1" fmla="*/ 1441014 w 3267075"/>
              <a:gd name="connsiteY1" fmla="*/ 2336800 h 2336800"/>
              <a:gd name="connsiteX2" fmla="*/ 1423534 w 3267075"/>
              <a:gd name="connsiteY2" fmla="*/ 2329899 h 2336800"/>
              <a:gd name="connsiteX3" fmla="*/ 1389970 w 3267075"/>
              <a:gd name="connsiteY3" fmla="*/ 2315777 h 2336800"/>
              <a:gd name="connsiteX4" fmla="*/ 1355272 w 3267075"/>
              <a:gd name="connsiteY4" fmla="*/ 2299516 h 2336800"/>
              <a:gd name="connsiteX5" fmla="*/ 1319893 w 3267075"/>
              <a:gd name="connsiteY5" fmla="*/ 2281970 h 2336800"/>
              <a:gd name="connsiteX6" fmla="*/ 1283607 w 3267075"/>
              <a:gd name="connsiteY6" fmla="*/ 2262499 h 2336800"/>
              <a:gd name="connsiteX7" fmla="*/ 1247095 w 3267075"/>
              <a:gd name="connsiteY7" fmla="*/ 2240888 h 2336800"/>
              <a:gd name="connsiteX8" fmla="*/ 1210129 w 3267075"/>
              <a:gd name="connsiteY8" fmla="*/ 2217566 h 2336800"/>
              <a:gd name="connsiteX9" fmla="*/ 1173389 w 3267075"/>
              <a:gd name="connsiteY9" fmla="*/ 2192318 h 2336800"/>
              <a:gd name="connsiteX10" fmla="*/ 1136197 w 3267075"/>
              <a:gd name="connsiteY10" fmla="*/ 2164716 h 2336800"/>
              <a:gd name="connsiteX11" fmla="*/ 1099457 w 3267075"/>
              <a:gd name="connsiteY11" fmla="*/ 2134974 h 2336800"/>
              <a:gd name="connsiteX12" fmla="*/ 1063398 w 3267075"/>
              <a:gd name="connsiteY12" fmla="*/ 2102665 h 2336800"/>
              <a:gd name="connsiteX13" fmla="*/ 1028247 w 3267075"/>
              <a:gd name="connsiteY13" fmla="*/ 2068002 h 2336800"/>
              <a:gd name="connsiteX14" fmla="*/ 993548 w 3267075"/>
              <a:gd name="connsiteY14" fmla="*/ 2030986 h 2336800"/>
              <a:gd name="connsiteX15" fmla="*/ 959984 w 3267075"/>
              <a:gd name="connsiteY15" fmla="*/ 1991616 h 2336800"/>
              <a:gd name="connsiteX16" fmla="*/ 927781 w 3267075"/>
              <a:gd name="connsiteY16" fmla="*/ 1949464 h 2336800"/>
              <a:gd name="connsiteX17" fmla="*/ 897164 w 3267075"/>
              <a:gd name="connsiteY17" fmla="*/ 1904531 h 2336800"/>
              <a:gd name="connsiteX18" fmla="*/ 868136 w 3267075"/>
              <a:gd name="connsiteY18" fmla="*/ 1856816 h 2336800"/>
              <a:gd name="connsiteX19" fmla="*/ 840695 w 3267075"/>
              <a:gd name="connsiteY19" fmla="*/ 1806533 h 2336800"/>
              <a:gd name="connsiteX20" fmla="*/ 815748 w 3267075"/>
              <a:gd name="connsiteY20" fmla="*/ 1752827 h 2336800"/>
              <a:gd name="connsiteX21" fmla="*/ 792616 w 3267075"/>
              <a:gd name="connsiteY21" fmla="*/ 1696126 h 2336800"/>
              <a:gd name="connsiteX22" fmla="*/ 769938 w 3267075"/>
              <a:gd name="connsiteY22" fmla="*/ 1638782 h 2336800"/>
              <a:gd name="connsiteX23" fmla="*/ 745445 w 3267075"/>
              <a:gd name="connsiteY23" fmla="*/ 1582509 h 2336800"/>
              <a:gd name="connsiteX24" fmla="*/ 719364 w 3267075"/>
              <a:gd name="connsiteY24" fmla="*/ 1527947 h 2336800"/>
              <a:gd name="connsiteX25" fmla="*/ 691923 w 3267075"/>
              <a:gd name="connsiteY25" fmla="*/ 1474455 h 2336800"/>
              <a:gd name="connsiteX26" fmla="*/ 663348 w 3267075"/>
              <a:gd name="connsiteY26" fmla="*/ 1422674 h 2336800"/>
              <a:gd name="connsiteX27" fmla="*/ 633186 w 3267075"/>
              <a:gd name="connsiteY27" fmla="*/ 1372178 h 2336800"/>
              <a:gd name="connsiteX28" fmla="*/ 602343 w 3267075"/>
              <a:gd name="connsiteY28" fmla="*/ 1323179 h 2336800"/>
              <a:gd name="connsiteX29" fmla="*/ 570820 w 3267075"/>
              <a:gd name="connsiteY29" fmla="*/ 1276106 h 2336800"/>
              <a:gd name="connsiteX30" fmla="*/ 538616 w 3267075"/>
              <a:gd name="connsiteY30" fmla="*/ 1230103 h 2336800"/>
              <a:gd name="connsiteX31" fmla="*/ 505959 w 3267075"/>
              <a:gd name="connsiteY31" fmla="*/ 1185812 h 2336800"/>
              <a:gd name="connsiteX32" fmla="*/ 472848 w 3267075"/>
              <a:gd name="connsiteY32" fmla="*/ 1143018 h 2336800"/>
              <a:gd name="connsiteX33" fmla="*/ 439964 w 3267075"/>
              <a:gd name="connsiteY33" fmla="*/ 1102364 h 2336800"/>
              <a:gd name="connsiteX34" fmla="*/ 406854 w 3267075"/>
              <a:gd name="connsiteY34" fmla="*/ 1062780 h 2336800"/>
              <a:gd name="connsiteX35" fmla="*/ 373970 w 3267075"/>
              <a:gd name="connsiteY35" fmla="*/ 1025336 h 2336800"/>
              <a:gd name="connsiteX36" fmla="*/ 341313 w 3267075"/>
              <a:gd name="connsiteY36" fmla="*/ 989603 h 2336800"/>
              <a:gd name="connsiteX37" fmla="*/ 309336 w 3267075"/>
              <a:gd name="connsiteY37" fmla="*/ 955582 h 2336800"/>
              <a:gd name="connsiteX38" fmla="*/ 278039 w 3267075"/>
              <a:gd name="connsiteY38" fmla="*/ 923487 h 2336800"/>
              <a:gd name="connsiteX39" fmla="*/ 247423 w 3267075"/>
              <a:gd name="connsiteY39" fmla="*/ 892889 h 2336800"/>
              <a:gd name="connsiteX40" fmla="*/ 217941 w 3267075"/>
              <a:gd name="connsiteY40" fmla="*/ 864645 h 2336800"/>
              <a:gd name="connsiteX41" fmla="*/ 189593 w 3267075"/>
              <a:gd name="connsiteY41" fmla="*/ 837899 h 2336800"/>
              <a:gd name="connsiteX42" fmla="*/ 162832 w 3267075"/>
              <a:gd name="connsiteY42" fmla="*/ 813507 h 2336800"/>
              <a:gd name="connsiteX43" fmla="*/ 137205 w 3267075"/>
              <a:gd name="connsiteY43" fmla="*/ 790612 h 2336800"/>
              <a:gd name="connsiteX44" fmla="*/ 113166 w 3267075"/>
              <a:gd name="connsiteY44" fmla="*/ 769858 h 2336800"/>
              <a:gd name="connsiteX45" fmla="*/ 91168 w 3267075"/>
              <a:gd name="connsiteY45" fmla="*/ 751242 h 2336800"/>
              <a:gd name="connsiteX46" fmla="*/ 70984 w 3267075"/>
              <a:gd name="connsiteY46" fmla="*/ 734981 h 2336800"/>
              <a:gd name="connsiteX47" fmla="*/ 53295 w 3267075"/>
              <a:gd name="connsiteY47" fmla="*/ 720431 h 2336800"/>
              <a:gd name="connsiteX48" fmla="*/ 37647 w 3267075"/>
              <a:gd name="connsiteY48" fmla="*/ 708021 h 2336800"/>
              <a:gd name="connsiteX49" fmla="*/ 24493 w 3267075"/>
              <a:gd name="connsiteY49" fmla="*/ 697964 h 2336800"/>
              <a:gd name="connsiteX50" fmla="*/ 6350 w 3267075"/>
              <a:gd name="connsiteY50" fmla="*/ 684484 h 2336800"/>
              <a:gd name="connsiteX51" fmla="*/ 0 w 3267075"/>
              <a:gd name="connsiteY51" fmla="*/ 679777 h 2336800"/>
              <a:gd name="connsiteX52" fmla="*/ 7030 w 3267075"/>
              <a:gd name="connsiteY52" fmla="*/ 683414 h 2336800"/>
              <a:gd name="connsiteX53" fmla="*/ 27895 w 3267075"/>
              <a:gd name="connsiteY53" fmla="*/ 694755 h 2336800"/>
              <a:gd name="connsiteX54" fmla="*/ 42863 w 3267075"/>
              <a:gd name="connsiteY54" fmla="*/ 702886 h 2336800"/>
              <a:gd name="connsiteX55" fmla="*/ 60552 w 3267075"/>
              <a:gd name="connsiteY55" fmla="*/ 712728 h 2336800"/>
              <a:gd name="connsiteX56" fmla="*/ 80736 w 3267075"/>
              <a:gd name="connsiteY56" fmla="*/ 724496 h 2336800"/>
              <a:gd name="connsiteX57" fmla="*/ 103414 w 3267075"/>
              <a:gd name="connsiteY57" fmla="*/ 737976 h 2336800"/>
              <a:gd name="connsiteX58" fmla="*/ 128134 w 3267075"/>
              <a:gd name="connsiteY58" fmla="*/ 752954 h 2336800"/>
              <a:gd name="connsiteX59" fmla="*/ 155122 w 3267075"/>
              <a:gd name="connsiteY59" fmla="*/ 769644 h 2336800"/>
              <a:gd name="connsiteX60" fmla="*/ 183697 w 3267075"/>
              <a:gd name="connsiteY60" fmla="*/ 788045 h 2336800"/>
              <a:gd name="connsiteX61" fmla="*/ 214086 w 3267075"/>
              <a:gd name="connsiteY61" fmla="*/ 807944 h 2336800"/>
              <a:gd name="connsiteX62" fmla="*/ 245836 w 3267075"/>
              <a:gd name="connsiteY62" fmla="*/ 829341 h 2336800"/>
              <a:gd name="connsiteX63" fmla="*/ 278947 w 3267075"/>
              <a:gd name="connsiteY63" fmla="*/ 852449 h 2336800"/>
              <a:gd name="connsiteX64" fmla="*/ 312738 w 3267075"/>
              <a:gd name="connsiteY64" fmla="*/ 876842 h 2336800"/>
              <a:gd name="connsiteX65" fmla="*/ 347663 w 3267075"/>
              <a:gd name="connsiteY65" fmla="*/ 902946 h 2336800"/>
              <a:gd name="connsiteX66" fmla="*/ 383041 w 3267075"/>
              <a:gd name="connsiteY66" fmla="*/ 930334 h 2336800"/>
              <a:gd name="connsiteX67" fmla="*/ 419100 w 3267075"/>
              <a:gd name="connsiteY67" fmla="*/ 959219 h 2336800"/>
              <a:gd name="connsiteX68" fmla="*/ 455159 w 3267075"/>
              <a:gd name="connsiteY68" fmla="*/ 989603 h 2336800"/>
              <a:gd name="connsiteX69" fmla="*/ 491672 w 3267075"/>
              <a:gd name="connsiteY69" fmla="*/ 1021056 h 2336800"/>
              <a:gd name="connsiteX70" fmla="*/ 527957 w 3267075"/>
              <a:gd name="connsiteY70" fmla="*/ 1054221 h 2336800"/>
              <a:gd name="connsiteX71" fmla="*/ 563789 w 3267075"/>
              <a:gd name="connsiteY71" fmla="*/ 1088456 h 2336800"/>
              <a:gd name="connsiteX72" fmla="*/ 598941 w 3267075"/>
              <a:gd name="connsiteY72" fmla="*/ 1123975 h 2336800"/>
              <a:gd name="connsiteX73" fmla="*/ 633866 w 3267075"/>
              <a:gd name="connsiteY73" fmla="*/ 1160991 h 2336800"/>
              <a:gd name="connsiteX74" fmla="*/ 667431 w 3267075"/>
              <a:gd name="connsiteY74" fmla="*/ 1199078 h 2336800"/>
              <a:gd name="connsiteX75" fmla="*/ 700088 w 3267075"/>
              <a:gd name="connsiteY75" fmla="*/ 1238234 h 2336800"/>
              <a:gd name="connsiteX76" fmla="*/ 731611 w 3267075"/>
              <a:gd name="connsiteY76" fmla="*/ 1278674 h 2336800"/>
              <a:gd name="connsiteX77" fmla="*/ 761547 w 3267075"/>
              <a:gd name="connsiteY77" fmla="*/ 1320398 h 2336800"/>
              <a:gd name="connsiteX78" fmla="*/ 789895 w 3267075"/>
              <a:gd name="connsiteY78" fmla="*/ 1363191 h 2336800"/>
              <a:gd name="connsiteX79" fmla="*/ 816202 w 3267075"/>
              <a:gd name="connsiteY79" fmla="*/ 1406841 h 2336800"/>
              <a:gd name="connsiteX80" fmla="*/ 840695 w 3267075"/>
              <a:gd name="connsiteY80" fmla="*/ 1451988 h 2336800"/>
              <a:gd name="connsiteX81" fmla="*/ 862920 w 3267075"/>
              <a:gd name="connsiteY81" fmla="*/ 1497777 h 2336800"/>
              <a:gd name="connsiteX82" fmla="*/ 884691 w 3267075"/>
              <a:gd name="connsiteY82" fmla="*/ 1543352 h 2336800"/>
              <a:gd name="connsiteX83" fmla="*/ 908050 w 3267075"/>
              <a:gd name="connsiteY83" fmla="*/ 1586360 h 2336800"/>
              <a:gd name="connsiteX84" fmla="*/ 933223 w 3267075"/>
              <a:gd name="connsiteY84" fmla="*/ 1627014 h 2336800"/>
              <a:gd name="connsiteX85" fmla="*/ 959757 w 3267075"/>
              <a:gd name="connsiteY85" fmla="*/ 1665528 h 2336800"/>
              <a:gd name="connsiteX86" fmla="*/ 987652 w 3267075"/>
              <a:gd name="connsiteY86" fmla="*/ 1702117 h 2336800"/>
              <a:gd name="connsiteX87" fmla="*/ 1016454 w 3267075"/>
              <a:gd name="connsiteY87" fmla="*/ 1736352 h 2336800"/>
              <a:gd name="connsiteX88" fmla="*/ 1046163 w 3267075"/>
              <a:gd name="connsiteY88" fmla="*/ 1768661 h 2336800"/>
              <a:gd name="connsiteX89" fmla="*/ 1076552 w 3267075"/>
              <a:gd name="connsiteY89" fmla="*/ 1799044 h 2336800"/>
              <a:gd name="connsiteX90" fmla="*/ 1108075 w 3267075"/>
              <a:gd name="connsiteY90" fmla="*/ 1827502 h 2336800"/>
              <a:gd name="connsiteX91" fmla="*/ 1139598 w 3267075"/>
              <a:gd name="connsiteY91" fmla="*/ 1854034 h 2336800"/>
              <a:gd name="connsiteX92" fmla="*/ 1171348 w 3267075"/>
              <a:gd name="connsiteY92" fmla="*/ 1879068 h 2336800"/>
              <a:gd name="connsiteX93" fmla="*/ 1203325 w 3267075"/>
              <a:gd name="connsiteY93" fmla="*/ 1902177 h 2336800"/>
              <a:gd name="connsiteX94" fmla="*/ 1235529 w 3267075"/>
              <a:gd name="connsiteY94" fmla="*/ 1923360 h 2336800"/>
              <a:gd name="connsiteX95" fmla="*/ 1267279 w 3267075"/>
              <a:gd name="connsiteY95" fmla="*/ 1943259 h 2336800"/>
              <a:gd name="connsiteX96" fmla="*/ 1298575 w 3267075"/>
              <a:gd name="connsiteY96" fmla="*/ 1961446 h 2336800"/>
              <a:gd name="connsiteX97" fmla="*/ 1329645 w 3267075"/>
              <a:gd name="connsiteY97" fmla="*/ 1978350 h 2336800"/>
              <a:gd name="connsiteX98" fmla="*/ 1360034 w 3267075"/>
              <a:gd name="connsiteY98" fmla="*/ 1993541 h 2336800"/>
              <a:gd name="connsiteX99" fmla="*/ 1389516 w 3267075"/>
              <a:gd name="connsiteY99" fmla="*/ 2007449 h 2336800"/>
              <a:gd name="connsiteX100" fmla="*/ 1418091 w 3267075"/>
              <a:gd name="connsiteY100" fmla="*/ 2019859 h 2336800"/>
              <a:gd name="connsiteX101" fmla="*/ 1445532 w 3267075"/>
              <a:gd name="connsiteY101" fmla="*/ 2031200 h 2336800"/>
              <a:gd name="connsiteX102" fmla="*/ 1471613 w 3267075"/>
              <a:gd name="connsiteY102" fmla="*/ 2041256 h 2336800"/>
              <a:gd name="connsiteX103" fmla="*/ 1496332 w 3267075"/>
              <a:gd name="connsiteY103" fmla="*/ 2050243 h 2336800"/>
              <a:gd name="connsiteX104" fmla="*/ 1519464 w 3267075"/>
              <a:gd name="connsiteY104" fmla="*/ 2057946 h 2336800"/>
              <a:gd name="connsiteX105" fmla="*/ 1540782 w 3267075"/>
              <a:gd name="connsiteY105" fmla="*/ 2064579 h 2336800"/>
              <a:gd name="connsiteX106" fmla="*/ 1560286 w 3267075"/>
              <a:gd name="connsiteY106" fmla="*/ 2069928 h 2336800"/>
              <a:gd name="connsiteX107" fmla="*/ 1577522 w 3267075"/>
              <a:gd name="connsiteY107" fmla="*/ 2075063 h 2336800"/>
              <a:gd name="connsiteX108" fmla="*/ 1592716 w 3267075"/>
              <a:gd name="connsiteY108" fmla="*/ 2078701 h 2336800"/>
              <a:gd name="connsiteX109" fmla="*/ 1605416 w 3267075"/>
              <a:gd name="connsiteY109" fmla="*/ 2081696 h 2336800"/>
              <a:gd name="connsiteX110" fmla="*/ 1623106 w 3267075"/>
              <a:gd name="connsiteY110" fmla="*/ 2085762 h 2336800"/>
              <a:gd name="connsiteX111" fmla="*/ 1629002 w 3267075"/>
              <a:gd name="connsiteY111" fmla="*/ 2086617 h 2336800"/>
              <a:gd name="connsiteX112" fmla="*/ 1611766 w 3267075"/>
              <a:gd name="connsiteY112" fmla="*/ 1735282 h 2336800"/>
              <a:gd name="connsiteX113" fmla="*/ 1611086 w 3267075"/>
              <a:gd name="connsiteY113" fmla="*/ 1735068 h 2336800"/>
              <a:gd name="connsiteX114" fmla="*/ 1609952 w 3267075"/>
              <a:gd name="connsiteY114" fmla="*/ 1733570 h 2336800"/>
              <a:gd name="connsiteX115" fmla="*/ 1607231 w 3267075"/>
              <a:gd name="connsiteY115" fmla="*/ 1731216 h 2336800"/>
              <a:gd name="connsiteX116" fmla="*/ 1603602 w 3267075"/>
              <a:gd name="connsiteY116" fmla="*/ 1726937 h 2336800"/>
              <a:gd name="connsiteX117" fmla="*/ 1598839 w 3267075"/>
              <a:gd name="connsiteY117" fmla="*/ 1720732 h 2336800"/>
              <a:gd name="connsiteX118" fmla="*/ 1592943 w 3267075"/>
              <a:gd name="connsiteY118" fmla="*/ 1712601 h 2336800"/>
              <a:gd name="connsiteX119" fmla="*/ 1585686 w 3267075"/>
              <a:gd name="connsiteY119" fmla="*/ 1701903 h 2336800"/>
              <a:gd name="connsiteX120" fmla="*/ 1577295 w 3267075"/>
              <a:gd name="connsiteY120" fmla="*/ 1688423 h 2336800"/>
              <a:gd name="connsiteX121" fmla="*/ 1567089 w 3267075"/>
              <a:gd name="connsiteY121" fmla="*/ 1671947 h 2336800"/>
              <a:gd name="connsiteX122" fmla="*/ 1555750 w 3267075"/>
              <a:gd name="connsiteY122" fmla="*/ 1652048 h 2336800"/>
              <a:gd name="connsiteX123" fmla="*/ 1543050 w 3267075"/>
              <a:gd name="connsiteY123" fmla="*/ 1628726 h 2336800"/>
              <a:gd name="connsiteX124" fmla="*/ 1528536 w 3267075"/>
              <a:gd name="connsiteY124" fmla="*/ 1601124 h 2336800"/>
              <a:gd name="connsiteX125" fmla="*/ 1520598 w 3267075"/>
              <a:gd name="connsiteY125" fmla="*/ 1586146 h 2336800"/>
              <a:gd name="connsiteX126" fmla="*/ 1512434 w 3267075"/>
              <a:gd name="connsiteY126" fmla="*/ 1569670 h 2336800"/>
              <a:gd name="connsiteX127" fmla="*/ 1503816 w 3267075"/>
              <a:gd name="connsiteY127" fmla="*/ 1552125 h 2336800"/>
              <a:gd name="connsiteX128" fmla="*/ 1494745 w 3267075"/>
              <a:gd name="connsiteY128" fmla="*/ 1533296 h 2336800"/>
              <a:gd name="connsiteX129" fmla="*/ 1485220 w 3267075"/>
              <a:gd name="connsiteY129" fmla="*/ 1513611 h 2336800"/>
              <a:gd name="connsiteX130" fmla="*/ 1475241 w 3267075"/>
              <a:gd name="connsiteY130" fmla="*/ 1492428 h 2336800"/>
              <a:gd name="connsiteX131" fmla="*/ 1464809 w 3267075"/>
              <a:gd name="connsiteY131" fmla="*/ 1469961 h 2336800"/>
              <a:gd name="connsiteX132" fmla="*/ 1453923 w 3267075"/>
              <a:gd name="connsiteY132" fmla="*/ 1446211 h 2336800"/>
              <a:gd name="connsiteX133" fmla="*/ 1443491 w 3267075"/>
              <a:gd name="connsiteY133" fmla="*/ 1422674 h 2336800"/>
              <a:gd name="connsiteX134" fmla="*/ 1433513 w 3267075"/>
              <a:gd name="connsiteY134" fmla="*/ 1400208 h 2336800"/>
              <a:gd name="connsiteX135" fmla="*/ 1424441 w 3267075"/>
              <a:gd name="connsiteY135" fmla="*/ 1378811 h 2336800"/>
              <a:gd name="connsiteX136" fmla="*/ 1416050 w 3267075"/>
              <a:gd name="connsiteY136" fmla="*/ 1358698 h 2336800"/>
              <a:gd name="connsiteX137" fmla="*/ 1408339 w 3267075"/>
              <a:gd name="connsiteY137" fmla="*/ 1339655 h 2336800"/>
              <a:gd name="connsiteX138" fmla="*/ 1401082 w 3267075"/>
              <a:gd name="connsiteY138" fmla="*/ 1321253 h 2336800"/>
              <a:gd name="connsiteX139" fmla="*/ 1394506 w 3267075"/>
              <a:gd name="connsiteY139" fmla="*/ 1303280 h 2336800"/>
              <a:gd name="connsiteX140" fmla="*/ 1388382 w 3267075"/>
              <a:gd name="connsiteY140" fmla="*/ 1285949 h 2336800"/>
              <a:gd name="connsiteX141" fmla="*/ 1382713 w 3267075"/>
              <a:gd name="connsiteY141" fmla="*/ 1269045 h 2336800"/>
              <a:gd name="connsiteX142" fmla="*/ 1377270 w 3267075"/>
              <a:gd name="connsiteY142" fmla="*/ 1252356 h 2336800"/>
              <a:gd name="connsiteX143" fmla="*/ 1372281 w 3267075"/>
              <a:gd name="connsiteY143" fmla="*/ 1236094 h 2336800"/>
              <a:gd name="connsiteX144" fmla="*/ 1367518 w 3267075"/>
              <a:gd name="connsiteY144" fmla="*/ 1219405 h 2336800"/>
              <a:gd name="connsiteX145" fmla="*/ 1363209 w 3267075"/>
              <a:gd name="connsiteY145" fmla="*/ 1202715 h 2336800"/>
              <a:gd name="connsiteX146" fmla="*/ 1358673 w 3267075"/>
              <a:gd name="connsiteY146" fmla="*/ 1185598 h 2336800"/>
              <a:gd name="connsiteX147" fmla="*/ 1354138 w 3267075"/>
              <a:gd name="connsiteY147" fmla="*/ 1168266 h 2336800"/>
              <a:gd name="connsiteX148" fmla="*/ 1350056 w 3267075"/>
              <a:gd name="connsiteY148" fmla="*/ 1150293 h 2336800"/>
              <a:gd name="connsiteX149" fmla="*/ 1341211 w 3267075"/>
              <a:gd name="connsiteY149" fmla="*/ 1111993 h 2336800"/>
              <a:gd name="connsiteX150" fmla="*/ 1332139 w 3267075"/>
              <a:gd name="connsiteY150" fmla="*/ 1070055 h 2336800"/>
              <a:gd name="connsiteX151" fmla="*/ 1321481 w 3267075"/>
              <a:gd name="connsiteY151" fmla="*/ 1023196 h 2336800"/>
              <a:gd name="connsiteX152" fmla="*/ 1309914 w 3267075"/>
              <a:gd name="connsiteY152" fmla="*/ 970346 h 2336800"/>
              <a:gd name="connsiteX153" fmla="*/ 1296307 w 3267075"/>
              <a:gd name="connsiteY153" fmla="*/ 910221 h 2336800"/>
              <a:gd name="connsiteX154" fmla="*/ 1280206 w 3267075"/>
              <a:gd name="connsiteY154" fmla="*/ 842393 h 2336800"/>
              <a:gd name="connsiteX155" fmla="*/ 1271134 w 3267075"/>
              <a:gd name="connsiteY155" fmla="*/ 804948 h 2336800"/>
              <a:gd name="connsiteX156" fmla="*/ 1261382 w 3267075"/>
              <a:gd name="connsiteY156" fmla="*/ 765150 h 2336800"/>
              <a:gd name="connsiteX157" fmla="*/ 1250950 w 3267075"/>
              <a:gd name="connsiteY157" fmla="*/ 722785 h 2336800"/>
              <a:gd name="connsiteX158" fmla="*/ 1239384 w 3267075"/>
              <a:gd name="connsiteY158" fmla="*/ 677851 h 2336800"/>
              <a:gd name="connsiteX159" fmla="*/ 1226231 w 3267075"/>
              <a:gd name="connsiteY159" fmla="*/ 632276 h 2336800"/>
              <a:gd name="connsiteX160" fmla="*/ 1210129 w 3267075"/>
              <a:gd name="connsiteY160" fmla="*/ 588841 h 2336800"/>
              <a:gd name="connsiteX161" fmla="*/ 1191986 w 3267075"/>
              <a:gd name="connsiteY161" fmla="*/ 547545 h 2336800"/>
              <a:gd name="connsiteX162" fmla="*/ 1171348 w 3267075"/>
              <a:gd name="connsiteY162" fmla="*/ 508175 h 2336800"/>
              <a:gd name="connsiteX163" fmla="*/ 1149123 w 3267075"/>
              <a:gd name="connsiteY163" fmla="*/ 470730 h 2336800"/>
              <a:gd name="connsiteX164" fmla="*/ 1124857 w 3267075"/>
              <a:gd name="connsiteY164" fmla="*/ 435211 h 2336800"/>
              <a:gd name="connsiteX165" fmla="*/ 1098777 w 3267075"/>
              <a:gd name="connsiteY165" fmla="*/ 401404 h 2336800"/>
              <a:gd name="connsiteX166" fmla="*/ 1071563 w 3267075"/>
              <a:gd name="connsiteY166" fmla="*/ 369737 h 2336800"/>
              <a:gd name="connsiteX167" fmla="*/ 1042988 w 3267075"/>
              <a:gd name="connsiteY167" fmla="*/ 339568 h 2336800"/>
              <a:gd name="connsiteX168" fmla="*/ 1013506 w 3267075"/>
              <a:gd name="connsiteY168" fmla="*/ 311324 h 2336800"/>
              <a:gd name="connsiteX169" fmla="*/ 983116 w 3267075"/>
              <a:gd name="connsiteY169" fmla="*/ 284792 h 2336800"/>
              <a:gd name="connsiteX170" fmla="*/ 952047 w 3267075"/>
              <a:gd name="connsiteY170" fmla="*/ 259544 h 2336800"/>
              <a:gd name="connsiteX171" fmla="*/ 920750 w 3267075"/>
              <a:gd name="connsiteY171" fmla="*/ 236221 h 2336800"/>
              <a:gd name="connsiteX172" fmla="*/ 889227 w 3267075"/>
              <a:gd name="connsiteY172" fmla="*/ 214610 h 2336800"/>
              <a:gd name="connsiteX173" fmla="*/ 857477 w 3267075"/>
              <a:gd name="connsiteY173" fmla="*/ 194283 h 2336800"/>
              <a:gd name="connsiteX174" fmla="*/ 825954 w 3267075"/>
              <a:gd name="connsiteY174" fmla="*/ 175668 h 2336800"/>
              <a:gd name="connsiteX175" fmla="*/ 794884 w 3267075"/>
              <a:gd name="connsiteY175" fmla="*/ 158337 h 2336800"/>
              <a:gd name="connsiteX176" fmla="*/ 764268 w 3267075"/>
              <a:gd name="connsiteY176" fmla="*/ 142289 h 2336800"/>
              <a:gd name="connsiteX177" fmla="*/ 734786 w 3267075"/>
              <a:gd name="connsiteY177" fmla="*/ 127953 h 2336800"/>
              <a:gd name="connsiteX178" fmla="*/ 705984 w 3267075"/>
              <a:gd name="connsiteY178" fmla="*/ 114687 h 2336800"/>
              <a:gd name="connsiteX179" fmla="*/ 678316 w 3267075"/>
              <a:gd name="connsiteY179" fmla="*/ 102919 h 2336800"/>
              <a:gd name="connsiteX180" fmla="*/ 652236 w 3267075"/>
              <a:gd name="connsiteY180" fmla="*/ 92221 h 2336800"/>
              <a:gd name="connsiteX181" fmla="*/ 627516 w 3267075"/>
              <a:gd name="connsiteY181" fmla="*/ 82806 h 2336800"/>
              <a:gd name="connsiteX182" fmla="*/ 604611 w 3267075"/>
              <a:gd name="connsiteY182" fmla="*/ 74461 h 2336800"/>
              <a:gd name="connsiteX183" fmla="*/ 583520 w 3267075"/>
              <a:gd name="connsiteY183" fmla="*/ 67400 h 2336800"/>
              <a:gd name="connsiteX184" fmla="*/ 564697 w 3267075"/>
              <a:gd name="connsiteY184" fmla="*/ 61409 h 2336800"/>
              <a:gd name="connsiteX185" fmla="*/ 548141 w 3267075"/>
              <a:gd name="connsiteY185" fmla="*/ 56488 h 2336800"/>
              <a:gd name="connsiteX186" fmla="*/ 534307 w 3267075"/>
              <a:gd name="connsiteY186" fmla="*/ 52208 h 2336800"/>
              <a:gd name="connsiteX187" fmla="*/ 514804 w 3267075"/>
              <a:gd name="connsiteY187" fmla="*/ 47287 h 2336800"/>
              <a:gd name="connsiteX188" fmla="*/ 508227 w 3267075"/>
              <a:gd name="connsiteY188" fmla="*/ 45361 h 2336800"/>
              <a:gd name="connsiteX189" fmla="*/ 512989 w 3267075"/>
              <a:gd name="connsiteY189" fmla="*/ 45361 h 2336800"/>
              <a:gd name="connsiteX190" fmla="*/ 526597 w 3267075"/>
              <a:gd name="connsiteY190" fmla="*/ 46003 h 2336800"/>
              <a:gd name="connsiteX191" fmla="*/ 536575 w 3267075"/>
              <a:gd name="connsiteY191" fmla="*/ 46431 h 2336800"/>
              <a:gd name="connsiteX192" fmla="*/ 548368 w 3267075"/>
              <a:gd name="connsiteY192" fmla="*/ 46859 h 2336800"/>
              <a:gd name="connsiteX193" fmla="*/ 561975 w 3267075"/>
              <a:gd name="connsiteY193" fmla="*/ 47929 h 2336800"/>
              <a:gd name="connsiteX194" fmla="*/ 577170 w 3267075"/>
              <a:gd name="connsiteY194" fmla="*/ 49213 h 2336800"/>
              <a:gd name="connsiteX195" fmla="*/ 593725 w 3267075"/>
              <a:gd name="connsiteY195" fmla="*/ 50711 h 2336800"/>
              <a:gd name="connsiteX196" fmla="*/ 611868 w 3267075"/>
              <a:gd name="connsiteY196" fmla="*/ 52636 h 2336800"/>
              <a:gd name="connsiteX197" fmla="*/ 631145 w 3267075"/>
              <a:gd name="connsiteY197" fmla="*/ 54990 h 2336800"/>
              <a:gd name="connsiteX198" fmla="*/ 651782 w 3267075"/>
              <a:gd name="connsiteY198" fmla="*/ 57986 h 2336800"/>
              <a:gd name="connsiteX199" fmla="*/ 673327 w 3267075"/>
              <a:gd name="connsiteY199" fmla="*/ 61409 h 2336800"/>
              <a:gd name="connsiteX200" fmla="*/ 695325 w 3267075"/>
              <a:gd name="connsiteY200" fmla="*/ 65047 h 2336800"/>
              <a:gd name="connsiteX201" fmla="*/ 718457 w 3267075"/>
              <a:gd name="connsiteY201" fmla="*/ 69754 h 2336800"/>
              <a:gd name="connsiteX202" fmla="*/ 742270 w 3267075"/>
              <a:gd name="connsiteY202" fmla="*/ 74675 h 2336800"/>
              <a:gd name="connsiteX203" fmla="*/ 766536 w 3267075"/>
              <a:gd name="connsiteY203" fmla="*/ 80666 h 2336800"/>
              <a:gd name="connsiteX204" fmla="*/ 791256 w 3267075"/>
              <a:gd name="connsiteY204" fmla="*/ 87513 h 2336800"/>
              <a:gd name="connsiteX205" fmla="*/ 816202 w 3267075"/>
              <a:gd name="connsiteY205" fmla="*/ 94574 h 2336800"/>
              <a:gd name="connsiteX206" fmla="*/ 841148 w 3267075"/>
              <a:gd name="connsiteY206" fmla="*/ 102919 h 2336800"/>
              <a:gd name="connsiteX207" fmla="*/ 866322 w 3267075"/>
              <a:gd name="connsiteY207" fmla="*/ 112120 h 2336800"/>
              <a:gd name="connsiteX208" fmla="*/ 891268 w 3267075"/>
              <a:gd name="connsiteY208" fmla="*/ 121962 h 2336800"/>
              <a:gd name="connsiteX209" fmla="*/ 915988 w 3267075"/>
              <a:gd name="connsiteY209" fmla="*/ 132874 h 2336800"/>
              <a:gd name="connsiteX210" fmla="*/ 940254 w 3267075"/>
              <a:gd name="connsiteY210" fmla="*/ 144857 h 2336800"/>
              <a:gd name="connsiteX211" fmla="*/ 964293 w 3267075"/>
              <a:gd name="connsiteY211" fmla="*/ 157695 h 2336800"/>
              <a:gd name="connsiteX212" fmla="*/ 987652 w 3267075"/>
              <a:gd name="connsiteY212" fmla="*/ 171603 h 2336800"/>
              <a:gd name="connsiteX213" fmla="*/ 1010331 w 3267075"/>
              <a:gd name="connsiteY213" fmla="*/ 186794 h 2336800"/>
              <a:gd name="connsiteX214" fmla="*/ 1031875 w 3267075"/>
              <a:gd name="connsiteY214" fmla="*/ 203270 h 2336800"/>
              <a:gd name="connsiteX215" fmla="*/ 1052739 w 3267075"/>
              <a:gd name="connsiteY215" fmla="*/ 220815 h 2336800"/>
              <a:gd name="connsiteX216" fmla="*/ 1072470 w 3267075"/>
              <a:gd name="connsiteY216" fmla="*/ 239431 h 2336800"/>
              <a:gd name="connsiteX217" fmla="*/ 1090839 w 3267075"/>
              <a:gd name="connsiteY217" fmla="*/ 259544 h 2336800"/>
              <a:gd name="connsiteX218" fmla="*/ 1108075 w 3267075"/>
              <a:gd name="connsiteY218" fmla="*/ 280940 h 2336800"/>
              <a:gd name="connsiteX219" fmla="*/ 1123950 w 3267075"/>
              <a:gd name="connsiteY219" fmla="*/ 302765 h 2336800"/>
              <a:gd name="connsiteX220" fmla="*/ 1139372 w 3267075"/>
              <a:gd name="connsiteY220" fmla="*/ 323948 h 2336800"/>
              <a:gd name="connsiteX221" fmla="*/ 1153886 w 3267075"/>
              <a:gd name="connsiteY221" fmla="*/ 344275 h 2336800"/>
              <a:gd name="connsiteX222" fmla="*/ 1167493 w 3267075"/>
              <a:gd name="connsiteY222" fmla="*/ 364174 h 2336800"/>
              <a:gd name="connsiteX223" fmla="*/ 1180647 w 3267075"/>
              <a:gd name="connsiteY223" fmla="*/ 383431 h 2336800"/>
              <a:gd name="connsiteX224" fmla="*/ 1192666 w 3267075"/>
              <a:gd name="connsiteY224" fmla="*/ 402046 h 2336800"/>
              <a:gd name="connsiteX225" fmla="*/ 1204686 w 3267075"/>
              <a:gd name="connsiteY225" fmla="*/ 419806 h 2336800"/>
              <a:gd name="connsiteX226" fmla="*/ 1215345 w 3267075"/>
              <a:gd name="connsiteY226" fmla="*/ 437351 h 2336800"/>
              <a:gd name="connsiteX227" fmla="*/ 1225777 w 3267075"/>
              <a:gd name="connsiteY227" fmla="*/ 453613 h 2336800"/>
              <a:gd name="connsiteX228" fmla="*/ 1235529 w 3267075"/>
              <a:gd name="connsiteY228" fmla="*/ 469874 h 2336800"/>
              <a:gd name="connsiteX229" fmla="*/ 1244373 w 3267075"/>
              <a:gd name="connsiteY229" fmla="*/ 485066 h 2336800"/>
              <a:gd name="connsiteX230" fmla="*/ 1252764 w 3267075"/>
              <a:gd name="connsiteY230" fmla="*/ 499616 h 2336800"/>
              <a:gd name="connsiteX231" fmla="*/ 1260702 w 3267075"/>
              <a:gd name="connsiteY231" fmla="*/ 513524 h 2336800"/>
              <a:gd name="connsiteX232" fmla="*/ 1267959 w 3267075"/>
              <a:gd name="connsiteY232" fmla="*/ 526790 h 2336800"/>
              <a:gd name="connsiteX233" fmla="*/ 1274989 w 3267075"/>
              <a:gd name="connsiteY233" fmla="*/ 539414 h 2336800"/>
              <a:gd name="connsiteX234" fmla="*/ 1280886 w 3267075"/>
              <a:gd name="connsiteY234" fmla="*/ 550968 h 2336800"/>
              <a:gd name="connsiteX235" fmla="*/ 1291998 w 3267075"/>
              <a:gd name="connsiteY235" fmla="*/ 572579 h 2336800"/>
              <a:gd name="connsiteX236" fmla="*/ 1301070 w 3267075"/>
              <a:gd name="connsiteY236" fmla="*/ 591622 h 2336800"/>
              <a:gd name="connsiteX237" fmla="*/ 1308100 w 3267075"/>
              <a:gd name="connsiteY237" fmla="*/ 607670 h 2336800"/>
              <a:gd name="connsiteX238" fmla="*/ 1313543 w 3267075"/>
              <a:gd name="connsiteY238" fmla="*/ 620936 h 2336800"/>
              <a:gd name="connsiteX239" fmla="*/ 1317852 w 3267075"/>
              <a:gd name="connsiteY239" fmla="*/ 631206 h 2336800"/>
              <a:gd name="connsiteX240" fmla="*/ 1320573 w 3267075"/>
              <a:gd name="connsiteY240" fmla="*/ 638695 h 2336800"/>
              <a:gd name="connsiteX241" fmla="*/ 1322161 w 3267075"/>
              <a:gd name="connsiteY241" fmla="*/ 643188 h 2336800"/>
              <a:gd name="connsiteX242" fmla="*/ 1322614 w 3267075"/>
              <a:gd name="connsiteY242" fmla="*/ 644686 h 2336800"/>
              <a:gd name="connsiteX243" fmla="*/ 1322161 w 3267075"/>
              <a:gd name="connsiteY243" fmla="*/ 642974 h 2336800"/>
              <a:gd name="connsiteX244" fmla="*/ 1320573 w 3267075"/>
              <a:gd name="connsiteY244" fmla="*/ 638053 h 2336800"/>
              <a:gd name="connsiteX245" fmla="*/ 1319439 w 3267075"/>
              <a:gd name="connsiteY245" fmla="*/ 634630 h 2336800"/>
              <a:gd name="connsiteX246" fmla="*/ 1318306 w 3267075"/>
              <a:gd name="connsiteY246" fmla="*/ 630136 h 2336800"/>
              <a:gd name="connsiteX247" fmla="*/ 1317398 w 3267075"/>
              <a:gd name="connsiteY247" fmla="*/ 624787 h 2336800"/>
              <a:gd name="connsiteX248" fmla="*/ 1316264 w 3267075"/>
              <a:gd name="connsiteY248" fmla="*/ 618796 h 2336800"/>
              <a:gd name="connsiteX249" fmla="*/ 1315131 w 3267075"/>
              <a:gd name="connsiteY249" fmla="*/ 612163 h 2336800"/>
              <a:gd name="connsiteX250" fmla="*/ 1314223 w 3267075"/>
              <a:gd name="connsiteY250" fmla="*/ 604674 h 2336800"/>
              <a:gd name="connsiteX251" fmla="*/ 1313316 w 3267075"/>
              <a:gd name="connsiteY251" fmla="*/ 596543 h 2336800"/>
              <a:gd name="connsiteX252" fmla="*/ 1312863 w 3267075"/>
              <a:gd name="connsiteY252" fmla="*/ 587557 h 2336800"/>
              <a:gd name="connsiteX253" fmla="*/ 1312636 w 3267075"/>
              <a:gd name="connsiteY253" fmla="*/ 577928 h 2336800"/>
              <a:gd name="connsiteX254" fmla="*/ 1312636 w 3267075"/>
              <a:gd name="connsiteY254" fmla="*/ 567444 h 2336800"/>
              <a:gd name="connsiteX255" fmla="*/ 1313089 w 3267075"/>
              <a:gd name="connsiteY255" fmla="*/ 556317 h 2336800"/>
              <a:gd name="connsiteX256" fmla="*/ 1313997 w 3267075"/>
              <a:gd name="connsiteY256" fmla="*/ 544335 h 2336800"/>
              <a:gd name="connsiteX257" fmla="*/ 1315131 w 3267075"/>
              <a:gd name="connsiteY257" fmla="*/ 531925 h 2336800"/>
              <a:gd name="connsiteX258" fmla="*/ 1316718 w 3267075"/>
              <a:gd name="connsiteY258" fmla="*/ 518445 h 2336800"/>
              <a:gd name="connsiteX259" fmla="*/ 1319213 w 3267075"/>
              <a:gd name="connsiteY259" fmla="*/ 504537 h 2336800"/>
              <a:gd name="connsiteX260" fmla="*/ 1322388 w 3267075"/>
              <a:gd name="connsiteY260" fmla="*/ 490201 h 2336800"/>
              <a:gd name="connsiteX261" fmla="*/ 1325789 w 3267075"/>
              <a:gd name="connsiteY261" fmla="*/ 474796 h 2336800"/>
              <a:gd name="connsiteX262" fmla="*/ 1330098 w 3267075"/>
              <a:gd name="connsiteY262" fmla="*/ 458962 h 2336800"/>
              <a:gd name="connsiteX263" fmla="*/ 1335314 w 3267075"/>
              <a:gd name="connsiteY263" fmla="*/ 442272 h 2336800"/>
              <a:gd name="connsiteX264" fmla="*/ 1340984 w 3267075"/>
              <a:gd name="connsiteY264" fmla="*/ 424941 h 2336800"/>
              <a:gd name="connsiteX265" fmla="*/ 1347788 w 3267075"/>
              <a:gd name="connsiteY265" fmla="*/ 406968 h 2336800"/>
              <a:gd name="connsiteX266" fmla="*/ 1355498 w 3267075"/>
              <a:gd name="connsiteY266" fmla="*/ 388566 h 2336800"/>
              <a:gd name="connsiteX267" fmla="*/ 1364116 w 3267075"/>
              <a:gd name="connsiteY267" fmla="*/ 369523 h 2336800"/>
              <a:gd name="connsiteX268" fmla="*/ 1373641 w 3267075"/>
              <a:gd name="connsiteY268" fmla="*/ 349624 h 2336800"/>
              <a:gd name="connsiteX269" fmla="*/ 1384527 w 3267075"/>
              <a:gd name="connsiteY269" fmla="*/ 329083 h 2336800"/>
              <a:gd name="connsiteX270" fmla="*/ 1396320 w 3267075"/>
              <a:gd name="connsiteY270" fmla="*/ 308328 h 2336800"/>
              <a:gd name="connsiteX271" fmla="*/ 1409247 w 3267075"/>
              <a:gd name="connsiteY271" fmla="*/ 286718 h 2336800"/>
              <a:gd name="connsiteX272" fmla="*/ 1423534 w 3267075"/>
              <a:gd name="connsiteY272" fmla="*/ 264251 h 2336800"/>
              <a:gd name="connsiteX273" fmla="*/ 1438275 w 3267075"/>
              <a:gd name="connsiteY273" fmla="*/ 242640 h 2336800"/>
              <a:gd name="connsiteX274" fmla="*/ 1453016 w 3267075"/>
              <a:gd name="connsiteY274" fmla="*/ 222099 h 2336800"/>
              <a:gd name="connsiteX275" fmla="*/ 1467757 w 3267075"/>
              <a:gd name="connsiteY275" fmla="*/ 202414 h 2336800"/>
              <a:gd name="connsiteX276" fmla="*/ 1482498 w 3267075"/>
              <a:gd name="connsiteY276" fmla="*/ 184441 h 2336800"/>
              <a:gd name="connsiteX277" fmla="*/ 1496786 w 3267075"/>
              <a:gd name="connsiteY277" fmla="*/ 167109 h 2336800"/>
              <a:gd name="connsiteX278" fmla="*/ 1511300 w 3267075"/>
              <a:gd name="connsiteY278" fmla="*/ 151062 h 2336800"/>
              <a:gd name="connsiteX279" fmla="*/ 1525588 w 3267075"/>
              <a:gd name="connsiteY279" fmla="*/ 136084 h 2336800"/>
              <a:gd name="connsiteX280" fmla="*/ 1539875 w 3267075"/>
              <a:gd name="connsiteY280" fmla="*/ 121962 h 2336800"/>
              <a:gd name="connsiteX281" fmla="*/ 1553709 w 3267075"/>
              <a:gd name="connsiteY281" fmla="*/ 109124 h 2336800"/>
              <a:gd name="connsiteX282" fmla="*/ 1567543 w 3267075"/>
              <a:gd name="connsiteY282" fmla="*/ 96928 h 2336800"/>
              <a:gd name="connsiteX283" fmla="*/ 1580697 w 3267075"/>
              <a:gd name="connsiteY283" fmla="*/ 85801 h 2336800"/>
              <a:gd name="connsiteX284" fmla="*/ 1593850 w 3267075"/>
              <a:gd name="connsiteY284" fmla="*/ 75531 h 2336800"/>
              <a:gd name="connsiteX285" fmla="*/ 1606323 w 3267075"/>
              <a:gd name="connsiteY285" fmla="*/ 66116 h 2336800"/>
              <a:gd name="connsiteX286" fmla="*/ 1618797 w 3267075"/>
              <a:gd name="connsiteY286" fmla="*/ 57344 h 2336800"/>
              <a:gd name="connsiteX287" fmla="*/ 1630816 w 3267075"/>
              <a:gd name="connsiteY287" fmla="*/ 49427 h 2336800"/>
              <a:gd name="connsiteX288" fmla="*/ 1642156 w 3267075"/>
              <a:gd name="connsiteY288" fmla="*/ 42152 h 2336800"/>
              <a:gd name="connsiteX289" fmla="*/ 1653268 w 3267075"/>
              <a:gd name="connsiteY289" fmla="*/ 35947 h 2336800"/>
              <a:gd name="connsiteX290" fmla="*/ 1663927 w 3267075"/>
              <a:gd name="connsiteY290" fmla="*/ 29956 h 2336800"/>
              <a:gd name="connsiteX291" fmla="*/ 1674132 w 3267075"/>
              <a:gd name="connsiteY291" fmla="*/ 25035 h 2336800"/>
              <a:gd name="connsiteX292" fmla="*/ 1683657 w 3267075"/>
              <a:gd name="connsiteY292" fmla="*/ 20327 h 2336800"/>
              <a:gd name="connsiteX293" fmla="*/ 1692275 w 3267075"/>
              <a:gd name="connsiteY293" fmla="*/ 16476 h 2336800"/>
              <a:gd name="connsiteX294" fmla="*/ 1700666 w 3267075"/>
              <a:gd name="connsiteY294" fmla="*/ 13266 h 2336800"/>
              <a:gd name="connsiteX295" fmla="*/ 1708377 w 3267075"/>
              <a:gd name="connsiteY295" fmla="*/ 10271 h 2336800"/>
              <a:gd name="connsiteX296" fmla="*/ 1715181 w 3267075"/>
              <a:gd name="connsiteY296" fmla="*/ 7703 h 2336800"/>
              <a:gd name="connsiteX297" fmla="*/ 1726973 w 3267075"/>
              <a:gd name="connsiteY297" fmla="*/ 4066 h 2336800"/>
              <a:gd name="connsiteX298" fmla="*/ 1735591 w 3267075"/>
              <a:gd name="connsiteY298" fmla="*/ 1498 h 2336800"/>
              <a:gd name="connsiteX299" fmla="*/ 1741261 w 3267075"/>
              <a:gd name="connsiteY299" fmla="*/ 214 h 2336800"/>
              <a:gd name="connsiteX300" fmla="*/ 1743075 w 3267075"/>
              <a:gd name="connsiteY300" fmla="*/ 0 h 2336800"/>
              <a:gd name="connsiteX301" fmla="*/ 1739673 w 3267075"/>
              <a:gd name="connsiteY301" fmla="*/ 2996 h 2336800"/>
              <a:gd name="connsiteX302" fmla="*/ 1730375 w 3267075"/>
              <a:gd name="connsiteY302" fmla="*/ 11341 h 2336800"/>
              <a:gd name="connsiteX303" fmla="*/ 1723572 w 3267075"/>
              <a:gd name="connsiteY303" fmla="*/ 17974 h 2336800"/>
              <a:gd name="connsiteX304" fmla="*/ 1715634 w 3267075"/>
              <a:gd name="connsiteY304" fmla="*/ 25890 h 2336800"/>
              <a:gd name="connsiteX305" fmla="*/ 1706789 w 3267075"/>
              <a:gd name="connsiteY305" fmla="*/ 35091 h 2336800"/>
              <a:gd name="connsiteX306" fmla="*/ 1696811 w 3267075"/>
              <a:gd name="connsiteY306" fmla="*/ 45361 h 2336800"/>
              <a:gd name="connsiteX307" fmla="*/ 1685698 w 3267075"/>
              <a:gd name="connsiteY307" fmla="*/ 57558 h 2336800"/>
              <a:gd name="connsiteX308" fmla="*/ 1674132 w 3267075"/>
              <a:gd name="connsiteY308" fmla="*/ 70824 h 2336800"/>
              <a:gd name="connsiteX309" fmla="*/ 1661659 w 3267075"/>
              <a:gd name="connsiteY309" fmla="*/ 85374 h 2336800"/>
              <a:gd name="connsiteX310" fmla="*/ 1648506 w 3267075"/>
              <a:gd name="connsiteY310" fmla="*/ 101635 h 2336800"/>
              <a:gd name="connsiteX311" fmla="*/ 1635125 w 3267075"/>
              <a:gd name="connsiteY311" fmla="*/ 118753 h 2336800"/>
              <a:gd name="connsiteX312" fmla="*/ 1621064 w 3267075"/>
              <a:gd name="connsiteY312" fmla="*/ 137582 h 2336800"/>
              <a:gd name="connsiteX313" fmla="*/ 1607004 w 3267075"/>
              <a:gd name="connsiteY313" fmla="*/ 157481 h 2336800"/>
              <a:gd name="connsiteX314" fmla="*/ 1592489 w 3267075"/>
              <a:gd name="connsiteY314" fmla="*/ 178664 h 2336800"/>
              <a:gd name="connsiteX315" fmla="*/ 1577975 w 3267075"/>
              <a:gd name="connsiteY315" fmla="*/ 201344 h 2336800"/>
              <a:gd name="connsiteX316" fmla="*/ 1563461 w 3267075"/>
              <a:gd name="connsiteY316" fmla="*/ 225095 h 2336800"/>
              <a:gd name="connsiteX317" fmla="*/ 1548947 w 3267075"/>
              <a:gd name="connsiteY317" fmla="*/ 250129 h 2336800"/>
              <a:gd name="connsiteX318" fmla="*/ 1535113 w 3267075"/>
              <a:gd name="connsiteY318" fmla="*/ 276447 h 2336800"/>
              <a:gd name="connsiteX319" fmla="*/ 1521052 w 3267075"/>
              <a:gd name="connsiteY319" fmla="*/ 303835 h 2336800"/>
              <a:gd name="connsiteX320" fmla="*/ 1507672 w 3267075"/>
              <a:gd name="connsiteY320" fmla="*/ 332721 h 2336800"/>
              <a:gd name="connsiteX321" fmla="*/ 1494745 w 3267075"/>
              <a:gd name="connsiteY321" fmla="*/ 362676 h 2336800"/>
              <a:gd name="connsiteX322" fmla="*/ 1482725 w 3267075"/>
              <a:gd name="connsiteY322" fmla="*/ 394130 h 2336800"/>
              <a:gd name="connsiteX323" fmla="*/ 1471159 w 3267075"/>
              <a:gd name="connsiteY323" fmla="*/ 426225 h 2336800"/>
              <a:gd name="connsiteX324" fmla="*/ 1460273 w 3267075"/>
              <a:gd name="connsiteY324" fmla="*/ 459818 h 2336800"/>
              <a:gd name="connsiteX325" fmla="*/ 1450522 w 3267075"/>
              <a:gd name="connsiteY325" fmla="*/ 494695 h 2336800"/>
              <a:gd name="connsiteX326" fmla="*/ 1441677 w 3267075"/>
              <a:gd name="connsiteY326" fmla="*/ 530641 h 2336800"/>
              <a:gd name="connsiteX327" fmla="*/ 1433966 w 3267075"/>
              <a:gd name="connsiteY327" fmla="*/ 567658 h 2336800"/>
              <a:gd name="connsiteX328" fmla="*/ 1427616 w 3267075"/>
              <a:gd name="connsiteY328" fmla="*/ 605958 h 2336800"/>
              <a:gd name="connsiteX329" fmla="*/ 1422627 w 3267075"/>
              <a:gd name="connsiteY329" fmla="*/ 645542 h 2336800"/>
              <a:gd name="connsiteX330" fmla="*/ 1418998 w 3267075"/>
              <a:gd name="connsiteY330" fmla="*/ 685982 h 2336800"/>
              <a:gd name="connsiteX331" fmla="*/ 1417184 w 3267075"/>
              <a:gd name="connsiteY331" fmla="*/ 726636 h 2336800"/>
              <a:gd name="connsiteX332" fmla="*/ 1416731 w 3267075"/>
              <a:gd name="connsiteY332" fmla="*/ 767290 h 2336800"/>
              <a:gd name="connsiteX333" fmla="*/ 1418318 w 3267075"/>
              <a:gd name="connsiteY333" fmla="*/ 807088 h 2336800"/>
              <a:gd name="connsiteX334" fmla="*/ 1421493 w 3267075"/>
              <a:gd name="connsiteY334" fmla="*/ 846458 h 2336800"/>
              <a:gd name="connsiteX335" fmla="*/ 1426029 w 3267075"/>
              <a:gd name="connsiteY335" fmla="*/ 885186 h 2336800"/>
              <a:gd name="connsiteX336" fmla="*/ 1431925 w 3267075"/>
              <a:gd name="connsiteY336" fmla="*/ 923273 h 2336800"/>
              <a:gd name="connsiteX337" fmla="*/ 1438956 w 3267075"/>
              <a:gd name="connsiteY337" fmla="*/ 960717 h 2336800"/>
              <a:gd name="connsiteX338" fmla="*/ 1447120 w 3267075"/>
              <a:gd name="connsiteY338" fmla="*/ 997306 h 2336800"/>
              <a:gd name="connsiteX339" fmla="*/ 1456418 w 3267075"/>
              <a:gd name="connsiteY339" fmla="*/ 1033038 h 2336800"/>
              <a:gd name="connsiteX340" fmla="*/ 1466397 w 3267075"/>
              <a:gd name="connsiteY340" fmla="*/ 1067915 h 2336800"/>
              <a:gd name="connsiteX341" fmla="*/ 1477056 w 3267075"/>
              <a:gd name="connsiteY341" fmla="*/ 1101936 h 2336800"/>
              <a:gd name="connsiteX342" fmla="*/ 1488622 w 3267075"/>
              <a:gd name="connsiteY342" fmla="*/ 1134673 h 2336800"/>
              <a:gd name="connsiteX343" fmla="*/ 1500641 w 3267075"/>
              <a:gd name="connsiteY343" fmla="*/ 1166340 h 2336800"/>
              <a:gd name="connsiteX344" fmla="*/ 1513114 w 3267075"/>
              <a:gd name="connsiteY344" fmla="*/ 1197152 h 2336800"/>
              <a:gd name="connsiteX345" fmla="*/ 1525814 w 3267075"/>
              <a:gd name="connsiteY345" fmla="*/ 1226893 h 2336800"/>
              <a:gd name="connsiteX346" fmla="*/ 1538741 w 3267075"/>
              <a:gd name="connsiteY346" fmla="*/ 1255137 h 2336800"/>
              <a:gd name="connsiteX347" fmla="*/ 1551895 w 3267075"/>
              <a:gd name="connsiteY347" fmla="*/ 1282311 h 2336800"/>
              <a:gd name="connsiteX348" fmla="*/ 1565048 w 3267075"/>
              <a:gd name="connsiteY348" fmla="*/ 1307773 h 2336800"/>
              <a:gd name="connsiteX349" fmla="*/ 1577975 w 3267075"/>
              <a:gd name="connsiteY349" fmla="*/ 1332166 h 2336800"/>
              <a:gd name="connsiteX350" fmla="*/ 1590675 w 3267075"/>
              <a:gd name="connsiteY350" fmla="*/ 1355060 h 2336800"/>
              <a:gd name="connsiteX351" fmla="*/ 1602695 w 3267075"/>
              <a:gd name="connsiteY351" fmla="*/ 1376457 h 2336800"/>
              <a:gd name="connsiteX352" fmla="*/ 1614488 w 3267075"/>
              <a:gd name="connsiteY352" fmla="*/ 1396356 h 2336800"/>
              <a:gd name="connsiteX353" fmla="*/ 1625827 w 3267075"/>
              <a:gd name="connsiteY353" fmla="*/ 1414330 h 2336800"/>
              <a:gd name="connsiteX354" fmla="*/ 1636486 w 3267075"/>
              <a:gd name="connsiteY354" fmla="*/ 1430805 h 2336800"/>
              <a:gd name="connsiteX355" fmla="*/ 1646238 w 3267075"/>
              <a:gd name="connsiteY355" fmla="*/ 1445783 h 2336800"/>
              <a:gd name="connsiteX356" fmla="*/ 1654856 w 3267075"/>
              <a:gd name="connsiteY356" fmla="*/ 1458621 h 2336800"/>
              <a:gd name="connsiteX357" fmla="*/ 1662566 w 3267075"/>
              <a:gd name="connsiteY357" fmla="*/ 1469747 h 2336800"/>
              <a:gd name="connsiteX358" fmla="*/ 1669143 w 3267075"/>
              <a:gd name="connsiteY358" fmla="*/ 1478948 h 2336800"/>
              <a:gd name="connsiteX359" fmla="*/ 1678668 w 3267075"/>
              <a:gd name="connsiteY359" fmla="*/ 1491572 h 2336800"/>
              <a:gd name="connsiteX360" fmla="*/ 1681616 w 3267075"/>
              <a:gd name="connsiteY360" fmla="*/ 1495851 h 2336800"/>
              <a:gd name="connsiteX361" fmla="*/ 1683204 w 3267075"/>
              <a:gd name="connsiteY361" fmla="*/ 1489860 h 2336800"/>
              <a:gd name="connsiteX362" fmla="*/ 1688193 w 3267075"/>
              <a:gd name="connsiteY362" fmla="*/ 1473171 h 2336800"/>
              <a:gd name="connsiteX363" fmla="*/ 1696357 w 3267075"/>
              <a:gd name="connsiteY363" fmla="*/ 1446853 h 2336800"/>
              <a:gd name="connsiteX364" fmla="*/ 1707697 w 3267075"/>
              <a:gd name="connsiteY364" fmla="*/ 1412190 h 2336800"/>
              <a:gd name="connsiteX365" fmla="*/ 1714727 w 3267075"/>
              <a:gd name="connsiteY365" fmla="*/ 1391863 h 2336800"/>
              <a:gd name="connsiteX366" fmla="*/ 1722211 w 3267075"/>
              <a:gd name="connsiteY366" fmla="*/ 1369824 h 2336800"/>
              <a:gd name="connsiteX367" fmla="*/ 1730602 w 3267075"/>
              <a:gd name="connsiteY367" fmla="*/ 1346288 h 2336800"/>
              <a:gd name="connsiteX368" fmla="*/ 1739900 w 3267075"/>
              <a:gd name="connsiteY368" fmla="*/ 1321253 h 2336800"/>
              <a:gd name="connsiteX369" fmla="*/ 1749879 w 3267075"/>
              <a:gd name="connsiteY369" fmla="*/ 1295149 h 2336800"/>
              <a:gd name="connsiteX370" fmla="*/ 1760764 w 3267075"/>
              <a:gd name="connsiteY370" fmla="*/ 1267761 h 2336800"/>
              <a:gd name="connsiteX371" fmla="*/ 1772331 w 3267075"/>
              <a:gd name="connsiteY371" fmla="*/ 1239304 h 2336800"/>
              <a:gd name="connsiteX372" fmla="*/ 1784577 w 3267075"/>
              <a:gd name="connsiteY372" fmla="*/ 1210204 h 2336800"/>
              <a:gd name="connsiteX373" fmla="*/ 1797731 w 3267075"/>
              <a:gd name="connsiteY373" fmla="*/ 1180462 h 2336800"/>
              <a:gd name="connsiteX374" fmla="*/ 1811564 w 3267075"/>
              <a:gd name="connsiteY374" fmla="*/ 1150079 h 2336800"/>
              <a:gd name="connsiteX375" fmla="*/ 1826306 w 3267075"/>
              <a:gd name="connsiteY375" fmla="*/ 1119267 h 2336800"/>
              <a:gd name="connsiteX376" fmla="*/ 1841727 w 3267075"/>
              <a:gd name="connsiteY376" fmla="*/ 1088242 h 2336800"/>
              <a:gd name="connsiteX377" fmla="*/ 1857829 w 3267075"/>
              <a:gd name="connsiteY377" fmla="*/ 1056789 h 2336800"/>
              <a:gd name="connsiteX378" fmla="*/ 1874611 w 3267075"/>
              <a:gd name="connsiteY378" fmla="*/ 1025763 h 2336800"/>
              <a:gd name="connsiteX379" fmla="*/ 1892300 w 3267075"/>
              <a:gd name="connsiteY379" fmla="*/ 994738 h 2336800"/>
              <a:gd name="connsiteX380" fmla="*/ 1910897 w 3267075"/>
              <a:gd name="connsiteY380" fmla="*/ 964141 h 2336800"/>
              <a:gd name="connsiteX381" fmla="*/ 1929947 w 3267075"/>
              <a:gd name="connsiteY381" fmla="*/ 933971 h 2336800"/>
              <a:gd name="connsiteX382" fmla="*/ 1949677 w 3267075"/>
              <a:gd name="connsiteY382" fmla="*/ 904230 h 2336800"/>
              <a:gd name="connsiteX383" fmla="*/ 1970541 w 3267075"/>
              <a:gd name="connsiteY383" fmla="*/ 875558 h 2336800"/>
              <a:gd name="connsiteX384" fmla="*/ 1991859 w 3267075"/>
              <a:gd name="connsiteY384" fmla="*/ 847742 h 2336800"/>
              <a:gd name="connsiteX385" fmla="*/ 2014084 w 3267075"/>
              <a:gd name="connsiteY385" fmla="*/ 820782 h 2336800"/>
              <a:gd name="connsiteX386" fmla="*/ 2036989 w 3267075"/>
              <a:gd name="connsiteY386" fmla="*/ 795106 h 2336800"/>
              <a:gd name="connsiteX387" fmla="*/ 2060348 w 3267075"/>
              <a:gd name="connsiteY387" fmla="*/ 770713 h 2336800"/>
              <a:gd name="connsiteX388" fmla="*/ 2084614 w 3267075"/>
              <a:gd name="connsiteY388" fmla="*/ 747819 h 2336800"/>
              <a:gd name="connsiteX389" fmla="*/ 2108200 w 3267075"/>
              <a:gd name="connsiteY389" fmla="*/ 725780 h 2336800"/>
              <a:gd name="connsiteX390" fmla="*/ 2130425 w 3267075"/>
              <a:gd name="connsiteY390" fmla="*/ 703313 h 2336800"/>
              <a:gd name="connsiteX391" fmla="*/ 2150609 w 3267075"/>
              <a:gd name="connsiteY391" fmla="*/ 680633 h 2336800"/>
              <a:gd name="connsiteX392" fmla="*/ 2169432 w 3267075"/>
              <a:gd name="connsiteY392" fmla="*/ 658380 h 2336800"/>
              <a:gd name="connsiteX393" fmla="*/ 2186441 w 3267075"/>
              <a:gd name="connsiteY393" fmla="*/ 635700 h 2336800"/>
              <a:gd name="connsiteX394" fmla="*/ 2202089 w 3267075"/>
              <a:gd name="connsiteY394" fmla="*/ 613233 h 2336800"/>
              <a:gd name="connsiteX395" fmla="*/ 2216150 w 3267075"/>
              <a:gd name="connsiteY395" fmla="*/ 590766 h 2336800"/>
              <a:gd name="connsiteX396" fmla="*/ 2229077 w 3267075"/>
              <a:gd name="connsiteY396" fmla="*/ 568514 h 2336800"/>
              <a:gd name="connsiteX397" fmla="*/ 2240416 w 3267075"/>
              <a:gd name="connsiteY397" fmla="*/ 546475 h 2336800"/>
              <a:gd name="connsiteX398" fmla="*/ 2250622 w 3267075"/>
              <a:gd name="connsiteY398" fmla="*/ 524650 h 2336800"/>
              <a:gd name="connsiteX399" fmla="*/ 2259920 w 3267075"/>
              <a:gd name="connsiteY399" fmla="*/ 503253 h 2336800"/>
              <a:gd name="connsiteX400" fmla="*/ 2268084 w 3267075"/>
              <a:gd name="connsiteY400" fmla="*/ 482284 h 2336800"/>
              <a:gd name="connsiteX401" fmla="*/ 2274888 w 3267075"/>
              <a:gd name="connsiteY401" fmla="*/ 461530 h 2336800"/>
              <a:gd name="connsiteX402" fmla="*/ 2281011 w 3267075"/>
              <a:gd name="connsiteY402" fmla="*/ 441630 h 2336800"/>
              <a:gd name="connsiteX403" fmla="*/ 2286227 w 3267075"/>
              <a:gd name="connsiteY403" fmla="*/ 422159 h 2336800"/>
              <a:gd name="connsiteX404" fmla="*/ 2290536 w 3267075"/>
              <a:gd name="connsiteY404" fmla="*/ 403544 h 2336800"/>
              <a:gd name="connsiteX405" fmla="*/ 2293938 w 3267075"/>
              <a:gd name="connsiteY405" fmla="*/ 385357 h 2336800"/>
              <a:gd name="connsiteX406" fmla="*/ 2296886 w 3267075"/>
              <a:gd name="connsiteY406" fmla="*/ 368025 h 2336800"/>
              <a:gd name="connsiteX407" fmla="*/ 2298927 w 3267075"/>
              <a:gd name="connsiteY407" fmla="*/ 351336 h 2336800"/>
              <a:gd name="connsiteX408" fmla="*/ 2300741 w 3267075"/>
              <a:gd name="connsiteY408" fmla="*/ 335716 h 2336800"/>
              <a:gd name="connsiteX409" fmla="*/ 2301875 w 3267075"/>
              <a:gd name="connsiteY409" fmla="*/ 320738 h 2336800"/>
              <a:gd name="connsiteX410" fmla="*/ 2302329 w 3267075"/>
              <a:gd name="connsiteY410" fmla="*/ 306831 h 2336800"/>
              <a:gd name="connsiteX411" fmla="*/ 2302555 w 3267075"/>
              <a:gd name="connsiteY411" fmla="*/ 294206 h 2336800"/>
              <a:gd name="connsiteX412" fmla="*/ 2302555 w 3267075"/>
              <a:gd name="connsiteY412" fmla="*/ 282438 h 2336800"/>
              <a:gd name="connsiteX413" fmla="*/ 2302329 w 3267075"/>
              <a:gd name="connsiteY413" fmla="*/ 271954 h 2336800"/>
              <a:gd name="connsiteX414" fmla="*/ 2302102 w 3267075"/>
              <a:gd name="connsiteY414" fmla="*/ 262539 h 2336800"/>
              <a:gd name="connsiteX415" fmla="*/ 2301195 w 3267075"/>
              <a:gd name="connsiteY415" fmla="*/ 254622 h 2336800"/>
              <a:gd name="connsiteX416" fmla="*/ 2300741 w 3267075"/>
              <a:gd name="connsiteY416" fmla="*/ 247989 h 2336800"/>
              <a:gd name="connsiteX417" fmla="*/ 2299607 w 3267075"/>
              <a:gd name="connsiteY417" fmla="*/ 238789 h 2336800"/>
              <a:gd name="connsiteX418" fmla="*/ 2299154 w 3267075"/>
              <a:gd name="connsiteY418" fmla="*/ 235579 h 2336800"/>
              <a:gd name="connsiteX419" fmla="*/ 2299607 w 3267075"/>
              <a:gd name="connsiteY419" fmla="*/ 236435 h 2336800"/>
              <a:gd name="connsiteX420" fmla="*/ 2301648 w 3267075"/>
              <a:gd name="connsiteY420" fmla="*/ 239645 h 2336800"/>
              <a:gd name="connsiteX421" fmla="*/ 2303916 w 3267075"/>
              <a:gd name="connsiteY421" fmla="*/ 245208 h 2336800"/>
              <a:gd name="connsiteX422" fmla="*/ 2306864 w 3267075"/>
              <a:gd name="connsiteY422" fmla="*/ 252911 h 2336800"/>
              <a:gd name="connsiteX423" fmla="*/ 2310266 w 3267075"/>
              <a:gd name="connsiteY423" fmla="*/ 262753 h 2336800"/>
              <a:gd name="connsiteX424" fmla="*/ 2313668 w 3267075"/>
              <a:gd name="connsiteY424" fmla="*/ 274949 h 2336800"/>
              <a:gd name="connsiteX425" fmla="*/ 2315482 w 3267075"/>
              <a:gd name="connsiteY425" fmla="*/ 282010 h 2336800"/>
              <a:gd name="connsiteX426" fmla="*/ 2317297 w 3267075"/>
              <a:gd name="connsiteY426" fmla="*/ 289499 h 2336800"/>
              <a:gd name="connsiteX427" fmla="*/ 2318884 w 3267075"/>
              <a:gd name="connsiteY427" fmla="*/ 297630 h 2336800"/>
              <a:gd name="connsiteX428" fmla="*/ 2320472 w 3267075"/>
              <a:gd name="connsiteY428" fmla="*/ 306403 h 2336800"/>
              <a:gd name="connsiteX429" fmla="*/ 2322059 w 3267075"/>
              <a:gd name="connsiteY429" fmla="*/ 315603 h 2336800"/>
              <a:gd name="connsiteX430" fmla="*/ 2323420 w 3267075"/>
              <a:gd name="connsiteY430" fmla="*/ 325446 h 2336800"/>
              <a:gd name="connsiteX431" fmla="*/ 2324554 w 3267075"/>
              <a:gd name="connsiteY431" fmla="*/ 335930 h 2336800"/>
              <a:gd name="connsiteX432" fmla="*/ 2325461 w 3267075"/>
              <a:gd name="connsiteY432" fmla="*/ 347057 h 2336800"/>
              <a:gd name="connsiteX433" fmla="*/ 2326368 w 3267075"/>
              <a:gd name="connsiteY433" fmla="*/ 358825 h 2336800"/>
              <a:gd name="connsiteX434" fmla="*/ 2326822 w 3267075"/>
              <a:gd name="connsiteY434" fmla="*/ 371235 h 2336800"/>
              <a:gd name="connsiteX435" fmla="*/ 2327048 w 3267075"/>
              <a:gd name="connsiteY435" fmla="*/ 384073 h 2336800"/>
              <a:gd name="connsiteX436" fmla="*/ 2326822 w 3267075"/>
              <a:gd name="connsiteY436" fmla="*/ 397767 h 2336800"/>
              <a:gd name="connsiteX437" fmla="*/ 2326595 w 3267075"/>
              <a:gd name="connsiteY437" fmla="*/ 411889 h 2336800"/>
              <a:gd name="connsiteX438" fmla="*/ 2325688 w 3267075"/>
              <a:gd name="connsiteY438" fmla="*/ 426653 h 2336800"/>
              <a:gd name="connsiteX439" fmla="*/ 2324780 w 3267075"/>
              <a:gd name="connsiteY439" fmla="*/ 442058 h 2336800"/>
              <a:gd name="connsiteX440" fmla="*/ 2323193 w 3267075"/>
              <a:gd name="connsiteY440" fmla="*/ 458106 h 2336800"/>
              <a:gd name="connsiteX441" fmla="*/ 2320925 w 3267075"/>
              <a:gd name="connsiteY441" fmla="*/ 474796 h 2336800"/>
              <a:gd name="connsiteX442" fmla="*/ 2318657 w 3267075"/>
              <a:gd name="connsiteY442" fmla="*/ 492127 h 2336800"/>
              <a:gd name="connsiteX443" fmla="*/ 2315709 w 3267075"/>
              <a:gd name="connsiteY443" fmla="*/ 510314 h 2336800"/>
              <a:gd name="connsiteX444" fmla="*/ 2312307 w 3267075"/>
              <a:gd name="connsiteY444" fmla="*/ 528929 h 2336800"/>
              <a:gd name="connsiteX445" fmla="*/ 2308225 w 3267075"/>
              <a:gd name="connsiteY445" fmla="*/ 547973 h 2336800"/>
              <a:gd name="connsiteX446" fmla="*/ 2302782 w 3267075"/>
              <a:gd name="connsiteY446" fmla="*/ 567444 h 2336800"/>
              <a:gd name="connsiteX447" fmla="*/ 2296432 w 3267075"/>
              <a:gd name="connsiteY447" fmla="*/ 587343 h 2336800"/>
              <a:gd name="connsiteX448" fmla="*/ 2289629 w 3267075"/>
              <a:gd name="connsiteY448" fmla="*/ 607242 h 2336800"/>
              <a:gd name="connsiteX449" fmla="*/ 2281691 w 3267075"/>
              <a:gd name="connsiteY449" fmla="*/ 627141 h 2336800"/>
              <a:gd name="connsiteX450" fmla="*/ 2273073 w 3267075"/>
              <a:gd name="connsiteY450" fmla="*/ 647254 h 2336800"/>
              <a:gd name="connsiteX451" fmla="*/ 2263775 w 3267075"/>
              <a:gd name="connsiteY451" fmla="*/ 667367 h 2336800"/>
              <a:gd name="connsiteX452" fmla="*/ 2253797 w 3267075"/>
              <a:gd name="connsiteY452" fmla="*/ 687266 h 2336800"/>
              <a:gd name="connsiteX453" fmla="*/ 2243591 w 3267075"/>
              <a:gd name="connsiteY453" fmla="*/ 707165 h 2336800"/>
              <a:gd name="connsiteX454" fmla="*/ 2232705 w 3267075"/>
              <a:gd name="connsiteY454" fmla="*/ 726850 h 2336800"/>
              <a:gd name="connsiteX455" fmla="*/ 2221820 w 3267075"/>
              <a:gd name="connsiteY455" fmla="*/ 746321 h 2336800"/>
              <a:gd name="connsiteX456" fmla="*/ 2210480 w 3267075"/>
              <a:gd name="connsiteY456" fmla="*/ 765792 h 2336800"/>
              <a:gd name="connsiteX457" fmla="*/ 2199141 w 3267075"/>
              <a:gd name="connsiteY457" fmla="*/ 784621 h 2336800"/>
              <a:gd name="connsiteX458" fmla="*/ 2187348 w 3267075"/>
              <a:gd name="connsiteY458" fmla="*/ 803023 h 2336800"/>
              <a:gd name="connsiteX459" fmla="*/ 2175782 w 3267075"/>
              <a:gd name="connsiteY459" fmla="*/ 820782 h 2336800"/>
              <a:gd name="connsiteX460" fmla="*/ 2163989 w 3267075"/>
              <a:gd name="connsiteY460" fmla="*/ 838327 h 2336800"/>
              <a:gd name="connsiteX461" fmla="*/ 2152423 w 3267075"/>
              <a:gd name="connsiteY461" fmla="*/ 855231 h 2336800"/>
              <a:gd name="connsiteX462" fmla="*/ 2141084 w 3267075"/>
              <a:gd name="connsiteY462" fmla="*/ 871278 h 2336800"/>
              <a:gd name="connsiteX463" fmla="*/ 2130198 w 3267075"/>
              <a:gd name="connsiteY463" fmla="*/ 886684 h 2336800"/>
              <a:gd name="connsiteX464" fmla="*/ 2119313 w 3267075"/>
              <a:gd name="connsiteY464" fmla="*/ 901662 h 2336800"/>
              <a:gd name="connsiteX465" fmla="*/ 2099355 w 3267075"/>
              <a:gd name="connsiteY465" fmla="*/ 928408 h 2336800"/>
              <a:gd name="connsiteX466" fmla="*/ 2081439 w 3267075"/>
              <a:gd name="connsiteY466" fmla="*/ 951303 h 2336800"/>
              <a:gd name="connsiteX467" fmla="*/ 2066471 w 3267075"/>
              <a:gd name="connsiteY467" fmla="*/ 970132 h 2336800"/>
              <a:gd name="connsiteX468" fmla="*/ 2055132 w 3267075"/>
              <a:gd name="connsiteY468" fmla="*/ 984040 h 2336800"/>
              <a:gd name="connsiteX469" fmla="*/ 2047648 w 3267075"/>
              <a:gd name="connsiteY469" fmla="*/ 992812 h 2336800"/>
              <a:gd name="connsiteX470" fmla="*/ 2045380 w 3267075"/>
              <a:gd name="connsiteY470" fmla="*/ 995808 h 2336800"/>
              <a:gd name="connsiteX471" fmla="*/ 2049236 w 3267075"/>
              <a:gd name="connsiteY471" fmla="*/ 992812 h 2336800"/>
              <a:gd name="connsiteX472" fmla="*/ 2060802 w 3267075"/>
              <a:gd name="connsiteY472" fmla="*/ 983826 h 2336800"/>
              <a:gd name="connsiteX473" fmla="*/ 2079852 w 3267075"/>
              <a:gd name="connsiteY473" fmla="*/ 969918 h 2336800"/>
              <a:gd name="connsiteX474" fmla="*/ 2105025 w 3267075"/>
              <a:gd name="connsiteY474" fmla="*/ 951517 h 2336800"/>
              <a:gd name="connsiteX475" fmla="*/ 2120220 w 3267075"/>
              <a:gd name="connsiteY475" fmla="*/ 940818 h 2336800"/>
              <a:gd name="connsiteX476" fmla="*/ 2136548 w 3267075"/>
              <a:gd name="connsiteY476" fmla="*/ 929478 h 2336800"/>
              <a:gd name="connsiteX477" fmla="*/ 2154464 w 3267075"/>
              <a:gd name="connsiteY477" fmla="*/ 917068 h 2336800"/>
              <a:gd name="connsiteX478" fmla="*/ 2173288 w 3267075"/>
              <a:gd name="connsiteY478" fmla="*/ 903802 h 2336800"/>
              <a:gd name="connsiteX479" fmla="*/ 2193925 w 3267075"/>
              <a:gd name="connsiteY479" fmla="*/ 890108 h 2336800"/>
              <a:gd name="connsiteX480" fmla="*/ 2215243 w 3267075"/>
              <a:gd name="connsiteY480" fmla="*/ 875986 h 2336800"/>
              <a:gd name="connsiteX481" fmla="*/ 2237922 w 3267075"/>
              <a:gd name="connsiteY481" fmla="*/ 861008 h 2336800"/>
              <a:gd name="connsiteX482" fmla="*/ 2261507 w 3267075"/>
              <a:gd name="connsiteY482" fmla="*/ 846030 h 2336800"/>
              <a:gd name="connsiteX483" fmla="*/ 2286000 w 3267075"/>
              <a:gd name="connsiteY483" fmla="*/ 830625 h 2336800"/>
              <a:gd name="connsiteX484" fmla="*/ 2311627 w 3267075"/>
              <a:gd name="connsiteY484" fmla="*/ 814791 h 2336800"/>
              <a:gd name="connsiteX485" fmla="*/ 2337934 w 3267075"/>
              <a:gd name="connsiteY485" fmla="*/ 798957 h 2336800"/>
              <a:gd name="connsiteX486" fmla="*/ 2364922 w 3267075"/>
              <a:gd name="connsiteY486" fmla="*/ 783124 h 2336800"/>
              <a:gd name="connsiteX487" fmla="*/ 2392589 w 3267075"/>
              <a:gd name="connsiteY487" fmla="*/ 767290 h 2336800"/>
              <a:gd name="connsiteX488" fmla="*/ 2421164 w 3267075"/>
              <a:gd name="connsiteY488" fmla="*/ 751456 h 2336800"/>
              <a:gd name="connsiteX489" fmla="*/ 2449966 w 3267075"/>
              <a:gd name="connsiteY489" fmla="*/ 735837 h 2336800"/>
              <a:gd name="connsiteX490" fmla="*/ 2479448 w 3267075"/>
              <a:gd name="connsiteY490" fmla="*/ 720431 h 2336800"/>
              <a:gd name="connsiteX491" fmla="*/ 2509384 w 3267075"/>
              <a:gd name="connsiteY491" fmla="*/ 705239 h 2336800"/>
              <a:gd name="connsiteX492" fmla="*/ 2539320 w 3267075"/>
              <a:gd name="connsiteY492" fmla="*/ 690689 h 2336800"/>
              <a:gd name="connsiteX493" fmla="*/ 2569936 w 3267075"/>
              <a:gd name="connsiteY493" fmla="*/ 676567 h 2336800"/>
              <a:gd name="connsiteX494" fmla="*/ 2600552 w 3267075"/>
              <a:gd name="connsiteY494" fmla="*/ 662873 h 2336800"/>
              <a:gd name="connsiteX495" fmla="*/ 2631395 w 3267075"/>
              <a:gd name="connsiteY495" fmla="*/ 650035 h 2336800"/>
              <a:gd name="connsiteX496" fmla="*/ 2662238 w 3267075"/>
              <a:gd name="connsiteY496" fmla="*/ 637839 h 2336800"/>
              <a:gd name="connsiteX497" fmla="*/ 2693080 w 3267075"/>
              <a:gd name="connsiteY497" fmla="*/ 626285 h 2336800"/>
              <a:gd name="connsiteX498" fmla="*/ 2724150 w 3267075"/>
              <a:gd name="connsiteY498" fmla="*/ 615587 h 2336800"/>
              <a:gd name="connsiteX499" fmla="*/ 2754313 w 3267075"/>
              <a:gd name="connsiteY499" fmla="*/ 604460 h 2336800"/>
              <a:gd name="connsiteX500" fmla="*/ 2784248 w 3267075"/>
              <a:gd name="connsiteY500" fmla="*/ 591194 h 2336800"/>
              <a:gd name="connsiteX501" fmla="*/ 2813504 w 3267075"/>
              <a:gd name="connsiteY501" fmla="*/ 576216 h 2336800"/>
              <a:gd name="connsiteX502" fmla="*/ 2841625 w 3267075"/>
              <a:gd name="connsiteY502" fmla="*/ 559527 h 2336800"/>
              <a:gd name="connsiteX503" fmla="*/ 2869293 w 3267075"/>
              <a:gd name="connsiteY503" fmla="*/ 541126 h 2336800"/>
              <a:gd name="connsiteX504" fmla="*/ 2896054 w 3267075"/>
              <a:gd name="connsiteY504" fmla="*/ 521227 h 2336800"/>
              <a:gd name="connsiteX505" fmla="*/ 2922134 w 3267075"/>
              <a:gd name="connsiteY505" fmla="*/ 500044 h 2336800"/>
              <a:gd name="connsiteX506" fmla="*/ 2947534 w 3267075"/>
              <a:gd name="connsiteY506" fmla="*/ 478005 h 2336800"/>
              <a:gd name="connsiteX507" fmla="*/ 2971800 w 3267075"/>
              <a:gd name="connsiteY507" fmla="*/ 454896 h 2336800"/>
              <a:gd name="connsiteX508" fmla="*/ 2995613 w 3267075"/>
              <a:gd name="connsiteY508" fmla="*/ 431146 h 2336800"/>
              <a:gd name="connsiteX509" fmla="*/ 3018291 w 3267075"/>
              <a:gd name="connsiteY509" fmla="*/ 406540 h 2336800"/>
              <a:gd name="connsiteX510" fmla="*/ 3040063 w 3267075"/>
              <a:gd name="connsiteY510" fmla="*/ 381505 h 2336800"/>
              <a:gd name="connsiteX511" fmla="*/ 3061154 w 3267075"/>
              <a:gd name="connsiteY511" fmla="*/ 356257 h 2336800"/>
              <a:gd name="connsiteX512" fmla="*/ 3081111 w 3267075"/>
              <a:gd name="connsiteY512" fmla="*/ 330581 h 2336800"/>
              <a:gd name="connsiteX513" fmla="*/ 3100388 w 3267075"/>
              <a:gd name="connsiteY513" fmla="*/ 305333 h 2336800"/>
              <a:gd name="connsiteX514" fmla="*/ 3118757 w 3267075"/>
              <a:gd name="connsiteY514" fmla="*/ 280085 h 2336800"/>
              <a:gd name="connsiteX515" fmla="*/ 3135993 w 3267075"/>
              <a:gd name="connsiteY515" fmla="*/ 254836 h 2336800"/>
              <a:gd name="connsiteX516" fmla="*/ 3152322 w 3267075"/>
              <a:gd name="connsiteY516" fmla="*/ 230230 h 2336800"/>
              <a:gd name="connsiteX517" fmla="*/ 3167516 w 3267075"/>
              <a:gd name="connsiteY517" fmla="*/ 206479 h 2336800"/>
              <a:gd name="connsiteX518" fmla="*/ 3181804 w 3267075"/>
              <a:gd name="connsiteY518" fmla="*/ 183371 h 2336800"/>
              <a:gd name="connsiteX519" fmla="*/ 3195184 w 3267075"/>
              <a:gd name="connsiteY519" fmla="*/ 161332 h 2336800"/>
              <a:gd name="connsiteX520" fmla="*/ 3207204 w 3267075"/>
              <a:gd name="connsiteY520" fmla="*/ 140149 h 2336800"/>
              <a:gd name="connsiteX521" fmla="*/ 3218316 w 3267075"/>
              <a:gd name="connsiteY521" fmla="*/ 120464 h 2336800"/>
              <a:gd name="connsiteX522" fmla="*/ 3228295 w 3267075"/>
              <a:gd name="connsiteY522" fmla="*/ 102063 h 2336800"/>
              <a:gd name="connsiteX523" fmla="*/ 3237366 w 3267075"/>
              <a:gd name="connsiteY523" fmla="*/ 85160 h 2336800"/>
              <a:gd name="connsiteX524" fmla="*/ 3245304 w 3267075"/>
              <a:gd name="connsiteY524" fmla="*/ 69968 h 2336800"/>
              <a:gd name="connsiteX525" fmla="*/ 3251880 w 3267075"/>
              <a:gd name="connsiteY525" fmla="*/ 56916 h 2336800"/>
              <a:gd name="connsiteX526" fmla="*/ 3257323 w 3267075"/>
              <a:gd name="connsiteY526" fmla="*/ 45789 h 2336800"/>
              <a:gd name="connsiteX527" fmla="*/ 3264807 w 3267075"/>
              <a:gd name="connsiteY527" fmla="*/ 30384 h 2336800"/>
              <a:gd name="connsiteX528" fmla="*/ 3267075 w 3267075"/>
              <a:gd name="connsiteY528" fmla="*/ 24821 h 2336800"/>
              <a:gd name="connsiteX529" fmla="*/ 3266848 w 3267075"/>
              <a:gd name="connsiteY529" fmla="*/ 27174 h 2336800"/>
              <a:gd name="connsiteX530" fmla="*/ 3265488 w 3267075"/>
              <a:gd name="connsiteY530" fmla="*/ 33807 h 2336800"/>
              <a:gd name="connsiteX531" fmla="*/ 3262766 w 3267075"/>
              <a:gd name="connsiteY531" fmla="*/ 44934 h 2336800"/>
              <a:gd name="connsiteX532" fmla="*/ 3259138 w 3267075"/>
              <a:gd name="connsiteY532" fmla="*/ 60125 h 2336800"/>
              <a:gd name="connsiteX533" fmla="*/ 3256870 w 3267075"/>
              <a:gd name="connsiteY533" fmla="*/ 69112 h 2336800"/>
              <a:gd name="connsiteX534" fmla="*/ 3254148 w 3267075"/>
              <a:gd name="connsiteY534" fmla="*/ 78954 h 2336800"/>
              <a:gd name="connsiteX535" fmla="*/ 3250747 w 3267075"/>
              <a:gd name="connsiteY535" fmla="*/ 89867 h 2336800"/>
              <a:gd name="connsiteX536" fmla="*/ 3247345 w 3267075"/>
              <a:gd name="connsiteY536" fmla="*/ 101849 h 2336800"/>
              <a:gd name="connsiteX537" fmla="*/ 3243036 w 3267075"/>
              <a:gd name="connsiteY537" fmla="*/ 114687 h 2336800"/>
              <a:gd name="connsiteX538" fmla="*/ 3238273 w 3267075"/>
              <a:gd name="connsiteY538" fmla="*/ 128167 h 2336800"/>
              <a:gd name="connsiteX539" fmla="*/ 3233284 w 3267075"/>
              <a:gd name="connsiteY539" fmla="*/ 142931 h 2336800"/>
              <a:gd name="connsiteX540" fmla="*/ 3227614 w 3267075"/>
              <a:gd name="connsiteY540" fmla="*/ 157909 h 2336800"/>
              <a:gd name="connsiteX541" fmla="*/ 3221491 w 3267075"/>
              <a:gd name="connsiteY541" fmla="*/ 174170 h 2336800"/>
              <a:gd name="connsiteX542" fmla="*/ 3214688 w 3267075"/>
              <a:gd name="connsiteY542" fmla="*/ 191074 h 2336800"/>
              <a:gd name="connsiteX543" fmla="*/ 3206977 w 3267075"/>
              <a:gd name="connsiteY543" fmla="*/ 208619 h 2336800"/>
              <a:gd name="connsiteX544" fmla="*/ 3199039 w 3267075"/>
              <a:gd name="connsiteY544" fmla="*/ 227020 h 2336800"/>
              <a:gd name="connsiteX545" fmla="*/ 3190422 w 3267075"/>
              <a:gd name="connsiteY545" fmla="*/ 246064 h 2336800"/>
              <a:gd name="connsiteX546" fmla="*/ 3180897 w 3267075"/>
              <a:gd name="connsiteY546" fmla="*/ 265749 h 2336800"/>
              <a:gd name="connsiteX547" fmla="*/ 3170691 w 3267075"/>
              <a:gd name="connsiteY547" fmla="*/ 286290 h 2336800"/>
              <a:gd name="connsiteX548" fmla="*/ 3159805 w 3267075"/>
              <a:gd name="connsiteY548" fmla="*/ 307045 h 2336800"/>
              <a:gd name="connsiteX549" fmla="*/ 3148239 w 3267075"/>
              <a:gd name="connsiteY549" fmla="*/ 328869 h 2336800"/>
              <a:gd name="connsiteX550" fmla="*/ 3135993 w 3267075"/>
              <a:gd name="connsiteY550" fmla="*/ 351122 h 2336800"/>
              <a:gd name="connsiteX551" fmla="*/ 3122839 w 3267075"/>
              <a:gd name="connsiteY551" fmla="*/ 373803 h 2336800"/>
              <a:gd name="connsiteX552" fmla="*/ 3108552 w 3267075"/>
              <a:gd name="connsiteY552" fmla="*/ 397339 h 2336800"/>
              <a:gd name="connsiteX553" fmla="*/ 3093811 w 3267075"/>
              <a:gd name="connsiteY553" fmla="*/ 421090 h 2336800"/>
              <a:gd name="connsiteX554" fmla="*/ 3077936 w 3267075"/>
              <a:gd name="connsiteY554" fmla="*/ 445696 h 2336800"/>
              <a:gd name="connsiteX555" fmla="*/ 3061380 w 3267075"/>
              <a:gd name="connsiteY555" fmla="*/ 470516 h 2336800"/>
              <a:gd name="connsiteX556" fmla="*/ 3043691 w 3267075"/>
              <a:gd name="connsiteY556" fmla="*/ 495978 h 2336800"/>
              <a:gd name="connsiteX557" fmla="*/ 3024868 w 3267075"/>
              <a:gd name="connsiteY557" fmla="*/ 521013 h 2336800"/>
              <a:gd name="connsiteX558" fmla="*/ 3004230 w 3267075"/>
              <a:gd name="connsiteY558" fmla="*/ 545619 h 2336800"/>
              <a:gd name="connsiteX559" fmla="*/ 2982005 w 3267075"/>
              <a:gd name="connsiteY559" fmla="*/ 569155 h 2336800"/>
              <a:gd name="connsiteX560" fmla="*/ 2958193 w 3267075"/>
              <a:gd name="connsiteY560" fmla="*/ 592264 h 2336800"/>
              <a:gd name="connsiteX561" fmla="*/ 2933247 w 3267075"/>
              <a:gd name="connsiteY561" fmla="*/ 614945 h 2336800"/>
              <a:gd name="connsiteX562" fmla="*/ 2906939 w 3267075"/>
              <a:gd name="connsiteY562" fmla="*/ 636769 h 2336800"/>
              <a:gd name="connsiteX563" fmla="*/ 2879272 w 3267075"/>
              <a:gd name="connsiteY563" fmla="*/ 658380 h 2336800"/>
              <a:gd name="connsiteX564" fmla="*/ 2850470 w 3267075"/>
              <a:gd name="connsiteY564" fmla="*/ 679349 h 2336800"/>
              <a:gd name="connsiteX565" fmla="*/ 2820988 w 3267075"/>
              <a:gd name="connsiteY565" fmla="*/ 699676 h 2336800"/>
              <a:gd name="connsiteX566" fmla="*/ 2790145 w 3267075"/>
              <a:gd name="connsiteY566" fmla="*/ 719789 h 2336800"/>
              <a:gd name="connsiteX567" fmla="*/ 2758848 w 3267075"/>
              <a:gd name="connsiteY567" fmla="*/ 739688 h 2336800"/>
              <a:gd name="connsiteX568" fmla="*/ 2726872 w 3267075"/>
              <a:gd name="connsiteY568" fmla="*/ 758945 h 2336800"/>
              <a:gd name="connsiteX569" fmla="*/ 2693761 w 3267075"/>
              <a:gd name="connsiteY569" fmla="*/ 778416 h 2336800"/>
              <a:gd name="connsiteX570" fmla="*/ 2660650 w 3267075"/>
              <a:gd name="connsiteY570" fmla="*/ 797245 h 2336800"/>
              <a:gd name="connsiteX571" fmla="*/ 2626632 w 3267075"/>
              <a:gd name="connsiteY571" fmla="*/ 816075 h 2336800"/>
              <a:gd name="connsiteX572" fmla="*/ 2592841 w 3267075"/>
              <a:gd name="connsiteY572" fmla="*/ 834690 h 2336800"/>
              <a:gd name="connsiteX573" fmla="*/ 2523672 w 3267075"/>
              <a:gd name="connsiteY573" fmla="*/ 871706 h 2336800"/>
              <a:gd name="connsiteX574" fmla="*/ 2454502 w 3267075"/>
              <a:gd name="connsiteY574" fmla="*/ 908723 h 2336800"/>
              <a:gd name="connsiteX575" fmla="*/ 2420030 w 3267075"/>
              <a:gd name="connsiteY575" fmla="*/ 927338 h 2336800"/>
              <a:gd name="connsiteX576" fmla="*/ 2385786 w 3267075"/>
              <a:gd name="connsiteY576" fmla="*/ 946167 h 2336800"/>
              <a:gd name="connsiteX577" fmla="*/ 2351768 w 3267075"/>
              <a:gd name="connsiteY577" fmla="*/ 964997 h 2336800"/>
              <a:gd name="connsiteX578" fmla="*/ 2318204 w 3267075"/>
              <a:gd name="connsiteY578" fmla="*/ 983826 h 2336800"/>
              <a:gd name="connsiteX579" fmla="*/ 2285320 w 3267075"/>
              <a:gd name="connsiteY579" fmla="*/ 1003297 h 2336800"/>
              <a:gd name="connsiteX580" fmla="*/ 2252889 w 3267075"/>
              <a:gd name="connsiteY580" fmla="*/ 1022768 h 2336800"/>
              <a:gd name="connsiteX581" fmla="*/ 2220913 w 3267075"/>
              <a:gd name="connsiteY581" fmla="*/ 1042667 h 2336800"/>
              <a:gd name="connsiteX582" fmla="*/ 2190070 w 3267075"/>
              <a:gd name="connsiteY582" fmla="*/ 1062994 h 2336800"/>
              <a:gd name="connsiteX583" fmla="*/ 2159907 w 3267075"/>
              <a:gd name="connsiteY583" fmla="*/ 1083749 h 2336800"/>
              <a:gd name="connsiteX584" fmla="*/ 2130879 w 3267075"/>
              <a:gd name="connsiteY584" fmla="*/ 1104932 h 2336800"/>
              <a:gd name="connsiteX585" fmla="*/ 2102757 w 3267075"/>
              <a:gd name="connsiteY585" fmla="*/ 1126542 h 2336800"/>
              <a:gd name="connsiteX586" fmla="*/ 2075996 w 3267075"/>
              <a:gd name="connsiteY586" fmla="*/ 1148795 h 2336800"/>
              <a:gd name="connsiteX587" fmla="*/ 2050596 w 3267075"/>
              <a:gd name="connsiteY587" fmla="*/ 1171904 h 2336800"/>
              <a:gd name="connsiteX588" fmla="*/ 2027237 w 3267075"/>
              <a:gd name="connsiteY588" fmla="*/ 1196724 h 2336800"/>
              <a:gd name="connsiteX589" fmla="*/ 2005920 w 3267075"/>
              <a:gd name="connsiteY589" fmla="*/ 1223042 h 2336800"/>
              <a:gd name="connsiteX590" fmla="*/ 1986189 w 3267075"/>
              <a:gd name="connsiteY590" fmla="*/ 1250430 h 2336800"/>
              <a:gd name="connsiteX591" fmla="*/ 1968047 w 3267075"/>
              <a:gd name="connsiteY591" fmla="*/ 1278674 h 2336800"/>
              <a:gd name="connsiteX592" fmla="*/ 1951718 w 3267075"/>
              <a:gd name="connsiteY592" fmla="*/ 1308201 h 2336800"/>
              <a:gd name="connsiteX593" fmla="*/ 1936977 w 3267075"/>
              <a:gd name="connsiteY593" fmla="*/ 1338371 h 2336800"/>
              <a:gd name="connsiteX594" fmla="*/ 1923370 w 3267075"/>
              <a:gd name="connsiteY594" fmla="*/ 1369182 h 2336800"/>
              <a:gd name="connsiteX595" fmla="*/ 1911577 w 3267075"/>
              <a:gd name="connsiteY595" fmla="*/ 1400422 h 2336800"/>
              <a:gd name="connsiteX596" fmla="*/ 1900691 w 3267075"/>
              <a:gd name="connsiteY596" fmla="*/ 1432303 h 2336800"/>
              <a:gd name="connsiteX597" fmla="*/ 1891620 w 3267075"/>
              <a:gd name="connsiteY597" fmla="*/ 1464184 h 2336800"/>
              <a:gd name="connsiteX598" fmla="*/ 1883456 w 3267075"/>
              <a:gd name="connsiteY598" fmla="*/ 1495851 h 2336800"/>
              <a:gd name="connsiteX599" fmla="*/ 1876198 w 3267075"/>
              <a:gd name="connsiteY599" fmla="*/ 1527733 h 2336800"/>
              <a:gd name="connsiteX600" fmla="*/ 1870529 w 3267075"/>
              <a:gd name="connsiteY600" fmla="*/ 1559186 h 2336800"/>
              <a:gd name="connsiteX601" fmla="*/ 1865539 w 3267075"/>
              <a:gd name="connsiteY601" fmla="*/ 1590211 h 2336800"/>
              <a:gd name="connsiteX602" fmla="*/ 1861231 w 3267075"/>
              <a:gd name="connsiteY602" fmla="*/ 1620809 h 2336800"/>
              <a:gd name="connsiteX603" fmla="*/ 1857829 w 3267075"/>
              <a:gd name="connsiteY603" fmla="*/ 1650764 h 2336800"/>
              <a:gd name="connsiteX604" fmla="*/ 1855561 w 3267075"/>
              <a:gd name="connsiteY604" fmla="*/ 1679650 h 2336800"/>
              <a:gd name="connsiteX605" fmla="*/ 1853747 w 3267075"/>
              <a:gd name="connsiteY605" fmla="*/ 1707466 h 2336800"/>
              <a:gd name="connsiteX606" fmla="*/ 1852386 w 3267075"/>
              <a:gd name="connsiteY606" fmla="*/ 1734426 h 2336800"/>
              <a:gd name="connsiteX607" fmla="*/ 1851479 w 3267075"/>
              <a:gd name="connsiteY607" fmla="*/ 1759888 h 2336800"/>
              <a:gd name="connsiteX608" fmla="*/ 1851252 w 3267075"/>
              <a:gd name="connsiteY608" fmla="*/ 1784066 h 2336800"/>
              <a:gd name="connsiteX609" fmla="*/ 1851252 w 3267075"/>
              <a:gd name="connsiteY609" fmla="*/ 1806747 h 2336800"/>
              <a:gd name="connsiteX610" fmla="*/ 1851706 w 3267075"/>
              <a:gd name="connsiteY610" fmla="*/ 1827502 h 2336800"/>
              <a:gd name="connsiteX611" fmla="*/ 1852386 w 3267075"/>
              <a:gd name="connsiteY611" fmla="*/ 1846331 h 2336800"/>
              <a:gd name="connsiteX612" fmla="*/ 1853066 w 3267075"/>
              <a:gd name="connsiteY612" fmla="*/ 1863021 h 2336800"/>
              <a:gd name="connsiteX613" fmla="*/ 1853973 w 3267075"/>
              <a:gd name="connsiteY613" fmla="*/ 1877785 h 2336800"/>
              <a:gd name="connsiteX614" fmla="*/ 1854654 w 3267075"/>
              <a:gd name="connsiteY614" fmla="*/ 1890195 h 2336800"/>
              <a:gd name="connsiteX615" fmla="*/ 1856241 w 3267075"/>
              <a:gd name="connsiteY615" fmla="*/ 1907312 h 2336800"/>
              <a:gd name="connsiteX616" fmla="*/ 1856922 w 3267075"/>
              <a:gd name="connsiteY616" fmla="*/ 1913303 h 2336800"/>
              <a:gd name="connsiteX617" fmla="*/ 1857602 w 3267075"/>
              <a:gd name="connsiteY617" fmla="*/ 1910950 h 2336800"/>
              <a:gd name="connsiteX618" fmla="*/ 1860550 w 3267075"/>
              <a:gd name="connsiteY618" fmla="*/ 1904745 h 2336800"/>
              <a:gd name="connsiteX619" fmla="*/ 1865313 w 3267075"/>
              <a:gd name="connsiteY619" fmla="*/ 1894474 h 2336800"/>
              <a:gd name="connsiteX620" fmla="*/ 1872343 w 3267075"/>
              <a:gd name="connsiteY620" fmla="*/ 1880138 h 2336800"/>
              <a:gd name="connsiteX621" fmla="*/ 1876879 w 3267075"/>
              <a:gd name="connsiteY621" fmla="*/ 1871579 h 2336800"/>
              <a:gd name="connsiteX622" fmla="*/ 1882095 w 3267075"/>
              <a:gd name="connsiteY622" fmla="*/ 1862165 h 2336800"/>
              <a:gd name="connsiteX623" fmla="*/ 1888218 w 3267075"/>
              <a:gd name="connsiteY623" fmla="*/ 1851680 h 2336800"/>
              <a:gd name="connsiteX624" fmla="*/ 1895022 w 3267075"/>
              <a:gd name="connsiteY624" fmla="*/ 1840126 h 2336800"/>
              <a:gd name="connsiteX625" fmla="*/ 1902732 w 3267075"/>
              <a:gd name="connsiteY625" fmla="*/ 1827716 h 2336800"/>
              <a:gd name="connsiteX626" fmla="*/ 1911123 w 3267075"/>
              <a:gd name="connsiteY626" fmla="*/ 1814664 h 2336800"/>
              <a:gd name="connsiteX627" fmla="*/ 1920648 w 3267075"/>
              <a:gd name="connsiteY627" fmla="*/ 1800542 h 2336800"/>
              <a:gd name="connsiteX628" fmla="*/ 1930854 w 3267075"/>
              <a:gd name="connsiteY628" fmla="*/ 1785564 h 2336800"/>
              <a:gd name="connsiteX629" fmla="*/ 1942193 w 3267075"/>
              <a:gd name="connsiteY629" fmla="*/ 1769731 h 2336800"/>
              <a:gd name="connsiteX630" fmla="*/ 1954213 w 3267075"/>
              <a:gd name="connsiteY630" fmla="*/ 1753041 h 2336800"/>
              <a:gd name="connsiteX631" fmla="*/ 1967593 w 3267075"/>
              <a:gd name="connsiteY631" fmla="*/ 1735710 h 2336800"/>
              <a:gd name="connsiteX632" fmla="*/ 1981881 w 3267075"/>
              <a:gd name="connsiteY632" fmla="*/ 1717308 h 2336800"/>
              <a:gd name="connsiteX633" fmla="*/ 1997529 w 3267075"/>
              <a:gd name="connsiteY633" fmla="*/ 1698051 h 2336800"/>
              <a:gd name="connsiteX634" fmla="*/ 2014084 w 3267075"/>
              <a:gd name="connsiteY634" fmla="*/ 1678152 h 2336800"/>
              <a:gd name="connsiteX635" fmla="*/ 2032000 w 3267075"/>
              <a:gd name="connsiteY635" fmla="*/ 1657397 h 2336800"/>
              <a:gd name="connsiteX636" fmla="*/ 2050823 w 3267075"/>
              <a:gd name="connsiteY636" fmla="*/ 1636001 h 2336800"/>
              <a:gd name="connsiteX637" fmla="*/ 2071234 w 3267075"/>
              <a:gd name="connsiteY637" fmla="*/ 1613748 h 2336800"/>
              <a:gd name="connsiteX638" fmla="*/ 2092779 w 3267075"/>
              <a:gd name="connsiteY638" fmla="*/ 1590853 h 2336800"/>
              <a:gd name="connsiteX639" fmla="*/ 2115684 w 3267075"/>
              <a:gd name="connsiteY639" fmla="*/ 1567103 h 2336800"/>
              <a:gd name="connsiteX640" fmla="*/ 2139950 w 3267075"/>
              <a:gd name="connsiteY640" fmla="*/ 1542496 h 2336800"/>
              <a:gd name="connsiteX641" fmla="*/ 2165350 w 3267075"/>
              <a:gd name="connsiteY641" fmla="*/ 1517462 h 2336800"/>
              <a:gd name="connsiteX642" fmla="*/ 2192564 w 3267075"/>
              <a:gd name="connsiteY642" fmla="*/ 1491572 h 2336800"/>
              <a:gd name="connsiteX643" fmla="*/ 2220913 w 3267075"/>
              <a:gd name="connsiteY643" fmla="*/ 1465040 h 2336800"/>
              <a:gd name="connsiteX644" fmla="*/ 2251075 w 3267075"/>
              <a:gd name="connsiteY644" fmla="*/ 1438080 h 2336800"/>
              <a:gd name="connsiteX645" fmla="*/ 2282372 w 3267075"/>
              <a:gd name="connsiteY645" fmla="*/ 1411762 h 2336800"/>
              <a:gd name="connsiteX646" fmla="*/ 2313895 w 3267075"/>
              <a:gd name="connsiteY646" fmla="*/ 1388011 h 2336800"/>
              <a:gd name="connsiteX647" fmla="*/ 2346325 w 3267075"/>
              <a:gd name="connsiteY647" fmla="*/ 1366401 h 2336800"/>
              <a:gd name="connsiteX648" fmla="*/ 2379209 w 3267075"/>
              <a:gd name="connsiteY648" fmla="*/ 1347358 h 2336800"/>
              <a:gd name="connsiteX649" fmla="*/ 2412320 w 3267075"/>
              <a:gd name="connsiteY649" fmla="*/ 1330454 h 2336800"/>
              <a:gd name="connsiteX650" fmla="*/ 2445884 w 3267075"/>
              <a:gd name="connsiteY650" fmla="*/ 1315262 h 2336800"/>
              <a:gd name="connsiteX651" fmla="*/ 2479222 w 3267075"/>
              <a:gd name="connsiteY651" fmla="*/ 1302424 h 2336800"/>
              <a:gd name="connsiteX652" fmla="*/ 2512786 w 3267075"/>
              <a:gd name="connsiteY652" fmla="*/ 1290870 h 2336800"/>
              <a:gd name="connsiteX653" fmla="*/ 2546123 w 3267075"/>
              <a:gd name="connsiteY653" fmla="*/ 1281455 h 2336800"/>
              <a:gd name="connsiteX654" fmla="*/ 2579234 w 3267075"/>
              <a:gd name="connsiteY654" fmla="*/ 1273539 h 2336800"/>
              <a:gd name="connsiteX655" fmla="*/ 2612345 w 3267075"/>
              <a:gd name="connsiteY655" fmla="*/ 1267119 h 2336800"/>
              <a:gd name="connsiteX656" fmla="*/ 2644775 w 3267075"/>
              <a:gd name="connsiteY656" fmla="*/ 1262198 h 2336800"/>
              <a:gd name="connsiteX657" fmla="*/ 2676752 w 3267075"/>
              <a:gd name="connsiteY657" fmla="*/ 1258133 h 2336800"/>
              <a:gd name="connsiteX658" fmla="*/ 2708048 w 3267075"/>
              <a:gd name="connsiteY658" fmla="*/ 1255565 h 2336800"/>
              <a:gd name="connsiteX659" fmla="*/ 2738664 w 3267075"/>
              <a:gd name="connsiteY659" fmla="*/ 1254067 h 2336800"/>
              <a:gd name="connsiteX660" fmla="*/ 2768373 w 3267075"/>
              <a:gd name="connsiteY660" fmla="*/ 1253639 h 2336800"/>
              <a:gd name="connsiteX661" fmla="*/ 2797175 w 3267075"/>
              <a:gd name="connsiteY661" fmla="*/ 1253853 h 2336800"/>
              <a:gd name="connsiteX662" fmla="*/ 2824616 w 3267075"/>
              <a:gd name="connsiteY662" fmla="*/ 1254923 h 2336800"/>
              <a:gd name="connsiteX663" fmla="*/ 2851377 w 3267075"/>
              <a:gd name="connsiteY663" fmla="*/ 1256635 h 2336800"/>
              <a:gd name="connsiteX664" fmla="*/ 2876550 w 3267075"/>
              <a:gd name="connsiteY664" fmla="*/ 1258775 h 2336800"/>
              <a:gd name="connsiteX665" fmla="*/ 2900363 w 3267075"/>
              <a:gd name="connsiteY665" fmla="*/ 1261556 h 2336800"/>
              <a:gd name="connsiteX666" fmla="*/ 2922588 w 3267075"/>
              <a:gd name="connsiteY666" fmla="*/ 1264552 h 2336800"/>
              <a:gd name="connsiteX667" fmla="*/ 2943452 w 3267075"/>
              <a:gd name="connsiteY667" fmla="*/ 1267761 h 2336800"/>
              <a:gd name="connsiteX668" fmla="*/ 2962502 w 3267075"/>
              <a:gd name="connsiteY668" fmla="*/ 1271185 h 2336800"/>
              <a:gd name="connsiteX669" fmla="*/ 2979511 w 3267075"/>
              <a:gd name="connsiteY669" fmla="*/ 1274608 h 2336800"/>
              <a:gd name="connsiteX670" fmla="*/ 2994932 w 3267075"/>
              <a:gd name="connsiteY670" fmla="*/ 1277818 h 2336800"/>
              <a:gd name="connsiteX671" fmla="*/ 3008086 w 3267075"/>
              <a:gd name="connsiteY671" fmla="*/ 1280813 h 2336800"/>
              <a:gd name="connsiteX672" fmla="*/ 3018972 w 3267075"/>
              <a:gd name="connsiteY672" fmla="*/ 1283381 h 2336800"/>
              <a:gd name="connsiteX673" fmla="*/ 3033939 w 3267075"/>
              <a:gd name="connsiteY673" fmla="*/ 1287660 h 2336800"/>
              <a:gd name="connsiteX674" fmla="*/ 3039382 w 3267075"/>
              <a:gd name="connsiteY674" fmla="*/ 1289158 h 2336800"/>
              <a:gd name="connsiteX675" fmla="*/ 3034847 w 3267075"/>
              <a:gd name="connsiteY675" fmla="*/ 1288730 h 2336800"/>
              <a:gd name="connsiteX676" fmla="*/ 3021466 w 3267075"/>
              <a:gd name="connsiteY676" fmla="*/ 1287874 h 2336800"/>
              <a:gd name="connsiteX677" fmla="*/ 3011714 w 3267075"/>
              <a:gd name="connsiteY677" fmla="*/ 1287660 h 2336800"/>
              <a:gd name="connsiteX678" fmla="*/ 3000148 w 3267075"/>
              <a:gd name="connsiteY678" fmla="*/ 1287446 h 2336800"/>
              <a:gd name="connsiteX679" fmla="*/ 2986768 w 3267075"/>
              <a:gd name="connsiteY679" fmla="*/ 1287660 h 2336800"/>
              <a:gd name="connsiteX680" fmla="*/ 2971120 w 3267075"/>
              <a:gd name="connsiteY680" fmla="*/ 1287874 h 2336800"/>
              <a:gd name="connsiteX681" fmla="*/ 2954338 w 3267075"/>
              <a:gd name="connsiteY681" fmla="*/ 1288944 h 2336800"/>
              <a:gd name="connsiteX682" fmla="*/ 2935288 w 3267075"/>
              <a:gd name="connsiteY682" fmla="*/ 1290228 h 2336800"/>
              <a:gd name="connsiteX683" fmla="*/ 2915104 w 3267075"/>
              <a:gd name="connsiteY683" fmla="*/ 1292154 h 2336800"/>
              <a:gd name="connsiteX684" fmla="*/ 2893559 w 3267075"/>
              <a:gd name="connsiteY684" fmla="*/ 1294721 h 2336800"/>
              <a:gd name="connsiteX685" fmla="*/ 2870200 w 3267075"/>
              <a:gd name="connsiteY685" fmla="*/ 1298145 h 2336800"/>
              <a:gd name="connsiteX686" fmla="*/ 2845707 w 3267075"/>
              <a:gd name="connsiteY686" fmla="*/ 1301996 h 2336800"/>
              <a:gd name="connsiteX687" fmla="*/ 2820080 w 3267075"/>
              <a:gd name="connsiteY687" fmla="*/ 1307345 h 2336800"/>
              <a:gd name="connsiteX688" fmla="*/ 2793093 w 3267075"/>
              <a:gd name="connsiteY688" fmla="*/ 1313551 h 2336800"/>
              <a:gd name="connsiteX689" fmla="*/ 2764972 w 3267075"/>
              <a:gd name="connsiteY689" fmla="*/ 1320825 h 2336800"/>
              <a:gd name="connsiteX690" fmla="*/ 2735943 w 3267075"/>
              <a:gd name="connsiteY690" fmla="*/ 1329170 h 2336800"/>
              <a:gd name="connsiteX691" fmla="*/ 2706007 w 3267075"/>
              <a:gd name="connsiteY691" fmla="*/ 1338799 h 2336800"/>
              <a:gd name="connsiteX692" fmla="*/ 2674938 w 3267075"/>
              <a:gd name="connsiteY692" fmla="*/ 1350139 h 2336800"/>
              <a:gd name="connsiteX693" fmla="*/ 2643414 w 3267075"/>
              <a:gd name="connsiteY693" fmla="*/ 1362549 h 2336800"/>
              <a:gd name="connsiteX694" fmla="*/ 2610984 w 3267075"/>
              <a:gd name="connsiteY694" fmla="*/ 1376457 h 2336800"/>
              <a:gd name="connsiteX695" fmla="*/ 2577647 w 3267075"/>
              <a:gd name="connsiteY695" fmla="*/ 1392077 h 2336800"/>
              <a:gd name="connsiteX696" fmla="*/ 2544309 w 3267075"/>
              <a:gd name="connsiteY696" fmla="*/ 1409408 h 2336800"/>
              <a:gd name="connsiteX697" fmla="*/ 2510064 w 3267075"/>
              <a:gd name="connsiteY697" fmla="*/ 1428451 h 2336800"/>
              <a:gd name="connsiteX698" fmla="*/ 2475593 w 3267075"/>
              <a:gd name="connsiteY698" fmla="*/ 1449634 h 2336800"/>
              <a:gd name="connsiteX699" fmla="*/ 2440895 w 3267075"/>
              <a:gd name="connsiteY699" fmla="*/ 1472529 h 2336800"/>
              <a:gd name="connsiteX700" fmla="*/ 2405516 w 3267075"/>
              <a:gd name="connsiteY700" fmla="*/ 1497563 h 2336800"/>
              <a:gd name="connsiteX701" fmla="*/ 2370364 w 3267075"/>
              <a:gd name="connsiteY701" fmla="*/ 1524737 h 2336800"/>
              <a:gd name="connsiteX702" fmla="*/ 2334986 w 3267075"/>
              <a:gd name="connsiteY702" fmla="*/ 1554051 h 2336800"/>
              <a:gd name="connsiteX703" fmla="*/ 2299607 w 3267075"/>
              <a:gd name="connsiteY703" fmla="*/ 1585718 h 2336800"/>
              <a:gd name="connsiteX704" fmla="*/ 2264229 w 3267075"/>
              <a:gd name="connsiteY704" fmla="*/ 1619953 h 2336800"/>
              <a:gd name="connsiteX705" fmla="*/ 2230211 w 3267075"/>
              <a:gd name="connsiteY705" fmla="*/ 1654616 h 2336800"/>
              <a:gd name="connsiteX706" fmla="*/ 2198007 w 3267075"/>
              <a:gd name="connsiteY706" fmla="*/ 1688637 h 2336800"/>
              <a:gd name="connsiteX707" fmla="*/ 2168525 w 3267075"/>
              <a:gd name="connsiteY707" fmla="*/ 1722016 h 2336800"/>
              <a:gd name="connsiteX708" fmla="*/ 2140857 w 3267075"/>
              <a:gd name="connsiteY708" fmla="*/ 1754325 h 2336800"/>
              <a:gd name="connsiteX709" fmla="*/ 2115457 w 3267075"/>
              <a:gd name="connsiteY709" fmla="*/ 1786206 h 2336800"/>
              <a:gd name="connsiteX710" fmla="*/ 2091871 w 3267075"/>
              <a:gd name="connsiteY710" fmla="*/ 1817446 h 2336800"/>
              <a:gd name="connsiteX711" fmla="*/ 2070327 w 3267075"/>
              <a:gd name="connsiteY711" fmla="*/ 1848257 h 2336800"/>
              <a:gd name="connsiteX712" fmla="*/ 2050596 w 3267075"/>
              <a:gd name="connsiteY712" fmla="*/ 1878212 h 2336800"/>
              <a:gd name="connsiteX713" fmla="*/ 2032680 w 3267075"/>
              <a:gd name="connsiteY713" fmla="*/ 1907740 h 2336800"/>
              <a:gd name="connsiteX714" fmla="*/ 2016579 w 3267075"/>
              <a:gd name="connsiteY714" fmla="*/ 1937054 h 2336800"/>
              <a:gd name="connsiteX715" fmla="*/ 2002064 w 3267075"/>
              <a:gd name="connsiteY715" fmla="*/ 1965939 h 2336800"/>
              <a:gd name="connsiteX716" fmla="*/ 1989364 w 3267075"/>
              <a:gd name="connsiteY716" fmla="*/ 1994611 h 2336800"/>
              <a:gd name="connsiteX717" fmla="*/ 1978025 w 3267075"/>
              <a:gd name="connsiteY717" fmla="*/ 2022641 h 2336800"/>
              <a:gd name="connsiteX718" fmla="*/ 1968047 w 3267075"/>
              <a:gd name="connsiteY718" fmla="*/ 2050671 h 2336800"/>
              <a:gd name="connsiteX719" fmla="*/ 1959429 w 3267075"/>
              <a:gd name="connsiteY719" fmla="*/ 2078701 h 2336800"/>
              <a:gd name="connsiteX720" fmla="*/ 1952172 w 3267075"/>
              <a:gd name="connsiteY720" fmla="*/ 2106302 h 2336800"/>
              <a:gd name="connsiteX721" fmla="*/ 1946275 w 3267075"/>
              <a:gd name="connsiteY721" fmla="*/ 2134118 h 2336800"/>
              <a:gd name="connsiteX722" fmla="*/ 1941513 w 3267075"/>
              <a:gd name="connsiteY722" fmla="*/ 2161720 h 2336800"/>
              <a:gd name="connsiteX723" fmla="*/ 1937884 w 3267075"/>
              <a:gd name="connsiteY723" fmla="*/ 2189322 h 2336800"/>
              <a:gd name="connsiteX724" fmla="*/ 1935389 w 3267075"/>
              <a:gd name="connsiteY724" fmla="*/ 2217138 h 2336800"/>
              <a:gd name="connsiteX725" fmla="*/ 1933802 w 3267075"/>
              <a:gd name="connsiteY725" fmla="*/ 2244954 h 2336800"/>
              <a:gd name="connsiteX726" fmla="*/ 1932895 w 3267075"/>
              <a:gd name="connsiteY726" fmla="*/ 2272984 h 2336800"/>
              <a:gd name="connsiteX727" fmla="*/ 1933122 w 3267075"/>
              <a:gd name="connsiteY727" fmla="*/ 2301441 h 2336800"/>
              <a:gd name="connsiteX728" fmla="*/ 1934256 w 3267075"/>
              <a:gd name="connsiteY728" fmla="*/ 2329899 h 2336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Lst>
            <a:rect l="l" t="t" r="r" b="b"/>
            <a:pathLst>
              <a:path w="3267075" h="2336800">
                <a:moveTo>
                  <a:pt x="1934635" y="2336800"/>
                </a:moveTo>
                <a:lnTo>
                  <a:pt x="1441014" y="2336800"/>
                </a:lnTo>
                <a:lnTo>
                  <a:pt x="1423534" y="2329899"/>
                </a:lnTo>
                <a:lnTo>
                  <a:pt x="1389970" y="2315777"/>
                </a:lnTo>
                <a:lnTo>
                  <a:pt x="1355272" y="2299516"/>
                </a:lnTo>
                <a:lnTo>
                  <a:pt x="1319893" y="2281970"/>
                </a:lnTo>
                <a:lnTo>
                  <a:pt x="1283607" y="2262499"/>
                </a:lnTo>
                <a:lnTo>
                  <a:pt x="1247095" y="2240888"/>
                </a:lnTo>
                <a:lnTo>
                  <a:pt x="1210129" y="2217566"/>
                </a:lnTo>
                <a:lnTo>
                  <a:pt x="1173389" y="2192318"/>
                </a:lnTo>
                <a:lnTo>
                  <a:pt x="1136197" y="2164716"/>
                </a:lnTo>
                <a:lnTo>
                  <a:pt x="1099457" y="2134974"/>
                </a:lnTo>
                <a:lnTo>
                  <a:pt x="1063398" y="2102665"/>
                </a:lnTo>
                <a:lnTo>
                  <a:pt x="1028247" y="2068002"/>
                </a:lnTo>
                <a:lnTo>
                  <a:pt x="993548" y="2030986"/>
                </a:lnTo>
                <a:lnTo>
                  <a:pt x="959984" y="1991616"/>
                </a:lnTo>
                <a:lnTo>
                  <a:pt x="927781" y="1949464"/>
                </a:lnTo>
                <a:lnTo>
                  <a:pt x="897164" y="1904531"/>
                </a:lnTo>
                <a:lnTo>
                  <a:pt x="868136" y="1856816"/>
                </a:lnTo>
                <a:lnTo>
                  <a:pt x="840695" y="1806533"/>
                </a:lnTo>
                <a:lnTo>
                  <a:pt x="815748" y="1752827"/>
                </a:lnTo>
                <a:lnTo>
                  <a:pt x="792616" y="1696126"/>
                </a:lnTo>
                <a:lnTo>
                  <a:pt x="769938" y="1638782"/>
                </a:lnTo>
                <a:lnTo>
                  <a:pt x="745445" y="1582509"/>
                </a:lnTo>
                <a:lnTo>
                  <a:pt x="719364" y="1527947"/>
                </a:lnTo>
                <a:lnTo>
                  <a:pt x="691923" y="1474455"/>
                </a:lnTo>
                <a:lnTo>
                  <a:pt x="663348" y="1422674"/>
                </a:lnTo>
                <a:lnTo>
                  <a:pt x="633186" y="1372178"/>
                </a:lnTo>
                <a:lnTo>
                  <a:pt x="602343" y="1323179"/>
                </a:lnTo>
                <a:lnTo>
                  <a:pt x="570820" y="1276106"/>
                </a:lnTo>
                <a:lnTo>
                  <a:pt x="538616" y="1230103"/>
                </a:lnTo>
                <a:lnTo>
                  <a:pt x="505959" y="1185812"/>
                </a:lnTo>
                <a:lnTo>
                  <a:pt x="472848" y="1143018"/>
                </a:lnTo>
                <a:lnTo>
                  <a:pt x="439964" y="1102364"/>
                </a:lnTo>
                <a:lnTo>
                  <a:pt x="406854" y="1062780"/>
                </a:lnTo>
                <a:lnTo>
                  <a:pt x="373970" y="1025336"/>
                </a:lnTo>
                <a:lnTo>
                  <a:pt x="341313" y="989603"/>
                </a:lnTo>
                <a:lnTo>
                  <a:pt x="309336" y="955582"/>
                </a:lnTo>
                <a:lnTo>
                  <a:pt x="278039" y="923487"/>
                </a:lnTo>
                <a:lnTo>
                  <a:pt x="247423" y="892889"/>
                </a:lnTo>
                <a:lnTo>
                  <a:pt x="217941" y="864645"/>
                </a:lnTo>
                <a:lnTo>
                  <a:pt x="189593" y="837899"/>
                </a:lnTo>
                <a:lnTo>
                  <a:pt x="162832" y="813507"/>
                </a:lnTo>
                <a:lnTo>
                  <a:pt x="137205" y="790612"/>
                </a:lnTo>
                <a:lnTo>
                  <a:pt x="113166" y="769858"/>
                </a:lnTo>
                <a:lnTo>
                  <a:pt x="91168" y="751242"/>
                </a:lnTo>
                <a:lnTo>
                  <a:pt x="70984" y="734981"/>
                </a:lnTo>
                <a:lnTo>
                  <a:pt x="53295" y="720431"/>
                </a:lnTo>
                <a:lnTo>
                  <a:pt x="37647" y="708021"/>
                </a:lnTo>
                <a:lnTo>
                  <a:pt x="24493" y="697964"/>
                </a:lnTo>
                <a:lnTo>
                  <a:pt x="6350" y="684484"/>
                </a:lnTo>
                <a:lnTo>
                  <a:pt x="0" y="679777"/>
                </a:lnTo>
                <a:lnTo>
                  <a:pt x="7030" y="683414"/>
                </a:lnTo>
                <a:lnTo>
                  <a:pt x="27895" y="694755"/>
                </a:lnTo>
                <a:lnTo>
                  <a:pt x="42863" y="702886"/>
                </a:lnTo>
                <a:lnTo>
                  <a:pt x="60552" y="712728"/>
                </a:lnTo>
                <a:lnTo>
                  <a:pt x="80736" y="724496"/>
                </a:lnTo>
                <a:lnTo>
                  <a:pt x="103414" y="737976"/>
                </a:lnTo>
                <a:lnTo>
                  <a:pt x="128134" y="752954"/>
                </a:lnTo>
                <a:lnTo>
                  <a:pt x="155122" y="769644"/>
                </a:lnTo>
                <a:lnTo>
                  <a:pt x="183697" y="788045"/>
                </a:lnTo>
                <a:lnTo>
                  <a:pt x="214086" y="807944"/>
                </a:lnTo>
                <a:lnTo>
                  <a:pt x="245836" y="829341"/>
                </a:lnTo>
                <a:lnTo>
                  <a:pt x="278947" y="852449"/>
                </a:lnTo>
                <a:lnTo>
                  <a:pt x="312738" y="876842"/>
                </a:lnTo>
                <a:lnTo>
                  <a:pt x="347663" y="902946"/>
                </a:lnTo>
                <a:lnTo>
                  <a:pt x="383041" y="930334"/>
                </a:lnTo>
                <a:lnTo>
                  <a:pt x="419100" y="959219"/>
                </a:lnTo>
                <a:lnTo>
                  <a:pt x="455159" y="989603"/>
                </a:lnTo>
                <a:lnTo>
                  <a:pt x="491672" y="1021056"/>
                </a:lnTo>
                <a:lnTo>
                  <a:pt x="527957" y="1054221"/>
                </a:lnTo>
                <a:lnTo>
                  <a:pt x="563789" y="1088456"/>
                </a:lnTo>
                <a:lnTo>
                  <a:pt x="598941" y="1123975"/>
                </a:lnTo>
                <a:lnTo>
                  <a:pt x="633866" y="1160991"/>
                </a:lnTo>
                <a:lnTo>
                  <a:pt x="667431" y="1199078"/>
                </a:lnTo>
                <a:lnTo>
                  <a:pt x="700088" y="1238234"/>
                </a:lnTo>
                <a:lnTo>
                  <a:pt x="731611" y="1278674"/>
                </a:lnTo>
                <a:lnTo>
                  <a:pt x="761547" y="1320398"/>
                </a:lnTo>
                <a:lnTo>
                  <a:pt x="789895" y="1363191"/>
                </a:lnTo>
                <a:lnTo>
                  <a:pt x="816202" y="1406841"/>
                </a:lnTo>
                <a:lnTo>
                  <a:pt x="840695" y="1451988"/>
                </a:lnTo>
                <a:lnTo>
                  <a:pt x="862920" y="1497777"/>
                </a:lnTo>
                <a:lnTo>
                  <a:pt x="884691" y="1543352"/>
                </a:lnTo>
                <a:lnTo>
                  <a:pt x="908050" y="1586360"/>
                </a:lnTo>
                <a:lnTo>
                  <a:pt x="933223" y="1627014"/>
                </a:lnTo>
                <a:lnTo>
                  <a:pt x="959757" y="1665528"/>
                </a:lnTo>
                <a:lnTo>
                  <a:pt x="987652" y="1702117"/>
                </a:lnTo>
                <a:lnTo>
                  <a:pt x="1016454" y="1736352"/>
                </a:lnTo>
                <a:lnTo>
                  <a:pt x="1046163" y="1768661"/>
                </a:lnTo>
                <a:lnTo>
                  <a:pt x="1076552" y="1799044"/>
                </a:lnTo>
                <a:lnTo>
                  <a:pt x="1108075" y="1827502"/>
                </a:lnTo>
                <a:lnTo>
                  <a:pt x="1139598" y="1854034"/>
                </a:lnTo>
                <a:lnTo>
                  <a:pt x="1171348" y="1879068"/>
                </a:lnTo>
                <a:lnTo>
                  <a:pt x="1203325" y="1902177"/>
                </a:lnTo>
                <a:lnTo>
                  <a:pt x="1235529" y="1923360"/>
                </a:lnTo>
                <a:lnTo>
                  <a:pt x="1267279" y="1943259"/>
                </a:lnTo>
                <a:lnTo>
                  <a:pt x="1298575" y="1961446"/>
                </a:lnTo>
                <a:lnTo>
                  <a:pt x="1329645" y="1978350"/>
                </a:lnTo>
                <a:lnTo>
                  <a:pt x="1360034" y="1993541"/>
                </a:lnTo>
                <a:lnTo>
                  <a:pt x="1389516" y="2007449"/>
                </a:lnTo>
                <a:lnTo>
                  <a:pt x="1418091" y="2019859"/>
                </a:lnTo>
                <a:lnTo>
                  <a:pt x="1445532" y="2031200"/>
                </a:lnTo>
                <a:lnTo>
                  <a:pt x="1471613" y="2041256"/>
                </a:lnTo>
                <a:lnTo>
                  <a:pt x="1496332" y="2050243"/>
                </a:lnTo>
                <a:lnTo>
                  <a:pt x="1519464" y="2057946"/>
                </a:lnTo>
                <a:lnTo>
                  <a:pt x="1540782" y="2064579"/>
                </a:lnTo>
                <a:lnTo>
                  <a:pt x="1560286" y="2069928"/>
                </a:lnTo>
                <a:lnTo>
                  <a:pt x="1577522" y="2075063"/>
                </a:lnTo>
                <a:lnTo>
                  <a:pt x="1592716" y="2078701"/>
                </a:lnTo>
                <a:lnTo>
                  <a:pt x="1605416" y="2081696"/>
                </a:lnTo>
                <a:lnTo>
                  <a:pt x="1623106" y="2085762"/>
                </a:lnTo>
                <a:lnTo>
                  <a:pt x="1629002" y="2086617"/>
                </a:lnTo>
                <a:lnTo>
                  <a:pt x="1611766" y="1735282"/>
                </a:lnTo>
                <a:lnTo>
                  <a:pt x="1611086" y="1735068"/>
                </a:lnTo>
                <a:lnTo>
                  <a:pt x="1609952" y="1733570"/>
                </a:lnTo>
                <a:lnTo>
                  <a:pt x="1607231" y="1731216"/>
                </a:lnTo>
                <a:lnTo>
                  <a:pt x="1603602" y="1726937"/>
                </a:lnTo>
                <a:lnTo>
                  <a:pt x="1598839" y="1720732"/>
                </a:lnTo>
                <a:lnTo>
                  <a:pt x="1592943" y="1712601"/>
                </a:lnTo>
                <a:lnTo>
                  <a:pt x="1585686" y="1701903"/>
                </a:lnTo>
                <a:lnTo>
                  <a:pt x="1577295" y="1688423"/>
                </a:lnTo>
                <a:lnTo>
                  <a:pt x="1567089" y="1671947"/>
                </a:lnTo>
                <a:lnTo>
                  <a:pt x="1555750" y="1652048"/>
                </a:lnTo>
                <a:lnTo>
                  <a:pt x="1543050" y="1628726"/>
                </a:lnTo>
                <a:lnTo>
                  <a:pt x="1528536" y="1601124"/>
                </a:lnTo>
                <a:lnTo>
                  <a:pt x="1520598" y="1586146"/>
                </a:lnTo>
                <a:lnTo>
                  <a:pt x="1512434" y="1569670"/>
                </a:lnTo>
                <a:lnTo>
                  <a:pt x="1503816" y="1552125"/>
                </a:lnTo>
                <a:lnTo>
                  <a:pt x="1494745" y="1533296"/>
                </a:lnTo>
                <a:lnTo>
                  <a:pt x="1485220" y="1513611"/>
                </a:lnTo>
                <a:lnTo>
                  <a:pt x="1475241" y="1492428"/>
                </a:lnTo>
                <a:lnTo>
                  <a:pt x="1464809" y="1469961"/>
                </a:lnTo>
                <a:lnTo>
                  <a:pt x="1453923" y="1446211"/>
                </a:lnTo>
                <a:lnTo>
                  <a:pt x="1443491" y="1422674"/>
                </a:lnTo>
                <a:lnTo>
                  <a:pt x="1433513" y="1400208"/>
                </a:lnTo>
                <a:lnTo>
                  <a:pt x="1424441" y="1378811"/>
                </a:lnTo>
                <a:lnTo>
                  <a:pt x="1416050" y="1358698"/>
                </a:lnTo>
                <a:lnTo>
                  <a:pt x="1408339" y="1339655"/>
                </a:lnTo>
                <a:lnTo>
                  <a:pt x="1401082" y="1321253"/>
                </a:lnTo>
                <a:lnTo>
                  <a:pt x="1394506" y="1303280"/>
                </a:lnTo>
                <a:lnTo>
                  <a:pt x="1388382" y="1285949"/>
                </a:lnTo>
                <a:lnTo>
                  <a:pt x="1382713" y="1269045"/>
                </a:lnTo>
                <a:lnTo>
                  <a:pt x="1377270" y="1252356"/>
                </a:lnTo>
                <a:lnTo>
                  <a:pt x="1372281" y="1236094"/>
                </a:lnTo>
                <a:lnTo>
                  <a:pt x="1367518" y="1219405"/>
                </a:lnTo>
                <a:lnTo>
                  <a:pt x="1363209" y="1202715"/>
                </a:lnTo>
                <a:lnTo>
                  <a:pt x="1358673" y="1185598"/>
                </a:lnTo>
                <a:lnTo>
                  <a:pt x="1354138" y="1168266"/>
                </a:lnTo>
                <a:lnTo>
                  <a:pt x="1350056" y="1150293"/>
                </a:lnTo>
                <a:lnTo>
                  <a:pt x="1341211" y="1111993"/>
                </a:lnTo>
                <a:lnTo>
                  <a:pt x="1332139" y="1070055"/>
                </a:lnTo>
                <a:lnTo>
                  <a:pt x="1321481" y="1023196"/>
                </a:lnTo>
                <a:lnTo>
                  <a:pt x="1309914" y="970346"/>
                </a:lnTo>
                <a:lnTo>
                  <a:pt x="1296307" y="910221"/>
                </a:lnTo>
                <a:lnTo>
                  <a:pt x="1280206" y="842393"/>
                </a:lnTo>
                <a:lnTo>
                  <a:pt x="1271134" y="804948"/>
                </a:lnTo>
                <a:lnTo>
                  <a:pt x="1261382" y="765150"/>
                </a:lnTo>
                <a:lnTo>
                  <a:pt x="1250950" y="722785"/>
                </a:lnTo>
                <a:lnTo>
                  <a:pt x="1239384" y="677851"/>
                </a:lnTo>
                <a:lnTo>
                  <a:pt x="1226231" y="632276"/>
                </a:lnTo>
                <a:lnTo>
                  <a:pt x="1210129" y="588841"/>
                </a:lnTo>
                <a:lnTo>
                  <a:pt x="1191986" y="547545"/>
                </a:lnTo>
                <a:lnTo>
                  <a:pt x="1171348" y="508175"/>
                </a:lnTo>
                <a:lnTo>
                  <a:pt x="1149123" y="470730"/>
                </a:lnTo>
                <a:lnTo>
                  <a:pt x="1124857" y="435211"/>
                </a:lnTo>
                <a:lnTo>
                  <a:pt x="1098777" y="401404"/>
                </a:lnTo>
                <a:lnTo>
                  <a:pt x="1071563" y="369737"/>
                </a:lnTo>
                <a:lnTo>
                  <a:pt x="1042988" y="339568"/>
                </a:lnTo>
                <a:lnTo>
                  <a:pt x="1013506" y="311324"/>
                </a:lnTo>
                <a:lnTo>
                  <a:pt x="983116" y="284792"/>
                </a:lnTo>
                <a:lnTo>
                  <a:pt x="952047" y="259544"/>
                </a:lnTo>
                <a:lnTo>
                  <a:pt x="920750" y="236221"/>
                </a:lnTo>
                <a:lnTo>
                  <a:pt x="889227" y="214610"/>
                </a:lnTo>
                <a:lnTo>
                  <a:pt x="857477" y="194283"/>
                </a:lnTo>
                <a:lnTo>
                  <a:pt x="825954" y="175668"/>
                </a:lnTo>
                <a:lnTo>
                  <a:pt x="794884" y="158337"/>
                </a:lnTo>
                <a:lnTo>
                  <a:pt x="764268" y="142289"/>
                </a:lnTo>
                <a:lnTo>
                  <a:pt x="734786" y="127953"/>
                </a:lnTo>
                <a:lnTo>
                  <a:pt x="705984" y="114687"/>
                </a:lnTo>
                <a:lnTo>
                  <a:pt x="678316" y="102919"/>
                </a:lnTo>
                <a:lnTo>
                  <a:pt x="652236" y="92221"/>
                </a:lnTo>
                <a:lnTo>
                  <a:pt x="627516" y="82806"/>
                </a:lnTo>
                <a:lnTo>
                  <a:pt x="604611" y="74461"/>
                </a:lnTo>
                <a:lnTo>
                  <a:pt x="583520" y="67400"/>
                </a:lnTo>
                <a:lnTo>
                  <a:pt x="564697" y="61409"/>
                </a:lnTo>
                <a:lnTo>
                  <a:pt x="548141" y="56488"/>
                </a:lnTo>
                <a:lnTo>
                  <a:pt x="534307" y="52208"/>
                </a:lnTo>
                <a:lnTo>
                  <a:pt x="514804" y="47287"/>
                </a:lnTo>
                <a:lnTo>
                  <a:pt x="508227" y="45361"/>
                </a:lnTo>
                <a:lnTo>
                  <a:pt x="512989" y="45361"/>
                </a:lnTo>
                <a:lnTo>
                  <a:pt x="526597" y="46003"/>
                </a:lnTo>
                <a:lnTo>
                  <a:pt x="536575" y="46431"/>
                </a:lnTo>
                <a:lnTo>
                  <a:pt x="548368" y="46859"/>
                </a:lnTo>
                <a:lnTo>
                  <a:pt x="561975" y="47929"/>
                </a:lnTo>
                <a:lnTo>
                  <a:pt x="577170" y="49213"/>
                </a:lnTo>
                <a:lnTo>
                  <a:pt x="593725" y="50711"/>
                </a:lnTo>
                <a:lnTo>
                  <a:pt x="611868" y="52636"/>
                </a:lnTo>
                <a:lnTo>
                  <a:pt x="631145" y="54990"/>
                </a:lnTo>
                <a:lnTo>
                  <a:pt x="651782" y="57986"/>
                </a:lnTo>
                <a:lnTo>
                  <a:pt x="673327" y="61409"/>
                </a:lnTo>
                <a:lnTo>
                  <a:pt x="695325" y="65047"/>
                </a:lnTo>
                <a:lnTo>
                  <a:pt x="718457" y="69754"/>
                </a:lnTo>
                <a:lnTo>
                  <a:pt x="742270" y="74675"/>
                </a:lnTo>
                <a:lnTo>
                  <a:pt x="766536" y="80666"/>
                </a:lnTo>
                <a:lnTo>
                  <a:pt x="791256" y="87513"/>
                </a:lnTo>
                <a:lnTo>
                  <a:pt x="816202" y="94574"/>
                </a:lnTo>
                <a:lnTo>
                  <a:pt x="841148" y="102919"/>
                </a:lnTo>
                <a:lnTo>
                  <a:pt x="866322" y="112120"/>
                </a:lnTo>
                <a:lnTo>
                  <a:pt x="891268" y="121962"/>
                </a:lnTo>
                <a:lnTo>
                  <a:pt x="915988" y="132874"/>
                </a:lnTo>
                <a:lnTo>
                  <a:pt x="940254" y="144857"/>
                </a:lnTo>
                <a:lnTo>
                  <a:pt x="964293" y="157695"/>
                </a:lnTo>
                <a:lnTo>
                  <a:pt x="987652" y="171603"/>
                </a:lnTo>
                <a:lnTo>
                  <a:pt x="1010331" y="186794"/>
                </a:lnTo>
                <a:lnTo>
                  <a:pt x="1031875" y="203270"/>
                </a:lnTo>
                <a:lnTo>
                  <a:pt x="1052739" y="220815"/>
                </a:lnTo>
                <a:lnTo>
                  <a:pt x="1072470" y="239431"/>
                </a:lnTo>
                <a:lnTo>
                  <a:pt x="1090839" y="259544"/>
                </a:lnTo>
                <a:lnTo>
                  <a:pt x="1108075" y="280940"/>
                </a:lnTo>
                <a:lnTo>
                  <a:pt x="1123950" y="302765"/>
                </a:lnTo>
                <a:lnTo>
                  <a:pt x="1139372" y="323948"/>
                </a:lnTo>
                <a:lnTo>
                  <a:pt x="1153886" y="344275"/>
                </a:lnTo>
                <a:lnTo>
                  <a:pt x="1167493" y="364174"/>
                </a:lnTo>
                <a:lnTo>
                  <a:pt x="1180647" y="383431"/>
                </a:lnTo>
                <a:lnTo>
                  <a:pt x="1192666" y="402046"/>
                </a:lnTo>
                <a:lnTo>
                  <a:pt x="1204686" y="419806"/>
                </a:lnTo>
                <a:lnTo>
                  <a:pt x="1215345" y="437351"/>
                </a:lnTo>
                <a:lnTo>
                  <a:pt x="1225777" y="453613"/>
                </a:lnTo>
                <a:lnTo>
                  <a:pt x="1235529" y="469874"/>
                </a:lnTo>
                <a:lnTo>
                  <a:pt x="1244373" y="485066"/>
                </a:lnTo>
                <a:lnTo>
                  <a:pt x="1252764" y="499616"/>
                </a:lnTo>
                <a:lnTo>
                  <a:pt x="1260702" y="513524"/>
                </a:lnTo>
                <a:lnTo>
                  <a:pt x="1267959" y="526790"/>
                </a:lnTo>
                <a:lnTo>
                  <a:pt x="1274989" y="539414"/>
                </a:lnTo>
                <a:lnTo>
                  <a:pt x="1280886" y="550968"/>
                </a:lnTo>
                <a:lnTo>
                  <a:pt x="1291998" y="572579"/>
                </a:lnTo>
                <a:lnTo>
                  <a:pt x="1301070" y="591622"/>
                </a:lnTo>
                <a:lnTo>
                  <a:pt x="1308100" y="607670"/>
                </a:lnTo>
                <a:lnTo>
                  <a:pt x="1313543" y="620936"/>
                </a:lnTo>
                <a:lnTo>
                  <a:pt x="1317852" y="631206"/>
                </a:lnTo>
                <a:lnTo>
                  <a:pt x="1320573" y="638695"/>
                </a:lnTo>
                <a:lnTo>
                  <a:pt x="1322161" y="643188"/>
                </a:lnTo>
                <a:lnTo>
                  <a:pt x="1322614" y="644686"/>
                </a:lnTo>
                <a:lnTo>
                  <a:pt x="1322161" y="642974"/>
                </a:lnTo>
                <a:lnTo>
                  <a:pt x="1320573" y="638053"/>
                </a:lnTo>
                <a:lnTo>
                  <a:pt x="1319439" y="634630"/>
                </a:lnTo>
                <a:lnTo>
                  <a:pt x="1318306" y="630136"/>
                </a:lnTo>
                <a:lnTo>
                  <a:pt x="1317398" y="624787"/>
                </a:lnTo>
                <a:lnTo>
                  <a:pt x="1316264" y="618796"/>
                </a:lnTo>
                <a:lnTo>
                  <a:pt x="1315131" y="612163"/>
                </a:lnTo>
                <a:lnTo>
                  <a:pt x="1314223" y="604674"/>
                </a:lnTo>
                <a:lnTo>
                  <a:pt x="1313316" y="596543"/>
                </a:lnTo>
                <a:lnTo>
                  <a:pt x="1312863" y="587557"/>
                </a:lnTo>
                <a:lnTo>
                  <a:pt x="1312636" y="577928"/>
                </a:lnTo>
                <a:lnTo>
                  <a:pt x="1312636" y="567444"/>
                </a:lnTo>
                <a:lnTo>
                  <a:pt x="1313089" y="556317"/>
                </a:lnTo>
                <a:lnTo>
                  <a:pt x="1313997" y="544335"/>
                </a:lnTo>
                <a:lnTo>
                  <a:pt x="1315131" y="531925"/>
                </a:lnTo>
                <a:lnTo>
                  <a:pt x="1316718" y="518445"/>
                </a:lnTo>
                <a:lnTo>
                  <a:pt x="1319213" y="504537"/>
                </a:lnTo>
                <a:lnTo>
                  <a:pt x="1322388" y="490201"/>
                </a:lnTo>
                <a:lnTo>
                  <a:pt x="1325789" y="474796"/>
                </a:lnTo>
                <a:lnTo>
                  <a:pt x="1330098" y="458962"/>
                </a:lnTo>
                <a:lnTo>
                  <a:pt x="1335314" y="442272"/>
                </a:lnTo>
                <a:lnTo>
                  <a:pt x="1340984" y="424941"/>
                </a:lnTo>
                <a:lnTo>
                  <a:pt x="1347788" y="406968"/>
                </a:lnTo>
                <a:lnTo>
                  <a:pt x="1355498" y="388566"/>
                </a:lnTo>
                <a:lnTo>
                  <a:pt x="1364116" y="369523"/>
                </a:lnTo>
                <a:lnTo>
                  <a:pt x="1373641" y="349624"/>
                </a:lnTo>
                <a:lnTo>
                  <a:pt x="1384527" y="329083"/>
                </a:lnTo>
                <a:lnTo>
                  <a:pt x="1396320" y="308328"/>
                </a:lnTo>
                <a:lnTo>
                  <a:pt x="1409247" y="286718"/>
                </a:lnTo>
                <a:lnTo>
                  <a:pt x="1423534" y="264251"/>
                </a:lnTo>
                <a:lnTo>
                  <a:pt x="1438275" y="242640"/>
                </a:lnTo>
                <a:lnTo>
                  <a:pt x="1453016" y="222099"/>
                </a:lnTo>
                <a:lnTo>
                  <a:pt x="1467757" y="202414"/>
                </a:lnTo>
                <a:lnTo>
                  <a:pt x="1482498" y="184441"/>
                </a:lnTo>
                <a:lnTo>
                  <a:pt x="1496786" y="167109"/>
                </a:lnTo>
                <a:lnTo>
                  <a:pt x="1511300" y="151062"/>
                </a:lnTo>
                <a:lnTo>
                  <a:pt x="1525588" y="136084"/>
                </a:lnTo>
                <a:lnTo>
                  <a:pt x="1539875" y="121962"/>
                </a:lnTo>
                <a:lnTo>
                  <a:pt x="1553709" y="109124"/>
                </a:lnTo>
                <a:lnTo>
                  <a:pt x="1567543" y="96928"/>
                </a:lnTo>
                <a:lnTo>
                  <a:pt x="1580697" y="85801"/>
                </a:lnTo>
                <a:lnTo>
                  <a:pt x="1593850" y="75531"/>
                </a:lnTo>
                <a:lnTo>
                  <a:pt x="1606323" y="66116"/>
                </a:lnTo>
                <a:lnTo>
                  <a:pt x="1618797" y="57344"/>
                </a:lnTo>
                <a:lnTo>
                  <a:pt x="1630816" y="49427"/>
                </a:lnTo>
                <a:lnTo>
                  <a:pt x="1642156" y="42152"/>
                </a:lnTo>
                <a:lnTo>
                  <a:pt x="1653268" y="35947"/>
                </a:lnTo>
                <a:lnTo>
                  <a:pt x="1663927" y="29956"/>
                </a:lnTo>
                <a:lnTo>
                  <a:pt x="1674132" y="25035"/>
                </a:lnTo>
                <a:lnTo>
                  <a:pt x="1683657" y="20327"/>
                </a:lnTo>
                <a:lnTo>
                  <a:pt x="1692275" y="16476"/>
                </a:lnTo>
                <a:lnTo>
                  <a:pt x="1700666" y="13266"/>
                </a:lnTo>
                <a:lnTo>
                  <a:pt x="1708377" y="10271"/>
                </a:lnTo>
                <a:lnTo>
                  <a:pt x="1715181" y="7703"/>
                </a:lnTo>
                <a:lnTo>
                  <a:pt x="1726973" y="4066"/>
                </a:lnTo>
                <a:lnTo>
                  <a:pt x="1735591" y="1498"/>
                </a:lnTo>
                <a:lnTo>
                  <a:pt x="1741261" y="214"/>
                </a:lnTo>
                <a:lnTo>
                  <a:pt x="1743075" y="0"/>
                </a:lnTo>
                <a:lnTo>
                  <a:pt x="1739673" y="2996"/>
                </a:lnTo>
                <a:lnTo>
                  <a:pt x="1730375" y="11341"/>
                </a:lnTo>
                <a:lnTo>
                  <a:pt x="1723572" y="17974"/>
                </a:lnTo>
                <a:lnTo>
                  <a:pt x="1715634" y="25890"/>
                </a:lnTo>
                <a:lnTo>
                  <a:pt x="1706789" y="35091"/>
                </a:lnTo>
                <a:lnTo>
                  <a:pt x="1696811" y="45361"/>
                </a:lnTo>
                <a:lnTo>
                  <a:pt x="1685698" y="57558"/>
                </a:lnTo>
                <a:lnTo>
                  <a:pt x="1674132" y="70824"/>
                </a:lnTo>
                <a:lnTo>
                  <a:pt x="1661659" y="85374"/>
                </a:lnTo>
                <a:lnTo>
                  <a:pt x="1648506" y="101635"/>
                </a:lnTo>
                <a:lnTo>
                  <a:pt x="1635125" y="118753"/>
                </a:lnTo>
                <a:lnTo>
                  <a:pt x="1621064" y="137582"/>
                </a:lnTo>
                <a:lnTo>
                  <a:pt x="1607004" y="157481"/>
                </a:lnTo>
                <a:lnTo>
                  <a:pt x="1592489" y="178664"/>
                </a:lnTo>
                <a:lnTo>
                  <a:pt x="1577975" y="201344"/>
                </a:lnTo>
                <a:lnTo>
                  <a:pt x="1563461" y="225095"/>
                </a:lnTo>
                <a:lnTo>
                  <a:pt x="1548947" y="250129"/>
                </a:lnTo>
                <a:lnTo>
                  <a:pt x="1535113" y="276447"/>
                </a:lnTo>
                <a:lnTo>
                  <a:pt x="1521052" y="303835"/>
                </a:lnTo>
                <a:lnTo>
                  <a:pt x="1507672" y="332721"/>
                </a:lnTo>
                <a:lnTo>
                  <a:pt x="1494745" y="362676"/>
                </a:lnTo>
                <a:lnTo>
                  <a:pt x="1482725" y="394130"/>
                </a:lnTo>
                <a:lnTo>
                  <a:pt x="1471159" y="426225"/>
                </a:lnTo>
                <a:lnTo>
                  <a:pt x="1460273" y="459818"/>
                </a:lnTo>
                <a:lnTo>
                  <a:pt x="1450522" y="494695"/>
                </a:lnTo>
                <a:lnTo>
                  <a:pt x="1441677" y="530641"/>
                </a:lnTo>
                <a:lnTo>
                  <a:pt x="1433966" y="567658"/>
                </a:lnTo>
                <a:lnTo>
                  <a:pt x="1427616" y="605958"/>
                </a:lnTo>
                <a:lnTo>
                  <a:pt x="1422627" y="645542"/>
                </a:lnTo>
                <a:lnTo>
                  <a:pt x="1418998" y="685982"/>
                </a:lnTo>
                <a:lnTo>
                  <a:pt x="1417184" y="726636"/>
                </a:lnTo>
                <a:lnTo>
                  <a:pt x="1416731" y="767290"/>
                </a:lnTo>
                <a:lnTo>
                  <a:pt x="1418318" y="807088"/>
                </a:lnTo>
                <a:lnTo>
                  <a:pt x="1421493" y="846458"/>
                </a:lnTo>
                <a:lnTo>
                  <a:pt x="1426029" y="885186"/>
                </a:lnTo>
                <a:lnTo>
                  <a:pt x="1431925" y="923273"/>
                </a:lnTo>
                <a:lnTo>
                  <a:pt x="1438956" y="960717"/>
                </a:lnTo>
                <a:lnTo>
                  <a:pt x="1447120" y="997306"/>
                </a:lnTo>
                <a:lnTo>
                  <a:pt x="1456418" y="1033038"/>
                </a:lnTo>
                <a:lnTo>
                  <a:pt x="1466397" y="1067915"/>
                </a:lnTo>
                <a:lnTo>
                  <a:pt x="1477056" y="1101936"/>
                </a:lnTo>
                <a:lnTo>
                  <a:pt x="1488622" y="1134673"/>
                </a:lnTo>
                <a:lnTo>
                  <a:pt x="1500641" y="1166340"/>
                </a:lnTo>
                <a:lnTo>
                  <a:pt x="1513114" y="1197152"/>
                </a:lnTo>
                <a:lnTo>
                  <a:pt x="1525814" y="1226893"/>
                </a:lnTo>
                <a:lnTo>
                  <a:pt x="1538741" y="1255137"/>
                </a:lnTo>
                <a:lnTo>
                  <a:pt x="1551895" y="1282311"/>
                </a:lnTo>
                <a:lnTo>
                  <a:pt x="1565048" y="1307773"/>
                </a:lnTo>
                <a:lnTo>
                  <a:pt x="1577975" y="1332166"/>
                </a:lnTo>
                <a:lnTo>
                  <a:pt x="1590675" y="1355060"/>
                </a:lnTo>
                <a:lnTo>
                  <a:pt x="1602695" y="1376457"/>
                </a:lnTo>
                <a:lnTo>
                  <a:pt x="1614488" y="1396356"/>
                </a:lnTo>
                <a:lnTo>
                  <a:pt x="1625827" y="1414330"/>
                </a:lnTo>
                <a:lnTo>
                  <a:pt x="1636486" y="1430805"/>
                </a:lnTo>
                <a:lnTo>
                  <a:pt x="1646238" y="1445783"/>
                </a:lnTo>
                <a:lnTo>
                  <a:pt x="1654856" y="1458621"/>
                </a:lnTo>
                <a:lnTo>
                  <a:pt x="1662566" y="1469747"/>
                </a:lnTo>
                <a:lnTo>
                  <a:pt x="1669143" y="1478948"/>
                </a:lnTo>
                <a:lnTo>
                  <a:pt x="1678668" y="1491572"/>
                </a:lnTo>
                <a:lnTo>
                  <a:pt x="1681616" y="1495851"/>
                </a:lnTo>
                <a:lnTo>
                  <a:pt x="1683204" y="1489860"/>
                </a:lnTo>
                <a:lnTo>
                  <a:pt x="1688193" y="1473171"/>
                </a:lnTo>
                <a:lnTo>
                  <a:pt x="1696357" y="1446853"/>
                </a:lnTo>
                <a:lnTo>
                  <a:pt x="1707697" y="1412190"/>
                </a:lnTo>
                <a:lnTo>
                  <a:pt x="1714727" y="1391863"/>
                </a:lnTo>
                <a:lnTo>
                  <a:pt x="1722211" y="1369824"/>
                </a:lnTo>
                <a:lnTo>
                  <a:pt x="1730602" y="1346288"/>
                </a:lnTo>
                <a:lnTo>
                  <a:pt x="1739900" y="1321253"/>
                </a:lnTo>
                <a:lnTo>
                  <a:pt x="1749879" y="1295149"/>
                </a:lnTo>
                <a:lnTo>
                  <a:pt x="1760764" y="1267761"/>
                </a:lnTo>
                <a:lnTo>
                  <a:pt x="1772331" y="1239304"/>
                </a:lnTo>
                <a:lnTo>
                  <a:pt x="1784577" y="1210204"/>
                </a:lnTo>
                <a:lnTo>
                  <a:pt x="1797731" y="1180462"/>
                </a:lnTo>
                <a:lnTo>
                  <a:pt x="1811564" y="1150079"/>
                </a:lnTo>
                <a:lnTo>
                  <a:pt x="1826306" y="1119267"/>
                </a:lnTo>
                <a:lnTo>
                  <a:pt x="1841727" y="1088242"/>
                </a:lnTo>
                <a:lnTo>
                  <a:pt x="1857829" y="1056789"/>
                </a:lnTo>
                <a:lnTo>
                  <a:pt x="1874611" y="1025763"/>
                </a:lnTo>
                <a:lnTo>
                  <a:pt x="1892300" y="994738"/>
                </a:lnTo>
                <a:lnTo>
                  <a:pt x="1910897" y="964141"/>
                </a:lnTo>
                <a:lnTo>
                  <a:pt x="1929947" y="933971"/>
                </a:lnTo>
                <a:lnTo>
                  <a:pt x="1949677" y="904230"/>
                </a:lnTo>
                <a:lnTo>
                  <a:pt x="1970541" y="875558"/>
                </a:lnTo>
                <a:lnTo>
                  <a:pt x="1991859" y="847742"/>
                </a:lnTo>
                <a:lnTo>
                  <a:pt x="2014084" y="820782"/>
                </a:lnTo>
                <a:lnTo>
                  <a:pt x="2036989" y="795106"/>
                </a:lnTo>
                <a:lnTo>
                  <a:pt x="2060348" y="770713"/>
                </a:lnTo>
                <a:lnTo>
                  <a:pt x="2084614" y="747819"/>
                </a:lnTo>
                <a:lnTo>
                  <a:pt x="2108200" y="725780"/>
                </a:lnTo>
                <a:lnTo>
                  <a:pt x="2130425" y="703313"/>
                </a:lnTo>
                <a:lnTo>
                  <a:pt x="2150609" y="680633"/>
                </a:lnTo>
                <a:lnTo>
                  <a:pt x="2169432" y="658380"/>
                </a:lnTo>
                <a:lnTo>
                  <a:pt x="2186441" y="635700"/>
                </a:lnTo>
                <a:lnTo>
                  <a:pt x="2202089" y="613233"/>
                </a:lnTo>
                <a:lnTo>
                  <a:pt x="2216150" y="590766"/>
                </a:lnTo>
                <a:lnTo>
                  <a:pt x="2229077" y="568514"/>
                </a:lnTo>
                <a:lnTo>
                  <a:pt x="2240416" y="546475"/>
                </a:lnTo>
                <a:lnTo>
                  <a:pt x="2250622" y="524650"/>
                </a:lnTo>
                <a:lnTo>
                  <a:pt x="2259920" y="503253"/>
                </a:lnTo>
                <a:lnTo>
                  <a:pt x="2268084" y="482284"/>
                </a:lnTo>
                <a:lnTo>
                  <a:pt x="2274888" y="461530"/>
                </a:lnTo>
                <a:lnTo>
                  <a:pt x="2281011" y="441630"/>
                </a:lnTo>
                <a:lnTo>
                  <a:pt x="2286227" y="422159"/>
                </a:lnTo>
                <a:lnTo>
                  <a:pt x="2290536" y="403544"/>
                </a:lnTo>
                <a:lnTo>
                  <a:pt x="2293938" y="385357"/>
                </a:lnTo>
                <a:lnTo>
                  <a:pt x="2296886" y="368025"/>
                </a:lnTo>
                <a:lnTo>
                  <a:pt x="2298927" y="351336"/>
                </a:lnTo>
                <a:lnTo>
                  <a:pt x="2300741" y="335716"/>
                </a:lnTo>
                <a:lnTo>
                  <a:pt x="2301875" y="320738"/>
                </a:lnTo>
                <a:lnTo>
                  <a:pt x="2302329" y="306831"/>
                </a:lnTo>
                <a:lnTo>
                  <a:pt x="2302555" y="294206"/>
                </a:lnTo>
                <a:lnTo>
                  <a:pt x="2302555" y="282438"/>
                </a:lnTo>
                <a:lnTo>
                  <a:pt x="2302329" y="271954"/>
                </a:lnTo>
                <a:lnTo>
                  <a:pt x="2302102" y="262539"/>
                </a:lnTo>
                <a:lnTo>
                  <a:pt x="2301195" y="254622"/>
                </a:lnTo>
                <a:lnTo>
                  <a:pt x="2300741" y="247989"/>
                </a:lnTo>
                <a:lnTo>
                  <a:pt x="2299607" y="238789"/>
                </a:lnTo>
                <a:lnTo>
                  <a:pt x="2299154" y="235579"/>
                </a:lnTo>
                <a:lnTo>
                  <a:pt x="2299607" y="236435"/>
                </a:lnTo>
                <a:lnTo>
                  <a:pt x="2301648" y="239645"/>
                </a:lnTo>
                <a:lnTo>
                  <a:pt x="2303916" y="245208"/>
                </a:lnTo>
                <a:lnTo>
                  <a:pt x="2306864" y="252911"/>
                </a:lnTo>
                <a:lnTo>
                  <a:pt x="2310266" y="262753"/>
                </a:lnTo>
                <a:lnTo>
                  <a:pt x="2313668" y="274949"/>
                </a:lnTo>
                <a:lnTo>
                  <a:pt x="2315482" y="282010"/>
                </a:lnTo>
                <a:lnTo>
                  <a:pt x="2317297" y="289499"/>
                </a:lnTo>
                <a:lnTo>
                  <a:pt x="2318884" y="297630"/>
                </a:lnTo>
                <a:lnTo>
                  <a:pt x="2320472" y="306403"/>
                </a:lnTo>
                <a:lnTo>
                  <a:pt x="2322059" y="315603"/>
                </a:lnTo>
                <a:lnTo>
                  <a:pt x="2323420" y="325446"/>
                </a:lnTo>
                <a:lnTo>
                  <a:pt x="2324554" y="335930"/>
                </a:lnTo>
                <a:lnTo>
                  <a:pt x="2325461" y="347057"/>
                </a:lnTo>
                <a:lnTo>
                  <a:pt x="2326368" y="358825"/>
                </a:lnTo>
                <a:lnTo>
                  <a:pt x="2326822" y="371235"/>
                </a:lnTo>
                <a:lnTo>
                  <a:pt x="2327048" y="384073"/>
                </a:lnTo>
                <a:lnTo>
                  <a:pt x="2326822" y="397767"/>
                </a:lnTo>
                <a:lnTo>
                  <a:pt x="2326595" y="411889"/>
                </a:lnTo>
                <a:lnTo>
                  <a:pt x="2325688" y="426653"/>
                </a:lnTo>
                <a:lnTo>
                  <a:pt x="2324780" y="442058"/>
                </a:lnTo>
                <a:lnTo>
                  <a:pt x="2323193" y="458106"/>
                </a:lnTo>
                <a:lnTo>
                  <a:pt x="2320925" y="474796"/>
                </a:lnTo>
                <a:lnTo>
                  <a:pt x="2318657" y="492127"/>
                </a:lnTo>
                <a:lnTo>
                  <a:pt x="2315709" y="510314"/>
                </a:lnTo>
                <a:lnTo>
                  <a:pt x="2312307" y="528929"/>
                </a:lnTo>
                <a:lnTo>
                  <a:pt x="2308225" y="547973"/>
                </a:lnTo>
                <a:lnTo>
                  <a:pt x="2302782" y="567444"/>
                </a:lnTo>
                <a:lnTo>
                  <a:pt x="2296432" y="587343"/>
                </a:lnTo>
                <a:lnTo>
                  <a:pt x="2289629" y="607242"/>
                </a:lnTo>
                <a:lnTo>
                  <a:pt x="2281691" y="627141"/>
                </a:lnTo>
                <a:lnTo>
                  <a:pt x="2273073" y="647254"/>
                </a:lnTo>
                <a:lnTo>
                  <a:pt x="2263775" y="667367"/>
                </a:lnTo>
                <a:lnTo>
                  <a:pt x="2253797" y="687266"/>
                </a:lnTo>
                <a:lnTo>
                  <a:pt x="2243591" y="707165"/>
                </a:lnTo>
                <a:lnTo>
                  <a:pt x="2232705" y="726850"/>
                </a:lnTo>
                <a:lnTo>
                  <a:pt x="2221820" y="746321"/>
                </a:lnTo>
                <a:lnTo>
                  <a:pt x="2210480" y="765792"/>
                </a:lnTo>
                <a:lnTo>
                  <a:pt x="2199141" y="784621"/>
                </a:lnTo>
                <a:lnTo>
                  <a:pt x="2187348" y="803023"/>
                </a:lnTo>
                <a:lnTo>
                  <a:pt x="2175782" y="820782"/>
                </a:lnTo>
                <a:lnTo>
                  <a:pt x="2163989" y="838327"/>
                </a:lnTo>
                <a:lnTo>
                  <a:pt x="2152423" y="855231"/>
                </a:lnTo>
                <a:lnTo>
                  <a:pt x="2141084" y="871278"/>
                </a:lnTo>
                <a:lnTo>
                  <a:pt x="2130198" y="886684"/>
                </a:lnTo>
                <a:lnTo>
                  <a:pt x="2119313" y="901662"/>
                </a:lnTo>
                <a:lnTo>
                  <a:pt x="2099355" y="928408"/>
                </a:lnTo>
                <a:lnTo>
                  <a:pt x="2081439" y="951303"/>
                </a:lnTo>
                <a:lnTo>
                  <a:pt x="2066471" y="970132"/>
                </a:lnTo>
                <a:lnTo>
                  <a:pt x="2055132" y="984040"/>
                </a:lnTo>
                <a:lnTo>
                  <a:pt x="2047648" y="992812"/>
                </a:lnTo>
                <a:lnTo>
                  <a:pt x="2045380" y="995808"/>
                </a:lnTo>
                <a:lnTo>
                  <a:pt x="2049236" y="992812"/>
                </a:lnTo>
                <a:lnTo>
                  <a:pt x="2060802" y="983826"/>
                </a:lnTo>
                <a:lnTo>
                  <a:pt x="2079852" y="969918"/>
                </a:lnTo>
                <a:lnTo>
                  <a:pt x="2105025" y="951517"/>
                </a:lnTo>
                <a:lnTo>
                  <a:pt x="2120220" y="940818"/>
                </a:lnTo>
                <a:lnTo>
                  <a:pt x="2136548" y="929478"/>
                </a:lnTo>
                <a:lnTo>
                  <a:pt x="2154464" y="917068"/>
                </a:lnTo>
                <a:lnTo>
                  <a:pt x="2173288" y="903802"/>
                </a:lnTo>
                <a:lnTo>
                  <a:pt x="2193925" y="890108"/>
                </a:lnTo>
                <a:lnTo>
                  <a:pt x="2215243" y="875986"/>
                </a:lnTo>
                <a:lnTo>
                  <a:pt x="2237922" y="861008"/>
                </a:lnTo>
                <a:lnTo>
                  <a:pt x="2261507" y="846030"/>
                </a:lnTo>
                <a:lnTo>
                  <a:pt x="2286000" y="830625"/>
                </a:lnTo>
                <a:lnTo>
                  <a:pt x="2311627" y="814791"/>
                </a:lnTo>
                <a:lnTo>
                  <a:pt x="2337934" y="798957"/>
                </a:lnTo>
                <a:lnTo>
                  <a:pt x="2364922" y="783124"/>
                </a:lnTo>
                <a:lnTo>
                  <a:pt x="2392589" y="767290"/>
                </a:lnTo>
                <a:lnTo>
                  <a:pt x="2421164" y="751456"/>
                </a:lnTo>
                <a:lnTo>
                  <a:pt x="2449966" y="735837"/>
                </a:lnTo>
                <a:lnTo>
                  <a:pt x="2479448" y="720431"/>
                </a:lnTo>
                <a:lnTo>
                  <a:pt x="2509384" y="705239"/>
                </a:lnTo>
                <a:lnTo>
                  <a:pt x="2539320" y="690689"/>
                </a:lnTo>
                <a:lnTo>
                  <a:pt x="2569936" y="676567"/>
                </a:lnTo>
                <a:lnTo>
                  <a:pt x="2600552" y="662873"/>
                </a:lnTo>
                <a:lnTo>
                  <a:pt x="2631395" y="650035"/>
                </a:lnTo>
                <a:lnTo>
                  <a:pt x="2662238" y="637839"/>
                </a:lnTo>
                <a:lnTo>
                  <a:pt x="2693080" y="626285"/>
                </a:lnTo>
                <a:lnTo>
                  <a:pt x="2724150" y="615587"/>
                </a:lnTo>
                <a:lnTo>
                  <a:pt x="2754313" y="604460"/>
                </a:lnTo>
                <a:lnTo>
                  <a:pt x="2784248" y="591194"/>
                </a:lnTo>
                <a:lnTo>
                  <a:pt x="2813504" y="576216"/>
                </a:lnTo>
                <a:lnTo>
                  <a:pt x="2841625" y="559527"/>
                </a:lnTo>
                <a:lnTo>
                  <a:pt x="2869293" y="541126"/>
                </a:lnTo>
                <a:lnTo>
                  <a:pt x="2896054" y="521227"/>
                </a:lnTo>
                <a:lnTo>
                  <a:pt x="2922134" y="500044"/>
                </a:lnTo>
                <a:lnTo>
                  <a:pt x="2947534" y="478005"/>
                </a:lnTo>
                <a:lnTo>
                  <a:pt x="2971800" y="454896"/>
                </a:lnTo>
                <a:lnTo>
                  <a:pt x="2995613" y="431146"/>
                </a:lnTo>
                <a:lnTo>
                  <a:pt x="3018291" y="406540"/>
                </a:lnTo>
                <a:lnTo>
                  <a:pt x="3040063" y="381505"/>
                </a:lnTo>
                <a:lnTo>
                  <a:pt x="3061154" y="356257"/>
                </a:lnTo>
                <a:lnTo>
                  <a:pt x="3081111" y="330581"/>
                </a:lnTo>
                <a:lnTo>
                  <a:pt x="3100388" y="305333"/>
                </a:lnTo>
                <a:lnTo>
                  <a:pt x="3118757" y="280085"/>
                </a:lnTo>
                <a:lnTo>
                  <a:pt x="3135993" y="254836"/>
                </a:lnTo>
                <a:lnTo>
                  <a:pt x="3152322" y="230230"/>
                </a:lnTo>
                <a:lnTo>
                  <a:pt x="3167516" y="206479"/>
                </a:lnTo>
                <a:lnTo>
                  <a:pt x="3181804" y="183371"/>
                </a:lnTo>
                <a:lnTo>
                  <a:pt x="3195184" y="161332"/>
                </a:lnTo>
                <a:lnTo>
                  <a:pt x="3207204" y="140149"/>
                </a:lnTo>
                <a:lnTo>
                  <a:pt x="3218316" y="120464"/>
                </a:lnTo>
                <a:lnTo>
                  <a:pt x="3228295" y="102063"/>
                </a:lnTo>
                <a:lnTo>
                  <a:pt x="3237366" y="85160"/>
                </a:lnTo>
                <a:lnTo>
                  <a:pt x="3245304" y="69968"/>
                </a:lnTo>
                <a:lnTo>
                  <a:pt x="3251880" y="56916"/>
                </a:lnTo>
                <a:lnTo>
                  <a:pt x="3257323" y="45789"/>
                </a:lnTo>
                <a:lnTo>
                  <a:pt x="3264807" y="30384"/>
                </a:lnTo>
                <a:lnTo>
                  <a:pt x="3267075" y="24821"/>
                </a:lnTo>
                <a:lnTo>
                  <a:pt x="3266848" y="27174"/>
                </a:lnTo>
                <a:lnTo>
                  <a:pt x="3265488" y="33807"/>
                </a:lnTo>
                <a:lnTo>
                  <a:pt x="3262766" y="44934"/>
                </a:lnTo>
                <a:lnTo>
                  <a:pt x="3259138" y="60125"/>
                </a:lnTo>
                <a:lnTo>
                  <a:pt x="3256870" y="69112"/>
                </a:lnTo>
                <a:lnTo>
                  <a:pt x="3254148" y="78954"/>
                </a:lnTo>
                <a:lnTo>
                  <a:pt x="3250747" y="89867"/>
                </a:lnTo>
                <a:lnTo>
                  <a:pt x="3247345" y="101849"/>
                </a:lnTo>
                <a:lnTo>
                  <a:pt x="3243036" y="114687"/>
                </a:lnTo>
                <a:lnTo>
                  <a:pt x="3238273" y="128167"/>
                </a:lnTo>
                <a:lnTo>
                  <a:pt x="3233284" y="142931"/>
                </a:lnTo>
                <a:lnTo>
                  <a:pt x="3227614" y="157909"/>
                </a:lnTo>
                <a:lnTo>
                  <a:pt x="3221491" y="174170"/>
                </a:lnTo>
                <a:lnTo>
                  <a:pt x="3214688" y="191074"/>
                </a:lnTo>
                <a:lnTo>
                  <a:pt x="3206977" y="208619"/>
                </a:lnTo>
                <a:lnTo>
                  <a:pt x="3199039" y="227020"/>
                </a:lnTo>
                <a:lnTo>
                  <a:pt x="3190422" y="246064"/>
                </a:lnTo>
                <a:lnTo>
                  <a:pt x="3180897" y="265749"/>
                </a:lnTo>
                <a:lnTo>
                  <a:pt x="3170691" y="286290"/>
                </a:lnTo>
                <a:lnTo>
                  <a:pt x="3159805" y="307045"/>
                </a:lnTo>
                <a:lnTo>
                  <a:pt x="3148239" y="328869"/>
                </a:lnTo>
                <a:lnTo>
                  <a:pt x="3135993" y="351122"/>
                </a:lnTo>
                <a:lnTo>
                  <a:pt x="3122839" y="373803"/>
                </a:lnTo>
                <a:lnTo>
                  <a:pt x="3108552" y="397339"/>
                </a:lnTo>
                <a:lnTo>
                  <a:pt x="3093811" y="421090"/>
                </a:lnTo>
                <a:lnTo>
                  <a:pt x="3077936" y="445696"/>
                </a:lnTo>
                <a:lnTo>
                  <a:pt x="3061380" y="470516"/>
                </a:lnTo>
                <a:lnTo>
                  <a:pt x="3043691" y="495978"/>
                </a:lnTo>
                <a:lnTo>
                  <a:pt x="3024868" y="521013"/>
                </a:lnTo>
                <a:lnTo>
                  <a:pt x="3004230" y="545619"/>
                </a:lnTo>
                <a:lnTo>
                  <a:pt x="2982005" y="569155"/>
                </a:lnTo>
                <a:lnTo>
                  <a:pt x="2958193" y="592264"/>
                </a:lnTo>
                <a:lnTo>
                  <a:pt x="2933247" y="614945"/>
                </a:lnTo>
                <a:lnTo>
                  <a:pt x="2906939" y="636769"/>
                </a:lnTo>
                <a:lnTo>
                  <a:pt x="2879272" y="658380"/>
                </a:lnTo>
                <a:lnTo>
                  <a:pt x="2850470" y="679349"/>
                </a:lnTo>
                <a:lnTo>
                  <a:pt x="2820988" y="699676"/>
                </a:lnTo>
                <a:lnTo>
                  <a:pt x="2790145" y="719789"/>
                </a:lnTo>
                <a:lnTo>
                  <a:pt x="2758848" y="739688"/>
                </a:lnTo>
                <a:lnTo>
                  <a:pt x="2726872" y="758945"/>
                </a:lnTo>
                <a:lnTo>
                  <a:pt x="2693761" y="778416"/>
                </a:lnTo>
                <a:lnTo>
                  <a:pt x="2660650" y="797245"/>
                </a:lnTo>
                <a:lnTo>
                  <a:pt x="2626632" y="816075"/>
                </a:lnTo>
                <a:lnTo>
                  <a:pt x="2592841" y="834690"/>
                </a:lnTo>
                <a:lnTo>
                  <a:pt x="2523672" y="871706"/>
                </a:lnTo>
                <a:lnTo>
                  <a:pt x="2454502" y="908723"/>
                </a:lnTo>
                <a:lnTo>
                  <a:pt x="2420030" y="927338"/>
                </a:lnTo>
                <a:lnTo>
                  <a:pt x="2385786" y="946167"/>
                </a:lnTo>
                <a:lnTo>
                  <a:pt x="2351768" y="964997"/>
                </a:lnTo>
                <a:lnTo>
                  <a:pt x="2318204" y="983826"/>
                </a:lnTo>
                <a:lnTo>
                  <a:pt x="2285320" y="1003297"/>
                </a:lnTo>
                <a:lnTo>
                  <a:pt x="2252889" y="1022768"/>
                </a:lnTo>
                <a:lnTo>
                  <a:pt x="2220913" y="1042667"/>
                </a:lnTo>
                <a:lnTo>
                  <a:pt x="2190070" y="1062994"/>
                </a:lnTo>
                <a:lnTo>
                  <a:pt x="2159907" y="1083749"/>
                </a:lnTo>
                <a:lnTo>
                  <a:pt x="2130879" y="1104932"/>
                </a:lnTo>
                <a:lnTo>
                  <a:pt x="2102757" y="1126542"/>
                </a:lnTo>
                <a:lnTo>
                  <a:pt x="2075996" y="1148795"/>
                </a:lnTo>
                <a:lnTo>
                  <a:pt x="2050596" y="1171904"/>
                </a:lnTo>
                <a:lnTo>
                  <a:pt x="2027237" y="1196724"/>
                </a:lnTo>
                <a:lnTo>
                  <a:pt x="2005920" y="1223042"/>
                </a:lnTo>
                <a:lnTo>
                  <a:pt x="1986189" y="1250430"/>
                </a:lnTo>
                <a:lnTo>
                  <a:pt x="1968047" y="1278674"/>
                </a:lnTo>
                <a:lnTo>
                  <a:pt x="1951718" y="1308201"/>
                </a:lnTo>
                <a:lnTo>
                  <a:pt x="1936977" y="1338371"/>
                </a:lnTo>
                <a:lnTo>
                  <a:pt x="1923370" y="1369182"/>
                </a:lnTo>
                <a:lnTo>
                  <a:pt x="1911577" y="1400422"/>
                </a:lnTo>
                <a:lnTo>
                  <a:pt x="1900691" y="1432303"/>
                </a:lnTo>
                <a:lnTo>
                  <a:pt x="1891620" y="1464184"/>
                </a:lnTo>
                <a:lnTo>
                  <a:pt x="1883456" y="1495851"/>
                </a:lnTo>
                <a:lnTo>
                  <a:pt x="1876198" y="1527733"/>
                </a:lnTo>
                <a:lnTo>
                  <a:pt x="1870529" y="1559186"/>
                </a:lnTo>
                <a:lnTo>
                  <a:pt x="1865539" y="1590211"/>
                </a:lnTo>
                <a:lnTo>
                  <a:pt x="1861231" y="1620809"/>
                </a:lnTo>
                <a:lnTo>
                  <a:pt x="1857829" y="1650764"/>
                </a:lnTo>
                <a:lnTo>
                  <a:pt x="1855561" y="1679650"/>
                </a:lnTo>
                <a:lnTo>
                  <a:pt x="1853747" y="1707466"/>
                </a:lnTo>
                <a:lnTo>
                  <a:pt x="1852386" y="1734426"/>
                </a:lnTo>
                <a:lnTo>
                  <a:pt x="1851479" y="1759888"/>
                </a:lnTo>
                <a:lnTo>
                  <a:pt x="1851252" y="1784066"/>
                </a:lnTo>
                <a:lnTo>
                  <a:pt x="1851252" y="1806747"/>
                </a:lnTo>
                <a:lnTo>
                  <a:pt x="1851706" y="1827502"/>
                </a:lnTo>
                <a:lnTo>
                  <a:pt x="1852386" y="1846331"/>
                </a:lnTo>
                <a:lnTo>
                  <a:pt x="1853066" y="1863021"/>
                </a:lnTo>
                <a:lnTo>
                  <a:pt x="1853973" y="1877785"/>
                </a:lnTo>
                <a:lnTo>
                  <a:pt x="1854654" y="1890195"/>
                </a:lnTo>
                <a:lnTo>
                  <a:pt x="1856241" y="1907312"/>
                </a:lnTo>
                <a:lnTo>
                  <a:pt x="1856922" y="1913303"/>
                </a:lnTo>
                <a:lnTo>
                  <a:pt x="1857602" y="1910950"/>
                </a:lnTo>
                <a:lnTo>
                  <a:pt x="1860550" y="1904745"/>
                </a:lnTo>
                <a:lnTo>
                  <a:pt x="1865313" y="1894474"/>
                </a:lnTo>
                <a:lnTo>
                  <a:pt x="1872343" y="1880138"/>
                </a:lnTo>
                <a:lnTo>
                  <a:pt x="1876879" y="1871579"/>
                </a:lnTo>
                <a:lnTo>
                  <a:pt x="1882095" y="1862165"/>
                </a:lnTo>
                <a:lnTo>
                  <a:pt x="1888218" y="1851680"/>
                </a:lnTo>
                <a:lnTo>
                  <a:pt x="1895022" y="1840126"/>
                </a:lnTo>
                <a:lnTo>
                  <a:pt x="1902732" y="1827716"/>
                </a:lnTo>
                <a:lnTo>
                  <a:pt x="1911123" y="1814664"/>
                </a:lnTo>
                <a:lnTo>
                  <a:pt x="1920648" y="1800542"/>
                </a:lnTo>
                <a:lnTo>
                  <a:pt x="1930854" y="1785564"/>
                </a:lnTo>
                <a:lnTo>
                  <a:pt x="1942193" y="1769731"/>
                </a:lnTo>
                <a:lnTo>
                  <a:pt x="1954213" y="1753041"/>
                </a:lnTo>
                <a:lnTo>
                  <a:pt x="1967593" y="1735710"/>
                </a:lnTo>
                <a:lnTo>
                  <a:pt x="1981881" y="1717308"/>
                </a:lnTo>
                <a:lnTo>
                  <a:pt x="1997529" y="1698051"/>
                </a:lnTo>
                <a:lnTo>
                  <a:pt x="2014084" y="1678152"/>
                </a:lnTo>
                <a:lnTo>
                  <a:pt x="2032000" y="1657397"/>
                </a:lnTo>
                <a:lnTo>
                  <a:pt x="2050823" y="1636001"/>
                </a:lnTo>
                <a:lnTo>
                  <a:pt x="2071234" y="1613748"/>
                </a:lnTo>
                <a:lnTo>
                  <a:pt x="2092779" y="1590853"/>
                </a:lnTo>
                <a:lnTo>
                  <a:pt x="2115684" y="1567103"/>
                </a:lnTo>
                <a:lnTo>
                  <a:pt x="2139950" y="1542496"/>
                </a:lnTo>
                <a:lnTo>
                  <a:pt x="2165350" y="1517462"/>
                </a:lnTo>
                <a:lnTo>
                  <a:pt x="2192564" y="1491572"/>
                </a:lnTo>
                <a:lnTo>
                  <a:pt x="2220913" y="1465040"/>
                </a:lnTo>
                <a:lnTo>
                  <a:pt x="2251075" y="1438080"/>
                </a:lnTo>
                <a:lnTo>
                  <a:pt x="2282372" y="1411762"/>
                </a:lnTo>
                <a:lnTo>
                  <a:pt x="2313895" y="1388011"/>
                </a:lnTo>
                <a:lnTo>
                  <a:pt x="2346325" y="1366401"/>
                </a:lnTo>
                <a:lnTo>
                  <a:pt x="2379209" y="1347358"/>
                </a:lnTo>
                <a:lnTo>
                  <a:pt x="2412320" y="1330454"/>
                </a:lnTo>
                <a:lnTo>
                  <a:pt x="2445884" y="1315262"/>
                </a:lnTo>
                <a:lnTo>
                  <a:pt x="2479222" y="1302424"/>
                </a:lnTo>
                <a:lnTo>
                  <a:pt x="2512786" y="1290870"/>
                </a:lnTo>
                <a:lnTo>
                  <a:pt x="2546123" y="1281455"/>
                </a:lnTo>
                <a:lnTo>
                  <a:pt x="2579234" y="1273539"/>
                </a:lnTo>
                <a:lnTo>
                  <a:pt x="2612345" y="1267119"/>
                </a:lnTo>
                <a:lnTo>
                  <a:pt x="2644775" y="1262198"/>
                </a:lnTo>
                <a:lnTo>
                  <a:pt x="2676752" y="1258133"/>
                </a:lnTo>
                <a:lnTo>
                  <a:pt x="2708048" y="1255565"/>
                </a:lnTo>
                <a:lnTo>
                  <a:pt x="2738664" y="1254067"/>
                </a:lnTo>
                <a:lnTo>
                  <a:pt x="2768373" y="1253639"/>
                </a:lnTo>
                <a:lnTo>
                  <a:pt x="2797175" y="1253853"/>
                </a:lnTo>
                <a:lnTo>
                  <a:pt x="2824616" y="1254923"/>
                </a:lnTo>
                <a:lnTo>
                  <a:pt x="2851377" y="1256635"/>
                </a:lnTo>
                <a:lnTo>
                  <a:pt x="2876550" y="1258775"/>
                </a:lnTo>
                <a:lnTo>
                  <a:pt x="2900363" y="1261556"/>
                </a:lnTo>
                <a:lnTo>
                  <a:pt x="2922588" y="1264552"/>
                </a:lnTo>
                <a:lnTo>
                  <a:pt x="2943452" y="1267761"/>
                </a:lnTo>
                <a:lnTo>
                  <a:pt x="2962502" y="1271185"/>
                </a:lnTo>
                <a:lnTo>
                  <a:pt x="2979511" y="1274608"/>
                </a:lnTo>
                <a:lnTo>
                  <a:pt x="2994932" y="1277818"/>
                </a:lnTo>
                <a:lnTo>
                  <a:pt x="3008086" y="1280813"/>
                </a:lnTo>
                <a:lnTo>
                  <a:pt x="3018972" y="1283381"/>
                </a:lnTo>
                <a:lnTo>
                  <a:pt x="3033939" y="1287660"/>
                </a:lnTo>
                <a:lnTo>
                  <a:pt x="3039382" y="1289158"/>
                </a:lnTo>
                <a:lnTo>
                  <a:pt x="3034847" y="1288730"/>
                </a:lnTo>
                <a:lnTo>
                  <a:pt x="3021466" y="1287874"/>
                </a:lnTo>
                <a:lnTo>
                  <a:pt x="3011714" y="1287660"/>
                </a:lnTo>
                <a:lnTo>
                  <a:pt x="3000148" y="1287446"/>
                </a:lnTo>
                <a:lnTo>
                  <a:pt x="2986768" y="1287660"/>
                </a:lnTo>
                <a:lnTo>
                  <a:pt x="2971120" y="1287874"/>
                </a:lnTo>
                <a:lnTo>
                  <a:pt x="2954338" y="1288944"/>
                </a:lnTo>
                <a:lnTo>
                  <a:pt x="2935288" y="1290228"/>
                </a:lnTo>
                <a:lnTo>
                  <a:pt x="2915104" y="1292154"/>
                </a:lnTo>
                <a:lnTo>
                  <a:pt x="2893559" y="1294721"/>
                </a:lnTo>
                <a:lnTo>
                  <a:pt x="2870200" y="1298145"/>
                </a:lnTo>
                <a:lnTo>
                  <a:pt x="2845707" y="1301996"/>
                </a:lnTo>
                <a:lnTo>
                  <a:pt x="2820080" y="1307345"/>
                </a:lnTo>
                <a:lnTo>
                  <a:pt x="2793093" y="1313551"/>
                </a:lnTo>
                <a:lnTo>
                  <a:pt x="2764972" y="1320825"/>
                </a:lnTo>
                <a:lnTo>
                  <a:pt x="2735943" y="1329170"/>
                </a:lnTo>
                <a:lnTo>
                  <a:pt x="2706007" y="1338799"/>
                </a:lnTo>
                <a:lnTo>
                  <a:pt x="2674938" y="1350139"/>
                </a:lnTo>
                <a:lnTo>
                  <a:pt x="2643414" y="1362549"/>
                </a:lnTo>
                <a:lnTo>
                  <a:pt x="2610984" y="1376457"/>
                </a:lnTo>
                <a:lnTo>
                  <a:pt x="2577647" y="1392077"/>
                </a:lnTo>
                <a:lnTo>
                  <a:pt x="2544309" y="1409408"/>
                </a:lnTo>
                <a:lnTo>
                  <a:pt x="2510064" y="1428451"/>
                </a:lnTo>
                <a:lnTo>
                  <a:pt x="2475593" y="1449634"/>
                </a:lnTo>
                <a:lnTo>
                  <a:pt x="2440895" y="1472529"/>
                </a:lnTo>
                <a:lnTo>
                  <a:pt x="2405516" y="1497563"/>
                </a:lnTo>
                <a:lnTo>
                  <a:pt x="2370364" y="1524737"/>
                </a:lnTo>
                <a:lnTo>
                  <a:pt x="2334986" y="1554051"/>
                </a:lnTo>
                <a:lnTo>
                  <a:pt x="2299607" y="1585718"/>
                </a:lnTo>
                <a:lnTo>
                  <a:pt x="2264229" y="1619953"/>
                </a:lnTo>
                <a:lnTo>
                  <a:pt x="2230211" y="1654616"/>
                </a:lnTo>
                <a:lnTo>
                  <a:pt x="2198007" y="1688637"/>
                </a:lnTo>
                <a:lnTo>
                  <a:pt x="2168525" y="1722016"/>
                </a:lnTo>
                <a:lnTo>
                  <a:pt x="2140857" y="1754325"/>
                </a:lnTo>
                <a:lnTo>
                  <a:pt x="2115457" y="1786206"/>
                </a:lnTo>
                <a:lnTo>
                  <a:pt x="2091871" y="1817446"/>
                </a:lnTo>
                <a:lnTo>
                  <a:pt x="2070327" y="1848257"/>
                </a:lnTo>
                <a:lnTo>
                  <a:pt x="2050596" y="1878212"/>
                </a:lnTo>
                <a:lnTo>
                  <a:pt x="2032680" y="1907740"/>
                </a:lnTo>
                <a:lnTo>
                  <a:pt x="2016579" y="1937054"/>
                </a:lnTo>
                <a:lnTo>
                  <a:pt x="2002064" y="1965939"/>
                </a:lnTo>
                <a:lnTo>
                  <a:pt x="1989364" y="1994611"/>
                </a:lnTo>
                <a:lnTo>
                  <a:pt x="1978025" y="2022641"/>
                </a:lnTo>
                <a:lnTo>
                  <a:pt x="1968047" y="2050671"/>
                </a:lnTo>
                <a:lnTo>
                  <a:pt x="1959429" y="2078701"/>
                </a:lnTo>
                <a:lnTo>
                  <a:pt x="1952172" y="2106302"/>
                </a:lnTo>
                <a:lnTo>
                  <a:pt x="1946275" y="2134118"/>
                </a:lnTo>
                <a:lnTo>
                  <a:pt x="1941513" y="2161720"/>
                </a:lnTo>
                <a:lnTo>
                  <a:pt x="1937884" y="2189322"/>
                </a:lnTo>
                <a:lnTo>
                  <a:pt x="1935389" y="2217138"/>
                </a:lnTo>
                <a:lnTo>
                  <a:pt x="1933802" y="2244954"/>
                </a:lnTo>
                <a:lnTo>
                  <a:pt x="1932895" y="2272984"/>
                </a:lnTo>
                <a:lnTo>
                  <a:pt x="1933122" y="2301441"/>
                </a:lnTo>
                <a:lnTo>
                  <a:pt x="1934256" y="2329899"/>
                </a:ln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4" name="TextBox 81">
            <a:extLst>
              <a:ext uri="{FF2B5EF4-FFF2-40B4-BE49-F238E27FC236}">
                <a16:creationId xmlns:a16="http://schemas.microsoft.com/office/drawing/2014/main" id="{37F65391-C708-4D14-B698-7116E9B8994C}"/>
              </a:ext>
            </a:extLst>
          </p:cNvPr>
          <p:cNvSpPr txBox="1"/>
          <p:nvPr/>
        </p:nvSpPr>
        <p:spPr>
          <a:xfrm>
            <a:off x="851905" y="1234713"/>
            <a:ext cx="3908781" cy="132343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0" b="1" i="0" u="none" strike="noStrike" kern="1200" cap="none" spc="0" normalizeH="0" baseline="0" noProof="0" dirty="0">
                <a:ln>
                  <a:noFill/>
                </a:ln>
                <a:solidFill>
                  <a:srgbClr val="000000">
                    <a:lumMod val="85000"/>
                    <a:lumOff val="15000"/>
                  </a:srgbClr>
                </a:solidFill>
                <a:effectLst/>
                <a:uLnTx/>
                <a:uFillTx/>
                <a:latin typeface="等线 Light" panose="020F0302020204030204"/>
                <a:ea typeface="+mn-ea"/>
                <a:cs typeface="Arial" panose="020B0604020202020204" pitchFamily="34" charset="0"/>
              </a:rPr>
              <a:t>Your Title Text Goes Here</a:t>
            </a:r>
          </a:p>
        </p:txBody>
      </p:sp>
      <p:sp>
        <p:nvSpPr>
          <p:cNvPr id="5" name="Rectangle: Top Corners Rounded 82">
            <a:extLst>
              <a:ext uri="{FF2B5EF4-FFF2-40B4-BE49-F238E27FC236}">
                <a16:creationId xmlns:a16="http://schemas.microsoft.com/office/drawing/2014/main" id="{329B0569-A4FA-4C01-94E1-3A5B62EE4166}"/>
              </a:ext>
            </a:extLst>
          </p:cNvPr>
          <p:cNvSpPr/>
          <p:nvPr/>
        </p:nvSpPr>
        <p:spPr>
          <a:xfrm>
            <a:off x="851905" y="3126658"/>
            <a:ext cx="3908781" cy="3731342"/>
          </a:xfrm>
          <a:prstGeom prst="round2SameRect">
            <a:avLst>
              <a:gd name="adj1" fmla="val 4902"/>
              <a:gd name="adj2"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等线" panose="020F0502020204030204"/>
                <a:ea typeface="+mn-ea"/>
                <a:cs typeface="+mn-cs"/>
              </a:rPr>
              <a:t> </a:t>
            </a:r>
          </a:p>
        </p:txBody>
      </p:sp>
      <p:sp>
        <p:nvSpPr>
          <p:cNvPr id="6" name="Rectangle 83">
            <a:extLst>
              <a:ext uri="{FF2B5EF4-FFF2-40B4-BE49-F238E27FC236}">
                <a16:creationId xmlns:a16="http://schemas.microsoft.com/office/drawing/2014/main" id="{C3651A1C-1DFC-49D7-BCC1-D2010B6E0501}"/>
              </a:ext>
            </a:extLst>
          </p:cNvPr>
          <p:cNvSpPr/>
          <p:nvPr/>
        </p:nvSpPr>
        <p:spPr>
          <a:xfrm>
            <a:off x="1301345" y="3530775"/>
            <a:ext cx="3009900" cy="2923108"/>
          </a:xfrm>
          <a:prstGeom prst="rect">
            <a:avLst/>
          </a:prstGeom>
        </p:spPr>
        <p:txBody>
          <a:bodyPr wrap="square">
            <a:spAutoFit/>
          </a:bodyPr>
          <a:lstStyle/>
          <a:p>
            <a:pPr marL="0" marR="0" lvl="0" indent="0" algn="l" defTabSz="914400" rtl="0" eaLnBrk="1" fontAlgn="auto" latinLnBrk="0" hangingPunct="1">
              <a:lnSpc>
                <a:spcPct val="13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0000">
                    <a:lumMod val="50000"/>
                    <a:lumOff val="50000"/>
                  </a:srgbClr>
                </a:solidFill>
                <a:effectLst/>
                <a:uLnTx/>
                <a:uFillTx/>
                <a:latin typeface="等线" panose="020F0502020204030204"/>
                <a:ea typeface="Open Sans" panose="020B0606030504020204" pitchFamily="34" charset="0"/>
                <a:cs typeface="Segoe UI" panose="020B0502040204020203" pitchFamily="34" charset="0"/>
              </a:rPr>
              <a:t>“Integer </a:t>
            </a:r>
            <a:r>
              <a:rPr kumimoji="0" lang="en-US" sz="2400" b="0" i="0" u="none" strike="noStrike" kern="1200" cap="none" spc="0" normalizeH="0" baseline="0" noProof="0" dirty="0" err="1">
                <a:ln>
                  <a:noFill/>
                </a:ln>
                <a:solidFill>
                  <a:srgbClr val="000000">
                    <a:lumMod val="50000"/>
                    <a:lumOff val="50000"/>
                  </a:srgbClr>
                </a:solidFill>
                <a:effectLst/>
                <a:uLnTx/>
                <a:uFillTx/>
                <a:latin typeface="等线" panose="020F0502020204030204"/>
                <a:ea typeface="Open Sans" panose="020B0606030504020204" pitchFamily="34" charset="0"/>
                <a:cs typeface="Segoe UI" panose="020B0502040204020203" pitchFamily="34" charset="0"/>
              </a:rPr>
              <a:t>tincidunt</a:t>
            </a:r>
            <a:r>
              <a:rPr kumimoji="0" lang="en-US" sz="2400" b="0" i="0" u="none" strike="noStrike" kern="1200" cap="none" spc="0" normalizeH="0" baseline="0" noProof="0" dirty="0">
                <a:ln>
                  <a:noFill/>
                </a:ln>
                <a:solidFill>
                  <a:srgbClr val="000000">
                    <a:lumMod val="50000"/>
                    <a:lumOff val="50000"/>
                  </a:srgbClr>
                </a:solidFill>
                <a:effectLst/>
                <a:uLnTx/>
                <a:uFillTx/>
                <a:latin typeface="等线" panose="020F0502020204030204"/>
                <a:ea typeface="Open Sans" panose="020B0606030504020204" pitchFamily="34" charset="0"/>
                <a:cs typeface="Segoe UI" panose="020B0502040204020203" pitchFamily="34" charset="0"/>
              </a:rPr>
              <a:t>. Cras </a:t>
            </a:r>
            <a:r>
              <a:rPr kumimoji="0" lang="en-US" sz="2400" b="0" i="0" u="none" strike="noStrike" kern="1200" cap="none" spc="0" normalizeH="0" baseline="0" noProof="0" dirty="0" err="1">
                <a:ln>
                  <a:noFill/>
                </a:ln>
                <a:solidFill>
                  <a:srgbClr val="000000">
                    <a:lumMod val="50000"/>
                    <a:lumOff val="50000"/>
                  </a:srgbClr>
                </a:solidFill>
                <a:effectLst/>
                <a:uLnTx/>
                <a:uFillTx/>
                <a:latin typeface="等线" panose="020F0502020204030204"/>
                <a:ea typeface="Open Sans" panose="020B0606030504020204" pitchFamily="34" charset="0"/>
                <a:cs typeface="Segoe UI" panose="020B0502040204020203" pitchFamily="34" charset="0"/>
              </a:rPr>
              <a:t>dapibus</a:t>
            </a:r>
            <a:r>
              <a:rPr kumimoji="0" lang="en-US" sz="2400" b="0" i="0" u="none" strike="noStrike" kern="1200" cap="none" spc="0" normalizeH="0" baseline="0" noProof="0" dirty="0">
                <a:ln>
                  <a:noFill/>
                </a:ln>
                <a:solidFill>
                  <a:srgbClr val="000000">
                    <a:lumMod val="50000"/>
                    <a:lumOff val="50000"/>
                  </a:srgbClr>
                </a:solidFill>
                <a:effectLst/>
                <a:uLnTx/>
                <a:uFillTx/>
                <a:latin typeface="等线" panose="020F0502020204030204"/>
                <a:ea typeface="Open Sans" panose="020B0606030504020204" pitchFamily="34" charset="0"/>
                <a:cs typeface="Segoe UI" panose="020B0502040204020203" pitchFamily="34" charset="0"/>
              </a:rPr>
              <a:t>. </a:t>
            </a:r>
            <a:r>
              <a:rPr kumimoji="0" lang="en-US" sz="2400" b="0" i="0" u="none" strike="noStrike" kern="1200" cap="none" spc="0" normalizeH="0" baseline="0" noProof="0" dirty="0" err="1">
                <a:ln>
                  <a:noFill/>
                </a:ln>
                <a:solidFill>
                  <a:srgbClr val="000000">
                    <a:lumMod val="50000"/>
                    <a:lumOff val="50000"/>
                  </a:srgbClr>
                </a:solidFill>
                <a:effectLst/>
                <a:uLnTx/>
                <a:uFillTx/>
                <a:latin typeface="等线" panose="020F0502020204030204"/>
                <a:ea typeface="Open Sans" panose="020B0606030504020204" pitchFamily="34" charset="0"/>
                <a:cs typeface="Segoe UI" panose="020B0502040204020203" pitchFamily="34" charset="0"/>
              </a:rPr>
              <a:t>Vivamus</a:t>
            </a:r>
            <a:r>
              <a:rPr kumimoji="0" lang="en-US" sz="2400" b="0" i="0" u="none" strike="noStrike" kern="1200" cap="none" spc="0" normalizeH="0" baseline="0" noProof="0" dirty="0">
                <a:ln>
                  <a:noFill/>
                </a:ln>
                <a:solidFill>
                  <a:srgbClr val="000000">
                    <a:lumMod val="50000"/>
                    <a:lumOff val="50000"/>
                  </a:srgbClr>
                </a:solidFill>
                <a:effectLst/>
                <a:uLnTx/>
                <a:uFillTx/>
                <a:latin typeface="等线" panose="020F0502020204030204"/>
                <a:ea typeface="Open Sans" panose="020B0606030504020204" pitchFamily="34" charset="0"/>
                <a:cs typeface="Segoe UI" panose="020B0502040204020203" pitchFamily="34" charset="0"/>
              </a:rPr>
              <a:t> </a:t>
            </a:r>
            <a:r>
              <a:rPr kumimoji="0" lang="en-US" sz="2400" b="0" i="0" u="none" strike="noStrike" kern="1200" cap="none" spc="0" normalizeH="0" baseline="0" noProof="0" dirty="0" err="1">
                <a:ln>
                  <a:noFill/>
                </a:ln>
                <a:solidFill>
                  <a:srgbClr val="000000">
                    <a:lumMod val="50000"/>
                    <a:lumOff val="50000"/>
                  </a:srgbClr>
                </a:solidFill>
                <a:effectLst/>
                <a:uLnTx/>
                <a:uFillTx/>
                <a:latin typeface="等线" panose="020F0502020204030204"/>
                <a:ea typeface="Open Sans" panose="020B0606030504020204" pitchFamily="34" charset="0"/>
                <a:cs typeface="Segoe UI" panose="020B0502040204020203" pitchFamily="34" charset="0"/>
              </a:rPr>
              <a:t>elementum</a:t>
            </a:r>
            <a:r>
              <a:rPr kumimoji="0" lang="en-US" sz="2400" b="0" i="0" u="none" strike="noStrike" kern="1200" cap="none" spc="0" normalizeH="0" baseline="0" noProof="0" dirty="0">
                <a:ln>
                  <a:noFill/>
                </a:ln>
                <a:solidFill>
                  <a:srgbClr val="000000">
                    <a:lumMod val="50000"/>
                    <a:lumOff val="50000"/>
                  </a:srgbClr>
                </a:solidFill>
                <a:effectLst/>
                <a:uLnTx/>
                <a:uFillTx/>
                <a:latin typeface="等线" panose="020F0502020204030204"/>
                <a:ea typeface="Open Sans" panose="020B0606030504020204" pitchFamily="34" charset="0"/>
                <a:cs typeface="Segoe UI" panose="020B0502040204020203" pitchFamily="34" charset="0"/>
              </a:rPr>
              <a:t> semper nisi. </a:t>
            </a:r>
            <a:r>
              <a:rPr kumimoji="0" lang="en-US" sz="2400" b="0" i="0" u="none" strike="noStrike" kern="1200" cap="none" spc="0" normalizeH="0" baseline="0" noProof="0" dirty="0" err="1">
                <a:ln>
                  <a:noFill/>
                </a:ln>
                <a:solidFill>
                  <a:srgbClr val="000000">
                    <a:lumMod val="50000"/>
                    <a:lumOff val="50000"/>
                  </a:srgbClr>
                </a:solidFill>
                <a:effectLst/>
                <a:uLnTx/>
                <a:uFillTx/>
                <a:latin typeface="等线" panose="020F0502020204030204"/>
                <a:ea typeface="Open Sans" panose="020B0606030504020204" pitchFamily="34" charset="0"/>
                <a:cs typeface="Segoe UI" panose="020B0502040204020203" pitchFamily="34" charset="0"/>
              </a:rPr>
              <a:t>Aenean</a:t>
            </a:r>
            <a:r>
              <a:rPr kumimoji="0" lang="en-US" sz="2400" b="0" i="0" u="none" strike="noStrike" kern="1200" cap="none" spc="0" normalizeH="0" baseline="0" noProof="0" dirty="0">
                <a:ln>
                  <a:noFill/>
                </a:ln>
                <a:solidFill>
                  <a:srgbClr val="000000">
                    <a:lumMod val="50000"/>
                    <a:lumOff val="50000"/>
                  </a:srgbClr>
                </a:solidFill>
                <a:effectLst/>
                <a:uLnTx/>
                <a:uFillTx/>
                <a:latin typeface="等线" panose="020F0502020204030204"/>
                <a:ea typeface="Open Sans" panose="020B0606030504020204" pitchFamily="34" charset="0"/>
                <a:cs typeface="Segoe UI" panose="020B0502040204020203" pitchFamily="34" charset="0"/>
              </a:rPr>
              <a:t> </a:t>
            </a:r>
            <a:r>
              <a:rPr kumimoji="0" lang="en-US" sz="2400" b="0" i="0" u="none" strike="noStrike" kern="1200" cap="none" spc="0" normalizeH="0" baseline="0" noProof="0" dirty="0" err="1">
                <a:ln>
                  <a:noFill/>
                </a:ln>
                <a:solidFill>
                  <a:srgbClr val="000000">
                    <a:lumMod val="50000"/>
                    <a:lumOff val="50000"/>
                  </a:srgbClr>
                </a:solidFill>
                <a:effectLst/>
                <a:uLnTx/>
                <a:uFillTx/>
                <a:latin typeface="等线" panose="020F0502020204030204"/>
                <a:ea typeface="Open Sans" panose="020B0606030504020204" pitchFamily="34" charset="0"/>
                <a:cs typeface="Segoe UI" panose="020B0502040204020203" pitchFamily="34" charset="0"/>
              </a:rPr>
              <a:t>vulputate</a:t>
            </a:r>
            <a:r>
              <a:rPr kumimoji="0" lang="en-US" sz="2400" b="0" i="0" u="none" strike="noStrike" kern="1200" cap="none" spc="0" normalizeH="0" baseline="0" noProof="0" dirty="0">
                <a:ln>
                  <a:noFill/>
                </a:ln>
                <a:solidFill>
                  <a:srgbClr val="000000">
                    <a:lumMod val="50000"/>
                    <a:lumOff val="50000"/>
                  </a:srgbClr>
                </a:solidFill>
                <a:effectLst/>
                <a:uLnTx/>
                <a:uFillTx/>
                <a:latin typeface="等线" panose="020F0502020204030204"/>
                <a:ea typeface="Open Sans" panose="020B0606030504020204" pitchFamily="34" charset="0"/>
                <a:cs typeface="Segoe UI" panose="020B0502040204020203" pitchFamily="34" charset="0"/>
              </a:rPr>
              <a:t> </a:t>
            </a:r>
            <a:r>
              <a:rPr kumimoji="0" lang="en-US" sz="2400" b="0" i="0" u="none" strike="noStrike" kern="1200" cap="none" spc="0" normalizeH="0" baseline="0" noProof="0" dirty="0" err="1">
                <a:ln>
                  <a:noFill/>
                </a:ln>
                <a:solidFill>
                  <a:srgbClr val="000000">
                    <a:lumMod val="50000"/>
                    <a:lumOff val="50000"/>
                  </a:srgbClr>
                </a:solidFill>
                <a:effectLst/>
                <a:uLnTx/>
                <a:uFillTx/>
                <a:latin typeface="等线" panose="020F0502020204030204"/>
                <a:ea typeface="Open Sans" panose="020B0606030504020204" pitchFamily="34" charset="0"/>
                <a:cs typeface="Segoe UI" panose="020B0502040204020203" pitchFamily="34" charset="0"/>
              </a:rPr>
              <a:t>eleifend</a:t>
            </a:r>
            <a:r>
              <a:rPr kumimoji="0" lang="en-US" sz="2400" b="0" i="0" u="none" strike="noStrike" kern="1200" cap="none" spc="0" normalizeH="0" baseline="0" noProof="0" dirty="0">
                <a:ln>
                  <a:noFill/>
                </a:ln>
                <a:solidFill>
                  <a:srgbClr val="000000">
                    <a:lumMod val="50000"/>
                    <a:lumOff val="50000"/>
                  </a:srgbClr>
                </a:solidFill>
                <a:effectLst/>
                <a:uLnTx/>
                <a:uFillTx/>
                <a:latin typeface="等线" panose="020F0502020204030204"/>
                <a:ea typeface="Open Sans" panose="020B0606030504020204" pitchFamily="34" charset="0"/>
                <a:cs typeface="Segoe UI" panose="020B0502040204020203" pitchFamily="34" charset="0"/>
              </a:rPr>
              <a:t> </a:t>
            </a:r>
            <a:r>
              <a:rPr kumimoji="0" lang="en-US" sz="2400" b="0" i="0" u="none" strike="noStrike" kern="1200" cap="none" spc="0" normalizeH="0" baseline="0" noProof="0" dirty="0" err="1">
                <a:ln>
                  <a:noFill/>
                </a:ln>
                <a:solidFill>
                  <a:srgbClr val="000000">
                    <a:lumMod val="50000"/>
                    <a:lumOff val="50000"/>
                  </a:srgbClr>
                </a:solidFill>
                <a:effectLst/>
                <a:uLnTx/>
                <a:uFillTx/>
                <a:latin typeface="等线" panose="020F0502020204030204"/>
                <a:ea typeface="Open Sans" panose="020B0606030504020204" pitchFamily="34" charset="0"/>
                <a:cs typeface="Segoe UI" panose="020B0502040204020203" pitchFamily="34" charset="0"/>
              </a:rPr>
              <a:t>tellus</a:t>
            </a:r>
            <a:r>
              <a:rPr kumimoji="0" lang="en-US" sz="2400" b="0" i="0" u="none" strike="noStrike" kern="1200" cap="none" spc="0" normalizeH="0" baseline="0" noProof="0" dirty="0">
                <a:ln>
                  <a:noFill/>
                </a:ln>
                <a:solidFill>
                  <a:srgbClr val="000000">
                    <a:lumMod val="50000"/>
                    <a:lumOff val="50000"/>
                  </a:srgbClr>
                </a:solidFill>
                <a:effectLst/>
                <a:uLnTx/>
                <a:uFillTx/>
                <a:latin typeface="等线" panose="020F0502020204030204"/>
                <a:ea typeface="Open Sans" panose="020B0606030504020204" pitchFamily="34" charset="0"/>
                <a:cs typeface="Segoe UI" panose="020B0502040204020203" pitchFamily="34" charset="0"/>
              </a:rPr>
              <a:t>”</a:t>
            </a:r>
            <a:endParaRPr kumimoji="0" lang="en-US" sz="2400" b="0" i="0" u="none" strike="noStrike" kern="1200" cap="none" spc="0" normalizeH="0" baseline="0" noProof="0" dirty="0">
              <a:ln>
                <a:noFill/>
              </a:ln>
              <a:solidFill>
                <a:srgbClr val="000000">
                  <a:lumMod val="50000"/>
                  <a:lumOff val="50000"/>
                </a:srgbClr>
              </a:solidFill>
              <a:effectLst/>
              <a:uLnTx/>
              <a:uFillTx/>
              <a:latin typeface="等线" panose="020F0502020204030204"/>
              <a:ea typeface="+mn-ea"/>
              <a:cs typeface="+mn-cs"/>
            </a:endParaRPr>
          </a:p>
        </p:txBody>
      </p:sp>
      <p:grpSp>
        <p:nvGrpSpPr>
          <p:cNvPr id="7" name="Group 84">
            <a:extLst>
              <a:ext uri="{FF2B5EF4-FFF2-40B4-BE49-F238E27FC236}">
                <a16:creationId xmlns:a16="http://schemas.microsoft.com/office/drawing/2014/main" id="{9E4D7863-4691-4A47-A6A4-9277A1E612CA}"/>
              </a:ext>
            </a:extLst>
          </p:cNvPr>
          <p:cNvGrpSpPr/>
          <p:nvPr/>
        </p:nvGrpSpPr>
        <p:grpSpPr>
          <a:xfrm>
            <a:off x="5558469" y="3126658"/>
            <a:ext cx="2759558" cy="624896"/>
            <a:chOff x="2546382" y="2667000"/>
            <a:chExt cx="3437905" cy="778506"/>
          </a:xfrm>
        </p:grpSpPr>
        <p:grpSp>
          <p:nvGrpSpPr>
            <p:cNvPr id="8" name="Group 85">
              <a:extLst>
                <a:ext uri="{FF2B5EF4-FFF2-40B4-BE49-F238E27FC236}">
                  <a16:creationId xmlns:a16="http://schemas.microsoft.com/office/drawing/2014/main" id="{6DE8E78C-F2E3-44B6-B44E-294862DB5B11}"/>
                </a:ext>
              </a:extLst>
            </p:cNvPr>
            <p:cNvGrpSpPr/>
            <p:nvPr/>
          </p:nvGrpSpPr>
          <p:grpSpPr>
            <a:xfrm>
              <a:off x="2546382" y="2667000"/>
              <a:ext cx="3437905" cy="778506"/>
              <a:chOff x="1007217" y="2853340"/>
              <a:chExt cx="3437905" cy="778506"/>
            </a:xfrm>
          </p:grpSpPr>
          <p:sp>
            <p:nvSpPr>
              <p:cNvPr id="11" name="Rectangle: Rounded Corners 5">
                <a:extLst>
                  <a:ext uri="{FF2B5EF4-FFF2-40B4-BE49-F238E27FC236}">
                    <a16:creationId xmlns:a16="http://schemas.microsoft.com/office/drawing/2014/main" id="{0DC2AC79-2108-4D82-8DAA-DD208863B467}"/>
                  </a:ext>
                </a:extLst>
              </p:cNvPr>
              <p:cNvSpPr/>
              <p:nvPr/>
            </p:nvSpPr>
            <p:spPr>
              <a:xfrm>
                <a:off x="1007217" y="2853340"/>
                <a:ext cx="3437905" cy="778506"/>
              </a:xfrm>
              <a:prstGeom prst="roundRect">
                <a:avLst>
                  <a:gd name="adj" fmla="val 50000"/>
                </a:avLst>
              </a:prstGeom>
              <a:solidFill>
                <a:schemeClr val="accent4"/>
              </a:solidFill>
              <a:ln>
                <a:noFill/>
              </a:ln>
              <a:effectLst>
                <a:outerShdw blurRad="190500" dist="152400" dir="5400000" algn="t" rotWithShape="0">
                  <a:prstClr val="black">
                    <a:alpha val="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等线" panose="020F0502020204030204"/>
                  <a:ea typeface="+mn-ea"/>
                  <a:cs typeface="+mn-cs"/>
                </a:endParaRPr>
              </a:p>
            </p:txBody>
          </p:sp>
          <p:sp>
            <p:nvSpPr>
              <p:cNvPr id="12" name="Oval 89">
                <a:extLst>
                  <a:ext uri="{FF2B5EF4-FFF2-40B4-BE49-F238E27FC236}">
                    <a16:creationId xmlns:a16="http://schemas.microsoft.com/office/drawing/2014/main" id="{CE852F69-1B08-4FE9-9E1B-7F04D1EA91D4}"/>
                  </a:ext>
                </a:extLst>
              </p:cNvPr>
              <p:cNvSpPr/>
              <p:nvPr/>
            </p:nvSpPr>
            <p:spPr>
              <a:xfrm>
                <a:off x="1093779" y="2920646"/>
                <a:ext cx="643894" cy="643894"/>
              </a:xfrm>
              <a:prstGeom prst="ellipse">
                <a:avLst/>
              </a:prstGeom>
              <a:solidFill>
                <a:schemeClr val="accent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等线" panose="020F0502020204030204"/>
                  <a:ea typeface="+mn-ea"/>
                  <a:cs typeface="+mn-cs"/>
                </a:endParaRPr>
              </a:p>
            </p:txBody>
          </p:sp>
        </p:grpSp>
        <p:sp>
          <p:nvSpPr>
            <p:cNvPr id="9" name="TextBox 86">
              <a:extLst>
                <a:ext uri="{FF2B5EF4-FFF2-40B4-BE49-F238E27FC236}">
                  <a16:creationId xmlns:a16="http://schemas.microsoft.com/office/drawing/2014/main" id="{F93FE787-608A-4BA2-8B85-2043F4EF404D}"/>
                </a:ext>
              </a:extLst>
            </p:cNvPr>
            <p:cNvSpPr txBox="1"/>
            <p:nvPr/>
          </p:nvSpPr>
          <p:spPr>
            <a:xfrm>
              <a:off x="3398355" y="2777356"/>
              <a:ext cx="2266215" cy="467869"/>
            </a:xfrm>
            <a:prstGeom prst="rect">
              <a:avLst/>
            </a:prstGeom>
            <a:noFill/>
          </p:spPr>
          <p:txBody>
            <a:bodyPr wrap="square" rtlCol="0">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等线" panose="020F0502020204030204"/>
                  <a:ea typeface="+mn-ea"/>
                  <a:cs typeface="Arial" panose="020B0604020202020204" pitchFamily="34" charset="0"/>
                </a:rPr>
                <a:t>Option Here</a:t>
              </a:r>
            </a:p>
          </p:txBody>
        </p:sp>
        <p:sp>
          <p:nvSpPr>
            <p:cNvPr id="10" name="TextBox 87">
              <a:extLst>
                <a:ext uri="{FF2B5EF4-FFF2-40B4-BE49-F238E27FC236}">
                  <a16:creationId xmlns:a16="http://schemas.microsoft.com/office/drawing/2014/main" id="{55E724D0-69FE-4FD6-99A9-33F37FA5B768}"/>
                </a:ext>
              </a:extLst>
            </p:cNvPr>
            <p:cNvSpPr txBox="1"/>
            <p:nvPr/>
          </p:nvSpPr>
          <p:spPr>
            <a:xfrm>
              <a:off x="2632943" y="2777356"/>
              <a:ext cx="643896" cy="467869"/>
            </a:xfrm>
            <a:prstGeom prst="rect">
              <a:avLst/>
            </a:prstGeom>
            <a:noFill/>
          </p:spPr>
          <p:txBody>
            <a:bodyPr wrap="square" rtlCol="0">
              <a:sp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等线" panose="020F0502020204030204"/>
                  <a:ea typeface="+mn-ea"/>
                  <a:cs typeface="Arial" panose="020B0604020202020204" pitchFamily="34" charset="0"/>
                </a:rPr>
                <a:t>01</a:t>
              </a:r>
            </a:p>
          </p:txBody>
        </p:sp>
      </p:grpSp>
      <p:grpSp>
        <p:nvGrpSpPr>
          <p:cNvPr id="13" name="Group 90">
            <a:extLst>
              <a:ext uri="{FF2B5EF4-FFF2-40B4-BE49-F238E27FC236}">
                <a16:creationId xmlns:a16="http://schemas.microsoft.com/office/drawing/2014/main" id="{38AD0AB2-B766-4216-84A8-27750CF81351}"/>
              </a:ext>
            </a:extLst>
          </p:cNvPr>
          <p:cNvGrpSpPr/>
          <p:nvPr/>
        </p:nvGrpSpPr>
        <p:grpSpPr>
          <a:xfrm>
            <a:off x="8767467" y="3126658"/>
            <a:ext cx="2759558" cy="624896"/>
            <a:chOff x="2546382" y="2667000"/>
            <a:chExt cx="3437905" cy="778506"/>
          </a:xfrm>
        </p:grpSpPr>
        <p:grpSp>
          <p:nvGrpSpPr>
            <p:cNvPr id="14" name="Group 91">
              <a:extLst>
                <a:ext uri="{FF2B5EF4-FFF2-40B4-BE49-F238E27FC236}">
                  <a16:creationId xmlns:a16="http://schemas.microsoft.com/office/drawing/2014/main" id="{E1AD9632-12C1-416F-B7BF-C4000C55D973}"/>
                </a:ext>
              </a:extLst>
            </p:cNvPr>
            <p:cNvGrpSpPr/>
            <p:nvPr/>
          </p:nvGrpSpPr>
          <p:grpSpPr>
            <a:xfrm>
              <a:off x="2546382" y="2667000"/>
              <a:ext cx="3437905" cy="778506"/>
              <a:chOff x="1007217" y="2853340"/>
              <a:chExt cx="3437905" cy="778506"/>
            </a:xfrm>
          </p:grpSpPr>
          <p:sp>
            <p:nvSpPr>
              <p:cNvPr id="17" name="Rectangle: Rounded Corners 5">
                <a:extLst>
                  <a:ext uri="{FF2B5EF4-FFF2-40B4-BE49-F238E27FC236}">
                    <a16:creationId xmlns:a16="http://schemas.microsoft.com/office/drawing/2014/main" id="{4E713EE8-2DBC-455D-99E1-88F6405160B8}"/>
                  </a:ext>
                </a:extLst>
              </p:cNvPr>
              <p:cNvSpPr/>
              <p:nvPr/>
            </p:nvSpPr>
            <p:spPr>
              <a:xfrm>
                <a:off x="1007217" y="2853340"/>
                <a:ext cx="3437905" cy="778506"/>
              </a:xfrm>
              <a:prstGeom prst="roundRect">
                <a:avLst>
                  <a:gd name="adj" fmla="val 50000"/>
                </a:avLst>
              </a:prstGeom>
              <a:solidFill>
                <a:schemeClr val="accent2"/>
              </a:solidFill>
              <a:ln>
                <a:noFill/>
              </a:ln>
              <a:effectLst>
                <a:outerShdw blurRad="190500" dist="152400" dir="5400000" algn="t" rotWithShape="0">
                  <a:prstClr val="black">
                    <a:alpha val="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等线" panose="020F0502020204030204"/>
                  <a:ea typeface="+mn-ea"/>
                  <a:cs typeface="+mn-cs"/>
                </a:endParaRPr>
              </a:p>
            </p:txBody>
          </p:sp>
          <p:sp>
            <p:nvSpPr>
              <p:cNvPr id="18" name="Oval 95">
                <a:extLst>
                  <a:ext uri="{FF2B5EF4-FFF2-40B4-BE49-F238E27FC236}">
                    <a16:creationId xmlns:a16="http://schemas.microsoft.com/office/drawing/2014/main" id="{18E5E5B0-5D27-4646-B9B5-C462435906BB}"/>
                  </a:ext>
                </a:extLst>
              </p:cNvPr>
              <p:cNvSpPr/>
              <p:nvPr/>
            </p:nvSpPr>
            <p:spPr>
              <a:xfrm>
                <a:off x="1093779" y="2920646"/>
                <a:ext cx="643894" cy="643894"/>
              </a:xfrm>
              <a:prstGeom prst="ellipse">
                <a:avLst/>
              </a:prstGeom>
              <a:solidFill>
                <a:schemeClr val="accent2">
                  <a:lumMod val="50000"/>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等线" panose="020F0502020204030204"/>
                  <a:ea typeface="+mn-ea"/>
                  <a:cs typeface="+mn-cs"/>
                </a:endParaRPr>
              </a:p>
            </p:txBody>
          </p:sp>
        </p:grpSp>
        <p:sp>
          <p:nvSpPr>
            <p:cNvPr id="15" name="TextBox 92">
              <a:extLst>
                <a:ext uri="{FF2B5EF4-FFF2-40B4-BE49-F238E27FC236}">
                  <a16:creationId xmlns:a16="http://schemas.microsoft.com/office/drawing/2014/main" id="{7F05C33C-86BA-4780-BAF1-87AB46BF744B}"/>
                </a:ext>
              </a:extLst>
            </p:cNvPr>
            <p:cNvSpPr txBox="1"/>
            <p:nvPr/>
          </p:nvSpPr>
          <p:spPr>
            <a:xfrm>
              <a:off x="3398355" y="2777356"/>
              <a:ext cx="2266215" cy="467869"/>
            </a:xfrm>
            <a:prstGeom prst="rect">
              <a:avLst/>
            </a:prstGeom>
            <a:noFill/>
          </p:spPr>
          <p:txBody>
            <a:bodyPr wrap="square" rtlCol="0">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等线" panose="020F0502020204030204"/>
                  <a:ea typeface="+mn-ea"/>
                  <a:cs typeface="Arial" panose="020B0604020202020204" pitchFamily="34" charset="0"/>
                </a:rPr>
                <a:t>Option Here</a:t>
              </a:r>
            </a:p>
          </p:txBody>
        </p:sp>
        <p:sp>
          <p:nvSpPr>
            <p:cNvPr id="16" name="TextBox 93">
              <a:extLst>
                <a:ext uri="{FF2B5EF4-FFF2-40B4-BE49-F238E27FC236}">
                  <a16:creationId xmlns:a16="http://schemas.microsoft.com/office/drawing/2014/main" id="{356529CB-D7D8-4171-9DB7-89C16649F038}"/>
                </a:ext>
              </a:extLst>
            </p:cNvPr>
            <p:cNvSpPr txBox="1"/>
            <p:nvPr/>
          </p:nvSpPr>
          <p:spPr>
            <a:xfrm>
              <a:off x="2632943" y="2777356"/>
              <a:ext cx="643896" cy="467869"/>
            </a:xfrm>
            <a:prstGeom prst="rect">
              <a:avLst/>
            </a:prstGeom>
            <a:noFill/>
          </p:spPr>
          <p:txBody>
            <a:bodyPr wrap="square" rtlCol="0">
              <a:sp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等线" panose="020F0502020204030204"/>
                  <a:ea typeface="+mn-ea"/>
                  <a:cs typeface="Arial" panose="020B0604020202020204" pitchFamily="34" charset="0"/>
                </a:rPr>
                <a:t>02</a:t>
              </a:r>
            </a:p>
          </p:txBody>
        </p:sp>
      </p:grpSp>
      <p:grpSp>
        <p:nvGrpSpPr>
          <p:cNvPr id="19" name="Group 96">
            <a:extLst>
              <a:ext uri="{FF2B5EF4-FFF2-40B4-BE49-F238E27FC236}">
                <a16:creationId xmlns:a16="http://schemas.microsoft.com/office/drawing/2014/main" id="{C43573C8-0F28-4669-B756-EADAA4AC3AF3}"/>
              </a:ext>
            </a:extLst>
          </p:cNvPr>
          <p:cNvGrpSpPr/>
          <p:nvPr/>
        </p:nvGrpSpPr>
        <p:grpSpPr>
          <a:xfrm>
            <a:off x="8767467" y="4097405"/>
            <a:ext cx="2759558" cy="624896"/>
            <a:chOff x="2546382" y="2667000"/>
            <a:chExt cx="3437905" cy="778506"/>
          </a:xfrm>
        </p:grpSpPr>
        <p:grpSp>
          <p:nvGrpSpPr>
            <p:cNvPr id="20" name="Group 97">
              <a:extLst>
                <a:ext uri="{FF2B5EF4-FFF2-40B4-BE49-F238E27FC236}">
                  <a16:creationId xmlns:a16="http://schemas.microsoft.com/office/drawing/2014/main" id="{61A31EB1-3590-4213-9E13-4EC397F236E5}"/>
                </a:ext>
              </a:extLst>
            </p:cNvPr>
            <p:cNvGrpSpPr/>
            <p:nvPr/>
          </p:nvGrpSpPr>
          <p:grpSpPr>
            <a:xfrm>
              <a:off x="2546382" y="2667000"/>
              <a:ext cx="3437905" cy="778506"/>
              <a:chOff x="1007217" y="2853340"/>
              <a:chExt cx="3437905" cy="778506"/>
            </a:xfrm>
          </p:grpSpPr>
          <p:sp>
            <p:nvSpPr>
              <p:cNvPr id="23" name="Rectangle: Rounded Corners 5">
                <a:extLst>
                  <a:ext uri="{FF2B5EF4-FFF2-40B4-BE49-F238E27FC236}">
                    <a16:creationId xmlns:a16="http://schemas.microsoft.com/office/drawing/2014/main" id="{27A81455-1583-42B2-AA0F-69B4F970F706}"/>
                  </a:ext>
                </a:extLst>
              </p:cNvPr>
              <p:cNvSpPr/>
              <p:nvPr/>
            </p:nvSpPr>
            <p:spPr>
              <a:xfrm>
                <a:off x="1007217" y="2853340"/>
                <a:ext cx="3437905" cy="778506"/>
              </a:xfrm>
              <a:prstGeom prst="roundRect">
                <a:avLst>
                  <a:gd name="adj" fmla="val 50000"/>
                </a:avLst>
              </a:prstGeom>
              <a:solidFill>
                <a:schemeClr val="accent6"/>
              </a:solidFill>
              <a:ln>
                <a:noFill/>
              </a:ln>
              <a:effectLst>
                <a:outerShdw blurRad="190500" dist="152400" dir="5400000" algn="t" rotWithShape="0">
                  <a:prstClr val="black">
                    <a:alpha val="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等线" panose="020F0502020204030204"/>
                  <a:ea typeface="+mn-ea"/>
                  <a:cs typeface="+mn-cs"/>
                </a:endParaRPr>
              </a:p>
            </p:txBody>
          </p:sp>
          <p:sp>
            <p:nvSpPr>
              <p:cNvPr id="24" name="Oval 101">
                <a:extLst>
                  <a:ext uri="{FF2B5EF4-FFF2-40B4-BE49-F238E27FC236}">
                    <a16:creationId xmlns:a16="http://schemas.microsoft.com/office/drawing/2014/main" id="{36F42DA6-DF12-45DE-91A5-1717560B1560}"/>
                  </a:ext>
                </a:extLst>
              </p:cNvPr>
              <p:cNvSpPr/>
              <p:nvPr/>
            </p:nvSpPr>
            <p:spPr>
              <a:xfrm>
                <a:off x="1093779" y="2920646"/>
                <a:ext cx="643894" cy="643894"/>
              </a:xfrm>
              <a:prstGeom prst="ellipse">
                <a:avLst/>
              </a:prstGeom>
              <a:solidFill>
                <a:schemeClr val="accent6">
                  <a:lumMod val="50000"/>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等线" panose="020F0502020204030204"/>
                  <a:ea typeface="+mn-ea"/>
                  <a:cs typeface="+mn-cs"/>
                </a:endParaRPr>
              </a:p>
            </p:txBody>
          </p:sp>
        </p:grpSp>
        <p:sp>
          <p:nvSpPr>
            <p:cNvPr id="21" name="TextBox 98">
              <a:extLst>
                <a:ext uri="{FF2B5EF4-FFF2-40B4-BE49-F238E27FC236}">
                  <a16:creationId xmlns:a16="http://schemas.microsoft.com/office/drawing/2014/main" id="{F0F8CB51-F7F2-4BC0-9FD2-7C14F8DC0C04}"/>
                </a:ext>
              </a:extLst>
            </p:cNvPr>
            <p:cNvSpPr txBox="1"/>
            <p:nvPr/>
          </p:nvSpPr>
          <p:spPr>
            <a:xfrm>
              <a:off x="3398355" y="2777356"/>
              <a:ext cx="2266215" cy="467869"/>
            </a:xfrm>
            <a:prstGeom prst="rect">
              <a:avLst/>
            </a:prstGeom>
            <a:noFill/>
          </p:spPr>
          <p:txBody>
            <a:bodyPr wrap="square" rtlCol="0">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等线" panose="020F0502020204030204"/>
                  <a:ea typeface="+mn-ea"/>
                  <a:cs typeface="Arial" panose="020B0604020202020204" pitchFamily="34" charset="0"/>
                </a:rPr>
                <a:t>Option Here</a:t>
              </a:r>
            </a:p>
          </p:txBody>
        </p:sp>
        <p:sp>
          <p:nvSpPr>
            <p:cNvPr id="22" name="TextBox 99">
              <a:extLst>
                <a:ext uri="{FF2B5EF4-FFF2-40B4-BE49-F238E27FC236}">
                  <a16:creationId xmlns:a16="http://schemas.microsoft.com/office/drawing/2014/main" id="{F96E5E2A-FA2D-496C-BF25-F9E221715A83}"/>
                </a:ext>
              </a:extLst>
            </p:cNvPr>
            <p:cNvSpPr txBox="1"/>
            <p:nvPr/>
          </p:nvSpPr>
          <p:spPr>
            <a:xfrm>
              <a:off x="2632943" y="2777356"/>
              <a:ext cx="643896" cy="467869"/>
            </a:xfrm>
            <a:prstGeom prst="rect">
              <a:avLst/>
            </a:prstGeom>
            <a:noFill/>
          </p:spPr>
          <p:txBody>
            <a:bodyPr wrap="square" rtlCol="0">
              <a:sp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等线" panose="020F0502020204030204"/>
                  <a:ea typeface="+mn-ea"/>
                  <a:cs typeface="Arial" panose="020B0604020202020204" pitchFamily="34" charset="0"/>
                </a:rPr>
                <a:t>04</a:t>
              </a:r>
            </a:p>
          </p:txBody>
        </p:sp>
      </p:grpSp>
      <p:grpSp>
        <p:nvGrpSpPr>
          <p:cNvPr id="25" name="Group 102">
            <a:extLst>
              <a:ext uri="{FF2B5EF4-FFF2-40B4-BE49-F238E27FC236}">
                <a16:creationId xmlns:a16="http://schemas.microsoft.com/office/drawing/2014/main" id="{5A17FB58-CFC8-44C8-97AC-5EBAC19E5D86}"/>
              </a:ext>
            </a:extLst>
          </p:cNvPr>
          <p:cNvGrpSpPr/>
          <p:nvPr/>
        </p:nvGrpSpPr>
        <p:grpSpPr>
          <a:xfrm>
            <a:off x="5558469" y="5159918"/>
            <a:ext cx="2759558" cy="624896"/>
            <a:chOff x="2546382" y="2667000"/>
            <a:chExt cx="3437905" cy="778506"/>
          </a:xfrm>
        </p:grpSpPr>
        <p:grpSp>
          <p:nvGrpSpPr>
            <p:cNvPr id="26" name="Group 103">
              <a:extLst>
                <a:ext uri="{FF2B5EF4-FFF2-40B4-BE49-F238E27FC236}">
                  <a16:creationId xmlns:a16="http://schemas.microsoft.com/office/drawing/2014/main" id="{90021D0B-4A76-4484-A18F-6F28BB50AE4A}"/>
                </a:ext>
              </a:extLst>
            </p:cNvPr>
            <p:cNvGrpSpPr/>
            <p:nvPr/>
          </p:nvGrpSpPr>
          <p:grpSpPr>
            <a:xfrm>
              <a:off x="2546382" y="2667000"/>
              <a:ext cx="3437905" cy="778506"/>
              <a:chOff x="1007217" y="2853340"/>
              <a:chExt cx="3437905" cy="778506"/>
            </a:xfrm>
          </p:grpSpPr>
          <p:sp>
            <p:nvSpPr>
              <p:cNvPr id="29" name="Rectangle: Rounded Corners 5">
                <a:extLst>
                  <a:ext uri="{FF2B5EF4-FFF2-40B4-BE49-F238E27FC236}">
                    <a16:creationId xmlns:a16="http://schemas.microsoft.com/office/drawing/2014/main" id="{B5FAA369-9B7E-4FB5-BD6F-EB4D61F8FC75}"/>
                  </a:ext>
                </a:extLst>
              </p:cNvPr>
              <p:cNvSpPr/>
              <p:nvPr/>
            </p:nvSpPr>
            <p:spPr>
              <a:xfrm>
                <a:off x="1007217" y="2853340"/>
                <a:ext cx="3437905" cy="778506"/>
              </a:xfrm>
              <a:prstGeom prst="roundRect">
                <a:avLst>
                  <a:gd name="adj" fmla="val 50000"/>
                </a:avLst>
              </a:prstGeom>
              <a:solidFill>
                <a:schemeClr val="accent5"/>
              </a:solidFill>
              <a:ln>
                <a:noFill/>
              </a:ln>
              <a:effectLst>
                <a:outerShdw blurRad="190500" dist="152400" dir="5400000" algn="t" rotWithShape="0">
                  <a:prstClr val="black">
                    <a:alpha val="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等线" panose="020F0502020204030204"/>
                  <a:ea typeface="+mn-ea"/>
                  <a:cs typeface="+mn-cs"/>
                </a:endParaRPr>
              </a:p>
            </p:txBody>
          </p:sp>
          <p:sp>
            <p:nvSpPr>
              <p:cNvPr id="30" name="Oval 107">
                <a:extLst>
                  <a:ext uri="{FF2B5EF4-FFF2-40B4-BE49-F238E27FC236}">
                    <a16:creationId xmlns:a16="http://schemas.microsoft.com/office/drawing/2014/main" id="{8FCCFB9A-B4D4-4033-9C01-69465B010B90}"/>
                  </a:ext>
                </a:extLst>
              </p:cNvPr>
              <p:cNvSpPr/>
              <p:nvPr/>
            </p:nvSpPr>
            <p:spPr>
              <a:xfrm>
                <a:off x="1093779" y="2920646"/>
                <a:ext cx="643894" cy="643894"/>
              </a:xfrm>
              <a:prstGeom prst="ellipse">
                <a:avLst/>
              </a:prstGeom>
              <a:solidFill>
                <a:schemeClr val="accent5">
                  <a:lumMod val="50000"/>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等线" panose="020F0502020204030204"/>
                  <a:ea typeface="+mn-ea"/>
                  <a:cs typeface="+mn-cs"/>
                </a:endParaRPr>
              </a:p>
            </p:txBody>
          </p:sp>
        </p:grpSp>
        <p:sp>
          <p:nvSpPr>
            <p:cNvPr id="27" name="TextBox 104">
              <a:extLst>
                <a:ext uri="{FF2B5EF4-FFF2-40B4-BE49-F238E27FC236}">
                  <a16:creationId xmlns:a16="http://schemas.microsoft.com/office/drawing/2014/main" id="{57C10A1B-1262-40A2-A77B-E4A6E590D6F7}"/>
                </a:ext>
              </a:extLst>
            </p:cNvPr>
            <p:cNvSpPr txBox="1"/>
            <p:nvPr/>
          </p:nvSpPr>
          <p:spPr>
            <a:xfrm>
              <a:off x="3398355" y="2777356"/>
              <a:ext cx="2266215" cy="467869"/>
            </a:xfrm>
            <a:prstGeom prst="rect">
              <a:avLst/>
            </a:prstGeom>
            <a:noFill/>
          </p:spPr>
          <p:txBody>
            <a:bodyPr wrap="square" rtlCol="0">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等线" panose="020F0502020204030204"/>
                  <a:ea typeface="+mn-ea"/>
                  <a:cs typeface="Arial" panose="020B0604020202020204" pitchFamily="34" charset="0"/>
                </a:rPr>
                <a:t>Option Here</a:t>
              </a:r>
            </a:p>
          </p:txBody>
        </p:sp>
        <p:sp>
          <p:nvSpPr>
            <p:cNvPr id="28" name="TextBox 105">
              <a:extLst>
                <a:ext uri="{FF2B5EF4-FFF2-40B4-BE49-F238E27FC236}">
                  <a16:creationId xmlns:a16="http://schemas.microsoft.com/office/drawing/2014/main" id="{8416678C-3E59-4EFB-8A1A-CFBB9F89B990}"/>
                </a:ext>
              </a:extLst>
            </p:cNvPr>
            <p:cNvSpPr txBox="1"/>
            <p:nvPr/>
          </p:nvSpPr>
          <p:spPr>
            <a:xfrm>
              <a:off x="2632943" y="2777356"/>
              <a:ext cx="643896" cy="467869"/>
            </a:xfrm>
            <a:prstGeom prst="rect">
              <a:avLst/>
            </a:prstGeom>
            <a:noFill/>
          </p:spPr>
          <p:txBody>
            <a:bodyPr wrap="square" rtlCol="0">
              <a:sp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等线" panose="020F0502020204030204"/>
                  <a:ea typeface="+mn-ea"/>
                  <a:cs typeface="Arial" panose="020B0604020202020204" pitchFamily="34" charset="0"/>
                </a:rPr>
                <a:t>05</a:t>
              </a:r>
            </a:p>
          </p:txBody>
        </p:sp>
      </p:grpSp>
      <p:grpSp>
        <p:nvGrpSpPr>
          <p:cNvPr id="31" name="Group 108">
            <a:extLst>
              <a:ext uri="{FF2B5EF4-FFF2-40B4-BE49-F238E27FC236}">
                <a16:creationId xmlns:a16="http://schemas.microsoft.com/office/drawing/2014/main" id="{2C204284-5D6D-48C4-8766-EF6F17E4A822}"/>
              </a:ext>
            </a:extLst>
          </p:cNvPr>
          <p:cNvGrpSpPr/>
          <p:nvPr/>
        </p:nvGrpSpPr>
        <p:grpSpPr>
          <a:xfrm>
            <a:off x="5558469" y="4097405"/>
            <a:ext cx="2759558" cy="624896"/>
            <a:chOff x="2546382" y="2667000"/>
            <a:chExt cx="3437905" cy="778506"/>
          </a:xfrm>
        </p:grpSpPr>
        <p:grpSp>
          <p:nvGrpSpPr>
            <p:cNvPr id="32" name="Group 109">
              <a:extLst>
                <a:ext uri="{FF2B5EF4-FFF2-40B4-BE49-F238E27FC236}">
                  <a16:creationId xmlns:a16="http://schemas.microsoft.com/office/drawing/2014/main" id="{54B25279-51AD-4461-AB92-1FE8BDDDBB80}"/>
                </a:ext>
              </a:extLst>
            </p:cNvPr>
            <p:cNvGrpSpPr/>
            <p:nvPr/>
          </p:nvGrpSpPr>
          <p:grpSpPr>
            <a:xfrm>
              <a:off x="2546382" y="2667000"/>
              <a:ext cx="3437905" cy="778506"/>
              <a:chOff x="1007217" y="2853340"/>
              <a:chExt cx="3437905" cy="778506"/>
            </a:xfrm>
          </p:grpSpPr>
          <p:sp>
            <p:nvSpPr>
              <p:cNvPr id="35" name="Rectangle: Rounded Corners 5">
                <a:extLst>
                  <a:ext uri="{FF2B5EF4-FFF2-40B4-BE49-F238E27FC236}">
                    <a16:creationId xmlns:a16="http://schemas.microsoft.com/office/drawing/2014/main" id="{9E765F7C-A6F6-43C4-AD9D-CBE7DA9EF74D}"/>
                  </a:ext>
                </a:extLst>
              </p:cNvPr>
              <p:cNvSpPr/>
              <p:nvPr/>
            </p:nvSpPr>
            <p:spPr>
              <a:xfrm>
                <a:off x="1007217" y="2853340"/>
                <a:ext cx="3437905" cy="778506"/>
              </a:xfrm>
              <a:prstGeom prst="roundRect">
                <a:avLst>
                  <a:gd name="adj" fmla="val 50000"/>
                </a:avLst>
              </a:prstGeom>
              <a:solidFill>
                <a:schemeClr val="accent3"/>
              </a:solidFill>
              <a:ln>
                <a:noFill/>
              </a:ln>
              <a:effectLst>
                <a:outerShdw blurRad="190500" dist="152400" dir="5400000" algn="t" rotWithShape="0">
                  <a:prstClr val="black">
                    <a:alpha val="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等线" panose="020F0502020204030204"/>
                  <a:ea typeface="+mn-ea"/>
                  <a:cs typeface="+mn-cs"/>
                </a:endParaRPr>
              </a:p>
            </p:txBody>
          </p:sp>
          <p:sp>
            <p:nvSpPr>
              <p:cNvPr id="36" name="Oval 113">
                <a:extLst>
                  <a:ext uri="{FF2B5EF4-FFF2-40B4-BE49-F238E27FC236}">
                    <a16:creationId xmlns:a16="http://schemas.microsoft.com/office/drawing/2014/main" id="{355C3441-D033-4677-B65A-12FCD23B5B7F}"/>
                  </a:ext>
                </a:extLst>
              </p:cNvPr>
              <p:cNvSpPr/>
              <p:nvPr/>
            </p:nvSpPr>
            <p:spPr>
              <a:xfrm>
                <a:off x="1093779" y="2920646"/>
                <a:ext cx="643894" cy="643894"/>
              </a:xfrm>
              <a:prstGeom prst="ellipse">
                <a:avLst/>
              </a:prstGeom>
              <a:solidFill>
                <a:schemeClr val="accent3">
                  <a:lumMod val="50000"/>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等线" panose="020F0502020204030204"/>
                  <a:ea typeface="+mn-ea"/>
                  <a:cs typeface="+mn-cs"/>
                </a:endParaRPr>
              </a:p>
            </p:txBody>
          </p:sp>
        </p:grpSp>
        <p:sp>
          <p:nvSpPr>
            <p:cNvPr id="33" name="TextBox 110">
              <a:extLst>
                <a:ext uri="{FF2B5EF4-FFF2-40B4-BE49-F238E27FC236}">
                  <a16:creationId xmlns:a16="http://schemas.microsoft.com/office/drawing/2014/main" id="{9F87A0E2-61B4-47C2-86B0-81DB1126B065}"/>
                </a:ext>
              </a:extLst>
            </p:cNvPr>
            <p:cNvSpPr txBox="1"/>
            <p:nvPr/>
          </p:nvSpPr>
          <p:spPr>
            <a:xfrm>
              <a:off x="3398355" y="2777356"/>
              <a:ext cx="2266215" cy="467869"/>
            </a:xfrm>
            <a:prstGeom prst="rect">
              <a:avLst/>
            </a:prstGeom>
            <a:noFill/>
          </p:spPr>
          <p:txBody>
            <a:bodyPr wrap="square" rtlCol="0">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等线" panose="020F0502020204030204"/>
                  <a:ea typeface="+mn-ea"/>
                  <a:cs typeface="Arial" panose="020B0604020202020204" pitchFamily="34" charset="0"/>
                </a:rPr>
                <a:t>Option Here</a:t>
              </a:r>
            </a:p>
          </p:txBody>
        </p:sp>
        <p:sp>
          <p:nvSpPr>
            <p:cNvPr id="34" name="TextBox 111">
              <a:extLst>
                <a:ext uri="{FF2B5EF4-FFF2-40B4-BE49-F238E27FC236}">
                  <a16:creationId xmlns:a16="http://schemas.microsoft.com/office/drawing/2014/main" id="{60EB833C-EFB4-43DA-8668-4D5AF45EFA4D}"/>
                </a:ext>
              </a:extLst>
            </p:cNvPr>
            <p:cNvSpPr txBox="1"/>
            <p:nvPr/>
          </p:nvSpPr>
          <p:spPr>
            <a:xfrm>
              <a:off x="2632943" y="2777356"/>
              <a:ext cx="643896" cy="467869"/>
            </a:xfrm>
            <a:prstGeom prst="rect">
              <a:avLst/>
            </a:prstGeom>
            <a:noFill/>
          </p:spPr>
          <p:txBody>
            <a:bodyPr wrap="square" rtlCol="0">
              <a:sp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等线" panose="020F0502020204030204"/>
                  <a:ea typeface="+mn-ea"/>
                  <a:cs typeface="Arial" panose="020B0604020202020204" pitchFamily="34" charset="0"/>
                </a:rPr>
                <a:t>03</a:t>
              </a:r>
            </a:p>
          </p:txBody>
        </p:sp>
      </p:grpSp>
      <p:grpSp>
        <p:nvGrpSpPr>
          <p:cNvPr id="37" name="Group 114">
            <a:extLst>
              <a:ext uri="{FF2B5EF4-FFF2-40B4-BE49-F238E27FC236}">
                <a16:creationId xmlns:a16="http://schemas.microsoft.com/office/drawing/2014/main" id="{A1D630BF-A968-437F-A84C-481C4D20897A}"/>
              </a:ext>
            </a:extLst>
          </p:cNvPr>
          <p:cNvGrpSpPr/>
          <p:nvPr/>
        </p:nvGrpSpPr>
        <p:grpSpPr>
          <a:xfrm>
            <a:off x="8767467" y="5159918"/>
            <a:ext cx="2759558" cy="624896"/>
            <a:chOff x="2546382" y="2667000"/>
            <a:chExt cx="3437905" cy="778506"/>
          </a:xfrm>
        </p:grpSpPr>
        <p:grpSp>
          <p:nvGrpSpPr>
            <p:cNvPr id="38" name="Group 115">
              <a:extLst>
                <a:ext uri="{FF2B5EF4-FFF2-40B4-BE49-F238E27FC236}">
                  <a16:creationId xmlns:a16="http://schemas.microsoft.com/office/drawing/2014/main" id="{DC9E69C8-E093-4251-BD9D-2FF1BD40246D}"/>
                </a:ext>
              </a:extLst>
            </p:cNvPr>
            <p:cNvGrpSpPr/>
            <p:nvPr/>
          </p:nvGrpSpPr>
          <p:grpSpPr>
            <a:xfrm>
              <a:off x="2546382" y="2667000"/>
              <a:ext cx="3437905" cy="778506"/>
              <a:chOff x="1007217" y="2853340"/>
              <a:chExt cx="3437905" cy="778506"/>
            </a:xfrm>
          </p:grpSpPr>
          <p:sp>
            <p:nvSpPr>
              <p:cNvPr id="41" name="Rectangle: Rounded Corners 5">
                <a:extLst>
                  <a:ext uri="{FF2B5EF4-FFF2-40B4-BE49-F238E27FC236}">
                    <a16:creationId xmlns:a16="http://schemas.microsoft.com/office/drawing/2014/main" id="{F666F964-0B53-4EBC-ACC7-63AA4CF67849}"/>
                  </a:ext>
                </a:extLst>
              </p:cNvPr>
              <p:cNvSpPr/>
              <p:nvPr/>
            </p:nvSpPr>
            <p:spPr>
              <a:xfrm>
                <a:off x="1007217" y="2853340"/>
                <a:ext cx="3437905" cy="778506"/>
              </a:xfrm>
              <a:prstGeom prst="roundRect">
                <a:avLst>
                  <a:gd name="adj" fmla="val 50000"/>
                </a:avLst>
              </a:prstGeom>
              <a:solidFill>
                <a:schemeClr val="accent1"/>
              </a:solidFill>
              <a:ln>
                <a:noFill/>
              </a:ln>
              <a:effectLst>
                <a:outerShdw blurRad="190500" dist="152400" dir="5400000" algn="t" rotWithShape="0">
                  <a:prstClr val="black">
                    <a:alpha val="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等线" panose="020F0502020204030204"/>
                  <a:ea typeface="+mn-ea"/>
                  <a:cs typeface="+mn-cs"/>
                </a:endParaRPr>
              </a:p>
            </p:txBody>
          </p:sp>
          <p:sp>
            <p:nvSpPr>
              <p:cNvPr id="42" name="Oval 119">
                <a:extLst>
                  <a:ext uri="{FF2B5EF4-FFF2-40B4-BE49-F238E27FC236}">
                    <a16:creationId xmlns:a16="http://schemas.microsoft.com/office/drawing/2014/main" id="{09E1BD0C-0127-419A-81D5-1DDC52DA65E6}"/>
                  </a:ext>
                </a:extLst>
              </p:cNvPr>
              <p:cNvSpPr/>
              <p:nvPr/>
            </p:nvSpPr>
            <p:spPr>
              <a:xfrm>
                <a:off x="1093779" y="2920646"/>
                <a:ext cx="643894" cy="643894"/>
              </a:xfrm>
              <a:prstGeom prst="ellipse">
                <a:avLst/>
              </a:prstGeom>
              <a:solidFill>
                <a:schemeClr val="accent1">
                  <a:lumMod val="50000"/>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等线" panose="020F0502020204030204"/>
                  <a:ea typeface="+mn-ea"/>
                  <a:cs typeface="+mn-cs"/>
                </a:endParaRPr>
              </a:p>
            </p:txBody>
          </p:sp>
        </p:grpSp>
        <p:sp>
          <p:nvSpPr>
            <p:cNvPr id="39" name="TextBox 116">
              <a:extLst>
                <a:ext uri="{FF2B5EF4-FFF2-40B4-BE49-F238E27FC236}">
                  <a16:creationId xmlns:a16="http://schemas.microsoft.com/office/drawing/2014/main" id="{ABF48B2D-C7A4-4CA6-936D-8D81D4DF1FE1}"/>
                </a:ext>
              </a:extLst>
            </p:cNvPr>
            <p:cNvSpPr txBox="1"/>
            <p:nvPr/>
          </p:nvSpPr>
          <p:spPr>
            <a:xfrm>
              <a:off x="3398355" y="2777356"/>
              <a:ext cx="2266215" cy="467869"/>
            </a:xfrm>
            <a:prstGeom prst="rect">
              <a:avLst/>
            </a:prstGeom>
            <a:noFill/>
          </p:spPr>
          <p:txBody>
            <a:bodyPr wrap="square" rtlCol="0">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等线" panose="020F0502020204030204"/>
                  <a:ea typeface="+mn-ea"/>
                  <a:cs typeface="Arial" panose="020B0604020202020204" pitchFamily="34" charset="0"/>
                </a:rPr>
                <a:t>Option Here</a:t>
              </a:r>
            </a:p>
          </p:txBody>
        </p:sp>
        <p:sp>
          <p:nvSpPr>
            <p:cNvPr id="40" name="TextBox 117">
              <a:extLst>
                <a:ext uri="{FF2B5EF4-FFF2-40B4-BE49-F238E27FC236}">
                  <a16:creationId xmlns:a16="http://schemas.microsoft.com/office/drawing/2014/main" id="{7D681037-A61F-4039-8C8A-0E27BA82FB8B}"/>
                </a:ext>
              </a:extLst>
            </p:cNvPr>
            <p:cNvSpPr txBox="1"/>
            <p:nvPr/>
          </p:nvSpPr>
          <p:spPr>
            <a:xfrm>
              <a:off x="2632943" y="2777356"/>
              <a:ext cx="643896" cy="467869"/>
            </a:xfrm>
            <a:prstGeom prst="rect">
              <a:avLst/>
            </a:prstGeom>
            <a:noFill/>
          </p:spPr>
          <p:txBody>
            <a:bodyPr wrap="square" rtlCol="0">
              <a:sp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等线" panose="020F0502020204030204"/>
                  <a:ea typeface="+mn-ea"/>
                  <a:cs typeface="Arial" panose="020B0604020202020204" pitchFamily="34" charset="0"/>
                </a:rPr>
                <a:t>06</a:t>
              </a:r>
            </a:p>
          </p:txBody>
        </p:sp>
      </p:grpSp>
    </p:spTree>
    <p:extLst>
      <p:ext uri="{BB962C8B-B14F-4D97-AF65-F5344CB8AC3E}">
        <p14:creationId xmlns:p14="http://schemas.microsoft.com/office/powerpoint/2010/main" val="4247752247"/>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decel="10000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1250" fill="hold"/>
                                        <p:tgtEl>
                                          <p:spTgt spid="2"/>
                                        </p:tgtEl>
                                        <p:attrNameLst>
                                          <p:attrName>ppt_x</p:attrName>
                                        </p:attrNameLst>
                                      </p:cBhvr>
                                      <p:tavLst>
                                        <p:tav tm="0">
                                          <p:val>
                                            <p:strVal val="#ppt_x"/>
                                          </p:val>
                                        </p:tav>
                                        <p:tav tm="100000">
                                          <p:val>
                                            <p:strVal val="#ppt_x"/>
                                          </p:val>
                                        </p:tav>
                                      </p:tavLst>
                                    </p:anim>
                                    <p:anim calcmode="lin" valueType="num">
                                      <p:cBhvr additive="base">
                                        <p:cTn id="8" dur="1250" fill="hold"/>
                                        <p:tgtEl>
                                          <p:spTgt spid="2"/>
                                        </p:tgtEl>
                                        <p:attrNameLst>
                                          <p:attrName>ppt_y</p:attrName>
                                        </p:attrNameLst>
                                      </p:cBhvr>
                                      <p:tavLst>
                                        <p:tav tm="0">
                                          <p:val>
                                            <p:strVal val="0-#ppt_h/2"/>
                                          </p:val>
                                        </p:tav>
                                        <p:tav tm="100000">
                                          <p:val>
                                            <p:strVal val="#ppt_y"/>
                                          </p:val>
                                        </p:tav>
                                      </p:tavLst>
                                    </p:anim>
                                  </p:childTnLst>
                                </p:cTn>
                              </p:par>
                              <p:par>
                                <p:cTn id="9" presetID="2" presetClass="entr" presetSubtype="1" decel="100000" fill="hold" grpId="0" nodeType="withEffect">
                                  <p:stCondLst>
                                    <p:cond delay="250"/>
                                  </p:stCondLst>
                                  <p:childTnLst>
                                    <p:set>
                                      <p:cBhvr>
                                        <p:cTn id="10" dur="1" fill="hold">
                                          <p:stCondLst>
                                            <p:cond delay="0"/>
                                          </p:stCondLst>
                                        </p:cTn>
                                        <p:tgtEl>
                                          <p:spTgt spid="3"/>
                                        </p:tgtEl>
                                        <p:attrNameLst>
                                          <p:attrName>style.visibility</p:attrName>
                                        </p:attrNameLst>
                                      </p:cBhvr>
                                      <p:to>
                                        <p:strVal val="visible"/>
                                      </p:to>
                                    </p:set>
                                    <p:anim calcmode="lin" valueType="num">
                                      <p:cBhvr additive="base">
                                        <p:cTn id="11" dur="1250" fill="hold"/>
                                        <p:tgtEl>
                                          <p:spTgt spid="3"/>
                                        </p:tgtEl>
                                        <p:attrNameLst>
                                          <p:attrName>ppt_x</p:attrName>
                                        </p:attrNameLst>
                                      </p:cBhvr>
                                      <p:tavLst>
                                        <p:tav tm="0">
                                          <p:val>
                                            <p:strVal val="#ppt_x"/>
                                          </p:val>
                                        </p:tav>
                                        <p:tav tm="100000">
                                          <p:val>
                                            <p:strVal val="#ppt_x"/>
                                          </p:val>
                                        </p:tav>
                                      </p:tavLst>
                                    </p:anim>
                                    <p:anim calcmode="lin" valueType="num">
                                      <p:cBhvr additive="base">
                                        <p:cTn id="12" dur="1250" fill="hold"/>
                                        <p:tgtEl>
                                          <p:spTgt spid="3"/>
                                        </p:tgtEl>
                                        <p:attrNameLst>
                                          <p:attrName>ppt_y</p:attrName>
                                        </p:attrNameLst>
                                      </p:cBhvr>
                                      <p:tavLst>
                                        <p:tav tm="0">
                                          <p:val>
                                            <p:strVal val="0-#ppt_h/2"/>
                                          </p:val>
                                        </p:tav>
                                        <p:tav tm="100000">
                                          <p:val>
                                            <p:strVal val="#ppt_y"/>
                                          </p:val>
                                        </p:tav>
                                      </p:tavLst>
                                    </p:anim>
                                  </p:childTnLst>
                                </p:cTn>
                              </p:par>
                              <p:par>
                                <p:cTn id="13" presetID="18" presetClass="entr" presetSubtype="3" fill="hold" grpId="0" nodeType="withEffect">
                                  <p:stCondLst>
                                    <p:cond delay="0"/>
                                  </p:stCondLst>
                                  <p:childTnLst>
                                    <p:set>
                                      <p:cBhvr>
                                        <p:cTn id="14" dur="1" fill="hold">
                                          <p:stCondLst>
                                            <p:cond delay="0"/>
                                          </p:stCondLst>
                                        </p:cTn>
                                        <p:tgtEl>
                                          <p:spTgt spid="4"/>
                                        </p:tgtEl>
                                        <p:attrNameLst>
                                          <p:attrName>style.visibility</p:attrName>
                                        </p:attrNameLst>
                                      </p:cBhvr>
                                      <p:to>
                                        <p:strVal val="visible"/>
                                      </p:to>
                                    </p:set>
                                    <p:animEffect transition="in" filter="strips(upRight)">
                                      <p:cBhvr>
                                        <p:cTn id="15" dur="500"/>
                                        <p:tgtEl>
                                          <p:spTgt spid="4"/>
                                        </p:tgtEl>
                                      </p:cBhvr>
                                    </p:animEffect>
                                  </p:childTnLst>
                                </p:cTn>
                              </p:par>
                              <p:par>
                                <p:cTn id="16" presetID="6" presetClass="emph" presetSubtype="0" accel="52000" decel="48000" autoRev="1" fill="hold" grpId="1" nodeType="withEffect">
                                  <p:stCondLst>
                                    <p:cond delay="0"/>
                                  </p:stCondLst>
                                  <p:childTnLst>
                                    <p:animScale>
                                      <p:cBhvr>
                                        <p:cTn id="17" dur="350" fill="hold"/>
                                        <p:tgtEl>
                                          <p:spTgt spid="4"/>
                                        </p:tgtEl>
                                      </p:cBhvr>
                                      <p:by x="110000" y="110000"/>
                                    </p:animScale>
                                  </p:childTnLst>
                                </p:cTn>
                              </p:par>
                              <p:par>
                                <p:cTn id="18" presetID="2" presetClass="entr" presetSubtype="4" decel="100000" fill="hold" grpId="0" nodeType="withEffect">
                                  <p:stCondLst>
                                    <p:cond delay="500"/>
                                  </p:stCondLst>
                                  <p:childTnLst>
                                    <p:set>
                                      <p:cBhvr>
                                        <p:cTn id="19" dur="1" fill="hold">
                                          <p:stCondLst>
                                            <p:cond delay="0"/>
                                          </p:stCondLst>
                                        </p:cTn>
                                        <p:tgtEl>
                                          <p:spTgt spid="5"/>
                                        </p:tgtEl>
                                        <p:attrNameLst>
                                          <p:attrName>style.visibility</p:attrName>
                                        </p:attrNameLst>
                                      </p:cBhvr>
                                      <p:to>
                                        <p:strVal val="visible"/>
                                      </p:to>
                                    </p:set>
                                    <p:anim calcmode="lin" valueType="num">
                                      <p:cBhvr additive="base">
                                        <p:cTn id="20" dur="1250" fill="hold"/>
                                        <p:tgtEl>
                                          <p:spTgt spid="5"/>
                                        </p:tgtEl>
                                        <p:attrNameLst>
                                          <p:attrName>ppt_x</p:attrName>
                                        </p:attrNameLst>
                                      </p:cBhvr>
                                      <p:tavLst>
                                        <p:tav tm="0">
                                          <p:val>
                                            <p:strVal val="#ppt_x"/>
                                          </p:val>
                                        </p:tav>
                                        <p:tav tm="100000">
                                          <p:val>
                                            <p:strVal val="#ppt_x"/>
                                          </p:val>
                                        </p:tav>
                                      </p:tavLst>
                                    </p:anim>
                                    <p:anim calcmode="lin" valueType="num">
                                      <p:cBhvr additive="base">
                                        <p:cTn id="21" dur="1250" fill="hold"/>
                                        <p:tgtEl>
                                          <p:spTgt spid="5"/>
                                        </p:tgtEl>
                                        <p:attrNameLst>
                                          <p:attrName>ppt_y</p:attrName>
                                        </p:attrNameLst>
                                      </p:cBhvr>
                                      <p:tavLst>
                                        <p:tav tm="0">
                                          <p:val>
                                            <p:strVal val="1+#ppt_h/2"/>
                                          </p:val>
                                        </p:tav>
                                        <p:tav tm="100000">
                                          <p:val>
                                            <p:strVal val="#ppt_y"/>
                                          </p:val>
                                        </p:tav>
                                      </p:tavLst>
                                    </p:anim>
                                  </p:childTnLst>
                                </p:cTn>
                              </p:par>
                              <p:par>
                                <p:cTn id="22" presetID="2" presetClass="entr" presetSubtype="4" decel="100000" fill="hold" grpId="0" nodeType="withEffect">
                                  <p:stCondLst>
                                    <p:cond delay="500"/>
                                  </p:stCondLst>
                                  <p:childTnLst>
                                    <p:set>
                                      <p:cBhvr>
                                        <p:cTn id="23" dur="1" fill="hold">
                                          <p:stCondLst>
                                            <p:cond delay="0"/>
                                          </p:stCondLst>
                                        </p:cTn>
                                        <p:tgtEl>
                                          <p:spTgt spid="6"/>
                                        </p:tgtEl>
                                        <p:attrNameLst>
                                          <p:attrName>style.visibility</p:attrName>
                                        </p:attrNameLst>
                                      </p:cBhvr>
                                      <p:to>
                                        <p:strVal val="visible"/>
                                      </p:to>
                                    </p:set>
                                    <p:anim calcmode="lin" valueType="num">
                                      <p:cBhvr additive="base">
                                        <p:cTn id="24" dur="1250" fill="hold"/>
                                        <p:tgtEl>
                                          <p:spTgt spid="6"/>
                                        </p:tgtEl>
                                        <p:attrNameLst>
                                          <p:attrName>ppt_x</p:attrName>
                                        </p:attrNameLst>
                                      </p:cBhvr>
                                      <p:tavLst>
                                        <p:tav tm="0">
                                          <p:val>
                                            <p:strVal val="#ppt_x"/>
                                          </p:val>
                                        </p:tav>
                                        <p:tav tm="100000">
                                          <p:val>
                                            <p:strVal val="#ppt_x"/>
                                          </p:val>
                                        </p:tav>
                                      </p:tavLst>
                                    </p:anim>
                                    <p:anim calcmode="lin" valueType="num">
                                      <p:cBhvr additive="base">
                                        <p:cTn id="25" dur="1250" fill="hold"/>
                                        <p:tgtEl>
                                          <p:spTgt spid="6"/>
                                        </p:tgtEl>
                                        <p:attrNameLst>
                                          <p:attrName>ppt_y</p:attrName>
                                        </p:attrNameLst>
                                      </p:cBhvr>
                                      <p:tavLst>
                                        <p:tav tm="0">
                                          <p:val>
                                            <p:strVal val="1+#ppt_h/2"/>
                                          </p:val>
                                        </p:tav>
                                        <p:tav tm="100000">
                                          <p:val>
                                            <p:strVal val="#ppt_y"/>
                                          </p:val>
                                        </p:tav>
                                      </p:tavLst>
                                    </p:anim>
                                  </p:childTnLst>
                                </p:cTn>
                              </p:par>
                              <p:par>
                                <p:cTn id="26" presetID="18" presetClass="entr" presetSubtype="3" fill="hold" nodeType="withEffect">
                                  <p:stCondLst>
                                    <p:cond delay="750"/>
                                  </p:stCondLst>
                                  <p:childTnLst>
                                    <p:set>
                                      <p:cBhvr>
                                        <p:cTn id="27" dur="1" fill="hold">
                                          <p:stCondLst>
                                            <p:cond delay="0"/>
                                          </p:stCondLst>
                                        </p:cTn>
                                        <p:tgtEl>
                                          <p:spTgt spid="7"/>
                                        </p:tgtEl>
                                        <p:attrNameLst>
                                          <p:attrName>style.visibility</p:attrName>
                                        </p:attrNameLst>
                                      </p:cBhvr>
                                      <p:to>
                                        <p:strVal val="visible"/>
                                      </p:to>
                                    </p:set>
                                    <p:animEffect transition="in" filter="strips(upRight)">
                                      <p:cBhvr>
                                        <p:cTn id="28" dur="500"/>
                                        <p:tgtEl>
                                          <p:spTgt spid="7"/>
                                        </p:tgtEl>
                                      </p:cBhvr>
                                    </p:animEffect>
                                  </p:childTnLst>
                                </p:cTn>
                              </p:par>
                              <p:par>
                                <p:cTn id="29" presetID="6" presetClass="emph" presetSubtype="0" accel="52000" decel="48000" autoRev="1" fill="hold" nodeType="withEffect">
                                  <p:stCondLst>
                                    <p:cond delay="750"/>
                                  </p:stCondLst>
                                  <p:childTnLst>
                                    <p:animScale>
                                      <p:cBhvr>
                                        <p:cTn id="30" dur="350" fill="hold"/>
                                        <p:tgtEl>
                                          <p:spTgt spid="7"/>
                                        </p:tgtEl>
                                      </p:cBhvr>
                                      <p:by x="110000" y="110000"/>
                                    </p:animScale>
                                  </p:childTnLst>
                                </p:cTn>
                              </p:par>
                              <p:par>
                                <p:cTn id="31" presetID="18" presetClass="entr" presetSubtype="3" fill="hold" nodeType="withEffect">
                                  <p:stCondLst>
                                    <p:cond delay="1000"/>
                                  </p:stCondLst>
                                  <p:childTnLst>
                                    <p:set>
                                      <p:cBhvr>
                                        <p:cTn id="32" dur="1" fill="hold">
                                          <p:stCondLst>
                                            <p:cond delay="0"/>
                                          </p:stCondLst>
                                        </p:cTn>
                                        <p:tgtEl>
                                          <p:spTgt spid="13"/>
                                        </p:tgtEl>
                                        <p:attrNameLst>
                                          <p:attrName>style.visibility</p:attrName>
                                        </p:attrNameLst>
                                      </p:cBhvr>
                                      <p:to>
                                        <p:strVal val="visible"/>
                                      </p:to>
                                    </p:set>
                                    <p:animEffect transition="in" filter="strips(upRight)">
                                      <p:cBhvr>
                                        <p:cTn id="33" dur="500"/>
                                        <p:tgtEl>
                                          <p:spTgt spid="13"/>
                                        </p:tgtEl>
                                      </p:cBhvr>
                                    </p:animEffect>
                                  </p:childTnLst>
                                </p:cTn>
                              </p:par>
                              <p:par>
                                <p:cTn id="34" presetID="6" presetClass="emph" presetSubtype="0" accel="52000" decel="48000" autoRev="1" fill="hold" nodeType="withEffect">
                                  <p:stCondLst>
                                    <p:cond delay="1000"/>
                                  </p:stCondLst>
                                  <p:childTnLst>
                                    <p:animScale>
                                      <p:cBhvr>
                                        <p:cTn id="35" dur="350" fill="hold"/>
                                        <p:tgtEl>
                                          <p:spTgt spid="13"/>
                                        </p:tgtEl>
                                      </p:cBhvr>
                                      <p:by x="110000" y="110000"/>
                                    </p:animScale>
                                  </p:childTnLst>
                                </p:cTn>
                              </p:par>
                              <p:par>
                                <p:cTn id="36" presetID="18" presetClass="entr" presetSubtype="3" fill="hold" nodeType="withEffect">
                                  <p:stCondLst>
                                    <p:cond delay="1250"/>
                                  </p:stCondLst>
                                  <p:childTnLst>
                                    <p:set>
                                      <p:cBhvr>
                                        <p:cTn id="37" dur="1" fill="hold">
                                          <p:stCondLst>
                                            <p:cond delay="0"/>
                                          </p:stCondLst>
                                        </p:cTn>
                                        <p:tgtEl>
                                          <p:spTgt spid="31"/>
                                        </p:tgtEl>
                                        <p:attrNameLst>
                                          <p:attrName>style.visibility</p:attrName>
                                        </p:attrNameLst>
                                      </p:cBhvr>
                                      <p:to>
                                        <p:strVal val="visible"/>
                                      </p:to>
                                    </p:set>
                                    <p:animEffect transition="in" filter="strips(upRight)">
                                      <p:cBhvr>
                                        <p:cTn id="38" dur="500"/>
                                        <p:tgtEl>
                                          <p:spTgt spid="31"/>
                                        </p:tgtEl>
                                      </p:cBhvr>
                                    </p:animEffect>
                                  </p:childTnLst>
                                </p:cTn>
                              </p:par>
                              <p:par>
                                <p:cTn id="39" presetID="6" presetClass="emph" presetSubtype="0" accel="52000" decel="48000" autoRev="1" fill="hold" nodeType="withEffect">
                                  <p:stCondLst>
                                    <p:cond delay="1250"/>
                                  </p:stCondLst>
                                  <p:childTnLst>
                                    <p:animScale>
                                      <p:cBhvr>
                                        <p:cTn id="40" dur="350" fill="hold"/>
                                        <p:tgtEl>
                                          <p:spTgt spid="31"/>
                                        </p:tgtEl>
                                      </p:cBhvr>
                                      <p:by x="110000" y="110000"/>
                                    </p:animScale>
                                  </p:childTnLst>
                                </p:cTn>
                              </p:par>
                              <p:par>
                                <p:cTn id="41" presetID="18" presetClass="entr" presetSubtype="3" fill="hold" nodeType="withEffect">
                                  <p:stCondLst>
                                    <p:cond delay="1500"/>
                                  </p:stCondLst>
                                  <p:childTnLst>
                                    <p:set>
                                      <p:cBhvr>
                                        <p:cTn id="42" dur="1" fill="hold">
                                          <p:stCondLst>
                                            <p:cond delay="0"/>
                                          </p:stCondLst>
                                        </p:cTn>
                                        <p:tgtEl>
                                          <p:spTgt spid="19"/>
                                        </p:tgtEl>
                                        <p:attrNameLst>
                                          <p:attrName>style.visibility</p:attrName>
                                        </p:attrNameLst>
                                      </p:cBhvr>
                                      <p:to>
                                        <p:strVal val="visible"/>
                                      </p:to>
                                    </p:set>
                                    <p:animEffect transition="in" filter="strips(upRight)">
                                      <p:cBhvr>
                                        <p:cTn id="43" dur="500"/>
                                        <p:tgtEl>
                                          <p:spTgt spid="19"/>
                                        </p:tgtEl>
                                      </p:cBhvr>
                                    </p:animEffect>
                                  </p:childTnLst>
                                </p:cTn>
                              </p:par>
                              <p:par>
                                <p:cTn id="44" presetID="6" presetClass="emph" presetSubtype="0" accel="52000" decel="48000" autoRev="1" fill="hold" nodeType="withEffect">
                                  <p:stCondLst>
                                    <p:cond delay="1500"/>
                                  </p:stCondLst>
                                  <p:childTnLst>
                                    <p:animScale>
                                      <p:cBhvr>
                                        <p:cTn id="45" dur="350" fill="hold"/>
                                        <p:tgtEl>
                                          <p:spTgt spid="19"/>
                                        </p:tgtEl>
                                      </p:cBhvr>
                                      <p:by x="110000" y="110000"/>
                                    </p:animScale>
                                  </p:childTnLst>
                                </p:cTn>
                              </p:par>
                              <p:par>
                                <p:cTn id="46" presetID="18" presetClass="entr" presetSubtype="3" fill="hold" nodeType="withEffect">
                                  <p:stCondLst>
                                    <p:cond delay="1750"/>
                                  </p:stCondLst>
                                  <p:childTnLst>
                                    <p:set>
                                      <p:cBhvr>
                                        <p:cTn id="47" dur="1" fill="hold">
                                          <p:stCondLst>
                                            <p:cond delay="0"/>
                                          </p:stCondLst>
                                        </p:cTn>
                                        <p:tgtEl>
                                          <p:spTgt spid="25"/>
                                        </p:tgtEl>
                                        <p:attrNameLst>
                                          <p:attrName>style.visibility</p:attrName>
                                        </p:attrNameLst>
                                      </p:cBhvr>
                                      <p:to>
                                        <p:strVal val="visible"/>
                                      </p:to>
                                    </p:set>
                                    <p:animEffect transition="in" filter="strips(upRight)">
                                      <p:cBhvr>
                                        <p:cTn id="48" dur="500"/>
                                        <p:tgtEl>
                                          <p:spTgt spid="25"/>
                                        </p:tgtEl>
                                      </p:cBhvr>
                                    </p:animEffect>
                                  </p:childTnLst>
                                </p:cTn>
                              </p:par>
                              <p:par>
                                <p:cTn id="49" presetID="6" presetClass="emph" presetSubtype="0" accel="52000" decel="48000" autoRev="1" fill="hold" nodeType="withEffect">
                                  <p:stCondLst>
                                    <p:cond delay="1750"/>
                                  </p:stCondLst>
                                  <p:childTnLst>
                                    <p:animScale>
                                      <p:cBhvr>
                                        <p:cTn id="50" dur="350" fill="hold"/>
                                        <p:tgtEl>
                                          <p:spTgt spid="25"/>
                                        </p:tgtEl>
                                      </p:cBhvr>
                                      <p:by x="110000" y="110000"/>
                                    </p:animScale>
                                  </p:childTnLst>
                                </p:cTn>
                              </p:par>
                              <p:par>
                                <p:cTn id="51" presetID="18" presetClass="entr" presetSubtype="3" fill="hold" nodeType="withEffect">
                                  <p:stCondLst>
                                    <p:cond delay="2000"/>
                                  </p:stCondLst>
                                  <p:childTnLst>
                                    <p:set>
                                      <p:cBhvr>
                                        <p:cTn id="52" dur="1" fill="hold">
                                          <p:stCondLst>
                                            <p:cond delay="0"/>
                                          </p:stCondLst>
                                        </p:cTn>
                                        <p:tgtEl>
                                          <p:spTgt spid="37"/>
                                        </p:tgtEl>
                                        <p:attrNameLst>
                                          <p:attrName>style.visibility</p:attrName>
                                        </p:attrNameLst>
                                      </p:cBhvr>
                                      <p:to>
                                        <p:strVal val="visible"/>
                                      </p:to>
                                    </p:set>
                                    <p:animEffect transition="in" filter="strips(upRight)">
                                      <p:cBhvr>
                                        <p:cTn id="53" dur="500"/>
                                        <p:tgtEl>
                                          <p:spTgt spid="37"/>
                                        </p:tgtEl>
                                      </p:cBhvr>
                                    </p:animEffect>
                                  </p:childTnLst>
                                </p:cTn>
                              </p:par>
                              <p:par>
                                <p:cTn id="54" presetID="6" presetClass="emph" presetSubtype="0" accel="52000" decel="48000" autoRev="1" fill="hold" nodeType="withEffect">
                                  <p:stCondLst>
                                    <p:cond delay="2000"/>
                                  </p:stCondLst>
                                  <p:childTnLst>
                                    <p:animScale>
                                      <p:cBhvr>
                                        <p:cTn id="55" dur="350" fill="hold"/>
                                        <p:tgtEl>
                                          <p:spTgt spid="37"/>
                                        </p:tgtEl>
                                      </p:cBhvr>
                                      <p:by x="110000" y="11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3" grpId="0" animBg="1"/>
      <p:bldP spid="4" grpId="0"/>
      <p:bldP spid="4" grpId="1"/>
      <p:bldP spid="5" grpId="0" animBg="1"/>
      <p:bldP spid="6" grpId="0"/>
    </p:bldLst>
  </p:timing>
</p:sld>
</file>

<file path=ppt/slides/slide6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6">
            <a:extLst>
              <a:ext uri="{FF2B5EF4-FFF2-40B4-BE49-F238E27FC236}">
                <a16:creationId xmlns:a16="http://schemas.microsoft.com/office/drawing/2014/main" id="{32EDF105-3997-49FF-A6CE-6378EA6BAED8}"/>
              </a:ext>
            </a:extLst>
          </p:cNvPr>
          <p:cNvSpPr txBox="1">
            <a:spLocks/>
          </p:cNvSpPr>
          <p:nvPr/>
        </p:nvSpPr>
        <p:spPr>
          <a:xfrm>
            <a:off x="571500" y="762453"/>
            <a:ext cx="4967588" cy="1922688"/>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4000" b="0" i="0" u="none" strike="noStrike" kern="1200" cap="none" spc="0" normalizeH="0" baseline="0" noProof="0">
                <a:ln>
                  <a:noFill/>
                </a:ln>
                <a:solidFill>
                  <a:srgbClr val="000000"/>
                </a:solidFill>
                <a:effectLst/>
                <a:uLnTx/>
                <a:uFillTx/>
                <a:latin typeface="等线 Light" panose="020F0302020204030204"/>
                <a:ea typeface="+mj-ea"/>
                <a:cs typeface="+mj-cs"/>
              </a:rPr>
              <a:t>Special Tree Diagram</a:t>
            </a:r>
            <a:endParaRPr kumimoji="0" lang="en-US" sz="4000" b="0" i="0" u="none" strike="noStrike" kern="1200" cap="none" spc="0" normalizeH="0" baseline="0" noProof="0" dirty="0">
              <a:ln>
                <a:noFill/>
              </a:ln>
              <a:solidFill>
                <a:srgbClr val="000000"/>
              </a:solidFill>
              <a:effectLst/>
              <a:uLnTx/>
              <a:uFillTx/>
              <a:latin typeface="等线 Light" panose="020F0302020204030204"/>
              <a:ea typeface="+mj-ea"/>
              <a:cs typeface="+mj-cs"/>
            </a:endParaRPr>
          </a:p>
        </p:txBody>
      </p:sp>
      <p:grpSp>
        <p:nvGrpSpPr>
          <p:cNvPr id="4" name="Group 31">
            <a:extLst>
              <a:ext uri="{FF2B5EF4-FFF2-40B4-BE49-F238E27FC236}">
                <a16:creationId xmlns:a16="http://schemas.microsoft.com/office/drawing/2014/main" id="{7CB48237-FED6-40A9-B4BC-22159AD4C52F}"/>
              </a:ext>
            </a:extLst>
          </p:cNvPr>
          <p:cNvGrpSpPr/>
          <p:nvPr/>
        </p:nvGrpSpPr>
        <p:grpSpPr>
          <a:xfrm>
            <a:off x="6212494" y="191183"/>
            <a:ext cx="4948992" cy="6065884"/>
            <a:chOff x="6212494" y="191183"/>
            <a:chExt cx="4948992" cy="6065884"/>
          </a:xfrm>
        </p:grpSpPr>
        <p:grpSp>
          <p:nvGrpSpPr>
            <p:cNvPr id="5" name="Group 30">
              <a:extLst>
                <a:ext uri="{FF2B5EF4-FFF2-40B4-BE49-F238E27FC236}">
                  <a16:creationId xmlns:a16="http://schemas.microsoft.com/office/drawing/2014/main" id="{724ADE99-86C8-4CC0-968A-1978240D61B2}"/>
                </a:ext>
              </a:extLst>
            </p:cNvPr>
            <p:cNvGrpSpPr/>
            <p:nvPr/>
          </p:nvGrpSpPr>
          <p:grpSpPr>
            <a:xfrm>
              <a:off x="7765050" y="1268470"/>
              <a:ext cx="3017663" cy="4988597"/>
              <a:chOff x="7765050" y="1268470"/>
              <a:chExt cx="3017663" cy="4988597"/>
            </a:xfrm>
            <a:solidFill>
              <a:srgbClr val="44546A"/>
            </a:solidFill>
          </p:grpSpPr>
          <p:sp>
            <p:nvSpPr>
              <p:cNvPr id="20" name="Freeform 29">
                <a:extLst>
                  <a:ext uri="{FF2B5EF4-FFF2-40B4-BE49-F238E27FC236}">
                    <a16:creationId xmlns:a16="http://schemas.microsoft.com/office/drawing/2014/main" id="{5E2C9A52-EBC4-4849-9C7C-6F2FD5D32108}"/>
                  </a:ext>
                </a:extLst>
              </p:cNvPr>
              <p:cNvSpPr>
                <a:spLocks/>
              </p:cNvSpPr>
              <p:nvPr/>
            </p:nvSpPr>
            <p:spPr bwMode="auto">
              <a:xfrm>
                <a:off x="9104843" y="2320632"/>
                <a:ext cx="1677870" cy="1116394"/>
              </a:xfrm>
              <a:custGeom>
                <a:avLst/>
                <a:gdLst>
                  <a:gd name="T0" fmla="*/ 129 w 226"/>
                  <a:gd name="T1" fmla="*/ 12 h 154"/>
                  <a:gd name="T2" fmla="*/ 7 w 226"/>
                  <a:gd name="T3" fmla="*/ 154 h 154"/>
                  <a:gd name="T4" fmla="*/ 0 w 226"/>
                  <a:gd name="T5" fmla="*/ 142 h 154"/>
                  <a:gd name="T6" fmla="*/ 120 w 226"/>
                  <a:gd name="T7" fmla="*/ 8 h 154"/>
                  <a:gd name="T8" fmla="*/ 226 w 226"/>
                  <a:gd name="T9" fmla="*/ 19 h 154"/>
                  <a:gd name="T10" fmla="*/ 129 w 226"/>
                  <a:gd name="T11" fmla="*/ 12 h 154"/>
                </a:gdLst>
                <a:ahLst/>
                <a:cxnLst>
                  <a:cxn ang="0">
                    <a:pos x="T0" y="T1"/>
                  </a:cxn>
                  <a:cxn ang="0">
                    <a:pos x="T2" y="T3"/>
                  </a:cxn>
                  <a:cxn ang="0">
                    <a:pos x="T4" y="T5"/>
                  </a:cxn>
                  <a:cxn ang="0">
                    <a:pos x="T6" y="T7"/>
                  </a:cxn>
                  <a:cxn ang="0">
                    <a:pos x="T8" y="T9"/>
                  </a:cxn>
                  <a:cxn ang="0">
                    <a:pos x="T10" y="T11"/>
                  </a:cxn>
                </a:cxnLst>
                <a:rect l="0" t="0" r="r" b="b"/>
                <a:pathLst>
                  <a:path w="226" h="154">
                    <a:moveTo>
                      <a:pt x="129" y="12"/>
                    </a:moveTo>
                    <a:cubicBezTo>
                      <a:pt x="55" y="28"/>
                      <a:pt x="4" y="90"/>
                      <a:pt x="7" y="154"/>
                    </a:cubicBezTo>
                    <a:cubicBezTo>
                      <a:pt x="4" y="151"/>
                      <a:pt x="3" y="145"/>
                      <a:pt x="0" y="142"/>
                    </a:cubicBezTo>
                    <a:cubicBezTo>
                      <a:pt x="0" y="80"/>
                      <a:pt x="48" y="24"/>
                      <a:pt x="120" y="8"/>
                    </a:cubicBezTo>
                    <a:cubicBezTo>
                      <a:pt x="157" y="0"/>
                      <a:pt x="195" y="5"/>
                      <a:pt x="226" y="19"/>
                    </a:cubicBezTo>
                    <a:cubicBezTo>
                      <a:pt x="197" y="8"/>
                      <a:pt x="163" y="5"/>
                      <a:pt x="129" y="12"/>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1" name="Freeform 31">
                <a:extLst>
                  <a:ext uri="{FF2B5EF4-FFF2-40B4-BE49-F238E27FC236}">
                    <a16:creationId xmlns:a16="http://schemas.microsoft.com/office/drawing/2014/main" id="{72B9E794-7086-4208-A34D-6167E496C797}"/>
                  </a:ext>
                </a:extLst>
              </p:cNvPr>
              <p:cNvSpPr>
                <a:spLocks/>
              </p:cNvSpPr>
              <p:nvPr/>
            </p:nvSpPr>
            <p:spPr bwMode="auto">
              <a:xfrm>
                <a:off x="8240866" y="1268470"/>
                <a:ext cx="156518" cy="1014956"/>
              </a:xfrm>
              <a:custGeom>
                <a:avLst/>
                <a:gdLst>
                  <a:gd name="T0" fmla="*/ 12 w 21"/>
                  <a:gd name="T1" fmla="*/ 80 h 81"/>
                  <a:gd name="T2" fmla="*/ 3 w 21"/>
                  <a:gd name="T3" fmla="*/ 81 h 81"/>
                  <a:gd name="T4" fmla="*/ 3 w 21"/>
                  <a:gd name="T5" fmla="*/ 32 h 81"/>
                  <a:gd name="T6" fmla="*/ 5 w 21"/>
                  <a:gd name="T7" fmla="*/ 0 h 81"/>
                  <a:gd name="T8" fmla="*/ 14 w 21"/>
                  <a:gd name="T9" fmla="*/ 28 h 81"/>
                  <a:gd name="T10" fmla="*/ 12 w 21"/>
                  <a:gd name="T11" fmla="*/ 80 h 81"/>
                </a:gdLst>
                <a:ahLst/>
                <a:cxnLst>
                  <a:cxn ang="0">
                    <a:pos x="T0" y="T1"/>
                  </a:cxn>
                  <a:cxn ang="0">
                    <a:pos x="T2" y="T3"/>
                  </a:cxn>
                  <a:cxn ang="0">
                    <a:pos x="T4" y="T5"/>
                  </a:cxn>
                  <a:cxn ang="0">
                    <a:pos x="T6" y="T7"/>
                  </a:cxn>
                  <a:cxn ang="0">
                    <a:pos x="T8" y="T9"/>
                  </a:cxn>
                  <a:cxn ang="0">
                    <a:pos x="T10" y="T11"/>
                  </a:cxn>
                </a:cxnLst>
                <a:rect l="0" t="0" r="r" b="b"/>
                <a:pathLst>
                  <a:path w="21" h="81">
                    <a:moveTo>
                      <a:pt x="12" y="80"/>
                    </a:moveTo>
                    <a:cubicBezTo>
                      <a:pt x="9" y="81"/>
                      <a:pt x="6" y="81"/>
                      <a:pt x="3" y="81"/>
                    </a:cubicBezTo>
                    <a:cubicBezTo>
                      <a:pt x="3" y="55"/>
                      <a:pt x="3" y="36"/>
                      <a:pt x="3" y="32"/>
                    </a:cubicBezTo>
                    <a:cubicBezTo>
                      <a:pt x="0" y="8"/>
                      <a:pt x="1" y="0"/>
                      <a:pt x="5" y="0"/>
                    </a:cubicBezTo>
                    <a:cubicBezTo>
                      <a:pt x="9" y="0"/>
                      <a:pt x="21" y="3"/>
                      <a:pt x="14" y="28"/>
                    </a:cubicBezTo>
                    <a:cubicBezTo>
                      <a:pt x="13" y="33"/>
                      <a:pt x="12" y="52"/>
                      <a:pt x="12" y="80"/>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2" name="Freeform 24">
                <a:extLst>
                  <a:ext uri="{FF2B5EF4-FFF2-40B4-BE49-F238E27FC236}">
                    <a16:creationId xmlns:a16="http://schemas.microsoft.com/office/drawing/2014/main" id="{A27CE4D6-9814-4AB3-A219-45909D810641}"/>
                  </a:ext>
                </a:extLst>
              </p:cNvPr>
              <p:cNvSpPr>
                <a:spLocks/>
              </p:cNvSpPr>
              <p:nvPr/>
            </p:nvSpPr>
            <p:spPr bwMode="auto">
              <a:xfrm>
                <a:off x="7765050" y="3140341"/>
                <a:ext cx="222254" cy="2153261"/>
              </a:xfrm>
              <a:custGeom>
                <a:avLst/>
                <a:gdLst>
                  <a:gd name="T0" fmla="*/ 21 w 30"/>
                  <a:gd name="T1" fmla="*/ 297 h 297"/>
                  <a:gd name="T2" fmla="*/ 29 w 30"/>
                  <a:gd name="T3" fmla="*/ 290 h 297"/>
                  <a:gd name="T4" fmla="*/ 29 w 30"/>
                  <a:gd name="T5" fmla="*/ 13 h 297"/>
                  <a:gd name="T6" fmla="*/ 21 w 30"/>
                  <a:gd name="T7" fmla="*/ 2 h 297"/>
                  <a:gd name="T8" fmla="*/ 22 w 30"/>
                  <a:gd name="T9" fmla="*/ 7 h 297"/>
                  <a:gd name="T10" fmla="*/ 14 w 30"/>
                  <a:gd name="T11" fmla="*/ 290 h 297"/>
                  <a:gd name="T12" fmla="*/ 21 w 30"/>
                  <a:gd name="T13" fmla="*/ 297 h 297"/>
                </a:gdLst>
                <a:ahLst/>
                <a:cxnLst>
                  <a:cxn ang="0">
                    <a:pos x="T0" y="T1"/>
                  </a:cxn>
                  <a:cxn ang="0">
                    <a:pos x="T2" y="T3"/>
                  </a:cxn>
                  <a:cxn ang="0">
                    <a:pos x="T4" y="T5"/>
                  </a:cxn>
                  <a:cxn ang="0">
                    <a:pos x="T6" y="T7"/>
                  </a:cxn>
                  <a:cxn ang="0">
                    <a:pos x="T8" y="T9"/>
                  </a:cxn>
                  <a:cxn ang="0">
                    <a:pos x="T10" y="T11"/>
                  </a:cxn>
                  <a:cxn ang="0">
                    <a:pos x="T12" y="T13"/>
                  </a:cxn>
                </a:cxnLst>
                <a:rect l="0" t="0" r="r" b="b"/>
                <a:pathLst>
                  <a:path w="30" h="297">
                    <a:moveTo>
                      <a:pt x="21" y="297"/>
                    </a:moveTo>
                    <a:cubicBezTo>
                      <a:pt x="25" y="297"/>
                      <a:pt x="29" y="294"/>
                      <a:pt x="29" y="290"/>
                    </a:cubicBezTo>
                    <a:cubicBezTo>
                      <a:pt x="29" y="13"/>
                      <a:pt x="29" y="13"/>
                      <a:pt x="29" y="13"/>
                    </a:cubicBezTo>
                    <a:cubicBezTo>
                      <a:pt x="29" y="9"/>
                      <a:pt x="25" y="2"/>
                      <a:pt x="21" y="2"/>
                    </a:cubicBezTo>
                    <a:cubicBezTo>
                      <a:pt x="17" y="2"/>
                      <a:pt x="0" y="0"/>
                      <a:pt x="22" y="7"/>
                    </a:cubicBezTo>
                    <a:cubicBezTo>
                      <a:pt x="30" y="9"/>
                      <a:pt x="14" y="290"/>
                      <a:pt x="14" y="290"/>
                    </a:cubicBezTo>
                    <a:cubicBezTo>
                      <a:pt x="14" y="294"/>
                      <a:pt x="17" y="297"/>
                      <a:pt x="21" y="29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3" name="Freeform 25">
                <a:extLst>
                  <a:ext uri="{FF2B5EF4-FFF2-40B4-BE49-F238E27FC236}">
                    <a16:creationId xmlns:a16="http://schemas.microsoft.com/office/drawing/2014/main" id="{331315E9-90B7-4598-AB8B-E78F3680B8D4}"/>
                  </a:ext>
                </a:extLst>
              </p:cNvPr>
              <p:cNvSpPr>
                <a:spLocks/>
              </p:cNvSpPr>
              <p:nvPr/>
            </p:nvSpPr>
            <p:spPr bwMode="auto">
              <a:xfrm>
                <a:off x="9424139" y="3553253"/>
                <a:ext cx="190950" cy="1740349"/>
              </a:xfrm>
              <a:custGeom>
                <a:avLst/>
                <a:gdLst>
                  <a:gd name="T0" fmla="*/ 8 w 26"/>
                  <a:gd name="T1" fmla="*/ 240 h 240"/>
                  <a:gd name="T2" fmla="*/ 16 w 26"/>
                  <a:gd name="T3" fmla="*/ 233 h 240"/>
                  <a:gd name="T4" fmla="*/ 17 w 26"/>
                  <a:gd name="T5" fmla="*/ 34 h 240"/>
                  <a:gd name="T6" fmla="*/ 12 w 26"/>
                  <a:gd name="T7" fmla="*/ 33 h 240"/>
                  <a:gd name="T8" fmla="*/ 1 w 26"/>
                  <a:gd name="T9" fmla="*/ 233 h 240"/>
                  <a:gd name="T10" fmla="*/ 8 w 26"/>
                  <a:gd name="T11" fmla="*/ 240 h 240"/>
                </a:gdLst>
                <a:ahLst/>
                <a:cxnLst>
                  <a:cxn ang="0">
                    <a:pos x="T0" y="T1"/>
                  </a:cxn>
                  <a:cxn ang="0">
                    <a:pos x="T2" y="T3"/>
                  </a:cxn>
                  <a:cxn ang="0">
                    <a:pos x="T4" y="T5"/>
                  </a:cxn>
                  <a:cxn ang="0">
                    <a:pos x="T6" y="T7"/>
                  </a:cxn>
                  <a:cxn ang="0">
                    <a:pos x="T8" y="T9"/>
                  </a:cxn>
                  <a:cxn ang="0">
                    <a:pos x="T10" y="T11"/>
                  </a:cxn>
                </a:cxnLst>
                <a:rect l="0" t="0" r="r" b="b"/>
                <a:pathLst>
                  <a:path w="26" h="240">
                    <a:moveTo>
                      <a:pt x="8" y="240"/>
                    </a:moveTo>
                    <a:cubicBezTo>
                      <a:pt x="12" y="240"/>
                      <a:pt x="16" y="237"/>
                      <a:pt x="16" y="233"/>
                    </a:cubicBezTo>
                    <a:cubicBezTo>
                      <a:pt x="16" y="233"/>
                      <a:pt x="8" y="68"/>
                      <a:pt x="17" y="34"/>
                    </a:cubicBezTo>
                    <a:cubicBezTo>
                      <a:pt x="26" y="0"/>
                      <a:pt x="15" y="30"/>
                      <a:pt x="12" y="33"/>
                    </a:cubicBezTo>
                    <a:cubicBezTo>
                      <a:pt x="0" y="53"/>
                      <a:pt x="1" y="233"/>
                      <a:pt x="1" y="233"/>
                    </a:cubicBezTo>
                    <a:cubicBezTo>
                      <a:pt x="1" y="237"/>
                      <a:pt x="4" y="240"/>
                      <a:pt x="8" y="240"/>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4" name="Freeform 26">
                <a:extLst>
                  <a:ext uri="{FF2B5EF4-FFF2-40B4-BE49-F238E27FC236}">
                    <a16:creationId xmlns:a16="http://schemas.microsoft.com/office/drawing/2014/main" id="{AEE2E476-C0F2-4EDA-80DA-48EFC0A37EE1}"/>
                  </a:ext>
                </a:extLst>
              </p:cNvPr>
              <p:cNvSpPr>
                <a:spLocks/>
              </p:cNvSpPr>
              <p:nvPr/>
            </p:nvSpPr>
            <p:spPr bwMode="auto">
              <a:xfrm>
                <a:off x="9057886" y="3066934"/>
                <a:ext cx="150256" cy="1905515"/>
              </a:xfrm>
              <a:custGeom>
                <a:avLst/>
                <a:gdLst>
                  <a:gd name="T0" fmla="*/ 9 w 20"/>
                  <a:gd name="T1" fmla="*/ 263 h 263"/>
                  <a:gd name="T2" fmla="*/ 17 w 20"/>
                  <a:gd name="T3" fmla="*/ 256 h 263"/>
                  <a:gd name="T4" fmla="*/ 17 w 20"/>
                  <a:gd name="T5" fmla="*/ 19 h 263"/>
                  <a:gd name="T6" fmla="*/ 9 w 20"/>
                  <a:gd name="T7" fmla="*/ 12 h 263"/>
                  <a:gd name="T8" fmla="*/ 2 w 20"/>
                  <a:gd name="T9" fmla="*/ 256 h 263"/>
                  <a:gd name="T10" fmla="*/ 9 w 20"/>
                  <a:gd name="T11" fmla="*/ 263 h 263"/>
                </a:gdLst>
                <a:ahLst/>
                <a:cxnLst>
                  <a:cxn ang="0">
                    <a:pos x="T0" y="T1"/>
                  </a:cxn>
                  <a:cxn ang="0">
                    <a:pos x="T2" y="T3"/>
                  </a:cxn>
                  <a:cxn ang="0">
                    <a:pos x="T4" y="T5"/>
                  </a:cxn>
                  <a:cxn ang="0">
                    <a:pos x="T6" y="T7"/>
                  </a:cxn>
                  <a:cxn ang="0">
                    <a:pos x="T8" y="T9"/>
                  </a:cxn>
                  <a:cxn ang="0">
                    <a:pos x="T10" y="T11"/>
                  </a:cxn>
                </a:cxnLst>
                <a:rect l="0" t="0" r="r" b="b"/>
                <a:pathLst>
                  <a:path w="20" h="263">
                    <a:moveTo>
                      <a:pt x="9" y="263"/>
                    </a:moveTo>
                    <a:cubicBezTo>
                      <a:pt x="13" y="263"/>
                      <a:pt x="17" y="260"/>
                      <a:pt x="17" y="256"/>
                    </a:cubicBezTo>
                    <a:cubicBezTo>
                      <a:pt x="17" y="256"/>
                      <a:pt x="8" y="67"/>
                      <a:pt x="17" y="19"/>
                    </a:cubicBezTo>
                    <a:cubicBezTo>
                      <a:pt x="20" y="0"/>
                      <a:pt x="12" y="9"/>
                      <a:pt x="9" y="12"/>
                    </a:cubicBezTo>
                    <a:cubicBezTo>
                      <a:pt x="0" y="22"/>
                      <a:pt x="2" y="256"/>
                      <a:pt x="2" y="256"/>
                    </a:cubicBezTo>
                    <a:cubicBezTo>
                      <a:pt x="2" y="260"/>
                      <a:pt x="5" y="263"/>
                      <a:pt x="9" y="263"/>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5" name="Freeform 27">
                <a:extLst>
                  <a:ext uri="{FF2B5EF4-FFF2-40B4-BE49-F238E27FC236}">
                    <a16:creationId xmlns:a16="http://schemas.microsoft.com/office/drawing/2014/main" id="{3A7D4A7C-5EDD-4D74-B7E3-01D09D25A734}"/>
                  </a:ext>
                </a:extLst>
              </p:cNvPr>
              <p:cNvSpPr>
                <a:spLocks noEditPoints="1"/>
              </p:cNvSpPr>
              <p:nvPr/>
            </p:nvSpPr>
            <p:spPr bwMode="auto">
              <a:xfrm>
                <a:off x="7862090" y="4843989"/>
                <a:ext cx="1681001" cy="1413078"/>
              </a:xfrm>
              <a:custGeom>
                <a:avLst/>
                <a:gdLst>
                  <a:gd name="T0" fmla="*/ 2 w 226"/>
                  <a:gd name="T1" fmla="*/ 61 h 195"/>
                  <a:gd name="T2" fmla="*/ 56 w 226"/>
                  <a:gd name="T3" fmla="*/ 128 h 195"/>
                  <a:gd name="T4" fmla="*/ 56 w 226"/>
                  <a:gd name="T5" fmla="*/ 128 h 195"/>
                  <a:gd name="T6" fmla="*/ 108 w 226"/>
                  <a:gd name="T7" fmla="*/ 192 h 195"/>
                  <a:gd name="T8" fmla="*/ 113 w 226"/>
                  <a:gd name="T9" fmla="*/ 195 h 195"/>
                  <a:gd name="T10" fmla="*/ 119 w 226"/>
                  <a:gd name="T11" fmla="*/ 192 h 195"/>
                  <a:gd name="T12" fmla="*/ 171 w 226"/>
                  <a:gd name="T13" fmla="*/ 128 h 195"/>
                  <a:gd name="T14" fmla="*/ 171 w 226"/>
                  <a:gd name="T15" fmla="*/ 128 h 195"/>
                  <a:gd name="T16" fmla="*/ 224 w 226"/>
                  <a:gd name="T17" fmla="*/ 61 h 195"/>
                  <a:gd name="T18" fmla="*/ 225 w 226"/>
                  <a:gd name="T19" fmla="*/ 54 h 195"/>
                  <a:gd name="T20" fmla="*/ 219 w 226"/>
                  <a:gd name="T21" fmla="*/ 49 h 195"/>
                  <a:gd name="T22" fmla="*/ 178 w 226"/>
                  <a:gd name="T23" fmla="*/ 7 h 195"/>
                  <a:gd name="T24" fmla="*/ 177 w 226"/>
                  <a:gd name="T25" fmla="*/ 5 h 195"/>
                  <a:gd name="T26" fmla="*/ 169 w 226"/>
                  <a:gd name="T27" fmla="*/ 1 h 195"/>
                  <a:gd name="T28" fmla="*/ 166 w 226"/>
                  <a:gd name="T29" fmla="*/ 2 h 195"/>
                  <a:gd name="T30" fmla="*/ 163 w 226"/>
                  <a:gd name="T31" fmla="*/ 7 h 195"/>
                  <a:gd name="T32" fmla="*/ 113 w 226"/>
                  <a:gd name="T33" fmla="*/ 50 h 195"/>
                  <a:gd name="T34" fmla="*/ 64 w 226"/>
                  <a:gd name="T35" fmla="*/ 7 h 195"/>
                  <a:gd name="T36" fmla="*/ 56 w 226"/>
                  <a:gd name="T37" fmla="*/ 1 h 195"/>
                  <a:gd name="T38" fmla="*/ 56 w 226"/>
                  <a:gd name="T39" fmla="*/ 1 h 195"/>
                  <a:gd name="T40" fmla="*/ 53 w 226"/>
                  <a:gd name="T41" fmla="*/ 2 h 195"/>
                  <a:gd name="T42" fmla="*/ 50 w 226"/>
                  <a:gd name="T43" fmla="*/ 5 h 195"/>
                  <a:gd name="T44" fmla="*/ 49 w 226"/>
                  <a:gd name="T45" fmla="*/ 7 h 195"/>
                  <a:gd name="T46" fmla="*/ 7 w 226"/>
                  <a:gd name="T47" fmla="*/ 49 h 195"/>
                  <a:gd name="T48" fmla="*/ 1 w 226"/>
                  <a:gd name="T49" fmla="*/ 54 h 195"/>
                  <a:gd name="T50" fmla="*/ 2 w 226"/>
                  <a:gd name="T51" fmla="*/ 61 h 195"/>
                  <a:gd name="T52" fmla="*/ 75 w 226"/>
                  <a:gd name="T53" fmla="*/ 128 h 195"/>
                  <a:gd name="T54" fmla="*/ 152 w 226"/>
                  <a:gd name="T55" fmla="*/ 128 h 195"/>
                  <a:gd name="T56" fmla="*/ 113 w 226"/>
                  <a:gd name="T57" fmla="*/ 175 h 195"/>
                  <a:gd name="T58" fmla="*/ 75 w 226"/>
                  <a:gd name="T59" fmla="*/ 128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26" h="195">
                    <a:moveTo>
                      <a:pt x="2" y="61"/>
                    </a:moveTo>
                    <a:cubicBezTo>
                      <a:pt x="56" y="128"/>
                      <a:pt x="56" y="128"/>
                      <a:pt x="56" y="128"/>
                    </a:cubicBezTo>
                    <a:cubicBezTo>
                      <a:pt x="56" y="128"/>
                      <a:pt x="56" y="128"/>
                      <a:pt x="56" y="128"/>
                    </a:cubicBezTo>
                    <a:cubicBezTo>
                      <a:pt x="108" y="192"/>
                      <a:pt x="108" y="192"/>
                      <a:pt x="108" y="192"/>
                    </a:cubicBezTo>
                    <a:cubicBezTo>
                      <a:pt x="109" y="194"/>
                      <a:pt x="111" y="195"/>
                      <a:pt x="113" y="195"/>
                    </a:cubicBezTo>
                    <a:cubicBezTo>
                      <a:pt x="116" y="195"/>
                      <a:pt x="118" y="194"/>
                      <a:pt x="119" y="192"/>
                    </a:cubicBezTo>
                    <a:cubicBezTo>
                      <a:pt x="171" y="128"/>
                      <a:pt x="171" y="128"/>
                      <a:pt x="171" y="128"/>
                    </a:cubicBezTo>
                    <a:cubicBezTo>
                      <a:pt x="171" y="128"/>
                      <a:pt x="171" y="128"/>
                      <a:pt x="171" y="128"/>
                    </a:cubicBezTo>
                    <a:cubicBezTo>
                      <a:pt x="224" y="61"/>
                      <a:pt x="224" y="61"/>
                      <a:pt x="224" y="61"/>
                    </a:cubicBezTo>
                    <a:cubicBezTo>
                      <a:pt x="226" y="59"/>
                      <a:pt x="226" y="56"/>
                      <a:pt x="225" y="54"/>
                    </a:cubicBezTo>
                    <a:cubicBezTo>
                      <a:pt x="224" y="51"/>
                      <a:pt x="222" y="50"/>
                      <a:pt x="219" y="49"/>
                    </a:cubicBezTo>
                    <a:cubicBezTo>
                      <a:pt x="198" y="46"/>
                      <a:pt x="180" y="29"/>
                      <a:pt x="178" y="7"/>
                    </a:cubicBezTo>
                    <a:cubicBezTo>
                      <a:pt x="178" y="6"/>
                      <a:pt x="177" y="5"/>
                      <a:pt x="177" y="5"/>
                    </a:cubicBezTo>
                    <a:cubicBezTo>
                      <a:pt x="175" y="2"/>
                      <a:pt x="172" y="0"/>
                      <a:pt x="169" y="1"/>
                    </a:cubicBezTo>
                    <a:cubicBezTo>
                      <a:pt x="168" y="1"/>
                      <a:pt x="167" y="1"/>
                      <a:pt x="166" y="2"/>
                    </a:cubicBezTo>
                    <a:cubicBezTo>
                      <a:pt x="164" y="3"/>
                      <a:pt x="163" y="5"/>
                      <a:pt x="163" y="7"/>
                    </a:cubicBezTo>
                    <a:cubicBezTo>
                      <a:pt x="160" y="31"/>
                      <a:pt x="138" y="50"/>
                      <a:pt x="113" y="50"/>
                    </a:cubicBezTo>
                    <a:cubicBezTo>
                      <a:pt x="88" y="50"/>
                      <a:pt x="67" y="31"/>
                      <a:pt x="64" y="7"/>
                    </a:cubicBezTo>
                    <a:cubicBezTo>
                      <a:pt x="63" y="3"/>
                      <a:pt x="60" y="1"/>
                      <a:pt x="56" y="1"/>
                    </a:cubicBezTo>
                    <a:cubicBezTo>
                      <a:pt x="56" y="1"/>
                      <a:pt x="56" y="1"/>
                      <a:pt x="56" y="1"/>
                    </a:cubicBezTo>
                    <a:cubicBezTo>
                      <a:pt x="55" y="1"/>
                      <a:pt x="54" y="1"/>
                      <a:pt x="53" y="2"/>
                    </a:cubicBezTo>
                    <a:cubicBezTo>
                      <a:pt x="51" y="2"/>
                      <a:pt x="50" y="3"/>
                      <a:pt x="50" y="5"/>
                    </a:cubicBezTo>
                    <a:cubicBezTo>
                      <a:pt x="49" y="5"/>
                      <a:pt x="49" y="6"/>
                      <a:pt x="49" y="7"/>
                    </a:cubicBezTo>
                    <a:cubicBezTo>
                      <a:pt x="46" y="29"/>
                      <a:pt x="29" y="46"/>
                      <a:pt x="7" y="49"/>
                    </a:cubicBezTo>
                    <a:cubicBezTo>
                      <a:pt x="4" y="50"/>
                      <a:pt x="2" y="51"/>
                      <a:pt x="1" y="54"/>
                    </a:cubicBezTo>
                    <a:cubicBezTo>
                      <a:pt x="0" y="56"/>
                      <a:pt x="1" y="59"/>
                      <a:pt x="2" y="61"/>
                    </a:cubicBezTo>
                    <a:close/>
                    <a:moveTo>
                      <a:pt x="75" y="128"/>
                    </a:moveTo>
                    <a:cubicBezTo>
                      <a:pt x="101" y="123"/>
                      <a:pt x="126" y="123"/>
                      <a:pt x="152" y="128"/>
                    </a:cubicBezTo>
                    <a:cubicBezTo>
                      <a:pt x="113" y="175"/>
                      <a:pt x="113" y="175"/>
                      <a:pt x="113" y="175"/>
                    </a:cubicBezTo>
                    <a:lnTo>
                      <a:pt x="75" y="128"/>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6" name="Freeform 32">
                <a:extLst>
                  <a:ext uri="{FF2B5EF4-FFF2-40B4-BE49-F238E27FC236}">
                    <a16:creationId xmlns:a16="http://schemas.microsoft.com/office/drawing/2014/main" id="{4BCDB148-979D-4FBB-B414-F16C56752356}"/>
                  </a:ext>
                </a:extLst>
              </p:cNvPr>
              <p:cNvSpPr>
                <a:spLocks/>
              </p:cNvSpPr>
              <p:nvPr/>
            </p:nvSpPr>
            <p:spPr bwMode="auto">
              <a:xfrm>
                <a:off x="8225213" y="2629239"/>
                <a:ext cx="112693" cy="2343211"/>
              </a:xfrm>
              <a:custGeom>
                <a:avLst/>
                <a:gdLst>
                  <a:gd name="T0" fmla="*/ 13 w 15"/>
                  <a:gd name="T1" fmla="*/ 4 h 300"/>
                  <a:gd name="T2" fmla="*/ 15 w 15"/>
                  <a:gd name="T3" fmla="*/ 293 h 300"/>
                  <a:gd name="T4" fmla="*/ 7 w 15"/>
                  <a:gd name="T5" fmla="*/ 300 h 300"/>
                  <a:gd name="T6" fmla="*/ 0 w 15"/>
                  <a:gd name="T7" fmla="*/ 293 h 300"/>
                  <a:gd name="T8" fmla="*/ 4 w 15"/>
                  <a:gd name="T9" fmla="*/ 0 h 300"/>
                  <a:gd name="T10" fmla="*/ 13 w 15"/>
                  <a:gd name="T11" fmla="*/ 4 h 300"/>
                </a:gdLst>
                <a:ahLst/>
                <a:cxnLst>
                  <a:cxn ang="0">
                    <a:pos x="T0" y="T1"/>
                  </a:cxn>
                  <a:cxn ang="0">
                    <a:pos x="T2" y="T3"/>
                  </a:cxn>
                  <a:cxn ang="0">
                    <a:pos x="T4" y="T5"/>
                  </a:cxn>
                  <a:cxn ang="0">
                    <a:pos x="T6" y="T7"/>
                  </a:cxn>
                  <a:cxn ang="0">
                    <a:pos x="T8" y="T9"/>
                  </a:cxn>
                  <a:cxn ang="0">
                    <a:pos x="T10" y="T11"/>
                  </a:cxn>
                </a:cxnLst>
                <a:rect l="0" t="0" r="r" b="b"/>
                <a:pathLst>
                  <a:path w="15" h="300">
                    <a:moveTo>
                      <a:pt x="13" y="4"/>
                    </a:moveTo>
                    <a:cubicBezTo>
                      <a:pt x="13" y="137"/>
                      <a:pt x="15" y="293"/>
                      <a:pt x="15" y="293"/>
                    </a:cubicBezTo>
                    <a:cubicBezTo>
                      <a:pt x="15" y="297"/>
                      <a:pt x="11" y="300"/>
                      <a:pt x="7" y="300"/>
                    </a:cubicBezTo>
                    <a:cubicBezTo>
                      <a:pt x="3" y="300"/>
                      <a:pt x="0" y="297"/>
                      <a:pt x="0" y="293"/>
                    </a:cubicBezTo>
                    <a:cubicBezTo>
                      <a:pt x="0" y="293"/>
                      <a:pt x="3" y="134"/>
                      <a:pt x="4" y="0"/>
                    </a:cubicBezTo>
                    <a:cubicBezTo>
                      <a:pt x="7" y="2"/>
                      <a:pt x="10" y="3"/>
                      <a:pt x="13" y="4"/>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sp>
          <p:nvSpPr>
            <p:cNvPr id="6" name="Freeform 33">
              <a:extLst>
                <a:ext uri="{FF2B5EF4-FFF2-40B4-BE49-F238E27FC236}">
                  <a16:creationId xmlns:a16="http://schemas.microsoft.com/office/drawing/2014/main" id="{76EBF7A2-0227-4439-A15F-408DC3DC03DD}"/>
                </a:ext>
              </a:extLst>
            </p:cNvPr>
            <p:cNvSpPr>
              <a:spLocks/>
            </p:cNvSpPr>
            <p:nvPr/>
          </p:nvSpPr>
          <p:spPr bwMode="auto">
            <a:xfrm rot="20192702" flipH="1">
              <a:off x="8854638" y="529709"/>
              <a:ext cx="946423" cy="767627"/>
            </a:xfrm>
            <a:custGeom>
              <a:avLst/>
              <a:gdLst>
                <a:gd name="T0" fmla="*/ 167 w 196"/>
                <a:gd name="T1" fmla="*/ 142 h 163"/>
                <a:gd name="T2" fmla="*/ 170 w 196"/>
                <a:gd name="T3" fmla="*/ 48 h 163"/>
                <a:gd name="T4" fmla="*/ 167 w 196"/>
                <a:gd name="T5" fmla="*/ 57 h 163"/>
                <a:gd name="T6" fmla="*/ 75 w 196"/>
                <a:gd name="T7" fmla="*/ 3 h 163"/>
                <a:gd name="T8" fmla="*/ 0 w 196"/>
                <a:gd name="T9" fmla="*/ 26 h 163"/>
                <a:gd name="T10" fmla="*/ 20 w 196"/>
                <a:gd name="T11" fmla="*/ 60 h 163"/>
                <a:gd name="T12" fmla="*/ 77 w 196"/>
                <a:gd name="T13" fmla="*/ 124 h 163"/>
                <a:gd name="T14" fmla="*/ 119 w 196"/>
                <a:gd name="T15" fmla="*/ 134 h 163"/>
                <a:gd name="T16" fmla="*/ 102 w 196"/>
                <a:gd name="T17" fmla="*/ 139 h 163"/>
                <a:gd name="T18" fmla="*/ 161 w 196"/>
                <a:gd name="T19" fmla="*/ 163 h 163"/>
                <a:gd name="T20" fmla="*/ 81 w 196"/>
                <a:gd name="T21" fmla="*/ 35 h 163"/>
                <a:gd name="T22" fmla="*/ 167 w 196"/>
                <a:gd name="T23" fmla="*/ 14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6" h="163">
                  <a:moveTo>
                    <a:pt x="167" y="142"/>
                  </a:moveTo>
                  <a:cubicBezTo>
                    <a:pt x="167" y="142"/>
                    <a:pt x="196" y="98"/>
                    <a:pt x="170" y="48"/>
                  </a:cubicBezTo>
                  <a:cubicBezTo>
                    <a:pt x="167" y="57"/>
                    <a:pt x="167" y="57"/>
                    <a:pt x="167" y="57"/>
                  </a:cubicBezTo>
                  <a:cubicBezTo>
                    <a:pt x="167" y="57"/>
                    <a:pt x="152" y="0"/>
                    <a:pt x="75" y="3"/>
                  </a:cubicBezTo>
                  <a:cubicBezTo>
                    <a:pt x="21" y="6"/>
                    <a:pt x="0" y="26"/>
                    <a:pt x="0" y="26"/>
                  </a:cubicBezTo>
                  <a:cubicBezTo>
                    <a:pt x="0" y="26"/>
                    <a:pt x="19" y="23"/>
                    <a:pt x="20" y="60"/>
                  </a:cubicBezTo>
                  <a:cubicBezTo>
                    <a:pt x="21" y="81"/>
                    <a:pt x="43" y="116"/>
                    <a:pt x="77" y="124"/>
                  </a:cubicBezTo>
                  <a:cubicBezTo>
                    <a:pt x="111" y="131"/>
                    <a:pt x="119" y="134"/>
                    <a:pt x="119" y="134"/>
                  </a:cubicBezTo>
                  <a:cubicBezTo>
                    <a:pt x="102" y="139"/>
                    <a:pt x="102" y="139"/>
                    <a:pt x="102" y="139"/>
                  </a:cubicBezTo>
                  <a:cubicBezTo>
                    <a:pt x="102" y="139"/>
                    <a:pt x="159" y="140"/>
                    <a:pt x="161" y="163"/>
                  </a:cubicBezTo>
                  <a:cubicBezTo>
                    <a:pt x="161" y="163"/>
                    <a:pt x="157" y="56"/>
                    <a:pt x="81" y="35"/>
                  </a:cubicBezTo>
                  <a:cubicBezTo>
                    <a:pt x="81" y="35"/>
                    <a:pt x="153" y="45"/>
                    <a:pt x="167" y="142"/>
                  </a:cubicBez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7" name="Freeform 36">
              <a:extLst>
                <a:ext uri="{FF2B5EF4-FFF2-40B4-BE49-F238E27FC236}">
                  <a16:creationId xmlns:a16="http://schemas.microsoft.com/office/drawing/2014/main" id="{36092FAB-FA60-4C8C-8C50-9621B6066708}"/>
                </a:ext>
              </a:extLst>
            </p:cNvPr>
            <p:cNvSpPr>
              <a:spLocks/>
            </p:cNvSpPr>
            <p:nvPr/>
          </p:nvSpPr>
          <p:spPr bwMode="auto">
            <a:xfrm rot="1695130">
              <a:off x="10483291" y="1379302"/>
              <a:ext cx="447640" cy="561346"/>
            </a:xfrm>
            <a:custGeom>
              <a:avLst/>
              <a:gdLst>
                <a:gd name="T0" fmla="*/ 4 w 79"/>
                <a:gd name="T1" fmla="*/ 55 h 101"/>
                <a:gd name="T2" fmla="*/ 37 w 79"/>
                <a:gd name="T3" fmla="*/ 10 h 101"/>
                <a:gd name="T4" fmla="*/ 77 w 79"/>
                <a:gd name="T5" fmla="*/ 5 h 101"/>
                <a:gd name="T6" fmla="*/ 75 w 79"/>
                <a:gd name="T7" fmla="*/ 25 h 101"/>
                <a:gd name="T8" fmla="*/ 61 w 79"/>
                <a:gd name="T9" fmla="*/ 67 h 101"/>
                <a:gd name="T10" fmla="*/ 43 w 79"/>
                <a:gd name="T11" fmla="*/ 81 h 101"/>
                <a:gd name="T12" fmla="*/ 52 w 79"/>
                <a:gd name="T13" fmla="*/ 80 h 101"/>
                <a:gd name="T14" fmla="*/ 30 w 79"/>
                <a:gd name="T15" fmla="*/ 101 h 101"/>
                <a:gd name="T16" fmla="*/ 27 w 79"/>
                <a:gd name="T17" fmla="*/ 87 h 101"/>
                <a:gd name="T18" fmla="*/ 48 w 79"/>
                <a:gd name="T19" fmla="*/ 20 h 101"/>
                <a:gd name="T20" fmla="*/ 18 w 79"/>
                <a:gd name="T21" fmla="*/ 91 h 101"/>
                <a:gd name="T22" fmla="*/ 1 w 79"/>
                <a:gd name="T23" fmla="*/ 51 h 101"/>
                <a:gd name="T24" fmla="*/ 4 w 79"/>
                <a:gd name="T25" fmla="*/ 55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9" h="101">
                  <a:moveTo>
                    <a:pt x="4" y="55"/>
                  </a:moveTo>
                  <a:cubicBezTo>
                    <a:pt x="4" y="55"/>
                    <a:pt x="0" y="25"/>
                    <a:pt x="37" y="10"/>
                  </a:cubicBezTo>
                  <a:cubicBezTo>
                    <a:pt x="63" y="0"/>
                    <a:pt x="77" y="5"/>
                    <a:pt x="77" y="5"/>
                  </a:cubicBezTo>
                  <a:cubicBezTo>
                    <a:pt x="77" y="5"/>
                    <a:pt x="67" y="7"/>
                    <a:pt x="75" y="25"/>
                  </a:cubicBezTo>
                  <a:cubicBezTo>
                    <a:pt x="79" y="35"/>
                    <a:pt x="76" y="57"/>
                    <a:pt x="61" y="67"/>
                  </a:cubicBezTo>
                  <a:cubicBezTo>
                    <a:pt x="47" y="78"/>
                    <a:pt x="43" y="81"/>
                    <a:pt x="43" y="81"/>
                  </a:cubicBezTo>
                  <a:cubicBezTo>
                    <a:pt x="52" y="80"/>
                    <a:pt x="52" y="80"/>
                    <a:pt x="52" y="80"/>
                  </a:cubicBezTo>
                  <a:cubicBezTo>
                    <a:pt x="52" y="80"/>
                    <a:pt x="29" y="91"/>
                    <a:pt x="30" y="101"/>
                  </a:cubicBezTo>
                  <a:cubicBezTo>
                    <a:pt x="28" y="97"/>
                    <a:pt x="28" y="92"/>
                    <a:pt x="27" y="87"/>
                  </a:cubicBezTo>
                  <a:cubicBezTo>
                    <a:pt x="24" y="59"/>
                    <a:pt x="33" y="34"/>
                    <a:pt x="48" y="20"/>
                  </a:cubicBezTo>
                  <a:cubicBezTo>
                    <a:pt x="30" y="31"/>
                    <a:pt x="14" y="52"/>
                    <a:pt x="18" y="91"/>
                  </a:cubicBezTo>
                  <a:cubicBezTo>
                    <a:pt x="11" y="85"/>
                    <a:pt x="0" y="71"/>
                    <a:pt x="1" y="51"/>
                  </a:cubicBezTo>
                  <a:lnTo>
                    <a:pt x="4" y="55"/>
                  </a:ln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8" name="Freeform 30">
              <a:extLst>
                <a:ext uri="{FF2B5EF4-FFF2-40B4-BE49-F238E27FC236}">
                  <a16:creationId xmlns:a16="http://schemas.microsoft.com/office/drawing/2014/main" id="{976512FE-1BA7-48FE-88BB-D2553F280F5D}"/>
                </a:ext>
              </a:extLst>
            </p:cNvPr>
            <p:cNvSpPr>
              <a:spLocks/>
            </p:cNvSpPr>
            <p:nvPr/>
          </p:nvSpPr>
          <p:spPr bwMode="auto">
            <a:xfrm rot="19798984">
              <a:off x="8965855" y="750644"/>
              <a:ext cx="1636041" cy="1201646"/>
            </a:xfrm>
            <a:custGeom>
              <a:avLst/>
              <a:gdLst>
                <a:gd name="T0" fmla="*/ 9 w 246"/>
                <a:gd name="T1" fmla="*/ 121 h 185"/>
                <a:gd name="T2" fmla="*/ 73 w 246"/>
                <a:gd name="T3" fmla="*/ 31 h 185"/>
                <a:gd name="T4" fmla="*/ 69 w 246"/>
                <a:gd name="T5" fmla="*/ 42 h 185"/>
                <a:gd name="T6" fmla="*/ 192 w 246"/>
                <a:gd name="T7" fmla="*/ 58 h 185"/>
                <a:gd name="T8" fmla="*/ 246 w 246"/>
                <a:gd name="T9" fmla="*/ 133 h 185"/>
                <a:gd name="T10" fmla="*/ 203 w 246"/>
                <a:gd name="T11" fmla="*/ 150 h 185"/>
                <a:gd name="T12" fmla="*/ 105 w 246"/>
                <a:gd name="T13" fmla="*/ 168 h 185"/>
                <a:gd name="T14" fmla="*/ 59 w 246"/>
                <a:gd name="T15" fmla="*/ 147 h 185"/>
                <a:gd name="T16" fmla="*/ 71 w 246"/>
                <a:gd name="T17" fmla="*/ 164 h 185"/>
                <a:gd name="T18" fmla="*/ 0 w 246"/>
                <a:gd name="T19" fmla="*/ 145 h 185"/>
                <a:gd name="T20" fmla="*/ 165 w 246"/>
                <a:gd name="T21" fmla="*/ 83 h 185"/>
                <a:gd name="T22" fmla="*/ 9 w 246"/>
                <a:gd name="T23" fmla="*/ 121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6" h="185">
                  <a:moveTo>
                    <a:pt x="9" y="121"/>
                  </a:moveTo>
                  <a:cubicBezTo>
                    <a:pt x="9" y="121"/>
                    <a:pt x="14" y="59"/>
                    <a:pt x="73" y="31"/>
                  </a:cubicBezTo>
                  <a:cubicBezTo>
                    <a:pt x="69" y="42"/>
                    <a:pt x="69" y="42"/>
                    <a:pt x="69" y="42"/>
                  </a:cubicBezTo>
                  <a:cubicBezTo>
                    <a:pt x="69" y="42"/>
                    <a:pt x="124" y="0"/>
                    <a:pt x="192" y="58"/>
                  </a:cubicBezTo>
                  <a:cubicBezTo>
                    <a:pt x="241" y="99"/>
                    <a:pt x="246" y="133"/>
                    <a:pt x="246" y="133"/>
                  </a:cubicBezTo>
                  <a:cubicBezTo>
                    <a:pt x="246" y="133"/>
                    <a:pt x="230" y="116"/>
                    <a:pt x="203" y="150"/>
                  </a:cubicBezTo>
                  <a:cubicBezTo>
                    <a:pt x="187" y="169"/>
                    <a:pt x="142" y="185"/>
                    <a:pt x="105" y="168"/>
                  </a:cubicBezTo>
                  <a:cubicBezTo>
                    <a:pt x="68" y="151"/>
                    <a:pt x="59" y="147"/>
                    <a:pt x="59" y="147"/>
                  </a:cubicBezTo>
                  <a:cubicBezTo>
                    <a:pt x="71" y="164"/>
                    <a:pt x="71" y="164"/>
                    <a:pt x="71" y="164"/>
                  </a:cubicBezTo>
                  <a:cubicBezTo>
                    <a:pt x="71" y="164"/>
                    <a:pt x="17" y="124"/>
                    <a:pt x="0" y="145"/>
                  </a:cubicBezTo>
                  <a:cubicBezTo>
                    <a:pt x="0" y="145"/>
                    <a:pt x="79" y="49"/>
                    <a:pt x="165" y="83"/>
                  </a:cubicBezTo>
                  <a:cubicBezTo>
                    <a:pt x="165" y="83"/>
                    <a:pt x="91" y="41"/>
                    <a:pt x="9" y="121"/>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9" name="Freeform 36">
              <a:extLst>
                <a:ext uri="{FF2B5EF4-FFF2-40B4-BE49-F238E27FC236}">
                  <a16:creationId xmlns:a16="http://schemas.microsoft.com/office/drawing/2014/main" id="{905B78B5-D49E-4A62-A23F-B8E48B03A82C}"/>
                </a:ext>
              </a:extLst>
            </p:cNvPr>
            <p:cNvSpPr>
              <a:spLocks/>
            </p:cNvSpPr>
            <p:nvPr/>
          </p:nvSpPr>
          <p:spPr bwMode="auto">
            <a:xfrm rot="20742510">
              <a:off x="8568754" y="1376013"/>
              <a:ext cx="447640" cy="561346"/>
            </a:xfrm>
            <a:custGeom>
              <a:avLst/>
              <a:gdLst>
                <a:gd name="T0" fmla="*/ 4 w 79"/>
                <a:gd name="T1" fmla="*/ 55 h 101"/>
                <a:gd name="T2" fmla="*/ 37 w 79"/>
                <a:gd name="T3" fmla="*/ 10 h 101"/>
                <a:gd name="T4" fmla="*/ 77 w 79"/>
                <a:gd name="T5" fmla="*/ 5 h 101"/>
                <a:gd name="T6" fmla="*/ 75 w 79"/>
                <a:gd name="T7" fmla="*/ 25 h 101"/>
                <a:gd name="T8" fmla="*/ 61 w 79"/>
                <a:gd name="T9" fmla="*/ 67 h 101"/>
                <a:gd name="T10" fmla="*/ 43 w 79"/>
                <a:gd name="T11" fmla="*/ 81 h 101"/>
                <a:gd name="T12" fmla="*/ 52 w 79"/>
                <a:gd name="T13" fmla="*/ 80 h 101"/>
                <a:gd name="T14" fmla="*/ 30 w 79"/>
                <a:gd name="T15" fmla="*/ 101 h 101"/>
                <a:gd name="T16" fmla="*/ 27 w 79"/>
                <a:gd name="T17" fmla="*/ 87 h 101"/>
                <a:gd name="T18" fmla="*/ 48 w 79"/>
                <a:gd name="T19" fmla="*/ 20 h 101"/>
                <a:gd name="T20" fmla="*/ 18 w 79"/>
                <a:gd name="T21" fmla="*/ 91 h 101"/>
                <a:gd name="T22" fmla="*/ 1 w 79"/>
                <a:gd name="T23" fmla="*/ 51 h 101"/>
                <a:gd name="T24" fmla="*/ 4 w 79"/>
                <a:gd name="T25" fmla="*/ 55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9" h="101">
                  <a:moveTo>
                    <a:pt x="4" y="55"/>
                  </a:moveTo>
                  <a:cubicBezTo>
                    <a:pt x="4" y="55"/>
                    <a:pt x="0" y="25"/>
                    <a:pt x="37" y="10"/>
                  </a:cubicBezTo>
                  <a:cubicBezTo>
                    <a:pt x="63" y="0"/>
                    <a:pt x="77" y="5"/>
                    <a:pt x="77" y="5"/>
                  </a:cubicBezTo>
                  <a:cubicBezTo>
                    <a:pt x="77" y="5"/>
                    <a:pt x="67" y="7"/>
                    <a:pt x="75" y="25"/>
                  </a:cubicBezTo>
                  <a:cubicBezTo>
                    <a:pt x="79" y="35"/>
                    <a:pt x="76" y="57"/>
                    <a:pt x="61" y="67"/>
                  </a:cubicBezTo>
                  <a:cubicBezTo>
                    <a:pt x="47" y="78"/>
                    <a:pt x="43" y="81"/>
                    <a:pt x="43" y="81"/>
                  </a:cubicBezTo>
                  <a:cubicBezTo>
                    <a:pt x="52" y="80"/>
                    <a:pt x="52" y="80"/>
                    <a:pt x="52" y="80"/>
                  </a:cubicBezTo>
                  <a:cubicBezTo>
                    <a:pt x="52" y="80"/>
                    <a:pt x="29" y="91"/>
                    <a:pt x="30" y="101"/>
                  </a:cubicBezTo>
                  <a:cubicBezTo>
                    <a:pt x="28" y="97"/>
                    <a:pt x="28" y="92"/>
                    <a:pt x="27" y="87"/>
                  </a:cubicBezTo>
                  <a:cubicBezTo>
                    <a:pt x="24" y="59"/>
                    <a:pt x="33" y="34"/>
                    <a:pt x="48" y="20"/>
                  </a:cubicBezTo>
                  <a:cubicBezTo>
                    <a:pt x="30" y="31"/>
                    <a:pt x="14" y="52"/>
                    <a:pt x="18" y="91"/>
                  </a:cubicBezTo>
                  <a:cubicBezTo>
                    <a:pt x="11" y="85"/>
                    <a:pt x="0" y="71"/>
                    <a:pt x="1" y="51"/>
                  </a:cubicBezTo>
                  <a:lnTo>
                    <a:pt x="4" y="55"/>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0" name="Freeform 30">
              <a:extLst>
                <a:ext uri="{FF2B5EF4-FFF2-40B4-BE49-F238E27FC236}">
                  <a16:creationId xmlns:a16="http://schemas.microsoft.com/office/drawing/2014/main" id="{9CC4AB19-6906-49E0-99E1-D6127894B762}"/>
                </a:ext>
              </a:extLst>
            </p:cNvPr>
            <p:cNvSpPr>
              <a:spLocks/>
            </p:cNvSpPr>
            <p:nvPr/>
          </p:nvSpPr>
          <p:spPr bwMode="auto">
            <a:xfrm rot="1666479" flipH="1">
              <a:off x="6728639" y="191183"/>
              <a:ext cx="1480827" cy="1087644"/>
            </a:xfrm>
            <a:custGeom>
              <a:avLst/>
              <a:gdLst>
                <a:gd name="T0" fmla="*/ 9 w 246"/>
                <a:gd name="T1" fmla="*/ 121 h 185"/>
                <a:gd name="T2" fmla="*/ 73 w 246"/>
                <a:gd name="T3" fmla="*/ 31 h 185"/>
                <a:gd name="T4" fmla="*/ 69 w 246"/>
                <a:gd name="T5" fmla="*/ 42 h 185"/>
                <a:gd name="T6" fmla="*/ 192 w 246"/>
                <a:gd name="T7" fmla="*/ 58 h 185"/>
                <a:gd name="T8" fmla="*/ 246 w 246"/>
                <a:gd name="T9" fmla="*/ 133 h 185"/>
                <a:gd name="T10" fmla="*/ 203 w 246"/>
                <a:gd name="T11" fmla="*/ 150 h 185"/>
                <a:gd name="T12" fmla="*/ 105 w 246"/>
                <a:gd name="T13" fmla="*/ 168 h 185"/>
                <a:gd name="T14" fmla="*/ 59 w 246"/>
                <a:gd name="T15" fmla="*/ 147 h 185"/>
                <a:gd name="T16" fmla="*/ 71 w 246"/>
                <a:gd name="T17" fmla="*/ 164 h 185"/>
                <a:gd name="T18" fmla="*/ 0 w 246"/>
                <a:gd name="T19" fmla="*/ 145 h 185"/>
                <a:gd name="T20" fmla="*/ 165 w 246"/>
                <a:gd name="T21" fmla="*/ 83 h 185"/>
                <a:gd name="T22" fmla="*/ 9 w 246"/>
                <a:gd name="T23" fmla="*/ 121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6" h="185">
                  <a:moveTo>
                    <a:pt x="9" y="121"/>
                  </a:moveTo>
                  <a:cubicBezTo>
                    <a:pt x="9" y="121"/>
                    <a:pt x="14" y="59"/>
                    <a:pt x="73" y="31"/>
                  </a:cubicBezTo>
                  <a:cubicBezTo>
                    <a:pt x="69" y="42"/>
                    <a:pt x="69" y="42"/>
                    <a:pt x="69" y="42"/>
                  </a:cubicBezTo>
                  <a:cubicBezTo>
                    <a:pt x="69" y="42"/>
                    <a:pt x="124" y="0"/>
                    <a:pt x="192" y="58"/>
                  </a:cubicBezTo>
                  <a:cubicBezTo>
                    <a:pt x="241" y="99"/>
                    <a:pt x="246" y="133"/>
                    <a:pt x="246" y="133"/>
                  </a:cubicBezTo>
                  <a:cubicBezTo>
                    <a:pt x="246" y="133"/>
                    <a:pt x="230" y="116"/>
                    <a:pt x="203" y="150"/>
                  </a:cubicBezTo>
                  <a:cubicBezTo>
                    <a:pt x="187" y="169"/>
                    <a:pt x="142" y="185"/>
                    <a:pt x="105" y="168"/>
                  </a:cubicBezTo>
                  <a:cubicBezTo>
                    <a:pt x="68" y="151"/>
                    <a:pt x="59" y="147"/>
                    <a:pt x="59" y="147"/>
                  </a:cubicBezTo>
                  <a:cubicBezTo>
                    <a:pt x="71" y="164"/>
                    <a:pt x="71" y="164"/>
                    <a:pt x="71" y="164"/>
                  </a:cubicBezTo>
                  <a:cubicBezTo>
                    <a:pt x="71" y="164"/>
                    <a:pt x="17" y="124"/>
                    <a:pt x="0" y="145"/>
                  </a:cubicBezTo>
                  <a:cubicBezTo>
                    <a:pt x="0" y="145"/>
                    <a:pt x="79" y="49"/>
                    <a:pt x="165" y="83"/>
                  </a:cubicBezTo>
                  <a:cubicBezTo>
                    <a:pt x="165" y="83"/>
                    <a:pt x="91" y="41"/>
                    <a:pt x="9" y="121"/>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1" name="Freeform 28">
              <a:extLst>
                <a:ext uri="{FF2B5EF4-FFF2-40B4-BE49-F238E27FC236}">
                  <a16:creationId xmlns:a16="http://schemas.microsoft.com/office/drawing/2014/main" id="{2E0E0A68-0896-4ADA-984D-622258044271}"/>
                </a:ext>
              </a:extLst>
            </p:cNvPr>
            <p:cNvSpPr>
              <a:spLocks/>
            </p:cNvSpPr>
            <p:nvPr/>
          </p:nvSpPr>
          <p:spPr bwMode="auto">
            <a:xfrm>
              <a:off x="6212494" y="1659010"/>
              <a:ext cx="1871853" cy="1683201"/>
            </a:xfrm>
            <a:custGeom>
              <a:avLst/>
              <a:gdLst>
                <a:gd name="T0" fmla="*/ 105 w 164"/>
                <a:gd name="T1" fmla="*/ 85 h 151"/>
                <a:gd name="T2" fmla="*/ 149 w 164"/>
                <a:gd name="T3" fmla="*/ 140 h 151"/>
                <a:gd name="T4" fmla="*/ 60 w 164"/>
                <a:gd name="T5" fmla="*/ 126 h 151"/>
                <a:gd name="T6" fmla="*/ 33 w 164"/>
                <a:gd name="T7" fmla="*/ 0 h 151"/>
                <a:gd name="T8" fmla="*/ 126 w 164"/>
                <a:gd name="T9" fmla="*/ 54 h 151"/>
                <a:gd name="T10" fmla="*/ 164 w 164"/>
                <a:gd name="T11" fmla="*/ 127 h 151"/>
                <a:gd name="T12" fmla="*/ 105 w 164"/>
                <a:gd name="T13" fmla="*/ 85 h 151"/>
              </a:gdLst>
              <a:ahLst/>
              <a:cxnLst>
                <a:cxn ang="0">
                  <a:pos x="T0" y="T1"/>
                </a:cxn>
                <a:cxn ang="0">
                  <a:pos x="T2" y="T3"/>
                </a:cxn>
                <a:cxn ang="0">
                  <a:pos x="T4" y="T5"/>
                </a:cxn>
                <a:cxn ang="0">
                  <a:pos x="T6" y="T7"/>
                </a:cxn>
                <a:cxn ang="0">
                  <a:pos x="T8" y="T9"/>
                </a:cxn>
                <a:cxn ang="0">
                  <a:pos x="T10" y="T11"/>
                </a:cxn>
                <a:cxn ang="0">
                  <a:pos x="T12" y="T13"/>
                </a:cxn>
              </a:cxnLst>
              <a:rect l="0" t="0" r="r" b="b"/>
              <a:pathLst>
                <a:path w="164" h="151">
                  <a:moveTo>
                    <a:pt x="105" y="85"/>
                  </a:moveTo>
                  <a:cubicBezTo>
                    <a:pt x="105" y="85"/>
                    <a:pt x="156" y="110"/>
                    <a:pt x="149" y="140"/>
                  </a:cubicBezTo>
                  <a:cubicBezTo>
                    <a:pt x="134" y="131"/>
                    <a:pt x="88" y="151"/>
                    <a:pt x="60" y="126"/>
                  </a:cubicBezTo>
                  <a:cubicBezTo>
                    <a:pt x="0" y="69"/>
                    <a:pt x="33" y="0"/>
                    <a:pt x="33" y="0"/>
                  </a:cubicBezTo>
                  <a:cubicBezTo>
                    <a:pt x="39" y="49"/>
                    <a:pt x="90" y="22"/>
                    <a:pt x="126" y="54"/>
                  </a:cubicBezTo>
                  <a:cubicBezTo>
                    <a:pt x="159" y="83"/>
                    <a:pt x="162" y="111"/>
                    <a:pt x="164" y="127"/>
                  </a:cubicBezTo>
                  <a:cubicBezTo>
                    <a:pt x="162" y="121"/>
                    <a:pt x="142" y="91"/>
                    <a:pt x="105" y="85"/>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2" name="Freeform 30">
              <a:extLst>
                <a:ext uri="{FF2B5EF4-FFF2-40B4-BE49-F238E27FC236}">
                  <a16:creationId xmlns:a16="http://schemas.microsoft.com/office/drawing/2014/main" id="{6C5FE96A-ABEE-46E5-AD2D-2B5ABB628C3C}"/>
                </a:ext>
              </a:extLst>
            </p:cNvPr>
            <p:cNvSpPr>
              <a:spLocks/>
            </p:cNvSpPr>
            <p:nvPr/>
          </p:nvSpPr>
          <p:spPr bwMode="auto">
            <a:xfrm>
              <a:off x="9333358" y="1702793"/>
              <a:ext cx="1828128" cy="1342731"/>
            </a:xfrm>
            <a:custGeom>
              <a:avLst/>
              <a:gdLst>
                <a:gd name="T0" fmla="*/ 9 w 246"/>
                <a:gd name="T1" fmla="*/ 121 h 185"/>
                <a:gd name="T2" fmla="*/ 73 w 246"/>
                <a:gd name="T3" fmla="*/ 31 h 185"/>
                <a:gd name="T4" fmla="*/ 69 w 246"/>
                <a:gd name="T5" fmla="*/ 42 h 185"/>
                <a:gd name="T6" fmla="*/ 192 w 246"/>
                <a:gd name="T7" fmla="*/ 58 h 185"/>
                <a:gd name="T8" fmla="*/ 246 w 246"/>
                <a:gd name="T9" fmla="*/ 133 h 185"/>
                <a:gd name="T10" fmla="*/ 203 w 246"/>
                <a:gd name="T11" fmla="*/ 150 h 185"/>
                <a:gd name="T12" fmla="*/ 105 w 246"/>
                <a:gd name="T13" fmla="*/ 168 h 185"/>
                <a:gd name="T14" fmla="*/ 59 w 246"/>
                <a:gd name="T15" fmla="*/ 147 h 185"/>
                <a:gd name="T16" fmla="*/ 71 w 246"/>
                <a:gd name="T17" fmla="*/ 164 h 185"/>
                <a:gd name="T18" fmla="*/ 0 w 246"/>
                <a:gd name="T19" fmla="*/ 145 h 185"/>
                <a:gd name="T20" fmla="*/ 165 w 246"/>
                <a:gd name="T21" fmla="*/ 83 h 185"/>
                <a:gd name="T22" fmla="*/ 9 w 246"/>
                <a:gd name="T23" fmla="*/ 121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6" h="185">
                  <a:moveTo>
                    <a:pt x="9" y="121"/>
                  </a:moveTo>
                  <a:cubicBezTo>
                    <a:pt x="9" y="121"/>
                    <a:pt x="14" y="59"/>
                    <a:pt x="73" y="31"/>
                  </a:cubicBezTo>
                  <a:cubicBezTo>
                    <a:pt x="69" y="42"/>
                    <a:pt x="69" y="42"/>
                    <a:pt x="69" y="42"/>
                  </a:cubicBezTo>
                  <a:cubicBezTo>
                    <a:pt x="69" y="42"/>
                    <a:pt x="124" y="0"/>
                    <a:pt x="192" y="58"/>
                  </a:cubicBezTo>
                  <a:cubicBezTo>
                    <a:pt x="241" y="99"/>
                    <a:pt x="246" y="133"/>
                    <a:pt x="246" y="133"/>
                  </a:cubicBezTo>
                  <a:cubicBezTo>
                    <a:pt x="246" y="133"/>
                    <a:pt x="230" y="116"/>
                    <a:pt x="203" y="150"/>
                  </a:cubicBezTo>
                  <a:cubicBezTo>
                    <a:pt x="187" y="169"/>
                    <a:pt x="142" y="185"/>
                    <a:pt x="105" y="168"/>
                  </a:cubicBezTo>
                  <a:cubicBezTo>
                    <a:pt x="68" y="151"/>
                    <a:pt x="59" y="147"/>
                    <a:pt x="59" y="147"/>
                  </a:cubicBezTo>
                  <a:cubicBezTo>
                    <a:pt x="71" y="164"/>
                    <a:pt x="71" y="164"/>
                    <a:pt x="71" y="164"/>
                  </a:cubicBezTo>
                  <a:cubicBezTo>
                    <a:pt x="71" y="164"/>
                    <a:pt x="17" y="124"/>
                    <a:pt x="0" y="145"/>
                  </a:cubicBezTo>
                  <a:cubicBezTo>
                    <a:pt x="0" y="145"/>
                    <a:pt x="79" y="49"/>
                    <a:pt x="165" y="83"/>
                  </a:cubicBezTo>
                  <a:cubicBezTo>
                    <a:pt x="165" y="83"/>
                    <a:pt x="91" y="41"/>
                    <a:pt x="9" y="121"/>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3" name="Freeform 33">
              <a:extLst>
                <a:ext uri="{FF2B5EF4-FFF2-40B4-BE49-F238E27FC236}">
                  <a16:creationId xmlns:a16="http://schemas.microsoft.com/office/drawing/2014/main" id="{11F62889-AD4F-489C-8FC0-7B6BD6AE2D4B}"/>
                </a:ext>
              </a:extLst>
            </p:cNvPr>
            <p:cNvSpPr>
              <a:spLocks/>
            </p:cNvSpPr>
            <p:nvPr/>
          </p:nvSpPr>
          <p:spPr bwMode="auto">
            <a:xfrm>
              <a:off x="8187100" y="2161116"/>
              <a:ext cx="1124344" cy="911936"/>
            </a:xfrm>
            <a:custGeom>
              <a:avLst/>
              <a:gdLst>
                <a:gd name="T0" fmla="*/ 167 w 196"/>
                <a:gd name="T1" fmla="*/ 142 h 163"/>
                <a:gd name="T2" fmla="*/ 170 w 196"/>
                <a:gd name="T3" fmla="*/ 48 h 163"/>
                <a:gd name="T4" fmla="*/ 167 w 196"/>
                <a:gd name="T5" fmla="*/ 57 h 163"/>
                <a:gd name="T6" fmla="*/ 75 w 196"/>
                <a:gd name="T7" fmla="*/ 3 h 163"/>
                <a:gd name="T8" fmla="*/ 0 w 196"/>
                <a:gd name="T9" fmla="*/ 26 h 163"/>
                <a:gd name="T10" fmla="*/ 20 w 196"/>
                <a:gd name="T11" fmla="*/ 60 h 163"/>
                <a:gd name="T12" fmla="*/ 77 w 196"/>
                <a:gd name="T13" fmla="*/ 124 h 163"/>
                <a:gd name="T14" fmla="*/ 119 w 196"/>
                <a:gd name="T15" fmla="*/ 134 h 163"/>
                <a:gd name="T16" fmla="*/ 102 w 196"/>
                <a:gd name="T17" fmla="*/ 139 h 163"/>
                <a:gd name="T18" fmla="*/ 161 w 196"/>
                <a:gd name="T19" fmla="*/ 163 h 163"/>
                <a:gd name="T20" fmla="*/ 81 w 196"/>
                <a:gd name="T21" fmla="*/ 35 h 163"/>
                <a:gd name="T22" fmla="*/ 167 w 196"/>
                <a:gd name="T23" fmla="*/ 14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6" h="163">
                  <a:moveTo>
                    <a:pt x="167" y="142"/>
                  </a:moveTo>
                  <a:cubicBezTo>
                    <a:pt x="167" y="142"/>
                    <a:pt x="196" y="98"/>
                    <a:pt x="170" y="48"/>
                  </a:cubicBezTo>
                  <a:cubicBezTo>
                    <a:pt x="167" y="57"/>
                    <a:pt x="167" y="57"/>
                    <a:pt x="167" y="57"/>
                  </a:cubicBezTo>
                  <a:cubicBezTo>
                    <a:pt x="167" y="57"/>
                    <a:pt x="152" y="0"/>
                    <a:pt x="75" y="3"/>
                  </a:cubicBezTo>
                  <a:cubicBezTo>
                    <a:pt x="21" y="6"/>
                    <a:pt x="0" y="26"/>
                    <a:pt x="0" y="26"/>
                  </a:cubicBezTo>
                  <a:cubicBezTo>
                    <a:pt x="0" y="26"/>
                    <a:pt x="19" y="23"/>
                    <a:pt x="20" y="60"/>
                  </a:cubicBezTo>
                  <a:cubicBezTo>
                    <a:pt x="21" y="81"/>
                    <a:pt x="43" y="116"/>
                    <a:pt x="77" y="124"/>
                  </a:cubicBezTo>
                  <a:cubicBezTo>
                    <a:pt x="111" y="131"/>
                    <a:pt x="119" y="134"/>
                    <a:pt x="119" y="134"/>
                  </a:cubicBezTo>
                  <a:cubicBezTo>
                    <a:pt x="102" y="139"/>
                    <a:pt x="102" y="139"/>
                    <a:pt x="102" y="139"/>
                  </a:cubicBezTo>
                  <a:cubicBezTo>
                    <a:pt x="102" y="139"/>
                    <a:pt x="159" y="140"/>
                    <a:pt x="161" y="163"/>
                  </a:cubicBezTo>
                  <a:cubicBezTo>
                    <a:pt x="161" y="163"/>
                    <a:pt x="157" y="56"/>
                    <a:pt x="81" y="35"/>
                  </a:cubicBezTo>
                  <a:cubicBezTo>
                    <a:pt x="81" y="35"/>
                    <a:pt x="153" y="45"/>
                    <a:pt x="167" y="142"/>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4" name="Freeform 34">
              <a:extLst>
                <a:ext uri="{FF2B5EF4-FFF2-40B4-BE49-F238E27FC236}">
                  <a16:creationId xmlns:a16="http://schemas.microsoft.com/office/drawing/2014/main" id="{0CC382A0-E2F3-4A6F-959C-A5F5938FE15E}"/>
                </a:ext>
              </a:extLst>
            </p:cNvPr>
            <p:cNvSpPr>
              <a:spLocks/>
            </p:cNvSpPr>
            <p:nvPr/>
          </p:nvSpPr>
          <p:spPr bwMode="auto">
            <a:xfrm>
              <a:off x="7356909" y="1357768"/>
              <a:ext cx="579115" cy="755478"/>
            </a:xfrm>
            <a:custGeom>
              <a:avLst/>
              <a:gdLst>
                <a:gd name="T0" fmla="*/ 23 w 78"/>
                <a:gd name="T1" fmla="*/ 85 h 104"/>
                <a:gd name="T2" fmla="*/ 18 w 78"/>
                <a:gd name="T3" fmla="*/ 31 h 104"/>
                <a:gd name="T4" fmla="*/ 45 w 78"/>
                <a:gd name="T5" fmla="*/ 0 h 104"/>
                <a:gd name="T6" fmla="*/ 57 w 78"/>
                <a:gd name="T7" fmla="*/ 17 h 104"/>
                <a:gd name="T8" fmla="*/ 75 w 78"/>
                <a:gd name="T9" fmla="*/ 57 h 104"/>
                <a:gd name="T10" fmla="*/ 70 w 78"/>
                <a:gd name="T11" fmla="*/ 79 h 104"/>
                <a:gd name="T12" fmla="*/ 76 w 78"/>
                <a:gd name="T13" fmla="*/ 72 h 104"/>
                <a:gd name="T14" fmla="*/ 73 w 78"/>
                <a:gd name="T15" fmla="*/ 104 h 104"/>
                <a:gd name="T16" fmla="*/ 62 w 78"/>
                <a:gd name="T17" fmla="*/ 95 h 104"/>
                <a:gd name="T18" fmla="*/ 33 w 78"/>
                <a:gd name="T19" fmla="*/ 30 h 104"/>
                <a:gd name="T20" fmla="*/ 57 w 78"/>
                <a:gd name="T21" fmla="*/ 104 h 104"/>
                <a:gd name="T22" fmla="*/ 19 w 78"/>
                <a:gd name="T23" fmla="*/ 85 h 104"/>
                <a:gd name="T24" fmla="*/ 23 w 78"/>
                <a:gd name="T25" fmla="*/ 85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104">
                  <a:moveTo>
                    <a:pt x="23" y="85"/>
                  </a:moveTo>
                  <a:cubicBezTo>
                    <a:pt x="23" y="85"/>
                    <a:pt x="0" y="66"/>
                    <a:pt x="18" y="31"/>
                  </a:cubicBezTo>
                  <a:cubicBezTo>
                    <a:pt x="31" y="5"/>
                    <a:pt x="45" y="0"/>
                    <a:pt x="45" y="0"/>
                  </a:cubicBezTo>
                  <a:cubicBezTo>
                    <a:pt x="45" y="0"/>
                    <a:pt x="40" y="8"/>
                    <a:pt x="57" y="17"/>
                  </a:cubicBezTo>
                  <a:cubicBezTo>
                    <a:pt x="67" y="22"/>
                    <a:pt x="78" y="40"/>
                    <a:pt x="75" y="57"/>
                  </a:cubicBezTo>
                  <a:cubicBezTo>
                    <a:pt x="71" y="75"/>
                    <a:pt x="70" y="79"/>
                    <a:pt x="70" y="79"/>
                  </a:cubicBezTo>
                  <a:cubicBezTo>
                    <a:pt x="76" y="72"/>
                    <a:pt x="76" y="72"/>
                    <a:pt x="76" y="72"/>
                  </a:cubicBezTo>
                  <a:cubicBezTo>
                    <a:pt x="76" y="72"/>
                    <a:pt x="66" y="96"/>
                    <a:pt x="73" y="104"/>
                  </a:cubicBezTo>
                  <a:cubicBezTo>
                    <a:pt x="69" y="101"/>
                    <a:pt x="66" y="98"/>
                    <a:pt x="62" y="95"/>
                  </a:cubicBezTo>
                  <a:cubicBezTo>
                    <a:pt x="41" y="76"/>
                    <a:pt x="31" y="51"/>
                    <a:pt x="33" y="30"/>
                  </a:cubicBezTo>
                  <a:cubicBezTo>
                    <a:pt x="27" y="50"/>
                    <a:pt x="29" y="77"/>
                    <a:pt x="57" y="104"/>
                  </a:cubicBezTo>
                  <a:cubicBezTo>
                    <a:pt x="48" y="104"/>
                    <a:pt x="31" y="101"/>
                    <a:pt x="19" y="85"/>
                  </a:cubicBezTo>
                  <a:lnTo>
                    <a:pt x="23" y="85"/>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5" name="Freeform 35">
              <a:extLst>
                <a:ext uri="{FF2B5EF4-FFF2-40B4-BE49-F238E27FC236}">
                  <a16:creationId xmlns:a16="http://schemas.microsoft.com/office/drawing/2014/main" id="{9183E323-B230-46ED-978C-1E90AE721BB0}"/>
                </a:ext>
              </a:extLst>
            </p:cNvPr>
            <p:cNvSpPr>
              <a:spLocks/>
            </p:cNvSpPr>
            <p:nvPr/>
          </p:nvSpPr>
          <p:spPr bwMode="auto">
            <a:xfrm>
              <a:off x="9446051" y="3320797"/>
              <a:ext cx="691808" cy="645367"/>
            </a:xfrm>
            <a:custGeom>
              <a:avLst/>
              <a:gdLst>
                <a:gd name="T0" fmla="*/ 9 w 93"/>
                <a:gd name="T1" fmla="*/ 37 h 89"/>
                <a:gd name="T2" fmla="*/ 52 w 93"/>
                <a:gd name="T3" fmla="*/ 3 h 89"/>
                <a:gd name="T4" fmla="*/ 93 w 93"/>
                <a:gd name="T5" fmla="*/ 9 h 89"/>
                <a:gd name="T6" fmla="*/ 85 w 93"/>
                <a:gd name="T7" fmla="*/ 28 h 89"/>
                <a:gd name="T8" fmla="*/ 60 w 93"/>
                <a:gd name="T9" fmla="*/ 65 h 89"/>
                <a:gd name="T10" fmla="*/ 40 w 93"/>
                <a:gd name="T11" fmla="*/ 73 h 89"/>
                <a:gd name="T12" fmla="*/ 49 w 93"/>
                <a:gd name="T13" fmla="*/ 74 h 89"/>
                <a:gd name="T14" fmla="*/ 21 w 93"/>
                <a:gd name="T15" fmla="*/ 89 h 89"/>
                <a:gd name="T16" fmla="*/ 22 w 93"/>
                <a:gd name="T17" fmla="*/ 74 h 89"/>
                <a:gd name="T18" fmla="*/ 60 w 93"/>
                <a:gd name="T19" fmla="*/ 15 h 89"/>
                <a:gd name="T20" fmla="*/ 12 w 93"/>
                <a:gd name="T21" fmla="*/ 76 h 89"/>
                <a:gd name="T22" fmla="*/ 7 w 93"/>
                <a:gd name="T23" fmla="*/ 33 h 89"/>
                <a:gd name="T24" fmla="*/ 9 w 93"/>
                <a:gd name="T25" fmla="*/ 37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3" h="89">
                  <a:moveTo>
                    <a:pt x="9" y="37"/>
                  </a:moveTo>
                  <a:cubicBezTo>
                    <a:pt x="9" y="37"/>
                    <a:pt x="13" y="7"/>
                    <a:pt x="52" y="3"/>
                  </a:cubicBezTo>
                  <a:cubicBezTo>
                    <a:pt x="80" y="0"/>
                    <a:pt x="93" y="9"/>
                    <a:pt x="93" y="9"/>
                  </a:cubicBezTo>
                  <a:cubicBezTo>
                    <a:pt x="93" y="9"/>
                    <a:pt x="83" y="9"/>
                    <a:pt x="85" y="28"/>
                  </a:cubicBezTo>
                  <a:cubicBezTo>
                    <a:pt x="86" y="39"/>
                    <a:pt x="77" y="58"/>
                    <a:pt x="60" y="65"/>
                  </a:cubicBezTo>
                  <a:cubicBezTo>
                    <a:pt x="44" y="71"/>
                    <a:pt x="40" y="73"/>
                    <a:pt x="40" y="73"/>
                  </a:cubicBezTo>
                  <a:cubicBezTo>
                    <a:pt x="49" y="74"/>
                    <a:pt x="49" y="74"/>
                    <a:pt x="49" y="74"/>
                  </a:cubicBezTo>
                  <a:cubicBezTo>
                    <a:pt x="49" y="74"/>
                    <a:pt x="23" y="78"/>
                    <a:pt x="21" y="89"/>
                  </a:cubicBezTo>
                  <a:cubicBezTo>
                    <a:pt x="21" y="84"/>
                    <a:pt x="21" y="79"/>
                    <a:pt x="22" y="74"/>
                  </a:cubicBezTo>
                  <a:cubicBezTo>
                    <a:pt x="27" y="47"/>
                    <a:pt x="42" y="25"/>
                    <a:pt x="60" y="15"/>
                  </a:cubicBezTo>
                  <a:cubicBezTo>
                    <a:pt x="41" y="21"/>
                    <a:pt x="19" y="37"/>
                    <a:pt x="12" y="76"/>
                  </a:cubicBezTo>
                  <a:cubicBezTo>
                    <a:pt x="7" y="68"/>
                    <a:pt x="0" y="52"/>
                    <a:pt x="7" y="33"/>
                  </a:cubicBezTo>
                  <a:lnTo>
                    <a:pt x="9" y="37"/>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6" name="Freeform 36">
              <a:extLst>
                <a:ext uri="{FF2B5EF4-FFF2-40B4-BE49-F238E27FC236}">
                  <a16:creationId xmlns:a16="http://schemas.microsoft.com/office/drawing/2014/main" id="{3227038E-4078-4052-BC91-B022327D83D3}"/>
                </a:ext>
              </a:extLst>
            </p:cNvPr>
            <p:cNvSpPr>
              <a:spLocks/>
            </p:cNvSpPr>
            <p:nvPr/>
          </p:nvSpPr>
          <p:spPr bwMode="auto">
            <a:xfrm>
              <a:off x="9067280" y="1427518"/>
              <a:ext cx="585376" cy="734067"/>
            </a:xfrm>
            <a:custGeom>
              <a:avLst/>
              <a:gdLst>
                <a:gd name="T0" fmla="*/ 4 w 79"/>
                <a:gd name="T1" fmla="*/ 55 h 101"/>
                <a:gd name="T2" fmla="*/ 37 w 79"/>
                <a:gd name="T3" fmla="*/ 10 h 101"/>
                <a:gd name="T4" fmla="*/ 77 w 79"/>
                <a:gd name="T5" fmla="*/ 5 h 101"/>
                <a:gd name="T6" fmla="*/ 75 w 79"/>
                <a:gd name="T7" fmla="*/ 25 h 101"/>
                <a:gd name="T8" fmla="*/ 61 w 79"/>
                <a:gd name="T9" fmla="*/ 67 h 101"/>
                <a:gd name="T10" fmla="*/ 43 w 79"/>
                <a:gd name="T11" fmla="*/ 81 h 101"/>
                <a:gd name="T12" fmla="*/ 52 w 79"/>
                <a:gd name="T13" fmla="*/ 80 h 101"/>
                <a:gd name="T14" fmla="*/ 30 w 79"/>
                <a:gd name="T15" fmla="*/ 101 h 101"/>
                <a:gd name="T16" fmla="*/ 27 w 79"/>
                <a:gd name="T17" fmla="*/ 87 h 101"/>
                <a:gd name="T18" fmla="*/ 48 w 79"/>
                <a:gd name="T19" fmla="*/ 20 h 101"/>
                <a:gd name="T20" fmla="*/ 18 w 79"/>
                <a:gd name="T21" fmla="*/ 91 h 101"/>
                <a:gd name="T22" fmla="*/ 1 w 79"/>
                <a:gd name="T23" fmla="*/ 51 h 101"/>
                <a:gd name="T24" fmla="*/ 4 w 79"/>
                <a:gd name="T25" fmla="*/ 55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9" h="101">
                  <a:moveTo>
                    <a:pt x="4" y="55"/>
                  </a:moveTo>
                  <a:cubicBezTo>
                    <a:pt x="4" y="55"/>
                    <a:pt x="0" y="25"/>
                    <a:pt x="37" y="10"/>
                  </a:cubicBezTo>
                  <a:cubicBezTo>
                    <a:pt x="63" y="0"/>
                    <a:pt x="77" y="5"/>
                    <a:pt x="77" y="5"/>
                  </a:cubicBezTo>
                  <a:cubicBezTo>
                    <a:pt x="77" y="5"/>
                    <a:pt x="67" y="7"/>
                    <a:pt x="75" y="25"/>
                  </a:cubicBezTo>
                  <a:cubicBezTo>
                    <a:pt x="79" y="35"/>
                    <a:pt x="76" y="57"/>
                    <a:pt x="61" y="67"/>
                  </a:cubicBezTo>
                  <a:cubicBezTo>
                    <a:pt x="47" y="78"/>
                    <a:pt x="43" y="81"/>
                    <a:pt x="43" y="81"/>
                  </a:cubicBezTo>
                  <a:cubicBezTo>
                    <a:pt x="52" y="80"/>
                    <a:pt x="52" y="80"/>
                    <a:pt x="52" y="80"/>
                  </a:cubicBezTo>
                  <a:cubicBezTo>
                    <a:pt x="52" y="80"/>
                    <a:pt x="29" y="91"/>
                    <a:pt x="30" y="101"/>
                  </a:cubicBezTo>
                  <a:cubicBezTo>
                    <a:pt x="28" y="97"/>
                    <a:pt x="28" y="92"/>
                    <a:pt x="27" y="87"/>
                  </a:cubicBezTo>
                  <a:cubicBezTo>
                    <a:pt x="24" y="59"/>
                    <a:pt x="33" y="34"/>
                    <a:pt x="48" y="20"/>
                  </a:cubicBezTo>
                  <a:cubicBezTo>
                    <a:pt x="30" y="31"/>
                    <a:pt x="14" y="52"/>
                    <a:pt x="18" y="91"/>
                  </a:cubicBezTo>
                  <a:cubicBezTo>
                    <a:pt x="11" y="85"/>
                    <a:pt x="0" y="71"/>
                    <a:pt x="1" y="51"/>
                  </a:cubicBezTo>
                  <a:lnTo>
                    <a:pt x="4" y="55"/>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7" name="Freeform 37">
              <a:extLst>
                <a:ext uri="{FF2B5EF4-FFF2-40B4-BE49-F238E27FC236}">
                  <a16:creationId xmlns:a16="http://schemas.microsoft.com/office/drawing/2014/main" id="{0EEF1FED-B99C-4D03-AE05-066563BC0657}"/>
                </a:ext>
              </a:extLst>
            </p:cNvPr>
            <p:cNvSpPr>
              <a:spLocks/>
            </p:cNvSpPr>
            <p:nvPr/>
          </p:nvSpPr>
          <p:spPr bwMode="auto">
            <a:xfrm>
              <a:off x="7877743" y="607811"/>
              <a:ext cx="823282" cy="1052162"/>
            </a:xfrm>
            <a:custGeom>
              <a:avLst/>
              <a:gdLst>
                <a:gd name="T0" fmla="*/ 15 w 111"/>
                <a:gd name="T1" fmla="*/ 90 h 145"/>
                <a:gd name="T2" fmla="*/ 45 w 111"/>
                <a:gd name="T3" fmla="*/ 21 h 145"/>
                <a:gd name="T4" fmla="*/ 98 w 111"/>
                <a:gd name="T5" fmla="*/ 2 h 145"/>
                <a:gd name="T6" fmla="*/ 101 w 111"/>
                <a:gd name="T7" fmla="*/ 31 h 145"/>
                <a:gd name="T8" fmla="*/ 94 w 111"/>
                <a:gd name="T9" fmla="*/ 91 h 145"/>
                <a:gd name="T10" fmla="*/ 74 w 111"/>
                <a:gd name="T11" fmla="*/ 114 h 145"/>
                <a:gd name="T12" fmla="*/ 86 w 111"/>
                <a:gd name="T13" fmla="*/ 110 h 145"/>
                <a:gd name="T14" fmla="*/ 61 w 111"/>
                <a:gd name="T15" fmla="*/ 145 h 145"/>
                <a:gd name="T16" fmla="*/ 54 w 111"/>
                <a:gd name="T17" fmla="*/ 126 h 145"/>
                <a:gd name="T18" fmla="*/ 63 w 111"/>
                <a:gd name="T19" fmla="*/ 30 h 145"/>
                <a:gd name="T20" fmla="*/ 42 w 111"/>
                <a:gd name="T21" fmla="*/ 134 h 145"/>
                <a:gd name="T22" fmla="*/ 9 w 111"/>
                <a:gd name="T23" fmla="*/ 86 h 145"/>
                <a:gd name="T24" fmla="*/ 15 w 111"/>
                <a:gd name="T25" fmla="*/ 90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1" h="145">
                  <a:moveTo>
                    <a:pt x="15" y="90"/>
                  </a:moveTo>
                  <a:cubicBezTo>
                    <a:pt x="15" y="90"/>
                    <a:pt x="0" y="50"/>
                    <a:pt x="45" y="21"/>
                  </a:cubicBezTo>
                  <a:cubicBezTo>
                    <a:pt x="78" y="0"/>
                    <a:pt x="98" y="2"/>
                    <a:pt x="98" y="2"/>
                  </a:cubicBezTo>
                  <a:cubicBezTo>
                    <a:pt x="98" y="2"/>
                    <a:pt x="86" y="9"/>
                    <a:pt x="101" y="31"/>
                  </a:cubicBezTo>
                  <a:cubicBezTo>
                    <a:pt x="109" y="43"/>
                    <a:pt x="111" y="72"/>
                    <a:pt x="94" y="91"/>
                  </a:cubicBezTo>
                  <a:cubicBezTo>
                    <a:pt x="78" y="109"/>
                    <a:pt x="74" y="114"/>
                    <a:pt x="74" y="114"/>
                  </a:cubicBezTo>
                  <a:cubicBezTo>
                    <a:pt x="86" y="110"/>
                    <a:pt x="86" y="110"/>
                    <a:pt x="86" y="110"/>
                  </a:cubicBezTo>
                  <a:cubicBezTo>
                    <a:pt x="86" y="110"/>
                    <a:pt x="58" y="131"/>
                    <a:pt x="61" y="145"/>
                  </a:cubicBezTo>
                  <a:cubicBezTo>
                    <a:pt x="59" y="139"/>
                    <a:pt x="56" y="133"/>
                    <a:pt x="54" y="126"/>
                  </a:cubicBezTo>
                  <a:cubicBezTo>
                    <a:pt x="42" y="90"/>
                    <a:pt x="47" y="53"/>
                    <a:pt x="63" y="30"/>
                  </a:cubicBezTo>
                  <a:cubicBezTo>
                    <a:pt x="43" y="50"/>
                    <a:pt x="27" y="84"/>
                    <a:pt x="42" y="134"/>
                  </a:cubicBezTo>
                  <a:cubicBezTo>
                    <a:pt x="32" y="128"/>
                    <a:pt x="14" y="113"/>
                    <a:pt x="9" y="86"/>
                  </a:cubicBezTo>
                  <a:lnTo>
                    <a:pt x="15" y="9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8" name="Freeform 33">
              <a:extLst>
                <a:ext uri="{FF2B5EF4-FFF2-40B4-BE49-F238E27FC236}">
                  <a16:creationId xmlns:a16="http://schemas.microsoft.com/office/drawing/2014/main" id="{A7ACB117-C968-4E03-B894-60BD5DEB7780}"/>
                </a:ext>
              </a:extLst>
            </p:cNvPr>
            <p:cNvSpPr>
              <a:spLocks/>
            </p:cNvSpPr>
            <p:nvPr/>
          </p:nvSpPr>
          <p:spPr bwMode="auto">
            <a:xfrm>
              <a:off x="6479907" y="1207669"/>
              <a:ext cx="828709" cy="672152"/>
            </a:xfrm>
            <a:custGeom>
              <a:avLst/>
              <a:gdLst>
                <a:gd name="T0" fmla="*/ 167 w 196"/>
                <a:gd name="T1" fmla="*/ 142 h 163"/>
                <a:gd name="T2" fmla="*/ 170 w 196"/>
                <a:gd name="T3" fmla="*/ 48 h 163"/>
                <a:gd name="T4" fmla="*/ 167 w 196"/>
                <a:gd name="T5" fmla="*/ 57 h 163"/>
                <a:gd name="T6" fmla="*/ 75 w 196"/>
                <a:gd name="T7" fmla="*/ 3 h 163"/>
                <a:gd name="T8" fmla="*/ 0 w 196"/>
                <a:gd name="T9" fmla="*/ 26 h 163"/>
                <a:gd name="T10" fmla="*/ 20 w 196"/>
                <a:gd name="T11" fmla="*/ 60 h 163"/>
                <a:gd name="T12" fmla="*/ 77 w 196"/>
                <a:gd name="T13" fmla="*/ 124 h 163"/>
                <a:gd name="T14" fmla="*/ 119 w 196"/>
                <a:gd name="T15" fmla="*/ 134 h 163"/>
                <a:gd name="T16" fmla="*/ 102 w 196"/>
                <a:gd name="T17" fmla="*/ 139 h 163"/>
                <a:gd name="T18" fmla="*/ 161 w 196"/>
                <a:gd name="T19" fmla="*/ 163 h 163"/>
                <a:gd name="T20" fmla="*/ 81 w 196"/>
                <a:gd name="T21" fmla="*/ 35 h 163"/>
                <a:gd name="T22" fmla="*/ 167 w 196"/>
                <a:gd name="T23" fmla="*/ 14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6" h="163">
                  <a:moveTo>
                    <a:pt x="167" y="142"/>
                  </a:moveTo>
                  <a:cubicBezTo>
                    <a:pt x="167" y="142"/>
                    <a:pt x="196" y="98"/>
                    <a:pt x="170" y="48"/>
                  </a:cubicBezTo>
                  <a:cubicBezTo>
                    <a:pt x="167" y="57"/>
                    <a:pt x="167" y="57"/>
                    <a:pt x="167" y="57"/>
                  </a:cubicBezTo>
                  <a:cubicBezTo>
                    <a:pt x="167" y="57"/>
                    <a:pt x="152" y="0"/>
                    <a:pt x="75" y="3"/>
                  </a:cubicBezTo>
                  <a:cubicBezTo>
                    <a:pt x="21" y="6"/>
                    <a:pt x="0" y="26"/>
                    <a:pt x="0" y="26"/>
                  </a:cubicBezTo>
                  <a:cubicBezTo>
                    <a:pt x="0" y="26"/>
                    <a:pt x="19" y="23"/>
                    <a:pt x="20" y="60"/>
                  </a:cubicBezTo>
                  <a:cubicBezTo>
                    <a:pt x="21" y="81"/>
                    <a:pt x="43" y="116"/>
                    <a:pt x="77" y="124"/>
                  </a:cubicBezTo>
                  <a:cubicBezTo>
                    <a:pt x="111" y="131"/>
                    <a:pt x="119" y="134"/>
                    <a:pt x="119" y="134"/>
                  </a:cubicBezTo>
                  <a:cubicBezTo>
                    <a:pt x="102" y="139"/>
                    <a:pt x="102" y="139"/>
                    <a:pt x="102" y="139"/>
                  </a:cubicBezTo>
                  <a:cubicBezTo>
                    <a:pt x="102" y="139"/>
                    <a:pt x="159" y="140"/>
                    <a:pt x="161" y="163"/>
                  </a:cubicBezTo>
                  <a:cubicBezTo>
                    <a:pt x="161" y="163"/>
                    <a:pt x="157" y="56"/>
                    <a:pt x="81" y="35"/>
                  </a:cubicBezTo>
                  <a:cubicBezTo>
                    <a:pt x="81" y="35"/>
                    <a:pt x="153" y="45"/>
                    <a:pt x="167" y="142"/>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9" name="Freeform 30">
              <a:extLst>
                <a:ext uri="{FF2B5EF4-FFF2-40B4-BE49-F238E27FC236}">
                  <a16:creationId xmlns:a16="http://schemas.microsoft.com/office/drawing/2014/main" id="{961220E0-7927-42D6-A283-4534A8C8D538}"/>
                </a:ext>
              </a:extLst>
            </p:cNvPr>
            <p:cNvSpPr>
              <a:spLocks/>
            </p:cNvSpPr>
            <p:nvPr/>
          </p:nvSpPr>
          <p:spPr bwMode="auto">
            <a:xfrm rot="1801016" flipH="1">
              <a:off x="8181259" y="3124575"/>
              <a:ext cx="1064170" cy="781616"/>
            </a:xfrm>
            <a:custGeom>
              <a:avLst/>
              <a:gdLst>
                <a:gd name="T0" fmla="*/ 9 w 246"/>
                <a:gd name="T1" fmla="*/ 121 h 185"/>
                <a:gd name="T2" fmla="*/ 73 w 246"/>
                <a:gd name="T3" fmla="*/ 31 h 185"/>
                <a:gd name="T4" fmla="*/ 69 w 246"/>
                <a:gd name="T5" fmla="*/ 42 h 185"/>
                <a:gd name="T6" fmla="*/ 192 w 246"/>
                <a:gd name="T7" fmla="*/ 58 h 185"/>
                <a:gd name="T8" fmla="*/ 246 w 246"/>
                <a:gd name="T9" fmla="*/ 133 h 185"/>
                <a:gd name="T10" fmla="*/ 203 w 246"/>
                <a:gd name="T11" fmla="*/ 150 h 185"/>
                <a:gd name="T12" fmla="*/ 105 w 246"/>
                <a:gd name="T13" fmla="*/ 168 h 185"/>
                <a:gd name="T14" fmla="*/ 59 w 246"/>
                <a:gd name="T15" fmla="*/ 147 h 185"/>
                <a:gd name="T16" fmla="*/ 71 w 246"/>
                <a:gd name="T17" fmla="*/ 164 h 185"/>
                <a:gd name="T18" fmla="*/ 0 w 246"/>
                <a:gd name="T19" fmla="*/ 145 h 185"/>
                <a:gd name="T20" fmla="*/ 165 w 246"/>
                <a:gd name="T21" fmla="*/ 83 h 185"/>
                <a:gd name="T22" fmla="*/ 9 w 246"/>
                <a:gd name="T23" fmla="*/ 121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6" h="185">
                  <a:moveTo>
                    <a:pt x="9" y="121"/>
                  </a:moveTo>
                  <a:cubicBezTo>
                    <a:pt x="9" y="121"/>
                    <a:pt x="14" y="59"/>
                    <a:pt x="73" y="31"/>
                  </a:cubicBezTo>
                  <a:cubicBezTo>
                    <a:pt x="69" y="42"/>
                    <a:pt x="69" y="42"/>
                    <a:pt x="69" y="42"/>
                  </a:cubicBezTo>
                  <a:cubicBezTo>
                    <a:pt x="69" y="42"/>
                    <a:pt x="124" y="0"/>
                    <a:pt x="192" y="58"/>
                  </a:cubicBezTo>
                  <a:cubicBezTo>
                    <a:pt x="241" y="99"/>
                    <a:pt x="246" y="133"/>
                    <a:pt x="246" y="133"/>
                  </a:cubicBezTo>
                  <a:cubicBezTo>
                    <a:pt x="246" y="133"/>
                    <a:pt x="230" y="116"/>
                    <a:pt x="203" y="150"/>
                  </a:cubicBezTo>
                  <a:cubicBezTo>
                    <a:pt x="187" y="169"/>
                    <a:pt x="142" y="185"/>
                    <a:pt x="105" y="168"/>
                  </a:cubicBezTo>
                  <a:cubicBezTo>
                    <a:pt x="68" y="151"/>
                    <a:pt x="59" y="147"/>
                    <a:pt x="59" y="147"/>
                  </a:cubicBezTo>
                  <a:cubicBezTo>
                    <a:pt x="71" y="164"/>
                    <a:pt x="71" y="164"/>
                    <a:pt x="71" y="164"/>
                  </a:cubicBezTo>
                  <a:cubicBezTo>
                    <a:pt x="71" y="164"/>
                    <a:pt x="17" y="124"/>
                    <a:pt x="0" y="145"/>
                  </a:cubicBezTo>
                  <a:cubicBezTo>
                    <a:pt x="0" y="145"/>
                    <a:pt x="79" y="49"/>
                    <a:pt x="165" y="83"/>
                  </a:cubicBezTo>
                  <a:cubicBezTo>
                    <a:pt x="165" y="83"/>
                    <a:pt x="91" y="41"/>
                    <a:pt x="9" y="121"/>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grpSp>
        <p:nvGrpSpPr>
          <p:cNvPr id="27" name="Group 32">
            <a:extLst>
              <a:ext uri="{FF2B5EF4-FFF2-40B4-BE49-F238E27FC236}">
                <a16:creationId xmlns:a16="http://schemas.microsoft.com/office/drawing/2014/main" id="{073B3196-3FF9-47DF-9542-9BC444DB3D89}"/>
              </a:ext>
            </a:extLst>
          </p:cNvPr>
          <p:cNvGrpSpPr/>
          <p:nvPr/>
        </p:nvGrpSpPr>
        <p:grpSpPr>
          <a:xfrm>
            <a:off x="689191" y="1932228"/>
            <a:ext cx="512690" cy="131061"/>
            <a:chOff x="795585" y="3421099"/>
            <a:chExt cx="1066015" cy="272508"/>
          </a:xfrm>
        </p:grpSpPr>
        <p:sp>
          <p:nvSpPr>
            <p:cNvPr id="28" name="Freeform 5">
              <a:extLst>
                <a:ext uri="{FF2B5EF4-FFF2-40B4-BE49-F238E27FC236}">
                  <a16:creationId xmlns:a16="http://schemas.microsoft.com/office/drawing/2014/main" id="{5F800030-E6F6-48D2-A0EE-EE87969E81BC}"/>
                </a:ext>
              </a:extLst>
            </p:cNvPr>
            <p:cNvSpPr>
              <a:spLocks/>
            </p:cNvSpPr>
            <p:nvPr/>
          </p:nvSpPr>
          <p:spPr bwMode="auto">
            <a:xfrm>
              <a:off x="795585" y="3421099"/>
              <a:ext cx="263057" cy="272508"/>
            </a:xfrm>
            <a:custGeom>
              <a:avLst/>
              <a:gdLst>
                <a:gd name="T0" fmla="*/ 7371 w 17675"/>
                <a:gd name="T1" fmla="*/ 1125 h 18310"/>
                <a:gd name="T2" fmla="*/ 5959 w 17675"/>
                <a:gd name="T3" fmla="*/ 593 h 18310"/>
                <a:gd name="T4" fmla="*/ 4735 w 17675"/>
                <a:gd name="T5" fmla="*/ 240 h 18310"/>
                <a:gd name="T6" fmla="*/ 3627 w 17675"/>
                <a:gd name="T7" fmla="*/ 54 h 18310"/>
                <a:gd name="T8" fmla="*/ 2806 w 17675"/>
                <a:gd name="T9" fmla="*/ 7 h 18310"/>
                <a:gd name="T10" fmla="*/ 2454 w 17675"/>
                <a:gd name="T11" fmla="*/ 85 h 18310"/>
                <a:gd name="T12" fmla="*/ 2132 w 17675"/>
                <a:gd name="T13" fmla="*/ 262 h 18310"/>
                <a:gd name="T14" fmla="*/ 1838 w 17675"/>
                <a:gd name="T15" fmla="*/ 533 h 18310"/>
                <a:gd name="T16" fmla="*/ 1454 w 17675"/>
                <a:gd name="T17" fmla="*/ 1111 h 18310"/>
                <a:gd name="T18" fmla="*/ 1261 w 17675"/>
                <a:gd name="T19" fmla="*/ 1545 h 18310"/>
                <a:gd name="T20" fmla="*/ 1008 w 17675"/>
                <a:gd name="T21" fmla="*/ 2315 h 18310"/>
                <a:gd name="T22" fmla="*/ 836 w 17675"/>
                <a:gd name="T23" fmla="*/ 2906 h 18310"/>
                <a:gd name="T24" fmla="*/ 683 w 17675"/>
                <a:gd name="T25" fmla="*/ 3519 h 18310"/>
                <a:gd name="T26" fmla="*/ 506 w 17675"/>
                <a:gd name="T27" fmla="*/ 4330 h 18310"/>
                <a:gd name="T28" fmla="*/ 356 w 17675"/>
                <a:gd name="T29" fmla="*/ 5177 h 18310"/>
                <a:gd name="T30" fmla="*/ 199 w 17675"/>
                <a:gd name="T31" fmla="*/ 6352 h 18310"/>
                <a:gd name="T32" fmla="*/ 65 w 17675"/>
                <a:gd name="T33" fmla="*/ 7805 h 18310"/>
                <a:gd name="T34" fmla="*/ 1 w 17675"/>
                <a:gd name="T35" fmla="*/ 9354 h 18310"/>
                <a:gd name="T36" fmla="*/ 54 w 17675"/>
                <a:gd name="T37" fmla="*/ 10490 h 18310"/>
                <a:gd name="T38" fmla="*/ 149 w 17675"/>
                <a:gd name="T39" fmla="*/ 11811 h 18310"/>
                <a:gd name="T40" fmla="*/ 298 w 17675"/>
                <a:gd name="T41" fmla="*/ 13066 h 18310"/>
                <a:gd name="T42" fmla="*/ 650 w 17675"/>
                <a:gd name="T43" fmla="*/ 14979 h 18310"/>
                <a:gd name="T44" fmla="*/ 991 w 17675"/>
                <a:gd name="T45" fmla="*/ 16266 h 18310"/>
                <a:gd name="T46" fmla="*/ 1332 w 17675"/>
                <a:gd name="T47" fmla="*/ 17156 h 18310"/>
                <a:gd name="T48" fmla="*/ 1598 w 17675"/>
                <a:gd name="T49" fmla="*/ 17614 h 18310"/>
                <a:gd name="T50" fmla="*/ 1917 w 17675"/>
                <a:gd name="T51" fmla="*/ 17970 h 18310"/>
                <a:gd name="T52" fmla="*/ 2349 w 17675"/>
                <a:gd name="T53" fmla="*/ 18232 h 18310"/>
                <a:gd name="T54" fmla="*/ 2745 w 17675"/>
                <a:gd name="T55" fmla="*/ 18309 h 18310"/>
                <a:gd name="T56" fmla="*/ 3384 w 17675"/>
                <a:gd name="T57" fmla="*/ 18287 h 18310"/>
                <a:gd name="T58" fmla="*/ 4157 w 17675"/>
                <a:gd name="T59" fmla="*/ 18192 h 18310"/>
                <a:gd name="T60" fmla="*/ 5006 w 17675"/>
                <a:gd name="T61" fmla="*/ 18009 h 18310"/>
                <a:gd name="T62" fmla="*/ 6483 w 17675"/>
                <a:gd name="T63" fmla="*/ 17544 h 18310"/>
                <a:gd name="T64" fmla="*/ 7200 w 17675"/>
                <a:gd name="T65" fmla="*/ 17277 h 18310"/>
                <a:gd name="T66" fmla="*/ 8295 w 17675"/>
                <a:gd name="T67" fmla="*/ 16841 h 18310"/>
                <a:gd name="T68" fmla="*/ 8872 w 17675"/>
                <a:gd name="T69" fmla="*/ 16605 h 18310"/>
                <a:gd name="T70" fmla="*/ 9346 w 17675"/>
                <a:gd name="T71" fmla="*/ 16391 h 18310"/>
                <a:gd name="T72" fmla="*/ 10057 w 17675"/>
                <a:gd name="T73" fmla="*/ 16048 h 18310"/>
                <a:gd name="T74" fmla="*/ 10903 w 17675"/>
                <a:gd name="T75" fmla="*/ 15584 h 18310"/>
                <a:gd name="T76" fmla="*/ 11867 w 17675"/>
                <a:gd name="T77" fmla="*/ 14997 h 18310"/>
                <a:gd name="T78" fmla="*/ 12590 w 17675"/>
                <a:gd name="T79" fmla="*/ 14528 h 18310"/>
                <a:gd name="T80" fmla="*/ 13212 w 17675"/>
                <a:gd name="T81" fmla="*/ 14088 h 18310"/>
                <a:gd name="T82" fmla="*/ 14481 w 17675"/>
                <a:gd name="T83" fmla="*/ 13112 h 18310"/>
                <a:gd name="T84" fmla="*/ 14802 w 17675"/>
                <a:gd name="T85" fmla="*/ 12854 h 18310"/>
                <a:gd name="T86" fmla="*/ 15451 w 17675"/>
                <a:gd name="T87" fmla="*/ 12291 h 18310"/>
                <a:gd name="T88" fmla="*/ 15927 w 17675"/>
                <a:gd name="T89" fmla="*/ 11853 h 18310"/>
                <a:gd name="T90" fmla="*/ 16443 w 17675"/>
                <a:gd name="T91" fmla="*/ 11335 h 18310"/>
                <a:gd name="T92" fmla="*/ 16856 w 17675"/>
                <a:gd name="T93" fmla="*/ 10896 h 18310"/>
                <a:gd name="T94" fmla="*/ 17295 w 17675"/>
                <a:gd name="T95" fmla="*/ 10296 h 18310"/>
                <a:gd name="T96" fmla="*/ 17543 w 17675"/>
                <a:gd name="T97" fmla="*/ 9805 h 18310"/>
                <a:gd name="T98" fmla="*/ 17675 w 17675"/>
                <a:gd name="T99" fmla="*/ 9283 h 18310"/>
                <a:gd name="T100" fmla="*/ 17609 w 17675"/>
                <a:gd name="T101" fmla="*/ 8895 h 18310"/>
                <a:gd name="T102" fmla="*/ 17328 w 17675"/>
                <a:gd name="T103" fmla="*/ 8254 h 18310"/>
                <a:gd name="T104" fmla="*/ 16958 w 17675"/>
                <a:gd name="T105" fmla="*/ 7727 h 18310"/>
                <a:gd name="T106" fmla="*/ 16207 w 17675"/>
                <a:gd name="T107" fmla="*/ 6899 h 18310"/>
                <a:gd name="T108" fmla="*/ 14144 w 17675"/>
                <a:gd name="T109" fmla="*/ 5052 h 18310"/>
                <a:gd name="T110" fmla="*/ 13172 w 17675"/>
                <a:gd name="T111" fmla="*/ 4299 h 18310"/>
                <a:gd name="T112" fmla="*/ 12177 w 17675"/>
                <a:gd name="T113" fmla="*/ 3589 h 18310"/>
                <a:gd name="T114" fmla="*/ 11125 w 17675"/>
                <a:gd name="T115" fmla="*/ 2920 h 18310"/>
                <a:gd name="T116" fmla="*/ 10015 w 17675"/>
                <a:gd name="T117" fmla="*/ 2305 h 18310"/>
                <a:gd name="T118" fmla="*/ 9091 w 17675"/>
                <a:gd name="T119" fmla="*/ 1855 h 18310"/>
                <a:gd name="T120" fmla="*/ 8300 w 17675"/>
                <a:gd name="T121" fmla="*/ 1511 h 18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7675" h="18310">
                  <a:moveTo>
                    <a:pt x="8078" y="1426"/>
                  </a:moveTo>
                  <a:lnTo>
                    <a:pt x="8047" y="1409"/>
                  </a:lnTo>
                  <a:lnTo>
                    <a:pt x="8014" y="1392"/>
                  </a:lnTo>
                  <a:lnTo>
                    <a:pt x="7978" y="1376"/>
                  </a:lnTo>
                  <a:lnTo>
                    <a:pt x="7940" y="1360"/>
                  </a:lnTo>
                  <a:lnTo>
                    <a:pt x="7901" y="1345"/>
                  </a:lnTo>
                  <a:lnTo>
                    <a:pt x="7862" y="1330"/>
                  </a:lnTo>
                  <a:lnTo>
                    <a:pt x="7825" y="1315"/>
                  </a:lnTo>
                  <a:lnTo>
                    <a:pt x="7791" y="1301"/>
                  </a:lnTo>
                  <a:lnTo>
                    <a:pt x="7583" y="1213"/>
                  </a:lnTo>
                  <a:lnTo>
                    <a:pt x="7371" y="1125"/>
                  </a:lnTo>
                  <a:lnTo>
                    <a:pt x="7158" y="1038"/>
                  </a:lnTo>
                  <a:lnTo>
                    <a:pt x="6943" y="953"/>
                  </a:lnTo>
                  <a:lnTo>
                    <a:pt x="6836" y="911"/>
                  </a:lnTo>
                  <a:lnTo>
                    <a:pt x="6727" y="869"/>
                  </a:lnTo>
                  <a:lnTo>
                    <a:pt x="6618" y="827"/>
                  </a:lnTo>
                  <a:lnTo>
                    <a:pt x="6508" y="787"/>
                  </a:lnTo>
                  <a:lnTo>
                    <a:pt x="6400" y="747"/>
                  </a:lnTo>
                  <a:lnTo>
                    <a:pt x="6290" y="707"/>
                  </a:lnTo>
                  <a:lnTo>
                    <a:pt x="6180" y="668"/>
                  </a:lnTo>
                  <a:lnTo>
                    <a:pt x="6070" y="631"/>
                  </a:lnTo>
                  <a:lnTo>
                    <a:pt x="5959" y="593"/>
                  </a:lnTo>
                  <a:lnTo>
                    <a:pt x="5848" y="556"/>
                  </a:lnTo>
                  <a:lnTo>
                    <a:pt x="5737" y="521"/>
                  </a:lnTo>
                  <a:lnTo>
                    <a:pt x="5626" y="485"/>
                  </a:lnTo>
                  <a:lnTo>
                    <a:pt x="5515" y="451"/>
                  </a:lnTo>
                  <a:lnTo>
                    <a:pt x="5404" y="418"/>
                  </a:lnTo>
                  <a:lnTo>
                    <a:pt x="5292" y="386"/>
                  </a:lnTo>
                  <a:lnTo>
                    <a:pt x="5181" y="355"/>
                  </a:lnTo>
                  <a:lnTo>
                    <a:pt x="5069" y="324"/>
                  </a:lnTo>
                  <a:lnTo>
                    <a:pt x="4958" y="295"/>
                  </a:lnTo>
                  <a:lnTo>
                    <a:pt x="4846" y="267"/>
                  </a:lnTo>
                  <a:lnTo>
                    <a:pt x="4735" y="240"/>
                  </a:lnTo>
                  <a:lnTo>
                    <a:pt x="4623" y="215"/>
                  </a:lnTo>
                  <a:lnTo>
                    <a:pt x="4511" y="191"/>
                  </a:lnTo>
                  <a:lnTo>
                    <a:pt x="4400" y="168"/>
                  </a:lnTo>
                  <a:lnTo>
                    <a:pt x="4287" y="146"/>
                  </a:lnTo>
                  <a:lnTo>
                    <a:pt x="4234" y="136"/>
                  </a:lnTo>
                  <a:lnTo>
                    <a:pt x="4162" y="125"/>
                  </a:lnTo>
                  <a:lnTo>
                    <a:pt x="4075" y="112"/>
                  </a:lnTo>
                  <a:lnTo>
                    <a:pt x="3975" y="98"/>
                  </a:lnTo>
                  <a:lnTo>
                    <a:pt x="3865" y="84"/>
                  </a:lnTo>
                  <a:lnTo>
                    <a:pt x="3749" y="69"/>
                  </a:lnTo>
                  <a:lnTo>
                    <a:pt x="3627" y="54"/>
                  </a:lnTo>
                  <a:lnTo>
                    <a:pt x="3504" y="40"/>
                  </a:lnTo>
                  <a:lnTo>
                    <a:pt x="3381" y="27"/>
                  </a:lnTo>
                  <a:lnTo>
                    <a:pt x="3262" y="17"/>
                  </a:lnTo>
                  <a:lnTo>
                    <a:pt x="3148" y="8"/>
                  </a:lnTo>
                  <a:lnTo>
                    <a:pt x="3043" y="2"/>
                  </a:lnTo>
                  <a:lnTo>
                    <a:pt x="2994" y="1"/>
                  </a:lnTo>
                  <a:lnTo>
                    <a:pt x="2949" y="0"/>
                  </a:lnTo>
                  <a:lnTo>
                    <a:pt x="2908" y="0"/>
                  </a:lnTo>
                  <a:lnTo>
                    <a:pt x="2869" y="1"/>
                  </a:lnTo>
                  <a:lnTo>
                    <a:pt x="2834" y="3"/>
                  </a:lnTo>
                  <a:lnTo>
                    <a:pt x="2806" y="7"/>
                  </a:lnTo>
                  <a:lnTo>
                    <a:pt x="2780" y="11"/>
                  </a:lnTo>
                  <a:lnTo>
                    <a:pt x="2761" y="17"/>
                  </a:lnTo>
                  <a:lnTo>
                    <a:pt x="2724" y="19"/>
                  </a:lnTo>
                  <a:lnTo>
                    <a:pt x="2689" y="24"/>
                  </a:lnTo>
                  <a:lnTo>
                    <a:pt x="2655" y="29"/>
                  </a:lnTo>
                  <a:lnTo>
                    <a:pt x="2620" y="35"/>
                  </a:lnTo>
                  <a:lnTo>
                    <a:pt x="2586" y="43"/>
                  </a:lnTo>
                  <a:lnTo>
                    <a:pt x="2552" y="53"/>
                  </a:lnTo>
                  <a:lnTo>
                    <a:pt x="2518" y="63"/>
                  </a:lnTo>
                  <a:lnTo>
                    <a:pt x="2486" y="73"/>
                  </a:lnTo>
                  <a:lnTo>
                    <a:pt x="2454" y="85"/>
                  </a:lnTo>
                  <a:lnTo>
                    <a:pt x="2423" y="97"/>
                  </a:lnTo>
                  <a:lnTo>
                    <a:pt x="2393" y="111"/>
                  </a:lnTo>
                  <a:lnTo>
                    <a:pt x="2363" y="125"/>
                  </a:lnTo>
                  <a:lnTo>
                    <a:pt x="2333" y="138"/>
                  </a:lnTo>
                  <a:lnTo>
                    <a:pt x="2306" y="153"/>
                  </a:lnTo>
                  <a:lnTo>
                    <a:pt x="2278" y="169"/>
                  </a:lnTo>
                  <a:lnTo>
                    <a:pt x="2252" y="184"/>
                  </a:lnTo>
                  <a:lnTo>
                    <a:pt x="2218" y="205"/>
                  </a:lnTo>
                  <a:lnTo>
                    <a:pt x="2187" y="224"/>
                  </a:lnTo>
                  <a:lnTo>
                    <a:pt x="2158" y="244"/>
                  </a:lnTo>
                  <a:lnTo>
                    <a:pt x="2132" y="262"/>
                  </a:lnTo>
                  <a:lnTo>
                    <a:pt x="2108" y="280"/>
                  </a:lnTo>
                  <a:lnTo>
                    <a:pt x="2086" y="298"/>
                  </a:lnTo>
                  <a:lnTo>
                    <a:pt x="2065" y="315"/>
                  </a:lnTo>
                  <a:lnTo>
                    <a:pt x="2046" y="332"/>
                  </a:lnTo>
                  <a:lnTo>
                    <a:pt x="2007" y="367"/>
                  </a:lnTo>
                  <a:lnTo>
                    <a:pt x="1968" y="405"/>
                  </a:lnTo>
                  <a:lnTo>
                    <a:pt x="1927" y="446"/>
                  </a:lnTo>
                  <a:lnTo>
                    <a:pt x="1878" y="491"/>
                  </a:lnTo>
                  <a:lnTo>
                    <a:pt x="1866" y="504"/>
                  </a:lnTo>
                  <a:lnTo>
                    <a:pt x="1853" y="517"/>
                  </a:lnTo>
                  <a:lnTo>
                    <a:pt x="1838" y="533"/>
                  </a:lnTo>
                  <a:lnTo>
                    <a:pt x="1823" y="550"/>
                  </a:lnTo>
                  <a:lnTo>
                    <a:pt x="1790" y="592"/>
                  </a:lnTo>
                  <a:lnTo>
                    <a:pt x="1754" y="637"/>
                  </a:lnTo>
                  <a:lnTo>
                    <a:pt x="1717" y="689"/>
                  </a:lnTo>
                  <a:lnTo>
                    <a:pt x="1679" y="744"/>
                  </a:lnTo>
                  <a:lnTo>
                    <a:pt x="1639" y="802"/>
                  </a:lnTo>
                  <a:lnTo>
                    <a:pt x="1600" y="863"/>
                  </a:lnTo>
                  <a:lnTo>
                    <a:pt x="1561" y="926"/>
                  </a:lnTo>
                  <a:lnTo>
                    <a:pt x="1524" y="988"/>
                  </a:lnTo>
                  <a:lnTo>
                    <a:pt x="1488" y="1051"/>
                  </a:lnTo>
                  <a:lnTo>
                    <a:pt x="1454" y="1111"/>
                  </a:lnTo>
                  <a:lnTo>
                    <a:pt x="1425" y="1170"/>
                  </a:lnTo>
                  <a:lnTo>
                    <a:pt x="1398" y="1226"/>
                  </a:lnTo>
                  <a:lnTo>
                    <a:pt x="1387" y="1252"/>
                  </a:lnTo>
                  <a:lnTo>
                    <a:pt x="1377" y="1277"/>
                  </a:lnTo>
                  <a:lnTo>
                    <a:pt x="1367" y="1301"/>
                  </a:lnTo>
                  <a:lnTo>
                    <a:pt x="1359" y="1323"/>
                  </a:lnTo>
                  <a:lnTo>
                    <a:pt x="1340" y="1362"/>
                  </a:lnTo>
                  <a:lnTo>
                    <a:pt x="1320" y="1404"/>
                  </a:lnTo>
                  <a:lnTo>
                    <a:pt x="1300" y="1449"/>
                  </a:lnTo>
                  <a:lnTo>
                    <a:pt x="1280" y="1496"/>
                  </a:lnTo>
                  <a:lnTo>
                    <a:pt x="1261" y="1545"/>
                  </a:lnTo>
                  <a:lnTo>
                    <a:pt x="1241" y="1596"/>
                  </a:lnTo>
                  <a:lnTo>
                    <a:pt x="1222" y="1648"/>
                  </a:lnTo>
                  <a:lnTo>
                    <a:pt x="1204" y="1702"/>
                  </a:lnTo>
                  <a:lnTo>
                    <a:pt x="1167" y="1808"/>
                  </a:lnTo>
                  <a:lnTo>
                    <a:pt x="1133" y="1915"/>
                  </a:lnTo>
                  <a:lnTo>
                    <a:pt x="1101" y="2016"/>
                  </a:lnTo>
                  <a:lnTo>
                    <a:pt x="1071" y="2110"/>
                  </a:lnTo>
                  <a:lnTo>
                    <a:pt x="1055" y="2162"/>
                  </a:lnTo>
                  <a:lnTo>
                    <a:pt x="1039" y="2213"/>
                  </a:lnTo>
                  <a:lnTo>
                    <a:pt x="1023" y="2264"/>
                  </a:lnTo>
                  <a:lnTo>
                    <a:pt x="1008" y="2315"/>
                  </a:lnTo>
                  <a:lnTo>
                    <a:pt x="992" y="2367"/>
                  </a:lnTo>
                  <a:lnTo>
                    <a:pt x="976" y="2418"/>
                  </a:lnTo>
                  <a:lnTo>
                    <a:pt x="960" y="2471"/>
                  </a:lnTo>
                  <a:lnTo>
                    <a:pt x="944" y="2523"/>
                  </a:lnTo>
                  <a:lnTo>
                    <a:pt x="929" y="2573"/>
                  </a:lnTo>
                  <a:lnTo>
                    <a:pt x="913" y="2626"/>
                  </a:lnTo>
                  <a:lnTo>
                    <a:pt x="896" y="2682"/>
                  </a:lnTo>
                  <a:lnTo>
                    <a:pt x="880" y="2740"/>
                  </a:lnTo>
                  <a:lnTo>
                    <a:pt x="864" y="2797"/>
                  </a:lnTo>
                  <a:lnTo>
                    <a:pt x="849" y="2852"/>
                  </a:lnTo>
                  <a:lnTo>
                    <a:pt x="836" y="2906"/>
                  </a:lnTo>
                  <a:lnTo>
                    <a:pt x="827" y="2955"/>
                  </a:lnTo>
                  <a:lnTo>
                    <a:pt x="818" y="2977"/>
                  </a:lnTo>
                  <a:lnTo>
                    <a:pt x="809" y="3003"/>
                  </a:lnTo>
                  <a:lnTo>
                    <a:pt x="800" y="3033"/>
                  </a:lnTo>
                  <a:lnTo>
                    <a:pt x="790" y="3067"/>
                  </a:lnTo>
                  <a:lnTo>
                    <a:pt x="770" y="3142"/>
                  </a:lnTo>
                  <a:lnTo>
                    <a:pt x="749" y="3225"/>
                  </a:lnTo>
                  <a:lnTo>
                    <a:pt x="730" y="3310"/>
                  </a:lnTo>
                  <a:lnTo>
                    <a:pt x="712" y="3390"/>
                  </a:lnTo>
                  <a:lnTo>
                    <a:pt x="696" y="3461"/>
                  </a:lnTo>
                  <a:lnTo>
                    <a:pt x="683" y="3519"/>
                  </a:lnTo>
                  <a:lnTo>
                    <a:pt x="666" y="3593"/>
                  </a:lnTo>
                  <a:lnTo>
                    <a:pt x="649" y="3667"/>
                  </a:lnTo>
                  <a:lnTo>
                    <a:pt x="633" y="3740"/>
                  </a:lnTo>
                  <a:lnTo>
                    <a:pt x="617" y="3813"/>
                  </a:lnTo>
                  <a:lnTo>
                    <a:pt x="601" y="3886"/>
                  </a:lnTo>
                  <a:lnTo>
                    <a:pt x="585" y="3960"/>
                  </a:lnTo>
                  <a:lnTo>
                    <a:pt x="569" y="4033"/>
                  </a:lnTo>
                  <a:lnTo>
                    <a:pt x="553" y="4108"/>
                  </a:lnTo>
                  <a:lnTo>
                    <a:pt x="537" y="4182"/>
                  </a:lnTo>
                  <a:lnTo>
                    <a:pt x="522" y="4256"/>
                  </a:lnTo>
                  <a:lnTo>
                    <a:pt x="506" y="4330"/>
                  </a:lnTo>
                  <a:lnTo>
                    <a:pt x="491" y="4406"/>
                  </a:lnTo>
                  <a:lnTo>
                    <a:pt x="476" y="4483"/>
                  </a:lnTo>
                  <a:lnTo>
                    <a:pt x="461" y="4559"/>
                  </a:lnTo>
                  <a:lnTo>
                    <a:pt x="447" y="4636"/>
                  </a:lnTo>
                  <a:lnTo>
                    <a:pt x="433" y="4714"/>
                  </a:lnTo>
                  <a:lnTo>
                    <a:pt x="419" y="4791"/>
                  </a:lnTo>
                  <a:lnTo>
                    <a:pt x="405" y="4868"/>
                  </a:lnTo>
                  <a:lnTo>
                    <a:pt x="392" y="4946"/>
                  </a:lnTo>
                  <a:lnTo>
                    <a:pt x="380" y="5024"/>
                  </a:lnTo>
                  <a:lnTo>
                    <a:pt x="367" y="5100"/>
                  </a:lnTo>
                  <a:lnTo>
                    <a:pt x="356" y="5177"/>
                  </a:lnTo>
                  <a:lnTo>
                    <a:pt x="346" y="5253"/>
                  </a:lnTo>
                  <a:lnTo>
                    <a:pt x="335" y="5328"/>
                  </a:lnTo>
                  <a:lnTo>
                    <a:pt x="320" y="5442"/>
                  </a:lnTo>
                  <a:lnTo>
                    <a:pt x="304" y="5555"/>
                  </a:lnTo>
                  <a:lnTo>
                    <a:pt x="289" y="5668"/>
                  </a:lnTo>
                  <a:lnTo>
                    <a:pt x="275" y="5781"/>
                  </a:lnTo>
                  <a:lnTo>
                    <a:pt x="259" y="5896"/>
                  </a:lnTo>
                  <a:lnTo>
                    <a:pt x="244" y="6009"/>
                  </a:lnTo>
                  <a:lnTo>
                    <a:pt x="229" y="6124"/>
                  </a:lnTo>
                  <a:lnTo>
                    <a:pt x="214" y="6238"/>
                  </a:lnTo>
                  <a:lnTo>
                    <a:pt x="199" y="6352"/>
                  </a:lnTo>
                  <a:lnTo>
                    <a:pt x="185" y="6467"/>
                  </a:lnTo>
                  <a:lnTo>
                    <a:pt x="173" y="6581"/>
                  </a:lnTo>
                  <a:lnTo>
                    <a:pt x="160" y="6697"/>
                  </a:lnTo>
                  <a:lnTo>
                    <a:pt x="148" y="6811"/>
                  </a:lnTo>
                  <a:lnTo>
                    <a:pt x="137" y="6927"/>
                  </a:lnTo>
                  <a:lnTo>
                    <a:pt x="127" y="7042"/>
                  </a:lnTo>
                  <a:lnTo>
                    <a:pt x="119" y="7158"/>
                  </a:lnTo>
                  <a:lnTo>
                    <a:pt x="105" y="7319"/>
                  </a:lnTo>
                  <a:lnTo>
                    <a:pt x="92" y="7481"/>
                  </a:lnTo>
                  <a:lnTo>
                    <a:pt x="79" y="7643"/>
                  </a:lnTo>
                  <a:lnTo>
                    <a:pt x="65" y="7805"/>
                  </a:lnTo>
                  <a:lnTo>
                    <a:pt x="54" y="7967"/>
                  </a:lnTo>
                  <a:lnTo>
                    <a:pt x="42" y="8130"/>
                  </a:lnTo>
                  <a:lnTo>
                    <a:pt x="31" y="8293"/>
                  </a:lnTo>
                  <a:lnTo>
                    <a:pt x="22" y="8456"/>
                  </a:lnTo>
                  <a:lnTo>
                    <a:pt x="14" y="8619"/>
                  </a:lnTo>
                  <a:lnTo>
                    <a:pt x="8" y="8782"/>
                  </a:lnTo>
                  <a:lnTo>
                    <a:pt x="3" y="8946"/>
                  </a:lnTo>
                  <a:lnTo>
                    <a:pt x="0" y="9109"/>
                  </a:lnTo>
                  <a:lnTo>
                    <a:pt x="0" y="9190"/>
                  </a:lnTo>
                  <a:lnTo>
                    <a:pt x="0" y="9273"/>
                  </a:lnTo>
                  <a:lnTo>
                    <a:pt x="1" y="9354"/>
                  </a:lnTo>
                  <a:lnTo>
                    <a:pt x="2" y="9437"/>
                  </a:lnTo>
                  <a:lnTo>
                    <a:pt x="3" y="9518"/>
                  </a:lnTo>
                  <a:lnTo>
                    <a:pt x="7" y="9599"/>
                  </a:lnTo>
                  <a:lnTo>
                    <a:pt x="10" y="9681"/>
                  </a:lnTo>
                  <a:lnTo>
                    <a:pt x="14" y="9763"/>
                  </a:lnTo>
                  <a:lnTo>
                    <a:pt x="21" y="9885"/>
                  </a:lnTo>
                  <a:lnTo>
                    <a:pt x="27" y="10006"/>
                  </a:lnTo>
                  <a:lnTo>
                    <a:pt x="34" y="10128"/>
                  </a:lnTo>
                  <a:lnTo>
                    <a:pt x="41" y="10249"/>
                  </a:lnTo>
                  <a:lnTo>
                    <a:pt x="47" y="10369"/>
                  </a:lnTo>
                  <a:lnTo>
                    <a:pt x="54" y="10490"/>
                  </a:lnTo>
                  <a:lnTo>
                    <a:pt x="61" y="10611"/>
                  </a:lnTo>
                  <a:lnTo>
                    <a:pt x="68" y="10731"/>
                  </a:lnTo>
                  <a:lnTo>
                    <a:pt x="74" y="10851"/>
                  </a:lnTo>
                  <a:lnTo>
                    <a:pt x="82" y="10971"/>
                  </a:lnTo>
                  <a:lnTo>
                    <a:pt x="90" y="11091"/>
                  </a:lnTo>
                  <a:lnTo>
                    <a:pt x="98" y="11213"/>
                  </a:lnTo>
                  <a:lnTo>
                    <a:pt x="108" y="11333"/>
                  </a:lnTo>
                  <a:lnTo>
                    <a:pt x="117" y="11454"/>
                  </a:lnTo>
                  <a:lnTo>
                    <a:pt x="127" y="11575"/>
                  </a:lnTo>
                  <a:lnTo>
                    <a:pt x="138" y="11697"/>
                  </a:lnTo>
                  <a:lnTo>
                    <a:pt x="149" y="11811"/>
                  </a:lnTo>
                  <a:lnTo>
                    <a:pt x="160" y="11926"/>
                  </a:lnTo>
                  <a:lnTo>
                    <a:pt x="172" y="12040"/>
                  </a:lnTo>
                  <a:lnTo>
                    <a:pt x="184" y="12154"/>
                  </a:lnTo>
                  <a:lnTo>
                    <a:pt x="197" y="12269"/>
                  </a:lnTo>
                  <a:lnTo>
                    <a:pt x="209" y="12383"/>
                  </a:lnTo>
                  <a:lnTo>
                    <a:pt x="223" y="12498"/>
                  </a:lnTo>
                  <a:lnTo>
                    <a:pt x="237" y="12611"/>
                  </a:lnTo>
                  <a:lnTo>
                    <a:pt x="252" y="12725"/>
                  </a:lnTo>
                  <a:lnTo>
                    <a:pt x="267" y="12839"/>
                  </a:lnTo>
                  <a:lnTo>
                    <a:pt x="281" y="12953"/>
                  </a:lnTo>
                  <a:lnTo>
                    <a:pt x="298" y="13066"/>
                  </a:lnTo>
                  <a:lnTo>
                    <a:pt x="314" y="13180"/>
                  </a:lnTo>
                  <a:lnTo>
                    <a:pt x="331" y="13293"/>
                  </a:lnTo>
                  <a:lnTo>
                    <a:pt x="349" y="13406"/>
                  </a:lnTo>
                  <a:lnTo>
                    <a:pt x="366" y="13519"/>
                  </a:lnTo>
                  <a:lnTo>
                    <a:pt x="398" y="13707"/>
                  </a:lnTo>
                  <a:lnTo>
                    <a:pt x="433" y="13905"/>
                  </a:lnTo>
                  <a:lnTo>
                    <a:pt x="470" y="14110"/>
                  </a:lnTo>
                  <a:lnTo>
                    <a:pt x="511" y="14322"/>
                  </a:lnTo>
                  <a:lnTo>
                    <a:pt x="555" y="14538"/>
                  </a:lnTo>
                  <a:lnTo>
                    <a:pt x="602" y="14757"/>
                  </a:lnTo>
                  <a:lnTo>
                    <a:pt x="650" y="14979"/>
                  </a:lnTo>
                  <a:lnTo>
                    <a:pt x="701" y="15200"/>
                  </a:lnTo>
                  <a:lnTo>
                    <a:pt x="729" y="15311"/>
                  </a:lnTo>
                  <a:lnTo>
                    <a:pt x="755" y="15420"/>
                  </a:lnTo>
                  <a:lnTo>
                    <a:pt x="784" y="15530"/>
                  </a:lnTo>
                  <a:lnTo>
                    <a:pt x="811" y="15639"/>
                  </a:lnTo>
                  <a:lnTo>
                    <a:pt x="840" y="15747"/>
                  </a:lnTo>
                  <a:lnTo>
                    <a:pt x="870" y="15854"/>
                  </a:lnTo>
                  <a:lnTo>
                    <a:pt x="899" y="15959"/>
                  </a:lnTo>
                  <a:lnTo>
                    <a:pt x="929" y="16064"/>
                  </a:lnTo>
                  <a:lnTo>
                    <a:pt x="960" y="16165"/>
                  </a:lnTo>
                  <a:lnTo>
                    <a:pt x="991" y="16266"/>
                  </a:lnTo>
                  <a:lnTo>
                    <a:pt x="1022" y="16365"/>
                  </a:lnTo>
                  <a:lnTo>
                    <a:pt x="1054" y="16461"/>
                  </a:lnTo>
                  <a:lnTo>
                    <a:pt x="1086" y="16556"/>
                  </a:lnTo>
                  <a:lnTo>
                    <a:pt x="1119" y="16646"/>
                  </a:lnTo>
                  <a:lnTo>
                    <a:pt x="1152" y="16735"/>
                  </a:lnTo>
                  <a:lnTo>
                    <a:pt x="1185" y="16821"/>
                  </a:lnTo>
                  <a:lnTo>
                    <a:pt x="1225" y="16920"/>
                  </a:lnTo>
                  <a:lnTo>
                    <a:pt x="1267" y="17017"/>
                  </a:lnTo>
                  <a:lnTo>
                    <a:pt x="1288" y="17064"/>
                  </a:lnTo>
                  <a:lnTo>
                    <a:pt x="1310" y="17111"/>
                  </a:lnTo>
                  <a:lnTo>
                    <a:pt x="1332" y="17156"/>
                  </a:lnTo>
                  <a:lnTo>
                    <a:pt x="1354" y="17202"/>
                  </a:lnTo>
                  <a:lnTo>
                    <a:pt x="1377" y="17247"/>
                  </a:lnTo>
                  <a:lnTo>
                    <a:pt x="1399" y="17290"/>
                  </a:lnTo>
                  <a:lnTo>
                    <a:pt x="1423" y="17334"/>
                  </a:lnTo>
                  <a:lnTo>
                    <a:pt x="1447" y="17376"/>
                  </a:lnTo>
                  <a:lnTo>
                    <a:pt x="1471" y="17417"/>
                  </a:lnTo>
                  <a:lnTo>
                    <a:pt x="1496" y="17459"/>
                  </a:lnTo>
                  <a:lnTo>
                    <a:pt x="1521" y="17499"/>
                  </a:lnTo>
                  <a:lnTo>
                    <a:pt x="1546" y="17538"/>
                  </a:lnTo>
                  <a:lnTo>
                    <a:pt x="1572" y="17576"/>
                  </a:lnTo>
                  <a:lnTo>
                    <a:pt x="1598" y="17614"/>
                  </a:lnTo>
                  <a:lnTo>
                    <a:pt x="1625" y="17651"/>
                  </a:lnTo>
                  <a:lnTo>
                    <a:pt x="1652" y="17687"/>
                  </a:lnTo>
                  <a:lnTo>
                    <a:pt x="1680" y="17722"/>
                  </a:lnTo>
                  <a:lnTo>
                    <a:pt x="1707" y="17756"/>
                  </a:lnTo>
                  <a:lnTo>
                    <a:pt x="1736" y="17789"/>
                  </a:lnTo>
                  <a:lnTo>
                    <a:pt x="1764" y="17822"/>
                  </a:lnTo>
                  <a:lnTo>
                    <a:pt x="1794" y="17853"/>
                  </a:lnTo>
                  <a:lnTo>
                    <a:pt x="1824" y="17884"/>
                  </a:lnTo>
                  <a:lnTo>
                    <a:pt x="1854" y="17914"/>
                  </a:lnTo>
                  <a:lnTo>
                    <a:pt x="1885" y="17943"/>
                  </a:lnTo>
                  <a:lnTo>
                    <a:pt x="1917" y="17970"/>
                  </a:lnTo>
                  <a:lnTo>
                    <a:pt x="1947" y="17998"/>
                  </a:lnTo>
                  <a:lnTo>
                    <a:pt x="1980" y="18023"/>
                  </a:lnTo>
                  <a:lnTo>
                    <a:pt x="2013" y="18048"/>
                  </a:lnTo>
                  <a:lnTo>
                    <a:pt x="2052" y="18075"/>
                  </a:lnTo>
                  <a:lnTo>
                    <a:pt x="2091" y="18102"/>
                  </a:lnTo>
                  <a:lnTo>
                    <a:pt x="2132" y="18127"/>
                  </a:lnTo>
                  <a:lnTo>
                    <a:pt x="2173" y="18151"/>
                  </a:lnTo>
                  <a:lnTo>
                    <a:pt x="2215" y="18174"/>
                  </a:lnTo>
                  <a:lnTo>
                    <a:pt x="2259" y="18194"/>
                  </a:lnTo>
                  <a:lnTo>
                    <a:pt x="2303" y="18214"/>
                  </a:lnTo>
                  <a:lnTo>
                    <a:pt x="2349" y="18232"/>
                  </a:lnTo>
                  <a:lnTo>
                    <a:pt x="2397" y="18249"/>
                  </a:lnTo>
                  <a:lnTo>
                    <a:pt x="2446" y="18264"/>
                  </a:lnTo>
                  <a:lnTo>
                    <a:pt x="2497" y="18277"/>
                  </a:lnTo>
                  <a:lnTo>
                    <a:pt x="2549" y="18287"/>
                  </a:lnTo>
                  <a:lnTo>
                    <a:pt x="2576" y="18292"/>
                  </a:lnTo>
                  <a:lnTo>
                    <a:pt x="2603" y="18296"/>
                  </a:lnTo>
                  <a:lnTo>
                    <a:pt x="2631" y="18300"/>
                  </a:lnTo>
                  <a:lnTo>
                    <a:pt x="2658" y="18303"/>
                  </a:lnTo>
                  <a:lnTo>
                    <a:pt x="2687" y="18305"/>
                  </a:lnTo>
                  <a:lnTo>
                    <a:pt x="2716" y="18308"/>
                  </a:lnTo>
                  <a:lnTo>
                    <a:pt x="2745" y="18309"/>
                  </a:lnTo>
                  <a:lnTo>
                    <a:pt x="2776" y="18309"/>
                  </a:lnTo>
                  <a:lnTo>
                    <a:pt x="2835" y="18310"/>
                  </a:lnTo>
                  <a:lnTo>
                    <a:pt x="2896" y="18310"/>
                  </a:lnTo>
                  <a:lnTo>
                    <a:pt x="2957" y="18309"/>
                  </a:lnTo>
                  <a:lnTo>
                    <a:pt x="3017" y="18308"/>
                  </a:lnTo>
                  <a:lnTo>
                    <a:pt x="3079" y="18305"/>
                  </a:lnTo>
                  <a:lnTo>
                    <a:pt x="3140" y="18303"/>
                  </a:lnTo>
                  <a:lnTo>
                    <a:pt x="3200" y="18300"/>
                  </a:lnTo>
                  <a:lnTo>
                    <a:pt x="3262" y="18296"/>
                  </a:lnTo>
                  <a:lnTo>
                    <a:pt x="3323" y="18292"/>
                  </a:lnTo>
                  <a:lnTo>
                    <a:pt x="3384" y="18287"/>
                  </a:lnTo>
                  <a:lnTo>
                    <a:pt x="3444" y="18283"/>
                  </a:lnTo>
                  <a:lnTo>
                    <a:pt x="3505" y="18277"/>
                  </a:lnTo>
                  <a:lnTo>
                    <a:pt x="3565" y="18271"/>
                  </a:lnTo>
                  <a:lnTo>
                    <a:pt x="3625" y="18264"/>
                  </a:lnTo>
                  <a:lnTo>
                    <a:pt x="3686" y="18257"/>
                  </a:lnTo>
                  <a:lnTo>
                    <a:pt x="3745" y="18250"/>
                  </a:lnTo>
                  <a:lnTo>
                    <a:pt x="3829" y="18240"/>
                  </a:lnTo>
                  <a:lnTo>
                    <a:pt x="3912" y="18230"/>
                  </a:lnTo>
                  <a:lnTo>
                    <a:pt x="3995" y="18218"/>
                  </a:lnTo>
                  <a:lnTo>
                    <a:pt x="4076" y="18206"/>
                  </a:lnTo>
                  <a:lnTo>
                    <a:pt x="4157" y="18192"/>
                  </a:lnTo>
                  <a:lnTo>
                    <a:pt x="4236" y="18178"/>
                  </a:lnTo>
                  <a:lnTo>
                    <a:pt x="4316" y="18165"/>
                  </a:lnTo>
                  <a:lnTo>
                    <a:pt x="4395" y="18150"/>
                  </a:lnTo>
                  <a:lnTo>
                    <a:pt x="4473" y="18134"/>
                  </a:lnTo>
                  <a:lnTo>
                    <a:pt x="4549" y="18118"/>
                  </a:lnTo>
                  <a:lnTo>
                    <a:pt x="4627" y="18101"/>
                  </a:lnTo>
                  <a:lnTo>
                    <a:pt x="4704" y="18083"/>
                  </a:lnTo>
                  <a:lnTo>
                    <a:pt x="4779" y="18066"/>
                  </a:lnTo>
                  <a:lnTo>
                    <a:pt x="4855" y="18048"/>
                  </a:lnTo>
                  <a:lnTo>
                    <a:pt x="4931" y="18028"/>
                  </a:lnTo>
                  <a:lnTo>
                    <a:pt x="5006" y="18009"/>
                  </a:lnTo>
                  <a:lnTo>
                    <a:pt x="5156" y="17969"/>
                  </a:lnTo>
                  <a:lnTo>
                    <a:pt x="5305" y="17927"/>
                  </a:lnTo>
                  <a:lnTo>
                    <a:pt x="5455" y="17882"/>
                  </a:lnTo>
                  <a:lnTo>
                    <a:pt x="5603" y="17836"/>
                  </a:lnTo>
                  <a:lnTo>
                    <a:pt x="5753" y="17789"/>
                  </a:lnTo>
                  <a:lnTo>
                    <a:pt x="5904" y="17741"/>
                  </a:lnTo>
                  <a:lnTo>
                    <a:pt x="6056" y="17691"/>
                  </a:lnTo>
                  <a:lnTo>
                    <a:pt x="6211" y="17639"/>
                  </a:lnTo>
                  <a:lnTo>
                    <a:pt x="6273" y="17619"/>
                  </a:lnTo>
                  <a:lnTo>
                    <a:pt x="6368" y="17586"/>
                  </a:lnTo>
                  <a:lnTo>
                    <a:pt x="6483" y="17544"/>
                  </a:lnTo>
                  <a:lnTo>
                    <a:pt x="6608" y="17501"/>
                  </a:lnTo>
                  <a:lnTo>
                    <a:pt x="6729" y="17456"/>
                  </a:lnTo>
                  <a:lnTo>
                    <a:pt x="6837" y="17415"/>
                  </a:lnTo>
                  <a:lnTo>
                    <a:pt x="6881" y="17398"/>
                  </a:lnTo>
                  <a:lnTo>
                    <a:pt x="6917" y="17382"/>
                  </a:lnTo>
                  <a:lnTo>
                    <a:pt x="6943" y="17369"/>
                  </a:lnTo>
                  <a:lnTo>
                    <a:pt x="6959" y="17361"/>
                  </a:lnTo>
                  <a:lnTo>
                    <a:pt x="6994" y="17351"/>
                  </a:lnTo>
                  <a:lnTo>
                    <a:pt x="7046" y="17333"/>
                  </a:lnTo>
                  <a:lnTo>
                    <a:pt x="7116" y="17308"/>
                  </a:lnTo>
                  <a:lnTo>
                    <a:pt x="7200" y="17277"/>
                  </a:lnTo>
                  <a:lnTo>
                    <a:pt x="7294" y="17240"/>
                  </a:lnTo>
                  <a:lnTo>
                    <a:pt x="7397" y="17200"/>
                  </a:lnTo>
                  <a:lnTo>
                    <a:pt x="7507" y="17156"/>
                  </a:lnTo>
                  <a:lnTo>
                    <a:pt x="7621" y="17112"/>
                  </a:lnTo>
                  <a:lnTo>
                    <a:pt x="7734" y="17066"/>
                  </a:lnTo>
                  <a:lnTo>
                    <a:pt x="7846" y="17021"/>
                  </a:lnTo>
                  <a:lnTo>
                    <a:pt x="7955" y="16977"/>
                  </a:lnTo>
                  <a:lnTo>
                    <a:pt x="8057" y="16937"/>
                  </a:lnTo>
                  <a:lnTo>
                    <a:pt x="8148" y="16899"/>
                  </a:lnTo>
                  <a:lnTo>
                    <a:pt x="8228" y="16867"/>
                  </a:lnTo>
                  <a:lnTo>
                    <a:pt x="8295" y="16841"/>
                  </a:lnTo>
                  <a:lnTo>
                    <a:pt x="8344" y="16821"/>
                  </a:lnTo>
                  <a:lnTo>
                    <a:pt x="8396" y="16799"/>
                  </a:lnTo>
                  <a:lnTo>
                    <a:pt x="8454" y="16778"/>
                  </a:lnTo>
                  <a:lnTo>
                    <a:pt x="8513" y="16755"/>
                  </a:lnTo>
                  <a:lnTo>
                    <a:pt x="8574" y="16731"/>
                  </a:lnTo>
                  <a:lnTo>
                    <a:pt x="8633" y="16707"/>
                  </a:lnTo>
                  <a:lnTo>
                    <a:pt x="8690" y="16682"/>
                  </a:lnTo>
                  <a:lnTo>
                    <a:pt x="8744" y="16658"/>
                  </a:lnTo>
                  <a:lnTo>
                    <a:pt x="8792" y="16633"/>
                  </a:lnTo>
                  <a:lnTo>
                    <a:pt x="8829" y="16621"/>
                  </a:lnTo>
                  <a:lnTo>
                    <a:pt x="8872" y="16605"/>
                  </a:lnTo>
                  <a:lnTo>
                    <a:pt x="8918" y="16587"/>
                  </a:lnTo>
                  <a:lnTo>
                    <a:pt x="8965" y="16565"/>
                  </a:lnTo>
                  <a:lnTo>
                    <a:pt x="9013" y="16543"/>
                  </a:lnTo>
                  <a:lnTo>
                    <a:pt x="9059" y="16522"/>
                  </a:lnTo>
                  <a:lnTo>
                    <a:pt x="9100" y="16502"/>
                  </a:lnTo>
                  <a:lnTo>
                    <a:pt x="9137" y="16485"/>
                  </a:lnTo>
                  <a:lnTo>
                    <a:pt x="9178" y="16465"/>
                  </a:lnTo>
                  <a:lnTo>
                    <a:pt x="9220" y="16447"/>
                  </a:lnTo>
                  <a:lnTo>
                    <a:pt x="9263" y="16429"/>
                  </a:lnTo>
                  <a:lnTo>
                    <a:pt x="9304" y="16409"/>
                  </a:lnTo>
                  <a:lnTo>
                    <a:pt x="9346" y="16391"/>
                  </a:lnTo>
                  <a:lnTo>
                    <a:pt x="9388" y="16371"/>
                  </a:lnTo>
                  <a:lnTo>
                    <a:pt x="9430" y="16352"/>
                  </a:lnTo>
                  <a:lnTo>
                    <a:pt x="9471" y="16331"/>
                  </a:lnTo>
                  <a:lnTo>
                    <a:pt x="9550" y="16292"/>
                  </a:lnTo>
                  <a:lnTo>
                    <a:pt x="9633" y="16254"/>
                  </a:lnTo>
                  <a:lnTo>
                    <a:pt x="9720" y="16214"/>
                  </a:lnTo>
                  <a:lnTo>
                    <a:pt x="9807" y="16173"/>
                  </a:lnTo>
                  <a:lnTo>
                    <a:pt x="9894" y="16132"/>
                  </a:lnTo>
                  <a:lnTo>
                    <a:pt x="9978" y="16091"/>
                  </a:lnTo>
                  <a:lnTo>
                    <a:pt x="10018" y="16069"/>
                  </a:lnTo>
                  <a:lnTo>
                    <a:pt x="10057" y="16048"/>
                  </a:lnTo>
                  <a:lnTo>
                    <a:pt x="10093" y="16026"/>
                  </a:lnTo>
                  <a:lnTo>
                    <a:pt x="10129" y="16004"/>
                  </a:lnTo>
                  <a:lnTo>
                    <a:pt x="10153" y="15994"/>
                  </a:lnTo>
                  <a:lnTo>
                    <a:pt x="10184" y="15979"/>
                  </a:lnTo>
                  <a:lnTo>
                    <a:pt x="10220" y="15962"/>
                  </a:lnTo>
                  <a:lnTo>
                    <a:pt x="10263" y="15939"/>
                  </a:lnTo>
                  <a:lnTo>
                    <a:pt x="10363" y="15886"/>
                  </a:lnTo>
                  <a:lnTo>
                    <a:pt x="10482" y="15821"/>
                  </a:lnTo>
                  <a:lnTo>
                    <a:pt x="10614" y="15748"/>
                  </a:lnTo>
                  <a:lnTo>
                    <a:pt x="10756" y="15669"/>
                  </a:lnTo>
                  <a:lnTo>
                    <a:pt x="10903" y="15584"/>
                  </a:lnTo>
                  <a:lnTo>
                    <a:pt x="11053" y="15498"/>
                  </a:lnTo>
                  <a:lnTo>
                    <a:pt x="11202" y="15411"/>
                  </a:lnTo>
                  <a:lnTo>
                    <a:pt x="11344" y="15328"/>
                  </a:lnTo>
                  <a:lnTo>
                    <a:pt x="11477" y="15249"/>
                  </a:lnTo>
                  <a:lnTo>
                    <a:pt x="11597" y="15176"/>
                  </a:lnTo>
                  <a:lnTo>
                    <a:pt x="11700" y="15111"/>
                  </a:lnTo>
                  <a:lnTo>
                    <a:pt x="11781" y="15060"/>
                  </a:lnTo>
                  <a:lnTo>
                    <a:pt x="11813" y="15038"/>
                  </a:lnTo>
                  <a:lnTo>
                    <a:pt x="11838" y="15021"/>
                  </a:lnTo>
                  <a:lnTo>
                    <a:pt x="11857" y="15007"/>
                  </a:lnTo>
                  <a:lnTo>
                    <a:pt x="11867" y="14997"/>
                  </a:lnTo>
                  <a:lnTo>
                    <a:pt x="11879" y="14991"/>
                  </a:lnTo>
                  <a:lnTo>
                    <a:pt x="11898" y="14982"/>
                  </a:lnTo>
                  <a:lnTo>
                    <a:pt x="11919" y="14970"/>
                  </a:lnTo>
                  <a:lnTo>
                    <a:pt x="11947" y="14954"/>
                  </a:lnTo>
                  <a:lnTo>
                    <a:pt x="12012" y="14913"/>
                  </a:lnTo>
                  <a:lnTo>
                    <a:pt x="12090" y="14864"/>
                  </a:lnTo>
                  <a:lnTo>
                    <a:pt x="12179" y="14806"/>
                  </a:lnTo>
                  <a:lnTo>
                    <a:pt x="12276" y="14741"/>
                  </a:lnTo>
                  <a:lnTo>
                    <a:pt x="12379" y="14672"/>
                  </a:lnTo>
                  <a:lnTo>
                    <a:pt x="12485" y="14600"/>
                  </a:lnTo>
                  <a:lnTo>
                    <a:pt x="12590" y="14528"/>
                  </a:lnTo>
                  <a:lnTo>
                    <a:pt x="12694" y="14457"/>
                  </a:lnTo>
                  <a:lnTo>
                    <a:pt x="12791" y="14388"/>
                  </a:lnTo>
                  <a:lnTo>
                    <a:pt x="12883" y="14324"/>
                  </a:lnTo>
                  <a:lnTo>
                    <a:pt x="12963" y="14267"/>
                  </a:lnTo>
                  <a:lnTo>
                    <a:pt x="13031" y="14218"/>
                  </a:lnTo>
                  <a:lnTo>
                    <a:pt x="13083" y="14179"/>
                  </a:lnTo>
                  <a:lnTo>
                    <a:pt x="13116" y="14152"/>
                  </a:lnTo>
                  <a:lnTo>
                    <a:pt x="13131" y="14143"/>
                  </a:lnTo>
                  <a:lnTo>
                    <a:pt x="13152" y="14131"/>
                  </a:lnTo>
                  <a:lnTo>
                    <a:pt x="13179" y="14112"/>
                  </a:lnTo>
                  <a:lnTo>
                    <a:pt x="13212" y="14088"/>
                  </a:lnTo>
                  <a:lnTo>
                    <a:pt x="13294" y="14030"/>
                  </a:lnTo>
                  <a:lnTo>
                    <a:pt x="13392" y="13958"/>
                  </a:lnTo>
                  <a:lnTo>
                    <a:pt x="13505" y="13873"/>
                  </a:lnTo>
                  <a:lnTo>
                    <a:pt x="13628" y="13779"/>
                  </a:lnTo>
                  <a:lnTo>
                    <a:pt x="13758" y="13680"/>
                  </a:lnTo>
                  <a:lnTo>
                    <a:pt x="13891" y="13578"/>
                  </a:lnTo>
                  <a:lnTo>
                    <a:pt x="14024" y="13475"/>
                  </a:lnTo>
                  <a:lnTo>
                    <a:pt x="14153" y="13374"/>
                  </a:lnTo>
                  <a:lnTo>
                    <a:pt x="14274" y="13278"/>
                  </a:lnTo>
                  <a:lnTo>
                    <a:pt x="14385" y="13190"/>
                  </a:lnTo>
                  <a:lnTo>
                    <a:pt x="14481" y="13112"/>
                  </a:lnTo>
                  <a:lnTo>
                    <a:pt x="14559" y="13048"/>
                  </a:lnTo>
                  <a:lnTo>
                    <a:pt x="14590" y="13022"/>
                  </a:lnTo>
                  <a:lnTo>
                    <a:pt x="14615" y="13000"/>
                  </a:lnTo>
                  <a:lnTo>
                    <a:pt x="14634" y="12982"/>
                  </a:lnTo>
                  <a:lnTo>
                    <a:pt x="14645" y="12970"/>
                  </a:lnTo>
                  <a:lnTo>
                    <a:pt x="14658" y="12963"/>
                  </a:lnTo>
                  <a:lnTo>
                    <a:pt x="14673" y="12954"/>
                  </a:lnTo>
                  <a:lnTo>
                    <a:pt x="14690" y="12942"/>
                  </a:lnTo>
                  <a:lnTo>
                    <a:pt x="14708" y="12928"/>
                  </a:lnTo>
                  <a:lnTo>
                    <a:pt x="14751" y="12895"/>
                  </a:lnTo>
                  <a:lnTo>
                    <a:pt x="14802" y="12854"/>
                  </a:lnTo>
                  <a:lnTo>
                    <a:pt x="14857" y="12807"/>
                  </a:lnTo>
                  <a:lnTo>
                    <a:pt x="14917" y="12756"/>
                  </a:lnTo>
                  <a:lnTo>
                    <a:pt x="14979" y="12701"/>
                  </a:lnTo>
                  <a:lnTo>
                    <a:pt x="15044" y="12645"/>
                  </a:lnTo>
                  <a:lnTo>
                    <a:pt x="15110" y="12587"/>
                  </a:lnTo>
                  <a:lnTo>
                    <a:pt x="15175" y="12530"/>
                  </a:lnTo>
                  <a:lnTo>
                    <a:pt x="15238" y="12475"/>
                  </a:lnTo>
                  <a:lnTo>
                    <a:pt x="15298" y="12421"/>
                  </a:lnTo>
                  <a:lnTo>
                    <a:pt x="15354" y="12372"/>
                  </a:lnTo>
                  <a:lnTo>
                    <a:pt x="15405" y="12328"/>
                  </a:lnTo>
                  <a:lnTo>
                    <a:pt x="15451" y="12291"/>
                  </a:lnTo>
                  <a:lnTo>
                    <a:pt x="15487" y="12261"/>
                  </a:lnTo>
                  <a:lnTo>
                    <a:pt x="15508" y="12245"/>
                  </a:lnTo>
                  <a:lnTo>
                    <a:pt x="15520" y="12233"/>
                  </a:lnTo>
                  <a:lnTo>
                    <a:pt x="15534" y="12220"/>
                  </a:lnTo>
                  <a:lnTo>
                    <a:pt x="15555" y="12200"/>
                  </a:lnTo>
                  <a:lnTo>
                    <a:pt x="15765" y="12013"/>
                  </a:lnTo>
                  <a:lnTo>
                    <a:pt x="15798" y="11979"/>
                  </a:lnTo>
                  <a:lnTo>
                    <a:pt x="15830" y="11947"/>
                  </a:lnTo>
                  <a:lnTo>
                    <a:pt x="15863" y="11915"/>
                  </a:lnTo>
                  <a:lnTo>
                    <a:pt x="15895" y="11884"/>
                  </a:lnTo>
                  <a:lnTo>
                    <a:pt x="15927" y="11853"/>
                  </a:lnTo>
                  <a:lnTo>
                    <a:pt x="15959" y="11823"/>
                  </a:lnTo>
                  <a:lnTo>
                    <a:pt x="15992" y="11790"/>
                  </a:lnTo>
                  <a:lnTo>
                    <a:pt x="16025" y="11758"/>
                  </a:lnTo>
                  <a:lnTo>
                    <a:pt x="16052" y="11733"/>
                  </a:lnTo>
                  <a:lnTo>
                    <a:pt x="16089" y="11696"/>
                  </a:lnTo>
                  <a:lnTo>
                    <a:pt x="16136" y="11649"/>
                  </a:lnTo>
                  <a:lnTo>
                    <a:pt x="16190" y="11595"/>
                  </a:lnTo>
                  <a:lnTo>
                    <a:pt x="16248" y="11535"/>
                  </a:lnTo>
                  <a:lnTo>
                    <a:pt x="16311" y="11470"/>
                  </a:lnTo>
                  <a:lnTo>
                    <a:pt x="16377" y="11403"/>
                  </a:lnTo>
                  <a:lnTo>
                    <a:pt x="16443" y="11335"/>
                  </a:lnTo>
                  <a:lnTo>
                    <a:pt x="16508" y="11268"/>
                  </a:lnTo>
                  <a:lnTo>
                    <a:pt x="16571" y="11202"/>
                  </a:lnTo>
                  <a:lnTo>
                    <a:pt x="16629" y="11140"/>
                  </a:lnTo>
                  <a:lnTo>
                    <a:pt x="16681" y="11084"/>
                  </a:lnTo>
                  <a:lnTo>
                    <a:pt x="16726" y="11036"/>
                  </a:lnTo>
                  <a:lnTo>
                    <a:pt x="16761" y="10997"/>
                  </a:lnTo>
                  <a:lnTo>
                    <a:pt x="16786" y="10969"/>
                  </a:lnTo>
                  <a:lnTo>
                    <a:pt x="16797" y="10953"/>
                  </a:lnTo>
                  <a:lnTo>
                    <a:pt x="16818" y="10935"/>
                  </a:lnTo>
                  <a:lnTo>
                    <a:pt x="16837" y="10915"/>
                  </a:lnTo>
                  <a:lnTo>
                    <a:pt x="16856" y="10896"/>
                  </a:lnTo>
                  <a:lnTo>
                    <a:pt x="16874" y="10875"/>
                  </a:lnTo>
                  <a:lnTo>
                    <a:pt x="16908" y="10833"/>
                  </a:lnTo>
                  <a:lnTo>
                    <a:pt x="16943" y="10789"/>
                  </a:lnTo>
                  <a:lnTo>
                    <a:pt x="17006" y="10707"/>
                  </a:lnTo>
                  <a:lnTo>
                    <a:pt x="17067" y="10626"/>
                  </a:lnTo>
                  <a:lnTo>
                    <a:pt x="17128" y="10543"/>
                  </a:lnTo>
                  <a:lnTo>
                    <a:pt x="17185" y="10462"/>
                  </a:lnTo>
                  <a:lnTo>
                    <a:pt x="17214" y="10421"/>
                  </a:lnTo>
                  <a:lnTo>
                    <a:pt x="17241" y="10379"/>
                  </a:lnTo>
                  <a:lnTo>
                    <a:pt x="17269" y="10337"/>
                  </a:lnTo>
                  <a:lnTo>
                    <a:pt x="17295" y="10296"/>
                  </a:lnTo>
                  <a:lnTo>
                    <a:pt x="17321" y="10254"/>
                  </a:lnTo>
                  <a:lnTo>
                    <a:pt x="17347" y="10211"/>
                  </a:lnTo>
                  <a:lnTo>
                    <a:pt x="17372" y="10169"/>
                  </a:lnTo>
                  <a:lnTo>
                    <a:pt x="17396" y="10125"/>
                  </a:lnTo>
                  <a:lnTo>
                    <a:pt x="17419" y="10081"/>
                  </a:lnTo>
                  <a:lnTo>
                    <a:pt x="17442" y="10037"/>
                  </a:lnTo>
                  <a:lnTo>
                    <a:pt x="17463" y="9992"/>
                  </a:lnTo>
                  <a:lnTo>
                    <a:pt x="17485" y="9946"/>
                  </a:lnTo>
                  <a:lnTo>
                    <a:pt x="17505" y="9900"/>
                  </a:lnTo>
                  <a:lnTo>
                    <a:pt x="17524" y="9853"/>
                  </a:lnTo>
                  <a:lnTo>
                    <a:pt x="17543" y="9805"/>
                  </a:lnTo>
                  <a:lnTo>
                    <a:pt x="17561" y="9757"/>
                  </a:lnTo>
                  <a:lnTo>
                    <a:pt x="17578" y="9708"/>
                  </a:lnTo>
                  <a:lnTo>
                    <a:pt x="17594" y="9657"/>
                  </a:lnTo>
                  <a:lnTo>
                    <a:pt x="17609" y="9606"/>
                  </a:lnTo>
                  <a:lnTo>
                    <a:pt x="17622" y="9553"/>
                  </a:lnTo>
                  <a:lnTo>
                    <a:pt x="17636" y="9501"/>
                  </a:lnTo>
                  <a:lnTo>
                    <a:pt x="17648" y="9446"/>
                  </a:lnTo>
                  <a:lnTo>
                    <a:pt x="17659" y="9391"/>
                  </a:lnTo>
                  <a:lnTo>
                    <a:pt x="17669" y="9334"/>
                  </a:lnTo>
                  <a:lnTo>
                    <a:pt x="17673" y="9309"/>
                  </a:lnTo>
                  <a:lnTo>
                    <a:pt x="17675" y="9283"/>
                  </a:lnTo>
                  <a:lnTo>
                    <a:pt x="17675" y="9255"/>
                  </a:lnTo>
                  <a:lnTo>
                    <a:pt x="17674" y="9226"/>
                  </a:lnTo>
                  <a:lnTo>
                    <a:pt x="17672" y="9196"/>
                  </a:lnTo>
                  <a:lnTo>
                    <a:pt x="17669" y="9165"/>
                  </a:lnTo>
                  <a:lnTo>
                    <a:pt x="17665" y="9133"/>
                  </a:lnTo>
                  <a:lnTo>
                    <a:pt x="17659" y="9101"/>
                  </a:lnTo>
                  <a:lnTo>
                    <a:pt x="17653" y="9068"/>
                  </a:lnTo>
                  <a:lnTo>
                    <a:pt x="17645" y="9034"/>
                  </a:lnTo>
                  <a:lnTo>
                    <a:pt x="17637" y="8999"/>
                  </a:lnTo>
                  <a:lnTo>
                    <a:pt x="17629" y="8965"/>
                  </a:lnTo>
                  <a:lnTo>
                    <a:pt x="17609" y="8895"/>
                  </a:lnTo>
                  <a:lnTo>
                    <a:pt x="17587" y="8825"/>
                  </a:lnTo>
                  <a:lnTo>
                    <a:pt x="17563" y="8757"/>
                  </a:lnTo>
                  <a:lnTo>
                    <a:pt x="17539" y="8689"/>
                  </a:lnTo>
                  <a:lnTo>
                    <a:pt x="17513" y="8624"/>
                  </a:lnTo>
                  <a:lnTo>
                    <a:pt x="17487" y="8563"/>
                  </a:lnTo>
                  <a:lnTo>
                    <a:pt x="17462" y="8506"/>
                  </a:lnTo>
                  <a:lnTo>
                    <a:pt x="17437" y="8455"/>
                  </a:lnTo>
                  <a:lnTo>
                    <a:pt x="17415" y="8408"/>
                  </a:lnTo>
                  <a:lnTo>
                    <a:pt x="17394" y="8369"/>
                  </a:lnTo>
                  <a:lnTo>
                    <a:pt x="17360" y="8310"/>
                  </a:lnTo>
                  <a:lnTo>
                    <a:pt x="17328" y="8254"/>
                  </a:lnTo>
                  <a:lnTo>
                    <a:pt x="17297" y="8203"/>
                  </a:lnTo>
                  <a:lnTo>
                    <a:pt x="17268" y="8155"/>
                  </a:lnTo>
                  <a:lnTo>
                    <a:pt x="17239" y="8109"/>
                  </a:lnTo>
                  <a:lnTo>
                    <a:pt x="17210" y="8066"/>
                  </a:lnTo>
                  <a:lnTo>
                    <a:pt x="17182" y="8023"/>
                  </a:lnTo>
                  <a:lnTo>
                    <a:pt x="17153" y="7981"/>
                  </a:lnTo>
                  <a:lnTo>
                    <a:pt x="17123" y="7941"/>
                  </a:lnTo>
                  <a:lnTo>
                    <a:pt x="17093" y="7900"/>
                  </a:lnTo>
                  <a:lnTo>
                    <a:pt x="17062" y="7858"/>
                  </a:lnTo>
                  <a:lnTo>
                    <a:pt x="17029" y="7816"/>
                  </a:lnTo>
                  <a:lnTo>
                    <a:pt x="16958" y="7727"/>
                  </a:lnTo>
                  <a:lnTo>
                    <a:pt x="16877" y="7627"/>
                  </a:lnTo>
                  <a:lnTo>
                    <a:pt x="16843" y="7585"/>
                  </a:lnTo>
                  <a:lnTo>
                    <a:pt x="16805" y="7540"/>
                  </a:lnTo>
                  <a:lnTo>
                    <a:pt x="16766" y="7493"/>
                  </a:lnTo>
                  <a:lnTo>
                    <a:pt x="16725" y="7446"/>
                  </a:lnTo>
                  <a:lnTo>
                    <a:pt x="16641" y="7350"/>
                  </a:lnTo>
                  <a:lnTo>
                    <a:pt x="16551" y="7253"/>
                  </a:lnTo>
                  <a:lnTo>
                    <a:pt x="16462" y="7157"/>
                  </a:lnTo>
                  <a:lnTo>
                    <a:pt x="16373" y="7065"/>
                  </a:lnTo>
                  <a:lnTo>
                    <a:pt x="16287" y="6978"/>
                  </a:lnTo>
                  <a:lnTo>
                    <a:pt x="16207" y="6899"/>
                  </a:lnTo>
                  <a:lnTo>
                    <a:pt x="16179" y="6872"/>
                  </a:lnTo>
                  <a:lnTo>
                    <a:pt x="16153" y="6842"/>
                  </a:lnTo>
                  <a:lnTo>
                    <a:pt x="16127" y="6811"/>
                  </a:lnTo>
                  <a:lnTo>
                    <a:pt x="16099" y="6779"/>
                  </a:lnTo>
                  <a:lnTo>
                    <a:pt x="16071" y="6747"/>
                  </a:lnTo>
                  <a:lnTo>
                    <a:pt x="16042" y="6715"/>
                  </a:lnTo>
                  <a:lnTo>
                    <a:pt x="16011" y="6683"/>
                  </a:lnTo>
                  <a:lnTo>
                    <a:pt x="15979" y="6652"/>
                  </a:lnTo>
                  <a:lnTo>
                    <a:pt x="14313" y="5186"/>
                  </a:lnTo>
                  <a:lnTo>
                    <a:pt x="14230" y="5121"/>
                  </a:lnTo>
                  <a:lnTo>
                    <a:pt x="14144" y="5052"/>
                  </a:lnTo>
                  <a:lnTo>
                    <a:pt x="14058" y="4981"/>
                  </a:lnTo>
                  <a:lnTo>
                    <a:pt x="13972" y="4911"/>
                  </a:lnTo>
                  <a:lnTo>
                    <a:pt x="13885" y="4840"/>
                  </a:lnTo>
                  <a:lnTo>
                    <a:pt x="13797" y="4769"/>
                  </a:lnTo>
                  <a:lnTo>
                    <a:pt x="13709" y="4700"/>
                  </a:lnTo>
                  <a:lnTo>
                    <a:pt x="13622" y="4634"/>
                  </a:lnTo>
                  <a:lnTo>
                    <a:pt x="13528" y="4565"/>
                  </a:lnTo>
                  <a:lnTo>
                    <a:pt x="13437" y="4496"/>
                  </a:lnTo>
                  <a:lnTo>
                    <a:pt x="13348" y="4430"/>
                  </a:lnTo>
                  <a:lnTo>
                    <a:pt x="13259" y="4364"/>
                  </a:lnTo>
                  <a:lnTo>
                    <a:pt x="13172" y="4299"/>
                  </a:lnTo>
                  <a:lnTo>
                    <a:pt x="13085" y="4234"/>
                  </a:lnTo>
                  <a:lnTo>
                    <a:pt x="12999" y="4170"/>
                  </a:lnTo>
                  <a:lnTo>
                    <a:pt x="12913" y="4107"/>
                  </a:lnTo>
                  <a:lnTo>
                    <a:pt x="12826" y="4043"/>
                  </a:lnTo>
                  <a:lnTo>
                    <a:pt x="12738" y="3980"/>
                  </a:lnTo>
                  <a:lnTo>
                    <a:pt x="12650" y="3916"/>
                  </a:lnTo>
                  <a:lnTo>
                    <a:pt x="12559" y="3852"/>
                  </a:lnTo>
                  <a:lnTo>
                    <a:pt x="12468" y="3787"/>
                  </a:lnTo>
                  <a:lnTo>
                    <a:pt x="12373" y="3722"/>
                  </a:lnTo>
                  <a:lnTo>
                    <a:pt x="12276" y="3655"/>
                  </a:lnTo>
                  <a:lnTo>
                    <a:pt x="12177" y="3589"/>
                  </a:lnTo>
                  <a:lnTo>
                    <a:pt x="12083" y="3525"/>
                  </a:lnTo>
                  <a:lnTo>
                    <a:pt x="11988" y="3463"/>
                  </a:lnTo>
                  <a:lnTo>
                    <a:pt x="11893" y="3402"/>
                  </a:lnTo>
                  <a:lnTo>
                    <a:pt x="11798" y="3340"/>
                  </a:lnTo>
                  <a:lnTo>
                    <a:pt x="11702" y="3280"/>
                  </a:lnTo>
                  <a:lnTo>
                    <a:pt x="11606" y="3219"/>
                  </a:lnTo>
                  <a:lnTo>
                    <a:pt x="11509" y="3158"/>
                  </a:lnTo>
                  <a:lnTo>
                    <a:pt x="11411" y="3097"/>
                  </a:lnTo>
                  <a:lnTo>
                    <a:pt x="11318" y="3037"/>
                  </a:lnTo>
                  <a:lnTo>
                    <a:pt x="11222" y="2979"/>
                  </a:lnTo>
                  <a:lnTo>
                    <a:pt x="11125" y="2920"/>
                  </a:lnTo>
                  <a:lnTo>
                    <a:pt x="11028" y="2863"/>
                  </a:lnTo>
                  <a:lnTo>
                    <a:pt x="10930" y="2806"/>
                  </a:lnTo>
                  <a:lnTo>
                    <a:pt x="10831" y="2749"/>
                  </a:lnTo>
                  <a:lnTo>
                    <a:pt x="10732" y="2692"/>
                  </a:lnTo>
                  <a:lnTo>
                    <a:pt x="10631" y="2635"/>
                  </a:lnTo>
                  <a:lnTo>
                    <a:pt x="10529" y="2579"/>
                  </a:lnTo>
                  <a:lnTo>
                    <a:pt x="10427" y="2523"/>
                  </a:lnTo>
                  <a:lnTo>
                    <a:pt x="10326" y="2468"/>
                  </a:lnTo>
                  <a:lnTo>
                    <a:pt x="10223" y="2413"/>
                  </a:lnTo>
                  <a:lnTo>
                    <a:pt x="10120" y="2359"/>
                  </a:lnTo>
                  <a:lnTo>
                    <a:pt x="10015" y="2305"/>
                  </a:lnTo>
                  <a:lnTo>
                    <a:pt x="9911" y="2251"/>
                  </a:lnTo>
                  <a:lnTo>
                    <a:pt x="9807" y="2198"/>
                  </a:lnTo>
                  <a:lnTo>
                    <a:pt x="9735" y="2162"/>
                  </a:lnTo>
                  <a:lnTo>
                    <a:pt x="9660" y="2124"/>
                  </a:lnTo>
                  <a:lnTo>
                    <a:pt x="9583" y="2086"/>
                  </a:lnTo>
                  <a:lnTo>
                    <a:pt x="9504" y="2047"/>
                  </a:lnTo>
                  <a:lnTo>
                    <a:pt x="9423" y="2010"/>
                  </a:lnTo>
                  <a:lnTo>
                    <a:pt x="9340" y="1971"/>
                  </a:lnTo>
                  <a:lnTo>
                    <a:pt x="9258" y="1932"/>
                  </a:lnTo>
                  <a:lnTo>
                    <a:pt x="9174" y="1893"/>
                  </a:lnTo>
                  <a:lnTo>
                    <a:pt x="9091" y="1855"/>
                  </a:lnTo>
                  <a:lnTo>
                    <a:pt x="9006" y="1816"/>
                  </a:lnTo>
                  <a:lnTo>
                    <a:pt x="8923" y="1780"/>
                  </a:lnTo>
                  <a:lnTo>
                    <a:pt x="8840" y="1743"/>
                  </a:lnTo>
                  <a:lnTo>
                    <a:pt x="8759" y="1707"/>
                  </a:lnTo>
                  <a:lnTo>
                    <a:pt x="8679" y="1673"/>
                  </a:lnTo>
                  <a:lnTo>
                    <a:pt x="8600" y="1640"/>
                  </a:lnTo>
                  <a:lnTo>
                    <a:pt x="8523" y="1608"/>
                  </a:lnTo>
                  <a:lnTo>
                    <a:pt x="8472" y="1587"/>
                  </a:lnTo>
                  <a:lnTo>
                    <a:pt x="8417" y="1562"/>
                  </a:lnTo>
                  <a:lnTo>
                    <a:pt x="8360" y="1537"/>
                  </a:lnTo>
                  <a:lnTo>
                    <a:pt x="8300" y="1511"/>
                  </a:lnTo>
                  <a:lnTo>
                    <a:pt x="8242" y="1485"/>
                  </a:lnTo>
                  <a:lnTo>
                    <a:pt x="8184" y="1461"/>
                  </a:lnTo>
                  <a:lnTo>
                    <a:pt x="8156" y="1451"/>
                  </a:lnTo>
                  <a:lnTo>
                    <a:pt x="8129" y="1442"/>
                  </a:lnTo>
                  <a:lnTo>
                    <a:pt x="8102" y="1433"/>
                  </a:lnTo>
                  <a:lnTo>
                    <a:pt x="8078" y="1426"/>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9" name="Freeform 5">
              <a:extLst>
                <a:ext uri="{FF2B5EF4-FFF2-40B4-BE49-F238E27FC236}">
                  <a16:creationId xmlns:a16="http://schemas.microsoft.com/office/drawing/2014/main" id="{94342B81-04B5-4FCB-A094-2CD01E325366}"/>
                </a:ext>
              </a:extLst>
            </p:cNvPr>
            <p:cNvSpPr>
              <a:spLocks/>
            </p:cNvSpPr>
            <p:nvPr/>
          </p:nvSpPr>
          <p:spPr bwMode="auto">
            <a:xfrm>
              <a:off x="1197064" y="3421099"/>
              <a:ext cx="263057" cy="272508"/>
            </a:xfrm>
            <a:custGeom>
              <a:avLst/>
              <a:gdLst>
                <a:gd name="T0" fmla="*/ 7371 w 17675"/>
                <a:gd name="T1" fmla="*/ 1125 h 18310"/>
                <a:gd name="T2" fmla="*/ 5959 w 17675"/>
                <a:gd name="T3" fmla="*/ 593 h 18310"/>
                <a:gd name="T4" fmla="*/ 4735 w 17675"/>
                <a:gd name="T5" fmla="*/ 240 h 18310"/>
                <a:gd name="T6" fmla="*/ 3627 w 17675"/>
                <a:gd name="T7" fmla="*/ 54 h 18310"/>
                <a:gd name="T8" fmla="*/ 2806 w 17675"/>
                <a:gd name="T9" fmla="*/ 7 h 18310"/>
                <a:gd name="T10" fmla="*/ 2454 w 17675"/>
                <a:gd name="T11" fmla="*/ 85 h 18310"/>
                <a:gd name="T12" fmla="*/ 2132 w 17675"/>
                <a:gd name="T13" fmla="*/ 262 h 18310"/>
                <a:gd name="T14" fmla="*/ 1838 w 17675"/>
                <a:gd name="T15" fmla="*/ 533 h 18310"/>
                <a:gd name="T16" fmla="*/ 1454 w 17675"/>
                <a:gd name="T17" fmla="*/ 1111 h 18310"/>
                <a:gd name="T18" fmla="*/ 1261 w 17675"/>
                <a:gd name="T19" fmla="*/ 1545 h 18310"/>
                <a:gd name="T20" fmla="*/ 1008 w 17675"/>
                <a:gd name="T21" fmla="*/ 2315 h 18310"/>
                <a:gd name="T22" fmla="*/ 836 w 17675"/>
                <a:gd name="T23" fmla="*/ 2906 h 18310"/>
                <a:gd name="T24" fmla="*/ 683 w 17675"/>
                <a:gd name="T25" fmla="*/ 3519 h 18310"/>
                <a:gd name="T26" fmla="*/ 506 w 17675"/>
                <a:gd name="T27" fmla="*/ 4330 h 18310"/>
                <a:gd name="T28" fmla="*/ 356 w 17675"/>
                <a:gd name="T29" fmla="*/ 5177 h 18310"/>
                <a:gd name="T30" fmla="*/ 199 w 17675"/>
                <a:gd name="T31" fmla="*/ 6352 h 18310"/>
                <a:gd name="T32" fmla="*/ 65 w 17675"/>
                <a:gd name="T33" fmla="*/ 7805 h 18310"/>
                <a:gd name="T34" fmla="*/ 1 w 17675"/>
                <a:gd name="T35" fmla="*/ 9354 h 18310"/>
                <a:gd name="T36" fmla="*/ 54 w 17675"/>
                <a:gd name="T37" fmla="*/ 10490 h 18310"/>
                <a:gd name="T38" fmla="*/ 149 w 17675"/>
                <a:gd name="T39" fmla="*/ 11811 h 18310"/>
                <a:gd name="T40" fmla="*/ 298 w 17675"/>
                <a:gd name="T41" fmla="*/ 13066 h 18310"/>
                <a:gd name="T42" fmla="*/ 650 w 17675"/>
                <a:gd name="T43" fmla="*/ 14979 h 18310"/>
                <a:gd name="T44" fmla="*/ 991 w 17675"/>
                <a:gd name="T45" fmla="*/ 16266 h 18310"/>
                <a:gd name="T46" fmla="*/ 1332 w 17675"/>
                <a:gd name="T47" fmla="*/ 17156 h 18310"/>
                <a:gd name="T48" fmla="*/ 1598 w 17675"/>
                <a:gd name="T49" fmla="*/ 17614 h 18310"/>
                <a:gd name="T50" fmla="*/ 1917 w 17675"/>
                <a:gd name="T51" fmla="*/ 17970 h 18310"/>
                <a:gd name="T52" fmla="*/ 2349 w 17675"/>
                <a:gd name="T53" fmla="*/ 18232 h 18310"/>
                <a:gd name="T54" fmla="*/ 2745 w 17675"/>
                <a:gd name="T55" fmla="*/ 18309 h 18310"/>
                <a:gd name="T56" fmla="*/ 3384 w 17675"/>
                <a:gd name="T57" fmla="*/ 18287 h 18310"/>
                <a:gd name="T58" fmla="*/ 4157 w 17675"/>
                <a:gd name="T59" fmla="*/ 18192 h 18310"/>
                <a:gd name="T60" fmla="*/ 5006 w 17675"/>
                <a:gd name="T61" fmla="*/ 18009 h 18310"/>
                <a:gd name="T62" fmla="*/ 6483 w 17675"/>
                <a:gd name="T63" fmla="*/ 17544 h 18310"/>
                <a:gd name="T64" fmla="*/ 7200 w 17675"/>
                <a:gd name="T65" fmla="*/ 17277 h 18310"/>
                <a:gd name="T66" fmla="*/ 8295 w 17675"/>
                <a:gd name="T67" fmla="*/ 16841 h 18310"/>
                <a:gd name="T68" fmla="*/ 8872 w 17675"/>
                <a:gd name="T69" fmla="*/ 16605 h 18310"/>
                <a:gd name="T70" fmla="*/ 9346 w 17675"/>
                <a:gd name="T71" fmla="*/ 16391 h 18310"/>
                <a:gd name="T72" fmla="*/ 10057 w 17675"/>
                <a:gd name="T73" fmla="*/ 16048 h 18310"/>
                <a:gd name="T74" fmla="*/ 10903 w 17675"/>
                <a:gd name="T75" fmla="*/ 15584 h 18310"/>
                <a:gd name="T76" fmla="*/ 11867 w 17675"/>
                <a:gd name="T77" fmla="*/ 14997 h 18310"/>
                <a:gd name="T78" fmla="*/ 12590 w 17675"/>
                <a:gd name="T79" fmla="*/ 14528 h 18310"/>
                <a:gd name="T80" fmla="*/ 13212 w 17675"/>
                <a:gd name="T81" fmla="*/ 14088 h 18310"/>
                <a:gd name="T82" fmla="*/ 14481 w 17675"/>
                <a:gd name="T83" fmla="*/ 13112 h 18310"/>
                <a:gd name="T84" fmla="*/ 14802 w 17675"/>
                <a:gd name="T85" fmla="*/ 12854 h 18310"/>
                <a:gd name="T86" fmla="*/ 15451 w 17675"/>
                <a:gd name="T87" fmla="*/ 12291 h 18310"/>
                <a:gd name="T88" fmla="*/ 15927 w 17675"/>
                <a:gd name="T89" fmla="*/ 11853 h 18310"/>
                <a:gd name="T90" fmla="*/ 16443 w 17675"/>
                <a:gd name="T91" fmla="*/ 11335 h 18310"/>
                <a:gd name="T92" fmla="*/ 16856 w 17675"/>
                <a:gd name="T93" fmla="*/ 10896 h 18310"/>
                <a:gd name="T94" fmla="*/ 17295 w 17675"/>
                <a:gd name="T95" fmla="*/ 10296 h 18310"/>
                <a:gd name="T96" fmla="*/ 17543 w 17675"/>
                <a:gd name="T97" fmla="*/ 9805 h 18310"/>
                <a:gd name="T98" fmla="*/ 17675 w 17675"/>
                <a:gd name="T99" fmla="*/ 9283 h 18310"/>
                <a:gd name="T100" fmla="*/ 17609 w 17675"/>
                <a:gd name="T101" fmla="*/ 8895 h 18310"/>
                <a:gd name="T102" fmla="*/ 17328 w 17675"/>
                <a:gd name="T103" fmla="*/ 8254 h 18310"/>
                <a:gd name="T104" fmla="*/ 16958 w 17675"/>
                <a:gd name="T105" fmla="*/ 7727 h 18310"/>
                <a:gd name="T106" fmla="*/ 16207 w 17675"/>
                <a:gd name="T107" fmla="*/ 6899 h 18310"/>
                <a:gd name="T108" fmla="*/ 14144 w 17675"/>
                <a:gd name="T109" fmla="*/ 5052 h 18310"/>
                <a:gd name="T110" fmla="*/ 13172 w 17675"/>
                <a:gd name="T111" fmla="*/ 4299 h 18310"/>
                <a:gd name="T112" fmla="*/ 12177 w 17675"/>
                <a:gd name="T113" fmla="*/ 3589 h 18310"/>
                <a:gd name="T114" fmla="*/ 11125 w 17675"/>
                <a:gd name="T115" fmla="*/ 2920 h 18310"/>
                <a:gd name="T116" fmla="*/ 10015 w 17675"/>
                <a:gd name="T117" fmla="*/ 2305 h 18310"/>
                <a:gd name="T118" fmla="*/ 9091 w 17675"/>
                <a:gd name="T119" fmla="*/ 1855 h 18310"/>
                <a:gd name="T120" fmla="*/ 8300 w 17675"/>
                <a:gd name="T121" fmla="*/ 1511 h 18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7675" h="18310">
                  <a:moveTo>
                    <a:pt x="8078" y="1426"/>
                  </a:moveTo>
                  <a:lnTo>
                    <a:pt x="8047" y="1409"/>
                  </a:lnTo>
                  <a:lnTo>
                    <a:pt x="8014" y="1392"/>
                  </a:lnTo>
                  <a:lnTo>
                    <a:pt x="7978" y="1376"/>
                  </a:lnTo>
                  <a:lnTo>
                    <a:pt x="7940" y="1360"/>
                  </a:lnTo>
                  <a:lnTo>
                    <a:pt x="7901" y="1345"/>
                  </a:lnTo>
                  <a:lnTo>
                    <a:pt x="7862" y="1330"/>
                  </a:lnTo>
                  <a:lnTo>
                    <a:pt x="7825" y="1315"/>
                  </a:lnTo>
                  <a:lnTo>
                    <a:pt x="7791" y="1301"/>
                  </a:lnTo>
                  <a:lnTo>
                    <a:pt x="7583" y="1213"/>
                  </a:lnTo>
                  <a:lnTo>
                    <a:pt x="7371" y="1125"/>
                  </a:lnTo>
                  <a:lnTo>
                    <a:pt x="7158" y="1038"/>
                  </a:lnTo>
                  <a:lnTo>
                    <a:pt x="6943" y="953"/>
                  </a:lnTo>
                  <a:lnTo>
                    <a:pt x="6836" y="911"/>
                  </a:lnTo>
                  <a:lnTo>
                    <a:pt x="6727" y="869"/>
                  </a:lnTo>
                  <a:lnTo>
                    <a:pt x="6618" y="827"/>
                  </a:lnTo>
                  <a:lnTo>
                    <a:pt x="6508" y="787"/>
                  </a:lnTo>
                  <a:lnTo>
                    <a:pt x="6400" y="747"/>
                  </a:lnTo>
                  <a:lnTo>
                    <a:pt x="6290" y="707"/>
                  </a:lnTo>
                  <a:lnTo>
                    <a:pt x="6180" y="668"/>
                  </a:lnTo>
                  <a:lnTo>
                    <a:pt x="6070" y="631"/>
                  </a:lnTo>
                  <a:lnTo>
                    <a:pt x="5959" y="593"/>
                  </a:lnTo>
                  <a:lnTo>
                    <a:pt x="5848" y="556"/>
                  </a:lnTo>
                  <a:lnTo>
                    <a:pt x="5737" y="521"/>
                  </a:lnTo>
                  <a:lnTo>
                    <a:pt x="5626" y="485"/>
                  </a:lnTo>
                  <a:lnTo>
                    <a:pt x="5515" y="451"/>
                  </a:lnTo>
                  <a:lnTo>
                    <a:pt x="5404" y="418"/>
                  </a:lnTo>
                  <a:lnTo>
                    <a:pt x="5292" y="386"/>
                  </a:lnTo>
                  <a:lnTo>
                    <a:pt x="5181" y="355"/>
                  </a:lnTo>
                  <a:lnTo>
                    <a:pt x="5069" y="324"/>
                  </a:lnTo>
                  <a:lnTo>
                    <a:pt x="4958" y="295"/>
                  </a:lnTo>
                  <a:lnTo>
                    <a:pt x="4846" y="267"/>
                  </a:lnTo>
                  <a:lnTo>
                    <a:pt x="4735" y="240"/>
                  </a:lnTo>
                  <a:lnTo>
                    <a:pt x="4623" y="215"/>
                  </a:lnTo>
                  <a:lnTo>
                    <a:pt x="4511" y="191"/>
                  </a:lnTo>
                  <a:lnTo>
                    <a:pt x="4400" y="168"/>
                  </a:lnTo>
                  <a:lnTo>
                    <a:pt x="4287" y="146"/>
                  </a:lnTo>
                  <a:lnTo>
                    <a:pt x="4234" y="136"/>
                  </a:lnTo>
                  <a:lnTo>
                    <a:pt x="4162" y="125"/>
                  </a:lnTo>
                  <a:lnTo>
                    <a:pt x="4075" y="112"/>
                  </a:lnTo>
                  <a:lnTo>
                    <a:pt x="3975" y="98"/>
                  </a:lnTo>
                  <a:lnTo>
                    <a:pt x="3865" y="84"/>
                  </a:lnTo>
                  <a:lnTo>
                    <a:pt x="3749" y="69"/>
                  </a:lnTo>
                  <a:lnTo>
                    <a:pt x="3627" y="54"/>
                  </a:lnTo>
                  <a:lnTo>
                    <a:pt x="3504" y="40"/>
                  </a:lnTo>
                  <a:lnTo>
                    <a:pt x="3381" y="27"/>
                  </a:lnTo>
                  <a:lnTo>
                    <a:pt x="3262" y="17"/>
                  </a:lnTo>
                  <a:lnTo>
                    <a:pt x="3148" y="8"/>
                  </a:lnTo>
                  <a:lnTo>
                    <a:pt x="3043" y="2"/>
                  </a:lnTo>
                  <a:lnTo>
                    <a:pt x="2994" y="1"/>
                  </a:lnTo>
                  <a:lnTo>
                    <a:pt x="2949" y="0"/>
                  </a:lnTo>
                  <a:lnTo>
                    <a:pt x="2908" y="0"/>
                  </a:lnTo>
                  <a:lnTo>
                    <a:pt x="2869" y="1"/>
                  </a:lnTo>
                  <a:lnTo>
                    <a:pt x="2834" y="3"/>
                  </a:lnTo>
                  <a:lnTo>
                    <a:pt x="2806" y="7"/>
                  </a:lnTo>
                  <a:lnTo>
                    <a:pt x="2780" y="11"/>
                  </a:lnTo>
                  <a:lnTo>
                    <a:pt x="2761" y="17"/>
                  </a:lnTo>
                  <a:lnTo>
                    <a:pt x="2724" y="19"/>
                  </a:lnTo>
                  <a:lnTo>
                    <a:pt x="2689" y="24"/>
                  </a:lnTo>
                  <a:lnTo>
                    <a:pt x="2655" y="29"/>
                  </a:lnTo>
                  <a:lnTo>
                    <a:pt x="2620" y="35"/>
                  </a:lnTo>
                  <a:lnTo>
                    <a:pt x="2586" y="43"/>
                  </a:lnTo>
                  <a:lnTo>
                    <a:pt x="2552" y="53"/>
                  </a:lnTo>
                  <a:lnTo>
                    <a:pt x="2518" y="63"/>
                  </a:lnTo>
                  <a:lnTo>
                    <a:pt x="2486" y="73"/>
                  </a:lnTo>
                  <a:lnTo>
                    <a:pt x="2454" y="85"/>
                  </a:lnTo>
                  <a:lnTo>
                    <a:pt x="2423" y="97"/>
                  </a:lnTo>
                  <a:lnTo>
                    <a:pt x="2393" y="111"/>
                  </a:lnTo>
                  <a:lnTo>
                    <a:pt x="2363" y="125"/>
                  </a:lnTo>
                  <a:lnTo>
                    <a:pt x="2333" y="138"/>
                  </a:lnTo>
                  <a:lnTo>
                    <a:pt x="2306" y="153"/>
                  </a:lnTo>
                  <a:lnTo>
                    <a:pt x="2278" y="169"/>
                  </a:lnTo>
                  <a:lnTo>
                    <a:pt x="2252" y="184"/>
                  </a:lnTo>
                  <a:lnTo>
                    <a:pt x="2218" y="205"/>
                  </a:lnTo>
                  <a:lnTo>
                    <a:pt x="2187" y="224"/>
                  </a:lnTo>
                  <a:lnTo>
                    <a:pt x="2158" y="244"/>
                  </a:lnTo>
                  <a:lnTo>
                    <a:pt x="2132" y="262"/>
                  </a:lnTo>
                  <a:lnTo>
                    <a:pt x="2108" y="280"/>
                  </a:lnTo>
                  <a:lnTo>
                    <a:pt x="2086" y="298"/>
                  </a:lnTo>
                  <a:lnTo>
                    <a:pt x="2065" y="315"/>
                  </a:lnTo>
                  <a:lnTo>
                    <a:pt x="2046" y="332"/>
                  </a:lnTo>
                  <a:lnTo>
                    <a:pt x="2007" y="367"/>
                  </a:lnTo>
                  <a:lnTo>
                    <a:pt x="1968" y="405"/>
                  </a:lnTo>
                  <a:lnTo>
                    <a:pt x="1927" y="446"/>
                  </a:lnTo>
                  <a:lnTo>
                    <a:pt x="1878" y="491"/>
                  </a:lnTo>
                  <a:lnTo>
                    <a:pt x="1866" y="504"/>
                  </a:lnTo>
                  <a:lnTo>
                    <a:pt x="1853" y="517"/>
                  </a:lnTo>
                  <a:lnTo>
                    <a:pt x="1838" y="533"/>
                  </a:lnTo>
                  <a:lnTo>
                    <a:pt x="1823" y="550"/>
                  </a:lnTo>
                  <a:lnTo>
                    <a:pt x="1790" y="592"/>
                  </a:lnTo>
                  <a:lnTo>
                    <a:pt x="1754" y="637"/>
                  </a:lnTo>
                  <a:lnTo>
                    <a:pt x="1717" y="689"/>
                  </a:lnTo>
                  <a:lnTo>
                    <a:pt x="1679" y="744"/>
                  </a:lnTo>
                  <a:lnTo>
                    <a:pt x="1639" y="802"/>
                  </a:lnTo>
                  <a:lnTo>
                    <a:pt x="1600" y="863"/>
                  </a:lnTo>
                  <a:lnTo>
                    <a:pt x="1561" y="926"/>
                  </a:lnTo>
                  <a:lnTo>
                    <a:pt x="1524" y="988"/>
                  </a:lnTo>
                  <a:lnTo>
                    <a:pt x="1488" y="1051"/>
                  </a:lnTo>
                  <a:lnTo>
                    <a:pt x="1454" y="1111"/>
                  </a:lnTo>
                  <a:lnTo>
                    <a:pt x="1425" y="1170"/>
                  </a:lnTo>
                  <a:lnTo>
                    <a:pt x="1398" y="1226"/>
                  </a:lnTo>
                  <a:lnTo>
                    <a:pt x="1387" y="1252"/>
                  </a:lnTo>
                  <a:lnTo>
                    <a:pt x="1377" y="1277"/>
                  </a:lnTo>
                  <a:lnTo>
                    <a:pt x="1367" y="1301"/>
                  </a:lnTo>
                  <a:lnTo>
                    <a:pt x="1359" y="1323"/>
                  </a:lnTo>
                  <a:lnTo>
                    <a:pt x="1340" y="1362"/>
                  </a:lnTo>
                  <a:lnTo>
                    <a:pt x="1320" y="1404"/>
                  </a:lnTo>
                  <a:lnTo>
                    <a:pt x="1300" y="1449"/>
                  </a:lnTo>
                  <a:lnTo>
                    <a:pt x="1280" y="1496"/>
                  </a:lnTo>
                  <a:lnTo>
                    <a:pt x="1261" y="1545"/>
                  </a:lnTo>
                  <a:lnTo>
                    <a:pt x="1241" y="1596"/>
                  </a:lnTo>
                  <a:lnTo>
                    <a:pt x="1222" y="1648"/>
                  </a:lnTo>
                  <a:lnTo>
                    <a:pt x="1204" y="1702"/>
                  </a:lnTo>
                  <a:lnTo>
                    <a:pt x="1167" y="1808"/>
                  </a:lnTo>
                  <a:lnTo>
                    <a:pt x="1133" y="1915"/>
                  </a:lnTo>
                  <a:lnTo>
                    <a:pt x="1101" y="2016"/>
                  </a:lnTo>
                  <a:lnTo>
                    <a:pt x="1071" y="2110"/>
                  </a:lnTo>
                  <a:lnTo>
                    <a:pt x="1055" y="2162"/>
                  </a:lnTo>
                  <a:lnTo>
                    <a:pt x="1039" y="2213"/>
                  </a:lnTo>
                  <a:lnTo>
                    <a:pt x="1023" y="2264"/>
                  </a:lnTo>
                  <a:lnTo>
                    <a:pt x="1008" y="2315"/>
                  </a:lnTo>
                  <a:lnTo>
                    <a:pt x="992" y="2367"/>
                  </a:lnTo>
                  <a:lnTo>
                    <a:pt x="976" y="2418"/>
                  </a:lnTo>
                  <a:lnTo>
                    <a:pt x="960" y="2471"/>
                  </a:lnTo>
                  <a:lnTo>
                    <a:pt x="944" y="2523"/>
                  </a:lnTo>
                  <a:lnTo>
                    <a:pt x="929" y="2573"/>
                  </a:lnTo>
                  <a:lnTo>
                    <a:pt x="913" y="2626"/>
                  </a:lnTo>
                  <a:lnTo>
                    <a:pt x="896" y="2682"/>
                  </a:lnTo>
                  <a:lnTo>
                    <a:pt x="880" y="2740"/>
                  </a:lnTo>
                  <a:lnTo>
                    <a:pt x="864" y="2797"/>
                  </a:lnTo>
                  <a:lnTo>
                    <a:pt x="849" y="2852"/>
                  </a:lnTo>
                  <a:lnTo>
                    <a:pt x="836" y="2906"/>
                  </a:lnTo>
                  <a:lnTo>
                    <a:pt x="827" y="2955"/>
                  </a:lnTo>
                  <a:lnTo>
                    <a:pt x="818" y="2977"/>
                  </a:lnTo>
                  <a:lnTo>
                    <a:pt x="809" y="3003"/>
                  </a:lnTo>
                  <a:lnTo>
                    <a:pt x="800" y="3033"/>
                  </a:lnTo>
                  <a:lnTo>
                    <a:pt x="790" y="3067"/>
                  </a:lnTo>
                  <a:lnTo>
                    <a:pt x="770" y="3142"/>
                  </a:lnTo>
                  <a:lnTo>
                    <a:pt x="749" y="3225"/>
                  </a:lnTo>
                  <a:lnTo>
                    <a:pt x="730" y="3310"/>
                  </a:lnTo>
                  <a:lnTo>
                    <a:pt x="712" y="3390"/>
                  </a:lnTo>
                  <a:lnTo>
                    <a:pt x="696" y="3461"/>
                  </a:lnTo>
                  <a:lnTo>
                    <a:pt x="683" y="3519"/>
                  </a:lnTo>
                  <a:lnTo>
                    <a:pt x="666" y="3593"/>
                  </a:lnTo>
                  <a:lnTo>
                    <a:pt x="649" y="3667"/>
                  </a:lnTo>
                  <a:lnTo>
                    <a:pt x="633" y="3740"/>
                  </a:lnTo>
                  <a:lnTo>
                    <a:pt x="617" y="3813"/>
                  </a:lnTo>
                  <a:lnTo>
                    <a:pt x="601" y="3886"/>
                  </a:lnTo>
                  <a:lnTo>
                    <a:pt x="585" y="3960"/>
                  </a:lnTo>
                  <a:lnTo>
                    <a:pt x="569" y="4033"/>
                  </a:lnTo>
                  <a:lnTo>
                    <a:pt x="553" y="4108"/>
                  </a:lnTo>
                  <a:lnTo>
                    <a:pt x="537" y="4182"/>
                  </a:lnTo>
                  <a:lnTo>
                    <a:pt x="522" y="4256"/>
                  </a:lnTo>
                  <a:lnTo>
                    <a:pt x="506" y="4330"/>
                  </a:lnTo>
                  <a:lnTo>
                    <a:pt x="491" y="4406"/>
                  </a:lnTo>
                  <a:lnTo>
                    <a:pt x="476" y="4483"/>
                  </a:lnTo>
                  <a:lnTo>
                    <a:pt x="461" y="4559"/>
                  </a:lnTo>
                  <a:lnTo>
                    <a:pt x="447" y="4636"/>
                  </a:lnTo>
                  <a:lnTo>
                    <a:pt x="433" y="4714"/>
                  </a:lnTo>
                  <a:lnTo>
                    <a:pt x="419" y="4791"/>
                  </a:lnTo>
                  <a:lnTo>
                    <a:pt x="405" y="4868"/>
                  </a:lnTo>
                  <a:lnTo>
                    <a:pt x="392" y="4946"/>
                  </a:lnTo>
                  <a:lnTo>
                    <a:pt x="380" y="5024"/>
                  </a:lnTo>
                  <a:lnTo>
                    <a:pt x="367" y="5100"/>
                  </a:lnTo>
                  <a:lnTo>
                    <a:pt x="356" y="5177"/>
                  </a:lnTo>
                  <a:lnTo>
                    <a:pt x="346" y="5253"/>
                  </a:lnTo>
                  <a:lnTo>
                    <a:pt x="335" y="5328"/>
                  </a:lnTo>
                  <a:lnTo>
                    <a:pt x="320" y="5442"/>
                  </a:lnTo>
                  <a:lnTo>
                    <a:pt x="304" y="5555"/>
                  </a:lnTo>
                  <a:lnTo>
                    <a:pt x="289" y="5668"/>
                  </a:lnTo>
                  <a:lnTo>
                    <a:pt x="275" y="5781"/>
                  </a:lnTo>
                  <a:lnTo>
                    <a:pt x="259" y="5896"/>
                  </a:lnTo>
                  <a:lnTo>
                    <a:pt x="244" y="6009"/>
                  </a:lnTo>
                  <a:lnTo>
                    <a:pt x="229" y="6124"/>
                  </a:lnTo>
                  <a:lnTo>
                    <a:pt x="214" y="6238"/>
                  </a:lnTo>
                  <a:lnTo>
                    <a:pt x="199" y="6352"/>
                  </a:lnTo>
                  <a:lnTo>
                    <a:pt x="185" y="6467"/>
                  </a:lnTo>
                  <a:lnTo>
                    <a:pt x="173" y="6581"/>
                  </a:lnTo>
                  <a:lnTo>
                    <a:pt x="160" y="6697"/>
                  </a:lnTo>
                  <a:lnTo>
                    <a:pt x="148" y="6811"/>
                  </a:lnTo>
                  <a:lnTo>
                    <a:pt x="137" y="6927"/>
                  </a:lnTo>
                  <a:lnTo>
                    <a:pt x="127" y="7042"/>
                  </a:lnTo>
                  <a:lnTo>
                    <a:pt x="119" y="7158"/>
                  </a:lnTo>
                  <a:lnTo>
                    <a:pt x="105" y="7319"/>
                  </a:lnTo>
                  <a:lnTo>
                    <a:pt x="92" y="7481"/>
                  </a:lnTo>
                  <a:lnTo>
                    <a:pt x="79" y="7643"/>
                  </a:lnTo>
                  <a:lnTo>
                    <a:pt x="65" y="7805"/>
                  </a:lnTo>
                  <a:lnTo>
                    <a:pt x="54" y="7967"/>
                  </a:lnTo>
                  <a:lnTo>
                    <a:pt x="42" y="8130"/>
                  </a:lnTo>
                  <a:lnTo>
                    <a:pt x="31" y="8293"/>
                  </a:lnTo>
                  <a:lnTo>
                    <a:pt x="22" y="8456"/>
                  </a:lnTo>
                  <a:lnTo>
                    <a:pt x="14" y="8619"/>
                  </a:lnTo>
                  <a:lnTo>
                    <a:pt x="8" y="8782"/>
                  </a:lnTo>
                  <a:lnTo>
                    <a:pt x="3" y="8946"/>
                  </a:lnTo>
                  <a:lnTo>
                    <a:pt x="0" y="9109"/>
                  </a:lnTo>
                  <a:lnTo>
                    <a:pt x="0" y="9190"/>
                  </a:lnTo>
                  <a:lnTo>
                    <a:pt x="0" y="9273"/>
                  </a:lnTo>
                  <a:lnTo>
                    <a:pt x="1" y="9354"/>
                  </a:lnTo>
                  <a:lnTo>
                    <a:pt x="2" y="9437"/>
                  </a:lnTo>
                  <a:lnTo>
                    <a:pt x="3" y="9518"/>
                  </a:lnTo>
                  <a:lnTo>
                    <a:pt x="7" y="9599"/>
                  </a:lnTo>
                  <a:lnTo>
                    <a:pt x="10" y="9681"/>
                  </a:lnTo>
                  <a:lnTo>
                    <a:pt x="14" y="9763"/>
                  </a:lnTo>
                  <a:lnTo>
                    <a:pt x="21" y="9885"/>
                  </a:lnTo>
                  <a:lnTo>
                    <a:pt x="27" y="10006"/>
                  </a:lnTo>
                  <a:lnTo>
                    <a:pt x="34" y="10128"/>
                  </a:lnTo>
                  <a:lnTo>
                    <a:pt x="41" y="10249"/>
                  </a:lnTo>
                  <a:lnTo>
                    <a:pt x="47" y="10369"/>
                  </a:lnTo>
                  <a:lnTo>
                    <a:pt x="54" y="10490"/>
                  </a:lnTo>
                  <a:lnTo>
                    <a:pt x="61" y="10611"/>
                  </a:lnTo>
                  <a:lnTo>
                    <a:pt x="68" y="10731"/>
                  </a:lnTo>
                  <a:lnTo>
                    <a:pt x="74" y="10851"/>
                  </a:lnTo>
                  <a:lnTo>
                    <a:pt x="82" y="10971"/>
                  </a:lnTo>
                  <a:lnTo>
                    <a:pt x="90" y="11091"/>
                  </a:lnTo>
                  <a:lnTo>
                    <a:pt x="98" y="11213"/>
                  </a:lnTo>
                  <a:lnTo>
                    <a:pt x="108" y="11333"/>
                  </a:lnTo>
                  <a:lnTo>
                    <a:pt x="117" y="11454"/>
                  </a:lnTo>
                  <a:lnTo>
                    <a:pt x="127" y="11575"/>
                  </a:lnTo>
                  <a:lnTo>
                    <a:pt x="138" y="11697"/>
                  </a:lnTo>
                  <a:lnTo>
                    <a:pt x="149" y="11811"/>
                  </a:lnTo>
                  <a:lnTo>
                    <a:pt x="160" y="11926"/>
                  </a:lnTo>
                  <a:lnTo>
                    <a:pt x="172" y="12040"/>
                  </a:lnTo>
                  <a:lnTo>
                    <a:pt x="184" y="12154"/>
                  </a:lnTo>
                  <a:lnTo>
                    <a:pt x="197" y="12269"/>
                  </a:lnTo>
                  <a:lnTo>
                    <a:pt x="209" y="12383"/>
                  </a:lnTo>
                  <a:lnTo>
                    <a:pt x="223" y="12498"/>
                  </a:lnTo>
                  <a:lnTo>
                    <a:pt x="237" y="12611"/>
                  </a:lnTo>
                  <a:lnTo>
                    <a:pt x="252" y="12725"/>
                  </a:lnTo>
                  <a:lnTo>
                    <a:pt x="267" y="12839"/>
                  </a:lnTo>
                  <a:lnTo>
                    <a:pt x="281" y="12953"/>
                  </a:lnTo>
                  <a:lnTo>
                    <a:pt x="298" y="13066"/>
                  </a:lnTo>
                  <a:lnTo>
                    <a:pt x="314" y="13180"/>
                  </a:lnTo>
                  <a:lnTo>
                    <a:pt x="331" y="13293"/>
                  </a:lnTo>
                  <a:lnTo>
                    <a:pt x="349" y="13406"/>
                  </a:lnTo>
                  <a:lnTo>
                    <a:pt x="366" y="13519"/>
                  </a:lnTo>
                  <a:lnTo>
                    <a:pt x="398" y="13707"/>
                  </a:lnTo>
                  <a:lnTo>
                    <a:pt x="433" y="13905"/>
                  </a:lnTo>
                  <a:lnTo>
                    <a:pt x="470" y="14110"/>
                  </a:lnTo>
                  <a:lnTo>
                    <a:pt x="511" y="14322"/>
                  </a:lnTo>
                  <a:lnTo>
                    <a:pt x="555" y="14538"/>
                  </a:lnTo>
                  <a:lnTo>
                    <a:pt x="602" y="14757"/>
                  </a:lnTo>
                  <a:lnTo>
                    <a:pt x="650" y="14979"/>
                  </a:lnTo>
                  <a:lnTo>
                    <a:pt x="701" y="15200"/>
                  </a:lnTo>
                  <a:lnTo>
                    <a:pt x="729" y="15311"/>
                  </a:lnTo>
                  <a:lnTo>
                    <a:pt x="755" y="15420"/>
                  </a:lnTo>
                  <a:lnTo>
                    <a:pt x="784" y="15530"/>
                  </a:lnTo>
                  <a:lnTo>
                    <a:pt x="811" y="15639"/>
                  </a:lnTo>
                  <a:lnTo>
                    <a:pt x="840" y="15747"/>
                  </a:lnTo>
                  <a:lnTo>
                    <a:pt x="870" y="15854"/>
                  </a:lnTo>
                  <a:lnTo>
                    <a:pt x="899" y="15959"/>
                  </a:lnTo>
                  <a:lnTo>
                    <a:pt x="929" y="16064"/>
                  </a:lnTo>
                  <a:lnTo>
                    <a:pt x="960" y="16165"/>
                  </a:lnTo>
                  <a:lnTo>
                    <a:pt x="991" y="16266"/>
                  </a:lnTo>
                  <a:lnTo>
                    <a:pt x="1022" y="16365"/>
                  </a:lnTo>
                  <a:lnTo>
                    <a:pt x="1054" y="16461"/>
                  </a:lnTo>
                  <a:lnTo>
                    <a:pt x="1086" y="16556"/>
                  </a:lnTo>
                  <a:lnTo>
                    <a:pt x="1119" y="16646"/>
                  </a:lnTo>
                  <a:lnTo>
                    <a:pt x="1152" y="16735"/>
                  </a:lnTo>
                  <a:lnTo>
                    <a:pt x="1185" y="16821"/>
                  </a:lnTo>
                  <a:lnTo>
                    <a:pt x="1225" y="16920"/>
                  </a:lnTo>
                  <a:lnTo>
                    <a:pt x="1267" y="17017"/>
                  </a:lnTo>
                  <a:lnTo>
                    <a:pt x="1288" y="17064"/>
                  </a:lnTo>
                  <a:lnTo>
                    <a:pt x="1310" y="17111"/>
                  </a:lnTo>
                  <a:lnTo>
                    <a:pt x="1332" y="17156"/>
                  </a:lnTo>
                  <a:lnTo>
                    <a:pt x="1354" y="17202"/>
                  </a:lnTo>
                  <a:lnTo>
                    <a:pt x="1377" y="17247"/>
                  </a:lnTo>
                  <a:lnTo>
                    <a:pt x="1399" y="17290"/>
                  </a:lnTo>
                  <a:lnTo>
                    <a:pt x="1423" y="17334"/>
                  </a:lnTo>
                  <a:lnTo>
                    <a:pt x="1447" y="17376"/>
                  </a:lnTo>
                  <a:lnTo>
                    <a:pt x="1471" y="17417"/>
                  </a:lnTo>
                  <a:lnTo>
                    <a:pt x="1496" y="17459"/>
                  </a:lnTo>
                  <a:lnTo>
                    <a:pt x="1521" y="17499"/>
                  </a:lnTo>
                  <a:lnTo>
                    <a:pt x="1546" y="17538"/>
                  </a:lnTo>
                  <a:lnTo>
                    <a:pt x="1572" y="17576"/>
                  </a:lnTo>
                  <a:lnTo>
                    <a:pt x="1598" y="17614"/>
                  </a:lnTo>
                  <a:lnTo>
                    <a:pt x="1625" y="17651"/>
                  </a:lnTo>
                  <a:lnTo>
                    <a:pt x="1652" y="17687"/>
                  </a:lnTo>
                  <a:lnTo>
                    <a:pt x="1680" y="17722"/>
                  </a:lnTo>
                  <a:lnTo>
                    <a:pt x="1707" y="17756"/>
                  </a:lnTo>
                  <a:lnTo>
                    <a:pt x="1736" y="17789"/>
                  </a:lnTo>
                  <a:lnTo>
                    <a:pt x="1764" y="17822"/>
                  </a:lnTo>
                  <a:lnTo>
                    <a:pt x="1794" y="17853"/>
                  </a:lnTo>
                  <a:lnTo>
                    <a:pt x="1824" y="17884"/>
                  </a:lnTo>
                  <a:lnTo>
                    <a:pt x="1854" y="17914"/>
                  </a:lnTo>
                  <a:lnTo>
                    <a:pt x="1885" y="17943"/>
                  </a:lnTo>
                  <a:lnTo>
                    <a:pt x="1917" y="17970"/>
                  </a:lnTo>
                  <a:lnTo>
                    <a:pt x="1947" y="17998"/>
                  </a:lnTo>
                  <a:lnTo>
                    <a:pt x="1980" y="18023"/>
                  </a:lnTo>
                  <a:lnTo>
                    <a:pt x="2013" y="18048"/>
                  </a:lnTo>
                  <a:lnTo>
                    <a:pt x="2052" y="18075"/>
                  </a:lnTo>
                  <a:lnTo>
                    <a:pt x="2091" y="18102"/>
                  </a:lnTo>
                  <a:lnTo>
                    <a:pt x="2132" y="18127"/>
                  </a:lnTo>
                  <a:lnTo>
                    <a:pt x="2173" y="18151"/>
                  </a:lnTo>
                  <a:lnTo>
                    <a:pt x="2215" y="18174"/>
                  </a:lnTo>
                  <a:lnTo>
                    <a:pt x="2259" y="18194"/>
                  </a:lnTo>
                  <a:lnTo>
                    <a:pt x="2303" y="18214"/>
                  </a:lnTo>
                  <a:lnTo>
                    <a:pt x="2349" y="18232"/>
                  </a:lnTo>
                  <a:lnTo>
                    <a:pt x="2397" y="18249"/>
                  </a:lnTo>
                  <a:lnTo>
                    <a:pt x="2446" y="18264"/>
                  </a:lnTo>
                  <a:lnTo>
                    <a:pt x="2497" y="18277"/>
                  </a:lnTo>
                  <a:lnTo>
                    <a:pt x="2549" y="18287"/>
                  </a:lnTo>
                  <a:lnTo>
                    <a:pt x="2576" y="18292"/>
                  </a:lnTo>
                  <a:lnTo>
                    <a:pt x="2603" y="18296"/>
                  </a:lnTo>
                  <a:lnTo>
                    <a:pt x="2631" y="18300"/>
                  </a:lnTo>
                  <a:lnTo>
                    <a:pt x="2658" y="18303"/>
                  </a:lnTo>
                  <a:lnTo>
                    <a:pt x="2687" y="18305"/>
                  </a:lnTo>
                  <a:lnTo>
                    <a:pt x="2716" y="18308"/>
                  </a:lnTo>
                  <a:lnTo>
                    <a:pt x="2745" y="18309"/>
                  </a:lnTo>
                  <a:lnTo>
                    <a:pt x="2776" y="18309"/>
                  </a:lnTo>
                  <a:lnTo>
                    <a:pt x="2835" y="18310"/>
                  </a:lnTo>
                  <a:lnTo>
                    <a:pt x="2896" y="18310"/>
                  </a:lnTo>
                  <a:lnTo>
                    <a:pt x="2957" y="18309"/>
                  </a:lnTo>
                  <a:lnTo>
                    <a:pt x="3017" y="18308"/>
                  </a:lnTo>
                  <a:lnTo>
                    <a:pt x="3079" y="18305"/>
                  </a:lnTo>
                  <a:lnTo>
                    <a:pt x="3140" y="18303"/>
                  </a:lnTo>
                  <a:lnTo>
                    <a:pt x="3200" y="18300"/>
                  </a:lnTo>
                  <a:lnTo>
                    <a:pt x="3262" y="18296"/>
                  </a:lnTo>
                  <a:lnTo>
                    <a:pt x="3323" y="18292"/>
                  </a:lnTo>
                  <a:lnTo>
                    <a:pt x="3384" y="18287"/>
                  </a:lnTo>
                  <a:lnTo>
                    <a:pt x="3444" y="18283"/>
                  </a:lnTo>
                  <a:lnTo>
                    <a:pt x="3505" y="18277"/>
                  </a:lnTo>
                  <a:lnTo>
                    <a:pt x="3565" y="18271"/>
                  </a:lnTo>
                  <a:lnTo>
                    <a:pt x="3625" y="18264"/>
                  </a:lnTo>
                  <a:lnTo>
                    <a:pt x="3686" y="18257"/>
                  </a:lnTo>
                  <a:lnTo>
                    <a:pt x="3745" y="18250"/>
                  </a:lnTo>
                  <a:lnTo>
                    <a:pt x="3829" y="18240"/>
                  </a:lnTo>
                  <a:lnTo>
                    <a:pt x="3912" y="18230"/>
                  </a:lnTo>
                  <a:lnTo>
                    <a:pt x="3995" y="18218"/>
                  </a:lnTo>
                  <a:lnTo>
                    <a:pt x="4076" y="18206"/>
                  </a:lnTo>
                  <a:lnTo>
                    <a:pt x="4157" y="18192"/>
                  </a:lnTo>
                  <a:lnTo>
                    <a:pt x="4236" y="18178"/>
                  </a:lnTo>
                  <a:lnTo>
                    <a:pt x="4316" y="18165"/>
                  </a:lnTo>
                  <a:lnTo>
                    <a:pt x="4395" y="18150"/>
                  </a:lnTo>
                  <a:lnTo>
                    <a:pt x="4473" y="18134"/>
                  </a:lnTo>
                  <a:lnTo>
                    <a:pt x="4549" y="18118"/>
                  </a:lnTo>
                  <a:lnTo>
                    <a:pt x="4627" y="18101"/>
                  </a:lnTo>
                  <a:lnTo>
                    <a:pt x="4704" y="18083"/>
                  </a:lnTo>
                  <a:lnTo>
                    <a:pt x="4779" y="18066"/>
                  </a:lnTo>
                  <a:lnTo>
                    <a:pt x="4855" y="18048"/>
                  </a:lnTo>
                  <a:lnTo>
                    <a:pt x="4931" y="18028"/>
                  </a:lnTo>
                  <a:lnTo>
                    <a:pt x="5006" y="18009"/>
                  </a:lnTo>
                  <a:lnTo>
                    <a:pt x="5156" y="17969"/>
                  </a:lnTo>
                  <a:lnTo>
                    <a:pt x="5305" y="17927"/>
                  </a:lnTo>
                  <a:lnTo>
                    <a:pt x="5455" y="17882"/>
                  </a:lnTo>
                  <a:lnTo>
                    <a:pt x="5603" y="17836"/>
                  </a:lnTo>
                  <a:lnTo>
                    <a:pt x="5753" y="17789"/>
                  </a:lnTo>
                  <a:lnTo>
                    <a:pt x="5904" y="17741"/>
                  </a:lnTo>
                  <a:lnTo>
                    <a:pt x="6056" y="17691"/>
                  </a:lnTo>
                  <a:lnTo>
                    <a:pt x="6211" y="17639"/>
                  </a:lnTo>
                  <a:lnTo>
                    <a:pt x="6273" y="17619"/>
                  </a:lnTo>
                  <a:lnTo>
                    <a:pt x="6368" y="17586"/>
                  </a:lnTo>
                  <a:lnTo>
                    <a:pt x="6483" y="17544"/>
                  </a:lnTo>
                  <a:lnTo>
                    <a:pt x="6608" y="17501"/>
                  </a:lnTo>
                  <a:lnTo>
                    <a:pt x="6729" y="17456"/>
                  </a:lnTo>
                  <a:lnTo>
                    <a:pt x="6837" y="17415"/>
                  </a:lnTo>
                  <a:lnTo>
                    <a:pt x="6881" y="17398"/>
                  </a:lnTo>
                  <a:lnTo>
                    <a:pt x="6917" y="17382"/>
                  </a:lnTo>
                  <a:lnTo>
                    <a:pt x="6943" y="17369"/>
                  </a:lnTo>
                  <a:lnTo>
                    <a:pt x="6959" y="17361"/>
                  </a:lnTo>
                  <a:lnTo>
                    <a:pt x="6994" y="17351"/>
                  </a:lnTo>
                  <a:lnTo>
                    <a:pt x="7046" y="17333"/>
                  </a:lnTo>
                  <a:lnTo>
                    <a:pt x="7116" y="17308"/>
                  </a:lnTo>
                  <a:lnTo>
                    <a:pt x="7200" y="17277"/>
                  </a:lnTo>
                  <a:lnTo>
                    <a:pt x="7294" y="17240"/>
                  </a:lnTo>
                  <a:lnTo>
                    <a:pt x="7397" y="17200"/>
                  </a:lnTo>
                  <a:lnTo>
                    <a:pt x="7507" y="17156"/>
                  </a:lnTo>
                  <a:lnTo>
                    <a:pt x="7621" y="17112"/>
                  </a:lnTo>
                  <a:lnTo>
                    <a:pt x="7734" y="17066"/>
                  </a:lnTo>
                  <a:lnTo>
                    <a:pt x="7846" y="17021"/>
                  </a:lnTo>
                  <a:lnTo>
                    <a:pt x="7955" y="16977"/>
                  </a:lnTo>
                  <a:lnTo>
                    <a:pt x="8057" y="16937"/>
                  </a:lnTo>
                  <a:lnTo>
                    <a:pt x="8148" y="16899"/>
                  </a:lnTo>
                  <a:lnTo>
                    <a:pt x="8228" y="16867"/>
                  </a:lnTo>
                  <a:lnTo>
                    <a:pt x="8295" y="16841"/>
                  </a:lnTo>
                  <a:lnTo>
                    <a:pt x="8344" y="16821"/>
                  </a:lnTo>
                  <a:lnTo>
                    <a:pt x="8396" y="16799"/>
                  </a:lnTo>
                  <a:lnTo>
                    <a:pt x="8454" y="16778"/>
                  </a:lnTo>
                  <a:lnTo>
                    <a:pt x="8513" y="16755"/>
                  </a:lnTo>
                  <a:lnTo>
                    <a:pt x="8574" y="16731"/>
                  </a:lnTo>
                  <a:lnTo>
                    <a:pt x="8633" y="16707"/>
                  </a:lnTo>
                  <a:lnTo>
                    <a:pt x="8690" y="16682"/>
                  </a:lnTo>
                  <a:lnTo>
                    <a:pt x="8744" y="16658"/>
                  </a:lnTo>
                  <a:lnTo>
                    <a:pt x="8792" y="16633"/>
                  </a:lnTo>
                  <a:lnTo>
                    <a:pt x="8829" y="16621"/>
                  </a:lnTo>
                  <a:lnTo>
                    <a:pt x="8872" y="16605"/>
                  </a:lnTo>
                  <a:lnTo>
                    <a:pt x="8918" y="16587"/>
                  </a:lnTo>
                  <a:lnTo>
                    <a:pt x="8965" y="16565"/>
                  </a:lnTo>
                  <a:lnTo>
                    <a:pt x="9013" y="16543"/>
                  </a:lnTo>
                  <a:lnTo>
                    <a:pt x="9059" y="16522"/>
                  </a:lnTo>
                  <a:lnTo>
                    <a:pt x="9100" y="16502"/>
                  </a:lnTo>
                  <a:lnTo>
                    <a:pt x="9137" y="16485"/>
                  </a:lnTo>
                  <a:lnTo>
                    <a:pt x="9178" y="16465"/>
                  </a:lnTo>
                  <a:lnTo>
                    <a:pt x="9220" y="16447"/>
                  </a:lnTo>
                  <a:lnTo>
                    <a:pt x="9263" y="16429"/>
                  </a:lnTo>
                  <a:lnTo>
                    <a:pt x="9304" y="16409"/>
                  </a:lnTo>
                  <a:lnTo>
                    <a:pt x="9346" y="16391"/>
                  </a:lnTo>
                  <a:lnTo>
                    <a:pt x="9388" y="16371"/>
                  </a:lnTo>
                  <a:lnTo>
                    <a:pt x="9430" y="16352"/>
                  </a:lnTo>
                  <a:lnTo>
                    <a:pt x="9471" y="16331"/>
                  </a:lnTo>
                  <a:lnTo>
                    <a:pt x="9550" y="16292"/>
                  </a:lnTo>
                  <a:lnTo>
                    <a:pt x="9633" y="16254"/>
                  </a:lnTo>
                  <a:lnTo>
                    <a:pt x="9720" y="16214"/>
                  </a:lnTo>
                  <a:lnTo>
                    <a:pt x="9807" y="16173"/>
                  </a:lnTo>
                  <a:lnTo>
                    <a:pt x="9894" y="16132"/>
                  </a:lnTo>
                  <a:lnTo>
                    <a:pt x="9978" y="16091"/>
                  </a:lnTo>
                  <a:lnTo>
                    <a:pt x="10018" y="16069"/>
                  </a:lnTo>
                  <a:lnTo>
                    <a:pt x="10057" y="16048"/>
                  </a:lnTo>
                  <a:lnTo>
                    <a:pt x="10093" y="16026"/>
                  </a:lnTo>
                  <a:lnTo>
                    <a:pt x="10129" y="16004"/>
                  </a:lnTo>
                  <a:lnTo>
                    <a:pt x="10153" y="15994"/>
                  </a:lnTo>
                  <a:lnTo>
                    <a:pt x="10184" y="15979"/>
                  </a:lnTo>
                  <a:lnTo>
                    <a:pt x="10220" y="15962"/>
                  </a:lnTo>
                  <a:lnTo>
                    <a:pt x="10263" y="15939"/>
                  </a:lnTo>
                  <a:lnTo>
                    <a:pt x="10363" y="15886"/>
                  </a:lnTo>
                  <a:lnTo>
                    <a:pt x="10482" y="15821"/>
                  </a:lnTo>
                  <a:lnTo>
                    <a:pt x="10614" y="15748"/>
                  </a:lnTo>
                  <a:lnTo>
                    <a:pt x="10756" y="15669"/>
                  </a:lnTo>
                  <a:lnTo>
                    <a:pt x="10903" y="15584"/>
                  </a:lnTo>
                  <a:lnTo>
                    <a:pt x="11053" y="15498"/>
                  </a:lnTo>
                  <a:lnTo>
                    <a:pt x="11202" y="15411"/>
                  </a:lnTo>
                  <a:lnTo>
                    <a:pt x="11344" y="15328"/>
                  </a:lnTo>
                  <a:lnTo>
                    <a:pt x="11477" y="15249"/>
                  </a:lnTo>
                  <a:lnTo>
                    <a:pt x="11597" y="15176"/>
                  </a:lnTo>
                  <a:lnTo>
                    <a:pt x="11700" y="15111"/>
                  </a:lnTo>
                  <a:lnTo>
                    <a:pt x="11781" y="15060"/>
                  </a:lnTo>
                  <a:lnTo>
                    <a:pt x="11813" y="15038"/>
                  </a:lnTo>
                  <a:lnTo>
                    <a:pt x="11838" y="15021"/>
                  </a:lnTo>
                  <a:lnTo>
                    <a:pt x="11857" y="15007"/>
                  </a:lnTo>
                  <a:lnTo>
                    <a:pt x="11867" y="14997"/>
                  </a:lnTo>
                  <a:lnTo>
                    <a:pt x="11879" y="14991"/>
                  </a:lnTo>
                  <a:lnTo>
                    <a:pt x="11898" y="14982"/>
                  </a:lnTo>
                  <a:lnTo>
                    <a:pt x="11919" y="14970"/>
                  </a:lnTo>
                  <a:lnTo>
                    <a:pt x="11947" y="14954"/>
                  </a:lnTo>
                  <a:lnTo>
                    <a:pt x="12012" y="14913"/>
                  </a:lnTo>
                  <a:lnTo>
                    <a:pt x="12090" y="14864"/>
                  </a:lnTo>
                  <a:lnTo>
                    <a:pt x="12179" y="14806"/>
                  </a:lnTo>
                  <a:lnTo>
                    <a:pt x="12276" y="14741"/>
                  </a:lnTo>
                  <a:lnTo>
                    <a:pt x="12379" y="14672"/>
                  </a:lnTo>
                  <a:lnTo>
                    <a:pt x="12485" y="14600"/>
                  </a:lnTo>
                  <a:lnTo>
                    <a:pt x="12590" y="14528"/>
                  </a:lnTo>
                  <a:lnTo>
                    <a:pt x="12694" y="14457"/>
                  </a:lnTo>
                  <a:lnTo>
                    <a:pt x="12791" y="14388"/>
                  </a:lnTo>
                  <a:lnTo>
                    <a:pt x="12883" y="14324"/>
                  </a:lnTo>
                  <a:lnTo>
                    <a:pt x="12963" y="14267"/>
                  </a:lnTo>
                  <a:lnTo>
                    <a:pt x="13031" y="14218"/>
                  </a:lnTo>
                  <a:lnTo>
                    <a:pt x="13083" y="14179"/>
                  </a:lnTo>
                  <a:lnTo>
                    <a:pt x="13116" y="14152"/>
                  </a:lnTo>
                  <a:lnTo>
                    <a:pt x="13131" y="14143"/>
                  </a:lnTo>
                  <a:lnTo>
                    <a:pt x="13152" y="14131"/>
                  </a:lnTo>
                  <a:lnTo>
                    <a:pt x="13179" y="14112"/>
                  </a:lnTo>
                  <a:lnTo>
                    <a:pt x="13212" y="14088"/>
                  </a:lnTo>
                  <a:lnTo>
                    <a:pt x="13294" y="14030"/>
                  </a:lnTo>
                  <a:lnTo>
                    <a:pt x="13392" y="13958"/>
                  </a:lnTo>
                  <a:lnTo>
                    <a:pt x="13505" y="13873"/>
                  </a:lnTo>
                  <a:lnTo>
                    <a:pt x="13628" y="13779"/>
                  </a:lnTo>
                  <a:lnTo>
                    <a:pt x="13758" y="13680"/>
                  </a:lnTo>
                  <a:lnTo>
                    <a:pt x="13891" y="13578"/>
                  </a:lnTo>
                  <a:lnTo>
                    <a:pt x="14024" y="13475"/>
                  </a:lnTo>
                  <a:lnTo>
                    <a:pt x="14153" y="13374"/>
                  </a:lnTo>
                  <a:lnTo>
                    <a:pt x="14274" y="13278"/>
                  </a:lnTo>
                  <a:lnTo>
                    <a:pt x="14385" y="13190"/>
                  </a:lnTo>
                  <a:lnTo>
                    <a:pt x="14481" y="13112"/>
                  </a:lnTo>
                  <a:lnTo>
                    <a:pt x="14559" y="13048"/>
                  </a:lnTo>
                  <a:lnTo>
                    <a:pt x="14590" y="13022"/>
                  </a:lnTo>
                  <a:lnTo>
                    <a:pt x="14615" y="13000"/>
                  </a:lnTo>
                  <a:lnTo>
                    <a:pt x="14634" y="12982"/>
                  </a:lnTo>
                  <a:lnTo>
                    <a:pt x="14645" y="12970"/>
                  </a:lnTo>
                  <a:lnTo>
                    <a:pt x="14658" y="12963"/>
                  </a:lnTo>
                  <a:lnTo>
                    <a:pt x="14673" y="12954"/>
                  </a:lnTo>
                  <a:lnTo>
                    <a:pt x="14690" y="12942"/>
                  </a:lnTo>
                  <a:lnTo>
                    <a:pt x="14708" y="12928"/>
                  </a:lnTo>
                  <a:lnTo>
                    <a:pt x="14751" y="12895"/>
                  </a:lnTo>
                  <a:lnTo>
                    <a:pt x="14802" y="12854"/>
                  </a:lnTo>
                  <a:lnTo>
                    <a:pt x="14857" y="12807"/>
                  </a:lnTo>
                  <a:lnTo>
                    <a:pt x="14917" y="12756"/>
                  </a:lnTo>
                  <a:lnTo>
                    <a:pt x="14979" y="12701"/>
                  </a:lnTo>
                  <a:lnTo>
                    <a:pt x="15044" y="12645"/>
                  </a:lnTo>
                  <a:lnTo>
                    <a:pt x="15110" y="12587"/>
                  </a:lnTo>
                  <a:lnTo>
                    <a:pt x="15175" y="12530"/>
                  </a:lnTo>
                  <a:lnTo>
                    <a:pt x="15238" y="12475"/>
                  </a:lnTo>
                  <a:lnTo>
                    <a:pt x="15298" y="12421"/>
                  </a:lnTo>
                  <a:lnTo>
                    <a:pt x="15354" y="12372"/>
                  </a:lnTo>
                  <a:lnTo>
                    <a:pt x="15405" y="12328"/>
                  </a:lnTo>
                  <a:lnTo>
                    <a:pt x="15451" y="12291"/>
                  </a:lnTo>
                  <a:lnTo>
                    <a:pt x="15487" y="12261"/>
                  </a:lnTo>
                  <a:lnTo>
                    <a:pt x="15508" y="12245"/>
                  </a:lnTo>
                  <a:lnTo>
                    <a:pt x="15520" y="12233"/>
                  </a:lnTo>
                  <a:lnTo>
                    <a:pt x="15534" y="12220"/>
                  </a:lnTo>
                  <a:lnTo>
                    <a:pt x="15555" y="12200"/>
                  </a:lnTo>
                  <a:lnTo>
                    <a:pt x="15765" y="12013"/>
                  </a:lnTo>
                  <a:lnTo>
                    <a:pt x="15798" y="11979"/>
                  </a:lnTo>
                  <a:lnTo>
                    <a:pt x="15830" y="11947"/>
                  </a:lnTo>
                  <a:lnTo>
                    <a:pt x="15863" y="11915"/>
                  </a:lnTo>
                  <a:lnTo>
                    <a:pt x="15895" y="11884"/>
                  </a:lnTo>
                  <a:lnTo>
                    <a:pt x="15927" y="11853"/>
                  </a:lnTo>
                  <a:lnTo>
                    <a:pt x="15959" y="11823"/>
                  </a:lnTo>
                  <a:lnTo>
                    <a:pt x="15992" y="11790"/>
                  </a:lnTo>
                  <a:lnTo>
                    <a:pt x="16025" y="11758"/>
                  </a:lnTo>
                  <a:lnTo>
                    <a:pt x="16052" y="11733"/>
                  </a:lnTo>
                  <a:lnTo>
                    <a:pt x="16089" y="11696"/>
                  </a:lnTo>
                  <a:lnTo>
                    <a:pt x="16136" y="11649"/>
                  </a:lnTo>
                  <a:lnTo>
                    <a:pt x="16190" y="11595"/>
                  </a:lnTo>
                  <a:lnTo>
                    <a:pt x="16248" y="11535"/>
                  </a:lnTo>
                  <a:lnTo>
                    <a:pt x="16311" y="11470"/>
                  </a:lnTo>
                  <a:lnTo>
                    <a:pt x="16377" y="11403"/>
                  </a:lnTo>
                  <a:lnTo>
                    <a:pt x="16443" y="11335"/>
                  </a:lnTo>
                  <a:lnTo>
                    <a:pt x="16508" y="11268"/>
                  </a:lnTo>
                  <a:lnTo>
                    <a:pt x="16571" y="11202"/>
                  </a:lnTo>
                  <a:lnTo>
                    <a:pt x="16629" y="11140"/>
                  </a:lnTo>
                  <a:lnTo>
                    <a:pt x="16681" y="11084"/>
                  </a:lnTo>
                  <a:lnTo>
                    <a:pt x="16726" y="11036"/>
                  </a:lnTo>
                  <a:lnTo>
                    <a:pt x="16761" y="10997"/>
                  </a:lnTo>
                  <a:lnTo>
                    <a:pt x="16786" y="10969"/>
                  </a:lnTo>
                  <a:lnTo>
                    <a:pt x="16797" y="10953"/>
                  </a:lnTo>
                  <a:lnTo>
                    <a:pt x="16818" y="10935"/>
                  </a:lnTo>
                  <a:lnTo>
                    <a:pt x="16837" y="10915"/>
                  </a:lnTo>
                  <a:lnTo>
                    <a:pt x="16856" y="10896"/>
                  </a:lnTo>
                  <a:lnTo>
                    <a:pt x="16874" y="10875"/>
                  </a:lnTo>
                  <a:lnTo>
                    <a:pt x="16908" y="10833"/>
                  </a:lnTo>
                  <a:lnTo>
                    <a:pt x="16943" y="10789"/>
                  </a:lnTo>
                  <a:lnTo>
                    <a:pt x="17006" y="10707"/>
                  </a:lnTo>
                  <a:lnTo>
                    <a:pt x="17067" y="10626"/>
                  </a:lnTo>
                  <a:lnTo>
                    <a:pt x="17128" y="10543"/>
                  </a:lnTo>
                  <a:lnTo>
                    <a:pt x="17185" y="10462"/>
                  </a:lnTo>
                  <a:lnTo>
                    <a:pt x="17214" y="10421"/>
                  </a:lnTo>
                  <a:lnTo>
                    <a:pt x="17241" y="10379"/>
                  </a:lnTo>
                  <a:lnTo>
                    <a:pt x="17269" y="10337"/>
                  </a:lnTo>
                  <a:lnTo>
                    <a:pt x="17295" y="10296"/>
                  </a:lnTo>
                  <a:lnTo>
                    <a:pt x="17321" y="10254"/>
                  </a:lnTo>
                  <a:lnTo>
                    <a:pt x="17347" y="10211"/>
                  </a:lnTo>
                  <a:lnTo>
                    <a:pt x="17372" y="10169"/>
                  </a:lnTo>
                  <a:lnTo>
                    <a:pt x="17396" y="10125"/>
                  </a:lnTo>
                  <a:lnTo>
                    <a:pt x="17419" y="10081"/>
                  </a:lnTo>
                  <a:lnTo>
                    <a:pt x="17442" y="10037"/>
                  </a:lnTo>
                  <a:lnTo>
                    <a:pt x="17463" y="9992"/>
                  </a:lnTo>
                  <a:lnTo>
                    <a:pt x="17485" y="9946"/>
                  </a:lnTo>
                  <a:lnTo>
                    <a:pt x="17505" y="9900"/>
                  </a:lnTo>
                  <a:lnTo>
                    <a:pt x="17524" y="9853"/>
                  </a:lnTo>
                  <a:lnTo>
                    <a:pt x="17543" y="9805"/>
                  </a:lnTo>
                  <a:lnTo>
                    <a:pt x="17561" y="9757"/>
                  </a:lnTo>
                  <a:lnTo>
                    <a:pt x="17578" y="9708"/>
                  </a:lnTo>
                  <a:lnTo>
                    <a:pt x="17594" y="9657"/>
                  </a:lnTo>
                  <a:lnTo>
                    <a:pt x="17609" y="9606"/>
                  </a:lnTo>
                  <a:lnTo>
                    <a:pt x="17622" y="9553"/>
                  </a:lnTo>
                  <a:lnTo>
                    <a:pt x="17636" y="9501"/>
                  </a:lnTo>
                  <a:lnTo>
                    <a:pt x="17648" y="9446"/>
                  </a:lnTo>
                  <a:lnTo>
                    <a:pt x="17659" y="9391"/>
                  </a:lnTo>
                  <a:lnTo>
                    <a:pt x="17669" y="9334"/>
                  </a:lnTo>
                  <a:lnTo>
                    <a:pt x="17673" y="9309"/>
                  </a:lnTo>
                  <a:lnTo>
                    <a:pt x="17675" y="9283"/>
                  </a:lnTo>
                  <a:lnTo>
                    <a:pt x="17675" y="9255"/>
                  </a:lnTo>
                  <a:lnTo>
                    <a:pt x="17674" y="9226"/>
                  </a:lnTo>
                  <a:lnTo>
                    <a:pt x="17672" y="9196"/>
                  </a:lnTo>
                  <a:lnTo>
                    <a:pt x="17669" y="9165"/>
                  </a:lnTo>
                  <a:lnTo>
                    <a:pt x="17665" y="9133"/>
                  </a:lnTo>
                  <a:lnTo>
                    <a:pt x="17659" y="9101"/>
                  </a:lnTo>
                  <a:lnTo>
                    <a:pt x="17653" y="9068"/>
                  </a:lnTo>
                  <a:lnTo>
                    <a:pt x="17645" y="9034"/>
                  </a:lnTo>
                  <a:lnTo>
                    <a:pt x="17637" y="8999"/>
                  </a:lnTo>
                  <a:lnTo>
                    <a:pt x="17629" y="8965"/>
                  </a:lnTo>
                  <a:lnTo>
                    <a:pt x="17609" y="8895"/>
                  </a:lnTo>
                  <a:lnTo>
                    <a:pt x="17587" y="8825"/>
                  </a:lnTo>
                  <a:lnTo>
                    <a:pt x="17563" y="8757"/>
                  </a:lnTo>
                  <a:lnTo>
                    <a:pt x="17539" y="8689"/>
                  </a:lnTo>
                  <a:lnTo>
                    <a:pt x="17513" y="8624"/>
                  </a:lnTo>
                  <a:lnTo>
                    <a:pt x="17487" y="8563"/>
                  </a:lnTo>
                  <a:lnTo>
                    <a:pt x="17462" y="8506"/>
                  </a:lnTo>
                  <a:lnTo>
                    <a:pt x="17437" y="8455"/>
                  </a:lnTo>
                  <a:lnTo>
                    <a:pt x="17415" y="8408"/>
                  </a:lnTo>
                  <a:lnTo>
                    <a:pt x="17394" y="8369"/>
                  </a:lnTo>
                  <a:lnTo>
                    <a:pt x="17360" y="8310"/>
                  </a:lnTo>
                  <a:lnTo>
                    <a:pt x="17328" y="8254"/>
                  </a:lnTo>
                  <a:lnTo>
                    <a:pt x="17297" y="8203"/>
                  </a:lnTo>
                  <a:lnTo>
                    <a:pt x="17268" y="8155"/>
                  </a:lnTo>
                  <a:lnTo>
                    <a:pt x="17239" y="8109"/>
                  </a:lnTo>
                  <a:lnTo>
                    <a:pt x="17210" y="8066"/>
                  </a:lnTo>
                  <a:lnTo>
                    <a:pt x="17182" y="8023"/>
                  </a:lnTo>
                  <a:lnTo>
                    <a:pt x="17153" y="7981"/>
                  </a:lnTo>
                  <a:lnTo>
                    <a:pt x="17123" y="7941"/>
                  </a:lnTo>
                  <a:lnTo>
                    <a:pt x="17093" y="7900"/>
                  </a:lnTo>
                  <a:lnTo>
                    <a:pt x="17062" y="7858"/>
                  </a:lnTo>
                  <a:lnTo>
                    <a:pt x="17029" y="7816"/>
                  </a:lnTo>
                  <a:lnTo>
                    <a:pt x="16958" y="7727"/>
                  </a:lnTo>
                  <a:lnTo>
                    <a:pt x="16877" y="7627"/>
                  </a:lnTo>
                  <a:lnTo>
                    <a:pt x="16843" y="7585"/>
                  </a:lnTo>
                  <a:lnTo>
                    <a:pt x="16805" y="7540"/>
                  </a:lnTo>
                  <a:lnTo>
                    <a:pt x="16766" y="7493"/>
                  </a:lnTo>
                  <a:lnTo>
                    <a:pt x="16725" y="7446"/>
                  </a:lnTo>
                  <a:lnTo>
                    <a:pt x="16641" y="7350"/>
                  </a:lnTo>
                  <a:lnTo>
                    <a:pt x="16551" y="7253"/>
                  </a:lnTo>
                  <a:lnTo>
                    <a:pt x="16462" y="7157"/>
                  </a:lnTo>
                  <a:lnTo>
                    <a:pt x="16373" y="7065"/>
                  </a:lnTo>
                  <a:lnTo>
                    <a:pt x="16287" y="6978"/>
                  </a:lnTo>
                  <a:lnTo>
                    <a:pt x="16207" y="6899"/>
                  </a:lnTo>
                  <a:lnTo>
                    <a:pt x="16179" y="6872"/>
                  </a:lnTo>
                  <a:lnTo>
                    <a:pt x="16153" y="6842"/>
                  </a:lnTo>
                  <a:lnTo>
                    <a:pt x="16127" y="6811"/>
                  </a:lnTo>
                  <a:lnTo>
                    <a:pt x="16099" y="6779"/>
                  </a:lnTo>
                  <a:lnTo>
                    <a:pt x="16071" y="6747"/>
                  </a:lnTo>
                  <a:lnTo>
                    <a:pt x="16042" y="6715"/>
                  </a:lnTo>
                  <a:lnTo>
                    <a:pt x="16011" y="6683"/>
                  </a:lnTo>
                  <a:lnTo>
                    <a:pt x="15979" y="6652"/>
                  </a:lnTo>
                  <a:lnTo>
                    <a:pt x="14313" y="5186"/>
                  </a:lnTo>
                  <a:lnTo>
                    <a:pt x="14230" y="5121"/>
                  </a:lnTo>
                  <a:lnTo>
                    <a:pt x="14144" y="5052"/>
                  </a:lnTo>
                  <a:lnTo>
                    <a:pt x="14058" y="4981"/>
                  </a:lnTo>
                  <a:lnTo>
                    <a:pt x="13972" y="4911"/>
                  </a:lnTo>
                  <a:lnTo>
                    <a:pt x="13885" y="4840"/>
                  </a:lnTo>
                  <a:lnTo>
                    <a:pt x="13797" y="4769"/>
                  </a:lnTo>
                  <a:lnTo>
                    <a:pt x="13709" y="4700"/>
                  </a:lnTo>
                  <a:lnTo>
                    <a:pt x="13622" y="4634"/>
                  </a:lnTo>
                  <a:lnTo>
                    <a:pt x="13528" y="4565"/>
                  </a:lnTo>
                  <a:lnTo>
                    <a:pt x="13437" y="4496"/>
                  </a:lnTo>
                  <a:lnTo>
                    <a:pt x="13348" y="4430"/>
                  </a:lnTo>
                  <a:lnTo>
                    <a:pt x="13259" y="4364"/>
                  </a:lnTo>
                  <a:lnTo>
                    <a:pt x="13172" y="4299"/>
                  </a:lnTo>
                  <a:lnTo>
                    <a:pt x="13085" y="4234"/>
                  </a:lnTo>
                  <a:lnTo>
                    <a:pt x="12999" y="4170"/>
                  </a:lnTo>
                  <a:lnTo>
                    <a:pt x="12913" y="4107"/>
                  </a:lnTo>
                  <a:lnTo>
                    <a:pt x="12826" y="4043"/>
                  </a:lnTo>
                  <a:lnTo>
                    <a:pt x="12738" y="3980"/>
                  </a:lnTo>
                  <a:lnTo>
                    <a:pt x="12650" y="3916"/>
                  </a:lnTo>
                  <a:lnTo>
                    <a:pt x="12559" y="3852"/>
                  </a:lnTo>
                  <a:lnTo>
                    <a:pt x="12468" y="3787"/>
                  </a:lnTo>
                  <a:lnTo>
                    <a:pt x="12373" y="3722"/>
                  </a:lnTo>
                  <a:lnTo>
                    <a:pt x="12276" y="3655"/>
                  </a:lnTo>
                  <a:lnTo>
                    <a:pt x="12177" y="3589"/>
                  </a:lnTo>
                  <a:lnTo>
                    <a:pt x="12083" y="3525"/>
                  </a:lnTo>
                  <a:lnTo>
                    <a:pt x="11988" y="3463"/>
                  </a:lnTo>
                  <a:lnTo>
                    <a:pt x="11893" y="3402"/>
                  </a:lnTo>
                  <a:lnTo>
                    <a:pt x="11798" y="3340"/>
                  </a:lnTo>
                  <a:lnTo>
                    <a:pt x="11702" y="3280"/>
                  </a:lnTo>
                  <a:lnTo>
                    <a:pt x="11606" y="3219"/>
                  </a:lnTo>
                  <a:lnTo>
                    <a:pt x="11509" y="3158"/>
                  </a:lnTo>
                  <a:lnTo>
                    <a:pt x="11411" y="3097"/>
                  </a:lnTo>
                  <a:lnTo>
                    <a:pt x="11318" y="3037"/>
                  </a:lnTo>
                  <a:lnTo>
                    <a:pt x="11222" y="2979"/>
                  </a:lnTo>
                  <a:lnTo>
                    <a:pt x="11125" y="2920"/>
                  </a:lnTo>
                  <a:lnTo>
                    <a:pt x="11028" y="2863"/>
                  </a:lnTo>
                  <a:lnTo>
                    <a:pt x="10930" y="2806"/>
                  </a:lnTo>
                  <a:lnTo>
                    <a:pt x="10831" y="2749"/>
                  </a:lnTo>
                  <a:lnTo>
                    <a:pt x="10732" y="2692"/>
                  </a:lnTo>
                  <a:lnTo>
                    <a:pt x="10631" y="2635"/>
                  </a:lnTo>
                  <a:lnTo>
                    <a:pt x="10529" y="2579"/>
                  </a:lnTo>
                  <a:lnTo>
                    <a:pt x="10427" y="2523"/>
                  </a:lnTo>
                  <a:lnTo>
                    <a:pt x="10326" y="2468"/>
                  </a:lnTo>
                  <a:lnTo>
                    <a:pt x="10223" y="2413"/>
                  </a:lnTo>
                  <a:lnTo>
                    <a:pt x="10120" y="2359"/>
                  </a:lnTo>
                  <a:lnTo>
                    <a:pt x="10015" y="2305"/>
                  </a:lnTo>
                  <a:lnTo>
                    <a:pt x="9911" y="2251"/>
                  </a:lnTo>
                  <a:lnTo>
                    <a:pt x="9807" y="2198"/>
                  </a:lnTo>
                  <a:lnTo>
                    <a:pt x="9735" y="2162"/>
                  </a:lnTo>
                  <a:lnTo>
                    <a:pt x="9660" y="2124"/>
                  </a:lnTo>
                  <a:lnTo>
                    <a:pt x="9583" y="2086"/>
                  </a:lnTo>
                  <a:lnTo>
                    <a:pt x="9504" y="2047"/>
                  </a:lnTo>
                  <a:lnTo>
                    <a:pt x="9423" y="2010"/>
                  </a:lnTo>
                  <a:lnTo>
                    <a:pt x="9340" y="1971"/>
                  </a:lnTo>
                  <a:lnTo>
                    <a:pt x="9258" y="1932"/>
                  </a:lnTo>
                  <a:lnTo>
                    <a:pt x="9174" y="1893"/>
                  </a:lnTo>
                  <a:lnTo>
                    <a:pt x="9091" y="1855"/>
                  </a:lnTo>
                  <a:lnTo>
                    <a:pt x="9006" y="1816"/>
                  </a:lnTo>
                  <a:lnTo>
                    <a:pt x="8923" y="1780"/>
                  </a:lnTo>
                  <a:lnTo>
                    <a:pt x="8840" y="1743"/>
                  </a:lnTo>
                  <a:lnTo>
                    <a:pt x="8759" y="1707"/>
                  </a:lnTo>
                  <a:lnTo>
                    <a:pt x="8679" y="1673"/>
                  </a:lnTo>
                  <a:lnTo>
                    <a:pt x="8600" y="1640"/>
                  </a:lnTo>
                  <a:lnTo>
                    <a:pt x="8523" y="1608"/>
                  </a:lnTo>
                  <a:lnTo>
                    <a:pt x="8472" y="1587"/>
                  </a:lnTo>
                  <a:lnTo>
                    <a:pt x="8417" y="1562"/>
                  </a:lnTo>
                  <a:lnTo>
                    <a:pt x="8360" y="1537"/>
                  </a:lnTo>
                  <a:lnTo>
                    <a:pt x="8300" y="1511"/>
                  </a:lnTo>
                  <a:lnTo>
                    <a:pt x="8242" y="1485"/>
                  </a:lnTo>
                  <a:lnTo>
                    <a:pt x="8184" y="1461"/>
                  </a:lnTo>
                  <a:lnTo>
                    <a:pt x="8156" y="1451"/>
                  </a:lnTo>
                  <a:lnTo>
                    <a:pt x="8129" y="1442"/>
                  </a:lnTo>
                  <a:lnTo>
                    <a:pt x="8102" y="1433"/>
                  </a:lnTo>
                  <a:lnTo>
                    <a:pt x="8078" y="1426"/>
                  </a:lnTo>
                  <a:close/>
                </a:path>
              </a:pathLst>
            </a:custGeom>
            <a:solidFill>
              <a:schemeClr val="bg1">
                <a:lumMod val="85000"/>
                <a:alpha val="98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0" name="Freeform 5">
              <a:extLst>
                <a:ext uri="{FF2B5EF4-FFF2-40B4-BE49-F238E27FC236}">
                  <a16:creationId xmlns:a16="http://schemas.microsoft.com/office/drawing/2014/main" id="{82888382-2D0F-4E8C-9C86-6806C54793EE}"/>
                </a:ext>
              </a:extLst>
            </p:cNvPr>
            <p:cNvSpPr>
              <a:spLocks/>
            </p:cNvSpPr>
            <p:nvPr/>
          </p:nvSpPr>
          <p:spPr bwMode="auto">
            <a:xfrm>
              <a:off x="1598543" y="3421099"/>
              <a:ext cx="263057" cy="272508"/>
            </a:xfrm>
            <a:custGeom>
              <a:avLst/>
              <a:gdLst>
                <a:gd name="T0" fmla="*/ 7371 w 17675"/>
                <a:gd name="T1" fmla="*/ 1125 h 18310"/>
                <a:gd name="T2" fmla="*/ 5959 w 17675"/>
                <a:gd name="T3" fmla="*/ 593 h 18310"/>
                <a:gd name="T4" fmla="*/ 4735 w 17675"/>
                <a:gd name="T5" fmla="*/ 240 h 18310"/>
                <a:gd name="T6" fmla="*/ 3627 w 17675"/>
                <a:gd name="T7" fmla="*/ 54 h 18310"/>
                <a:gd name="T8" fmla="*/ 2806 w 17675"/>
                <a:gd name="T9" fmla="*/ 7 h 18310"/>
                <a:gd name="T10" fmla="*/ 2454 w 17675"/>
                <a:gd name="T11" fmla="*/ 85 h 18310"/>
                <a:gd name="T12" fmla="*/ 2132 w 17675"/>
                <a:gd name="T13" fmla="*/ 262 h 18310"/>
                <a:gd name="T14" fmla="*/ 1838 w 17675"/>
                <a:gd name="T15" fmla="*/ 533 h 18310"/>
                <a:gd name="T16" fmla="*/ 1454 w 17675"/>
                <a:gd name="T17" fmla="*/ 1111 h 18310"/>
                <a:gd name="T18" fmla="*/ 1261 w 17675"/>
                <a:gd name="T19" fmla="*/ 1545 h 18310"/>
                <a:gd name="T20" fmla="*/ 1008 w 17675"/>
                <a:gd name="T21" fmla="*/ 2315 h 18310"/>
                <a:gd name="T22" fmla="*/ 836 w 17675"/>
                <a:gd name="T23" fmla="*/ 2906 h 18310"/>
                <a:gd name="T24" fmla="*/ 683 w 17675"/>
                <a:gd name="T25" fmla="*/ 3519 h 18310"/>
                <a:gd name="T26" fmla="*/ 506 w 17675"/>
                <a:gd name="T27" fmla="*/ 4330 h 18310"/>
                <a:gd name="T28" fmla="*/ 356 w 17675"/>
                <a:gd name="T29" fmla="*/ 5177 h 18310"/>
                <a:gd name="T30" fmla="*/ 199 w 17675"/>
                <a:gd name="T31" fmla="*/ 6352 h 18310"/>
                <a:gd name="T32" fmla="*/ 65 w 17675"/>
                <a:gd name="T33" fmla="*/ 7805 h 18310"/>
                <a:gd name="T34" fmla="*/ 1 w 17675"/>
                <a:gd name="T35" fmla="*/ 9354 h 18310"/>
                <a:gd name="T36" fmla="*/ 54 w 17675"/>
                <a:gd name="T37" fmla="*/ 10490 h 18310"/>
                <a:gd name="T38" fmla="*/ 149 w 17675"/>
                <a:gd name="T39" fmla="*/ 11811 h 18310"/>
                <a:gd name="T40" fmla="*/ 298 w 17675"/>
                <a:gd name="T41" fmla="*/ 13066 h 18310"/>
                <a:gd name="T42" fmla="*/ 650 w 17675"/>
                <a:gd name="T43" fmla="*/ 14979 h 18310"/>
                <a:gd name="T44" fmla="*/ 991 w 17675"/>
                <a:gd name="T45" fmla="*/ 16266 h 18310"/>
                <a:gd name="T46" fmla="*/ 1332 w 17675"/>
                <a:gd name="T47" fmla="*/ 17156 h 18310"/>
                <a:gd name="T48" fmla="*/ 1598 w 17675"/>
                <a:gd name="T49" fmla="*/ 17614 h 18310"/>
                <a:gd name="T50" fmla="*/ 1917 w 17675"/>
                <a:gd name="T51" fmla="*/ 17970 h 18310"/>
                <a:gd name="T52" fmla="*/ 2349 w 17675"/>
                <a:gd name="T53" fmla="*/ 18232 h 18310"/>
                <a:gd name="T54" fmla="*/ 2745 w 17675"/>
                <a:gd name="T55" fmla="*/ 18309 h 18310"/>
                <a:gd name="T56" fmla="*/ 3384 w 17675"/>
                <a:gd name="T57" fmla="*/ 18287 h 18310"/>
                <a:gd name="T58" fmla="*/ 4157 w 17675"/>
                <a:gd name="T59" fmla="*/ 18192 h 18310"/>
                <a:gd name="T60" fmla="*/ 5006 w 17675"/>
                <a:gd name="T61" fmla="*/ 18009 h 18310"/>
                <a:gd name="T62" fmla="*/ 6483 w 17675"/>
                <a:gd name="T63" fmla="*/ 17544 h 18310"/>
                <a:gd name="T64" fmla="*/ 7200 w 17675"/>
                <a:gd name="T65" fmla="*/ 17277 h 18310"/>
                <a:gd name="T66" fmla="*/ 8295 w 17675"/>
                <a:gd name="T67" fmla="*/ 16841 h 18310"/>
                <a:gd name="T68" fmla="*/ 8872 w 17675"/>
                <a:gd name="T69" fmla="*/ 16605 h 18310"/>
                <a:gd name="T70" fmla="*/ 9346 w 17675"/>
                <a:gd name="T71" fmla="*/ 16391 h 18310"/>
                <a:gd name="T72" fmla="*/ 10057 w 17675"/>
                <a:gd name="T73" fmla="*/ 16048 h 18310"/>
                <a:gd name="T74" fmla="*/ 10903 w 17675"/>
                <a:gd name="T75" fmla="*/ 15584 h 18310"/>
                <a:gd name="T76" fmla="*/ 11867 w 17675"/>
                <a:gd name="T77" fmla="*/ 14997 h 18310"/>
                <a:gd name="T78" fmla="*/ 12590 w 17675"/>
                <a:gd name="T79" fmla="*/ 14528 h 18310"/>
                <a:gd name="T80" fmla="*/ 13212 w 17675"/>
                <a:gd name="T81" fmla="*/ 14088 h 18310"/>
                <a:gd name="T82" fmla="*/ 14481 w 17675"/>
                <a:gd name="T83" fmla="*/ 13112 h 18310"/>
                <a:gd name="T84" fmla="*/ 14802 w 17675"/>
                <a:gd name="T85" fmla="*/ 12854 h 18310"/>
                <a:gd name="T86" fmla="*/ 15451 w 17675"/>
                <a:gd name="T87" fmla="*/ 12291 h 18310"/>
                <a:gd name="T88" fmla="*/ 15927 w 17675"/>
                <a:gd name="T89" fmla="*/ 11853 h 18310"/>
                <a:gd name="T90" fmla="*/ 16443 w 17675"/>
                <a:gd name="T91" fmla="*/ 11335 h 18310"/>
                <a:gd name="T92" fmla="*/ 16856 w 17675"/>
                <a:gd name="T93" fmla="*/ 10896 h 18310"/>
                <a:gd name="T94" fmla="*/ 17295 w 17675"/>
                <a:gd name="T95" fmla="*/ 10296 h 18310"/>
                <a:gd name="T96" fmla="*/ 17543 w 17675"/>
                <a:gd name="T97" fmla="*/ 9805 h 18310"/>
                <a:gd name="T98" fmla="*/ 17675 w 17675"/>
                <a:gd name="T99" fmla="*/ 9283 h 18310"/>
                <a:gd name="T100" fmla="*/ 17609 w 17675"/>
                <a:gd name="T101" fmla="*/ 8895 h 18310"/>
                <a:gd name="T102" fmla="*/ 17328 w 17675"/>
                <a:gd name="T103" fmla="*/ 8254 h 18310"/>
                <a:gd name="T104" fmla="*/ 16958 w 17675"/>
                <a:gd name="T105" fmla="*/ 7727 h 18310"/>
                <a:gd name="T106" fmla="*/ 16207 w 17675"/>
                <a:gd name="T107" fmla="*/ 6899 h 18310"/>
                <a:gd name="T108" fmla="*/ 14144 w 17675"/>
                <a:gd name="T109" fmla="*/ 5052 h 18310"/>
                <a:gd name="T110" fmla="*/ 13172 w 17675"/>
                <a:gd name="T111" fmla="*/ 4299 h 18310"/>
                <a:gd name="T112" fmla="*/ 12177 w 17675"/>
                <a:gd name="T113" fmla="*/ 3589 h 18310"/>
                <a:gd name="T114" fmla="*/ 11125 w 17675"/>
                <a:gd name="T115" fmla="*/ 2920 h 18310"/>
                <a:gd name="T116" fmla="*/ 10015 w 17675"/>
                <a:gd name="T117" fmla="*/ 2305 h 18310"/>
                <a:gd name="T118" fmla="*/ 9091 w 17675"/>
                <a:gd name="T119" fmla="*/ 1855 h 18310"/>
                <a:gd name="T120" fmla="*/ 8300 w 17675"/>
                <a:gd name="T121" fmla="*/ 1511 h 18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7675" h="18310">
                  <a:moveTo>
                    <a:pt x="8078" y="1426"/>
                  </a:moveTo>
                  <a:lnTo>
                    <a:pt x="8047" y="1409"/>
                  </a:lnTo>
                  <a:lnTo>
                    <a:pt x="8014" y="1392"/>
                  </a:lnTo>
                  <a:lnTo>
                    <a:pt x="7978" y="1376"/>
                  </a:lnTo>
                  <a:lnTo>
                    <a:pt x="7940" y="1360"/>
                  </a:lnTo>
                  <a:lnTo>
                    <a:pt x="7901" y="1345"/>
                  </a:lnTo>
                  <a:lnTo>
                    <a:pt x="7862" y="1330"/>
                  </a:lnTo>
                  <a:lnTo>
                    <a:pt x="7825" y="1315"/>
                  </a:lnTo>
                  <a:lnTo>
                    <a:pt x="7791" y="1301"/>
                  </a:lnTo>
                  <a:lnTo>
                    <a:pt x="7583" y="1213"/>
                  </a:lnTo>
                  <a:lnTo>
                    <a:pt x="7371" y="1125"/>
                  </a:lnTo>
                  <a:lnTo>
                    <a:pt x="7158" y="1038"/>
                  </a:lnTo>
                  <a:lnTo>
                    <a:pt x="6943" y="953"/>
                  </a:lnTo>
                  <a:lnTo>
                    <a:pt x="6836" y="911"/>
                  </a:lnTo>
                  <a:lnTo>
                    <a:pt x="6727" y="869"/>
                  </a:lnTo>
                  <a:lnTo>
                    <a:pt x="6618" y="827"/>
                  </a:lnTo>
                  <a:lnTo>
                    <a:pt x="6508" y="787"/>
                  </a:lnTo>
                  <a:lnTo>
                    <a:pt x="6400" y="747"/>
                  </a:lnTo>
                  <a:lnTo>
                    <a:pt x="6290" y="707"/>
                  </a:lnTo>
                  <a:lnTo>
                    <a:pt x="6180" y="668"/>
                  </a:lnTo>
                  <a:lnTo>
                    <a:pt x="6070" y="631"/>
                  </a:lnTo>
                  <a:lnTo>
                    <a:pt x="5959" y="593"/>
                  </a:lnTo>
                  <a:lnTo>
                    <a:pt x="5848" y="556"/>
                  </a:lnTo>
                  <a:lnTo>
                    <a:pt x="5737" y="521"/>
                  </a:lnTo>
                  <a:lnTo>
                    <a:pt x="5626" y="485"/>
                  </a:lnTo>
                  <a:lnTo>
                    <a:pt x="5515" y="451"/>
                  </a:lnTo>
                  <a:lnTo>
                    <a:pt x="5404" y="418"/>
                  </a:lnTo>
                  <a:lnTo>
                    <a:pt x="5292" y="386"/>
                  </a:lnTo>
                  <a:lnTo>
                    <a:pt x="5181" y="355"/>
                  </a:lnTo>
                  <a:lnTo>
                    <a:pt x="5069" y="324"/>
                  </a:lnTo>
                  <a:lnTo>
                    <a:pt x="4958" y="295"/>
                  </a:lnTo>
                  <a:lnTo>
                    <a:pt x="4846" y="267"/>
                  </a:lnTo>
                  <a:lnTo>
                    <a:pt x="4735" y="240"/>
                  </a:lnTo>
                  <a:lnTo>
                    <a:pt x="4623" y="215"/>
                  </a:lnTo>
                  <a:lnTo>
                    <a:pt x="4511" y="191"/>
                  </a:lnTo>
                  <a:lnTo>
                    <a:pt x="4400" y="168"/>
                  </a:lnTo>
                  <a:lnTo>
                    <a:pt x="4287" y="146"/>
                  </a:lnTo>
                  <a:lnTo>
                    <a:pt x="4234" y="136"/>
                  </a:lnTo>
                  <a:lnTo>
                    <a:pt x="4162" y="125"/>
                  </a:lnTo>
                  <a:lnTo>
                    <a:pt x="4075" y="112"/>
                  </a:lnTo>
                  <a:lnTo>
                    <a:pt x="3975" y="98"/>
                  </a:lnTo>
                  <a:lnTo>
                    <a:pt x="3865" y="84"/>
                  </a:lnTo>
                  <a:lnTo>
                    <a:pt x="3749" y="69"/>
                  </a:lnTo>
                  <a:lnTo>
                    <a:pt x="3627" y="54"/>
                  </a:lnTo>
                  <a:lnTo>
                    <a:pt x="3504" y="40"/>
                  </a:lnTo>
                  <a:lnTo>
                    <a:pt x="3381" y="27"/>
                  </a:lnTo>
                  <a:lnTo>
                    <a:pt x="3262" y="17"/>
                  </a:lnTo>
                  <a:lnTo>
                    <a:pt x="3148" y="8"/>
                  </a:lnTo>
                  <a:lnTo>
                    <a:pt x="3043" y="2"/>
                  </a:lnTo>
                  <a:lnTo>
                    <a:pt x="2994" y="1"/>
                  </a:lnTo>
                  <a:lnTo>
                    <a:pt x="2949" y="0"/>
                  </a:lnTo>
                  <a:lnTo>
                    <a:pt x="2908" y="0"/>
                  </a:lnTo>
                  <a:lnTo>
                    <a:pt x="2869" y="1"/>
                  </a:lnTo>
                  <a:lnTo>
                    <a:pt x="2834" y="3"/>
                  </a:lnTo>
                  <a:lnTo>
                    <a:pt x="2806" y="7"/>
                  </a:lnTo>
                  <a:lnTo>
                    <a:pt x="2780" y="11"/>
                  </a:lnTo>
                  <a:lnTo>
                    <a:pt x="2761" y="17"/>
                  </a:lnTo>
                  <a:lnTo>
                    <a:pt x="2724" y="19"/>
                  </a:lnTo>
                  <a:lnTo>
                    <a:pt x="2689" y="24"/>
                  </a:lnTo>
                  <a:lnTo>
                    <a:pt x="2655" y="29"/>
                  </a:lnTo>
                  <a:lnTo>
                    <a:pt x="2620" y="35"/>
                  </a:lnTo>
                  <a:lnTo>
                    <a:pt x="2586" y="43"/>
                  </a:lnTo>
                  <a:lnTo>
                    <a:pt x="2552" y="53"/>
                  </a:lnTo>
                  <a:lnTo>
                    <a:pt x="2518" y="63"/>
                  </a:lnTo>
                  <a:lnTo>
                    <a:pt x="2486" y="73"/>
                  </a:lnTo>
                  <a:lnTo>
                    <a:pt x="2454" y="85"/>
                  </a:lnTo>
                  <a:lnTo>
                    <a:pt x="2423" y="97"/>
                  </a:lnTo>
                  <a:lnTo>
                    <a:pt x="2393" y="111"/>
                  </a:lnTo>
                  <a:lnTo>
                    <a:pt x="2363" y="125"/>
                  </a:lnTo>
                  <a:lnTo>
                    <a:pt x="2333" y="138"/>
                  </a:lnTo>
                  <a:lnTo>
                    <a:pt x="2306" y="153"/>
                  </a:lnTo>
                  <a:lnTo>
                    <a:pt x="2278" y="169"/>
                  </a:lnTo>
                  <a:lnTo>
                    <a:pt x="2252" y="184"/>
                  </a:lnTo>
                  <a:lnTo>
                    <a:pt x="2218" y="205"/>
                  </a:lnTo>
                  <a:lnTo>
                    <a:pt x="2187" y="224"/>
                  </a:lnTo>
                  <a:lnTo>
                    <a:pt x="2158" y="244"/>
                  </a:lnTo>
                  <a:lnTo>
                    <a:pt x="2132" y="262"/>
                  </a:lnTo>
                  <a:lnTo>
                    <a:pt x="2108" y="280"/>
                  </a:lnTo>
                  <a:lnTo>
                    <a:pt x="2086" y="298"/>
                  </a:lnTo>
                  <a:lnTo>
                    <a:pt x="2065" y="315"/>
                  </a:lnTo>
                  <a:lnTo>
                    <a:pt x="2046" y="332"/>
                  </a:lnTo>
                  <a:lnTo>
                    <a:pt x="2007" y="367"/>
                  </a:lnTo>
                  <a:lnTo>
                    <a:pt x="1968" y="405"/>
                  </a:lnTo>
                  <a:lnTo>
                    <a:pt x="1927" y="446"/>
                  </a:lnTo>
                  <a:lnTo>
                    <a:pt x="1878" y="491"/>
                  </a:lnTo>
                  <a:lnTo>
                    <a:pt x="1866" y="504"/>
                  </a:lnTo>
                  <a:lnTo>
                    <a:pt x="1853" y="517"/>
                  </a:lnTo>
                  <a:lnTo>
                    <a:pt x="1838" y="533"/>
                  </a:lnTo>
                  <a:lnTo>
                    <a:pt x="1823" y="550"/>
                  </a:lnTo>
                  <a:lnTo>
                    <a:pt x="1790" y="592"/>
                  </a:lnTo>
                  <a:lnTo>
                    <a:pt x="1754" y="637"/>
                  </a:lnTo>
                  <a:lnTo>
                    <a:pt x="1717" y="689"/>
                  </a:lnTo>
                  <a:lnTo>
                    <a:pt x="1679" y="744"/>
                  </a:lnTo>
                  <a:lnTo>
                    <a:pt x="1639" y="802"/>
                  </a:lnTo>
                  <a:lnTo>
                    <a:pt x="1600" y="863"/>
                  </a:lnTo>
                  <a:lnTo>
                    <a:pt x="1561" y="926"/>
                  </a:lnTo>
                  <a:lnTo>
                    <a:pt x="1524" y="988"/>
                  </a:lnTo>
                  <a:lnTo>
                    <a:pt x="1488" y="1051"/>
                  </a:lnTo>
                  <a:lnTo>
                    <a:pt x="1454" y="1111"/>
                  </a:lnTo>
                  <a:lnTo>
                    <a:pt x="1425" y="1170"/>
                  </a:lnTo>
                  <a:lnTo>
                    <a:pt x="1398" y="1226"/>
                  </a:lnTo>
                  <a:lnTo>
                    <a:pt x="1387" y="1252"/>
                  </a:lnTo>
                  <a:lnTo>
                    <a:pt x="1377" y="1277"/>
                  </a:lnTo>
                  <a:lnTo>
                    <a:pt x="1367" y="1301"/>
                  </a:lnTo>
                  <a:lnTo>
                    <a:pt x="1359" y="1323"/>
                  </a:lnTo>
                  <a:lnTo>
                    <a:pt x="1340" y="1362"/>
                  </a:lnTo>
                  <a:lnTo>
                    <a:pt x="1320" y="1404"/>
                  </a:lnTo>
                  <a:lnTo>
                    <a:pt x="1300" y="1449"/>
                  </a:lnTo>
                  <a:lnTo>
                    <a:pt x="1280" y="1496"/>
                  </a:lnTo>
                  <a:lnTo>
                    <a:pt x="1261" y="1545"/>
                  </a:lnTo>
                  <a:lnTo>
                    <a:pt x="1241" y="1596"/>
                  </a:lnTo>
                  <a:lnTo>
                    <a:pt x="1222" y="1648"/>
                  </a:lnTo>
                  <a:lnTo>
                    <a:pt x="1204" y="1702"/>
                  </a:lnTo>
                  <a:lnTo>
                    <a:pt x="1167" y="1808"/>
                  </a:lnTo>
                  <a:lnTo>
                    <a:pt x="1133" y="1915"/>
                  </a:lnTo>
                  <a:lnTo>
                    <a:pt x="1101" y="2016"/>
                  </a:lnTo>
                  <a:lnTo>
                    <a:pt x="1071" y="2110"/>
                  </a:lnTo>
                  <a:lnTo>
                    <a:pt x="1055" y="2162"/>
                  </a:lnTo>
                  <a:lnTo>
                    <a:pt x="1039" y="2213"/>
                  </a:lnTo>
                  <a:lnTo>
                    <a:pt x="1023" y="2264"/>
                  </a:lnTo>
                  <a:lnTo>
                    <a:pt x="1008" y="2315"/>
                  </a:lnTo>
                  <a:lnTo>
                    <a:pt x="992" y="2367"/>
                  </a:lnTo>
                  <a:lnTo>
                    <a:pt x="976" y="2418"/>
                  </a:lnTo>
                  <a:lnTo>
                    <a:pt x="960" y="2471"/>
                  </a:lnTo>
                  <a:lnTo>
                    <a:pt x="944" y="2523"/>
                  </a:lnTo>
                  <a:lnTo>
                    <a:pt x="929" y="2573"/>
                  </a:lnTo>
                  <a:lnTo>
                    <a:pt x="913" y="2626"/>
                  </a:lnTo>
                  <a:lnTo>
                    <a:pt x="896" y="2682"/>
                  </a:lnTo>
                  <a:lnTo>
                    <a:pt x="880" y="2740"/>
                  </a:lnTo>
                  <a:lnTo>
                    <a:pt x="864" y="2797"/>
                  </a:lnTo>
                  <a:lnTo>
                    <a:pt x="849" y="2852"/>
                  </a:lnTo>
                  <a:lnTo>
                    <a:pt x="836" y="2906"/>
                  </a:lnTo>
                  <a:lnTo>
                    <a:pt x="827" y="2955"/>
                  </a:lnTo>
                  <a:lnTo>
                    <a:pt x="818" y="2977"/>
                  </a:lnTo>
                  <a:lnTo>
                    <a:pt x="809" y="3003"/>
                  </a:lnTo>
                  <a:lnTo>
                    <a:pt x="800" y="3033"/>
                  </a:lnTo>
                  <a:lnTo>
                    <a:pt x="790" y="3067"/>
                  </a:lnTo>
                  <a:lnTo>
                    <a:pt x="770" y="3142"/>
                  </a:lnTo>
                  <a:lnTo>
                    <a:pt x="749" y="3225"/>
                  </a:lnTo>
                  <a:lnTo>
                    <a:pt x="730" y="3310"/>
                  </a:lnTo>
                  <a:lnTo>
                    <a:pt x="712" y="3390"/>
                  </a:lnTo>
                  <a:lnTo>
                    <a:pt x="696" y="3461"/>
                  </a:lnTo>
                  <a:lnTo>
                    <a:pt x="683" y="3519"/>
                  </a:lnTo>
                  <a:lnTo>
                    <a:pt x="666" y="3593"/>
                  </a:lnTo>
                  <a:lnTo>
                    <a:pt x="649" y="3667"/>
                  </a:lnTo>
                  <a:lnTo>
                    <a:pt x="633" y="3740"/>
                  </a:lnTo>
                  <a:lnTo>
                    <a:pt x="617" y="3813"/>
                  </a:lnTo>
                  <a:lnTo>
                    <a:pt x="601" y="3886"/>
                  </a:lnTo>
                  <a:lnTo>
                    <a:pt x="585" y="3960"/>
                  </a:lnTo>
                  <a:lnTo>
                    <a:pt x="569" y="4033"/>
                  </a:lnTo>
                  <a:lnTo>
                    <a:pt x="553" y="4108"/>
                  </a:lnTo>
                  <a:lnTo>
                    <a:pt x="537" y="4182"/>
                  </a:lnTo>
                  <a:lnTo>
                    <a:pt x="522" y="4256"/>
                  </a:lnTo>
                  <a:lnTo>
                    <a:pt x="506" y="4330"/>
                  </a:lnTo>
                  <a:lnTo>
                    <a:pt x="491" y="4406"/>
                  </a:lnTo>
                  <a:lnTo>
                    <a:pt x="476" y="4483"/>
                  </a:lnTo>
                  <a:lnTo>
                    <a:pt x="461" y="4559"/>
                  </a:lnTo>
                  <a:lnTo>
                    <a:pt x="447" y="4636"/>
                  </a:lnTo>
                  <a:lnTo>
                    <a:pt x="433" y="4714"/>
                  </a:lnTo>
                  <a:lnTo>
                    <a:pt x="419" y="4791"/>
                  </a:lnTo>
                  <a:lnTo>
                    <a:pt x="405" y="4868"/>
                  </a:lnTo>
                  <a:lnTo>
                    <a:pt x="392" y="4946"/>
                  </a:lnTo>
                  <a:lnTo>
                    <a:pt x="380" y="5024"/>
                  </a:lnTo>
                  <a:lnTo>
                    <a:pt x="367" y="5100"/>
                  </a:lnTo>
                  <a:lnTo>
                    <a:pt x="356" y="5177"/>
                  </a:lnTo>
                  <a:lnTo>
                    <a:pt x="346" y="5253"/>
                  </a:lnTo>
                  <a:lnTo>
                    <a:pt x="335" y="5328"/>
                  </a:lnTo>
                  <a:lnTo>
                    <a:pt x="320" y="5442"/>
                  </a:lnTo>
                  <a:lnTo>
                    <a:pt x="304" y="5555"/>
                  </a:lnTo>
                  <a:lnTo>
                    <a:pt x="289" y="5668"/>
                  </a:lnTo>
                  <a:lnTo>
                    <a:pt x="275" y="5781"/>
                  </a:lnTo>
                  <a:lnTo>
                    <a:pt x="259" y="5896"/>
                  </a:lnTo>
                  <a:lnTo>
                    <a:pt x="244" y="6009"/>
                  </a:lnTo>
                  <a:lnTo>
                    <a:pt x="229" y="6124"/>
                  </a:lnTo>
                  <a:lnTo>
                    <a:pt x="214" y="6238"/>
                  </a:lnTo>
                  <a:lnTo>
                    <a:pt x="199" y="6352"/>
                  </a:lnTo>
                  <a:lnTo>
                    <a:pt x="185" y="6467"/>
                  </a:lnTo>
                  <a:lnTo>
                    <a:pt x="173" y="6581"/>
                  </a:lnTo>
                  <a:lnTo>
                    <a:pt x="160" y="6697"/>
                  </a:lnTo>
                  <a:lnTo>
                    <a:pt x="148" y="6811"/>
                  </a:lnTo>
                  <a:lnTo>
                    <a:pt x="137" y="6927"/>
                  </a:lnTo>
                  <a:lnTo>
                    <a:pt x="127" y="7042"/>
                  </a:lnTo>
                  <a:lnTo>
                    <a:pt x="119" y="7158"/>
                  </a:lnTo>
                  <a:lnTo>
                    <a:pt x="105" y="7319"/>
                  </a:lnTo>
                  <a:lnTo>
                    <a:pt x="92" y="7481"/>
                  </a:lnTo>
                  <a:lnTo>
                    <a:pt x="79" y="7643"/>
                  </a:lnTo>
                  <a:lnTo>
                    <a:pt x="65" y="7805"/>
                  </a:lnTo>
                  <a:lnTo>
                    <a:pt x="54" y="7967"/>
                  </a:lnTo>
                  <a:lnTo>
                    <a:pt x="42" y="8130"/>
                  </a:lnTo>
                  <a:lnTo>
                    <a:pt x="31" y="8293"/>
                  </a:lnTo>
                  <a:lnTo>
                    <a:pt x="22" y="8456"/>
                  </a:lnTo>
                  <a:lnTo>
                    <a:pt x="14" y="8619"/>
                  </a:lnTo>
                  <a:lnTo>
                    <a:pt x="8" y="8782"/>
                  </a:lnTo>
                  <a:lnTo>
                    <a:pt x="3" y="8946"/>
                  </a:lnTo>
                  <a:lnTo>
                    <a:pt x="0" y="9109"/>
                  </a:lnTo>
                  <a:lnTo>
                    <a:pt x="0" y="9190"/>
                  </a:lnTo>
                  <a:lnTo>
                    <a:pt x="0" y="9273"/>
                  </a:lnTo>
                  <a:lnTo>
                    <a:pt x="1" y="9354"/>
                  </a:lnTo>
                  <a:lnTo>
                    <a:pt x="2" y="9437"/>
                  </a:lnTo>
                  <a:lnTo>
                    <a:pt x="3" y="9518"/>
                  </a:lnTo>
                  <a:lnTo>
                    <a:pt x="7" y="9599"/>
                  </a:lnTo>
                  <a:lnTo>
                    <a:pt x="10" y="9681"/>
                  </a:lnTo>
                  <a:lnTo>
                    <a:pt x="14" y="9763"/>
                  </a:lnTo>
                  <a:lnTo>
                    <a:pt x="21" y="9885"/>
                  </a:lnTo>
                  <a:lnTo>
                    <a:pt x="27" y="10006"/>
                  </a:lnTo>
                  <a:lnTo>
                    <a:pt x="34" y="10128"/>
                  </a:lnTo>
                  <a:lnTo>
                    <a:pt x="41" y="10249"/>
                  </a:lnTo>
                  <a:lnTo>
                    <a:pt x="47" y="10369"/>
                  </a:lnTo>
                  <a:lnTo>
                    <a:pt x="54" y="10490"/>
                  </a:lnTo>
                  <a:lnTo>
                    <a:pt x="61" y="10611"/>
                  </a:lnTo>
                  <a:lnTo>
                    <a:pt x="68" y="10731"/>
                  </a:lnTo>
                  <a:lnTo>
                    <a:pt x="74" y="10851"/>
                  </a:lnTo>
                  <a:lnTo>
                    <a:pt x="82" y="10971"/>
                  </a:lnTo>
                  <a:lnTo>
                    <a:pt x="90" y="11091"/>
                  </a:lnTo>
                  <a:lnTo>
                    <a:pt x="98" y="11213"/>
                  </a:lnTo>
                  <a:lnTo>
                    <a:pt x="108" y="11333"/>
                  </a:lnTo>
                  <a:lnTo>
                    <a:pt x="117" y="11454"/>
                  </a:lnTo>
                  <a:lnTo>
                    <a:pt x="127" y="11575"/>
                  </a:lnTo>
                  <a:lnTo>
                    <a:pt x="138" y="11697"/>
                  </a:lnTo>
                  <a:lnTo>
                    <a:pt x="149" y="11811"/>
                  </a:lnTo>
                  <a:lnTo>
                    <a:pt x="160" y="11926"/>
                  </a:lnTo>
                  <a:lnTo>
                    <a:pt x="172" y="12040"/>
                  </a:lnTo>
                  <a:lnTo>
                    <a:pt x="184" y="12154"/>
                  </a:lnTo>
                  <a:lnTo>
                    <a:pt x="197" y="12269"/>
                  </a:lnTo>
                  <a:lnTo>
                    <a:pt x="209" y="12383"/>
                  </a:lnTo>
                  <a:lnTo>
                    <a:pt x="223" y="12498"/>
                  </a:lnTo>
                  <a:lnTo>
                    <a:pt x="237" y="12611"/>
                  </a:lnTo>
                  <a:lnTo>
                    <a:pt x="252" y="12725"/>
                  </a:lnTo>
                  <a:lnTo>
                    <a:pt x="267" y="12839"/>
                  </a:lnTo>
                  <a:lnTo>
                    <a:pt x="281" y="12953"/>
                  </a:lnTo>
                  <a:lnTo>
                    <a:pt x="298" y="13066"/>
                  </a:lnTo>
                  <a:lnTo>
                    <a:pt x="314" y="13180"/>
                  </a:lnTo>
                  <a:lnTo>
                    <a:pt x="331" y="13293"/>
                  </a:lnTo>
                  <a:lnTo>
                    <a:pt x="349" y="13406"/>
                  </a:lnTo>
                  <a:lnTo>
                    <a:pt x="366" y="13519"/>
                  </a:lnTo>
                  <a:lnTo>
                    <a:pt x="398" y="13707"/>
                  </a:lnTo>
                  <a:lnTo>
                    <a:pt x="433" y="13905"/>
                  </a:lnTo>
                  <a:lnTo>
                    <a:pt x="470" y="14110"/>
                  </a:lnTo>
                  <a:lnTo>
                    <a:pt x="511" y="14322"/>
                  </a:lnTo>
                  <a:lnTo>
                    <a:pt x="555" y="14538"/>
                  </a:lnTo>
                  <a:lnTo>
                    <a:pt x="602" y="14757"/>
                  </a:lnTo>
                  <a:lnTo>
                    <a:pt x="650" y="14979"/>
                  </a:lnTo>
                  <a:lnTo>
                    <a:pt x="701" y="15200"/>
                  </a:lnTo>
                  <a:lnTo>
                    <a:pt x="729" y="15311"/>
                  </a:lnTo>
                  <a:lnTo>
                    <a:pt x="755" y="15420"/>
                  </a:lnTo>
                  <a:lnTo>
                    <a:pt x="784" y="15530"/>
                  </a:lnTo>
                  <a:lnTo>
                    <a:pt x="811" y="15639"/>
                  </a:lnTo>
                  <a:lnTo>
                    <a:pt x="840" y="15747"/>
                  </a:lnTo>
                  <a:lnTo>
                    <a:pt x="870" y="15854"/>
                  </a:lnTo>
                  <a:lnTo>
                    <a:pt x="899" y="15959"/>
                  </a:lnTo>
                  <a:lnTo>
                    <a:pt x="929" y="16064"/>
                  </a:lnTo>
                  <a:lnTo>
                    <a:pt x="960" y="16165"/>
                  </a:lnTo>
                  <a:lnTo>
                    <a:pt x="991" y="16266"/>
                  </a:lnTo>
                  <a:lnTo>
                    <a:pt x="1022" y="16365"/>
                  </a:lnTo>
                  <a:lnTo>
                    <a:pt x="1054" y="16461"/>
                  </a:lnTo>
                  <a:lnTo>
                    <a:pt x="1086" y="16556"/>
                  </a:lnTo>
                  <a:lnTo>
                    <a:pt x="1119" y="16646"/>
                  </a:lnTo>
                  <a:lnTo>
                    <a:pt x="1152" y="16735"/>
                  </a:lnTo>
                  <a:lnTo>
                    <a:pt x="1185" y="16821"/>
                  </a:lnTo>
                  <a:lnTo>
                    <a:pt x="1225" y="16920"/>
                  </a:lnTo>
                  <a:lnTo>
                    <a:pt x="1267" y="17017"/>
                  </a:lnTo>
                  <a:lnTo>
                    <a:pt x="1288" y="17064"/>
                  </a:lnTo>
                  <a:lnTo>
                    <a:pt x="1310" y="17111"/>
                  </a:lnTo>
                  <a:lnTo>
                    <a:pt x="1332" y="17156"/>
                  </a:lnTo>
                  <a:lnTo>
                    <a:pt x="1354" y="17202"/>
                  </a:lnTo>
                  <a:lnTo>
                    <a:pt x="1377" y="17247"/>
                  </a:lnTo>
                  <a:lnTo>
                    <a:pt x="1399" y="17290"/>
                  </a:lnTo>
                  <a:lnTo>
                    <a:pt x="1423" y="17334"/>
                  </a:lnTo>
                  <a:lnTo>
                    <a:pt x="1447" y="17376"/>
                  </a:lnTo>
                  <a:lnTo>
                    <a:pt x="1471" y="17417"/>
                  </a:lnTo>
                  <a:lnTo>
                    <a:pt x="1496" y="17459"/>
                  </a:lnTo>
                  <a:lnTo>
                    <a:pt x="1521" y="17499"/>
                  </a:lnTo>
                  <a:lnTo>
                    <a:pt x="1546" y="17538"/>
                  </a:lnTo>
                  <a:lnTo>
                    <a:pt x="1572" y="17576"/>
                  </a:lnTo>
                  <a:lnTo>
                    <a:pt x="1598" y="17614"/>
                  </a:lnTo>
                  <a:lnTo>
                    <a:pt x="1625" y="17651"/>
                  </a:lnTo>
                  <a:lnTo>
                    <a:pt x="1652" y="17687"/>
                  </a:lnTo>
                  <a:lnTo>
                    <a:pt x="1680" y="17722"/>
                  </a:lnTo>
                  <a:lnTo>
                    <a:pt x="1707" y="17756"/>
                  </a:lnTo>
                  <a:lnTo>
                    <a:pt x="1736" y="17789"/>
                  </a:lnTo>
                  <a:lnTo>
                    <a:pt x="1764" y="17822"/>
                  </a:lnTo>
                  <a:lnTo>
                    <a:pt x="1794" y="17853"/>
                  </a:lnTo>
                  <a:lnTo>
                    <a:pt x="1824" y="17884"/>
                  </a:lnTo>
                  <a:lnTo>
                    <a:pt x="1854" y="17914"/>
                  </a:lnTo>
                  <a:lnTo>
                    <a:pt x="1885" y="17943"/>
                  </a:lnTo>
                  <a:lnTo>
                    <a:pt x="1917" y="17970"/>
                  </a:lnTo>
                  <a:lnTo>
                    <a:pt x="1947" y="17998"/>
                  </a:lnTo>
                  <a:lnTo>
                    <a:pt x="1980" y="18023"/>
                  </a:lnTo>
                  <a:lnTo>
                    <a:pt x="2013" y="18048"/>
                  </a:lnTo>
                  <a:lnTo>
                    <a:pt x="2052" y="18075"/>
                  </a:lnTo>
                  <a:lnTo>
                    <a:pt x="2091" y="18102"/>
                  </a:lnTo>
                  <a:lnTo>
                    <a:pt x="2132" y="18127"/>
                  </a:lnTo>
                  <a:lnTo>
                    <a:pt x="2173" y="18151"/>
                  </a:lnTo>
                  <a:lnTo>
                    <a:pt x="2215" y="18174"/>
                  </a:lnTo>
                  <a:lnTo>
                    <a:pt x="2259" y="18194"/>
                  </a:lnTo>
                  <a:lnTo>
                    <a:pt x="2303" y="18214"/>
                  </a:lnTo>
                  <a:lnTo>
                    <a:pt x="2349" y="18232"/>
                  </a:lnTo>
                  <a:lnTo>
                    <a:pt x="2397" y="18249"/>
                  </a:lnTo>
                  <a:lnTo>
                    <a:pt x="2446" y="18264"/>
                  </a:lnTo>
                  <a:lnTo>
                    <a:pt x="2497" y="18277"/>
                  </a:lnTo>
                  <a:lnTo>
                    <a:pt x="2549" y="18287"/>
                  </a:lnTo>
                  <a:lnTo>
                    <a:pt x="2576" y="18292"/>
                  </a:lnTo>
                  <a:lnTo>
                    <a:pt x="2603" y="18296"/>
                  </a:lnTo>
                  <a:lnTo>
                    <a:pt x="2631" y="18300"/>
                  </a:lnTo>
                  <a:lnTo>
                    <a:pt x="2658" y="18303"/>
                  </a:lnTo>
                  <a:lnTo>
                    <a:pt x="2687" y="18305"/>
                  </a:lnTo>
                  <a:lnTo>
                    <a:pt x="2716" y="18308"/>
                  </a:lnTo>
                  <a:lnTo>
                    <a:pt x="2745" y="18309"/>
                  </a:lnTo>
                  <a:lnTo>
                    <a:pt x="2776" y="18309"/>
                  </a:lnTo>
                  <a:lnTo>
                    <a:pt x="2835" y="18310"/>
                  </a:lnTo>
                  <a:lnTo>
                    <a:pt x="2896" y="18310"/>
                  </a:lnTo>
                  <a:lnTo>
                    <a:pt x="2957" y="18309"/>
                  </a:lnTo>
                  <a:lnTo>
                    <a:pt x="3017" y="18308"/>
                  </a:lnTo>
                  <a:lnTo>
                    <a:pt x="3079" y="18305"/>
                  </a:lnTo>
                  <a:lnTo>
                    <a:pt x="3140" y="18303"/>
                  </a:lnTo>
                  <a:lnTo>
                    <a:pt x="3200" y="18300"/>
                  </a:lnTo>
                  <a:lnTo>
                    <a:pt x="3262" y="18296"/>
                  </a:lnTo>
                  <a:lnTo>
                    <a:pt x="3323" y="18292"/>
                  </a:lnTo>
                  <a:lnTo>
                    <a:pt x="3384" y="18287"/>
                  </a:lnTo>
                  <a:lnTo>
                    <a:pt x="3444" y="18283"/>
                  </a:lnTo>
                  <a:lnTo>
                    <a:pt x="3505" y="18277"/>
                  </a:lnTo>
                  <a:lnTo>
                    <a:pt x="3565" y="18271"/>
                  </a:lnTo>
                  <a:lnTo>
                    <a:pt x="3625" y="18264"/>
                  </a:lnTo>
                  <a:lnTo>
                    <a:pt x="3686" y="18257"/>
                  </a:lnTo>
                  <a:lnTo>
                    <a:pt x="3745" y="18250"/>
                  </a:lnTo>
                  <a:lnTo>
                    <a:pt x="3829" y="18240"/>
                  </a:lnTo>
                  <a:lnTo>
                    <a:pt x="3912" y="18230"/>
                  </a:lnTo>
                  <a:lnTo>
                    <a:pt x="3995" y="18218"/>
                  </a:lnTo>
                  <a:lnTo>
                    <a:pt x="4076" y="18206"/>
                  </a:lnTo>
                  <a:lnTo>
                    <a:pt x="4157" y="18192"/>
                  </a:lnTo>
                  <a:lnTo>
                    <a:pt x="4236" y="18178"/>
                  </a:lnTo>
                  <a:lnTo>
                    <a:pt x="4316" y="18165"/>
                  </a:lnTo>
                  <a:lnTo>
                    <a:pt x="4395" y="18150"/>
                  </a:lnTo>
                  <a:lnTo>
                    <a:pt x="4473" y="18134"/>
                  </a:lnTo>
                  <a:lnTo>
                    <a:pt x="4549" y="18118"/>
                  </a:lnTo>
                  <a:lnTo>
                    <a:pt x="4627" y="18101"/>
                  </a:lnTo>
                  <a:lnTo>
                    <a:pt x="4704" y="18083"/>
                  </a:lnTo>
                  <a:lnTo>
                    <a:pt x="4779" y="18066"/>
                  </a:lnTo>
                  <a:lnTo>
                    <a:pt x="4855" y="18048"/>
                  </a:lnTo>
                  <a:lnTo>
                    <a:pt x="4931" y="18028"/>
                  </a:lnTo>
                  <a:lnTo>
                    <a:pt x="5006" y="18009"/>
                  </a:lnTo>
                  <a:lnTo>
                    <a:pt x="5156" y="17969"/>
                  </a:lnTo>
                  <a:lnTo>
                    <a:pt x="5305" y="17927"/>
                  </a:lnTo>
                  <a:lnTo>
                    <a:pt x="5455" y="17882"/>
                  </a:lnTo>
                  <a:lnTo>
                    <a:pt x="5603" y="17836"/>
                  </a:lnTo>
                  <a:lnTo>
                    <a:pt x="5753" y="17789"/>
                  </a:lnTo>
                  <a:lnTo>
                    <a:pt x="5904" y="17741"/>
                  </a:lnTo>
                  <a:lnTo>
                    <a:pt x="6056" y="17691"/>
                  </a:lnTo>
                  <a:lnTo>
                    <a:pt x="6211" y="17639"/>
                  </a:lnTo>
                  <a:lnTo>
                    <a:pt x="6273" y="17619"/>
                  </a:lnTo>
                  <a:lnTo>
                    <a:pt x="6368" y="17586"/>
                  </a:lnTo>
                  <a:lnTo>
                    <a:pt x="6483" y="17544"/>
                  </a:lnTo>
                  <a:lnTo>
                    <a:pt x="6608" y="17501"/>
                  </a:lnTo>
                  <a:lnTo>
                    <a:pt x="6729" y="17456"/>
                  </a:lnTo>
                  <a:lnTo>
                    <a:pt x="6837" y="17415"/>
                  </a:lnTo>
                  <a:lnTo>
                    <a:pt x="6881" y="17398"/>
                  </a:lnTo>
                  <a:lnTo>
                    <a:pt x="6917" y="17382"/>
                  </a:lnTo>
                  <a:lnTo>
                    <a:pt x="6943" y="17369"/>
                  </a:lnTo>
                  <a:lnTo>
                    <a:pt x="6959" y="17361"/>
                  </a:lnTo>
                  <a:lnTo>
                    <a:pt x="6994" y="17351"/>
                  </a:lnTo>
                  <a:lnTo>
                    <a:pt x="7046" y="17333"/>
                  </a:lnTo>
                  <a:lnTo>
                    <a:pt x="7116" y="17308"/>
                  </a:lnTo>
                  <a:lnTo>
                    <a:pt x="7200" y="17277"/>
                  </a:lnTo>
                  <a:lnTo>
                    <a:pt x="7294" y="17240"/>
                  </a:lnTo>
                  <a:lnTo>
                    <a:pt x="7397" y="17200"/>
                  </a:lnTo>
                  <a:lnTo>
                    <a:pt x="7507" y="17156"/>
                  </a:lnTo>
                  <a:lnTo>
                    <a:pt x="7621" y="17112"/>
                  </a:lnTo>
                  <a:lnTo>
                    <a:pt x="7734" y="17066"/>
                  </a:lnTo>
                  <a:lnTo>
                    <a:pt x="7846" y="17021"/>
                  </a:lnTo>
                  <a:lnTo>
                    <a:pt x="7955" y="16977"/>
                  </a:lnTo>
                  <a:lnTo>
                    <a:pt x="8057" y="16937"/>
                  </a:lnTo>
                  <a:lnTo>
                    <a:pt x="8148" y="16899"/>
                  </a:lnTo>
                  <a:lnTo>
                    <a:pt x="8228" y="16867"/>
                  </a:lnTo>
                  <a:lnTo>
                    <a:pt x="8295" y="16841"/>
                  </a:lnTo>
                  <a:lnTo>
                    <a:pt x="8344" y="16821"/>
                  </a:lnTo>
                  <a:lnTo>
                    <a:pt x="8396" y="16799"/>
                  </a:lnTo>
                  <a:lnTo>
                    <a:pt x="8454" y="16778"/>
                  </a:lnTo>
                  <a:lnTo>
                    <a:pt x="8513" y="16755"/>
                  </a:lnTo>
                  <a:lnTo>
                    <a:pt x="8574" y="16731"/>
                  </a:lnTo>
                  <a:lnTo>
                    <a:pt x="8633" y="16707"/>
                  </a:lnTo>
                  <a:lnTo>
                    <a:pt x="8690" y="16682"/>
                  </a:lnTo>
                  <a:lnTo>
                    <a:pt x="8744" y="16658"/>
                  </a:lnTo>
                  <a:lnTo>
                    <a:pt x="8792" y="16633"/>
                  </a:lnTo>
                  <a:lnTo>
                    <a:pt x="8829" y="16621"/>
                  </a:lnTo>
                  <a:lnTo>
                    <a:pt x="8872" y="16605"/>
                  </a:lnTo>
                  <a:lnTo>
                    <a:pt x="8918" y="16587"/>
                  </a:lnTo>
                  <a:lnTo>
                    <a:pt x="8965" y="16565"/>
                  </a:lnTo>
                  <a:lnTo>
                    <a:pt x="9013" y="16543"/>
                  </a:lnTo>
                  <a:lnTo>
                    <a:pt x="9059" y="16522"/>
                  </a:lnTo>
                  <a:lnTo>
                    <a:pt x="9100" y="16502"/>
                  </a:lnTo>
                  <a:lnTo>
                    <a:pt x="9137" y="16485"/>
                  </a:lnTo>
                  <a:lnTo>
                    <a:pt x="9178" y="16465"/>
                  </a:lnTo>
                  <a:lnTo>
                    <a:pt x="9220" y="16447"/>
                  </a:lnTo>
                  <a:lnTo>
                    <a:pt x="9263" y="16429"/>
                  </a:lnTo>
                  <a:lnTo>
                    <a:pt x="9304" y="16409"/>
                  </a:lnTo>
                  <a:lnTo>
                    <a:pt x="9346" y="16391"/>
                  </a:lnTo>
                  <a:lnTo>
                    <a:pt x="9388" y="16371"/>
                  </a:lnTo>
                  <a:lnTo>
                    <a:pt x="9430" y="16352"/>
                  </a:lnTo>
                  <a:lnTo>
                    <a:pt x="9471" y="16331"/>
                  </a:lnTo>
                  <a:lnTo>
                    <a:pt x="9550" y="16292"/>
                  </a:lnTo>
                  <a:lnTo>
                    <a:pt x="9633" y="16254"/>
                  </a:lnTo>
                  <a:lnTo>
                    <a:pt x="9720" y="16214"/>
                  </a:lnTo>
                  <a:lnTo>
                    <a:pt x="9807" y="16173"/>
                  </a:lnTo>
                  <a:lnTo>
                    <a:pt x="9894" y="16132"/>
                  </a:lnTo>
                  <a:lnTo>
                    <a:pt x="9978" y="16091"/>
                  </a:lnTo>
                  <a:lnTo>
                    <a:pt x="10018" y="16069"/>
                  </a:lnTo>
                  <a:lnTo>
                    <a:pt x="10057" y="16048"/>
                  </a:lnTo>
                  <a:lnTo>
                    <a:pt x="10093" y="16026"/>
                  </a:lnTo>
                  <a:lnTo>
                    <a:pt x="10129" y="16004"/>
                  </a:lnTo>
                  <a:lnTo>
                    <a:pt x="10153" y="15994"/>
                  </a:lnTo>
                  <a:lnTo>
                    <a:pt x="10184" y="15979"/>
                  </a:lnTo>
                  <a:lnTo>
                    <a:pt x="10220" y="15962"/>
                  </a:lnTo>
                  <a:lnTo>
                    <a:pt x="10263" y="15939"/>
                  </a:lnTo>
                  <a:lnTo>
                    <a:pt x="10363" y="15886"/>
                  </a:lnTo>
                  <a:lnTo>
                    <a:pt x="10482" y="15821"/>
                  </a:lnTo>
                  <a:lnTo>
                    <a:pt x="10614" y="15748"/>
                  </a:lnTo>
                  <a:lnTo>
                    <a:pt x="10756" y="15669"/>
                  </a:lnTo>
                  <a:lnTo>
                    <a:pt x="10903" y="15584"/>
                  </a:lnTo>
                  <a:lnTo>
                    <a:pt x="11053" y="15498"/>
                  </a:lnTo>
                  <a:lnTo>
                    <a:pt x="11202" y="15411"/>
                  </a:lnTo>
                  <a:lnTo>
                    <a:pt x="11344" y="15328"/>
                  </a:lnTo>
                  <a:lnTo>
                    <a:pt x="11477" y="15249"/>
                  </a:lnTo>
                  <a:lnTo>
                    <a:pt x="11597" y="15176"/>
                  </a:lnTo>
                  <a:lnTo>
                    <a:pt x="11700" y="15111"/>
                  </a:lnTo>
                  <a:lnTo>
                    <a:pt x="11781" y="15060"/>
                  </a:lnTo>
                  <a:lnTo>
                    <a:pt x="11813" y="15038"/>
                  </a:lnTo>
                  <a:lnTo>
                    <a:pt x="11838" y="15021"/>
                  </a:lnTo>
                  <a:lnTo>
                    <a:pt x="11857" y="15007"/>
                  </a:lnTo>
                  <a:lnTo>
                    <a:pt x="11867" y="14997"/>
                  </a:lnTo>
                  <a:lnTo>
                    <a:pt x="11879" y="14991"/>
                  </a:lnTo>
                  <a:lnTo>
                    <a:pt x="11898" y="14982"/>
                  </a:lnTo>
                  <a:lnTo>
                    <a:pt x="11919" y="14970"/>
                  </a:lnTo>
                  <a:lnTo>
                    <a:pt x="11947" y="14954"/>
                  </a:lnTo>
                  <a:lnTo>
                    <a:pt x="12012" y="14913"/>
                  </a:lnTo>
                  <a:lnTo>
                    <a:pt x="12090" y="14864"/>
                  </a:lnTo>
                  <a:lnTo>
                    <a:pt x="12179" y="14806"/>
                  </a:lnTo>
                  <a:lnTo>
                    <a:pt x="12276" y="14741"/>
                  </a:lnTo>
                  <a:lnTo>
                    <a:pt x="12379" y="14672"/>
                  </a:lnTo>
                  <a:lnTo>
                    <a:pt x="12485" y="14600"/>
                  </a:lnTo>
                  <a:lnTo>
                    <a:pt x="12590" y="14528"/>
                  </a:lnTo>
                  <a:lnTo>
                    <a:pt x="12694" y="14457"/>
                  </a:lnTo>
                  <a:lnTo>
                    <a:pt x="12791" y="14388"/>
                  </a:lnTo>
                  <a:lnTo>
                    <a:pt x="12883" y="14324"/>
                  </a:lnTo>
                  <a:lnTo>
                    <a:pt x="12963" y="14267"/>
                  </a:lnTo>
                  <a:lnTo>
                    <a:pt x="13031" y="14218"/>
                  </a:lnTo>
                  <a:lnTo>
                    <a:pt x="13083" y="14179"/>
                  </a:lnTo>
                  <a:lnTo>
                    <a:pt x="13116" y="14152"/>
                  </a:lnTo>
                  <a:lnTo>
                    <a:pt x="13131" y="14143"/>
                  </a:lnTo>
                  <a:lnTo>
                    <a:pt x="13152" y="14131"/>
                  </a:lnTo>
                  <a:lnTo>
                    <a:pt x="13179" y="14112"/>
                  </a:lnTo>
                  <a:lnTo>
                    <a:pt x="13212" y="14088"/>
                  </a:lnTo>
                  <a:lnTo>
                    <a:pt x="13294" y="14030"/>
                  </a:lnTo>
                  <a:lnTo>
                    <a:pt x="13392" y="13958"/>
                  </a:lnTo>
                  <a:lnTo>
                    <a:pt x="13505" y="13873"/>
                  </a:lnTo>
                  <a:lnTo>
                    <a:pt x="13628" y="13779"/>
                  </a:lnTo>
                  <a:lnTo>
                    <a:pt x="13758" y="13680"/>
                  </a:lnTo>
                  <a:lnTo>
                    <a:pt x="13891" y="13578"/>
                  </a:lnTo>
                  <a:lnTo>
                    <a:pt x="14024" y="13475"/>
                  </a:lnTo>
                  <a:lnTo>
                    <a:pt x="14153" y="13374"/>
                  </a:lnTo>
                  <a:lnTo>
                    <a:pt x="14274" y="13278"/>
                  </a:lnTo>
                  <a:lnTo>
                    <a:pt x="14385" y="13190"/>
                  </a:lnTo>
                  <a:lnTo>
                    <a:pt x="14481" y="13112"/>
                  </a:lnTo>
                  <a:lnTo>
                    <a:pt x="14559" y="13048"/>
                  </a:lnTo>
                  <a:lnTo>
                    <a:pt x="14590" y="13022"/>
                  </a:lnTo>
                  <a:lnTo>
                    <a:pt x="14615" y="13000"/>
                  </a:lnTo>
                  <a:lnTo>
                    <a:pt x="14634" y="12982"/>
                  </a:lnTo>
                  <a:lnTo>
                    <a:pt x="14645" y="12970"/>
                  </a:lnTo>
                  <a:lnTo>
                    <a:pt x="14658" y="12963"/>
                  </a:lnTo>
                  <a:lnTo>
                    <a:pt x="14673" y="12954"/>
                  </a:lnTo>
                  <a:lnTo>
                    <a:pt x="14690" y="12942"/>
                  </a:lnTo>
                  <a:lnTo>
                    <a:pt x="14708" y="12928"/>
                  </a:lnTo>
                  <a:lnTo>
                    <a:pt x="14751" y="12895"/>
                  </a:lnTo>
                  <a:lnTo>
                    <a:pt x="14802" y="12854"/>
                  </a:lnTo>
                  <a:lnTo>
                    <a:pt x="14857" y="12807"/>
                  </a:lnTo>
                  <a:lnTo>
                    <a:pt x="14917" y="12756"/>
                  </a:lnTo>
                  <a:lnTo>
                    <a:pt x="14979" y="12701"/>
                  </a:lnTo>
                  <a:lnTo>
                    <a:pt x="15044" y="12645"/>
                  </a:lnTo>
                  <a:lnTo>
                    <a:pt x="15110" y="12587"/>
                  </a:lnTo>
                  <a:lnTo>
                    <a:pt x="15175" y="12530"/>
                  </a:lnTo>
                  <a:lnTo>
                    <a:pt x="15238" y="12475"/>
                  </a:lnTo>
                  <a:lnTo>
                    <a:pt x="15298" y="12421"/>
                  </a:lnTo>
                  <a:lnTo>
                    <a:pt x="15354" y="12372"/>
                  </a:lnTo>
                  <a:lnTo>
                    <a:pt x="15405" y="12328"/>
                  </a:lnTo>
                  <a:lnTo>
                    <a:pt x="15451" y="12291"/>
                  </a:lnTo>
                  <a:lnTo>
                    <a:pt x="15487" y="12261"/>
                  </a:lnTo>
                  <a:lnTo>
                    <a:pt x="15508" y="12245"/>
                  </a:lnTo>
                  <a:lnTo>
                    <a:pt x="15520" y="12233"/>
                  </a:lnTo>
                  <a:lnTo>
                    <a:pt x="15534" y="12220"/>
                  </a:lnTo>
                  <a:lnTo>
                    <a:pt x="15555" y="12200"/>
                  </a:lnTo>
                  <a:lnTo>
                    <a:pt x="15765" y="12013"/>
                  </a:lnTo>
                  <a:lnTo>
                    <a:pt x="15798" y="11979"/>
                  </a:lnTo>
                  <a:lnTo>
                    <a:pt x="15830" y="11947"/>
                  </a:lnTo>
                  <a:lnTo>
                    <a:pt x="15863" y="11915"/>
                  </a:lnTo>
                  <a:lnTo>
                    <a:pt x="15895" y="11884"/>
                  </a:lnTo>
                  <a:lnTo>
                    <a:pt x="15927" y="11853"/>
                  </a:lnTo>
                  <a:lnTo>
                    <a:pt x="15959" y="11823"/>
                  </a:lnTo>
                  <a:lnTo>
                    <a:pt x="15992" y="11790"/>
                  </a:lnTo>
                  <a:lnTo>
                    <a:pt x="16025" y="11758"/>
                  </a:lnTo>
                  <a:lnTo>
                    <a:pt x="16052" y="11733"/>
                  </a:lnTo>
                  <a:lnTo>
                    <a:pt x="16089" y="11696"/>
                  </a:lnTo>
                  <a:lnTo>
                    <a:pt x="16136" y="11649"/>
                  </a:lnTo>
                  <a:lnTo>
                    <a:pt x="16190" y="11595"/>
                  </a:lnTo>
                  <a:lnTo>
                    <a:pt x="16248" y="11535"/>
                  </a:lnTo>
                  <a:lnTo>
                    <a:pt x="16311" y="11470"/>
                  </a:lnTo>
                  <a:lnTo>
                    <a:pt x="16377" y="11403"/>
                  </a:lnTo>
                  <a:lnTo>
                    <a:pt x="16443" y="11335"/>
                  </a:lnTo>
                  <a:lnTo>
                    <a:pt x="16508" y="11268"/>
                  </a:lnTo>
                  <a:lnTo>
                    <a:pt x="16571" y="11202"/>
                  </a:lnTo>
                  <a:lnTo>
                    <a:pt x="16629" y="11140"/>
                  </a:lnTo>
                  <a:lnTo>
                    <a:pt x="16681" y="11084"/>
                  </a:lnTo>
                  <a:lnTo>
                    <a:pt x="16726" y="11036"/>
                  </a:lnTo>
                  <a:lnTo>
                    <a:pt x="16761" y="10997"/>
                  </a:lnTo>
                  <a:lnTo>
                    <a:pt x="16786" y="10969"/>
                  </a:lnTo>
                  <a:lnTo>
                    <a:pt x="16797" y="10953"/>
                  </a:lnTo>
                  <a:lnTo>
                    <a:pt x="16818" y="10935"/>
                  </a:lnTo>
                  <a:lnTo>
                    <a:pt x="16837" y="10915"/>
                  </a:lnTo>
                  <a:lnTo>
                    <a:pt x="16856" y="10896"/>
                  </a:lnTo>
                  <a:lnTo>
                    <a:pt x="16874" y="10875"/>
                  </a:lnTo>
                  <a:lnTo>
                    <a:pt x="16908" y="10833"/>
                  </a:lnTo>
                  <a:lnTo>
                    <a:pt x="16943" y="10789"/>
                  </a:lnTo>
                  <a:lnTo>
                    <a:pt x="17006" y="10707"/>
                  </a:lnTo>
                  <a:lnTo>
                    <a:pt x="17067" y="10626"/>
                  </a:lnTo>
                  <a:lnTo>
                    <a:pt x="17128" y="10543"/>
                  </a:lnTo>
                  <a:lnTo>
                    <a:pt x="17185" y="10462"/>
                  </a:lnTo>
                  <a:lnTo>
                    <a:pt x="17214" y="10421"/>
                  </a:lnTo>
                  <a:lnTo>
                    <a:pt x="17241" y="10379"/>
                  </a:lnTo>
                  <a:lnTo>
                    <a:pt x="17269" y="10337"/>
                  </a:lnTo>
                  <a:lnTo>
                    <a:pt x="17295" y="10296"/>
                  </a:lnTo>
                  <a:lnTo>
                    <a:pt x="17321" y="10254"/>
                  </a:lnTo>
                  <a:lnTo>
                    <a:pt x="17347" y="10211"/>
                  </a:lnTo>
                  <a:lnTo>
                    <a:pt x="17372" y="10169"/>
                  </a:lnTo>
                  <a:lnTo>
                    <a:pt x="17396" y="10125"/>
                  </a:lnTo>
                  <a:lnTo>
                    <a:pt x="17419" y="10081"/>
                  </a:lnTo>
                  <a:lnTo>
                    <a:pt x="17442" y="10037"/>
                  </a:lnTo>
                  <a:lnTo>
                    <a:pt x="17463" y="9992"/>
                  </a:lnTo>
                  <a:lnTo>
                    <a:pt x="17485" y="9946"/>
                  </a:lnTo>
                  <a:lnTo>
                    <a:pt x="17505" y="9900"/>
                  </a:lnTo>
                  <a:lnTo>
                    <a:pt x="17524" y="9853"/>
                  </a:lnTo>
                  <a:lnTo>
                    <a:pt x="17543" y="9805"/>
                  </a:lnTo>
                  <a:lnTo>
                    <a:pt x="17561" y="9757"/>
                  </a:lnTo>
                  <a:lnTo>
                    <a:pt x="17578" y="9708"/>
                  </a:lnTo>
                  <a:lnTo>
                    <a:pt x="17594" y="9657"/>
                  </a:lnTo>
                  <a:lnTo>
                    <a:pt x="17609" y="9606"/>
                  </a:lnTo>
                  <a:lnTo>
                    <a:pt x="17622" y="9553"/>
                  </a:lnTo>
                  <a:lnTo>
                    <a:pt x="17636" y="9501"/>
                  </a:lnTo>
                  <a:lnTo>
                    <a:pt x="17648" y="9446"/>
                  </a:lnTo>
                  <a:lnTo>
                    <a:pt x="17659" y="9391"/>
                  </a:lnTo>
                  <a:lnTo>
                    <a:pt x="17669" y="9334"/>
                  </a:lnTo>
                  <a:lnTo>
                    <a:pt x="17673" y="9309"/>
                  </a:lnTo>
                  <a:lnTo>
                    <a:pt x="17675" y="9283"/>
                  </a:lnTo>
                  <a:lnTo>
                    <a:pt x="17675" y="9255"/>
                  </a:lnTo>
                  <a:lnTo>
                    <a:pt x="17674" y="9226"/>
                  </a:lnTo>
                  <a:lnTo>
                    <a:pt x="17672" y="9196"/>
                  </a:lnTo>
                  <a:lnTo>
                    <a:pt x="17669" y="9165"/>
                  </a:lnTo>
                  <a:lnTo>
                    <a:pt x="17665" y="9133"/>
                  </a:lnTo>
                  <a:lnTo>
                    <a:pt x="17659" y="9101"/>
                  </a:lnTo>
                  <a:lnTo>
                    <a:pt x="17653" y="9068"/>
                  </a:lnTo>
                  <a:lnTo>
                    <a:pt x="17645" y="9034"/>
                  </a:lnTo>
                  <a:lnTo>
                    <a:pt x="17637" y="8999"/>
                  </a:lnTo>
                  <a:lnTo>
                    <a:pt x="17629" y="8965"/>
                  </a:lnTo>
                  <a:lnTo>
                    <a:pt x="17609" y="8895"/>
                  </a:lnTo>
                  <a:lnTo>
                    <a:pt x="17587" y="8825"/>
                  </a:lnTo>
                  <a:lnTo>
                    <a:pt x="17563" y="8757"/>
                  </a:lnTo>
                  <a:lnTo>
                    <a:pt x="17539" y="8689"/>
                  </a:lnTo>
                  <a:lnTo>
                    <a:pt x="17513" y="8624"/>
                  </a:lnTo>
                  <a:lnTo>
                    <a:pt x="17487" y="8563"/>
                  </a:lnTo>
                  <a:lnTo>
                    <a:pt x="17462" y="8506"/>
                  </a:lnTo>
                  <a:lnTo>
                    <a:pt x="17437" y="8455"/>
                  </a:lnTo>
                  <a:lnTo>
                    <a:pt x="17415" y="8408"/>
                  </a:lnTo>
                  <a:lnTo>
                    <a:pt x="17394" y="8369"/>
                  </a:lnTo>
                  <a:lnTo>
                    <a:pt x="17360" y="8310"/>
                  </a:lnTo>
                  <a:lnTo>
                    <a:pt x="17328" y="8254"/>
                  </a:lnTo>
                  <a:lnTo>
                    <a:pt x="17297" y="8203"/>
                  </a:lnTo>
                  <a:lnTo>
                    <a:pt x="17268" y="8155"/>
                  </a:lnTo>
                  <a:lnTo>
                    <a:pt x="17239" y="8109"/>
                  </a:lnTo>
                  <a:lnTo>
                    <a:pt x="17210" y="8066"/>
                  </a:lnTo>
                  <a:lnTo>
                    <a:pt x="17182" y="8023"/>
                  </a:lnTo>
                  <a:lnTo>
                    <a:pt x="17153" y="7981"/>
                  </a:lnTo>
                  <a:lnTo>
                    <a:pt x="17123" y="7941"/>
                  </a:lnTo>
                  <a:lnTo>
                    <a:pt x="17093" y="7900"/>
                  </a:lnTo>
                  <a:lnTo>
                    <a:pt x="17062" y="7858"/>
                  </a:lnTo>
                  <a:lnTo>
                    <a:pt x="17029" y="7816"/>
                  </a:lnTo>
                  <a:lnTo>
                    <a:pt x="16958" y="7727"/>
                  </a:lnTo>
                  <a:lnTo>
                    <a:pt x="16877" y="7627"/>
                  </a:lnTo>
                  <a:lnTo>
                    <a:pt x="16843" y="7585"/>
                  </a:lnTo>
                  <a:lnTo>
                    <a:pt x="16805" y="7540"/>
                  </a:lnTo>
                  <a:lnTo>
                    <a:pt x="16766" y="7493"/>
                  </a:lnTo>
                  <a:lnTo>
                    <a:pt x="16725" y="7446"/>
                  </a:lnTo>
                  <a:lnTo>
                    <a:pt x="16641" y="7350"/>
                  </a:lnTo>
                  <a:lnTo>
                    <a:pt x="16551" y="7253"/>
                  </a:lnTo>
                  <a:lnTo>
                    <a:pt x="16462" y="7157"/>
                  </a:lnTo>
                  <a:lnTo>
                    <a:pt x="16373" y="7065"/>
                  </a:lnTo>
                  <a:lnTo>
                    <a:pt x="16287" y="6978"/>
                  </a:lnTo>
                  <a:lnTo>
                    <a:pt x="16207" y="6899"/>
                  </a:lnTo>
                  <a:lnTo>
                    <a:pt x="16179" y="6872"/>
                  </a:lnTo>
                  <a:lnTo>
                    <a:pt x="16153" y="6842"/>
                  </a:lnTo>
                  <a:lnTo>
                    <a:pt x="16127" y="6811"/>
                  </a:lnTo>
                  <a:lnTo>
                    <a:pt x="16099" y="6779"/>
                  </a:lnTo>
                  <a:lnTo>
                    <a:pt x="16071" y="6747"/>
                  </a:lnTo>
                  <a:lnTo>
                    <a:pt x="16042" y="6715"/>
                  </a:lnTo>
                  <a:lnTo>
                    <a:pt x="16011" y="6683"/>
                  </a:lnTo>
                  <a:lnTo>
                    <a:pt x="15979" y="6652"/>
                  </a:lnTo>
                  <a:lnTo>
                    <a:pt x="14313" y="5186"/>
                  </a:lnTo>
                  <a:lnTo>
                    <a:pt x="14230" y="5121"/>
                  </a:lnTo>
                  <a:lnTo>
                    <a:pt x="14144" y="5052"/>
                  </a:lnTo>
                  <a:lnTo>
                    <a:pt x="14058" y="4981"/>
                  </a:lnTo>
                  <a:lnTo>
                    <a:pt x="13972" y="4911"/>
                  </a:lnTo>
                  <a:lnTo>
                    <a:pt x="13885" y="4840"/>
                  </a:lnTo>
                  <a:lnTo>
                    <a:pt x="13797" y="4769"/>
                  </a:lnTo>
                  <a:lnTo>
                    <a:pt x="13709" y="4700"/>
                  </a:lnTo>
                  <a:lnTo>
                    <a:pt x="13622" y="4634"/>
                  </a:lnTo>
                  <a:lnTo>
                    <a:pt x="13528" y="4565"/>
                  </a:lnTo>
                  <a:lnTo>
                    <a:pt x="13437" y="4496"/>
                  </a:lnTo>
                  <a:lnTo>
                    <a:pt x="13348" y="4430"/>
                  </a:lnTo>
                  <a:lnTo>
                    <a:pt x="13259" y="4364"/>
                  </a:lnTo>
                  <a:lnTo>
                    <a:pt x="13172" y="4299"/>
                  </a:lnTo>
                  <a:lnTo>
                    <a:pt x="13085" y="4234"/>
                  </a:lnTo>
                  <a:lnTo>
                    <a:pt x="12999" y="4170"/>
                  </a:lnTo>
                  <a:lnTo>
                    <a:pt x="12913" y="4107"/>
                  </a:lnTo>
                  <a:lnTo>
                    <a:pt x="12826" y="4043"/>
                  </a:lnTo>
                  <a:lnTo>
                    <a:pt x="12738" y="3980"/>
                  </a:lnTo>
                  <a:lnTo>
                    <a:pt x="12650" y="3916"/>
                  </a:lnTo>
                  <a:lnTo>
                    <a:pt x="12559" y="3852"/>
                  </a:lnTo>
                  <a:lnTo>
                    <a:pt x="12468" y="3787"/>
                  </a:lnTo>
                  <a:lnTo>
                    <a:pt x="12373" y="3722"/>
                  </a:lnTo>
                  <a:lnTo>
                    <a:pt x="12276" y="3655"/>
                  </a:lnTo>
                  <a:lnTo>
                    <a:pt x="12177" y="3589"/>
                  </a:lnTo>
                  <a:lnTo>
                    <a:pt x="12083" y="3525"/>
                  </a:lnTo>
                  <a:lnTo>
                    <a:pt x="11988" y="3463"/>
                  </a:lnTo>
                  <a:lnTo>
                    <a:pt x="11893" y="3402"/>
                  </a:lnTo>
                  <a:lnTo>
                    <a:pt x="11798" y="3340"/>
                  </a:lnTo>
                  <a:lnTo>
                    <a:pt x="11702" y="3280"/>
                  </a:lnTo>
                  <a:lnTo>
                    <a:pt x="11606" y="3219"/>
                  </a:lnTo>
                  <a:lnTo>
                    <a:pt x="11509" y="3158"/>
                  </a:lnTo>
                  <a:lnTo>
                    <a:pt x="11411" y="3097"/>
                  </a:lnTo>
                  <a:lnTo>
                    <a:pt x="11318" y="3037"/>
                  </a:lnTo>
                  <a:lnTo>
                    <a:pt x="11222" y="2979"/>
                  </a:lnTo>
                  <a:lnTo>
                    <a:pt x="11125" y="2920"/>
                  </a:lnTo>
                  <a:lnTo>
                    <a:pt x="11028" y="2863"/>
                  </a:lnTo>
                  <a:lnTo>
                    <a:pt x="10930" y="2806"/>
                  </a:lnTo>
                  <a:lnTo>
                    <a:pt x="10831" y="2749"/>
                  </a:lnTo>
                  <a:lnTo>
                    <a:pt x="10732" y="2692"/>
                  </a:lnTo>
                  <a:lnTo>
                    <a:pt x="10631" y="2635"/>
                  </a:lnTo>
                  <a:lnTo>
                    <a:pt x="10529" y="2579"/>
                  </a:lnTo>
                  <a:lnTo>
                    <a:pt x="10427" y="2523"/>
                  </a:lnTo>
                  <a:lnTo>
                    <a:pt x="10326" y="2468"/>
                  </a:lnTo>
                  <a:lnTo>
                    <a:pt x="10223" y="2413"/>
                  </a:lnTo>
                  <a:lnTo>
                    <a:pt x="10120" y="2359"/>
                  </a:lnTo>
                  <a:lnTo>
                    <a:pt x="10015" y="2305"/>
                  </a:lnTo>
                  <a:lnTo>
                    <a:pt x="9911" y="2251"/>
                  </a:lnTo>
                  <a:lnTo>
                    <a:pt x="9807" y="2198"/>
                  </a:lnTo>
                  <a:lnTo>
                    <a:pt x="9735" y="2162"/>
                  </a:lnTo>
                  <a:lnTo>
                    <a:pt x="9660" y="2124"/>
                  </a:lnTo>
                  <a:lnTo>
                    <a:pt x="9583" y="2086"/>
                  </a:lnTo>
                  <a:lnTo>
                    <a:pt x="9504" y="2047"/>
                  </a:lnTo>
                  <a:lnTo>
                    <a:pt x="9423" y="2010"/>
                  </a:lnTo>
                  <a:lnTo>
                    <a:pt x="9340" y="1971"/>
                  </a:lnTo>
                  <a:lnTo>
                    <a:pt x="9258" y="1932"/>
                  </a:lnTo>
                  <a:lnTo>
                    <a:pt x="9174" y="1893"/>
                  </a:lnTo>
                  <a:lnTo>
                    <a:pt x="9091" y="1855"/>
                  </a:lnTo>
                  <a:lnTo>
                    <a:pt x="9006" y="1816"/>
                  </a:lnTo>
                  <a:lnTo>
                    <a:pt x="8923" y="1780"/>
                  </a:lnTo>
                  <a:lnTo>
                    <a:pt x="8840" y="1743"/>
                  </a:lnTo>
                  <a:lnTo>
                    <a:pt x="8759" y="1707"/>
                  </a:lnTo>
                  <a:lnTo>
                    <a:pt x="8679" y="1673"/>
                  </a:lnTo>
                  <a:lnTo>
                    <a:pt x="8600" y="1640"/>
                  </a:lnTo>
                  <a:lnTo>
                    <a:pt x="8523" y="1608"/>
                  </a:lnTo>
                  <a:lnTo>
                    <a:pt x="8472" y="1587"/>
                  </a:lnTo>
                  <a:lnTo>
                    <a:pt x="8417" y="1562"/>
                  </a:lnTo>
                  <a:lnTo>
                    <a:pt x="8360" y="1537"/>
                  </a:lnTo>
                  <a:lnTo>
                    <a:pt x="8300" y="1511"/>
                  </a:lnTo>
                  <a:lnTo>
                    <a:pt x="8242" y="1485"/>
                  </a:lnTo>
                  <a:lnTo>
                    <a:pt x="8184" y="1461"/>
                  </a:lnTo>
                  <a:lnTo>
                    <a:pt x="8156" y="1451"/>
                  </a:lnTo>
                  <a:lnTo>
                    <a:pt x="8129" y="1442"/>
                  </a:lnTo>
                  <a:lnTo>
                    <a:pt x="8102" y="1433"/>
                  </a:lnTo>
                  <a:lnTo>
                    <a:pt x="8078" y="1426"/>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grpSp>
        <p:nvGrpSpPr>
          <p:cNvPr id="31" name="Group 36">
            <a:extLst>
              <a:ext uri="{FF2B5EF4-FFF2-40B4-BE49-F238E27FC236}">
                <a16:creationId xmlns:a16="http://schemas.microsoft.com/office/drawing/2014/main" id="{AAB46F19-9B4F-4567-971C-194A1A931D1B}"/>
              </a:ext>
            </a:extLst>
          </p:cNvPr>
          <p:cNvGrpSpPr/>
          <p:nvPr/>
        </p:nvGrpSpPr>
        <p:grpSpPr>
          <a:xfrm>
            <a:off x="6589259" y="529616"/>
            <a:ext cx="821851" cy="821851"/>
            <a:chOff x="8589669" y="1355466"/>
            <a:chExt cx="1324023" cy="1324023"/>
          </a:xfrm>
        </p:grpSpPr>
        <p:grpSp>
          <p:nvGrpSpPr>
            <p:cNvPr id="32" name="Group 37">
              <a:extLst>
                <a:ext uri="{FF2B5EF4-FFF2-40B4-BE49-F238E27FC236}">
                  <a16:creationId xmlns:a16="http://schemas.microsoft.com/office/drawing/2014/main" id="{B447F20E-00EB-4E49-80A1-B8640A2F3B7F}"/>
                </a:ext>
              </a:extLst>
            </p:cNvPr>
            <p:cNvGrpSpPr/>
            <p:nvPr/>
          </p:nvGrpSpPr>
          <p:grpSpPr>
            <a:xfrm>
              <a:off x="8589669" y="1355466"/>
              <a:ext cx="1324023" cy="1324023"/>
              <a:chOff x="1220118" y="2343274"/>
              <a:chExt cx="2450851" cy="2450851"/>
            </a:xfrm>
          </p:grpSpPr>
          <p:sp>
            <p:nvSpPr>
              <p:cNvPr id="34" name="Oval 39">
                <a:extLst>
                  <a:ext uri="{FF2B5EF4-FFF2-40B4-BE49-F238E27FC236}">
                    <a16:creationId xmlns:a16="http://schemas.microsoft.com/office/drawing/2014/main" id="{312056BB-86DD-48D4-821B-D5B375FE8559}"/>
                  </a:ext>
                </a:extLst>
              </p:cNvPr>
              <p:cNvSpPr/>
              <p:nvPr/>
            </p:nvSpPr>
            <p:spPr>
              <a:xfrm>
                <a:off x="1220118" y="2343274"/>
                <a:ext cx="2450851" cy="2450851"/>
              </a:xfrm>
              <a:prstGeom prst="ellipse">
                <a:avLst/>
              </a:prstGeom>
              <a:solidFill>
                <a:schemeClr val="accent3">
                  <a:alpha val="13000"/>
                </a:schemeClr>
              </a:solidFill>
              <a:ln>
                <a:noFill/>
              </a:ln>
              <a:effectLst>
                <a:outerShdw blurRad="622300" dist="50800" dir="5400000" algn="ctr" rotWithShape="0">
                  <a:srgbClr val="000000">
                    <a:alpha val="43137"/>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等线" panose="020F0502020204030204"/>
                  <a:ea typeface="+mn-ea"/>
                  <a:cs typeface="+mn-cs"/>
                </a:endParaRPr>
              </a:p>
            </p:txBody>
          </p:sp>
          <p:sp>
            <p:nvSpPr>
              <p:cNvPr id="35" name="Oval 40">
                <a:extLst>
                  <a:ext uri="{FF2B5EF4-FFF2-40B4-BE49-F238E27FC236}">
                    <a16:creationId xmlns:a16="http://schemas.microsoft.com/office/drawing/2014/main" id="{F4493014-D0E4-4CCD-A9BA-8ECE4EB4DF67}"/>
                  </a:ext>
                </a:extLst>
              </p:cNvPr>
              <p:cNvSpPr/>
              <p:nvPr/>
            </p:nvSpPr>
            <p:spPr>
              <a:xfrm>
                <a:off x="1395764" y="2518920"/>
                <a:ext cx="2099561" cy="2099561"/>
              </a:xfrm>
              <a:prstGeom prst="ellipse">
                <a:avLst/>
              </a:prstGeom>
              <a:solidFill>
                <a:schemeClr val="accent3">
                  <a:alpha val="25000"/>
                </a:schemeClr>
              </a:solidFill>
              <a:ln>
                <a:noFill/>
              </a:ln>
              <a:effectLst>
                <a:outerShdw blurRad="622300" dist="50800" dir="5400000" algn="ctr" rotWithShape="0">
                  <a:srgbClr val="000000">
                    <a:alpha val="43137"/>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等线" panose="020F0502020204030204"/>
                  <a:ea typeface="+mn-ea"/>
                  <a:cs typeface="+mn-cs"/>
                </a:endParaRPr>
              </a:p>
            </p:txBody>
          </p:sp>
          <p:sp>
            <p:nvSpPr>
              <p:cNvPr id="36" name="Oval 41">
                <a:extLst>
                  <a:ext uri="{FF2B5EF4-FFF2-40B4-BE49-F238E27FC236}">
                    <a16:creationId xmlns:a16="http://schemas.microsoft.com/office/drawing/2014/main" id="{35EBCC3C-B05E-4DEB-9687-55517C82F4F6}"/>
                  </a:ext>
                </a:extLst>
              </p:cNvPr>
              <p:cNvSpPr/>
              <p:nvPr/>
            </p:nvSpPr>
            <p:spPr>
              <a:xfrm>
                <a:off x="1580469" y="2703625"/>
                <a:ext cx="1730150" cy="1730150"/>
              </a:xfrm>
              <a:prstGeom prst="ellipse">
                <a:avLst/>
              </a:prstGeom>
              <a:solidFill>
                <a:schemeClr val="accent3"/>
              </a:solidFill>
              <a:ln>
                <a:noFill/>
              </a:ln>
              <a:effectLst>
                <a:outerShdw blurRad="812800" dist="50800" dir="5400000" sx="82000" sy="82000" algn="ctr" rotWithShape="0">
                  <a:srgbClr val="000000">
                    <a:alpha val="43137"/>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8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Inter SemiBold" panose="020B0502030000000004" pitchFamily="34" charset="0"/>
                  <a:ea typeface="+mn-ea"/>
                  <a:cs typeface="+mn-cs"/>
                </a:endParaRPr>
              </a:p>
            </p:txBody>
          </p:sp>
        </p:grpSp>
        <p:sp>
          <p:nvSpPr>
            <p:cNvPr id="33" name="Freeform 97">
              <a:extLst>
                <a:ext uri="{FF2B5EF4-FFF2-40B4-BE49-F238E27FC236}">
                  <a16:creationId xmlns:a16="http://schemas.microsoft.com/office/drawing/2014/main" id="{AD3F13DF-24BD-4FDD-8305-4F7F607F841D}"/>
                </a:ext>
              </a:extLst>
            </p:cNvPr>
            <p:cNvSpPr>
              <a:spLocks noChangeArrowheads="1"/>
            </p:cNvSpPr>
            <p:nvPr/>
          </p:nvSpPr>
          <p:spPr bwMode="auto">
            <a:xfrm>
              <a:off x="9058594" y="1844685"/>
              <a:ext cx="402703" cy="345584"/>
            </a:xfrm>
            <a:custGeom>
              <a:avLst/>
              <a:gdLst>
                <a:gd name="T0" fmla="*/ 103587 w 497"/>
                <a:gd name="T1" fmla="*/ 104160 h 426"/>
                <a:gd name="T2" fmla="*/ 103587 w 497"/>
                <a:gd name="T3" fmla="*/ 104160 h 426"/>
                <a:gd name="T4" fmla="*/ 123403 w 497"/>
                <a:gd name="T5" fmla="*/ 104160 h 426"/>
                <a:gd name="T6" fmla="*/ 123403 w 497"/>
                <a:gd name="T7" fmla="*/ 124000 h 426"/>
                <a:gd name="T8" fmla="*/ 223387 w 497"/>
                <a:gd name="T9" fmla="*/ 124000 h 426"/>
                <a:gd name="T10" fmla="*/ 219333 w 497"/>
                <a:gd name="T11" fmla="*/ 59971 h 426"/>
                <a:gd name="T12" fmla="*/ 199517 w 497"/>
                <a:gd name="T13" fmla="*/ 36073 h 426"/>
                <a:gd name="T14" fmla="*/ 163487 w 497"/>
                <a:gd name="T15" fmla="*/ 36073 h 426"/>
                <a:gd name="T16" fmla="*/ 151777 w 497"/>
                <a:gd name="T17" fmla="*/ 12175 h 426"/>
                <a:gd name="T18" fmla="*/ 135113 w 497"/>
                <a:gd name="T19" fmla="*/ 0 h 426"/>
                <a:gd name="T20" fmla="*/ 87373 w 497"/>
                <a:gd name="T21" fmla="*/ 0 h 426"/>
                <a:gd name="T22" fmla="*/ 75663 w 497"/>
                <a:gd name="T23" fmla="*/ 12175 h 426"/>
                <a:gd name="T24" fmla="*/ 59900 w 497"/>
                <a:gd name="T25" fmla="*/ 36073 h 426"/>
                <a:gd name="T26" fmla="*/ 23870 w 497"/>
                <a:gd name="T27" fmla="*/ 36073 h 426"/>
                <a:gd name="T28" fmla="*/ 4053 w 497"/>
                <a:gd name="T29" fmla="*/ 59971 h 426"/>
                <a:gd name="T30" fmla="*/ 0 w 497"/>
                <a:gd name="T31" fmla="*/ 124000 h 426"/>
                <a:gd name="T32" fmla="*/ 103587 w 497"/>
                <a:gd name="T33" fmla="*/ 124000 h 426"/>
                <a:gd name="T34" fmla="*/ 103587 w 497"/>
                <a:gd name="T35" fmla="*/ 104160 h 426"/>
                <a:gd name="T36" fmla="*/ 83770 w 497"/>
                <a:gd name="T37" fmla="*/ 23898 h 426"/>
                <a:gd name="T38" fmla="*/ 83770 w 497"/>
                <a:gd name="T39" fmla="*/ 23898 h 426"/>
                <a:gd name="T40" fmla="*/ 95480 w 497"/>
                <a:gd name="T41" fmla="*/ 16233 h 426"/>
                <a:gd name="T42" fmla="*/ 127907 w 497"/>
                <a:gd name="T43" fmla="*/ 16233 h 426"/>
                <a:gd name="T44" fmla="*/ 139166 w 497"/>
                <a:gd name="T45" fmla="*/ 23898 h 426"/>
                <a:gd name="T46" fmla="*/ 143670 w 497"/>
                <a:gd name="T47" fmla="*/ 36073 h 426"/>
                <a:gd name="T48" fmla="*/ 79717 w 497"/>
                <a:gd name="T49" fmla="*/ 36073 h 426"/>
                <a:gd name="T50" fmla="*/ 83770 w 497"/>
                <a:gd name="T51" fmla="*/ 23898 h 426"/>
                <a:gd name="T52" fmla="*/ 123403 w 497"/>
                <a:gd name="T53" fmla="*/ 160073 h 426"/>
                <a:gd name="T54" fmla="*/ 123403 w 497"/>
                <a:gd name="T55" fmla="*/ 160073 h 426"/>
                <a:gd name="T56" fmla="*/ 103587 w 497"/>
                <a:gd name="T57" fmla="*/ 160073 h 426"/>
                <a:gd name="T58" fmla="*/ 103587 w 497"/>
                <a:gd name="T59" fmla="*/ 136175 h 426"/>
                <a:gd name="T60" fmla="*/ 4053 w 497"/>
                <a:gd name="T61" fmla="*/ 136175 h 426"/>
                <a:gd name="T62" fmla="*/ 7656 w 497"/>
                <a:gd name="T63" fmla="*/ 171797 h 426"/>
                <a:gd name="T64" fmla="*/ 27923 w 497"/>
                <a:gd name="T65" fmla="*/ 191637 h 426"/>
                <a:gd name="T66" fmla="*/ 195463 w 497"/>
                <a:gd name="T67" fmla="*/ 191637 h 426"/>
                <a:gd name="T68" fmla="*/ 215280 w 497"/>
                <a:gd name="T69" fmla="*/ 171797 h 426"/>
                <a:gd name="T70" fmla="*/ 219333 w 497"/>
                <a:gd name="T71" fmla="*/ 136175 h 426"/>
                <a:gd name="T72" fmla="*/ 123403 w 497"/>
                <a:gd name="T73" fmla="*/ 136175 h 426"/>
                <a:gd name="T74" fmla="*/ 123403 w 497"/>
                <a:gd name="T75" fmla="*/ 160073 h 42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497" h="426">
                  <a:moveTo>
                    <a:pt x="230" y="231"/>
                  </a:moveTo>
                  <a:lnTo>
                    <a:pt x="230" y="231"/>
                  </a:lnTo>
                  <a:cubicBezTo>
                    <a:pt x="274" y="231"/>
                    <a:pt x="274" y="231"/>
                    <a:pt x="274" y="231"/>
                  </a:cubicBezTo>
                  <a:cubicBezTo>
                    <a:pt x="274" y="275"/>
                    <a:pt x="274" y="275"/>
                    <a:pt x="274" y="275"/>
                  </a:cubicBezTo>
                  <a:cubicBezTo>
                    <a:pt x="496" y="275"/>
                    <a:pt x="496" y="275"/>
                    <a:pt x="496" y="275"/>
                  </a:cubicBezTo>
                  <a:cubicBezTo>
                    <a:pt x="496" y="275"/>
                    <a:pt x="496" y="168"/>
                    <a:pt x="487" y="133"/>
                  </a:cubicBezTo>
                  <a:cubicBezTo>
                    <a:pt x="487" y="97"/>
                    <a:pt x="478" y="80"/>
                    <a:pt x="443" y="80"/>
                  </a:cubicBezTo>
                  <a:cubicBezTo>
                    <a:pt x="363" y="80"/>
                    <a:pt x="363" y="80"/>
                    <a:pt x="363" y="80"/>
                  </a:cubicBezTo>
                  <a:cubicBezTo>
                    <a:pt x="345" y="53"/>
                    <a:pt x="337" y="27"/>
                    <a:pt x="337" y="27"/>
                  </a:cubicBezTo>
                  <a:cubicBezTo>
                    <a:pt x="328" y="9"/>
                    <a:pt x="319" y="0"/>
                    <a:pt x="300" y="0"/>
                  </a:cubicBezTo>
                  <a:cubicBezTo>
                    <a:pt x="194" y="0"/>
                    <a:pt x="194" y="0"/>
                    <a:pt x="194" y="0"/>
                  </a:cubicBezTo>
                  <a:cubicBezTo>
                    <a:pt x="177" y="0"/>
                    <a:pt x="168" y="9"/>
                    <a:pt x="168" y="27"/>
                  </a:cubicBezTo>
                  <a:cubicBezTo>
                    <a:pt x="159" y="27"/>
                    <a:pt x="150" y="53"/>
                    <a:pt x="133" y="80"/>
                  </a:cubicBezTo>
                  <a:cubicBezTo>
                    <a:pt x="53" y="80"/>
                    <a:pt x="53" y="80"/>
                    <a:pt x="53" y="80"/>
                  </a:cubicBezTo>
                  <a:cubicBezTo>
                    <a:pt x="17" y="80"/>
                    <a:pt x="9" y="97"/>
                    <a:pt x="9" y="133"/>
                  </a:cubicBezTo>
                  <a:cubicBezTo>
                    <a:pt x="0" y="168"/>
                    <a:pt x="0" y="275"/>
                    <a:pt x="0" y="275"/>
                  </a:cubicBezTo>
                  <a:cubicBezTo>
                    <a:pt x="230" y="275"/>
                    <a:pt x="230" y="275"/>
                    <a:pt x="230" y="275"/>
                  </a:cubicBezTo>
                  <a:lnTo>
                    <a:pt x="230" y="231"/>
                  </a:lnTo>
                  <a:close/>
                  <a:moveTo>
                    <a:pt x="186" y="53"/>
                  </a:moveTo>
                  <a:lnTo>
                    <a:pt x="186" y="53"/>
                  </a:lnTo>
                  <a:cubicBezTo>
                    <a:pt x="194" y="44"/>
                    <a:pt x="194" y="36"/>
                    <a:pt x="212" y="36"/>
                  </a:cubicBezTo>
                  <a:cubicBezTo>
                    <a:pt x="284" y="36"/>
                    <a:pt x="284" y="36"/>
                    <a:pt x="284" y="36"/>
                  </a:cubicBezTo>
                  <a:cubicBezTo>
                    <a:pt x="300" y="36"/>
                    <a:pt x="300" y="44"/>
                    <a:pt x="309" y="53"/>
                  </a:cubicBezTo>
                  <a:cubicBezTo>
                    <a:pt x="309" y="53"/>
                    <a:pt x="319" y="71"/>
                    <a:pt x="319" y="80"/>
                  </a:cubicBezTo>
                  <a:cubicBezTo>
                    <a:pt x="177" y="80"/>
                    <a:pt x="177" y="80"/>
                    <a:pt x="177" y="80"/>
                  </a:cubicBezTo>
                  <a:cubicBezTo>
                    <a:pt x="186" y="71"/>
                    <a:pt x="186" y="53"/>
                    <a:pt x="186" y="53"/>
                  </a:cubicBezTo>
                  <a:close/>
                  <a:moveTo>
                    <a:pt x="274" y="355"/>
                  </a:moveTo>
                  <a:lnTo>
                    <a:pt x="274" y="355"/>
                  </a:lnTo>
                  <a:cubicBezTo>
                    <a:pt x="230" y="355"/>
                    <a:pt x="230" y="355"/>
                    <a:pt x="230" y="355"/>
                  </a:cubicBezTo>
                  <a:cubicBezTo>
                    <a:pt x="230" y="302"/>
                    <a:pt x="230" y="302"/>
                    <a:pt x="230" y="302"/>
                  </a:cubicBezTo>
                  <a:cubicBezTo>
                    <a:pt x="9" y="302"/>
                    <a:pt x="9" y="302"/>
                    <a:pt x="9" y="302"/>
                  </a:cubicBezTo>
                  <a:cubicBezTo>
                    <a:pt x="9" y="302"/>
                    <a:pt x="17" y="346"/>
                    <a:pt x="17" y="381"/>
                  </a:cubicBezTo>
                  <a:cubicBezTo>
                    <a:pt x="17" y="399"/>
                    <a:pt x="26" y="425"/>
                    <a:pt x="62" y="425"/>
                  </a:cubicBezTo>
                  <a:cubicBezTo>
                    <a:pt x="434" y="425"/>
                    <a:pt x="434" y="425"/>
                    <a:pt x="434" y="425"/>
                  </a:cubicBezTo>
                  <a:cubicBezTo>
                    <a:pt x="469" y="425"/>
                    <a:pt x="478" y="399"/>
                    <a:pt x="478" y="381"/>
                  </a:cubicBezTo>
                  <a:cubicBezTo>
                    <a:pt x="478" y="346"/>
                    <a:pt x="487" y="302"/>
                    <a:pt x="487" y="302"/>
                  </a:cubicBezTo>
                  <a:cubicBezTo>
                    <a:pt x="274" y="302"/>
                    <a:pt x="274" y="302"/>
                    <a:pt x="274" y="302"/>
                  </a:cubicBezTo>
                  <a:lnTo>
                    <a:pt x="274" y="355"/>
                  </a:lnTo>
                  <a:close/>
                </a:path>
              </a:pathLst>
            </a:custGeom>
            <a:solidFill>
              <a:schemeClr val="bg1"/>
            </a:solid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7"/>
                      </a:srgbClr>
                    </a:outerShdw>
                  </a:effectLst>
                </a14:hiddenEffects>
              </a:ext>
            </a:extLst>
          </p:spPr>
          <p:txBody>
            <a:bodyPr wrap="none" lIns="34290" tIns="17145" rIns="34290" bIns="17145"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grpSp>
      <p:grpSp>
        <p:nvGrpSpPr>
          <p:cNvPr id="37" name="Group 42">
            <a:extLst>
              <a:ext uri="{FF2B5EF4-FFF2-40B4-BE49-F238E27FC236}">
                <a16:creationId xmlns:a16="http://schemas.microsoft.com/office/drawing/2014/main" id="{C33381A7-FA47-42B7-80F5-4B82571B8C40}"/>
              </a:ext>
            </a:extLst>
          </p:cNvPr>
          <p:cNvGrpSpPr/>
          <p:nvPr/>
        </p:nvGrpSpPr>
        <p:grpSpPr>
          <a:xfrm>
            <a:off x="10720989" y="2023802"/>
            <a:ext cx="821851" cy="821851"/>
            <a:chOff x="4239445" y="3372546"/>
            <a:chExt cx="1324023" cy="1324023"/>
          </a:xfrm>
        </p:grpSpPr>
        <p:grpSp>
          <p:nvGrpSpPr>
            <p:cNvPr id="38" name="Group 43">
              <a:extLst>
                <a:ext uri="{FF2B5EF4-FFF2-40B4-BE49-F238E27FC236}">
                  <a16:creationId xmlns:a16="http://schemas.microsoft.com/office/drawing/2014/main" id="{C1E01FAE-D5F8-49D3-A9D4-02B26FDFBD1C}"/>
                </a:ext>
              </a:extLst>
            </p:cNvPr>
            <p:cNvGrpSpPr/>
            <p:nvPr/>
          </p:nvGrpSpPr>
          <p:grpSpPr>
            <a:xfrm>
              <a:off x="4239445" y="3372546"/>
              <a:ext cx="1324023" cy="1324023"/>
              <a:chOff x="1220118" y="2343274"/>
              <a:chExt cx="2450851" cy="2450851"/>
            </a:xfrm>
          </p:grpSpPr>
          <p:sp>
            <p:nvSpPr>
              <p:cNvPr id="40" name="Oval 45">
                <a:extLst>
                  <a:ext uri="{FF2B5EF4-FFF2-40B4-BE49-F238E27FC236}">
                    <a16:creationId xmlns:a16="http://schemas.microsoft.com/office/drawing/2014/main" id="{3542D562-F8E9-4FCD-8462-3431E415881B}"/>
                  </a:ext>
                </a:extLst>
              </p:cNvPr>
              <p:cNvSpPr/>
              <p:nvPr/>
            </p:nvSpPr>
            <p:spPr>
              <a:xfrm>
                <a:off x="1220118" y="2343274"/>
                <a:ext cx="2450851" cy="2450851"/>
              </a:xfrm>
              <a:prstGeom prst="ellipse">
                <a:avLst/>
              </a:prstGeom>
              <a:solidFill>
                <a:schemeClr val="accent2">
                  <a:alpha val="13000"/>
                </a:schemeClr>
              </a:solidFill>
              <a:ln>
                <a:noFill/>
              </a:ln>
              <a:effectLst>
                <a:outerShdw blurRad="622300" dist="50800" dir="5400000" algn="ctr" rotWithShape="0">
                  <a:srgbClr val="000000">
                    <a:alpha val="43137"/>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等线" panose="020F0502020204030204"/>
                  <a:ea typeface="+mn-ea"/>
                  <a:cs typeface="+mn-cs"/>
                </a:endParaRPr>
              </a:p>
            </p:txBody>
          </p:sp>
          <p:sp>
            <p:nvSpPr>
              <p:cNvPr id="41" name="Oval 46">
                <a:extLst>
                  <a:ext uri="{FF2B5EF4-FFF2-40B4-BE49-F238E27FC236}">
                    <a16:creationId xmlns:a16="http://schemas.microsoft.com/office/drawing/2014/main" id="{D32D13F9-7F4F-499C-96D4-B0E538DAD02B}"/>
                  </a:ext>
                </a:extLst>
              </p:cNvPr>
              <p:cNvSpPr/>
              <p:nvPr/>
            </p:nvSpPr>
            <p:spPr>
              <a:xfrm>
                <a:off x="1395764" y="2518920"/>
                <a:ext cx="2099561" cy="2099561"/>
              </a:xfrm>
              <a:prstGeom prst="ellipse">
                <a:avLst/>
              </a:prstGeom>
              <a:solidFill>
                <a:schemeClr val="accent2">
                  <a:alpha val="25000"/>
                </a:schemeClr>
              </a:solidFill>
              <a:ln>
                <a:noFill/>
              </a:ln>
              <a:effectLst>
                <a:outerShdw blurRad="622300" dist="50800" dir="5400000" algn="ctr" rotWithShape="0">
                  <a:srgbClr val="000000">
                    <a:alpha val="43137"/>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等线" panose="020F0502020204030204"/>
                  <a:ea typeface="+mn-ea"/>
                  <a:cs typeface="+mn-cs"/>
                </a:endParaRPr>
              </a:p>
            </p:txBody>
          </p:sp>
          <p:sp>
            <p:nvSpPr>
              <p:cNvPr id="42" name="Oval 47">
                <a:extLst>
                  <a:ext uri="{FF2B5EF4-FFF2-40B4-BE49-F238E27FC236}">
                    <a16:creationId xmlns:a16="http://schemas.microsoft.com/office/drawing/2014/main" id="{A312F30A-B1E4-42AF-B18B-BFE81D85A6C1}"/>
                  </a:ext>
                </a:extLst>
              </p:cNvPr>
              <p:cNvSpPr/>
              <p:nvPr/>
            </p:nvSpPr>
            <p:spPr>
              <a:xfrm>
                <a:off x="1580469" y="2703625"/>
                <a:ext cx="1730150" cy="1730150"/>
              </a:xfrm>
              <a:prstGeom prst="ellipse">
                <a:avLst/>
              </a:prstGeom>
              <a:solidFill>
                <a:schemeClr val="accent2"/>
              </a:solidFill>
              <a:ln>
                <a:noFill/>
              </a:ln>
              <a:effectLst>
                <a:outerShdw blurRad="812800" dist="50800" dir="5400000" sx="82000" sy="82000" algn="ctr" rotWithShape="0">
                  <a:srgbClr val="000000">
                    <a:alpha val="43137"/>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8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Inter SemiBold" panose="020B0502030000000004" pitchFamily="34" charset="0"/>
                  <a:ea typeface="+mn-ea"/>
                  <a:cs typeface="+mn-cs"/>
                </a:endParaRPr>
              </a:p>
            </p:txBody>
          </p:sp>
        </p:grpSp>
        <p:sp>
          <p:nvSpPr>
            <p:cNvPr id="39" name="Freeform 110">
              <a:extLst>
                <a:ext uri="{FF2B5EF4-FFF2-40B4-BE49-F238E27FC236}">
                  <a16:creationId xmlns:a16="http://schemas.microsoft.com/office/drawing/2014/main" id="{3BAC129F-D6CF-4872-8F88-115131801A72}"/>
                </a:ext>
              </a:extLst>
            </p:cNvPr>
            <p:cNvSpPr>
              <a:spLocks noChangeArrowheads="1"/>
            </p:cNvSpPr>
            <p:nvPr/>
          </p:nvSpPr>
          <p:spPr bwMode="auto">
            <a:xfrm>
              <a:off x="4684935" y="3871630"/>
              <a:ext cx="402703" cy="325853"/>
            </a:xfrm>
            <a:custGeom>
              <a:avLst/>
              <a:gdLst>
                <a:gd name="T0" fmla="*/ 199860 w 462"/>
                <a:gd name="T1" fmla="*/ 4060 h 373"/>
                <a:gd name="T2" fmla="*/ 199860 w 462"/>
                <a:gd name="T3" fmla="*/ 4060 h 373"/>
                <a:gd name="T4" fmla="*/ 4051 w 462"/>
                <a:gd name="T5" fmla="*/ 72182 h 373"/>
                <a:gd name="T6" fmla="*/ 4051 w 462"/>
                <a:gd name="T7" fmla="*/ 76243 h 373"/>
                <a:gd name="T8" fmla="*/ 44113 w 462"/>
                <a:gd name="T9" fmla="*/ 96093 h 373"/>
                <a:gd name="T10" fmla="*/ 44113 w 462"/>
                <a:gd name="T11" fmla="*/ 96093 h 373"/>
                <a:gd name="T12" fmla="*/ 72021 w 462"/>
                <a:gd name="T13" fmla="*/ 103762 h 373"/>
                <a:gd name="T14" fmla="*/ 195358 w 462"/>
                <a:gd name="T15" fmla="*/ 15790 h 373"/>
                <a:gd name="T16" fmla="*/ 195358 w 462"/>
                <a:gd name="T17" fmla="*/ 15790 h 373"/>
                <a:gd name="T18" fmla="*/ 108032 w 462"/>
                <a:gd name="T19" fmla="*/ 111883 h 373"/>
                <a:gd name="T20" fmla="*/ 108032 w 462"/>
                <a:gd name="T21" fmla="*/ 111883 h 373"/>
                <a:gd name="T22" fmla="*/ 103981 w 462"/>
                <a:gd name="T23" fmla="*/ 115943 h 373"/>
                <a:gd name="T24" fmla="*/ 108032 w 462"/>
                <a:gd name="T25" fmla="*/ 120003 h 373"/>
                <a:gd name="T26" fmla="*/ 108032 w 462"/>
                <a:gd name="T27" fmla="*/ 120003 h 373"/>
                <a:gd name="T28" fmla="*/ 163399 w 462"/>
                <a:gd name="T29" fmla="*/ 152034 h 373"/>
                <a:gd name="T30" fmla="*/ 175552 w 462"/>
                <a:gd name="T31" fmla="*/ 147974 h 373"/>
                <a:gd name="T32" fmla="*/ 207512 w 462"/>
                <a:gd name="T33" fmla="*/ 8121 h 373"/>
                <a:gd name="T34" fmla="*/ 199860 w 462"/>
                <a:gd name="T35" fmla="*/ 4060 h 373"/>
                <a:gd name="T36" fmla="*/ 72021 w 462"/>
                <a:gd name="T37" fmla="*/ 163764 h 373"/>
                <a:gd name="T38" fmla="*/ 72021 w 462"/>
                <a:gd name="T39" fmla="*/ 163764 h 373"/>
                <a:gd name="T40" fmla="*/ 76073 w 462"/>
                <a:gd name="T41" fmla="*/ 167824 h 373"/>
                <a:gd name="T42" fmla="*/ 108032 w 462"/>
                <a:gd name="T43" fmla="*/ 139853 h 373"/>
                <a:gd name="T44" fmla="*/ 72021 w 462"/>
                <a:gd name="T45" fmla="*/ 120003 h 373"/>
                <a:gd name="T46" fmla="*/ 72021 w 462"/>
                <a:gd name="T47" fmla="*/ 163764 h 373"/>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462" h="373">
                  <a:moveTo>
                    <a:pt x="444" y="9"/>
                  </a:moveTo>
                  <a:lnTo>
                    <a:pt x="444" y="9"/>
                  </a:lnTo>
                  <a:cubicBezTo>
                    <a:pt x="434" y="9"/>
                    <a:pt x="18" y="160"/>
                    <a:pt x="9" y="160"/>
                  </a:cubicBezTo>
                  <a:cubicBezTo>
                    <a:pt x="0" y="160"/>
                    <a:pt x="0" y="169"/>
                    <a:pt x="9" y="169"/>
                  </a:cubicBezTo>
                  <a:cubicBezTo>
                    <a:pt x="18" y="177"/>
                    <a:pt x="98" y="213"/>
                    <a:pt x="98" y="213"/>
                  </a:cubicBezTo>
                  <a:cubicBezTo>
                    <a:pt x="160" y="230"/>
                    <a:pt x="160" y="230"/>
                    <a:pt x="160" y="230"/>
                  </a:cubicBezTo>
                  <a:cubicBezTo>
                    <a:pt x="160" y="230"/>
                    <a:pt x="425" y="35"/>
                    <a:pt x="434" y="35"/>
                  </a:cubicBezTo>
                  <a:cubicBezTo>
                    <a:pt x="434" y="26"/>
                    <a:pt x="434" y="35"/>
                    <a:pt x="434" y="35"/>
                  </a:cubicBezTo>
                  <a:lnTo>
                    <a:pt x="240" y="248"/>
                  </a:lnTo>
                  <a:cubicBezTo>
                    <a:pt x="231" y="257"/>
                    <a:pt x="231" y="257"/>
                    <a:pt x="231" y="257"/>
                  </a:cubicBezTo>
                  <a:cubicBezTo>
                    <a:pt x="240" y="266"/>
                    <a:pt x="240" y="266"/>
                    <a:pt x="240" y="266"/>
                  </a:cubicBezTo>
                  <a:cubicBezTo>
                    <a:pt x="240" y="266"/>
                    <a:pt x="363" y="328"/>
                    <a:pt x="363" y="337"/>
                  </a:cubicBezTo>
                  <a:cubicBezTo>
                    <a:pt x="372" y="337"/>
                    <a:pt x="381" y="337"/>
                    <a:pt x="390" y="328"/>
                  </a:cubicBezTo>
                  <a:cubicBezTo>
                    <a:pt x="390" y="319"/>
                    <a:pt x="461" y="26"/>
                    <a:pt x="461" y="18"/>
                  </a:cubicBezTo>
                  <a:cubicBezTo>
                    <a:pt x="461" y="9"/>
                    <a:pt x="453" y="0"/>
                    <a:pt x="444" y="9"/>
                  </a:cubicBezTo>
                  <a:close/>
                  <a:moveTo>
                    <a:pt x="160" y="363"/>
                  </a:moveTo>
                  <a:lnTo>
                    <a:pt x="160" y="363"/>
                  </a:lnTo>
                  <a:cubicBezTo>
                    <a:pt x="160" y="372"/>
                    <a:pt x="160" y="372"/>
                    <a:pt x="169" y="372"/>
                  </a:cubicBezTo>
                  <a:cubicBezTo>
                    <a:pt x="169" y="363"/>
                    <a:pt x="240" y="310"/>
                    <a:pt x="240" y="310"/>
                  </a:cubicBezTo>
                  <a:cubicBezTo>
                    <a:pt x="160" y="266"/>
                    <a:pt x="160" y="266"/>
                    <a:pt x="160" y="266"/>
                  </a:cubicBezTo>
                  <a:lnTo>
                    <a:pt x="160" y="363"/>
                  </a:lnTo>
                  <a:close/>
                </a:path>
              </a:pathLst>
            </a:custGeom>
            <a:solidFill>
              <a:schemeClr val="bg1"/>
            </a:solid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7"/>
                      </a:srgbClr>
                    </a:outerShdw>
                  </a:effectLst>
                </a14:hiddenEffects>
              </a:ext>
            </a:extLst>
          </p:spPr>
          <p:txBody>
            <a:bodyPr wrap="none" lIns="34290" tIns="17145" rIns="34290" bIns="17145"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grpSp>
      <p:grpSp>
        <p:nvGrpSpPr>
          <p:cNvPr id="43" name="Group 48">
            <a:extLst>
              <a:ext uri="{FF2B5EF4-FFF2-40B4-BE49-F238E27FC236}">
                <a16:creationId xmlns:a16="http://schemas.microsoft.com/office/drawing/2014/main" id="{CCDA8BBF-C162-4FD9-B1A1-811CE963ADFD}"/>
              </a:ext>
            </a:extLst>
          </p:cNvPr>
          <p:cNvGrpSpPr/>
          <p:nvPr/>
        </p:nvGrpSpPr>
        <p:grpSpPr>
          <a:xfrm>
            <a:off x="6112991" y="2394330"/>
            <a:ext cx="821851" cy="821851"/>
            <a:chOff x="1680613" y="4034558"/>
            <a:chExt cx="1324023" cy="1324023"/>
          </a:xfrm>
        </p:grpSpPr>
        <p:grpSp>
          <p:nvGrpSpPr>
            <p:cNvPr id="44" name="Group 49">
              <a:extLst>
                <a:ext uri="{FF2B5EF4-FFF2-40B4-BE49-F238E27FC236}">
                  <a16:creationId xmlns:a16="http://schemas.microsoft.com/office/drawing/2014/main" id="{8E1F0917-D6FA-424A-A9CA-63364AE4C611}"/>
                </a:ext>
              </a:extLst>
            </p:cNvPr>
            <p:cNvGrpSpPr/>
            <p:nvPr/>
          </p:nvGrpSpPr>
          <p:grpSpPr>
            <a:xfrm>
              <a:off x="1680613" y="4034558"/>
              <a:ext cx="1324023" cy="1324023"/>
              <a:chOff x="1220118" y="2343273"/>
              <a:chExt cx="2450850" cy="2450850"/>
            </a:xfrm>
          </p:grpSpPr>
          <p:sp>
            <p:nvSpPr>
              <p:cNvPr id="46" name="Oval 51">
                <a:extLst>
                  <a:ext uri="{FF2B5EF4-FFF2-40B4-BE49-F238E27FC236}">
                    <a16:creationId xmlns:a16="http://schemas.microsoft.com/office/drawing/2014/main" id="{2ABA9AF1-5FD8-45E5-A8CC-0EC4461BA68F}"/>
                  </a:ext>
                </a:extLst>
              </p:cNvPr>
              <p:cNvSpPr/>
              <p:nvPr/>
            </p:nvSpPr>
            <p:spPr>
              <a:xfrm>
                <a:off x="1220118" y="2343273"/>
                <a:ext cx="2450850" cy="2450850"/>
              </a:xfrm>
              <a:prstGeom prst="ellipse">
                <a:avLst/>
              </a:prstGeom>
              <a:solidFill>
                <a:schemeClr val="accent1">
                  <a:alpha val="13000"/>
                </a:schemeClr>
              </a:solidFill>
              <a:ln>
                <a:noFill/>
              </a:ln>
              <a:effectLst>
                <a:outerShdw blurRad="622300" dist="50800" dir="5400000" algn="ctr" rotWithShape="0">
                  <a:srgbClr val="000000">
                    <a:alpha val="43137"/>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等线" panose="020F0502020204030204"/>
                  <a:ea typeface="+mn-ea"/>
                  <a:cs typeface="+mn-cs"/>
                </a:endParaRPr>
              </a:p>
            </p:txBody>
          </p:sp>
          <p:sp>
            <p:nvSpPr>
              <p:cNvPr id="47" name="Oval 52">
                <a:extLst>
                  <a:ext uri="{FF2B5EF4-FFF2-40B4-BE49-F238E27FC236}">
                    <a16:creationId xmlns:a16="http://schemas.microsoft.com/office/drawing/2014/main" id="{AE838848-6EBD-486D-BA22-69635A180E63}"/>
                  </a:ext>
                </a:extLst>
              </p:cNvPr>
              <p:cNvSpPr/>
              <p:nvPr/>
            </p:nvSpPr>
            <p:spPr>
              <a:xfrm>
                <a:off x="1395764" y="2518920"/>
                <a:ext cx="2099561" cy="2099561"/>
              </a:xfrm>
              <a:prstGeom prst="ellipse">
                <a:avLst/>
              </a:prstGeom>
              <a:solidFill>
                <a:schemeClr val="accent1">
                  <a:alpha val="25000"/>
                </a:schemeClr>
              </a:solidFill>
              <a:ln>
                <a:noFill/>
              </a:ln>
              <a:effectLst>
                <a:outerShdw blurRad="622300" dist="50800" dir="5400000" algn="ctr" rotWithShape="0">
                  <a:srgbClr val="000000">
                    <a:alpha val="43137"/>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等线" panose="020F0502020204030204"/>
                  <a:ea typeface="+mn-ea"/>
                  <a:cs typeface="+mn-cs"/>
                </a:endParaRPr>
              </a:p>
            </p:txBody>
          </p:sp>
          <p:sp>
            <p:nvSpPr>
              <p:cNvPr id="48" name="Oval 53">
                <a:extLst>
                  <a:ext uri="{FF2B5EF4-FFF2-40B4-BE49-F238E27FC236}">
                    <a16:creationId xmlns:a16="http://schemas.microsoft.com/office/drawing/2014/main" id="{FE6051D0-03A8-4F98-B28A-BAC49B8B223F}"/>
                  </a:ext>
                </a:extLst>
              </p:cNvPr>
              <p:cNvSpPr/>
              <p:nvPr/>
            </p:nvSpPr>
            <p:spPr>
              <a:xfrm>
                <a:off x="1580469" y="2703625"/>
                <a:ext cx="1730150" cy="1730150"/>
              </a:xfrm>
              <a:prstGeom prst="ellipse">
                <a:avLst/>
              </a:prstGeom>
              <a:solidFill>
                <a:schemeClr val="accent1"/>
              </a:solidFill>
              <a:ln>
                <a:noFill/>
              </a:ln>
              <a:effectLst>
                <a:outerShdw blurRad="812800" dist="50800" dir="5400000" sx="82000" sy="82000" algn="ctr" rotWithShape="0">
                  <a:srgbClr val="000000">
                    <a:alpha val="43137"/>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8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Inter SemiBold" panose="020B0502030000000004" pitchFamily="34" charset="0"/>
                  <a:ea typeface="+mn-ea"/>
                  <a:cs typeface="+mn-cs"/>
                </a:endParaRPr>
              </a:p>
            </p:txBody>
          </p:sp>
        </p:grpSp>
        <p:sp>
          <p:nvSpPr>
            <p:cNvPr id="45" name="Freeform 154">
              <a:extLst>
                <a:ext uri="{FF2B5EF4-FFF2-40B4-BE49-F238E27FC236}">
                  <a16:creationId xmlns:a16="http://schemas.microsoft.com/office/drawing/2014/main" id="{8AF3F1BD-61CB-475C-B173-2D1DA733E049}"/>
                </a:ext>
              </a:extLst>
            </p:cNvPr>
            <p:cNvSpPr>
              <a:spLocks noChangeArrowheads="1"/>
            </p:cNvSpPr>
            <p:nvPr/>
          </p:nvSpPr>
          <p:spPr bwMode="auto">
            <a:xfrm>
              <a:off x="2173968" y="4466446"/>
              <a:ext cx="337311" cy="457543"/>
            </a:xfrm>
            <a:custGeom>
              <a:avLst/>
              <a:gdLst>
                <a:gd name="T0" fmla="*/ 156272 w 355"/>
                <a:gd name="T1" fmla="*/ 58950 h 487"/>
                <a:gd name="T2" fmla="*/ 156272 w 355"/>
                <a:gd name="T3" fmla="*/ 58950 h 487"/>
                <a:gd name="T4" fmla="*/ 52392 w 355"/>
                <a:gd name="T5" fmla="*/ 7592 h 487"/>
                <a:gd name="T6" fmla="*/ 4065 w 355"/>
                <a:gd name="T7" fmla="*/ 23669 h 487"/>
                <a:gd name="T8" fmla="*/ 0 w 355"/>
                <a:gd name="T9" fmla="*/ 35280 h 487"/>
                <a:gd name="T10" fmla="*/ 4065 w 355"/>
                <a:gd name="T11" fmla="*/ 154073 h 487"/>
                <a:gd name="T12" fmla="*/ 8130 w 355"/>
                <a:gd name="T13" fmla="*/ 162111 h 487"/>
                <a:gd name="T14" fmla="*/ 100267 w 355"/>
                <a:gd name="T15" fmla="*/ 217041 h 487"/>
                <a:gd name="T16" fmla="*/ 104332 w 355"/>
                <a:gd name="T17" fmla="*/ 217041 h 487"/>
                <a:gd name="T18" fmla="*/ 108397 w 355"/>
                <a:gd name="T19" fmla="*/ 217041 h 487"/>
                <a:gd name="T20" fmla="*/ 112010 w 355"/>
                <a:gd name="T21" fmla="*/ 213469 h 487"/>
                <a:gd name="T22" fmla="*/ 112010 w 355"/>
                <a:gd name="T23" fmla="*/ 90657 h 487"/>
                <a:gd name="T24" fmla="*/ 108397 w 355"/>
                <a:gd name="T25" fmla="*/ 82619 h 487"/>
                <a:gd name="T26" fmla="*/ 19873 w 355"/>
                <a:gd name="T27" fmla="*/ 31261 h 487"/>
                <a:gd name="T28" fmla="*/ 32067 w 355"/>
                <a:gd name="T29" fmla="*/ 23669 h 487"/>
                <a:gd name="T30" fmla="*/ 48327 w 355"/>
                <a:gd name="T31" fmla="*/ 19650 h 487"/>
                <a:gd name="T32" fmla="*/ 135948 w 355"/>
                <a:gd name="T33" fmla="*/ 66988 h 487"/>
                <a:gd name="T34" fmla="*/ 140013 w 355"/>
                <a:gd name="T35" fmla="*/ 71007 h 487"/>
                <a:gd name="T36" fmla="*/ 140013 w 355"/>
                <a:gd name="T37" fmla="*/ 189800 h 487"/>
                <a:gd name="T38" fmla="*/ 148142 w 355"/>
                <a:gd name="T39" fmla="*/ 197392 h 487"/>
                <a:gd name="T40" fmla="*/ 159885 w 355"/>
                <a:gd name="T41" fmla="*/ 189800 h 487"/>
                <a:gd name="T42" fmla="*/ 159885 w 355"/>
                <a:gd name="T43" fmla="*/ 62969 h 487"/>
                <a:gd name="T44" fmla="*/ 156272 w 355"/>
                <a:gd name="T45" fmla="*/ 58950 h 487"/>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355" h="487">
                  <a:moveTo>
                    <a:pt x="346" y="132"/>
                  </a:moveTo>
                  <a:lnTo>
                    <a:pt x="346" y="132"/>
                  </a:lnTo>
                  <a:cubicBezTo>
                    <a:pt x="116" y="17"/>
                    <a:pt x="116" y="17"/>
                    <a:pt x="116" y="17"/>
                  </a:cubicBezTo>
                  <a:cubicBezTo>
                    <a:pt x="89" y="0"/>
                    <a:pt x="27" y="25"/>
                    <a:pt x="9" y="53"/>
                  </a:cubicBezTo>
                  <a:cubicBezTo>
                    <a:pt x="0" y="70"/>
                    <a:pt x="0" y="79"/>
                    <a:pt x="0" y="79"/>
                  </a:cubicBezTo>
                  <a:cubicBezTo>
                    <a:pt x="9" y="345"/>
                    <a:pt x="9" y="345"/>
                    <a:pt x="9" y="345"/>
                  </a:cubicBezTo>
                  <a:cubicBezTo>
                    <a:pt x="9" y="345"/>
                    <a:pt x="18" y="354"/>
                    <a:pt x="18" y="363"/>
                  </a:cubicBezTo>
                  <a:cubicBezTo>
                    <a:pt x="36" y="363"/>
                    <a:pt x="222" y="486"/>
                    <a:pt x="222" y="486"/>
                  </a:cubicBezTo>
                  <a:cubicBezTo>
                    <a:pt x="231" y="486"/>
                    <a:pt x="231" y="486"/>
                    <a:pt x="231" y="486"/>
                  </a:cubicBezTo>
                  <a:cubicBezTo>
                    <a:pt x="240" y="486"/>
                    <a:pt x="240" y="486"/>
                    <a:pt x="240" y="486"/>
                  </a:cubicBezTo>
                  <a:cubicBezTo>
                    <a:pt x="248" y="486"/>
                    <a:pt x="248" y="478"/>
                    <a:pt x="248" y="478"/>
                  </a:cubicBezTo>
                  <a:cubicBezTo>
                    <a:pt x="248" y="203"/>
                    <a:pt x="248" y="203"/>
                    <a:pt x="248" y="203"/>
                  </a:cubicBezTo>
                  <a:cubicBezTo>
                    <a:pt x="248" y="194"/>
                    <a:pt x="248" y="194"/>
                    <a:pt x="240" y="185"/>
                  </a:cubicBezTo>
                  <a:cubicBezTo>
                    <a:pt x="44" y="70"/>
                    <a:pt x="44" y="70"/>
                    <a:pt x="44" y="70"/>
                  </a:cubicBezTo>
                  <a:cubicBezTo>
                    <a:pt x="44" y="70"/>
                    <a:pt x="53" y="61"/>
                    <a:pt x="71" y="53"/>
                  </a:cubicBezTo>
                  <a:cubicBezTo>
                    <a:pt x="89" y="44"/>
                    <a:pt x="97" y="44"/>
                    <a:pt x="107" y="44"/>
                  </a:cubicBezTo>
                  <a:cubicBezTo>
                    <a:pt x="107" y="44"/>
                    <a:pt x="293" y="150"/>
                    <a:pt x="301" y="150"/>
                  </a:cubicBezTo>
                  <a:cubicBezTo>
                    <a:pt x="310" y="159"/>
                    <a:pt x="310" y="159"/>
                    <a:pt x="310" y="159"/>
                  </a:cubicBezTo>
                  <a:cubicBezTo>
                    <a:pt x="310" y="168"/>
                    <a:pt x="310" y="425"/>
                    <a:pt x="310" y="425"/>
                  </a:cubicBezTo>
                  <a:cubicBezTo>
                    <a:pt x="310" y="433"/>
                    <a:pt x="319" y="442"/>
                    <a:pt x="328" y="442"/>
                  </a:cubicBezTo>
                  <a:cubicBezTo>
                    <a:pt x="337" y="442"/>
                    <a:pt x="354" y="433"/>
                    <a:pt x="354" y="425"/>
                  </a:cubicBezTo>
                  <a:cubicBezTo>
                    <a:pt x="354" y="141"/>
                    <a:pt x="354" y="141"/>
                    <a:pt x="354" y="141"/>
                  </a:cubicBezTo>
                  <a:lnTo>
                    <a:pt x="346" y="132"/>
                  </a:lnTo>
                </a:path>
              </a:pathLst>
            </a:custGeom>
            <a:solidFill>
              <a:schemeClr val="bg1"/>
            </a:solid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7"/>
                      </a:srgbClr>
                    </a:outerShdw>
                  </a:effectLst>
                </a14:hiddenEffects>
              </a:ext>
            </a:extLst>
          </p:spPr>
          <p:txBody>
            <a:bodyPr wrap="none" lIns="34290" tIns="17145" rIns="34290" bIns="17145"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grpSp>
      <p:grpSp>
        <p:nvGrpSpPr>
          <p:cNvPr id="49" name="Group 54">
            <a:extLst>
              <a:ext uri="{FF2B5EF4-FFF2-40B4-BE49-F238E27FC236}">
                <a16:creationId xmlns:a16="http://schemas.microsoft.com/office/drawing/2014/main" id="{E940684D-CF0F-46AA-92F6-A1495FD6F748}"/>
              </a:ext>
            </a:extLst>
          </p:cNvPr>
          <p:cNvGrpSpPr/>
          <p:nvPr/>
        </p:nvGrpSpPr>
        <p:grpSpPr>
          <a:xfrm>
            <a:off x="8233103" y="3578508"/>
            <a:ext cx="823019" cy="823019"/>
            <a:chOff x="8398926" y="3664308"/>
            <a:chExt cx="831518" cy="831518"/>
          </a:xfrm>
        </p:grpSpPr>
        <p:grpSp>
          <p:nvGrpSpPr>
            <p:cNvPr id="50" name="Group 55">
              <a:extLst>
                <a:ext uri="{FF2B5EF4-FFF2-40B4-BE49-F238E27FC236}">
                  <a16:creationId xmlns:a16="http://schemas.microsoft.com/office/drawing/2014/main" id="{855FDD13-EDFB-4EDD-99F1-F052AE071F6F}"/>
                </a:ext>
              </a:extLst>
            </p:cNvPr>
            <p:cNvGrpSpPr/>
            <p:nvPr/>
          </p:nvGrpSpPr>
          <p:grpSpPr>
            <a:xfrm>
              <a:off x="8398926" y="3664308"/>
              <a:ext cx="831518" cy="831518"/>
              <a:chOff x="1220118" y="2343274"/>
              <a:chExt cx="2450851" cy="2450851"/>
            </a:xfrm>
          </p:grpSpPr>
          <p:sp>
            <p:nvSpPr>
              <p:cNvPr id="52" name="Oval 57">
                <a:extLst>
                  <a:ext uri="{FF2B5EF4-FFF2-40B4-BE49-F238E27FC236}">
                    <a16:creationId xmlns:a16="http://schemas.microsoft.com/office/drawing/2014/main" id="{6A21C355-A90D-4036-88E6-6831D21D4B70}"/>
                  </a:ext>
                </a:extLst>
              </p:cNvPr>
              <p:cNvSpPr/>
              <p:nvPr/>
            </p:nvSpPr>
            <p:spPr>
              <a:xfrm>
                <a:off x="1220118" y="2343274"/>
                <a:ext cx="2450851" cy="2450851"/>
              </a:xfrm>
              <a:prstGeom prst="ellipse">
                <a:avLst/>
              </a:prstGeom>
              <a:solidFill>
                <a:schemeClr val="accent4">
                  <a:alpha val="13000"/>
                </a:schemeClr>
              </a:solidFill>
              <a:ln>
                <a:noFill/>
              </a:ln>
              <a:effectLst>
                <a:outerShdw blurRad="622300" dist="50800" dir="5400000" algn="ctr" rotWithShape="0">
                  <a:srgbClr val="000000">
                    <a:alpha val="43137"/>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srgbClr val="FFFFFF"/>
                  </a:solidFill>
                  <a:effectLst/>
                  <a:uLnTx/>
                  <a:uFillTx/>
                  <a:latin typeface="Inter SemiBold" panose="020B0502030000000004" pitchFamily="34" charset="0"/>
                  <a:ea typeface="+mn-ea"/>
                  <a:cs typeface="+mn-cs"/>
                </a:endParaRPr>
              </a:p>
            </p:txBody>
          </p:sp>
          <p:sp>
            <p:nvSpPr>
              <p:cNvPr id="53" name="Oval 58">
                <a:extLst>
                  <a:ext uri="{FF2B5EF4-FFF2-40B4-BE49-F238E27FC236}">
                    <a16:creationId xmlns:a16="http://schemas.microsoft.com/office/drawing/2014/main" id="{D691D5D3-EED2-413B-8538-C7F08B22BCBD}"/>
                  </a:ext>
                </a:extLst>
              </p:cNvPr>
              <p:cNvSpPr/>
              <p:nvPr/>
            </p:nvSpPr>
            <p:spPr>
              <a:xfrm>
                <a:off x="1395764" y="2518920"/>
                <a:ext cx="2099561" cy="2099561"/>
              </a:xfrm>
              <a:prstGeom prst="ellipse">
                <a:avLst/>
              </a:prstGeom>
              <a:solidFill>
                <a:schemeClr val="accent4">
                  <a:alpha val="25000"/>
                </a:schemeClr>
              </a:solidFill>
              <a:ln>
                <a:noFill/>
              </a:ln>
              <a:effectLst>
                <a:outerShdw blurRad="622300" dist="50800" dir="5400000" algn="ctr" rotWithShape="0">
                  <a:srgbClr val="000000">
                    <a:alpha val="43137"/>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srgbClr val="FFFFFF"/>
                  </a:solidFill>
                  <a:effectLst/>
                  <a:uLnTx/>
                  <a:uFillTx/>
                  <a:latin typeface="Inter SemiBold" panose="020B0502030000000004" pitchFamily="34" charset="0"/>
                  <a:ea typeface="+mn-ea"/>
                  <a:cs typeface="+mn-cs"/>
                </a:endParaRPr>
              </a:p>
            </p:txBody>
          </p:sp>
          <p:sp>
            <p:nvSpPr>
              <p:cNvPr id="54" name="Oval 59">
                <a:extLst>
                  <a:ext uri="{FF2B5EF4-FFF2-40B4-BE49-F238E27FC236}">
                    <a16:creationId xmlns:a16="http://schemas.microsoft.com/office/drawing/2014/main" id="{9453A7B1-25EF-4ED9-8EB3-D990958D528B}"/>
                  </a:ext>
                </a:extLst>
              </p:cNvPr>
              <p:cNvSpPr/>
              <p:nvPr/>
            </p:nvSpPr>
            <p:spPr>
              <a:xfrm>
                <a:off x="1580469" y="2703625"/>
                <a:ext cx="1730150" cy="1730150"/>
              </a:xfrm>
              <a:prstGeom prst="ellipse">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srgbClr val="FFFFFF"/>
                  </a:solidFill>
                  <a:effectLst/>
                  <a:uLnTx/>
                  <a:uFillTx/>
                  <a:latin typeface="Inter SemiBold" panose="020B0502030000000004" pitchFamily="34" charset="0"/>
                  <a:ea typeface="+mn-ea"/>
                  <a:cs typeface="+mn-cs"/>
                </a:endParaRPr>
              </a:p>
            </p:txBody>
          </p:sp>
        </p:grpSp>
        <p:sp>
          <p:nvSpPr>
            <p:cNvPr id="51" name="Freeform 144">
              <a:extLst>
                <a:ext uri="{FF2B5EF4-FFF2-40B4-BE49-F238E27FC236}">
                  <a16:creationId xmlns:a16="http://schemas.microsoft.com/office/drawing/2014/main" id="{9CBFAAF0-346B-4770-80E2-0AC31119C747}"/>
                </a:ext>
              </a:extLst>
            </p:cNvPr>
            <p:cNvSpPr>
              <a:spLocks noChangeArrowheads="1"/>
            </p:cNvSpPr>
            <p:nvPr/>
          </p:nvSpPr>
          <p:spPr bwMode="auto">
            <a:xfrm>
              <a:off x="8680059" y="3976214"/>
              <a:ext cx="262544" cy="243382"/>
            </a:xfrm>
            <a:custGeom>
              <a:avLst/>
              <a:gdLst>
                <a:gd name="T0" fmla="*/ 114881 w 602"/>
                <a:gd name="T1" fmla="*/ 0 h 559"/>
                <a:gd name="T2" fmla="*/ 114881 w 602"/>
                <a:gd name="T3" fmla="*/ 0 h 559"/>
                <a:gd name="T4" fmla="*/ 217118 w 602"/>
                <a:gd name="T5" fmla="*/ 84035 h 559"/>
                <a:gd name="T6" fmla="*/ 114881 w 602"/>
                <a:gd name="T7" fmla="*/ 165546 h 559"/>
                <a:gd name="T8" fmla="*/ 91760 w 602"/>
                <a:gd name="T9" fmla="*/ 163022 h 559"/>
                <a:gd name="T10" fmla="*/ 15173 w 602"/>
                <a:gd name="T11" fmla="*/ 193678 h 559"/>
                <a:gd name="T12" fmla="*/ 40822 w 602"/>
                <a:gd name="T13" fmla="*/ 147874 h 559"/>
                <a:gd name="T14" fmla="*/ 0 w 602"/>
                <a:gd name="T15" fmla="*/ 84035 h 559"/>
                <a:gd name="T16" fmla="*/ 114881 w 602"/>
                <a:gd name="T17" fmla="*/ 0 h 55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602" h="559">
                  <a:moveTo>
                    <a:pt x="318" y="0"/>
                  </a:moveTo>
                  <a:lnTo>
                    <a:pt x="318" y="0"/>
                  </a:lnTo>
                  <a:cubicBezTo>
                    <a:pt x="495" y="0"/>
                    <a:pt x="601" y="106"/>
                    <a:pt x="601" y="233"/>
                  </a:cubicBezTo>
                  <a:cubicBezTo>
                    <a:pt x="601" y="360"/>
                    <a:pt x="495" y="459"/>
                    <a:pt x="318" y="459"/>
                  </a:cubicBezTo>
                  <a:cubicBezTo>
                    <a:pt x="297" y="459"/>
                    <a:pt x="276" y="452"/>
                    <a:pt x="254" y="452"/>
                  </a:cubicBezTo>
                  <a:cubicBezTo>
                    <a:pt x="170" y="558"/>
                    <a:pt x="42" y="537"/>
                    <a:pt x="42" y="537"/>
                  </a:cubicBezTo>
                  <a:cubicBezTo>
                    <a:pt x="134" y="494"/>
                    <a:pt x="134" y="417"/>
                    <a:pt x="113" y="410"/>
                  </a:cubicBezTo>
                  <a:cubicBezTo>
                    <a:pt x="42" y="367"/>
                    <a:pt x="0" y="303"/>
                    <a:pt x="0" y="233"/>
                  </a:cubicBezTo>
                  <a:cubicBezTo>
                    <a:pt x="0" y="106"/>
                    <a:pt x="141" y="0"/>
                    <a:pt x="318" y="0"/>
                  </a:cubicBezTo>
                </a:path>
              </a:pathLst>
            </a:custGeom>
            <a:solidFill>
              <a:schemeClr val="bg1"/>
            </a:solid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grpSp>
      <p:grpSp>
        <p:nvGrpSpPr>
          <p:cNvPr id="55" name="Group 60">
            <a:extLst>
              <a:ext uri="{FF2B5EF4-FFF2-40B4-BE49-F238E27FC236}">
                <a16:creationId xmlns:a16="http://schemas.microsoft.com/office/drawing/2014/main" id="{E56CF8A2-6843-4524-A783-7557B4A70928}"/>
              </a:ext>
            </a:extLst>
          </p:cNvPr>
          <p:cNvGrpSpPr/>
          <p:nvPr/>
        </p:nvGrpSpPr>
        <p:grpSpPr>
          <a:xfrm>
            <a:off x="8644613" y="250988"/>
            <a:ext cx="822960" cy="822960"/>
            <a:chOff x="6167950" y="2641461"/>
            <a:chExt cx="1086641" cy="1086641"/>
          </a:xfrm>
        </p:grpSpPr>
        <p:grpSp>
          <p:nvGrpSpPr>
            <p:cNvPr id="56" name="Group 61">
              <a:extLst>
                <a:ext uri="{FF2B5EF4-FFF2-40B4-BE49-F238E27FC236}">
                  <a16:creationId xmlns:a16="http://schemas.microsoft.com/office/drawing/2014/main" id="{F8AE3160-DEDA-48AC-B2E4-F20EA4192FA7}"/>
                </a:ext>
              </a:extLst>
            </p:cNvPr>
            <p:cNvGrpSpPr/>
            <p:nvPr/>
          </p:nvGrpSpPr>
          <p:grpSpPr>
            <a:xfrm>
              <a:off x="6167950" y="2641461"/>
              <a:ext cx="1086641" cy="1086641"/>
              <a:chOff x="1220118" y="2343273"/>
              <a:chExt cx="2450850" cy="2450850"/>
            </a:xfrm>
          </p:grpSpPr>
          <p:sp>
            <p:nvSpPr>
              <p:cNvPr id="58" name="Oval 63">
                <a:extLst>
                  <a:ext uri="{FF2B5EF4-FFF2-40B4-BE49-F238E27FC236}">
                    <a16:creationId xmlns:a16="http://schemas.microsoft.com/office/drawing/2014/main" id="{F1D1D0DA-381C-4AA5-AB41-D8B4A8461AC1}"/>
                  </a:ext>
                </a:extLst>
              </p:cNvPr>
              <p:cNvSpPr/>
              <p:nvPr/>
            </p:nvSpPr>
            <p:spPr>
              <a:xfrm>
                <a:off x="1220118" y="2343273"/>
                <a:ext cx="2450850" cy="2450850"/>
              </a:xfrm>
              <a:prstGeom prst="ellipse">
                <a:avLst/>
              </a:prstGeom>
              <a:solidFill>
                <a:schemeClr val="accent6">
                  <a:alpha val="13000"/>
                </a:schemeClr>
              </a:solidFill>
              <a:ln>
                <a:noFill/>
              </a:ln>
              <a:effectLst>
                <a:outerShdw blurRad="622300" dist="50800" dir="5400000" algn="ctr" rotWithShape="0">
                  <a:srgbClr val="000000">
                    <a:alpha val="43137"/>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等线" panose="020F0502020204030204"/>
                  <a:ea typeface="+mn-ea"/>
                  <a:cs typeface="+mn-cs"/>
                </a:endParaRPr>
              </a:p>
            </p:txBody>
          </p:sp>
          <p:sp>
            <p:nvSpPr>
              <p:cNvPr id="59" name="Oval 64">
                <a:extLst>
                  <a:ext uri="{FF2B5EF4-FFF2-40B4-BE49-F238E27FC236}">
                    <a16:creationId xmlns:a16="http://schemas.microsoft.com/office/drawing/2014/main" id="{E6B4FF13-81B5-495B-821D-E930B41BB48D}"/>
                  </a:ext>
                </a:extLst>
              </p:cNvPr>
              <p:cNvSpPr/>
              <p:nvPr/>
            </p:nvSpPr>
            <p:spPr>
              <a:xfrm>
                <a:off x="1395764" y="2518920"/>
                <a:ext cx="2099561" cy="2099561"/>
              </a:xfrm>
              <a:prstGeom prst="ellipse">
                <a:avLst/>
              </a:prstGeom>
              <a:solidFill>
                <a:schemeClr val="accent6">
                  <a:alpha val="25000"/>
                </a:schemeClr>
              </a:solidFill>
              <a:ln>
                <a:noFill/>
              </a:ln>
              <a:effectLst>
                <a:outerShdw blurRad="622300" dist="50800" dir="5400000" algn="ctr" rotWithShape="0">
                  <a:srgbClr val="000000">
                    <a:alpha val="43137"/>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等线" panose="020F0502020204030204"/>
                  <a:ea typeface="+mn-ea"/>
                  <a:cs typeface="+mn-cs"/>
                </a:endParaRPr>
              </a:p>
            </p:txBody>
          </p:sp>
          <p:sp>
            <p:nvSpPr>
              <p:cNvPr id="60" name="Oval 65">
                <a:extLst>
                  <a:ext uri="{FF2B5EF4-FFF2-40B4-BE49-F238E27FC236}">
                    <a16:creationId xmlns:a16="http://schemas.microsoft.com/office/drawing/2014/main" id="{F1481B52-FFB2-4DD7-BD39-81297A79449B}"/>
                  </a:ext>
                </a:extLst>
              </p:cNvPr>
              <p:cNvSpPr/>
              <p:nvPr/>
            </p:nvSpPr>
            <p:spPr>
              <a:xfrm>
                <a:off x="1580469" y="2703625"/>
                <a:ext cx="1730150" cy="1730150"/>
              </a:xfrm>
              <a:prstGeom prst="ellipse">
                <a:avLst/>
              </a:prstGeom>
              <a:solidFill>
                <a:schemeClr val="accent6"/>
              </a:solidFill>
              <a:ln>
                <a:noFill/>
              </a:ln>
              <a:effectLst>
                <a:outerShdw blurRad="812800" dist="50800" dir="5400000" sx="82000" sy="82000" algn="ctr" rotWithShape="0">
                  <a:srgbClr val="000000">
                    <a:alpha val="43137"/>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8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Inter SemiBold" panose="020B0502030000000004" pitchFamily="34" charset="0"/>
                  <a:ea typeface="+mn-ea"/>
                  <a:cs typeface="+mn-cs"/>
                </a:endParaRPr>
              </a:p>
            </p:txBody>
          </p:sp>
        </p:grpSp>
        <p:sp>
          <p:nvSpPr>
            <p:cNvPr id="57" name="Freeform 115">
              <a:extLst>
                <a:ext uri="{FF2B5EF4-FFF2-40B4-BE49-F238E27FC236}">
                  <a16:creationId xmlns:a16="http://schemas.microsoft.com/office/drawing/2014/main" id="{34D607D0-F05F-4D68-A32B-958451B53CC5}"/>
                </a:ext>
              </a:extLst>
            </p:cNvPr>
            <p:cNvSpPr>
              <a:spLocks noChangeArrowheads="1"/>
            </p:cNvSpPr>
            <p:nvPr/>
          </p:nvSpPr>
          <p:spPr bwMode="auto">
            <a:xfrm>
              <a:off x="6557068" y="3043051"/>
              <a:ext cx="308404" cy="283461"/>
            </a:xfrm>
            <a:custGeom>
              <a:avLst/>
              <a:gdLst>
                <a:gd name="T0" fmla="*/ 215533 w 601"/>
                <a:gd name="T1" fmla="*/ 81245 h 552"/>
                <a:gd name="T2" fmla="*/ 215533 w 601"/>
                <a:gd name="T3" fmla="*/ 81245 h 552"/>
                <a:gd name="T4" fmla="*/ 187514 w 601"/>
                <a:gd name="T5" fmla="*/ 109285 h 552"/>
                <a:gd name="T6" fmla="*/ 162368 w 601"/>
                <a:gd name="T7" fmla="*/ 81245 h 552"/>
                <a:gd name="T8" fmla="*/ 162368 w 601"/>
                <a:gd name="T9" fmla="*/ 81245 h 552"/>
                <a:gd name="T10" fmla="*/ 162368 w 601"/>
                <a:gd name="T11" fmla="*/ 81245 h 552"/>
                <a:gd name="T12" fmla="*/ 162368 w 601"/>
                <a:gd name="T13" fmla="*/ 81245 h 552"/>
                <a:gd name="T14" fmla="*/ 134349 w 601"/>
                <a:gd name="T15" fmla="*/ 109285 h 552"/>
                <a:gd name="T16" fmla="*/ 106330 w 601"/>
                <a:gd name="T17" fmla="*/ 81245 h 552"/>
                <a:gd name="T18" fmla="*/ 106330 w 601"/>
                <a:gd name="T19" fmla="*/ 81245 h 552"/>
                <a:gd name="T20" fmla="*/ 106330 w 601"/>
                <a:gd name="T21" fmla="*/ 81245 h 552"/>
                <a:gd name="T22" fmla="*/ 106330 w 601"/>
                <a:gd name="T23" fmla="*/ 81245 h 552"/>
                <a:gd name="T24" fmla="*/ 106330 w 601"/>
                <a:gd name="T25" fmla="*/ 81245 h 552"/>
                <a:gd name="T26" fmla="*/ 81184 w 601"/>
                <a:gd name="T27" fmla="*/ 109285 h 552"/>
                <a:gd name="T28" fmla="*/ 53165 w 601"/>
                <a:gd name="T29" fmla="*/ 81245 h 552"/>
                <a:gd name="T30" fmla="*/ 53165 w 601"/>
                <a:gd name="T31" fmla="*/ 81245 h 552"/>
                <a:gd name="T32" fmla="*/ 53165 w 601"/>
                <a:gd name="T33" fmla="*/ 81245 h 552"/>
                <a:gd name="T34" fmla="*/ 53165 w 601"/>
                <a:gd name="T35" fmla="*/ 81245 h 552"/>
                <a:gd name="T36" fmla="*/ 53165 w 601"/>
                <a:gd name="T37" fmla="*/ 81245 h 552"/>
                <a:gd name="T38" fmla="*/ 25145 w 601"/>
                <a:gd name="T39" fmla="*/ 109285 h 552"/>
                <a:gd name="T40" fmla="*/ 0 w 601"/>
                <a:gd name="T41" fmla="*/ 81245 h 552"/>
                <a:gd name="T42" fmla="*/ 0 w 601"/>
                <a:gd name="T43" fmla="*/ 81245 h 552"/>
                <a:gd name="T44" fmla="*/ 0 w 601"/>
                <a:gd name="T45" fmla="*/ 81245 h 552"/>
                <a:gd name="T46" fmla="*/ 0 w 601"/>
                <a:gd name="T47" fmla="*/ 81245 h 552"/>
                <a:gd name="T48" fmla="*/ 17602 w 601"/>
                <a:gd name="T49" fmla="*/ 30197 h 552"/>
                <a:gd name="T50" fmla="*/ 197931 w 601"/>
                <a:gd name="T51" fmla="*/ 30197 h 552"/>
                <a:gd name="T52" fmla="*/ 215533 w 601"/>
                <a:gd name="T53" fmla="*/ 81245 h 552"/>
                <a:gd name="T54" fmla="*/ 182484 w 601"/>
                <a:gd name="T55" fmla="*/ 20131 h 552"/>
                <a:gd name="T56" fmla="*/ 182484 w 601"/>
                <a:gd name="T57" fmla="*/ 20131 h 552"/>
                <a:gd name="T58" fmla="*/ 32689 w 601"/>
                <a:gd name="T59" fmla="*/ 20131 h 552"/>
                <a:gd name="T60" fmla="*/ 22631 w 601"/>
                <a:gd name="T61" fmla="*/ 10066 h 552"/>
                <a:gd name="T62" fmla="*/ 32689 w 601"/>
                <a:gd name="T63" fmla="*/ 0 h 552"/>
                <a:gd name="T64" fmla="*/ 182484 w 601"/>
                <a:gd name="T65" fmla="*/ 0 h 552"/>
                <a:gd name="T66" fmla="*/ 192902 w 601"/>
                <a:gd name="T67" fmla="*/ 10066 h 552"/>
                <a:gd name="T68" fmla="*/ 182484 w 601"/>
                <a:gd name="T69" fmla="*/ 20131 h 552"/>
                <a:gd name="T70" fmla="*/ 30175 w 601"/>
                <a:gd name="T71" fmla="*/ 119350 h 552"/>
                <a:gd name="T72" fmla="*/ 30175 w 601"/>
                <a:gd name="T73" fmla="*/ 119350 h 552"/>
                <a:gd name="T74" fmla="*/ 30175 w 601"/>
                <a:gd name="T75" fmla="*/ 119350 h 552"/>
                <a:gd name="T76" fmla="*/ 32689 w 601"/>
                <a:gd name="T77" fmla="*/ 119350 h 552"/>
                <a:gd name="T78" fmla="*/ 32689 w 601"/>
                <a:gd name="T79" fmla="*/ 119350 h 552"/>
                <a:gd name="T80" fmla="*/ 35204 w 601"/>
                <a:gd name="T81" fmla="*/ 119350 h 552"/>
                <a:gd name="T82" fmla="*/ 40592 w 601"/>
                <a:gd name="T83" fmla="*/ 116834 h 552"/>
                <a:gd name="T84" fmla="*/ 40592 w 601"/>
                <a:gd name="T85" fmla="*/ 116834 h 552"/>
                <a:gd name="T86" fmla="*/ 40592 w 601"/>
                <a:gd name="T87" fmla="*/ 116834 h 552"/>
                <a:gd name="T88" fmla="*/ 40592 w 601"/>
                <a:gd name="T89" fmla="*/ 167522 h 552"/>
                <a:gd name="T90" fmla="*/ 174941 w 601"/>
                <a:gd name="T91" fmla="*/ 167522 h 552"/>
                <a:gd name="T92" fmla="*/ 174941 w 601"/>
                <a:gd name="T93" fmla="*/ 116834 h 552"/>
                <a:gd name="T94" fmla="*/ 174941 w 601"/>
                <a:gd name="T95" fmla="*/ 116834 h 552"/>
                <a:gd name="T96" fmla="*/ 174941 w 601"/>
                <a:gd name="T97" fmla="*/ 116834 h 552"/>
                <a:gd name="T98" fmla="*/ 179970 w 601"/>
                <a:gd name="T99" fmla="*/ 119350 h 552"/>
                <a:gd name="T100" fmla="*/ 182484 w 601"/>
                <a:gd name="T101" fmla="*/ 119350 h 552"/>
                <a:gd name="T102" fmla="*/ 182484 w 601"/>
                <a:gd name="T103" fmla="*/ 119350 h 552"/>
                <a:gd name="T104" fmla="*/ 184999 w 601"/>
                <a:gd name="T105" fmla="*/ 119350 h 552"/>
                <a:gd name="T106" fmla="*/ 184999 w 601"/>
                <a:gd name="T107" fmla="*/ 119350 h 552"/>
                <a:gd name="T108" fmla="*/ 187514 w 601"/>
                <a:gd name="T109" fmla="*/ 119350 h 552"/>
                <a:gd name="T110" fmla="*/ 195416 w 601"/>
                <a:gd name="T111" fmla="*/ 119350 h 552"/>
                <a:gd name="T112" fmla="*/ 195416 w 601"/>
                <a:gd name="T113" fmla="*/ 188013 h 552"/>
                <a:gd name="T114" fmla="*/ 184999 w 601"/>
                <a:gd name="T115" fmla="*/ 198079 h 552"/>
                <a:gd name="T116" fmla="*/ 30175 w 601"/>
                <a:gd name="T117" fmla="*/ 198079 h 552"/>
                <a:gd name="T118" fmla="*/ 20116 w 601"/>
                <a:gd name="T119" fmla="*/ 188013 h 552"/>
                <a:gd name="T120" fmla="*/ 20116 w 601"/>
                <a:gd name="T121" fmla="*/ 119350 h 552"/>
                <a:gd name="T122" fmla="*/ 25145 w 601"/>
                <a:gd name="T123" fmla="*/ 119350 h 552"/>
                <a:gd name="T124" fmla="*/ 30175 w 601"/>
                <a:gd name="T125" fmla="*/ 119350 h 55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601" h="552">
                  <a:moveTo>
                    <a:pt x="600" y="226"/>
                  </a:moveTo>
                  <a:lnTo>
                    <a:pt x="600" y="226"/>
                  </a:lnTo>
                  <a:cubicBezTo>
                    <a:pt x="600" y="268"/>
                    <a:pt x="565" y="304"/>
                    <a:pt x="522" y="304"/>
                  </a:cubicBezTo>
                  <a:cubicBezTo>
                    <a:pt x="480" y="304"/>
                    <a:pt x="452" y="268"/>
                    <a:pt x="452" y="226"/>
                  </a:cubicBezTo>
                  <a:cubicBezTo>
                    <a:pt x="452" y="268"/>
                    <a:pt x="417" y="304"/>
                    <a:pt x="374" y="304"/>
                  </a:cubicBezTo>
                  <a:cubicBezTo>
                    <a:pt x="332" y="304"/>
                    <a:pt x="296" y="268"/>
                    <a:pt x="296" y="226"/>
                  </a:cubicBezTo>
                  <a:cubicBezTo>
                    <a:pt x="296" y="268"/>
                    <a:pt x="268" y="304"/>
                    <a:pt x="226" y="304"/>
                  </a:cubicBezTo>
                  <a:cubicBezTo>
                    <a:pt x="183" y="304"/>
                    <a:pt x="148" y="268"/>
                    <a:pt x="148" y="226"/>
                  </a:cubicBezTo>
                  <a:cubicBezTo>
                    <a:pt x="148" y="268"/>
                    <a:pt x="113" y="304"/>
                    <a:pt x="70" y="304"/>
                  </a:cubicBezTo>
                  <a:cubicBezTo>
                    <a:pt x="28" y="304"/>
                    <a:pt x="0" y="268"/>
                    <a:pt x="0" y="226"/>
                  </a:cubicBezTo>
                  <a:cubicBezTo>
                    <a:pt x="49" y="84"/>
                    <a:pt x="49" y="84"/>
                    <a:pt x="49" y="84"/>
                  </a:cubicBezTo>
                  <a:cubicBezTo>
                    <a:pt x="551" y="84"/>
                    <a:pt x="551" y="84"/>
                    <a:pt x="551" y="84"/>
                  </a:cubicBezTo>
                  <a:cubicBezTo>
                    <a:pt x="600" y="226"/>
                    <a:pt x="600" y="226"/>
                    <a:pt x="600" y="226"/>
                  </a:cubicBezTo>
                  <a:close/>
                  <a:moveTo>
                    <a:pt x="508" y="56"/>
                  </a:moveTo>
                  <a:lnTo>
                    <a:pt x="508" y="56"/>
                  </a:lnTo>
                  <a:cubicBezTo>
                    <a:pt x="91" y="56"/>
                    <a:pt x="91" y="56"/>
                    <a:pt x="91" y="56"/>
                  </a:cubicBezTo>
                  <a:cubicBezTo>
                    <a:pt x="77" y="56"/>
                    <a:pt x="63" y="49"/>
                    <a:pt x="63" y="28"/>
                  </a:cubicBezTo>
                  <a:cubicBezTo>
                    <a:pt x="63" y="14"/>
                    <a:pt x="77" y="0"/>
                    <a:pt x="91" y="0"/>
                  </a:cubicBezTo>
                  <a:cubicBezTo>
                    <a:pt x="508" y="0"/>
                    <a:pt x="508" y="0"/>
                    <a:pt x="508" y="0"/>
                  </a:cubicBezTo>
                  <a:cubicBezTo>
                    <a:pt x="522" y="0"/>
                    <a:pt x="537" y="14"/>
                    <a:pt x="537" y="28"/>
                  </a:cubicBezTo>
                  <a:cubicBezTo>
                    <a:pt x="537" y="49"/>
                    <a:pt x="522" y="56"/>
                    <a:pt x="508" y="56"/>
                  </a:cubicBezTo>
                  <a:close/>
                  <a:moveTo>
                    <a:pt x="84" y="332"/>
                  </a:moveTo>
                  <a:lnTo>
                    <a:pt x="84" y="332"/>
                  </a:lnTo>
                  <a:cubicBezTo>
                    <a:pt x="84" y="332"/>
                    <a:pt x="84" y="332"/>
                    <a:pt x="91" y="332"/>
                  </a:cubicBezTo>
                  <a:cubicBezTo>
                    <a:pt x="91" y="332"/>
                    <a:pt x="91" y="332"/>
                    <a:pt x="98" y="332"/>
                  </a:cubicBezTo>
                  <a:cubicBezTo>
                    <a:pt x="98" y="325"/>
                    <a:pt x="106" y="325"/>
                    <a:pt x="113" y="325"/>
                  </a:cubicBezTo>
                  <a:cubicBezTo>
                    <a:pt x="113" y="466"/>
                    <a:pt x="113" y="466"/>
                    <a:pt x="113" y="466"/>
                  </a:cubicBezTo>
                  <a:cubicBezTo>
                    <a:pt x="487" y="466"/>
                    <a:pt x="487" y="466"/>
                    <a:pt x="487" y="466"/>
                  </a:cubicBezTo>
                  <a:cubicBezTo>
                    <a:pt x="487" y="325"/>
                    <a:pt x="487" y="325"/>
                    <a:pt x="487" y="325"/>
                  </a:cubicBezTo>
                  <a:cubicBezTo>
                    <a:pt x="494" y="325"/>
                    <a:pt x="494" y="325"/>
                    <a:pt x="501" y="332"/>
                  </a:cubicBezTo>
                  <a:cubicBezTo>
                    <a:pt x="501" y="332"/>
                    <a:pt x="501" y="332"/>
                    <a:pt x="508" y="332"/>
                  </a:cubicBezTo>
                  <a:lnTo>
                    <a:pt x="515" y="332"/>
                  </a:lnTo>
                  <a:lnTo>
                    <a:pt x="522" y="332"/>
                  </a:lnTo>
                  <a:cubicBezTo>
                    <a:pt x="530" y="332"/>
                    <a:pt x="537" y="332"/>
                    <a:pt x="544" y="332"/>
                  </a:cubicBezTo>
                  <a:cubicBezTo>
                    <a:pt x="544" y="523"/>
                    <a:pt x="544" y="523"/>
                    <a:pt x="544" y="523"/>
                  </a:cubicBezTo>
                  <a:cubicBezTo>
                    <a:pt x="544" y="537"/>
                    <a:pt x="530" y="551"/>
                    <a:pt x="515" y="551"/>
                  </a:cubicBezTo>
                  <a:cubicBezTo>
                    <a:pt x="84" y="551"/>
                    <a:pt x="84" y="551"/>
                    <a:pt x="84" y="551"/>
                  </a:cubicBezTo>
                  <a:cubicBezTo>
                    <a:pt x="63" y="551"/>
                    <a:pt x="56" y="537"/>
                    <a:pt x="56" y="523"/>
                  </a:cubicBezTo>
                  <a:cubicBezTo>
                    <a:pt x="56" y="332"/>
                    <a:pt x="56" y="332"/>
                    <a:pt x="56" y="332"/>
                  </a:cubicBezTo>
                  <a:cubicBezTo>
                    <a:pt x="63" y="332"/>
                    <a:pt x="63" y="332"/>
                    <a:pt x="70" y="332"/>
                  </a:cubicBezTo>
                  <a:cubicBezTo>
                    <a:pt x="77" y="332"/>
                    <a:pt x="77" y="332"/>
                    <a:pt x="84" y="332"/>
                  </a:cubicBezTo>
                  <a:close/>
                </a:path>
              </a:pathLst>
            </a:custGeom>
            <a:solidFill>
              <a:schemeClr val="bg1"/>
            </a:solid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7"/>
                      </a:srgbClr>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grpSp>
      <p:grpSp>
        <p:nvGrpSpPr>
          <p:cNvPr id="61" name="Group 68">
            <a:extLst>
              <a:ext uri="{FF2B5EF4-FFF2-40B4-BE49-F238E27FC236}">
                <a16:creationId xmlns:a16="http://schemas.microsoft.com/office/drawing/2014/main" id="{B9D91352-B5B8-4290-AA68-65706057CB37}"/>
              </a:ext>
            </a:extLst>
          </p:cNvPr>
          <p:cNvGrpSpPr/>
          <p:nvPr/>
        </p:nvGrpSpPr>
        <p:grpSpPr>
          <a:xfrm>
            <a:off x="592084" y="2135100"/>
            <a:ext cx="1385306" cy="1694187"/>
            <a:chOff x="592084" y="2275870"/>
            <a:chExt cx="1625103" cy="1987451"/>
          </a:xfrm>
        </p:grpSpPr>
        <p:graphicFrame>
          <p:nvGraphicFramePr>
            <p:cNvPr id="62" name="Chart 66">
              <a:extLst>
                <a:ext uri="{FF2B5EF4-FFF2-40B4-BE49-F238E27FC236}">
                  <a16:creationId xmlns:a16="http://schemas.microsoft.com/office/drawing/2014/main" id="{8481AE34-80B4-4F47-A7FA-7D7D69C5396B}"/>
                </a:ext>
              </a:extLst>
            </p:cNvPr>
            <p:cNvGraphicFramePr/>
            <p:nvPr/>
          </p:nvGraphicFramePr>
          <p:xfrm>
            <a:off x="592084" y="2275870"/>
            <a:ext cx="1625103" cy="1987451"/>
          </p:xfrm>
          <a:graphic>
            <a:graphicData uri="http://schemas.openxmlformats.org/drawingml/2006/chart">
              <c:chart xmlns:c="http://schemas.openxmlformats.org/drawingml/2006/chart" xmlns:r="http://schemas.openxmlformats.org/officeDocument/2006/relationships" r:id="rId4"/>
            </a:graphicData>
          </a:graphic>
        </p:graphicFrame>
        <p:sp>
          <p:nvSpPr>
            <p:cNvPr id="63" name="Oval 67">
              <a:extLst>
                <a:ext uri="{FF2B5EF4-FFF2-40B4-BE49-F238E27FC236}">
                  <a16:creationId xmlns:a16="http://schemas.microsoft.com/office/drawing/2014/main" id="{A017FB60-415C-46D3-9717-45545A5B73EF}"/>
                </a:ext>
              </a:extLst>
            </p:cNvPr>
            <p:cNvSpPr/>
            <p:nvPr/>
          </p:nvSpPr>
          <p:spPr>
            <a:xfrm>
              <a:off x="815706" y="2683340"/>
              <a:ext cx="1172510" cy="1172509"/>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d-ID" sz="1800" b="0" i="0" u="none" strike="noStrike" kern="1200" cap="none" spc="0" normalizeH="0" baseline="0" noProof="0" dirty="0">
                  <a:ln>
                    <a:noFill/>
                  </a:ln>
                  <a:solidFill>
                    <a:srgbClr val="000000">
                      <a:lumMod val="75000"/>
                      <a:lumOff val="25000"/>
                    </a:srgbClr>
                  </a:solidFill>
                  <a:effectLst/>
                  <a:uLnTx/>
                  <a:uFillTx/>
                  <a:latin typeface="Inter SemiBold" panose="020B0502030000000004" pitchFamily="34" charset="0"/>
                  <a:ea typeface="+mn-ea"/>
                  <a:cs typeface="Montserrat"/>
                </a:rPr>
                <a:t>78%</a:t>
              </a:r>
              <a:endParaRPr kumimoji="0" lang="en-US" sz="1800" b="0" i="0" u="none" strike="noStrike" kern="1200" cap="none" spc="0" normalizeH="0" baseline="0" noProof="0" dirty="0">
                <a:ln>
                  <a:noFill/>
                </a:ln>
                <a:solidFill>
                  <a:srgbClr val="000000">
                    <a:lumMod val="75000"/>
                    <a:lumOff val="25000"/>
                  </a:srgbClr>
                </a:solidFill>
                <a:effectLst/>
                <a:uLnTx/>
                <a:uFillTx/>
                <a:latin typeface="Inter SemiBold" panose="020B0502030000000004" pitchFamily="34" charset="0"/>
                <a:ea typeface="+mn-ea"/>
                <a:cs typeface="Montserrat"/>
              </a:endParaRPr>
            </a:p>
          </p:txBody>
        </p:sp>
      </p:grpSp>
      <p:grpSp>
        <p:nvGrpSpPr>
          <p:cNvPr id="64" name="Group 69">
            <a:extLst>
              <a:ext uri="{FF2B5EF4-FFF2-40B4-BE49-F238E27FC236}">
                <a16:creationId xmlns:a16="http://schemas.microsoft.com/office/drawing/2014/main" id="{A62C8918-BE3E-4B8B-B37B-8D11185578F7}"/>
              </a:ext>
            </a:extLst>
          </p:cNvPr>
          <p:cNvGrpSpPr/>
          <p:nvPr/>
        </p:nvGrpSpPr>
        <p:grpSpPr>
          <a:xfrm>
            <a:off x="3077667" y="2135100"/>
            <a:ext cx="1385306" cy="1694187"/>
            <a:chOff x="592084" y="2275870"/>
            <a:chExt cx="1625103" cy="1987451"/>
          </a:xfrm>
        </p:grpSpPr>
        <p:graphicFrame>
          <p:nvGraphicFramePr>
            <p:cNvPr id="65" name="Chart 70">
              <a:extLst>
                <a:ext uri="{FF2B5EF4-FFF2-40B4-BE49-F238E27FC236}">
                  <a16:creationId xmlns:a16="http://schemas.microsoft.com/office/drawing/2014/main" id="{74CF71FC-7980-4B79-99C8-68CB4F62DFCF}"/>
                </a:ext>
              </a:extLst>
            </p:cNvPr>
            <p:cNvGraphicFramePr/>
            <p:nvPr/>
          </p:nvGraphicFramePr>
          <p:xfrm>
            <a:off x="592084" y="2275870"/>
            <a:ext cx="1625103" cy="1987451"/>
          </p:xfrm>
          <a:graphic>
            <a:graphicData uri="http://schemas.openxmlformats.org/drawingml/2006/chart">
              <c:chart xmlns:c="http://schemas.openxmlformats.org/drawingml/2006/chart" xmlns:r="http://schemas.openxmlformats.org/officeDocument/2006/relationships" r:id="rId5"/>
            </a:graphicData>
          </a:graphic>
        </p:graphicFrame>
        <p:sp>
          <p:nvSpPr>
            <p:cNvPr id="66" name="Oval 71">
              <a:extLst>
                <a:ext uri="{FF2B5EF4-FFF2-40B4-BE49-F238E27FC236}">
                  <a16:creationId xmlns:a16="http://schemas.microsoft.com/office/drawing/2014/main" id="{1E8E0E2F-EE99-4833-B318-DAC53E0345A2}"/>
                </a:ext>
              </a:extLst>
            </p:cNvPr>
            <p:cNvSpPr/>
            <p:nvPr/>
          </p:nvSpPr>
          <p:spPr>
            <a:xfrm>
              <a:off x="815706" y="2683340"/>
              <a:ext cx="1172510" cy="1172509"/>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d-ID" sz="1800" b="0" i="0" u="none" strike="noStrike" kern="1200" cap="none" spc="0" normalizeH="0" baseline="0" noProof="0" dirty="0">
                  <a:ln>
                    <a:noFill/>
                  </a:ln>
                  <a:solidFill>
                    <a:srgbClr val="000000">
                      <a:lumMod val="75000"/>
                      <a:lumOff val="25000"/>
                    </a:srgbClr>
                  </a:solidFill>
                  <a:effectLst/>
                  <a:uLnTx/>
                  <a:uFillTx/>
                  <a:latin typeface="Inter SemiBold" panose="020B0502030000000004" pitchFamily="34" charset="0"/>
                  <a:ea typeface="+mn-ea"/>
                  <a:cs typeface="Montserrat"/>
                </a:rPr>
                <a:t>78%</a:t>
              </a:r>
              <a:endParaRPr kumimoji="0" lang="en-US" sz="1800" b="0" i="0" u="none" strike="noStrike" kern="1200" cap="none" spc="0" normalizeH="0" baseline="0" noProof="0" dirty="0">
                <a:ln>
                  <a:noFill/>
                </a:ln>
                <a:solidFill>
                  <a:srgbClr val="000000">
                    <a:lumMod val="75000"/>
                    <a:lumOff val="25000"/>
                  </a:srgbClr>
                </a:solidFill>
                <a:effectLst/>
                <a:uLnTx/>
                <a:uFillTx/>
                <a:latin typeface="Inter SemiBold" panose="020B0502030000000004" pitchFamily="34" charset="0"/>
                <a:ea typeface="+mn-ea"/>
                <a:cs typeface="Montserrat"/>
              </a:endParaRPr>
            </a:p>
          </p:txBody>
        </p:sp>
      </p:grpSp>
      <p:grpSp>
        <p:nvGrpSpPr>
          <p:cNvPr id="67" name="Group 72">
            <a:extLst>
              <a:ext uri="{FF2B5EF4-FFF2-40B4-BE49-F238E27FC236}">
                <a16:creationId xmlns:a16="http://schemas.microsoft.com/office/drawing/2014/main" id="{37E317E3-4055-488D-A30B-2900E1AF1D18}"/>
              </a:ext>
            </a:extLst>
          </p:cNvPr>
          <p:cNvGrpSpPr/>
          <p:nvPr/>
        </p:nvGrpSpPr>
        <p:grpSpPr>
          <a:xfrm>
            <a:off x="592084" y="4103508"/>
            <a:ext cx="1385306" cy="1694187"/>
            <a:chOff x="592084" y="2275870"/>
            <a:chExt cx="1625103" cy="1987451"/>
          </a:xfrm>
        </p:grpSpPr>
        <p:graphicFrame>
          <p:nvGraphicFramePr>
            <p:cNvPr id="68" name="Chart 73">
              <a:extLst>
                <a:ext uri="{FF2B5EF4-FFF2-40B4-BE49-F238E27FC236}">
                  <a16:creationId xmlns:a16="http://schemas.microsoft.com/office/drawing/2014/main" id="{25AA69A7-01B1-4806-ABD5-C39D57B094FC}"/>
                </a:ext>
              </a:extLst>
            </p:cNvPr>
            <p:cNvGraphicFramePr/>
            <p:nvPr/>
          </p:nvGraphicFramePr>
          <p:xfrm>
            <a:off x="592084" y="2275870"/>
            <a:ext cx="1625103" cy="1987451"/>
          </p:xfrm>
          <a:graphic>
            <a:graphicData uri="http://schemas.openxmlformats.org/drawingml/2006/chart">
              <c:chart xmlns:c="http://schemas.openxmlformats.org/drawingml/2006/chart" xmlns:r="http://schemas.openxmlformats.org/officeDocument/2006/relationships" r:id="rId6"/>
            </a:graphicData>
          </a:graphic>
        </p:graphicFrame>
        <p:sp>
          <p:nvSpPr>
            <p:cNvPr id="69" name="Oval 74">
              <a:extLst>
                <a:ext uri="{FF2B5EF4-FFF2-40B4-BE49-F238E27FC236}">
                  <a16:creationId xmlns:a16="http://schemas.microsoft.com/office/drawing/2014/main" id="{78012B75-F394-4F80-8318-9F47E2068555}"/>
                </a:ext>
              </a:extLst>
            </p:cNvPr>
            <p:cNvSpPr/>
            <p:nvPr/>
          </p:nvSpPr>
          <p:spPr>
            <a:xfrm>
              <a:off x="815706" y="2683340"/>
              <a:ext cx="1172510" cy="1172509"/>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d-ID" sz="1800" b="0" i="0" u="none" strike="noStrike" kern="1200" cap="none" spc="0" normalizeH="0" baseline="0" noProof="0" dirty="0">
                  <a:ln>
                    <a:noFill/>
                  </a:ln>
                  <a:solidFill>
                    <a:srgbClr val="000000">
                      <a:lumMod val="75000"/>
                      <a:lumOff val="25000"/>
                    </a:srgbClr>
                  </a:solidFill>
                  <a:effectLst/>
                  <a:uLnTx/>
                  <a:uFillTx/>
                  <a:latin typeface="Inter SemiBold" panose="020B0502030000000004" pitchFamily="34" charset="0"/>
                  <a:ea typeface="+mn-ea"/>
                  <a:cs typeface="Montserrat"/>
                </a:rPr>
                <a:t>78%</a:t>
              </a:r>
              <a:endParaRPr kumimoji="0" lang="en-US" sz="1800" b="0" i="0" u="none" strike="noStrike" kern="1200" cap="none" spc="0" normalizeH="0" baseline="0" noProof="0" dirty="0">
                <a:ln>
                  <a:noFill/>
                </a:ln>
                <a:solidFill>
                  <a:srgbClr val="000000">
                    <a:lumMod val="75000"/>
                    <a:lumOff val="25000"/>
                  </a:srgbClr>
                </a:solidFill>
                <a:effectLst/>
                <a:uLnTx/>
                <a:uFillTx/>
                <a:latin typeface="Inter SemiBold" panose="020B0502030000000004" pitchFamily="34" charset="0"/>
                <a:ea typeface="+mn-ea"/>
                <a:cs typeface="Montserrat"/>
              </a:endParaRPr>
            </a:p>
          </p:txBody>
        </p:sp>
      </p:grpSp>
      <p:grpSp>
        <p:nvGrpSpPr>
          <p:cNvPr id="70" name="Group 75">
            <a:extLst>
              <a:ext uri="{FF2B5EF4-FFF2-40B4-BE49-F238E27FC236}">
                <a16:creationId xmlns:a16="http://schemas.microsoft.com/office/drawing/2014/main" id="{41D9A132-545D-47B5-A548-AF6158509132}"/>
              </a:ext>
            </a:extLst>
          </p:cNvPr>
          <p:cNvGrpSpPr/>
          <p:nvPr/>
        </p:nvGrpSpPr>
        <p:grpSpPr>
          <a:xfrm>
            <a:off x="3077667" y="4103508"/>
            <a:ext cx="1385306" cy="1694187"/>
            <a:chOff x="592084" y="2275870"/>
            <a:chExt cx="1625103" cy="1987451"/>
          </a:xfrm>
        </p:grpSpPr>
        <p:graphicFrame>
          <p:nvGraphicFramePr>
            <p:cNvPr id="71" name="Chart 76">
              <a:extLst>
                <a:ext uri="{FF2B5EF4-FFF2-40B4-BE49-F238E27FC236}">
                  <a16:creationId xmlns:a16="http://schemas.microsoft.com/office/drawing/2014/main" id="{8D6ED6FD-77E1-4254-B11B-2C512F1A1CF6}"/>
                </a:ext>
              </a:extLst>
            </p:cNvPr>
            <p:cNvGraphicFramePr/>
            <p:nvPr/>
          </p:nvGraphicFramePr>
          <p:xfrm>
            <a:off x="592084" y="2275870"/>
            <a:ext cx="1625103" cy="1987451"/>
          </p:xfrm>
          <a:graphic>
            <a:graphicData uri="http://schemas.openxmlformats.org/drawingml/2006/chart">
              <c:chart xmlns:c="http://schemas.openxmlformats.org/drawingml/2006/chart" xmlns:r="http://schemas.openxmlformats.org/officeDocument/2006/relationships" r:id="rId7"/>
            </a:graphicData>
          </a:graphic>
        </p:graphicFrame>
        <p:sp>
          <p:nvSpPr>
            <p:cNvPr id="72" name="Oval 77">
              <a:extLst>
                <a:ext uri="{FF2B5EF4-FFF2-40B4-BE49-F238E27FC236}">
                  <a16:creationId xmlns:a16="http://schemas.microsoft.com/office/drawing/2014/main" id="{373602F2-68EF-4879-A76B-F28372E13654}"/>
                </a:ext>
              </a:extLst>
            </p:cNvPr>
            <p:cNvSpPr/>
            <p:nvPr/>
          </p:nvSpPr>
          <p:spPr>
            <a:xfrm>
              <a:off x="815706" y="2683340"/>
              <a:ext cx="1172510" cy="1172509"/>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d-ID" sz="1800" b="0" i="0" u="none" strike="noStrike" kern="1200" cap="none" spc="0" normalizeH="0" baseline="0" noProof="0" dirty="0">
                  <a:ln>
                    <a:noFill/>
                  </a:ln>
                  <a:solidFill>
                    <a:srgbClr val="000000">
                      <a:lumMod val="75000"/>
                      <a:lumOff val="25000"/>
                    </a:srgbClr>
                  </a:solidFill>
                  <a:effectLst/>
                  <a:uLnTx/>
                  <a:uFillTx/>
                  <a:latin typeface="Inter SemiBold" panose="020B0502030000000004" pitchFamily="34" charset="0"/>
                  <a:ea typeface="+mn-ea"/>
                  <a:cs typeface="Montserrat"/>
                </a:rPr>
                <a:t>78%</a:t>
              </a:r>
              <a:endParaRPr kumimoji="0" lang="en-US" sz="1800" b="0" i="0" u="none" strike="noStrike" kern="1200" cap="none" spc="0" normalizeH="0" baseline="0" noProof="0" dirty="0">
                <a:ln>
                  <a:noFill/>
                </a:ln>
                <a:solidFill>
                  <a:srgbClr val="000000">
                    <a:lumMod val="75000"/>
                    <a:lumOff val="25000"/>
                  </a:srgbClr>
                </a:solidFill>
                <a:effectLst/>
                <a:uLnTx/>
                <a:uFillTx/>
                <a:latin typeface="Inter SemiBold" panose="020B0502030000000004" pitchFamily="34" charset="0"/>
                <a:ea typeface="+mn-ea"/>
                <a:cs typeface="Montserrat"/>
              </a:endParaRPr>
            </a:p>
          </p:txBody>
        </p:sp>
      </p:grpSp>
      <p:grpSp>
        <p:nvGrpSpPr>
          <p:cNvPr id="73" name="Group 78">
            <a:extLst>
              <a:ext uri="{FF2B5EF4-FFF2-40B4-BE49-F238E27FC236}">
                <a16:creationId xmlns:a16="http://schemas.microsoft.com/office/drawing/2014/main" id="{83C595A7-5C92-4BBE-BAC5-EFF2459A95F7}"/>
              </a:ext>
            </a:extLst>
          </p:cNvPr>
          <p:cNvGrpSpPr/>
          <p:nvPr/>
        </p:nvGrpSpPr>
        <p:grpSpPr>
          <a:xfrm>
            <a:off x="5568137" y="4103508"/>
            <a:ext cx="1385306" cy="1694187"/>
            <a:chOff x="592084" y="2275870"/>
            <a:chExt cx="1625103" cy="1987451"/>
          </a:xfrm>
        </p:grpSpPr>
        <p:graphicFrame>
          <p:nvGraphicFramePr>
            <p:cNvPr id="74" name="Chart 79">
              <a:extLst>
                <a:ext uri="{FF2B5EF4-FFF2-40B4-BE49-F238E27FC236}">
                  <a16:creationId xmlns:a16="http://schemas.microsoft.com/office/drawing/2014/main" id="{4345951F-DA26-4C90-909B-D1D5D8A661E1}"/>
                </a:ext>
              </a:extLst>
            </p:cNvPr>
            <p:cNvGraphicFramePr/>
            <p:nvPr/>
          </p:nvGraphicFramePr>
          <p:xfrm>
            <a:off x="592084" y="2275870"/>
            <a:ext cx="1625103" cy="1987451"/>
          </p:xfrm>
          <a:graphic>
            <a:graphicData uri="http://schemas.openxmlformats.org/drawingml/2006/chart">
              <c:chart xmlns:c="http://schemas.openxmlformats.org/drawingml/2006/chart" xmlns:r="http://schemas.openxmlformats.org/officeDocument/2006/relationships" r:id="rId8"/>
            </a:graphicData>
          </a:graphic>
        </p:graphicFrame>
        <p:sp>
          <p:nvSpPr>
            <p:cNvPr id="75" name="Oval 80">
              <a:extLst>
                <a:ext uri="{FF2B5EF4-FFF2-40B4-BE49-F238E27FC236}">
                  <a16:creationId xmlns:a16="http://schemas.microsoft.com/office/drawing/2014/main" id="{DCD2A01E-5BBD-4E00-8508-38290BDC5355}"/>
                </a:ext>
              </a:extLst>
            </p:cNvPr>
            <p:cNvSpPr/>
            <p:nvPr/>
          </p:nvSpPr>
          <p:spPr>
            <a:xfrm>
              <a:off x="815706" y="2683340"/>
              <a:ext cx="1172510" cy="1172509"/>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d-ID" sz="1800" b="0" i="0" u="none" strike="noStrike" kern="1200" cap="none" spc="0" normalizeH="0" baseline="0" noProof="0" dirty="0">
                  <a:ln>
                    <a:noFill/>
                  </a:ln>
                  <a:solidFill>
                    <a:srgbClr val="000000">
                      <a:lumMod val="75000"/>
                      <a:lumOff val="25000"/>
                    </a:srgbClr>
                  </a:solidFill>
                  <a:effectLst/>
                  <a:uLnTx/>
                  <a:uFillTx/>
                  <a:latin typeface="Inter SemiBold" panose="020B0502030000000004" pitchFamily="34" charset="0"/>
                  <a:ea typeface="+mn-ea"/>
                  <a:cs typeface="Montserrat"/>
                </a:rPr>
                <a:t>78%</a:t>
              </a:r>
              <a:endParaRPr kumimoji="0" lang="en-US" sz="1800" b="0" i="0" u="none" strike="noStrike" kern="1200" cap="none" spc="0" normalizeH="0" baseline="0" noProof="0" dirty="0">
                <a:ln>
                  <a:noFill/>
                </a:ln>
                <a:solidFill>
                  <a:srgbClr val="000000">
                    <a:lumMod val="75000"/>
                    <a:lumOff val="25000"/>
                  </a:srgbClr>
                </a:solidFill>
                <a:effectLst/>
                <a:uLnTx/>
                <a:uFillTx/>
                <a:latin typeface="Inter SemiBold" panose="020B0502030000000004" pitchFamily="34" charset="0"/>
                <a:ea typeface="+mn-ea"/>
                <a:cs typeface="Montserrat"/>
              </a:endParaRPr>
            </a:p>
          </p:txBody>
        </p:sp>
      </p:grpSp>
      <p:grpSp>
        <p:nvGrpSpPr>
          <p:cNvPr id="76" name="Group 83">
            <a:extLst>
              <a:ext uri="{FF2B5EF4-FFF2-40B4-BE49-F238E27FC236}">
                <a16:creationId xmlns:a16="http://schemas.microsoft.com/office/drawing/2014/main" id="{07612E84-A594-4D6F-BC4A-F6269CB67023}"/>
              </a:ext>
            </a:extLst>
          </p:cNvPr>
          <p:cNvGrpSpPr/>
          <p:nvPr/>
        </p:nvGrpSpPr>
        <p:grpSpPr>
          <a:xfrm>
            <a:off x="314538" y="3548765"/>
            <a:ext cx="1935043" cy="693026"/>
            <a:chOff x="314538" y="3685642"/>
            <a:chExt cx="1935043" cy="693026"/>
          </a:xfrm>
        </p:grpSpPr>
        <p:sp>
          <p:nvSpPr>
            <p:cNvPr id="77" name="Rectangle 81">
              <a:extLst>
                <a:ext uri="{FF2B5EF4-FFF2-40B4-BE49-F238E27FC236}">
                  <a16:creationId xmlns:a16="http://schemas.microsoft.com/office/drawing/2014/main" id="{CBEC7801-E530-4FCE-85B5-4D4BF69B5D0F}"/>
                </a:ext>
              </a:extLst>
            </p:cNvPr>
            <p:cNvSpPr/>
            <p:nvPr/>
          </p:nvSpPr>
          <p:spPr>
            <a:xfrm>
              <a:off x="445862" y="3685642"/>
              <a:ext cx="1672396" cy="295402"/>
            </a:xfrm>
            <a:prstGeom prst="rect">
              <a:avLst/>
            </a:prstGeom>
          </p:spPr>
          <p:txBody>
            <a:bodyPr wrap="square">
              <a:spAutoFit/>
            </a:body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lumMod val="75000"/>
                      <a:lumOff val="25000"/>
                    </a:srgbClr>
                  </a:solidFill>
                  <a:effectLst/>
                  <a:uLnTx/>
                  <a:uFillTx/>
                  <a:latin typeface="Inter SemiBold" panose="020B0502030000000004" pitchFamily="34" charset="0"/>
                  <a:ea typeface="+mn-ea"/>
                  <a:cs typeface="Open Sans Light" panose="020B0306030504020204" pitchFamily="34" charset="0"/>
                </a:rPr>
                <a:t>Your Title Text</a:t>
              </a:r>
            </a:p>
          </p:txBody>
        </p:sp>
        <p:sp>
          <p:nvSpPr>
            <p:cNvPr id="78" name="Rectangle 82">
              <a:extLst>
                <a:ext uri="{FF2B5EF4-FFF2-40B4-BE49-F238E27FC236}">
                  <a16:creationId xmlns:a16="http://schemas.microsoft.com/office/drawing/2014/main" id="{439D7C78-F2C9-4458-8A71-E76E414AF1B7}"/>
                </a:ext>
              </a:extLst>
            </p:cNvPr>
            <p:cNvSpPr/>
            <p:nvPr/>
          </p:nvSpPr>
          <p:spPr>
            <a:xfrm>
              <a:off x="314538" y="3898537"/>
              <a:ext cx="1935043" cy="480131"/>
            </a:xfrm>
            <a:prstGeom prst="rect">
              <a:avLst/>
            </a:prstGeom>
          </p:spPr>
          <p:txBody>
            <a:bodyPr wrap="square">
              <a:spAutoFit/>
            </a:body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0" lang="id-ID" sz="1050" b="0" i="0" u="none" strike="noStrike" kern="1200" cap="none" spc="0" normalizeH="0" baseline="0" noProof="0" dirty="0">
                  <a:ln>
                    <a:noFill/>
                  </a:ln>
                  <a:solidFill>
                    <a:srgbClr val="FFFFFF">
                      <a:lumMod val="65000"/>
                    </a:srgbClr>
                  </a:solidFill>
                  <a:effectLst/>
                  <a:uLnTx/>
                  <a:uFillTx/>
                  <a:latin typeface="Segoe UI Light" panose="020B0502040204020203" pitchFamily="34" charset="0"/>
                  <a:ea typeface="+mn-ea"/>
                  <a:cs typeface="Segoe UI Light" panose="020B0502040204020203" pitchFamily="34" charset="0"/>
                </a:rPr>
                <a:t>The quick, brown fox jumps over a lazy dog. </a:t>
              </a:r>
              <a:endParaRPr kumimoji="0" lang="en-US" sz="1050" b="0" i="0" u="none" strike="noStrike" kern="1200" cap="none" spc="0" normalizeH="0" baseline="0" noProof="0" dirty="0">
                <a:ln>
                  <a:noFill/>
                </a:ln>
                <a:solidFill>
                  <a:srgbClr val="FFFFFF">
                    <a:lumMod val="65000"/>
                  </a:srgbClr>
                </a:solidFill>
                <a:effectLst/>
                <a:uLnTx/>
                <a:uFillTx/>
                <a:latin typeface="Segoe UI Light" panose="020B0502040204020203" pitchFamily="34" charset="0"/>
                <a:ea typeface="+mn-ea"/>
                <a:cs typeface="Segoe UI Light" panose="020B0502040204020203" pitchFamily="34" charset="0"/>
              </a:endParaRPr>
            </a:p>
          </p:txBody>
        </p:sp>
      </p:grpSp>
      <p:grpSp>
        <p:nvGrpSpPr>
          <p:cNvPr id="79" name="Group 84">
            <a:extLst>
              <a:ext uri="{FF2B5EF4-FFF2-40B4-BE49-F238E27FC236}">
                <a16:creationId xmlns:a16="http://schemas.microsoft.com/office/drawing/2014/main" id="{94B64B17-256D-4247-AE32-008C29538F84}"/>
              </a:ext>
            </a:extLst>
          </p:cNvPr>
          <p:cNvGrpSpPr/>
          <p:nvPr/>
        </p:nvGrpSpPr>
        <p:grpSpPr>
          <a:xfrm>
            <a:off x="2800518" y="3549598"/>
            <a:ext cx="1935043" cy="693026"/>
            <a:chOff x="314538" y="3685642"/>
            <a:chExt cx="1935043" cy="693026"/>
          </a:xfrm>
        </p:grpSpPr>
        <p:sp>
          <p:nvSpPr>
            <p:cNvPr id="80" name="Rectangle 85">
              <a:extLst>
                <a:ext uri="{FF2B5EF4-FFF2-40B4-BE49-F238E27FC236}">
                  <a16:creationId xmlns:a16="http://schemas.microsoft.com/office/drawing/2014/main" id="{7A9F0057-1E0D-421C-B6B0-52DA984B302C}"/>
                </a:ext>
              </a:extLst>
            </p:cNvPr>
            <p:cNvSpPr/>
            <p:nvPr/>
          </p:nvSpPr>
          <p:spPr>
            <a:xfrm>
              <a:off x="445862" y="3685642"/>
              <a:ext cx="1672396" cy="295402"/>
            </a:xfrm>
            <a:prstGeom prst="rect">
              <a:avLst/>
            </a:prstGeom>
          </p:spPr>
          <p:txBody>
            <a:bodyPr wrap="square">
              <a:spAutoFit/>
            </a:body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lumMod val="75000"/>
                      <a:lumOff val="25000"/>
                    </a:srgbClr>
                  </a:solidFill>
                  <a:effectLst/>
                  <a:uLnTx/>
                  <a:uFillTx/>
                  <a:latin typeface="Inter SemiBold" panose="020B0502030000000004" pitchFamily="34" charset="0"/>
                  <a:ea typeface="+mn-ea"/>
                  <a:cs typeface="Open Sans Light" panose="020B0306030504020204" pitchFamily="34" charset="0"/>
                </a:rPr>
                <a:t>Your Title Text</a:t>
              </a:r>
            </a:p>
          </p:txBody>
        </p:sp>
        <p:sp>
          <p:nvSpPr>
            <p:cNvPr id="81" name="Rectangle 86">
              <a:extLst>
                <a:ext uri="{FF2B5EF4-FFF2-40B4-BE49-F238E27FC236}">
                  <a16:creationId xmlns:a16="http://schemas.microsoft.com/office/drawing/2014/main" id="{B17A5E9D-A6E0-42A6-B887-3554E0D87F23}"/>
                </a:ext>
              </a:extLst>
            </p:cNvPr>
            <p:cNvSpPr/>
            <p:nvPr/>
          </p:nvSpPr>
          <p:spPr>
            <a:xfrm>
              <a:off x="314538" y="3898537"/>
              <a:ext cx="1935043" cy="480131"/>
            </a:xfrm>
            <a:prstGeom prst="rect">
              <a:avLst/>
            </a:prstGeom>
          </p:spPr>
          <p:txBody>
            <a:bodyPr wrap="square">
              <a:spAutoFit/>
            </a:body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0" lang="id-ID" sz="1050" b="0" i="0" u="none" strike="noStrike" kern="1200" cap="none" spc="0" normalizeH="0" baseline="0" noProof="0" dirty="0">
                  <a:ln>
                    <a:noFill/>
                  </a:ln>
                  <a:solidFill>
                    <a:srgbClr val="FFFFFF">
                      <a:lumMod val="65000"/>
                    </a:srgbClr>
                  </a:solidFill>
                  <a:effectLst/>
                  <a:uLnTx/>
                  <a:uFillTx/>
                  <a:latin typeface="Segoe UI Light" panose="020B0502040204020203" pitchFamily="34" charset="0"/>
                  <a:ea typeface="+mn-ea"/>
                  <a:cs typeface="Segoe UI Light" panose="020B0502040204020203" pitchFamily="34" charset="0"/>
                </a:rPr>
                <a:t>The quick, brown fox jumps over a lazy dog. </a:t>
              </a:r>
              <a:endParaRPr kumimoji="0" lang="en-US" sz="1050" b="0" i="0" u="none" strike="noStrike" kern="1200" cap="none" spc="0" normalizeH="0" baseline="0" noProof="0" dirty="0">
                <a:ln>
                  <a:noFill/>
                </a:ln>
                <a:solidFill>
                  <a:srgbClr val="FFFFFF">
                    <a:lumMod val="65000"/>
                  </a:srgbClr>
                </a:solidFill>
                <a:effectLst/>
                <a:uLnTx/>
                <a:uFillTx/>
                <a:latin typeface="Segoe UI Light" panose="020B0502040204020203" pitchFamily="34" charset="0"/>
                <a:ea typeface="+mn-ea"/>
                <a:cs typeface="Segoe UI Light" panose="020B0502040204020203" pitchFamily="34" charset="0"/>
              </a:endParaRPr>
            </a:p>
          </p:txBody>
        </p:sp>
      </p:grpSp>
      <p:grpSp>
        <p:nvGrpSpPr>
          <p:cNvPr id="82" name="Group 87">
            <a:extLst>
              <a:ext uri="{FF2B5EF4-FFF2-40B4-BE49-F238E27FC236}">
                <a16:creationId xmlns:a16="http://schemas.microsoft.com/office/drawing/2014/main" id="{181277AC-A1A2-4F29-96E8-2EDB6E285645}"/>
              </a:ext>
            </a:extLst>
          </p:cNvPr>
          <p:cNvGrpSpPr/>
          <p:nvPr/>
        </p:nvGrpSpPr>
        <p:grpSpPr>
          <a:xfrm>
            <a:off x="312827" y="5513883"/>
            <a:ext cx="1935043" cy="693026"/>
            <a:chOff x="314538" y="3685642"/>
            <a:chExt cx="1935043" cy="693026"/>
          </a:xfrm>
        </p:grpSpPr>
        <p:sp>
          <p:nvSpPr>
            <p:cNvPr id="83" name="Rectangle 88">
              <a:extLst>
                <a:ext uri="{FF2B5EF4-FFF2-40B4-BE49-F238E27FC236}">
                  <a16:creationId xmlns:a16="http://schemas.microsoft.com/office/drawing/2014/main" id="{33068F54-74DB-4101-8B74-8A0A1507AC0A}"/>
                </a:ext>
              </a:extLst>
            </p:cNvPr>
            <p:cNvSpPr/>
            <p:nvPr/>
          </p:nvSpPr>
          <p:spPr>
            <a:xfrm>
              <a:off x="445862" y="3685642"/>
              <a:ext cx="1672396" cy="295402"/>
            </a:xfrm>
            <a:prstGeom prst="rect">
              <a:avLst/>
            </a:prstGeom>
          </p:spPr>
          <p:txBody>
            <a:bodyPr wrap="square">
              <a:spAutoFit/>
            </a:body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lumMod val="75000"/>
                      <a:lumOff val="25000"/>
                    </a:srgbClr>
                  </a:solidFill>
                  <a:effectLst/>
                  <a:uLnTx/>
                  <a:uFillTx/>
                  <a:latin typeface="Inter SemiBold" panose="020B0502030000000004" pitchFamily="34" charset="0"/>
                  <a:ea typeface="+mn-ea"/>
                  <a:cs typeface="Open Sans Light" panose="020B0306030504020204" pitchFamily="34" charset="0"/>
                </a:rPr>
                <a:t>Your Title Text</a:t>
              </a:r>
            </a:p>
          </p:txBody>
        </p:sp>
        <p:sp>
          <p:nvSpPr>
            <p:cNvPr id="84" name="Rectangle 89">
              <a:extLst>
                <a:ext uri="{FF2B5EF4-FFF2-40B4-BE49-F238E27FC236}">
                  <a16:creationId xmlns:a16="http://schemas.microsoft.com/office/drawing/2014/main" id="{D78E62FC-58ED-4F07-9FAE-15213D123CA8}"/>
                </a:ext>
              </a:extLst>
            </p:cNvPr>
            <p:cNvSpPr/>
            <p:nvPr/>
          </p:nvSpPr>
          <p:spPr>
            <a:xfrm>
              <a:off x="314538" y="3898537"/>
              <a:ext cx="1935043" cy="480131"/>
            </a:xfrm>
            <a:prstGeom prst="rect">
              <a:avLst/>
            </a:prstGeom>
          </p:spPr>
          <p:txBody>
            <a:bodyPr wrap="square">
              <a:spAutoFit/>
            </a:body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0" lang="id-ID" sz="1050" b="0" i="0" u="none" strike="noStrike" kern="1200" cap="none" spc="0" normalizeH="0" baseline="0" noProof="0" dirty="0">
                  <a:ln>
                    <a:noFill/>
                  </a:ln>
                  <a:solidFill>
                    <a:srgbClr val="FFFFFF">
                      <a:lumMod val="65000"/>
                    </a:srgbClr>
                  </a:solidFill>
                  <a:effectLst/>
                  <a:uLnTx/>
                  <a:uFillTx/>
                  <a:latin typeface="Segoe UI Light" panose="020B0502040204020203" pitchFamily="34" charset="0"/>
                  <a:ea typeface="+mn-ea"/>
                  <a:cs typeface="Segoe UI Light" panose="020B0502040204020203" pitchFamily="34" charset="0"/>
                </a:rPr>
                <a:t>The quick, brown fox jumps over a lazy dog. </a:t>
              </a:r>
              <a:endParaRPr kumimoji="0" lang="en-US" sz="1050" b="0" i="0" u="none" strike="noStrike" kern="1200" cap="none" spc="0" normalizeH="0" baseline="0" noProof="0" dirty="0">
                <a:ln>
                  <a:noFill/>
                </a:ln>
                <a:solidFill>
                  <a:srgbClr val="FFFFFF">
                    <a:lumMod val="65000"/>
                  </a:srgbClr>
                </a:solidFill>
                <a:effectLst/>
                <a:uLnTx/>
                <a:uFillTx/>
                <a:latin typeface="Segoe UI Light" panose="020B0502040204020203" pitchFamily="34" charset="0"/>
                <a:ea typeface="+mn-ea"/>
                <a:cs typeface="Segoe UI Light" panose="020B0502040204020203" pitchFamily="34" charset="0"/>
              </a:endParaRPr>
            </a:p>
          </p:txBody>
        </p:sp>
      </p:grpSp>
      <p:grpSp>
        <p:nvGrpSpPr>
          <p:cNvPr id="85" name="Group 90">
            <a:extLst>
              <a:ext uri="{FF2B5EF4-FFF2-40B4-BE49-F238E27FC236}">
                <a16:creationId xmlns:a16="http://schemas.microsoft.com/office/drawing/2014/main" id="{60FB59E4-366F-41A2-BE90-772F22F189AA}"/>
              </a:ext>
            </a:extLst>
          </p:cNvPr>
          <p:cNvGrpSpPr/>
          <p:nvPr/>
        </p:nvGrpSpPr>
        <p:grpSpPr>
          <a:xfrm>
            <a:off x="2798807" y="5514716"/>
            <a:ext cx="1935043" cy="693026"/>
            <a:chOff x="314538" y="3685642"/>
            <a:chExt cx="1935043" cy="693026"/>
          </a:xfrm>
        </p:grpSpPr>
        <p:sp>
          <p:nvSpPr>
            <p:cNvPr id="86" name="Rectangle 91">
              <a:extLst>
                <a:ext uri="{FF2B5EF4-FFF2-40B4-BE49-F238E27FC236}">
                  <a16:creationId xmlns:a16="http://schemas.microsoft.com/office/drawing/2014/main" id="{79626054-A922-4F30-92D1-94E7DD6E4B5A}"/>
                </a:ext>
              </a:extLst>
            </p:cNvPr>
            <p:cNvSpPr/>
            <p:nvPr/>
          </p:nvSpPr>
          <p:spPr>
            <a:xfrm>
              <a:off x="445862" y="3685642"/>
              <a:ext cx="1672396" cy="295402"/>
            </a:xfrm>
            <a:prstGeom prst="rect">
              <a:avLst/>
            </a:prstGeom>
          </p:spPr>
          <p:txBody>
            <a:bodyPr wrap="square">
              <a:spAutoFit/>
            </a:body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lumMod val="75000"/>
                      <a:lumOff val="25000"/>
                    </a:srgbClr>
                  </a:solidFill>
                  <a:effectLst/>
                  <a:uLnTx/>
                  <a:uFillTx/>
                  <a:latin typeface="Inter SemiBold" panose="020B0502030000000004" pitchFamily="34" charset="0"/>
                  <a:ea typeface="+mn-ea"/>
                  <a:cs typeface="Open Sans Light" panose="020B0306030504020204" pitchFamily="34" charset="0"/>
                </a:rPr>
                <a:t>Your Title Text</a:t>
              </a:r>
            </a:p>
          </p:txBody>
        </p:sp>
        <p:sp>
          <p:nvSpPr>
            <p:cNvPr id="87" name="Rectangle 92">
              <a:extLst>
                <a:ext uri="{FF2B5EF4-FFF2-40B4-BE49-F238E27FC236}">
                  <a16:creationId xmlns:a16="http://schemas.microsoft.com/office/drawing/2014/main" id="{EDF90B76-4E57-4726-9044-D32C69886032}"/>
                </a:ext>
              </a:extLst>
            </p:cNvPr>
            <p:cNvSpPr/>
            <p:nvPr/>
          </p:nvSpPr>
          <p:spPr>
            <a:xfrm>
              <a:off x="314538" y="3898537"/>
              <a:ext cx="1935043" cy="480131"/>
            </a:xfrm>
            <a:prstGeom prst="rect">
              <a:avLst/>
            </a:prstGeom>
          </p:spPr>
          <p:txBody>
            <a:bodyPr wrap="square">
              <a:spAutoFit/>
            </a:body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0" lang="id-ID" sz="1050" b="0" i="0" u="none" strike="noStrike" kern="1200" cap="none" spc="0" normalizeH="0" baseline="0" noProof="0" dirty="0">
                  <a:ln>
                    <a:noFill/>
                  </a:ln>
                  <a:solidFill>
                    <a:srgbClr val="FFFFFF">
                      <a:lumMod val="65000"/>
                    </a:srgbClr>
                  </a:solidFill>
                  <a:effectLst/>
                  <a:uLnTx/>
                  <a:uFillTx/>
                  <a:latin typeface="Segoe UI Light" panose="020B0502040204020203" pitchFamily="34" charset="0"/>
                  <a:ea typeface="+mn-ea"/>
                  <a:cs typeface="Segoe UI Light" panose="020B0502040204020203" pitchFamily="34" charset="0"/>
                </a:rPr>
                <a:t>The quick, brown fox jumps over a lazy dog. </a:t>
              </a:r>
              <a:endParaRPr kumimoji="0" lang="en-US" sz="1050" b="0" i="0" u="none" strike="noStrike" kern="1200" cap="none" spc="0" normalizeH="0" baseline="0" noProof="0" dirty="0">
                <a:ln>
                  <a:noFill/>
                </a:ln>
                <a:solidFill>
                  <a:srgbClr val="FFFFFF">
                    <a:lumMod val="65000"/>
                  </a:srgbClr>
                </a:solidFill>
                <a:effectLst/>
                <a:uLnTx/>
                <a:uFillTx/>
                <a:latin typeface="Segoe UI Light" panose="020B0502040204020203" pitchFamily="34" charset="0"/>
                <a:ea typeface="+mn-ea"/>
                <a:cs typeface="Segoe UI Light" panose="020B0502040204020203" pitchFamily="34" charset="0"/>
              </a:endParaRPr>
            </a:p>
          </p:txBody>
        </p:sp>
      </p:grpSp>
      <p:grpSp>
        <p:nvGrpSpPr>
          <p:cNvPr id="88" name="Group 93">
            <a:extLst>
              <a:ext uri="{FF2B5EF4-FFF2-40B4-BE49-F238E27FC236}">
                <a16:creationId xmlns:a16="http://schemas.microsoft.com/office/drawing/2014/main" id="{829976BD-E3E6-4F5B-B73C-32CD146D151B}"/>
              </a:ext>
            </a:extLst>
          </p:cNvPr>
          <p:cNvGrpSpPr/>
          <p:nvPr/>
        </p:nvGrpSpPr>
        <p:grpSpPr>
          <a:xfrm>
            <a:off x="5290988" y="5513883"/>
            <a:ext cx="1935043" cy="693026"/>
            <a:chOff x="314538" y="3685642"/>
            <a:chExt cx="1935043" cy="693026"/>
          </a:xfrm>
        </p:grpSpPr>
        <p:sp>
          <p:nvSpPr>
            <p:cNvPr id="89" name="Rectangle 94">
              <a:extLst>
                <a:ext uri="{FF2B5EF4-FFF2-40B4-BE49-F238E27FC236}">
                  <a16:creationId xmlns:a16="http://schemas.microsoft.com/office/drawing/2014/main" id="{0DA2B9CF-D501-4A93-B07B-B94881170550}"/>
                </a:ext>
              </a:extLst>
            </p:cNvPr>
            <p:cNvSpPr/>
            <p:nvPr/>
          </p:nvSpPr>
          <p:spPr>
            <a:xfrm>
              <a:off x="445862" y="3685642"/>
              <a:ext cx="1672396" cy="295402"/>
            </a:xfrm>
            <a:prstGeom prst="rect">
              <a:avLst/>
            </a:prstGeom>
          </p:spPr>
          <p:txBody>
            <a:bodyPr wrap="square">
              <a:spAutoFit/>
            </a:body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lumMod val="75000"/>
                      <a:lumOff val="25000"/>
                    </a:srgbClr>
                  </a:solidFill>
                  <a:effectLst/>
                  <a:uLnTx/>
                  <a:uFillTx/>
                  <a:latin typeface="Inter SemiBold" panose="020B0502030000000004" pitchFamily="34" charset="0"/>
                  <a:ea typeface="+mn-ea"/>
                  <a:cs typeface="Open Sans Light" panose="020B0306030504020204" pitchFamily="34" charset="0"/>
                </a:rPr>
                <a:t>Your Title Text</a:t>
              </a:r>
            </a:p>
          </p:txBody>
        </p:sp>
        <p:sp>
          <p:nvSpPr>
            <p:cNvPr id="90" name="Rectangle 95">
              <a:extLst>
                <a:ext uri="{FF2B5EF4-FFF2-40B4-BE49-F238E27FC236}">
                  <a16:creationId xmlns:a16="http://schemas.microsoft.com/office/drawing/2014/main" id="{14897C1C-5B8A-4778-9B52-39955E41EAE0}"/>
                </a:ext>
              </a:extLst>
            </p:cNvPr>
            <p:cNvSpPr/>
            <p:nvPr/>
          </p:nvSpPr>
          <p:spPr>
            <a:xfrm>
              <a:off x="314538" y="3898537"/>
              <a:ext cx="1935043" cy="480131"/>
            </a:xfrm>
            <a:prstGeom prst="rect">
              <a:avLst/>
            </a:prstGeom>
          </p:spPr>
          <p:txBody>
            <a:bodyPr wrap="square">
              <a:spAutoFit/>
            </a:body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0" lang="id-ID" sz="1050" b="0" i="0" u="none" strike="noStrike" kern="1200" cap="none" spc="0" normalizeH="0" baseline="0" noProof="0" dirty="0">
                  <a:ln>
                    <a:noFill/>
                  </a:ln>
                  <a:solidFill>
                    <a:srgbClr val="FFFFFF">
                      <a:lumMod val="65000"/>
                    </a:srgbClr>
                  </a:solidFill>
                  <a:effectLst/>
                  <a:uLnTx/>
                  <a:uFillTx/>
                  <a:latin typeface="Segoe UI Light" panose="020B0502040204020203" pitchFamily="34" charset="0"/>
                  <a:ea typeface="+mn-ea"/>
                  <a:cs typeface="Segoe UI Light" panose="020B0502040204020203" pitchFamily="34" charset="0"/>
                </a:rPr>
                <a:t>The quick, brown fox jumps over a lazy dog. </a:t>
              </a:r>
              <a:endParaRPr kumimoji="0" lang="en-US" sz="1050" b="0" i="0" u="none" strike="noStrike" kern="1200" cap="none" spc="0" normalizeH="0" baseline="0" noProof="0" dirty="0">
                <a:ln>
                  <a:noFill/>
                </a:ln>
                <a:solidFill>
                  <a:srgbClr val="FFFFFF">
                    <a:lumMod val="65000"/>
                  </a:srgbClr>
                </a:solidFill>
                <a:effectLst/>
                <a:uLnTx/>
                <a:uFillTx/>
                <a:latin typeface="Segoe UI Light" panose="020B0502040204020203" pitchFamily="34" charset="0"/>
                <a:ea typeface="+mn-ea"/>
                <a:cs typeface="Segoe UI Light" panose="020B0502040204020203" pitchFamily="34" charset="0"/>
              </a:endParaRPr>
            </a:p>
          </p:txBody>
        </p:sp>
      </p:grpSp>
    </p:spTree>
    <p:extLst>
      <p:ext uri="{BB962C8B-B14F-4D97-AF65-F5344CB8AC3E}">
        <p14:creationId xmlns:p14="http://schemas.microsoft.com/office/powerpoint/2010/main" val="3628275335"/>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6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5">
            <a:extLst>
              <a:ext uri="{FF2B5EF4-FFF2-40B4-BE49-F238E27FC236}">
                <a16:creationId xmlns:a16="http://schemas.microsoft.com/office/drawing/2014/main" id="{35B616C6-E319-43E8-B4CA-6A2E9EB1FCC5}"/>
              </a:ext>
            </a:extLst>
          </p:cNvPr>
          <p:cNvSpPr>
            <a:spLocks/>
          </p:cNvSpPr>
          <p:nvPr/>
        </p:nvSpPr>
        <p:spPr bwMode="auto">
          <a:xfrm>
            <a:off x="7173248" y="1711846"/>
            <a:ext cx="2510325" cy="4753000"/>
          </a:xfrm>
          <a:custGeom>
            <a:avLst/>
            <a:gdLst>
              <a:gd name="T0" fmla="*/ 5497 w 9304"/>
              <a:gd name="T1" fmla="*/ 17300 h 17616"/>
              <a:gd name="T2" fmla="*/ 4609 w 9304"/>
              <a:gd name="T3" fmla="*/ 16312 h 17616"/>
              <a:gd name="T4" fmla="*/ 3891 w 9304"/>
              <a:gd name="T5" fmla="*/ 14593 h 17616"/>
              <a:gd name="T6" fmla="*/ 3806 w 9304"/>
              <a:gd name="T7" fmla="*/ 12442 h 17616"/>
              <a:gd name="T8" fmla="*/ 4286 w 9304"/>
              <a:gd name="T9" fmla="*/ 10748 h 17616"/>
              <a:gd name="T10" fmla="*/ 5287 w 9304"/>
              <a:gd name="T11" fmla="*/ 9845 h 17616"/>
              <a:gd name="T12" fmla="*/ 6584 w 9304"/>
              <a:gd name="T13" fmla="*/ 9928 h 17616"/>
              <a:gd name="T14" fmla="*/ 7436 w 9304"/>
              <a:gd name="T15" fmla="*/ 10479 h 17616"/>
              <a:gd name="T16" fmla="*/ 7838 w 9304"/>
              <a:gd name="T17" fmla="*/ 11010 h 17616"/>
              <a:gd name="T18" fmla="*/ 7674 w 9304"/>
              <a:gd name="T19" fmla="*/ 10654 h 17616"/>
              <a:gd name="T20" fmla="*/ 7235 w 9304"/>
              <a:gd name="T21" fmla="*/ 9858 h 17616"/>
              <a:gd name="T22" fmla="*/ 6977 w 9304"/>
              <a:gd name="T23" fmla="*/ 9592 h 17616"/>
              <a:gd name="T24" fmla="*/ 7452 w 9304"/>
              <a:gd name="T25" fmla="*/ 9065 h 17616"/>
              <a:gd name="T26" fmla="*/ 8677 w 9304"/>
              <a:gd name="T27" fmla="*/ 7976 h 17616"/>
              <a:gd name="T28" fmla="*/ 7787 w 9304"/>
              <a:gd name="T29" fmla="*/ 8580 h 17616"/>
              <a:gd name="T30" fmla="*/ 6830 w 9304"/>
              <a:gd name="T31" fmla="*/ 9161 h 17616"/>
              <a:gd name="T32" fmla="*/ 6187 w 9304"/>
              <a:gd name="T33" fmla="*/ 9356 h 17616"/>
              <a:gd name="T34" fmla="*/ 4975 w 9304"/>
              <a:gd name="T35" fmla="*/ 9411 h 17616"/>
              <a:gd name="T36" fmla="*/ 4501 w 9304"/>
              <a:gd name="T37" fmla="*/ 9235 h 17616"/>
              <a:gd name="T38" fmla="*/ 4627 w 9304"/>
              <a:gd name="T39" fmla="*/ 8324 h 17616"/>
              <a:gd name="T40" fmla="*/ 5266 w 9304"/>
              <a:gd name="T41" fmla="*/ 7036 h 17616"/>
              <a:gd name="T42" fmla="*/ 6700 w 9304"/>
              <a:gd name="T43" fmla="*/ 5836 h 17616"/>
              <a:gd name="T44" fmla="*/ 8104 w 9304"/>
              <a:gd name="T45" fmla="*/ 5095 h 17616"/>
              <a:gd name="T46" fmla="*/ 9043 w 9304"/>
              <a:gd name="T47" fmla="*/ 4753 h 17616"/>
              <a:gd name="T48" fmla="*/ 8677 w 9304"/>
              <a:gd name="T49" fmla="*/ 4805 h 17616"/>
              <a:gd name="T50" fmla="*/ 7350 w 9304"/>
              <a:gd name="T51" fmla="*/ 5135 h 17616"/>
              <a:gd name="T52" fmla="*/ 6155 w 9304"/>
              <a:gd name="T53" fmla="*/ 5633 h 17616"/>
              <a:gd name="T54" fmla="*/ 5634 w 9304"/>
              <a:gd name="T55" fmla="*/ 5384 h 17616"/>
              <a:gd name="T56" fmla="*/ 5473 w 9304"/>
              <a:gd name="T57" fmla="*/ 3557 h 17616"/>
              <a:gd name="T58" fmla="*/ 5481 w 9304"/>
              <a:gd name="T59" fmla="*/ 1712 h 17616"/>
              <a:gd name="T60" fmla="*/ 5305 w 9304"/>
              <a:gd name="T61" fmla="*/ 3368 h 17616"/>
              <a:gd name="T62" fmla="*/ 5218 w 9304"/>
              <a:gd name="T63" fmla="*/ 4980 h 17616"/>
              <a:gd name="T64" fmla="*/ 5283 w 9304"/>
              <a:gd name="T65" fmla="*/ 5981 h 17616"/>
              <a:gd name="T66" fmla="*/ 4999 w 9304"/>
              <a:gd name="T67" fmla="*/ 6828 h 17616"/>
              <a:gd name="T68" fmla="*/ 4380 w 9304"/>
              <a:gd name="T69" fmla="*/ 7940 h 17616"/>
              <a:gd name="T70" fmla="*/ 3957 w 9304"/>
              <a:gd name="T71" fmla="*/ 8919 h 17616"/>
              <a:gd name="T72" fmla="*/ 3565 w 9304"/>
              <a:gd name="T73" fmla="*/ 9585 h 17616"/>
              <a:gd name="T74" fmla="*/ 3264 w 9304"/>
              <a:gd name="T75" fmla="*/ 9913 h 17616"/>
              <a:gd name="T76" fmla="*/ 2740 w 9304"/>
              <a:gd name="T77" fmla="*/ 8110 h 17616"/>
              <a:gd name="T78" fmla="*/ 2121 w 9304"/>
              <a:gd name="T79" fmla="*/ 5080 h 17616"/>
              <a:gd name="T80" fmla="*/ 1803 w 9304"/>
              <a:gd name="T81" fmla="*/ 2559 h 17616"/>
              <a:gd name="T82" fmla="*/ 1836 w 9304"/>
              <a:gd name="T83" fmla="*/ 1167 h 17616"/>
              <a:gd name="T84" fmla="*/ 1941 w 9304"/>
              <a:gd name="T85" fmla="*/ 36 h 17616"/>
              <a:gd name="T86" fmla="*/ 1807 w 9304"/>
              <a:gd name="T87" fmla="*/ 1141 h 17616"/>
              <a:gd name="T88" fmla="*/ 1677 w 9304"/>
              <a:gd name="T89" fmla="*/ 3194 h 17616"/>
              <a:gd name="T90" fmla="*/ 1803 w 9304"/>
              <a:gd name="T91" fmla="*/ 5406 h 17616"/>
              <a:gd name="T92" fmla="*/ 2243 w 9304"/>
              <a:gd name="T93" fmla="*/ 8046 h 17616"/>
              <a:gd name="T94" fmla="*/ 134 w 9304"/>
              <a:gd name="T95" fmla="*/ 5485 h 17616"/>
              <a:gd name="T96" fmla="*/ 1573 w 9304"/>
              <a:gd name="T97" fmla="*/ 8092 h 17616"/>
              <a:gd name="T98" fmla="*/ 2208 w 9304"/>
              <a:gd name="T99" fmla="*/ 9387 h 17616"/>
              <a:gd name="T100" fmla="*/ 2357 w 9304"/>
              <a:gd name="T101" fmla="*/ 9990 h 17616"/>
              <a:gd name="T102" fmla="*/ 2363 w 9304"/>
              <a:gd name="T103" fmla="*/ 10330 h 17616"/>
              <a:gd name="T104" fmla="*/ 1319 w 9304"/>
              <a:gd name="T105" fmla="*/ 9701 h 17616"/>
              <a:gd name="T106" fmla="*/ 1778 w 9304"/>
              <a:gd name="T107" fmla="*/ 10619 h 17616"/>
              <a:gd name="T108" fmla="*/ 2090 w 9304"/>
              <a:gd name="T109" fmla="*/ 12315 h 17616"/>
              <a:gd name="T110" fmla="*/ 1803 w 9304"/>
              <a:gd name="T111" fmla="*/ 14560 h 17616"/>
              <a:gd name="T112" fmla="*/ 972 w 9304"/>
              <a:gd name="T113" fmla="*/ 16438 h 17616"/>
              <a:gd name="T114" fmla="*/ 280 w 9304"/>
              <a:gd name="T115" fmla="*/ 17508 h 176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304" h="17616">
                <a:moveTo>
                  <a:pt x="198" y="17616"/>
                </a:moveTo>
                <a:lnTo>
                  <a:pt x="5932" y="17616"/>
                </a:lnTo>
                <a:lnTo>
                  <a:pt x="5911" y="17604"/>
                </a:lnTo>
                <a:lnTo>
                  <a:pt x="5853" y="17566"/>
                </a:lnTo>
                <a:lnTo>
                  <a:pt x="5811" y="17538"/>
                </a:lnTo>
                <a:lnTo>
                  <a:pt x="5760" y="17504"/>
                </a:lnTo>
                <a:lnTo>
                  <a:pt x="5704" y="17463"/>
                </a:lnTo>
                <a:lnTo>
                  <a:pt x="5640" y="17415"/>
                </a:lnTo>
                <a:lnTo>
                  <a:pt x="5572" y="17361"/>
                </a:lnTo>
                <a:lnTo>
                  <a:pt x="5497" y="17300"/>
                </a:lnTo>
                <a:lnTo>
                  <a:pt x="5419" y="17233"/>
                </a:lnTo>
                <a:lnTo>
                  <a:pt x="5336" y="17158"/>
                </a:lnTo>
                <a:lnTo>
                  <a:pt x="5250" y="17077"/>
                </a:lnTo>
                <a:lnTo>
                  <a:pt x="5161" y="16988"/>
                </a:lnTo>
                <a:lnTo>
                  <a:pt x="5071" y="16894"/>
                </a:lnTo>
                <a:lnTo>
                  <a:pt x="4979" y="16791"/>
                </a:lnTo>
                <a:lnTo>
                  <a:pt x="4886" y="16682"/>
                </a:lnTo>
                <a:lnTo>
                  <a:pt x="4793" y="16566"/>
                </a:lnTo>
                <a:lnTo>
                  <a:pt x="4700" y="16442"/>
                </a:lnTo>
                <a:lnTo>
                  <a:pt x="4609" y="16312"/>
                </a:lnTo>
                <a:lnTo>
                  <a:pt x="4519" y="16174"/>
                </a:lnTo>
                <a:lnTo>
                  <a:pt x="4432" y="16028"/>
                </a:lnTo>
                <a:lnTo>
                  <a:pt x="4347" y="15875"/>
                </a:lnTo>
                <a:lnTo>
                  <a:pt x="4266" y="15716"/>
                </a:lnTo>
                <a:lnTo>
                  <a:pt x="4189" y="15547"/>
                </a:lnTo>
                <a:lnTo>
                  <a:pt x="4118" y="15372"/>
                </a:lnTo>
                <a:lnTo>
                  <a:pt x="4052" y="15188"/>
                </a:lnTo>
                <a:lnTo>
                  <a:pt x="3991" y="14998"/>
                </a:lnTo>
                <a:lnTo>
                  <a:pt x="3937" y="14800"/>
                </a:lnTo>
                <a:lnTo>
                  <a:pt x="3891" y="14593"/>
                </a:lnTo>
                <a:lnTo>
                  <a:pt x="3852" y="14378"/>
                </a:lnTo>
                <a:lnTo>
                  <a:pt x="3823" y="14156"/>
                </a:lnTo>
                <a:lnTo>
                  <a:pt x="3800" y="13931"/>
                </a:lnTo>
                <a:lnTo>
                  <a:pt x="3784" y="13707"/>
                </a:lnTo>
                <a:lnTo>
                  <a:pt x="3773" y="13488"/>
                </a:lnTo>
                <a:lnTo>
                  <a:pt x="3769" y="13271"/>
                </a:lnTo>
                <a:lnTo>
                  <a:pt x="3769" y="13058"/>
                </a:lnTo>
                <a:lnTo>
                  <a:pt x="3775" y="12849"/>
                </a:lnTo>
                <a:lnTo>
                  <a:pt x="3787" y="12644"/>
                </a:lnTo>
                <a:lnTo>
                  <a:pt x="3806" y="12442"/>
                </a:lnTo>
                <a:lnTo>
                  <a:pt x="3829" y="12246"/>
                </a:lnTo>
                <a:lnTo>
                  <a:pt x="3858" y="12056"/>
                </a:lnTo>
                <a:lnTo>
                  <a:pt x="3893" y="11870"/>
                </a:lnTo>
                <a:lnTo>
                  <a:pt x="3933" y="11690"/>
                </a:lnTo>
                <a:lnTo>
                  <a:pt x="3978" y="11516"/>
                </a:lnTo>
                <a:lnTo>
                  <a:pt x="4030" y="11348"/>
                </a:lnTo>
                <a:lnTo>
                  <a:pt x="4086" y="11187"/>
                </a:lnTo>
                <a:lnTo>
                  <a:pt x="4147" y="11033"/>
                </a:lnTo>
                <a:lnTo>
                  <a:pt x="4214" y="10887"/>
                </a:lnTo>
                <a:lnTo>
                  <a:pt x="4286" y="10748"/>
                </a:lnTo>
                <a:lnTo>
                  <a:pt x="4363" y="10617"/>
                </a:lnTo>
                <a:lnTo>
                  <a:pt x="4446" y="10494"/>
                </a:lnTo>
                <a:lnTo>
                  <a:pt x="4533" y="10379"/>
                </a:lnTo>
                <a:lnTo>
                  <a:pt x="4627" y="10275"/>
                </a:lnTo>
                <a:lnTo>
                  <a:pt x="4724" y="10178"/>
                </a:lnTo>
                <a:lnTo>
                  <a:pt x="4827" y="10091"/>
                </a:lnTo>
                <a:lnTo>
                  <a:pt x="4934" y="10014"/>
                </a:lnTo>
                <a:lnTo>
                  <a:pt x="5047" y="9948"/>
                </a:lnTo>
                <a:lnTo>
                  <a:pt x="5164" y="9890"/>
                </a:lnTo>
                <a:lnTo>
                  <a:pt x="5287" y="9845"/>
                </a:lnTo>
                <a:lnTo>
                  <a:pt x="5414" y="9811"/>
                </a:lnTo>
                <a:lnTo>
                  <a:pt x="5546" y="9788"/>
                </a:lnTo>
                <a:lnTo>
                  <a:pt x="5683" y="9776"/>
                </a:lnTo>
                <a:lnTo>
                  <a:pt x="5824" y="9777"/>
                </a:lnTo>
                <a:lnTo>
                  <a:pt x="5965" y="9787"/>
                </a:lnTo>
                <a:lnTo>
                  <a:pt x="6099" y="9803"/>
                </a:lnTo>
                <a:lnTo>
                  <a:pt x="6229" y="9826"/>
                </a:lnTo>
                <a:lnTo>
                  <a:pt x="6353" y="9855"/>
                </a:lnTo>
                <a:lnTo>
                  <a:pt x="6472" y="9889"/>
                </a:lnTo>
                <a:lnTo>
                  <a:pt x="6584" y="9928"/>
                </a:lnTo>
                <a:lnTo>
                  <a:pt x="6692" y="9972"/>
                </a:lnTo>
                <a:lnTo>
                  <a:pt x="6795" y="10018"/>
                </a:lnTo>
                <a:lnTo>
                  <a:pt x="6892" y="10069"/>
                </a:lnTo>
                <a:lnTo>
                  <a:pt x="6984" y="10123"/>
                </a:lnTo>
                <a:lnTo>
                  <a:pt x="7071" y="10178"/>
                </a:lnTo>
                <a:lnTo>
                  <a:pt x="7154" y="10236"/>
                </a:lnTo>
                <a:lnTo>
                  <a:pt x="7231" y="10295"/>
                </a:lnTo>
                <a:lnTo>
                  <a:pt x="7304" y="10356"/>
                </a:lnTo>
                <a:lnTo>
                  <a:pt x="7372" y="10418"/>
                </a:lnTo>
                <a:lnTo>
                  <a:pt x="7436" y="10479"/>
                </a:lnTo>
                <a:lnTo>
                  <a:pt x="7494" y="10541"/>
                </a:lnTo>
                <a:lnTo>
                  <a:pt x="7549" y="10602"/>
                </a:lnTo>
                <a:lnTo>
                  <a:pt x="7600" y="10661"/>
                </a:lnTo>
                <a:lnTo>
                  <a:pt x="7645" y="10719"/>
                </a:lnTo>
                <a:lnTo>
                  <a:pt x="7688" y="10775"/>
                </a:lnTo>
                <a:lnTo>
                  <a:pt x="7725" y="10829"/>
                </a:lnTo>
                <a:lnTo>
                  <a:pt x="7760" y="10880"/>
                </a:lnTo>
                <a:lnTo>
                  <a:pt x="7789" y="10927"/>
                </a:lnTo>
                <a:lnTo>
                  <a:pt x="7815" y="10970"/>
                </a:lnTo>
                <a:lnTo>
                  <a:pt x="7838" y="11010"/>
                </a:lnTo>
                <a:lnTo>
                  <a:pt x="7857" y="11044"/>
                </a:lnTo>
                <a:lnTo>
                  <a:pt x="7871" y="11073"/>
                </a:lnTo>
                <a:lnTo>
                  <a:pt x="7891" y="11113"/>
                </a:lnTo>
                <a:lnTo>
                  <a:pt x="7897" y="11128"/>
                </a:lnTo>
                <a:lnTo>
                  <a:pt x="7890" y="11111"/>
                </a:lnTo>
                <a:lnTo>
                  <a:pt x="7869" y="11064"/>
                </a:lnTo>
                <a:lnTo>
                  <a:pt x="7834" y="10990"/>
                </a:lnTo>
                <a:lnTo>
                  <a:pt x="7789" y="10894"/>
                </a:lnTo>
                <a:lnTo>
                  <a:pt x="7735" y="10781"/>
                </a:lnTo>
                <a:lnTo>
                  <a:pt x="7674" y="10654"/>
                </a:lnTo>
                <a:lnTo>
                  <a:pt x="7606" y="10518"/>
                </a:lnTo>
                <a:lnTo>
                  <a:pt x="7535" y="10378"/>
                </a:lnTo>
                <a:lnTo>
                  <a:pt x="7497" y="10308"/>
                </a:lnTo>
                <a:lnTo>
                  <a:pt x="7460" y="10238"/>
                </a:lnTo>
                <a:lnTo>
                  <a:pt x="7422" y="10169"/>
                </a:lnTo>
                <a:lnTo>
                  <a:pt x="7384" y="10102"/>
                </a:lnTo>
                <a:lnTo>
                  <a:pt x="7346" y="10036"/>
                </a:lnTo>
                <a:lnTo>
                  <a:pt x="7309" y="9974"/>
                </a:lnTo>
                <a:lnTo>
                  <a:pt x="7272" y="9915"/>
                </a:lnTo>
                <a:lnTo>
                  <a:pt x="7235" y="9858"/>
                </a:lnTo>
                <a:lnTo>
                  <a:pt x="7200" y="9808"/>
                </a:lnTo>
                <a:lnTo>
                  <a:pt x="7166" y="9760"/>
                </a:lnTo>
                <a:lnTo>
                  <a:pt x="7134" y="9720"/>
                </a:lnTo>
                <a:lnTo>
                  <a:pt x="7102" y="9684"/>
                </a:lnTo>
                <a:lnTo>
                  <a:pt x="7072" y="9656"/>
                </a:lnTo>
                <a:lnTo>
                  <a:pt x="7045" y="9635"/>
                </a:lnTo>
                <a:lnTo>
                  <a:pt x="7019" y="9621"/>
                </a:lnTo>
                <a:lnTo>
                  <a:pt x="6996" y="9614"/>
                </a:lnTo>
                <a:lnTo>
                  <a:pt x="6981" y="9608"/>
                </a:lnTo>
                <a:lnTo>
                  <a:pt x="6977" y="9592"/>
                </a:lnTo>
                <a:lnTo>
                  <a:pt x="6985" y="9568"/>
                </a:lnTo>
                <a:lnTo>
                  <a:pt x="7005" y="9536"/>
                </a:lnTo>
                <a:lnTo>
                  <a:pt x="7034" y="9496"/>
                </a:lnTo>
                <a:lnTo>
                  <a:pt x="7072" y="9450"/>
                </a:lnTo>
                <a:lnTo>
                  <a:pt x="7118" y="9397"/>
                </a:lnTo>
                <a:lnTo>
                  <a:pt x="7174" y="9340"/>
                </a:lnTo>
                <a:lnTo>
                  <a:pt x="7234" y="9277"/>
                </a:lnTo>
                <a:lnTo>
                  <a:pt x="7302" y="9210"/>
                </a:lnTo>
                <a:lnTo>
                  <a:pt x="7375" y="9138"/>
                </a:lnTo>
                <a:lnTo>
                  <a:pt x="7452" y="9065"/>
                </a:lnTo>
                <a:lnTo>
                  <a:pt x="7534" y="8989"/>
                </a:lnTo>
                <a:lnTo>
                  <a:pt x="7617" y="8910"/>
                </a:lnTo>
                <a:lnTo>
                  <a:pt x="7703" y="8831"/>
                </a:lnTo>
                <a:lnTo>
                  <a:pt x="7792" y="8752"/>
                </a:lnTo>
                <a:lnTo>
                  <a:pt x="7969" y="8593"/>
                </a:lnTo>
                <a:lnTo>
                  <a:pt x="8142" y="8439"/>
                </a:lnTo>
                <a:lnTo>
                  <a:pt x="8306" y="8296"/>
                </a:lnTo>
                <a:lnTo>
                  <a:pt x="8454" y="8167"/>
                </a:lnTo>
                <a:lnTo>
                  <a:pt x="8580" y="8059"/>
                </a:lnTo>
                <a:lnTo>
                  <a:pt x="8677" y="7976"/>
                </a:lnTo>
                <a:lnTo>
                  <a:pt x="8741" y="7922"/>
                </a:lnTo>
                <a:lnTo>
                  <a:pt x="8763" y="7903"/>
                </a:lnTo>
                <a:lnTo>
                  <a:pt x="8742" y="7917"/>
                </a:lnTo>
                <a:lnTo>
                  <a:pt x="8684" y="7960"/>
                </a:lnTo>
                <a:lnTo>
                  <a:pt x="8591" y="8026"/>
                </a:lnTo>
                <a:lnTo>
                  <a:pt x="8470" y="8112"/>
                </a:lnTo>
                <a:lnTo>
                  <a:pt x="8325" y="8215"/>
                </a:lnTo>
                <a:lnTo>
                  <a:pt x="8159" y="8329"/>
                </a:lnTo>
                <a:lnTo>
                  <a:pt x="7979" y="8452"/>
                </a:lnTo>
                <a:lnTo>
                  <a:pt x="7787" y="8580"/>
                </a:lnTo>
                <a:lnTo>
                  <a:pt x="7689" y="8645"/>
                </a:lnTo>
                <a:lnTo>
                  <a:pt x="7590" y="8710"/>
                </a:lnTo>
                <a:lnTo>
                  <a:pt x="7490" y="8774"/>
                </a:lnTo>
                <a:lnTo>
                  <a:pt x="7391" y="8836"/>
                </a:lnTo>
                <a:lnTo>
                  <a:pt x="7291" y="8897"/>
                </a:lnTo>
                <a:lnTo>
                  <a:pt x="7194" y="8956"/>
                </a:lnTo>
                <a:lnTo>
                  <a:pt x="7099" y="9013"/>
                </a:lnTo>
                <a:lnTo>
                  <a:pt x="7006" y="9066"/>
                </a:lnTo>
                <a:lnTo>
                  <a:pt x="6916" y="9115"/>
                </a:lnTo>
                <a:lnTo>
                  <a:pt x="6830" y="9161"/>
                </a:lnTo>
                <a:lnTo>
                  <a:pt x="6747" y="9202"/>
                </a:lnTo>
                <a:lnTo>
                  <a:pt x="6670" y="9240"/>
                </a:lnTo>
                <a:lnTo>
                  <a:pt x="6597" y="9270"/>
                </a:lnTo>
                <a:lnTo>
                  <a:pt x="6531" y="9296"/>
                </a:lnTo>
                <a:lnTo>
                  <a:pt x="6472" y="9314"/>
                </a:lnTo>
                <a:lnTo>
                  <a:pt x="6419" y="9327"/>
                </a:lnTo>
                <a:lnTo>
                  <a:pt x="6367" y="9334"/>
                </a:lnTo>
                <a:lnTo>
                  <a:pt x="6311" y="9342"/>
                </a:lnTo>
                <a:lnTo>
                  <a:pt x="6250" y="9350"/>
                </a:lnTo>
                <a:lnTo>
                  <a:pt x="6187" y="9356"/>
                </a:lnTo>
                <a:lnTo>
                  <a:pt x="6119" y="9362"/>
                </a:lnTo>
                <a:lnTo>
                  <a:pt x="6049" y="9368"/>
                </a:lnTo>
                <a:lnTo>
                  <a:pt x="5975" y="9373"/>
                </a:lnTo>
                <a:lnTo>
                  <a:pt x="5900" y="9378"/>
                </a:lnTo>
                <a:lnTo>
                  <a:pt x="5744" y="9387"/>
                </a:lnTo>
                <a:lnTo>
                  <a:pt x="5584" y="9394"/>
                </a:lnTo>
                <a:lnTo>
                  <a:pt x="5424" y="9400"/>
                </a:lnTo>
                <a:lnTo>
                  <a:pt x="5268" y="9405"/>
                </a:lnTo>
                <a:lnTo>
                  <a:pt x="5116" y="9409"/>
                </a:lnTo>
                <a:lnTo>
                  <a:pt x="4975" y="9411"/>
                </a:lnTo>
                <a:lnTo>
                  <a:pt x="4846" y="9414"/>
                </a:lnTo>
                <a:lnTo>
                  <a:pt x="4732" y="9415"/>
                </a:lnTo>
                <a:lnTo>
                  <a:pt x="4639" y="9416"/>
                </a:lnTo>
                <a:lnTo>
                  <a:pt x="4568" y="9416"/>
                </a:lnTo>
                <a:lnTo>
                  <a:pt x="4523" y="9416"/>
                </a:lnTo>
                <a:lnTo>
                  <a:pt x="4508" y="9416"/>
                </a:lnTo>
                <a:lnTo>
                  <a:pt x="4505" y="9395"/>
                </a:lnTo>
                <a:lnTo>
                  <a:pt x="4502" y="9333"/>
                </a:lnTo>
                <a:lnTo>
                  <a:pt x="4501" y="9289"/>
                </a:lnTo>
                <a:lnTo>
                  <a:pt x="4501" y="9235"/>
                </a:lnTo>
                <a:lnTo>
                  <a:pt x="4502" y="9175"/>
                </a:lnTo>
                <a:lnTo>
                  <a:pt x="4504" y="9105"/>
                </a:lnTo>
                <a:lnTo>
                  <a:pt x="4509" y="9028"/>
                </a:lnTo>
                <a:lnTo>
                  <a:pt x="4515" y="8945"/>
                </a:lnTo>
                <a:lnTo>
                  <a:pt x="4524" y="8854"/>
                </a:lnTo>
                <a:lnTo>
                  <a:pt x="4537" y="8758"/>
                </a:lnTo>
                <a:lnTo>
                  <a:pt x="4553" y="8657"/>
                </a:lnTo>
                <a:lnTo>
                  <a:pt x="4574" y="8550"/>
                </a:lnTo>
                <a:lnTo>
                  <a:pt x="4598" y="8439"/>
                </a:lnTo>
                <a:lnTo>
                  <a:pt x="4627" y="8324"/>
                </a:lnTo>
                <a:lnTo>
                  <a:pt x="4662" y="8205"/>
                </a:lnTo>
                <a:lnTo>
                  <a:pt x="4702" y="8082"/>
                </a:lnTo>
                <a:lnTo>
                  <a:pt x="4747" y="7957"/>
                </a:lnTo>
                <a:lnTo>
                  <a:pt x="4800" y="7829"/>
                </a:lnTo>
                <a:lnTo>
                  <a:pt x="4858" y="7699"/>
                </a:lnTo>
                <a:lnTo>
                  <a:pt x="4924" y="7568"/>
                </a:lnTo>
                <a:lnTo>
                  <a:pt x="4997" y="7435"/>
                </a:lnTo>
                <a:lnTo>
                  <a:pt x="5078" y="7303"/>
                </a:lnTo>
                <a:lnTo>
                  <a:pt x="5168" y="7170"/>
                </a:lnTo>
                <a:lnTo>
                  <a:pt x="5266" y="7036"/>
                </a:lnTo>
                <a:lnTo>
                  <a:pt x="5374" y="6904"/>
                </a:lnTo>
                <a:lnTo>
                  <a:pt x="5489" y="6774"/>
                </a:lnTo>
                <a:lnTo>
                  <a:pt x="5616" y="6645"/>
                </a:lnTo>
                <a:lnTo>
                  <a:pt x="5752" y="6518"/>
                </a:lnTo>
                <a:lnTo>
                  <a:pt x="5900" y="6394"/>
                </a:lnTo>
                <a:lnTo>
                  <a:pt x="6059" y="6271"/>
                </a:lnTo>
                <a:lnTo>
                  <a:pt x="6222" y="6155"/>
                </a:lnTo>
                <a:lnTo>
                  <a:pt x="6383" y="6042"/>
                </a:lnTo>
                <a:lnTo>
                  <a:pt x="6542" y="5937"/>
                </a:lnTo>
                <a:lnTo>
                  <a:pt x="6700" y="5836"/>
                </a:lnTo>
                <a:lnTo>
                  <a:pt x="6855" y="5741"/>
                </a:lnTo>
                <a:lnTo>
                  <a:pt x="7007" y="5650"/>
                </a:lnTo>
                <a:lnTo>
                  <a:pt x="7157" y="5564"/>
                </a:lnTo>
                <a:lnTo>
                  <a:pt x="7304" y="5484"/>
                </a:lnTo>
                <a:lnTo>
                  <a:pt x="7447" y="5408"/>
                </a:lnTo>
                <a:lnTo>
                  <a:pt x="7587" y="5337"/>
                </a:lnTo>
                <a:lnTo>
                  <a:pt x="7722" y="5269"/>
                </a:lnTo>
                <a:lnTo>
                  <a:pt x="7854" y="5208"/>
                </a:lnTo>
                <a:lnTo>
                  <a:pt x="7982" y="5149"/>
                </a:lnTo>
                <a:lnTo>
                  <a:pt x="8104" y="5095"/>
                </a:lnTo>
                <a:lnTo>
                  <a:pt x="8223" y="5045"/>
                </a:lnTo>
                <a:lnTo>
                  <a:pt x="8337" y="4999"/>
                </a:lnTo>
                <a:lnTo>
                  <a:pt x="8446" y="4957"/>
                </a:lnTo>
                <a:lnTo>
                  <a:pt x="8548" y="4917"/>
                </a:lnTo>
                <a:lnTo>
                  <a:pt x="8646" y="4882"/>
                </a:lnTo>
                <a:lnTo>
                  <a:pt x="8738" y="4850"/>
                </a:lnTo>
                <a:lnTo>
                  <a:pt x="8824" y="4821"/>
                </a:lnTo>
                <a:lnTo>
                  <a:pt x="8903" y="4796"/>
                </a:lnTo>
                <a:lnTo>
                  <a:pt x="8977" y="4773"/>
                </a:lnTo>
                <a:lnTo>
                  <a:pt x="9043" y="4753"/>
                </a:lnTo>
                <a:lnTo>
                  <a:pt x="9154" y="4722"/>
                </a:lnTo>
                <a:lnTo>
                  <a:pt x="9237" y="4701"/>
                </a:lnTo>
                <a:lnTo>
                  <a:pt x="9286" y="4689"/>
                </a:lnTo>
                <a:lnTo>
                  <a:pt x="9304" y="4686"/>
                </a:lnTo>
                <a:lnTo>
                  <a:pt x="9274" y="4690"/>
                </a:lnTo>
                <a:lnTo>
                  <a:pt x="9191" y="4706"/>
                </a:lnTo>
                <a:lnTo>
                  <a:pt x="9058" y="4730"/>
                </a:lnTo>
                <a:lnTo>
                  <a:pt x="8884" y="4763"/>
                </a:lnTo>
                <a:lnTo>
                  <a:pt x="8785" y="4783"/>
                </a:lnTo>
                <a:lnTo>
                  <a:pt x="8677" y="4805"/>
                </a:lnTo>
                <a:lnTo>
                  <a:pt x="8562" y="4829"/>
                </a:lnTo>
                <a:lnTo>
                  <a:pt x="8440" y="4855"/>
                </a:lnTo>
                <a:lnTo>
                  <a:pt x="8314" y="4884"/>
                </a:lnTo>
                <a:lnTo>
                  <a:pt x="8184" y="4915"/>
                </a:lnTo>
                <a:lnTo>
                  <a:pt x="8048" y="4947"/>
                </a:lnTo>
                <a:lnTo>
                  <a:pt x="7912" y="4981"/>
                </a:lnTo>
                <a:lnTo>
                  <a:pt x="7772" y="5016"/>
                </a:lnTo>
                <a:lnTo>
                  <a:pt x="7631" y="5055"/>
                </a:lnTo>
                <a:lnTo>
                  <a:pt x="7490" y="5094"/>
                </a:lnTo>
                <a:lnTo>
                  <a:pt x="7350" y="5135"/>
                </a:lnTo>
                <a:lnTo>
                  <a:pt x="7210" y="5178"/>
                </a:lnTo>
                <a:lnTo>
                  <a:pt x="7073" y="5223"/>
                </a:lnTo>
                <a:lnTo>
                  <a:pt x="6939" y="5269"/>
                </a:lnTo>
                <a:lnTo>
                  <a:pt x="6809" y="5317"/>
                </a:lnTo>
                <a:lnTo>
                  <a:pt x="6683" y="5366"/>
                </a:lnTo>
                <a:lnTo>
                  <a:pt x="6563" y="5417"/>
                </a:lnTo>
                <a:lnTo>
                  <a:pt x="6450" y="5469"/>
                </a:lnTo>
                <a:lnTo>
                  <a:pt x="6343" y="5522"/>
                </a:lnTo>
                <a:lnTo>
                  <a:pt x="6244" y="5577"/>
                </a:lnTo>
                <a:lnTo>
                  <a:pt x="6155" y="5633"/>
                </a:lnTo>
                <a:lnTo>
                  <a:pt x="6074" y="5690"/>
                </a:lnTo>
                <a:lnTo>
                  <a:pt x="6005" y="5748"/>
                </a:lnTo>
                <a:lnTo>
                  <a:pt x="5943" y="5792"/>
                </a:lnTo>
                <a:lnTo>
                  <a:pt x="5886" y="5808"/>
                </a:lnTo>
                <a:lnTo>
                  <a:pt x="5833" y="5795"/>
                </a:lnTo>
                <a:lnTo>
                  <a:pt x="5786" y="5756"/>
                </a:lnTo>
                <a:lnTo>
                  <a:pt x="5741" y="5694"/>
                </a:lnTo>
                <a:lnTo>
                  <a:pt x="5702" y="5611"/>
                </a:lnTo>
                <a:lnTo>
                  <a:pt x="5665" y="5506"/>
                </a:lnTo>
                <a:lnTo>
                  <a:pt x="5634" y="5384"/>
                </a:lnTo>
                <a:lnTo>
                  <a:pt x="5605" y="5245"/>
                </a:lnTo>
                <a:lnTo>
                  <a:pt x="5580" y="5092"/>
                </a:lnTo>
                <a:lnTo>
                  <a:pt x="5558" y="4926"/>
                </a:lnTo>
                <a:lnTo>
                  <a:pt x="5538" y="4749"/>
                </a:lnTo>
                <a:lnTo>
                  <a:pt x="5521" y="4563"/>
                </a:lnTo>
                <a:lnTo>
                  <a:pt x="5507" y="4369"/>
                </a:lnTo>
                <a:lnTo>
                  <a:pt x="5496" y="4169"/>
                </a:lnTo>
                <a:lnTo>
                  <a:pt x="5486" y="3967"/>
                </a:lnTo>
                <a:lnTo>
                  <a:pt x="5478" y="3762"/>
                </a:lnTo>
                <a:lnTo>
                  <a:pt x="5473" y="3557"/>
                </a:lnTo>
                <a:lnTo>
                  <a:pt x="5468" y="3355"/>
                </a:lnTo>
                <a:lnTo>
                  <a:pt x="5466" y="3155"/>
                </a:lnTo>
                <a:lnTo>
                  <a:pt x="5465" y="2962"/>
                </a:lnTo>
                <a:lnTo>
                  <a:pt x="5465" y="2776"/>
                </a:lnTo>
                <a:lnTo>
                  <a:pt x="5465" y="2598"/>
                </a:lnTo>
                <a:lnTo>
                  <a:pt x="5467" y="2431"/>
                </a:lnTo>
                <a:lnTo>
                  <a:pt x="5470" y="2138"/>
                </a:lnTo>
                <a:lnTo>
                  <a:pt x="5476" y="1911"/>
                </a:lnTo>
                <a:lnTo>
                  <a:pt x="5479" y="1764"/>
                </a:lnTo>
                <a:lnTo>
                  <a:pt x="5481" y="1712"/>
                </a:lnTo>
                <a:lnTo>
                  <a:pt x="5477" y="1747"/>
                </a:lnTo>
                <a:lnTo>
                  <a:pt x="5465" y="1846"/>
                </a:lnTo>
                <a:lnTo>
                  <a:pt x="5446" y="2004"/>
                </a:lnTo>
                <a:lnTo>
                  <a:pt x="5422" y="2210"/>
                </a:lnTo>
                <a:lnTo>
                  <a:pt x="5394" y="2456"/>
                </a:lnTo>
                <a:lnTo>
                  <a:pt x="5366" y="2737"/>
                </a:lnTo>
                <a:lnTo>
                  <a:pt x="5350" y="2888"/>
                </a:lnTo>
                <a:lnTo>
                  <a:pt x="5335" y="3044"/>
                </a:lnTo>
                <a:lnTo>
                  <a:pt x="5321" y="3204"/>
                </a:lnTo>
                <a:lnTo>
                  <a:pt x="5305" y="3368"/>
                </a:lnTo>
                <a:lnTo>
                  <a:pt x="5292" y="3534"/>
                </a:lnTo>
                <a:lnTo>
                  <a:pt x="5278" y="3702"/>
                </a:lnTo>
                <a:lnTo>
                  <a:pt x="5266" y="3870"/>
                </a:lnTo>
                <a:lnTo>
                  <a:pt x="5255" y="4037"/>
                </a:lnTo>
                <a:lnTo>
                  <a:pt x="5244" y="4204"/>
                </a:lnTo>
                <a:lnTo>
                  <a:pt x="5236" y="4368"/>
                </a:lnTo>
                <a:lnTo>
                  <a:pt x="5228" y="4528"/>
                </a:lnTo>
                <a:lnTo>
                  <a:pt x="5223" y="4685"/>
                </a:lnTo>
                <a:lnTo>
                  <a:pt x="5219" y="4836"/>
                </a:lnTo>
                <a:lnTo>
                  <a:pt x="5218" y="4980"/>
                </a:lnTo>
                <a:lnTo>
                  <a:pt x="5219" y="5117"/>
                </a:lnTo>
                <a:lnTo>
                  <a:pt x="5223" y="5246"/>
                </a:lnTo>
                <a:lnTo>
                  <a:pt x="5229" y="5365"/>
                </a:lnTo>
                <a:lnTo>
                  <a:pt x="5238" y="5475"/>
                </a:lnTo>
                <a:lnTo>
                  <a:pt x="5250" y="5573"/>
                </a:lnTo>
                <a:lnTo>
                  <a:pt x="5266" y="5659"/>
                </a:lnTo>
                <a:lnTo>
                  <a:pt x="5279" y="5738"/>
                </a:lnTo>
                <a:lnTo>
                  <a:pt x="5287" y="5819"/>
                </a:lnTo>
                <a:lnTo>
                  <a:pt x="5288" y="5899"/>
                </a:lnTo>
                <a:lnTo>
                  <a:pt x="5283" y="5981"/>
                </a:lnTo>
                <a:lnTo>
                  <a:pt x="5274" y="6062"/>
                </a:lnTo>
                <a:lnTo>
                  <a:pt x="5260" y="6145"/>
                </a:lnTo>
                <a:lnTo>
                  <a:pt x="5240" y="6228"/>
                </a:lnTo>
                <a:lnTo>
                  <a:pt x="5217" y="6312"/>
                </a:lnTo>
                <a:lnTo>
                  <a:pt x="5188" y="6397"/>
                </a:lnTo>
                <a:lnTo>
                  <a:pt x="5158" y="6482"/>
                </a:lnTo>
                <a:lnTo>
                  <a:pt x="5122" y="6567"/>
                </a:lnTo>
                <a:lnTo>
                  <a:pt x="5084" y="6653"/>
                </a:lnTo>
                <a:lnTo>
                  <a:pt x="5043" y="6740"/>
                </a:lnTo>
                <a:lnTo>
                  <a:pt x="4999" y="6828"/>
                </a:lnTo>
                <a:lnTo>
                  <a:pt x="4953" y="6916"/>
                </a:lnTo>
                <a:lnTo>
                  <a:pt x="4904" y="7006"/>
                </a:lnTo>
                <a:lnTo>
                  <a:pt x="4855" y="7096"/>
                </a:lnTo>
                <a:lnTo>
                  <a:pt x="4803" y="7186"/>
                </a:lnTo>
                <a:lnTo>
                  <a:pt x="4751" y="7278"/>
                </a:lnTo>
                <a:lnTo>
                  <a:pt x="4698" y="7370"/>
                </a:lnTo>
                <a:lnTo>
                  <a:pt x="4590" y="7557"/>
                </a:lnTo>
                <a:lnTo>
                  <a:pt x="4485" y="7747"/>
                </a:lnTo>
                <a:lnTo>
                  <a:pt x="4432" y="7844"/>
                </a:lnTo>
                <a:lnTo>
                  <a:pt x="4380" y="7940"/>
                </a:lnTo>
                <a:lnTo>
                  <a:pt x="4330" y="8038"/>
                </a:lnTo>
                <a:lnTo>
                  <a:pt x="4282" y="8137"/>
                </a:lnTo>
                <a:lnTo>
                  <a:pt x="4236" y="8238"/>
                </a:lnTo>
                <a:lnTo>
                  <a:pt x="4192" y="8338"/>
                </a:lnTo>
                <a:lnTo>
                  <a:pt x="4150" y="8439"/>
                </a:lnTo>
                <a:lnTo>
                  <a:pt x="4111" y="8543"/>
                </a:lnTo>
                <a:lnTo>
                  <a:pt x="4074" y="8643"/>
                </a:lnTo>
                <a:lnTo>
                  <a:pt x="4035" y="8740"/>
                </a:lnTo>
                <a:lnTo>
                  <a:pt x="3997" y="8832"/>
                </a:lnTo>
                <a:lnTo>
                  <a:pt x="3957" y="8919"/>
                </a:lnTo>
                <a:lnTo>
                  <a:pt x="3917" y="9004"/>
                </a:lnTo>
                <a:lnTo>
                  <a:pt x="3878" y="9083"/>
                </a:lnTo>
                <a:lnTo>
                  <a:pt x="3837" y="9159"/>
                </a:lnTo>
                <a:lnTo>
                  <a:pt x="3797" y="9231"/>
                </a:lnTo>
                <a:lnTo>
                  <a:pt x="3758" y="9299"/>
                </a:lnTo>
                <a:lnTo>
                  <a:pt x="3718" y="9364"/>
                </a:lnTo>
                <a:lnTo>
                  <a:pt x="3678" y="9425"/>
                </a:lnTo>
                <a:lnTo>
                  <a:pt x="3640" y="9482"/>
                </a:lnTo>
                <a:lnTo>
                  <a:pt x="3602" y="9535"/>
                </a:lnTo>
                <a:lnTo>
                  <a:pt x="3565" y="9585"/>
                </a:lnTo>
                <a:lnTo>
                  <a:pt x="3528" y="9632"/>
                </a:lnTo>
                <a:lnTo>
                  <a:pt x="3493" y="9676"/>
                </a:lnTo>
                <a:lnTo>
                  <a:pt x="3459" y="9715"/>
                </a:lnTo>
                <a:lnTo>
                  <a:pt x="3427" y="9753"/>
                </a:lnTo>
                <a:lnTo>
                  <a:pt x="3395" y="9787"/>
                </a:lnTo>
                <a:lnTo>
                  <a:pt x="3365" y="9818"/>
                </a:lnTo>
                <a:lnTo>
                  <a:pt x="3338" y="9845"/>
                </a:lnTo>
                <a:lnTo>
                  <a:pt x="3311" y="9870"/>
                </a:lnTo>
                <a:lnTo>
                  <a:pt x="3286" y="9894"/>
                </a:lnTo>
                <a:lnTo>
                  <a:pt x="3264" y="9913"/>
                </a:lnTo>
                <a:lnTo>
                  <a:pt x="3225" y="9945"/>
                </a:lnTo>
                <a:lnTo>
                  <a:pt x="3198" y="9967"/>
                </a:lnTo>
                <a:lnTo>
                  <a:pt x="3179" y="9979"/>
                </a:lnTo>
                <a:lnTo>
                  <a:pt x="3174" y="9984"/>
                </a:lnTo>
                <a:lnTo>
                  <a:pt x="3158" y="9920"/>
                </a:lnTo>
                <a:lnTo>
                  <a:pt x="3114" y="9738"/>
                </a:lnTo>
                <a:lnTo>
                  <a:pt x="3047" y="9453"/>
                </a:lnTo>
                <a:lnTo>
                  <a:pt x="2959" y="9077"/>
                </a:lnTo>
                <a:lnTo>
                  <a:pt x="2855" y="8625"/>
                </a:lnTo>
                <a:lnTo>
                  <a:pt x="2740" y="8110"/>
                </a:lnTo>
                <a:lnTo>
                  <a:pt x="2679" y="7834"/>
                </a:lnTo>
                <a:lnTo>
                  <a:pt x="2616" y="7546"/>
                </a:lnTo>
                <a:lnTo>
                  <a:pt x="2552" y="7250"/>
                </a:lnTo>
                <a:lnTo>
                  <a:pt x="2488" y="6947"/>
                </a:lnTo>
                <a:lnTo>
                  <a:pt x="2425" y="6639"/>
                </a:lnTo>
                <a:lnTo>
                  <a:pt x="2361" y="6327"/>
                </a:lnTo>
                <a:lnTo>
                  <a:pt x="2298" y="6014"/>
                </a:lnTo>
                <a:lnTo>
                  <a:pt x="2236" y="5700"/>
                </a:lnTo>
                <a:lnTo>
                  <a:pt x="2178" y="5388"/>
                </a:lnTo>
                <a:lnTo>
                  <a:pt x="2121" y="5080"/>
                </a:lnTo>
                <a:lnTo>
                  <a:pt x="2068" y="4776"/>
                </a:lnTo>
                <a:lnTo>
                  <a:pt x="2017" y="4480"/>
                </a:lnTo>
                <a:lnTo>
                  <a:pt x="1971" y="4192"/>
                </a:lnTo>
                <a:lnTo>
                  <a:pt x="1930" y="3913"/>
                </a:lnTo>
                <a:lnTo>
                  <a:pt x="1893" y="3648"/>
                </a:lnTo>
                <a:lnTo>
                  <a:pt x="1862" y="3395"/>
                </a:lnTo>
                <a:lnTo>
                  <a:pt x="1837" y="3159"/>
                </a:lnTo>
                <a:lnTo>
                  <a:pt x="1819" y="2940"/>
                </a:lnTo>
                <a:lnTo>
                  <a:pt x="1807" y="2739"/>
                </a:lnTo>
                <a:lnTo>
                  <a:pt x="1803" y="2559"/>
                </a:lnTo>
                <a:lnTo>
                  <a:pt x="1803" y="2394"/>
                </a:lnTo>
                <a:lnTo>
                  <a:pt x="1804" y="2233"/>
                </a:lnTo>
                <a:lnTo>
                  <a:pt x="1807" y="2080"/>
                </a:lnTo>
                <a:lnTo>
                  <a:pt x="1809" y="1931"/>
                </a:lnTo>
                <a:lnTo>
                  <a:pt x="1812" y="1790"/>
                </a:lnTo>
                <a:lnTo>
                  <a:pt x="1817" y="1654"/>
                </a:lnTo>
                <a:lnTo>
                  <a:pt x="1821" y="1524"/>
                </a:lnTo>
                <a:lnTo>
                  <a:pt x="1825" y="1399"/>
                </a:lnTo>
                <a:lnTo>
                  <a:pt x="1831" y="1280"/>
                </a:lnTo>
                <a:lnTo>
                  <a:pt x="1836" y="1167"/>
                </a:lnTo>
                <a:lnTo>
                  <a:pt x="1843" y="1059"/>
                </a:lnTo>
                <a:lnTo>
                  <a:pt x="1848" y="958"/>
                </a:lnTo>
                <a:lnTo>
                  <a:pt x="1862" y="770"/>
                </a:lnTo>
                <a:lnTo>
                  <a:pt x="1875" y="603"/>
                </a:lnTo>
                <a:lnTo>
                  <a:pt x="1888" y="459"/>
                </a:lnTo>
                <a:lnTo>
                  <a:pt x="1901" y="335"/>
                </a:lnTo>
                <a:lnTo>
                  <a:pt x="1913" y="230"/>
                </a:lnTo>
                <a:lnTo>
                  <a:pt x="1924" y="146"/>
                </a:lnTo>
                <a:lnTo>
                  <a:pt x="1934" y="81"/>
                </a:lnTo>
                <a:lnTo>
                  <a:pt x="1941" y="36"/>
                </a:lnTo>
                <a:lnTo>
                  <a:pt x="1945" y="9"/>
                </a:lnTo>
                <a:lnTo>
                  <a:pt x="1948" y="0"/>
                </a:lnTo>
                <a:lnTo>
                  <a:pt x="1942" y="37"/>
                </a:lnTo>
                <a:lnTo>
                  <a:pt x="1927" y="143"/>
                </a:lnTo>
                <a:lnTo>
                  <a:pt x="1904" y="314"/>
                </a:lnTo>
                <a:lnTo>
                  <a:pt x="1874" y="541"/>
                </a:lnTo>
                <a:lnTo>
                  <a:pt x="1858" y="674"/>
                </a:lnTo>
                <a:lnTo>
                  <a:pt x="1841" y="818"/>
                </a:lnTo>
                <a:lnTo>
                  <a:pt x="1824" y="974"/>
                </a:lnTo>
                <a:lnTo>
                  <a:pt x="1807" y="1141"/>
                </a:lnTo>
                <a:lnTo>
                  <a:pt x="1789" y="1316"/>
                </a:lnTo>
                <a:lnTo>
                  <a:pt x="1772" y="1501"/>
                </a:lnTo>
                <a:lnTo>
                  <a:pt x="1756" y="1693"/>
                </a:lnTo>
                <a:lnTo>
                  <a:pt x="1741" y="1893"/>
                </a:lnTo>
                <a:lnTo>
                  <a:pt x="1725" y="2099"/>
                </a:lnTo>
                <a:lnTo>
                  <a:pt x="1712" y="2309"/>
                </a:lnTo>
                <a:lnTo>
                  <a:pt x="1700" y="2526"/>
                </a:lnTo>
                <a:lnTo>
                  <a:pt x="1690" y="2746"/>
                </a:lnTo>
                <a:lnTo>
                  <a:pt x="1682" y="2968"/>
                </a:lnTo>
                <a:lnTo>
                  <a:pt x="1677" y="3194"/>
                </a:lnTo>
                <a:lnTo>
                  <a:pt x="1673" y="3422"/>
                </a:lnTo>
                <a:lnTo>
                  <a:pt x="1673" y="3650"/>
                </a:lnTo>
                <a:lnTo>
                  <a:pt x="1677" y="3878"/>
                </a:lnTo>
                <a:lnTo>
                  <a:pt x="1682" y="4105"/>
                </a:lnTo>
                <a:lnTo>
                  <a:pt x="1692" y="4330"/>
                </a:lnTo>
                <a:lnTo>
                  <a:pt x="1705" y="4554"/>
                </a:lnTo>
                <a:lnTo>
                  <a:pt x="1723" y="4773"/>
                </a:lnTo>
                <a:lnTo>
                  <a:pt x="1745" y="4990"/>
                </a:lnTo>
                <a:lnTo>
                  <a:pt x="1771" y="5201"/>
                </a:lnTo>
                <a:lnTo>
                  <a:pt x="1803" y="5406"/>
                </a:lnTo>
                <a:lnTo>
                  <a:pt x="1868" y="5797"/>
                </a:lnTo>
                <a:lnTo>
                  <a:pt x="1928" y="6158"/>
                </a:lnTo>
                <a:lnTo>
                  <a:pt x="1984" y="6489"/>
                </a:lnTo>
                <a:lnTo>
                  <a:pt x="2035" y="6792"/>
                </a:lnTo>
                <a:lnTo>
                  <a:pt x="2080" y="7067"/>
                </a:lnTo>
                <a:lnTo>
                  <a:pt x="2122" y="7315"/>
                </a:lnTo>
                <a:lnTo>
                  <a:pt x="2158" y="7536"/>
                </a:lnTo>
                <a:lnTo>
                  <a:pt x="2191" y="7731"/>
                </a:lnTo>
                <a:lnTo>
                  <a:pt x="2219" y="7901"/>
                </a:lnTo>
                <a:lnTo>
                  <a:pt x="2243" y="8046"/>
                </a:lnTo>
                <a:lnTo>
                  <a:pt x="2264" y="8167"/>
                </a:lnTo>
                <a:lnTo>
                  <a:pt x="2280" y="8265"/>
                </a:lnTo>
                <a:lnTo>
                  <a:pt x="2292" y="8340"/>
                </a:lnTo>
                <a:lnTo>
                  <a:pt x="2301" y="8393"/>
                </a:lnTo>
                <a:lnTo>
                  <a:pt x="2307" y="8424"/>
                </a:lnTo>
                <a:lnTo>
                  <a:pt x="2308" y="8434"/>
                </a:lnTo>
                <a:lnTo>
                  <a:pt x="0" y="5244"/>
                </a:lnTo>
                <a:lnTo>
                  <a:pt x="17" y="5273"/>
                </a:lnTo>
                <a:lnTo>
                  <a:pt x="62" y="5355"/>
                </a:lnTo>
                <a:lnTo>
                  <a:pt x="134" y="5485"/>
                </a:lnTo>
                <a:lnTo>
                  <a:pt x="230" y="5657"/>
                </a:lnTo>
                <a:lnTo>
                  <a:pt x="346" y="5864"/>
                </a:lnTo>
                <a:lnTo>
                  <a:pt x="478" y="6102"/>
                </a:lnTo>
                <a:lnTo>
                  <a:pt x="623" y="6363"/>
                </a:lnTo>
                <a:lnTo>
                  <a:pt x="778" y="6641"/>
                </a:lnTo>
                <a:lnTo>
                  <a:pt x="939" y="6932"/>
                </a:lnTo>
                <a:lnTo>
                  <a:pt x="1102" y="7228"/>
                </a:lnTo>
                <a:lnTo>
                  <a:pt x="1264" y="7524"/>
                </a:lnTo>
                <a:lnTo>
                  <a:pt x="1422" y="7814"/>
                </a:lnTo>
                <a:lnTo>
                  <a:pt x="1573" y="8092"/>
                </a:lnTo>
                <a:lnTo>
                  <a:pt x="1714" y="8352"/>
                </a:lnTo>
                <a:lnTo>
                  <a:pt x="1840" y="8588"/>
                </a:lnTo>
                <a:lnTo>
                  <a:pt x="1948" y="8795"/>
                </a:lnTo>
                <a:lnTo>
                  <a:pt x="1995" y="8887"/>
                </a:lnTo>
                <a:lnTo>
                  <a:pt x="2038" y="8978"/>
                </a:lnTo>
                <a:lnTo>
                  <a:pt x="2079" y="9066"/>
                </a:lnTo>
                <a:lnTo>
                  <a:pt x="2115" y="9150"/>
                </a:lnTo>
                <a:lnTo>
                  <a:pt x="2149" y="9232"/>
                </a:lnTo>
                <a:lnTo>
                  <a:pt x="2180" y="9311"/>
                </a:lnTo>
                <a:lnTo>
                  <a:pt x="2208" y="9387"/>
                </a:lnTo>
                <a:lnTo>
                  <a:pt x="2233" y="9461"/>
                </a:lnTo>
                <a:lnTo>
                  <a:pt x="2255" y="9531"/>
                </a:lnTo>
                <a:lnTo>
                  <a:pt x="2275" y="9599"/>
                </a:lnTo>
                <a:lnTo>
                  <a:pt x="2292" y="9663"/>
                </a:lnTo>
                <a:lnTo>
                  <a:pt x="2308" y="9725"/>
                </a:lnTo>
                <a:lnTo>
                  <a:pt x="2322" y="9785"/>
                </a:lnTo>
                <a:lnTo>
                  <a:pt x="2333" y="9841"/>
                </a:lnTo>
                <a:lnTo>
                  <a:pt x="2343" y="9894"/>
                </a:lnTo>
                <a:lnTo>
                  <a:pt x="2351" y="9943"/>
                </a:lnTo>
                <a:lnTo>
                  <a:pt x="2357" y="9990"/>
                </a:lnTo>
                <a:lnTo>
                  <a:pt x="2362" y="10035"/>
                </a:lnTo>
                <a:lnTo>
                  <a:pt x="2366" y="10075"/>
                </a:lnTo>
                <a:lnTo>
                  <a:pt x="2368" y="10114"/>
                </a:lnTo>
                <a:lnTo>
                  <a:pt x="2371" y="10149"/>
                </a:lnTo>
                <a:lnTo>
                  <a:pt x="2372" y="10181"/>
                </a:lnTo>
                <a:lnTo>
                  <a:pt x="2372" y="10211"/>
                </a:lnTo>
                <a:lnTo>
                  <a:pt x="2371" y="10236"/>
                </a:lnTo>
                <a:lnTo>
                  <a:pt x="2368" y="10280"/>
                </a:lnTo>
                <a:lnTo>
                  <a:pt x="2366" y="10311"/>
                </a:lnTo>
                <a:lnTo>
                  <a:pt x="2363" y="10330"/>
                </a:lnTo>
                <a:lnTo>
                  <a:pt x="2362" y="10335"/>
                </a:lnTo>
                <a:lnTo>
                  <a:pt x="1082" y="9426"/>
                </a:lnTo>
                <a:lnTo>
                  <a:pt x="1093" y="9436"/>
                </a:lnTo>
                <a:lnTo>
                  <a:pt x="1126" y="9467"/>
                </a:lnTo>
                <a:lnTo>
                  <a:pt x="1149" y="9492"/>
                </a:lnTo>
                <a:lnTo>
                  <a:pt x="1175" y="9521"/>
                </a:lnTo>
                <a:lnTo>
                  <a:pt x="1206" y="9557"/>
                </a:lnTo>
                <a:lnTo>
                  <a:pt x="1241" y="9599"/>
                </a:lnTo>
                <a:lnTo>
                  <a:pt x="1278" y="9647"/>
                </a:lnTo>
                <a:lnTo>
                  <a:pt x="1319" y="9701"/>
                </a:lnTo>
                <a:lnTo>
                  <a:pt x="1360" y="9761"/>
                </a:lnTo>
                <a:lnTo>
                  <a:pt x="1405" y="9829"/>
                </a:lnTo>
                <a:lnTo>
                  <a:pt x="1450" y="9903"/>
                </a:lnTo>
                <a:lnTo>
                  <a:pt x="1496" y="9984"/>
                </a:lnTo>
                <a:lnTo>
                  <a:pt x="1543" y="10072"/>
                </a:lnTo>
                <a:lnTo>
                  <a:pt x="1591" y="10167"/>
                </a:lnTo>
                <a:lnTo>
                  <a:pt x="1639" y="10268"/>
                </a:lnTo>
                <a:lnTo>
                  <a:pt x="1687" y="10378"/>
                </a:lnTo>
                <a:lnTo>
                  <a:pt x="1733" y="10495"/>
                </a:lnTo>
                <a:lnTo>
                  <a:pt x="1778" y="10619"/>
                </a:lnTo>
                <a:lnTo>
                  <a:pt x="1822" y="10751"/>
                </a:lnTo>
                <a:lnTo>
                  <a:pt x="1864" y="10892"/>
                </a:lnTo>
                <a:lnTo>
                  <a:pt x="1905" y="11040"/>
                </a:lnTo>
                <a:lnTo>
                  <a:pt x="1941" y="11197"/>
                </a:lnTo>
                <a:lnTo>
                  <a:pt x="1976" y="11361"/>
                </a:lnTo>
                <a:lnTo>
                  <a:pt x="2007" y="11535"/>
                </a:lnTo>
                <a:lnTo>
                  <a:pt x="2034" y="11717"/>
                </a:lnTo>
                <a:lnTo>
                  <a:pt x="2057" y="11907"/>
                </a:lnTo>
                <a:lnTo>
                  <a:pt x="2075" y="12107"/>
                </a:lnTo>
                <a:lnTo>
                  <a:pt x="2090" y="12315"/>
                </a:lnTo>
                <a:lnTo>
                  <a:pt x="2097" y="12533"/>
                </a:lnTo>
                <a:lnTo>
                  <a:pt x="2101" y="12759"/>
                </a:lnTo>
                <a:lnTo>
                  <a:pt x="2095" y="12991"/>
                </a:lnTo>
                <a:lnTo>
                  <a:pt x="2080" y="13221"/>
                </a:lnTo>
                <a:lnTo>
                  <a:pt x="2053" y="13450"/>
                </a:lnTo>
                <a:lnTo>
                  <a:pt x="2019" y="13677"/>
                </a:lnTo>
                <a:lnTo>
                  <a:pt x="1976" y="13901"/>
                </a:lnTo>
                <a:lnTo>
                  <a:pt x="1926" y="14125"/>
                </a:lnTo>
                <a:lnTo>
                  <a:pt x="1867" y="14344"/>
                </a:lnTo>
                <a:lnTo>
                  <a:pt x="1803" y="14560"/>
                </a:lnTo>
                <a:lnTo>
                  <a:pt x="1734" y="14772"/>
                </a:lnTo>
                <a:lnTo>
                  <a:pt x="1659" y="14980"/>
                </a:lnTo>
                <a:lnTo>
                  <a:pt x="1581" y="15183"/>
                </a:lnTo>
                <a:lnTo>
                  <a:pt x="1499" y="15381"/>
                </a:lnTo>
                <a:lnTo>
                  <a:pt x="1413" y="15574"/>
                </a:lnTo>
                <a:lnTo>
                  <a:pt x="1327" y="15760"/>
                </a:lnTo>
                <a:lnTo>
                  <a:pt x="1238" y="15940"/>
                </a:lnTo>
                <a:lnTo>
                  <a:pt x="1149" y="16113"/>
                </a:lnTo>
                <a:lnTo>
                  <a:pt x="1061" y="16279"/>
                </a:lnTo>
                <a:lnTo>
                  <a:pt x="972" y="16438"/>
                </a:lnTo>
                <a:lnTo>
                  <a:pt x="885" y="16589"/>
                </a:lnTo>
                <a:lnTo>
                  <a:pt x="800" y="16731"/>
                </a:lnTo>
                <a:lnTo>
                  <a:pt x="718" y="16863"/>
                </a:lnTo>
                <a:lnTo>
                  <a:pt x="640" y="16987"/>
                </a:lnTo>
                <a:lnTo>
                  <a:pt x="565" y="17101"/>
                </a:lnTo>
                <a:lnTo>
                  <a:pt x="496" y="17204"/>
                </a:lnTo>
                <a:lnTo>
                  <a:pt x="432" y="17298"/>
                </a:lnTo>
                <a:lnTo>
                  <a:pt x="373" y="17379"/>
                </a:lnTo>
                <a:lnTo>
                  <a:pt x="323" y="17450"/>
                </a:lnTo>
                <a:lnTo>
                  <a:pt x="280" y="17508"/>
                </a:lnTo>
                <a:lnTo>
                  <a:pt x="219" y="17588"/>
                </a:lnTo>
                <a:lnTo>
                  <a:pt x="198" y="17616"/>
                </a:lnTo>
                <a:close/>
              </a:path>
            </a:pathLst>
          </a:custGeom>
          <a:solidFill>
            <a:srgbClr val="424C58"/>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 name="Oval 2">
            <a:extLst>
              <a:ext uri="{FF2B5EF4-FFF2-40B4-BE49-F238E27FC236}">
                <a16:creationId xmlns:a16="http://schemas.microsoft.com/office/drawing/2014/main" id="{4B1CFB17-886A-4628-AA78-65BF79B34CD9}"/>
              </a:ext>
            </a:extLst>
          </p:cNvPr>
          <p:cNvSpPr/>
          <p:nvPr/>
        </p:nvSpPr>
        <p:spPr>
          <a:xfrm>
            <a:off x="9027392" y="4088345"/>
            <a:ext cx="2193028" cy="98427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d-ID" sz="1600" b="0" i="0" u="none" strike="noStrike" kern="1200" cap="none" spc="0" normalizeH="0" baseline="0" noProof="0" dirty="0">
                <a:ln>
                  <a:noFill/>
                </a:ln>
                <a:solidFill>
                  <a:srgbClr val="FFFFFF"/>
                </a:solidFill>
                <a:effectLst/>
                <a:uLnTx/>
                <a:uFillTx/>
                <a:latin typeface="Inter SemiBold" panose="020B0502030000000004" pitchFamily="34" charset="0"/>
                <a:ea typeface="+mn-ea"/>
                <a:cs typeface="+mn-cs"/>
              </a:rPr>
              <a:t>Professional</a:t>
            </a:r>
          </a:p>
        </p:txBody>
      </p:sp>
      <p:sp>
        <p:nvSpPr>
          <p:cNvPr id="4" name="Oval 3">
            <a:extLst>
              <a:ext uri="{FF2B5EF4-FFF2-40B4-BE49-F238E27FC236}">
                <a16:creationId xmlns:a16="http://schemas.microsoft.com/office/drawing/2014/main" id="{EC8FDB84-D46C-406A-BA7F-55F8273DCD22}"/>
              </a:ext>
            </a:extLst>
          </p:cNvPr>
          <p:cNvSpPr/>
          <p:nvPr/>
        </p:nvSpPr>
        <p:spPr>
          <a:xfrm>
            <a:off x="8583823" y="3524979"/>
            <a:ext cx="1427842" cy="796483"/>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d-ID" sz="1100" b="0" i="0" u="none" strike="noStrike" kern="1200" cap="none" spc="0" normalizeH="0" baseline="0" noProof="0" dirty="0">
                <a:ln>
                  <a:noFill/>
                </a:ln>
                <a:solidFill>
                  <a:srgbClr val="FFFFFF"/>
                </a:solidFill>
                <a:effectLst/>
                <a:uLnTx/>
                <a:uFillTx/>
                <a:latin typeface="Inter SemiBold" panose="020B0502030000000004" pitchFamily="34" charset="0"/>
                <a:ea typeface="+mn-ea"/>
                <a:cs typeface="+mn-cs"/>
              </a:rPr>
              <a:t>Innovative</a:t>
            </a:r>
          </a:p>
        </p:txBody>
      </p:sp>
      <p:sp>
        <p:nvSpPr>
          <p:cNvPr id="5" name="Oval 4">
            <a:extLst>
              <a:ext uri="{FF2B5EF4-FFF2-40B4-BE49-F238E27FC236}">
                <a16:creationId xmlns:a16="http://schemas.microsoft.com/office/drawing/2014/main" id="{310F47FA-D58B-49B8-A3DE-C7CB61341913}"/>
              </a:ext>
            </a:extLst>
          </p:cNvPr>
          <p:cNvSpPr/>
          <p:nvPr/>
        </p:nvSpPr>
        <p:spPr>
          <a:xfrm>
            <a:off x="9801212" y="3036083"/>
            <a:ext cx="1629661" cy="1107304"/>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d-ID" sz="1600" b="0" i="0" u="none" strike="noStrike" kern="1200" cap="none" spc="0" normalizeH="0" baseline="0" noProof="0" dirty="0">
                <a:ln>
                  <a:noFill/>
                </a:ln>
                <a:solidFill>
                  <a:srgbClr val="FFFFFF"/>
                </a:solidFill>
                <a:effectLst/>
                <a:uLnTx/>
                <a:uFillTx/>
                <a:latin typeface="Inter SemiBold" panose="020B0502030000000004" pitchFamily="34" charset="0"/>
                <a:ea typeface="+mn-ea"/>
                <a:cs typeface="+mn-cs"/>
              </a:rPr>
              <a:t>Exclusive</a:t>
            </a:r>
          </a:p>
        </p:txBody>
      </p:sp>
      <p:sp>
        <p:nvSpPr>
          <p:cNvPr id="6" name="Oval 5">
            <a:extLst>
              <a:ext uri="{FF2B5EF4-FFF2-40B4-BE49-F238E27FC236}">
                <a16:creationId xmlns:a16="http://schemas.microsoft.com/office/drawing/2014/main" id="{34C744CA-6E12-497B-9437-8E6CBA335088}"/>
              </a:ext>
            </a:extLst>
          </p:cNvPr>
          <p:cNvSpPr/>
          <p:nvPr/>
        </p:nvSpPr>
        <p:spPr>
          <a:xfrm>
            <a:off x="8868742" y="1797108"/>
            <a:ext cx="2562131" cy="1468853"/>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d-ID" sz="2800" b="0" i="0" u="none" strike="noStrike" kern="1200" cap="none" spc="0" normalizeH="0" baseline="0" noProof="0" dirty="0">
                <a:ln>
                  <a:noFill/>
                </a:ln>
                <a:solidFill>
                  <a:srgbClr val="FFFFFF"/>
                </a:solidFill>
                <a:effectLst/>
                <a:uLnTx/>
                <a:uFillTx/>
                <a:latin typeface="Inter SemiBold" panose="020B0502030000000004" pitchFamily="34" charset="0"/>
                <a:ea typeface="+mn-ea"/>
                <a:cs typeface="+mn-cs"/>
              </a:rPr>
              <a:t>Creative</a:t>
            </a:r>
          </a:p>
        </p:txBody>
      </p:sp>
      <p:sp>
        <p:nvSpPr>
          <p:cNvPr id="7" name="Oval 6">
            <a:extLst>
              <a:ext uri="{FF2B5EF4-FFF2-40B4-BE49-F238E27FC236}">
                <a16:creationId xmlns:a16="http://schemas.microsoft.com/office/drawing/2014/main" id="{80C55229-009E-4CCD-9FDF-6C8494D23ECB}"/>
              </a:ext>
            </a:extLst>
          </p:cNvPr>
          <p:cNvSpPr/>
          <p:nvPr/>
        </p:nvSpPr>
        <p:spPr>
          <a:xfrm>
            <a:off x="7645418" y="2726876"/>
            <a:ext cx="1565985" cy="909807"/>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d-ID" sz="2000" b="0" i="0" u="none" strike="noStrike" kern="1200" cap="none" spc="0" normalizeH="0" baseline="0" noProof="0" dirty="0">
                <a:ln>
                  <a:noFill/>
                </a:ln>
                <a:solidFill>
                  <a:srgbClr val="FFFFFF"/>
                </a:solidFill>
                <a:effectLst/>
                <a:uLnTx/>
                <a:uFillTx/>
                <a:latin typeface="Inter SemiBold" panose="020B0502030000000004" pitchFamily="34" charset="0"/>
                <a:ea typeface="+mn-ea"/>
                <a:cs typeface="+mn-cs"/>
              </a:rPr>
              <a:t>Sales</a:t>
            </a:r>
          </a:p>
        </p:txBody>
      </p:sp>
      <p:sp>
        <p:nvSpPr>
          <p:cNvPr id="8" name="Oval 7">
            <a:extLst>
              <a:ext uri="{FF2B5EF4-FFF2-40B4-BE49-F238E27FC236}">
                <a16:creationId xmlns:a16="http://schemas.microsoft.com/office/drawing/2014/main" id="{B4C2BF0A-92FE-4156-9981-4C74B24320D5}"/>
              </a:ext>
            </a:extLst>
          </p:cNvPr>
          <p:cNvSpPr/>
          <p:nvPr/>
        </p:nvSpPr>
        <p:spPr>
          <a:xfrm>
            <a:off x="7055611" y="1190171"/>
            <a:ext cx="2155793" cy="147019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d-ID" sz="2800" b="0" i="0" u="none" strike="noStrike" kern="1200" cap="none" spc="0" normalizeH="0" baseline="0" noProof="0" dirty="0">
                <a:ln>
                  <a:noFill/>
                </a:ln>
                <a:solidFill>
                  <a:srgbClr val="FFFFFF"/>
                </a:solidFill>
                <a:effectLst/>
                <a:uLnTx/>
                <a:uFillTx/>
                <a:latin typeface="Inter SemiBold" panose="020B0502030000000004" pitchFamily="34" charset="0"/>
                <a:ea typeface="+mn-ea"/>
                <a:cs typeface="+mn-cs"/>
              </a:rPr>
              <a:t>Design</a:t>
            </a:r>
          </a:p>
        </p:txBody>
      </p:sp>
      <p:sp>
        <p:nvSpPr>
          <p:cNvPr id="9" name="Oval 8">
            <a:extLst>
              <a:ext uri="{FF2B5EF4-FFF2-40B4-BE49-F238E27FC236}">
                <a16:creationId xmlns:a16="http://schemas.microsoft.com/office/drawing/2014/main" id="{8F11E45F-8E0C-432A-B398-622C7DF25053}"/>
              </a:ext>
            </a:extLst>
          </p:cNvPr>
          <p:cNvSpPr/>
          <p:nvPr/>
        </p:nvSpPr>
        <p:spPr>
          <a:xfrm>
            <a:off x="6445566" y="2928571"/>
            <a:ext cx="1332868" cy="86906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d-ID" sz="1600" b="0" i="0" u="none" strike="noStrike" kern="1200" cap="none" spc="0" normalizeH="0" baseline="0" noProof="0" dirty="0">
                <a:ln>
                  <a:noFill/>
                </a:ln>
                <a:solidFill>
                  <a:srgbClr val="FFFFFF"/>
                </a:solidFill>
                <a:effectLst/>
                <a:uLnTx/>
                <a:uFillTx/>
                <a:latin typeface="Inter SemiBold" panose="020B0502030000000004" pitchFamily="34" charset="0"/>
                <a:ea typeface="+mn-ea"/>
                <a:cs typeface="+mn-cs"/>
              </a:rPr>
              <a:t>Work Hard</a:t>
            </a:r>
          </a:p>
        </p:txBody>
      </p:sp>
      <p:sp>
        <p:nvSpPr>
          <p:cNvPr id="10" name="Oval 9">
            <a:extLst>
              <a:ext uri="{FF2B5EF4-FFF2-40B4-BE49-F238E27FC236}">
                <a16:creationId xmlns:a16="http://schemas.microsoft.com/office/drawing/2014/main" id="{1630A803-1016-4723-9E68-B0A8F4C18F20}"/>
              </a:ext>
            </a:extLst>
          </p:cNvPr>
          <p:cNvSpPr/>
          <p:nvPr/>
        </p:nvSpPr>
        <p:spPr>
          <a:xfrm>
            <a:off x="5912689" y="1983821"/>
            <a:ext cx="1629661" cy="1107304"/>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d-ID" sz="1600" b="0" i="0" u="none" strike="noStrike" kern="1200" cap="none" spc="0" normalizeH="0" baseline="0" noProof="0" dirty="0">
                <a:ln>
                  <a:noFill/>
                </a:ln>
                <a:solidFill>
                  <a:srgbClr val="FFFFFF"/>
                </a:solidFill>
                <a:effectLst/>
                <a:uLnTx/>
                <a:uFillTx/>
                <a:latin typeface="Inter SemiBold" panose="020B0502030000000004" pitchFamily="34" charset="0"/>
                <a:ea typeface="+mn-ea"/>
                <a:cs typeface="+mn-cs"/>
              </a:rPr>
              <a:t>Business</a:t>
            </a:r>
          </a:p>
        </p:txBody>
      </p:sp>
      <p:sp>
        <p:nvSpPr>
          <p:cNvPr id="11" name="Oval 10">
            <a:extLst>
              <a:ext uri="{FF2B5EF4-FFF2-40B4-BE49-F238E27FC236}">
                <a16:creationId xmlns:a16="http://schemas.microsoft.com/office/drawing/2014/main" id="{ECBF963F-33F3-49D9-B067-00287723B40A}"/>
              </a:ext>
            </a:extLst>
          </p:cNvPr>
          <p:cNvSpPr/>
          <p:nvPr/>
        </p:nvSpPr>
        <p:spPr>
          <a:xfrm>
            <a:off x="4703934" y="2765190"/>
            <a:ext cx="1924162" cy="98427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d-ID" sz="2400" b="0" i="0" u="none" strike="noStrike" kern="1200" cap="none" spc="0" normalizeH="0" baseline="0" noProof="0" dirty="0">
                <a:ln>
                  <a:noFill/>
                </a:ln>
                <a:solidFill>
                  <a:srgbClr val="FFFFFF"/>
                </a:solidFill>
                <a:effectLst/>
                <a:uLnTx/>
                <a:uFillTx/>
                <a:latin typeface="Inter SemiBold" panose="020B0502030000000004" pitchFamily="34" charset="0"/>
                <a:ea typeface="+mn-ea"/>
                <a:cs typeface="+mn-cs"/>
              </a:rPr>
              <a:t>Target</a:t>
            </a:r>
          </a:p>
        </p:txBody>
      </p:sp>
      <p:sp>
        <p:nvSpPr>
          <p:cNvPr id="12" name="Oval 11">
            <a:extLst>
              <a:ext uri="{FF2B5EF4-FFF2-40B4-BE49-F238E27FC236}">
                <a16:creationId xmlns:a16="http://schemas.microsoft.com/office/drawing/2014/main" id="{A85698C8-B8FC-49BC-A32A-D702162D5E11}"/>
              </a:ext>
            </a:extLst>
          </p:cNvPr>
          <p:cNvSpPr/>
          <p:nvPr/>
        </p:nvSpPr>
        <p:spPr>
          <a:xfrm>
            <a:off x="5464804" y="3496254"/>
            <a:ext cx="1708443" cy="1034578"/>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d-ID" sz="1800" b="0" i="0" u="none" strike="noStrike" kern="1200" cap="none" spc="0" normalizeH="0" baseline="0" noProof="0" dirty="0">
                <a:ln>
                  <a:noFill/>
                </a:ln>
                <a:solidFill>
                  <a:srgbClr val="FFFFFF"/>
                </a:solidFill>
                <a:effectLst/>
                <a:uLnTx/>
                <a:uFillTx/>
                <a:latin typeface="Inter SemiBold" panose="020B0502030000000004" pitchFamily="34" charset="0"/>
                <a:ea typeface="+mn-ea"/>
                <a:cs typeface="+mn-cs"/>
              </a:rPr>
              <a:t>Website</a:t>
            </a:r>
          </a:p>
        </p:txBody>
      </p:sp>
      <p:sp>
        <p:nvSpPr>
          <p:cNvPr id="13" name="Oval 12">
            <a:extLst>
              <a:ext uri="{FF2B5EF4-FFF2-40B4-BE49-F238E27FC236}">
                <a16:creationId xmlns:a16="http://schemas.microsoft.com/office/drawing/2014/main" id="{C9F81DB2-F3C2-449B-B493-7CFF459D09CB}"/>
              </a:ext>
            </a:extLst>
          </p:cNvPr>
          <p:cNvSpPr/>
          <p:nvPr/>
        </p:nvSpPr>
        <p:spPr>
          <a:xfrm>
            <a:off x="6983705" y="3814570"/>
            <a:ext cx="1013682" cy="63231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d-ID" sz="1100" b="0" i="0" u="none" strike="noStrike" kern="1200" cap="none" spc="0" normalizeH="0" baseline="0" noProof="0" dirty="0">
                <a:ln>
                  <a:noFill/>
                </a:ln>
                <a:solidFill>
                  <a:srgbClr val="FFFFFF"/>
                </a:solidFill>
                <a:effectLst/>
                <a:uLnTx/>
                <a:uFillTx/>
                <a:latin typeface="Inter SemiBold" panose="020B0502030000000004" pitchFamily="34" charset="0"/>
                <a:ea typeface="+mn-ea"/>
                <a:cs typeface="+mn-cs"/>
              </a:rPr>
              <a:t>Online</a:t>
            </a:r>
          </a:p>
        </p:txBody>
      </p:sp>
      <p:sp>
        <p:nvSpPr>
          <p:cNvPr id="14" name="Oval 13">
            <a:extLst>
              <a:ext uri="{FF2B5EF4-FFF2-40B4-BE49-F238E27FC236}">
                <a16:creationId xmlns:a16="http://schemas.microsoft.com/office/drawing/2014/main" id="{DA5BE48E-16F3-4207-A1B3-7ACDF03BBF21}"/>
              </a:ext>
            </a:extLst>
          </p:cNvPr>
          <p:cNvSpPr/>
          <p:nvPr/>
        </p:nvSpPr>
        <p:spPr>
          <a:xfrm>
            <a:off x="4622720" y="3670431"/>
            <a:ext cx="1013682" cy="632311"/>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d-ID" sz="1000" b="0" i="0" u="none" strike="noStrike" kern="1200" cap="none" spc="0" normalizeH="0" baseline="0" noProof="0" dirty="0">
                <a:ln>
                  <a:noFill/>
                </a:ln>
                <a:solidFill>
                  <a:srgbClr val="FFFFFF"/>
                </a:solidFill>
                <a:effectLst/>
                <a:uLnTx/>
                <a:uFillTx/>
                <a:latin typeface="Inter SemiBold" panose="020B0502030000000004" pitchFamily="34" charset="0"/>
                <a:ea typeface="+mn-ea"/>
                <a:cs typeface="+mn-cs"/>
              </a:rPr>
              <a:t>Concept</a:t>
            </a:r>
          </a:p>
        </p:txBody>
      </p:sp>
      <p:sp>
        <p:nvSpPr>
          <p:cNvPr id="15" name="Title 16">
            <a:extLst>
              <a:ext uri="{FF2B5EF4-FFF2-40B4-BE49-F238E27FC236}">
                <a16:creationId xmlns:a16="http://schemas.microsoft.com/office/drawing/2014/main" id="{0588F92B-E575-4632-82DB-630A3CE5F0E8}"/>
              </a:ext>
            </a:extLst>
          </p:cNvPr>
          <p:cNvSpPr txBox="1">
            <a:spLocks/>
          </p:cNvSpPr>
          <p:nvPr/>
        </p:nvSpPr>
        <p:spPr>
          <a:xfrm>
            <a:off x="571500" y="2005079"/>
            <a:ext cx="3434443" cy="1416691"/>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4400" b="0" i="0" u="none" strike="noStrike" kern="1200" cap="none" spc="0" normalizeH="0" baseline="0" noProof="0">
                <a:ln>
                  <a:noFill/>
                </a:ln>
                <a:solidFill>
                  <a:srgbClr val="000000"/>
                </a:solidFill>
                <a:effectLst/>
                <a:uLnTx/>
                <a:uFillTx/>
                <a:latin typeface="等线 Light" panose="020F0302020204030204"/>
                <a:ea typeface="+mj-ea"/>
                <a:cs typeface="+mj-cs"/>
              </a:rPr>
              <a:t>Special Tree Diagram</a:t>
            </a:r>
            <a:endParaRPr kumimoji="0" lang="en-US" sz="4400" b="0" i="0" u="none" strike="noStrike" kern="1200" cap="none" spc="0" normalizeH="0" baseline="0" noProof="0" dirty="0">
              <a:ln>
                <a:noFill/>
              </a:ln>
              <a:solidFill>
                <a:srgbClr val="000000"/>
              </a:solidFill>
              <a:effectLst/>
              <a:uLnTx/>
              <a:uFillTx/>
              <a:latin typeface="等线 Light" panose="020F0302020204030204"/>
              <a:ea typeface="+mj-ea"/>
              <a:cs typeface="+mj-cs"/>
            </a:endParaRPr>
          </a:p>
        </p:txBody>
      </p:sp>
      <p:sp>
        <p:nvSpPr>
          <p:cNvPr id="16" name="Text Placeholder 17">
            <a:extLst>
              <a:ext uri="{FF2B5EF4-FFF2-40B4-BE49-F238E27FC236}">
                <a16:creationId xmlns:a16="http://schemas.microsoft.com/office/drawing/2014/main" id="{DE8FD7C8-0A70-443D-8424-6BB179B02960}"/>
              </a:ext>
            </a:extLst>
          </p:cNvPr>
          <p:cNvSpPr txBox="1">
            <a:spLocks/>
          </p:cNvSpPr>
          <p:nvPr/>
        </p:nvSpPr>
        <p:spPr>
          <a:xfrm>
            <a:off x="571500" y="1711846"/>
            <a:ext cx="3434443" cy="39052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000" b="0" i="0" u="none" strike="noStrike" kern="1200" cap="none" spc="0" normalizeH="0" baseline="0" noProof="0">
                <a:ln>
                  <a:noFill/>
                </a:ln>
                <a:solidFill>
                  <a:srgbClr val="000000"/>
                </a:solidFill>
                <a:effectLst/>
                <a:uLnTx/>
                <a:uFillTx/>
                <a:latin typeface="等线" panose="020F0502020204030204"/>
                <a:ea typeface="+mn-ea"/>
                <a:cs typeface="+mn-cs"/>
              </a:rPr>
              <a:t>Your Text Goes Here</a:t>
            </a:r>
            <a:endParaRPr kumimoji="0" lang="en-US" sz="2000"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grpSp>
        <p:nvGrpSpPr>
          <p:cNvPr id="17" name="Group 19">
            <a:extLst>
              <a:ext uri="{FF2B5EF4-FFF2-40B4-BE49-F238E27FC236}">
                <a16:creationId xmlns:a16="http://schemas.microsoft.com/office/drawing/2014/main" id="{EBF3CB12-E5A4-40A5-A21E-549721C945A0}"/>
              </a:ext>
            </a:extLst>
          </p:cNvPr>
          <p:cNvGrpSpPr/>
          <p:nvPr/>
        </p:nvGrpSpPr>
        <p:grpSpPr>
          <a:xfrm>
            <a:off x="706895" y="3575301"/>
            <a:ext cx="512690" cy="131061"/>
            <a:chOff x="795585" y="3421099"/>
            <a:chExt cx="1066015" cy="272508"/>
          </a:xfrm>
        </p:grpSpPr>
        <p:sp>
          <p:nvSpPr>
            <p:cNvPr id="18" name="Freeform 5">
              <a:extLst>
                <a:ext uri="{FF2B5EF4-FFF2-40B4-BE49-F238E27FC236}">
                  <a16:creationId xmlns:a16="http://schemas.microsoft.com/office/drawing/2014/main" id="{5DD956BD-8049-42EE-AF1C-F6D1B208C879}"/>
                </a:ext>
              </a:extLst>
            </p:cNvPr>
            <p:cNvSpPr>
              <a:spLocks/>
            </p:cNvSpPr>
            <p:nvPr/>
          </p:nvSpPr>
          <p:spPr bwMode="auto">
            <a:xfrm>
              <a:off x="795585" y="3421099"/>
              <a:ext cx="263057" cy="272508"/>
            </a:xfrm>
            <a:custGeom>
              <a:avLst/>
              <a:gdLst>
                <a:gd name="T0" fmla="*/ 7371 w 17675"/>
                <a:gd name="T1" fmla="*/ 1125 h 18310"/>
                <a:gd name="T2" fmla="*/ 5959 w 17675"/>
                <a:gd name="T3" fmla="*/ 593 h 18310"/>
                <a:gd name="T4" fmla="*/ 4735 w 17675"/>
                <a:gd name="T5" fmla="*/ 240 h 18310"/>
                <a:gd name="T6" fmla="*/ 3627 w 17675"/>
                <a:gd name="T7" fmla="*/ 54 h 18310"/>
                <a:gd name="T8" fmla="*/ 2806 w 17675"/>
                <a:gd name="T9" fmla="*/ 7 h 18310"/>
                <a:gd name="T10" fmla="*/ 2454 w 17675"/>
                <a:gd name="T11" fmla="*/ 85 h 18310"/>
                <a:gd name="T12" fmla="*/ 2132 w 17675"/>
                <a:gd name="T13" fmla="*/ 262 h 18310"/>
                <a:gd name="T14" fmla="*/ 1838 w 17675"/>
                <a:gd name="T15" fmla="*/ 533 h 18310"/>
                <a:gd name="T16" fmla="*/ 1454 w 17675"/>
                <a:gd name="T17" fmla="*/ 1111 h 18310"/>
                <a:gd name="T18" fmla="*/ 1261 w 17675"/>
                <a:gd name="T19" fmla="*/ 1545 h 18310"/>
                <a:gd name="T20" fmla="*/ 1008 w 17675"/>
                <a:gd name="T21" fmla="*/ 2315 h 18310"/>
                <a:gd name="T22" fmla="*/ 836 w 17675"/>
                <a:gd name="T23" fmla="*/ 2906 h 18310"/>
                <a:gd name="T24" fmla="*/ 683 w 17675"/>
                <a:gd name="T25" fmla="*/ 3519 h 18310"/>
                <a:gd name="T26" fmla="*/ 506 w 17675"/>
                <a:gd name="T27" fmla="*/ 4330 h 18310"/>
                <a:gd name="T28" fmla="*/ 356 w 17675"/>
                <a:gd name="T29" fmla="*/ 5177 h 18310"/>
                <a:gd name="T30" fmla="*/ 199 w 17675"/>
                <a:gd name="T31" fmla="*/ 6352 h 18310"/>
                <a:gd name="T32" fmla="*/ 65 w 17675"/>
                <a:gd name="T33" fmla="*/ 7805 h 18310"/>
                <a:gd name="T34" fmla="*/ 1 w 17675"/>
                <a:gd name="T35" fmla="*/ 9354 h 18310"/>
                <a:gd name="T36" fmla="*/ 54 w 17675"/>
                <a:gd name="T37" fmla="*/ 10490 h 18310"/>
                <a:gd name="T38" fmla="*/ 149 w 17675"/>
                <a:gd name="T39" fmla="*/ 11811 h 18310"/>
                <a:gd name="T40" fmla="*/ 298 w 17675"/>
                <a:gd name="T41" fmla="*/ 13066 h 18310"/>
                <a:gd name="T42" fmla="*/ 650 w 17675"/>
                <a:gd name="T43" fmla="*/ 14979 h 18310"/>
                <a:gd name="T44" fmla="*/ 991 w 17675"/>
                <a:gd name="T45" fmla="*/ 16266 h 18310"/>
                <a:gd name="T46" fmla="*/ 1332 w 17675"/>
                <a:gd name="T47" fmla="*/ 17156 h 18310"/>
                <a:gd name="T48" fmla="*/ 1598 w 17675"/>
                <a:gd name="T49" fmla="*/ 17614 h 18310"/>
                <a:gd name="T50" fmla="*/ 1917 w 17675"/>
                <a:gd name="T51" fmla="*/ 17970 h 18310"/>
                <a:gd name="T52" fmla="*/ 2349 w 17675"/>
                <a:gd name="T53" fmla="*/ 18232 h 18310"/>
                <a:gd name="T54" fmla="*/ 2745 w 17675"/>
                <a:gd name="T55" fmla="*/ 18309 h 18310"/>
                <a:gd name="T56" fmla="*/ 3384 w 17675"/>
                <a:gd name="T57" fmla="*/ 18287 h 18310"/>
                <a:gd name="T58" fmla="*/ 4157 w 17675"/>
                <a:gd name="T59" fmla="*/ 18192 h 18310"/>
                <a:gd name="T60" fmla="*/ 5006 w 17675"/>
                <a:gd name="T61" fmla="*/ 18009 h 18310"/>
                <a:gd name="T62" fmla="*/ 6483 w 17675"/>
                <a:gd name="T63" fmla="*/ 17544 h 18310"/>
                <a:gd name="T64" fmla="*/ 7200 w 17675"/>
                <a:gd name="T65" fmla="*/ 17277 h 18310"/>
                <a:gd name="T66" fmla="*/ 8295 w 17675"/>
                <a:gd name="T67" fmla="*/ 16841 h 18310"/>
                <a:gd name="T68" fmla="*/ 8872 w 17675"/>
                <a:gd name="T69" fmla="*/ 16605 h 18310"/>
                <a:gd name="T70" fmla="*/ 9346 w 17675"/>
                <a:gd name="T71" fmla="*/ 16391 h 18310"/>
                <a:gd name="T72" fmla="*/ 10057 w 17675"/>
                <a:gd name="T73" fmla="*/ 16048 h 18310"/>
                <a:gd name="T74" fmla="*/ 10903 w 17675"/>
                <a:gd name="T75" fmla="*/ 15584 h 18310"/>
                <a:gd name="T76" fmla="*/ 11867 w 17675"/>
                <a:gd name="T77" fmla="*/ 14997 h 18310"/>
                <a:gd name="T78" fmla="*/ 12590 w 17675"/>
                <a:gd name="T79" fmla="*/ 14528 h 18310"/>
                <a:gd name="T80" fmla="*/ 13212 w 17675"/>
                <a:gd name="T81" fmla="*/ 14088 h 18310"/>
                <a:gd name="T82" fmla="*/ 14481 w 17675"/>
                <a:gd name="T83" fmla="*/ 13112 h 18310"/>
                <a:gd name="T84" fmla="*/ 14802 w 17675"/>
                <a:gd name="T85" fmla="*/ 12854 h 18310"/>
                <a:gd name="T86" fmla="*/ 15451 w 17675"/>
                <a:gd name="T87" fmla="*/ 12291 h 18310"/>
                <a:gd name="T88" fmla="*/ 15927 w 17675"/>
                <a:gd name="T89" fmla="*/ 11853 h 18310"/>
                <a:gd name="T90" fmla="*/ 16443 w 17675"/>
                <a:gd name="T91" fmla="*/ 11335 h 18310"/>
                <a:gd name="T92" fmla="*/ 16856 w 17675"/>
                <a:gd name="T93" fmla="*/ 10896 h 18310"/>
                <a:gd name="T94" fmla="*/ 17295 w 17675"/>
                <a:gd name="T95" fmla="*/ 10296 h 18310"/>
                <a:gd name="T96" fmla="*/ 17543 w 17675"/>
                <a:gd name="T97" fmla="*/ 9805 h 18310"/>
                <a:gd name="T98" fmla="*/ 17675 w 17675"/>
                <a:gd name="T99" fmla="*/ 9283 h 18310"/>
                <a:gd name="T100" fmla="*/ 17609 w 17675"/>
                <a:gd name="T101" fmla="*/ 8895 h 18310"/>
                <a:gd name="T102" fmla="*/ 17328 w 17675"/>
                <a:gd name="T103" fmla="*/ 8254 h 18310"/>
                <a:gd name="T104" fmla="*/ 16958 w 17675"/>
                <a:gd name="T105" fmla="*/ 7727 h 18310"/>
                <a:gd name="T106" fmla="*/ 16207 w 17675"/>
                <a:gd name="T107" fmla="*/ 6899 h 18310"/>
                <a:gd name="T108" fmla="*/ 14144 w 17675"/>
                <a:gd name="T109" fmla="*/ 5052 h 18310"/>
                <a:gd name="T110" fmla="*/ 13172 w 17675"/>
                <a:gd name="T111" fmla="*/ 4299 h 18310"/>
                <a:gd name="T112" fmla="*/ 12177 w 17675"/>
                <a:gd name="T113" fmla="*/ 3589 h 18310"/>
                <a:gd name="T114" fmla="*/ 11125 w 17675"/>
                <a:gd name="T115" fmla="*/ 2920 h 18310"/>
                <a:gd name="T116" fmla="*/ 10015 w 17675"/>
                <a:gd name="T117" fmla="*/ 2305 h 18310"/>
                <a:gd name="T118" fmla="*/ 9091 w 17675"/>
                <a:gd name="T119" fmla="*/ 1855 h 18310"/>
                <a:gd name="T120" fmla="*/ 8300 w 17675"/>
                <a:gd name="T121" fmla="*/ 1511 h 18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7675" h="18310">
                  <a:moveTo>
                    <a:pt x="8078" y="1426"/>
                  </a:moveTo>
                  <a:lnTo>
                    <a:pt x="8047" y="1409"/>
                  </a:lnTo>
                  <a:lnTo>
                    <a:pt x="8014" y="1392"/>
                  </a:lnTo>
                  <a:lnTo>
                    <a:pt x="7978" y="1376"/>
                  </a:lnTo>
                  <a:lnTo>
                    <a:pt x="7940" y="1360"/>
                  </a:lnTo>
                  <a:lnTo>
                    <a:pt x="7901" y="1345"/>
                  </a:lnTo>
                  <a:lnTo>
                    <a:pt x="7862" y="1330"/>
                  </a:lnTo>
                  <a:lnTo>
                    <a:pt x="7825" y="1315"/>
                  </a:lnTo>
                  <a:lnTo>
                    <a:pt x="7791" y="1301"/>
                  </a:lnTo>
                  <a:lnTo>
                    <a:pt x="7583" y="1213"/>
                  </a:lnTo>
                  <a:lnTo>
                    <a:pt x="7371" y="1125"/>
                  </a:lnTo>
                  <a:lnTo>
                    <a:pt x="7158" y="1038"/>
                  </a:lnTo>
                  <a:lnTo>
                    <a:pt x="6943" y="953"/>
                  </a:lnTo>
                  <a:lnTo>
                    <a:pt x="6836" y="911"/>
                  </a:lnTo>
                  <a:lnTo>
                    <a:pt x="6727" y="869"/>
                  </a:lnTo>
                  <a:lnTo>
                    <a:pt x="6618" y="827"/>
                  </a:lnTo>
                  <a:lnTo>
                    <a:pt x="6508" y="787"/>
                  </a:lnTo>
                  <a:lnTo>
                    <a:pt x="6400" y="747"/>
                  </a:lnTo>
                  <a:lnTo>
                    <a:pt x="6290" y="707"/>
                  </a:lnTo>
                  <a:lnTo>
                    <a:pt x="6180" y="668"/>
                  </a:lnTo>
                  <a:lnTo>
                    <a:pt x="6070" y="631"/>
                  </a:lnTo>
                  <a:lnTo>
                    <a:pt x="5959" y="593"/>
                  </a:lnTo>
                  <a:lnTo>
                    <a:pt x="5848" y="556"/>
                  </a:lnTo>
                  <a:lnTo>
                    <a:pt x="5737" y="521"/>
                  </a:lnTo>
                  <a:lnTo>
                    <a:pt x="5626" y="485"/>
                  </a:lnTo>
                  <a:lnTo>
                    <a:pt x="5515" y="451"/>
                  </a:lnTo>
                  <a:lnTo>
                    <a:pt x="5404" y="418"/>
                  </a:lnTo>
                  <a:lnTo>
                    <a:pt x="5292" y="386"/>
                  </a:lnTo>
                  <a:lnTo>
                    <a:pt x="5181" y="355"/>
                  </a:lnTo>
                  <a:lnTo>
                    <a:pt x="5069" y="324"/>
                  </a:lnTo>
                  <a:lnTo>
                    <a:pt x="4958" y="295"/>
                  </a:lnTo>
                  <a:lnTo>
                    <a:pt x="4846" y="267"/>
                  </a:lnTo>
                  <a:lnTo>
                    <a:pt x="4735" y="240"/>
                  </a:lnTo>
                  <a:lnTo>
                    <a:pt x="4623" y="215"/>
                  </a:lnTo>
                  <a:lnTo>
                    <a:pt x="4511" y="191"/>
                  </a:lnTo>
                  <a:lnTo>
                    <a:pt x="4400" y="168"/>
                  </a:lnTo>
                  <a:lnTo>
                    <a:pt x="4287" y="146"/>
                  </a:lnTo>
                  <a:lnTo>
                    <a:pt x="4234" y="136"/>
                  </a:lnTo>
                  <a:lnTo>
                    <a:pt x="4162" y="125"/>
                  </a:lnTo>
                  <a:lnTo>
                    <a:pt x="4075" y="112"/>
                  </a:lnTo>
                  <a:lnTo>
                    <a:pt x="3975" y="98"/>
                  </a:lnTo>
                  <a:lnTo>
                    <a:pt x="3865" y="84"/>
                  </a:lnTo>
                  <a:lnTo>
                    <a:pt x="3749" y="69"/>
                  </a:lnTo>
                  <a:lnTo>
                    <a:pt x="3627" y="54"/>
                  </a:lnTo>
                  <a:lnTo>
                    <a:pt x="3504" y="40"/>
                  </a:lnTo>
                  <a:lnTo>
                    <a:pt x="3381" y="27"/>
                  </a:lnTo>
                  <a:lnTo>
                    <a:pt x="3262" y="17"/>
                  </a:lnTo>
                  <a:lnTo>
                    <a:pt x="3148" y="8"/>
                  </a:lnTo>
                  <a:lnTo>
                    <a:pt x="3043" y="2"/>
                  </a:lnTo>
                  <a:lnTo>
                    <a:pt x="2994" y="1"/>
                  </a:lnTo>
                  <a:lnTo>
                    <a:pt x="2949" y="0"/>
                  </a:lnTo>
                  <a:lnTo>
                    <a:pt x="2908" y="0"/>
                  </a:lnTo>
                  <a:lnTo>
                    <a:pt x="2869" y="1"/>
                  </a:lnTo>
                  <a:lnTo>
                    <a:pt x="2834" y="3"/>
                  </a:lnTo>
                  <a:lnTo>
                    <a:pt x="2806" y="7"/>
                  </a:lnTo>
                  <a:lnTo>
                    <a:pt x="2780" y="11"/>
                  </a:lnTo>
                  <a:lnTo>
                    <a:pt x="2761" y="17"/>
                  </a:lnTo>
                  <a:lnTo>
                    <a:pt x="2724" y="19"/>
                  </a:lnTo>
                  <a:lnTo>
                    <a:pt x="2689" y="24"/>
                  </a:lnTo>
                  <a:lnTo>
                    <a:pt x="2655" y="29"/>
                  </a:lnTo>
                  <a:lnTo>
                    <a:pt x="2620" y="35"/>
                  </a:lnTo>
                  <a:lnTo>
                    <a:pt x="2586" y="43"/>
                  </a:lnTo>
                  <a:lnTo>
                    <a:pt x="2552" y="53"/>
                  </a:lnTo>
                  <a:lnTo>
                    <a:pt x="2518" y="63"/>
                  </a:lnTo>
                  <a:lnTo>
                    <a:pt x="2486" y="73"/>
                  </a:lnTo>
                  <a:lnTo>
                    <a:pt x="2454" y="85"/>
                  </a:lnTo>
                  <a:lnTo>
                    <a:pt x="2423" y="97"/>
                  </a:lnTo>
                  <a:lnTo>
                    <a:pt x="2393" y="111"/>
                  </a:lnTo>
                  <a:lnTo>
                    <a:pt x="2363" y="125"/>
                  </a:lnTo>
                  <a:lnTo>
                    <a:pt x="2333" y="138"/>
                  </a:lnTo>
                  <a:lnTo>
                    <a:pt x="2306" y="153"/>
                  </a:lnTo>
                  <a:lnTo>
                    <a:pt x="2278" y="169"/>
                  </a:lnTo>
                  <a:lnTo>
                    <a:pt x="2252" y="184"/>
                  </a:lnTo>
                  <a:lnTo>
                    <a:pt x="2218" y="205"/>
                  </a:lnTo>
                  <a:lnTo>
                    <a:pt x="2187" y="224"/>
                  </a:lnTo>
                  <a:lnTo>
                    <a:pt x="2158" y="244"/>
                  </a:lnTo>
                  <a:lnTo>
                    <a:pt x="2132" y="262"/>
                  </a:lnTo>
                  <a:lnTo>
                    <a:pt x="2108" y="280"/>
                  </a:lnTo>
                  <a:lnTo>
                    <a:pt x="2086" y="298"/>
                  </a:lnTo>
                  <a:lnTo>
                    <a:pt x="2065" y="315"/>
                  </a:lnTo>
                  <a:lnTo>
                    <a:pt x="2046" y="332"/>
                  </a:lnTo>
                  <a:lnTo>
                    <a:pt x="2007" y="367"/>
                  </a:lnTo>
                  <a:lnTo>
                    <a:pt x="1968" y="405"/>
                  </a:lnTo>
                  <a:lnTo>
                    <a:pt x="1927" y="446"/>
                  </a:lnTo>
                  <a:lnTo>
                    <a:pt x="1878" y="491"/>
                  </a:lnTo>
                  <a:lnTo>
                    <a:pt x="1866" y="504"/>
                  </a:lnTo>
                  <a:lnTo>
                    <a:pt x="1853" y="517"/>
                  </a:lnTo>
                  <a:lnTo>
                    <a:pt x="1838" y="533"/>
                  </a:lnTo>
                  <a:lnTo>
                    <a:pt x="1823" y="550"/>
                  </a:lnTo>
                  <a:lnTo>
                    <a:pt x="1790" y="592"/>
                  </a:lnTo>
                  <a:lnTo>
                    <a:pt x="1754" y="637"/>
                  </a:lnTo>
                  <a:lnTo>
                    <a:pt x="1717" y="689"/>
                  </a:lnTo>
                  <a:lnTo>
                    <a:pt x="1679" y="744"/>
                  </a:lnTo>
                  <a:lnTo>
                    <a:pt x="1639" y="802"/>
                  </a:lnTo>
                  <a:lnTo>
                    <a:pt x="1600" y="863"/>
                  </a:lnTo>
                  <a:lnTo>
                    <a:pt x="1561" y="926"/>
                  </a:lnTo>
                  <a:lnTo>
                    <a:pt x="1524" y="988"/>
                  </a:lnTo>
                  <a:lnTo>
                    <a:pt x="1488" y="1051"/>
                  </a:lnTo>
                  <a:lnTo>
                    <a:pt x="1454" y="1111"/>
                  </a:lnTo>
                  <a:lnTo>
                    <a:pt x="1425" y="1170"/>
                  </a:lnTo>
                  <a:lnTo>
                    <a:pt x="1398" y="1226"/>
                  </a:lnTo>
                  <a:lnTo>
                    <a:pt x="1387" y="1252"/>
                  </a:lnTo>
                  <a:lnTo>
                    <a:pt x="1377" y="1277"/>
                  </a:lnTo>
                  <a:lnTo>
                    <a:pt x="1367" y="1301"/>
                  </a:lnTo>
                  <a:lnTo>
                    <a:pt x="1359" y="1323"/>
                  </a:lnTo>
                  <a:lnTo>
                    <a:pt x="1340" y="1362"/>
                  </a:lnTo>
                  <a:lnTo>
                    <a:pt x="1320" y="1404"/>
                  </a:lnTo>
                  <a:lnTo>
                    <a:pt x="1300" y="1449"/>
                  </a:lnTo>
                  <a:lnTo>
                    <a:pt x="1280" y="1496"/>
                  </a:lnTo>
                  <a:lnTo>
                    <a:pt x="1261" y="1545"/>
                  </a:lnTo>
                  <a:lnTo>
                    <a:pt x="1241" y="1596"/>
                  </a:lnTo>
                  <a:lnTo>
                    <a:pt x="1222" y="1648"/>
                  </a:lnTo>
                  <a:lnTo>
                    <a:pt x="1204" y="1702"/>
                  </a:lnTo>
                  <a:lnTo>
                    <a:pt x="1167" y="1808"/>
                  </a:lnTo>
                  <a:lnTo>
                    <a:pt x="1133" y="1915"/>
                  </a:lnTo>
                  <a:lnTo>
                    <a:pt x="1101" y="2016"/>
                  </a:lnTo>
                  <a:lnTo>
                    <a:pt x="1071" y="2110"/>
                  </a:lnTo>
                  <a:lnTo>
                    <a:pt x="1055" y="2162"/>
                  </a:lnTo>
                  <a:lnTo>
                    <a:pt x="1039" y="2213"/>
                  </a:lnTo>
                  <a:lnTo>
                    <a:pt x="1023" y="2264"/>
                  </a:lnTo>
                  <a:lnTo>
                    <a:pt x="1008" y="2315"/>
                  </a:lnTo>
                  <a:lnTo>
                    <a:pt x="992" y="2367"/>
                  </a:lnTo>
                  <a:lnTo>
                    <a:pt x="976" y="2418"/>
                  </a:lnTo>
                  <a:lnTo>
                    <a:pt x="960" y="2471"/>
                  </a:lnTo>
                  <a:lnTo>
                    <a:pt x="944" y="2523"/>
                  </a:lnTo>
                  <a:lnTo>
                    <a:pt x="929" y="2573"/>
                  </a:lnTo>
                  <a:lnTo>
                    <a:pt x="913" y="2626"/>
                  </a:lnTo>
                  <a:lnTo>
                    <a:pt x="896" y="2682"/>
                  </a:lnTo>
                  <a:lnTo>
                    <a:pt x="880" y="2740"/>
                  </a:lnTo>
                  <a:lnTo>
                    <a:pt x="864" y="2797"/>
                  </a:lnTo>
                  <a:lnTo>
                    <a:pt x="849" y="2852"/>
                  </a:lnTo>
                  <a:lnTo>
                    <a:pt x="836" y="2906"/>
                  </a:lnTo>
                  <a:lnTo>
                    <a:pt x="827" y="2955"/>
                  </a:lnTo>
                  <a:lnTo>
                    <a:pt x="818" y="2977"/>
                  </a:lnTo>
                  <a:lnTo>
                    <a:pt x="809" y="3003"/>
                  </a:lnTo>
                  <a:lnTo>
                    <a:pt x="800" y="3033"/>
                  </a:lnTo>
                  <a:lnTo>
                    <a:pt x="790" y="3067"/>
                  </a:lnTo>
                  <a:lnTo>
                    <a:pt x="770" y="3142"/>
                  </a:lnTo>
                  <a:lnTo>
                    <a:pt x="749" y="3225"/>
                  </a:lnTo>
                  <a:lnTo>
                    <a:pt x="730" y="3310"/>
                  </a:lnTo>
                  <a:lnTo>
                    <a:pt x="712" y="3390"/>
                  </a:lnTo>
                  <a:lnTo>
                    <a:pt x="696" y="3461"/>
                  </a:lnTo>
                  <a:lnTo>
                    <a:pt x="683" y="3519"/>
                  </a:lnTo>
                  <a:lnTo>
                    <a:pt x="666" y="3593"/>
                  </a:lnTo>
                  <a:lnTo>
                    <a:pt x="649" y="3667"/>
                  </a:lnTo>
                  <a:lnTo>
                    <a:pt x="633" y="3740"/>
                  </a:lnTo>
                  <a:lnTo>
                    <a:pt x="617" y="3813"/>
                  </a:lnTo>
                  <a:lnTo>
                    <a:pt x="601" y="3886"/>
                  </a:lnTo>
                  <a:lnTo>
                    <a:pt x="585" y="3960"/>
                  </a:lnTo>
                  <a:lnTo>
                    <a:pt x="569" y="4033"/>
                  </a:lnTo>
                  <a:lnTo>
                    <a:pt x="553" y="4108"/>
                  </a:lnTo>
                  <a:lnTo>
                    <a:pt x="537" y="4182"/>
                  </a:lnTo>
                  <a:lnTo>
                    <a:pt x="522" y="4256"/>
                  </a:lnTo>
                  <a:lnTo>
                    <a:pt x="506" y="4330"/>
                  </a:lnTo>
                  <a:lnTo>
                    <a:pt x="491" y="4406"/>
                  </a:lnTo>
                  <a:lnTo>
                    <a:pt x="476" y="4483"/>
                  </a:lnTo>
                  <a:lnTo>
                    <a:pt x="461" y="4559"/>
                  </a:lnTo>
                  <a:lnTo>
                    <a:pt x="447" y="4636"/>
                  </a:lnTo>
                  <a:lnTo>
                    <a:pt x="433" y="4714"/>
                  </a:lnTo>
                  <a:lnTo>
                    <a:pt x="419" y="4791"/>
                  </a:lnTo>
                  <a:lnTo>
                    <a:pt x="405" y="4868"/>
                  </a:lnTo>
                  <a:lnTo>
                    <a:pt x="392" y="4946"/>
                  </a:lnTo>
                  <a:lnTo>
                    <a:pt x="380" y="5024"/>
                  </a:lnTo>
                  <a:lnTo>
                    <a:pt x="367" y="5100"/>
                  </a:lnTo>
                  <a:lnTo>
                    <a:pt x="356" y="5177"/>
                  </a:lnTo>
                  <a:lnTo>
                    <a:pt x="346" y="5253"/>
                  </a:lnTo>
                  <a:lnTo>
                    <a:pt x="335" y="5328"/>
                  </a:lnTo>
                  <a:lnTo>
                    <a:pt x="320" y="5442"/>
                  </a:lnTo>
                  <a:lnTo>
                    <a:pt x="304" y="5555"/>
                  </a:lnTo>
                  <a:lnTo>
                    <a:pt x="289" y="5668"/>
                  </a:lnTo>
                  <a:lnTo>
                    <a:pt x="275" y="5781"/>
                  </a:lnTo>
                  <a:lnTo>
                    <a:pt x="259" y="5896"/>
                  </a:lnTo>
                  <a:lnTo>
                    <a:pt x="244" y="6009"/>
                  </a:lnTo>
                  <a:lnTo>
                    <a:pt x="229" y="6124"/>
                  </a:lnTo>
                  <a:lnTo>
                    <a:pt x="214" y="6238"/>
                  </a:lnTo>
                  <a:lnTo>
                    <a:pt x="199" y="6352"/>
                  </a:lnTo>
                  <a:lnTo>
                    <a:pt x="185" y="6467"/>
                  </a:lnTo>
                  <a:lnTo>
                    <a:pt x="173" y="6581"/>
                  </a:lnTo>
                  <a:lnTo>
                    <a:pt x="160" y="6697"/>
                  </a:lnTo>
                  <a:lnTo>
                    <a:pt x="148" y="6811"/>
                  </a:lnTo>
                  <a:lnTo>
                    <a:pt x="137" y="6927"/>
                  </a:lnTo>
                  <a:lnTo>
                    <a:pt x="127" y="7042"/>
                  </a:lnTo>
                  <a:lnTo>
                    <a:pt x="119" y="7158"/>
                  </a:lnTo>
                  <a:lnTo>
                    <a:pt x="105" y="7319"/>
                  </a:lnTo>
                  <a:lnTo>
                    <a:pt x="92" y="7481"/>
                  </a:lnTo>
                  <a:lnTo>
                    <a:pt x="79" y="7643"/>
                  </a:lnTo>
                  <a:lnTo>
                    <a:pt x="65" y="7805"/>
                  </a:lnTo>
                  <a:lnTo>
                    <a:pt x="54" y="7967"/>
                  </a:lnTo>
                  <a:lnTo>
                    <a:pt x="42" y="8130"/>
                  </a:lnTo>
                  <a:lnTo>
                    <a:pt x="31" y="8293"/>
                  </a:lnTo>
                  <a:lnTo>
                    <a:pt x="22" y="8456"/>
                  </a:lnTo>
                  <a:lnTo>
                    <a:pt x="14" y="8619"/>
                  </a:lnTo>
                  <a:lnTo>
                    <a:pt x="8" y="8782"/>
                  </a:lnTo>
                  <a:lnTo>
                    <a:pt x="3" y="8946"/>
                  </a:lnTo>
                  <a:lnTo>
                    <a:pt x="0" y="9109"/>
                  </a:lnTo>
                  <a:lnTo>
                    <a:pt x="0" y="9190"/>
                  </a:lnTo>
                  <a:lnTo>
                    <a:pt x="0" y="9273"/>
                  </a:lnTo>
                  <a:lnTo>
                    <a:pt x="1" y="9354"/>
                  </a:lnTo>
                  <a:lnTo>
                    <a:pt x="2" y="9437"/>
                  </a:lnTo>
                  <a:lnTo>
                    <a:pt x="3" y="9518"/>
                  </a:lnTo>
                  <a:lnTo>
                    <a:pt x="7" y="9599"/>
                  </a:lnTo>
                  <a:lnTo>
                    <a:pt x="10" y="9681"/>
                  </a:lnTo>
                  <a:lnTo>
                    <a:pt x="14" y="9763"/>
                  </a:lnTo>
                  <a:lnTo>
                    <a:pt x="21" y="9885"/>
                  </a:lnTo>
                  <a:lnTo>
                    <a:pt x="27" y="10006"/>
                  </a:lnTo>
                  <a:lnTo>
                    <a:pt x="34" y="10128"/>
                  </a:lnTo>
                  <a:lnTo>
                    <a:pt x="41" y="10249"/>
                  </a:lnTo>
                  <a:lnTo>
                    <a:pt x="47" y="10369"/>
                  </a:lnTo>
                  <a:lnTo>
                    <a:pt x="54" y="10490"/>
                  </a:lnTo>
                  <a:lnTo>
                    <a:pt x="61" y="10611"/>
                  </a:lnTo>
                  <a:lnTo>
                    <a:pt x="68" y="10731"/>
                  </a:lnTo>
                  <a:lnTo>
                    <a:pt x="74" y="10851"/>
                  </a:lnTo>
                  <a:lnTo>
                    <a:pt x="82" y="10971"/>
                  </a:lnTo>
                  <a:lnTo>
                    <a:pt x="90" y="11091"/>
                  </a:lnTo>
                  <a:lnTo>
                    <a:pt x="98" y="11213"/>
                  </a:lnTo>
                  <a:lnTo>
                    <a:pt x="108" y="11333"/>
                  </a:lnTo>
                  <a:lnTo>
                    <a:pt x="117" y="11454"/>
                  </a:lnTo>
                  <a:lnTo>
                    <a:pt x="127" y="11575"/>
                  </a:lnTo>
                  <a:lnTo>
                    <a:pt x="138" y="11697"/>
                  </a:lnTo>
                  <a:lnTo>
                    <a:pt x="149" y="11811"/>
                  </a:lnTo>
                  <a:lnTo>
                    <a:pt x="160" y="11926"/>
                  </a:lnTo>
                  <a:lnTo>
                    <a:pt x="172" y="12040"/>
                  </a:lnTo>
                  <a:lnTo>
                    <a:pt x="184" y="12154"/>
                  </a:lnTo>
                  <a:lnTo>
                    <a:pt x="197" y="12269"/>
                  </a:lnTo>
                  <a:lnTo>
                    <a:pt x="209" y="12383"/>
                  </a:lnTo>
                  <a:lnTo>
                    <a:pt x="223" y="12498"/>
                  </a:lnTo>
                  <a:lnTo>
                    <a:pt x="237" y="12611"/>
                  </a:lnTo>
                  <a:lnTo>
                    <a:pt x="252" y="12725"/>
                  </a:lnTo>
                  <a:lnTo>
                    <a:pt x="267" y="12839"/>
                  </a:lnTo>
                  <a:lnTo>
                    <a:pt x="281" y="12953"/>
                  </a:lnTo>
                  <a:lnTo>
                    <a:pt x="298" y="13066"/>
                  </a:lnTo>
                  <a:lnTo>
                    <a:pt x="314" y="13180"/>
                  </a:lnTo>
                  <a:lnTo>
                    <a:pt x="331" y="13293"/>
                  </a:lnTo>
                  <a:lnTo>
                    <a:pt x="349" y="13406"/>
                  </a:lnTo>
                  <a:lnTo>
                    <a:pt x="366" y="13519"/>
                  </a:lnTo>
                  <a:lnTo>
                    <a:pt x="398" y="13707"/>
                  </a:lnTo>
                  <a:lnTo>
                    <a:pt x="433" y="13905"/>
                  </a:lnTo>
                  <a:lnTo>
                    <a:pt x="470" y="14110"/>
                  </a:lnTo>
                  <a:lnTo>
                    <a:pt x="511" y="14322"/>
                  </a:lnTo>
                  <a:lnTo>
                    <a:pt x="555" y="14538"/>
                  </a:lnTo>
                  <a:lnTo>
                    <a:pt x="602" y="14757"/>
                  </a:lnTo>
                  <a:lnTo>
                    <a:pt x="650" y="14979"/>
                  </a:lnTo>
                  <a:lnTo>
                    <a:pt x="701" y="15200"/>
                  </a:lnTo>
                  <a:lnTo>
                    <a:pt x="729" y="15311"/>
                  </a:lnTo>
                  <a:lnTo>
                    <a:pt x="755" y="15420"/>
                  </a:lnTo>
                  <a:lnTo>
                    <a:pt x="784" y="15530"/>
                  </a:lnTo>
                  <a:lnTo>
                    <a:pt x="811" y="15639"/>
                  </a:lnTo>
                  <a:lnTo>
                    <a:pt x="840" y="15747"/>
                  </a:lnTo>
                  <a:lnTo>
                    <a:pt x="870" y="15854"/>
                  </a:lnTo>
                  <a:lnTo>
                    <a:pt x="899" y="15959"/>
                  </a:lnTo>
                  <a:lnTo>
                    <a:pt x="929" y="16064"/>
                  </a:lnTo>
                  <a:lnTo>
                    <a:pt x="960" y="16165"/>
                  </a:lnTo>
                  <a:lnTo>
                    <a:pt x="991" y="16266"/>
                  </a:lnTo>
                  <a:lnTo>
                    <a:pt x="1022" y="16365"/>
                  </a:lnTo>
                  <a:lnTo>
                    <a:pt x="1054" y="16461"/>
                  </a:lnTo>
                  <a:lnTo>
                    <a:pt x="1086" y="16556"/>
                  </a:lnTo>
                  <a:lnTo>
                    <a:pt x="1119" y="16646"/>
                  </a:lnTo>
                  <a:lnTo>
                    <a:pt x="1152" y="16735"/>
                  </a:lnTo>
                  <a:lnTo>
                    <a:pt x="1185" y="16821"/>
                  </a:lnTo>
                  <a:lnTo>
                    <a:pt x="1225" y="16920"/>
                  </a:lnTo>
                  <a:lnTo>
                    <a:pt x="1267" y="17017"/>
                  </a:lnTo>
                  <a:lnTo>
                    <a:pt x="1288" y="17064"/>
                  </a:lnTo>
                  <a:lnTo>
                    <a:pt x="1310" y="17111"/>
                  </a:lnTo>
                  <a:lnTo>
                    <a:pt x="1332" y="17156"/>
                  </a:lnTo>
                  <a:lnTo>
                    <a:pt x="1354" y="17202"/>
                  </a:lnTo>
                  <a:lnTo>
                    <a:pt x="1377" y="17247"/>
                  </a:lnTo>
                  <a:lnTo>
                    <a:pt x="1399" y="17290"/>
                  </a:lnTo>
                  <a:lnTo>
                    <a:pt x="1423" y="17334"/>
                  </a:lnTo>
                  <a:lnTo>
                    <a:pt x="1447" y="17376"/>
                  </a:lnTo>
                  <a:lnTo>
                    <a:pt x="1471" y="17417"/>
                  </a:lnTo>
                  <a:lnTo>
                    <a:pt x="1496" y="17459"/>
                  </a:lnTo>
                  <a:lnTo>
                    <a:pt x="1521" y="17499"/>
                  </a:lnTo>
                  <a:lnTo>
                    <a:pt x="1546" y="17538"/>
                  </a:lnTo>
                  <a:lnTo>
                    <a:pt x="1572" y="17576"/>
                  </a:lnTo>
                  <a:lnTo>
                    <a:pt x="1598" y="17614"/>
                  </a:lnTo>
                  <a:lnTo>
                    <a:pt x="1625" y="17651"/>
                  </a:lnTo>
                  <a:lnTo>
                    <a:pt x="1652" y="17687"/>
                  </a:lnTo>
                  <a:lnTo>
                    <a:pt x="1680" y="17722"/>
                  </a:lnTo>
                  <a:lnTo>
                    <a:pt x="1707" y="17756"/>
                  </a:lnTo>
                  <a:lnTo>
                    <a:pt x="1736" y="17789"/>
                  </a:lnTo>
                  <a:lnTo>
                    <a:pt x="1764" y="17822"/>
                  </a:lnTo>
                  <a:lnTo>
                    <a:pt x="1794" y="17853"/>
                  </a:lnTo>
                  <a:lnTo>
                    <a:pt x="1824" y="17884"/>
                  </a:lnTo>
                  <a:lnTo>
                    <a:pt x="1854" y="17914"/>
                  </a:lnTo>
                  <a:lnTo>
                    <a:pt x="1885" y="17943"/>
                  </a:lnTo>
                  <a:lnTo>
                    <a:pt x="1917" y="17970"/>
                  </a:lnTo>
                  <a:lnTo>
                    <a:pt x="1947" y="17998"/>
                  </a:lnTo>
                  <a:lnTo>
                    <a:pt x="1980" y="18023"/>
                  </a:lnTo>
                  <a:lnTo>
                    <a:pt x="2013" y="18048"/>
                  </a:lnTo>
                  <a:lnTo>
                    <a:pt x="2052" y="18075"/>
                  </a:lnTo>
                  <a:lnTo>
                    <a:pt x="2091" y="18102"/>
                  </a:lnTo>
                  <a:lnTo>
                    <a:pt x="2132" y="18127"/>
                  </a:lnTo>
                  <a:lnTo>
                    <a:pt x="2173" y="18151"/>
                  </a:lnTo>
                  <a:lnTo>
                    <a:pt x="2215" y="18174"/>
                  </a:lnTo>
                  <a:lnTo>
                    <a:pt x="2259" y="18194"/>
                  </a:lnTo>
                  <a:lnTo>
                    <a:pt x="2303" y="18214"/>
                  </a:lnTo>
                  <a:lnTo>
                    <a:pt x="2349" y="18232"/>
                  </a:lnTo>
                  <a:lnTo>
                    <a:pt x="2397" y="18249"/>
                  </a:lnTo>
                  <a:lnTo>
                    <a:pt x="2446" y="18264"/>
                  </a:lnTo>
                  <a:lnTo>
                    <a:pt x="2497" y="18277"/>
                  </a:lnTo>
                  <a:lnTo>
                    <a:pt x="2549" y="18287"/>
                  </a:lnTo>
                  <a:lnTo>
                    <a:pt x="2576" y="18292"/>
                  </a:lnTo>
                  <a:lnTo>
                    <a:pt x="2603" y="18296"/>
                  </a:lnTo>
                  <a:lnTo>
                    <a:pt x="2631" y="18300"/>
                  </a:lnTo>
                  <a:lnTo>
                    <a:pt x="2658" y="18303"/>
                  </a:lnTo>
                  <a:lnTo>
                    <a:pt x="2687" y="18305"/>
                  </a:lnTo>
                  <a:lnTo>
                    <a:pt x="2716" y="18308"/>
                  </a:lnTo>
                  <a:lnTo>
                    <a:pt x="2745" y="18309"/>
                  </a:lnTo>
                  <a:lnTo>
                    <a:pt x="2776" y="18309"/>
                  </a:lnTo>
                  <a:lnTo>
                    <a:pt x="2835" y="18310"/>
                  </a:lnTo>
                  <a:lnTo>
                    <a:pt x="2896" y="18310"/>
                  </a:lnTo>
                  <a:lnTo>
                    <a:pt x="2957" y="18309"/>
                  </a:lnTo>
                  <a:lnTo>
                    <a:pt x="3017" y="18308"/>
                  </a:lnTo>
                  <a:lnTo>
                    <a:pt x="3079" y="18305"/>
                  </a:lnTo>
                  <a:lnTo>
                    <a:pt x="3140" y="18303"/>
                  </a:lnTo>
                  <a:lnTo>
                    <a:pt x="3200" y="18300"/>
                  </a:lnTo>
                  <a:lnTo>
                    <a:pt x="3262" y="18296"/>
                  </a:lnTo>
                  <a:lnTo>
                    <a:pt x="3323" y="18292"/>
                  </a:lnTo>
                  <a:lnTo>
                    <a:pt x="3384" y="18287"/>
                  </a:lnTo>
                  <a:lnTo>
                    <a:pt x="3444" y="18283"/>
                  </a:lnTo>
                  <a:lnTo>
                    <a:pt x="3505" y="18277"/>
                  </a:lnTo>
                  <a:lnTo>
                    <a:pt x="3565" y="18271"/>
                  </a:lnTo>
                  <a:lnTo>
                    <a:pt x="3625" y="18264"/>
                  </a:lnTo>
                  <a:lnTo>
                    <a:pt x="3686" y="18257"/>
                  </a:lnTo>
                  <a:lnTo>
                    <a:pt x="3745" y="18250"/>
                  </a:lnTo>
                  <a:lnTo>
                    <a:pt x="3829" y="18240"/>
                  </a:lnTo>
                  <a:lnTo>
                    <a:pt x="3912" y="18230"/>
                  </a:lnTo>
                  <a:lnTo>
                    <a:pt x="3995" y="18218"/>
                  </a:lnTo>
                  <a:lnTo>
                    <a:pt x="4076" y="18206"/>
                  </a:lnTo>
                  <a:lnTo>
                    <a:pt x="4157" y="18192"/>
                  </a:lnTo>
                  <a:lnTo>
                    <a:pt x="4236" y="18178"/>
                  </a:lnTo>
                  <a:lnTo>
                    <a:pt x="4316" y="18165"/>
                  </a:lnTo>
                  <a:lnTo>
                    <a:pt x="4395" y="18150"/>
                  </a:lnTo>
                  <a:lnTo>
                    <a:pt x="4473" y="18134"/>
                  </a:lnTo>
                  <a:lnTo>
                    <a:pt x="4549" y="18118"/>
                  </a:lnTo>
                  <a:lnTo>
                    <a:pt x="4627" y="18101"/>
                  </a:lnTo>
                  <a:lnTo>
                    <a:pt x="4704" y="18083"/>
                  </a:lnTo>
                  <a:lnTo>
                    <a:pt x="4779" y="18066"/>
                  </a:lnTo>
                  <a:lnTo>
                    <a:pt x="4855" y="18048"/>
                  </a:lnTo>
                  <a:lnTo>
                    <a:pt x="4931" y="18028"/>
                  </a:lnTo>
                  <a:lnTo>
                    <a:pt x="5006" y="18009"/>
                  </a:lnTo>
                  <a:lnTo>
                    <a:pt x="5156" y="17969"/>
                  </a:lnTo>
                  <a:lnTo>
                    <a:pt x="5305" y="17927"/>
                  </a:lnTo>
                  <a:lnTo>
                    <a:pt x="5455" y="17882"/>
                  </a:lnTo>
                  <a:lnTo>
                    <a:pt x="5603" y="17836"/>
                  </a:lnTo>
                  <a:lnTo>
                    <a:pt x="5753" y="17789"/>
                  </a:lnTo>
                  <a:lnTo>
                    <a:pt x="5904" y="17741"/>
                  </a:lnTo>
                  <a:lnTo>
                    <a:pt x="6056" y="17691"/>
                  </a:lnTo>
                  <a:lnTo>
                    <a:pt x="6211" y="17639"/>
                  </a:lnTo>
                  <a:lnTo>
                    <a:pt x="6273" y="17619"/>
                  </a:lnTo>
                  <a:lnTo>
                    <a:pt x="6368" y="17586"/>
                  </a:lnTo>
                  <a:lnTo>
                    <a:pt x="6483" y="17544"/>
                  </a:lnTo>
                  <a:lnTo>
                    <a:pt x="6608" y="17501"/>
                  </a:lnTo>
                  <a:lnTo>
                    <a:pt x="6729" y="17456"/>
                  </a:lnTo>
                  <a:lnTo>
                    <a:pt x="6837" y="17415"/>
                  </a:lnTo>
                  <a:lnTo>
                    <a:pt x="6881" y="17398"/>
                  </a:lnTo>
                  <a:lnTo>
                    <a:pt x="6917" y="17382"/>
                  </a:lnTo>
                  <a:lnTo>
                    <a:pt x="6943" y="17369"/>
                  </a:lnTo>
                  <a:lnTo>
                    <a:pt x="6959" y="17361"/>
                  </a:lnTo>
                  <a:lnTo>
                    <a:pt x="6994" y="17351"/>
                  </a:lnTo>
                  <a:lnTo>
                    <a:pt x="7046" y="17333"/>
                  </a:lnTo>
                  <a:lnTo>
                    <a:pt x="7116" y="17308"/>
                  </a:lnTo>
                  <a:lnTo>
                    <a:pt x="7200" y="17277"/>
                  </a:lnTo>
                  <a:lnTo>
                    <a:pt x="7294" y="17240"/>
                  </a:lnTo>
                  <a:lnTo>
                    <a:pt x="7397" y="17200"/>
                  </a:lnTo>
                  <a:lnTo>
                    <a:pt x="7507" y="17156"/>
                  </a:lnTo>
                  <a:lnTo>
                    <a:pt x="7621" y="17112"/>
                  </a:lnTo>
                  <a:lnTo>
                    <a:pt x="7734" y="17066"/>
                  </a:lnTo>
                  <a:lnTo>
                    <a:pt x="7846" y="17021"/>
                  </a:lnTo>
                  <a:lnTo>
                    <a:pt x="7955" y="16977"/>
                  </a:lnTo>
                  <a:lnTo>
                    <a:pt x="8057" y="16937"/>
                  </a:lnTo>
                  <a:lnTo>
                    <a:pt x="8148" y="16899"/>
                  </a:lnTo>
                  <a:lnTo>
                    <a:pt x="8228" y="16867"/>
                  </a:lnTo>
                  <a:lnTo>
                    <a:pt x="8295" y="16841"/>
                  </a:lnTo>
                  <a:lnTo>
                    <a:pt x="8344" y="16821"/>
                  </a:lnTo>
                  <a:lnTo>
                    <a:pt x="8396" y="16799"/>
                  </a:lnTo>
                  <a:lnTo>
                    <a:pt x="8454" y="16778"/>
                  </a:lnTo>
                  <a:lnTo>
                    <a:pt x="8513" y="16755"/>
                  </a:lnTo>
                  <a:lnTo>
                    <a:pt x="8574" y="16731"/>
                  </a:lnTo>
                  <a:lnTo>
                    <a:pt x="8633" y="16707"/>
                  </a:lnTo>
                  <a:lnTo>
                    <a:pt x="8690" y="16682"/>
                  </a:lnTo>
                  <a:lnTo>
                    <a:pt x="8744" y="16658"/>
                  </a:lnTo>
                  <a:lnTo>
                    <a:pt x="8792" y="16633"/>
                  </a:lnTo>
                  <a:lnTo>
                    <a:pt x="8829" y="16621"/>
                  </a:lnTo>
                  <a:lnTo>
                    <a:pt x="8872" y="16605"/>
                  </a:lnTo>
                  <a:lnTo>
                    <a:pt x="8918" y="16587"/>
                  </a:lnTo>
                  <a:lnTo>
                    <a:pt x="8965" y="16565"/>
                  </a:lnTo>
                  <a:lnTo>
                    <a:pt x="9013" y="16543"/>
                  </a:lnTo>
                  <a:lnTo>
                    <a:pt x="9059" y="16522"/>
                  </a:lnTo>
                  <a:lnTo>
                    <a:pt x="9100" y="16502"/>
                  </a:lnTo>
                  <a:lnTo>
                    <a:pt x="9137" y="16485"/>
                  </a:lnTo>
                  <a:lnTo>
                    <a:pt x="9178" y="16465"/>
                  </a:lnTo>
                  <a:lnTo>
                    <a:pt x="9220" y="16447"/>
                  </a:lnTo>
                  <a:lnTo>
                    <a:pt x="9263" y="16429"/>
                  </a:lnTo>
                  <a:lnTo>
                    <a:pt x="9304" y="16409"/>
                  </a:lnTo>
                  <a:lnTo>
                    <a:pt x="9346" y="16391"/>
                  </a:lnTo>
                  <a:lnTo>
                    <a:pt x="9388" y="16371"/>
                  </a:lnTo>
                  <a:lnTo>
                    <a:pt x="9430" y="16352"/>
                  </a:lnTo>
                  <a:lnTo>
                    <a:pt x="9471" y="16331"/>
                  </a:lnTo>
                  <a:lnTo>
                    <a:pt x="9550" y="16292"/>
                  </a:lnTo>
                  <a:lnTo>
                    <a:pt x="9633" y="16254"/>
                  </a:lnTo>
                  <a:lnTo>
                    <a:pt x="9720" y="16214"/>
                  </a:lnTo>
                  <a:lnTo>
                    <a:pt x="9807" y="16173"/>
                  </a:lnTo>
                  <a:lnTo>
                    <a:pt x="9894" y="16132"/>
                  </a:lnTo>
                  <a:lnTo>
                    <a:pt x="9978" y="16091"/>
                  </a:lnTo>
                  <a:lnTo>
                    <a:pt x="10018" y="16069"/>
                  </a:lnTo>
                  <a:lnTo>
                    <a:pt x="10057" y="16048"/>
                  </a:lnTo>
                  <a:lnTo>
                    <a:pt x="10093" y="16026"/>
                  </a:lnTo>
                  <a:lnTo>
                    <a:pt x="10129" y="16004"/>
                  </a:lnTo>
                  <a:lnTo>
                    <a:pt x="10153" y="15994"/>
                  </a:lnTo>
                  <a:lnTo>
                    <a:pt x="10184" y="15979"/>
                  </a:lnTo>
                  <a:lnTo>
                    <a:pt x="10220" y="15962"/>
                  </a:lnTo>
                  <a:lnTo>
                    <a:pt x="10263" y="15939"/>
                  </a:lnTo>
                  <a:lnTo>
                    <a:pt x="10363" y="15886"/>
                  </a:lnTo>
                  <a:lnTo>
                    <a:pt x="10482" y="15821"/>
                  </a:lnTo>
                  <a:lnTo>
                    <a:pt x="10614" y="15748"/>
                  </a:lnTo>
                  <a:lnTo>
                    <a:pt x="10756" y="15669"/>
                  </a:lnTo>
                  <a:lnTo>
                    <a:pt x="10903" y="15584"/>
                  </a:lnTo>
                  <a:lnTo>
                    <a:pt x="11053" y="15498"/>
                  </a:lnTo>
                  <a:lnTo>
                    <a:pt x="11202" y="15411"/>
                  </a:lnTo>
                  <a:lnTo>
                    <a:pt x="11344" y="15328"/>
                  </a:lnTo>
                  <a:lnTo>
                    <a:pt x="11477" y="15249"/>
                  </a:lnTo>
                  <a:lnTo>
                    <a:pt x="11597" y="15176"/>
                  </a:lnTo>
                  <a:lnTo>
                    <a:pt x="11700" y="15111"/>
                  </a:lnTo>
                  <a:lnTo>
                    <a:pt x="11781" y="15060"/>
                  </a:lnTo>
                  <a:lnTo>
                    <a:pt x="11813" y="15038"/>
                  </a:lnTo>
                  <a:lnTo>
                    <a:pt x="11838" y="15021"/>
                  </a:lnTo>
                  <a:lnTo>
                    <a:pt x="11857" y="15007"/>
                  </a:lnTo>
                  <a:lnTo>
                    <a:pt x="11867" y="14997"/>
                  </a:lnTo>
                  <a:lnTo>
                    <a:pt x="11879" y="14991"/>
                  </a:lnTo>
                  <a:lnTo>
                    <a:pt x="11898" y="14982"/>
                  </a:lnTo>
                  <a:lnTo>
                    <a:pt x="11919" y="14970"/>
                  </a:lnTo>
                  <a:lnTo>
                    <a:pt x="11947" y="14954"/>
                  </a:lnTo>
                  <a:lnTo>
                    <a:pt x="12012" y="14913"/>
                  </a:lnTo>
                  <a:lnTo>
                    <a:pt x="12090" y="14864"/>
                  </a:lnTo>
                  <a:lnTo>
                    <a:pt x="12179" y="14806"/>
                  </a:lnTo>
                  <a:lnTo>
                    <a:pt x="12276" y="14741"/>
                  </a:lnTo>
                  <a:lnTo>
                    <a:pt x="12379" y="14672"/>
                  </a:lnTo>
                  <a:lnTo>
                    <a:pt x="12485" y="14600"/>
                  </a:lnTo>
                  <a:lnTo>
                    <a:pt x="12590" y="14528"/>
                  </a:lnTo>
                  <a:lnTo>
                    <a:pt x="12694" y="14457"/>
                  </a:lnTo>
                  <a:lnTo>
                    <a:pt x="12791" y="14388"/>
                  </a:lnTo>
                  <a:lnTo>
                    <a:pt x="12883" y="14324"/>
                  </a:lnTo>
                  <a:lnTo>
                    <a:pt x="12963" y="14267"/>
                  </a:lnTo>
                  <a:lnTo>
                    <a:pt x="13031" y="14218"/>
                  </a:lnTo>
                  <a:lnTo>
                    <a:pt x="13083" y="14179"/>
                  </a:lnTo>
                  <a:lnTo>
                    <a:pt x="13116" y="14152"/>
                  </a:lnTo>
                  <a:lnTo>
                    <a:pt x="13131" y="14143"/>
                  </a:lnTo>
                  <a:lnTo>
                    <a:pt x="13152" y="14131"/>
                  </a:lnTo>
                  <a:lnTo>
                    <a:pt x="13179" y="14112"/>
                  </a:lnTo>
                  <a:lnTo>
                    <a:pt x="13212" y="14088"/>
                  </a:lnTo>
                  <a:lnTo>
                    <a:pt x="13294" y="14030"/>
                  </a:lnTo>
                  <a:lnTo>
                    <a:pt x="13392" y="13958"/>
                  </a:lnTo>
                  <a:lnTo>
                    <a:pt x="13505" y="13873"/>
                  </a:lnTo>
                  <a:lnTo>
                    <a:pt x="13628" y="13779"/>
                  </a:lnTo>
                  <a:lnTo>
                    <a:pt x="13758" y="13680"/>
                  </a:lnTo>
                  <a:lnTo>
                    <a:pt x="13891" y="13578"/>
                  </a:lnTo>
                  <a:lnTo>
                    <a:pt x="14024" y="13475"/>
                  </a:lnTo>
                  <a:lnTo>
                    <a:pt x="14153" y="13374"/>
                  </a:lnTo>
                  <a:lnTo>
                    <a:pt x="14274" y="13278"/>
                  </a:lnTo>
                  <a:lnTo>
                    <a:pt x="14385" y="13190"/>
                  </a:lnTo>
                  <a:lnTo>
                    <a:pt x="14481" y="13112"/>
                  </a:lnTo>
                  <a:lnTo>
                    <a:pt x="14559" y="13048"/>
                  </a:lnTo>
                  <a:lnTo>
                    <a:pt x="14590" y="13022"/>
                  </a:lnTo>
                  <a:lnTo>
                    <a:pt x="14615" y="13000"/>
                  </a:lnTo>
                  <a:lnTo>
                    <a:pt x="14634" y="12982"/>
                  </a:lnTo>
                  <a:lnTo>
                    <a:pt x="14645" y="12970"/>
                  </a:lnTo>
                  <a:lnTo>
                    <a:pt x="14658" y="12963"/>
                  </a:lnTo>
                  <a:lnTo>
                    <a:pt x="14673" y="12954"/>
                  </a:lnTo>
                  <a:lnTo>
                    <a:pt x="14690" y="12942"/>
                  </a:lnTo>
                  <a:lnTo>
                    <a:pt x="14708" y="12928"/>
                  </a:lnTo>
                  <a:lnTo>
                    <a:pt x="14751" y="12895"/>
                  </a:lnTo>
                  <a:lnTo>
                    <a:pt x="14802" y="12854"/>
                  </a:lnTo>
                  <a:lnTo>
                    <a:pt x="14857" y="12807"/>
                  </a:lnTo>
                  <a:lnTo>
                    <a:pt x="14917" y="12756"/>
                  </a:lnTo>
                  <a:lnTo>
                    <a:pt x="14979" y="12701"/>
                  </a:lnTo>
                  <a:lnTo>
                    <a:pt x="15044" y="12645"/>
                  </a:lnTo>
                  <a:lnTo>
                    <a:pt x="15110" y="12587"/>
                  </a:lnTo>
                  <a:lnTo>
                    <a:pt x="15175" y="12530"/>
                  </a:lnTo>
                  <a:lnTo>
                    <a:pt x="15238" y="12475"/>
                  </a:lnTo>
                  <a:lnTo>
                    <a:pt x="15298" y="12421"/>
                  </a:lnTo>
                  <a:lnTo>
                    <a:pt x="15354" y="12372"/>
                  </a:lnTo>
                  <a:lnTo>
                    <a:pt x="15405" y="12328"/>
                  </a:lnTo>
                  <a:lnTo>
                    <a:pt x="15451" y="12291"/>
                  </a:lnTo>
                  <a:lnTo>
                    <a:pt x="15487" y="12261"/>
                  </a:lnTo>
                  <a:lnTo>
                    <a:pt x="15508" y="12245"/>
                  </a:lnTo>
                  <a:lnTo>
                    <a:pt x="15520" y="12233"/>
                  </a:lnTo>
                  <a:lnTo>
                    <a:pt x="15534" y="12220"/>
                  </a:lnTo>
                  <a:lnTo>
                    <a:pt x="15555" y="12200"/>
                  </a:lnTo>
                  <a:lnTo>
                    <a:pt x="15765" y="12013"/>
                  </a:lnTo>
                  <a:lnTo>
                    <a:pt x="15798" y="11979"/>
                  </a:lnTo>
                  <a:lnTo>
                    <a:pt x="15830" y="11947"/>
                  </a:lnTo>
                  <a:lnTo>
                    <a:pt x="15863" y="11915"/>
                  </a:lnTo>
                  <a:lnTo>
                    <a:pt x="15895" y="11884"/>
                  </a:lnTo>
                  <a:lnTo>
                    <a:pt x="15927" y="11853"/>
                  </a:lnTo>
                  <a:lnTo>
                    <a:pt x="15959" y="11823"/>
                  </a:lnTo>
                  <a:lnTo>
                    <a:pt x="15992" y="11790"/>
                  </a:lnTo>
                  <a:lnTo>
                    <a:pt x="16025" y="11758"/>
                  </a:lnTo>
                  <a:lnTo>
                    <a:pt x="16052" y="11733"/>
                  </a:lnTo>
                  <a:lnTo>
                    <a:pt x="16089" y="11696"/>
                  </a:lnTo>
                  <a:lnTo>
                    <a:pt x="16136" y="11649"/>
                  </a:lnTo>
                  <a:lnTo>
                    <a:pt x="16190" y="11595"/>
                  </a:lnTo>
                  <a:lnTo>
                    <a:pt x="16248" y="11535"/>
                  </a:lnTo>
                  <a:lnTo>
                    <a:pt x="16311" y="11470"/>
                  </a:lnTo>
                  <a:lnTo>
                    <a:pt x="16377" y="11403"/>
                  </a:lnTo>
                  <a:lnTo>
                    <a:pt x="16443" y="11335"/>
                  </a:lnTo>
                  <a:lnTo>
                    <a:pt x="16508" y="11268"/>
                  </a:lnTo>
                  <a:lnTo>
                    <a:pt x="16571" y="11202"/>
                  </a:lnTo>
                  <a:lnTo>
                    <a:pt x="16629" y="11140"/>
                  </a:lnTo>
                  <a:lnTo>
                    <a:pt x="16681" y="11084"/>
                  </a:lnTo>
                  <a:lnTo>
                    <a:pt x="16726" y="11036"/>
                  </a:lnTo>
                  <a:lnTo>
                    <a:pt x="16761" y="10997"/>
                  </a:lnTo>
                  <a:lnTo>
                    <a:pt x="16786" y="10969"/>
                  </a:lnTo>
                  <a:lnTo>
                    <a:pt x="16797" y="10953"/>
                  </a:lnTo>
                  <a:lnTo>
                    <a:pt x="16818" y="10935"/>
                  </a:lnTo>
                  <a:lnTo>
                    <a:pt x="16837" y="10915"/>
                  </a:lnTo>
                  <a:lnTo>
                    <a:pt x="16856" y="10896"/>
                  </a:lnTo>
                  <a:lnTo>
                    <a:pt x="16874" y="10875"/>
                  </a:lnTo>
                  <a:lnTo>
                    <a:pt x="16908" y="10833"/>
                  </a:lnTo>
                  <a:lnTo>
                    <a:pt x="16943" y="10789"/>
                  </a:lnTo>
                  <a:lnTo>
                    <a:pt x="17006" y="10707"/>
                  </a:lnTo>
                  <a:lnTo>
                    <a:pt x="17067" y="10626"/>
                  </a:lnTo>
                  <a:lnTo>
                    <a:pt x="17128" y="10543"/>
                  </a:lnTo>
                  <a:lnTo>
                    <a:pt x="17185" y="10462"/>
                  </a:lnTo>
                  <a:lnTo>
                    <a:pt x="17214" y="10421"/>
                  </a:lnTo>
                  <a:lnTo>
                    <a:pt x="17241" y="10379"/>
                  </a:lnTo>
                  <a:lnTo>
                    <a:pt x="17269" y="10337"/>
                  </a:lnTo>
                  <a:lnTo>
                    <a:pt x="17295" y="10296"/>
                  </a:lnTo>
                  <a:lnTo>
                    <a:pt x="17321" y="10254"/>
                  </a:lnTo>
                  <a:lnTo>
                    <a:pt x="17347" y="10211"/>
                  </a:lnTo>
                  <a:lnTo>
                    <a:pt x="17372" y="10169"/>
                  </a:lnTo>
                  <a:lnTo>
                    <a:pt x="17396" y="10125"/>
                  </a:lnTo>
                  <a:lnTo>
                    <a:pt x="17419" y="10081"/>
                  </a:lnTo>
                  <a:lnTo>
                    <a:pt x="17442" y="10037"/>
                  </a:lnTo>
                  <a:lnTo>
                    <a:pt x="17463" y="9992"/>
                  </a:lnTo>
                  <a:lnTo>
                    <a:pt x="17485" y="9946"/>
                  </a:lnTo>
                  <a:lnTo>
                    <a:pt x="17505" y="9900"/>
                  </a:lnTo>
                  <a:lnTo>
                    <a:pt x="17524" y="9853"/>
                  </a:lnTo>
                  <a:lnTo>
                    <a:pt x="17543" y="9805"/>
                  </a:lnTo>
                  <a:lnTo>
                    <a:pt x="17561" y="9757"/>
                  </a:lnTo>
                  <a:lnTo>
                    <a:pt x="17578" y="9708"/>
                  </a:lnTo>
                  <a:lnTo>
                    <a:pt x="17594" y="9657"/>
                  </a:lnTo>
                  <a:lnTo>
                    <a:pt x="17609" y="9606"/>
                  </a:lnTo>
                  <a:lnTo>
                    <a:pt x="17622" y="9553"/>
                  </a:lnTo>
                  <a:lnTo>
                    <a:pt x="17636" y="9501"/>
                  </a:lnTo>
                  <a:lnTo>
                    <a:pt x="17648" y="9446"/>
                  </a:lnTo>
                  <a:lnTo>
                    <a:pt x="17659" y="9391"/>
                  </a:lnTo>
                  <a:lnTo>
                    <a:pt x="17669" y="9334"/>
                  </a:lnTo>
                  <a:lnTo>
                    <a:pt x="17673" y="9309"/>
                  </a:lnTo>
                  <a:lnTo>
                    <a:pt x="17675" y="9283"/>
                  </a:lnTo>
                  <a:lnTo>
                    <a:pt x="17675" y="9255"/>
                  </a:lnTo>
                  <a:lnTo>
                    <a:pt x="17674" y="9226"/>
                  </a:lnTo>
                  <a:lnTo>
                    <a:pt x="17672" y="9196"/>
                  </a:lnTo>
                  <a:lnTo>
                    <a:pt x="17669" y="9165"/>
                  </a:lnTo>
                  <a:lnTo>
                    <a:pt x="17665" y="9133"/>
                  </a:lnTo>
                  <a:lnTo>
                    <a:pt x="17659" y="9101"/>
                  </a:lnTo>
                  <a:lnTo>
                    <a:pt x="17653" y="9068"/>
                  </a:lnTo>
                  <a:lnTo>
                    <a:pt x="17645" y="9034"/>
                  </a:lnTo>
                  <a:lnTo>
                    <a:pt x="17637" y="8999"/>
                  </a:lnTo>
                  <a:lnTo>
                    <a:pt x="17629" y="8965"/>
                  </a:lnTo>
                  <a:lnTo>
                    <a:pt x="17609" y="8895"/>
                  </a:lnTo>
                  <a:lnTo>
                    <a:pt x="17587" y="8825"/>
                  </a:lnTo>
                  <a:lnTo>
                    <a:pt x="17563" y="8757"/>
                  </a:lnTo>
                  <a:lnTo>
                    <a:pt x="17539" y="8689"/>
                  </a:lnTo>
                  <a:lnTo>
                    <a:pt x="17513" y="8624"/>
                  </a:lnTo>
                  <a:lnTo>
                    <a:pt x="17487" y="8563"/>
                  </a:lnTo>
                  <a:lnTo>
                    <a:pt x="17462" y="8506"/>
                  </a:lnTo>
                  <a:lnTo>
                    <a:pt x="17437" y="8455"/>
                  </a:lnTo>
                  <a:lnTo>
                    <a:pt x="17415" y="8408"/>
                  </a:lnTo>
                  <a:lnTo>
                    <a:pt x="17394" y="8369"/>
                  </a:lnTo>
                  <a:lnTo>
                    <a:pt x="17360" y="8310"/>
                  </a:lnTo>
                  <a:lnTo>
                    <a:pt x="17328" y="8254"/>
                  </a:lnTo>
                  <a:lnTo>
                    <a:pt x="17297" y="8203"/>
                  </a:lnTo>
                  <a:lnTo>
                    <a:pt x="17268" y="8155"/>
                  </a:lnTo>
                  <a:lnTo>
                    <a:pt x="17239" y="8109"/>
                  </a:lnTo>
                  <a:lnTo>
                    <a:pt x="17210" y="8066"/>
                  </a:lnTo>
                  <a:lnTo>
                    <a:pt x="17182" y="8023"/>
                  </a:lnTo>
                  <a:lnTo>
                    <a:pt x="17153" y="7981"/>
                  </a:lnTo>
                  <a:lnTo>
                    <a:pt x="17123" y="7941"/>
                  </a:lnTo>
                  <a:lnTo>
                    <a:pt x="17093" y="7900"/>
                  </a:lnTo>
                  <a:lnTo>
                    <a:pt x="17062" y="7858"/>
                  </a:lnTo>
                  <a:lnTo>
                    <a:pt x="17029" y="7816"/>
                  </a:lnTo>
                  <a:lnTo>
                    <a:pt x="16958" y="7727"/>
                  </a:lnTo>
                  <a:lnTo>
                    <a:pt x="16877" y="7627"/>
                  </a:lnTo>
                  <a:lnTo>
                    <a:pt x="16843" y="7585"/>
                  </a:lnTo>
                  <a:lnTo>
                    <a:pt x="16805" y="7540"/>
                  </a:lnTo>
                  <a:lnTo>
                    <a:pt x="16766" y="7493"/>
                  </a:lnTo>
                  <a:lnTo>
                    <a:pt x="16725" y="7446"/>
                  </a:lnTo>
                  <a:lnTo>
                    <a:pt x="16641" y="7350"/>
                  </a:lnTo>
                  <a:lnTo>
                    <a:pt x="16551" y="7253"/>
                  </a:lnTo>
                  <a:lnTo>
                    <a:pt x="16462" y="7157"/>
                  </a:lnTo>
                  <a:lnTo>
                    <a:pt x="16373" y="7065"/>
                  </a:lnTo>
                  <a:lnTo>
                    <a:pt x="16287" y="6978"/>
                  </a:lnTo>
                  <a:lnTo>
                    <a:pt x="16207" y="6899"/>
                  </a:lnTo>
                  <a:lnTo>
                    <a:pt x="16179" y="6872"/>
                  </a:lnTo>
                  <a:lnTo>
                    <a:pt x="16153" y="6842"/>
                  </a:lnTo>
                  <a:lnTo>
                    <a:pt x="16127" y="6811"/>
                  </a:lnTo>
                  <a:lnTo>
                    <a:pt x="16099" y="6779"/>
                  </a:lnTo>
                  <a:lnTo>
                    <a:pt x="16071" y="6747"/>
                  </a:lnTo>
                  <a:lnTo>
                    <a:pt x="16042" y="6715"/>
                  </a:lnTo>
                  <a:lnTo>
                    <a:pt x="16011" y="6683"/>
                  </a:lnTo>
                  <a:lnTo>
                    <a:pt x="15979" y="6652"/>
                  </a:lnTo>
                  <a:lnTo>
                    <a:pt x="14313" y="5186"/>
                  </a:lnTo>
                  <a:lnTo>
                    <a:pt x="14230" y="5121"/>
                  </a:lnTo>
                  <a:lnTo>
                    <a:pt x="14144" y="5052"/>
                  </a:lnTo>
                  <a:lnTo>
                    <a:pt x="14058" y="4981"/>
                  </a:lnTo>
                  <a:lnTo>
                    <a:pt x="13972" y="4911"/>
                  </a:lnTo>
                  <a:lnTo>
                    <a:pt x="13885" y="4840"/>
                  </a:lnTo>
                  <a:lnTo>
                    <a:pt x="13797" y="4769"/>
                  </a:lnTo>
                  <a:lnTo>
                    <a:pt x="13709" y="4700"/>
                  </a:lnTo>
                  <a:lnTo>
                    <a:pt x="13622" y="4634"/>
                  </a:lnTo>
                  <a:lnTo>
                    <a:pt x="13528" y="4565"/>
                  </a:lnTo>
                  <a:lnTo>
                    <a:pt x="13437" y="4496"/>
                  </a:lnTo>
                  <a:lnTo>
                    <a:pt x="13348" y="4430"/>
                  </a:lnTo>
                  <a:lnTo>
                    <a:pt x="13259" y="4364"/>
                  </a:lnTo>
                  <a:lnTo>
                    <a:pt x="13172" y="4299"/>
                  </a:lnTo>
                  <a:lnTo>
                    <a:pt x="13085" y="4234"/>
                  </a:lnTo>
                  <a:lnTo>
                    <a:pt x="12999" y="4170"/>
                  </a:lnTo>
                  <a:lnTo>
                    <a:pt x="12913" y="4107"/>
                  </a:lnTo>
                  <a:lnTo>
                    <a:pt x="12826" y="4043"/>
                  </a:lnTo>
                  <a:lnTo>
                    <a:pt x="12738" y="3980"/>
                  </a:lnTo>
                  <a:lnTo>
                    <a:pt x="12650" y="3916"/>
                  </a:lnTo>
                  <a:lnTo>
                    <a:pt x="12559" y="3852"/>
                  </a:lnTo>
                  <a:lnTo>
                    <a:pt x="12468" y="3787"/>
                  </a:lnTo>
                  <a:lnTo>
                    <a:pt x="12373" y="3722"/>
                  </a:lnTo>
                  <a:lnTo>
                    <a:pt x="12276" y="3655"/>
                  </a:lnTo>
                  <a:lnTo>
                    <a:pt x="12177" y="3589"/>
                  </a:lnTo>
                  <a:lnTo>
                    <a:pt x="12083" y="3525"/>
                  </a:lnTo>
                  <a:lnTo>
                    <a:pt x="11988" y="3463"/>
                  </a:lnTo>
                  <a:lnTo>
                    <a:pt x="11893" y="3402"/>
                  </a:lnTo>
                  <a:lnTo>
                    <a:pt x="11798" y="3340"/>
                  </a:lnTo>
                  <a:lnTo>
                    <a:pt x="11702" y="3280"/>
                  </a:lnTo>
                  <a:lnTo>
                    <a:pt x="11606" y="3219"/>
                  </a:lnTo>
                  <a:lnTo>
                    <a:pt x="11509" y="3158"/>
                  </a:lnTo>
                  <a:lnTo>
                    <a:pt x="11411" y="3097"/>
                  </a:lnTo>
                  <a:lnTo>
                    <a:pt x="11318" y="3037"/>
                  </a:lnTo>
                  <a:lnTo>
                    <a:pt x="11222" y="2979"/>
                  </a:lnTo>
                  <a:lnTo>
                    <a:pt x="11125" y="2920"/>
                  </a:lnTo>
                  <a:lnTo>
                    <a:pt x="11028" y="2863"/>
                  </a:lnTo>
                  <a:lnTo>
                    <a:pt x="10930" y="2806"/>
                  </a:lnTo>
                  <a:lnTo>
                    <a:pt x="10831" y="2749"/>
                  </a:lnTo>
                  <a:lnTo>
                    <a:pt x="10732" y="2692"/>
                  </a:lnTo>
                  <a:lnTo>
                    <a:pt x="10631" y="2635"/>
                  </a:lnTo>
                  <a:lnTo>
                    <a:pt x="10529" y="2579"/>
                  </a:lnTo>
                  <a:lnTo>
                    <a:pt x="10427" y="2523"/>
                  </a:lnTo>
                  <a:lnTo>
                    <a:pt x="10326" y="2468"/>
                  </a:lnTo>
                  <a:lnTo>
                    <a:pt x="10223" y="2413"/>
                  </a:lnTo>
                  <a:lnTo>
                    <a:pt x="10120" y="2359"/>
                  </a:lnTo>
                  <a:lnTo>
                    <a:pt x="10015" y="2305"/>
                  </a:lnTo>
                  <a:lnTo>
                    <a:pt x="9911" y="2251"/>
                  </a:lnTo>
                  <a:lnTo>
                    <a:pt x="9807" y="2198"/>
                  </a:lnTo>
                  <a:lnTo>
                    <a:pt x="9735" y="2162"/>
                  </a:lnTo>
                  <a:lnTo>
                    <a:pt x="9660" y="2124"/>
                  </a:lnTo>
                  <a:lnTo>
                    <a:pt x="9583" y="2086"/>
                  </a:lnTo>
                  <a:lnTo>
                    <a:pt x="9504" y="2047"/>
                  </a:lnTo>
                  <a:lnTo>
                    <a:pt x="9423" y="2010"/>
                  </a:lnTo>
                  <a:lnTo>
                    <a:pt x="9340" y="1971"/>
                  </a:lnTo>
                  <a:lnTo>
                    <a:pt x="9258" y="1932"/>
                  </a:lnTo>
                  <a:lnTo>
                    <a:pt x="9174" y="1893"/>
                  </a:lnTo>
                  <a:lnTo>
                    <a:pt x="9091" y="1855"/>
                  </a:lnTo>
                  <a:lnTo>
                    <a:pt x="9006" y="1816"/>
                  </a:lnTo>
                  <a:lnTo>
                    <a:pt x="8923" y="1780"/>
                  </a:lnTo>
                  <a:lnTo>
                    <a:pt x="8840" y="1743"/>
                  </a:lnTo>
                  <a:lnTo>
                    <a:pt x="8759" y="1707"/>
                  </a:lnTo>
                  <a:lnTo>
                    <a:pt x="8679" y="1673"/>
                  </a:lnTo>
                  <a:lnTo>
                    <a:pt x="8600" y="1640"/>
                  </a:lnTo>
                  <a:lnTo>
                    <a:pt x="8523" y="1608"/>
                  </a:lnTo>
                  <a:lnTo>
                    <a:pt x="8472" y="1587"/>
                  </a:lnTo>
                  <a:lnTo>
                    <a:pt x="8417" y="1562"/>
                  </a:lnTo>
                  <a:lnTo>
                    <a:pt x="8360" y="1537"/>
                  </a:lnTo>
                  <a:lnTo>
                    <a:pt x="8300" y="1511"/>
                  </a:lnTo>
                  <a:lnTo>
                    <a:pt x="8242" y="1485"/>
                  </a:lnTo>
                  <a:lnTo>
                    <a:pt x="8184" y="1461"/>
                  </a:lnTo>
                  <a:lnTo>
                    <a:pt x="8156" y="1451"/>
                  </a:lnTo>
                  <a:lnTo>
                    <a:pt x="8129" y="1442"/>
                  </a:lnTo>
                  <a:lnTo>
                    <a:pt x="8102" y="1433"/>
                  </a:lnTo>
                  <a:lnTo>
                    <a:pt x="8078" y="1426"/>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9" name="Freeform 5">
              <a:extLst>
                <a:ext uri="{FF2B5EF4-FFF2-40B4-BE49-F238E27FC236}">
                  <a16:creationId xmlns:a16="http://schemas.microsoft.com/office/drawing/2014/main" id="{B68F34CB-35CA-47D6-A53D-62B5674962E5}"/>
                </a:ext>
              </a:extLst>
            </p:cNvPr>
            <p:cNvSpPr>
              <a:spLocks/>
            </p:cNvSpPr>
            <p:nvPr/>
          </p:nvSpPr>
          <p:spPr bwMode="auto">
            <a:xfrm>
              <a:off x="1197064" y="3421099"/>
              <a:ext cx="263057" cy="272508"/>
            </a:xfrm>
            <a:custGeom>
              <a:avLst/>
              <a:gdLst>
                <a:gd name="T0" fmla="*/ 7371 w 17675"/>
                <a:gd name="T1" fmla="*/ 1125 h 18310"/>
                <a:gd name="T2" fmla="*/ 5959 w 17675"/>
                <a:gd name="T3" fmla="*/ 593 h 18310"/>
                <a:gd name="T4" fmla="*/ 4735 w 17675"/>
                <a:gd name="T5" fmla="*/ 240 h 18310"/>
                <a:gd name="T6" fmla="*/ 3627 w 17675"/>
                <a:gd name="T7" fmla="*/ 54 h 18310"/>
                <a:gd name="T8" fmla="*/ 2806 w 17675"/>
                <a:gd name="T9" fmla="*/ 7 h 18310"/>
                <a:gd name="T10" fmla="*/ 2454 w 17675"/>
                <a:gd name="T11" fmla="*/ 85 h 18310"/>
                <a:gd name="T12" fmla="*/ 2132 w 17675"/>
                <a:gd name="T13" fmla="*/ 262 h 18310"/>
                <a:gd name="T14" fmla="*/ 1838 w 17675"/>
                <a:gd name="T15" fmla="*/ 533 h 18310"/>
                <a:gd name="T16" fmla="*/ 1454 w 17675"/>
                <a:gd name="T17" fmla="*/ 1111 h 18310"/>
                <a:gd name="T18" fmla="*/ 1261 w 17675"/>
                <a:gd name="T19" fmla="*/ 1545 h 18310"/>
                <a:gd name="T20" fmla="*/ 1008 w 17675"/>
                <a:gd name="T21" fmla="*/ 2315 h 18310"/>
                <a:gd name="T22" fmla="*/ 836 w 17675"/>
                <a:gd name="T23" fmla="*/ 2906 h 18310"/>
                <a:gd name="T24" fmla="*/ 683 w 17675"/>
                <a:gd name="T25" fmla="*/ 3519 h 18310"/>
                <a:gd name="T26" fmla="*/ 506 w 17675"/>
                <a:gd name="T27" fmla="*/ 4330 h 18310"/>
                <a:gd name="T28" fmla="*/ 356 w 17675"/>
                <a:gd name="T29" fmla="*/ 5177 h 18310"/>
                <a:gd name="T30" fmla="*/ 199 w 17675"/>
                <a:gd name="T31" fmla="*/ 6352 h 18310"/>
                <a:gd name="T32" fmla="*/ 65 w 17675"/>
                <a:gd name="T33" fmla="*/ 7805 h 18310"/>
                <a:gd name="T34" fmla="*/ 1 w 17675"/>
                <a:gd name="T35" fmla="*/ 9354 h 18310"/>
                <a:gd name="T36" fmla="*/ 54 w 17675"/>
                <a:gd name="T37" fmla="*/ 10490 h 18310"/>
                <a:gd name="T38" fmla="*/ 149 w 17675"/>
                <a:gd name="T39" fmla="*/ 11811 h 18310"/>
                <a:gd name="T40" fmla="*/ 298 w 17675"/>
                <a:gd name="T41" fmla="*/ 13066 h 18310"/>
                <a:gd name="T42" fmla="*/ 650 w 17675"/>
                <a:gd name="T43" fmla="*/ 14979 h 18310"/>
                <a:gd name="T44" fmla="*/ 991 w 17675"/>
                <a:gd name="T45" fmla="*/ 16266 h 18310"/>
                <a:gd name="T46" fmla="*/ 1332 w 17675"/>
                <a:gd name="T47" fmla="*/ 17156 h 18310"/>
                <a:gd name="T48" fmla="*/ 1598 w 17675"/>
                <a:gd name="T49" fmla="*/ 17614 h 18310"/>
                <a:gd name="T50" fmla="*/ 1917 w 17675"/>
                <a:gd name="T51" fmla="*/ 17970 h 18310"/>
                <a:gd name="T52" fmla="*/ 2349 w 17675"/>
                <a:gd name="T53" fmla="*/ 18232 h 18310"/>
                <a:gd name="T54" fmla="*/ 2745 w 17675"/>
                <a:gd name="T55" fmla="*/ 18309 h 18310"/>
                <a:gd name="T56" fmla="*/ 3384 w 17675"/>
                <a:gd name="T57" fmla="*/ 18287 h 18310"/>
                <a:gd name="T58" fmla="*/ 4157 w 17675"/>
                <a:gd name="T59" fmla="*/ 18192 h 18310"/>
                <a:gd name="T60" fmla="*/ 5006 w 17675"/>
                <a:gd name="T61" fmla="*/ 18009 h 18310"/>
                <a:gd name="T62" fmla="*/ 6483 w 17675"/>
                <a:gd name="T63" fmla="*/ 17544 h 18310"/>
                <a:gd name="T64" fmla="*/ 7200 w 17675"/>
                <a:gd name="T65" fmla="*/ 17277 h 18310"/>
                <a:gd name="T66" fmla="*/ 8295 w 17675"/>
                <a:gd name="T67" fmla="*/ 16841 h 18310"/>
                <a:gd name="T68" fmla="*/ 8872 w 17675"/>
                <a:gd name="T69" fmla="*/ 16605 h 18310"/>
                <a:gd name="T70" fmla="*/ 9346 w 17675"/>
                <a:gd name="T71" fmla="*/ 16391 h 18310"/>
                <a:gd name="T72" fmla="*/ 10057 w 17675"/>
                <a:gd name="T73" fmla="*/ 16048 h 18310"/>
                <a:gd name="T74" fmla="*/ 10903 w 17675"/>
                <a:gd name="T75" fmla="*/ 15584 h 18310"/>
                <a:gd name="T76" fmla="*/ 11867 w 17675"/>
                <a:gd name="T77" fmla="*/ 14997 h 18310"/>
                <a:gd name="T78" fmla="*/ 12590 w 17675"/>
                <a:gd name="T79" fmla="*/ 14528 h 18310"/>
                <a:gd name="T80" fmla="*/ 13212 w 17675"/>
                <a:gd name="T81" fmla="*/ 14088 h 18310"/>
                <a:gd name="T82" fmla="*/ 14481 w 17675"/>
                <a:gd name="T83" fmla="*/ 13112 h 18310"/>
                <a:gd name="T84" fmla="*/ 14802 w 17675"/>
                <a:gd name="T85" fmla="*/ 12854 h 18310"/>
                <a:gd name="T86" fmla="*/ 15451 w 17675"/>
                <a:gd name="T87" fmla="*/ 12291 h 18310"/>
                <a:gd name="T88" fmla="*/ 15927 w 17675"/>
                <a:gd name="T89" fmla="*/ 11853 h 18310"/>
                <a:gd name="T90" fmla="*/ 16443 w 17675"/>
                <a:gd name="T91" fmla="*/ 11335 h 18310"/>
                <a:gd name="T92" fmla="*/ 16856 w 17675"/>
                <a:gd name="T93" fmla="*/ 10896 h 18310"/>
                <a:gd name="T94" fmla="*/ 17295 w 17675"/>
                <a:gd name="T95" fmla="*/ 10296 h 18310"/>
                <a:gd name="T96" fmla="*/ 17543 w 17675"/>
                <a:gd name="T97" fmla="*/ 9805 h 18310"/>
                <a:gd name="T98" fmla="*/ 17675 w 17675"/>
                <a:gd name="T99" fmla="*/ 9283 h 18310"/>
                <a:gd name="T100" fmla="*/ 17609 w 17675"/>
                <a:gd name="T101" fmla="*/ 8895 h 18310"/>
                <a:gd name="T102" fmla="*/ 17328 w 17675"/>
                <a:gd name="T103" fmla="*/ 8254 h 18310"/>
                <a:gd name="T104" fmla="*/ 16958 w 17675"/>
                <a:gd name="T105" fmla="*/ 7727 h 18310"/>
                <a:gd name="T106" fmla="*/ 16207 w 17675"/>
                <a:gd name="T107" fmla="*/ 6899 h 18310"/>
                <a:gd name="T108" fmla="*/ 14144 w 17675"/>
                <a:gd name="T109" fmla="*/ 5052 h 18310"/>
                <a:gd name="T110" fmla="*/ 13172 w 17675"/>
                <a:gd name="T111" fmla="*/ 4299 h 18310"/>
                <a:gd name="T112" fmla="*/ 12177 w 17675"/>
                <a:gd name="T113" fmla="*/ 3589 h 18310"/>
                <a:gd name="T114" fmla="*/ 11125 w 17675"/>
                <a:gd name="T115" fmla="*/ 2920 h 18310"/>
                <a:gd name="T116" fmla="*/ 10015 w 17675"/>
                <a:gd name="T117" fmla="*/ 2305 h 18310"/>
                <a:gd name="T118" fmla="*/ 9091 w 17675"/>
                <a:gd name="T119" fmla="*/ 1855 h 18310"/>
                <a:gd name="T120" fmla="*/ 8300 w 17675"/>
                <a:gd name="T121" fmla="*/ 1511 h 18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7675" h="18310">
                  <a:moveTo>
                    <a:pt x="8078" y="1426"/>
                  </a:moveTo>
                  <a:lnTo>
                    <a:pt x="8047" y="1409"/>
                  </a:lnTo>
                  <a:lnTo>
                    <a:pt x="8014" y="1392"/>
                  </a:lnTo>
                  <a:lnTo>
                    <a:pt x="7978" y="1376"/>
                  </a:lnTo>
                  <a:lnTo>
                    <a:pt x="7940" y="1360"/>
                  </a:lnTo>
                  <a:lnTo>
                    <a:pt x="7901" y="1345"/>
                  </a:lnTo>
                  <a:lnTo>
                    <a:pt x="7862" y="1330"/>
                  </a:lnTo>
                  <a:lnTo>
                    <a:pt x="7825" y="1315"/>
                  </a:lnTo>
                  <a:lnTo>
                    <a:pt x="7791" y="1301"/>
                  </a:lnTo>
                  <a:lnTo>
                    <a:pt x="7583" y="1213"/>
                  </a:lnTo>
                  <a:lnTo>
                    <a:pt x="7371" y="1125"/>
                  </a:lnTo>
                  <a:lnTo>
                    <a:pt x="7158" y="1038"/>
                  </a:lnTo>
                  <a:lnTo>
                    <a:pt x="6943" y="953"/>
                  </a:lnTo>
                  <a:lnTo>
                    <a:pt x="6836" y="911"/>
                  </a:lnTo>
                  <a:lnTo>
                    <a:pt x="6727" y="869"/>
                  </a:lnTo>
                  <a:lnTo>
                    <a:pt x="6618" y="827"/>
                  </a:lnTo>
                  <a:lnTo>
                    <a:pt x="6508" y="787"/>
                  </a:lnTo>
                  <a:lnTo>
                    <a:pt x="6400" y="747"/>
                  </a:lnTo>
                  <a:lnTo>
                    <a:pt x="6290" y="707"/>
                  </a:lnTo>
                  <a:lnTo>
                    <a:pt x="6180" y="668"/>
                  </a:lnTo>
                  <a:lnTo>
                    <a:pt x="6070" y="631"/>
                  </a:lnTo>
                  <a:lnTo>
                    <a:pt x="5959" y="593"/>
                  </a:lnTo>
                  <a:lnTo>
                    <a:pt x="5848" y="556"/>
                  </a:lnTo>
                  <a:lnTo>
                    <a:pt x="5737" y="521"/>
                  </a:lnTo>
                  <a:lnTo>
                    <a:pt x="5626" y="485"/>
                  </a:lnTo>
                  <a:lnTo>
                    <a:pt x="5515" y="451"/>
                  </a:lnTo>
                  <a:lnTo>
                    <a:pt x="5404" y="418"/>
                  </a:lnTo>
                  <a:lnTo>
                    <a:pt x="5292" y="386"/>
                  </a:lnTo>
                  <a:lnTo>
                    <a:pt x="5181" y="355"/>
                  </a:lnTo>
                  <a:lnTo>
                    <a:pt x="5069" y="324"/>
                  </a:lnTo>
                  <a:lnTo>
                    <a:pt x="4958" y="295"/>
                  </a:lnTo>
                  <a:lnTo>
                    <a:pt x="4846" y="267"/>
                  </a:lnTo>
                  <a:lnTo>
                    <a:pt x="4735" y="240"/>
                  </a:lnTo>
                  <a:lnTo>
                    <a:pt x="4623" y="215"/>
                  </a:lnTo>
                  <a:lnTo>
                    <a:pt x="4511" y="191"/>
                  </a:lnTo>
                  <a:lnTo>
                    <a:pt x="4400" y="168"/>
                  </a:lnTo>
                  <a:lnTo>
                    <a:pt x="4287" y="146"/>
                  </a:lnTo>
                  <a:lnTo>
                    <a:pt x="4234" y="136"/>
                  </a:lnTo>
                  <a:lnTo>
                    <a:pt x="4162" y="125"/>
                  </a:lnTo>
                  <a:lnTo>
                    <a:pt x="4075" y="112"/>
                  </a:lnTo>
                  <a:lnTo>
                    <a:pt x="3975" y="98"/>
                  </a:lnTo>
                  <a:lnTo>
                    <a:pt x="3865" y="84"/>
                  </a:lnTo>
                  <a:lnTo>
                    <a:pt x="3749" y="69"/>
                  </a:lnTo>
                  <a:lnTo>
                    <a:pt x="3627" y="54"/>
                  </a:lnTo>
                  <a:lnTo>
                    <a:pt x="3504" y="40"/>
                  </a:lnTo>
                  <a:lnTo>
                    <a:pt x="3381" y="27"/>
                  </a:lnTo>
                  <a:lnTo>
                    <a:pt x="3262" y="17"/>
                  </a:lnTo>
                  <a:lnTo>
                    <a:pt x="3148" y="8"/>
                  </a:lnTo>
                  <a:lnTo>
                    <a:pt x="3043" y="2"/>
                  </a:lnTo>
                  <a:lnTo>
                    <a:pt x="2994" y="1"/>
                  </a:lnTo>
                  <a:lnTo>
                    <a:pt x="2949" y="0"/>
                  </a:lnTo>
                  <a:lnTo>
                    <a:pt x="2908" y="0"/>
                  </a:lnTo>
                  <a:lnTo>
                    <a:pt x="2869" y="1"/>
                  </a:lnTo>
                  <a:lnTo>
                    <a:pt x="2834" y="3"/>
                  </a:lnTo>
                  <a:lnTo>
                    <a:pt x="2806" y="7"/>
                  </a:lnTo>
                  <a:lnTo>
                    <a:pt x="2780" y="11"/>
                  </a:lnTo>
                  <a:lnTo>
                    <a:pt x="2761" y="17"/>
                  </a:lnTo>
                  <a:lnTo>
                    <a:pt x="2724" y="19"/>
                  </a:lnTo>
                  <a:lnTo>
                    <a:pt x="2689" y="24"/>
                  </a:lnTo>
                  <a:lnTo>
                    <a:pt x="2655" y="29"/>
                  </a:lnTo>
                  <a:lnTo>
                    <a:pt x="2620" y="35"/>
                  </a:lnTo>
                  <a:lnTo>
                    <a:pt x="2586" y="43"/>
                  </a:lnTo>
                  <a:lnTo>
                    <a:pt x="2552" y="53"/>
                  </a:lnTo>
                  <a:lnTo>
                    <a:pt x="2518" y="63"/>
                  </a:lnTo>
                  <a:lnTo>
                    <a:pt x="2486" y="73"/>
                  </a:lnTo>
                  <a:lnTo>
                    <a:pt x="2454" y="85"/>
                  </a:lnTo>
                  <a:lnTo>
                    <a:pt x="2423" y="97"/>
                  </a:lnTo>
                  <a:lnTo>
                    <a:pt x="2393" y="111"/>
                  </a:lnTo>
                  <a:lnTo>
                    <a:pt x="2363" y="125"/>
                  </a:lnTo>
                  <a:lnTo>
                    <a:pt x="2333" y="138"/>
                  </a:lnTo>
                  <a:lnTo>
                    <a:pt x="2306" y="153"/>
                  </a:lnTo>
                  <a:lnTo>
                    <a:pt x="2278" y="169"/>
                  </a:lnTo>
                  <a:lnTo>
                    <a:pt x="2252" y="184"/>
                  </a:lnTo>
                  <a:lnTo>
                    <a:pt x="2218" y="205"/>
                  </a:lnTo>
                  <a:lnTo>
                    <a:pt x="2187" y="224"/>
                  </a:lnTo>
                  <a:lnTo>
                    <a:pt x="2158" y="244"/>
                  </a:lnTo>
                  <a:lnTo>
                    <a:pt x="2132" y="262"/>
                  </a:lnTo>
                  <a:lnTo>
                    <a:pt x="2108" y="280"/>
                  </a:lnTo>
                  <a:lnTo>
                    <a:pt x="2086" y="298"/>
                  </a:lnTo>
                  <a:lnTo>
                    <a:pt x="2065" y="315"/>
                  </a:lnTo>
                  <a:lnTo>
                    <a:pt x="2046" y="332"/>
                  </a:lnTo>
                  <a:lnTo>
                    <a:pt x="2007" y="367"/>
                  </a:lnTo>
                  <a:lnTo>
                    <a:pt x="1968" y="405"/>
                  </a:lnTo>
                  <a:lnTo>
                    <a:pt x="1927" y="446"/>
                  </a:lnTo>
                  <a:lnTo>
                    <a:pt x="1878" y="491"/>
                  </a:lnTo>
                  <a:lnTo>
                    <a:pt x="1866" y="504"/>
                  </a:lnTo>
                  <a:lnTo>
                    <a:pt x="1853" y="517"/>
                  </a:lnTo>
                  <a:lnTo>
                    <a:pt x="1838" y="533"/>
                  </a:lnTo>
                  <a:lnTo>
                    <a:pt x="1823" y="550"/>
                  </a:lnTo>
                  <a:lnTo>
                    <a:pt x="1790" y="592"/>
                  </a:lnTo>
                  <a:lnTo>
                    <a:pt x="1754" y="637"/>
                  </a:lnTo>
                  <a:lnTo>
                    <a:pt x="1717" y="689"/>
                  </a:lnTo>
                  <a:lnTo>
                    <a:pt x="1679" y="744"/>
                  </a:lnTo>
                  <a:lnTo>
                    <a:pt x="1639" y="802"/>
                  </a:lnTo>
                  <a:lnTo>
                    <a:pt x="1600" y="863"/>
                  </a:lnTo>
                  <a:lnTo>
                    <a:pt x="1561" y="926"/>
                  </a:lnTo>
                  <a:lnTo>
                    <a:pt x="1524" y="988"/>
                  </a:lnTo>
                  <a:lnTo>
                    <a:pt x="1488" y="1051"/>
                  </a:lnTo>
                  <a:lnTo>
                    <a:pt x="1454" y="1111"/>
                  </a:lnTo>
                  <a:lnTo>
                    <a:pt x="1425" y="1170"/>
                  </a:lnTo>
                  <a:lnTo>
                    <a:pt x="1398" y="1226"/>
                  </a:lnTo>
                  <a:lnTo>
                    <a:pt x="1387" y="1252"/>
                  </a:lnTo>
                  <a:lnTo>
                    <a:pt x="1377" y="1277"/>
                  </a:lnTo>
                  <a:lnTo>
                    <a:pt x="1367" y="1301"/>
                  </a:lnTo>
                  <a:lnTo>
                    <a:pt x="1359" y="1323"/>
                  </a:lnTo>
                  <a:lnTo>
                    <a:pt x="1340" y="1362"/>
                  </a:lnTo>
                  <a:lnTo>
                    <a:pt x="1320" y="1404"/>
                  </a:lnTo>
                  <a:lnTo>
                    <a:pt x="1300" y="1449"/>
                  </a:lnTo>
                  <a:lnTo>
                    <a:pt x="1280" y="1496"/>
                  </a:lnTo>
                  <a:lnTo>
                    <a:pt x="1261" y="1545"/>
                  </a:lnTo>
                  <a:lnTo>
                    <a:pt x="1241" y="1596"/>
                  </a:lnTo>
                  <a:lnTo>
                    <a:pt x="1222" y="1648"/>
                  </a:lnTo>
                  <a:lnTo>
                    <a:pt x="1204" y="1702"/>
                  </a:lnTo>
                  <a:lnTo>
                    <a:pt x="1167" y="1808"/>
                  </a:lnTo>
                  <a:lnTo>
                    <a:pt x="1133" y="1915"/>
                  </a:lnTo>
                  <a:lnTo>
                    <a:pt x="1101" y="2016"/>
                  </a:lnTo>
                  <a:lnTo>
                    <a:pt x="1071" y="2110"/>
                  </a:lnTo>
                  <a:lnTo>
                    <a:pt x="1055" y="2162"/>
                  </a:lnTo>
                  <a:lnTo>
                    <a:pt x="1039" y="2213"/>
                  </a:lnTo>
                  <a:lnTo>
                    <a:pt x="1023" y="2264"/>
                  </a:lnTo>
                  <a:lnTo>
                    <a:pt x="1008" y="2315"/>
                  </a:lnTo>
                  <a:lnTo>
                    <a:pt x="992" y="2367"/>
                  </a:lnTo>
                  <a:lnTo>
                    <a:pt x="976" y="2418"/>
                  </a:lnTo>
                  <a:lnTo>
                    <a:pt x="960" y="2471"/>
                  </a:lnTo>
                  <a:lnTo>
                    <a:pt x="944" y="2523"/>
                  </a:lnTo>
                  <a:lnTo>
                    <a:pt x="929" y="2573"/>
                  </a:lnTo>
                  <a:lnTo>
                    <a:pt x="913" y="2626"/>
                  </a:lnTo>
                  <a:lnTo>
                    <a:pt x="896" y="2682"/>
                  </a:lnTo>
                  <a:lnTo>
                    <a:pt x="880" y="2740"/>
                  </a:lnTo>
                  <a:lnTo>
                    <a:pt x="864" y="2797"/>
                  </a:lnTo>
                  <a:lnTo>
                    <a:pt x="849" y="2852"/>
                  </a:lnTo>
                  <a:lnTo>
                    <a:pt x="836" y="2906"/>
                  </a:lnTo>
                  <a:lnTo>
                    <a:pt x="827" y="2955"/>
                  </a:lnTo>
                  <a:lnTo>
                    <a:pt x="818" y="2977"/>
                  </a:lnTo>
                  <a:lnTo>
                    <a:pt x="809" y="3003"/>
                  </a:lnTo>
                  <a:lnTo>
                    <a:pt x="800" y="3033"/>
                  </a:lnTo>
                  <a:lnTo>
                    <a:pt x="790" y="3067"/>
                  </a:lnTo>
                  <a:lnTo>
                    <a:pt x="770" y="3142"/>
                  </a:lnTo>
                  <a:lnTo>
                    <a:pt x="749" y="3225"/>
                  </a:lnTo>
                  <a:lnTo>
                    <a:pt x="730" y="3310"/>
                  </a:lnTo>
                  <a:lnTo>
                    <a:pt x="712" y="3390"/>
                  </a:lnTo>
                  <a:lnTo>
                    <a:pt x="696" y="3461"/>
                  </a:lnTo>
                  <a:lnTo>
                    <a:pt x="683" y="3519"/>
                  </a:lnTo>
                  <a:lnTo>
                    <a:pt x="666" y="3593"/>
                  </a:lnTo>
                  <a:lnTo>
                    <a:pt x="649" y="3667"/>
                  </a:lnTo>
                  <a:lnTo>
                    <a:pt x="633" y="3740"/>
                  </a:lnTo>
                  <a:lnTo>
                    <a:pt x="617" y="3813"/>
                  </a:lnTo>
                  <a:lnTo>
                    <a:pt x="601" y="3886"/>
                  </a:lnTo>
                  <a:lnTo>
                    <a:pt x="585" y="3960"/>
                  </a:lnTo>
                  <a:lnTo>
                    <a:pt x="569" y="4033"/>
                  </a:lnTo>
                  <a:lnTo>
                    <a:pt x="553" y="4108"/>
                  </a:lnTo>
                  <a:lnTo>
                    <a:pt x="537" y="4182"/>
                  </a:lnTo>
                  <a:lnTo>
                    <a:pt x="522" y="4256"/>
                  </a:lnTo>
                  <a:lnTo>
                    <a:pt x="506" y="4330"/>
                  </a:lnTo>
                  <a:lnTo>
                    <a:pt x="491" y="4406"/>
                  </a:lnTo>
                  <a:lnTo>
                    <a:pt x="476" y="4483"/>
                  </a:lnTo>
                  <a:lnTo>
                    <a:pt x="461" y="4559"/>
                  </a:lnTo>
                  <a:lnTo>
                    <a:pt x="447" y="4636"/>
                  </a:lnTo>
                  <a:lnTo>
                    <a:pt x="433" y="4714"/>
                  </a:lnTo>
                  <a:lnTo>
                    <a:pt x="419" y="4791"/>
                  </a:lnTo>
                  <a:lnTo>
                    <a:pt x="405" y="4868"/>
                  </a:lnTo>
                  <a:lnTo>
                    <a:pt x="392" y="4946"/>
                  </a:lnTo>
                  <a:lnTo>
                    <a:pt x="380" y="5024"/>
                  </a:lnTo>
                  <a:lnTo>
                    <a:pt x="367" y="5100"/>
                  </a:lnTo>
                  <a:lnTo>
                    <a:pt x="356" y="5177"/>
                  </a:lnTo>
                  <a:lnTo>
                    <a:pt x="346" y="5253"/>
                  </a:lnTo>
                  <a:lnTo>
                    <a:pt x="335" y="5328"/>
                  </a:lnTo>
                  <a:lnTo>
                    <a:pt x="320" y="5442"/>
                  </a:lnTo>
                  <a:lnTo>
                    <a:pt x="304" y="5555"/>
                  </a:lnTo>
                  <a:lnTo>
                    <a:pt x="289" y="5668"/>
                  </a:lnTo>
                  <a:lnTo>
                    <a:pt x="275" y="5781"/>
                  </a:lnTo>
                  <a:lnTo>
                    <a:pt x="259" y="5896"/>
                  </a:lnTo>
                  <a:lnTo>
                    <a:pt x="244" y="6009"/>
                  </a:lnTo>
                  <a:lnTo>
                    <a:pt x="229" y="6124"/>
                  </a:lnTo>
                  <a:lnTo>
                    <a:pt x="214" y="6238"/>
                  </a:lnTo>
                  <a:lnTo>
                    <a:pt x="199" y="6352"/>
                  </a:lnTo>
                  <a:lnTo>
                    <a:pt x="185" y="6467"/>
                  </a:lnTo>
                  <a:lnTo>
                    <a:pt x="173" y="6581"/>
                  </a:lnTo>
                  <a:lnTo>
                    <a:pt x="160" y="6697"/>
                  </a:lnTo>
                  <a:lnTo>
                    <a:pt x="148" y="6811"/>
                  </a:lnTo>
                  <a:lnTo>
                    <a:pt x="137" y="6927"/>
                  </a:lnTo>
                  <a:lnTo>
                    <a:pt x="127" y="7042"/>
                  </a:lnTo>
                  <a:lnTo>
                    <a:pt x="119" y="7158"/>
                  </a:lnTo>
                  <a:lnTo>
                    <a:pt x="105" y="7319"/>
                  </a:lnTo>
                  <a:lnTo>
                    <a:pt x="92" y="7481"/>
                  </a:lnTo>
                  <a:lnTo>
                    <a:pt x="79" y="7643"/>
                  </a:lnTo>
                  <a:lnTo>
                    <a:pt x="65" y="7805"/>
                  </a:lnTo>
                  <a:lnTo>
                    <a:pt x="54" y="7967"/>
                  </a:lnTo>
                  <a:lnTo>
                    <a:pt x="42" y="8130"/>
                  </a:lnTo>
                  <a:lnTo>
                    <a:pt x="31" y="8293"/>
                  </a:lnTo>
                  <a:lnTo>
                    <a:pt x="22" y="8456"/>
                  </a:lnTo>
                  <a:lnTo>
                    <a:pt x="14" y="8619"/>
                  </a:lnTo>
                  <a:lnTo>
                    <a:pt x="8" y="8782"/>
                  </a:lnTo>
                  <a:lnTo>
                    <a:pt x="3" y="8946"/>
                  </a:lnTo>
                  <a:lnTo>
                    <a:pt x="0" y="9109"/>
                  </a:lnTo>
                  <a:lnTo>
                    <a:pt x="0" y="9190"/>
                  </a:lnTo>
                  <a:lnTo>
                    <a:pt x="0" y="9273"/>
                  </a:lnTo>
                  <a:lnTo>
                    <a:pt x="1" y="9354"/>
                  </a:lnTo>
                  <a:lnTo>
                    <a:pt x="2" y="9437"/>
                  </a:lnTo>
                  <a:lnTo>
                    <a:pt x="3" y="9518"/>
                  </a:lnTo>
                  <a:lnTo>
                    <a:pt x="7" y="9599"/>
                  </a:lnTo>
                  <a:lnTo>
                    <a:pt x="10" y="9681"/>
                  </a:lnTo>
                  <a:lnTo>
                    <a:pt x="14" y="9763"/>
                  </a:lnTo>
                  <a:lnTo>
                    <a:pt x="21" y="9885"/>
                  </a:lnTo>
                  <a:lnTo>
                    <a:pt x="27" y="10006"/>
                  </a:lnTo>
                  <a:lnTo>
                    <a:pt x="34" y="10128"/>
                  </a:lnTo>
                  <a:lnTo>
                    <a:pt x="41" y="10249"/>
                  </a:lnTo>
                  <a:lnTo>
                    <a:pt x="47" y="10369"/>
                  </a:lnTo>
                  <a:lnTo>
                    <a:pt x="54" y="10490"/>
                  </a:lnTo>
                  <a:lnTo>
                    <a:pt x="61" y="10611"/>
                  </a:lnTo>
                  <a:lnTo>
                    <a:pt x="68" y="10731"/>
                  </a:lnTo>
                  <a:lnTo>
                    <a:pt x="74" y="10851"/>
                  </a:lnTo>
                  <a:lnTo>
                    <a:pt x="82" y="10971"/>
                  </a:lnTo>
                  <a:lnTo>
                    <a:pt x="90" y="11091"/>
                  </a:lnTo>
                  <a:lnTo>
                    <a:pt x="98" y="11213"/>
                  </a:lnTo>
                  <a:lnTo>
                    <a:pt x="108" y="11333"/>
                  </a:lnTo>
                  <a:lnTo>
                    <a:pt x="117" y="11454"/>
                  </a:lnTo>
                  <a:lnTo>
                    <a:pt x="127" y="11575"/>
                  </a:lnTo>
                  <a:lnTo>
                    <a:pt x="138" y="11697"/>
                  </a:lnTo>
                  <a:lnTo>
                    <a:pt x="149" y="11811"/>
                  </a:lnTo>
                  <a:lnTo>
                    <a:pt x="160" y="11926"/>
                  </a:lnTo>
                  <a:lnTo>
                    <a:pt x="172" y="12040"/>
                  </a:lnTo>
                  <a:lnTo>
                    <a:pt x="184" y="12154"/>
                  </a:lnTo>
                  <a:lnTo>
                    <a:pt x="197" y="12269"/>
                  </a:lnTo>
                  <a:lnTo>
                    <a:pt x="209" y="12383"/>
                  </a:lnTo>
                  <a:lnTo>
                    <a:pt x="223" y="12498"/>
                  </a:lnTo>
                  <a:lnTo>
                    <a:pt x="237" y="12611"/>
                  </a:lnTo>
                  <a:lnTo>
                    <a:pt x="252" y="12725"/>
                  </a:lnTo>
                  <a:lnTo>
                    <a:pt x="267" y="12839"/>
                  </a:lnTo>
                  <a:lnTo>
                    <a:pt x="281" y="12953"/>
                  </a:lnTo>
                  <a:lnTo>
                    <a:pt x="298" y="13066"/>
                  </a:lnTo>
                  <a:lnTo>
                    <a:pt x="314" y="13180"/>
                  </a:lnTo>
                  <a:lnTo>
                    <a:pt x="331" y="13293"/>
                  </a:lnTo>
                  <a:lnTo>
                    <a:pt x="349" y="13406"/>
                  </a:lnTo>
                  <a:lnTo>
                    <a:pt x="366" y="13519"/>
                  </a:lnTo>
                  <a:lnTo>
                    <a:pt x="398" y="13707"/>
                  </a:lnTo>
                  <a:lnTo>
                    <a:pt x="433" y="13905"/>
                  </a:lnTo>
                  <a:lnTo>
                    <a:pt x="470" y="14110"/>
                  </a:lnTo>
                  <a:lnTo>
                    <a:pt x="511" y="14322"/>
                  </a:lnTo>
                  <a:lnTo>
                    <a:pt x="555" y="14538"/>
                  </a:lnTo>
                  <a:lnTo>
                    <a:pt x="602" y="14757"/>
                  </a:lnTo>
                  <a:lnTo>
                    <a:pt x="650" y="14979"/>
                  </a:lnTo>
                  <a:lnTo>
                    <a:pt x="701" y="15200"/>
                  </a:lnTo>
                  <a:lnTo>
                    <a:pt x="729" y="15311"/>
                  </a:lnTo>
                  <a:lnTo>
                    <a:pt x="755" y="15420"/>
                  </a:lnTo>
                  <a:lnTo>
                    <a:pt x="784" y="15530"/>
                  </a:lnTo>
                  <a:lnTo>
                    <a:pt x="811" y="15639"/>
                  </a:lnTo>
                  <a:lnTo>
                    <a:pt x="840" y="15747"/>
                  </a:lnTo>
                  <a:lnTo>
                    <a:pt x="870" y="15854"/>
                  </a:lnTo>
                  <a:lnTo>
                    <a:pt x="899" y="15959"/>
                  </a:lnTo>
                  <a:lnTo>
                    <a:pt x="929" y="16064"/>
                  </a:lnTo>
                  <a:lnTo>
                    <a:pt x="960" y="16165"/>
                  </a:lnTo>
                  <a:lnTo>
                    <a:pt x="991" y="16266"/>
                  </a:lnTo>
                  <a:lnTo>
                    <a:pt x="1022" y="16365"/>
                  </a:lnTo>
                  <a:lnTo>
                    <a:pt x="1054" y="16461"/>
                  </a:lnTo>
                  <a:lnTo>
                    <a:pt x="1086" y="16556"/>
                  </a:lnTo>
                  <a:lnTo>
                    <a:pt x="1119" y="16646"/>
                  </a:lnTo>
                  <a:lnTo>
                    <a:pt x="1152" y="16735"/>
                  </a:lnTo>
                  <a:lnTo>
                    <a:pt x="1185" y="16821"/>
                  </a:lnTo>
                  <a:lnTo>
                    <a:pt x="1225" y="16920"/>
                  </a:lnTo>
                  <a:lnTo>
                    <a:pt x="1267" y="17017"/>
                  </a:lnTo>
                  <a:lnTo>
                    <a:pt x="1288" y="17064"/>
                  </a:lnTo>
                  <a:lnTo>
                    <a:pt x="1310" y="17111"/>
                  </a:lnTo>
                  <a:lnTo>
                    <a:pt x="1332" y="17156"/>
                  </a:lnTo>
                  <a:lnTo>
                    <a:pt x="1354" y="17202"/>
                  </a:lnTo>
                  <a:lnTo>
                    <a:pt x="1377" y="17247"/>
                  </a:lnTo>
                  <a:lnTo>
                    <a:pt x="1399" y="17290"/>
                  </a:lnTo>
                  <a:lnTo>
                    <a:pt x="1423" y="17334"/>
                  </a:lnTo>
                  <a:lnTo>
                    <a:pt x="1447" y="17376"/>
                  </a:lnTo>
                  <a:lnTo>
                    <a:pt x="1471" y="17417"/>
                  </a:lnTo>
                  <a:lnTo>
                    <a:pt x="1496" y="17459"/>
                  </a:lnTo>
                  <a:lnTo>
                    <a:pt x="1521" y="17499"/>
                  </a:lnTo>
                  <a:lnTo>
                    <a:pt x="1546" y="17538"/>
                  </a:lnTo>
                  <a:lnTo>
                    <a:pt x="1572" y="17576"/>
                  </a:lnTo>
                  <a:lnTo>
                    <a:pt x="1598" y="17614"/>
                  </a:lnTo>
                  <a:lnTo>
                    <a:pt x="1625" y="17651"/>
                  </a:lnTo>
                  <a:lnTo>
                    <a:pt x="1652" y="17687"/>
                  </a:lnTo>
                  <a:lnTo>
                    <a:pt x="1680" y="17722"/>
                  </a:lnTo>
                  <a:lnTo>
                    <a:pt x="1707" y="17756"/>
                  </a:lnTo>
                  <a:lnTo>
                    <a:pt x="1736" y="17789"/>
                  </a:lnTo>
                  <a:lnTo>
                    <a:pt x="1764" y="17822"/>
                  </a:lnTo>
                  <a:lnTo>
                    <a:pt x="1794" y="17853"/>
                  </a:lnTo>
                  <a:lnTo>
                    <a:pt x="1824" y="17884"/>
                  </a:lnTo>
                  <a:lnTo>
                    <a:pt x="1854" y="17914"/>
                  </a:lnTo>
                  <a:lnTo>
                    <a:pt x="1885" y="17943"/>
                  </a:lnTo>
                  <a:lnTo>
                    <a:pt x="1917" y="17970"/>
                  </a:lnTo>
                  <a:lnTo>
                    <a:pt x="1947" y="17998"/>
                  </a:lnTo>
                  <a:lnTo>
                    <a:pt x="1980" y="18023"/>
                  </a:lnTo>
                  <a:lnTo>
                    <a:pt x="2013" y="18048"/>
                  </a:lnTo>
                  <a:lnTo>
                    <a:pt x="2052" y="18075"/>
                  </a:lnTo>
                  <a:lnTo>
                    <a:pt x="2091" y="18102"/>
                  </a:lnTo>
                  <a:lnTo>
                    <a:pt x="2132" y="18127"/>
                  </a:lnTo>
                  <a:lnTo>
                    <a:pt x="2173" y="18151"/>
                  </a:lnTo>
                  <a:lnTo>
                    <a:pt x="2215" y="18174"/>
                  </a:lnTo>
                  <a:lnTo>
                    <a:pt x="2259" y="18194"/>
                  </a:lnTo>
                  <a:lnTo>
                    <a:pt x="2303" y="18214"/>
                  </a:lnTo>
                  <a:lnTo>
                    <a:pt x="2349" y="18232"/>
                  </a:lnTo>
                  <a:lnTo>
                    <a:pt x="2397" y="18249"/>
                  </a:lnTo>
                  <a:lnTo>
                    <a:pt x="2446" y="18264"/>
                  </a:lnTo>
                  <a:lnTo>
                    <a:pt x="2497" y="18277"/>
                  </a:lnTo>
                  <a:lnTo>
                    <a:pt x="2549" y="18287"/>
                  </a:lnTo>
                  <a:lnTo>
                    <a:pt x="2576" y="18292"/>
                  </a:lnTo>
                  <a:lnTo>
                    <a:pt x="2603" y="18296"/>
                  </a:lnTo>
                  <a:lnTo>
                    <a:pt x="2631" y="18300"/>
                  </a:lnTo>
                  <a:lnTo>
                    <a:pt x="2658" y="18303"/>
                  </a:lnTo>
                  <a:lnTo>
                    <a:pt x="2687" y="18305"/>
                  </a:lnTo>
                  <a:lnTo>
                    <a:pt x="2716" y="18308"/>
                  </a:lnTo>
                  <a:lnTo>
                    <a:pt x="2745" y="18309"/>
                  </a:lnTo>
                  <a:lnTo>
                    <a:pt x="2776" y="18309"/>
                  </a:lnTo>
                  <a:lnTo>
                    <a:pt x="2835" y="18310"/>
                  </a:lnTo>
                  <a:lnTo>
                    <a:pt x="2896" y="18310"/>
                  </a:lnTo>
                  <a:lnTo>
                    <a:pt x="2957" y="18309"/>
                  </a:lnTo>
                  <a:lnTo>
                    <a:pt x="3017" y="18308"/>
                  </a:lnTo>
                  <a:lnTo>
                    <a:pt x="3079" y="18305"/>
                  </a:lnTo>
                  <a:lnTo>
                    <a:pt x="3140" y="18303"/>
                  </a:lnTo>
                  <a:lnTo>
                    <a:pt x="3200" y="18300"/>
                  </a:lnTo>
                  <a:lnTo>
                    <a:pt x="3262" y="18296"/>
                  </a:lnTo>
                  <a:lnTo>
                    <a:pt x="3323" y="18292"/>
                  </a:lnTo>
                  <a:lnTo>
                    <a:pt x="3384" y="18287"/>
                  </a:lnTo>
                  <a:lnTo>
                    <a:pt x="3444" y="18283"/>
                  </a:lnTo>
                  <a:lnTo>
                    <a:pt x="3505" y="18277"/>
                  </a:lnTo>
                  <a:lnTo>
                    <a:pt x="3565" y="18271"/>
                  </a:lnTo>
                  <a:lnTo>
                    <a:pt x="3625" y="18264"/>
                  </a:lnTo>
                  <a:lnTo>
                    <a:pt x="3686" y="18257"/>
                  </a:lnTo>
                  <a:lnTo>
                    <a:pt x="3745" y="18250"/>
                  </a:lnTo>
                  <a:lnTo>
                    <a:pt x="3829" y="18240"/>
                  </a:lnTo>
                  <a:lnTo>
                    <a:pt x="3912" y="18230"/>
                  </a:lnTo>
                  <a:lnTo>
                    <a:pt x="3995" y="18218"/>
                  </a:lnTo>
                  <a:lnTo>
                    <a:pt x="4076" y="18206"/>
                  </a:lnTo>
                  <a:lnTo>
                    <a:pt x="4157" y="18192"/>
                  </a:lnTo>
                  <a:lnTo>
                    <a:pt x="4236" y="18178"/>
                  </a:lnTo>
                  <a:lnTo>
                    <a:pt x="4316" y="18165"/>
                  </a:lnTo>
                  <a:lnTo>
                    <a:pt x="4395" y="18150"/>
                  </a:lnTo>
                  <a:lnTo>
                    <a:pt x="4473" y="18134"/>
                  </a:lnTo>
                  <a:lnTo>
                    <a:pt x="4549" y="18118"/>
                  </a:lnTo>
                  <a:lnTo>
                    <a:pt x="4627" y="18101"/>
                  </a:lnTo>
                  <a:lnTo>
                    <a:pt x="4704" y="18083"/>
                  </a:lnTo>
                  <a:lnTo>
                    <a:pt x="4779" y="18066"/>
                  </a:lnTo>
                  <a:lnTo>
                    <a:pt x="4855" y="18048"/>
                  </a:lnTo>
                  <a:lnTo>
                    <a:pt x="4931" y="18028"/>
                  </a:lnTo>
                  <a:lnTo>
                    <a:pt x="5006" y="18009"/>
                  </a:lnTo>
                  <a:lnTo>
                    <a:pt x="5156" y="17969"/>
                  </a:lnTo>
                  <a:lnTo>
                    <a:pt x="5305" y="17927"/>
                  </a:lnTo>
                  <a:lnTo>
                    <a:pt x="5455" y="17882"/>
                  </a:lnTo>
                  <a:lnTo>
                    <a:pt x="5603" y="17836"/>
                  </a:lnTo>
                  <a:lnTo>
                    <a:pt x="5753" y="17789"/>
                  </a:lnTo>
                  <a:lnTo>
                    <a:pt x="5904" y="17741"/>
                  </a:lnTo>
                  <a:lnTo>
                    <a:pt x="6056" y="17691"/>
                  </a:lnTo>
                  <a:lnTo>
                    <a:pt x="6211" y="17639"/>
                  </a:lnTo>
                  <a:lnTo>
                    <a:pt x="6273" y="17619"/>
                  </a:lnTo>
                  <a:lnTo>
                    <a:pt x="6368" y="17586"/>
                  </a:lnTo>
                  <a:lnTo>
                    <a:pt x="6483" y="17544"/>
                  </a:lnTo>
                  <a:lnTo>
                    <a:pt x="6608" y="17501"/>
                  </a:lnTo>
                  <a:lnTo>
                    <a:pt x="6729" y="17456"/>
                  </a:lnTo>
                  <a:lnTo>
                    <a:pt x="6837" y="17415"/>
                  </a:lnTo>
                  <a:lnTo>
                    <a:pt x="6881" y="17398"/>
                  </a:lnTo>
                  <a:lnTo>
                    <a:pt x="6917" y="17382"/>
                  </a:lnTo>
                  <a:lnTo>
                    <a:pt x="6943" y="17369"/>
                  </a:lnTo>
                  <a:lnTo>
                    <a:pt x="6959" y="17361"/>
                  </a:lnTo>
                  <a:lnTo>
                    <a:pt x="6994" y="17351"/>
                  </a:lnTo>
                  <a:lnTo>
                    <a:pt x="7046" y="17333"/>
                  </a:lnTo>
                  <a:lnTo>
                    <a:pt x="7116" y="17308"/>
                  </a:lnTo>
                  <a:lnTo>
                    <a:pt x="7200" y="17277"/>
                  </a:lnTo>
                  <a:lnTo>
                    <a:pt x="7294" y="17240"/>
                  </a:lnTo>
                  <a:lnTo>
                    <a:pt x="7397" y="17200"/>
                  </a:lnTo>
                  <a:lnTo>
                    <a:pt x="7507" y="17156"/>
                  </a:lnTo>
                  <a:lnTo>
                    <a:pt x="7621" y="17112"/>
                  </a:lnTo>
                  <a:lnTo>
                    <a:pt x="7734" y="17066"/>
                  </a:lnTo>
                  <a:lnTo>
                    <a:pt x="7846" y="17021"/>
                  </a:lnTo>
                  <a:lnTo>
                    <a:pt x="7955" y="16977"/>
                  </a:lnTo>
                  <a:lnTo>
                    <a:pt x="8057" y="16937"/>
                  </a:lnTo>
                  <a:lnTo>
                    <a:pt x="8148" y="16899"/>
                  </a:lnTo>
                  <a:lnTo>
                    <a:pt x="8228" y="16867"/>
                  </a:lnTo>
                  <a:lnTo>
                    <a:pt x="8295" y="16841"/>
                  </a:lnTo>
                  <a:lnTo>
                    <a:pt x="8344" y="16821"/>
                  </a:lnTo>
                  <a:lnTo>
                    <a:pt x="8396" y="16799"/>
                  </a:lnTo>
                  <a:lnTo>
                    <a:pt x="8454" y="16778"/>
                  </a:lnTo>
                  <a:lnTo>
                    <a:pt x="8513" y="16755"/>
                  </a:lnTo>
                  <a:lnTo>
                    <a:pt x="8574" y="16731"/>
                  </a:lnTo>
                  <a:lnTo>
                    <a:pt x="8633" y="16707"/>
                  </a:lnTo>
                  <a:lnTo>
                    <a:pt x="8690" y="16682"/>
                  </a:lnTo>
                  <a:lnTo>
                    <a:pt x="8744" y="16658"/>
                  </a:lnTo>
                  <a:lnTo>
                    <a:pt x="8792" y="16633"/>
                  </a:lnTo>
                  <a:lnTo>
                    <a:pt x="8829" y="16621"/>
                  </a:lnTo>
                  <a:lnTo>
                    <a:pt x="8872" y="16605"/>
                  </a:lnTo>
                  <a:lnTo>
                    <a:pt x="8918" y="16587"/>
                  </a:lnTo>
                  <a:lnTo>
                    <a:pt x="8965" y="16565"/>
                  </a:lnTo>
                  <a:lnTo>
                    <a:pt x="9013" y="16543"/>
                  </a:lnTo>
                  <a:lnTo>
                    <a:pt x="9059" y="16522"/>
                  </a:lnTo>
                  <a:lnTo>
                    <a:pt x="9100" y="16502"/>
                  </a:lnTo>
                  <a:lnTo>
                    <a:pt x="9137" y="16485"/>
                  </a:lnTo>
                  <a:lnTo>
                    <a:pt x="9178" y="16465"/>
                  </a:lnTo>
                  <a:lnTo>
                    <a:pt x="9220" y="16447"/>
                  </a:lnTo>
                  <a:lnTo>
                    <a:pt x="9263" y="16429"/>
                  </a:lnTo>
                  <a:lnTo>
                    <a:pt x="9304" y="16409"/>
                  </a:lnTo>
                  <a:lnTo>
                    <a:pt x="9346" y="16391"/>
                  </a:lnTo>
                  <a:lnTo>
                    <a:pt x="9388" y="16371"/>
                  </a:lnTo>
                  <a:lnTo>
                    <a:pt x="9430" y="16352"/>
                  </a:lnTo>
                  <a:lnTo>
                    <a:pt x="9471" y="16331"/>
                  </a:lnTo>
                  <a:lnTo>
                    <a:pt x="9550" y="16292"/>
                  </a:lnTo>
                  <a:lnTo>
                    <a:pt x="9633" y="16254"/>
                  </a:lnTo>
                  <a:lnTo>
                    <a:pt x="9720" y="16214"/>
                  </a:lnTo>
                  <a:lnTo>
                    <a:pt x="9807" y="16173"/>
                  </a:lnTo>
                  <a:lnTo>
                    <a:pt x="9894" y="16132"/>
                  </a:lnTo>
                  <a:lnTo>
                    <a:pt x="9978" y="16091"/>
                  </a:lnTo>
                  <a:lnTo>
                    <a:pt x="10018" y="16069"/>
                  </a:lnTo>
                  <a:lnTo>
                    <a:pt x="10057" y="16048"/>
                  </a:lnTo>
                  <a:lnTo>
                    <a:pt x="10093" y="16026"/>
                  </a:lnTo>
                  <a:lnTo>
                    <a:pt x="10129" y="16004"/>
                  </a:lnTo>
                  <a:lnTo>
                    <a:pt x="10153" y="15994"/>
                  </a:lnTo>
                  <a:lnTo>
                    <a:pt x="10184" y="15979"/>
                  </a:lnTo>
                  <a:lnTo>
                    <a:pt x="10220" y="15962"/>
                  </a:lnTo>
                  <a:lnTo>
                    <a:pt x="10263" y="15939"/>
                  </a:lnTo>
                  <a:lnTo>
                    <a:pt x="10363" y="15886"/>
                  </a:lnTo>
                  <a:lnTo>
                    <a:pt x="10482" y="15821"/>
                  </a:lnTo>
                  <a:lnTo>
                    <a:pt x="10614" y="15748"/>
                  </a:lnTo>
                  <a:lnTo>
                    <a:pt x="10756" y="15669"/>
                  </a:lnTo>
                  <a:lnTo>
                    <a:pt x="10903" y="15584"/>
                  </a:lnTo>
                  <a:lnTo>
                    <a:pt x="11053" y="15498"/>
                  </a:lnTo>
                  <a:lnTo>
                    <a:pt x="11202" y="15411"/>
                  </a:lnTo>
                  <a:lnTo>
                    <a:pt x="11344" y="15328"/>
                  </a:lnTo>
                  <a:lnTo>
                    <a:pt x="11477" y="15249"/>
                  </a:lnTo>
                  <a:lnTo>
                    <a:pt x="11597" y="15176"/>
                  </a:lnTo>
                  <a:lnTo>
                    <a:pt x="11700" y="15111"/>
                  </a:lnTo>
                  <a:lnTo>
                    <a:pt x="11781" y="15060"/>
                  </a:lnTo>
                  <a:lnTo>
                    <a:pt x="11813" y="15038"/>
                  </a:lnTo>
                  <a:lnTo>
                    <a:pt x="11838" y="15021"/>
                  </a:lnTo>
                  <a:lnTo>
                    <a:pt x="11857" y="15007"/>
                  </a:lnTo>
                  <a:lnTo>
                    <a:pt x="11867" y="14997"/>
                  </a:lnTo>
                  <a:lnTo>
                    <a:pt x="11879" y="14991"/>
                  </a:lnTo>
                  <a:lnTo>
                    <a:pt x="11898" y="14982"/>
                  </a:lnTo>
                  <a:lnTo>
                    <a:pt x="11919" y="14970"/>
                  </a:lnTo>
                  <a:lnTo>
                    <a:pt x="11947" y="14954"/>
                  </a:lnTo>
                  <a:lnTo>
                    <a:pt x="12012" y="14913"/>
                  </a:lnTo>
                  <a:lnTo>
                    <a:pt x="12090" y="14864"/>
                  </a:lnTo>
                  <a:lnTo>
                    <a:pt x="12179" y="14806"/>
                  </a:lnTo>
                  <a:lnTo>
                    <a:pt x="12276" y="14741"/>
                  </a:lnTo>
                  <a:lnTo>
                    <a:pt x="12379" y="14672"/>
                  </a:lnTo>
                  <a:lnTo>
                    <a:pt x="12485" y="14600"/>
                  </a:lnTo>
                  <a:lnTo>
                    <a:pt x="12590" y="14528"/>
                  </a:lnTo>
                  <a:lnTo>
                    <a:pt x="12694" y="14457"/>
                  </a:lnTo>
                  <a:lnTo>
                    <a:pt x="12791" y="14388"/>
                  </a:lnTo>
                  <a:lnTo>
                    <a:pt x="12883" y="14324"/>
                  </a:lnTo>
                  <a:lnTo>
                    <a:pt x="12963" y="14267"/>
                  </a:lnTo>
                  <a:lnTo>
                    <a:pt x="13031" y="14218"/>
                  </a:lnTo>
                  <a:lnTo>
                    <a:pt x="13083" y="14179"/>
                  </a:lnTo>
                  <a:lnTo>
                    <a:pt x="13116" y="14152"/>
                  </a:lnTo>
                  <a:lnTo>
                    <a:pt x="13131" y="14143"/>
                  </a:lnTo>
                  <a:lnTo>
                    <a:pt x="13152" y="14131"/>
                  </a:lnTo>
                  <a:lnTo>
                    <a:pt x="13179" y="14112"/>
                  </a:lnTo>
                  <a:lnTo>
                    <a:pt x="13212" y="14088"/>
                  </a:lnTo>
                  <a:lnTo>
                    <a:pt x="13294" y="14030"/>
                  </a:lnTo>
                  <a:lnTo>
                    <a:pt x="13392" y="13958"/>
                  </a:lnTo>
                  <a:lnTo>
                    <a:pt x="13505" y="13873"/>
                  </a:lnTo>
                  <a:lnTo>
                    <a:pt x="13628" y="13779"/>
                  </a:lnTo>
                  <a:lnTo>
                    <a:pt x="13758" y="13680"/>
                  </a:lnTo>
                  <a:lnTo>
                    <a:pt x="13891" y="13578"/>
                  </a:lnTo>
                  <a:lnTo>
                    <a:pt x="14024" y="13475"/>
                  </a:lnTo>
                  <a:lnTo>
                    <a:pt x="14153" y="13374"/>
                  </a:lnTo>
                  <a:lnTo>
                    <a:pt x="14274" y="13278"/>
                  </a:lnTo>
                  <a:lnTo>
                    <a:pt x="14385" y="13190"/>
                  </a:lnTo>
                  <a:lnTo>
                    <a:pt x="14481" y="13112"/>
                  </a:lnTo>
                  <a:lnTo>
                    <a:pt x="14559" y="13048"/>
                  </a:lnTo>
                  <a:lnTo>
                    <a:pt x="14590" y="13022"/>
                  </a:lnTo>
                  <a:lnTo>
                    <a:pt x="14615" y="13000"/>
                  </a:lnTo>
                  <a:lnTo>
                    <a:pt x="14634" y="12982"/>
                  </a:lnTo>
                  <a:lnTo>
                    <a:pt x="14645" y="12970"/>
                  </a:lnTo>
                  <a:lnTo>
                    <a:pt x="14658" y="12963"/>
                  </a:lnTo>
                  <a:lnTo>
                    <a:pt x="14673" y="12954"/>
                  </a:lnTo>
                  <a:lnTo>
                    <a:pt x="14690" y="12942"/>
                  </a:lnTo>
                  <a:lnTo>
                    <a:pt x="14708" y="12928"/>
                  </a:lnTo>
                  <a:lnTo>
                    <a:pt x="14751" y="12895"/>
                  </a:lnTo>
                  <a:lnTo>
                    <a:pt x="14802" y="12854"/>
                  </a:lnTo>
                  <a:lnTo>
                    <a:pt x="14857" y="12807"/>
                  </a:lnTo>
                  <a:lnTo>
                    <a:pt x="14917" y="12756"/>
                  </a:lnTo>
                  <a:lnTo>
                    <a:pt x="14979" y="12701"/>
                  </a:lnTo>
                  <a:lnTo>
                    <a:pt x="15044" y="12645"/>
                  </a:lnTo>
                  <a:lnTo>
                    <a:pt x="15110" y="12587"/>
                  </a:lnTo>
                  <a:lnTo>
                    <a:pt x="15175" y="12530"/>
                  </a:lnTo>
                  <a:lnTo>
                    <a:pt x="15238" y="12475"/>
                  </a:lnTo>
                  <a:lnTo>
                    <a:pt x="15298" y="12421"/>
                  </a:lnTo>
                  <a:lnTo>
                    <a:pt x="15354" y="12372"/>
                  </a:lnTo>
                  <a:lnTo>
                    <a:pt x="15405" y="12328"/>
                  </a:lnTo>
                  <a:lnTo>
                    <a:pt x="15451" y="12291"/>
                  </a:lnTo>
                  <a:lnTo>
                    <a:pt x="15487" y="12261"/>
                  </a:lnTo>
                  <a:lnTo>
                    <a:pt x="15508" y="12245"/>
                  </a:lnTo>
                  <a:lnTo>
                    <a:pt x="15520" y="12233"/>
                  </a:lnTo>
                  <a:lnTo>
                    <a:pt x="15534" y="12220"/>
                  </a:lnTo>
                  <a:lnTo>
                    <a:pt x="15555" y="12200"/>
                  </a:lnTo>
                  <a:lnTo>
                    <a:pt x="15765" y="12013"/>
                  </a:lnTo>
                  <a:lnTo>
                    <a:pt x="15798" y="11979"/>
                  </a:lnTo>
                  <a:lnTo>
                    <a:pt x="15830" y="11947"/>
                  </a:lnTo>
                  <a:lnTo>
                    <a:pt x="15863" y="11915"/>
                  </a:lnTo>
                  <a:lnTo>
                    <a:pt x="15895" y="11884"/>
                  </a:lnTo>
                  <a:lnTo>
                    <a:pt x="15927" y="11853"/>
                  </a:lnTo>
                  <a:lnTo>
                    <a:pt x="15959" y="11823"/>
                  </a:lnTo>
                  <a:lnTo>
                    <a:pt x="15992" y="11790"/>
                  </a:lnTo>
                  <a:lnTo>
                    <a:pt x="16025" y="11758"/>
                  </a:lnTo>
                  <a:lnTo>
                    <a:pt x="16052" y="11733"/>
                  </a:lnTo>
                  <a:lnTo>
                    <a:pt x="16089" y="11696"/>
                  </a:lnTo>
                  <a:lnTo>
                    <a:pt x="16136" y="11649"/>
                  </a:lnTo>
                  <a:lnTo>
                    <a:pt x="16190" y="11595"/>
                  </a:lnTo>
                  <a:lnTo>
                    <a:pt x="16248" y="11535"/>
                  </a:lnTo>
                  <a:lnTo>
                    <a:pt x="16311" y="11470"/>
                  </a:lnTo>
                  <a:lnTo>
                    <a:pt x="16377" y="11403"/>
                  </a:lnTo>
                  <a:lnTo>
                    <a:pt x="16443" y="11335"/>
                  </a:lnTo>
                  <a:lnTo>
                    <a:pt x="16508" y="11268"/>
                  </a:lnTo>
                  <a:lnTo>
                    <a:pt x="16571" y="11202"/>
                  </a:lnTo>
                  <a:lnTo>
                    <a:pt x="16629" y="11140"/>
                  </a:lnTo>
                  <a:lnTo>
                    <a:pt x="16681" y="11084"/>
                  </a:lnTo>
                  <a:lnTo>
                    <a:pt x="16726" y="11036"/>
                  </a:lnTo>
                  <a:lnTo>
                    <a:pt x="16761" y="10997"/>
                  </a:lnTo>
                  <a:lnTo>
                    <a:pt x="16786" y="10969"/>
                  </a:lnTo>
                  <a:lnTo>
                    <a:pt x="16797" y="10953"/>
                  </a:lnTo>
                  <a:lnTo>
                    <a:pt x="16818" y="10935"/>
                  </a:lnTo>
                  <a:lnTo>
                    <a:pt x="16837" y="10915"/>
                  </a:lnTo>
                  <a:lnTo>
                    <a:pt x="16856" y="10896"/>
                  </a:lnTo>
                  <a:lnTo>
                    <a:pt x="16874" y="10875"/>
                  </a:lnTo>
                  <a:lnTo>
                    <a:pt x="16908" y="10833"/>
                  </a:lnTo>
                  <a:lnTo>
                    <a:pt x="16943" y="10789"/>
                  </a:lnTo>
                  <a:lnTo>
                    <a:pt x="17006" y="10707"/>
                  </a:lnTo>
                  <a:lnTo>
                    <a:pt x="17067" y="10626"/>
                  </a:lnTo>
                  <a:lnTo>
                    <a:pt x="17128" y="10543"/>
                  </a:lnTo>
                  <a:lnTo>
                    <a:pt x="17185" y="10462"/>
                  </a:lnTo>
                  <a:lnTo>
                    <a:pt x="17214" y="10421"/>
                  </a:lnTo>
                  <a:lnTo>
                    <a:pt x="17241" y="10379"/>
                  </a:lnTo>
                  <a:lnTo>
                    <a:pt x="17269" y="10337"/>
                  </a:lnTo>
                  <a:lnTo>
                    <a:pt x="17295" y="10296"/>
                  </a:lnTo>
                  <a:lnTo>
                    <a:pt x="17321" y="10254"/>
                  </a:lnTo>
                  <a:lnTo>
                    <a:pt x="17347" y="10211"/>
                  </a:lnTo>
                  <a:lnTo>
                    <a:pt x="17372" y="10169"/>
                  </a:lnTo>
                  <a:lnTo>
                    <a:pt x="17396" y="10125"/>
                  </a:lnTo>
                  <a:lnTo>
                    <a:pt x="17419" y="10081"/>
                  </a:lnTo>
                  <a:lnTo>
                    <a:pt x="17442" y="10037"/>
                  </a:lnTo>
                  <a:lnTo>
                    <a:pt x="17463" y="9992"/>
                  </a:lnTo>
                  <a:lnTo>
                    <a:pt x="17485" y="9946"/>
                  </a:lnTo>
                  <a:lnTo>
                    <a:pt x="17505" y="9900"/>
                  </a:lnTo>
                  <a:lnTo>
                    <a:pt x="17524" y="9853"/>
                  </a:lnTo>
                  <a:lnTo>
                    <a:pt x="17543" y="9805"/>
                  </a:lnTo>
                  <a:lnTo>
                    <a:pt x="17561" y="9757"/>
                  </a:lnTo>
                  <a:lnTo>
                    <a:pt x="17578" y="9708"/>
                  </a:lnTo>
                  <a:lnTo>
                    <a:pt x="17594" y="9657"/>
                  </a:lnTo>
                  <a:lnTo>
                    <a:pt x="17609" y="9606"/>
                  </a:lnTo>
                  <a:lnTo>
                    <a:pt x="17622" y="9553"/>
                  </a:lnTo>
                  <a:lnTo>
                    <a:pt x="17636" y="9501"/>
                  </a:lnTo>
                  <a:lnTo>
                    <a:pt x="17648" y="9446"/>
                  </a:lnTo>
                  <a:lnTo>
                    <a:pt x="17659" y="9391"/>
                  </a:lnTo>
                  <a:lnTo>
                    <a:pt x="17669" y="9334"/>
                  </a:lnTo>
                  <a:lnTo>
                    <a:pt x="17673" y="9309"/>
                  </a:lnTo>
                  <a:lnTo>
                    <a:pt x="17675" y="9283"/>
                  </a:lnTo>
                  <a:lnTo>
                    <a:pt x="17675" y="9255"/>
                  </a:lnTo>
                  <a:lnTo>
                    <a:pt x="17674" y="9226"/>
                  </a:lnTo>
                  <a:lnTo>
                    <a:pt x="17672" y="9196"/>
                  </a:lnTo>
                  <a:lnTo>
                    <a:pt x="17669" y="9165"/>
                  </a:lnTo>
                  <a:lnTo>
                    <a:pt x="17665" y="9133"/>
                  </a:lnTo>
                  <a:lnTo>
                    <a:pt x="17659" y="9101"/>
                  </a:lnTo>
                  <a:lnTo>
                    <a:pt x="17653" y="9068"/>
                  </a:lnTo>
                  <a:lnTo>
                    <a:pt x="17645" y="9034"/>
                  </a:lnTo>
                  <a:lnTo>
                    <a:pt x="17637" y="8999"/>
                  </a:lnTo>
                  <a:lnTo>
                    <a:pt x="17629" y="8965"/>
                  </a:lnTo>
                  <a:lnTo>
                    <a:pt x="17609" y="8895"/>
                  </a:lnTo>
                  <a:lnTo>
                    <a:pt x="17587" y="8825"/>
                  </a:lnTo>
                  <a:lnTo>
                    <a:pt x="17563" y="8757"/>
                  </a:lnTo>
                  <a:lnTo>
                    <a:pt x="17539" y="8689"/>
                  </a:lnTo>
                  <a:lnTo>
                    <a:pt x="17513" y="8624"/>
                  </a:lnTo>
                  <a:lnTo>
                    <a:pt x="17487" y="8563"/>
                  </a:lnTo>
                  <a:lnTo>
                    <a:pt x="17462" y="8506"/>
                  </a:lnTo>
                  <a:lnTo>
                    <a:pt x="17437" y="8455"/>
                  </a:lnTo>
                  <a:lnTo>
                    <a:pt x="17415" y="8408"/>
                  </a:lnTo>
                  <a:lnTo>
                    <a:pt x="17394" y="8369"/>
                  </a:lnTo>
                  <a:lnTo>
                    <a:pt x="17360" y="8310"/>
                  </a:lnTo>
                  <a:lnTo>
                    <a:pt x="17328" y="8254"/>
                  </a:lnTo>
                  <a:lnTo>
                    <a:pt x="17297" y="8203"/>
                  </a:lnTo>
                  <a:lnTo>
                    <a:pt x="17268" y="8155"/>
                  </a:lnTo>
                  <a:lnTo>
                    <a:pt x="17239" y="8109"/>
                  </a:lnTo>
                  <a:lnTo>
                    <a:pt x="17210" y="8066"/>
                  </a:lnTo>
                  <a:lnTo>
                    <a:pt x="17182" y="8023"/>
                  </a:lnTo>
                  <a:lnTo>
                    <a:pt x="17153" y="7981"/>
                  </a:lnTo>
                  <a:lnTo>
                    <a:pt x="17123" y="7941"/>
                  </a:lnTo>
                  <a:lnTo>
                    <a:pt x="17093" y="7900"/>
                  </a:lnTo>
                  <a:lnTo>
                    <a:pt x="17062" y="7858"/>
                  </a:lnTo>
                  <a:lnTo>
                    <a:pt x="17029" y="7816"/>
                  </a:lnTo>
                  <a:lnTo>
                    <a:pt x="16958" y="7727"/>
                  </a:lnTo>
                  <a:lnTo>
                    <a:pt x="16877" y="7627"/>
                  </a:lnTo>
                  <a:lnTo>
                    <a:pt x="16843" y="7585"/>
                  </a:lnTo>
                  <a:lnTo>
                    <a:pt x="16805" y="7540"/>
                  </a:lnTo>
                  <a:lnTo>
                    <a:pt x="16766" y="7493"/>
                  </a:lnTo>
                  <a:lnTo>
                    <a:pt x="16725" y="7446"/>
                  </a:lnTo>
                  <a:lnTo>
                    <a:pt x="16641" y="7350"/>
                  </a:lnTo>
                  <a:lnTo>
                    <a:pt x="16551" y="7253"/>
                  </a:lnTo>
                  <a:lnTo>
                    <a:pt x="16462" y="7157"/>
                  </a:lnTo>
                  <a:lnTo>
                    <a:pt x="16373" y="7065"/>
                  </a:lnTo>
                  <a:lnTo>
                    <a:pt x="16287" y="6978"/>
                  </a:lnTo>
                  <a:lnTo>
                    <a:pt x="16207" y="6899"/>
                  </a:lnTo>
                  <a:lnTo>
                    <a:pt x="16179" y="6872"/>
                  </a:lnTo>
                  <a:lnTo>
                    <a:pt x="16153" y="6842"/>
                  </a:lnTo>
                  <a:lnTo>
                    <a:pt x="16127" y="6811"/>
                  </a:lnTo>
                  <a:lnTo>
                    <a:pt x="16099" y="6779"/>
                  </a:lnTo>
                  <a:lnTo>
                    <a:pt x="16071" y="6747"/>
                  </a:lnTo>
                  <a:lnTo>
                    <a:pt x="16042" y="6715"/>
                  </a:lnTo>
                  <a:lnTo>
                    <a:pt x="16011" y="6683"/>
                  </a:lnTo>
                  <a:lnTo>
                    <a:pt x="15979" y="6652"/>
                  </a:lnTo>
                  <a:lnTo>
                    <a:pt x="14313" y="5186"/>
                  </a:lnTo>
                  <a:lnTo>
                    <a:pt x="14230" y="5121"/>
                  </a:lnTo>
                  <a:lnTo>
                    <a:pt x="14144" y="5052"/>
                  </a:lnTo>
                  <a:lnTo>
                    <a:pt x="14058" y="4981"/>
                  </a:lnTo>
                  <a:lnTo>
                    <a:pt x="13972" y="4911"/>
                  </a:lnTo>
                  <a:lnTo>
                    <a:pt x="13885" y="4840"/>
                  </a:lnTo>
                  <a:lnTo>
                    <a:pt x="13797" y="4769"/>
                  </a:lnTo>
                  <a:lnTo>
                    <a:pt x="13709" y="4700"/>
                  </a:lnTo>
                  <a:lnTo>
                    <a:pt x="13622" y="4634"/>
                  </a:lnTo>
                  <a:lnTo>
                    <a:pt x="13528" y="4565"/>
                  </a:lnTo>
                  <a:lnTo>
                    <a:pt x="13437" y="4496"/>
                  </a:lnTo>
                  <a:lnTo>
                    <a:pt x="13348" y="4430"/>
                  </a:lnTo>
                  <a:lnTo>
                    <a:pt x="13259" y="4364"/>
                  </a:lnTo>
                  <a:lnTo>
                    <a:pt x="13172" y="4299"/>
                  </a:lnTo>
                  <a:lnTo>
                    <a:pt x="13085" y="4234"/>
                  </a:lnTo>
                  <a:lnTo>
                    <a:pt x="12999" y="4170"/>
                  </a:lnTo>
                  <a:lnTo>
                    <a:pt x="12913" y="4107"/>
                  </a:lnTo>
                  <a:lnTo>
                    <a:pt x="12826" y="4043"/>
                  </a:lnTo>
                  <a:lnTo>
                    <a:pt x="12738" y="3980"/>
                  </a:lnTo>
                  <a:lnTo>
                    <a:pt x="12650" y="3916"/>
                  </a:lnTo>
                  <a:lnTo>
                    <a:pt x="12559" y="3852"/>
                  </a:lnTo>
                  <a:lnTo>
                    <a:pt x="12468" y="3787"/>
                  </a:lnTo>
                  <a:lnTo>
                    <a:pt x="12373" y="3722"/>
                  </a:lnTo>
                  <a:lnTo>
                    <a:pt x="12276" y="3655"/>
                  </a:lnTo>
                  <a:lnTo>
                    <a:pt x="12177" y="3589"/>
                  </a:lnTo>
                  <a:lnTo>
                    <a:pt x="12083" y="3525"/>
                  </a:lnTo>
                  <a:lnTo>
                    <a:pt x="11988" y="3463"/>
                  </a:lnTo>
                  <a:lnTo>
                    <a:pt x="11893" y="3402"/>
                  </a:lnTo>
                  <a:lnTo>
                    <a:pt x="11798" y="3340"/>
                  </a:lnTo>
                  <a:lnTo>
                    <a:pt x="11702" y="3280"/>
                  </a:lnTo>
                  <a:lnTo>
                    <a:pt x="11606" y="3219"/>
                  </a:lnTo>
                  <a:lnTo>
                    <a:pt x="11509" y="3158"/>
                  </a:lnTo>
                  <a:lnTo>
                    <a:pt x="11411" y="3097"/>
                  </a:lnTo>
                  <a:lnTo>
                    <a:pt x="11318" y="3037"/>
                  </a:lnTo>
                  <a:lnTo>
                    <a:pt x="11222" y="2979"/>
                  </a:lnTo>
                  <a:lnTo>
                    <a:pt x="11125" y="2920"/>
                  </a:lnTo>
                  <a:lnTo>
                    <a:pt x="11028" y="2863"/>
                  </a:lnTo>
                  <a:lnTo>
                    <a:pt x="10930" y="2806"/>
                  </a:lnTo>
                  <a:lnTo>
                    <a:pt x="10831" y="2749"/>
                  </a:lnTo>
                  <a:lnTo>
                    <a:pt x="10732" y="2692"/>
                  </a:lnTo>
                  <a:lnTo>
                    <a:pt x="10631" y="2635"/>
                  </a:lnTo>
                  <a:lnTo>
                    <a:pt x="10529" y="2579"/>
                  </a:lnTo>
                  <a:lnTo>
                    <a:pt x="10427" y="2523"/>
                  </a:lnTo>
                  <a:lnTo>
                    <a:pt x="10326" y="2468"/>
                  </a:lnTo>
                  <a:lnTo>
                    <a:pt x="10223" y="2413"/>
                  </a:lnTo>
                  <a:lnTo>
                    <a:pt x="10120" y="2359"/>
                  </a:lnTo>
                  <a:lnTo>
                    <a:pt x="10015" y="2305"/>
                  </a:lnTo>
                  <a:lnTo>
                    <a:pt x="9911" y="2251"/>
                  </a:lnTo>
                  <a:lnTo>
                    <a:pt x="9807" y="2198"/>
                  </a:lnTo>
                  <a:lnTo>
                    <a:pt x="9735" y="2162"/>
                  </a:lnTo>
                  <a:lnTo>
                    <a:pt x="9660" y="2124"/>
                  </a:lnTo>
                  <a:lnTo>
                    <a:pt x="9583" y="2086"/>
                  </a:lnTo>
                  <a:lnTo>
                    <a:pt x="9504" y="2047"/>
                  </a:lnTo>
                  <a:lnTo>
                    <a:pt x="9423" y="2010"/>
                  </a:lnTo>
                  <a:lnTo>
                    <a:pt x="9340" y="1971"/>
                  </a:lnTo>
                  <a:lnTo>
                    <a:pt x="9258" y="1932"/>
                  </a:lnTo>
                  <a:lnTo>
                    <a:pt x="9174" y="1893"/>
                  </a:lnTo>
                  <a:lnTo>
                    <a:pt x="9091" y="1855"/>
                  </a:lnTo>
                  <a:lnTo>
                    <a:pt x="9006" y="1816"/>
                  </a:lnTo>
                  <a:lnTo>
                    <a:pt x="8923" y="1780"/>
                  </a:lnTo>
                  <a:lnTo>
                    <a:pt x="8840" y="1743"/>
                  </a:lnTo>
                  <a:lnTo>
                    <a:pt x="8759" y="1707"/>
                  </a:lnTo>
                  <a:lnTo>
                    <a:pt x="8679" y="1673"/>
                  </a:lnTo>
                  <a:lnTo>
                    <a:pt x="8600" y="1640"/>
                  </a:lnTo>
                  <a:lnTo>
                    <a:pt x="8523" y="1608"/>
                  </a:lnTo>
                  <a:lnTo>
                    <a:pt x="8472" y="1587"/>
                  </a:lnTo>
                  <a:lnTo>
                    <a:pt x="8417" y="1562"/>
                  </a:lnTo>
                  <a:lnTo>
                    <a:pt x="8360" y="1537"/>
                  </a:lnTo>
                  <a:lnTo>
                    <a:pt x="8300" y="1511"/>
                  </a:lnTo>
                  <a:lnTo>
                    <a:pt x="8242" y="1485"/>
                  </a:lnTo>
                  <a:lnTo>
                    <a:pt x="8184" y="1461"/>
                  </a:lnTo>
                  <a:lnTo>
                    <a:pt x="8156" y="1451"/>
                  </a:lnTo>
                  <a:lnTo>
                    <a:pt x="8129" y="1442"/>
                  </a:lnTo>
                  <a:lnTo>
                    <a:pt x="8102" y="1433"/>
                  </a:lnTo>
                  <a:lnTo>
                    <a:pt x="8078" y="1426"/>
                  </a:lnTo>
                  <a:close/>
                </a:path>
              </a:pathLst>
            </a:custGeom>
            <a:solidFill>
              <a:schemeClr val="bg1">
                <a:lumMod val="85000"/>
                <a:alpha val="98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0" name="Freeform 5">
              <a:extLst>
                <a:ext uri="{FF2B5EF4-FFF2-40B4-BE49-F238E27FC236}">
                  <a16:creationId xmlns:a16="http://schemas.microsoft.com/office/drawing/2014/main" id="{B89594D7-AB51-415B-AA5E-3326AE76D133}"/>
                </a:ext>
              </a:extLst>
            </p:cNvPr>
            <p:cNvSpPr>
              <a:spLocks/>
            </p:cNvSpPr>
            <p:nvPr/>
          </p:nvSpPr>
          <p:spPr bwMode="auto">
            <a:xfrm>
              <a:off x="1598543" y="3421099"/>
              <a:ext cx="263057" cy="272508"/>
            </a:xfrm>
            <a:custGeom>
              <a:avLst/>
              <a:gdLst>
                <a:gd name="T0" fmla="*/ 7371 w 17675"/>
                <a:gd name="T1" fmla="*/ 1125 h 18310"/>
                <a:gd name="T2" fmla="*/ 5959 w 17675"/>
                <a:gd name="T3" fmla="*/ 593 h 18310"/>
                <a:gd name="T4" fmla="*/ 4735 w 17675"/>
                <a:gd name="T5" fmla="*/ 240 h 18310"/>
                <a:gd name="T6" fmla="*/ 3627 w 17675"/>
                <a:gd name="T7" fmla="*/ 54 h 18310"/>
                <a:gd name="T8" fmla="*/ 2806 w 17675"/>
                <a:gd name="T9" fmla="*/ 7 h 18310"/>
                <a:gd name="T10" fmla="*/ 2454 w 17675"/>
                <a:gd name="T11" fmla="*/ 85 h 18310"/>
                <a:gd name="T12" fmla="*/ 2132 w 17675"/>
                <a:gd name="T13" fmla="*/ 262 h 18310"/>
                <a:gd name="T14" fmla="*/ 1838 w 17675"/>
                <a:gd name="T15" fmla="*/ 533 h 18310"/>
                <a:gd name="T16" fmla="*/ 1454 w 17675"/>
                <a:gd name="T17" fmla="*/ 1111 h 18310"/>
                <a:gd name="T18" fmla="*/ 1261 w 17675"/>
                <a:gd name="T19" fmla="*/ 1545 h 18310"/>
                <a:gd name="T20" fmla="*/ 1008 w 17675"/>
                <a:gd name="T21" fmla="*/ 2315 h 18310"/>
                <a:gd name="T22" fmla="*/ 836 w 17675"/>
                <a:gd name="T23" fmla="*/ 2906 h 18310"/>
                <a:gd name="T24" fmla="*/ 683 w 17675"/>
                <a:gd name="T25" fmla="*/ 3519 h 18310"/>
                <a:gd name="T26" fmla="*/ 506 w 17675"/>
                <a:gd name="T27" fmla="*/ 4330 h 18310"/>
                <a:gd name="T28" fmla="*/ 356 w 17675"/>
                <a:gd name="T29" fmla="*/ 5177 h 18310"/>
                <a:gd name="T30" fmla="*/ 199 w 17675"/>
                <a:gd name="T31" fmla="*/ 6352 h 18310"/>
                <a:gd name="T32" fmla="*/ 65 w 17675"/>
                <a:gd name="T33" fmla="*/ 7805 h 18310"/>
                <a:gd name="T34" fmla="*/ 1 w 17675"/>
                <a:gd name="T35" fmla="*/ 9354 h 18310"/>
                <a:gd name="T36" fmla="*/ 54 w 17675"/>
                <a:gd name="T37" fmla="*/ 10490 h 18310"/>
                <a:gd name="T38" fmla="*/ 149 w 17675"/>
                <a:gd name="T39" fmla="*/ 11811 h 18310"/>
                <a:gd name="T40" fmla="*/ 298 w 17675"/>
                <a:gd name="T41" fmla="*/ 13066 h 18310"/>
                <a:gd name="T42" fmla="*/ 650 w 17675"/>
                <a:gd name="T43" fmla="*/ 14979 h 18310"/>
                <a:gd name="T44" fmla="*/ 991 w 17675"/>
                <a:gd name="T45" fmla="*/ 16266 h 18310"/>
                <a:gd name="T46" fmla="*/ 1332 w 17675"/>
                <a:gd name="T47" fmla="*/ 17156 h 18310"/>
                <a:gd name="T48" fmla="*/ 1598 w 17675"/>
                <a:gd name="T49" fmla="*/ 17614 h 18310"/>
                <a:gd name="T50" fmla="*/ 1917 w 17675"/>
                <a:gd name="T51" fmla="*/ 17970 h 18310"/>
                <a:gd name="T52" fmla="*/ 2349 w 17675"/>
                <a:gd name="T53" fmla="*/ 18232 h 18310"/>
                <a:gd name="T54" fmla="*/ 2745 w 17675"/>
                <a:gd name="T55" fmla="*/ 18309 h 18310"/>
                <a:gd name="T56" fmla="*/ 3384 w 17675"/>
                <a:gd name="T57" fmla="*/ 18287 h 18310"/>
                <a:gd name="T58" fmla="*/ 4157 w 17675"/>
                <a:gd name="T59" fmla="*/ 18192 h 18310"/>
                <a:gd name="T60" fmla="*/ 5006 w 17675"/>
                <a:gd name="T61" fmla="*/ 18009 h 18310"/>
                <a:gd name="T62" fmla="*/ 6483 w 17675"/>
                <a:gd name="T63" fmla="*/ 17544 h 18310"/>
                <a:gd name="T64" fmla="*/ 7200 w 17675"/>
                <a:gd name="T65" fmla="*/ 17277 h 18310"/>
                <a:gd name="T66" fmla="*/ 8295 w 17675"/>
                <a:gd name="T67" fmla="*/ 16841 h 18310"/>
                <a:gd name="T68" fmla="*/ 8872 w 17675"/>
                <a:gd name="T69" fmla="*/ 16605 h 18310"/>
                <a:gd name="T70" fmla="*/ 9346 w 17675"/>
                <a:gd name="T71" fmla="*/ 16391 h 18310"/>
                <a:gd name="T72" fmla="*/ 10057 w 17675"/>
                <a:gd name="T73" fmla="*/ 16048 h 18310"/>
                <a:gd name="T74" fmla="*/ 10903 w 17675"/>
                <a:gd name="T75" fmla="*/ 15584 h 18310"/>
                <a:gd name="T76" fmla="*/ 11867 w 17675"/>
                <a:gd name="T77" fmla="*/ 14997 h 18310"/>
                <a:gd name="T78" fmla="*/ 12590 w 17675"/>
                <a:gd name="T79" fmla="*/ 14528 h 18310"/>
                <a:gd name="T80" fmla="*/ 13212 w 17675"/>
                <a:gd name="T81" fmla="*/ 14088 h 18310"/>
                <a:gd name="T82" fmla="*/ 14481 w 17675"/>
                <a:gd name="T83" fmla="*/ 13112 h 18310"/>
                <a:gd name="T84" fmla="*/ 14802 w 17675"/>
                <a:gd name="T85" fmla="*/ 12854 h 18310"/>
                <a:gd name="T86" fmla="*/ 15451 w 17675"/>
                <a:gd name="T87" fmla="*/ 12291 h 18310"/>
                <a:gd name="T88" fmla="*/ 15927 w 17675"/>
                <a:gd name="T89" fmla="*/ 11853 h 18310"/>
                <a:gd name="T90" fmla="*/ 16443 w 17675"/>
                <a:gd name="T91" fmla="*/ 11335 h 18310"/>
                <a:gd name="T92" fmla="*/ 16856 w 17675"/>
                <a:gd name="T93" fmla="*/ 10896 h 18310"/>
                <a:gd name="T94" fmla="*/ 17295 w 17675"/>
                <a:gd name="T95" fmla="*/ 10296 h 18310"/>
                <a:gd name="T96" fmla="*/ 17543 w 17675"/>
                <a:gd name="T97" fmla="*/ 9805 h 18310"/>
                <a:gd name="T98" fmla="*/ 17675 w 17675"/>
                <a:gd name="T99" fmla="*/ 9283 h 18310"/>
                <a:gd name="T100" fmla="*/ 17609 w 17675"/>
                <a:gd name="T101" fmla="*/ 8895 h 18310"/>
                <a:gd name="T102" fmla="*/ 17328 w 17675"/>
                <a:gd name="T103" fmla="*/ 8254 h 18310"/>
                <a:gd name="T104" fmla="*/ 16958 w 17675"/>
                <a:gd name="T105" fmla="*/ 7727 h 18310"/>
                <a:gd name="T106" fmla="*/ 16207 w 17675"/>
                <a:gd name="T107" fmla="*/ 6899 h 18310"/>
                <a:gd name="T108" fmla="*/ 14144 w 17675"/>
                <a:gd name="T109" fmla="*/ 5052 h 18310"/>
                <a:gd name="T110" fmla="*/ 13172 w 17675"/>
                <a:gd name="T111" fmla="*/ 4299 h 18310"/>
                <a:gd name="T112" fmla="*/ 12177 w 17675"/>
                <a:gd name="T113" fmla="*/ 3589 h 18310"/>
                <a:gd name="T114" fmla="*/ 11125 w 17675"/>
                <a:gd name="T115" fmla="*/ 2920 h 18310"/>
                <a:gd name="T116" fmla="*/ 10015 w 17675"/>
                <a:gd name="T117" fmla="*/ 2305 h 18310"/>
                <a:gd name="T118" fmla="*/ 9091 w 17675"/>
                <a:gd name="T119" fmla="*/ 1855 h 18310"/>
                <a:gd name="T120" fmla="*/ 8300 w 17675"/>
                <a:gd name="T121" fmla="*/ 1511 h 18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7675" h="18310">
                  <a:moveTo>
                    <a:pt x="8078" y="1426"/>
                  </a:moveTo>
                  <a:lnTo>
                    <a:pt x="8047" y="1409"/>
                  </a:lnTo>
                  <a:lnTo>
                    <a:pt x="8014" y="1392"/>
                  </a:lnTo>
                  <a:lnTo>
                    <a:pt x="7978" y="1376"/>
                  </a:lnTo>
                  <a:lnTo>
                    <a:pt x="7940" y="1360"/>
                  </a:lnTo>
                  <a:lnTo>
                    <a:pt x="7901" y="1345"/>
                  </a:lnTo>
                  <a:lnTo>
                    <a:pt x="7862" y="1330"/>
                  </a:lnTo>
                  <a:lnTo>
                    <a:pt x="7825" y="1315"/>
                  </a:lnTo>
                  <a:lnTo>
                    <a:pt x="7791" y="1301"/>
                  </a:lnTo>
                  <a:lnTo>
                    <a:pt x="7583" y="1213"/>
                  </a:lnTo>
                  <a:lnTo>
                    <a:pt x="7371" y="1125"/>
                  </a:lnTo>
                  <a:lnTo>
                    <a:pt x="7158" y="1038"/>
                  </a:lnTo>
                  <a:lnTo>
                    <a:pt x="6943" y="953"/>
                  </a:lnTo>
                  <a:lnTo>
                    <a:pt x="6836" y="911"/>
                  </a:lnTo>
                  <a:lnTo>
                    <a:pt x="6727" y="869"/>
                  </a:lnTo>
                  <a:lnTo>
                    <a:pt x="6618" y="827"/>
                  </a:lnTo>
                  <a:lnTo>
                    <a:pt x="6508" y="787"/>
                  </a:lnTo>
                  <a:lnTo>
                    <a:pt x="6400" y="747"/>
                  </a:lnTo>
                  <a:lnTo>
                    <a:pt x="6290" y="707"/>
                  </a:lnTo>
                  <a:lnTo>
                    <a:pt x="6180" y="668"/>
                  </a:lnTo>
                  <a:lnTo>
                    <a:pt x="6070" y="631"/>
                  </a:lnTo>
                  <a:lnTo>
                    <a:pt x="5959" y="593"/>
                  </a:lnTo>
                  <a:lnTo>
                    <a:pt x="5848" y="556"/>
                  </a:lnTo>
                  <a:lnTo>
                    <a:pt x="5737" y="521"/>
                  </a:lnTo>
                  <a:lnTo>
                    <a:pt x="5626" y="485"/>
                  </a:lnTo>
                  <a:lnTo>
                    <a:pt x="5515" y="451"/>
                  </a:lnTo>
                  <a:lnTo>
                    <a:pt x="5404" y="418"/>
                  </a:lnTo>
                  <a:lnTo>
                    <a:pt x="5292" y="386"/>
                  </a:lnTo>
                  <a:lnTo>
                    <a:pt x="5181" y="355"/>
                  </a:lnTo>
                  <a:lnTo>
                    <a:pt x="5069" y="324"/>
                  </a:lnTo>
                  <a:lnTo>
                    <a:pt x="4958" y="295"/>
                  </a:lnTo>
                  <a:lnTo>
                    <a:pt x="4846" y="267"/>
                  </a:lnTo>
                  <a:lnTo>
                    <a:pt x="4735" y="240"/>
                  </a:lnTo>
                  <a:lnTo>
                    <a:pt x="4623" y="215"/>
                  </a:lnTo>
                  <a:lnTo>
                    <a:pt x="4511" y="191"/>
                  </a:lnTo>
                  <a:lnTo>
                    <a:pt x="4400" y="168"/>
                  </a:lnTo>
                  <a:lnTo>
                    <a:pt x="4287" y="146"/>
                  </a:lnTo>
                  <a:lnTo>
                    <a:pt x="4234" y="136"/>
                  </a:lnTo>
                  <a:lnTo>
                    <a:pt x="4162" y="125"/>
                  </a:lnTo>
                  <a:lnTo>
                    <a:pt x="4075" y="112"/>
                  </a:lnTo>
                  <a:lnTo>
                    <a:pt x="3975" y="98"/>
                  </a:lnTo>
                  <a:lnTo>
                    <a:pt x="3865" y="84"/>
                  </a:lnTo>
                  <a:lnTo>
                    <a:pt x="3749" y="69"/>
                  </a:lnTo>
                  <a:lnTo>
                    <a:pt x="3627" y="54"/>
                  </a:lnTo>
                  <a:lnTo>
                    <a:pt x="3504" y="40"/>
                  </a:lnTo>
                  <a:lnTo>
                    <a:pt x="3381" y="27"/>
                  </a:lnTo>
                  <a:lnTo>
                    <a:pt x="3262" y="17"/>
                  </a:lnTo>
                  <a:lnTo>
                    <a:pt x="3148" y="8"/>
                  </a:lnTo>
                  <a:lnTo>
                    <a:pt x="3043" y="2"/>
                  </a:lnTo>
                  <a:lnTo>
                    <a:pt x="2994" y="1"/>
                  </a:lnTo>
                  <a:lnTo>
                    <a:pt x="2949" y="0"/>
                  </a:lnTo>
                  <a:lnTo>
                    <a:pt x="2908" y="0"/>
                  </a:lnTo>
                  <a:lnTo>
                    <a:pt x="2869" y="1"/>
                  </a:lnTo>
                  <a:lnTo>
                    <a:pt x="2834" y="3"/>
                  </a:lnTo>
                  <a:lnTo>
                    <a:pt x="2806" y="7"/>
                  </a:lnTo>
                  <a:lnTo>
                    <a:pt x="2780" y="11"/>
                  </a:lnTo>
                  <a:lnTo>
                    <a:pt x="2761" y="17"/>
                  </a:lnTo>
                  <a:lnTo>
                    <a:pt x="2724" y="19"/>
                  </a:lnTo>
                  <a:lnTo>
                    <a:pt x="2689" y="24"/>
                  </a:lnTo>
                  <a:lnTo>
                    <a:pt x="2655" y="29"/>
                  </a:lnTo>
                  <a:lnTo>
                    <a:pt x="2620" y="35"/>
                  </a:lnTo>
                  <a:lnTo>
                    <a:pt x="2586" y="43"/>
                  </a:lnTo>
                  <a:lnTo>
                    <a:pt x="2552" y="53"/>
                  </a:lnTo>
                  <a:lnTo>
                    <a:pt x="2518" y="63"/>
                  </a:lnTo>
                  <a:lnTo>
                    <a:pt x="2486" y="73"/>
                  </a:lnTo>
                  <a:lnTo>
                    <a:pt x="2454" y="85"/>
                  </a:lnTo>
                  <a:lnTo>
                    <a:pt x="2423" y="97"/>
                  </a:lnTo>
                  <a:lnTo>
                    <a:pt x="2393" y="111"/>
                  </a:lnTo>
                  <a:lnTo>
                    <a:pt x="2363" y="125"/>
                  </a:lnTo>
                  <a:lnTo>
                    <a:pt x="2333" y="138"/>
                  </a:lnTo>
                  <a:lnTo>
                    <a:pt x="2306" y="153"/>
                  </a:lnTo>
                  <a:lnTo>
                    <a:pt x="2278" y="169"/>
                  </a:lnTo>
                  <a:lnTo>
                    <a:pt x="2252" y="184"/>
                  </a:lnTo>
                  <a:lnTo>
                    <a:pt x="2218" y="205"/>
                  </a:lnTo>
                  <a:lnTo>
                    <a:pt x="2187" y="224"/>
                  </a:lnTo>
                  <a:lnTo>
                    <a:pt x="2158" y="244"/>
                  </a:lnTo>
                  <a:lnTo>
                    <a:pt x="2132" y="262"/>
                  </a:lnTo>
                  <a:lnTo>
                    <a:pt x="2108" y="280"/>
                  </a:lnTo>
                  <a:lnTo>
                    <a:pt x="2086" y="298"/>
                  </a:lnTo>
                  <a:lnTo>
                    <a:pt x="2065" y="315"/>
                  </a:lnTo>
                  <a:lnTo>
                    <a:pt x="2046" y="332"/>
                  </a:lnTo>
                  <a:lnTo>
                    <a:pt x="2007" y="367"/>
                  </a:lnTo>
                  <a:lnTo>
                    <a:pt x="1968" y="405"/>
                  </a:lnTo>
                  <a:lnTo>
                    <a:pt x="1927" y="446"/>
                  </a:lnTo>
                  <a:lnTo>
                    <a:pt x="1878" y="491"/>
                  </a:lnTo>
                  <a:lnTo>
                    <a:pt x="1866" y="504"/>
                  </a:lnTo>
                  <a:lnTo>
                    <a:pt x="1853" y="517"/>
                  </a:lnTo>
                  <a:lnTo>
                    <a:pt x="1838" y="533"/>
                  </a:lnTo>
                  <a:lnTo>
                    <a:pt x="1823" y="550"/>
                  </a:lnTo>
                  <a:lnTo>
                    <a:pt x="1790" y="592"/>
                  </a:lnTo>
                  <a:lnTo>
                    <a:pt x="1754" y="637"/>
                  </a:lnTo>
                  <a:lnTo>
                    <a:pt x="1717" y="689"/>
                  </a:lnTo>
                  <a:lnTo>
                    <a:pt x="1679" y="744"/>
                  </a:lnTo>
                  <a:lnTo>
                    <a:pt x="1639" y="802"/>
                  </a:lnTo>
                  <a:lnTo>
                    <a:pt x="1600" y="863"/>
                  </a:lnTo>
                  <a:lnTo>
                    <a:pt x="1561" y="926"/>
                  </a:lnTo>
                  <a:lnTo>
                    <a:pt x="1524" y="988"/>
                  </a:lnTo>
                  <a:lnTo>
                    <a:pt x="1488" y="1051"/>
                  </a:lnTo>
                  <a:lnTo>
                    <a:pt x="1454" y="1111"/>
                  </a:lnTo>
                  <a:lnTo>
                    <a:pt x="1425" y="1170"/>
                  </a:lnTo>
                  <a:lnTo>
                    <a:pt x="1398" y="1226"/>
                  </a:lnTo>
                  <a:lnTo>
                    <a:pt x="1387" y="1252"/>
                  </a:lnTo>
                  <a:lnTo>
                    <a:pt x="1377" y="1277"/>
                  </a:lnTo>
                  <a:lnTo>
                    <a:pt x="1367" y="1301"/>
                  </a:lnTo>
                  <a:lnTo>
                    <a:pt x="1359" y="1323"/>
                  </a:lnTo>
                  <a:lnTo>
                    <a:pt x="1340" y="1362"/>
                  </a:lnTo>
                  <a:lnTo>
                    <a:pt x="1320" y="1404"/>
                  </a:lnTo>
                  <a:lnTo>
                    <a:pt x="1300" y="1449"/>
                  </a:lnTo>
                  <a:lnTo>
                    <a:pt x="1280" y="1496"/>
                  </a:lnTo>
                  <a:lnTo>
                    <a:pt x="1261" y="1545"/>
                  </a:lnTo>
                  <a:lnTo>
                    <a:pt x="1241" y="1596"/>
                  </a:lnTo>
                  <a:lnTo>
                    <a:pt x="1222" y="1648"/>
                  </a:lnTo>
                  <a:lnTo>
                    <a:pt x="1204" y="1702"/>
                  </a:lnTo>
                  <a:lnTo>
                    <a:pt x="1167" y="1808"/>
                  </a:lnTo>
                  <a:lnTo>
                    <a:pt x="1133" y="1915"/>
                  </a:lnTo>
                  <a:lnTo>
                    <a:pt x="1101" y="2016"/>
                  </a:lnTo>
                  <a:lnTo>
                    <a:pt x="1071" y="2110"/>
                  </a:lnTo>
                  <a:lnTo>
                    <a:pt x="1055" y="2162"/>
                  </a:lnTo>
                  <a:lnTo>
                    <a:pt x="1039" y="2213"/>
                  </a:lnTo>
                  <a:lnTo>
                    <a:pt x="1023" y="2264"/>
                  </a:lnTo>
                  <a:lnTo>
                    <a:pt x="1008" y="2315"/>
                  </a:lnTo>
                  <a:lnTo>
                    <a:pt x="992" y="2367"/>
                  </a:lnTo>
                  <a:lnTo>
                    <a:pt x="976" y="2418"/>
                  </a:lnTo>
                  <a:lnTo>
                    <a:pt x="960" y="2471"/>
                  </a:lnTo>
                  <a:lnTo>
                    <a:pt x="944" y="2523"/>
                  </a:lnTo>
                  <a:lnTo>
                    <a:pt x="929" y="2573"/>
                  </a:lnTo>
                  <a:lnTo>
                    <a:pt x="913" y="2626"/>
                  </a:lnTo>
                  <a:lnTo>
                    <a:pt x="896" y="2682"/>
                  </a:lnTo>
                  <a:lnTo>
                    <a:pt x="880" y="2740"/>
                  </a:lnTo>
                  <a:lnTo>
                    <a:pt x="864" y="2797"/>
                  </a:lnTo>
                  <a:lnTo>
                    <a:pt x="849" y="2852"/>
                  </a:lnTo>
                  <a:lnTo>
                    <a:pt x="836" y="2906"/>
                  </a:lnTo>
                  <a:lnTo>
                    <a:pt x="827" y="2955"/>
                  </a:lnTo>
                  <a:lnTo>
                    <a:pt x="818" y="2977"/>
                  </a:lnTo>
                  <a:lnTo>
                    <a:pt x="809" y="3003"/>
                  </a:lnTo>
                  <a:lnTo>
                    <a:pt x="800" y="3033"/>
                  </a:lnTo>
                  <a:lnTo>
                    <a:pt x="790" y="3067"/>
                  </a:lnTo>
                  <a:lnTo>
                    <a:pt x="770" y="3142"/>
                  </a:lnTo>
                  <a:lnTo>
                    <a:pt x="749" y="3225"/>
                  </a:lnTo>
                  <a:lnTo>
                    <a:pt x="730" y="3310"/>
                  </a:lnTo>
                  <a:lnTo>
                    <a:pt x="712" y="3390"/>
                  </a:lnTo>
                  <a:lnTo>
                    <a:pt x="696" y="3461"/>
                  </a:lnTo>
                  <a:lnTo>
                    <a:pt x="683" y="3519"/>
                  </a:lnTo>
                  <a:lnTo>
                    <a:pt x="666" y="3593"/>
                  </a:lnTo>
                  <a:lnTo>
                    <a:pt x="649" y="3667"/>
                  </a:lnTo>
                  <a:lnTo>
                    <a:pt x="633" y="3740"/>
                  </a:lnTo>
                  <a:lnTo>
                    <a:pt x="617" y="3813"/>
                  </a:lnTo>
                  <a:lnTo>
                    <a:pt x="601" y="3886"/>
                  </a:lnTo>
                  <a:lnTo>
                    <a:pt x="585" y="3960"/>
                  </a:lnTo>
                  <a:lnTo>
                    <a:pt x="569" y="4033"/>
                  </a:lnTo>
                  <a:lnTo>
                    <a:pt x="553" y="4108"/>
                  </a:lnTo>
                  <a:lnTo>
                    <a:pt x="537" y="4182"/>
                  </a:lnTo>
                  <a:lnTo>
                    <a:pt x="522" y="4256"/>
                  </a:lnTo>
                  <a:lnTo>
                    <a:pt x="506" y="4330"/>
                  </a:lnTo>
                  <a:lnTo>
                    <a:pt x="491" y="4406"/>
                  </a:lnTo>
                  <a:lnTo>
                    <a:pt x="476" y="4483"/>
                  </a:lnTo>
                  <a:lnTo>
                    <a:pt x="461" y="4559"/>
                  </a:lnTo>
                  <a:lnTo>
                    <a:pt x="447" y="4636"/>
                  </a:lnTo>
                  <a:lnTo>
                    <a:pt x="433" y="4714"/>
                  </a:lnTo>
                  <a:lnTo>
                    <a:pt x="419" y="4791"/>
                  </a:lnTo>
                  <a:lnTo>
                    <a:pt x="405" y="4868"/>
                  </a:lnTo>
                  <a:lnTo>
                    <a:pt x="392" y="4946"/>
                  </a:lnTo>
                  <a:lnTo>
                    <a:pt x="380" y="5024"/>
                  </a:lnTo>
                  <a:lnTo>
                    <a:pt x="367" y="5100"/>
                  </a:lnTo>
                  <a:lnTo>
                    <a:pt x="356" y="5177"/>
                  </a:lnTo>
                  <a:lnTo>
                    <a:pt x="346" y="5253"/>
                  </a:lnTo>
                  <a:lnTo>
                    <a:pt x="335" y="5328"/>
                  </a:lnTo>
                  <a:lnTo>
                    <a:pt x="320" y="5442"/>
                  </a:lnTo>
                  <a:lnTo>
                    <a:pt x="304" y="5555"/>
                  </a:lnTo>
                  <a:lnTo>
                    <a:pt x="289" y="5668"/>
                  </a:lnTo>
                  <a:lnTo>
                    <a:pt x="275" y="5781"/>
                  </a:lnTo>
                  <a:lnTo>
                    <a:pt x="259" y="5896"/>
                  </a:lnTo>
                  <a:lnTo>
                    <a:pt x="244" y="6009"/>
                  </a:lnTo>
                  <a:lnTo>
                    <a:pt x="229" y="6124"/>
                  </a:lnTo>
                  <a:lnTo>
                    <a:pt x="214" y="6238"/>
                  </a:lnTo>
                  <a:lnTo>
                    <a:pt x="199" y="6352"/>
                  </a:lnTo>
                  <a:lnTo>
                    <a:pt x="185" y="6467"/>
                  </a:lnTo>
                  <a:lnTo>
                    <a:pt x="173" y="6581"/>
                  </a:lnTo>
                  <a:lnTo>
                    <a:pt x="160" y="6697"/>
                  </a:lnTo>
                  <a:lnTo>
                    <a:pt x="148" y="6811"/>
                  </a:lnTo>
                  <a:lnTo>
                    <a:pt x="137" y="6927"/>
                  </a:lnTo>
                  <a:lnTo>
                    <a:pt x="127" y="7042"/>
                  </a:lnTo>
                  <a:lnTo>
                    <a:pt x="119" y="7158"/>
                  </a:lnTo>
                  <a:lnTo>
                    <a:pt x="105" y="7319"/>
                  </a:lnTo>
                  <a:lnTo>
                    <a:pt x="92" y="7481"/>
                  </a:lnTo>
                  <a:lnTo>
                    <a:pt x="79" y="7643"/>
                  </a:lnTo>
                  <a:lnTo>
                    <a:pt x="65" y="7805"/>
                  </a:lnTo>
                  <a:lnTo>
                    <a:pt x="54" y="7967"/>
                  </a:lnTo>
                  <a:lnTo>
                    <a:pt x="42" y="8130"/>
                  </a:lnTo>
                  <a:lnTo>
                    <a:pt x="31" y="8293"/>
                  </a:lnTo>
                  <a:lnTo>
                    <a:pt x="22" y="8456"/>
                  </a:lnTo>
                  <a:lnTo>
                    <a:pt x="14" y="8619"/>
                  </a:lnTo>
                  <a:lnTo>
                    <a:pt x="8" y="8782"/>
                  </a:lnTo>
                  <a:lnTo>
                    <a:pt x="3" y="8946"/>
                  </a:lnTo>
                  <a:lnTo>
                    <a:pt x="0" y="9109"/>
                  </a:lnTo>
                  <a:lnTo>
                    <a:pt x="0" y="9190"/>
                  </a:lnTo>
                  <a:lnTo>
                    <a:pt x="0" y="9273"/>
                  </a:lnTo>
                  <a:lnTo>
                    <a:pt x="1" y="9354"/>
                  </a:lnTo>
                  <a:lnTo>
                    <a:pt x="2" y="9437"/>
                  </a:lnTo>
                  <a:lnTo>
                    <a:pt x="3" y="9518"/>
                  </a:lnTo>
                  <a:lnTo>
                    <a:pt x="7" y="9599"/>
                  </a:lnTo>
                  <a:lnTo>
                    <a:pt x="10" y="9681"/>
                  </a:lnTo>
                  <a:lnTo>
                    <a:pt x="14" y="9763"/>
                  </a:lnTo>
                  <a:lnTo>
                    <a:pt x="21" y="9885"/>
                  </a:lnTo>
                  <a:lnTo>
                    <a:pt x="27" y="10006"/>
                  </a:lnTo>
                  <a:lnTo>
                    <a:pt x="34" y="10128"/>
                  </a:lnTo>
                  <a:lnTo>
                    <a:pt x="41" y="10249"/>
                  </a:lnTo>
                  <a:lnTo>
                    <a:pt x="47" y="10369"/>
                  </a:lnTo>
                  <a:lnTo>
                    <a:pt x="54" y="10490"/>
                  </a:lnTo>
                  <a:lnTo>
                    <a:pt x="61" y="10611"/>
                  </a:lnTo>
                  <a:lnTo>
                    <a:pt x="68" y="10731"/>
                  </a:lnTo>
                  <a:lnTo>
                    <a:pt x="74" y="10851"/>
                  </a:lnTo>
                  <a:lnTo>
                    <a:pt x="82" y="10971"/>
                  </a:lnTo>
                  <a:lnTo>
                    <a:pt x="90" y="11091"/>
                  </a:lnTo>
                  <a:lnTo>
                    <a:pt x="98" y="11213"/>
                  </a:lnTo>
                  <a:lnTo>
                    <a:pt x="108" y="11333"/>
                  </a:lnTo>
                  <a:lnTo>
                    <a:pt x="117" y="11454"/>
                  </a:lnTo>
                  <a:lnTo>
                    <a:pt x="127" y="11575"/>
                  </a:lnTo>
                  <a:lnTo>
                    <a:pt x="138" y="11697"/>
                  </a:lnTo>
                  <a:lnTo>
                    <a:pt x="149" y="11811"/>
                  </a:lnTo>
                  <a:lnTo>
                    <a:pt x="160" y="11926"/>
                  </a:lnTo>
                  <a:lnTo>
                    <a:pt x="172" y="12040"/>
                  </a:lnTo>
                  <a:lnTo>
                    <a:pt x="184" y="12154"/>
                  </a:lnTo>
                  <a:lnTo>
                    <a:pt x="197" y="12269"/>
                  </a:lnTo>
                  <a:lnTo>
                    <a:pt x="209" y="12383"/>
                  </a:lnTo>
                  <a:lnTo>
                    <a:pt x="223" y="12498"/>
                  </a:lnTo>
                  <a:lnTo>
                    <a:pt x="237" y="12611"/>
                  </a:lnTo>
                  <a:lnTo>
                    <a:pt x="252" y="12725"/>
                  </a:lnTo>
                  <a:lnTo>
                    <a:pt x="267" y="12839"/>
                  </a:lnTo>
                  <a:lnTo>
                    <a:pt x="281" y="12953"/>
                  </a:lnTo>
                  <a:lnTo>
                    <a:pt x="298" y="13066"/>
                  </a:lnTo>
                  <a:lnTo>
                    <a:pt x="314" y="13180"/>
                  </a:lnTo>
                  <a:lnTo>
                    <a:pt x="331" y="13293"/>
                  </a:lnTo>
                  <a:lnTo>
                    <a:pt x="349" y="13406"/>
                  </a:lnTo>
                  <a:lnTo>
                    <a:pt x="366" y="13519"/>
                  </a:lnTo>
                  <a:lnTo>
                    <a:pt x="398" y="13707"/>
                  </a:lnTo>
                  <a:lnTo>
                    <a:pt x="433" y="13905"/>
                  </a:lnTo>
                  <a:lnTo>
                    <a:pt x="470" y="14110"/>
                  </a:lnTo>
                  <a:lnTo>
                    <a:pt x="511" y="14322"/>
                  </a:lnTo>
                  <a:lnTo>
                    <a:pt x="555" y="14538"/>
                  </a:lnTo>
                  <a:lnTo>
                    <a:pt x="602" y="14757"/>
                  </a:lnTo>
                  <a:lnTo>
                    <a:pt x="650" y="14979"/>
                  </a:lnTo>
                  <a:lnTo>
                    <a:pt x="701" y="15200"/>
                  </a:lnTo>
                  <a:lnTo>
                    <a:pt x="729" y="15311"/>
                  </a:lnTo>
                  <a:lnTo>
                    <a:pt x="755" y="15420"/>
                  </a:lnTo>
                  <a:lnTo>
                    <a:pt x="784" y="15530"/>
                  </a:lnTo>
                  <a:lnTo>
                    <a:pt x="811" y="15639"/>
                  </a:lnTo>
                  <a:lnTo>
                    <a:pt x="840" y="15747"/>
                  </a:lnTo>
                  <a:lnTo>
                    <a:pt x="870" y="15854"/>
                  </a:lnTo>
                  <a:lnTo>
                    <a:pt x="899" y="15959"/>
                  </a:lnTo>
                  <a:lnTo>
                    <a:pt x="929" y="16064"/>
                  </a:lnTo>
                  <a:lnTo>
                    <a:pt x="960" y="16165"/>
                  </a:lnTo>
                  <a:lnTo>
                    <a:pt x="991" y="16266"/>
                  </a:lnTo>
                  <a:lnTo>
                    <a:pt x="1022" y="16365"/>
                  </a:lnTo>
                  <a:lnTo>
                    <a:pt x="1054" y="16461"/>
                  </a:lnTo>
                  <a:lnTo>
                    <a:pt x="1086" y="16556"/>
                  </a:lnTo>
                  <a:lnTo>
                    <a:pt x="1119" y="16646"/>
                  </a:lnTo>
                  <a:lnTo>
                    <a:pt x="1152" y="16735"/>
                  </a:lnTo>
                  <a:lnTo>
                    <a:pt x="1185" y="16821"/>
                  </a:lnTo>
                  <a:lnTo>
                    <a:pt x="1225" y="16920"/>
                  </a:lnTo>
                  <a:lnTo>
                    <a:pt x="1267" y="17017"/>
                  </a:lnTo>
                  <a:lnTo>
                    <a:pt x="1288" y="17064"/>
                  </a:lnTo>
                  <a:lnTo>
                    <a:pt x="1310" y="17111"/>
                  </a:lnTo>
                  <a:lnTo>
                    <a:pt x="1332" y="17156"/>
                  </a:lnTo>
                  <a:lnTo>
                    <a:pt x="1354" y="17202"/>
                  </a:lnTo>
                  <a:lnTo>
                    <a:pt x="1377" y="17247"/>
                  </a:lnTo>
                  <a:lnTo>
                    <a:pt x="1399" y="17290"/>
                  </a:lnTo>
                  <a:lnTo>
                    <a:pt x="1423" y="17334"/>
                  </a:lnTo>
                  <a:lnTo>
                    <a:pt x="1447" y="17376"/>
                  </a:lnTo>
                  <a:lnTo>
                    <a:pt x="1471" y="17417"/>
                  </a:lnTo>
                  <a:lnTo>
                    <a:pt x="1496" y="17459"/>
                  </a:lnTo>
                  <a:lnTo>
                    <a:pt x="1521" y="17499"/>
                  </a:lnTo>
                  <a:lnTo>
                    <a:pt x="1546" y="17538"/>
                  </a:lnTo>
                  <a:lnTo>
                    <a:pt x="1572" y="17576"/>
                  </a:lnTo>
                  <a:lnTo>
                    <a:pt x="1598" y="17614"/>
                  </a:lnTo>
                  <a:lnTo>
                    <a:pt x="1625" y="17651"/>
                  </a:lnTo>
                  <a:lnTo>
                    <a:pt x="1652" y="17687"/>
                  </a:lnTo>
                  <a:lnTo>
                    <a:pt x="1680" y="17722"/>
                  </a:lnTo>
                  <a:lnTo>
                    <a:pt x="1707" y="17756"/>
                  </a:lnTo>
                  <a:lnTo>
                    <a:pt x="1736" y="17789"/>
                  </a:lnTo>
                  <a:lnTo>
                    <a:pt x="1764" y="17822"/>
                  </a:lnTo>
                  <a:lnTo>
                    <a:pt x="1794" y="17853"/>
                  </a:lnTo>
                  <a:lnTo>
                    <a:pt x="1824" y="17884"/>
                  </a:lnTo>
                  <a:lnTo>
                    <a:pt x="1854" y="17914"/>
                  </a:lnTo>
                  <a:lnTo>
                    <a:pt x="1885" y="17943"/>
                  </a:lnTo>
                  <a:lnTo>
                    <a:pt x="1917" y="17970"/>
                  </a:lnTo>
                  <a:lnTo>
                    <a:pt x="1947" y="17998"/>
                  </a:lnTo>
                  <a:lnTo>
                    <a:pt x="1980" y="18023"/>
                  </a:lnTo>
                  <a:lnTo>
                    <a:pt x="2013" y="18048"/>
                  </a:lnTo>
                  <a:lnTo>
                    <a:pt x="2052" y="18075"/>
                  </a:lnTo>
                  <a:lnTo>
                    <a:pt x="2091" y="18102"/>
                  </a:lnTo>
                  <a:lnTo>
                    <a:pt x="2132" y="18127"/>
                  </a:lnTo>
                  <a:lnTo>
                    <a:pt x="2173" y="18151"/>
                  </a:lnTo>
                  <a:lnTo>
                    <a:pt x="2215" y="18174"/>
                  </a:lnTo>
                  <a:lnTo>
                    <a:pt x="2259" y="18194"/>
                  </a:lnTo>
                  <a:lnTo>
                    <a:pt x="2303" y="18214"/>
                  </a:lnTo>
                  <a:lnTo>
                    <a:pt x="2349" y="18232"/>
                  </a:lnTo>
                  <a:lnTo>
                    <a:pt x="2397" y="18249"/>
                  </a:lnTo>
                  <a:lnTo>
                    <a:pt x="2446" y="18264"/>
                  </a:lnTo>
                  <a:lnTo>
                    <a:pt x="2497" y="18277"/>
                  </a:lnTo>
                  <a:lnTo>
                    <a:pt x="2549" y="18287"/>
                  </a:lnTo>
                  <a:lnTo>
                    <a:pt x="2576" y="18292"/>
                  </a:lnTo>
                  <a:lnTo>
                    <a:pt x="2603" y="18296"/>
                  </a:lnTo>
                  <a:lnTo>
                    <a:pt x="2631" y="18300"/>
                  </a:lnTo>
                  <a:lnTo>
                    <a:pt x="2658" y="18303"/>
                  </a:lnTo>
                  <a:lnTo>
                    <a:pt x="2687" y="18305"/>
                  </a:lnTo>
                  <a:lnTo>
                    <a:pt x="2716" y="18308"/>
                  </a:lnTo>
                  <a:lnTo>
                    <a:pt x="2745" y="18309"/>
                  </a:lnTo>
                  <a:lnTo>
                    <a:pt x="2776" y="18309"/>
                  </a:lnTo>
                  <a:lnTo>
                    <a:pt x="2835" y="18310"/>
                  </a:lnTo>
                  <a:lnTo>
                    <a:pt x="2896" y="18310"/>
                  </a:lnTo>
                  <a:lnTo>
                    <a:pt x="2957" y="18309"/>
                  </a:lnTo>
                  <a:lnTo>
                    <a:pt x="3017" y="18308"/>
                  </a:lnTo>
                  <a:lnTo>
                    <a:pt x="3079" y="18305"/>
                  </a:lnTo>
                  <a:lnTo>
                    <a:pt x="3140" y="18303"/>
                  </a:lnTo>
                  <a:lnTo>
                    <a:pt x="3200" y="18300"/>
                  </a:lnTo>
                  <a:lnTo>
                    <a:pt x="3262" y="18296"/>
                  </a:lnTo>
                  <a:lnTo>
                    <a:pt x="3323" y="18292"/>
                  </a:lnTo>
                  <a:lnTo>
                    <a:pt x="3384" y="18287"/>
                  </a:lnTo>
                  <a:lnTo>
                    <a:pt x="3444" y="18283"/>
                  </a:lnTo>
                  <a:lnTo>
                    <a:pt x="3505" y="18277"/>
                  </a:lnTo>
                  <a:lnTo>
                    <a:pt x="3565" y="18271"/>
                  </a:lnTo>
                  <a:lnTo>
                    <a:pt x="3625" y="18264"/>
                  </a:lnTo>
                  <a:lnTo>
                    <a:pt x="3686" y="18257"/>
                  </a:lnTo>
                  <a:lnTo>
                    <a:pt x="3745" y="18250"/>
                  </a:lnTo>
                  <a:lnTo>
                    <a:pt x="3829" y="18240"/>
                  </a:lnTo>
                  <a:lnTo>
                    <a:pt x="3912" y="18230"/>
                  </a:lnTo>
                  <a:lnTo>
                    <a:pt x="3995" y="18218"/>
                  </a:lnTo>
                  <a:lnTo>
                    <a:pt x="4076" y="18206"/>
                  </a:lnTo>
                  <a:lnTo>
                    <a:pt x="4157" y="18192"/>
                  </a:lnTo>
                  <a:lnTo>
                    <a:pt x="4236" y="18178"/>
                  </a:lnTo>
                  <a:lnTo>
                    <a:pt x="4316" y="18165"/>
                  </a:lnTo>
                  <a:lnTo>
                    <a:pt x="4395" y="18150"/>
                  </a:lnTo>
                  <a:lnTo>
                    <a:pt x="4473" y="18134"/>
                  </a:lnTo>
                  <a:lnTo>
                    <a:pt x="4549" y="18118"/>
                  </a:lnTo>
                  <a:lnTo>
                    <a:pt x="4627" y="18101"/>
                  </a:lnTo>
                  <a:lnTo>
                    <a:pt x="4704" y="18083"/>
                  </a:lnTo>
                  <a:lnTo>
                    <a:pt x="4779" y="18066"/>
                  </a:lnTo>
                  <a:lnTo>
                    <a:pt x="4855" y="18048"/>
                  </a:lnTo>
                  <a:lnTo>
                    <a:pt x="4931" y="18028"/>
                  </a:lnTo>
                  <a:lnTo>
                    <a:pt x="5006" y="18009"/>
                  </a:lnTo>
                  <a:lnTo>
                    <a:pt x="5156" y="17969"/>
                  </a:lnTo>
                  <a:lnTo>
                    <a:pt x="5305" y="17927"/>
                  </a:lnTo>
                  <a:lnTo>
                    <a:pt x="5455" y="17882"/>
                  </a:lnTo>
                  <a:lnTo>
                    <a:pt x="5603" y="17836"/>
                  </a:lnTo>
                  <a:lnTo>
                    <a:pt x="5753" y="17789"/>
                  </a:lnTo>
                  <a:lnTo>
                    <a:pt x="5904" y="17741"/>
                  </a:lnTo>
                  <a:lnTo>
                    <a:pt x="6056" y="17691"/>
                  </a:lnTo>
                  <a:lnTo>
                    <a:pt x="6211" y="17639"/>
                  </a:lnTo>
                  <a:lnTo>
                    <a:pt x="6273" y="17619"/>
                  </a:lnTo>
                  <a:lnTo>
                    <a:pt x="6368" y="17586"/>
                  </a:lnTo>
                  <a:lnTo>
                    <a:pt x="6483" y="17544"/>
                  </a:lnTo>
                  <a:lnTo>
                    <a:pt x="6608" y="17501"/>
                  </a:lnTo>
                  <a:lnTo>
                    <a:pt x="6729" y="17456"/>
                  </a:lnTo>
                  <a:lnTo>
                    <a:pt x="6837" y="17415"/>
                  </a:lnTo>
                  <a:lnTo>
                    <a:pt x="6881" y="17398"/>
                  </a:lnTo>
                  <a:lnTo>
                    <a:pt x="6917" y="17382"/>
                  </a:lnTo>
                  <a:lnTo>
                    <a:pt x="6943" y="17369"/>
                  </a:lnTo>
                  <a:lnTo>
                    <a:pt x="6959" y="17361"/>
                  </a:lnTo>
                  <a:lnTo>
                    <a:pt x="6994" y="17351"/>
                  </a:lnTo>
                  <a:lnTo>
                    <a:pt x="7046" y="17333"/>
                  </a:lnTo>
                  <a:lnTo>
                    <a:pt x="7116" y="17308"/>
                  </a:lnTo>
                  <a:lnTo>
                    <a:pt x="7200" y="17277"/>
                  </a:lnTo>
                  <a:lnTo>
                    <a:pt x="7294" y="17240"/>
                  </a:lnTo>
                  <a:lnTo>
                    <a:pt x="7397" y="17200"/>
                  </a:lnTo>
                  <a:lnTo>
                    <a:pt x="7507" y="17156"/>
                  </a:lnTo>
                  <a:lnTo>
                    <a:pt x="7621" y="17112"/>
                  </a:lnTo>
                  <a:lnTo>
                    <a:pt x="7734" y="17066"/>
                  </a:lnTo>
                  <a:lnTo>
                    <a:pt x="7846" y="17021"/>
                  </a:lnTo>
                  <a:lnTo>
                    <a:pt x="7955" y="16977"/>
                  </a:lnTo>
                  <a:lnTo>
                    <a:pt x="8057" y="16937"/>
                  </a:lnTo>
                  <a:lnTo>
                    <a:pt x="8148" y="16899"/>
                  </a:lnTo>
                  <a:lnTo>
                    <a:pt x="8228" y="16867"/>
                  </a:lnTo>
                  <a:lnTo>
                    <a:pt x="8295" y="16841"/>
                  </a:lnTo>
                  <a:lnTo>
                    <a:pt x="8344" y="16821"/>
                  </a:lnTo>
                  <a:lnTo>
                    <a:pt x="8396" y="16799"/>
                  </a:lnTo>
                  <a:lnTo>
                    <a:pt x="8454" y="16778"/>
                  </a:lnTo>
                  <a:lnTo>
                    <a:pt x="8513" y="16755"/>
                  </a:lnTo>
                  <a:lnTo>
                    <a:pt x="8574" y="16731"/>
                  </a:lnTo>
                  <a:lnTo>
                    <a:pt x="8633" y="16707"/>
                  </a:lnTo>
                  <a:lnTo>
                    <a:pt x="8690" y="16682"/>
                  </a:lnTo>
                  <a:lnTo>
                    <a:pt x="8744" y="16658"/>
                  </a:lnTo>
                  <a:lnTo>
                    <a:pt x="8792" y="16633"/>
                  </a:lnTo>
                  <a:lnTo>
                    <a:pt x="8829" y="16621"/>
                  </a:lnTo>
                  <a:lnTo>
                    <a:pt x="8872" y="16605"/>
                  </a:lnTo>
                  <a:lnTo>
                    <a:pt x="8918" y="16587"/>
                  </a:lnTo>
                  <a:lnTo>
                    <a:pt x="8965" y="16565"/>
                  </a:lnTo>
                  <a:lnTo>
                    <a:pt x="9013" y="16543"/>
                  </a:lnTo>
                  <a:lnTo>
                    <a:pt x="9059" y="16522"/>
                  </a:lnTo>
                  <a:lnTo>
                    <a:pt x="9100" y="16502"/>
                  </a:lnTo>
                  <a:lnTo>
                    <a:pt x="9137" y="16485"/>
                  </a:lnTo>
                  <a:lnTo>
                    <a:pt x="9178" y="16465"/>
                  </a:lnTo>
                  <a:lnTo>
                    <a:pt x="9220" y="16447"/>
                  </a:lnTo>
                  <a:lnTo>
                    <a:pt x="9263" y="16429"/>
                  </a:lnTo>
                  <a:lnTo>
                    <a:pt x="9304" y="16409"/>
                  </a:lnTo>
                  <a:lnTo>
                    <a:pt x="9346" y="16391"/>
                  </a:lnTo>
                  <a:lnTo>
                    <a:pt x="9388" y="16371"/>
                  </a:lnTo>
                  <a:lnTo>
                    <a:pt x="9430" y="16352"/>
                  </a:lnTo>
                  <a:lnTo>
                    <a:pt x="9471" y="16331"/>
                  </a:lnTo>
                  <a:lnTo>
                    <a:pt x="9550" y="16292"/>
                  </a:lnTo>
                  <a:lnTo>
                    <a:pt x="9633" y="16254"/>
                  </a:lnTo>
                  <a:lnTo>
                    <a:pt x="9720" y="16214"/>
                  </a:lnTo>
                  <a:lnTo>
                    <a:pt x="9807" y="16173"/>
                  </a:lnTo>
                  <a:lnTo>
                    <a:pt x="9894" y="16132"/>
                  </a:lnTo>
                  <a:lnTo>
                    <a:pt x="9978" y="16091"/>
                  </a:lnTo>
                  <a:lnTo>
                    <a:pt x="10018" y="16069"/>
                  </a:lnTo>
                  <a:lnTo>
                    <a:pt x="10057" y="16048"/>
                  </a:lnTo>
                  <a:lnTo>
                    <a:pt x="10093" y="16026"/>
                  </a:lnTo>
                  <a:lnTo>
                    <a:pt x="10129" y="16004"/>
                  </a:lnTo>
                  <a:lnTo>
                    <a:pt x="10153" y="15994"/>
                  </a:lnTo>
                  <a:lnTo>
                    <a:pt x="10184" y="15979"/>
                  </a:lnTo>
                  <a:lnTo>
                    <a:pt x="10220" y="15962"/>
                  </a:lnTo>
                  <a:lnTo>
                    <a:pt x="10263" y="15939"/>
                  </a:lnTo>
                  <a:lnTo>
                    <a:pt x="10363" y="15886"/>
                  </a:lnTo>
                  <a:lnTo>
                    <a:pt x="10482" y="15821"/>
                  </a:lnTo>
                  <a:lnTo>
                    <a:pt x="10614" y="15748"/>
                  </a:lnTo>
                  <a:lnTo>
                    <a:pt x="10756" y="15669"/>
                  </a:lnTo>
                  <a:lnTo>
                    <a:pt x="10903" y="15584"/>
                  </a:lnTo>
                  <a:lnTo>
                    <a:pt x="11053" y="15498"/>
                  </a:lnTo>
                  <a:lnTo>
                    <a:pt x="11202" y="15411"/>
                  </a:lnTo>
                  <a:lnTo>
                    <a:pt x="11344" y="15328"/>
                  </a:lnTo>
                  <a:lnTo>
                    <a:pt x="11477" y="15249"/>
                  </a:lnTo>
                  <a:lnTo>
                    <a:pt x="11597" y="15176"/>
                  </a:lnTo>
                  <a:lnTo>
                    <a:pt x="11700" y="15111"/>
                  </a:lnTo>
                  <a:lnTo>
                    <a:pt x="11781" y="15060"/>
                  </a:lnTo>
                  <a:lnTo>
                    <a:pt x="11813" y="15038"/>
                  </a:lnTo>
                  <a:lnTo>
                    <a:pt x="11838" y="15021"/>
                  </a:lnTo>
                  <a:lnTo>
                    <a:pt x="11857" y="15007"/>
                  </a:lnTo>
                  <a:lnTo>
                    <a:pt x="11867" y="14997"/>
                  </a:lnTo>
                  <a:lnTo>
                    <a:pt x="11879" y="14991"/>
                  </a:lnTo>
                  <a:lnTo>
                    <a:pt x="11898" y="14982"/>
                  </a:lnTo>
                  <a:lnTo>
                    <a:pt x="11919" y="14970"/>
                  </a:lnTo>
                  <a:lnTo>
                    <a:pt x="11947" y="14954"/>
                  </a:lnTo>
                  <a:lnTo>
                    <a:pt x="12012" y="14913"/>
                  </a:lnTo>
                  <a:lnTo>
                    <a:pt x="12090" y="14864"/>
                  </a:lnTo>
                  <a:lnTo>
                    <a:pt x="12179" y="14806"/>
                  </a:lnTo>
                  <a:lnTo>
                    <a:pt x="12276" y="14741"/>
                  </a:lnTo>
                  <a:lnTo>
                    <a:pt x="12379" y="14672"/>
                  </a:lnTo>
                  <a:lnTo>
                    <a:pt x="12485" y="14600"/>
                  </a:lnTo>
                  <a:lnTo>
                    <a:pt x="12590" y="14528"/>
                  </a:lnTo>
                  <a:lnTo>
                    <a:pt x="12694" y="14457"/>
                  </a:lnTo>
                  <a:lnTo>
                    <a:pt x="12791" y="14388"/>
                  </a:lnTo>
                  <a:lnTo>
                    <a:pt x="12883" y="14324"/>
                  </a:lnTo>
                  <a:lnTo>
                    <a:pt x="12963" y="14267"/>
                  </a:lnTo>
                  <a:lnTo>
                    <a:pt x="13031" y="14218"/>
                  </a:lnTo>
                  <a:lnTo>
                    <a:pt x="13083" y="14179"/>
                  </a:lnTo>
                  <a:lnTo>
                    <a:pt x="13116" y="14152"/>
                  </a:lnTo>
                  <a:lnTo>
                    <a:pt x="13131" y="14143"/>
                  </a:lnTo>
                  <a:lnTo>
                    <a:pt x="13152" y="14131"/>
                  </a:lnTo>
                  <a:lnTo>
                    <a:pt x="13179" y="14112"/>
                  </a:lnTo>
                  <a:lnTo>
                    <a:pt x="13212" y="14088"/>
                  </a:lnTo>
                  <a:lnTo>
                    <a:pt x="13294" y="14030"/>
                  </a:lnTo>
                  <a:lnTo>
                    <a:pt x="13392" y="13958"/>
                  </a:lnTo>
                  <a:lnTo>
                    <a:pt x="13505" y="13873"/>
                  </a:lnTo>
                  <a:lnTo>
                    <a:pt x="13628" y="13779"/>
                  </a:lnTo>
                  <a:lnTo>
                    <a:pt x="13758" y="13680"/>
                  </a:lnTo>
                  <a:lnTo>
                    <a:pt x="13891" y="13578"/>
                  </a:lnTo>
                  <a:lnTo>
                    <a:pt x="14024" y="13475"/>
                  </a:lnTo>
                  <a:lnTo>
                    <a:pt x="14153" y="13374"/>
                  </a:lnTo>
                  <a:lnTo>
                    <a:pt x="14274" y="13278"/>
                  </a:lnTo>
                  <a:lnTo>
                    <a:pt x="14385" y="13190"/>
                  </a:lnTo>
                  <a:lnTo>
                    <a:pt x="14481" y="13112"/>
                  </a:lnTo>
                  <a:lnTo>
                    <a:pt x="14559" y="13048"/>
                  </a:lnTo>
                  <a:lnTo>
                    <a:pt x="14590" y="13022"/>
                  </a:lnTo>
                  <a:lnTo>
                    <a:pt x="14615" y="13000"/>
                  </a:lnTo>
                  <a:lnTo>
                    <a:pt x="14634" y="12982"/>
                  </a:lnTo>
                  <a:lnTo>
                    <a:pt x="14645" y="12970"/>
                  </a:lnTo>
                  <a:lnTo>
                    <a:pt x="14658" y="12963"/>
                  </a:lnTo>
                  <a:lnTo>
                    <a:pt x="14673" y="12954"/>
                  </a:lnTo>
                  <a:lnTo>
                    <a:pt x="14690" y="12942"/>
                  </a:lnTo>
                  <a:lnTo>
                    <a:pt x="14708" y="12928"/>
                  </a:lnTo>
                  <a:lnTo>
                    <a:pt x="14751" y="12895"/>
                  </a:lnTo>
                  <a:lnTo>
                    <a:pt x="14802" y="12854"/>
                  </a:lnTo>
                  <a:lnTo>
                    <a:pt x="14857" y="12807"/>
                  </a:lnTo>
                  <a:lnTo>
                    <a:pt x="14917" y="12756"/>
                  </a:lnTo>
                  <a:lnTo>
                    <a:pt x="14979" y="12701"/>
                  </a:lnTo>
                  <a:lnTo>
                    <a:pt x="15044" y="12645"/>
                  </a:lnTo>
                  <a:lnTo>
                    <a:pt x="15110" y="12587"/>
                  </a:lnTo>
                  <a:lnTo>
                    <a:pt x="15175" y="12530"/>
                  </a:lnTo>
                  <a:lnTo>
                    <a:pt x="15238" y="12475"/>
                  </a:lnTo>
                  <a:lnTo>
                    <a:pt x="15298" y="12421"/>
                  </a:lnTo>
                  <a:lnTo>
                    <a:pt x="15354" y="12372"/>
                  </a:lnTo>
                  <a:lnTo>
                    <a:pt x="15405" y="12328"/>
                  </a:lnTo>
                  <a:lnTo>
                    <a:pt x="15451" y="12291"/>
                  </a:lnTo>
                  <a:lnTo>
                    <a:pt x="15487" y="12261"/>
                  </a:lnTo>
                  <a:lnTo>
                    <a:pt x="15508" y="12245"/>
                  </a:lnTo>
                  <a:lnTo>
                    <a:pt x="15520" y="12233"/>
                  </a:lnTo>
                  <a:lnTo>
                    <a:pt x="15534" y="12220"/>
                  </a:lnTo>
                  <a:lnTo>
                    <a:pt x="15555" y="12200"/>
                  </a:lnTo>
                  <a:lnTo>
                    <a:pt x="15765" y="12013"/>
                  </a:lnTo>
                  <a:lnTo>
                    <a:pt x="15798" y="11979"/>
                  </a:lnTo>
                  <a:lnTo>
                    <a:pt x="15830" y="11947"/>
                  </a:lnTo>
                  <a:lnTo>
                    <a:pt x="15863" y="11915"/>
                  </a:lnTo>
                  <a:lnTo>
                    <a:pt x="15895" y="11884"/>
                  </a:lnTo>
                  <a:lnTo>
                    <a:pt x="15927" y="11853"/>
                  </a:lnTo>
                  <a:lnTo>
                    <a:pt x="15959" y="11823"/>
                  </a:lnTo>
                  <a:lnTo>
                    <a:pt x="15992" y="11790"/>
                  </a:lnTo>
                  <a:lnTo>
                    <a:pt x="16025" y="11758"/>
                  </a:lnTo>
                  <a:lnTo>
                    <a:pt x="16052" y="11733"/>
                  </a:lnTo>
                  <a:lnTo>
                    <a:pt x="16089" y="11696"/>
                  </a:lnTo>
                  <a:lnTo>
                    <a:pt x="16136" y="11649"/>
                  </a:lnTo>
                  <a:lnTo>
                    <a:pt x="16190" y="11595"/>
                  </a:lnTo>
                  <a:lnTo>
                    <a:pt x="16248" y="11535"/>
                  </a:lnTo>
                  <a:lnTo>
                    <a:pt x="16311" y="11470"/>
                  </a:lnTo>
                  <a:lnTo>
                    <a:pt x="16377" y="11403"/>
                  </a:lnTo>
                  <a:lnTo>
                    <a:pt x="16443" y="11335"/>
                  </a:lnTo>
                  <a:lnTo>
                    <a:pt x="16508" y="11268"/>
                  </a:lnTo>
                  <a:lnTo>
                    <a:pt x="16571" y="11202"/>
                  </a:lnTo>
                  <a:lnTo>
                    <a:pt x="16629" y="11140"/>
                  </a:lnTo>
                  <a:lnTo>
                    <a:pt x="16681" y="11084"/>
                  </a:lnTo>
                  <a:lnTo>
                    <a:pt x="16726" y="11036"/>
                  </a:lnTo>
                  <a:lnTo>
                    <a:pt x="16761" y="10997"/>
                  </a:lnTo>
                  <a:lnTo>
                    <a:pt x="16786" y="10969"/>
                  </a:lnTo>
                  <a:lnTo>
                    <a:pt x="16797" y="10953"/>
                  </a:lnTo>
                  <a:lnTo>
                    <a:pt x="16818" y="10935"/>
                  </a:lnTo>
                  <a:lnTo>
                    <a:pt x="16837" y="10915"/>
                  </a:lnTo>
                  <a:lnTo>
                    <a:pt x="16856" y="10896"/>
                  </a:lnTo>
                  <a:lnTo>
                    <a:pt x="16874" y="10875"/>
                  </a:lnTo>
                  <a:lnTo>
                    <a:pt x="16908" y="10833"/>
                  </a:lnTo>
                  <a:lnTo>
                    <a:pt x="16943" y="10789"/>
                  </a:lnTo>
                  <a:lnTo>
                    <a:pt x="17006" y="10707"/>
                  </a:lnTo>
                  <a:lnTo>
                    <a:pt x="17067" y="10626"/>
                  </a:lnTo>
                  <a:lnTo>
                    <a:pt x="17128" y="10543"/>
                  </a:lnTo>
                  <a:lnTo>
                    <a:pt x="17185" y="10462"/>
                  </a:lnTo>
                  <a:lnTo>
                    <a:pt x="17214" y="10421"/>
                  </a:lnTo>
                  <a:lnTo>
                    <a:pt x="17241" y="10379"/>
                  </a:lnTo>
                  <a:lnTo>
                    <a:pt x="17269" y="10337"/>
                  </a:lnTo>
                  <a:lnTo>
                    <a:pt x="17295" y="10296"/>
                  </a:lnTo>
                  <a:lnTo>
                    <a:pt x="17321" y="10254"/>
                  </a:lnTo>
                  <a:lnTo>
                    <a:pt x="17347" y="10211"/>
                  </a:lnTo>
                  <a:lnTo>
                    <a:pt x="17372" y="10169"/>
                  </a:lnTo>
                  <a:lnTo>
                    <a:pt x="17396" y="10125"/>
                  </a:lnTo>
                  <a:lnTo>
                    <a:pt x="17419" y="10081"/>
                  </a:lnTo>
                  <a:lnTo>
                    <a:pt x="17442" y="10037"/>
                  </a:lnTo>
                  <a:lnTo>
                    <a:pt x="17463" y="9992"/>
                  </a:lnTo>
                  <a:lnTo>
                    <a:pt x="17485" y="9946"/>
                  </a:lnTo>
                  <a:lnTo>
                    <a:pt x="17505" y="9900"/>
                  </a:lnTo>
                  <a:lnTo>
                    <a:pt x="17524" y="9853"/>
                  </a:lnTo>
                  <a:lnTo>
                    <a:pt x="17543" y="9805"/>
                  </a:lnTo>
                  <a:lnTo>
                    <a:pt x="17561" y="9757"/>
                  </a:lnTo>
                  <a:lnTo>
                    <a:pt x="17578" y="9708"/>
                  </a:lnTo>
                  <a:lnTo>
                    <a:pt x="17594" y="9657"/>
                  </a:lnTo>
                  <a:lnTo>
                    <a:pt x="17609" y="9606"/>
                  </a:lnTo>
                  <a:lnTo>
                    <a:pt x="17622" y="9553"/>
                  </a:lnTo>
                  <a:lnTo>
                    <a:pt x="17636" y="9501"/>
                  </a:lnTo>
                  <a:lnTo>
                    <a:pt x="17648" y="9446"/>
                  </a:lnTo>
                  <a:lnTo>
                    <a:pt x="17659" y="9391"/>
                  </a:lnTo>
                  <a:lnTo>
                    <a:pt x="17669" y="9334"/>
                  </a:lnTo>
                  <a:lnTo>
                    <a:pt x="17673" y="9309"/>
                  </a:lnTo>
                  <a:lnTo>
                    <a:pt x="17675" y="9283"/>
                  </a:lnTo>
                  <a:lnTo>
                    <a:pt x="17675" y="9255"/>
                  </a:lnTo>
                  <a:lnTo>
                    <a:pt x="17674" y="9226"/>
                  </a:lnTo>
                  <a:lnTo>
                    <a:pt x="17672" y="9196"/>
                  </a:lnTo>
                  <a:lnTo>
                    <a:pt x="17669" y="9165"/>
                  </a:lnTo>
                  <a:lnTo>
                    <a:pt x="17665" y="9133"/>
                  </a:lnTo>
                  <a:lnTo>
                    <a:pt x="17659" y="9101"/>
                  </a:lnTo>
                  <a:lnTo>
                    <a:pt x="17653" y="9068"/>
                  </a:lnTo>
                  <a:lnTo>
                    <a:pt x="17645" y="9034"/>
                  </a:lnTo>
                  <a:lnTo>
                    <a:pt x="17637" y="8999"/>
                  </a:lnTo>
                  <a:lnTo>
                    <a:pt x="17629" y="8965"/>
                  </a:lnTo>
                  <a:lnTo>
                    <a:pt x="17609" y="8895"/>
                  </a:lnTo>
                  <a:lnTo>
                    <a:pt x="17587" y="8825"/>
                  </a:lnTo>
                  <a:lnTo>
                    <a:pt x="17563" y="8757"/>
                  </a:lnTo>
                  <a:lnTo>
                    <a:pt x="17539" y="8689"/>
                  </a:lnTo>
                  <a:lnTo>
                    <a:pt x="17513" y="8624"/>
                  </a:lnTo>
                  <a:lnTo>
                    <a:pt x="17487" y="8563"/>
                  </a:lnTo>
                  <a:lnTo>
                    <a:pt x="17462" y="8506"/>
                  </a:lnTo>
                  <a:lnTo>
                    <a:pt x="17437" y="8455"/>
                  </a:lnTo>
                  <a:lnTo>
                    <a:pt x="17415" y="8408"/>
                  </a:lnTo>
                  <a:lnTo>
                    <a:pt x="17394" y="8369"/>
                  </a:lnTo>
                  <a:lnTo>
                    <a:pt x="17360" y="8310"/>
                  </a:lnTo>
                  <a:lnTo>
                    <a:pt x="17328" y="8254"/>
                  </a:lnTo>
                  <a:lnTo>
                    <a:pt x="17297" y="8203"/>
                  </a:lnTo>
                  <a:lnTo>
                    <a:pt x="17268" y="8155"/>
                  </a:lnTo>
                  <a:lnTo>
                    <a:pt x="17239" y="8109"/>
                  </a:lnTo>
                  <a:lnTo>
                    <a:pt x="17210" y="8066"/>
                  </a:lnTo>
                  <a:lnTo>
                    <a:pt x="17182" y="8023"/>
                  </a:lnTo>
                  <a:lnTo>
                    <a:pt x="17153" y="7981"/>
                  </a:lnTo>
                  <a:lnTo>
                    <a:pt x="17123" y="7941"/>
                  </a:lnTo>
                  <a:lnTo>
                    <a:pt x="17093" y="7900"/>
                  </a:lnTo>
                  <a:lnTo>
                    <a:pt x="17062" y="7858"/>
                  </a:lnTo>
                  <a:lnTo>
                    <a:pt x="17029" y="7816"/>
                  </a:lnTo>
                  <a:lnTo>
                    <a:pt x="16958" y="7727"/>
                  </a:lnTo>
                  <a:lnTo>
                    <a:pt x="16877" y="7627"/>
                  </a:lnTo>
                  <a:lnTo>
                    <a:pt x="16843" y="7585"/>
                  </a:lnTo>
                  <a:lnTo>
                    <a:pt x="16805" y="7540"/>
                  </a:lnTo>
                  <a:lnTo>
                    <a:pt x="16766" y="7493"/>
                  </a:lnTo>
                  <a:lnTo>
                    <a:pt x="16725" y="7446"/>
                  </a:lnTo>
                  <a:lnTo>
                    <a:pt x="16641" y="7350"/>
                  </a:lnTo>
                  <a:lnTo>
                    <a:pt x="16551" y="7253"/>
                  </a:lnTo>
                  <a:lnTo>
                    <a:pt x="16462" y="7157"/>
                  </a:lnTo>
                  <a:lnTo>
                    <a:pt x="16373" y="7065"/>
                  </a:lnTo>
                  <a:lnTo>
                    <a:pt x="16287" y="6978"/>
                  </a:lnTo>
                  <a:lnTo>
                    <a:pt x="16207" y="6899"/>
                  </a:lnTo>
                  <a:lnTo>
                    <a:pt x="16179" y="6872"/>
                  </a:lnTo>
                  <a:lnTo>
                    <a:pt x="16153" y="6842"/>
                  </a:lnTo>
                  <a:lnTo>
                    <a:pt x="16127" y="6811"/>
                  </a:lnTo>
                  <a:lnTo>
                    <a:pt x="16099" y="6779"/>
                  </a:lnTo>
                  <a:lnTo>
                    <a:pt x="16071" y="6747"/>
                  </a:lnTo>
                  <a:lnTo>
                    <a:pt x="16042" y="6715"/>
                  </a:lnTo>
                  <a:lnTo>
                    <a:pt x="16011" y="6683"/>
                  </a:lnTo>
                  <a:lnTo>
                    <a:pt x="15979" y="6652"/>
                  </a:lnTo>
                  <a:lnTo>
                    <a:pt x="14313" y="5186"/>
                  </a:lnTo>
                  <a:lnTo>
                    <a:pt x="14230" y="5121"/>
                  </a:lnTo>
                  <a:lnTo>
                    <a:pt x="14144" y="5052"/>
                  </a:lnTo>
                  <a:lnTo>
                    <a:pt x="14058" y="4981"/>
                  </a:lnTo>
                  <a:lnTo>
                    <a:pt x="13972" y="4911"/>
                  </a:lnTo>
                  <a:lnTo>
                    <a:pt x="13885" y="4840"/>
                  </a:lnTo>
                  <a:lnTo>
                    <a:pt x="13797" y="4769"/>
                  </a:lnTo>
                  <a:lnTo>
                    <a:pt x="13709" y="4700"/>
                  </a:lnTo>
                  <a:lnTo>
                    <a:pt x="13622" y="4634"/>
                  </a:lnTo>
                  <a:lnTo>
                    <a:pt x="13528" y="4565"/>
                  </a:lnTo>
                  <a:lnTo>
                    <a:pt x="13437" y="4496"/>
                  </a:lnTo>
                  <a:lnTo>
                    <a:pt x="13348" y="4430"/>
                  </a:lnTo>
                  <a:lnTo>
                    <a:pt x="13259" y="4364"/>
                  </a:lnTo>
                  <a:lnTo>
                    <a:pt x="13172" y="4299"/>
                  </a:lnTo>
                  <a:lnTo>
                    <a:pt x="13085" y="4234"/>
                  </a:lnTo>
                  <a:lnTo>
                    <a:pt x="12999" y="4170"/>
                  </a:lnTo>
                  <a:lnTo>
                    <a:pt x="12913" y="4107"/>
                  </a:lnTo>
                  <a:lnTo>
                    <a:pt x="12826" y="4043"/>
                  </a:lnTo>
                  <a:lnTo>
                    <a:pt x="12738" y="3980"/>
                  </a:lnTo>
                  <a:lnTo>
                    <a:pt x="12650" y="3916"/>
                  </a:lnTo>
                  <a:lnTo>
                    <a:pt x="12559" y="3852"/>
                  </a:lnTo>
                  <a:lnTo>
                    <a:pt x="12468" y="3787"/>
                  </a:lnTo>
                  <a:lnTo>
                    <a:pt x="12373" y="3722"/>
                  </a:lnTo>
                  <a:lnTo>
                    <a:pt x="12276" y="3655"/>
                  </a:lnTo>
                  <a:lnTo>
                    <a:pt x="12177" y="3589"/>
                  </a:lnTo>
                  <a:lnTo>
                    <a:pt x="12083" y="3525"/>
                  </a:lnTo>
                  <a:lnTo>
                    <a:pt x="11988" y="3463"/>
                  </a:lnTo>
                  <a:lnTo>
                    <a:pt x="11893" y="3402"/>
                  </a:lnTo>
                  <a:lnTo>
                    <a:pt x="11798" y="3340"/>
                  </a:lnTo>
                  <a:lnTo>
                    <a:pt x="11702" y="3280"/>
                  </a:lnTo>
                  <a:lnTo>
                    <a:pt x="11606" y="3219"/>
                  </a:lnTo>
                  <a:lnTo>
                    <a:pt x="11509" y="3158"/>
                  </a:lnTo>
                  <a:lnTo>
                    <a:pt x="11411" y="3097"/>
                  </a:lnTo>
                  <a:lnTo>
                    <a:pt x="11318" y="3037"/>
                  </a:lnTo>
                  <a:lnTo>
                    <a:pt x="11222" y="2979"/>
                  </a:lnTo>
                  <a:lnTo>
                    <a:pt x="11125" y="2920"/>
                  </a:lnTo>
                  <a:lnTo>
                    <a:pt x="11028" y="2863"/>
                  </a:lnTo>
                  <a:lnTo>
                    <a:pt x="10930" y="2806"/>
                  </a:lnTo>
                  <a:lnTo>
                    <a:pt x="10831" y="2749"/>
                  </a:lnTo>
                  <a:lnTo>
                    <a:pt x="10732" y="2692"/>
                  </a:lnTo>
                  <a:lnTo>
                    <a:pt x="10631" y="2635"/>
                  </a:lnTo>
                  <a:lnTo>
                    <a:pt x="10529" y="2579"/>
                  </a:lnTo>
                  <a:lnTo>
                    <a:pt x="10427" y="2523"/>
                  </a:lnTo>
                  <a:lnTo>
                    <a:pt x="10326" y="2468"/>
                  </a:lnTo>
                  <a:lnTo>
                    <a:pt x="10223" y="2413"/>
                  </a:lnTo>
                  <a:lnTo>
                    <a:pt x="10120" y="2359"/>
                  </a:lnTo>
                  <a:lnTo>
                    <a:pt x="10015" y="2305"/>
                  </a:lnTo>
                  <a:lnTo>
                    <a:pt x="9911" y="2251"/>
                  </a:lnTo>
                  <a:lnTo>
                    <a:pt x="9807" y="2198"/>
                  </a:lnTo>
                  <a:lnTo>
                    <a:pt x="9735" y="2162"/>
                  </a:lnTo>
                  <a:lnTo>
                    <a:pt x="9660" y="2124"/>
                  </a:lnTo>
                  <a:lnTo>
                    <a:pt x="9583" y="2086"/>
                  </a:lnTo>
                  <a:lnTo>
                    <a:pt x="9504" y="2047"/>
                  </a:lnTo>
                  <a:lnTo>
                    <a:pt x="9423" y="2010"/>
                  </a:lnTo>
                  <a:lnTo>
                    <a:pt x="9340" y="1971"/>
                  </a:lnTo>
                  <a:lnTo>
                    <a:pt x="9258" y="1932"/>
                  </a:lnTo>
                  <a:lnTo>
                    <a:pt x="9174" y="1893"/>
                  </a:lnTo>
                  <a:lnTo>
                    <a:pt x="9091" y="1855"/>
                  </a:lnTo>
                  <a:lnTo>
                    <a:pt x="9006" y="1816"/>
                  </a:lnTo>
                  <a:lnTo>
                    <a:pt x="8923" y="1780"/>
                  </a:lnTo>
                  <a:lnTo>
                    <a:pt x="8840" y="1743"/>
                  </a:lnTo>
                  <a:lnTo>
                    <a:pt x="8759" y="1707"/>
                  </a:lnTo>
                  <a:lnTo>
                    <a:pt x="8679" y="1673"/>
                  </a:lnTo>
                  <a:lnTo>
                    <a:pt x="8600" y="1640"/>
                  </a:lnTo>
                  <a:lnTo>
                    <a:pt x="8523" y="1608"/>
                  </a:lnTo>
                  <a:lnTo>
                    <a:pt x="8472" y="1587"/>
                  </a:lnTo>
                  <a:lnTo>
                    <a:pt x="8417" y="1562"/>
                  </a:lnTo>
                  <a:lnTo>
                    <a:pt x="8360" y="1537"/>
                  </a:lnTo>
                  <a:lnTo>
                    <a:pt x="8300" y="1511"/>
                  </a:lnTo>
                  <a:lnTo>
                    <a:pt x="8242" y="1485"/>
                  </a:lnTo>
                  <a:lnTo>
                    <a:pt x="8184" y="1461"/>
                  </a:lnTo>
                  <a:lnTo>
                    <a:pt x="8156" y="1451"/>
                  </a:lnTo>
                  <a:lnTo>
                    <a:pt x="8129" y="1442"/>
                  </a:lnTo>
                  <a:lnTo>
                    <a:pt x="8102" y="1433"/>
                  </a:lnTo>
                  <a:lnTo>
                    <a:pt x="8078" y="1426"/>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sp>
        <p:nvSpPr>
          <p:cNvPr id="21" name="Rectangle 23">
            <a:extLst>
              <a:ext uri="{FF2B5EF4-FFF2-40B4-BE49-F238E27FC236}">
                <a16:creationId xmlns:a16="http://schemas.microsoft.com/office/drawing/2014/main" id="{B44919BF-8903-4DB7-BF64-EA8BC47BCEDD}"/>
              </a:ext>
            </a:extLst>
          </p:cNvPr>
          <p:cNvSpPr/>
          <p:nvPr/>
        </p:nvSpPr>
        <p:spPr>
          <a:xfrm>
            <a:off x="571500" y="3797633"/>
            <a:ext cx="3684549" cy="1126462"/>
          </a:xfrm>
          <a:prstGeom prst="rect">
            <a:avLst/>
          </a:prstGeom>
        </p:spPr>
        <p:txBody>
          <a:bodyPr wrap="square">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id-ID" sz="1400" b="0" i="0" u="none" strike="noStrike" kern="1200" cap="none" spc="0" normalizeH="0" baseline="0" noProof="0" dirty="0">
                <a:ln>
                  <a:noFill/>
                </a:ln>
                <a:solidFill>
                  <a:srgbClr val="FFFFFF">
                    <a:lumMod val="65000"/>
                  </a:srgbClr>
                </a:solidFill>
                <a:effectLst/>
                <a:uLnTx/>
                <a:uFillTx/>
                <a:latin typeface="Segoe UI Light" panose="020B0502040204020203" pitchFamily="34" charset="0"/>
                <a:ea typeface="+mn-ea"/>
                <a:cs typeface="Segoe UI Light" panose="020B0502040204020203" pitchFamily="34" charset="0"/>
              </a:rPr>
              <a:t>The quick, brown fox jumps over a lazy dog. DJs flock by when MTV ax quiz prog. Junk MTV quiz graced by fox whelps. DJs flock by when MTV ax quiz prog. </a:t>
            </a:r>
            <a:endParaRPr kumimoji="0" lang="en-US" sz="1400" b="0" i="0" u="none" strike="noStrike" kern="1200" cap="none" spc="0" normalizeH="0" baseline="0" noProof="0" dirty="0">
              <a:ln>
                <a:noFill/>
              </a:ln>
              <a:solidFill>
                <a:srgbClr val="FFFFFF">
                  <a:lumMod val="65000"/>
                </a:srgbClr>
              </a:solidFill>
              <a:effectLst/>
              <a:uLnTx/>
              <a:uFillTx/>
              <a:latin typeface="Segoe UI Light" panose="020B0502040204020203" pitchFamily="34" charset="0"/>
              <a:ea typeface="+mn-ea"/>
              <a:cs typeface="Segoe UI Light" panose="020B0502040204020203" pitchFamily="34" charset="0"/>
            </a:endParaRPr>
          </a:p>
        </p:txBody>
      </p:sp>
    </p:spTree>
    <p:extLst>
      <p:ext uri="{BB962C8B-B14F-4D97-AF65-F5344CB8AC3E}">
        <p14:creationId xmlns:p14="http://schemas.microsoft.com/office/powerpoint/2010/main" val="3489769930"/>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6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B57323B4-DCD2-4E9C-90EB-331838F23880}"/>
              </a:ext>
            </a:extLst>
          </p:cNvPr>
          <p:cNvGrpSpPr/>
          <p:nvPr/>
        </p:nvGrpSpPr>
        <p:grpSpPr>
          <a:xfrm>
            <a:off x="4981180" y="1951037"/>
            <a:ext cx="6599635" cy="4906963"/>
            <a:chOff x="2632075" y="1651001"/>
            <a:chExt cx="7043738" cy="5237162"/>
          </a:xfrm>
        </p:grpSpPr>
        <p:sp>
          <p:nvSpPr>
            <p:cNvPr id="3" name="Freeform 5">
              <a:extLst>
                <a:ext uri="{FF2B5EF4-FFF2-40B4-BE49-F238E27FC236}">
                  <a16:creationId xmlns:a16="http://schemas.microsoft.com/office/drawing/2014/main" id="{8EFA636B-77AC-4780-921A-AF2C05BE38BC}"/>
                </a:ext>
              </a:extLst>
            </p:cNvPr>
            <p:cNvSpPr>
              <a:spLocks/>
            </p:cNvSpPr>
            <p:nvPr/>
          </p:nvSpPr>
          <p:spPr bwMode="auto">
            <a:xfrm>
              <a:off x="5580063" y="2206626"/>
              <a:ext cx="623887" cy="4286250"/>
            </a:xfrm>
            <a:custGeom>
              <a:avLst/>
              <a:gdLst>
                <a:gd name="T0" fmla="*/ 278 w 310"/>
                <a:gd name="T1" fmla="*/ 212 h 2130"/>
                <a:gd name="T2" fmla="*/ 278 w 310"/>
                <a:gd name="T3" fmla="*/ 2120 h 2130"/>
                <a:gd name="T4" fmla="*/ 277 w 310"/>
                <a:gd name="T5" fmla="*/ 2130 h 2130"/>
                <a:gd name="T6" fmla="*/ 309 w 310"/>
                <a:gd name="T7" fmla="*/ 2130 h 2130"/>
                <a:gd name="T8" fmla="*/ 310 w 310"/>
                <a:gd name="T9" fmla="*/ 2120 h 2130"/>
                <a:gd name="T10" fmla="*/ 310 w 310"/>
                <a:gd name="T11" fmla="*/ 212 h 2130"/>
                <a:gd name="T12" fmla="*/ 150 w 310"/>
                <a:gd name="T13" fmla="*/ 0 h 2130"/>
                <a:gd name="T14" fmla="*/ 0 w 310"/>
                <a:gd name="T15" fmla="*/ 0 h 2130"/>
                <a:gd name="T16" fmla="*/ 0 w 310"/>
                <a:gd name="T17" fmla="*/ 42 h 2130"/>
                <a:gd name="T18" fmla="*/ 150 w 310"/>
                <a:gd name="T19" fmla="*/ 42 h 2130"/>
                <a:gd name="T20" fmla="*/ 278 w 310"/>
                <a:gd name="T21" fmla="*/ 212 h 2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0" h="2130">
                  <a:moveTo>
                    <a:pt x="278" y="212"/>
                  </a:moveTo>
                  <a:cubicBezTo>
                    <a:pt x="278" y="2120"/>
                    <a:pt x="278" y="2120"/>
                    <a:pt x="278" y="2120"/>
                  </a:cubicBezTo>
                  <a:cubicBezTo>
                    <a:pt x="278" y="2124"/>
                    <a:pt x="277" y="2127"/>
                    <a:pt x="277" y="2130"/>
                  </a:cubicBezTo>
                  <a:cubicBezTo>
                    <a:pt x="309" y="2130"/>
                    <a:pt x="309" y="2130"/>
                    <a:pt x="309" y="2130"/>
                  </a:cubicBezTo>
                  <a:cubicBezTo>
                    <a:pt x="309" y="2127"/>
                    <a:pt x="310" y="2124"/>
                    <a:pt x="310" y="2120"/>
                  </a:cubicBezTo>
                  <a:cubicBezTo>
                    <a:pt x="310" y="212"/>
                    <a:pt x="310" y="212"/>
                    <a:pt x="310" y="212"/>
                  </a:cubicBezTo>
                  <a:cubicBezTo>
                    <a:pt x="310" y="95"/>
                    <a:pt x="238" y="0"/>
                    <a:pt x="150" y="0"/>
                  </a:cubicBezTo>
                  <a:cubicBezTo>
                    <a:pt x="0" y="0"/>
                    <a:pt x="0" y="0"/>
                    <a:pt x="0" y="0"/>
                  </a:cubicBezTo>
                  <a:cubicBezTo>
                    <a:pt x="0" y="42"/>
                    <a:pt x="0" y="42"/>
                    <a:pt x="0" y="42"/>
                  </a:cubicBezTo>
                  <a:cubicBezTo>
                    <a:pt x="150" y="42"/>
                    <a:pt x="150" y="42"/>
                    <a:pt x="150" y="42"/>
                  </a:cubicBezTo>
                  <a:cubicBezTo>
                    <a:pt x="220" y="42"/>
                    <a:pt x="278" y="118"/>
                    <a:pt x="278" y="212"/>
                  </a:cubicBezTo>
                  <a:close/>
                </a:path>
              </a:pathLst>
            </a:custGeom>
            <a:solidFill>
              <a:schemeClr val="accent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4" name="Freeform 6">
              <a:extLst>
                <a:ext uri="{FF2B5EF4-FFF2-40B4-BE49-F238E27FC236}">
                  <a16:creationId xmlns:a16="http://schemas.microsoft.com/office/drawing/2014/main" id="{42E58EFF-5ED6-4926-BF86-17CC7D3C4AC6}"/>
                </a:ext>
              </a:extLst>
            </p:cNvPr>
            <p:cNvSpPr>
              <a:spLocks/>
            </p:cNvSpPr>
            <p:nvPr/>
          </p:nvSpPr>
          <p:spPr bwMode="auto">
            <a:xfrm>
              <a:off x="5561013" y="4048126"/>
              <a:ext cx="642937" cy="2478088"/>
            </a:xfrm>
            <a:custGeom>
              <a:avLst/>
              <a:gdLst>
                <a:gd name="T0" fmla="*/ 287 w 319"/>
                <a:gd name="T1" fmla="*/ 256 h 1231"/>
                <a:gd name="T2" fmla="*/ 287 w 319"/>
                <a:gd name="T3" fmla="*/ 1218 h 1231"/>
                <a:gd name="T4" fmla="*/ 287 w 319"/>
                <a:gd name="T5" fmla="*/ 1231 h 1231"/>
                <a:gd name="T6" fmla="*/ 310 w 319"/>
                <a:gd name="T7" fmla="*/ 1231 h 1231"/>
                <a:gd name="T8" fmla="*/ 319 w 319"/>
                <a:gd name="T9" fmla="*/ 1231 h 1231"/>
                <a:gd name="T10" fmla="*/ 319 w 319"/>
                <a:gd name="T11" fmla="*/ 1218 h 1231"/>
                <a:gd name="T12" fmla="*/ 319 w 319"/>
                <a:gd name="T13" fmla="*/ 256 h 1231"/>
                <a:gd name="T14" fmla="*/ 125 w 319"/>
                <a:gd name="T15" fmla="*/ 0 h 1231"/>
                <a:gd name="T16" fmla="*/ 0 w 319"/>
                <a:gd name="T17" fmla="*/ 0 h 1231"/>
                <a:gd name="T18" fmla="*/ 0 w 319"/>
                <a:gd name="T19" fmla="*/ 42 h 1231"/>
                <a:gd name="T20" fmla="*/ 125 w 319"/>
                <a:gd name="T21" fmla="*/ 42 h 1231"/>
                <a:gd name="T22" fmla="*/ 287 w 319"/>
                <a:gd name="T23" fmla="*/ 256 h 1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9" h="1231">
                  <a:moveTo>
                    <a:pt x="287" y="256"/>
                  </a:moveTo>
                  <a:cubicBezTo>
                    <a:pt x="287" y="1218"/>
                    <a:pt x="287" y="1218"/>
                    <a:pt x="287" y="1218"/>
                  </a:cubicBezTo>
                  <a:cubicBezTo>
                    <a:pt x="287" y="1222"/>
                    <a:pt x="287" y="1227"/>
                    <a:pt x="287" y="1231"/>
                  </a:cubicBezTo>
                  <a:cubicBezTo>
                    <a:pt x="310" y="1231"/>
                    <a:pt x="310" y="1231"/>
                    <a:pt x="310" y="1231"/>
                  </a:cubicBezTo>
                  <a:cubicBezTo>
                    <a:pt x="319" y="1231"/>
                    <a:pt x="319" y="1231"/>
                    <a:pt x="319" y="1231"/>
                  </a:cubicBezTo>
                  <a:cubicBezTo>
                    <a:pt x="319" y="1227"/>
                    <a:pt x="319" y="1222"/>
                    <a:pt x="319" y="1218"/>
                  </a:cubicBezTo>
                  <a:cubicBezTo>
                    <a:pt x="319" y="256"/>
                    <a:pt x="319" y="256"/>
                    <a:pt x="319" y="256"/>
                  </a:cubicBezTo>
                  <a:cubicBezTo>
                    <a:pt x="319" y="114"/>
                    <a:pt x="232" y="0"/>
                    <a:pt x="125" y="0"/>
                  </a:cubicBezTo>
                  <a:cubicBezTo>
                    <a:pt x="0" y="0"/>
                    <a:pt x="0" y="0"/>
                    <a:pt x="0" y="0"/>
                  </a:cubicBezTo>
                  <a:cubicBezTo>
                    <a:pt x="0" y="42"/>
                    <a:pt x="0" y="42"/>
                    <a:pt x="0" y="42"/>
                  </a:cubicBezTo>
                  <a:cubicBezTo>
                    <a:pt x="125" y="42"/>
                    <a:pt x="125" y="42"/>
                    <a:pt x="125" y="42"/>
                  </a:cubicBezTo>
                  <a:cubicBezTo>
                    <a:pt x="215" y="42"/>
                    <a:pt x="287" y="138"/>
                    <a:pt x="287" y="256"/>
                  </a:cubicBez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5" name="Freeform 8">
              <a:extLst>
                <a:ext uri="{FF2B5EF4-FFF2-40B4-BE49-F238E27FC236}">
                  <a16:creationId xmlns:a16="http://schemas.microsoft.com/office/drawing/2014/main" id="{A4EA9368-A79B-480D-80BA-15D0334F22ED}"/>
                </a:ext>
              </a:extLst>
            </p:cNvPr>
            <p:cNvSpPr>
              <a:spLocks/>
            </p:cNvSpPr>
            <p:nvPr/>
          </p:nvSpPr>
          <p:spPr bwMode="auto">
            <a:xfrm>
              <a:off x="6140450" y="4349751"/>
              <a:ext cx="642937" cy="2176463"/>
            </a:xfrm>
            <a:custGeom>
              <a:avLst/>
              <a:gdLst>
                <a:gd name="T0" fmla="*/ 32 w 319"/>
                <a:gd name="T1" fmla="*/ 242 h 1081"/>
                <a:gd name="T2" fmla="*/ 32 w 319"/>
                <a:gd name="T3" fmla="*/ 1063 h 1081"/>
                <a:gd name="T4" fmla="*/ 32 w 319"/>
                <a:gd name="T5" fmla="*/ 1081 h 1081"/>
                <a:gd name="T6" fmla="*/ 32 w 319"/>
                <a:gd name="T7" fmla="*/ 1081 h 1081"/>
                <a:gd name="T8" fmla="*/ 9 w 319"/>
                <a:gd name="T9" fmla="*/ 1081 h 1081"/>
                <a:gd name="T10" fmla="*/ 0 w 319"/>
                <a:gd name="T11" fmla="*/ 1081 h 1081"/>
                <a:gd name="T12" fmla="*/ 0 w 319"/>
                <a:gd name="T13" fmla="*/ 1063 h 1081"/>
                <a:gd name="T14" fmla="*/ 0 w 319"/>
                <a:gd name="T15" fmla="*/ 242 h 1081"/>
                <a:gd name="T16" fmla="*/ 182 w 319"/>
                <a:gd name="T17" fmla="*/ 0 h 1081"/>
                <a:gd name="T18" fmla="*/ 319 w 319"/>
                <a:gd name="T19" fmla="*/ 0 h 1081"/>
                <a:gd name="T20" fmla="*/ 319 w 319"/>
                <a:gd name="T21" fmla="*/ 42 h 1081"/>
                <a:gd name="T22" fmla="*/ 182 w 319"/>
                <a:gd name="T23" fmla="*/ 42 h 1081"/>
                <a:gd name="T24" fmla="*/ 32 w 319"/>
                <a:gd name="T25" fmla="*/ 242 h 10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19" h="1081">
                  <a:moveTo>
                    <a:pt x="32" y="242"/>
                  </a:moveTo>
                  <a:cubicBezTo>
                    <a:pt x="32" y="1063"/>
                    <a:pt x="32" y="1063"/>
                    <a:pt x="32" y="1063"/>
                  </a:cubicBezTo>
                  <a:cubicBezTo>
                    <a:pt x="32" y="1069"/>
                    <a:pt x="32" y="1075"/>
                    <a:pt x="32" y="1081"/>
                  </a:cubicBezTo>
                  <a:cubicBezTo>
                    <a:pt x="32" y="1081"/>
                    <a:pt x="32" y="1081"/>
                    <a:pt x="32" y="1081"/>
                  </a:cubicBezTo>
                  <a:cubicBezTo>
                    <a:pt x="9" y="1081"/>
                    <a:pt x="9" y="1081"/>
                    <a:pt x="9" y="1081"/>
                  </a:cubicBezTo>
                  <a:cubicBezTo>
                    <a:pt x="0" y="1081"/>
                    <a:pt x="0" y="1081"/>
                    <a:pt x="0" y="1081"/>
                  </a:cubicBezTo>
                  <a:cubicBezTo>
                    <a:pt x="0" y="1075"/>
                    <a:pt x="0" y="1069"/>
                    <a:pt x="0" y="1063"/>
                  </a:cubicBezTo>
                  <a:cubicBezTo>
                    <a:pt x="0" y="242"/>
                    <a:pt x="0" y="242"/>
                    <a:pt x="0" y="242"/>
                  </a:cubicBezTo>
                  <a:cubicBezTo>
                    <a:pt x="0" y="108"/>
                    <a:pt x="82" y="0"/>
                    <a:pt x="182" y="0"/>
                  </a:cubicBezTo>
                  <a:cubicBezTo>
                    <a:pt x="319" y="0"/>
                    <a:pt x="319" y="0"/>
                    <a:pt x="319" y="0"/>
                  </a:cubicBezTo>
                  <a:cubicBezTo>
                    <a:pt x="319" y="42"/>
                    <a:pt x="319" y="42"/>
                    <a:pt x="319" y="42"/>
                  </a:cubicBezTo>
                  <a:cubicBezTo>
                    <a:pt x="182" y="42"/>
                    <a:pt x="182" y="42"/>
                    <a:pt x="182" y="42"/>
                  </a:cubicBezTo>
                  <a:cubicBezTo>
                    <a:pt x="99" y="42"/>
                    <a:pt x="32" y="132"/>
                    <a:pt x="32" y="242"/>
                  </a:cubicBezTo>
                  <a:close/>
                </a:path>
              </a:pathLst>
            </a:custGeom>
            <a:solidFill>
              <a:schemeClr val="accent5">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6" name="Freeform 9">
              <a:extLst>
                <a:ext uri="{FF2B5EF4-FFF2-40B4-BE49-F238E27FC236}">
                  <a16:creationId xmlns:a16="http://schemas.microsoft.com/office/drawing/2014/main" id="{506D9472-5E4B-487F-BE72-DB15B0CF4609}"/>
                </a:ext>
              </a:extLst>
            </p:cNvPr>
            <p:cNvSpPr>
              <a:spLocks/>
            </p:cNvSpPr>
            <p:nvPr/>
          </p:nvSpPr>
          <p:spPr bwMode="auto">
            <a:xfrm>
              <a:off x="6140450" y="3641726"/>
              <a:ext cx="642937" cy="2689225"/>
            </a:xfrm>
            <a:custGeom>
              <a:avLst/>
              <a:gdLst>
                <a:gd name="T0" fmla="*/ 32 w 319"/>
                <a:gd name="T1" fmla="*/ 266 h 1336"/>
                <a:gd name="T2" fmla="*/ 32 w 319"/>
                <a:gd name="T3" fmla="*/ 1335 h 1336"/>
                <a:gd name="T4" fmla="*/ 32 w 319"/>
                <a:gd name="T5" fmla="*/ 1336 h 1336"/>
                <a:gd name="T6" fmla="*/ 23 w 319"/>
                <a:gd name="T7" fmla="*/ 1336 h 1336"/>
                <a:gd name="T8" fmla="*/ 15 w 319"/>
                <a:gd name="T9" fmla="*/ 1336 h 1336"/>
                <a:gd name="T10" fmla="*/ 15 w 319"/>
                <a:gd name="T11" fmla="*/ 1336 h 1336"/>
                <a:gd name="T12" fmla="*/ 0 w 319"/>
                <a:gd name="T13" fmla="*/ 1336 h 1336"/>
                <a:gd name="T14" fmla="*/ 0 w 319"/>
                <a:gd name="T15" fmla="*/ 1335 h 1336"/>
                <a:gd name="T16" fmla="*/ 0 w 319"/>
                <a:gd name="T17" fmla="*/ 266 h 1336"/>
                <a:gd name="T18" fmla="*/ 201 w 319"/>
                <a:gd name="T19" fmla="*/ 0 h 1336"/>
                <a:gd name="T20" fmla="*/ 319 w 319"/>
                <a:gd name="T21" fmla="*/ 0 h 1336"/>
                <a:gd name="T22" fmla="*/ 319 w 319"/>
                <a:gd name="T23" fmla="*/ 42 h 1336"/>
                <a:gd name="T24" fmla="*/ 201 w 319"/>
                <a:gd name="T25" fmla="*/ 42 h 1336"/>
                <a:gd name="T26" fmla="*/ 32 w 319"/>
                <a:gd name="T27" fmla="*/ 266 h 1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19" h="1336">
                  <a:moveTo>
                    <a:pt x="32" y="266"/>
                  </a:moveTo>
                  <a:cubicBezTo>
                    <a:pt x="32" y="1335"/>
                    <a:pt x="32" y="1335"/>
                    <a:pt x="32" y="1335"/>
                  </a:cubicBezTo>
                  <a:cubicBezTo>
                    <a:pt x="32" y="1335"/>
                    <a:pt x="32" y="1335"/>
                    <a:pt x="32" y="1336"/>
                  </a:cubicBezTo>
                  <a:cubicBezTo>
                    <a:pt x="23" y="1336"/>
                    <a:pt x="23" y="1336"/>
                    <a:pt x="23" y="1336"/>
                  </a:cubicBezTo>
                  <a:cubicBezTo>
                    <a:pt x="15" y="1336"/>
                    <a:pt x="15" y="1336"/>
                    <a:pt x="15" y="1336"/>
                  </a:cubicBezTo>
                  <a:cubicBezTo>
                    <a:pt x="15" y="1336"/>
                    <a:pt x="15" y="1336"/>
                    <a:pt x="15" y="1336"/>
                  </a:cubicBezTo>
                  <a:cubicBezTo>
                    <a:pt x="0" y="1336"/>
                    <a:pt x="0" y="1336"/>
                    <a:pt x="0" y="1336"/>
                  </a:cubicBezTo>
                  <a:cubicBezTo>
                    <a:pt x="0" y="1335"/>
                    <a:pt x="0" y="1335"/>
                    <a:pt x="0" y="1335"/>
                  </a:cubicBezTo>
                  <a:cubicBezTo>
                    <a:pt x="0" y="266"/>
                    <a:pt x="0" y="266"/>
                    <a:pt x="0" y="266"/>
                  </a:cubicBezTo>
                  <a:cubicBezTo>
                    <a:pt x="0" y="119"/>
                    <a:pt x="90" y="0"/>
                    <a:pt x="201" y="0"/>
                  </a:cubicBezTo>
                  <a:cubicBezTo>
                    <a:pt x="319" y="0"/>
                    <a:pt x="319" y="0"/>
                    <a:pt x="319" y="0"/>
                  </a:cubicBezTo>
                  <a:cubicBezTo>
                    <a:pt x="319" y="42"/>
                    <a:pt x="319" y="42"/>
                    <a:pt x="319" y="42"/>
                  </a:cubicBezTo>
                  <a:cubicBezTo>
                    <a:pt x="201" y="42"/>
                    <a:pt x="201" y="42"/>
                    <a:pt x="201" y="42"/>
                  </a:cubicBezTo>
                  <a:cubicBezTo>
                    <a:pt x="108" y="42"/>
                    <a:pt x="32" y="143"/>
                    <a:pt x="32" y="266"/>
                  </a:cubicBezTo>
                  <a:close/>
                </a:path>
              </a:pathLst>
            </a:custGeom>
            <a:solidFill>
              <a:schemeClr val="accent4">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7" name="Freeform 10">
              <a:extLst>
                <a:ext uri="{FF2B5EF4-FFF2-40B4-BE49-F238E27FC236}">
                  <a16:creationId xmlns:a16="http://schemas.microsoft.com/office/drawing/2014/main" id="{8B56D9D8-EE03-4CF9-A763-155F867BBEE3}"/>
                </a:ext>
              </a:extLst>
            </p:cNvPr>
            <p:cNvSpPr>
              <a:spLocks/>
            </p:cNvSpPr>
            <p:nvPr/>
          </p:nvSpPr>
          <p:spPr bwMode="auto">
            <a:xfrm>
              <a:off x="5580063" y="4845051"/>
              <a:ext cx="623887" cy="1681163"/>
            </a:xfrm>
            <a:custGeom>
              <a:avLst/>
              <a:gdLst>
                <a:gd name="T0" fmla="*/ 278 w 310"/>
                <a:gd name="T1" fmla="*/ 261 h 835"/>
                <a:gd name="T2" fmla="*/ 278 w 310"/>
                <a:gd name="T3" fmla="*/ 835 h 835"/>
                <a:gd name="T4" fmla="*/ 310 w 310"/>
                <a:gd name="T5" fmla="*/ 835 h 835"/>
                <a:gd name="T6" fmla="*/ 310 w 310"/>
                <a:gd name="T7" fmla="*/ 261 h 835"/>
                <a:gd name="T8" fmla="*/ 113 w 310"/>
                <a:gd name="T9" fmla="*/ 0 h 835"/>
                <a:gd name="T10" fmla="*/ 0 w 310"/>
                <a:gd name="T11" fmla="*/ 0 h 835"/>
                <a:gd name="T12" fmla="*/ 0 w 310"/>
                <a:gd name="T13" fmla="*/ 42 h 835"/>
                <a:gd name="T14" fmla="*/ 113 w 310"/>
                <a:gd name="T15" fmla="*/ 42 h 835"/>
                <a:gd name="T16" fmla="*/ 278 w 310"/>
                <a:gd name="T17" fmla="*/ 261 h 8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0" h="835">
                  <a:moveTo>
                    <a:pt x="278" y="261"/>
                  </a:moveTo>
                  <a:cubicBezTo>
                    <a:pt x="278" y="835"/>
                    <a:pt x="278" y="835"/>
                    <a:pt x="278" y="835"/>
                  </a:cubicBezTo>
                  <a:cubicBezTo>
                    <a:pt x="310" y="835"/>
                    <a:pt x="310" y="835"/>
                    <a:pt x="310" y="835"/>
                  </a:cubicBezTo>
                  <a:cubicBezTo>
                    <a:pt x="310" y="261"/>
                    <a:pt x="310" y="261"/>
                    <a:pt x="310" y="261"/>
                  </a:cubicBezTo>
                  <a:cubicBezTo>
                    <a:pt x="310" y="117"/>
                    <a:pt x="221" y="0"/>
                    <a:pt x="113" y="0"/>
                  </a:cubicBezTo>
                  <a:cubicBezTo>
                    <a:pt x="0" y="0"/>
                    <a:pt x="0" y="0"/>
                    <a:pt x="0" y="0"/>
                  </a:cubicBezTo>
                  <a:cubicBezTo>
                    <a:pt x="0" y="42"/>
                    <a:pt x="0" y="42"/>
                    <a:pt x="0" y="42"/>
                  </a:cubicBezTo>
                  <a:cubicBezTo>
                    <a:pt x="113" y="42"/>
                    <a:pt x="113" y="42"/>
                    <a:pt x="113" y="42"/>
                  </a:cubicBezTo>
                  <a:cubicBezTo>
                    <a:pt x="204" y="42"/>
                    <a:pt x="278" y="140"/>
                    <a:pt x="278" y="261"/>
                  </a:cubicBezTo>
                  <a:close/>
                </a:path>
              </a:pathLst>
            </a:custGeom>
            <a:solidFill>
              <a:schemeClr val="accent3">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8" name="Freeform 11">
              <a:extLst>
                <a:ext uri="{FF2B5EF4-FFF2-40B4-BE49-F238E27FC236}">
                  <a16:creationId xmlns:a16="http://schemas.microsoft.com/office/drawing/2014/main" id="{DE922A29-9AB1-4987-B915-164AF79EE1A4}"/>
                </a:ext>
              </a:extLst>
            </p:cNvPr>
            <p:cNvSpPr>
              <a:spLocks/>
            </p:cNvSpPr>
            <p:nvPr/>
          </p:nvSpPr>
          <p:spPr bwMode="auto">
            <a:xfrm>
              <a:off x="5676900" y="6332538"/>
              <a:ext cx="495300" cy="555625"/>
            </a:xfrm>
            <a:custGeom>
              <a:avLst/>
              <a:gdLst>
                <a:gd name="T0" fmla="*/ 0 w 312"/>
                <a:gd name="T1" fmla="*/ 0 h 350"/>
                <a:gd name="T2" fmla="*/ 142 w 312"/>
                <a:gd name="T3" fmla="*/ 350 h 350"/>
                <a:gd name="T4" fmla="*/ 312 w 312"/>
                <a:gd name="T5" fmla="*/ 350 h 350"/>
                <a:gd name="T6" fmla="*/ 312 w 312"/>
                <a:gd name="T7" fmla="*/ 0 h 350"/>
                <a:gd name="T8" fmla="*/ 0 w 312"/>
                <a:gd name="T9" fmla="*/ 0 h 350"/>
              </a:gdLst>
              <a:ahLst/>
              <a:cxnLst>
                <a:cxn ang="0">
                  <a:pos x="T0" y="T1"/>
                </a:cxn>
                <a:cxn ang="0">
                  <a:pos x="T2" y="T3"/>
                </a:cxn>
                <a:cxn ang="0">
                  <a:pos x="T4" y="T5"/>
                </a:cxn>
                <a:cxn ang="0">
                  <a:pos x="T6" y="T7"/>
                </a:cxn>
                <a:cxn ang="0">
                  <a:pos x="T8" y="T9"/>
                </a:cxn>
              </a:cxnLst>
              <a:rect l="0" t="0" r="r" b="b"/>
              <a:pathLst>
                <a:path w="312" h="350">
                  <a:moveTo>
                    <a:pt x="0" y="0"/>
                  </a:moveTo>
                  <a:lnTo>
                    <a:pt x="142" y="350"/>
                  </a:lnTo>
                  <a:lnTo>
                    <a:pt x="312" y="350"/>
                  </a:lnTo>
                  <a:lnTo>
                    <a:pt x="312" y="0"/>
                  </a:lnTo>
                  <a:lnTo>
                    <a:pt x="0" y="0"/>
                  </a:lnTo>
                  <a:close/>
                </a:path>
              </a:pathLst>
            </a:custGeom>
            <a:solidFill>
              <a:srgbClr val="C9C9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9" name="Freeform 12">
              <a:extLst>
                <a:ext uri="{FF2B5EF4-FFF2-40B4-BE49-F238E27FC236}">
                  <a16:creationId xmlns:a16="http://schemas.microsoft.com/office/drawing/2014/main" id="{64BF00B6-52D6-4288-A222-E96307FC4797}"/>
                </a:ext>
              </a:extLst>
            </p:cNvPr>
            <p:cNvSpPr>
              <a:spLocks/>
            </p:cNvSpPr>
            <p:nvPr/>
          </p:nvSpPr>
          <p:spPr bwMode="auto">
            <a:xfrm>
              <a:off x="6172200" y="6332538"/>
              <a:ext cx="493712" cy="555625"/>
            </a:xfrm>
            <a:custGeom>
              <a:avLst/>
              <a:gdLst>
                <a:gd name="T0" fmla="*/ 0 w 311"/>
                <a:gd name="T1" fmla="*/ 350 h 350"/>
                <a:gd name="T2" fmla="*/ 178 w 311"/>
                <a:gd name="T3" fmla="*/ 350 h 350"/>
                <a:gd name="T4" fmla="*/ 311 w 311"/>
                <a:gd name="T5" fmla="*/ 0 h 350"/>
                <a:gd name="T6" fmla="*/ 0 w 311"/>
                <a:gd name="T7" fmla="*/ 0 h 350"/>
                <a:gd name="T8" fmla="*/ 0 w 311"/>
                <a:gd name="T9" fmla="*/ 350 h 350"/>
              </a:gdLst>
              <a:ahLst/>
              <a:cxnLst>
                <a:cxn ang="0">
                  <a:pos x="T0" y="T1"/>
                </a:cxn>
                <a:cxn ang="0">
                  <a:pos x="T2" y="T3"/>
                </a:cxn>
                <a:cxn ang="0">
                  <a:pos x="T4" y="T5"/>
                </a:cxn>
                <a:cxn ang="0">
                  <a:pos x="T6" y="T7"/>
                </a:cxn>
                <a:cxn ang="0">
                  <a:pos x="T8" y="T9"/>
                </a:cxn>
              </a:cxnLst>
              <a:rect l="0" t="0" r="r" b="b"/>
              <a:pathLst>
                <a:path w="311" h="350">
                  <a:moveTo>
                    <a:pt x="0" y="350"/>
                  </a:moveTo>
                  <a:lnTo>
                    <a:pt x="178" y="350"/>
                  </a:lnTo>
                  <a:lnTo>
                    <a:pt x="311" y="0"/>
                  </a:lnTo>
                  <a:lnTo>
                    <a:pt x="0" y="0"/>
                  </a:lnTo>
                  <a:lnTo>
                    <a:pt x="0" y="350"/>
                  </a:lnTo>
                  <a:close/>
                </a:path>
              </a:pathLst>
            </a:custGeom>
            <a:solidFill>
              <a:srgbClr val="7070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10" name="Freeform 13">
              <a:extLst>
                <a:ext uri="{FF2B5EF4-FFF2-40B4-BE49-F238E27FC236}">
                  <a16:creationId xmlns:a16="http://schemas.microsoft.com/office/drawing/2014/main" id="{67C7D54F-FF7F-43AB-AC13-CB2C6E457090}"/>
                </a:ext>
              </a:extLst>
            </p:cNvPr>
            <p:cNvSpPr>
              <a:spLocks/>
            </p:cNvSpPr>
            <p:nvPr/>
          </p:nvSpPr>
          <p:spPr bwMode="auto">
            <a:xfrm>
              <a:off x="5640388" y="6169026"/>
              <a:ext cx="531812" cy="163513"/>
            </a:xfrm>
            <a:custGeom>
              <a:avLst/>
              <a:gdLst>
                <a:gd name="T0" fmla="*/ 335 w 335"/>
                <a:gd name="T1" fmla="*/ 0 h 103"/>
                <a:gd name="T2" fmla="*/ 0 w 335"/>
                <a:gd name="T3" fmla="*/ 0 h 103"/>
                <a:gd name="T4" fmla="*/ 0 w 335"/>
                <a:gd name="T5" fmla="*/ 103 h 103"/>
                <a:gd name="T6" fmla="*/ 23 w 335"/>
                <a:gd name="T7" fmla="*/ 103 h 103"/>
                <a:gd name="T8" fmla="*/ 335 w 335"/>
                <a:gd name="T9" fmla="*/ 103 h 103"/>
                <a:gd name="T10" fmla="*/ 335 w 335"/>
                <a:gd name="T11" fmla="*/ 0 h 103"/>
              </a:gdLst>
              <a:ahLst/>
              <a:cxnLst>
                <a:cxn ang="0">
                  <a:pos x="T0" y="T1"/>
                </a:cxn>
                <a:cxn ang="0">
                  <a:pos x="T2" y="T3"/>
                </a:cxn>
                <a:cxn ang="0">
                  <a:pos x="T4" y="T5"/>
                </a:cxn>
                <a:cxn ang="0">
                  <a:pos x="T6" y="T7"/>
                </a:cxn>
                <a:cxn ang="0">
                  <a:pos x="T8" y="T9"/>
                </a:cxn>
                <a:cxn ang="0">
                  <a:pos x="T10" y="T11"/>
                </a:cxn>
              </a:cxnLst>
              <a:rect l="0" t="0" r="r" b="b"/>
              <a:pathLst>
                <a:path w="335" h="103">
                  <a:moveTo>
                    <a:pt x="335" y="0"/>
                  </a:moveTo>
                  <a:lnTo>
                    <a:pt x="0" y="0"/>
                  </a:lnTo>
                  <a:lnTo>
                    <a:pt x="0" y="103"/>
                  </a:lnTo>
                  <a:lnTo>
                    <a:pt x="23" y="103"/>
                  </a:lnTo>
                  <a:lnTo>
                    <a:pt x="335" y="103"/>
                  </a:lnTo>
                  <a:lnTo>
                    <a:pt x="335" y="0"/>
                  </a:lnTo>
                  <a:close/>
                </a:path>
              </a:pathLst>
            </a:custGeom>
            <a:solidFill>
              <a:srgbClr val="A5A5A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11" name="Freeform 14">
              <a:extLst>
                <a:ext uri="{FF2B5EF4-FFF2-40B4-BE49-F238E27FC236}">
                  <a16:creationId xmlns:a16="http://schemas.microsoft.com/office/drawing/2014/main" id="{1C45D50D-F141-4E78-809E-318A97521086}"/>
                </a:ext>
              </a:extLst>
            </p:cNvPr>
            <p:cNvSpPr>
              <a:spLocks/>
            </p:cNvSpPr>
            <p:nvPr/>
          </p:nvSpPr>
          <p:spPr bwMode="auto">
            <a:xfrm>
              <a:off x="6172200" y="6169026"/>
              <a:ext cx="530225" cy="163513"/>
            </a:xfrm>
            <a:custGeom>
              <a:avLst/>
              <a:gdLst>
                <a:gd name="T0" fmla="*/ 0 w 334"/>
                <a:gd name="T1" fmla="*/ 0 h 103"/>
                <a:gd name="T2" fmla="*/ 0 w 334"/>
                <a:gd name="T3" fmla="*/ 103 h 103"/>
                <a:gd name="T4" fmla="*/ 311 w 334"/>
                <a:gd name="T5" fmla="*/ 103 h 103"/>
                <a:gd name="T6" fmla="*/ 334 w 334"/>
                <a:gd name="T7" fmla="*/ 103 h 103"/>
                <a:gd name="T8" fmla="*/ 334 w 334"/>
                <a:gd name="T9" fmla="*/ 0 h 103"/>
                <a:gd name="T10" fmla="*/ 0 w 334"/>
                <a:gd name="T11" fmla="*/ 0 h 103"/>
              </a:gdLst>
              <a:ahLst/>
              <a:cxnLst>
                <a:cxn ang="0">
                  <a:pos x="T0" y="T1"/>
                </a:cxn>
                <a:cxn ang="0">
                  <a:pos x="T2" y="T3"/>
                </a:cxn>
                <a:cxn ang="0">
                  <a:pos x="T4" y="T5"/>
                </a:cxn>
                <a:cxn ang="0">
                  <a:pos x="T6" y="T7"/>
                </a:cxn>
                <a:cxn ang="0">
                  <a:pos x="T8" y="T9"/>
                </a:cxn>
                <a:cxn ang="0">
                  <a:pos x="T10" y="T11"/>
                </a:cxn>
              </a:cxnLst>
              <a:rect l="0" t="0" r="r" b="b"/>
              <a:pathLst>
                <a:path w="334" h="103">
                  <a:moveTo>
                    <a:pt x="0" y="0"/>
                  </a:moveTo>
                  <a:lnTo>
                    <a:pt x="0" y="103"/>
                  </a:lnTo>
                  <a:lnTo>
                    <a:pt x="311" y="103"/>
                  </a:lnTo>
                  <a:lnTo>
                    <a:pt x="334" y="103"/>
                  </a:lnTo>
                  <a:lnTo>
                    <a:pt x="334" y="0"/>
                  </a:lnTo>
                  <a:lnTo>
                    <a:pt x="0" y="0"/>
                  </a:lnTo>
                  <a:close/>
                </a:path>
              </a:pathLst>
            </a:custGeom>
            <a:solidFill>
              <a:srgbClr val="54545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12" name="Freeform 15">
              <a:extLst>
                <a:ext uri="{FF2B5EF4-FFF2-40B4-BE49-F238E27FC236}">
                  <a16:creationId xmlns:a16="http://schemas.microsoft.com/office/drawing/2014/main" id="{D7B76DF7-28AB-4156-8B5A-46EE55041D56}"/>
                </a:ext>
              </a:extLst>
            </p:cNvPr>
            <p:cNvSpPr>
              <a:spLocks/>
            </p:cNvSpPr>
            <p:nvPr/>
          </p:nvSpPr>
          <p:spPr bwMode="auto">
            <a:xfrm>
              <a:off x="3446463" y="1651001"/>
              <a:ext cx="2133600" cy="1295400"/>
            </a:xfrm>
            <a:custGeom>
              <a:avLst/>
              <a:gdLst>
                <a:gd name="T0" fmla="*/ 195 w 1058"/>
                <a:gd name="T1" fmla="*/ 644 h 644"/>
                <a:gd name="T2" fmla="*/ 1058 w 1058"/>
                <a:gd name="T3" fmla="*/ 644 h 644"/>
                <a:gd name="T4" fmla="*/ 1058 w 1058"/>
                <a:gd name="T5" fmla="*/ 200 h 644"/>
                <a:gd name="T6" fmla="*/ 858 w 1058"/>
                <a:gd name="T7" fmla="*/ 0 h 644"/>
                <a:gd name="T8" fmla="*/ 0 w 1058"/>
                <a:gd name="T9" fmla="*/ 0 h 644"/>
                <a:gd name="T10" fmla="*/ 0 w 1058"/>
                <a:gd name="T11" fmla="*/ 449 h 644"/>
                <a:gd name="T12" fmla="*/ 195 w 1058"/>
                <a:gd name="T13" fmla="*/ 644 h 644"/>
              </a:gdLst>
              <a:ahLst/>
              <a:cxnLst>
                <a:cxn ang="0">
                  <a:pos x="T0" y="T1"/>
                </a:cxn>
                <a:cxn ang="0">
                  <a:pos x="T2" y="T3"/>
                </a:cxn>
                <a:cxn ang="0">
                  <a:pos x="T4" y="T5"/>
                </a:cxn>
                <a:cxn ang="0">
                  <a:pos x="T6" y="T7"/>
                </a:cxn>
                <a:cxn ang="0">
                  <a:pos x="T8" y="T9"/>
                </a:cxn>
                <a:cxn ang="0">
                  <a:pos x="T10" y="T11"/>
                </a:cxn>
                <a:cxn ang="0">
                  <a:pos x="T12" y="T13"/>
                </a:cxn>
              </a:cxnLst>
              <a:rect l="0" t="0" r="r" b="b"/>
              <a:pathLst>
                <a:path w="1058" h="644">
                  <a:moveTo>
                    <a:pt x="195" y="644"/>
                  </a:moveTo>
                  <a:cubicBezTo>
                    <a:pt x="1058" y="644"/>
                    <a:pt x="1058" y="644"/>
                    <a:pt x="1058" y="644"/>
                  </a:cubicBezTo>
                  <a:cubicBezTo>
                    <a:pt x="1058" y="200"/>
                    <a:pt x="1058" y="200"/>
                    <a:pt x="1058" y="200"/>
                  </a:cubicBezTo>
                  <a:cubicBezTo>
                    <a:pt x="1058" y="89"/>
                    <a:pt x="968" y="0"/>
                    <a:pt x="858" y="0"/>
                  </a:cubicBezTo>
                  <a:cubicBezTo>
                    <a:pt x="0" y="0"/>
                    <a:pt x="0" y="0"/>
                    <a:pt x="0" y="0"/>
                  </a:cubicBezTo>
                  <a:cubicBezTo>
                    <a:pt x="0" y="449"/>
                    <a:pt x="0" y="449"/>
                    <a:pt x="0" y="449"/>
                  </a:cubicBezTo>
                  <a:cubicBezTo>
                    <a:pt x="0" y="556"/>
                    <a:pt x="87" y="644"/>
                    <a:pt x="195" y="644"/>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13" name="Freeform 16">
              <a:extLst>
                <a:ext uri="{FF2B5EF4-FFF2-40B4-BE49-F238E27FC236}">
                  <a16:creationId xmlns:a16="http://schemas.microsoft.com/office/drawing/2014/main" id="{814C53DA-4D1D-4AB8-BE35-75AB563B30EA}"/>
                </a:ext>
              </a:extLst>
            </p:cNvPr>
            <p:cNvSpPr>
              <a:spLocks/>
            </p:cNvSpPr>
            <p:nvPr/>
          </p:nvSpPr>
          <p:spPr bwMode="auto">
            <a:xfrm>
              <a:off x="2632075" y="3163888"/>
              <a:ext cx="2947987" cy="1531938"/>
            </a:xfrm>
            <a:custGeom>
              <a:avLst/>
              <a:gdLst>
                <a:gd name="T0" fmla="*/ 1212 w 1462"/>
                <a:gd name="T1" fmla="*/ 0 h 761"/>
                <a:gd name="T2" fmla="*/ 0 w 1462"/>
                <a:gd name="T3" fmla="*/ 0 h 761"/>
                <a:gd name="T4" fmla="*/ 0 w 1462"/>
                <a:gd name="T5" fmla="*/ 505 h 761"/>
                <a:gd name="T6" fmla="*/ 255 w 1462"/>
                <a:gd name="T7" fmla="*/ 761 h 761"/>
                <a:gd name="T8" fmla="*/ 1462 w 1462"/>
                <a:gd name="T9" fmla="*/ 761 h 761"/>
                <a:gd name="T10" fmla="*/ 1462 w 1462"/>
                <a:gd name="T11" fmla="*/ 249 h 761"/>
                <a:gd name="T12" fmla="*/ 1212 w 1462"/>
                <a:gd name="T13" fmla="*/ 0 h 761"/>
              </a:gdLst>
              <a:ahLst/>
              <a:cxnLst>
                <a:cxn ang="0">
                  <a:pos x="T0" y="T1"/>
                </a:cxn>
                <a:cxn ang="0">
                  <a:pos x="T2" y="T3"/>
                </a:cxn>
                <a:cxn ang="0">
                  <a:pos x="T4" y="T5"/>
                </a:cxn>
                <a:cxn ang="0">
                  <a:pos x="T6" y="T7"/>
                </a:cxn>
                <a:cxn ang="0">
                  <a:pos x="T8" y="T9"/>
                </a:cxn>
                <a:cxn ang="0">
                  <a:pos x="T10" y="T11"/>
                </a:cxn>
                <a:cxn ang="0">
                  <a:pos x="T12" y="T13"/>
                </a:cxn>
              </a:cxnLst>
              <a:rect l="0" t="0" r="r" b="b"/>
              <a:pathLst>
                <a:path w="1462" h="761">
                  <a:moveTo>
                    <a:pt x="1212" y="0"/>
                  </a:moveTo>
                  <a:cubicBezTo>
                    <a:pt x="0" y="0"/>
                    <a:pt x="0" y="0"/>
                    <a:pt x="0" y="0"/>
                  </a:cubicBezTo>
                  <a:cubicBezTo>
                    <a:pt x="0" y="505"/>
                    <a:pt x="0" y="505"/>
                    <a:pt x="0" y="505"/>
                  </a:cubicBezTo>
                  <a:cubicBezTo>
                    <a:pt x="0" y="646"/>
                    <a:pt x="114" y="761"/>
                    <a:pt x="255" y="761"/>
                  </a:cubicBezTo>
                  <a:cubicBezTo>
                    <a:pt x="1462" y="761"/>
                    <a:pt x="1462" y="761"/>
                    <a:pt x="1462" y="761"/>
                  </a:cubicBezTo>
                  <a:cubicBezTo>
                    <a:pt x="1462" y="249"/>
                    <a:pt x="1462" y="249"/>
                    <a:pt x="1462" y="249"/>
                  </a:cubicBezTo>
                  <a:cubicBezTo>
                    <a:pt x="1462" y="112"/>
                    <a:pt x="1350" y="0"/>
                    <a:pt x="1212" y="0"/>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14" name="Freeform 17">
              <a:extLst>
                <a:ext uri="{FF2B5EF4-FFF2-40B4-BE49-F238E27FC236}">
                  <a16:creationId xmlns:a16="http://schemas.microsoft.com/office/drawing/2014/main" id="{41310A57-487C-4991-BD90-12CC17F4A9A8}"/>
                </a:ext>
              </a:extLst>
            </p:cNvPr>
            <p:cNvSpPr>
              <a:spLocks/>
            </p:cNvSpPr>
            <p:nvPr/>
          </p:nvSpPr>
          <p:spPr bwMode="auto">
            <a:xfrm>
              <a:off x="2978150" y="4799013"/>
              <a:ext cx="2601912" cy="1216025"/>
            </a:xfrm>
            <a:custGeom>
              <a:avLst/>
              <a:gdLst>
                <a:gd name="T0" fmla="*/ 1081 w 1290"/>
                <a:gd name="T1" fmla="*/ 604 h 604"/>
                <a:gd name="T2" fmla="*/ 0 w 1290"/>
                <a:gd name="T3" fmla="*/ 604 h 604"/>
                <a:gd name="T4" fmla="*/ 0 w 1290"/>
                <a:gd name="T5" fmla="*/ 214 h 604"/>
                <a:gd name="T6" fmla="*/ 213 w 1290"/>
                <a:gd name="T7" fmla="*/ 0 h 604"/>
                <a:gd name="T8" fmla="*/ 1290 w 1290"/>
                <a:gd name="T9" fmla="*/ 0 h 604"/>
                <a:gd name="T10" fmla="*/ 1290 w 1290"/>
                <a:gd name="T11" fmla="*/ 395 h 604"/>
                <a:gd name="T12" fmla="*/ 1081 w 1290"/>
                <a:gd name="T13" fmla="*/ 604 h 604"/>
              </a:gdLst>
              <a:ahLst/>
              <a:cxnLst>
                <a:cxn ang="0">
                  <a:pos x="T0" y="T1"/>
                </a:cxn>
                <a:cxn ang="0">
                  <a:pos x="T2" y="T3"/>
                </a:cxn>
                <a:cxn ang="0">
                  <a:pos x="T4" y="T5"/>
                </a:cxn>
                <a:cxn ang="0">
                  <a:pos x="T6" y="T7"/>
                </a:cxn>
                <a:cxn ang="0">
                  <a:pos x="T8" y="T9"/>
                </a:cxn>
                <a:cxn ang="0">
                  <a:pos x="T10" y="T11"/>
                </a:cxn>
                <a:cxn ang="0">
                  <a:pos x="T12" y="T13"/>
                </a:cxn>
              </a:cxnLst>
              <a:rect l="0" t="0" r="r" b="b"/>
              <a:pathLst>
                <a:path w="1290" h="604">
                  <a:moveTo>
                    <a:pt x="1081" y="604"/>
                  </a:moveTo>
                  <a:cubicBezTo>
                    <a:pt x="0" y="604"/>
                    <a:pt x="0" y="604"/>
                    <a:pt x="0" y="604"/>
                  </a:cubicBezTo>
                  <a:cubicBezTo>
                    <a:pt x="0" y="214"/>
                    <a:pt x="0" y="214"/>
                    <a:pt x="0" y="214"/>
                  </a:cubicBezTo>
                  <a:cubicBezTo>
                    <a:pt x="0" y="96"/>
                    <a:pt x="95" y="0"/>
                    <a:pt x="213" y="0"/>
                  </a:cubicBezTo>
                  <a:cubicBezTo>
                    <a:pt x="1290" y="0"/>
                    <a:pt x="1290" y="0"/>
                    <a:pt x="1290" y="0"/>
                  </a:cubicBezTo>
                  <a:cubicBezTo>
                    <a:pt x="1290" y="395"/>
                    <a:pt x="1290" y="395"/>
                    <a:pt x="1290" y="395"/>
                  </a:cubicBezTo>
                  <a:cubicBezTo>
                    <a:pt x="1290" y="510"/>
                    <a:pt x="1196" y="604"/>
                    <a:pt x="1081" y="604"/>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15" name="Freeform 18">
              <a:extLst>
                <a:ext uri="{FF2B5EF4-FFF2-40B4-BE49-F238E27FC236}">
                  <a16:creationId xmlns:a16="http://schemas.microsoft.com/office/drawing/2014/main" id="{ED5B6DAD-3617-4EC3-8ACB-8585783E1546}"/>
                </a:ext>
              </a:extLst>
            </p:cNvPr>
            <p:cNvSpPr>
              <a:spLocks/>
            </p:cNvSpPr>
            <p:nvPr/>
          </p:nvSpPr>
          <p:spPr bwMode="auto">
            <a:xfrm>
              <a:off x="6783388" y="2540001"/>
              <a:ext cx="2892425" cy="1508125"/>
            </a:xfrm>
            <a:custGeom>
              <a:avLst/>
              <a:gdLst>
                <a:gd name="T0" fmla="*/ 1190 w 1435"/>
                <a:gd name="T1" fmla="*/ 749 h 749"/>
                <a:gd name="T2" fmla="*/ 0 w 1435"/>
                <a:gd name="T3" fmla="*/ 749 h 749"/>
                <a:gd name="T4" fmla="*/ 0 w 1435"/>
                <a:gd name="T5" fmla="*/ 251 h 749"/>
                <a:gd name="T6" fmla="*/ 251 w 1435"/>
                <a:gd name="T7" fmla="*/ 0 h 749"/>
                <a:gd name="T8" fmla="*/ 1435 w 1435"/>
                <a:gd name="T9" fmla="*/ 0 h 749"/>
                <a:gd name="T10" fmla="*/ 1435 w 1435"/>
                <a:gd name="T11" fmla="*/ 503 h 749"/>
                <a:gd name="T12" fmla="*/ 1190 w 1435"/>
                <a:gd name="T13" fmla="*/ 749 h 749"/>
              </a:gdLst>
              <a:ahLst/>
              <a:cxnLst>
                <a:cxn ang="0">
                  <a:pos x="T0" y="T1"/>
                </a:cxn>
                <a:cxn ang="0">
                  <a:pos x="T2" y="T3"/>
                </a:cxn>
                <a:cxn ang="0">
                  <a:pos x="T4" y="T5"/>
                </a:cxn>
                <a:cxn ang="0">
                  <a:pos x="T6" y="T7"/>
                </a:cxn>
                <a:cxn ang="0">
                  <a:pos x="T8" y="T9"/>
                </a:cxn>
                <a:cxn ang="0">
                  <a:pos x="T10" y="T11"/>
                </a:cxn>
                <a:cxn ang="0">
                  <a:pos x="T12" y="T13"/>
                </a:cxn>
              </a:cxnLst>
              <a:rect l="0" t="0" r="r" b="b"/>
              <a:pathLst>
                <a:path w="1435" h="749">
                  <a:moveTo>
                    <a:pt x="1190" y="749"/>
                  </a:moveTo>
                  <a:cubicBezTo>
                    <a:pt x="0" y="749"/>
                    <a:pt x="0" y="749"/>
                    <a:pt x="0" y="749"/>
                  </a:cubicBezTo>
                  <a:cubicBezTo>
                    <a:pt x="0" y="251"/>
                    <a:pt x="0" y="251"/>
                    <a:pt x="0" y="251"/>
                  </a:cubicBezTo>
                  <a:cubicBezTo>
                    <a:pt x="0" y="113"/>
                    <a:pt x="112" y="0"/>
                    <a:pt x="251" y="0"/>
                  </a:cubicBezTo>
                  <a:cubicBezTo>
                    <a:pt x="1435" y="0"/>
                    <a:pt x="1435" y="0"/>
                    <a:pt x="1435" y="0"/>
                  </a:cubicBezTo>
                  <a:cubicBezTo>
                    <a:pt x="1435" y="503"/>
                    <a:pt x="1435" y="503"/>
                    <a:pt x="1435" y="503"/>
                  </a:cubicBezTo>
                  <a:cubicBezTo>
                    <a:pt x="1435" y="639"/>
                    <a:pt x="1325" y="749"/>
                    <a:pt x="1190" y="749"/>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16" name="Freeform 19">
              <a:extLst>
                <a:ext uri="{FF2B5EF4-FFF2-40B4-BE49-F238E27FC236}">
                  <a16:creationId xmlns:a16="http://schemas.microsoft.com/office/drawing/2014/main" id="{40DF6428-7BD6-442C-A49F-56A3D11D440C}"/>
                </a:ext>
              </a:extLst>
            </p:cNvPr>
            <p:cNvSpPr>
              <a:spLocks/>
            </p:cNvSpPr>
            <p:nvPr/>
          </p:nvSpPr>
          <p:spPr bwMode="auto">
            <a:xfrm>
              <a:off x="6783388" y="4318001"/>
              <a:ext cx="2306637" cy="1333500"/>
            </a:xfrm>
            <a:custGeom>
              <a:avLst/>
              <a:gdLst>
                <a:gd name="T0" fmla="*/ 938 w 1144"/>
                <a:gd name="T1" fmla="*/ 0 h 663"/>
                <a:gd name="T2" fmla="*/ 0 w 1144"/>
                <a:gd name="T3" fmla="*/ 0 h 663"/>
                <a:gd name="T4" fmla="*/ 0 w 1144"/>
                <a:gd name="T5" fmla="*/ 452 h 663"/>
                <a:gd name="T6" fmla="*/ 211 w 1144"/>
                <a:gd name="T7" fmla="*/ 663 h 663"/>
                <a:gd name="T8" fmla="*/ 1144 w 1144"/>
                <a:gd name="T9" fmla="*/ 663 h 663"/>
                <a:gd name="T10" fmla="*/ 1144 w 1144"/>
                <a:gd name="T11" fmla="*/ 206 h 663"/>
                <a:gd name="T12" fmla="*/ 938 w 1144"/>
                <a:gd name="T13" fmla="*/ 0 h 663"/>
              </a:gdLst>
              <a:ahLst/>
              <a:cxnLst>
                <a:cxn ang="0">
                  <a:pos x="T0" y="T1"/>
                </a:cxn>
                <a:cxn ang="0">
                  <a:pos x="T2" y="T3"/>
                </a:cxn>
                <a:cxn ang="0">
                  <a:pos x="T4" y="T5"/>
                </a:cxn>
                <a:cxn ang="0">
                  <a:pos x="T6" y="T7"/>
                </a:cxn>
                <a:cxn ang="0">
                  <a:pos x="T8" y="T9"/>
                </a:cxn>
                <a:cxn ang="0">
                  <a:pos x="T10" y="T11"/>
                </a:cxn>
                <a:cxn ang="0">
                  <a:pos x="T12" y="T13"/>
                </a:cxn>
              </a:cxnLst>
              <a:rect l="0" t="0" r="r" b="b"/>
              <a:pathLst>
                <a:path w="1144" h="663">
                  <a:moveTo>
                    <a:pt x="938" y="0"/>
                  </a:moveTo>
                  <a:cubicBezTo>
                    <a:pt x="0" y="0"/>
                    <a:pt x="0" y="0"/>
                    <a:pt x="0" y="0"/>
                  </a:cubicBezTo>
                  <a:cubicBezTo>
                    <a:pt x="0" y="452"/>
                    <a:pt x="0" y="452"/>
                    <a:pt x="0" y="452"/>
                  </a:cubicBezTo>
                  <a:cubicBezTo>
                    <a:pt x="0" y="569"/>
                    <a:pt x="94" y="663"/>
                    <a:pt x="211" y="663"/>
                  </a:cubicBezTo>
                  <a:cubicBezTo>
                    <a:pt x="1144" y="663"/>
                    <a:pt x="1144" y="663"/>
                    <a:pt x="1144" y="663"/>
                  </a:cubicBezTo>
                  <a:cubicBezTo>
                    <a:pt x="1144" y="206"/>
                    <a:pt x="1144" y="206"/>
                    <a:pt x="1144" y="206"/>
                  </a:cubicBezTo>
                  <a:cubicBezTo>
                    <a:pt x="1144" y="92"/>
                    <a:pt x="1052" y="0"/>
                    <a:pt x="938" y="0"/>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grpSp>
      <p:sp>
        <p:nvSpPr>
          <p:cNvPr id="17" name="TextBox 19">
            <a:extLst>
              <a:ext uri="{FF2B5EF4-FFF2-40B4-BE49-F238E27FC236}">
                <a16:creationId xmlns:a16="http://schemas.microsoft.com/office/drawing/2014/main" id="{A8195636-C448-4F85-89C6-2BD4C8385685}"/>
              </a:ext>
            </a:extLst>
          </p:cNvPr>
          <p:cNvSpPr txBox="1"/>
          <p:nvPr/>
        </p:nvSpPr>
        <p:spPr>
          <a:xfrm>
            <a:off x="1417928" y="1180500"/>
            <a:ext cx="3776203" cy="107721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000000">
                    <a:lumMod val="85000"/>
                    <a:lumOff val="15000"/>
                  </a:srgbClr>
                </a:solidFill>
                <a:effectLst/>
                <a:uLnTx/>
                <a:uFillTx/>
                <a:latin typeface="等线 Light" panose="020F0302020204030204"/>
                <a:ea typeface="+mn-ea"/>
                <a:cs typeface="+mn-cs"/>
              </a:rPr>
              <a:t>INFOGRAPHIC</a:t>
            </a:r>
            <a:endParaRPr kumimoji="0" lang="en-US" sz="3200" b="1" i="0" u="none" strike="noStrike" kern="1200" cap="none" spc="0" normalizeH="0" baseline="0" noProof="0" dirty="0">
              <a:ln>
                <a:noFill/>
              </a:ln>
              <a:solidFill>
                <a:srgbClr val="000000">
                  <a:lumMod val="85000"/>
                  <a:lumOff val="15000"/>
                </a:srgbClr>
              </a:solidFill>
              <a:effectLst/>
              <a:uLnTx/>
              <a:uFillTx/>
              <a:latin typeface="等线"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000000">
                    <a:lumMod val="85000"/>
                    <a:lumOff val="15000"/>
                  </a:srgbClr>
                </a:solidFill>
                <a:effectLst/>
                <a:uLnTx/>
                <a:uFillTx/>
                <a:latin typeface="等线 Light" panose="020F0302020204030204"/>
                <a:ea typeface="+mn-ea"/>
                <a:cs typeface="+mn-cs"/>
              </a:rPr>
              <a:t>THREE</a:t>
            </a:r>
          </a:p>
        </p:txBody>
      </p:sp>
      <p:sp>
        <p:nvSpPr>
          <p:cNvPr id="18" name="Rectangle 20">
            <a:extLst>
              <a:ext uri="{FF2B5EF4-FFF2-40B4-BE49-F238E27FC236}">
                <a16:creationId xmlns:a16="http://schemas.microsoft.com/office/drawing/2014/main" id="{17516FF6-6DF1-4D10-BE82-082AF4A338F4}"/>
              </a:ext>
            </a:extLst>
          </p:cNvPr>
          <p:cNvSpPr/>
          <p:nvPr/>
        </p:nvSpPr>
        <p:spPr>
          <a:xfrm>
            <a:off x="1428448" y="2828071"/>
            <a:ext cx="2930080" cy="1080937"/>
          </a:xfrm>
          <a:prstGeom prst="rect">
            <a:avLst/>
          </a:prstGeom>
        </p:spPr>
        <p:txBody>
          <a:bodyPr wrap="square">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lumMod val="50000"/>
                    <a:lumOff val="50000"/>
                  </a:srgbClr>
                </a:solidFill>
                <a:effectLst/>
                <a:uLnTx/>
                <a:uFillTx/>
                <a:latin typeface="等线" panose="020F0502020204030204"/>
                <a:ea typeface="+mn-ea"/>
                <a:cs typeface="+mn-cs"/>
              </a:rPr>
              <a:t>Lorem Ipsum is simply dummy text of the printing and typesetting industry. Lorem Ipsum has been the industry's standard dummy text ever since the 1500s</a:t>
            </a:r>
          </a:p>
        </p:txBody>
      </p:sp>
      <p:sp>
        <p:nvSpPr>
          <p:cNvPr id="19" name="Rectangle 21">
            <a:extLst>
              <a:ext uri="{FF2B5EF4-FFF2-40B4-BE49-F238E27FC236}">
                <a16:creationId xmlns:a16="http://schemas.microsoft.com/office/drawing/2014/main" id="{9066C71E-0457-4D99-8DFB-DA237F2A763F}"/>
              </a:ext>
            </a:extLst>
          </p:cNvPr>
          <p:cNvSpPr/>
          <p:nvPr/>
        </p:nvSpPr>
        <p:spPr>
          <a:xfrm>
            <a:off x="1428448" y="5190820"/>
            <a:ext cx="2930080" cy="1080937"/>
          </a:xfrm>
          <a:prstGeom prst="rect">
            <a:avLst/>
          </a:prstGeom>
        </p:spPr>
        <p:txBody>
          <a:bodyPr wrap="square">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lumMod val="50000"/>
                    <a:lumOff val="50000"/>
                  </a:srgbClr>
                </a:solidFill>
                <a:effectLst/>
                <a:uLnTx/>
                <a:uFillTx/>
                <a:latin typeface="等线" panose="020F0502020204030204"/>
                <a:ea typeface="+mn-ea"/>
                <a:cs typeface="+mn-cs"/>
              </a:rPr>
              <a:t>Lorem Ipsum is simply dummy text of the printing and typesetting industry. Lorem Ipsum has been the industry's standard dummy text ever since the 1500s</a:t>
            </a:r>
          </a:p>
        </p:txBody>
      </p:sp>
      <p:sp>
        <p:nvSpPr>
          <p:cNvPr id="20" name="TextBox 22">
            <a:extLst>
              <a:ext uri="{FF2B5EF4-FFF2-40B4-BE49-F238E27FC236}">
                <a16:creationId xmlns:a16="http://schemas.microsoft.com/office/drawing/2014/main" id="{110D2D6C-9253-4A83-BA6B-44FE5674B201}"/>
              </a:ext>
            </a:extLst>
          </p:cNvPr>
          <p:cNvSpPr txBox="1"/>
          <p:nvPr/>
        </p:nvSpPr>
        <p:spPr>
          <a:xfrm>
            <a:off x="1432680" y="4628570"/>
            <a:ext cx="2943699"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8F38FF"/>
                </a:solidFill>
                <a:effectLst/>
                <a:uLnTx/>
                <a:uFillTx/>
                <a:latin typeface="等线" panose="020F0502020204030204"/>
                <a:ea typeface="+mn-ea"/>
                <a:cs typeface="+mn-cs"/>
              </a:rPr>
              <a:t>78% </a:t>
            </a:r>
            <a:r>
              <a:rPr kumimoji="0" lang="en-US" sz="1400" b="1" i="0" u="none" strike="noStrike" kern="1200" cap="none" spc="0" normalizeH="0" baseline="0" noProof="0" dirty="0">
                <a:ln>
                  <a:noFill/>
                </a:ln>
                <a:solidFill>
                  <a:srgbClr val="000000">
                    <a:lumMod val="85000"/>
                    <a:lumOff val="15000"/>
                  </a:srgbClr>
                </a:solidFill>
                <a:effectLst/>
                <a:uLnTx/>
                <a:uFillTx/>
                <a:latin typeface="等线 Light" panose="020F0302020204030204"/>
                <a:ea typeface="+mn-ea"/>
                <a:cs typeface="+mn-cs"/>
              </a:rPr>
              <a:t>Subtitle Here</a:t>
            </a:r>
          </a:p>
        </p:txBody>
      </p:sp>
      <p:sp>
        <p:nvSpPr>
          <p:cNvPr id="21" name="Rectangle 23">
            <a:extLst>
              <a:ext uri="{FF2B5EF4-FFF2-40B4-BE49-F238E27FC236}">
                <a16:creationId xmlns:a16="http://schemas.microsoft.com/office/drawing/2014/main" id="{12BDBAC6-4EC6-457A-A4CA-8CEC9D593D42}"/>
              </a:ext>
            </a:extLst>
          </p:cNvPr>
          <p:cNvSpPr/>
          <p:nvPr/>
        </p:nvSpPr>
        <p:spPr>
          <a:xfrm>
            <a:off x="5992903" y="2339821"/>
            <a:ext cx="1501716" cy="559833"/>
          </a:xfrm>
          <a:prstGeom prst="rect">
            <a:avLst/>
          </a:prstGeom>
        </p:spPr>
        <p:txBody>
          <a:bodyPr wrap="square">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FFFFFF"/>
                </a:solidFill>
                <a:effectLst/>
                <a:uLnTx/>
                <a:uFillTx/>
                <a:latin typeface="等线" panose="020F0502020204030204"/>
                <a:ea typeface="+mn-ea"/>
                <a:cs typeface="+mn-cs"/>
              </a:rPr>
              <a:t>Lorem Ipsum is simply dummy text of the printing and typesetting industry.</a:t>
            </a:r>
          </a:p>
        </p:txBody>
      </p:sp>
      <p:sp>
        <p:nvSpPr>
          <p:cNvPr id="22" name="TextBox 24">
            <a:extLst>
              <a:ext uri="{FF2B5EF4-FFF2-40B4-BE49-F238E27FC236}">
                <a16:creationId xmlns:a16="http://schemas.microsoft.com/office/drawing/2014/main" id="{0F6CC4E2-77E7-4480-8DC6-12E5B5885D82}"/>
              </a:ext>
            </a:extLst>
          </p:cNvPr>
          <p:cNvSpPr txBox="1"/>
          <p:nvPr/>
        </p:nvSpPr>
        <p:spPr>
          <a:xfrm>
            <a:off x="5992901" y="2157107"/>
            <a:ext cx="1200307"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FFFFFF"/>
                </a:solidFill>
                <a:effectLst/>
                <a:uLnTx/>
                <a:uFillTx/>
                <a:latin typeface="等线" panose="020F0502020204030204"/>
                <a:ea typeface="+mn-ea"/>
                <a:cs typeface="+mn-cs"/>
              </a:rPr>
              <a:t>Subtitle Here</a:t>
            </a:r>
          </a:p>
        </p:txBody>
      </p:sp>
      <p:sp>
        <p:nvSpPr>
          <p:cNvPr id="23" name="Rectangle 25">
            <a:extLst>
              <a:ext uri="{FF2B5EF4-FFF2-40B4-BE49-F238E27FC236}">
                <a16:creationId xmlns:a16="http://schemas.microsoft.com/office/drawing/2014/main" id="{F5C61DF2-AF8D-4689-ADBC-F731C98211FB}"/>
              </a:ext>
            </a:extLst>
          </p:cNvPr>
          <p:cNvSpPr/>
          <p:nvPr/>
        </p:nvSpPr>
        <p:spPr>
          <a:xfrm>
            <a:off x="5546867" y="3837060"/>
            <a:ext cx="1844008" cy="693395"/>
          </a:xfrm>
          <a:prstGeom prst="rect">
            <a:avLst/>
          </a:prstGeom>
        </p:spPr>
        <p:txBody>
          <a:bodyPr wrap="square">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FFFFFF"/>
                </a:solidFill>
                <a:effectLst/>
                <a:uLnTx/>
                <a:uFillTx/>
                <a:latin typeface="等线" panose="020F0502020204030204"/>
                <a:ea typeface="+mn-ea"/>
                <a:cs typeface="+mn-cs"/>
              </a:rPr>
              <a:t>Lorem Ipsum is simply dummy text of the printing and typesetting industry.</a:t>
            </a:r>
          </a:p>
        </p:txBody>
      </p:sp>
      <p:sp>
        <p:nvSpPr>
          <p:cNvPr id="24" name="TextBox 26">
            <a:extLst>
              <a:ext uri="{FF2B5EF4-FFF2-40B4-BE49-F238E27FC236}">
                <a16:creationId xmlns:a16="http://schemas.microsoft.com/office/drawing/2014/main" id="{D2A2468B-F8C4-4E54-9AA1-2A03ED74EFBB}"/>
              </a:ext>
            </a:extLst>
          </p:cNvPr>
          <p:cNvSpPr txBox="1"/>
          <p:nvPr/>
        </p:nvSpPr>
        <p:spPr>
          <a:xfrm>
            <a:off x="5546867" y="3524963"/>
            <a:ext cx="1653528"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等线" panose="020F0502020204030204"/>
                <a:ea typeface="+mn-ea"/>
                <a:cs typeface="+mn-cs"/>
              </a:rPr>
              <a:t>Subtitle Here</a:t>
            </a:r>
          </a:p>
        </p:txBody>
      </p:sp>
      <p:sp>
        <p:nvSpPr>
          <p:cNvPr id="25" name="Rectangle 29">
            <a:extLst>
              <a:ext uri="{FF2B5EF4-FFF2-40B4-BE49-F238E27FC236}">
                <a16:creationId xmlns:a16="http://schemas.microsoft.com/office/drawing/2014/main" id="{8EA167A5-D84A-4EC1-B208-D4E63EBFDCDF}"/>
              </a:ext>
            </a:extLst>
          </p:cNvPr>
          <p:cNvSpPr/>
          <p:nvPr/>
        </p:nvSpPr>
        <p:spPr>
          <a:xfrm>
            <a:off x="9134457" y="4805858"/>
            <a:ext cx="1844008" cy="693395"/>
          </a:xfrm>
          <a:prstGeom prst="rect">
            <a:avLst/>
          </a:prstGeom>
        </p:spPr>
        <p:txBody>
          <a:bodyPr wrap="square">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FFFFFF"/>
                </a:solidFill>
                <a:effectLst/>
                <a:uLnTx/>
                <a:uFillTx/>
                <a:latin typeface="等线" panose="020F0502020204030204"/>
                <a:ea typeface="+mn-ea"/>
                <a:cs typeface="+mn-cs"/>
              </a:rPr>
              <a:t>Lorem Ipsum is simply dummy text of the printing and typesetting industry.</a:t>
            </a:r>
          </a:p>
        </p:txBody>
      </p:sp>
      <p:sp>
        <p:nvSpPr>
          <p:cNvPr id="26" name="TextBox 30">
            <a:extLst>
              <a:ext uri="{FF2B5EF4-FFF2-40B4-BE49-F238E27FC236}">
                <a16:creationId xmlns:a16="http://schemas.microsoft.com/office/drawing/2014/main" id="{130074D8-F79B-4B89-8D43-E56B47E13B9B}"/>
              </a:ext>
            </a:extLst>
          </p:cNvPr>
          <p:cNvSpPr txBox="1"/>
          <p:nvPr/>
        </p:nvSpPr>
        <p:spPr>
          <a:xfrm>
            <a:off x="9134457" y="4570596"/>
            <a:ext cx="2037131"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等线" panose="020F0502020204030204"/>
                <a:ea typeface="+mn-ea"/>
                <a:cs typeface="+mn-cs"/>
              </a:rPr>
              <a:t>Subtitle Here</a:t>
            </a:r>
          </a:p>
        </p:txBody>
      </p:sp>
      <p:sp>
        <p:nvSpPr>
          <p:cNvPr id="27" name="Rectangle 31">
            <a:extLst>
              <a:ext uri="{FF2B5EF4-FFF2-40B4-BE49-F238E27FC236}">
                <a16:creationId xmlns:a16="http://schemas.microsoft.com/office/drawing/2014/main" id="{4DC79E09-3790-4E3C-9529-DF0D6B92CD5C}"/>
              </a:ext>
            </a:extLst>
          </p:cNvPr>
          <p:cNvSpPr/>
          <p:nvPr/>
        </p:nvSpPr>
        <p:spPr>
          <a:xfrm>
            <a:off x="9342071" y="3347582"/>
            <a:ext cx="1844008" cy="693395"/>
          </a:xfrm>
          <a:prstGeom prst="rect">
            <a:avLst/>
          </a:prstGeom>
        </p:spPr>
        <p:txBody>
          <a:bodyPr wrap="square">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FFFFFF"/>
                </a:solidFill>
                <a:effectLst/>
                <a:uLnTx/>
                <a:uFillTx/>
                <a:latin typeface="等线" panose="020F0502020204030204"/>
                <a:ea typeface="+mn-ea"/>
                <a:cs typeface="+mn-cs"/>
              </a:rPr>
              <a:t>Lorem Ipsum is simply dummy text of the printing and typesetting industry.</a:t>
            </a:r>
          </a:p>
        </p:txBody>
      </p:sp>
      <p:sp>
        <p:nvSpPr>
          <p:cNvPr id="28" name="TextBox 32">
            <a:extLst>
              <a:ext uri="{FF2B5EF4-FFF2-40B4-BE49-F238E27FC236}">
                <a16:creationId xmlns:a16="http://schemas.microsoft.com/office/drawing/2014/main" id="{451CA63D-EE11-440F-9F05-301AFE49FC27}"/>
              </a:ext>
            </a:extLst>
          </p:cNvPr>
          <p:cNvSpPr txBox="1"/>
          <p:nvPr/>
        </p:nvSpPr>
        <p:spPr>
          <a:xfrm>
            <a:off x="9342069" y="3035486"/>
            <a:ext cx="2037131"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等线" panose="020F0502020204030204"/>
                <a:ea typeface="+mn-ea"/>
                <a:cs typeface="+mn-cs"/>
              </a:rPr>
              <a:t>Subtitle Here</a:t>
            </a:r>
          </a:p>
        </p:txBody>
      </p:sp>
      <p:sp>
        <p:nvSpPr>
          <p:cNvPr id="29" name="Rectangle 33">
            <a:extLst>
              <a:ext uri="{FF2B5EF4-FFF2-40B4-BE49-F238E27FC236}">
                <a16:creationId xmlns:a16="http://schemas.microsoft.com/office/drawing/2014/main" id="{438E3F85-D1C4-4EC6-9101-81349DC2B046}"/>
              </a:ext>
            </a:extLst>
          </p:cNvPr>
          <p:cNvSpPr/>
          <p:nvPr/>
        </p:nvSpPr>
        <p:spPr>
          <a:xfrm>
            <a:off x="5546867" y="5276495"/>
            <a:ext cx="1844008" cy="693395"/>
          </a:xfrm>
          <a:prstGeom prst="rect">
            <a:avLst/>
          </a:prstGeom>
        </p:spPr>
        <p:txBody>
          <a:bodyPr wrap="square">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FFFFFF"/>
                </a:solidFill>
                <a:effectLst/>
                <a:uLnTx/>
                <a:uFillTx/>
                <a:latin typeface="等线" panose="020F0502020204030204"/>
                <a:ea typeface="+mn-ea"/>
                <a:cs typeface="+mn-cs"/>
              </a:rPr>
              <a:t>Lorem Ipsum is simply dummy text of the printing and typesetting industry.</a:t>
            </a:r>
          </a:p>
        </p:txBody>
      </p:sp>
      <p:sp>
        <p:nvSpPr>
          <p:cNvPr id="30" name="TextBox 34">
            <a:extLst>
              <a:ext uri="{FF2B5EF4-FFF2-40B4-BE49-F238E27FC236}">
                <a16:creationId xmlns:a16="http://schemas.microsoft.com/office/drawing/2014/main" id="{8AA17871-7B3D-4AB3-BDC2-2BD44FE01337}"/>
              </a:ext>
            </a:extLst>
          </p:cNvPr>
          <p:cNvSpPr txBox="1"/>
          <p:nvPr/>
        </p:nvSpPr>
        <p:spPr>
          <a:xfrm>
            <a:off x="5546867" y="4964401"/>
            <a:ext cx="1844008"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等线" panose="020F0502020204030204"/>
                <a:ea typeface="+mn-ea"/>
                <a:cs typeface="+mn-cs"/>
              </a:rPr>
              <a:t>Subtitle Here</a:t>
            </a:r>
          </a:p>
        </p:txBody>
      </p:sp>
    </p:spTree>
    <p:extLst>
      <p:ext uri="{BB962C8B-B14F-4D97-AF65-F5344CB8AC3E}">
        <p14:creationId xmlns:p14="http://schemas.microsoft.com/office/powerpoint/2010/main" val="1419425398"/>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wipe(left)">
                                      <p:cBhvr>
                                        <p:cTn id="7" dur="500"/>
                                        <p:tgtEl>
                                          <p:spTgt spid="17"/>
                                        </p:tgtEl>
                                      </p:cBhvr>
                                    </p:animEffect>
                                  </p:childTnLst>
                                </p:cTn>
                              </p:par>
                            </p:childTnLst>
                          </p:cTn>
                        </p:par>
                        <p:par>
                          <p:cTn id="8" fill="hold">
                            <p:stCondLst>
                              <p:cond delay="500"/>
                            </p:stCondLst>
                            <p:childTnLst>
                              <p:par>
                                <p:cTn id="9" presetID="42" presetClass="entr" presetSubtype="0" fill="hold" grpId="0" nodeType="afterEffect">
                                  <p:stCondLst>
                                    <p:cond delay="0"/>
                                  </p:stCondLst>
                                  <p:childTnLst>
                                    <p:set>
                                      <p:cBhvr>
                                        <p:cTn id="10" dur="1" fill="hold">
                                          <p:stCondLst>
                                            <p:cond delay="0"/>
                                          </p:stCondLst>
                                        </p:cTn>
                                        <p:tgtEl>
                                          <p:spTgt spid="18"/>
                                        </p:tgtEl>
                                        <p:attrNameLst>
                                          <p:attrName>style.visibility</p:attrName>
                                        </p:attrNameLst>
                                      </p:cBhvr>
                                      <p:to>
                                        <p:strVal val="visible"/>
                                      </p:to>
                                    </p:set>
                                    <p:animEffect transition="in" filter="fade">
                                      <p:cBhvr>
                                        <p:cTn id="11" dur="500"/>
                                        <p:tgtEl>
                                          <p:spTgt spid="18"/>
                                        </p:tgtEl>
                                      </p:cBhvr>
                                    </p:animEffect>
                                    <p:anim calcmode="lin" valueType="num">
                                      <p:cBhvr>
                                        <p:cTn id="12" dur="500" fill="hold"/>
                                        <p:tgtEl>
                                          <p:spTgt spid="18"/>
                                        </p:tgtEl>
                                        <p:attrNameLst>
                                          <p:attrName>ppt_x</p:attrName>
                                        </p:attrNameLst>
                                      </p:cBhvr>
                                      <p:tavLst>
                                        <p:tav tm="0">
                                          <p:val>
                                            <p:strVal val="#ppt_x"/>
                                          </p:val>
                                        </p:tav>
                                        <p:tav tm="100000">
                                          <p:val>
                                            <p:strVal val="#ppt_x"/>
                                          </p:val>
                                        </p:tav>
                                      </p:tavLst>
                                    </p:anim>
                                    <p:anim calcmode="lin" valueType="num">
                                      <p:cBhvr>
                                        <p:cTn id="13" dur="500" fill="hold"/>
                                        <p:tgtEl>
                                          <p:spTgt spid="18"/>
                                        </p:tgtEl>
                                        <p:attrNameLst>
                                          <p:attrName>ppt_y</p:attrName>
                                        </p:attrNameLst>
                                      </p:cBhvr>
                                      <p:tavLst>
                                        <p:tav tm="0">
                                          <p:val>
                                            <p:strVal val="#ppt_y+.1"/>
                                          </p:val>
                                        </p:tav>
                                        <p:tav tm="100000">
                                          <p:val>
                                            <p:strVal val="#ppt_y"/>
                                          </p:val>
                                        </p:tav>
                                      </p:tavLst>
                                    </p:anim>
                                  </p:childTnLst>
                                </p:cTn>
                              </p:par>
                            </p:childTnLst>
                          </p:cTn>
                        </p:par>
                        <p:par>
                          <p:cTn id="14" fill="hold">
                            <p:stCondLst>
                              <p:cond delay="1000"/>
                            </p:stCondLst>
                            <p:childTnLst>
                              <p:par>
                                <p:cTn id="15" presetID="22" presetClass="entr" presetSubtype="8" fill="hold" grpId="0" nodeType="afterEffect">
                                  <p:stCondLst>
                                    <p:cond delay="0"/>
                                  </p:stCondLst>
                                  <p:childTnLst>
                                    <p:set>
                                      <p:cBhvr>
                                        <p:cTn id="16" dur="1" fill="hold">
                                          <p:stCondLst>
                                            <p:cond delay="0"/>
                                          </p:stCondLst>
                                        </p:cTn>
                                        <p:tgtEl>
                                          <p:spTgt spid="20"/>
                                        </p:tgtEl>
                                        <p:attrNameLst>
                                          <p:attrName>style.visibility</p:attrName>
                                        </p:attrNameLst>
                                      </p:cBhvr>
                                      <p:to>
                                        <p:strVal val="visible"/>
                                      </p:to>
                                    </p:set>
                                    <p:animEffect transition="in" filter="wipe(left)">
                                      <p:cBhvr>
                                        <p:cTn id="17" dur="500"/>
                                        <p:tgtEl>
                                          <p:spTgt spid="20"/>
                                        </p:tgtEl>
                                      </p:cBhvr>
                                    </p:animEffect>
                                  </p:childTnLst>
                                </p:cTn>
                              </p:par>
                            </p:childTnLst>
                          </p:cTn>
                        </p:par>
                        <p:par>
                          <p:cTn id="18" fill="hold">
                            <p:stCondLst>
                              <p:cond delay="1500"/>
                            </p:stCondLst>
                            <p:childTnLst>
                              <p:par>
                                <p:cTn id="19" presetID="42" presetClass="entr" presetSubtype="0" fill="hold" grpId="0" nodeType="afterEffect">
                                  <p:stCondLst>
                                    <p:cond delay="0"/>
                                  </p:stCondLst>
                                  <p:childTnLst>
                                    <p:set>
                                      <p:cBhvr>
                                        <p:cTn id="20" dur="1" fill="hold">
                                          <p:stCondLst>
                                            <p:cond delay="0"/>
                                          </p:stCondLst>
                                        </p:cTn>
                                        <p:tgtEl>
                                          <p:spTgt spid="19"/>
                                        </p:tgtEl>
                                        <p:attrNameLst>
                                          <p:attrName>style.visibility</p:attrName>
                                        </p:attrNameLst>
                                      </p:cBhvr>
                                      <p:to>
                                        <p:strVal val="visible"/>
                                      </p:to>
                                    </p:set>
                                    <p:animEffect transition="in" filter="fade">
                                      <p:cBhvr>
                                        <p:cTn id="21" dur="500"/>
                                        <p:tgtEl>
                                          <p:spTgt spid="19"/>
                                        </p:tgtEl>
                                      </p:cBhvr>
                                    </p:animEffect>
                                    <p:anim calcmode="lin" valueType="num">
                                      <p:cBhvr>
                                        <p:cTn id="22" dur="500" fill="hold"/>
                                        <p:tgtEl>
                                          <p:spTgt spid="19"/>
                                        </p:tgtEl>
                                        <p:attrNameLst>
                                          <p:attrName>ppt_x</p:attrName>
                                        </p:attrNameLst>
                                      </p:cBhvr>
                                      <p:tavLst>
                                        <p:tav tm="0">
                                          <p:val>
                                            <p:strVal val="#ppt_x"/>
                                          </p:val>
                                        </p:tav>
                                        <p:tav tm="100000">
                                          <p:val>
                                            <p:strVal val="#ppt_x"/>
                                          </p:val>
                                        </p:tav>
                                      </p:tavLst>
                                    </p:anim>
                                    <p:anim calcmode="lin" valueType="num">
                                      <p:cBhvr>
                                        <p:cTn id="23" dur="500" fill="hold"/>
                                        <p:tgtEl>
                                          <p:spTgt spid="19"/>
                                        </p:tgtEl>
                                        <p:attrNameLst>
                                          <p:attrName>ppt_y</p:attrName>
                                        </p:attrNameLst>
                                      </p:cBhvr>
                                      <p:tavLst>
                                        <p:tav tm="0">
                                          <p:val>
                                            <p:strVal val="#ppt_y+.1"/>
                                          </p:val>
                                        </p:tav>
                                        <p:tav tm="100000">
                                          <p:val>
                                            <p:strVal val="#ppt_y"/>
                                          </p:val>
                                        </p:tav>
                                      </p:tavLst>
                                    </p:anim>
                                  </p:childTnLst>
                                </p:cTn>
                              </p:par>
                            </p:childTnLst>
                          </p:cTn>
                        </p:par>
                        <p:par>
                          <p:cTn id="24" fill="hold">
                            <p:stCondLst>
                              <p:cond delay="2000"/>
                            </p:stCondLst>
                            <p:childTnLst>
                              <p:par>
                                <p:cTn id="25" presetID="22" presetClass="entr" presetSubtype="4" fill="hold" nodeType="afterEffect">
                                  <p:stCondLst>
                                    <p:cond delay="0"/>
                                  </p:stCondLst>
                                  <p:childTnLst>
                                    <p:set>
                                      <p:cBhvr>
                                        <p:cTn id="26" dur="1" fill="hold">
                                          <p:stCondLst>
                                            <p:cond delay="0"/>
                                          </p:stCondLst>
                                        </p:cTn>
                                        <p:tgtEl>
                                          <p:spTgt spid="2"/>
                                        </p:tgtEl>
                                        <p:attrNameLst>
                                          <p:attrName>style.visibility</p:attrName>
                                        </p:attrNameLst>
                                      </p:cBhvr>
                                      <p:to>
                                        <p:strVal val="visible"/>
                                      </p:to>
                                    </p:set>
                                    <p:animEffect transition="in" filter="wipe(down)">
                                      <p:cBhvr>
                                        <p:cTn id="27" dur="500"/>
                                        <p:tgtEl>
                                          <p:spTgt spid="2"/>
                                        </p:tgtEl>
                                      </p:cBhvr>
                                    </p:animEffect>
                                  </p:childTnLst>
                                </p:cTn>
                              </p:par>
                            </p:childTnLst>
                          </p:cTn>
                        </p:par>
                        <p:par>
                          <p:cTn id="28" fill="hold">
                            <p:stCondLst>
                              <p:cond delay="2500"/>
                            </p:stCondLst>
                            <p:childTnLst>
                              <p:par>
                                <p:cTn id="29" presetID="22" presetClass="entr" presetSubtype="8" fill="hold" grpId="0" nodeType="afterEffect">
                                  <p:stCondLst>
                                    <p:cond delay="0"/>
                                  </p:stCondLst>
                                  <p:childTnLst>
                                    <p:set>
                                      <p:cBhvr>
                                        <p:cTn id="30" dur="1" fill="hold">
                                          <p:stCondLst>
                                            <p:cond delay="0"/>
                                          </p:stCondLst>
                                        </p:cTn>
                                        <p:tgtEl>
                                          <p:spTgt spid="22"/>
                                        </p:tgtEl>
                                        <p:attrNameLst>
                                          <p:attrName>style.visibility</p:attrName>
                                        </p:attrNameLst>
                                      </p:cBhvr>
                                      <p:to>
                                        <p:strVal val="visible"/>
                                      </p:to>
                                    </p:set>
                                    <p:animEffect transition="in" filter="wipe(left)">
                                      <p:cBhvr>
                                        <p:cTn id="31" dur="500"/>
                                        <p:tgtEl>
                                          <p:spTgt spid="22"/>
                                        </p:tgtEl>
                                      </p:cBhvr>
                                    </p:animEffect>
                                  </p:childTnLst>
                                </p:cTn>
                              </p:par>
                            </p:childTnLst>
                          </p:cTn>
                        </p:par>
                        <p:par>
                          <p:cTn id="32" fill="hold">
                            <p:stCondLst>
                              <p:cond delay="3000"/>
                            </p:stCondLst>
                            <p:childTnLst>
                              <p:par>
                                <p:cTn id="33" presetID="42" presetClass="entr" presetSubtype="0" fill="hold" grpId="0" nodeType="afterEffect">
                                  <p:stCondLst>
                                    <p:cond delay="0"/>
                                  </p:stCondLst>
                                  <p:childTnLst>
                                    <p:set>
                                      <p:cBhvr>
                                        <p:cTn id="34" dur="1" fill="hold">
                                          <p:stCondLst>
                                            <p:cond delay="0"/>
                                          </p:stCondLst>
                                        </p:cTn>
                                        <p:tgtEl>
                                          <p:spTgt spid="21"/>
                                        </p:tgtEl>
                                        <p:attrNameLst>
                                          <p:attrName>style.visibility</p:attrName>
                                        </p:attrNameLst>
                                      </p:cBhvr>
                                      <p:to>
                                        <p:strVal val="visible"/>
                                      </p:to>
                                    </p:set>
                                    <p:animEffect transition="in" filter="fade">
                                      <p:cBhvr>
                                        <p:cTn id="35" dur="500"/>
                                        <p:tgtEl>
                                          <p:spTgt spid="21"/>
                                        </p:tgtEl>
                                      </p:cBhvr>
                                    </p:animEffect>
                                    <p:anim calcmode="lin" valueType="num">
                                      <p:cBhvr>
                                        <p:cTn id="36" dur="500" fill="hold"/>
                                        <p:tgtEl>
                                          <p:spTgt spid="21"/>
                                        </p:tgtEl>
                                        <p:attrNameLst>
                                          <p:attrName>ppt_x</p:attrName>
                                        </p:attrNameLst>
                                      </p:cBhvr>
                                      <p:tavLst>
                                        <p:tav tm="0">
                                          <p:val>
                                            <p:strVal val="#ppt_x"/>
                                          </p:val>
                                        </p:tav>
                                        <p:tav tm="100000">
                                          <p:val>
                                            <p:strVal val="#ppt_x"/>
                                          </p:val>
                                        </p:tav>
                                      </p:tavLst>
                                    </p:anim>
                                    <p:anim calcmode="lin" valueType="num">
                                      <p:cBhvr>
                                        <p:cTn id="37" dur="500" fill="hold"/>
                                        <p:tgtEl>
                                          <p:spTgt spid="21"/>
                                        </p:tgtEl>
                                        <p:attrNameLst>
                                          <p:attrName>ppt_y</p:attrName>
                                        </p:attrNameLst>
                                      </p:cBhvr>
                                      <p:tavLst>
                                        <p:tav tm="0">
                                          <p:val>
                                            <p:strVal val="#ppt_y+.1"/>
                                          </p:val>
                                        </p:tav>
                                        <p:tav tm="100000">
                                          <p:val>
                                            <p:strVal val="#ppt_y"/>
                                          </p:val>
                                        </p:tav>
                                      </p:tavLst>
                                    </p:anim>
                                  </p:childTnLst>
                                </p:cTn>
                              </p:par>
                            </p:childTnLst>
                          </p:cTn>
                        </p:par>
                        <p:par>
                          <p:cTn id="38" fill="hold">
                            <p:stCondLst>
                              <p:cond delay="3500"/>
                            </p:stCondLst>
                            <p:childTnLst>
                              <p:par>
                                <p:cTn id="39" presetID="22" presetClass="entr" presetSubtype="8" fill="hold" grpId="0" nodeType="afterEffect">
                                  <p:stCondLst>
                                    <p:cond delay="0"/>
                                  </p:stCondLst>
                                  <p:childTnLst>
                                    <p:set>
                                      <p:cBhvr>
                                        <p:cTn id="40" dur="1" fill="hold">
                                          <p:stCondLst>
                                            <p:cond delay="0"/>
                                          </p:stCondLst>
                                        </p:cTn>
                                        <p:tgtEl>
                                          <p:spTgt spid="24"/>
                                        </p:tgtEl>
                                        <p:attrNameLst>
                                          <p:attrName>style.visibility</p:attrName>
                                        </p:attrNameLst>
                                      </p:cBhvr>
                                      <p:to>
                                        <p:strVal val="visible"/>
                                      </p:to>
                                    </p:set>
                                    <p:animEffect transition="in" filter="wipe(left)">
                                      <p:cBhvr>
                                        <p:cTn id="41" dur="500"/>
                                        <p:tgtEl>
                                          <p:spTgt spid="24"/>
                                        </p:tgtEl>
                                      </p:cBhvr>
                                    </p:animEffect>
                                  </p:childTnLst>
                                </p:cTn>
                              </p:par>
                            </p:childTnLst>
                          </p:cTn>
                        </p:par>
                        <p:par>
                          <p:cTn id="42" fill="hold">
                            <p:stCondLst>
                              <p:cond delay="4000"/>
                            </p:stCondLst>
                            <p:childTnLst>
                              <p:par>
                                <p:cTn id="43" presetID="42" presetClass="entr" presetSubtype="0" fill="hold" grpId="0" nodeType="afterEffect">
                                  <p:stCondLst>
                                    <p:cond delay="0"/>
                                  </p:stCondLst>
                                  <p:childTnLst>
                                    <p:set>
                                      <p:cBhvr>
                                        <p:cTn id="44" dur="1" fill="hold">
                                          <p:stCondLst>
                                            <p:cond delay="0"/>
                                          </p:stCondLst>
                                        </p:cTn>
                                        <p:tgtEl>
                                          <p:spTgt spid="23"/>
                                        </p:tgtEl>
                                        <p:attrNameLst>
                                          <p:attrName>style.visibility</p:attrName>
                                        </p:attrNameLst>
                                      </p:cBhvr>
                                      <p:to>
                                        <p:strVal val="visible"/>
                                      </p:to>
                                    </p:set>
                                    <p:animEffect transition="in" filter="fade">
                                      <p:cBhvr>
                                        <p:cTn id="45" dur="500"/>
                                        <p:tgtEl>
                                          <p:spTgt spid="23"/>
                                        </p:tgtEl>
                                      </p:cBhvr>
                                    </p:animEffect>
                                    <p:anim calcmode="lin" valueType="num">
                                      <p:cBhvr>
                                        <p:cTn id="46" dur="500" fill="hold"/>
                                        <p:tgtEl>
                                          <p:spTgt spid="23"/>
                                        </p:tgtEl>
                                        <p:attrNameLst>
                                          <p:attrName>ppt_x</p:attrName>
                                        </p:attrNameLst>
                                      </p:cBhvr>
                                      <p:tavLst>
                                        <p:tav tm="0">
                                          <p:val>
                                            <p:strVal val="#ppt_x"/>
                                          </p:val>
                                        </p:tav>
                                        <p:tav tm="100000">
                                          <p:val>
                                            <p:strVal val="#ppt_x"/>
                                          </p:val>
                                        </p:tav>
                                      </p:tavLst>
                                    </p:anim>
                                    <p:anim calcmode="lin" valueType="num">
                                      <p:cBhvr>
                                        <p:cTn id="47" dur="500" fill="hold"/>
                                        <p:tgtEl>
                                          <p:spTgt spid="23"/>
                                        </p:tgtEl>
                                        <p:attrNameLst>
                                          <p:attrName>ppt_y</p:attrName>
                                        </p:attrNameLst>
                                      </p:cBhvr>
                                      <p:tavLst>
                                        <p:tav tm="0">
                                          <p:val>
                                            <p:strVal val="#ppt_y+.1"/>
                                          </p:val>
                                        </p:tav>
                                        <p:tav tm="100000">
                                          <p:val>
                                            <p:strVal val="#ppt_y"/>
                                          </p:val>
                                        </p:tav>
                                      </p:tavLst>
                                    </p:anim>
                                  </p:childTnLst>
                                </p:cTn>
                              </p:par>
                            </p:childTnLst>
                          </p:cTn>
                        </p:par>
                        <p:par>
                          <p:cTn id="48" fill="hold">
                            <p:stCondLst>
                              <p:cond delay="4500"/>
                            </p:stCondLst>
                            <p:childTnLst>
                              <p:par>
                                <p:cTn id="49" presetID="22" presetClass="entr" presetSubtype="8" fill="hold" grpId="0" nodeType="afterEffect">
                                  <p:stCondLst>
                                    <p:cond delay="0"/>
                                  </p:stCondLst>
                                  <p:childTnLst>
                                    <p:set>
                                      <p:cBhvr>
                                        <p:cTn id="50" dur="1" fill="hold">
                                          <p:stCondLst>
                                            <p:cond delay="0"/>
                                          </p:stCondLst>
                                        </p:cTn>
                                        <p:tgtEl>
                                          <p:spTgt spid="30"/>
                                        </p:tgtEl>
                                        <p:attrNameLst>
                                          <p:attrName>style.visibility</p:attrName>
                                        </p:attrNameLst>
                                      </p:cBhvr>
                                      <p:to>
                                        <p:strVal val="visible"/>
                                      </p:to>
                                    </p:set>
                                    <p:animEffect transition="in" filter="wipe(left)">
                                      <p:cBhvr>
                                        <p:cTn id="51" dur="500"/>
                                        <p:tgtEl>
                                          <p:spTgt spid="30"/>
                                        </p:tgtEl>
                                      </p:cBhvr>
                                    </p:animEffect>
                                  </p:childTnLst>
                                </p:cTn>
                              </p:par>
                            </p:childTnLst>
                          </p:cTn>
                        </p:par>
                        <p:par>
                          <p:cTn id="52" fill="hold">
                            <p:stCondLst>
                              <p:cond delay="5000"/>
                            </p:stCondLst>
                            <p:childTnLst>
                              <p:par>
                                <p:cTn id="53" presetID="42" presetClass="entr" presetSubtype="0" fill="hold" grpId="0" nodeType="afterEffect">
                                  <p:stCondLst>
                                    <p:cond delay="0"/>
                                  </p:stCondLst>
                                  <p:childTnLst>
                                    <p:set>
                                      <p:cBhvr>
                                        <p:cTn id="54" dur="1" fill="hold">
                                          <p:stCondLst>
                                            <p:cond delay="0"/>
                                          </p:stCondLst>
                                        </p:cTn>
                                        <p:tgtEl>
                                          <p:spTgt spid="29"/>
                                        </p:tgtEl>
                                        <p:attrNameLst>
                                          <p:attrName>style.visibility</p:attrName>
                                        </p:attrNameLst>
                                      </p:cBhvr>
                                      <p:to>
                                        <p:strVal val="visible"/>
                                      </p:to>
                                    </p:set>
                                    <p:animEffect transition="in" filter="fade">
                                      <p:cBhvr>
                                        <p:cTn id="55" dur="500"/>
                                        <p:tgtEl>
                                          <p:spTgt spid="29"/>
                                        </p:tgtEl>
                                      </p:cBhvr>
                                    </p:animEffect>
                                    <p:anim calcmode="lin" valueType="num">
                                      <p:cBhvr>
                                        <p:cTn id="56" dur="500" fill="hold"/>
                                        <p:tgtEl>
                                          <p:spTgt spid="29"/>
                                        </p:tgtEl>
                                        <p:attrNameLst>
                                          <p:attrName>ppt_x</p:attrName>
                                        </p:attrNameLst>
                                      </p:cBhvr>
                                      <p:tavLst>
                                        <p:tav tm="0">
                                          <p:val>
                                            <p:strVal val="#ppt_x"/>
                                          </p:val>
                                        </p:tav>
                                        <p:tav tm="100000">
                                          <p:val>
                                            <p:strVal val="#ppt_x"/>
                                          </p:val>
                                        </p:tav>
                                      </p:tavLst>
                                    </p:anim>
                                    <p:anim calcmode="lin" valueType="num">
                                      <p:cBhvr>
                                        <p:cTn id="57" dur="500" fill="hold"/>
                                        <p:tgtEl>
                                          <p:spTgt spid="29"/>
                                        </p:tgtEl>
                                        <p:attrNameLst>
                                          <p:attrName>ppt_y</p:attrName>
                                        </p:attrNameLst>
                                      </p:cBhvr>
                                      <p:tavLst>
                                        <p:tav tm="0">
                                          <p:val>
                                            <p:strVal val="#ppt_y+.1"/>
                                          </p:val>
                                        </p:tav>
                                        <p:tav tm="100000">
                                          <p:val>
                                            <p:strVal val="#ppt_y"/>
                                          </p:val>
                                        </p:tav>
                                      </p:tavLst>
                                    </p:anim>
                                  </p:childTnLst>
                                </p:cTn>
                              </p:par>
                            </p:childTnLst>
                          </p:cTn>
                        </p:par>
                        <p:par>
                          <p:cTn id="58" fill="hold">
                            <p:stCondLst>
                              <p:cond delay="5500"/>
                            </p:stCondLst>
                            <p:childTnLst>
                              <p:par>
                                <p:cTn id="59" presetID="22" presetClass="entr" presetSubtype="8" fill="hold" grpId="0" nodeType="afterEffect">
                                  <p:stCondLst>
                                    <p:cond delay="0"/>
                                  </p:stCondLst>
                                  <p:childTnLst>
                                    <p:set>
                                      <p:cBhvr>
                                        <p:cTn id="60" dur="1" fill="hold">
                                          <p:stCondLst>
                                            <p:cond delay="0"/>
                                          </p:stCondLst>
                                        </p:cTn>
                                        <p:tgtEl>
                                          <p:spTgt spid="28"/>
                                        </p:tgtEl>
                                        <p:attrNameLst>
                                          <p:attrName>style.visibility</p:attrName>
                                        </p:attrNameLst>
                                      </p:cBhvr>
                                      <p:to>
                                        <p:strVal val="visible"/>
                                      </p:to>
                                    </p:set>
                                    <p:animEffect transition="in" filter="wipe(left)">
                                      <p:cBhvr>
                                        <p:cTn id="61" dur="500"/>
                                        <p:tgtEl>
                                          <p:spTgt spid="28"/>
                                        </p:tgtEl>
                                      </p:cBhvr>
                                    </p:animEffect>
                                  </p:childTnLst>
                                </p:cTn>
                              </p:par>
                            </p:childTnLst>
                          </p:cTn>
                        </p:par>
                        <p:par>
                          <p:cTn id="62" fill="hold">
                            <p:stCondLst>
                              <p:cond delay="6000"/>
                            </p:stCondLst>
                            <p:childTnLst>
                              <p:par>
                                <p:cTn id="63" presetID="42" presetClass="entr" presetSubtype="0" fill="hold" grpId="0" nodeType="afterEffect">
                                  <p:stCondLst>
                                    <p:cond delay="0"/>
                                  </p:stCondLst>
                                  <p:childTnLst>
                                    <p:set>
                                      <p:cBhvr>
                                        <p:cTn id="64" dur="1" fill="hold">
                                          <p:stCondLst>
                                            <p:cond delay="0"/>
                                          </p:stCondLst>
                                        </p:cTn>
                                        <p:tgtEl>
                                          <p:spTgt spid="27"/>
                                        </p:tgtEl>
                                        <p:attrNameLst>
                                          <p:attrName>style.visibility</p:attrName>
                                        </p:attrNameLst>
                                      </p:cBhvr>
                                      <p:to>
                                        <p:strVal val="visible"/>
                                      </p:to>
                                    </p:set>
                                    <p:animEffect transition="in" filter="fade">
                                      <p:cBhvr>
                                        <p:cTn id="65" dur="500"/>
                                        <p:tgtEl>
                                          <p:spTgt spid="27"/>
                                        </p:tgtEl>
                                      </p:cBhvr>
                                    </p:animEffect>
                                    <p:anim calcmode="lin" valueType="num">
                                      <p:cBhvr>
                                        <p:cTn id="66" dur="500" fill="hold"/>
                                        <p:tgtEl>
                                          <p:spTgt spid="27"/>
                                        </p:tgtEl>
                                        <p:attrNameLst>
                                          <p:attrName>ppt_x</p:attrName>
                                        </p:attrNameLst>
                                      </p:cBhvr>
                                      <p:tavLst>
                                        <p:tav tm="0">
                                          <p:val>
                                            <p:strVal val="#ppt_x"/>
                                          </p:val>
                                        </p:tav>
                                        <p:tav tm="100000">
                                          <p:val>
                                            <p:strVal val="#ppt_x"/>
                                          </p:val>
                                        </p:tav>
                                      </p:tavLst>
                                    </p:anim>
                                    <p:anim calcmode="lin" valueType="num">
                                      <p:cBhvr>
                                        <p:cTn id="67" dur="500" fill="hold"/>
                                        <p:tgtEl>
                                          <p:spTgt spid="27"/>
                                        </p:tgtEl>
                                        <p:attrNameLst>
                                          <p:attrName>ppt_y</p:attrName>
                                        </p:attrNameLst>
                                      </p:cBhvr>
                                      <p:tavLst>
                                        <p:tav tm="0">
                                          <p:val>
                                            <p:strVal val="#ppt_y+.1"/>
                                          </p:val>
                                        </p:tav>
                                        <p:tav tm="100000">
                                          <p:val>
                                            <p:strVal val="#ppt_y"/>
                                          </p:val>
                                        </p:tav>
                                      </p:tavLst>
                                    </p:anim>
                                  </p:childTnLst>
                                </p:cTn>
                              </p:par>
                            </p:childTnLst>
                          </p:cTn>
                        </p:par>
                        <p:par>
                          <p:cTn id="68" fill="hold">
                            <p:stCondLst>
                              <p:cond delay="6500"/>
                            </p:stCondLst>
                            <p:childTnLst>
                              <p:par>
                                <p:cTn id="69" presetID="22" presetClass="entr" presetSubtype="8" fill="hold" grpId="0" nodeType="afterEffect">
                                  <p:stCondLst>
                                    <p:cond delay="0"/>
                                  </p:stCondLst>
                                  <p:childTnLst>
                                    <p:set>
                                      <p:cBhvr>
                                        <p:cTn id="70" dur="1" fill="hold">
                                          <p:stCondLst>
                                            <p:cond delay="0"/>
                                          </p:stCondLst>
                                        </p:cTn>
                                        <p:tgtEl>
                                          <p:spTgt spid="26"/>
                                        </p:tgtEl>
                                        <p:attrNameLst>
                                          <p:attrName>style.visibility</p:attrName>
                                        </p:attrNameLst>
                                      </p:cBhvr>
                                      <p:to>
                                        <p:strVal val="visible"/>
                                      </p:to>
                                    </p:set>
                                    <p:animEffect transition="in" filter="wipe(left)">
                                      <p:cBhvr>
                                        <p:cTn id="71" dur="500"/>
                                        <p:tgtEl>
                                          <p:spTgt spid="26"/>
                                        </p:tgtEl>
                                      </p:cBhvr>
                                    </p:animEffect>
                                  </p:childTnLst>
                                </p:cTn>
                              </p:par>
                            </p:childTnLst>
                          </p:cTn>
                        </p:par>
                        <p:par>
                          <p:cTn id="72" fill="hold">
                            <p:stCondLst>
                              <p:cond delay="7000"/>
                            </p:stCondLst>
                            <p:childTnLst>
                              <p:par>
                                <p:cTn id="73" presetID="42" presetClass="entr" presetSubtype="0" fill="hold" grpId="0" nodeType="afterEffect">
                                  <p:stCondLst>
                                    <p:cond delay="0"/>
                                  </p:stCondLst>
                                  <p:childTnLst>
                                    <p:set>
                                      <p:cBhvr>
                                        <p:cTn id="74" dur="1" fill="hold">
                                          <p:stCondLst>
                                            <p:cond delay="0"/>
                                          </p:stCondLst>
                                        </p:cTn>
                                        <p:tgtEl>
                                          <p:spTgt spid="25"/>
                                        </p:tgtEl>
                                        <p:attrNameLst>
                                          <p:attrName>style.visibility</p:attrName>
                                        </p:attrNameLst>
                                      </p:cBhvr>
                                      <p:to>
                                        <p:strVal val="visible"/>
                                      </p:to>
                                    </p:set>
                                    <p:animEffect transition="in" filter="fade">
                                      <p:cBhvr>
                                        <p:cTn id="75" dur="500"/>
                                        <p:tgtEl>
                                          <p:spTgt spid="25"/>
                                        </p:tgtEl>
                                      </p:cBhvr>
                                    </p:animEffect>
                                    <p:anim calcmode="lin" valueType="num">
                                      <p:cBhvr>
                                        <p:cTn id="76" dur="500" fill="hold"/>
                                        <p:tgtEl>
                                          <p:spTgt spid="25"/>
                                        </p:tgtEl>
                                        <p:attrNameLst>
                                          <p:attrName>ppt_x</p:attrName>
                                        </p:attrNameLst>
                                      </p:cBhvr>
                                      <p:tavLst>
                                        <p:tav tm="0">
                                          <p:val>
                                            <p:strVal val="#ppt_x"/>
                                          </p:val>
                                        </p:tav>
                                        <p:tav tm="100000">
                                          <p:val>
                                            <p:strVal val="#ppt_x"/>
                                          </p:val>
                                        </p:tav>
                                      </p:tavLst>
                                    </p:anim>
                                    <p:anim calcmode="lin" valueType="num">
                                      <p:cBhvr>
                                        <p:cTn id="77" dur="500" fill="hold"/>
                                        <p:tgtEl>
                                          <p:spTgt spid="2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8" grpId="0"/>
      <p:bldP spid="19" grpId="0"/>
      <p:bldP spid="20" grpId="0"/>
      <p:bldP spid="21" grpId="0"/>
      <p:bldP spid="22" grpId="0"/>
      <p:bldP spid="23" grpId="0"/>
      <p:bldP spid="24" grpId="0"/>
      <p:bldP spid="25" grpId="0"/>
      <p:bldP spid="26" grpId="0"/>
      <p:bldP spid="27" grpId="0"/>
      <p:bldP spid="28" grpId="0"/>
      <p:bldP spid="29" grpId="0"/>
      <p:bldP spid="30" grpId="0"/>
    </p:bldLst>
  </p:timing>
</p:sld>
</file>

<file path=ppt/slides/slide6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20">
            <a:extLst>
              <a:ext uri="{FF2B5EF4-FFF2-40B4-BE49-F238E27FC236}">
                <a16:creationId xmlns:a16="http://schemas.microsoft.com/office/drawing/2014/main" id="{F57329CB-8861-4D57-B440-EE80672CFD25}"/>
              </a:ext>
            </a:extLst>
          </p:cNvPr>
          <p:cNvGrpSpPr/>
          <p:nvPr/>
        </p:nvGrpSpPr>
        <p:grpSpPr>
          <a:xfrm>
            <a:off x="4434197" y="1452046"/>
            <a:ext cx="6969446" cy="5405954"/>
            <a:chOff x="4595872" y="1058892"/>
            <a:chExt cx="6969446" cy="5405954"/>
          </a:xfrm>
        </p:grpSpPr>
        <p:sp>
          <p:nvSpPr>
            <p:cNvPr id="3" name="Freeform 5">
              <a:extLst>
                <a:ext uri="{FF2B5EF4-FFF2-40B4-BE49-F238E27FC236}">
                  <a16:creationId xmlns:a16="http://schemas.microsoft.com/office/drawing/2014/main" id="{9BA73156-AD59-498B-A5E0-D79BE818651B}"/>
                </a:ext>
              </a:extLst>
            </p:cNvPr>
            <p:cNvSpPr>
              <a:spLocks/>
            </p:cNvSpPr>
            <p:nvPr/>
          </p:nvSpPr>
          <p:spPr bwMode="auto">
            <a:xfrm>
              <a:off x="7173248" y="1711846"/>
              <a:ext cx="2510325" cy="4753000"/>
            </a:xfrm>
            <a:custGeom>
              <a:avLst/>
              <a:gdLst>
                <a:gd name="T0" fmla="*/ 5497 w 9304"/>
                <a:gd name="T1" fmla="*/ 17300 h 17616"/>
                <a:gd name="T2" fmla="*/ 4609 w 9304"/>
                <a:gd name="T3" fmla="*/ 16312 h 17616"/>
                <a:gd name="T4" fmla="*/ 3891 w 9304"/>
                <a:gd name="T5" fmla="*/ 14593 h 17616"/>
                <a:gd name="T6" fmla="*/ 3806 w 9304"/>
                <a:gd name="T7" fmla="*/ 12442 h 17616"/>
                <a:gd name="T8" fmla="*/ 4286 w 9304"/>
                <a:gd name="T9" fmla="*/ 10748 h 17616"/>
                <a:gd name="T10" fmla="*/ 5287 w 9304"/>
                <a:gd name="T11" fmla="*/ 9845 h 17616"/>
                <a:gd name="T12" fmla="*/ 6584 w 9304"/>
                <a:gd name="T13" fmla="*/ 9928 h 17616"/>
                <a:gd name="T14" fmla="*/ 7436 w 9304"/>
                <a:gd name="T15" fmla="*/ 10479 h 17616"/>
                <a:gd name="T16" fmla="*/ 7838 w 9304"/>
                <a:gd name="T17" fmla="*/ 11010 h 17616"/>
                <a:gd name="T18" fmla="*/ 7674 w 9304"/>
                <a:gd name="T19" fmla="*/ 10654 h 17616"/>
                <a:gd name="T20" fmla="*/ 7235 w 9304"/>
                <a:gd name="T21" fmla="*/ 9858 h 17616"/>
                <a:gd name="T22" fmla="*/ 6977 w 9304"/>
                <a:gd name="T23" fmla="*/ 9592 h 17616"/>
                <a:gd name="T24" fmla="*/ 7452 w 9304"/>
                <a:gd name="T25" fmla="*/ 9065 h 17616"/>
                <a:gd name="T26" fmla="*/ 8677 w 9304"/>
                <a:gd name="T27" fmla="*/ 7976 h 17616"/>
                <a:gd name="T28" fmla="*/ 7787 w 9304"/>
                <a:gd name="T29" fmla="*/ 8580 h 17616"/>
                <a:gd name="T30" fmla="*/ 6830 w 9304"/>
                <a:gd name="T31" fmla="*/ 9161 h 17616"/>
                <a:gd name="T32" fmla="*/ 6187 w 9304"/>
                <a:gd name="T33" fmla="*/ 9356 h 17616"/>
                <a:gd name="T34" fmla="*/ 4975 w 9304"/>
                <a:gd name="T35" fmla="*/ 9411 h 17616"/>
                <a:gd name="T36" fmla="*/ 4501 w 9304"/>
                <a:gd name="T37" fmla="*/ 9235 h 17616"/>
                <a:gd name="T38" fmla="*/ 4627 w 9304"/>
                <a:gd name="T39" fmla="*/ 8324 h 17616"/>
                <a:gd name="T40" fmla="*/ 5266 w 9304"/>
                <a:gd name="T41" fmla="*/ 7036 h 17616"/>
                <a:gd name="T42" fmla="*/ 6700 w 9304"/>
                <a:gd name="T43" fmla="*/ 5836 h 17616"/>
                <a:gd name="T44" fmla="*/ 8104 w 9304"/>
                <a:gd name="T45" fmla="*/ 5095 h 17616"/>
                <a:gd name="T46" fmla="*/ 9043 w 9304"/>
                <a:gd name="T47" fmla="*/ 4753 h 17616"/>
                <a:gd name="T48" fmla="*/ 8677 w 9304"/>
                <a:gd name="T49" fmla="*/ 4805 h 17616"/>
                <a:gd name="T50" fmla="*/ 7350 w 9304"/>
                <a:gd name="T51" fmla="*/ 5135 h 17616"/>
                <a:gd name="T52" fmla="*/ 6155 w 9304"/>
                <a:gd name="T53" fmla="*/ 5633 h 17616"/>
                <a:gd name="T54" fmla="*/ 5634 w 9304"/>
                <a:gd name="T55" fmla="*/ 5384 h 17616"/>
                <a:gd name="T56" fmla="*/ 5473 w 9304"/>
                <a:gd name="T57" fmla="*/ 3557 h 17616"/>
                <a:gd name="T58" fmla="*/ 5481 w 9304"/>
                <a:gd name="T59" fmla="*/ 1712 h 17616"/>
                <a:gd name="T60" fmla="*/ 5305 w 9304"/>
                <a:gd name="T61" fmla="*/ 3368 h 17616"/>
                <a:gd name="T62" fmla="*/ 5218 w 9304"/>
                <a:gd name="T63" fmla="*/ 4980 h 17616"/>
                <a:gd name="T64" fmla="*/ 5283 w 9304"/>
                <a:gd name="T65" fmla="*/ 5981 h 17616"/>
                <a:gd name="T66" fmla="*/ 4999 w 9304"/>
                <a:gd name="T67" fmla="*/ 6828 h 17616"/>
                <a:gd name="T68" fmla="*/ 4380 w 9304"/>
                <a:gd name="T69" fmla="*/ 7940 h 17616"/>
                <a:gd name="T70" fmla="*/ 3957 w 9304"/>
                <a:gd name="T71" fmla="*/ 8919 h 17616"/>
                <a:gd name="T72" fmla="*/ 3565 w 9304"/>
                <a:gd name="T73" fmla="*/ 9585 h 17616"/>
                <a:gd name="T74" fmla="*/ 3264 w 9304"/>
                <a:gd name="T75" fmla="*/ 9913 h 17616"/>
                <a:gd name="T76" fmla="*/ 2740 w 9304"/>
                <a:gd name="T77" fmla="*/ 8110 h 17616"/>
                <a:gd name="T78" fmla="*/ 2121 w 9304"/>
                <a:gd name="T79" fmla="*/ 5080 h 17616"/>
                <a:gd name="T80" fmla="*/ 1803 w 9304"/>
                <a:gd name="T81" fmla="*/ 2559 h 17616"/>
                <a:gd name="T82" fmla="*/ 1836 w 9304"/>
                <a:gd name="T83" fmla="*/ 1167 h 17616"/>
                <a:gd name="T84" fmla="*/ 1941 w 9304"/>
                <a:gd name="T85" fmla="*/ 36 h 17616"/>
                <a:gd name="T86" fmla="*/ 1807 w 9304"/>
                <a:gd name="T87" fmla="*/ 1141 h 17616"/>
                <a:gd name="T88" fmla="*/ 1677 w 9304"/>
                <a:gd name="T89" fmla="*/ 3194 h 17616"/>
                <a:gd name="T90" fmla="*/ 1803 w 9304"/>
                <a:gd name="T91" fmla="*/ 5406 h 17616"/>
                <a:gd name="T92" fmla="*/ 2243 w 9304"/>
                <a:gd name="T93" fmla="*/ 8046 h 17616"/>
                <a:gd name="T94" fmla="*/ 134 w 9304"/>
                <a:gd name="T95" fmla="*/ 5485 h 17616"/>
                <a:gd name="T96" fmla="*/ 1573 w 9304"/>
                <a:gd name="T97" fmla="*/ 8092 h 17616"/>
                <a:gd name="T98" fmla="*/ 2208 w 9304"/>
                <a:gd name="T99" fmla="*/ 9387 h 17616"/>
                <a:gd name="T100" fmla="*/ 2357 w 9304"/>
                <a:gd name="T101" fmla="*/ 9990 h 17616"/>
                <a:gd name="T102" fmla="*/ 2363 w 9304"/>
                <a:gd name="T103" fmla="*/ 10330 h 17616"/>
                <a:gd name="T104" fmla="*/ 1319 w 9304"/>
                <a:gd name="T105" fmla="*/ 9701 h 17616"/>
                <a:gd name="T106" fmla="*/ 1778 w 9304"/>
                <a:gd name="T107" fmla="*/ 10619 h 17616"/>
                <a:gd name="T108" fmla="*/ 2090 w 9304"/>
                <a:gd name="T109" fmla="*/ 12315 h 17616"/>
                <a:gd name="T110" fmla="*/ 1803 w 9304"/>
                <a:gd name="T111" fmla="*/ 14560 h 17616"/>
                <a:gd name="T112" fmla="*/ 972 w 9304"/>
                <a:gd name="T113" fmla="*/ 16438 h 17616"/>
                <a:gd name="T114" fmla="*/ 280 w 9304"/>
                <a:gd name="T115" fmla="*/ 17508 h 176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304" h="17616">
                  <a:moveTo>
                    <a:pt x="198" y="17616"/>
                  </a:moveTo>
                  <a:lnTo>
                    <a:pt x="5932" y="17616"/>
                  </a:lnTo>
                  <a:lnTo>
                    <a:pt x="5911" y="17604"/>
                  </a:lnTo>
                  <a:lnTo>
                    <a:pt x="5853" y="17566"/>
                  </a:lnTo>
                  <a:lnTo>
                    <a:pt x="5811" y="17538"/>
                  </a:lnTo>
                  <a:lnTo>
                    <a:pt x="5760" y="17504"/>
                  </a:lnTo>
                  <a:lnTo>
                    <a:pt x="5704" y="17463"/>
                  </a:lnTo>
                  <a:lnTo>
                    <a:pt x="5640" y="17415"/>
                  </a:lnTo>
                  <a:lnTo>
                    <a:pt x="5572" y="17361"/>
                  </a:lnTo>
                  <a:lnTo>
                    <a:pt x="5497" y="17300"/>
                  </a:lnTo>
                  <a:lnTo>
                    <a:pt x="5419" y="17233"/>
                  </a:lnTo>
                  <a:lnTo>
                    <a:pt x="5336" y="17158"/>
                  </a:lnTo>
                  <a:lnTo>
                    <a:pt x="5250" y="17077"/>
                  </a:lnTo>
                  <a:lnTo>
                    <a:pt x="5161" y="16988"/>
                  </a:lnTo>
                  <a:lnTo>
                    <a:pt x="5071" y="16894"/>
                  </a:lnTo>
                  <a:lnTo>
                    <a:pt x="4979" y="16791"/>
                  </a:lnTo>
                  <a:lnTo>
                    <a:pt x="4886" y="16682"/>
                  </a:lnTo>
                  <a:lnTo>
                    <a:pt x="4793" y="16566"/>
                  </a:lnTo>
                  <a:lnTo>
                    <a:pt x="4700" y="16442"/>
                  </a:lnTo>
                  <a:lnTo>
                    <a:pt x="4609" y="16312"/>
                  </a:lnTo>
                  <a:lnTo>
                    <a:pt x="4519" y="16174"/>
                  </a:lnTo>
                  <a:lnTo>
                    <a:pt x="4432" y="16028"/>
                  </a:lnTo>
                  <a:lnTo>
                    <a:pt x="4347" y="15875"/>
                  </a:lnTo>
                  <a:lnTo>
                    <a:pt x="4266" y="15716"/>
                  </a:lnTo>
                  <a:lnTo>
                    <a:pt x="4189" y="15547"/>
                  </a:lnTo>
                  <a:lnTo>
                    <a:pt x="4118" y="15372"/>
                  </a:lnTo>
                  <a:lnTo>
                    <a:pt x="4052" y="15188"/>
                  </a:lnTo>
                  <a:lnTo>
                    <a:pt x="3991" y="14998"/>
                  </a:lnTo>
                  <a:lnTo>
                    <a:pt x="3937" y="14800"/>
                  </a:lnTo>
                  <a:lnTo>
                    <a:pt x="3891" y="14593"/>
                  </a:lnTo>
                  <a:lnTo>
                    <a:pt x="3852" y="14378"/>
                  </a:lnTo>
                  <a:lnTo>
                    <a:pt x="3823" y="14156"/>
                  </a:lnTo>
                  <a:lnTo>
                    <a:pt x="3800" y="13931"/>
                  </a:lnTo>
                  <a:lnTo>
                    <a:pt x="3784" y="13707"/>
                  </a:lnTo>
                  <a:lnTo>
                    <a:pt x="3773" y="13488"/>
                  </a:lnTo>
                  <a:lnTo>
                    <a:pt x="3769" y="13271"/>
                  </a:lnTo>
                  <a:lnTo>
                    <a:pt x="3769" y="13058"/>
                  </a:lnTo>
                  <a:lnTo>
                    <a:pt x="3775" y="12849"/>
                  </a:lnTo>
                  <a:lnTo>
                    <a:pt x="3787" y="12644"/>
                  </a:lnTo>
                  <a:lnTo>
                    <a:pt x="3806" y="12442"/>
                  </a:lnTo>
                  <a:lnTo>
                    <a:pt x="3829" y="12246"/>
                  </a:lnTo>
                  <a:lnTo>
                    <a:pt x="3858" y="12056"/>
                  </a:lnTo>
                  <a:lnTo>
                    <a:pt x="3893" y="11870"/>
                  </a:lnTo>
                  <a:lnTo>
                    <a:pt x="3933" y="11690"/>
                  </a:lnTo>
                  <a:lnTo>
                    <a:pt x="3978" y="11516"/>
                  </a:lnTo>
                  <a:lnTo>
                    <a:pt x="4030" y="11348"/>
                  </a:lnTo>
                  <a:lnTo>
                    <a:pt x="4086" y="11187"/>
                  </a:lnTo>
                  <a:lnTo>
                    <a:pt x="4147" y="11033"/>
                  </a:lnTo>
                  <a:lnTo>
                    <a:pt x="4214" y="10887"/>
                  </a:lnTo>
                  <a:lnTo>
                    <a:pt x="4286" y="10748"/>
                  </a:lnTo>
                  <a:lnTo>
                    <a:pt x="4363" y="10617"/>
                  </a:lnTo>
                  <a:lnTo>
                    <a:pt x="4446" y="10494"/>
                  </a:lnTo>
                  <a:lnTo>
                    <a:pt x="4533" y="10379"/>
                  </a:lnTo>
                  <a:lnTo>
                    <a:pt x="4627" y="10275"/>
                  </a:lnTo>
                  <a:lnTo>
                    <a:pt x="4724" y="10178"/>
                  </a:lnTo>
                  <a:lnTo>
                    <a:pt x="4827" y="10091"/>
                  </a:lnTo>
                  <a:lnTo>
                    <a:pt x="4934" y="10014"/>
                  </a:lnTo>
                  <a:lnTo>
                    <a:pt x="5047" y="9948"/>
                  </a:lnTo>
                  <a:lnTo>
                    <a:pt x="5164" y="9890"/>
                  </a:lnTo>
                  <a:lnTo>
                    <a:pt x="5287" y="9845"/>
                  </a:lnTo>
                  <a:lnTo>
                    <a:pt x="5414" y="9811"/>
                  </a:lnTo>
                  <a:lnTo>
                    <a:pt x="5546" y="9788"/>
                  </a:lnTo>
                  <a:lnTo>
                    <a:pt x="5683" y="9776"/>
                  </a:lnTo>
                  <a:lnTo>
                    <a:pt x="5824" y="9777"/>
                  </a:lnTo>
                  <a:lnTo>
                    <a:pt x="5965" y="9787"/>
                  </a:lnTo>
                  <a:lnTo>
                    <a:pt x="6099" y="9803"/>
                  </a:lnTo>
                  <a:lnTo>
                    <a:pt x="6229" y="9826"/>
                  </a:lnTo>
                  <a:lnTo>
                    <a:pt x="6353" y="9855"/>
                  </a:lnTo>
                  <a:lnTo>
                    <a:pt x="6472" y="9889"/>
                  </a:lnTo>
                  <a:lnTo>
                    <a:pt x="6584" y="9928"/>
                  </a:lnTo>
                  <a:lnTo>
                    <a:pt x="6692" y="9972"/>
                  </a:lnTo>
                  <a:lnTo>
                    <a:pt x="6795" y="10018"/>
                  </a:lnTo>
                  <a:lnTo>
                    <a:pt x="6892" y="10069"/>
                  </a:lnTo>
                  <a:lnTo>
                    <a:pt x="6984" y="10123"/>
                  </a:lnTo>
                  <a:lnTo>
                    <a:pt x="7071" y="10178"/>
                  </a:lnTo>
                  <a:lnTo>
                    <a:pt x="7154" y="10236"/>
                  </a:lnTo>
                  <a:lnTo>
                    <a:pt x="7231" y="10295"/>
                  </a:lnTo>
                  <a:lnTo>
                    <a:pt x="7304" y="10356"/>
                  </a:lnTo>
                  <a:lnTo>
                    <a:pt x="7372" y="10418"/>
                  </a:lnTo>
                  <a:lnTo>
                    <a:pt x="7436" y="10479"/>
                  </a:lnTo>
                  <a:lnTo>
                    <a:pt x="7494" y="10541"/>
                  </a:lnTo>
                  <a:lnTo>
                    <a:pt x="7549" y="10602"/>
                  </a:lnTo>
                  <a:lnTo>
                    <a:pt x="7600" y="10661"/>
                  </a:lnTo>
                  <a:lnTo>
                    <a:pt x="7645" y="10719"/>
                  </a:lnTo>
                  <a:lnTo>
                    <a:pt x="7688" y="10775"/>
                  </a:lnTo>
                  <a:lnTo>
                    <a:pt x="7725" y="10829"/>
                  </a:lnTo>
                  <a:lnTo>
                    <a:pt x="7760" y="10880"/>
                  </a:lnTo>
                  <a:lnTo>
                    <a:pt x="7789" y="10927"/>
                  </a:lnTo>
                  <a:lnTo>
                    <a:pt x="7815" y="10970"/>
                  </a:lnTo>
                  <a:lnTo>
                    <a:pt x="7838" y="11010"/>
                  </a:lnTo>
                  <a:lnTo>
                    <a:pt x="7857" y="11044"/>
                  </a:lnTo>
                  <a:lnTo>
                    <a:pt x="7871" y="11073"/>
                  </a:lnTo>
                  <a:lnTo>
                    <a:pt x="7891" y="11113"/>
                  </a:lnTo>
                  <a:lnTo>
                    <a:pt x="7897" y="11128"/>
                  </a:lnTo>
                  <a:lnTo>
                    <a:pt x="7890" y="11111"/>
                  </a:lnTo>
                  <a:lnTo>
                    <a:pt x="7869" y="11064"/>
                  </a:lnTo>
                  <a:lnTo>
                    <a:pt x="7834" y="10990"/>
                  </a:lnTo>
                  <a:lnTo>
                    <a:pt x="7789" y="10894"/>
                  </a:lnTo>
                  <a:lnTo>
                    <a:pt x="7735" y="10781"/>
                  </a:lnTo>
                  <a:lnTo>
                    <a:pt x="7674" y="10654"/>
                  </a:lnTo>
                  <a:lnTo>
                    <a:pt x="7606" y="10518"/>
                  </a:lnTo>
                  <a:lnTo>
                    <a:pt x="7535" y="10378"/>
                  </a:lnTo>
                  <a:lnTo>
                    <a:pt x="7497" y="10308"/>
                  </a:lnTo>
                  <a:lnTo>
                    <a:pt x="7460" y="10238"/>
                  </a:lnTo>
                  <a:lnTo>
                    <a:pt x="7422" y="10169"/>
                  </a:lnTo>
                  <a:lnTo>
                    <a:pt x="7384" y="10102"/>
                  </a:lnTo>
                  <a:lnTo>
                    <a:pt x="7346" y="10036"/>
                  </a:lnTo>
                  <a:lnTo>
                    <a:pt x="7309" y="9974"/>
                  </a:lnTo>
                  <a:lnTo>
                    <a:pt x="7272" y="9915"/>
                  </a:lnTo>
                  <a:lnTo>
                    <a:pt x="7235" y="9858"/>
                  </a:lnTo>
                  <a:lnTo>
                    <a:pt x="7200" y="9808"/>
                  </a:lnTo>
                  <a:lnTo>
                    <a:pt x="7166" y="9760"/>
                  </a:lnTo>
                  <a:lnTo>
                    <a:pt x="7134" y="9720"/>
                  </a:lnTo>
                  <a:lnTo>
                    <a:pt x="7102" y="9684"/>
                  </a:lnTo>
                  <a:lnTo>
                    <a:pt x="7072" y="9656"/>
                  </a:lnTo>
                  <a:lnTo>
                    <a:pt x="7045" y="9635"/>
                  </a:lnTo>
                  <a:lnTo>
                    <a:pt x="7019" y="9621"/>
                  </a:lnTo>
                  <a:lnTo>
                    <a:pt x="6996" y="9614"/>
                  </a:lnTo>
                  <a:lnTo>
                    <a:pt x="6981" y="9608"/>
                  </a:lnTo>
                  <a:lnTo>
                    <a:pt x="6977" y="9592"/>
                  </a:lnTo>
                  <a:lnTo>
                    <a:pt x="6985" y="9568"/>
                  </a:lnTo>
                  <a:lnTo>
                    <a:pt x="7005" y="9536"/>
                  </a:lnTo>
                  <a:lnTo>
                    <a:pt x="7034" y="9496"/>
                  </a:lnTo>
                  <a:lnTo>
                    <a:pt x="7072" y="9450"/>
                  </a:lnTo>
                  <a:lnTo>
                    <a:pt x="7118" y="9397"/>
                  </a:lnTo>
                  <a:lnTo>
                    <a:pt x="7174" y="9340"/>
                  </a:lnTo>
                  <a:lnTo>
                    <a:pt x="7234" y="9277"/>
                  </a:lnTo>
                  <a:lnTo>
                    <a:pt x="7302" y="9210"/>
                  </a:lnTo>
                  <a:lnTo>
                    <a:pt x="7375" y="9138"/>
                  </a:lnTo>
                  <a:lnTo>
                    <a:pt x="7452" y="9065"/>
                  </a:lnTo>
                  <a:lnTo>
                    <a:pt x="7534" y="8989"/>
                  </a:lnTo>
                  <a:lnTo>
                    <a:pt x="7617" y="8910"/>
                  </a:lnTo>
                  <a:lnTo>
                    <a:pt x="7703" y="8831"/>
                  </a:lnTo>
                  <a:lnTo>
                    <a:pt x="7792" y="8752"/>
                  </a:lnTo>
                  <a:lnTo>
                    <a:pt x="7969" y="8593"/>
                  </a:lnTo>
                  <a:lnTo>
                    <a:pt x="8142" y="8439"/>
                  </a:lnTo>
                  <a:lnTo>
                    <a:pt x="8306" y="8296"/>
                  </a:lnTo>
                  <a:lnTo>
                    <a:pt x="8454" y="8167"/>
                  </a:lnTo>
                  <a:lnTo>
                    <a:pt x="8580" y="8059"/>
                  </a:lnTo>
                  <a:lnTo>
                    <a:pt x="8677" y="7976"/>
                  </a:lnTo>
                  <a:lnTo>
                    <a:pt x="8741" y="7922"/>
                  </a:lnTo>
                  <a:lnTo>
                    <a:pt x="8763" y="7903"/>
                  </a:lnTo>
                  <a:lnTo>
                    <a:pt x="8742" y="7917"/>
                  </a:lnTo>
                  <a:lnTo>
                    <a:pt x="8684" y="7960"/>
                  </a:lnTo>
                  <a:lnTo>
                    <a:pt x="8591" y="8026"/>
                  </a:lnTo>
                  <a:lnTo>
                    <a:pt x="8470" y="8112"/>
                  </a:lnTo>
                  <a:lnTo>
                    <a:pt x="8325" y="8215"/>
                  </a:lnTo>
                  <a:lnTo>
                    <a:pt x="8159" y="8329"/>
                  </a:lnTo>
                  <a:lnTo>
                    <a:pt x="7979" y="8452"/>
                  </a:lnTo>
                  <a:lnTo>
                    <a:pt x="7787" y="8580"/>
                  </a:lnTo>
                  <a:lnTo>
                    <a:pt x="7689" y="8645"/>
                  </a:lnTo>
                  <a:lnTo>
                    <a:pt x="7590" y="8710"/>
                  </a:lnTo>
                  <a:lnTo>
                    <a:pt x="7490" y="8774"/>
                  </a:lnTo>
                  <a:lnTo>
                    <a:pt x="7391" y="8836"/>
                  </a:lnTo>
                  <a:lnTo>
                    <a:pt x="7291" y="8897"/>
                  </a:lnTo>
                  <a:lnTo>
                    <a:pt x="7194" y="8956"/>
                  </a:lnTo>
                  <a:lnTo>
                    <a:pt x="7099" y="9013"/>
                  </a:lnTo>
                  <a:lnTo>
                    <a:pt x="7006" y="9066"/>
                  </a:lnTo>
                  <a:lnTo>
                    <a:pt x="6916" y="9115"/>
                  </a:lnTo>
                  <a:lnTo>
                    <a:pt x="6830" y="9161"/>
                  </a:lnTo>
                  <a:lnTo>
                    <a:pt x="6747" y="9202"/>
                  </a:lnTo>
                  <a:lnTo>
                    <a:pt x="6670" y="9240"/>
                  </a:lnTo>
                  <a:lnTo>
                    <a:pt x="6597" y="9270"/>
                  </a:lnTo>
                  <a:lnTo>
                    <a:pt x="6531" y="9296"/>
                  </a:lnTo>
                  <a:lnTo>
                    <a:pt x="6472" y="9314"/>
                  </a:lnTo>
                  <a:lnTo>
                    <a:pt x="6419" y="9327"/>
                  </a:lnTo>
                  <a:lnTo>
                    <a:pt x="6367" y="9334"/>
                  </a:lnTo>
                  <a:lnTo>
                    <a:pt x="6311" y="9342"/>
                  </a:lnTo>
                  <a:lnTo>
                    <a:pt x="6250" y="9350"/>
                  </a:lnTo>
                  <a:lnTo>
                    <a:pt x="6187" y="9356"/>
                  </a:lnTo>
                  <a:lnTo>
                    <a:pt x="6119" y="9362"/>
                  </a:lnTo>
                  <a:lnTo>
                    <a:pt x="6049" y="9368"/>
                  </a:lnTo>
                  <a:lnTo>
                    <a:pt x="5975" y="9373"/>
                  </a:lnTo>
                  <a:lnTo>
                    <a:pt x="5900" y="9378"/>
                  </a:lnTo>
                  <a:lnTo>
                    <a:pt x="5744" y="9387"/>
                  </a:lnTo>
                  <a:lnTo>
                    <a:pt x="5584" y="9394"/>
                  </a:lnTo>
                  <a:lnTo>
                    <a:pt x="5424" y="9400"/>
                  </a:lnTo>
                  <a:lnTo>
                    <a:pt x="5268" y="9405"/>
                  </a:lnTo>
                  <a:lnTo>
                    <a:pt x="5116" y="9409"/>
                  </a:lnTo>
                  <a:lnTo>
                    <a:pt x="4975" y="9411"/>
                  </a:lnTo>
                  <a:lnTo>
                    <a:pt x="4846" y="9414"/>
                  </a:lnTo>
                  <a:lnTo>
                    <a:pt x="4732" y="9415"/>
                  </a:lnTo>
                  <a:lnTo>
                    <a:pt x="4639" y="9416"/>
                  </a:lnTo>
                  <a:lnTo>
                    <a:pt x="4568" y="9416"/>
                  </a:lnTo>
                  <a:lnTo>
                    <a:pt x="4523" y="9416"/>
                  </a:lnTo>
                  <a:lnTo>
                    <a:pt x="4508" y="9416"/>
                  </a:lnTo>
                  <a:lnTo>
                    <a:pt x="4505" y="9395"/>
                  </a:lnTo>
                  <a:lnTo>
                    <a:pt x="4502" y="9333"/>
                  </a:lnTo>
                  <a:lnTo>
                    <a:pt x="4501" y="9289"/>
                  </a:lnTo>
                  <a:lnTo>
                    <a:pt x="4501" y="9235"/>
                  </a:lnTo>
                  <a:lnTo>
                    <a:pt x="4502" y="9175"/>
                  </a:lnTo>
                  <a:lnTo>
                    <a:pt x="4504" y="9105"/>
                  </a:lnTo>
                  <a:lnTo>
                    <a:pt x="4509" y="9028"/>
                  </a:lnTo>
                  <a:lnTo>
                    <a:pt x="4515" y="8945"/>
                  </a:lnTo>
                  <a:lnTo>
                    <a:pt x="4524" y="8854"/>
                  </a:lnTo>
                  <a:lnTo>
                    <a:pt x="4537" y="8758"/>
                  </a:lnTo>
                  <a:lnTo>
                    <a:pt x="4553" y="8657"/>
                  </a:lnTo>
                  <a:lnTo>
                    <a:pt x="4574" y="8550"/>
                  </a:lnTo>
                  <a:lnTo>
                    <a:pt x="4598" y="8439"/>
                  </a:lnTo>
                  <a:lnTo>
                    <a:pt x="4627" y="8324"/>
                  </a:lnTo>
                  <a:lnTo>
                    <a:pt x="4662" y="8205"/>
                  </a:lnTo>
                  <a:lnTo>
                    <a:pt x="4702" y="8082"/>
                  </a:lnTo>
                  <a:lnTo>
                    <a:pt x="4747" y="7957"/>
                  </a:lnTo>
                  <a:lnTo>
                    <a:pt x="4800" y="7829"/>
                  </a:lnTo>
                  <a:lnTo>
                    <a:pt x="4858" y="7699"/>
                  </a:lnTo>
                  <a:lnTo>
                    <a:pt x="4924" y="7568"/>
                  </a:lnTo>
                  <a:lnTo>
                    <a:pt x="4997" y="7435"/>
                  </a:lnTo>
                  <a:lnTo>
                    <a:pt x="5078" y="7303"/>
                  </a:lnTo>
                  <a:lnTo>
                    <a:pt x="5168" y="7170"/>
                  </a:lnTo>
                  <a:lnTo>
                    <a:pt x="5266" y="7036"/>
                  </a:lnTo>
                  <a:lnTo>
                    <a:pt x="5374" y="6904"/>
                  </a:lnTo>
                  <a:lnTo>
                    <a:pt x="5489" y="6774"/>
                  </a:lnTo>
                  <a:lnTo>
                    <a:pt x="5616" y="6645"/>
                  </a:lnTo>
                  <a:lnTo>
                    <a:pt x="5752" y="6518"/>
                  </a:lnTo>
                  <a:lnTo>
                    <a:pt x="5900" y="6394"/>
                  </a:lnTo>
                  <a:lnTo>
                    <a:pt x="6059" y="6271"/>
                  </a:lnTo>
                  <a:lnTo>
                    <a:pt x="6222" y="6155"/>
                  </a:lnTo>
                  <a:lnTo>
                    <a:pt x="6383" y="6042"/>
                  </a:lnTo>
                  <a:lnTo>
                    <a:pt x="6542" y="5937"/>
                  </a:lnTo>
                  <a:lnTo>
                    <a:pt x="6700" y="5836"/>
                  </a:lnTo>
                  <a:lnTo>
                    <a:pt x="6855" y="5741"/>
                  </a:lnTo>
                  <a:lnTo>
                    <a:pt x="7007" y="5650"/>
                  </a:lnTo>
                  <a:lnTo>
                    <a:pt x="7157" y="5564"/>
                  </a:lnTo>
                  <a:lnTo>
                    <a:pt x="7304" y="5484"/>
                  </a:lnTo>
                  <a:lnTo>
                    <a:pt x="7447" y="5408"/>
                  </a:lnTo>
                  <a:lnTo>
                    <a:pt x="7587" y="5337"/>
                  </a:lnTo>
                  <a:lnTo>
                    <a:pt x="7722" y="5269"/>
                  </a:lnTo>
                  <a:lnTo>
                    <a:pt x="7854" y="5208"/>
                  </a:lnTo>
                  <a:lnTo>
                    <a:pt x="7982" y="5149"/>
                  </a:lnTo>
                  <a:lnTo>
                    <a:pt x="8104" y="5095"/>
                  </a:lnTo>
                  <a:lnTo>
                    <a:pt x="8223" y="5045"/>
                  </a:lnTo>
                  <a:lnTo>
                    <a:pt x="8337" y="4999"/>
                  </a:lnTo>
                  <a:lnTo>
                    <a:pt x="8446" y="4957"/>
                  </a:lnTo>
                  <a:lnTo>
                    <a:pt x="8548" y="4917"/>
                  </a:lnTo>
                  <a:lnTo>
                    <a:pt x="8646" y="4882"/>
                  </a:lnTo>
                  <a:lnTo>
                    <a:pt x="8738" y="4850"/>
                  </a:lnTo>
                  <a:lnTo>
                    <a:pt x="8824" y="4821"/>
                  </a:lnTo>
                  <a:lnTo>
                    <a:pt x="8903" y="4796"/>
                  </a:lnTo>
                  <a:lnTo>
                    <a:pt x="8977" y="4773"/>
                  </a:lnTo>
                  <a:lnTo>
                    <a:pt x="9043" y="4753"/>
                  </a:lnTo>
                  <a:lnTo>
                    <a:pt x="9154" y="4722"/>
                  </a:lnTo>
                  <a:lnTo>
                    <a:pt x="9237" y="4701"/>
                  </a:lnTo>
                  <a:lnTo>
                    <a:pt x="9286" y="4689"/>
                  </a:lnTo>
                  <a:lnTo>
                    <a:pt x="9304" y="4686"/>
                  </a:lnTo>
                  <a:lnTo>
                    <a:pt x="9274" y="4690"/>
                  </a:lnTo>
                  <a:lnTo>
                    <a:pt x="9191" y="4706"/>
                  </a:lnTo>
                  <a:lnTo>
                    <a:pt x="9058" y="4730"/>
                  </a:lnTo>
                  <a:lnTo>
                    <a:pt x="8884" y="4763"/>
                  </a:lnTo>
                  <a:lnTo>
                    <a:pt x="8785" y="4783"/>
                  </a:lnTo>
                  <a:lnTo>
                    <a:pt x="8677" y="4805"/>
                  </a:lnTo>
                  <a:lnTo>
                    <a:pt x="8562" y="4829"/>
                  </a:lnTo>
                  <a:lnTo>
                    <a:pt x="8440" y="4855"/>
                  </a:lnTo>
                  <a:lnTo>
                    <a:pt x="8314" y="4884"/>
                  </a:lnTo>
                  <a:lnTo>
                    <a:pt x="8184" y="4915"/>
                  </a:lnTo>
                  <a:lnTo>
                    <a:pt x="8048" y="4947"/>
                  </a:lnTo>
                  <a:lnTo>
                    <a:pt x="7912" y="4981"/>
                  </a:lnTo>
                  <a:lnTo>
                    <a:pt x="7772" y="5016"/>
                  </a:lnTo>
                  <a:lnTo>
                    <a:pt x="7631" y="5055"/>
                  </a:lnTo>
                  <a:lnTo>
                    <a:pt x="7490" y="5094"/>
                  </a:lnTo>
                  <a:lnTo>
                    <a:pt x="7350" y="5135"/>
                  </a:lnTo>
                  <a:lnTo>
                    <a:pt x="7210" y="5178"/>
                  </a:lnTo>
                  <a:lnTo>
                    <a:pt x="7073" y="5223"/>
                  </a:lnTo>
                  <a:lnTo>
                    <a:pt x="6939" y="5269"/>
                  </a:lnTo>
                  <a:lnTo>
                    <a:pt x="6809" y="5317"/>
                  </a:lnTo>
                  <a:lnTo>
                    <a:pt x="6683" y="5366"/>
                  </a:lnTo>
                  <a:lnTo>
                    <a:pt x="6563" y="5417"/>
                  </a:lnTo>
                  <a:lnTo>
                    <a:pt x="6450" y="5469"/>
                  </a:lnTo>
                  <a:lnTo>
                    <a:pt x="6343" y="5522"/>
                  </a:lnTo>
                  <a:lnTo>
                    <a:pt x="6244" y="5577"/>
                  </a:lnTo>
                  <a:lnTo>
                    <a:pt x="6155" y="5633"/>
                  </a:lnTo>
                  <a:lnTo>
                    <a:pt x="6074" y="5690"/>
                  </a:lnTo>
                  <a:lnTo>
                    <a:pt x="6005" y="5748"/>
                  </a:lnTo>
                  <a:lnTo>
                    <a:pt x="5943" y="5792"/>
                  </a:lnTo>
                  <a:lnTo>
                    <a:pt x="5886" y="5808"/>
                  </a:lnTo>
                  <a:lnTo>
                    <a:pt x="5833" y="5795"/>
                  </a:lnTo>
                  <a:lnTo>
                    <a:pt x="5786" y="5756"/>
                  </a:lnTo>
                  <a:lnTo>
                    <a:pt x="5741" y="5694"/>
                  </a:lnTo>
                  <a:lnTo>
                    <a:pt x="5702" y="5611"/>
                  </a:lnTo>
                  <a:lnTo>
                    <a:pt x="5665" y="5506"/>
                  </a:lnTo>
                  <a:lnTo>
                    <a:pt x="5634" y="5384"/>
                  </a:lnTo>
                  <a:lnTo>
                    <a:pt x="5605" y="5245"/>
                  </a:lnTo>
                  <a:lnTo>
                    <a:pt x="5580" y="5092"/>
                  </a:lnTo>
                  <a:lnTo>
                    <a:pt x="5558" y="4926"/>
                  </a:lnTo>
                  <a:lnTo>
                    <a:pt x="5538" y="4749"/>
                  </a:lnTo>
                  <a:lnTo>
                    <a:pt x="5521" y="4563"/>
                  </a:lnTo>
                  <a:lnTo>
                    <a:pt x="5507" y="4369"/>
                  </a:lnTo>
                  <a:lnTo>
                    <a:pt x="5496" y="4169"/>
                  </a:lnTo>
                  <a:lnTo>
                    <a:pt x="5486" y="3967"/>
                  </a:lnTo>
                  <a:lnTo>
                    <a:pt x="5478" y="3762"/>
                  </a:lnTo>
                  <a:lnTo>
                    <a:pt x="5473" y="3557"/>
                  </a:lnTo>
                  <a:lnTo>
                    <a:pt x="5468" y="3355"/>
                  </a:lnTo>
                  <a:lnTo>
                    <a:pt x="5466" y="3155"/>
                  </a:lnTo>
                  <a:lnTo>
                    <a:pt x="5465" y="2962"/>
                  </a:lnTo>
                  <a:lnTo>
                    <a:pt x="5465" y="2776"/>
                  </a:lnTo>
                  <a:lnTo>
                    <a:pt x="5465" y="2598"/>
                  </a:lnTo>
                  <a:lnTo>
                    <a:pt x="5467" y="2431"/>
                  </a:lnTo>
                  <a:lnTo>
                    <a:pt x="5470" y="2138"/>
                  </a:lnTo>
                  <a:lnTo>
                    <a:pt x="5476" y="1911"/>
                  </a:lnTo>
                  <a:lnTo>
                    <a:pt x="5479" y="1764"/>
                  </a:lnTo>
                  <a:lnTo>
                    <a:pt x="5481" y="1712"/>
                  </a:lnTo>
                  <a:lnTo>
                    <a:pt x="5477" y="1747"/>
                  </a:lnTo>
                  <a:lnTo>
                    <a:pt x="5465" y="1846"/>
                  </a:lnTo>
                  <a:lnTo>
                    <a:pt x="5446" y="2004"/>
                  </a:lnTo>
                  <a:lnTo>
                    <a:pt x="5422" y="2210"/>
                  </a:lnTo>
                  <a:lnTo>
                    <a:pt x="5394" y="2456"/>
                  </a:lnTo>
                  <a:lnTo>
                    <a:pt x="5366" y="2737"/>
                  </a:lnTo>
                  <a:lnTo>
                    <a:pt x="5350" y="2888"/>
                  </a:lnTo>
                  <a:lnTo>
                    <a:pt x="5335" y="3044"/>
                  </a:lnTo>
                  <a:lnTo>
                    <a:pt x="5321" y="3204"/>
                  </a:lnTo>
                  <a:lnTo>
                    <a:pt x="5305" y="3368"/>
                  </a:lnTo>
                  <a:lnTo>
                    <a:pt x="5292" y="3534"/>
                  </a:lnTo>
                  <a:lnTo>
                    <a:pt x="5278" y="3702"/>
                  </a:lnTo>
                  <a:lnTo>
                    <a:pt x="5266" y="3870"/>
                  </a:lnTo>
                  <a:lnTo>
                    <a:pt x="5255" y="4037"/>
                  </a:lnTo>
                  <a:lnTo>
                    <a:pt x="5244" y="4204"/>
                  </a:lnTo>
                  <a:lnTo>
                    <a:pt x="5236" y="4368"/>
                  </a:lnTo>
                  <a:lnTo>
                    <a:pt x="5228" y="4528"/>
                  </a:lnTo>
                  <a:lnTo>
                    <a:pt x="5223" y="4685"/>
                  </a:lnTo>
                  <a:lnTo>
                    <a:pt x="5219" y="4836"/>
                  </a:lnTo>
                  <a:lnTo>
                    <a:pt x="5218" y="4980"/>
                  </a:lnTo>
                  <a:lnTo>
                    <a:pt x="5219" y="5117"/>
                  </a:lnTo>
                  <a:lnTo>
                    <a:pt x="5223" y="5246"/>
                  </a:lnTo>
                  <a:lnTo>
                    <a:pt x="5229" y="5365"/>
                  </a:lnTo>
                  <a:lnTo>
                    <a:pt x="5238" y="5475"/>
                  </a:lnTo>
                  <a:lnTo>
                    <a:pt x="5250" y="5573"/>
                  </a:lnTo>
                  <a:lnTo>
                    <a:pt x="5266" y="5659"/>
                  </a:lnTo>
                  <a:lnTo>
                    <a:pt x="5279" y="5738"/>
                  </a:lnTo>
                  <a:lnTo>
                    <a:pt x="5287" y="5819"/>
                  </a:lnTo>
                  <a:lnTo>
                    <a:pt x="5288" y="5899"/>
                  </a:lnTo>
                  <a:lnTo>
                    <a:pt x="5283" y="5981"/>
                  </a:lnTo>
                  <a:lnTo>
                    <a:pt x="5274" y="6062"/>
                  </a:lnTo>
                  <a:lnTo>
                    <a:pt x="5260" y="6145"/>
                  </a:lnTo>
                  <a:lnTo>
                    <a:pt x="5240" y="6228"/>
                  </a:lnTo>
                  <a:lnTo>
                    <a:pt x="5217" y="6312"/>
                  </a:lnTo>
                  <a:lnTo>
                    <a:pt x="5188" y="6397"/>
                  </a:lnTo>
                  <a:lnTo>
                    <a:pt x="5158" y="6482"/>
                  </a:lnTo>
                  <a:lnTo>
                    <a:pt x="5122" y="6567"/>
                  </a:lnTo>
                  <a:lnTo>
                    <a:pt x="5084" y="6653"/>
                  </a:lnTo>
                  <a:lnTo>
                    <a:pt x="5043" y="6740"/>
                  </a:lnTo>
                  <a:lnTo>
                    <a:pt x="4999" y="6828"/>
                  </a:lnTo>
                  <a:lnTo>
                    <a:pt x="4953" y="6916"/>
                  </a:lnTo>
                  <a:lnTo>
                    <a:pt x="4904" y="7006"/>
                  </a:lnTo>
                  <a:lnTo>
                    <a:pt x="4855" y="7096"/>
                  </a:lnTo>
                  <a:lnTo>
                    <a:pt x="4803" y="7186"/>
                  </a:lnTo>
                  <a:lnTo>
                    <a:pt x="4751" y="7278"/>
                  </a:lnTo>
                  <a:lnTo>
                    <a:pt x="4698" y="7370"/>
                  </a:lnTo>
                  <a:lnTo>
                    <a:pt x="4590" y="7557"/>
                  </a:lnTo>
                  <a:lnTo>
                    <a:pt x="4485" y="7747"/>
                  </a:lnTo>
                  <a:lnTo>
                    <a:pt x="4432" y="7844"/>
                  </a:lnTo>
                  <a:lnTo>
                    <a:pt x="4380" y="7940"/>
                  </a:lnTo>
                  <a:lnTo>
                    <a:pt x="4330" y="8038"/>
                  </a:lnTo>
                  <a:lnTo>
                    <a:pt x="4282" y="8137"/>
                  </a:lnTo>
                  <a:lnTo>
                    <a:pt x="4236" y="8238"/>
                  </a:lnTo>
                  <a:lnTo>
                    <a:pt x="4192" y="8338"/>
                  </a:lnTo>
                  <a:lnTo>
                    <a:pt x="4150" y="8439"/>
                  </a:lnTo>
                  <a:lnTo>
                    <a:pt x="4111" y="8543"/>
                  </a:lnTo>
                  <a:lnTo>
                    <a:pt x="4074" y="8643"/>
                  </a:lnTo>
                  <a:lnTo>
                    <a:pt x="4035" y="8740"/>
                  </a:lnTo>
                  <a:lnTo>
                    <a:pt x="3997" y="8832"/>
                  </a:lnTo>
                  <a:lnTo>
                    <a:pt x="3957" y="8919"/>
                  </a:lnTo>
                  <a:lnTo>
                    <a:pt x="3917" y="9004"/>
                  </a:lnTo>
                  <a:lnTo>
                    <a:pt x="3878" y="9083"/>
                  </a:lnTo>
                  <a:lnTo>
                    <a:pt x="3837" y="9159"/>
                  </a:lnTo>
                  <a:lnTo>
                    <a:pt x="3797" y="9231"/>
                  </a:lnTo>
                  <a:lnTo>
                    <a:pt x="3758" y="9299"/>
                  </a:lnTo>
                  <a:lnTo>
                    <a:pt x="3718" y="9364"/>
                  </a:lnTo>
                  <a:lnTo>
                    <a:pt x="3678" y="9425"/>
                  </a:lnTo>
                  <a:lnTo>
                    <a:pt x="3640" y="9482"/>
                  </a:lnTo>
                  <a:lnTo>
                    <a:pt x="3602" y="9535"/>
                  </a:lnTo>
                  <a:lnTo>
                    <a:pt x="3565" y="9585"/>
                  </a:lnTo>
                  <a:lnTo>
                    <a:pt x="3528" y="9632"/>
                  </a:lnTo>
                  <a:lnTo>
                    <a:pt x="3493" y="9676"/>
                  </a:lnTo>
                  <a:lnTo>
                    <a:pt x="3459" y="9715"/>
                  </a:lnTo>
                  <a:lnTo>
                    <a:pt x="3427" y="9753"/>
                  </a:lnTo>
                  <a:lnTo>
                    <a:pt x="3395" y="9787"/>
                  </a:lnTo>
                  <a:lnTo>
                    <a:pt x="3365" y="9818"/>
                  </a:lnTo>
                  <a:lnTo>
                    <a:pt x="3338" y="9845"/>
                  </a:lnTo>
                  <a:lnTo>
                    <a:pt x="3311" y="9870"/>
                  </a:lnTo>
                  <a:lnTo>
                    <a:pt x="3286" y="9894"/>
                  </a:lnTo>
                  <a:lnTo>
                    <a:pt x="3264" y="9913"/>
                  </a:lnTo>
                  <a:lnTo>
                    <a:pt x="3225" y="9945"/>
                  </a:lnTo>
                  <a:lnTo>
                    <a:pt x="3198" y="9967"/>
                  </a:lnTo>
                  <a:lnTo>
                    <a:pt x="3179" y="9979"/>
                  </a:lnTo>
                  <a:lnTo>
                    <a:pt x="3174" y="9984"/>
                  </a:lnTo>
                  <a:lnTo>
                    <a:pt x="3158" y="9920"/>
                  </a:lnTo>
                  <a:lnTo>
                    <a:pt x="3114" y="9738"/>
                  </a:lnTo>
                  <a:lnTo>
                    <a:pt x="3047" y="9453"/>
                  </a:lnTo>
                  <a:lnTo>
                    <a:pt x="2959" y="9077"/>
                  </a:lnTo>
                  <a:lnTo>
                    <a:pt x="2855" y="8625"/>
                  </a:lnTo>
                  <a:lnTo>
                    <a:pt x="2740" y="8110"/>
                  </a:lnTo>
                  <a:lnTo>
                    <a:pt x="2679" y="7834"/>
                  </a:lnTo>
                  <a:lnTo>
                    <a:pt x="2616" y="7546"/>
                  </a:lnTo>
                  <a:lnTo>
                    <a:pt x="2552" y="7250"/>
                  </a:lnTo>
                  <a:lnTo>
                    <a:pt x="2488" y="6947"/>
                  </a:lnTo>
                  <a:lnTo>
                    <a:pt x="2425" y="6639"/>
                  </a:lnTo>
                  <a:lnTo>
                    <a:pt x="2361" y="6327"/>
                  </a:lnTo>
                  <a:lnTo>
                    <a:pt x="2298" y="6014"/>
                  </a:lnTo>
                  <a:lnTo>
                    <a:pt x="2236" y="5700"/>
                  </a:lnTo>
                  <a:lnTo>
                    <a:pt x="2178" y="5388"/>
                  </a:lnTo>
                  <a:lnTo>
                    <a:pt x="2121" y="5080"/>
                  </a:lnTo>
                  <a:lnTo>
                    <a:pt x="2068" y="4776"/>
                  </a:lnTo>
                  <a:lnTo>
                    <a:pt x="2017" y="4480"/>
                  </a:lnTo>
                  <a:lnTo>
                    <a:pt x="1971" y="4192"/>
                  </a:lnTo>
                  <a:lnTo>
                    <a:pt x="1930" y="3913"/>
                  </a:lnTo>
                  <a:lnTo>
                    <a:pt x="1893" y="3648"/>
                  </a:lnTo>
                  <a:lnTo>
                    <a:pt x="1862" y="3395"/>
                  </a:lnTo>
                  <a:lnTo>
                    <a:pt x="1837" y="3159"/>
                  </a:lnTo>
                  <a:lnTo>
                    <a:pt x="1819" y="2940"/>
                  </a:lnTo>
                  <a:lnTo>
                    <a:pt x="1807" y="2739"/>
                  </a:lnTo>
                  <a:lnTo>
                    <a:pt x="1803" y="2559"/>
                  </a:lnTo>
                  <a:lnTo>
                    <a:pt x="1803" y="2394"/>
                  </a:lnTo>
                  <a:lnTo>
                    <a:pt x="1804" y="2233"/>
                  </a:lnTo>
                  <a:lnTo>
                    <a:pt x="1807" y="2080"/>
                  </a:lnTo>
                  <a:lnTo>
                    <a:pt x="1809" y="1931"/>
                  </a:lnTo>
                  <a:lnTo>
                    <a:pt x="1812" y="1790"/>
                  </a:lnTo>
                  <a:lnTo>
                    <a:pt x="1817" y="1654"/>
                  </a:lnTo>
                  <a:lnTo>
                    <a:pt x="1821" y="1524"/>
                  </a:lnTo>
                  <a:lnTo>
                    <a:pt x="1825" y="1399"/>
                  </a:lnTo>
                  <a:lnTo>
                    <a:pt x="1831" y="1280"/>
                  </a:lnTo>
                  <a:lnTo>
                    <a:pt x="1836" y="1167"/>
                  </a:lnTo>
                  <a:lnTo>
                    <a:pt x="1843" y="1059"/>
                  </a:lnTo>
                  <a:lnTo>
                    <a:pt x="1848" y="958"/>
                  </a:lnTo>
                  <a:lnTo>
                    <a:pt x="1862" y="770"/>
                  </a:lnTo>
                  <a:lnTo>
                    <a:pt x="1875" y="603"/>
                  </a:lnTo>
                  <a:lnTo>
                    <a:pt x="1888" y="459"/>
                  </a:lnTo>
                  <a:lnTo>
                    <a:pt x="1901" y="335"/>
                  </a:lnTo>
                  <a:lnTo>
                    <a:pt x="1913" y="230"/>
                  </a:lnTo>
                  <a:lnTo>
                    <a:pt x="1924" y="146"/>
                  </a:lnTo>
                  <a:lnTo>
                    <a:pt x="1934" y="81"/>
                  </a:lnTo>
                  <a:lnTo>
                    <a:pt x="1941" y="36"/>
                  </a:lnTo>
                  <a:lnTo>
                    <a:pt x="1945" y="9"/>
                  </a:lnTo>
                  <a:lnTo>
                    <a:pt x="1948" y="0"/>
                  </a:lnTo>
                  <a:lnTo>
                    <a:pt x="1942" y="37"/>
                  </a:lnTo>
                  <a:lnTo>
                    <a:pt x="1927" y="143"/>
                  </a:lnTo>
                  <a:lnTo>
                    <a:pt x="1904" y="314"/>
                  </a:lnTo>
                  <a:lnTo>
                    <a:pt x="1874" y="541"/>
                  </a:lnTo>
                  <a:lnTo>
                    <a:pt x="1858" y="674"/>
                  </a:lnTo>
                  <a:lnTo>
                    <a:pt x="1841" y="818"/>
                  </a:lnTo>
                  <a:lnTo>
                    <a:pt x="1824" y="974"/>
                  </a:lnTo>
                  <a:lnTo>
                    <a:pt x="1807" y="1141"/>
                  </a:lnTo>
                  <a:lnTo>
                    <a:pt x="1789" y="1316"/>
                  </a:lnTo>
                  <a:lnTo>
                    <a:pt x="1772" y="1501"/>
                  </a:lnTo>
                  <a:lnTo>
                    <a:pt x="1756" y="1693"/>
                  </a:lnTo>
                  <a:lnTo>
                    <a:pt x="1741" y="1893"/>
                  </a:lnTo>
                  <a:lnTo>
                    <a:pt x="1725" y="2099"/>
                  </a:lnTo>
                  <a:lnTo>
                    <a:pt x="1712" y="2309"/>
                  </a:lnTo>
                  <a:lnTo>
                    <a:pt x="1700" y="2526"/>
                  </a:lnTo>
                  <a:lnTo>
                    <a:pt x="1690" y="2746"/>
                  </a:lnTo>
                  <a:lnTo>
                    <a:pt x="1682" y="2968"/>
                  </a:lnTo>
                  <a:lnTo>
                    <a:pt x="1677" y="3194"/>
                  </a:lnTo>
                  <a:lnTo>
                    <a:pt x="1673" y="3422"/>
                  </a:lnTo>
                  <a:lnTo>
                    <a:pt x="1673" y="3650"/>
                  </a:lnTo>
                  <a:lnTo>
                    <a:pt x="1677" y="3878"/>
                  </a:lnTo>
                  <a:lnTo>
                    <a:pt x="1682" y="4105"/>
                  </a:lnTo>
                  <a:lnTo>
                    <a:pt x="1692" y="4330"/>
                  </a:lnTo>
                  <a:lnTo>
                    <a:pt x="1705" y="4554"/>
                  </a:lnTo>
                  <a:lnTo>
                    <a:pt x="1723" y="4773"/>
                  </a:lnTo>
                  <a:lnTo>
                    <a:pt x="1745" y="4990"/>
                  </a:lnTo>
                  <a:lnTo>
                    <a:pt x="1771" y="5201"/>
                  </a:lnTo>
                  <a:lnTo>
                    <a:pt x="1803" y="5406"/>
                  </a:lnTo>
                  <a:lnTo>
                    <a:pt x="1868" y="5797"/>
                  </a:lnTo>
                  <a:lnTo>
                    <a:pt x="1928" y="6158"/>
                  </a:lnTo>
                  <a:lnTo>
                    <a:pt x="1984" y="6489"/>
                  </a:lnTo>
                  <a:lnTo>
                    <a:pt x="2035" y="6792"/>
                  </a:lnTo>
                  <a:lnTo>
                    <a:pt x="2080" y="7067"/>
                  </a:lnTo>
                  <a:lnTo>
                    <a:pt x="2122" y="7315"/>
                  </a:lnTo>
                  <a:lnTo>
                    <a:pt x="2158" y="7536"/>
                  </a:lnTo>
                  <a:lnTo>
                    <a:pt x="2191" y="7731"/>
                  </a:lnTo>
                  <a:lnTo>
                    <a:pt x="2219" y="7901"/>
                  </a:lnTo>
                  <a:lnTo>
                    <a:pt x="2243" y="8046"/>
                  </a:lnTo>
                  <a:lnTo>
                    <a:pt x="2264" y="8167"/>
                  </a:lnTo>
                  <a:lnTo>
                    <a:pt x="2280" y="8265"/>
                  </a:lnTo>
                  <a:lnTo>
                    <a:pt x="2292" y="8340"/>
                  </a:lnTo>
                  <a:lnTo>
                    <a:pt x="2301" y="8393"/>
                  </a:lnTo>
                  <a:lnTo>
                    <a:pt x="2307" y="8424"/>
                  </a:lnTo>
                  <a:lnTo>
                    <a:pt x="2308" y="8434"/>
                  </a:lnTo>
                  <a:lnTo>
                    <a:pt x="0" y="5244"/>
                  </a:lnTo>
                  <a:lnTo>
                    <a:pt x="17" y="5273"/>
                  </a:lnTo>
                  <a:lnTo>
                    <a:pt x="62" y="5355"/>
                  </a:lnTo>
                  <a:lnTo>
                    <a:pt x="134" y="5485"/>
                  </a:lnTo>
                  <a:lnTo>
                    <a:pt x="230" y="5657"/>
                  </a:lnTo>
                  <a:lnTo>
                    <a:pt x="346" y="5864"/>
                  </a:lnTo>
                  <a:lnTo>
                    <a:pt x="478" y="6102"/>
                  </a:lnTo>
                  <a:lnTo>
                    <a:pt x="623" y="6363"/>
                  </a:lnTo>
                  <a:lnTo>
                    <a:pt x="778" y="6641"/>
                  </a:lnTo>
                  <a:lnTo>
                    <a:pt x="939" y="6932"/>
                  </a:lnTo>
                  <a:lnTo>
                    <a:pt x="1102" y="7228"/>
                  </a:lnTo>
                  <a:lnTo>
                    <a:pt x="1264" y="7524"/>
                  </a:lnTo>
                  <a:lnTo>
                    <a:pt x="1422" y="7814"/>
                  </a:lnTo>
                  <a:lnTo>
                    <a:pt x="1573" y="8092"/>
                  </a:lnTo>
                  <a:lnTo>
                    <a:pt x="1714" y="8352"/>
                  </a:lnTo>
                  <a:lnTo>
                    <a:pt x="1840" y="8588"/>
                  </a:lnTo>
                  <a:lnTo>
                    <a:pt x="1948" y="8795"/>
                  </a:lnTo>
                  <a:lnTo>
                    <a:pt x="1995" y="8887"/>
                  </a:lnTo>
                  <a:lnTo>
                    <a:pt x="2038" y="8978"/>
                  </a:lnTo>
                  <a:lnTo>
                    <a:pt x="2079" y="9066"/>
                  </a:lnTo>
                  <a:lnTo>
                    <a:pt x="2115" y="9150"/>
                  </a:lnTo>
                  <a:lnTo>
                    <a:pt x="2149" y="9232"/>
                  </a:lnTo>
                  <a:lnTo>
                    <a:pt x="2180" y="9311"/>
                  </a:lnTo>
                  <a:lnTo>
                    <a:pt x="2208" y="9387"/>
                  </a:lnTo>
                  <a:lnTo>
                    <a:pt x="2233" y="9461"/>
                  </a:lnTo>
                  <a:lnTo>
                    <a:pt x="2255" y="9531"/>
                  </a:lnTo>
                  <a:lnTo>
                    <a:pt x="2275" y="9599"/>
                  </a:lnTo>
                  <a:lnTo>
                    <a:pt x="2292" y="9663"/>
                  </a:lnTo>
                  <a:lnTo>
                    <a:pt x="2308" y="9725"/>
                  </a:lnTo>
                  <a:lnTo>
                    <a:pt x="2322" y="9785"/>
                  </a:lnTo>
                  <a:lnTo>
                    <a:pt x="2333" y="9841"/>
                  </a:lnTo>
                  <a:lnTo>
                    <a:pt x="2343" y="9894"/>
                  </a:lnTo>
                  <a:lnTo>
                    <a:pt x="2351" y="9943"/>
                  </a:lnTo>
                  <a:lnTo>
                    <a:pt x="2357" y="9990"/>
                  </a:lnTo>
                  <a:lnTo>
                    <a:pt x="2362" y="10035"/>
                  </a:lnTo>
                  <a:lnTo>
                    <a:pt x="2366" y="10075"/>
                  </a:lnTo>
                  <a:lnTo>
                    <a:pt x="2368" y="10114"/>
                  </a:lnTo>
                  <a:lnTo>
                    <a:pt x="2371" y="10149"/>
                  </a:lnTo>
                  <a:lnTo>
                    <a:pt x="2372" y="10181"/>
                  </a:lnTo>
                  <a:lnTo>
                    <a:pt x="2372" y="10211"/>
                  </a:lnTo>
                  <a:lnTo>
                    <a:pt x="2371" y="10236"/>
                  </a:lnTo>
                  <a:lnTo>
                    <a:pt x="2368" y="10280"/>
                  </a:lnTo>
                  <a:lnTo>
                    <a:pt x="2366" y="10311"/>
                  </a:lnTo>
                  <a:lnTo>
                    <a:pt x="2363" y="10330"/>
                  </a:lnTo>
                  <a:lnTo>
                    <a:pt x="2362" y="10335"/>
                  </a:lnTo>
                  <a:lnTo>
                    <a:pt x="1082" y="9426"/>
                  </a:lnTo>
                  <a:lnTo>
                    <a:pt x="1093" y="9436"/>
                  </a:lnTo>
                  <a:lnTo>
                    <a:pt x="1126" y="9467"/>
                  </a:lnTo>
                  <a:lnTo>
                    <a:pt x="1149" y="9492"/>
                  </a:lnTo>
                  <a:lnTo>
                    <a:pt x="1175" y="9521"/>
                  </a:lnTo>
                  <a:lnTo>
                    <a:pt x="1206" y="9557"/>
                  </a:lnTo>
                  <a:lnTo>
                    <a:pt x="1241" y="9599"/>
                  </a:lnTo>
                  <a:lnTo>
                    <a:pt x="1278" y="9647"/>
                  </a:lnTo>
                  <a:lnTo>
                    <a:pt x="1319" y="9701"/>
                  </a:lnTo>
                  <a:lnTo>
                    <a:pt x="1360" y="9761"/>
                  </a:lnTo>
                  <a:lnTo>
                    <a:pt x="1405" y="9829"/>
                  </a:lnTo>
                  <a:lnTo>
                    <a:pt x="1450" y="9903"/>
                  </a:lnTo>
                  <a:lnTo>
                    <a:pt x="1496" y="9984"/>
                  </a:lnTo>
                  <a:lnTo>
                    <a:pt x="1543" y="10072"/>
                  </a:lnTo>
                  <a:lnTo>
                    <a:pt x="1591" y="10167"/>
                  </a:lnTo>
                  <a:lnTo>
                    <a:pt x="1639" y="10268"/>
                  </a:lnTo>
                  <a:lnTo>
                    <a:pt x="1687" y="10378"/>
                  </a:lnTo>
                  <a:lnTo>
                    <a:pt x="1733" y="10495"/>
                  </a:lnTo>
                  <a:lnTo>
                    <a:pt x="1778" y="10619"/>
                  </a:lnTo>
                  <a:lnTo>
                    <a:pt x="1822" y="10751"/>
                  </a:lnTo>
                  <a:lnTo>
                    <a:pt x="1864" y="10892"/>
                  </a:lnTo>
                  <a:lnTo>
                    <a:pt x="1905" y="11040"/>
                  </a:lnTo>
                  <a:lnTo>
                    <a:pt x="1941" y="11197"/>
                  </a:lnTo>
                  <a:lnTo>
                    <a:pt x="1976" y="11361"/>
                  </a:lnTo>
                  <a:lnTo>
                    <a:pt x="2007" y="11535"/>
                  </a:lnTo>
                  <a:lnTo>
                    <a:pt x="2034" y="11717"/>
                  </a:lnTo>
                  <a:lnTo>
                    <a:pt x="2057" y="11907"/>
                  </a:lnTo>
                  <a:lnTo>
                    <a:pt x="2075" y="12107"/>
                  </a:lnTo>
                  <a:lnTo>
                    <a:pt x="2090" y="12315"/>
                  </a:lnTo>
                  <a:lnTo>
                    <a:pt x="2097" y="12533"/>
                  </a:lnTo>
                  <a:lnTo>
                    <a:pt x="2101" y="12759"/>
                  </a:lnTo>
                  <a:lnTo>
                    <a:pt x="2095" y="12991"/>
                  </a:lnTo>
                  <a:lnTo>
                    <a:pt x="2080" y="13221"/>
                  </a:lnTo>
                  <a:lnTo>
                    <a:pt x="2053" y="13450"/>
                  </a:lnTo>
                  <a:lnTo>
                    <a:pt x="2019" y="13677"/>
                  </a:lnTo>
                  <a:lnTo>
                    <a:pt x="1976" y="13901"/>
                  </a:lnTo>
                  <a:lnTo>
                    <a:pt x="1926" y="14125"/>
                  </a:lnTo>
                  <a:lnTo>
                    <a:pt x="1867" y="14344"/>
                  </a:lnTo>
                  <a:lnTo>
                    <a:pt x="1803" y="14560"/>
                  </a:lnTo>
                  <a:lnTo>
                    <a:pt x="1734" y="14772"/>
                  </a:lnTo>
                  <a:lnTo>
                    <a:pt x="1659" y="14980"/>
                  </a:lnTo>
                  <a:lnTo>
                    <a:pt x="1581" y="15183"/>
                  </a:lnTo>
                  <a:lnTo>
                    <a:pt x="1499" y="15381"/>
                  </a:lnTo>
                  <a:lnTo>
                    <a:pt x="1413" y="15574"/>
                  </a:lnTo>
                  <a:lnTo>
                    <a:pt x="1327" y="15760"/>
                  </a:lnTo>
                  <a:lnTo>
                    <a:pt x="1238" y="15940"/>
                  </a:lnTo>
                  <a:lnTo>
                    <a:pt x="1149" y="16113"/>
                  </a:lnTo>
                  <a:lnTo>
                    <a:pt x="1061" y="16279"/>
                  </a:lnTo>
                  <a:lnTo>
                    <a:pt x="972" y="16438"/>
                  </a:lnTo>
                  <a:lnTo>
                    <a:pt x="885" y="16589"/>
                  </a:lnTo>
                  <a:lnTo>
                    <a:pt x="800" y="16731"/>
                  </a:lnTo>
                  <a:lnTo>
                    <a:pt x="718" y="16863"/>
                  </a:lnTo>
                  <a:lnTo>
                    <a:pt x="640" y="16987"/>
                  </a:lnTo>
                  <a:lnTo>
                    <a:pt x="565" y="17101"/>
                  </a:lnTo>
                  <a:lnTo>
                    <a:pt x="496" y="17204"/>
                  </a:lnTo>
                  <a:lnTo>
                    <a:pt x="432" y="17298"/>
                  </a:lnTo>
                  <a:lnTo>
                    <a:pt x="373" y="17379"/>
                  </a:lnTo>
                  <a:lnTo>
                    <a:pt x="323" y="17450"/>
                  </a:lnTo>
                  <a:lnTo>
                    <a:pt x="280" y="17508"/>
                  </a:lnTo>
                  <a:lnTo>
                    <a:pt x="219" y="17588"/>
                  </a:lnTo>
                  <a:lnTo>
                    <a:pt x="198" y="17616"/>
                  </a:ln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等线 Light" panose="020F0302020204030204"/>
                <a:ea typeface="+mn-ea"/>
                <a:cs typeface="+mn-cs"/>
              </a:endParaRPr>
            </a:p>
          </p:txBody>
        </p:sp>
        <p:sp>
          <p:nvSpPr>
            <p:cNvPr id="4" name="Rectangle: Rounded Corners 2">
              <a:extLst>
                <a:ext uri="{FF2B5EF4-FFF2-40B4-BE49-F238E27FC236}">
                  <a16:creationId xmlns:a16="http://schemas.microsoft.com/office/drawing/2014/main" id="{678CABA1-64AD-4D51-B8B6-4BF311EB3B19}"/>
                </a:ext>
              </a:extLst>
            </p:cNvPr>
            <p:cNvSpPr/>
            <p:nvPr/>
          </p:nvSpPr>
          <p:spPr>
            <a:xfrm>
              <a:off x="9027392" y="4088345"/>
              <a:ext cx="2193028" cy="984273"/>
            </a:xfrm>
            <a:prstGeom prst="roundRect">
              <a:avLst/>
            </a:prstGeom>
            <a:ln>
              <a:noFill/>
            </a:ln>
            <a:effectLst>
              <a:outerShdw blurRad="368300" dist="38100" dir="5400000" algn="t"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d-ID" sz="1600" b="0" i="0" u="none" strike="noStrike" kern="1200" cap="none" spc="0" normalizeH="0" baseline="0" noProof="0" dirty="0">
                  <a:ln>
                    <a:noFill/>
                  </a:ln>
                  <a:solidFill>
                    <a:srgbClr val="FFFFFF"/>
                  </a:solidFill>
                  <a:effectLst/>
                  <a:uLnTx/>
                  <a:uFillTx/>
                  <a:latin typeface="等线 Light" panose="020F0302020204030204"/>
                  <a:ea typeface="+mn-ea"/>
                  <a:cs typeface="+mn-cs"/>
                </a:rPr>
                <a:t>Professional</a:t>
              </a:r>
            </a:p>
          </p:txBody>
        </p:sp>
        <p:sp>
          <p:nvSpPr>
            <p:cNvPr id="5" name="Rectangle: Rounded Corners 3">
              <a:extLst>
                <a:ext uri="{FF2B5EF4-FFF2-40B4-BE49-F238E27FC236}">
                  <a16:creationId xmlns:a16="http://schemas.microsoft.com/office/drawing/2014/main" id="{482DC7B7-44EB-453B-AF83-4A5F36C2097D}"/>
                </a:ext>
              </a:extLst>
            </p:cNvPr>
            <p:cNvSpPr/>
            <p:nvPr/>
          </p:nvSpPr>
          <p:spPr>
            <a:xfrm>
              <a:off x="8583823" y="3524979"/>
              <a:ext cx="1427842" cy="796483"/>
            </a:xfrm>
            <a:prstGeom prst="roundRect">
              <a:avLst/>
            </a:prstGeom>
            <a:solidFill>
              <a:schemeClr val="accent2"/>
            </a:solidFill>
            <a:ln>
              <a:noFill/>
            </a:ln>
            <a:effectLst>
              <a:outerShdw blurRad="368300" dist="38100" dir="5400000" algn="t"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d-ID" sz="1400" b="0" i="0" u="none" strike="noStrike" kern="1200" cap="none" spc="0" normalizeH="0" baseline="0" noProof="0" dirty="0">
                  <a:ln>
                    <a:noFill/>
                  </a:ln>
                  <a:solidFill>
                    <a:srgbClr val="FFFFFF"/>
                  </a:solidFill>
                  <a:effectLst/>
                  <a:uLnTx/>
                  <a:uFillTx/>
                  <a:latin typeface="等线 Light" panose="020F0302020204030204"/>
                  <a:ea typeface="+mn-ea"/>
                  <a:cs typeface="+mn-cs"/>
                </a:rPr>
                <a:t>Innovative</a:t>
              </a:r>
            </a:p>
          </p:txBody>
        </p:sp>
        <p:sp>
          <p:nvSpPr>
            <p:cNvPr id="6" name="Rectangle: Rounded Corners 4">
              <a:extLst>
                <a:ext uri="{FF2B5EF4-FFF2-40B4-BE49-F238E27FC236}">
                  <a16:creationId xmlns:a16="http://schemas.microsoft.com/office/drawing/2014/main" id="{DCE1A7E7-4F36-4DAF-86BB-6994A6F27AEA}"/>
                </a:ext>
              </a:extLst>
            </p:cNvPr>
            <p:cNvSpPr/>
            <p:nvPr/>
          </p:nvSpPr>
          <p:spPr>
            <a:xfrm>
              <a:off x="9935657" y="3148750"/>
              <a:ext cx="1629661" cy="713764"/>
            </a:xfrm>
            <a:prstGeom prst="roundRect">
              <a:avLst/>
            </a:prstGeom>
            <a:solidFill>
              <a:schemeClr val="accent4"/>
            </a:solidFill>
            <a:ln>
              <a:noFill/>
            </a:ln>
            <a:effectLst>
              <a:outerShdw blurRad="368300" dist="38100" dir="5400000" algn="t"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d-ID" sz="1600" b="0" i="0" u="none" strike="noStrike" kern="1200" cap="none" spc="0" normalizeH="0" baseline="0" noProof="0" dirty="0">
                  <a:ln>
                    <a:noFill/>
                  </a:ln>
                  <a:solidFill>
                    <a:srgbClr val="FFFFFF"/>
                  </a:solidFill>
                  <a:effectLst/>
                  <a:uLnTx/>
                  <a:uFillTx/>
                  <a:latin typeface="等线 Light" panose="020F0302020204030204"/>
                  <a:ea typeface="+mn-ea"/>
                  <a:cs typeface="+mn-cs"/>
                </a:rPr>
                <a:t>Exclusive</a:t>
              </a:r>
            </a:p>
          </p:txBody>
        </p:sp>
        <p:sp>
          <p:nvSpPr>
            <p:cNvPr id="7" name="Rectangle: Rounded Corners 5">
              <a:extLst>
                <a:ext uri="{FF2B5EF4-FFF2-40B4-BE49-F238E27FC236}">
                  <a16:creationId xmlns:a16="http://schemas.microsoft.com/office/drawing/2014/main" id="{43494361-2699-4047-A206-4D72D926F881}"/>
                </a:ext>
              </a:extLst>
            </p:cNvPr>
            <p:cNvSpPr/>
            <p:nvPr/>
          </p:nvSpPr>
          <p:spPr>
            <a:xfrm>
              <a:off x="8868742" y="1797108"/>
              <a:ext cx="2562131" cy="1468853"/>
            </a:xfrm>
            <a:prstGeom prst="roundRect">
              <a:avLst/>
            </a:prstGeom>
            <a:solidFill>
              <a:schemeClr val="accent5"/>
            </a:solidFill>
            <a:ln>
              <a:noFill/>
            </a:ln>
            <a:effectLst>
              <a:outerShdw blurRad="368300" dist="38100" dir="5400000" algn="t"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d-ID" sz="2800" b="0" i="0" u="none" strike="noStrike" kern="1200" cap="none" spc="0" normalizeH="0" baseline="0" noProof="0" dirty="0">
                  <a:ln>
                    <a:noFill/>
                  </a:ln>
                  <a:solidFill>
                    <a:srgbClr val="FFFFFF"/>
                  </a:solidFill>
                  <a:effectLst/>
                  <a:uLnTx/>
                  <a:uFillTx/>
                  <a:latin typeface="等线 Light" panose="020F0302020204030204"/>
                  <a:ea typeface="+mn-ea"/>
                  <a:cs typeface="+mn-cs"/>
                </a:rPr>
                <a:t>Creative</a:t>
              </a:r>
            </a:p>
          </p:txBody>
        </p:sp>
        <p:sp>
          <p:nvSpPr>
            <p:cNvPr id="8" name="Rectangle: Rounded Corners 6">
              <a:extLst>
                <a:ext uri="{FF2B5EF4-FFF2-40B4-BE49-F238E27FC236}">
                  <a16:creationId xmlns:a16="http://schemas.microsoft.com/office/drawing/2014/main" id="{F515ABE3-5595-4C14-A1FA-9AAB05B0CB53}"/>
                </a:ext>
              </a:extLst>
            </p:cNvPr>
            <p:cNvSpPr/>
            <p:nvPr/>
          </p:nvSpPr>
          <p:spPr>
            <a:xfrm>
              <a:off x="7645418" y="2726876"/>
              <a:ext cx="1565985" cy="909807"/>
            </a:xfrm>
            <a:prstGeom prst="roundRect">
              <a:avLst/>
            </a:prstGeom>
            <a:solidFill>
              <a:schemeClr val="accent6"/>
            </a:solidFill>
            <a:ln>
              <a:noFill/>
            </a:ln>
            <a:effectLst>
              <a:outerShdw blurRad="368300" dist="38100" dir="5400000" algn="t"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d-ID" sz="2000" b="0" i="0" u="none" strike="noStrike" kern="1200" cap="none" spc="0" normalizeH="0" baseline="0" noProof="0" dirty="0">
                  <a:ln>
                    <a:noFill/>
                  </a:ln>
                  <a:solidFill>
                    <a:srgbClr val="FFFFFF"/>
                  </a:solidFill>
                  <a:effectLst/>
                  <a:uLnTx/>
                  <a:uFillTx/>
                  <a:latin typeface="等线 Light" panose="020F0302020204030204"/>
                  <a:ea typeface="+mn-ea"/>
                  <a:cs typeface="+mn-cs"/>
                </a:rPr>
                <a:t>Sales</a:t>
              </a:r>
            </a:p>
          </p:txBody>
        </p:sp>
        <p:sp>
          <p:nvSpPr>
            <p:cNvPr id="9" name="Rectangle: Rounded Corners 7">
              <a:extLst>
                <a:ext uri="{FF2B5EF4-FFF2-40B4-BE49-F238E27FC236}">
                  <a16:creationId xmlns:a16="http://schemas.microsoft.com/office/drawing/2014/main" id="{50586DA8-F669-4C68-AE8D-AC43185E01E0}"/>
                </a:ext>
              </a:extLst>
            </p:cNvPr>
            <p:cNvSpPr/>
            <p:nvPr/>
          </p:nvSpPr>
          <p:spPr>
            <a:xfrm>
              <a:off x="7129197" y="1058892"/>
              <a:ext cx="2155793" cy="1470199"/>
            </a:xfrm>
            <a:prstGeom prst="roundRect">
              <a:avLst/>
            </a:prstGeom>
            <a:solidFill>
              <a:schemeClr val="accent1"/>
            </a:solidFill>
            <a:ln>
              <a:noFill/>
            </a:ln>
            <a:effectLst>
              <a:outerShdw blurRad="368300" dist="38100" dir="5400000" algn="t"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d-ID" sz="2800" b="0" i="0" u="none" strike="noStrike" kern="1200" cap="none" spc="0" normalizeH="0" baseline="0" noProof="0" dirty="0">
                  <a:ln>
                    <a:noFill/>
                  </a:ln>
                  <a:solidFill>
                    <a:srgbClr val="FFFFFF"/>
                  </a:solidFill>
                  <a:effectLst/>
                  <a:uLnTx/>
                  <a:uFillTx/>
                  <a:latin typeface="等线 Light" panose="020F0302020204030204"/>
                  <a:ea typeface="+mn-ea"/>
                  <a:cs typeface="+mn-cs"/>
                </a:rPr>
                <a:t>Design</a:t>
              </a:r>
            </a:p>
          </p:txBody>
        </p:sp>
        <p:sp>
          <p:nvSpPr>
            <p:cNvPr id="10" name="Rectangle: Rounded Corners 8">
              <a:extLst>
                <a:ext uri="{FF2B5EF4-FFF2-40B4-BE49-F238E27FC236}">
                  <a16:creationId xmlns:a16="http://schemas.microsoft.com/office/drawing/2014/main" id="{286BAF39-8865-48A0-B385-D51C17DE0EF4}"/>
                </a:ext>
              </a:extLst>
            </p:cNvPr>
            <p:cNvSpPr/>
            <p:nvPr/>
          </p:nvSpPr>
          <p:spPr>
            <a:xfrm>
              <a:off x="6626613" y="2950393"/>
              <a:ext cx="1332868" cy="869062"/>
            </a:xfrm>
            <a:prstGeom prst="roundRect">
              <a:avLst/>
            </a:prstGeom>
            <a:solidFill>
              <a:schemeClr val="accent3"/>
            </a:solidFill>
            <a:ln>
              <a:noFill/>
            </a:ln>
            <a:effectLst>
              <a:outerShdw blurRad="368300" dist="38100" dir="5400000" algn="t"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d-ID" sz="1600" b="0" i="0" u="none" strike="noStrike" kern="1200" cap="none" spc="0" normalizeH="0" baseline="0" noProof="0" dirty="0">
                  <a:ln>
                    <a:noFill/>
                  </a:ln>
                  <a:solidFill>
                    <a:srgbClr val="FFFFFF"/>
                  </a:solidFill>
                  <a:effectLst/>
                  <a:uLnTx/>
                  <a:uFillTx/>
                  <a:latin typeface="等线 Light" panose="020F0302020204030204"/>
                  <a:ea typeface="+mn-ea"/>
                  <a:cs typeface="+mn-cs"/>
                </a:rPr>
                <a:t>Work Hard</a:t>
              </a:r>
            </a:p>
          </p:txBody>
        </p:sp>
        <p:sp>
          <p:nvSpPr>
            <p:cNvPr id="11" name="Rectangle: Rounded Corners 9">
              <a:extLst>
                <a:ext uri="{FF2B5EF4-FFF2-40B4-BE49-F238E27FC236}">
                  <a16:creationId xmlns:a16="http://schemas.microsoft.com/office/drawing/2014/main" id="{987DA8AA-AAC4-4975-88CD-4669DFA9BCFB}"/>
                </a:ext>
              </a:extLst>
            </p:cNvPr>
            <p:cNvSpPr/>
            <p:nvPr/>
          </p:nvSpPr>
          <p:spPr>
            <a:xfrm>
              <a:off x="5924563" y="1961732"/>
              <a:ext cx="1629661" cy="1107304"/>
            </a:xfrm>
            <a:prstGeom prst="roundRect">
              <a:avLst/>
            </a:prstGeom>
            <a:solidFill>
              <a:schemeClr val="accent2"/>
            </a:solidFill>
            <a:ln>
              <a:noFill/>
            </a:ln>
            <a:effectLst>
              <a:outerShdw blurRad="368300" dist="38100" dir="5400000" algn="t"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d-ID" sz="1600" b="0" i="0" u="none" strike="noStrike" kern="1200" cap="none" spc="0" normalizeH="0" baseline="0" noProof="0" dirty="0">
                  <a:ln>
                    <a:noFill/>
                  </a:ln>
                  <a:solidFill>
                    <a:srgbClr val="FFFFFF"/>
                  </a:solidFill>
                  <a:effectLst/>
                  <a:uLnTx/>
                  <a:uFillTx/>
                  <a:latin typeface="等线 Light" panose="020F0302020204030204"/>
                  <a:ea typeface="+mn-ea"/>
                  <a:cs typeface="+mn-cs"/>
                </a:rPr>
                <a:t>Business</a:t>
              </a:r>
            </a:p>
          </p:txBody>
        </p:sp>
        <p:sp>
          <p:nvSpPr>
            <p:cNvPr id="12" name="Rectangle: Rounded Corners 10">
              <a:extLst>
                <a:ext uri="{FF2B5EF4-FFF2-40B4-BE49-F238E27FC236}">
                  <a16:creationId xmlns:a16="http://schemas.microsoft.com/office/drawing/2014/main" id="{22EA631C-BA33-4EC0-8217-2BF5760646BC}"/>
                </a:ext>
              </a:extLst>
            </p:cNvPr>
            <p:cNvSpPr/>
            <p:nvPr/>
          </p:nvSpPr>
          <p:spPr>
            <a:xfrm>
              <a:off x="4703934" y="2765190"/>
              <a:ext cx="1924162" cy="984273"/>
            </a:xfrm>
            <a:prstGeom prst="roundRect">
              <a:avLst/>
            </a:prstGeom>
            <a:ln>
              <a:noFill/>
            </a:ln>
            <a:effectLst>
              <a:outerShdw blurRad="368300" dist="38100" dir="5400000" algn="t"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d-ID" sz="2400" b="0" i="0" u="none" strike="noStrike" kern="1200" cap="none" spc="0" normalizeH="0" baseline="0" noProof="0" dirty="0">
                  <a:ln>
                    <a:noFill/>
                  </a:ln>
                  <a:solidFill>
                    <a:srgbClr val="FFFFFF"/>
                  </a:solidFill>
                  <a:effectLst/>
                  <a:uLnTx/>
                  <a:uFillTx/>
                  <a:latin typeface="等线 Light" panose="020F0302020204030204"/>
                  <a:ea typeface="+mn-ea"/>
                  <a:cs typeface="+mn-cs"/>
                </a:rPr>
                <a:t>Target</a:t>
              </a:r>
            </a:p>
          </p:txBody>
        </p:sp>
        <p:sp>
          <p:nvSpPr>
            <p:cNvPr id="13" name="Rectangle: Rounded Corners 11">
              <a:extLst>
                <a:ext uri="{FF2B5EF4-FFF2-40B4-BE49-F238E27FC236}">
                  <a16:creationId xmlns:a16="http://schemas.microsoft.com/office/drawing/2014/main" id="{FFDCD01C-7699-4F01-B2AF-928792D3262C}"/>
                </a:ext>
              </a:extLst>
            </p:cNvPr>
            <p:cNvSpPr/>
            <p:nvPr/>
          </p:nvSpPr>
          <p:spPr>
            <a:xfrm>
              <a:off x="5500420" y="3612800"/>
              <a:ext cx="1708443" cy="1034578"/>
            </a:xfrm>
            <a:prstGeom prst="roundRect">
              <a:avLst/>
            </a:prstGeom>
            <a:solidFill>
              <a:schemeClr val="accent6"/>
            </a:solidFill>
            <a:ln>
              <a:noFill/>
            </a:ln>
            <a:effectLst>
              <a:outerShdw blurRad="368300" dist="38100" dir="5400000" algn="t"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d-ID" sz="1800" b="0" i="0" u="none" strike="noStrike" kern="1200" cap="none" spc="0" normalizeH="0" baseline="0" noProof="0" dirty="0">
                  <a:ln>
                    <a:noFill/>
                  </a:ln>
                  <a:solidFill>
                    <a:srgbClr val="FFFFFF"/>
                  </a:solidFill>
                  <a:effectLst/>
                  <a:uLnTx/>
                  <a:uFillTx/>
                  <a:latin typeface="等线 Light" panose="020F0302020204030204"/>
                  <a:ea typeface="+mn-ea"/>
                  <a:cs typeface="+mn-cs"/>
                </a:rPr>
                <a:t>Website</a:t>
              </a:r>
            </a:p>
          </p:txBody>
        </p:sp>
        <p:sp>
          <p:nvSpPr>
            <p:cNvPr id="14" name="Rectangle: Rounded Corners 12">
              <a:extLst>
                <a:ext uri="{FF2B5EF4-FFF2-40B4-BE49-F238E27FC236}">
                  <a16:creationId xmlns:a16="http://schemas.microsoft.com/office/drawing/2014/main" id="{13B56E6D-B299-4BE7-972D-8E963350B7F7}"/>
                </a:ext>
              </a:extLst>
            </p:cNvPr>
            <p:cNvSpPr/>
            <p:nvPr/>
          </p:nvSpPr>
          <p:spPr>
            <a:xfrm>
              <a:off x="7024989" y="3719719"/>
              <a:ext cx="1013682" cy="632311"/>
            </a:xfrm>
            <a:prstGeom prst="roundRect">
              <a:avLst/>
            </a:prstGeom>
            <a:solidFill>
              <a:schemeClr val="accent1"/>
            </a:solidFill>
            <a:ln>
              <a:noFill/>
            </a:ln>
            <a:effectLst>
              <a:outerShdw blurRad="368300" dist="38100" dir="5400000" algn="t"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d-ID" sz="1400" b="0" i="0" u="none" strike="noStrike" kern="1200" cap="none" spc="0" normalizeH="0" baseline="0" noProof="0" dirty="0">
                  <a:ln>
                    <a:noFill/>
                  </a:ln>
                  <a:solidFill>
                    <a:srgbClr val="FFFFFF"/>
                  </a:solidFill>
                  <a:effectLst/>
                  <a:uLnTx/>
                  <a:uFillTx/>
                  <a:latin typeface="等线 Light" panose="020F0302020204030204"/>
                  <a:ea typeface="+mn-ea"/>
                  <a:cs typeface="+mn-cs"/>
                </a:rPr>
                <a:t>Online</a:t>
              </a:r>
            </a:p>
          </p:txBody>
        </p:sp>
        <p:sp>
          <p:nvSpPr>
            <p:cNvPr id="15" name="Rectangle: Rounded Corners 13">
              <a:extLst>
                <a:ext uri="{FF2B5EF4-FFF2-40B4-BE49-F238E27FC236}">
                  <a16:creationId xmlns:a16="http://schemas.microsoft.com/office/drawing/2014/main" id="{328FAC6B-2809-47E3-8F7B-98A1E36DC3B1}"/>
                </a:ext>
              </a:extLst>
            </p:cNvPr>
            <p:cNvSpPr/>
            <p:nvPr/>
          </p:nvSpPr>
          <p:spPr>
            <a:xfrm>
              <a:off x="4595872" y="3636683"/>
              <a:ext cx="1013682" cy="632311"/>
            </a:xfrm>
            <a:prstGeom prst="roundRect">
              <a:avLst/>
            </a:prstGeom>
            <a:solidFill>
              <a:schemeClr val="accent3"/>
            </a:solidFill>
            <a:ln>
              <a:noFill/>
            </a:ln>
            <a:effectLst>
              <a:outerShdw blurRad="368300" dist="38100" dir="5400000" algn="t"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d-ID" sz="1400" b="0" i="0" u="none" strike="noStrike" kern="1200" cap="none" spc="0" normalizeH="0" baseline="0" noProof="0" dirty="0">
                  <a:ln>
                    <a:noFill/>
                  </a:ln>
                  <a:solidFill>
                    <a:srgbClr val="FFFFFF"/>
                  </a:solidFill>
                  <a:effectLst/>
                  <a:uLnTx/>
                  <a:uFillTx/>
                  <a:latin typeface="等线 Light" panose="020F0302020204030204"/>
                  <a:ea typeface="+mn-ea"/>
                  <a:cs typeface="+mn-cs"/>
                </a:rPr>
                <a:t>Concept</a:t>
              </a:r>
            </a:p>
          </p:txBody>
        </p:sp>
      </p:grpSp>
      <p:sp>
        <p:nvSpPr>
          <p:cNvPr id="16" name="TextBox 21">
            <a:extLst>
              <a:ext uri="{FF2B5EF4-FFF2-40B4-BE49-F238E27FC236}">
                <a16:creationId xmlns:a16="http://schemas.microsoft.com/office/drawing/2014/main" id="{97844560-1024-458D-A6D0-C2B5F72454C8}"/>
              </a:ext>
            </a:extLst>
          </p:cNvPr>
          <p:cNvSpPr txBox="1"/>
          <p:nvPr/>
        </p:nvSpPr>
        <p:spPr>
          <a:xfrm>
            <a:off x="942974" y="1667479"/>
            <a:ext cx="4619626" cy="132343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0" b="1" i="0" u="none" strike="noStrike" kern="1200" cap="none" spc="0" normalizeH="0" baseline="0" noProof="0" dirty="0">
                <a:ln>
                  <a:noFill/>
                </a:ln>
                <a:solidFill>
                  <a:srgbClr val="000000">
                    <a:lumMod val="85000"/>
                    <a:lumOff val="15000"/>
                  </a:srgbClr>
                </a:solidFill>
                <a:effectLst/>
                <a:uLnTx/>
                <a:uFillTx/>
                <a:latin typeface="等线 Light" panose="020F0302020204030204"/>
                <a:ea typeface="+mn-ea"/>
                <a:cs typeface="Arial" panose="020B0604020202020204" pitchFamily="34" charset="0"/>
              </a:rPr>
              <a:t>Your Title </a:t>
            </a:r>
            <a:r>
              <a:rPr kumimoji="0" lang="en-US" sz="4000" b="1" i="0" u="none" strike="noStrike" kern="1200" cap="none" spc="0" normalizeH="0" baseline="0" noProof="0">
                <a:ln>
                  <a:noFill/>
                </a:ln>
                <a:solidFill>
                  <a:srgbClr val="000000">
                    <a:lumMod val="85000"/>
                    <a:lumOff val="15000"/>
                  </a:srgbClr>
                </a:solidFill>
                <a:effectLst/>
                <a:uLnTx/>
                <a:uFillTx/>
                <a:latin typeface="等线 Light" panose="020F0302020204030204"/>
                <a:ea typeface="+mn-ea"/>
                <a:cs typeface="Arial" panose="020B0604020202020204" pitchFamily="34" charset="0"/>
              </a:rPr>
              <a:t>Tex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0" b="1" i="0" u="none" strike="noStrike" kern="1200" cap="none" spc="0" normalizeH="0" baseline="0" noProof="0">
                <a:ln>
                  <a:noFill/>
                </a:ln>
                <a:solidFill>
                  <a:srgbClr val="000000">
                    <a:lumMod val="85000"/>
                    <a:lumOff val="15000"/>
                  </a:srgbClr>
                </a:solidFill>
                <a:effectLst/>
                <a:uLnTx/>
                <a:uFillTx/>
                <a:latin typeface="等线 Light" panose="020F0302020204030204"/>
                <a:ea typeface="+mn-ea"/>
                <a:cs typeface="Arial" panose="020B0604020202020204" pitchFamily="34" charset="0"/>
              </a:rPr>
              <a:t>Goes </a:t>
            </a:r>
            <a:r>
              <a:rPr kumimoji="0" lang="en-US" sz="4000" b="1" i="0" u="none" strike="noStrike" kern="1200" cap="none" spc="0" normalizeH="0" baseline="0" noProof="0" dirty="0">
                <a:ln>
                  <a:noFill/>
                </a:ln>
                <a:solidFill>
                  <a:srgbClr val="000000">
                    <a:lumMod val="85000"/>
                    <a:lumOff val="15000"/>
                  </a:srgbClr>
                </a:solidFill>
                <a:effectLst/>
                <a:uLnTx/>
                <a:uFillTx/>
                <a:latin typeface="等线 Light" panose="020F0302020204030204"/>
                <a:ea typeface="+mn-ea"/>
                <a:cs typeface="Arial" panose="020B0604020202020204" pitchFamily="34" charset="0"/>
              </a:rPr>
              <a:t>Here</a:t>
            </a:r>
          </a:p>
        </p:txBody>
      </p:sp>
      <p:sp>
        <p:nvSpPr>
          <p:cNvPr id="17" name="TextBox 22">
            <a:extLst>
              <a:ext uri="{FF2B5EF4-FFF2-40B4-BE49-F238E27FC236}">
                <a16:creationId xmlns:a16="http://schemas.microsoft.com/office/drawing/2014/main" id="{CC520B91-D67D-4A5E-98D8-FD12F754AE17}"/>
              </a:ext>
            </a:extLst>
          </p:cNvPr>
          <p:cNvSpPr txBox="1"/>
          <p:nvPr/>
        </p:nvSpPr>
        <p:spPr>
          <a:xfrm>
            <a:off x="990600" y="3102565"/>
            <a:ext cx="3096223" cy="903389"/>
          </a:xfrm>
          <a:prstGeom prst="rect">
            <a:avLst/>
          </a:prstGeom>
          <a:noFill/>
        </p:spPr>
        <p:txBody>
          <a:bodyPr wrap="square" rtlCol="0">
            <a:spAutoFit/>
          </a:bodyPr>
          <a:lstStyle/>
          <a:p>
            <a:pPr marL="0" marR="0" lvl="0" indent="0" algn="l" defTabSz="914400" rtl="0" eaLnBrk="1" fontAlgn="auto" latinLnBrk="0" hangingPunct="1">
              <a:lnSpc>
                <a:spcPct val="13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000000">
                    <a:lumMod val="65000"/>
                    <a:lumOff val="35000"/>
                  </a:srgbClr>
                </a:solidFill>
                <a:effectLst/>
                <a:uLnTx/>
                <a:uFillTx/>
                <a:latin typeface="等线" panose="020F0502020204030204"/>
                <a:ea typeface="Open Sans" panose="020B0606030504020204" pitchFamily="34" charset="0"/>
                <a:cs typeface="Segoe UI" panose="020B0502040204020203" pitchFamily="34" charset="0"/>
              </a:rPr>
              <a:t>Leverage agile frameworks to provide a robust synopsis for high level overviews.</a:t>
            </a:r>
          </a:p>
        </p:txBody>
      </p:sp>
    </p:spTree>
    <p:extLst>
      <p:ext uri="{BB962C8B-B14F-4D97-AF65-F5344CB8AC3E}">
        <p14:creationId xmlns:p14="http://schemas.microsoft.com/office/powerpoint/2010/main" val="1128099545"/>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8" presetClass="entr" presetSubtype="3" fill="hold" grpId="0" nodeType="with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strips(upRight)">
                                      <p:cBhvr>
                                        <p:cTn id="7" dur="500"/>
                                        <p:tgtEl>
                                          <p:spTgt spid="16"/>
                                        </p:tgtEl>
                                      </p:cBhvr>
                                    </p:animEffect>
                                  </p:childTnLst>
                                </p:cTn>
                              </p:par>
                              <p:par>
                                <p:cTn id="8" presetID="6" presetClass="emph" presetSubtype="0" accel="52000" decel="48000" autoRev="1" fill="hold" grpId="1" nodeType="withEffect">
                                  <p:stCondLst>
                                    <p:cond delay="0"/>
                                  </p:stCondLst>
                                  <p:childTnLst>
                                    <p:animScale>
                                      <p:cBhvr>
                                        <p:cTn id="9" dur="350" fill="hold"/>
                                        <p:tgtEl>
                                          <p:spTgt spid="16"/>
                                        </p:tgtEl>
                                      </p:cBhvr>
                                      <p:by x="110000" y="110000"/>
                                    </p:animScale>
                                  </p:childTnLst>
                                </p:cTn>
                              </p:par>
                              <p:par>
                                <p:cTn id="10" presetID="10" presetClass="entr" presetSubtype="0" fill="hold" grpId="0" nodeType="withEffect">
                                  <p:stCondLst>
                                    <p:cond delay="500"/>
                                  </p:stCondLst>
                                  <p:childTnLst>
                                    <p:set>
                                      <p:cBhvr>
                                        <p:cTn id="11" dur="1" fill="hold">
                                          <p:stCondLst>
                                            <p:cond delay="0"/>
                                          </p:stCondLst>
                                        </p:cTn>
                                        <p:tgtEl>
                                          <p:spTgt spid="17"/>
                                        </p:tgtEl>
                                        <p:attrNameLst>
                                          <p:attrName>style.visibility</p:attrName>
                                        </p:attrNameLst>
                                      </p:cBhvr>
                                      <p:to>
                                        <p:strVal val="visible"/>
                                      </p:to>
                                    </p:set>
                                    <p:animEffect transition="in" filter="fade">
                                      <p:cBhvr>
                                        <p:cTn id="12" dur="750"/>
                                        <p:tgtEl>
                                          <p:spTgt spid="17"/>
                                        </p:tgtEl>
                                      </p:cBhvr>
                                    </p:animEffect>
                                  </p:childTnLst>
                                </p:cTn>
                              </p:par>
                              <p:par>
                                <p:cTn id="13" presetID="18" presetClass="entr" presetSubtype="3" fill="hold" nodeType="withEffect">
                                  <p:stCondLst>
                                    <p:cond delay="500"/>
                                  </p:stCondLst>
                                  <p:childTnLst>
                                    <p:set>
                                      <p:cBhvr>
                                        <p:cTn id="14" dur="1" fill="hold">
                                          <p:stCondLst>
                                            <p:cond delay="0"/>
                                          </p:stCondLst>
                                        </p:cTn>
                                        <p:tgtEl>
                                          <p:spTgt spid="2"/>
                                        </p:tgtEl>
                                        <p:attrNameLst>
                                          <p:attrName>style.visibility</p:attrName>
                                        </p:attrNameLst>
                                      </p:cBhvr>
                                      <p:to>
                                        <p:strVal val="visible"/>
                                      </p:to>
                                    </p:set>
                                    <p:animEffect transition="in" filter="strips(upRight)">
                                      <p:cBhvr>
                                        <p:cTn id="15" dur="500"/>
                                        <p:tgtEl>
                                          <p:spTgt spid="2"/>
                                        </p:tgtEl>
                                      </p:cBhvr>
                                    </p:animEffect>
                                  </p:childTnLst>
                                </p:cTn>
                              </p:par>
                              <p:par>
                                <p:cTn id="16" presetID="6" presetClass="emph" presetSubtype="0" accel="52000" decel="48000" autoRev="1" fill="hold" nodeType="withEffect">
                                  <p:stCondLst>
                                    <p:cond delay="500"/>
                                  </p:stCondLst>
                                  <p:childTnLst>
                                    <p:animScale>
                                      <p:cBhvr>
                                        <p:cTn id="17" dur="350" fill="hold"/>
                                        <p:tgtEl>
                                          <p:spTgt spid="2"/>
                                        </p:tgtEl>
                                      </p:cBhvr>
                                      <p:by x="110000" y="11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P spid="16" grpId="1"/>
      <p:bldP spid="17" grpId="0"/>
    </p:bld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任意多边形: 形状 3">
            <a:extLst>
              <a:ext uri="{FF2B5EF4-FFF2-40B4-BE49-F238E27FC236}">
                <a16:creationId xmlns:a16="http://schemas.microsoft.com/office/drawing/2014/main" id="{577148E2-F04D-4DA4-B86E-A62169DF197C}"/>
              </a:ext>
            </a:extLst>
          </p:cNvPr>
          <p:cNvSpPr/>
          <p:nvPr/>
        </p:nvSpPr>
        <p:spPr>
          <a:xfrm>
            <a:off x="0" y="0"/>
            <a:ext cx="6096000" cy="6858000"/>
          </a:xfrm>
          <a:custGeom>
            <a:avLst/>
            <a:gdLst>
              <a:gd name="connsiteX0" fmla="*/ 0 w 6096000"/>
              <a:gd name="connsiteY0" fmla="*/ 0 h 6858000"/>
              <a:gd name="connsiteX1" fmla="*/ 4479562 w 6096000"/>
              <a:gd name="connsiteY1" fmla="*/ 0 h 6858000"/>
              <a:gd name="connsiteX2" fmla="*/ 4639718 w 6096000"/>
              <a:gd name="connsiteY2" fmla="*/ 138730 h 6858000"/>
              <a:gd name="connsiteX3" fmla="*/ 6096000 w 6096000"/>
              <a:gd name="connsiteY3" fmla="*/ 3429000 h 6858000"/>
              <a:gd name="connsiteX4" fmla="*/ 4639718 w 6096000"/>
              <a:gd name="connsiteY4" fmla="*/ 6719270 h 6858000"/>
              <a:gd name="connsiteX5" fmla="*/ 4479563 w 6096000"/>
              <a:gd name="connsiteY5" fmla="*/ 6858000 h 6858000"/>
              <a:gd name="connsiteX6" fmla="*/ 0 w 6096000"/>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96000" h="6858000">
                <a:moveTo>
                  <a:pt x="0" y="0"/>
                </a:moveTo>
                <a:lnTo>
                  <a:pt x="4479562" y="0"/>
                </a:lnTo>
                <a:lnTo>
                  <a:pt x="4639718" y="138730"/>
                </a:lnTo>
                <a:cubicBezTo>
                  <a:pt x="5534343" y="951845"/>
                  <a:pt x="6096000" y="2124831"/>
                  <a:pt x="6096000" y="3429000"/>
                </a:cubicBezTo>
                <a:cubicBezTo>
                  <a:pt x="6096000" y="4733169"/>
                  <a:pt x="5534343" y="5906156"/>
                  <a:pt x="4639718" y="6719270"/>
                </a:cubicBezTo>
                <a:lnTo>
                  <a:pt x="4479563" y="6858000"/>
                </a:lnTo>
                <a:lnTo>
                  <a:pt x="0" y="68580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l"/>
            <a:endParaRPr lang="zh-CN" altLang="en-US" sz="1600">
              <a:solidFill>
                <a:schemeClr val="bg1"/>
              </a:solidFill>
              <a:latin typeface="+mj-ea"/>
              <a:ea typeface="+mj-ea"/>
            </a:endParaRPr>
          </a:p>
        </p:txBody>
      </p:sp>
      <p:sp>
        <p:nvSpPr>
          <p:cNvPr id="5" name="文本框 4">
            <a:extLst>
              <a:ext uri="{FF2B5EF4-FFF2-40B4-BE49-F238E27FC236}">
                <a16:creationId xmlns:a16="http://schemas.microsoft.com/office/drawing/2014/main" id="{9BC34F4D-A716-4119-95A0-8500D86ED04C}"/>
              </a:ext>
            </a:extLst>
          </p:cNvPr>
          <p:cNvSpPr txBox="1"/>
          <p:nvPr/>
        </p:nvSpPr>
        <p:spPr>
          <a:xfrm>
            <a:off x="1401787" y="2252042"/>
            <a:ext cx="2949525" cy="1769715"/>
          </a:xfrm>
          <a:prstGeom prst="rect">
            <a:avLst/>
          </a:prstGeom>
          <a:noFill/>
        </p:spPr>
        <p:txBody>
          <a:bodyPr wrap="none" lIns="0" tIns="0" rIns="0" bIns="0" rtlCol="0" anchor="t">
            <a:spAutoFit/>
          </a:bodyPr>
          <a:lstStyle/>
          <a:p>
            <a:pPr algn="l"/>
            <a:r>
              <a:rPr lang="zh-CN" altLang="en-US" sz="11500" dirty="0">
                <a:solidFill>
                  <a:schemeClr val="bg1"/>
                </a:solidFill>
                <a:latin typeface="+mj-ea"/>
                <a:ea typeface="+mj-ea"/>
              </a:rPr>
              <a:t>目录</a:t>
            </a:r>
          </a:p>
        </p:txBody>
      </p:sp>
      <p:sp>
        <p:nvSpPr>
          <p:cNvPr id="6" name="文本框 5">
            <a:extLst>
              <a:ext uri="{FF2B5EF4-FFF2-40B4-BE49-F238E27FC236}">
                <a16:creationId xmlns:a16="http://schemas.microsoft.com/office/drawing/2014/main" id="{8285EFBD-5784-4A06-B306-D683EA284F4F}"/>
              </a:ext>
            </a:extLst>
          </p:cNvPr>
          <p:cNvSpPr txBox="1"/>
          <p:nvPr/>
        </p:nvSpPr>
        <p:spPr>
          <a:xfrm>
            <a:off x="1585683" y="3911073"/>
            <a:ext cx="2699839" cy="430887"/>
          </a:xfrm>
          <a:prstGeom prst="rect">
            <a:avLst/>
          </a:prstGeom>
          <a:noFill/>
        </p:spPr>
        <p:txBody>
          <a:bodyPr wrap="square" lIns="0" tIns="0" rIns="0" bIns="0" rtlCol="0" anchor="t">
            <a:spAutoFit/>
          </a:bodyPr>
          <a:lstStyle/>
          <a:p>
            <a:pPr algn="dist"/>
            <a:r>
              <a:rPr lang="en-US" altLang="zh-CN" sz="2800" dirty="0">
                <a:solidFill>
                  <a:schemeClr val="bg1"/>
                </a:solidFill>
              </a:rPr>
              <a:t>CONTENTS</a:t>
            </a:r>
            <a:endParaRPr lang="zh-CN" altLang="en-US" sz="2800" dirty="0">
              <a:solidFill>
                <a:schemeClr val="bg1"/>
              </a:solidFill>
            </a:endParaRPr>
          </a:p>
        </p:txBody>
      </p:sp>
      <p:sp>
        <p:nvSpPr>
          <p:cNvPr id="8" name="任意多边形: 形状 7">
            <a:extLst>
              <a:ext uri="{FF2B5EF4-FFF2-40B4-BE49-F238E27FC236}">
                <a16:creationId xmlns:a16="http://schemas.microsoft.com/office/drawing/2014/main" id="{3DF18C9A-44B2-4498-8099-C772F20A6FA3}"/>
              </a:ext>
            </a:extLst>
          </p:cNvPr>
          <p:cNvSpPr/>
          <p:nvPr/>
        </p:nvSpPr>
        <p:spPr>
          <a:xfrm>
            <a:off x="4755705" y="0"/>
            <a:ext cx="1638491" cy="6858000"/>
          </a:xfrm>
          <a:custGeom>
            <a:avLst/>
            <a:gdLst>
              <a:gd name="connsiteX0" fmla="*/ 0 w 5794376"/>
              <a:gd name="connsiteY0" fmla="*/ 0 h 6858000"/>
              <a:gd name="connsiteX1" fmla="*/ 4214742 w 5794376"/>
              <a:gd name="connsiteY1" fmla="*/ 0 h 6858000"/>
              <a:gd name="connsiteX2" fmla="*/ 4315210 w 5794376"/>
              <a:gd name="connsiteY2" fmla="*/ 87026 h 6858000"/>
              <a:gd name="connsiteX3" fmla="*/ 5794376 w 5794376"/>
              <a:gd name="connsiteY3" fmla="*/ 3429000 h 6858000"/>
              <a:gd name="connsiteX4" fmla="*/ 4315210 w 5794376"/>
              <a:gd name="connsiteY4" fmla="*/ 6770974 h 6858000"/>
              <a:gd name="connsiteX5" fmla="*/ 4214742 w 5794376"/>
              <a:gd name="connsiteY5" fmla="*/ 6858000 h 6858000"/>
              <a:gd name="connsiteX6" fmla="*/ 0 w 5794376"/>
              <a:gd name="connsiteY6" fmla="*/ 6858000 h 6858000"/>
              <a:gd name="connsiteX0" fmla="*/ 0 w 5794376"/>
              <a:gd name="connsiteY0" fmla="*/ 0 h 6858000"/>
              <a:gd name="connsiteX1" fmla="*/ 4214742 w 5794376"/>
              <a:gd name="connsiteY1" fmla="*/ 0 h 6858000"/>
              <a:gd name="connsiteX2" fmla="*/ 4315210 w 5794376"/>
              <a:gd name="connsiteY2" fmla="*/ 87026 h 6858000"/>
              <a:gd name="connsiteX3" fmla="*/ 5794376 w 5794376"/>
              <a:gd name="connsiteY3" fmla="*/ 3429000 h 6858000"/>
              <a:gd name="connsiteX4" fmla="*/ 4315210 w 5794376"/>
              <a:gd name="connsiteY4" fmla="*/ 6770974 h 6858000"/>
              <a:gd name="connsiteX5" fmla="*/ 4214742 w 5794376"/>
              <a:gd name="connsiteY5" fmla="*/ 6858000 h 6858000"/>
              <a:gd name="connsiteX6" fmla="*/ 0 w 5794376"/>
              <a:gd name="connsiteY6" fmla="*/ 6858000 h 6858000"/>
              <a:gd name="connsiteX7" fmla="*/ 88155 w 5794376"/>
              <a:gd name="connsiteY7" fmla="*/ 91440 h 6858000"/>
              <a:gd name="connsiteX0" fmla="*/ 0 w 5794376"/>
              <a:gd name="connsiteY0" fmla="*/ 0 h 6858000"/>
              <a:gd name="connsiteX1" fmla="*/ 4214742 w 5794376"/>
              <a:gd name="connsiteY1" fmla="*/ 0 h 6858000"/>
              <a:gd name="connsiteX2" fmla="*/ 4315210 w 5794376"/>
              <a:gd name="connsiteY2" fmla="*/ 87026 h 6858000"/>
              <a:gd name="connsiteX3" fmla="*/ 5794376 w 5794376"/>
              <a:gd name="connsiteY3" fmla="*/ 3429000 h 6858000"/>
              <a:gd name="connsiteX4" fmla="*/ 4315210 w 5794376"/>
              <a:gd name="connsiteY4" fmla="*/ 6770974 h 6858000"/>
              <a:gd name="connsiteX5" fmla="*/ 4214742 w 5794376"/>
              <a:gd name="connsiteY5" fmla="*/ 6858000 h 6858000"/>
              <a:gd name="connsiteX6" fmla="*/ 0 w 5794376"/>
              <a:gd name="connsiteY6" fmla="*/ 6858000 h 6858000"/>
              <a:gd name="connsiteX0" fmla="*/ 4214742 w 5794376"/>
              <a:gd name="connsiteY0" fmla="*/ 0 h 6858000"/>
              <a:gd name="connsiteX1" fmla="*/ 4315210 w 5794376"/>
              <a:gd name="connsiteY1" fmla="*/ 87026 h 6858000"/>
              <a:gd name="connsiteX2" fmla="*/ 5794376 w 5794376"/>
              <a:gd name="connsiteY2" fmla="*/ 3429000 h 6858000"/>
              <a:gd name="connsiteX3" fmla="*/ 4315210 w 5794376"/>
              <a:gd name="connsiteY3" fmla="*/ 6770974 h 6858000"/>
              <a:gd name="connsiteX4" fmla="*/ 4214742 w 5794376"/>
              <a:gd name="connsiteY4" fmla="*/ 6858000 h 6858000"/>
              <a:gd name="connsiteX5" fmla="*/ 0 w 5794376"/>
              <a:gd name="connsiteY5" fmla="*/ 6858000 h 6858000"/>
              <a:gd name="connsiteX0" fmla="*/ 0 w 1579634"/>
              <a:gd name="connsiteY0" fmla="*/ 0 h 6858000"/>
              <a:gd name="connsiteX1" fmla="*/ 100468 w 1579634"/>
              <a:gd name="connsiteY1" fmla="*/ 87026 h 6858000"/>
              <a:gd name="connsiteX2" fmla="*/ 1579634 w 1579634"/>
              <a:gd name="connsiteY2" fmla="*/ 3429000 h 6858000"/>
              <a:gd name="connsiteX3" fmla="*/ 100468 w 1579634"/>
              <a:gd name="connsiteY3" fmla="*/ 6770974 h 6858000"/>
              <a:gd name="connsiteX4" fmla="*/ 0 w 1579634"/>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9634" h="6858000">
                <a:moveTo>
                  <a:pt x="0" y="0"/>
                </a:moveTo>
                <a:lnTo>
                  <a:pt x="100468" y="87026"/>
                </a:lnTo>
                <a:cubicBezTo>
                  <a:pt x="1009150" y="912918"/>
                  <a:pt x="1579634" y="2104337"/>
                  <a:pt x="1579634" y="3429000"/>
                </a:cubicBezTo>
                <a:cubicBezTo>
                  <a:pt x="1579634" y="4753663"/>
                  <a:pt x="1009150" y="5945082"/>
                  <a:pt x="100468" y="6770974"/>
                </a:cubicBezTo>
                <a:lnTo>
                  <a:pt x="0" y="6858000"/>
                </a:lnTo>
              </a:path>
            </a:pathLst>
          </a:custGeom>
          <a:noFill/>
          <a:ln w="28575" cap="flat" cmpd="sng" algn="ctr">
            <a:solidFill>
              <a:schemeClr val="accent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p>
        </p:txBody>
      </p:sp>
      <p:sp>
        <p:nvSpPr>
          <p:cNvPr id="9" name="椭圆 8">
            <a:extLst>
              <a:ext uri="{FF2B5EF4-FFF2-40B4-BE49-F238E27FC236}">
                <a16:creationId xmlns:a16="http://schemas.microsoft.com/office/drawing/2014/main" id="{AF14178D-3D71-4F06-BC54-C0BA659D0BCD}"/>
              </a:ext>
            </a:extLst>
          </p:cNvPr>
          <p:cNvSpPr/>
          <p:nvPr/>
        </p:nvSpPr>
        <p:spPr>
          <a:xfrm>
            <a:off x="5751349" y="1224217"/>
            <a:ext cx="224795" cy="224795"/>
          </a:xfrm>
          <a:prstGeom prst="ellipse">
            <a:avLst/>
          </a:prstGeom>
          <a:solidFill>
            <a:schemeClr val="bg1"/>
          </a:solidFill>
          <a:ln w="28575" cap="flat" cmpd="sng" algn="ctr">
            <a:solidFill>
              <a:schemeClr val="accent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p>
        </p:txBody>
      </p:sp>
      <p:sp>
        <p:nvSpPr>
          <p:cNvPr id="10" name="椭圆 9">
            <a:extLst>
              <a:ext uri="{FF2B5EF4-FFF2-40B4-BE49-F238E27FC236}">
                <a16:creationId xmlns:a16="http://schemas.microsoft.com/office/drawing/2014/main" id="{1BDB263C-E1F4-49BD-A017-4F0D06965E2C}"/>
              </a:ext>
            </a:extLst>
          </p:cNvPr>
          <p:cNvSpPr/>
          <p:nvPr/>
        </p:nvSpPr>
        <p:spPr>
          <a:xfrm>
            <a:off x="6250198" y="2619141"/>
            <a:ext cx="224795" cy="224795"/>
          </a:xfrm>
          <a:prstGeom prst="ellipse">
            <a:avLst/>
          </a:prstGeom>
          <a:solidFill>
            <a:schemeClr val="bg1"/>
          </a:solidFill>
          <a:ln w="28575" cap="flat" cmpd="sng" algn="ctr">
            <a:solidFill>
              <a:schemeClr val="accent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p>
        </p:txBody>
      </p:sp>
      <p:sp>
        <p:nvSpPr>
          <p:cNvPr id="11" name="椭圆 10">
            <a:extLst>
              <a:ext uri="{FF2B5EF4-FFF2-40B4-BE49-F238E27FC236}">
                <a16:creationId xmlns:a16="http://schemas.microsoft.com/office/drawing/2014/main" id="{5A8D785A-C729-4C95-B7EE-037E3E696EC3}"/>
              </a:ext>
            </a:extLst>
          </p:cNvPr>
          <p:cNvSpPr/>
          <p:nvPr/>
        </p:nvSpPr>
        <p:spPr>
          <a:xfrm>
            <a:off x="6250198" y="4014065"/>
            <a:ext cx="224795" cy="224795"/>
          </a:xfrm>
          <a:prstGeom prst="ellipse">
            <a:avLst/>
          </a:prstGeom>
          <a:solidFill>
            <a:schemeClr val="bg1"/>
          </a:solidFill>
          <a:ln w="28575" cap="flat" cmpd="sng" algn="ctr">
            <a:solidFill>
              <a:schemeClr val="accent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p>
        </p:txBody>
      </p:sp>
      <p:sp>
        <p:nvSpPr>
          <p:cNvPr id="12" name="椭圆 11">
            <a:extLst>
              <a:ext uri="{FF2B5EF4-FFF2-40B4-BE49-F238E27FC236}">
                <a16:creationId xmlns:a16="http://schemas.microsoft.com/office/drawing/2014/main" id="{DFE1B024-4C66-4C09-B8CD-86E5961E8421}"/>
              </a:ext>
            </a:extLst>
          </p:cNvPr>
          <p:cNvSpPr/>
          <p:nvPr/>
        </p:nvSpPr>
        <p:spPr>
          <a:xfrm>
            <a:off x="5776118" y="5408988"/>
            <a:ext cx="224795" cy="224795"/>
          </a:xfrm>
          <a:prstGeom prst="ellipse">
            <a:avLst/>
          </a:prstGeom>
          <a:solidFill>
            <a:schemeClr val="bg1"/>
          </a:solidFill>
          <a:ln w="28575" cap="flat" cmpd="sng" algn="ctr">
            <a:solidFill>
              <a:schemeClr val="accent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p>
        </p:txBody>
      </p:sp>
      <p:sp>
        <p:nvSpPr>
          <p:cNvPr id="14" name="文本框 13">
            <a:extLst>
              <a:ext uri="{FF2B5EF4-FFF2-40B4-BE49-F238E27FC236}">
                <a16:creationId xmlns:a16="http://schemas.microsoft.com/office/drawing/2014/main" id="{0110B208-F3A6-45BC-92EE-911B857D88AA}"/>
              </a:ext>
            </a:extLst>
          </p:cNvPr>
          <p:cNvSpPr txBox="1"/>
          <p:nvPr/>
        </p:nvSpPr>
        <p:spPr>
          <a:xfrm>
            <a:off x="6250198" y="1110458"/>
            <a:ext cx="3385542" cy="430887"/>
          </a:xfrm>
          <a:prstGeom prst="rect">
            <a:avLst/>
          </a:prstGeom>
          <a:noFill/>
        </p:spPr>
        <p:txBody>
          <a:bodyPr wrap="none" lIns="0" tIns="0" rIns="0" bIns="0" rtlCol="0" anchor="t">
            <a:spAutoFit/>
          </a:bodyPr>
          <a:lstStyle/>
          <a:p>
            <a:pPr algn="l"/>
            <a:r>
              <a:rPr lang="en-US" altLang="zh-CN" sz="2800" dirty="0">
                <a:solidFill>
                  <a:schemeClr val="accent1"/>
                </a:solidFill>
                <a:latin typeface="+mj-ea"/>
                <a:ea typeface="+mj-ea"/>
              </a:rPr>
              <a:t>01 </a:t>
            </a:r>
            <a:r>
              <a:rPr lang="zh-CN" altLang="en-US" sz="2800" dirty="0">
                <a:solidFill>
                  <a:schemeClr val="accent1"/>
                </a:solidFill>
                <a:latin typeface="+mj-ea"/>
                <a:ea typeface="+mj-ea"/>
              </a:rPr>
              <a:t>输入你的目录标题</a:t>
            </a:r>
          </a:p>
        </p:txBody>
      </p:sp>
      <p:sp>
        <p:nvSpPr>
          <p:cNvPr id="15" name="文本框 14">
            <a:extLst>
              <a:ext uri="{FF2B5EF4-FFF2-40B4-BE49-F238E27FC236}">
                <a16:creationId xmlns:a16="http://schemas.microsoft.com/office/drawing/2014/main" id="{4D2DECDA-516E-4119-9DB9-FA97CCC9019F}"/>
              </a:ext>
            </a:extLst>
          </p:cNvPr>
          <p:cNvSpPr txBox="1"/>
          <p:nvPr/>
        </p:nvSpPr>
        <p:spPr>
          <a:xfrm>
            <a:off x="6716293" y="2562261"/>
            <a:ext cx="3449662" cy="430887"/>
          </a:xfrm>
          <a:prstGeom prst="rect">
            <a:avLst/>
          </a:prstGeom>
          <a:noFill/>
        </p:spPr>
        <p:txBody>
          <a:bodyPr wrap="none" lIns="0" tIns="0" rIns="0" bIns="0" rtlCol="0" anchor="t">
            <a:spAutoFit/>
          </a:bodyPr>
          <a:lstStyle/>
          <a:p>
            <a:pPr algn="l"/>
            <a:r>
              <a:rPr lang="en-US" altLang="zh-CN" sz="2800" dirty="0">
                <a:solidFill>
                  <a:schemeClr val="accent1"/>
                </a:solidFill>
                <a:latin typeface="+mj-ea"/>
                <a:ea typeface="+mj-ea"/>
              </a:rPr>
              <a:t>02 </a:t>
            </a:r>
            <a:r>
              <a:rPr lang="zh-CN" altLang="en-US" sz="2800" dirty="0">
                <a:solidFill>
                  <a:schemeClr val="accent1"/>
                </a:solidFill>
                <a:latin typeface="+mj-ea"/>
                <a:ea typeface="+mj-ea"/>
              </a:rPr>
              <a:t>输入你的目录标题</a:t>
            </a:r>
          </a:p>
        </p:txBody>
      </p:sp>
      <p:sp>
        <p:nvSpPr>
          <p:cNvPr id="16" name="文本框 15">
            <a:extLst>
              <a:ext uri="{FF2B5EF4-FFF2-40B4-BE49-F238E27FC236}">
                <a16:creationId xmlns:a16="http://schemas.microsoft.com/office/drawing/2014/main" id="{A7A9D398-CF86-4AB9-A656-7C24AD430FB5}"/>
              </a:ext>
            </a:extLst>
          </p:cNvPr>
          <p:cNvSpPr txBox="1"/>
          <p:nvPr/>
        </p:nvSpPr>
        <p:spPr>
          <a:xfrm>
            <a:off x="6716293" y="3947413"/>
            <a:ext cx="3449662" cy="430887"/>
          </a:xfrm>
          <a:prstGeom prst="rect">
            <a:avLst/>
          </a:prstGeom>
          <a:noFill/>
        </p:spPr>
        <p:txBody>
          <a:bodyPr wrap="none" lIns="0" tIns="0" rIns="0" bIns="0" rtlCol="0" anchor="t">
            <a:spAutoFit/>
          </a:bodyPr>
          <a:lstStyle/>
          <a:p>
            <a:pPr algn="l"/>
            <a:r>
              <a:rPr lang="en-US" altLang="zh-CN" sz="2800" dirty="0">
                <a:solidFill>
                  <a:schemeClr val="accent1"/>
                </a:solidFill>
                <a:latin typeface="+mj-ea"/>
                <a:ea typeface="+mj-ea"/>
              </a:rPr>
              <a:t>03 </a:t>
            </a:r>
            <a:r>
              <a:rPr lang="zh-CN" altLang="en-US" sz="2800" dirty="0">
                <a:solidFill>
                  <a:schemeClr val="accent1"/>
                </a:solidFill>
                <a:latin typeface="+mj-ea"/>
                <a:ea typeface="+mj-ea"/>
              </a:rPr>
              <a:t>输入你的目录标题</a:t>
            </a:r>
          </a:p>
        </p:txBody>
      </p:sp>
      <p:sp>
        <p:nvSpPr>
          <p:cNvPr id="17" name="文本框 16">
            <a:extLst>
              <a:ext uri="{FF2B5EF4-FFF2-40B4-BE49-F238E27FC236}">
                <a16:creationId xmlns:a16="http://schemas.microsoft.com/office/drawing/2014/main" id="{2F148140-140E-4BD4-A52A-6D7E2D50B5A1}"/>
              </a:ext>
            </a:extLst>
          </p:cNvPr>
          <p:cNvSpPr txBox="1"/>
          <p:nvPr/>
        </p:nvSpPr>
        <p:spPr>
          <a:xfrm>
            <a:off x="6250198" y="5332986"/>
            <a:ext cx="3449662" cy="430887"/>
          </a:xfrm>
          <a:prstGeom prst="rect">
            <a:avLst/>
          </a:prstGeom>
          <a:noFill/>
        </p:spPr>
        <p:txBody>
          <a:bodyPr wrap="none" lIns="0" tIns="0" rIns="0" bIns="0" rtlCol="0" anchor="t">
            <a:spAutoFit/>
          </a:bodyPr>
          <a:lstStyle/>
          <a:p>
            <a:pPr algn="l"/>
            <a:r>
              <a:rPr lang="en-US" altLang="zh-CN" sz="2800" dirty="0">
                <a:solidFill>
                  <a:schemeClr val="accent1"/>
                </a:solidFill>
                <a:latin typeface="+mj-ea"/>
                <a:ea typeface="+mj-ea"/>
              </a:rPr>
              <a:t>04 </a:t>
            </a:r>
            <a:r>
              <a:rPr lang="zh-CN" altLang="en-US" sz="2800" dirty="0">
                <a:solidFill>
                  <a:schemeClr val="accent1"/>
                </a:solidFill>
                <a:latin typeface="+mj-ea"/>
                <a:ea typeface="+mj-ea"/>
              </a:rPr>
              <a:t>输入你的目录标题</a:t>
            </a:r>
          </a:p>
        </p:txBody>
      </p:sp>
    </p:spTree>
    <p:extLst>
      <p:ext uri="{BB962C8B-B14F-4D97-AF65-F5344CB8AC3E}">
        <p14:creationId xmlns:p14="http://schemas.microsoft.com/office/powerpoint/2010/main" val="1753807922"/>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6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6" name="Group 1">
            <a:extLst>
              <a:ext uri="{FF2B5EF4-FFF2-40B4-BE49-F238E27FC236}">
                <a16:creationId xmlns:a16="http://schemas.microsoft.com/office/drawing/2014/main" id="{78EA2060-E6D5-4CA3-B652-16652F516BAA}"/>
              </a:ext>
            </a:extLst>
          </p:cNvPr>
          <p:cNvGrpSpPr/>
          <p:nvPr/>
        </p:nvGrpSpPr>
        <p:grpSpPr>
          <a:xfrm>
            <a:off x="6229353" y="2274277"/>
            <a:ext cx="5464175" cy="4637699"/>
            <a:chOff x="6229350" y="2274276"/>
            <a:chExt cx="5464175" cy="4637699"/>
          </a:xfrm>
        </p:grpSpPr>
        <p:sp>
          <p:nvSpPr>
            <p:cNvPr id="27" name="Freeform 5">
              <a:extLst>
                <a:ext uri="{FF2B5EF4-FFF2-40B4-BE49-F238E27FC236}">
                  <a16:creationId xmlns:a16="http://schemas.microsoft.com/office/drawing/2014/main" id="{1F564A69-C40F-429A-80F0-3D3109536F80}"/>
                </a:ext>
              </a:extLst>
            </p:cNvPr>
            <p:cNvSpPr>
              <a:spLocks/>
            </p:cNvSpPr>
            <p:nvPr/>
          </p:nvSpPr>
          <p:spPr bwMode="auto">
            <a:xfrm>
              <a:off x="8365694" y="4619981"/>
              <a:ext cx="1375635" cy="2291994"/>
            </a:xfrm>
            <a:custGeom>
              <a:avLst/>
              <a:gdLst>
                <a:gd name="T0" fmla="*/ 754 w 837"/>
                <a:gd name="T1" fmla="*/ 203 h 1397"/>
                <a:gd name="T2" fmla="*/ 611 w 837"/>
                <a:gd name="T3" fmla="*/ 317 h 1397"/>
                <a:gd name="T4" fmla="*/ 458 w 837"/>
                <a:gd name="T5" fmla="*/ 541 h 1397"/>
                <a:gd name="T6" fmla="*/ 432 w 837"/>
                <a:gd name="T7" fmla="*/ 179 h 1397"/>
                <a:gd name="T8" fmla="*/ 375 w 837"/>
                <a:gd name="T9" fmla="*/ 15 h 1397"/>
                <a:gd name="T10" fmla="*/ 336 w 837"/>
                <a:gd name="T11" fmla="*/ 305 h 1397"/>
                <a:gd name="T12" fmla="*/ 160 w 837"/>
                <a:gd name="T13" fmla="*/ 191 h 1397"/>
                <a:gd name="T14" fmla="*/ 8 w 837"/>
                <a:gd name="T15" fmla="*/ 136 h 1397"/>
                <a:gd name="T16" fmla="*/ 131 w 837"/>
                <a:gd name="T17" fmla="*/ 287 h 1397"/>
                <a:gd name="T18" fmla="*/ 143 w 837"/>
                <a:gd name="T19" fmla="*/ 302 h 1397"/>
                <a:gd name="T20" fmla="*/ 165 w 837"/>
                <a:gd name="T21" fmla="*/ 332 h 1397"/>
                <a:gd name="T22" fmla="*/ 243 w 837"/>
                <a:gd name="T23" fmla="*/ 459 h 1397"/>
                <a:gd name="T24" fmla="*/ 292 w 837"/>
                <a:gd name="T25" fmla="*/ 681 h 1397"/>
                <a:gd name="T26" fmla="*/ 319 w 837"/>
                <a:gd name="T27" fmla="*/ 1078 h 1397"/>
                <a:gd name="T28" fmla="*/ 298 w 837"/>
                <a:gd name="T29" fmla="*/ 1212 h 1397"/>
                <a:gd name="T30" fmla="*/ 258 w 837"/>
                <a:gd name="T31" fmla="*/ 1381 h 1397"/>
                <a:gd name="T32" fmla="*/ 519 w 837"/>
                <a:gd name="T33" fmla="*/ 1397 h 1397"/>
                <a:gd name="T34" fmla="*/ 494 w 837"/>
                <a:gd name="T35" fmla="*/ 1230 h 1397"/>
                <a:gd name="T36" fmla="*/ 486 w 837"/>
                <a:gd name="T37" fmla="*/ 1179 h 1397"/>
                <a:gd name="T38" fmla="*/ 483 w 837"/>
                <a:gd name="T39" fmla="*/ 1166 h 1397"/>
                <a:gd name="T40" fmla="*/ 471 w 837"/>
                <a:gd name="T41" fmla="*/ 955 h 1397"/>
                <a:gd name="T42" fmla="*/ 477 w 837"/>
                <a:gd name="T43" fmla="*/ 850 h 1397"/>
                <a:gd name="T44" fmla="*/ 480 w 837"/>
                <a:gd name="T45" fmla="*/ 825 h 1397"/>
                <a:gd name="T46" fmla="*/ 481 w 837"/>
                <a:gd name="T47" fmla="*/ 823 h 1397"/>
                <a:gd name="T48" fmla="*/ 545 w 837"/>
                <a:gd name="T49" fmla="*/ 571 h 1397"/>
                <a:gd name="T50" fmla="*/ 548 w 837"/>
                <a:gd name="T51" fmla="*/ 565 h 1397"/>
                <a:gd name="T52" fmla="*/ 588 w 837"/>
                <a:gd name="T53" fmla="*/ 485 h 1397"/>
                <a:gd name="T54" fmla="*/ 634 w 837"/>
                <a:gd name="T55" fmla="*/ 414 h 1397"/>
                <a:gd name="T56" fmla="*/ 645 w 837"/>
                <a:gd name="T57" fmla="*/ 398 h 1397"/>
                <a:gd name="T58" fmla="*/ 648 w 837"/>
                <a:gd name="T59" fmla="*/ 395 h 1397"/>
                <a:gd name="T60" fmla="*/ 783 w 837"/>
                <a:gd name="T61" fmla="*/ 259 h 1397"/>
                <a:gd name="T62" fmla="*/ 813 w 837"/>
                <a:gd name="T63" fmla="*/ 184 h 1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37" h="1397">
                  <a:moveTo>
                    <a:pt x="813" y="184"/>
                  </a:moveTo>
                  <a:cubicBezTo>
                    <a:pt x="792" y="184"/>
                    <a:pt x="773" y="193"/>
                    <a:pt x="754" y="203"/>
                  </a:cubicBezTo>
                  <a:cubicBezTo>
                    <a:pt x="736" y="212"/>
                    <a:pt x="719" y="222"/>
                    <a:pt x="702" y="235"/>
                  </a:cubicBezTo>
                  <a:cubicBezTo>
                    <a:pt x="670" y="260"/>
                    <a:pt x="639" y="287"/>
                    <a:pt x="611" y="317"/>
                  </a:cubicBezTo>
                  <a:cubicBezTo>
                    <a:pt x="555" y="376"/>
                    <a:pt x="508" y="445"/>
                    <a:pt x="470" y="517"/>
                  </a:cubicBezTo>
                  <a:cubicBezTo>
                    <a:pt x="466" y="525"/>
                    <a:pt x="461" y="533"/>
                    <a:pt x="458" y="541"/>
                  </a:cubicBezTo>
                  <a:cubicBezTo>
                    <a:pt x="457" y="518"/>
                    <a:pt x="456" y="494"/>
                    <a:pt x="455" y="470"/>
                  </a:cubicBezTo>
                  <a:cubicBezTo>
                    <a:pt x="451" y="373"/>
                    <a:pt x="444" y="276"/>
                    <a:pt x="432" y="179"/>
                  </a:cubicBezTo>
                  <a:cubicBezTo>
                    <a:pt x="425" y="124"/>
                    <a:pt x="414" y="70"/>
                    <a:pt x="405" y="15"/>
                  </a:cubicBezTo>
                  <a:cubicBezTo>
                    <a:pt x="403" y="0"/>
                    <a:pt x="377" y="0"/>
                    <a:pt x="375" y="15"/>
                  </a:cubicBezTo>
                  <a:cubicBezTo>
                    <a:pt x="367" y="63"/>
                    <a:pt x="356" y="110"/>
                    <a:pt x="350" y="158"/>
                  </a:cubicBezTo>
                  <a:cubicBezTo>
                    <a:pt x="344" y="207"/>
                    <a:pt x="340" y="256"/>
                    <a:pt x="336" y="305"/>
                  </a:cubicBezTo>
                  <a:cubicBezTo>
                    <a:pt x="334" y="337"/>
                    <a:pt x="332" y="368"/>
                    <a:pt x="331" y="400"/>
                  </a:cubicBezTo>
                  <a:cubicBezTo>
                    <a:pt x="285" y="323"/>
                    <a:pt x="226" y="252"/>
                    <a:pt x="160" y="191"/>
                  </a:cubicBezTo>
                  <a:cubicBezTo>
                    <a:pt x="122" y="157"/>
                    <a:pt x="78" y="124"/>
                    <a:pt x="28" y="110"/>
                  </a:cubicBezTo>
                  <a:cubicBezTo>
                    <a:pt x="13" y="105"/>
                    <a:pt x="0" y="122"/>
                    <a:pt x="8" y="136"/>
                  </a:cubicBezTo>
                  <a:cubicBezTo>
                    <a:pt x="30" y="173"/>
                    <a:pt x="61" y="204"/>
                    <a:pt x="88" y="237"/>
                  </a:cubicBezTo>
                  <a:cubicBezTo>
                    <a:pt x="103" y="254"/>
                    <a:pt x="117" y="270"/>
                    <a:pt x="131" y="287"/>
                  </a:cubicBezTo>
                  <a:cubicBezTo>
                    <a:pt x="134" y="291"/>
                    <a:pt x="137" y="295"/>
                    <a:pt x="140" y="298"/>
                  </a:cubicBezTo>
                  <a:cubicBezTo>
                    <a:pt x="141" y="299"/>
                    <a:pt x="142" y="301"/>
                    <a:pt x="143" y="302"/>
                  </a:cubicBezTo>
                  <a:cubicBezTo>
                    <a:pt x="144" y="303"/>
                    <a:pt x="145" y="304"/>
                    <a:pt x="145" y="304"/>
                  </a:cubicBezTo>
                  <a:cubicBezTo>
                    <a:pt x="152" y="313"/>
                    <a:pt x="159" y="323"/>
                    <a:pt x="165" y="332"/>
                  </a:cubicBezTo>
                  <a:cubicBezTo>
                    <a:pt x="190" y="367"/>
                    <a:pt x="212" y="404"/>
                    <a:pt x="233" y="441"/>
                  </a:cubicBezTo>
                  <a:cubicBezTo>
                    <a:pt x="237" y="447"/>
                    <a:pt x="240" y="453"/>
                    <a:pt x="243" y="459"/>
                  </a:cubicBezTo>
                  <a:cubicBezTo>
                    <a:pt x="249" y="479"/>
                    <a:pt x="254" y="499"/>
                    <a:pt x="258" y="519"/>
                  </a:cubicBezTo>
                  <a:cubicBezTo>
                    <a:pt x="271" y="573"/>
                    <a:pt x="282" y="627"/>
                    <a:pt x="292" y="681"/>
                  </a:cubicBezTo>
                  <a:cubicBezTo>
                    <a:pt x="310" y="790"/>
                    <a:pt x="320" y="899"/>
                    <a:pt x="320" y="1009"/>
                  </a:cubicBezTo>
                  <a:cubicBezTo>
                    <a:pt x="320" y="1032"/>
                    <a:pt x="320" y="1055"/>
                    <a:pt x="319" y="1078"/>
                  </a:cubicBezTo>
                  <a:cubicBezTo>
                    <a:pt x="314" y="1108"/>
                    <a:pt x="309" y="1138"/>
                    <a:pt x="305" y="1167"/>
                  </a:cubicBezTo>
                  <a:cubicBezTo>
                    <a:pt x="303" y="1182"/>
                    <a:pt x="300" y="1197"/>
                    <a:pt x="298" y="1212"/>
                  </a:cubicBezTo>
                  <a:cubicBezTo>
                    <a:pt x="292" y="1237"/>
                    <a:pt x="286" y="1262"/>
                    <a:pt x="280" y="1287"/>
                  </a:cubicBezTo>
                  <a:cubicBezTo>
                    <a:pt x="273" y="1318"/>
                    <a:pt x="262" y="1350"/>
                    <a:pt x="258" y="1381"/>
                  </a:cubicBezTo>
                  <a:cubicBezTo>
                    <a:pt x="257" y="1387"/>
                    <a:pt x="258" y="1392"/>
                    <a:pt x="259" y="1397"/>
                  </a:cubicBezTo>
                  <a:cubicBezTo>
                    <a:pt x="519" y="1397"/>
                    <a:pt x="519" y="1397"/>
                    <a:pt x="519" y="1397"/>
                  </a:cubicBezTo>
                  <a:cubicBezTo>
                    <a:pt x="520" y="1389"/>
                    <a:pt x="520" y="1382"/>
                    <a:pt x="519" y="1374"/>
                  </a:cubicBezTo>
                  <a:cubicBezTo>
                    <a:pt x="511" y="1326"/>
                    <a:pt x="502" y="1278"/>
                    <a:pt x="494" y="1230"/>
                  </a:cubicBezTo>
                  <a:cubicBezTo>
                    <a:pt x="492" y="1219"/>
                    <a:pt x="490" y="1208"/>
                    <a:pt x="488" y="1196"/>
                  </a:cubicBezTo>
                  <a:cubicBezTo>
                    <a:pt x="487" y="1191"/>
                    <a:pt x="486" y="1185"/>
                    <a:pt x="486" y="1179"/>
                  </a:cubicBezTo>
                  <a:cubicBezTo>
                    <a:pt x="485" y="1177"/>
                    <a:pt x="485" y="1174"/>
                    <a:pt x="485" y="1172"/>
                  </a:cubicBezTo>
                  <a:cubicBezTo>
                    <a:pt x="484" y="1167"/>
                    <a:pt x="483" y="1165"/>
                    <a:pt x="483" y="1166"/>
                  </a:cubicBezTo>
                  <a:cubicBezTo>
                    <a:pt x="480" y="1144"/>
                    <a:pt x="478" y="1122"/>
                    <a:pt x="477" y="1100"/>
                  </a:cubicBezTo>
                  <a:cubicBezTo>
                    <a:pt x="472" y="1052"/>
                    <a:pt x="470" y="1003"/>
                    <a:pt x="471" y="955"/>
                  </a:cubicBezTo>
                  <a:cubicBezTo>
                    <a:pt x="472" y="931"/>
                    <a:pt x="473" y="907"/>
                    <a:pt x="474" y="884"/>
                  </a:cubicBezTo>
                  <a:cubicBezTo>
                    <a:pt x="475" y="872"/>
                    <a:pt x="476" y="861"/>
                    <a:pt x="477" y="850"/>
                  </a:cubicBezTo>
                  <a:cubicBezTo>
                    <a:pt x="478" y="844"/>
                    <a:pt x="479" y="838"/>
                    <a:pt x="479" y="833"/>
                  </a:cubicBezTo>
                  <a:cubicBezTo>
                    <a:pt x="480" y="830"/>
                    <a:pt x="480" y="828"/>
                    <a:pt x="480" y="825"/>
                  </a:cubicBezTo>
                  <a:cubicBezTo>
                    <a:pt x="480" y="825"/>
                    <a:pt x="480" y="825"/>
                    <a:pt x="480" y="824"/>
                  </a:cubicBezTo>
                  <a:cubicBezTo>
                    <a:pt x="480" y="824"/>
                    <a:pt x="481" y="824"/>
                    <a:pt x="481" y="823"/>
                  </a:cubicBezTo>
                  <a:cubicBezTo>
                    <a:pt x="493" y="741"/>
                    <a:pt x="510" y="661"/>
                    <a:pt x="540" y="584"/>
                  </a:cubicBezTo>
                  <a:cubicBezTo>
                    <a:pt x="542" y="579"/>
                    <a:pt x="544" y="575"/>
                    <a:pt x="545" y="571"/>
                  </a:cubicBezTo>
                  <a:cubicBezTo>
                    <a:pt x="546" y="570"/>
                    <a:pt x="546" y="569"/>
                    <a:pt x="547" y="568"/>
                  </a:cubicBezTo>
                  <a:cubicBezTo>
                    <a:pt x="547" y="567"/>
                    <a:pt x="547" y="566"/>
                    <a:pt x="548" y="565"/>
                  </a:cubicBezTo>
                  <a:cubicBezTo>
                    <a:pt x="552" y="556"/>
                    <a:pt x="556" y="547"/>
                    <a:pt x="560" y="538"/>
                  </a:cubicBezTo>
                  <a:cubicBezTo>
                    <a:pt x="569" y="520"/>
                    <a:pt x="578" y="502"/>
                    <a:pt x="588" y="485"/>
                  </a:cubicBezTo>
                  <a:cubicBezTo>
                    <a:pt x="597" y="468"/>
                    <a:pt x="607" y="452"/>
                    <a:pt x="618" y="436"/>
                  </a:cubicBezTo>
                  <a:cubicBezTo>
                    <a:pt x="623" y="429"/>
                    <a:pt x="628" y="421"/>
                    <a:pt x="634" y="414"/>
                  </a:cubicBezTo>
                  <a:cubicBezTo>
                    <a:pt x="636" y="410"/>
                    <a:pt x="639" y="406"/>
                    <a:pt x="642" y="403"/>
                  </a:cubicBezTo>
                  <a:cubicBezTo>
                    <a:pt x="643" y="401"/>
                    <a:pt x="644" y="400"/>
                    <a:pt x="645" y="398"/>
                  </a:cubicBezTo>
                  <a:cubicBezTo>
                    <a:pt x="646" y="397"/>
                    <a:pt x="646" y="397"/>
                    <a:pt x="646" y="397"/>
                  </a:cubicBezTo>
                  <a:cubicBezTo>
                    <a:pt x="646" y="397"/>
                    <a:pt x="647" y="396"/>
                    <a:pt x="648" y="395"/>
                  </a:cubicBezTo>
                  <a:cubicBezTo>
                    <a:pt x="675" y="361"/>
                    <a:pt x="704" y="329"/>
                    <a:pt x="736" y="301"/>
                  </a:cubicBezTo>
                  <a:cubicBezTo>
                    <a:pt x="752" y="287"/>
                    <a:pt x="767" y="273"/>
                    <a:pt x="783" y="259"/>
                  </a:cubicBezTo>
                  <a:cubicBezTo>
                    <a:pt x="800" y="244"/>
                    <a:pt x="817" y="231"/>
                    <a:pt x="830" y="212"/>
                  </a:cubicBezTo>
                  <a:cubicBezTo>
                    <a:pt x="837" y="200"/>
                    <a:pt x="827" y="183"/>
                    <a:pt x="813" y="184"/>
                  </a:cubicBezTo>
                  <a:close/>
                </a:path>
              </a:pathLst>
            </a:custGeom>
            <a:solidFill>
              <a:srgbClr val="4A25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grpSp>
          <p:nvGrpSpPr>
            <p:cNvPr id="28" name="Group 4">
              <a:extLst>
                <a:ext uri="{FF2B5EF4-FFF2-40B4-BE49-F238E27FC236}">
                  <a16:creationId xmlns:a16="http://schemas.microsoft.com/office/drawing/2014/main" id="{82FD546C-6BA4-48D8-B73D-6CD6DA444395}"/>
                </a:ext>
              </a:extLst>
            </p:cNvPr>
            <p:cNvGrpSpPr/>
            <p:nvPr/>
          </p:nvGrpSpPr>
          <p:grpSpPr>
            <a:xfrm>
              <a:off x="9618563" y="4110283"/>
              <a:ext cx="2074962" cy="1481959"/>
              <a:chOff x="9618563" y="4110283"/>
              <a:chExt cx="2074962" cy="1481959"/>
            </a:xfrm>
          </p:grpSpPr>
          <p:sp>
            <p:nvSpPr>
              <p:cNvPr id="44" name="Freeform 6">
                <a:extLst>
                  <a:ext uri="{FF2B5EF4-FFF2-40B4-BE49-F238E27FC236}">
                    <a16:creationId xmlns:a16="http://schemas.microsoft.com/office/drawing/2014/main" id="{9DF5C974-CA42-4DA9-B22F-226F91C92F7A}"/>
                  </a:ext>
                </a:extLst>
              </p:cNvPr>
              <p:cNvSpPr>
                <a:spLocks/>
              </p:cNvSpPr>
              <p:nvPr/>
            </p:nvSpPr>
            <p:spPr bwMode="auto">
              <a:xfrm>
                <a:off x="9720502" y="4201262"/>
                <a:ext cx="1874371" cy="1296714"/>
              </a:xfrm>
              <a:custGeom>
                <a:avLst/>
                <a:gdLst>
                  <a:gd name="T0" fmla="*/ 1077 w 1141"/>
                  <a:gd name="T1" fmla="*/ 347 h 790"/>
                  <a:gd name="T2" fmla="*/ 1048 w 1141"/>
                  <a:gd name="T3" fmla="*/ 319 h 790"/>
                  <a:gd name="T4" fmla="*/ 906 w 1141"/>
                  <a:gd name="T5" fmla="*/ 166 h 790"/>
                  <a:gd name="T6" fmla="*/ 714 w 1141"/>
                  <a:gd name="T7" fmla="*/ 195 h 790"/>
                  <a:gd name="T8" fmla="*/ 665 w 1141"/>
                  <a:gd name="T9" fmla="*/ 175 h 790"/>
                  <a:gd name="T10" fmla="*/ 601 w 1141"/>
                  <a:gd name="T11" fmla="*/ 58 h 790"/>
                  <a:gd name="T12" fmla="*/ 470 w 1141"/>
                  <a:gd name="T13" fmla="*/ 9 h 790"/>
                  <a:gd name="T14" fmla="*/ 342 w 1141"/>
                  <a:gd name="T15" fmla="*/ 90 h 790"/>
                  <a:gd name="T16" fmla="*/ 283 w 1141"/>
                  <a:gd name="T17" fmla="*/ 214 h 790"/>
                  <a:gd name="T18" fmla="*/ 247 w 1141"/>
                  <a:gd name="T19" fmla="*/ 242 h 790"/>
                  <a:gd name="T20" fmla="*/ 108 w 1141"/>
                  <a:gd name="T21" fmla="*/ 349 h 790"/>
                  <a:gd name="T22" fmla="*/ 65 w 1141"/>
                  <a:gd name="T23" fmla="*/ 374 h 790"/>
                  <a:gd name="T24" fmla="*/ 7 w 1141"/>
                  <a:gd name="T25" fmla="*/ 416 h 790"/>
                  <a:gd name="T26" fmla="*/ 21 w 1141"/>
                  <a:gd name="T27" fmla="*/ 524 h 790"/>
                  <a:gd name="T28" fmla="*/ 178 w 1141"/>
                  <a:gd name="T29" fmla="*/ 641 h 790"/>
                  <a:gd name="T30" fmla="*/ 214 w 1141"/>
                  <a:gd name="T31" fmla="*/ 668 h 790"/>
                  <a:gd name="T32" fmla="*/ 388 w 1141"/>
                  <a:gd name="T33" fmla="*/ 772 h 790"/>
                  <a:gd name="T34" fmla="*/ 565 w 1141"/>
                  <a:gd name="T35" fmla="*/ 688 h 790"/>
                  <a:gd name="T36" fmla="*/ 614 w 1141"/>
                  <a:gd name="T37" fmla="*/ 688 h 790"/>
                  <a:gd name="T38" fmla="*/ 848 w 1141"/>
                  <a:gd name="T39" fmla="*/ 767 h 790"/>
                  <a:gd name="T40" fmla="*/ 979 w 1141"/>
                  <a:gd name="T41" fmla="*/ 703 h 790"/>
                  <a:gd name="T42" fmla="*/ 1014 w 1141"/>
                  <a:gd name="T43" fmla="*/ 592 h 790"/>
                  <a:gd name="T44" fmla="*/ 1046 w 1141"/>
                  <a:gd name="T45" fmla="*/ 551 h 790"/>
                  <a:gd name="T46" fmla="*/ 1123 w 1141"/>
                  <a:gd name="T47" fmla="*/ 512 h 790"/>
                  <a:gd name="T48" fmla="*/ 1113 w 1141"/>
                  <a:gd name="T49" fmla="*/ 388 h 790"/>
                  <a:gd name="T50" fmla="*/ 1077 w 1141"/>
                  <a:gd name="T51" fmla="*/ 347 h 7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41" h="790">
                    <a:moveTo>
                      <a:pt x="1077" y="347"/>
                    </a:moveTo>
                    <a:cubicBezTo>
                      <a:pt x="1062" y="345"/>
                      <a:pt x="1048" y="335"/>
                      <a:pt x="1048" y="319"/>
                    </a:cubicBezTo>
                    <a:cubicBezTo>
                      <a:pt x="1050" y="237"/>
                      <a:pt x="977" y="186"/>
                      <a:pt x="906" y="166"/>
                    </a:cubicBezTo>
                    <a:cubicBezTo>
                      <a:pt x="845" y="149"/>
                      <a:pt x="759" y="139"/>
                      <a:pt x="714" y="195"/>
                    </a:cubicBezTo>
                    <a:cubicBezTo>
                      <a:pt x="697" y="216"/>
                      <a:pt x="668" y="196"/>
                      <a:pt x="665" y="175"/>
                    </a:cubicBezTo>
                    <a:cubicBezTo>
                      <a:pt x="660" y="129"/>
                      <a:pt x="635" y="89"/>
                      <a:pt x="601" y="58"/>
                    </a:cubicBezTo>
                    <a:cubicBezTo>
                      <a:pt x="567" y="27"/>
                      <a:pt x="517" y="0"/>
                      <a:pt x="470" y="9"/>
                    </a:cubicBezTo>
                    <a:cubicBezTo>
                      <a:pt x="420" y="17"/>
                      <a:pt x="376" y="54"/>
                      <a:pt x="342" y="90"/>
                    </a:cubicBezTo>
                    <a:cubicBezTo>
                      <a:pt x="309" y="124"/>
                      <a:pt x="283" y="166"/>
                      <a:pt x="283" y="214"/>
                    </a:cubicBezTo>
                    <a:cubicBezTo>
                      <a:pt x="283" y="234"/>
                      <a:pt x="265" y="245"/>
                      <a:pt x="247" y="242"/>
                    </a:cubicBezTo>
                    <a:cubicBezTo>
                      <a:pt x="178" y="228"/>
                      <a:pt x="112" y="279"/>
                      <a:pt x="108" y="349"/>
                    </a:cubicBezTo>
                    <a:cubicBezTo>
                      <a:pt x="106" y="370"/>
                      <a:pt x="84" y="385"/>
                      <a:pt x="65" y="374"/>
                    </a:cubicBezTo>
                    <a:cubicBezTo>
                      <a:pt x="36" y="357"/>
                      <a:pt x="12" y="391"/>
                      <a:pt x="7" y="416"/>
                    </a:cubicBezTo>
                    <a:cubicBezTo>
                      <a:pt x="0" y="451"/>
                      <a:pt x="10" y="490"/>
                      <a:pt x="21" y="524"/>
                    </a:cubicBezTo>
                    <a:cubicBezTo>
                      <a:pt x="42" y="589"/>
                      <a:pt x="102" y="656"/>
                      <a:pt x="178" y="641"/>
                    </a:cubicBezTo>
                    <a:cubicBezTo>
                      <a:pt x="196" y="637"/>
                      <a:pt x="214" y="649"/>
                      <a:pt x="214" y="668"/>
                    </a:cubicBezTo>
                    <a:cubicBezTo>
                      <a:pt x="213" y="751"/>
                      <a:pt x="324" y="773"/>
                      <a:pt x="388" y="772"/>
                    </a:cubicBezTo>
                    <a:cubicBezTo>
                      <a:pt x="455" y="770"/>
                      <a:pt x="526" y="746"/>
                      <a:pt x="565" y="688"/>
                    </a:cubicBezTo>
                    <a:cubicBezTo>
                      <a:pt x="576" y="672"/>
                      <a:pt x="603" y="668"/>
                      <a:pt x="614" y="688"/>
                    </a:cubicBezTo>
                    <a:cubicBezTo>
                      <a:pt x="657" y="775"/>
                      <a:pt x="762" y="790"/>
                      <a:pt x="848" y="767"/>
                    </a:cubicBezTo>
                    <a:cubicBezTo>
                      <a:pt x="893" y="755"/>
                      <a:pt x="943" y="735"/>
                      <a:pt x="979" y="703"/>
                    </a:cubicBezTo>
                    <a:cubicBezTo>
                      <a:pt x="1009" y="677"/>
                      <a:pt x="1033" y="632"/>
                      <a:pt x="1014" y="592"/>
                    </a:cubicBezTo>
                    <a:cubicBezTo>
                      <a:pt x="1004" y="572"/>
                      <a:pt x="1021" y="542"/>
                      <a:pt x="1046" y="551"/>
                    </a:cubicBezTo>
                    <a:cubicBezTo>
                      <a:pt x="1077" y="561"/>
                      <a:pt x="1109" y="540"/>
                      <a:pt x="1123" y="512"/>
                    </a:cubicBezTo>
                    <a:cubicBezTo>
                      <a:pt x="1141" y="473"/>
                      <a:pt x="1128" y="426"/>
                      <a:pt x="1113" y="388"/>
                    </a:cubicBezTo>
                    <a:cubicBezTo>
                      <a:pt x="1106" y="373"/>
                      <a:pt x="1095" y="349"/>
                      <a:pt x="1077" y="347"/>
                    </a:cubicBezTo>
                    <a:close/>
                  </a:path>
                </a:pathLst>
              </a:custGeom>
              <a:solidFill>
                <a:schemeClr val="accent5">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45" name="Freeform 7">
                <a:extLst>
                  <a:ext uri="{FF2B5EF4-FFF2-40B4-BE49-F238E27FC236}">
                    <a16:creationId xmlns:a16="http://schemas.microsoft.com/office/drawing/2014/main" id="{7AEDE49E-1BCC-446A-9E51-73E976C11BE9}"/>
                  </a:ext>
                </a:extLst>
              </p:cNvPr>
              <p:cNvSpPr>
                <a:spLocks noEditPoints="1"/>
              </p:cNvSpPr>
              <p:nvPr/>
            </p:nvSpPr>
            <p:spPr bwMode="auto">
              <a:xfrm>
                <a:off x="9618563" y="4110283"/>
                <a:ext cx="2074962" cy="1481959"/>
              </a:xfrm>
              <a:custGeom>
                <a:avLst/>
                <a:gdLst>
                  <a:gd name="T0" fmla="*/ 1228 w 1263"/>
                  <a:gd name="T1" fmla="*/ 427 h 904"/>
                  <a:gd name="T2" fmla="*/ 1227 w 1263"/>
                  <a:gd name="T3" fmla="*/ 424 h 904"/>
                  <a:gd name="T4" fmla="*/ 1226 w 1263"/>
                  <a:gd name="T5" fmla="*/ 420 h 904"/>
                  <a:gd name="T6" fmla="*/ 1166 w 1263"/>
                  <a:gd name="T7" fmla="*/ 354 h 904"/>
                  <a:gd name="T8" fmla="*/ 989 w 1263"/>
                  <a:gd name="T9" fmla="*/ 169 h 904"/>
                  <a:gd name="T10" fmla="*/ 773 w 1263"/>
                  <a:gd name="T11" fmla="*/ 179 h 904"/>
                  <a:gd name="T12" fmla="*/ 705 w 1263"/>
                  <a:gd name="T13" fmla="*/ 76 h 904"/>
                  <a:gd name="T14" fmla="*/ 529 w 1263"/>
                  <a:gd name="T15" fmla="*/ 8 h 904"/>
                  <a:gd name="T16" fmla="*/ 366 w 1263"/>
                  <a:gd name="T17" fmla="*/ 103 h 904"/>
                  <a:gd name="T18" fmla="*/ 291 w 1263"/>
                  <a:gd name="T19" fmla="*/ 240 h 904"/>
                  <a:gd name="T20" fmla="*/ 119 w 1263"/>
                  <a:gd name="T21" fmla="*/ 369 h 904"/>
                  <a:gd name="T22" fmla="*/ 29 w 1263"/>
                  <a:gd name="T23" fmla="*/ 419 h 904"/>
                  <a:gd name="T24" fmla="*/ 23 w 1263"/>
                  <a:gd name="T25" fmla="*/ 577 h 904"/>
                  <a:gd name="T26" fmla="*/ 222 w 1263"/>
                  <a:gd name="T27" fmla="*/ 755 h 904"/>
                  <a:gd name="T28" fmla="*/ 440 w 1263"/>
                  <a:gd name="T29" fmla="*/ 884 h 904"/>
                  <a:gd name="T30" fmla="*/ 648 w 1263"/>
                  <a:gd name="T31" fmla="*/ 806 h 904"/>
                  <a:gd name="T32" fmla="*/ 938 w 1263"/>
                  <a:gd name="T33" fmla="*/ 874 h 904"/>
                  <a:gd name="T34" fmla="*/ 1096 w 1263"/>
                  <a:gd name="T35" fmla="*/ 785 h 904"/>
                  <a:gd name="T36" fmla="*/ 1138 w 1263"/>
                  <a:gd name="T37" fmla="*/ 666 h 904"/>
                  <a:gd name="T38" fmla="*/ 1228 w 1263"/>
                  <a:gd name="T39" fmla="*/ 606 h 904"/>
                  <a:gd name="T40" fmla="*/ 1228 w 1263"/>
                  <a:gd name="T41" fmla="*/ 427 h 904"/>
                  <a:gd name="T42" fmla="*/ 1108 w 1263"/>
                  <a:gd name="T43" fmla="*/ 607 h 904"/>
                  <a:gd name="T44" fmla="*/ 1076 w 1263"/>
                  <a:gd name="T45" fmla="*/ 648 h 904"/>
                  <a:gd name="T46" fmla="*/ 1041 w 1263"/>
                  <a:gd name="T47" fmla="*/ 759 h 904"/>
                  <a:gd name="T48" fmla="*/ 910 w 1263"/>
                  <a:gd name="T49" fmla="*/ 823 h 904"/>
                  <a:gd name="T50" fmla="*/ 676 w 1263"/>
                  <a:gd name="T51" fmla="*/ 744 h 904"/>
                  <a:gd name="T52" fmla="*/ 627 w 1263"/>
                  <a:gd name="T53" fmla="*/ 744 h 904"/>
                  <a:gd name="T54" fmla="*/ 450 w 1263"/>
                  <a:gd name="T55" fmla="*/ 828 h 904"/>
                  <a:gd name="T56" fmla="*/ 276 w 1263"/>
                  <a:gd name="T57" fmla="*/ 724 h 904"/>
                  <a:gd name="T58" fmla="*/ 240 w 1263"/>
                  <a:gd name="T59" fmla="*/ 697 h 904"/>
                  <a:gd name="T60" fmla="*/ 83 w 1263"/>
                  <a:gd name="T61" fmla="*/ 580 h 904"/>
                  <a:gd name="T62" fmla="*/ 69 w 1263"/>
                  <a:gd name="T63" fmla="*/ 472 h 904"/>
                  <a:gd name="T64" fmla="*/ 127 w 1263"/>
                  <a:gd name="T65" fmla="*/ 430 h 904"/>
                  <a:gd name="T66" fmla="*/ 170 w 1263"/>
                  <a:gd name="T67" fmla="*/ 405 h 904"/>
                  <a:gd name="T68" fmla="*/ 309 w 1263"/>
                  <a:gd name="T69" fmla="*/ 298 h 904"/>
                  <a:gd name="T70" fmla="*/ 345 w 1263"/>
                  <a:gd name="T71" fmla="*/ 270 h 904"/>
                  <a:gd name="T72" fmla="*/ 404 w 1263"/>
                  <a:gd name="T73" fmla="*/ 146 h 904"/>
                  <a:gd name="T74" fmla="*/ 532 w 1263"/>
                  <a:gd name="T75" fmla="*/ 65 h 904"/>
                  <a:gd name="T76" fmla="*/ 663 w 1263"/>
                  <a:gd name="T77" fmla="*/ 114 h 904"/>
                  <a:gd name="T78" fmla="*/ 727 w 1263"/>
                  <a:gd name="T79" fmla="*/ 231 h 904"/>
                  <a:gd name="T80" fmla="*/ 776 w 1263"/>
                  <a:gd name="T81" fmla="*/ 251 h 904"/>
                  <a:gd name="T82" fmla="*/ 968 w 1263"/>
                  <a:gd name="T83" fmla="*/ 222 h 904"/>
                  <a:gd name="T84" fmla="*/ 1110 w 1263"/>
                  <a:gd name="T85" fmla="*/ 375 h 904"/>
                  <a:gd name="T86" fmla="*/ 1139 w 1263"/>
                  <a:gd name="T87" fmla="*/ 403 h 904"/>
                  <a:gd name="T88" fmla="*/ 1175 w 1263"/>
                  <a:gd name="T89" fmla="*/ 444 h 904"/>
                  <a:gd name="T90" fmla="*/ 1185 w 1263"/>
                  <a:gd name="T91" fmla="*/ 568 h 904"/>
                  <a:gd name="T92" fmla="*/ 1108 w 1263"/>
                  <a:gd name="T93" fmla="*/ 607 h 9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63" h="904">
                    <a:moveTo>
                      <a:pt x="1228" y="427"/>
                    </a:moveTo>
                    <a:cubicBezTo>
                      <a:pt x="1228" y="426"/>
                      <a:pt x="1227" y="425"/>
                      <a:pt x="1227" y="424"/>
                    </a:cubicBezTo>
                    <a:cubicBezTo>
                      <a:pt x="1226" y="423"/>
                      <a:pt x="1226" y="421"/>
                      <a:pt x="1226" y="420"/>
                    </a:cubicBezTo>
                    <a:cubicBezTo>
                      <a:pt x="1213" y="391"/>
                      <a:pt x="1194" y="366"/>
                      <a:pt x="1166" y="354"/>
                    </a:cubicBezTo>
                    <a:cubicBezTo>
                      <a:pt x="1157" y="260"/>
                      <a:pt x="1076" y="195"/>
                      <a:pt x="989" y="169"/>
                    </a:cubicBezTo>
                    <a:cubicBezTo>
                      <a:pt x="923" y="149"/>
                      <a:pt x="835" y="141"/>
                      <a:pt x="773" y="179"/>
                    </a:cubicBezTo>
                    <a:cubicBezTo>
                      <a:pt x="759" y="140"/>
                      <a:pt x="736" y="105"/>
                      <a:pt x="705" y="76"/>
                    </a:cubicBezTo>
                    <a:cubicBezTo>
                      <a:pt x="659" y="33"/>
                      <a:pt x="594" y="0"/>
                      <a:pt x="529" y="8"/>
                    </a:cubicBezTo>
                    <a:cubicBezTo>
                      <a:pt x="466" y="16"/>
                      <a:pt x="409" y="58"/>
                      <a:pt x="366" y="103"/>
                    </a:cubicBezTo>
                    <a:cubicBezTo>
                      <a:pt x="329" y="141"/>
                      <a:pt x="300" y="188"/>
                      <a:pt x="291" y="240"/>
                    </a:cubicBezTo>
                    <a:cubicBezTo>
                      <a:pt x="210" y="238"/>
                      <a:pt x="139" y="291"/>
                      <a:pt x="119" y="369"/>
                    </a:cubicBezTo>
                    <a:cubicBezTo>
                      <a:pt x="83" y="367"/>
                      <a:pt x="47" y="388"/>
                      <a:pt x="29" y="419"/>
                    </a:cubicBezTo>
                    <a:cubicBezTo>
                      <a:pt x="0" y="466"/>
                      <a:pt x="9" y="527"/>
                      <a:pt x="23" y="577"/>
                    </a:cubicBezTo>
                    <a:cubicBezTo>
                      <a:pt x="48" y="671"/>
                      <a:pt x="123" y="756"/>
                      <a:pt x="222" y="755"/>
                    </a:cubicBezTo>
                    <a:cubicBezTo>
                      <a:pt x="243" y="846"/>
                      <a:pt x="354" y="883"/>
                      <a:pt x="440" y="884"/>
                    </a:cubicBezTo>
                    <a:cubicBezTo>
                      <a:pt x="517" y="885"/>
                      <a:pt x="594" y="861"/>
                      <a:pt x="648" y="806"/>
                    </a:cubicBezTo>
                    <a:cubicBezTo>
                      <a:pt x="714" y="891"/>
                      <a:pt x="838" y="904"/>
                      <a:pt x="938" y="874"/>
                    </a:cubicBezTo>
                    <a:cubicBezTo>
                      <a:pt x="994" y="857"/>
                      <a:pt x="1056" y="830"/>
                      <a:pt x="1096" y="785"/>
                    </a:cubicBezTo>
                    <a:cubicBezTo>
                      <a:pt x="1125" y="751"/>
                      <a:pt x="1142" y="708"/>
                      <a:pt x="1138" y="666"/>
                    </a:cubicBezTo>
                    <a:cubicBezTo>
                      <a:pt x="1174" y="661"/>
                      <a:pt x="1208" y="637"/>
                      <a:pt x="1228" y="606"/>
                    </a:cubicBezTo>
                    <a:cubicBezTo>
                      <a:pt x="1263" y="552"/>
                      <a:pt x="1251" y="482"/>
                      <a:pt x="1228" y="427"/>
                    </a:cubicBezTo>
                    <a:close/>
                    <a:moveTo>
                      <a:pt x="1108" y="607"/>
                    </a:moveTo>
                    <a:cubicBezTo>
                      <a:pt x="1083" y="598"/>
                      <a:pt x="1066" y="628"/>
                      <a:pt x="1076" y="648"/>
                    </a:cubicBezTo>
                    <a:cubicBezTo>
                      <a:pt x="1095" y="688"/>
                      <a:pt x="1071" y="733"/>
                      <a:pt x="1041" y="759"/>
                    </a:cubicBezTo>
                    <a:cubicBezTo>
                      <a:pt x="1005" y="791"/>
                      <a:pt x="955" y="811"/>
                      <a:pt x="910" y="823"/>
                    </a:cubicBezTo>
                    <a:cubicBezTo>
                      <a:pt x="824" y="846"/>
                      <a:pt x="719" y="831"/>
                      <a:pt x="676" y="744"/>
                    </a:cubicBezTo>
                    <a:cubicBezTo>
                      <a:pt x="665" y="724"/>
                      <a:pt x="638" y="728"/>
                      <a:pt x="627" y="744"/>
                    </a:cubicBezTo>
                    <a:cubicBezTo>
                      <a:pt x="588" y="802"/>
                      <a:pt x="517" y="826"/>
                      <a:pt x="450" y="828"/>
                    </a:cubicBezTo>
                    <a:cubicBezTo>
                      <a:pt x="386" y="829"/>
                      <a:pt x="275" y="807"/>
                      <a:pt x="276" y="724"/>
                    </a:cubicBezTo>
                    <a:cubicBezTo>
                      <a:pt x="276" y="705"/>
                      <a:pt x="258" y="693"/>
                      <a:pt x="240" y="697"/>
                    </a:cubicBezTo>
                    <a:cubicBezTo>
                      <a:pt x="164" y="712"/>
                      <a:pt x="104" y="645"/>
                      <a:pt x="83" y="580"/>
                    </a:cubicBezTo>
                    <a:cubicBezTo>
                      <a:pt x="72" y="546"/>
                      <a:pt x="62" y="507"/>
                      <a:pt x="69" y="472"/>
                    </a:cubicBezTo>
                    <a:cubicBezTo>
                      <a:pt x="74" y="447"/>
                      <a:pt x="98" y="413"/>
                      <a:pt x="127" y="430"/>
                    </a:cubicBezTo>
                    <a:cubicBezTo>
                      <a:pt x="146" y="441"/>
                      <a:pt x="168" y="426"/>
                      <a:pt x="170" y="405"/>
                    </a:cubicBezTo>
                    <a:cubicBezTo>
                      <a:pt x="174" y="335"/>
                      <a:pt x="240" y="284"/>
                      <a:pt x="309" y="298"/>
                    </a:cubicBezTo>
                    <a:cubicBezTo>
                      <a:pt x="327" y="301"/>
                      <a:pt x="345" y="290"/>
                      <a:pt x="345" y="270"/>
                    </a:cubicBezTo>
                    <a:cubicBezTo>
                      <a:pt x="345" y="222"/>
                      <a:pt x="371" y="180"/>
                      <a:pt x="404" y="146"/>
                    </a:cubicBezTo>
                    <a:cubicBezTo>
                      <a:pt x="438" y="110"/>
                      <a:pt x="482" y="73"/>
                      <a:pt x="532" y="65"/>
                    </a:cubicBezTo>
                    <a:cubicBezTo>
                      <a:pt x="579" y="56"/>
                      <a:pt x="629" y="83"/>
                      <a:pt x="663" y="114"/>
                    </a:cubicBezTo>
                    <a:cubicBezTo>
                      <a:pt x="697" y="145"/>
                      <a:pt x="722" y="185"/>
                      <a:pt x="727" y="231"/>
                    </a:cubicBezTo>
                    <a:cubicBezTo>
                      <a:pt x="730" y="252"/>
                      <a:pt x="759" y="272"/>
                      <a:pt x="776" y="251"/>
                    </a:cubicBezTo>
                    <a:cubicBezTo>
                      <a:pt x="821" y="195"/>
                      <a:pt x="907" y="205"/>
                      <a:pt x="968" y="222"/>
                    </a:cubicBezTo>
                    <a:cubicBezTo>
                      <a:pt x="1039" y="242"/>
                      <a:pt x="1112" y="293"/>
                      <a:pt x="1110" y="375"/>
                    </a:cubicBezTo>
                    <a:cubicBezTo>
                      <a:pt x="1110" y="391"/>
                      <a:pt x="1124" y="401"/>
                      <a:pt x="1139" y="403"/>
                    </a:cubicBezTo>
                    <a:cubicBezTo>
                      <a:pt x="1157" y="405"/>
                      <a:pt x="1168" y="429"/>
                      <a:pt x="1175" y="444"/>
                    </a:cubicBezTo>
                    <a:cubicBezTo>
                      <a:pt x="1190" y="482"/>
                      <a:pt x="1203" y="529"/>
                      <a:pt x="1185" y="568"/>
                    </a:cubicBezTo>
                    <a:cubicBezTo>
                      <a:pt x="1171" y="596"/>
                      <a:pt x="1139" y="617"/>
                      <a:pt x="1108" y="607"/>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grpSp>
        <p:grpSp>
          <p:nvGrpSpPr>
            <p:cNvPr id="29" name="Group 7">
              <a:extLst>
                <a:ext uri="{FF2B5EF4-FFF2-40B4-BE49-F238E27FC236}">
                  <a16:creationId xmlns:a16="http://schemas.microsoft.com/office/drawing/2014/main" id="{974267B6-FB6C-4483-A67A-FA936002498C}"/>
                </a:ext>
              </a:extLst>
            </p:cNvPr>
            <p:cNvGrpSpPr/>
            <p:nvPr/>
          </p:nvGrpSpPr>
          <p:grpSpPr>
            <a:xfrm>
              <a:off x="7948071" y="3477820"/>
              <a:ext cx="2073865" cy="1485248"/>
              <a:chOff x="7948071" y="3477820"/>
              <a:chExt cx="2073865" cy="1485248"/>
            </a:xfrm>
          </p:grpSpPr>
          <p:sp>
            <p:nvSpPr>
              <p:cNvPr id="42" name="Freeform 8">
                <a:extLst>
                  <a:ext uri="{FF2B5EF4-FFF2-40B4-BE49-F238E27FC236}">
                    <a16:creationId xmlns:a16="http://schemas.microsoft.com/office/drawing/2014/main" id="{624F5844-5EB0-44B4-87DB-478369B0064B}"/>
                  </a:ext>
                </a:extLst>
              </p:cNvPr>
              <p:cNvSpPr>
                <a:spLocks/>
              </p:cNvSpPr>
              <p:nvPr/>
            </p:nvSpPr>
            <p:spPr bwMode="auto">
              <a:xfrm>
                <a:off x="8048915" y="3572087"/>
                <a:ext cx="1876563" cy="1293426"/>
              </a:xfrm>
              <a:custGeom>
                <a:avLst/>
                <a:gdLst>
                  <a:gd name="T0" fmla="*/ 1078 w 1142"/>
                  <a:gd name="T1" fmla="*/ 346 h 789"/>
                  <a:gd name="T2" fmla="*/ 1049 w 1142"/>
                  <a:gd name="T3" fmla="*/ 318 h 789"/>
                  <a:gd name="T4" fmla="*/ 907 w 1142"/>
                  <a:gd name="T5" fmla="*/ 165 h 789"/>
                  <a:gd name="T6" fmla="*/ 715 w 1142"/>
                  <a:gd name="T7" fmla="*/ 194 h 789"/>
                  <a:gd name="T8" fmla="*/ 666 w 1142"/>
                  <a:gd name="T9" fmla="*/ 174 h 789"/>
                  <a:gd name="T10" fmla="*/ 602 w 1142"/>
                  <a:gd name="T11" fmla="*/ 58 h 789"/>
                  <a:gd name="T12" fmla="*/ 470 w 1142"/>
                  <a:gd name="T13" fmla="*/ 8 h 789"/>
                  <a:gd name="T14" fmla="*/ 342 w 1142"/>
                  <a:gd name="T15" fmla="*/ 89 h 789"/>
                  <a:gd name="T16" fmla="*/ 284 w 1142"/>
                  <a:gd name="T17" fmla="*/ 214 h 789"/>
                  <a:gd name="T18" fmla="*/ 248 w 1142"/>
                  <a:gd name="T19" fmla="*/ 241 h 789"/>
                  <a:gd name="T20" fmla="*/ 108 w 1142"/>
                  <a:gd name="T21" fmla="*/ 348 h 789"/>
                  <a:gd name="T22" fmla="*/ 66 w 1142"/>
                  <a:gd name="T23" fmla="*/ 373 h 789"/>
                  <a:gd name="T24" fmla="*/ 7 w 1142"/>
                  <a:gd name="T25" fmla="*/ 415 h 789"/>
                  <a:gd name="T26" fmla="*/ 21 w 1142"/>
                  <a:gd name="T27" fmla="*/ 523 h 789"/>
                  <a:gd name="T28" fmla="*/ 179 w 1142"/>
                  <a:gd name="T29" fmla="*/ 640 h 789"/>
                  <a:gd name="T30" fmla="*/ 214 w 1142"/>
                  <a:gd name="T31" fmla="*/ 667 h 789"/>
                  <a:gd name="T32" fmla="*/ 389 w 1142"/>
                  <a:gd name="T33" fmla="*/ 771 h 789"/>
                  <a:gd name="T34" fmla="*/ 565 w 1142"/>
                  <a:gd name="T35" fmla="*/ 688 h 789"/>
                  <a:gd name="T36" fmla="*/ 614 w 1142"/>
                  <a:gd name="T37" fmla="*/ 688 h 789"/>
                  <a:gd name="T38" fmla="*/ 849 w 1142"/>
                  <a:gd name="T39" fmla="*/ 766 h 789"/>
                  <a:gd name="T40" fmla="*/ 980 w 1142"/>
                  <a:gd name="T41" fmla="*/ 703 h 789"/>
                  <a:gd name="T42" fmla="*/ 1015 w 1142"/>
                  <a:gd name="T43" fmla="*/ 592 h 789"/>
                  <a:gd name="T44" fmla="*/ 1047 w 1142"/>
                  <a:gd name="T45" fmla="*/ 550 h 789"/>
                  <a:gd name="T46" fmla="*/ 1123 w 1142"/>
                  <a:gd name="T47" fmla="*/ 511 h 789"/>
                  <a:gd name="T48" fmla="*/ 1114 w 1142"/>
                  <a:gd name="T49" fmla="*/ 388 h 789"/>
                  <a:gd name="T50" fmla="*/ 1078 w 1142"/>
                  <a:gd name="T51" fmla="*/ 346 h 7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42" h="789">
                    <a:moveTo>
                      <a:pt x="1078" y="346"/>
                    </a:moveTo>
                    <a:cubicBezTo>
                      <a:pt x="1063" y="345"/>
                      <a:pt x="1049" y="335"/>
                      <a:pt x="1049" y="318"/>
                    </a:cubicBezTo>
                    <a:cubicBezTo>
                      <a:pt x="1051" y="237"/>
                      <a:pt x="978" y="185"/>
                      <a:pt x="907" y="165"/>
                    </a:cubicBezTo>
                    <a:cubicBezTo>
                      <a:pt x="845" y="148"/>
                      <a:pt x="760" y="139"/>
                      <a:pt x="715" y="194"/>
                    </a:cubicBezTo>
                    <a:cubicBezTo>
                      <a:pt x="697" y="216"/>
                      <a:pt x="669" y="196"/>
                      <a:pt x="666" y="174"/>
                    </a:cubicBezTo>
                    <a:cubicBezTo>
                      <a:pt x="661" y="129"/>
                      <a:pt x="635" y="88"/>
                      <a:pt x="602" y="58"/>
                    </a:cubicBezTo>
                    <a:cubicBezTo>
                      <a:pt x="568" y="26"/>
                      <a:pt x="518" y="0"/>
                      <a:pt x="470" y="8"/>
                    </a:cubicBezTo>
                    <a:cubicBezTo>
                      <a:pt x="421" y="17"/>
                      <a:pt x="376" y="53"/>
                      <a:pt x="342" y="89"/>
                    </a:cubicBezTo>
                    <a:cubicBezTo>
                      <a:pt x="310" y="123"/>
                      <a:pt x="284" y="165"/>
                      <a:pt x="284" y="214"/>
                    </a:cubicBezTo>
                    <a:cubicBezTo>
                      <a:pt x="284" y="233"/>
                      <a:pt x="266" y="245"/>
                      <a:pt x="248" y="241"/>
                    </a:cubicBezTo>
                    <a:cubicBezTo>
                      <a:pt x="179" y="227"/>
                      <a:pt x="113" y="278"/>
                      <a:pt x="108" y="348"/>
                    </a:cubicBezTo>
                    <a:cubicBezTo>
                      <a:pt x="107" y="369"/>
                      <a:pt x="85" y="384"/>
                      <a:pt x="66" y="373"/>
                    </a:cubicBezTo>
                    <a:cubicBezTo>
                      <a:pt x="37" y="356"/>
                      <a:pt x="12" y="391"/>
                      <a:pt x="7" y="415"/>
                    </a:cubicBezTo>
                    <a:cubicBezTo>
                      <a:pt x="0" y="450"/>
                      <a:pt x="10" y="490"/>
                      <a:pt x="21" y="523"/>
                    </a:cubicBezTo>
                    <a:cubicBezTo>
                      <a:pt x="43" y="588"/>
                      <a:pt x="103" y="655"/>
                      <a:pt x="179" y="640"/>
                    </a:cubicBezTo>
                    <a:cubicBezTo>
                      <a:pt x="196" y="636"/>
                      <a:pt x="214" y="648"/>
                      <a:pt x="214" y="667"/>
                    </a:cubicBezTo>
                    <a:cubicBezTo>
                      <a:pt x="214" y="751"/>
                      <a:pt x="325" y="772"/>
                      <a:pt x="389" y="771"/>
                    </a:cubicBezTo>
                    <a:cubicBezTo>
                      <a:pt x="456" y="770"/>
                      <a:pt x="527" y="745"/>
                      <a:pt x="565" y="688"/>
                    </a:cubicBezTo>
                    <a:cubicBezTo>
                      <a:pt x="577" y="671"/>
                      <a:pt x="604" y="667"/>
                      <a:pt x="614" y="688"/>
                    </a:cubicBezTo>
                    <a:cubicBezTo>
                      <a:pt x="658" y="774"/>
                      <a:pt x="763" y="789"/>
                      <a:pt x="849" y="766"/>
                    </a:cubicBezTo>
                    <a:cubicBezTo>
                      <a:pt x="894" y="754"/>
                      <a:pt x="944" y="735"/>
                      <a:pt x="980" y="703"/>
                    </a:cubicBezTo>
                    <a:cubicBezTo>
                      <a:pt x="1009" y="676"/>
                      <a:pt x="1034" y="632"/>
                      <a:pt x="1015" y="592"/>
                    </a:cubicBezTo>
                    <a:cubicBezTo>
                      <a:pt x="1005" y="571"/>
                      <a:pt x="1021" y="541"/>
                      <a:pt x="1047" y="550"/>
                    </a:cubicBezTo>
                    <a:cubicBezTo>
                      <a:pt x="1078" y="560"/>
                      <a:pt x="1110" y="540"/>
                      <a:pt x="1123" y="511"/>
                    </a:cubicBezTo>
                    <a:cubicBezTo>
                      <a:pt x="1142" y="472"/>
                      <a:pt x="1129" y="426"/>
                      <a:pt x="1114" y="388"/>
                    </a:cubicBezTo>
                    <a:cubicBezTo>
                      <a:pt x="1107" y="372"/>
                      <a:pt x="1095" y="348"/>
                      <a:pt x="1078" y="346"/>
                    </a:cubicBezTo>
                    <a:close/>
                  </a:path>
                </a:pathLst>
              </a:custGeom>
              <a:solidFill>
                <a:schemeClr val="accent6">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43" name="Freeform 9">
                <a:extLst>
                  <a:ext uri="{FF2B5EF4-FFF2-40B4-BE49-F238E27FC236}">
                    <a16:creationId xmlns:a16="http://schemas.microsoft.com/office/drawing/2014/main" id="{9F92B45D-A57F-4027-B399-541690610F5D}"/>
                  </a:ext>
                </a:extLst>
              </p:cNvPr>
              <p:cNvSpPr>
                <a:spLocks noEditPoints="1"/>
              </p:cNvSpPr>
              <p:nvPr/>
            </p:nvSpPr>
            <p:spPr bwMode="auto">
              <a:xfrm>
                <a:off x="7948071" y="3477820"/>
                <a:ext cx="2073865" cy="1485248"/>
              </a:xfrm>
              <a:custGeom>
                <a:avLst/>
                <a:gdLst>
                  <a:gd name="T0" fmla="*/ 1228 w 1262"/>
                  <a:gd name="T1" fmla="*/ 427 h 905"/>
                  <a:gd name="T2" fmla="*/ 1227 w 1262"/>
                  <a:gd name="T3" fmla="*/ 424 h 905"/>
                  <a:gd name="T4" fmla="*/ 1225 w 1262"/>
                  <a:gd name="T5" fmla="*/ 421 h 905"/>
                  <a:gd name="T6" fmla="*/ 1166 w 1262"/>
                  <a:gd name="T7" fmla="*/ 354 h 905"/>
                  <a:gd name="T8" fmla="*/ 989 w 1262"/>
                  <a:gd name="T9" fmla="*/ 169 h 905"/>
                  <a:gd name="T10" fmla="*/ 772 w 1262"/>
                  <a:gd name="T11" fmla="*/ 179 h 905"/>
                  <a:gd name="T12" fmla="*/ 705 w 1262"/>
                  <a:gd name="T13" fmla="*/ 76 h 905"/>
                  <a:gd name="T14" fmla="*/ 529 w 1262"/>
                  <a:gd name="T15" fmla="*/ 8 h 905"/>
                  <a:gd name="T16" fmla="*/ 365 w 1262"/>
                  <a:gd name="T17" fmla="*/ 104 h 905"/>
                  <a:gd name="T18" fmla="*/ 291 w 1262"/>
                  <a:gd name="T19" fmla="*/ 240 h 905"/>
                  <a:gd name="T20" fmla="*/ 118 w 1262"/>
                  <a:gd name="T21" fmla="*/ 370 h 905"/>
                  <a:gd name="T22" fmla="*/ 28 w 1262"/>
                  <a:gd name="T23" fmla="*/ 419 h 905"/>
                  <a:gd name="T24" fmla="*/ 22 w 1262"/>
                  <a:gd name="T25" fmla="*/ 578 h 905"/>
                  <a:gd name="T26" fmla="*/ 222 w 1262"/>
                  <a:gd name="T27" fmla="*/ 755 h 905"/>
                  <a:gd name="T28" fmla="*/ 439 w 1262"/>
                  <a:gd name="T29" fmla="*/ 885 h 905"/>
                  <a:gd name="T30" fmla="*/ 648 w 1262"/>
                  <a:gd name="T31" fmla="*/ 807 h 905"/>
                  <a:gd name="T32" fmla="*/ 938 w 1262"/>
                  <a:gd name="T33" fmla="*/ 874 h 905"/>
                  <a:gd name="T34" fmla="*/ 1095 w 1262"/>
                  <a:gd name="T35" fmla="*/ 785 h 905"/>
                  <a:gd name="T36" fmla="*/ 1137 w 1262"/>
                  <a:gd name="T37" fmla="*/ 666 h 905"/>
                  <a:gd name="T38" fmla="*/ 1228 w 1262"/>
                  <a:gd name="T39" fmla="*/ 606 h 905"/>
                  <a:gd name="T40" fmla="*/ 1228 w 1262"/>
                  <a:gd name="T41" fmla="*/ 427 h 905"/>
                  <a:gd name="T42" fmla="*/ 1108 w 1262"/>
                  <a:gd name="T43" fmla="*/ 607 h 905"/>
                  <a:gd name="T44" fmla="*/ 1076 w 1262"/>
                  <a:gd name="T45" fmla="*/ 649 h 905"/>
                  <a:gd name="T46" fmla="*/ 1041 w 1262"/>
                  <a:gd name="T47" fmla="*/ 760 h 905"/>
                  <a:gd name="T48" fmla="*/ 910 w 1262"/>
                  <a:gd name="T49" fmla="*/ 823 h 905"/>
                  <a:gd name="T50" fmla="*/ 675 w 1262"/>
                  <a:gd name="T51" fmla="*/ 745 h 905"/>
                  <a:gd name="T52" fmla="*/ 626 w 1262"/>
                  <a:gd name="T53" fmla="*/ 745 h 905"/>
                  <a:gd name="T54" fmla="*/ 450 w 1262"/>
                  <a:gd name="T55" fmla="*/ 828 h 905"/>
                  <a:gd name="T56" fmla="*/ 275 w 1262"/>
                  <a:gd name="T57" fmla="*/ 724 h 905"/>
                  <a:gd name="T58" fmla="*/ 240 w 1262"/>
                  <a:gd name="T59" fmla="*/ 697 h 905"/>
                  <a:gd name="T60" fmla="*/ 82 w 1262"/>
                  <a:gd name="T61" fmla="*/ 580 h 905"/>
                  <a:gd name="T62" fmla="*/ 68 w 1262"/>
                  <a:gd name="T63" fmla="*/ 472 h 905"/>
                  <a:gd name="T64" fmla="*/ 127 w 1262"/>
                  <a:gd name="T65" fmla="*/ 430 h 905"/>
                  <a:gd name="T66" fmla="*/ 169 w 1262"/>
                  <a:gd name="T67" fmla="*/ 405 h 905"/>
                  <a:gd name="T68" fmla="*/ 309 w 1262"/>
                  <a:gd name="T69" fmla="*/ 298 h 905"/>
                  <a:gd name="T70" fmla="*/ 345 w 1262"/>
                  <a:gd name="T71" fmla="*/ 271 h 905"/>
                  <a:gd name="T72" fmla="*/ 403 w 1262"/>
                  <a:gd name="T73" fmla="*/ 146 h 905"/>
                  <a:gd name="T74" fmla="*/ 531 w 1262"/>
                  <a:gd name="T75" fmla="*/ 65 h 905"/>
                  <a:gd name="T76" fmla="*/ 663 w 1262"/>
                  <a:gd name="T77" fmla="*/ 115 h 905"/>
                  <a:gd name="T78" fmla="*/ 727 w 1262"/>
                  <a:gd name="T79" fmla="*/ 231 h 905"/>
                  <a:gd name="T80" fmla="*/ 776 w 1262"/>
                  <a:gd name="T81" fmla="*/ 251 h 905"/>
                  <a:gd name="T82" fmla="*/ 968 w 1262"/>
                  <a:gd name="T83" fmla="*/ 222 h 905"/>
                  <a:gd name="T84" fmla="*/ 1110 w 1262"/>
                  <a:gd name="T85" fmla="*/ 375 h 905"/>
                  <a:gd name="T86" fmla="*/ 1139 w 1262"/>
                  <a:gd name="T87" fmla="*/ 403 h 905"/>
                  <a:gd name="T88" fmla="*/ 1175 w 1262"/>
                  <a:gd name="T89" fmla="*/ 445 h 905"/>
                  <a:gd name="T90" fmla="*/ 1184 w 1262"/>
                  <a:gd name="T91" fmla="*/ 568 h 905"/>
                  <a:gd name="T92" fmla="*/ 1108 w 1262"/>
                  <a:gd name="T93" fmla="*/ 607 h 9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62" h="905">
                    <a:moveTo>
                      <a:pt x="1228" y="427"/>
                    </a:moveTo>
                    <a:cubicBezTo>
                      <a:pt x="1228" y="426"/>
                      <a:pt x="1227" y="425"/>
                      <a:pt x="1227" y="424"/>
                    </a:cubicBezTo>
                    <a:cubicBezTo>
                      <a:pt x="1226" y="423"/>
                      <a:pt x="1226" y="422"/>
                      <a:pt x="1225" y="421"/>
                    </a:cubicBezTo>
                    <a:cubicBezTo>
                      <a:pt x="1213" y="391"/>
                      <a:pt x="1194" y="366"/>
                      <a:pt x="1166" y="354"/>
                    </a:cubicBezTo>
                    <a:cubicBezTo>
                      <a:pt x="1157" y="261"/>
                      <a:pt x="1076" y="195"/>
                      <a:pt x="989" y="169"/>
                    </a:cubicBezTo>
                    <a:cubicBezTo>
                      <a:pt x="923" y="150"/>
                      <a:pt x="835" y="142"/>
                      <a:pt x="772" y="179"/>
                    </a:cubicBezTo>
                    <a:cubicBezTo>
                      <a:pt x="759" y="140"/>
                      <a:pt x="736" y="105"/>
                      <a:pt x="705" y="76"/>
                    </a:cubicBezTo>
                    <a:cubicBezTo>
                      <a:pt x="659" y="33"/>
                      <a:pt x="594" y="0"/>
                      <a:pt x="529" y="8"/>
                    </a:cubicBezTo>
                    <a:cubicBezTo>
                      <a:pt x="466" y="17"/>
                      <a:pt x="409" y="59"/>
                      <a:pt x="365" y="104"/>
                    </a:cubicBezTo>
                    <a:cubicBezTo>
                      <a:pt x="329" y="142"/>
                      <a:pt x="300" y="188"/>
                      <a:pt x="291" y="240"/>
                    </a:cubicBezTo>
                    <a:cubicBezTo>
                      <a:pt x="210" y="238"/>
                      <a:pt x="139" y="292"/>
                      <a:pt x="118" y="370"/>
                    </a:cubicBezTo>
                    <a:cubicBezTo>
                      <a:pt x="83" y="368"/>
                      <a:pt x="47" y="388"/>
                      <a:pt x="28" y="419"/>
                    </a:cubicBezTo>
                    <a:cubicBezTo>
                      <a:pt x="0" y="466"/>
                      <a:pt x="9" y="528"/>
                      <a:pt x="22" y="578"/>
                    </a:cubicBezTo>
                    <a:cubicBezTo>
                      <a:pt x="48" y="671"/>
                      <a:pt x="123" y="757"/>
                      <a:pt x="222" y="755"/>
                    </a:cubicBezTo>
                    <a:cubicBezTo>
                      <a:pt x="242" y="846"/>
                      <a:pt x="353" y="883"/>
                      <a:pt x="439" y="885"/>
                    </a:cubicBezTo>
                    <a:cubicBezTo>
                      <a:pt x="516" y="886"/>
                      <a:pt x="594" y="861"/>
                      <a:pt x="648" y="807"/>
                    </a:cubicBezTo>
                    <a:cubicBezTo>
                      <a:pt x="714" y="891"/>
                      <a:pt x="838" y="905"/>
                      <a:pt x="938" y="874"/>
                    </a:cubicBezTo>
                    <a:cubicBezTo>
                      <a:pt x="994" y="857"/>
                      <a:pt x="1055" y="830"/>
                      <a:pt x="1095" y="785"/>
                    </a:cubicBezTo>
                    <a:cubicBezTo>
                      <a:pt x="1125" y="751"/>
                      <a:pt x="1141" y="709"/>
                      <a:pt x="1137" y="666"/>
                    </a:cubicBezTo>
                    <a:cubicBezTo>
                      <a:pt x="1174" y="661"/>
                      <a:pt x="1208" y="638"/>
                      <a:pt x="1228" y="606"/>
                    </a:cubicBezTo>
                    <a:cubicBezTo>
                      <a:pt x="1262" y="552"/>
                      <a:pt x="1251" y="483"/>
                      <a:pt x="1228" y="427"/>
                    </a:cubicBezTo>
                    <a:close/>
                    <a:moveTo>
                      <a:pt x="1108" y="607"/>
                    </a:moveTo>
                    <a:cubicBezTo>
                      <a:pt x="1082" y="598"/>
                      <a:pt x="1066" y="628"/>
                      <a:pt x="1076" y="649"/>
                    </a:cubicBezTo>
                    <a:cubicBezTo>
                      <a:pt x="1095" y="689"/>
                      <a:pt x="1070" y="733"/>
                      <a:pt x="1041" y="760"/>
                    </a:cubicBezTo>
                    <a:cubicBezTo>
                      <a:pt x="1005" y="792"/>
                      <a:pt x="955" y="811"/>
                      <a:pt x="910" y="823"/>
                    </a:cubicBezTo>
                    <a:cubicBezTo>
                      <a:pt x="824" y="846"/>
                      <a:pt x="719" y="831"/>
                      <a:pt x="675" y="745"/>
                    </a:cubicBezTo>
                    <a:cubicBezTo>
                      <a:pt x="665" y="724"/>
                      <a:pt x="638" y="728"/>
                      <a:pt x="626" y="745"/>
                    </a:cubicBezTo>
                    <a:cubicBezTo>
                      <a:pt x="588" y="802"/>
                      <a:pt x="517" y="827"/>
                      <a:pt x="450" y="828"/>
                    </a:cubicBezTo>
                    <a:cubicBezTo>
                      <a:pt x="386" y="829"/>
                      <a:pt x="275" y="808"/>
                      <a:pt x="275" y="724"/>
                    </a:cubicBezTo>
                    <a:cubicBezTo>
                      <a:pt x="275" y="705"/>
                      <a:pt x="257" y="693"/>
                      <a:pt x="240" y="697"/>
                    </a:cubicBezTo>
                    <a:cubicBezTo>
                      <a:pt x="164" y="712"/>
                      <a:pt x="104" y="645"/>
                      <a:pt x="82" y="580"/>
                    </a:cubicBezTo>
                    <a:cubicBezTo>
                      <a:pt x="71" y="547"/>
                      <a:pt x="61" y="507"/>
                      <a:pt x="68" y="472"/>
                    </a:cubicBezTo>
                    <a:cubicBezTo>
                      <a:pt x="73" y="448"/>
                      <a:pt x="98" y="413"/>
                      <a:pt x="127" y="430"/>
                    </a:cubicBezTo>
                    <a:cubicBezTo>
                      <a:pt x="146" y="441"/>
                      <a:pt x="168" y="426"/>
                      <a:pt x="169" y="405"/>
                    </a:cubicBezTo>
                    <a:cubicBezTo>
                      <a:pt x="174" y="335"/>
                      <a:pt x="240" y="284"/>
                      <a:pt x="309" y="298"/>
                    </a:cubicBezTo>
                    <a:cubicBezTo>
                      <a:pt x="327" y="302"/>
                      <a:pt x="345" y="290"/>
                      <a:pt x="345" y="271"/>
                    </a:cubicBezTo>
                    <a:cubicBezTo>
                      <a:pt x="345" y="222"/>
                      <a:pt x="371" y="180"/>
                      <a:pt x="403" y="146"/>
                    </a:cubicBezTo>
                    <a:cubicBezTo>
                      <a:pt x="437" y="110"/>
                      <a:pt x="482" y="74"/>
                      <a:pt x="531" y="65"/>
                    </a:cubicBezTo>
                    <a:cubicBezTo>
                      <a:pt x="579" y="57"/>
                      <a:pt x="629" y="83"/>
                      <a:pt x="663" y="115"/>
                    </a:cubicBezTo>
                    <a:cubicBezTo>
                      <a:pt x="696" y="145"/>
                      <a:pt x="722" y="186"/>
                      <a:pt x="727" y="231"/>
                    </a:cubicBezTo>
                    <a:cubicBezTo>
                      <a:pt x="730" y="253"/>
                      <a:pt x="758" y="273"/>
                      <a:pt x="776" y="251"/>
                    </a:cubicBezTo>
                    <a:cubicBezTo>
                      <a:pt x="821" y="196"/>
                      <a:pt x="906" y="205"/>
                      <a:pt x="968" y="222"/>
                    </a:cubicBezTo>
                    <a:cubicBezTo>
                      <a:pt x="1039" y="242"/>
                      <a:pt x="1112" y="294"/>
                      <a:pt x="1110" y="375"/>
                    </a:cubicBezTo>
                    <a:cubicBezTo>
                      <a:pt x="1110" y="392"/>
                      <a:pt x="1124" y="402"/>
                      <a:pt x="1139" y="403"/>
                    </a:cubicBezTo>
                    <a:cubicBezTo>
                      <a:pt x="1156" y="405"/>
                      <a:pt x="1168" y="429"/>
                      <a:pt x="1175" y="445"/>
                    </a:cubicBezTo>
                    <a:cubicBezTo>
                      <a:pt x="1190" y="483"/>
                      <a:pt x="1203" y="529"/>
                      <a:pt x="1184" y="568"/>
                    </a:cubicBezTo>
                    <a:cubicBezTo>
                      <a:pt x="1171" y="597"/>
                      <a:pt x="1139" y="617"/>
                      <a:pt x="1108" y="607"/>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grpSp>
        <p:grpSp>
          <p:nvGrpSpPr>
            <p:cNvPr id="30" name="Group 10">
              <a:extLst>
                <a:ext uri="{FF2B5EF4-FFF2-40B4-BE49-F238E27FC236}">
                  <a16:creationId xmlns:a16="http://schemas.microsoft.com/office/drawing/2014/main" id="{A2BC5F72-5478-483D-B576-D2FCE461BF21}"/>
                </a:ext>
              </a:extLst>
            </p:cNvPr>
            <p:cNvGrpSpPr/>
            <p:nvPr/>
          </p:nvGrpSpPr>
          <p:grpSpPr>
            <a:xfrm>
              <a:off x="6482554" y="4110283"/>
              <a:ext cx="2073865" cy="1481959"/>
              <a:chOff x="6482554" y="4110283"/>
              <a:chExt cx="2073865" cy="1481959"/>
            </a:xfrm>
          </p:grpSpPr>
          <p:sp>
            <p:nvSpPr>
              <p:cNvPr id="40" name="Freeform 10">
                <a:extLst>
                  <a:ext uri="{FF2B5EF4-FFF2-40B4-BE49-F238E27FC236}">
                    <a16:creationId xmlns:a16="http://schemas.microsoft.com/office/drawing/2014/main" id="{2787EEA7-5AED-417B-9ABD-CE8C6D54E87C}"/>
                  </a:ext>
                </a:extLst>
              </p:cNvPr>
              <p:cNvSpPr>
                <a:spLocks/>
              </p:cNvSpPr>
              <p:nvPr/>
            </p:nvSpPr>
            <p:spPr bwMode="auto">
              <a:xfrm>
                <a:off x="6582302" y="4201262"/>
                <a:ext cx="1877660" cy="1296714"/>
              </a:xfrm>
              <a:custGeom>
                <a:avLst/>
                <a:gdLst>
                  <a:gd name="T0" fmla="*/ 1078 w 1142"/>
                  <a:gd name="T1" fmla="*/ 347 h 790"/>
                  <a:gd name="T2" fmla="*/ 1049 w 1142"/>
                  <a:gd name="T3" fmla="*/ 319 h 790"/>
                  <a:gd name="T4" fmla="*/ 907 w 1142"/>
                  <a:gd name="T5" fmla="*/ 166 h 790"/>
                  <a:gd name="T6" fmla="*/ 715 w 1142"/>
                  <a:gd name="T7" fmla="*/ 195 h 790"/>
                  <a:gd name="T8" fmla="*/ 666 w 1142"/>
                  <a:gd name="T9" fmla="*/ 175 h 790"/>
                  <a:gd name="T10" fmla="*/ 602 w 1142"/>
                  <a:gd name="T11" fmla="*/ 58 h 790"/>
                  <a:gd name="T12" fmla="*/ 470 w 1142"/>
                  <a:gd name="T13" fmla="*/ 9 h 790"/>
                  <a:gd name="T14" fmla="*/ 342 w 1142"/>
                  <a:gd name="T15" fmla="*/ 90 h 790"/>
                  <a:gd name="T16" fmla="*/ 284 w 1142"/>
                  <a:gd name="T17" fmla="*/ 215 h 790"/>
                  <a:gd name="T18" fmla="*/ 248 w 1142"/>
                  <a:gd name="T19" fmla="*/ 242 h 790"/>
                  <a:gd name="T20" fmla="*/ 108 w 1142"/>
                  <a:gd name="T21" fmla="*/ 349 h 790"/>
                  <a:gd name="T22" fmla="*/ 66 w 1142"/>
                  <a:gd name="T23" fmla="*/ 374 h 790"/>
                  <a:gd name="T24" fmla="*/ 7 w 1142"/>
                  <a:gd name="T25" fmla="*/ 416 h 790"/>
                  <a:gd name="T26" fmla="*/ 21 w 1142"/>
                  <a:gd name="T27" fmla="*/ 524 h 790"/>
                  <a:gd name="T28" fmla="*/ 179 w 1142"/>
                  <a:gd name="T29" fmla="*/ 641 h 790"/>
                  <a:gd name="T30" fmla="*/ 214 w 1142"/>
                  <a:gd name="T31" fmla="*/ 668 h 790"/>
                  <a:gd name="T32" fmla="*/ 389 w 1142"/>
                  <a:gd name="T33" fmla="*/ 772 h 790"/>
                  <a:gd name="T34" fmla="*/ 565 w 1142"/>
                  <a:gd name="T35" fmla="*/ 688 h 790"/>
                  <a:gd name="T36" fmla="*/ 614 w 1142"/>
                  <a:gd name="T37" fmla="*/ 688 h 790"/>
                  <a:gd name="T38" fmla="*/ 849 w 1142"/>
                  <a:gd name="T39" fmla="*/ 767 h 790"/>
                  <a:gd name="T40" fmla="*/ 980 w 1142"/>
                  <a:gd name="T41" fmla="*/ 704 h 790"/>
                  <a:gd name="T42" fmla="*/ 1015 w 1142"/>
                  <a:gd name="T43" fmla="*/ 592 h 790"/>
                  <a:gd name="T44" fmla="*/ 1047 w 1142"/>
                  <a:gd name="T45" fmla="*/ 551 h 790"/>
                  <a:gd name="T46" fmla="*/ 1123 w 1142"/>
                  <a:gd name="T47" fmla="*/ 512 h 790"/>
                  <a:gd name="T48" fmla="*/ 1113 w 1142"/>
                  <a:gd name="T49" fmla="*/ 389 h 790"/>
                  <a:gd name="T50" fmla="*/ 1078 w 1142"/>
                  <a:gd name="T51" fmla="*/ 347 h 7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42" h="790">
                    <a:moveTo>
                      <a:pt x="1078" y="347"/>
                    </a:moveTo>
                    <a:cubicBezTo>
                      <a:pt x="1063" y="346"/>
                      <a:pt x="1049" y="335"/>
                      <a:pt x="1049" y="319"/>
                    </a:cubicBezTo>
                    <a:cubicBezTo>
                      <a:pt x="1051" y="238"/>
                      <a:pt x="978" y="186"/>
                      <a:pt x="907" y="166"/>
                    </a:cubicBezTo>
                    <a:cubicBezTo>
                      <a:pt x="845" y="149"/>
                      <a:pt x="760" y="140"/>
                      <a:pt x="715" y="195"/>
                    </a:cubicBezTo>
                    <a:cubicBezTo>
                      <a:pt x="697" y="216"/>
                      <a:pt x="669" y="196"/>
                      <a:pt x="666" y="175"/>
                    </a:cubicBezTo>
                    <a:cubicBezTo>
                      <a:pt x="661" y="130"/>
                      <a:pt x="635" y="89"/>
                      <a:pt x="602" y="58"/>
                    </a:cubicBezTo>
                    <a:cubicBezTo>
                      <a:pt x="568" y="27"/>
                      <a:pt x="518" y="0"/>
                      <a:pt x="470" y="9"/>
                    </a:cubicBezTo>
                    <a:cubicBezTo>
                      <a:pt x="421" y="18"/>
                      <a:pt x="376" y="54"/>
                      <a:pt x="342" y="90"/>
                    </a:cubicBezTo>
                    <a:cubicBezTo>
                      <a:pt x="310" y="124"/>
                      <a:pt x="284" y="166"/>
                      <a:pt x="284" y="215"/>
                    </a:cubicBezTo>
                    <a:cubicBezTo>
                      <a:pt x="284" y="234"/>
                      <a:pt x="266" y="246"/>
                      <a:pt x="248" y="242"/>
                    </a:cubicBezTo>
                    <a:cubicBezTo>
                      <a:pt x="179" y="228"/>
                      <a:pt x="113" y="279"/>
                      <a:pt x="108" y="349"/>
                    </a:cubicBezTo>
                    <a:cubicBezTo>
                      <a:pt x="107" y="370"/>
                      <a:pt x="85" y="385"/>
                      <a:pt x="66" y="374"/>
                    </a:cubicBezTo>
                    <a:cubicBezTo>
                      <a:pt x="37" y="357"/>
                      <a:pt x="12" y="391"/>
                      <a:pt x="7" y="416"/>
                    </a:cubicBezTo>
                    <a:cubicBezTo>
                      <a:pt x="0" y="451"/>
                      <a:pt x="10" y="491"/>
                      <a:pt x="21" y="524"/>
                    </a:cubicBezTo>
                    <a:cubicBezTo>
                      <a:pt x="43" y="589"/>
                      <a:pt x="103" y="656"/>
                      <a:pt x="179" y="641"/>
                    </a:cubicBezTo>
                    <a:cubicBezTo>
                      <a:pt x="196" y="637"/>
                      <a:pt x="214" y="649"/>
                      <a:pt x="214" y="668"/>
                    </a:cubicBezTo>
                    <a:cubicBezTo>
                      <a:pt x="214" y="751"/>
                      <a:pt x="325" y="773"/>
                      <a:pt x="389" y="772"/>
                    </a:cubicBezTo>
                    <a:cubicBezTo>
                      <a:pt x="456" y="771"/>
                      <a:pt x="527" y="746"/>
                      <a:pt x="565" y="688"/>
                    </a:cubicBezTo>
                    <a:cubicBezTo>
                      <a:pt x="577" y="672"/>
                      <a:pt x="604" y="668"/>
                      <a:pt x="614" y="688"/>
                    </a:cubicBezTo>
                    <a:cubicBezTo>
                      <a:pt x="658" y="775"/>
                      <a:pt x="763" y="790"/>
                      <a:pt x="849" y="767"/>
                    </a:cubicBezTo>
                    <a:cubicBezTo>
                      <a:pt x="894" y="755"/>
                      <a:pt x="944" y="735"/>
                      <a:pt x="980" y="704"/>
                    </a:cubicBezTo>
                    <a:cubicBezTo>
                      <a:pt x="1009" y="677"/>
                      <a:pt x="1034" y="632"/>
                      <a:pt x="1015" y="592"/>
                    </a:cubicBezTo>
                    <a:cubicBezTo>
                      <a:pt x="1005" y="572"/>
                      <a:pt x="1021" y="542"/>
                      <a:pt x="1047" y="551"/>
                    </a:cubicBezTo>
                    <a:cubicBezTo>
                      <a:pt x="1078" y="561"/>
                      <a:pt x="1110" y="541"/>
                      <a:pt x="1123" y="512"/>
                    </a:cubicBezTo>
                    <a:cubicBezTo>
                      <a:pt x="1142" y="473"/>
                      <a:pt x="1129" y="427"/>
                      <a:pt x="1113" y="389"/>
                    </a:cubicBezTo>
                    <a:cubicBezTo>
                      <a:pt x="1107" y="373"/>
                      <a:pt x="1095" y="349"/>
                      <a:pt x="1078" y="347"/>
                    </a:cubicBez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41" name="Freeform 11">
                <a:extLst>
                  <a:ext uri="{FF2B5EF4-FFF2-40B4-BE49-F238E27FC236}">
                    <a16:creationId xmlns:a16="http://schemas.microsoft.com/office/drawing/2014/main" id="{6E31EF45-9CAC-4375-94F1-2E4B7F7DD0C8}"/>
                  </a:ext>
                </a:extLst>
              </p:cNvPr>
              <p:cNvSpPr>
                <a:spLocks noEditPoints="1"/>
              </p:cNvSpPr>
              <p:nvPr/>
            </p:nvSpPr>
            <p:spPr bwMode="auto">
              <a:xfrm>
                <a:off x="6482554" y="4110283"/>
                <a:ext cx="2073865" cy="1481959"/>
              </a:xfrm>
              <a:custGeom>
                <a:avLst/>
                <a:gdLst>
                  <a:gd name="T0" fmla="*/ 1228 w 1262"/>
                  <a:gd name="T1" fmla="*/ 427 h 904"/>
                  <a:gd name="T2" fmla="*/ 1227 w 1262"/>
                  <a:gd name="T3" fmla="*/ 424 h 904"/>
                  <a:gd name="T4" fmla="*/ 1225 w 1262"/>
                  <a:gd name="T5" fmla="*/ 421 h 904"/>
                  <a:gd name="T6" fmla="*/ 1166 w 1262"/>
                  <a:gd name="T7" fmla="*/ 354 h 904"/>
                  <a:gd name="T8" fmla="*/ 989 w 1262"/>
                  <a:gd name="T9" fmla="*/ 169 h 904"/>
                  <a:gd name="T10" fmla="*/ 772 w 1262"/>
                  <a:gd name="T11" fmla="*/ 179 h 904"/>
                  <a:gd name="T12" fmla="*/ 705 w 1262"/>
                  <a:gd name="T13" fmla="*/ 76 h 904"/>
                  <a:gd name="T14" fmla="*/ 529 w 1262"/>
                  <a:gd name="T15" fmla="*/ 8 h 904"/>
                  <a:gd name="T16" fmla="*/ 365 w 1262"/>
                  <a:gd name="T17" fmla="*/ 103 h 904"/>
                  <a:gd name="T18" fmla="*/ 291 w 1262"/>
                  <a:gd name="T19" fmla="*/ 240 h 904"/>
                  <a:gd name="T20" fmla="*/ 118 w 1262"/>
                  <a:gd name="T21" fmla="*/ 370 h 904"/>
                  <a:gd name="T22" fmla="*/ 28 w 1262"/>
                  <a:gd name="T23" fmla="*/ 419 h 904"/>
                  <a:gd name="T24" fmla="*/ 22 w 1262"/>
                  <a:gd name="T25" fmla="*/ 577 h 904"/>
                  <a:gd name="T26" fmla="*/ 222 w 1262"/>
                  <a:gd name="T27" fmla="*/ 755 h 904"/>
                  <a:gd name="T28" fmla="*/ 439 w 1262"/>
                  <a:gd name="T29" fmla="*/ 884 h 904"/>
                  <a:gd name="T30" fmla="*/ 648 w 1262"/>
                  <a:gd name="T31" fmla="*/ 807 h 904"/>
                  <a:gd name="T32" fmla="*/ 938 w 1262"/>
                  <a:gd name="T33" fmla="*/ 874 h 904"/>
                  <a:gd name="T34" fmla="*/ 1095 w 1262"/>
                  <a:gd name="T35" fmla="*/ 785 h 904"/>
                  <a:gd name="T36" fmla="*/ 1137 w 1262"/>
                  <a:gd name="T37" fmla="*/ 666 h 904"/>
                  <a:gd name="T38" fmla="*/ 1228 w 1262"/>
                  <a:gd name="T39" fmla="*/ 606 h 904"/>
                  <a:gd name="T40" fmla="*/ 1228 w 1262"/>
                  <a:gd name="T41" fmla="*/ 427 h 904"/>
                  <a:gd name="T42" fmla="*/ 1108 w 1262"/>
                  <a:gd name="T43" fmla="*/ 607 h 904"/>
                  <a:gd name="T44" fmla="*/ 1076 w 1262"/>
                  <a:gd name="T45" fmla="*/ 648 h 904"/>
                  <a:gd name="T46" fmla="*/ 1041 w 1262"/>
                  <a:gd name="T47" fmla="*/ 760 h 904"/>
                  <a:gd name="T48" fmla="*/ 910 w 1262"/>
                  <a:gd name="T49" fmla="*/ 823 h 904"/>
                  <a:gd name="T50" fmla="*/ 675 w 1262"/>
                  <a:gd name="T51" fmla="*/ 744 h 904"/>
                  <a:gd name="T52" fmla="*/ 626 w 1262"/>
                  <a:gd name="T53" fmla="*/ 744 h 904"/>
                  <a:gd name="T54" fmla="*/ 450 w 1262"/>
                  <a:gd name="T55" fmla="*/ 828 h 904"/>
                  <a:gd name="T56" fmla="*/ 275 w 1262"/>
                  <a:gd name="T57" fmla="*/ 724 h 904"/>
                  <a:gd name="T58" fmla="*/ 240 w 1262"/>
                  <a:gd name="T59" fmla="*/ 697 h 904"/>
                  <a:gd name="T60" fmla="*/ 82 w 1262"/>
                  <a:gd name="T61" fmla="*/ 580 h 904"/>
                  <a:gd name="T62" fmla="*/ 68 w 1262"/>
                  <a:gd name="T63" fmla="*/ 472 h 904"/>
                  <a:gd name="T64" fmla="*/ 127 w 1262"/>
                  <a:gd name="T65" fmla="*/ 430 h 904"/>
                  <a:gd name="T66" fmla="*/ 169 w 1262"/>
                  <a:gd name="T67" fmla="*/ 405 h 904"/>
                  <a:gd name="T68" fmla="*/ 309 w 1262"/>
                  <a:gd name="T69" fmla="*/ 298 h 904"/>
                  <a:gd name="T70" fmla="*/ 345 w 1262"/>
                  <a:gd name="T71" fmla="*/ 271 h 904"/>
                  <a:gd name="T72" fmla="*/ 403 w 1262"/>
                  <a:gd name="T73" fmla="*/ 146 h 904"/>
                  <a:gd name="T74" fmla="*/ 531 w 1262"/>
                  <a:gd name="T75" fmla="*/ 65 h 904"/>
                  <a:gd name="T76" fmla="*/ 663 w 1262"/>
                  <a:gd name="T77" fmla="*/ 114 h 904"/>
                  <a:gd name="T78" fmla="*/ 727 w 1262"/>
                  <a:gd name="T79" fmla="*/ 231 h 904"/>
                  <a:gd name="T80" fmla="*/ 776 w 1262"/>
                  <a:gd name="T81" fmla="*/ 251 h 904"/>
                  <a:gd name="T82" fmla="*/ 968 w 1262"/>
                  <a:gd name="T83" fmla="*/ 222 h 904"/>
                  <a:gd name="T84" fmla="*/ 1110 w 1262"/>
                  <a:gd name="T85" fmla="*/ 375 h 904"/>
                  <a:gd name="T86" fmla="*/ 1139 w 1262"/>
                  <a:gd name="T87" fmla="*/ 403 h 904"/>
                  <a:gd name="T88" fmla="*/ 1174 w 1262"/>
                  <a:gd name="T89" fmla="*/ 445 h 904"/>
                  <a:gd name="T90" fmla="*/ 1184 w 1262"/>
                  <a:gd name="T91" fmla="*/ 568 h 904"/>
                  <a:gd name="T92" fmla="*/ 1108 w 1262"/>
                  <a:gd name="T93" fmla="*/ 607 h 9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62" h="904">
                    <a:moveTo>
                      <a:pt x="1228" y="427"/>
                    </a:moveTo>
                    <a:cubicBezTo>
                      <a:pt x="1228" y="426"/>
                      <a:pt x="1227" y="425"/>
                      <a:pt x="1227" y="424"/>
                    </a:cubicBezTo>
                    <a:cubicBezTo>
                      <a:pt x="1226" y="423"/>
                      <a:pt x="1226" y="422"/>
                      <a:pt x="1225" y="421"/>
                    </a:cubicBezTo>
                    <a:cubicBezTo>
                      <a:pt x="1213" y="391"/>
                      <a:pt x="1194" y="366"/>
                      <a:pt x="1166" y="354"/>
                    </a:cubicBezTo>
                    <a:cubicBezTo>
                      <a:pt x="1157" y="261"/>
                      <a:pt x="1076" y="195"/>
                      <a:pt x="989" y="169"/>
                    </a:cubicBezTo>
                    <a:cubicBezTo>
                      <a:pt x="922" y="150"/>
                      <a:pt x="834" y="141"/>
                      <a:pt x="772" y="179"/>
                    </a:cubicBezTo>
                    <a:cubicBezTo>
                      <a:pt x="759" y="140"/>
                      <a:pt x="736" y="105"/>
                      <a:pt x="705" y="76"/>
                    </a:cubicBezTo>
                    <a:cubicBezTo>
                      <a:pt x="658" y="33"/>
                      <a:pt x="594" y="0"/>
                      <a:pt x="529" y="8"/>
                    </a:cubicBezTo>
                    <a:cubicBezTo>
                      <a:pt x="466" y="16"/>
                      <a:pt x="409" y="58"/>
                      <a:pt x="365" y="103"/>
                    </a:cubicBezTo>
                    <a:cubicBezTo>
                      <a:pt x="329" y="142"/>
                      <a:pt x="300" y="188"/>
                      <a:pt x="291" y="240"/>
                    </a:cubicBezTo>
                    <a:cubicBezTo>
                      <a:pt x="210" y="238"/>
                      <a:pt x="139" y="291"/>
                      <a:pt x="118" y="370"/>
                    </a:cubicBezTo>
                    <a:cubicBezTo>
                      <a:pt x="83" y="368"/>
                      <a:pt x="47" y="388"/>
                      <a:pt x="28" y="419"/>
                    </a:cubicBezTo>
                    <a:cubicBezTo>
                      <a:pt x="0" y="466"/>
                      <a:pt x="9" y="527"/>
                      <a:pt x="22" y="577"/>
                    </a:cubicBezTo>
                    <a:cubicBezTo>
                      <a:pt x="48" y="671"/>
                      <a:pt x="123" y="757"/>
                      <a:pt x="222" y="755"/>
                    </a:cubicBezTo>
                    <a:cubicBezTo>
                      <a:pt x="242" y="846"/>
                      <a:pt x="353" y="883"/>
                      <a:pt x="439" y="884"/>
                    </a:cubicBezTo>
                    <a:cubicBezTo>
                      <a:pt x="516" y="886"/>
                      <a:pt x="594" y="861"/>
                      <a:pt x="648" y="807"/>
                    </a:cubicBezTo>
                    <a:cubicBezTo>
                      <a:pt x="714" y="891"/>
                      <a:pt x="838" y="904"/>
                      <a:pt x="938" y="874"/>
                    </a:cubicBezTo>
                    <a:cubicBezTo>
                      <a:pt x="994" y="857"/>
                      <a:pt x="1055" y="830"/>
                      <a:pt x="1095" y="785"/>
                    </a:cubicBezTo>
                    <a:cubicBezTo>
                      <a:pt x="1125" y="751"/>
                      <a:pt x="1141" y="708"/>
                      <a:pt x="1137" y="666"/>
                    </a:cubicBezTo>
                    <a:cubicBezTo>
                      <a:pt x="1174" y="661"/>
                      <a:pt x="1208" y="637"/>
                      <a:pt x="1228" y="606"/>
                    </a:cubicBezTo>
                    <a:cubicBezTo>
                      <a:pt x="1262" y="552"/>
                      <a:pt x="1251" y="483"/>
                      <a:pt x="1228" y="427"/>
                    </a:cubicBezTo>
                    <a:close/>
                    <a:moveTo>
                      <a:pt x="1108" y="607"/>
                    </a:moveTo>
                    <a:cubicBezTo>
                      <a:pt x="1082" y="598"/>
                      <a:pt x="1066" y="628"/>
                      <a:pt x="1076" y="648"/>
                    </a:cubicBezTo>
                    <a:cubicBezTo>
                      <a:pt x="1095" y="688"/>
                      <a:pt x="1070" y="733"/>
                      <a:pt x="1041" y="760"/>
                    </a:cubicBezTo>
                    <a:cubicBezTo>
                      <a:pt x="1005" y="791"/>
                      <a:pt x="955" y="811"/>
                      <a:pt x="910" y="823"/>
                    </a:cubicBezTo>
                    <a:cubicBezTo>
                      <a:pt x="824" y="846"/>
                      <a:pt x="719" y="831"/>
                      <a:pt x="675" y="744"/>
                    </a:cubicBezTo>
                    <a:cubicBezTo>
                      <a:pt x="665" y="724"/>
                      <a:pt x="638" y="728"/>
                      <a:pt x="626" y="744"/>
                    </a:cubicBezTo>
                    <a:cubicBezTo>
                      <a:pt x="588" y="802"/>
                      <a:pt x="517" y="827"/>
                      <a:pt x="450" y="828"/>
                    </a:cubicBezTo>
                    <a:cubicBezTo>
                      <a:pt x="386" y="829"/>
                      <a:pt x="275" y="807"/>
                      <a:pt x="275" y="724"/>
                    </a:cubicBezTo>
                    <a:cubicBezTo>
                      <a:pt x="275" y="705"/>
                      <a:pt x="257" y="693"/>
                      <a:pt x="240" y="697"/>
                    </a:cubicBezTo>
                    <a:cubicBezTo>
                      <a:pt x="164" y="712"/>
                      <a:pt x="104" y="645"/>
                      <a:pt x="82" y="580"/>
                    </a:cubicBezTo>
                    <a:cubicBezTo>
                      <a:pt x="71" y="547"/>
                      <a:pt x="61" y="507"/>
                      <a:pt x="68" y="472"/>
                    </a:cubicBezTo>
                    <a:cubicBezTo>
                      <a:pt x="73" y="447"/>
                      <a:pt x="98" y="413"/>
                      <a:pt x="127" y="430"/>
                    </a:cubicBezTo>
                    <a:cubicBezTo>
                      <a:pt x="146" y="441"/>
                      <a:pt x="168" y="426"/>
                      <a:pt x="169" y="405"/>
                    </a:cubicBezTo>
                    <a:cubicBezTo>
                      <a:pt x="174" y="335"/>
                      <a:pt x="240" y="284"/>
                      <a:pt x="309" y="298"/>
                    </a:cubicBezTo>
                    <a:cubicBezTo>
                      <a:pt x="327" y="302"/>
                      <a:pt x="345" y="290"/>
                      <a:pt x="345" y="271"/>
                    </a:cubicBezTo>
                    <a:cubicBezTo>
                      <a:pt x="345" y="222"/>
                      <a:pt x="371" y="180"/>
                      <a:pt x="403" y="146"/>
                    </a:cubicBezTo>
                    <a:cubicBezTo>
                      <a:pt x="437" y="110"/>
                      <a:pt x="482" y="74"/>
                      <a:pt x="531" y="65"/>
                    </a:cubicBezTo>
                    <a:cubicBezTo>
                      <a:pt x="579" y="56"/>
                      <a:pt x="629" y="83"/>
                      <a:pt x="663" y="114"/>
                    </a:cubicBezTo>
                    <a:cubicBezTo>
                      <a:pt x="696" y="145"/>
                      <a:pt x="722" y="186"/>
                      <a:pt x="727" y="231"/>
                    </a:cubicBezTo>
                    <a:cubicBezTo>
                      <a:pt x="730" y="252"/>
                      <a:pt x="758" y="272"/>
                      <a:pt x="776" y="251"/>
                    </a:cubicBezTo>
                    <a:cubicBezTo>
                      <a:pt x="821" y="196"/>
                      <a:pt x="906" y="205"/>
                      <a:pt x="968" y="222"/>
                    </a:cubicBezTo>
                    <a:cubicBezTo>
                      <a:pt x="1039" y="242"/>
                      <a:pt x="1112" y="294"/>
                      <a:pt x="1110" y="375"/>
                    </a:cubicBezTo>
                    <a:cubicBezTo>
                      <a:pt x="1110" y="391"/>
                      <a:pt x="1124" y="402"/>
                      <a:pt x="1139" y="403"/>
                    </a:cubicBezTo>
                    <a:cubicBezTo>
                      <a:pt x="1156" y="405"/>
                      <a:pt x="1168" y="429"/>
                      <a:pt x="1174" y="445"/>
                    </a:cubicBezTo>
                    <a:cubicBezTo>
                      <a:pt x="1190" y="483"/>
                      <a:pt x="1203" y="529"/>
                      <a:pt x="1184" y="568"/>
                    </a:cubicBezTo>
                    <a:cubicBezTo>
                      <a:pt x="1171" y="597"/>
                      <a:pt x="1139" y="617"/>
                      <a:pt x="1108" y="607"/>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grpSp>
        <p:grpSp>
          <p:nvGrpSpPr>
            <p:cNvPr id="31" name="Group 13">
              <a:extLst>
                <a:ext uri="{FF2B5EF4-FFF2-40B4-BE49-F238E27FC236}">
                  <a16:creationId xmlns:a16="http://schemas.microsoft.com/office/drawing/2014/main" id="{AD15C8D9-E1D0-485D-A350-12E97A5BBA60}"/>
                </a:ext>
              </a:extLst>
            </p:cNvPr>
            <p:cNvGrpSpPr/>
            <p:nvPr/>
          </p:nvGrpSpPr>
          <p:grpSpPr>
            <a:xfrm>
              <a:off x="6229350" y="2995526"/>
              <a:ext cx="2073865" cy="1485248"/>
              <a:chOff x="6229350" y="2995526"/>
              <a:chExt cx="2073865" cy="1485248"/>
            </a:xfrm>
          </p:grpSpPr>
          <p:sp>
            <p:nvSpPr>
              <p:cNvPr id="38" name="Freeform 12">
                <a:extLst>
                  <a:ext uri="{FF2B5EF4-FFF2-40B4-BE49-F238E27FC236}">
                    <a16:creationId xmlns:a16="http://schemas.microsoft.com/office/drawing/2014/main" id="{66F21D68-CB7F-4FFA-84E0-E653B11F448A}"/>
                  </a:ext>
                </a:extLst>
              </p:cNvPr>
              <p:cNvSpPr>
                <a:spLocks/>
              </p:cNvSpPr>
              <p:nvPr/>
            </p:nvSpPr>
            <p:spPr bwMode="auto">
              <a:xfrm>
                <a:off x="6329097" y="3089792"/>
                <a:ext cx="1875467" cy="1295618"/>
              </a:xfrm>
              <a:custGeom>
                <a:avLst/>
                <a:gdLst>
                  <a:gd name="T0" fmla="*/ 1077 w 1141"/>
                  <a:gd name="T1" fmla="*/ 347 h 790"/>
                  <a:gd name="T2" fmla="*/ 1049 w 1141"/>
                  <a:gd name="T3" fmla="*/ 319 h 790"/>
                  <a:gd name="T4" fmla="*/ 907 w 1141"/>
                  <a:gd name="T5" fmla="*/ 166 h 790"/>
                  <a:gd name="T6" fmla="*/ 714 w 1141"/>
                  <a:gd name="T7" fmla="*/ 195 h 790"/>
                  <a:gd name="T8" fmla="*/ 666 w 1141"/>
                  <a:gd name="T9" fmla="*/ 175 h 790"/>
                  <a:gd name="T10" fmla="*/ 602 w 1141"/>
                  <a:gd name="T11" fmla="*/ 58 h 790"/>
                  <a:gd name="T12" fmla="*/ 470 w 1141"/>
                  <a:gd name="T13" fmla="*/ 8 h 790"/>
                  <a:gd name="T14" fmla="*/ 342 w 1141"/>
                  <a:gd name="T15" fmla="*/ 89 h 790"/>
                  <a:gd name="T16" fmla="*/ 284 w 1141"/>
                  <a:gd name="T17" fmla="*/ 214 h 790"/>
                  <a:gd name="T18" fmla="*/ 248 w 1141"/>
                  <a:gd name="T19" fmla="*/ 242 h 790"/>
                  <a:gd name="T20" fmla="*/ 108 w 1141"/>
                  <a:gd name="T21" fmla="*/ 349 h 790"/>
                  <a:gd name="T22" fmla="*/ 65 w 1141"/>
                  <a:gd name="T23" fmla="*/ 373 h 790"/>
                  <a:gd name="T24" fmla="*/ 7 w 1141"/>
                  <a:gd name="T25" fmla="*/ 415 h 790"/>
                  <a:gd name="T26" fmla="*/ 21 w 1141"/>
                  <a:gd name="T27" fmla="*/ 523 h 790"/>
                  <a:gd name="T28" fmla="*/ 178 w 1141"/>
                  <a:gd name="T29" fmla="*/ 640 h 790"/>
                  <a:gd name="T30" fmla="*/ 214 w 1141"/>
                  <a:gd name="T31" fmla="*/ 668 h 790"/>
                  <a:gd name="T32" fmla="*/ 389 w 1141"/>
                  <a:gd name="T33" fmla="*/ 771 h 790"/>
                  <a:gd name="T34" fmla="*/ 565 w 1141"/>
                  <a:gd name="T35" fmla="*/ 688 h 790"/>
                  <a:gd name="T36" fmla="*/ 614 w 1141"/>
                  <a:gd name="T37" fmla="*/ 688 h 790"/>
                  <a:gd name="T38" fmla="*/ 848 w 1141"/>
                  <a:gd name="T39" fmla="*/ 767 h 790"/>
                  <a:gd name="T40" fmla="*/ 979 w 1141"/>
                  <a:gd name="T41" fmla="*/ 703 h 790"/>
                  <a:gd name="T42" fmla="*/ 1014 w 1141"/>
                  <a:gd name="T43" fmla="*/ 592 h 790"/>
                  <a:gd name="T44" fmla="*/ 1046 w 1141"/>
                  <a:gd name="T45" fmla="*/ 550 h 790"/>
                  <a:gd name="T46" fmla="*/ 1123 w 1141"/>
                  <a:gd name="T47" fmla="*/ 512 h 790"/>
                  <a:gd name="T48" fmla="*/ 1113 w 1141"/>
                  <a:gd name="T49" fmla="*/ 388 h 790"/>
                  <a:gd name="T50" fmla="*/ 1077 w 1141"/>
                  <a:gd name="T51" fmla="*/ 347 h 7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41" h="790">
                    <a:moveTo>
                      <a:pt x="1077" y="347"/>
                    </a:moveTo>
                    <a:cubicBezTo>
                      <a:pt x="1062" y="345"/>
                      <a:pt x="1049" y="335"/>
                      <a:pt x="1049" y="319"/>
                    </a:cubicBezTo>
                    <a:cubicBezTo>
                      <a:pt x="1050" y="237"/>
                      <a:pt x="978" y="185"/>
                      <a:pt x="907" y="166"/>
                    </a:cubicBezTo>
                    <a:cubicBezTo>
                      <a:pt x="845" y="149"/>
                      <a:pt x="759" y="139"/>
                      <a:pt x="714" y="195"/>
                    </a:cubicBezTo>
                    <a:cubicBezTo>
                      <a:pt x="697" y="216"/>
                      <a:pt x="668" y="196"/>
                      <a:pt x="666" y="175"/>
                    </a:cubicBezTo>
                    <a:cubicBezTo>
                      <a:pt x="661" y="129"/>
                      <a:pt x="635" y="88"/>
                      <a:pt x="602" y="58"/>
                    </a:cubicBezTo>
                    <a:cubicBezTo>
                      <a:pt x="567" y="27"/>
                      <a:pt x="518" y="0"/>
                      <a:pt x="470" y="8"/>
                    </a:cubicBezTo>
                    <a:cubicBezTo>
                      <a:pt x="420" y="17"/>
                      <a:pt x="376" y="54"/>
                      <a:pt x="342" y="89"/>
                    </a:cubicBezTo>
                    <a:cubicBezTo>
                      <a:pt x="310" y="124"/>
                      <a:pt x="284" y="166"/>
                      <a:pt x="284" y="214"/>
                    </a:cubicBezTo>
                    <a:cubicBezTo>
                      <a:pt x="284" y="234"/>
                      <a:pt x="266" y="245"/>
                      <a:pt x="248" y="242"/>
                    </a:cubicBezTo>
                    <a:cubicBezTo>
                      <a:pt x="179" y="228"/>
                      <a:pt x="112" y="278"/>
                      <a:pt x="108" y="349"/>
                    </a:cubicBezTo>
                    <a:cubicBezTo>
                      <a:pt x="107" y="370"/>
                      <a:pt x="85" y="385"/>
                      <a:pt x="65" y="373"/>
                    </a:cubicBezTo>
                    <a:cubicBezTo>
                      <a:pt x="37" y="357"/>
                      <a:pt x="12" y="391"/>
                      <a:pt x="7" y="415"/>
                    </a:cubicBezTo>
                    <a:cubicBezTo>
                      <a:pt x="0" y="450"/>
                      <a:pt x="10" y="490"/>
                      <a:pt x="21" y="523"/>
                    </a:cubicBezTo>
                    <a:cubicBezTo>
                      <a:pt x="43" y="589"/>
                      <a:pt x="102" y="656"/>
                      <a:pt x="178" y="640"/>
                    </a:cubicBezTo>
                    <a:cubicBezTo>
                      <a:pt x="196" y="637"/>
                      <a:pt x="214" y="648"/>
                      <a:pt x="214" y="668"/>
                    </a:cubicBezTo>
                    <a:cubicBezTo>
                      <a:pt x="214" y="751"/>
                      <a:pt x="324" y="772"/>
                      <a:pt x="389" y="771"/>
                    </a:cubicBezTo>
                    <a:cubicBezTo>
                      <a:pt x="456" y="770"/>
                      <a:pt x="526" y="745"/>
                      <a:pt x="565" y="688"/>
                    </a:cubicBezTo>
                    <a:cubicBezTo>
                      <a:pt x="576" y="672"/>
                      <a:pt x="604" y="668"/>
                      <a:pt x="614" y="688"/>
                    </a:cubicBezTo>
                    <a:cubicBezTo>
                      <a:pt x="658" y="775"/>
                      <a:pt x="763" y="790"/>
                      <a:pt x="848" y="767"/>
                    </a:cubicBezTo>
                    <a:cubicBezTo>
                      <a:pt x="894" y="755"/>
                      <a:pt x="944" y="735"/>
                      <a:pt x="979" y="703"/>
                    </a:cubicBezTo>
                    <a:cubicBezTo>
                      <a:pt x="1009" y="676"/>
                      <a:pt x="1033" y="632"/>
                      <a:pt x="1014" y="592"/>
                    </a:cubicBezTo>
                    <a:cubicBezTo>
                      <a:pt x="1005" y="571"/>
                      <a:pt x="1021" y="542"/>
                      <a:pt x="1046" y="550"/>
                    </a:cubicBezTo>
                    <a:cubicBezTo>
                      <a:pt x="1078" y="561"/>
                      <a:pt x="1110" y="540"/>
                      <a:pt x="1123" y="512"/>
                    </a:cubicBezTo>
                    <a:cubicBezTo>
                      <a:pt x="1141" y="473"/>
                      <a:pt x="1128" y="426"/>
                      <a:pt x="1113" y="388"/>
                    </a:cubicBezTo>
                    <a:cubicBezTo>
                      <a:pt x="1106" y="373"/>
                      <a:pt x="1095" y="349"/>
                      <a:pt x="1077" y="34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39" name="Freeform 13">
                <a:extLst>
                  <a:ext uri="{FF2B5EF4-FFF2-40B4-BE49-F238E27FC236}">
                    <a16:creationId xmlns:a16="http://schemas.microsoft.com/office/drawing/2014/main" id="{148CD8E4-AC4D-468F-A251-E2702E2B63B9}"/>
                  </a:ext>
                </a:extLst>
              </p:cNvPr>
              <p:cNvSpPr>
                <a:spLocks noEditPoints="1"/>
              </p:cNvSpPr>
              <p:nvPr/>
            </p:nvSpPr>
            <p:spPr bwMode="auto">
              <a:xfrm>
                <a:off x="6229350" y="2995526"/>
                <a:ext cx="2073865" cy="1485248"/>
              </a:xfrm>
              <a:custGeom>
                <a:avLst/>
                <a:gdLst>
                  <a:gd name="T0" fmla="*/ 1228 w 1262"/>
                  <a:gd name="T1" fmla="*/ 428 h 905"/>
                  <a:gd name="T2" fmla="*/ 1226 w 1262"/>
                  <a:gd name="T3" fmla="*/ 425 h 905"/>
                  <a:gd name="T4" fmla="*/ 1225 w 1262"/>
                  <a:gd name="T5" fmla="*/ 421 h 905"/>
                  <a:gd name="T6" fmla="*/ 1166 w 1262"/>
                  <a:gd name="T7" fmla="*/ 354 h 905"/>
                  <a:gd name="T8" fmla="*/ 989 w 1262"/>
                  <a:gd name="T9" fmla="*/ 170 h 905"/>
                  <a:gd name="T10" fmla="*/ 772 w 1262"/>
                  <a:gd name="T11" fmla="*/ 180 h 905"/>
                  <a:gd name="T12" fmla="*/ 705 w 1262"/>
                  <a:gd name="T13" fmla="*/ 77 h 905"/>
                  <a:gd name="T14" fmla="*/ 529 w 1262"/>
                  <a:gd name="T15" fmla="*/ 9 h 905"/>
                  <a:gd name="T16" fmla="*/ 365 w 1262"/>
                  <a:gd name="T17" fmla="*/ 104 h 905"/>
                  <a:gd name="T18" fmla="*/ 291 w 1262"/>
                  <a:gd name="T19" fmla="*/ 240 h 905"/>
                  <a:gd name="T20" fmla="*/ 118 w 1262"/>
                  <a:gd name="T21" fmla="*/ 370 h 905"/>
                  <a:gd name="T22" fmla="*/ 28 w 1262"/>
                  <a:gd name="T23" fmla="*/ 420 h 905"/>
                  <a:gd name="T24" fmla="*/ 22 w 1262"/>
                  <a:gd name="T25" fmla="*/ 578 h 905"/>
                  <a:gd name="T26" fmla="*/ 222 w 1262"/>
                  <a:gd name="T27" fmla="*/ 756 h 905"/>
                  <a:gd name="T28" fmla="*/ 439 w 1262"/>
                  <a:gd name="T29" fmla="*/ 885 h 905"/>
                  <a:gd name="T30" fmla="*/ 647 w 1262"/>
                  <a:gd name="T31" fmla="*/ 807 h 905"/>
                  <a:gd name="T32" fmla="*/ 937 w 1262"/>
                  <a:gd name="T33" fmla="*/ 875 h 905"/>
                  <a:gd name="T34" fmla="*/ 1095 w 1262"/>
                  <a:gd name="T35" fmla="*/ 785 h 905"/>
                  <a:gd name="T36" fmla="*/ 1137 w 1262"/>
                  <a:gd name="T37" fmla="*/ 666 h 905"/>
                  <a:gd name="T38" fmla="*/ 1228 w 1262"/>
                  <a:gd name="T39" fmla="*/ 606 h 905"/>
                  <a:gd name="T40" fmla="*/ 1228 w 1262"/>
                  <a:gd name="T41" fmla="*/ 428 h 905"/>
                  <a:gd name="T42" fmla="*/ 1107 w 1262"/>
                  <a:gd name="T43" fmla="*/ 607 h 905"/>
                  <a:gd name="T44" fmla="*/ 1075 w 1262"/>
                  <a:gd name="T45" fmla="*/ 649 h 905"/>
                  <a:gd name="T46" fmla="*/ 1040 w 1262"/>
                  <a:gd name="T47" fmla="*/ 760 h 905"/>
                  <a:gd name="T48" fmla="*/ 909 w 1262"/>
                  <a:gd name="T49" fmla="*/ 824 h 905"/>
                  <a:gd name="T50" fmla="*/ 675 w 1262"/>
                  <a:gd name="T51" fmla="*/ 745 h 905"/>
                  <a:gd name="T52" fmla="*/ 626 w 1262"/>
                  <a:gd name="T53" fmla="*/ 745 h 905"/>
                  <a:gd name="T54" fmla="*/ 450 w 1262"/>
                  <a:gd name="T55" fmla="*/ 828 h 905"/>
                  <a:gd name="T56" fmla="*/ 275 w 1262"/>
                  <a:gd name="T57" fmla="*/ 725 h 905"/>
                  <a:gd name="T58" fmla="*/ 239 w 1262"/>
                  <a:gd name="T59" fmla="*/ 697 h 905"/>
                  <a:gd name="T60" fmla="*/ 82 w 1262"/>
                  <a:gd name="T61" fmla="*/ 580 h 905"/>
                  <a:gd name="T62" fmla="*/ 68 w 1262"/>
                  <a:gd name="T63" fmla="*/ 472 h 905"/>
                  <a:gd name="T64" fmla="*/ 126 w 1262"/>
                  <a:gd name="T65" fmla="*/ 430 h 905"/>
                  <a:gd name="T66" fmla="*/ 169 w 1262"/>
                  <a:gd name="T67" fmla="*/ 406 h 905"/>
                  <a:gd name="T68" fmla="*/ 309 w 1262"/>
                  <a:gd name="T69" fmla="*/ 299 h 905"/>
                  <a:gd name="T70" fmla="*/ 345 w 1262"/>
                  <a:gd name="T71" fmla="*/ 271 h 905"/>
                  <a:gd name="T72" fmla="*/ 403 w 1262"/>
                  <a:gd name="T73" fmla="*/ 146 h 905"/>
                  <a:gd name="T74" fmla="*/ 531 w 1262"/>
                  <a:gd name="T75" fmla="*/ 65 h 905"/>
                  <a:gd name="T76" fmla="*/ 663 w 1262"/>
                  <a:gd name="T77" fmla="*/ 115 h 905"/>
                  <a:gd name="T78" fmla="*/ 727 w 1262"/>
                  <a:gd name="T79" fmla="*/ 232 h 905"/>
                  <a:gd name="T80" fmla="*/ 775 w 1262"/>
                  <a:gd name="T81" fmla="*/ 252 h 905"/>
                  <a:gd name="T82" fmla="*/ 968 w 1262"/>
                  <a:gd name="T83" fmla="*/ 223 h 905"/>
                  <a:gd name="T84" fmla="*/ 1110 w 1262"/>
                  <a:gd name="T85" fmla="*/ 376 h 905"/>
                  <a:gd name="T86" fmla="*/ 1138 w 1262"/>
                  <a:gd name="T87" fmla="*/ 404 h 905"/>
                  <a:gd name="T88" fmla="*/ 1174 w 1262"/>
                  <a:gd name="T89" fmla="*/ 445 h 905"/>
                  <a:gd name="T90" fmla="*/ 1184 w 1262"/>
                  <a:gd name="T91" fmla="*/ 569 h 905"/>
                  <a:gd name="T92" fmla="*/ 1107 w 1262"/>
                  <a:gd name="T93" fmla="*/ 607 h 9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62" h="905">
                    <a:moveTo>
                      <a:pt x="1228" y="428"/>
                    </a:moveTo>
                    <a:cubicBezTo>
                      <a:pt x="1227" y="427"/>
                      <a:pt x="1227" y="426"/>
                      <a:pt x="1226" y="425"/>
                    </a:cubicBezTo>
                    <a:cubicBezTo>
                      <a:pt x="1226" y="423"/>
                      <a:pt x="1226" y="422"/>
                      <a:pt x="1225" y="421"/>
                    </a:cubicBezTo>
                    <a:cubicBezTo>
                      <a:pt x="1212" y="392"/>
                      <a:pt x="1193" y="367"/>
                      <a:pt x="1166" y="354"/>
                    </a:cubicBezTo>
                    <a:cubicBezTo>
                      <a:pt x="1156" y="261"/>
                      <a:pt x="1076" y="195"/>
                      <a:pt x="989" y="170"/>
                    </a:cubicBezTo>
                    <a:cubicBezTo>
                      <a:pt x="922" y="150"/>
                      <a:pt x="834" y="142"/>
                      <a:pt x="772" y="180"/>
                    </a:cubicBezTo>
                    <a:cubicBezTo>
                      <a:pt x="759" y="141"/>
                      <a:pt x="736" y="106"/>
                      <a:pt x="705" y="77"/>
                    </a:cubicBezTo>
                    <a:cubicBezTo>
                      <a:pt x="658" y="34"/>
                      <a:pt x="594" y="0"/>
                      <a:pt x="529" y="9"/>
                    </a:cubicBezTo>
                    <a:cubicBezTo>
                      <a:pt x="465" y="17"/>
                      <a:pt x="409" y="59"/>
                      <a:pt x="365" y="104"/>
                    </a:cubicBezTo>
                    <a:cubicBezTo>
                      <a:pt x="328" y="142"/>
                      <a:pt x="299" y="188"/>
                      <a:pt x="291" y="240"/>
                    </a:cubicBezTo>
                    <a:cubicBezTo>
                      <a:pt x="210" y="239"/>
                      <a:pt x="139" y="292"/>
                      <a:pt x="118" y="370"/>
                    </a:cubicBezTo>
                    <a:cubicBezTo>
                      <a:pt x="83" y="368"/>
                      <a:pt x="47" y="388"/>
                      <a:pt x="28" y="420"/>
                    </a:cubicBezTo>
                    <a:cubicBezTo>
                      <a:pt x="0" y="466"/>
                      <a:pt x="9" y="528"/>
                      <a:pt x="22" y="578"/>
                    </a:cubicBezTo>
                    <a:cubicBezTo>
                      <a:pt x="48" y="671"/>
                      <a:pt x="122" y="757"/>
                      <a:pt x="222" y="756"/>
                    </a:cubicBezTo>
                    <a:cubicBezTo>
                      <a:pt x="242" y="847"/>
                      <a:pt x="353" y="884"/>
                      <a:pt x="439" y="885"/>
                    </a:cubicBezTo>
                    <a:cubicBezTo>
                      <a:pt x="516" y="886"/>
                      <a:pt x="594" y="861"/>
                      <a:pt x="647" y="807"/>
                    </a:cubicBezTo>
                    <a:cubicBezTo>
                      <a:pt x="714" y="892"/>
                      <a:pt x="838" y="905"/>
                      <a:pt x="937" y="875"/>
                    </a:cubicBezTo>
                    <a:cubicBezTo>
                      <a:pt x="994" y="858"/>
                      <a:pt x="1055" y="831"/>
                      <a:pt x="1095" y="785"/>
                    </a:cubicBezTo>
                    <a:cubicBezTo>
                      <a:pt x="1125" y="752"/>
                      <a:pt x="1141" y="709"/>
                      <a:pt x="1137" y="666"/>
                    </a:cubicBezTo>
                    <a:cubicBezTo>
                      <a:pt x="1174" y="662"/>
                      <a:pt x="1208" y="638"/>
                      <a:pt x="1228" y="606"/>
                    </a:cubicBezTo>
                    <a:cubicBezTo>
                      <a:pt x="1262" y="553"/>
                      <a:pt x="1250" y="483"/>
                      <a:pt x="1228" y="428"/>
                    </a:cubicBezTo>
                    <a:close/>
                    <a:moveTo>
                      <a:pt x="1107" y="607"/>
                    </a:moveTo>
                    <a:cubicBezTo>
                      <a:pt x="1082" y="599"/>
                      <a:pt x="1066" y="628"/>
                      <a:pt x="1075" y="649"/>
                    </a:cubicBezTo>
                    <a:cubicBezTo>
                      <a:pt x="1094" y="689"/>
                      <a:pt x="1070" y="733"/>
                      <a:pt x="1040" y="760"/>
                    </a:cubicBezTo>
                    <a:cubicBezTo>
                      <a:pt x="1005" y="792"/>
                      <a:pt x="955" y="812"/>
                      <a:pt x="909" y="824"/>
                    </a:cubicBezTo>
                    <a:cubicBezTo>
                      <a:pt x="824" y="847"/>
                      <a:pt x="719" y="832"/>
                      <a:pt x="675" y="745"/>
                    </a:cubicBezTo>
                    <a:cubicBezTo>
                      <a:pt x="665" y="725"/>
                      <a:pt x="637" y="729"/>
                      <a:pt x="626" y="745"/>
                    </a:cubicBezTo>
                    <a:cubicBezTo>
                      <a:pt x="587" y="802"/>
                      <a:pt x="517" y="827"/>
                      <a:pt x="450" y="828"/>
                    </a:cubicBezTo>
                    <a:cubicBezTo>
                      <a:pt x="385" y="829"/>
                      <a:pt x="275" y="808"/>
                      <a:pt x="275" y="725"/>
                    </a:cubicBezTo>
                    <a:cubicBezTo>
                      <a:pt x="275" y="705"/>
                      <a:pt x="257" y="694"/>
                      <a:pt x="239" y="697"/>
                    </a:cubicBezTo>
                    <a:cubicBezTo>
                      <a:pt x="163" y="713"/>
                      <a:pt x="104" y="646"/>
                      <a:pt x="82" y="580"/>
                    </a:cubicBezTo>
                    <a:cubicBezTo>
                      <a:pt x="71" y="547"/>
                      <a:pt x="61" y="507"/>
                      <a:pt x="68" y="472"/>
                    </a:cubicBezTo>
                    <a:cubicBezTo>
                      <a:pt x="73" y="448"/>
                      <a:pt x="98" y="414"/>
                      <a:pt x="126" y="430"/>
                    </a:cubicBezTo>
                    <a:cubicBezTo>
                      <a:pt x="146" y="442"/>
                      <a:pt x="168" y="427"/>
                      <a:pt x="169" y="406"/>
                    </a:cubicBezTo>
                    <a:cubicBezTo>
                      <a:pt x="173" y="335"/>
                      <a:pt x="240" y="285"/>
                      <a:pt x="309" y="299"/>
                    </a:cubicBezTo>
                    <a:cubicBezTo>
                      <a:pt x="327" y="302"/>
                      <a:pt x="345" y="291"/>
                      <a:pt x="345" y="271"/>
                    </a:cubicBezTo>
                    <a:cubicBezTo>
                      <a:pt x="345" y="223"/>
                      <a:pt x="371" y="181"/>
                      <a:pt x="403" y="146"/>
                    </a:cubicBezTo>
                    <a:cubicBezTo>
                      <a:pt x="437" y="111"/>
                      <a:pt x="481" y="74"/>
                      <a:pt x="531" y="65"/>
                    </a:cubicBezTo>
                    <a:cubicBezTo>
                      <a:pt x="579" y="57"/>
                      <a:pt x="628" y="84"/>
                      <a:pt x="663" y="115"/>
                    </a:cubicBezTo>
                    <a:cubicBezTo>
                      <a:pt x="696" y="145"/>
                      <a:pt x="722" y="186"/>
                      <a:pt x="727" y="232"/>
                    </a:cubicBezTo>
                    <a:cubicBezTo>
                      <a:pt x="729" y="253"/>
                      <a:pt x="758" y="273"/>
                      <a:pt x="775" y="252"/>
                    </a:cubicBezTo>
                    <a:cubicBezTo>
                      <a:pt x="820" y="196"/>
                      <a:pt x="906" y="206"/>
                      <a:pt x="968" y="223"/>
                    </a:cubicBezTo>
                    <a:cubicBezTo>
                      <a:pt x="1039" y="242"/>
                      <a:pt x="1111" y="294"/>
                      <a:pt x="1110" y="376"/>
                    </a:cubicBezTo>
                    <a:cubicBezTo>
                      <a:pt x="1110" y="392"/>
                      <a:pt x="1123" y="402"/>
                      <a:pt x="1138" y="404"/>
                    </a:cubicBezTo>
                    <a:cubicBezTo>
                      <a:pt x="1156" y="406"/>
                      <a:pt x="1167" y="430"/>
                      <a:pt x="1174" y="445"/>
                    </a:cubicBezTo>
                    <a:cubicBezTo>
                      <a:pt x="1189" y="483"/>
                      <a:pt x="1202" y="530"/>
                      <a:pt x="1184" y="569"/>
                    </a:cubicBezTo>
                    <a:cubicBezTo>
                      <a:pt x="1171" y="597"/>
                      <a:pt x="1139" y="618"/>
                      <a:pt x="1107" y="607"/>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grpSp>
        <p:grpSp>
          <p:nvGrpSpPr>
            <p:cNvPr id="32" name="Group 16">
              <a:extLst>
                <a:ext uri="{FF2B5EF4-FFF2-40B4-BE49-F238E27FC236}">
                  <a16:creationId xmlns:a16="http://schemas.microsoft.com/office/drawing/2014/main" id="{7240B341-7CA5-48A0-A80A-D81B6F3756EF}"/>
                </a:ext>
              </a:extLst>
            </p:cNvPr>
            <p:cNvGrpSpPr/>
            <p:nvPr/>
          </p:nvGrpSpPr>
          <p:grpSpPr>
            <a:xfrm>
              <a:off x="7855997" y="2274276"/>
              <a:ext cx="2073865" cy="1483055"/>
              <a:chOff x="7855997" y="2274276"/>
              <a:chExt cx="2073865" cy="1483055"/>
            </a:xfrm>
          </p:grpSpPr>
          <p:sp>
            <p:nvSpPr>
              <p:cNvPr id="36" name="Freeform 14">
                <a:extLst>
                  <a:ext uri="{FF2B5EF4-FFF2-40B4-BE49-F238E27FC236}">
                    <a16:creationId xmlns:a16="http://schemas.microsoft.com/office/drawing/2014/main" id="{D93CABFF-9CCA-4EEC-BEEA-E243E1C6E798}"/>
                  </a:ext>
                </a:extLst>
              </p:cNvPr>
              <p:cNvSpPr>
                <a:spLocks/>
              </p:cNvSpPr>
              <p:nvPr/>
            </p:nvSpPr>
            <p:spPr bwMode="auto">
              <a:xfrm>
                <a:off x="7956840" y="2366351"/>
                <a:ext cx="1876563" cy="1295618"/>
              </a:xfrm>
              <a:custGeom>
                <a:avLst/>
                <a:gdLst>
                  <a:gd name="T0" fmla="*/ 1077 w 1142"/>
                  <a:gd name="T1" fmla="*/ 347 h 790"/>
                  <a:gd name="T2" fmla="*/ 1049 w 1142"/>
                  <a:gd name="T3" fmla="*/ 319 h 790"/>
                  <a:gd name="T4" fmla="*/ 907 w 1142"/>
                  <a:gd name="T5" fmla="*/ 166 h 790"/>
                  <a:gd name="T6" fmla="*/ 714 w 1142"/>
                  <a:gd name="T7" fmla="*/ 195 h 790"/>
                  <a:gd name="T8" fmla="*/ 666 w 1142"/>
                  <a:gd name="T9" fmla="*/ 175 h 790"/>
                  <a:gd name="T10" fmla="*/ 602 w 1142"/>
                  <a:gd name="T11" fmla="*/ 58 h 790"/>
                  <a:gd name="T12" fmla="*/ 470 w 1142"/>
                  <a:gd name="T13" fmla="*/ 8 h 790"/>
                  <a:gd name="T14" fmla="*/ 342 w 1142"/>
                  <a:gd name="T15" fmla="*/ 89 h 790"/>
                  <a:gd name="T16" fmla="*/ 284 w 1142"/>
                  <a:gd name="T17" fmla="*/ 214 h 790"/>
                  <a:gd name="T18" fmla="*/ 248 w 1142"/>
                  <a:gd name="T19" fmla="*/ 242 h 790"/>
                  <a:gd name="T20" fmla="*/ 108 w 1142"/>
                  <a:gd name="T21" fmla="*/ 349 h 790"/>
                  <a:gd name="T22" fmla="*/ 65 w 1142"/>
                  <a:gd name="T23" fmla="*/ 373 h 790"/>
                  <a:gd name="T24" fmla="*/ 7 w 1142"/>
                  <a:gd name="T25" fmla="*/ 415 h 790"/>
                  <a:gd name="T26" fmla="*/ 21 w 1142"/>
                  <a:gd name="T27" fmla="*/ 523 h 790"/>
                  <a:gd name="T28" fmla="*/ 178 w 1142"/>
                  <a:gd name="T29" fmla="*/ 640 h 790"/>
                  <a:gd name="T30" fmla="*/ 214 w 1142"/>
                  <a:gd name="T31" fmla="*/ 668 h 790"/>
                  <a:gd name="T32" fmla="*/ 389 w 1142"/>
                  <a:gd name="T33" fmla="*/ 771 h 790"/>
                  <a:gd name="T34" fmla="*/ 565 w 1142"/>
                  <a:gd name="T35" fmla="*/ 688 h 790"/>
                  <a:gd name="T36" fmla="*/ 614 w 1142"/>
                  <a:gd name="T37" fmla="*/ 688 h 790"/>
                  <a:gd name="T38" fmla="*/ 848 w 1142"/>
                  <a:gd name="T39" fmla="*/ 767 h 790"/>
                  <a:gd name="T40" fmla="*/ 979 w 1142"/>
                  <a:gd name="T41" fmla="*/ 703 h 790"/>
                  <a:gd name="T42" fmla="*/ 1015 w 1142"/>
                  <a:gd name="T43" fmla="*/ 592 h 790"/>
                  <a:gd name="T44" fmla="*/ 1046 w 1142"/>
                  <a:gd name="T45" fmla="*/ 550 h 790"/>
                  <a:gd name="T46" fmla="*/ 1123 w 1142"/>
                  <a:gd name="T47" fmla="*/ 512 h 790"/>
                  <a:gd name="T48" fmla="*/ 1113 w 1142"/>
                  <a:gd name="T49" fmla="*/ 388 h 790"/>
                  <a:gd name="T50" fmla="*/ 1077 w 1142"/>
                  <a:gd name="T51" fmla="*/ 347 h 7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42" h="790">
                    <a:moveTo>
                      <a:pt x="1077" y="347"/>
                    </a:moveTo>
                    <a:cubicBezTo>
                      <a:pt x="1062" y="345"/>
                      <a:pt x="1049" y="335"/>
                      <a:pt x="1049" y="319"/>
                    </a:cubicBezTo>
                    <a:cubicBezTo>
                      <a:pt x="1050" y="237"/>
                      <a:pt x="978" y="185"/>
                      <a:pt x="907" y="166"/>
                    </a:cubicBezTo>
                    <a:cubicBezTo>
                      <a:pt x="845" y="149"/>
                      <a:pt x="760" y="139"/>
                      <a:pt x="714" y="195"/>
                    </a:cubicBezTo>
                    <a:cubicBezTo>
                      <a:pt x="697" y="216"/>
                      <a:pt x="668" y="196"/>
                      <a:pt x="666" y="175"/>
                    </a:cubicBezTo>
                    <a:cubicBezTo>
                      <a:pt x="661" y="129"/>
                      <a:pt x="635" y="88"/>
                      <a:pt x="602" y="58"/>
                    </a:cubicBezTo>
                    <a:cubicBezTo>
                      <a:pt x="567" y="27"/>
                      <a:pt x="518" y="0"/>
                      <a:pt x="470" y="8"/>
                    </a:cubicBezTo>
                    <a:cubicBezTo>
                      <a:pt x="420" y="17"/>
                      <a:pt x="376" y="54"/>
                      <a:pt x="342" y="89"/>
                    </a:cubicBezTo>
                    <a:cubicBezTo>
                      <a:pt x="310" y="124"/>
                      <a:pt x="284" y="166"/>
                      <a:pt x="284" y="214"/>
                    </a:cubicBezTo>
                    <a:cubicBezTo>
                      <a:pt x="284" y="234"/>
                      <a:pt x="266" y="245"/>
                      <a:pt x="248" y="242"/>
                    </a:cubicBezTo>
                    <a:cubicBezTo>
                      <a:pt x="179" y="228"/>
                      <a:pt x="112" y="278"/>
                      <a:pt x="108" y="349"/>
                    </a:cubicBezTo>
                    <a:cubicBezTo>
                      <a:pt x="107" y="370"/>
                      <a:pt x="85" y="385"/>
                      <a:pt x="65" y="373"/>
                    </a:cubicBezTo>
                    <a:cubicBezTo>
                      <a:pt x="37" y="357"/>
                      <a:pt x="12" y="391"/>
                      <a:pt x="7" y="415"/>
                    </a:cubicBezTo>
                    <a:cubicBezTo>
                      <a:pt x="0" y="450"/>
                      <a:pt x="10" y="490"/>
                      <a:pt x="21" y="523"/>
                    </a:cubicBezTo>
                    <a:cubicBezTo>
                      <a:pt x="43" y="589"/>
                      <a:pt x="102" y="656"/>
                      <a:pt x="178" y="640"/>
                    </a:cubicBezTo>
                    <a:cubicBezTo>
                      <a:pt x="196" y="637"/>
                      <a:pt x="214" y="648"/>
                      <a:pt x="214" y="668"/>
                    </a:cubicBezTo>
                    <a:cubicBezTo>
                      <a:pt x="214" y="751"/>
                      <a:pt x="324" y="773"/>
                      <a:pt x="389" y="771"/>
                    </a:cubicBezTo>
                    <a:cubicBezTo>
                      <a:pt x="456" y="770"/>
                      <a:pt x="527" y="745"/>
                      <a:pt x="565" y="688"/>
                    </a:cubicBezTo>
                    <a:cubicBezTo>
                      <a:pt x="576" y="672"/>
                      <a:pt x="604" y="668"/>
                      <a:pt x="614" y="688"/>
                    </a:cubicBezTo>
                    <a:cubicBezTo>
                      <a:pt x="658" y="775"/>
                      <a:pt x="763" y="790"/>
                      <a:pt x="848" y="767"/>
                    </a:cubicBezTo>
                    <a:cubicBezTo>
                      <a:pt x="894" y="755"/>
                      <a:pt x="944" y="735"/>
                      <a:pt x="979" y="703"/>
                    </a:cubicBezTo>
                    <a:cubicBezTo>
                      <a:pt x="1009" y="676"/>
                      <a:pt x="1033" y="632"/>
                      <a:pt x="1015" y="592"/>
                    </a:cubicBezTo>
                    <a:cubicBezTo>
                      <a:pt x="1005" y="571"/>
                      <a:pt x="1021" y="542"/>
                      <a:pt x="1046" y="550"/>
                    </a:cubicBezTo>
                    <a:cubicBezTo>
                      <a:pt x="1078" y="561"/>
                      <a:pt x="1110" y="540"/>
                      <a:pt x="1123" y="512"/>
                    </a:cubicBezTo>
                    <a:cubicBezTo>
                      <a:pt x="1142" y="473"/>
                      <a:pt x="1129" y="426"/>
                      <a:pt x="1113" y="388"/>
                    </a:cubicBezTo>
                    <a:cubicBezTo>
                      <a:pt x="1106" y="373"/>
                      <a:pt x="1095" y="349"/>
                      <a:pt x="1077" y="34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37" name="Freeform 15">
                <a:extLst>
                  <a:ext uri="{FF2B5EF4-FFF2-40B4-BE49-F238E27FC236}">
                    <a16:creationId xmlns:a16="http://schemas.microsoft.com/office/drawing/2014/main" id="{A17651AE-FBDE-4C68-81E4-D9E18D207A04}"/>
                  </a:ext>
                </a:extLst>
              </p:cNvPr>
              <p:cNvSpPr>
                <a:spLocks noEditPoints="1"/>
              </p:cNvSpPr>
              <p:nvPr/>
            </p:nvSpPr>
            <p:spPr bwMode="auto">
              <a:xfrm>
                <a:off x="7855997" y="2274276"/>
                <a:ext cx="2073865" cy="1483055"/>
              </a:xfrm>
              <a:custGeom>
                <a:avLst/>
                <a:gdLst>
                  <a:gd name="T0" fmla="*/ 1228 w 1262"/>
                  <a:gd name="T1" fmla="*/ 427 h 904"/>
                  <a:gd name="T2" fmla="*/ 1226 w 1262"/>
                  <a:gd name="T3" fmla="*/ 424 h 904"/>
                  <a:gd name="T4" fmla="*/ 1225 w 1262"/>
                  <a:gd name="T5" fmla="*/ 420 h 904"/>
                  <a:gd name="T6" fmla="*/ 1166 w 1262"/>
                  <a:gd name="T7" fmla="*/ 354 h 904"/>
                  <a:gd name="T8" fmla="*/ 989 w 1262"/>
                  <a:gd name="T9" fmla="*/ 169 h 904"/>
                  <a:gd name="T10" fmla="*/ 772 w 1262"/>
                  <a:gd name="T11" fmla="*/ 179 h 904"/>
                  <a:gd name="T12" fmla="*/ 705 w 1262"/>
                  <a:gd name="T13" fmla="*/ 76 h 904"/>
                  <a:gd name="T14" fmla="*/ 529 w 1262"/>
                  <a:gd name="T15" fmla="*/ 8 h 904"/>
                  <a:gd name="T16" fmla="*/ 365 w 1262"/>
                  <a:gd name="T17" fmla="*/ 103 h 904"/>
                  <a:gd name="T18" fmla="*/ 291 w 1262"/>
                  <a:gd name="T19" fmla="*/ 239 h 904"/>
                  <a:gd name="T20" fmla="*/ 118 w 1262"/>
                  <a:gd name="T21" fmla="*/ 369 h 904"/>
                  <a:gd name="T22" fmla="*/ 28 w 1262"/>
                  <a:gd name="T23" fmla="*/ 419 h 904"/>
                  <a:gd name="T24" fmla="*/ 22 w 1262"/>
                  <a:gd name="T25" fmla="*/ 577 h 904"/>
                  <a:gd name="T26" fmla="*/ 222 w 1262"/>
                  <a:gd name="T27" fmla="*/ 755 h 904"/>
                  <a:gd name="T28" fmla="*/ 439 w 1262"/>
                  <a:gd name="T29" fmla="*/ 884 h 904"/>
                  <a:gd name="T30" fmla="*/ 648 w 1262"/>
                  <a:gd name="T31" fmla="*/ 806 h 904"/>
                  <a:gd name="T32" fmla="*/ 937 w 1262"/>
                  <a:gd name="T33" fmla="*/ 874 h 904"/>
                  <a:gd name="T34" fmla="*/ 1095 w 1262"/>
                  <a:gd name="T35" fmla="*/ 784 h 904"/>
                  <a:gd name="T36" fmla="*/ 1137 w 1262"/>
                  <a:gd name="T37" fmla="*/ 665 h 904"/>
                  <a:gd name="T38" fmla="*/ 1228 w 1262"/>
                  <a:gd name="T39" fmla="*/ 605 h 904"/>
                  <a:gd name="T40" fmla="*/ 1228 w 1262"/>
                  <a:gd name="T41" fmla="*/ 427 h 904"/>
                  <a:gd name="T42" fmla="*/ 1107 w 1262"/>
                  <a:gd name="T43" fmla="*/ 606 h 904"/>
                  <a:gd name="T44" fmla="*/ 1076 w 1262"/>
                  <a:gd name="T45" fmla="*/ 648 h 904"/>
                  <a:gd name="T46" fmla="*/ 1040 w 1262"/>
                  <a:gd name="T47" fmla="*/ 759 h 904"/>
                  <a:gd name="T48" fmla="*/ 909 w 1262"/>
                  <a:gd name="T49" fmla="*/ 823 h 904"/>
                  <a:gd name="T50" fmla="*/ 675 w 1262"/>
                  <a:gd name="T51" fmla="*/ 744 h 904"/>
                  <a:gd name="T52" fmla="*/ 626 w 1262"/>
                  <a:gd name="T53" fmla="*/ 744 h 904"/>
                  <a:gd name="T54" fmla="*/ 450 w 1262"/>
                  <a:gd name="T55" fmla="*/ 827 h 904"/>
                  <a:gd name="T56" fmla="*/ 275 w 1262"/>
                  <a:gd name="T57" fmla="*/ 724 h 904"/>
                  <a:gd name="T58" fmla="*/ 239 w 1262"/>
                  <a:gd name="T59" fmla="*/ 696 h 904"/>
                  <a:gd name="T60" fmla="*/ 82 w 1262"/>
                  <a:gd name="T61" fmla="*/ 579 h 904"/>
                  <a:gd name="T62" fmla="*/ 68 w 1262"/>
                  <a:gd name="T63" fmla="*/ 471 h 904"/>
                  <a:gd name="T64" fmla="*/ 126 w 1262"/>
                  <a:gd name="T65" fmla="*/ 429 h 904"/>
                  <a:gd name="T66" fmla="*/ 169 w 1262"/>
                  <a:gd name="T67" fmla="*/ 405 h 904"/>
                  <a:gd name="T68" fmla="*/ 309 w 1262"/>
                  <a:gd name="T69" fmla="*/ 298 h 904"/>
                  <a:gd name="T70" fmla="*/ 345 w 1262"/>
                  <a:gd name="T71" fmla="*/ 270 h 904"/>
                  <a:gd name="T72" fmla="*/ 403 w 1262"/>
                  <a:gd name="T73" fmla="*/ 145 h 904"/>
                  <a:gd name="T74" fmla="*/ 531 w 1262"/>
                  <a:gd name="T75" fmla="*/ 64 h 904"/>
                  <a:gd name="T76" fmla="*/ 663 w 1262"/>
                  <a:gd name="T77" fmla="*/ 114 h 904"/>
                  <a:gd name="T78" fmla="*/ 727 w 1262"/>
                  <a:gd name="T79" fmla="*/ 231 h 904"/>
                  <a:gd name="T80" fmla="*/ 775 w 1262"/>
                  <a:gd name="T81" fmla="*/ 251 h 904"/>
                  <a:gd name="T82" fmla="*/ 968 w 1262"/>
                  <a:gd name="T83" fmla="*/ 222 h 904"/>
                  <a:gd name="T84" fmla="*/ 1110 w 1262"/>
                  <a:gd name="T85" fmla="*/ 375 h 904"/>
                  <a:gd name="T86" fmla="*/ 1138 w 1262"/>
                  <a:gd name="T87" fmla="*/ 403 h 904"/>
                  <a:gd name="T88" fmla="*/ 1174 w 1262"/>
                  <a:gd name="T89" fmla="*/ 444 h 904"/>
                  <a:gd name="T90" fmla="*/ 1184 w 1262"/>
                  <a:gd name="T91" fmla="*/ 568 h 904"/>
                  <a:gd name="T92" fmla="*/ 1107 w 1262"/>
                  <a:gd name="T93" fmla="*/ 606 h 9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62" h="904">
                    <a:moveTo>
                      <a:pt x="1228" y="427"/>
                    </a:moveTo>
                    <a:cubicBezTo>
                      <a:pt x="1227" y="426"/>
                      <a:pt x="1227" y="425"/>
                      <a:pt x="1226" y="424"/>
                    </a:cubicBezTo>
                    <a:cubicBezTo>
                      <a:pt x="1226" y="422"/>
                      <a:pt x="1226" y="421"/>
                      <a:pt x="1225" y="420"/>
                    </a:cubicBezTo>
                    <a:cubicBezTo>
                      <a:pt x="1212" y="391"/>
                      <a:pt x="1193" y="366"/>
                      <a:pt x="1166" y="354"/>
                    </a:cubicBezTo>
                    <a:cubicBezTo>
                      <a:pt x="1156" y="260"/>
                      <a:pt x="1076" y="195"/>
                      <a:pt x="989" y="169"/>
                    </a:cubicBezTo>
                    <a:cubicBezTo>
                      <a:pt x="922" y="149"/>
                      <a:pt x="834" y="141"/>
                      <a:pt x="772" y="179"/>
                    </a:cubicBezTo>
                    <a:cubicBezTo>
                      <a:pt x="759" y="140"/>
                      <a:pt x="736" y="105"/>
                      <a:pt x="705" y="76"/>
                    </a:cubicBezTo>
                    <a:cubicBezTo>
                      <a:pt x="658" y="33"/>
                      <a:pt x="594" y="0"/>
                      <a:pt x="529" y="8"/>
                    </a:cubicBezTo>
                    <a:cubicBezTo>
                      <a:pt x="465" y="16"/>
                      <a:pt x="409" y="58"/>
                      <a:pt x="365" y="103"/>
                    </a:cubicBezTo>
                    <a:cubicBezTo>
                      <a:pt x="328" y="141"/>
                      <a:pt x="299" y="187"/>
                      <a:pt x="291" y="239"/>
                    </a:cubicBezTo>
                    <a:cubicBezTo>
                      <a:pt x="210" y="238"/>
                      <a:pt x="139" y="291"/>
                      <a:pt x="118" y="369"/>
                    </a:cubicBezTo>
                    <a:cubicBezTo>
                      <a:pt x="83" y="367"/>
                      <a:pt x="47" y="387"/>
                      <a:pt x="28" y="419"/>
                    </a:cubicBezTo>
                    <a:cubicBezTo>
                      <a:pt x="0" y="466"/>
                      <a:pt x="9" y="527"/>
                      <a:pt x="22" y="577"/>
                    </a:cubicBezTo>
                    <a:cubicBezTo>
                      <a:pt x="48" y="671"/>
                      <a:pt x="122" y="756"/>
                      <a:pt x="222" y="755"/>
                    </a:cubicBezTo>
                    <a:cubicBezTo>
                      <a:pt x="242" y="846"/>
                      <a:pt x="353" y="883"/>
                      <a:pt x="439" y="884"/>
                    </a:cubicBezTo>
                    <a:cubicBezTo>
                      <a:pt x="516" y="885"/>
                      <a:pt x="594" y="860"/>
                      <a:pt x="648" y="806"/>
                    </a:cubicBezTo>
                    <a:cubicBezTo>
                      <a:pt x="714" y="891"/>
                      <a:pt x="838" y="904"/>
                      <a:pt x="937" y="874"/>
                    </a:cubicBezTo>
                    <a:cubicBezTo>
                      <a:pt x="994" y="857"/>
                      <a:pt x="1055" y="830"/>
                      <a:pt x="1095" y="784"/>
                    </a:cubicBezTo>
                    <a:cubicBezTo>
                      <a:pt x="1125" y="751"/>
                      <a:pt x="1141" y="708"/>
                      <a:pt x="1137" y="665"/>
                    </a:cubicBezTo>
                    <a:cubicBezTo>
                      <a:pt x="1174" y="661"/>
                      <a:pt x="1208" y="637"/>
                      <a:pt x="1228" y="605"/>
                    </a:cubicBezTo>
                    <a:cubicBezTo>
                      <a:pt x="1262" y="552"/>
                      <a:pt x="1251" y="482"/>
                      <a:pt x="1228" y="427"/>
                    </a:cubicBezTo>
                    <a:close/>
                    <a:moveTo>
                      <a:pt x="1107" y="606"/>
                    </a:moveTo>
                    <a:cubicBezTo>
                      <a:pt x="1082" y="598"/>
                      <a:pt x="1066" y="627"/>
                      <a:pt x="1076" y="648"/>
                    </a:cubicBezTo>
                    <a:cubicBezTo>
                      <a:pt x="1094" y="688"/>
                      <a:pt x="1070" y="732"/>
                      <a:pt x="1040" y="759"/>
                    </a:cubicBezTo>
                    <a:cubicBezTo>
                      <a:pt x="1005" y="791"/>
                      <a:pt x="955" y="811"/>
                      <a:pt x="909" y="823"/>
                    </a:cubicBezTo>
                    <a:cubicBezTo>
                      <a:pt x="824" y="846"/>
                      <a:pt x="719" y="831"/>
                      <a:pt x="675" y="744"/>
                    </a:cubicBezTo>
                    <a:cubicBezTo>
                      <a:pt x="665" y="724"/>
                      <a:pt x="637" y="728"/>
                      <a:pt x="626" y="744"/>
                    </a:cubicBezTo>
                    <a:cubicBezTo>
                      <a:pt x="588" y="801"/>
                      <a:pt x="517" y="826"/>
                      <a:pt x="450" y="827"/>
                    </a:cubicBezTo>
                    <a:cubicBezTo>
                      <a:pt x="385" y="829"/>
                      <a:pt x="275" y="807"/>
                      <a:pt x="275" y="724"/>
                    </a:cubicBezTo>
                    <a:cubicBezTo>
                      <a:pt x="275" y="704"/>
                      <a:pt x="257" y="693"/>
                      <a:pt x="239" y="696"/>
                    </a:cubicBezTo>
                    <a:cubicBezTo>
                      <a:pt x="163" y="712"/>
                      <a:pt x="104" y="645"/>
                      <a:pt x="82" y="579"/>
                    </a:cubicBezTo>
                    <a:cubicBezTo>
                      <a:pt x="71" y="546"/>
                      <a:pt x="61" y="506"/>
                      <a:pt x="68" y="471"/>
                    </a:cubicBezTo>
                    <a:cubicBezTo>
                      <a:pt x="73" y="447"/>
                      <a:pt x="98" y="413"/>
                      <a:pt x="126" y="429"/>
                    </a:cubicBezTo>
                    <a:cubicBezTo>
                      <a:pt x="146" y="441"/>
                      <a:pt x="168" y="426"/>
                      <a:pt x="169" y="405"/>
                    </a:cubicBezTo>
                    <a:cubicBezTo>
                      <a:pt x="173" y="334"/>
                      <a:pt x="240" y="284"/>
                      <a:pt x="309" y="298"/>
                    </a:cubicBezTo>
                    <a:cubicBezTo>
                      <a:pt x="327" y="301"/>
                      <a:pt x="345" y="290"/>
                      <a:pt x="345" y="270"/>
                    </a:cubicBezTo>
                    <a:cubicBezTo>
                      <a:pt x="345" y="222"/>
                      <a:pt x="371" y="180"/>
                      <a:pt x="403" y="145"/>
                    </a:cubicBezTo>
                    <a:cubicBezTo>
                      <a:pt x="437" y="110"/>
                      <a:pt x="481" y="73"/>
                      <a:pt x="531" y="64"/>
                    </a:cubicBezTo>
                    <a:cubicBezTo>
                      <a:pt x="579" y="56"/>
                      <a:pt x="628" y="83"/>
                      <a:pt x="663" y="114"/>
                    </a:cubicBezTo>
                    <a:cubicBezTo>
                      <a:pt x="696" y="144"/>
                      <a:pt x="722" y="185"/>
                      <a:pt x="727" y="231"/>
                    </a:cubicBezTo>
                    <a:cubicBezTo>
                      <a:pt x="729" y="252"/>
                      <a:pt x="758" y="272"/>
                      <a:pt x="775" y="251"/>
                    </a:cubicBezTo>
                    <a:cubicBezTo>
                      <a:pt x="821" y="195"/>
                      <a:pt x="906" y="205"/>
                      <a:pt x="968" y="222"/>
                    </a:cubicBezTo>
                    <a:cubicBezTo>
                      <a:pt x="1039" y="241"/>
                      <a:pt x="1111" y="293"/>
                      <a:pt x="1110" y="375"/>
                    </a:cubicBezTo>
                    <a:cubicBezTo>
                      <a:pt x="1110" y="391"/>
                      <a:pt x="1123" y="401"/>
                      <a:pt x="1138" y="403"/>
                    </a:cubicBezTo>
                    <a:cubicBezTo>
                      <a:pt x="1156" y="405"/>
                      <a:pt x="1167" y="429"/>
                      <a:pt x="1174" y="444"/>
                    </a:cubicBezTo>
                    <a:cubicBezTo>
                      <a:pt x="1190" y="482"/>
                      <a:pt x="1203" y="529"/>
                      <a:pt x="1184" y="568"/>
                    </a:cubicBezTo>
                    <a:cubicBezTo>
                      <a:pt x="1171" y="596"/>
                      <a:pt x="1139" y="617"/>
                      <a:pt x="1107" y="606"/>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grpSp>
        <p:grpSp>
          <p:nvGrpSpPr>
            <p:cNvPr id="33" name="Group 19">
              <a:extLst>
                <a:ext uri="{FF2B5EF4-FFF2-40B4-BE49-F238E27FC236}">
                  <a16:creationId xmlns:a16="http://schemas.microsoft.com/office/drawing/2014/main" id="{65CA16FF-65CC-4822-BA06-3236E63FCD40}"/>
                </a:ext>
              </a:extLst>
            </p:cNvPr>
            <p:cNvGrpSpPr/>
            <p:nvPr/>
          </p:nvGrpSpPr>
          <p:grpSpPr>
            <a:xfrm>
              <a:off x="9526489" y="2846453"/>
              <a:ext cx="2073865" cy="1485248"/>
              <a:chOff x="9526489" y="2846453"/>
              <a:chExt cx="2073865" cy="1485248"/>
            </a:xfrm>
          </p:grpSpPr>
          <p:sp>
            <p:nvSpPr>
              <p:cNvPr id="34" name="Freeform 16">
                <a:extLst>
                  <a:ext uri="{FF2B5EF4-FFF2-40B4-BE49-F238E27FC236}">
                    <a16:creationId xmlns:a16="http://schemas.microsoft.com/office/drawing/2014/main" id="{1A3656B0-4594-4379-BDB9-8E5F62653134}"/>
                  </a:ext>
                </a:extLst>
              </p:cNvPr>
              <p:cNvSpPr>
                <a:spLocks/>
              </p:cNvSpPr>
              <p:nvPr/>
            </p:nvSpPr>
            <p:spPr bwMode="auto">
              <a:xfrm>
                <a:off x="9626236" y="2940720"/>
                <a:ext cx="1876563" cy="1295618"/>
              </a:xfrm>
              <a:custGeom>
                <a:avLst/>
                <a:gdLst>
                  <a:gd name="T0" fmla="*/ 1078 w 1142"/>
                  <a:gd name="T1" fmla="*/ 347 h 790"/>
                  <a:gd name="T2" fmla="*/ 1049 w 1142"/>
                  <a:gd name="T3" fmla="*/ 318 h 790"/>
                  <a:gd name="T4" fmla="*/ 907 w 1142"/>
                  <a:gd name="T5" fmla="*/ 166 h 790"/>
                  <a:gd name="T6" fmla="*/ 715 w 1142"/>
                  <a:gd name="T7" fmla="*/ 195 h 790"/>
                  <a:gd name="T8" fmla="*/ 666 w 1142"/>
                  <a:gd name="T9" fmla="*/ 175 h 790"/>
                  <a:gd name="T10" fmla="*/ 602 w 1142"/>
                  <a:gd name="T11" fmla="*/ 58 h 790"/>
                  <a:gd name="T12" fmla="*/ 470 w 1142"/>
                  <a:gd name="T13" fmla="*/ 8 h 790"/>
                  <a:gd name="T14" fmla="*/ 342 w 1142"/>
                  <a:gd name="T15" fmla="*/ 89 h 790"/>
                  <a:gd name="T16" fmla="*/ 284 w 1142"/>
                  <a:gd name="T17" fmla="*/ 214 h 790"/>
                  <a:gd name="T18" fmla="*/ 248 w 1142"/>
                  <a:gd name="T19" fmla="*/ 241 h 790"/>
                  <a:gd name="T20" fmla="*/ 108 w 1142"/>
                  <a:gd name="T21" fmla="*/ 349 h 790"/>
                  <a:gd name="T22" fmla="*/ 66 w 1142"/>
                  <a:gd name="T23" fmla="*/ 373 h 790"/>
                  <a:gd name="T24" fmla="*/ 7 w 1142"/>
                  <a:gd name="T25" fmla="*/ 415 h 790"/>
                  <a:gd name="T26" fmla="*/ 21 w 1142"/>
                  <a:gd name="T27" fmla="*/ 523 h 790"/>
                  <a:gd name="T28" fmla="*/ 179 w 1142"/>
                  <a:gd name="T29" fmla="*/ 640 h 790"/>
                  <a:gd name="T30" fmla="*/ 214 w 1142"/>
                  <a:gd name="T31" fmla="*/ 668 h 790"/>
                  <a:gd name="T32" fmla="*/ 389 w 1142"/>
                  <a:gd name="T33" fmla="*/ 771 h 790"/>
                  <a:gd name="T34" fmla="*/ 565 w 1142"/>
                  <a:gd name="T35" fmla="*/ 688 h 790"/>
                  <a:gd name="T36" fmla="*/ 614 w 1142"/>
                  <a:gd name="T37" fmla="*/ 688 h 790"/>
                  <a:gd name="T38" fmla="*/ 849 w 1142"/>
                  <a:gd name="T39" fmla="*/ 767 h 790"/>
                  <a:gd name="T40" fmla="*/ 980 w 1142"/>
                  <a:gd name="T41" fmla="*/ 703 h 790"/>
                  <a:gd name="T42" fmla="*/ 1015 w 1142"/>
                  <a:gd name="T43" fmla="*/ 592 h 790"/>
                  <a:gd name="T44" fmla="*/ 1047 w 1142"/>
                  <a:gd name="T45" fmla="*/ 550 h 790"/>
                  <a:gd name="T46" fmla="*/ 1123 w 1142"/>
                  <a:gd name="T47" fmla="*/ 512 h 790"/>
                  <a:gd name="T48" fmla="*/ 1113 w 1142"/>
                  <a:gd name="T49" fmla="*/ 388 h 790"/>
                  <a:gd name="T50" fmla="*/ 1078 w 1142"/>
                  <a:gd name="T51" fmla="*/ 347 h 7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42" h="790">
                    <a:moveTo>
                      <a:pt x="1078" y="347"/>
                    </a:moveTo>
                    <a:cubicBezTo>
                      <a:pt x="1063" y="345"/>
                      <a:pt x="1049" y="335"/>
                      <a:pt x="1049" y="318"/>
                    </a:cubicBezTo>
                    <a:cubicBezTo>
                      <a:pt x="1051" y="237"/>
                      <a:pt x="978" y="185"/>
                      <a:pt x="907" y="166"/>
                    </a:cubicBezTo>
                    <a:cubicBezTo>
                      <a:pt x="845" y="149"/>
                      <a:pt x="760" y="139"/>
                      <a:pt x="715" y="195"/>
                    </a:cubicBezTo>
                    <a:cubicBezTo>
                      <a:pt x="697" y="216"/>
                      <a:pt x="669" y="196"/>
                      <a:pt x="666" y="175"/>
                    </a:cubicBezTo>
                    <a:cubicBezTo>
                      <a:pt x="661" y="129"/>
                      <a:pt x="635" y="88"/>
                      <a:pt x="602" y="58"/>
                    </a:cubicBezTo>
                    <a:cubicBezTo>
                      <a:pt x="568" y="27"/>
                      <a:pt x="518" y="0"/>
                      <a:pt x="470" y="8"/>
                    </a:cubicBezTo>
                    <a:cubicBezTo>
                      <a:pt x="421" y="17"/>
                      <a:pt x="376" y="54"/>
                      <a:pt x="342" y="89"/>
                    </a:cubicBezTo>
                    <a:cubicBezTo>
                      <a:pt x="310" y="124"/>
                      <a:pt x="284" y="166"/>
                      <a:pt x="284" y="214"/>
                    </a:cubicBezTo>
                    <a:cubicBezTo>
                      <a:pt x="284" y="234"/>
                      <a:pt x="266" y="245"/>
                      <a:pt x="248" y="241"/>
                    </a:cubicBezTo>
                    <a:cubicBezTo>
                      <a:pt x="179" y="228"/>
                      <a:pt x="113" y="278"/>
                      <a:pt x="108" y="349"/>
                    </a:cubicBezTo>
                    <a:cubicBezTo>
                      <a:pt x="107" y="370"/>
                      <a:pt x="85" y="385"/>
                      <a:pt x="66" y="373"/>
                    </a:cubicBezTo>
                    <a:cubicBezTo>
                      <a:pt x="37" y="357"/>
                      <a:pt x="12" y="391"/>
                      <a:pt x="7" y="415"/>
                    </a:cubicBezTo>
                    <a:cubicBezTo>
                      <a:pt x="0" y="450"/>
                      <a:pt x="10" y="490"/>
                      <a:pt x="21" y="523"/>
                    </a:cubicBezTo>
                    <a:cubicBezTo>
                      <a:pt x="43" y="588"/>
                      <a:pt x="103" y="656"/>
                      <a:pt x="179" y="640"/>
                    </a:cubicBezTo>
                    <a:cubicBezTo>
                      <a:pt x="196" y="637"/>
                      <a:pt x="214" y="648"/>
                      <a:pt x="214" y="668"/>
                    </a:cubicBezTo>
                    <a:cubicBezTo>
                      <a:pt x="214" y="751"/>
                      <a:pt x="324" y="772"/>
                      <a:pt x="389" y="771"/>
                    </a:cubicBezTo>
                    <a:cubicBezTo>
                      <a:pt x="456" y="770"/>
                      <a:pt x="527" y="745"/>
                      <a:pt x="565" y="688"/>
                    </a:cubicBezTo>
                    <a:cubicBezTo>
                      <a:pt x="577" y="672"/>
                      <a:pt x="604" y="668"/>
                      <a:pt x="614" y="688"/>
                    </a:cubicBezTo>
                    <a:cubicBezTo>
                      <a:pt x="658" y="775"/>
                      <a:pt x="763" y="790"/>
                      <a:pt x="849" y="767"/>
                    </a:cubicBezTo>
                    <a:cubicBezTo>
                      <a:pt x="894" y="755"/>
                      <a:pt x="944" y="735"/>
                      <a:pt x="980" y="703"/>
                    </a:cubicBezTo>
                    <a:cubicBezTo>
                      <a:pt x="1009" y="676"/>
                      <a:pt x="1034" y="632"/>
                      <a:pt x="1015" y="592"/>
                    </a:cubicBezTo>
                    <a:cubicBezTo>
                      <a:pt x="1005" y="571"/>
                      <a:pt x="1021" y="542"/>
                      <a:pt x="1047" y="550"/>
                    </a:cubicBezTo>
                    <a:cubicBezTo>
                      <a:pt x="1078" y="561"/>
                      <a:pt x="1110" y="540"/>
                      <a:pt x="1123" y="512"/>
                    </a:cubicBezTo>
                    <a:cubicBezTo>
                      <a:pt x="1142" y="473"/>
                      <a:pt x="1129" y="426"/>
                      <a:pt x="1113" y="388"/>
                    </a:cubicBezTo>
                    <a:cubicBezTo>
                      <a:pt x="1107" y="373"/>
                      <a:pt x="1095" y="349"/>
                      <a:pt x="1078" y="34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35" name="Freeform 17">
                <a:extLst>
                  <a:ext uri="{FF2B5EF4-FFF2-40B4-BE49-F238E27FC236}">
                    <a16:creationId xmlns:a16="http://schemas.microsoft.com/office/drawing/2014/main" id="{BB3FBBC1-F990-4433-9775-8B383E9EE815}"/>
                  </a:ext>
                </a:extLst>
              </p:cNvPr>
              <p:cNvSpPr>
                <a:spLocks noEditPoints="1"/>
              </p:cNvSpPr>
              <p:nvPr/>
            </p:nvSpPr>
            <p:spPr bwMode="auto">
              <a:xfrm>
                <a:off x="9526489" y="2846453"/>
                <a:ext cx="2073865" cy="1485248"/>
              </a:xfrm>
              <a:custGeom>
                <a:avLst/>
                <a:gdLst>
                  <a:gd name="T0" fmla="*/ 1228 w 1262"/>
                  <a:gd name="T1" fmla="*/ 428 h 905"/>
                  <a:gd name="T2" fmla="*/ 1227 w 1262"/>
                  <a:gd name="T3" fmla="*/ 425 h 905"/>
                  <a:gd name="T4" fmla="*/ 1225 w 1262"/>
                  <a:gd name="T5" fmla="*/ 421 h 905"/>
                  <a:gd name="T6" fmla="*/ 1166 w 1262"/>
                  <a:gd name="T7" fmla="*/ 354 h 905"/>
                  <a:gd name="T8" fmla="*/ 989 w 1262"/>
                  <a:gd name="T9" fmla="*/ 170 h 905"/>
                  <a:gd name="T10" fmla="*/ 772 w 1262"/>
                  <a:gd name="T11" fmla="*/ 180 h 905"/>
                  <a:gd name="T12" fmla="*/ 705 w 1262"/>
                  <a:gd name="T13" fmla="*/ 77 h 905"/>
                  <a:gd name="T14" fmla="*/ 529 w 1262"/>
                  <a:gd name="T15" fmla="*/ 9 h 905"/>
                  <a:gd name="T16" fmla="*/ 365 w 1262"/>
                  <a:gd name="T17" fmla="*/ 104 h 905"/>
                  <a:gd name="T18" fmla="*/ 291 w 1262"/>
                  <a:gd name="T19" fmla="*/ 240 h 905"/>
                  <a:gd name="T20" fmla="*/ 118 w 1262"/>
                  <a:gd name="T21" fmla="*/ 370 h 905"/>
                  <a:gd name="T22" fmla="*/ 28 w 1262"/>
                  <a:gd name="T23" fmla="*/ 420 h 905"/>
                  <a:gd name="T24" fmla="*/ 22 w 1262"/>
                  <a:gd name="T25" fmla="*/ 578 h 905"/>
                  <a:gd name="T26" fmla="*/ 222 w 1262"/>
                  <a:gd name="T27" fmla="*/ 756 h 905"/>
                  <a:gd name="T28" fmla="*/ 439 w 1262"/>
                  <a:gd name="T29" fmla="*/ 885 h 905"/>
                  <a:gd name="T30" fmla="*/ 648 w 1262"/>
                  <a:gd name="T31" fmla="*/ 807 h 905"/>
                  <a:gd name="T32" fmla="*/ 938 w 1262"/>
                  <a:gd name="T33" fmla="*/ 875 h 905"/>
                  <a:gd name="T34" fmla="*/ 1095 w 1262"/>
                  <a:gd name="T35" fmla="*/ 785 h 905"/>
                  <a:gd name="T36" fmla="*/ 1137 w 1262"/>
                  <a:gd name="T37" fmla="*/ 666 h 905"/>
                  <a:gd name="T38" fmla="*/ 1228 w 1262"/>
                  <a:gd name="T39" fmla="*/ 606 h 905"/>
                  <a:gd name="T40" fmla="*/ 1228 w 1262"/>
                  <a:gd name="T41" fmla="*/ 428 h 905"/>
                  <a:gd name="T42" fmla="*/ 1108 w 1262"/>
                  <a:gd name="T43" fmla="*/ 607 h 905"/>
                  <a:gd name="T44" fmla="*/ 1076 w 1262"/>
                  <a:gd name="T45" fmla="*/ 649 h 905"/>
                  <a:gd name="T46" fmla="*/ 1041 w 1262"/>
                  <a:gd name="T47" fmla="*/ 760 h 905"/>
                  <a:gd name="T48" fmla="*/ 910 w 1262"/>
                  <a:gd name="T49" fmla="*/ 824 h 905"/>
                  <a:gd name="T50" fmla="*/ 675 w 1262"/>
                  <a:gd name="T51" fmla="*/ 745 h 905"/>
                  <a:gd name="T52" fmla="*/ 626 w 1262"/>
                  <a:gd name="T53" fmla="*/ 745 h 905"/>
                  <a:gd name="T54" fmla="*/ 450 w 1262"/>
                  <a:gd name="T55" fmla="*/ 828 h 905"/>
                  <a:gd name="T56" fmla="*/ 275 w 1262"/>
                  <a:gd name="T57" fmla="*/ 725 h 905"/>
                  <a:gd name="T58" fmla="*/ 240 w 1262"/>
                  <a:gd name="T59" fmla="*/ 697 h 905"/>
                  <a:gd name="T60" fmla="*/ 82 w 1262"/>
                  <a:gd name="T61" fmla="*/ 580 h 905"/>
                  <a:gd name="T62" fmla="*/ 68 w 1262"/>
                  <a:gd name="T63" fmla="*/ 472 h 905"/>
                  <a:gd name="T64" fmla="*/ 127 w 1262"/>
                  <a:gd name="T65" fmla="*/ 430 h 905"/>
                  <a:gd name="T66" fmla="*/ 169 w 1262"/>
                  <a:gd name="T67" fmla="*/ 406 h 905"/>
                  <a:gd name="T68" fmla="*/ 309 w 1262"/>
                  <a:gd name="T69" fmla="*/ 298 h 905"/>
                  <a:gd name="T70" fmla="*/ 345 w 1262"/>
                  <a:gd name="T71" fmla="*/ 271 h 905"/>
                  <a:gd name="T72" fmla="*/ 403 w 1262"/>
                  <a:gd name="T73" fmla="*/ 146 h 905"/>
                  <a:gd name="T74" fmla="*/ 531 w 1262"/>
                  <a:gd name="T75" fmla="*/ 65 h 905"/>
                  <a:gd name="T76" fmla="*/ 663 w 1262"/>
                  <a:gd name="T77" fmla="*/ 115 h 905"/>
                  <a:gd name="T78" fmla="*/ 727 w 1262"/>
                  <a:gd name="T79" fmla="*/ 232 h 905"/>
                  <a:gd name="T80" fmla="*/ 776 w 1262"/>
                  <a:gd name="T81" fmla="*/ 252 h 905"/>
                  <a:gd name="T82" fmla="*/ 968 w 1262"/>
                  <a:gd name="T83" fmla="*/ 223 h 905"/>
                  <a:gd name="T84" fmla="*/ 1110 w 1262"/>
                  <a:gd name="T85" fmla="*/ 375 h 905"/>
                  <a:gd name="T86" fmla="*/ 1139 w 1262"/>
                  <a:gd name="T87" fmla="*/ 404 h 905"/>
                  <a:gd name="T88" fmla="*/ 1174 w 1262"/>
                  <a:gd name="T89" fmla="*/ 445 h 905"/>
                  <a:gd name="T90" fmla="*/ 1184 w 1262"/>
                  <a:gd name="T91" fmla="*/ 569 h 905"/>
                  <a:gd name="T92" fmla="*/ 1108 w 1262"/>
                  <a:gd name="T93" fmla="*/ 607 h 9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62" h="905">
                    <a:moveTo>
                      <a:pt x="1228" y="428"/>
                    </a:moveTo>
                    <a:cubicBezTo>
                      <a:pt x="1228" y="427"/>
                      <a:pt x="1227" y="426"/>
                      <a:pt x="1227" y="425"/>
                    </a:cubicBezTo>
                    <a:cubicBezTo>
                      <a:pt x="1226" y="423"/>
                      <a:pt x="1226" y="422"/>
                      <a:pt x="1225" y="421"/>
                    </a:cubicBezTo>
                    <a:cubicBezTo>
                      <a:pt x="1213" y="392"/>
                      <a:pt x="1194" y="367"/>
                      <a:pt x="1166" y="354"/>
                    </a:cubicBezTo>
                    <a:cubicBezTo>
                      <a:pt x="1157" y="261"/>
                      <a:pt x="1076" y="195"/>
                      <a:pt x="989" y="170"/>
                    </a:cubicBezTo>
                    <a:cubicBezTo>
                      <a:pt x="922" y="150"/>
                      <a:pt x="834" y="142"/>
                      <a:pt x="772" y="180"/>
                    </a:cubicBezTo>
                    <a:cubicBezTo>
                      <a:pt x="759" y="141"/>
                      <a:pt x="736" y="106"/>
                      <a:pt x="705" y="77"/>
                    </a:cubicBezTo>
                    <a:cubicBezTo>
                      <a:pt x="658" y="34"/>
                      <a:pt x="594" y="0"/>
                      <a:pt x="529" y="9"/>
                    </a:cubicBezTo>
                    <a:cubicBezTo>
                      <a:pt x="466" y="17"/>
                      <a:pt x="409" y="59"/>
                      <a:pt x="365" y="104"/>
                    </a:cubicBezTo>
                    <a:cubicBezTo>
                      <a:pt x="329" y="142"/>
                      <a:pt x="300" y="188"/>
                      <a:pt x="291" y="240"/>
                    </a:cubicBezTo>
                    <a:cubicBezTo>
                      <a:pt x="210" y="239"/>
                      <a:pt x="139" y="292"/>
                      <a:pt x="118" y="370"/>
                    </a:cubicBezTo>
                    <a:cubicBezTo>
                      <a:pt x="83" y="368"/>
                      <a:pt x="47" y="388"/>
                      <a:pt x="28" y="420"/>
                    </a:cubicBezTo>
                    <a:cubicBezTo>
                      <a:pt x="0" y="466"/>
                      <a:pt x="9" y="528"/>
                      <a:pt x="22" y="578"/>
                    </a:cubicBezTo>
                    <a:cubicBezTo>
                      <a:pt x="48" y="671"/>
                      <a:pt x="123" y="757"/>
                      <a:pt x="222" y="756"/>
                    </a:cubicBezTo>
                    <a:cubicBezTo>
                      <a:pt x="242" y="847"/>
                      <a:pt x="353" y="884"/>
                      <a:pt x="439" y="885"/>
                    </a:cubicBezTo>
                    <a:cubicBezTo>
                      <a:pt x="516" y="886"/>
                      <a:pt x="594" y="861"/>
                      <a:pt x="648" y="807"/>
                    </a:cubicBezTo>
                    <a:cubicBezTo>
                      <a:pt x="714" y="892"/>
                      <a:pt x="838" y="905"/>
                      <a:pt x="938" y="875"/>
                    </a:cubicBezTo>
                    <a:cubicBezTo>
                      <a:pt x="994" y="857"/>
                      <a:pt x="1055" y="830"/>
                      <a:pt x="1095" y="785"/>
                    </a:cubicBezTo>
                    <a:cubicBezTo>
                      <a:pt x="1125" y="752"/>
                      <a:pt x="1141" y="709"/>
                      <a:pt x="1137" y="666"/>
                    </a:cubicBezTo>
                    <a:cubicBezTo>
                      <a:pt x="1174" y="662"/>
                      <a:pt x="1208" y="638"/>
                      <a:pt x="1228" y="606"/>
                    </a:cubicBezTo>
                    <a:cubicBezTo>
                      <a:pt x="1262" y="553"/>
                      <a:pt x="1251" y="483"/>
                      <a:pt x="1228" y="428"/>
                    </a:cubicBezTo>
                    <a:close/>
                    <a:moveTo>
                      <a:pt x="1108" y="607"/>
                    </a:moveTo>
                    <a:cubicBezTo>
                      <a:pt x="1082" y="599"/>
                      <a:pt x="1066" y="628"/>
                      <a:pt x="1076" y="649"/>
                    </a:cubicBezTo>
                    <a:cubicBezTo>
                      <a:pt x="1095" y="689"/>
                      <a:pt x="1070" y="733"/>
                      <a:pt x="1041" y="760"/>
                    </a:cubicBezTo>
                    <a:cubicBezTo>
                      <a:pt x="1005" y="792"/>
                      <a:pt x="955" y="812"/>
                      <a:pt x="910" y="824"/>
                    </a:cubicBezTo>
                    <a:cubicBezTo>
                      <a:pt x="824" y="847"/>
                      <a:pt x="719" y="832"/>
                      <a:pt x="675" y="745"/>
                    </a:cubicBezTo>
                    <a:cubicBezTo>
                      <a:pt x="665" y="725"/>
                      <a:pt x="638" y="729"/>
                      <a:pt x="626" y="745"/>
                    </a:cubicBezTo>
                    <a:cubicBezTo>
                      <a:pt x="588" y="802"/>
                      <a:pt x="517" y="827"/>
                      <a:pt x="450" y="828"/>
                    </a:cubicBezTo>
                    <a:cubicBezTo>
                      <a:pt x="385" y="829"/>
                      <a:pt x="275" y="808"/>
                      <a:pt x="275" y="725"/>
                    </a:cubicBezTo>
                    <a:cubicBezTo>
                      <a:pt x="275" y="705"/>
                      <a:pt x="257" y="694"/>
                      <a:pt x="240" y="697"/>
                    </a:cubicBezTo>
                    <a:cubicBezTo>
                      <a:pt x="164" y="713"/>
                      <a:pt x="104" y="645"/>
                      <a:pt x="82" y="580"/>
                    </a:cubicBezTo>
                    <a:cubicBezTo>
                      <a:pt x="71" y="547"/>
                      <a:pt x="61" y="507"/>
                      <a:pt x="68" y="472"/>
                    </a:cubicBezTo>
                    <a:cubicBezTo>
                      <a:pt x="73" y="448"/>
                      <a:pt x="98" y="414"/>
                      <a:pt x="127" y="430"/>
                    </a:cubicBezTo>
                    <a:cubicBezTo>
                      <a:pt x="146" y="442"/>
                      <a:pt x="168" y="427"/>
                      <a:pt x="169" y="406"/>
                    </a:cubicBezTo>
                    <a:cubicBezTo>
                      <a:pt x="174" y="335"/>
                      <a:pt x="240" y="285"/>
                      <a:pt x="309" y="298"/>
                    </a:cubicBezTo>
                    <a:cubicBezTo>
                      <a:pt x="327" y="302"/>
                      <a:pt x="345" y="291"/>
                      <a:pt x="345" y="271"/>
                    </a:cubicBezTo>
                    <a:cubicBezTo>
                      <a:pt x="345" y="223"/>
                      <a:pt x="371" y="181"/>
                      <a:pt x="403" y="146"/>
                    </a:cubicBezTo>
                    <a:cubicBezTo>
                      <a:pt x="437" y="111"/>
                      <a:pt x="482" y="74"/>
                      <a:pt x="531" y="65"/>
                    </a:cubicBezTo>
                    <a:cubicBezTo>
                      <a:pt x="579" y="57"/>
                      <a:pt x="629" y="84"/>
                      <a:pt x="663" y="115"/>
                    </a:cubicBezTo>
                    <a:cubicBezTo>
                      <a:pt x="696" y="145"/>
                      <a:pt x="722" y="186"/>
                      <a:pt x="727" y="232"/>
                    </a:cubicBezTo>
                    <a:cubicBezTo>
                      <a:pt x="730" y="253"/>
                      <a:pt x="758" y="273"/>
                      <a:pt x="776" y="252"/>
                    </a:cubicBezTo>
                    <a:cubicBezTo>
                      <a:pt x="821" y="196"/>
                      <a:pt x="906" y="206"/>
                      <a:pt x="968" y="223"/>
                    </a:cubicBezTo>
                    <a:cubicBezTo>
                      <a:pt x="1039" y="242"/>
                      <a:pt x="1112" y="294"/>
                      <a:pt x="1110" y="375"/>
                    </a:cubicBezTo>
                    <a:cubicBezTo>
                      <a:pt x="1110" y="392"/>
                      <a:pt x="1124" y="402"/>
                      <a:pt x="1139" y="404"/>
                    </a:cubicBezTo>
                    <a:cubicBezTo>
                      <a:pt x="1156" y="406"/>
                      <a:pt x="1168" y="430"/>
                      <a:pt x="1174" y="445"/>
                    </a:cubicBezTo>
                    <a:cubicBezTo>
                      <a:pt x="1190" y="483"/>
                      <a:pt x="1203" y="530"/>
                      <a:pt x="1184" y="569"/>
                    </a:cubicBezTo>
                    <a:cubicBezTo>
                      <a:pt x="1171" y="597"/>
                      <a:pt x="1139" y="618"/>
                      <a:pt x="1108" y="607"/>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grpSp>
      </p:grpSp>
      <p:sp>
        <p:nvSpPr>
          <p:cNvPr id="46" name="Freeform 18">
            <a:extLst>
              <a:ext uri="{FF2B5EF4-FFF2-40B4-BE49-F238E27FC236}">
                <a16:creationId xmlns:a16="http://schemas.microsoft.com/office/drawing/2014/main" id="{80C0D55D-5D97-4ED1-A4AD-62494D881535}"/>
              </a:ext>
            </a:extLst>
          </p:cNvPr>
          <p:cNvSpPr>
            <a:spLocks noEditPoints="1"/>
          </p:cNvSpPr>
          <p:nvPr/>
        </p:nvSpPr>
        <p:spPr bwMode="auto">
          <a:xfrm>
            <a:off x="3176" y="5759452"/>
            <a:ext cx="12185651" cy="1192213"/>
          </a:xfrm>
          <a:custGeom>
            <a:avLst/>
            <a:gdLst>
              <a:gd name="T0" fmla="*/ 4978 w 5120"/>
              <a:gd name="T1" fmla="*/ 277 h 502"/>
              <a:gd name="T2" fmla="*/ 4870 w 5120"/>
              <a:gd name="T3" fmla="*/ 106 h 502"/>
              <a:gd name="T4" fmla="*/ 4730 w 5120"/>
              <a:gd name="T5" fmla="*/ 182 h 502"/>
              <a:gd name="T6" fmla="*/ 4698 w 5120"/>
              <a:gd name="T7" fmla="*/ 315 h 502"/>
              <a:gd name="T8" fmla="*/ 4599 w 5120"/>
              <a:gd name="T9" fmla="*/ 288 h 502"/>
              <a:gd name="T10" fmla="*/ 4479 w 5120"/>
              <a:gd name="T11" fmla="*/ 361 h 502"/>
              <a:gd name="T12" fmla="*/ 4351 w 5120"/>
              <a:gd name="T13" fmla="*/ 161 h 502"/>
              <a:gd name="T14" fmla="*/ 4241 w 5120"/>
              <a:gd name="T15" fmla="*/ 242 h 502"/>
              <a:gd name="T16" fmla="*/ 4101 w 5120"/>
              <a:gd name="T17" fmla="*/ 64 h 502"/>
              <a:gd name="T18" fmla="*/ 4002 w 5120"/>
              <a:gd name="T19" fmla="*/ 156 h 502"/>
              <a:gd name="T20" fmla="*/ 3960 w 5120"/>
              <a:gd name="T21" fmla="*/ 130 h 502"/>
              <a:gd name="T22" fmla="*/ 3845 w 5120"/>
              <a:gd name="T23" fmla="*/ 274 h 502"/>
              <a:gd name="T24" fmla="*/ 3720 w 5120"/>
              <a:gd name="T25" fmla="*/ 268 h 502"/>
              <a:gd name="T26" fmla="*/ 3575 w 5120"/>
              <a:gd name="T27" fmla="*/ 257 h 502"/>
              <a:gd name="T28" fmla="*/ 3462 w 5120"/>
              <a:gd name="T29" fmla="*/ 9 h 502"/>
              <a:gd name="T30" fmla="*/ 3364 w 5120"/>
              <a:gd name="T31" fmla="*/ 249 h 502"/>
              <a:gd name="T32" fmla="*/ 3297 w 5120"/>
              <a:gd name="T33" fmla="*/ 295 h 502"/>
              <a:gd name="T34" fmla="*/ 3208 w 5120"/>
              <a:gd name="T35" fmla="*/ 167 h 502"/>
              <a:gd name="T36" fmla="*/ 3090 w 5120"/>
              <a:gd name="T37" fmla="*/ 235 h 502"/>
              <a:gd name="T38" fmla="*/ 2938 w 5120"/>
              <a:gd name="T39" fmla="*/ 197 h 502"/>
              <a:gd name="T40" fmla="*/ 2847 w 5120"/>
              <a:gd name="T41" fmla="*/ 338 h 502"/>
              <a:gd name="T42" fmla="*/ 2714 w 5120"/>
              <a:gd name="T43" fmla="*/ 224 h 502"/>
              <a:gd name="T44" fmla="*/ 2643 w 5120"/>
              <a:gd name="T45" fmla="*/ 328 h 502"/>
              <a:gd name="T46" fmla="*/ 2530 w 5120"/>
              <a:gd name="T47" fmla="*/ 181 h 502"/>
              <a:gd name="T48" fmla="*/ 2439 w 5120"/>
              <a:gd name="T49" fmla="*/ 227 h 502"/>
              <a:gd name="T50" fmla="*/ 2320 w 5120"/>
              <a:gd name="T51" fmla="*/ 184 h 502"/>
              <a:gd name="T52" fmla="*/ 2170 w 5120"/>
              <a:gd name="T53" fmla="*/ 341 h 502"/>
              <a:gd name="T54" fmla="*/ 2024 w 5120"/>
              <a:gd name="T55" fmla="*/ 12 h 502"/>
              <a:gd name="T56" fmla="*/ 1974 w 5120"/>
              <a:gd name="T57" fmla="*/ 271 h 502"/>
              <a:gd name="T58" fmla="*/ 1894 w 5120"/>
              <a:gd name="T59" fmla="*/ 433 h 502"/>
              <a:gd name="T60" fmla="*/ 1788 w 5120"/>
              <a:gd name="T61" fmla="*/ 261 h 502"/>
              <a:gd name="T62" fmla="*/ 1737 w 5120"/>
              <a:gd name="T63" fmla="*/ 321 h 502"/>
              <a:gd name="T64" fmla="*/ 1643 w 5120"/>
              <a:gd name="T65" fmla="*/ 373 h 502"/>
              <a:gd name="T66" fmla="*/ 1487 w 5120"/>
              <a:gd name="T67" fmla="*/ 358 h 502"/>
              <a:gd name="T68" fmla="*/ 1398 w 5120"/>
              <a:gd name="T69" fmla="*/ 219 h 502"/>
              <a:gd name="T70" fmla="*/ 1304 w 5120"/>
              <a:gd name="T71" fmla="*/ 266 h 502"/>
              <a:gd name="T72" fmla="*/ 1211 w 5120"/>
              <a:gd name="T73" fmla="*/ 387 h 502"/>
              <a:gd name="T74" fmla="*/ 1121 w 5120"/>
              <a:gd name="T75" fmla="*/ 107 h 502"/>
              <a:gd name="T76" fmla="*/ 1038 w 5120"/>
              <a:gd name="T77" fmla="*/ 283 h 502"/>
              <a:gd name="T78" fmla="*/ 952 w 5120"/>
              <a:gd name="T79" fmla="*/ 266 h 502"/>
              <a:gd name="T80" fmla="*/ 807 w 5120"/>
              <a:gd name="T81" fmla="*/ 250 h 502"/>
              <a:gd name="T82" fmla="*/ 694 w 5120"/>
              <a:gd name="T83" fmla="*/ 3 h 502"/>
              <a:gd name="T84" fmla="*/ 597 w 5120"/>
              <a:gd name="T85" fmla="*/ 242 h 502"/>
              <a:gd name="T86" fmla="*/ 529 w 5120"/>
              <a:gd name="T87" fmla="*/ 289 h 502"/>
              <a:gd name="T88" fmla="*/ 440 w 5120"/>
              <a:gd name="T89" fmla="*/ 161 h 502"/>
              <a:gd name="T90" fmla="*/ 331 w 5120"/>
              <a:gd name="T91" fmla="*/ 358 h 502"/>
              <a:gd name="T92" fmla="*/ 203 w 5120"/>
              <a:gd name="T93" fmla="*/ 158 h 502"/>
              <a:gd name="T94" fmla="*/ 93 w 5120"/>
              <a:gd name="T95" fmla="*/ 239 h 502"/>
              <a:gd name="T96" fmla="*/ 0 w 5120"/>
              <a:gd name="T97" fmla="*/ 502 h 502"/>
              <a:gd name="T98" fmla="*/ 1236 w 5120"/>
              <a:gd name="T99" fmla="*/ 368 h 502"/>
              <a:gd name="T100" fmla="*/ 1389 w 5120"/>
              <a:gd name="T101" fmla="*/ 290 h 502"/>
              <a:gd name="T102" fmla="*/ 1605 w 5120"/>
              <a:gd name="T103" fmla="*/ 293 h 502"/>
              <a:gd name="T104" fmla="*/ 2271 w 5120"/>
              <a:gd name="T105" fmla="*/ 288 h 502"/>
              <a:gd name="T106" fmla="*/ 2623 w 5120"/>
              <a:gd name="T107" fmla="*/ 375 h 502"/>
              <a:gd name="T108" fmla="*/ 2775 w 5120"/>
              <a:gd name="T109" fmla="*/ 354 h 502"/>
              <a:gd name="T110" fmla="*/ 3122 w 5120"/>
              <a:gd name="T111" fmla="*/ 355 h 502"/>
              <a:gd name="T112" fmla="*/ 3664 w 5120"/>
              <a:gd name="T113" fmla="*/ 311 h 502"/>
              <a:gd name="T114" fmla="*/ 4101 w 5120"/>
              <a:gd name="T115" fmla="*/ 286 h 502"/>
              <a:gd name="T116" fmla="*/ 4343 w 5120"/>
              <a:gd name="T117" fmla="*/ 364 h 502"/>
              <a:gd name="T118" fmla="*/ 4704 w 5120"/>
              <a:gd name="T119" fmla="*/ 359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120" h="502">
                <a:moveTo>
                  <a:pt x="5104" y="143"/>
                </a:moveTo>
                <a:cubicBezTo>
                  <a:pt x="5104" y="141"/>
                  <a:pt x="5103" y="143"/>
                  <a:pt x="5103" y="144"/>
                </a:cubicBezTo>
                <a:cubicBezTo>
                  <a:pt x="5109" y="182"/>
                  <a:pt x="5102" y="227"/>
                  <a:pt x="5100" y="265"/>
                </a:cubicBezTo>
                <a:cubicBezTo>
                  <a:pt x="5100" y="267"/>
                  <a:pt x="5100" y="268"/>
                  <a:pt x="5100" y="269"/>
                </a:cubicBezTo>
                <a:cubicBezTo>
                  <a:pt x="5095" y="236"/>
                  <a:pt x="5089" y="205"/>
                  <a:pt x="5082" y="178"/>
                </a:cubicBezTo>
                <a:cubicBezTo>
                  <a:pt x="5081" y="177"/>
                  <a:pt x="5080" y="179"/>
                  <a:pt x="5080" y="180"/>
                </a:cubicBezTo>
                <a:cubicBezTo>
                  <a:pt x="5086" y="223"/>
                  <a:pt x="5086" y="270"/>
                  <a:pt x="5084" y="316"/>
                </a:cubicBezTo>
                <a:cubicBezTo>
                  <a:pt x="5080" y="280"/>
                  <a:pt x="5074" y="245"/>
                  <a:pt x="5063" y="213"/>
                </a:cubicBezTo>
                <a:cubicBezTo>
                  <a:pt x="5056" y="194"/>
                  <a:pt x="5043" y="162"/>
                  <a:pt x="5030" y="154"/>
                </a:cubicBezTo>
                <a:cubicBezTo>
                  <a:pt x="5031" y="138"/>
                  <a:pt x="5032" y="123"/>
                  <a:pt x="5034" y="107"/>
                </a:cubicBezTo>
                <a:cubicBezTo>
                  <a:pt x="5034" y="105"/>
                  <a:pt x="5032" y="106"/>
                  <a:pt x="5032" y="107"/>
                </a:cubicBezTo>
                <a:cubicBezTo>
                  <a:pt x="5021" y="169"/>
                  <a:pt x="5009" y="230"/>
                  <a:pt x="5001" y="292"/>
                </a:cubicBezTo>
                <a:cubicBezTo>
                  <a:pt x="5001" y="241"/>
                  <a:pt x="5001" y="190"/>
                  <a:pt x="5000" y="140"/>
                </a:cubicBezTo>
                <a:cubicBezTo>
                  <a:pt x="5000" y="139"/>
                  <a:pt x="4999" y="140"/>
                  <a:pt x="4999" y="140"/>
                </a:cubicBezTo>
                <a:cubicBezTo>
                  <a:pt x="4996" y="178"/>
                  <a:pt x="4985" y="211"/>
                  <a:pt x="4981" y="248"/>
                </a:cubicBezTo>
                <a:cubicBezTo>
                  <a:pt x="4980" y="258"/>
                  <a:pt x="4979" y="267"/>
                  <a:pt x="4978" y="277"/>
                </a:cubicBezTo>
                <a:cubicBezTo>
                  <a:pt x="4977" y="194"/>
                  <a:pt x="4977" y="111"/>
                  <a:pt x="4982" y="29"/>
                </a:cubicBezTo>
                <a:cubicBezTo>
                  <a:pt x="4983" y="27"/>
                  <a:pt x="4981" y="28"/>
                  <a:pt x="4981" y="29"/>
                </a:cubicBezTo>
                <a:cubicBezTo>
                  <a:pt x="4970" y="105"/>
                  <a:pt x="4960" y="178"/>
                  <a:pt x="4955" y="254"/>
                </a:cubicBezTo>
                <a:cubicBezTo>
                  <a:pt x="4949" y="195"/>
                  <a:pt x="4941" y="137"/>
                  <a:pt x="4932" y="79"/>
                </a:cubicBezTo>
                <a:cubicBezTo>
                  <a:pt x="4932" y="77"/>
                  <a:pt x="4930" y="79"/>
                  <a:pt x="4930" y="80"/>
                </a:cubicBezTo>
                <a:cubicBezTo>
                  <a:pt x="4936" y="165"/>
                  <a:pt x="4933" y="252"/>
                  <a:pt x="4930" y="338"/>
                </a:cubicBezTo>
                <a:cubicBezTo>
                  <a:pt x="4928" y="302"/>
                  <a:pt x="4925" y="266"/>
                  <a:pt x="4924" y="230"/>
                </a:cubicBezTo>
                <a:cubicBezTo>
                  <a:pt x="4924" y="227"/>
                  <a:pt x="4922" y="229"/>
                  <a:pt x="4922" y="231"/>
                </a:cubicBezTo>
                <a:cubicBezTo>
                  <a:pt x="4920" y="269"/>
                  <a:pt x="4915" y="306"/>
                  <a:pt x="4911" y="343"/>
                </a:cubicBezTo>
                <a:cubicBezTo>
                  <a:pt x="4910" y="356"/>
                  <a:pt x="4909" y="368"/>
                  <a:pt x="4908" y="381"/>
                </a:cubicBezTo>
                <a:cubicBezTo>
                  <a:pt x="4908" y="364"/>
                  <a:pt x="4909" y="348"/>
                  <a:pt x="4909" y="331"/>
                </a:cubicBezTo>
                <a:cubicBezTo>
                  <a:pt x="4910" y="226"/>
                  <a:pt x="4901" y="115"/>
                  <a:pt x="4911" y="12"/>
                </a:cubicBezTo>
                <a:cubicBezTo>
                  <a:pt x="4912" y="9"/>
                  <a:pt x="4909" y="10"/>
                  <a:pt x="4909" y="12"/>
                </a:cubicBezTo>
                <a:cubicBezTo>
                  <a:pt x="4896" y="89"/>
                  <a:pt x="4887" y="164"/>
                  <a:pt x="4882" y="242"/>
                </a:cubicBezTo>
                <a:cubicBezTo>
                  <a:pt x="4877" y="196"/>
                  <a:pt x="4873" y="151"/>
                  <a:pt x="4872" y="105"/>
                </a:cubicBezTo>
                <a:cubicBezTo>
                  <a:pt x="4872" y="102"/>
                  <a:pt x="4870" y="104"/>
                  <a:pt x="4870" y="106"/>
                </a:cubicBezTo>
                <a:cubicBezTo>
                  <a:pt x="4869" y="128"/>
                  <a:pt x="4868" y="150"/>
                  <a:pt x="4867" y="172"/>
                </a:cubicBezTo>
                <a:cubicBezTo>
                  <a:pt x="4864" y="114"/>
                  <a:pt x="4857" y="56"/>
                  <a:pt x="4843" y="5"/>
                </a:cubicBezTo>
                <a:cubicBezTo>
                  <a:pt x="4843" y="4"/>
                  <a:pt x="4842" y="5"/>
                  <a:pt x="4842" y="6"/>
                </a:cubicBezTo>
                <a:cubicBezTo>
                  <a:pt x="4846" y="55"/>
                  <a:pt x="4840" y="113"/>
                  <a:pt x="4840" y="162"/>
                </a:cubicBezTo>
                <a:cubicBezTo>
                  <a:pt x="4839" y="207"/>
                  <a:pt x="4838" y="252"/>
                  <a:pt x="4836" y="298"/>
                </a:cubicBezTo>
                <a:cubicBezTo>
                  <a:pt x="4828" y="194"/>
                  <a:pt x="4814" y="101"/>
                  <a:pt x="4784" y="8"/>
                </a:cubicBezTo>
                <a:cubicBezTo>
                  <a:pt x="4783" y="7"/>
                  <a:pt x="4782" y="9"/>
                  <a:pt x="4782" y="10"/>
                </a:cubicBezTo>
                <a:cubicBezTo>
                  <a:pt x="4800" y="84"/>
                  <a:pt x="4809" y="160"/>
                  <a:pt x="4814" y="237"/>
                </a:cubicBezTo>
                <a:cubicBezTo>
                  <a:pt x="4813" y="233"/>
                  <a:pt x="4811" y="229"/>
                  <a:pt x="4810" y="226"/>
                </a:cubicBezTo>
                <a:cubicBezTo>
                  <a:pt x="4803" y="208"/>
                  <a:pt x="4788" y="180"/>
                  <a:pt x="4773" y="165"/>
                </a:cubicBezTo>
                <a:cubicBezTo>
                  <a:pt x="4766" y="152"/>
                  <a:pt x="4758" y="142"/>
                  <a:pt x="4748" y="133"/>
                </a:cubicBezTo>
                <a:cubicBezTo>
                  <a:pt x="4747" y="132"/>
                  <a:pt x="4746" y="135"/>
                  <a:pt x="4747" y="136"/>
                </a:cubicBezTo>
                <a:cubicBezTo>
                  <a:pt x="4758" y="172"/>
                  <a:pt x="4764" y="209"/>
                  <a:pt x="4768" y="248"/>
                </a:cubicBezTo>
                <a:cubicBezTo>
                  <a:pt x="4760" y="218"/>
                  <a:pt x="4747" y="186"/>
                  <a:pt x="4731" y="179"/>
                </a:cubicBezTo>
                <a:cubicBezTo>
                  <a:pt x="4730" y="179"/>
                  <a:pt x="4729" y="180"/>
                  <a:pt x="4730" y="181"/>
                </a:cubicBezTo>
                <a:cubicBezTo>
                  <a:pt x="4730" y="182"/>
                  <a:pt x="4730" y="182"/>
                  <a:pt x="4730" y="182"/>
                </a:cubicBezTo>
                <a:cubicBezTo>
                  <a:pt x="4730" y="183"/>
                  <a:pt x="4731" y="182"/>
                  <a:pt x="4731" y="182"/>
                </a:cubicBezTo>
                <a:cubicBezTo>
                  <a:pt x="4733" y="188"/>
                  <a:pt x="4736" y="195"/>
                  <a:pt x="4737" y="203"/>
                </a:cubicBezTo>
                <a:cubicBezTo>
                  <a:pt x="4740" y="217"/>
                  <a:pt x="4743" y="231"/>
                  <a:pt x="4744" y="246"/>
                </a:cubicBezTo>
                <a:cubicBezTo>
                  <a:pt x="4748" y="273"/>
                  <a:pt x="4750" y="301"/>
                  <a:pt x="4752" y="329"/>
                </a:cubicBezTo>
                <a:cubicBezTo>
                  <a:pt x="4753" y="338"/>
                  <a:pt x="4753" y="347"/>
                  <a:pt x="4753" y="355"/>
                </a:cubicBezTo>
                <a:cubicBezTo>
                  <a:pt x="4749" y="325"/>
                  <a:pt x="4743" y="295"/>
                  <a:pt x="4734" y="267"/>
                </a:cubicBezTo>
                <a:cubicBezTo>
                  <a:pt x="4727" y="248"/>
                  <a:pt x="4713" y="215"/>
                  <a:pt x="4701" y="207"/>
                </a:cubicBezTo>
                <a:cubicBezTo>
                  <a:pt x="4700" y="207"/>
                  <a:pt x="4700" y="208"/>
                  <a:pt x="4700" y="209"/>
                </a:cubicBezTo>
                <a:cubicBezTo>
                  <a:pt x="4714" y="230"/>
                  <a:pt x="4714" y="292"/>
                  <a:pt x="4717" y="321"/>
                </a:cubicBezTo>
                <a:cubicBezTo>
                  <a:pt x="4719" y="340"/>
                  <a:pt x="4720" y="359"/>
                  <a:pt x="4721" y="378"/>
                </a:cubicBezTo>
                <a:cubicBezTo>
                  <a:pt x="4721" y="379"/>
                  <a:pt x="4721" y="380"/>
                  <a:pt x="4720" y="382"/>
                </a:cubicBezTo>
                <a:cubicBezTo>
                  <a:pt x="4716" y="365"/>
                  <a:pt x="4710" y="350"/>
                  <a:pt x="4705" y="334"/>
                </a:cubicBezTo>
                <a:cubicBezTo>
                  <a:pt x="4706" y="309"/>
                  <a:pt x="4708" y="284"/>
                  <a:pt x="4710" y="260"/>
                </a:cubicBezTo>
                <a:cubicBezTo>
                  <a:pt x="4710" y="258"/>
                  <a:pt x="4709" y="258"/>
                  <a:pt x="4709" y="260"/>
                </a:cubicBezTo>
                <a:cubicBezTo>
                  <a:pt x="4705" y="278"/>
                  <a:pt x="4702" y="295"/>
                  <a:pt x="4699" y="313"/>
                </a:cubicBezTo>
                <a:cubicBezTo>
                  <a:pt x="4698" y="313"/>
                  <a:pt x="4698" y="314"/>
                  <a:pt x="4698" y="315"/>
                </a:cubicBezTo>
                <a:cubicBezTo>
                  <a:pt x="4698" y="316"/>
                  <a:pt x="4698" y="316"/>
                  <a:pt x="4698" y="317"/>
                </a:cubicBezTo>
                <a:cubicBezTo>
                  <a:pt x="4691" y="359"/>
                  <a:pt x="4683" y="401"/>
                  <a:pt x="4677" y="444"/>
                </a:cubicBezTo>
                <a:cubicBezTo>
                  <a:pt x="4677" y="394"/>
                  <a:pt x="4677" y="343"/>
                  <a:pt x="4677" y="292"/>
                </a:cubicBezTo>
                <a:cubicBezTo>
                  <a:pt x="4677" y="291"/>
                  <a:pt x="4676" y="292"/>
                  <a:pt x="4676" y="293"/>
                </a:cubicBezTo>
                <a:cubicBezTo>
                  <a:pt x="4672" y="330"/>
                  <a:pt x="4661" y="364"/>
                  <a:pt x="4657" y="401"/>
                </a:cubicBezTo>
                <a:cubicBezTo>
                  <a:pt x="4656" y="410"/>
                  <a:pt x="4655" y="420"/>
                  <a:pt x="4654" y="429"/>
                </a:cubicBezTo>
                <a:cubicBezTo>
                  <a:pt x="4653" y="346"/>
                  <a:pt x="4654" y="264"/>
                  <a:pt x="4659" y="181"/>
                </a:cubicBezTo>
                <a:cubicBezTo>
                  <a:pt x="4659" y="180"/>
                  <a:pt x="4657" y="180"/>
                  <a:pt x="4657" y="182"/>
                </a:cubicBezTo>
                <a:cubicBezTo>
                  <a:pt x="4646" y="257"/>
                  <a:pt x="4637" y="330"/>
                  <a:pt x="4631" y="406"/>
                </a:cubicBezTo>
                <a:cubicBezTo>
                  <a:pt x="4626" y="347"/>
                  <a:pt x="4617" y="290"/>
                  <a:pt x="4608" y="231"/>
                </a:cubicBezTo>
                <a:cubicBezTo>
                  <a:pt x="4608" y="229"/>
                  <a:pt x="4607" y="231"/>
                  <a:pt x="4607" y="232"/>
                </a:cubicBezTo>
                <a:cubicBezTo>
                  <a:pt x="4612" y="317"/>
                  <a:pt x="4610" y="404"/>
                  <a:pt x="4607" y="490"/>
                </a:cubicBezTo>
                <a:cubicBezTo>
                  <a:pt x="4605" y="472"/>
                  <a:pt x="4604" y="453"/>
                  <a:pt x="4603" y="435"/>
                </a:cubicBezTo>
                <a:cubicBezTo>
                  <a:pt x="4605" y="393"/>
                  <a:pt x="4602" y="349"/>
                  <a:pt x="4600" y="308"/>
                </a:cubicBezTo>
                <a:cubicBezTo>
                  <a:pt x="4600" y="307"/>
                  <a:pt x="4600" y="307"/>
                  <a:pt x="4599" y="307"/>
                </a:cubicBezTo>
                <a:cubicBezTo>
                  <a:pt x="4599" y="301"/>
                  <a:pt x="4599" y="294"/>
                  <a:pt x="4599" y="288"/>
                </a:cubicBezTo>
                <a:cubicBezTo>
                  <a:pt x="4600" y="286"/>
                  <a:pt x="4598" y="287"/>
                  <a:pt x="4598" y="288"/>
                </a:cubicBezTo>
                <a:cubicBezTo>
                  <a:pt x="4593" y="310"/>
                  <a:pt x="4588" y="330"/>
                  <a:pt x="4583" y="351"/>
                </a:cubicBezTo>
                <a:cubicBezTo>
                  <a:pt x="4582" y="288"/>
                  <a:pt x="4582" y="225"/>
                  <a:pt x="4588" y="164"/>
                </a:cubicBezTo>
                <a:cubicBezTo>
                  <a:pt x="4588" y="162"/>
                  <a:pt x="4586" y="163"/>
                  <a:pt x="4586" y="164"/>
                </a:cubicBezTo>
                <a:cubicBezTo>
                  <a:pt x="4572" y="241"/>
                  <a:pt x="4564" y="317"/>
                  <a:pt x="4558" y="394"/>
                </a:cubicBezTo>
                <a:cubicBezTo>
                  <a:pt x="4554" y="349"/>
                  <a:pt x="4550" y="303"/>
                  <a:pt x="4548" y="257"/>
                </a:cubicBezTo>
                <a:cubicBezTo>
                  <a:pt x="4548" y="255"/>
                  <a:pt x="4546" y="257"/>
                  <a:pt x="4546" y="259"/>
                </a:cubicBezTo>
                <a:cubicBezTo>
                  <a:pt x="4545" y="281"/>
                  <a:pt x="4545" y="303"/>
                  <a:pt x="4544" y="325"/>
                </a:cubicBezTo>
                <a:cubicBezTo>
                  <a:pt x="4540" y="266"/>
                  <a:pt x="4533" y="208"/>
                  <a:pt x="4519" y="157"/>
                </a:cubicBezTo>
                <a:cubicBezTo>
                  <a:pt x="4519" y="156"/>
                  <a:pt x="4518" y="158"/>
                  <a:pt x="4518" y="159"/>
                </a:cubicBezTo>
                <a:cubicBezTo>
                  <a:pt x="4522" y="196"/>
                  <a:pt x="4519" y="238"/>
                  <a:pt x="4517" y="278"/>
                </a:cubicBezTo>
                <a:cubicBezTo>
                  <a:pt x="4510" y="291"/>
                  <a:pt x="4503" y="304"/>
                  <a:pt x="4497" y="318"/>
                </a:cubicBezTo>
                <a:cubicBezTo>
                  <a:pt x="4489" y="264"/>
                  <a:pt x="4477" y="212"/>
                  <a:pt x="4460" y="160"/>
                </a:cubicBezTo>
                <a:cubicBezTo>
                  <a:pt x="4460" y="159"/>
                  <a:pt x="4458" y="161"/>
                  <a:pt x="4459" y="162"/>
                </a:cubicBezTo>
                <a:cubicBezTo>
                  <a:pt x="4473" y="221"/>
                  <a:pt x="4481" y="281"/>
                  <a:pt x="4487" y="342"/>
                </a:cubicBezTo>
                <a:cubicBezTo>
                  <a:pt x="4484" y="349"/>
                  <a:pt x="4481" y="355"/>
                  <a:pt x="4479" y="361"/>
                </a:cubicBezTo>
                <a:cubicBezTo>
                  <a:pt x="4476" y="355"/>
                  <a:pt x="4472" y="348"/>
                  <a:pt x="4468" y="341"/>
                </a:cubicBezTo>
                <a:cubicBezTo>
                  <a:pt x="4469" y="305"/>
                  <a:pt x="4470" y="268"/>
                  <a:pt x="4472" y="231"/>
                </a:cubicBezTo>
                <a:cubicBezTo>
                  <a:pt x="4472" y="229"/>
                  <a:pt x="4470" y="231"/>
                  <a:pt x="4470" y="232"/>
                </a:cubicBezTo>
                <a:cubicBezTo>
                  <a:pt x="4466" y="263"/>
                  <a:pt x="4460" y="293"/>
                  <a:pt x="4455" y="323"/>
                </a:cubicBezTo>
                <a:cubicBezTo>
                  <a:pt x="4452" y="319"/>
                  <a:pt x="4448" y="316"/>
                  <a:pt x="4445" y="313"/>
                </a:cubicBezTo>
                <a:cubicBezTo>
                  <a:pt x="4441" y="273"/>
                  <a:pt x="4435" y="234"/>
                  <a:pt x="4423" y="196"/>
                </a:cubicBezTo>
                <a:cubicBezTo>
                  <a:pt x="4423" y="195"/>
                  <a:pt x="4422" y="197"/>
                  <a:pt x="4422" y="198"/>
                </a:cubicBezTo>
                <a:cubicBezTo>
                  <a:pt x="4427" y="235"/>
                  <a:pt x="4421" y="281"/>
                  <a:pt x="4419" y="319"/>
                </a:cubicBezTo>
                <a:cubicBezTo>
                  <a:pt x="4419" y="320"/>
                  <a:pt x="4419" y="322"/>
                  <a:pt x="4419" y="323"/>
                </a:cubicBezTo>
                <a:cubicBezTo>
                  <a:pt x="4414" y="290"/>
                  <a:pt x="4408" y="259"/>
                  <a:pt x="4400" y="232"/>
                </a:cubicBezTo>
                <a:cubicBezTo>
                  <a:pt x="4400" y="230"/>
                  <a:pt x="4398" y="233"/>
                  <a:pt x="4399" y="234"/>
                </a:cubicBezTo>
                <a:cubicBezTo>
                  <a:pt x="4405" y="277"/>
                  <a:pt x="4404" y="324"/>
                  <a:pt x="4403" y="370"/>
                </a:cubicBezTo>
                <a:cubicBezTo>
                  <a:pt x="4399" y="334"/>
                  <a:pt x="4392" y="299"/>
                  <a:pt x="4382" y="267"/>
                </a:cubicBezTo>
                <a:cubicBezTo>
                  <a:pt x="4375" y="248"/>
                  <a:pt x="4361" y="216"/>
                  <a:pt x="4349" y="208"/>
                </a:cubicBezTo>
                <a:cubicBezTo>
                  <a:pt x="4350" y="192"/>
                  <a:pt x="4351" y="176"/>
                  <a:pt x="4352" y="161"/>
                </a:cubicBezTo>
                <a:cubicBezTo>
                  <a:pt x="4353" y="159"/>
                  <a:pt x="4351" y="160"/>
                  <a:pt x="4351" y="161"/>
                </a:cubicBezTo>
                <a:cubicBezTo>
                  <a:pt x="4340" y="223"/>
                  <a:pt x="4328" y="283"/>
                  <a:pt x="4319" y="346"/>
                </a:cubicBezTo>
                <a:cubicBezTo>
                  <a:pt x="4319" y="295"/>
                  <a:pt x="4319" y="244"/>
                  <a:pt x="4319" y="194"/>
                </a:cubicBezTo>
                <a:cubicBezTo>
                  <a:pt x="4319" y="193"/>
                  <a:pt x="4318" y="194"/>
                  <a:pt x="4318" y="194"/>
                </a:cubicBezTo>
                <a:cubicBezTo>
                  <a:pt x="4315" y="232"/>
                  <a:pt x="4304" y="265"/>
                  <a:pt x="4299" y="302"/>
                </a:cubicBezTo>
                <a:cubicBezTo>
                  <a:pt x="4298" y="312"/>
                  <a:pt x="4297" y="321"/>
                  <a:pt x="4296" y="331"/>
                </a:cubicBezTo>
                <a:cubicBezTo>
                  <a:pt x="4296" y="248"/>
                  <a:pt x="4296" y="165"/>
                  <a:pt x="4301" y="83"/>
                </a:cubicBezTo>
                <a:cubicBezTo>
                  <a:pt x="4301" y="81"/>
                  <a:pt x="4300" y="82"/>
                  <a:pt x="4300" y="83"/>
                </a:cubicBezTo>
                <a:cubicBezTo>
                  <a:pt x="4288" y="159"/>
                  <a:pt x="4279" y="232"/>
                  <a:pt x="4274" y="308"/>
                </a:cubicBezTo>
                <a:cubicBezTo>
                  <a:pt x="4268" y="249"/>
                  <a:pt x="4259" y="191"/>
                  <a:pt x="4251" y="133"/>
                </a:cubicBezTo>
                <a:cubicBezTo>
                  <a:pt x="4250" y="131"/>
                  <a:pt x="4249" y="132"/>
                  <a:pt x="4249" y="134"/>
                </a:cubicBezTo>
                <a:cubicBezTo>
                  <a:pt x="4254" y="219"/>
                  <a:pt x="4252" y="306"/>
                  <a:pt x="4249" y="392"/>
                </a:cubicBezTo>
                <a:cubicBezTo>
                  <a:pt x="4248" y="379"/>
                  <a:pt x="4247" y="367"/>
                  <a:pt x="4246" y="354"/>
                </a:cubicBezTo>
                <a:cubicBezTo>
                  <a:pt x="4246" y="350"/>
                  <a:pt x="4247" y="346"/>
                  <a:pt x="4247" y="342"/>
                </a:cubicBezTo>
                <a:cubicBezTo>
                  <a:pt x="4247" y="314"/>
                  <a:pt x="4250" y="266"/>
                  <a:pt x="4242" y="241"/>
                </a:cubicBezTo>
                <a:cubicBezTo>
                  <a:pt x="4242" y="240"/>
                  <a:pt x="4241" y="241"/>
                  <a:pt x="4241" y="241"/>
                </a:cubicBezTo>
                <a:cubicBezTo>
                  <a:pt x="4241" y="242"/>
                  <a:pt x="4241" y="242"/>
                  <a:pt x="4241" y="242"/>
                </a:cubicBezTo>
                <a:cubicBezTo>
                  <a:pt x="4240" y="243"/>
                  <a:pt x="4241" y="243"/>
                  <a:pt x="4241" y="243"/>
                </a:cubicBezTo>
                <a:cubicBezTo>
                  <a:pt x="4237" y="248"/>
                  <a:pt x="4233" y="300"/>
                  <a:pt x="4231" y="310"/>
                </a:cubicBezTo>
                <a:cubicBezTo>
                  <a:pt x="4230" y="319"/>
                  <a:pt x="4228" y="327"/>
                  <a:pt x="4227" y="335"/>
                </a:cubicBezTo>
                <a:cubicBezTo>
                  <a:pt x="4226" y="246"/>
                  <a:pt x="4221" y="153"/>
                  <a:pt x="4230" y="66"/>
                </a:cubicBezTo>
                <a:cubicBezTo>
                  <a:pt x="4230" y="63"/>
                  <a:pt x="4228" y="64"/>
                  <a:pt x="4228" y="66"/>
                </a:cubicBezTo>
                <a:cubicBezTo>
                  <a:pt x="4214" y="143"/>
                  <a:pt x="4206" y="218"/>
                  <a:pt x="4200" y="296"/>
                </a:cubicBezTo>
                <a:cubicBezTo>
                  <a:pt x="4196" y="250"/>
                  <a:pt x="4192" y="205"/>
                  <a:pt x="4191" y="159"/>
                </a:cubicBezTo>
                <a:cubicBezTo>
                  <a:pt x="4191" y="156"/>
                  <a:pt x="4188" y="158"/>
                  <a:pt x="4188" y="160"/>
                </a:cubicBezTo>
                <a:cubicBezTo>
                  <a:pt x="4188" y="182"/>
                  <a:pt x="4187" y="204"/>
                  <a:pt x="4186" y="226"/>
                </a:cubicBezTo>
                <a:cubicBezTo>
                  <a:pt x="4183" y="168"/>
                  <a:pt x="4175" y="110"/>
                  <a:pt x="4162" y="59"/>
                </a:cubicBezTo>
                <a:cubicBezTo>
                  <a:pt x="4161" y="58"/>
                  <a:pt x="4160" y="59"/>
                  <a:pt x="4160" y="60"/>
                </a:cubicBezTo>
                <a:cubicBezTo>
                  <a:pt x="4165" y="109"/>
                  <a:pt x="4159" y="166"/>
                  <a:pt x="4158" y="216"/>
                </a:cubicBezTo>
                <a:cubicBezTo>
                  <a:pt x="4158" y="228"/>
                  <a:pt x="4158" y="240"/>
                  <a:pt x="4158" y="252"/>
                </a:cubicBezTo>
                <a:cubicBezTo>
                  <a:pt x="4154" y="260"/>
                  <a:pt x="4150" y="267"/>
                  <a:pt x="4147" y="275"/>
                </a:cubicBezTo>
                <a:cubicBezTo>
                  <a:pt x="4138" y="201"/>
                  <a:pt x="4125" y="131"/>
                  <a:pt x="4102" y="62"/>
                </a:cubicBezTo>
                <a:cubicBezTo>
                  <a:pt x="4102" y="61"/>
                  <a:pt x="4101" y="63"/>
                  <a:pt x="4101" y="64"/>
                </a:cubicBezTo>
                <a:cubicBezTo>
                  <a:pt x="4111" y="104"/>
                  <a:pt x="4118" y="145"/>
                  <a:pt x="4123" y="187"/>
                </a:cubicBezTo>
                <a:cubicBezTo>
                  <a:pt x="4120" y="207"/>
                  <a:pt x="4116" y="227"/>
                  <a:pt x="4113" y="247"/>
                </a:cubicBezTo>
                <a:cubicBezTo>
                  <a:pt x="4107" y="237"/>
                  <a:pt x="4100" y="228"/>
                  <a:pt x="4094" y="220"/>
                </a:cubicBezTo>
                <a:cubicBezTo>
                  <a:pt x="4090" y="195"/>
                  <a:pt x="4084" y="170"/>
                  <a:pt x="4077" y="145"/>
                </a:cubicBezTo>
                <a:cubicBezTo>
                  <a:pt x="4076" y="144"/>
                  <a:pt x="4075" y="146"/>
                  <a:pt x="4075" y="147"/>
                </a:cubicBezTo>
                <a:cubicBezTo>
                  <a:pt x="4078" y="166"/>
                  <a:pt x="4078" y="186"/>
                  <a:pt x="4077" y="207"/>
                </a:cubicBezTo>
                <a:cubicBezTo>
                  <a:pt x="4076" y="207"/>
                  <a:pt x="4076" y="206"/>
                  <a:pt x="4076" y="205"/>
                </a:cubicBezTo>
                <a:cubicBezTo>
                  <a:pt x="4075" y="204"/>
                  <a:pt x="4074" y="207"/>
                  <a:pt x="4074" y="208"/>
                </a:cubicBezTo>
                <a:cubicBezTo>
                  <a:pt x="4075" y="209"/>
                  <a:pt x="4076" y="211"/>
                  <a:pt x="4076" y="213"/>
                </a:cubicBezTo>
                <a:cubicBezTo>
                  <a:pt x="4075" y="232"/>
                  <a:pt x="4073" y="251"/>
                  <a:pt x="4072" y="268"/>
                </a:cubicBezTo>
                <a:cubicBezTo>
                  <a:pt x="4072" y="269"/>
                  <a:pt x="4072" y="271"/>
                  <a:pt x="4072" y="272"/>
                </a:cubicBezTo>
                <a:cubicBezTo>
                  <a:pt x="4067" y="239"/>
                  <a:pt x="4061" y="208"/>
                  <a:pt x="4054" y="181"/>
                </a:cubicBezTo>
                <a:cubicBezTo>
                  <a:pt x="4054" y="179"/>
                  <a:pt x="4052" y="182"/>
                  <a:pt x="4052" y="183"/>
                </a:cubicBezTo>
                <a:cubicBezTo>
                  <a:pt x="4058" y="226"/>
                  <a:pt x="4058" y="273"/>
                  <a:pt x="4057" y="319"/>
                </a:cubicBezTo>
                <a:cubicBezTo>
                  <a:pt x="4052" y="283"/>
                  <a:pt x="4046" y="248"/>
                  <a:pt x="4035" y="216"/>
                </a:cubicBezTo>
                <a:cubicBezTo>
                  <a:pt x="4029" y="197"/>
                  <a:pt x="4015" y="164"/>
                  <a:pt x="4002" y="156"/>
                </a:cubicBezTo>
                <a:cubicBezTo>
                  <a:pt x="4002" y="156"/>
                  <a:pt x="4001" y="157"/>
                  <a:pt x="4001" y="158"/>
                </a:cubicBezTo>
                <a:cubicBezTo>
                  <a:pt x="4015" y="179"/>
                  <a:pt x="4016" y="241"/>
                  <a:pt x="4018" y="270"/>
                </a:cubicBezTo>
                <a:cubicBezTo>
                  <a:pt x="4020" y="289"/>
                  <a:pt x="4021" y="308"/>
                  <a:pt x="4023" y="327"/>
                </a:cubicBezTo>
                <a:cubicBezTo>
                  <a:pt x="4022" y="328"/>
                  <a:pt x="4022" y="329"/>
                  <a:pt x="4022" y="331"/>
                </a:cubicBezTo>
                <a:cubicBezTo>
                  <a:pt x="4017" y="314"/>
                  <a:pt x="4012" y="299"/>
                  <a:pt x="4007" y="283"/>
                </a:cubicBezTo>
                <a:cubicBezTo>
                  <a:pt x="4008" y="258"/>
                  <a:pt x="4009" y="233"/>
                  <a:pt x="4011" y="208"/>
                </a:cubicBezTo>
                <a:cubicBezTo>
                  <a:pt x="4012" y="207"/>
                  <a:pt x="4010" y="207"/>
                  <a:pt x="4010" y="209"/>
                </a:cubicBezTo>
                <a:cubicBezTo>
                  <a:pt x="4007" y="227"/>
                  <a:pt x="4004" y="244"/>
                  <a:pt x="4000" y="262"/>
                </a:cubicBezTo>
                <a:cubicBezTo>
                  <a:pt x="4000" y="262"/>
                  <a:pt x="3999" y="263"/>
                  <a:pt x="3999" y="264"/>
                </a:cubicBezTo>
                <a:cubicBezTo>
                  <a:pt x="3999" y="265"/>
                  <a:pt x="4000" y="265"/>
                  <a:pt x="4000" y="266"/>
                </a:cubicBezTo>
                <a:cubicBezTo>
                  <a:pt x="3992" y="308"/>
                  <a:pt x="3984" y="350"/>
                  <a:pt x="3978" y="393"/>
                </a:cubicBezTo>
                <a:cubicBezTo>
                  <a:pt x="3978" y="343"/>
                  <a:pt x="3978" y="292"/>
                  <a:pt x="3978" y="241"/>
                </a:cubicBezTo>
                <a:cubicBezTo>
                  <a:pt x="3978" y="240"/>
                  <a:pt x="3977" y="241"/>
                  <a:pt x="3977" y="242"/>
                </a:cubicBezTo>
                <a:cubicBezTo>
                  <a:pt x="3974" y="279"/>
                  <a:pt x="3963" y="313"/>
                  <a:pt x="3958" y="350"/>
                </a:cubicBezTo>
                <a:cubicBezTo>
                  <a:pt x="3957" y="359"/>
                  <a:pt x="3956" y="369"/>
                  <a:pt x="3955" y="378"/>
                </a:cubicBezTo>
                <a:cubicBezTo>
                  <a:pt x="3955" y="295"/>
                  <a:pt x="3955" y="213"/>
                  <a:pt x="3960" y="130"/>
                </a:cubicBezTo>
                <a:cubicBezTo>
                  <a:pt x="3960" y="129"/>
                  <a:pt x="3959" y="129"/>
                  <a:pt x="3959" y="131"/>
                </a:cubicBezTo>
                <a:cubicBezTo>
                  <a:pt x="3947" y="206"/>
                  <a:pt x="3938" y="279"/>
                  <a:pt x="3933" y="355"/>
                </a:cubicBezTo>
                <a:cubicBezTo>
                  <a:pt x="3927" y="296"/>
                  <a:pt x="3918" y="239"/>
                  <a:pt x="3910" y="180"/>
                </a:cubicBezTo>
                <a:cubicBezTo>
                  <a:pt x="3910" y="178"/>
                  <a:pt x="3908" y="180"/>
                  <a:pt x="3908" y="181"/>
                </a:cubicBezTo>
                <a:cubicBezTo>
                  <a:pt x="3913" y="253"/>
                  <a:pt x="3912" y="327"/>
                  <a:pt x="3909" y="400"/>
                </a:cubicBezTo>
                <a:cubicBezTo>
                  <a:pt x="3908" y="400"/>
                  <a:pt x="3907" y="400"/>
                  <a:pt x="3905" y="400"/>
                </a:cubicBezTo>
                <a:cubicBezTo>
                  <a:pt x="3904" y="377"/>
                  <a:pt x="3903" y="354"/>
                  <a:pt x="3902" y="331"/>
                </a:cubicBezTo>
                <a:cubicBezTo>
                  <a:pt x="3902" y="328"/>
                  <a:pt x="3899" y="331"/>
                  <a:pt x="3899" y="333"/>
                </a:cubicBezTo>
                <a:cubicBezTo>
                  <a:pt x="3898" y="357"/>
                  <a:pt x="3896" y="380"/>
                  <a:pt x="3893" y="403"/>
                </a:cubicBezTo>
                <a:cubicBezTo>
                  <a:pt x="3891" y="404"/>
                  <a:pt x="3889" y="404"/>
                  <a:pt x="3886" y="405"/>
                </a:cubicBezTo>
                <a:cubicBezTo>
                  <a:pt x="3886" y="308"/>
                  <a:pt x="3880" y="207"/>
                  <a:pt x="3889" y="113"/>
                </a:cubicBezTo>
                <a:cubicBezTo>
                  <a:pt x="3889" y="111"/>
                  <a:pt x="3887" y="112"/>
                  <a:pt x="3887" y="113"/>
                </a:cubicBezTo>
                <a:cubicBezTo>
                  <a:pt x="3873" y="190"/>
                  <a:pt x="3865" y="266"/>
                  <a:pt x="3859" y="343"/>
                </a:cubicBezTo>
                <a:cubicBezTo>
                  <a:pt x="3855" y="298"/>
                  <a:pt x="3851" y="252"/>
                  <a:pt x="3850" y="206"/>
                </a:cubicBezTo>
                <a:cubicBezTo>
                  <a:pt x="3850" y="204"/>
                  <a:pt x="3847" y="206"/>
                  <a:pt x="3847" y="208"/>
                </a:cubicBezTo>
                <a:cubicBezTo>
                  <a:pt x="3847" y="230"/>
                  <a:pt x="3846" y="252"/>
                  <a:pt x="3845" y="274"/>
                </a:cubicBezTo>
                <a:cubicBezTo>
                  <a:pt x="3842" y="215"/>
                  <a:pt x="3834" y="157"/>
                  <a:pt x="3821" y="106"/>
                </a:cubicBezTo>
                <a:cubicBezTo>
                  <a:pt x="3821" y="105"/>
                  <a:pt x="3819" y="107"/>
                  <a:pt x="3819" y="108"/>
                </a:cubicBezTo>
                <a:cubicBezTo>
                  <a:pt x="3823" y="145"/>
                  <a:pt x="3820" y="187"/>
                  <a:pt x="3819" y="227"/>
                </a:cubicBezTo>
                <a:cubicBezTo>
                  <a:pt x="3812" y="240"/>
                  <a:pt x="3805" y="253"/>
                  <a:pt x="3799" y="267"/>
                </a:cubicBezTo>
                <a:cubicBezTo>
                  <a:pt x="3790" y="213"/>
                  <a:pt x="3778" y="161"/>
                  <a:pt x="3761" y="109"/>
                </a:cubicBezTo>
                <a:cubicBezTo>
                  <a:pt x="3761" y="108"/>
                  <a:pt x="3760" y="110"/>
                  <a:pt x="3760" y="111"/>
                </a:cubicBezTo>
                <a:cubicBezTo>
                  <a:pt x="3774" y="170"/>
                  <a:pt x="3783" y="230"/>
                  <a:pt x="3788" y="291"/>
                </a:cubicBezTo>
                <a:cubicBezTo>
                  <a:pt x="3785" y="298"/>
                  <a:pt x="3783" y="304"/>
                  <a:pt x="3780" y="310"/>
                </a:cubicBezTo>
                <a:cubicBezTo>
                  <a:pt x="3777" y="304"/>
                  <a:pt x="3773" y="297"/>
                  <a:pt x="3769" y="290"/>
                </a:cubicBezTo>
                <a:cubicBezTo>
                  <a:pt x="3770" y="254"/>
                  <a:pt x="3771" y="217"/>
                  <a:pt x="3773" y="180"/>
                </a:cubicBezTo>
                <a:cubicBezTo>
                  <a:pt x="3773" y="178"/>
                  <a:pt x="3772" y="180"/>
                  <a:pt x="3772" y="181"/>
                </a:cubicBezTo>
                <a:cubicBezTo>
                  <a:pt x="3767" y="212"/>
                  <a:pt x="3762" y="242"/>
                  <a:pt x="3756" y="272"/>
                </a:cubicBezTo>
                <a:cubicBezTo>
                  <a:pt x="3753" y="268"/>
                  <a:pt x="3750" y="265"/>
                  <a:pt x="3746" y="262"/>
                </a:cubicBezTo>
                <a:cubicBezTo>
                  <a:pt x="3743" y="222"/>
                  <a:pt x="3736" y="183"/>
                  <a:pt x="3725" y="145"/>
                </a:cubicBezTo>
                <a:cubicBezTo>
                  <a:pt x="3724" y="144"/>
                  <a:pt x="3723" y="146"/>
                  <a:pt x="3723" y="147"/>
                </a:cubicBezTo>
                <a:cubicBezTo>
                  <a:pt x="3729" y="184"/>
                  <a:pt x="3722" y="230"/>
                  <a:pt x="3720" y="268"/>
                </a:cubicBezTo>
                <a:cubicBezTo>
                  <a:pt x="3720" y="269"/>
                  <a:pt x="3720" y="271"/>
                  <a:pt x="3720" y="272"/>
                </a:cubicBezTo>
                <a:cubicBezTo>
                  <a:pt x="3715" y="239"/>
                  <a:pt x="3709" y="208"/>
                  <a:pt x="3702" y="181"/>
                </a:cubicBezTo>
                <a:cubicBezTo>
                  <a:pt x="3701" y="179"/>
                  <a:pt x="3700" y="182"/>
                  <a:pt x="3700" y="183"/>
                </a:cubicBezTo>
                <a:cubicBezTo>
                  <a:pt x="3706" y="226"/>
                  <a:pt x="3706" y="273"/>
                  <a:pt x="3704" y="319"/>
                </a:cubicBezTo>
                <a:cubicBezTo>
                  <a:pt x="3700" y="283"/>
                  <a:pt x="3694" y="248"/>
                  <a:pt x="3683" y="216"/>
                </a:cubicBezTo>
                <a:cubicBezTo>
                  <a:pt x="3677" y="197"/>
                  <a:pt x="3663" y="165"/>
                  <a:pt x="3650" y="157"/>
                </a:cubicBezTo>
                <a:cubicBezTo>
                  <a:pt x="3651" y="141"/>
                  <a:pt x="3652" y="125"/>
                  <a:pt x="3654" y="110"/>
                </a:cubicBezTo>
                <a:cubicBezTo>
                  <a:pt x="3654" y="108"/>
                  <a:pt x="3652" y="109"/>
                  <a:pt x="3652" y="110"/>
                </a:cubicBezTo>
                <a:cubicBezTo>
                  <a:pt x="3641" y="172"/>
                  <a:pt x="3629" y="232"/>
                  <a:pt x="3621" y="295"/>
                </a:cubicBezTo>
                <a:cubicBezTo>
                  <a:pt x="3621" y="244"/>
                  <a:pt x="3621" y="193"/>
                  <a:pt x="3621" y="143"/>
                </a:cubicBezTo>
                <a:cubicBezTo>
                  <a:pt x="3621" y="142"/>
                  <a:pt x="3620" y="143"/>
                  <a:pt x="3619" y="143"/>
                </a:cubicBezTo>
                <a:cubicBezTo>
                  <a:pt x="3616" y="181"/>
                  <a:pt x="3605" y="214"/>
                  <a:pt x="3601" y="251"/>
                </a:cubicBezTo>
                <a:cubicBezTo>
                  <a:pt x="3600" y="261"/>
                  <a:pt x="3599" y="270"/>
                  <a:pt x="3598" y="280"/>
                </a:cubicBezTo>
                <a:cubicBezTo>
                  <a:pt x="3597" y="197"/>
                  <a:pt x="3597" y="114"/>
                  <a:pt x="3602" y="32"/>
                </a:cubicBezTo>
                <a:cubicBezTo>
                  <a:pt x="3603" y="30"/>
                  <a:pt x="3601" y="31"/>
                  <a:pt x="3601" y="32"/>
                </a:cubicBezTo>
                <a:cubicBezTo>
                  <a:pt x="3590" y="108"/>
                  <a:pt x="3580" y="181"/>
                  <a:pt x="3575" y="257"/>
                </a:cubicBezTo>
                <a:cubicBezTo>
                  <a:pt x="3570" y="198"/>
                  <a:pt x="3561" y="140"/>
                  <a:pt x="3552" y="82"/>
                </a:cubicBezTo>
                <a:cubicBezTo>
                  <a:pt x="3552" y="80"/>
                  <a:pt x="3550" y="81"/>
                  <a:pt x="3551" y="83"/>
                </a:cubicBezTo>
                <a:cubicBezTo>
                  <a:pt x="3556" y="168"/>
                  <a:pt x="3553" y="255"/>
                  <a:pt x="3550" y="341"/>
                </a:cubicBezTo>
                <a:cubicBezTo>
                  <a:pt x="3548" y="305"/>
                  <a:pt x="3545" y="269"/>
                  <a:pt x="3544" y="233"/>
                </a:cubicBezTo>
                <a:cubicBezTo>
                  <a:pt x="3544" y="230"/>
                  <a:pt x="3542" y="232"/>
                  <a:pt x="3542" y="234"/>
                </a:cubicBezTo>
                <a:cubicBezTo>
                  <a:pt x="3540" y="272"/>
                  <a:pt x="3535" y="309"/>
                  <a:pt x="3531" y="346"/>
                </a:cubicBezTo>
                <a:cubicBezTo>
                  <a:pt x="3530" y="359"/>
                  <a:pt x="3529" y="371"/>
                  <a:pt x="3528" y="384"/>
                </a:cubicBezTo>
                <a:cubicBezTo>
                  <a:pt x="3528" y="367"/>
                  <a:pt x="3529" y="350"/>
                  <a:pt x="3529" y="334"/>
                </a:cubicBezTo>
                <a:cubicBezTo>
                  <a:pt x="3530" y="229"/>
                  <a:pt x="3521" y="118"/>
                  <a:pt x="3531" y="15"/>
                </a:cubicBezTo>
                <a:cubicBezTo>
                  <a:pt x="3532" y="12"/>
                  <a:pt x="3530" y="13"/>
                  <a:pt x="3529" y="15"/>
                </a:cubicBezTo>
                <a:cubicBezTo>
                  <a:pt x="3516" y="92"/>
                  <a:pt x="3507" y="167"/>
                  <a:pt x="3502" y="245"/>
                </a:cubicBezTo>
                <a:cubicBezTo>
                  <a:pt x="3498" y="199"/>
                  <a:pt x="3493" y="154"/>
                  <a:pt x="3492" y="108"/>
                </a:cubicBezTo>
                <a:cubicBezTo>
                  <a:pt x="3492" y="105"/>
                  <a:pt x="3490" y="107"/>
                  <a:pt x="3490" y="109"/>
                </a:cubicBezTo>
                <a:cubicBezTo>
                  <a:pt x="3489" y="131"/>
                  <a:pt x="3488" y="153"/>
                  <a:pt x="3488" y="175"/>
                </a:cubicBezTo>
                <a:cubicBezTo>
                  <a:pt x="3484" y="117"/>
                  <a:pt x="3477" y="59"/>
                  <a:pt x="3463" y="8"/>
                </a:cubicBezTo>
                <a:cubicBezTo>
                  <a:pt x="3463" y="7"/>
                  <a:pt x="3462" y="8"/>
                  <a:pt x="3462" y="9"/>
                </a:cubicBezTo>
                <a:cubicBezTo>
                  <a:pt x="3466" y="58"/>
                  <a:pt x="3461" y="115"/>
                  <a:pt x="3460" y="165"/>
                </a:cubicBezTo>
                <a:cubicBezTo>
                  <a:pt x="3459" y="210"/>
                  <a:pt x="3458" y="255"/>
                  <a:pt x="3456" y="301"/>
                </a:cubicBezTo>
                <a:cubicBezTo>
                  <a:pt x="3448" y="197"/>
                  <a:pt x="3434" y="104"/>
                  <a:pt x="3404" y="11"/>
                </a:cubicBezTo>
                <a:cubicBezTo>
                  <a:pt x="3403" y="10"/>
                  <a:pt x="3402" y="12"/>
                  <a:pt x="3402" y="13"/>
                </a:cubicBezTo>
                <a:cubicBezTo>
                  <a:pt x="3420" y="87"/>
                  <a:pt x="3429" y="163"/>
                  <a:pt x="3434" y="240"/>
                </a:cubicBezTo>
                <a:cubicBezTo>
                  <a:pt x="3433" y="236"/>
                  <a:pt x="3432" y="232"/>
                  <a:pt x="3430" y="229"/>
                </a:cubicBezTo>
                <a:cubicBezTo>
                  <a:pt x="3423" y="211"/>
                  <a:pt x="3408" y="183"/>
                  <a:pt x="3394" y="168"/>
                </a:cubicBezTo>
                <a:cubicBezTo>
                  <a:pt x="3387" y="155"/>
                  <a:pt x="3378" y="145"/>
                  <a:pt x="3368" y="136"/>
                </a:cubicBezTo>
                <a:cubicBezTo>
                  <a:pt x="3368" y="135"/>
                  <a:pt x="3366" y="138"/>
                  <a:pt x="3367" y="139"/>
                </a:cubicBezTo>
                <a:cubicBezTo>
                  <a:pt x="3379" y="175"/>
                  <a:pt x="3384" y="212"/>
                  <a:pt x="3388" y="250"/>
                </a:cubicBezTo>
                <a:cubicBezTo>
                  <a:pt x="3380" y="221"/>
                  <a:pt x="3367" y="189"/>
                  <a:pt x="3351" y="182"/>
                </a:cubicBezTo>
                <a:cubicBezTo>
                  <a:pt x="3350" y="182"/>
                  <a:pt x="3349" y="183"/>
                  <a:pt x="3350" y="184"/>
                </a:cubicBezTo>
                <a:cubicBezTo>
                  <a:pt x="3350" y="185"/>
                  <a:pt x="3350" y="185"/>
                  <a:pt x="3350" y="185"/>
                </a:cubicBezTo>
                <a:cubicBezTo>
                  <a:pt x="3350" y="186"/>
                  <a:pt x="3351" y="185"/>
                  <a:pt x="3351" y="185"/>
                </a:cubicBezTo>
                <a:cubicBezTo>
                  <a:pt x="3354" y="191"/>
                  <a:pt x="3356" y="198"/>
                  <a:pt x="3357" y="205"/>
                </a:cubicBezTo>
                <a:cubicBezTo>
                  <a:pt x="3360" y="220"/>
                  <a:pt x="3363" y="234"/>
                  <a:pt x="3364" y="249"/>
                </a:cubicBezTo>
                <a:cubicBezTo>
                  <a:pt x="3368" y="276"/>
                  <a:pt x="3370" y="304"/>
                  <a:pt x="3372" y="332"/>
                </a:cubicBezTo>
                <a:cubicBezTo>
                  <a:pt x="3373" y="341"/>
                  <a:pt x="3373" y="349"/>
                  <a:pt x="3373" y="358"/>
                </a:cubicBezTo>
                <a:cubicBezTo>
                  <a:pt x="3369" y="327"/>
                  <a:pt x="3363" y="298"/>
                  <a:pt x="3354" y="270"/>
                </a:cubicBezTo>
                <a:cubicBezTo>
                  <a:pt x="3347" y="251"/>
                  <a:pt x="3333" y="218"/>
                  <a:pt x="3321" y="210"/>
                </a:cubicBezTo>
                <a:cubicBezTo>
                  <a:pt x="3320" y="210"/>
                  <a:pt x="3320" y="211"/>
                  <a:pt x="3320" y="212"/>
                </a:cubicBezTo>
                <a:cubicBezTo>
                  <a:pt x="3334" y="233"/>
                  <a:pt x="3334" y="295"/>
                  <a:pt x="3337" y="324"/>
                </a:cubicBezTo>
                <a:cubicBezTo>
                  <a:pt x="3339" y="343"/>
                  <a:pt x="3340" y="362"/>
                  <a:pt x="3341" y="381"/>
                </a:cubicBezTo>
                <a:cubicBezTo>
                  <a:pt x="3341" y="382"/>
                  <a:pt x="3341" y="383"/>
                  <a:pt x="3340" y="385"/>
                </a:cubicBezTo>
                <a:cubicBezTo>
                  <a:pt x="3336" y="368"/>
                  <a:pt x="3330" y="353"/>
                  <a:pt x="3325" y="337"/>
                </a:cubicBezTo>
                <a:cubicBezTo>
                  <a:pt x="3327" y="312"/>
                  <a:pt x="3328" y="287"/>
                  <a:pt x="3330" y="262"/>
                </a:cubicBezTo>
                <a:cubicBezTo>
                  <a:pt x="3330" y="261"/>
                  <a:pt x="3329" y="261"/>
                  <a:pt x="3329" y="263"/>
                </a:cubicBezTo>
                <a:cubicBezTo>
                  <a:pt x="3325" y="281"/>
                  <a:pt x="3322" y="298"/>
                  <a:pt x="3319" y="316"/>
                </a:cubicBezTo>
                <a:cubicBezTo>
                  <a:pt x="3318" y="316"/>
                  <a:pt x="3318" y="317"/>
                  <a:pt x="3318" y="318"/>
                </a:cubicBezTo>
                <a:cubicBezTo>
                  <a:pt x="3318" y="319"/>
                  <a:pt x="3318" y="319"/>
                  <a:pt x="3318" y="320"/>
                </a:cubicBezTo>
                <a:cubicBezTo>
                  <a:pt x="3311" y="362"/>
                  <a:pt x="3303" y="404"/>
                  <a:pt x="3297" y="447"/>
                </a:cubicBezTo>
                <a:cubicBezTo>
                  <a:pt x="3297" y="396"/>
                  <a:pt x="3297" y="346"/>
                  <a:pt x="3297" y="295"/>
                </a:cubicBezTo>
                <a:cubicBezTo>
                  <a:pt x="3297" y="294"/>
                  <a:pt x="3296" y="295"/>
                  <a:pt x="3296" y="296"/>
                </a:cubicBezTo>
                <a:cubicBezTo>
                  <a:pt x="3292" y="333"/>
                  <a:pt x="3282" y="367"/>
                  <a:pt x="3277" y="404"/>
                </a:cubicBezTo>
                <a:cubicBezTo>
                  <a:pt x="3276" y="413"/>
                  <a:pt x="3275" y="423"/>
                  <a:pt x="3274" y="432"/>
                </a:cubicBezTo>
                <a:cubicBezTo>
                  <a:pt x="3274" y="349"/>
                  <a:pt x="3274" y="266"/>
                  <a:pt x="3279" y="184"/>
                </a:cubicBezTo>
                <a:cubicBezTo>
                  <a:pt x="3279" y="182"/>
                  <a:pt x="3277" y="183"/>
                  <a:pt x="3277" y="184"/>
                </a:cubicBezTo>
                <a:cubicBezTo>
                  <a:pt x="3266" y="260"/>
                  <a:pt x="3257" y="333"/>
                  <a:pt x="3251" y="409"/>
                </a:cubicBezTo>
                <a:cubicBezTo>
                  <a:pt x="3246" y="350"/>
                  <a:pt x="3237" y="293"/>
                  <a:pt x="3228" y="234"/>
                </a:cubicBezTo>
                <a:cubicBezTo>
                  <a:pt x="3228" y="232"/>
                  <a:pt x="3227" y="234"/>
                  <a:pt x="3227" y="235"/>
                </a:cubicBezTo>
                <a:cubicBezTo>
                  <a:pt x="3232" y="320"/>
                  <a:pt x="3230" y="407"/>
                  <a:pt x="3227" y="493"/>
                </a:cubicBezTo>
                <a:cubicBezTo>
                  <a:pt x="3225" y="475"/>
                  <a:pt x="3224" y="456"/>
                  <a:pt x="3223" y="438"/>
                </a:cubicBezTo>
                <a:cubicBezTo>
                  <a:pt x="3225" y="395"/>
                  <a:pt x="3222" y="352"/>
                  <a:pt x="3220" y="311"/>
                </a:cubicBezTo>
                <a:cubicBezTo>
                  <a:pt x="3220" y="310"/>
                  <a:pt x="3220" y="310"/>
                  <a:pt x="3219" y="310"/>
                </a:cubicBezTo>
                <a:cubicBezTo>
                  <a:pt x="3219" y="304"/>
                  <a:pt x="3219" y="297"/>
                  <a:pt x="3220" y="291"/>
                </a:cubicBezTo>
                <a:cubicBezTo>
                  <a:pt x="3220" y="289"/>
                  <a:pt x="3218" y="290"/>
                  <a:pt x="3218" y="291"/>
                </a:cubicBezTo>
                <a:cubicBezTo>
                  <a:pt x="3213" y="313"/>
                  <a:pt x="3208" y="333"/>
                  <a:pt x="3203" y="354"/>
                </a:cubicBezTo>
                <a:cubicBezTo>
                  <a:pt x="3202" y="291"/>
                  <a:pt x="3202" y="228"/>
                  <a:pt x="3208" y="167"/>
                </a:cubicBezTo>
                <a:cubicBezTo>
                  <a:pt x="3208" y="164"/>
                  <a:pt x="3206" y="166"/>
                  <a:pt x="3206" y="167"/>
                </a:cubicBezTo>
                <a:cubicBezTo>
                  <a:pt x="3192" y="244"/>
                  <a:pt x="3184" y="320"/>
                  <a:pt x="3178" y="397"/>
                </a:cubicBezTo>
                <a:cubicBezTo>
                  <a:pt x="3174" y="352"/>
                  <a:pt x="3170" y="306"/>
                  <a:pt x="3168" y="260"/>
                </a:cubicBezTo>
                <a:cubicBezTo>
                  <a:pt x="3168" y="258"/>
                  <a:pt x="3166" y="260"/>
                  <a:pt x="3166" y="262"/>
                </a:cubicBezTo>
                <a:cubicBezTo>
                  <a:pt x="3166" y="284"/>
                  <a:pt x="3165" y="306"/>
                  <a:pt x="3164" y="328"/>
                </a:cubicBezTo>
                <a:cubicBezTo>
                  <a:pt x="3161" y="269"/>
                  <a:pt x="3153" y="211"/>
                  <a:pt x="3140" y="160"/>
                </a:cubicBezTo>
                <a:cubicBezTo>
                  <a:pt x="3139" y="159"/>
                  <a:pt x="3138" y="161"/>
                  <a:pt x="3138" y="162"/>
                </a:cubicBezTo>
                <a:cubicBezTo>
                  <a:pt x="3142" y="199"/>
                  <a:pt x="3139" y="241"/>
                  <a:pt x="3137" y="281"/>
                </a:cubicBezTo>
                <a:cubicBezTo>
                  <a:pt x="3130" y="294"/>
                  <a:pt x="3123" y="307"/>
                  <a:pt x="3117" y="321"/>
                </a:cubicBezTo>
                <a:cubicBezTo>
                  <a:pt x="3109" y="267"/>
                  <a:pt x="3097" y="215"/>
                  <a:pt x="3080" y="163"/>
                </a:cubicBezTo>
                <a:cubicBezTo>
                  <a:pt x="3080" y="162"/>
                  <a:pt x="3078" y="164"/>
                  <a:pt x="3079" y="165"/>
                </a:cubicBezTo>
                <a:cubicBezTo>
                  <a:pt x="3093" y="224"/>
                  <a:pt x="3101" y="284"/>
                  <a:pt x="3107" y="345"/>
                </a:cubicBezTo>
                <a:cubicBezTo>
                  <a:pt x="3104" y="351"/>
                  <a:pt x="3102" y="358"/>
                  <a:pt x="3099" y="364"/>
                </a:cubicBezTo>
                <a:cubicBezTo>
                  <a:pt x="3096" y="358"/>
                  <a:pt x="3092" y="351"/>
                  <a:pt x="3088" y="344"/>
                </a:cubicBezTo>
                <a:cubicBezTo>
                  <a:pt x="3089" y="308"/>
                  <a:pt x="3090" y="271"/>
                  <a:pt x="3092" y="234"/>
                </a:cubicBezTo>
                <a:cubicBezTo>
                  <a:pt x="3092" y="232"/>
                  <a:pt x="3090" y="233"/>
                  <a:pt x="3090" y="235"/>
                </a:cubicBezTo>
                <a:cubicBezTo>
                  <a:pt x="3086" y="266"/>
                  <a:pt x="3080" y="296"/>
                  <a:pt x="3075" y="326"/>
                </a:cubicBezTo>
                <a:cubicBezTo>
                  <a:pt x="3072" y="322"/>
                  <a:pt x="3068" y="319"/>
                  <a:pt x="3065" y="316"/>
                </a:cubicBezTo>
                <a:cubicBezTo>
                  <a:pt x="3061" y="276"/>
                  <a:pt x="3055" y="237"/>
                  <a:pt x="3043" y="199"/>
                </a:cubicBezTo>
                <a:cubicBezTo>
                  <a:pt x="3043" y="198"/>
                  <a:pt x="3042" y="200"/>
                  <a:pt x="3042" y="201"/>
                </a:cubicBezTo>
                <a:cubicBezTo>
                  <a:pt x="3047" y="238"/>
                  <a:pt x="3041" y="284"/>
                  <a:pt x="3039" y="322"/>
                </a:cubicBezTo>
                <a:cubicBezTo>
                  <a:pt x="3039" y="323"/>
                  <a:pt x="3039" y="325"/>
                  <a:pt x="3039" y="326"/>
                </a:cubicBezTo>
                <a:cubicBezTo>
                  <a:pt x="3034" y="293"/>
                  <a:pt x="3028" y="262"/>
                  <a:pt x="3021" y="235"/>
                </a:cubicBezTo>
                <a:cubicBezTo>
                  <a:pt x="3020" y="233"/>
                  <a:pt x="3018" y="235"/>
                  <a:pt x="3019" y="237"/>
                </a:cubicBezTo>
                <a:cubicBezTo>
                  <a:pt x="3025" y="279"/>
                  <a:pt x="3024" y="327"/>
                  <a:pt x="3023" y="372"/>
                </a:cubicBezTo>
                <a:cubicBezTo>
                  <a:pt x="3019" y="337"/>
                  <a:pt x="3012" y="302"/>
                  <a:pt x="3002" y="270"/>
                </a:cubicBezTo>
                <a:cubicBezTo>
                  <a:pt x="2995" y="251"/>
                  <a:pt x="2981" y="219"/>
                  <a:pt x="2969" y="210"/>
                </a:cubicBezTo>
                <a:cubicBezTo>
                  <a:pt x="2970" y="195"/>
                  <a:pt x="2971" y="179"/>
                  <a:pt x="2972" y="164"/>
                </a:cubicBezTo>
                <a:cubicBezTo>
                  <a:pt x="2973" y="162"/>
                  <a:pt x="2971" y="163"/>
                  <a:pt x="2971" y="164"/>
                </a:cubicBezTo>
                <a:cubicBezTo>
                  <a:pt x="2960" y="226"/>
                  <a:pt x="2948" y="286"/>
                  <a:pt x="2939" y="349"/>
                </a:cubicBezTo>
                <a:cubicBezTo>
                  <a:pt x="2939" y="298"/>
                  <a:pt x="2939" y="247"/>
                  <a:pt x="2939" y="197"/>
                </a:cubicBezTo>
                <a:cubicBezTo>
                  <a:pt x="2939" y="196"/>
                  <a:pt x="2938" y="197"/>
                  <a:pt x="2938" y="197"/>
                </a:cubicBezTo>
                <a:cubicBezTo>
                  <a:pt x="2935" y="234"/>
                  <a:pt x="2924" y="268"/>
                  <a:pt x="2919" y="305"/>
                </a:cubicBezTo>
                <a:cubicBezTo>
                  <a:pt x="2918" y="315"/>
                  <a:pt x="2917" y="324"/>
                  <a:pt x="2916" y="334"/>
                </a:cubicBezTo>
                <a:cubicBezTo>
                  <a:pt x="2916" y="251"/>
                  <a:pt x="2916" y="168"/>
                  <a:pt x="2921" y="86"/>
                </a:cubicBezTo>
                <a:cubicBezTo>
                  <a:pt x="2921" y="84"/>
                  <a:pt x="2920" y="85"/>
                  <a:pt x="2920" y="86"/>
                </a:cubicBezTo>
                <a:cubicBezTo>
                  <a:pt x="2908" y="162"/>
                  <a:pt x="2899" y="235"/>
                  <a:pt x="2894" y="310"/>
                </a:cubicBezTo>
                <a:cubicBezTo>
                  <a:pt x="2888" y="252"/>
                  <a:pt x="2879" y="194"/>
                  <a:pt x="2871" y="135"/>
                </a:cubicBezTo>
                <a:cubicBezTo>
                  <a:pt x="2871" y="134"/>
                  <a:pt x="2869" y="135"/>
                  <a:pt x="2869" y="137"/>
                </a:cubicBezTo>
                <a:cubicBezTo>
                  <a:pt x="2874" y="222"/>
                  <a:pt x="2872" y="309"/>
                  <a:pt x="2869" y="395"/>
                </a:cubicBezTo>
                <a:cubicBezTo>
                  <a:pt x="2868" y="382"/>
                  <a:pt x="2867" y="370"/>
                  <a:pt x="2866" y="357"/>
                </a:cubicBezTo>
                <a:cubicBezTo>
                  <a:pt x="2867" y="353"/>
                  <a:pt x="2867" y="349"/>
                  <a:pt x="2867" y="345"/>
                </a:cubicBezTo>
                <a:cubicBezTo>
                  <a:pt x="2867" y="317"/>
                  <a:pt x="2870" y="269"/>
                  <a:pt x="2862" y="244"/>
                </a:cubicBezTo>
                <a:cubicBezTo>
                  <a:pt x="2862" y="243"/>
                  <a:pt x="2861" y="244"/>
                  <a:pt x="2861" y="244"/>
                </a:cubicBezTo>
                <a:cubicBezTo>
                  <a:pt x="2861" y="245"/>
                  <a:pt x="2861" y="245"/>
                  <a:pt x="2861" y="245"/>
                </a:cubicBezTo>
                <a:cubicBezTo>
                  <a:pt x="2860" y="246"/>
                  <a:pt x="2861" y="246"/>
                  <a:pt x="2861" y="246"/>
                </a:cubicBezTo>
                <a:cubicBezTo>
                  <a:pt x="2857" y="251"/>
                  <a:pt x="2853" y="303"/>
                  <a:pt x="2851" y="313"/>
                </a:cubicBezTo>
                <a:cubicBezTo>
                  <a:pt x="2850" y="321"/>
                  <a:pt x="2848" y="330"/>
                  <a:pt x="2847" y="338"/>
                </a:cubicBezTo>
                <a:cubicBezTo>
                  <a:pt x="2846" y="249"/>
                  <a:pt x="2841" y="156"/>
                  <a:pt x="2850" y="69"/>
                </a:cubicBezTo>
                <a:cubicBezTo>
                  <a:pt x="2850" y="66"/>
                  <a:pt x="2848" y="67"/>
                  <a:pt x="2848" y="69"/>
                </a:cubicBezTo>
                <a:cubicBezTo>
                  <a:pt x="2834" y="146"/>
                  <a:pt x="2826" y="221"/>
                  <a:pt x="2820" y="299"/>
                </a:cubicBezTo>
                <a:cubicBezTo>
                  <a:pt x="2816" y="253"/>
                  <a:pt x="2812" y="207"/>
                  <a:pt x="2811" y="162"/>
                </a:cubicBezTo>
                <a:cubicBezTo>
                  <a:pt x="2811" y="159"/>
                  <a:pt x="2808" y="161"/>
                  <a:pt x="2808" y="163"/>
                </a:cubicBezTo>
                <a:cubicBezTo>
                  <a:pt x="2808" y="185"/>
                  <a:pt x="2807" y="207"/>
                  <a:pt x="2806" y="229"/>
                </a:cubicBezTo>
                <a:cubicBezTo>
                  <a:pt x="2803" y="171"/>
                  <a:pt x="2795" y="113"/>
                  <a:pt x="2782" y="62"/>
                </a:cubicBezTo>
                <a:cubicBezTo>
                  <a:pt x="2781" y="60"/>
                  <a:pt x="2780" y="62"/>
                  <a:pt x="2780" y="63"/>
                </a:cubicBezTo>
                <a:cubicBezTo>
                  <a:pt x="2785" y="112"/>
                  <a:pt x="2779" y="169"/>
                  <a:pt x="2778" y="219"/>
                </a:cubicBezTo>
                <a:cubicBezTo>
                  <a:pt x="2778" y="230"/>
                  <a:pt x="2778" y="241"/>
                  <a:pt x="2778" y="253"/>
                </a:cubicBezTo>
                <a:cubicBezTo>
                  <a:pt x="2774" y="261"/>
                  <a:pt x="2770" y="268"/>
                  <a:pt x="2767" y="276"/>
                </a:cubicBezTo>
                <a:cubicBezTo>
                  <a:pt x="2758" y="203"/>
                  <a:pt x="2745" y="134"/>
                  <a:pt x="2722" y="65"/>
                </a:cubicBezTo>
                <a:cubicBezTo>
                  <a:pt x="2722" y="64"/>
                  <a:pt x="2721" y="65"/>
                  <a:pt x="2721" y="67"/>
                </a:cubicBezTo>
                <a:cubicBezTo>
                  <a:pt x="2731" y="107"/>
                  <a:pt x="2738" y="147"/>
                  <a:pt x="2743" y="188"/>
                </a:cubicBezTo>
                <a:cubicBezTo>
                  <a:pt x="2740" y="209"/>
                  <a:pt x="2736" y="230"/>
                  <a:pt x="2733" y="250"/>
                </a:cubicBezTo>
                <a:cubicBezTo>
                  <a:pt x="2727" y="240"/>
                  <a:pt x="2720" y="231"/>
                  <a:pt x="2714" y="224"/>
                </a:cubicBezTo>
                <a:cubicBezTo>
                  <a:pt x="2710" y="197"/>
                  <a:pt x="2705" y="171"/>
                  <a:pt x="2697" y="146"/>
                </a:cubicBezTo>
                <a:cubicBezTo>
                  <a:pt x="2696" y="145"/>
                  <a:pt x="2695" y="146"/>
                  <a:pt x="2695" y="147"/>
                </a:cubicBezTo>
                <a:cubicBezTo>
                  <a:pt x="2698" y="167"/>
                  <a:pt x="2698" y="188"/>
                  <a:pt x="2697" y="210"/>
                </a:cubicBezTo>
                <a:cubicBezTo>
                  <a:pt x="2696" y="209"/>
                  <a:pt x="2696" y="209"/>
                  <a:pt x="2696" y="208"/>
                </a:cubicBezTo>
                <a:cubicBezTo>
                  <a:pt x="2695" y="207"/>
                  <a:pt x="2694" y="210"/>
                  <a:pt x="2694" y="211"/>
                </a:cubicBezTo>
                <a:cubicBezTo>
                  <a:pt x="2695" y="212"/>
                  <a:pt x="2696" y="214"/>
                  <a:pt x="2696" y="215"/>
                </a:cubicBezTo>
                <a:cubicBezTo>
                  <a:pt x="2695" y="233"/>
                  <a:pt x="2693" y="252"/>
                  <a:pt x="2692" y="269"/>
                </a:cubicBezTo>
                <a:cubicBezTo>
                  <a:pt x="2692" y="270"/>
                  <a:pt x="2692" y="271"/>
                  <a:pt x="2692" y="273"/>
                </a:cubicBezTo>
                <a:cubicBezTo>
                  <a:pt x="2687" y="240"/>
                  <a:pt x="2681" y="209"/>
                  <a:pt x="2674" y="182"/>
                </a:cubicBezTo>
                <a:cubicBezTo>
                  <a:pt x="2674" y="180"/>
                  <a:pt x="2672" y="182"/>
                  <a:pt x="2672" y="184"/>
                </a:cubicBezTo>
                <a:cubicBezTo>
                  <a:pt x="2678" y="226"/>
                  <a:pt x="2678" y="273"/>
                  <a:pt x="2677" y="319"/>
                </a:cubicBezTo>
                <a:cubicBezTo>
                  <a:pt x="2672" y="283"/>
                  <a:pt x="2666" y="249"/>
                  <a:pt x="2655" y="217"/>
                </a:cubicBezTo>
                <a:cubicBezTo>
                  <a:pt x="2649" y="197"/>
                  <a:pt x="2635" y="165"/>
                  <a:pt x="2622" y="157"/>
                </a:cubicBezTo>
                <a:cubicBezTo>
                  <a:pt x="2622" y="156"/>
                  <a:pt x="2621" y="158"/>
                  <a:pt x="2621" y="159"/>
                </a:cubicBezTo>
                <a:cubicBezTo>
                  <a:pt x="2635" y="180"/>
                  <a:pt x="2636" y="242"/>
                  <a:pt x="2638" y="271"/>
                </a:cubicBezTo>
                <a:cubicBezTo>
                  <a:pt x="2640" y="290"/>
                  <a:pt x="2641" y="309"/>
                  <a:pt x="2643" y="328"/>
                </a:cubicBezTo>
                <a:cubicBezTo>
                  <a:pt x="2642" y="329"/>
                  <a:pt x="2642" y="330"/>
                  <a:pt x="2642" y="331"/>
                </a:cubicBezTo>
                <a:cubicBezTo>
                  <a:pt x="2637" y="315"/>
                  <a:pt x="2632" y="299"/>
                  <a:pt x="2627" y="283"/>
                </a:cubicBezTo>
                <a:cubicBezTo>
                  <a:pt x="2628" y="258"/>
                  <a:pt x="2629" y="234"/>
                  <a:pt x="2632" y="209"/>
                </a:cubicBezTo>
                <a:cubicBezTo>
                  <a:pt x="2632" y="207"/>
                  <a:pt x="2630" y="208"/>
                  <a:pt x="2630" y="209"/>
                </a:cubicBezTo>
                <a:cubicBezTo>
                  <a:pt x="2627" y="227"/>
                  <a:pt x="2624" y="245"/>
                  <a:pt x="2620" y="263"/>
                </a:cubicBezTo>
                <a:cubicBezTo>
                  <a:pt x="2620" y="263"/>
                  <a:pt x="2619" y="264"/>
                  <a:pt x="2619" y="265"/>
                </a:cubicBezTo>
                <a:cubicBezTo>
                  <a:pt x="2620" y="265"/>
                  <a:pt x="2620" y="266"/>
                  <a:pt x="2620" y="266"/>
                </a:cubicBezTo>
                <a:cubicBezTo>
                  <a:pt x="2612" y="309"/>
                  <a:pt x="2604" y="351"/>
                  <a:pt x="2598" y="394"/>
                </a:cubicBezTo>
                <a:cubicBezTo>
                  <a:pt x="2599" y="343"/>
                  <a:pt x="2598" y="292"/>
                  <a:pt x="2598" y="242"/>
                </a:cubicBezTo>
                <a:cubicBezTo>
                  <a:pt x="2598" y="241"/>
                  <a:pt x="2597" y="242"/>
                  <a:pt x="2597" y="242"/>
                </a:cubicBezTo>
                <a:cubicBezTo>
                  <a:pt x="2594" y="280"/>
                  <a:pt x="2583" y="313"/>
                  <a:pt x="2579" y="350"/>
                </a:cubicBezTo>
                <a:cubicBezTo>
                  <a:pt x="2577" y="360"/>
                  <a:pt x="2576" y="369"/>
                  <a:pt x="2575" y="379"/>
                </a:cubicBezTo>
                <a:cubicBezTo>
                  <a:pt x="2575" y="296"/>
                  <a:pt x="2575" y="213"/>
                  <a:pt x="2580" y="131"/>
                </a:cubicBezTo>
                <a:cubicBezTo>
                  <a:pt x="2580" y="129"/>
                  <a:pt x="2579" y="130"/>
                  <a:pt x="2579" y="131"/>
                </a:cubicBezTo>
                <a:cubicBezTo>
                  <a:pt x="2568" y="207"/>
                  <a:pt x="2558" y="280"/>
                  <a:pt x="2553" y="356"/>
                </a:cubicBezTo>
                <a:cubicBezTo>
                  <a:pt x="2547" y="297"/>
                  <a:pt x="2538" y="239"/>
                  <a:pt x="2530" y="181"/>
                </a:cubicBezTo>
                <a:cubicBezTo>
                  <a:pt x="2530" y="179"/>
                  <a:pt x="2528" y="180"/>
                  <a:pt x="2528" y="182"/>
                </a:cubicBezTo>
                <a:cubicBezTo>
                  <a:pt x="2533" y="254"/>
                  <a:pt x="2532" y="327"/>
                  <a:pt x="2529" y="400"/>
                </a:cubicBezTo>
                <a:cubicBezTo>
                  <a:pt x="2528" y="400"/>
                  <a:pt x="2527" y="401"/>
                  <a:pt x="2525" y="401"/>
                </a:cubicBezTo>
                <a:cubicBezTo>
                  <a:pt x="2524" y="378"/>
                  <a:pt x="2523" y="355"/>
                  <a:pt x="2522" y="332"/>
                </a:cubicBezTo>
                <a:cubicBezTo>
                  <a:pt x="2522" y="329"/>
                  <a:pt x="2520" y="331"/>
                  <a:pt x="2519" y="333"/>
                </a:cubicBezTo>
                <a:cubicBezTo>
                  <a:pt x="2518" y="357"/>
                  <a:pt x="2516" y="380"/>
                  <a:pt x="2513" y="404"/>
                </a:cubicBezTo>
                <a:cubicBezTo>
                  <a:pt x="2511" y="404"/>
                  <a:pt x="2509" y="405"/>
                  <a:pt x="2507" y="405"/>
                </a:cubicBezTo>
                <a:cubicBezTo>
                  <a:pt x="2506" y="309"/>
                  <a:pt x="2500" y="208"/>
                  <a:pt x="2509" y="114"/>
                </a:cubicBezTo>
                <a:cubicBezTo>
                  <a:pt x="2509" y="111"/>
                  <a:pt x="2507" y="112"/>
                  <a:pt x="2507" y="114"/>
                </a:cubicBezTo>
                <a:cubicBezTo>
                  <a:pt x="2494" y="191"/>
                  <a:pt x="2485" y="266"/>
                  <a:pt x="2480" y="344"/>
                </a:cubicBezTo>
                <a:cubicBezTo>
                  <a:pt x="2475" y="298"/>
                  <a:pt x="2471" y="253"/>
                  <a:pt x="2470" y="207"/>
                </a:cubicBezTo>
                <a:cubicBezTo>
                  <a:pt x="2470" y="204"/>
                  <a:pt x="2468" y="206"/>
                  <a:pt x="2467" y="208"/>
                </a:cubicBezTo>
                <a:cubicBezTo>
                  <a:pt x="2467" y="230"/>
                  <a:pt x="2466" y="252"/>
                  <a:pt x="2465" y="274"/>
                </a:cubicBezTo>
                <a:cubicBezTo>
                  <a:pt x="2462" y="216"/>
                  <a:pt x="2455" y="158"/>
                  <a:pt x="2441" y="107"/>
                </a:cubicBezTo>
                <a:cubicBezTo>
                  <a:pt x="2441" y="106"/>
                  <a:pt x="2439" y="107"/>
                  <a:pt x="2440" y="108"/>
                </a:cubicBezTo>
                <a:cubicBezTo>
                  <a:pt x="2443" y="145"/>
                  <a:pt x="2440" y="187"/>
                  <a:pt x="2439" y="227"/>
                </a:cubicBezTo>
                <a:cubicBezTo>
                  <a:pt x="2432" y="241"/>
                  <a:pt x="2425" y="254"/>
                  <a:pt x="2419" y="267"/>
                </a:cubicBezTo>
                <a:cubicBezTo>
                  <a:pt x="2410" y="214"/>
                  <a:pt x="2398" y="162"/>
                  <a:pt x="2381" y="110"/>
                </a:cubicBezTo>
                <a:cubicBezTo>
                  <a:pt x="2381" y="109"/>
                  <a:pt x="2380" y="111"/>
                  <a:pt x="2380" y="112"/>
                </a:cubicBezTo>
                <a:cubicBezTo>
                  <a:pt x="2394" y="171"/>
                  <a:pt x="2403" y="231"/>
                  <a:pt x="2408" y="292"/>
                </a:cubicBezTo>
                <a:cubicBezTo>
                  <a:pt x="2405" y="298"/>
                  <a:pt x="2403" y="305"/>
                  <a:pt x="2401" y="311"/>
                </a:cubicBezTo>
                <a:cubicBezTo>
                  <a:pt x="2397" y="304"/>
                  <a:pt x="2393" y="298"/>
                  <a:pt x="2389" y="291"/>
                </a:cubicBezTo>
                <a:cubicBezTo>
                  <a:pt x="2390" y="254"/>
                  <a:pt x="2391" y="218"/>
                  <a:pt x="2393" y="181"/>
                </a:cubicBezTo>
                <a:cubicBezTo>
                  <a:pt x="2393" y="179"/>
                  <a:pt x="2392" y="180"/>
                  <a:pt x="2392" y="182"/>
                </a:cubicBezTo>
                <a:cubicBezTo>
                  <a:pt x="2387" y="213"/>
                  <a:pt x="2382" y="243"/>
                  <a:pt x="2376" y="273"/>
                </a:cubicBezTo>
                <a:cubicBezTo>
                  <a:pt x="2373" y="269"/>
                  <a:pt x="2370" y="265"/>
                  <a:pt x="2367" y="262"/>
                </a:cubicBezTo>
                <a:cubicBezTo>
                  <a:pt x="2363" y="222"/>
                  <a:pt x="2356" y="183"/>
                  <a:pt x="2345" y="146"/>
                </a:cubicBezTo>
                <a:cubicBezTo>
                  <a:pt x="2344" y="145"/>
                  <a:pt x="2343" y="146"/>
                  <a:pt x="2343" y="147"/>
                </a:cubicBezTo>
                <a:cubicBezTo>
                  <a:pt x="2349" y="185"/>
                  <a:pt x="2342" y="230"/>
                  <a:pt x="2340" y="269"/>
                </a:cubicBezTo>
                <a:cubicBezTo>
                  <a:pt x="2340" y="270"/>
                  <a:pt x="2340" y="271"/>
                  <a:pt x="2340" y="273"/>
                </a:cubicBezTo>
                <a:cubicBezTo>
                  <a:pt x="2335" y="240"/>
                  <a:pt x="2329" y="209"/>
                  <a:pt x="2322" y="182"/>
                </a:cubicBezTo>
                <a:cubicBezTo>
                  <a:pt x="2321" y="180"/>
                  <a:pt x="2320" y="182"/>
                  <a:pt x="2320" y="184"/>
                </a:cubicBezTo>
                <a:cubicBezTo>
                  <a:pt x="2326" y="226"/>
                  <a:pt x="2326" y="273"/>
                  <a:pt x="2324" y="319"/>
                </a:cubicBezTo>
                <a:cubicBezTo>
                  <a:pt x="2320" y="283"/>
                  <a:pt x="2314" y="249"/>
                  <a:pt x="2303" y="217"/>
                </a:cubicBezTo>
                <a:cubicBezTo>
                  <a:pt x="2297" y="198"/>
                  <a:pt x="2283" y="165"/>
                  <a:pt x="2271" y="157"/>
                </a:cubicBezTo>
                <a:cubicBezTo>
                  <a:pt x="2271" y="142"/>
                  <a:pt x="2273" y="126"/>
                  <a:pt x="2274" y="111"/>
                </a:cubicBezTo>
                <a:cubicBezTo>
                  <a:pt x="2274" y="109"/>
                  <a:pt x="2273" y="110"/>
                  <a:pt x="2272" y="111"/>
                </a:cubicBezTo>
                <a:cubicBezTo>
                  <a:pt x="2261" y="173"/>
                  <a:pt x="2249" y="233"/>
                  <a:pt x="2241" y="295"/>
                </a:cubicBezTo>
                <a:cubicBezTo>
                  <a:pt x="2241" y="245"/>
                  <a:pt x="2241" y="194"/>
                  <a:pt x="2241" y="143"/>
                </a:cubicBezTo>
                <a:cubicBezTo>
                  <a:pt x="2241" y="142"/>
                  <a:pt x="2240" y="143"/>
                  <a:pt x="2240" y="144"/>
                </a:cubicBezTo>
                <a:cubicBezTo>
                  <a:pt x="2236" y="181"/>
                  <a:pt x="2225" y="215"/>
                  <a:pt x="2221" y="252"/>
                </a:cubicBezTo>
                <a:cubicBezTo>
                  <a:pt x="2220" y="261"/>
                  <a:pt x="2219" y="271"/>
                  <a:pt x="2218" y="280"/>
                </a:cubicBezTo>
                <a:cubicBezTo>
                  <a:pt x="2217" y="198"/>
                  <a:pt x="2218" y="115"/>
                  <a:pt x="2223" y="32"/>
                </a:cubicBezTo>
                <a:cubicBezTo>
                  <a:pt x="2223" y="31"/>
                  <a:pt x="2221" y="31"/>
                  <a:pt x="2221" y="33"/>
                </a:cubicBezTo>
                <a:cubicBezTo>
                  <a:pt x="2210" y="108"/>
                  <a:pt x="2201" y="181"/>
                  <a:pt x="2195" y="257"/>
                </a:cubicBezTo>
                <a:cubicBezTo>
                  <a:pt x="2190" y="198"/>
                  <a:pt x="2181" y="141"/>
                  <a:pt x="2172" y="82"/>
                </a:cubicBezTo>
                <a:cubicBezTo>
                  <a:pt x="2172" y="80"/>
                  <a:pt x="2170" y="82"/>
                  <a:pt x="2171" y="83"/>
                </a:cubicBezTo>
                <a:cubicBezTo>
                  <a:pt x="2176" y="168"/>
                  <a:pt x="2173" y="256"/>
                  <a:pt x="2170" y="341"/>
                </a:cubicBezTo>
                <a:cubicBezTo>
                  <a:pt x="2168" y="305"/>
                  <a:pt x="2166" y="269"/>
                  <a:pt x="2165" y="233"/>
                </a:cubicBezTo>
                <a:cubicBezTo>
                  <a:pt x="2164" y="230"/>
                  <a:pt x="2162" y="233"/>
                  <a:pt x="2162" y="235"/>
                </a:cubicBezTo>
                <a:cubicBezTo>
                  <a:pt x="2160" y="273"/>
                  <a:pt x="2155" y="309"/>
                  <a:pt x="2151" y="347"/>
                </a:cubicBezTo>
                <a:cubicBezTo>
                  <a:pt x="2150" y="359"/>
                  <a:pt x="2149" y="372"/>
                  <a:pt x="2149" y="384"/>
                </a:cubicBezTo>
                <a:cubicBezTo>
                  <a:pt x="2149" y="368"/>
                  <a:pt x="2149" y="351"/>
                  <a:pt x="2149" y="334"/>
                </a:cubicBezTo>
                <a:cubicBezTo>
                  <a:pt x="2150" y="230"/>
                  <a:pt x="2141" y="118"/>
                  <a:pt x="2151" y="15"/>
                </a:cubicBezTo>
                <a:cubicBezTo>
                  <a:pt x="2152" y="13"/>
                  <a:pt x="2150" y="14"/>
                  <a:pt x="2149" y="15"/>
                </a:cubicBezTo>
                <a:cubicBezTo>
                  <a:pt x="2136" y="92"/>
                  <a:pt x="2127" y="168"/>
                  <a:pt x="2122" y="246"/>
                </a:cubicBezTo>
                <a:cubicBezTo>
                  <a:pt x="2118" y="200"/>
                  <a:pt x="2114" y="154"/>
                  <a:pt x="2112" y="108"/>
                </a:cubicBezTo>
                <a:cubicBezTo>
                  <a:pt x="2112" y="106"/>
                  <a:pt x="2110" y="108"/>
                  <a:pt x="2110" y="110"/>
                </a:cubicBezTo>
                <a:cubicBezTo>
                  <a:pt x="2109" y="132"/>
                  <a:pt x="2108" y="154"/>
                  <a:pt x="2108" y="176"/>
                </a:cubicBezTo>
                <a:cubicBezTo>
                  <a:pt x="2104" y="118"/>
                  <a:pt x="2097" y="59"/>
                  <a:pt x="2083" y="8"/>
                </a:cubicBezTo>
                <a:cubicBezTo>
                  <a:pt x="2083" y="7"/>
                  <a:pt x="2082" y="9"/>
                  <a:pt x="2082" y="10"/>
                </a:cubicBezTo>
                <a:cubicBezTo>
                  <a:pt x="2086" y="59"/>
                  <a:pt x="2081" y="116"/>
                  <a:pt x="2080" y="165"/>
                </a:cubicBezTo>
                <a:cubicBezTo>
                  <a:pt x="2079" y="211"/>
                  <a:pt x="2078" y="256"/>
                  <a:pt x="2076" y="301"/>
                </a:cubicBezTo>
                <a:cubicBezTo>
                  <a:pt x="2068" y="197"/>
                  <a:pt x="2054" y="104"/>
                  <a:pt x="2024" y="12"/>
                </a:cubicBezTo>
                <a:cubicBezTo>
                  <a:pt x="2023" y="10"/>
                  <a:pt x="2022" y="12"/>
                  <a:pt x="2022" y="13"/>
                </a:cubicBezTo>
                <a:cubicBezTo>
                  <a:pt x="2040" y="87"/>
                  <a:pt x="2049" y="163"/>
                  <a:pt x="2054" y="240"/>
                </a:cubicBezTo>
                <a:cubicBezTo>
                  <a:pt x="2053" y="236"/>
                  <a:pt x="2052" y="233"/>
                  <a:pt x="2050" y="229"/>
                </a:cubicBezTo>
                <a:cubicBezTo>
                  <a:pt x="2043" y="211"/>
                  <a:pt x="2028" y="184"/>
                  <a:pt x="2014" y="169"/>
                </a:cubicBezTo>
                <a:cubicBezTo>
                  <a:pt x="2007" y="156"/>
                  <a:pt x="1998" y="145"/>
                  <a:pt x="1988" y="137"/>
                </a:cubicBezTo>
                <a:cubicBezTo>
                  <a:pt x="1988" y="136"/>
                  <a:pt x="1986" y="138"/>
                  <a:pt x="1987" y="139"/>
                </a:cubicBezTo>
                <a:cubicBezTo>
                  <a:pt x="1999" y="175"/>
                  <a:pt x="2004" y="213"/>
                  <a:pt x="2008" y="251"/>
                </a:cubicBezTo>
                <a:cubicBezTo>
                  <a:pt x="2000" y="222"/>
                  <a:pt x="1987" y="190"/>
                  <a:pt x="1971" y="183"/>
                </a:cubicBezTo>
                <a:cubicBezTo>
                  <a:pt x="1970" y="182"/>
                  <a:pt x="1970" y="184"/>
                  <a:pt x="1970" y="185"/>
                </a:cubicBezTo>
                <a:cubicBezTo>
                  <a:pt x="1970" y="185"/>
                  <a:pt x="1970" y="185"/>
                  <a:pt x="1970" y="186"/>
                </a:cubicBezTo>
                <a:cubicBezTo>
                  <a:pt x="1970" y="186"/>
                  <a:pt x="1971" y="186"/>
                  <a:pt x="1971" y="185"/>
                </a:cubicBezTo>
                <a:cubicBezTo>
                  <a:pt x="1974" y="192"/>
                  <a:pt x="1976" y="199"/>
                  <a:pt x="1977" y="206"/>
                </a:cubicBezTo>
                <a:cubicBezTo>
                  <a:pt x="1980" y="220"/>
                  <a:pt x="1983" y="235"/>
                  <a:pt x="1984" y="249"/>
                </a:cubicBezTo>
                <a:cubicBezTo>
                  <a:pt x="1988" y="277"/>
                  <a:pt x="1990" y="305"/>
                  <a:pt x="1992" y="332"/>
                </a:cubicBezTo>
                <a:cubicBezTo>
                  <a:pt x="1993" y="341"/>
                  <a:pt x="1993" y="350"/>
                  <a:pt x="1993" y="359"/>
                </a:cubicBezTo>
                <a:cubicBezTo>
                  <a:pt x="1989" y="328"/>
                  <a:pt x="1983" y="298"/>
                  <a:pt x="1974" y="271"/>
                </a:cubicBezTo>
                <a:cubicBezTo>
                  <a:pt x="1967" y="251"/>
                  <a:pt x="1953" y="219"/>
                  <a:pt x="1941" y="211"/>
                </a:cubicBezTo>
                <a:cubicBezTo>
                  <a:pt x="1940" y="210"/>
                  <a:pt x="1940" y="212"/>
                  <a:pt x="1940" y="213"/>
                </a:cubicBezTo>
                <a:cubicBezTo>
                  <a:pt x="1954" y="234"/>
                  <a:pt x="1954" y="296"/>
                  <a:pt x="1957" y="325"/>
                </a:cubicBezTo>
                <a:cubicBezTo>
                  <a:pt x="1959" y="344"/>
                  <a:pt x="1960" y="363"/>
                  <a:pt x="1961" y="381"/>
                </a:cubicBezTo>
                <a:cubicBezTo>
                  <a:pt x="1961" y="383"/>
                  <a:pt x="1961" y="384"/>
                  <a:pt x="1960" y="385"/>
                </a:cubicBezTo>
                <a:cubicBezTo>
                  <a:pt x="1956" y="369"/>
                  <a:pt x="1950" y="353"/>
                  <a:pt x="1945" y="337"/>
                </a:cubicBezTo>
                <a:cubicBezTo>
                  <a:pt x="1947" y="312"/>
                  <a:pt x="1948" y="287"/>
                  <a:pt x="1950" y="263"/>
                </a:cubicBezTo>
                <a:cubicBezTo>
                  <a:pt x="1950" y="261"/>
                  <a:pt x="1949" y="262"/>
                  <a:pt x="1949" y="263"/>
                </a:cubicBezTo>
                <a:cubicBezTo>
                  <a:pt x="1946" y="281"/>
                  <a:pt x="1942" y="299"/>
                  <a:pt x="1939" y="317"/>
                </a:cubicBezTo>
                <a:cubicBezTo>
                  <a:pt x="1939" y="317"/>
                  <a:pt x="1938" y="318"/>
                  <a:pt x="1938" y="319"/>
                </a:cubicBezTo>
                <a:cubicBezTo>
                  <a:pt x="1938" y="319"/>
                  <a:pt x="1938" y="320"/>
                  <a:pt x="1938" y="320"/>
                </a:cubicBezTo>
                <a:cubicBezTo>
                  <a:pt x="1931" y="363"/>
                  <a:pt x="1923" y="405"/>
                  <a:pt x="1917" y="448"/>
                </a:cubicBezTo>
                <a:cubicBezTo>
                  <a:pt x="1917" y="397"/>
                  <a:pt x="1917" y="346"/>
                  <a:pt x="1917" y="296"/>
                </a:cubicBezTo>
                <a:cubicBezTo>
                  <a:pt x="1917" y="295"/>
                  <a:pt x="1916" y="296"/>
                  <a:pt x="1916" y="296"/>
                </a:cubicBezTo>
                <a:cubicBezTo>
                  <a:pt x="1912" y="333"/>
                  <a:pt x="1902" y="367"/>
                  <a:pt x="1897" y="404"/>
                </a:cubicBezTo>
                <a:cubicBezTo>
                  <a:pt x="1896" y="414"/>
                  <a:pt x="1895" y="423"/>
                  <a:pt x="1894" y="433"/>
                </a:cubicBezTo>
                <a:cubicBezTo>
                  <a:pt x="1894" y="350"/>
                  <a:pt x="1894" y="267"/>
                  <a:pt x="1899" y="185"/>
                </a:cubicBezTo>
                <a:cubicBezTo>
                  <a:pt x="1899" y="183"/>
                  <a:pt x="1898" y="184"/>
                  <a:pt x="1897" y="185"/>
                </a:cubicBezTo>
                <a:cubicBezTo>
                  <a:pt x="1886" y="261"/>
                  <a:pt x="1877" y="334"/>
                  <a:pt x="1871" y="410"/>
                </a:cubicBezTo>
                <a:cubicBezTo>
                  <a:pt x="1866" y="351"/>
                  <a:pt x="1857" y="293"/>
                  <a:pt x="1849" y="234"/>
                </a:cubicBezTo>
                <a:cubicBezTo>
                  <a:pt x="1848" y="233"/>
                  <a:pt x="1847" y="234"/>
                  <a:pt x="1847" y="236"/>
                </a:cubicBezTo>
                <a:cubicBezTo>
                  <a:pt x="1852" y="321"/>
                  <a:pt x="1850" y="408"/>
                  <a:pt x="1847" y="494"/>
                </a:cubicBezTo>
                <a:cubicBezTo>
                  <a:pt x="1845" y="475"/>
                  <a:pt x="1844" y="457"/>
                  <a:pt x="1843" y="438"/>
                </a:cubicBezTo>
                <a:cubicBezTo>
                  <a:pt x="1845" y="396"/>
                  <a:pt x="1842" y="352"/>
                  <a:pt x="1840" y="311"/>
                </a:cubicBezTo>
                <a:cubicBezTo>
                  <a:pt x="1840" y="311"/>
                  <a:pt x="1840" y="311"/>
                  <a:pt x="1839" y="311"/>
                </a:cubicBezTo>
                <a:cubicBezTo>
                  <a:pt x="1839" y="304"/>
                  <a:pt x="1840" y="298"/>
                  <a:pt x="1840" y="291"/>
                </a:cubicBezTo>
                <a:cubicBezTo>
                  <a:pt x="1840" y="289"/>
                  <a:pt x="1838" y="290"/>
                  <a:pt x="1838" y="292"/>
                </a:cubicBezTo>
                <a:cubicBezTo>
                  <a:pt x="1833" y="313"/>
                  <a:pt x="1828" y="334"/>
                  <a:pt x="1824" y="355"/>
                </a:cubicBezTo>
                <a:cubicBezTo>
                  <a:pt x="1822" y="291"/>
                  <a:pt x="1822" y="228"/>
                  <a:pt x="1828" y="168"/>
                </a:cubicBezTo>
                <a:cubicBezTo>
                  <a:pt x="1828" y="165"/>
                  <a:pt x="1826" y="166"/>
                  <a:pt x="1826" y="168"/>
                </a:cubicBezTo>
                <a:cubicBezTo>
                  <a:pt x="1812" y="245"/>
                  <a:pt x="1804" y="320"/>
                  <a:pt x="1798" y="398"/>
                </a:cubicBezTo>
                <a:cubicBezTo>
                  <a:pt x="1794" y="352"/>
                  <a:pt x="1790" y="306"/>
                  <a:pt x="1788" y="261"/>
                </a:cubicBezTo>
                <a:cubicBezTo>
                  <a:pt x="1788" y="258"/>
                  <a:pt x="1786" y="260"/>
                  <a:pt x="1786" y="262"/>
                </a:cubicBezTo>
                <a:cubicBezTo>
                  <a:pt x="1786" y="284"/>
                  <a:pt x="1785" y="306"/>
                  <a:pt x="1784" y="328"/>
                </a:cubicBezTo>
                <a:cubicBezTo>
                  <a:pt x="1781" y="270"/>
                  <a:pt x="1773" y="212"/>
                  <a:pt x="1760" y="161"/>
                </a:cubicBezTo>
                <a:cubicBezTo>
                  <a:pt x="1759" y="159"/>
                  <a:pt x="1758" y="161"/>
                  <a:pt x="1758" y="162"/>
                </a:cubicBezTo>
                <a:cubicBezTo>
                  <a:pt x="1762" y="199"/>
                  <a:pt x="1759" y="241"/>
                  <a:pt x="1757" y="281"/>
                </a:cubicBezTo>
                <a:cubicBezTo>
                  <a:pt x="1757" y="282"/>
                  <a:pt x="1757" y="283"/>
                  <a:pt x="1756" y="283"/>
                </a:cubicBezTo>
                <a:cubicBezTo>
                  <a:pt x="1756" y="284"/>
                  <a:pt x="1756" y="285"/>
                  <a:pt x="1756" y="286"/>
                </a:cubicBezTo>
                <a:cubicBezTo>
                  <a:pt x="1756" y="290"/>
                  <a:pt x="1756" y="295"/>
                  <a:pt x="1756" y="299"/>
                </a:cubicBezTo>
                <a:cubicBezTo>
                  <a:pt x="1756" y="298"/>
                  <a:pt x="1756" y="297"/>
                  <a:pt x="1757" y="296"/>
                </a:cubicBezTo>
                <a:cubicBezTo>
                  <a:pt x="1756" y="303"/>
                  <a:pt x="1756" y="311"/>
                  <a:pt x="1756" y="318"/>
                </a:cubicBezTo>
                <a:cubicBezTo>
                  <a:pt x="1755" y="363"/>
                  <a:pt x="1754" y="408"/>
                  <a:pt x="1752" y="453"/>
                </a:cubicBezTo>
                <a:cubicBezTo>
                  <a:pt x="1750" y="420"/>
                  <a:pt x="1746" y="387"/>
                  <a:pt x="1742" y="355"/>
                </a:cubicBezTo>
                <a:cubicBezTo>
                  <a:pt x="1743" y="351"/>
                  <a:pt x="1744" y="348"/>
                  <a:pt x="1745" y="344"/>
                </a:cubicBezTo>
                <a:cubicBezTo>
                  <a:pt x="1744" y="337"/>
                  <a:pt x="1743" y="330"/>
                  <a:pt x="1742" y="324"/>
                </a:cubicBezTo>
                <a:cubicBezTo>
                  <a:pt x="1744" y="316"/>
                  <a:pt x="1746" y="308"/>
                  <a:pt x="1747" y="300"/>
                </a:cubicBezTo>
                <a:cubicBezTo>
                  <a:pt x="1744" y="307"/>
                  <a:pt x="1741" y="314"/>
                  <a:pt x="1737" y="321"/>
                </a:cubicBezTo>
                <a:cubicBezTo>
                  <a:pt x="1729" y="268"/>
                  <a:pt x="1717" y="216"/>
                  <a:pt x="1700" y="164"/>
                </a:cubicBezTo>
                <a:cubicBezTo>
                  <a:pt x="1700" y="163"/>
                  <a:pt x="1698" y="164"/>
                  <a:pt x="1699" y="166"/>
                </a:cubicBezTo>
                <a:cubicBezTo>
                  <a:pt x="1713" y="225"/>
                  <a:pt x="1721" y="285"/>
                  <a:pt x="1727" y="346"/>
                </a:cubicBezTo>
                <a:cubicBezTo>
                  <a:pt x="1724" y="352"/>
                  <a:pt x="1722" y="358"/>
                  <a:pt x="1719" y="365"/>
                </a:cubicBezTo>
                <a:cubicBezTo>
                  <a:pt x="1716" y="358"/>
                  <a:pt x="1712" y="351"/>
                  <a:pt x="1708" y="345"/>
                </a:cubicBezTo>
                <a:cubicBezTo>
                  <a:pt x="1709" y="308"/>
                  <a:pt x="1710" y="271"/>
                  <a:pt x="1712" y="235"/>
                </a:cubicBezTo>
                <a:cubicBezTo>
                  <a:pt x="1712" y="233"/>
                  <a:pt x="1710" y="234"/>
                  <a:pt x="1710" y="235"/>
                </a:cubicBezTo>
                <a:cubicBezTo>
                  <a:pt x="1706" y="267"/>
                  <a:pt x="1700" y="297"/>
                  <a:pt x="1695" y="327"/>
                </a:cubicBezTo>
                <a:cubicBezTo>
                  <a:pt x="1692" y="323"/>
                  <a:pt x="1688" y="319"/>
                  <a:pt x="1685" y="316"/>
                </a:cubicBezTo>
                <a:cubicBezTo>
                  <a:pt x="1681" y="276"/>
                  <a:pt x="1675" y="237"/>
                  <a:pt x="1663" y="200"/>
                </a:cubicBezTo>
                <a:cubicBezTo>
                  <a:pt x="1663" y="199"/>
                  <a:pt x="1662" y="200"/>
                  <a:pt x="1662" y="201"/>
                </a:cubicBezTo>
                <a:cubicBezTo>
                  <a:pt x="1667" y="239"/>
                  <a:pt x="1661" y="284"/>
                  <a:pt x="1659" y="323"/>
                </a:cubicBezTo>
                <a:cubicBezTo>
                  <a:pt x="1659" y="324"/>
                  <a:pt x="1659" y="325"/>
                  <a:pt x="1659" y="327"/>
                </a:cubicBezTo>
                <a:cubicBezTo>
                  <a:pt x="1654" y="294"/>
                  <a:pt x="1648" y="263"/>
                  <a:pt x="1641" y="236"/>
                </a:cubicBezTo>
                <a:cubicBezTo>
                  <a:pt x="1640" y="234"/>
                  <a:pt x="1639" y="236"/>
                  <a:pt x="1639" y="237"/>
                </a:cubicBezTo>
                <a:cubicBezTo>
                  <a:pt x="1645" y="280"/>
                  <a:pt x="1644" y="327"/>
                  <a:pt x="1643" y="373"/>
                </a:cubicBezTo>
                <a:cubicBezTo>
                  <a:pt x="1639" y="337"/>
                  <a:pt x="1632" y="302"/>
                  <a:pt x="1622" y="271"/>
                </a:cubicBezTo>
                <a:cubicBezTo>
                  <a:pt x="1615" y="252"/>
                  <a:pt x="1601" y="219"/>
                  <a:pt x="1589" y="211"/>
                </a:cubicBezTo>
                <a:cubicBezTo>
                  <a:pt x="1590" y="195"/>
                  <a:pt x="1591" y="180"/>
                  <a:pt x="1593" y="165"/>
                </a:cubicBezTo>
                <a:cubicBezTo>
                  <a:pt x="1593" y="163"/>
                  <a:pt x="1591" y="163"/>
                  <a:pt x="1591" y="165"/>
                </a:cubicBezTo>
                <a:cubicBezTo>
                  <a:pt x="1580" y="227"/>
                  <a:pt x="1568" y="287"/>
                  <a:pt x="1559" y="349"/>
                </a:cubicBezTo>
                <a:cubicBezTo>
                  <a:pt x="1560" y="299"/>
                  <a:pt x="1559" y="248"/>
                  <a:pt x="1559" y="197"/>
                </a:cubicBezTo>
                <a:cubicBezTo>
                  <a:pt x="1559" y="196"/>
                  <a:pt x="1558" y="197"/>
                  <a:pt x="1558" y="198"/>
                </a:cubicBezTo>
                <a:cubicBezTo>
                  <a:pt x="1555" y="235"/>
                  <a:pt x="1544" y="269"/>
                  <a:pt x="1540" y="306"/>
                </a:cubicBezTo>
                <a:cubicBezTo>
                  <a:pt x="1538" y="315"/>
                  <a:pt x="1537" y="325"/>
                  <a:pt x="1536" y="334"/>
                </a:cubicBezTo>
                <a:cubicBezTo>
                  <a:pt x="1536" y="251"/>
                  <a:pt x="1536" y="169"/>
                  <a:pt x="1541" y="86"/>
                </a:cubicBezTo>
                <a:cubicBezTo>
                  <a:pt x="1541" y="85"/>
                  <a:pt x="1540" y="85"/>
                  <a:pt x="1540" y="87"/>
                </a:cubicBezTo>
                <a:cubicBezTo>
                  <a:pt x="1529" y="162"/>
                  <a:pt x="1519" y="235"/>
                  <a:pt x="1514" y="311"/>
                </a:cubicBezTo>
                <a:cubicBezTo>
                  <a:pt x="1508" y="252"/>
                  <a:pt x="1499" y="195"/>
                  <a:pt x="1491" y="136"/>
                </a:cubicBezTo>
                <a:cubicBezTo>
                  <a:pt x="1491" y="134"/>
                  <a:pt x="1489" y="136"/>
                  <a:pt x="1489" y="137"/>
                </a:cubicBezTo>
                <a:cubicBezTo>
                  <a:pt x="1494" y="222"/>
                  <a:pt x="1492" y="309"/>
                  <a:pt x="1489" y="395"/>
                </a:cubicBezTo>
                <a:cubicBezTo>
                  <a:pt x="1488" y="383"/>
                  <a:pt x="1487" y="370"/>
                  <a:pt x="1487" y="358"/>
                </a:cubicBezTo>
                <a:cubicBezTo>
                  <a:pt x="1487" y="354"/>
                  <a:pt x="1487" y="350"/>
                  <a:pt x="1487" y="346"/>
                </a:cubicBezTo>
                <a:cubicBezTo>
                  <a:pt x="1487" y="317"/>
                  <a:pt x="1490" y="269"/>
                  <a:pt x="1482" y="244"/>
                </a:cubicBezTo>
                <a:cubicBezTo>
                  <a:pt x="1482" y="244"/>
                  <a:pt x="1481" y="244"/>
                  <a:pt x="1481" y="245"/>
                </a:cubicBezTo>
                <a:cubicBezTo>
                  <a:pt x="1481" y="246"/>
                  <a:pt x="1481" y="246"/>
                  <a:pt x="1481" y="246"/>
                </a:cubicBezTo>
                <a:cubicBezTo>
                  <a:pt x="1480" y="246"/>
                  <a:pt x="1481" y="247"/>
                  <a:pt x="1481" y="246"/>
                </a:cubicBezTo>
                <a:cubicBezTo>
                  <a:pt x="1477" y="251"/>
                  <a:pt x="1473" y="304"/>
                  <a:pt x="1471" y="314"/>
                </a:cubicBezTo>
                <a:cubicBezTo>
                  <a:pt x="1470" y="322"/>
                  <a:pt x="1468" y="330"/>
                  <a:pt x="1467" y="339"/>
                </a:cubicBezTo>
                <a:cubicBezTo>
                  <a:pt x="1466" y="249"/>
                  <a:pt x="1462" y="156"/>
                  <a:pt x="1470" y="69"/>
                </a:cubicBezTo>
                <a:cubicBezTo>
                  <a:pt x="1470" y="67"/>
                  <a:pt x="1468" y="68"/>
                  <a:pt x="1468" y="69"/>
                </a:cubicBezTo>
                <a:cubicBezTo>
                  <a:pt x="1455" y="146"/>
                  <a:pt x="1446" y="222"/>
                  <a:pt x="1441" y="299"/>
                </a:cubicBezTo>
                <a:cubicBezTo>
                  <a:pt x="1436" y="254"/>
                  <a:pt x="1432" y="208"/>
                  <a:pt x="1431" y="162"/>
                </a:cubicBezTo>
                <a:cubicBezTo>
                  <a:pt x="1431" y="160"/>
                  <a:pt x="1429" y="162"/>
                  <a:pt x="1428" y="164"/>
                </a:cubicBezTo>
                <a:cubicBezTo>
                  <a:pt x="1428" y="186"/>
                  <a:pt x="1427" y="208"/>
                  <a:pt x="1426" y="230"/>
                </a:cubicBezTo>
                <a:cubicBezTo>
                  <a:pt x="1423" y="171"/>
                  <a:pt x="1416" y="113"/>
                  <a:pt x="1402" y="62"/>
                </a:cubicBezTo>
                <a:cubicBezTo>
                  <a:pt x="1402" y="61"/>
                  <a:pt x="1400" y="63"/>
                  <a:pt x="1401" y="64"/>
                </a:cubicBezTo>
                <a:cubicBezTo>
                  <a:pt x="1405" y="112"/>
                  <a:pt x="1399" y="170"/>
                  <a:pt x="1398" y="219"/>
                </a:cubicBezTo>
                <a:cubicBezTo>
                  <a:pt x="1398" y="223"/>
                  <a:pt x="1398" y="226"/>
                  <a:pt x="1398" y="229"/>
                </a:cubicBezTo>
                <a:cubicBezTo>
                  <a:pt x="1393" y="238"/>
                  <a:pt x="1389" y="248"/>
                  <a:pt x="1384" y="257"/>
                </a:cubicBezTo>
                <a:cubicBezTo>
                  <a:pt x="1376" y="191"/>
                  <a:pt x="1363" y="128"/>
                  <a:pt x="1342" y="66"/>
                </a:cubicBezTo>
                <a:cubicBezTo>
                  <a:pt x="1342" y="64"/>
                  <a:pt x="1341" y="66"/>
                  <a:pt x="1341" y="67"/>
                </a:cubicBezTo>
                <a:cubicBezTo>
                  <a:pt x="1358" y="138"/>
                  <a:pt x="1367" y="211"/>
                  <a:pt x="1372" y="285"/>
                </a:cubicBezTo>
                <a:cubicBezTo>
                  <a:pt x="1372" y="286"/>
                  <a:pt x="1371" y="287"/>
                  <a:pt x="1371" y="288"/>
                </a:cubicBezTo>
                <a:cubicBezTo>
                  <a:pt x="1370" y="287"/>
                  <a:pt x="1370" y="285"/>
                  <a:pt x="1369" y="283"/>
                </a:cubicBezTo>
                <a:cubicBezTo>
                  <a:pt x="1366" y="275"/>
                  <a:pt x="1360" y="264"/>
                  <a:pt x="1354" y="253"/>
                </a:cubicBezTo>
                <a:cubicBezTo>
                  <a:pt x="1355" y="227"/>
                  <a:pt x="1356" y="200"/>
                  <a:pt x="1358" y="174"/>
                </a:cubicBezTo>
                <a:cubicBezTo>
                  <a:pt x="1358" y="172"/>
                  <a:pt x="1356" y="173"/>
                  <a:pt x="1356" y="175"/>
                </a:cubicBezTo>
                <a:cubicBezTo>
                  <a:pt x="1353" y="196"/>
                  <a:pt x="1349" y="218"/>
                  <a:pt x="1345" y="239"/>
                </a:cubicBezTo>
                <a:cubicBezTo>
                  <a:pt x="1339" y="230"/>
                  <a:pt x="1332" y="222"/>
                  <a:pt x="1326" y="217"/>
                </a:cubicBezTo>
                <a:cubicBezTo>
                  <a:pt x="1322" y="190"/>
                  <a:pt x="1317" y="164"/>
                  <a:pt x="1309" y="139"/>
                </a:cubicBezTo>
                <a:cubicBezTo>
                  <a:pt x="1308" y="138"/>
                  <a:pt x="1307" y="139"/>
                  <a:pt x="1307" y="140"/>
                </a:cubicBezTo>
                <a:cubicBezTo>
                  <a:pt x="1313" y="178"/>
                  <a:pt x="1307" y="223"/>
                  <a:pt x="1305" y="262"/>
                </a:cubicBezTo>
                <a:cubicBezTo>
                  <a:pt x="1304" y="263"/>
                  <a:pt x="1304" y="264"/>
                  <a:pt x="1304" y="266"/>
                </a:cubicBezTo>
                <a:cubicBezTo>
                  <a:pt x="1299" y="233"/>
                  <a:pt x="1293" y="202"/>
                  <a:pt x="1286" y="175"/>
                </a:cubicBezTo>
                <a:cubicBezTo>
                  <a:pt x="1286" y="173"/>
                  <a:pt x="1284" y="175"/>
                  <a:pt x="1284" y="177"/>
                </a:cubicBezTo>
                <a:cubicBezTo>
                  <a:pt x="1290" y="219"/>
                  <a:pt x="1290" y="266"/>
                  <a:pt x="1289" y="312"/>
                </a:cubicBezTo>
                <a:cubicBezTo>
                  <a:pt x="1284" y="276"/>
                  <a:pt x="1278" y="242"/>
                  <a:pt x="1267" y="210"/>
                </a:cubicBezTo>
                <a:cubicBezTo>
                  <a:pt x="1261" y="190"/>
                  <a:pt x="1247" y="158"/>
                  <a:pt x="1234" y="150"/>
                </a:cubicBezTo>
                <a:cubicBezTo>
                  <a:pt x="1234" y="149"/>
                  <a:pt x="1233" y="151"/>
                  <a:pt x="1234" y="152"/>
                </a:cubicBezTo>
                <a:cubicBezTo>
                  <a:pt x="1247" y="173"/>
                  <a:pt x="1248" y="235"/>
                  <a:pt x="1250" y="264"/>
                </a:cubicBezTo>
                <a:cubicBezTo>
                  <a:pt x="1252" y="283"/>
                  <a:pt x="1253" y="302"/>
                  <a:pt x="1255" y="321"/>
                </a:cubicBezTo>
                <a:cubicBezTo>
                  <a:pt x="1254" y="322"/>
                  <a:pt x="1254" y="323"/>
                  <a:pt x="1254" y="324"/>
                </a:cubicBezTo>
                <a:cubicBezTo>
                  <a:pt x="1249" y="308"/>
                  <a:pt x="1244" y="292"/>
                  <a:pt x="1239" y="276"/>
                </a:cubicBezTo>
                <a:cubicBezTo>
                  <a:pt x="1240" y="251"/>
                  <a:pt x="1242" y="227"/>
                  <a:pt x="1244" y="202"/>
                </a:cubicBezTo>
                <a:cubicBezTo>
                  <a:pt x="1244" y="200"/>
                  <a:pt x="1242" y="201"/>
                  <a:pt x="1242" y="202"/>
                </a:cubicBezTo>
                <a:cubicBezTo>
                  <a:pt x="1239" y="220"/>
                  <a:pt x="1236" y="238"/>
                  <a:pt x="1232" y="256"/>
                </a:cubicBezTo>
                <a:cubicBezTo>
                  <a:pt x="1232" y="256"/>
                  <a:pt x="1231" y="257"/>
                  <a:pt x="1231" y="258"/>
                </a:cubicBezTo>
                <a:cubicBezTo>
                  <a:pt x="1232" y="258"/>
                  <a:pt x="1232" y="259"/>
                  <a:pt x="1232" y="259"/>
                </a:cubicBezTo>
                <a:cubicBezTo>
                  <a:pt x="1224" y="302"/>
                  <a:pt x="1216" y="344"/>
                  <a:pt x="1211" y="387"/>
                </a:cubicBezTo>
                <a:cubicBezTo>
                  <a:pt x="1211" y="336"/>
                  <a:pt x="1210" y="285"/>
                  <a:pt x="1210" y="235"/>
                </a:cubicBezTo>
                <a:cubicBezTo>
                  <a:pt x="1210" y="234"/>
                  <a:pt x="1209" y="235"/>
                  <a:pt x="1209" y="235"/>
                </a:cubicBezTo>
                <a:cubicBezTo>
                  <a:pt x="1206" y="273"/>
                  <a:pt x="1195" y="306"/>
                  <a:pt x="1191" y="343"/>
                </a:cubicBezTo>
                <a:cubicBezTo>
                  <a:pt x="1189" y="353"/>
                  <a:pt x="1189" y="362"/>
                  <a:pt x="1188" y="372"/>
                </a:cubicBezTo>
                <a:cubicBezTo>
                  <a:pt x="1187" y="289"/>
                  <a:pt x="1187" y="206"/>
                  <a:pt x="1192" y="124"/>
                </a:cubicBezTo>
                <a:cubicBezTo>
                  <a:pt x="1192" y="122"/>
                  <a:pt x="1191" y="123"/>
                  <a:pt x="1191" y="124"/>
                </a:cubicBezTo>
                <a:cubicBezTo>
                  <a:pt x="1180" y="200"/>
                  <a:pt x="1170" y="273"/>
                  <a:pt x="1165" y="349"/>
                </a:cubicBezTo>
                <a:cubicBezTo>
                  <a:pt x="1159" y="290"/>
                  <a:pt x="1151" y="232"/>
                  <a:pt x="1142" y="174"/>
                </a:cubicBezTo>
                <a:cubicBezTo>
                  <a:pt x="1142" y="172"/>
                  <a:pt x="1140" y="173"/>
                  <a:pt x="1140" y="175"/>
                </a:cubicBezTo>
                <a:cubicBezTo>
                  <a:pt x="1145" y="247"/>
                  <a:pt x="1144" y="320"/>
                  <a:pt x="1141" y="393"/>
                </a:cubicBezTo>
                <a:cubicBezTo>
                  <a:pt x="1140" y="393"/>
                  <a:pt x="1139" y="394"/>
                  <a:pt x="1138" y="394"/>
                </a:cubicBezTo>
                <a:cubicBezTo>
                  <a:pt x="1136" y="371"/>
                  <a:pt x="1135" y="348"/>
                  <a:pt x="1134" y="325"/>
                </a:cubicBezTo>
                <a:cubicBezTo>
                  <a:pt x="1134" y="322"/>
                  <a:pt x="1132" y="324"/>
                  <a:pt x="1132" y="326"/>
                </a:cubicBezTo>
                <a:cubicBezTo>
                  <a:pt x="1131" y="350"/>
                  <a:pt x="1128" y="373"/>
                  <a:pt x="1125" y="397"/>
                </a:cubicBezTo>
                <a:cubicBezTo>
                  <a:pt x="1123" y="397"/>
                  <a:pt x="1121" y="398"/>
                  <a:pt x="1119" y="398"/>
                </a:cubicBezTo>
                <a:cubicBezTo>
                  <a:pt x="1118" y="302"/>
                  <a:pt x="1112" y="201"/>
                  <a:pt x="1121" y="107"/>
                </a:cubicBezTo>
                <a:cubicBezTo>
                  <a:pt x="1121" y="104"/>
                  <a:pt x="1119" y="105"/>
                  <a:pt x="1119" y="107"/>
                </a:cubicBezTo>
                <a:cubicBezTo>
                  <a:pt x="1106" y="184"/>
                  <a:pt x="1097" y="259"/>
                  <a:pt x="1092" y="337"/>
                </a:cubicBezTo>
                <a:cubicBezTo>
                  <a:pt x="1087" y="291"/>
                  <a:pt x="1083" y="246"/>
                  <a:pt x="1082" y="200"/>
                </a:cubicBezTo>
                <a:cubicBezTo>
                  <a:pt x="1082" y="197"/>
                  <a:pt x="1080" y="199"/>
                  <a:pt x="1080" y="201"/>
                </a:cubicBezTo>
                <a:cubicBezTo>
                  <a:pt x="1079" y="223"/>
                  <a:pt x="1078" y="245"/>
                  <a:pt x="1077" y="267"/>
                </a:cubicBezTo>
                <a:cubicBezTo>
                  <a:pt x="1074" y="209"/>
                  <a:pt x="1067" y="151"/>
                  <a:pt x="1053" y="100"/>
                </a:cubicBezTo>
                <a:cubicBezTo>
                  <a:pt x="1053" y="99"/>
                  <a:pt x="1051" y="100"/>
                  <a:pt x="1052" y="101"/>
                </a:cubicBezTo>
                <a:cubicBezTo>
                  <a:pt x="1055" y="138"/>
                  <a:pt x="1053" y="180"/>
                  <a:pt x="1051" y="220"/>
                </a:cubicBezTo>
                <a:cubicBezTo>
                  <a:pt x="1050" y="221"/>
                  <a:pt x="1050" y="222"/>
                  <a:pt x="1050" y="223"/>
                </a:cubicBezTo>
                <a:cubicBezTo>
                  <a:pt x="1050" y="223"/>
                  <a:pt x="1050" y="224"/>
                  <a:pt x="1050" y="225"/>
                </a:cubicBezTo>
                <a:cubicBezTo>
                  <a:pt x="1049" y="230"/>
                  <a:pt x="1049" y="234"/>
                  <a:pt x="1049" y="238"/>
                </a:cubicBezTo>
                <a:cubicBezTo>
                  <a:pt x="1050" y="237"/>
                  <a:pt x="1050" y="236"/>
                  <a:pt x="1050" y="235"/>
                </a:cubicBezTo>
                <a:cubicBezTo>
                  <a:pt x="1050" y="242"/>
                  <a:pt x="1050" y="250"/>
                  <a:pt x="1050" y="257"/>
                </a:cubicBezTo>
                <a:cubicBezTo>
                  <a:pt x="1049" y="302"/>
                  <a:pt x="1048" y="347"/>
                  <a:pt x="1046" y="393"/>
                </a:cubicBezTo>
                <a:cubicBezTo>
                  <a:pt x="1043" y="359"/>
                  <a:pt x="1040" y="326"/>
                  <a:pt x="1036" y="294"/>
                </a:cubicBezTo>
                <a:cubicBezTo>
                  <a:pt x="1036" y="290"/>
                  <a:pt x="1037" y="287"/>
                  <a:pt x="1038" y="283"/>
                </a:cubicBezTo>
                <a:cubicBezTo>
                  <a:pt x="1037" y="276"/>
                  <a:pt x="1036" y="269"/>
                  <a:pt x="1036" y="263"/>
                </a:cubicBezTo>
                <a:cubicBezTo>
                  <a:pt x="1037" y="255"/>
                  <a:pt x="1039" y="247"/>
                  <a:pt x="1041" y="239"/>
                </a:cubicBezTo>
                <a:cubicBezTo>
                  <a:pt x="1037" y="246"/>
                  <a:pt x="1034" y="253"/>
                  <a:pt x="1031" y="260"/>
                </a:cubicBezTo>
                <a:cubicBezTo>
                  <a:pt x="1022" y="207"/>
                  <a:pt x="1010" y="155"/>
                  <a:pt x="993" y="103"/>
                </a:cubicBezTo>
                <a:cubicBezTo>
                  <a:pt x="993" y="102"/>
                  <a:pt x="992" y="104"/>
                  <a:pt x="992" y="105"/>
                </a:cubicBezTo>
                <a:cubicBezTo>
                  <a:pt x="1006" y="164"/>
                  <a:pt x="1015" y="224"/>
                  <a:pt x="1020" y="285"/>
                </a:cubicBezTo>
                <a:cubicBezTo>
                  <a:pt x="1017" y="291"/>
                  <a:pt x="1015" y="298"/>
                  <a:pt x="1013" y="304"/>
                </a:cubicBezTo>
                <a:cubicBezTo>
                  <a:pt x="1009" y="297"/>
                  <a:pt x="1005" y="291"/>
                  <a:pt x="1001" y="284"/>
                </a:cubicBezTo>
                <a:cubicBezTo>
                  <a:pt x="1002" y="247"/>
                  <a:pt x="1003" y="211"/>
                  <a:pt x="1005" y="174"/>
                </a:cubicBezTo>
                <a:cubicBezTo>
                  <a:pt x="1006" y="172"/>
                  <a:pt x="1004" y="173"/>
                  <a:pt x="1004" y="175"/>
                </a:cubicBezTo>
                <a:cubicBezTo>
                  <a:pt x="999" y="206"/>
                  <a:pt x="994" y="236"/>
                  <a:pt x="988" y="266"/>
                </a:cubicBezTo>
                <a:cubicBezTo>
                  <a:pt x="985" y="262"/>
                  <a:pt x="982" y="258"/>
                  <a:pt x="979" y="255"/>
                </a:cubicBezTo>
                <a:cubicBezTo>
                  <a:pt x="975" y="215"/>
                  <a:pt x="968" y="176"/>
                  <a:pt x="957" y="139"/>
                </a:cubicBezTo>
                <a:cubicBezTo>
                  <a:pt x="956" y="138"/>
                  <a:pt x="955" y="139"/>
                  <a:pt x="955" y="140"/>
                </a:cubicBezTo>
                <a:cubicBezTo>
                  <a:pt x="961" y="178"/>
                  <a:pt x="955" y="223"/>
                  <a:pt x="952" y="262"/>
                </a:cubicBezTo>
                <a:cubicBezTo>
                  <a:pt x="952" y="263"/>
                  <a:pt x="952" y="264"/>
                  <a:pt x="952" y="266"/>
                </a:cubicBezTo>
                <a:cubicBezTo>
                  <a:pt x="947" y="233"/>
                  <a:pt x="941" y="202"/>
                  <a:pt x="934" y="175"/>
                </a:cubicBezTo>
                <a:cubicBezTo>
                  <a:pt x="934" y="173"/>
                  <a:pt x="932" y="175"/>
                  <a:pt x="932" y="177"/>
                </a:cubicBezTo>
                <a:cubicBezTo>
                  <a:pt x="938" y="219"/>
                  <a:pt x="938" y="266"/>
                  <a:pt x="937" y="312"/>
                </a:cubicBezTo>
                <a:cubicBezTo>
                  <a:pt x="932" y="276"/>
                  <a:pt x="926" y="242"/>
                  <a:pt x="915" y="210"/>
                </a:cubicBezTo>
                <a:cubicBezTo>
                  <a:pt x="910" y="196"/>
                  <a:pt x="902" y="175"/>
                  <a:pt x="892" y="161"/>
                </a:cubicBezTo>
                <a:cubicBezTo>
                  <a:pt x="891" y="147"/>
                  <a:pt x="888" y="135"/>
                  <a:pt x="884" y="126"/>
                </a:cubicBezTo>
                <a:cubicBezTo>
                  <a:pt x="885" y="118"/>
                  <a:pt x="885" y="111"/>
                  <a:pt x="886" y="104"/>
                </a:cubicBezTo>
                <a:cubicBezTo>
                  <a:pt x="886" y="102"/>
                  <a:pt x="885" y="103"/>
                  <a:pt x="884" y="104"/>
                </a:cubicBezTo>
                <a:cubicBezTo>
                  <a:pt x="874" y="166"/>
                  <a:pt x="861" y="226"/>
                  <a:pt x="853" y="288"/>
                </a:cubicBezTo>
                <a:cubicBezTo>
                  <a:pt x="853" y="238"/>
                  <a:pt x="853" y="187"/>
                  <a:pt x="853" y="136"/>
                </a:cubicBezTo>
                <a:cubicBezTo>
                  <a:pt x="853" y="135"/>
                  <a:pt x="852" y="136"/>
                  <a:pt x="852" y="137"/>
                </a:cubicBezTo>
                <a:cubicBezTo>
                  <a:pt x="848" y="174"/>
                  <a:pt x="837" y="208"/>
                  <a:pt x="833" y="245"/>
                </a:cubicBezTo>
                <a:cubicBezTo>
                  <a:pt x="832" y="254"/>
                  <a:pt x="831" y="264"/>
                  <a:pt x="830" y="273"/>
                </a:cubicBezTo>
                <a:cubicBezTo>
                  <a:pt x="829" y="191"/>
                  <a:pt x="830" y="108"/>
                  <a:pt x="835" y="25"/>
                </a:cubicBezTo>
                <a:cubicBezTo>
                  <a:pt x="835" y="24"/>
                  <a:pt x="833" y="24"/>
                  <a:pt x="833" y="26"/>
                </a:cubicBezTo>
                <a:cubicBezTo>
                  <a:pt x="822" y="101"/>
                  <a:pt x="813" y="174"/>
                  <a:pt x="807" y="250"/>
                </a:cubicBezTo>
                <a:cubicBezTo>
                  <a:pt x="802" y="191"/>
                  <a:pt x="793" y="134"/>
                  <a:pt x="784" y="75"/>
                </a:cubicBezTo>
                <a:cubicBezTo>
                  <a:pt x="784" y="73"/>
                  <a:pt x="783" y="75"/>
                  <a:pt x="783" y="76"/>
                </a:cubicBezTo>
                <a:cubicBezTo>
                  <a:pt x="788" y="161"/>
                  <a:pt x="786" y="249"/>
                  <a:pt x="782" y="334"/>
                </a:cubicBezTo>
                <a:cubicBezTo>
                  <a:pt x="780" y="298"/>
                  <a:pt x="778" y="262"/>
                  <a:pt x="777" y="226"/>
                </a:cubicBezTo>
                <a:cubicBezTo>
                  <a:pt x="777" y="223"/>
                  <a:pt x="774" y="226"/>
                  <a:pt x="774" y="228"/>
                </a:cubicBezTo>
                <a:cubicBezTo>
                  <a:pt x="772" y="266"/>
                  <a:pt x="767" y="302"/>
                  <a:pt x="763" y="340"/>
                </a:cubicBezTo>
                <a:cubicBezTo>
                  <a:pt x="762" y="352"/>
                  <a:pt x="761" y="365"/>
                  <a:pt x="761" y="377"/>
                </a:cubicBezTo>
                <a:cubicBezTo>
                  <a:pt x="761" y="361"/>
                  <a:pt x="761" y="344"/>
                  <a:pt x="761" y="327"/>
                </a:cubicBezTo>
                <a:cubicBezTo>
                  <a:pt x="762" y="223"/>
                  <a:pt x="753" y="111"/>
                  <a:pt x="763" y="8"/>
                </a:cubicBezTo>
                <a:cubicBezTo>
                  <a:pt x="764" y="6"/>
                  <a:pt x="762" y="7"/>
                  <a:pt x="761" y="8"/>
                </a:cubicBezTo>
                <a:cubicBezTo>
                  <a:pt x="748" y="85"/>
                  <a:pt x="739" y="161"/>
                  <a:pt x="734" y="239"/>
                </a:cubicBezTo>
                <a:cubicBezTo>
                  <a:pt x="730" y="193"/>
                  <a:pt x="726" y="147"/>
                  <a:pt x="724" y="101"/>
                </a:cubicBezTo>
                <a:cubicBezTo>
                  <a:pt x="724" y="99"/>
                  <a:pt x="722" y="101"/>
                  <a:pt x="722" y="103"/>
                </a:cubicBezTo>
                <a:cubicBezTo>
                  <a:pt x="721" y="125"/>
                  <a:pt x="721" y="147"/>
                  <a:pt x="720" y="169"/>
                </a:cubicBezTo>
                <a:cubicBezTo>
                  <a:pt x="716" y="111"/>
                  <a:pt x="709" y="52"/>
                  <a:pt x="695" y="1"/>
                </a:cubicBezTo>
                <a:cubicBezTo>
                  <a:pt x="695" y="0"/>
                  <a:pt x="694" y="2"/>
                  <a:pt x="694" y="3"/>
                </a:cubicBezTo>
                <a:cubicBezTo>
                  <a:pt x="698" y="52"/>
                  <a:pt x="693" y="109"/>
                  <a:pt x="692" y="158"/>
                </a:cubicBezTo>
                <a:cubicBezTo>
                  <a:pt x="691" y="204"/>
                  <a:pt x="690" y="249"/>
                  <a:pt x="688" y="294"/>
                </a:cubicBezTo>
                <a:cubicBezTo>
                  <a:pt x="680" y="190"/>
                  <a:pt x="666" y="97"/>
                  <a:pt x="636" y="5"/>
                </a:cubicBezTo>
                <a:cubicBezTo>
                  <a:pt x="635" y="3"/>
                  <a:pt x="634" y="5"/>
                  <a:pt x="634" y="6"/>
                </a:cubicBezTo>
                <a:cubicBezTo>
                  <a:pt x="652" y="80"/>
                  <a:pt x="661" y="156"/>
                  <a:pt x="666" y="233"/>
                </a:cubicBezTo>
                <a:cubicBezTo>
                  <a:pt x="665" y="229"/>
                  <a:pt x="664" y="226"/>
                  <a:pt x="662" y="222"/>
                </a:cubicBezTo>
                <a:cubicBezTo>
                  <a:pt x="656" y="204"/>
                  <a:pt x="640" y="177"/>
                  <a:pt x="626" y="161"/>
                </a:cubicBezTo>
                <a:cubicBezTo>
                  <a:pt x="619" y="149"/>
                  <a:pt x="610" y="138"/>
                  <a:pt x="600" y="130"/>
                </a:cubicBezTo>
                <a:cubicBezTo>
                  <a:pt x="600" y="129"/>
                  <a:pt x="598" y="131"/>
                  <a:pt x="599" y="132"/>
                </a:cubicBezTo>
                <a:cubicBezTo>
                  <a:pt x="611" y="168"/>
                  <a:pt x="616" y="206"/>
                  <a:pt x="620" y="244"/>
                </a:cubicBezTo>
                <a:cubicBezTo>
                  <a:pt x="612" y="215"/>
                  <a:pt x="599" y="183"/>
                  <a:pt x="583" y="176"/>
                </a:cubicBezTo>
                <a:cubicBezTo>
                  <a:pt x="583" y="175"/>
                  <a:pt x="582" y="177"/>
                  <a:pt x="582" y="178"/>
                </a:cubicBezTo>
                <a:cubicBezTo>
                  <a:pt x="582" y="178"/>
                  <a:pt x="582" y="178"/>
                  <a:pt x="582" y="179"/>
                </a:cubicBezTo>
                <a:cubicBezTo>
                  <a:pt x="583" y="179"/>
                  <a:pt x="583" y="179"/>
                  <a:pt x="583" y="178"/>
                </a:cubicBezTo>
                <a:cubicBezTo>
                  <a:pt x="586" y="185"/>
                  <a:pt x="588" y="192"/>
                  <a:pt x="589" y="199"/>
                </a:cubicBezTo>
                <a:cubicBezTo>
                  <a:pt x="592" y="213"/>
                  <a:pt x="595" y="228"/>
                  <a:pt x="597" y="242"/>
                </a:cubicBezTo>
                <a:cubicBezTo>
                  <a:pt x="600" y="270"/>
                  <a:pt x="602" y="297"/>
                  <a:pt x="604" y="325"/>
                </a:cubicBezTo>
                <a:cubicBezTo>
                  <a:pt x="605" y="334"/>
                  <a:pt x="605" y="343"/>
                  <a:pt x="606" y="352"/>
                </a:cubicBezTo>
                <a:cubicBezTo>
                  <a:pt x="601" y="321"/>
                  <a:pt x="595" y="291"/>
                  <a:pt x="586" y="264"/>
                </a:cubicBezTo>
                <a:cubicBezTo>
                  <a:pt x="579" y="244"/>
                  <a:pt x="565" y="212"/>
                  <a:pt x="553" y="204"/>
                </a:cubicBezTo>
                <a:cubicBezTo>
                  <a:pt x="553" y="203"/>
                  <a:pt x="552" y="205"/>
                  <a:pt x="552" y="206"/>
                </a:cubicBezTo>
                <a:cubicBezTo>
                  <a:pt x="566" y="227"/>
                  <a:pt x="566" y="289"/>
                  <a:pt x="569" y="318"/>
                </a:cubicBezTo>
                <a:cubicBezTo>
                  <a:pt x="571" y="337"/>
                  <a:pt x="572" y="356"/>
                  <a:pt x="573" y="374"/>
                </a:cubicBezTo>
                <a:cubicBezTo>
                  <a:pt x="573" y="376"/>
                  <a:pt x="573" y="377"/>
                  <a:pt x="572" y="378"/>
                </a:cubicBezTo>
                <a:cubicBezTo>
                  <a:pt x="568" y="362"/>
                  <a:pt x="563" y="346"/>
                  <a:pt x="557" y="330"/>
                </a:cubicBezTo>
                <a:cubicBezTo>
                  <a:pt x="559" y="305"/>
                  <a:pt x="560" y="280"/>
                  <a:pt x="562" y="256"/>
                </a:cubicBezTo>
                <a:cubicBezTo>
                  <a:pt x="562" y="254"/>
                  <a:pt x="561" y="255"/>
                  <a:pt x="561" y="256"/>
                </a:cubicBezTo>
                <a:cubicBezTo>
                  <a:pt x="558" y="274"/>
                  <a:pt x="554" y="292"/>
                  <a:pt x="551" y="310"/>
                </a:cubicBezTo>
                <a:cubicBezTo>
                  <a:pt x="551" y="310"/>
                  <a:pt x="550" y="311"/>
                  <a:pt x="550" y="312"/>
                </a:cubicBezTo>
                <a:cubicBezTo>
                  <a:pt x="550" y="312"/>
                  <a:pt x="550" y="313"/>
                  <a:pt x="550" y="313"/>
                </a:cubicBezTo>
                <a:cubicBezTo>
                  <a:pt x="543" y="356"/>
                  <a:pt x="535" y="398"/>
                  <a:pt x="529" y="441"/>
                </a:cubicBezTo>
                <a:cubicBezTo>
                  <a:pt x="529" y="390"/>
                  <a:pt x="529" y="339"/>
                  <a:pt x="529" y="289"/>
                </a:cubicBezTo>
                <a:cubicBezTo>
                  <a:pt x="529" y="288"/>
                  <a:pt x="528" y="289"/>
                  <a:pt x="528" y="289"/>
                </a:cubicBezTo>
                <a:cubicBezTo>
                  <a:pt x="525" y="326"/>
                  <a:pt x="514" y="360"/>
                  <a:pt x="509" y="397"/>
                </a:cubicBezTo>
                <a:cubicBezTo>
                  <a:pt x="508" y="407"/>
                  <a:pt x="507" y="416"/>
                  <a:pt x="506" y="426"/>
                </a:cubicBezTo>
                <a:cubicBezTo>
                  <a:pt x="506" y="343"/>
                  <a:pt x="506" y="260"/>
                  <a:pt x="511" y="178"/>
                </a:cubicBezTo>
                <a:cubicBezTo>
                  <a:pt x="511" y="176"/>
                  <a:pt x="510" y="177"/>
                  <a:pt x="509" y="178"/>
                </a:cubicBezTo>
                <a:cubicBezTo>
                  <a:pt x="498" y="254"/>
                  <a:pt x="489" y="327"/>
                  <a:pt x="483" y="402"/>
                </a:cubicBezTo>
                <a:cubicBezTo>
                  <a:pt x="478" y="344"/>
                  <a:pt x="469" y="286"/>
                  <a:pt x="461" y="227"/>
                </a:cubicBezTo>
                <a:cubicBezTo>
                  <a:pt x="460" y="226"/>
                  <a:pt x="459" y="227"/>
                  <a:pt x="459" y="229"/>
                </a:cubicBezTo>
                <a:cubicBezTo>
                  <a:pt x="464" y="314"/>
                  <a:pt x="462" y="401"/>
                  <a:pt x="459" y="487"/>
                </a:cubicBezTo>
                <a:cubicBezTo>
                  <a:pt x="457" y="468"/>
                  <a:pt x="456" y="450"/>
                  <a:pt x="455" y="431"/>
                </a:cubicBezTo>
                <a:cubicBezTo>
                  <a:pt x="457" y="389"/>
                  <a:pt x="454" y="345"/>
                  <a:pt x="452" y="304"/>
                </a:cubicBezTo>
                <a:cubicBezTo>
                  <a:pt x="452" y="304"/>
                  <a:pt x="452" y="304"/>
                  <a:pt x="452" y="304"/>
                </a:cubicBezTo>
                <a:cubicBezTo>
                  <a:pt x="452" y="297"/>
                  <a:pt x="452" y="291"/>
                  <a:pt x="452" y="284"/>
                </a:cubicBezTo>
                <a:cubicBezTo>
                  <a:pt x="452" y="282"/>
                  <a:pt x="450" y="283"/>
                  <a:pt x="450" y="285"/>
                </a:cubicBezTo>
                <a:cubicBezTo>
                  <a:pt x="446" y="306"/>
                  <a:pt x="440" y="327"/>
                  <a:pt x="436" y="348"/>
                </a:cubicBezTo>
                <a:cubicBezTo>
                  <a:pt x="434" y="284"/>
                  <a:pt x="434" y="221"/>
                  <a:pt x="440" y="161"/>
                </a:cubicBezTo>
                <a:cubicBezTo>
                  <a:pt x="440" y="158"/>
                  <a:pt x="438" y="159"/>
                  <a:pt x="438" y="161"/>
                </a:cubicBezTo>
                <a:cubicBezTo>
                  <a:pt x="424" y="238"/>
                  <a:pt x="416" y="313"/>
                  <a:pt x="410" y="391"/>
                </a:cubicBezTo>
                <a:cubicBezTo>
                  <a:pt x="406" y="345"/>
                  <a:pt x="402" y="299"/>
                  <a:pt x="401" y="254"/>
                </a:cubicBezTo>
                <a:cubicBezTo>
                  <a:pt x="400" y="251"/>
                  <a:pt x="398" y="253"/>
                  <a:pt x="398" y="255"/>
                </a:cubicBezTo>
                <a:cubicBezTo>
                  <a:pt x="398" y="277"/>
                  <a:pt x="397" y="299"/>
                  <a:pt x="396" y="321"/>
                </a:cubicBezTo>
                <a:cubicBezTo>
                  <a:pt x="393" y="263"/>
                  <a:pt x="385" y="205"/>
                  <a:pt x="372" y="154"/>
                </a:cubicBezTo>
                <a:cubicBezTo>
                  <a:pt x="371" y="152"/>
                  <a:pt x="370" y="154"/>
                  <a:pt x="370" y="155"/>
                </a:cubicBezTo>
                <a:cubicBezTo>
                  <a:pt x="374" y="192"/>
                  <a:pt x="371" y="234"/>
                  <a:pt x="369" y="274"/>
                </a:cubicBezTo>
                <a:cubicBezTo>
                  <a:pt x="369" y="275"/>
                  <a:pt x="369" y="276"/>
                  <a:pt x="368" y="276"/>
                </a:cubicBezTo>
                <a:cubicBezTo>
                  <a:pt x="368" y="270"/>
                  <a:pt x="369" y="264"/>
                  <a:pt x="369" y="257"/>
                </a:cubicBezTo>
                <a:cubicBezTo>
                  <a:pt x="366" y="269"/>
                  <a:pt x="362" y="281"/>
                  <a:pt x="360" y="293"/>
                </a:cubicBezTo>
                <a:cubicBezTo>
                  <a:pt x="356" y="300"/>
                  <a:pt x="353" y="307"/>
                  <a:pt x="349" y="314"/>
                </a:cubicBezTo>
                <a:cubicBezTo>
                  <a:pt x="341" y="261"/>
                  <a:pt x="329" y="209"/>
                  <a:pt x="312" y="157"/>
                </a:cubicBezTo>
                <a:cubicBezTo>
                  <a:pt x="312" y="156"/>
                  <a:pt x="310" y="157"/>
                  <a:pt x="311" y="159"/>
                </a:cubicBezTo>
                <a:cubicBezTo>
                  <a:pt x="325" y="218"/>
                  <a:pt x="333" y="278"/>
                  <a:pt x="339" y="339"/>
                </a:cubicBezTo>
                <a:cubicBezTo>
                  <a:pt x="336" y="345"/>
                  <a:pt x="334" y="351"/>
                  <a:pt x="331" y="358"/>
                </a:cubicBezTo>
                <a:cubicBezTo>
                  <a:pt x="328" y="351"/>
                  <a:pt x="324" y="344"/>
                  <a:pt x="320" y="338"/>
                </a:cubicBezTo>
                <a:cubicBezTo>
                  <a:pt x="321" y="301"/>
                  <a:pt x="322" y="264"/>
                  <a:pt x="324" y="228"/>
                </a:cubicBezTo>
                <a:cubicBezTo>
                  <a:pt x="324" y="226"/>
                  <a:pt x="323" y="227"/>
                  <a:pt x="322" y="228"/>
                </a:cubicBezTo>
                <a:cubicBezTo>
                  <a:pt x="318" y="260"/>
                  <a:pt x="312" y="290"/>
                  <a:pt x="307" y="320"/>
                </a:cubicBezTo>
                <a:cubicBezTo>
                  <a:pt x="304" y="316"/>
                  <a:pt x="300" y="312"/>
                  <a:pt x="297" y="309"/>
                </a:cubicBezTo>
                <a:cubicBezTo>
                  <a:pt x="294" y="269"/>
                  <a:pt x="287" y="230"/>
                  <a:pt x="275" y="193"/>
                </a:cubicBezTo>
                <a:cubicBezTo>
                  <a:pt x="275" y="192"/>
                  <a:pt x="274" y="193"/>
                  <a:pt x="274" y="194"/>
                </a:cubicBezTo>
                <a:cubicBezTo>
                  <a:pt x="279" y="232"/>
                  <a:pt x="273" y="277"/>
                  <a:pt x="271" y="316"/>
                </a:cubicBezTo>
                <a:cubicBezTo>
                  <a:pt x="271" y="317"/>
                  <a:pt x="271" y="318"/>
                  <a:pt x="271" y="320"/>
                </a:cubicBezTo>
                <a:cubicBezTo>
                  <a:pt x="266" y="287"/>
                  <a:pt x="260" y="256"/>
                  <a:pt x="253" y="229"/>
                </a:cubicBezTo>
                <a:cubicBezTo>
                  <a:pt x="252" y="227"/>
                  <a:pt x="251" y="229"/>
                  <a:pt x="251" y="230"/>
                </a:cubicBezTo>
                <a:cubicBezTo>
                  <a:pt x="257" y="273"/>
                  <a:pt x="257" y="320"/>
                  <a:pt x="255" y="366"/>
                </a:cubicBezTo>
                <a:cubicBezTo>
                  <a:pt x="251" y="330"/>
                  <a:pt x="244" y="295"/>
                  <a:pt x="234" y="264"/>
                </a:cubicBezTo>
                <a:cubicBezTo>
                  <a:pt x="227" y="245"/>
                  <a:pt x="214" y="212"/>
                  <a:pt x="201" y="204"/>
                </a:cubicBezTo>
                <a:cubicBezTo>
                  <a:pt x="202" y="188"/>
                  <a:pt x="203" y="173"/>
                  <a:pt x="205" y="158"/>
                </a:cubicBezTo>
                <a:cubicBezTo>
                  <a:pt x="205" y="156"/>
                  <a:pt x="203" y="156"/>
                  <a:pt x="203" y="158"/>
                </a:cubicBezTo>
                <a:cubicBezTo>
                  <a:pt x="192" y="220"/>
                  <a:pt x="180" y="280"/>
                  <a:pt x="172" y="342"/>
                </a:cubicBezTo>
                <a:cubicBezTo>
                  <a:pt x="172" y="292"/>
                  <a:pt x="171" y="241"/>
                  <a:pt x="171" y="190"/>
                </a:cubicBezTo>
                <a:cubicBezTo>
                  <a:pt x="171" y="189"/>
                  <a:pt x="170" y="190"/>
                  <a:pt x="170" y="191"/>
                </a:cubicBezTo>
                <a:cubicBezTo>
                  <a:pt x="167" y="228"/>
                  <a:pt x="156" y="262"/>
                  <a:pt x="152" y="299"/>
                </a:cubicBezTo>
                <a:cubicBezTo>
                  <a:pt x="150" y="308"/>
                  <a:pt x="150" y="318"/>
                  <a:pt x="149" y="327"/>
                </a:cubicBezTo>
                <a:cubicBezTo>
                  <a:pt x="148" y="244"/>
                  <a:pt x="148" y="162"/>
                  <a:pt x="153" y="79"/>
                </a:cubicBezTo>
                <a:cubicBezTo>
                  <a:pt x="153" y="78"/>
                  <a:pt x="152" y="78"/>
                  <a:pt x="152" y="80"/>
                </a:cubicBezTo>
                <a:cubicBezTo>
                  <a:pt x="141" y="155"/>
                  <a:pt x="131" y="228"/>
                  <a:pt x="126" y="304"/>
                </a:cubicBezTo>
                <a:cubicBezTo>
                  <a:pt x="120" y="245"/>
                  <a:pt x="112" y="188"/>
                  <a:pt x="103" y="129"/>
                </a:cubicBezTo>
                <a:cubicBezTo>
                  <a:pt x="103" y="127"/>
                  <a:pt x="101" y="129"/>
                  <a:pt x="101" y="130"/>
                </a:cubicBezTo>
                <a:cubicBezTo>
                  <a:pt x="106" y="215"/>
                  <a:pt x="104" y="302"/>
                  <a:pt x="101" y="388"/>
                </a:cubicBezTo>
                <a:cubicBezTo>
                  <a:pt x="100" y="376"/>
                  <a:pt x="99" y="363"/>
                  <a:pt x="99" y="351"/>
                </a:cubicBezTo>
                <a:cubicBezTo>
                  <a:pt x="99" y="347"/>
                  <a:pt x="99" y="343"/>
                  <a:pt x="99" y="339"/>
                </a:cubicBezTo>
                <a:cubicBezTo>
                  <a:pt x="100" y="310"/>
                  <a:pt x="102" y="262"/>
                  <a:pt x="94" y="237"/>
                </a:cubicBezTo>
                <a:cubicBezTo>
                  <a:pt x="94" y="237"/>
                  <a:pt x="93" y="237"/>
                  <a:pt x="93" y="238"/>
                </a:cubicBezTo>
                <a:cubicBezTo>
                  <a:pt x="93" y="239"/>
                  <a:pt x="93" y="239"/>
                  <a:pt x="93" y="239"/>
                </a:cubicBezTo>
                <a:cubicBezTo>
                  <a:pt x="93" y="239"/>
                  <a:pt x="93" y="240"/>
                  <a:pt x="93" y="239"/>
                </a:cubicBezTo>
                <a:cubicBezTo>
                  <a:pt x="89" y="244"/>
                  <a:pt x="85" y="297"/>
                  <a:pt x="83" y="307"/>
                </a:cubicBezTo>
                <a:cubicBezTo>
                  <a:pt x="82" y="315"/>
                  <a:pt x="81" y="323"/>
                  <a:pt x="79" y="332"/>
                </a:cubicBezTo>
                <a:cubicBezTo>
                  <a:pt x="78" y="242"/>
                  <a:pt x="74" y="149"/>
                  <a:pt x="82" y="62"/>
                </a:cubicBezTo>
                <a:cubicBezTo>
                  <a:pt x="82" y="60"/>
                  <a:pt x="80" y="61"/>
                  <a:pt x="80" y="62"/>
                </a:cubicBezTo>
                <a:cubicBezTo>
                  <a:pt x="67" y="139"/>
                  <a:pt x="58" y="215"/>
                  <a:pt x="53" y="292"/>
                </a:cubicBezTo>
                <a:cubicBezTo>
                  <a:pt x="48" y="247"/>
                  <a:pt x="44" y="201"/>
                  <a:pt x="43" y="155"/>
                </a:cubicBezTo>
                <a:cubicBezTo>
                  <a:pt x="43" y="153"/>
                  <a:pt x="41" y="155"/>
                  <a:pt x="41" y="157"/>
                </a:cubicBezTo>
                <a:cubicBezTo>
                  <a:pt x="40" y="179"/>
                  <a:pt x="39" y="201"/>
                  <a:pt x="38" y="223"/>
                </a:cubicBezTo>
                <a:cubicBezTo>
                  <a:pt x="35" y="164"/>
                  <a:pt x="28" y="106"/>
                  <a:pt x="14" y="55"/>
                </a:cubicBezTo>
                <a:cubicBezTo>
                  <a:pt x="14" y="54"/>
                  <a:pt x="12" y="56"/>
                  <a:pt x="13" y="57"/>
                </a:cubicBezTo>
                <a:cubicBezTo>
                  <a:pt x="17" y="105"/>
                  <a:pt x="11" y="163"/>
                  <a:pt x="11" y="212"/>
                </a:cubicBezTo>
                <a:cubicBezTo>
                  <a:pt x="10" y="258"/>
                  <a:pt x="9" y="303"/>
                  <a:pt x="7" y="348"/>
                </a:cubicBezTo>
                <a:cubicBezTo>
                  <a:pt x="5" y="324"/>
                  <a:pt x="3" y="301"/>
                  <a:pt x="0" y="278"/>
                </a:cubicBezTo>
                <a:cubicBezTo>
                  <a:pt x="0" y="498"/>
                  <a:pt x="0" y="498"/>
                  <a:pt x="0" y="498"/>
                </a:cubicBezTo>
                <a:cubicBezTo>
                  <a:pt x="0" y="502"/>
                  <a:pt x="0" y="502"/>
                  <a:pt x="0" y="502"/>
                </a:cubicBezTo>
                <a:cubicBezTo>
                  <a:pt x="1362" y="502"/>
                  <a:pt x="1362" y="502"/>
                  <a:pt x="1362" y="502"/>
                </a:cubicBezTo>
                <a:cubicBezTo>
                  <a:pt x="1362" y="501"/>
                  <a:pt x="1362" y="500"/>
                  <a:pt x="1362" y="499"/>
                </a:cubicBezTo>
                <a:cubicBezTo>
                  <a:pt x="1363" y="490"/>
                  <a:pt x="1363" y="481"/>
                  <a:pt x="1364" y="472"/>
                </a:cubicBezTo>
                <a:cubicBezTo>
                  <a:pt x="1364" y="481"/>
                  <a:pt x="1365" y="490"/>
                  <a:pt x="1365" y="499"/>
                </a:cubicBezTo>
                <a:cubicBezTo>
                  <a:pt x="1366" y="499"/>
                  <a:pt x="1366" y="499"/>
                  <a:pt x="1366" y="499"/>
                </a:cubicBezTo>
                <a:cubicBezTo>
                  <a:pt x="5120" y="502"/>
                  <a:pt x="5120" y="502"/>
                  <a:pt x="5120" y="502"/>
                </a:cubicBezTo>
                <a:cubicBezTo>
                  <a:pt x="5120" y="210"/>
                  <a:pt x="5120" y="210"/>
                  <a:pt x="5120" y="210"/>
                </a:cubicBezTo>
                <a:cubicBezTo>
                  <a:pt x="5116" y="187"/>
                  <a:pt x="5111" y="164"/>
                  <a:pt x="5104" y="143"/>
                </a:cubicBezTo>
                <a:close/>
                <a:moveTo>
                  <a:pt x="1338" y="279"/>
                </a:moveTo>
                <a:cubicBezTo>
                  <a:pt x="1337" y="288"/>
                  <a:pt x="1335" y="296"/>
                  <a:pt x="1334" y="304"/>
                </a:cubicBezTo>
                <a:cubicBezTo>
                  <a:pt x="1333" y="287"/>
                  <a:pt x="1332" y="269"/>
                  <a:pt x="1330" y="252"/>
                </a:cubicBezTo>
                <a:cubicBezTo>
                  <a:pt x="1333" y="261"/>
                  <a:pt x="1336" y="270"/>
                  <a:pt x="1338" y="279"/>
                </a:cubicBezTo>
                <a:close/>
                <a:moveTo>
                  <a:pt x="1238" y="301"/>
                </a:moveTo>
                <a:cubicBezTo>
                  <a:pt x="1240" y="324"/>
                  <a:pt x="1242" y="347"/>
                  <a:pt x="1243" y="369"/>
                </a:cubicBezTo>
                <a:cubicBezTo>
                  <a:pt x="1242" y="373"/>
                  <a:pt x="1241" y="377"/>
                  <a:pt x="1240" y="381"/>
                </a:cubicBezTo>
                <a:cubicBezTo>
                  <a:pt x="1239" y="377"/>
                  <a:pt x="1237" y="373"/>
                  <a:pt x="1236" y="368"/>
                </a:cubicBezTo>
                <a:cubicBezTo>
                  <a:pt x="1236" y="346"/>
                  <a:pt x="1237" y="324"/>
                  <a:pt x="1238" y="301"/>
                </a:cubicBezTo>
                <a:close/>
                <a:moveTo>
                  <a:pt x="216" y="311"/>
                </a:moveTo>
                <a:cubicBezTo>
                  <a:pt x="217" y="314"/>
                  <a:pt x="217" y="316"/>
                  <a:pt x="217" y="318"/>
                </a:cubicBezTo>
                <a:cubicBezTo>
                  <a:pt x="219" y="340"/>
                  <a:pt x="220" y="361"/>
                  <a:pt x="222" y="383"/>
                </a:cubicBezTo>
                <a:cubicBezTo>
                  <a:pt x="220" y="375"/>
                  <a:pt x="217" y="367"/>
                  <a:pt x="215" y="359"/>
                </a:cubicBezTo>
                <a:cubicBezTo>
                  <a:pt x="215" y="343"/>
                  <a:pt x="216" y="327"/>
                  <a:pt x="216" y="311"/>
                </a:cubicBezTo>
                <a:close/>
                <a:moveTo>
                  <a:pt x="201" y="207"/>
                </a:moveTo>
                <a:cubicBezTo>
                  <a:pt x="209" y="223"/>
                  <a:pt x="213" y="254"/>
                  <a:pt x="214" y="281"/>
                </a:cubicBezTo>
                <a:cubicBezTo>
                  <a:pt x="211" y="296"/>
                  <a:pt x="207" y="311"/>
                  <a:pt x="204" y="325"/>
                </a:cubicBezTo>
                <a:cubicBezTo>
                  <a:pt x="202" y="320"/>
                  <a:pt x="201" y="315"/>
                  <a:pt x="199" y="310"/>
                </a:cubicBezTo>
                <a:cubicBezTo>
                  <a:pt x="199" y="309"/>
                  <a:pt x="198" y="311"/>
                  <a:pt x="198" y="312"/>
                </a:cubicBezTo>
                <a:cubicBezTo>
                  <a:pt x="199" y="319"/>
                  <a:pt x="200" y="327"/>
                  <a:pt x="202" y="335"/>
                </a:cubicBezTo>
                <a:cubicBezTo>
                  <a:pt x="200" y="343"/>
                  <a:pt x="198" y="352"/>
                  <a:pt x="196" y="361"/>
                </a:cubicBezTo>
                <a:cubicBezTo>
                  <a:pt x="197" y="310"/>
                  <a:pt x="198" y="258"/>
                  <a:pt x="201" y="207"/>
                </a:cubicBezTo>
                <a:close/>
                <a:moveTo>
                  <a:pt x="1395" y="355"/>
                </a:moveTo>
                <a:cubicBezTo>
                  <a:pt x="1393" y="333"/>
                  <a:pt x="1391" y="311"/>
                  <a:pt x="1389" y="290"/>
                </a:cubicBezTo>
                <a:cubicBezTo>
                  <a:pt x="1391" y="277"/>
                  <a:pt x="1395" y="264"/>
                  <a:pt x="1398" y="251"/>
                </a:cubicBezTo>
                <a:cubicBezTo>
                  <a:pt x="1397" y="286"/>
                  <a:pt x="1396" y="320"/>
                  <a:pt x="1395" y="355"/>
                </a:cubicBezTo>
                <a:close/>
                <a:moveTo>
                  <a:pt x="1592" y="332"/>
                </a:moveTo>
                <a:cubicBezTo>
                  <a:pt x="1590" y="327"/>
                  <a:pt x="1589" y="322"/>
                  <a:pt x="1587" y="317"/>
                </a:cubicBezTo>
                <a:cubicBezTo>
                  <a:pt x="1587" y="316"/>
                  <a:pt x="1586" y="318"/>
                  <a:pt x="1586" y="319"/>
                </a:cubicBezTo>
                <a:cubicBezTo>
                  <a:pt x="1587" y="326"/>
                  <a:pt x="1588" y="334"/>
                  <a:pt x="1590" y="342"/>
                </a:cubicBezTo>
                <a:cubicBezTo>
                  <a:pt x="1588" y="350"/>
                  <a:pt x="1585" y="359"/>
                  <a:pt x="1584" y="368"/>
                </a:cubicBezTo>
                <a:cubicBezTo>
                  <a:pt x="1585" y="317"/>
                  <a:pt x="1586" y="265"/>
                  <a:pt x="1589" y="214"/>
                </a:cubicBezTo>
                <a:cubicBezTo>
                  <a:pt x="1597" y="230"/>
                  <a:pt x="1600" y="261"/>
                  <a:pt x="1602" y="288"/>
                </a:cubicBezTo>
                <a:cubicBezTo>
                  <a:pt x="1599" y="303"/>
                  <a:pt x="1595" y="318"/>
                  <a:pt x="1592" y="332"/>
                </a:cubicBezTo>
                <a:close/>
                <a:moveTo>
                  <a:pt x="1610" y="390"/>
                </a:moveTo>
                <a:cubicBezTo>
                  <a:pt x="1608" y="382"/>
                  <a:pt x="1605" y="374"/>
                  <a:pt x="1602" y="366"/>
                </a:cubicBezTo>
                <a:cubicBezTo>
                  <a:pt x="1603" y="356"/>
                  <a:pt x="1603" y="347"/>
                  <a:pt x="1603" y="338"/>
                </a:cubicBezTo>
                <a:cubicBezTo>
                  <a:pt x="1603" y="337"/>
                  <a:pt x="1603" y="335"/>
                  <a:pt x="1602" y="334"/>
                </a:cubicBezTo>
                <a:cubicBezTo>
                  <a:pt x="1603" y="318"/>
                  <a:pt x="1603" y="303"/>
                  <a:pt x="1604" y="287"/>
                </a:cubicBezTo>
                <a:cubicBezTo>
                  <a:pt x="1604" y="289"/>
                  <a:pt x="1605" y="291"/>
                  <a:pt x="1605" y="293"/>
                </a:cubicBezTo>
                <a:cubicBezTo>
                  <a:pt x="1607" y="315"/>
                  <a:pt x="1608" y="337"/>
                  <a:pt x="1610" y="359"/>
                </a:cubicBezTo>
                <a:cubicBezTo>
                  <a:pt x="1609" y="355"/>
                  <a:pt x="1608" y="352"/>
                  <a:pt x="1607" y="348"/>
                </a:cubicBezTo>
                <a:cubicBezTo>
                  <a:pt x="1608" y="362"/>
                  <a:pt x="1609" y="376"/>
                  <a:pt x="1610" y="390"/>
                </a:cubicBezTo>
                <a:close/>
                <a:moveTo>
                  <a:pt x="1949" y="430"/>
                </a:moveTo>
                <a:cubicBezTo>
                  <a:pt x="1949" y="434"/>
                  <a:pt x="1948" y="438"/>
                  <a:pt x="1947" y="442"/>
                </a:cubicBezTo>
                <a:cubicBezTo>
                  <a:pt x="1945" y="438"/>
                  <a:pt x="1944" y="434"/>
                  <a:pt x="1942" y="429"/>
                </a:cubicBezTo>
                <a:cubicBezTo>
                  <a:pt x="1942" y="420"/>
                  <a:pt x="1943" y="410"/>
                  <a:pt x="1943" y="400"/>
                </a:cubicBezTo>
                <a:cubicBezTo>
                  <a:pt x="1943" y="399"/>
                  <a:pt x="1942" y="399"/>
                  <a:pt x="1942" y="398"/>
                </a:cubicBezTo>
                <a:cubicBezTo>
                  <a:pt x="1943" y="376"/>
                  <a:pt x="1943" y="353"/>
                  <a:pt x="1944" y="331"/>
                </a:cubicBezTo>
                <a:cubicBezTo>
                  <a:pt x="1947" y="353"/>
                  <a:pt x="1948" y="376"/>
                  <a:pt x="1949" y="399"/>
                </a:cubicBezTo>
                <a:cubicBezTo>
                  <a:pt x="1949" y="401"/>
                  <a:pt x="1949" y="403"/>
                  <a:pt x="1948" y="405"/>
                </a:cubicBezTo>
                <a:cubicBezTo>
                  <a:pt x="1949" y="414"/>
                  <a:pt x="1949" y="422"/>
                  <a:pt x="1949" y="430"/>
                </a:cubicBezTo>
                <a:close/>
                <a:moveTo>
                  <a:pt x="2273" y="278"/>
                </a:moveTo>
                <a:cubicBezTo>
                  <a:pt x="2272" y="273"/>
                  <a:pt x="2270" y="268"/>
                  <a:pt x="2269" y="263"/>
                </a:cubicBezTo>
                <a:cubicBezTo>
                  <a:pt x="2268" y="262"/>
                  <a:pt x="2267" y="264"/>
                  <a:pt x="2267" y="265"/>
                </a:cubicBezTo>
                <a:cubicBezTo>
                  <a:pt x="2269" y="273"/>
                  <a:pt x="2270" y="280"/>
                  <a:pt x="2271" y="288"/>
                </a:cubicBezTo>
                <a:cubicBezTo>
                  <a:pt x="2269" y="297"/>
                  <a:pt x="2267" y="305"/>
                  <a:pt x="2265" y="314"/>
                </a:cubicBezTo>
                <a:cubicBezTo>
                  <a:pt x="2266" y="263"/>
                  <a:pt x="2267" y="211"/>
                  <a:pt x="2270" y="161"/>
                </a:cubicBezTo>
                <a:cubicBezTo>
                  <a:pt x="2279" y="176"/>
                  <a:pt x="2282" y="207"/>
                  <a:pt x="2284" y="234"/>
                </a:cubicBezTo>
                <a:cubicBezTo>
                  <a:pt x="2280" y="249"/>
                  <a:pt x="2276" y="264"/>
                  <a:pt x="2273" y="278"/>
                </a:cubicBezTo>
                <a:close/>
                <a:moveTo>
                  <a:pt x="2284" y="312"/>
                </a:moveTo>
                <a:cubicBezTo>
                  <a:pt x="2284" y="296"/>
                  <a:pt x="2285" y="280"/>
                  <a:pt x="2286" y="264"/>
                </a:cubicBezTo>
                <a:cubicBezTo>
                  <a:pt x="2286" y="267"/>
                  <a:pt x="2286" y="269"/>
                  <a:pt x="2286" y="271"/>
                </a:cubicBezTo>
                <a:cubicBezTo>
                  <a:pt x="2288" y="293"/>
                  <a:pt x="2290" y="314"/>
                  <a:pt x="2291" y="336"/>
                </a:cubicBezTo>
                <a:cubicBezTo>
                  <a:pt x="2289" y="328"/>
                  <a:pt x="2286" y="320"/>
                  <a:pt x="2284" y="312"/>
                </a:cubicBezTo>
                <a:close/>
                <a:moveTo>
                  <a:pt x="2437" y="264"/>
                </a:moveTo>
                <a:cubicBezTo>
                  <a:pt x="2437" y="309"/>
                  <a:pt x="2436" y="354"/>
                  <a:pt x="2434" y="400"/>
                </a:cubicBezTo>
                <a:cubicBezTo>
                  <a:pt x="2431" y="366"/>
                  <a:pt x="2428" y="333"/>
                  <a:pt x="2423" y="301"/>
                </a:cubicBezTo>
                <a:cubicBezTo>
                  <a:pt x="2428" y="281"/>
                  <a:pt x="2433" y="261"/>
                  <a:pt x="2438" y="242"/>
                </a:cubicBezTo>
                <a:cubicBezTo>
                  <a:pt x="2438" y="249"/>
                  <a:pt x="2438" y="257"/>
                  <a:pt x="2437" y="264"/>
                </a:cubicBezTo>
                <a:close/>
                <a:moveTo>
                  <a:pt x="2628" y="388"/>
                </a:moveTo>
                <a:cubicBezTo>
                  <a:pt x="2627" y="384"/>
                  <a:pt x="2625" y="380"/>
                  <a:pt x="2623" y="375"/>
                </a:cubicBezTo>
                <a:cubicBezTo>
                  <a:pt x="2624" y="353"/>
                  <a:pt x="2625" y="331"/>
                  <a:pt x="2626" y="308"/>
                </a:cubicBezTo>
                <a:cubicBezTo>
                  <a:pt x="2628" y="331"/>
                  <a:pt x="2630" y="354"/>
                  <a:pt x="2631" y="376"/>
                </a:cubicBezTo>
                <a:cubicBezTo>
                  <a:pt x="2630" y="380"/>
                  <a:pt x="2629" y="384"/>
                  <a:pt x="2628" y="388"/>
                </a:cubicBezTo>
                <a:close/>
                <a:moveTo>
                  <a:pt x="2722" y="311"/>
                </a:moveTo>
                <a:cubicBezTo>
                  <a:pt x="2722" y="304"/>
                  <a:pt x="2721" y="297"/>
                  <a:pt x="2721" y="290"/>
                </a:cubicBezTo>
                <a:cubicBezTo>
                  <a:pt x="2722" y="294"/>
                  <a:pt x="2723" y="298"/>
                  <a:pt x="2723" y="302"/>
                </a:cubicBezTo>
                <a:cubicBezTo>
                  <a:pt x="2723" y="305"/>
                  <a:pt x="2722" y="308"/>
                  <a:pt x="2722" y="311"/>
                </a:cubicBezTo>
                <a:close/>
                <a:moveTo>
                  <a:pt x="2749" y="283"/>
                </a:moveTo>
                <a:cubicBezTo>
                  <a:pt x="2747" y="278"/>
                  <a:pt x="2745" y="273"/>
                  <a:pt x="2742" y="267"/>
                </a:cubicBezTo>
                <a:cubicBezTo>
                  <a:pt x="2743" y="246"/>
                  <a:pt x="2744" y="224"/>
                  <a:pt x="2744" y="203"/>
                </a:cubicBezTo>
                <a:cubicBezTo>
                  <a:pt x="2748" y="233"/>
                  <a:pt x="2751" y="263"/>
                  <a:pt x="2753" y="293"/>
                </a:cubicBezTo>
                <a:cubicBezTo>
                  <a:pt x="2751" y="290"/>
                  <a:pt x="2750" y="286"/>
                  <a:pt x="2749" y="283"/>
                </a:cubicBezTo>
                <a:close/>
                <a:moveTo>
                  <a:pt x="2775" y="354"/>
                </a:moveTo>
                <a:cubicBezTo>
                  <a:pt x="2774" y="343"/>
                  <a:pt x="2773" y="332"/>
                  <a:pt x="2772" y="321"/>
                </a:cubicBezTo>
                <a:cubicBezTo>
                  <a:pt x="2773" y="312"/>
                  <a:pt x="2775" y="305"/>
                  <a:pt x="2777" y="297"/>
                </a:cubicBezTo>
                <a:cubicBezTo>
                  <a:pt x="2776" y="316"/>
                  <a:pt x="2775" y="335"/>
                  <a:pt x="2775" y="354"/>
                </a:cubicBezTo>
                <a:close/>
                <a:moveTo>
                  <a:pt x="2972" y="332"/>
                </a:moveTo>
                <a:cubicBezTo>
                  <a:pt x="2970" y="327"/>
                  <a:pt x="2969" y="322"/>
                  <a:pt x="2967" y="317"/>
                </a:cubicBezTo>
                <a:cubicBezTo>
                  <a:pt x="2967" y="315"/>
                  <a:pt x="2966" y="317"/>
                  <a:pt x="2966" y="318"/>
                </a:cubicBezTo>
                <a:cubicBezTo>
                  <a:pt x="2967" y="326"/>
                  <a:pt x="2968" y="334"/>
                  <a:pt x="2969" y="341"/>
                </a:cubicBezTo>
                <a:cubicBezTo>
                  <a:pt x="2967" y="350"/>
                  <a:pt x="2965" y="359"/>
                  <a:pt x="2964" y="367"/>
                </a:cubicBezTo>
                <a:cubicBezTo>
                  <a:pt x="2965" y="316"/>
                  <a:pt x="2966" y="265"/>
                  <a:pt x="2969" y="214"/>
                </a:cubicBezTo>
                <a:cubicBezTo>
                  <a:pt x="2977" y="229"/>
                  <a:pt x="2980" y="260"/>
                  <a:pt x="2982" y="288"/>
                </a:cubicBezTo>
                <a:cubicBezTo>
                  <a:pt x="2979" y="302"/>
                  <a:pt x="2975" y="317"/>
                  <a:pt x="2972" y="332"/>
                </a:cubicBezTo>
                <a:close/>
                <a:moveTo>
                  <a:pt x="2982" y="365"/>
                </a:moveTo>
                <a:cubicBezTo>
                  <a:pt x="2983" y="349"/>
                  <a:pt x="2983" y="333"/>
                  <a:pt x="2984" y="318"/>
                </a:cubicBezTo>
                <a:cubicBezTo>
                  <a:pt x="2984" y="320"/>
                  <a:pt x="2985" y="322"/>
                  <a:pt x="2985" y="324"/>
                </a:cubicBezTo>
                <a:cubicBezTo>
                  <a:pt x="2987" y="346"/>
                  <a:pt x="2988" y="368"/>
                  <a:pt x="2990" y="390"/>
                </a:cubicBezTo>
                <a:cubicBezTo>
                  <a:pt x="2987" y="381"/>
                  <a:pt x="2985" y="373"/>
                  <a:pt x="2982" y="365"/>
                </a:cubicBezTo>
                <a:close/>
                <a:moveTo>
                  <a:pt x="3136" y="317"/>
                </a:moveTo>
                <a:cubicBezTo>
                  <a:pt x="3135" y="362"/>
                  <a:pt x="3134" y="408"/>
                  <a:pt x="3132" y="453"/>
                </a:cubicBezTo>
                <a:cubicBezTo>
                  <a:pt x="3130" y="419"/>
                  <a:pt x="3126" y="386"/>
                  <a:pt x="3122" y="355"/>
                </a:cubicBezTo>
                <a:cubicBezTo>
                  <a:pt x="3126" y="334"/>
                  <a:pt x="3131" y="314"/>
                  <a:pt x="3137" y="295"/>
                </a:cubicBezTo>
                <a:cubicBezTo>
                  <a:pt x="3136" y="303"/>
                  <a:pt x="3136" y="310"/>
                  <a:pt x="3136" y="317"/>
                </a:cubicBezTo>
                <a:close/>
                <a:moveTo>
                  <a:pt x="3327" y="441"/>
                </a:moveTo>
                <a:cubicBezTo>
                  <a:pt x="3325" y="437"/>
                  <a:pt x="3324" y="433"/>
                  <a:pt x="3322" y="429"/>
                </a:cubicBezTo>
                <a:cubicBezTo>
                  <a:pt x="3323" y="406"/>
                  <a:pt x="3323" y="384"/>
                  <a:pt x="3324" y="362"/>
                </a:cubicBezTo>
                <a:cubicBezTo>
                  <a:pt x="3327" y="384"/>
                  <a:pt x="3328" y="407"/>
                  <a:pt x="3329" y="430"/>
                </a:cubicBezTo>
                <a:cubicBezTo>
                  <a:pt x="3328" y="434"/>
                  <a:pt x="3328" y="438"/>
                  <a:pt x="3327" y="441"/>
                </a:cubicBezTo>
                <a:close/>
                <a:moveTo>
                  <a:pt x="3653" y="278"/>
                </a:moveTo>
                <a:cubicBezTo>
                  <a:pt x="3651" y="273"/>
                  <a:pt x="3650" y="268"/>
                  <a:pt x="3649" y="263"/>
                </a:cubicBezTo>
                <a:cubicBezTo>
                  <a:pt x="3648" y="261"/>
                  <a:pt x="3647" y="263"/>
                  <a:pt x="3647" y="264"/>
                </a:cubicBezTo>
                <a:cubicBezTo>
                  <a:pt x="3649" y="272"/>
                  <a:pt x="3650" y="280"/>
                  <a:pt x="3651" y="287"/>
                </a:cubicBezTo>
                <a:cubicBezTo>
                  <a:pt x="3649" y="296"/>
                  <a:pt x="3647" y="305"/>
                  <a:pt x="3645" y="313"/>
                </a:cubicBezTo>
                <a:cubicBezTo>
                  <a:pt x="3646" y="262"/>
                  <a:pt x="3647" y="211"/>
                  <a:pt x="3650" y="160"/>
                </a:cubicBezTo>
                <a:cubicBezTo>
                  <a:pt x="3659" y="175"/>
                  <a:pt x="3662" y="206"/>
                  <a:pt x="3664" y="234"/>
                </a:cubicBezTo>
                <a:cubicBezTo>
                  <a:pt x="3660" y="249"/>
                  <a:pt x="3656" y="263"/>
                  <a:pt x="3653" y="278"/>
                </a:cubicBezTo>
                <a:close/>
                <a:moveTo>
                  <a:pt x="3664" y="311"/>
                </a:moveTo>
                <a:cubicBezTo>
                  <a:pt x="3664" y="295"/>
                  <a:pt x="3665" y="280"/>
                  <a:pt x="3666" y="264"/>
                </a:cubicBezTo>
                <a:cubicBezTo>
                  <a:pt x="3666" y="266"/>
                  <a:pt x="3666" y="268"/>
                  <a:pt x="3666" y="270"/>
                </a:cubicBezTo>
                <a:cubicBezTo>
                  <a:pt x="3668" y="292"/>
                  <a:pt x="3670" y="314"/>
                  <a:pt x="3671" y="336"/>
                </a:cubicBezTo>
                <a:cubicBezTo>
                  <a:pt x="3669" y="327"/>
                  <a:pt x="3666" y="319"/>
                  <a:pt x="3664" y="311"/>
                </a:cubicBezTo>
                <a:close/>
                <a:moveTo>
                  <a:pt x="3817" y="263"/>
                </a:moveTo>
                <a:cubicBezTo>
                  <a:pt x="3817" y="309"/>
                  <a:pt x="3815" y="354"/>
                  <a:pt x="3814" y="399"/>
                </a:cubicBezTo>
                <a:cubicBezTo>
                  <a:pt x="3811" y="365"/>
                  <a:pt x="3808" y="333"/>
                  <a:pt x="3803" y="301"/>
                </a:cubicBezTo>
                <a:cubicBezTo>
                  <a:pt x="3808" y="280"/>
                  <a:pt x="3813" y="260"/>
                  <a:pt x="3818" y="241"/>
                </a:cubicBezTo>
                <a:cubicBezTo>
                  <a:pt x="3818" y="249"/>
                  <a:pt x="3817" y="256"/>
                  <a:pt x="3817" y="263"/>
                </a:cubicBezTo>
                <a:close/>
                <a:moveTo>
                  <a:pt x="4008" y="387"/>
                </a:moveTo>
                <a:cubicBezTo>
                  <a:pt x="4007" y="383"/>
                  <a:pt x="4005" y="379"/>
                  <a:pt x="4003" y="375"/>
                </a:cubicBezTo>
                <a:cubicBezTo>
                  <a:pt x="4004" y="353"/>
                  <a:pt x="4005" y="330"/>
                  <a:pt x="4006" y="308"/>
                </a:cubicBezTo>
                <a:cubicBezTo>
                  <a:pt x="4008" y="330"/>
                  <a:pt x="4010" y="353"/>
                  <a:pt x="4011" y="376"/>
                </a:cubicBezTo>
                <a:cubicBezTo>
                  <a:pt x="4010" y="380"/>
                  <a:pt x="4009" y="384"/>
                  <a:pt x="4008" y="387"/>
                </a:cubicBezTo>
                <a:close/>
                <a:moveTo>
                  <a:pt x="4102" y="311"/>
                </a:moveTo>
                <a:cubicBezTo>
                  <a:pt x="4101" y="303"/>
                  <a:pt x="4101" y="294"/>
                  <a:pt x="4101" y="286"/>
                </a:cubicBezTo>
                <a:cubicBezTo>
                  <a:pt x="4102" y="291"/>
                  <a:pt x="4103" y="296"/>
                  <a:pt x="4104" y="300"/>
                </a:cubicBezTo>
                <a:cubicBezTo>
                  <a:pt x="4103" y="304"/>
                  <a:pt x="4102" y="307"/>
                  <a:pt x="4102" y="311"/>
                </a:cubicBezTo>
                <a:close/>
                <a:moveTo>
                  <a:pt x="4129" y="280"/>
                </a:moveTo>
                <a:cubicBezTo>
                  <a:pt x="4127" y="275"/>
                  <a:pt x="4125" y="270"/>
                  <a:pt x="4122" y="264"/>
                </a:cubicBezTo>
                <a:cubicBezTo>
                  <a:pt x="4123" y="243"/>
                  <a:pt x="4124" y="222"/>
                  <a:pt x="4125" y="201"/>
                </a:cubicBezTo>
                <a:cubicBezTo>
                  <a:pt x="4128" y="230"/>
                  <a:pt x="4131" y="260"/>
                  <a:pt x="4133" y="291"/>
                </a:cubicBezTo>
                <a:cubicBezTo>
                  <a:pt x="4131" y="287"/>
                  <a:pt x="4130" y="283"/>
                  <a:pt x="4129" y="280"/>
                </a:cubicBezTo>
                <a:close/>
                <a:moveTo>
                  <a:pt x="4155" y="352"/>
                </a:moveTo>
                <a:cubicBezTo>
                  <a:pt x="4154" y="341"/>
                  <a:pt x="4153" y="330"/>
                  <a:pt x="4152" y="319"/>
                </a:cubicBezTo>
                <a:cubicBezTo>
                  <a:pt x="4153" y="312"/>
                  <a:pt x="4155" y="304"/>
                  <a:pt x="4156" y="297"/>
                </a:cubicBezTo>
                <a:cubicBezTo>
                  <a:pt x="4156" y="315"/>
                  <a:pt x="4155" y="333"/>
                  <a:pt x="4155" y="352"/>
                </a:cubicBezTo>
                <a:close/>
                <a:moveTo>
                  <a:pt x="4352" y="329"/>
                </a:moveTo>
                <a:cubicBezTo>
                  <a:pt x="4350" y="324"/>
                  <a:pt x="4349" y="319"/>
                  <a:pt x="4347" y="314"/>
                </a:cubicBezTo>
                <a:cubicBezTo>
                  <a:pt x="4347" y="312"/>
                  <a:pt x="4346" y="314"/>
                  <a:pt x="4346" y="315"/>
                </a:cubicBezTo>
                <a:cubicBezTo>
                  <a:pt x="4347" y="323"/>
                  <a:pt x="4348" y="331"/>
                  <a:pt x="4349" y="338"/>
                </a:cubicBezTo>
                <a:cubicBezTo>
                  <a:pt x="4347" y="347"/>
                  <a:pt x="4345" y="356"/>
                  <a:pt x="4343" y="364"/>
                </a:cubicBezTo>
                <a:cubicBezTo>
                  <a:pt x="4345" y="313"/>
                  <a:pt x="4346" y="262"/>
                  <a:pt x="4349" y="211"/>
                </a:cubicBezTo>
                <a:cubicBezTo>
                  <a:pt x="4357" y="226"/>
                  <a:pt x="4360" y="257"/>
                  <a:pt x="4362" y="285"/>
                </a:cubicBezTo>
                <a:cubicBezTo>
                  <a:pt x="4359" y="300"/>
                  <a:pt x="4355" y="314"/>
                  <a:pt x="4352" y="329"/>
                </a:cubicBezTo>
                <a:close/>
                <a:moveTo>
                  <a:pt x="4362" y="362"/>
                </a:moveTo>
                <a:cubicBezTo>
                  <a:pt x="4363" y="346"/>
                  <a:pt x="4363" y="331"/>
                  <a:pt x="4364" y="315"/>
                </a:cubicBezTo>
                <a:cubicBezTo>
                  <a:pt x="4364" y="317"/>
                  <a:pt x="4364" y="319"/>
                  <a:pt x="4365" y="321"/>
                </a:cubicBezTo>
                <a:cubicBezTo>
                  <a:pt x="4367" y="343"/>
                  <a:pt x="4368" y="365"/>
                  <a:pt x="4370" y="387"/>
                </a:cubicBezTo>
                <a:cubicBezTo>
                  <a:pt x="4367" y="378"/>
                  <a:pt x="4365" y="370"/>
                  <a:pt x="4362" y="362"/>
                </a:cubicBezTo>
                <a:close/>
                <a:moveTo>
                  <a:pt x="4516" y="314"/>
                </a:moveTo>
                <a:cubicBezTo>
                  <a:pt x="4515" y="360"/>
                  <a:pt x="4514" y="405"/>
                  <a:pt x="4512" y="450"/>
                </a:cubicBezTo>
                <a:cubicBezTo>
                  <a:pt x="4510" y="416"/>
                  <a:pt x="4506" y="384"/>
                  <a:pt x="4502" y="352"/>
                </a:cubicBezTo>
                <a:cubicBezTo>
                  <a:pt x="4506" y="331"/>
                  <a:pt x="4511" y="311"/>
                  <a:pt x="4517" y="292"/>
                </a:cubicBezTo>
                <a:cubicBezTo>
                  <a:pt x="4516" y="300"/>
                  <a:pt x="4516" y="307"/>
                  <a:pt x="4516" y="314"/>
                </a:cubicBezTo>
                <a:close/>
                <a:moveTo>
                  <a:pt x="4707" y="438"/>
                </a:moveTo>
                <a:cubicBezTo>
                  <a:pt x="4705" y="434"/>
                  <a:pt x="4704" y="430"/>
                  <a:pt x="4702" y="426"/>
                </a:cubicBezTo>
                <a:cubicBezTo>
                  <a:pt x="4703" y="404"/>
                  <a:pt x="4703" y="381"/>
                  <a:pt x="4704" y="359"/>
                </a:cubicBezTo>
                <a:cubicBezTo>
                  <a:pt x="4707" y="381"/>
                  <a:pt x="4708" y="404"/>
                  <a:pt x="4709" y="427"/>
                </a:cubicBezTo>
                <a:cubicBezTo>
                  <a:pt x="4708" y="431"/>
                  <a:pt x="4708" y="435"/>
                  <a:pt x="4707" y="438"/>
                </a:cubicBezTo>
                <a:close/>
                <a:moveTo>
                  <a:pt x="5033" y="275"/>
                </a:moveTo>
                <a:cubicBezTo>
                  <a:pt x="5031" y="270"/>
                  <a:pt x="5030" y="265"/>
                  <a:pt x="5028" y="260"/>
                </a:cubicBezTo>
                <a:cubicBezTo>
                  <a:pt x="5028" y="258"/>
                  <a:pt x="5027" y="260"/>
                  <a:pt x="5027" y="261"/>
                </a:cubicBezTo>
                <a:cubicBezTo>
                  <a:pt x="5028" y="269"/>
                  <a:pt x="5030" y="277"/>
                  <a:pt x="5031" y="284"/>
                </a:cubicBezTo>
                <a:cubicBezTo>
                  <a:pt x="5029" y="293"/>
                  <a:pt x="5027" y="302"/>
                  <a:pt x="5025" y="310"/>
                </a:cubicBezTo>
                <a:cubicBezTo>
                  <a:pt x="5026" y="259"/>
                  <a:pt x="5027" y="208"/>
                  <a:pt x="5030" y="157"/>
                </a:cubicBezTo>
                <a:cubicBezTo>
                  <a:pt x="5039" y="172"/>
                  <a:pt x="5042" y="203"/>
                  <a:pt x="5044" y="231"/>
                </a:cubicBezTo>
                <a:cubicBezTo>
                  <a:pt x="5040" y="246"/>
                  <a:pt x="5036" y="260"/>
                  <a:pt x="5033" y="275"/>
                </a:cubicBezTo>
                <a:close/>
                <a:moveTo>
                  <a:pt x="5044" y="309"/>
                </a:moveTo>
                <a:cubicBezTo>
                  <a:pt x="5044" y="293"/>
                  <a:pt x="5045" y="277"/>
                  <a:pt x="5045" y="261"/>
                </a:cubicBezTo>
                <a:cubicBezTo>
                  <a:pt x="5046" y="263"/>
                  <a:pt x="5046" y="265"/>
                  <a:pt x="5046" y="268"/>
                </a:cubicBezTo>
                <a:cubicBezTo>
                  <a:pt x="5048" y="289"/>
                  <a:pt x="5049" y="311"/>
                  <a:pt x="5051" y="333"/>
                </a:cubicBezTo>
                <a:cubicBezTo>
                  <a:pt x="5049" y="324"/>
                  <a:pt x="5046" y="316"/>
                  <a:pt x="5044" y="309"/>
                </a:cubicBezTo>
                <a:close/>
              </a:path>
            </a:pathLst>
          </a:custGeom>
          <a:solidFill>
            <a:schemeClr val="accent5">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47" name="TextBox 23">
            <a:extLst>
              <a:ext uri="{FF2B5EF4-FFF2-40B4-BE49-F238E27FC236}">
                <a16:creationId xmlns:a16="http://schemas.microsoft.com/office/drawing/2014/main" id="{9B1BB56B-98B2-4CC9-8305-8BE2EFD21B31}"/>
              </a:ext>
            </a:extLst>
          </p:cNvPr>
          <p:cNvSpPr txBox="1"/>
          <p:nvPr/>
        </p:nvSpPr>
        <p:spPr>
          <a:xfrm>
            <a:off x="1404328" y="1904353"/>
            <a:ext cx="6317672" cy="15696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800" b="1" i="0" u="none" strike="noStrike" kern="1200" cap="none" spc="0" normalizeH="0" baseline="0" noProof="0" dirty="0">
                <a:ln>
                  <a:noFill/>
                </a:ln>
                <a:solidFill>
                  <a:srgbClr val="FFD229"/>
                </a:solidFill>
                <a:effectLst/>
                <a:uLnTx/>
                <a:uFillTx/>
                <a:latin typeface="等线 Light" panose="020F0302020204030204"/>
                <a:ea typeface="+mn-ea"/>
                <a:cs typeface="+mn-cs"/>
              </a:rPr>
              <a:t>INFOGRAPHIC</a:t>
            </a:r>
            <a:r>
              <a:rPr kumimoji="0" lang="en-US" sz="4800" b="1" i="0" u="none" strike="noStrike" kern="1200" cap="none" spc="0" normalizeH="0" baseline="0" noProof="0" dirty="0">
                <a:ln>
                  <a:noFill/>
                </a:ln>
                <a:solidFill>
                  <a:srgbClr val="FFD229"/>
                </a:solidFill>
                <a:effectLst/>
                <a:uLnTx/>
                <a:uFillTx/>
                <a:latin typeface="等线" panose="020F0502020204030204"/>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800" b="1" i="0" u="none" strike="noStrike" kern="1200" cap="none" spc="0" normalizeH="0" baseline="0" noProof="0" dirty="0">
                <a:ln>
                  <a:noFill/>
                </a:ln>
                <a:solidFill>
                  <a:srgbClr val="8F38FF"/>
                </a:solidFill>
                <a:effectLst/>
                <a:uLnTx/>
                <a:uFillTx/>
                <a:latin typeface="等线 Light" panose="020F0302020204030204"/>
                <a:ea typeface="+mn-ea"/>
                <a:cs typeface="+mn-cs"/>
              </a:rPr>
              <a:t>TREE</a:t>
            </a:r>
          </a:p>
        </p:txBody>
      </p:sp>
      <p:cxnSp>
        <p:nvCxnSpPr>
          <p:cNvPr id="48" name="Straight Connector 25">
            <a:extLst>
              <a:ext uri="{FF2B5EF4-FFF2-40B4-BE49-F238E27FC236}">
                <a16:creationId xmlns:a16="http://schemas.microsoft.com/office/drawing/2014/main" id="{D0B9DEE7-0B21-4979-983C-481E8F66E5F1}"/>
              </a:ext>
            </a:extLst>
          </p:cNvPr>
          <p:cNvCxnSpPr>
            <a:cxnSpLocks/>
          </p:cNvCxnSpPr>
          <p:nvPr/>
        </p:nvCxnSpPr>
        <p:spPr>
          <a:xfrm>
            <a:off x="1537853" y="3440664"/>
            <a:ext cx="4558147"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sp>
        <p:nvSpPr>
          <p:cNvPr id="49" name="Rectangle 26">
            <a:extLst>
              <a:ext uri="{FF2B5EF4-FFF2-40B4-BE49-F238E27FC236}">
                <a16:creationId xmlns:a16="http://schemas.microsoft.com/office/drawing/2014/main" id="{D055E21B-A5E9-49B0-8657-96D6861E70ED}"/>
              </a:ext>
            </a:extLst>
          </p:cNvPr>
          <p:cNvSpPr/>
          <p:nvPr/>
        </p:nvSpPr>
        <p:spPr>
          <a:xfrm>
            <a:off x="1431079" y="3510923"/>
            <a:ext cx="4215135" cy="791692"/>
          </a:xfrm>
          <a:prstGeom prst="rect">
            <a:avLst/>
          </a:prstGeom>
        </p:spPr>
        <p:txBody>
          <a:bodyPr wrap="square">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600" b="0" i="1" u="none" strike="noStrike" kern="1200" cap="none" spc="0" normalizeH="0" baseline="0" noProof="0" dirty="0">
                <a:ln>
                  <a:noFill/>
                </a:ln>
                <a:solidFill>
                  <a:srgbClr val="000000">
                    <a:lumMod val="50000"/>
                    <a:lumOff val="50000"/>
                  </a:srgbClr>
                </a:solidFill>
                <a:effectLst/>
                <a:uLnTx/>
                <a:uFillTx/>
                <a:latin typeface="等线" panose="020F0502020204030204"/>
                <a:ea typeface="+mn-ea"/>
                <a:cs typeface="+mn-cs"/>
              </a:rPr>
              <a:t>Lorem Ipsum is simply dummy text of the printing and typesetting industry. </a:t>
            </a:r>
          </a:p>
        </p:txBody>
      </p:sp>
    </p:spTree>
    <p:extLst>
      <p:ext uri="{BB962C8B-B14F-4D97-AF65-F5344CB8AC3E}">
        <p14:creationId xmlns:p14="http://schemas.microsoft.com/office/powerpoint/2010/main" val="2472695859"/>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47"/>
                                        </p:tgtEl>
                                        <p:attrNameLst>
                                          <p:attrName>style.visibility</p:attrName>
                                        </p:attrNameLst>
                                      </p:cBhvr>
                                      <p:to>
                                        <p:strVal val="visible"/>
                                      </p:to>
                                    </p:set>
                                    <p:animEffect transition="in" filter="wipe(left)">
                                      <p:cBhvr>
                                        <p:cTn id="7" dur="500"/>
                                        <p:tgtEl>
                                          <p:spTgt spid="47"/>
                                        </p:tgtEl>
                                      </p:cBhvr>
                                    </p:animEffect>
                                  </p:childTnLst>
                                </p:cTn>
                              </p:par>
                            </p:childTnLst>
                          </p:cTn>
                        </p:par>
                        <p:par>
                          <p:cTn id="8" fill="hold">
                            <p:stCondLst>
                              <p:cond delay="500"/>
                            </p:stCondLst>
                            <p:childTnLst>
                              <p:par>
                                <p:cTn id="9" presetID="22" presetClass="entr" presetSubtype="8" fill="hold" nodeType="afterEffect">
                                  <p:stCondLst>
                                    <p:cond delay="0"/>
                                  </p:stCondLst>
                                  <p:childTnLst>
                                    <p:set>
                                      <p:cBhvr>
                                        <p:cTn id="10" dur="1" fill="hold">
                                          <p:stCondLst>
                                            <p:cond delay="0"/>
                                          </p:stCondLst>
                                        </p:cTn>
                                        <p:tgtEl>
                                          <p:spTgt spid="48"/>
                                        </p:tgtEl>
                                        <p:attrNameLst>
                                          <p:attrName>style.visibility</p:attrName>
                                        </p:attrNameLst>
                                      </p:cBhvr>
                                      <p:to>
                                        <p:strVal val="visible"/>
                                      </p:to>
                                    </p:set>
                                    <p:animEffect transition="in" filter="wipe(left)">
                                      <p:cBhvr>
                                        <p:cTn id="11" dur="500"/>
                                        <p:tgtEl>
                                          <p:spTgt spid="48"/>
                                        </p:tgtEl>
                                      </p:cBhvr>
                                    </p:animEffect>
                                  </p:childTnLst>
                                </p:cTn>
                              </p:par>
                            </p:childTnLst>
                          </p:cTn>
                        </p:par>
                        <p:par>
                          <p:cTn id="12" fill="hold">
                            <p:stCondLst>
                              <p:cond delay="1000"/>
                            </p:stCondLst>
                            <p:childTnLst>
                              <p:par>
                                <p:cTn id="13" presetID="42" presetClass="entr" presetSubtype="0" fill="hold" grpId="0" nodeType="afterEffect">
                                  <p:stCondLst>
                                    <p:cond delay="0"/>
                                  </p:stCondLst>
                                  <p:childTnLst>
                                    <p:set>
                                      <p:cBhvr>
                                        <p:cTn id="14" dur="1" fill="hold">
                                          <p:stCondLst>
                                            <p:cond delay="0"/>
                                          </p:stCondLst>
                                        </p:cTn>
                                        <p:tgtEl>
                                          <p:spTgt spid="49"/>
                                        </p:tgtEl>
                                        <p:attrNameLst>
                                          <p:attrName>style.visibility</p:attrName>
                                        </p:attrNameLst>
                                      </p:cBhvr>
                                      <p:to>
                                        <p:strVal val="visible"/>
                                      </p:to>
                                    </p:set>
                                    <p:animEffect transition="in" filter="fade">
                                      <p:cBhvr>
                                        <p:cTn id="15" dur="500"/>
                                        <p:tgtEl>
                                          <p:spTgt spid="49"/>
                                        </p:tgtEl>
                                      </p:cBhvr>
                                    </p:animEffect>
                                    <p:anim calcmode="lin" valueType="num">
                                      <p:cBhvr>
                                        <p:cTn id="16" dur="500" fill="hold"/>
                                        <p:tgtEl>
                                          <p:spTgt spid="49"/>
                                        </p:tgtEl>
                                        <p:attrNameLst>
                                          <p:attrName>ppt_x</p:attrName>
                                        </p:attrNameLst>
                                      </p:cBhvr>
                                      <p:tavLst>
                                        <p:tav tm="0">
                                          <p:val>
                                            <p:strVal val="#ppt_x"/>
                                          </p:val>
                                        </p:tav>
                                        <p:tav tm="100000">
                                          <p:val>
                                            <p:strVal val="#ppt_x"/>
                                          </p:val>
                                        </p:tav>
                                      </p:tavLst>
                                    </p:anim>
                                    <p:anim calcmode="lin" valueType="num">
                                      <p:cBhvr>
                                        <p:cTn id="17" dur="500" fill="hold"/>
                                        <p:tgtEl>
                                          <p:spTgt spid="49"/>
                                        </p:tgtEl>
                                        <p:attrNameLst>
                                          <p:attrName>ppt_y</p:attrName>
                                        </p:attrNameLst>
                                      </p:cBhvr>
                                      <p:tavLst>
                                        <p:tav tm="0">
                                          <p:val>
                                            <p:strVal val="#ppt_y+.1"/>
                                          </p:val>
                                        </p:tav>
                                        <p:tav tm="100000">
                                          <p:val>
                                            <p:strVal val="#ppt_y"/>
                                          </p:val>
                                        </p:tav>
                                      </p:tavLst>
                                    </p:anim>
                                  </p:childTnLst>
                                </p:cTn>
                              </p:par>
                            </p:childTnLst>
                          </p:cTn>
                        </p:par>
                        <p:par>
                          <p:cTn id="18" fill="hold">
                            <p:stCondLst>
                              <p:cond delay="1500"/>
                            </p:stCondLst>
                            <p:childTnLst>
                              <p:par>
                                <p:cTn id="19" presetID="22" presetClass="entr" presetSubtype="4" fill="hold" grpId="0" nodeType="afterEffect">
                                  <p:stCondLst>
                                    <p:cond delay="0"/>
                                  </p:stCondLst>
                                  <p:childTnLst>
                                    <p:set>
                                      <p:cBhvr>
                                        <p:cTn id="20" dur="1" fill="hold">
                                          <p:stCondLst>
                                            <p:cond delay="0"/>
                                          </p:stCondLst>
                                        </p:cTn>
                                        <p:tgtEl>
                                          <p:spTgt spid="46"/>
                                        </p:tgtEl>
                                        <p:attrNameLst>
                                          <p:attrName>style.visibility</p:attrName>
                                        </p:attrNameLst>
                                      </p:cBhvr>
                                      <p:to>
                                        <p:strVal val="visible"/>
                                      </p:to>
                                    </p:set>
                                    <p:animEffect transition="in" filter="wipe(down)">
                                      <p:cBhvr>
                                        <p:cTn id="21" dur="500"/>
                                        <p:tgtEl>
                                          <p:spTgt spid="46"/>
                                        </p:tgtEl>
                                      </p:cBhvr>
                                    </p:animEffect>
                                  </p:childTnLst>
                                </p:cTn>
                              </p:par>
                            </p:childTnLst>
                          </p:cTn>
                        </p:par>
                        <p:par>
                          <p:cTn id="22" fill="hold">
                            <p:stCondLst>
                              <p:cond delay="2000"/>
                            </p:stCondLst>
                            <p:childTnLst>
                              <p:par>
                                <p:cTn id="23" presetID="22" presetClass="entr" presetSubtype="4" fill="hold" nodeType="afterEffect">
                                  <p:stCondLst>
                                    <p:cond delay="0"/>
                                  </p:stCondLst>
                                  <p:childTnLst>
                                    <p:set>
                                      <p:cBhvr>
                                        <p:cTn id="24" dur="1" fill="hold">
                                          <p:stCondLst>
                                            <p:cond delay="0"/>
                                          </p:stCondLst>
                                        </p:cTn>
                                        <p:tgtEl>
                                          <p:spTgt spid="26"/>
                                        </p:tgtEl>
                                        <p:attrNameLst>
                                          <p:attrName>style.visibility</p:attrName>
                                        </p:attrNameLst>
                                      </p:cBhvr>
                                      <p:to>
                                        <p:strVal val="visible"/>
                                      </p:to>
                                    </p:set>
                                    <p:animEffect transition="in" filter="wipe(down)">
                                      <p:cBhvr>
                                        <p:cTn id="25" dur="5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6" grpId="0" animBg="1"/>
      <p:bldP spid="47" grpId="0"/>
      <p:bldP spid="49" grpId="0"/>
    </p:bldLst>
  </p:timing>
</p:sld>
</file>

<file path=ppt/slides/slide6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9BD1A58D-96A8-4D20-9C15-CDB5DC7C35DD}"/>
              </a:ext>
            </a:extLst>
          </p:cNvPr>
          <p:cNvGrpSpPr/>
          <p:nvPr/>
        </p:nvGrpSpPr>
        <p:grpSpPr>
          <a:xfrm>
            <a:off x="6243720" y="2311258"/>
            <a:ext cx="5566685" cy="4546745"/>
            <a:chOff x="5054096" y="1471628"/>
            <a:chExt cx="6594659" cy="5386372"/>
          </a:xfrm>
        </p:grpSpPr>
        <p:sp>
          <p:nvSpPr>
            <p:cNvPr id="3" name="Freeform 5">
              <a:extLst>
                <a:ext uri="{FF2B5EF4-FFF2-40B4-BE49-F238E27FC236}">
                  <a16:creationId xmlns:a16="http://schemas.microsoft.com/office/drawing/2014/main" id="{DD334AB9-1C9B-402B-B7C1-4B422DEE0D2F}"/>
                </a:ext>
              </a:extLst>
            </p:cNvPr>
            <p:cNvSpPr>
              <a:spLocks/>
            </p:cNvSpPr>
            <p:nvPr/>
          </p:nvSpPr>
          <p:spPr bwMode="auto">
            <a:xfrm>
              <a:off x="6524120" y="2045639"/>
              <a:ext cx="3999936" cy="4812361"/>
            </a:xfrm>
            <a:custGeom>
              <a:avLst/>
              <a:gdLst>
                <a:gd name="T0" fmla="*/ 2050 w 2060"/>
                <a:gd name="T1" fmla="*/ 1228 h 2482"/>
                <a:gd name="T2" fmla="*/ 1976 w 2060"/>
                <a:gd name="T3" fmla="*/ 1242 h 2482"/>
                <a:gd name="T4" fmla="*/ 1801 w 2060"/>
                <a:gd name="T5" fmla="*/ 1349 h 2482"/>
                <a:gd name="T6" fmla="*/ 1532 w 2060"/>
                <a:gd name="T7" fmla="*/ 1337 h 2482"/>
                <a:gd name="T8" fmla="*/ 1502 w 2060"/>
                <a:gd name="T9" fmla="*/ 1181 h 2482"/>
                <a:gd name="T10" fmla="*/ 1675 w 2060"/>
                <a:gd name="T11" fmla="*/ 1025 h 2482"/>
                <a:gd name="T12" fmla="*/ 1961 w 2060"/>
                <a:gd name="T13" fmla="*/ 839 h 2482"/>
                <a:gd name="T14" fmla="*/ 1767 w 2060"/>
                <a:gd name="T15" fmla="*/ 927 h 2482"/>
                <a:gd name="T16" fmla="*/ 1631 w 2060"/>
                <a:gd name="T17" fmla="*/ 957 h 2482"/>
                <a:gd name="T18" fmla="*/ 1715 w 2060"/>
                <a:gd name="T19" fmla="*/ 687 h 2482"/>
                <a:gd name="T20" fmla="*/ 1679 w 2060"/>
                <a:gd name="T21" fmla="*/ 562 h 2482"/>
                <a:gd name="T22" fmla="*/ 1621 w 2060"/>
                <a:gd name="T23" fmla="*/ 752 h 2482"/>
                <a:gd name="T24" fmla="*/ 1306 w 2060"/>
                <a:gd name="T25" fmla="*/ 1246 h 2482"/>
                <a:gd name="T26" fmla="*/ 1284 w 2060"/>
                <a:gd name="T27" fmla="*/ 1263 h 2482"/>
                <a:gd name="T28" fmla="*/ 1161 w 2060"/>
                <a:gd name="T29" fmla="*/ 998 h 2482"/>
                <a:gd name="T30" fmla="*/ 1143 w 2060"/>
                <a:gd name="T31" fmla="*/ 632 h 2482"/>
                <a:gd name="T32" fmla="*/ 1279 w 2060"/>
                <a:gd name="T33" fmla="*/ 524 h 2482"/>
                <a:gd name="T34" fmla="*/ 1354 w 2060"/>
                <a:gd name="T35" fmla="*/ 334 h 2482"/>
                <a:gd name="T36" fmla="*/ 1289 w 2060"/>
                <a:gd name="T37" fmla="*/ 403 h 2482"/>
                <a:gd name="T38" fmla="*/ 1160 w 2060"/>
                <a:gd name="T39" fmla="*/ 548 h 2482"/>
                <a:gd name="T40" fmla="*/ 1163 w 2060"/>
                <a:gd name="T41" fmla="*/ 340 h 2482"/>
                <a:gd name="T42" fmla="*/ 1210 w 2060"/>
                <a:gd name="T43" fmla="*/ 22 h 2482"/>
                <a:gd name="T44" fmla="*/ 1147 w 2060"/>
                <a:gd name="T45" fmla="*/ 98 h 2482"/>
                <a:gd name="T46" fmla="*/ 1077 w 2060"/>
                <a:gd name="T47" fmla="*/ 307 h 2482"/>
                <a:gd name="T48" fmla="*/ 1034 w 2060"/>
                <a:gd name="T49" fmla="*/ 902 h 2482"/>
                <a:gd name="T50" fmla="*/ 1092 w 2060"/>
                <a:gd name="T51" fmla="*/ 1339 h 2482"/>
                <a:gd name="T52" fmla="*/ 807 w 2060"/>
                <a:gd name="T53" fmla="*/ 1079 h 2482"/>
                <a:gd name="T54" fmla="*/ 630 w 2060"/>
                <a:gd name="T55" fmla="*/ 701 h 2482"/>
                <a:gd name="T56" fmla="*/ 698 w 2060"/>
                <a:gd name="T57" fmla="*/ 367 h 2482"/>
                <a:gd name="T58" fmla="*/ 625 w 2060"/>
                <a:gd name="T59" fmla="*/ 577 h 2482"/>
                <a:gd name="T60" fmla="*/ 546 w 2060"/>
                <a:gd name="T61" fmla="*/ 697 h 2482"/>
                <a:gd name="T62" fmla="*/ 483 w 2060"/>
                <a:gd name="T63" fmla="*/ 617 h 2482"/>
                <a:gd name="T64" fmla="*/ 349 w 2060"/>
                <a:gd name="T65" fmla="*/ 343 h 2482"/>
                <a:gd name="T66" fmla="*/ 309 w 2060"/>
                <a:gd name="T67" fmla="*/ 335 h 2482"/>
                <a:gd name="T68" fmla="*/ 558 w 2060"/>
                <a:gd name="T69" fmla="*/ 919 h 2482"/>
                <a:gd name="T70" fmla="*/ 462 w 2060"/>
                <a:gd name="T71" fmla="*/ 952 h 2482"/>
                <a:gd name="T72" fmla="*/ 146 w 2060"/>
                <a:gd name="T73" fmla="*/ 930 h 2482"/>
                <a:gd name="T74" fmla="*/ 23 w 2060"/>
                <a:gd name="T75" fmla="*/ 857 h 2482"/>
                <a:gd name="T76" fmla="*/ 105 w 2060"/>
                <a:gd name="T77" fmla="*/ 977 h 2482"/>
                <a:gd name="T78" fmla="*/ 474 w 2060"/>
                <a:gd name="T79" fmla="*/ 1011 h 2482"/>
                <a:gd name="T80" fmla="*/ 594 w 2060"/>
                <a:gd name="T81" fmla="*/ 969 h 2482"/>
                <a:gd name="T82" fmla="*/ 810 w 2060"/>
                <a:gd name="T83" fmla="*/ 1222 h 2482"/>
                <a:gd name="T84" fmla="*/ 606 w 2060"/>
                <a:gd name="T85" fmla="*/ 1246 h 2482"/>
                <a:gd name="T86" fmla="*/ 465 w 2060"/>
                <a:gd name="T87" fmla="*/ 1306 h 2482"/>
                <a:gd name="T88" fmla="*/ 534 w 2060"/>
                <a:gd name="T89" fmla="*/ 1319 h 2482"/>
                <a:gd name="T90" fmla="*/ 770 w 2060"/>
                <a:gd name="T91" fmla="*/ 1305 h 2482"/>
                <a:gd name="T92" fmla="*/ 1023 w 2060"/>
                <a:gd name="T93" fmla="*/ 1555 h 2482"/>
                <a:gd name="T94" fmla="*/ 995 w 2060"/>
                <a:gd name="T95" fmla="*/ 2136 h 2482"/>
                <a:gd name="T96" fmla="*/ 901 w 2060"/>
                <a:gd name="T97" fmla="*/ 2423 h 2482"/>
                <a:gd name="T98" fmla="*/ 1335 w 2060"/>
                <a:gd name="T99" fmla="*/ 2398 h 2482"/>
                <a:gd name="T100" fmla="*/ 1270 w 2060"/>
                <a:gd name="T101" fmla="*/ 1547 h 2482"/>
                <a:gd name="T102" fmla="*/ 1342 w 2060"/>
                <a:gd name="T103" fmla="*/ 1447 h 2482"/>
                <a:gd name="T104" fmla="*/ 1640 w 2060"/>
                <a:gd name="T105" fmla="*/ 1487 h 2482"/>
                <a:gd name="T106" fmla="*/ 1960 w 2060"/>
                <a:gd name="T107" fmla="*/ 1344 h 2482"/>
                <a:gd name="T108" fmla="*/ 2044 w 2060"/>
                <a:gd name="T109" fmla="*/ 1235 h 24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060" h="2482">
                  <a:moveTo>
                    <a:pt x="2044" y="1235"/>
                  </a:moveTo>
                  <a:cubicBezTo>
                    <a:pt x="2046" y="1233"/>
                    <a:pt x="2048" y="1230"/>
                    <a:pt x="2050" y="1228"/>
                  </a:cubicBezTo>
                  <a:cubicBezTo>
                    <a:pt x="2058" y="1217"/>
                    <a:pt x="2043" y="1205"/>
                    <a:pt x="2032" y="1210"/>
                  </a:cubicBezTo>
                  <a:cubicBezTo>
                    <a:pt x="2013" y="1221"/>
                    <a:pt x="1993" y="1230"/>
                    <a:pt x="1976" y="1242"/>
                  </a:cubicBezTo>
                  <a:cubicBezTo>
                    <a:pt x="1956" y="1255"/>
                    <a:pt x="1938" y="1270"/>
                    <a:pt x="1918" y="1283"/>
                  </a:cubicBezTo>
                  <a:cubicBezTo>
                    <a:pt x="1882" y="1308"/>
                    <a:pt x="1843" y="1332"/>
                    <a:pt x="1801" y="1349"/>
                  </a:cubicBezTo>
                  <a:cubicBezTo>
                    <a:pt x="1761" y="1364"/>
                    <a:pt x="1719" y="1373"/>
                    <a:pt x="1675" y="1371"/>
                  </a:cubicBezTo>
                  <a:cubicBezTo>
                    <a:pt x="1626" y="1369"/>
                    <a:pt x="1579" y="1350"/>
                    <a:pt x="1532" y="1337"/>
                  </a:cubicBezTo>
                  <a:cubicBezTo>
                    <a:pt x="1485" y="1324"/>
                    <a:pt x="1432" y="1315"/>
                    <a:pt x="1383" y="1322"/>
                  </a:cubicBezTo>
                  <a:cubicBezTo>
                    <a:pt x="1426" y="1278"/>
                    <a:pt x="1466" y="1231"/>
                    <a:pt x="1502" y="1181"/>
                  </a:cubicBezTo>
                  <a:cubicBezTo>
                    <a:pt x="1537" y="1134"/>
                    <a:pt x="1568" y="1083"/>
                    <a:pt x="1596" y="1031"/>
                  </a:cubicBezTo>
                  <a:cubicBezTo>
                    <a:pt x="1622" y="1034"/>
                    <a:pt x="1650" y="1029"/>
                    <a:pt x="1675" y="1025"/>
                  </a:cubicBezTo>
                  <a:cubicBezTo>
                    <a:pt x="1714" y="1019"/>
                    <a:pt x="1752" y="1006"/>
                    <a:pt x="1789" y="990"/>
                  </a:cubicBezTo>
                  <a:cubicBezTo>
                    <a:pt x="1862" y="959"/>
                    <a:pt x="1924" y="911"/>
                    <a:pt x="1961" y="839"/>
                  </a:cubicBezTo>
                  <a:cubicBezTo>
                    <a:pt x="1965" y="831"/>
                    <a:pt x="1956" y="820"/>
                    <a:pt x="1947" y="825"/>
                  </a:cubicBezTo>
                  <a:cubicBezTo>
                    <a:pt x="1890" y="863"/>
                    <a:pt x="1830" y="902"/>
                    <a:pt x="1767" y="927"/>
                  </a:cubicBezTo>
                  <a:cubicBezTo>
                    <a:pt x="1734" y="939"/>
                    <a:pt x="1701" y="948"/>
                    <a:pt x="1667" y="954"/>
                  </a:cubicBezTo>
                  <a:cubicBezTo>
                    <a:pt x="1657" y="956"/>
                    <a:pt x="1644" y="956"/>
                    <a:pt x="1631" y="957"/>
                  </a:cubicBezTo>
                  <a:cubicBezTo>
                    <a:pt x="1653" y="907"/>
                    <a:pt x="1672" y="855"/>
                    <a:pt x="1688" y="802"/>
                  </a:cubicBezTo>
                  <a:cubicBezTo>
                    <a:pt x="1699" y="765"/>
                    <a:pt x="1709" y="726"/>
                    <a:pt x="1715" y="687"/>
                  </a:cubicBezTo>
                  <a:cubicBezTo>
                    <a:pt x="1722" y="646"/>
                    <a:pt x="1730" y="606"/>
                    <a:pt x="1714" y="566"/>
                  </a:cubicBezTo>
                  <a:cubicBezTo>
                    <a:pt x="1707" y="551"/>
                    <a:pt x="1688" y="547"/>
                    <a:pt x="1679" y="562"/>
                  </a:cubicBezTo>
                  <a:cubicBezTo>
                    <a:pt x="1659" y="590"/>
                    <a:pt x="1655" y="620"/>
                    <a:pt x="1647" y="653"/>
                  </a:cubicBezTo>
                  <a:cubicBezTo>
                    <a:pt x="1639" y="686"/>
                    <a:pt x="1631" y="719"/>
                    <a:pt x="1621" y="752"/>
                  </a:cubicBezTo>
                  <a:cubicBezTo>
                    <a:pt x="1602" y="815"/>
                    <a:pt x="1578" y="875"/>
                    <a:pt x="1547" y="933"/>
                  </a:cubicBezTo>
                  <a:cubicBezTo>
                    <a:pt x="1486" y="1051"/>
                    <a:pt x="1405" y="1157"/>
                    <a:pt x="1306" y="1246"/>
                  </a:cubicBezTo>
                  <a:cubicBezTo>
                    <a:pt x="1299" y="1253"/>
                    <a:pt x="1292" y="1259"/>
                    <a:pt x="1285" y="1265"/>
                  </a:cubicBezTo>
                  <a:cubicBezTo>
                    <a:pt x="1285" y="1264"/>
                    <a:pt x="1284" y="1264"/>
                    <a:pt x="1284" y="1263"/>
                  </a:cubicBezTo>
                  <a:cubicBezTo>
                    <a:pt x="1255" y="1213"/>
                    <a:pt x="1222" y="1168"/>
                    <a:pt x="1199" y="1115"/>
                  </a:cubicBezTo>
                  <a:cubicBezTo>
                    <a:pt x="1183" y="1077"/>
                    <a:pt x="1170" y="1038"/>
                    <a:pt x="1161" y="998"/>
                  </a:cubicBezTo>
                  <a:cubicBezTo>
                    <a:pt x="1147" y="879"/>
                    <a:pt x="1141" y="760"/>
                    <a:pt x="1143" y="641"/>
                  </a:cubicBezTo>
                  <a:cubicBezTo>
                    <a:pt x="1143" y="638"/>
                    <a:pt x="1143" y="635"/>
                    <a:pt x="1143" y="632"/>
                  </a:cubicBezTo>
                  <a:cubicBezTo>
                    <a:pt x="1163" y="624"/>
                    <a:pt x="1182" y="610"/>
                    <a:pt x="1198" y="598"/>
                  </a:cubicBezTo>
                  <a:cubicBezTo>
                    <a:pt x="1228" y="577"/>
                    <a:pt x="1255" y="552"/>
                    <a:pt x="1279" y="524"/>
                  </a:cubicBezTo>
                  <a:cubicBezTo>
                    <a:pt x="1302" y="495"/>
                    <a:pt x="1322" y="465"/>
                    <a:pt x="1338" y="431"/>
                  </a:cubicBezTo>
                  <a:cubicBezTo>
                    <a:pt x="1351" y="402"/>
                    <a:pt x="1369" y="367"/>
                    <a:pt x="1354" y="334"/>
                  </a:cubicBezTo>
                  <a:cubicBezTo>
                    <a:pt x="1352" y="329"/>
                    <a:pt x="1343" y="327"/>
                    <a:pt x="1338" y="330"/>
                  </a:cubicBezTo>
                  <a:cubicBezTo>
                    <a:pt x="1313" y="346"/>
                    <a:pt x="1303" y="378"/>
                    <a:pt x="1289" y="403"/>
                  </a:cubicBezTo>
                  <a:cubicBezTo>
                    <a:pt x="1273" y="431"/>
                    <a:pt x="1253" y="458"/>
                    <a:pt x="1232" y="482"/>
                  </a:cubicBezTo>
                  <a:cubicBezTo>
                    <a:pt x="1210" y="506"/>
                    <a:pt x="1186" y="529"/>
                    <a:pt x="1160" y="548"/>
                  </a:cubicBezTo>
                  <a:cubicBezTo>
                    <a:pt x="1156" y="552"/>
                    <a:pt x="1151" y="555"/>
                    <a:pt x="1145" y="558"/>
                  </a:cubicBezTo>
                  <a:cubicBezTo>
                    <a:pt x="1148" y="486"/>
                    <a:pt x="1154" y="413"/>
                    <a:pt x="1163" y="340"/>
                  </a:cubicBezTo>
                  <a:cubicBezTo>
                    <a:pt x="1170" y="288"/>
                    <a:pt x="1177" y="235"/>
                    <a:pt x="1186" y="183"/>
                  </a:cubicBezTo>
                  <a:cubicBezTo>
                    <a:pt x="1195" y="130"/>
                    <a:pt x="1212" y="76"/>
                    <a:pt x="1210" y="22"/>
                  </a:cubicBezTo>
                  <a:cubicBezTo>
                    <a:pt x="1209" y="6"/>
                    <a:pt x="1189" y="0"/>
                    <a:pt x="1181" y="14"/>
                  </a:cubicBezTo>
                  <a:cubicBezTo>
                    <a:pt x="1165" y="40"/>
                    <a:pt x="1155" y="69"/>
                    <a:pt x="1147" y="98"/>
                  </a:cubicBezTo>
                  <a:cubicBezTo>
                    <a:pt x="1136" y="119"/>
                    <a:pt x="1128" y="141"/>
                    <a:pt x="1119" y="163"/>
                  </a:cubicBezTo>
                  <a:cubicBezTo>
                    <a:pt x="1101" y="209"/>
                    <a:pt x="1088" y="258"/>
                    <a:pt x="1077" y="307"/>
                  </a:cubicBezTo>
                  <a:cubicBezTo>
                    <a:pt x="1055" y="404"/>
                    <a:pt x="1043" y="504"/>
                    <a:pt x="1038" y="603"/>
                  </a:cubicBezTo>
                  <a:cubicBezTo>
                    <a:pt x="1032" y="703"/>
                    <a:pt x="1032" y="802"/>
                    <a:pt x="1034" y="902"/>
                  </a:cubicBezTo>
                  <a:cubicBezTo>
                    <a:pt x="1035" y="1000"/>
                    <a:pt x="1040" y="1098"/>
                    <a:pt x="1056" y="1196"/>
                  </a:cubicBezTo>
                  <a:cubicBezTo>
                    <a:pt x="1064" y="1244"/>
                    <a:pt x="1076" y="1292"/>
                    <a:pt x="1092" y="1339"/>
                  </a:cubicBezTo>
                  <a:cubicBezTo>
                    <a:pt x="1065" y="1319"/>
                    <a:pt x="1039" y="1298"/>
                    <a:pt x="1013" y="1276"/>
                  </a:cubicBezTo>
                  <a:cubicBezTo>
                    <a:pt x="941" y="1215"/>
                    <a:pt x="872" y="1149"/>
                    <a:pt x="807" y="1079"/>
                  </a:cubicBezTo>
                  <a:cubicBezTo>
                    <a:pt x="718" y="981"/>
                    <a:pt x="639" y="875"/>
                    <a:pt x="569" y="764"/>
                  </a:cubicBezTo>
                  <a:cubicBezTo>
                    <a:pt x="593" y="749"/>
                    <a:pt x="615" y="721"/>
                    <a:pt x="630" y="701"/>
                  </a:cubicBezTo>
                  <a:cubicBezTo>
                    <a:pt x="652" y="672"/>
                    <a:pt x="667" y="640"/>
                    <a:pt x="679" y="605"/>
                  </a:cubicBezTo>
                  <a:cubicBezTo>
                    <a:pt x="702" y="531"/>
                    <a:pt x="717" y="443"/>
                    <a:pt x="698" y="367"/>
                  </a:cubicBezTo>
                  <a:cubicBezTo>
                    <a:pt x="695" y="356"/>
                    <a:pt x="680" y="357"/>
                    <a:pt x="677" y="367"/>
                  </a:cubicBezTo>
                  <a:cubicBezTo>
                    <a:pt x="658" y="437"/>
                    <a:pt x="650" y="508"/>
                    <a:pt x="625" y="577"/>
                  </a:cubicBezTo>
                  <a:cubicBezTo>
                    <a:pt x="614" y="607"/>
                    <a:pt x="599" y="636"/>
                    <a:pt x="579" y="662"/>
                  </a:cubicBezTo>
                  <a:cubicBezTo>
                    <a:pt x="569" y="674"/>
                    <a:pt x="558" y="686"/>
                    <a:pt x="546" y="697"/>
                  </a:cubicBezTo>
                  <a:cubicBezTo>
                    <a:pt x="542" y="700"/>
                    <a:pt x="538" y="704"/>
                    <a:pt x="534" y="707"/>
                  </a:cubicBezTo>
                  <a:cubicBezTo>
                    <a:pt x="516" y="677"/>
                    <a:pt x="499" y="647"/>
                    <a:pt x="483" y="617"/>
                  </a:cubicBezTo>
                  <a:cubicBezTo>
                    <a:pt x="457" y="570"/>
                    <a:pt x="434" y="523"/>
                    <a:pt x="412" y="475"/>
                  </a:cubicBezTo>
                  <a:cubicBezTo>
                    <a:pt x="391" y="431"/>
                    <a:pt x="373" y="385"/>
                    <a:pt x="349" y="343"/>
                  </a:cubicBezTo>
                  <a:cubicBezTo>
                    <a:pt x="347" y="339"/>
                    <a:pt x="346" y="335"/>
                    <a:pt x="344" y="331"/>
                  </a:cubicBezTo>
                  <a:cubicBezTo>
                    <a:pt x="337" y="314"/>
                    <a:pt x="306" y="313"/>
                    <a:pt x="309" y="335"/>
                  </a:cubicBezTo>
                  <a:cubicBezTo>
                    <a:pt x="325" y="459"/>
                    <a:pt x="370" y="575"/>
                    <a:pt x="424" y="687"/>
                  </a:cubicBezTo>
                  <a:cubicBezTo>
                    <a:pt x="463" y="767"/>
                    <a:pt x="507" y="845"/>
                    <a:pt x="558" y="919"/>
                  </a:cubicBezTo>
                  <a:cubicBezTo>
                    <a:pt x="550" y="924"/>
                    <a:pt x="542" y="928"/>
                    <a:pt x="534" y="932"/>
                  </a:cubicBezTo>
                  <a:cubicBezTo>
                    <a:pt x="511" y="942"/>
                    <a:pt x="487" y="948"/>
                    <a:pt x="462" y="952"/>
                  </a:cubicBezTo>
                  <a:cubicBezTo>
                    <a:pt x="412" y="962"/>
                    <a:pt x="361" y="961"/>
                    <a:pt x="310" y="959"/>
                  </a:cubicBezTo>
                  <a:cubicBezTo>
                    <a:pt x="255" y="956"/>
                    <a:pt x="198" y="950"/>
                    <a:pt x="146" y="930"/>
                  </a:cubicBezTo>
                  <a:cubicBezTo>
                    <a:pt x="123" y="921"/>
                    <a:pt x="100" y="910"/>
                    <a:pt x="81" y="895"/>
                  </a:cubicBezTo>
                  <a:cubicBezTo>
                    <a:pt x="62" y="882"/>
                    <a:pt x="45" y="863"/>
                    <a:pt x="23" y="857"/>
                  </a:cubicBezTo>
                  <a:cubicBezTo>
                    <a:pt x="18" y="856"/>
                    <a:pt x="11" y="859"/>
                    <a:pt x="10" y="864"/>
                  </a:cubicBezTo>
                  <a:cubicBezTo>
                    <a:pt x="0" y="915"/>
                    <a:pt x="66" y="959"/>
                    <a:pt x="105" y="977"/>
                  </a:cubicBezTo>
                  <a:cubicBezTo>
                    <a:pt x="166" y="1005"/>
                    <a:pt x="232" y="1014"/>
                    <a:pt x="298" y="1018"/>
                  </a:cubicBezTo>
                  <a:cubicBezTo>
                    <a:pt x="357" y="1022"/>
                    <a:pt x="416" y="1022"/>
                    <a:pt x="474" y="1011"/>
                  </a:cubicBezTo>
                  <a:cubicBezTo>
                    <a:pt x="503" y="1006"/>
                    <a:pt x="530" y="998"/>
                    <a:pt x="557" y="987"/>
                  </a:cubicBezTo>
                  <a:cubicBezTo>
                    <a:pt x="568" y="982"/>
                    <a:pt x="582" y="976"/>
                    <a:pt x="594" y="969"/>
                  </a:cubicBezTo>
                  <a:cubicBezTo>
                    <a:pt x="603" y="982"/>
                    <a:pt x="613" y="994"/>
                    <a:pt x="623" y="1007"/>
                  </a:cubicBezTo>
                  <a:cubicBezTo>
                    <a:pt x="680" y="1080"/>
                    <a:pt x="747" y="1150"/>
                    <a:pt x="810" y="1222"/>
                  </a:cubicBezTo>
                  <a:cubicBezTo>
                    <a:pt x="798" y="1221"/>
                    <a:pt x="787" y="1221"/>
                    <a:pt x="775" y="1221"/>
                  </a:cubicBezTo>
                  <a:cubicBezTo>
                    <a:pt x="718" y="1224"/>
                    <a:pt x="661" y="1233"/>
                    <a:pt x="606" y="1246"/>
                  </a:cubicBezTo>
                  <a:cubicBezTo>
                    <a:pt x="579" y="1252"/>
                    <a:pt x="552" y="1261"/>
                    <a:pt x="525" y="1270"/>
                  </a:cubicBezTo>
                  <a:cubicBezTo>
                    <a:pt x="503" y="1278"/>
                    <a:pt x="480" y="1287"/>
                    <a:pt x="465" y="1306"/>
                  </a:cubicBezTo>
                  <a:cubicBezTo>
                    <a:pt x="461" y="1311"/>
                    <a:pt x="466" y="1318"/>
                    <a:pt x="471" y="1320"/>
                  </a:cubicBezTo>
                  <a:cubicBezTo>
                    <a:pt x="491" y="1327"/>
                    <a:pt x="513" y="1323"/>
                    <a:pt x="534" y="1319"/>
                  </a:cubicBezTo>
                  <a:cubicBezTo>
                    <a:pt x="561" y="1315"/>
                    <a:pt x="588" y="1312"/>
                    <a:pt x="615" y="1309"/>
                  </a:cubicBezTo>
                  <a:cubicBezTo>
                    <a:pt x="666" y="1304"/>
                    <a:pt x="718" y="1301"/>
                    <a:pt x="770" y="1305"/>
                  </a:cubicBezTo>
                  <a:cubicBezTo>
                    <a:pt x="816" y="1308"/>
                    <a:pt x="860" y="1318"/>
                    <a:pt x="903" y="1336"/>
                  </a:cubicBezTo>
                  <a:cubicBezTo>
                    <a:pt x="953" y="1403"/>
                    <a:pt x="996" y="1475"/>
                    <a:pt x="1023" y="1555"/>
                  </a:cubicBezTo>
                  <a:cubicBezTo>
                    <a:pt x="1040" y="1606"/>
                    <a:pt x="1051" y="1658"/>
                    <a:pt x="1059" y="1710"/>
                  </a:cubicBezTo>
                  <a:cubicBezTo>
                    <a:pt x="1056" y="1854"/>
                    <a:pt x="1043" y="2000"/>
                    <a:pt x="995" y="2136"/>
                  </a:cubicBezTo>
                  <a:cubicBezTo>
                    <a:pt x="969" y="2210"/>
                    <a:pt x="930" y="2279"/>
                    <a:pt x="878" y="2337"/>
                  </a:cubicBezTo>
                  <a:cubicBezTo>
                    <a:pt x="850" y="2367"/>
                    <a:pt x="864" y="2409"/>
                    <a:pt x="901" y="2423"/>
                  </a:cubicBezTo>
                  <a:cubicBezTo>
                    <a:pt x="1028" y="2470"/>
                    <a:pt x="1163" y="2482"/>
                    <a:pt x="1298" y="2464"/>
                  </a:cubicBezTo>
                  <a:cubicBezTo>
                    <a:pt x="1325" y="2460"/>
                    <a:pt x="1343" y="2423"/>
                    <a:pt x="1335" y="2398"/>
                  </a:cubicBezTo>
                  <a:cubicBezTo>
                    <a:pt x="1246" y="2124"/>
                    <a:pt x="1254" y="1839"/>
                    <a:pt x="1268" y="1555"/>
                  </a:cubicBezTo>
                  <a:cubicBezTo>
                    <a:pt x="1268" y="1552"/>
                    <a:pt x="1269" y="1550"/>
                    <a:pt x="1270" y="1547"/>
                  </a:cubicBezTo>
                  <a:cubicBezTo>
                    <a:pt x="1274" y="1535"/>
                    <a:pt x="1278" y="1522"/>
                    <a:pt x="1283" y="1510"/>
                  </a:cubicBezTo>
                  <a:cubicBezTo>
                    <a:pt x="1297" y="1484"/>
                    <a:pt x="1315" y="1460"/>
                    <a:pt x="1342" y="1447"/>
                  </a:cubicBezTo>
                  <a:cubicBezTo>
                    <a:pt x="1370" y="1434"/>
                    <a:pt x="1402" y="1438"/>
                    <a:pt x="1432" y="1445"/>
                  </a:cubicBezTo>
                  <a:cubicBezTo>
                    <a:pt x="1501" y="1461"/>
                    <a:pt x="1567" y="1493"/>
                    <a:pt x="1640" y="1487"/>
                  </a:cubicBezTo>
                  <a:cubicBezTo>
                    <a:pt x="1716" y="1482"/>
                    <a:pt x="1785" y="1450"/>
                    <a:pt x="1851" y="1413"/>
                  </a:cubicBezTo>
                  <a:cubicBezTo>
                    <a:pt x="1888" y="1392"/>
                    <a:pt x="1924" y="1369"/>
                    <a:pt x="1960" y="1344"/>
                  </a:cubicBezTo>
                  <a:cubicBezTo>
                    <a:pt x="1994" y="1320"/>
                    <a:pt x="2031" y="1297"/>
                    <a:pt x="2053" y="1260"/>
                  </a:cubicBezTo>
                  <a:cubicBezTo>
                    <a:pt x="2060" y="1251"/>
                    <a:pt x="2054" y="1239"/>
                    <a:pt x="2044" y="1235"/>
                  </a:cubicBezTo>
                  <a:close/>
                </a:path>
              </a:pathLst>
            </a:custGeom>
            <a:solidFill>
              <a:srgbClr val="42301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4" name="Oval 6">
              <a:extLst>
                <a:ext uri="{FF2B5EF4-FFF2-40B4-BE49-F238E27FC236}">
                  <a16:creationId xmlns:a16="http://schemas.microsoft.com/office/drawing/2014/main" id="{33288E2F-AD03-465B-A259-F325C634C3A0}"/>
                </a:ext>
              </a:extLst>
            </p:cNvPr>
            <p:cNvSpPr>
              <a:spLocks noChangeArrowheads="1"/>
            </p:cNvSpPr>
            <p:nvPr/>
          </p:nvSpPr>
          <p:spPr bwMode="auto">
            <a:xfrm>
              <a:off x="8448288" y="1677650"/>
              <a:ext cx="607700" cy="603813"/>
            </a:xfrm>
            <a:prstGeom prst="ellipse">
              <a:avLst/>
            </a:pr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5" name="Oval 7">
              <a:extLst>
                <a:ext uri="{FF2B5EF4-FFF2-40B4-BE49-F238E27FC236}">
                  <a16:creationId xmlns:a16="http://schemas.microsoft.com/office/drawing/2014/main" id="{E0226455-4ABC-48A2-9195-6BA00E542D90}"/>
                </a:ext>
              </a:extLst>
            </p:cNvPr>
            <p:cNvSpPr>
              <a:spLocks noChangeArrowheads="1"/>
            </p:cNvSpPr>
            <p:nvPr/>
          </p:nvSpPr>
          <p:spPr bwMode="auto">
            <a:xfrm>
              <a:off x="10174208" y="3367289"/>
              <a:ext cx="608996" cy="607700"/>
            </a:xfrm>
            <a:prstGeom prst="ellipse">
              <a:avLst/>
            </a:pr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6" name="Oval 8">
              <a:extLst>
                <a:ext uri="{FF2B5EF4-FFF2-40B4-BE49-F238E27FC236}">
                  <a16:creationId xmlns:a16="http://schemas.microsoft.com/office/drawing/2014/main" id="{DB4DE9D0-5192-4310-B4DF-569AEBA4AA8A}"/>
                </a:ext>
              </a:extLst>
            </p:cNvPr>
            <p:cNvSpPr>
              <a:spLocks noChangeArrowheads="1"/>
            </p:cNvSpPr>
            <p:nvPr/>
          </p:nvSpPr>
          <p:spPr bwMode="auto">
            <a:xfrm>
              <a:off x="6220918" y="3525369"/>
              <a:ext cx="409452" cy="410748"/>
            </a:xfrm>
            <a:prstGeom prst="ellipse">
              <a:avLst/>
            </a:prstGeom>
            <a:solidFill>
              <a:schemeClr val="bg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7" name="Oval 9">
              <a:extLst>
                <a:ext uri="{FF2B5EF4-FFF2-40B4-BE49-F238E27FC236}">
                  <a16:creationId xmlns:a16="http://schemas.microsoft.com/office/drawing/2014/main" id="{4FD39520-04CB-4607-941F-F49F113F68F6}"/>
                </a:ext>
              </a:extLst>
            </p:cNvPr>
            <p:cNvSpPr>
              <a:spLocks noChangeArrowheads="1"/>
            </p:cNvSpPr>
            <p:nvPr/>
          </p:nvSpPr>
          <p:spPr bwMode="auto">
            <a:xfrm>
              <a:off x="7786167" y="2538019"/>
              <a:ext cx="412044" cy="409452"/>
            </a:xfrm>
            <a:prstGeom prst="ellipse">
              <a:avLst/>
            </a:pr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8" name="Oval 10">
              <a:extLst>
                <a:ext uri="{FF2B5EF4-FFF2-40B4-BE49-F238E27FC236}">
                  <a16:creationId xmlns:a16="http://schemas.microsoft.com/office/drawing/2014/main" id="{1AED1297-FED8-4F82-B899-2309F60B5130}"/>
                </a:ext>
              </a:extLst>
            </p:cNvPr>
            <p:cNvSpPr>
              <a:spLocks noChangeArrowheads="1"/>
            </p:cNvSpPr>
            <p:nvPr/>
          </p:nvSpPr>
          <p:spPr bwMode="auto">
            <a:xfrm>
              <a:off x="9186857" y="1549372"/>
              <a:ext cx="1978589" cy="1975997"/>
            </a:xfrm>
            <a:prstGeom prst="ellipse">
              <a:avLst/>
            </a:pr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9" name="Oval 11">
              <a:extLst>
                <a:ext uri="{FF2B5EF4-FFF2-40B4-BE49-F238E27FC236}">
                  <a16:creationId xmlns:a16="http://schemas.microsoft.com/office/drawing/2014/main" id="{08AF2D42-3FF5-4693-A629-03F55C568740}"/>
                </a:ext>
              </a:extLst>
            </p:cNvPr>
            <p:cNvSpPr>
              <a:spLocks noChangeArrowheads="1"/>
            </p:cNvSpPr>
            <p:nvPr/>
          </p:nvSpPr>
          <p:spPr bwMode="auto">
            <a:xfrm>
              <a:off x="6043403" y="1471628"/>
              <a:ext cx="1742765" cy="1738877"/>
            </a:xfrm>
            <a:prstGeom prst="ellipse">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10" name="Oval 12">
              <a:extLst>
                <a:ext uri="{FF2B5EF4-FFF2-40B4-BE49-F238E27FC236}">
                  <a16:creationId xmlns:a16="http://schemas.microsoft.com/office/drawing/2014/main" id="{730EAFD9-1C1F-4AEC-82D5-120034A9A408}"/>
                </a:ext>
              </a:extLst>
            </p:cNvPr>
            <p:cNvSpPr>
              <a:spLocks noChangeArrowheads="1"/>
            </p:cNvSpPr>
            <p:nvPr/>
          </p:nvSpPr>
          <p:spPr bwMode="auto">
            <a:xfrm>
              <a:off x="6268861" y="4120111"/>
              <a:ext cx="1458998" cy="1456406"/>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11" name="Oval 13">
              <a:extLst>
                <a:ext uri="{FF2B5EF4-FFF2-40B4-BE49-F238E27FC236}">
                  <a16:creationId xmlns:a16="http://schemas.microsoft.com/office/drawing/2014/main" id="{0750C20D-E249-4ACF-9230-2BCE118BA546}"/>
                </a:ext>
              </a:extLst>
            </p:cNvPr>
            <p:cNvSpPr>
              <a:spLocks noChangeArrowheads="1"/>
            </p:cNvSpPr>
            <p:nvPr/>
          </p:nvSpPr>
          <p:spPr bwMode="auto">
            <a:xfrm>
              <a:off x="10038155" y="3853189"/>
              <a:ext cx="1610600" cy="1606712"/>
            </a:xfrm>
            <a:prstGeom prst="ellipse">
              <a:avLst/>
            </a:pr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12" name="Freeform 20">
              <a:extLst>
                <a:ext uri="{FF2B5EF4-FFF2-40B4-BE49-F238E27FC236}">
                  <a16:creationId xmlns:a16="http://schemas.microsoft.com/office/drawing/2014/main" id="{D8D006E8-8DCE-4CC9-85C5-5AE4ADC852D3}"/>
                </a:ext>
              </a:extLst>
            </p:cNvPr>
            <p:cNvSpPr>
              <a:spLocks/>
            </p:cNvSpPr>
            <p:nvPr/>
          </p:nvSpPr>
          <p:spPr bwMode="auto">
            <a:xfrm>
              <a:off x="5054096" y="6451600"/>
              <a:ext cx="15875" cy="177800"/>
            </a:xfrm>
            <a:custGeom>
              <a:avLst/>
              <a:gdLst>
                <a:gd name="T0" fmla="*/ 2 w 7"/>
                <a:gd name="T1" fmla="*/ 0 h 75"/>
                <a:gd name="T2" fmla="*/ 0 w 7"/>
                <a:gd name="T3" fmla="*/ 67 h 75"/>
                <a:gd name="T4" fmla="*/ 1 w 7"/>
                <a:gd name="T5" fmla="*/ 70 h 75"/>
                <a:gd name="T6" fmla="*/ 2 w 7"/>
                <a:gd name="T7" fmla="*/ 32 h 75"/>
                <a:gd name="T8" fmla="*/ 6 w 7"/>
                <a:gd name="T9" fmla="*/ 75 h 75"/>
                <a:gd name="T10" fmla="*/ 7 w 7"/>
                <a:gd name="T11" fmla="*/ 68 h 75"/>
                <a:gd name="T12" fmla="*/ 2 w 7"/>
                <a:gd name="T13" fmla="*/ 0 h 75"/>
              </a:gdLst>
              <a:ahLst/>
              <a:cxnLst>
                <a:cxn ang="0">
                  <a:pos x="T0" y="T1"/>
                </a:cxn>
                <a:cxn ang="0">
                  <a:pos x="T2" y="T3"/>
                </a:cxn>
                <a:cxn ang="0">
                  <a:pos x="T4" y="T5"/>
                </a:cxn>
                <a:cxn ang="0">
                  <a:pos x="T6" y="T7"/>
                </a:cxn>
                <a:cxn ang="0">
                  <a:pos x="T8" y="T9"/>
                </a:cxn>
                <a:cxn ang="0">
                  <a:pos x="T10" y="T11"/>
                </a:cxn>
                <a:cxn ang="0">
                  <a:pos x="T12" y="T13"/>
                </a:cxn>
              </a:cxnLst>
              <a:rect l="0" t="0" r="r" b="b"/>
              <a:pathLst>
                <a:path w="7" h="75">
                  <a:moveTo>
                    <a:pt x="2" y="0"/>
                  </a:moveTo>
                  <a:cubicBezTo>
                    <a:pt x="1" y="23"/>
                    <a:pt x="1" y="45"/>
                    <a:pt x="0" y="67"/>
                  </a:cubicBezTo>
                  <a:cubicBezTo>
                    <a:pt x="0" y="68"/>
                    <a:pt x="1" y="69"/>
                    <a:pt x="1" y="70"/>
                  </a:cubicBezTo>
                  <a:cubicBezTo>
                    <a:pt x="1" y="57"/>
                    <a:pt x="2" y="44"/>
                    <a:pt x="2" y="32"/>
                  </a:cubicBezTo>
                  <a:cubicBezTo>
                    <a:pt x="4" y="46"/>
                    <a:pt x="5" y="60"/>
                    <a:pt x="6" y="75"/>
                  </a:cubicBezTo>
                  <a:cubicBezTo>
                    <a:pt x="7" y="73"/>
                    <a:pt x="7" y="70"/>
                    <a:pt x="7" y="68"/>
                  </a:cubicBezTo>
                  <a:cubicBezTo>
                    <a:pt x="6" y="46"/>
                    <a:pt x="5" y="23"/>
                    <a:pt x="2" y="0"/>
                  </a:cubicBezTo>
                  <a:close/>
                </a:path>
              </a:pathLst>
            </a:custGeom>
            <a:solidFill>
              <a:srgbClr val="72B6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grpSp>
      <p:sp>
        <p:nvSpPr>
          <p:cNvPr id="13" name="Freeform 14">
            <a:extLst>
              <a:ext uri="{FF2B5EF4-FFF2-40B4-BE49-F238E27FC236}">
                <a16:creationId xmlns:a16="http://schemas.microsoft.com/office/drawing/2014/main" id="{DD269B56-F931-4954-96A7-24CD69DB29B4}"/>
              </a:ext>
            </a:extLst>
          </p:cNvPr>
          <p:cNvSpPr>
            <a:spLocks/>
          </p:cNvSpPr>
          <p:nvPr/>
        </p:nvSpPr>
        <p:spPr bwMode="auto">
          <a:xfrm>
            <a:off x="3254379" y="6853240"/>
            <a:ext cx="8932863" cy="4763"/>
          </a:xfrm>
          <a:custGeom>
            <a:avLst/>
            <a:gdLst>
              <a:gd name="T0" fmla="*/ 0 w 3754"/>
              <a:gd name="T1" fmla="*/ 2 h 2"/>
              <a:gd name="T2" fmla="*/ 3754 w 3754"/>
              <a:gd name="T3" fmla="*/ 2 h 2"/>
              <a:gd name="T4" fmla="*/ 0 w 3754"/>
              <a:gd name="T5" fmla="*/ 0 h 2"/>
              <a:gd name="T6" fmla="*/ 0 w 3754"/>
              <a:gd name="T7" fmla="*/ 2 h 2"/>
            </a:gdLst>
            <a:ahLst/>
            <a:cxnLst>
              <a:cxn ang="0">
                <a:pos x="T0" y="T1"/>
              </a:cxn>
              <a:cxn ang="0">
                <a:pos x="T2" y="T3"/>
              </a:cxn>
              <a:cxn ang="0">
                <a:pos x="T4" y="T5"/>
              </a:cxn>
              <a:cxn ang="0">
                <a:pos x="T6" y="T7"/>
              </a:cxn>
            </a:cxnLst>
            <a:rect l="0" t="0" r="r" b="b"/>
            <a:pathLst>
              <a:path w="3754" h="2">
                <a:moveTo>
                  <a:pt x="0" y="2"/>
                </a:moveTo>
                <a:cubicBezTo>
                  <a:pt x="3754" y="2"/>
                  <a:pt x="3754" y="2"/>
                  <a:pt x="3754" y="2"/>
                </a:cubicBezTo>
                <a:cubicBezTo>
                  <a:pt x="0" y="0"/>
                  <a:pt x="0" y="0"/>
                  <a:pt x="0" y="0"/>
                </a:cubicBezTo>
                <a:cubicBezTo>
                  <a:pt x="0" y="0"/>
                  <a:pt x="0" y="1"/>
                  <a:pt x="0" y="2"/>
                </a:cubicBezTo>
                <a:close/>
              </a:path>
            </a:pathLst>
          </a:custGeom>
          <a:solidFill>
            <a:srgbClr val="72B6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14" name="Freeform 15">
            <a:extLst>
              <a:ext uri="{FF2B5EF4-FFF2-40B4-BE49-F238E27FC236}">
                <a16:creationId xmlns:a16="http://schemas.microsoft.com/office/drawing/2014/main" id="{B60FEF5D-DED6-42D3-9589-C8A08B16A9E8}"/>
              </a:ext>
            </a:extLst>
          </p:cNvPr>
          <p:cNvSpPr>
            <a:spLocks/>
          </p:cNvSpPr>
          <p:nvPr/>
        </p:nvSpPr>
        <p:spPr bwMode="auto">
          <a:xfrm>
            <a:off x="3252790" y="6853240"/>
            <a:ext cx="1588" cy="4763"/>
          </a:xfrm>
          <a:custGeom>
            <a:avLst/>
            <a:gdLst>
              <a:gd name="T0" fmla="*/ 1 w 1"/>
              <a:gd name="T1" fmla="*/ 0 h 2"/>
              <a:gd name="T2" fmla="*/ 0 w 1"/>
              <a:gd name="T3" fmla="*/ 0 h 2"/>
              <a:gd name="T4" fmla="*/ 0 w 1"/>
              <a:gd name="T5" fmla="*/ 2 h 2"/>
              <a:gd name="T6" fmla="*/ 1 w 1"/>
              <a:gd name="T7" fmla="*/ 2 h 2"/>
              <a:gd name="T8" fmla="*/ 1 w 1"/>
              <a:gd name="T9" fmla="*/ 0 h 2"/>
            </a:gdLst>
            <a:ahLst/>
            <a:cxnLst>
              <a:cxn ang="0">
                <a:pos x="T0" y="T1"/>
              </a:cxn>
              <a:cxn ang="0">
                <a:pos x="T2" y="T3"/>
              </a:cxn>
              <a:cxn ang="0">
                <a:pos x="T4" y="T5"/>
              </a:cxn>
              <a:cxn ang="0">
                <a:pos x="T6" y="T7"/>
              </a:cxn>
              <a:cxn ang="0">
                <a:pos x="T8" y="T9"/>
              </a:cxn>
            </a:cxnLst>
            <a:rect l="0" t="0" r="r" b="b"/>
            <a:pathLst>
              <a:path w="1" h="2">
                <a:moveTo>
                  <a:pt x="1" y="0"/>
                </a:moveTo>
                <a:cubicBezTo>
                  <a:pt x="0" y="0"/>
                  <a:pt x="0" y="0"/>
                  <a:pt x="0" y="0"/>
                </a:cubicBezTo>
                <a:cubicBezTo>
                  <a:pt x="0" y="0"/>
                  <a:pt x="0" y="1"/>
                  <a:pt x="0" y="2"/>
                </a:cubicBezTo>
                <a:cubicBezTo>
                  <a:pt x="1" y="2"/>
                  <a:pt x="1" y="2"/>
                  <a:pt x="1" y="2"/>
                </a:cubicBezTo>
                <a:cubicBezTo>
                  <a:pt x="1" y="1"/>
                  <a:pt x="1" y="0"/>
                  <a:pt x="1" y="0"/>
                </a:cubicBezTo>
                <a:close/>
              </a:path>
            </a:pathLst>
          </a:custGeom>
          <a:solidFill>
            <a:srgbClr val="72B6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15" name="Freeform 16">
            <a:extLst>
              <a:ext uri="{FF2B5EF4-FFF2-40B4-BE49-F238E27FC236}">
                <a16:creationId xmlns:a16="http://schemas.microsoft.com/office/drawing/2014/main" id="{F8717D30-06D9-4C08-92EE-26C0444B39EE}"/>
              </a:ext>
            </a:extLst>
          </p:cNvPr>
          <p:cNvSpPr>
            <a:spLocks/>
          </p:cNvSpPr>
          <p:nvPr/>
        </p:nvSpPr>
        <p:spPr bwMode="auto">
          <a:xfrm>
            <a:off x="3254379" y="6853240"/>
            <a:ext cx="8932863" cy="4763"/>
          </a:xfrm>
          <a:custGeom>
            <a:avLst/>
            <a:gdLst>
              <a:gd name="T0" fmla="*/ 0 w 5627"/>
              <a:gd name="T1" fmla="*/ 0 h 3"/>
              <a:gd name="T2" fmla="*/ 5627 w 5627"/>
              <a:gd name="T3" fmla="*/ 3 h 3"/>
              <a:gd name="T4" fmla="*/ 0 w 5627"/>
              <a:gd name="T5" fmla="*/ 0 h 3"/>
              <a:gd name="T6" fmla="*/ 0 w 5627"/>
              <a:gd name="T7" fmla="*/ 0 h 3"/>
            </a:gdLst>
            <a:ahLst/>
            <a:cxnLst>
              <a:cxn ang="0">
                <a:pos x="T0" y="T1"/>
              </a:cxn>
              <a:cxn ang="0">
                <a:pos x="T2" y="T3"/>
              </a:cxn>
              <a:cxn ang="0">
                <a:pos x="T4" y="T5"/>
              </a:cxn>
              <a:cxn ang="0">
                <a:pos x="T6" y="T7"/>
              </a:cxn>
            </a:cxnLst>
            <a:rect l="0" t="0" r="r" b="b"/>
            <a:pathLst>
              <a:path w="5627" h="3">
                <a:moveTo>
                  <a:pt x="0" y="0"/>
                </a:moveTo>
                <a:lnTo>
                  <a:pt x="5627" y="3"/>
                </a:lnTo>
                <a:lnTo>
                  <a:pt x="0" y="0"/>
                </a:lnTo>
                <a:lnTo>
                  <a:pt x="0" y="0"/>
                </a:lnTo>
                <a:close/>
              </a:path>
            </a:pathLst>
          </a:custGeom>
          <a:solidFill>
            <a:srgbClr val="72B6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16" name="Freeform 17">
            <a:extLst>
              <a:ext uri="{FF2B5EF4-FFF2-40B4-BE49-F238E27FC236}">
                <a16:creationId xmlns:a16="http://schemas.microsoft.com/office/drawing/2014/main" id="{DB9A77BC-9CE7-4399-BB09-172B9E199CDF}"/>
              </a:ext>
            </a:extLst>
          </p:cNvPr>
          <p:cNvSpPr>
            <a:spLocks noEditPoints="1"/>
          </p:cNvSpPr>
          <p:nvPr/>
        </p:nvSpPr>
        <p:spPr bwMode="auto">
          <a:xfrm>
            <a:off x="4765" y="5667378"/>
            <a:ext cx="12182475" cy="1190625"/>
          </a:xfrm>
          <a:custGeom>
            <a:avLst/>
            <a:gdLst>
              <a:gd name="T0" fmla="*/ 4978 w 5120"/>
              <a:gd name="T1" fmla="*/ 276 h 501"/>
              <a:gd name="T2" fmla="*/ 4870 w 5120"/>
              <a:gd name="T3" fmla="*/ 106 h 501"/>
              <a:gd name="T4" fmla="*/ 4730 w 5120"/>
              <a:gd name="T5" fmla="*/ 182 h 501"/>
              <a:gd name="T6" fmla="*/ 4698 w 5120"/>
              <a:gd name="T7" fmla="*/ 315 h 501"/>
              <a:gd name="T8" fmla="*/ 4599 w 5120"/>
              <a:gd name="T9" fmla="*/ 287 h 501"/>
              <a:gd name="T10" fmla="*/ 4479 w 5120"/>
              <a:gd name="T11" fmla="*/ 361 h 501"/>
              <a:gd name="T12" fmla="*/ 4351 w 5120"/>
              <a:gd name="T13" fmla="*/ 161 h 501"/>
              <a:gd name="T14" fmla="*/ 4241 w 5120"/>
              <a:gd name="T15" fmla="*/ 242 h 501"/>
              <a:gd name="T16" fmla="*/ 4101 w 5120"/>
              <a:gd name="T17" fmla="*/ 63 h 501"/>
              <a:gd name="T18" fmla="*/ 4002 w 5120"/>
              <a:gd name="T19" fmla="*/ 156 h 501"/>
              <a:gd name="T20" fmla="*/ 3960 w 5120"/>
              <a:gd name="T21" fmla="*/ 130 h 501"/>
              <a:gd name="T22" fmla="*/ 3845 w 5120"/>
              <a:gd name="T23" fmla="*/ 273 h 501"/>
              <a:gd name="T24" fmla="*/ 3720 w 5120"/>
              <a:gd name="T25" fmla="*/ 267 h 501"/>
              <a:gd name="T26" fmla="*/ 3575 w 5120"/>
              <a:gd name="T27" fmla="*/ 256 h 501"/>
              <a:gd name="T28" fmla="*/ 3462 w 5120"/>
              <a:gd name="T29" fmla="*/ 9 h 501"/>
              <a:gd name="T30" fmla="*/ 3364 w 5120"/>
              <a:gd name="T31" fmla="*/ 248 h 501"/>
              <a:gd name="T32" fmla="*/ 3297 w 5120"/>
              <a:gd name="T33" fmla="*/ 295 h 501"/>
              <a:gd name="T34" fmla="*/ 3208 w 5120"/>
              <a:gd name="T35" fmla="*/ 166 h 501"/>
              <a:gd name="T36" fmla="*/ 3090 w 5120"/>
              <a:gd name="T37" fmla="*/ 234 h 501"/>
              <a:gd name="T38" fmla="*/ 2938 w 5120"/>
              <a:gd name="T39" fmla="*/ 197 h 501"/>
              <a:gd name="T40" fmla="*/ 2847 w 5120"/>
              <a:gd name="T41" fmla="*/ 338 h 501"/>
              <a:gd name="T42" fmla="*/ 2714 w 5120"/>
              <a:gd name="T43" fmla="*/ 223 h 501"/>
              <a:gd name="T44" fmla="*/ 2643 w 5120"/>
              <a:gd name="T45" fmla="*/ 327 h 501"/>
              <a:gd name="T46" fmla="*/ 2530 w 5120"/>
              <a:gd name="T47" fmla="*/ 180 h 501"/>
              <a:gd name="T48" fmla="*/ 2439 w 5120"/>
              <a:gd name="T49" fmla="*/ 227 h 501"/>
              <a:gd name="T50" fmla="*/ 2320 w 5120"/>
              <a:gd name="T51" fmla="*/ 183 h 501"/>
              <a:gd name="T52" fmla="*/ 2170 w 5120"/>
              <a:gd name="T53" fmla="*/ 341 h 501"/>
              <a:gd name="T54" fmla="*/ 2024 w 5120"/>
              <a:gd name="T55" fmla="*/ 11 h 501"/>
              <a:gd name="T56" fmla="*/ 1974 w 5120"/>
              <a:gd name="T57" fmla="*/ 270 h 501"/>
              <a:gd name="T58" fmla="*/ 1894 w 5120"/>
              <a:gd name="T59" fmla="*/ 432 h 501"/>
              <a:gd name="T60" fmla="*/ 1788 w 5120"/>
              <a:gd name="T61" fmla="*/ 260 h 501"/>
              <a:gd name="T62" fmla="*/ 1737 w 5120"/>
              <a:gd name="T63" fmla="*/ 321 h 501"/>
              <a:gd name="T64" fmla="*/ 1643 w 5120"/>
              <a:gd name="T65" fmla="*/ 372 h 501"/>
              <a:gd name="T66" fmla="*/ 1487 w 5120"/>
              <a:gd name="T67" fmla="*/ 357 h 501"/>
              <a:gd name="T68" fmla="*/ 1398 w 5120"/>
              <a:gd name="T69" fmla="*/ 219 h 501"/>
              <a:gd name="T70" fmla="*/ 1304 w 5120"/>
              <a:gd name="T71" fmla="*/ 265 h 501"/>
              <a:gd name="T72" fmla="*/ 1211 w 5120"/>
              <a:gd name="T73" fmla="*/ 386 h 501"/>
              <a:gd name="T74" fmla="*/ 1121 w 5120"/>
              <a:gd name="T75" fmla="*/ 106 h 501"/>
              <a:gd name="T76" fmla="*/ 1038 w 5120"/>
              <a:gd name="T77" fmla="*/ 282 h 501"/>
              <a:gd name="T78" fmla="*/ 952 w 5120"/>
              <a:gd name="T79" fmla="*/ 265 h 501"/>
              <a:gd name="T80" fmla="*/ 807 w 5120"/>
              <a:gd name="T81" fmla="*/ 250 h 501"/>
              <a:gd name="T82" fmla="*/ 694 w 5120"/>
              <a:gd name="T83" fmla="*/ 2 h 501"/>
              <a:gd name="T84" fmla="*/ 597 w 5120"/>
              <a:gd name="T85" fmla="*/ 242 h 501"/>
              <a:gd name="T86" fmla="*/ 529 w 5120"/>
              <a:gd name="T87" fmla="*/ 288 h 501"/>
              <a:gd name="T88" fmla="*/ 440 w 5120"/>
              <a:gd name="T89" fmla="*/ 160 h 501"/>
              <a:gd name="T90" fmla="*/ 331 w 5120"/>
              <a:gd name="T91" fmla="*/ 357 h 501"/>
              <a:gd name="T92" fmla="*/ 203 w 5120"/>
              <a:gd name="T93" fmla="*/ 157 h 501"/>
              <a:gd name="T94" fmla="*/ 93 w 5120"/>
              <a:gd name="T95" fmla="*/ 238 h 501"/>
              <a:gd name="T96" fmla="*/ 0 w 5120"/>
              <a:gd name="T97" fmla="*/ 501 h 501"/>
              <a:gd name="T98" fmla="*/ 1236 w 5120"/>
              <a:gd name="T99" fmla="*/ 368 h 501"/>
              <a:gd name="T100" fmla="*/ 1389 w 5120"/>
              <a:gd name="T101" fmla="*/ 290 h 501"/>
              <a:gd name="T102" fmla="*/ 1605 w 5120"/>
              <a:gd name="T103" fmla="*/ 293 h 501"/>
              <a:gd name="T104" fmla="*/ 2271 w 5120"/>
              <a:gd name="T105" fmla="*/ 287 h 501"/>
              <a:gd name="T106" fmla="*/ 2623 w 5120"/>
              <a:gd name="T107" fmla="*/ 375 h 501"/>
              <a:gd name="T108" fmla="*/ 2775 w 5120"/>
              <a:gd name="T109" fmla="*/ 354 h 501"/>
              <a:gd name="T110" fmla="*/ 3122 w 5120"/>
              <a:gd name="T111" fmla="*/ 354 h 501"/>
              <a:gd name="T112" fmla="*/ 3664 w 5120"/>
              <a:gd name="T113" fmla="*/ 311 h 501"/>
              <a:gd name="T114" fmla="*/ 4101 w 5120"/>
              <a:gd name="T115" fmla="*/ 286 h 501"/>
              <a:gd name="T116" fmla="*/ 4343 w 5120"/>
              <a:gd name="T117" fmla="*/ 364 h 501"/>
              <a:gd name="T118" fmla="*/ 4704 w 5120"/>
              <a:gd name="T119" fmla="*/ 358 h 5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120" h="501">
                <a:moveTo>
                  <a:pt x="5104" y="142"/>
                </a:moveTo>
                <a:cubicBezTo>
                  <a:pt x="5104" y="141"/>
                  <a:pt x="5103" y="142"/>
                  <a:pt x="5103" y="143"/>
                </a:cubicBezTo>
                <a:cubicBezTo>
                  <a:pt x="5109" y="181"/>
                  <a:pt x="5102" y="226"/>
                  <a:pt x="5100" y="265"/>
                </a:cubicBezTo>
                <a:cubicBezTo>
                  <a:pt x="5100" y="266"/>
                  <a:pt x="5100" y="267"/>
                  <a:pt x="5100" y="269"/>
                </a:cubicBezTo>
                <a:cubicBezTo>
                  <a:pt x="5095" y="236"/>
                  <a:pt x="5089" y="205"/>
                  <a:pt x="5082" y="178"/>
                </a:cubicBezTo>
                <a:cubicBezTo>
                  <a:pt x="5081" y="176"/>
                  <a:pt x="5080" y="178"/>
                  <a:pt x="5080" y="179"/>
                </a:cubicBezTo>
                <a:cubicBezTo>
                  <a:pt x="5086" y="222"/>
                  <a:pt x="5086" y="269"/>
                  <a:pt x="5084" y="315"/>
                </a:cubicBezTo>
                <a:cubicBezTo>
                  <a:pt x="5080" y="279"/>
                  <a:pt x="5074" y="244"/>
                  <a:pt x="5063" y="213"/>
                </a:cubicBezTo>
                <a:cubicBezTo>
                  <a:pt x="5056" y="194"/>
                  <a:pt x="5043" y="161"/>
                  <a:pt x="5030" y="153"/>
                </a:cubicBezTo>
                <a:cubicBezTo>
                  <a:pt x="5031" y="137"/>
                  <a:pt x="5032" y="122"/>
                  <a:pt x="5034" y="107"/>
                </a:cubicBezTo>
                <a:cubicBezTo>
                  <a:pt x="5034" y="105"/>
                  <a:pt x="5032" y="106"/>
                  <a:pt x="5032" y="107"/>
                </a:cubicBezTo>
                <a:cubicBezTo>
                  <a:pt x="5021" y="169"/>
                  <a:pt x="5009" y="229"/>
                  <a:pt x="5001" y="291"/>
                </a:cubicBezTo>
                <a:cubicBezTo>
                  <a:pt x="5001" y="241"/>
                  <a:pt x="5001" y="190"/>
                  <a:pt x="5000" y="139"/>
                </a:cubicBezTo>
                <a:cubicBezTo>
                  <a:pt x="5000" y="138"/>
                  <a:pt x="4999" y="139"/>
                  <a:pt x="4999" y="140"/>
                </a:cubicBezTo>
                <a:cubicBezTo>
                  <a:pt x="4996" y="177"/>
                  <a:pt x="4985" y="211"/>
                  <a:pt x="4981" y="248"/>
                </a:cubicBezTo>
                <a:cubicBezTo>
                  <a:pt x="4980" y="257"/>
                  <a:pt x="4979" y="267"/>
                  <a:pt x="4978" y="276"/>
                </a:cubicBezTo>
                <a:cubicBezTo>
                  <a:pt x="4977" y="194"/>
                  <a:pt x="4977" y="111"/>
                  <a:pt x="4982" y="28"/>
                </a:cubicBezTo>
                <a:cubicBezTo>
                  <a:pt x="4983" y="27"/>
                  <a:pt x="4981" y="27"/>
                  <a:pt x="4981" y="29"/>
                </a:cubicBezTo>
                <a:cubicBezTo>
                  <a:pt x="4970" y="104"/>
                  <a:pt x="4960" y="177"/>
                  <a:pt x="4955" y="253"/>
                </a:cubicBezTo>
                <a:cubicBezTo>
                  <a:pt x="4949" y="194"/>
                  <a:pt x="4941" y="137"/>
                  <a:pt x="4932" y="78"/>
                </a:cubicBezTo>
                <a:cubicBezTo>
                  <a:pt x="4932" y="76"/>
                  <a:pt x="4930" y="78"/>
                  <a:pt x="4930" y="79"/>
                </a:cubicBezTo>
                <a:cubicBezTo>
                  <a:pt x="4936" y="164"/>
                  <a:pt x="4933" y="251"/>
                  <a:pt x="4930" y="337"/>
                </a:cubicBezTo>
                <a:cubicBezTo>
                  <a:pt x="4928" y="301"/>
                  <a:pt x="4925" y="265"/>
                  <a:pt x="4924" y="229"/>
                </a:cubicBezTo>
                <a:cubicBezTo>
                  <a:pt x="4924" y="226"/>
                  <a:pt x="4922" y="229"/>
                  <a:pt x="4922" y="231"/>
                </a:cubicBezTo>
                <a:cubicBezTo>
                  <a:pt x="4920" y="269"/>
                  <a:pt x="4915" y="305"/>
                  <a:pt x="4911" y="343"/>
                </a:cubicBezTo>
                <a:cubicBezTo>
                  <a:pt x="4910" y="355"/>
                  <a:pt x="4909" y="368"/>
                  <a:pt x="4908" y="380"/>
                </a:cubicBezTo>
                <a:cubicBezTo>
                  <a:pt x="4908" y="364"/>
                  <a:pt x="4909" y="347"/>
                  <a:pt x="4909" y="330"/>
                </a:cubicBezTo>
                <a:cubicBezTo>
                  <a:pt x="4910" y="226"/>
                  <a:pt x="4901" y="114"/>
                  <a:pt x="4911" y="11"/>
                </a:cubicBezTo>
                <a:cubicBezTo>
                  <a:pt x="4912" y="9"/>
                  <a:pt x="4909" y="10"/>
                  <a:pt x="4909" y="11"/>
                </a:cubicBezTo>
                <a:cubicBezTo>
                  <a:pt x="4896" y="88"/>
                  <a:pt x="4887" y="164"/>
                  <a:pt x="4882" y="242"/>
                </a:cubicBezTo>
                <a:cubicBezTo>
                  <a:pt x="4877" y="196"/>
                  <a:pt x="4873" y="150"/>
                  <a:pt x="4872" y="104"/>
                </a:cubicBezTo>
                <a:cubicBezTo>
                  <a:pt x="4872" y="102"/>
                  <a:pt x="4870" y="104"/>
                  <a:pt x="4870" y="106"/>
                </a:cubicBezTo>
                <a:cubicBezTo>
                  <a:pt x="4869" y="128"/>
                  <a:pt x="4868" y="150"/>
                  <a:pt x="4867" y="172"/>
                </a:cubicBezTo>
                <a:cubicBezTo>
                  <a:pt x="4864" y="114"/>
                  <a:pt x="4857" y="55"/>
                  <a:pt x="4843" y="4"/>
                </a:cubicBezTo>
                <a:cubicBezTo>
                  <a:pt x="4843" y="3"/>
                  <a:pt x="4842" y="5"/>
                  <a:pt x="4842" y="6"/>
                </a:cubicBezTo>
                <a:cubicBezTo>
                  <a:pt x="4846" y="55"/>
                  <a:pt x="4840" y="112"/>
                  <a:pt x="4840" y="161"/>
                </a:cubicBezTo>
                <a:cubicBezTo>
                  <a:pt x="4839" y="207"/>
                  <a:pt x="4838" y="252"/>
                  <a:pt x="4836" y="297"/>
                </a:cubicBezTo>
                <a:cubicBezTo>
                  <a:pt x="4828" y="193"/>
                  <a:pt x="4814" y="100"/>
                  <a:pt x="4784" y="8"/>
                </a:cubicBezTo>
                <a:cubicBezTo>
                  <a:pt x="4783" y="6"/>
                  <a:pt x="4782" y="8"/>
                  <a:pt x="4782" y="9"/>
                </a:cubicBezTo>
                <a:cubicBezTo>
                  <a:pt x="4800" y="83"/>
                  <a:pt x="4809" y="159"/>
                  <a:pt x="4814" y="236"/>
                </a:cubicBezTo>
                <a:cubicBezTo>
                  <a:pt x="4813" y="232"/>
                  <a:pt x="4811" y="229"/>
                  <a:pt x="4810" y="225"/>
                </a:cubicBezTo>
                <a:cubicBezTo>
                  <a:pt x="4803" y="207"/>
                  <a:pt x="4788" y="180"/>
                  <a:pt x="4773" y="164"/>
                </a:cubicBezTo>
                <a:cubicBezTo>
                  <a:pt x="4766" y="152"/>
                  <a:pt x="4758" y="141"/>
                  <a:pt x="4748" y="132"/>
                </a:cubicBezTo>
                <a:cubicBezTo>
                  <a:pt x="4747" y="132"/>
                  <a:pt x="4746" y="134"/>
                  <a:pt x="4747" y="135"/>
                </a:cubicBezTo>
                <a:cubicBezTo>
                  <a:pt x="4758" y="171"/>
                  <a:pt x="4764" y="209"/>
                  <a:pt x="4768" y="247"/>
                </a:cubicBezTo>
                <a:cubicBezTo>
                  <a:pt x="4760" y="218"/>
                  <a:pt x="4747" y="186"/>
                  <a:pt x="4731" y="179"/>
                </a:cubicBezTo>
                <a:cubicBezTo>
                  <a:pt x="4730" y="178"/>
                  <a:pt x="4729" y="180"/>
                  <a:pt x="4730" y="181"/>
                </a:cubicBezTo>
                <a:cubicBezTo>
                  <a:pt x="4730" y="181"/>
                  <a:pt x="4730" y="181"/>
                  <a:pt x="4730" y="182"/>
                </a:cubicBezTo>
                <a:cubicBezTo>
                  <a:pt x="4730" y="182"/>
                  <a:pt x="4731" y="182"/>
                  <a:pt x="4731" y="181"/>
                </a:cubicBezTo>
                <a:cubicBezTo>
                  <a:pt x="4733" y="188"/>
                  <a:pt x="4736" y="195"/>
                  <a:pt x="4737" y="202"/>
                </a:cubicBezTo>
                <a:cubicBezTo>
                  <a:pt x="4740" y="216"/>
                  <a:pt x="4743" y="231"/>
                  <a:pt x="4744" y="245"/>
                </a:cubicBezTo>
                <a:cubicBezTo>
                  <a:pt x="4748" y="273"/>
                  <a:pt x="4750" y="300"/>
                  <a:pt x="4752" y="328"/>
                </a:cubicBezTo>
                <a:cubicBezTo>
                  <a:pt x="4753" y="337"/>
                  <a:pt x="4753" y="346"/>
                  <a:pt x="4753" y="355"/>
                </a:cubicBezTo>
                <a:cubicBezTo>
                  <a:pt x="4749" y="324"/>
                  <a:pt x="4743" y="294"/>
                  <a:pt x="4734" y="267"/>
                </a:cubicBezTo>
                <a:cubicBezTo>
                  <a:pt x="4727" y="247"/>
                  <a:pt x="4713" y="215"/>
                  <a:pt x="4701" y="207"/>
                </a:cubicBezTo>
                <a:cubicBezTo>
                  <a:pt x="4700" y="206"/>
                  <a:pt x="4700" y="208"/>
                  <a:pt x="4700" y="209"/>
                </a:cubicBezTo>
                <a:cubicBezTo>
                  <a:pt x="4714" y="230"/>
                  <a:pt x="4714" y="291"/>
                  <a:pt x="4717" y="321"/>
                </a:cubicBezTo>
                <a:cubicBezTo>
                  <a:pt x="4719" y="340"/>
                  <a:pt x="4720" y="359"/>
                  <a:pt x="4721" y="377"/>
                </a:cubicBezTo>
                <a:cubicBezTo>
                  <a:pt x="4721" y="379"/>
                  <a:pt x="4721" y="380"/>
                  <a:pt x="4720" y="381"/>
                </a:cubicBezTo>
                <a:cubicBezTo>
                  <a:pt x="4716" y="365"/>
                  <a:pt x="4710" y="349"/>
                  <a:pt x="4705" y="333"/>
                </a:cubicBezTo>
                <a:cubicBezTo>
                  <a:pt x="4706" y="308"/>
                  <a:pt x="4708" y="283"/>
                  <a:pt x="4710" y="259"/>
                </a:cubicBezTo>
                <a:cubicBezTo>
                  <a:pt x="4710" y="257"/>
                  <a:pt x="4709" y="258"/>
                  <a:pt x="4709" y="259"/>
                </a:cubicBezTo>
                <a:cubicBezTo>
                  <a:pt x="4705" y="277"/>
                  <a:pt x="4702" y="295"/>
                  <a:pt x="4699" y="313"/>
                </a:cubicBezTo>
                <a:cubicBezTo>
                  <a:pt x="4698" y="313"/>
                  <a:pt x="4698" y="314"/>
                  <a:pt x="4698" y="315"/>
                </a:cubicBezTo>
                <a:cubicBezTo>
                  <a:pt x="4698" y="315"/>
                  <a:pt x="4698" y="316"/>
                  <a:pt x="4698" y="316"/>
                </a:cubicBezTo>
                <a:cubicBezTo>
                  <a:pt x="4691" y="359"/>
                  <a:pt x="4683" y="401"/>
                  <a:pt x="4677" y="444"/>
                </a:cubicBezTo>
                <a:cubicBezTo>
                  <a:pt x="4677" y="393"/>
                  <a:pt x="4677" y="342"/>
                  <a:pt x="4677" y="292"/>
                </a:cubicBezTo>
                <a:cubicBezTo>
                  <a:pt x="4677" y="291"/>
                  <a:pt x="4676" y="292"/>
                  <a:pt x="4676" y="292"/>
                </a:cubicBezTo>
                <a:cubicBezTo>
                  <a:pt x="4672" y="329"/>
                  <a:pt x="4661" y="363"/>
                  <a:pt x="4657" y="400"/>
                </a:cubicBezTo>
                <a:cubicBezTo>
                  <a:pt x="4656" y="410"/>
                  <a:pt x="4655" y="419"/>
                  <a:pt x="4654" y="429"/>
                </a:cubicBezTo>
                <a:cubicBezTo>
                  <a:pt x="4653" y="346"/>
                  <a:pt x="4654" y="263"/>
                  <a:pt x="4659" y="181"/>
                </a:cubicBezTo>
                <a:cubicBezTo>
                  <a:pt x="4659" y="179"/>
                  <a:pt x="4657" y="180"/>
                  <a:pt x="4657" y="181"/>
                </a:cubicBezTo>
                <a:cubicBezTo>
                  <a:pt x="4646" y="257"/>
                  <a:pt x="4637" y="330"/>
                  <a:pt x="4631" y="405"/>
                </a:cubicBezTo>
                <a:cubicBezTo>
                  <a:pt x="4626" y="347"/>
                  <a:pt x="4617" y="289"/>
                  <a:pt x="4608" y="230"/>
                </a:cubicBezTo>
                <a:cubicBezTo>
                  <a:pt x="4608" y="229"/>
                  <a:pt x="4607" y="230"/>
                  <a:pt x="4607" y="232"/>
                </a:cubicBezTo>
                <a:cubicBezTo>
                  <a:pt x="4612" y="317"/>
                  <a:pt x="4610" y="404"/>
                  <a:pt x="4607" y="490"/>
                </a:cubicBezTo>
                <a:cubicBezTo>
                  <a:pt x="4605" y="471"/>
                  <a:pt x="4604" y="453"/>
                  <a:pt x="4603" y="434"/>
                </a:cubicBezTo>
                <a:cubicBezTo>
                  <a:pt x="4605" y="392"/>
                  <a:pt x="4602" y="348"/>
                  <a:pt x="4600" y="307"/>
                </a:cubicBezTo>
                <a:cubicBezTo>
                  <a:pt x="4600" y="307"/>
                  <a:pt x="4600" y="307"/>
                  <a:pt x="4599" y="307"/>
                </a:cubicBezTo>
                <a:cubicBezTo>
                  <a:pt x="4599" y="300"/>
                  <a:pt x="4599" y="294"/>
                  <a:pt x="4599" y="287"/>
                </a:cubicBezTo>
                <a:cubicBezTo>
                  <a:pt x="4600" y="285"/>
                  <a:pt x="4598" y="286"/>
                  <a:pt x="4598" y="288"/>
                </a:cubicBezTo>
                <a:cubicBezTo>
                  <a:pt x="4593" y="309"/>
                  <a:pt x="4588" y="330"/>
                  <a:pt x="4583" y="351"/>
                </a:cubicBezTo>
                <a:cubicBezTo>
                  <a:pt x="4582" y="287"/>
                  <a:pt x="4582" y="224"/>
                  <a:pt x="4588" y="164"/>
                </a:cubicBezTo>
                <a:cubicBezTo>
                  <a:pt x="4588" y="161"/>
                  <a:pt x="4586" y="162"/>
                  <a:pt x="4586" y="164"/>
                </a:cubicBezTo>
                <a:cubicBezTo>
                  <a:pt x="4572" y="241"/>
                  <a:pt x="4564" y="316"/>
                  <a:pt x="4558" y="394"/>
                </a:cubicBezTo>
                <a:cubicBezTo>
                  <a:pt x="4554" y="348"/>
                  <a:pt x="4550" y="302"/>
                  <a:pt x="4548" y="257"/>
                </a:cubicBezTo>
                <a:cubicBezTo>
                  <a:pt x="4548" y="254"/>
                  <a:pt x="4546" y="256"/>
                  <a:pt x="4546" y="258"/>
                </a:cubicBezTo>
                <a:cubicBezTo>
                  <a:pt x="4545" y="280"/>
                  <a:pt x="4545" y="302"/>
                  <a:pt x="4544" y="324"/>
                </a:cubicBezTo>
                <a:cubicBezTo>
                  <a:pt x="4540" y="266"/>
                  <a:pt x="4533" y="208"/>
                  <a:pt x="4519" y="157"/>
                </a:cubicBezTo>
                <a:cubicBezTo>
                  <a:pt x="4519" y="155"/>
                  <a:pt x="4518" y="157"/>
                  <a:pt x="4518" y="158"/>
                </a:cubicBezTo>
                <a:cubicBezTo>
                  <a:pt x="4522" y="195"/>
                  <a:pt x="4519" y="237"/>
                  <a:pt x="4517" y="277"/>
                </a:cubicBezTo>
                <a:cubicBezTo>
                  <a:pt x="4510" y="290"/>
                  <a:pt x="4503" y="304"/>
                  <a:pt x="4497" y="317"/>
                </a:cubicBezTo>
                <a:cubicBezTo>
                  <a:pt x="4489" y="263"/>
                  <a:pt x="4477" y="212"/>
                  <a:pt x="4460" y="160"/>
                </a:cubicBezTo>
                <a:cubicBezTo>
                  <a:pt x="4460" y="159"/>
                  <a:pt x="4458" y="160"/>
                  <a:pt x="4459" y="162"/>
                </a:cubicBezTo>
                <a:cubicBezTo>
                  <a:pt x="4473" y="220"/>
                  <a:pt x="4481" y="281"/>
                  <a:pt x="4487" y="342"/>
                </a:cubicBezTo>
                <a:cubicBezTo>
                  <a:pt x="4484" y="348"/>
                  <a:pt x="4481" y="354"/>
                  <a:pt x="4479" y="361"/>
                </a:cubicBezTo>
                <a:cubicBezTo>
                  <a:pt x="4476" y="354"/>
                  <a:pt x="4472" y="347"/>
                  <a:pt x="4468" y="341"/>
                </a:cubicBezTo>
                <a:cubicBezTo>
                  <a:pt x="4469" y="304"/>
                  <a:pt x="4470" y="267"/>
                  <a:pt x="4472" y="231"/>
                </a:cubicBezTo>
                <a:cubicBezTo>
                  <a:pt x="4472" y="228"/>
                  <a:pt x="4470" y="230"/>
                  <a:pt x="4470" y="231"/>
                </a:cubicBezTo>
                <a:cubicBezTo>
                  <a:pt x="4466" y="263"/>
                  <a:pt x="4460" y="293"/>
                  <a:pt x="4455" y="323"/>
                </a:cubicBezTo>
                <a:cubicBezTo>
                  <a:pt x="4452" y="319"/>
                  <a:pt x="4448" y="315"/>
                  <a:pt x="4445" y="312"/>
                </a:cubicBezTo>
                <a:cubicBezTo>
                  <a:pt x="4441" y="272"/>
                  <a:pt x="4435" y="233"/>
                  <a:pt x="4423" y="196"/>
                </a:cubicBezTo>
                <a:cubicBezTo>
                  <a:pt x="4423" y="195"/>
                  <a:pt x="4422" y="196"/>
                  <a:pt x="4422" y="197"/>
                </a:cubicBezTo>
                <a:cubicBezTo>
                  <a:pt x="4427" y="235"/>
                  <a:pt x="4421" y="280"/>
                  <a:pt x="4419" y="318"/>
                </a:cubicBezTo>
                <a:cubicBezTo>
                  <a:pt x="4419" y="320"/>
                  <a:pt x="4419" y="321"/>
                  <a:pt x="4419" y="323"/>
                </a:cubicBezTo>
                <a:cubicBezTo>
                  <a:pt x="4414" y="290"/>
                  <a:pt x="4408" y="258"/>
                  <a:pt x="4400" y="232"/>
                </a:cubicBezTo>
                <a:cubicBezTo>
                  <a:pt x="4400" y="230"/>
                  <a:pt x="4398" y="232"/>
                  <a:pt x="4399" y="233"/>
                </a:cubicBezTo>
                <a:cubicBezTo>
                  <a:pt x="4405" y="276"/>
                  <a:pt x="4404" y="323"/>
                  <a:pt x="4403" y="369"/>
                </a:cubicBezTo>
                <a:cubicBezTo>
                  <a:pt x="4399" y="333"/>
                  <a:pt x="4392" y="298"/>
                  <a:pt x="4382" y="267"/>
                </a:cubicBezTo>
                <a:cubicBezTo>
                  <a:pt x="4375" y="247"/>
                  <a:pt x="4361" y="215"/>
                  <a:pt x="4349" y="207"/>
                </a:cubicBezTo>
                <a:cubicBezTo>
                  <a:pt x="4350" y="191"/>
                  <a:pt x="4351" y="176"/>
                  <a:pt x="4352" y="160"/>
                </a:cubicBezTo>
                <a:cubicBezTo>
                  <a:pt x="4353" y="159"/>
                  <a:pt x="4351" y="159"/>
                  <a:pt x="4351" y="161"/>
                </a:cubicBezTo>
                <a:cubicBezTo>
                  <a:pt x="4340" y="223"/>
                  <a:pt x="4328" y="283"/>
                  <a:pt x="4319" y="345"/>
                </a:cubicBezTo>
                <a:cubicBezTo>
                  <a:pt x="4319" y="295"/>
                  <a:pt x="4319" y="244"/>
                  <a:pt x="4319" y="193"/>
                </a:cubicBezTo>
                <a:cubicBezTo>
                  <a:pt x="4319" y="192"/>
                  <a:pt x="4318" y="193"/>
                  <a:pt x="4318" y="194"/>
                </a:cubicBezTo>
                <a:cubicBezTo>
                  <a:pt x="4315" y="231"/>
                  <a:pt x="4304" y="265"/>
                  <a:pt x="4299" y="302"/>
                </a:cubicBezTo>
                <a:cubicBezTo>
                  <a:pt x="4298" y="311"/>
                  <a:pt x="4297" y="321"/>
                  <a:pt x="4296" y="330"/>
                </a:cubicBezTo>
                <a:cubicBezTo>
                  <a:pt x="4296" y="247"/>
                  <a:pt x="4296" y="165"/>
                  <a:pt x="4301" y="82"/>
                </a:cubicBezTo>
                <a:cubicBezTo>
                  <a:pt x="4301" y="80"/>
                  <a:pt x="4300" y="81"/>
                  <a:pt x="4300" y="83"/>
                </a:cubicBezTo>
                <a:cubicBezTo>
                  <a:pt x="4288" y="158"/>
                  <a:pt x="4279" y="231"/>
                  <a:pt x="4274" y="307"/>
                </a:cubicBezTo>
                <a:cubicBezTo>
                  <a:pt x="4268" y="248"/>
                  <a:pt x="4259" y="191"/>
                  <a:pt x="4251" y="132"/>
                </a:cubicBezTo>
                <a:cubicBezTo>
                  <a:pt x="4250" y="130"/>
                  <a:pt x="4249" y="132"/>
                  <a:pt x="4249" y="133"/>
                </a:cubicBezTo>
                <a:cubicBezTo>
                  <a:pt x="4254" y="218"/>
                  <a:pt x="4252" y="305"/>
                  <a:pt x="4249" y="391"/>
                </a:cubicBezTo>
                <a:cubicBezTo>
                  <a:pt x="4248" y="379"/>
                  <a:pt x="4247" y="366"/>
                  <a:pt x="4246" y="354"/>
                </a:cubicBezTo>
                <a:cubicBezTo>
                  <a:pt x="4246" y="350"/>
                  <a:pt x="4247" y="345"/>
                  <a:pt x="4247" y="341"/>
                </a:cubicBezTo>
                <a:cubicBezTo>
                  <a:pt x="4247" y="313"/>
                  <a:pt x="4250" y="265"/>
                  <a:pt x="4242" y="240"/>
                </a:cubicBezTo>
                <a:cubicBezTo>
                  <a:pt x="4242" y="240"/>
                  <a:pt x="4241" y="240"/>
                  <a:pt x="4241" y="241"/>
                </a:cubicBezTo>
                <a:cubicBezTo>
                  <a:pt x="4241" y="242"/>
                  <a:pt x="4241" y="242"/>
                  <a:pt x="4241" y="242"/>
                </a:cubicBezTo>
                <a:cubicBezTo>
                  <a:pt x="4240" y="242"/>
                  <a:pt x="4241" y="243"/>
                  <a:pt x="4241" y="242"/>
                </a:cubicBezTo>
                <a:cubicBezTo>
                  <a:pt x="4237" y="247"/>
                  <a:pt x="4233" y="300"/>
                  <a:pt x="4231" y="310"/>
                </a:cubicBezTo>
                <a:cubicBezTo>
                  <a:pt x="4230" y="318"/>
                  <a:pt x="4228" y="326"/>
                  <a:pt x="4227" y="335"/>
                </a:cubicBezTo>
                <a:cubicBezTo>
                  <a:pt x="4226" y="245"/>
                  <a:pt x="4221" y="152"/>
                  <a:pt x="4230" y="65"/>
                </a:cubicBezTo>
                <a:cubicBezTo>
                  <a:pt x="4230" y="63"/>
                  <a:pt x="4228" y="64"/>
                  <a:pt x="4228" y="65"/>
                </a:cubicBezTo>
                <a:cubicBezTo>
                  <a:pt x="4214" y="142"/>
                  <a:pt x="4206" y="218"/>
                  <a:pt x="4200" y="295"/>
                </a:cubicBezTo>
                <a:cubicBezTo>
                  <a:pt x="4196" y="250"/>
                  <a:pt x="4192" y="204"/>
                  <a:pt x="4191" y="158"/>
                </a:cubicBezTo>
                <a:cubicBezTo>
                  <a:pt x="4191" y="156"/>
                  <a:pt x="4188" y="158"/>
                  <a:pt x="4188" y="160"/>
                </a:cubicBezTo>
                <a:cubicBezTo>
                  <a:pt x="4188" y="182"/>
                  <a:pt x="4187" y="204"/>
                  <a:pt x="4186" y="226"/>
                </a:cubicBezTo>
                <a:cubicBezTo>
                  <a:pt x="4183" y="167"/>
                  <a:pt x="4175" y="109"/>
                  <a:pt x="4162" y="58"/>
                </a:cubicBezTo>
                <a:cubicBezTo>
                  <a:pt x="4161" y="57"/>
                  <a:pt x="4160" y="59"/>
                  <a:pt x="4160" y="60"/>
                </a:cubicBezTo>
                <a:cubicBezTo>
                  <a:pt x="4165" y="108"/>
                  <a:pt x="4159" y="166"/>
                  <a:pt x="4158" y="215"/>
                </a:cubicBezTo>
                <a:cubicBezTo>
                  <a:pt x="4158" y="227"/>
                  <a:pt x="4158" y="240"/>
                  <a:pt x="4158" y="252"/>
                </a:cubicBezTo>
                <a:cubicBezTo>
                  <a:pt x="4154" y="259"/>
                  <a:pt x="4150" y="267"/>
                  <a:pt x="4147" y="274"/>
                </a:cubicBezTo>
                <a:cubicBezTo>
                  <a:pt x="4138" y="200"/>
                  <a:pt x="4125" y="131"/>
                  <a:pt x="4102" y="61"/>
                </a:cubicBezTo>
                <a:cubicBezTo>
                  <a:pt x="4102" y="60"/>
                  <a:pt x="4101" y="62"/>
                  <a:pt x="4101" y="63"/>
                </a:cubicBezTo>
                <a:cubicBezTo>
                  <a:pt x="4111" y="104"/>
                  <a:pt x="4118" y="145"/>
                  <a:pt x="4123" y="186"/>
                </a:cubicBezTo>
                <a:cubicBezTo>
                  <a:pt x="4120" y="207"/>
                  <a:pt x="4116" y="227"/>
                  <a:pt x="4113" y="247"/>
                </a:cubicBezTo>
                <a:cubicBezTo>
                  <a:pt x="4107" y="237"/>
                  <a:pt x="4100" y="227"/>
                  <a:pt x="4094" y="220"/>
                </a:cubicBezTo>
                <a:cubicBezTo>
                  <a:pt x="4090" y="194"/>
                  <a:pt x="4084" y="169"/>
                  <a:pt x="4077" y="145"/>
                </a:cubicBezTo>
                <a:cubicBezTo>
                  <a:pt x="4076" y="144"/>
                  <a:pt x="4075" y="145"/>
                  <a:pt x="4075" y="146"/>
                </a:cubicBezTo>
                <a:cubicBezTo>
                  <a:pt x="4078" y="165"/>
                  <a:pt x="4078" y="186"/>
                  <a:pt x="4077" y="207"/>
                </a:cubicBezTo>
                <a:cubicBezTo>
                  <a:pt x="4076" y="206"/>
                  <a:pt x="4076" y="205"/>
                  <a:pt x="4076" y="205"/>
                </a:cubicBezTo>
                <a:cubicBezTo>
                  <a:pt x="4075" y="204"/>
                  <a:pt x="4074" y="206"/>
                  <a:pt x="4074" y="207"/>
                </a:cubicBezTo>
                <a:cubicBezTo>
                  <a:pt x="4075" y="209"/>
                  <a:pt x="4076" y="210"/>
                  <a:pt x="4076" y="212"/>
                </a:cubicBezTo>
                <a:cubicBezTo>
                  <a:pt x="4075" y="231"/>
                  <a:pt x="4073" y="250"/>
                  <a:pt x="4072" y="267"/>
                </a:cubicBezTo>
                <a:cubicBezTo>
                  <a:pt x="4072" y="269"/>
                  <a:pt x="4072" y="270"/>
                  <a:pt x="4072" y="272"/>
                </a:cubicBezTo>
                <a:cubicBezTo>
                  <a:pt x="4067" y="239"/>
                  <a:pt x="4061" y="207"/>
                  <a:pt x="4054" y="181"/>
                </a:cubicBezTo>
                <a:cubicBezTo>
                  <a:pt x="4054" y="179"/>
                  <a:pt x="4052" y="181"/>
                  <a:pt x="4052" y="182"/>
                </a:cubicBezTo>
                <a:cubicBezTo>
                  <a:pt x="4058" y="225"/>
                  <a:pt x="4058" y="272"/>
                  <a:pt x="4057" y="318"/>
                </a:cubicBezTo>
                <a:cubicBezTo>
                  <a:pt x="4052" y="282"/>
                  <a:pt x="4046" y="247"/>
                  <a:pt x="4035" y="216"/>
                </a:cubicBezTo>
                <a:cubicBezTo>
                  <a:pt x="4029" y="196"/>
                  <a:pt x="4015" y="164"/>
                  <a:pt x="4002" y="156"/>
                </a:cubicBezTo>
                <a:cubicBezTo>
                  <a:pt x="4002" y="155"/>
                  <a:pt x="4001" y="157"/>
                  <a:pt x="4001" y="157"/>
                </a:cubicBezTo>
                <a:cubicBezTo>
                  <a:pt x="4015" y="179"/>
                  <a:pt x="4016" y="240"/>
                  <a:pt x="4018" y="270"/>
                </a:cubicBezTo>
                <a:cubicBezTo>
                  <a:pt x="4020" y="289"/>
                  <a:pt x="4021" y="307"/>
                  <a:pt x="4023" y="326"/>
                </a:cubicBezTo>
                <a:cubicBezTo>
                  <a:pt x="4022" y="328"/>
                  <a:pt x="4022" y="329"/>
                  <a:pt x="4022" y="330"/>
                </a:cubicBezTo>
                <a:cubicBezTo>
                  <a:pt x="4017" y="314"/>
                  <a:pt x="4012" y="298"/>
                  <a:pt x="4007" y="282"/>
                </a:cubicBezTo>
                <a:cubicBezTo>
                  <a:pt x="4008" y="257"/>
                  <a:pt x="4009" y="232"/>
                  <a:pt x="4011" y="208"/>
                </a:cubicBezTo>
                <a:cubicBezTo>
                  <a:pt x="4012" y="206"/>
                  <a:pt x="4010" y="207"/>
                  <a:pt x="4010" y="208"/>
                </a:cubicBezTo>
                <a:cubicBezTo>
                  <a:pt x="4007" y="226"/>
                  <a:pt x="4004" y="244"/>
                  <a:pt x="4000" y="262"/>
                </a:cubicBezTo>
                <a:cubicBezTo>
                  <a:pt x="4000" y="262"/>
                  <a:pt x="3999" y="263"/>
                  <a:pt x="3999" y="264"/>
                </a:cubicBezTo>
                <a:cubicBezTo>
                  <a:pt x="3999" y="264"/>
                  <a:pt x="4000" y="265"/>
                  <a:pt x="4000" y="265"/>
                </a:cubicBezTo>
                <a:cubicBezTo>
                  <a:pt x="3992" y="308"/>
                  <a:pt x="3984" y="350"/>
                  <a:pt x="3978" y="393"/>
                </a:cubicBezTo>
                <a:cubicBezTo>
                  <a:pt x="3978" y="342"/>
                  <a:pt x="3978" y="291"/>
                  <a:pt x="3978" y="241"/>
                </a:cubicBezTo>
                <a:cubicBezTo>
                  <a:pt x="3978" y="239"/>
                  <a:pt x="3977" y="240"/>
                  <a:pt x="3977" y="241"/>
                </a:cubicBezTo>
                <a:cubicBezTo>
                  <a:pt x="3974" y="278"/>
                  <a:pt x="3963" y="312"/>
                  <a:pt x="3958" y="349"/>
                </a:cubicBezTo>
                <a:cubicBezTo>
                  <a:pt x="3957" y="359"/>
                  <a:pt x="3956" y="368"/>
                  <a:pt x="3955" y="378"/>
                </a:cubicBezTo>
                <a:cubicBezTo>
                  <a:pt x="3955" y="295"/>
                  <a:pt x="3955" y="212"/>
                  <a:pt x="3960" y="130"/>
                </a:cubicBezTo>
                <a:cubicBezTo>
                  <a:pt x="3960" y="128"/>
                  <a:pt x="3959" y="129"/>
                  <a:pt x="3959" y="130"/>
                </a:cubicBezTo>
                <a:cubicBezTo>
                  <a:pt x="3947" y="206"/>
                  <a:pt x="3938" y="279"/>
                  <a:pt x="3933" y="354"/>
                </a:cubicBezTo>
                <a:cubicBezTo>
                  <a:pt x="3927" y="296"/>
                  <a:pt x="3918" y="238"/>
                  <a:pt x="3910" y="179"/>
                </a:cubicBezTo>
                <a:cubicBezTo>
                  <a:pt x="3910" y="178"/>
                  <a:pt x="3908" y="179"/>
                  <a:pt x="3908" y="181"/>
                </a:cubicBezTo>
                <a:cubicBezTo>
                  <a:pt x="3913" y="253"/>
                  <a:pt x="3912" y="326"/>
                  <a:pt x="3909" y="399"/>
                </a:cubicBezTo>
                <a:cubicBezTo>
                  <a:pt x="3908" y="399"/>
                  <a:pt x="3907" y="400"/>
                  <a:pt x="3905" y="400"/>
                </a:cubicBezTo>
                <a:cubicBezTo>
                  <a:pt x="3904" y="377"/>
                  <a:pt x="3903" y="354"/>
                  <a:pt x="3902" y="331"/>
                </a:cubicBezTo>
                <a:cubicBezTo>
                  <a:pt x="3902" y="328"/>
                  <a:pt x="3899" y="330"/>
                  <a:pt x="3899" y="332"/>
                </a:cubicBezTo>
                <a:cubicBezTo>
                  <a:pt x="3898" y="356"/>
                  <a:pt x="3896" y="379"/>
                  <a:pt x="3893" y="403"/>
                </a:cubicBezTo>
                <a:cubicBezTo>
                  <a:pt x="3891" y="403"/>
                  <a:pt x="3889" y="404"/>
                  <a:pt x="3886" y="404"/>
                </a:cubicBezTo>
                <a:cubicBezTo>
                  <a:pt x="3886" y="308"/>
                  <a:pt x="3880" y="207"/>
                  <a:pt x="3889" y="112"/>
                </a:cubicBezTo>
                <a:cubicBezTo>
                  <a:pt x="3889" y="110"/>
                  <a:pt x="3887" y="111"/>
                  <a:pt x="3887" y="113"/>
                </a:cubicBezTo>
                <a:cubicBezTo>
                  <a:pt x="3873" y="190"/>
                  <a:pt x="3865" y="265"/>
                  <a:pt x="3859" y="343"/>
                </a:cubicBezTo>
                <a:cubicBezTo>
                  <a:pt x="3855" y="297"/>
                  <a:pt x="3851" y="251"/>
                  <a:pt x="3850" y="206"/>
                </a:cubicBezTo>
                <a:cubicBezTo>
                  <a:pt x="3850" y="203"/>
                  <a:pt x="3847" y="205"/>
                  <a:pt x="3847" y="207"/>
                </a:cubicBezTo>
                <a:cubicBezTo>
                  <a:pt x="3847" y="229"/>
                  <a:pt x="3846" y="251"/>
                  <a:pt x="3845" y="273"/>
                </a:cubicBezTo>
                <a:cubicBezTo>
                  <a:pt x="3842" y="215"/>
                  <a:pt x="3834" y="157"/>
                  <a:pt x="3821" y="106"/>
                </a:cubicBezTo>
                <a:cubicBezTo>
                  <a:pt x="3821" y="104"/>
                  <a:pt x="3819" y="106"/>
                  <a:pt x="3819" y="107"/>
                </a:cubicBezTo>
                <a:cubicBezTo>
                  <a:pt x="3823" y="144"/>
                  <a:pt x="3820" y="186"/>
                  <a:pt x="3819" y="226"/>
                </a:cubicBezTo>
                <a:cubicBezTo>
                  <a:pt x="3812" y="239"/>
                  <a:pt x="3805" y="253"/>
                  <a:pt x="3799" y="266"/>
                </a:cubicBezTo>
                <a:cubicBezTo>
                  <a:pt x="3790" y="212"/>
                  <a:pt x="3778" y="161"/>
                  <a:pt x="3761" y="109"/>
                </a:cubicBezTo>
                <a:cubicBezTo>
                  <a:pt x="3761" y="108"/>
                  <a:pt x="3760" y="109"/>
                  <a:pt x="3760" y="111"/>
                </a:cubicBezTo>
                <a:cubicBezTo>
                  <a:pt x="3774" y="169"/>
                  <a:pt x="3783" y="230"/>
                  <a:pt x="3788" y="291"/>
                </a:cubicBezTo>
                <a:cubicBezTo>
                  <a:pt x="3785" y="297"/>
                  <a:pt x="3783" y="303"/>
                  <a:pt x="3780" y="310"/>
                </a:cubicBezTo>
                <a:cubicBezTo>
                  <a:pt x="3777" y="303"/>
                  <a:pt x="3773" y="296"/>
                  <a:pt x="3769" y="290"/>
                </a:cubicBezTo>
                <a:cubicBezTo>
                  <a:pt x="3770" y="253"/>
                  <a:pt x="3771" y="216"/>
                  <a:pt x="3773" y="180"/>
                </a:cubicBezTo>
                <a:cubicBezTo>
                  <a:pt x="3773" y="177"/>
                  <a:pt x="3772" y="179"/>
                  <a:pt x="3772" y="180"/>
                </a:cubicBezTo>
                <a:cubicBezTo>
                  <a:pt x="3767" y="212"/>
                  <a:pt x="3762" y="242"/>
                  <a:pt x="3756" y="272"/>
                </a:cubicBezTo>
                <a:cubicBezTo>
                  <a:pt x="3753" y="268"/>
                  <a:pt x="3750" y="264"/>
                  <a:pt x="3746" y="261"/>
                </a:cubicBezTo>
                <a:cubicBezTo>
                  <a:pt x="3743" y="221"/>
                  <a:pt x="3736" y="182"/>
                  <a:pt x="3725" y="145"/>
                </a:cubicBezTo>
                <a:cubicBezTo>
                  <a:pt x="3724" y="144"/>
                  <a:pt x="3723" y="145"/>
                  <a:pt x="3723" y="146"/>
                </a:cubicBezTo>
                <a:cubicBezTo>
                  <a:pt x="3729" y="184"/>
                  <a:pt x="3722" y="229"/>
                  <a:pt x="3720" y="267"/>
                </a:cubicBezTo>
                <a:cubicBezTo>
                  <a:pt x="3720" y="269"/>
                  <a:pt x="3720" y="270"/>
                  <a:pt x="3720" y="272"/>
                </a:cubicBezTo>
                <a:cubicBezTo>
                  <a:pt x="3715" y="239"/>
                  <a:pt x="3709" y="207"/>
                  <a:pt x="3702" y="181"/>
                </a:cubicBezTo>
                <a:cubicBezTo>
                  <a:pt x="3701" y="179"/>
                  <a:pt x="3700" y="181"/>
                  <a:pt x="3700" y="182"/>
                </a:cubicBezTo>
                <a:cubicBezTo>
                  <a:pt x="3706" y="225"/>
                  <a:pt x="3706" y="272"/>
                  <a:pt x="3704" y="318"/>
                </a:cubicBezTo>
                <a:cubicBezTo>
                  <a:pt x="3700" y="282"/>
                  <a:pt x="3694" y="247"/>
                  <a:pt x="3683" y="216"/>
                </a:cubicBezTo>
                <a:cubicBezTo>
                  <a:pt x="3677" y="196"/>
                  <a:pt x="3663" y="164"/>
                  <a:pt x="3650" y="156"/>
                </a:cubicBezTo>
                <a:cubicBezTo>
                  <a:pt x="3651" y="140"/>
                  <a:pt x="3652" y="125"/>
                  <a:pt x="3654" y="109"/>
                </a:cubicBezTo>
                <a:cubicBezTo>
                  <a:pt x="3654" y="108"/>
                  <a:pt x="3652" y="108"/>
                  <a:pt x="3652" y="110"/>
                </a:cubicBezTo>
                <a:cubicBezTo>
                  <a:pt x="3641" y="172"/>
                  <a:pt x="3629" y="232"/>
                  <a:pt x="3621" y="294"/>
                </a:cubicBezTo>
                <a:cubicBezTo>
                  <a:pt x="3621" y="244"/>
                  <a:pt x="3621" y="193"/>
                  <a:pt x="3621" y="142"/>
                </a:cubicBezTo>
                <a:cubicBezTo>
                  <a:pt x="3621" y="141"/>
                  <a:pt x="3620" y="142"/>
                  <a:pt x="3619" y="143"/>
                </a:cubicBezTo>
                <a:cubicBezTo>
                  <a:pt x="3616" y="180"/>
                  <a:pt x="3605" y="214"/>
                  <a:pt x="3601" y="251"/>
                </a:cubicBezTo>
                <a:cubicBezTo>
                  <a:pt x="3600" y="260"/>
                  <a:pt x="3599" y="270"/>
                  <a:pt x="3598" y="279"/>
                </a:cubicBezTo>
                <a:cubicBezTo>
                  <a:pt x="3597" y="196"/>
                  <a:pt x="3597" y="114"/>
                  <a:pt x="3602" y="31"/>
                </a:cubicBezTo>
                <a:cubicBezTo>
                  <a:pt x="3603" y="29"/>
                  <a:pt x="3601" y="30"/>
                  <a:pt x="3601" y="32"/>
                </a:cubicBezTo>
                <a:cubicBezTo>
                  <a:pt x="3590" y="107"/>
                  <a:pt x="3580" y="180"/>
                  <a:pt x="3575" y="256"/>
                </a:cubicBezTo>
                <a:cubicBezTo>
                  <a:pt x="3570" y="197"/>
                  <a:pt x="3561" y="140"/>
                  <a:pt x="3552" y="81"/>
                </a:cubicBezTo>
                <a:cubicBezTo>
                  <a:pt x="3552" y="79"/>
                  <a:pt x="3550" y="81"/>
                  <a:pt x="3551" y="82"/>
                </a:cubicBezTo>
                <a:cubicBezTo>
                  <a:pt x="3556" y="167"/>
                  <a:pt x="3553" y="254"/>
                  <a:pt x="3550" y="340"/>
                </a:cubicBezTo>
                <a:cubicBezTo>
                  <a:pt x="3548" y="304"/>
                  <a:pt x="3545" y="268"/>
                  <a:pt x="3544" y="232"/>
                </a:cubicBezTo>
                <a:cubicBezTo>
                  <a:pt x="3544" y="229"/>
                  <a:pt x="3542" y="232"/>
                  <a:pt x="3542" y="234"/>
                </a:cubicBezTo>
                <a:cubicBezTo>
                  <a:pt x="3540" y="272"/>
                  <a:pt x="3535" y="308"/>
                  <a:pt x="3531" y="346"/>
                </a:cubicBezTo>
                <a:cubicBezTo>
                  <a:pt x="3530" y="358"/>
                  <a:pt x="3529" y="371"/>
                  <a:pt x="3528" y="383"/>
                </a:cubicBezTo>
                <a:cubicBezTo>
                  <a:pt x="3528" y="366"/>
                  <a:pt x="3529" y="350"/>
                  <a:pt x="3529" y="333"/>
                </a:cubicBezTo>
                <a:cubicBezTo>
                  <a:pt x="3530" y="229"/>
                  <a:pt x="3521" y="117"/>
                  <a:pt x="3531" y="14"/>
                </a:cubicBezTo>
                <a:cubicBezTo>
                  <a:pt x="3532" y="12"/>
                  <a:pt x="3530" y="13"/>
                  <a:pt x="3529" y="14"/>
                </a:cubicBezTo>
                <a:cubicBezTo>
                  <a:pt x="3516" y="91"/>
                  <a:pt x="3507" y="167"/>
                  <a:pt x="3502" y="244"/>
                </a:cubicBezTo>
                <a:cubicBezTo>
                  <a:pt x="3498" y="199"/>
                  <a:pt x="3493" y="153"/>
                  <a:pt x="3492" y="107"/>
                </a:cubicBezTo>
                <a:cubicBezTo>
                  <a:pt x="3492" y="105"/>
                  <a:pt x="3490" y="107"/>
                  <a:pt x="3490" y="109"/>
                </a:cubicBezTo>
                <a:cubicBezTo>
                  <a:pt x="3489" y="131"/>
                  <a:pt x="3488" y="153"/>
                  <a:pt x="3488" y="175"/>
                </a:cubicBezTo>
                <a:cubicBezTo>
                  <a:pt x="3484" y="116"/>
                  <a:pt x="3477" y="58"/>
                  <a:pt x="3463" y="7"/>
                </a:cubicBezTo>
                <a:cubicBezTo>
                  <a:pt x="3463" y="6"/>
                  <a:pt x="3462" y="8"/>
                  <a:pt x="3462" y="9"/>
                </a:cubicBezTo>
                <a:cubicBezTo>
                  <a:pt x="3466" y="57"/>
                  <a:pt x="3461" y="115"/>
                  <a:pt x="3460" y="164"/>
                </a:cubicBezTo>
                <a:cubicBezTo>
                  <a:pt x="3459" y="209"/>
                  <a:pt x="3458" y="255"/>
                  <a:pt x="3456" y="300"/>
                </a:cubicBezTo>
                <a:cubicBezTo>
                  <a:pt x="3448" y="196"/>
                  <a:pt x="3434" y="103"/>
                  <a:pt x="3404" y="10"/>
                </a:cubicBezTo>
                <a:cubicBezTo>
                  <a:pt x="3403" y="9"/>
                  <a:pt x="3402" y="11"/>
                  <a:pt x="3402" y="12"/>
                </a:cubicBezTo>
                <a:cubicBezTo>
                  <a:pt x="3420" y="86"/>
                  <a:pt x="3429" y="162"/>
                  <a:pt x="3434" y="239"/>
                </a:cubicBezTo>
                <a:cubicBezTo>
                  <a:pt x="3433" y="235"/>
                  <a:pt x="3432" y="232"/>
                  <a:pt x="3430" y="228"/>
                </a:cubicBezTo>
                <a:cubicBezTo>
                  <a:pt x="3423" y="210"/>
                  <a:pt x="3408" y="182"/>
                  <a:pt x="3394" y="167"/>
                </a:cubicBezTo>
                <a:cubicBezTo>
                  <a:pt x="3387" y="155"/>
                  <a:pt x="3378" y="144"/>
                  <a:pt x="3368" y="135"/>
                </a:cubicBezTo>
                <a:cubicBezTo>
                  <a:pt x="3368" y="135"/>
                  <a:pt x="3366" y="137"/>
                  <a:pt x="3367" y="138"/>
                </a:cubicBezTo>
                <a:cubicBezTo>
                  <a:pt x="3379" y="174"/>
                  <a:pt x="3384" y="212"/>
                  <a:pt x="3388" y="250"/>
                </a:cubicBezTo>
                <a:cubicBezTo>
                  <a:pt x="3380" y="221"/>
                  <a:pt x="3367" y="189"/>
                  <a:pt x="3351" y="182"/>
                </a:cubicBezTo>
                <a:cubicBezTo>
                  <a:pt x="3350" y="181"/>
                  <a:pt x="3349" y="183"/>
                  <a:pt x="3350" y="184"/>
                </a:cubicBezTo>
                <a:cubicBezTo>
                  <a:pt x="3350" y="184"/>
                  <a:pt x="3350" y="184"/>
                  <a:pt x="3350" y="184"/>
                </a:cubicBezTo>
                <a:cubicBezTo>
                  <a:pt x="3350" y="185"/>
                  <a:pt x="3351" y="184"/>
                  <a:pt x="3351" y="184"/>
                </a:cubicBezTo>
                <a:cubicBezTo>
                  <a:pt x="3354" y="191"/>
                  <a:pt x="3356" y="197"/>
                  <a:pt x="3357" y="205"/>
                </a:cubicBezTo>
                <a:cubicBezTo>
                  <a:pt x="3360" y="219"/>
                  <a:pt x="3363" y="233"/>
                  <a:pt x="3364" y="248"/>
                </a:cubicBezTo>
                <a:cubicBezTo>
                  <a:pt x="3368" y="276"/>
                  <a:pt x="3370" y="303"/>
                  <a:pt x="3372" y="331"/>
                </a:cubicBezTo>
                <a:cubicBezTo>
                  <a:pt x="3373" y="340"/>
                  <a:pt x="3373" y="349"/>
                  <a:pt x="3373" y="358"/>
                </a:cubicBezTo>
                <a:cubicBezTo>
                  <a:pt x="3369" y="327"/>
                  <a:pt x="3363" y="297"/>
                  <a:pt x="3354" y="269"/>
                </a:cubicBezTo>
                <a:cubicBezTo>
                  <a:pt x="3347" y="250"/>
                  <a:pt x="3333" y="217"/>
                  <a:pt x="3321" y="210"/>
                </a:cubicBezTo>
                <a:cubicBezTo>
                  <a:pt x="3320" y="209"/>
                  <a:pt x="3320" y="211"/>
                  <a:pt x="3320" y="211"/>
                </a:cubicBezTo>
                <a:cubicBezTo>
                  <a:pt x="3334" y="233"/>
                  <a:pt x="3334" y="294"/>
                  <a:pt x="3337" y="324"/>
                </a:cubicBezTo>
                <a:cubicBezTo>
                  <a:pt x="3339" y="343"/>
                  <a:pt x="3340" y="361"/>
                  <a:pt x="3341" y="380"/>
                </a:cubicBezTo>
                <a:cubicBezTo>
                  <a:pt x="3341" y="382"/>
                  <a:pt x="3341" y="383"/>
                  <a:pt x="3340" y="384"/>
                </a:cubicBezTo>
                <a:cubicBezTo>
                  <a:pt x="3336" y="368"/>
                  <a:pt x="3330" y="352"/>
                  <a:pt x="3325" y="336"/>
                </a:cubicBezTo>
                <a:cubicBezTo>
                  <a:pt x="3327" y="311"/>
                  <a:pt x="3328" y="286"/>
                  <a:pt x="3330" y="262"/>
                </a:cubicBezTo>
                <a:cubicBezTo>
                  <a:pt x="3330" y="260"/>
                  <a:pt x="3329" y="261"/>
                  <a:pt x="3329" y="262"/>
                </a:cubicBezTo>
                <a:cubicBezTo>
                  <a:pt x="3325" y="280"/>
                  <a:pt x="3322" y="298"/>
                  <a:pt x="3319" y="315"/>
                </a:cubicBezTo>
                <a:cubicBezTo>
                  <a:pt x="3318" y="315"/>
                  <a:pt x="3318" y="317"/>
                  <a:pt x="3318" y="318"/>
                </a:cubicBezTo>
                <a:cubicBezTo>
                  <a:pt x="3318" y="318"/>
                  <a:pt x="3318" y="319"/>
                  <a:pt x="3318" y="319"/>
                </a:cubicBezTo>
                <a:cubicBezTo>
                  <a:pt x="3311" y="362"/>
                  <a:pt x="3303" y="404"/>
                  <a:pt x="3297" y="447"/>
                </a:cubicBezTo>
                <a:cubicBezTo>
                  <a:pt x="3297" y="396"/>
                  <a:pt x="3297" y="345"/>
                  <a:pt x="3297" y="295"/>
                </a:cubicBezTo>
                <a:cubicBezTo>
                  <a:pt x="3297" y="293"/>
                  <a:pt x="3296" y="294"/>
                  <a:pt x="3296" y="295"/>
                </a:cubicBezTo>
                <a:cubicBezTo>
                  <a:pt x="3292" y="332"/>
                  <a:pt x="3282" y="366"/>
                  <a:pt x="3277" y="403"/>
                </a:cubicBezTo>
                <a:cubicBezTo>
                  <a:pt x="3276" y="413"/>
                  <a:pt x="3275" y="422"/>
                  <a:pt x="3274" y="432"/>
                </a:cubicBezTo>
                <a:cubicBezTo>
                  <a:pt x="3274" y="349"/>
                  <a:pt x="3274" y="266"/>
                  <a:pt x="3279" y="184"/>
                </a:cubicBezTo>
                <a:cubicBezTo>
                  <a:pt x="3279" y="182"/>
                  <a:pt x="3277" y="183"/>
                  <a:pt x="3277" y="184"/>
                </a:cubicBezTo>
                <a:cubicBezTo>
                  <a:pt x="3266" y="260"/>
                  <a:pt x="3257" y="332"/>
                  <a:pt x="3251" y="408"/>
                </a:cubicBezTo>
                <a:cubicBezTo>
                  <a:pt x="3246" y="350"/>
                  <a:pt x="3237" y="292"/>
                  <a:pt x="3228" y="233"/>
                </a:cubicBezTo>
                <a:cubicBezTo>
                  <a:pt x="3228" y="232"/>
                  <a:pt x="3227" y="233"/>
                  <a:pt x="3227" y="235"/>
                </a:cubicBezTo>
                <a:cubicBezTo>
                  <a:pt x="3232" y="320"/>
                  <a:pt x="3230" y="407"/>
                  <a:pt x="3227" y="493"/>
                </a:cubicBezTo>
                <a:cubicBezTo>
                  <a:pt x="3225" y="474"/>
                  <a:pt x="3224" y="456"/>
                  <a:pt x="3223" y="437"/>
                </a:cubicBezTo>
                <a:cubicBezTo>
                  <a:pt x="3225" y="395"/>
                  <a:pt x="3222" y="351"/>
                  <a:pt x="3220" y="310"/>
                </a:cubicBezTo>
                <a:cubicBezTo>
                  <a:pt x="3220" y="309"/>
                  <a:pt x="3220" y="309"/>
                  <a:pt x="3219" y="310"/>
                </a:cubicBezTo>
                <a:cubicBezTo>
                  <a:pt x="3219" y="303"/>
                  <a:pt x="3219" y="297"/>
                  <a:pt x="3220" y="290"/>
                </a:cubicBezTo>
                <a:cubicBezTo>
                  <a:pt x="3220" y="288"/>
                  <a:pt x="3218" y="289"/>
                  <a:pt x="3218" y="291"/>
                </a:cubicBezTo>
                <a:cubicBezTo>
                  <a:pt x="3213" y="312"/>
                  <a:pt x="3208" y="333"/>
                  <a:pt x="3203" y="353"/>
                </a:cubicBezTo>
                <a:cubicBezTo>
                  <a:pt x="3202" y="290"/>
                  <a:pt x="3202" y="227"/>
                  <a:pt x="3208" y="166"/>
                </a:cubicBezTo>
                <a:cubicBezTo>
                  <a:pt x="3208" y="164"/>
                  <a:pt x="3206" y="165"/>
                  <a:pt x="3206" y="167"/>
                </a:cubicBezTo>
                <a:cubicBezTo>
                  <a:pt x="3192" y="243"/>
                  <a:pt x="3184" y="319"/>
                  <a:pt x="3178" y="397"/>
                </a:cubicBezTo>
                <a:cubicBezTo>
                  <a:pt x="3174" y="351"/>
                  <a:pt x="3170" y="305"/>
                  <a:pt x="3168" y="260"/>
                </a:cubicBezTo>
                <a:cubicBezTo>
                  <a:pt x="3168" y="257"/>
                  <a:pt x="3166" y="259"/>
                  <a:pt x="3166" y="261"/>
                </a:cubicBezTo>
                <a:cubicBezTo>
                  <a:pt x="3166" y="283"/>
                  <a:pt x="3165" y="305"/>
                  <a:pt x="3164" y="327"/>
                </a:cubicBezTo>
                <a:cubicBezTo>
                  <a:pt x="3161" y="269"/>
                  <a:pt x="3153" y="211"/>
                  <a:pt x="3140" y="160"/>
                </a:cubicBezTo>
                <a:cubicBezTo>
                  <a:pt x="3139" y="158"/>
                  <a:pt x="3138" y="160"/>
                  <a:pt x="3138" y="161"/>
                </a:cubicBezTo>
                <a:cubicBezTo>
                  <a:pt x="3142" y="198"/>
                  <a:pt x="3139" y="240"/>
                  <a:pt x="3137" y="280"/>
                </a:cubicBezTo>
                <a:cubicBezTo>
                  <a:pt x="3130" y="293"/>
                  <a:pt x="3123" y="307"/>
                  <a:pt x="3117" y="320"/>
                </a:cubicBezTo>
                <a:cubicBezTo>
                  <a:pt x="3109" y="266"/>
                  <a:pt x="3097" y="215"/>
                  <a:pt x="3080" y="163"/>
                </a:cubicBezTo>
                <a:cubicBezTo>
                  <a:pt x="3080" y="161"/>
                  <a:pt x="3078" y="163"/>
                  <a:pt x="3079" y="165"/>
                </a:cubicBezTo>
                <a:cubicBezTo>
                  <a:pt x="3093" y="223"/>
                  <a:pt x="3101" y="284"/>
                  <a:pt x="3107" y="344"/>
                </a:cubicBezTo>
                <a:cubicBezTo>
                  <a:pt x="3104" y="351"/>
                  <a:pt x="3102" y="357"/>
                  <a:pt x="3099" y="364"/>
                </a:cubicBezTo>
                <a:cubicBezTo>
                  <a:pt x="3096" y="357"/>
                  <a:pt x="3092" y="350"/>
                  <a:pt x="3088" y="344"/>
                </a:cubicBezTo>
                <a:cubicBezTo>
                  <a:pt x="3089" y="307"/>
                  <a:pt x="3090" y="270"/>
                  <a:pt x="3092" y="234"/>
                </a:cubicBezTo>
                <a:cubicBezTo>
                  <a:pt x="3092" y="231"/>
                  <a:pt x="3090" y="233"/>
                  <a:pt x="3090" y="234"/>
                </a:cubicBezTo>
                <a:cubicBezTo>
                  <a:pt x="3086" y="266"/>
                  <a:pt x="3080" y="296"/>
                  <a:pt x="3075" y="325"/>
                </a:cubicBezTo>
                <a:cubicBezTo>
                  <a:pt x="3072" y="321"/>
                  <a:pt x="3068" y="318"/>
                  <a:pt x="3065" y="315"/>
                </a:cubicBezTo>
                <a:cubicBezTo>
                  <a:pt x="3061" y="275"/>
                  <a:pt x="3055" y="236"/>
                  <a:pt x="3043" y="199"/>
                </a:cubicBezTo>
                <a:cubicBezTo>
                  <a:pt x="3043" y="197"/>
                  <a:pt x="3042" y="199"/>
                  <a:pt x="3042" y="200"/>
                </a:cubicBezTo>
                <a:cubicBezTo>
                  <a:pt x="3047" y="238"/>
                  <a:pt x="3041" y="283"/>
                  <a:pt x="3039" y="321"/>
                </a:cubicBezTo>
                <a:cubicBezTo>
                  <a:pt x="3039" y="323"/>
                  <a:pt x="3039" y="324"/>
                  <a:pt x="3039" y="326"/>
                </a:cubicBezTo>
                <a:cubicBezTo>
                  <a:pt x="3034" y="293"/>
                  <a:pt x="3028" y="261"/>
                  <a:pt x="3021" y="234"/>
                </a:cubicBezTo>
                <a:cubicBezTo>
                  <a:pt x="3020" y="233"/>
                  <a:pt x="3018" y="235"/>
                  <a:pt x="3019" y="236"/>
                </a:cubicBezTo>
                <a:cubicBezTo>
                  <a:pt x="3025" y="279"/>
                  <a:pt x="3024" y="326"/>
                  <a:pt x="3023" y="372"/>
                </a:cubicBezTo>
                <a:cubicBezTo>
                  <a:pt x="3019" y="336"/>
                  <a:pt x="3012" y="301"/>
                  <a:pt x="3002" y="269"/>
                </a:cubicBezTo>
                <a:cubicBezTo>
                  <a:pt x="2995" y="250"/>
                  <a:pt x="2981" y="218"/>
                  <a:pt x="2969" y="210"/>
                </a:cubicBezTo>
                <a:cubicBezTo>
                  <a:pt x="2970" y="194"/>
                  <a:pt x="2971" y="179"/>
                  <a:pt x="2972" y="163"/>
                </a:cubicBezTo>
                <a:cubicBezTo>
                  <a:pt x="2973" y="162"/>
                  <a:pt x="2971" y="162"/>
                  <a:pt x="2971" y="164"/>
                </a:cubicBezTo>
                <a:cubicBezTo>
                  <a:pt x="2960" y="226"/>
                  <a:pt x="2948" y="286"/>
                  <a:pt x="2939" y="348"/>
                </a:cubicBezTo>
                <a:cubicBezTo>
                  <a:pt x="2939" y="297"/>
                  <a:pt x="2939" y="247"/>
                  <a:pt x="2939" y="196"/>
                </a:cubicBezTo>
                <a:cubicBezTo>
                  <a:pt x="2939" y="195"/>
                  <a:pt x="2938" y="196"/>
                  <a:pt x="2938" y="197"/>
                </a:cubicBezTo>
                <a:cubicBezTo>
                  <a:pt x="2935" y="234"/>
                  <a:pt x="2924" y="268"/>
                  <a:pt x="2919" y="305"/>
                </a:cubicBezTo>
                <a:cubicBezTo>
                  <a:pt x="2918" y="314"/>
                  <a:pt x="2917" y="324"/>
                  <a:pt x="2916" y="333"/>
                </a:cubicBezTo>
                <a:cubicBezTo>
                  <a:pt x="2916" y="250"/>
                  <a:pt x="2916" y="167"/>
                  <a:pt x="2921" y="85"/>
                </a:cubicBezTo>
                <a:cubicBezTo>
                  <a:pt x="2921" y="83"/>
                  <a:pt x="2920" y="84"/>
                  <a:pt x="2920" y="85"/>
                </a:cubicBezTo>
                <a:cubicBezTo>
                  <a:pt x="2908" y="161"/>
                  <a:pt x="2899" y="234"/>
                  <a:pt x="2894" y="310"/>
                </a:cubicBezTo>
                <a:cubicBezTo>
                  <a:pt x="2888" y="251"/>
                  <a:pt x="2879" y="194"/>
                  <a:pt x="2871" y="135"/>
                </a:cubicBezTo>
                <a:cubicBezTo>
                  <a:pt x="2871" y="133"/>
                  <a:pt x="2869" y="135"/>
                  <a:pt x="2869" y="136"/>
                </a:cubicBezTo>
                <a:cubicBezTo>
                  <a:pt x="2874" y="221"/>
                  <a:pt x="2872" y="308"/>
                  <a:pt x="2869" y="394"/>
                </a:cubicBezTo>
                <a:cubicBezTo>
                  <a:pt x="2868" y="382"/>
                  <a:pt x="2867" y="369"/>
                  <a:pt x="2866" y="357"/>
                </a:cubicBezTo>
                <a:cubicBezTo>
                  <a:pt x="2867" y="352"/>
                  <a:pt x="2867" y="348"/>
                  <a:pt x="2867" y="344"/>
                </a:cubicBezTo>
                <a:cubicBezTo>
                  <a:pt x="2867" y="316"/>
                  <a:pt x="2870" y="268"/>
                  <a:pt x="2862" y="243"/>
                </a:cubicBezTo>
                <a:cubicBezTo>
                  <a:pt x="2862" y="242"/>
                  <a:pt x="2861" y="243"/>
                  <a:pt x="2861" y="243"/>
                </a:cubicBezTo>
                <a:cubicBezTo>
                  <a:pt x="2861" y="245"/>
                  <a:pt x="2861" y="245"/>
                  <a:pt x="2861" y="245"/>
                </a:cubicBezTo>
                <a:cubicBezTo>
                  <a:pt x="2860" y="245"/>
                  <a:pt x="2861" y="246"/>
                  <a:pt x="2861" y="245"/>
                </a:cubicBezTo>
                <a:cubicBezTo>
                  <a:pt x="2857" y="250"/>
                  <a:pt x="2853" y="302"/>
                  <a:pt x="2851" y="313"/>
                </a:cubicBezTo>
                <a:cubicBezTo>
                  <a:pt x="2850" y="321"/>
                  <a:pt x="2848" y="329"/>
                  <a:pt x="2847" y="338"/>
                </a:cubicBezTo>
                <a:cubicBezTo>
                  <a:pt x="2846" y="248"/>
                  <a:pt x="2841" y="155"/>
                  <a:pt x="2850" y="68"/>
                </a:cubicBezTo>
                <a:cubicBezTo>
                  <a:pt x="2850" y="65"/>
                  <a:pt x="2848" y="67"/>
                  <a:pt x="2848" y="68"/>
                </a:cubicBezTo>
                <a:cubicBezTo>
                  <a:pt x="2834" y="145"/>
                  <a:pt x="2826" y="221"/>
                  <a:pt x="2820" y="298"/>
                </a:cubicBezTo>
                <a:cubicBezTo>
                  <a:pt x="2816" y="253"/>
                  <a:pt x="2812" y="207"/>
                  <a:pt x="2811" y="161"/>
                </a:cubicBezTo>
                <a:cubicBezTo>
                  <a:pt x="2811" y="159"/>
                  <a:pt x="2808" y="161"/>
                  <a:pt x="2808" y="163"/>
                </a:cubicBezTo>
                <a:cubicBezTo>
                  <a:pt x="2808" y="185"/>
                  <a:pt x="2807" y="207"/>
                  <a:pt x="2806" y="229"/>
                </a:cubicBezTo>
                <a:cubicBezTo>
                  <a:pt x="2803" y="170"/>
                  <a:pt x="2795" y="112"/>
                  <a:pt x="2782" y="61"/>
                </a:cubicBezTo>
                <a:cubicBezTo>
                  <a:pt x="2781" y="60"/>
                  <a:pt x="2780" y="62"/>
                  <a:pt x="2780" y="63"/>
                </a:cubicBezTo>
                <a:cubicBezTo>
                  <a:pt x="2785" y="111"/>
                  <a:pt x="2779" y="169"/>
                  <a:pt x="2778" y="218"/>
                </a:cubicBezTo>
                <a:cubicBezTo>
                  <a:pt x="2778" y="229"/>
                  <a:pt x="2778" y="241"/>
                  <a:pt x="2778" y="252"/>
                </a:cubicBezTo>
                <a:cubicBezTo>
                  <a:pt x="2774" y="260"/>
                  <a:pt x="2770" y="268"/>
                  <a:pt x="2767" y="275"/>
                </a:cubicBezTo>
                <a:cubicBezTo>
                  <a:pt x="2758" y="202"/>
                  <a:pt x="2745" y="133"/>
                  <a:pt x="2722" y="64"/>
                </a:cubicBezTo>
                <a:cubicBezTo>
                  <a:pt x="2722" y="63"/>
                  <a:pt x="2721" y="65"/>
                  <a:pt x="2721" y="66"/>
                </a:cubicBezTo>
                <a:cubicBezTo>
                  <a:pt x="2731" y="106"/>
                  <a:pt x="2738" y="147"/>
                  <a:pt x="2743" y="188"/>
                </a:cubicBezTo>
                <a:cubicBezTo>
                  <a:pt x="2740" y="209"/>
                  <a:pt x="2736" y="229"/>
                  <a:pt x="2733" y="249"/>
                </a:cubicBezTo>
                <a:cubicBezTo>
                  <a:pt x="2727" y="240"/>
                  <a:pt x="2720" y="230"/>
                  <a:pt x="2714" y="223"/>
                </a:cubicBezTo>
                <a:cubicBezTo>
                  <a:pt x="2710" y="197"/>
                  <a:pt x="2705" y="171"/>
                  <a:pt x="2697" y="145"/>
                </a:cubicBezTo>
                <a:cubicBezTo>
                  <a:pt x="2696" y="144"/>
                  <a:pt x="2695" y="146"/>
                  <a:pt x="2695" y="147"/>
                </a:cubicBezTo>
                <a:cubicBezTo>
                  <a:pt x="2698" y="166"/>
                  <a:pt x="2698" y="188"/>
                  <a:pt x="2697" y="209"/>
                </a:cubicBezTo>
                <a:cubicBezTo>
                  <a:pt x="2696" y="209"/>
                  <a:pt x="2696" y="208"/>
                  <a:pt x="2696" y="208"/>
                </a:cubicBezTo>
                <a:cubicBezTo>
                  <a:pt x="2695" y="206"/>
                  <a:pt x="2694" y="209"/>
                  <a:pt x="2694" y="210"/>
                </a:cubicBezTo>
                <a:cubicBezTo>
                  <a:pt x="2695" y="212"/>
                  <a:pt x="2696" y="213"/>
                  <a:pt x="2696" y="215"/>
                </a:cubicBezTo>
                <a:cubicBezTo>
                  <a:pt x="2695" y="233"/>
                  <a:pt x="2693" y="251"/>
                  <a:pt x="2692" y="268"/>
                </a:cubicBezTo>
                <a:cubicBezTo>
                  <a:pt x="2692" y="269"/>
                  <a:pt x="2692" y="271"/>
                  <a:pt x="2692" y="272"/>
                </a:cubicBezTo>
                <a:cubicBezTo>
                  <a:pt x="2687" y="239"/>
                  <a:pt x="2681" y="208"/>
                  <a:pt x="2674" y="181"/>
                </a:cubicBezTo>
                <a:cubicBezTo>
                  <a:pt x="2674" y="179"/>
                  <a:pt x="2672" y="182"/>
                  <a:pt x="2672" y="183"/>
                </a:cubicBezTo>
                <a:cubicBezTo>
                  <a:pt x="2678" y="226"/>
                  <a:pt x="2678" y="273"/>
                  <a:pt x="2677" y="319"/>
                </a:cubicBezTo>
                <a:cubicBezTo>
                  <a:pt x="2672" y="283"/>
                  <a:pt x="2666" y="248"/>
                  <a:pt x="2655" y="216"/>
                </a:cubicBezTo>
                <a:cubicBezTo>
                  <a:pt x="2649" y="197"/>
                  <a:pt x="2635" y="164"/>
                  <a:pt x="2622" y="156"/>
                </a:cubicBezTo>
                <a:cubicBezTo>
                  <a:pt x="2622" y="156"/>
                  <a:pt x="2621" y="157"/>
                  <a:pt x="2621" y="158"/>
                </a:cubicBezTo>
                <a:cubicBezTo>
                  <a:pt x="2635" y="179"/>
                  <a:pt x="2636" y="241"/>
                  <a:pt x="2638" y="270"/>
                </a:cubicBezTo>
                <a:cubicBezTo>
                  <a:pt x="2640" y="289"/>
                  <a:pt x="2641" y="308"/>
                  <a:pt x="2643" y="327"/>
                </a:cubicBezTo>
                <a:cubicBezTo>
                  <a:pt x="2642" y="328"/>
                  <a:pt x="2642" y="329"/>
                  <a:pt x="2642" y="331"/>
                </a:cubicBezTo>
                <a:cubicBezTo>
                  <a:pt x="2637" y="314"/>
                  <a:pt x="2632" y="299"/>
                  <a:pt x="2627" y="283"/>
                </a:cubicBezTo>
                <a:cubicBezTo>
                  <a:pt x="2628" y="258"/>
                  <a:pt x="2629" y="233"/>
                  <a:pt x="2632" y="208"/>
                </a:cubicBezTo>
                <a:cubicBezTo>
                  <a:pt x="2632" y="207"/>
                  <a:pt x="2630" y="207"/>
                  <a:pt x="2630" y="209"/>
                </a:cubicBezTo>
                <a:cubicBezTo>
                  <a:pt x="2627" y="227"/>
                  <a:pt x="2624" y="244"/>
                  <a:pt x="2620" y="262"/>
                </a:cubicBezTo>
                <a:cubicBezTo>
                  <a:pt x="2620" y="262"/>
                  <a:pt x="2619" y="263"/>
                  <a:pt x="2619" y="264"/>
                </a:cubicBezTo>
                <a:cubicBezTo>
                  <a:pt x="2620" y="265"/>
                  <a:pt x="2620" y="265"/>
                  <a:pt x="2620" y="266"/>
                </a:cubicBezTo>
                <a:cubicBezTo>
                  <a:pt x="2612" y="308"/>
                  <a:pt x="2604" y="350"/>
                  <a:pt x="2598" y="393"/>
                </a:cubicBezTo>
                <a:cubicBezTo>
                  <a:pt x="2599" y="343"/>
                  <a:pt x="2598" y="292"/>
                  <a:pt x="2598" y="241"/>
                </a:cubicBezTo>
                <a:cubicBezTo>
                  <a:pt x="2598" y="240"/>
                  <a:pt x="2597" y="241"/>
                  <a:pt x="2597" y="242"/>
                </a:cubicBezTo>
                <a:cubicBezTo>
                  <a:pt x="2594" y="279"/>
                  <a:pt x="2583" y="313"/>
                  <a:pt x="2579" y="350"/>
                </a:cubicBezTo>
                <a:cubicBezTo>
                  <a:pt x="2577" y="359"/>
                  <a:pt x="2576" y="369"/>
                  <a:pt x="2575" y="378"/>
                </a:cubicBezTo>
                <a:cubicBezTo>
                  <a:pt x="2575" y="295"/>
                  <a:pt x="2575" y="213"/>
                  <a:pt x="2580" y="130"/>
                </a:cubicBezTo>
                <a:cubicBezTo>
                  <a:pt x="2580" y="129"/>
                  <a:pt x="2579" y="129"/>
                  <a:pt x="2579" y="131"/>
                </a:cubicBezTo>
                <a:cubicBezTo>
                  <a:pt x="2568" y="206"/>
                  <a:pt x="2558" y="279"/>
                  <a:pt x="2553" y="355"/>
                </a:cubicBezTo>
                <a:cubicBezTo>
                  <a:pt x="2547" y="296"/>
                  <a:pt x="2538" y="239"/>
                  <a:pt x="2530" y="180"/>
                </a:cubicBezTo>
                <a:cubicBezTo>
                  <a:pt x="2530" y="178"/>
                  <a:pt x="2528" y="180"/>
                  <a:pt x="2528" y="181"/>
                </a:cubicBezTo>
                <a:cubicBezTo>
                  <a:pt x="2533" y="253"/>
                  <a:pt x="2532" y="327"/>
                  <a:pt x="2529" y="400"/>
                </a:cubicBezTo>
                <a:cubicBezTo>
                  <a:pt x="2528" y="400"/>
                  <a:pt x="2527" y="400"/>
                  <a:pt x="2525" y="400"/>
                </a:cubicBezTo>
                <a:cubicBezTo>
                  <a:pt x="2524" y="377"/>
                  <a:pt x="2523" y="354"/>
                  <a:pt x="2522" y="331"/>
                </a:cubicBezTo>
                <a:cubicBezTo>
                  <a:pt x="2522" y="328"/>
                  <a:pt x="2520" y="331"/>
                  <a:pt x="2519" y="333"/>
                </a:cubicBezTo>
                <a:cubicBezTo>
                  <a:pt x="2518" y="357"/>
                  <a:pt x="2516" y="380"/>
                  <a:pt x="2513" y="403"/>
                </a:cubicBezTo>
                <a:cubicBezTo>
                  <a:pt x="2511" y="404"/>
                  <a:pt x="2509" y="404"/>
                  <a:pt x="2507" y="405"/>
                </a:cubicBezTo>
                <a:cubicBezTo>
                  <a:pt x="2506" y="308"/>
                  <a:pt x="2500" y="207"/>
                  <a:pt x="2509" y="113"/>
                </a:cubicBezTo>
                <a:cubicBezTo>
                  <a:pt x="2509" y="111"/>
                  <a:pt x="2507" y="112"/>
                  <a:pt x="2507" y="113"/>
                </a:cubicBezTo>
                <a:cubicBezTo>
                  <a:pt x="2494" y="190"/>
                  <a:pt x="2485" y="266"/>
                  <a:pt x="2480" y="343"/>
                </a:cubicBezTo>
                <a:cubicBezTo>
                  <a:pt x="2475" y="298"/>
                  <a:pt x="2471" y="252"/>
                  <a:pt x="2470" y="206"/>
                </a:cubicBezTo>
                <a:cubicBezTo>
                  <a:pt x="2470" y="204"/>
                  <a:pt x="2468" y="206"/>
                  <a:pt x="2467" y="208"/>
                </a:cubicBezTo>
                <a:cubicBezTo>
                  <a:pt x="2467" y="230"/>
                  <a:pt x="2466" y="252"/>
                  <a:pt x="2465" y="274"/>
                </a:cubicBezTo>
                <a:cubicBezTo>
                  <a:pt x="2462" y="215"/>
                  <a:pt x="2455" y="157"/>
                  <a:pt x="2441" y="106"/>
                </a:cubicBezTo>
                <a:cubicBezTo>
                  <a:pt x="2441" y="105"/>
                  <a:pt x="2439" y="107"/>
                  <a:pt x="2440" y="108"/>
                </a:cubicBezTo>
                <a:cubicBezTo>
                  <a:pt x="2443" y="145"/>
                  <a:pt x="2440" y="187"/>
                  <a:pt x="2439" y="227"/>
                </a:cubicBezTo>
                <a:cubicBezTo>
                  <a:pt x="2432" y="240"/>
                  <a:pt x="2425" y="253"/>
                  <a:pt x="2419" y="267"/>
                </a:cubicBezTo>
                <a:cubicBezTo>
                  <a:pt x="2410" y="213"/>
                  <a:pt x="2398" y="161"/>
                  <a:pt x="2381" y="109"/>
                </a:cubicBezTo>
                <a:cubicBezTo>
                  <a:pt x="2381" y="108"/>
                  <a:pt x="2380" y="110"/>
                  <a:pt x="2380" y="111"/>
                </a:cubicBezTo>
                <a:cubicBezTo>
                  <a:pt x="2394" y="170"/>
                  <a:pt x="2403" y="230"/>
                  <a:pt x="2408" y="291"/>
                </a:cubicBezTo>
                <a:cubicBezTo>
                  <a:pt x="2405" y="298"/>
                  <a:pt x="2403" y="304"/>
                  <a:pt x="2401" y="310"/>
                </a:cubicBezTo>
                <a:cubicBezTo>
                  <a:pt x="2397" y="304"/>
                  <a:pt x="2393" y="297"/>
                  <a:pt x="2389" y="290"/>
                </a:cubicBezTo>
                <a:cubicBezTo>
                  <a:pt x="2390" y="254"/>
                  <a:pt x="2391" y="217"/>
                  <a:pt x="2393" y="180"/>
                </a:cubicBezTo>
                <a:cubicBezTo>
                  <a:pt x="2393" y="178"/>
                  <a:pt x="2392" y="180"/>
                  <a:pt x="2392" y="181"/>
                </a:cubicBezTo>
                <a:cubicBezTo>
                  <a:pt x="2387" y="212"/>
                  <a:pt x="2382" y="242"/>
                  <a:pt x="2376" y="272"/>
                </a:cubicBezTo>
                <a:cubicBezTo>
                  <a:pt x="2373" y="268"/>
                  <a:pt x="2370" y="265"/>
                  <a:pt x="2367" y="262"/>
                </a:cubicBezTo>
                <a:cubicBezTo>
                  <a:pt x="2363" y="222"/>
                  <a:pt x="2356" y="183"/>
                  <a:pt x="2345" y="145"/>
                </a:cubicBezTo>
                <a:cubicBezTo>
                  <a:pt x="2344" y="144"/>
                  <a:pt x="2343" y="146"/>
                  <a:pt x="2343" y="147"/>
                </a:cubicBezTo>
                <a:cubicBezTo>
                  <a:pt x="2349" y="184"/>
                  <a:pt x="2342" y="230"/>
                  <a:pt x="2340" y="268"/>
                </a:cubicBezTo>
                <a:cubicBezTo>
                  <a:pt x="2340" y="269"/>
                  <a:pt x="2340" y="271"/>
                  <a:pt x="2340" y="272"/>
                </a:cubicBezTo>
                <a:cubicBezTo>
                  <a:pt x="2335" y="239"/>
                  <a:pt x="2329" y="208"/>
                  <a:pt x="2322" y="181"/>
                </a:cubicBezTo>
                <a:cubicBezTo>
                  <a:pt x="2321" y="179"/>
                  <a:pt x="2320" y="182"/>
                  <a:pt x="2320" y="183"/>
                </a:cubicBezTo>
                <a:cubicBezTo>
                  <a:pt x="2326" y="226"/>
                  <a:pt x="2326" y="273"/>
                  <a:pt x="2324" y="319"/>
                </a:cubicBezTo>
                <a:cubicBezTo>
                  <a:pt x="2320" y="283"/>
                  <a:pt x="2314" y="248"/>
                  <a:pt x="2303" y="216"/>
                </a:cubicBezTo>
                <a:cubicBezTo>
                  <a:pt x="2297" y="197"/>
                  <a:pt x="2283" y="165"/>
                  <a:pt x="2271" y="157"/>
                </a:cubicBezTo>
                <a:cubicBezTo>
                  <a:pt x="2271" y="141"/>
                  <a:pt x="2273" y="125"/>
                  <a:pt x="2274" y="110"/>
                </a:cubicBezTo>
                <a:cubicBezTo>
                  <a:pt x="2274" y="108"/>
                  <a:pt x="2273" y="109"/>
                  <a:pt x="2272" y="110"/>
                </a:cubicBezTo>
                <a:cubicBezTo>
                  <a:pt x="2261" y="172"/>
                  <a:pt x="2249" y="232"/>
                  <a:pt x="2241" y="295"/>
                </a:cubicBezTo>
                <a:cubicBezTo>
                  <a:pt x="2241" y="244"/>
                  <a:pt x="2241" y="193"/>
                  <a:pt x="2241" y="143"/>
                </a:cubicBezTo>
                <a:cubicBezTo>
                  <a:pt x="2241" y="142"/>
                  <a:pt x="2240" y="143"/>
                  <a:pt x="2240" y="143"/>
                </a:cubicBezTo>
                <a:cubicBezTo>
                  <a:pt x="2236" y="181"/>
                  <a:pt x="2225" y="214"/>
                  <a:pt x="2221" y="251"/>
                </a:cubicBezTo>
                <a:cubicBezTo>
                  <a:pt x="2220" y="261"/>
                  <a:pt x="2219" y="270"/>
                  <a:pt x="2218" y="280"/>
                </a:cubicBezTo>
                <a:cubicBezTo>
                  <a:pt x="2217" y="197"/>
                  <a:pt x="2218" y="114"/>
                  <a:pt x="2223" y="32"/>
                </a:cubicBezTo>
                <a:cubicBezTo>
                  <a:pt x="2223" y="30"/>
                  <a:pt x="2221" y="31"/>
                  <a:pt x="2221" y="32"/>
                </a:cubicBezTo>
                <a:cubicBezTo>
                  <a:pt x="2210" y="108"/>
                  <a:pt x="2201" y="181"/>
                  <a:pt x="2195" y="257"/>
                </a:cubicBezTo>
                <a:cubicBezTo>
                  <a:pt x="2190" y="198"/>
                  <a:pt x="2181" y="140"/>
                  <a:pt x="2172" y="82"/>
                </a:cubicBezTo>
                <a:cubicBezTo>
                  <a:pt x="2172" y="80"/>
                  <a:pt x="2170" y="81"/>
                  <a:pt x="2171" y="83"/>
                </a:cubicBezTo>
                <a:cubicBezTo>
                  <a:pt x="2176" y="168"/>
                  <a:pt x="2173" y="255"/>
                  <a:pt x="2170" y="341"/>
                </a:cubicBezTo>
                <a:cubicBezTo>
                  <a:pt x="2168" y="305"/>
                  <a:pt x="2166" y="269"/>
                  <a:pt x="2165" y="233"/>
                </a:cubicBezTo>
                <a:cubicBezTo>
                  <a:pt x="2164" y="230"/>
                  <a:pt x="2162" y="232"/>
                  <a:pt x="2162" y="234"/>
                </a:cubicBezTo>
                <a:cubicBezTo>
                  <a:pt x="2160" y="272"/>
                  <a:pt x="2155" y="309"/>
                  <a:pt x="2151" y="346"/>
                </a:cubicBezTo>
                <a:cubicBezTo>
                  <a:pt x="2150" y="359"/>
                  <a:pt x="2149" y="371"/>
                  <a:pt x="2149" y="384"/>
                </a:cubicBezTo>
                <a:cubicBezTo>
                  <a:pt x="2149" y="367"/>
                  <a:pt x="2149" y="350"/>
                  <a:pt x="2149" y="334"/>
                </a:cubicBezTo>
                <a:cubicBezTo>
                  <a:pt x="2150" y="229"/>
                  <a:pt x="2141" y="118"/>
                  <a:pt x="2151" y="15"/>
                </a:cubicBezTo>
                <a:cubicBezTo>
                  <a:pt x="2152" y="12"/>
                  <a:pt x="2150" y="13"/>
                  <a:pt x="2149" y="15"/>
                </a:cubicBezTo>
                <a:cubicBezTo>
                  <a:pt x="2136" y="92"/>
                  <a:pt x="2127" y="167"/>
                  <a:pt x="2122" y="245"/>
                </a:cubicBezTo>
                <a:cubicBezTo>
                  <a:pt x="2118" y="199"/>
                  <a:pt x="2114" y="154"/>
                  <a:pt x="2112" y="108"/>
                </a:cubicBezTo>
                <a:cubicBezTo>
                  <a:pt x="2112" y="105"/>
                  <a:pt x="2110" y="107"/>
                  <a:pt x="2110" y="109"/>
                </a:cubicBezTo>
                <a:cubicBezTo>
                  <a:pt x="2109" y="131"/>
                  <a:pt x="2108" y="153"/>
                  <a:pt x="2108" y="175"/>
                </a:cubicBezTo>
                <a:cubicBezTo>
                  <a:pt x="2104" y="117"/>
                  <a:pt x="2097" y="59"/>
                  <a:pt x="2083" y="8"/>
                </a:cubicBezTo>
                <a:cubicBezTo>
                  <a:pt x="2083" y="7"/>
                  <a:pt x="2082" y="8"/>
                  <a:pt x="2082" y="9"/>
                </a:cubicBezTo>
                <a:cubicBezTo>
                  <a:pt x="2086" y="58"/>
                  <a:pt x="2081" y="115"/>
                  <a:pt x="2080" y="165"/>
                </a:cubicBezTo>
                <a:cubicBezTo>
                  <a:pt x="2079" y="210"/>
                  <a:pt x="2078" y="255"/>
                  <a:pt x="2076" y="301"/>
                </a:cubicBezTo>
                <a:cubicBezTo>
                  <a:pt x="2068" y="197"/>
                  <a:pt x="2054" y="104"/>
                  <a:pt x="2024" y="11"/>
                </a:cubicBezTo>
                <a:cubicBezTo>
                  <a:pt x="2023" y="10"/>
                  <a:pt x="2022" y="11"/>
                  <a:pt x="2022" y="13"/>
                </a:cubicBezTo>
                <a:cubicBezTo>
                  <a:pt x="2040" y="87"/>
                  <a:pt x="2049" y="163"/>
                  <a:pt x="2054" y="240"/>
                </a:cubicBezTo>
                <a:cubicBezTo>
                  <a:pt x="2053" y="236"/>
                  <a:pt x="2052" y="232"/>
                  <a:pt x="2050" y="229"/>
                </a:cubicBezTo>
                <a:cubicBezTo>
                  <a:pt x="2043" y="211"/>
                  <a:pt x="2028" y="183"/>
                  <a:pt x="2014" y="168"/>
                </a:cubicBezTo>
                <a:cubicBezTo>
                  <a:pt x="2007" y="155"/>
                  <a:pt x="1998" y="145"/>
                  <a:pt x="1988" y="136"/>
                </a:cubicBezTo>
                <a:cubicBezTo>
                  <a:pt x="1988" y="135"/>
                  <a:pt x="1986" y="138"/>
                  <a:pt x="1987" y="139"/>
                </a:cubicBezTo>
                <a:cubicBezTo>
                  <a:pt x="1999" y="175"/>
                  <a:pt x="2004" y="212"/>
                  <a:pt x="2008" y="250"/>
                </a:cubicBezTo>
                <a:cubicBezTo>
                  <a:pt x="2000" y="221"/>
                  <a:pt x="1987" y="189"/>
                  <a:pt x="1971" y="182"/>
                </a:cubicBezTo>
                <a:cubicBezTo>
                  <a:pt x="1970" y="182"/>
                  <a:pt x="1970" y="183"/>
                  <a:pt x="1970" y="184"/>
                </a:cubicBezTo>
                <a:cubicBezTo>
                  <a:pt x="1970" y="185"/>
                  <a:pt x="1970" y="185"/>
                  <a:pt x="1970" y="185"/>
                </a:cubicBezTo>
                <a:cubicBezTo>
                  <a:pt x="1970" y="186"/>
                  <a:pt x="1971" y="185"/>
                  <a:pt x="1971" y="185"/>
                </a:cubicBezTo>
                <a:cubicBezTo>
                  <a:pt x="1974" y="191"/>
                  <a:pt x="1976" y="198"/>
                  <a:pt x="1977" y="205"/>
                </a:cubicBezTo>
                <a:cubicBezTo>
                  <a:pt x="1980" y="220"/>
                  <a:pt x="1983" y="234"/>
                  <a:pt x="1984" y="249"/>
                </a:cubicBezTo>
                <a:cubicBezTo>
                  <a:pt x="1988" y="276"/>
                  <a:pt x="1990" y="304"/>
                  <a:pt x="1992" y="332"/>
                </a:cubicBezTo>
                <a:cubicBezTo>
                  <a:pt x="1993" y="341"/>
                  <a:pt x="1993" y="349"/>
                  <a:pt x="1993" y="358"/>
                </a:cubicBezTo>
                <a:cubicBezTo>
                  <a:pt x="1989" y="327"/>
                  <a:pt x="1983" y="298"/>
                  <a:pt x="1974" y="270"/>
                </a:cubicBezTo>
                <a:cubicBezTo>
                  <a:pt x="1967" y="251"/>
                  <a:pt x="1953" y="218"/>
                  <a:pt x="1941" y="210"/>
                </a:cubicBezTo>
                <a:cubicBezTo>
                  <a:pt x="1940" y="210"/>
                  <a:pt x="1940" y="211"/>
                  <a:pt x="1940" y="212"/>
                </a:cubicBezTo>
                <a:cubicBezTo>
                  <a:pt x="1954" y="233"/>
                  <a:pt x="1954" y="295"/>
                  <a:pt x="1957" y="324"/>
                </a:cubicBezTo>
                <a:cubicBezTo>
                  <a:pt x="1959" y="343"/>
                  <a:pt x="1960" y="362"/>
                  <a:pt x="1961" y="381"/>
                </a:cubicBezTo>
                <a:cubicBezTo>
                  <a:pt x="1961" y="382"/>
                  <a:pt x="1961" y="383"/>
                  <a:pt x="1960" y="384"/>
                </a:cubicBezTo>
                <a:cubicBezTo>
                  <a:pt x="1956" y="368"/>
                  <a:pt x="1950" y="353"/>
                  <a:pt x="1945" y="337"/>
                </a:cubicBezTo>
                <a:cubicBezTo>
                  <a:pt x="1947" y="312"/>
                  <a:pt x="1948" y="287"/>
                  <a:pt x="1950" y="262"/>
                </a:cubicBezTo>
                <a:cubicBezTo>
                  <a:pt x="1950" y="261"/>
                  <a:pt x="1949" y="261"/>
                  <a:pt x="1949" y="263"/>
                </a:cubicBezTo>
                <a:cubicBezTo>
                  <a:pt x="1946" y="281"/>
                  <a:pt x="1942" y="298"/>
                  <a:pt x="1939" y="316"/>
                </a:cubicBezTo>
                <a:cubicBezTo>
                  <a:pt x="1939" y="316"/>
                  <a:pt x="1938" y="317"/>
                  <a:pt x="1938" y="318"/>
                </a:cubicBezTo>
                <a:cubicBezTo>
                  <a:pt x="1938" y="319"/>
                  <a:pt x="1938" y="319"/>
                  <a:pt x="1938" y="320"/>
                </a:cubicBezTo>
                <a:cubicBezTo>
                  <a:pt x="1931" y="362"/>
                  <a:pt x="1923" y="404"/>
                  <a:pt x="1917" y="447"/>
                </a:cubicBezTo>
                <a:cubicBezTo>
                  <a:pt x="1917" y="396"/>
                  <a:pt x="1917" y="346"/>
                  <a:pt x="1917" y="295"/>
                </a:cubicBezTo>
                <a:cubicBezTo>
                  <a:pt x="1917" y="294"/>
                  <a:pt x="1916" y="295"/>
                  <a:pt x="1916" y="296"/>
                </a:cubicBezTo>
                <a:cubicBezTo>
                  <a:pt x="1912" y="333"/>
                  <a:pt x="1902" y="367"/>
                  <a:pt x="1897" y="404"/>
                </a:cubicBezTo>
                <a:cubicBezTo>
                  <a:pt x="1896" y="413"/>
                  <a:pt x="1895" y="423"/>
                  <a:pt x="1894" y="432"/>
                </a:cubicBezTo>
                <a:cubicBezTo>
                  <a:pt x="1894" y="349"/>
                  <a:pt x="1894" y="266"/>
                  <a:pt x="1899" y="184"/>
                </a:cubicBezTo>
                <a:cubicBezTo>
                  <a:pt x="1899" y="182"/>
                  <a:pt x="1898" y="183"/>
                  <a:pt x="1897" y="184"/>
                </a:cubicBezTo>
                <a:cubicBezTo>
                  <a:pt x="1886" y="260"/>
                  <a:pt x="1877" y="333"/>
                  <a:pt x="1871" y="409"/>
                </a:cubicBezTo>
                <a:cubicBezTo>
                  <a:pt x="1866" y="350"/>
                  <a:pt x="1857" y="293"/>
                  <a:pt x="1849" y="234"/>
                </a:cubicBezTo>
                <a:cubicBezTo>
                  <a:pt x="1848" y="232"/>
                  <a:pt x="1847" y="234"/>
                  <a:pt x="1847" y="235"/>
                </a:cubicBezTo>
                <a:cubicBezTo>
                  <a:pt x="1852" y="320"/>
                  <a:pt x="1850" y="407"/>
                  <a:pt x="1847" y="493"/>
                </a:cubicBezTo>
                <a:cubicBezTo>
                  <a:pt x="1845" y="475"/>
                  <a:pt x="1844" y="456"/>
                  <a:pt x="1843" y="438"/>
                </a:cubicBezTo>
                <a:cubicBezTo>
                  <a:pt x="1845" y="395"/>
                  <a:pt x="1842" y="352"/>
                  <a:pt x="1840" y="311"/>
                </a:cubicBezTo>
                <a:cubicBezTo>
                  <a:pt x="1840" y="310"/>
                  <a:pt x="1840" y="310"/>
                  <a:pt x="1839" y="310"/>
                </a:cubicBezTo>
                <a:cubicBezTo>
                  <a:pt x="1839" y="304"/>
                  <a:pt x="1840" y="297"/>
                  <a:pt x="1840" y="291"/>
                </a:cubicBezTo>
                <a:cubicBezTo>
                  <a:pt x="1840" y="289"/>
                  <a:pt x="1838" y="290"/>
                  <a:pt x="1838" y="291"/>
                </a:cubicBezTo>
                <a:cubicBezTo>
                  <a:pt x="1833" y="313"/>
                  <a:pt x="1828" y="333"/>
                  <a:pt x="1824" y="354"/>
                </a:cubicBezTo>
                <a:cubicBezTo>
                  <a:pt x="1822" y="291"/>
                  <a:pt x="1822" y="227"/>
                  <a:pt x="1828" y="167"/>
                </a:cubicBezTo>
                <a:cubicBezTo>
                  <a:pt x="1828" y="164"/>
                  <a:pt x="1826" y="166"/>
                  <a:pt x="1826" y="167"/>
                </a:cubicBezTo>
                <a:cubicBezTo>
                  <a:pt x="1812" y="244"/>
                  <a:pt x="1804" y="320"/>
                  <a:pt x="1798" y="397"/>
                </a:cubicBezTo>
                <a:cubicBezTo>
                  <a:pt x="1794" y="352"/>
                  <a:pt x="1790" y="306"/>
                  <a:pt x="1788" y="260"/>
                </a:cubicBezTo>
                <a:cubicBezTo>
                  <a:pt x="1788" y="258"/>
                  <a:pt x="1786" y="260"/>
                  <a:pt x="1786" y="262"/>
                </a:cubicBezTo>
                <a:cubicBezTo>
                  <a:pt x="1786" y="284"/>
                  <a:pt x="1785" y="306"/>
                  <a:pt x="1784" y="328"/>
                </a:cubicBezTo>
                <a:cubicBezTo>
                  <a:pt x="1781" y="269"/>
                  <a:pt x="1773" y="211"/>
                  <a:pt x="1760" y="160"/>
                </a:cubicBezTo>
                <a:cubicBezTo>
                  <a:pt x="1759" y="159"/>
                  <a:pt x="1758" y="161"/>
                  <a:pt x="1758" y="162"/>
                </a:cubicBezTo>
                <a:cubicBezTo>
                  <a:pt x="1762" y="199"/>
                  <a:pt x="1759" y="241"/>
                  <a:pt x="1757" y="281"/>
                </a:cubicBezTo>
                <a:cubicBezTo>
                  <a:pt x="1757" y="281"/>
                  <a:pt x="1757" y="282"/>
                  <a:pt x="1756" y="283"/>
                </a:cubicBezTo>
                <a:cubicBezTo>
                  <a:pt x="1756" y="284"/>
                  <a:pt x="1756" y="285"/>
                  <a:pt x="1756" y="286"/>
                </a:cubicBezTo>
                <a:cubicBezTo>
                  <a:pt x="1756" y="290"/>
                  <a:pt x="1756" y="294"/>
                  <a:pt x="1756" y="298"/>
                </a:cubicBezTo>
                <a:cubicBezTo>
                  <a:pt x="1756" y="297"/>
                  <a:pt x="1756" y="296"/>
                  <a:pt x="1757" y="295"/>
                </a:cubicBezTo>
                <a:cubicBezTo>
                  <a:pt x="1756" y="303"/>
                  <a:pt x="1756" y="310"/>
                  <a:pt x="1756" y="317"/>
                </a:cubicBezTo>
                <a:cubicBezTo>
                  <a:pt x="1755" y="362"/>
                  <a:pt x="1754" y="408"/>
                  <a:pt x="1752" y="453"/>
                </a:cubicBezTo>
                <a:cubicBezTo>
                  <a:pt x="1750" y="419"/>
                  <a:pt x="1746" y="386"/>
                  <a:pt x="1742" y="355"/>
                </a:cubicBezTo>
                <a:cubicBezTo>
                  <a:pt x="1743" y="351"/>
                  <a:pt x="1744" y="347"/>
                  <a:pt x="1745" y="343"/>
                </a:cubicBezTo>
                <a:cubicBezTo>
                  <a:pt x="1744" y="336"/>
                  <a:pt x="1743" y="330"/>
                  <a:pt x="1742" y="323"/>
                </a:cubicBezTo>
                <a:cubicBezTo>
                  <a:pt x="1744" y="315"/>
                  <a:pt x="1746" y="307"/>
                  <a:pt x="1747" y="300"/>
                </a:cubicBezTo>
                <a:cubicBezTo>
                  <a:pt x="1744" y="307"/>
                  <a:pt x="1741" y="314"/>
                  <a:pt x="1737" y="321"/>
                </a:cubicBezTo>
                <a:cubicBezTo>
                  <a:pt x="1729" y="267"/>
                  <a:pt x="1717" y="215"/>
                  <a:pt x="1700" y="163"/>
                </a:cubicBezTo>
                <a:cubicBezTo>
                  <a:pt x="1700" y="162"/>
                  <a:pt x="1698" y="164"/>
                  <a:pt x="1699" y="165"/>
                </a:cubicBezTo>
                <a:cubicBezTo>
                  <a:pt x="1713" y="224"/>
                  <a:pt x="1721" y="284"/>
                  <a:pt x="1727" y="345"/>
                </a:cubicBezTo>
                <a:cubicBezTo>
                  <a:pt x="1724" y="351"/>
                  <a:pt x="1722" y="358"/>
                  <a:pt x="1719" y="364"/>
                </a:cubicBezTo>
                <a:cubicBezTo>
                  <a:pt x="1716" y="358"/>
                  <a:pt x="1712" y="351"/>
                  <a:pt x="1708" y="344"/>
                </a:cubicBezTo>
                <a:cubicBezTo>
                  <a:pt x="1709" y="308"/>
                  <a:pt x="1710" y="271"/>
                  <a:pt x="1712" y="234"/>
                </a:cubicBezTo>
                <a:cubicBezTo>
                  <a:pt x="1712" y="232"/>
                  <a:pt x="1710" y="233"/>
                  <a:pt x="1710" y="235"/>
                </a:cubicBezTo>
                <a:cubicBezTo>
                  <a:pt x="1706" y="266"/>
                  <a:pt x="1700" y="296"/>
                  <a:pt x="1695" y="326"/>
                </a:cubicBezTo>
                <a:cubicBezTo>
                  <a:pt x="1692" y="322"/>
                  <a:pt x="1688" y="319"/>
                  <a:pt x="1685" y="316"/>
                </a:cubicBezTo>
                <a:cubicBezTo>
                  <a:pt x="1681" y="276"/>
                  <a:pt x="1675" y="237"/>
                  <a:pt x="1663" y="199"/>
                </a:cubicBezTo>
                <a:cubicBezTo>
                  <a:pt x="1663" y="198"/>
                  <a:pt x="1662" y="200"/>
                  <a:pt x="1662" y="201"/>
                </a:cubicBezTo>
                <a:cubicBezTo>
                  <a:pt x="1667" y="238"/>
                  <a:pt x="1661" y="284"/>
                  <a:pt x="1659" y="322"/>
                </a:cubicBezTo>
                <a:cubicBezTo>
                  <a:pt x="1659" y="323"/>
                  <a:pt x="1659" y="325"/>
                  <a:pt x="1659" y="326"/>
                </a:cubicBezTo>
                <a:cubicBezTo>
                  <a:pt x="1654" y="293"/>
                  <a:pt x="1648" y="262"/>
                  <a:pt x="1641" y="235"/>
                </a:cubicBezTo>
                <a:cubicBezTo>
                  <a:pt x="1640" y="233"/>
                  <a:pt x="1639" y="235"/>
                  <a:pt x="1639" y="237"/>
                </a:cubicBezTo>
                <a:cubicBezTo>
                  <a:pt x="1645" y="279"/>
                  <a:pt x="1644" y="327"/>
                  <a:pt x="1643" y="372"/>
                </a:cubicBezTo>
                <a:cubicBezTo>
                  <a:pt x="1639" y="337"/>
                  <a:pt x="1632" y="302"/>
                  <a:pt x="1622" y="270"/>
                </a:cubicBezTo>
                <a:cubicBezTo>
                  <a:pt x="1615" y="251"/>
                  <a:pt x="1601" y="219"/>
                  <a:pt x="1589" y="210"/>
                </a:cubicBezTo>
                <a:cubicBezTo>
                  <a:pt x="1590" y="195"/>
                  <a:pt x="1591" y="179"/>
                  <a:pt x="1593" y="164"/>
                </a:cubicBezTo>
                <a:cubicBezTo>
                  <a:pt x="1593" y="162"/>
                  <a:pt x="1591" y="163"/>
                  <a:pt x="1591" y="164"/>
                </a:cubicBezTo>
                <a:cubicBezTo>
                  <a:pt x="1580" y="226"/>
                  <a:pt x="1568" y="286"/>
                  <a:pt x="1559" y="349"/>
                </a:cubicBezTo>
                <a:cubicBezTo>
                  <a:pt x="1560" y="298"/>
                  <a:pt x="1559" y="247"/>
                  <a:pt x="1559" y="197"/>
                </a:cubicBezTo>
                <a:cubicBezTo>
                  <a:pt x="1559" y="196"/>
                  <a:pt x="1558" y="197"/>
                  <a:pt x="1558" y="197"/>
                </a:cubicBezTo>
                <a:cubicBezTo>
                  <a:pt x="1555" y="234"/>
                  <a:pt x="1544" y="268"/>
                  <a:pt x="1540" y="305"/>
                </a:cubicBezTo>
                <a:cubicBezTo>
                  <a:pt x="1538" y="315"/>
                  <a:pt x="1537" y="324"/>
                  <a:pt x="1536" y="334"/>
                </a:cubicBezTo>
                <a:cubicBezTo>
                  <a:pt x="1536" y="251"/>
                  <a:pt x="1536" y="168"/>
                  <a:pt x="1541" y="86"/>
                </a:cubicBezTo>
                <a:cubicBezTo>
                  <a:pt x="1541" y="84"/>
                  <a:pt x="1540" y="85"/>
                  <a:pt x="1540" y="86"/>
                </a:cubicBezTo>
                <a:cubicBezTo>
                  <a:pt x="1529" y="162"/>
                  <a:pt x="1519" y="235"/>
                  <a:pt x="1514" y="310"/>
                </a:cubicBezTo>
                <a:cubicBezTo>
                  <a:pt x="1508" y="252"/>
                  <a:pt x="1499" y="194"/>
                  <a:pt x="1491" y="135"/>
                </a:cubicBezTo>
                <a:cubicBezTo>
                  <a:pt x="1491" y="134"/>
                  <a:pt x="1489" y="135"/>
                  <a:pt x="1489" y="137"/>
                </a:cubicBezTo>
                <a:cubicBezTo>
                  <a:pt x="1494" y="222"/>
                  <a:pt x="1492" y="309"/>
                  <a:pt x="1489" y="395"/>
                </a:cubicBezTo>
                <a:cubicBezTo>
                  <a:pt x="1488" y="382"/>
                  <a:pt x="1487" y="370"/>
                  <a:pt x="1487" y="357"/>
                </a:cubicBezTo>
                <a:cubicBezTo>
                  <a:pt x="1487" y="353"/>
                  <a:pt x="1487" y="349"/>
                  <a:pt x="1487" y="345"/>
                </a:cubicBezTo>
                <a:cubicBezTo>
                  <a:pt x="1487" y="316"/>
                  <a:pt x="1490" y="269"/>
                  <a:pt x="1482" y="244"/>
                </a:cubicBezTo>
                <a:cubicBezTo>
                  <a:pt x="1482" y="243"/>
                  <a:pt x="1481" y="244"/>
                  <a:pt x="1481" y="244"/>
                </a:cubicBezTo>
                <a:cubicBezTo>
                  <a:pt x="1481" y="245"/>
                  <a:pt x="1481" y="245"/>
                  <a:pt x="1481" y="245"/>
                </a:cubicBezTo>
                <a:cubicBezTo>
                  <a:pt x="1480" y="246"/>
                  <a:pt x="1481" y="246"/>
                  <a:pt x="1481" y="246"/>
                </a:cubicBezTo>
                <a:cubicBezTo>
                  <a:pt x="1477" y="251"/>
                  <a:pt x="1473" y="303"/>
                  <a:pt x="1471" y="313"/>
                </a:cubicBezTo>
                <a:cubicBezTo>
                  <a:pt x="1470" y="321"/>
                  <a:pt x="1468" y="330"/>
                  <a:pt x="1467" y="338"/>
                </a:cubicBezTo>
                <a:cubicBezTo>
                  <a:pt x="1466" y="249"/>
                  <a:pt x="1462" y="156"/>
                  <a:pt x="1470" y="69"/>
                </a:cubicBezTo>
                <a:cubicBezTo>
                  <a:pt x="1470" y="66"/>
                  <a:pt x="1468" y="67"/>
                  <a:pt x="1468" y="69"/>
                </a:cubicBezTo>
                <a:cubicBezTo>
                  <a:pt x="1455" y="146"/>
                  <a:pt x="1446" y="221"/>
                  <a:pt x="1441" y="299"/>
                </a:cubicBezTo>
                <a:cubicBezTo>
                  <a:pt x="1436" y="253"/>
                  <a:pt x="1432" y="207"/>
                  <a:pt x="1431" y="162"/>
                </a:cubicBezTo>
                <a:cubicBezTo>
                  <a:pt x="1431" y="159"/>
                  <a:pt x="1429" y="161"/>
                  <a:pt x="1428" y="163"/>
                </a:cubicBezTo>
                <a:cubicBezTo>
                  <a:pt x="1428" y="185"/>
                  <a:pt x="1427" y="207"/>
                  <a:pt x="1426" y="229"/>
                </a:cubicBezTo>
                <a:cubicBezTo>
                  <a:pt x="1423" y="171"/>
                  <a:pt x="1416" y="113"/>
                  <a:pt x="1402" y="62"/>
                </a:cubicBezTo>
                <a:cubicBezTo>
                  <a:pt x="1402" y="60"/>
                  <a:pt x="1400" y="62"/>
                  <a:pt x="1401" y="63"/>
                </a:cubicBezTo>
                <a:cubicBezTo>
                  <a:pt x="1405" y="112"/>
                  <a:pt x="1399" y="169"/>
                  <a:pt x="1398" y="219"/>
                </a:cubicBezTo>
                <a:cubicBezTo>
                  <a:pt x="1398" y="222"/>
                  <a:pt x="1398" y="225"/>
                  <a:pt x="1398" y="228"/>
                </a:cubicBezTo>
                <a:cubicBezTo>
                  <a:pt x="1393" y="238"/>
                  <a:pt x="1389" y="247"/>
                  <a:pt x="1384" y="256"/>
                </a:cubicBezTo>
                <a:cubicBezTo>
                  <a:pt x="1376" y="190"/>
                  <a:pt x="1363" y="127"/>
                  <a:pt x="1342" y="65"/>
                </a:cubicBezTo>
                <a:cubicBezTo>
                  <a:pt x="1342" y="64"/>
                  <a:pt x="1341" y="65"/>
                  <a:pt x="1341" y="67"/>
                </a:cubicBezTo>
                <a:cubicBezTo>
                  <a:pt x="1358" y="138"/>
                  <a:pt x="1367" y="211"/>
                  <a:pt x="1372" y="285"/>
                </a:cubicBezTo>
                <a:cubicBezTo>
                  <a:pt x="1372" y="286"/>
                  <a:pt x="1371" y="287"/>
                  <a:pt x="1371" y="288"/>
                </a:cubicBezTo>
                <a:cubicBezTo>
                  <a:pt x="1370" y="286"/>
                  <a:pt x="1370" y="284"/>
                  <a:pt x="1369" y="283"/>
                </a:cubicBezTo>
                <a:cubicBezTo>
                  <a:pt x="1366" y="274"/>
                  <a:pt x="1360" y="263"/>
                  <a:pt x="1354" y="253"/>
                </a:cubicBezTo>
                <a:cubicBezTo>
                  <a:pt x="1355" y="226"/>
                  <a:pt x="1356" y="200"/>
                  <a:pt x="1358" y="173"/>
                </a:cubicBezTo>
                <a:cubicBezTo>
                  <a:pt x="1358" y="171"/>
                  <a:pt x="1356" y="173"/>
                  <a:pt x="1356" y="174"/>
                </a:cubicBezTo>
                <a:cubicBezTo>
                  <a:pt x="1353" y="196"/>
                  <a:pt x="1349" y="217"/>
                  <a:pt x="1345" y="238"/>
                </a:cubicBezTo>
                <a:cubicBezTo>
                  <a:pt x="1339" y="229"/>
                  <a:pt x="1332" y="221"/>
                  <a:pt x="1326" y="216"/>
                </a:cubicBezTo>
                <a:cubicBezTo>
                  <a:pt x="1322" y="190"/>
                  <a:pt x="1317" y="164"/>
                  <a:pt x="1309" y="138"/>
                </a:cubicBezTo>
                <a:cubicBezTo>
                  <a:pt x="1308" y="137"/>
                  <a:pt x="1307" y="139"/>
                  <a:pt x="1307" y="140"/>
                </a:cubicBezTo>
                <a:cubicBezTo>
                  <a:pt x="1313" y="177"/>
                  <a:pt x="1307" y="223"/>
                  <a:pt x="1305" y="261"/>
                </a:cubicBezTo>
                <a:cubicBezTo>
                  <a:pt x="1304" y="262"/>
                  <a:pt x="1304" y="264"/>
                  <a:pt x="1304" y="265"/>
                </a:cubicBezTo>
                <a:cubicBezTo>
                  <a:pt x="1299" y="232"/>
                  <a:pt x="1293" y="201"/>
                  <a:pt x="1286" y="174"/>
                </a:cubicBezTo>
                <a:cubicBezTo>
                  <a:pt x="1286" y="172"/>
                  <a:pt x="1284" y="175"/>
                  <a:pt x="1284" y="176"/>
                </a:cubicBezTo>
                <a:cubicBezTo>
                  <a:pt x="1290" y="219"/>
                  <a:pt x="1290" y="266"/>
                  <a:pt x="1289" y="312"/>
                </a:cubicBezTo>
                <a:cubicBezTo>
                  <a:pt x="1284" y="276"/>
                  <a:pt x="1278" y="241"/>
                  <a:pt x="1267" y="209"/>
                </a:cubicBezTo>
                <a:cubicBezTo>
                  <a:pt x="1261" y="190"/>
                  <a:pt x="1247" y="157"/>
                  <a:pt x="1234" y="149"/>
                </a:cubicBezTo>
                <a:cubicBezTo>
                  <a:pt x="1234" y="149"/>
                  <a:pt x="1233" y="150"/>
                  <a:pt x="1234" y="151"/>
                </a:cubicBezTo>
                <a:cubicBezTo>
                  <a:pt x="1247" y="172"/>
                  <a:pt x="1248" y="234"/>
                  <a:pt x="1250" y="263"/>
                </a:cubicBezTo>
                <a:cubicBezTo>
                  <a:pt x="1252" y="282"/>
                  <a:pt x="1253" y="301"/>
                  <a:pt x="1255" y="320"/>
                </a:cubicBezTo>
                <a:cubicBezTo>
                  <a:pt x="1254" y="321"/>
                  <a:pt x="1254" y="322"/>
                  <a:pt x="1254" y="324"/>
                </a:cubicBezTo>
                <a:cubicBezTo>
                  <a:pt x="1249" y="307"/>
                  <a:pt x="1244" y="292"/>
                  <a:pt x="1239" y="276"/>
                </a:cubicBezTo>
                <a:cubicBezTo>
                  <a:pt x="1240" y="251"/>
                  <a:pt x="1242" y="226"/>
                  <a:pt x="1244" y="201"/>
                </a:cubicBezTo>
                <a:cubicBezTo>
                  <a:pt x="1244" y="200"/>
                  <a:pt x="1242" y="200"/>
                  <a:pt x="1242" y="202"/>
                </a:cubicBezTo>
                <a:cubicBezTo>
                  <a:pt x="1239" y="220"/>
                  <a:pt x="1236" y="237"/>
                  <a:pt x="1232" y="255"/>
                </a:cubicBezTo>
                <a:cubicBezTo>
                  <a:pt x="1232" y="255"/>
                  <a:pt x="1231" y="256"/>
                  <a:pt x="1231" y="257"/>
                </a:cubicBezTo>
                <a:cubicBezTo>
                  <a:pt x="1232" y="258"/>
                  <a:pt x="1232" y="258"/>
                  <a:pt x="1232" y="259"/>
                </a:cubicBezTo>
                <a:cubicBezTo>
                  <a:pt x="1224" y="301"/>
                  <a:pt x="1216" y="343"/>
                  <a:pt x="1211" y="386"/>
                </a:cubicBezTo>
                <a:cubicBezTo>
                  <a:pt x="1211" y="336"/>
                  <a:pt x="1210" y="285"/>
                  <a:pt x="1210" y="234"/>
                </a:cubicBezTo>
                <a:cubicBezTo>
                  <a:pt x="1210" y="233"/>
                  <a:pt x="1209" y="234"/>
                  <a:pt x="1209" y="235"/>
                </a:cubicBezTo>
                <a:cubicBezTo>
                  <a:pt x="1206" y="272"/>
                  <a:pt x="1195" y="306"/>
                  <a:pt x="1191" y="343"/>
                </a:cubicBezTo>
                <a:cubicBezTo>
                  <a:pt x="1189" y="352"/>
                  <a:pt x="1189" y="362"/>
                  <a:pt x="1188" y="371"/>
                </a:cubicBezTo>
                <a:cubicBezTo>
                  <a:pt x="1187" y="288"/>
                  <a:pt x="1187" y="206"/>
                  <a:pt x="1192" y="123"/>
                </a:cubicBezTo>
                <a:cubicBezTo>
                  <a:pt x="1192" y="121"/>
                  <a:pt x="1191" y="122"/>
                  <a:pt x="1191" y="124"/>
                </a:cubicBezTo>
                <a:cubicBezTo>
                  <a:pt x="1180" y="199"/>
                  <a:pt x="1170" y="272"/>
                  <a:pt x="1165" y="348"/>
                </a:cubicBezTo>
                <a:cubicBezTo>
                  <a:pt x="1159" y="289"/>
                  <a:pt x="1151" y="232"/>
                  <a:pt x="1142" y="173"/>
                </a:cubicBezTo>
                <a:cubicBezTo>
                  <a:pt x="1142" y="171"/>
                  <a:pt x="1140" y="173"/>
                  <a:pt x="1140" y="174"/>
                </a:cubicBezTo>
                <a:cubicBezTo>
                  <a:pt x="1145" y="246"/>
                  <a:pt x="1144" y="320"/>
                  <a:pt x="1141" y="393"/>
                </a:cubicBezTo>
                <a:cubicBezTo>
                  <a:pt x="1140" y="393"/>
                  <a:pt x="1139" y="393"/>
                  <a:pt x="1138" y="393"/>
                </a:cubicBezTo>
                <a:cubicBezTo>
                  <a:pt x="1136" y="370"/>
                  <a:pt x="1135" y="347"/>
                  <a:pt x="1134" y="324"/>
                </a:cubicBezTo>
                <a:cubicBezTo>
                  <a:pt x="1134" y="321"/>
                  <a:pt x="1132" y="324"/>
                  <a:pt x="1132" y="326"/>
                </a:cubicBezTo>
                <a:cubicBezTo>
                  <a:pt x="1131" y="350"/>
                  <a:pt x="1128" y="373"/>
                  <a:pt x="1125" y="396"/>
                </a:cubicBezTo>
                <a:cubicBezTo>
                  <a:pt x="1123" y="397"/>
                  <a:pt x="1121" y="397"/>
                  <a:pt x="1119" y="398"/>
                </a:cubicBezTo>
                <a:cubicBezTo>
                  <a:pt x="1118" y="301"/>
                  <a:pt x="1112" y="200"/>
                  <a:pt x="1121" y="106"/>
                </a:cubicBezTo>
                <a:cubicBezTo>
                  <a:pt x="1121" y="104"/>
                  <a:pt x="1119" y="105"/>
                  <a:pt x="1119" y="106"/>
                </a:cubicBezTo>
                <a:cubicBezTo>
                  <a:pt x="1106" y="183"/>
                  <a:pt x="1097" y="259"/>
                  <a:pt x="1092" y="336"/>
                </a:cubicBezTo>
                <a:cubicBezTo>
                  <a:pt x="1087" y="291"/>
                  <a:pt x="1083" y="245"/>
                  <a:pt x="1082" y="199"/>
                </a:cubicBezTo>
                <a:cubicBezTo>
                  <a:pt x="1082" y="197"/>
                  <a:pt x="1080" y="199"/>
                  <a:pt x="1080" y="201"/>
                </a:cubicBezTo>
                <a:cubicBezTo>
                  <a:pt x="1079" y="223"/>
                  <a:pt x="1078" y="245"/>
                  <a:pt x="1077" y="267"/>
                </a:cubicBezTo>
                <a:cubicBezTo>
                  <a:pt x="1074" y="208"/>
                  <a:pt x="1067" y="150"/>
                  <a:pt x="1053" y="99"/>
                </a:cubicBezTo>
                <a:cubicBezTo>
                  <a:pt x="1053" y="98"/>
                  <a:pt x="1051" y="100"/>
                  <a:pt x="1052" y="101"/>
                </a:cubicBezTo>
                <a:cubicBezTo>
                  <a:pt x="1055" y="138"/>
                  <a:pt x="1053" y="180"/>
                  <a:pt x="1051" y="220"/>
                </a:cubicBezTo>
                <a:cubicBezTo>
                  <a:pt x="1050" y="220"/>
                  <a:pt x="1050" y="221"/>
                  <a:pt x="1050" y="222"/>
                </a:cubicBezTo>
                <a:cubicBezTo>
                  <a:pt x="1050" y="223"/>
                  <a:pt x="1050" y="224"/>
                  <a:pt x="1050" y="225"/>
                </a:cubicBezTo>
                <a:cubicBezTo>
                  <a:pt x="1049" y="229"/>
                  <a:pt x="1049" y="233"/>
                  <a:pt x="1049" y="237"/>
                </a:cubicBezTo>
                <a:cubicBezTo>
                  <a:pt x="1050" y="236"/>
                  <a:pt x="1050" y="235"/>
                  <a:pt x="1050" y="234"/>
                </a:cubicBezTo>
                <a:cubicBezTo>
                  <a:pt x="1050" y="242"/>
                  <a:pt x="1050" y="249"/>
                  <a:pt x="1050" y="256"/>
                </a:cubicBezTo>
                <a:cubicBezTo>
                  <a:pt x="1049" y="301"/>
                  <a:pt x="1048" y="347"/>
                  <a:pt x="1046" y="392"/>
                </a:cubicBezTo>
                <a:cubicBezTo>
                  <a:pt x="1043" y="358"/>
                  <a:pt x="1040" y="326"/>
                  <a:pt x="1036" y="294"/>
                </a:cubicBezTo>
                <a:cubicBezTo>
                  <a:pt x="1036" y="290"/>
                  <a:pt x="1037" y="286"/>
                  <a:pt x="1038" y="282"/>
                </a:cubicBezTo>
                <a:cubicBezTo>
                  <a:pt x="1037" y="276"/>
                  <a:pt x="1036" y="269"/>
                  <a:pt x="1036" y="262"/>
                </a:cubicBezTo>
                <a:cubicBezTo>
                  <a:pt x="1037" y="254"/>
                  <a:pt x="1039" y="246"/>
                  <a:pt x="1041" y="239"/>
                </a:cubicBezTo>
                <a:cubicBezTo>
                  <a:pt x="1037" y="246"/>
                  <a:pt x="1034" y="253"/>
                  <a:pt x="1031" y="260"/>
                </a:cubicBezTo>
                <a:cubicBezTo>
                  <a:pt x="1022" y="206"/>
                  <a:pt x="1010" y="154"/>
                  <a:pt x="993" y="102"/>
                </a:cubicBezTo>
                <a:cubicBezTo>
                  <a:pt x="993" y="101"/>
                  <a:pt x="992" y="103"/>
                  <a:pt x="992" y="104"/>
                </a:cubicBezTo>
                <a:cubicBezTo>
                  <a:pt x="1006" y="163"/>
                  <a:pt x="1015" y="223"/>
                  <a:pt x="1020" y="284"/>
                </a:cubicBezTo>
                <a:cubicBezTo>
                  <a:pt x="1017" y="291"/>
                  <a:pt x="1015" y="297"/>
                  <a:pt x="1013" y="303"/>
                </a:cubicBezTo>
                <a:cubicBezTo>
                  <a:pt x="1009" y="297"/>
                  <a:pt x="1005" y="290"/>
                  <a:pt x="1001" y="283"/>
                </a:cubicBezTo>
                <a:cubicBezTo>
                  <a:pt x="1002" y="247"/>
                  <a:pt x="1003" y="210"/>
                  <a:pt x="1005" y="173"/>
                </a:cubicBezTo>
                <a:cubicBezTo>
                  <a:pt x="1006" y="171"/>
                  <a:pt x="1004" y="173"/>
                  <a:pt x="1004" y="174"/>
                </a:cubicBezTo>
                <a:cubicBezTo>
                  <a:pt x="999" y="205"/>
                  <a:pt x="994" y="235"/>
                  <a:pt x="988" y="265"/>
                </a:cubicBezTo>
                <a:cubicBezTo>
                  <a:pt x="985" y="261"/>
                  <a:pt x="982" y="258"/>
                  <a:pt x="979" y="255"/>
                </a:cubicBezTo>
                <a:cubicBezTo>
                  <a:pt x="975" y="215"/>
                  <a:pt x="968" y="176"/>
                  <a:pt x="957" y="138"/>
                </a:cubicBezTo>
                <a:cubicBezTo>
                  <a:pt x="956" y="137"/>
                  <a:pt x="955" y="139"/>
                  <a:pt x="955" y="140"/>
                </a:cubicBezTo>
                <a:cubicBezTo>
                  <a:pt x="961" y="177"/>
                  <a:pt x="955" y="223"/>
                  <a:pt x="952" y="261"/>
                </a:cubicBezTo>
                <a:cubicBezTo>
                  <a:pt x="952" y="262"/>
                  <a:pt x="952" y="264"/>
                  <a:pt x="952" y="265"/>
                </a:cubicBezTo>
                <a:cubicBezTo>
                  <a:pt x="947" y="232"/>
                  <a:pt x="941" y="201"/>
                  <a:pt x="934" y="174"/>
                </a:cubicBezTo>
                <a:cubicBezTo>
                  <a:pt x="934" y="172"/>
                  <a:pt x="932" y="175"/>
                  <a:pt x="932" y="176"/>
                </a:cubicBezTo>
                <a:cubicBezTo>
                  <a:pt x="938" y="219"/>
                  <a:pt x="938" y="266"/>
                  <a:pt x="937" y="312"/>
                </a:cubicBezTo>
                <a:cubicBezTo>
                  <a:pt x="932" y="276"/>
                  <a:pt x="926" y="241"/>
                  <a:pt x="915" y="209"/>
                </a:cubicBezTo>
                <a:cubicBezTo>
                  <a:pt x="910" y="195"/>
                  <a:pt x="902" y="174"/>
                  <a:pt x="892" y="160"/>
                </a:cubicBezTo>
                <a:cubicBezTo>
                  <a:pt x="891" y="147"/>
                  <a:pt x="888" y="134"/>
                  <a:pt x="884" y="125"/>
                </a:cubicBezTo>
                <a:cubicBezTo>
                  <a:pt x="885" y="118"/>
                  <a:pt x="885" y="110"/>
                  <a:pt x="886" y="103"/>
                </a:cubicBezTo>
                <a:cubicBezTo>
                  <a:pt x="886" y="101"/>
                  <a:pt x="885" y="102"/>
                  <a:pt x="884" y="103"/>
                </a:cubicBezTo>
                <a:cubicBezTo>
                  <a:pt x="874" y="165"/>
                  <a:pt x="861" y="225"/>
                  <a:pt x="853" y="288"/>
                </a:cubicBezTo>
                <a:cubicBezTo>
                  <a:pt x="853" y="237"/>
                  <a:pt x="853" y="186"/>
                  <a:pt x="853" y="136"/>
                </a:cubicBezTo>
                <a:cubicBezTo>
                  <a:pt x="853" y="135"/>
                  <a:pt x="852" y="136"/>
                  <a:pt x="852" y="136"/>
                </a:cubicBezTo>
                <a:cubicBezTo>
                  <a:pt x="848" y="174"/>
                  <a:pt x="837" y="207"/>
                  <a:pt x="833" y="244"/>
                </a:cubicBezTo>
                <a:cubicBezTo>
                  <a:pt x="832" y="254"/>
                  <a:pt x="831" y="263"/>
                  <a:pt x="830" y="273"/>
                </a:cubicBezTo>
                <a:cubicBezTo>
                  <a:pt x="829" y="190"/>
                  <a:pt x="830" y="107"/>
                  <a:pt x="835" y="25"/>
                </a:cubicBezTo>
                <a:cubicBezTo>
                  <a:pt x="835" y="23"/>
                  <a:pt x="833" y="24"/>
                  <a:pt x="833" y="25"/>
                </a:cubicBezTo>
                <a:cubicBezTo>
                  <a:pt x="822" y="101"/>
                  <a:pt x="813" y="174"/>
                  <a:pt x="807" y="250"/>
                </a:cubicBezTo>
                <a:cubicBezTo>
                  <a:pt x="802" y="191"/>
                  <a:pt x="793" y="133"/>
                  <a:pt x="784" y="75"/>
                </a:cubicBezTo>
                <a:cubicBezTo>
                  <a:pt x="784" y="73"/>
                  <a:pt x="783" y="74"/>
                  <a:pt x="783" y="76"/>
                </a:cubicBezTo>
                <a:cubicBezTo>
                  <a:pt x="788" y="161"/>
                  <a:pt x="786" y="248"/>
                  <a:pt x="782" y="334"/>
                </a:cubicBezTo>
                <a:cubicBezTo>
                  <a:pt x="780" y="298"/>
                  <a:pt x="778" y="262"/>
                  <a:pt x="777" y="226"/>
                </a:cubicBezTo>
                <a:cubicBezTo>
                  <a:pt x="777" y="223"/>
                  <a:pt x="774" y="225"/>
                  <a:pt x="774" y="227"/>
                </a:cubicBezTo>
                <a:cubicBezTo>
                  <a:pt x="772" y="265"/>
                  <a:pt x="767" y="302"/>
                  <a:pt x="763" y="339"/>
                </a:cubicBezTo>
                <a:cubicBezTo>
                  <a:pt x="762" y="352"/>
                  <a:pt x="761" y="364"/>
                  <a:pt x="761" y="377"/>
                </a:cubicBezTo>
                <a:cubicBezTo>
                  <a:pt x="761" y="360"/>
                  <a:pt x="761" y="343"/>
                  <a:pt x="761" y="327"/>
                </a:cubicBezTo>
                <a:cubicBezTo>
                  <a:pt x="762" y="222"/>
                  <a:pt x="753" y="111"/>
                  <a:pt x="763" y="8"/>
                </a:cubicBezTo>
                <a:cubicBezTo>
                  <a:pt x="764" y="5"/>
                  <a:pt x="762" y="6"/>
                  <a:pt x="761" y="8"/>
                </a:cubicBezTo>
                <a:cubicBezTo>
                  <a:pt x="748" y="85"/>
                  <a:pt x="739" y="160"/>
                  <a:pt x="734" y="238"/>
                </a:cubicBezTo>
                <a:cubicBezTo>
                  <a:pt x="730" y="192"/>
                  <a:pt x="726" y="147"/>
                  <a:pt x="724" y="101"/>
                </a:cubicBezTo>
                <a:cubicBezTo>
                  <a:pt x="724" y="98"/>
                  <a:pt x="722" y="100"/>
                  <a:pt x="722" y="102"/>
                </a:cubicBezTo>
                <a:cubicBezTo>
                  <a:pt x="721" y="124"/>
                  <a:pt x="721" y="146"/>
                  <a:pt x="720" y="168"/>
                </a:cubicBezTo>
                <a:cubicBezTo>
                  <a:pt x="716" y="110"/>
                  <a:pt x="709" y="52"/>
                  <a:pt x="695" y="1"/>
                </a:cubicBezTo>
                <a:cubicBezTo>
                  <a:pt x="695" y="0"/>
                  <a:pt x="694" y="1"/>
                  <a:pt x="694" y="2"/>
                </a:cubicBezTo>
                <a:cubicBezTo>
                  <a:pt x="698" y="51"/>
                  <a:pt x="693" y="108"/>
                  <a:pt x="692" y="158"/>
                </a:cubicBezTo>
                <a:cubicBezTo>
                  <a:pt x="691" y="203"/>
                  <a:pt x="690" y="248"/>
                  <a:pt x="688" y="294"/>
                </a:cubicBezTo>
                <a:cubicBezTo>
                  <a:pt x="680" y="190"/>
                  <a:pt x="666" y="97"/>
                  <a:pt x="636" y="4"/>
                </a:cubicBezTo>
                <a:cubicBezTo>
                  <a:pt x="635" y="3"/>
                  <a:pt x="634" y="4"/>
                  <a:pt x="634" y="6"/>
                </a:cubicBezTo>
                <a:cubicBezTo>
                  <a:pt x="652" y="80"/>
                  <a:pt x="661" y="156"/>
                  <a:pt x="666" y="233"/>
                </a:cubicBezTo>
                <a:cubicBezTo>
                  <a:pt x="665" y="229"/>
                  <a:pt x="664" y="225"/>
                  <a:pt x="662" y="222"/>
                </a:cubicBezTo>
                <a:cubicBezTo>
                  <a:pt x="656" y="204"/>
                  <a:pt x="640" y="176"/>
                  <a:pt x="626" y="161"/>
                </a:cubicBezTo>
                <a:cubicBezTo>
                  <a:pt x="619" y="148"/>
                  <a:pt x="610" y="138"/>
                  <a:pt x="600" y="129"/>
                </a:cubicBezTo>
                <a:cubicBezTo>
                  <a:pt x="600" y="128"/>
                  <a:pt x="598" y="131"/>
                  <a:pt x="599" y="132"/>
                </a:cubicBezTo>
                <a:cubicBezTo>
                  <a:pt x="611" y="168"/>
                  <a:pt x="616" y="205"/>
                  <a:pt x="620" y="243"/>
                </a:cubicBezTo>
                <a:cubicBezTo>
                  <a:pt x="612" y="214"/>
                  <a:pt x="599" y="182"/>
                  <a:pt x="583" y="175"/>
                </a:cubicBezTo>
                <a:cubicBezTo>
                  <a:pt x="583" y="175"/>
                  <a:pt x="582" y="176"/>
                  <a:pt x="582" y="177"/>
                </a:cubicBezTo>
                <a:cubicBezTo>
                  <a:pt x="582" y="178"/>
                  <a:pt x="582" y="178"/>
                  <a:pt x="582" y="178"/>
                </a:cubicBezTo>
                <a:cubicBezTo>
                  <a:pt x="583" y="179"/>
                  <a:pt x="583" y="178"/>
                  <a:pt x="583" y="178"/>
                </a:cubicBezTo>
                <a:cubicBezTo>
                  <a:pt x="586" y="184"/>
                  <a:pt x="588" y="191"/>
                  <a:pt x="589" y="198"/>
                </a:cubicBezTo>
                <a:cubicBezTo>
                  <a:pt x="592" y="213"/>
                  <a:pt x="595" y="227"/>
                  <a:pt x="597" y="242"/>
                </a:cubicBezTo>
                <a:cubicBezTo>
                  <a:pt x="600" y="269"/>
                  <a:pt x="602" y="297"/>
                  <a:pt x="604" y="325"/>
                </a:cubicBezTo>
                <a:cubicBezTo>
                  <a:pt x="605" y="334"/>
                  <a:pt x="605" y="342"/>
                  <a:pt x="606" y="351"/>
                </a:cubicBezTo>
                <a:cubicBezTo>
                  <a:pt x="601" y="320"/>
                  <a:pt x="595" y="291"/>
                  <a:pt x="586" y="263"/>
                </a:cubicBezTo>
                <a:cubicBezTo>
                  <a:pt x="579" y="244"/>
                  <a:pt x="565" y="211"/>
                  <a:pt x="553" y="203"/>
                </a:cubicBezTo>
                <a:cubicBezTo>
                  <a:pt x="553" y="203"/>
                  <a:pt x="552" y="204"/>
                  <a:pt x="552" y="205"/>
                </a:cubicBezTo>
                <a:cubicBezTo>
                  <a:pt x="566" y="226"/>
                  <a:pt x="566" y="288"/>
                  <a:pt x="569" y="317"/>
                </a:cubicBezTo>
                <a:cubicBezTo>
                  <a:pt x="571" y="336"/>
                  <a:pt x="572" y="355"/>
                  <a:pt x="573" y="374"/>
                </a:cubicBezTo>
                <a:cubicBezTo>
                  <a:pt x="573" y="375"/>
                  <a:pt x="573" y="376"/>
                  <a:pt x="572" y="377"/>
                </a:cubicBezTo>
                <a:cubicBezTo>
                  <a:pt x="568" y="361"/>
                  <a:pt x="563" y="346"/>
                  <a:pt x="557" y="330"/>
                </a:cubicBezTo>
                <a:cubicBezTo>
                  <a:pt x="559" y="305"/>
                  <a:pt x="560" y="280"/>
                  <a:pt x="562" y="255"/>
                </a:cubicBezTo>
                <a:cubicBezTo>
                  <a:pt x="562" y="254"/>
                  <a:pt x="561" y="254"/>
                  <a:pt x="561" y="256"/>
                </a:cubicBezTo>
                <a:cubicBezTo>
                  <a:pt x="558" y="274"/>
                  <a:pt x="554" y="291"/>
                  <a:pt x="551" y="309"/>
                </a:cubicBezTo>
                <a:cubicBezTo>
                  <a:pt x="551" y="309"/>
                  <a:pt x="550" y="310"/>
                  <a:pt x="550" y="311"/>
                </a:cubicBezTo>
                <a:cubicBezTo>
                  <a:pt x="550" y="312"/>
                  <a:pt x="550" y="312"/>
                  <a:pt x="550" y="313"/>
                </a:cubicBezTo>
                <a:cubicBezTo>
                  <a:pt x="543" y="355"/>
                  <a:pt x="535" y="397"/>
                  <a:pt x="529" y="440"/>
                </a:cubicBezTo>
                <a:cubicBezTo>
                  <a:pt x="529" y="389"/>
                  <a:pt x="529" y="339"/>
                  <a:pt x="529" y="288"/>
                </a:cubicBezTo>
                <a:cubicBezTo>
                  <a:pt x="529" y="287"/>
                  <a:pt x="528" y="288"/>
                  <a:pt x="528" y="289"/>
                </a:cubicBezTo>
                <a:cubicBezTo>
                  <a:pt x="525" y="326"/>
                  <a:pt x="514" y="360"/>
                  <a:pt x="509" y="397"/>
                </a:cubicBezTo>
                <a:cubicBezTo>
                  <a:pt x="508" y="406"/>
                  <a:pt x="507" y="416"/>
                  <a:pt x="506" y="425"/>
                </a:cubicBezTo>
                <a:cubicBezTo>
                  <a:pt x="506" y="342"/>
                  <a:pt x="506" y="259"/>
                  <a:pt x="511" y="177"/>
                </a:cubicBezTo>
                <a:cubicBezTo>
                  <a:pt x="511" y="175"/>
                  <a:pt x="510" y="176"/>
                  <a:pt x="509" y="177"/>
                </a:cubicBezTo>
                <a:cubicBezTo>
                  <a:pt x="498" y="253"/>
                  <a:pt x="489" y="326"/>
                  <a:pt x="483" y="402"/>
                </a:cubicBezTo>
                <a:cubicBezTo>
                  <a:pt x="478" y="343"/>
                  <a:pt x="469" y="286"/>
                  <a:pt x="461" y="227"/>
                </a:cubicBezTo>
                <a:cubicBezTo>
                  <a:pt x="460" y="225"/>
                  <a:pt x="459" y="227"/>
                  <a:pt x="459" y="228"/>
                </a:cubicBezTo>
                <a:cubicBezTo>
                  <a:pt x="464" y="313"/>
                  <a:pt x="462" y="400"/>
                  <a:pt x="459" y="486"/>
                </a:cubicBezTo>
                <a:cubicBezTo>
                  <a:pt x="457" y="468"/>
                  <a:pt x="456" y="449"/>
                  <a:pt x="455" y="431"/>
                </a:cubicBezTo>
                <a:cubicBezTo>
                  <a:pt x="457" y="388"/>
                  <a:pt x="454" y="345"/>
                  <a:pt x="452" y="304"/>
                </a:cubicBezTo>
                <a:cubicBezTo>
                  <a:pt x="452" y="303"/>
                  <a:pt x="452" y="303"/>
                  <a:pt x="452" y="303"/>
                </a:cubicBezTo>
                <a:cubicBezTo>
                  <a:pt x="452" y="297"/>
                  <a:pt x="452" y="290"/>
                  <a:pt x="452" y="284"/>
                </a:cubicBezTo>
                <a:cubicBezTo>
                  <a:pt x="452" y="282"/>
                  <a:pt x="450" y="283"/>
                  <a:pt x="450" y="284"/>
                </a:cubicBezTo>
                <a:cubicBezTo>
                  <a:pt x="446" y="306"/>
                  <a:pt x="440" y="326"/>
                  <a:pt x="436" y="347"/>
                </a:cubicBezTo>
                <a:cubicBezTo>
                  <a:pt x="434" y="284"/>
                  <a:pt x="434" y="220"/>
                  <a:pt x="440" y="160"/>
                </a:cubicBezTo>
                <a:cubicBezTo>
                  <a:pt x="440" y="157"/>
                  <a:pt x="438" y="159"/>
                  <a:pt x="438" y="160"/>
                </a:cubicBezTo>
                <a:cubicBezTo>
                  <a:pt x="424" y="237"/>
                  <a:pt x="416" y="313"/>
                  <a:pt x="410" y="390"/>
                </a:cubicBezTo>
                <a:cubicBezTo>
                  <a:pt x="406" y="345"/>
                  <a:pt x="402" y="299"/>
                  <a:pt x="401" y="253"/>
                </a:cubicBezTo>
                <a:cubicBezTo>
                  <a:pt x="400" y="251"/>
                  <a:pt x="398" y="253"/>
                  <a:pt x="398" y="255"/>
                </a:cubicBezTo>
                <a:cubicBezTo>
                  <a:pt x="398" y="277"/>
                  <a:pt x="397" y="299"/>
                  <a:pt x="396" y="321"/>
                </a:cubicBezTo>
                <a:cubicBezTo>
                  <a:pt x="393" y="262"/>
                  <a:pt x="385" y="204"/>
                  <a:pt x="372" y="153"/>
                </a:cubicBezTo>
                <a:cubicBezTo>
                  <a:pt x="371" y="152"/>
                  <a:pt x="370" y="154"/>
                  <a:pt x="370" y="155"/>
                </a:cubicBezTo>
                <a:cubicBezTo>
                  <a:pt x="374" y="192"/>
                  <a:pt x="371" y="234"/>
                  <a:pt x="369" y="274"/>
                </a:cubicBezTo>
                <a:cubicBezTo>
                  <a:pt x="369" y="274"/>
                  <a:pt x="369" y="275"/>
                  <a:pt x="368" y="276"/>
                </a:cubicBezTo>
                <a:cubicBezTo>
                  <a:pt x="368" y="270"/>
                  <a:pt x="369" y="263"/>
                  <a:pt x="369" y="257"/>
                </a:cubicBezTo>
                <a:cubicBezTo>
                  <a:pt x="366" y="268"/>
                  <a:pt x="362" y="280"/>
                  <a:pt x="360" y="293"/>
                </a:cubicBezTo>
                <a:cubicBezTo>
                  <a:pt x="356" y="300"/>
                  <a:pt x="353" y="307"/>
                  <a:pt x="349" y="314"/>
                </a:cubicBezTo>
                <a:cubicBezTo>
                  <a:pt x="341" y="260"/>
                  <a:pt x="329" y="208"/>
                  <a:pt x="312" y="156"/>
                </a:cubicBezTo>
                <a:cubicBezTo>
                  <a:pt x="312" y="155"/>
                  <a:pt x="310" y="157"/>
                  <a:pt x="311" y="158"/>
                </a:cubicBezTo>
                <a:cubicBezTo>
                  <a:pt x="325" y="217"/>
                  <a:pt x="333" y="277"/>
                  <a:pt x="339" y="338"/>
                </a:cubicBezTo>
                <a:cubicBezTo>
                  <a:pt x="336" y="344"/>
                  <a:pt x="334" y="351"/>
                  <a:pt x="331" y="357"/>
                </a:cubicBezTo>
                <a:cubicBezTo>
                  <a:pt x="328" y="351"/>
                  <a:pt x="324" y="344"/>
                  <a:pt x="320" y="337"/>
                </a:cubicBezTo>
                <a:cubicBezTo>
                  <a:pt x="321" y="301"/>
                  <a:pt x="322" y="264"/>
                  <a:pt x="324" y="227"/>
                </a:cubicBezTo>
                <a:cubicBezTo>
                  <a:pt x="324" y="225"/>
                  <a:pt x="323" y="226"/>
                  <a:pt x="322" y="228"/>
                </a:cubicBezTo>
                <a:cubicBezTo>
                  <a:pt x="318" y="259"/>
                  <a:pt x="312" y="289"/>
                  <a:pt x="307" y="319"/>
                </a:cubicBezTo>
                <a:cubicBezTo>
                  <a:pt x="304" y="315"/>
                  <a:pt x="300" y="312"/>
                  <a:pt x="297" y="309"/>
                </a:cubicBezTo>
                <a:cubicBezTo>
                  <a:pt x="294" y="269"/>
                  <a:pt x="287" y="230"/>
                  <a:pt x="275" y="192"/>
                </a:cubicBezTo>
                <a:cubicBezTo>
                  <a:pt x="275" y="191"/>
                  <a:pt x="274" y="193"/>
                  <a:pt x="274" y="194"/>
                </a:cubicBezTo>
                <a:cubicBezTo>
                  <a:pt x="279" y="231"/>
                  <a:pt x="273" y="277"/>
                  <a:pt x="271" y="315"/>
                </a:cubicBezTo>
                <a:cubicBezTo>
                  <a:pt x="271" y="316"/>
                  <a:pt x="271" y="318"/>
                  <a:pt x="271" y="319"/>
                </a:cubicBezTo>
                <a:cubicBezTo>
                  <a:pt x="266" y="286"/>
                  <a:pt x="260" y="255"/>
                  <a:pt x="253" y="228"/>
                </a:cubicBezTo>
                <a:cubicBezTo>
                  <a:pt x="252" y="226"/>
                  <a:pt x="251" y="228"/>
                  <a:pt x="251" y="230"/>
                </a:cubicBezTo>
                <a:cubicBezTo>
                  <a:pt x="257" y="272"/>
                  <a:pt x="257" y="320"/>
                  <a:pt x="255" y="365"/>
                </a:cubicBezTo>
                <a:cubicBezTo>
                  <a:pt x="251" y="330"/>
                  <a:pt x="244" y="295"/>
                  <a:pt x="234" y="263"/>
                </a:cubicBezTo>
                <a:cubicBezTo>
                  <a:pt x="227" y="244"/>
                  <a:pt x="214" y="212"/>
                  <a:pt x="201" y="203"/>
                </a:cubicBezTo>
                <a:cubicBezTo>
                  <a:pt x="202" y="188"/>
                  <a:pt x="203" y="172"/>
                  <a:pt x="205" y="157"/>
                </a:cubicBezTo>
                <a:cubicBezTo>
                  <a:pt x="205" y="155"/>
                  <a:pt x="203" y="156"/>
                  <a:pt x="203" y="157"/>
                </a:cubicBezTo>
                <a:cubicBezTo>
                  <a:pt x="192" y="219"/>
                  <a:pt x="180" y="279"/>
                  <a:pt x="172" y="342"/>
                </a:cubicBezTo>
                <a:cubicBezTo>
                  <a:pt x="172" y="291"/>
                  <a:pt x="171" y="240"/>
                  <a:pt x="171" y="190"/>
                </a:cubicBezTo>
                <a:cubicBezTo>
                  <a:pt x="171" y="189"/>
                  <a:pt x="170" y="190"/>
                  <a:pt x="170" y="190"/>
                </a:cubicBezTo>
                <a:cubicBezTo>
                  <a:pt x="167" y="227"/>
                  <a:pt x="156" y="261"/>
                  <a:pt x="152" y="298"/>
                </a:cubicBezTo>
                <a:cubicBezTo>
                  <a:pt x="150" y="308"/>
                  <a:pt x="150" y="317"/>
                  <a:pt x="149" y="327"/>
                </a:cubicBezTo>
                <a:cubicBezTo>
                  <a:pt x="148" y="244"/>
                  <a:pt x="148" y="161"/>
                  <a:pt x="153" y="79"/>
                </a:cubicBezTo>
                <a:cubicBezTo>
                  <a:pt x="153" y="77"/>
                  <a:pt x="152" y="78"/>
                  <a:pt x="152" y="79"/>
                </a:cubicBezTo>
                <a:cubicBezTo>
                  <a:pt x="141" y="155"/>
                  <a:pt x="131" y="228"/>
                  <a:pt x="126" y="303"/>
                </a:cubicBezTo>
                <a:cubicBezTo>
                  <a:pt x="120" y="245"/>
                  <a:pt x="112" y="187"/>
                  <a:pt x="103" y="128"/>
                </a:cubicBezTo>
                <a:cubicBezTo>
                  <a:pt x="103" y="127"/>
                  <a:pt x="101" y="128"/>
                  <a:pt x="101" y="130"/>
                </a:cubicBezTo>
                <a:cubicBezTo>
                  <a:pt x="106" y="215"/>
                  <a:pt x="104" y="302"/>
                  <a:pt x="101" y="388"/>
                </a:cubicBezTo>
                <a:cubicBezTo>
                  <a:pt x="100" y="375"/>
                  <a:pt x="99" y="363"/>
                  <a:pt x="99" y="350"/>
                </a:cubicBezTo>
                <a:cubicBezTo>
                  <a:pt x="99" y="346"/>
                  <a:pt x="99" y="342"/>
                  <a:pt x="99" y="338"/>
                </a:cubicBezTo>
                <a:cubicBezTo>
                  <a:pt x="100" y="309"/>
                  <a:pt x="102" y="262"/>
                  <a:pt x="94" y="237"/>
                </a:cubicBezTo>
                <a:cubicBezTo>
                  <a:pt x="94" y="236"/>
                  <a:pt x="93" y="237"/>
                  <a:pt x="93" y="237"/>
                </a:cubicBezTo>
                <a:cubicBezTo>
                  <a:pt x="93" y="238"/>
                  <a:pt x="93" y="238"/>
                  <a:pt x="93" y="238"/>
                </a:cubicBezTo>
                <a:cubicBezTo>
                  <a:pt x="93" y="239"/>
                  <a:pt x="93" y="239"/>
                  <a:pt x="93" y="239"/>
                </a:cubicBezTo>
                <a:cubicBezTo>
                  <a:pt x="89" y="244"/>
                  <a:pt x="85" y="296"/>
                  <a:pt x="83" y="306"/>
                </a:cubicBezTo>
                <a:cubicBezTo>
                  <a:pt x="82" y="314"/>
                  <a:pt x="81" y="323"/>
                  <a:pt x="79" y="331"/>
                </a:cubicBezTo>
                <a:cubicBezTo>
                  <a:pt x="78" y="242"/>
                  <a:pt x="74" y="149"/>
                  <a:pt x="82" y="62"/>
                </a:cubicBezTo>
                <a:cubicBezTo>
                  <a:pt x="82" y="59"/>
                  <a:pt x="80" y="60"/>
                  <a:pt x="80" y="62"/>
                </a:cubicBezTo>
                <a:cubicBezTo>
                  <a:pt x="67" y="139"/>
                  <a:pt x="58" y="214"/>
                  <a:pt x="53" y="292"/>
                </a:cubicBezTo>
                <a:cubicBezTo>
                  <a:pt x="48" y="246"/>
                  <a:pt x="44" y="200"/>
                  <a:pt x="43" y="155"/>
                </a:cubicBezTo>
                <a:cubicBezTo>
                  <a:pt x="43" y="152"/>
                  <a:pt x="41" y="154"/>
                  <a:pt x="41" y="156"/>
                </a:cubicBezTo>
                <a:cubicBezTo>
                  <a:pt x="40" y="178"/>
                  <a:pt x="39" y="200"/>
                  <a:pt x="38" y="222"/>
                </a:cubicBezTo>
                <a:cubicBezTo>
                  <a:pt x="35" y="164"/>
                  <a:pt x="28" y="106"/>
                  <a:pt x="14" y="55"/>
                </a:cubicBezTo>
                <a:cubicBezTo>
                  <a:pt x="14" y="53"/>
                  <a:pt x="12" y="55"/>
                  <a:pt x="13" y="56"/>
                </a:cubicBezTo>
                <a:cubicBezTo>
                  <a:pt x="17" y="105"/>
                  <a:pt x="11" y="162"/>
                  <a:pt x="11" y="212"/>
                </a:cubicBezTo>
                <a:cubicBezTo>
                  <a:pt x="10" y="257"/>
                  <a:pt x="9" y="302"/>
                  <a:pt x="7" y="347"/>
                </a:cubicBezTo>
                <a:cubicBezTo>
                  <a:pt x="5" y="323"/>
                  <a:pt x="3" y="300"/>
                  <a:pt x="0" y="277"/>
                </a:cubicBezTo>
                <a:cubicBezTo>
                  <a:pt x="0" y="498"/>
                  <a:pt x="0" y="498"/>
                  <a:pt x="0" y="498"/>
                </a:cubicBezTo>
                <a:cubicBezTo>
                  <a:pt x="0" y="501"/>
                  <a:pt x="0" y="501"/>
                  <a:pt x="0" y="501"/>
                </a:cubicBezTo>
                <a:cubicBezTo>
                  <a:pt x="1362" y="501"/>
                  <a:pt x="1362" y="501"/>
                  <a:pt x="1362" y="501"/>
                </a:cubicBezTo>
                <a:cubicBezTo>
                  <a:pt x="1362" y="500"/>
                  <a:pt x="1362" y="499"/>
                  <a:pt x="1362" y="499"/>
                </a:cubicBezTo>
                <a:cubicBezTo>
                  <a:pt x="1363" y="490"/>
                  <a:pt x="1363" y="481"/>
                  <a:pt x="1364" y="472"/>
                </a:cubicBezTo>
                <a:cubicBezTo>
                  <a:pt x="1364" y="480"/>
                  <a:pt x="1365" y="489"/>
                  <a:pt x="1365" y="499"/>
                </a:cubicBezTo>
                <a:cubicBezTo>
                  <a:pt x="1366" y="499"/>
                  <a:pt x="1366" y="499"/>
                  <a:pt x="1366" y="499"/>
                </a:cubicBezTo>
                <a:cubicBezTo>
                  <a:pt x="5120" y="501"/>
                  <a:pt x="5120" y="501"/>
                  <a:pt x="5120" y="501"/>
                </a:cubicBezTo>
                <a:cubicBezTo>
                  <a:pt x="5120" y="209"/>
                  <a:pt x="5120" y="209"/>
                  <a:pt x="5120" y="209"/>
                </a:cubicBezTo>
                <a:cubicBezTo>
                  <a:pt x="5116" y="186"/>
                  <a:pt x="5111" y="164"/>
                  <a:pt x="5104" y="142"/>
                </a:cubicBezTo>
                <a:close/>
                <a:moveTo>
                  <a:pt x="1338" y="279"/>
                </a:moveTo>
                <a:cubicBezTo>
                  <a:pt x="1337" y="287"/>
                  <a:pt x="1335" y="295"/>
                  <a:pt x="1334" y="304"/>
                </a:cubicBezTo>
                <a:cubicBezTo>
                  <a:pt x="1333" y="286"/>
                  <a:pt x="1332" y="269"/>
                  <a:pt x="1330" y="252"/>
                </a:cubicBezTo>
                <a:cubicBezTo>
                  <a:pt x="1333" y="261"/>
                  <a:pt x="1336" y="270"/>
                  <a:pt x="1338" y="279"/>
                </a:cubicBezTo>
                <a:close/>
                <a:moveTo>
                  <a:pt x="1238" y="301"/>
                </a:moveTo>
                <a:cubicBezTo>
                  <a:pt x="1240" y="323"/>
                  <a:pt x="1242" y="346"/>
                  <a:pt x="1243" y="369"/>
                </a:cubicBezTo>
                <a:cubicBezTo>
                  <a:pt x="1242" y="373"/>
                  <a:pt x="1241" y="377"/>
                  <a:pt x="1240" y="380"/>
                </a:cubicBezTo>
                <a:cubicBezTo>
                  <a:pt x="1239" y="376"/>
                  <a:pt x="1237" y="372"/>
                  <a:pt x="1236" y="368"/>
                </a:cubicBezTo>
                <a:cubicBezTo>
                  <a:pt x="1236" y="346"/>
                  <a:pt x="1237" y="323"/>
                  <a:pt x="1238" y="301"/>
                </a:cubicBezTo>
                <a:close/>
                <a:moveTo>
                  <a:pt x="216" y="311"/>
                </a:moveTo>
                <a:cubicBezTo>
                  <a:pt x="217" y="313"/>
                  <a:pt x="217" y="315"/>
                  <a:pt x="217" y="317"/>
                </a:cubicBezTo>
                <a:cubicBezTo>
                  <a:pt x="219" y="339"/>
                  <a:pt x="220" y="361"/>
                  <a:pt x="222" y="383"/>
                </a:cubicBezTo>
                <a:cubicBezTo>
                  <a:pt x="220" y="374"/>
                  <a:pt x="217" y="366"/>
                  <a:pt x="215" y="358"/>
                </a:cubicBezTo>
                <a:cubicBezTo>
                  <a:pt x="215" y="342"/>
                  <a:pt x="216" y="326"/>
                  <a:pt x="216" y="311"/>
                </a:cubicBezTo>
                <a:close/>
                <a:moveTo>
                  <a:pt x="201" y="207"/>
                </a:moveTo>
                <a:cubicBezTo>
                  <a:pt x="209" y="222"/>
                  <a:pt x="213" y="253"/>
                  <a:pt x="214" y="281"/>
                </a:cubicBezTo>
                <a:cubicBezTo>
                  <a:pt x="211" y="295"/>
                  <a:pt x="207" y="310"/>
                  <a:pt x="204" y="325"/>
                </a:cubicBezTo>
                <a:cubicBezTo>
                  <a:pt x="202" y="320"/>
                  <a:pt x="201" y="315"/>
                  <a:pt x="199" y="310"/>
                </a:cubicBezTo>
                <a:cubicBezTo>
                  <a:pt x="199" y="308"/>
                  <a:pt x="198" y="310"/>
                  <a:pt x="198" y="311"/>
                </a:cubicBezTo>
                <a:cubicBezTo>
                  <a:pt x="199" y="319"/>
                  <a:pt x="200" y="327"/>
                  <a:pt x="202" y="334"/>
                </a:cubicBezTo>
                <a:cubicBezTo>
                  <a:pt x="200" y="343"/>
                  <a:pt x="198" y="352"/>
                  <a:pt x="196" y="360"/>
                </a:cubicBezTo>
                <a:cubicBezTo>
                  <a:pt x="197" y="309"/>
                  <a:pt x="198" y="258"/>
                  <a:pt x="201" y="207"/>
                </a:cubicBezTo>
                <a:close/>
                <a:moveTo>
                  <a:pt x="1395" y="354"/>
                </a:moveTo>
                <a:cubicBezTo>
                  <a:pt x="1393" y="332"/>
                  <a:pt x="1391" y="311"/>
                  <a:pt x="1389" y="290"/>
                </a:cubicBezTo>
                <a:cubicBezTo>
                  <a:pt x="1391" y="276"/>
                  <a:pt x="1395" y="263"/>
                  <a:pt x="1398" y="251"/>
                </a:cubicBezTo>
                <a:cubicBezTo>
                  <a:pt x="1397" y="285"/>
                  <a:pt x="1396" y="320"/>
                  <a:pt x="1395" y="354"/>
                </a:cubicBezTo>
                <a:close/>
                <a:moveTo>
                  <a:pt x="1592" y="332"/>
                </a:moveTo>
                <a:cubicBezTo>
                  <a:pt x="1590" y="327"/>
                  <a:pt x="1589" y="322"/>
                  <a:pt x="1587" y="317"/>
                </a:cubicBezTo>
                <a:cubicBezTo>
                  <a:pt x="1587" y="315"/>
                  <a:pt x="1586" y="317"/>
                  <a:pt x="1586" y="318"/>
                </a:cubicBezTo>
                <a:cubicBezTo>
                  <a:pt x="1587" y="326"/>
                  <a:pt x="1588" y="334"/>
                  <a:pt x="1590" y="341"/>
                </a:cubicBezTo>
                <a:cubicBezTo>
                  <a:pt x="1588" y="350"/>
                  <a:pt x="1585" y="359"/>
                  <a:pt x="1584" y="367"/>
                </a:cubicBezTo>
                <a:cubicBezTo>
                  <a:pt x="1585" y="316"/>
                  <a:pt x="1586" y="265"/>
                  <a:pt x="1589" y="214"/>
                </a:cubicBezTo>
                <a:cubicBezTo>
                  <a:pt x="1597" y="229"/>
                  <a:pt x="1600" y="260"/>
                  <a:pt x="1602" y="288"/>
                </a:cubicBezTo>
                <a:cubicBezTo>
                  <a:pt x="1599" y="302"/>
                  <a:pt x="1595" y="317"/>
                  <a:pt x="1592" y="332"/>
                </a:cubicBezTo>
                <a:close/>
                <a:moveTo>
                  <a:pt x="1610" y="390"/>
                </a:moveTo>
                <a:cubicBezTo>
                  <a:pt x="1608" y="381"/>
                  <a:pt x="1605" y="373"/>
                  <a:pt x="1602" y="365"/>
                </a:cubicBezTo>
                <a:cubicBezTo>
                  <a:pt x="1603" y="356"/>
                  <a:pt x="1603" y="346"/>
                  <a:pt x="1603" y="337"/>
                </a:cubicBezTo>
                <a:cubicBezTo>
                  <a:pt x="1603" y="336"/>
                  <a:pt x="1603" y="335"/>
                  <a:pt x="1602" y="334"/>
                </a:cubicBezTo>
                <a:cubicBezTo>
                  <a:pt x="1603" y="318"/>
                  <a:pt x="1603" y="302"/>
                  <a:pt x="1604" y="286"/>
                </a:cubicBezTo>
                <a:cubicBezTo>
                  <a:pt x="1604" y="288"/>
                  <a:pt x="1605" y="291"/>
                  <a:pt x="1605" y="293"/>
                </a:cubicBezTo>
                <a:cubicBezTo>
                  <a:pt x="1607" y="315"/>
                  <a:pt x="1608" y="336"/>
                  <a:pt x="1610" y="358"/>
                </a:cubicBezTo>
                <a:cubicBezTo>
                  <a:pt x="1609" y="355"/>
                  <a:pt x="1608" y="351"/>
                  <a:pt x="1607" y="348"/>
                </a:cubicBezTo>
                <a:cubicBezTo>
                  <a:pt x="1608" y="362"/>
                  <a:pt x="1609" y="376"/>
                  <a:pt x="1610" y="390"/>
                </a:cubicBezTo>
                <a:close/>
                <a:moveTo>
                  <a:pt x="1949" y="430"/>
                </a:moveTo>
                <a:cubicBezTo>
                  <a:pt x="1949" y="434"/>
                  <a:pt x="1948" y="437"/>
                  <a:pt x="1947" y="441"/>
                </a:cubicBezTo>
                <a:cubicBezTo>
                  <a:pt x="1945" y="437"/>
                  <a:pt x="1944" y="433"/>
                  <a:pt x="1942" y="429"/>
                </a:cubicBezTo>
                <a:cubicBezTo>
                  <a:pt x="1942" y="419"/>
                  <a:pt x="1943" y="409"/>
                  <a:pt x="1943" y="400"/>
                </a:cubicBezTo>
                <a:cubicBezTo>
                  <a:pt x="1943" y="399"/>
                  <a:pt x="1942" y="398"/>
                  <a:pt x="1942" y="397"/>
                </a:cubicBezTo>
                <a:cubicBezTo>
                  <a:pt x="1943" y="375"/>
                  <a:pt x="1943" y="353"/>
                  <a:pt x="1944" y="330"/>
                </a:cubicBezTo>
                <a:cubicBezTo>
                  <a:pt x="1947" y="353"/>
                  <a:pt x="1948" y="376"/>
                  <a:pt x="1949" y="398"/>
                </a:cubicBezTo>
                <a:cubicBezTo>
                  <a:pt x="1949" y="400"/>
                  <a:pt x="1949" y="403"/>
                  <a:pt x="1948" y="405"/>
                </a:cubicBezTo>
                <a:cubicBezTo>
                  <a:pt x="1949" y="413"/>
                  <a:pt x="1949" y="421"/>
                  <a:pt x="1949" y="430"/>
                </a:cubicBezTo>
                <a:close/>
                <a:moveTo>
                  <a:pt x="2273" y="278"/>
                </a:moveTo>
                <a:cubicBezTo>
                  <a:pt x="2272" y="273"/>
                  <a:pt x="2270" y="268"/>
                  <a:pt x="2269" y="263"/>
                </a:cubicBezTo>
                <a:cubicBezTo>
                  <a:pt x="2268" y="261"/>
                  <a:pt x="2267" y="263"/>
                  <a:pt x="2267" y="264"/>
                </a:cubicBezTo>
                <a:cubicBezTo>
                  <a:pt x="2269" y="272"/>
                  <a:pt x="2270" y="280"/>
                  <a:pt x="2271" y="287"/>
                </a:cubicBezTo>
                <a:cubicBezTo>
                  <a:pt x="2269" y="296"/>
                  <a:pt x="2267" y="305"/>
                  <a:pt x="2265" y="313"/>
                </a:cubicBezTo>
                <a:cubicBezTo>
                  <a:pt x="2266" y="262"/>
                  <a:pt x="2267" y="211"/>
                  <a:pt x="2270" y="160"/>
                </a:cubicBezTo>
                <a:cubicBezTo>
                  <a:pt x="2279" y="175"/>
                  <a:pt x="2282" y="206"/>
                  <a:pt x="2284" y="234"/>
                </a:cubicBezTo>
                <a:cubicBezTo>
                  <a:pt x="2280" y="249"/>
                  <a:pt x="2276" y="263"/>
                  <a:pt x="2273" y="278"/>
                </a:cubicBezTo>
                <a:close/>
                <a:moveTo>
                  <a:pt x="2284" y="311"/>
                </a:moveTo>
                <a:cubicBezTo>
                  <a:pt x="2284" y="295"/>
                  <a:pt x="2285" y="279"/>
                  <a:pt x="2286" y="264"/>
                </a:cubicBezTo>
                <a:cubicBezTo>
                  <a:pt x="2286" y="266"/>
                  <a:pt x="2286" y="268"/>
                  <a:pt x="2286" y="270"/>
                </a:cubicBezTo>
                <a:cubicBezTo>
                  <a:pt x="2288" y="292"/>
                  <a:pt x="2290" y="314"/>
                  <a:pt x="2291" y="336"/>
                </a:cubicBezTo>
                <a:cubicBezTo>
                  <a:pt x="2289" y="327"/>
                  <a:pt x="2286" y="319"/>
                  <a:pt x="2284" y="311"/>
                </a:cubicBezTo>
                <a:close/>
                <a:moveTo>
                  <a:pt x="2437" y="263"/>
                </a:moveTo>
                <a:cubicBezTo>
                  <a:pt x="2437" y="308"/>
                  <a:pt x="2436" y="354"/>
                  <a:pt x="2434" y="399"/>
                </a:cubicBezTo>
                <a:cubicBezTo>
                  <a:pt x="2431" y="365"/>
                  <a:pt x="2428" y="333"/>
                  <a:pt x="2423" y="301"/>
                </a:cubicBezTo>
                <a:cubicBezTo>
                  <a:pt x="2428" y="280"/>
                  <a:pt x="2433" y="260"/>
                  <a:pt x="2438" y="241"/>
                </a:cubicBezTo>
                <a:cubicBezTo>
                  <a:pt x="2438" y="249"/>
                  <a:pt x="2438" y="256"/>
                  <a:pt x="2437" y="263"/>
                </a:cubicBezTo>
                <a:close/>
                <a:moveTo>
                  <a:pt x="2628" y="387"/>
                </a:moveTo>
                <a:cubicBezTo>
                  <a:pt x="2627" y="383"/>
                  <a:pt x="2625" y="379"/>
                  <a:pt x="2623" y="375"/>
                </a:cubicBezTo>
                <a:cubicBezTo>
                  <a:pt x="2624" y="353"/>
                  <a:pt x="2625" y="330"/>
                  <a:pt x="2626" y="308"/>
                </a:cubicBezTo>
                <a:cubicBezTo>
                  <a:pt x="2628" y="330"/>
                  <a:pt x="2630" y="353"/>
                  <a:pt x="2631" y="376"/>
                </a:cubicBezTo>
                <a:cubicBezTo>
                  <a:pt x="2630" y="380"/>
                  <a:pt x="2629" y="384"/>
                  <a:pt x="2628" y="387"/>
                </a:cubicBezTo>
                <a:close/>
                <a:moveTo>
                  <a:pt x="2722" y="311"/>
                </a:moveTo>
                <a:cubicBezTo>
                  <a:pt x="2722" y="304"/>
                  <a:pt x="2721" y="297"/>
                  <a:pt x="2721" y="290"/>
                </a:cubicBezTo>
                <a:cubicBezTo>
                  <a:pt x="2722" y="294"/>
                  <a:pt x="2723" y="298"/>
                  <a:pt x="2723" y="302"/>
                </a:cubicBezTo>
                <a:cubicBezTo>
                  <a:pt x="2723" y="305"/>
                  <a:pt x="2722" y="308"/>
                  <a:pt x="2722" y="311"/>
                </a:cubicBezTo>
                <a:close/>
                <a:moveTo>
                  <a:pt x="2749" y="282"/>
                </a:moveTo>
                <a:cubicBezTo>
                  <a:pt x="2747" y="277"/>
                  <a:pt x="2745" y="272"/>
                  <a:pt x="2742" y="267"/>
                </a:cubicBezTo>
                <a:cubicBezTo>
                  <a:pt x="2743" y="245"/>
                  <a:pt x="2744" y="224"/>
                  <a:pt x="2744" y="202"/>
                </a:cubicBezTo>
                <a:cubicBezTo>
                  <a:pt x="2748" y="232"/>
                  <a:pt x="2751" y="263"/>
                  <a:pt x="2753" y="293"/>
                </a:cubicBezTo>
                <a:cubicBezTo>
                  <a:pt x="2751" y="289"/>
                  <a:pt x="2750" y="286"/>
                  <a:pt x="2749" y="282"/>
                </a:cubicBezTo>
                <a:close/>
                <a:moveTo>
                  <a:pt x="2775" y="354"/>
                </a:moveTo>
                <a:cubicBezTo>
                  <a:pt x="2774" y="342"/>
                  <a:pt x="2773" y="331"/>
                  <a:pt x="2772" y="320"/>
                </a:cubicBezTo>
                <a:cubicBezTo>
                  <a:pt x="2773" y="312"/>
                  <a:pt x="2775" y="304"/>
                  <a:pt x="2777" y="296"/>
                </a:cubicBezTo>
                <a:cubicBezTo>
                  <a:pt x="2776" y="315"/>
                  <a:pt x="2775" y="335"/>
                  <a:pt x="2775" y="354"/>
                </a:cubicBezTo>
                <a:close/>
                <a:moveTo>
                  <a:pt x="2972" y="331"/>
                </a:moveTo>
                <a:cubicBezTo>
                  <a:pt x="2970" y="326"/>
                  <a:pt x="2969" y="321"/>
                  <a:pt x="2967" y="316"/>
                </a:cubicBezTo>
                <a:cubicBezTo>
                  <a:pt x="2967" y="315"/>
                  <a:pt x="2966" y="316"/>
                  <a:pt x="2966" y="318"/>
                </a:cubicBezTo>
                <a:cubicBezTo>
                  <a:pt x="2967" y="325"/>
                  <a:pt x="2968" y="333"/>
                  <a:pt x="2969" y="341"/>
                </a:cubicBezTo>
                <a:cubicBezTo>
                  <a:pt x="2967" y="349"/>
                  <a:pt x="2965" y="358"/>
                  <a:pt x="2964" y="367"/>
                </a:cubicBezTo>
                <a:cubicBezTo>
                  <a:pt x="2965" y="316"/>
                  <a:pt x="2966" y="264"/>
                  <a:pt x="2969" y="213"/>
                </a:cubicBezTo>
                <a:cubicBezTo>
                  <a:pt x="2977" y="228"/>
                  <a:pt x="2980" y="259"/>
                  <a:pt x="2982" y="287"/>
                </a:cubicBezTo>
                <a:cubicBezTo>
                  <a:pt x="2979" y="302"/>
                  <a:pt x="2975" y="317"/>
                  <a:pt x="2972" y="331"/>
                </a:cubicBezTo>
                <a:close/>
                <a:moveTo>
                  <a:pt x="2982" y="365"/>
                </a:moveTo>
                <a:cubicBezTo>
                  <a:pt x="2983" y="349"/>
                  <a:pt x="2983" y="333"/>
                  <a:pt x="2984" y="317"/>
                </a:cubicBezTo>
                <a:cubicBezTo>
                  <a:pt x="2984" y="319"/>
                  <a:pt x="2985" y="322"/>
                  <a:pt x="2985" y="324"/>
                </a:cubicBezTo>
                <a:cubicBezTo>
                  <a:pt x="2987" y="345"/>
                  <a:pt x="2988" y="367"/>
                  <a:pt x="2990" y="389"/>
                </a:cubicBezTo>
                <a:cubicBezTo>
                  <a:pt x="2987" y="381"/>
                  <a:pt x="2985" y="373"/>
                  <a:pt x="2982" y="365"/>
                </a:cubicBezTo>
                <a:close/>
                <a:moveTo>
                  <a:pt x="3136" y="317"/>
                </a:moveTo>
                <a:cubicBezTo>
                  <a:pt x="3135" y="362"/>
                  <a:pt x="3134" y="407"/>
                  <a:pt x="3132" y="452"/>
                </a:cubicBezTo>
                <a:cubicBezTo>
                  <a:pt x="3130" y="419"/>
                  <a:pt x="3126" y="386"/>
                  <a:pt x="3122" y="354"/>
                </a:cubicBezTo>
                <a:cubicBezTo>
                  <a:pt x="3126" y="333"/>
                  <a:pt x="3131" y="313"/>
                  <a:pt x="3137" y="295"/>
                </a:cubicBezTo>
                <a:cubicBezTo>
                  <a:pt x="3136" y="302"/>
                  <a:pt x="3136" y="309"/>
                  <a:pt x="3136" y="317"/>
                </a:cubicBezTo>
                <a:close/>
                <a:moveTo>
                  <a:pt x="3327" y="441"/>
                </a:moveTo>
                <a:cubicBezTo>
                  <a:pt x="3325" y="437"/>
                  <a:pt x="3324" y="432"/>
                  <a:pt x="3322" y="428"/>
                </a:cubicBezTo>
                <a:cubicBezTo>
                  <a:pt x="3323" y="406"/>
                  <a:pt x="3323" y="383"/>
                  <a:pt x="3324" y="361"/>
                </a:cubicBezTo>
                <a:cubicBezTo>
                  <a:pt x="3327" y="384"/>
                  <a:pt x="3328" y="406"/>
                  <a:pt x="3329" y="429"/>
                </a:cubicBezTo>
                <a:cubicBezTo>
                  <a:pt x="3328" y="433"/>
                  <a:pt x="3328" y="437"/>
                  <a:pt x="3327" y="441"/>
                </a:cubicBezTo>
                <a:close/>
                <a:moveTo>
                  <a:pt x="3653" y="277"/>
                </a:moveTo>
                <a:cubicBezTo>
                  <a:pt x="3651" y="272"/>
                  <a:pt x="3650" y="267"/>
                  <a:pt x="3649" y="262"/>
                </a:cubicBezTo>
                <a:cubicBezTo>
                  <a:pt x="3648" y="261"/>
                  <a:pt x="3647" y="263"/>
                  <a:pt x="3647" y="264"/>
                </a:cubicBezTo>
                <a:cubicBezTo>
                  <a:pt x="3649" y="271"/>
                  <a:pt x="3650" y="279"/>
                  <a:pt x="3651" y="287"/>
                </a:cubicBezTo>
                <a:cubicBezTo>
                  <a:pt x="3649" y="295"/>
                  <a:pt x="3647" y="304"/>
                  <a:pt x="3645" y="313"/>
                </a:cubicBezTo>
                <a:cubicBezTo>
                  <a:pt x="3646" y="262"/>
                  <a:pt x="3647" y="210"/>
                  <a:pt x="3650" y="159"/>
                </a:cubicBezTo>
                <a:cubicBezTo>
                  <a:pt x="3659" y="175"/>
                  <a:pt x="3662" y="206"/>
                  <a:pt x="3664" y="233"/>
                </a:cubicBezTo>
                <a:cubicBezTo>
                  <a:pt x="3660" y="248"/>
                  <a:pt x="3656" y="263"/>
                  <a:pt x="3653" y="277"/>
                </a:cubicBezTo>
                <a:close/>
                <a:moveTo>
                  <a:pt x="3664" y="311"/>
                </a:moveTo>
                <a:cubicBezTo>
                  <a:pt x="3664" y="295"/>
                  <a:pt x="3665" y="279"/>
                  <a:pt x="3666" y="263"/>
                </a:cubicBezTo>
                <a:cubicBezTo>
                  <a:pt x="3666" y="265"/>
                  <a:pt x="3666" y="268"/>
                  <a:pt x="3666" y="270"/>
                </a:cubicBezTo>
                <a:cubicBezTo>
                  <a:pt x="3668" y="291"/>
                  <a:pt x="3670" y="313"/>
                  <a:pt x="3671" y="335"/>
                </a:cubicBezTo>
                <a:cubicBezTo>
                  <a:pt x="3669" y="327"/>
                  <a:pt x="3666" y="319"/>
                  <a:pt x="3664" y="311"/>
                </a:cubicBezTo>
                <a:close/>
                <a:moveTo>
                  <a:pt x="3817" y="263"/>
                </a:moveTo>
                <a:cubicBezTo>
                  <a:pt x="3817" y="308"/>
                  <a:pt x="3815" y="353"/>
                  <a:pt x="3814" y="398"/>
                </a:cubicBezTo>
                <a:cubicBezTo>
                  <a:pt x="3811" y="365"/>
                  <a:pt x="3808" y="332"/>
                  <a:pt x="3803" y="300"/>
                </a:cubicBezTo>
                <a:cubicBezTo>
                  <a:pt x="3808" y="279"/>
                  <a:pt x="3813" y="260"/>
                  <a:pt x="3818" y="241"/>
                </a:cubicBezTo>
                <a:cubicBezTo>
                  <a:pt x="3818" y="248"/>
                  <a:pt x="3817" y="255"/>
                  <a:pt x="3817" y="263"/>
                </a:cubicBezTo>
                <a:close/>
                <a:moveTo>
                  <a:pt x="4008" y="387"/>
                </a:moveTo>
                <a:cubicBezTo>
                  <a:pt x="4007" y="383"/>
                  <a:pt x="4005" y="378"/>
                  <a:pt x="4003" y="374"/>
                </a:cubicBezTo>
                <a:cubicBezTo>
                  <a:pt x="4004" y="352"/>
                  <a:pt x="4005" y="330"/>
                  <a:pt x="4006" y="307"/>
                </a:cubicBezTo>
                <a:cubicBezTo>
                  <a:pt x="4008" y="330"/>
                  <a:pt x="4010" y="352"/>
                  <a:pt x="4011" y="375"/>
                </a:cubicBezTo>
                <a:cubicBezTo>
                  <a:pt x="4010" y="379"/>
                  <a:pt x="4009" y="383"/>
                  <a:pt x="4008" y="387"/>
                </a:cubicBezTo>
                <a:close/>
                <a:moveTo>
                  <a:pt x="4102" y="310"/>
                </a:moveTo>
                <a:cubicBezTo>
                  <a:pt x="4101" y="302"/>
                  <a:pt x="4101" y="294"/>
                  <a:pt x="4101" y="286"/>
                </a:cubicBezTo>
                <a:cubicBezTo>
                  <a:pt x="4102" y="290"/>
                  <a:pt x="4103" y="295"/>
                  <a:pt x="4104" y="300"/>
                </a:cubicBezTo>
                <a:cubicBezTo>
                  <a:pt x="4103" y="303"/>
                  <a:pt x="4102" y="307"/>
                  <a:pt x="4102" y="310"/>
                </a:cubicBezTo>
                <a:close/>
                <a:moveTo>
                  <a:pt x="4129" y="279"/>
                </a:moveTo>
                <a:cubicBezTo>
                  <a:pt x="4127" y="275"/>
                  <a:pt x="4125" y="269"/>
                  <a:pt x="4122" y="264"/>
                </a:cubicBezTo>
                <a:cubicBezTo>
                  <a:pt x="4123" y="242"/>
                  <a:pt x="4124" y="221"/>
                  <a:pt x="4125" y="200"/>
                </a:cubicBezTo>
                <a:cubicBezTo>
                  <a:pt x="4128" y="230"/>
                  <a:pt x="4131" y="260"/>
                  <a:pt x="4133" y="290"/>
                </a:cubicBezTo>
                <a:cubicBezTo>
                  <a:pt x="4131" y="286"/>
                  <a:pt x="4130" y="283"/>
                  <a:pt x="4129" y="279"/>
                </a:cubicBezTo>
                <a:close/>
                <a:moveTo>
                  <a:pt x="4155" y="351"/>
                </a:moveTo>
                <a:cubicBezTo>
                  <a:pt x="4154" y="340"/>
                  <a:pt x="4153" y="329"/>
                  <a:pt x="4152" y="319"/>
                </a:cubicBezTo>
                <a:cubicBezTo>
                  <a:pt x="4153" y="311"/>
                  <a:pt x="4155" y="303"/>
                  <a:pt x="4156" y="296"/>
                </a:cubicBezTo>
                <a:cubicBezTo>
                  <a:pt x="4156" y="314"/>
                  <a:pt x="4155" y="333"/>
                  <a:pt x="4155" y="351"/>
                </a:cubicBezTo>
                <a:close/>
                <a:moveTo>
                  <a:pt x="4352" y="328"/>
                </a:moveTo>
                <a:cubicBezTo>
                  <a:pt x="4350" y="323"/>
                  <a:pt x="4349" y="318"/>
                  <a:pt x="4347" y="313"/>
                </a:cubicBezTo>
                <a:cubicBezTo>
                  <a:pt x="4347" y="312"/>
                  <a:pt x="4346" y="314"/>
                  <a:pt x="4346" y="315"/>
                </a:cubicBezTo>
                <a:cubicBezTo>
                  <a:pt x="4347" y="322"/>
                  <a:pt x="4348" y="330"/>
                  <a:pt x="4349" y="338"/>
                </a:cubicBezTo>
                <a:cubicBezTo>
                  <a:pt x="4347" y="346"/>
                  <a:pt x="4345" y="355"/>
                  <a:pt x="4343" y="364"/>
                </a:cubicBezTo>
                <a:cubicBezTo>
                  <a:pt x="4345" y="313"/>
                  <a:pt x="4346" y="261"/>
                  <a:pt x="4349" y="210"/>
                </a:cubicBezTo>
                <a:cubicBezTo>
                  <a:pt x="4357" y="226"/>
                  <a:pt x="4360" y="257"/>
                  <a:pt x="4362" y="284"/>
                </a:cubicBezTo>
                <a:cubicBezTo>
                  <a:pt x="4359" y="299"/>
                  <a:pt x="4355" y="314"/>
                  <a:pt x="4352" y="328"/>
                </a:cubicBezTo>
                <a:close/>
                <a:moveTo>
                  <a:pt x="4362" y="362"/>
                </a:moveTo>
                <a:cubicBezTo>
                  <a:pt x="4363" y="346"/>
                  <a:pt x="4363" y="330"/>
                  <a:pt x="4364" y="314"/>
                </a:cubicBezTo>
                <a:cubicBezTo>
                  <a:pt x="4364" y="316"/>
                  <a:pt x="4364" y="319"/>
                  <a:pt x="4365" y="321"/>
                </a:cubicBezTo>
                <a:cubicBezTo>
                  <a:pt x="4367" y="342"/>
                  <a:pt x="4368" y="364"/>
                  <a:pt x="4370" y="386"/>
                </a:cubicBezTo>
                <a:cubicBezTo>
                  <a:pt x="4367" y="378"/>
                  <a:pt x="4365" y="370"/>
                  <a:pt x="4362" y="362"/>
                </a:cubicBezTo>
                <a:close/>
                <a:moveTo>
                  <a:pt x="4516" y="314"/>
                </a:moveTo>
                <a:cubicBezTo>
                  <a:pt x="4515" y="359"/>
                  <a:pt x="4514" y="404"/>
                  <a:pt x="4512" y="449"/>
                </a:cubicBezTo>
                <a:cubicBezTo>
                  <a:pt x="4510" y="416"/>
                  <a:pt x="4506" y="383"/>
                  <a:pt x="4502" y="351"/>
                </a:cubicBezTo>
                <a:cubicBezTo>
                  <a:pt x="4506" y="330"/>
                  <a:pt x="4511" y="311"/>
                  <a:pt x="4517" y="292"/>
                </a:cubicBezTo>
                <a:cubicBezTo>
                  <a:pt x="4516" y="299"/>
                  <a:pt x="4516" y="306"/>
                  <a:pt x="4516" y="314"/>
                </a:cubicBezTo>
                <a:close/>
                <a:moveTo>
                  <a:pt x="4707" y="438"/>
                </a:moveTo>
                <a:cubicBezTo>
                  <a:pt x="4705" y="434"/>
                  <a:pt x="4704" y="429"/>
                  <a:pt x="4702" y="425"/>
                </a:cubicBezTo>
                <a:cubicBezTo>
                  <a:pt x="4703" y="403"/>
                  <a:pt x="4703" y="381"/>
                  <a:pt x="4704" y="358"/>
                </a:cubicBezTo>
                <a:cubicBezTo>
                  <a:pt x="4707" y="381"/>
                  <a:pt x="4708" y="403"/>
                  <a:pt x="4709" y="426"/>
                </a:cubicBezTo>
                <a:cubicBezTo>
                  <a:pt x="4708" y="430"/>
                  <a:pt x="4708" y="434"/>
                  <a:pt x="4707" y="438"/>
                </a:cubicBezTo>
                <a:close/>
                <a:moveTo>
                  <a:pt x="5033" y="274"/>
                </a:moveTo>
                <a:cubicBezTo>
                  <a:pt x="5031" y="269"/>
                  <a:pt x="5030" y="264"/>
                  <a:pt x="5028" y="259"/>
                </a:cubicBezTo>
                <a:cubicBezTo>
                  <a:pt x="5028" y="258"/>
                  <a:pt x="5027" y="260"/>
                  <a:pt x="5027" y="261"/>
                </a:cubicBezTo>
                <a:cubicBezTo>
                  <a:pt x="5028" y="269"/>
                  <a:pt x="5030" y="276"/>
                  <a:pt x="5031" y="284"/>
                </a:cubicBezTo>
                <a:cubicBezTo>
                  <a:pt x="5029" y="293"/>
                  <a:pt x="5027" y="301"/>
                  <a:pt x="5025" y="310"/>
                </a:cubicBezTo>
                <a:cubicBezTo>
                  <a:pt x="5026" y="259"/>
                  <a:pt x="5027" y="207"/>
                  <a:pt x="5030" y="156"/>
                </a:cubicBezTo>
                <a:cubicBezTo>
                  <a:pt x="5039" y="172"/>
                  <a:pt x="5042" y="203"/>
                  <a:pt x="5044" y="230"/>
                </a:cubicBezTo>
                <a:cubicBezTo>
                  <a:pt x="5040" y="245"/>
                  <a:pt x="5036" y="260"/>
                  <a:pt x="5033" y="274"/>
                </a:cubicBezTo>
                <a:close/>
                <a:moveTo>
                  <a:pt x="5044" y="308"/>
                </a:moveTo>
                <a:cubicBezTo>
                  <a:pt x="5044" y="292"/>
                  <a:pt x="5045" y="276"/>
                  <a:pt x="5045" y="260"/>
                </a:cubicBezTo>
                <a:cubicBezTo>
                  <a:pt x="5046" y="263"/>
                  <a:pt x="5046" y="265"/>
                  <a:pt x="5046" y="267"/>
                </a:cubicBezTo>
                <a:cubicBezTo>
                  <a:pt x="5048" y="289"/>
                  <a:pt x="5049" y="310"/>
                  <a:pt x="5051" y="332"/>
                </a:cubicBezTo>
                <a:cubicBezTo>
                  <a:pt x="5049" y="324"/>
                  <a:pt x="5046" y="316"/>
                  <a:pt x="5044" y="308"/>
                </a:cubicBezTo>
                <a:close/>
              </a:path>
            </a:pathLst>
          </a:custGeom>
          <a:solidFill>
            <a:schemeClr val="accent6">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17" name="Rectangle 18">
            <a:extLst>
              <a:ext uri="{FF2B5EF4-FFF2-40B4-BE49-F238E27FC236}">
                <a16:creationId xmlns:a16="http://schemas.microsoft.com/office/drawing/2014/main" id="{4860AAE3-5890-4BF0-A8D3-310F0EBCAB5F}"/>
              </a:ext>
            </a:extLst>
          </p:cNvPr>
          <p:cNvSpPr>
            <a:spLocks noChangeArrowheads="1"/>
          </p:cNvSpPr>
          <p:nvPr/>
        </p:nvSpPr>
        <p:spPr bwMode="auto">
          <a:xfrm>
            <a:off x="3252790" y="6853239"/>
            <a:ext cx="1588" cy="1588"/>
          </a:xfrm>
          <a:prstGeom prst="rect">
            <a:avLst/>
          </a:prstGeom>
          <a:solidFill>
            <a:srgbClr val="72B64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18" name="Freeform 19">
            <a:extLst>
              <a:ext uri="{FF2B5EF4-FFF2-40B4-BE49-F238E27FC236}">
                <a16:creationId xmlns:a16="http://schemas.microsoft.com/office/drawing/2014/main" id="{39B56828-E726-4AA3-B853-9009325DB088}"/>
              </a:ext>
            </a:extLst>
          </p:cNvPr>
          <p:cNvSpPr>
            <a:spLocks/>
          </p:cNvSpPr>
          <p:nvPr/>
        </p:nvSpPr>
        <p:spPr bwMode="auto">
          <a:xfrm>
            <a:off x="2470152" y="6194425"/>
            <a:ext cx="33339" cy="142875"/>
          </a:xfrm>
          <a:custGeom>
            <a:avLst/>
            <a:gdLst>
              <a:gd name="T0" fmla="*/ 2 w 14"/>
              <a:gd name="T1" fmla="*/ 60 h 60"/>
              <a:gd name="T2" fmla="*/ 13 w 14"/>
              <a:gd name="T3" fmla="*/ 15 h 60"/>
              <a:gd name="T4" fmla="*/ 14 w 14"/>
              <a:gd name="T5" fmla="*/ 3 h 60"/>
              <a:gd name="T6" fmla="*/ 14 w 14"/>
              <a:gd name="T7" fmla="*/ 0 h 60"/>
              <a:gd name="T8" fmla="*/ 5 w 14"/>
              <a:gd name="T9" fmla="*/ 17 h 60"/>
              <a:gd name="T10" fmla="*/ 0 w 14"/>
              <a:gd name="T11" fmla="*/ 40 h 60"/>
              <a:gd name="T12" fmla="*/ 2 w 1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4" h="60">
                <a:moveTo>
                  <a:pt x="2" y="60"/>
                </a:moveTo>
                <a:cubicBezTo>
                  <a:pt x="6" y="45"/>
                  <a:pt x="9" y="30"/>
                  <a:pt x="13" y="15"/>
                </a:cubicBezTo>
                <a:cubicBezTo>
                  <a:pt x="13" y="11"/>
                  <a:pt x="13" y="7"/>
                  <a:pt x="14" y="3"/>
                </a:cubicBezTo>
                <a:cubicBezTo>
                  <a:pt x="14" y="2"/>
                  <a:pt x="14" y="1"/>
                  <a:pt x="14" y="0"/>
                </a:cubicBezTo>
                <a:cubicBezTo>
                  <a:pt x="11" y="6"/>
                  <a:pt x="8" y="11"/>
                  <a:pt x="5" y="17"/>
                </a:cubicBezTo>
                <a:cubicBezTo>
                  <a:pt x="3" y="24"/>
                  <a:pt x="1" y="32"/>
                  <a:pt x="0" y="40"/>
                </a:cubicBezTo>
                <a:cubicBezTo>
                  <a:pt x="0" y="47"/>
                  <a:pt x="1" y="54"/>
                  <a:pt x="2" y="60"/>
                </a:cubicBezTo>
                <a:close/>
              </a:path>
            </a:pathLst>
          </a:custGeom>
          <a:solidFill>
            <a:srgbClr val="72B6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19" name="Freeform 21">
            <a:extLst>
              <a:ext uri="{FF2B5EF4-FFF2-40B4-BE49-F238E27FC236}">
                <a16:creationId xmlns:a16="http://schemas.microsoft.com/office/drawing/2014/main" id="{F41FA730-DF26-4596-A15D-268D8CFECF81}"/>
              </a:ext>
            </a:extLst>
          </p:cNvPr>
          <p:cNvSpPr>
            <a:spLocks/>
          </p:cNvSpPr>
          <p:nvPr/>
        </p:nvSpPr>
        <p:spPr bwMode="auto">
          <a:xfrm>
            <a:off x="3816352" y="6346825"/>
            <a:ext cx="19051" cy="171451"/>
          </a:xfrm>
          <a:custGeom>
            <a:avLst/>
            <a:gdLst>
              <a:gd name="T0" fmla="*/ 3 w 8"/>
              <a:gd name="T1" fmla="*/ 7 h 72"/>
              <a:gd name="T2" fmla="*/ 2 w 8"/>
              <a:gd name="T3" fmla="*/ 0 h 72"/>
              <a:gd name="T4" fmla="*/ 0 w 8"/>
              <a:gd name="T5" fmla="*/ 48 h 72"/>
              <a:gd name="T6" fmla="*/ 1 w 8"/>
              <a:gd name="T7" fmla="*/ 51 h 72"/>
              <a:gd name="T8" fmla="*/ 2 w 8"/>
              <a:gd name="T9" fmla="*/ 32 h 72"/>
              <a:gd name="T10" fmla="*/ 3 w 8"/>
              <a:gd name="T11" fmla="*/ 38 h 72"/>
              <a:gd name="T12" fmla="*/ 5 w 8"/>
              <a:gd name="T13" fmla="*/ 62 h 72"/>
              <a:gd name="T14" fmla="*/ 8 w 8"/>
              <a:gd name="T15" fmla="*/ 72 h 72"/>
              <a:gd name="T16" fmla="*/ 3 w 8"/>
              <a:gd name="T17" fmla="*/ 7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72">
                <a:moveTo>
                  <a:pt x="3" y="7"/>
                </a:moveTo>
                <a:cubicBezTo>
                  <a:pt x="3" y="5"/>
                  <a:pt x="2" y="2"/>
                  <a:pt x="2" y="0"/>
                </a:cubicBezTo>
                <a:cubicBezTo>
                  <a:pt x="1" y="16"/>
                  <a:pt x="1" y="32"/>
                  <a:pt x="0" y="48"/>
                </a:cubicBezTo>
                <a:cubicBezTo>
                  <a:pt x="1" y="49"/>
                  <a:pt x="1" y="50"/>
                  <a:pt x="1" y="51"/>
                </a:cubicBezTo>
                <a:cubicBezTo>
                  <a:pt x="2" y="44"/>
                  <a:pt x="2" y="38"/>
                  <a:pt x="2" y="32"/>
                </a:cubicBezTo>
                <a:cubicBezTo>
                  <a:pt x="2" y="34"/>
                  <a:pt x="3" y="36"/>
                  <a:pt x="3" y="38"/>
                </a:cubicBezTo>
                <a:cubicBezTo>
                  <a:pt x="4" y="46"/>
                  <a:pt x="4" y="54"/>
                  <a:pt x="5" y="62"/>
                </a:cubicBezTo>
                <a:cubicBezTo>
                  <a:pt x="6" y="65"/>
                  <a:pt x="7" y="69"/>
                  <a:pt x="8" y="72"/>
                </a:cubicBezTo>
                <a:cubicBezTo>
                  <a:pt x="6" y="50"/>
                  <a:pt x="5" y="29"/>
                  <a:pt x="3" y="7"/>
                </a:cubicBezTo>
                <a:close/>
              </a:path>
            </a:pathLst>
          </a:custGeom>
          <a:solidFill>
            <a:srgbClr val="72B6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20" name="Freeform 22">
            <a:extLst>
              <a:ext uri="{FF2B5EF4-FFF2-40B4-BE49-F238E27FC236}">
                <a16:creationId xmlns:a16="http://schemas.microsoft.com/office/drawing/2014/main" id="{65EA1BB9-2CA2-41B7-9A26-EB53A9699872}"/>
              </a:ext>
            </a:extLst>
          </p:cNvPr>
          <p:cNvSpPr>
            <a:spLocks/>
          </p:cNvSpPr>
          <p:nvPr/>
        </p:nvSpPr>
        <p:spPr bwMode="auto">
          <a:xfrm>
            <a:off x="4149725" y="6340477"/>
            <a:ext cx="33339" cy="142875"/>
          </a:xfrm>
          <a:custGeom>
            <a:avLst/>
            <a:gdLst>
              <a:gd name="T0" fmla="*/ 3 w 14"/>
              <a:gd name="T1" fmla="*/ 60 h 60"/>
              <a:gd name="T2" fmla="*/ 14 w 14"/>
              <a:gd name="T3" fmla="*/ 15 h 60"/>
              <a:gd name="T4" fmla="*/ 14 w 14"/>
              <a:gd name="T5" fmla="*/ 3 h 60"/>
              <a:gd name="T6" fmla="*/ 14 w 14"/>
              <a:gd name="T7" fmla="*/ 0 h 60"/>
              <a:gd name="T8" fmla="*/ 5 w 14"/>
              <a:gd name="T9" fmla="*/ 17 h 60"/>
              <a:gd name="T10" fmla="*/ 0 w 14"/>
              <a:gd name="T11" fmla="*/ 40 h 60"/>
              <a:gd name="T12" fmla="*/ 3 w 1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4" h="60">
                <a:moveTo>
                  <a:pt x="3" y="60"/>
                </a:moveTo>
                <a:cubicBezTo>
                  <a:pt x="6" y="45"/>
                  <a:pt x="10" y="30"/>
                  <a:pt x="14" y="15"/>
                </a:cubicBezTo>
                <a:cubicBezTo>
                  <a:pt x="14" y="11"/>
                  <a:pt x="14" y="7"/>
                  <a:pt x="14" y="3"/>
                </a:cubicBezTo>
                <a:cubicBezTo>
                  <a:pt x="14" y="2"/>
                  <a:pt x="14" y="1"/>
                  <a:pt x="14" y="0"/>
                </a:cubicBezTo>
                <a:cubicBezTo>
                  <a:pt x="11" y="5"/>
                  <a:pt x="8" y="11"/>
                  <a:pt x="5" y="17"/>
                </a:cubicBezTo>
                <a:cubicBezTo>
                  <a:pt x="4" y="24"/>
                  <a:pt x="2" y="32"/>
                  <a:pt x="0" y="40"/>
                </a:cubicBezTo>
                <a:cubicBezTo>
                  <a:pt x="1" y="47"/>
                  <a:pt x="2" y="53"/>
                  <a:pt x="3" y="60"/>
                </a:cubicBezTo>
                <a:close/>
              </a:path>
            </a:pathLst>
          </a:custGeom>
          <a:solidFill>
            <a:srgbClr val="72B6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21" name="TextBox 22">
            <a:extLst>
              <a:ext uri="{FF2B5EF4-FFF2-40B4-BE49-F238E27FC236}">
                <a16:creationId xmlns:a16="http://schemas.microsoft.com/office/drawing/2014/main" id="{539633E9-8152-4497-AA36-2BF2D47AF856}"/>
              </a:ext>
            </a:extLst>
          </p:cNvPr>
          <p:cNvSpPr txBox="1"/>
          <p:nvPr/>
        </p:nvSpPr>
        <p:spPr>
          <a:xfrm>
            <a:off x="1433474" y="1180500"/>
            <a:ext cx="5126985"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000000">
                    <a:lumMod val="85000"/>
                    <a:lumOff val="15000"/>
                  </a:srgbClr>
                </a:solidFill>
                <a:effectLst/>
                <a:uLnTx/>
                <a:uFillTx/>
                <a:latin typeface="等线 Light" panose="020F0302020204030204"/>
                <a:ea typeface="+mn-ea"/>
                <a:cs typeface="+mn-cs"/>
              </a:rPr>
              <a:t>INFOGRAPHIC</a:t>
            </a:r>
            <a:r>
              <a:rPr kumimoji="0" lang="en-US" sz="3200" b="1" i="0" u="none" strike="noStrike" kern="1200" cap="none" spc="0" normalizeH="0" baseline="0" noProof="0" dirty="0">
                <a:ln>
                  <a:noFill/>
                </a:ln>
                <a:solidFill>
                  <a:srgbClr val="000000">
                    <a:lumMod val="85000"/>
                    <a:lumOff val="15000"/>
                  </a:srgbClr>
                </a:solidFill>
                <a:effectLst/>
                <a:uLnTx/>
                <a:uFillTx/>
                <a:latin typeface="等线" panose="020F0502020204030204"/>
                <a:ea typeface="+mn-ea"/>
                <a:cs typeface="+mn-cs"/>
              </a:rPr>
              <a:t> </a:t>
            </a:r>
            <a:r>
              <a:rPr kumimoji="0" lang="en-US" sz="3200" b="1" i="0" u="none" strike="noStrike" kern="1200" cap="none" spc="0" normalizeH="0" baseline="0" noProof="0" dirty="0">
                <a:ln>
                  <a:noFill/>
                </a:ln>
                <a:solidFill>
                  <a:srgbClr val="000000">
                    <a:lumMod val="85000"/>
                    <a:lumOff val="15000"/>
                  </a:srgbClr>
                </a:solidFill>
                <a:effectLst/>
                <a:uLnTx/>
                <a:uFillTx/>
                <a:latin typeface="等线 Light" panose="020F0302020204030204"/>
                <a:ea typeface="+mn-ea"/>
                <a:cs typeface="+mn-cs"/>
              </a:rPr>
              <a:t>THREE</a:t>
            </a:r>
          </a:p>
        </p:txBody>
      </p:sp>
      <p:sp>
        <p:nvSpPr>
          <p:cNvPr id="22" name="Rectangle 23">
            <a:extLst>
              <a:ext uri="{FF2B5EF4-FFF2-40B4-BE49-F238E27FC236}">
                <a16:creationId xmlns:a16="http://schemas.microsoft.com/office/drawing/2014/main" id="{40C9CBA9-8C37-4EA0-BC88-7A8AE1B126E4}"/>
              </a:ext>
            </a:extLst>
          </p:cNvPr>
          <p:cNvSpPr/>
          <p:nvPr/>
        </p:nvSpPr>
        <p:spPr>
          <a:xfrm>
            <a:off x="1428450" y="3045166"/>
            <a:ext cx="4229964" cy="485646"/>
          </a:xfrm>
          <a:prstGeom prst="rect">
            <a:avLst/>
          </a:prstGeom>
        </p:spPr>
        <p:txBody>
          <a:bodyPr wrap="square">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F0F0F0">
                    <a:lumMod val="25000"/>
                  </a:srgbClr>
                </a:solidFill>
                <a:effectLst/>
                <a:uLnTx/>
                <a:uFillTx/>
                <a:latin typeface="等线" panose="020F0502020204030204"/>
                <a:ea typeface="+mn-ea"/>
                <a:cs typeface="+mn-cs"/>
              </a:rPr>
              <a:t>Lorem Ipsum is simply dummy text of the printing and typesetting industry. Lorem Ipsum has been the industry's standard dummy text ever since </a:t>
            </a:r>
            <a:r>
              <a:rPr kumimoji="0" lang="en-US" sz="900" b="0" i="0" u="none" strike="noStrike" kern="1200" cap="none" spc="0" normalizeH="0" baseline="0" noProof="0" dirty="0" err="1">
                <a:ln>
                  <a:noFill/>
                </a:ln>
                <a:solidFill>
                  <a:srgbClr val="F0F0F0">
                    <a:lumMod val="25000"/>
                  </a:srgbClr>
                </a:solidFill>
                <a:effectLst/>
                <a:uLnTx/>
                <a:uFillTx/>
                <a:latin typeface="等线" panose="020F0502020204030204"/>
                <a:ea typeface="+mn-ea"/>
                <a:cs typeface="+mn-cs"/>
              </a:rPr>
              <a:t>the.z</a:t>
            </a:r>
            <a:endParaRPr kumimoji="0" lang="en-US" sz="900" b="0" i="0" u="none" strike="noStrike" kern="1200" cap="none" spc="0" normalizeH="0" baseline="0" noProof="0" dirty="0">
              <a:ln>
                <a:noFill/>
              </a:ln>
              <a:solidFill>
                <a:srgbClr val="F0F0F0">
                  <a:lumMod val="25000"/>
                </a:srgbClr>
              </a:solidFill>
              <a:effectLst/>
              <a:uLnTx/>
              <a:uFillTx/>
              <a:latin typeface="等线" panose="020F0502020204030204"/>
              <a:ea typeface="+mn-ea"/>
              <a:cs typeface="+mn-cs"/>
            </a:endParaRPr>
          </a:p>
        </p:txBody>
      </p:sp>
      <p:sp>
        <p:nvSpPr>
          <p:cNvPr id="23" name="TextBox 25">
            <a:extLst>
              <a:ext uri="{FF2B5EF4-FFF2-40B4-BE49-F238E27FC236}">
                <a16:creationId xmlns:a16="http://schemas.microsoft.com/office/drawing/2014/main" id="{7AD86A65-1526-4969-A7DC-81FB6E7AAE46}"/>
              </a:ext>
            </a:extLst>
          </p:cNvPr>
          <p:cNvSpPr txBox="1"/>
          <p:nvPr/>
        </p:nvSpPr>
        <p:spPr>
          <a:xfrm>
            <a:off x="1433473" y="2319607"/>
            <a:ext cx="1857275" cy="76944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400" b="1" i="0" u="none" strike="noStrike" kern="1200" cap="none" spc="0" normalizeH="0" baseline="0" noProof="0" dirty="0">
                <a:ln>
                  <a:noFill/>
                </a:ln>
                <a:solidFill>
                  <a:srgbClr val="FF4C38"/>
                </a:solidFill>
                <a:effectLst/>
                <a:uLnTx/>
                <a:uFillTx/>
                <a:latin typeface="等线 Light" panose="020F0302020204030204"/>
                <a:ea typeface="+mn-ea"/>
                <a:cs typeface="+mn-cs"/>
              </a:rPr>
              <a:t>80%</a:t>
            </a:r>
          </a:p>
        </p:txBody>
      </p:sp>
      <p:grpSp>
        <p:nvGrpSpPr>
          <p:cNvPr id="24" name="Group 3">
            <a:extLst>
              <a:ext uri="{FF2B5EF4-FFF2-40B4-BE49-F238E27FC236}">
                <a16:creationId xmlns:a16="http://schemas.microsoft.com/office/drawing/2014/main" id="{6D4B7351-48AE-4745-A960-A28F52690D28}"/>
              </a:ext>
            </a:extLst>
          </p:cNvPr>
          <p:cNvGrpSpPr/>
          <p:nvPr/>
        </p:nvGrpSpPr>
        <p:grpSpPr>
          <a:xfrm>
            <a:off x="1428449" y="3890518"/>
            <a:ext cx="4849211" cy="318639"/>
            <a:chOff x="1428448" y="3890529"/>
            <a:chExt cx="4849211" cy="318641"/>
          </a:xfrm>
        </p:grpSpPr>
        <p:sp>
          <p:nvSpPr>
            <p:cNvPr id="25" name="Rectangle: Rounded Corners 2">
              <a:extLst>
                <a:ext uri="{FF2B5EF4-FFF2-40B4-BE49-F238E27FC236}">
                  <a16:creationId xmlns:a16="http://schemas.microsoft.com/office/drawing/2014/main" id="{075B27D2-8DE6-4BCF-82EC-00DC35E38929}"/>
                </a:ext>
              </a:extLst>
            </p:cNvPr>
            <p:cNvSpPr/>
            <p:nvPr/>
          </p:nvSpPr>
          <p:spPr>
            <a:xfrm>
              <a:off x="2846171" y="4020556"/>
              <a:ext cx="2392048" cy="70910"/>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FFFFFF"/>
                </a:solidFill>
                <a:effectLst/>
                <a:uLnTx/>
                <a:uFillTx/>
                <a:latin typeface="等线" panose="020F0502020204030204"/>
                <a:ea typeface="+mn-ea"/>
                <a:cs typeface="+mn-cs"/>
              </a:endParaRPr>
            </a:p>
          </p:txBody>
        </p:sp>
        <p:sp>
          <p:nvSpPr>
            <p:cNvPr id="26" name="TextBox 34">
              <a:extLst>
                <a:ext uri="{FF2B5EF4-FFF2-40B4-BE49-F238E27FC236}">
                  <a16:creationId xmlns:a16="http://schemas.microsoft.com/office/drawing/2014/main" id="{27362D97-418A-4456-99DD-1201236201EB}"/>
                </a:ext>
              </a:extLst>
            </p:cNvPr>
            <p:cNvSpPr txBox="1"/>
            <p:nvPr/>
          </p:nvSpPr>
          <p:spPr>
            <a:xfrm>
              <a:off x="5355779" y="3901392"/>
              <a:ext cx="921880" cy="30777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lumMod val="85000"/>
                      <a:lumOff val="15000"/>
                    </a:srgbClr>
                  </a:solidFill>
                  <a:effectLst/>
                  <a:uLnTx/>
                  <a:uFillTx/>
                  <a:latin typeface="等线 Light" panose="020F0302020204030204"/>
                  <a:ea typeface="+mn-ea"/>
                  <a:cs typeface="+mn-cs"/>
                </a:rPr>
                <a:t>50%</a:t>
              </a:r>
            </a:p>
          </p:txBody>
        </p:sp>
        <p:sp>
          <p:nvSpPr>
            <p:cNvPr id="27" name="TextBox 38">
              <a:extLst>
                <a:ext uri="{FF2B5EF4-FFF2-40B4-BE49-F238E27FC236}">
                  <a16:creationId xmlns:a16="http://schemas.microsoft.com/office/drawing/2014/main" id="{7EF1C2D7-F1CD-4EB7-8054-0EB0A83772EC}"/>
                </a:ext>
              </a:extLst>
            </p:cNvPr>
            <p:cNvSpPr txBox="1"/>
            <p:nvPr/>
          </p:nvSpPr>
          <p:spPr>
            <a:xfrm>
              <a:off x="1428448" y="3890529"/>
              <a:ext cx="1159477" cy="30777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lumMod val="85000"/>
                      <a:lumOff val="15000"/>
                    </a:srgbClr>
                  </a:solidFill>
                  <a:effectLst/>
                  <a:uLnTx/>
                  <a:uFillTx/>
                  <a:latin typeface="等线 Light" panose="020F0302020204030204"/>
                  <a:ea typeface="+mn-ea"/>
                  <a:cs typeface="+mn-cs"/>
                </a:rPr>
                <a:t>Email</a:t>
              </a:r>
            </a:p>
          </p:txBody>
        </p:sp>
      </p:grpSp>
      <p:grpSp>
        <p:nvGrpSpPr>
          <p:cNvPr id="28" name="Group 24">
            <a:extLst>
              <a:ext uri="{FF2B5EF4-FFF2-40B4-BE49-F238E27FC236}">
                <a16:creationId xmlns:a16="http://schemas.microsoft.com/office/drawing/2014/main" id="{446D9102-F380-440E-8267-BF3A6C04C0B4}"/>
              </a:ext>
            </a:extLst>
          </p:cNvPr>
          <p:cNvGrpSpPr/>
          <p:nvPr/>
        </p:nvGrpSpPr>
        <p:grpSpPr>
          <a:xfrm>
            <a:off x="1428450" y="4239114"/>
            <a:ext cx="5972833" cy="381421"/>
            <a:chOff x="1428448" y="4239116"/>
            <a:chExt cx="5972833" cy="381421"/>
          </a:xfrm>
        </p:grpSpPr>
        <p:sp>
          <p:nvSpPr>
            <p:cNvPr id="29" name="Rectangle: Rounded Corners 29">
              <a:extLst>
                <a:ext uri="{FF2B5EF4-FFF2-40B4-BE49-F238E27FC236}">
                  <a16:creationId xmlns:a16="http://schemas.microsoft.com/office/drawing/2014/main" id="{770D9F31-E19C-476D-8CB3-C53908FE38BD}"/>
                </a:ext>
              </a:extLst>
            </p:cNvPr>
            <p:cNvSpPr/>
            <p:nvPr/>
          </p:nvSpPr>
          <p:spPr>
            <a:xfrm>
              <a:off x="2846170" y="4412819"/>
              <a:ext cx="3474998" cy="66824"/>
            </a:xfrm>
            <a:prstGeom prst="roundRect">
              <a:avLst>
                <a:gd name="adj" fmla="val 5000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FFFFFF"/>
                </a:solidFill>
                <a:effectLst/>
                <a:uLnTx/>
                <a:uFillTx/>
                <a:latin typeface="等线" panose="020F0502020204030204"/>
                <a:ea typeface="+mn-ea"/>
                <a:cs typeface="+mn-cs"/>
              </a:endParaRPr>
            </a:p>
          </p:txBody>
        </p:sp>
        <p:sp>
          <p:nvSpPr>
            <p:cNvPr id="30" name="TextBox 35">
              <a:extLst>
                <a:ext uri="{FF2B5EF4-FFF2-40B4-BE49-F238E27FC236}">
                  <a16:creationId xmlns:a16="http://schemas.microsoft.com/office/drawing/2014/main" id="{A7CCFDC7-C428-41F7-B60D-DEF94134D348}"/>
                </a:ext>
              </a:extLst>
            </p:cNvPr>
            <p:cNvSpPr txBox="1"/>
            <p:nvPr/>
          </p:nvSpPr>
          <p:spPr>
            <a:xfrm>
              <a:off x="6479401" y="4239116"/>
              <a:ext cx="92188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lumMod val="85000"/>
                      <a:lumOff val="15000"/>
                    </a:srgbClr>
                  </a:solidFill>
                  <a:effectLst/>
                  <a:uLnTx/>
                  <a:uFillTx/>
                  <a:latin typeface="等线 Light" panose="020F0302020204030204"/>
                  <a:ea typeface="+mn-ea"/>
                  <a:cs typeface="+mn-cs"/>
                </a:rPr>
                <a:t>80%</a:t>
              </a:r>
            </a:p>
          </p:txBody>
        </p:sp>
        <p:sp>
          <p:nvSpPr>
            <p:cNvPr id="31" name="TextBox 39">
              <a:extLst>
                <a:ext uri="{FF2B5EF4-FFF2-40B4-BE49-F238E27FC236}">
                  <a16:creationId xmlns:a16="http://schemas.microsoft.com/office/drawing/2014/main" id="{CAD2F1D3-161D-4736-998F-7C1D51775126}"/>
                </a:ext>
              </a:extLst>
            </p:cNvPr>
            <p:cNvSpPr txBox="1"/>
            <p:nvPr/>
          </p:nvSpPr>
          <p:spPr>
            <a:xfrm>
              <a:off x="1428448" y="4312760"/>
              <a:ext cx="1159479"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lumMod val="85000"/>
                      <a:lumOff val="15000"/>
                    </a:srgbClr>
                  </a:solidFill>
                  <a:effectLst/>
                  <a:uLnTx/>
                  <a:uFillTx/>
                  <a:latin typeface="等线 Light" panose="020F0302020204030204"/>
                  <a:ea typeface="+mn-ea"/>
                  <a:cs typeface="+mn-cs"/>
                </a:rPr>
                <a:t>Text Here</a:t>
              </a:r>
            </a:p>
          </p:txBody>
        </p:sp>
      </p:grpSp>
      <p:grpSp>
        <p:nvGrpSpPr>
          <p:cNvPr id="32" name="Group 26">
            <a:extLst>
              <a:ext uri="{FF2B5EF4-FFF2-40B4-BE49-F238E27FC236}">
                <a16:creationId xmlns:a16="http://schemas.microsoft.com/office/drawing/2014/main" id="{79F32EE8-0E37-4B25-A21A-4E7AB6C554CC}"/>
              </a:ext>
            </a:extLst>
          </p:cNvPr>
          <p:cNvGrpSpPr/>
          <p:nvPr/>
        </p:nvGrpSpPr>
        <p:grpSpPr>
          <a:xfrm>
            <a:off x="1428450" y="4656255"/>
            <a:ext cx="5829159" cy="371378"/>
            <a:chOff x="1428448" y="4656238"/>
            <a:chExt cx="5829158" cy="371375"/>
          </a:xfrm>
        </p:grpSpPr>
        <p:sp>
          <p:nvSpPr>
            <p:cNvPr id="33" name="Rectangle: Rounded Corners 31">
              <a:extLst>
                <a:ext uri="{FF2B5EF4-FFF2-40B4-BE49-F238E27FC236}">
                  <a16:creationId xmlns:a16="http://schemas.microsoft.com/office/drawing/2014/main" id="{F9622B13-84B5-4951-B05B-442C13D8B0E3}"/>
                </a:ext>
              </a:extLst>
            </p:cNvPr>
            <p:cNvSpPr/>
            <p:nvPr/>
          </p:nvSpPr>
          <p:spPr>
            <a:xfrm>
              <a:off x="2846169" y="4806195"/>
              <a:ext cx="3312799" cy="66824"/>
            </a:xfrm>
            <a:prstGeom prst="roundRect">
              <a:avLst>
                <a:gd name="adj" fmla="val 50000"/>
              </a:avLst>
            </a:prstGeom>
            <a:solidFill>
              <a:schemeClr val="accent3">
                <a:lumMod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FFFFFF"/>
                </a:solidFill>
                <a:effectLst/>
                <a:uLnTx/>
                <a:uFillTx/>
                <a:latin typeface="等线" panose="020F0502020204030204"/>
                <a:ea typeface="+mn-ea"/>
                <a:cs typeface="+mn-cs"/>
              </a:endParaRPr>
            </a:p>
          </p:txBody>
        </p:sp>
        <p:sp>
          <p:nvSpPr>
            <p:cNvPr id="34" name="TextBox 36">
              <a:extLst>
                <a:ext uri="{FF2B5EF4-FFF2-40B4-BE49-F238E27FC236}">
                  <a16:creationId xmlns:a16="http://schemas.microsoft.com/office/drawing/2014/main" id="{56FECCC8-CEAA-4C24-9CF1-8EF72F4F3496}"/>
                </a:ext>
              </a:extLst>
            </p:cNvPr>
            <p:cNvSpPr txBox="1"/>
            <p:nvPr/>
          </p:nvSpPr>
          <p:spPr>
            <a:xfrm>
              <a:off x="6335726" y="4656238"/>
              <a:ext cx="921880" cy="30777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lumMod val="85000"/>
                      <a:lumOff val="15000"/>
                    </a:srgbClr>
                  </a:solidFill>
                  <a:effectLst/>
                  <a:uLnTx/>
                  <a:uFillTx/>
                  <a:latin typeface="等线 Light" panose="020F0302020204030204"/>
                  <a:ea typeface="+mn-ea"/>
                  <a:cs typeface="+mn-cs"/>
                </a:rPr>
                <a:t>77%</a:t>
              </a:r>
            </a:p>
          </p:txBody>
        </p:sp>
        <p:sp>
          <p:nvSpPr>
            <p:cNvPr id="35" name="TextBox 40">
              <a:extLst>
                <a:ext uri="{FF2B5EF4-FFF2-40B4-BE49-F238E27FC236}">
                  <a16:creationId xmlns:a16="http://schemas.microsoft.com/office/drawing/2014/main" id="{75C8EE3C-0248-460B-BF5F-5F2CA6592C1D}"/>
                </a:ext>
              </a:extLst>
            </p:cNvPr>
            <p:cNvSpPr txBox="1"/>
            <p:nvPr/>
          </p:nvSpPr>
          <p:spPr>
            <a:xfrm>
              <a:off x="1428448" y="4719839"/>
              <a:ext cx="1159479" cy="30777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lumMod val="85000"/>
                      <a:lumOff val="15000"/>
                    </a:srgbClr>
                  </a:solidFill>
                  <a:effectLst/>
                  <a:uLnTx/>
                  <a:uFillTx/>
                  <a:latin typeface="等线 Light" panose="020F0302020204030204"/>
                  <a:ea typeface="+mn-ea"/>
                  <a:cs typeface="+mn-cs"/>
                </a:rPr>
                <a:t>Email</a:t>
              </a:r>
            </a:p>
          </p:txBody>
        </p:sp>
      </p:grpSp>
      <p:grpSp>
        <p:nvGrpSpPr>
          <p:cNvPr id="36" name="Group 27">
            <a:extLst>
              <a:ext uri="{FF2B5EF4-FFF2-40B4-BE49-F238E27FC236}">
                <a16:creationId xmlns:a16="http://schemas.microsoft.com/office/drawing/2014/main" id="{34E4F377-A7DA-4C4E-80CF-E2FE00CC778B}"/>
              </a:ext>
            </a:extLst>
          </p:cNvPr>
          <p:cNvGrpSpPr/>
          <p:nvPr/>
        </p:nvGrpSpPr>
        <p:grpSpPr>
          <a:xfrm>
            <a:off x="1428450" y="5087992"/>
            <a:ext cx="5191460" cy="323994"/>
            <a:chOff x="1428448" y="5087964"/>
            <a:chExt cx="5191460" cy="323991"/>
          </a:xfrm>
        </p:grpSpPr>
        <p:sp>
          <p:nvSpPr>
            <p:cNvPr id="37" name="Rectangle: Rounded Corners 33">
              <a:extLst>
                <a:ext uri="{FF2B5EF4-FFF2-40B4-BE49-F238E27FC236}">
                  <a16:creationId xmlns:a16="http://schemas.microsoft.com/office/drawing/2014/main" id="{A6729E7A-A6ED-4F37-B4B3-E3D0A47CF9C4}"/>
                </a:ext>
              </a:extLst>
            </p:cNvPr>
            <p:cNvSpPr/>
            <p:nvPr/>
          </p:nvSpPr>
          <p:spPr>
            <a:xfrm>
              <a:off x="2846170" y="5210091"/>
              <a:ext cx="2823847" cy="66824"/>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FFFFFF"/>
                </a:solidFill>
                <a:effectLst/>
                <a:uLnTx/>
                <a:uFillTx/>
                <a:latin typeface="等线" panose="020F0502020204030204"/>
                <a:ea typeface="+mn-ea"/>
                <a:cs typeface="+mn-cs"/>
              </a:endParaRPr>
            </a:p>
          </p:txBody>
        </p:sp>
        <p:sp>
          <p:nvSpPr>
            <p:cNvPr id="38" name="TextBox 37">
              <a:extLst>
                <a:ext uri="{FF2B5EF4-FFF2-40B4-BE49-F238E27FC236}">
                  <a16:creationId xmlns:a16="http://schemas.microsoft.com/office/drawing/2014/main" id="{3A9FE1FE-3F9E-4A98-A1A5-E95F539CEE35}"/>
                </a:ext>
              </a:extLst>
            </p:cNvPr>
            <p:cNvSpPr txBox="1"/>
            <p:nvPr/>
          </p:nvSpPr>
          <p:spPr>
            <a:xfrm>
              <a:off x="5698028" y="5087964"/>
              <a:ext cx="921880" cy="30777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lumMod val="85000"/>
                      <a:lumOff val="15000"/>
                    </a:srgbClr>
                  </a:solidFill>
                  <a:effectLst/>
                  <a:uLnTx/>
                  <a:uFillTx/>
                  <a:latin typeface="等线 Light" panose="020F0302020204030204"/>
                  <a:ea typeface="+mn-ea"/>
                  <a:cs typeface="+mn-cs"/>
                </a:rPr>
                <a:t>65%</a:t>
              </a:r>
            </a:p>
          </p:txBody>
        </p:sp>
        <p:sp>
          <p:nvSpPr>
            <p:cNvPr id="39" name="TextBox 41">
              <a:extLst>
                <a:ext uri="{FF2B5EF4-FFF2-40B4-BE49-F238E27FC236}">
                  <a16:creationId xmlns:a16="http://schemas.microsoft.com/office/drawing/2014/main" id="{7A7424B0-53D8-4962-B632-799FF146D4F9}"/>
                </a:ext>
              </a:extLst>
            </p:cNvPr>
            <p:cNvSpPr txBox="1"/>
            <p:nvPr/>
          </p:nvSpPr>
          <p:spPr>
            <a:xfrm>
              <a:off x="1428448" y="5104181"/>
              <a:ext cx="1159479" cy="30777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lumMod val="85000"/>
                      <a:lumOff val="15000"/>
                    </a:srgbClr>
                  </a:solidFill>
                  <a:effectLst/>
                  <a:uLnTx/>
                  <a:uFillTx/>
                  <a:latin typeface="等线 Light" panose="020F0302020204030204"/>
                  <a:ea typeface="+mn-ea"/>
                  <a:cs typeface="+mn-cs"/>
                </a:rPr>
                <a:t>Email</a:t>
              </a:r>
            </a:p>
          </p:txBody>
        </p:sp>
      </p:grpSp>
    </p:spTree>
    <p:extLst>
      <p:ext uri="{BB962C8B-B14F-4D97-AF65-F5344CB8AC3E}">
        <p14:creationId xmlns:p14="http://schemas.microsoft.com/office/powerpoint/2010/main" val="1805380901"/>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wipe(left)">
                                      <p:cBhvr>
                                        <p:cTn id="7" dur="500"/>
                                        <p:tgtEl>
                                          <p:spTgt spid="21"/>
                                        </p:tgtEl>
                                      </p:cBhvr>
                                    </p:animEffect>
                                  </p:childTnLst>
                                </p:cTn>
                              </p:par>
                            </p:childTnLst>
                          </p:cTn>
                        </p:par>
                        <p:par>
                          <p:cTn id="8" fill="hold">
                            <p:stCondLst>
                              <p:cond delay="500"/>
                            </p:stCondLst>
                            <p:childTnLst>
                              <p:par>
                                <p:cTn id="9" presetID="22" presetClass="entr" presetSubtype="8" fill="hold" grpId="0" nodeType="afterEffect">
                                  <p:stCondLst>
                                    <p:cond delay="0"/>
                                  </p:stCondLst>
                                  <p:childTnLst>
                                    <p:set>
                                      <p:cBhvr>
                                        <p:cTn id="10" dur="1" fill="hold">
                                          <p:stCondLst>
                                            <p:cond delay="0"/>
                                          </p:stCondLst>
                                        </p:cTn>
                                        <p:tgtEl>
                                          <p:spTgt spid="23"/>
                                        </p:tgtEl>
                                        <p:attrNameLst>
                                          <p:attrName>style.visibility</p:attrName>
                                        </p:attrNameLst>
                                      </p:cBhvr>
                                      <p:to>
                                        <p:strVal val="visible"/>
                                      </p:to>
                                    </p:set>
                                    <p:animEffect transition="in" filter="wipe(left)">
                                      <p:cBhvr>
                                        <p:cTn id="11" dur="500"/>
                                        <p:tgtEl>
                                          <p:spTgt spid="23"/>
                                        </p:tgtEl>
                                      </p:cBhvr>
                                    </p:animEffect>
                                  </p:childTnLst>
                                </p:cTn>
                              </p:par>
                            </p:childTnLst>
                          </p:cTn>
                        </p:par>
                        <p:par>
                          <p:cTn id="12" fill="hold">
                            <p:stCondLst>
                              <p:cond delay="1000"/>
                            </p:stCondLst>
                            <p:childTnLst>
                              <p:par>
                                <p:cTn id="13" presetID="42" presetClass="entr" presetSubtype="0" fill="hold" grpId="0" nodeType="afterEffect">
                                  <p:stCondLst>
                                    <p:cond delay="0"/>
                                  </p:stCondLst>
                                  <p:childTnLst>
                                    <p:set>
                                      <p:cBhvr>
                                        <p:cTn id="14" dur="1" fill="hold">
                                          <p:stCondLst>
                                            <p:cond delay="0"/>
                                          </p:stCondLst>
                                        </p:cTn>
                                        <p:tgtEl>
                                          <p:spTgt spid="22"/>
                                        </p:tgtEl>
                                        <p:attrNameLst>
                                          <p:attrName>style.visibility</p:attrName>
                                        </p:attrNameLst>
                                      </p:cBhvr>
                                      <p:to>
                                        <p:strVal val="visible"/>
                                      </p:to>
                                    </p:set>
                                    <p:animEffect transition="in" filter="fade">
                                      <p:cBhvr>
                                        <p:cTn id="15" dur="500"/>
                                        <p:tgtEl>
                                          <p:spTgt spid="22"/>
                                        </p:tgtEl>
                                      </p:cBhvr>
                                    </p:animEffect>
                                    <p:anim calcmode="lin" valueType="num">
                                      <p:cBhvr>
                                        <p:cTn id="16" dur="500" fill="hold"/>
                                        <p:tgtEl>
                                          <p:spTgt spid="22"/>
                                        </p:tgtEl>
                                        <p:attrNameLst>
                                          <p:attrName>ppt_x</p:attrName>
                                        </p:attrNameLst>
                                      </p:cBhvr>
                                      <p:tavLst>
                                        <p:tav tm="0">
                                          <p:val>
                                            <p:strVal val="#ppt_x"/>
                                          </p:val>
                                        </p:tav>
                                        <p:tav tm="100000">
                                          <p:val>
                                            <p:strVal val="#ppt_x"/>
                                          </p:val>
                                        </p:tav>
                                      </p:tavLst>
                                    </p:anim>
                                    <p:anim calcmode="lin" valueType="num">
                                      <p:cBhvr>
                                        <p:cTn id="17" dur="500" fill="hold"/>
                                        <p:tgtEl>
                                          <p:spTgt spid="22"/>
                                        </p:tgtEl>
                                        <p:attrNameLst>
                                          <p:attrName>ppt_y</p:attrName>
                                        </p:attrNameLst>
                                      </p:cBhvr>
                                      <p:tavLst>
                                        <p:tav tm="0">
                                          <p:val>
                                            <p:strVal val="#ppt_y+.1"/>
                                          </p:val>
                                        </p:tav>
                                        <p:tav tm="100000">
                                          <p:val>
                                            <p:strVal val="#ppt_y"/>
                                          </p:val>
                                        </p:tav>
                                      </p:tavLst>
                                    </p:anim>
                                  </p:childTnLst>
                                </p:cTn>
                              </p:par>
                            </p:childTnLst>
                          </p:cTn>
                        </p:par>
                        <p:par>
                          <p:cTn id="18" fill="hold">
                            <p:stCondLst>
                              <p:cond delay="1500"/>
                            </p:stCondLst>
                            <p:childTnLst>
                              <p:par>
                                <p:cTn id="19" presetID="22" presetClass="entr" presetSubtype="8" fill="hold" nodeType="afterEffect">
                                  <p:stCondLst>
                                    <p:cond delay="0"/>
                                  </p:stCondLst>
                                  <p:childTnLst>
                                    <p:set>
                                      <p:cBhvr>
                                        <p:cTn id="20" dur="1" fill="hold">
                                          <p:stCondLst>
                                            <p:cond delay="0"/>
                                          </p:stCondLst>
                                        </p:cTn>
                                        <p:tgtEl>
                                          <p:spTgt spid="24"/>
                                        </p:tgtEl>
                                        <p:attrNameLst>
                                          <p:attrName>style.visibility</p:attrName>
                                        </p:attrNameLst>
                                      </p:cBhvr>
                                      <p:to>
                                        <p:strVal val="visible"/>
                                      </p:to>
                                    </p:set>
                                    <p:animEffect transition="in" filter="wipe(left)">
                                      <p:cBhvr>
                                        <p:cTn id="21" dur="500"/>
                                        <p:tgtEl>
                                          <p:spTgt spid="24"/>
                                        </p:tgtEl>
                                      </p:cBhvr>
                                    </p:animEffect>
                                  </p:childTnLst>
                                </p:cTn>
                              </p:par>
                            </p:childTnLst>
                          </p:cTn>
                        </p:par>
                        <p:par>
                          <p:cTn id="22" fill="hold">
                            <p:stCondLst>
                              <p:cond delay="2000"/>
                            </p:stCondLst>
                            <p:childTnLst>
                              <p:par>
                                <p:cTn id="23" presetID="22" presetClass="entr" presetSubtype="8" fill="hold" nodeType="afterEffect">
                                  <p:stCondLst>
                                    <p:cond delay="0"/>
                                  </p:stCondLst>
                                  <p:childTnLst>
                                    <p:set>
                                      <p:cBhvr>
                                        <p:cTn id="24" dur="1" fill="hold">
                                          <p:stCondLst>
                                            <p:cond delay="0"/>
                                          </p:stCondLst>
                                        </p:cTn>
                                        <p:tgtEl>
                                          <p:spTgt spid="28"/>
                                        </p:tgtEl>
                                        <p:attrNameLst>
                                          <p:attrName>style.visibility</p:attrName>
                                        </p:attrNameLst>
                                      </p:cBhvr>
                                      <p:to>
                                        <p:strVal val="visible"/>
                                      </p:to>
                                    </p:set>
                                    <p:animEffect transition="in" filter="wipe(left)">
                                      <p:cBhvr>
                                        <p:cTn id="25" dur="500"/>
                                        <p:tgtEl>
                                          <p:spTgt spid="28"/>
                                        </p:tgtEl>
                                      </p:cBhvr>
                                    </p:animEffect>
                                  </p:childTnLst>
                                </p:cTn>
                              </p:par>
                            </p:childTnLst>
                          </p:cTn>
                        </p:par>
                        <p:par>
                          <p:cTn id="26" fill="hold">
                            <p:stCondLst>
                              <p:cond delay="2500"/>
                            </p:stCondLst>
                            <p:childTnLst>
                              <p:par>
                                <p:cTn id="27" presetID="22" presetClass="entr" presetSubtype="8" fill="hold" nodeType="afterEffect">
                                  <p:stCondLst>
                                    <p:cond delay="0"/>
                                  </p:stCondLst>
                                  <p:childTnLst>
                                    <p:set>
                                      <p:cBhvr>
                                        <p:cTn id="28" dur="1" fill="hold">
                                          <p:stCondLst>
                                            <p:cond delay="0"/>
                                          </p:stCondLst>
                                        </p:cTn>
                                        <p:tgtEl>
                                          <p:spTgt spid="32"/>
                                        </p:tgtEl>
                                        <p:attrNameLst>
                                          <p:attrName>style.visibility</p:attrName>
                                        </p:attrNameLst>
                                      </p:cBhvr>
                                      <p:to>
                                        <p:strVal val="visible"/>
                                      </p:to>
                                    </p:set>
                                    <p:animEffect transition="in" filter="wipe(left)">
                                      <p:cBhvr>
                                        <p:cTn id="29" dur="500"/>
                                        <p:tgtEl>
                                          <p:spTgt spid="32"/>
                                        </p:tgtEl>
                                      </p:cBhvr>
                                    </p:animEffect>
                                  </p:childTnLst>
                                </p:cTn>
                              </p:par>
                            </p:childTnLst>
                          </p:cTn>
                        </p:par>
                        <p:par>
                          <p:cTn id="30" fill="hold">
                            <p:stCondLst>
                              <p:cond delay="3000"/>
                            </p:stCondLst>
                            <p:childTnLst>
                              <p:par>
                                <p:cTn id="31" presetID="22" presetClass="entr" presetSubtype="8" fill="hold" nodeType="afterEffect">
                                  <p:stCondLst>
                                    <p:cond delay="0"/>
                                  </p:stCondLst>
                                  <p:childTnLst>
                                    <p:set>
                                      <p:cBhvr>
                                        <p:cTn id="32" dur="1" fill="hold">
                                          <p:stCondLst>
                                            <p:cond delay="0"/>
                                          </p:stCondLst>
                                        </p:cTn>
                                        <p:tgtEl>
                                          <p:spTgt spid="36"/>
                                        </p:tgtEl>
                                        <p:attrNameLst>
                                          <p:attrName>style.visibility</p:attrName>
                                        </p:attrNameLst>
                                      </p:cBhvr>
                                      <p:to>
                                        <p:strVal val="visible"/>
                                      </p:to>
                                    </p:set>
                                    <p:animEffect transition="in" filter="wipe(left)">
                                      <p:cBhvr>
                                        <p:cTn id="33" dur="500"/>
                                        <p:tgtEl>
                                          <p:spTgt spid="36"/>
                                        </p:tgtEl>
                                      </p:cBhvr>
                                    </p:animEffect>
                                  </p:childTnLst>
                                </p:cTn>
                              </p:par>
                            </p:childTnLst>
                          </p:cTn>
                        </p:par>
                        <p:par>
                          <p:cTn id="34" fill="hold">
                            <p:stCondLst>
                              <p:cond delay="3500"/>
                            </p:stCondLst>
                            <p:childTnLst>
                              <p:par>
                                <p:cTn id="35" presetID="22" presetClass="entr" presetSubtype="4" fill="hold" grpId="0" nodeType="afterEffect">
                                  <p:stCondLst>
                                    <p:cond delay="0"/>
                                  </p:stCondLst>
                                  <p:childTnLst>
                                    <p:set>
                                      <p:cBhvr>
                                        <p:cTn id="36" dur="1" fill="hold">
                                          <p:stCondLst>
                                            <p:cond delay="0"/>
                                          </p:stCondLst>
                                        </p:cTn>
                                        <p:tgtEl>
                                          <p:spTgt spid="16"/>
                                        </p:tgtEl>
                                        <p:attrNameLst>
                                          <p:attrName>style.visibility</p:attrName>
                                        </p:attrNameLst>
                                      </p:cBhvr>
                                      <p:to>
                                        <p:strVal val="visible"/>
                                      </p:to>
                                    </p:set>
                                    <p:animEffect transition="in" filter="wipe(down)">
                                      <p:cBhvr>
                                        <p:cTn id="37" dur="500"/>
                                        <p:tgtEl>
                                          <p:spTgt spid="16"/>
                                        </p:tgtEl>
                                      </p:cBhvr>
                                    </p:animEffect>
                                  </p:childTnLst>
                                </p:cTn>
                              </p:par>
                            </p:childTnLst>
                          </p:cTn>
                        </p:par>
                        <p:par>
                          <p:cTn id="38" fill="hold">
                            <p:stCondLst>
                              <p:cond delay="4000"/>
                            </p:stCondLst>
                            <p:childTnLst>
                              <p:par>
                                <p:cTn id="39" presetID="22" presetClass="entr" presetSubtype="4" fill="hold" nodeType="afterEffect">
                                  <p:stCondLst>
                                    <p:cond delay="0"/>
                                  </p:stCondLst>
                                  <p:childTnLst>
                                    <p:set>
                                      <p:cBhvr>
                                        <p:cTn id="40" dur="1" fill="hold">
                                          <p:stCondLst>
                                            <p:cond delay="0"/>
                                          </p:stCondLst>
                                        </p:cTn>
                                        <p:tgtEl>
                                          <p:spTgt spid="2"/>
                                        </p:tgtEl>
                                        <p:attrNameLst>
                                          <p:attrName>style.visibility</p:attrName>
                                        </p:attrNameLst>
                                      </p:cBhvr>
                                      <p:to>
                                        <p:strVal val="visible"/>
                                      </p:to>
                                    </p:set>
                                    <p:animEffect transition="in" filter="wipe(down)">
                                      <p:cBhvr>
                                        <p:cTn id="41"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P spid="21" grpId="0"/>
      <p:bldP spid="22" grpId="0"/>
      <p:bldP spid="23" grpId="0"/>
    </p:bldLst>
  </p:timing>
</p:sld>
</file>

<file path=ppt/slides/slide6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Shape 25">
            <a:extLst>
              <a:ext uri="{FF2B5EF4-FFF2-40B4-BE49-F238E27FC236}">
                <a16:creationId xmlns:a16="http://schemas.microsoft.com/office/drawing/2014/main" id="{9C8426FD-467F-4584-A1D4-432BA679F889}"/>
              </a:ext>
            </a:extLst>
          </p:cNvPr>
          <p:cNvSpPr/>
          <p:nvPr/>
        </p:nvSpPr>
        <p:spPr>
          <a:xfrm>
            <a:off x="-51440" y="1875036"/>
            <a:ext cx="12294880" cy="4982964"/>
          </a:xfrm>
          <a:custGeom>
            <a:avLst/>
            <a:gdLst>
              <a:gd name="connsiteX0" fmla="*/ 12092341 w 19477038"/>
              <a:gd name="connsiteY0" fmla="*/ 0 h 7972743"/>
              <a:gd name="connsiteX1" fmla="*/ 12115226 w 19477038"/>
              <a:gd name="connsiteY1" fmla="*/ 10042 h 7972743"/>
              <a:gd name="connsiteX2" fmla="*/ 12813230 w 19477038"/>
              <a:gd name="connsiteY2" fmla="*/ 1184925 h 7972743"/>
              <a:gd name="connsiteX3" fmla="*/ 13064968 w 19477038"/>
              <a:gd name="connsiteY3" fmla="*/ 632630 h 7972743"/>
              <a:gd name="connsiteX4" fmla="*/ 13087854 w 19477038"/>
              <a:gd name="connsiteY4" fmla="*/ 642671 h 7972743"/>
              <a:gd name="connsiteX5" fmla="*/ 12916214 w 19477038"/>
              <a:gd name="connsiteY5" fmla="*/ 1325509 h 7972743"/>
              <a:gd name="connsiteX6" fmla="*/ 14026153 w 19477038"/>
              <a:gd name="connsiteY6" fmla="*/ 2239307 h 7972743"/>
              <a:gd name="connsiteX7" fmla="*/ 14152022 w 19477038"/>
              <a:gd name="connsiteY7" fmla="*/ 351461 h 7972743"/>
              <a:gd name="connsiteX8" fmla="*/ 14209236 w 19477038"/>
              <a:gd name="connsiteY8" fmla="*/ 351461 h 7972743"/>
              <a:gd name="connsiteX9" fmla="*/ 14243563 w 19477038"/>
              <a:gd name="connsiteY9" fmla="*/ 1134716 h 7972743"/>
              <a:gd name="connsiteX10" fmla="*/ 14884353 w 19477038"/>
              <a:gd name="connsiteY10" fmla="*/ 522171 h 7972743"/>
              <a:gd name="connsiteX11" fmla="*/ 14895796 w 19477038"/>
              <a:gd name="connsiteY11" fmla="*/ 542253 h 7972743"/>
              <a:gd name="connsiteX12" fmla="*/ 14907240 w 19477038"/>
              <a:gd name="connsiteY12" fmla="*/ 542253 h 7972743"/>
              <a:gd name="connsiteX13" fmla="*/ 14277893 w 19477038"/>
              <a:gd name="connsiteY13" fmla="*/ 1466093 h 7972743"/>
              <a:gd name="connsiteX14" fmla="*/ 14460975 w 19477038"/>
              <a:gd name="connsiteY14" fmla="*/ 2349766 h 7972743"/>
              <a:gd name="connsiteX15" fmla="*/ 15662456 w 19477038"/>
              <a:gd name="connsiteY15" fmla="*/ 1827595 h 7972743"/>
              <a:gd name="connsiteX16" fmla="*/ 16074392 w 19477038"/>
              <a:gd name="connsiteY16" fmla="*/ 823423 h 7972743"/>
              <a:gd name="connsiteX17" fmla="*/ 16085835 w 19477038"/>
              <a:gd name="connsiteY17" fmla="*/ 823423 h 7972743"/>
              <a:gd name="connsiteX18" fmla="*/ 16097277 w 19477038"/>
              <a:gd name="connsiteY18" fmla="*/ 823423 h 7972743"/>
              <a:gd name="connsiteX19" fmla="*/ 15971408 w 19477038"/>
              <a:gd name="connsiteY19" fmla="*/ 1646845 h 7972743"/>
              <a:gd name="connsiteX20" fmla="*/ 16680855 w 19477038"/>
              <a:gd name="connsiteY20" fmla="*/ 1174883 h 7972743"/>
              <a:gd name="connsiteX21" fmla="*/ 16715182 w 19477038"/>
              <a:gd name="connsiteY21" fmla="*/ 1205008 h 7972743"/>
              <a:gd name="connsiteX22" fmla="*/ 15124650 w 19477038"/>
              <a:gd name="connsiteY22" fmla="*/ 2480309 h 7972743"/>
              <a:gd name="connsiteX23" fmla="*/ 14747041 w 19477038"/>
              <a:gd name="connsiteY23" fmla="*/ 2620893 h 7972743"/>
              <a:gd name="connsiteX24" fmla="*/ 14689827 w 19477038"/>
              <a:gd name="connsiteY24" fmla="*/ 3554775 h 7972743"/>
              <a:gd name="connsiteX25" fmla="*/ 14998781 w 19477038"/>
              <a:gd name="connsiteY25" fmla="*/ 5593247 h 7972743"/>
              <a:gd name="connsiteX26" fmla="*/ 15399274 w 19477038"/>
              <a:gd name="connsiteY26" fmla="*/ 5713748 h 7972743"/>
              <a:gd name="connsiteX27" fmla="*/ 19477038 w 19477038"/>
              <a:gd name="connsiteY27" fmla="*/ 5713748 h 7972743"/>
              <a:gd name="connsiteX28" fmla="*/ 19477038 w 19477038"/>
              <a:gd name="connsiteY28" fmla="*/ 6626340 h 7972743"/>
              <a:gd name="connsiteX29" fmla="*/ 19477038 w 19477038"/>
              <a:gd name="connsiteY29" fmla="*/ 7702965 h 7972743"/>
              <a:gd name="connsiteX30" fmla="*/ 19477038 w 19477038"/>
              <a:gd name="connsiteY30" fmla="*/ 7972743 h 7972743"/>
              <a:gd name="connsiteX31" fmla="*/ 0 w 19477038"/>
              <a:gd name="connsiteY31" fmla="*/ 7972743 h 7972743"/>
              <a:gd name="connsiteX32" fmla="*/ 0 w 19477038"/>
              <a:gd name="connsiteY32" fmla="*/ 7702965 h 7972743"/>
              <a:gd name="connsiteX33" fmla="*/ 0 w 19477038"/>
              <a:gd name="connsiteY33" fmla="*/ 6626340 h 7972743"/>
              <a:gd name="connsiteX34" fmla="*/ 0 w 19477038"/>
              <a:gd name="connsiteY34" fmla="*/ 5713748 h 7972743"/>
              <a:gd name="connsiteX35" fmla="*/ 12916214 w 19477038"/>
              <a:gd name="connsiteY35" fmla="*/ 5713748 h 7972743"/>
              <a:gd name="connsiteX36" fmla="*/ 13213723 w 19477038"/>
              <a:gd name="connsiteY36" fmla="*/ 5613331 h 7972743"/>
              <a:gd name="connsiteX37" fmla="*/ 13808742 w 19477038"/>
              <a:gd name="connsiteY37" fmla="*/ 4508739 h 7972743"/>
              <a:gd name="connsiteX38" fmla="*/ 13774413 w 19477038"/>
              <a:gd name="connsiteY38" fmla="*/ 2550600 h 7972743"/>
              <a:gd name="connsiteX39" fmla="*/ 13488347 w 19477038"/>
              <a:gd name="connsiteY39" fmla="*/ 2379892 h 7972743"/>
              <a:gd name="connsiteX40" fmla="*/ 11520206 w 19477038"/>
              <a:gd name="connsiteY40" fmla="*/ 2018390 h 7972743"/>
              <a:gd name="connsiteX41" fmla="*/ 11554534 w 19477038"/>
              <a:gd name="connsiteY41" fmla="*/ 1968181 h 7972743"/>
              <a:gd name="connsiteX42" fmla="*/ 11554534 w 19477038"/>
              <a:gd name="connsiteY42" fmla="*/ 1958139 h 7972743"/>
              <a:gd name="connsiteX43" fmla="*/ 13225166 w 19477038"/>
              <a:gd name="connsiteY43" fmla="*/ 2088681 h 7972743"/>
              <a:gd name="connsiteX44" fmla="*/ 12366965 w 19477038"/>
              <a:gd name="connsiteY44" fmla="*/ 913798 h 7972743"/>
              <a:gd name="connsiteX45" fmla="*/ 12046570 w 19477038"/>
              <a:gd name="connsiteY45" fmla="*/ 10042 h 7972743"/>
              <a:gd name="connsiteX46" fmla="*/ 12092341 w 19477038"/>
              <a:gd name="connsiteY46" fmla="*/ 0 h 79727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9477038" h="7972743">
                <a:moveTo>
                  <a:pt x="12092341" y="0"/>
                </a:moveTo>
                <a:cubicBezTo>
                  <a:pt x="12103783" y="10042"/>
                  <a:pt x="12103783" y="10042"/>
                  <a:pt x="12115226" y="10042"/>
                </a:cubicBezTo>
                <a:cubicBezTo>
                  <a:pt x="12344079" y="502087"/>
                  <a:pt x="12584376" y="883673"/>
                  <a:pt x="12813230" y="1184925"/>
                </a:cubicBezTo>
                <a:cubicBezTo>
                  <a:pt x="12870443" y="943924"/>
                  <a:pt x="12973426" y="753130"/>
                  <a:pt x="13064968" y="632630"/>
                </a:cubicBezTo>
                <a:cubicBezTo>
                  <a:pt x="13064968" y="632630"/>
                  <a:pt x="13064968" y="632630"/>
                  <a:pt x="13087854" y="642671"/>
                </a:cubicBezTo>
                <a:cubicBezTo>
                  <a:pt x="12950542" y="903756"/>
                  <a:pt x="12927656" y="1205008"/>
                  <a:pt x="12916214" y="1325509"/>
                </a:cubicBezTo>
                <a:cubicBezTo>
                  <a:pt x="13522675" y="2058556"/>
                  <a:pt x="14026153" y="2239307"/>
                  <a:pt x="14026153" y="2239307"/>
                </a:cubicBezTo>
                <a:cubicBezTo>
                  <a:pt x="13923168" y="1435968"/>
                  <a:pt x="14071924" y="692879"/>
                  <a:pt x="14152022" y="351461"/>
                </a:cubicBezTo>
                <a:cubicBezTo>
                  <a:pt x="14152022" y="351461"/>
                  <a:pt x="14152022" y="351461"/>
                  <a:pt x="14209236" y="351461"/>
                </a:cubicBezTo>
                <a:cubicBezTo>
                  <a:pt x="14209236" y="642671"/>
                  <a:pt x="14220679" y="913798"/>
                  <a:pt x="14243563" y="1134716"/>
                </a:cubicBezTo>
                <a:cubicBezTo>
                  <a:pt x="14472417" y="883673"/>
                  <a:pt x="14552517" y="793296"/>
                  <a:pt x="14884353" y="522171"/>
                </a:cubicBezTo>
                <a:cubicBezTo>
                  <a:pt x="14884353" y="522171"/>
                  <a:pt x="14884353" y="522171"/>
                  <a:pt x="14895796" y="542253"/>
                </a:cubicBezTo>
                <a:cubicBezTo>
                  <a:pt x="14895796" y="542253"/>
                  <a:pt x="14895796" y="542253"/>
                  <a:pt x="14907240" y="542253"/>
                </a:cubicBezTo>
                <a:cubicBezTo>
                  <a:pt x="14769927" y="702921"/>
                  <a:pt x="14460975" y="1104590"/>
                  <a:pt x="14277893" y="1466093"/>
                </a:cubicBezTo>
                <a:cubicBezTo>
                  <a:pt x="14323662" y="1857722"/>
                  <a:pt x="14392319" y="2138889"/>
                  <a:pt x="14460975" y="2349766"/>
                </a:cubicBezTo>
                <a:cubicBezTo>
                  <a:pt x="14701271" y="2289515"/>
                  <a:pt x="15090322" y="2158973"/>
                  <a:pt x="15662456" y="1827595"/>
                </a:cubicBezTo>
                <a:cubicBezTo>
                  <a:pt x="15856982" y="1476135"/>
                  <a:pt x="16017178" y="1014215"/>
                  <a:pt x="16074392" y="823423"/>
                </a:cubicBezTo>
                <a:cubicBezTo>
                  <a:pt x="16074392" y="823423"/>
                  <a:pt x="16085835" y="823423"/>
                  <a:pt x="16085835" y="823423"/>
                </a:cubicBezTo>
                <a:cubicBezTo>
                  <a:pt x="16085835" y="823423"/>
                  <a:pt x="16085835" y="823423"/>
                  <a:pt x="16097277" y="823423"/>
                </a:cubicBezTo>
                <a:cubicBezTo>
                  <a:pt x="16074392" y="1215050"/>
                  <a:pt x="16051508" y="1335551"/>
                  <a:pt x="15971408" y="1646845"/>
                </a:cubicBezTo>
                <a:cubicBezTo>
                  <a:pt x="16177377" y="1516302"/>
                  <a:pt x="16417673" y="1355635"/>
                  <a:pt x="16680855" y="1174883"/>
                </a:cubicBezTo>
                <a:cubicBezTo>
                  <a:pt x="16680855" y="1174883"/>
                  <a:pt x="16680855" y="1174883"/>
                  <a:pt x="16715182" y="1205008"/>
                </a:cubicBezTo>
                <a:cubicBezTo>
                  <a:pt x="16474886" y="1476135"/>
                  <a:pt x="16143049" y="1948097"/>
                  <a:pt x="15124650" y="2480309"/>
                </a:cubicBezTo>
                <a:cubicBezTo>
                  <a:pt x="15124650" y="2480309"/>
                  <a:pt x="15124650" y="2480309"/>
                  <a:pt x="14747041" y="2620893"/>
                </a:cubicBezTo>
                <a:cubicBezTo>
                  <a:pt x="14701271" y="2881978"/>
                  <a:pt x="14678386" y="3193272"/>
                  <a:pt x="14689827" y="3554775"/>
                </a:cubicBezTo>
                <a:cubicBezTo>
                  <a:pt x="14712714" y="4769825"/>
                  <a:pt x="14861469" y="5312079"/>
                  <a:pt x="14998781" y="5593247"/>
                </a:cubicBezTo>
                <a:cubicBezTo>
                  <a:pt x="15124650" y="5613331"/>
                  <a:pt x="15273405" y="5663539"/>
                  <a:pt x="15399274" y="5713748"/>
                </a:cubicBezTo>
                <a:lnTo>
                  <a:pt x="19477038" y="5713748"/>
                </a:lnTo>
                <a:lnTo>
                  <a:pt x="19477038" y="6626340"/>
                </a:lnTo>
                <a:lnTo>
                  <a:pt x="19477038" y="7702965"/>
                </a:lnTo>
                <a:lnTo>
                  <a:pt x="19477038" y="7972743"/>
                </a:lnTo>
                <a:lnTo>
                  <a:pt x="0" y="7972743"/>
                </a:lnTo>
                <a:lnTo>
                  <a:pt x="0" y="7702965"/>
                </a:lnTo>
                <a:lnTo>
                  <a:pt x="0" y="6626340"/>
                </a:lnTo>
                <a:lnTo>
                  <a:pt x="0" y="5713748"/>
                </a:lnTo>
                <a:lnTo>
                  <a:pt x="12916214" y="5713748"/>
                </a:lnTo>
                <a:cubicBezTo>
                  <a:pt x="13099297" y="5573164"/>
                  <a:pt x="13213723" y="5613331"/>
                  <a:pt x="13213723" y="5613331"/>
                </a:cubicBezTo>
                <a:cubicBezTo>
                  <a:pt x="13797299" y="5613331"/>
                  <a:pt x="13705758" y="5201620"/>
                  <a:pt x="13808742" y="4508739"/>
                </a:cubicBezTo>
                <a:cubicBezTo>
                  <a:pt x="13957496" y="3695359"/>
                  <a:pt x="13911727" y="3052688"/>
                  <a:pt x="13774413" y="2550600"/>
                </a:cubicBezTo>
                <a:cubicBezTo>
                  <a:pt x="13659987" y="2440141"/>
                  <a:pt x="13557003" y="2389932"/>
                  <a:pt x="13488347" y="2379892"/>
                </a:cubicBezTo>
                <a:cubicBezTo>
                  <a:pt x="12630147" y="2389932"/>
                  <a:pt x="11943586" y="2189098"/>
                  <a:pt x="11520206" y="2018390"/>
                </a:cubicBezTo>
                <a:cubicBezTo>
                  <a:pt x="11520206" y="2018390"/>
                  <a:pt x="11520206" y="2018390"/>
                  <a:pt x="11554534" y="1968181"/>
                </a:cubicBezTo>
                <a:cubicBezTo>
                  <a:pt x="11554534" y="1968181"/>
                  <a:pt x="11554534" y="1968181"/>
                  <a:pt x="11554534" y="1958139"/>
                </a:cubicBezTo>
                <a:cubicBezTo>
                  <a:pt x="12538605" y="2229266"/>
                  <a:pt x="13225166" y="2088681"/>
                  <a:pt x="13225166" y="2088681"/>
                </a:cubicBezTo>
                <a:cubicBezTo>
                  <a:pt x="12836114" y="1757304"/>
                  <a:pt x="12561490" y="1325509"/>
                  <a:pt x="12366965" y="913798"/>
                </a:cubicBezTo>
                <a:cubicBezTo>
                  <a:pt x="12366965" y="913798"/>
                  <a:pt x="12080898" y="170710"/>
                  <a:pt x="12046570" y="10042"/>
                </a:cubicBezTo>
                <a:cubicBezTo>
                  <a:pt x="12046570" y="10042"/>
                  <a:pt x="12046570" y="10042"/>
                  <a:pt x="12092341" y="0"/>
                </a:cubicBezTo>
                <a:close/>
              </a:path>
            </a:pathLst>
          </a:cu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25" b="0" i="0" u="none" strike="noStrike" kern="1200" cap="none" spc="0" normalizeH="0" baseline="0" noProof="0">
              <a:ln>
                <a:noFill/>
              </a:ln>
              <a:solidFill>
                <a:srgbClr val="FFFFFF"/>
              </a:solidFill>
              <a:effectLst/>
              <a:uLnTx/>
              <a:uFillTx/>
              <a:latin typeface="等线" panose="020F0502020204030204"/>
              <a:ea typeface="+mn-ea"/>
              <a:cs typeface="+mn-cs"/>
            </a:endParaRPr>
          </a:p>
        </p:txBody>
      </p:sp>
      <p:grpSp>
        <p:nvGrpSpPr>
          <p:cNvPr id="3" name="Group 32">
            <a:extLst>
              <a:ext uri="{FF2B5EF4-FFF2-40B4-BE49-F238E27FC236}">
                <a16:creationId xmlns:a16="http://schemas.microsoft.com/office/drawing/2014/main" id="{7570309E-5385-4B7C-A808-3A8E78BC796A}"/>
              </a:ext>
            </a:extLst>
          </p:cNvPr>
          <p:cNvGrpSpPr/>
          <p:nvPr/>
        </p:nvGrpSpPr>
        <p:grpSpPr>
          <a:xfrm>
            <a:off x="952995" y="4000504"/>
            <a:ext cx="2289505" cy="980454"/>
            <a:chOff x="1509711" y="6885246"/>
            <a:chExt cx="3041935" cy="1568726"/>
          </a:xfrm>
        </p:grpSpPr>
        <p:sp>
          <p:nvSpPr>
            <p:cNvPr id="4" name="TextBox 30">
              <a:extLst>
                <a:ext uri="{FF2B5EF4-FFF2-40B4-BE49-F238E27FC236}">
                  <a16:creationId xmlns:a16="http://schemas.microsoft.com/office/drawing/2014/main" id="{EE5793DE-766C-4B7C-AD79-C96F17B3F5FD}"/>
                </a:ext>
              </a:extLst>
            </p:cNvPr>
            <p:cNvSpPr txBox="1"/>
            <p:nvPr/>
          </p:nvSpPr>
          <p:spPr>
            <a:xfrm>
              <a:off x="1509711" y="7577937"/>
              <a:ext cx="3041935" cy="876035"/>
            </a:xfrm>
            <a:prstGeom prst="rect">
              <a:avLst/>
            </a:prstGeom>
            <a:noFill/>
          </p:spPr>
          <p:txBody>
            <a:bodyPr wrap="square" rtlCol="0">
              <a:spAutoFit/>
            </a:bodyPr>
            <a:lstStyle/>
            <a:p>
              <a:pPr marL="0" marR="0" lvl="0" indent="0" algn="l" defTabSz="914400" rtl="0" eaLnBrk="1" fontAlgn="auto" latinLnBrk="0" hangingPunct="1">
                <a:lnSpc>
                  <a:spcPct val="130000"/>
                </a:lnSpc>
                <a:spcBef>
                  <a:spcPts val="750"/>
                </a:spcBef>
                <a:spcAft>
                  <a:spcPts val="0"/>
                </a:spcAft>
                <a:buClrTx/>
                <a:buSzTx/>
                <a:buFontTx/>
                <a:buNone/>
                <a:tabLst/>
                <a:defRPr/>
              </a:pPr>
              <a:r>
                <a:rPr kumimoji="0" lang="en-US" sz="1200" b="0" i="0" u="none" strike="noStrike" kern="1200" cap="none" spc="0" normalizeH="0" baseline="0" noProof="0" dirty="0">
                  <a:ln>
                    <a:noFill/>
                  </a:ln>
                  <a:solidFill>
                    <a:srgbClr val="000000">
                      <a:lumMod val="65000"/>
                      <a:lumOff val="35000"/>
                    </a:srgbClr>
                  </a:solidFill>
                  <a:effectLst/>
                  <a:uLnTx/>
                  <a:uFillTx/>
                  <a:latin typeface="等线" panose="020F0502020204030204"/>
                  <a:ea typeface="Open Sans" panose="020B0606030504020204" pitchFamily="34" charset="0"/>
                  <a:cs typeface="Segoe UI" panose="020B0502040204020203" pitchFamily="34" charset="0"/>
                </a:rPr>
                <a:t>The European languages are members of the same family. </a:t>
              </a:r>
            </a:p>
          </p:txBody>
        </p:sp>
        <p:sp>
          <p:nvSpPr>
            <p:cNvPr id="5" name="TextBox 31">
              <a:extLst>
                <a:ext uri="{FF2B5EF4-FFF2-40B4-BE49-F238E27FC236}">
                  <a16:creationId xmlns:a16="http://schemas.microsoft.com/office/drawing/2014/main" id="{4CAEF4A9-9D55-4BED-AAB7-2FED4E229503}"/>
                </a:ext>
              </a:extLst>
            </p:cNvPr>
            <p:cNvSpPr txBox="1"/>
            <p:nvPr/>
          </p:nvSpPr>
          <p:spPr>
            <a:xfrm>
              <a:off x="1509711" y="6885246"/>
              <a:ext cx="2797592" cy="834794"/>
            </a:xfrm>
            <a:prstGeom prst="rect">
              <a:avLst/>
            </a:prstGeom>
            <a:noFill/>
          </p:spPr>
          <p:txBody>
            <a:bodyPr wrap="square" rtlCol="0">
              <a:sp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US" sz="2750" b="0" i="0" u="none" strike="noStrike" kern="1200" cap="none" spc="0" normalizeH="0" baseline="0" noProof="0" dirty="0">
                  <a:ln>
                    <a:noFill/>
                  </a:ln>
                  <a:solidFill>
                    <a:srgbClr val="FFD229"/>
                  </a:solidFill>
                  <a:effectLst/>
                  <a:uLnTx/>
                  <a:uFillTx/>
                  <a:latin typeface="等线 Light" panose="020F0302020204030204"/>
                  <a:ea typeface="+mn-ea"/>
                  <a:cs typeface="+mn-cs"/>
                </a:rPr>
                <a:t>2.8</a:t>
              </a:r>
              <a:r>
                <a:rPr kumimoji="0" lang="en-US" sz="2750" b="0" i="0" u="none" strike="noStrike" kern="1200" cap="none" spc="0" normalizeH="0" baseline="30000" noProof="0" dirty="0">
                  <a:ln>
                    <a:noFill/>
                  </a:ln>
                  <a:solidFill>
                    <a:srgbClr val="FFD229"/>
                  </a:solidFill>
                  <a:effectLst/>
                  <a:uLnTx/>
                  <a:uFillTx/>
                  <a:latin typeface="等线 Light" panose="020F0302020204030204"/>
                  <a:ea typeface="+mn-ea"/>
                  <a:cs typeface="+mn-cs"/>
                </a:rPr>
                <a:t>%</a:t>
              </a:r>
            </a:p>
          </p:txBody>
        </p:sp>
      </p:grpSp>
      <p:grpSp>
        <p:nvGrpSpPr>
          <p:cNvPr id="6" name="Group 33">
            <a:extLst>
              <a:ext uri="{FF2B5EF4-FFF2-40B4-BE49-F238E27FC236}">
                <a16:creationId xmlns:a16="http://schemas.microsoft.com/office/drawing/2014/main" id="{1E32098A-8542-4E13-B863-F04B1E6DF29C}"/>
              </a:ext>
            </a:extLst>
          </p:cNvPr>
          <p:cNvGrpSpPr/>
          <p:nvPr/>
        </p:nvGrpSpPr>
        <p:grpSpPr>
          <a:xfrm>
            <a:off x="3460214" y="4000504"/>
            <a:ext cx="2273130" cy="980454"/>
            <a:chOff x="1509711" y="6885246"/>
            <a:chExt cx="3020178" cy="1568726"/>
          </a:xfrm>
        </p:grpSpPr>
        <p:sp>
          <p:nvSpPr>
            <p:cNvPr id="7" name="TextBox 34">
              <a:extLst>
                <a:ext uri="{FF2B5EF4-FFF2-40B4-BE49-F238E27FC236}">
                  <a16:creationId xmlns:a16="http://schemas.microsoft.com/office/drawing/2014/main" id="{585559A5-3C72-42A4-B72F-C46212EEA7E8}"/>
                </a:ext>
              </a:extLst>
            </p:cNvPr>
            <p:cNvSpPr txBox="1"/>
            <p:nvPr/>
          </p:nvSpPr>
          <p:spPr>
            <a:xfrm>
              <a:off x="1509711" y="7577937"/>
              <a:ext cx="3020178" cy="876035"/>
            </a:xfrm>
            <a:prstGeom prst="rect">
              <a:avLst/>
            </a:prstGeom>
            <a:noFill/>
          </p:spPr>
          <p:txBody>
            <a:bodyPr wrap="square" rtlCol="0">
              <a:spAutoFit/>
            </a:bodyPr>
            <a:lstStyle/>
            <a:p>
              <a:pPr marL="0" marR="0" lvl="0" indent="0" algn="l" defTabSz="914400" rtl="0" eaLnBrk="1" fontAlgn="auto" latinLnBrk="0" hangingPunct="1">
                <a:lnSpc>
                  <a:spcPct val="130000"/>
                </a:lnSpc>
                <a:spcBef>
                  <a:spcPts val="750"/>
                </a:spcBef>
                <a:spcAft>
                  <a:spcPts val="0"/>
                </a:spcAft>
                <a:buClrTx/>
                <a:buSzTx/>
                <a:buFontTx/>
                <a:buNone/>
                <a:tabLst/>
                <a:defRPr/>
              </a:pPr>
              <a:r>
                <a:rPr kumimoji="0" lang="en-US" sz="1200" b="0" i="0" u="none" strike="noStrike" kern="1200" cap="none" spc="0" normalizeH="0" baseline="0" noProof="0" dirty="0">
                  <a:ln>
                    <a:noFill/>
                  </a:ln>
                  <a:solidFill>
                    <a:srgbClr val="000000">
                      <a:lumMod val="65000"/>
                      <a:lumOff val="35000"/>
                    </a:srgbClr>
                  </a:solidFill>
                  <a:effectLst/>
                  <a:uLnTx/>
                  <a:uFillTx/>
                  <a:latin typeface="等线" panose="020F0502020204030204"/>
                  <a:ea typeface="Open Sans" panose="020B0606030504020204" pitchFamily="34" charset="0"/>
                  <a:cs typeface="Segoe UI" panose="020B0502040204020203" pitchFamily="34" charset="0"/>
                </a:rPr>
                <a:t>The European languages are members of the same family. </a:t>
              </a:r>
            </a:p>
          </p:txBody>
        </p:sp>
        <p:sp>
          <p:nvSpPr>
            <p:cNvPr id="8" name="TextBox 35">
              <a:extLst>
                <a:ext uri="{FF2B5EF4-FFF2-40B4-BE49-F238E27FC236}">
                  <a16:creationId xmlns:a16="http://schemas.microsoft.com/office/drawing/2014/main" id="{D3357898-E6A0-4D6E-9BFF-6A41DC9EB457}"/>
                </a:ext>
              </a:extLst>
            </p:cNvPr>
            <p:cNvSpPr txBox="1"/>
            <p:nvPr/>
          </p:nvSpPr>
          <p:spPr>
            <a:xfrm>
              <a:off x="1509711" y="6885246"/>
              <a:ext cx="2797592" cy="834794"/>
            </a:xfrm>
            <a:prstGeom prst="rect">
              <a:avLst/>
            </a:prstGeom>
            <a:noFill/>
          </p:spPr>
          <p:txBody>
            <a:bodyPr wrap="square" rtlCol="0">
              <a:sp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US" sz="2750" b="0" i="0" u="none" strike="noStrike" kern="1200" cap="none" spc="0" normalizeH="0" baseline="0" noProof="0" dirty="0">
                  <a:ln>
                    <a:noFill/>
                  </a:ln>
                  <a:solidFill>
                    <a:srgbClr val="FF4C38"/>
                  </a:solidFill>
                  <a:effectLst/>
                  <a:uLnTx/>
                  <a:uFillTx/>
                  <a:latin typeface="等线 Light" panose="020F0302020204030204"/>
                  <a:ea typeface="+mn-ea"/>
                  <a:cs typeface="+mn-cs"/>
                </a:rPr>
                <a:t>12.7</a:t>
              </a:r>
              <a:r>
                <a:rPr kumimoji="0" lang="en-US" sz="2750" b="0" i="0" u="none" strike="noStrike" kern="1200" cap="none" spc="0" normalizeH="0" baseline="30000" noProof="0" dirty="0">
                  <a:ln>
                    <a:noFill/>
                  </a:ln>
                  <a:solidFill>
                    <a:srgbClr val="FF4C38"/>
                  </a:solidFill>
                  <a:effectLst/>
                  <a:uLnTx/>
                  <a:uFillTx/>
                  <a:latin typeface="等线 Light" panose="020F0302020204030204"/>
                  <a:ea typeface="+mn-ea"/>
                  <a:cs typeface="+mn-cs"/>
                </a:rPr>
                <a:t>%</a:t>
              </a:r>
            </a:p>
          </p:txBody>
        </p:sp>
      </p:grpSp>
      <p:sp>
        <p:nvSpPr>
          <p:cNvPr id="9" name="TextBox 36">
            <a:extLst>
              <a:ext uri="{FF2B5EF4-FFF2-40B4-BE49-F238E27FC236}">
                <a16:creationId xmlns:a16="http://schemas.microsoft.com/office/drawing/2014/main" id="{5266DF4A-6364-4E8B-B0AF-4A3558968C2A}"/>
              </a:ext>
            </a:extLst>
          </p:cNvPr>
          <p:cNvSpPr txBox="1"/>
          <p:nvPr/>
        </p:nvSpPr>
        <p:spPr>
          <a:xfrm>
            <a:off x="1244404" y="5826381"/>
            <a:ext cx="6360984" cy="562398"/>
          </a:xfrm>
          <a:prstGeom prst="rect">
            <a:avLst/>
          </a:prstGeom>
          <a:noFill/>
        </p:spPr>
        <p:txBody>
          <a:bodyPr wrap="square" rtlCol="0">
            <a:spAutoFit/>
          </a:bodyPr>
          <a:lstStyle/>
          <a:p>
            <a:pPr marL="0" marR="0" lvl="0" indent="0" algn="l" defTabSz="914400" rtl="0" eaLnBrk="1" fontAlgn="auto" latinLnBrk="0" hangingPunct="1">
              <a:lnSpc>
                <a:spcPct val="130000"/>
              </a:lnSpc>
              <a:spcBef>
                <a:spcPts val="750"/>
              </a:spcBef>
              <a:spcAft>
                <a:spcPts val="0"/>
              </a:spcAft>
              <a:buClrTx/>
              <a:buSzTx/>
              <a:buFontTx/>
              <a:buNone/>
              <a:tabLst/>
              <a:defRPr/>
            </a:pPr>
            <a:r>
              <a:rPr kumimoji="0" lang="en-US" sz="1250" b="0" i="1" u="none" strike="noStrike" kern="1200" cap="none" spc="0" normalizeH="0" baseline="0" noProof="0" dirty="0">
                <a:ln>
                  <a:noFill/>
                </a:ln>
                <a:solidFill>
                  <a:srgbClr val="FFFFFF">
                    <a:lumMod val="95000"/>
                  </a:srgbClr>
                </a:solidFill>
                <a:effectLst/>
                <a:uLnTx/>
                <a:uFillTx/>
                <a:latin typeface="等线" panose="020F0502020204030204"/>
                <a:ea typeface="+mn-ea"/>
                <a:cs typeface="+mn-cs"/>
              </a:rPr>
              <a:t>“The European languages are members of the same family. Their separate existence is a myth. For science, music, sport, etc., Europe uses the same vocabulary. </a:t>
            </a:r>
          </a:p>
        </p:txBody>
      </p:sp>
      <p:sp>
        <p:nvSpPr>
          <p:cNvPr id="10" name="Freeform 12">
            <a:extLst>
              <a:ext uri="{FF2B5EF4-FFF2-40B4-BE49-F238E27FC236}">
                <a16:creationId xmlns:a16="http://schemas.microsoft.com/office/drawing/2014/main" id="{05F3F875-DCEB-489F-9C7D-6F12A603346D}"/>
              </a:ext>
            </a:extLst>
          </p:cNvPr>
          <p:cNvSpPr>
            <a:spLocks noChangeArrowheads="1"/>
          </p:cNvSpPr>
          <p:nvPr/>
        </p:nvSpPr>
        <p:spPr bwMode="auto">
          <a:xfrm>
            <a:off x="951904" y="5871566"/>
            <a:ext cx="222826" cy="222825"/>
          </a:xfrm>
          <a:custGeom>
            <a:avLst/>
            <a:gdLst>
              <a:gd name="T0" fmla="*/ 103531 w 462"/>
              <a:gd name="T1" fmla="*/ 4060 h 461"/>
              <a:gd name="T2" fmla="*/ 103531 w 462"/>
              <a:gd name="T3" fmla="*/ 4060 h 461"/>
              <a:gd name="T4" fmla="*/ 0 w 462"/>
              <a:gd name="T5" fmla="*/ 107815 h 461"/>
              <a:gd name="T6" fmla="*/ 103531 w 462"/>
              <a:gd name="T7" fmla="*/ 207511 h 461"/>
              <a:gd name="T8" fmla="*/ 207513 w 462"/>
              <a:gd name="T9" fmla="*/ 103755 h 461"/>
              <a:gd name="T10" fmla="*/ 103531 w 462"/>
              <a:gd name="T11" fmla="*/ 4060 h 461"/>
              <a:gd name="T12" fmla="*/ 111634 w 462"/>
              <a:gd name="T13" fmla="*/ 35638 h 461"/>
              <a:gd name="T14" fmla="*/ 111634 w 462"/>
              <a:gd name="T15" fmla="*/ 35638 h 461"/>
              <a:gd name="T16" fmla="*/ 127389 w 462"/>
              <a:gd name="T17" fmla="*/ 47818 h 461"/>
              <a:gd name="T18" fmla="*/ 107583 w 462"/>
              <a:gd name="T19" fmla="*/ 67667 h 461"/>
              <a:gd name="T20" fmla="*/ 95879 w 462"/>
              <a:gd name="T21" fmla="*/ 51878 h 461"/>
              <a:gd name="T22" fmla="*/ 111634 w 462"/>
              <a:gd name="T23" fmla="*/ 35638 h 461"/>
              <a:gd name="T24" fmla="*/ 87777 w 462"/>
              <a:gd name="T25" fmla="*/ 167813 h 461"/>
              <a:gd name="T26" fmla="*/ 87777 w 462"/>
              <a:gd name="T27" fmla="*/ 167813 h 461"/>
              <a:gd name="T28" fmla="*/ 79674 w 462"/>
              <a:gd name="T29" fmla="*/ 147513 h 461"/>
              <a:gd name="T30" fmla="*/ 87777 w 462"/>
              <a:gd name="T31" fmla="*/ 111875 h 461"/>
              <a:gd name="T32" fmla="*/ 87777 w 462"/>
              <a:gd name="T33" fmla="*/ 103755 h 461"/>
              <a:gd name="T34" fmla="*/ 72022 w 462"/>
              <a:gd name="T35" fmla="*/ 111875 h 461"/>
              <a:gd name="T36" fmla="*/ 67971 w 462"/>
              <a:gd name="T37" fmla="*/ 107815 h 461"/>
              <a:gd name="T38" fmla="*/ 111634 w 462"/>
              <a:gd name="T39" fmla="*/ 83455 h 461"/>
              <a:gd name="T40" fmla="*/ 119736 w 462"/>
              <a:gd name="T41" fmla="*/ 103755 h 461"/>
              <a:gd name="T42" fmla="*/ 107583 w 462"/>
              <a:gd name="T43" fmla="*/ 139844 h 461"/>
              <a:gd name="T44" fmla="*/ 107583 w 462"/>
              <a:gd name="T45" fmla="*/ 147513 h 461"/>
              <a:gd name="T46" fmla="*/ 123788 w 462"/>
              <a:gd name="T47" fmla="*/ 139844 h 461"/>
              <a:gd name="T48" fmla="*/ 127389 w 462"/>
              <a:gd name="T49" fmla="*/ 147513 h 461"/>
              <a:gd name="T50" fmla="*/ 87777 w 462"/>
              <a:gd name="T51" fmla="*/ 167813 h 46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462" h="461">
                <a:moveTo>
                  <a:pt x="230" y="9"/>
                </a:moveTo>
                <a:lnTo>
                  <a:pt x="230" y="9"/>
                </a:lnTo>
                <a:cubicBezTo>
                  <a:pt x="98" y="9"/>
                  <a:pt x="0" y="106"/>
                  <a:pt x="0" y="239"/>
                </a:cubicBezTo>
                <a:cubicBezTo>
                  <a:pt x="0" y="363"/>
                  <a:pt x="107" y="460"/>
                  <a:pt x="230" y="460"/>
                </a:cubicBezTo>
                <a:cubicBezTo>
                  <a:pt x="363" y="460"/>
                  <a:pt x="461" y="354"/>
                  <a:pt x="461" y="230"/>
                </a:cubicBezTo>
                <a:cubicBezTo>
                  <a:pt x="461" y="106"/>
                  <a:pt x="355" y="0"/>
                  <a:pt x="230" y="9"/>
                </a:cubicBezTo>
                <a:close/>
                <a:moveTo>
                  <a:pt x="248" y="79"/>
                </a:moveTo>
                <a:lnTo>
                  <a:pt x="248" y="79"/>
                </a:lnTo>
                <a:cubicBezTo>
                  <a:pt x="275" y="79"/>
                  <a:pt x="283" y="97"/>
                  <a:pt x="283" y="106"/>
                </a:cubicBezTo>
                <a:cubicBezTo>
                  <a:pt x="283" y="132"/>
                  <a:pt x="266" y="150"/>
                  <a:pt x="239" y="150"/>
                </a:cubicBezTo>
                <a:cubicBezTo>
                  <a:pt x="222" y="150"/>
                  <a:pt x="213" y="132"/>
                  <a:pt x="213" y="115"/>
                </a:cubicBezTo>
                <a:cubicBezTo>
                  <a:pt x="213" y="106"/>
                  <a:pt x="222" y="79"/>
                  <a:pt x="248" y="79"/>
                </a:cubicBezTo>
                <a:close/>
                <a:moveTo>
                  <a:pt x="195" y="372"/>
                </a:moveTo>
                <a:lnTo>
                  <a:pt x="195" y="372"/>
                </a:lnTo>
                <a:cubicBezTo>
                  <a:pt x="177" y="372"/>
                  <a:pt x="169" y="363"/>
                  <a:pt x="177" y="327"/>
                </a:cubicBezTo>
                <a:cubicBezTo>
                  <a:pt x="195" y="248"/>
                  <a:pt x="195" y="248"/>
                  <a:pt x="195" y="248"/>
                </a:cubicBezTo>
                <a:cubicBezTo>
                  <a:pt x="195" y="239"/>
                  <a:pt x="195" y="230"/>
                  <a:pt x="195" y="230"/>
                </a:cubicBezTo>
                <a:cubicBezTo>
                  <a:pt x="186" y="230"/>
                  <a:pt x="169" y="239"/>
                  <a:pt x="160" y="248"/>
                </a:cubicBezTo>
                <a:cubicBezTo>
                  <a:pt x="151" y="239"/>
                  <a:pt x="151" y="239"/>
                  <a:pt x="151" y="239"/>
                </a:cubicBezTo>
                <a:cubicBezTo>
                  <a:pt x="186" y="204"/>
                  <a:pt x="230" y="185"/>
                  <a:pt x="248" y="185"/>
                </a:cubicBezTo>
                <a:cubicBezTo>
                  <a:pt x="266" y="185"/>
                  <a:pt x="266" y="204"/>
                  <a:pt x="266" y="230"/>
                </a:cubicBezTo>
                <a:cubicBezTo>
                  <a:pt x="239" y="310"/>
                  <a:pt x="239" y="310"/>
                  <a:pt x="239" y="310"/>
                </a:cubicBezTo>
                <a:cubicBezTo>
                  <a:pt x="239" y="327"/>
                  <a:pt x="239" y="327"/>
                  <a:pt x="239" y="327"/>
                </a:cubicBezTo>
                <a:cubicBezTo>
                  <a:pt x="248" y="327"/>
                  <a:pt x="266" y="327"/>
                  <a:pt x="275" y="310"/>
                </a:cubicBezTo>
                <a:cubicBezTo>
                  <a:pt x="283" y="327"/>
                  <a:pt x="283" y="327"/>
                  <a:pt x="283" y="327"/>
                </a:cubicBezTo>
                <a:cubicBezTo>
                  <a:pt x="248" y="363"/>
                  <a:pt x="213" y="372"/>
                  <a:pt x="195" y="372"/>
                </a:cubicBezTo>
                <a:close/>
              </a:path>
            </a:pathLst>
          </a:custGeom>
          <a:solidFill>
            <a:schemeClr val="bg1"/>
          </a:solid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7"/>
                    </a:srgbClr>
                  </a:outerShdw>
                </a:effectLst>
              </a14:hiddenEffects>
            </a:ext>
          </a:extLst>
        </p:spPr>
        <p:txBody>
          <a:bodyPr wrap="none" lIns="21431" tIns="10716" rIns="21431" bIns="10716"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25"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11" name="TextBox 38">
            <a:extLst>
              <a:ext uri="{FF2B5EF4-FFF2-40B4-BE49-F238E27FC236}">
                <a16:creationId xmlns:a16="http://schemas.microsoft.com/office/drawing/2014/main" id="{68E2C207-30E5-43A0-A862-BF21FF189C05}"/>
              </a:ext>
            </a:extLst>
          </p:cNvPr>
          <p:cNvSpPr txBox="1"/>
          <p:nvPr/>
        </p:nvSpPr>
        <p:spPr>
          <a:xfrm>
            <a:off x="896004" y="1394714"/>
            <a:ext cx="4619626" cy="132343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0" b="1" i="0" u="none" strike="noStrike" kern="1200" cap="none" spc="0" normalizeH="0" baseline="0" noProof="0" dirty="0">
                <a:ln>
                  <a:noFill/>
                </a:ln>
                <a:solidFill>
                  <a:srgbClr val="000000">
                    <a:lumMod val="85000"/>
                    <a:lumOff val="15000"/>
                  </a:srgbClr>
                </a:solidFill>
                <a:effectLst/>
                <a:uLnTx/>
                <a:uFillTx/>
                <a:latin typeface="等线 Light" panose="020F0302020204030204"/>
                <a:ea typeface="+mn-ea"/>
                <a:cs typeface="Arial" panose="020B0604020202020204" pitchFamily="34" charset="0"/>
              </a:rPr>
              <a:t>Your Title </a:t>
            </a:r>
            <a:r>
              <a:rPr kumimoji="0" lang="en-US" sz="4000" b="1" i="0" u="none" strike="noStrike" kern="1200" cap="none" spc="0" normalizeH="0" baseline="0" noProof="0">
                <a:ln>
                  <a:noFill/>
                </a:ln>
                <a:solidFill>
                  <a:srgbClr val="000000">
                    <a:lumMod val="85000"/>
                    <a:lumOff val="15000"/>
                  </a:srgbClr>
                </a:solidFill>
                <a:effectLst/>
                <a:uLnTx/>
                <a:uFillTx/>
                <a:latin typeface="等线 Light" panose="020F0302020204030204"/>
                <a:ea typeface="+mn-ea"/>
                <a:cs typeface="Arial" panose="020B0604020202020204" pitchFamily="34" charset="0"/>
              </a:rPr>
              <a:t>Tex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0" b="1" i="0" u="none" strike="noStrike" kern="1200" cap="none" spc="0" normalizeH="0" baseline="0" noProof="0">
                <a:ln>
                  <a:noFill/>
                </a:ln>
                <a:solidFill>
                  <a:srgbClr val="000000">
                    <a:lumMod val="85000"/>
                    <a:lumOff val="15000"/>
                  </a:srgbClr>
                </a:solidFill>
                <a:effectLst/>
                <a:uLnTx/>
                <a:uFillTx/>
                <a:latin typeface="等线 Light" panose="020F0302020204030204"/>
                <a:ea typeface="+mn-ea"/>
                <a:cs typeface="Arial" panose="020B0604020202020204" pitchFamily="34" charset="0"/>
              </a:rPr>
              <a:t>Goes </a:t>
            </a:r>
            <a:r>
              <a:rPr kumimoji="0" lang="en-US" sz="4000" b="1" i="0" u="none" strike="noStrike" kern="1200" cap="none" spc="0" normalizeH="0" baseline="0" noProof="0" dirty="0">
                <a:ln>
                  <a:noFill/>
                </a:ln>
                <a:solidFill>
                  <a:srgbClr val="000000">
                    <a:lumMod val="85000"/>
                    <a:lumOff val="15000"/>
                  </a:srgbClr>
                </a:solidFill>
                <a:effectLst/>
                <a:uLnTx/>
                <a:uFillTx/>
                <a:latin typeface="等线 Light" panose="020F0302020204030204"/>
                <a:ea typeface="+mn-ea"/>
                <a:cs typeface="Arial" panose="020B0604020202020204" pitchFamily="34" charset="0"/>
              </a:rPr>
              <a:t>Here</a:t>
            </a:r>
          </a:p>
        </p:txBody>
      </p:sp>
      <p:sp>
        <p:nvSpPr>
          <p:cNvPr id="12" name="TextBox 39">
            <a:extLst>
              <a:ext uri="{FF2B5EF4-FFF2-40B4-BE49-F238E27FC236}">
                <a16:creationId xmlns:a16="http://schemas.microsoft.com/office/drawing/2014/main" id="{94DE9EC8-4621-446B-9486-311CEEF8AF91}"/>
              </a:ext>
            </a:extLst>
          </p:cNvPr>
          <p:cNvSpPr txBox="1"/>
          <p:nvPr/>
        </p:nvSpPr>
        <p:spPr>
          <a:xfrm>
            <a:off x="943630" y="2829800"/>
            <a:ext cx="4572000" cy="1183466"/>
          </a:xfrm>
          <a:prstGeom prst="rect">
            <a:avLst/>
          </a:prstGeom>
          <a:noFill/>
        </p:spPr>
        <p:txBody>
          <a:bodyPr wrap="square" rtlCol="0">
            <a:spAutoFit/>
          </a:bodyPr>
          <a:lstStyle/>
          <a:p>
            <a:pPr marL="0" marR="0" lvl="0" indent="0" algn="l" defTabSz="914400" rtl="0" eaLnBrk="1" fontAlgn="auto" latinLnBrk="0" hangingPunct="1">
              <a:lnSpc>
                <a:spcPct val="13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000000">
                    <a:lumMod val="65000"/>
                    <a:lumOff val="35000"/>
                  </a:srgbClr>
                </a:solidFill>
                <a:effectLst/>
                <a:uLnTx/>
                <a:uFillTx/>
                <a:latin typeface="等线" panose="020F0502020204030204"/>
                <a:ea typeface="Open Sans" panose="020B0606030504020204" pitchFamily="34" charset="0"/>
                <a:cs typeface="Segoe UI" panose="020B0502040204020203" pitchFamily="34" charset="0"/>
              </a:rPr>
              <a:t>Leverage agile frameworks to provide a robust synopsis for high level overviews. Leverage agile frameworks to provide a robust synopsis for high level overviews.</a:t>
            </a:r>
          </a:p>
          <a:p>
            <a:pPr marL="0" marR="0" lvl="0" indent="0" algn="l" defTabSz="914400" rtl="0" eaLnBrk="1" fontAlgn="auto" latinLnBrk="0" hangingPunct="1">
              <a:lnSpc>
                <a:spcPct val="13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000000">
                  <a:lumMod val="65000"/>
                  <a:lumOff val="35000"/>
                </a:srgbClr>
              </a:solidFill>
              <a:effectLst/>
              <a:uLnTx/>
              <a:uFillTx/>
              <a:latin typeface="等线" panose="020F0502020204030204"/>
              <a:ea typeface="Open Sans" panose="020B0606030504020204" pitchFamily="34" charset="0"/>
              <a:cs typeface="Segoe UI" panose="020B0502040204020203" pitchFamily="34" charset="0"/>
            </a:endParaRPr>
          </a:p>
        </p:txBody>
      </p:sp>
      <p:grpSp>
        <p:nvGrpSpPr>
          <p:cNvPr id="13" name="Group 10">
            <a:extLst>
              <a:ext uri="{FF2B5EF4-FFF2-40B4-BE49-F238E27FC236}">
                <a16:creationId xmlns:a16="http://schemas.microsoft.com/office/drawing/2014/main" id="{C56FF6FA-C1A5-4F45-A610-7FE42A9814BD}"/>
              </a:ext>
            </a:extLst>
          </p:cNvPr>
          <p:cNvGrpSpPr/>
          <p:nvPr/>
        </p:nvGrpSpPr>
        <p:grpSpPr>
          <a:xfrm>
            <a:off x="7820037" y="433706"/>
            <a:ext cx="2104769" cy="2104769"/>
            <a:chOff x="7820037" y="433706"/>
            <a:chExt cx="2104769" cy="2104769"/>
          </a:xfrm>
        </p:grpSpPr>
        <p:sp>
          <p:nvSpPr>
            <p:cNvPr id="14" name="Oval 3">
              <a:extLst>
                <a:ext uri="{FF2B5EF4-FFF2-40B4-BE49-F238E27FC236}">
                  <a16:creationId xmlns:a16="http://schemas.microsoft.com/office/drawing/2014/main" id="{92F7832D-0812-432A-B9E9-659ACB7F1B4B}"/>
                </a:ext>
              </a:extLst>
            </p:cNvPr>
            <p:cNvSpPr/>
            <p:nvPr/>
          </p:nvSpPr>
          <p:spPr>
            <a:xfrm>
              <a:off x="7820037" y="433706"/>
              <a:ext cx="2104769" cy="2104769"/>
            </a:xfrm>
            <a:prstGeom prst="ellipse">
              <a:avLst/>
            </a:prstGeom>
            <a:solidFill>
              <a:schemeClr val="accent3"/>
            </a:solidFill>
            <a:ln>
              <a:noFill/>
            </a:ln>
            <a:effectLst>
              <a:outerShdw blurRad="317500" dist="152400" dir="2700000" algn="tl" rotWithShape="0">
                <a:prstClr val="black">
                  <a:alpha val="18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25" b="0" i="0" u="none" strike="noStrike" kern="1200" cap="none" spc="0" normalizeH="0" baseline="0" noProof="0">
                <a:ln>
                  <a:noFill/>
                </a:ln>
                <a:solidFill>
                  <a:srgbClr val="FFFFFF"/>
                </a:solidFill>
                <a:effectLst/>
                <a:uLnTx/>
                <a:uFillTx/>
                <a:latin typeface="等线" panose="020F0502020204030204"/>
                <a:ea typeface="+mn-ea"/>
                <a:cs typeface="+mn-cs"/>
              </a:endParaRPr>
            </a:p>
          </p:txBody>
        </p:sp>
        <p:sp>
          <p:nvSpPr>
            <p:cNvPr id="15" name="TextBox 47">
              <a:extLst>
                <a:ext uri="{FF2B5EF4-FFF2-40B4-BE49-F238E27FC236}">
                  <a16:creationId xmlns:a16="http://schemas.microsoft.com/office/drawing/2014/main" id="{237F8C9C-09C6-4647-A608-0EB96BEF444F}"/>
                </a:ext>
              </a:extLst>
            </p:cNvPr>
            <p:cNvSpPr txBox="1"/>
            <p:nvPr/>
          </p:nvSpPr>
          <p:spPr>
            <a:xfrm>
              <a:off x="8304820" y="1107597"/>
              <a:ext cx="1467068" cy="592022"/>
            </a:xfrm>
            <a:prstGeom prst="rect">
              <a:avLst/>
            </a:prstGeom>
            <a:noFill/>
          </p:spPr>
          <p:txBody>
            <a:bodyPr wrap="square" rtlCol="0">
              <a:sp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FFFFFF"/>
                  </a:solidFill>
                  <a:effectLst/>
                  <a:uLnTx/>
                  <a:uFillTx/>
                  <a:latin typeface="等线 Light" panose="020F0302020204030204"/>
                  <a:ea typeface="+mn-ea"/>
                  <a:cs typeface="+mn-cs"/>
                </a:rPr>
                <a:t>12.7</a:t>
              </a:r>
              <a:r>
                <a:rPr kumimoji="0" lang="en-US" sz="3200" b="1" i="0" u="none" strike="noStrike" kern="1200" cap="none" spc="0" normalizeH="0" baseline="30000" noProof="0" dirty="0">
                  <a:ln>
                    <a:noFill/>
                  </a:ln>
                  <a:solidFill>
                    <a:srgbClr val="FFFFFF"/>
                  </a:solidFill>
                  <a:effectLst/>
                  <a:uLnTx/>
                  <a:uFillTx/>
                  <a:latin typeface="等线 Light" panose="020F0302020204030204"/>
                  <a:ea typeface="+mn-ea"/>
                  <a:cs typeface="+mn-cs"/>
                </a:rPr>
                <a:t>%</a:t>
              </a:r>
            </a:p>
          </p:txBody>
        </p:sp>
      </p:grpSp>
      <p:grpSp>
        <p:nvGrpSpPr>
          <p:cNvPr id="16" name="Group 12">
            <a:extLst>
              <a:ext uri="{FF2B5EF4-FFF2-40B4-BE49-F238E27FC236}">
                <a16:creationId xmlns:a16="http://schemas.microsoft.com/office/drawing/2014/main" id="{E945BADC-C748-4A0A-AD34-41B9F51C7C6E}"/>
              </a:ext>
            </a:extLst>
          </p:cNvPr>
          <p:cNvGrpSpPr/>
          <p:nvPr/>
        </p:nvGrpSpPr>
        <p:grpSpPr>
          <a:xfrm>
            <a:off x="9195299" y="1441584"/>
            <a:ext cx="1641531" cy="1641531"/>
            <a:chOff x="9195299" y="1441584"/>
            <a:chExt cx="1641531" cy="1641531"/>
          </a:xfrm>
        </p:grpSpPr>
        <p:sp>
          <p:nvSpPr>
            <p:cNvPr id="17" name="Oval 6">
              <a:extLst>
                <a:ext uri="{FF2B5EF4-FFF2-40B4-BE49-F238E27FC236}">
                  <a16:creationId xmlns:a16="http://schemas.microsoft.com/office/drawing/2014/main" id="{BA904B2D-6C54-472E-B9F4-3E20F770B8F1}"/>
                </a:ext>
              </a:extLst>
            </p:cNvPr>
            <p:cNvSpPr/>
            <p:nvPr/>
          </p:nvSpPr>
          <p:spPr>
            <a:xfrm>
              <a:off x="9195299" y="1441584"/>
              <a:ext cx="1641531" cy="1641531"/>
            </a:xfrm>
            <a:prstGeom prst="ellipse">
              <a:avLst/>
            </a:prstGeom>
            <a:solidFill>
              <a:schemeClr val="accent6"/>
            </a:solidFill>
            <a:ln>
              <a:noFill/>
            </a:ln>
            <a:effectLst>
              <a:outerShdw blurRad="317500" dist="152400" dir="2700000" algn="tl" rotWithShape="0">
                <a:prstClr val="black">
                  <a:alpha val="18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25" b="0" i="0" u="none" strike="noStrike" kern="1200" cap="none" spc="0" normalizeH="0" baseline="0" noProof="0" dirty="0">
                <a:ln>
                  <a:noFill/>
                </a:ln>
                <a:solidFill>
                  <a:srgbClr val="FFFFFF"/>
                </a:solidFill>
                <a:effectLst/>
                <a:uLnTx/>
                <a:uFillTx/>
                <a:latin typeface="等线" panose="020F0502020204030204"/>
                <a:ea typeface="+mn-ea"/>
                <a:cs typeface="+mn-cs"/>
              </a:endParaRPr>
            </a:p>
          </p:txBody>
        </p:sp>
        <p:sp>
          <p:nvSpPr>
            <p:cNvPr id="18" name="Rectangle 45">
              <a:extLst>
                <a:ext uri="{FF2B5EF4-FFF2-40B4-BE49-F238E27FC236}">
                  <a16:creationId xmlns:a16="http://schemas.microsoft.com/office/drawing/2014/main" id="{641528B9-37C5-4957-ADB2-B09AAFDE93AE}"/>
                </a:ext>
              </a:extLst>
            </p:cNvPr>
            <p:cNvSpPr/>
            <p:nvPr/>
          </p:nvSpPr>
          <p:spPr>
            <a:xfrm>
              <a:off x="9763813" y="2010098"/>
              <a:ext cx="504502" cy="504502"/>
            </a:xfrm>
            <a:prstGeom prst="rect">
              <a:avLst/>
            </a:prstGeom>
            <a:blipFill>
              <a:blip r:embed="rId4">
                <a:extLst>
                  <a:ext uri="{BEBA8EAE-BF5A-486C-A8C5-ECC9F3942E4B}">
                    <a14:imgProps xmlns:a14="http://schemas.microsoft.com/office/drawing/2010/main">
                      <a14:imgLayer r:embed="rId5">
                        <a14:imgEffect>
                          <a14:brightnessContrast bright="100000"/>
                        </a14:imgEffect>
                      </a14:imgLayer>
                    </a14:imgProps>
                  </a:ext>
                </a:extLst>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等线" panose="020F0502020204030204"/>
                <a:ea typeface="+mn-ea"/>
                <a:cs typeface="+mn-cs"/>
              </a:endParaRPr>
            </a:p>
          </p:txBody>
        </p:sp>
      </p:grpSp>
      <p:grpSp>
        <p:nvGrpSpPr>
          <p:cNvPr id="19" name="Group 11">
            <a:extLst>
              <a:ext uri="{FF2B5EF4-FFF2-40B4-BE49-F238E27FC236}">
                <a16:creationId xmlns:a16="http://schemas.microsoft.com/office/drawing/2014/main" id="{83E5E54E-09E0-4276-B36C-DCD6AF40DF51}"/>
              </a:ext>
            </a:extLst>
          </p:cNvPr>
          <p:cNvGrpSpPr/>
          <p:nvPr/>
        </p:nvGrpSpPr>
        <p:grpSpPr>
          <a:xfrm>
            <a:off x="9759586" y="2617549"/>
            <a:ext cx="1266870" cy="1266870"/>
            <a:chOff x="9759586" y="2617549"/>
            <a:chExt cx="1266870" cy="1266870"/>
          </a:xfrm>
        </p:grpSpPr>
        <p:sp>
          <p:nvSpPr>
            <p:cNvPr id="20" name="Oval 8">
              <a:extLst>
                <a:ext uri="{FF2B5EF4-FFF2-40B4-BE49-F238E27FC236}">
                  <a16:creationId xmlns:a16="http://schemas.microsoft.com/office/drawing/2014/main" id="{8889B414-D4D3-4E10-9FEE-50EDB6E066BE}"/>
                </a:ext>
              </a:extLst>
            </p:cNvPr>
            <p:cNvSpPr/>
            <p:nvPr/>
          </p:nvSpPr>
          <p:spPr>
            <a:xfrm>
              <a:off x="9759586" y="2617549"/>
              <a:ext cx="1266870" cy="1266870"/>
            </a:xfrm>
            <a:prstGeom prst="ellipse">
              <a:avLst/>
            </a:prstGeom>
            <a:solidFill>
              <a:schemeClr val="accent5"/>
            </a:solidFill>
            <a:ln>
              <a:noFill/>
            </a:ln>
            <a:effectLst>
              <a:outerShdw blurRad="317500" dist="152400" dir="2700000" algn="tl" rotWithShape="0">
                <a:prstClr val="black">
                  <a:alpha val="18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25" b="0" i="0" u="none" strike="noStrike" kern="1200" cap="none" spc="0" normalizeH="0" baseline="0" noProof="0">
                <a:ln>
                  <a:noFill/>
                </a:ln>
                <a:solidFill>
                  <a:srgbClr val="FFFFFF"/>
                </a:solidFill>
                <a:effectLst/>
                <a:uLnTx/>
                <a:uFillTx/>
                <a:latin typeface="等线" panose="020F0502020204030204"/>
                <a:ea typeface="+mn-ea"/>
                <a:cs typeface="+mn-cs"/>
              </a:endParaRPr>
            </a:p>
          </p:txBody>
        </p:sp>
        <p:sp>
          <p:nvSpPr>
            <p:cNvPr id="21" name="Rectangle 46">
              <a:extLst>
                <a:ext uri="{FF2B5EF4-FFF2-40B4-BE49-F238E27FC236}">
                  <a16:creationId xmlns:a16="http://schemas.microsoft.com/office/drawing/2014/main" id="{E3F6BBDD-A8F4-4E78-A403-C8E536BDA968}"/>
                </a:ext>
              </a:extLst>
            </p:cNvPr>
            <p:cNvSpPr/>
            <p:nvPr/>
          </p:nvSpPr>
          <p:spPr>
            <a:xfrm>
              <a:off x="10140902" y="2998865"/>
              <a:ext cx="504238" cy="504238"/>
            </a:xfrm>
            <a:prstGeom prst="rect">
              <a:avLst/>
            </a:prstGeom>
            <a:blipFill>
              <a:blip r:embed="rId6">
                <a:extLst>
                  <a:ext uri="{BEBA8EAE-BF5A-486C-A8C5-ECC9F3942E4B}">
                    <a14:imgProps xmlns:a14="http://schemas.microsoft.com/office/drawing/2010/main">
                      <a14:imgLayer r:embed="rId7">
                        <a14:imgEffect>
                          <a14:brightnessContrast bright="100000"/>
                        </a14:imgEffect>
                      </a14:imgLayer>
                    </a14:imgProps>
                  </a:ext>
                </a:extLst>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等线" panose="020F0502020204030204"/>
                <a:ea typeface="+mn-ea"/>
                <a:cs typeface="+mn-cs"/>
              </a:endParaRPr>
            </a:p>
          </p:txBody>
        </p:sp>
      </p:grpSp>
      <p:grpSp>
        <p:nvGrpSpPr>
          <p:cNvPr id="22" name="Group 9">
            <a:extLst>
              <a:ext uri="{FF2B5EF4-FFF2-40B4-BE49-F238E27FC236}">
                <a16:creationId xmlns:a16="http://schemas.microsoft.com/office/drawing/2014/main" id="{278676D7-518D-4034-B768-5D4C7B79A37C}"/>
              </a:ext>
            </a:extLst>
          </p:cNvPr>
          <p:cNvGrpSpPr/>
          <p:nvPr/>
        </p:nvGrpSpPr>
        <p:grpSpPr>
          <a:xfrm>
            <a:off x="6558018" y="1097145"/>
            <a:ext cx="1641531" cy="1641531"/>
            <a:chOff x="6558018" y="1097145"/>
            <a:chExt cx="1641531" cy="1641531"/>
          </a:xfrm>
        </p:grpSpPr>
        <p:sp>
          <p:nvSpPr>
            <p:cNvPr id="23" name="Oval 7">
              <a:extLst>
                <a:ext uri="{FF2B5EF4-FFF2-40B4-BE49-F238E27FC236}">
                  <a16:creationId xmlns:a16="http://schemas.microsoft.com/office/drawing/2014/main" id="{947EC9B1-4D82-4B06-8CE2-744B2E094D59}"/>
                </a:ext>
              </a:extLst>
            </p:cNvPr>
            <p:cNvSpPr/>
            <p:nvPr/>
          </p:nvSpPr>
          <p:spPr>
            <a:xfrm>
              <a:off x="6558018" y="1097145"/>
              <a:ext cx="1641531" cy="1641531"/>
            </a:xfrm>
            <a:prstGeom prst="ellipse">
              <a:avLst/>
            </a:prstGeom>
            <a:solidFill>
              <a:schemeClr val="accent2"/>
            </a:solidFill>
            <a:ln>
              <a:noFill/>
            </a:ln>
            <a:effectLst>
              <a:outerShdw blurRad="317500" dist="152400" dir="2700000" algn="tl" rotWithShape="0">
                <a:prstClr val="black">
                  <a:alpha val="18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25" b="0" i="0" u="none" strike="noStrike" kern="1200" cap="none" spc="0" normalizeH="0" baseline="0" noProof="0">
                <a:ln>
                  <a:noFill/>
                </a:ln>
                <a:solidFill>
                  <a:srgbClr val="FFFFFF"/>
                </a:solidFill>
                <a:effectLst/>
                <a:uLnTx/>
                <a:uFillTx/>
                <a:latin typeface="等线" panose="020F0502020204030204"/>
                <a:ea typeface="+mn-ea"/>
                <a:cs typeface="+mn-cs"/>
              </a:endParaRPr>
            </a:p>
          </p:txBody>
        </p:sp>
        <p:sp>
          <p:nvSpPr>
            <p:cNvPr id="24" name="Rectangle 2">
              <a:extLst>
                <a:ext uri="{FF2B5EF4-FFF2-40B4-BE49-F238E27FC236}">
                  <a16:creationId xmlns:a16="http://schemas.microsoft.com/office/drawing/2014/main" id="{B90530E9-3E82-4A43-A452-A744187E7DDA}"/>
                </a:ext>
              </a:extLst>
            </p:cNvPr>
            <p:cNvSpPr/>
            <p:nvPr/>
          </p:nvSpPr>
          <p:spPr>
            <a:xfrm>
              <a:off x="7086893" y="1626020"/>
              <a:ext cx="583780" cy="583780"/>
            </a:xfrm>
            <a:prstGeom prst="rect">
              <a:avLst/>
            </a:prstGeom>
            <a:blipFill>
              <a:blip r:embed="rId8">
                <a:extLst>
                  <a:ext uri="{BEBA8EAE-BF5A-486C-A8C5-ECC9F3942E4B}">
                    <a14:imgProps xmlns:a14="http://schemas.microsoft.com/office/drawing/2010/main">
                      <a14:imgLayer r:embed="rId9">
                        <a14:imgEffect>
                          <a14:brightnessContrast bright="100000"/>
                        </a14:imgEffect>
                      </a14:imgLayer>
                    </a14:imgProps>
                  </a:ext>
                </a:extLst>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等线" panose="020F0502020204030204"/>
                <a:ea typeface="+mn-ea"/>
                <a:cs typeface="+mn-cs"/>
              </a:endParaRPr>
            </a:p>
          </p:txBody>
        </p:sp>
      </p:grpSp>
      <p:sp>
        <p:nvSpPr>
          <p:cNvPr id="25" name="Oval 4">
            <a:extLst>
              <a:ext uri="{FF2B5EF4-FFF2-40B4-BE49-F238E27FC236}">
                <a16:creationId xmlns:a16="http://schemas.microsoft.com/office/drawing/2014/main" id="{F9790096-FA04-403A-A725-1CA25A92342C}"/>
              </a:ext>
            </a:extLst>
          </p:cNvPr>
          <p:cNvSpPr/>
          <p:nvPr/>
        </p:nvSpPr>
        <p:spPr>
          <a:xfrm>
            <a:off x="7807424" y="1887164"/>
            <a:ext cx="942636" cy="942636"/>
          </a:xfrm>
          <a:prstGeom prst="ellipse">
            <a:avLst/>
          </a:prstGeom>
          <a:solidFill>
            <a:schemeClr val="accent4"/>
          </a:solidFill>
          <a:ln>
            <a:noFill/>
          </a:ln>
          <a:effectLst>
            <a:outerShdw blurRad="317500" dist="152400" dir="2700000" algn="tl" rotWithShape="0">
              <a:prstClr val="black">
                <a:alpha val="18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25" b="0" i="0" u="none" strike="noStrike" kern="1200" cap="none" spc="0" normalizeH="0" baseline="0" noProof="0">
              <a:ln>
                <a:noFill/>
              </a:ln>
              <a:solidFill>
                <a:srgbClr val="FFFFFF"/>
              </a:solidFill>
              <a:effectLst/>
              <a:uLnTx/>
              <a:uFillTx/>
              <a:latin typeface="等线" panose="020F0502020204030204"/>
              <a:ea typeface="+mn-ea"/>
              <a:cs typeface="+mn-cs"/>
            </a:endParaRPr>
          </a:p>
        </p:txBody>
      </p:sp>
      <p:grpSp>
        <p:nvGrpSpPr>
          <p:cNvPr id="26" name="Group 1">
            <a:extLst>
              <a:ext uri="{FF2B5EF4-FFF2-40B4-BE49-F238E27FC236}">
                <a16:creationId xmlns:a16="http://schemas.microsoft.com/office/drawing/2014/main" id="{4646CCFF-60FA-49B6-B07B-1838FD2E0E49}"/>
              </a:ext>
            </a:extLst>
          </p:cNvPr>
          <p:cNvGrpSpPr/>
          <p:nvPr/>
        </p:nvGrpSpPr>
        <p:grpSpPr>
          <a:xfrm>
            <a:off x="6210463" y="2448710"/>
            <a:ext cx="1394925" cy="1394925"/>
            <a:chOff x="6210463" y="2448710"/>
            <a:chExt cx="1394925" cy="1394925"/>
          </a:xfrm>
        </p:grpSpPr>
        <p:sp>
          <p:nvSpPr>
            <p:cNvPr id="27" name="Oval 5">
              <a:extLst>
                <a:ext uri="{FF2B5EF4-FFF2-40B4-BE49-F238E27FC236}">
                  <a16:creationId xmlns:a16="http://schemas.microsoft.com/office/drawing/2014/main" id="{D816AAB0-62C9-40F8-A348-80BCA04B2539}"/>
                </a:ext>
              </a:extLst>
            </p:cNvPr>
            <p:cNvSpPr/>
            <p:nvPr/>
          </p:nvSpPr>
          <p:spPr>
            <a:xfrm>
              <a:off x="6210463" y="2448710"/>
              <a:ext cx="1394925" cy="1394925"/>
            </a:xfrm>
            <a:prstGeom prst="ellipse">
              <a:avLst/>
            </a:prstGeom>
            <a:solidFill>
              <a:schemeClr val="accent1"/>
            </a:solidFill>
            <a:ln>
              <a:noFill/>
            </a:ln>
            <a:effectLst>
              <a:outerShdw blurRad="317500" dist="152400" dir="2700000" algn="tl" rotWithShape="0">
                <a:prstClr val="black">
                  <a:alpha val="18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25" b="0" i="0" u="none" strike="noStrike" kern="1200" cap="none" spc="0" normalizeH="0" baseline="0" noProof="0">
                <a:ln>
                  <a:noFill/>
                </a:ln>
                <a:solidFill>
                  <a:srgbClr val="FFFFFF"/>
                </a:solidFill>
                <a:effectLst/>
                <a:uLnTx/>
                <a:uFillTx/>
                <a:latin typeface="等线" panose="020F0502020204030204"/>
                <a:ea typeface="+mn-ea"/>
                <a:cs typeface="+mn-cs"/>
              </a:endParaRPr>
            </a:p>
          </p:txBody>
        </p:sp>
        <p:sp>
          <p:nvSpPr>
            <p:cNvPr id="28" name="Rectangle 44">
              <a:extLst>
                <a:ext uri="{FF2B5EF4-FFF2-40B4-BE49-F238E27FC236}">
                  <a16:creationId xmlns:a16="http://schemas.microsoft.com/office/drawing/2014/main" id="{212E403A-E4E3-406E-84DF-BD5AD2240541}"/>
                </a:ext>
              </a:extLst>
            </p:cNvPr>
            <p:cNvSpPr/>
            <p:nvPr/>
          </p:nvSpPr>
          <p:spPr>
            <a:xfrm>
              <a:off x="6630800" y="2869047"/>
              <a:ext cx="554250" cy="554250"/>
            </a:xfrm>
            <a:prstGeom prst="rect">
              <a:avLst/>
            </a:prstGeom>
            <a:blipFill>
              <a:blip r:embed="rId10">
                <a:extLst>
                  <a:ext uri="{BEBA8EAE-BF5A-486C-A8C5-ECC9F3942E4B}">
                    <a14:imgProps xmlns:a14="http://schemas.microsoft.com/office/drawing/2010/main">
                      <a14:imgLayer r:embed="rId11">
                        <a14:imgEffect>
                          <a14:brightnessContrast bright="100000"/>
                        </a14:imgEffect>
                      </a14:imgLayer>
                    </a14:imgProps>
                  </a:ext>
                </a:extLst>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等线" panose="020F0502020204030204"/>
                <a:ea typeface="+mn-ea"/>
                <a:cs typeface="+mn-cs"/>
              </a:endParaRPr>
            </a:p>
          </p:txBody>
        </p:sp>
      </p:grpSp>
    </p:spTree>
    <p:extLst>
      <p:ext uri="{BB962C8B-B14F-4D97-AF65-F5344CB8AC3E}">
        <p14:creationId xmlns:p14="http://schemas.microsoft.com/office/powerpoint/2010/main" val="3502126855"/>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50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10" presetClass="entr" presetSubtype="0" fill="hold" nodeType="withEffect">
                                  <p:stCondLst>
                                    <p:cond delay="750"/>
                                  </p:stCondLst>
                                  <p:childTnLst>
                                    <p:set>
                                      <p:cBhvr>
                                        <p:cTn id="9" dur="1" fill="hold">
                                          <p:stCondLst>
                                            <p:cond delay="0"/>
                                          </p:stCondLst>
                                        </p:cTn>
                                        <p:tgtEl>
                                          <p:spTgt spid="6"/>
                                        </p:tgtEl>
                                        <p:attrNameLst>
                                          <p:attrName>style.visibility</p:attrName>
                                        </p:attrNameLst>
                                      </p:cBhvr>
                                      <p:to>
                                        <p:strVal val="visible"/>
                                      </p:to>
                                    </p:set>
                                    <p:animEffect transition="in" filter="fade">
                                      <p:cBhvr>
                                        <p:cTn id="10" dur="500"/>
                                        <p:tgtEl>
                                          <p:spTgt spid="6"/>
                                        </p:tgtEl>
                                      </p:cBhvr>
                                    </p:animEffect>
                                  </p:childTnLst>
                                </p:cTn>
                              </p:par>
                              <p:par>
                                <p:cTn id="11" presetID="2" presetClass="entr" presetSubtype="4" decel="100000" fill="hold" grpId="0" nodeType="withEffect">
                                  <p:stCondLst>
                                    <p:cond delay="500"/>
                                  </p:stCondLst>
                                  <p:childTnLst>
                                    <p:set>
                                      <p:cBhvr>
                                        <p:cTn id="12" dur="1" fill="hold">
                                          <p:stCondLst>
                                            <p:cond delay="0"/>
                                          </p:stCondLst>
                                        </p:cTn>
                                        <p:tgtEl>
                                          <p:spTgt spid="2"/>
                                        </p:tgtEl>
                                        <p:attrNameLst>
                                          <p:attrName>style.visibility</p:attrName>
                                        </p:attrNameLst>
                                      </p:cBhvr>
                                      <p:to>
                                        <p:strVal val="visible"/>
                                      </p:to>
                                    </p:set>
                                    <p:anim calcmode="lin" valueType="num">
                                      <p:cBhvr additive="base">
                                        <p:cTn id="13" dur="750" fill="hold"/>
                                        <p:tgtEl>
                                          <p:spTgt spid="2"/>
                                        </p:tgtEl>
                                        <p:attrNameLst>
                                          <p:attrName>ppt_x</p:attrName>
                                        </p:attrNameLst>
                                      </p:cBhvr>
                                      <p:tavLst>
                                        <p:tav tm="0">
                                          <p:val>
                                            <p:strVal val="#ppt_x"/>
                                          </p:val>
                                        </p:tav>
                                        <p:tav tm="100000">
                                          <p:val>
                                            <p:strVal val="#ppt_x"/>
                                          </p:val>
                                        </p:tav>
                                      </p:tavLst>
                                    </p:anim>
                                    <p:anim calcmode="lin" valueType="num">
                                      <p:cBhvr additive="base">
                                        <p:cTn id="14" dur="750" fill="hold"/>
                                        <p:tgtEl>
                                          <p:spTgt spid="2"/>
                                        </p:tgtEl>
                                        <p:attrNameLst>
                                          <p:attrName>ppt_y</p:attrName>
                                        </p:attrNameLst>
                                      </p:cBhvr>
                                      <p:tavLst>
                                        <p:tav tm="0">
                                          <p:val>
                                            <p:strVal val="1+#ppt_h/2"/>
                                          </p:val>
                                        </p:tav>
                                        <p:tav tm="100000">
                                          <p:val>
                                            <p:strVal val="#ppt_y"/>
                                          </p:val>
                                        </p:tav>
                                      </p:tavLst>
                                    </p:anim>
                                  </p:childTnLst>
                                </p:cTn>
                              </p:par>
                              <p:par>
                                <p:cTn id="15" presetID="49" presetClass="entr" presetSubtype="0" decel="100000" fill="hold" grpId="0" nodeType="withEffect">
                                  <p:stCondLst>
                                    <p:cond delay="750"/>
                                  </p:stCondLst>
                                  <p:childTnLst>
                                    <p:set>
                                      <p:cBhvr>
                                        <p:cTn id="16" dur="1" fill="hold">
                                          <p:stCondLst>
                                            <p:cond delay="0"/>
                                          </p:stCondLst>
                                        </p:cTn>
                                        <p:tgtEl>
                                          <p:spTgt spid="25"/>
                                        </p:tgtEl>
                                        <p:attrNameLst>
                                          <p:attrName>style.visibility</p:attrName>
                                        </p:attrNameLst>
                                      </p:cBhvr>
                                      <p:to>
                                        <p:strVal val="visible"/>
                                      </p:to>
                                    </p:set>
                                    <p:anim calcmode="lin" valueType="num">
                                      <p:cBhvr>
                                        <p:cTn id="17" dur="500" fill="hold"/>
                                        <p:tgtEl>
                                          <p:spTgt spid="25"/>
                                        </p:tgtEl>
                                        <p:attrNameLst>
                                          <p:attrName>ppt_w</p:attrName>
                                        </p:attrNameLst>
                                      </p:cBhvr>
                                      <p:tavLst>
                                        <p:tav tm="0">
                                          <p:val>
                                            <p:fltVal val="0"/>
                                          </p:val>
                                        </p:tav>
                                        <p:tav tm="100000">
                                          <p:val>
                                            <p:strVal val="#ppt_w"/>
                                          </p:val>
                                        </p:tav>
                                      </p:tavLst>
                                    </p:anim>
                                    <p:anim calcmode="lin" valueType="num">
                                      <p:cBhvr>
                                        <p:cTn id="18" dur="500" fill="hold"/>
                                        <p:tgtEl>
                                          <p:spTgt spid="25"/>
                                        </p:tgtEl>
                                        <p:attrNameLst>
                                          <p:attrName>ppt_h</p:attrName>
                                        </p:attrNameLst>
                                      </p:cBhvr>
                                      <p:tavLst>
                                        <p:tav tm="0">
                                          <p:val>
                                            <p:fltVal val="0"/>
                                          </p:val>
                                        </p:tav>
                                        <p:tav tm="100000">
                                          <p:val>
                                            <p:strVal val="#ppt_h"/>
                                          </p:val>
                                        </p:tav>
                                      </p:tavLst>
                                    </p:anim>
                                    <p:anim calcmode="lin" valueType="num">
                                      <p:cBhvr>
                                        <p:cTn id="19" dur="500" fill="hold"/>
                                        <p:tgtEl>
                                          <p:spTgt spid="25"/>
                                        </p:tgtEl>
                                        <p:attrNameLst>
                                          <p:attrName>style.rotation</p:attrName>
                                        </p:attrNameLst>
                                      </p:cBhvr>
                                      <p:tavLst>
                                        <p:tav tm="0">
                                          <p:val>
                                            <p:fltVal val="360"/>
                                          </p:val>
                                        </p:tav>
                                        <p:tav tm="100000">
                                          <p:val>
                                            <p:fltVal val="0"/>
                                          </p:val>
                                        </p:tav>
                                      </p:tavLst>
                                    </p:anim>
                                    <p:animEffect transition="in" filter="fade">
                                      <p:cBhvr>
                                        <p:cTn id="20" dur="500"/>
                                        <p:tgtEl>
                                          <p:spTgt spid="25"/>
                                        </p:tgtEl>
                                      </p:cBhvr>
                                    </p:animEffect>
                                  </p:childTnLst>
                                </p:cTn>
                              </p:par>
                              <p:par>
                                <p:cTn id="21" presetID="18" presetClass="entr" presetSubtype="3" fill="hold" grpId="0" nodeType="withEffect">
                                  <p:stCondLst>
                                    <p:cond delay="750"/>
                                  </p:stCondLst>
                                  <p:iterate type="lt">
                                    <p:tmPct val="0"/>
                                  </p:iterate>
                                  <p:childTnLst>
                                    <p:set>
                                      <p:cBhvr>
                                        <p:cTn id="22" dur="1" fill="hold">
                                          <p:stCondLst>
                                            <p:cond delay="0"/>
                                          </p:stCondLst>
                                        </p:cTn>
                                        <p:tgtEl>
                                          <p:spTgt spid="10"/>
                                        </p:tgtEl>
                                        <p:attrNameLst>
                                          <p:attrName>style.visibility</p:attrName>
                                        </p:attrNameLst>
                                      </p:cBhvr>
                                      <p:to>
                                        <p:strVal val="visible"/>
                                      </p:to>
                                    </p:set>
                                    <p:animEffect transition="in" filter="strips(upRight)">
                                      <p:cBhvr>
                                        <p:cTn id="23" dur="500"/>
                                        <p:tgtEl>
                                          <p:spTgt spid="10"/>
                                        </p:tgtEl>
                                      </p:cBhvr>
                                    </p:animEffect>
                                  </p:childTnLst>
                                </p:cTn>
                              </p:par>
                              <p:par>
                                <p:cTn id="24" presetID="22" presetClass="entr" presetSubtype="8" fill="hold" grpId="0" nodeType="withEffect">
                                  <p:stCondLst>
                                    <p:cond delay="1000"/>
                                  </p:stCondLst>
                                  <p:childTnLst>
                                    <p:set>
                                      <p:cBhvr>
                                        <p:cTn id="25" dur="1" fill="hold">
                                          <p:stCondLst>
                                            <p:cond delay="0"/>
                                          </p:stCondLst>
                                        </p:cTn>
                                        <p:tgtEl>
                                          <p:spTgt spid="9"/>
                                        </p:tgtEl>
                                        <p:attrNameLst>
                                          <p:attrName>style.visibility</p:attrName>
                                        </p:attrNameLst>
                                      </p:cBhvr>
                                      <p:to>
                                        <p:strVal val="visible"/>
                                      </p:to>
                                    </p:set>
                                    <p:animEffect transition="in" filter="wipe(left)">
                                      <p:cBhvr>
                                        <p:cTn id="26" dur="500"/>
                                        <p:tgtEl>
                                          <p:spTgt spid="9"/>
                                        </p:tgtEl>
                                      </p:cBhvr>
                                    </p:animEffect>
                                  </p:childTnLst>
                                </p:cTn>
                              </p:par>
                              <p:par>
                                <p:cTn id="27" presetID="18" presetClass="entr" presetSubtype="3" fill="hold" grpId="0" nodeType="withEffect">
                                  <p:stCondLst>
                                    <p:cond delay="0"/>
                                  </p:stCondLst>
                                  <p:childTnLst>
                                    <p:set>
                                      <p:cBhvr>
                                        <p:cTn id="28" dur="1" fill="hold">
                                          <p:stCondLst>
                                            <p:cond delay="0"/>
                                          </p:stCondLst>
                                        </p:cTn>
                                        <p:tgtEl>
                                          <p:spTgt spid="11"/>
                                        </p:tgtEl>
                                        <p:attrNameLst>
                                          <p:attrName>style.visibility</p:attrName>
                                        </p:attrNameLst>
                                      </p:cBhvr>
                                      <p:to>
                                        <p:strVal val="visible"/>
                                      </p:to>
                                    </p:set>
                                    <p:animEffect transition="in" filter="strips(upRight)">
                                      <p:cBhvr>
                                        <p:cTn id="29" dur="500"/>
                                        <p:tgtEl>
                                          <p:spTgt spid="11"/>
                                        </p:tgtEl>
                                      </p:cBhvr>
                                    </p:animEffect>
                                  </p:childTnLst>
                                </p:cTn>
                              </p:par>
                              <p:par>
                                <p:cTn id="30" presetID="6" presetClass="emph" presetSubtype="0" accel="52000" decel="48000" autoRev="1" fill="hold" grpId="1" nodeType="withEffect">
                                  <p:stCondLst>
                                    <p:cond delay="0"/>
                                  </p:stCondLst>
                                  <p:childTnLst>
                                    <p:animScale>
                                      <p:cBhvr>
                                        <p:cTn id="31" dur="350" fill="hold"/>
                                        <p:tgtEl>
                                          <p:spTgt spid="11"/>
                                        </p:tgtEl>
                                      </p:cBhvr>
                                      <p:by x="110000" y="110000"/>
                                    </p:animScale>
                                  </p:childTnLst>
                                </p:cTn>
                              </p:par>
                              <p:par>
                                <p:cTn id="32" presetID="10" presetClass="entr" presetSubtype="0" fill="hold" grpId="0" nodeType="withEffect">
                                  <p:stCondLst>
                                    <p:cond delay="500"/>
                                  </p:stCondLst>
                                  <p:childTnLst>
                                    <p:set>
                                      <p:cBhvr>
                                        <p:cTn id="33" dur="1" fill="hold">
                                          <p:stCondLst>
                                            <p:cond delay="0"/>
                                          </p:stCondLst>
                                        </p:cTn>
                                        <p:tgtEl>
                                          <p:spTgt spid="12"/>
                                        </p:tgtEl>
                                        <p:attrNameLst>
                                          <p:attrName>style.visibility</p:attrName>
                                        </p:attrNameLst>
                                      </p:cBhvr>
                                      <p:to>
                                        <p:strVal val="visible"/>
                                      </p:to>
                                    </p:set>
                                    <p:animEffect transition="in" filter="fade">
                                      <p:cBhvr>
                                        <p:cTn id="34" dur="750"/>
                                        <p:tgtEl>
                                          <p:spTgt spid="12"/>
                                        </p:tgtEl>
                                      </p:cBhvr>
                                    </p:animEffect>
                                  </p:childTnLst>
                                </p:cTn>
                              </p:par>
                              <p:par>
                                <p:cTn id="35" presetID="49" presetClass="entr" presetSubtype="0" decel="100000" fill="hold" nodeType="withEffect">
                                  <p:stCondLst>
                                    <p:cond delay="1000"/>
                                  </p:stCondLst>
                                  <p:childTnLst>
                                    <p:set>
                                      <p:cBhvr>
                                        <p:cTn id="36" dur="1" fill="hold">
                                          <p:stCondLst>
                                            <p:cond delay="0"/>
                                          </p:stCondLst>
                                        </p:cTn>
                                        <p:tgtEl>
                                          <p:spTgt spid="26"/>
                                        </p:tgtEl>
                                        <p:attrNameLst>
                                          <p:attrName>style.visibility</p:attrName>
                                        </p:attrNameLst>
                                      </p:cBhvr>
                                      <p:to>
                                        <p:strVal val="visible"/>
                                      </p:to>
                                    </p:set>
                                    <p:anim calcmode="lin" valueType="num">
                                      <p:cBhvr>
                                        <p:cTn id="37" dur="750" fill="hold"/>
                                        <p:tgtEl>
                                          <p:spTgt spid="26"/>
                                        </p:tgtEl>
                                        <p:attrNameLst>
                                          <p:attrName>ppt_w</p:attrName>
                                        </p:attrNameLst>
                                      </p:cBhvr>
                                      <p:tavLst>
                                        <p:tav tm="0">
                                          <p:val>
                                            <p:fltVal val="0"/>
                                          </p:val>
                                        </p:tav>
                                        <p:tav tm="100000">
                                          <p:val>
                                            <p:strVal val="#ppt_w"/>
                                          </p:val>
                                        </p:tav>
                                      </p:tavLst>
                                    </p:anim>
                                    <p:anim calcmode="lin" valueType="num">
                                      <p:cBhvr>
                                        <p:cTn id="38" dur="750" fill="hold"/>
                                        <p:tgtEl>
                                          <p:spTgt spid="26"/>
                                        </p:tgtEl>
                                        <p:attrNameLst>
                                          <p:attrName>ppt_h</p:attrName>
                                        </p:attrNameLst>
                                      </p:cBhvr>
                                      <p:tavLst>
                                        <p:tav tm="0">
                                          <p:val>
                                            <p:fltVal val="0"/>
                                          </p:val>
                                        </p:tav>
                                        <p:tav tm="100000">
                                          <p:val>
                                            <p:strVal val="#ppt_h"/>
                                          </p:val>
                                        </p:tav>
                                      </p:tavLst>
                                    </p:anim>
                                    <p:anim calcmode="lin" valueType="num">
                                      <p:cBhvr>
                                        <p:cTn id="39" dur="750" fill="hold"/>
                                        <p:tgtEl>
                                          <p:spTgt spid="26"/>
                                        </p:tgtEl>
                                        <p:attrNameLst>
                                          <p:attrName>style.rotation</p:attrName>
                                        </p:attrNameLst>
                                      </p:cBhvr>
                                      <p:tavLst>
                                        <p:tav tm="0">
                                          <p:val>
                                            <p:fltVal val="360"/>
                                          </p:val>
                                        </p:tav>
                                        <p:tav tm="100000">
                                          <p:val>
                                            <p:fltVal val="0"/>
                                          </p:val>
                                        </p:tav>
                                      </p:tavLst>
                                    </p:anim>
                                    <p:animEffect transition="in" filter="fade">
                                      <p:cBhvr>
                                        <p:cTn id="40" dur="750"/>
                                        <p:tgtEl>
                                          <p:spTgt spid="26"/>
                                        </p:tgtEl>
                                      </p:cBhvr>
                                    </p:animEffect>
                                  </p:childTnLst>
                                </p:cTn>
                              </p:par>
                              <p:par>
                                <p:cTn id="41" presetID="49" presetClass="entr" presetSubtype="0" decel="100000" fill="hold" nodeType="withEffect">
                                  <p:stCondLst>
                                    <p:cond delay="1000"/>
                                  </p:stCondLst>
                                  <p:childTnLst>
                                    <p:set>
                                      <p:cBhvr>
                                        <p:cTn id="42" dur="1" fill="hold">
                                          <p:stCondLst>
                                            <p:cond delay="0"/>
                                          </p:stCondLst>
                                        </p:cTn>
                                        <p:tgtEl>
                                          <p:spTgt spid="22"/>
                                        </p:tgtEl>
                                        <p:attrNameLst>
                                          <p:attrName>style.visibility</p:attrName>
                                        </p:attrNameLst>
                                      </p:cBhvr>
                                      <p:to>
                                        <p:strVal val="visible"/>
                                      </p:to>
                                    </p:set>
                                    <p:anim calcmode="lin" valueType="num">
                                      <p:cBhvr>
                                        <p:cTn id="43" dur="1000" fill="hold"/>
                                        <p:tgtEl>
                                          <p:spTgt spid="22"/>
                                        </p:tgtEl>
                                        <p:attrNameLst>
                                          <p:attrName>ppt_w</p:attrName>
                                        </p:attrNameLst>
                                      </p:cBhvr>
                                      <p:tavLst>
                                        <p:tav tm="0">
                                          <p:val>
                                            <p:fltVal val="0"/>
                                          </p:val>
                                        </p:tav>
                                        <p:tav tm="100000">
                                          <p:val>
                                            <p:strVal val="#ppt_w"/>
                                          </p:val>
                                        </p:tav>
                                      </p:tavLst>
                                    </p:anim>
                                    <p:anim calcmode="lin" valueType="num">
                                      <p:cBhvr>
                                        <p:cTn id="44" dur="1000" fill="hold"/>
                                        <p:tgtEl>
                                          <p:spTgt spid="22"/>
                                        </p:tgtEl>
                                        <p:attrNameLst>
                                          <p:attrName>ppt_h</p:attrName>
                                        </p:attrNameLst>
                                      </p:cBhvr>
                                      <p:tavLst>
                                        <p:tav tm="0">
                                          <p:val>
                                            <p:fltVal val="0"/>
                                          </p:val>
                                        </p:tav>
                                        <p:tav tm="100000">
                                          <p:val>
                                            <p:strVal val="#ppt_h"/>
                                          </p:val>
                                        </p:tav>
                                      </p:tavLst>
                                    </p:anim>
                                    <p:anim calcmode="lin" valueType="num">
                                      <p:cBhvr>
                                        <p:cTn id="45" dur="1000" fill="hold"/>
                                        <p:tgtEl>
                                          <p:spTgt spid="22"/>
                                        </p:tgtEl>
                                        <p:attrNameLst>
                                          <p:attrName>style.rotation</p:attrName>
                                        </p:attrNameLst>
                                      </p:cBhvr>
                                      <p:tavLst>
                                        <p:tav tm="0">
                                          <p:val>
                                            <p:fltVal val="360"/>
                                          </p:val>
                                        </p:tav>
                                        <p:tav tm="100000">
                                          <p:val>
                                            <p:fltVal val="0"/>
                                          </p:val>
                                        </p:tav>
                                      </p:tavLst>
                                    </p:anim>
                                    <p:animEffect transition="in" filter="fade">
                                      <p:cBhvr>
                                        <p:cTn id="46" dur="1000"/>
                                        <p:tgtEl>
                                          <p:spTgt spid="22"/>
                                        </p:tgtEl>
                                      </p:cBhvr>
                                    </p:animEffect>
                                  </p:childTnLst>
                                </p:cTn>
                              </p:par>
                              <p:par>
                                <p:cTn id="47" presetID="49" presetClass="entr" presetSubtype="0" decel="100000" fill="hold" nodeType="withEffect">
                                  <p:stCondLst>
                                    <p:cond delay="1000"/>
                                  </p:stCondLst>
                                  <p:childTnLst>
                                    <p:set>
                                      <p:cBhvr>
                                        <p:cTn id="48" dur="1" fill="hold">
                                          <p:stCondLst>
                                            <p:cond delay="0"/>
                                          </p:stCondLst>
                                        </p:cTn>
                                        <p:tgtEl>
                                          <p:spTgt spid="13"/>
                                        </p:tgtEl>
                                        <p:attrNameLst>
                                          <p:attrName>style.visibility</p:attrName>
                                        </p:attrNameLst>
                                      </p:cBhvr>
                                      <p:to>
                                        <p:strVal val="visible"/>
                                      </p:to>
                                    </p:set>
                                    <p:anim calcmode="lin" valueType="num">
                                      <p:cBhvr>
                                        <p:cTn id="49" dur="1250" fill="hold"/>
                                        <p:tgtEl>
                                          <p:spTgt spid="13"/>
                                        </p:tgtEl>
                                        <p:attrNameLst>
                                          <p:attrName>ppt_w</p:attrName>
                                        </p:attrNameLst>
                                      </p:cBhvr>
                                      <p:tavLst>
                                        <p:tav tm="0">
                                          <p:val>
                                            <p:fltVal val="0"/>
                                          </p:val>
                                        </p:tav>
                                        <p:tav tm="100000">
                                          <p:val>
                                            <p:strVal val="#ppt_w"/>
                                          </p:val>
                                        </p:tav>
                                      </p:tavLst>
                                    </p:anim>
                                    <p:anim calcmode="lin" valueType="num">
                                      <p:cBhvr>
                                        <p:cTn id="50" dur="1250" fill="hold"/>
                                        <p:tgtEl>
                                          <p:spTgt spid="13"/>
                                        </p:tgtEl>
                                        <p:attrNameLst>
                                          <p:attrName>ppt_h</p:attrName>
                                        </p:attrNameLst>
                                      </p:cBhvr>
                                      <p:tavLst>
                                        <p:tav tm="0">
                                          <p:val>
                                            <p:fltVal val="0"/>
                                          </p:val>
                                        </p:tav>
                                        <p:tav tm="100000">
                                          <p:val>
                                            <p:strVal val="#ppt_h"/>
                                          </p:val>
                                        </p:tav>
                                      </p:tavLst>
                                    </p:anim>
                                    <p:anim calcmode="lin" valueType="num">
                                      <p:cBhvr>
                                        <p:cTn id="51" dur="1250" fill="hold"/>
                                        <p:tgtEl>
                                          <p:spTgt spid="13"/>
                                        </p:tgtEl>
                                        <p:attrNameLst>
                                          <p:attrName>style.rotation</p:attrName>
                                        </p:attrNameLst>
                                      </p:cBhvr>
                                      <p:tavLst>
                                        <p:tav tm="0">
                                          <p:val>
                                            <p:fltVal val="360"/>
                                          </p:val>
                                        </p:tav>
                                        <p:tav tm="100000">
                                          <p:val>
                                            <p:fltVal val="0"/>
                                          </p:val>
                                        </p:tav>
                                      </p:tavLst>
                                    </p:anim>
                                    <p:animEffect transition="in" filter="fade">
                                      <p:cBhvr>
                                        <p:cTn id="52" dur="1250"/>
                                        <p:tgtEl>
                                          <p:spTgt spid="13"/>
                                        </p:tgtEl>
                                      </p:cBhvr>
                                    </p:animEffect>
                                  </p:childTnLst>
                                </p:cTn>
                              </p:par>
                              <p:par>
                                <p:cTn id="53" presetID="49" presetClass="entr" presetSubtype="0" decel="100000" fill="hold" nodeType="withEffect">
                                  <p:stCondLst>
                                    <p:cond delay="1000"/>
                                  </p:stCondLst>
                                  <p:childTnLst>
                                    <p:set>
                                      <p:cBhvr>
                                        <p:cTn id="54" dur="1" fill="hold">
                                          <p:stCondLst>
                                            <p:cond delay="0"/>
                                          </p:stCondLst>
                                        </p:cTn>
                                        <p:tgtEl>
                                          <p:spTgt spid="16"/>
                                        </p:tgtEl>
                                        <p:attrNameLst>
                                          <p:attrName>style.visibility</p:attrName>
                                        </p:attrNameLst>
                                      </p:cBhvr>
                                      <p:to>
                                        <p:strVal val="visible"/>
                                      </p:to>
                                    </p:set>
                                    <p:anim calcmode="lin" valueType="num">
                                      <p:cBhvr>
                                        <p:cTn id="55" dur="1500" fill="hold"/>
                                        <p:tgtEl>
                                          <p:spTgt spid="16"/>
                                        </p:tgtEl>
                                        <p:attrNameLst>
                                          <p:attrName>ppt_w</p:attrName>
                                        </p:attrNameLst>
                                      </p:cBhvr>
                                      <p:tavLst>
                                        <p:tav tm="0">
                                          <p:val>
                                            <p:fltVal val="0"/>
                                          </p:val>
                                        </p:tav>
                                        <p:tav tm="100000">
                                          <p:val>
                                            <p:strVal val="#ppt_w"/>
                                          </p:val>
                                        </p:tav>
                                      </p:tavLst>
                                    </p:anim>
                                    <p:anim calcmode="lin" valueType="num">
                                      <p:cBhvr>
                                        <p:cTn id="56" dur="1500" fill="hold"/>
                                        <p:tgtEl>
                                          <p:spTgt spid="16"/>
                                        </p:tgtEl>
                                        <p:attrNameLst>
                                          <p:attrName>ppt_h</p:attrName>
                                        </p:attrNameLst>
                                      </p:cBhvr>
                                      <p:tavLst>
                                        <p:tav tm="0">
                                          <p:val>
                                            <p:fltVal val="0"/>
                                          </p:val>
                                        </p:tav>
                                        <p:tav tm="100000">
                                          <p:val>
                                            <p:strVal val="#ppt_h"/>
                                          </p:val>
                                        </p:tav>
                                      </p:tavLst>
                                    </p:anim>
                                    <p:anim calcmode="lin" valueType="num">
                                      <p:cBhvr>
                                        <p:cTn id="57" dur="1500" fill="hold"/>
                                        <p:tgtEl>
                                          <p:spTgt spid="16"/>
                                        </p:tgtEl>
                                        <p:attrNameLst>
                                          <p:attrName>style.rotation</p:attrName>
                                        </p:attrNameLst>
                                      </p:cBhvr>
                                      <p:tavLst>
                                        <p:tav tm="0">
                                          <p:val>
                                            <p:fltVal val="360"/>
                                          </p:val>
                                        </p:tav>
                                        <p:tav tm="100000">
                                          <p:val>
                                            <p:fltVal val="0"/>
                                          </p:val>
                                        </p:tav>
                                      </p:tavLst>
                                    </p:anim>
                                    <p:animEffect transition="in" filter="fade">
                                      <p:cBhvr>
                                        <p:cTn id="58" dur="1500"/>
                                        <p:tgtEl>
                                          <p:spTgt spid="16"/>
                                        </p:tgtEl>
                                      </p:cBhvr>
                                    </p:animEffect>
                                  </p:childTnLst>
                                </p:cTn>
                              </p:par>
                              <p:par>
                                <p:cTn id="59" presetID="49" presetClass="entr" presetSubtype="0" decel="100000" fill="hold" nodeType="withEffect">
                                  <p:stCondLst>
                                    <p:cond delay="1000"/>
                                  </p:stCondLst>
                                  <p:childTnLst>
                                    <p:set>
                                      <p:cBhvr>
                                        <p:cTn id="60" dur="1" fill="hold">
                                          <p:stCondLst>
                                            <p:cond delay="0"/>
                                          </p:stCondLst>
                                        </p:cTn>
                                        <p:tgtEl>
                                          <p:spTgt spid="19"/>
                                        </p:tgtEl>
                                        <p:attrNameLst>
                                          <p:attrName>style.visibility</p:attrName>
                                        </p:attrNameLst>
                                      </p:cBhvr>
                                      <p:to>
                                        <p:strVal val="visible"/>
                                      </p:to>
                                    </p:set>
                                    <p:anim calcmode="lin" valueType="num">
                                      <p:cBhvr>
                                        <p:cTn id="61" dur="1750" fill="hold"/>
                                        <p:tgtEl>
                                          <p:spTgt spid="19"/>
                                        </p:tgtEl>
                                        <p:attrNameLst>
                                          <p:attrName>ppt_w</p:attrName>
                                        </p:attrNameLst>
                                      </p:cBhvr>
                                      <p:tavLst>
                                        <p:tav tm="0">
                                          <p:val>
                                            <p:fltVal val="0"/>
                                          </p:val>
                                        </p:tav>
                                        <p:tav tm="100000">
                                          <p:val>
                                            <p:strVal val="#ppt_w"/>
                                          </p:val>
                                        </p:tav>
                                      </p:tavLst>
                                    </p:anim>
                                    <p:anim calcmode="lin" valueType="num">
                                      <p:cBhvr>
                                        <p:cTn id="62" dur="1750" fill="hold"/>
                                        <p:tgtEl>
                                          <p:spTgt spid="19"/>
                                        </p:tgtEl>
                                        <p:attrNameLst>
                                          <p:attrName>ppt_h</p:attrName>
                                        </p:attrNameLst>
                                      </p:cBhvr>
                                      <p:tavLst>
                                        <p:tav tm="0">
                                          <p:val>
                                            <p:fltVal val="0"/>
                                          </p:val>
                                        </p:tav>
                                        <p:tav tm="100000">
                                          <p:val>
                                            <p:strVal val="#ppt_h"/>
                                          </p:val>
                                        </p:tav>
                                      </p:tavLst>
                                    </p:anim>
                                    <p:anim calcmode="lin" valueType="num">
                                      <p:cBhvr>
                                        <p:cTn id="63" dur="1750" fill="hold"/>
                                        <p:tgtEl>
                                          <p:spTgt spid="19"/>
                                        </p:tgtEl>
                                        <p:attrNameLst>
                                          <p:attrName>style.rotation</p:attrName>
                                        </p:attrNameLst>
                                      </p:cBhvr>
                                      <p:tavLst>
                                        <p:tav tm="0">
                                          <p:val>
                                            <p:fltVal val="360"/>
                                          </p:val>
                                        </p:tav>
                                        <p:tav tm="100000">
                                          <p:val>
                                            <p:fltVal val="0"/>
                                          </p:val>
                                        </p:tav>
                                      </p:tavLst>
                                    </p:anim>
                                    <p:animEffect transition="in" filter="fade">
                                      <p:cBhvr>
                                        <p:cTn id="64" dur="175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9" grpId="0"/>
      <p:bldP spid="10" grpId="0" animBg="1"/>
      <p:bldP spid="11" grpId="0"/>
      <p:bldP spid="11" grpId="1"/>
      <p:bldP spid="12" grpId="0"/>
      <p:bldP spid="25" grpId="0" animBg="1"/>
    </p:bldLst>
  </p:timing>
</p:sld>
</file>

<file path=ppt/slides/slide6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6">
            <a:extLst>
              <a:ext uri="{FF2B5EF4-FFF2-40B4-BE49-F238E27FC236}">
                <a16:creationId xmlns:a16="http://schemas.microsoft.com/office/drawing/2014/main" id="{D7D191DA-0C96-4B9D-836C-0328E05F5A94}"/>
              </a:ext>
            </a:extLst>
          </p:cNvPr>
          <p:cNvSpPr/>
          <p:nvPr/>
        </p:nvSpPr>
        <p:spPr>
          <a:xfrm>
            <a:off x="0" y="4549754"/>
            <a:ext cx="12192000" cy="2291095"/>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FFFFFF"/>
              </a:solidFill>
              <a:effectLst/>
              <a:uLnTx/>
              <a:uFillTx/>
              <a:latin typeface="等线" panose="020F0502020204030204"/>
              <a:ea typeface="+mn-ea"/>
              <a:cs typeface="+mn-cs"/>
            </a:endParaRPr>
          </a:p>
        </p:txBody>
      </p:sp>
      <p:sp>
        <p:nvSpPr>
          <p:cNvPr id="3" name="Freeform 301">
            <a:extLst>
              <a:ext uri="{FF2B5EF4-FFF2-40B4-BE49-F238E27FC236}">
                <a16:creationId xmlns:a16="http://schemas.microsoft.com/office/drawing/2014/main" id="{8BC3EDB1-6D9A-485A-B520-CFBC391C66F0}"/>
              </a:ext>
            </a:extLst>
          </p:cNvPr>
          <p:cNvSpPr>
            <a:spLocks/>
          </p:cNvSpPr>
          <p:nvPr/>
        </p:nvSpPr>
        <p:spPr bwMode="auto">
          <a:xfrm>
            <a:off x="8394808" y="5126598"/>
            <a:ext cx="816613" cy="335225"/>
          </a:xfrm>
          <a:custGeom>
            <a:avLst/>
            <a:gdLst>
              <a:gd name="T0" fmla="*/ 34 w 343"/>
              <a:gd name="T1" fmla="*/ 14 h 141"/>
              <a:gd name="T2" fmla="*/ 0 w 343"/>
              <a:gd name="T3" fmla="*/ 0 h 141"/>
              <a:gd name="T4" fmla="*/ 0 w 343"/>
              <a:gd name="T5" fmla="*/ 2 h 141"/>
              <a:gd name="T6" fmla="*/ 47 w 343"/>
              <a:gd name="T7" fmla="*/ 41 h 141"/>
              <a:gd name="T8" fmla="*/ 106 w 343"/>
              <a:gd name="T9" fmla="*/ 93 h 141"/>
              <a:gd name="T10" fmla="*/ 284 w 343"/>
              <a:gd name="T11" fmla="*/ 134 h 141"/>
              <a:gd name="T12" fmla="*/ 343 w 343"/>
              <a:gd name="T13" fmla="*/ 135 h 141"/>
              <a:gd name="T14" fmla="*/ 328 w 343"/>
              <a:gd name="T15" fmla="*/ 92 h 141"/>
              <a:gd name="T16" fmla="*/ 327 w 343"/>
              <a:gd name="T17" fmla="*/ 91 h 141"/>
              <a:gd name="T18" fmla="*/ 273 w 343"/>
              <a:gd name="T19" fmla="*/ 90 h 141"/>
              <a:gd name="T20" fmla="*/ 227 w 343"/>
              <a:gd name="T21" fmla="*/ 85 h 141"/>
              <a:gd name="T22" fmla="*/ 234 w 343"/>
              <a:gd name="T23" fmla="*/ 90 h 141"/>
              <a:gd name="T24" fmla="*/ 275 w 343"/>
              <a:gd name="T25" fmla="*/ 107 h 141"/>
              <a:gd name="T26" fmla="*/ 275 w 343"/>
              <a:gd name="T27" fmla="*/ 121 h 141"/>
              <a:gd name="T28" fmla="*/ 184 w 343"/>
              <a:gd name="T29" fmla="*/ 77 h 141"/>
              <a:gd name="T30" fmla="*/ 72 w 343"/>
              <a:gd name="T31" fmla="*/ 35 h 141"/>
              <a:gd name="T32" fmla="*/ 34 w 343"/>
              <a:gd name="T33" fmla="*/ 14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43" h="141">
                <a:moveTo>
                  <a:pt x="34" y="14"/>
                </a:moveTo>
                <a:cubicBezTo>
                  <a:pt x="22" y="11"/>
                  <a:pt x="11" y="6"/>
                  <a:pt x="0" y="0"/>
                </a:cubicBezTo>
                <a:cubicBezTo>
                  <a:pt x="0" y="1"/>
                  <a:pt x="0" y="1"/>
                  <a:pt x="0" y="2"/>
                </a:cubicBezTo>
                <a:cubicBezTo>
                  <a:pt x="15" y="16"/>
                  <a:pt x="29" y="29"/>
                  <a:pt x="47" y="41"/>
                </a:cubicBezTo>
                <a:cubicBezTo>
                  <a:pt x="70" y="56"/>
                  <a:pt x="87" y="74"/>
                  <a:pt x="106" y="93"/>
                </a:cubicBezTo>
                <a:cubicBezTo>
                  <a:pt x="152" y="141"/>
                  <a:pt x="223" y="135"/>
                  <a:pt x="284" y="134"/>
                </a:cubicBezTo>
                <a:cubicBezTo>
                  <a:pt x="303" y="133"/>
                  <a:pt x="323" y="134"/>
                  <a:pt x="343" y="135"/>
                </a:cubicBezTo>
                <a:cubicBezTo>
                  <a:pt x="339" y="121"/>
                  <a:pt x="334" y="106"/>
                  <a:pt x="328" y="92"/>
                </a:cubicBezTo>
                <a:cubicBezTo>
                  <a:pt x="327" y="91"/>
                  <a:pt x="327" y="91"/>
                  <a:pt x="327" y="91"/>
                </a:cubicBezTo>
                <a:cubicBezTo>
                  <a:pt x="309" y="90"/>
                  <a:pt x="291" y="91"/>
                  <a:pt x="273" y="90"/>
                </a:cubicBezTo>
                <a:cubicBezTo>
                  <a:pt x="258" y="89"/>
                  <a:pt x="242" y="87"/>
                  <a:pt x="227" y="85"/>
                </a:cubicBezTo>
                <a:cubicBezTo>
                  <a:pt x="229" y="87"/>
                  <a:pt x="231" y="89"/>
                  <a:pt x="234" y="90"/>
                </a:cubicBezTo>
                <a:cubicBezTo>
                  <a:pt x="246" y="99"/>
                  <a:pt x="261" y="103"/>
                  <a:pt x="275" y="107"/>
                </a:cubicBezTo>
                <a:cubicBezTo>
                  <a:pt x="282" y="109"/>
                  <a:pt x="282" y="120"/>
                  <a:pt x="275" y="121"/>
                </a:cubicBezTo>
                <a:cubicBezTo>
                  <a:pt x="240" y="130"/>
                  <a:pt x="201" y="109"/>
                  <a:pt x="184" y="77"/>
                </a:cubicBezTo>
                <a:cubicBezTo>
                  <a:pt x="145" y="68"/>
                  <a:pt x="107" y="54"/>
                  <a:pt x="72" y="35"/>
                </a:cubicBezTo>
                <a:cubicBezTo>
                  <a:pt x="60" y="29"/>
                  <a:pt x="47" y="22"/>
                  <a:pt x="34" y="14"/>
                </a:cubicBezTo>
                <a:close/>
              </a:path>
            </a:pathLst>
          </a:custGeom>
          <a:solidFill>
            <a:schemeClr val="accent3">
              <a:lumMod val="5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4" name="Freeform 302">
            <a:extLst>
              <a:ext uri="{FF2B5EF4-FFF2-40B4-BE49-F238E27FC236}">
                <a16:creationId xmlns:a16="http://schemas.microsoft.com/office/drawing/2014/main" id="{D8A0ADB1-19C2-4202-B845-7240FF041911}"/>
              </a:ext>
            </a:extLst>
          </p:cNvPr>
          <p:cNvSpPr>
            <a:spLocks/>
          </p:cNvSpPr>
          <p:nvPr/>
        </p:nvSpPr>
        <p:spPr bwMode="auto">
          <a:xfrm>
            <a:off x="8590224" y="5067813"/>
            <a:ext cx="459147" cy="144576"/>
          </a:xfrm>
          <a:custGeom>
            <a:avLst/>
            <a:gdLst>
              <a:gd name="T0" fmla="*/ 153 w 193"/>
              <a:gd name="T1" fmla="*/ 57 h 61"/>
              <a:gd name="T2" fmla="*/ 193 w 193"/>
              <a:gd name="T3" fmla="*/ 61 h 61"/>
              <a:gd name="T4" fmla="*/ 172 w 193"/>
              <a:gd name="T5" fmla="*/ 48 h 61"/>
              <a:gd name="T6" fmla="*/ 74 w 193"/>
              <a:gd name="T7" fmla="*/ 9 h 61"/>
              <a:gd name="T8" fmla="*/ 0 w 193"/>
              <a:gd name="T9" fmla="*/ 0 h 61"/>
              <a:gd name="T10" fmla="*/ 1 w 193"/>
              <a:gd name="T11" fmla="*/ 2 h 61"/>
              <a:gd name="T12" fmla="*/ 27 w 193"/>
              <a:gd name="T13" fmla="*/ 16 h 61"/>
              <a:gd name="T14" fmla="*/ 153 w 193"/>
              <a:gd name="T15" fmla="*/ 57 h 6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3" h="61">
                <a:moveTo>
                  <a:pt x="153" y="57"/>
                </a:moveTo>
                <a:cubicBezTo>
                  <a:pt x="166" y="59"/>
                  <a:pt x="180" y="60"/>
                  <a:pt x="193" y="61"/>
                </a:cubicBezTo>
                <a:cubicBezTo>
                  <a:pt x="187" y="57"/>
                  <a:pt x="179" y="52"/>
                  <a:pt x="172" y="48"/>
                </a:cubicBezTo>
                <a:cubicBezTo>
                  <a:pt x="141" y="30"/>
                  <a:pt x="109" y="17"/>
                  <a:pt x="74" y="9"/>
                </a:cubicBezTo>
                <a:cubicBezTo>
                  <a:pt x="50" y="3"/>
                  <a:pt x="25" y="2"/>
                  <a:pt x="0" y="0"/>
                </a:cubicBezTo>
                <a:cubicBezTo>
                  <a:pt x="0" y="1"/>
                  <a:pt x="1" y="1"/>
                  <a:pt x="1" y="2"/>
                </a:cubicBezTo>
                <a:cubicBezTo>
                  <a:pt x="9" y="7"/>
                  <a:pt x="18" y="12"/>
                  <a:pt x="27" y="16"/>
                </a:cubicBezTo>
                <a:cubicBezTo>
                  <a:pt x="66" y="36"/>
                  <a:pt x="109" y="49"/>
                  <a:pt x="153" y="57"/>
                </a:cubicBezTo>
                <a:close/>
              </a:path>
            </a:pathLst>
          </a:custGeom>
          <a:solidFill>
            <a:schemeClr val="accent3">
              <a:lumMod val="5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5" name="Freeform 303">
            <a:extLst>
              <a:ext uri="{FF2B5EF4-FFF2-40B4-BE49-F238E27FC236}">
                <a16:creationId xmlns:a16="http://schemas.microsoft.com/office/drawing/2014/main" id="{B3190EDF-009A-4633-BF4F-105086D97374}"/>
              </a:ext>
            </a:extLst>
          </p:cNvPr>
          <p:cNvSpPr>
            <a:spLocks/>
          </p:cNvSpPr>
          <p:nvPr/>
        </p:nvSpPr>
        <p:spPr bwMode="auto">
          <a:xfrm>
            <a:off x="8255000" y="5212389"/>
            <a:ext cx="251021" cy="378435"/>
          </a:xfrm>
          <a:custGeom>
            <a:avLst/>
            <a:gdLst>
              <a:gd name="T0" fmla="*/ 34 w 71"/>
              <a:gd name="T1" fmla="*/ 109 h 133"/>
              <a:gd name="T2" fmla="*/ 71 w 71"/>
              <a:gd name="T3" fmla="*/ 133 h 133"/>
              <a:gd name="T4" fmla="*/ 69 w 71"/>
              <a:gd name="T5" fmla="*/ 128 h 133"/>
              <a:gd name="T6" fmla="*/ 30 w 71"/>
              <a:gd name="T7" fmla="*/ 45 h 133"/>
              <a:gd name="T8" fmla="*/ 0 w 71"/>
              <a:gd name="T9" fmla="*/ 0 h 133"/>
              <a:gd name="T10" fmla="*/ 5 w 71"/>
              <a:gd name="T11" fmla="*/ 33 h 133"/>
              <a:gd name="T12" fmla="*/ 34 w 71"/>
              <a:gd name="T13" fmla="*/ 109 h 133"/>
            </a:gdLst>
            <a:ahLst/>
            <a:cxnLst>
              <a:cxn ang="0">
                <a:pos x="T0" y="T1"/>
              </a:cxn>
              <a:cxn ang="0">
                <a:pos x="T2" y="T3"/>
              </a:cxn>
              <a:cxn ang="0">
                <a:pos x="T4" y="T5"/>
              </a:cxn>
              <a:cxn ang="0">
                <a:pos x="T6" y="T7"/>
              </a:cxn>
              <a:cxn ang="0">
                <a:pos x="T8" y="T9"/>
              </a:cxn>
              <a:cxn ang="0">
                <a:pos x="T10" y="T11"/>
              </a:cxn>
              <a:cxn ang="0">
                <a:pos x="T12" y="T13"/>
              </a:cxn>
            </a:cxnLst>
            <a:rect l="0" t="0" r="r" b="b"/>
            <a:pathLst>
              <a:path w="71" h="133">
                <a:moveTo>
                  <a:pt x="34" y="109"/>
                </a:moveTo>
                <a:cubicBezTo>
                  <a:pt x="44" y="121"/>
                  <a:pt x="57" y="128"/>
                  <a:pt x="71" y="133"/>
                </a:cubicBezTo>
                <a:cubicBezTo>
                  <a:pt x="70" y="131"/>
                  <a:pt x="70" y="130"/>
                  <a:pt x="69" y="128"/>
                </a:cubicBezTo>
                <a:cubicBezTo>
                  <a:pt x="58" y="98"/>
                  <a:pt x="49" y="71"/>
                  <a:pt x="30" y="45"/>
                </a:cubicBezTo>
                <a:cubicBezTo>
                  <a:pt x="19" y="30"/>
                  <a:pt x="9" y="15"/>
                  <a:pt x="0" y="0"/>
                </a:cubicBezTo>
                <a:cubicBezTo>
                  <a:pt x="2" y="11"/>
                  <a:pt x="3" y="22"/>
                  <a:pt x="5" y="33"/>
                </a:cubicBezTo>
                <a:cubicBezTo>
                  <a:pt x="11" y="59"/>
                  <a:pt x="15" y="89"/>
                  <a:pt x="34" y="109"/>
                </a:cubicBezTo>
                <a:close/>
              </a:path>
            </a:pathLst>
          </a:custGeom>
          <a:solidFill>
            <a:schemeClr val="accent3">
              <a:lumMod val="5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grpSp>
        <p:nvGrpSpPr>
          <p:cNvPr id="6" name="Group 2">
            <a:extLst>
              <a:ext uri="{FF2B5EF4-FFF2-40B4-BE49-F238E27FC236}">
                <a16:creationId xmlns:a16="http://schemas.microsoft.com/office/drawing/2014/main" id="{FDE7605E-A699-476B-9A9C-F04BF721D441}"/>
              </a:ext>
            </a:extLst>
          </p:cNvPr>
          <p:cNvGrpSpPr/>
          <p:nvPr/>
        </p:nvGrpSpPr>
        <p:grpSpPr>
          <a:xfrm>
            <a:off x="5970390" y="1775945"/>
            <a:ext cx="3874940" cy="4893321"/>
            <a:chOff x="5970388" y="1775942"/>
            <a:chExt cx="3874940" cy="4893321"/>
          </a:xfrm>
        </p:grpSpPr>
        <p:sp>
          <p:nvSpPr>
            <p:cNvPr id="7" name="Freeform 305">
              <a:extLst>
                <a:ext uri="{FF2B5EF4-FFF2-40B4-BE49-F238E27FC236}">
                  <a16:creationId xmlns:a16="http://schemas.microsoft.com/office/drawing/2014/main" id="{E302CA97-027A-46FA-A04C-EE3B647838CB}"/>
                </a:ext>
              </a:extLst>
            </p:cNvPr>
            <p:cNvSpPr>
              <a:spLocks/>
            </p:cNvSpPr>
            <p:nvPr/>
          </p:nvSpPr>
          <p:spPr bwMode="auto">
            <a:xfrm>
              <a:off x="5970388" y="1775942"/>
              <a:ext cx="3805034" cy="2967767"/>
            </a:xfrm>
            <a:custGeom>
              <a:avLst/>
              <a:gdLst>
                <a:gd name="T0" fmla="*/ 950 w 1598"/>
                <a:gd name="T1" fmla="*/ 1001 h 1248"/>
                <a:gd name="T2" fmla="*/ 1408 w 1598"/>
                <a:gd name="T3" fmla="*/ 590 h 1248"/>
                <a:gd name="T4" fmla="*/ 1583 w 1598"/>
                <a:gd name="T5" fmla="*/ 668 h 1248"/>
                <a:gd name="T6" fmla="*/ 1583 w 1598"/>
                <a:gd name="T7" fmla="*/ 521 h 1248"/>
                <a:gd name="T8" fmla="*/ 1027 w 1598"/>
                <a:gd name="T9" fmla="*/ 725 h 1248"/>
                <a:gd name="T10" fmla="*/ 1147 w 1598"/>
                <a:gd name="T11" fmla="*/ 575 h 1248"/>
                <a:gd name="T12" fmla="*/ 1438 w 1598"/>
                <a:gd name="T13" fmla="*/ 433 h 1248"/>
                <a:gd name="T14" fmla="*/ 1313 w 1598"/>
                <a:gd name="T15" fmla="*/ 480 h 1248"/>
                <a:gd name="T16" fmla="*/ 1172 w 1598"/>
                <a:gd name="T17" fmla="*/ 490 h 1248"/>
                <a:gd name="T18" fmla="*/ 1040 w 1598"/>
                <a:gd name="T19" fmla="*/ 537 h 1248"/>
                <a:gd name="T20" fmla="*/ 1277 w 1598"/>
                <a:gd name="T21" fmla="*/ 286 h 1248"/>
                <a:gd name="T22" fmla="*/ 1085 w 1598"/>
                <a:gd name="T23" fmla="*/ 296 h 1248"/>
                <a:gd name="T24" fmla="*/ 1232 w 1598"/>
                <a:gd name="T25" fmla="*/ 206 h 1248"/>
                <a:gd name="T26" fmla="*/ 1162 w 1598"/>
                <a:gd name="T27" fmla="*/ 213 h 1248"/>
                <a:gd name="T28" fmla="*/ 1013 w 1598"/>
                <a:gd name="T29" fmla="*/ 122 h 1248"/>
                <a:gd name="T30" fmla="*/ 963 w 1598"/>
                <a:gd name="T31" fmla="*/ 221 h 1248"/>
                <a:gd name="T32" fmla="*/ 1044 w 1598"/>
                <a:gd name="T33" fmla="*/ 276 h 1248"/>
                <a:gd name="T34" fmla="*/ 990 w 1598"/>
                <a:gd name="T35" fmla="*/ 527 h 1248"/>
                <a:gd name="T36" fmla="*/ 841 w 1598"/>
                <a:gd name="T37" fmla="*/ 677 h 1248"/>
                <a:gd name="T38" fmla="*/ 923 w 1598"/>
                <a:gd name="T39" fmla="*/ 425 h 1248"/>
                <a:gd name="T40" fmla="*/ 872 w 1598"/>
                <a:gd name="T41" fmla="*/ 428 h 1248"/>
                <a:gd name="T42" fmla="*/ 818 w 1598"/>
                <a:gd name="T43" fmla="*/ 494 h 1248"/>
                <a:gd name="T44" fmla="*/ 794 w 1598"/>
                <a:gd name="T45" fmla="*/ 627 h 1248"/>
                <a:gd name="T46" fmla="*/ 686 w 1598"/>
                <a:gd name="T47" fmla="*/ 586 h 1248"/>
                <a:gd name="T48" fmla="*/ 864 w 1598"/>
                <a:gd name="T49" fmla="*/ 283 h 1248"/>
                <a:gd name="T50" fmla="*/ 614 w 1598"/>
                <a:gd name="T51" fmla="*/ 383 h 1248"/>
                <a:gd name="T52" fmla="*/ 887 w 1598"/>
                <a:gd name="T53" fmla="*/ 120 h 1248"/>
                <a:gd name="T54" fmla="*/ 817 w 1598"/>
                <a:gd name="T55" fmla="*/ 142 h 1248"/>
                <a:gd name="T56" fmla="*/ 770 w 1598"/>
                <a:gd name="T57" fmla="*/ 35 h 1248"/>
                <a:gd name="T58" fmla="*/ 774 w 1598"/>
                <a:gd name="T59" fmla="*/ 214 h 1248"/>
                <a:gd name="T60" fmla="*/ 703 w 1598"/>
                <a:gd name="T61" fmla="*/ 130 h 1248"/>
                <a:gd name="T62" fmla="*/ 611 w 1598"/>
                <a:gd name="T63" fmla="*/ 145 h 1248"/>
                <a:gd name="T64" fmla="*/ 672 w 1598"/>
                <a:gd name="T65" fmla="*/ 248 h 1248"/>
                <a:gd name="T66" fmla="*/ 564 w 1598"/>
                <a:gd name="T67" fmla="*/ 280 h 1248"/>
                <a:gd name="T68" fmla="*/ 589 w 1598"/>
                <a:gd name="T69" fmla="*/ 405 h 1248"/>
                <a:gd name="T70" fmla="*/ 692 w 1598"/>
                <a:gd name="T71" fmla="*/ 647 h 1248"/>
                <a:gd name="T72" fmla="*/ 521 w 1598"/>
                <a:gd name="T73" fmla="*/ 561 h 1248"/>
                <a:gd name="T74" fmla="*/ 525 w 1598"/>
                <a:gd name="T75" fmla="*/ 453 h 1248"/>
                <a:gd name="T76" fmla="*/ 506 w 1598"/>
                <a:gd name="T77" fmla="*/ 406 h 1248"/>
                <a:gd name="T78" fmla="*/ 423 w 1598"/>
                <a:gd name="T79" fmla="*/ 438 h 1248"/>
                <a:gd name="T80" fmla="*/ 386 w 1598"/>
                <a:gd name="T81" fmla="*/ 553 h 1248"/>
                <a:gd name="T82" fmla="*/ 331 w 1598"/>
                <a:gd name="T83" fmla="*/ 378 h 1248"/>
                <a:gd name="T84" fmla="*/ 184 w 1598"/>
                <a:gd name="T85" fmla="*/ 283 h 1248"/>
                <a:gd name="T86" fmla="*/ 294 w 1598"/>
                <a:gd name="T87" fmla="*/ 398 h 1248"/>
                <a:gd name="T88" fmla="*/ 202 w 1598"/>
                <a:gd name="T89" fmla="*/ 356 h 1248"/>
                <a:gd name="T90" fmla="*/ 163 w 1598"/>
                <a:gd name="T91" fmla="*/ 365 h 1248"/>
                <a:gd name="T92" fmla="*/ 220 w 1598"/>
                <a:gd name="T93" fmla="*/ 434 h 1248"/>
                <a:gd name="T94" fmla="*/ 329 w 1598"/>
                <a:gd name="T95" fmla="*/ 428 h 1248"/>
                <a:gd name="T96" fmla="*/ 660 w 1598"/>
                <a:gd name="T97" fmla="*/ 742 h 1248"/>
                <a:gd name="T98" fmla="*/ 455 w 1598"/>
                <a:gd name="T99" fmla="*/ 677 h 1248"/>
                <a:gd name="T100" fmla="*/ 281 w 1598"/>
                <a:gd name="T101" fmla="*/ 695 h 1248"/>
                <a:gd name="T102" fmla="*/ 357 w 1598"/>
                <a:gd name="T103" fmla="*/ 844 h 1248"/>
                <a:gd name="T104" fmla="*/ 378 w 1598"/>
                <a:gd name="T105" fmla="*/ 874 h 1248"/>
                <a:gd name="T106" fmla="*/ 704 w 1598"/>
                <a:gd name="T107" fmla="*/ 823 h 1248"/>
                <a:gd name="T108" fmla="*/ 1008 w 1598"/>
                <a:gd name="T109" fmla="*/ 1232 h 1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598" h="1248">
                  <a:moveTo>
                    <a:pt x="1008" y="1232"/>
                  </a:moveTo>
                  <a:cubicBezTo>
                    <a:pt x="996" y="1219"/>
                    <a:pt x="983" y="1210"/>
                    <a:pt x="975" y="1194"/>
                  </a:cubicBezTo>
                  <a:cubicBezTo>
                    <a:pt x="968" y="1180"/>
                    <a:pt x="965" y="1165"/>
                    <a:pt x="962" y="1151"/>
                  </a:cubicBezTo>
                  <a:cubicBezTo>
                    <a:pt x="958" y="1133"/>
                    <a:pt x="956" y="1112"/>
                    <a:pt x="953" y="1092"/>
                  </a:cubicBezTo>
                  <a:cubicBezTo>
                    <a:pt x="954" y="1062"/>
                    <a:pt x="951" y="1031"/>
                    <a:pt x="950" y="1001"/>
                  </a:cubicBezTo>
                  <a:cubicBezTo>
                    <a:pt x="949" y="963"/>
                    <a:pt x="946" y="923"/>
                    <a:pt x="952" y="885"/>
                  </a:cubicBezTo>
                  <a:cubicBezTo>
                    <a:pt x="957" y="853"/>
                    <a:pt x="969" y="822"/>
                    <a:pt x="993" y="800"/>
                  </a:cubicBezTo>
                  <a:cubicBezTo>
                    <a:pt x="1019" y="778"/>
                    <a:pt x="1055" y="774"/>
                    <a:pt x="1085" y="761"/>
                  </a:cubicBezTo>
                  <a:cubicBezTo>
                    <a:pt x="1145" y="737"/>
                    <a:pt x="1184" y="688"/>
                    <a:pt x="1232" y="647"/>
                  </a:cubicBezTo>
                  <a:cubicBezTo>
                    <a:pt x="1282" y="605"/>
                    <a:pt x="1345" y="597"/>
                    <a:pt x="1408" y="590"/>
                  </a:cubicBezTo>
                  <a:cubicBezTo>
                    <a:pt x="1413" y="590"/>
                    <a:pt x="1418" y="590"/>
                    <a:pt x="1423" y="589"/>
                  </a:cubicBezTo>
                  <a:cubicBezTo>
                    <a:pt x="1423" y="591"/>
                    <a:pt x="1424" y="592"/>
                    <a:pt x="1425" y="593"/>
                  </a:cubicBezTo>
                  <a:cubicBezTo>
                    <a:pt x="1437" y="605"/>
                    <a:pt x="1441" y="617"/>
                    <a:pt x="1450" y="631"/>
                  </a:cubicBezTo>
                  <a:cubicBezTo>
                    <a:pt x="1458" y="646"/>
                    <a:pt x="1471" y="658"/>
                    <a:pt x="1485" y="667"/>
                  </a:cubicBezTo>
                  <a:cubicBezTo>
                    <a:pt x="1515" y="686"/>
                    <a:pt x="1552" y="685"/>
                    <a:pt x="1583" y="668"/>
                  </a:cubicBezTo>
                  <a:cubicBezTo>
                    <a:pt x="1590" y="664"/>
                    <a:pt x="1585" y="652"/>
                    <a:pt x="1577" y="654"/>
                  </a:cubicBezTo>
                  <a:cubicBezTo>
                    <a:pt x="1541" y="665"/>
                    <a:pt x="1501" y="655"/>
                    <a:pt x="1480" y="623"/>
                  </a:cubicBezTo>
                  <a:cubicBezTo>
                    <a:pt x="1472" y="611"/>
                    <a:pt x="1468" y="596"/>
                    <a:pt x="1461" y="584"/>
                  </a:cubicBezTo>
                  <a:cubicBezTo>
                    <a:pt x="1508" y="578"/>
                    <a:pt x="1554" y="565"/>
                    <a:pt x="1592" y="533"/>
                  </a:cubicBezTo>
                  <a:cubicBezTo>
                    <a:pt x="1598" y="527"/>
                    <a:pt x="1589" y="516"/>
                    <a:pt x="1583" y="521"/>
                  </a:cubicBezTo>
                  <a:cubicBezTo>
                    <a:pt x="1529" y="561"/>
                    <a:pt x="1460" y="560"/>
                    <a:pt x="1396" y="563"/>
                  </a:cubicBezTo>
                  <a:cubicBezTo>
                    <a:pt x="1333" y="567"/>
                    <a:pt x="1270" y="574"/>
                    <a:pt x="1217" y="613"/>
                  </a:cubicBezTo>
                  <a:cubicBezTo>
                    <a:pt x="1190" y="631"/>
                    <a:pt x="1167" y="654"/>
                    <a:pt x="1142" y="675"/>
                  </a:cubicBezTo>
                  <a:cubicBezTo>
                    <a:pt x="1115" y="698"/>
                    <a:pt x="1088" y="712"/>
                    <a:pt x="1053" y="720"/>
                  </a:cubicBezTo>
                  <a:cubicBezTo>
                    <a:pt x="1044" y="721"/>
                    <a:pt x="1035" y="723"/>
                    <a:pt x="1027" y="725"/>
                  </a:cubicBezTo>
                  <a:cubicBezTo>
                    <a:pt x="1019" y="723"/>
                    <a:pt x="1009" y="721"/>
                    <a:pt x="1006" y="715"/>
                  </a:cubicBezTo>
                  <a:cubicBezTo>
                    <a:pt x="1000" y="704"/>
                    <a:pt x="1012" y="688"/>
                    <a:pt x="1018" y="679"/>
                  </a:cubicBezTo>
                  <a:cubicBezTo>
                    <a:pt x="1025" y="667"/>
                    <a:pt x="1033" y="656"/>
                    <a:pt x="1042" y="646"/>
                  </a:cubicBezTo>
                  <a:cubicBezTo>
                    <a:pt x="1058" y="639"/>
                    <a:pt x="1074" y="632"/>
                    <a:pt x="1089" y="624"/>
                  </a:cubicBezTo>
                  <a:cubicBezTo>
                    <a:pt x="1111" y="612"/>
                    <a:pt x="1131" y="595"/>
                    <a:pt x="1147" y="575"/>
                  </a:cubicBezTo>
                  <a:cubicBezTo>
                    <a:pt x="1163" y="555"/>
                    <a:pt x="1175" y="531"/>
                    <a:pt x="1198" y="516"/>
                  </a:cubicBezTo>
                  <a:cubicBezTo>
                    <a:pt x="1218" y="504"/>
                    <a:pt x="1242" y="499"/>
                    <a:pt x="1265" y="494"/>
                  </a:cubicBezTo>
                  <a:cubicBezTo>
                    <a:pt x="1266" y="497"/>
                    <a:pt x="1268" y="499"/>
                    <a:pt x="1271" y="501"/>
                  </a:cubicBezTo>
                  <a:cubicBezTo>
                    <a:pt x="1305" y="523"/>
                    <a:pt x="1366" y="516"/>
                    <a:pt x="1395" y="486"/>
                  </a:cubicBezTo>
                  <a:cubicBezTo>
                    <a:pt x="1410" y="469"/>
                    <a:pt x="1421" y="449"/>
                    <a:pt x="1438" y="433"/>
                  </a:cubicBezTo>
                  <a:cubicBezTo>
                    <a:pt x="1459" y="414"/>
                    <a:pt x="1482" y="400"/>
                    <a:pt x="1509" y="390"/>
                  </a:cubicBezTo>
                  <a:cubicBezTo>
                    <a:pt x="1518" y="387"/>
                    <a:pt x="1515" y="374"/>
                    <a:pt x="1506" y="376"/>
                  </a:cubicBezTo>
                  <a:cubicBezTo>
                    <a:pt x="1465" y="386"/>
                    <a:pt x="1425" y="406"/>
                    <a:pt x="1397" y="437"/>
                  </a:cubicBezTo>
                  <a:cubicBezTo>
                    <a:pt x="1383" y="453"/>
                    <a:pt x="1373" y="474"/>
                    <a:pt x="1351" y="481"/>
                  </a:cubicBezTo>
                  <a:cubicBezTo>
                    <a:pt x="1337" y="485"/>
                    <a:pt x="1325" y="483"/>
                    <a:pt x="1313" y="480"/>
                  </a:cubicBezTo>
                  <a:cubicBezTo>
                    <a:pt x="1322" y="476"/>
                    <a:pt x="1330" y="471"/>
                    <a:pt x="1339" y="465"/>
                  </a:cubicBezTo>
                  <a:cubicBezTo>
                    <a:pt x="1373" y="438"/>
                    <a:pt x="1401" y="388"/>
                    <a:pt x="1405" y="345"/>
                  </a:cubicBezTo>
                  <a:cubicBezTo>
                    <a:pt x="1405" y="338"/>
                    <a:pt x="1396" y="334"/>
                    <a:pt x="1392" y="339"/>
                  </a:cubicBezTo>
                  <a:cubicBezTo>
                    <a:pt x="1363" y="376"/>
                    <a:pt x="1353" y="424"/>
                    <a:pt x="1312" y="451"/>
                  </a:cubicBezTo>
                  <a:cubicBezTo>
                    <a:pt x="1270" y="479"/>
                    <a:pt x="1214" y="463"/>
                    <a:pt x="1172" y="490"/>
                  </a:cubicBezTo>
                  <a:cubicBezTo>
                    <a:pt x="1152" y="503"/>
                    <a:pt x="1139" y="522"/>
                    <a:pt x="1125" y="540"/>
                  </a:cubicBezTo>
                  <a:cubicBezTo>
                    <a:pt x="1110" y="558"/>
                    <a:pt x="1093" y="573"/>
                    <a:pt x="1073" y="585"/>
                  </a:cubicBezTo>
                  <a:cubicBezTo>
                    <a:pt x="1041" y="603"/>
                    <a:pt x="1005" y="610"/>
                    <a:pt x="971" y="621"/>
                  </a:cubicBezTo>
                  <a:cubicBezTo>
                    <a:pt x="975" y="613"/>
                    <a:pt x="980" y="604"/>
                    <a:pt x="985" y="596"/>
                  </a:cubicBezTo>
                  <a:cubicBezTo>
                    <a:pt x="999" y="573"/>
                    <a:pt x="1018" y="554"/>
                    <a:pt x="1040" y="537"/>
                  </a:cubicBezTo>
                  <a:cubicBezTo>
                    <a:pt x="1061" y="520"/>
                    <a:pt x="1080" y="503"/>
                    <a:pt x="1091" y="478"/>
                  </a:cubicBezTo>
                  <a:cubicBezTo>
                    <a:pt x="1094" y="471"/>
                    <a:pt x="1096" y="464"/>
                    <a:pt x="1098" y="456"/>
                  </a:cubicBezTo>
                  <a:cubicBezTo>
                    <a:pt x="1122" y="419"/>
                    <a:pt x="1134" y="372"/>
                    <a:pt x="1183" y="361"/>
                  </a:cubicBezTo>
                  <a:cubicBezTo>
                    <a:pt x="1228" y="351"/>
                    <a:pt x="1264" y="336"/>
                    <a:pt x="1289" y="295"/>
                  </a:cubicBezTo>
                  <a:cubicBezTo>
                    <a:pt x="1293" y="288"/>
                    <a:pt x="1283" y="280"/>
                    <a:pt x="1277" y="286"/>
                  </a:cubicBezTo>
                  <a:cubicBezTo>
                    <a:pt x="1260" y="305"/>
                    <a:pt x="1238" y="320"/>
                    <a:pt x="1214" y="327"/>
                  </a:cubicBezTo>
                  <a:cubicBezTo>
                    <a:pt x="1190" y="334"/>
                    <a:pt x="1165" y="332"/>
                    <a:pt x="1144" y="344"/>
                  </a:cubicBezTo>
                  <a:cubicBezTo>
                    <a:pt x="1125" y="354"/>
                    <a:pt x="1113" y="371"/>
                    <a:pt x="1101" y="388"/>
                  </a:cubicBezTo>
                  <a:cubicBezTo>
                    <a:pt x="1099" y="365"/>
                    <a:pt x="1095" y="343"/>
                    <a:pt x="1090" y="322"/>
                  </a:cubicBezTo>
                  <a:cubicBezTo>
                    <a:pt x="1089" y="313"/>
                    <a:pt x="1087" y="304"/>
                    <a:pt x="1085" y="296"/>
                  </a:cubicBezTo>
                  <a:cubicBezTo>
                    <a:pt x="1086" y="295"/>
                    <a:pt x="1088" y="295"/>
                    <a:pt x="1089" y="294"/>
                  </a:cubicBezTo>
                  <a:cubicBezTo>
                    <a:pt x="1090" y="295"/>
                    <a:pt x="1091" y="295"/>
                    <a:pt x="1092" y="295"/>
                  </a:cubicBezTo>
                  <a:cubicBezTo>
                    <a:pt x="1119" y="295"/>
                    <a:pt x="1144" y="278"/>
                    <a:pt x="1160" y="255"/>
                  </a:cubicBezTo>
                  <a:cubicBezTo>
                    <a:pt x="1160" y="255"/>
                    <a:pt x="1161" y="255"/>
                    <a:pt x="1161" y="255"/>
                  </a:cubicBezTo>
                  <a:cubicBezTo>
                    <a:pt x="1192" y="260"/>
                    <a:pt x="1221" y="233"/>
                    <a:pt x="1232" y="206"/>
                  </a:cubicBezTo>
                  <a:cubicBezTo>
                    <a:pt x="1234" y="199"/>
                    <a:pt x="1224" y="193"/>
                    <a:pt x="1220" y="199"/>
                  </a:cubicBezTo>
                  <a:cubicBezTo>
                    <a:pt x="1212" y="208"/>
                    <a:pt x="1202" y="216"/>
                    <a:pt x="1192" y="222"/>
                  </a:cubicBezTo>
                  <a:cubicBezTo>
                    <a:pt x="1186" y="226"/>
                    <a:pt x="1179" y="228"/>
                    <a:pt x="1173" y="230"/>
                  </a:cubicBezTo>
                  <a:cubicBezTo>
                    <a:pt x="1174" y="226"/>
                    <a:pt x="1175" y="223"/>
                    <a:pt x="1176" y="219"/>
                  </a:cubicBezTo>
                  <a:cubicBezTo>
                    <a:pt x="1177" y="211"/>
                    <a:pt x="1166" y="205"/>
                    <a:pt x="1162" y="213"/>
                  </a:cubicBezTo>
                  <a:cubicBezTo>
                    <a:pt x="1155" y="228"/>
                    <a:pt x="1146" y="242"/>
                    <a:pt x="1134" y="253"/>
                  </a:cubicBezTo>
                  <a:cubicBezTo>
                    <a:pt x="1124" y="262"/>
                    <a:pt x="1112" y="267"/>
                    <a:pt x="1100" y="271"/>
                  </a:cubicBezTo>
                  <a:cubicBezTo>
                    <a:pt x="1093" y="269"/>
                    <a:pt x="1086" y="268"/>
                    <a:pt x="1079" y="270"/>
                  </a:cubicBezTo>
                  <a:cubicBezTo>
                    <a:pt x="1066" y="217"/>
                    <a:pt x="1050" y="166"/>
                    <a:pt x="1027" y="116"/>
                  </a:cubicBezTo>
                  <a:cubicBezTo>
                    <a:pt x="1023" y="108"/>
                    <a:pt x="1012" y="114"/>
                    <a:pt x="1013" y="122"/>
                  </a:cubicBezTo>
                  <a:cubicBezTo>
                    <a:pt x="1021" y="159"/>
                    <a:pt x="1029" y="196"/>
                    <a:pt x="1037" y="233"/>
                  </a:cubicBezTo>
                  <a:cubicBezTo>
                    <a:pt x="1002" y="211"/>
                    <a:pt x="954" y="197"/>
                    <a:pt x="959" y="151"/>
                  </a:cubicBezTo>
                  <a:cubicBezTo>
                    <a:pt x="960" y="144"/>
                    <a:pt x="949" y="141"/>
                    <a:pt x="946" y="147"/>
                  </a:cubicBezTo>
                  <a:cubicBezTo>
                    <a:pt x="934" y="173"/>
                    <a:pt x="943" y="200"/>
                    <a:pt x="962" y="220"/>
                  </a:cubicBezTo>
                  <a:cubicBezTo>
                    <a:pt x="963" y="220"/>
                    <a:pt x="963" y="220"/>
                    <a:pt x="963" y="221"/>
                  </a:cubicBezTo>
                  <a:cubicBezTo>
                    <a:pt x="940" y="227"/>
                    <a:pt x="917" y="231"/>
                    <a:pt x="892" y="229"/>
                  </a:cubicBezTo>
                  <a:cubicBezTo>
                    <a:pt x="883" y="228"/>
                    <a:pt x="882" y="241"/>
                    <a:pt x="890" y="244"/>
                  </a:cubicBezTo>
                  <a:cubicBezTo>
                    <a:pt x="920" y="252"/>
                    <a:pt x="954" y="251"/>
                    <a:pt x="981" y="235"/>
                  </a:cubicBezTo>
                  <a:cubicBezTo>
                    <a:pt x="987" y="239"/>
                    <a:pt x="994" y="243"/>
                    <a:pt x="1000" y="247"/>
                  </a:cubicBezTo>
                  <a:cubicBezTo>
                    <a:pt x="1015" y="256"/>
                    <a:pt x="1029" y="268"/>
                    <a:pt x="1044" y="276"/>
                  </a:cubicBezTo>
                  <a:cubicBezTo>
                    <a:pt x="1044" y="277"/>
                    <a:pt x="1045" y="277"/>
                    <a:pt x="1046" y="278"/>
                  </a:cubicBezTo>
                  <a:cubicBezTo>
                    <a:pt x="1051" y="303"/>
                    <a:pt x="1056" y="329"/>
                    <a:pt x="1060" y="354"/>
                  </a:cubicBezTo>
                  <a:cubicBezTo>
                    <a:pt x="1065" y="385"/>
                    <a:pt x="1070" y="420"/>
                    <a:pt x="1060" y="451"/>
                  </a:cubicBezTo>
                  <a:cubicBezTo>
                    <a:pt x="1058" y="455"/>
                    <a:pt x="1056" y="460"/>
                    <a:pt x="1054" y="465"/>
                  </a:cubicBezTo>
                  <a:cubicBezTo>
                    <a:pt x="1040" y="492"/>
                    <a:pt x="1012" y="507"/>
                    <a:pt x="990" y="527"/>
                  </a:cubicBezTo>
                  <a:cubicBezTo>
                    <a:pt x="940" y="573"/>
                    <a:pt x="913" y="642"/>
                    <a:pt x="888" y="704"/>
                  </a:cubicBezTo>
                  <a:cubicBezTo>
                    <a:pt x="876" y="733"/>
                    <a:pt x="866" y="763"/>
                    <a:pt x="856" y="793"/>
                  </a:cubicBezTo>
                  <a:cubicBezTo>
                    <a:pt x="856" y="787"/>
                    <a:pt x="856" y="782"/>
                    <a:pt x="856" y="777"/>
                  </a:cubicBezTo>
                  <a:cubicBezTo>
                    <a:pt x="857" y="769"/>
                    <a:pt x="858" y="761"/>
                    <a:pt x="857" y="754"/>
                  </a:cubicBezTo>
                  <a:cubicBezTo>
                    <a:pt x="857" y="727"/>
                    <a:pt x="847" y="703"/>
                    <a:pt x="841" y="677"/>
                  </a:cubicBezTo>
                  <a:cubicBezTo>
                    <a:pt x="835" y="652"/>
                    <a:pt x="841" y="638"/>
                    <a:pt x="856" y="619"/>
                  </a:cubicBezTo>
                  <a:cubicBezTo>
                    <a:pt x="864" y="609"/>
                    <a:pt x="873" y="598"/>
                    <a:pt x="879" y="587"/>
                  </a:cubicBezTo>
                  <a:cubicBezTo>
                    <a:pt x="899" y="576"/>
                    <a:pt x="919" y="557"/>
                    <a:pt x="925" y="536"/>
                  </a:cubicBezTo>
                  <a:cubicBezTo>
                    <a:pt x="934" y="506"/>
                    <a:pt x="904" y="459"/>
                    <a:pt x="932" y="436"/>
                  </a:cubicBezTo>
                  <a:cubicBezTo>
                    <a:pt x="938" y="431"/>
                    <a:pt x="930" y="421"/>
                    <a:pt x="923" y="425"/>
                  </a:cubicBezTo>
                  <a:cubicBezTo>
                    <a:pt x="901" y="438"/>
                    <a:pt x="898" y="462"/>
                    <a:pt x="900" y="485"/>
                  </a:cubicBezTo>
                  <a:cubicBezTo>
                    <a:pt x="902" y="505"/>
                    <a:pt x="906" y="524"/>
                    <a:pt x="892" y="540"/>
                  </a:cubicBezTo>
                  <a:cubicBezTo>
                    <a:pt x="891" y="541"/>
                    <a:pt x="889" y="543"/>
                    <a:pt x="888" y="544"/>
                  </a:cubicBezTo>
                  <a:cubicBezTo>
                    <a:pt x="887" y="532"/>
                    <a:pt x="883" y="520"/>
                    <a:pt x="878" y="509"/>
                  </a:cubicBezTo>
                  <a:cubicBezTo>
                    <a:pt x="865" y="481"/>
                    <a:pt x="859" y="457"/>
                    <a:pt x="872" y="428"/>
                  </a:cubicBezTo>
                  <a:cubicBezTo>
                    <a:pt x="884" y="401"/>
                    <a:pt x="907" y="381"/>
                    <a:pt x="926" y="359"/>
                  </a:cubicBezTo>
                  <a:cubicBezTo>
                    <a:pt x="931" y="353"/>
                    <a:pt x="924" y="342"/>
                    <a:pt x="917" y="348"/>
                  </a:cubicBezTo>
                  <a:cubicBezTo>
                    <a:pt x="880" y="374"/>
                    <a:pt x="842" y="411"/>
                    <a:pt x="837" y="459"/>
                  </a:cubicBezTo>
                  <a:cubicBezTo>
                    <a:pt x="835" y="479"/>
                    <a:pt x="841" y="496"/>
                    <a:pt x="847" y="514"/>
                  </a:cubicBezTo>
                  <a:cubicBezTo>
                    <a:pt x="836" y="511"/>
                    <a:pt x="826" y="505"/>
                    <a:pt x="818" y="494"/>
                  </a:cubicBezTo>
                  <a:cubicBezTo>
                    <a:pt x="807" y="481"/>
                    <a:pt x="800" y="466"/>
                    <a:pt x="793" y="451"/>
                  </a:cubicBezTo>
                  <a:cubicBezTo>
                    <a:pt x="790" y="443"/>
                    <a:pt x="777" y="449"/>
                    <a:pt x="780" y="457"/>
                  </a:cubicBezTo>
                  <a:cubicBezTo>
                    <a:pt x="790" y="490"/>
                    <a:pt x="813" y="540"/>
                    <a:pt x="854" y="539"/>
                  </a:cubicBezTo>
                  <a:cubicBezTo>
                    <a:pt x="854" y="556"/>
                    <a:pt x="842" y="567"/>
                    <a:pt x="828" y="580"/>
                  </a:cubicBezTo>
                  <a:cubicBezTo>
                    <a:pt x="814" y="593"/>
                    <a:pt x="801" y="609"/>
                    <a:pt x="794" y="627"/>
                  </a:cubicBezTo>
                  <a:cubicBezTo>
                    <a:pt x="785" y="652"/>
                    <a:pt x="789" y="678"/>
                    <a:pt x="795" y="703"/>
                  </a:cubicBezTo>
                  <a:cubicBezTo>
                    <a:pt x="799" y="720"/>
                    <a:pt x="805" y="736"/>
                    <a:pt x="805" y="753"/>
                  </a:cubicBezTo>
                  <a:cubicBezTo>
                    <a:pt x="804" y="755"/>
                    <a:pt x="803" y="757"/>
                    <a:pt x="802" y="759"/>
                  </a:cubicBezTo>
                  <a:cubicBezTo>
                    <a:pt x="798" y="717"/>
                    <a:pt x="788" y="676"/>
                    <a:pt x="764" y="643"/>
                  </a:cubicBezTo>
                  <a:cubicBezTo>
                    <a:pt x="743" y="615"/>
                    <a:pt x="714" y="605"/>
                    <a:pt x="686" y="586"/>
                  </a:cubicBezTo>
                  <a:cubicBezTo>
                    <a:pt x="655" y="565"/>
                    <a:pt x="669" y="533"/>
                    <a:pt x="673" y="503"/>
                  </a:cubicBezTo>
                  <a:cubicBezTo>
                    <a:pt x="675" y="487"/>
                    <a:pt x="675" y="472"/>
                    <a:pt x="672" y="459"/>
                  </a:cubicBezTo>
                  <a:cubicBezTo>
                    <a:pt x="673" y="442"/>
                    <a:pt x="675" y="426"/>
                    <a:pt x="688" y="411"/>
                  </a:cubicBezTo>
                  <a:cubicBezTo>
                    <a:pt x="707" y="388"/>
                    <a:pt x="737" y="387"/>
                    <a:pt x="763" y="377"/>
                  </a:cubicBezTo>
                  <a:cubicBezTo>
                    <a:pt x="808" y="361"/>
                    <a:pt x="849" y="330"/>
                    <a:pt x="864" y="283"/>
                  </a:cubicBezTo>
                  <a:cubicBezTo>
                    <a:pt x="866" y="276"/>
                    <a:pt x="856" y="270"/>
                    <a:pt x="851" y="276"/>
                  </a:cubicBezTo>
                  <a:cubicBezTo>
                    <a:pt x="832" y="297"/>
                    <a:pt x="812" y="319"/>
                    <a:pt x="787" y="334"/>
                  </a:cubicBezTo>
                  <a:cubicBezTo>
                    <a:pt x="759" y="351"/>
                    <a:pt x="728" y="353"/>
                    <a:pt x="699" y="365"/>
                  </a:cubicBezTo>
                  <a:cubicBezTo>
                    <a:pt x="678" y="373"/>
                    <a:pt x="657" y="392"/>
                    <a:pt x="644" y="414"/>
                  </a:cubicBezTo>
                  <a:cubicBezTo>
                    <a:pt x="634" y="404"/>
                    <a:pt x="621" y="395"/>
                    <a:pt x="614" y="383"/>
                  </a:cubicBezTo>
                  <a:cubicBezTo>
                    <a:pt x="604" y="365"/>
                    <a:pt x="610" y="344"/>
                    <a:pt x="619" y="328"/>
                  </a:cubicBezTo>
                  <a:cubicBezTo>
                    <a:pt x="639" y="292"/>
                    <a:pt x="675" y="276"/>
                    <a:pt x="712" y="268"/>
                  </a:cubicBezTo>
                  <a:cubicBezTo>
                    <a:pt x="729" y="264"/>
                    <a:pt x="746" y="261"/>
                    <a:pt x="762" y="254"/>
                  </a:cubicBezTo>
                  <a:cubicBezTo>
                    <a:pt x="779" y="245"/>
                    <a:pt x="793" y="232"/>
                    <a:pt x="807" y="218"/>
                  </a:cubicBezTo>
                  <a:cubicBezTo>
                    <a:pt x="837" y="188"/>
                    <a:pt x="869" y="159"/>
                    <a:pt x="887" y="120"/>
                  </a:cubicBezTo>
                  <a:cubicBezTo>
                    <a:pt x="903" y="85"/>
                    <a:pt x="907" y="46"/>
                    <a:pt x="900" y="7"/>
                  </a:cubicBezTo>
                  <a:cubicBezTo>
                    <a:pt x="899" y="0"/>
                    <a:pt x="886" y="1"/>
                    <a:pt x="886" y="9"/>
                  </a:cubicBezTo>
                  <a:cubicBezTo>
                    <a:pt x="889" y="49"/>
                    <a:pt x="880" y="88"/>
                    <a:pt x="860" y="123"/>
                  </a:cubicBezTo>
                  <a:cubicBezTo>
                    <a:pt x="850" y="141"/>
                    <a:pt x="835" y="158"/>
                    <a:pt x="819" y="174"/>
                  </a:cubicBezTo>
                  <a:cubicBezTo>
                    <a:pt x="819" y="163"/>
                    <a:pt x="819" y="153"/>
                    <a:pt x="817" y="142"/>
                  </a:cubicBezTo>
                  <a:cubicBezTo>
                    <a:pt x="818" y="142"/>
                    <a:pt x="819" y="141"/>
                    <a:pt x="820" y="140"/>
                  </a:cubicBezTo>
                  <a:cubicBezTo>
                    <a:pt x="841" y="119"/>
                    <a:pt x="839" y="83"/>
                    <a:pt x="824" y="59"/>
                  </a:cubicBezTo>
                  <a:cubicBezTo>
                    <a:pt x="820" y="52"/>
                    <a:pt x="807" y="56"/>
                    <a:pt x="810" y="64"/>
                  </a:cubicBezTo>
                  <a:cubicBezTo>
                    <a:pt x="817" y="82"/>
                    <a:pt x="815" y="97"/>
                    <a:pt x="809" y="112"/>
                  </a:cubicBezTo>
                  <a:cubicBezTo>
                    <a:pt x="800" y="84"/>
                    <a:pt x="786" y="57"/>
                    <a:pt x="770" y="35"/>
                  </a:cubicBezTo>
                  <a:cubicBezTo>
                    <a:pt x="765" y="27"/>
                    <a:pt x="753" y="34"/>
                    <a:pt x="758" y="42"/>
                  </a:cubicBezTo>
                  <a:cubicBezTo>
                    <a:pt x="772" y="65"/>
                    <a:pt x="783" y="90"/>
                    <a:pt x="789" y="116"/>
                  </a:cubicBezTo>
                  <a:cubicBezTo>
                    <a:pt x="795" y="140"/>
                    <a:pt x="796" y="165"/>
                    <a:pt x="800" y="190"/>
                  </a:cubicBezTo>
                  <a:cubicBezTo>
                    <a:pt x="800" y="191"/>
                    <a:pt x="800" y="191"/>
                    <a:pt x="800" y="192"/>
                  </a:cubicBezTo>
                  <a:cubicBezTo>
                    <a:pt x="791" y="200"/>
                    <a:pt x="783" y="207"/>
                    <a:pt x="774" y="214"/>
                  </a:cubicBezTo>
                  <a:cubicBezTo>
                    <a:pt x="757" y="229"/>
                    <a:pt x="738" y="234"/>
                    <a:pt x="718" y="238"/>
                  </a:cubicBezTo>
                  <a:cubicBezTo>
                    <a:pt x="736" y="212"/>
                    <a:pt x="744" y="178"/>
                    <a:pt x="738" y="148"/>
                  </a:cubicBezTo>
                  <a:cubicBezTo>
                    <a:pt x="726" y="94"/>
                    <a:pt x="672" y="55"/>
                    <a:pt x="621" y="39"/>
                  </a:cubicBezTo>
                  <a:cubicBezTo>
                    <a:pt x="614" y="37"/>
                    <a:pt x="608" y="47"/>
                    <a:pt x="614" y="51"/>
                  </a:cubicBezTo>
                  <a:cubicBezTo>
                    <a:pt x="644" y="77"/>
                    <a:pt x="684" y="95"/>
                    <a:pt x="703" y="130"/>
                  </a:cubicBezTo>
                  <a:cubicBezTo>
                    <a:pt x="684" y="149"/>
                    <a:pt x="659" y="157"/>
                    <a:pt x="635" y="153"/>
                  </a:cubicBezTo>
                  <a:cubicBezTo>
                    <a:pt x="632" y="133"/>
                    <a:pt x="615" y="115"/>
                    <a:pt x="599" y="105"/>
                  </a:cubicBezTo>
                  <a:cubicBezTo>
                    <a:pt x="592" y="100"/>
                    <a:pt x="584" y="111"/>
                    <a:pt x="590" y="116"/>
                  </a:cubicBezTo>
                  <a:cubicBezTo>
                    <a:pt x="597" y="122"/>
                    <a:pt x="602" y="129"/>
                    <a:pt x="607" y="137"/>
                  </a:cubicBezTo>
                  <a:cubicBezTo>
                    <a:pt x="608" y="140"/>
                    <a:pt x="609" y="142"/>
                    <a:pt x="611" y="145"/>
                  </a:cubicBezTo>
                  <a:cubicBezTo>
                    <a:pt x="603" y="141"/>
                    <a:pt x="595" y="136"/>
                    <a:pt x="588" y="129"/>
                  </a:cubicBezTo>
                  <a:cubicBezTo>
                    <a:pt x="582" y="122"/>
                    <a:pt x="574" y="130"/>
                    <a:pt x="577" y="137"/>
                  </a:cubicBezTo>
                  <a:cubicBezTo>
                    <a:pt x="590" y="166"/>
                    <a:pt x="621" y="181"/>
                    <a:pt x="652" y="180"/>
                  </a:cubicBezTo>
                  <a:cubicBezTo>
                    <a:pt x="675" y="179"/>
                    <a:pt x="696" y="168"/>
                    <a:pt x="712" y="152"/>
                  </a:cubicBezTo>
                  <a:cubicBezTo>
                    <a:pt x="721" y="191"/>
                    <a:pt x="699" y="223"/>
                    <a:pt x="672" y="248"/>
                  </a:cubicBezTo>
                  <a:cubicBezTo>
                    <a:pt x="669" y="249"/>
                    <a:pt x="666" y="250"/>
                    <a:pt x="663" y="252"/>
                  </a:cubicBezTo>
                  <a:cubicBezTo>
                    <a:pt x="632" y="264"/>
                    <a:pt x="605" y="288"/>
                    <a:pt x="590" y="318"/>
                  </a:cubicBezTo>
                  <a:cubicBezTo>
                    <a:pt x="584" y="330"/>
                    <a:pt x="580" y="344"/>
                    <a:pt x="579" y="358"/>
                  </a:cubicBezTo>
                  <a:cubicBezTo>
                    <a:pt x="575" y="354"/>
                    <a:pt x="571" y="349"/>
                    <a:pt x="568" y="344"/>
                  </a:cubicBezTo>
                  <a:cubicBezTo>
                    <a:pt x="557" y="322"/>
                    <a:pt x="562" y="303"/>
                    <a:pt x="564" y="280"/>
                  </a:cubicBezTo>
                  <a:cubicBezTo>
                    <a:pt x="567" y="250"/>
                    <a:pt x="555" y="218"/>
                    <a:pt x="530" y="200"/>
                  </a:cubicBezTo>
                  <a:cubicBezTo>
                    <a:pt x="524" y="195"/>
                    <a:pt x="516" y="204"/>
                    <a:pt x="520" y="210"/>
                  </a:cubicBezTo>
                  <a:cubicBezTo>
                    <a:pt x="532" y="227"/>
                    <a:pt x="541" y="244"/>
                    <a:pt x="542" y="264"/>
                  </a:cubicBezTo>
                  <a:cubicBezTo>
                    <a:pt x="543" y="285"/>
                    <a:pt x="536" y="304"/>
                    <a:pt x="538" y="324"/>
                  </a:cubicBezTo>
                  <a:cubicBezTo>
                    <a:pt x="541" y="354"/>
                    <a:pt x="560" y="393"/>
                    <a:pt x="589" y="405"/>
                  </a:cubicBezTo>
                  <a:cubicBezTo>
                    <a:pt x="590" y="406"/>
                    <a:pt x="591" y="406"/>
                    <a:pt x="592" y="406"/>
                  </a:cubicBezTo>
                  <a:cubicBezTo>
                    <a:pt x="600" y="418"/>
                    <a:pt x="611" y="428"/>
                    <a:pt x="621" y="438"/>
                  </a:cubicBezTo>
                  <a:cubicBezTo>
                    <a:pt x="634" y="453"/>
                    <a:pt x="633" y="470"/>
                    <a:pt x="629" y="488"/>
                  </a:cubicBezTo>
                  <a:cubicBezTo>
                    <a:pt x="623" y="519"/>
                    <a:pt x="611" y="551"/>
                    <a:pt x="622" y="582"/>
                  </a:cubicBezTo>
                  <a:cubicBezTo>
                    <a:pt x="633" y="615"/>
                    <a:pt x="663" y="630"/>
                    <a:pt x="692" y="647"/>
                  </a:cubicBezTo>
                  <a:cubicBezTo>
                    <a:pt x="720" y="664"/>
                    <a:pt x="733" y="688"/>
                    <a:pt x="741" y="715"/>
                  </a:cubicBezTo>
                  <a:cubicBezTo>
                    <a:pt x="714" y="695"/>
                    <a:pt x="682" y="686"/>
                    <a:pt x="654" y="667"/>
                  </a:cubicBezTo>
                  <a:cubicBezTo>
                    <a:pt x="631" y="651"/>
                    <a:pt x="613" y="629"/>
                    <a:pt x="594" y="610"/>
                  </a:cubicBezTo>
                  <a:cubicBezTo>
                    <a:pt x="573" y="590"/>
                    <a:pt x="549" y="572"/>
                    <a:pt x="521" y="563"/>
                  </a:cubicBezTo>
                  <a:cubicBezTo>
                    <a:pt x="521" y="562"/>
                    <a:pt x="521" y="562"/>
                    <a:pt x="521" y="561"/>
                  </a:cubicBezTo>
                  <a:cubicBezTo>
                    <a:pt x="520" y="556"/>
                    <a:pt x="518" y="552"/>
                    <a:pt x="516" y="547"/>
                  </a:cubicBezTo>
                  <a:cubicBezTo>
                    <a:pt x="518" y="545"/>
                    <a:pt x="520" y="543"/>
                    <a:pt x="521" y="541"/>
                  </a:cubicBezTo>
                  <a:cubicBezTo>
                    <a:pt x="521" y="540"/>
                    <a:pt x="521" y="540"/>
                    <a:pt x="521" y="539"/>
                  </a:cubicBezTo>
                  <a:cubicBezTo>
                    <a:pt x="523" y="538"/>
                    <a:pt x="524" y="537"/>
                    <a:pt x="525" y="535"/>
                  </a:cubicBezTo>
                  <a:cubicBezTo>
                    <a:pt x="534" y="508"/>
                    <a:pt x="531" y="479"/>
                    <a:pt x="525" y="453"/>
                  </a:cubicBezTo>
                  <a:cubicBezTo>
                    <a:pt x="523" y="445"/>
                    <a:pt x="510" y="446"/>
                    <a:pt x="510" y="455"/>
                  </a:cubicBezTo>
                  <a:cubicBezTo>
                    <a:pt x="512" y="474"/>
                    <a:pt x="510" y="493"/>
                    <a:pt x="508" y="512"/>
                  </a:cubicBezTo>
                  <a:cubicBezTo>
                    <a:pt x="507" y="512"/>
                    <a:pt x="505" y="513"/>
                    <a:pt x="504" y="514"/>
                  </a:cubicBezTo>
                  <a:cubicBezTo>
                    <a:pt x="502" y="504"/>
                    <a:pt x="500" y="494"/>
                    <a:pt x="499" y="483"/>
                  </a:cubicBezTo>
                  <a:cubicBezTo>
                    <a:pt x="496" y="456"/>
                    <a:pt x="504" y="433"/>
                    <a:pt x="506" y="406"/>
                  </a:cubicBezTo>
                  <a:cubicBezTo>
                    <a:pt x="507" y="399"/>
                    <a:pt x="497" y="397"/>
                    <a:pt x="493" y="403"/>
                  </a:cubicBezTo>
                  <a:cubicBezTo>
                    <a:pt x="477" y="425"/>
                    <a:pt x="475" y="462"/>
                    <a:pt x="476" y="489"/>
                  </a:cubicBezTo>
                  <a:cubicBezTo>
                    <a:pt x="470" y="484"/>
                    <a:pt x="465" y="479"/>
                    <a:pt x="460" y="473"/>
                  </a:cubicBezTo>
                  <a:cubicBezTo>
                    <a:pt x="450" y="461"/>
                    <a:pt x="442" y="449"/>
                    <a:pt x="437" y="434"/>
                  </a:cubicBezTo>
                  <a:cubicBezTo>
                    <a:pt x="434" y="425"/>
                    <a:pt x="421" y="429"/>
                    <a:pt x="423" y="438"/>
                  </a:cubicBezTo>
                  <a:cubicBezTo>
                    <a:pt x="428" y="470"/>
                    <a:pt x="446" y="507"/>
                    <a:pt x="478" y="521"/>
                  </a:cubicBezTo>
                  <a:cubicBezTo>
                    <a:pt x="478" y="521"/>
                    <a:pt x="479" y="521"/>
                    <a:pt x="480" y="521"/>
                  </a:cubicBezTo>
                  <a:cubicBezTo>
                    <a:pt x="482" y="534"/>
                    <a:pt x="486" y="546"/>
                    <a:pt x="492" y="557"/>
                  </a:cubicBezTo>
                  <a:cubicBezTo>
                    <a:pt x="471" y="556"/>
                    <a:pt x="449" y="559"/>
                    <a:pt x="428" y="561"/>
                  </a:cubicBezTo>
                  <a:cubicBezTo>
                    <a:pt x="414" y="562"/>
                    <a:pt x="398" y="562"/>
                    <a:pt x="386" y="553"/>
                  </a:cubicBezTo>
                  <a:cubicBezTo>
                    <a:pt x="373" y="543"/>
                    <a:pt x="368" y="526"/>
                    <a:pt x="365" y="511"/>
                  </a:cubicBezTo>
                  <a:cubicBezTo>
                    <a:pt x="357" y="475"/>
                    <a:pt x="359" y="435"/>
                    <a:pt x="358" y="398"/>
                  </a:cubicBezTo>
                  <a:cubicBezTo>
                    <a:pt x="358" y="330"/>
                    <a:pt x="351" y="244"/>
                    <a:pt x="288" y="203"/>
                  </a:cubicBezTo>
                  <a:cubicBezTo>
                    <a:pt x="280" y="199"/>
                    <a:pt x="273" y="209"/>
                    <a:pt x="279" y="215"/>
                  </a:cubicBezTo>
                  <a:cubicBezTo>
                    <a:pt x="318" y="263"/>
                    <a:pt x="330" y="319"/>
                    <a:pt x="331" y="378"/>
                  </a:cubicBezTo>
                  <a:cubicBezTo>
                    <a:pt x="312" y="368"/>
                    <a:pt x="294" y="348"/>
                    <a:pt x="281" y="333"/>
                  </a:cubicBezTo>
                  <a:cubicBezTo>
                    <a:pt x="261" y="309"/>
                    <a:pt x="244" y="284"/>
                    <a:pt x="232" y="255"/>
                  </a:cubicBezTo>
                  <a:cubicBezTo>
                    <a:pt x="229" y="246"/>
                    <a:pt x="216" y="250"/>
                    <a:pt x="218" y="259"/>
                  </a:cubicBezTo>
                  <a:cubicBezTo>
                    <a:pt x="219" y="267"/>
                    <a:pt x="221" y="275"/>
                    <a:pt x="223" y="283"/>
                  </a:cubicBezTo>
                  <a:cubicBezTo>
                    <a:pt x="210" y="285"/>
                    <a:pt x="197" y="286"/>
                    <a:pt x="184" y="283"/>
                  </a:cubicBezTo>
                  <a:cubicBezTo>
                    <a:pt x="166" y="278"/>
                    <a:pt x="150" y="267"/>
                    <a:pt x="139" y="253"/>
                  </a:cubicBezTo>
                  <a:cubicBezTo>
                    <a:pt x="134" y="245"/>
                    <a:pt x="122" y="252"/>
                    <a:pt x="127" y="260"/>
                  </a:cubicBezTo>
                  <a:cubicBezTo>
                    <a:pt x="144" y="294"/>
                    <a:pt x="192" y="321"/>
                    <a:pt x="230" y="305"/>
                  </a:cubicBezTo>
                  <a:cubicBezTo>
                    <a:pt x="237" y="325"/>
                    <a:pt x="247" y="344"/>
                    <a:pt x="260" y="362"/>
                  </a:cubicBezTo>
                  <a:cubicBezTo>
                    <a:pt x="269" y="375"/>
                    <a:pt x="280" y="389"/>
                    <a:pt x="294" y="398"/>
                  </a:cubicBezTo>
                  <a:cubicBezTo>
                    <a:pt x="297" y="399"/>
                    <a:pt x="301" y="401"/>
                    <a:pt x="304" y="402"/>
                  </a:cubicBezTo>
                  <a:cubicBezTo>
                    <a:pt x="285" y="411"/>
                    <a:pt x="266" y="417"/>
                    <a:pt x="241" y="412"/>
                  </a:cubicBezTo>
                  <a:cubicBezTo>
                    <a:pt x="231" y="410"/>
                    <a:pt x="222" y="406"/>
                    <a:pt x="214" y="401"/>
                  </a:cubicBezTo>
                  <a:cubicBezTo>
                    <a:pt x="214" y="400"/>
                    <a:pt x="214" y="400"/>
                    <a:pt x="214" y="400"/>
                  </a:cubicBezTo>
                  <a:cubicBezTo>
                    <a:pt x="219" y="385"/>
                    <a:pt x="210" y="367"/>
                    <a:pt x="202" y="356"/>
                  </a:cubicBezTo>
                  <a:cubicBezTo>
                    <a:pt x="193" y="345"/>
                    <a:pt x="181" y="336"/>
                    <a:pt x="166" y="334"/>
                  </a:cubicBezTo>
                  <a:cubicBezTo>
                    <a:pt x="159" y="333"/>
                    <a:pt x="153" y="341"/>
                    <a:pt x="159" y="347"/>
                  </a:cubicBezTo>
                  <a:cubicBezTo>
                    <a:pt x="166" y="355"/>
                    <a:pt x="173" y="363"/>
                    <a:pt x="178" y="372"/>
                  </a:cubicBezTo>
                  <a:cubicBezTo>
                    <a:pt x="179" y="374"/>
                    <a:pt x="179" y="375"/>
                    <a:pt x="180" y="376"/>
                  </a:cubicBezTo>
                  <a:cubicBezTo>
                    <a:pt x="174" y="372"/>
                    <a:pt x="169" y="368"/>
                    <a:pt x="163" y="365"/>
                  </a:cubicBezTo>
                  <a:cubicBezTo>
                    <a:pt x="116" y="339"/>
                    <a:pt x="48" y="340"/>
                    <a:pt x="7" y="378"/>
                  </a:cubicBezTo>
                  <a:cubicBezTo>
                    <a:pt x="0" y="384"/>
                    <a:pt x="7" y="397"/>
                    <a:pt x="16" y="394"/>
                  </a:cubicBezTo>
                  <a:cubicBezTo>
                    <a:pt x="46" y="383"/>
                    <a:pt x="76" y="374"/>
                    <a:pt x="108" y="379"/>
                  </a:cubicBezTo>
                  <a:cubicBezTo>
                    <a:pt x="142" y="385"/>
                    <a:pt x="164" y="403"/>
                    <a:pt x="192" y="421"/>
                  </a:cubicBezTo>
                  <a:cubicBezTo>
                    <a:pt x="200" y="426"/>
                    <a:pt x="210" y="431"/>
                    <a:pt x="220" y="434"/>
                  </a:cubicBezTo>
                  <a:cubicBezTo>
                    <a:pt x="217" y="441"/>
                    <a:pt x="213" y="447"/>
                    <a:pt x="207" y="453"/>
                  </a:cubicBezTo>
                  <a:cubicBezTo>
                    <a:pt x="198" y="462"/>
                    <a:pt x="185" y="468"/>
                    <a:pt x="172" y="471"/>
                  </a:cubicBezTo>
                  <a:cubicBezTo>
                    <a:pt x="163" y="473"/>
                    <a:pt x="166" y="486"/>
                    <a:pt x="174" y="486"/>
                  </a:cubicBezTo>
                  <a:cubicBezTo>
                    <a:pt x="201" y="489"/>
                    <a:pt x="236" y="468"/>
                    <a:pt x="245" y="441"/>
                  </a:cubicBezTo>
                  <a:cubicBezTo>
                    <a:pt x="274" y="446"/>
                    <a:pt x="305" y="443"/>
                    <a:pt x="329" y="428"/>
                  </a:cubicBezTo>
                  <a:cubicBezTo>
                    <a:pt x="325" y="483"/>
                    <a:pt x="317" y="554"/>
                    <a:pt x="364" y="589"/>
                  </a:cubicBezTo>
                  <a:cubicBezTo>
                    <a:pt x="390" y="608"/>
                    <a:pt x="422" y="608"/>
                    <a:pt x="452" y="607"/>
                  </a:cubicBezTo>
                  <a:cubicBezTo>
                    <a:pt x="482" y="606"/>
                    <a:pt x="506" y="609"/>
                    <a:pt x="529" y="629"/>
                  </a:cubicBezTo>
                  <a:cubicBezTo>
                    <a:pt x="550" y="647"/>
                    <a:pt x="567" y="668"/>
                    <a:pt x="586" y="688"/>
                  </a:cubicBezTo>
                  <a:cubicBezTo>
                    <a:pt x="608" y="710"/>
                    <a:pt x="633" y="727"/>
                    <a:pt x="660" y="742"/>
                  </a:cubicBezTo>
                  <a:cubicBezTo>
                    <a:pt x="672" y="749"/>
                    <a:pt x="683" y="756"/>
                    <a:pt x="693" y="764"/>
                  </a:cubicBezTo>
                  <a:cubicBezTo>
                    <a:pt x="686" y="762"/>
                    <a:pt x="679" y="760"/>
                    <a:pt x="672" y="758"/>
                  </a:cubicBezTo>
                  <a:cubicBezTo>
                    <a:pt x="641" y="749"/>
                    <a:pt x="609" y="738"/>
                    <a:pt x="577" y="733"/>
                  </a:cubicBezTo>
                  <a:cubicBezTo>
                    <a:pt x="553" y="729"/>
                    <a:pt x="530" y="732"/>
                    <a:pt x="509" y="738"/>
                  </a:cubicBezTo>
                  <a:cubicBezTo>
                    <a:pt x="504" y="711"/>
                    <a:pt x="478" y="688"/>
                    <a:pt x="455" y="677"/>
                  </a:cubicBezTo>
                  <a:cubicBezTo>
                    <a:pt x="420" y="661"/>
                    <a:pt x="382" y="662"/>
                    <a:pt x="344" y="663"/>
                  </a:cubicBezTo>
                  <a:cubicBezTo>
                    <a:pt x="303" y="663"/>
                    <a:pt x="262" y="667"/>
                    <a:pt x="222" y="671"/>
                  </a:cubicBezTo>
                  <a:cubicBezTo>
                    <a:pt x="183" y="675"/>
                    <a:pt x="141" y="675"/>
                    <a:pt x="111" y="646"/>
                  </a:cubicBezTo>
                  <a:cubicBezTo>
                    <a:pt x="105" y="640"/>
                    <a:pt x="96" y="648"/>
                    <a:pt x="100" y="655"/>
                  </a:cubicBezTo>
                  <a:cubicBezTo>
                    <a:pt x="135" y="719"/>
                    <a:pt x="222" y="698"/>
                    <a:pt x="281" y="695"/>
                  </a:cubicBezTo>
                  <a:cubicBezTo>
                    <a:pt x="320" y="694"/>
                    <a:pt x="360" y="692"/>
                    <a:pt x="398" y="700"/>
                  </a:cubicBezTo>
                  <a:cubicBezTo>
                    <a:pt x="416" y="703"/>
                    <a:pt x="432" y="710"/>
                    <a:pt x="446" y="720"/>
                  </a:cubicBezTo>
                  <a:cubicBezTo>
                    <a:pt x="459" y="730"/>
                    <a:pt x="464" y="742"/>
                    <a:pt x="473" y="754"/>
                  </a:cubicBezTo>
                  <a:cubicBezTo>
                    <a:pt x="456" y="763"/>
                    <a:pt x="440" y="775"/>
                    <a:pt x="425" y="788"/>
                  </a:cubicBezTo>
                  <a:cubicBezTo>
                    <a:pt x="402" y="807"/>
                    <a:pt x="381" y="828"/>
                    <a:pt x="357" y="844"/>
                  </a:cubicBezTo>
                  <a:cubicBezTo>
                    <a:pt x="330" y="861"/>
                    <a:pt x="301" y="870"/>
                    <a:pt x="271" y="879"/>
                  </a:cubicBezTo>
                  <a:cubicBezTo>
                    <a:pt x="226" y="895"/>
                    <a:pt x="178" y="920"/>
                    <a:pt x="169" y="971"/>
                  </a:cubicBezTo>
                  <a:cubicBezTo>
                    <a:pt x="168" y="979"/>
                    <a:pt x="179" y="985"/>
                    <a:pt x="183" y="977"/>
                  </a:cubicBezTo>
                  <a:cubicBezTo>
                    <a:pt x="205" y="929"/>
                    <a:pt x="261" y="916"/>
                    <a:pt x="307" y="903"/>
                  </a:cubicBezTo>
                  <a:cubicBezTo>
                    <a:pt x="331" y="896"/>
                    <a:pt x="356" y="887"/>
                    <a:pt x="378" y="874"/>
                  </a:cubicBezTo>
                  <a:cubicBezTo>
                    <a:pt x="400" y="860"/>
                    <a:pt x="420" y="844"/>
                    <a:pt x="441" y="828"/>
                  </a:cubicBezTo>
                  <a:cubicBezTo>
                    <a:pt x="460" y="812"/>
                    <a:pt x="481" y="797"/>
                    <a:pt x="504" y="787"/>
                  </a:cubicBezTo>
                  <a:cubicBezTo>
                    <a:pt x="531" y="775"/>
                    <a:pt x="557" y="776"/>
                    <a:pt x="586" y="784"/>
                  </a:cubicBezTo>
                  <a:cubicBezTo>
                    <a:pt x="613" y="792"/>
                    <a:pt x="639" y="802"/>
                    <a:pt x="666" y="810"/>
                  </a:cubicBezTo>
                  <a:cubicBezTo>
                    <a:pt x="679" y="815"/>
                    <a:pt x="691" y="819"/>
                    <a:pt x="704" y="823"/>
                  </a:cubicBezTo>
                  <a:cubicBezTo>
                    <a:pt x="705" y="824"/>
                    <a:pt x="705" y="825"/>
                    <a:pt x="706" y="826"/>
                  </a:cubicBezTo>
                  <a:cubicBezTo>
                    <a:pt x="778" y="893"/>
                    <a:pt x="764" y="998"/>
                    <a:pt x="756" y="1087"/>
                  </a:cubicBezTo>
                  <a:cubicBezTo>
                    <a:pt x="752" y="1141"/>
                    <a:pt x="741" y="1200"/>
                    <a:pt x="715" y="1248"/>
                  </a:cubicBezTo>
                  <a:cubicBezTo>
                    <a:pt x="1020" y="1248"/>
                    <a:pt x="1020" y="1248"/>
                    <a:pt x="1020" y="1248"/>
                  </a:cubicBezTo>
                  <a:cubicBezTo>
                    <a:pt x="1017" y="1243"/>
                    <a:pt x="1013" y="1237"/>
                    <a:pt x="1008" y="1232"/>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8" name="Freeform 306">
              <a:extLst>
                <a:ext uri="{FF2B5EF4-FFF2-40B4-BE49-F238E27FC236}">
                  <a16:creationId xmlns:a16="http://schemas.microsoft.com/office/drawing/2014/main" id="{50539DB7-EA26-4006-AF52-90A75C781D79}"/>
                </a:ext>
              </a:extLst>
            </p:cNvPr>
            <p:cNvSpPr>
              <a:spLocks noEditPoints="1"/>
            </p:cNvSpPr>
            <p:nvPr/>
          </p:nvSpPr>
          <p:spPr bwMode="auto">
            <a:xfrm>
              <a:off x="6208699" y="4743709"/>
              <a:ext cx="3636629" cy="1925554"/>
            </a:xfrm>
            <a:custGeom>
              <a:avLst/>
              <a:gdLst>
                <a:gd name="T0" fmla="*/ 279 w 1527"/>
                <a:gd name="T1" fmla="*/ 193 h 810"/>
                <a:gd name="T2" fmla="*/ 235 w 1527"/>
                <a:gd name="T3" fmla="*/ 221 h 810"/>
                <a:gd name="T4" fmla="*/ 144 w 1527"/>
                <a:gd name="T5" fmla="*/ 277 h 810"/>
                <a:gd name="T6" fmla="*/ 124 w 1527"/>
                <a:gd name="T7" fmla="*/ 332 h 810"/>
                <a:gd name="T8" fmla="*/ 336 w 1527"/>
                <a:gd name="T9" fmla="*/ 269 h 810"/>
                <a:gd name="T10" fmla="*/ 233 w 1527"/>
                <a:gd name="T11" fmla="*/ 352 h 810"/>
                <a:gd name="T12" fmla="*/ 295 w 1527"/>
                <a:gd name="T13" fmla="*/ 410 h 810"/>
                <a:gd name="T14" fmla="*/ 266 w 1527"/>
                <a:gd name="T15" fmla="*/ 545 h 810"/>
                <a:gd name="T16" fmla="*/ 455 w 1527"/>
                <a:gd name="T17" fmla="*/ 192 h 810"/>
                <a:gd name="T18" fmla="*/ 527 w 1527"/>
                <a:gd name="T19" fmla="*/ 156 h 810"/>
                <a:gd name="T20" fmla="*/ 357 w 1527"/>
                <a:gd name="T21" fmla="*/ 417 h 810"/>
                <a:gd name="T22" fmla="*/ 375 w 1527"/>
                <a:gd name="T23" fmla="*/ 455 h 810"/>
                <a:gd name="T24" fmla="*/ 424 w 1527"/>
                <a:gd name="T25" fmla="*/ 624 h 810"/>
                <a:gd name="T26" fmla="*/ 507 w 1527"/>
                <a:gd name="T27" fmla="*/ 254 h 810"/>
                <a:gd name="T28" fmla="*/ 528 w 1527"/>
                <a:gd name="T29" fmla="*/ 604 h 810"/>
                <a:gd name="T30" fmla="*/ 567 w 1527"/>
                <a:gd name="T31" fmla="*/ 283 h 810"/>
                <a:gd name="T32" fmla="*/ 609 w 1527"/>
                <a:gd name="T33" fmla="*/ 327 h 810"/>
                <a:gd name="T34" fmla="*/ 609 w 1527"/>
                <a:gd name="T35" fmla="*/ 288 h 810"/>
                <a:gd name="T36" fmla="*/ 657 w 1527"/>
                <a:gd name="T37" fmla="*/ 223 h 810"/>
                <a:gd name="T38" fmla="*/ 566 w 1527"/>
                <a:gd name="T39" fmla="*/ 516 h 810"/>
                <a:gd name="T40" fmla="*/ 676 w 1527"/>
                <a:gd name="T41" fmla="*/ 448 h 810"/>
                <a:gd name="T42" fmla="*/ 571 w 1527"/>
                <a:gd name="T43" fmla="*/ 658 h 810"/>
                <a:gd name="T44" fmla="*/ 590 w 1527"/>
                <a:gd name="T45" fmla="*/ 696 h 810"/>
                <a:gd name="T46" fmla="*/ 693 w 1527"/>
                <a:gd name="T47" fmla="*/ 626 h 810"/>
                <a:gd name="T48" fmla="*/ 717 w 1527"/>
                <a:gd name="T49" fmla="*/ 489 h 810"/>
                <a:gd name="T50" fmla="*/ 757 w 1527"/>
                <a:gd name="T51" fmla="*/ 516 h 810"/>
                <a:gd name="T52" fmla="*/ 756 w 1527"/>
                <a:gd name="T53" fmla="*/ 387 h 810"/>
                <a:gd name="T54" fmla="*/ 837 w 1527"/>
                <a:gd name="T55" fmla="*/ 608 h 810"/>
                <a:gd name="T56" fmla="*/ 798 w 1527"/>
                <a:gd name="T57" fmla="*/ 337 h 810"/>
                <a:gd name="T58" fmla="*/ 892 w 1527"/>
                <a:gd name="T59" fmla="*/ 450 h 810"/>
                <a:gd name="T60" fmla="*/ 920 w 1527"/>
                <a:gd name="T61" fmla="*/ 414 h 810"/>
                <a:gd name="T62" fmla="*/ 982 w 1527"/>
                <a:gd name="T63" fmla="*/ 441 h 810"/>
                <a:gd name="T64" fmla="*/ 1026 w 1527"/>
                <a:gd name="T65" fmla="*/ 486 h 810"/>
                <a:gd name="T66" fmla="*/ 1059 w 1527"/>
                <a:gd name="T67" fmla="*/ 462 h 810"/>
                <a:gd name="T68" fmla="*/ 1153 w 1527"/>
                <a:gd name="T69" fmla="*/ 582 h 810"/>
                <a:gd name="T70" fmla="*/ 1161 w 1527"/>
                <a:gd name="T71" fmla="*/ 471 h 810"/>
                <a:gd name="T72" fmla="*/ 1221 w 1527"/>
                <a:gd name="T73" fmla="*/ 446 h 810"/>
                <a:gd name="T74" fmla="*/ 1329 w 1527"/>
                <a:gd name="T75" fmla="*/ 450 h 810"/>
                <a:gd name="T76" fmla="*/ 998 w 1527"/>
                <a:gd name="T77" fmla="*/ 351 h 810"/>
                <a:gd name="T78" fmla="*/ 1135 w 1527"/>
                <a:gd name="T79" fmla="*/ 335 h 810"/>
                <a:gd name="T80" fmla="*/ 1335 w 1527"/>
                <a:gd name="T81" fmla="*/ 342 h 810"/>
                <a:gd name="T82" fmla="*/ 1346 w 1527"/>
                <a:gd name="T83" fmla="*/ 277 h 810"/>
                <a:gd name="T84" fmla="*/ 1202 w 1527"/>
                <a:gd name="T85" fmla="*/ 159 h 810"/>
                <a:gd name="T86" fmla="*/ 1365 w 1527"/>
                <a:gd name="T87" fmla="*/ 99 h 810"/>
                <a:gd name="T88" fmla="*/ 954 w 1527"/>
                <a:gd name="T89" fmla="*/ 58 h 810"/>
                <a:gd name="T90" fmla="*/ 587 w 1527"/>
                <a:gd name="T91" fmla="*/ 31 h 810"/>
                <a:gd name="T92" fmla="*/ 1027 w 1527"/>
                <a:gd name="T93" fmla="*/ 152 h 810"/>
                <a:gd name="T94" fmla="*/ 990 w 1527"/>
                <a:gd name="T95" fmla="*/ 196 h 810"/>
                <a:gd name="T96" fmla="*/ 1145 w 1527"/>
                <a:gd name="T97" fmla="*/ 246 h 810"/>
                <a:gd name="T98" fmla="*/ 1202 w 1527"/>
                <a:gd name="T99" fmla="*/ 295 h 810"/>
                <a:gd name="T100" fmla="*/ 952 w 1527"/>
                <a:gd name="T101" fmla="*/ 175 h 810"/>
                <a:gd name="T102" fmla="*/ 873 w 1527"/>
                <a:gd name="T103" fmla="*/ 242 h 8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527" h="810">
                  <a:moveTo>
                    <a:pt x="587" y="31"/>
                  </a:moveTo>
                  <a:cubicBezTo>
                    <a:pt x="556" y="47"/>
                    <a:pt x="526" y="65"/>
                    <a:pt x="498" y="85"/>
                  </a:cubicBezTo>
                  <a:cubicBezTo>
                    <a:pt x="479" y="98"/>
                    <a:pt x="462" y="112"/>
                    <a:pt x="445" y="126"/>
                  </a:cubicBezTo>
                  <a:cubicBezTo>
                    <a:pt x="415" y="133"/>
                    <a:pt x="386" y="144"/>
                    <a:pt x="358" y="156"/>
                  </a:cubicBezTo>
                  <a:cubicBezTo>
                    <a:pt x="331" y="167"/>
                    <a:pt x="305" y="180"/>
                    <a:pt x="279" y="193"/>
                  </a:cubicBezTo>
                  <a:cubicBezTo>
                    <a:pt x="257" y="185"/>
                    <a:pt x="231" y="188"/>
                    <a:pt x="209" y="197"/>
                  </a:cubicBezTo>
                  <a:cubicBezTo>
                    <a:pt x="200" y="200"/>
                    <a:pt x="204" y="213"/>
                    <a:pt x="213" y="211"/>
                  </a:cubicBezTo>
                  <a:cubicBezTo>
                    <a:pt x="226" y="208"/>
                    <a:pt x="239" y="208"/>
                    <a:pt x="252" y="209"/>
                  </a:cubicBezTo>
                  <a:cubicBezTo>
                    <a:pt x="247" y="212"/>
                    <a:pt x="242" y="216"/>
                    <a:pt x="237" y="219"/>
                  </a:cubicBezTo>
                  <a:cubicBezTo>
                    <a:pt x="236" y="220"/>
                    <a:pt x="235" y="220"/>
                    <a:pt x="235" y="221"/>
                  </a:cubicBezTo>
                  <a:cubicBezTo>
                    <a:pt x="218" y="231"/>
                    <a:pt x="202" y="241"/>
                    <a:pt x="182" y="246"/>
                  </a:cubicBezTo>
                  <a:cubicBezTo>
                    <a:pt x="157" y="251"/>
                    <a:pt x="132" y="250"/>
                    <a:pt x="108" y="255"/>
                  </a:cubicBezTo>
                  <a:cubicBezTo>
                    <a:pt x="68" y="263"/>
                    <a:pt x="27" y="286"/>
                    <a:pt x="5" y="321"/>
                  </a:cubicBezTo>
                  <a:cubicBezTo>
                    <a:pt x="0" y="328"/>
                    <a:pt x="10" y="334"/>
                    <a:pt x="16" y="330"/>
                  </a:cubicBezTo>
                  <a:cubicBezTo>
                    <a:pt x="56" y="299"/>
                    <a:pt x="94" y="280"/>
                    <a:pt x="144" y="277"/>
                  </a:cubicBezTo>
                  <a:cubicBezTo>
                    <a:pt x="147" y="277"/>
                    <a:pt x="150" y="277"/>
                    <a:pt x="152" y="277"/>
                  </a:cubicBezTo>
                  <a:cubicBezTo>
                    <a:pt x="130" y="289"/>
                    <a:pt x="109" y="304"/>
                    <a:pt x="93" y="326"/>
                  </a:cubicBezTo>
                  <a:cubicBezTo>
                    <a:pt x="72" y="357"/>
                    <a:pt x="56" y="403"/>
                    <a:pt x="71" y="439"/>
                  </a:cubicBezTo>
                  <a:cubicBezTo>
                    <a:pt x="74" y="447"/>
                    <a:pt x="84" y="446"/>
                    <a:pt x="85" y="438"/>
                  </a:cubicBezTo>
                  <a:cubicBezTo>
                    <a:pt x="90" y="398"/>
                    <a:pt x="95" y="362"/>
                    <a:pt x="124" y="332"/>
                  </a:cubicBezTo>
                  <a:cubicBezTo>
                    <a:pt x="153" y="302"/>
                    <a:pt x="196" y="293"/>
                    <a:pt x="231" y="271"/>
                  </a:cubicBezTo>
                  <a:cubicBezTo>
                    <a:pt x="268" y="248"/>
                    <a:pt x="299" y="221"/>
                    <a:pt x="342" y="209"/>
                  </a:cubicBezTo>
                  <a:cubicBezTo>
                    <a:pt x="352" y="206"/>
                    <a:pt x="363" y="204"/>
                    <a:pt x="375" y="203"/>
                  </a:cubicBezTo>
                  <a:cubicBezTo>
                    <a:pt x="370" y="209"/>
                    <a:pt x="365" y="216"/>
                    <a:pt x="361" y="223"/>
                  </a:cubicBezTo>
                  <a:cubicBezTo>
                    <a:pt x="351" y="238"/>
                    <a:pt x="343" y="253"/>
                    <a:pt x="336" y="269"/>
                  </a:cubicBezTo>
                  <a:cubicBezTo>
                    <a:pt x="303" y="298"/>
                    <a:pt x="272" y="324"/>
                    <a:pt x="226" y="330"/>
                  </a:cubicBezTo>
                  <a:cubicBezTo>
                    <a:pt x="191" y="334"/>
                    <a:pt x="150" y="332"/>
                    <a:pt x="131" y="369"/>
                  </a:cubicBezTo>
                  <a:cubicBezTo>
                    <a:pt x="128" y="376"/>
                    <a:pt x="137" y="384"/>
                    <a:pt x="143" y="378"/>
                  </a:cubicBezTo>
                  <a:cubicBezTo>
                    <a:pt x="158" y="358"/>
                    <a:pt x="183" y="356"/>
                    <a:pt x="207" y="354"/>
                  </a:cubicBezTo>
                  <a:cubicBezTo>
                    <a:pt x="216" y="354"/>
                    <a:pt x="224" y="353"/>
                    <a:pt x="233" y="352"/>
                  </a:cubicBezTo>
                  <a:cubicBezTo>
                    <a:pt x="230" y="360"/>
                    <a:pt x="228" y="369"/>
                    <a:pt x="229" y="378"/>
                  </a:cubicBezTo>
                  <a:cubicBezTo>
                    <a:pt x="230" y="386"/>
                    <a:pt x="242" y="389"/>
                    <a:pt x="244" y="380"/>
                  </a:cubicBezTo>
                  <a:cubicBezTo>
                    <a:pt x="248" y="364"/>
                    <a:pt x="257" y="354"/>
                    <a:pt x="269" y="344"/>
                  </a:cubicBezTo>
                  <a:cubicBezTo>
                    <a:pt x="285" y="339"/>
                    <a:pt x="302" y="331"/>
                    <a:pt x="317" y="321"/>
                  </a:cubicBezTo>
                  <a:cubicBezTo>
                    <a:pt x="308" y="350"/>
                    <a:pt x="302" y="379"/>
                    <a:pt x="295" y="410"/>
                  </a:cubicBezTo>
                  <a:cubicBezTo>
                    <a:pt x="288" y="443"/>
                    <a:pt x="280" y="476"/>
                    <a:pt x="262" y="506"/>
                  </a:cubicBezTo>
                  <a:cubicBezTo>
                    <a:pt x="254" y="520"/>
                    <a:pt x="243" y="533"/>
                    <a:pt x="231" y="543"/>
                  </a:cubicBezTo>
                  <a:cubicBezTo>
                    <a:pt x="218" y="553"/>
                    <a:pt x="203" y="557"/>
                    <a:pt x="189" y="565"/>
                  </a:cubicBezTo>
                  <a:cubicBezTo>
                    <a:pt x="181" y="569"/>
                    <a:pt x="186" y="579"/>
                    <a:pt x="193" y="580"/>
                  </a:cubicBezTo>
                  <a:cubicBezTo>
                    <a:pt x="220" y="583"/>
                    <a:pt x="248" y="563"/>
                    <a:pt x="266" y="545"/>
                  </a:cubicBezTo>
                  <a:cubicBezTo>
                    <a:pt x="286" y="525"/>
                    <a:pt x="300" y="500"/>
                    <a:pt x="309" y="473"/>
                  </a:cubicBezTo>
                  <a:cubicBezTo>
                    <a:pt x="321" y="439"/>
                    <a:pt x="327" y="403"/>
                    <a:pt x="335" y="368"/>
                  </a:cubicBezTo>
                  <a:cubicBezTo>
                    <a:pt x="343" y="334"/>
                    <a:pt x="357" y="303"/>
                    <a:pt x="376" y="273"/>
                  </a:cubicBezTo>
                  <a:cubicBezTo>
                    <a:pt x="395" y="245"/>
                    <a:pt x="417" y="218"/>
                    <a:pt x="442" y="195"/>
                  </a:cubicBezTo>
                  <a:cubicBezTo>
                    <a:pt x="446" y="194"/>
                    <a:pt x="451" y="193"/>
                    <a:pt x="455" y="192"/>
                  </a:cubicBezTo>
                  <a:cubicBezTo>
                    <a:pt x="448" y="202"/>
                    <a:pt x="443" y="213"/>
                    <a:pt x="437" y="224"/>
                  </a:cubicBezTo>
                  <a:cubicBezTo>
                    <a:pt x="434" y="231"/>
                    <a:pt x="443" y="239"/>
                    <a:pt x="449" y="233"/>
                  </a:cubicBezTo>
                  <a:cubicBezTo>
                    <a:pt x="475" y="206"/>
                    <a:pt x="498" y="177"/>
                    <a:pt x="526" y="152"/>
                  </a:cubicBezTo>
                  <a:cubicBezTo>
                    <a:pt x="528" y="150"/>
                    <a:pt x="531" y="148"/>
                    <a:pt x="533" y="146"/>
                  </a:cubicBezTo>
                  <a:cubicBezTo>
                    <a:pt x="531" y="149"/>
                    <a:pt x="529" y="153"/>
                    <a:pt x="527" y="156"/>
                  </a:cubicBezTo>
                  <a:cubicBezTo>
                    <a:pt x="511" y="181"/>
                    <a:pt x="497" y="205"/>
                    <a:pt x="476" y="225"/>
                  </a:cubicBezTo>
                  <a:cubicBezTo>
                    <a:pt x="455" y="244"/>
                    <a:pt x="429" y="256"/>
                    <a:pt x="408" y="275"/>
                  </a:cubicBezTo>
                  <a:cubicBezTo>
                    <a:pt x="379" y="301"/>
                    <a:pt x="375" y="332"/>
                    <a:pt x="382" y="363"/>
                  </a:cubicBezTo>
                  <a:cubicBezTo>
                    <a:pt x="382" y="364"/>
                    <a:pt x="381" y="364"/>
                    <a:pt x="381" y="364"/>
                  </a:cubicBezTo>
                  <a:cubicBezTo>
                    <a:pt x="371" y="380"/>
                    <a:pt x="365" y="400"/>
                    <a:pt x="357" y="417"/>
                  </a:cubicBezTo>
                  <a:cubicBezTo>
                    <a:pt x="348" y="434"/>
                    <a:pt x="339" y="452"/>
                    <a:pt x="334" y="471"/>
                  </a:cubicBezTo>
                  <a:cubicBezTo>
                    <a:pt x="325" y="507"/>
                    <a:pt x="334" y="539"/>
                    <a:pt x="357" y="568"/>
                  </a:cubicBezTo>
                  <a:cubicBezTo>
                    <a:pt x="363" y="576"/>
                    <a:pt x="374" y="566"/>
                    <a:pt x="370" y="558"/>
                  </a:cubicBezTo>
                  <a:cubicBezTo>
                    <a:pt x="362" y="541"/>
                    <a:pt x="352" y="524"/>
                    <a:pt x="354" y="504"/>
                  </a:cubicBezTo>
                  <a:cubicBezTo>
                    <a:pt x="355" y="486"/>
                    <a:pt x="366" y="470"/>
                    <a:pt x="375" y="455"/>
                  </a:cubicBezTo>
                  <a:cubicBezTo>
                    <a:pt x="384" y="443"/>
                    <a:pt x="395" y="430"/>
                    <a:pt x="404" y="416"/>
                  </a:cubicBezTo>
                  <a:cubicBezTo>
                    <a:pt x="406" y="420"/>
                    <a:pt x="408" y="424"/>
                    <a:pt x="411" y="428"/>
                  </a:cubicBezTo>
                  <a:cubicBezTo>
                    <a:pt x="429" y="459"/>
                    <a:pt x="446" y="492"/>
                    <a:pt x="446" y="528"/>
                  </a:cubicBezTo>
                  <a:cubicBezTo>
                    <a:pt x="447" y="562"/>
                    <a:pt x="433" y="585"/>
                    <a:pt x="413" y="610"/>
                  </a:cubicBezTo>
                  <a:cubicBezTo>
                    <a:pt x="407" y="618"/>
                    <a:pt x="414" y="628"/>
                    <a:pt x="424" y="624"/>
                  </a:cubicBezTo>
                  <a:cubicBezTo>
                    <a:pt x="472" y="602"/>
                    <a:pt x="480" y="534"/>
                    <a:pt x="471" y="488"/>
                  </a:cubicBezTo>
                  <a:cubicBezTo>
                    <a:pt x="465" y="457"/>
                    <a:pt x="450" y="429"/>
                    <a:pt x="436" y="401"/>
                  </a:cubicBezTo>
                  <a:cubicBezTo>
                    <a:pt x="421" y="374"/>
                    <a:pt x="404" y="338"/>
                    <a:pt x="428" y="311"/>
                  </a:cubicBezTo>
                  <a:cubicBezTo>
                    <a:pt x="445" y="292"/>
                    <a:pt x="472" y="283"/>
                    <a:pt x="491" y="267"/>
                  </a:cubicBezTo>
                  <a:cubicBezTo>
                    <a:pt x="497" y="263"/>
                    <a:pt x="502" y="259"/>
                    <a:pt x="507" y="254"/>
                  </a:cubicBezTo>
                  <a:cubicBezTo>
                    <a:pt x="467" y="298"/>
                    <a:pt x="421" y="349"/>
                    <a:pt x="456" y="402"/>
                  </a:cubicBezTo>
                  <a:cubicBezTo>
                    <a:pt x="460" y="408"/>
                    <a:pt x="471" y="407"/>
                    <a:pt x="470" y="399"/>
                  </a:cubicBezTo>
                  <a:cubicBezTo>
                    <a:pt x="464" y="354"/>
                    <a:pt x="487" y="322"/>
                    <a:pt x="516" y="294"/>
                  </a:cubicBezTo>
                  <a:cubicBezTo>
                    <a:pt x="499" y="339"/>
                    <a:pt x="493" y="389"/>
                    <a:pt x="495" y="437"/>
                  </a:cubicBezTo>
                  <a:cubicBezTo>
                    <a:pt x="497" y="492"/>
                    <a:pt x="507" y="554"/>
                    <a:pt x="528" y="604"/>
                  </a:cubicBezTo>
                  <a:cubicBezTo>
                    <a:pt x="531" y="612"/>
                    <a:pt x="543" y="611"/>
                    <a:pt x="543" y="602"/>
                  </a:cubicBezTo>
                  <a:cubicBezTo>
                    <a:pt x="543" y="575"/>
                    <a:pt x="538" y="547"/>
                    <a:pt x="535" y="520"/>
                  </a:cubicBezTo>
                  <a:cubicBezTo>
                    <a:pt x="532" y="495"/>
                    <a:pt x="531" y="470"/>
                    <a:pt x="531" y="445"/>
                  </a:cubicBezTo>
                  <a:cubicBezTo>
                    <a:pt x="530" y="396"/>
                    <a:pt x="536" y="347"/>
                    <a:pt x="556" y="302"/>
                  </a:cubicBezTo>
                  <a:cubicBezTo>
                    <a:pt x="559" y="296"/>
                    <a:pt x="563" y="289"/>
                    <a:pt x="567" y="283"/>
                  </a:cubicBezTo>
                  <a:cubicBezTo>
                    <a:pt x="570" y="300"/>
                    <a:pt x="570" y="317"/>
                    <a:pt x="569" y="334"/>
                  </a:cubicBezTo>
                  <a:cubicBezTo>
                    <a:pt x="566" y="370"/>
                    <a:pt x="551" y="402"/>
                    <a:pt x="543" y="437"/>
                  </a:cubicBezTo>
                  <a:cubicBezTo>
                    <a:pt x="542" y="443"/>
                    <a:pt x="548" y="449"/>
                    <a:pt x="554" y="445"/>
                  </a:cubicBezTo>
                  <a:cubicBezTo>
                    <a:pt x="589" y="424"/>
                    <a:pt x="604" y="375"/>
                    <a:pt x="608" y="337"/>
                  </a:cubicBezTo>
                  <a:cubicBezTo>
                    <a:pt x="609" y="334"/>
                    <a:pt x="609" y="330"/>
                    <a:pt x="609" y="327"/>
                  </a:cubicBezTo>
                  <a:cubicBezTo>
                    <a:pt x="617" y="342"/>
                    <a:pt x="612" y="360"/>
                    <a:pt x="613" y="378"/>
                  </a:cubicBezTo>
                  <a:cubicBezTo>
                    <a:pt x="613" y="385"/>
                    <a:pt x="623" y="388"/>
                    <a:pt x="627" y="382"/>
                  </a:cubicBezTo>
                  <a:cubicBezTo>
                    <a:pt x="636" y="366"/>
                    <a:pt x="638" y="344"/>
                    <a:pt x="634" y="327"/>
                  </a:cubicBezTo>
                  <a:cubicBezTo>
                    <a:pt x="632" y="318"/>
                    <a:pt x="628" y="310"/>
                    <a:pt x="622" y="302"/>
                  </a:cubicBezTo>
                  <a:cubicBezTo>
                    <a:pt x="618" y="297"/>
                    <a:pt x="613" y="293"/>
                    <a:pt x="609" y="288"/>
                  </a:cubicBezTo>
                  <a:cubicBezTo>
                    <a:pt x="607" y="272"/>
                    <a:pt x="604" y="257"/>
                    <a:pt x="598" y="243"/>
                  </a:cubicBezTo>
                  <a:cubicBezTo>
                    <a:pt x="609" y="231"/>
                    <a:pt x="622" y="221"/>
                    <a:pt x="635" y="212"/>
                  </a:cubicBezTo>
                  <a:cubicBezTo>
                    <a:pt x="628" y="227"/>
                    <a:pt x="624" y="244"/>
                    <a:pt x="623" y="260"/>
                  </a:cubicBezTo>
                  <a:cubicBezTo>
                    <a:pt x="623" y="269"/>
                    <a:pt x="635" y="270"/>
                    <a:pt x="638" y="262"/>
                  </a:cubicBezTo>
                  <a:cubicBezTo>
                    <a:pt x="643" y="249"/>
                    <a:pt x="650" y="236"/>
                    <a:pt x="657" y="223"/>
                  </a:cubicBezTo>
                  <a:cubicBezTo>
                    <a:pt x="656" y="234"/>
                    <a:pt x="656" y="245"/>
                    <a:pt x="656" y="255"/>
                  </a:cubicBezTo>
                  <a:cubicBezTo>
                    <a:pt x="657" y="286"/>
                    <a:pt x="661" y="317"/>
                    <a:pt x="665" y="347"/>
                  </a:cubicBezTo>
                  <a:cubicBezTo>
                    <a:pt x="662" y="355"/>
                    <a:pt x="659" y="363"/>
                    <a:pt x="656" y="370"/>
                  </a:cubicBezTo>
                  <a:cubicBezTo>
                    <a:pt x="646" y="391"/>
                    <a:pt x="632" y="406"/>
                    <a:pt x="615" y="421"/>
                  </a:cubicBezTo>
                  <a:cubicBezTo>
                    <a:pt x="588" y="447"/>
                    <a:pt x="568" y="478"/>
                    <a:pt x="566" y="516"/>
                  </a:cubicBezTo>
                  <a:cubicBezTo>
                    <a:pt x="565" y="525"/>
                    <a:pt x="578" y="526"/>
                    <a:pt x="581" y="518"/>
                  </a:cubicBezTo>
                  <a:cubicBezTo>
                    <a:pt x="587" y="498"/>
                    <a:pt x="596" y="480"/>
                    <a:pt x="609" y="463"/>
                  </a:cubicBezTo>
                  <a:cubicBezTo>
                    <a:pt x="623" y="447"/>
                    <a:pt x="641" y="437"/>
                    <a:pt x="656" y="422"/>
                  </a:cubicBezTo>
                  <a:cubicBezTo>
                    <a:pt x="662" y="417"/>
                    <a:pt x="668" y="411"/>
                    <a:pt x="673" y="404"/>
                  </a:cubicBezTo>
                  <a:cubicBezTo>
                    <a:pt x="674" y="419"/>
                    <a:pt x="676" y="433"/>
                    <a:pt x="676" y="448"/>
                  </a:cubicBezTo>
                  <a:cubicBezTo>
                    <a:pt x="677" y="471"/>
                    <a:pt x="676" y="493"/>
                    <a:pt x="675" y="516"/>
                  </a:cubicBezTo>
                  <a:cubicBezTo>
                    <a:pt x="670" y="527"/>
                    <a:pt x="665" y="538"/>
                    <a:pt x="657" y="546"/>
                  </a:cubicBezTo>
                  <a:cubicBezTo>
                    <a:pt x="643" y="561"/>
                    <a:pt x="623" y="568"/>
                    <a:pt x="606" y="577"/>
                  </a:cubicBezTo>
                  <a:cubicBezTo>
                    <a:pt x="576" y="594"/>
                    <a:pt x="554" y="620"/>
                    <a:pt x="557" y="656"/>
                  </a:cubicBezTo>
                  <a:cubicBezTo>
                    <a:pt x="557" y="664"/>
                    <a:pt x="569" y="667"/>
                    <a:pt x="571" y="658"/>
                  </a:cubicBezTo>
                  <a:cubicBezTo>
                    <a:pt x="576" y="636"/>
                    <a:pt x="586" y="618"/>
                    <a:pt x="606" y="606"/>
                  </a:cubicBezTo>
                  <a:cubicBezTo>
                    <a:pt x="622" y="597"/>
                    <a:pt x="639" y="592"/>
                    <a:pt x="656" y="584"/>
                  </a:cubicBezTo>
                  <a:cubicBezTo>
                    <a:pt x="660" y="581"/>
                    <a:pt x="664" y="579"/>
                    <a:pt x="668" y="576"/>
                  </a:cubicBezTo>
                  <a:cubicBezTo>
                    <a:pt x="667" y="580"/>
                    <a:pt x="667" y="584"/>
                    <a:pt x="666" y="588"/>
                  </a:cubicBezTo>
                  <a:cubicBezTo>
                    <a:pt x="647" y="629"/>
                    <a:pt x="602" y="652"/>
                    <a:pt x="590" y="696"/>
                  </a:cubicBezTo>
                  <a:cubicBezTo>
                    <a:pt x="588" y="704"/>
                    <a:pt x="600" y="710"/>
                    <a:pt x="604" y="702"/>
                  </a:cubicBezTo>
                  <a:cubicBezTo>
                    <a:pt x="614" y="682"/>
                    <a:pt x="634" y="668"/>
                    <a:pt x="654" y="653"/>
                  </a:cubicBezTo>
                  <a:cubicBezTo>
                    <a:pt x="643" y="703"/>
                    <a:pt x="632" y="754"/>
                    <a:pt x="655" y="802"/>
                  </a:cubicBezTo>
                  <a:cubicBezTo>
                    <a:pt x="658" y="810"/>
                    <a:pt x="670" y="804"/>
                    <a:pt x="668" y="796"/>
                  </a:cubicBezTo>
                  <a:cubicBezTo>
                    <a:pt x="654" y="736"/>
                    <a:pt x="676" y="682"/>
                    <a:pt x="693" y="626"/>
                  </a:cubicBezTo>
                  <a:cubicBezTo>
                    <a:pt x="700" y="603"/>
                    <a:pt x="706" y="579"/>
                    <a:pt x="709" y="556"/>
                  </a:cubicBezTo>
                  <a:cubicBezTo>
                    <a:pt x="712" y="563"/>
                    <a:pt x="715" y="571"/>
                    <a:pt x="718" y="579"/>
                  </a:cubicBezTo>
                  <a:cubicBezTo>
                    <a:pt x="726" y="607"/>
                    <a:pt x="727" y="635"/>
                    <a:pt x="726" y="664"/>
                  </a:cubicBezTo>
                  <a:cubicBezTo>
                    <a:pt x="726" y="672"/>
                    <a:pt x="737" y="675"/>
                    <a:pt x="740" y="668"/>
                  </a:cubicBezTo>
                  <a:cubicBezTo>
                    <a:pt x="765" y="614"/>
                    <a:pt x="747" y="538"/>
                    <a:pt x="717" y="489"/>
                  </a:cubicBezTo>
                  <a:cubicBezTo>
                    <a:pt x="717" y="488"/>
                    <a:pt x="717" y="488"/>
                    <a:pt x="717" y="488"/>
                  </a:cubicBezTo>
                  <a:cubicBezTo>
                    <a:pt x="717" y="477"/>
                    <a:pt x="718" y="466"/>
                    <a:pt x="718" y="455"/>
                  </a:cubicBezTo>
                  <a:cubicBezTo>
                    <a:pt x="718" y="441"/>
                    <a:pt x="718" y="427"/>
                    <a:pt x="717" y="412"/>
                  </a:cubicBezTo>
                  <a:cubicBezTo>
                    <a:pt x="726" y="422"/>
                    <a:pt x="735" y="431"/>
                    <a:pt x="741" y="444"/>
                  </a:cubicBezTo>
                  <a:cubicBezTo>
                    <a:pt x="753" y="465"/>
                    <a:pt x="756" y="492"/>
                    <a:pt x="757" y="516"/>
                  </a:cubicBezTo>
                  <a:cubicBezTo>
                    <a:pt x="757" y="525"/>
                    <a:pt x="769" y="526"/>
                    <a:pt x="772" y="518"/>
                  </a:cubicBezTo>
                  <a:cubicBezTo>
                    <a:pt x="792" y="465"/>
                    <a:pt x="771" y="394"/>
                    <a:pt x="714" y="372"/>
                  </a:cubicBezTo>
                  <a:cubicBezTo>
                    <a:pt x="713" y="355"/>
                    <a:pt x="711" y="337"/>
                    <a:pt x="710" y="320"/>
                  </a:cubicBezTo>
                  <a:cubicBezTo>
                    <a:pt x="711" y="323"/>
                    <a:pt x="712" y="325"/>
                    <a:pt x="713" y="328"/>
                  </a:cubicBezTo>
                  <a:cubicBezTo>
                    <a:pt x="724" y="350"/>
                    <a:pt x="739" y="369"/>
                    <a:pt x="756" y="387"/>
                  </a:cubicBezTo>
                  <a:cubicBezTo>
                    <a:pt x="777" y="407"/>
                    <a:pt x="795" y="426"/>
                    <a:pt x="802" y="455"/>
                  </a:cubicBezTo>
                  <a:cubicBezTo>
                    <a:pt x="815" y="513"/>
                    <a:pt x="791" y="567"/>
                    <a:pt x="778" y="622"/>
                  </a:cubicBezTo>
                  <a:cubicBezTo>
                    <a:pt x="777" y="629"/>
                    <a:pt x="786" y="635"/>
                    <a:pt x="791" y="629"/>
                  </a:cubicBezTo>
                  <a:cubicBezTo>
                    <a:pt x="823" y="593"/>
                    <a:pt x="843" y="545"/>
                    <a:pt x="847" y="496"/>
                  </a:cubicBezTo>
                  <a:cubicBezTo>
                    <a:pt x="851" y="533"/>
                    <a:pt x="845" y="572"/>
                    <a:pt x="837" y="608"/>
                  </a:cubicBezTo>
                  <a:cubicBezTo>
                    <a:pt x="834" y="618"/>
                    <a:pt x="847" y="621"/>
                    <a:pt x="851" y="612"/>
                  </a:cubicBezTo>
                  <a:cubicBezTo>
                    <a:pt x="865" y="575"/>
                    <a:pt x="874" y="534"/>
                    <a:pt x="872" y="494"/>
                  </a:cubicBezTo>
                  <a:cubicBezTo>
                    <a:pt x="871" y="462"/>
                    <a:pt x="853" y="440"/>
                    <a:pt x="837" y="415"/>
                  </a:cubicBezTo>
                  <a:cubicBezTo>
                    <a:pt x="837" y="414"/>
                    <a:pt x="836" y="412"/>
                    <a:pt x="836" y="411"/>
                  </a:cubicBezTo>
                  <a:cubicBezTo>
                    <a:pt x="827" y="385"/>
                    <a:pt x="811" y="362"/>
                    <a:pt x="798" y="337"/>
                  </a:cubicBezTo>
                  <a:cubicBezTo>
                    <a:pt x="778" y="298"/>
                    <a:pt x="767" y="256"/>
                    <a:pt x="768" y="212"/>
                  </a:cubicBezTo>
                  <a:cubicBezTo>
                    <a:pt x="768" y="211"/>
                    <a:pt x="768" y="211"/>
                    <a:pt x="768" y="210"/>
                  </a:cubicBezTo>
                  <a:cubicBezTo>
                    <a:pt x="769" y="216"/>
                    <a:pt x="770" y="222"/>
                    <a:pt x="771" y="227"/>
                  </a:cubicBezTo>
                  <a:cubicBezTo>
                    <a:pt x="784" y="283"/>
                    <a:pt x="821" y="329"/>
                    <a:pt x="853" y="375"/>
                  </a:cubicBezTo>
                  <a:cubicBezTo>
                    <a:pt x="869" y="398"/>
                    <a:pt x="885" y="423"/>
                    <a:pt x="892" y="450"/>
                  </a:cubicBezTo>
                  <a:cubicBezTo>
                    <a:pt x="899" y="475"/>
                    <a:pt x="900" y="502"/>
                    <a:pt x="901" y="528"/>
                  </a:cubicBezTo>
                  <a:cubicBezTo>
                    <a:pt x="904" y="576"/>
                    <a:pt x="905" y="628"/>
                    <a:pt x="937" y="667"/>
                  </a:cubicBezTo>
                  <a:cubicBezTo>
                    <a:pt x="941" y="672"/>
                    <a:pt x="951" y="666"/>
                    <a:pt x="949" y="660"/>
                  </a:cubicBezTo>
                  <a:cubicBezTo>
                    <a:pt x="931" y="615"/>
                    <a:pt x="932" y="569"/>
                    <a:pt x="934" y="521"/>
                  </a:cubicBezTo>
                  <a:cubicBezTo>
                    <a:pt x="935" y="484"/>
                    <a:pt x="931" y="449"/>
                    <a:pt x="920" y="414"/>
                  </a:cubicBezTo>
                  <a:cubicBezTo>
                    <a:pt x="935" y="426"/>
                    <a:pt x="947" y="438"/>
                    <a:pt x="957" y="456"/>
                  </a:cubicBezTo>
                  <a:cubicBezTo>
                    <a:pt x="964" y="469"/>
                    <a:pt x="969" y="482"/>
                    <a:pt x="971" y="496"/>
                  </a:cubicBezTo>
                  <a:cubicBezTo>
                    <a:pt x="974" y="510"/>
                    <a:pt x="973" y="524"/>
                    <a:pt x="977" y="538"/>
                  </a:cubicBezTo>
                  <a:cubicBezTo>
                    <a:pt x="979" y="544"/>
                    <a:pt x="988" y="546"/>
                    <a:pt x="991" y="540"/>
                  </a:cubicBezTo>
                  <a:cubicBezTo>
                    <a:pt x="1007" y="512"/>
                    <a:pt x="995" y="469"/>
                    <a:pt x="982" y="441"/>
                  </a:cubicBezTo>
                  <a:cubicBezTo>
                    <a:pt x="975" y="427"/>
                    <a:pt x="966" y="412"/>
                    <a:pt x="955" y="399"/>
                  </a:cubicBezTo>
                  <a:cubicBezTo>
                    <a:pt x="959" y="400"/>
                    <a:pt x="964" y="400"/>
                    <a:pt x="969" y="401"/>
                  </a:cubicBezTo>
                  <a:cubicBezTo>
                    <a:pt x="969" y="401"/>
                    <a:pt x="970" y="401"/>
                    <a:pt x="971" y="401"/>
                  </a:cubicBezTo>
                  <a:cubicBezTo>
                    <a:pt x="973" y="405"/>
                    <a:pt x="976" y="409"/>
                    <a:pt x="979" y="413"/>
                  </a:cubicBezTo>
                  <a:cubicBezTo>
                    <a:pt x="996" y="436"/>
                    <a:pt x="1014" y="459"/>
                    <a:pt x="1026" y="486"/>
                  </a:cubicBezTo>
                  <a:cubicBezTo>
                    <a:pt x="1039" y="515"/>
                    <a:pt x="1042" y="546"/>
                    <a:pt x="1041" y="577"/>
                  </a:cubicBezTo>
                  <a:cubicBezTo>
                    <a:pt x="1039" y="608"/>
                    <a:pt x="1031" y="639"/>
                    <a:pt x="1029" y="670"/>
                  </a:cubicBezTo>
                  <a:cubicBezTo>
                    <a:pt x="1029" y="678"/>
                    <a:pt x="1040" y="680"/>
                    <a:pt x="1043" y="674"/>
                  </a:cubicBezTo>
                  <a:cubicBezTo>
                    <a:pt x="1074" y="627"/>
                    <a:pt x="1081" y="560"/>
                    <a:pt x="1072" y="506"/>
                  </a:cubicBezTo>
                  <a:cubicBezTo>
                    <a:pt x="1070" y="491"/>
                    <a:pt x="1065" y="476"/>
                    <a:pt x="1059" y="462"/>
                  </a:cubicBezTo>
                  <a:cubicBezTo>
                    <a:pt x="1070" y="465"/>
                    <a:pt x="1082" y="467"/>
                    <a:pt x="1094" y="468"/>
                  </a:cubicBezTo>
                  <a:cubicBezTo>
                    <a:pt x="1096" y="469"/>
                    <a:pt x="1097" y="470"/>
                    <a:pt x="1099" y="471"/>
                  </a:cubicBezTo>
                  <a:cubicBezTo>
                    <a:pt x="1099" y="471"/>
                    <a:pt x="1099" y="471"/>
                    <a:pt x="1099" y="471"/>
                  </a:cubicBezTo>
                  <a:cubicBezTo>
                    <a:pt x="1100" y="475"/>
                    <a:pt x="1103" y="478"/>
                    <a:pt x="1107" y="481"/>
                  </a:cubicBezTo>
                  <a:cubicBezTo>
                    <a:pt x="1143" y="504"/>
                    <a:pt x="1178" y="537"/>
                    <a:pt x="1153" y="582"/>
                  </a:cubicBezTo>
                  <a:cubicBezTo>
                    <a:pt x="1134" y="616"/>
                    <a:pt x="1115" y="653"/>
                    <a:pt x="1129" y="693"/>
                  </a:cubicBezTo>
                  <a:cubicBezTo>
                    <a:pt x="1131" y="699"/>
                    <a:pt x="1142" y="701"/>
                    <a:pt x="1144" y="693"/>
                  </a:cubicBezTo>
                  <a:cubicBezTo>
                    <a:pt x="1149" y="664"/>
                    <a:pt x="1153" y="639"/>
                    <a:pt x="1169" y="614"/>
                  </a:cubicBezTo>
                  <a:cubicBezTo>
                    <a:pt x="1183" y="595"/>
                    <a:pt x="1196" y="577"/>
                    <a:pt x="1197" y="552"/>
                  </a:cubicBezTo>
                  <a:cubicBezTo>
                    <a:pt x="1199" y="521"/>
                    <a:pt x="1184" y="491"/>
                    <a:pt x="1161" y="471"/>
                  </a:cubicBezTo>
                  <a:cubicBezTo>
                    <a:pt x="1190" y="474"/>
                    <a:pt x="1219" y="481"/>
                    <a:pt x="1236" y="507"/>
                  </a:cubicBezTo>
                  <a:cubicBezTo>
                    <a:pt x="1253" y="533"/>
                    <a:pt x="1246" y="557"/>
                    <a:pt x="1241" y="586"/>
                  </a:cubicBezTo>
                  <a:cubicBezTo>
                    <a:pt x="1240" y="595"/>
                    <a:pt x="1249" y="600"/>
                    <a:pt x="1257" y="594"/>
                  </a:cubicBezTo>
                  <a:cubicBezTo>
                    <a:pt x="1278" y="577"/>
                    <a:pt x="1280" y="543"/>
                    <a:pt x="1275" y="518"/>
                  </a:cubicBezTo>
                  <a:cubicBezTo>
                    <a:pt x="1269" y="487"/>
                    <a:pt x="1249" y="461"/>
                    <a:pt x="1221" y="446"/>
                  </a:cubicBezTo>
                  <a:cubicBezTo>
                    <a:pt x="1189" y="430"/>
                    <a:pt x="1153" y="429"/>
                    <a:pt x="1118" y="423"/>
                  </a:cubicBezTo>
                  <a:cubicBezTo>
                    <a:pt x="1095" y="419"/>
                    <a:pt x="1077" y="413"/>
                    <a:pt x="1059" y="403"/>
                  </a:cubicBezTo>
                  <a:cubicBezTo>
                    <a:pt x="1092" y="401"/>
                    <a:pt x="1126" y="398"/>
                    <a:pt x="1158" y="395"/>
                  </a:cubicBezTo>
                  <a:cubicBezTo>
                    <a:pt x="1210" y="390"/>
                    <a:pt x="1302" y="374"/>
                    <a:pt x="1311" y="448"/>
                  </a:cubicBezTo>
                  <a:cubicBezTo>
                    <a:pt x="1312" y="457"/>
                    <a:pt x="1327" y="462"/>
                    <a:pt x="1329" y="450"/>
                  </a:cubicBezTo>
                  <a:cubicBezTo>
                    <a:pt x="1336" y="403"/>
                    <a:pt x="1292" y="367"/>
                    <a:pt x="1250" y="357"/>
                  </a:cubicBezTo>
                  <a:cubicBezTo>
                    <a:pt x="1220" y="351"/>
                    <a:pt x="1189" y="353"/>
                    <a:pt x="1158" y="354"/>
                  </a:cubicBezTo>
                  <a:cubicBezTo>
                    <a:pt x="1123" y="354"/>
                    <a:pt x="1087" y="354"/>
                    <a:pt x="1052" y="353"/>
                  </a:cubicBezTo>
                  <a:cubicBezTo>
                    <a:pt x="1036" y="353"/>
                    <a:pt x="1017" y="353"/>
                    <a:pt x="998" y="352"/>
                  </a:cubicBezTo>
                  <a:cubicBezTo>
                    <a:pt x="998" y="352"/>
                    <a:pt x="998" y="352"/>
                    <a:pt x="998" y="351"/>
                  </a:cubicBezTo>
                  <a:cubicBezTo>
                    <a:pt x="985" y="325"/>
                    <a:pt x="980" y="295"/>
                    <a:pt x="970" y="268"/>
                  </a:cubicBezTo>
                  <a:cubicBezTo>
                    <a:pt x="969" y="265"/>
                    <a:pt x="968" y="262"/>
                    <a:pt x="967" y="259"/>
                  </a:cubicBezTo>
                  <a:cubicBezTo>
                    <a:pt x="971" y="262"/>
                    <a:pt x="975" y="266"/>
                    <a:pt x="979" y="269"/>
                  </a:cubicBezTo>
                  <a:cubicBezTo>
                    <a:pt x="999" y="291"/>
                    <a:pt x="1019" y="308"/>
                    <a:pt x="1046" y="319"/>
                  </a:cubicBezTo>
                  <a:cubicBezTo>
                    <a:pt x="1074" y="331"/>
                    <a:pt x="1105" y="335"/>
                    <a:pt x="1135" y="335"/>
                  </a:cubicBezTo>
                  <a:cubicBezTo>
                    <a:pt x="1181" y="336"/>
                    <a:pt x="1225" y="332"/>
                    <a:pt x="1270" y="334"/>
                  </a:cubicBezTo>
                  <a:cubicBezTo>
                    <a:pt x="1271" y="340"/>
                    <a:pt x="1273" y="346"/>
                    <a:pt x="1275" y="353"/>
                  </a:cubicBezTo>
                  <a:cubicBezTo>
                    <a:pt x="1277" y="360"/>
                    <a:pt x="1290" y="359"/>
                    <a:pt x="1289" y="351"/>
                  </a:cubicBezTo>
                  <a:cubicBezTo>
                    <a:pt x="1289" y="345"/>
                    <a:pt x="1288" y="340"/>
                    <a:pt x="1288" y="335"/>
                  </a:cubicBezTo>
                  <a:cubicBezTo>
                    <a:pt x="1304" y="336"/>
                    <a:pt x="1320" y="338"/>
                    <a:pt x="1335" y="342"/>
                  </a:cubicBezTo>
                  <a:cubicBezTo>
                    <a:pt x="1394" y="356"/>
                    <a:pt x="1445" y="387"/>
                    <a:pt x="1480" y="437"/>
                  </a:cubicBezTo>
                  <a:cubicBezTo>
                    <a:pt x="1486" y="446"/>
                    <a:pt x="1498" y="439"/>
                    <a:pt x="1494" y="429"/>
                  </a:cubicBezTo>
                  <a:cubicBezTo>
                    <a:pt x="1457" y="345"/>
                    <a:pt x="1371" y="310"/>
                    <a:pt x="1284" y="299"/>
                  </a:cubicBezTo>
                  <a:cubicBezTo>
                    <a:pt x="1283" y="284"/>
                    <a:pt x="1280" y="270"/>
                    <a:pt x="1276" y="256"/>
                  </a:cubicBezTo>
                  <a:cubicBezTo>
                    <a:pt x="1300" y="262"/>
                    <a:pt x="1323" y="270"/>
                    <a:pt x="1346" y="277"/>
                  </a:cubicBezTo>
                  <a:cubicBezTo>
                    <a:pt x="1373" y="285"/>
                    <a:pt x="1400" y="290"/>
                    <a:pt x="1427" y="296"/>
                  </a:cubicBezTo>
                  <a:cubicBezTo>
                    <a:pt x="1436" y="298"/>
                    <a:pt x="1441" y="287"/>
                    <a:pt x="1433" y="282"/>
                  </a:cubicBezTo>
                  <a:cubicBezTo>
                    <a:pt x="1389" y="255"/>
                    <a:pt x="1345" y="228"/>
                    <a:pt x="1295" y="211"/>
                  </a:cubicBezTo>
                  <a:cubicBezTo>
                    <a:pt x="1280" y="206"/>
                    <a:pt x="1264" y="203"/>
                    <a:pt x="1249" y="202"/>
                  </a:cubicBezTo>
                  <a:cubicBezTo>
                    <a:pt x="1236" y="185"/>
                    <a:pt x="1220" y="171"/>
                    <a:pt x="1202" y="159"/>
                  </a:cubicBezTo>
                  <a:cubicBezTo>
                    <a:pt x="1315" y="169"/>
                    <a:pt x="1441" y="159"/>
                    <a:pt x="1512" y="265"/>
                  </a:cubicBezTo>
                  <a:cubicBezTo>
                    <a:pt x="1516" y="272"/>
                    <a:pt x="1527" y="268"/>
                    <a:pt x="1525" y="259"/>
                  </a:cubicBezTo>
                  <a:cubicBezTo>
                    <a:pt x="1495" y="163"/>
                    <a:pt x="1388" y="145"/>
                    <a:pt x="1295" y="135"/>
                  </a:cubicBezTo>
                  <a:cubicBezTo>
                    <a:pt x="1317" y="124"/>
                    <a:pt x="1338" y="110"/>
                    <a:pt x="1363" y="113"/>
                  </a:cubicBezTo>
                  <a:cubicBezTo>
                    <a:pt x="1372" y="114"/>
                    <a:pt x="1372" y="101"/>
                    <a:pt x="1365" y="99"/>
                  </a:cubicBezTo>
                  <a:cubicBezTo>
                    <a:pt x="1341" y="89"/>
                    <a:pt x="1319" y="97"/>
                    <a:pt x="1297" y="108"/>
                  </a:cubicBezTo>
                  <a:cubicBezTo>
                    <a:pt x="1283" y="114"/>
                    <a:pt x="1270" y="120"/>
                    <a:pt x="1256" y="124"/>
                  </a:cubicBezTo>
                  <a:cubicBezTo>
                    <a:pt x="1245" y="127"/>
                    <a:pt x="1236" y="128"/>
                    <a:pt x="1226" y="128"/>
                  </a:cubicBezTo>
                  <a:cubicBezTo>
                    <a:pt x="1158" y="119"/>
                    <a:pt x="1092" y="101"/>
                    <a:pt x="1026" y="83"/>
                  </a:cubicBezTo>
                  <a:cubicBezTo>
                    <a:pt x="1002" y="76"/>
                    <a:pt x="977" y="69"/>
                    <a:pt x="954" y="58"/>
                  </a:cubicBezTo>
                  <a:cubicBezTo>
                    <a:pt x="949" y="55"/>
                    <a:pt x="944" y="52"/>
                    <a:pt x="939" y="49"/>
                  </a:cubicBezTo>
                  <a:cubicBezTo>
                    <a:pt x="933" y="32"/>
                    <a:pt x="929" y="15"/>
                    <a:pt x="920" y="0"/>
                  </a:cubicBezTo>
                  <a:cubicBezTo>
                    <a:pt x="615" y="0"/>
                    <a:pt x="615" y="0"/>
                    <a:pt x="615" y="0"/>
                  </a:cubicBezTo>
                  <a:cubicBezTo>
                    <a:pt x="610" y="9"/>
                    <a:pt x="605" y="17"/>
                    <a:pt x="600" y="25"/>
                  </a:cubicBezTo>
                  <a:cubicBezTo>
                    <a:pt x="595" y="27"/>
                    <a:pt x="591" y="29"/>
                    <a:pt x="587" y="31"/>
                  </a:cubicBezTo>
                  <a:close/>
                  <a:moveTo>
                    <a:pt x="1074" y="145"/>
                  </a:moveTo>
                  <a:cubicBezTo>
                    <a:pt x="1109" y="153"/>
                    <a:pt x="1141" y="166"/>
                    <a:pt x="1172" y="184"/>
                  </a:cubicBezTo>
                  <a:cubicBezTo>
                    <a:pt x="1179" y="188"/>
                    <a:pt x="1187" y="193"/>
                    <a:pt x="1193" y="197"/>
                  </a:cubicBezTo>
                  <a:cubicBezTo>
                    <a:pt x="1180" y="196"/>
                    <a:pt x="1166" y="195"/>
                    <a:pt x="1153" y="193"/>
                  </a:cubicBezTo>
                  <a:cubicBezTo>
                    <a:pt x="1109" y="185"/>
                    <a:pt x="1066" y="172"/>
                    <a:pt x="1027" y="152"/>
                  </a:cubicBezTo>
                  <a:cubicBezTo>
                    <a:pt x="1018" y="148"/>
                    <a:pt x="1009" y="143"/>
                    <a:pt x="1001" y="138"/>
                  </a:cubicBezTo>
                  <a:cubicBezTo>
                    <a:pt x="1001" y="137"/>
                    <a:pt x="1000" y="137"/>
                    <a:pt x="1000" y="136"/>
                  </a:cubicBezTo>
                  <a:cubicBezTo>
                    <a:pt x="1025" y="138"/>
                    <a:pt x="1050" y="139"/>
                    <a:pt x="1074" y="145"/>
                  </a:cubicBezTo>
                  <a:close/>
                  <a:moveTo>
                    <a:pt x="952" y="175"/>
                  </a:moveTo>
                  <a:cubicBezTo>
                    <a:pt x="965" y="183"/>
                    <a:pt x="978" y="190"/>
                    <a:pt x="990" y="196"/>
                  </a:cubicBezTo>
                  <a:cubicBezTo>
                    <a:pt x="1025" y="215"/>
                    <a:pt x="1063" y="229"/>
                    <a:pt x="1102" y="238"/>
                  </a:cubicBezTo>
                  <a:cubicBezTo>
                    <a:pt x="1119" y="270"/>
                    <a:pt x="1158" y="291"/>
                    <a:pt x="1193" y="282"/>
                  </a:cubicBezTo>
                  <a:cubicBezTo>
                    <a:pt x="1200" y="281"/>
                    <a:pt x="1200" y="270"/>
                    <a:pt x="1193" y="268"/>
                  </a:cubicBezTo>
                  <a:cubicBezTo>
                    <a:pt x="1179" y="264"/>
                    <a:pt x="1164" y="260"/>
                    <a:pt x="1152" y="251"/>
                  </a:cubicBezTo>
                  <a:cubicBezTo>
                    <a:pt x="1149" y="250"/>
                    <a:pt x="1147" y="248"/>
                    <a:pt x="1145" y="246"/>
                  </a:cubicBezTo>
                  <a:cubicBezTo>
                    <a:pt x="1160" y="248"/>
                    <a:pt x="1176" y="250"/>
                    <a:pt x="1191" y="251"/>
                  </a:cubicBezTo>
                  <a:cubicBezTo>
                    <a:pt x="1209" y="252"/>
                    <a:pt x="1227" y="251"/>
                    <a:pt x="1245" y="252"/>
                  </a:cubicBezTo>
                  <a:cubicBezTo>
                    <a:pt x="1245" y="252"/>
                    <a:pt x="1245" y="252"/>
                    <a:pt x="1246" y="253"/>
                  </a:cubicBezTo>
                  <a:cubicBezTo>
                    <a:pt x="1252" y="267"/>
                    <a:pt x="1257" y="282"/>
                    <a:pt x="1261" y="296"/>
                  </a:cubicBezTo>
                  <a:cubicBezTo>
                    <a:pt x="1241" y="295"/>
                    <a:pt x="1221" y="294"/>
                    <a:pt x="1202" y="295"/>
                  </a:cubicBezTo>
                  <a:cubicBezTo>
                    <a:pt x="1141" y="296"/>
                    <a:pt x="1070" y="302"/>
                    <a:pt x="1024" y="254"/>
                  </a:cubicBezTo>
                  <a:cubicBezTo>
                    <a:pt x="1005" y="235"/>
                    <a:pt x="988" y="217"/>
                    <a:pt x="965" y="202"/>
                  </a:cubicBezTo>
                  <a:cubicBezTo>
                    <a:pt x="947" y="190"/>
                    <a:pt x="933" y="177"/>
                    <a:pt x="918" y="163"/>
                  </a:cubicBezTo>
                  <a:cubicBezTo>
                    <a:pt x="918" y="162"/>
                    <a:pt x="918" y="162"/>
                    <a:pt x="918" y="161"/>
                  </a:cubicBezTo>
                  <a:cubicBezTo>
                    <a:pt x="929" y="167"/>
                    <a:pt x="940" y="172"/>
                    <a:pt x="952" y="175"/>
                  </a:cubicBezTo>
                  <a:close/>
                  <a:moveTo>
                    <a:pt x="898" y="254"/>
                  </a:moveTo>
                  <a:cubicBezTo>
                    <a:pt x="917" y="280"/>
                    <a:pt x="926" y="307"/>
                    <a:pt x="937" y="337"/>
                  </a:cubicBezTo>
                  <a:cubicBezTo>
                    <a:pt x="938" y="339"/>
                    <a:pt x="938" y="340"/>
                    <a:pt x="939" y="342"/>
                  </a:cubicBezTo>
                  <a:cubicBezTo>
                    <a:pt x="925" y="337"/>
                    <a:pt x="912" y="330"/>
                    <a:pt x="902" y="318"/>
                  </a:cubicBezTo>
                  <a:cubicBezTo>
                    <a:pt x="883" y="298"/>
                    <a:pt x="879" y="268"/>
                    <a:pt x="873" y="242"/>
                  </a:cubicBezTo>
                  <a:cubicBezTo>
                    <a:pt x="871" y="231"/>
                    <a:pt x="870" y="220"/>
                    <a:pt x="868" y="209"/>
                  </a:cubicBezTo>
                  <a:cubicBezTo>
                    <a:pt x="877" y="224"/>
                    <a:pt x="887" y="239"/>
                    <a:pt x="898" y="254"/>
                  </a:cubicBezTo>
                  <a:close/>
                </a:path>
              </a:pathLst>
            </a:custGeom>
            <a:solidFill>
              <a:schemeClr val="accent3"/>
            </a:solidFill>
            <a:ln>
              <a:solidFill>
                <a:schemeClr val="accent3"/>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grpSp>
      <p:grpSp>
        <p:nvGrpSpPr>
          <p:cNvPr id="9" name="Group 175">
            <a:extLst>
              <a:ext uri="{FF2B5EF4-FFF2-40B4-BE49-F238E27FC236}">
                <a16:creationId xmlns:a16="http://schemas.microsoft.com/office/drawing/2014/main" id="{818A1360-0450-4058-9855-812EEBEF9EC8}"/>
              </a:ext>
            </a:extLst>
          </p:cNvPr>
          <p:cNvGrpSpPr/>
          <p:nvPr/>
        </p:nvGrpSpPr>
        <p:grpSpPr>
          <a:xfrm>
            <a:off x="10172609" y="2727600"/>
            <a:ext cx="791195" cy="789605"/>
            <a:chOff x="10172608" y="2727598"/>
            <a:chExt cx="791194" cy="789605"/>
          </a:xfrm>
        </p:grpSpPr>
        <p:sp>
          <p:nvSpPr>
            <p:cNvPr id="10" name="Oval 312">
              <a:extLst>
                <a:ext uri="{FF2B5EF4-FFF2-40B4-BE49-F238E27FC236}">
                  <a16:creationId xmlns:a16="http://schemas.microsoft.com/office/drawing/2014/main" id="{6D3267C0-2D0D-4D2C-9181-46DC5507958D}"/>
                </a:ext>
              </a:extLst>
            </p:cNvPr>
            <p:cNvSpPr>
              <a:spLocks noChangeArrowheads="1"/>
            </p:cNvSpPr>
            <p:nvPr/>
          </p:nvSpPr>
          <p:spPr bwMode="auto">
            <a:xfrm>
              <a:off x="10172608" y="2727598"/>
              <a:ext cx="791194" cy="789605"/>
            </a:xfrm>
            <a:prstGeom prst="ellipse">
              <a:avLst/>
            </a:prstGeom>
            <a:solidFill>
              <a:schemeClr val="accent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grpSp>
          <p:nvGrpSpPr>
            <p:cNvPr id="11" name="Group 37">
              <a:extLst>
                <a:ext uri="{FF2B5EF4-FFF2-40B4-BE49-F238E27FC236}">
                  <a16:creationId xmlns:a16="http://schemas.microsoft.com/office/drawing/2014/main" id="{B46B861B-3CE0-4886-8A51-DAF0871B34CA}"/>
                </a:ext>
              </a:extLst>
            </p:cNvPr>
            <p:cNvGrpSpPr>
              <a:grpSpLocks noChangeAspect="1"/>
            </p:cNvGrpSpPr>
            <p:nvPr/>
          </p:nvGrpSpPr>
          <p:grpSpPr bwMode="auto">
            <a:xfrm>
              <a:off x="10398608" y="2950278"/>
              <a:ext cx="339193" cy="344245"/>
              <a:chOff x="3294" y="3298"/>
              <a:chExt cx="470" cy="477"/>
            </a:xfrm>
            <a:solidFill>
              <a:schemeClr val="bg1"/>
            </a:solidFill>
          </p:grpSpPr>
          <p:sp>
            <p:nvSpPr>
              <p:cNvPr id="12" name="Freeform 39">
                <a:extLst>
                  <a:ext uri="{FF2B5EF4-FFF2-40B4-BE49-F238E27FC236}">
                    <a16:creationId xmlns:a16="http://schemas.microsoft.com/office/drawing/2014/main" id="{B4BE9545-AA37-44B7-9F78-A66022459ECC}"/>
                  </a:ext>
                </a:extLst>
              </p:cNvPr>
              <p:cNvSpPr>
                <a:spLocks/>
              </p:cNvSpPr>
              <p:nvPr/>
            </p:nvSpPr>
            <p:spPr bwMode="auto">
              <a:xfrm>
                <a:off x="3442" y="3327"/>
                <a:ext cx="144" cy="131"/>
              </a:xfrm>
              <a:custGeom>
                <a:avLst/>
                <a:gdLst>
                  <a:gd name="T0" fmla="*/ 181 w 1011"/>
                  <a:gd name="T1" fmla="*/ 0 h 915"/>
                  <a:gd name="T2" fmla="*/ 831 w 1011"/>
                  <a:gd name="T3" fmla="*/ 0 h 915"/>
                  <a:gd name="T4" fmla="*/ 863 w 1011"/>
                  <a:gd name="T5" fmla="*/ 3 h 915"/>
                  <a:gd name="T6" fmla="*/ 894 w 1011"/>
                  <a:gd name="T7" fmla="*/ 12 h 915"/>
                  <a:gd name="T8" fmla="*/ 922 w 1011"/>
                  <a:gd name="T9" fmla="*/ 26 h 915"/>
                  <a:gd name="T10" fmla="*/ 947 w 1011"/>
                  <a:gd name="T11" fmla="*/ 44 h 915"/>
                  <a:gd name="T12" fmla="*/ 968 w 1011"/>
                  <a:gd name="T13" fmla="*/ 66 h 915"/>
                  <a:gd name="T14" fmla="*/ 987 w 1011"/>
                  <a:gd name="T15" fmla="*/ 92 h 915"/>
                  <a:gd name="T16" fmla="*/ 1000 w 1011"/>
                  <a:gd name="T17" fmla="*/ 121 h 915"/>
                  <a:gd name="T18" fmla="*/ 1009 w 1011"/>
                  <a:gd name="T19" fmla="*/ 152 h 915"/>
                  <a:gd name="T20" fmla="*/ 1011 w 1011"/>
                  <a:gd name="T21" fmla="*/ 185 h 915"/>
                  <a:gd name="T22" fmla="*/ 1011 w 1011"/>
                  <a:gd name="T23" fmla="*/ 492 h 915"/>
                  <a:gd name="T24" fmla="*/ 1009 w 1011"/>
                  <a:gd name="T25" fmla="*/ 525 h 915"/>
                  <a:gd name="T26" fmla="*/ 1000 w 1011"/>
                  <a:gd name="T27" fmla="*/ 556 h 915"/>
                  <a:gd name="T28" fmla="*/ 987 w 1011"/>
                  <a:gd name="T29" fmla="*/ 585 h 915"/>
                  <a:gd name="T30" fmla="*/ 968 w 1011"/>
                  <a:gd name="T31" fmla="*/ 610 h 915"/>
                  <a:gd name="T32" fmla="*/ 947 w 1011"/>
                  <a:gd name="T33" fmla="*/ 632 h 915"/>
                  <a:gd name="T34" fmla="*/ 922 w 1011"/>
                  <a:gd name="T35" fmla="*/ 650 h 915"/>
                  <a:gd name="T36" fmla="*/ 894 w 1011"/>
                  <a:gd name="T37" fmla="*/ 664 h 915"/>
                  <a:gd name="T38" fmla="*/ 863 w 1011"/>
                  <a:gd name="T39" fmla="*/ 673 h 915"/>
                  <a:gd name="T40" fmla="*/ 831 w 1011"/>
                  <a:gd name="T41" fmla="*/ 676 h 915"/>
                  <a:gd name="T42" fmla="*/ 758 w 1011"/>
                  <a:gd name="T43" fmla="*/ 676 h 915"/>
                  <a:gd name="T44" fmla="*/ 901 w 1011"/>
                  <a:gd name="T45" fmla="*/ 915 h 915"/>
                  <a:gd name="T46" fmla="*/ 488 w 1011"/>
                  <a:gd name="T47" fmla="*/ 676 h 915"/>
                  <a:gd name="T48" fmla="*/ 181 w 1011"/>
                  <a:gd name="T49" fmla="*/ 676 h 915"/>
                  <a:gd name="T50" fmla="*/ 147 w 1011"/>
                  <a:gd name="T51" fmla="*/ 673 h 915"/>
                  <a:gd name="T52" fmla="*/ 117 w 1011"/>
                  <a:gd name="T53" fmla="*/ 664 h 915"/>
                  <a:gd name="T54" fmla="*/ 89 w 1011"/>
                  <a:gd name="T55" fmla="*/ 650 h 915"/>
                  <a:gd name="T56" fmla="*/ 64 w 1011"/>
                  <a:gd name="T57" fmla="*/ 632 h 915"/>
                  <a:gd name="T58" fmla="*/ 43 w 1011"/>
                  <a:gd name="T59" fmla="*/ 610 h 915"/>
                  <a:gd name="T60" fmla="*/ 25 w 1011"/>
                  <a:gd name="T61" fmla="*/ 585 h 915"/>
                  <a:gd name="T62" fmla="*/ 11 w 1011"/>
                  <a:gd name="T63" fmla="*/ 556 h 915"/>
                  <a:gd name="T64" fmla="*/ 3 w 1011"/>
                  <a:gd name="T65" fmla="*/ 525 h 915"/>
                  <a:gd name="T66" fmla="*/ 0 w 1011"/>
                  <a:gd name="T67" fmla="*/ 492 h 915"/>
                  <a:gd name="T68" fmla="*/ 0 w 1011"/>
                  <a:gd name="T69" fmla="*/ 185 h 915"/>
                  <a:gd name="T70" fmla="*/ 3 w 1011"/>
                  <a:gd name="T71" fmla="*/ 152 h 915"/>
                  <a:gd name="T72" fmla="*/ 11 w 1011"/>
                  <a:gd name="T73" fmla="*/ 121 h 915"/>
                  <a:gd name="T74" fmla="*/ 25 w 1011"/>
                  <a:gd name="T75" fmla="*/ 92 h 915"/>
                  <a:gd name="T76" fmla="*/ 43 w 1011"/>
                  <a:gd name="T77" fmla="*/ 66 h 915"/>
                  <a:gd name="T78" fmla="*/ 64 w 1011"/>
                  <a:gd name="T79" fmla="*/ 44 h 915"/>
                  <a:gd name="T80" fmla="*/ 89 w 1011"/>
                  <a:gd name="T81" fmla="*/ 26 h 915"/>
                  <a:gd name="T82" fmla="*/ 117 w 1011"/>
                  <a:gd name="T83" fmla="*/ 12 h 915"/>
                  <a:gd name="T84" fmla="*/ 147 w 1011"/>
                  <a:gd name="T85" fmla="*/ 3 h 915"/>
                  <a:gd name="T86" fmla="*/ 181 w 1011"/>
                  <a:gd name="T87" fmla="*/ 0 h 9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011" h="915">
                    <a:moveTo>
                      <a:pt x="181" y="0"/>
                    </a:moveTo>
                    <a:lnTo>
                      <a:pt x="831" y="0"/>
                    </a:lnTo>
                    <a:lnTo>
                      <a:pt x="863" y="3"/>
                    </a:lnTo>
                    <a:lnTo>
                      <a:pt x="894" y="12"/>
                    </a:lnTo>
                    <a:lnTo>
                      <a:pt x="922" y="26"/>
                    </a:lnTo>
                    <a:lnTo>
                      <a:pt x="947" y="44"/>
                    </a:lnTo>
                    <a:lnTo>
                      <a:pt x="968" y="66"/>
                    </a:lnTo>
                    <a:lnTo>
                      <a:pt x="987" y="92"/>
                    </a:lnTo>
                    <a:lnTo>
                      <a:pt x="1000" y="121"/>
                    </a:lnTo>
                    <a:lnTo>
                      <a:pt x="1009" y="152"/>
                    </a:lnTo>
                    <a:lnTo>
                      <a:pt x="1011" y="185"/>
                    </a:lnTo>
                    <a:lnTo>
                      <a:pt x="1011" y="492"/>
                    </a:lnTo>
                    <a:lnTo>
                      <a:pt x="1009" y="525"/>
                    </a:lnTo>
                    <a:lnTo>
                      <a:pt x="1000" y="556"/>
                    </a:lnTo>
                    <a:lnTo>
                      <a:pt x="987" y="585"/>
                    </a:lnTo>
                    <a:lnTo>
                      <a:pt x="968" y="610"/>
                    </a:lnTo>
                    <a:lnTo>
                      <a:pt x="947" y="632"/>
                    </a:lnTo>
                    <a:lnTo>
                      <a:pt x="922" y="650"/>
                    </a:lnTo>
                    <a:lnTo>
                      <a:pt x="894" y="664"/>
                    </a:lnTo>
                    <a:lnTo>
                      <a:pt x="863" y="673"/>
                    </a:lnTo>
                    <a:lnTo>
                      <a:pt x="831" y="676"/>
                    </a:lnTo>
                    <a:lnTo>
                      <a:pt x="758" y="676"/>
                    </a:lnTo>
                    <a:lnTo>
                      <a:pt x="901" y="915"/>
                    </a:lnTo>
                    <a:lnTo>
                      <a:pt x="488" y="676"/>
                    </a:lnTo>
                    <a:lnTo>
                      <a:pt x="181" y="676"/>
                    </a:lnTo>
                    <a:lnTo>
                      <a:pt x="147" y="673"/>
                    </a:lnTo>
                    <a:lnTo>
                      <a:pt x="117" y="664"/>
                    </a:lnTo>
                    <a:lnTo>
                      <a:pt x="89" y="650"/>
                    </a:lnTo>
                    <a:lnTo>
                      <a:pt x="64" y="632"/>
                    </a:lnTo>
                    <a:lnTo>
                      <a:pt x="43" y="610"/>
                    </a:lnTo>
                    <a:lnTo>
                      <a:pt x="25" y="585"/>
                    </a:lnTo>
                    <a:lnTo>
                      <a:pt x="11" y="556"/>
                    </a:lnTo>
                    <a:lnTo>
                      <a:pt x="3" y="525"/>
                    </a:lnTo>
                    <a:lnTo>
                      <a:pt x="0" y="492"/>
                    </a:lnTo>
                    <a:lnTo>
                      <a:pt x="0" y="185"/>
                    </a:lnTo>
                    <a:lnTo>
                      <a:pt x="3" y="152"/>
                    </a:lnTo>
                    <a:lnTo>
                      <a:pt x="11" y="121"/>
                    </a:lnTo>
                    <a:lnTo>
                      <a:pt x="25" y="92"/>
                    </a:lnTo>
                    <a:lnTo>
                      <a:pt x="43" y="66"/>
                    </a:lnTo>
                    <a:lnTo>
                      <a:pt x="64" y="44"/>
                    </a:lnTo>
                    <a:lnTo>
                      <a:pt x="89" y="26"/>
                    </a:lnTo>
                    <a:lnTo>
                      <a:pt x="117" y="12"/>
                    </a:lnTo>
                    <a:lnTo>
                      <a:pt x="147" y="3"/>
                    </a:lnTo>
                    <a:lnTo>
                      <a:pt x="18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13" name="Rectangle 40">
                <a:extLst>
                  <a:ext uri="{FF2B5EF4-FFF2-40B4-BE49-F238E27FC236}">
                    <a16:creationId xmlns:a16="http://schemas.microsoft.com/office/drawing/2014/main" id="{104A0892-47D9-40C7-A2AF-276C23B84EED}"/>
                  </a:ext>
                </a:extLst>
              </p:cNvPr>
              <p:cNvSpPr>
                <a:spLocks noChangeArrowheads="1"/>
              </p:cNvSpPr>
              <p:nvPr/>
            </p:nvSpPr>
            <p:spPr bwMode="auto">
              <a:xfrm>
                <a:off x="3294" y="3342"/>
                <a:ext cx="30" cy="32"/>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14" name="Rectangle 41">
                <a:extLst>
                  <a:ext uri="{FF2B5EF4-FFF2-40B4-BE49-F238E27FC236}">
                    <a16:creationId xmlns:a16="http://schemas.microsoft.com/office/drawing/2014/main" id="{D26F4AAF-0650-4584-9E8D-BC1674E965F5}"/>
                  </a:ext>
                </a:extLst>
              </p:cNvPr>
              <p:cNvSpPr>
                <a:spLocks noChangeArrowheads="1"/>
              </p:cNvSpPr>
              <p:nvPr/>
            </p:nvSpPr>
            <p:spPr bwMode="auto">
              <a:xfrm>
                <a:off x="3294" y="3407"/>
                <a:ext cx="30" cy="32"/>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15" name="Rectangle 42">
                <a:extLst>
                  <a:ext uri="{FF2B5EF4-FFF2-40B4-BE49-F238E27FC236}">
                    <a16:creationId xmlns:a16="http://schemas.microsoft.com/office/drawing/2014/main" id="{295CD675-ADDF-434A-9BA4-D199ECDB2DC2}"/>
                  </a:ext>
                </a:extLst>
              </p:cNvPr>
              <p:cNvSpPr>
                <a:spLocks noChangeArrowheads="1"/>
              </p:cNvSpPr>
              <p:nvPr/>
            </p:nvSpPr>
            <p:spPr bwMode="auto">
              <a:xfrm>
                <a:off x="3294" y="3472"/>
                <a:ext cx="30" cy="32"/>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16" name="Rectangle 43">
                <a:extLst>
                  <a:ext uri="{FF2B5EF4-FFF2-40B4-BE49-F238E27FC236}">
                    <a16:creationId xmlns:a16="http://schemas.microsoft.com/office/drawing/2014/main" id="{24D982AE-EFBD-4903-ADF3-BAB1FCF39E28}"/>
                  </a:ext>
                </a:extLst>
              </p:cNvPr>
              <p:cNvSpPr>
                <a:spLocks noChangeArrowheads="1"/>
              </p:cNvSpPr>
              <p:nvPr/>
            </p:nvSpPr>
            <p:spPr bwMode="auto">
              <a:xfrm>
                <a:off x="3294" y="3537"/>
                <a:ext cx="30" cy="32"/>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17" name="Rectangle 44">
                <a:extLst>
                  <a:ext uri="{FF2B5EF4-FFF2-40B4-BE49-F238E27FC236}">
                    <a16:creationId xmlns:a16="http://schemas.microsoft.com/office/drawing/2014/main" id="{129D4CA0-F205-4519-914F-3BC1620D937F}"/>
                  </a:ext>
                </a:extLst>
              </p:cNvPr>
              <p:cNvSpPr>
                <a:spLocks noChangeArrowheads="1"/>
              </p:cNvSpPr>
              <p:nvPr/>
            </p:nvSpPr>
            <p:spPr bwMode="auto">
              <a:xfrm>
                <a:off x="3294" y="3602"/>
                <a:ext cx="30" cy="32"/>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18" name="Freeform 45">
                <a:extLst>
                  <a:ext uri="{FF2B5EF4-FFF2-40B4-BE49-F238E27FC236}">
                    <a16:creationId xmlns:a16="http://schemas.microsoft.com/office/drawing/2014/main" id="{36D95C7B-B780-433B-A4DC-BB160602A983}"/>
                  </a:ext>
                </a:extLst>
              </p:cNvPr>
              <p:cNvSpPr>
                <a:spLocks/>
              </p:cNvSpPr>
              <p:nvPr/>
            </p:nvSpPr>
            <p:spPr bwMode="auto">
              <a:xfrm>
                <a:off x="3345" y="3298"/>
                <a:ext cx="419" cy="426"/>
              </a:xfrm>
              <a:custGeom>
                <a:avLst/>
                <a:gdLst>
                  <a:gd name="T0" fmla="*/ 0 w 2938"/>
                  <a:gd name="T1" fmla="*/ 0 h 2981"/>
                  <a:gd name="T2" fmla="*/ 323 w 2938"/>
                  <a:gd name="T3" fmla="*/ 0 h 2981"/>
                  <a:gd name="T4" fmla="*/ 323 w 2938"/>
                  <a:gd name="T5" fmla="*/ 2650 h 2981"/>
                  <a:gd name="T6" fmla="*/ 2938 w 2938"/>
                  <a:gd name="T7" fmla="*/ 2650 h 2981"/>
                  <a:gd name="T8" fmla="*/ 2938 w 2938"/>
                  <a:gd name="T9" fmla="*/ 2981 h 2981"/>
                  <a:gd name="T10" fmla="*/ 0 w 2938"/>
                  <a:gd name="T11" fmla="*/ 2981 h 2981"/>
                  <a:gd name="T12" fmla="*/ 0 w 2938"/>
                  <a:gd name="T13" fmla="*/ 0 h 2981"/>
                </a:gdLst>
                <a:ahLst/>
                <a:cxnLst>
                  <a:cxn ang="0">
                    <a:pos x="T0" y="T1"/>
                  </a:cxn>
                  <a:cxn ang="0">
                    <a:pos x="T2" y="T3"/>
                  </a:cxn>
                  <a:cxn ang="0">
                    <a:pos x="T4" y="T5"/>
                  </a:cxn>
                  <a:cxn ang="0">
                    <a:pos x="T6" y="T7"/>
                  </a:cxn>
                  <a:cxn ang="0">
                    <a:pos x="T8" y="T9"/>
                  </a:cxn>
                  <a:cxn ang="0">
                    <a:pos x="T10" y="T11"/>
                  </a:cxn>
                  <a:cxn ang="0">
                    <a:pos x="T12" y="T13"/>
                  </a:cxn>
                </a:cxnLst>
                <a:rect l="0" t="0" r="r" b="b"/>
                <a:pathLst>
                  <a:path w="2938" h="2981">
                    <a:moveTo>
                      <a:pt x="0" y="0"/>
                    </a:moveTo>
                    <a:lnTo>
                      <a:pt x="323" y="0"/>
                    </a:lnTo>
                    <a:lnTo>
                      <a:pt x="323" y="2650"/>
                    </a:lnTo>
                    <a:lnTo>
                      <a:pt x="2938" y="2650"/>
                    </a:lnTo>
                    <a:lnTo>
                      <a:pt x="2938" y="2981"/>
                    </a:lnTo>
                    <a:lnTo>
                      <a:pt x="0" y="2981"/>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19" name="Rectangle 46">
                <a:extLst>
                  <a:ext uri="{FF2B5EF4-FFF2-40B4-BE49-F238E27FC236}">
                    <a16:creationId xmlns:a16="http://schemas.microsoft.com/office/drawing/2014/main" id="{6AAB5FC8-78EF-4F78-9414-1D0BDBD75FB6}"/>
                  </a:ext>
                </a:extLst>
              </p:cNvPr>
              <p:cNvSpPr>
                <a:spLocks noChangeArrowheads="1"/>
              </p:cNvSpPr>
              <p:nvPr/>
            </p:nvSpPr>
            <p:spPr bwMode="auto">
              <a:xfrm>
                <a:off x="3690" y="3744"/>
                <a:ext cx="31" cy="31"/>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20" name="Rectangle 47">
                <a:extLst>
                  <a:ext uri="{FF2B5EF4-FFF2-40B4-BE49-F238E27FC236}">
                    <a16:creationId xmlns:a16="http://schemas.microsoft.com/office/drawing/2014/main" id="{E05E0367-21D9-476D-8C9C-08A221151C81}"/>
                  </a:ext>
                </a:extLst>
              </p:cNvPr>
              <p:cNvSpPr>
                <a:spLocks noChangeArrowheads="1"/>
              </p:cNvSpPr>
              <p:nvPr/>
            </p:nvSpPr>
            <p:spPr bwMode="auto">
              <a:xfrm>
                <a:off x="3626" y="3744"/>
                <a:ext cx="31" cy="31"/>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21" name="Rectangle 48">
                <a:extLst>
                  <a:ext uri="{FF2B5EF4-FFF2-40B4-BE49-F238E27FC236}">
                    <a16:creationId xmlns:a16="http://schemas.microsoft.com/office/drawing/2014/main" id="{8537D517-6512-425E-8EF1-EC86AE8F3EAC}"/>
                  </a:ext>
                </a:extLst>
              </p:cNvPr>
              <p:cNvSpPr>
                <a:spLocks noChangeArrowheads="1"/>
              </p:cNvSpPr>
              <p:nvPr/>
            </p:nvSpPr>
            <p:spPr bwMode="auto">
              <a:xfrm>
                <a:off x="3562" y="3744"/>
                <a:ext cx="31" cy="31"/>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22" name="Rectangle 49">
                <a:extLst>
                  <a:ext uri="{FF2B5EF4-FFF2-40B4-BE49-F238E27FC236}">
                    <a16:creationId xmlns:a16="http://schemas.microsoft.com/office/drawing/2014/main" id="{8EA261B1-3FC2-4F46-B007-F9E683C7606A}"/>
                  </a:ext>
                </a:extLst>
              </p:cNvPr>
              <p:cNvSpPr>
                <a:spLocks noChangeArrowheads="1"/>
              </p:cNvSpPr>
              <p:nvPr/>
            </p:nvSpPr>
            <p:spPr bwMode="auto">
              <a:xfrm>
                <a:off x="3499" y="3744"/>
                <a:ext cx="31" cy="31"/>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23" name="Rectangle 50">
                <a:extLst>
                  <a:ext uri="{FF2B5EF4-FFF2-40B4-BE49-F238E27FC236}">
                    <a16:creationId xmlns:a16="http://schemas.microsoft.com/office/drawing/2014/main" id="{ECAAAE52-D573-45C6-BC03-1DFD53BEB986}"/>
                  </a:ext>
                </a:extLst>
              </p:cNvPr>
              <p:cNvSpPr>
                <a:spLocks noChangeArrowheads="1"/>
              </p:cNvSpPr>
              <p:nvPr/>
            </p:nvSpPr>
            <p:spPr bwMode="auto">
              <a:xfrm>
                <a:off x="3435" y="3744"/>
                <a:ext cx="31" cy="31"/>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24" name="Freeform 51">
                <a:extLst>
                  <a:ext uri="{FF2B5EF4-FFF2-40B4-BE49-F238E27FC236}">
                    <a16:creationId xmlns:a16="http://schemas.microsoft.com/office/drawing/2014/main" id="{55112DF3-55A5-4414-A626-BB9233C1FAD3}"/>
                  </a:ext>
                </a:extLst>
              </p:cNvPr>
              <p:cNvSpPr>
                <a:spLocks/>
              </p:cNvSpPr>
              <p:nvPr/>
            </p:nvSpPr>
            <p:spPr bwMode="auto">
              <a:xfrm>
                <a:off x="3407" y="3395"/>
                <a:ext cx="355" cy="264"/>
              </a:xfrm>
              <a:custGeom>
                <a:avLst/>
                <a:gdLst>
                  <a:gd name="T0" fmla="*/ 2294 w 2482"/>
                  <a:gd name="T1" fmla="*/ 0 h 1851"/>
                  <a:gd name="T2" fmla="*/ 2482 w 2482"/>
                  <a:gd name="T3" fmla="*/ 109 h 1851"/>
                  <a:gd name="T4" fmla="*/ 1993 w 2482"/>
                  <a:gd name="T5" fmla="*/ 1003 h 1851"/>
                  <a:gd name="T6" fmla="*/ 1498 w 2482"/>
                  <a:gd name="T7" fmla="*/ 753 h 1851"/>
                  <a:gd name="T8" fmla="*/ 1173 w 2482"/>
                  <a:gd name="T9" fmla="*/ 1396 h 1851"/>
                  <a:gd name="T10" fmla="*/ 607 w 2482"/>
                  <a:gd name="T11" fmla="*/ 1120 h 1851"/>
                  <a:gd name="T12" fmla="*/ 186 w 2482"/>
                  <a:gd name="T13" fmla="*/ 1851 h 1851"/>
                  <a:gd name="T14" fmla="*/ 0 w 2482"/>
                  <a:gd name="T15" fmla="*/ 1740 h 1851"/>
                  <a:gd name="T16" fmla="*/ 521 w 2482"/>
                  <a:gd name="T17" fmla="*/ 833 h 1851"/>
                  <a:gd name="T18" fmla="*/ 1077 w 2482"/>
                  <a:gd name="T19" fmla="*/ 1105 h 1851"/>
                  <a:gd name="T20" fmla="*/ 1404 w 2482"/>
                  <a:gd name="T21" fmla="*/ 460 h 1851"/>
                  <a:gd name="T22" fmla="*/ 1904 w 2482"/>
                  <a:gd name="T23" fmla="*/ 712 h 1851"/>
                  <a:gd name="T24" fmla="*/ 2294 w 2482"/>
                  <a:gd name="T25" fmla="*/ 0 h 18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82" h="1851">
                    <a:moveTo>
                      <a:pt x="2294" y="0"/>
                    </a:moveTo>
                    <a:lnTo>
                      <a:pt x="2482" y="109"/>
                    </a:lnTo>
                    <a:lnTo>
                      <a:pt x="1993" y="1003"/>
                    </a:lnTo>
                    <a:lnTo>
                      <a:pt x="1498" y="753"/>
                    </a:lnTo>
                    <a:lnTo>
                      <a:pt x="1173" y="1396"/>
                    </a:lnTo>
                    <a:lnTo>
                      <a:pt x="607" y="1120"/>
                    </a:lnTo>
                    <a:lnTo>
                      <a:pt x="186" y="1851"/>
                    </a:lnTo>
                    <a:lnTo>
                      <a:pt x="0" y="1740"/>
                    </a:lnTo>
                    <a:lnTo>
                      <a:pt x="521" y="833"/>
                    </a:lnTo>
                    <a:lnTo>
                      <a:pt x="1077" y="1105"/>
                    </a:lnTo>
                    <a:lnTo>
                      <a:pt x="1404" y="460"/>
                    </a:lnTo>
                    <a:lnTo>
                      <a:pt x="1904" y="712"/>
                    </a:lnTo>
                    <a:lnTo>
                      <a:pt x="229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grpSp>
      </p:grpSp>
      <p:grpSp>
        <p:nvGrpSpPr>
          <p:cNvPr id="25" name="Group 177">
            <a:extLst>
              <a:ext uri="{FF2B5EF4-FFF2-40B4-BE49-F238E27FC236}">
                <a16:creationId xmlns:a16="http://schemas.microsoft.com/office/drawing/2014/main" id="{E5B83023-D3CD-4FB6-9AC7-408AAD3E9DF6}"/>
              </a:ext>
            </a:extLst>
          </p:cNvPr>
          <p:cNvGrpSpPr/>
          <p:nvPr/>
        </p:nvGrpSpPr>
        <p:grpSpPr>
          <a:xfrm>
            <a:off x="9292447" y="1391469"/>
            <a:ext cx="956423" cy="956423"/>
            <a:chOff x="9292445" y="1391467"/>
            <a:chExt cx="956422" cy="956422"/>
          </a:xfrm>
        </p:grpSpPr>
        <p:sp>
          <p:nvSpPr>
            <p:cNvPr id="26" name="Oval 313">
              <a:extLst>
                <a:ext uri="{FF2B5EF4-FFF2-40B4-BE49-F238E27FC236}">
                  <a16:creationId xmlns:a16="http://schemas.microsoft.com/office/drawing/2014/main" id="{8E3CD150-E8D5-4790-BEE5-67B38AD8A58E}"/>
                </a:ext>
              </a:extLst>
            </p:cNvPr>
            <p:cNvSpPr>
              <a:spLocks noChangeArrowheads="1"/>
            </p:cNvSpPr>
            <p:nvPr/>
          </p:nvSpPr>
          <p:spPr bwMode="auto">
            <a:xfrm>
              <a:off x="9292445" y="1391467"/>
              <a:ext cx="956422" cy="956422"/>
            </a:xfrm>
            <a:prstGeom prst="ellipse">
              <a:avLst/>
            </a:pr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27" name="Freeform 763">
              <a:extLst>
                <a:ext uri="{FF2B5EF4-FFF2-40B4-BE49-F238E27FC236}">
                  <a16:creationId xmlns:a16="http://schemas.microsoft.com/office/drawing/2014/main" id="{5E23146F-3F4A-4E12-B843-362599FDD81A}"/>
                </a:ext>
              </a:extLst>
            </p:cNvPr>
            <p:cNvSpPr>
              <a:spLocks noEditPoints="1"/>
            </p:cNvSpPr>
            <p:nvPr/>
          </p:nvSpPr>
          <p:spPr bwMode="auto">
            <a:xfrm>
              <a:off x="9605028" y="1695751"/>
              <a:ext cx="331255" cy="347854"/>
            </a:xfrm>
            <a:custGeom>
              <a:avLst/>
              <a:gdLst>
                <a:gd name="T0" fmla="*/ 1608 w 3217"/>
                <a:gd name="T1" fmla="*/ 259 h 3376"/>
                <a:gd name="T2" fmla="*/ 506 w 3217"/>
                <a:gd name="T3" fmla="*/ 819 h 3376"/>
                <a:gd name="T4" fmla="*/ 1608 w 3217"/>
                <a:gd name="T5" fmla="*/ 1381 h 3376"/>
                <a:gd name="T6" fmla="*/ 2711 w 3217"/>
                <a:gd name="T7" fmla="*/ 819 h 3376"/>
                <a:gd name="T8" fmla="*/ 1608 w 3217"/>
                <a:gd name="T9" fmla="*/ 259 h 3376"/>
                <a:gd name="T10" fmla="*/ 1608 w 3217"/>
                <a:gd name="T11" fmla="*/ 0 h 3376"/>
                <a:gd name="T12" fmla="*/ 3217 w 3217"/>
                <a:gd name="T13" fmla="*/ 819 h 3376"/>
                <a:gd name="T14" fmla="*/ 3217 w 3217"/>
                <a:gd name="T15" fmla="*/ 2556 h 3376"/>
                <a:gd name="T16" fmla="*/ 1608 w 3217"/>
                <a:gd name="T17" fmla="*/ 3376 h 3376"/>
                <a:gd name="T18" fmla="*/ 0 w 3217"/>
                <a:gd name="T19" fmla="*/ 2556 h 3376"/>
                <a:gd name="T20" fmla="*/ 0 w 3217"/>
                <a:gd name="T21" fmla="*/ 819 h 3376"/>
                <a:gd name="T22" fmla="*/ 1608 w 3217"/>
                <a:gd name="T23" fmla="*/ 0 h 3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17" h="3376">
                  <a:moveTo>
                    <a:pt x="1608" y="259"/>
                  </a:moveTo>
                  <a:lnTo>
                    <a:pt x="506" y="819"/>
                  </a:lnTo>
                  <a:lnTo>
                    <a:pt x="1608" y="1381"/>
                  </a:lnTo>
                  <a:lnTo>
                    <a:pt x="2711" y="819"/>
                  </a:lnTo>
                  <a:lnTo>
                    <a:pt x="1608" y="259"/>
                  </a:lnTo>
                  <a:close/>
                  <a:moveTo>
                    <a:pt x="1608" y="0"/>
                  </a:moveTo>
                  <a:lnTo>
                    <a:pt x="3217" y="819"/>
                  </a:lnTo>
                  <a:lnTo>
                    <a:pt x="3217" y="2556"/>
                  </a:lnTo>
                  <a:lnTo>
                    <a:pt x="1608" y="3376"/>
                  </a:lnTo>
                  <a:lnTo>
                    <a:pt x="0" y="2556"/>
                  </a:lnTo>
                  <a:lnTo>
                    <a:pt x="0" y="819"/>
                  </a:lnTo>
                  <a:lnTo>
                    <a:pt x="1608"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grpSp>
      <p:grpSp>
        <p:nvGrpSpPr>
          <p:cNvPr id="28" name="Group 178">
            <a:extLst>
              <a:ext uri="{FF2B5EF4-FFF2-40B4-BE49-F238E27FC236}">
                <a16:creationId xmlns:a16="http://schemas.microsoft.com/office/drawing/2014/main" id="{570CCD49-92AE-4D1C-AB97-9AD84D5F59C1}"/>
              </a:ext>
            </a:extLst>
          </p:cNvPr>
          <p:cNvGrpSpPr/>
          <p:nvPr/>
        </p:nvGrpSpPr>
        <p:grpSpPr>
          <a:xfrm>
            <a:off x="7799030" y="649527"/>
            <a:ext cx="954833" cy="956423"/>
            <a:chOff x="7799028" y="649525"/>
            <a:chExt cx="954833" cy="956422"/>
          </a:xfrm>
        </p:grpSpPr>
        <p:sp>
          <p:nvSpPr>
            <p:cNvPr id="29" name="Oval 314">
              <a:extLst>
                <a:ext uri="{FF2B5EF4-FFF2-40B4-BE49-F238E27FC236}">
                  <a16:creationId xmlns:a16="http://schemas.microsoft.com/office/drawing/2014/main" id="{0D04ACD4-47E9-4EC5-9023-5CE1A45334EB}"/>
                </a:ext>
              </a:extLst>
            </p:cNvPr>
            <p:cNvSpPr>
              <a:spLocks noChangeArrowheads="1"/>
            </p:cNvSpPr>
            <p:nvPr/>
          </p:nvSpPr>
          <p:spPr bwMode="auto">
            <a:xfrm>
              <a:off x="7799028" y="649525"/>
              <a:ext cx="954833" cy="956422"/>
            </a:xfrm>
            <a:prstGeom prst="ellipse">
              <a:avLst/>
            </a:prstGeom>
            <a:solidFill>
              <a:schemeClr val="accent4"/>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grpSp>
          <p:nvGrpSpPr>
            <p:cNvPr id="30" name="Group 369">
              <a:extLst>
                <a:ext uri="{FF2B5EF4-FFF2-40B4-BE49-F238E27FC236}">
                  <a16:creationId xmlns:a16="http://schemas.microsoft.com/office/drawing/2014/main" id="{3C3C75C3-A041-4928-BB35-65B6A6AD9141}"/>
                </a:ext>
              </a:extLst>
            </p:cNvPr>
            <p:cNvGrpSpPr>
              <a:grpSpLocks noChangeAspect="1"/>
            </p:cNvGrpSpPr>
            <p:nvPr/>
          </p:nvGrpSpPr>
          <p:grpSpPr bwMode="auto">
            <a:xfrm>
              <a:off x="8046123" y="944050"/>
              <a:ext cx="460642" cy="367372"/>
              <a:chOff x="4795" y="713"/>
              <a:chExt cx="484" cy="386"/>
            </a:xfrm>
            <a:solidFill>
              <a:schemeClr val="bg1"/>
            </a:solidFill>
          </p:grpSpPr>
          <p:sp>
            <p:nvSpPr>
              <p:cNvPr id="31" name="Freeform 371">
                <a:extLst>
                  <a:ext uri="{FF2B5EF4-FFF2-40B4-BE49-F238E27FC236}">
                    <a16:creationId xmlns:a16="http://schemas.microsoft.com/office/drawing/2014/main" id="{48966A13-E2FC-4934-8A22-AFC099F753DC}"/>
                  </a:ext>
                </a:extLst>
              </p:cNvPr>
              <p:cNvSpPr>
                <a:spLocks noEditPoints="1"/>
              </p:cNvSpPr>
              <p:nvPr/>
            </p:nvSpPr>
            <p:spPr bwMode="auto">
              <a:xfrm>
                <a:off x="4829" y="713"/>
                <a:ext cx="415" cy="303"/>
              </a:xfrm>
              <a:custGeom>
                <a:avLst/>
                <a:gdLst>
                  <a:gd name="T0" fmla="*/ 325 w 2905"/>
                  <a:gd name="T1" fmla="*/ 320 h 2123"/>
                  <a:gd name="T2" fmla="*/ 325 w 2905"/>
                  <a:gd name="T3" fmla="*/ 1803 h 2123"/>
                  <a:gd name="T4" fmla="*/ 2578 w 2905"/>
                  <a:gd name="T5" fmla="*/ 1803 h 2123"/>
                  <a:gd name="T6" fmla="*/ 2578 w 2905"/>
                  <a:gd name="T7" fmla="*/ 320 h 2123"/>
                  <a:gd name="T8" fmla="*/ 325 w 2905"/>
                  <a:gd name="T9" fmla="*/ 320 h 2123"/>
                  <a:gd name="T10" fmla="*/ 0 w 2905"/>
                  <a:gd name="T11" fmla="*/ 0 h 2123"/>
                  <a:gd name="T12" fmla="*/ 2905 w 2905"/>
                  <a:gd name="T13" fmla="*/ 0 h 2123"/>
                  <a:gd name="T14" fmla="*/ 2905 w 2905"/>
                  <a:gd name="T15" fmla="*/ 2123 h 2123"/>
                  <a:gd name="T16" fmla="*/ 0 w 2905"/>
                  <a:gd name="T17" fmla="*/ 2123 h 2123"/>
                  <a:gd name="T18" fmla="*/ 0 w 2905"/>
                  <a:gd name="T19" fmla="*/ 0 h 2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05" h="2123">
                    <a:moveTo>
                      <a:pt x="325" y="320"/>
                    </a:moveTo>
                    <a:lnTo>
                      <a:pt x="325" y="1803"/>
                    </a:lnTo>
                    <a:lnTo>
                      <a:pt x="2578" y="1803"/>
                    </a:lnTo>
                    <a:lnTo>
                      <a:pt x="2578" y="320"/>
                    </a:lnTo>
                    <a:lnTo>
                      <a:pt x="325" y="320"/>
                    </a:lnTo>
                    <a:close/>
                    <a:moveTo>
                      <a:pt x="0" y="0"/>
                    </a:moveTo>
                    <a:lnTo>
                      <a:pt x="2905" y="0"/>
                    </a:lnTo>
                    <a:lnTo>
                      <a:pt x="2905" y="2123"/>
                    </a:lnTo>
                    <a:lnTo>
                      <a:pt x="0" y="2123"/>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32" name="Freeform 372">
                <a:extLst>
                  <a:ext uri="{FF2B5EF4-FFF2-40B4-BE49-F238E27FC236}">
                    <a16:creationId xmlns:a16="http://schemas.microsoft.com/office/drawing/2014/main" id="{A5F44DD5-8484-4CB7-96B4-009B9B6BFF61}"/>
                  </a:ext>
                </a:extLst>
              </p:cNvPr>
              <p:cNvSpPr>
                <a:spLocks/>
              </p:cNvSpPr>
              <p:nvPr/>
            </p:nvSpPr>
            <p:spPr bwMode="auto">
              <a:xfrm>
                <a:off x="4795" y="1044"/>
                <a:ext cx="484" cy="55"/>
              </a:xfrm>
              <a:custGeom>
                <a:avLst/>
                <a:gdLst>
                  <a:gd name="T0" fmla="*/ 0 w 3387"/>
                  <a:gd name="T1" fmla="*/ 0 h 386"/>
                  <a:gd name="T2" fmla="*/ 1297 w 3387"/>
                  <a:gd name="T3" fmla="*/ 0 h 386"/>
                  <a:gd name="T4" fmla="*/ 1297 w 3387"/>
                  <a:gd name="T5" fmla="*/ 193 h 386"/>
                  <a:gd name="T6" fmla="*/ 2089 w 3387"/>
                  <a:gd name="T7" fmla="*/ 193 h 386"/>
                  <a:gd name="T8" fmla="*/ 2089 w 3387"/>
                  <a:gd name="T9" fmla="*/ 0 h 386"/>
                  <a:gd name="T10" fmla="*/ 3387 w 3387"/>
                  <a:gd name="T11" fmla="*/ 0 h 386"/>
                  <a:gd name="T12" fmla="*/ 3387 w 3387"/>
                  <a:gd name="T13" fmla="*/ 386 h 386"/>
                  <a:gd name="T14" fmla="*/ 0 w 3387"/>
                  <a:gd name="T15" fmla="*/ 386 h 386"/>
                  <a:gd name="T16" fmla="*/ 0 w 3387"/>
                  <a:gd name="T17" fmla="*/ 0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87" h="386">
                    <a:moveTo>
                      <a:pt x="0" y="0"/>
                    </a:moveTo>
                    <a:lnTo>
                      <a:pt x="1297" y="0"/>
                    </a:lnTo>
                    <a:lnTo>
                      <a:pt x="1297" y="193"/>
                    </a:lnTo>
                    <a:lnTo>
                      <a:pt x="2089" y="193"/>
                    </a:lnTo>
                    <a:lnTo>
                      <a:pt x="2089" y="0"/>
                    </a:lnTo>
                    <a:lnTo>
                      <a:pt x="3387" y="0"/>
                    </a:lnTo>
                    <a:lnTo>
                      <a:pt x="3387" y="386"/>
                    </a:lnTo>
                    <a:lnTo>
                      <a:pt x="0" y="386"/>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33" name="Freeform 373">
                <a:extLst>
                  <a:ext uri="{FF2B5EF4-FFF2-40B4-BE49-F238E27FC236}">
                    <a16:creationId xmlns:a16="http://schemas.microsoft.com/office/drawing/2014/main" id="{8023CA73-5966-47B1-9F60-BD30793F7E38}"/>
                  </a:ext>
                </a:extLst>
              </p:cNvPr>
              <p:cNvSpPr>
                <a:spLocks noEditPoints="1"/>
              </p:cNvSpPr>
              <p:nvPr/>
            </p:nvSpPr>
            <p:spPr bwMode="auto">
              <a:xfrm>
                <a:off x="4963" y="792"/>
                <a:ext cx="152" cy="149"/>
              </a:xfrm>
              <a:custGeom>
                <a:avLst/>
                <a:gdLst>
                  <a:gd name="T0" fmla="*/ 392 w 1065"/>
                  <a:gd name="T1" fmla="*/ 150 h 1044"/>
                  <a:gd name="T2" fmla="*/ 324 w 1065"/>
                  <a:gd name="T3" fmla="*/ 168 h 1044"/>
                  <a:gd name="T4" fmla="*/ 261 w 1065"/>
                  <a:gd name="T5" fmla="*/ 203 h 1044"/>
                  <a:gd name="T6" fmla="*/ 208 w 1065"/>
                  <a:gd name="T7" fmla="*/ 256 h 1044"/>
                  <a:gd name="T8" fmla="*/ 172 w 1065"/>
                  <a:gd name="T9" fmla="*/ 318 h 1044"/>
                  <a:gd name="T10" fmla="*/ 154 w 1065"/>
                  <a:gd name="T11" fmla="*/ 385 h 1044"/>
                  <a:gd name="T12" fmla="*/ 154 w 1065"/>
                  <a:gd name="T13" fmla="*/ 455 h 1044"/>
                  <a:gd name="T14" fmla="*/ 172 w 1065"/>
                  <a:gd name="T15" fmla="*/ 523 h 1044"/>
                  <a:gd name="T16" fmla="*/ 208 w 1065"/>
                  <a:gd name="T17" fmla="*/ 584 h 1044"/>
                  <a:gd name="T18" fmla="*/ 261 w 1065"/>
                  <a:gd name="T19" fmla="*/ 636 h 1044"/>
                  <a:gd name="T20" fmla="*/ 324 w 1065"/>
                  <a:gd name="T21" fmla="*/ 672 h 1044"/>
                  <a:gd name="T22" fmla="*/ 392 w 1065"/>
                  <a:gd name="T23" fmla="*/ 690 h 1044"/>
                  <a:gd name="T24" fmla="*/ 464 w 1065"/>
                  <a:gd name="T25" fmla="*/ 690 h 1044"/>
                  <a:gd name="T26" fmla="*/ 532 w 1065"/>
                  <a:gd name="T27" fmla="*/ 672 h 1044"/>
                  <a:gd name="T28" fmla="*/ 595 w 1065"/>
                  <a:gd name="T29" fmla="*/ 637 h 1044"/>
                  <a:gd name="T30" fmla="*/ 649 w 1065"/>
                  <a:gd name="T31" fmla="*/ 585 h 1044"/>
                  <a:gd name="T32" fmla="*/ 685 w 1065"/>
                  <a:gd name="T33" fmla="*/ 523 h 1044"/>
                  <a:gd name="T34" fmla="*/ 703 w 1065"/>
                  <a:gd name="T35" fmla="*/ 455 h 1044"/>
                  <a:gd name="T36" fmla="*/ 703 w 1065"/>
                  <a:gd name="T37" fmla="*/ 385 h 1044"/>
                  <a:gd name="T38" fmla="*/ 685 w 1065"/>
                  <a:gd name="T39" fmla="*/ 318 h 1044"/>
                  <a:gd name="T40" fmla="*/ 649 w 1065"/>
                  <a:gd name="T41" fmla="*/ 256 h 1044"/>
                  <a:gd name="T42" fmla="*/ 596 w 1065"/>
                  <a:gd name="T43" fmla="*/ 203 h 1044"/>
                  <a:gd name="T44" fmla="*/ 532 w 1065"/>
                  <a:gd name="T45" fmla="*/ 168 h 1044"/>
                  <a:gd name="T46" fmla="*/ 464 w 1065"/>
                  <a:gd name="T47" fmla="*/ 150 h 1044"/>
                  <a:gd name="T48" fmla="*/ 429 w 1065"/>
                  <a:gd name="T49" fmla="*/ 0 h 1044"/>
                  <a:gd name="T50" fmla="*/ 522 w 1065"/>
                  <a:gd name="T51" fmla="*/ 11 h 1044"/>
                  <a:gd name="T52" fmla="*/ 611 w 1065"/>
                  <a:gd name="T53" fmla="*/ 40 h 1044"/>
                  <a:gd name="T54" fmla="*/ 694 w 1065"/>
                  <a:gd name="T55" fmla="*/ 91 h 1044"/>
                  <a:gd name="T56" fmla="*/ 764 w 1065"/>
                  <a:gd name="T57" fmla="*/ 159 h 1044"/>
                  <a:gd name="T58" fmla="*/ 815 w 1065"/>
                  <a:gd name="T59" fmla="*/ 239 h 1044"/>
                  <a:gd name="T60" fmla="*/ 845 w 1065"/>
                  <a:gd name="T61" fmla="*/ 326 h 1044"/>
                  <a:gd name="T62" fmla="*/ 856 w 1065"/>
                  <a:gd name="T63" fmla="*/ 416 h 1044"/>
                  <a:gd name="T64" fmla="*/ 846 w 1065"/>
                  <a:gd name="T65" fmla="*/ 507 h 1044"/>
                  <a:gd name="T66" fmla="*/ 818 w 1065"/>
                  <a:gd name="T67" fmla="*/ 594 h 1044"/>
                  <a:gd name="T68" fmla="*/ 853 w 1065"/>
                  <a:gd name="T69" fmla="*/ 1044 h 1044"/>
                  <a:gd name="T70" fmla="*/ 562 w 1065"/>
                  <a:gd name="T71" fmla="*/ 819 h 1044"/>
                  <a:gd name="T72" fmla="*/ 471 w 1065"/>
                  <a:gd name="T73" fmla="*/ 838 h 1044"/>
                  <a:gd name="T74" fmla="*/ 379 w 1065"/>
                  <a:gd name="T75" fmla="*/ 837 h 1044"/>
                  <a:gd name="T76" fmla="*/ 287 w 1065"/>
                  <a:gd name="T77" fmla="*/ 817 h 1044"/>
                  <a:gd name="T78" fmla="*/ 202 w 1065"/>
                  <a:gd name="T79" fmla="*/ 776 h 1044"/>
                  <a:gd name="T80" fmla="*/ 125 w 1065"/>
                  <a:gd name="T81" fmla="*/ 717 h 1044"/>
                  <a:gd name="T82" fmla="*/ 64 w 1065"/>
                  <a:gd name="T83" fmla="*/ 641 h 1044"/>
                  <a:gd name="T84" fmla="*/ 23 w 1065"/>
                  <a:gd name="T85" fmla="*/ 556 h 1044"/>
                  <a:gd name="T86" fmla="*/ 2 w 1065"/>
                  <a:gd name="T87" fmla="*/ 466 h 1044"/>
                  <a:gd name="T88" fmla="*/ 2 w 1065"/>
                  <a:gd name="T89" fmla="*/ 374 h 1044"/>
                  <a:gd name="T90" fmla="*/ 23 w 1065"/>
                  <a:gd name="T91" fmla="*/ 283 h 1044"/>
                  <a:gd name="T92" fmla="*/ 64 w 1065"/>
                  <a:gd name="T93" fmla="*/ 199 h 1044"/>
                  <a:gd name="T94" fmla="*/ 125 w 1065"/>
                  <a:gd name="T95" fmla="*/ 123 h 1044"/>
                  <a:gd name="T96" fmla="*/ 203 w 1065"/>
                  <a:gd name="T97" fmla="*/ 63 h 1044"/>
                  <a:gd name="T98" fmla="*/ 290 w 1065"/>
                  <a:gd name="T99" fmla="*/ 23 h 1044"/>
                  <a:gd name="T100" fmla="*/ 381 w 1065"/>
                  <a:gd name="T101" fmla="*/ 2 h 10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065" h="1044">
                    <a:moveTo>
                      <a:pt x="429" y="148"/>
                    </a:moveTo>
                    <a:lnTo>
                      <a:pt x="392" y="150"/>
                    </a:lnTo>
                    <a:lnTo>
                      <a:pt x="357" y="157"/>
                    </a:lnTo>
                    <a:lnTo>
                      <a:pt x="324" y="168"/>
                    </a:lnTo>
                    <a:lnTo>
                      <a:pt x="292" y="183"/>
                    </a:lnTo>
                    <a:lnTo>
                      <a:pt x="261" y="203"/>
                    </a:lnTo>
                    <a:lnTo>
                      <a:pt x="232" y="228"/>
                    </a:lnTo>
                    <a:lnTo>
                      <a:pt x="208" y="256"/>
                    </a:lnTo>
                    <a:lnTo>
                      <a:pt x="187" y="285"/>
                    </a:lnTo>
                    <a:lnTo>
                      <a:pt x="172" y="318"/>
                    </a:lnTo>
                    <a:lnTo>
                      <a:pt x="160" y="351"/>
                    </a:lnTo>
                    <a:lnTo>
                      <a:pt x="154" y="385"/>
                    </a:lnTo>
                    <a:lnTo>
                      <a:pt x="152" y="421"/>
                    </a:lnTo>
                    <a:lnTo>
                      <a:pt x="154" y="455"/>
                    </a:lnTo>
                    <a:lnTo>
                      <a:pt x="160" y="489"/>
                    </a:lnTo>
                    <a:lnTo>
                      <a:pt x="172" y="523"/>
                    </a:lnTo>
                    <a:lnTo>
                      <a:pt x="187" y="555"/>
                    </a:lnTo>
                    <a:lnTo>
                      <a:pt x="208" y="584"/>
                    </a:lnTo>
                    <a:lnTo>
                      <a:pt x="232" y="612"/>
                    </a:lnTo>
                    <a:lnTo>
                      <a:pt x="261" y="636"/>
                    </a:lnTo>
                    <a:lnTo>
                      <a:pt x="292" y="657"/>
                    </a:lnTo>
                    <a:lnTo>
                      <a:pt x="324" y="672"/>
                    </a:lnTo>
                    <a:lnTo>
                      <a:pt x="357" y="683"/>
                    </a:lnTo>
                    <a:lnTo>
                      <a:pt x="392" y="690"/>
                    </a:lnTo>
                    <a:lnTo>
                      <a:pt x="429" y="692"/>
                    </a:lnTo>
                    <a:lnTo>
                      <a:pt x="464" y="690"/>
                    </a:lnTo>
                    <a:lnTo>
                      <a:pt x="499" y="683"/>
                    </a:lnTo>
                    <a:lnTo>
                      <a:pt x="532" y="672"/>
                    </a:lnTo>
                    <a:lnTo>
                      <a:pt x="565" y="657"/>
                    </a:lnTo>
                    <a:lnTo>
                      <a:pt x="595" y="637"/>
                    </a:lnTo>
                    <a:lnTo>
                      <a:pt x="624" y="613"/>
                    </a:lnTo>
                    <a:lnTo>
                      <a:pt x="649" y="585"/>
                    </a:lnTo>
                    <a:lnTo>
                      <a:pt x="669" y="555"/>
                    </a:lnTo>
                    <a:lnTo>
                      <a:pt x="685" y="523"/>
                    </a:lnTo>
                    <a:lnTo>
                      <a:pt x="696" y="489"/>
                    </a:lnTo>
                    <a:lnTo>
                      <a:pt x="703" y="455"/>
                    </a:lnTo>
                    <a:lnTo>
                      <a:pt x="705" y="421"/>
                    </a:lnTo>
                    <a:lnTo>
                      <a:pt x="703" y="385"/>
                    </a:lnTo>
                    <a:lnTo>
                      <a:pt x="696" y="351"/>
                    </a:lnTo>
                    <a:lnTo>
                      <a:pt x="685" y="318"/>
                    </a:lnTo>
                    <a:lnTo>
                      <a:pt x="669" y="285"/>
                    </a:lnTo>
                    <a:lnTo>
                      <a:pt x="649" y="256"/>
                    </a:lnTo>
                    <a:lnTo>
                      <a:pt x="625" y="228"/>
                    </a:lnTo>
                    <a:lnTo>
                      <a:pt x="596" y="203"/>
                    </a:lnTo>
                    <a:lnTo>
                      <a:pt x="565" y="183"/>
                    </a:lnTo>
                    <a:lnTo>
                      <a:pt x="532" y="168"/>
                    </a:lnTo>
                    <a:lnTo>
                      <a:pt x="499" y="157"/>
                    </a:lnTo>
                    <a:lnTo>
                      <a:pt x="464" y="150"/>
                    </a:lnTo>
                    <a:lnTo>
                      <a:pt x="429" y="148"/>
                    </a:lnTo>
                    <a:close/>
                    <a:moveTo>
                      <a:pt x="429" y="0"/>
                    </a:moveTo>
                    <a:lnTo>
                      <a:pt x="475" y="2"/>
                    </a:lnTo>
                    <a:lnTo>
                      <a:pt x="522" y="11"/>
                    </a:lnTo>
                    <a:lnTo>
                      <a:pt x="567" y="23"/>
                    </a:lnTo>
                    <a:lnTo>
                      <a:pt x="611" y="40"/>
                    </a:lnTo>
                    <a:lnTo>
                      <a:pt x="653" y="63"/>
                    </a:lnTo>
                    <a:lnTo>
                      <a:pt x="694" y="91"/>
                    </a:lnTo>
                    <a:lnTo>
                      <a:pt x="731" y="123"/>
                    </a:lnTo>
                    <a:lnTo>
                      <a:pt x="764" y="159"/>
                    </a:lnTo>
                    <a:lnTo>
                      <a:pt x="791" y="198"/>
                    </a:lnTo>
                    <a:lnTo>
                      <a:pt x="815" y="239"/>
                    </a:lnTo>
                    <a:lnTo>
                      <a:pt x="833" y="281"/>
                    </a:lnTo>
                    <a:lnTo>
                      <a:pt x="845" y="326"/>
                    </a:lnTo>
                    <a:lnTo>
                      <a:pt x="853" y="371"/>
                    </a:lnTo>
                    <a:lnTo>
                      <a:pt x="856" y="416"/>
                    </a:lnTo>
                    <a:lnTo>
                      <a:pt x="854" y="462"/>
                    </a:lnTo>
                    <a:lnTo>
                      <a:pt x="846" y="507"/>
                    </a:lnTo>
                    <a:lnTo>
                      <a:pt x="835" y="552"/>
                    </a:lnTo>
                    <a:lnTo>
                      <a:pt x="818" y="594"/>
                    </a:lnTo>
                    <a:lnTo>
                      <a:pt x="1065" y="837"/>
                    </a:lnTo>
                    <a:lnTo>
                      <a:pt x="853" y="1044"/>
                    </a:lnTo>
                    <a:lnTo>
                      <a:pt x="606" y="801"/>
                    </a:lnTo>
                    <a:lnTo>
                      <a:pt x="562" y="819"/>
                    </a:lnTo>
                    <a:lnTo>
                      <a:pt x="517" y="831"/>
                    </a:lnTo>
                    <a:lnTo>
                      <a:pt x="471" y="838"/>
                    </a:lnTo>
                    <a:lnTo>
                      <a:pt x="424" y="840"/>
                    </a:lnTo>
                    <a:lnTo>
                      <a:pt x="379" y="837"/>
                    </a:lnTo>
                    <a:lnTo>
                      <a:pt x="332" y="828"/>
                    </a:lnTo>
                    <a:lnTo>
                      <a:pt x="287" y="817"/>
                    </a:lnTo>
                    <a:lnTo>
                      <a:pt x="244" y="799"/>
                    </a:lnTo>
                    <a:lnTo>
                      <a:pt x="202" y="776"/>
                    </a:lnTo>
                    <a:lnTo>
                      <a:pt x="162" y="749"/>
                    </a:lnTo>
                    <a:lnTo>
                      <a:pt x="125" y="717"/>
                    </a:lnTo>
                    <a:lnTo>
                      <a:pt x="92" y="681"/>
                    </a:lnTo>
                    <a:lnTo>
                      <a:pt x="64" y="641"/>
                    </a:lnTo>
                    <a:lnTo>
                      <a:pt x="40" y="600"/>
                    </a:lnTo>
                    <a:lnTo>
                      <a:pt x="23" y="556"/>
                    </a:lnTo>
                    <a:lnTo>
                      <a:pt x="11" y="511"/>
                    </a:lnTo>
                    <a:lnTo>
                      <a:pt x="2" y="466"/>
                    </a:lnTo>
                    <a:lnTo>
                      <a:pt x="0" y="420"/>
                    </a:lnTo>
                    <a:lnTo>
                      <a:pt x="2" y="374"/>
                    </a:lnTo>
                    <a:lnTo>
                      <a:pt x="11" y="328"/>
                    </a:lnTo>
                    <a:lnTo>
                      <a:pt x="23" y="283"/>
                    </a:lnTo>
                    <a:lnTo>
                      <a:pt x="40" y="241"/>
                    </a:lnTo>
                    <a:lnTo>
                      <a:pt x="64" y="199"/>
                    </a:lnTo>
                    <a:lnTo>
                      <a:pt x="92" y="159"/>
                    </a:lnTo>
                    <a:lnTo>
                      <a:pt x="125" y="123"/>
                    </a:lnTo>
                    <a:lnTo>
                      <a:pt x="162" y="91"/>
                    </a:lnTo>
                    <a:lnTo>
                      <a:pt x="203" y="63"/>
                    </a:lnTo>
                    <a:lnTo>
                      <a:pt x="245" y="40"/>
                    </a:lnTo>
                    <a:lnTo>
                      <a:pt x="290" y="23"/>
                    </a:lnTo>
                    <a:lnTo>
                      <a:pt x="334" y="11"/>
                    </a:lnTo>
                    <a:lnTo>
                      <a:pt x="381" y="2"/>
                    </a:lnTo>
                    <a:lnTo>
                      <a:pt x="42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grpSp>
      </p:grpSp>
      <p:grpSp>
        <p:nvGrpSpPr>
          <p:cNvPr id="34" name="Group 174">
            <a:extLst>
              <a:ext uri="{FF2B5EF4-FFF2-40B4-BE49-F238E27FC236}">
                <a16:creationId xmlns:a16="http://schemas.microsoft.com/office/drawing/2014/main" id="{DC4A0919-93A3-40CD-9346-D22F4A5444EA}"/>
              </a:ext>
            </a:extLst>
          </p:cNvPr>
          <p:cNvGrpSpPr/>
          <p:nvPr/>
        </p:nvGrpSpPr>
        <p:grpSpPr>
          <a:xfrm>
            <a:off x="9929531" y="5228278"/>
            <a:ext cx="1143895" cy="1142305"/>
            <a:chOff x="9929530" y="5228275"/>
            <a:chExt cx="1143894" cy="1142305"/>
          </a:xfrm>
        </p:grpSpPr>
        <p:sp>
          <p:nvSpPr>
            <p:cNvPr id="35" name="Oval 310">
              <a:extLst>
                <a:ext uri="{FF2B5EF4-FFF2-40B4-BE49-F238E27FC236}">
                  <a16:creationId xmlns:a16="http://schemas.microsoft.com/office/drawing/2014/main" id="{04364198-AFEF-4A37-AE04-77A144A18F9C}"/>
                </a:ext>
              </a:extLst>
            </p:cNvPr>
            <p:cNvSpPr>
              <a:spLocks noChangeArrowheads="1"/>
            </p:cNvSpPr>
            <p:nvPr/>
          </p:nvSpPr>
          <p:spPr bwMode="auto">
            <a:xfrm>
              <a:off x="9929530" y="5228275"/>
              <a:ext cx="1143894" cy="1142305"/>
            </a:xfrm>
            <a:prstGeom prst="ellipse">
              <a:avLst/>
            </a:pr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grpSp>
          <p:nvGrpSpPr>
            <p:cNvPr id="36" name="Group 26">
              <a:extLst>
                <a:ext uri="{FF2B5EF4-FFF2-40B4-BE49-F238E27FC236}">
                  <a16:creationId xmlns:a16="http://schemas.microsoft.com/office/drawing/2014/main" id="{8CA3DF5F-3448-473D-9960-B0DCA3292762}"/>
                </a:ext>
              </a:extLst>
            </p:cNvPr>
            <p:cNvGrpSpPr>
              <a:grpSpLocks noChangeAspect="1"/>
            </p:cNvGrpSpPr>
            <p:nvPr/>
          </p:nvGrpSpPr>
          <p:grpSpPr bwMode="auto">
            <a:xfrm>
              <a:off x="10369678" y="5674232"/>
              <a:ext cx="306118" cy="255435"/>
              <a:chOff x="2640" y="3289"/>
              <a:chExt cx="453" cy="378"/>
            </a:xfrm>
            <a:solidFill>
              <a:schemeClr val="bg1"/>
            </a:solidFill>
          </p:grpSpPr>
          <p:sp>
            <p:nvSpPr>
              <p:cNvPr id="37" name="Freeform 28">
                <a:extLst>
                  <a:ext uri="{FF2B5EF4-FFF2-40B4-BE49-F238E27FC236}">
                    <a16:creationId xmlns:a16="http://schemas.microsoft.com/office/drawing/2014/main" id="{925801BF-0D01-4A71-906D-CB66D620CB8F}"/>
                  </a:ext>
                </a:extLst>
              </p:cNvPr>
              <p:cNvSpPr>
                <a:spLocks/>
              </p:cNvSpPr>
              <p:nvPr/>
            </p:nvSpPr>
            <p:spPr bwMode="auto">
              <a:xfrm>
                <a:off x="2640" y="3289"/>
                <a:ext cx="376" cy="378"/>
              </a:xfrm>
              <a:custGeom>
                <a:avLst/>
                <a:gdLst>
                  <a:gd name="T0" fmla="*/ 0 w 3004"/>
                  <a:gd name="T1" fmla="*/ 0 h 3022"/>
                  <a:gd name="T2" fmla="*/ 406 w 3004"/>
                  <a:gd name="T3" fmla="*/ 0 h 3022"/>
                  <a:gd name="T4" fmla="*/ 406 w 3004"/>
                  <a:gd name="T5" fmla="*/ 2616 h 3022"/>
                  <a:gd name="T6" fmla="*/ 3004 w 3004"/>
                  <a:gd name="T7" fmla="*/ 2616 h 3022"/>
                  <a:gd name="T8" fmla="*/ 3004 w 3004"/>
                  <a:gd name="T9" fmla="*/ 3022 h 3022"/>
                  <a:gd name="T10" fmla="*/ 0 w 3004"/>
                  <a:gd name="T11" fmla="*/ 3022 h 3022"/>
                  <a:gd name="T12" fmla="*/ 0 w 3004"/>
                  <a:gd name="T13" fmla="*/ 0 h 3022"/>
                </a:gdLst>
                <a:ahLst/>
                <a:cxnLst>
                  <a:cxn ang="0">
                    <a:pos x="T0" y="T1"/>
                  </a:cxn>
                  <a:cxn ang="0">
                    <a:pos x="T2" y="T3"/>
                  </a:cxn>
                  <a:cxn ang="0">
                    <a:pos x="T4" y="T5"/>
                  </a:cxn>
                  <a:cxn ang="0">
                    <a:pos x="T6" y="T7"/>
                  </a:cxn>
                  <a:cxn ang="0">
                    <a:pos x="T8" y="T9"/>
                  </a:cxn>
                  <a:cxn ang="0">
                    <a:pos x="T10" y="T11"/>
                  </a:cxn>
                  <a:cxn ang="0">
                    <a:pos x="T12" y="T13"/>
                  </a:cxn>
                </a:cxnLst>
                <a:rect l="0" t="0" r="r" b="b"/>
                <a:pathLst>
                  <a:path w="3004" h="3022">
                    <a:moveTo>
                      <a:pt x="0" y="0"/>
                    </a:moveTo>
                    <a:lnTo>
                      <a:pt x="406" y="0"/>
                    </a:lnTo>
                    <a:lnTo>
                      <a:pt x="406" y="2616"/>
                    </a:lnTo>
                    <a:lnTo>
                      <a:pt x="3004" y="2616"/>
                    </a:lnTo>
                    <a:lnTo>
                      <a:pt x="3004" y="3022"/>
                    </a:lnTo>
                    <a:lnTo>
                      <a:pt x="0" y="3022"/>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38" name="Freeform 29">
                <a:extLst>
                  <a:ext uri="{FF2B5EF4-FFF2-40B4-BE49-F238E27FC236}">
                    <a16:creationId xmlns:a16="http://schemas.microsoft.com/office/drawing/2014/main" id="{EEAC3592-E9FC-45BC-B046-6E7B0CED316A}"/>
                  </a:ext>
                </a:extLst>
              </p:cNvPr>
              <p:cNvSpPr>
                <a:spLocks/>
              </p:cNvSpPr>
              <p:nvPr/>
            </p:nvSpPr>
            <p:spPr bwMode="auto">
              <a:xfrm>
                <a:off x="2716" y="3341"/>
                <a:ext cx="377" cy="236"/>
              </a:xfrm>
              <a:custGeom>
                <a:avLst/>
                <a:gdLst>
                  <a:gd name="T0" fmla="*/ 1545 w 3022"/>
                  <a:gd name="T1" fmla="*/ 0 h 1882"/>
                  <a:gd name="T2" fmla="*/ 2490 w 3022"/>
                  <a:gd name="T3" fmla="*/ 945 h 1882"/>
                  <a:gd name="T4" fmla="*/ 2802 w 3022"/>
                  <a:gd name="T5" fmla="*/ 633 h 1882"/>
                  <a:gd name="T6" fmla="*/ 3022 w 3022"/>
                  <a:gd name="T7" fmla="*/ 1882 h 1882"/>
                  <a:gd name="T8" fmla="*/ 1772 w 3022"/>
                  <a:gd name="T9" fmla="*/ 1662 h 1882"/>
                  <a:gd name="T10" fmla="*/ 2107 w 3022"/>
                  <a:gd name="T11" fmla="*/ 1328 h 1882"/>
                  <a:gd name="T12" fmla="*/ 1545 w 3022"/>
                  <a:gd name="T13" fmla="*/ 766 h 1882"/>
                  <a:gd name="T14" fmla="*/ 947 w 3022"/>
                  <a:gd name="T15" fmla="*/ 1364 h 1882"/>
                  <a:gd name="T16" fmla="*/ 0 w 3022"/>
                  <a:gd name="T17" fmla="*/ 419 h 1882"/>
                  <a:gd name="T18" fmla="*/ 384 w 3022"/>
                  <a:gd name="T19" fmla="*/ 37 h 1882"/>
                  <a:gd name="T20" fmla="*/ 947 w 3022"/>
                  <a:gd name="T21" fmla="*/ 599 h 1882"/>
                  <a:gd name="T22" fmla="*/ 1545 w 3022"/>
                  <a:gd name="T23" fmla="*/ 0 h 18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022" h="1882">
                    <a:moveTo>
                      <a:pt x="1545" y="0"/>
                    </a:moveTo>
                    <a:lnTo>
                      <a:pt x="2490" y="945"/>
                    </a:lnTo>
                    <a:lnTo>
                      <a:pt x="2802" y="633"/>
                    </a:lnTo>
                    <a:lnTo>
                      <a:pt x="3022" y="1882"/>
                    </a:lnTo>
                    <a:lnTo>
                      <a:pt x="1772" y="1662"/>
                    </a:lnTo>
                    <a:lnTo>
                      <a:pt x="2107" y="1328"/>
                    </a:lnTo>
                    <a:lnTo>
                      <a:pt x="1545" y="766"/>
                    </a:lnTo>
                    <a:lnTo>
                      <a:pt x="947" y="1364"/>
                    </a:lnTo>
                    <a:lnTo>
                      <a:pt x="0" y="419"/>
                    </a:lnTo>
                    <a:lnTo>
                      <a:pt x="384" y="37"/>
                    </a:lnTo>
                    <a:lnTo>
                      <a:pt x="947" y="599"/>
                    </a:lnTo>
                    <a:lnTo>
                      <a:pt x="154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grpSp>
      </p:grpSp>
      <p:grpSp>
        <p:nvGrpSpPr>
          <p:cNvPr id="39" name="Group 173">
            <a:extLst>
              <a:ext uri="{FF2B5EF4-FFF2-40B4-BE49-F238E27FC236}">
                <a16:creationId xmlns:a16="http://schemas.microsoft.com/office/drawing/2014/main" id="{39F30AD3-1024-4D52-9666-2A93E71EEE18}"/>
              </a:ext>
            </a:extLst>
          </p:cNvPr>
          <p:cNvGrpSpPr/>
          <p:nvPr/>
        </p:nvGrpSpPr>
        <p:grpSpPr>
          <a:xfrm>
            <a:off x="5155366" y="5447523"/>
            <a:ext cx="1143895" cy="1140716"/>
            <a:chOff x="5155364" y="5447521"/>
            <a:chExt cx="1143894" cy="1140716"/>
          </a:xfrm>
        </p:grpSpPr>
        <p:sp>
          <p:nvSpPr>
            <p:cNvPr id="40" name="Oval 309">
              <a:extLst>
                <a:ext uri="{FF2B5EF4-FFF2-40B4-BE49-F238E27FC236}">
                  <a16:creationId xmlns:a16="http://schemas.microsoft.com/office/drawing/2014/main" id="{0DFC693E-D9F6-4BCD-BC39-BD2995171685}"/>
                </a:ext>
              </a:extLst>
            </p:cNvPr>
            <p:cNvSpPr>
              <a:spLocks noChangeArrowheads="1"/>
            </p:cNvSpPr>
            <p:nvPr/>
          </p:nvSpPr>
          <p:spPr bwMode="auto">
            <a:xfrm>
              <a:off x="5155364" y="5447521"/>
              <a:ext cx="1143894" cy="1140716"/>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grpSp>
          <p:nvGrpSpPr>
            <p:cNvPr id="41" name="Group 92">
              <a:extLst>
                <a:ext uri="{FF2B5EF4-FFF2-40B4-BE49-F238E27FC236}">
                  <a16:creationId xmlns:a16="http://schemas.microsoft.com/office/drawing/2014/main" id="{5955D624-27E5-49CA-9DE3-10077D27F9FF}"/>
                </a:ext>
              </a:extLst>
            </p:cNvPr>
            <p:cNvGrpSpPr/>
            <p:nvPr/>
          </p:nvGrpSpPr>
          <p:grpSpPr>
            <a:xfrm>
              <a:off x="5544541" y="5832643"/>
              <a:ext cx="365538" cy="370473"/>
              <a:chOff x="3885769" y="4740974"/>
              <a:chExt cx="858732" cy="870326"/>
            </a:xfrm>
            <a:solidFill>
              <a:schemeClr val="bg1"/>
            </a:solidFill>
          </p:grpSpPr>
          <p:sp>
            <p:nvSpPr>
              <p:cNvPr id="42" name="Rectangle 109">
                <a:extLst>
                  <a:ext uri="{FF2B5EF4-FFF2-40B4-BE49-F238E27FC236}">
                    <a16:creationId xmlns:a16="http://schemas.microsoft.com/office/drawing/2014/main" id="{FC6ECF3D-43CC-4334-9F58-22A960AF8D52}"/>
                  </a:ext>
                </a:extLst>
              </p:cNvPr>
              <p:cNvSpPr>
                <a:spLocks noChangeArrowheads="1"/>
              </p:cNvSpPr>
              <p:nvPr/>
            </p:nvSpPr>
            <p:spPr bwMode="auto">
              <a:xfrm>
                <a:off x="3885769" y="4821412"/>
                <a:ext cx="55799" cy="57973"/>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43" name="Rectangle 110">
                <a:extLst>
                  <a:ext uri="{FF2B5EF4-FFF2-40B4-BE49-F238E27FC236}">
                    <a16:creationId xmlns:a16="http://schemas.microsoft.com/office/drawing/2014/main" id="{3E2D63E8-ACE4-4F41-89E5-AFE6B94248B2}"/>
                  </a:ext>
                </a:extLst>
              </p:cNvPr>
              <p:cNvSpPr>
                <a:spLocks noChangeArrowheads="1"/>
              </p:cNvSpPr>
              <p:nvPr/>
            </p:nvSpPr>
            <p:spPr bwMode="auto">
              <a:xfrm>
                <a:off x="3885769" y="4940982"/>
                <a:ext cx="55799" cy="57249"/>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44" name="Rectangle 111">
                <a:extLst>
                  <a:ext uri="{FF2B5EF4-FFF2-40B4-BE49-F238E27FC236}">
                    <a16:creationId xmlns:a16="http://schemas.microsoft.com/office/drawing/2014/main" id="{BD644090-2C30-4060-86E6-DD6A26BB24C3}"/>
                  </a:ext>
                </a:extLst>
              </p:cNvPr>
              <p:cNvSpPr>
                <a:spLocks noChangeArrowheads="1"/>
              </p:cNvSpPr>
              <p:nvPr/>
            </p:nvSpPr>
            <p:spPr bwMode="auto">
              <a:xfrm>
                <a:off x="3885769" y="5059103"/>
                <a:ext cx="55799" cy="57973"/>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45" name="Rectangle 112">
                <a:extLst>
                  <a:ext uri="{FF2B5EF4-FFF2-40B4-BE49-F238E27FC236}">
                    <a16:creationId xmlns:a16="http://schemas.microsoft.com/office/drawing/2014/main" id="{A50D04CC-6540-4768-981E-0CC0F370F56C}"/>
                  </a:ext>
                </a:extLst>
              </p:cNvPr>
              <p:cNvSpPr>
                <a:spLocks noChangeArrowheads="1"/>
              </p:cNvSpPr>
              <p:nvPr/>
            </p:nvSpPr>
            <p:spPr bwMode="auto">
              <a:xfrm>
                <a:off x="3885769" y="5178673"/>
                <a:ext cx="55799" cy="57249"/>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46" name="Rectangle 113">
                <a:extLst>
                  <a:ext uri="{FF2B5EF4-FFF2-40B4-BE49-F238E27FC236}">
                    <a16:creationId xmlns:a16="http://schemas.microsoft.com/office/drawing/2014/main" id="{4AAD2C0A-A19A-4412-B83E-3E55C8EBC35F}"/>
                  </a:ext>
                </a:extLst>
              </p:cNvPr>
              <p:cNvSpPr>
                <a:spLocks noChangeArrowheads="1"/>
              </p:cNvSpPr>
              <p:nvPr/>
            </p:nvSpPr>
            <p:spPr bwMode="auto">
              <a:xfrm>
                <a:off x="3885769" y="5296794"/>
                <a:ext cx="55799" cy="57973"/>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47" name="Freeform 114">
                <a:extLst>
                  <a:ext uri="{FF2B5EF4-FFF2-40B4-BE49-F238E27FC236}">
                    <a16:creationId xmlns:a16="http://schemas.microsoft.com/office/drawing/2014/main" id="{45CFD915-54A3-475F-A15F-99F42D630075}"/>
                  </a:ext>
                </a:extLst>
              </p:cNvPr>
              <p:cNvSpPr>
                <a:spLocks/>
              </p:cNvSpPr>
              <p:nvPr/>
            </p:nvSpPr>
            <p:spPr bwMode="auto">
              <a:xfrm>
                <a:off x="3977802" y="4740974"/>
                <a:ext cx="766699" cy="777569"/>
              </a:xfrm>
              <a:custGeom>
                <a:avLst/>
                <a:gdLst>
                  <a:gd name="T0" fmla="*/ 350 w 3173"/>
                  <a:gd name="T1" fmla="*/ 0 h 3219"/>
                  <a:gd name="T2" fmla="*/ 350 w 3173"/>
                  <a:gd name="T3" fmla="*/ 2862 h 3219"/>
                  <a:gd name="T4" fmla="*/ 3173 w 3173"/>
                  <a:gd name="T5" fmla="*/ 2862 h 3219"/>
                  <a:gd name="T6" fmla="*/ 3173 w 3173"/>
                  <a:gd name="T7" fmla="*/ 3219 h 3219"/>
                  <a:gd name="T8" fmla="*/ 0 w 3173"/>
                  <a:gd name="T9" fmla="*/ 3219 h 3219"/>
                  <a:gd name="T10" fmla="*/ 0 w 3173"/>
                  <a:gd name="T11" fmla="*/ 0 h 3219"/>
                  <a:gd name="T12" fmla="*/ 350 w 3173"/>
                  <a:gd name="T13" fmla="*/ 0 h 3219"/>
                </a:gdLst>
                <a:ahLst/>
                <a:cxnLst>
                  <a:cxn ang="0">
                    <a:pos x="T0" y="T1"/>
                  </a:cxn>
                  <a:cxn ang="0">
                    <a:pos x="T2" y="T3"/>
                  </a:cxn>
                  <a:cxn ang="0">
                    <a:pos x="T4" y="T5"/>
                  </a:cxn>
                  <a:cxn ang="0">
                    <a:pos x="T6" y="T7"/>
                  </a:cxn>
                  <a:cxn ang="0">
                    <a:pos x="T8" y="T9"/>
                  </a:cxn>
                  <a:cxn ang="0">
                    <a:pos x="T10" y="T11"/>
                  </a:cxn>
                  <a:cxn ang="0">
                    <a:pos x="T12" y="T13"/>
                  </a:cxn>
                </a:cxnLst>
                <a:rect l="0" t="0" r="r" b="b"/>
                <a:pathLst>
                  <a:path w="3173" h="3219">
                    <a:moveTo>
                      <a:pt x="350" y="0"/>
                    </a:moveTo>
                    <a:lnTo>
                      <a:pt x="350" y="2862"/>
                    </a:lnTo>
                    <a:lnTo>
                      <a:pt x="3173" y="2862"/>
                    </a:lnTo>
                    <a:lnTo>
                      <a:pt x="3173" y="3219"/>
                    </a:lnTo>
                    <a:lnTo>
                      <a:pt x="0" y="3219"/>
                    </a:lnTo>
                    <a:lnTo>
                      <a:pt x="0" y="0"/>
                    </a:lnTo>
                    <a:lnTo>
                      <a:pt x="35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48" name="Rectangle 115">
                <a:extLst>
                  <a:ext uri="{FF2B5EF4-FFF2-40B4-BE49-F238E27FC236}">
                    <a16:creationId xmlns:a16="http://schemas.microsoft.com/office/drawing/2014/main" id="{FC82DDF9-A6F3-4E1B-B7DE-1D919CA77902}"/>
                  </a:ext>
                </a:extLst>
              </p:cNvPr>
              <p:cNvSpPr>
                <a:spLocks noChangeArrowheads="1"/>
              </p:cNvSpPr>
              <p:nvPr/>
            </p:nvSpPr>
            <p:spPr bwMode="auto">
              <a:xfrm>
                <a:off x="4608988" y="5554776"/>
                <a:ext cx="56524" cy="5652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49" name="Rectangle 116">
                <a:extLst>
                  <a:ext uri="{FF2B5EF4-FFF2-40B4-BE49-F238E27FC236}">
                    <a16:creationId xmlns:a16="http://schemas.microsoft.com/office/drawing/2014/main" id="{975710A6-511A-46FB-9B7D-F5D815E8CE9E}"/>
                  </a:ext>
                </a:extLst>
              </p:cNvPr>
              <p:cNvSpPr>
                <a:spLocks noChangeArrowheads="1"/>
              </p:cNvSpPr>
              <p:nvPr/>
            </p:nvSpPr>
            <p:spPr bwMode="auto">
              <a:xfrm>
                <a:off x="4492316" y="5554776"/>
                <a:ext cx="56524" cy="5652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50" name="Rectangle 117">
                <a:extLst>
                  <a:ext uri="{FF2B5EF4-FFF2-40B4-BE49-F238E27FC236}">
                    <a16:creationId xmlns:a16="http://schemas.microsoft.com/office/drawing/2014/main" id="{60283653-A4CB-4E0C-A14C-4B09AC54512D}"/>
                  </a:ext>
                </a:extLst>
              </p:cNvPr>
              <p:cNvSpPr>
                <a:spLocks noChangeArrowheads="1"/>
              </p:cNvSpPr>
              <p:nvPr/>
            </p:nvSpPr>
            <p:spPr bwMode="auto">
              <a:xfrm>
                <a:off x="4376369" y="5554776"/>
                <a:ext cx="56524" cy="5652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51" name="Rectangle 118">
                <a:extLst>
                  <a:ext uri="{FF2B5EF4-FFF2-40B4-BE49-F238E27FC236}">
                    <a16:creationId xmlns:a16="http://schemas.microsoft.com/office/drawing/2014/main" id="{4261D12C-E36B-4A98-BD68-9BE1B2A95D39}"/>
                  </a:ext>
                </a:extLst>
              </p:cNvPr>
              <p:cNvSpPr>
                <a:spLocks noChangeArrowheads="1"/>
              </p:cNvSpPr>
              <p:nvPr/>
            </p:nvSpPr>
            <p:spPr bwMode="auto">
              <a:xfrm>
                <a:off x="4259698" y="5554776"/>
                <a:ext cx="56524" cy="5652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52" name="Rectangle 119">
                <a:extLst>
                  <a:ext uri="{FF2B5EF4-FFF2-40B4-BE49-F238E27FC236}">
                    <a16:creationId xmlns:a16="http://schemas.microsoft.com/office/drawing/2014/main" id="{9F52F8F0-EC8A-4DC6-BBB7-D6A01710F34B}"/>
                  </a:ext>
                </a:extLst>
              </p:cNvPr>
              <p:cNvSpPr>
                <a:spLocks noChangeArrowheads="1"/>
              </p:cNvSpPr>
              <p:nvPr/>
            </p:nvSpPr>
            <p:spPr bwMode="auto">
              <a:xfrm>
                <a:off x="4143026" y="5554776"/>
                <a:ext cx="56524" cy="5652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53" name="Freeform 120">
                <a:extLst>
                  <a:ext uri="{FF2B5EF4-FFF2-40B4-BE49-F238E27FC236}">
                    <a16:creationId xmlns:a16="http://schemas.microsoft.com/office/drawing/2014/main" id="{00B19A6F-601C-4C44-927E-6074FD2084B4}"/>
                  </a:ext>
                </a:extLst>
              </p:cNvPr>
              <p:cNvSpPr>
                <a:spLocks/>
              </p:cNvSpPr>
              <p:nvPr/>
            </p:nvSpPr>
            <p:spPr bwMode="auto">
              <a:xfrm>
                <a:off x="4083603" y="4918518"/>
                <a:ext cx="647129" cy="482629"/>
              </a:xfrm>
              <a:custGeom>
                <a:avLst/>
                <a:gdLst>
                  <a:gd name="T0" fmla="*/ 2477 w 2681"/>
                  <a:gd name="T1" fmla="*/ 0 h 1998"/>
                  <a:gd name="T2" fmla="*/ 2681 w 2681"/>
                  <a:gd name="T3" fmla="*/ 116 h 1998"/>
                  <a:gd name="T4" fmla="*/ 2159 w 2681"/>
                  <a:gd name="T5" fmla="*/ 1069 h 1998"/>
                  <a:gd name="T6" fmla="*/ 1619 w 2681"/>
                  <a:gd name="T7" fmla="*/ 810 h 1998"/>
                  <a:gd name="T8" fmla="*/ 1266 w 2681"/>
                  <a:gd name="T9" fmla="*/ 1507 h 1998"/>
                  <a:gd name="T10" fmla="*/ 655 w 2681"/>
                  <a:gd name="T11" fmla="*/ 1208 h 1998"/>
                  <a:gd name="T12" fmla="*/ 201 w 2681"/>
                  <a:gd name="T13" fmla="*/ 1998 h 1998"/>
                  <a:gd name="T14" fmla="*/ 0 w 2681"/>
                  <a:gd name="T15" fmla="*/ 1877 h 1998"/>
                  <a:gd name="T16" fmla="*/ 563 w 2681"/>
                  <a:gd name="T17" fmla="*/ 899 h 1998"/>
                  <a:gd name="T18" fmla="*/ 1162 w 2681"/>
                  <a:gd name="T19" fmla="*/ 1192 h 1998"/>
                  <a:gd name="T20" fmla="*/ 1514 w 2681"/>
                  <a:gd name="T21" fmla="*/ 498 h 1998"/>
                  <a:gd name="T22" fmla="*/ 2062 w 2681"/>
                  <a:gd name="T23" fmla="*/ 758 h 1998"/>
                  <a:gd name="T24" fmla="*/ 2477 w 2681"/>
                  <a:gd name="T25" fmla="*/ 0 h 19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81" h="1998">
                    <a:moveTo>
                      <a:pt x="2477" y="0"/>
                    </a:moveTo>
                    <a:lnTo>
                      <a:pt x="2681" y="116"/>
                    </a:lnTo>
                    <a:lnTo>
                      <a:pt x="2159" y="1069"/>
                    </a:lnTo>
                    <a:lnTo>
                      <a:pt x="1619" y="810"/>
                    </a:lnTo>
                    <a:lnTo>
                      <a:pt x="1266" y="1507"/>
                    </a:lnTo>
                    <a:lnTo>
                      <a:pt x="655" y="1208"/>
                    </a:lnTo>
                    <a:lnTo>
                      <a:pt x="201" y="1998"/>
                    </a:lnTo>
                    <a:lnTo>
                      <a:pt x="0" y="1877"/>
                    </a:lnTo>
                    <a:lnTo>
                      <a:pt x="563" y="899"/>
                    </a:lnTo>
                    <a:lnTo>
                      <a:pt x="1162" y="1192"/>
                    </a:lnTo>
                    <a:lnTo>
                      <a:pt x="1514" y="498"/>
                    </a:lnTo>
                    <a:lnTo>
                      <a:pt x="2062" y="758"/>
                    </a:lnTo>
                    <a:lnTo>
                      <a:pt x="247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grpSp>
      </p:grpSp>
      <p:grpSp>
        <p:nvGrpSpPr>
          <p:cNvPr id="54" name="Group 1">
            <a:extLst>
              <a:ext uri="{FF2B5EF4-FFF2-40B4-BE49-F238E27FC236}">
                <a16:creationId xmlns:a16="http://schemas.microsoft.com/office/drawing/2014/main" id="{C01185EA-31D1-4606-8DCC-3B6D990BB5EA}"/>
              </a:ext>
            </a:extLst>
          </p:cNvPr>
          <p:cNvGrpSpPr/>
          <p:nvPr/>
        </p:nvGrpSpPr>
        <p:grpSpPr>
          <a:xfrm>
            <a:off x="8590225" y="3431411"/>
            <a:ext cx="1142305" cy="1140716"/>
            <a:chOff x="8590222" y="3431411"/>
            <a:chExt cx="1142305" cy="1140716"/>
          </a:xfrm>
        </p:grpSpPr>
        <p:sp>
          <p:nvSpPr>
            <p:cNvPr id="55" name="Oval 311">
              <a:extLst>
                <a:ext uri="{FF2B5EF4-FFF2-40B4-BE49-F238E27FC236}">
                  <a16:creationId xmlns:a16="http://schemas.microsoft.com/office/drawing/2014/main" id="{65780BF1-7D23-4B88-AC24-FBC128DAE13C}"/>
                </a:ext>
              </a:extLst>
            </p:cNvPr>
            <p:cNvSpPr>
              <a:spLocks noChangeArrowheads="1"/>
            </p:cNvSpPr>
            <p:nvPr/>
          </p:nvSpPr>
          <p:spPr bwMode="auto">
            <a:xfrm>
              <a:off x="8590222" y="3431411"/>
              <a:ext cx="1142305" cy="1140716"/>
            </a:xfrm>
            <a:prstGeom prst="ellipse">
              <a:avLst/>
            </a:prstGeom>
            <a:solidFill>
              <a:schemeClr val="accent4">
                <a:lumMod val="60000"/>
                <a:lumOff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56" name="Freeform 239">
              <a:extLst>
                <a:ext uri="{FF2B5EF4-FFF2-40B4-BE49-F238E27FC236}">
                  <a16:creationId xmlns:a16="http://schemas.microsoft.com/office/drawing/2014/main" id="{B9608B30-3679-44EE-847A-875D8094E270}"/>
                </a:ext>
              </a:extLst>
            </p:cNvPr>
            <p:cNvSpPr>
              <a:spLocks noEditPoints="1"/>
            </p:cNvSpPr>
            <p:nvPr/>
          </p:nvSpPr>
          <p:spPr bwMode="auto">
            <a:xfrm>
              <a:off x="8997504" y="3844994"/>
              <a:ext cx="327741" cy="313550"/>
            </a:xfrm>
            <a:custGeom>
              <a:avLst/>
              <a:gdLst>
                <a:gd name="T0" fmla="*/ 2245 w 3396"/>
                <a:gd name="T1" fmla="*/ 2622 h 3249"/>
                <a:gd name="T2" fmla="*/ 2543 w 3396"/>
                <a:gd name="T3" fmla="*/ 1381 h 3249"/>
                <a:gd name="T4" fmla="*/ 1548 w 3396"/>
                <a:gd name="T5" fmla="*/ 1381 h 3249"/>
                <a:gd name="T6" fmla="*/ 1848 w 3396"/>
                <a:gd name="T7" fmla="*/ 2622 h 3249"/>
                <a:gd name="T8" fmla="*/ 1548 w 3396"/>
                <a:gd name="T9" fmla="*/ 1381 h 3249"/>
                <a:gd name="T10" fmla="*/ 853 w 3396"/>
                <a:gd name="T11" fmla="*/ 2622 h 3249"/>
                <a:gd name="T12" fmla="*/ 1151 w 3396"/>
                <a:gd name="T13" fmla="*/ 1381 h 3249"/>
                <a:gd name="T14" fmla="*/ 1698 w 3396"/>
                <a:gd name="T15" fmla="*/ 384 h 3249"/>
                <a:gd name="T16" fmla="*/ 1629 w 3396"/>
                <a:gd name="T17" fmla="*/ 395 h 3249"/>
                <a:gd name="T18" fmla="*/ 1570 w 3396"/>
                <a:gd name="T19" fmla="*/ 426 h 3249"/>
                <a:gd name="T20" fmla="*/ 1523 w 3396"/>
                <a:gd name="T21" fmla="*/ 473 h 3249"/>
                <a:gd name="T22" fmla="*/ 1492 w 3396"/>
                <a:gd name="T23" fmla="*/ 532 h 3249"/>
                <a:gd name="T24" fmla="*/ 1481 w 3396"/>
                <a:gd name="T25" fmla="*/ 601 h 3249"/>
                <a:gd name="T26" fmla="*/ 1492 w 3396"/>
                <a:gd name="T27" fmla="*/ 670 h 3249"/>
                <a:gd name="T28" fmla="*/ 1523 w 3396"/>
                <a:gd name="T29" fmla="*/ 729 h 3249"/>
                <a:gd name="T30" fmla="*/ 1570 w 3396"/>
                <a:gd name="T31" fmla="*/ 776 h 3249"/>
                <a:gd name="T32" fmla="*/ 1629 w 3396"/>
                <a:gd name="T33" fmla="*/ 807 h 3249"/>
                <a:gd name="T34" fmla="*/ 1698 w 3396"/>
                <a:gd name="T35" fmla="*/ 817 h 3249"/>
                <a:gd name="T36" fmla="*/ 1767 w 3396"/>
                <a:gd name="T37" fmla="*/ 807 h 3249"/>
                <a:gd name="T38" fmla="*/ 1826 w 3396"/>
                <a:gd name="T39" fmla="*/ 776 h 3249"/>
                <a:gd name="T40" fmla="*/ 1873 w 3396"/>
                <a:gd name="T41" fmla="*/ 729 h 3249"/>
                <a:gd name="T42" fmla="*/ 1904 w 3396"/>
                <a:gd name="T43" fmla="*/ 670 h 3249"/>
                <a:gd name="T44" fmla="*/ 1915 w 3396"/>
                <a:gd name="T45" fmla="*/ 601 h 3249"/>
                <a:gd name="T46" fmla="*/ 1904 w 3396"/>
                <a:gd name="T47" fmla="*/ 532 h 3249"/>
                <a:gd name="T48" fmla="*/ 1873 w 3396"/>
                <a:gd name="T49" fmla="*/ 473 h 3249"/>
                <a:gd name="T50" fmla="*/ 1826 w 3396"/>
                <a:gd name="T51" fmla="*/ 426 h 3249"/>
                <a:gd name="T52" fmla="*/ 1767 w 3396"/>
                <a:gd name="T53" fmla="*/ 395 h 3249"/>
                <a:gd name="T54" fmla="*/ 1698 w 3396"/>
                <a:gd name="T55" fmla="*/ 384 h 3249"/>
                <a:gd name="T56" fmla="*/ 1698 w 3396"/>
                <a:gd name="T57" fmla="*/ 0 h 3249"/>
                <a:gd name="T58" fmla="*/ 3057 w 3396"/>
                <a:gd name="T59" fmla="*/ 1122 h 3249"/>
                <a:gd name="T60" fmla="*/ 3396 w 3396"/>
                <a:gd name="T61" fmla="*/ 1381 h 3249"/>
                <a:gd name="T62" fmla="*/ 2941 w 3396"/>
                <a:gd name="T63" fmla="*/ 2622 h 3249"/>
                <a:gd name="T64" fmla="*/ 3396 w 3396"/>
                <a:gd name="T65" fmla="*/ 3249 h 3249"/>
                <a:gd name="T66" fmla="*/ 106 w 3396"/>
                <a:gd name="T67" fmla="*/ 2622 h 3249"/>
                <a:gd name="T68" fmla="*/ 455 w 3396"/>
                <a:gd name="T69" fmla="*/ 1381 h 3249"/>
                <a:gd name="T70" fmla="*/ 0 w 3396"/>
                <a:gd name="T71" fmla="*/ 1122 h 3249"/>
                <a:gd name="T72" fmla="*/ 339 w 3396"/>
                <a:gd name="T73" fmla="*/ 944 h 3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396" h="3249">
                  <a:moveTo>
                    <a:pt x="2245" y="1381"/>
                  </a:moveTo>
                  <a:lnTo>
                    <a:pt x="2245" y="2622"/>
                  </a:lnTo>
                  <a:lnTo>
                    <a:pt x="2543" y="2622"/>
                  </a:lnTo>
                  <a:lnTo>
                    <a:pt x="2543" y="1381"/>
                  </a:lnTo>
                  <a:lnTo>
                    <a:pt x="2245" y="1381"/>
                  </a:lnTo>
                  <a:close/>
                  <a:moveTo>
                    <a:pt x="1548" y="1381"/>
                  </a:moveTo>
                  <a:lnTo>
                    <a:pt x="1548" y="2622"/>
                  </a:lnTo>
                  <a:lnTo>
                    <a:pt x="1848" y="2622"/>
                  </a:lnTo>
                  <a:lnTo>
                    <a:pt x="1848" y="1381"/>
                  </a:lnTo>
                  <a:lnTo>
                    <a:pt x="1548" y="1381"/>
                  </a:lnTo>
                  <a:close/>
                  <a:moveTo>
                    <a:pt x="853" y="1381"/>
                  </a:moveTo>
                  <a:lnTo>
                    <a:pt x="853" y="2622"/>
                  </a:lnTo>
                  <a:lnTo>
                    <a:pt x="1151" y="2622"/>
                  </a:lnTo>
                  <a:lnTo>
                    <a:pt x="1151" y="1381"/>
                  </a:lnTo>
                  <a:lnTo>
                    <a:pt x="853" y="1381"/>
                  </a:lnTo>
                  <a:close/>
                  <a:moveTo>
                    <a:pt x="1698" y="384"/>
                  </a:moveTo>
                  <a:lnTo>
                    <a:pt x="1663" y="387"/>
                  </a:lnTo>
                  <a:lnTo>
                    <a:pt x="1629" y="395"/>
                  </a:lnTo>
                  <a:lnTo>
                    <a:pt x="1598" y="408"/>
                  </a:lnTo>
                  <a:lnTo>
                    <a:pt x="1570" y="426"/>
                  </a:lnTo>
                  <a:lnTo>
                    <a:pt x="1544" y="447"/>
                  </a:lnTo>
                  <a:lnTo>
                    <a:pt x="1523" y="473"/>
                  </a:lnTo>
                  <a:lnTo>
                    <a:pt x="1505" y="501"/>
                  </a:lnTo>
                  <a:lnTo>
                    <a:pt x="1492" y="532"/>
                  </a:lnTo>
                  <a:lnTo>
                    <a:pt x="1484" y="566"/>
                  </a:lnTo>
                  <a:lnTo>
                    <a:pt x="1481" y="601"/>
                  </a:lnTo>
                  <a:lnTo>
                    <a:pt x="1484" y="636"/>
                  </a:lnTo>
                  <a:lnTo>
                    <a:pt x="1492" y="670"/>
                  </a:lnTo>
                  <a:lnTo>
                    <a:pt x="1505" y="701"/>
                  </a:lnTo>
                  <a:lnTo>
                    <a:pt x="1523" y="729"/>
                  </a:lnTo>
                  <a:lnTo>
                    <a:pt x="1544" y="755"/>
                  </a:lnTo>
                  <a:lnTo>
                    <a:pt x="1570" y="776"/>
                  </a:lnTo>
                  <a:lnTo>
                    <a:pt x="1598" y="794"/>
                  </a:lnTo>
                  <a:lnTo>
                    <a:pt x="1629" y="807"/>
                  </a:lnTo>
                  <a:lnTo>
                    <a:pt x="1663" y="815"/>
                  </a:lnTo>
                  <a:lnTo>
                    <a:pt x="1698" y="817"/>
                  </a:lnTo>
                  <a:lnTo>
                    <a:pt x="1733" y="815"/>
                  </a:lnTo>
                  <a:lnTo>
                    <a:pt x="1767" y="807"/>
                  </a:lnTo>
                  <a:lnTo>
                    <a:pt x="1798" y="794"/>
                  </a:lnTo>
                  <a:lnTo>
                    <a:pt x="1826" y="776"/>
                  </a:lnTo>
                  <a:lnTo>
                    <a:pt x="1852" y="755"/>
                  </a:lnTo>
                  <a:lnTo>
                    <a:pt x="1873" y="729"/>
                  </a:lnTo>
                  <a:lnTo>
                    <a:pt x="1891" y="701"/>
                  </a:lnTo>
                  <a:lnTo>
                    <a:pt x="1904" y="670"/>
                  </a:lnTo>
                  <a:lnTo>
                    <a:pt x="1912" y="636"/>
                  </a:lnTo>
                  <a:lnTo>
                    <a:pt x="1915" y="601"/>
                  </a:lnTo>
                  <a:lnTo>
                    <a:pt x="1912" y="566"/>
                  </a:lnTo>
                  <a:lnTo>
                    <a:pt x="1904" y="532"/>
                  </a:lnTo>
                  <a:lnTo>
                    <a:pt x="1891" y="501"/>
                  </a:lnTo>
                  <a:lnTo>
                    <a:pt x="1873" y="473"/>
                  </a:lnTo>
                  <a:lnTo>
                    <a:pt x="1852" y="447"/>
                  </a:lnTo>
                  <a:lnTo>
                    <a:pt x="1826" y="426"/>
                  </a:lnTo>
                  <a:lnTo>
                    <a:pt x="1798" y="408"/>
                  </a:lnTo>
                  <a:lnTo>
                    <a:pt x="1767" y="395"/>
                  </a:lnTo>
                  <a:lnTo>
                    <a:pt x="1733" y="387"/>
                  </a:lnTo>
                  <a:lnTo>
                    <a:pt x="1698" y="384"/>
                  </a:lnTo>
                  <a:close/>
                  <a:moveTo>
                    <a:pt x="1698" y="0"/>
                  </a:moveTo>
                  <a:lnTo>
                    <a:pt x="1698" y="0"/>
                  </a:lnTo>
                  <a:lnTo>
                    <a:pt x="3057" y="944"/>
                  </a:lnTo>
                  <a:lnTo>
                    <a:pt x="3057" y="1122"/>
                  </a:lnTo>
                  <a:lnTo>
                    <a:pt x="3396" y="1122"/>
                  </a:lnTo>
                  <a:lnTo>
                    <a:pt x="3396" y="1381"/>
                  </a:lnTo>
                  <a:lnTo>
                    <a:pt x="2941" y="1381"/>
                  </a:lnTo>
                  <a:lnTo>
                    <a:pt x="2941" y="2622"/>
                  </a:lnTo>
                  <a:lnTo>
                    <a:pt x="3290" y="2622"/>
                  </a:lnTo>
                  <a:lnTo>
                    <a:pt x="3396" y="3249"/>
                  </a:lnTo>
                  <a:lnTo>
                    <a:pt x="0" y="3249"/>
                  </a:lnTo>
                  <a:lnTo>
                    <a:pt x="106" y="2622"/>
                  </a:lnTo>
                  <a:lnTo>
                    <a:pt x="455" y="2622"/>
                  </a:lnTo>
                  <a:lnTo>
                    <a:pt x="455" y="1381"/>
                  </a:lnTo>
                  <a:lnTo>
                    <a:pt x="0" y="1381"/>
                  </a:lnTo>
                  <a:lnTo>
                    <a:pt x="0" y="1122"/>
                  </a:lnTo>
                  <a:lnTo>
                    <a:pt x="339" y="1122"/>
                  </a:lnTo>
                  <a:lnTo>
                    <a:pt x="339" y="944"/>
                  </a:lnTo>
                  <a:lnTo>
                    <a:pt x="1698"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grpSp>
      <p:grpSp>
        <p:nvGrpSpPr>
          <p:cNvPr id="57" name="Group 172">
            <a:extLst>
              <a:ext uri="{FF2B5EF4-FFF2-40B4-BE49-F238E27FC236}">
                <a16:creationId xmlns:a16="http://schemas.microsoft.com/office/drawing/2014/main" id="{6B9EA101-734F-43FF-ADDB-AE867FC08313}"/>
              </a:ext>
            </a:extLst>
          </p:cNvPr>
          <p:cNvGrpSpPr/>
          <p:nvPr/>
        </p:nvGrpSpPr>
        <p:grpSpPr>
          <a:xfrm>
            <a:off x="5249929" y="3796824"/>
            <a:ext cx="1142305" cy="1142305"/>
            <a:chOff x="4972659" y="3796821"/>
            <a:chExt cx="1142305" cy="1142305"/>
          </a:xfrm>
        </p:grpSpPr>
        <p:sp>
          <p:nvSpPr>
            <p:cNvPr id="58" name="Oval 308">
              <a:extLst>
                <a:ext uri="{FF2B5EF4-FFF2-40B4-BE49-F238E27FC236}">
                  <a16:creationId xmlns:a16="http://schemas.microsoft.com/office/drawing/2014/main" id="{BE662056-80FB-402E-AF72-B754393EAD51}"/>
                </a:ext>
              </a:extLst>
            </p:cNvPr>
            <p:cNvSpPr>
              <a:spLocks noChangeArrowheads="1"/>
            </p:cNvSpPr>
            <p:nvPr/>
          </p:nvSpPr>
          <p:spPr bwMode="auto">
            <a:xfrm>
              <a:off x="4972659" y="3796821"/>
              <a:ext cx="1142305" cy="1142305"/>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grpSp>
          <p:nvGrpSpPr>
            <p:cNvPr id="59" name="Group 299">
              <a:extLst>
                <a:ext uri="{FF2B5EF4-FFF2-40B4-BE49-F238E27FC236}">
                  <a16:creationId xmlns:a16="http://schemas.microsoft.com/office/drawing/2014/main" id="{109EAEFF-3254-4201-9108-53AF7034FC0F}"/>
                </a:ext>
              </a:extLst>
            </p:cNvPr>
            <p:cNvGrpSpPr>
              <a:grpSpLocks noChangeAspect="1"/>
            </p:cNvGrpSpPr>
            <p:nvPr/>
          </p:nvGrpSpPr>
          <p:grpSpPr bwMode="auto">
            <a:xfrm>
              <a:off x="5387037" y="4208495"/>
              <a:ext cx="313551" cy="318956"/>
              <a:chOff x="4241" y="1331"/>
              <a:chExt cx="464" cy="472"/>
            </a:xfrm>
            <a:solidFill>
              <a:schemeClr val="bg1"/>
            </a:solidFill>
          </p:grpSpPr>
          <p:sp>
            <p:nvSpPr>
              <p:cNvPr id="60" name="Freeform 301">
                <a:extLst>
                  <a:ext uri="{FF2B5EF4-FFF2-40B4-BE49-F238E27FC236}">
                    <a16:creationId xmlns:a16="http://schemas.microsoft.com/office/drawing/2014/main" id="{1DE1BE7E-75F9-4B42-B26A-2ABC5EBC9D20}"/>
                  </a:ext>
                </a:extLst>
              </p:cNvPr>
              <p:cNvSpPr>
                <a:spLocks/>
              </p:cNvSpPr>
              <p:nvPr/>
            </p:nvSpPr>
            <p:spPr bwMode="auto">
              <a:xfrm>
                <a:off x="4490" y="1331"/>
                <a:ext cx="215" cy="219"/>
              </a:xfrm>
              <a:custGeom>
                <a:avLst/>
                <a:gdLst>
                  <a:gd name="T0" fmla="*/ 0 w 1506"/>
                  <a:gd name="T1" fmla="*/ 0 h 1533"/>
                  <a:gd name="T2" fmla="*/ 100 w 1506"/>
                  <a:gd name="T3" fmla="*/ 10 h 1533"/>
                  <a:gd name="T4" fmla="*/ 198 w 1506"/>
                  <a:gd name="T5" fmla="*/ 26 h 1533"/>
                  <a:gd name="T6" fmla="*/ 295 w 1506"/>
                  <a:gd name="T7" fmla="*/ 48 h 1533"/>
                  <a:gd name="T8" fmla="*/ 388 w 1506"/>
                  <a:gd name="T9" fmla="*/ 76 h 1533"/>
                  <a:gd name="T10" fmla="*/ 479 w 1506"/>
                  <a:gd name="T11" fmla="*/ 109 h 1533"/>
                  <a:gd name="T12" fmla="*/ 567 w 1506"/>
                  <a:gd name="T13" fmla="*/ 147 h 1533"/>
                  <a:gd name="T14" fmla="*/ 654 w 1506"/>
                  <a:gd name="T15" fmla="*/ 192 h 1533"/>
                  <a:gd name="T16" fmla="*/ 736 w 1506"/>
                  <a:gd name="T17" fmla="*/ 239 h 1533"/>
                  <a:gd name="T18" fmla="*/ 816 w 1506"/>
                  <a:gd name="T19" fmla="*/ 293 h 1533"/>
                  <a:gd name="T20" fmla="*/ 892 w 1506"/>
                  <a:gd name="T21" fmla="*/ 351 h 1533"/>
                  <a:gd name="T22" fmla="*/ 965 w 1506"/>
                  <a:gd name="T23" fmla="*/ 413 h 1533"/>
                  <a:gd name="T24" fmla="*/ 1034 w 1506"/>
                  <a:gd name="T25" fmla="*/ 479 h 1533"/>
                  <a:gd name="T26" fmla="*/ 1100 w 1506"/>
                  <a:gd name="T27" fmla="*/ 550 h 1533"/>
                  <a:gd name="T28" fmla="*/ 1160 w 1506"/>
                  <a:gd name="T29" fmla="*/ 624 h 1533"/>
                  <a:gd name="T30" fmla="*/ 1217 w 1506"/>
                  <a:gd name="T31" fmla="*/ 702 h 1533"/>
                  <a:gd name="T32" fmla="*/ 1269 w 1506"/>
                  <a:gd name="T33" fmla="*/ 783 h 1533"/>
                  <a:gd name="T34" fmla="*/ 1317 w 1506"/>
                  <a:gd name="T35" fmla="*/ 867 h 1533"/>
                  <a:gd name="T36" fmla="*/ 1360 w 1506"/>
                  <a:gd name="T37" fmla="*/ 955 h 1533"/>
                  <a:gd name="T38" fmla="*/ 1397 w 1506"/>
                  <a:gd name="T39" fmla="*/ 1045 h 1533"/>
                  <a:gd name="T40" fmla="*/ 1431 w 1506"/>
                  <a:gd name="T41" fmla="*/ 1138 h 1533"/>
                  <a:gd name="T42" fmla="*/ 1458 w 1506"/>
                  <a:gd name="T43" fmla="*/ 1233 h 1533"/>
                  <a:gd name="T44" fmla="*/ 1480 w 1506"/>
                  <a:gd name="T45" fmla="*/ 1332 h 1533"/>
                  <a:gd name="T46" fmla="*/ 1495 w 1506"/>
                  <a:gd name="T47" fmla="*/ 1431 h 1533"/>
                  <a:gd name="T48" fmla="*/ 1506 w 1506"/>
                  <a:gd name="T49" fmla="*/ 1533 h 1533"/>
                  <a:gd name="T50" fmla="*/ 0 w 1506"/>
                  <a:gd name="T51" fmla="*/ 1533 h 1533"/>
                  <a:gd name="T52" fmla="*/ 0 w 1506"/>
                  <a:gd name="T53" fmla="*/ 0 h 15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506" h="1533">
                    <a:moveTo>
                      <a:pt x="0" y="0"/>
                    </a:moveTo>
                    <a:lnTo>
                      <a:pt x="100" y="10"/>
                    </a:lnTo>
                    <a:lnTo>
                      <a:pt x="198" y="26"/>
                    </a:lnTo>
                    <a:lnTo>
                      <a:pt x="295" y="48"/>
                    </a:lnTo>
                    <a:lnTo>
                      <a:pt x="388" y="76"/>
                    </a:lnTo>
                    <a:lnTo>
                      <a:pt x="479" y="109"/>
                    </a:lnTo>
                    <a:lnTo>
                      <a:pt x="567" y="147"/>
                    </a:lnTo>
                    <a:lnTo>
                      <a:pt x="654" y="192"/>
                    </a:lnTo>
                    <a:lnTo>
                      <a:pt x="736" y="239"/>
                    </a:lnTo>
                    <a:lnTo>
                      <a:pt x="816" y="293"/>
                    </a:lnTo>
                    <a:lnTo>
                      <a:pt x="892" y="351"/>
                    </a:lnTo>
                    <a:lnTo>
                      <a:pt x="965" y="413"/>
                    </a:lnTo>
                    <a:lnTo>
                      <a:pt x="1034" y="479"/>
                    </a:lnTo>
                    <a:lnTo>
                      <a:pt x="1100" y="550"/>
                    </a:lnTo>
                    <a:lnTo>
                      <a:pt x="1160" y="624"/>
                    </a:lnTo>
                    <a:lnTo>
                      <a:pt x="1217" y="702"/>
                    </a:lnTo>
                    <a:lnTo>
                      <a:pt x="1269" y="783"/>
                    </a:lnTo>
                    <a:lnTo>
                      <a:pt x="1317" y="867"/>
                    </a:lnTo>
                    <a:lnTo>
                      <a:pt x="1360" y="955"/>
                    </a:lnTo>
                    <a:lnTo>
                      <a:pt x="1397" y="1045"/>
                    </a:lnTo>
                    <a:lnTo>
                      <a:pt x="1431" y="1138"/>
                    </a:lnTo>
                    <a:lnTo>
                      <a:pt x="1458" y="1233"/>
                    </a:lnTo>
                    <a:lnTo>
                      <a:pt x="1480" y="1332"/>
                    </a:lnTo>
                    <a:lnTo>
                      <a:pt x="1495" y="1431"/>
                    </a:lnTo>
                    <a:lnTo>
                      <a:pt x="1506" y="1533"/>
                    </a:lnTo>
                    <a:lnTo>
                      <a:pt x="0" y="1533"/>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61" name="Freeform 302">
                <a:extLst>
                  <a:ext uri="{FF2B5EF4-FFF2-40B4-BE49-F238E27FC236}">
                    <a16:creationId xmlns:a16="http://schemas.microsoft.com/office/drawing/2014/main" id="{1E9E8661-09A3-4703-9009-74103A697E01}"/>
                  </a:ext>
                </a:extLst>
              </p:cNvPr>
              <p:cNvSpPr>
                <a:spLocks noEditPoints="1"/>
              </p:cNvSpPr>
              <p:nvPr/>
            </p:nvSpPr>
            <p:spPr bwMode="auto">
              <a:xfrm>
                <a:off x="4493" y="1583"/>
                <a:ext cx="212" cy="190"/>
              </a:xfrm>
              <a:custGeom>
                <a:avLst/>
                <a:gdLst>
                  <a:gd name="T0" fmla="*/ 362 w 1480"/>
                  <a:gd name="T1" fmla="*/ 231 h 1332"/>
                  <a:gd name="T2" fmla="*/ 732 w 1480"/>
                  <a:gd name="T3" fmla="*/ 996 h 1332"/>
                  <a:gd name="T4" fmla="*/ 796 w 1480"/>
                  <a:gd name="T5" fmla="*/ 941 h 1332"/>
                  <a:gd name="T6" fmla="*/ 856 w 1480"/>
                  <a:gd name="T7" fmla="*/ 883 h 1332"/>
                  <a:gd name="T8" fmla="*/ 912 w 1480"/>
                  <a:gd name="T9" fmla="*/ 821 h 1332"/>
                  <a:gd name="T10" fmla="*/ 965 w 1480"/>
                  <a:gd name="T11" fmla="*/ 757 h 1332"/>
                  <a:gd name="T12" fmla="*/ 1014 w 1480"/>
                  <a:gd name="T13" fmla="*/ 689 h 1332"/>
                  <a:gd name="T14" fmla="*/ 1059 w 1480"/>
                  <a:gd name="T15" fmla="*/ 618 h 1332"/>
                  <a:gd name="T16" fmla="*/ 1099 w 1480"/>
                  <a:gd name="T17" fmla="*/ 546 h 1332"/>
                  <a:gd name="T18" fmla="*/ 1135 w 1480"/>
                  <a:gd name="T19" fmla="*/ 469 h 1332"/>
                  <a:gd name="T20" fmla="*/ 1166 w 1480"/>
                  <a:gd name="T21" fmla="*/ 392 h 1332"/>
                  <a:gd name="T22" fmla="*/ 1194 w 1480"/>
                  <a:gd name="T23" fmla="*/ 312 h 1332"/>
                  <a:gd name="T24" fmla="*/ 1216 w 1480"/>
                  <a:gd name="T25" fmla="*/ 231 h 1332"/>
                  <a:gd name="T26" fmla="*/ 362 w 1480"/>
                  <a:gd name="T27" fmla="*/ 231 h 1332"/>
                  <a:gd name="T28" fmla="*/ 0 w 1480"/>
                  <a:gd name="T29" fmla="*/ 0 h 1332"/>
                  <a:gd name="T30" fmla="*/ 1480 w 1480"/>
                  <a:gd name="T31" fmla="*/ 0 h 1332"/>
                  <a:gd name="T32" fmla="*/ 1470 w 1480"/>
                  <a:gd name="T33" fmla="*/ 101 h 1332"/>
                  <a:gd name="T34" fmla="*/ 1455 w 1480"/>
                  <a:gd name="T35" fmla="*/ 200 h 1332"/>
                  <a:gd name="T36" fmla="*/ 1433 w 1480"/>
                  <a:gd name="T37" fmla="*/ 296 h 1332"/>
                  <a:gd name="T38" fmla="*/ 1406 w 1480"/>
                  <a:gd name="T39" fmla="*/ 391 h 1332"/>
                  <a:gd name="T40" fmla="*/ 1374 w 1480"/>
                  <a:gd name="T41" fmla="*/ 483 h 1332"/>
                  <a:gd name="T42" fmla="*/ 1337 w 1480"/>
                  <a:gd name="T43" fmla="*/ 572 h 1332"/>
                  <a:gd name="T44" fmla="*/ 1294 w 1480"/>
                  <a:gd name="T45" fmla="*/ 659 h 1332"/>
                  <a:gd name="T46" fmla="*/ 1248 w 1480"/>
                  <a:gd name="T47" fmla="*/ 743 h 1332"/>
                  <a:gd name="T48" fmla="*/ 1196 w 1480"/>
                  <a:gd name="T49" fmla="*/ 823 h 1332"/>
                  <a:gd name="T50" fmla="*/ 1140 w 1480"/>
                  <a:gd name="T51" fmla="*/ 900 h 1332"/>
                  <a:gd name="T52" fmla="*/ 1081 w 1480"/>
                  <a:gd name="T53" fmla="*/ 974 h 1332"/>
                  <a:gd name="T54" fmla="*/ 1016 w 1480"/>
                  <a:gd name="T55" fmla="*/ 1044 h 1332"/>
                  <a:gd name="T56" fmla="*/ 949 w 1480"/>
                  <a:gd name="T57" fmla="*/ 1110 h 1332"/>
                  <a:gd name="T58" fmla="*/ 877 w 1480"/>
                  <a:gd name="T59" fmla="*/ 1171 h 1332"/>
                  <a:gd name="T60" fmla="*/ 802 w 1480"/>
                  <a:gd name="T61" fmla="*/ 1230 h 1332"/>
                  <a:gd name="T62" fmla="*/ 724 w 1480"/>
                  <a:gd name="T63" fmla="*/ 1283 h 1332"/>
                  <a:gd name="T64" fmla="*/ 643 w 1480"/>
                  <a:gd name="T65" fmla="*/ 1332 h 1332"/>
                  <a:gd name="T66" fmla="*/ 0 w 1480"/>
                  <a:gd name="T67" fmla="*/ 0 h 1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480" h="1332">
                    <a:moveTo>
                      <a:pt x="362" y="231"/>
                    </a:moveTo>
                    <a:lnTo>
                      <a:pt x="732" y="996"/>
                    </a:lnTo>
                    <a:lnTo>
                      <a:pt x="796" y="941"/>
                    </a:lnTo>
                    <a:lnTo>
                      <a:pt x="856" y="883"/>
                    </a:lnTo>
                    <a:lnTo>
                      <a:pt x="912" y="821"/>
                    </a:lnTo>
                    <a:lnTo>
                      <a:pt x="965" y="757"/>
                    </a:lnTo>
                    <a:lnTo>
                      <a:pt x="1014" y="689"/>
                    </a:lnTo>
                    <a:lnTo>
                      <a:pt x="1059" y="618"/>
                    </a:lnTo>
                    <a:lnTo>
                      <a:pt x="1099" y="546"/>
                    </a:lnTo>
                    <a:lnTo>
                      <a:pt x="1135" y="469"/>
                    </a:lnTo>
                    <a:lnTo>
                      <a:pt x="1166" y="392"/>
                    </a:lnTo>
                    <a:lnTo>
                      <a:pt x="1194" y="312"/>
                    </a:lnTo>
                    <a:lnTo>
                      <a:pt x="1216" y="231"/>
                    </a:lnTo>
                    <a:lnTo>
                      <a:pt x="362" y="231"/>
                    </a:lnTo>
                    <a:close/>
                    <a:moveTo>
                      <a:pt x="0" y="0"/>
                    </a:moveTo>
                    <a:lnTo>
                      <a:pt x="1480" y="0"/>
                    </a:lnTo>
                    <a:lnTo>
                      <a:pt x="1470" y="101"/>
                    </a:lnTo>
                    <a:lnTo>
                      <a:pt x="1455" y="200"/>
                    </a:lnTo>
                    <a:lnTo>
                      <a:pt x="1433" y="296"/>
                    </a:lnTo>
                    <a:lnTo>
                      <a:pt x="1406" y="391"/>
                    </a:lnTo>
                    <a:lnTo>
                      <a:pt x="1374" y="483"/>
                    </a:lnTo>
                    <a:lnTo>
                      <a:pt x="1337" y="572"/>
                    </a:lnTo>
                    <a:lnTo>
                      <a:pt x="1294" y="659"/>
                    </a:lnTo>
                    <a:lnTo>
                      <a:pt x="1248" y="743"/>
                    </a:lnTo>
                    <a:lnTo>
                      <a:pt x="1196" y="823"/>
                    </a:lnTo>
                    <a:lnTo>
                      <a:pt x="1140" y="900"/>
                    </a:lnTo>
                    <a:lnTo>
                      <a:pt x="1081" y="974"/>
                    </a:lnTo>
                    <a:lnTo>
                      <a:pt x="1016" y="1044"/>
                    </a:lnTo>
                    <a:lnTo>
                      <a:pt x="949" y="1110"/>
                    </a:lnTo>
                    <a:lnTo>
                      <a:pt x="877" y="1171"/>
                    </a:lnTo>
                    <a:lnTo>
                      <a:pt x="802" y="1230"/>
                    </a:lnTo>
                    <a:lnTo>
                      <a:pt x="724" y="1283"/>
                    </a:lnTo>
                    <a:lnTo>
                      <a:pt x="643" y="1332"/>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62" name="Freeform 303">
                <a:extLst>
                  <a:ext uri="{FF2B5EF4-FFF2-40B4-BE49-F238E27FC236}">
                    <a16:creationId xmlns:a16="http://schemas.microsoft.com/office/drawing/2014/main" id="{56A86EEB-71B7-4237-A0E2-A55910E0AF76}"/>
                  </a:ext>
                </a:extLst>
              </p:cNvPr>
              <p:cNvSpPr>
                <a:spLocks noEditPoints="1"/>
              </p:cNvSpPr>
              <p:nvPr/>
            </p:nvSpPr>
            <p:spPr bwMode="auto">
              <a:xfrm>
                <a:off x="4241" y="1331"/>
                <a:ext cx="315" cy="472"/>
              </a:xfrm>
              <a:custGeom>
                <a:avLst/>
                <a:gdLst>
                  <a:gd name="T0" fmla="*/ 1515 w 2204"/>
                  <a:gd name="T1" fmla="*/ 1762 h 3301"/>
                  <a:gd name="T2" fmla="*/ 2126 w 2204"/>
                  <a:gd name="T3" fmla="*/ 3218 h 3301"/>
                  <a:gd name="T4" fmla="*/ 1965 w 2204"/>
                  <a:gd name="T5" fmla="*/ 3263 h 3301"/>
                  <a:gd name="T6" fmla="*/ 1797 w 2204"/>
                  <a:gd name="T7" fmla="*/ 3292 h 3301"/>
                  <a:gd name="T8" fmla="*/ 1624 w 2204"/>
                  <a:gd name="T9" fmla="*/ 3301 h 3301"/>
                  <a:gd name="T10" fmla="*/ 1420 w 2204"/>
                  <a:gd name="T11" fmla="*/ 3289 h 3301"/>
                  <a:gd name="T12" fmla="*/ 1225 w 2204"/>
                  <a:gd name="T13" fmla="*/ 3250 h 3301"/>
                  <a:gd name="T14" fmla="*/ 1037 w 2204"/>
                  <a:gd name="T15" fmla="*/ 3190 h 3301"/>
                  <a:gd name="T16" fmla="*/ 861 w 2204"/>
                  <a:gd name="T17" fmla="*/ 3107 h 3301"/>
                  <a:gd name="T18" fmla="*/ 697 w 2204"/>
                  <a:gd name="T19" fmla="*/ 3005 h 3301"/>
                  <a:gd name="T20" fmla="*/ 546 w 2204"/>
                  <a:gd name="T21" fmla="*/ 2883 h 3301"/>
                  <a:gd name="T22" fmla="*/ 410 w 2204"/>
                  <a:gd name="T23" fmla="*/ 2746 h 3301"/>
                  <a:gd name="T24" fmla="*/ 292 w 2204"/>
                  <a:gd name="T25" fmla="*/ 2593 h 3301"/>
                  <a:gd name="T26" fmla="*/ 191 w 2204"/>
                  <a:gd name="T27" fmla="*/ 2425 h 3301"/>
                  <a:gd name="T28" fmla="*/ 109 w 2204"/>
                  <a:gd name="T29" fmla="*/ 2245 h 3301"/>
                  <a:gd name="T30" fmla="*/ 50 w 2204"/>
                  <a:gd name="T31" fmla="*/ 2055 h 3301"/>
                  <a:gd name="T32" fmla="*/ 13 w 2204"/>
                  <a:gd name="T33" fmla="*/ 1855 h 3301"/>
                  <a:gd name="T34" fmla="*/ 0 w 2204"/>
                  <a:gd name="T35" fmla="*/ 1648 h 3301"/>
                  <a:gd name="T36" fmla="*/ 13 w 2204"/>
                  <a:gd name="T37" fmla="*/ 1441 h 3301"/>
                  <a:gd name="T38" fmla="*/ 50 w 2204"/>
                  <a:gd name="T39" fmla="*/ 1242 h 3301"/>
                  <a:gd name="T40" fmla="*/ 109 w 2204"/>
                  <a:gd name="T41" fmla="*/ 1052 h 3301"/>
                  <a:gd name="T42" fmla="*/ 189 w 2204"/>
                  <a:gd name="T43" fmla="*/ 873 h 3301"/>
                  <a:gd name="T44" fmla="*/ 290 w 2204"/>
                  <a:gd name="T45" fmla="*/ 705 h 3301"/>
                  <a:gd name="T46" fmla="*/ 408 w 2204"/>
                  <a:gd name="T47" fmla="*/ 552 h 3301"/>
                  <a:gd name="T48" fmla="*/ 544 w 2204"/>
                  <a:gd name="T49" fmla="*/ 414 h 3301"/>
                  <a:gd name="T50" fmla="*/ 693 w 2204"/>
                  <a:gd name="T51" fmla="*/ 293 h 3301"/>
                  <a:gd name="T52" fmla="*/ 857 w 2204"/>
                  <a:gd name="T53" fmla="*/ 192 h 3301"/>
                  <a:gd name="T54" fmla="*/ 1033 w 2204"/>
                  <a:gd name="T55" fmla="*/ 109 h 3301"/>
                  <a:gd name="T56" fmla="*/ 1219 w 2204"/>
                  <a:gd name="T57" fmla="*/ 47 h 3301"/>
                  <a:gd name="T58" fmla="*/ 1415 w 2204"/>
                  <a:gd name="T59" fmla="*/ 9 h 3301"/>
                  <a:gd name="T60" fmla="*/ 1515 w 2204"/>
                  <a:gd name="T61" fmla="*/ 0 h 3301"/>
                  <a:gd name="T62" fmla="*/ 1515 w 2204"/>
                  <a:gd name="T63" fmla="*/ 0 h 3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204" h="3301">
                    <a:moveTo>
                      <a:pt x="1515" y="0"/>
                    </a:moveTo>
                    <a:lnTo>
                      <a:pt x="1515" y="1762"/>
                    </a:lnTo>
                    <a:lnTo>
                      <a:pt x="2204" y="3189"/>
                    </a:lnTo>
                    <a:lnTo>
                      <a:pt x="2126" y="3218"/>
                    </a:lnTo>
                    <a:lnTo>
                      <a:pt x="2046" y="3243"/>
                    </a:lnTo>
                    <a:lnTo>
                      <a:pt x="1965" y="3263"/>
                    </a:lnTo>
                    <a:lnTo>
                      <a:pt x="1882" y="3279"/>
                    </a:lnTo>
                    <a:lnTo>
                      <a:pt x="1797" y="3292"/>
                    </a:lnTo>
                    <a:lnTo>
                      <a:pt x="1711" y="3299"/>
                    </a:lnTo>
                    <a:lnTo>
                      <a:pt x="1624" y="3301"/>
                    </a:lnTo>
                    <a:lnTo>
                      <a:pt x="1521" y="3298"/>
                    </a:lnTo>
                    <a:lnTo>
                      <a:pt x="1420" y="3289"/>
                    </a:lnTo>
                    <a:lnTo>
                      <a:pt x="1321" y="3273"/>
                    </a:lnTo>
                    <a:lnTo>
                      <a:pt x="1225" y="3250"/>
                    </a:lnTo>
                    <a:lnTo>
                      <a:pt x="1130" y="3223"/>
                    </a:lnTo>
                    <a:lnTo>
                      <a:pt x="1037" y="3190"/>
                    </a:lnTo>
                    <a:lnTo>
                      <a:pt x="948" y="3152"/>
                    </a:lnTo>
                    <a:lnTo>
                      <a:pt x="861" y="3107"/>
                    </a:lnTo>
                    <a:lnTo>
                      <a:pt x="777" y="3058"/>
                    </a:lnTo>
                    <a:lnTo>
                      <a:pt x="697" y="3005"/>
                    </a:lnTo>
                    <a:lnTo>
                      <a:pt x="620" y="2947"/>
                    </a:lnTo>
                    <a:lnTo>
                      <a:pt x="546" y="2883"/>
                    </a:lnTo>
                    <a:lnTo>
                      <a:pt x="476" y="2817"/>
                    </a:lnTo>
                    <a:lnTo>
                      <a:pt x="410" y="2746"/>
                    </a:lnTo>
                    <a:lnTo>
                      <a:pt x="349" y="2671"/>
                    </a:lnTo>
                    <a:lnTo>
                      <a:pt x="292" y="2593"/>
                    </a:lnTo>
                    <a:lnTo>
                      <a:pt x="238" y="2510"/>
                    </a:lnTo>
                    <a:lnTo>
                      <a:pt x="191" y="2425"/>
                    </a:lnTo>
                    <a:lnTo>
                      <a:pt x="148" y="2336"/>
                    </a:lnTo>
                    <a:lnTo>
                      <a:pt x="109" y="2245"/>
                    </a:lnTo>
                    <a:lnTo>
                      <a:pt x="77" y="2152"/>
                    </a:lnTo>
                    <a:lnTo>
                      <a:pt x="50" y="2055"/>
                    </a:lnTo>
                    <a:lnTo>
                      <a:pt x="29" y="1955"/>
                    </a:lnTo>
                    <a:lnTo>
                      <a:pt x="13" y="1855"/>
                    </a:lnTo>
                    <a:lnTo>
                      <a:pt x="4" y="1752"/>
                    </a:lnTo>
                    <a:lnTo>
                      <a:pt x="0" y="1648"/>
                    </a:lnTo>
                    <a:lnTo>
                      <a:pt x="4" y="1543"/>
                    </a:lnTo>
                    <a:lnTo>
                      <a:pt x="13" y="1441"/>
                    </a:lnTo>
                    <a:lnTo>
                      <a:pt x="28" y="1340"/>
                    </a:lnTo>
                    <a:lnTo>
                      <a:pt x="50" y="1242"/>
                    </a:lnTo>
                    <a:lnTo>
                      <a:pt x="77" y="1145"/>
                    </a:lnTo>
                    <a:lnTo>
                      <a:pt x="109" y="1052"/>
                    </a:lnTo>
                    <a:lnTo>
                      <a:pt x="147" y="961"/>
                    </a:lnTo>
                    <a:lnTo>
                      <a:pt x="189" y="873"/>
                    </a:lnTo>
                    <a:lnTo>
                      <a:pt x="237" y="788"/>
                    </a:lnTo>
                    <a:lnTo>
                      <a:pt x="290" y="705"/>
                    </a:lnTo>
                    <a:lnTo>
                      <a:pt x="347" y="628"/>
                    </a:lnTo>
                    <a:lnTo>
                      <a:pt x="408" y="552"/>
                    </a:lnTo>
                    <a:lnTo>
                      <a:pt x="474" y="481"/>
                    </a:lnTo>
                    <a:lnTo>
                      <a:pt x="544" y="414"/>
                    </a:lnTo>
                    <a:lnTo>
                      <a:pt x="616" y="352"/>
                    </a:lnTo>
                    <a:lnTo>
                      <a:pt x="693" y="293"/>
                    </a:lnTo>
                    <a:lnTo>
                      <a:pt x="774" y="240"/>
                    </a:lnTo>
                    <a:lnTo>
                      <a:pt x="857" y="192"/>
                    </a:lnTo>
                    <a:lnTo>
                      <a:pt x="943" y="147"/>
                    </a:lnTo>
                    <a:lnTo>
                      <a:pt x="1033" y="109"/>
                    </a:lnTo>
                    <a:lnTo>
                      <a:pt x="1126" y="76"/>
                    </a:lnTo>
                    <a:lnTo>
                      <a:pt x="1219" y="47"/>
                    </a:lnTo>
                    <a:lnTo>
                      <a:pt x="1316" y="26"/>
                    </a:lnTo>
                    <a:lnTo>
                      <a:pt x="1415" y="9"/>
                    </a:lnTo>
                    <a:lnTo>
                      <a:pt x="1515" y="0"/>
                    </a:lnTo>
                    <a:close/>
                    <a:moveTo>
                      <a:pt x="1515" y="0"/>
                    </a:moveTo>
                    <a:lnTo>
                      <a:pt x="1516" y="0"/>
                    </a:lnTo>
                    <a:lnTo>
                      <a:pt x="1515" y="0"/>
                    </a:lnTo>
                    <a:lnTo>
                      <a:pt x="151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grpSp>
      </p:grpSp>
      <p:grpSp>
        <p:nvGrpSpPr>
          <p:cNvPr id="63" name="Group 179">
            <a:extLst>
              <a:ext uri="{FF2B5EF4-FFF2-40B4-BE49-F238E27FC236}">
                <a16:creationId xmlns:a16="http://schemas.microsoft.com/office/drawing/2014/main" id="{E874B6C0-D957-4D2C-99CF-BC9BF7F95113}"/>
              </a:ext>
            </a:extLst>
          </p:cNvPr>
          <p:cNvGrpSpPr/>
          <p:nvPr/>
        </p:nvGrpSpPr>
        <p:grpSpPr>
          <a:xfrm>
            <a:off x="6041884" y="1034002"/>
            <a:ext cx="1142305" cy="1142305"/>
            <a:chOff x="6041881" y="1034000"/>
            <a:chExt cx="1142305" cy="1142305"/>
          </a:xfrm>
        </p:grpSpPr>
        <p:sp>
          <p:nvSpPr>
            <p:cNvPr id="64" name="Oval 307">
              <a:extLst>
                <a:ext uri="{FF2B5EF4-FFF2-40B4-BE49-F238E27FC236}">
                  <a16:creationId xmlns:a16="http://schemas.microsoft.com/office/drawing/2014/main" id="{751B7FA8-1576-4FFD-ADD5-9DC4EE47FB63}"/>
                </a:ext>
              </a:extLst>
            </p:cNvPr>
            <p:cNvSpPr>
              <a:spLocks noChangeArrowheads="1"/>
            </p:cNvSpPr>
            <p:nvPr/>
          </p:nvSpPr>
          <p:spPr bwMode="auto">
            <a:xfrm>
              <a:off x="6041881" y="1034000"/>
              <a:ext cx="1142305" cy="1142305"/>
            </a:xfrm>
            <a:prstGeom prst="ellipse">
              <a:avLst/>
            </a:pr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grpSp>
          <p:nvGrpSpPr>
            <p:cNvPr id="65" name="Group 136">
              <a:extLst>
                <a:ext uri="{FF2B5EF4-FFF2-40B4-BE49-F238E27FC236}">
                  <a16:creationId xmlns:a16="http://schemas.microsoft.com/office/drawing/2014/main" id="{7BA51CAE-3F1A-4711-8CDB-396AF338DF86}"/>
                </a:ext>
              </a:extLst>
            </p:cNvPr>
            <p:cNvGrpSpPr>
              <a:grpSpLocks noChangeAspect="1"/>
            </p:cNvGrpSpPr>
            <p:nvPr/>
          </p:nvGrpSpPr>
          <p:grpSpPr bwMode="auto">
            <a:xfrm>
              <a:off x="6438005" y="1410784"/>
              <a:ext cx="350056" cy="388737"/>
              <a:chOff x="2073" y="2829"/>
              <a:chExt cx="181" cy="201"/>
            </a:xfrm>
            <a:solidFill>
              <a:schemeClr val="bg1"/>
            </a:solidFill>
          </p:grpSpPr>
          <p:sp>
            <p:nvSpPr>
              <p:cNvPr id="66" name="Freeform 138">
                <a:extLst>
                  <a:ext uri="{FF2B5EF4-FFF2-40B4-BE49-F238E27FC236}">
                    <a16:creationId xmlns:a16="http://schemas.microsoft.com/office/drawing/2014/main" id="{4D9DFF1A-BF0E-4DB0-94F6-512DEF981C35}"/>
                  </a:ext>
                </a:extLst>
              </p:cNvPr>
              <p:cNvSpPr>
                <a:spLocks/>
              </p:cNvSpPr>
              <p:nvPr/>
            </p:nvSpPr>
            <p:spPr bwMode="auto">
              <a:xfrm>
                <a:off x="2073" y="2845"/>
                <a:ext cx="45" cy="46"/>
              </a:xfrm>
              <a:custGeom>
                <a:avLst/>
                <a:gdLst>
                  <a:gd name="T0" fmla="*/ 384 w 767"/>
                  <a:gd name="T1" fmla="*/ 0 h 770"/>
                  <a:gd name="T2" fmla="*/ 432 w 767"/>
                  <a:gd name="T3" fmla="*/ 3 h 770"/>
                  <a:gd name="T4" fmla="*/ 477 w 767"/>
                  <a:gd name="T5" fmla="*/ 12 h 770"/>
                  <a:gd name="T6" fmla="*/ 522 w 767"/>
                  <a:gd name="T7" fmla="*/ 26 h 770"/>
                  <a:gd name="T8" fmla="*/ 563 w 767"/>
                  <a:gd name="T9" fmla="*/ 46 h 770"/>
                  <a:gd name="T10" fmla="*/ 603 w 767"/>
                  <a:gd name="T11" fmla="*/ 70 h 770"/>
                  <a:gd name="T12" fmla="*/ 638 w 767"/>
                  <a:gd name="T13" fmla="*/ 98 h 770"/>
                  <a:gd name="T14" fmla="*/ 670 w 767"/>
                  <a:gd name="T15" fmla="*/ 130 h 770"/>
                  <a:gd name="T16" fmla="*/ 698 w 767"/>
                  <a:gd name="T17" fmla="*/ 165 h 770"/>
                  <a:gd name="T18" fmla="*/ 722 w 767"/>
                  <a:gd name="T19" fmla="*/ 204 h 770"/>
                  <a:gd name="T20" fmla="*/ 741 w 767"/>
                  <a:gd name="T21" fmla="*/ 245 h 770"/>
                  <a:gd name="T22" fmla="*/ 755 w 767"/>
                  <a:gd name="T23" fmla="*/ 290 h 770"/>
                  <a:gd name="T24" fmla="*/ 764 w 767"/>
                  <a:gd name="T25" fmla="*/ 337 h 770"/>
                  <a:gd name="T26" fmla="*/ 767 w 767"/>
                  <a:gd name="T27" fmla="*/ 385 h 770"/>
                  <a:gd name="T28" fmla="*/ 764 w 767"/>
                  <a:gd name="T29" fmla="*/ 433 h 770"/>
                  <a:gd name="T30" fmla="*/ 755 w 767"/>
                  <a:gd name="T31" fmla="*/ 480 h 770"/>
                  <a:gd name="T32" fmla="*/ 741 w 767"/>
                  <a:gd name="T33" fmla="*/ 523 h 770"/>
                  <a:gd name="T34" fmla="*/ 722 w 767"/>
                  <a:gd name="T35" fmla="*/ 566 h 770"/>
                  <a:gd name="T36" fmla="*/ 698 w 767"/>
                  <a:gd name="T37" fmla="*/ 604 h 770"/>
                  <a:gd name="T38" fmla="*/ 670 w 767"/>
                  <a:gd name="T39" fmla="*/ 640 h 770"/>
                  <a:gd name="T40" fmla="*/ 638 w 767"/>
                  <a:gd name="T41" fmla="*/ 672 h 770"/>
                  <a:gd name="T42" fmla="*/ 603 w 767"/>
                  <a:gd name="T43" fmla="*/ 700 h 770"/>
                  <a:gd name="T44" fmla="*/ 563 w 767"/>
                  <a:gd name="T45" fmla="*/ 724 h 770"/>
                  <a:gd name="T46" fmla="*/ 522 w 767"/>
                  <a:gd name="T47" fmla="*/ 744 h 770"/>
                  <a:gd name="T48" fmla="*/ 477 w 767"/>
                  <a:gd name="T49" fmla="*/ 757 h 770"/>
                  <a:gd name="T50" fmla="*/ 432 w 767"/>
                  <a:gd name="T51" fmla="*/ 767 h 770"/>
                  <a:gd name="T52" fmla="*/ 384 w 767"/>
                  <a:gd name="T53" fmla="*/ 770 h 770"/>
                  <a:gd name="T54" fmla="*/ 335 w 767"/>
                  <a:gd name="T55" fmla="*/ 767 h 770"/>
                  <a:gd name="T56" fmla="*/ 289 w 767"/>
                  <a:gd name="T57" fmla="*/ 757 h 770"/>
                  <a:gd name="T58" fmla="*/ 245 w 767"/>
                  <a:gd name="T59" fmla="*/ 744 h 770"/>
                  <a:gd name="T60" fmla="*/ 203 w 767"/>
                  <a:gd name="T61" fmla="*/ 724 h 770"/>
                  <a:gd name="T62" fmla="*/ 164 w 767"/>
                  <a:gd name="T63" fmla="*/ 700 h 770"/>
                  <a:gd name="T64" fmla="*/ 129 w 767"/>
                  <a:gd name="T65" fmla="*/ 672 h 770"/>
                  <a:gd name="T66" fmla="*/ 96 w 767"/>
                  <a:gd name="T67" fmla="*/ 640 h 770"/>
                  <a:gd name="T68" fmla="*/ 68 w 767"/>
                  <a:gd name="T69" fmla="*/ 604 h 770"/>
                  <a:gd name="T70" fmla="*/ 45 w 767"/>
                  <a:gd name="T71" fmla="*/ 566 h 770"/>
                  <a:gd name="T72" fmla="*/ 26 w 767"/>
                  <a:gd name="T73" fmla="*/ 523 h 770"/>
                  <a:gd name="T74" fmla="*/ 11 w 767"/>
                  <a:gd name="T75" fmla="*/ 480 h 770"/>
                  <a:gd name="T76" fmla="*/ 3 w 767"/>
                  <a:gd name="T77" fmla="*/ 433 h 770"/>
                  <a:gd name="T78" fmla="*/ 0 w 767"/>
                  <a:gd name="T79" fmla="*/ 385 h 770"/>
                  <a:gd name="T80" fmla="*/ 3 w 767"/>
                  <a:gd name="T81" fmla="*/ 337 h 770"/>
                  <a:gd name="T82" fmla="*/ 11 w 767"/>
                  <a:gd name="T83" fmla="*/ 290 h 770"/>
                  <a:gd name="T84" fmla="*/ 26 w 767"/>
                  <a:gd name="T85" fmla="*/ 245 h 770"/>
                  <a:gd name="T86" fmla="*/ 45 w 767"/>
                  <a:gd name="T87" fmla="*/ 204 h 770"/>
                  <a:gd name="T88" fmla="*/ 68 w 767"/>
                  <a:gd name="T89" fmla="*/ 165 h 770"/>
                  <a:gd name="T90" fmla="*/ 96 w 767"/>
                  <a:gd name="T91" fmla="*/ 130 h 770"/>
                  <a:gd name="T92" fmla="*/ 129 w 767"/>
                  <a:gd name="T93" fmla="*/ 98 h 770"/>
                  <a:gd name="T94" fmla="*/ 164 w 767"/>
                  <a:gd name="T95" fmla="*/ 70 h 770"/>
                  <a:gd name="T96" fmla="*/ 203 w 767"/>
                  <a:gd name="T97" fmla="*/ 46 h 770"/>
                  <a:gd name="T98" fmla="*/ 245 w 767"/>
                  <a:gd name="T99" fmla="*/ 26 h 770"/>
                  <a:gd name="T100" fmla="*/ 289 w 767"/>
                  <a:gd name="T101" fmla="*/ 12 h 770"/>
                  <a:gd name="T102" fmla="*/ 335 w 767"/>
                  <a:gd name="T103" fmla="*/ 3 h 770"/>
                  <a:gd name="T104" fmla="*/ 384 w 767"/>
                  <a:gd name="T105" fmla="*/ 0 h 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67" h="770">
                    <a:moveTo>
                      <a:pt x="384" y="0"/>
                    </a:moveTo>
                    <a:lnTo>
                      <a:pt x="432" y="3"/>
                    </a:lnTo>
                    <a:lnTo>
                      <a:pt x="477" y="12"/>
                    </a:lnTo>
                    <a:lnTo>
                      <a:pt x="522" y="26"/>
                    </a:lnTo>
                    <a:lnTo>
                      <a:pt x="563" y="46"/>
                    </a:lnTo>
                    <a:lnTo>
                      <a:pt x="603" y="70"/>
                    </a:lnTo>
                    <a:lnTo>
                      <a:pt x="638" y="98"/>
                    </a:lnTo>
                    <a:lnTo>
                      <a:pt x="670" y="130"/>
                    </a:lnTo>
                    <a:lnTo>
                      <a:pt x="698" y="165"/>
                    </a:lnTo>
                    <a:lnTo>
                      <a:pt x="722" y="204"/>
                    </a:lnTo>
                    <a:lnTo>
                      <a:pt x="741" y="245"/>
                    </a:lnTo>
                    <a:lnTo>
                      <a:pt x="755" y="290"/>
                    </a:lnTo>
                    <a:lnTo>
                      <a:pt x="764" y="337"/>
                    </a:lnTo>
                    <a:lnTo>
                      <a:pt x="767" y="385"/>
                    </a:lnTo>
                    <a:lnTo>
                      <a:pt x="764" y="433"/>
                    </a:lnTo>
                    <a:lnTo>
                      <a:pt x="755" y="480"/>
                    </a:lnTo>
                    <a:lnTo>
                      <a:pt x="741" y="523"/>
                    </a:lnTo>
                    <a:lnTo>
                      <a:pt x="722" y="566"/>
                    </a:lnTo>
                    <a:lnTo>
                      <a:pt x="698" y="604"/>
                    </a:lnTo>
                    <a:lnTo>
                      <a:pt x="670" y="640"/>
                    </a:lnTo>
                    <a:lnTo>
                      <a:pt x="638" y="672"/>
                    </a:lnTo>
                    <a:lnTo>
                      <a:pt x="603" y="700"/>
                    </a:lnTo>
                    <a:lnTo>
                      <a:pt x="563" y="724"/>
                    </a:lnTo>
                    <a:lnTo>
                      <a:pt x="522" y="744"/>
                    </a:lnTo>
                    <a:lnTo>
                      <a:pt x="477" y="757"/>
                    </a:lnTo>
                    <a:lnTo>
                      <a:pt x="432" y="767"/>
                    </a:lnTo>
                    <a:lnTo>
                      <a:pt x="384" y="770"/>
                    </a:lnTo>
                    <a:lnTo>
                      <a:pt x="335" y="767"/>
                    </a:lnTo>
                    <a:lnTo>
                      <a:pt x="289" y="757"/>
                    </a:lnTo>
                    <a:lnTo>
                      <a:pt x="245" y="744"/>
                    </a:lnTo>
                    <a:lnTo>
                      <a:pt x="203" y="724"/>
                    </a:lnTo>
                    <a:lnTo>
                      <a:pt x="164" y="700"/>
                    </a:lnTo>
                    <a:lnTo>
                      <a:pt x="129" y="672"/>
                    </a:lnTo>
                    <a:lnTo>
                      <a:pt x="96" y="640"/>
                    </a:lnTo>
                    <a:lnTo>
                      <a:pt x="68" y="604"/>
                    </a:lnTo>
                    <a:lnTo>
                      <a:pt x="45" y="566"/>
                    </a:lnTo>
                    <a:lnTo>
                      <a:pt x="26" y="523"/>
                    </a:lnTo>
                    <a:lnTo>
                      <a:pt x="11" y="480"/>
                    </a:lnTo>
                    <a:lnTo>
                      <a:pt x="3" y="433"/>
                    </a:lnTo>
                    <a:lnTo>
                      <a:pt x="0" y="385"/>
                    </a:lnTo>
                    <a:lnTo>
                      <a:pt x="3" y="337"/>
                    </a:lnTo>
                    <a:lnTo>
                      <a:pt x="11" y="290"/>
                    </a:lnTo>
                    <a:lnTo>
                      <a:pt x="26" y="245"/>
                    </a:lnTo>
                    <a:lnTo>
                      <a:pt x="45" y="204"/>
                    </a:lnTo>
                    <a:lnTo>
                      <a:pt x="68" y="165"/>
                    </a:lnTo>
                    <a:lnTo>
                      <a:pt x="96" y="130"/>
                    </a:lnTo>
                    <a:lnTo>
                      <a:pt x="129" y="98"/>
                    </a:lnTo>
                    <a:lnTo>
                      <a:pt x="164" y="70"/>
                    </a:lnTo>
                    <a:lnTo>
                      <a:pt x="203" y="46"/>
                    </a:lnTo>
                    <a:lnTo>
                      <a:pt x="245" y="26"/>
                    </a:lnTo>
                    <a:lnTo>
                      <a:pt x="289" y="12"/>
                    </a:lnTo>
                    <a:lnTo>
                      <a:pt x="335" y="3"/>
                    </a:lnTo>
                    <a:lnTo>
                      <a:pt x="38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67" name="Freeform 139">
                <a:extLst>
                  <a:ext uri="{FF2B5EF4-FFF2-40B4-BE49-F238E27FC236}">
                    <a16:creationId xmlns:a16="http://schemas.microsoft.com/office/drawing/2014/main" id="{31581B51-E293-4A80-A427-49950210993E}"/>
                  </a:ext>
                </a:extLst>
              </p:cNvPr>
              <p:cNvSpPr>
                <a:spLocks/>
              </p:cNvSpPr>
              <p:nvPr/>
            </p:nvSpPr>
            <p:spPr bwMode="auto">
              <a:xfrm>
                <a:off x="2075" y="2896"/>
                <a:ext cx="77" cy="133"/>
              </a:xfrm>
              <a:custGeom>
                <a:avLst/>
                <a:gdLst>
                  <a:gd name="T0" fmla="*/ 394 w 1309"/>
                  <a:gd name="T1" fmla="*/ 3 h 2258"/>
                  <a:gd name="T2" fmla="*/ 481 w 1309"/>
                  <a:gd name="T3" fmla="*/ 27 h 2258"/>
                  <a:gd name="T4" fmla="*/ 558 w 1309"/>
                  <a:gd name="T5" fmla="*/ 72 h 2258"/>
                  <a:gd name="T6" fmla="*/ 620 w 1309"/>
                  <a:gd name="T7" fmla="*/ 135 h 2258"/>
                  <a:gd name="T8" fmla="*/ 665 w 1309"/>
                  <a:gd name="T9" fmla="*/ 212 h 2258"/>
                  <a:gd name="T10" fmla="*/ 689 w 1309"/>
                  <a:gd name="T11" fmla="*/ 299 h 2258"/>
                  <a:gd name="T12" fmla="*/ 692 w 1309"/>
                  <a:gd name="T13" fmla="*/ 858 h 2258"/>
                  <a:gd name="T14" fmla="*/ 1070 w 1309"/>
                  <a:gd name="T15" fmla="*/ 861 h 2258"/>
                  <a:gd name="T16" fmla="*/ 1147 w 1309"/>
                  <a:gd name="T17" fmla="*/ 884 h 2258"/>
                  <a:gd name="T18" fmla="*/ 1212 w 1309"/>
                  <a:gd name="T19" fmla="*/ 927 h 2258"/>
                  <a:gd name="T20" fmla="*/ 1263 w 1309"/>
                  <a:gd name="T21" fmla="*/ 986 h 2258"/>
                  <a:gd name="T22" fmla="*/ 1296 w 1309"/>
                  <a:gd name="T23" fmla="*/ 1058 h 2258"/>
                  <a:gd name="T24" fmla="*/ 1309 w 1309"/>
                  <a:gd name="T25" fmla="*/ 1139 h 2258"/>
                  <a:gd name="T26" fmla="*/ 1306 w 1309"/>
                  <a:gd name="T27" fmla="*/ 2198 h 2258"/>
                  <a:gd name="T28" fmla="*/ 1285 w 1309"/>
                  <a:gd name="T29" fmla="*/ 2235 h 2258"/>
                  <a:gd name="T30" fmla="*/ 1249 w 1309"/>
                  <a:gd name="T31" fmla="*/ 2256 h 2258"/>
                  <a:gd name="T32" fmla="*/ 845 w 1309"/>
                  <a:gd name="T33" fmla="*/ 2258 h 2258"/>
                  <a:gd name="T34" fmla="*/ 803 w 1309"/>
                  <a:gd name="T35" fmla="*/ 2247 h 2258"/>
                  <a:gd name="T36" fmla="*/ 774 w 1309"/>
                  <a:gd name="T37" fmla="*/ 2218 h 2258"/>
                  <a:gd name="T38" fmla="*/ 764 w 1309"/>
                  <a:gd name="T39" fmla="*/ 2177 h 2258"/>
                  <a:gd name="T40" fmla="*/ 332 w 1309"/>
                  <a:gd name="T41" fmla="*/ 1399 h 2258"/>
                  <a:gd name="T42" fmla="*/ 244 w 1309"/>
                  <a:gd name="T43" fmla="*/ 1388 h 2258"/>
                  <a:gd name="T44" fmla="*/ 164 w 1309"/>
                  <a:gd name="T45" fmla="*/ 1354 h 2258"/>
                  <a:gd name="T46" fmla="*/ 98 w 1309"/>
                  <a:gd name="T47" fmla="*/ 1302 h 2258"/>
                  <a:gd name="T48" fmla="*/ 46 w 1309"/>
                  <a:gd name="T49" fmla="*/ 1235 h 2258"/>
                  <a:gd name="T50" fmla="*/ 13 w 1309"/>
                  <a:gd name="T51" fmla="*/ 1156 h 2258"/>
                  <a:gd name="T52" fmla="*/ 0 w 1309"/>
                  <a:gd name="T53" fmla="*/ 1067 h 2258"/>
                  <a:gd name="T54" fmla="*/ 3 w 1309"/>
                  <a:gd name="T55" fmla="*/ 299 h 2258"/>
                  <a:gd name="T56" fmla="*/ 27 w 1309"/>
                  <a:gd name="T57" fmla="*/ 212 h 2258"/>
                  <a:gd name="T58" fmla="*/ 73 w 1309"/>
                  <a:gd name="T59" fmla="*/ 135 h 2258"/>
                  <a:gd name="T60" fmla="*/ 135 w 1309"/>
                  <a:gd name="T61" fmla="*/ 72 h 2258"/>
                  <a:gd name="T62" fmla="*/ 212 w 1309"/>
                  <a:gd name="T63" fmla="*/ 27 h 2258"/>
                  <a:gd name="T64" fmla="*/ 299 w 1309"/>
                  <a:gd name="T65" fmla="*/ 3 h 2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09" h="2258">
                    <a:moveTo>
                      <a:pt x="347" y="0"/>
                    </a:moveTo>
                    <a:lnTo>
                      <a:pt x="394" y="3"/>
                    </a:lnTo>
                    <a:lnTo>
                      <a:pt x="438" y="12"/>
                    </a:lnTo>
                    <a:lnTo>
                      <a:pt x="481" y="27"/>
                    </a:lnTo>
                    <a:lnTo>
                      <a:pt x="521" y="47"/>
                    </a:lnTo>
                    <a:lnTo>
                      <a:pt x="558" y="72"/>
                    </a:lnTo>
                    <a:lnTo>
                      <a:pt x="591" y="102"/>
                    </a:lnTo>
                    <a:lnTo>
                      <a:pt x="620" y="135"/>
                    </a:lnTo>
                    <a:lnTo>
                      <a:pt x="645" y="171"/>
                    </a:lnTo>
                    <a:lnTo>
                      <a:pt x="665" y="212"/>
                    </a:lnTo>
                    <a:lnTo>
                      <a:pt x="680" y="255"/>
                    </a:lnTo>
                    <a:lnTo>
                      <a:pt x="689" y="299"/>
                    </a:lnTo>
                    <a:lnTo>
                      <a:pt x="692" y="346"/>
                    </a:lnTo>
                    <a:lnTo>
                      <a:pt x="692" y="858"/>
                    </a:lnTo>
                    <a:lnTo>
                      <a:pt x="1029" y="858"/>
                    </a:lnTo>
                    <a:lnTo>
                      <a:pt x="1070" y="861"/>
                    </a:lnTo>
                    <a:lnTo>
                      <a:pt x="1110" y="870"/>
                    </a:lnTo>
                    <a:lnTo>
                      <a:pt x="1147" y="884"/>
                    </a:lnTo>
                    <a:lnTo>
                      <a:pt x="1181" y="903"/>
                    </a:lnTo>
                    <a:lnTo>
                      <a:pt x="1212" y="927"/>
                    </a:lnTo>
                    <a:lnTo>
                      <a:pt x="1240" y="955"/>
                    </a:lnTo>
                    <a:lnTo>
                      <a:pt x="1263" y="986"/>
                    </a:lnTo>
                    <a:lnTo>
                      <a:pt x="1283" y="1020"/>
                    </a:lnTo>
                    <a:lnTo>
                      <a:pt x="1296" y="1058"/>
                    </a:lnTo>
                    <a:lnTo>
                      <a:pt x="1306" y="1097"/>
                    </a:lnTo>
                    <a:lnTo>
                      <a:pt x="1309" y="1139"/>
                    </a:lnTo>
                    <a:lnTo>
                      <a:pt x="1309" y="2177"/>
                    </a:lnTo>
                    <a:lnTo>
                      <a:pt x="1306" y="2198"/>
                    </a:lnTo>
                    <a:lnTo>
                      <a:pt x="1297" y="2218"/>
                    </a:lnTo>
                    <a:lnTo>
                      <a:pt x="1285" y="2235"/>
                    </a:lnTo>
                    <a:lnTo>
                      <a:pt x="1268" y="2247"/>
                    </a:lnTo>
                    <a:lnTo>
                      <a:pt x="1249" y="2256"/>
                    </a:lnTo>
                    <a:lnTo>
                      <a:pt x="1228" y="2258"/>
                    </a:lnTo>
                    <a:lnTo>
                      <a:pt x="845" y="2258"/>
                    </a:lnTo>
                    <a:lnTo>
                      <a:pt x="823" y="2256"/>
                    </a:lnTo>
                    <a:lnTo>
                      <a:pt x="803" y="2247"/>
                    </a:lnTo>
                    <a:lnTo>
                      <a:pt x="788" y="2235"/>
                    </a:lnTo>
                    <a:lnTo>
                      <a:pt x="774" y="2218"/>
                    </a:lnTo>
                    <a:lnTo>
                      <a:pt x="767" y="2198"/>
                    </a:lnTo>
                    <a:lnTo>
                      <a:pt x="764" y="2177"/>
                    </a:lnTo>
                    <a:lnTo>
                      <a:pt x="764" y="1399"/>
                    </a:lnTo>
                    <a:lnTo>
                      <a:pt x="332" y="1399"/>
                    </a:lnTo>
                    <a:lnTo>
                      <a:pt x="287" y="1397"/>
                    </a:lnTo>
                    <a:lnTo>
                      <a:pt x="244" y="1388"/>
                    </a:lnTo>
                    <a:lnTo>
                      <a:pt x="203" y="1373"/>
                    </a:lnTo>
                    <a:lnTo>
                      <a:pt x="164" y="1354"/>
                    </a:lnTo>
                    <a:lnTo>
                      <a:pt x="129" y="1331"/>
                    </a:lnTo>
                    <a:lnTo>
                      <a:pt x="98" y="1302"/>
                    </a:lnTo>
                    <a:lnTo>
                      <a:pt x="70" y="1270"/>
                    </a:lnTo>
                    <a:lnTo>
                      <a:pt x="46" y="1235"/>
                    </a:lnTo>
                    <a:lnTo>
                      <a:pt x="26" y="1196"/>
                    </a:lnTo>
                    <a:lnTo>
                      <a:pt x="13" y="1156"/>
                    </a:lnTo>
                    <a:lnTo>
                      <a:pt x="3" y="1112"/>
                    </a:lnTo>
                    <a:lnTo>
                      <a:pt x="0" y="1067"/>
                    </a:lnTo>
                    <a:lnTo>
                      <a:pt x="0" y="346"/>
                    </a:lnTo>
                    <a:lnTo>
                      <a:pt x="3" y="299"/>
                    </a:lnTo>
                    <a:lnTo>
                      <a:pt x="13" y="255"/>
                    </a:lnTo>
                    <a:lnTo>
                      <a:pt x="27" y="212"/>
                    </a:lnTo>
                    <a:lnTo>
                      <a:pt x="48" y="171"/>
                    </a:lnTo>
                    <a:lnTo>
                      <a:pt x="73" y="135"/>
                    </a:lnTo>
                    <a:lnTo>
                      <a:pt x="102" y="102"/>
                    </a:lnTo>
                    <a:lnTo>
                      <a:pt x="135" y="72"/>
                    </a:lnTo>
                    <a:lnTo>
                      <a:pt x="172" y="47"/>
                    </a:lnTo>
                    <a:lnTo>
                      <a:pt x="212" y="27"/>
                    </a:lnTo>
                    <a:lnTo>
                      <a:pt x="255" y="12"/>
                    </a:lnTo>
                    <a:lnTo>
                      <a:pt x="299" y="3"/>
                    </a:lnTo>
                    <a:lnTo>
                      <a:pt x="34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68" name="Freeform 140">
                <a:extLst>
                  <a:ext uri="{FF2B5EF4-FFF2-40B4-BE49-F238E27FC236}">
                    <a16:creationId xmlns:a16="http://schemas.microsoft.com/office/drawing/2014/main" id="{63114249-3C19-4275-8CB2-F59F73F7FFA3}"/>
                  </a:ext>
                </a:extLst>
              </p:cNvPr>
              <p:cNvSpPr>
                <a:spLocks/>
              </p:cNvSpPr>
              <p:nvPr/>
            </p:nvSpPr>
            <p:spPr bwMode="auto">
              <a:xfrm>
                <a:off x="2191" y="2829"/>
                <a:ext cx="34" cy="68"/>
              </a:xfrm>
              <a:custGeom>
                <a:avLst/>
                <a:gdLst>
                  <a:gd name="T0" fmla="*/ 473 w 579"/>
                  <a:gd name="T1" fmla="*/ 0 h 1156"/>
                  <a:gd name="T2" fmla="*/ 495 w 579"/>
                  <a:gd name="T3" fmla="*/ 1 h 1156"/>
                  <a:gd name="T4" fmla="*/ 517 w 579"/>
                  <a:gd name="T5" fmla="*/ 6 h 1156"/>
                  <a:gd name="T6" fmla="*/ 537 w 579"/>
                  <a:gd name="T7" fmla="*/ 18 h 1156"/>
                  <a:gd name="T8" fmla="*/ 554 w 579"/>
                  <a:gd name="T9" fmla="*/ 32 h 1156"/>
                  <a:gd name="T10" fmla="*/ 566 w 579"/>
                  <a:gd name="T11" fmla="*/ 50 h 1156"/>
                  <a:gd name="T12" fmla="*/ 575 w 579"/>
                  <a:gd name="T13" fmla="*/ 70 h 1156"/>
                  <a:gd name="T14" fmla="*/ 579 w 579"/>
                  <a:gd name="T15" fmla="*/ 91 h 1156"/>
                  <a:gd name="T16" fmla="*/ 578 w 579"/>
                  <a:gd name="T17" fmla="*/ 114 h 1156"/>
                  <a:gd name="T18" fmla="*/ 572 w 579"/>
                  <a:gd name="T19" fmla="*/ 135 h 1156"/>
                  <a:gd name="T20" fmla="*/ 190 w 579"/>
                  <a:gd name="T21" fmla="*/ 1095 h 1156"/>
                  <a:gd name="T22" fmla="*/ 180 w 579"/>
                  <a:gd name="T23" fmla="*/ 1113 h 1156"/>
                  <a:gd name="T24" fmla="*/ 168 w 579"/>
                  <a:gd name="T25" fmla="*/ 1128 h 1156"/>
                  <a:gd name="T26" fmla="*/ 152 w 579"/>
                  <a:gd name="T27" fmla="*/ 1141 h 1156"/>
                  <a:gd name="T28" fmla="*/ 136 w 579"/>
                  <a:gd name="T29" fmla="*/ 1149 h 1156"/>
                  <a:gd name="T30" fmla="*/ 117 w 579"/>
                  <a:gd name="T31" fmla="*/ 1155 h 1156"/>
                  <a:gd name="T32" fmla="*/ 97 w 579"/>
                  <a:gd name="T33" fmla="*/ 1156 h 1156"/>
                  <a:gd name="T34" fmla="*/ 80 w 579"/>
                  <a:gd name="T35" fmla="*/ 1155 h 1156"/>
                  <a:gd name="T36" fmla="*/ 61 w 579"/>
                  <a:gd name="T37" fmla="*/ 1150 h 1156"/>
                  <a:gd name="T38" fmla="*/ 41 w 579"/>
                  <a:gd name="T39" fmla="*/ 1139 h 1156"/>
                  <a:gd name="T40" fmla="*/ 25 w 579"/>
                  <a:gd name="T41" fmla="*/ 1124 h 1156"/>
                  <a:gd name="T42" fmla="*/ 12 w 579"/>
                  <a:gd name="T43" fmla="*/ 1106 h 1156"/>
                  <a:gd name="T44" fmla="*/ 4 w 579"/>
                  <a:gd name="T45" fmla="*/ 1087 h 1156"/>
                  <a:gd name="T46" fmla="*/ 0 w 579"/>
                  <a:gd name="T47" fmla="*/ 1066 h 1156"/>
                  <a:gd name="T48" fmla="*/ 1 w 579"/>
                  <a:gd name="T49" fmla="*/ 1043 h 1156"/>
                  <a:gd name="T50" fmla="*/ 6 w 579"/>
                  <a:gd name="T51" fmla="*/ 1021 h 1156"/>
                  <a:gd name="T52" fmla="*/ 389 w 579"/>
                  <a:gd name="T53" fmla="*/ 62 h 1156"/>
                  <a:gd name="T54" fmla="*/ 399 w 579"/>
                  <a:gd name="T55" fmla="*/ 42 h 1156"/>
                  <a:gd name="T56" fmla="*/ 414 w 579"/>
                  <a:gd name="T57" fmla="*/ 25 h 1156"/>
                  <a:gd name="T58" fmla="*/ 431 w 579"/>
                  <a:gd name="T59" fmla="*/ 13 h 1156"/>
                  <a:gd name="T60" fmla="*/ 452 w 579"/>
                  <a:gd name="T61" fmla="*/ 4 h 1156"/>
                  <a:gd name="T62" fmla="*/ 473 w 579"/>
                  <a:gd name="T63" fmla="*/ 0 h 1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79" h="1156">
                    <a:moveTo>
                      <a:pt x="473" y="0"/>
                    </a:moveTo>
                    <a:lnTo>
                      <a:pt x="495" y="1"/>
                    </a:lnTo>
                    <a:lnTo>
                      <a:pt x="517" y="6"/>
                    </a:lnTo>
                    <a:lnTo>
                      <a:pt x="537" y="18"/>
                    </a:lnTo>
                    <a:lnTo>
                      <a:pt x="554" y="32"/>
                    </a:lnTo>
                    <a:lnTo>
                      <a:pt x="566" y="50"/>
                    </a:lnTo>
                    <a:lnTo>
                      <a:pt x="575" y="70"/>
                    </a:lnTo>
                    <a:lnTo>
                      <a:pt x="579" y="91"/>
                    </a:lnTo>
                    <a:lnTo>
                      <a:pt x="578" y="114"/>
                    </a:lnTo>
                    <a:lnTo>
                      <a:pt x="572" y="135"/>
                    </a:lnTo>
                    <a:lnTo>
                      <a:pt x="190" y="1095"/>
                    </a:lnTo>
                    <a:lnTo>
                      <a:pt x="180" y="1113"/>
                    </a:lnTo>
                    <a:lnTo>
                      <a:pt x="168" y="1128"/>
                    </a:lnTo>
                    <a:lnTo>
                      <a:pt x="152" y="1141"/>
                    </a:lnTo>
                    <a:lnTo>
                      <a:pt x="136" y="1149"/>
                    </a:lnTo>
                    <a:lnTo>
                      <a:pt x="117" y="1155"/>
                    </a:lnTo>
                    <a:lnTo>
                      <a:pt x="97" y="1156"/>
                    </a:lnTo>
                    <a:lnTo>
                      <a:pt x="80" y="1155"/>
                    </a:lnTo>
                    <a:lnTo>
                      <a:pt x="61" y="1150"/>
                    </a:lnTo>
                    <a:lnTo>
                      <a:pt x="41" y="1139"/>
                    </a:lnTo>
                    <a:lnTo>
                      <a:pt x="25" y="1124"/>
                    </a:lnTo>
                    <a:lnTo>
                      <a:pt x="12" y="1106"/>
                    </a:lnTo>
                    <a:lnTo>
                      <a:pt x="4" y="1087"/>
                    </a:lnTo>
                    <a:lnTo>
                      <a:pt x="0" y="1066"/>
                    </a:lnTo>
                    <a:lnTo>
                      <a:pt x="1" y="1043"/>
                    </a:lnTo>
                    <a:lnTo>
                      <a:pt x="6" y="1021"/>
                    </a:lnTo>
                    <a:lnTo>
                      <a:pt x="389" y="62"/>
                    </a:lnTo>
                    <a:lnTo>
                      <a:pt x="399" y="42"/>
                    </a:lnTo>
                    <a:lnTo>
                      <a:pt x="414" y="25"/>
                    </a:lnTo>
                    <a:lnTo>
                      <a:pt x="431" y="13"/>
                    </a:lnTo>
                    <a:lnTo>
                      <a:pt x="452" y="4"/>
                    </a:lnTo>
                    <a:lnTo>
                      <a:pt x="47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69" name="Freeform 141">
                <a:extLst>
                  <a:ext uri="{FF2B5EF4-FFF2-40B4-BE49-F238E27FC236}">
                    <a16:creationId xmlns:a16="http://schemas.microsoft.com/office/drawing/2014/main" id="{FC66041D-A3C4-4A20-8253-2BCC8F1FE6B6}"/>
                  </a:ext>
                </a:extLst>
              </p:cNvPr>
              <p:cNvSpPr>
                <a:spLocks/>
              </p:cNvSpPr>
              <p:nvPr/>
            </p:nvSpPr>
            <p:spPr bwMode="auto">
              <a:xfrm>
                <a:off x="2187" y="2874"/>
                <a:ext cx="34" cy="46"/>
              </a:xfrm>
              <a:custGeom>
                <a:avLst/>
                <a:gdLst>
                  <a:gd name="T0" fmla="*/ 481 w 580"/>
                  <a:gd name="T1" fmla="*/ 0 h 773"/>
                  <a:gd name="T2" fmla="*/ 504 w 580"/>
                  <a:gd name="T3" fmla="*/ 3 h 773"/>
                  <a:gd name="T4" fmla="*/ 525 w 580"/>
                  <a:gd name="T5" fmla="*/ 11 h 773"/>
                  <a:gd name="T6" fmla="*/ 543 w 580"/>
                  <a:gd name="T7" fmla="*/ 22 h 773"/>
                  <a:gd name="T8" fmla="*/ 558 w 580"/>
                  <a:gd name="T9" fmla="*/ 38 h 773"/>
                  <a:gd name="T10" fmla="*/ 570 w 580"/>
                  <a:gd name="T11" fmla="*/ 55 h 773"/>
                  <a:gd name="T12" fmla="*/ 577 w 580"/>
                  <a:gd name="T13" fmla="*/ 76 h 773"/>
                  <a:gd name="T14" fmla="*/ 580 w 580"/>
                  <a:gd name="T15" fmla="*/ 99 h 773"/>
                  <a:gd name="T16" fmla="*/ 580 w 580"/>
                  <a:gd name="T17" fmla="*/ 674 h 773"/>
                  <a:gd name="T18" fmla="*/ 577 w 580"/>
                  <a:gd name="T19" fmla="*/ 697 h 773"/>
                  <a:gd name="T20" fmla="*/ 570 w 580"/>
                  <a:gd name="T21" fmla="*/ 718 h 773"/>
                  <a:gd name="T22" fmla="*/ 558 w 580"/>
                  <a:gd name="T23" fmla="*/ 737 h 773"/>
                  <a:gd name="T24" fmla="*/ 543 w 580"/>
                  <a:gd name="T25" fmla="*/ 751 h 773"/>
                  <a:gd name="T26" fmla="*/ 525 w 580"/>
                  <a:gd name="T27" fmla="*/ 764 h 773"/>
                  <a:gd name="T28" fmla="*/ 504 w 580"/>
                  <a:gd name="T29" fmla="*/ 771 h 773"/>
                  <a:gd name="T30" fmla="*/ 481 w 580"/>
                  <a:gd name="T31" fmla="*/ 773 h 773"/>
                  <a:gd name="T32" fmla="*/ 98 w 580"/>
                  <a:gd name="T33" fmla="*/ 773 h 773"/>
                  <a:gd name="T34" fmla="*/ 76 w 580"/>
                  <a:gd name="T35" fmla="*/ 771 h 773"/>
                  <a:gd name="T36" fmla="*/ 55 w 580"/>
                  <a:gd name="T37" fmla="*/ 764 h 773"/>
                  <a:gd name="T38" fmla="*/ 37 w 580"/>
                  <a:gd name="T39" fmla="*/ 751 h 773"/>
                  <a:gd name="T40" fmla="*/ 22 w 580"/>
                  <a:gd name="T41" fmla="*/ 737 h 773"/>
                  <a:gd name="T42" fmla="*/ 10 w 580"/>
                  <a:gd name="T43" fmla="*/ 718 h 773"/>
                  <a:gd name="T44" fmla="*/ 3 w 580"/>
                  <a:gd name="T45" fmla="*/ 697 h 773"/>
                  <a:gd name="T46" fmla="*/ 0 w 580"/>
                  <a:gd name="T47" fmla="*/ 674 h 773"/>
                  <a:gd name="T48" fmla="*/ 3 w 580"/>
                  <a:gd name="T49" fmla="*/ 652 h 773"/>
                  <a:gd name="T50" fmla="*/ 10 w 580"/>
                  <a:gd name="T51" fmla="*/ 631 h 773"/>
                  <a:gd name="T52" fmla="*/ 22 w 580"/>
                  <a:gd name="T53" fmla="*/ 613 h 773"/>
                  <a:gd name="T54" fmla="*/ 37 w 580"/>
                  <a:gd name="T55" fmla="*/ 597 h 773"/>
                  <a:gd name="T56" fmla="*/ 55 w 580"/>
                  <a:gd name="T57" fmla="*/ 586 h 773"/>
                  <a:gd name="T58" fmla="*/ 76 w 580"/>
                  <a:gd name="T59" fmla="*/ 579 h 773"/>
                  <a:gd name="T60" fmla="*/ 98 w 580"/>
                  <a:gd name="T61" fmla="*/ 576 h 773"/>
                  <a:gd name="T62" fmla="*/ 383 w 580"/>
                  <a:gd name="T63" fmla="*/ 576 h 773"/>
                  <a:gd name="T64" fmla="*/ 383 w 580"/>
                  <a:gd name="T65" fmla="*/ 99 h 773"/>
                  <a:gd name="T66" fmla="*/ 385 w 580"/>
                  <a:gd name="T67" fmla="*/ 76 h 773"/>
                  <a:gd name="T68" fmla="*/ 393 w 580"/>
                  <a:gd name="T69" fmla="*/ 55 h 773"/>
                  <a:gd name="T70" fmla="*/ 405 w 580"/>
                  <a:gd name="T71" fmla="*/ 38 h 773"/>
                  <a:gd name="T72" fmla="*/ 420 w 580"/>
                  <a:gd name="T73" fmla="*/ 22 h 773"/>
                  <a:gd name="T74" fmla="*/ 438 w 580"/>
                  <a:gd name="T75" fmla="*/ 11 h 773"/>
                  <a:gd name="T76" fmla="*/ 458 w 580"/>
                  <a:gd name="T77" fmla="*/ 3 h 773"/>
                  <a:gd name="T78" fmla="*/ 481 w 580"/>
                  <a:gd name="T79" fmla="*/ 0 h 7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80" h="773">
                    <a:moveTo>
                      <a:pt x="481" y="0"/>
                    </a:moveTo>
                    <a:lnTo>
                      <a:pt x="504" y="3"/>
                    </a:lnTo>
                    <a:lnTo>
                      <a:pt x="525" y="11"/>
                    </a:lnTo>
                    <a:lnTo>
                      <a:pt x="543" y="22"/>
                    </a:lnTo>
                    <a:lnTo>
                      <a:pt x="558" y="38"/>
                    </a:lnTo>
                    <a:lnTo>
                      <a:pt x="570" y="55"/>
                    </a:lnTo>
                    <a:lnTo>
                      <a:pt x="577" y="76"/>
                    </a:lnTo>
                    <a:lnTo>
                      <a:pt x="580" y="99"/>
                    </a:lnTo>
                    <a:lnTo>
                      <a:pt x="580" y="674"/>
                    </a:lnTo>
                    <a:lnTo>
                      <a:pt x="577" y="697"/>
                    </a:lnTo>
                    <a:lnTo>
                      <a:pt x="570" y="718"/>
                    </a:lnTo>
                    <a:lnTo>
                      <a:pt x="558" y="737"/>
                    </a:lnTo>
                    <a:lnTo>
                      <a:pt x="543" y="751"/>
                    </a:lnTo>
                    <a:lnTo>
                      <a:pt x="525" y="764"/>
                    </a:lnTo>
                    <a:lnTo>
                      <a:pt x="504" y="771"/>
                    </a:lnTo>
                    <a:lnTo>
                      <a:pt x="481" y="773"/>
                    </a:lnTo>
                    <a:lnTo>
                      <a:pt x="98" y="773"/>
                    </a:lnTo>
                    <a:lnTo>
                      <a:pt x="76" y="771"/>
                    </a:lnTo>
                    <a:lnTo>
                      <a:pt x="55" y="764"/>
                    </a:lnTo>
                    <a:lnTo>
                      <a:pt x="37" y="751"/>
                    </a:lnTo>
                    <a:lnTo>
                      <a:pt x="22" y="737"/>
                    </a:lnTo>
                    <a:lnTo>
                      <a:pt x="10" y="718"/>
                    </a:lnTo>
                    <a:lnTo>
                      <a:pt x="3" y="697"/>
                    </a:lnTo>
                    <a:lnTo>
                      <a:pt x="0" y="674"/>
                    </a:lnTo>
                    <a:lnTo>
                      <a:pt x="3" y="652"/>
                    </a:lnTo>
                    <a:lnTo>
                      <a:pt x="10" y="631"/>
                    </a:lnTo>
                    <a:lnTo>
                      <a:pt x="22" y="613"/>
                    </a:lnTo>
                    <a:lnTo>
                      <a:pt x="37" y="597"/>
                    </a:lnTo>
                    <a:lnTo>
                      <a:pt x="55" y="586"/>
                    </a:lnTo>
                    <a:lnTo>
                      <a:pt x="76" y="579"/>
                    </a:lnTo>
                    <a:lnTo>
                      <a:pt x="98" y="576"/>
                    </a:lnTo>
                    <a:lnTo>
                      <a:pt x="383" y="576"/>
                    </a:lnTo>
                    <a:lnTo>
                      <a:pt x="383" y="99"/>
                    </a:lnTo>
                    <a:lnTo>
                      <a:pt x="385" y="76"/>
                    </a:lnTo>
                    <a:lnTo>
                      <a:pt x="393" y="55"/>
                    </a:lnTo>
                    <a:lnTo>
                      <a:pt x="405" y="38"/>
                    </a:lnTo>
                    <a:lnTo>
                      <a:pt x="420" y="22"/>
                    </a:lnTo>
                    <a:lnTo>
                      <a:pt x="438" y="11"/>
                    </a:lnTo>
                    <a:lnTo>
                      <a:pt x="458" y="3"/>
                    </a:lnTo>
                    <a:lnTo>
                      <a:pt x="48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70" name="Freeform 142">
                <a:extLst>
                  <a:ext uri="{FF2B5EF4-FFF2-40B4-BE49-F238E27FC236}">
                    <a16:creationId xmlns:a16="http://schemas.microsoft.com/office/drawing/2014/main" id="{77CF2D11-582A-4744-A64A-581FC813A45D}"/>
                  </a:ext>
                </a:extLst>
              </p:cNvPr>
              <p:cNvSpPr>
                <a:spLocks/>
              </p:cNvSpPr>
              <p:nvPr/>
            </p:nvSpPr>
            <p:spPr bwMode="auto">
              <a:xfrm>
                <a:off x="2243" y="2963"/>
                <a:ext cx="11" cy="67"/>
              </a:xfrm>
              <a:custGeom>
                <a:avLst/>
                <a:gdLst>
                  <a:gd name="T0" fmla="*/ 0 w 197"/>
                  <a:gd name="T1" fmla="*/ 0 h 1137"/>
                  <a:gd name="T2" fmla="*/ 197 w 197"/>
                  <a:gd name="T3" fmla="*/ 0 h 1137"/>
                  <a:gd name="T4" fmla="*/ 197 w 197"/>
                  <a:gd name="T5" fmla="*/ 1039 h 1137"/>
                  <a:gd name="T6" fmla="*/ 195 w 197"/>
                  <a:gd name="T7" fmla="*/ 1061 h 1137"/>
                  <a:gd name="T8" fmla="*/ 186 w 197"/>
                  <a:gd name="T9" fmla="*/ 1082 h 1137"/>
                  <a:gd name="T10" fmla="*/ 175 w 197"/>
                  <a:gd name="T11" fmla="*/ 1101 h 1137"/>
                  <a:gd name="T12" fmla="*/ 160 w 197"/>
                  <a:gd name="T13" fmla="*/ 1116 h 1137"/>
                  <a:gd name="T14" fmla="*/ 142 w 197"/>
                  <a:gd name="T15" fmla="*/ 1128 h 1137"/>
                  <a:gd name="T16" fmla="*/ 121 w 197"/>
                  <a:gd name="T17" fmla="*/ 1135 h 1137"/>
                  <a:gd name="T18" fmla="*/ 98 w 197"/>
                  <a:gd name="T19" fmla="*/ 1137 h 1137"/>
                  <a:gd name="T20" fmla="*/ 75 w 197"/>
                  <a:gd name="T21" fmla="*/ 1135 h 1137"/>
                  <a:gd name="T22" fmla="*/ 55 w 197"/>
                  <a:gd name="T23" fmla="*/ 1128 h 1137"/>
                  <a:gd name="T24" fmla="*/ 37 w 197"/>
                  <a:gd name="T25" fmla="*/ 1116 h 1137"/>
                  <a:gd name="T26" fmla="*/ 21 w 197"/>
                  <a:gd name="T27" fmla="*/ 1101 h 1137"/>
                  <a:gd name="T28" fmla="*/ 10 w 197"/>
                  <a:gd name="T29" fmla="*/ 1082 h 1137"/>
                  <a:gd name="T30" fmla="*/ 3 w 197"/>
                  <a:gd name="T31" fmla="*/ 1061 h 1137"/>
                  <a:gd name="T32" fmla="*/ 0 w 197"/>
                  <a:gd name="T33" fmla="*/ 1039 h 1137"/>
                  <a:gd name="T34" fmla="*/ 0 w 197"/>
                  <a:gd name="T35" fmla="*/ 0 h 1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97" h="1137">
                    <a:moveTo>
                      <a:pt x="0" y="0"/>
                    </a:moveTo>
                    <a:lnTo>
                      <a:pt x="197" y="0"/>
                    </a:lnTo>
                    <a:lnTo>
                      <a:pt x="197" y="1039"/>
                    </a:lnTo>
                    <a:lnTo>
                      <a:pt x="195" y="1061"/>
                    </a:lnTo>
                    <a:lnTo>
                      <a:pt x="186" y="1082"/>
                    </a:lnTo>
                    <a:lnTo>
                      <a:pt x="175" y="1101"/>
                    </a:lnTo>
                    <a:lnTo>
                      <a:pt x="160" y="1116"/>
                    </a:lnTo>
                    <a:lnTo>
                      <a:pt x="142" y="1128"/>
                    </a:lnTo>
                    <a:lnTo>
                      <a:pt x="121" y="1135"/>
                    </a:lnTo>
                    <a:lnTo>
                      <a:pt x="98" y="1137"/>
                    </a:lnTo>
                    <a:lnTo>
                      <a:pt x="75" y="1135"/>
                    </a:lnTo>
                    <a:lnTo>
                      <a:pt x="55" y="1128"/>
                    </a:lnTo>
                    <a:lnTo>
                      <a:pt x="37" y="1116"/>
                    </a:lnTo>
                    <a:lnTo>
                      <a:pt x="21" y="1101"/>
                    </a:lnTo>
                    <a:lnTo>
                      <a:pt x="10" y="1082"/>
                    </a:lnTo>
                    <a:lnTo>
                      <a:pt x="3" y="1061"/>
                    </a:lnTo>
                    <a:lnTo>
                      <a:pt x="0" y="1039"/>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71" name="Freeform 143">
                <a:extLst>
                  <a:ext uri="{FF2B5EF4-FFF2-40B4-BE49-F238E27FC236}">
                    <a16:creationId xmlns:a16="http://schemas.microsoft.com/office/drawing/2014/main" id="{A85C68D0-0C0E-438E-85E6-72B072F50D6B}"/>
                  </a:ext>
                </a:extLst>
              </p:cNvPr>
              <p:cNvSpPr>
                <a:spLocks/>
              </p:cNvSpPr>
              <p:nvPr/>
            </p:nvSpPr>
            <p:spPr bwMode="auto">
              <a:xfrm>
                <a:off x="2164" y="2929"/>
                <a:ext cx="90" cy="23"/>
              </a:xfrm>
              <a:custGeom>
                <a:avLst/>
                <a:gdLst>
                  <a:gd name="T0" fmla="*/ 99 w 1537"/>
                  <a:gd name="T1" fmla="*/ 0 h 397"/>
                  <a:gd name="T2" fmla="*/ 1438 w 1537"/>
                  <a:gd name="T3" fmla="*/ 0 h 397"/>
                  <a:gd name="T4" fmla="*/ 1461 w 1537"/>
                  <a:gd name="T5" fmla="*/ 2 h 397"/>
                  <a:gd name="T6" fmla="*/ 1482 w 1537"/>
                  <a:gd name="T7" fmla="*/ 9 h 397"/>
                  <a:gd name="T8" fmla="*/ 1500 w 1537"/>
                  <a:gd name="T9" fmla="*/ 21 h 397"/>
                  <a:gd name="T10" fmla="*/ 1515 w 1537"/>
                  <a:gd name="T11" fmla="*/ 37 h 397"/>
                  <a:gd name="T12" fmla="*/ 1526 w 1537"/>
                  <a:gd name="T13" fmla="*/ 55 h 397"/>
                  <a:gd name="T14" fmla="*/ 1535 w 1537"/>
                  <a:gd name="T15" fmla="*/ 76 h 397"/>
                  <a:gd name="T16" fmla="*/ 1537 w 1537"/>
                  <a:gd name="T17" fmla="*/ 99 h 397"/>
                  <a:gd name="T18" fmla="*/ 1537 w 1537"/>
                  <a:gd name="T19" fmla="*/ 397 h 397"/>
                  <a:gd name="T20" fmla="*/ 0 w 1537"/>
                  <a:gd name="T21" fmla="*/ 397 h 397"/>
                  <a:gd name="T22" fmla="*/ 0 w 1537"/>
                  <a:gd name="T23" fmla="*/ 99 h 397"/>
                  <a:gd name="T24" fmla="*/ 3 w 1537"/>
                  <a:gd name="T25" fmla="*/ 76 h 397"/>
                  <a:gd name="T26" fmla="*/ 10 w 1537"/>
                  <a:gd name="T27" fmla="*/ 55 h 397"/>
                  <a:gd name="T28" fmla="*/ 22 w 1537"/>
                  <a:gd name="T29" fmla="*/ 37 h 397"/>
                  <a:gd name="T30" fmla="*/ 37 w 1537"/>
                  <a:gd name="T31" fmla="*/ 21 h 397"/>
                  <a:gd name="T32" fmla="*/ 56 w 1537"/>
                  <a:gd name="T33" fmla="*/ 9 h 397"/>
                  <a:gd name="T34" fmla="*/ 77 w 1537"/>
                  <a:gd name="T35" fmla="*/ 2 h 397"/>
                  <a:gd name="T36" fmla="*/ 99 w 1537"/>
                  <a:gd name="T37" fmla="*/ 0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537" h="397">
                    <a:moveTo>
                      <a:pt x="99" y="0"/>
                    </a:moveTo>
                    <a:lnTo>
                      <a:pt x="1438" y="0"/>
                    </a:lnTo>
                    <a:lnTo>
                      <a:pt x="1461" y="2"/>
                    </a:lnTo>
                    <a:lnTo>
                      <a:pt x="1482" y="9"/>
                    </a:lnTo>
                    <a:lnTo>
                      <a:pt x="1500" y="21"/>
                    </a:lnTo>
                    <a:lnTo>
                      <a:pt x="1515" y="37"/>
                    </a:lnTo>
                    <a:lnTo>
                      <a:pt x="1526" y="55"/>
                    </a:lnTo>
                    <a:lnTo>
                      <a:pt x="1535" y="76"/>
                    </a:lnTo>
                    <a:lnTo>
                      <a:pt x="1537" y="99"/>
                    </a:lnTo>
                    <a:lnTo>
                      <a:pt x="1537" y="397"/>
                    </a:lnTo>
                    <a:lnTo>
                      <a:pt x="0" y="397"/>
                    </a:lnTo>
                    <a:lnTo>
                      <a:pt x="0" y="99"/>
                    </a:lnTo>
                    <a:lnTo>
                      <a:pt x="3" y="76"/>
                    </a:lnTo>
                    <a:lnTo>
                      <a:pt x="10" y="55"/>
                    </a:lnTo>
                    <a:lnTo>
                      <a:pt x="22" y="37"/>
                    </a:lnTo>
                    <a:lnTo>
                      <a:pt x="37" y="21"/>
                    </a:lnTo>
                    <a:lnTo>
                      <a:pt x="56" y="9"/>
                    </a:lnTo>
                    <a:lnTo>
                      <a:pt x="77" y="2"/>
                    </a:lnTo>
                    <a:lnTo>
                      <a:pt x="9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72" name="Freeform 144">
                <a:extLst>
                  <a:ext uri="{FF2B5EF4-FFF2-40B4-BE49-F238E27FC236}">
                    <a16:creationId xmlns:a16="http://schemas.microsoft.com/office/drawing/2014/main" id="{33362133-3379-4E38-A6D3-B7E979E5610D}"/>
                  </a:ext>
                </a:extLst>
              </p:cNvPr>
              <p:cNvSpPr>
                <a:spLocks/>
              </p:cNvSpPr>
              <p:nvPr/>
            </p:nvSpPr>
            <p:spPr bwMode="auto">
              <a:xfrm>
                <a:off x="2164" y="2963"/>
                <a:ext cx="12" cy="67"/>
              </a:xfrm>
              <a:custGeom>
                <a:avLst/>
                <a:gdLst>
                  <a:gd name="T0" fmla="*/ 0 w 197"/>
                  <a:gd name="T1" fmla="*/ 0 h 1137"/>
                  <a:gd name="T2" fmla="*/ 197 w 197"/>
                  <a:gd name="T3" fmla="*/ 0 h 1137"/>
                  <a:gd name="T4" fmla="*/ 197 w 197"/>
                  <a:gd name="T5" fmla="*/ 1039 h 1137"/>
                  <a:gd name="T6" fmla="*/ 195 w 197"/>
                  <a:gd name="T7" fmla="*/ 1061 h 1137"/>
                  <a:gd name="T8" fmla="*/ 188 w 197"/>
                  <a:gd name="T9" fmla="*/ 1082 h 1137"/>
                  <a:gd name="T10" fmla="*/ 176 w 197"/>
                  <a:gd name="T11" fmla="*/ 1101 h 1137"/>
                  <a:gd name="T12" fmla="*/ 161 w 197"/>
                  <a:gd name="T13" fmla="*/ 1116 h 1137"/>
                  <a:gd name="T14" fmla="*/ 142 w 197"/>
                  <a:gd name="T15" fmla="*/ 1128 h 1137"/>
                  <a:gd name="T16" fmla="*/ 121 w 197"/>
                  <a:gd name="T17" fmla="*/ 1135 h 1137"/>
                  <a:gd name="T18" fmla="*/ 99 w 197"/>
                  <a:gd name="T19" fmla="*/ 1137 h 1137"/>
                  <a:gd name="T20" fmla="*/ 77 w 197"/>
                  <a:gd name="T21" fmla="*/ 1135 h 1137"/>
                  <a:gd name="T22" fmla="*/ 56 w 197"/>
                  <a:gd name="T23" fmla="*/ 1128 h 1137"/>
                  <a:gd name="T24" fmla="*/ 37 w 197"/>
                  <a:gd name="T25" fmla="*/ 1116 h 1137"/>
                  <a:gd name="T26" fmla="*/ 22 w 197"/>
                  <a:gd name="T27" fmla="*/ 1101 h 1137"/>
                  <a:gd name="T28" fmla="*/ 10 w 197"/>
                  <a:gd name="T29" fmla="*/ 1082 h 1137"/>
                  <a:gd name="T30" fmla="*/ 3 w 197"/>
                  <a:gd name="T31" fmla="*/ 1061 h 1137"/>
                  <a:gd name="T32" fmla="*/ 0 w 197"/>
                  <a:gd name="T33" fmla="*/ 1039 h 1137"/>
                  <a:gd name="T34" fmla="*/ 0 w 197"/>
                  <a:gd name="T35" fmla="*/ 0 h 1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97" h="1137">
                    <a:moveTo>
                      <a:pt x="0" y="0"/>
                    </a:moveTo>
                    <a:lnTo>
                      <a:pt x="197" y="0"/>
                    </a:lnTo>
                    <a:lnTo>
                      <a:pt x="197" y="1039"/>
                    </a:lnTo>
                    <a:lnTo>
                      <a:pt x="195" y="1061"/>
                    </a:lnTo>
                    <a:lnTo>
                      <a:pt x="188" y="1082"/>
                    </a:lnTo>
                    <a:lnTo>
                      <a:pt x="176" y="1101"/>
                    </a:lnTo>
                    <a:lnTo>
                      <a:pt x="161" y="1116"/>
                    </a:lnTo>
                    <a:lnTo>
                      <a:pt x="142" y="1128"/>
                    </a:lnTo>
                    <a:lnTo>
                      <a:pt x="121" y="1135"/>
                    </a:lnTo>
                    <a:lnTo>
                      <a:pt x="99" y="1137"/>
                    </a:lnTo>
                    <a:lnTo>
                      <a:pt x="77" y="1135"/>
                    </a:lnTo>
                    <a:lnTo>
                      <a:pt x="56" y="1128"/>
                    </a:lnTo>
                    <a:lnTo>
                      <a:pt x="37" y="1116"/>
                    </a:lnTo>
                    <a:lnTo>
                      <a:pt x="22" y="1101"/>
                    </a:lnTo>
                    <a:lnTo>
                      <a:pt x="10" y="1082"/>
                    </a:lnTo>
                    <a:lnTo>
                      <a:pt x="3" y="1061"/>
                    </a:lnTo>
                    <a:lnTo>
                      <a:pt x="0" y="1039"/>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grpSp>
      </p:grpSp>
      <p:sp>
        <p:nvSpPr>
          <p:cNvPr id="73" name="Rectangle 166">
            <a:extLst>
              <a:ext uri="{FF2B5EF4-FFF2-40B4-BE49-F238E27FC236}">
                <a16:creationId xmlns:a16="http://schemas.microsoft.com/office/drawing/2014/main" id="{7C9F1DB2-0113-4CE3-8BFC-50D293E599C9}"/>
              </a:ext>
            </a:extLst>
          </p:cNvPr>
          <p:cNvSpPr/>
          <p:nvPr/>
        </p:nvSpPr>
        <p:spPr>
          <a:xfrm>
            <a:off x="1425954" y="2904393"/>
            <a:ext cx="3763471" cy="1080937"/>
          </a:xfrm>
          <a:prstGeom prst="rect">
            <a:avLst/>
          </a:prstGeom>
        </p:spPr>
        <p:txBody>
          <a:bodyPr wrap="square">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lumMod val="50000"/>
                    <a:lumOff val="50000"/>
                  </a:srgbClr>
                </a:solidFill>
                <a:effectLst/>
                <a:uLnTx/>
                <a:uFillTx/>
                <a:latin typeface="等线" panose="020F0502020204030204"/>
                <a:ea typeface="+mn-ea"/>
                <a:cs typeface="+mn-cs"/>
              </a:rPr>
              <a:t>Lorem Ipsum is simply dummy text of the printing and typesetting industry. Lorem Ipsum has been the industry's standard dummy text ever since the 1500s, when an unknown printer took a</a:t>
            </a:r>
          </a:p>
        </p:txBody>
      </p:sp>
      <p:sp>
        <p:nvSpPr>
          <p:cNvPr id="74" name="TextBox 167">
            <a:extLst>
              <a:ext uri="{FF2B5EF4-FFF2-40B4-BE49-F238E27FC236}">
                <a16:creationId xmlns:a16="http://schemas.microsoft.com/office/drawing/2014/main" id="{8E507827-45C5-4327-A0D0-7A9C676A4434}"/>
              </a:ext>
            </a:extLst>
          </p:cNvPr>
          <p:cNvSpPr txBox="1"/>
          <p:nvPr/>
        </p:nvSpPr>
        <p:spPr>
          <a:xfrm>
            <a:off x="1425953" y="2642504"/>
            <a:ext cx="2864179"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lumMod val="85000"/>
                    <a:lumOff val="15000"/>
                  </a:srgbClr>
                </a:solidFill>
                <a:effectLst/>
                <a:uLnTx/>
                <a:uFillTx/>
                <a:latin typeface="等线 Light" panose="020F0302020204030204"/>
                <a:ea typeface="+mn-ea"/>
                <a:cs typeface="+mn-cs"/>
              </a:rPr>
              <a:t>Insert Your Text Here</a:t>
            </a:r>
          </a:p>
        </p:txBody>
      </p:sp>
      <p:sp>
        <p:nvSpPr>
          <p:cNvPr id="75" name="Rectangle 168">
            <a:extLst>
              <a:ext uri="{FF2B5EF4-FFF2-40B4-BE49-F238E27FC236}">
                <a16:creationId xmlns:a16="http://schemas.microsoft.com/office/drawing/2014/main" id="{72CC17E4-5E23-4F2B-87BB-1FEF0C433DDF}"/>
              </a:ext>
            </a:extLst>
          </p:cNvPr>
          <p:cNvSpPr/>
          <p:nvPr/>
        </p:nvSpPr>
        <p:spPr>
          <a:xfrm>
            <a:off x="1495228" y="5674234"/>
            <a:ext cx="2864179" cy="573106"/>
          </a:xfrm>
          <a:prstGeom prst="rect">
            <a:avLst/>
          </a:prstGeom>
        </p:spPr>
        <p:txBody>
          <a:bodyPr wrap="square">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FFFFF"/>
                </a:solidFill>
                <a:effectLst/>
                <a:uLnTx/>
                <a:uFillTx/>
                <a:latin typeface="等线" panose="020F0502020204030204"/>
                <a:ea typeface="+mn-ea"/>
                <a:cs typeface="+mn-cs"/>
              </a:rPr>
              <a:t>Lorem Ipsum is simply dummy text of the printing and typesetting industry. </a:t>
            </a:r>
          </a:p>
        </p:txBody>
      </p:sp>
      <p:sp>
        <p:nvSpPr>
          <p:cNvPr id="76" name="TextBox 169">
            <a:extLst>
              <a:ext uri="{FF2B5EF4-FFF2-40B4-BE49-F238E27FC236}">
                <a16:creationId xmlns:a16="http://schemas.microsoft.com/office/drawing/2014/main" id="{E5A518C4-6184-444C-8F38-808752B674AE}"/>
              </a:ext>
            </a:extLst>
          </p:cNvPr>
          <p:cNvSpPr txBox="1"/>
          <p:nvPr/>
        </p:nvSpPr>
        <p:spPr>
          <a:xfrm>
            <a:off x="1415462" y="4895353"/>
            <a:ext cx="4831025" cy="76944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400" b="1" i="0" u="none" strike="noStrike" kern="1200" cap="none" spc="0" normalizeH="0" baseline="0" noProof="0" dirty="0">
                <a:ln>
                  <a:noFill/>
                </a:ln>
                <a:solidFill>
                  <a:srgbClr val="FFFFFF"/>
                </a:solidFill>
                <a:effectLst/>
                <a:uLnTx/>
                <a:uFillTx/>
                <a:latin typeface="等线 Light" panose="020F0302020204030204"/>
                <a:ea typeface="+mn-ea"/>
                <a:cs typeface="+mn-cs"/>
              </a:rPr>
              <a:t>80% </a:t>
            </a:r>
            <a:r>
              <a:rPr kumimoji="0" lang="en-US" sz="1400" b="1" i="0" u="none" strike="noStrike" kern="1200" cap="none" spc="0" normalizeH="0" baseline="0" noProof="0" dirty="0">
                <a:ln>
                  <a:noFill/>
                </a:ln>
                <a:solidFill>
                  <a:srgbClr val="FFFFFF"/>
                </a:solidFill>
                <a:effectLst/>
                <a:uLnTx/>
                <a:uFillTx/>
                <a:latin typeface="等线 Light" panose="020F0302020204030204"/>
                <a:ea typeface="+mn-ea"/>
                <a:cs typeface="+mn-cs"/>
              </a:rPr>
              <a:t>Insert Your Text Here</a:t>
            </a:r>
            <a:endParaRPr kumimoji="0" lang="en-US" sz="1800" b="1" i="0" u="none" strike="noStrike" kern="1200" cap="none" spc="0" normalizeH="0" baseline="0" noProof="0" dirty="0">
              <a:ln>
                <a:noFill/>
              </a:ln>
              <a:solidFill>
                <a:srgbClr val="FFFFFF"/>
              </a:solidFill>
              <a:effectLst/>
              <a:uLnTx/>
              <a:uFillTx/>
              <a:latin typeface="等线 Light" panose="020F0302020204030204"/>
              <a:ea typeface="+mn-ea"/>
              <a:cs typeface="+mn-cs"/>
            </a:endParaRPr>
          </a:p>
        </p:txBody>
      </p:sp>
      <p:sp>
        <p:nvSpPr>
          <p:cNvPr id="77" name="TextBox 171">
            <a:extLst>
              <a:ext uri="{FF2B5EF4-FFF2-40B4-BE49-F238E27FC236}">
                <a16:creationId xmlns:a16="http://schemas.microsoft.com/office/drawing/2014/main" id="{15D60D3A-A2E9-4CDE-940F-4FB6CBF06771}"/>
              </a:ext>
            </a:extLst>
          </p:cNvPr>
          <p:cNvSpPr txBox="1"/>
          <p:nvPr/>
        </p:nvSpPr>
        <p:spPr>
          <a:xfrm>
            <a:off x="1424921" y="704292"/>
            <a:ext cx="5172959" cy="107721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000000">
                    <a:lumMod val="85000"/>
                    <a:lumOff val="15000"/>
                  </a:srgbClr>
                </a:solidFill>
                <a:effectLst/>
                <a:uLnTx/>
                <a:uFillTx/>
                <a:latin typeface="等线 Light" panose="020F0302020204030204"/>
                <a:ea typeface="+mn-ea"/>
                <a:cs typeface="+mn-cs"/>
              </a:rPr>
              <a:t>INFOGRAPHIC</a:t>
            </a:r>
            <a:endParaRPr kumimoji="0" lang="en-US" sz="3200" b="1" i="0" u="none" strike="noStrike" kern="1200" cap="none" spc="0" normalizeH="0" baseline="0" noProof="0" dirty="0">
              <a:ln>
                <a:noFill/>
              </a:ln>
              <a:solidFill>
                <a:srgbClr val="000000">
                  <a:lumMod val="85000"/>
                  <a:lumOff val="15000"/>
                </a:srgbClr>
              </a:solidFill>
              <a:effectLst/>
              <a:uLnTx/>
              <a:uFillTx/>
              <a:latin typeface="等线"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000000">
                    <a:lumMod val="85000"/>
                    <a:lumOff val="15000"/>
                  </a:srgbClr>
                </a:solidFill>
                <a:effectLst/>
                <a:uLnTx/>
                <a:uFillTx/>
                <a:latin typeface="等线 Light" panose="020F0302020204030204"/>
                <a:ea typeface="+mn-ea"/>
                <a:cs typeface="+mn-cs"/>
              </a:rPr>
              <a:t>TREE</a:t>
            </a:r>
          </a:p>
        </p:txBody>
      </p:sp>
    </p:spTree>
    <p:extLst>
      <p:ext uri="{BB962C8B-B14F-4D97-AF65-F5344CB8AC3E}">
        <p14:creationId xmlns:p14="http://schemas.microsoft.com/office/powerpoint/2010/main" val="65557289"/>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77"/>
                                        </p:tgtEl>
                                        <p:attrNameLst>
                                          <p:attrName>style.visibility</p:attrName>
                                        </p:attrNameLst>
                                      </p:cBhvr>
                                      <p:to>
                                        <p:strVal val="visible"/>
                                      </p:to>
                                    </p:set>
                                    <p:animEffect transition="in" filter="wipe(left)">
                                      <p:cBhvr>
                                        <p:cTn id="7" dur="500"/>
                                        <p:tgtEl>
                                          <p:spTgt spid="77"/>
                                        </p:tgtEl>
                                      </p:cBhvr>
                                    </p:animEffect>
                                  </p:childTnLst>
                                </p:cTn>
                              </p:par>
                            </p:childTnLst>
                          </p:cTn>
                        </p:par>
                        <p:par>
                          <p:cTn id="8" fill="hold">
                            <p:stCondLst>
                              <p:cond delay="500"/>
                            </p:stCondLst>
                            <p:childTnLst>
                              <p:par>
                                <p:cTn id="9" presetID="22" presetClass="entr" presetSubtype="8" fill="hold" grpId="0" nodeType="afterEffect">
                                  <p:stCondLst>
                                    <p:cond delay="0"/>
                                  </p:stCondLst>
                                  <p:childTnLst>
                                    <p:set>
                                      <p:cBhvr>
                                        <p:cTn id="10" dur="1" fill="hold">
                                          <p:stCondLst>
                                            <p:cond delay="0"/>
                                          </p:stCondLst>
                                        </p:cTn>
                                        <p:tgtEl>
                                          <p:spTgt spid="74"/>
                                        </p:tgtEl>
                                        <p:attrNameLst>
                                          <p:attrName>style.visibility</p:attrName>
                                        </p:attrNameLst>
                                      </p:cBhvr>
                                      <p:to>
                                        <p:strVal val="visible"/>
                                      </p:to>
                                    </p:set>
                                    <p:animEffect transition="in" filter="wipe(left)">
                                      <p:cBhvr>
                                        <p:cTn id="11" dur="500"/>
                                        <p:tgtEl>
                                          <p:spTgt spid="74"/>
                                        </p:tgtEl>
                                      </p:cBhvr>
                                    </p:animEffect>
                                  </p:childTnLst>
                                </p:cTn>
                              </p:par>
                            </p:childTnLst>
                          </p:cTn>
                        </p:par>
                        <p:par>
                          <p:cTn id="12" fill="hold">
                            <p:stCondLst>
                              <p:cond delay="1000"/>
                            </p:stCondLst>
                            <p:childTnLst>
                              <p:par>
                                <p:cTn id="13" presetID="42" presetClass="entr" presetSubtype="0" fill="hold" grpId="0" nodeType="afterEffect">
                                  <p:stCondLst>
                                    <p:cond delay="0"/>
                                  </p:stCondLst>
                                  <p:childTnLst>
                                    <p:set>
                                      <p:cBhvr>
                                        <p:cTn id="14" dur="1" fill="hold">
                                          <p:stCondLst>
                                            <p:cond delay="0"/>
                                          </p:stCondLst>
                                        </p:cTn>
                                        <p:tgtEl>
                                          <p:spTgt spid="73"/>
                                        </p:tgtEl>
                                        <p:attrNameLst>
                                          <p:attrName>style.visibility</p:attrName>
                                        </p:attrNameLst>
                                      </p:cBhvr>
                                      <p:to>
                                        <p:strVal val="visible"/>
                                      </p:to>
                                    </p:set>
                                    <p:animEffect transition="in" filter="fade">
                                      <p:cBhvr>
                                        <p:cTn id="15" dur="500"/>
                                        <p:tgtEl>
                                          <p:spTgt spid="73"/>
                                        </p:tgtEl>
                                      </p:cBhvr>
                                    </p:animEffect>
                                    <p:anim calcmode="lin" valueType="num">
                                      <p:cBhvr>
                                        <p:cTn id="16" dur="500" fill="hold"/>
                                        <p:tgtEl>
                                          <p:spTgt spid="73"/>
                                        </p:tgtEl>
                                        <p:attrNameLst>
                                          <p:attrName>ppt_x</p:attrName>
                                        </p:attrNameLst>
                                      </p:cBhvr>
                                      <p:tavLst>
                                        <p:tav tm="0">
                                          <p:val>
                                            <p:strVal val="#ppt_x"/>
                                          </p:val>
                                        </p:tav>
                                        <p:tav tm="100000">
                                          <p:val>
                                            <p:strVal val="#ppt_x"/>
                                          </p:val>
                                        </p:tav>
                                      </p:tavLst>
                                    </p:anim>
                                    <p:anim calcmode="lin" valueType="num">
                                      <p:cBhvr>
                                        <p:cTn id="17" dur="500" fill="hold"/>
                                        <p:tgtEl>
                                          <p:spTgt spid="73"/>
                                        </p:tgtEl>
                                        <p:attrNameLst>
                                          <p:attrName>ppt_y</p:attrName>
                                        </p:attrNameLst>
                                      </p:cBhvr>
                                      <p:tavLst>
                                        <p:tav tm="0">
                                          <p:val>
                                            <p:strVal val="#ppt_y+.1"/>
                                          </p:val>
                                        </p:tav>
                                        <p:tav tm="100000">
                                          <p:val>
                                            <p:strVal val="#ppt_y"/>
                                          </p:val>
                                        </p:tav>
                                      </p:tavLst>
                                    </p:anim>
                                  </p:childTnLst>
                                </p:cTn>
                              </p:par>
                            </p:childTnLst>
                          </p:cTn>
                        </p:par>
                        <p:par>
                          <p:cTn id="18" fill="hold">
                            <p:stCondLst>
                              <p:cond delay="1500"/>
                            </p:stCondLst>
                            <p:childTnLst>
                              <p:par>
                                <p:cTn id="19" presetID="22" presetClass="entr" presetSubtype="4" fill="hold" grpId="0" nodeType="afterEffect">
                                  <p:stCondLst>
                                    <p:cond delay="0"/>
                                  </p:stCondLst>
                                  <p:childTnLst>
                                    <p:set>
                                      <p:cBhvr>
                                        <p:cTn id="20" dur="1" fill="hold">
                                          <p:stCondLst>
                                            <p:cond delay="0"/>
                                          </p:stCondLst>
                                        </p:cTn>
                                        <p:tgtEl>
                                          <p:spTgt spid="2"/>
                                        </p:tgtEl>
                                        <p:attrNameLst>
                                          <p:attrName>style.visibility</p:attrName>
                                        </p:attrNameLst>
                                      </p:cBhvr>
                                      <p:to>
                                        <p:strVal val="visible"/>
                                      </p:to>
                                    </p:set>
                                    <p:animEffect transition="in" filter="wipe(down)">
                                      <p:cBhvr>
                                        <p:cTn id="21" dur="500"/>
                                        <p:tgtEl>
                                          <p:spTgt spid="2"/>
                                        </p:tgtEl>
                                      </p:cBhvr>
                                    </p:animEffect>
                                  </p:childTnLst>
                                </p:cTn>
                              </p:par>
                            </p:childTnLst>
                          </p:cTn>
                        </p:par>
                        <p:par>
                          <p:cTn id="22" fill="hold">
                            <p:stCondLst>
                              <p:cond delay="2000"/>
                            </p:stCondLst>
                            <p:childTnLst>
                              <p:par>
                                <p:cTn id="23" presetID="22" presetClass="entr" presetSubtype="8" fill="hold" grpId="0" nodeType="afterEffect">
                                  <p:stCondLst>
                                    <p:cond delay="0"/>
                                  </p:stCondLst>
                                  <p:childTnLst>
                                    <p:set>
                                      <p:cBhvr>
                                        <p:cTn id="24" dur="1" fill="hold">
                                          <p:stCondLst>
                                            <p:cond delay="0"/>
                                          </p:stCondLst>
                                        </p:cTn>
                                        <p:tgtEl>
                                          <p:spTgt spid="76"/>
                                        </p:tgtEl>
                                        <p:attrNameLst>
                                          <p:attrName>style.visibility</p:attrName>
                                        </p:attrNameLst>
                                      </p:cBhvr>
                                      <p:to>
                                        <p:strVal val="visible"/>
                                      </p:to>
                                    </p:set>
                                    <p:animEffect transition="in" filter="wipe(left)">
                                      <p:cBhvr>
                                        <p:cTn id="25" dur="500"/>
                                        <p:tgtEl>
                                          <p:spTgt spid="76"/>
                                        </p:tgtEl>
                                      </p:cBhvr>
                                    </p:animEffect>
                                  </p:childTnLst>
                                </p:cTn>
                              </p:par>
                            </p:childTnLst>
                          </p:cTn>
                        </p:par>
                        <p:par>
                          <p:cTn id="26" fill="hold">
                            <p:stCondLst>
                              <p:cond delay="2500"/>
                            </p:stCondLst>
                            <p:childTnLst>
                              <p:par>
                                <p:cTn id="27" presetID="42" presetClass="entr" presetSubtype="0" fill="hold" grpId="0" nodeType="afterEffect">
                                  <p:stCondLst>
                                    <p:cond delay="0"/>
                                  </p:stCondLst>
                                  <p:childTnLst>
                                    <p:set>
                                      <p:cBhvr>
                                        <p:cTn id="28" dur="1" fill="hold">
                                          <p:stCondLst>
                                            <p:cond delay="0"/>
                                          </p:stCondLst>
                                        </p:cTn>
                                        <p:tgtEl>
                                          <p:spTgt spid="75"/>
                                        </p:tgtEl>
                                        <p:attrNameLst>
                                          <p:attrName>style.visibility</p:attrName>
                                        </p:attrNameLst>
                                      </p:cBhvr>
                                      <p:to>
                                        <p:strVal val="visible"/>
                                      </p:to>
                                    </p:set>
                                    <p:animEffect transition="in" filter="fade">
                                      <p:cBhvr>
                                        <p:cTn id="29" dur="500"/>
                                        <p:tgtEl>
                                          <p:spTgt spid="75"/>
                                        </p:tgtEl>
                                      </p:cBhvr>
                                    </p:animEffect>
                                    <p:anim calcmode="lin" valueType="num">
                                      <p:cBhvr>
                                        <p:cTn id="30" dur="500" fill="hold"/>
                                        <p:tgtEl>
                                          <p:spTgt spid="75"/>
                                        </p:tgtEl>
                                        <p:attrNameLst>
                                          <p:attrName>ppt_x</p:attrName>
                                        </p:attrNameLst>
                                      </p:cBhvr>
                                      <p:tavLst>
                                        <p:tav tm="0">
                                          <p:val>
                                            <p:strVal val="#ppt_x"/>
                                          </p:val>
                                        </p:tav>
                                        <p:tav tm="100000">
                                          <p:val>
                                            <p:strVal val="#ppt_x"/>
                                          </p:val>
                                        </p:tav>
                                      </p:tavLst>
                                    </p:anim>
                                    <p:anim calcmode="lin" valueType="num">
                                      <p:cBhvr>
                                        <p:cTn id="31" dur="500" fill="hold"/>
                                        <p:tgtEl>
                                          <p:spTgt spid="75"/>
                                        </p:tgtEl>
                                        <p:attrNameLst>
                                          <p:attrName>ppt_y</p:attrName>
                                        </p:attrNameLst>
                                      </p:cBhvr>
                                      <p:tavLst>
                                        <p:tav tm="0">
                                          <p:val>
                                            <p:strVal val="#ppt_y+.1"/>
                                          </p:val>
                                        </p:tav>
                                        <p:tav tm="100000">
                                          <p:val>
                                            <p:strVal val="#ppt_y"/>
                                          </p:val>
                                        </p:tav>
                                      </p:tavLst>
                                    </p:anim>
                                  </p:childTnLst>
                                </p:cTn>
                              </p:par>
                            </p:childTnLst>
                          </p:cTn>
                        </p:par>
                        <p:par>
                          <p:cTn id="32" fill="hold">
                            <p:stCondLst>
                              <p:cond delay="3000"/>
                            </p:stCondLst>
                            <p:childTnLst>
                              <p:par>
                                <p:cTn id="33" presetID="22" presetClass="entr" presetSubtype="4" fill="hold" nodeType="afterEffect">
                                  <p:stCondLst>
                                    <p:cond delay="0"/>
                                  </p:stCondLst>
                                  <p:childTnLst>
                                    <p:set>
                                      <p:cBhvr>
                                        <p:cTn id="34" dur="1" fill="hold">
                                          <p:stCondLst>
                                            <p:cond delay="0"/>
                                          </p:stCondLst>
                                        </p:cTn>
                                        <p:tgtEl>
                                          <p:spTgt spid="6"/>
                                        </p:tgtEl>
                                        <p:attrNameLst>
                                          <p:attrName>style.visibility</p:attrName>
                                        </p:attrNameLst>
                                      </p:cBhvr>
                                      <p:to>
                                        <p:strVal val="visible"/>
                                      </p:to>
                                    </p:set>
                                    <p:animEffect transition="in" filter="wipe(down)">
                                      <p:cBhvr>
                                        <p:cTn id="35" dur="500"/>
                                        <p:tgtEl>
                                          <p:spTgt spid="6"/>
                                        </p:tgtEl>
                                      </p:cBhvr>
                                    </p:animEffect>
                                  </p:childTnLst>
                                </p:cTn>
                              </p:par>
                            </p:childTnLst>
                          </p:cTn>
                        </p:par>
                        <p:par>
                          <p:cTn id="36" fill="hold">
                            <p:stCondLst>
                              <p:cond delay="3500"/>
                            </p:stCondLst>
                            <p:childTnLst>
                              <p:par>
                                <p:cTn id="37" presetID="53" presetClass="entr" presetSubtype="16" fill="hold" nodeType="afterEffect">
                                  <p:stCondLst>
                                    <p:cond delay="0"/>
                                  </p:stCondLst>
                                  <p:childTnLst>
                                    <p:set>
                                      <p:cBhvr>
                                        <p:cTn id="38" dur="1" fill="hold">
                                          <p:stCondLst>
                                            <p:cond delay="0"/>
                                          </p:stCondLst>
                                        </p:cTn>
                                        <p:tgtEl>
                                          <p:spTgt spid="39"/>
                                        </p:tgtEl>
                                        <p:attrNameLst>
                                          <p:attrName>style.visibility</p:attrName>
                                        </p:attrNameLst>
                                      </p:cBhvr>
                                      <p:to>
                                        <p:strVal val="visible"/>
                                      </p:to>
                                    </p:set>
                                    <p:anim calcmode="lin" valueType="num">
                                      <p:cBhvr>
                                        <p:cTn id="39" dur="500" fill="hold"/>
                                        <p:tgtEl>
                                          <p:spTgt spid="39"/>
                                        </p:tgtEl>
                                        <p:attrNameLst>
                                          <p:attrName>ppt_w</p:attrName>
                                        </p:attrNameLst>
                                      </p:cBhvr>
                                      <p:tavLst>
                                        <p:tav tm="0">
                                          <p:val>
                                            <p:fltVal val="0"/>
                                          </p:val>
                                        </p:tav>
                                        <p:tav tm="100000">
                                          <p:val>
                                            <p:strVal val="#ppt_w"/>
                                          </p:val>
                                        </p:tav>
                                      </p:tavLst>
                                    </p:anim>
                                    <p:anim calcmode="lin" valueType="num">
                                      <p:cBhvr>
                                        <p:cTn id="40" dur="500" fill="hold"/>
                                        <p:tgtEl>
                                          <p:spTgt spid="39"/>
                                        </p:tgtEl>
                                        <p:attrNameLst>
                                          <p:attrName>ppt_h</p:attrName>
                                        </p:attrNameLst>
                                      </p:cBhvr>
                                      <p:tavLst>
                                        <p:tav tm="0">
                                          <p:val>
                                            <p:fltVal val="0"/>
                                          </p:val>
                                        </p:tav>
                                        <p:tav tm="100000">
                                          <p:val>
                                            <p:strVal val="#ppt_h"/>
                                          </p:val>
                                        </p:tav>
                                      </p:tavLst>
                                    </p:anim>
                                    <p:animEffect transition="in" filter="fade">
                                      <p:cBhvr>
                                        <p:cTn id="41" dur="500"/>
                                        <p:tgtEl>
                                          <p:spTgt spid="39"/>
                                        </p:tgtEl>
                                      </p:cBhvr>
                                    </p:animEffect>
                                  </p:childTnLst>
                                </p:cTn>
                              </p:par>
                            </p:childTnLst>
                          </p:cTn>
                        </p:par>
                        <p:par>
                          <p:cTn id="42" fill="hold">
                            <p:stCondLst>
                              <p:cond delay="4000"/>
                            </p:stCondLst>
                            <p:childTnLst>
                              <p:par>
                                <p:cTn id="43" presetID="53" presetClass="entr" presetSubtype="16" fill="hold" nodeType="afterEffect">
                                  <p:stCondLst>
                                    <p:cond delay="0"/>
                                  </p:stCondLst>
                                  <p:childTnLst>
                                    <p:set>
                                      <p:cBhvr>
                                        <p:cTn id="44" dur="1" fill="hold">
                                          <p:stCondLst>
                                            <p:cond delay="0"/>
                                          </p:stCondLst>
                                        </p:cTn>
                                        <p:tgtEl>
                                          <p:spTgt spid="57"/>
                                        </p:tgtEl>
                                        <p:attrNameLst>
                                          <p:attrName>style.visibility</p:attrName>
                                        </p:attrNameLst>
                                      </p:cBhvr>
                                      <p:to>
                                        <p:strVal val="visible"/>
                                      </p:to>
                                    </p:set>
                                    <p:anim calcmode="lin" valueType="num">
                                      <p:cBhvr>
                                        <p:cTn id="45" dur="500" fill="hold"/>
                                        <p:tgtEl>
                                          <p:spTgt spid="57"/>
                                        </p:tgtEl>
                                        <p:attrNameLst>
                                          <p:attrName>ppt_w</p:attrName>
                                        </p:attrNameLst>
                                      </p:cBhvr>
                                      <p:tavLst>
                                        <p:tav tm="0">
                                          <p:val>
                                            <p:fltVal val="0"/>
                                          </p:val>
                                        </p:tav>
                                        <p:tav tm="100000">
                                          <p:val>
                                            <p:strVal val="#ppt_w"/>
                                          </p:val>
                                        </p:tav>
                                      </p:tavLst>
                                    </p:anim>
                                    <p:anim calcmode="lin" valueType="num">
                                      <p:cBhvr>
                                        <p:cTn id="46" dur="500" fill="hold"/>
                                        <p:tgtEl>
                                          <p:spTgt spid="57"/>
                                        </p:tgtEl>
                                        <p:attrNameLst>
                                          <p:attrName>ppt_h</p:attrName>
                                        </p:attrNameLst>
                                      </p:cBhvr>
                                      <p:tavLst>
                                        <p:tav tm="0">
                                          <p:val>
                                            <p:fltVal val="0"/>
                                          </p:val>
                                        </p:tav>
                                        <p:tav tm="100000">
                                          <p:val>
                                            <p:strVal val="#ppt_h"/>
                                          </p:val>
                                        </p:tav>
                                      </p:tavLst>
                                    </p:anim>
                                    <p:animEffect transition="in" filter="fade">
                                      <p:cBhvr>
                                        <p:cTn id="47" dur="500"/>
                                        <p:tgtEl>
                                          <p:spTgt spid="57"/>
                                        </p:tgtEl>
                                      </p:cBhvr>
                                    </p:animEffect>
                                  </p:childTnLst>
                                </p:cTn>
                              </p:par>
                            </p:childTnLst>
                          </p:cTn>
                        </p:par>
                        <p:par>
                          <p:cTn id="48" fill="hold">
                            <p:stCondLst>
                              <p:cond delay="4500"/>
                            </p:stCondLst>
                            <p:childTnLst>
                              <p:par>
                                <p:cTn id="49" presetID="53" presetClass="entr" presetSubtype="16" fill="hold" nodeType="afterEffect">
                                  <p:stCondLst>
                                    <p:cond delay="0"/>
                                  </p:stCondLst>
                                  <p:childTnLst>
                                    <p:set>
                                      <p:cBhvr>
                                        <p:cTn id="50" dur="1" fill="hold">
                                          <p:stCondLst>
                                            <p:cond delay="0"/>
                                          </p:stCondLst>
                                        </p:cTn>
                                        <p:tgtEl>
                                          <p:spTgt spid="63"/>
                                        </p:tgtEl>
                                        <p:attrNameLst>
                                          <p:attrName>style.visibility</p:attrName>
                                        </p:attrNameLst>
                                      </p:cBhvr>
                                      <p:to>
                                        <p:strVal val="visible"/>
                                      </p:to>
                                    </p:set>
                                    <p:anim calcmode="lin" valueType="num">
                                      <p:cBhvr>
                                        <p:cTn id="51" dur="500" fill="hold"/>
                                        <p:tgtEl>
                                          <p:spTgt spid="63"/>
                                        </p:tgtEl>
                                        <p:attrNameLst>
                                          <p:attrName>ppt_w</p:attrName>
                                        </p:attrNameLst>
                                      </p:cBhvr>
                                      <p:tavLst>
                                        <p:tav tm="0">
                                          <p:val>
                                            <p:fltVal val="0"/>
                                          </p:val>
                                        </p:tav>
                                        <p:tav tm="100000">
                                          <p:val>
                                            <p:strVal val="#ppt_w"/>
                                          </p:val>
                                        </p:tav>
                                      </p:tavLst>
                                    </p:anim>
                                    <p:anim calcmode="lin" valueType="num">
                                      <p:cBhvr>
                                        <p:cTn id="52" dur="500" fill="hold"/>
                                        <p:tgtEl>
                                          <p:spTgt spid="63"/>
                                        </p:tgtEl>
                                        <p:attrNameLst>
                                          <p:attrName>ppt_h</p:attrName>
                                        </p:attrNameLst>
                                      </p:cBhvr>
                                      <p:tavLst>
                                        <p:tav tm="0">
                                          <p:val>
                                            <p:fltVal val="0"/>
                                          </p:val>
                                        </p:tav>
                                        <p:tav tm="100000">
                                          <p:val>
                                            <p:strVal val="#ppt_h"/>
                                          </p:val>
                                        </p:tav>
                                      </p:tavLst>
                                    </p:anim>
                                    <p:animEffect transition="in" filter="fade">
                                      <p:cBhvr>
                                        <p:cTn id="53" dur="500"/>
                                        <p:tgtEl>
                                          <p:spTgt spid="63"/>
                                        </p:tgtEl>
                                      </p:cBhvr>
                                    </p:animEffect>
                                  </p:childTnLst>
                                </p:cTn>
                              </p:par>
                            </p:childTnLst>
                          </p:cTn>
                        </p:par>
                        <p:par>
                          <p:cTn id="54" fill="hold">
                            <p:stCondLst>
                              <p:cond delay="5000"/>
                            </p:stCondLst>
                            <p:childTnLst>
                              <p:par>
                                <p:cTn id="55" presetID="53" presetClass="entr" presetSubtype="16" fill="hold" nodeType="afterEffect">
                                  <p:stCondLst>
                                    <p:cond delay="0"/>
                                  </p:stCondLst>
                                  <p:childTnLst>
                                    <p:set>
                                      <p:cBhvr>
                                        <p:cTn id="56" dur="1" fill="hold">
                                          <p:stCondLst>
                                            <p:cond delay="0"/>
                                          </p:stCondLst>
                                        </p:cTn>
                                        <p:tgtEl>
                                          <p:spTgt spid="28"/>
                                        </p:tgtEl>
                                        <p:attrNameLst>
                                          <p:attrName>style.visibility</p:attrName>
                                        </p:attrNameLst>
                                      </p:cBhvr>
                                      <p:to>
                                        <p:strVal val="visible"/>
                                      </p:to>
                                    </p:set>
                                    <p:anim calcmode="lin" valueType="num">
                                      <p:cBhvr>
                                        <p:cTn id="57" dur="500" fill="hold"/>
                                        <p:tgtEl>
                                          <p:spTgt spid="28"/>
                                        </p:tgtEl>
                                        <p:attrNameLst>
                                          <p:attrName>ppt_w</p:attrName>
                                        </p:attrNameLst>
                                      </p:cBhvr>
                                      <p:tavLst>
                                        <p:tav tm="0">
                                          <p:val>
                                            <p:fltVal val="0"/>
                                          </p:val>
                                        </p:tav>
                                        <p:tav tm="100000">
                                          <p:val>
                                            <p:strVal val="#ppt_w"/>
                                          </p:val>
                                        </p:tav>
                                      </p:tavLst>
                                    </p:anim>
                                    <p:anim calcmode="lin" valueType="num">
                                      <p:cBhvr>
                                        <p:cTn id="58" dur="500" fill="hold"/>
                                        <p:tgtEl>
                                          <p:spTgt spid="28"/>
                                        </p:tgtEl>
                                        <p:attrNameLst>
                                          <p:attrName>ppt_h</p:attrName>
                                        </p:attrNameLst>
                                      </p:cBhvr>
                                      <p:tavLst>
                                        <p:tav tm="0">
                                          <p:val>
                                            <p:fltVal val="0"/>
                                          </p:val>
                                        </p:tav>
                                        <p:tav tm="100000">
                                          <p:val>
                                            <p:strVal val="#ppt_h"/>
                                          </p:val>
                                        </p:tav>
                                      </p:tavLst>
                                    </p:anim>
                                    <p:animEffect transition="in" filter="fade">
                                      <p:cBhvr>
                                        <p:cTn id="59" dur="500"/>
                                        <p:tgtEl>
                                          <p:spTgt spid="28"/>
                                        </p:tgtEl>
                                      </p:cBhvr>
                                    </p:animEffect>
                                  </p:childTnLst>
                                </p:cTn>
                              </p:par>
                            </p:childTnLst>
                          </p:cTn>
                        </p:par>
                        <p:par>
                          <p:cTn id="60" fill="hold">
                            <p:stCondLst>
                              <p:cond delay="5500"/>
                            </p:stCondLst>
                            <p:childTnLst>
                              <p:par>
                                <p:cTn id="61" presetID="53" presetClass="entr" presetSubtype="16" fill="hold" nodeType="afterEffect">
                                  <p:stCondLst>
                                    <p:cond delay="0"/>
                                  </p:stCondLst>
                                  <p:childTnLst>
                                    <p:set>
                                      <p:cBhvr>
                                        <p:cTn id="62" dur="1" fill="hold">
                                          <p:stCondLst>
                                            <p:cond delay="0"/>
                                          </p:stCondLst>
                                        </p:cTn>
                                        <p:tgtEl>
                                          <p:spTgt spid="25"/>
                                        </p:tgtEl>
                                        <p:attrNameLst>
                                          <p:attrName>style.visibility</p:attrName>
                                        </p:attrNameLst>
                                      </p:cBhvr>
                                      <p:to>
                                        <p:strVal val="visible"/>
                                      </p:to>
                                    </p:set>
                                    <p:anim calcmode="lin" valueType="num">
                                      <p:cBhvr>
                                        <p:cTn id="63" dur="500" fill="hold"/>
                                        <p:tgtEl>
                                          <p:spTgt spid="25"/>
                                        </p:tgtEl>
                                        <p:attrNameLst>
                                          <p:attrName>ppt_w</p:attrName>
                                        </p:attrNameLst>
                                      </p:cBhvr>
                                      <p:tavLst>
                                        <p:tav tm="0">
                                          <p:val>
                                            <p:fltVal val="0"/>
                                          </p:val>
                                        </p:tav>
                                        <p:tav tm="100000">
                                          <p:val>
                                            <p:strVal val="#ppt_w"/>
                                          </p:val>
                                        </p:tav>
                                      </p:tavLst>
                                    </p:anim>
                                    <p:anim calcmode="lin" valueType="num">
                                      <p:cBhvr>
                                        <p:cTn id="64" dur="500" fill="hold"/>
                                        <p:tgtEl>
                                          <p:spTgt spid="25"/>
                                        </p:tgtEl>
                                        <p:attrNameLst>
                                          <p:attrName>ppt_h</p:attrName>
                                        </p:attrNameLst>
                                      </p:cBhvr>
                                      <p:tavLst>
                                        <p:tav tm="0">
                                          <p:val>
                                            <p:fltVal val="0"/>
                                          </p:val>
                                        </p:tav>
                                        <p:tav tm="100000">
                                          <p:val>
                                            <p:strVal val="#ppt_h"/>
                                          </p:val>
                                        </p:tav>
                                      </p:tavLst>
                                    </p:anim>
                                    <p:animEffect transition="in" filter="fade">
                                      <p:cBhvr>
                                        <p:cTn id="65" dur="500"/>
                                        <p:tgtEl>
                                          <p:spTgt spid="25"/>
                                        </p:tgtEl>
                                      </p:cBhvr>
                                    </p:animEffect>
                                  </p:childTnLst>
                                </p:cTn>
                              </p:par>
                            </p:childTnLst>
                          </p:cTn>
                        </p:par>
                        <p:par>
                          <p:cTn id="66" fill="hold">
                            <p:stCondLst>
                              <p:cond delay="6000"/>
                            </p:stCondLst>
                            <p:childTnLst>
                              <p:par>
                                <p:cTn id="67" presetID="53" presetClass="entr" presetSubtype="16" fill="hold" nodeType="afterEffect">
                                  <p:stCondLst>
                                    <p:cond delay="0"/>
                                  </p:stCondLst>
                                  <p:childTnLst>
                                    <p:set>
                                      <p:cBhvr>
                                        <p:cTn id="68" dur="1" fill="hold">
                                          <p:stCondLst>
                                            <p:cond delay="0"/>
                                          </p:stCondLst>
                                        </p:cTn>
                                        <p:tgtEl>
                                          <p:spTgt spid="9"/>
                                        </p:tgtEl>
                                        <p:attrNameLst>
                                          <p:attrName>style.visibility</p:attrName>
                                        </p:attrNameLst>
                                      </p:cBhvr>
                                      <p:to>
                                        <p:strVal val="visible"/>
                                      </p:to>
                                    </p:set>
                                    <p:anim calcmode="lin" valueType="num">
                                      <p:cBhvr>
                                        <p:cTn id="69" dur="500" fill="hold"/>
                                        <p:tgtEl>
                                          <p:spTgt spid="9"/>
                                        </p:tgtEl>
                                        <p:attrNameLst>
                                          <p:attrName>ppt_w</p:attrName>
                                        </p:attrNameLst>
                                      </p:cBhvr>
                                      <p:tavLst>
                                        <p:tav tm="0">
                                          <p:val>
                                            <p:fltVal val="0"/>
                                          </p:val>
                                        </p:tav>
                                        <p:tav tm="100000">
                                          <p:val>
                                            <p:strVal val="#ppt_w"/>
                                          </p:val>
                                        </p:tav>
                                      </p:tavLst>
                                    </p:anim>
                                    <p:anim calcmode="lin" valueType="num">
                                      <p:cBhvr>
                                        <p:cTn id="70" dur="500" fill="hold"/>
                                        <p:tgtEl>
                                          <p:spTgt spid="9"/>
                                        </p:tgtEl>
                                        <p:attrNameLst>
                                          <p:attrName>ppt_h</p:attrName>
                                        </p:attrNameLst>
                                      </p:cBhvr>
                                      <p:tavLst>
                                        <p:tav tm="0">
                                          <p:val>
                                            <p:fltVal val="0"/>
                                          </p:val>
                                        </p:tav>
                                        <p:tav tm="100000">
                                          <p:val>
                                            <p:strVal val="#ppt_h"/>
                                          </p:val>
                                        </p:tav>
                                      </p:tavLst>
                                    </p:anim>
                                    <p:animEffect transition="in" filter="fade">
                                      <p:cBhvr>
                                        <p:cTn id="71" dur="500"/>
                                        <p:tgtEl>
                                          <p:spTgt spid="9"/>
                                        </p:tgtEl>
                                      </p:cBhvr>
                                    </p:animEffect>
                                  </p:childTnLst>
                                </p:cTn>
                              </p:par>
                            </p:childTnLst>
                          </p:cTn>
                        </p:par>
                        <p:par>
                          <p:cTn id="72" fill="hold">
                            <p:stCondLst>
                              <p:cond delay="6500"/>
                            </p:stCondLst>
                            <p:childTnLst>
                              <p:par>
                                <p:cTn id="73" presetID="53" presetClass="entr" presetSubtype="16" fill="hold" nodeType="afterEffect">
                                  <p:stCondLst>
                                    <p:cond delay="0"/>
                                  </p:stCondLst>
                                  <p:childTnLst>
                                    <p:set>
                                      <p:cBhvr>
                                        <p:cTn id="74" dur="1" fill="hold">
                                          <p:stCondLst>
                                            <p:cond delay="0"/>
                                          </p:stCondLst>
                                        </p:cTn>
                                        <p:tgtEl>
                                          <p:spTgt spid="54"/>
                                        </p:tgtEl>
                                        <p:attrNameLst>
                                          <p:attrName>style.visibility</p:attrName>
                                        </p:attrNameLst>
                                      </p:cBhvr>
                                      <p:to>
                                        <p:strVal val="visible"/>
                                      </p:to>
                                    </p:set>
                                    <p:anim calcmode="lin" valueType="num">
                                      <p:cBhvr>
                                        <p:cTn id="75" dur="500" fill="hold"/>
                                        <p:tgtEl>
                                          <p:spTgt spid="54"/>
                                        </p:tgtEl>
                                        <p:attrNameLst>
                                          <p:attrName>ppt_w</p:attrName>
                                        </p:attrNameLst>
                                      </p:cBhvr>
                                      <p:tavLst>
                                        <p:tav tm="0">
                                          <p:val>
                                            <p:fltVal val="0"/>
                                          </p:val>
                                        </p:tav>
                                        <p:tav tm="100000">
                                          <p:val>
                                            <p:strVal val="#ppt_w"/>
                                          </p:val>
                                        </p:tav>
                                      </p:tavLst>
                                    </p:anim>
                                    <p:anim calcmode="lin" valueType="num">
                                      <p:cBhvr>
                                        <p:cTn id="76" dur="500" fill="hold"/>
                                        <p:tgtEl>
                                          <p:spTgt spid="54"/>
                                        </p:tgtEl>
                                        <p:attrNameLst>
                                          <p:attrName>ppt_h</p:attrName>
                                        </p:attrNameLst>
                                      </p:cBhvr>
                                      <p:tavLst>
                                        <p:tav tm="0">
                                          <p:val>
                                            <p:fltVal val="0"/>
                                          </p:val>
                                        </p:tav>
                                        <p:tav tm="100000">
                                          <p:val>
                                            <p:strVal val="#ppt_h"/>
                                          </p:val>
                                        </p:tav>
                                      </p:tavLst>
                                    </p:anim>
                                    <p:animEffect transition="in" filter="fade">
                                      <p:cBhvr>
                                        <p:cTn id="77" dur="500"/>
                                        <p:tgtEl>
                                          <p:spTgt spid="54"/>
                                        </p:tgtEl>
                                      </p:cBhvr>
                                    </p:animEffect>
                                  </p:childTnLst>
                                </p:cTn>
                              </p:par>
                            </p:childTnLst>
                          </p:cTn>
                        </p:par>
                        <p:par>
                          <p:cTn id="78" fill="hold">
                            <p:stCondLst>
                              <p:cond delay="7000"/>
                            </p:stCondLst>
                            <p:childTnLst>
                              <p:par>
                                <p:cTn id="79" presetID="53" presetClass="entr" presetSubtype="16" fill="hold" nodeType="afterEffect">
                                  <p:stCondLst>
                                    <p:cond delay="0"/>
                                  </p:stCondLst>
                                  <p:childTnLst>
                                    <p:set>
                                      <p:cBhvr>
                                        <p:cTn id="80" dur="1" fill="hold">
                                          <p:stCondLst>
                                            <p:cond delay="0"/>
                                          </p:stCondLst>
                                        </p:cTn>
                                        <p:tgtEl>
                                          <p:spTgt spid="34"/>
                                        </p:tgtEl>
                                        <p:attrNameLst>
                                          <p:attrName>style.visibility</p:attrName>
                                        </p:attrNameLst>
                                      </p:cBhvr>
                                      <p:to>
                                        <p:strVal val="visible"/>
                                      </p:to>
                                    </p:set>
                                    <p:anim calcmode="lin" valueType="num">
                                      <p:cBhvr>
                                        <p:cTn id="81" dur="500" fill="hold"/>
                                        <p:tgtEl>
                                          <p:spTgt spid="34"/>
                                        </p:tgtEl>
                                        <p:attrNameLst>
                                          <p:attrName>ppt_w</p:attrName>
                                        </p:attrNameLst>
                                      </p:cBhvr>
                                      <p:tavLst>
                                        <p:tav tm="0">
                                          <p:val>
                                            <p:fltVal val="0"/>
                                          </p:val>
                                        </p:tav>
                                        <p:tav tm="100000">
                                          <p:val>
                                            <p:strVal val="#ppt_w"/>
                                          </p:val>
                                        </p:tav>
                                      </p:tavLst>
                                    </p:anim>
                                    <p:anim calcmode="lin" valueType="num">
                                      <p:cBhvr>
                                        <p:cTn id="82" dur="500" fill="hold"/>
                                        <p:tgtEl>
                                          <p:spTgt spid="34"/>
                                        </p:tgtEl>
                                        <p:attrNameLst>
                                          <p:attrName>ppt_h</p:attrName>
                                        </p:attrNameLst>
                                      </p:cBhvr>
                                      <p:tavLst>
                                        <p:tav tm="0">
                                          <p:val>
                                            <p:fltVal val="0"/>
                                          </p:val>
                                        </p:tav>
                                        <p:tav tm="100000">
                                          <p:val>
                                            <p:strVal val="#ppt_h"/>
                                          </p:val>
                                        </p:tav>
                                      </p:tavLst>
                                    </p:anim>
                                    <p:animEffect transition="in" filter="fade">
                                      <p:cBhvr>
                                        <p:cTn id="83" dur="500"/>
                                        <p:tgtEl>
                                          <p:spTgt spid="3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73" grpId="0"/>
      <p:bldP spid="74" grpId="0"/>
      <p:bldP spid="75" grpId="0"/>
      <p:bldP spid="76" grpId="0"/>
      <p:bldP spid="77" grpId="0"/>
    </p:bldLst>
  </p:timing>
</p:sld>
</file>

<file path=ppt/slides/slide6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93CFC9EE-8285-47BF-901C-B926F7CBE896}"/>
              </a:ext>
            </a:extLst>
          </p:cNvPr>
          <p:cNvGrpSpPr/>
          <p:nvPr/>
        </p:nvGrpSpPr>
        <p:grpSpPr>
          <a:xfrm>
            <a:off x="1842733" y="2579079"/>
            <a:ext cx="1241296" cy="1066800"/>
            <a:chOff x="2571462" y="3146308"/>
            <a:chExt cx="1172379" cy="1007573"/>
          </a:xfrm>
        </p:grpSpPr>
        <p:grpSp>
          <p:nvGrpSpPr>
            <p:cNvPr id="3" name="Group 2">
              <a:extLst>
                <a:ext uri="{FF2B5EF4-FFF2-40B4-BE49-F238E27FC236}">
                  <a16:creationId xmlns:a16="http://schemas.microsoft.com/office/drawing/2014/main" id="{C0240909-4CBC-4D68-8EDB-D9381DDAEB48}"/>
                </a:ext>
              </a:extLst>
            </p:cNvPr>
            <p:cNvGrpSpPr/>
            <p:nvPr/>
          </p:nvGrpSpPr>
          <p:grpSpPr>
            <a:xfrm>
              <a:off x="2779663" y="3239831"/>
              <a:ext cx="251622" cy="346259"/>
              <a:chOff x="2779663" y="3239831"/>
              <a:chExt cx="251622" cy="346259"/>
            </a:xfrm>
          </p:grpSpPr>
          <p:sp>
            <p:nvSpPr>
              <p:cNvPr id="11" name="Freeform 16">
                <a:extLst>
                  <a:ext uri="{FF2B5EF4-FFF2-40B4-BE49-F238E27FC236}">
                    <a16:creationId xmlns:a16="http://schemas.microsoft.com/office/drawing/2014/main" id="{953F41E3-03A9-453F-B344-922423907DFD}"/>
                  </a:ext>
                </a:extLst>
              </p:cNvPr>
              <p:cNvSpPr>
                <a:spLocks/>
              </p:cNvSpPr>
              <p:nvPr/>
            </p:nvSpPr>
            <p:spPr bwMode="auto">
              <a:xfrm>
                <a:off x="2779663" y="3239831"/>
                <a:ext cx="251622" cy="263869"/>
              </a:xfrm>
              <a:custGeom>
                <a:avLst/>
                <a:gdLst>
                  <a:gd name="T0" fmla="*/ 4 w 46"/>
                  <a:gd name="T1" fmla="*/ 0 h 48"/>
                  <a:gd name="T2" fmla="*/ 10 w 46"/>
                  <a:gd name="T3" fmla="*/ 7 h 48"/>
                  <a:gd name="T4" fmla="*/ 36 w 46"/>
                  <a:gd name="T5" fmla="*/ 19 h 48"/>
                  <a:gd name="T6" fmla="*/ 42 w 46"/>
                  <a:gd name="T7" fmla="*/ 39 h 48"/>
                  <a:gd name="T8" fmla="*/ 37 w 46"/>
                  <a:gd name="T9" fmla="*/ 42 h 48"/>
                  <a:gd name="T10" fmla="*/ 29 w 46"/>
                  <a:gd name="T11" fmla="*/ 47 h 48"/>
                  <a:gd name="T12" fmla="*/ 4 w 46"/>
                  <a:gd name="T13" fmla="*/ 0 h 48"/>
                </a:gdLst>
                <a:ahLst/>
                <a:cxnLst>
                  <a:cxn ang="0">
                    <a:pos x="T0" y="T1"/>
                  </a:cxn>
                  <a:cxn ang="0">
                    <a:pos x="T2" y="T3"/>
                  </a:cxn>
                  <a:cxn ang="0">
                    <a:pos x="T4" y="T5"/>
                  </a:cxn>
                  <a:cxn ang="0">
                    <a:pos x="T6" y="T7"/>
                  </a:cxn>
                  <a:cxn ang="0">
                    <a:pos x="T8" y="T9"/>
                  </a:cxn>
                  <a:cxn ang="0">
                    <a:pos x="T10" y="T11"/>
                  </a:cxn>
                  <a:cxn ang="0">
                    <a:pos x="T12" y="T13"/>
                  </a:cxn>
                </a:cxnLst>
                <a:rect l="0" t="0" r="r" b="b"/>
                <a:pathLst>
                  <a:path w="46" h="48">
                    <a:moveTo>
                      <a:pt x="4" y="0"/>
                    </a:moveTo>
                    <a:cubicBezTo>
                      <a:pt x="4" y="0"/>
                      <a:pt x="5" y="4"/>
                      <a:pt x="10" y="7"/>
                    </a:cubicBezTo>
                    <a:cubicBezTo>
                      <a:pt x="15" y="10"/>
                      <a:pt x="27" y="11"/>
                      <a:pt x="36" y="19"/>
                    </a:cubicBezTo>
                    <a:cubicBezTo>
                      <a:pt x="46" y="27"/>
                      <a:pt x="44" y="36"/>
                      <a:pt x="42" y="39"/>
                    </a:cubicBezTo>
                    <a:cubicBezTo>
                      <a:pt x="41" y="42"/>
                      <a:pt x="37" y="42"/>
                      <a:pt x="37" y="42"/>
                    </a:cubicBezTo>
                    <a:cubicBezTo>
                      <a:pt x="37" y="42"/>
                      <a:pt x="37" y="48"/>
                      <a:pt x="29" y="47"/>
                    </a:cubicBezTo>
                    <a:cubicBezTo>
                      <a:pt x="0" y="37"/>
                      <a:pt x="4" y="0"/>
                      <a:pt x="4" y="0"/>
                    </a:cubicBezTo>
                    <a:close/>
                  </a:path>
                </a:pathLst>
              </a:custGeom>
              <a:solidFill>
                <a:srgbClr val="8BC5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12" name="Freeform 17">
                <a:extLst>
                  <a:ext uri="{FF2B5EF4-FFF2-40B4-BE49-F238E27FC236}">
                    <a16:creationId xmlns:a16="http://schemas.microsoft.com/office/drawing/2014/main" id="{770936D0-60C2-4D21-993D-3B96D156E9F4}"/>
                  </a:ext>
                </a:extLst>
              </p:cNvPr>
              <p:cNvSpPr>
                <a:spLocks/>
              </p:cNvSpPr>
              <p:nvPr/>
            </p:nvSpPr>
            <p:spPr bwMode="auto">
              <a:xfrm>
                <a:off x="2888773" y="3360075"/>
                <a:ext cx="131378" cy="226015"/>
              </a:xfrm>
              <a:custGeom>
                <a:avLst/>
                <a:gdLst>
                  <a:gd name="T0" fmla="*/ 0 w 24"/>
                  <a:gd name="T1" fmla="*/ 0 h 41"/>
                  <a:gd name="T2" fmla="*/ 16 w 24"/>
                  <a:gd name="T3" fmla="*/ 21 h 41"/>
                  <a:gd name="T4" fmla="*/ 18 w 24"/>
                  <a:gd name="T5" fmla="*/ 41 h 41"/>
                  <a:gd name="T6" fmla="*/ 20 w 24"/>
                  <a:gd name="T7" fmla="*/ 20 h 41"/>
                  <a:gd name="T8" fmla="*/ 0 w 24"/>
                  <a:gd name="T9" fmla="*/ 0 h 41"/>
                </a:gdLst>
                <a:ahLst/>
                <a:cxnLst>
                  <a:cxn ang="0">
                    <a:pos x="T0" y="T1"/>
                  </a:cxn>
                  <a:cxn ang="0">
                    <a:pos x="T2" y="T3"/>
                  </a:cxn>
                  <a:cxn ang="0">
                    <a:pos x="T4" y="T5"/>
                  </a:cxn>
                  <a:cxn ang="0">
                    <a:pos x="T6" y="T7"/>
                  </a:cxn>
                  <a:cxn ang="0">
                    <a:pos x="T8" y="T9"/>
                  </a:cxn>
                </a:cxnLst>
                <a:rect l="0" t="0" r="r" b="b"/>
                <a:pathLst>
                  <a:path w="24" h="41">
                    <a:moveTo>
                      <a:pt x="0" y="0"/>
                    </a:moveTo>
                    <a:cubicBezTo>
                      <a:pt x="0" y="0"/>
                      <a:pt x="11" y="11"/>
                      <a:pt x="16" y="21"/>
                    </a:cubicBezTo>
                    <a:cubicBezTo>
                      <a:pt x="21" y="31"/>
                      <a:pt x="18" y="41"/>
                      <a:pt x="18" y="41"/>
                    </a:cubicBezTo>
                    <a:cubicBezTo>
                      <a:pt x="18" y="41"/>
                      <a:pt x="24" y="29"/>
                      <a:pt x="20" y="20"/>
                    </a:cubicBezTo>
                    <a:cubicBezTo>
                      <a:pt x="15" y="11"/>
                      <a:pt x="0" y="0"/>
                      <a:pt x="0" y="0"/>
                    </a:cubicBezTo>
                    <a:close/>
                  </a:path>
                </a:pathLst>
              </a:custGeom>
              <a:solidFill>
                <a:srgbClr val="A27729"/>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grpSp>
        <p:grpSp>
          <p:nvGrpSpPr>
            <p:cNvPr id="4" name="Group 3">
              <a:extLst>
                <a:ext uri="{FF2B5EF4-FFF2-40B4-BE49-F238E27FC236}">
                  <a16:creationId xmlns:a16="http://schemas.microsoft.com/office/drawing/2014/main" id="{5C84662A-AB21-434F-81E3-CBE05C856C19}"/>
                </a:ext>
              </a:extLst>
            </p:cNvPr>
            <p:cNvGrpSpPr/>
            <p:nvPr/>
          </p:nvGrpSpPr>
          <p:grpSpPr>
            <a:xfrm>
              <a:off x="2954461" y="3146308"/>
              <a:ext cx="789380" cy="560025"/>
              <a:chOff x="2954461" y="3146308"/>
              <a:chExt cx="789380" cy="560025"/>
            </a:xfrm>
          </p:grpSpPr>
          <p:sp>
            <p:nvSpPr>
              <p:cNvPr id="9" name="Freeform 18">
                <a:extLst>
                  <a:ext uri="{FF2B5EF4-FFF2-40B4-BE49-F238E27FC236}">
                    <a16:creationId xmlns:a16="http://schemas.microsoft.com/office/drawing/2014/main" id="{34877C3A-9838-4F2F-B5CE-6CDC86307679}"/>
                  </a:ext>
                </a:extLst>
              </p:cNvPr>
              <p:cNvSpPr>
                <a:spLocks/>
              </p:cNvSpPr>
              <p:nvPr/>
            </p:nvSpPr>
            <p:spPr bwMode="auto">
              <a:xfrm>
                <a:off x="3047984" y="3146308"/>
                <a:ext cx="695857" cy="472069"/>
              </a:xfrm>
              <a:custGeom>
                <a:avLst/>
                <a:gdLst>
                  <a:gd name="T0" fmla="*/ 127 w 127"/>
                  <a:gd name="T1" fmla="*/ 0 h 86"/>
                  <a:gd name="T2" fmla="*/ 106 w 127"/>
                  <a:gd name="T3" fmla="*/ 8 h 86"/>
                  <a:gd name="T4" fmla="*/ 35 w 127"/>
                  <a:gd name="T5" fmla="*/ 7 h 86"/>
                  <a:gd name="T6" fmla="*/ 0 w 127"/>
                  <a:gd name="T7" fmla="*/ 46 h 86"/>
                  <a:gd name="T8" fmla="*/ 9 w 127"/>
                  <a:gd name="T9" fmla="*/ 58 h 86"/>
                  <a:gd name="T10" fmla="*/ 23 w 127"/>
                  <a:gd name="T11" fmla="*/ 76 h 86"/>
                  <a:gd name="T12" fmla="*/ 127 w 127"/>
                  <a:gd name="T13" fmla="*/ 0 h 86"/>
                </a:gdLst>
                <a:ahLst/>
                <a:cxnLst>
                  <a:cxn ang="0">
                    <a:pos x="T0" y="T1"/>
                  </a:cxn>
                  <a:cxn ang="0">
                    <a:pos x="T2" y="T3"/>
                  </a:cxn>
                  <a:cxn ang="0">
                    <a:pos x="T4" y="T5"/>
                  </a:cxn>
                  <a:cxn ang="0">
                    <a:pos x="T6" y="T7"/>
                  </a:cxn>
                  <a:cxn ang="0">
                    <a:pos x="T8" y="T9"/>
                  </a:cxn>
                  <a:cxn ang="0">
                    <a:pos x="T10" y="T11"/>
                  </a:cxn>
                  <a:cxn ang="0">
                    <a:pos x="T12" y="T13"/>
                  </a:cxn>
                </a:cxnLst>
                <a:rect l="0" t="0" r="r" b="b"/>
                <a:pathLst>
                  <a:path w="127" h="86">
                    <a:moveTo>
                      <a:pt x="127" y="0"/>
                    </a:moveTo>
                    <a:cubicBezTo>
                      <a:pt x="127" y="0"/>
                      <a:pt x="120" y="7"/>
                      <a:pt x="106" y="8"/>
                    </a:cubicBezTo>
                    <a:cubicBezTo>
                      <a:pt x="91" y="9"/>
                      <a:pt x="63" y="0"/>
                      <a:pt x="35" y="7"/>
                    </a:cubicBezTo>
                    <a:cubicBezTo>
                      <a:pt x="7" y="14"/>
                      <a:pt x="1" y="38"/>
                      <a:pt x="0" y="46"/>
                    </a:cubicBezTo>
                    <a:cubicBezTo>
                      <a:pt x="0" y="54"/>
                      <a:pt x="9" y="58"/>
                      <a:pt x="9" y="58"/>
                    </a:cubicBezTo>
                    <a:cubicBezTo>
                      <a:pt x="9" y="58"/>
                      <a:pt x="2" y="70"/>
                      <a:pt x="23" y="76"/>
                    </a:cubicBezTo>
                    <a:cubicBezTo>
                      <a:pt x="96" y="86"/>
                      <a:pt x="127" y="0"/>
                      <a:pt x="127" y="0"/>
                    </a:cubicBezTo>
                    <a:close/>
                  </a:path>
                </a:pathLst>
              </a:custGeom>
              <a:solidFill>
                <a:srgbClr val="8BC5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10" name="Freeform 19">
                <a:extLst>
                  <a:ext uri="{FF2B5EF4-FFF2-40B4-BE49-F238E27FC236}">
                    <a16:creationId xmlns:a16="http://schemas.microsoft.com/office/drawing/2014/main" id="{17664EE3-029B-43F9-BEBC-4AF9607648F7}"/>
                  </a:ext>
                </a:extLst>
              </p:cNvPr>
              <p:cNvSpPr>
                <a:spLocks/>
              </p:cNvSpPr>
              <p:nvPr/>
            </p:nvSpPr>
            <p:spPr bwMode="auto">
              <a:xfrm>
                <a:off x="2954461" y="3338921"/>
                <a:ext cx="421967" cy="367412"/>
              </a:xfrm>
              <a:custGeom>
                <a:avLst/>
                <a:gdLst>
                  <a:gd name="T0" fmla="*/ 77 w 77"/>
                  <a:gd name="T1" fmla="*/ 0 h 67"/>
                  <a:gd name="T2" fmla="*/ 28 w 77"/>
                  <a:gd name="T3" fmla="*/ 25 h 67"/>
                  <a:gd name="T4" fmla="*/ 0 w 77"/>
                  <a:gd name="T5" fmla="*/ 67 h 67"/>
                  <a:gd name="T6" fmla="*/ 21 w 77"/>
                  <a:gd name="T7" fmla="*/ 20 h 67"/>
                  <a:gd name="T8" fmla="*/ 77 w 77"/>
                  <a:gd name="T9" fmla="*/ 0 h 67"/>
                </a:gdLst>
                <a:ahLst/>
                <a:cxnLst>
                  <a:cxn ang="0">
                    <a:pos x="T0" y="T1"/>
                  </a:cxn>
                  <a:cxn ang="0">
                    <a:pos x="T2" y="T3"/>
                  </a:cxn>
                  <a:cxn ang="0">
                    <a:pos x="T4" y="T5"/>
                  </a:cxn>
                  <a:cxn ang="0">
                    <a:pos x="T6" y="T7"/>
                  </a:cxn>
                  <a:cxn ang="0">
                    <a:pos x="T8" y="T9"/>
                  </a:cxn>
                </a:cxnLst>
                <a:rect l="0" t="0" r="r" b="b"/>
                <a:pathLst>
                  <a:path w="77" h="67">
                    <a:moveTo>
                      <a:pt x="77" y="0"/>
                    </a:moveTo>
                    <a:cubicBezTo>
                      <a:pt x="77" y="0"/>
                      <a:pt x="49" y="9"/>
                      <a:pt x="28" y="25"/>
                    </a:cubicBezTo>
                    <a:cubicBezTo>
                      <a:pt x="6" y="41"/>
                      <a:pt x="0" y="67"/>
                      <a:pt x="0" y="67"/>
                    </a:cubicBezTo>
                    <a:cubicBezTo>
                      <a:pt x="0" y="67"/>
                      <a:pt x="1" y="34"/>
                      <a:pt x="21" y="20"/>
                    </a:cubicBezTo>
                    <a:cubicBezTo>
                      <a:pt x="41" y="5"/>
                      <a:pt x="77" y="0"/>
                      <a:pt x="77" y="0"/>
                    </a:cubicBezTo>
                    <a:close/>
                  </a:path>
                </a:pathLst>
              </a:custGeom>
              <a:solidFill>
                <a:srgbClr val="A27729"/>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grpSp>
        <p:grpSp>
          <p:nvGrpSpPr>
            <p:cNvPr id="5" name="Group 4">
              <a:extLst>
                <a:ext uri="{FF2B5EF4-FFF2-40B4-BE49-F238E27FC236}">
                  <a16:creationId xmlns:a16="http://schemas.microsoft.com/office/drawing/2014/main" id="{2DEAC893-6D7F-4183-BBE6-94CA3949C4B9}"/>
                </a:ext>
              </a:extLst>
            </p:cNvPr>
            <p:cNvGrpSpPr/>
            <p:nvPr/>
          </p:nvGrpSpPr>
          <p:grpSpPr>
            <a:xfrm>
              <a:off x="2577029" y="3393476"/>
              <a:ext cx="399700" cy="291703"/>
              <a:chOff x="2577029" y="3393476"/>
              <a:chExt cx="399700" cy="291703"/>
            </a:xfrm>
          </p:grpSpPr>
          <p:sp>
            <p:nvSpPr>
              <p:cNvPr id="7" name="Freeform 21">
                <a:extLst>
                  <a:ext uri="{FF2B5EF4-FFF2-40B4-BE49-F238E27FC236}">
                    <a16:creationId xmlns:a16="http://schemas.microsoft.com/office/drawing/2014/main" id="{F4ACC438-8479-4066-AE00-F96BE790F7D8}"/>
                  </a:ext>
                </a:extLst>
              </p:cNvPr>
              <p:cNvSpPr>
                <a:spLocks/>
              </p:cNvSpPr>
              <p:nvPr/>
            </p:nvSpPr>
            <p:spPr bwMode="auto">
              <a:xfrm>
                <a:off x="2577029" y="3393476"/>
                <a:ext cx="306177" cy="291703"/>
              </a:xfrm>
              <a:custGeom>
                <a:avLst/>
                <a:gdLst>
                  <a:gd name="T0" fmla="*/ 0 w 56"/>
                  <a:gd name="T1" fmla="*/ 3 h 53"/>
                  <a:gd name="T2" fmla="*/ 8 w 56"/>
                  <a:gd name="T3" fmla="*/ 11 h 53"/>
                  <a:gd name="T4" fmla="*/ 21 w 56"/>
                  <a:gd name="T5" fmla="*/ 42 h 53"/>
                  <a:gd name="T6" fmla="*/ 45 w 56"/>
                  <a:gd name="T7" fmla="*/ 49 h 53"/>
                  <a:gd name="T8" fmla="*/ 49 w 56"/>
                  <a:gd name="T9" fmla="*/ 43 h 53"/>
                  <a:gd name="T10" fmla="*/ 54 w 56"/>
                  <a:gd name="T11" fmla="*/ 34 h 53"/>
                  <a:gd name="T12" fmla="*/ 0 w 56"/>
                  <a:gd name="T13" fmla="*/ 3 h 53"/>
                </a:gdLst>
                <a:ahLst/>
                <a:cxnLst>
                  <a:cxn ang="0">
                    <a:pos x="T0" y="T1"/>
                  </a:cxn>
                  <a:cxn ang="0">
                    <a:pos x="T2" y="T3"/>
                  </a:cxn>
                  <a:cxn ang="0">
                    <a:pos x="T4" y="T5"/>
                  </a:cxn>
                  <a:cxn ang="0">
                    <a:pos x="T6" y="T7"/>
                  </a:cxn>
                  <a:cxn ang="0">
                    <a:pos x="T8" y="T9"/>
                  </a:cxn>
                  <a:cxn ang="0">
                    <a:pos x="T10" y="T11"/>
                  </a:cxn>
                  <a:cxn ang="0">
                    <a:pos x="T12" y="T13"/>
                  </a:cxn>
                </a:cxnLst>
                <a:rect l="0" t="0" r="r" b="b"/>
                <a:pathLst>
                  <a:path w="56" h="53">
                    <a:moveTo>
                      <a:pt x="0" y="3"/>
                    </a:moveTo>
                    <a:cubicBezTo>
                      <a:pt x="0" y="3"/>
                      <a:pt x="5" y="4"/>
                      <a:pt x="8" y="11"/>
                    </a:cubicBezTo>
                    <a:cubicBezTo>
                      <a:pt x="11" y="17"/>
                      <a:pt x="13" y="31"/>
                      <a:pt x="21" y="42"/>
                    </a:cubicBezTo>
                    <a:cubicBezTo>
                      <a:pt x="30" y="53"/>
                      <a:pt x="42" y="51"/>
                      <a:pt x="45" y="49"/>
                    </a:cubicBezTo>
                    <a:cubicBezTo>
                      <a:pt x="49" y="48"/>
                      <a:pt x="49" y="43"/>
                      <a:pt x="49" y="43"/>
                    </a:cubicBezTo>
                    <a:cubicBezTo>
                      <a:pt x="49" y="43"/>
                      <a:pt x="56" y="44"/>
                      <a:pt x="54" y="34"/>
                    </a:cubicBezTo>
                    <a:cubicBezTo>
                      <a:pt x="44" y="0"/>
                      <a:pt x="0" y="3"/>
                      <a:pt x="0" y="3"/>
                    </a:cubicBezTo>
                    <a:close/>
                  </a:path>
                </a:pathLst>
              </a:custGeom>
              <a:solidFill>
                <a:srgbClr val="8BC5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8" name="Freeform 22">
                <a:extLst>
                  <a:ext uri="{FF2B5EF4-FFF2-40B4-BE49-F238E27FC236}">
                    <a16:creationId xmlns:a16="http://schemas.microsoft.com/office/drawing/2014/main" id="{4F7A8765-C5B1-41CE-9599-77932E64619D}"/>
                  </a:ext>
                </a:extLst>
              </p:cNvPr>
              <p:cNvSpPr>
                <a:spLocks/>
              </p:cNvSpPr>
              <p:nvPr/>
            </p:nvSpPr>
            <p:spPr bwMode="auto">
              <a:xfrm>
                <a:off x="2736241" y="3530420"/>
                <a:ext cx="240488" cy="149192"/>
              </a:xfrm>
              <a:custGeom>
                <a:avLst/>
                <a:gdLst>
                  <a:gd name="T0" fmla="*/ 0 w 44"/>
                  <a:gd name="T1" fmla="*/ 0 h 27"/>
                  <a:gd name="T2" fmla="*/ 20 w 44"/>
                  <a:gd name="T3" fmla="*/ 17 h 27"/>
                  <a:gd name="T4" fmla="*/ 44 w 44"/>
                  <a:gd name="T5" fmla="*/ 21 h 27"/>
                  <a:gd name="T6" fmla="*/ 19 w 44"/>
                  <a:gd name="T7" fmla="*/ 21 h 27"/>
                  <a:gd name="T8" fmla="*/ 0 w 44"/>
                  <a:gd name="T9" fmla="*/ 0 h 27"/>
                </a:gdLst>
                <a:ahLst/>
                <a:cxnLst>
                  <a:cxn ang="0">
                    <a:pos x="T0" y="T1"/>
                  </a:cxn>
                  <a:cxn ang="0">
                    <a:pos x="T2" y="T3"/>
                  </a:cxn>
                  <a:cxn ang="0">
                    <a:pos x="T4" y="T5"/>
                  </a:cxn>
                  <a:cxn ang="0">
                    <a:pos x="T6" y="T7"/>
                  </a:cxn>
                  <a:cxn ang="0">
                    <a:pos x="T8" y="T9"/>
                  </a:cxn>
                </a:cxnLst>
                <a:rect l="0" t="0" r="r" b="b"/>
                <a:pathLst>
                  <a:path w="44" h="27">
                    <a:moveTo>
                      <a:pt x="0" y="0"/>
                    </a:moveTo>
                    <a:cubicBezTo>
                      <a:pt x="0" y="0"/>
                      <a:pt x="9" y="11"/>
                      <a:pt x="20" y="17"/>
                    </a:cubicBezTo>
                    <a:cubicBezTo>
                      <a:pt x="31" y="24"/>
                      <a:pt x="44" y="21"/>
                      <a:pt x="44" y="21"/>
                    </a:cubicBezTo>
                    <a:cubicBezTo>
                      <a:pt x="44" y="21"/>
                      <a:pt x="30" y="27"/>
                      <a:pt x="19" y="21"/>
                    </a:cubicBezTo>
                    <a:cubicBezTo>
                      <a:pt x="9" y="15"/>
                      <a:pt x="0" y="0"/>
                      <a:pt x="0" y="0"/>
                    </a:cubicBezTo>
                    <a:close/>
                  </a:path>
                </a:pathLst>
              </a:custGeom>
              <a:solidFill>
                <a:srgbClr val="A27729"/>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grpSp>
        <p:sp>
          <p:nvSpPr>
            <p:cNvPr id="6" name="Freeform 26">
              <a:extLst>
                <a:ext uri="{FF2B5EF4-FFF2-40B4-BE49-F238E27FC236}">
                  <a16:creationId xmlns:a16="http://schemas.microsoft.com/office/drawing/2014/main" id="{0B9D9039-A6F9-4CB7-B64E-A3F8B05E7204}"/>
                </a:ext>
              </a:extLst>
            </p:cNvPr>
            <p:cNvSpPr>
              <a:spLocks noEditPoints="1"/>
            </p:cNvSpPr>
            <p:nvPr/>
          </p:nvSpPr>
          <p:spPr bwMode="auto">
            <a:xfrm>
              <a:off x="2571462" y="3639531"/>
              <a:ext cx="735012" cy="514350"/>
            </a:xfrm>
            <a:custGeom>
              <a:avLst/>
              <a:gdLst>
                <a:gd name="T0" fmla="*/ 136 w 193"/>
                <a:gd name="T1" fmla="*/ 15 h 134"/>
                <a:gd name="T2" fmla="*/ 108 w 193"/>
                <a:gd name="T3" fmla="*/ 4 h 134"/>
                <a:gd name="T4" fmla="*/ 90 w 193"/>
                <a:gd name="T5" fmla="*/ 6 h 134"/>
                <a:gd name="T6" fmla="*/ 73 w 193"/>
                <a:gd name="T7" fmla="*/ 24 h 134"/>
                <a:gd name="T8" fmla="*/ 27 w 193"/>
                <a:gd name="T9" fmla="*/ 40 h 134"/>
                <a:gd name="T10" fmla="*/ 59 w 193"/>
                <a:gd name="T11" fmla="*/ 31 h 134"/>
                <a:gd name="T12" fmla="*/ 23 w 193"/>
                <a:gd name="T13" fmla="*/ 68 h 134"/>
                <a:gd name="T14" fmla="*/ 40 w 193"/>
                <a:gd name="T15" fmla="*/ 51 h 134"/>
                <a:gd name="T16" fmla="*/ 25 w 193"/>
                <a:gd name="T17" fmla="*/ 96 h 134"/>
                <a:gd name="T18" fmla="*/ 32 w 193"/>
                <a:gd name="T19" fmla="*/ 72 h 134"/>
                <a:gd name="T20" fmla="*/ 46 w 193"/>
                <a:gd name="T21" fmla="*/ 65 h 134"/>
                <a:gd name="T22" fmla="*/ 45 w 193"/>
                <a:gd name="T23" fmla="*/ 72 h 134"/>
                <a:gd name="T24" fmla="*/ 65 w 193"/>
                <a:gd name="T25" fmla="*/ 36 h 134"/>
                <a:gd name="T26" fmla="*/ 27 w 193"/>
                <a:gd name="T27" fmla="*/ 119 h 134"/>
                <a:gd name="T28" fmla="*/ 45 w 193"/>
                <a:gd name="T29" fmla="*/ 99 h 134"/>
                <a:gd name="T30" fmla="*/ 48 w 193"/>
                <a:gd name="T31" fmla="*/ 101 h 134"/>
                <a:gd name="T32" fmla="*/ 49 w 193"/>
                <a:gd name="T33" fmla="*/ 101 h 134"/>
                <a:gd name="T34" fmla="*/ 59 w 193"/>
                <a:gd name="T35" fmla="*/ 56 h 134"/>
                <a:gd name="T36" fmla="*/ 83 w 193"/>
                <a:gd name="T37" fmla="*/ 32 h 134"/>
                <a:gd name="T38" fmla="*/ 76 w 193"/>
                <a:gd name="T39" fmla="*/ 41 h 134"/>
                <a:gd name="T40" fmla="*/ 68 w 193"/>
                <a:gd name="T41" fmla="*/ 79 h 134"/>
                <a:gd name="T42" fmla="*/ 75 w 193"/>
                <a:gd name="T43" fmla="*/ 74 h 134"/>
                <a:gd name="T44" fmla="*/ 75 w 193"/>
                <a:gd name="T45" fmla="*/ 67 h 134"/>
                <a:gd name="T46" fmla="*/ 78 w 193"/>
                <a:gd name="T47" fmla="*/ 41 h 134"/>
                <a:gd name="T48" fmla="*/ 80 w 193"/>
                <a:gd name="T49" fmla="*/ 52 h 134"/>
                <a:gd name="T50" fmla="*/ 76 w 193"/>
                <a:gd name="T51" fmla="*/ 67 h 134"/>
                <a:gd name="T52" fmla="*/ 79 w 193"/>
                <a:gd name="T53" fmla="*/ 75 h 134"/>
                <a:gd name="T54" fmla="*/ 85 w 193"/>
                <a:gd name="T55" fmla="*/ 35 h 134"/>
                <a:gd name="T56" fmla="*/ 90 w 193"/>
                <a:gd name="T57" fmla="*/ 28 h 134"/>
                <a:gd name="T58" fmla="*/ 87 w 193"/>
                <a:gd name="T59" fmla="*/ 48 h 134"/>
                <a:gd name="T60" fmla="*/ 96 w 193"/>
                <a:gd name="T61" fmla="*/ 20 h 134"/>
                <a:gd name="T62" fmla="*/ 97 w 193"/>
                <a:gd name="T63" fmla="*/ 19 h 134"/>
                <a:gd name="T64" fmla="*/ 104 w 193"/>
                <a:gd name="T65" fmla="*/ 42 h 134"/>
                <a:gd name="T66" fmla="*/ 98 w 193"/>
                <a:gd name="T67" fmla="*/ 61 h 134"/>
                <a:gd name="T68" fmla="*/ 105 w 193"/>
                <a:gd name="T69" fmla="*/ 53 h 134"/>
                <a:gd name="T70" fmla="*/ 108 w 193"/>
                <a:gd name="T71" fmla="*/ 69 h 134"/>
                <a:gd name="T72" fmla="*/ 111 w 193"/>
                <a:gd name="T73" fmla="*/ 70 h 134"/>
                <a:gd name="T74" fmla="*/ 116 w 193"/>
                <a:gd name="T75" fmla="*/ 25 h 134"/>
                <a:gd name="T76" fmla="*/ 117 w 193"/>
                <a:gd name="T77" fmla="*/ 54 h 134"/>
                <a:gd name="T78" fmla="*/ 121 w 193"/>
                <a:gd name="T79" fmla="*/ 30 h 134"/>
                <a:gd name="T80" fmla="*/ 139 w 193"/>
                <a:gd name="T81" fmla="*/ 64 h 134"/>
                <a:gd name="T82" fmla="*/ 138 w 193"/>
                <a:gd name="T83" fmla="*/ 97 h 134"/>
                <a:gd name="T84" fmla="*/ 150 w 193"/>
                <a:gd name="T85" fmla="*/ 126 h 134"/>
                <a:gd name="T86" fmla="*/ 146 w 193"/>
                <a:gd name="T87" fmla="*/ 84 h 134"/>
                <a:gd name="T88" fmla="*/ 157 w 193"/>
                <a:gd name="T89" fmla="*/ 90 h 134"/>
                <a:gd name="T90" fmla="*/ 132 w 193"/>
                <a:gd name="T91" fmla="*/ 31 h 134"/>
                <a:gd name="T92" fmla="*/ 128 w 193"/>
                <a:gd name="T93" fmla="*/ 28 h 134"/>
                <a:gd name="T94" fmla="*/ 142 w 193"/>
                <a:gd name="T95" fmla="*/ 50 h 134"/>
                <a:gd name="T96" fmla="*/ 146 w 193"/>
                <a:gd name="T97" fmla="*/ 57 h 134"/>
                <a:gd name="T98" fmla="*/ 147 w 193"/>
                <a:gd name="T99" fmla="*/ 39 h 134"/>
                <a:gd name="T100" fmla="*/ 166 w 193"/>
                <a:gd name="T101" fmla="*/ 83 h 134"/>
                <a:gd name="T102" fmla="*/ 175 w 193"/>
                <a:gd name="T103" fmla="*/ 74 h 134"/>
                <a:gd name="T104" fmla="*/ 161 w 193"/>
                <a:gd name="T105" fmla="*/ 48 h 134"/>
                <a:gd name="T106" fmla="*/ 175 w 193"/>
                <a:gd name="T107" fmla="*/ 47 h 134"/>
                <a:gd name="T108" fmla="*/ 160 w 193"/>
                <a:gd name="T109" fmla="*/ 30 h 134"/>
                <a:gd name="T110" fmla="*/ 83 w 193"/>
                <a:gd name="T111" fmla="*/ 43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93" h="134">
                  <a:moveTo>
                    <a:pt x="166" y="32"/>
                  </a:moveTo>
                  <a:cubicBezTo>
                    <a:pt x="175" y="34"/>
                    <a:pt x="184" y="25"/>
                    <a:pt x="193" y="34"/>
                  </a:cubicBezTo>
                  <a:cubicBezTo>
                    <a:pt x="184" y="23"/>
                    <a:pt x="174" y="31"/>
                    <a:pt x="164" y="27"/>
                  </a:cubicBezTo>
                  <a:cubicBezTo>
                    <a:pt x="155" y="23"/>
                    <a:pt x="145" y="17"/>
                    <a:pt x="136" y="15"/>
                  </a:cubicBezTo>
                  <a:cubicBezTo>
                    <a:pt x="131" y="14"/>
                    <a:pt x="125" y="18"/>
                    <a:pt x="120" y="16"/>
                  </a:cubicBezTo>
                  <a:cubicBezTo>
                    <a:pt x="117" y="15"/>
                    <a:pt x="115" y="13"/>
                    <a:pt x="113" y="11"/>
                  </a:cubicBezTo>
                  <a:cubicBezTo>
                    <a:pt x="113" y="8"/>
                    <a:pt x="111" y="5"/>
                    <a:pt x="108" y="4"/>
                  </a:cubicBezTo>
                  <a:cubicBezTo>
                    <a:pt x="108" y="4"/>
                    <a:pt x="108" y="4"/>
                    <a:pt x="108" y="4"/>
                  </a:cubicBezTo>
                  <a:cubicBezTo>
                    <a:pt x="107" y="3"/>
                    <a:pt x="105" y="2"/>
                    <a:pt x="104" y="1"/>
                  </a:cubicBezTo>
                  <a:cubicBezTo>
                    <a:pt x="103" y="1"/>
                    <a:pt x="103" y="1"/>
                    <a:pt x="103" y="1"/>
                  </a:cubicBezTo>
                  <a:cubicBezTo>
                    <a:pt x="103" y="1"/>
                    <a:pt x="103" y="1"/>
                    <a:pt x="103" y="1"/>
                  </a:cubicBezTo>
                  <a:cubicBezTo>
                    <a:pt x="99" y="0"/>
                    <a:pt x="94" y="2"/>
                    <a:pt x="90" y="6"/>
                  </a:cubicBezTo>
                  <a:cubicBezTo>
                    <a:pt x="89" y="7"/>
                    <a:pt x="89" y="7"/>
                    <a:pt x="88" y="8"/>
                  </a:cubicBezTo>
                  <a:cubicBezTo>
                    <a:pt x="88" y="9"/>
                    <a:pt x="88" y="9"/>
                    <a:pt x="88" y="10"/>
                  </a:cubicBezTo>
                  <a:cubicBezTo>
                    <a:pt x="88" y="10"/>
                    <a:pt x="88" y="10"/>
                    <a:pt x="87" y="11"/>
                  </a:cubicBezTo>
                  <a:cubicBezTo>
                    <a:pt x="82" y="16"/>
                    <a:pt x="78" y="22"/>
                    <a:pt x="73" y="24"/>
                  </a:cubicBezTo>
                  <a:cubicBezTo>
                    <a:pt x="67" y="26"/>
                    <a:pt x="62" y="22"/>
                    <a:pt x="56" y="23"/>
                  </a:cubicBezTo>
                  <a:cubicBezTo>
                    <a:pt x="47" y="25"/>
                    <a:pt x="38" y="31"/>
                    <a:pt x="28" y="35"/>
                  </a:cubicBezTo>
                  <a:cubicBezTo>
                    <a:pt x="19" y="39"/>
                    <a:pt x="9" y="31"/>
                    <a:pt x="0" y="42"/>
                  </a:cubicBezTo>
                  <a:cubicBezTo>
                    <a:pt x="8" y="33"/>
                    <a:pt x="17" y="42"/>
                    <a:pt x="27" y="40"/>
                  </a:cubicBezTo>
                  <a:cubicBezTo>
                    <a:pt x="21" y="46"/>
                    <a:pt x="15" y="53"/>
                    <a:pt x="9" y="52"/>
                  </a:cubicBezTo>
                  <a:cubicBezTo>
                    <a:pt x="17" y="54"/>
                    <a:pt x="24" y="43"/>
                    <a:pt x="32" y="38"/>
                  </a:cubicBezTo>
                  <a:cubicBezTo>
                    <a:pt x="36" y="36"/>
                    <a:pt x="41" y="35"/>
                    <a:pt x="45" y="34"/>
                  </a:cubicBezTo>
                  <a:cubicBezTo>
                    <a:pt x="49" y="32"/>
                    <a:pt x="54" y="31"/>
                    <a:pt x="59" y="31"/>
                  </a:cubicBezTo>
                  <a:cubicBezTo>
                    <a:pt x="51" y="36"/>
                    <a:pt x="44" y="46"/>
                    <a:pt x="36" y="51"/>
                  </a:cubicBezTo>
                  <a:cubicBezTo>
                    <a:pt x="30" y="55"/>
                    <a:pt x="24" y="56"/>
                    <a:pt x="17" y="55"/>
                  </a:cubicBezTo>
                  <a:cubicBezTo>
                    <a:pt x="22" y="56"/>
                    <a:pt x="26" y="57"/>
                    <a:pt x="31" y="56"/>
                  </a:cubicBezTo>
                  <a:cubicBezTo>
                    <a:pt x="30" y="63"/>
                    <a:pt x="26" y="66"/>
                    <a:pt x="23" y="68"/>
                  </a:cubicBezTo>
                  <a:cubicBezTo>
                    <a:pt x="26" y="67"/>
                    <a:pt x="29" y="65"/>
                    <a:pt x="31" y="60"/>
                  </a:cubicBezTo>
                  <a:cubicBezTo>
                    <a:pt x="31" y="58"/>
                    <a:pt x="31" y="57"/>
                    <a:pt x="32" y="56"/>
                  </a:cubicBezTo>
                  <a:cubicBezTo>
                    <a:pt x="32" y="55"/>
                    <a:pt x="33" y="55"/>
                    <a:pt x="34" y="55"/>
                  </a:cubicBezTo>
                  <a:cubicBezTo>
                    <a:pt x="36" y="54"/>
                    <a:pt x="38" y="53"/>
                    <a:pt x="40" y="51"/>
                  </a:cubicBezTo>
                  <a:cubicBezTo>
                    <a:pt x="37" y="58"/>
                    <a:pt x="34" y="67"/>
                    <a:pt x="30" y="74"/>
                  </a:cubicBezTo>
                  <a:cubicBezTo>
                    <a:pt x="27" y="80"/>
                    <a:pt x="22" y="87"/>
                    <a:pt x="18" y="82"/>
                  </a:cubicBezTo>
                  <a:cubicBezTo>
                    <a:pt x="20" y="85"/>
                    <a:pt x="23" y="85"/>
                    <a:pt x="26" y="82"/>
                  </a:cubicBezTo>
                  <a:cubicBezTo>
                    <a:pt x="26" y="87"/>
                    <a:pt x="26" y="91"/>
                    <a:pt x="25" y="96"/>
                  </a:cubicBezTo>
                  <a:cubicBezTo>
                    <a:pt x="24" y="101"/>
                    <a:pt x="22" y="105"/>
                    <a:pt x="21" y="110"/>
                  </a:cubicBezTo>
                  <a:cubicBezTo>
                    <a:pt x="23" y="104"/>
                    <a:pt x="25" y="98"/>
                    <a:pt x="26" y="91"/>
                  </a:cubicBezTo>
                  <a:cubicBezTo>
                    <a:pt x="27" y="89"/>
                    <a:pt x="26" y="82"/>
                    <a:pt x="27" y="81"/>
                  </a:cubicBezTo>
                  <a:cubicBezTo>
                    <a:pt x="29" y="78"/>
                    <a:pt x="31" y="75"/>
                    <a:pt x="32" y="72"/>
                  </a:cubicBezTo>
                  <a:cubicBezTo>
                    <a:pt x="36" y="66"/>
                    <a:pt x="39" y="59"/>
                    <a:pt x="42" y="52"/>
                  </a:cubicBezTo>
                  <a:cubicBezTo>
                    <a:pt x="43" y="51"/>
                    <a:pt x="44" y="49"/>
                    <a:pt x="45" y="47"/>
                  </a:cubicBezTo>
                  <a:cubicBezTo>
                    <a:pt x="48" y="45"/>
                    <a:pt x="50" y="43"/>
                    <a:pt x="53" y="41"/>
                  </a:cubicBezTo>
                  <a:cubicBezTo>
                    <a:pt x="50" y="49"/>
                    <a:pt x="50" y="58"/>
                    <a:pt x="46" y="65"/>
                  </a:cubicBezTo>
                  <a:cubicBezTo>
                    <a:pt x="42" y="70"/>
                    <a:pt x="38" y="73"/>
                    <a:pt x="35" y="77"/>
                  </a:cubicBezTo>
                  <a:cubicBezTo>
                    <a:pt x="39" y="73"/>
                    <a:pt x="43" y="71"/>
                    <a:pt x="46" y="65"/>
                  </a:cubicBezTo>
                  <a:cubicBezTo>
                    <a:pt x="44" y="73"/>
                    <a:pt x="41" y="76"/>
                    <a:pt x="37" y="79"/>
                  </a:cubicBezTo>
                  <a:cubicBezTo>
                    <a:pt x="40" y="78"/>
                    <a:pt x="43" y="76"/>
                    <a:pt x="45" y="72"/>
                  </a:cubicBezTo>
                  <a:cubicBezTo>
                    <a:pt x="46" y="70"/>
                    <a:pt x="47" y="67"/>
                    <a:pt x="48" y="65"/>
                  </a:cubicBezTo>
                  <a:cubicBezTo>
                    <a:pt x="48" y="62"/>
                    <a:pt x="49" y="60"/>
                    <a:pt x="50" y="58"/>
                  </a:cubicBezTo>
                  <a:cubicBezTo>
                    <a:pt x="52" y="52"/>
                    <a:pt x="53" y="44"/>
                    <a:pt x="56" y="40"/>
                  </a:cubicBezTo>
                  <a:cubicBezTo>
                    <a:pt x="58" y="36"/>
                    <a:pt x="62" y="36"/>
                    <a:pt x="65" y="36"/>
                  </a:cubicBezTo>
                  <a:cubicBezTo>
                    <a:pt x="61" y="41"/>
                    <a:pt x="59" y="47"/>
                    <a:pt x="56" y="54"/>
                  </a:cubicBezTo>
                  <a:cubicBezTo>
                    <a:pt x="54" y="62"/>
                    <a:pt x="52" y="70"/>
                    <a:pt x="48" y="77"/>
                  </a:cubicBezTo>
                  <a:cubicBezTo>
                    <a:pt x="44" y="85"/>
                    <a:pt x="40" y="91"/>
                    <a:pt x="35" y="98"/>
                  </a:cubicBezTo>
                  <a:cubicBezTo>
                    <a:pt x="31" y="104"/>
                    <a:pt x="28" y="110"/>
                    <a:pt x="27" y="119"/>
                  </a:cubicBezTo>
                  <a:cubicBezTo>
                    <a:pt x="28" y="112"/>
                    <a:pt x="31" y="107"/>
                    <a:pt x="34" y="102"/>
                  </a:cubicBezTo>
                  <a:cubicBezTo>
                    <a:pt x="38" y="96"/>
                    <a:pt x="43" y="91"/>
                    <a:pt x="47" y="85"/>
                  </a:cubicBezTo>
                  <a:cubicBezTo>
                    <a:pt x="47" y="87"/>
                    <a:pt x="47" y="90"/>
                    <a:pt x="47" y="92"/>
                  </a:cubicBezTo>
                  <a:cubicBezTo>
                    <a:pt x="47" y="95"/>
                    <a:pt x="46" y="96"/>
                    <a:pt x="45" y="99"/>
                  </a:cubicBezTo>
                  <a:cubicBezTo>
                    <a:pt x="43" y="104"/>
                    <a:pt x="41" y="109"/>
                    <a:pt x="38" y="113"/>
                  </a:cubicBezTo>
                  <a:cubicBezTo>
                    <a:pt x="42" y="109"/>
                    <a:pt x="44" y="103"/>
                    <a:pt x="47" y="97"/>
                  </a:cubicBezTo>
                  <a:cubicBezTo>
                    <a:pt x="47" y="111"/>
                    <a:pt x="48" y="124"/>
                    <a:pt x="42" y="134"/>
                  </a:cubicBezTo>
                  <a:cubicBezTo>
                    <a:pt x="48" y="126"/>
                    <a:pt x="48" y="114"/>
                    <a:pt x="48" y="101"/>
                  </a:cubicBezTo>
                  <a:cubicBezTo>
                    <a:pt x="50" y="107"/>
                    <a:pt x="53" y="104"/>
                    <a:pt x="56" y="109"/>
                  </a:cubicBezTo>
                  <a:cubicBezTo>
                    <a:pt x="58" y="112"/>
                    <a:pt x="58" y="119"/>
                    <a:pt x="58" y="124"/>
                  </a:cubicBezTo>
                  <a:cubicBezTo>
                    <a:pt x="58" y="117"/>
                    <a:pt x="58" y="108"/>
                    <a:pt x="54" y="105"/>
                  </a:cubicBezTo>
                  <a:cubicBezTo>
                    <a:pt x="53" y="104"/>
                    <a:pt x="51" y="104"/>
                    <a:pt x="49" y="101"/>
                  </a:cubicBezTo>
                  <a:cubicBezTo>
                    <a:pt x="48" y="98"/>
                    <a:pt x="48" y="94"/>
                    <a:pt x="48" y="90"/>
                  </a:cubicBezTo>
                  <a:cubicBezTo>
                    <a:pt x="48" y="87"/>
                    <a:pt x="49" y="84"/>
                    <a:pt x="50" y="81"/>
                  </a:cubicBezTo>
                  <a:cubicBezTo>
                    <a:pt x="51" y="77"/>
                    <a:pt x="52" y="75"/>
                    <a:pt x="54" y="72"/>
                  </a:cubicBezTo>
                  <a:cubicBezTo>
                    <a:pt x="56" y="67"/>
                    <a:pt x="57" y="61"/>
                    <a:pt x="59" y="56"/>
                  </a:cubicBezTo>
                  <a:cubicBezTo>
                    <a:pt x="61" y="50"/>
                    <a:pt x="64" y="45"/>
                    <a:pt x="67" y="42"/>
                  </a:cubicBezTo>
                  <a:cubicBezTo>
                    <a:pt x="71" y="37"/>
                    <a:pt x="75" y="34"/>
                    <a:pt x="79" y="31"/>
                  </a:cubicBezTo>
                  <a:cubicBezTo>
                    <a:pt x="81" y="30"/>
                    <a:pt x="82" y="29"/>
                    <a:pt x="84" y="28"/>
                  </a:cubicBezTo>
                  <a:cubicBezTo>
                    <a:pt x="84" y="30"/>
                    <a:pt x="84" y="30"/>
                    <a:pt x="83" y="32"/>
                  </a:cubicBezTo>
                  <a:cubicBezTo>
                    <a:pt x="83" y="32"/>
                    <a:pt x="83" y="32"/>
                    <a:pt x="83" y="32"/>
                  </a:cubicBezTo>
                  <a:cubicBezTo>
                    <a:pt x="82" y="33"/>
                    <a:pt x="81" y="34"/>
                    <a:pt x="80" y="35"/>
                  </a:cubicBezTo>
                  <a:cubicBezTo>
                    <a:pt x="79" y="36"/>
                    <a:pt x="79" y="37"/>
                    <a:pt x="78" y="37"/>
                  </a:cubicBezTo>
                  <a:cubicBezTo>
                    <a:pt x="77" y="38"/>
                    <a:pt x="76" y="40"/>
                    <a:pt x="76" y="41"/>
                  </a:cubicBezTo>
                  <a:cubicBezTo>
                    <a:pt x="75" y="41"/>
                    <a:pt x="75" y="41"/>
                    <a:pt x="75" y="41"/>
                  </a:cubicBezTo>
                  <a:cubicBezTo>
                    <a:pt x="75" y="42"/>
                    <a:pt x="75" y="43"/>
                    <a:pt x="74" y="43"/>
                  </a:cubicBezTo>
                  <a:cubicBezTo>
                    <a:pt x="73" y="45"/>
                    <a:pt x="72" y="48"/>
                    <a:pt x="71" y="50"/>
                  </a:cubicBezTo>
                  <a:cubicBezTo>
                    <a:pt x="68" y="59"/>
                    <a:pt x="67" y="71"/>
                    <a:pt x="68" y="79"/>
                  </a:cubicBezTo>
                  <a:cubicBezTo>
                    <a:pt x="67" y="71"/>
                    <a:pt x="69" y="61"/>
                    <a:pt x="72" y="53"/>
                  </a:cubicBezTo>
                  <a:cubicBezTo>
                    <a:pt x="73" y="50"/>
                    <a:pt x="74" y="47"/>
                    <a:pt x="75" y="44"/>
                  </a:cubicBezTo>
                  <a:cubicBezTo>
                    <a:pt x="75" y="48"/>
                    <a:pt x="75" y="52"/>
                    <a:pt x="75" y="56"/>
                  </a:cubicBezTo>
                  <a:cubicBezTo>
                    <a:pt x="75" y="62"/>
                    <a:pt x="75" y="68"/>
                    <a:pt x="75" y="74"/>
                  </a:cubicBezTo>
                  <a:cubicBezTo>
                    <a:pt x="73" y="85"/>
                    <a:pt x="69" y="91"/>
                    <a:pt x="64" y="97"/>
                  </a:cubicBezTo>
                  <a:cubicBezTo>
                    <a:pt x="66" y="94"/>
                    <a:pt x="69" y="91"/>
                    <a:pt x="71" y="87"/>
                  </a:cubicBezTo>
                  <a:cubicBezTo>
                    <a:pt x="74" y="81"/>
                    <a:pt x="75" y="74"/>
                    <a:pt x="75" y="67"/>
                  </a:cubicBezTo>
                  <a:cubicBezTo>
                    <a:pt x="75" y="67"/>
                    <a:pt x="75" y="67"/>
                    <a:pt x="75" y="67"/>
                  </a:cubicBezTo>
                  <a:cubicBezTo>
                    <a:pt x="75" y="67"/>
                    <a:pt x="75" y="67"/>
                    <a:pt x="75" y="67"/>
                  </a:cubicBezTo>
                  <a:cubicBezTo>
                    <a:pt x="75" y="67"/>
                    <a:pt x="76" y="67"/>
                    <a:pt x="76" y="67"/>
                  </a:cubicBezTo>
                  <a:cubicBezTo>
                    <a:pt x="76" y="60"/>
                    <a:pt x="76" y="53"/>
                    <a:pt x="77" y="46"/>
                  </a:cubicBezTo>
                  <a:cubicBezTo>
                    <a:pt x="77" y="44"/>
                    <a:pt x="77" y="43"/>
                    <a:pt x="78" y="41"/>
                  </a:cubicBezTo>
                  <a:cubicBezTo>
                    <a:pt x="79" y="39"/>
                    <a:pt x="81" y="37"/>
                    <a:pt x="83" y="35"/>
                  </a:cubicBezTo>
                  <a:cubicBezTo>
                    <a:pt x="83" y="35"/>
                    <a:pt x="83" y="36"/>
                    <a:pt x="83" y="36"/>
                  </a:cubicBezTo>
                  <a:cubicBezTo>
                    <a:pt x="83" y="39"/>
                    <a:pt x="83" y="39"/>
                    <a:pt x="82" y="42"/>
                  </a:cubicBezTo>
                  <a:cubicBezTo>
                    <a:pt x="81" y="45"/>
                    <a:pt x="81" y="49"/>
                    <a:pt x="80" y="52"/>
                  </a:cubicBezTo>
                  <a:cubicBezTo>
                    <a:pt x="79" y="56"/>
                    <a:pt x="78" y="61"/>
                    <a:pt x="78" y="65"/>
                  </a:cubicBezTo>
                  <a:cubicBezTo>
                    <a:pt x="77" y="66"/>
                    <a:pt x="77" y="67"/>
                    <a:pt x="76" y="67"/>
                  </a:cubicBezTo>
                  <a:cubicBezTo>
                    <a:pt x="76" y="67"/>
                    <a:pt x="76" y="67"/>
                    <a:pt x="76" y="67"/>
                  </a:cubicBezTo>
                  <a:cubicBezTo>
                    <a:pt x="76" y="67"/>
                    <a:pt x="76" y="67"/>
                    <a:pt x="76" y="67"/>
                  </a:cubicBezTo>
                  <a:cubicBezTo>
                    <a:pt x="77" y="67"/>
                    <a:pt x="77" y="66"/>
                    <a:pt x="78" y="66"/>
                  </a:cubicBezTo>
                  <a:cubicBezTo>
                    <a:pt x="77" y="70"/>
                    <a:pt x="78" y="73"/>
                    <a:pt x="79" y="76"/>
                  </a:cubicBezTo>
                  <a:cubicBezTo>
                    <a:pt x="79" y="76"/>
                    <a:pt x="79" y="76"/>
                    <a:pt x="79" y="76"/>
                  </a:cubicBezTo>
                  <a:cubicBezTo>
                    <a:pt x="79" y="76"/>
                    <a:pt x="79" y="76"/>
                    <a:pt x="79" y="75"/>
                  </a:cubicBezTo>
                  <a:cubicBezTo>
                    <a:pt x="78" y="73"/>
                    <a:pt x="78" y="69"/>
                    <a:pt x="78" y="65"/>
                  </a:cubicBezTo>
                  <a:cubicBezTo>
                    <a:pt x="81" y="61"/>
                    <a:pt x="83" y="51"/>
                    <a:pt x="84" y="44"/>
                  </a:cubicBezTo>
                  <a:cubicBezTo>
                    <a:pt x="84" y="44"/>
                    <a:pt x="84" y="44"/>
                    <a:pt x="84" y="43"/>
                  </a:cubicBezTo>
                  <a:cubicBezTo>
                    <a:pt x="85" y="41"/>
                    <a:pt x="85" y="38"/>
                    <a:pt x="85" y="35"/>
                  </a:cubicBezTo>
                  <a:cubicBezTo>
                    <a:pt x="85" y="32"/>
                    <a:pt x="85" y="30"/>
                    <a:pt x="85" y="27"/>
                  </a:cubicBezTo>
                  <a:cubicBezTo>
                    <a:pt x="87" y="25"/>
                    <a:pt x="89" y="23"/>
                    <a:pt x="92" y="21"/>
                  </a:cubicBezTo>
                  <a:cubicBezTo>
                    <a:pt x="92" y="21"/>
                    <a:pt x="92" y="21"/>
                    <a:pt x="93" y="21"/>
                  </a:cubicBezTo>
                  <a:cubicBezTo>
                    <a:pt x="92" y="24"/>
                    <a:pt x="91" y="26"/>
                    <a:pt x="90" y="28"/>
                  </a:cubicBezTo>
                  <a:cubicBezTo>
                    <a:pt x="88" y="33"/>
                    <a:pt x="87" y="38"/>
                    <a:pt x="87" y="43"/>
                  </a:cubicBezTo>
                  <a:cubicBezTo>
                    <a:pt x="87" y="44"/>
                    <a:pt x="87" y="44"/>
                    <a:pt x="87" y="44"/>
                  </a:cubicBezTo>
                  <a:cubicBezTo>
                    <a:pt x="87" y="44"/>
                    <a:pt x="87" y="44"/>
                    <a:pt x="87" y="44"/>
                  </a:cubicBezTo>
                  <a:cubicBezTo>
                    <a:pt x="87" y="45"/>
                    <a:pt x="87" y="47"/>
                    <a:pt x="87" y="48"/>
                  </a:cubicBezTo>
                  <a:cubicBezTo>
                    <a:pt x="88" y="53"/>
                    <a:pt x="90" y="56"/>
                    <a:pt x="91" y="60"/>
                  </a:cubicBezTo>
                  <a:cubicBezTo>
                    <a:pt x="89" y="53"/>
                    <a:pt x="86" y="45"/>
                    <a:pt x="89" y="35"/>
                  </a:cubicBezTo>
                  <a:cubicBezTo>
                    <a:pt x="91" y="30"/>
                    <a:pt x="93" y="25"/>
                    <a:pt x="95" y="20"/>
                  </a:cubicBezTo>
                  <a:cubicBezTo>
                    <a:pt x="95" y="20"/>
                    <a:pt x="95" y="20"/>
                    <a:pt x="96" y="20"/>
                  </a:cubicBezTo>
                  <a:cubicBezTo>
                    <a:pt x="97" y="24"/>
                    <a:pt x="97" y="28"/>
                    <a:pt x="96" y="33"/>
                  </a:cubicBezTo>
                  <a:cubicBezTo>
                    <a:pt x="96" y="41"/>
                    <a:pt x="94" y="51"/>
                    <a:pt x="91" y="58"/>
                  </a:cubicBezTo>
                  <a:cubicBezTo>
                    <a:pt x="96" y="48"/>
                    <a:pt x="99" y="30"/>
                    <a:pt x="97" y="20"/>
                  </a:cubicBezTo>
                  <a:cubicBezTo>
                    <a:pt x="97" y="20"/>
                    <a:pt x="97" y="20"/>
                    <a:pt x="97" y="19"/>
                  </a:cubicBezTo>
                  <a:cubicBezTo>
                    <a:pt x="98" y="19"/>
                    <a:pt x="100" y="19"/>
                    <a:pt x="101" y="18"/>
                  </a:cubicBezTo>
                  <a:cubicBezTo>
                    <a:pt x="101" y="18"/>
                    <a:pt x="101" y="18"/>
                    <a:pt x="101" y="18"/>
                  </a:cubicBezTo>
                  <a:cubicBezTo>
                    <a:pt x="101" y="23"/>
                    <a:pt x="102" y="28"/>
                    <a:pt x="103" y="32"/>
                  </a:cubicBezTo>
                  <a:cubicBezTo>
                    <a:pt x="103" y="35"/>
                    <a:pt x="104" y="39"/>
                    <a:pt x="104" y="42"/>
                  </a:cubicBezTo>
                  <a:cubicBezTo>
                    <a:pt x="104" y="44"/>
                    <a:pt x="104" y="46"/>
                    <a:pt x="103" y="48"/>
                  </a:cubicBezTo>
                  <a:cubicBezTo>
                    <a:pt x="102" y="53"/>
                    <a:pt x="101" y="58"/>
                    <a:pt x="100" y="62"/>
                  </a:cubicBezTo>
                  <a:cubicBezTo>
                    <a:pt x="99" y="62"/>
                    <a:pt x="99" y="61"/>
                    <a:pt x="99" y="60"/>
                  </a:cubicBezTo>
                  <a:cubicBezTo>
                    <a:pt x="99" y="60"/>
                    <a:pt x="98" y="61"/>
                    <a:pt x="98" y="61"/>
                  </a:cubicBezTo>
                  <a:cubicBezTo>
                    <a:pt x="99" y="64"/>
                    <a:pt x="100" y="67"/>
                    <a:pt x="101" y="70"/>
                  </a:cubicBezTo>
                  <a:cubicBezTo>
                    <a:pt x="101" y="70"/>
                    <a:pt x="101" y="70"/>
                    <a:pt x="101" y="70"/>
                  </a:cubicBezTo>
                  <a:cubicBezTo>
                    <a:pt x="100" y="67"/>
                    <a:pt x="101" y="67"/>
                    <a:pt x="102" y="64"/>
                  </a:cubicBezTo>
                  <a:cubicBezTo>
                    <a:pt x="103" y="60"/>
                    <a:pt x="104" y="57"/>
                    <a:pt x="105" y="53"/>
                  </a:cubicBezTo>
                  <a:cubicBezTo>
                    <a:pt x="106" y="60"/>
                    <a:pt x="106" y="67"/>
                    <a:pt x="106" y="75"/>
                  </a:cubicBezTo>
                  <a:cubicBezTo>
                    <a:pt x="106" y="77"/>
                    <a:pt x="105" y="79"/>
                    <a:pt x="105" y="81"/>
                  </a:cubicBezTo>
                  <a:cubicBezTo>
                    <a:pt x="106" y="82"/>
                    <a:pt x="106" y="82"/>
                    <a:pt x="106" y="83"/>
                  </a:cubicBezTo>
                  <a:cubicBezTo>
                    <a:pt x="107" y="78"/>
                    <a:pt x="108" y="74"/>
                    <a:pt x="108" y="69"/>
                  </a:cubicBezTo>
                  <a:cubicBezTo>
                    <a:pt x="110" y="81"/>
                    <a:pt x="113" y="92"/>
                    <a:pt x="117" y="101"/>
                  </a:cubicBezTo>
                  <a:cubicBezTo>
                    <a:pt x="121" y="109"/>
                    <a:pt x="125" y="114"/>
                    <a:pt x="130" y="118"/>
                  </a:cubicBezTo>
                  <a:cubicBezTo>
                    <a:pt x="126" y="114"/>
                    <a:pt x="122" y="108"/>
                    <a:pt x="118" y="101"/>
                  </a:cubicBezTo>
                  <a:cubicBezTo>
                    <a:pt x="115" y="92"/>
                    <a:pt x="112" y="81"/>
                    <a:pt x="111" y="70"/>
                  </a:cubicBezTo>
                  <a:cubicBezTo>
                    <a:pt x="108" y="53"/>
                    <a:pt x="107" y="35"/>
                    <a:pt x="105" y="17"/>
                  </a:cubicBezTo>
                  <a:cubicBezTo>
                    <a:pt x="105" y="17"/>
                    <a:pt x="106" y="18"/>
                    <a:pt x="106" y="18"/>
                  </a:cubicBezTo>
                  <a:cubicBezTo>
                    <a:pt x="108" y="20"/>
                    <a:pt x="111" y="22"/>
                    <a:pt x="113" y="23"/>
                  </a:cubicBezTo>
                  <a:cubicBezTo>
                    <a:pt x="114" y="24"/>
                    <a:pt x="115" y="25"/>
                    <a:pt x="116" y="25"/>
                  </a:cubicBezTo>
                  <a:cubicBezTo>
                    <a:pt x="117" y="26"/>
                    <a:pt x="117" y="28"/>
                    <a:pt x="117" y="30"/>
                  </a:cubicBezTo>
                  <a:cubicBezTo>
                    <a:pt x="117" y="33"/>
                    <a:pt x="116" y="37"/>
                    <a:pt x="116" y="40"/>
                  </a:cubicBezTo>
                  <a:cubicBezTo>
                    <a:pt x="114" y="54"/>
                    <a:pt x="121" y="63"/>
                    <a:pt x="123" y="75"/>
                  </a:cubicBezTo>
                  <a:cubicBezTo>
                    <a:pt x="122" y="67"/>
                    <a:pt x="119" y="61"/>
                    <a:pt x="117" y="54"/>
                  </a:cubicBezTo>
                  <a:cubicBezTo>
                    <a:pt x="116" y="49"/>
                    <a:pt x="116" y="45"/>
                    <a:pt x="117" y="41"/>
                  </a:cubicBezTo>
                  <a:cubicBezTo>
                    <a:pt x="117" y="37"/>
                    <a:pt x="119" y="33"/>
                    <a:pt x="118" y="28"/>
                  </a:cubicBezTo>
                  <a:cubicBezTo>
                    <a:pt x="124" y="39"/>
                    <a:pt x="127" y="54"/>
                    <a:pt x="134" y="64"/>
                  </a:cubicBezTo>
                  <a:cubicBezTo>
                    <a:pt x="128" y="54"/>
                    <a:pt x="126" y="41"/>
                    <a:pt x="121" y="30"/>
                  </a:cubicBezTo>
                  <a:cubicBezTo>
                    <a:pt x="122" y="30"/>
                    <a:pt x="122" y="30"/>
                    <a:pt x="123" y="30"/>
                  </a:cubicBezTo>
                  <a:cubicBezTo>
                    <a:pt x="123" y="31"/>
                    <a:pt x="124" y="32"/>
                    <a:pt x="125" y="34"/>
                  </a:cubicBezTo>
                  <a:cubicBezTo>
                    <a:pt x="128" y="37"/>
                    <a:pt x="131" y="42"/>
                    <a:pt x="133" y="48"/>
                  </a:cubicBezTo>
                  <a:cubicBezTo>
                    <a:pt x="135" y="53"/>
                    <a:pt x="137" y="59"/>
                    <a:pt x="139" y="64"/>
                  </a:cubicBezTo>
                  <a:cubicBezTo>
                    <a:pt x="140" y="67"/>
                    <a:pt x="142" y="69"/>
                    <a:pt x="143" y="73"/>
                  </a:cubicBezTo>
                  <a:cubicBezTo>
                    <a:pt x="144" y="76"/>
                    <a:pt x="144" y="79"/>
                    <a:pt x="144" y="82"/>
                  </a:cubicBezTo>
                  <a:cubicBezTo>
                    <a:pt x="144" y="86"/>
                    <a:pt x="144" y="90"/>
                    <a:pt x="143" y="93"/>
                  </a:cubicBezTo>
                  <a:cubicBezTo>
                    <a:pt x="142" y="96"/>
                    <a:pt x="140" y="96"/>
                    <a:pt x="138" y="97"/>
                  </a:cubicBezTo>
                  <a:cubicBezTo>
                    <a:pt x="134" y="100"/>
                    <a:pt x="134" y="109"/>
                    <a:pt x="134" y="116"/>
                  </a:cubicBezTo>
                  <a:cubicBezTo>
                    <a:pt x="134" y="111"/>
                    <a:pt x="135" y="104"/>
                    <a:pt x="137" y="101"/>
                  </a:cubicBezTo>
                  <a:cubicBezTo>
                    <a:pt x="139" y="96"/>
                    <a:pt x="142" y="99"/>
                    <a:pt x="144" y="93"/>
                  </a:cubicBezTo>
                  <a:cubicBezTo>
                    <a:pt x="144" y="106"/>
                    <a:pt x="145" y="118"/>
                    <a:pt x="150" y="126"/>
                  </a:cubicBezTo>
                  <a:cubicBezTo>
                    <a:pt x="144" y="116"/>
                    <a:pt x="145" y="103"/>
                    <a:pt x="146" y="89"/>
                  </a:cubicBezTo>
                  <a:cubicBezTo>
                    <a:pt x="148" y="95"/>
                    <a:pt x="151" y="101"/>
                    <a:pt x="154" y="105"/>
                  </a:cubicBezTo>
                  <a:cubicBezTo>
                    <a:pt x="151" y="101"/>
                    <a:pt x="149" y="96"/>
                    <a:pt x="147" y="91"/>
                  </a:cubicBezTo>
                  <a:cubicBezTo>
                    <a:pt x="146" y="88"/>
                    <a:pt x="146" y="87"/>
                    <a:pt x="146" y="84"/>
                  </a:cubicBezTo>
                  <a:cubicBezTo>
                    <a:pt x="146" y="82"/>
                    <a:pt x="146" y="79"/>
                    <a:pt x="145" y="77"/>
                  </a:cubicBezTo>
                  <a:cubicBezTo>
                    <a:pt x="150" y="83"/>
                    <a:pt x="154" y="88"/>
                    <a:pt x="159" y="94"/>
                  </a:cubicBezTo>
                  <a:cubicBezTo>
                    <a:pt x="162" y="99"/>
                    <a:pt x="164" y="104"/>
                    <a:pt x="165" y="111"/>
                  </a:cubicBezTo>
                  <a:cubicBezTo>
                    <a:pt x="164" y="102"/>
                    <a:pt x="161" y="96"/>
                    <a:pt x="157" y="90"/>
                  </a:cubicBezTo>
                  <a:cubicBezTo>
                    <a:pt x="153" y="83"/>
                    <a:pt x="148" y="77"/>
                    <a:pt x="144" y="69"/>
                  </a:cubicBezTo>
                  <a:cubicBezTo>
                    <a:pt x="141" y="62"/>
                    <a:pt x="139" y="54"/>
                    <a:pt x="136" y="46"/>
                  </a:cubicBezTo>
                  <a:cubicBezTo>
                    <a:pt x="134" y="40"/>
                    <a:pt x="132" y="35"/>
                    <a:pt x="129" y="30"/>
                  </a:cubicBezTo>
                  <a:cubicBezTo>
                    <a:pt x="130" y="30"/>
                    <a:pt x="131" y="30"/>
                    <a:pt x="132" y="31"/>
                  </a:cubicBezTo>
                  <a:cubicBezTo>
                    <a:pt x="135" y="33"/>
                    <a:pt x="136" y="38"/>
                    <a:pt x="137" y="41"/>
                  </a:cubicBezTo>
                  <a:cubicBezTo>
                    <a:pt x="139" y="44"/>
                    <a:pt x="140" y="46"/>
                    <a:pt x="141" y="48"/>
                  </a:cubicBezTo>
                  <a:cubicBezTo>
                    <a:pt x="139" y="44"/>
                    <a:pt x="137" y="40"/>
                    <a:pt x="136" y="36"/>
                  </a:cubicBezTo>
                  <a:cubicBezTo>
                    <a:pt x="134" y="30"/>
                    <a:pt x="132" y="27"/>
                    <a:pt x="128" y="28"/>
                  </a:cubicBezTo>
                  <a:cubicBezTo>
                    <a:pt x="128" y="28"/>
                    <a:pt x="128" y="28"/>
                    <a:pt x="128" y="28"/>
                  </a:cubicBezTo>
                  <a:cubicBezTo>
                    <a:pt x="128" y="28"/>
                    <a:pt x="128" y="28"/>
                    <a:pt x="128" y="28"/>
                  </a:cubicBezTo>
                  <a:cubicBezTo>
                    <a:pt x="130" y="28"/>
                    <a:pt x="134" y="28"/>
                    <a:pt x="136" y="32"/>
                  </a:cubicBezTo>
                  <a:cubicBezTo>
                    <a:pt x="139" y="36"/>
                    <a:pt x="140" y="44"/>
                    <a:pt x="142" y="50"/>
                  </a:cubicBezTo>
                  <a:cubicBezTo>
                    <a:pt x="143" y="52"/>
                    <a:pt x="144" y="54"/>
                    <a:pt x="145" y="57"/>
                  </a:cubicBezTo>
                  <a:cubicBezTo>
                    <a:pt x="145" y="59"/>
                    <a:pt x="146" y="62"/>
                    <a:pt x="147" y="64"/>
                  </a:cubicBezTo>
                  <a:cubicBezTo>
                    <a:pt x="149" y="68"/>
                    <a:pt x="152" y="70"/>
                    <a:pt x="155" y="71"/>
                  </a:cubicBezTo>
                  <a:cubicBezTo>
                    <a:pt x="151" y="68"/>
                    <a:pt x="148" y="65"/>
                    <a:pt x="146" y="57"/>
                  </a:cubicBezTo>
                  <a:cubicBezTo>
                    <a:pt x="150" y="63"/>
                    <a:pt x="154" y="65"/>
                    <a:pt x="158" y="69"/>
                  </a:cubicBezTo>
                  <a:cubicBezTo>
                    <a:pt x="154" y="65"/>
                    <a:pt x="150" y="62"/>
                    <a:pt x="147" y="57"/>
                  </a:cubicBezTo>
                  <a:cubicBezTo>
                    <a:pt x="143" y="50"/>
                    <a:pt x="142" y="41"/>
                    <a:pt x="139" y="33"/>
                  </a:cubicBezTo>
                  <a:cubicBezTo>
                    <a:pt x="142" y="35"/>
                    <a:pt x="144" y="37"/>
                    <a:pt x="147" y="39"/>
                  </a:cubicBezTo>
                  <a:cubicBezTo>
                    <a:pt x="148" y="41"/>
                    <a:pt x="149" y="43"/>
                    <a:pt x="150" y="44"/>
                  </a:cubicBezTo>
                  <a:cubicBezTo>
                    <a:pt x="153" y="51"/>
                    <a:pt x="157" y="58"/>
                    <a:pt x="160" y="64"/>
                  </a:cubicBezTo>
                  <a:cubicBezTo>
                    <a:pt x="162" y="67"/>
                    <a:pt x="164" y="70"/>
                    <a:pt x="165" y="73"/>
                  </a:cubicBezTo>
                  <a:cubicBezTo>
                    <a:pt x="166" y="74"/>
                    <a:pt x="166" y="81"/>
                    <a:pt x="166" y="83"/>
                  </a:cubicBezTo>
                  <a:cubicBezTo>
                    <a:pt x="167" y="90"/>
                    <a:pt x="170" y="96"/>
                    <a:pt x="171" y="102"/>
                  </a:cubicBezTo>
                  <a:cubicBezTo>
                    <a:pt x="170" y="97"/>
                    <a:pt x="169" y="93"/>
                    <a:pt x="168" y="88"/>
                  </a:cubicBezTo>
                  <a:cubicBezTo>
                    <a:pt x="166" y="83"/>
                    <a:pt x="167" y="79"/>
                    <a:pt x="167" y="74"/>
                  </a:cubicBezTo>
                  <a:cubicBezTo>
                    <a:pt x="169" y="77"/>
                    <a:pt x="172" y="77"/>
                    <a:pt x="175" y="74"/>
                  </a:cubicBezTo>
                  <a:cubicBezTo>
                    <a:pt x="170" y="79"/>
                    <a:pt x="166" y="72"/>
                    <a:pt x="162" y="66"/>
                  </a:cubicBezTo>
                  <a:cubicBezTo>
                    <a:pt x="159" y="59"/>
                    <a:pt x="156" y="50"/>
                    <a:pt x="152" y="43"/>
                  </a:cubicBezTo>
                  <a:cubicBezTo>
                    <a:pt x="154" y="45"/>
                    <a:pt x="156" y="46"/>
                    <a:pt x="158" y="47"/>
                  </a:cubicBezTo>
                  <a:cubicBezTo>
                    <a:pt x="159" y="47"/>
                    <a:pt x="160" y="47"/>
                    <a:pt x="161" y="48"/>
                  </a:cubicBezTo>
                  <a:cubicBezTo>
                    <a:pt x="161" y="49"/>
                    <a:pt x="161" y="50"/>
                    <a:pt x="162" y="52"/>
                  </a:cubicBezTo>
                  <a:cubicBezTo>
                    <a:pt x="164" y="57"/>
                    <a:pt x="167" y="59"/>
                    <a:pt x="170" y="60"/>
                  </a:cubicBezTo>
                  <a:cubicBezTo>
                    <a:pt x="167" y="58"/>
                    <a:pt x="163" y="55"/>
                    <a:pt x="162" y="48"/>
                  </a:cubicBezTo>
                  <a:cubicBezTo>
                    <a:pt x="166" y="49"/>
                    <a:pt x="170" y="48"/>
                    <a:pt x="175" y="47"/>
                  </a:cubicBezTo>
                  <a:cubicBezTo>
                    <a:pt x="168" y="48"/>
                    <a:pt x="162" y="47"/>
                    <a:pt x="156" y="43"/>
                  </a:cubicBezTo>
                  <a:cubicBezTo>
                    <a:pt x="148" y="38"/>
                    <a:pt x="142" y="28"/>
                    <a:pt x="134" y="23"/>
                  </a:cubicBezTo>
                  <a:cubicBezTo>
                    <a:pt x="138" y="23"/>
                    <a:pt x="143" y="24"/>
                    <a:pt x="147" y="26"/>
                  </a:cubicBezTo>
                  <a:cubicBezTo>
                    <a:pt x="152" y="27"/>
                    <a:pt x="156" y="28"/>
                    <a:pt x="160" y="30"/>
                  </a:cubicBezTo>
                  <a:cubicBezTo>
                    <a:pt x="168" y="35"/>
                    <a:pt x="175" y="46"/>
                    <a:pt x="184" y="44"/>
                  </a:cubicBezTo>
                  <a:cubicBezTo>
                    <a:pt x="177" y="45"/>
                    <a:pt x="172" y="38"/>
                    <a:pt x="166" y="32"/>
                  </a:cubicBezTo>
                  <a:close/>
                  <a:moveTo>
                    <a:pt x="78" y="65"/>
                  </a:moveTo>
                  <a:cubicBezTo>
                    <a:pt x="79" y="57"/>
                    <a:pt x="81" y="49"/>
                    <a:pt x="83" y="43"/>
                  </a:cubicBezTo>
                  <a:cubicBezTo>
                    <a:pt x="83" y="51"/>
                    <a:pt x="81" y="60"/>
                    <a:pt x="78" y="65"/>
                  </a:cubicBezTo>
                  <a:close/>
                </a:path>
              </a:pathLst>
            </a:custGeom>
            <a:solidFill>
              <a:srgbClr val="A27729"/>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grpSp>
      <p:grpSp>
        <p:nvGrpSpPr>
          <p:cNvPr id="13" name="Group 15">
            <a:extLst>
              <a:ext uri="{FF2B5EF4-FFF2-40B4-BE49-F238E27FC236}">
                <a16:creationId xmlns:a16="http://schemas.microsoft.com/office/drawing/2014/main" id="{F1307882-25BE-49A6-B0CE-712C0366426B}"/>
              </a:ext>
            </a:extLst>
          </p:cNvPr>
          <p:cNvGrpSpPr/>
          <p:nvPr/>
        </p:nvGrpSpPr>
        <p:grpSpPr>
          <a:xfrm>
            <a:off x="5451360" y="2206275"/>
            <a:ext cx="1449382" cy="1439604"/>
            <a:chOff x="4486948" y="2812243"/>
            <a:chExt cx="1350751" cy="1341638"/>
          </a:xfrm>
        </p:grpSpPr>
        <p:grpSp>
          <p:nvGrpSpPr>
            <p:cNvPr id="14" name="Group 16">
              <a:extLst>
                <a:ext uri="{FF2B5EF4-FFF2-40B4-BE49-F238E27FC236}">
                  <a16:creationId xmlns:a16="http://schemas.microsoft.com/office/drawing/2014/main" id="{E06E5B59-637E-4593-BADF-950E49ABA448}"/>
                </a:ext>
              </a:extLst>
            </p:cNvPr>
            <p:cNvGrpSpPr/>
            <p:nvPr/>
          </p:nvGrpSpPr>
          <p:grpSpPr>
            <a:xfrm>
              <a:off x="4803370" y="2827395"/>
              <a:ext cx="345343" cy="475237"/>
              <a:chOff x="2779663" y="3239826"/>
              <a:chExt cx="251622" cy="346264"/>
            </a:xfrm>
          </p:grpSpPr>
          <p:sp>
            <p:nvSpPr>
              <p:cNvPr id="32" name="Freeform 16">
                <a:extLst>
                  <a:ext uri="{FF2B5EF4-FFF2-40B4-BE49-F238E27FC236}">
                    <a16:creationId xmlns:a16="http://schemas.microsoft.com/office/drawing/2014/main" id="{F3ECCBDC-5B1A-4BFA-83FC-5339889E0EF4}"/>
                  </a:ext>
                </a:extLst>
              </p:cNvPr>
              <p:cNvSpPr>
                <a:spLocks/>
              </p:cNvSpPr>
              <p:nvPr/>
            </p:nvSpPr>
            <p:spPr bwMode="auto">
              <a:xfrm>
                <a:off x="2779663" y="3239826"/>
                <a:ext cx="251622" cy="263869"/>
              </a:xfrm>
              <a:custGeom>
                <a:avLst/>
                <a:gdLst>
                  <a:gd name="T0" fmla="*/ 4 w 46"/>
                  <a:gd name="T1" fmla="*/ 0 h 48"/>
                  <a:gd name="T2" fmla="*/ 10 w 46"/>
                  <a:gd name="T3" fmla="*/ 7 h 48"/>
                  <a:gd name="T4" fmla="*/ 36 w 46"/>
                  <a:gd name="T5" fmla="*/ 19 h 48"/>
                  <a:gd name="T6" fmla="*/ 42 w 46"/>
                  <a:gd name="T7" fmla="*/ 39 h 48"/>
                  <a:gd name="T8" fmla="*/ 37 w 46"/>
                  <a:gd name="T9" fmla="*/ 42 h 48"/>
                  <a:gd name="T10" fmla="*/ 29 w 46"/>
                  <a:gd name="T11" fmla="*/ 47 h 48"/>
                  <a:gd name="T12" fmla="*/ 4 w 46"/>
                  <a:gd name="T13" fmla="*/ 0 h 48"/>
                </a:gdLst>
                <a:ahLst/>
                <a:cxnLst>
                  <a:cxn ang="0">
                    <a:pos x="T0" y="T1"/>
                  </a:cxn>
                  <a:cxn ang="0">
                    <a:pos x="T2" y="T3"/>
                  </a:cxn>
                  <a:cxn ang="0">
                    <a:pos x="T4" y="T5"/>
                  </a:cxn>
                  <a:cxn ang="0">
                    <a:pos x="T6" y="T7"/>
                  </a:cxn>
                  <a:cxn ang="0">
                    <a:pos x="T8" y="T9"/>
                  </a:cxn>
                  <a:cxn ang="0">
                    <a:pos x="T10" y="T11"/>
                  </a:cxn>
                  <a:cxn ang="0">
                    <a:pos x="T12" y="T13"/>
                  </a:cxn>
                </a:cxnLst>
                <a:rect l="0" t="0" r="r" b="b"/>
                <a:pathLst>
                  <a:path w="46" h="48">
                    <a:moveTo>
                      <a:pt x="4" y="0"/>
                    </a:moveTo>
                    <a:cubicBezTo>
                      <a:pt x="4" y="0"/>
                      <a:pt x="5" y="4"/>
                      <a:pt x="10" y="7"/>
                    </a:cubicBezTo>
                    <a:cubicBezTo>
                      <a:pt x="15" y="10"/>
                      <a:pt x="27" y="11"/>
                      <a:pt x="36" y="19"/>
                    </a:cubicBezTo>
                    <a:cubicBezTo>
                      <a:pt x="46" y="27"/>
                      <a:pt x="44" y="36"/>
                      <a:pt x="42" y="39"/>
                    </a:cubicBezTo>
                    <a:cubicBezTo>
                      <a:pt x="41" y="42"/>
                      <a:pt x="37" y="42"/>
                      <a:pt x="37" y="42"/>
                    </a:cubicBezTo>
                    <a:cubicBezTo>
                      <a:pt x="37" y="42"/>
                      <a:pt x="37" y="48"/>
                      <a:pt x="29" y="47"/>
                    </a:cubicBezTo>
                    <a:cubicBezTo>
                      <a:pt x="0" y="37"/>
                      <a:pt x="4" y="0"/>
                      <a:pt x="4" y="0"/>
                    </a:cubicBezTo>
                    <a:close/>
                  </a:path>
                </a:pathLst>
              </a:custGeom>
              <a:solidFill>
                <a:srgbClr val="8BC5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33" name="Freeform 17">
                <a:extLst>
                  <a:ext uri="{FF2B5EF4-FFF2-40B4-BE49-F238E27FC236}">
                    <a16:creationId xmlns:a16="http://schemas.microsoft.com/office/drawing/2014/main" id="{E7E8E77F-7099-494E-B69C-AEAE990A45C8}"/>
                  </a:ext>
                </a:extLst>
              </p:cNvPr>
              <p:cNvSpPr>
                <a:spLocks/>
              </p:cNvSpPr>
              <p:nvPr/>
            </p:nvSpPr>
            <p:spPr bwMode="auto">
              <a:xfrm>
                <a:off x="2888773" y="3360075"/>
                <a:ext cx="131378" cy="226015"/>
              </a:xfrm>
              <a:custGeom>
                <a:avLst/>
                <a:gdLst>
                  <a:gd name="T0" fmla="*/ 0 w 24"/>
                  <a:gd name="T1" fmla="*/ 0 h 41"/>
                  <a:gd name="T2" fmla="*/ 16 w 24"/>
                  <a:gd name="T3" fmla="*/ 21 h 41"/>
                  <a:gd name="T4" fmla="*/ 18 w 24"/>
                  <a:gd name="T5" fmla="*/ 41 h 41"/>
                  <a:gd name="T6" fmla="*/ 20 w 24"/>
                  <a:gd name="T7" fmla="*/ 20 h 41"/>
                  <a:gd name="T8" fmla="*/ 0 w 24"/>
                  <a:gd name="T9" fmla="*/ 0 h 41"/>
                </a:gdLst>
                <a:ahLst/>
                <a:cxnLst>
                  <a:cxn ang="0">
                    <a:pos x="T0" y="T1"/>
                  </a:cxn>
                  <a:cxn ang="0">
                    <a:pos x="T2" y="T3"/>
                  </a:cxn>
                  <a:cxn ang="0">
                    <a:pos x="T4" y="T5"/>
                  </a:cxn>
                  <a:cxn ang="0">
                    <a:pos x="T6" y="T7"/>
                  </a:cxn>
                  <a:cxn ang="0">
                    <a:pos x="T8" y="T9"/>
                  </a:cxn>
                </a:cxnLst>
                <a:rect l="0" t="0" r="r" b="b"/>
                <a:pathLst>
                  <a:path w="24" h="41">
                    <a:moveTo>
                      <a:pt x="0" y="0"/>
                    </a:moveTo>
                    <a:cubicBezTo>
                      <a:pt x="0" y="0"/>
                      <a:pt x="11" y="11"/>
                      <a:pt x="16" y="21"/>
                    </a:cubicBezTo>
                    <a:cubicBezTo>
                      <a:pt x="21" y="31"/>
                      <a:pt x="18" y="41"/>
                      <a:pt x="18" y="41"/>
                    </a:cubicBezTo>
                    <a:cubicBezTo>
                      <a:pt x="18" y="41"/>
                      <a:pt x="24" y="29"/>
                      <a:pt x="20" y="20"/>
                    </a:cubicBezTo>
                    <a:cubicBezTo>
                      <a:pt x="15" y="11"/>
                      <a:pt x="0" y="0"/>
                      <a:pt x="0" y="0"/>
                    </a:cubicBezTo>
                    <a:close/>
                  </a:path>
                </a:pathLst>
              </a:custGeom>
              <a:solidFill>
                <a:srgbClr val="A27729"/>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grpSp>
        <p:grpSp>
          <p:nvGrpSpPr>
            <p:cNvPr id="15" name="Group 17">
              <a:extLst>
                <a:ext uri="{FF2B5EF4-FFF2-40B4-BE49-F238E27FC236}">
                  <a16:creationId xmlns:a16="http://schemas.microsoft.com/office/drawing/2014/main" id="{2C932E2A-939F-4A61-8D84-A2FB1E1EF7D9}"/>
                </a:ext>
              </a:extLst>
            </p:cNvPr>
            <p:cNvGrpSpPr/>
            <p:nvPr/>
          </p:nvGrpSpPr>
          <p:grpSpPr>
            <a:xfrm>
              <a:off x="5073112" y="2812243"/>
              <a:ext cx="764587" cy="542436"/>
              <a:chOff x="2954461" y="3146308"/>
              <a:chExt cx="789380" cy="560025"/>
            </a:xfrm>
          </p:grpSpPr>
          <p:sp>
            <p:nvSpPr>
              <p:cNvPr id="30" name="Freeform 18">
                <a:extLst>
                  <a:ext uri="{FF2B5EF4-FFF2-40B4-BE49-F238E27FC236}">
                    <a16:creationId xmlns:a16="http://schemas.microsoft.com/office/drawing/2014/main" id="{602FF54E-F192-4381-AFD2-7549671FD5DB}"/>
                  </a:ext>
                </a:extLst>
              </p:cNvPr>
              <p:cNvSpPr>
                <a:spLocks/>
              </p:cNvSpPr>
              <p:nvPr/>
            </p:nvSpPr>
            <p:spPr bwMode="auto">
              <a:xfrm>
                <a:off x="3047984" y="3146308"/>
                <a:ext cx="695857" cy="472069"/>
              </a:xfrm>
              <a:custGeom>
                <a:avLst/>
                <a:gdLst>
                  <a:gd name="T0" fmla="*/ 127 w 127"/>
                  <a:gd name="T1" fmla="*/ 0 h 86"/>
                  <a:gd name="T2" fmla="*/ 106 w 127"/>
                  <a:gd name="T3" fmla="*/ 8 h 86"/>
                  <a:gd name="T4" fmla="*/ 35 w 127"/>
                  <a:gd name="T5" fmla="*/ 7 h 86"/>
                  <a:gd name="T6" fmla="*/ 0 w 127"/>
                  <a:gd name="T7" fmla="*/ 46 h 86"/>
                  <a:gd name="T8" fmla="*/ 9 w 127"/>
                  <a:gd name="T9" fmla="*/ 58 h 86"/>
                  <a:gd name="T10" fmla="*/ 23 w 127"/>
                  <a:gd name="T11" fmla="*/ 76 h 86"/>
                  <a:gd name="T12" fmla="*/ 127 w 127"/>
                  <a:gd name="T13" fmla="*/ 0 h 86"/>
                </a:gdLst>
                <a:ahLst/>
                <a:cxnLst>
                  <a:cxn ang="0">
                    <a:pos x="T0" y="T1"/>
                  </a:cxn>
                  <a:cxn ang="0">
                    <a:pos x="T2" y="T3"/>
                  </a:cxn>
                  <a:cxn ang="0">
                    <a:pos x="T4" y="T5"/>
                  </a:cxn>
                  <a:cxn ang="0">
                    <a:pos x="T6" y="T7"/>
                  </a:cxn>
                  <a:cxn ang="0">
                    <a:pos x="T8" y="T9"/>
                  </a:cxn>
                  <a:cxn ang="0">
                    <a:pos x="T10" y="T11"/>
                  </a:cxn>
                  <a:cxn ang="0">
                    <a:pos x="T12" y="T13"/>
                  </a:cxn>
                </a:cxnLst>
                <a:rect l="0" t="0" r="r" b="b"/>
                <a:pathLst>
                  <a:path w="127" h="86">
                    <a:moveTo>
                      <a:pt x="127" y="0"/>
                    </a:moveTo>
                    <a:cubicBezTo>
                      <a:pt x="127" y="0"/>
                      <a:pt x="120" y="7"/>
                      <a:pt x="106" y="8"/>
                    </a:cubicBezTo>
                    <a:cubicBezTo>
                      <a:pt x="91" y="9"/>
                      <a:pt x="63" y="0"/>
                      <a:pt x="35" y="7"/>
                    </a:cubicBezTo>
                    <a:cubicBezTo>
                      <a:pt x="7" y="14"/>
                      <a:pt x="1" y="38"/>
                      <a:pt x="0" y="46"/>
                    </a:cubicBezTo>
                    <a:cubicBezTo>
                      <a:pt x="0" y="54"/>
                      <a:pt x="9" y="58"/>
                      <a:pt x="9" y="58"/>
                    </a:cubicBezTo>
                    <a:cubicBezTo>
                      <a:pt x="9" y="58"/>
                      <a:pt x="2" y="70"/>
                      <a:pt x="23" y="76"/>
                    </a:cubicBezTo>
                    <a:cubicBezTo>
                      <a:pt x="96" y="86"/>
                      <a:pt x="127" y="0"/>
                      <a:pt x="127" y="0"/>
                    </a:cubicBezTo>
                    <a:close/>
                  </a:path>
                </a:pathLst>
              </a:custGeom>
              <a:solidFill>
                <a:srgbClr val="8BC5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31" name="Freeform 19">
                <a:extLst>
                  <a:ext uri="{FF2B5EF4-FFF2-40B4-BE49-F238E27FC236}">
                    <a16:creationId xmlns:a16="http://schemas.microsoft.com/office/drawing/2014/main" id="{0E58641C-A22F-4ABB-8654-489A66E227A2}"/>
                  </a:ext>
                </a:extLst>
              </p:cNvPr>
              <p:cNvSpPr>
                <a:spLocks/>
              </p:cNvSpPr>
              <p:nvPr/>
            </p:nvSpPr>
            <p:spPr bwMode="auto">
              <a:xfrm rot="496965">
                <a:off x="2954461" y="3338922"/>
                <a:ext cx="421967" cy="367411"/>
              </a:xfrm>
              <a:custGeom>
                <a:avLst/>
                <a:gdLst>
                  <a:gd name="T0" fmla="*/ 77 w 77"/>
                  <a:gd name="T1" fmla="*/ 0 h 67"/>
                  <a:gd name="T2" fmla="*/ 28 w 77"/>
                  <a:gd name="T3" fmla="*/ 25 h 67"/>
                  <a:gd name="T4" fmla="*/ 0 w 77"/>
                  <a:gd name="T5" fmla="*/ 67 h 67"/>
                  <a:gd name="T6" fmla="*/ 21 w 77"/>
                  <a:gd name="T7" fmla="*/ 20 h 67"/>
                  <a:gd name="T8" fmla="*/ 77 w 77"/>
                  <a:gd name="T9" fmla="*/ 0 h 67"/>
                </a:gdLst>
                <a:ahLst/>
                <a:cxnLst>
                  <a:cxn ang="0">
                    <a:pos x="T0" y="T1"/>
                  </a:cxn>
                  <a:cxn ang="0">
                    <a:pos x="T2" y="T3"/>
                  </a:cxn>
                  <a:cxn ang="0">
                    <a:pos x="T4" y="T5"/>
                  </a:cxn>
                  <a:cxn ang="0">
                    <a:pos x="T6" y="T7"/>
                  </a:cxn>
                  <a:cxn ang="0">
                    <a:pos x="T8" y="T9"/>
                  </a:cxn>
                </a:cxnLst>
                <a:rect l="0" t="0" r="r" b="b"/>
                <a:pathLst>
                  <a:path w="77" h="67">
                    <a:moveTo>
                      <a:pt x="77" y="0"/>
                    </a:moveTo>
                    <a:cubicBezTo>
                      <a:pt x="77" y="0"/>
                      <a:pt x="49" y="9"/>
                      <a:pt x="28" y="25"/>
                    </a:cubicBezTo>
                    <a:cubicBezTo>
                      <a:pt x="6" y="41"/>
                      <a:pt x="0" y="67"/>
                      <a:pt x="0" y="67"/>
                    </a:cubicBezTo>
                    <a:cubicBezTo>
                      <a:pt x="0" y="67"/>
                      <a:pt x="1" y="34"/>
                      <a:pt x="21" y="20"/>
                    </a:cubicBezTo>
                    <a:cubicBezTo>
                      <a:pt x="41" y="5"/>
                      <a:pt x="77" y="0"/>
                      <a:pt x="77" y="0"/>
                    </a:cubicBezTo>
                    <a:close/>
                  </a:path>
                </a:pathLst>
              </a:custGeom>
              <a:solidFill>
                <a:srgbClr val="A27729"/>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grpSp>
        <p:grpSp>
          <p:nvGrpSpPr>
            <p:cNvPr id="16" name="Group 18">
              <a:extLst>
                <a:ext uri="{FF2B5EF4-FFF2-40B4-BE49-F238E27FC236}">
                  <a16:creationId xmlns:a16="http://schemas.microsoft.com/office/drawing/2014/main" id="{AA078B26-EB63-4D8D-A262-6A4069FB3101}"/>
                </a:ext>
              </a:extLst>
            </p:cNvPr>
            <p:cNvGrpSpPr/>
            <p:nvPr/>
          </p:nvGrpSpPr>
          <p:grpSpPr>
            <a:xfrm>
              <a:off x="4669337" y="3162883"/>
              <a:ext cx="354285" cy="258559"/>
              <a:chOff x="2577029" y="3393476"/>
              <a:chExt cx="399700" cy="291703"/>
            </a:xfrm>
          </p:grpSpPr>
          <p:sp>
            <p:nvSpPr>
              <p:cNvPr id="28" name="Freeform 21">
                <a:extLst>
                  <a:ext uri="{FF2B5EF4-FFF2-40B4-BE49-F238E27FC236}">
                    <a16:creationId xmlns:a16="http://schemas.microsoft.com/office/drawing/2014/main" id="{42674186-1A26-467A-B990-6ABE9353C135}"/>
                  </a:ext>
                </a:extLst>
              </p:cNvPr>
              <p:cNvSpPr>
                <a:spLocks/>
              </p:cNvSpPr>
              <p:nvPr/>
            </p:nvSpPr>
            <p:spPr bwMode="auto">
              <a:xfrm>
                <a:off x="2577029" y="3393476"/>
                <a:ext cx="306177" cy="291703"/>
              </a:xfrm>
              <a:custGeom>
                <a:avLst/>
                <a:gdLst>
                  <a:gd name="T0" fmla="*/ 0 w 56"/>
                  <a:gd name="T1" fmla="*/ 3 h 53"/>
                  <a:gd name="T2" fmla="*/ 8 w 56"/>
                  <a:gd name="T3" fmla="*/ 11 h 53"/>
                  <a:gd name="T4" fmla="*/ 21 w 56"/>
                  <a:gd name="T5" fmla="*/ 42 h 53"/>
                  <a:gd name="T6" fmla="*/ 45 w 56"/>
                  <a:gd name="T7" fmla="*/ 49 h 53"/>
                  <a:gd name="T8" fmla="*/ 49 w 56"/>
                  <a:gd name="T9" fmla="*/ 43 h 53"/>
                  <a:gd name="T10" fmla="*/ 54 w 56"/>
                  <a:gd name="T11" fmla="*/ 34 h 53"/>
                  <a:gd name="T12" fmla="*/ 0 w 56"/>
                  <a:gd name="T13" fmla="*/ 3 h 53"/>
                </a:gdLst>
                <a:ahLst/>
                <a:cxnLst>
                  <a:cxn ang="0">
                    <a:pos x="T0" y="T1"/>
                  </a:cxn>
                  <a:cxn ang="0">
                    <a:pos x="T2" y="T3"/>
                  </a:cxn>
                  <a:cxn ang="0">
                    <a:pos x="T4" y="T5"/>
                  </a:cxn>
                  <a:cxn ang="0">
                    <a:pos x="T6" y="T7"/>
                  </a:cxn>
                  <a:cxn ang="0">
                    <a:pos x="T8" y="T9"/>
                  </a:cxn>
                  <a:cxn ang="0">
                    <a:pos x="T10" y="T11"/>
                  </a:cxn>
                  <a:cxn ang="0">
                    <a:pos x="T12" y="T13"/>
                  </a:cxn>
                </a:cxnLst>
                <a:rect l="0" t="0" r="r" b="b"/>
                <a:pathLst>
                  <a:path w="56" h="53">
                    <a:moveTo>
                      <a:pt x="0" y="3"/>
                    </a:moveTo>
                    <a:cubicBezTo>
                      <a:pt x="0" y="3"/>
                      <a:pt x="5" y="4"/>
                      <a:pt x="8" y="11"/>
                    </a:cubicBezTo>
                    <a:cubicBezTo>
                      <a:pt x="11" y="17"/>
                      <a:pt x="13" y="31"/>
                      <a:pt x="21" y="42"/>
                    </a:cubicBezTo>
                    <a:cubicBezTo>
                      <a:pt x="30" y="53"/>
                      <a:pt x="42" y="51"/>
                      <a:pt x="45" y="49"/>
                    </a:cubicBezTo>
                    <a:cubicBezTo>
                      <a:pt x="49" y="48"/>
                      <a:pt x="49" y="43"/>
                      <a:pt x="49" y="43"/>
                    </a:cubicBezTo>
                    <a:cubicBezTo>
                      <a:pt x="49" y="43"/>
                      <a:pt x="56" y="44"/>
                      <a:pt x="54" y="34"/>
                    </a:cubicBezTo>
                    <a:cubicBezTo>
                      <a:pt x="44" y="0"/>
                      <a:pt x="0" y="3"/>
                      <a:pt x="0" y="3"/>
                    </a:cubicBezTo>
                    <a:close/>
                  </a:path>
                </a:pathLst>
              </a:custGeom>
              <a:solidFill>
                <a:srgbClr val="8BC5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29" name="Freeform 22">
                <a:extLst>
                  <a:ext uri="{FF2B5EF4-FFF2-40B4-BE49-F238E27FC236}">
                    <a16:creationId xmlns:a16="http://schemas.microsoft.com/office/drawing/2014/main" id="{B02E70A4-4A0C-44EA-A9D6-AAAAC415D8E3}"/>
                  </a:ext>
                </a:extLst>
              </p:cNvPr>
              <p:cNvSpPr>
                <a:spLocks/>
              </p:cNvSpPr>
              <p:nvPr/>
            </p:nvSpPr>
            <p:spPr bwMode="auto">
              <a:xfrm>
                <a:off x="2736241" y="3530420"/>
                <a:ext cx="240488" cy="149192"/>
              </a:xfrm>
              <a:custGeom>
                <a:avLst/>
                <a:gdLst>
                  <a:gd name="T0" fmla="*/ 0 w 44"/>
                  <a:gd name="T1" fmla="*/ 0 h 27"/>
                  <a:gd name="T2" fmla="*/ 20 w 44"/>
                  <a:gd name="T3" fmla="*/ 17 h 27"/>
                  <a:gd name="T4" fmla="*/ 44 w 44"/>
                  <a:gd name="T5" fmla="*/ 21 h 27"/>
                  <a:gd name="T6" fmla="*/ 19 w 44"/>
                  <a:gd name="T7" fmla="*/ 21 h 27"/>
                  <a:gd name="T8" fmla="*/ 0 w 44"/>
                  <a:gd name="T9" fmla="*/ 0 h 27"/>
                </a:gdLst>
                <a:ahLst/>
                <a:cxnLst>
                  <a:cxn ang="0">
                    <a:pos x="T0" y="T1"/>
                  </a:cxn>
                  <a:cxn ang="0">
                    <a:pos x="T2" y="T3"/>
                  </a:cxn>
                  <a:cxn ang="0">
                    <a:pos x="T4" y="T5"/>
                  </a:cxn>
                  <a:cxn ang="0">
                    <a:pos x="T6" y="T7"/>
                  </a:cxn>
                  <a:cxn ang="0">
                    <a:pos x="T8" y="T9"/>
                  </a:cxn>
                </a:cxnLst>
                <a:rect l="0" t="0" r="r" b="b"/>
                <a:pathLst>
                  <a:path w="44" h="27">
                    <a:moveTo>
                      <a:pt x="0" y="0"/>
                    </a:moveTo>
                    <a:cubicBezTo>
                      <a:pt x="0" y="0"/>
                      <a:pt x="9" y="11"/>
                      <a:pt x="20" y="17"/>
                    </a:cubicBezTo>
                    <a:cubicBezTo>
                      <a:pt x="31" y="24"/>
                      <a:pt x="44" y="21"/>
                      <a:pt x="44" y="21"/>
                    </a:cubicBezTo>
                    <a:cubicBezTo>
                      <a:pt x="44" y="21"/>
                      <a:pt x="30" y="27"/>
                      <a:pt x="19" y="21"/>
                    </a:cubicBezTo>
                    <a:cubicBezTo>
                      <a:pt x="9" y="15"/>
                      <a:pt x="0" y="0"/>
                      <a:pt x="0" y="0"/>
                    </a:cubicBezTo>
                    <a:close/>
                  </a:path>
                </a:pathLst>
              </a:custGeom>
              <a:solidFill>
                <a:srgbClr val="A27729"/>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grpSp>
        <p:sp>
          <p:nvSpPr>
            <p:cNvPr id="17" name="Freeform 26">
              <a:extLst>
                <a:ext uri="{FF2B5EF4-FFF2-40B4-BE49-F238E27FC236}">
                  <a16:creationId xmlns:a16="http://schemas.microsoft.com/office/drawing/2014/main" id="{6B7229EC-CB0E-4D4F-BB88-016A3CB794B6}"/>
                </a:ext>
              </a:extLst>
            </p:cNvPr>
            <p:cNvSpPr>
              <a:spLocks noEditPoints="1"/>
            </p:cNvSpPr>
            <p:nvPr/>
          </p:nvSpPr>
          <p:spPr bwMode="auto">
            <a:xfrm>
              <a:off x="4486948" y="3447952"/>
              <a:ext cx="1008780" cy="705929"/>
            </a:xfrm>
            <a:custGeom>
              <a:avLst/>
              <a:gdLst>
                <a:gd name="T0" fmla="*/ 136 w 193"/>
                <a:gd name="T1" fmla="*/ 15 h 134"/>
                <a:gd name="T2" fmla="*/ 108 w 193"/>
                <a:gd name="T3" fmla="*/ 4 h 134"/>
                <a:gd name="T4" fmla="*/ 90 w 193"/>
                <a:gd name="T5" fmla="*/ 6 h 134"/>
                <a:gd name="T6" fmla="*/ 73 w 193"/>
                <a:gd name="T7" fmla="*/ 24 h 134"/>
                <a:gd name="T8" fmla="*/ 27 w 193"/>
                <a:gd name="T9" fmla="*/ 40 h 134"/>
                <a:gd name="T10" fmla="*/ 59 w 193"/>
                <a:gd name="T11" fmla="*/ 31 h 134"/>
                <a:gd name="T12" fmla="*/ 23 w 193"/>
                <a:gd name="T13" fmla="*/ 68 h 134"/>
                <a:gd name="T14" fmla="*/ 40 w 193"/>
                <a:gd name="T15" fmla="*/ 51 h 134"/>
                <a:gd name="T16" fmla="*/ 25 w 193"/>
                <a:gd name="T17" fmla="*/ 96 h 134"/>
                <a:gd name="T18" fmla="*/ 32 w 193"/>
                <a:gd name="T19" fmla="*/ 72 h 134"/>
                <a:gd name="T20" fmla="*/ 46 w 193"/>
                <a:gd name="T21" fmla="*/ 65 h 134"/>
                <a:gd name="T22" fmla="*/ 45 w 193"/>
                <a:gd name="T23" fmla="*/ 72 h 134"/>
                <a:gd name="T24" fmla="*/ 65 w 193"/>
                <a:gd name="T25" fmla="*/ 36 h 134"/>
                <a:gd name="T26" fmla="*/ 27 w 193"/>
                <a:gd name="T27" fmla="*/ 119 h 134"/>
                <a:gd name="T28" fmla="*/ 45 w 193"/>
                <a:gd name="T29" fmla="*/ 99 h 134"/>
                <a:gd name="T30" fmla="*/ 48 w 193"/>
                <a:gd name="T31" fmla="*/ 101 h 134"/>
                <a:gd name="T32" fmla="*/ 49 w 193"/>
                <a:gd name="T33" fmla="*/ 101 h 134"/>
                <a:gd name="T34" fmla="*/ 59 w 193"/>
                <a:gd name="T35" fmla="*/ 56 h 134"/>
                <a:gd name="T36" fmla="*/ 83 w 193"/>
                <a:gd name="T37" fmla="*/ 32 h 134"/>
                <a:gd name="T38" fmla="*/ 76 w 193"/>
                <a:gd name="T39" fmla="*/ 41 h 134"/>
                <a:gd name="T40" fmla="*/ 68 w 193"/>
                <a:gd name="T41" fmla="*/ 79 h 134"/>
                <a:gd name="T42" fmla="*/ 75 w 193"/>
                <a:gd name="T43" fmla="*/ 74 h 134"/>
                <a:gd name="T44" fmla="*/ 75 w 193"/>
                <a:gd name="T45" fmla="*/ 67 h 134"/>
                <a:gd name="T46" fmla="*/ 78 w 193"/>
                <a:gd name="T47" fmla="*/ 41 h 134"/>
                <a:gd name="T48" fmla="*/ 80 w 193"/>
                <a:gd name="T49" fmla="*/ 52 h 134"/>
                <a:gd name="T50" fmla="*/ 76 w 193"/>
                <a:gd name="T51" fmla="*/ 67 h 134"/>
                <a:gd name="T52" fmla="*/ 79 w 193"/>
                <a:gd name="T53" fmla="*/ 75 h 134"/>
                <a:gd name="T54" fmla="*/ 85 w 193"/>
                <a:gd name="T55" fmla="*/ 35 h 134"/>
                <a:gd name="T56" fmla="*/ 90 w 193"/>
                <a:gd name="T57" fmla="*/ 28 h 134"/>
                <a:gd name="T58" fmla="*/ 87 w 193"/>
                <a:gd name="T59" fmla="*/ 48 h 134"/>
                <a:gd name="T60" fmla="*/ 96 w 193"/>
                <a:gd name="T61" fmla="*/ 20 h 134"/>
                <a:gd name="T62" fmla="*/ 97 w 193"/>
                <a:gd name="T63" fmla="*/ 19 h 134"/>
                <a:gd name="T64" fmla="*/ 104 w 193"/>
                <a:gd name="T65" fmla="*/ 42 h 134"/>
                <a:gd name="T66" fmla="*/ 98 w 193"/>
                <a:gd name="T67" fmla="*/ 61 h 134"/>
                <a:gd name="T68" fmla="*/ 105 w 193"/>
                <a:gd name="T69" fmla="*/ 53 h 134"/>
                <a:gd name="T70" fmla="*/ 108 w 193"/>
                <a:gd name="T71" fmla="*/ 69 h 134"/>
                <a:gd name="T72" fmla="*/ 111 w 193"/>
                <a:gd name="T73" fmla="*/ 70 h 134"/>
                <a:gd name="T74" fmla="*/ 116 w 193"/>
                <a:gd name="T75" fmla="*/ 25 h 134"/>
                <a:gd name="T76" fmla="*/ 117 w 193"/>
                <a:gd name="T77" fmla="*/ 54 h 134"/>
                <a:gd name="T78" fmla="*/ 121 w 193"/>
                <a:gd name="T79" fmla="*/ 30 h 134"/>
                <a:gd name="T80" fmla="*/ 139 w 193"/>
                <a:gd name="T81" fmla="*/ 64 h 134"/>
                <a:gd name="T82" fmla="*/ 138 w 193"/>
                <a:gd name="T83" fmla="*/ 97 h 134"/>
                <a:gd name="T84" fmla="*/ 150 w 193"/>
                <a:gd name="T85" fmla="*/ 126 h 134"/>
                <a:gd name="T86" fmla="*/ 146 w 193"/>
                <a:gd name="T87" fmla="*/ 84 h 134"/>
                <a:gd name="T88" fmla="*/ 157 w 193"/>
                <a:gd name="T89" fmla="*/ 90 h 134"/>
                <a:gd name="T90" fmla="*/ 132 w 193"/>
                <a:gd name="T91" fmla="*/ 31 h 134"/>
                <a:gd name="T92" fmla="*/ 128 w 193"/>
                <a:gd name="T93" fmla="*/ 28 h 134"/>
                <a:gd name="T94" fmla="*/ 142 w 193"/>
                <a:gd name="T95" fmla="*/ 50 h 134"/>
                <a:gd name="T96" fmla="*/ 146 w 193"/>
                <a:gd name="T97" fmla="*/ 57 h 134"/>
                <a:gd name="T98" fmla="*/ 147 w 193"/>
                <a:gd name="T99" fmla="*/ 39 h 134"/>
                <a:gd name="T100" fmla="*/ 166 w 193"/>
                <a:gd name="T101" fmla="*/ 83 h 134"/>
                <a:gd name="T102" fmla="*/ 175 w 193"/>
                <a:gd name="T103" fmla="*/ 74 h 134"/>
                <a:gd name="T104" fmla="*/ 161 w 193"/>
                <a:gd name="T105" fmla="*/ 48 h 134"/>
                <a:gd name="T106" fmla="*/ 175 w 193"/>
                <a:gd name="T107" fmla="*/ 47 h 134"/>
                <a:gd name="T108" fmla="*/ 160 w 193"/>
                <a:gd name="T109" fmla="*/ 30 h 134"/>
                <a:gd name="T110" fmla="*/ 83 w 193"/>
                <a:gd name="T111" fmla="*/ 43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93" h="134">
                  <a:moveTo>
                    <a:pt x="166" y="32"/>
                  </a:moveTo>
                  <a:cubicBezTo>
                    <a:pt x="175" y="34"/>
                    <a:pt x="184" y="25"/>
                    <a:pt x="193" y="34"/>
                  </a:cubicBezTo>
                  <a:cubicBezTo>
                    <a:pt x="184" y="23"/>
                    <a:pt x="174" y="31"/>
                    <a:pt x="164" y="27"/>
                  </a:cubicBezTo>
                  <a:cubicBezTo>
                    <a:pt x="155" y="23"/>
                    <a:pt x="145" y="17"/>
                    <a:pt x="136" y="15"/>
                  </a:cubicBezTo>
                  <a:cubicBezTo>
                    <a:pt x="131" y="14"/>
                    <a:pt x="125" y="18"/>
                    <a:pt x="120" y="16"/>
                  </a:cubicBezTo>
                  <a:cubicBezTo>
                    <a:pt x="117" y="15"/>
                    <a:pt x="115" y="13"/>
                    <a:pt x="113" y="11"/>
                  </a:cubicBezTo>
                  <a:cubicBezTo>
                    <a:pt x="113" y="8"/>
                    <a:pt x="111" y="5"/>
                    <a:pt x="108" y="4"/>
                  </a:cubicBezTo>
                  <a:cubicBezTo>
                    <a:pt x="108" y="4"/>
                    <a:pt x="108" y="4"/>
                    <a:pt x="108" y="4"/>
                  </a:cubicBezTo>
                  <a:cubicBezTo>
                    <a:pt x="107" y="3"/>
                    <a:pt x="105" y="2"/>
                    <a:pt x="104" y="1"/>
                  </a:cubicBezTo>
                  <a:cubicBezTo>
                    <a:pt x="103" y="1"/>
                    <a:pt x="103" y="1"/>
                    <a:pt x="103" y="1"/>
                  </a:cubicBezTo>
                  <a:cubicBezTo>
                    <a:pt x="103" y="1"/>
                    <a:pt x="103" y="1"/>
                    <a:pt x="103" y="1"/>
                  </a:cubicBezTo>
                  <a:cubicBezTo>
                    <a:pt x="99" y="0"/>
                    <a:pt x="94" y="2"/>
                    <a:pt x="90" y="6"/>
                  </a:cubicBezTo>
                  <a:cubicBezTo>
                    <a:pt x="89" y="7"/>
                    <a:pt x="89" y="7"/>
                    <a:pt x="88" y="8"/>
                  </a:cubicBezTo>
                  <a:cubicBezTo>
                    <a:pt x="88" y="9"/>
                    <a:pt x="88" y="9"/>
                    <a:pt x="88" y="10"/>
                  </a:cubicBezTo>
                  <a:cubicBezTo>
                    <a:pt x="88" y="10"/>
                    <a:pt x="88" y="10"/>
                    <a:pt x="87" y="11"/>
                  </a:cubicBezTo>
                  <a:cubicBezTo>
                    <a:pt x="82" y="16"/>
                    <a:pt x="78" y="22"/>
                    <a:pt x="73" y="24"/>
                  </a:cubicBezTo>
                  <a:cubicBezTo>
                    <a:pt x="67" y="26"/>
                    <a:pt x="62" y="22"/>
                    <a:pt x="56" y="23"/>
                  </a:cubicBezTo>
                  <a:cubicBezTo>
                    <a:pt x="47" y="25"/>
                    <a:pt x="38" y="31"/>
                    <a:pt x="28" y="35"/>
                  </a:cubicBezTo>
                  <a:cubicBezTo>
                    <a:pt x="19" y="39"/>
                    <a:pt x="9" y="31"/>
                    <a:pt x="0" y="42"/>
                  </a:cubicBezTo>
                  <a:cubicBezTo>
                    <a:pt x="8" y="33"/>
                    <a:pt x="17" y="42"/>
                    <a:pt x="27" y="40"/>
                  </a:cubicBezTo>
                  <a:cubicBezTo>
                    <a:pt x="21" y="46"/>
                    <a:pt x="15" y="53"/>
                    <a:pt x="9" y="52"/>
                  </a:cubicBezTo>
                  <a:cubicBezTo>
                    <a:pt x="17" y="54"/>
                    <a:pt x="24" y="43"/>
                    <a:pt x="32" y="38"/>
                  </a:cubicBezTo>
                  <a:cubicBezTo>
                    <a:pt x="36" y="36"/>
                    <a:pt x="41" y="35"/>
                    <a:pt x="45" y="34"/>
                  </a:cubicBezTo>
                  <a:cubicBezTo>
                    <a:pt x="49" y="32"/>
                    <a:pt x="54" y="31"/>
                    <a:pt x="59" y="31"/>
                  </a:cubicBezTo>
                  <a:cubicBezTo>
                    <a:pt x="51" y="36"/>
                    <a:pt x="44" y="46"/>
                    <a:pt x="36" y="51"/>
                  </a:cubicBezTo>
                  <a:cubicBezTo>
                    <a:pt x="30" y="55"/>
                    <a:pt x="24" y="56"/>
                    <a:pt x="17" y="55"/>
                  </a:cubicBezTo>
                  <a:cubicBezTo>
                    <a:pt x="22" y="56"/>
                    <a:pt x="26" y="57"/>
                    <a:pt x="31" y="56"/>
                  </a:cubicBezTo>
                  <a:cubicBezTo>
                    <a:pt x="30" y="63"/>
                    <a:pt x="26" y="66"/>
                    <a:pt x="23" y="68"/>
                  </a:cubicBezTo>
                  <a:cubicBezTo>
                    <a:pt x="26" y="67"/>
                    <a:pt x="29" y="65"/>
                    <a:pt x="31" y="60"/>
                  </a:cubicBezTo>
                  <a:cubicBezTo>
                    <a:pt x="31" y="58"/>
                    <a:pt x="31" y="57"/>
                    <a:pt x="32" y="56"/>
                  </a:cubicBezTo>
                  <a:cubicBezTo>
                    <a:pt x="32" y="55"/>
                    <a:pt x="33" y="55"/>
                    <a:pt x="34" y="55"/>
                  </a:cubicBezTo>
                  <a:cubicBezTo>
                    <a:pt x="36" y="54"/>
                    <a:pt x="38" y="53"/>
                    <a:pt x="40" y="51"/>
                  </a:cubicBezTo>
                  <a:cubicBezTo>
                    <a:pt x="37" y="58"/>
                    <a:pt x="34" y="67"/>
                    <a:pt x="30" y="74"/>
                  </a:cubicBezTo>
                  <a:cubicBezTo>
                    <a:pt x="27" y="80"/>
                    <a:pt x="22" y="87"/>
                    <a:pt x="18" y="82"/>
                  </a:cubicBezTo>
                  <a:cubicBezTo>
                    <a:pt x="20" y="85"/>
                    <a:pt x="23" y="85"/>
                    <a:pt x="26" y="82"/>
                  </a:cubicBezTo>
                  <a:cubicBezTo>
                    <a:pt x="26" y="87"/>
                    <a:pt x="26" y="91"/>
                    <a:pt x="25" y="96"/>
                  </a:cubicBezTo>
                  <a:cubicBezTo>
                    <a:pt x="24" y="101"/>
                    <a:pt x="22" y="105"/>
                    <a:pt x="21" y="110"/>
                  </a:cubicBezTo>
                  <a:cubicBezTo>
                    <a:pt x="23" y="104"/>
                    <a:pt x="25" y="98"/>
                    <a:pt x="26" y="91"/>
                  </a:cubicBezTo>
                  <a:cubicBezTo>
                    <a:pt x="27" y="89"/>
                    <a:pt x="26" y="82"/>
                    <a:pt x="27" y="81"/>
                  </a:cubicBezTo>
                  <a:cubicBezTo>
                    <a:pt x="29" y="78"/>
                    <a:pt x="31" y="75"/>
                    <a:pt x="32" y="72"/>
                  </a:cubicBezTo>
                  <a:cubicBezTo>
                    <a:pt x="36" y="66"/>
                    <a:pt x="39" y="59"/>
                    <a:pt x="42" y="52"/>
                  </a:cubicBezTo>
                  <a:cubicBezTo>
                    <a:pt x="43" y="51"/>
                    <a:pt x="44" y="49"/>
                    <a:pt x="45" y="47"/>
                  </a:cubicBezTo>
                  <a:cubicBezTo>
                    <a:pt x="48" y="45"/>
                    <a:pt x="50" y="43"/>
                    <a:pt x="53" y="41"/>
                  </a:cubicBezTo>
                  <a:cubicBezTo>
                    <a:pt x="50" y="49"/>
                    <a:pt x="50" y="58"/>
                    <a:pt x="46" y="65"/>
                  </a:cubicBezTo>
                  <a:cubicBezTo>
                    <a:pt x="42" y="70"/>
                    <a:pt x="38" y="73"/>
                    <a:pt x="35" y="77"/>
                  </a:cubicBezTo>
                  <a:cubicBezTo>
                    <a:pt x="39" y="73"/>
                    <a:pt x="43" y="71"/>
                    <a:pt x="46" y="65"/>
                  </a:cubicBezTo>
                  <a:cubicBezTo>
                    <a:pt x="44" y="73"/>
                    <a:pt x="41" y="76"/>
                    <a:pt x="37" y="79"/>
                  </a:cubicBezTo>
                  <a:cubicBezTo>
                    <a:pt x="40" y="78"/>
                    <a:pt x="43" y="76"/>
                    <a:pt x="45" y="72"/>
                  </a:cubicBezTo>
                  <a:cubicBezTo>
                    <a:pt x="46" y="70"/>
                    <a:pt x="47" y="67"/>
                    <a:pt x="48" y="65"/>
                  </a:cubicBezTo>
                  <a:cubicBezTo>
                    <a:pt x="48" y="62"/>
                    <a:pt x="49" y="60"/>
                    <a:pt x="50" y="58"/>
                  </a:cubicBezTo>
                  <a:cubicBezTo>
                    <a:pt x="52" y="52"/>
                    <a:pt x="53" y="44"/>
                    <a:pt x="56" y="40"/>
                  </a:cubicBezTo>
                  <a:cubicBezTo>
                    <a:pt x="58" y="36"/>
                    <a:pt x="62" y="36"/>
                    <a:pt x="65" y="36"/>
                  </a:cubicBezTo>
                  <a:cubicBezTo>
                    <a:pt x="61" y="41"/>
                    <a:pt x="59" y="47"/>
                    <a:pt x="56" y="54"/>
                  </a:cubicBezTo>
                  <a:cubicBezTo>
                    <a:pt x="54" y="62"/>
                    <a:pt x="52" y="70"/>
                    <a:pt x="48" y="77"/>
                  </a:cubicBezTo>
                  <a:cubicBezTo>
                    <a:pt x="44" y="85"/>
                    <a:pt x="40" y="91"/>
                    <a:pt x="35" y="98"/>
                  </a:cubicBezTo>
                  <a:cubicBezTo>
                    <a:pt x="31" y="104"/>
                    <a:pt x="28" y="110"/>
                    <a:pt x="27" y="119"/>
                  </a:cubicBezTo>
                  <a:cubicBezTo>
                    <a:pt x="28" y="112"/>
                    <a:pt x="31" y="107"/>
                    <a:pt x="34" y="102"/>
                  </a:cubicBezTo>
                  <a:cubicBezTo>
                    <a:pt x="38" y="96"/>
                    <a:pt x="43" y="91"/>
                    <a:pt x="47" y="85"/>
                  </a:cubicBezTo>
                  <a:cubicBezTo>
                    <a:pt x="47" y="87"/>
                    <a:pt x="47" y="90"/>
                    <a:pt x="47" y="92"/>
                  </a:cubicBezTo>
                  <a:cubicBezTo>
                    <a:pt x="47" y="95"/>
                    <a:pt x="46" y="96"/>
                    <a:pt x="45" y="99"/>
                  </a:cubicBezTo>
                  <a:cubicBezTo>
                    <a:pt x="43" y="104"/>
                    <a:pt x="41" y="109"/>
                    <a:pt x="38" y="113"/>
                  </a:cubicBezTo>
                  <a:cubicBezTo>
                    <a:pt x="42" y="109"/>
                    <a:pt x="44" y="103"/>
                    <a:pt x="47" y="97"/>
                  </a:cubicBezTo>
                  <a:cubicBezTo>
                    <a:pt x="47" y="111"/>
                    <a:pt x="48" y="124"/>
                    <a:pt x="42" y="134"/>
                  </a:cubicBezTo>
                  <a:cubicBezTo>
                    <a:pt x="48" y="126"/>
                    <a:pt x="48" y="114"/>
                    <a:pt x="48" y="101"/>
                  </a:cubicBezTo>
                  <a:cubicBezTo>
                    <a:pt x="50" y="107"/>
                    <a:pt x="53" y="104"/>
                    <a:pt x="56" y="109"/>
                  </a:cubicBezTo>
                  <a:cubicBezTo>
                    <a:pt x="58" y="112"/>
                    <a:pt x="58" y="119"/>
                    <a:pt x="58" y="124"/>
                  </a:cubicBezTo>
                  <a:cubicBezTo>
                    <a:pt x="58" y="117"/>
                    <a:pt x="58" y="108"/>
                    <a:pt x="54" y="105"/>
                  </a:cubicBezTo>
                  <a:cubicBezTo>
                    <a:pt x="53" y="104"/>
                    <a:pt x="51" y="104"/>
                    <a:pt x="49" y="101"/>
                  </a:cubicBezTo>
                  <a:cubicBezTo>
                    <a:pt x="48" y="98"/>
                    <a:pt x="48" y="94"/>
                    <a:pt x="48" y="90"/>
                  </a:cubicBezTo>
                  <a:cubicBezTo>
                    <a:pt x="48" y="87"/>
                    <a:pt x="49" y="84"/>
                    <a:pt x="50" y="81"/>
                  </a:cubicBezTo>
                  <a:cubicBezTo>
                    <a:pt x="51" y="77"/>
                    <a:pt x="52" y="75"/>
                    <a:pt x="54" y="72"/>
                  </a:cubicBezTo>
                  <a:cubicBezTo>
                    <a:pt x="56" y="67"/>
                    <a:pt x="57" y="61"/>
                    <a:pt x="59" y="56"/>
                  </a:cubicBezTo>
                  <a:cubicBezTo>
                    <a:pt x="61" y="50"/>
                    <a:pt x="64" y="45"/>
                    <a:pt x="67" y="42"/>
                  </a:cubicBezTo>
                  <a:cubicBezTo>
                    <a:pt x="71" y="37"/>
                    <a:pt x="75" y="34"/>
                    <a:pt x="79" y="31"/>
                  </a:cubicBezTo>
                  <a:cubicBezTo>
                    <a:pt x="81" y="30"/>
                    <a:pt x="82" y="29"/>
                    <a:pt x="84" y="28"/>
                  </a:cubicBezTo>
                  <a:cubicBezTo>
                    <a:pt x="84" y="30"/>
                    <a:pt x="84" y="30"/>
                    <a:pt x="83" y="32"/>
                  </a:cubicBezTo>
                  <a:cubicBezTo>
                    <a:pt x="83" y="32"/>
                    <a:pt x="83" y="32"/>
                    <a:pt x="83" y="32"/>
                  </a:cubicBezTo>
                  <a:cubicBezTo>
                    <a:pt x="82" y="33"/>
                    <a:pt x="81" y="34"/>
                    <a:pt x="80" y="35"/>
                  </a:cubicBezTo>
                  <a:cubicBezTo>
                    <a:pt x="79" y="36"/>
                    <a:pt x="79" y="37"/>
                    <a:pt x="78" y="37"/>
                  </a:cubicBezTo>
                  <a:cubicBezTo>
                    <a:pt x="77" y="38"/>
                    <a:pt x="76" y="40"/>
                    <a:pt x="76" y="41"/>
                  </a:cubicBezTo>
                  <a:cubicBezTo>
                    <a:pt x="75" y="41"/>
                    <a:pt x="75" y="41"/>
                    <a:pt x="75" y="41"/>
                  </a:cubicBezTo>
                  <a:cubicBezTo>
                    <a:pt x="75" y="42"/>
                    <a:pt x="75" y="43"/>
                    <a:pt x="74" y="43"/>
                  </a:cubicBezTo>
                  <a:cubicBezTo>
                    <a:pt x="73" y="45"/>
                    <a:pt x="72" y="48"/>
                    <a:pt x="71" y="50"/>
                  </a:cubicBezTo>
                  <a:cubicBezTo>
                    <a:pt x="68" y="59"/>
                    <a:pt x="67" y="71"/>
                    <a:pt x="68" y="79"/>
                  </a:cubicBezTo>
                  <a:cubicBezTo>
                    <a:pt x="67" y="71"/>
                    <a:pt x="69" y="61"/>
                    <a:pt x="72" y="53"/>
                  </a:cubicBezTo>
                  <a:cubicBezTo>
                    <a:pt x="73" y="50"/>
                    <a:pt x="74" y="47"/>
                    <a:pt x="75" y="44"/>
                  </a:cubicBezTo>
                  <a:cubicBezTo>
                    <a:pt x="75" y="48"/>
                    <a:pt x="75" y="52"/>
                    <a:pt x="75" y="56"/>
                  </a:cubicBezTo>
                  <a:cubicBezTo>
                    <a:pt x="75" y="62"/>
                    <a:pt x="75" y="68"/>
                    <a:pt x="75" y="74"/>
                  </a:cubicBezTo>
                  <a:cubicBezTo>
                    <a:pt x="73" y="85"/>
                    <a:pt x="69" y="91"/>
                    <a:pt x="64" y="97"/>
                  </a:cubicBezTo>
                  <a:cubicBezTo>
                    <a:pt x="66" y="94"/>
                    <a:pt x="69" y="91"/>
                    <a:pt x="71" y="87"/>
                  </a:cubicBezTo>
                  <a:cubicBezTo>
                    <a:pt x="74" y="81"/>
                    <a:pt x="75" y="74"/>
                    <a:pt x="75" y="67"/>
                  </a:cubicBezTo>
                  <a:cubicBezTo>
                    <a:pt x="75" y="67"/>
                    <a:pt x="75" y="67"/>
                    <a:pt x="75" y="67"/>
                  </a:cubicBezTo>
                  <a:cubicBezTo>
                    <a:pt x="75" y="67"/>
                    <a:pt x="75" y="67"/>
                    <a:pt x="75" y="67"/>
                  </a:cubicBezTo>
                  <a:cubicBezTo>
                    <a:pt x="75" y="67"/>
                    <a:pt x="76" y="67"/>
                    <a:pt x="76" y="67"/>
                  </a:cubicBezTo>
                  <a:cubicBezTo>
                    <a:pt x="76" y="60"/>
                    <a:pt x="76" y="53"/>
                    <a:pt x="77" y="46"/>
                  </a:cubicBezTo>
                  <a:cubicBezTo>
                    <a:pt x="77" y="44"/>
                    <a:pt x="77" y="43"/>
                    <a:pt x="78" y="41"/>
                  </a:cubicBezTo>
                  <a:cubicBezTo>
                    <a:pt x="79" y="39"/>
                    <a:pt x="81" y="37"/>
                    <a:pt x="83" y="35"/>
                  </a:cubicBezTo>
                  <a:cubicBezTo>
                    <a:pt x="83" y="35"/>
                    <a:pt x="83" y="36"/>
                    <a:pt x="83" y="36"/>
                  </a:cubicBezTo>
                  <a:cubicBezTo>
                    <a:pt x="83" y="39"/>
                    <a:pt x="83" y="39"/>
                    <a:pt x="82" y="42"/>
                  </a:cubicBezTo>
                  <a:cubicBezTo>
                    <a:pt x="81" y="45"/>
                    <a:pt x="81" y="49"/>
                    <a:pt x="80" y="52"/>
                  </a:cubicBezTo>
                  <a:cubicBezTo>
                    <a:pt x="79" y="56"/>
                    <a:pt x="78" y="61"/>
                    <a:pt x="78" y="65"/>
                  </a:cubicBezTo>
                  <a:cubicBezTo>
                    <a:pt x="77" y="66"/>
                    <a:pt x="77" y="67"/>
                    <a:pt x="76" y="67"/>
                  </a:cubicBezTo>
                  <a:cubicBezTo>
                    <a:pt x="76" y="67"/>
                    <a:pt x="76" y="67"/>
                    <a:pt x="76" y="67"/>
                  </a:cubicBezTo>
                  <a:cubicBezTo>
                    <a:pt x="76" y="67"/>
                    <a:pt x="76" y="67"/>
                    <a:pt x="76" y="67"/>
                  </a:cubicBezTo>
                  <a:cubicBezTo>
                    <a:pt x="77" y="67"/>
                    <a:pt x="77" y="66"/>
                    <a:pt x="78" y="66"/>
                  </a:cubicBezTo>
                  <a:cubicBezTo>
                    <a:pt x="77" y="70"/>
                    <a:pt x="78" y="73"/>
                    <a:pt x="79" y="76"/>
                  </a:cubicBezTo>
                  <a:cubicBezTo>
                    <a:pt x="79" y="76"/>
                    <a:pt x="79" y="76"/>
                    <a:pt x="79" y="76"/>
                  </a:cubicBezTo>
                  <a:cubicBezTo>
                    <a:pt x="79" y="76"/>
                    <a:pt x="79" y="76"/>
                    <a:pt x="79" y="75"/>
                  </a:cubicBezTo>
                  <a:cubicBezTo>
                    <a:pt x="78" y="73"/>
                    <a:pt x="78" y="69"/>
                    <a:pt x="78" y="65"/>
                  </a:cubicBezTo>
                  <a:cubicBezTo>
                    <a:pt x="81" y="61"/>
                    <a:pt x="83" y="51"/>
                    <a:pt x="84" y="44"/>
                  </a:cubicBezTo>
                  <a:cubicBezTo>
                    <a:pt x="84" y="44"/>
                    <a:pt x="84" y="44"/>
                    <a:pt x="84" y="43"/>
                  </a:cubicBezTo>
                  <a:cubicBezTo>
                    <a:pt x="85" y="41"/>
                    <a:pt x="85" y="38"/>
                    <a:pt x="85" y="35"/>
                  </a:cubicBezTo>
                  <a:cubicBezTo>
                    <a:pt x="85" y="32"/>
                    <a:pt x="85" y="30"/>
                    <a:pt x="85" y="27"/>
                  </a:cubicBezTo>
                  <a:cubicBezTo>
                    <a:pt x="87" y="25"/>
                    <a:pt x="89" y="23"/>
                    <a:pt x="92" y="21"/>
                  </a:cubicBezTo>
                  <a:cubicBezTo>
                    <a:pt x="92" y="21"/>
                    <a:pt x="92" y="21"/>
                    <a:pt x="93" y="21"/>
                  </a:cubicBezTo>
                  <a:cubicBezTo>
                    <a:pt x="92" y="24"/>
                    <a:pt x="91" y="26"/>
                    <a:pt x="90" y="28"/>
                  </a:cubicBezTo>
                  <a:cubicBezTo>
                    <a:pt x="88" y="33"/>
                    <a:pt x="87" y="38"/>
                    <a:pt x="87" y="43"/>
                  </a:cubicBezTo>
                  <a:cubicBezTo>
                    <a:pt x="87" y="44"/>
                    <a:pt x="87" y="44"/>
                    <a:pt x="87" y="44"/>
                  </a:cubicBezTo>
                  <a:cubicBezTo>
                    <a:pt x="87" y="44"/>
                    <a:pt x="87" y="44"/>
                    <a:pt x="87" y="44"/>
                  </a:cubicBezTo>
                  <a:cubicBezTo>
                    <a:pt x="87" y="45"/>
                    <a:pt x="87" y="47"/>
                    <a:pt x="87" y="48"/>
                  </a:cubicBezTo>
                  <a:cubicBezTo>
                    <a:pt x="88" y="53"/>
                    <a:pt x="90" y="56"/>
                    <a:pt x="91" y="60"/>
                  </a:cubicBezTo>
                  <a:cubicBezTo>
                    <a:pt x="89" y="53"/>
                    <a:pt x="86" y="45"/>
                    <a:pt x="89" y="35"/>
                  </a:cubicBezTo>
                  <a:cubicBezTo>
                    <a:pt x="91" y="30"/>
                    <a:pt x="93" y="25"/>
                    <a:pt x="95" y="20"/>
                  </a:cubicBezTo>
                  <a:cubicBezTo>
                    <a:pt x="95" y="20"/>
                    <a:pt x="95" y="20"/>
                    <a:pt x="96" y="20"/>
                  </a:cubicBezTo>
                  <a:cubicBezTo>
                    <a:pt x="97" y="24"/>
                    <a:pt x="97" y="28"/>
                    <a:pt x="96" y="33"/>
                  </a:cubicBezTo>
                  <a:cubicBezTo>
                    <a:pt x="96" y="41"/>
                    <a:pt x="94" y="51"/>
                    <a:pt x="91" y="58"/>
                  </a:cubicBezTo>
                  <a:cubicBezTo>
                    <a:pt x="96" y="48"/>
                    <a:pt x="99" y="30"/>
                    <a:pt x="97" y="20"/>
                  </a:cubicBezTo>
                  <a:cubicBezTo>
                    <a:pt x="97" y="20"/>
                    <a:pt x="97" y="20"/>
                    <a:pt x="97" y="19"/>
                  </a:cubicBezTo>
                  <a:cubicBezTo>
                    <a:pt x="98" y="19"/>
                    <a:pt x="100" y="19"/>
                    <a:pt x="101" y="18"/>
                  </a:cubicBezTo>
                  <a:cubicBezTo>
                    <a:pt x="101" y="18"/>
                    <a:pt x="101" y="18"/>
                    <a:pt x="101" y="18"/>
                  </a:cubicBezTo>
                  <a:cubicBezTo>
                    <a:pt x="101" y="23"/>
                    <a:pt x="102" y="28"/>
                    <a:pt x="103" y="32"/>
                  </a:cubicBezTo>
                  <a:cubicBezTo>
                    <a:pt x="103" y="35"/>
                    <a:pt x="104" y="39"/>
                    <a:pt x="104" y="42"/>
                  </a:cubicBezTo>
                  <a:cubicBezTo>
                    <a:pt x="104" y="44"/>
                    <a:pt x="104" y="46"/>
                    <a:pt x="103" y="48"/>
                  </a:cubicBezTo>
                  <a:cubicBezTo>
                    <a:pt x="102" y="53"/>
                    <a:pt x="101" y="58"/>
                    <a:pt x="100" y="62"/>
                  </a:cubicBezTo>
                  <a:cubicBezTo>
                    <a:pt x="99" y="62"/>
                    <a:pt x="99" y="61"/>
                    <a:pt x="99" y="60"/>
                  </a:cubicBezTo>
                  <a:cubicBezTo>
                    <a:pt x="99" y="60"/>
                    <a:pt x="98" y="61"/>
                    <a:pt x="98" y="61"/>
                  </a:cubicBezTo>
                  <a:cubicBezTo>
                    <a:pt x="99" y="64"/>
                    <a:pt x="100" y="67"/>
                    <a:pt x="101" y="70"/>
                  </a:cubicBezTo>
                  <a:cubicBezTo>
                    <a:pt x="101" y="70"/>
                    <a:pt x="101" y="70"/>
                    <a:pt x="101" y="70"/>
                  </a:cubicBezTo>
                  <a:cubicBezTo>
                    <a:pt x="100" y="67"/>
                    <a:pt x="101" y="67"/>
                    <a:pt x="102" y="64"/>
                  </a:cubicBezTo>
                  <a:cubicBezTo>
                    <a:pt x="103" y="60"/>
                    <a:pt x="104" y="57"/>
                    <a:pt x="105" y="53"/>
                  </a:cubicBezTo>
                  <a:cubicBezTo>
                    <a:pt x="106" y="60"/>
                    <a:pt x="106" y="67"/>
                    <a:pt x="106" y="75"/>
                  </a:cubicBezTo>
                  <a:cubicBezTo>
                    <a:pt x="106" y="77"/>
                    <a:pt x="105" y="79"/>
                    <a:pt x="105" y="81"/>
                  </a:cubicBezTo>
                  <a:cubicBezTo>
                    <a:pt x="106" y="82"/>
                    <a:pt x="106" y="82"/>
                    <a:pt x="106" y="83"/>
                  </a:cubicBezTo>
                  <a:cubicBezTo>
                    <a:pt x="107" y="78"/>
                    <a:pt x="108" y="74"/>
                    <a:pt x="108" y="69"/>
                  </a:cubicBezTo>
                  <a:cubicBezTo>
                    <a:pt x="110" y="81"/>
                    <a:pt x="113" y="92"/>
                    <a:pt x="117" y="101"/>
                  </a:cubicBezTo>
                  <a:cubicBezTo>
                    <a:pt x="121" y="109"/>
                    <a:pt x="125" y="114"/>
                    <a:pt x="130" y="118"/>
                  </a:cubicBezTo>
                  <a:cubicBezTo>
                    <a:pt x="126" y="114"/>
                    <a:pt x="122" y="108"/>
                    <a:pt x="118" y="101"/>
                  </a:cubicBezTo>
                  <a:cubicBezTo>
                    <a:pt x="115" y="92"/>
                    <a:pt x="112" y="81"/>
                    <a:pt x="111" y="70"/>
                  </a:cubicBezTo>
                  <a:cubicBezTo>
                    <a:pt x="108" y="53"/>
                    <a:pt x="107" y="35"/>
                    <a:pt x="105" y="17"/>
                  </a:cubicBezTo>
                  <a:cubicBezTo>
                    <a:pt x="105" y="17"/>
                    <a:pt x="106" y="18"/>
                    <a:pt x="106" y="18"/>
                  </a:cubicBezTo>
                  <a:cubicBezTo>
                    <a:pt x="108" y="20"/>
                    <a:pt x="111" y="22"/>
                    <a:pt x="113" y="23"/>
                  </a:cubicBezTo>
                  <a:cubicBezTo>
                    <a:pt x="114" y="24"/>
                    <a:pt x="115" y="25"/>
                    <a:pt x="116" y="25"/>
                  </a:cubicBezTo>
                  <a:cubicBezTo>
                    <a:pt x="117" y="26"/>
                    <a:pt x="117" y="28"/>
                    <a:pt x="117" y="30"/>
                  </a:cubicBezTo>
                  <a:cubicBezTo>
                    <a:pt x="117" y="33"/>
                    <a:pt x="116" y="37"/>
                    <a:pt x="116" y="40"/>
                  </a:cubicBezTo>
                  <a:cubicBezTo>
                    <a:pt x="114" y="54"/>
                    <a:pt x="121" y="63"/>
                    <a:pt x="123" y="75"/>
                  </a:cubicBezTo>
                  <a:cubicBezTo>
                    <a:pt x="122" y="67"/>
                    <a:pt x="119" y="61"/>
                    <a:pt x="117" y="54"/>
                  </a:cubicBezTo>
                  <a:cubicBezTo>
                    <a:pt x="116" y="49"/>
                    <a:pt x="116" y="45"/>
                    <a:pt x="117" y="41"/>
                  </a:cubicBezTo>
                  <a:cubicBezTo>
                    <a:pt x="117" y="37"/>
                    <a:pt x="119" y="33"/>
                    <a:pt x="118" y="28"/>
                  </a:cubicBezTo>
                  <a:cubicBezTo>
                    <a:pt x="124" y="39"/>
                    <a:pt x="127" y="54"/>
                    <a:pt x="134" y="64"/>
                  </a:cubicBezTo>
                  <a:cubicBezTo>
                    <a:pt x="128" y="54"/>
                    <a:pt x="126" y="41"/>
                    <a:pt x="121" y="30"/>
                  </a:cubicBezTo>
                  <a:cubicBezTo>
                    <a:pt x="122" y="30"/>
                    <a:pt x="122" y="30"/>
                    <a:pt x="123" y="30"/>
                  </a:cubicBezTo>
                  <a:cubicBezTo>
                    <a:pt x="123" y="31"/>
                    <a:pt x="124" y="32"/>
                    <a:pt x="125" y="34"/>
                  </a:cubicBezTo>
                  <a:cubicBezTo>
                    <a:pt x="128" y="37"/>
                    <a:pt x="131" y="42"/>
                    <a:pt x="133" y="48"/>
                  </a:cubicBezTo>
                  <a:cubicBezTo>
                    <a:pt x="135" y="53"/>
                    <a:pt x="137" y="59"/>
                    <a:pt x="139" y="64"/>
                  </a:cubicBezTo>
                  <a:cubicBezTo>
                    <a:pt x="140" y="67"/>
                    <a:pt x="142" y="69"/>
                    <a:pt x="143" y="73"/>
                  </a:cubicBezTo>
                  <a:cubicBezTo>
                    <a:pt x="144" y="76"/>
                    <a:pt x="144" y="79"/>
                    <a:pt x="144" y="82"/>
                  </a:cubicBezTo>
                  <a:cubicBezTo>
                    <a:pt x="144" y="86"/>
                    <a:pt x="144" y="90"/>
                    <a:pt x="143" y="93"/>
                  </a:cubicBezTo>
                  <a:cubicBezTo>
                    <a:pt x="142" y="96"/>
                    <a:pt x="140" y="96"/>
                    <a:pt x="138" y="97"/>
                  </a:cubicBezTo>
                  <a:cubicBezTo>
                    <a:pt x="134" y="100"/>
                    <a:pt x="134" y="109"/>
                    <a:pt x="134" y="116"/>
                  </a:cubicBezTo>
                  <a:cubicBezTo>
                    <a:pt x="134" y="111"/>
                    <a:pt x="135" y="104"/>
                    <a:pt x="137" y="101"/>
                  </a:cubicBezTo>
                  <a:cubicBezTo>
                    <a:pt x="139" y="96"/>
                    <a:pt x="142" y="99"/>
                    <a:pt x="144" y="93"/>
                  </a:cubicBezTo>
                  <a:cubicBezTo>
                    <a:pt x="144" y="106"/>
                    <a:pt x="145" y="118"/>
                    <a:pt x="150" y="126"/>
                  </a:cubicBezTo>
                  <a:cubicBezTo>
                    <a:pt x="144" y="116"/>
                    <a:pt x="145" y="103"/>
                    <a:pt x="146" y="89"/>
                  </a:cubicBezTo>
                  <a:cubicBezTo>
                    <a:pt x="148" y="95"/>
                    <a:pt x="151" y="101"/>
                    <a:pt x="154" y="105"/>
                  </a:cubicBezTo>
                  <a:cubicBezTo>
                    <a:pt x="151" y="101"/>
                    <a:pt x="149" y="96"/>
                    <a:pt x="147" y="91"/>
                  </a:cubicBezTo>
                  <a:cubicBezTo>
                    <a:pt x="146" y="88"/>
                    <a:pt x="146" y="87"/>
                    <a:pt x="146" y="84"/>
                  </a:cubicBezTo>
                  <a:cubicBezTo>
                    <a:pt x="146" y="82"/>
                    <a:pt x="146" y="79"/>
                    <a:pt x="145" y="77"/>
                  </a:cubicBezTo>
                  <a:cubicBezTo>
                    <a:pt x="150" y="83"/>
                    <a:pt x="154" y="88"/>
                    <a:pt x="159" y="94"/>
                  </a:cubicBezTo>
                  <a:cubicBezTo>
                    <a:pt x="162" y="99"/>
                    <a:pt x="164" y="104"/>
                    <a:pt x="165" y="111"/>
                  </a:cubicBezTo>
                  <a:cubicBezTo>
                    <a:pt x="164" y="102"/>
                    <a:pt x="161" y="96"/>
                    <a:pt x="157" y="90"/>
                  </a:cubicBezTo>
                  <a:cubicBezTo>
                    <a:pt x="153" y="83"/>
                    <a:pt x="148" y="77"/>
                    <a:pt x="144" y="69"/>
                  </a:cubicBezTo>
                  <a:cubicBezTo>
                    <a:pt x="141" y="62"/>
                    <a:pt x="139" y="54"/>
                    <a:pt x="136" y="46"/>
                  </a:cubicBezTo>
                  <a:cubicBezTo>
                    <a:pt x="134" y="40"/>
                    <a:pt x="132" y="35"/>
                    <a:pt x="129" y="30"/>
                  </a:cubicBezTo>
                  <a:cubicBezTo>
                    <a:pt x="130" y="30"/>
                    <a:pt x="131" y="30"/>
                    <a:pt x="132" y="31"/>
                  </a:cubicBezTo>
                  <a:cubicBezTo>
                    <a:pt x="135" y="33"/>
                    <a:pt x="136" y="38"/>
                    <a:pt x="137" y="41"/>
                  </a:cubicBezTo>
                  <a:cubicBezTo>
                    <a:pt x="139" y="44"/>
                    <a:pt x="140" y="46"/>
                    <a:pt x="141" y="48"/>
                  </a:cubicBezTo>
                  <a:cubicBezTo>
                    <a:pt x="139" y="44"/>
                    <a:pt x="137" y="40"/>
                    <a:pt x="136" y="36"/>
                  </a:cubicBezTo>
                  <a:cubicBezTo>
                    <a:pt x="134" y="30"/>
                    <a:pt x="132" y="27"/>
                    <a:pt x="128" y="28"/>
                  </a:cubicBezTo>
                  <a:cubicBezTo>
                    <a:pt x="128" y="28"/>
                    <a:pt x="128" y="28"/>
                    <a:pt x="128" y="28"/>
                  </a:cubicBezTo>
                  <a:cubicBezTo>
                    <a:pt x="128" y="28"/>
                    <a:pt x="128" y="28"/>
                    <a:pt x="128" y="28"/>
                  </a:cubicBezTo>
                  <a:cubicBezTo>
                    <a:pt x="130" y="28"/>
                    <a:pt x="134" y="28"/>
                    <a:pt x="136" y="32"/>
                  </a:cubicBezTo>
                  <a:cubicBezTo>
                    <a:pt x="139" y="36"/>
                    <a:pt x="140" y="44"/>
                    <a:pt x="142" y="50"/>
                  </a:cubicBezTo>
                  <a:cubicBezTo>
                    <a:pt x="143" y="52"/>
                    <a:pt x="144" y="54"/>
                    <a:pt x="145" y="57"/>
                  </a:cubicBezTo>
                  <a:cubicBezTo>
                    <a:pt x="145" y="59"/>
                    <a:pt x="146" y="62"/>
                    <a:pt x="147" y="64"/>
                  </a:cubicBezTo>
                  <a:cubicBezTo>
                    <a:pt x="149" y="68"/>
                    <a:pt x="152" y="70"/>
                    <a:pt x="155" y="71"/>
                  </a:cubicBezTo>
                  <a:cubicBezTo>
                    <a:pt x="151" y="68"/>
                    <a:pt x="148" y="65"/>
                    <a:pt x="146" y="57"/>
                  </a:cubicBezTo>
                  <a:cubicBezTo>
                    <a:pt x="150" y="63"/>
                    <a:pt x="154" y="65"/>
                    <a:pt x="158" y="69"/>
                  </a:cubicBezTo>
                  <a:cubicBezTo>
                    <a:pt x="154" y="65"/>
                    <a:pt x="150" y="62"/>
                    <a:pt x="147" y="57"/>
                  </a:cubicBezTo>
                  <a:cubicBezTo>
                    <a:pt x="143" y="50"/>
                    <a:pt x="142" y="41"/>
                    <a:pt x="139" y="33"/>
                  </a:cubicBezTo>
                  <a:cubicBezTo>
                    <a:pt x="142" y="35"/>
                    <a:pt x="144" y="37"/>
                    <a:pt x="147" y="39"/>
                  </a:cubicBezTo>
                  <a:cubicBezTo>
                    <a:pt x="148" y="41"/>
                    <a:pt x="149" y="43"/>
                    <a:pt x="150" y="44"/>
                  </a:cubicBezTo>
                  <a:cubicBezTo>
                    <a:pt x="153" y="51"/>
                    <a:pt x="157" y="58"/>
                    <a:pt x="160" y="64"/>
                  </a:cubicBezTo>
                  <a:cubicBezTo>
                    <a:pt x="162" y="67"/>
                    <a:pt x="164" y="70"/>
                    <a:pt x="165" y="73"/>
                  </a:cubicBezTo>
                  <a:cubicBezTo>
                    <a:pt x="166" y="74"/>
                    <a:pt x="166" y="81"/>
                    <a:pt x="166" y="83"/>
                  </a:cubicBezTo>
                  <a:cubicBezTo>
                    <a:pt x="167" y="90"/>
                    <a:pt x="170" y="96"/>
                    <a:pt x="171" y="102"/>
                  </a:cubicBezTo>
                  <a:cubicBezTo>
                    <a:pt x="170" y="97"/>
                    <a:pt x="169" y="93"/>
                    <a:pt x="168" y="88"/>
                  </a:cubicBezTo>
                  <a:cubicBezTo>
                    <a:pt x="166" y="83"/>
                    <a:pt x="167" y="79"/>
                    <a:pt x="167" y="74"/>
                  </a:cubicBezTo>
                  <a:cubicBezTo>
                    <a:pt x="169" y="77"/>
                    <a:pt x="172" y="77"/>
                    <a:pt x="175" y="74"/>
                  </a:cubicBezTo>
                  <a:cubicBezTo>
                    <a:pt x="170" y="79"/>
                    <a:pt x="166" y="72"/>
                    <a:pt x="162" y="66"/>
                  </a:cubicBezTo>
                  <a:cubicBezTo>
                    <a:pt x="159" y="59"/>
                    <a:pt x="156" y="50"/>
                    <a:pt x="152" y="43"/>
                  </a:cubicBezTo>
                  <a:cubicBezTo>
                    <a:pt x="154" y="45"/>
                    <a:pt x="156" y="46"/>
                    <a:pt x="158" y="47"/>
                  </a:cubicBezTo>
                  <a:cubicBezTo>
                    <a:pt x="159" y="47"/>
                    <a:pt x="160" y="47"/>
                    <a:pt x="161" y="48"/>
                  </a:cubicBezTo>
                  <a:cubicBezTo>
                    <a:pt x="161" y="49"/>
                    <a:pt x="161" y="50"/>
                    <a:pt x="162" y="52"/>
                  </a:cubicBezTo>
                  <a:cubicBezTo>
                    <a:pt x="164" y="57"/>
                    <a:pt x="167" y="59"/>
                    <a:pt x="170" y="60"/>
                  </a:cubicBezTo>
                  <a:cubicBezTo>
                    <a:pt x="167" y="58"/>
                    <a:pt x="163" y="55"/>
                    <a:pt x="162" y="48"/>
                  </a:cubicBezTo>
                  <a:cubicBezTo>
                    <a:pt x="166" y="49"/>
                    <a:pt x="170" y="48"/>
                    <a:pt x="175" y="47"/>
                  </a:cubicBezTo>
                  <a:cubicBezTo>
                    <a:pt x="168" y="48"/>
                    <a:pt x="162" y="47"/>
                    <a:pt x="156" y="43"/>
                  </a:cubicBezTo>
                  <a:cubicBezTo>
                    <a:pt x="148" y="38"/>
                    <a:pt x="142" y="28"/>
                    <a:pt x="134" y="23"/>
                  </a:cubicBezTo>
                  <a:cubicBezTo>
                    <a:pt x="138" y="23"/>
                    <a:pt x="143" y="24"/>
                    <a:pt x="147" y="26"/>
                  </a:cubicBezTo>
                  <a:cubicBezTo>
                    <a:pt x="152" y="27"/>
                    <a:pt x="156" y="28"/>
                    <a:pt x="160" y="30"/>
                  </a:cubicBezTo>
                  <a:cubicBezTo>
                    <a:pt x="168" y="35"/>
                    <a:pt x="175" y="46"/>
                    <a:pt x="184" y="44"/>
                  </a:cubicBezTo>
                  <a:cubicBezTo>
                    <a:pt x="177" y="45"/>
                    <a:pt x="172" y="38"/>
                    <a:pt x="166" y="32"/>
                  </a:cubicBezTo>
                  <a:close/>
                  <a:moveTo>
                    <a:pt x="78" y="65"/>
                  </a:moveTo>
                  <a:cubicBezTo>
                    <a:pt x="79" y="57"/>
                    <a:pt x="81" y="49"/>
                    <a:pt x="83" y="43"/>
                  </a:cubicBezTo>
                  <a:cubicBezTo>
                    <a:pt x="83" y="51"/>
                    <a:pt x="81" y="60"/>
                    <a:pt x="78" y="65"/>
                  </a:cubicBezTo>
                  <a:close/>
                </a:path>
              </a:pathLst>
            </a:custGeom>
            <a:solidFill>
              <a:srgbClr val="A27729"/>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grpSp>
          <p:nvGrpSpPr>
            <p:cNvPr id="18" name="Group 20">
              <a:extLst>
                <a:ext uri="{FF2B5EF4-FFF2-40B4-BE49-F238E27FC236}">
                  <a16:creationId xmlns:a16="http://schemas.microsoft.com/office/drawing/2014/main" id="{A8BC97C4-9DA2-4573-ACAF-57B984D60EA5}"/>
                </a:ext>
              </a:extLst>
            </p:cNvPr>
            <p:cNvGrpSpPr/>
            <p:nvPr/>
          </p:nvGrpSpPr>
          <p:grpSpPr>
            <a:xfrm rot="7528282">
              <a:off x="5040832" y="3290101"/>
              <a:ext cx="354285" cy="258559"/>
              <a:chOff x="2577029" y="3393476"/>
              <a:chExt cx="399700" cy="291703"/>
            </a:xfrm>
          </p:grpSpPr>
          <p:sp>
            <p:nvSpPr>
              <p:cNvPr id="26" name="Freeform 21">
                <a:extLst>
                  <a:ext uri="{FF2B5EF4-FFF2-40B4-BE49-F238E27FC236}">
                    <a16:creationId xmlns:a16="http://schemas.microsoft.com/office/drawing/2014/main" id="{70BEC935-8C2D-48DB-8295-DA230023D975}"/>
                  </a:ext>
                </a:extLst>
              </p:cNvPr>
              <p:cNvSpPr>
                <a:spLocks/>
              </p:cNvSpPr>
              <p:nvPr/>
            </p:nvSpPr>
            <p:spPr bwMode="auto">
              <a:xfrm>
                <a:off x="2577029" y="3393476"/>
                <a:ext cx="306177" cy="291703"/>
              </a:xfrm>
              <a:custGeom>
                <a:avLst/>
                <a:gdLst>
                  <a:gd name="T0" fmla="*/ 0 w 56"/>
                  <a:gd name="T1" fmla="*/ 3 h 53"/>
                  <a:gd name="T2" fmla="*/ 8 w 56"/>
                  <a:gd name="T3" fmla="*/ 11 h 53"/>
                  <a:gd name="T4" fmla="*/ 21 w 56"/>
                  <a:gd name="T5" fmla="*/ 42 h 53"/>
                  <a:gd name="T6" fmla="*/ 45 w 56"/>
                  <a:gd name="T7" fmla="*/ 49 h 53"/>
                  <a:gd name="T8" fmla="*/ 49 w 56"/>
                  <a:gd name="T9" fmla="*/ 43 h 53"/>
                  <a:gd name="T10" fmla="*/ 54 w 56"/>
                  <a:gd name="T11" fmla="*/ 34 h 53"/>
                  <a:gd name="T12" fmla="*/ 0 w 56"/>
                  <a:gd name="T13" fmla="*/ 3 h 53"/>
                </a:gdLst>
                <a:ahLst/>
                <a:cxnLst>
                  <a:cxn ang="0">
                    <a:pos x="T0" y="T1"/>
                  </a:cxn>
                  <a:cxn ang="0">
                    <a:pos x="T2" y="T3"/>
                  </a:cxn>
                  <a:cxn ang="0">
                    <a:pos x="T4" y="T5"/>
                  </a:cxn>
                  <a:cxn ang="0">
                    <a:pos x="T6" y="T7"/>
                  </a:cxn>
                  <a:cxn ang="0">
                    <a:pos x="T8" y="T9"/>
                  </a:cxn>
                  <a:cxn ang="0">
                    <a:pos x="T10" y="T11"/>
                  </a:cxn>
                  <a:cxn ang="0">
                    <a:pos x="T12" y="T13"/>
                  </a:cxn>
                </a:cxnLst>
                <a:rect l="0" t="0" r="r" b="b"/>
                <a:pathLst>
                  <a:path w="56" h="53">
                    <a:moveTo>
                      <a:pt x="0" y="3"/>
                    </a:moveTo>
                    <a:cubicBezTo>
                      <a:pt x="0" y="3"/>
                      <a:pt x="5" y="4"/>
                      <a:pt x="8" y="11"/>
                    </a:cubicBezTo>
                    <a:cubicBezTo>
                      <a:pt x="11" y="17"/>
                      <a:pt x="13" y="31"/>
                      <a:pt x="21" y="42"/>
                    </a:cubicBezTo>
                    <a:cubicBezTo>
                      <a:pt x="30" y="53"/>
                      <a:pt x="42" y="51"/>
                      <a:pt x="45" y="49"/>
                    </a:cubicBezTo>
                    <a:cubicBezTo>
                      <a:pt x="49" y="48"/>
                      <a:pt x="49" y="43"/>
                      <a:pt x="49" y="43"/>
                    </a:cubicBezTo>
                    <a:cubicBezTo>
                      <a:pt x="49" y="43"/>
                      <a:pt x="56" y="44"/>
                      <a:pt x="54" y="34"/>
                    </a:cubicBezTo>
                    <a:cubicBezTo>
                      <a:pt x="44" y="0"/>
                      <a:pt x="0" y="3"/>
                      <a:pt x="0" y="3"/>
                    </a:cubicBezTo>
                    <a:close/>
                  </a:path>
                </a:pathLst>
              </a:custGeom>
              <a:solidFill>
                <a:srgbClr val="8BC5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27" name="Freeform 22">
                <a:extLst>
                  <a:ext uri="{FF2B5EF4-FFF2-40B4-BE49-F238E27FC236}">
                    <a16:creationId xmlns:a16="http://schemas.microsoft.com/office/drawing/2014/main" id="{75F861EB-0669-4C4B-8ABB-7293EBA4B133}"/>
                  </a:ext>
                </a:extLst>
              </p:cNvPr>
              <p:cNvSpPr>
                <a:spLocks/>
              </p:cNvSpPr>
              <p:nvPr/>
            </p:nvSpPr>
            <p:spPr bwMode="auto">
              <a:xfrm>
                <a:off x="2736241" y="3530420"/>
                <a:ext cx="240488" cy="149192"/>
              </a:xfrm>
              <a:custGeom>
                <a:avLst/>
                <a:gdLst>
                  <a:gd name="T0" fmla="*/ 0 w 44"/>
                  <a:gd name="T1" fmla="*/ 0 h 27"/>
                  <a:gd name="T2" fmla="*/ 20 w 44"/>
                  <a:gd name="T3" fmla="*/ 17 h 27"/>
                  <a:gd name="T4" fmla="*/ 44 w 44"/>
                  <a:gd name="T5" fmla="*/ 21 h 27"/>
                  <a:gd name="T6" fmla="*/ 19 w 44"/>
                  <a:gd name="T7" fmla="*/ 21 h 27"/>
                  <a:gd name="T8" fmla="*/ 0 w 44"/>
                  <a:gd name="T9" fmla="*/ 0 h 27"/>
                </a:gdLst>
                <a:ahLst/>
                <a:cxnLst>
                  <a:cxn ang="0">
                    <a:pos x="T0" y="T1"/>
                  </a:cxn>
                  <a:cxn ang="0">
                    <a:pos x="T2" y="T3"/>
                  </a:cxn>
                  <a:cxn ang="0">
                    <a:pos x="T4" y="T5"/>
                  </a:cxn>
                  <a:cxn ang="0">
                    <a:pos x="T6" y="T7"/>
                  </a:cxn>
                  <a:cxn ang="0">
                    <a:pos x="T8" y="T9"/>
                  </a:cxn>
                </a:cxnLst>
                <a:rect l="0" t="0" r="r" b="b"/>
                <a:pathLst>
                  <a:path w="44" h="27">
                    <a:moveTo>
                      <a:pt x="0" y="0"/>
                    </a:moveTo>
                    <a:cubicBezTo>
                      <a:pt x="0" y="0"/>
                      <a:pt x="9" y="11"/>
                      <a:pt x="20" y="17"/>
                    </a:cubicBezTo>
                    <a:cubicBezTo>
                      <a:pt x="31" y="24"/>
                      <a:pt x="44" y="21"/>
                      <a:pt x="44" y="21"/>
                    </a:cubicBezTo>
                    <a:cubicBezTo>
                      <a:pt x="44" y="21"/>
                      <a:pt x="30" y="27"/>
                      <a:pt x="19" y="21"/>
                    </a:cubicBezTo>
                    <a:cubicBezTo>
                      <a:pt x="9" y="15"/>
                      <a:pt x="0" y="0"/>
                      <a:pt x="0" y="0"/>
                    </a:cubicBezTo>
                    <a:close/>
                  </a:path>
                </a:pathLst>
              </a:custGeom>
              <a:solidFill>
                <a:srgbClr val="A27729"/>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grpSp>
        <p:grpSp>
          <p:nvGrpSpPr>
            <p:cNvPr id="19" name="Group 21">
              <a:extLst>
                <a:ext uri="{FF2B5EF4-FFF2-40B4-BE49-F238E27FC236}">
                  <a16:creationId xmlns:a16="http://schemas.microsoft.com/office/drawing/2014/main" id="{005A9343-B787-4EA9-8601-63526CC717F6}"/>
                </a:ext>
              </a:extLst>
            </p:cNvPr>
            <p:cNvGrpSpPr/>
            <p:nvPr/>
          </p:nvGrpSpPr>
          <p:grpSpPr>
            <a:xfrm rot="7528282">
              <a:off x="5046088" y="3259840"/>
              <a:ext cx="130166" cy="94996"/>
              <a:chOff x="2577030" y="3393475"/>
              <a:chExt cx="399699" cy="291703"/>
            </a:xfrm>
          </p:grpSpPr>
          <p:sp>
            <p:nvSpPr>
              <p:cNvPr id="24" name="Freeform 21">
                <a:extLst>
                  <a:ext uri="{FF2B5EF4-FFF2-40B4-BE49-F238E27FC236}">
                    <a16:creationId xmlns:a16="http://schemas.microsoft.com/office/drawing/2014/main" id="{AEA03701-6883-47BE-8471-AAFAF2A7E40E}"/>
                  </a:ext>
                </a:extLst>
              </p:cNvPr>
              <p:cNvSpPr>
                <a:spLocks/>
              </p:cNvSpPr>
              <p:nvPr/>
            </p:nvSpPr>
            <p:spPr bwMode="auto">
              <a:xfrm>
                <a:off x="2577030" y="3393475"/>
                <a:ext cx="306177" cy="291703"/>
              </a:xfrm>
              <a:custGeom>
                <a:avLst/>
                <a:gdLst>
                  <a:gd name="T0" fmla="*/ 0 w 56"/>
                  <a:gd name="T1" fmla="*/ 3 h 53"/>
                  <a:gd name="T2" fmla="*/ 8 w 56"/>
                  <a:gd name="T3" fmla="*/ 11 h 53"/>
                  <a:gd name="T4" fmla="*/ 21 w 56"/>
                  <a:gd name="T5" fmla="*/ 42 h 53"/>
                  <a:gd name="T6" fmla="*/ 45 w 56"/>
                  <a:gd name="T7" fmla="*/ 49 h 53"/>
                  <a:gd name="T8" fmla="*/ 49 w 56"/>
                  <a:gd name="T9" fmla="*/ 43 h 53"/>
                  <a:gd name="T10" fmla="*/ 54 w 56"/>
                  <a:gd name="T11" fmla="*/ 34 h 53"/>
                  <a:gd name="T12" fmla="*/ 0 w 56"/>
                  <a:gd name="T13" fmla="*/ 3 h 53"/>
                </a:gdLst>
                <a:ahLst/>
                <a:cxnLst>
                  <a:cxn ang="0">
                    <a:pos x="T0" y="T1"/>
                  </a:cxn>
                  <a:cxn ang="0">
                    <a:pos x="T2" y="T3"/>
                  </a:cxn>
                  <a:cxn ang="0">
                    <a:pos x="T4" y="T5"/>
                  </a:cxn>
                  <a:cxn ang="0">
                    <a:pos x="T6" y="T7"/>
                  </a:cxn>
                  <a:cxn ang="0">
                    <a:pos x="T8" y="T9"/>
                  </a:cxn>
                  <a:cxn ang="0">
                    <a:pos x="T10" y="T11"/>
                  </a:cxn>
                  <a:cxn ang="0">
                    <a:pos x="T12" y="T13"/>
                  </a:cxn>
                </a:cxnLst>
                <a:rect l="0" t="0" r="r" b="b"/>
                <a:pathLst>
                  <a:path w="56" h="53">
                    <a:moveTo>
                      <a:pt x="0" y="3"/>
                    </a:moveTo>
                    <a:cubicBezTo>
                      <a:pt x="0" y="3"/>
                      <a:pt x="5" y="4"/>
                      <a:pt x="8" y="11"/>
                    </a:cubicBezTo>
                    <a:cubicBezTo>
                      <a:pt x="11" y="17"/>
                      <a:pt x="13" y="31"/>
                      <a:pt x="21" y="42"/>
                    </a:cubicBezTo>
                    <a:cubicBezTo>
                      <a:pt x="30" y="53"/>
                      <a:pt x="42" y="51"/>
                      <a:pt x="45" y="49"/>
                    </a:cubicBezTo>
                    <a:cubicBezTo>
                      <a:pt x="49" y="48"/>
                      <a:pt x="49" y="43"/>
                      <a:pt x="49" y="43"/>
                    </a:cubicBezTo>
                    <a:cubicBezTo>
                      <a:pt x="49" y="43"/>
                      <a:pt x="56" y="44"/>
                      <a:pt x="54" y="34"/>
                    </a:cubicBezTo>
                    <a:cubicBezTo>
                      <a:pt x="44" y="0"/>
                      <a:pt x="0" y="3"/>
                      <a:pt x="0" y="3"/>
                    </a:cubicBezTo>
                    <a:close/>
                  </a:path>
                </a:pathLst>
              </a:custGeom>
              <a:solidFill>
                <a:srgbClr val="8BC5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25" name="Freeform 22">
                <a:extLst>
                  <a:ext uri="{FF2B5EF4-FFF2-40B4-BE49-F238E27FC236}">
                    <a16:creationId xmlns:a16="http://schemas.microsoft.com/office/drawing/2014/main" id="{C6804B06-EBED-4771-8EAA-88CA1A802466}"/>
                  </a:ext>
                </a:extLst>
              </p:cNvPr>
              <p:cNvSpPr>
                <a:spLocks/>
              </p:cNvSpPr>
              <p:nvPr/>
            </p:nvSpPr>
            <p:spPr bwMode="auto">
              <a:xfrm>
                <a:off x="2736241" y="3530420"/>
                <a:ext cx="240488" cy="149192"/>
              </a:xfrm>
              <a:custGeom>
                <a:avLst/>
                <a:gdLst>
                  <a:gd name="T0" fmla="*/ 0 w 44"/>
                  <a:gd name="T1" fmla="*/ 0 h 27"/>
                  <a:gd name="T2" fmla="*/ 20 w 44"/>
                  <a:gd name="T3" fmla="*/ 17 h 27"/>
                  <a:gd name="T4" fmla="*/ 44 w 44"/>
                  <a:gd name="T5" fmla="*/ 21 h 27"/>
                  <a:gd name="T6" fmla="*/ 19 w 44"/>
                  <a:gd name="T7" fmla="*/ 21 h 27"/>
                  <a:gd name="T8" fmla="*/ 0 w 44"/>
                  <a:gd name="T9" fmla="*/ 0 h 27"/>
                </a:gdLst>
                <a:ahLst/>
                <a:cxnLst>
                  <a:cxn ang="0">
                    <a:pos x="T0" y="T1"/>
                  </a:cxn>
                  <a:cxn ang="0">
                    <a:pos x="T2" y="T3"/>
                  </a:cxn>
                  <a:cxn ang="0">
                    <a:pos x="T4" y="T5"/>
                  </a:cxn>
                  <a:cxn ang="0">
                    <a:pos x="T6" y="T7"/>
                  </a:cxn>
                  <a:cxn ang="0">
                    <a:pos x="T8" y="T9"/>
                  </a:cxn>
                </a:cxnLst>
                <a:rect l="0" t="0" r="r" b="b"/>
                <a:pathLst>
                  <a:path w="44" h="27">
                    <a:moveTo>
                      <a:pt x="0" y="0"/>
                    </a:moveTo>
                    <a:cubicBezTo>
                      <a:pt x="0" y="0"/>
                      <a:pt x="9" y="11"/>
                      <a:pt x="20" y="17"/>
                    </a:cubicBezTo>
                    <a:cubicBezTo>
                      <a:pt x="31" y="24"/>
                      <a:pt x="44" y="21"/>
                      <a:pt x="44" y="21"/>
                    </a:cubicBezTo>
                    <a:cubicBezTo>
                      <a:pt x="44" y="21"/>
                      <a:pt x="30" y="27"/>
                      <a:pt x="19" y="21"/>
                    </a:cubicBezTo>
                    <a:cubicBezTo>
                      <a:pt x="9" y="15"/>
                      <a:pt x="0" y="0"/>
                      <a:pt x="0" y="0"/>
                    </a:cubicBezTo>
                    <a:close/>
                  </a:path>
                </a:pathLst>
              </a:custGeom>
              <a:solidFill>
                <a:srgbClr val="A27729"/>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grpSp>
        <p:sp>
          <p:nvSpPr>
            <p:cNvPr id="20" name="Freeform 19">
              <a:extLst>
                <a:ext uri="{FF2B5EF4-FFF2-40B4-BE49-F238E27FC236}">
                  <a16:creationId xmlns:a16="http://schemas.microsoft.com/office/drawing/2014/main" id="{39C387C7-1491-40CD-8C13-B3AB5F450C48}"/>
                </a:ext>
              </a:extLst>
            </p:cNvPr>
            <p:cNvSpPr>
              <a:spLocks/>
            </p:cNvSpPr>
            <p:nvPr/>
          </p:nvSpPr>
          <p:spPr bwMode="auto">
            <a:xfrm rot="20089445">
              <a:off x="4928455" y="3197204"/>
              <a:ext cx="358386" cy="296538"/>
            </a:xfrm>
            <a:custGeom>
              <a:avLst/>
              <a:gdLst>
                <a:gd name="T0" fmla="*/ 77 w 77"/>
                <a:gd name="T1" fmla="*/ 0 h 67"/>
                <a:gd name="T2" fmla="*/ 28 w 77"/>
                <a:gd name="T3" fmla="*/ 25 h 67"/>
                <a:gd name="T4" fmla="*/ 0 w 77"/>
                <a:gd name="T5" fmla="*/ 67 h 67"/>
                <a:gd name="T6" fmla="*/ 21 w 77"/>
                <a:gd name="T7" fmla="*/ 20 h 67"/>
                <a:gd name="T8" fmla="*/ 77 w 77"/>
                <a:gd name="T9" fmla="*/ 0 h 67"/>
              </a:gdLst>
              <a:ahLst/>
              <a:cxnLst>
                <a:cxn ang="0">
                  <a:pos x="T0" y="T1"/>
                </a:cxn>
                <a:cxn ang="0">
                  <a:pos x="T2" y="T3"/>
                </a:cxn>
                <a:cxn ang="0">
                  <a:pos x="T4" y="T5"/>
                </a:cxn>
                <a:cxn ang="0">
                  <a:pos x="T6" y="T7"/>
                </a:cxn>
                <a:cxn ang="0">
                  <a:pos x="T8" y="T9"/>
                </a:cxn>
              </a:cxnLst>
              <a:rect l="0" t="0" r="r" b="b"/>
              <a:pathLst>
                <a:path w="77" h="67">
                  <a:moveTo>
                    <a:pt x="77" y="0"/>
                  </a:moveTo>
                  <a:cubicBezTo>
                    <a:pt x="77" y="0"/>
                    <a:pt x="49" y="9"/>
                    <a:pt x="28" y="25"/>
                  </a:cubicBezTo>
                  <a:cubicBezTo>
                    <a:pt x="6" y="41"/>
                    <a:pt x="0" y="67"/>
                    <a:pt x="0" y="67"/>
                  </a:cubicBezTo>
                  <a:cubicBezTo>
                    <a:pt x="0" y="67"/>
                    <a:pt x="1" y="34"/>
                    <a:pt x="21" y="20"/>
                  </a:cubicBezTo>
                  <a:cubicBezTo>
                    <a:pt x="41" y="5"/>
                    <a:pt x="77" y="0"/>
                    <a:pt x="77" y="0"/>
                  </a:cubicBezTo>
                  <a:close/>
                </a:path>
              </a:pathLst>
            </a:custGeom>
            <a:solidFill>
              <a:srgbClr val="A27729"/>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grpSp>
          <p:nvGrpSpPr>
            <p:cNvPr id="21" name="Group 23">
              <a:extLst>
                <a:ext uri="{FF2B5EF4-FFF2-40B4-BE49-F238E27FC236}">
                  <a16:creationId xmlns:a16="http://schemas.microsoft.com/office/drawing/2014/main" id="{E168B935-D1F5-42B6-83A8-45F480F8FDD7}"/>
                </a:ext>
              </a:extLst>
            </p:cNvPr>
            <p:cNvGrpSpPr/>
            <p:nvPr/>
          </p:nvGrpSpPr>
          <p:grpSpPr>
            <a:xfrm>
              <a:off x="4908846" y="3220878"/>
              <a:ext cx="130166" cy="94996"/>
              <a:chOff x="2577029" y="3393476"/>
              <a:chExt cx="399700" cy="291703"/>
            </a:xfrm>
          </p:grpSpPr>
          <p:sp>
            <p:nvSpPr>
              <p:cNvPr id="22" name="Freeform 21">
                <a:extLst>
                  <a:ext uri="{FF2B5EF4-FFF2-40B4-BE49-F238E27FC236}">
                    <a16:creationId xmlns:a16="http://schemas.microsoft.com/office/drawing/2014/main" id="{446F62C7-7BF8-480D-A335-F98639C7F4B3}"/>
                  </a:ext>
                </a:extLst>
              </p:cNvPr>
              <p:cNvSpPr>
                <a:spLocks/>
              </p:cNvSpPr>
              <p:nvPr/>
            </p:nvSpPr>
            <p:spPr bwMode="auto">
              <a:xfrm>
                <a:off x="2577029" y="3393476"/>
                <a:ext cx="306177" cy="291703"/>
              </a:xfrm>
              <a:custGeom>
                <a:avLst/>
                <a:gdLst>
                  <a:gd name="T0" fmla="*/ 0 w 56"/>
                  <a:gd name="T1" fmla="*/ 3 h 53"/>
                  <a:gd name="T2" fmla="*/ 8 w 56"/>
                  <a:gd name="T3" fmla="*/ 11 h 53"/>
                  <a:gd name="T4" fmla="*/ 21 w 56"/>
                  <a:gd name="T5" fmla="*/ 42 h 53"/>
                  <a:gd name="T6" fmla="*/ 45 w 56"/>
                  <a:gd name="T7" fmla="*/ 49 h 53"/>
                  <a:gd name="T8" fmla="*/ 49 w 56"/>
                  <a:gd name="T9" fmla="*/ 43 h 53"/>
                  <a:gd name="T10" fmla="*/ 54 w 56"/>
                  <a:gd name="T11" fmla="*/ 34 h 53"/>
                  <a:gd name="T12" fmla="*/ 0 w 56"/>
                  <a:gd name="T13" fmla="*/ 3 h 53"/>
                </a:gdLst>
                <a:ahLst/>
                <a:cxnLst>
                  <a:cxn ang="0">
                    <a:pos x="T0" y="T1"/>
                  </a:cxn>
                  <a:cxn ang="0">
                    <a:pos x="T2" y="T3"/>
                  </a:cxn>
                  <a:cxn ang="0">
                    <a:pos x="T4" y="T5"/>
                  </a:cxn>
                  <a:cxn ang="0">
                    <a:pos x="T6" y="T7"/>
                  </a:cxn>
                  <a:cxn ang="0">
                    <a:pos x="T8" y="T9"/>
                  </a:cxn>
                  <a:cxn ang="0">
                    <a:pos x="T10" y="T11"/>
                  </a:cxn>
                  <a:cxn ang="0">
                    <a:pos x="T12" y="T13"/>
                  </a:cxn>
                </a:cxnLst>
                <a:rect l="0" t="0" r="r" b="b"/>
                <a:pathLst>
                  <a:path w="56" h="53">
                    <a:moveTo>
                      <a:pt x="0" y="3"/>
                    </a:moveTo>
                    <a:cubicBezTo>
                      <a:pt x="0" y="3"/>
                      <a:pt x="5" y="4"/>
                      <a:pt x="8" y="11"/>
                    </a:cubicBezTo>
                    <a:cubicBezTo>
                      <a:pt x="11" y="17"/>
                      <a:pt x="13" y="31"/>
                      <a:pt x="21" y="42"/>
                    </a:cubicBezTo>
                    <a:cubicBezTo>
                      <a:pt x="30" y="53"/>
                      <a:pt x="42" y="51"/>
                      <a:pt x="45" y="49"/>
                    </a:cubicBezTo>
                    <a:cubicBezTo>
                      <a:pt x="49" y="48"/>
                      <a:pt x="49" y="43"/>
                      <a:pt x="49" y="43"/>
                    </a:cubicBezTo>
                    <a:cubicBezTo>
                      <a:pt x="49" y="43"/>
                      <a:pt x="56" y="44"/>
                      <a:pt x="54" y="34"/>
                    </a:cubicBezTo>
                    <a:cubicBezTo>
                      <a:pt x="44" y="0"/>
                      <a:pt x="0" y="3"/>
                      <a:pt x="0" y="3"/>
                    </a:cubicBezTo>
                    <a:close/>
                  </a:path>
                </a:pathLst>
              </a:custGeom>
              <a:solidFill>
                <a:srgbClr val="8BC5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23" name="Freeform 22">
                <a:extLst>
                  <a:ext uri="{FF2B5EF4-FFF2-40B4-BE49-F238E27FC236}">
                    <a16:creationId xmlns:a16="http://schemas.microsoft.com/office/drawing/2014/main" id="{30D013F6-5117-4AB7-BE7C-BBE7367D40A2}"/>
                  </a:ext>
                </a:extLst>
              </p:cNvPr>
              <p:cNvSpPr>
                <a:spLocks/>
              </p:cNvSpPr>
              <p:nvPr/>
            </p:nvSpPr>
            <p:spPr bwMode="auto">
              <a:xfrm>
                <a:off x="2736241" y="3530420"/>
                <a:ext cx="240488" cy="149192"/>
              </a:xfrm>
              <a:custGeom>
                <a:avLst/>
                <a:gdLst>
                  <a:gd name="T0" fmla="*/ 0 w 44"/>
                  <a:gd name="T1" fmla="*/ 0 h 27"/>
                  <a:gd name="T2" fmla="*/ 20 w 44"/>
                  <a:gd name="T3" fmla="*/ 17 h 27"/>
                  <a:gd name="T4" fmla="*/ 44 w 44"/>
                  <a:gd name="T5" fmla="*/ 21 h 27"/>
                  <a:gd name="T6" fmla="*/ 19 w 44"/>
                  <a:gd name="T7" fmla="*/ 21 h 27"/>
                  <a:gd name="T8" fmla="*/ 0 w 44"/>
                  <a:gd name="T9" fmla="*/ 0 h 27"/>
                </a:gdLst>
                <a:ahLst/>
                <a:cxnLst>
                  <a:cxn ang="0">
                    <a:pos x="T0" y="T1"/>
                  </a:cxn>
                  <a:cxn ang="0">
                    <a:pos x="T2" y="T3"/>
                  </a:cxn>
                  <a:cxn ang="0">
                    <a:pos x="T4" y="T5"/>
                  </a:cxn>
                  <a:cxn ang="0">
                    <a:pos x="T6" y="T7"/>
                  </a:cxn>
                  <a:cxn ang="0">
                    <a:pos x="T8" y="T9"/>
                  </a:cxn>
                </a:cxnLst>
                <a:rect l="0" t="0" r="r" b="b"/>
                <a:pathLst>
                  <a:path w="44" h="27">
                    <a:moveTo>
                      <a:pt x="0" y="0"/>
                    </a:moveTo>
                    <a:cubicBezTo>
                      <a:pt x="0" y="0"/>
                      <a:pt x="9" y="11"/>
                      <a:pt x="20" y="17"/>
                    </a:cubicBezTo>
                    <a:cubicBezTo>
                      <a:pt x="31" y="24"/>
                      <a:pt x="44" y="21"/>
                      <a:pt x="44" y="21"/>
                    </a:cubicBezTo>
                    <a:cubicBezTo>
                      <a:pt x="44" y="21"/>
                      <a:pt x="30" y="27"/>
                      <a:pt x="19" y="21"/>
                    </a:cubicBezTo>
                    <a:cubicBezTo>
                      <a:pt x="9" y="15"/>
                      <a:pt x="0" y="0"/>
                      <a:pt x="0" y="0"/>
                    </a:cubicBezTo>
                    <a:close/>
                  </a:path>
                </a:pathLst>
              </a:custGeom>
              <a:solidFill>
                <a:srgbClr val="A27729"/>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grpSp>
      </p:grpSp>
      <p:grpSp>
        <p:nvGrpSpPr>
          <p:cNvPr id="34" name="Group 68">
            <a:extLst>
              <a:ext uri="{FF2B5EF4-FFF2-40B4-BE49-F238E27FC236}">
                <a16:creationId xmlns:a16="http://schemas.microsoft.com/office/drawing/2014/main" id="{0973E077-38E8-4F60-9BEA-D6DCBFFEBAB7}"/>
              </a:ext>
            </a:extLst>
          </p:cNvPr>
          <p:cNvGrpSpPr/>
          <p:nvPr/>
        </p:nvGrpSpPr>
        <p:grpSpPr>
          <a:xfrm>
            <a:off x="9190948" y="1553673"/>
            <a:ext cx="1287604" cy="2092205"/>
            <a:chOff x="9151253" y="1553673"/>
            <a:chExt cx="1287604" cy="2092205"/>
          </a:xfrm>
        </p:grpSpPr>
        <p:sp>
          <p:nvSpPr>
            <p:cNvPr id="35" name="Freeform 26">
              <a:extLst>
                <a:ext uri="{FF2B5EF4-FFF2-40B4-BE49-F238E27FC236}">
                  <a16:creationId xmlns:a16="http://schemas.microsoft.com/office/drawing/2014/main" id="{907E171B-83EF-4D41-BE93-5162136DC839}"/>
                </a:ext>
              </a:extLst>
            </p:cNvPr>
            <p:cNvSpPr>
              <a:spLocks noEditPoints="1"/>
            </p:cNvSpPr>
            <p:nvPr/>
          </p:nvSpPr>
          <p:spPr bwMode="auto">
            <a:xfrm>
              <a:off x="9151253" y="2955851"/>
              <a:ext cx="1236229" cy="690027"/>
            </a:xfrm>
            <a:custGeom>
              <a:avLst/>
              <a:gdLst>
                <a:gd name="T0" fmla="*/ 136 w 193"/>
                <a:gd name="T1" fmla="*/ 15 h 134"/>
                <a:gd name="T2" fmla="*/ 108 w 193"/>
                <a:gd name="T3" fmla="*/ 4 h 134"/>
                <a:gd name="T4" fmla="*/ 90 w 193"/>
                <a:gd name="T5" fmla="*/ 6 h 134"/>
                <a:gd name="T6" fmla="*/ 73 w 193"/>
                <a:gd name="T7" fmla="*/ 24 h 134"/>
                <a:gd name="T8" fmla="*/ 27 w 193"/>
                <a:gd name="T9" fmla="*/ 40 h 134"/>
                <a:gd name="T10" fmla="*/ 59 w 193"/>
                <a:gd name="T11" fmla="*/ 31 h 134"/>
                <a:gd name="T12" fmla="*/ 23 w 193"/>
                <a:gd name="T13" fmla="*/ 68 h 134"/>
                <a:gd name="T14" fmla="*/ 40 w 193"/>
                <a:gd name="T15" fmla="*/ 51 h 134"/>
                <a:gd name="T16" fmla="*/ 25 w 193"/>
                <a:gd name="T17" fmla="*/ 96 h 134"/>
                <a:gd name="T18" fmla="*/ 32 w 193"/>
                <a:gd name="T19" fmla="*/ 72 h 134"/>
                <a:gd name="T20" fmla="*/ 46 w 193"/>
                <a:gd name="T21" fmla="*/ 65 h 134"/>
                <a:gd name="T22" fmla="*/ 45 w 193"/>
                <a:gd name="T23" fmla="*/ 72 h 134"/>
                <a:gd name="T24" fmla="*/ 65 w 193"/>
                <a:gd name="T25" fmla="*/ 36 h 134"/>
                <a:gd name="T26" fmla="*/ 27 w 193"/>
                <a:gd name="T27" fmla="*/ 119 h 134"/>
                <a:gd name="T28" fmla="*/ 45 w 193"/>
                <a:gd name="T29" fmla="*/ 99 h 134"/>
                <a:gd name="T30" fmla="*/ 48 w 193"/>
                <a:gd name="T31" fmla="*/ 101 h 134"/>
                <a:gd name="T32" fmla="*/ 49 w 193"/>
                <a:gd name="T33" fmla="*/ 101 h 134"/>
                <a:gd name="T34" fmla="*/ 59 w 193"/>
                <a:gd name="T35" fmla="*/ 56 h 134"/>
                <a:gd name="T36" fmla="*/ 83 w 193"/>
                <a:gd name="T37" fmla="*/ 32 h 134"/>
                <a:gd name="T38" fmla="*/ 76 w 193"/>
                <a:gd name="T39" fmla="*/ 41 h 134"/>
                <a:gd name="T40" fmla="*/ 68 w 193"/>
                <a:gd name="T41" fmla="*/ 79 h 134"/>
                <a:gd name="T42" fmla="*/ 75 w 193"/>
                <a:gd name="T43" fmla="*/ 74 h 134"/>
                <a:gd name="T44" fmla="*/ 75 w 193"/>
                <a:gd name="T45" fmla="*/ 67 h 134"/>
                <a:gd name="T46" fmla="*/ 78 w 193"/>
                <a:gd name="T47" fmla="*/ 41 h 134"/>
                <a:gd name="T48" fmla="*/ 80 w 193"/>
                <a:gd name="T49" fmla="*/ 52 h 134"/>
                <a:gd name="T50" fmla="*/ 76 w 193"/>
                <a:gd name="T51" fmla="*/ 67 h 134"/>
                <a:gd name="T52" fmla="*/ 79 w 193"/>
                <a:gd name="T53" fmla="*/ 75 h 134"/>
                <a:gd name="T54" fmla="*/ 85 w 193"/>
                <a:gd name="T55" fmla="*/ 35 h 134"/>
                <a:gd name="T56" fmla="*/ 90 w 193"/>
                <a:gd name="T57" fmla="*/ 28 h 134"/>
                <a:gd name="T58" fmla="*/ 87 w 193"/>
                <a:gd name="T59" fmla="*/ 48 h 134"/>
                <a:gd name="T60" fmla="*/ 96 w 193"/>
                <a:gd name="T61" fmla="*/ 20 h 134"/>
                <a:gd name="T62" fmla="*/ 97 w 193"/>
                <a:gd name="T63" fmla="*/ 19 h 134"/>
                <a:gd name="T64" fmla="*/ 104 w 193"/>
                <a:gd name="T65" fmla="*/ 42 h 134"/>
                <a:gd name="T66" fmla="*/ 98 w 193"/>
                <a:gd name="T67" fmla="*/ 61 h 134"/>
                <a:gd name="T68" fmla="*/ 105 w 193"/>
                <a:gd name="T69" fmla="*/ 53 h 134"/>
                <a:gd name="T70" fmla="*/ 108 w 193"/>
                <a:gd name="T71" fmla="*/ 69 h 134"/>
                <a:gd name="T72" fmla="*/ 111 w 193"/>
                <a:gd name="T73" fmla="*/ 70 h 134"/>
                <a:gd name="T74" fmla="*/ 116 w 193"/>
                <a:gd name="T75" fmla="*/ 25 h 134"/>
                <a:gd name="T76" fmla="*/ 117 w 193"/>
                <a:gd name="T77" fmla="*/ 54 h 134"/>
                <a:gd name="T78" fmla="*/ 121 w 193"/>
                <a:gd name="T79" fmla="*/ 30 h 134"/>
                <a:gd name="T80" fmla="*/ 139 w 193"/>
                <a:gd name="T81" fmla="*/ 64 h 134"/>
                <a:gd name="T82" fmla="*/ 138 w 193"/>
                <a:gd name="T83" fmla="*/ 97 h 134"/>
                <a:gd name="T84" fmla="*/ 150 w 193"/>
                <a:gd name="T85" fmla="*/ 126 h 134"/>
                <a:gd name="T86" fmla="*/ 146 w 193"/>
                <a:gd name="T87" fmla="*/ 84 h 134"/>
                <a:gd name="T88" fmla="*/ 157 w 193"/>
                <a:gd name="T89" fmla="*/ 90 h 134"/>
                <a:gd name="T90" fmla="*/ 132 w 193"/>
                <a:gd name="T91" fmla="*/ 31 h 134"/>
                <a:gd name="T92" fmla="*/ 128 w 193"/>
                <a:gd name="T93" fmla="*/ 28 h 134"/>
                <a:gd name="T94" fmla="*/ 142 w 193"/>
                <a:gd name="T95" fmla="*/ 50 h 134"/>
                <a:gd name="T96" fmla="*/ 146 w 193"/>
                <a:gd name="T97" fmla="*/ 57 h 134"/>
                <a:gd name="T98" fmla="*/ 147 w 193"/>
                <a:gd name="T99" fmla="*/ 39 h 134"/>
                <a:gd name="T100" fmla="*/ 166 w 193"/>
                <a:gd name="T101" fmla="*/ 83 h 134"/>
                <a:gd name="T102" fmla="*/ 175 w 193"/>
                <a:gd name="T103" fmla="*/ 74 h 134"/>
                <a:gd name="T104" fmla="*/ 161 w 193"/>
                <a:gd name="T105" fmla="*/ 48 h 134"/>
                <a:gd name="T106" fmla="*/ 175 w 193"/>
                <a:gd name="T107" fmla="*/ 47 h 134"/>
                <a:gd name="T108" fmla="*/ 160 w 193"/>
                <a:gd name="T109" fmla="*/ 30 h 134"/>
                <a:gd name="T110" fmla="*/ 83 w 193"/>
                <a:gd name="T111" fmla="*/ 43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93" h="134">
                  <a:moveTo>
                    <a:pt x="166" y="32"/>
                  </a:moveTo>
                  <a:cubicBezTo>
                    <a:pt x="175" y="34"/>
                    <a:pt x="184" y="25"/>
                    <a:pt x="193" y="34"/>
                  </a:cubicBezTo>
                  <a:cubicBezTo>
                    <a:pt x="184" y="23"/>
                    <a:pt x="174" y="31"/>
                    <a:pt x="164" y="27"/>
                  </a:cubicBezTo>
                  <a:cubicBezTo>
                    <a:pt x="155" y="23"/>
                    <a:pt x="145" y="17"/>
                    <a:pt x="136" y="15"/>
                  </a:cubicBezTo>
                  <a:cubicBezTo>
                    <a:pt x="131" y="14"/>
                    <a:pt x="125" y="18"/>
                    <a:pt x="120" y="16"/>
                  </a:cubicBezTo>
                  <a:cubicBezTo>
                    <a:pt x="117" y="15"/>
                    <a:pt x="115" y="13"/>
                    <a:pt x="113" y="11"/>
                  </a:cubicBezTo>
                  <a:cubicBezTo>
                    <a:pt x="113" y="8"/>
                    <a:pt x="111" y="5"/>
                    <a:pt x="108" y="4"/>
                  </a:cubicBezTo>
                  <a:cubicBezTo>
                    <a:pt x="108" y="4"/>
                    <a:pt x="108" y="4"/>
                    <a:pt x="108" y="4"/>
                  </a:cubicBezTo>
                  <a:cubicBezTo>
                    <a:pt x="107" y="3"/>
                    <a:pt x="105" y="2"/>
                    <a:pt x="104" y="1"/>
                  </a:cubicBezTo>
                  <a:cubicBezTo>
                    <a:pt x="103" y="1"/>
                    <a:pt x="103" y="1"/>
                    <a:pt x="103" y="1"/>
                  </a:cubicBezTo>
                  <a:cubicBezTo>
                    <a:pt x="103" y="1"/>
                    <a:pt x="103" y="1"/>
                    <a:pt x="103" y="1"/>
                  </a:cubicBezTo>
                  <a:cubicBezTo>
                    <a:pt x="99" y="0"/>
                    <a:pt x="94" y="2"/>
                    <a:pt x="90" y="6"/>
                  </a:cubicBezTo>
                  <a:cubicBezTo>
                    <a:pt x="89" y="7"/>
                    <a:pt x="89" y="7"/>
                    <a:pt x="88" y="8"/>
                  </a:cubicBezTo>
                  <a:cubicBezTo>
                    <a:pt x="88" y="9"/>
                    <a:pt x="88" y="9"/>
                    <a:pt x="88" y="10"/>
                  </a:cubicBezTo>
                  <a:cubicBezTo>
                    <a:pt x="88" y="10"/>
                    <a:pt x="88" y="10"/>
                    <a:pt x="87" y="11"/>
                  </a:cubicBezTo>
                  <a:cubicBezTo>
                    <a:pt x="82" y="16"/>
                    <a:pt x="78" y="22"/>
                    <a:pt x="73" y="24"/>
                  </a:cubicBezTo>
                  <a:cubicBezTo>
                    <a:pt x="67" y="26"/>
                    <a:pt x="62" y="22"/>
                    <a:pt x="56" y="23"/>
                  </a:cubicBezTo>
                  <a:cubicBezTo>
                    <a:pt x="47" y="25"/>
                    <a:pt x="38" y="31"/>
                    <a:pt x="28" y="35"/>
                  </a:cubicBezTo>
                  <a:cubicBezTo>
                    <a:pt x="19" y="39"/>
                    <a:pt x="9" y="31"/>
                    <a:pt x="0" y="42"/>
                  </a:cubicBezTo>
                  <a:cubicBezTo>
                    <a:pt x="8" y="33"/>
                    <a:pt x="17" y="42"/>
                    <a:pt x="27" y="40"/>
                  </a:cubicBezTo>
                  <a:cubicBezTo>
                    <a:pt x="21" y="46"/>
                    <a:pt x="15" y="53"/>
                    <a:pt x="9" y="52"/>
                  </a:cubicBezTo>
                  <a:cubicBezTo>
                    <a:pt x="17" y="54"/>
                    <a:pt x="24" y="43"/>
                    <a:pt x="32" y="38"/>
                  </a:cubicBezTo>
                  <a:cubicBezTo>
                    <a:pt x="36" y="36"/>
                    <a:pt x="41" y="35"/>
                    <a:pt x="45" y="34"/>
                  </a:cubicBezTo>
                  <a:cubicBezTo>
                    <a:pt x="49" y="32"/>
                    <a:pt x="54" y="31"/>
                    <a:pt x="59" y="31"/>
                  </a:cubicBezTo>
                  <a:cubicBezTo>
                    <a:pt x="51" y="36"/>
                    <a:pt x="44" y="46"/>
                    <a:pt x="36" y="51"/>
                  </a:cubicBezTo>
                  <a:cubicBezTo>
                    <a:pt x="30" y="55"/>
                    <a:pt x="24" y="56"/>
                    <a:pt x="17" y="55"/>
                  </a:cubicBezTo>
                  <a:cubicBezTo>
                    <a:pt x="22" y="56"/>
                    <a:pt x="26" y="57"/>
                    <a:pt x="31" y="56"/>
                  </a:cubicBezTo>
                  <a:cubicBezTo>
                    <a:pt x="30" y="63"/>
                    <a:pt x="26" y="66"/>
                    <a:pt x="23" y="68"/>
                  </a:cubicBezTo>
                  <a:cubicBezTo>
                    <a:pt x="26" y="67"/>
                    <a:pt x="29" y="65"/>
                    <a:pt x="31" y="60"/>
                  </a:cubicBezTo>
                  <a:cubicBezTo>
                    <a:pt x="31" y="58"/>
                    <a:pt x="31" y="57"/>
                    <a:pt x="32" y="56"/>
                  </a:cubicBezTo>
                  <a:cubicBezTo>
                    <a:pt x="32" y="55"/>
                    <a:pt x="33" y="55"/>
                    <a:pt x="34" y="55"/>
                  </a:cubicBezTo>
                  <a:cubicBezTo>
                    <a:pt x="36" y="54"/>
                    <a:pt x="38" y="53"/>
                    <a:pt x="40" y="51"/>
                  </a:cubicBezTo>
                  <a:cubicBezTo>
                    <a:pt x="37" y="58"/>
                    <a:pt x="34" y="67"/>
                    <a:pt x="30" y="74"/>
                  </a:cubicBezTo>
                  <a:cubicBezTo>
                    <a:pt x="27" y="80"/>
                    <a:pt x="22" y="87"/>
                    <a:pt x="18" y="82"/>
                  </a:cubicBezTo>
                  <a:cubicBezTo>
                    <a:pt x="20" y="85"/>
                    <a:pt x="23" y="85"/>
                    <a:pt x="26" y="82"/>
                  </a:cubicBezTo>
                  <a:cubicBezTo>
                    <a:pt x="26" y="87"/>
                    <a:pt x="26" y="91"/>
                    <a:pt x="25" y="96"/>
                  </a:cubicBezTo>
                  <a:cubicBezTo>
                    <a:pt x="24" y="101"/>
                    <a:pt x="22" y="105"/>
                    <a:pt x="21" y="110"/>
                  </a:cubicBezTo>
                  <a:cubicBezTo>
                    <a:pt x="23" y="104"/>
                    <a:pt x="25" y="98"/>
                    <a:pt x="26" y="91"/>
                  </a:cubicBezTo>
                  <a:cubicBezTo>
                    <a:pt x="27" y="89"/>
                    <a:pt x="26" y="82"/>
                    <a:pt x="27" y="81"/>
                  </a:cubicBezTo>
                  <a:cubicBezTo>
                    <a:pt x="29" y="78"/>
                    <a:pt x="31" y="75"/>
                    <a:pt x="32" y="72"/>
                  </a:cubicBezTo>
                  <a:cubicBezTo>
                    <a:pt x="36" y="66"/>
                    <a:pt x="39" y="59"/>
                    <a:pt x="42" y="52"/>
                  </a:cubicBezTo>
                  <a:cubicBezTo>
                    <a:pt x="43" y="51"/>
                    <a:pt x="44" y="49"/>
                    <a:pt x="45" y="47"/>
                  </a:cubicBezTo>
                  <a:cubicBezTo>
                    <a:pt x="48" y="45"/>
                    <a:pt x="50" y="43"/>
                    <a:pt x="53" y="41"/>
                  </a:cubicBezTo>
                  <a:cubicBezTo>
                    <a:pt x="50" y="49"/>
                    <a:pt x="50" y="58"/>
                    <a:pt x="46" y="65"/>
                  </a:cubicBezTo>
                  <a:cubicBezTo>
                    <a:pt x="42" y="70"/>
                    <a:pt x="38" y="73"/>
                    <a:pt x="35" y="77"/>
                  </a:cubicBezTo>
                  <a:cubicBezTo>
                    <a:pt x="39" y="73"/>
                    <a:pt x="43" y="71"/>
                    <a:pt x="46" y="65"/>
                  </a:cubicBezTo>
                  <a:cubicBezTo>
                    <a:pt x="44" y="73"/>
                    <a:pt x="41" y="76"/>
                    <a:pt x="37" y="79"/>
                  </a:cubicBezTo>
                  <a:cubicBezTo>
                    <a:pt x="40" y="78"/>
                    <a:pt x="43" y="76"/>
                    <a:pt x="45" y="72"/>
                  </a:cubicBezTo>
                  <a:cubicBezTo>
                    <a:pt x="46" y="70"/>
                    <a:pt x="47" y="67"/>
                    <a:pt x="48" y="65"/>
                  </a:cubicBezTo>
                  <a:cubicBezTo>
                    <a:pt x="48" y="62"/>
                    <a:pt x="49" y="60"/>
                    <a:pt x="50" y="58"/>
                  </a:cubicBezTo>
                  <a:cubicBezTo>
                    <a:pt x="52" y="52"/>
                    <a:pt x="53" y="44"/>
                    <a:pt x="56" y="40"/>
                  </a:cubicBezTo>
                  <a:cubicBezTo>
                    <a:pt x="58" y="36"/>
                    <a:pt x="62" y="36"/>
                    <a:pt x="65" y="36"/>
                  </a:cubicBezTo>
                  <a:cubicBezTo>
                    <a:pt x="61" y="41"/>
                    <a:pt x="59" y="47"/>
                    <a:pt x="56" y="54"/>
                  </a:cubicBezTo>
                  <a:cubicBezTo>
                    <a:pt x="54" y="62"/>
                    <a:pt x="52" y="70"/>
                    <a:pt x="48" y="77"/>
                  </a:cubicBezTo>
                  <a:cubicBezTo>
                    <a:pt x="44" y="85"/>
                    <a:pt x="40" y="91"/>
                    <a:pt x="35" y="98"/>
                  </a:cubicBezTo>
                  <a:cubicBezTo>
                    <a:pt x="31" y="104"/>
                    <a:pt x="28" y="110"/>
                    <a:pt x="27" y="119"/>
                  </a:cubicBezTo>
                  <a:cubicBezTo>
                    <a:pt x="28" y="112"/>
                    <a:pt x="31" y="107"/>
                    <a:pt x="34" y="102"/>
                  </a:cubicBezTo>
                  <a:cubicBezTo>
                    <a:pt x="38" y="96"/>
                    <a:pt x="43" y="91"/>
                    <a:pt x="47" y="85"/>
                  </a:cubicBezTo>
                  <a:cubicBezTo>
                    <a:pt x="47" y="87"/>
                    <a:pt x="47" y="90"/>
                    <a:pt x="47" y="92"/>
                  </a:cubicBezTo>
                  <a:cubicBezTo>
                    <a:pt x="47" y="95"/>
                    <a:pt x="46" y="96"/>
                    <a:pt x="45" y="99"/>
                  </a:cubicBezTo>
                  <a:cubicBezTo>
                    <a:pt x="43" y="104"/>
                    <a:pt x="41" y="109"/>
                    <a:pt x="38" y="113"/>
                  </a:cubicBezTo>
                  <a:cubicBezTo>
                    <a:pt x="42" y="109"/>
                    <a:pt x="44" y="103"/>
                    <a:pt x="47" y="97"/>
                  </a:cubicBezTo>
                  <a:cubicBezTo>
                    <a:pt x="47" y="111"/>
                    <a:pt x="48" y="124"/>
                    <a:pt x="42" y="134"/>
                  </a:cubicBezTo>
                  <a:cubicBezTo>
                    <a:pt x="48" y="126"/>
                    <a:pt x="48" y="114"/>
                    <a:pt x="48" y="101"/>
                  </a:cubicBezTo>
                  <a:cubicBezTo>
                    <a:pt x="50" y="107"/>
                    <a:pt x="53" y="104"/>
                    <a:pt x="56" y="109"/>
                  </a:cubicBezTo>
                  <a:cubicBezTo>
                    <a:pt x="58" y="112"/>
                    <a:pt x="58" y="119"/>
                    <a:pt x="58" y="124"/>
                  </a:cubicBezTo>
                  <a:cubicBezTo>
                    <a:pt x="58" y="117"/>
                    <a:pt x="58" y="108"/>
                    <a:pt x="54" y="105"/>
                  </a:cubicBezTo>
                  <a:cubicBezTo>
                    <a:pt x="53" y="104"/>
                    <a:pt x="51" y="104"/>
                    <a:pt x="49" y="101"/>
                  </a:cubicBezTo>
                  <a:cubicBezTo>
                    <a:pt x="48" y="98"/>
                    <a:pt x="48" y="94"/>
                    <a:pt x="48" y="90"/>
                  </a:cubicBezTo>
                  <a:cubicBezTo>
                    <a:pt x="48" y="87"/>
                    <a:pt x="49" y="84"/>
                    <a:pt x="50" y="81"/>
                  </a:cubicBezTo>
                  <a:cubicBezTo>
                    <a:pt x="51" y="77"/>
                    <a:pt x="52" y="75"/>
                    <a:pt x="54" y="72"/>
                  </a:cubicBezTo>
                  <a:cubicBezTo>
                    <a:pt x="56" y="67"/>
                    <a:pt x="57" y="61"/>
                    <a:pt x="59" y="56"/>
                  </a:cubicBezTo>
                  <a:cubicBezTo>
                    <a:pt x="61" y="50"/>
                    <a:pt x="64" y="45"/>
                    <a:pt x="67" y="42"/>
                  </a:cubicBezTo>
                  <a:cubicBezTo>
                    <a:pt x="71" y="37"/>
                    <a:pt x="75" y="34"/>
                    <a:pt x="79" y="31"/>
                  </a:cubicBezTo>
                  <a:cubicBezTo>
                    <a:pt x="81" y="30"/>
                    <a:pt x="82" y="29"/>
                    <a:pt x="84" y="28"/>
                  </a:cubicBezTo>
                  <a:cubicBezTo>
                    <a:pt x="84" y="30"/>
                    <a:pt x="84" y="30"/>
                    <a:pt x="83" y="32"/>
                  </a:cubicBezTo>
                  <a:cubicBezTo>
                    <a:pt x="83" y="32"/>
                    <a:pt x="83" y="32"/>
                    <a:pt x="83" y="32"/>
                  </a:cubicBezTo>
                  <a:cubicBezTo>
                    <a:pt x="82" y="33"/>
                    <a:pt x="81" y="34"/>
                    <a:pt x="80" y="35"/>
                  </a:cubicBezTo>
                  <a:cubicBezTo>
                    <a:pt x="79" y="36"/>
                    <a:pt x="79" y="37"/>
                    <a:pt x="78" y="37"/>
                  </a:cubicBezTo>
                  <a:cubicBezTo>
                    <a:pt x="77" y="38"/>
                    <a:pt x="76" y="40"/>
                    <a:pt x="76" y="41"/>
                  </a:cubicBezTo>
                  <a:cubicBezTo>
                    <a:pt x="75" y="41"/>
                    <a:pt x="75" y="41"/>
                    <a:pt x="75" y="41"/>
                  </a:cubicBezTo>
                  <a:cubicBezTo>
                    <a:pt x="75" y="42"/>
                    <a:pt x="75" y="43"/>
                    <a:pt x="74" y="43"/>
                  </a:cubicBezTo>
                  <a:cubicBezTo>
                    <a:pt x="73" y="45"/>
                    <a:pt x="72" y="48"/>
                    <a:pt x="71" y="50"/>
                  </a:cubicBezTo>
                  <a:cubicBezTo>
                    <a:pt x="68" y="59"/>
                    <a:pt x="67" y="71"/>
                    <a:pt x="68" y="79"/>
                  </a:cubicBezTo>
                  <a:cubicBezTo>
                    <a:pt x="67" y="71"/>
                    <a:pt x="69" y="61"/>
                    <a:pt x="72" y="53"/>
                  </a:cubicBezTo>
                  <a:cubicBezTo>
                    <a:pt x="73" y="50"/>
                    <a:pt x="74" y="47"/>
                    <a:pt x="75" y="44"/>
                  </a:cubicBezTo>
                  <a:cubicBezTo>
                    <a:pt x="75" y="48"/>
                    <a:pt x="75" y="52"/>
                    <a:pt x="75" y="56"/>
                  </a:cubicBezTo>
                  <a:cubicBezTo>
                    <a:pt x="75" y="62"/>
                    <a:pt x="75" y="68"/>
                    <a:pt x="75" y="74"/>
                  </a:cubicBezTo>
                  <a:cubicBezTo>
                    <a:pt x="73" y="85"/>
                    <a:pt x="69" y="91"/>
                    <a:pt x="64" y="97"/>
                  </a:cubicBezTo>
                  <a:cubicBezTo>
                    <a:pt x="66" y="94"/>
                    <a:pt x="69" y="91"/>
                    <a:pt x="71" y="87"/>
                  </a:cubicBezTo>
                  <a:cubicBezTo>
                    <a:pt x="74" y="81"/>
                    <a:pt x="75" y="74"/>
                    <a:pt x="75" y="67"/>
                  </a:cubicBezTo>
                  <a:cubicBezTo>
                    <a:pt x="75" y="67"/>
                    <a:pt x="75" y="67"/>
                    <a:pt x="75" y="67"/>
                  </a:cubicBezTo>
                  <a:cubicBezTo>
                    <a:pt x="75" y="67"/>
                    <a:pt x="75" y="67"/>
                    <a:pt x="75" y="67"/>
                  </a:cubicBezTo>
                  <a:cubicBezTo>
                    <a:pt x="75" y="67"/>
                    <a:pt x="76" y="67"/>
                    <a:pt x="76" y="67"/>
                  </a:cubicBezTo>
                  <a:cubicBezTo>
                    <a:pt x="76" y="60"/>
                    <a:pt x="76" y="53"/>
                    <a:pt x="77" y="46"/>
                  </a:cubicBezTo>
                  <a:cubicBezTo>
                    <a:pt x="77" y="44"/>
                    <a:pt x="77" y="43"/>
                    <a:pt x="78" y="41"/>
                  </a:cubicBezTo>
                  <a:cubicBezTo>
                    <a:pt x="79" y="39"/>
                    <a:pt x="81" y="37"/>
                    <a:pt x="83" y="35"/>
                  </a:cubicBezTo>
                  <a:cubicBezTo>
                    <a:pt x="83" y="35"/>
                    <a:pt x="83" y="36"/>
                    <a:pt x="83" y="36"/>
                  </a:cubicBezTo>
                  <a:cubicBezTo>
                    <a:pt x="83" y="39"/>
                    <a:pt x="83" y="39"/>
                    <a:pt x="82" y="42"/>
                  </a:cubicBezTo>
                  <a:cubicBezTo>
                    <a:pt x="81" y="45"/>
                    <a:pt x="81" y="49"/>
                    <a:pt x="80" y="52"/>
                  </a:cubicBezTo>
                  <a:cubicBezTo>
                    <a:pt x="79" y="56"/>
                    <a:pt x="78" y="61"/>
                    <a:pt x="78" y="65"/>
                  </a:cubicBezTo>
                  <a:cubicBezTo>
                    <a:pt x="77" y="66"/>
                    <a:pt x="77" y="67"/>
                    <a:pt x="76" y="67"/>
                  </a:cubicBezTo>
                  <a:cubicBezTo>
                    <a:pt x="76" y="67"/>
                    <a:pt x="76" y="67"/>
                    <a:pt x="76" y="67"/>
                  </a:cubicBezTo>
                  <a:cubicBezTo>
                    <a:pt x="76" y="67"/>
                    <a:pt x="76" y="67"/>
                    <a:pt x="76" y="67"/>
                  </a:cubicBezTo>
                  <a:cubicBezTo>
                    <a:pt x="77" y="67"/>
                    <a:pt x="77" y="66"/>
                    <a:pt x="78" y="66"/>
                  </a:cubicBezTo>
                  <a:cubicBezTo>
                    <a:pt x="77" y="70"/>
                    <a:pt x="78" y="73"/>
                    <a:pt x="79" y="76"/>
                  </a:cubicBezTo>
                  <a:cubicBezTo>
                    <a:pt x="79" y="76"/>
                    <a:pt x="79" y="76"/>
                    <a:pt x="79" y="76"/>
                  </a:cubicBezTo>
                  <a:cubicBezTo>
                    <a:pt x="79" y="76"/>
                    <a:pt x="79" y="76"/>
                    <a:pt x="79" y="75"/>
                  </a:cubicBezTo>
                  <a:cubicBezTo>
                    <a:pt x="78" y="73"/>
                    <a:pt x="78" y="69"/>
                    <a:pt x="78" y="65"/>
                  </a:cubicBezTo>
                  <a:cubicBezTo>
                    <a:pt x="81" y="61"/>
                    <a:pt x="83" y="51"/>
                    <a:pt x="84" y="44"/>
                  </a:cubicBezTo>
                  <a:cubicBezTo>
                    <a:pt x="84" y="44"/>
                    <a:pt x="84" y="44"/>
                    <a:pt x="84" y="43"/>
                  </a:cubicBezTo>
                  <a:cubicBezTo>
                    <a:pt x="85" y="41"/>
                    <a:pt x="85" y="38"/>
                    <a:pt x="85" y="35"/>
                  </a:cubicBezTo>
                  <a:cubicBezTo>
                    <a:pt x="85" y="32"/>
                    <a:pt x="85" y="30"/>
                    <a:pt x="85" y="27"/>
                  </a:cubicBezTo>
                  <a:cubicBezTo>
                    <a:pt x="87" y="25"/>
                    <a:pt x="89" y="23"/>
                    <a:pt x="92" y="21"/>
                  </a:cubicBezTo>
                  <a:cubicBezTo>
                    <a:pt x="92" y="21"/>
                    <a:pt x="92" y="21"/>
                    <a:pt x="93" y="21"/>
                  </a:cubicBezTo>
                  <a:cubicBezTo>
                    <a:pt x="92" y="24"/>
                    <a:pt x="91" y="26"/>
                    <a:pt x="90" y="28"/>
                  </a:cubicBezTo>
                  <a:cubicBezTo>
                    <a:pt x="88" y="33"/>
                    <a:pt x="87" y="38"/>
                    <a:pt x="87" y="43"/>
                  </a:cubicBezTo>
                  <a:cubicBezTo>
                    <a:pt x="87" y="44"/>
                    <a:pt x="87" y="44"/>
                    <a:pt x="87" y="44"/>
                  </a:cubicBezTo>
                  <a:cubicBezTo>
                    <a:pt x="87" y="44"/>
                    <a:pt x="87" y="44"/>
                    <a:pt x="87" y="44"/>
                  </a:cubicBezTo>
                  <a:cubicBezTo>
                    <a:pt x="87" y="45"/>
                    <a:pt x="87" y="47"/>
                    <a:pt x="87" y="48"/>
                  </a:cubicBezTo>
                  <a:cubicBezTo>
                    <a:pt x="88" y="53"/>
                    <a:pt x="90" y="56"/>
                    <a:pt x="91" y="60"/>
                  </a:cubicBezTo>
                  <a:cubicBezTo>
                    <a:pt x="89" y="53"/>
                    <a:pt x="86" y="45"/>
                    <a:pt x="89" y="35"/>
                  </a:cubicBezTo>
                  <a:cubicBezTo>
                    <a:pt x="91" y="30"/>
                    <a:pt x="93" y="25"/>
                    <a:pt x="95" y="20"/>
                  </a:cubicBezTo>
                  <a:cubicBezTo>
                    <a:pt x="95" y="20"/>
                    <a:pt x="95" y="20"/>
                    <a:pt x="96" y="20"/>
                  </a:cubicBezTo>
                  <a:cubicBezTo>
                    <a:pt x="97" y="24"/>
                    <a:pt x="97" y="28"/>
                    <a:pt x="96" y="33"/>
                  </a:cubicBezTo>
                  <a:cubicBezTo>
                    <a:pt x="96" y="41"/>
                    <a:pt x="94" y="51"/>
                    <a:pt x="91" y="58"/>
                  </a:cubicBezTo>
                  <a:cubicBezTo>
                    <a:pt x="96" y="48"/>
                    <a:pt x="99" y="30"/>
                    <a:pt x="97" y="20"/>
                  </a:cubicBezTo>
                  <a:cubicBezTo>
                    <a:pt x="97" y="20"/>
                    <a:pt x="97" y="20"/>
                    <a:pt x="97" y="19"/>
                  </a:cubicBezTo>
                  <a:cubicBezTo>
                    <a:pt x="98" y="19"/>
                    <a:pt x="100" y="19"/>
                    <a:pt x="101" y="18"/>
                  </a:cubicBezTo>
                  <a:cubicBezTo>
                    <a:pt x="101" y="18"/>
                    <a:pt x="101" y="18"/>
                    <a:pt x="101" y="18"/>
                  </a:cubicBezTo>
                  <a:cubicBezTo>
                    <a:pt x="101" y="23"/>
                    <a:pt x="102" y="28"/>
                    <a:pt x="103" y="32"/>
                  </a:cubicBezTo>
                  <a:cubicBezTo>
                    <a:pt x="103" y="35"/>
                    <a:pt x="104" y="39"/>
                    <a:pt x="104" y="42"/>
                  </a:cubicBezTo>
                  <a:cubicBezTo>
                    <a:pt x="104" y="44"/>
                    <a:pt x="104" y="46"/>
                    <a:pt x="103" y="48"/>
                  </a:cubicBezTo>
                  <a:cubicBezTo>
                    <a:pt x="102" y="53"/>
                    <a:pt x="101" y="58"/>
                    <a:pt x="100" y="62"/>
                  </a:cubicBezTo>
                  <a:cubicBezTo>
                    <a:pt x="99" y="62"/>
                    <a:pt x="99" y="61"/>
                    <a:pt x="99" y="60"/>
                  </a:cubicBezTo>
                  <a:cubicBezTo>
                    <a:pt x="99" y="60"/>
                    <a:pt x="98" y="61"/>
                    <a:pt x="98" y="61"/>
                  </a:cubicBezTo>
                  <a:cubicBezTo>
                    <a:pt x="99" y="64"/>
                    <a:pt x="100" y="67"/>
                    <a:pt x="101" y="70"/>
                  </a:cubicBezTo>
                  <a:cubicBezTo>
                    <a:pt x="101" y="70"/>
                    <a:pt x="101" y="70"/>
                    <a:pt x="101" y="70"/>
                  </a:cubicBezTo>
                  <a:cubicBezTo>
                    <a:pt x="100" y="67"/>
                    <a:pt x="101" y="67"/>
                    <a:pt x="102" y="64"/>
                  </a:cubicBezTo>
                  <a:cubicBezTo>
                    <a:pt x="103" y="60"/>
                    <a:pt x="104" y="57"/>
                    <a:pt x="105" y="53"/>
                  </a:cubicBezTo>
                  <a:cubicBezTo>
                    <a:pt x="106" y="60"/>
                    <a:pt x="106" y="67"/>
                    <a:pt x="106" y="75"/>
                  </a:cubicBezTo>
                  <a:cubicBezTo>
                    <a:pt x="106" y="77"/>
                    <a:pt x="105" y="79"/>
                    <a:pt x="105" y="81"/>
                  </a:cubicBezTo>
                  <a:cubicBezTo>
                    <a:pt x="106" y="82"/>
                    <a:pt x="106" y="82"/>
                    <a:pt x="106" y="83"/>
                  </a:cubicBezTo>
                  <a:cubicBezTo>
                    <a:pt x="107" y="78"/>
                    <a:pt x="108" y="74"/>
                    <a:pt x="108" y="69"/>
                  </a:cubicBezTo>
                  <a:cubicBezTo>
                    <a:pt x="110" y="81"/>
                    <a:pt x="113" y="92"/>
                    <a:pt x="117" y="101"/>
                  </a:cubicBezTo>
                  <a:cubicBezTo>
                    <a:pt x="121" y="109"/>
                    <a:pt x="125" y="114"/>
                    <a:pt x="130" y="118"/>
                  </a:cubicBezTo>
                  <a:cubicBezTo>
                    <a:pt x="126" y="114"/>
                    <a:pt x="122" y="108"/>
                    <a:pt x="118" y="101"/>
                  </a:cubicBezTo>
                  <a:cubicBezTo>
                    <a:pt x="115" y="92"/>
                    <a:pt x="112" y="81"/>
                    <a:pt x="111" y="70"/>
                  </a:cubicBezTo>
                  <a:cubicBezTo>
                    <a:pt x="108" y="53"/>
                    <a:pt x="107" y="35"/>
                    <a:pt x="105" y="17"/>
                  </a:cubicBezTo>
                  <a:cubicBezTo>
                    <a:pt x="105" y="17"/>
                    <a:pt x="106" y="18"/>
                    <a:pt x="106" y="18"/>
                  </a:cubicBezTo>
                  <a:cubicBezTo>
                    <a:pt x="108" y="20"/>
                    <a:pt x="111" y="22"/>
                    <a:pt x="113" y="23"/>
                  </a:cubicBezTo>
                  <a:cubicBezTo>
                    <a:pt x="114" y="24"/>
                    <a:pt x="115" y="25"/>
                    <a:pt x="116" y="25"/>
                  </a:cubicBezTo>
                  <a:cubicBezTo>
                    <a:pt x="117" y="26"/>
                    <a:pt x="117" y="28"/>
                    <a:pt x="117" y="30"/>
                  </a:cubicBezTo>
                  <a:cubicBezTo>
                    <a:pt x="117" y="33"/>
                    <a:pt x="116" y="37"/>
                    <a:pt x="116" y="40"/>
                  </a:cubicBezTo>
                  <a:cubicBezTo>
                    <a:pt x="114" y="54"/>
                    <a:pt x="121" y="63"/>
                    <a:pt x="123" y="75"/>
                  </a:cubicBezTo>
                  <a:cubicBezTo>
                    <a:pt x="122" y="67"/>
                    <a:pt x="119" y="61"/>
                    <a:pt x="117" y="54"/>
                  </a:cubicBezTo>
                  <a:cubicBezTo>
                    <a:pt x="116" y="49"/>
                    <a:pt x="116" y="45"/>
                    <a:pt x="117" y="41"/>
                  </a:cubicBezTo>
                  <a:cubicBezTo>
                    <a:pt x="117" y="37"/>
                    <a:pt x="119" y="33"/>
                    <a:pt x="118" y="28"/>
                  </a:cubicBezTo>
                  <a:cubicBezTo>
                    <a:pt x="124" y="39"/>
                    <a:pt x="127" y="54"/>
                    <a:pt x="134" y="64"/>
                  </a:cubicBezTo>
                  <a:cubicBezTo>
                    <a:pt x="128" y="54"/>
                    <a:pt x="126" y="41"/>
                    <a:pt x="121" y="30"/>
                  </a:cubicBezTo>
                  <a:cubicBezTo>
                    <a:pt x="122" y="30"/>
                    <a:pt x="122" y="30"/>
                    <a:pt x="123" y="30"/>
                  </a:cubicBezTo>
                  <a:cubicBezTo>
                    <a:pt x="123" y="31"/>
                    <a:pt x="124" y="32"/>
                    <a:pt x="125" y="34"/>
                  </a:cubicBezTo>
                  <a:cubicBezTo>
                    <a:pt x="128" y="37"/>
                    <a:pt x="131" y="42"/>
                    <a:pt x="133" y="48"/>
                  </a:cubicBezTo>
                  <a:cubicBezTo>
                    <a:pt x="135" y="53"/>
                    <a:pt x="137" y="59"/>
                    <a:pt x="139" y="64"/>
                  </a:cubicBezTo>
                  <a:cubicBezTo>
                    <a:pt x="140" y="67"/>
                    <a:pt x="142" y="69"/>
                    <a:pt x="143" y="73"/>
                  </a:cubicBezTo>
                  <a:cubicBezTo>
                    <a:pt x="144" y="76"/>
                    <a:pt x="144" y="79"/>
                    <a:pt x="144" y="82"/>
                  </a:cubicBezTo>
                  <a:cubicBezTo>
                    <a:pt x="144" y="86"/>
                    <a:pt x="144" y="90"/>
                    <a:pt x="143" y="93"/>
                  </a:cubicBezTo>
                  <a:cubicBezTo>
                    <a:pt x="142" y="96"/>
                    <a:pt x="140" y="96"/>
                    <a:pt x="138" y="97"/>
                  </a:cubicBezTo>
                  <a:cubicBezTo>
                    <a:pt x="134" y="100"/>
                    <a:pt x="134" y="109"/>
                    <a:pt x="134" y="116"/>
                  </a:cubicBezTo>
                  <a:cubicBezTo>
                    <a:pt x="134" y="111"/>
                    <a:pt x="135" y="104"/>
                    <a:pt x="137" y="101"/>
                  </a:cubicBezTo>
                  <a:cubicBezTo>
                    <a:pt x="139" y="96"/>
                    <a:pt x="142" y="99"/>
                    <a:pt x="144" y="93"/>
                  </a:cubicBezTo>
                  <a:cubicBezTo>
                    <a:pt x="144" y="106"/>
                    <a:pt x="145" y="118"/>
                    <a:pt x="150" y="126"/>
                  </a:cubicBezTo>
                  <a:cubicBezTo>
                    <a:pt x="144" y="116"/>
                    <a:pt x="145" y="103"/>
                    <a:pt x="146" y="89"/>
                  </a:cubicBezTo>
                  <a:cubicBezTo>
                    <a:pt x="148" y="95"/>
                    <a:pt x="151" y="101"/>
                    <a:pt x="154" y="105"/>
                  </a:cubicBezTo>
                  <a:cubicBezTo>
                    <a:pt x="151" y="101"/>
                    <a:pt x="149" y="96"/>
                    <a:pt x="147" y="91"/>
                  </a:cubicBezTo>
                  <a:cubicBezTo>
                    <a:pt x="146" y="88"/>
                    <a:pt x="146" y="87"/>
                    <a:pt x="146" y="84"/>
                  </a:cubicBezTo>
                  <a:cubicBezTo>
                    <a:pt x="146" y="82"/>
                    <a:pt x="146" y="79"/>
                    <a:pt x="145" y="77"/>
                  </a:cubicBezTo>
                  <a:cubicBezTo>
                    <a:pt x="150" y="83"/>
                    <a:pt x="154" y="88"/>
                    <a:pt x="159" y="94"/>
                  </a:cubicBezTo>
                  <a:cubicBezTo>
                    <a:pt x="162" y="99"/>
                    <a:pt x="164" y="104"/>
                    <a:pt x="165" y="111"/>
                  </a:cubicBezTo>
                  <a:cubicBezTo>
                    <a:pt x="164" y="102"/>
                    <a:pt x="161" y="96"/>
                    <a:pt x="157" y="90"/>
                  </a:cubicBezTo>
                  <a:cubicBezTo>
                    <a:pt x="153" y="83"/>
                    <a:pt x="148" y="77"/>
                    <a:pt x="144" y="69"/>
                  </a:cubicBezTo>
                  <a:cubicBezTo>
                    <a:pt x="141" y="62"/>
                    <a:pt x="139" y="54"/>
                    <a:pt x="136" y="46"/>
                  </a:cubicBezTo>
                  <a:cubicBezTo>
                    <a:pt x="134" y="40"/>
                    <a:pt x="132" y="35"/>
                    <a:pt x="129" y="30"/>
                  </a:cubicBezTo>
                  <a:cubicBezTo>
                    <a:pt x="130" y="30"/>
                    <a:pt x="131" y="30"/>
                    <a:pt x="132" y="31"/>
                  </a:cubicBezTo>
                  <a:cubicBezTo>
                    <a:pt x="135" y="33"/>
                    <a:pt x="136" y="38"/>
                    <a:pt x="137" y="41"/>
                  </a:cubicBezTo>
                  <a:cubicBezTo>
                    <a:pt x="139" y="44"/>
                    <a:pt x="140" y="46"/>
                    <a:pt x="141" y="48"/>
                  </a:cubicBezTo>
                  <a:cubicBezTo>
                    <a:pt x="139" y="44"/>
                    <a:pt x="137" y="40"/>
                    <a:pt x="136" y="36"/>
                  </a:cubicBezTo>
                  <a:cubicBezTo>
                    <a:pt x="134" y="30"/>
                    <a:pt x="132" y="27"/>
                    <a:pt x="128" y="28"/>
                  </a:cubicBezTo>
                  <a:cubicBezTo>
                    <a:pt x="128" y="28"/>
                    <a:pt x="128" y="28"/>
                    <a:pt x="128" y="28"/>
                  </a:cubicBezTo>
                  <a:cubicBezTo>
                    <a:pt x="128" y="28"/>
                    <a:pt x="128" y="28"/>
                    <a:pt x="128" y="28"/>
                  </a:cubicBezTo>
                  <a:cubicBezTo>
                    <a:pt x="130" y="28"/>
                    <a:pt x="134" y="28"/>
                    <a:pt x="136" y="32"/>
                  </a:cubicBezTo>
                  <a:cubicBezTo>
                    <a:pt x="139" y="36"/>
                    <a:pt x="140" y="44"/>
                    <a:pt x="142" y="50"/>
                  </a:cubicBezTo>
                  <a:cubicBezTo>
                    <a:pt x="143" y="52"/>
                    <a:pt x="144" y="54"/>
                    <a:pt x="145" y="57"/>
                  </a:cubicBezTo>
                  <a:cubicBezTo>
                    <a:pt x="145" y="59"/>
                    <a:pt x="146" y="62"/>
                    <a:pt x="147" y="64"/>
                  </a:cubicBezTo>
                  <a:cubicBezTo>
                    <a:pt x="149" y="68"/>
                    <a:pt x="152" y="70"/>
                    <a:pt x="155" y="71"/>
                  </a:cubicBezTo>
                  <a:cubicBezTo>
                    <a:pt x="151" y="68"/>
                    <a:pt x="148" y="65"/>
                    <a:pt x="146" y="57"/>
                  </a:cubicBezTo>
                  <a:cubicBezTo>
                    <a:pt x="150" y="63"/>
                    <a:pt x="154" y="65"/>
                    <a:pt x="158" y="69"/>
                  </a:cubicBezTo>
                  <a:cubicBezTo>
                    <a:pt x="154" y="65"/>
                    <a:pt x="150" y="62"/>
                    <a:pt x="147" y="57"/>
                  </a:cubicBezTo>
                  <a:cubicBezTo>
                    <a:pt x="143" y="50"/>
                    <a:pt x="142" y="41"/>
                    <a:pt x="139" y="33"/>
                  </a:cubicBezTo>
                  <a:cubicBezTo>
                    <a:pt x="142" y="35"/>
                    <a:pt x="144" y="37"/>
                    <a:pt x="147" y="39"/>
                  </a:cubicBezTo>
                  <a:cubicBezTo>
                    <a:pt x="148" y="41"/>
                    <a:pt x="149" y="43"/>
                    <a:pt x="150" y="44"/>
                  </a:cubicBezTo>
                  <a:cubicBezTo>
                    <a:pt x="153" y="51"/>
                    <a:pt x="157" y="58"/>
                    <a:pt x="160" y="64"/>
                  </a:cubicBezTo>
                  <a:cubicBezTo>
                    <a:pt x="162" y="67"/>
                    <a:pt x="164" y="70"/>
                    <a:pt x="165" y="73"/>
                  </a:cubicBezTo>
                  <a:cubicBezTo>
                    <a:pt x="166" y="74"/>
                    <a:pt x="166" y="81"/>
                    <a:pt x="166" y="83"/>
                  </a:cubicBezTo>
                  <a:cubicBezTo>
                    <a:pt x="167" y="90"/>
                    <a:pt x="170" y="96"/>
                    <a:pt x="171" y="102"/>
                  </a:cubicBezTo>
                  <a:cubicBezTo>
                    <a:pt x="170" y="97"/>
                    <a:pt x="169" y="93"/>
                    <a:pt x="168" y="88"/>
                  </a:cubicBezTo>
                  <a:cubicBezTo>
                    <a:pt x="166" y="83"/>
                    <a:pt x="167" y="79"/>
                    <a:pt x="167" y="74"/>
                  </a:cubicBezTo>
                  <a:cubicBezTo>
                    <a:pt x="169" y="77"/>
                    <a:pt x="172" y="77"/>
                    <a:pt x="175" y="74"/>
                  </a:cubicBezTo>
                  <a:cubicBezTo>
                    <a:pt x="170" y="79"/>
                    <a:pt x="166" y="72"/>
                    <a:pt x="162" y="66"/>
                  </a:cubicBezTo>
                  <a:cubicBezTo>
                    <a:pt x="159" y="59"/>
                    <a:pt x="156" y="50"/>
                    <a:pt x="152" y="43"/>
                  </a:cubicBezTo>
                  <a:cubicBezTo>
                    <a:pt x="154" y="45"/>
                    <a:pt x="156" y="46"/>
                    <a:pt x="158" y="47"/>
                  </a:cubicBezTo>
                  <a:cubicBezTo>
                    <a:pt x="159" y="47"/>
                    <a:pt x="160" y="47"/>
                    <a:pt x="161" y="48"/>
                  </a:cubicBezTo>
                  <a:cubicBezTo>
                    <a:pt x="161" y="49"/>
                    <a:pt x="161" y="50"/>
                    <a:pt x="162" y="52"/>
                  </a:cubicBezTo>
                  <a:cubicBezTo>
                    <a:pt x="164" y="57"/>
                    <a:pt x="167" y="59"/>
                    <a:pt x="170" y="60"/>
                  </a:cubicBezTo>
                  <a:cubicBezTo>
                    <a:pt x="167" y="58"/>
                    <a:pt x="163" y="55"/>
                    <a:pt x="162" y="48"/>
                  </a:cubicBezTo>
                  <a:cubicBezTo>
                    <a:pt x="166" y="49"/>
                    <a:pt x="170" y="48"/>
                    <a:pt x="175" y="47"/>
                  </a:cubicBezTo>
                  <a:cubicBezTo>
                    <a:pt x="168" y="48"/>
                    <a:pt x="162" y="47"/>
                    <a:pt x="156" y="43"/>
                  </a:cubicBezTo>
                  <a:cubicBezTo>
                    <a:pt x="148" y="38"/>
                    <a:pt x="142" y="28"/>
                    <a:pt x="134" y="23"/>
                  </a:cubicBezTo>
                  <a:cubicBezTo>
                    <a:pt x="138" y="23"/>
                    <a:pt x="143" y="24"/>
                    <a:pt x="147" y="26"/>
                  </a:cubicBezTo>
                  <a:cubicBezTo>
                    <a:pt x="152" y="27"/>
                    <a:pt x="156" y="28"/>
                    <a:pt x="160" y="30"/>
                  </a:cubicBezTo>
                  <a:cubicBezTo>
                    <a:pt x="168" y="35"/>
                    <a:pt x="175" y="46"/>
                    <a:pt x="184" y="44"/>
                  </a:cubicBezTo>
                  <a:cubicBezTo>
                    <a:pt x="177" y="45"/>
                    <a:pt x="172" y="38"/>
                    <a:pt x="166" y="32"/>
                  </a:cubicBezTo>
                  <a:close/>
                  <a:moveTo>
                    <a:pt x="78" y="65"/>
                  </a:moveTo>
                  <a:cubicBezTo>
                    <a:pt x="79" y="57"/>
                    <a:pt x="81" y="49"/>
                    <a:pt x="83" y="43"/>
                  </a:cubicBezTo>
                  <a:cubicBezTo>
                    <a:pt x="83" y="51"/>
                    <a:pt x="81" y="60"/>
                    <a:pt x="78" y="65"/>
                  </a:cubicBezTo>
                  <a:close/>
                </a:path>
              </a:pathLst>
            </a:custGeom>
            <a:solidFill>
              <a:srgbClr val="A27729"/>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36" name="AutoShape 3">
              <a:extLst>
                <a:ext uri="{FF2B5EF4-FFF2-40B4-BE49-F238E27FC236}">
                  <a16:creationId xmlns:a16="http://schemas.microsoft.com/office/drawing/2014/main" id="{C452CA85-C4DD-4206-B790-56FD081F12FF}"/>
                </a:ext>
              </a:extLst>
            </p:cNvPr>
            <p:cNvSpPr>
              <a:spLocks noChangeAspect="1" noChangeArrowheads="1" noTextEdit="1"/>
            </p:cNvSpPr>
            <p:nvPr/>
          </p:nvSpPr>
          <p:spPr bwMode="auto">
            <a:xfrm>
              <a:off x="9181388" y="1553673"/>
              <a:ext cx="1257469" cy="1480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7" name="Freeform 5">
              <a:extLst>
                <a:ext uri="{FF2B5EF4-FFF2-40B4-BE49-F238E27FC236}">
                  <a16:creationId xmlns:a16="http://schemas.microsoft.com/office/drawing/2014/main" id="{FEB22236-A416-42E3-B9E7-A9A1A68538E8}"/>
                </a:ext>
              </a:extLst>
            </p:cNvPr>
            <p:cNvSpPr>
              <a:spLocks/>
            </p:cNvSpPr>
            <p:nvPr/>
          </p:nvSpPr>
          <p:spPr bwMode="auto">
            <a:xfrm>
              <a:off x="9514741" y="2112877"/>
              <a:ext cx="533561" cy="921158"/>
            </a:xfrm>
            <a:custGeom>
              <a:avLst/>
              <a:gdLst>
                <a:gd name="T0" fmla="*/ 67 w 186"/>
                <a:gd name="T1" fmla="*/ 321 h 321"/>
                <a:gd name="T2" fmla="*/ 73 w 186"/>
                <a:gd name="T3" fmla="*/ 180 h 321"/>
                <a:gd name="T4" fmla="*/ 0 w 186"/>
                <a:gd name="T5" fmla="*/ 81 h 321"/>
                <a:gd name="T6" fmla="*/ 12 w 186"/>
                <a:gd name="T7" fmla="*/ 70 h 321"/>
                <a:gd name="T8" fmla="*/ 81 w 186"/>
                <a:gd name="T9" fmla="*/ 148 h 321"/>
                <a:gd name="T10" fmla="*/ 88 w 186"/>
                <a:gd name="T11" fmla="*/ 0 h 321"/>
                <a:gd name="T12" fmla="*/ 106 w 186"/>
                <a:gd name="T13" fmla="*/ 0 h 321"/>
                <a:gd name="T14" fmla="*/ 113 w 186"/>
                <a:gd name="T15" fmla="*/ 97 h 321"/>
                <a:gd name="T16" fmla="*/ 173 w 186"/>
                <a:gd name="T17" fmla="*/ 32 h 321"/>
                <a:gd name="T18" fmla="*/ 186 w 186"/>
                <a:gd name="T19" fmla="*/ 50 h 321"/>
                <a:gd name="T20" fmla="*/ 123 w 186"/>
                <a:gd name="T21" fmla="*/ 126 h 321"/>
                <a:gd name="T22" fmla="*/ 119 w 186"/>
                <a:gd name="T23" fmla="*/ 202 h 321"/>
                <a:gd name="T24" fmla="*/ 130 w 186"/>
                <a:gd name="T25" fmla="*/ 319 h 321"/>
                <a:gd name="T26" fmla="*/ 67 w 186"/>
                <a:gd name="T27" fmla="*/ 321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6" h="321">
                  <a:moveTo>
                    <a:pt x="67" y="321"/>
                  </a:moveTo>
                  <a:cubicBezTo>
                    <a:pt x="67" y="321"/>
                    <a:pt x="83" y="212"/>
                    <a:pt x="73" y="180"/>
                  </a:cubicBezTo>
                  <a:cubicBezTo>
                    <a:pt x="0" y="81"/>
                    <a:pt x="0" y="81"/>
                    <a:pt x="0" y="81"/>
                  </a:cubicBezTo>
                  <a:cubicBezTo>
                    <a:pt x="12" y="70"/>
                    <a:pt x="12" y="70"/>
                    <a:pt x="12" y="70"/>
                  </a:cubicBezTo>
                  <a:cubicBezTo>
                    <a:pt x="81" y="148"/>
                    <a:pt x="81" y="148"/>
                    <a:pt x="81" y="148"/>
                  </a:cubicBezTo>
                  <a:cubicBezTo>
                    <a:pt x="88" y="0"/>
                    <a:pt x="88" y="0"/>
                    <a:pt x="88" y="0"/>
                  </a:cubicBezTo>
                  <a:cubicBezTo>
                    <a:pt x="106" y="0"/>
                    <a:pt x="106" y="0"/>
                    <a:pt x="106" y="0"/>
                  </a:cubicBezTo>
                  <a:cubicBezTo>
                    <a:pt x="113" y="97"/>
                    <a:pt x="113" y="97"/>
                    <a:pt x="113" y="97"/>
                  </a:cubicBezTo>
                  <a:cubicBezTo>
                    <a:pt x="173" y="32"/>
                    <a:pt x="173" y="32"/>
                    <a:pt x="173" y="32"/>
                  </a:cubicBezTo>
                  <a:cubicBezTo>
                    <a:pt x="186" y="50"/>
                    <a:pt x="186" y="50"/>
                    <a:pt x="186" y="50"/>
                  </a:cubicBezTo>
                  <a:cubicBezTo>
                    <a:pt x="123" y="126"/>
                    <a:pt x="123" y="126"/>
                    <a:pt x="123" y="126"/>
                  </a:cubicBezTo>
                  <a:cubicBezTo>
                    <a:pt x="123" y="126"/>
                    <a:pt x="112" y="126"/>
                    <a:pt x="119" y="202"/>
                  </a:cubicBezTo>
                  <a:cubicBezTo>
                    <a:pt x="125" y="279"/>
                    <a:pt x="130" y="319"/>
                    <a:pt x="130" y="319"/>
                  </a:cubicBezTo>
                  <a:lnTo>
                    <a:pt x="67" y="321"/>
                  </a:lnTo>
                  <a:close/>
                </a:path>
              </a:pathLst>
            </a:custGeom>
            <a:solidFill>
              <a:srgbClr val="A277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8" name="Freeform 6">
              <a:extLst>
                <a:ext uri="{FF2B5EF4-FFF2-40B4-BE49-F238E27FC236}">
                  <a16:creationId xmlns:a16="http://schemas.microsoft.com/office/drawing/2014/main" id="{5FC1CCD6-818D-429E-A5F1-92C8B6324DDC}"/>
                </a:ext>
              </a:extLst>
            </p:cNvPr>
            <p:cNvSpPr>
              <a:spLocks/>
            </p:cNvSpPr>
            <p:nvPr/>
          </p:nvSpPr>
          <p:spPr bwMode="auto">
            <a:xfrm>
              <a:off x="9502906" y="1806153"/>
              <a:ext cx="275164" cy="297848"/>
            </a:xfrm>
            <a:custGeom>
              <a:avLst/>
              <a:gdLst>
                <a:gd name="T0" fmla="*/ 93 w 96"/>
                <a:gd name="T1" fmla="*/ 87 h 104"/>
                <a:gd name="T2" fmla="*/ 0 w 96"/>
                <a:gd name="T3" fmla="*/ 31 h 104"/>
                <a:gd name="T4" fmla="*/ 96 w 96"/>
                <a:gd name="T5" fmla="*/ 78 h 104"/>
                <a:gd name="T6" fmla="*/ 45 w 96"/>
                <a:gd name="T7" fmla="*/ 52 h 104"/>
                <a:gd name="T8" fmla="*/ 93 w 96"/>
                <a:gd name="T9" fmla="*/ 87 h 104"/>
              </a:gdLst>
              <a:ahLst/>
              <a:cxnLst>
                <a:cxn ang="0">
                  <a:pos x="T0" y="T1"/>
                </a:cxn>
                <a:cxn ang="0">
                  <a:pos x="T2" y="T3"/>
                </a:cxn>
                <a:cxn ang="0">
                  <a:pos x="T4" y="T5"/>
                </a:cxn>
                <a:cxn ang="0">
                  <a:pos x="T6" y="T7"/>
                </a:cxn>
                <a:cxn ang="0">
                  <a:pos x="T8" y="T9"/>
                </a:cxn>
              </a:cxnLst>
              <a:rect l="0" t="0" r="r" b="b"/>
              <a:pathLst>
                <a:path w="96" h="104">
                  <a:moveTo>
                    <a:pt x="93" y="87"/>
                  </a:moveTo>
                  <a:cubicBezTo>
                    <a:pt x="93" y="87"/>
                    <a:pt x="34" y="104"/>
                    <a:pt x="0" y="31"/>
                  </a:cubicBezTo>
                  <a:cubicBezTo>
                    <a:pt x="0" y="31"/>
                    <a:pt x="77" y="0"/>
                    <a:pt x="96" y="78"/>
                  </a:cubicBezTo>
                  <a:cubicBezTo>
                    <a:pt x="96" y="78"/>
                    <a:pt x="58" y="64"/>
                    <a:pt x="45" y="52"/>
                  </a:cubicBezTo>
                  <a:cubicBezTo>
                    <a:pt x="45" y="52"/>
                    <a:pt x="73" y="83"/>
                    <a:pt x="93" y="87"/>
                  </a:cubicBezTo>
                  <a:close/>
                </a:path>
              </a:pathLst>
            </a:custGeom>
            <a:solidFill>
              <a:srgbClr val="8CC6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9" name="Freeform 7">
              <a:extLst>
                <a:ext uri="{FF2B5EF4-FFF2-40B4-BE49-F238E27FC236}">
                  <a16:creationId xmlns:a16="http://schemas.microsoft.com/office/drawing/2014/main" id="{1B9B3A0C-5FF7-477C-9D3F-D8A605215BE7}"/>
                </a:ext>
              </a:extLst>
            </p:cNvPr>
            <p:cNvSpPr>
              <a:spLocks/>
            </p:cNvSpPr>
            <p:nvPr/>
          </p:nvSpPr>
          <p:spPr bwMode="auto">
            <a:xfrm>
              <a:off x="9316504" y="2046798"/>
              <a:ext cx="243604" cy="255439"/>
            </a:xfrm>
            <a:custGeom>
              <a:avLst/>
              <a:gdLst>
                <a:gd name="T0" fmla="*/ 67 w 85"/>
                <a:gd name="T1" fmla="*/ 89 h 89"/>
                <a:gd name="T2" fmla="*/ 0 w 85"/>
                <a:gd name="T3" fmla="*/ 1 h 89"/>
                <a:gd name="T4" fmla="*/ 74 w 85"/>
                <a:gd name="T5" fmla="*/ 82 h 89"/>
                <a:gd name="T6" fmla="*/ 35 w 85"/>
                <a:gd name="T7" fmla="*/ 37 h 89"/>
                <a:gd name="T8" fmla="*/ 67 w 85"/>
                <a:gd name="T9" fmla="*/ 89 h 89"/>
              </a:gdLst>
              <a:ahLst/>
              <a:cxnLst>
                <a:cxn ang="0">
                  <a:pos x="T0" y="T1"/>
                </a:cxn>
                <a:cxn ang="0">
                  <a:pos x="T2" y="T3"/>
                </a:cxn>
                <a:cxn ang="0">
                  <a:pos x="T4" y="T5"/>
                </a:cxn>
                <a:cxn ang="0">
                  <a:pos x="T6" y="T7"/>
                </a:cxn>
                <a:cxn ang="0">
                  <a:pos x="T8" y="T9"/>
                </a:cxn>
              </a:cxnLst>
              <a:rect l="0" t="0" r="r" b="b"/>
              <a:pathLst>
                <a:path w="85" h="89">
                  <a:moveTo>
                    <a:pt x="67" y="89"/>
                  </a:moveTo>
                  <a:cubicBezTo>
                    <a:pt x="67" y="89"/>
                    <a:pt x="5" y="83"/>
                    <a:pt x="0" y="1"/>
                  </a:cubicBezTo>
                  <a:cubicBezTo>
                    <a:pt x="0" y="1"/>
                    <a:pt x="85" y="0"/>
                    <a:pt x="74" y="82"/>
                  </a:cubicBezTo>
                  <a:cubicBezTo>
                    <a:pt x="74" y="82"/>
                    <a:pt x="43" y="54"/>
                    <a:pt x="35" y="37"/>
                  </a:cubicBezTo>
                  <a:cubicBezTo>
                    <a:pt x="35" y="37"/>
                    <a:pt x="50" y="77"/>
                    <a:pt x="67" y="89"/>
                  </a:cubicBezTo>
                  <a:close/>
                </a:path>
              </a:pathLst>
            </a:custGeom>
            <a:solidFill>
              <a:srgbClr val="8CC6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40" name="Freeform 8">
              <a:extLst>
                <a:ext uri="{FF2B5EF4-FFF2-40B4-BE49-F238E27FC236}">
                  <a16:creationId xmlns:a16="http://schemas.microsoft.com/office/drawing/2014/main" id="{FF757775-AAD4-49C0-9210-734C771AED97}"/>
                </a:ext>
              </a:extLst>
            </p:cNvPr>
            <p:cNvSpPr>
              <a:spLocks/>
            </p:cNvSpPr>
            <p:nvPr/>
          </p:nvSpPr>
          <p:spPr bwMode="auto">
            <a:xfrm>
              <a:off x="9821464" y="1828837"/>
              <a:ext cx="292916" cy="278123"/>
            </a:xfrm>
            <a:custGeom>
              <a:avLst/>
              <a:gdLst>
                <a:gd name="T0" fmla="*/ 0 w 102"/>
                <a:gd name="T1" fmla="*/ 77 h 97"/>
                <a:gd name="T2" fmla="*/ 101 w 102"/>
                <a:gd name="T3" fmla="*/ 0 h 97"/>
                <a:gd name="T4" fmla="*/ 8 w 102"/>
                <a:gd name="T5" fmla="*/ 84 h 97"/>
                <a:gd name="T6" fmla="*/ 59 w 102"/>
                <a:gd name="T7" fmla="*/ 39 h 97"/>
                <a:gd name="T8" fmla="*/ 0 w 102"/>
                <a:gd name="T9" fmla="*/ 77 h 97"/>
              </a:gdLst>
              <a:ahLst/>
              <a:cxnLst>
                <a:cxn ang="0">
                  <a:pos x="T0" y="T1"/>
                </a:cxn>
                <a:cxn ang="0">
                  <a:pos x="T2" y="T3"/>
                </a:cxn>
                <a:cxn ang="0">
                  <a:pos x="T4" y="T5"/>
                </a:cxn>
                <a:cxn ang="0">
                  <a:pos x="T6" y="T7"/>
                </a:cxn>
                <a:cxn ang="0">
                  <a:pos x="T8" y="T9"/>
                </a:cxn>
              </a:cxnLst>
              <a:rect l="0" t="0" r="r" b="b"/>
              <a:pathLst>
                <a:path w="102" h="97">
                  <a:moveTo>
                    <a:pt x="0" y="77"/>
                  </a:moveTo>
                  <a:cubicBezTo>
                    <a:pt x="0" y="77"/>
                    <a:pt x="7" y="5"/>
                    <a:pt x="101" y="0"/>
                  </a:cubicBezTo>
                  <a:cubicBezTo>
                    <a:pt x="101" y="0"/>
                    <a:pt x="102" y="97"/>
                    <a:pt x="8" y="84"/>
                  </a:cubicBezTo>
                  <a:cubicBezTo>
                    <a:pt x="8" y="84"/>
                    <a:pt x="40" y="49"/>
                    <a:pt x="59" y="39"/>
                  </a:cubicBezTo>
                  <a:cubicBezTo>
                    <a:pt x="59" y="39"/>
                    <a:pt x="14" y="57"/>
                    <a:pt x="0" y="77"/>
                  </a:cubicBezTo>
                  <a:close/>
                </a:path>
              </a:pathLst>
            </a:custGeom>
            <a:solidFill>
              <a:srgbClr val="8CC6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41" name="Freeform 9">
              <a:extLst>
                <a:ext uri="{FF2B5EF4-FFF2-40B4-BE49-F238E27FC236}">
                  <a16:creationId xmlns:a16="http://schemas.microsoft.com/office/drawing/2014/main" id="{3CA84DDD-8437-43E3-B22A-54436EDCF1F8}"/>
                </a:ext>
              </a:extLst>
            </p:cNvPr>
            <p:cNvSpPr>
              <a:spLocks/>
            </p:cNvSpPr>
            <p:nvPr/>
          </p:nvSpPr>
          <p:spPr bwMode="auto">
            <a:xfrm>
              <a:off x="10060137" y="2090193"/>
              <a:ext cx="375761" cy="384638"/>
            </a:xfrm>
            <a:custGeom>
              <a:avLst/>
              <a:gdLst>
                <a:gd name="T0" fmla="*/ 0 w 131"/>
                <a:gd name="T1" fmla="*/ 55 h 134"/>
                <a:gd name="T2" fmla="*/ 131 w 131"/>
                <a:gd name="T3" fmla="*/ 54 h 134"/>
                <a:gd name="T4" fmla="*/ 2 w 131"/>
                <a:gd name="T5" fmla="*/ 66 h 134"/>
                <a:gd name="T6" fmla="*/ 72 w 131"/>
                <a:gd name="T7" fmla="*/ 61 h 134"/>
                <a:gd name="T8" fmla="*/ 0 w 131"/>
                <a:gd name="T9" fmla="*/ 55 h 134"/>
              </a:gdLst>
              <a:ahLst/>
              <a:cxnLst>
                <a:cxn ang="0">
                  <a:pos x="T0" y="T1"/>
                </a:cxn>
                <a:cxn ang="0">
                  <a:pos x="T2" y="T3"/>
                </a:cxn>
                <a:cxn ang="0">
                  <a:pos x="T4" y="T5"/>
                </a:cxn>
                <a:cxn ang="0">
                  <a:pos x="T6" y="T7"/>
                </a:cxn>
                <a:cxn ang="0">
                  <a:pos x="T8" y="T9"/>
                </a:cxn>
              </a:cxnLst>
              <a:rect l="0" t="0" r="r" b="b"/>
              <a:pathLst>
                <a:path w="131" h="134">
                  <a:moveTo>
                    <a:pt x="0" y="55"/>
                  </a:moveTo>
                  <a:cubicBezTo>
                    <a:pt x="0" y="55"/>
                    <a:pt x="50" y="0"/>
                    <a:pt x="131" y="54"/>
                  </a:cubicBezTo>
                  <a:cubicBezTo>
                    <a:pt x="131" y="54"/>
                    <a:pt x="72" y="134"/>
                    <a:pt x="2" y="66"/>
                  </a:cubicBezTo>
                  <a:cubicBezTo>
                    <a:pt x="2" y="66"/>
                    <a:pt x="50" y="56"/>
                    <a:pt x="72" y="61"/>
                  </a:cubicBezTo>
                  <a:cubicBezTo>
                    <a:pt x="72" y="61"/>
                    <a:pt x="24" y="47"/>
                    <a:pt x="0" y="55"/>
                  </a:cubicBezTo>
                  <a:close/>
                </a:path>
              </a:pathLst>
            </a:custGeom>
            <a:solidFill>
              <a:srgbClr val="8CC6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42" name="Freeform 10">
              <a:extLst>
                <a:ext uri="{FF2B5EF4-FFF2-40B4-BE49-F238E27FC236}">
                  <a16:creationId xmlns:a16="http://schemas.microsoft.com/office/drawing/2014/main" id="{259848D8-2423-42F0-9CC6-A942C25BB955}"/>
                </a:ext>
              </a:extLst>
            </p:cNvPr>
            <p:cNvSpPr>
              <a:spLocks/>
            </p:cNvSpPr>
            <p:nvPr/>
          </p:nvSpPr>
          <p:spPr bwMode="auto">
            <a:xfrm>
              <a:off x="9962498" y="1920558"/>
              <a:ext cx="315600" cy="295875"/>
            </a:xfrm>
            <a:custGeom>
              <a:avLst/>
              <a:gdLst>
                <a:gd name="T0" fmla="*/ 25 w 110"/>
                <a:gd name="T1" fmla="*/ 101 h 103"/>
                <a:gd name="T2" fmla="*/ 69 w 110"/>
                <a:gd name="T3" fmla="*/ 0 h 103"/>
                <a:gd name="T4" fmla="*/ 34 w 110"/>
                <a:gd name="T5" fmla="*/ 103 h 103"/>
                <a:gd name="T6" fmla="*/ 54 w 110"/>
                <a:gd name="T7" fmla="*/ 48 h 103"/>
                <a:gd name="T8" fmla="*/ 25 w 110"/>
                <a:gd name="T9" fmla="*/ 101 h 103"/>
              </a:gdLst>
              <a:ahLst/>
              <a:cxnLst>
                <a:cxn ang="0">
                  <a:pos x="T0" y="T1"/>
                </a:cxn>
                <a:cxn ang="0">
                  <a:pos x="T2" y="T3"/>
                </a:cxn>
                <a:cxn ang="0">
                  <a:pos x="T4" y="T5"/>
                </a:cxn>
                <a:cxn ang="0">
                  <a:pos x="T6" y="T7"/>
                </a:cxn>
                <a:cxn ang="0">
                  <a:pos x="T8" y="T9"/>
                </a:cxn>
              </a:cxnLst>
              <a:rect l="0" t="0" r="r" b="b"/>
              <a:pathLst>
                <a:path w="110" h="103">
                  <a:moveTo>
                    <a:pt x="25" y="101"/>
                  </a:moveTo>
                  <a:cubicBezTo>
                    <a:pt x="25" y="101"/>
                    <a:pt x="0" y="44"/>
                    <a:pt x="69" y="0"/>
                  </a:cubicBezTo>
                  <a:cubicBezTo>
                    <a:pt x="69" y="0"/>
                    <a:pt x="110" y="74"/>
                    <a:pt x="34" y="103"/>
                  </a:cubicBezTo>
                  <a:cubicBezTo>
                    <a:pt x="34" y="103"/>
                    <a:pt x="43" y="63"/>
                    <a:pt x="54" y="48"/>
                  </a:cubicBezTo>
                  <a:cubicBezTo>
                    <a:pt x="54" y="48"/>
                    <a:pt x="26" y="80"/>
                    <a:pt x="25" y="101"/>
                  </a:cubicBezTo>
                  <a:close/>
                </a:path>
              </a:pathLst>
            </a:custGeom>
            <a:solidFill>
              <a:srgbClr val="8CC6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43" name="Freeform 11">
              <a:extLst>
                <a:ext uri="{FF2B5EF4-FFF2-40B4-BE49-F238E27FC236}">
                  <a16:creationId xmlns:a16="http://schemas.microsoft.com/office/drawing/2014/main" id="{492789F9-6465-4486-A7F4-1EDFE0143216}"/>
                </a:ext>
              </a:extLst>
            </p:cNvPr>
            <p:cNvSpPr>
              <a:spLocks/>
            </p:cNvSpPr>
            <p:nvPr/>
          </p:nvSpPr>
          <p:spPr bwMode="auto">
            <a:xfrm>
              <a:off x="9632105" y="1553673"/>
              <a:ext cx="407321" cy="393514"/>
            </a:xfrm>
            <a:custGeom>
              <a:avLst/>
              <a:gdLst>
                <a:gd name="T0" fmla="*/ 54 w 142"/>
                <a:gd name="T1" fmla="*/ 137 h 137"/>
                <a:gd name="T2" fmla="*/ 61 w 142"/>
                <a:gd name="T3" fmla="*/ 0 h 137"/>
                <a:gd name="T4" fmla="*/ 65 w 142"/>
                <a:gd name="T5" fmla="*/ 136 h 137"/>
                <a:gd name="T6" fmla="*/ 65 w 142"/>
                <a:gd name="T7" fmla="*/ 62 h 137"/>
                <a:gd name="T8" fmla="*/ 54 w 142"/>
                <a:gd name="T9" fmla="*/ 137 h 137"/>
              </a:gdLst>
              <a:ahLst/>
              <a:cxnLst>
                <a:cxn ang="0">
                  <a:pos x="T0" y="T1"/>
                </a:cxn>
                <a:cxn ang="0">
                  <a:pos x="T2" y="T3"/>
                </a:cxn>
                <a:cxn ang="0">
                  <a:pos x="T4" y="T5"/>
                </a:cxn>
                <a:cxn ang="0">
                  <a:pos x="T6" y="T7"/>
                </a:cxn>
                <a:cxn ang="0">
                  <a:pos x="T8" y="T9"/>
                </a:cxn>
              </a:cxnLst>
              <a:rect l="0" t="0" r="r" b="b"/>
              <a:pathLst>
                <a:path w="142" h="137">
                  <a:moveTo>
                    <a:pt x="54" y="137"/>
                  </a:moveTo>
                  <a:cubicBezTo>
                    <a:pt x="54" y="137"/>
                    <a:pt x="0" y="81"/>
                    <a:pt x="61" y="0"/>
                  </a:cubicBezTo>
                  <a:cubicBezTo>
                    <a:pt x="61" y="0"/>
                    <a:pt x="142" y="68"/>
                    <a:pt x="65" y="136"/>
                  </a:cubicBezTo>
                  <a:cubicBezTo>
                    <a:pt x="65" y="136"/>
                    <a:pt x="59" y="85"/>
                    <a:pt x="65" y="62"/>
                  </a:cubicBezTo>
                  <a:cubicBezTo>
                    <a:pt x="65" y="62"/>
                    <a:pt x="47" y="112"/>
                    <a:pt x="54" y="137"/>
                  </a:cubicBezTo>
                  <a:close/>
                </a:path>
              </a:pathLst>
            </a:custGeom>
            <a:solidFill>
              <a:srgbClr val="8CC6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44" name="Freeform 12">
              <a:extLst>
                <a:ext uri="{FF2B5EF4-FFF2-40B4-BE49-F238E27FC236}">
                  <a16:creationId xmlns:a16="http://schemas.microsoft.com/office/drawing/2014/main" id="{A482E749-3107-4325-A5D1-C75C4E4F9B83}"/>
                </a:ext>
              </a:extLst>
            </p:cNvPr>
            <p:cNvSpPr>
              <a:spLocks/>
            </p:cNvSpPr>
            <p:nvPr/>
          </p:nvSpPr>
          <p:spPr bwMode="auto">
            <a:xfrm>
              <a:off x="9178429" y="2198681"/>
              <a:ext cx="307710" cy="315600"/>
            </a:xfrm>
            <a:custGeom>
              <a:avLst/>
              <a:gdLst>
                <a:gd name="T0" fmla="*/ 107 w 107"/>
                <a:gd name="T1" fmla="*/ 64 h 110"/>
                <a:gd name="T2" fmla="*/ 0 w 107"/>
                <a:gd name="T3" fmla="*/ 68 h 110"/>
                <a:gd name="T4" fmla="*/ 105 w 107"/>
                <a:gd name="T5" fmla="*/ 55 h 110"/>
                <a:gd name="T6" fmla="*/ 48 w 107"/>
                <a:gd name="T7" fmla="*/ 61 h 110"/>
                <a:gd name="T8" fmla="*/ 107 w 107"/>
                <a:gd name="T9" fmla="*/ 64 h 110"/>
              </a:gdLst>
              <a:ahLst/>
              <a:cxnLst>
                <a:cxn ang="0">
                  <a:pos x="T0" y="T1"/>
                </a:cxn>
                <a:cxn ang="0">
                  <a:pos x="T2" y="T3"/>
                </a:cxn>
                <a:cxn ang="0">
                  <a:pos x="T4" y="T5"/>
                </a:cxn>
                <a:cxn ang="0">
                  <a:pos x="T6" y="T7"/>
                </a:cxn>
                <a:cxn ang="0">
                  <a:pos x="T8" y="T9"/>
                </a:cxn>
              </a:cxnLst>
              <a:rect l="0" t="0" r="r" b="b"/>
              <a:pathLst>
                <a:path w="107" h="110">
                  <a:moveTo>
                    <a:pt x="107" y="64"/>
                  </a:moveTo>
                  <a:cubicBezTo>
                    <a:pt x="107" y="64"/>
                    <a:pt x="67" y="110"/>
                    <a:pt x="0" y="68"/>
                  </a:cubicBezTo>
                  <a:cubicBezTo>
                    <a:pt x="0" y="68"/>
                    <a:pt x="47" y="0"/>
                    <a:pt x="105" y="55"/>
                  </a:cubicBezTo>
                  <a:cubicBezTo>
                    <a:pt x="105" y="55"/>
                    <a:pt x="66" y="64"/>
                    <a:pt x="48" y="61"/>
                  </a:cubicBezTo>
                  <a:cubicBezTo>
                    <a:pt x="48" y="61"/>
                    <a:pt x="88" y="72"/>
                    <a:pt x="107" y="64"/>
                  </a:cubicBezTo>
                  <a:close/>
                </a:path>
              </a:pathLst>
            </a:custGeom>
            <a:solidFill>
              <a:srgbClr val="8CC6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45" name="Freeform 13">
              <a:extLst>
                <a:ext uri="{FF2B5EF4-FFF2-40B4-BE49-F238E27FC236}">
                  <a16:creationId xmlns:a16="http://schemas.microsoft.com/office/drawing/2014/main" id="{0448C9A4-3A58-4594-A3FA-E9F8FA0D2127}"/>
                </a:ext>
              </a:extLst>
            </p:cNvPr>
            <p:cNvSpPr>
              <a:spLocks/>
            </p:cNvSpPr>
            <p:nvPr/>
          </p:nvSpPr>
          <p:spPr bwMode="auto">
            <a:xfrm>
              <a:off x="9281985" y="2434394"/>
              <a:ext cx="275164" cy="252480"/>
            </a:xfrm>
            <a:custGeom>
              <a:avLst/>
              <a:gdLst>
                <a:gd name="T0" fmla="*/ 87 w 96"/>
                <a:gd name="T1" fmla="*/ 4 h 88"/>
                <a:gd name="T2" fmla="*/ 20 w 96"/>
                <a:gd name="T3" fmla="*/ 88 h 88"/>
                <a:gd name="T4" fmla="*/ 80 w 96"/>
                <a:gd name="T5" fmla="*/ 0 h 88"/>
                <a:gd name="T6" fmla="*/ 46 w 96"/>
                <a:gd name="T7" fmla="*/ 47 h 88"/>
                <a:gd name="T8" fmla="*/ 87 w 96"/>
                <a:gd name="T9" fmla="*/ 4 h 88"/>
              </a:gdLst>
              <a:ahLst/>
              <a:cxnLst>
                <a:cxn ang="0">
                  <a:pos x="T0" y="T1"/>
                </a:cxn>
                <a:cxn ang="0">
                  <a:pos x="T2" y="T3"/>
                </a:cxn>
                <a:cxn ang="0">
                  <a:pos x="T4" y="T5"/>
                </a:cxn>
                <a:cxn ang="0">
                  <a:pos x="T6" y="T7"/>
                </a:cxn>
                <a:cxn ang="0">
                  <a:pos x="T8" y="T9"/>
                </a:cxn>
              </a:cxnLst>
              <a:rect l="0" t="0" r="r" b="b"/>
              <a:pathLst>
                <a:path w="96" h="88">
                  <a:moveTo>
                    <a:pt x="87" y="4"/>
                  </a:moveTo>
                  <a:cubicBezTo>
                    <a:pt x="87" y="4"/>
                    <a:pt x="96" y="64"/>
                    <a:pt x="20" y="88"/>
                  </a:cubicBezTo>
                  <a:cubicBezTo>
                    <a:pt x="20" y="88"/>
                    <a:pt x="0" y="8"/>
                    <a:pt x="80" y="0"/>
                  </a:cubicBezTo>
                  <a:cubicBezTo>
                    <a:pt x="80" y="0"/>
                    <a:pt x="60" y="35"/>
                    <a:pt x="46" y="47"/>
                  </a:cubicBezTo>
                  <a:cubicBezTo>
                    <a:pt x="46" y="47"/>
                    <a:pt x="80" y="23"/>
                    <a:pt x="87" y="4"/>
                  </a:cubicBezTo>
                  <a:close/>
                </a:path>
              </a:pathLst>
            </a:custGeom>
            <a:solidFill>
              <a:srgbClr val="8CC6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46" name="Freeform 14">
              <a:extLst>
                <a:ext uri="{FF2B5EF4-FFF2-40B4-BE49-F238E27FC236}">
                  <a16:creationId xmlns:a16="http://schemas.microsoft.com/office/drawing/2014/main" id="{EC690B2A-C475-4404-9B43-7D47A4BFF159}"/>
                </a:ext>
              </a:extLst>
            </p:cNvPr>
            <p:cNvSpPr>
              <a:spLocks/>
            </p:cNvSpPr>
            <p:nvPr/>
          </p:nvSpPr>
          <p:spPr bwMode="auto">
            <a:xfrm>
              <a:off x="9508823" y="2072441"/>
              <a:ext cx="258398" cy="241631"/>
            </a:xfrm>
            <a:custGeom>
              <a:avLst/>
              <a:gdLst>
                <a:gd name="T0" fmla="*/ 21 w 90"/>
                <a:gd name="T1" fmla="*/ 82 h 84"/>
                <a:gd name="T2" fmla="*/ 55 w 90"/>
                <a:gd name="T3" fmla="*/ 0 h 84"/>
                <a:gd name="T4" fmla="*/ 28 w 90"/>
                <a:gd name="T5" fmla="*/ 84 h 84"/>
                <a:gd name="T6" fmla="*/ 44 w 90"/>
                <a:gd name="T7" fmla="*/ 39 h 84"/>
                <a:gd name="T8" fmla="*/ 21 w 90"/>
                <a:gd name="T9" fmla="*/ 82 h 84"/>
              </a:gdLst>
              <a:ahLst/>
              <a:cxnLst>
                <a:cxn ang="0">
                  <a:pos x="T0" y="T1"/>
                </a:cxn>
                <a:cxn ang="0">
                  <a:pos x="T2" y="T3"/>
                </a:cxn>
                <a:cxn ang="0">
                  <a:pos x="T4" y="T5"/>
                </a:cxn>
                <a:cxn ang="0">
                  <a:pos x="T6" y="T7"/>
                </a:cxn>
                <a:cxn ang="0">
                  <a:pos x="T8" y="T9"/>
                </a:cxn>
              </a:cxnLst>
              <a:rect l="0" t="0" r="r" b="b"/>
              <a:pathLst>
                <a:path w="90" h="84">
                  <a:moveTo>
                    <a:pt x="21" y="82"/>
                  </a:moveTo>
                  <a:cubicBezTo>
                    <a:pt x="21" y="82"/>
                    <a:pt x="0" y="37"/>
                    <a:pt x="55" y="0"/>
                  </a:cubicBezTo>
                  <a:cubicBezTo>
                    <a:pt x="55" y="0"/>
                    <a:pt x="90" y="59"/>
                    <a:pt x="28" y="84"/>
                  </a:cubicBezTo>
                  <a:cubicBezTo>
                    <a:pt x="28" y="84"/>
                    <a:pt x="35" y="51"/>
                    <a:pt x="44" y="39"/>
                  </a:cubicBezTo>
                  <a:cubicBezTo>
                    <a:pt x="44" y="39"/>
                    <a:pt x="22" y="65"/>
                    <a:pt x="21" y="82"/>
                  </a:cubicBezTo>
                  <a:close/>
                </a:path>
              </a:pathLst>
            </a:custGeom>
            <a:solidFill>
              <a:srgbClr val="8CC6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sp>
        <p:nvSpPr>
          <p:cNvPr id="47" name="TextBox 67">
            <a:extLst>
              <a:ext uri="{FF2B5EF4-FFF2-40B4-BE49-F238E27FC236}">
                <a16:creationId xmlns:a16="http://schemas.microsoft.com/office/drawing/2014/main" id="{6FB59F14-64C4-461B-8C8E-E4B58F46C05E}"/>
              </a:ext>
            </a:extLst>
          </p:cNvPr>
          <p:cNvSpPr txBox="1"/>
          <p:nvPr/>
        </p:nvSpPr>
        <p:spPr>
          <a:xfrm>
            <a:off x="2657474" y="731469"/>
            <a:ext cx="6877050"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1" i="0" u="none" strike="noStrike" kern="1200" cap="none" spc="0" normalizeH="0" baseline="0" noProof="0" dirty="0">
                <a:ln>
                  <a:noFill/>
                </a:ln>
                <a:solidFill>
                  <a:srgbClr val="000000">
                    <a:lumMod val="85000"/>
                    <a:lumOff val="15000"/>
                  </a:srgbClr>
                </a:solidFill>
                <a:effectLst/>
                <a:uLnTx/>
                <a:uFillTx/>
                <a:latin typeface="等线 Light" panose="020F0302020204030204"/>
                <a:ea typeface="+mn-ea"/>
                <a:cs typeface="Arial" panose="020B0604020202020204" pitchFamily="34" charset="0"/>
              </a:rPr>
              <a:t>Your Title Text Goes Here</a:t>
            </a:r>
          </a:p>
        </p:txBody>
      </p:sp>
      <p:grpSp>
        <p:nvGrpSpPr>
          <p:cNvPr id="48" name="Group 12">
            <a:extLst>
              <a:ext uri="{FF2B5EF4-FFF2-40B4-BE49-F238E27FC236}">
                <a16:creationId xmlns:a16="http://schemas.microsoft.com/office/drawing/2014/main" id="{FF93A54C-F642-43AB-A27C-B4EC24672B49}"/>
              </a:ext>
            </a:extLst>
          </p:cNvPr>
          <p:cNvGrpSpPr/>
          <p:nvPr/>
        </p:nvGrpSpPr>
        <p:grpSpPr>
          <a:xfrm>
            <a:off x="833250" y="3829172"/>
            <a:ext cx="3048000" cy="2120717"/>
            <a:chOff x="833250" y="3829172"/>
            <a:chExt cx="3048000" cy="2120717"/>
          </a:xfrm>
        </p:grpSpPr>
        <p:sp>
          <p:nvSpPr>
            <p:cNvPr id="49" name="Rectangle: Rounded Corners 64">
              <a:extLst>
                <a:ext uri="{FF2B5EF4-FFF2-40B4-BE49-F238E27FC236}">
                  <a16:creationId xmlns:a16="http://schemas.microsoft.com/office/drawing/2014/main" id="{68B9B4C4-9D02-441E-A4B1-02CACEA534EF}"/>
                </a:ext>
              </a:extLst>
            </p:cNvPr>
            <p:cNvSpPr/>
            <p:nvPr/>
          </p:nvSpPr>
          <p:spPr>
            <a:xfrm>
              <a:off x="1079992" y="4096051"/>
              <a:ext cx="2554515" cy="1853838"/>
            </a:xfrm>
            <a:prstGeom prst="roundRect">
              <a:avLst>
                <a:gd name="adj" fmla="val 4167"/>
              </a:avLst>
            </a:prstGeom>
            <a:solidFill>
              <a:schemeClr val="accent1"/>
            </a:solidFill>
            <a:ln>
              <a:noFill/>
            </a:ln>
            <a:effectLst>
              <a:outerShdw blurRad="635000" dist="635000" dir="5400000" sx="85000" sy="85000" algn="t" rotWithShape="0">
                <a:prstClr val="black">
                  <a:alpha val="1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等线" panose="020F0502020204030204"/>
                <a:ea typeface="+mn-ea"/>
                <a:cs typeface="+mn-cs"/>
              </a:endParaRPr>
            </a:p>
          </p:txBody>
        </p:sp>
        <p:sp>
          <p:nvSpPr>
            <p:cNvPr id="50" name="Rectangle: Rounded Corners 59">
              <a:extLst>
                <a:ext uri="{FF2B5EF4-FFF2-40B4-BE49-F238E27FC236}">
                  <a16:creationId xmlns:a16="http://schemas.microsoft.com/office/drawing/2014/main" id="{009C3AB3-6431-447C-AB58-1D6E3E3A125E}"/>
                </a:ext>
              </a:extLst>
            </p:cNvPr>
            <p:cNvSpPr/>
            <p:nvPr/>
          </p:nvSpPr>
          <p:spPr>
            <a:xfrm>
              <a:off x="833250" y="3829172"/>
              <a:ext cx="3048000" cy="610008"/>
            </a:xfrm>
            <a:prstGeom prst="roundRect">
              <a:avLst>
                <a:gd name="adj" fmla="val 50000"/>
              </a:avLst>
            </a:prstGeom>
            <a:solidFill>
              <a:schemeClr val="bg1"/>
            </a:solidFill>
            <a:ln>
              <a:noFill/>
            </a:ln>
            <a:effectLst>
              <a:outerShdw blurRad="330200" dist="190500" dir="5400000" algn="t" rotWithShape="0">
                <a:prstClr val="black">
                  <a:alpha val="1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等线" panose="020F0502020204030204"/>
                <a:ea typeface="+mn-ea"/>
                <a:cs typeface="+mn-cs"/>
              </a:endParaRPr>
            </a:p>
          </p:txBody>
        </p:sp>
        <p:sp>
          <p:nvSpPr>
            <p:cNvPr id="51" name="TextBox 73">
              <a:extLst>
                <a:ext uri="{FF2B5EF4-FFF2-40B4-BE49-F238E27FC236}">
                  <a16:creationId xmlns:a16="http://schemas.microsoft.com/office/drawing/2014/main" id="{F61D42A3-F40A-4395-8F33-BB113C7A869E}"/>
                </a:ext>
              </a:extLst>
            </p:cNvPr>
            <p:cNvSpPr txBox="1"/>
            <p:nvPr/>
          </p:nvSpPr>
          <p:spPr>
            <a:xfrm>
              <a:off x="1355762" y="5125585"/>
              <a:ext cx="2002974"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1" i="0" u="none" strike="noStrike" kern="1200" cap="none" spc="0" normalizeH="0" baseline="0" noProof="0" dirty="0">
                  <a:ln>
                    <a:noFill/>
                  </a:ln>
                  <a:solidFill>
                    <a:srgbClr val="FFFFFF">
                      <a:alpha val="20000"/>
                    </a:srgbClr>
                  </a:solidFill>
                  <a:effectLst/>
                  <a:uLnTx/>
                  <a:uFillTx/>
                  <a:latin typeface="等线 Light" panose="020F0302020204030204"/>
                  <a:ea typeface="+mn-ea"/>
                  <a:cs typeface="Arial" panose="020B0604020202020204" pitchFamily="34" charset="0"/>
                </a:rPr>
                <a:t>01</a:t>
              </a:r>
            </a:p>
          </p:txBody>
        </p:sp>
        <p:sp>
          <p:nvSpPr>
            <p:cNvPr id="52" name="TextBox 72">
              <a:extLst>
                <a:ext uri="{FF2B5EF4-FFF2-40B4-BE49-F238E27FC236}">
                  <a16:creationId xmlns:a16="http://schemas.microsoft.com/office/drawing/2014/main" id="{D85A4CA8-C170-453F-B127-7F4184C9176A}"/>
                </a:ext>
              </a:extLst>
            </p:cNvPr>
            <p:cNvSpPr txBox="1"/>
            <p:nvPr/>
          </p:nvSpPr>
          <p:spPr>
            <a:xfrm>
              <a:off x="1472147" y="4590374"/>
              <a:ext cx="1691302" cy="889154"/>
            </a:xfrm>
            <a:prstGeom prst="rect">
              <a:avLst/>
            </a:prstGeom>
            <a:noFill/>
          </p:spPr>
          <p:txBody>
            <a:bodyPr wrap="square" rtlCol="0">
              <a:sp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等线" panose="020F0502020204030204"/>
                  <a:ea typeface="+mn-ea"/>
                  <a:cs typeface="Arial" panose="020B0604020202020204" pitchFamily="34" charset="0"/>
                </a:rPr>
                <a:t>A wonderful serenity has taken possession of my entire soul.</a:t>
              </a:r>
            </a:p>
          </p:txBody>
        </p:sp>
        <p:sp>
          <p:nvSpPr>
            <p:cNvPr id="53" name="TextBox 75">
              <a:extLst>
                <a:ext uri="{FF2B5EF4-FFF2-40B4-BE49-F238E27FC236}">
                  <a16:creationId xmlns:a16="http://schemas.microsoft.com/office/drawing/2014/main" id="{5E8CB496-9F87-44F2-957E-4921868D2A37}"/>
                </a:ext>
              </a:extLst>
            </p:cNvPr>
            <p:cNvSpPr txBox="1"/>
            <p:nvPr/>
          </p:nvSpPr>
          <p:spPr>
            <a:xfrm>
              <a:off x="1180862" y="3895836"/>
              <a:ext cx="2352777" cy="416011"/>
            </a:xfrm>
            <a:prstGeom prst="rect">
              <a:avLst/>
            </a:prstGeom>
            <a:noFill/>
          </p:spPr>
          <p:txBody>
            <a:bodyPr wrap="square" rtlCol="0">
              <a:sp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D229"/>
                  </a:solidFill>
                  <a:effectLst/>
                  <a:uLnTx/>
                  <a:uFillTx/>
                  <a:latin typeface="等线" panose="020F0502020204030204"/>
                  <a:ea typeface="+mn-ea"/>
                  <a:cs typeface="Arial" panose="020B0604020202020204" pitchFamily="34" charset="0"/>
                </a:rPr>
                <a:t>A wonderful serenity</a:t>
              </a:r>
            </a:p>
          </p:txBody>
        </p:sp>
      </p:grpSp>
      <p:grpSp>
        <p:nvGrpSpPr>
          <p:cNvPr id="54" name="Group 14">
            <a:extLst>
              <a:ext uri="{FF2B5EF4-FFF2-40B4-BE49-F238E27FC236}">
                <a16:creationId xmlns:a16="http://schemas.microsoft.com/office/drawing/2014/main" id="{A1048D0F-822F-40B2-9235-2F3E9F9CACF9}"/>
              </a:ext>
            </a:extLst>
          </p:cNvPr>
          <p:cNvGrpSpPr/>
          <p:nvPr/>
        </p:nvGrpSpPr>
        <p:grpSpPr>
          <a:xfrm>
            <a:off x="4572000" y="3829172"/>
            <a:ext cx="3048000" cy="2120715"/>
            <a:chOff x="4572000" y="3829172"/>
            <a:chExt cx="3048000" cy="2120715"/>
          </a:xfrm>
        </p:grpSpPr>
        <p:sp>
          <p:nvSpPr>
            <p:cNvPr id="55" name="Rectangle: Rounded Corners 65">
              <a:extLst>
                <a:ext uri="{FF2B5EF4-FFF2-40B4-BE49-F238E27FC236}">
                  <a16:creationId xmlns:a16="http://schemas.microsoft.com/office/drawing/2014/main" id="{D05D7303-FA21-46C3-8BDC-7F2E56FE655E}"/>
                </a:ext>
              </a:extLst>
            </p:cNvPr>
            <p:cNvSpPr/>
            <p:nvPr/>
          </p:nvSpPr>
          <p:spPr>
            <a:xfrm>
              <a:off x="4818742" y="4096049"/>
              <a:ext cx="2554515" cy="1853838"/>
            </a:xfrm>
            <a:prstGeom prst="roundRect">
              <a:avLst>
                <a:gd name="adj" fmla="val 4167"/>
              </a:avLst>
            </a:prstGeom>
            <a:solidFill>
              <a:schemeClr val="accent2"/>
            </a:solidFill>
            <a:ln>
              <a:noFill/>
            </a:ln>
            <a:effectLst>
              <a:outerShdw blurRad="635000" dist="635000" dir="5400000" sx="85000" sy="85000" algn="t" rotWithShape="0">
                <a:prstClr val="black">
                  <a:alpha val="1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等线" panose="020F0502020204030204"/>
                <a:ea typeface="+mn-ea"/>
                <a:cs typeface="+mn-cs"/>
              </a:endParaRPr>
            </a:p>
          </p:txBody>
        </p:sp>
        <p:sp>
          <p:nvSpPr>
            <p:cNvPr id="56" name="Rectangle: Rounded Corners 60">
              <a:extLst>
                <a:ext uri="{FF2B5EF4-FFF2-40B4-BE49-F238E27FC236}">
                  <a16:creationId xmlns:a16="http://schemas.microsoft.com/office/drawing/2014/main" id="{CD81DA88-5135-42F7-900B-F0E0DF9CC0B9}"/>
                </a:ext>
              </a:extLst>
            </p:cNvPr>
            <p:cNvSpPr/>
            <p:nvPr/>
          </p:nvSpPr>
          <p:spPr>
            <a:xfrm>
              <a:off x="4572000" y="3829172"/>
              <a:ext cx="3048000" cy="610008"/>
            </a:xfrm>
            <a:prstGeom prst="roundRect">
              <a:avLst>
                <a:gd name="adj" fmla="val 50000"/>
              </a:avLst>
            </a:prstGeom>
            <a:solidFill>
              <a:schemeClr val="bg1"/>
            </a:solidFill>
            <a:ln>
              <a:noFill/>
            </a:ln>
            <a:effectLst>
              <a:outerShdw blurRad="330200" dist="190500" dir="5400000" algn="t" rotWithShape="0">
                <a:prstClr val="black">
                  <a:alpha val="1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等线" panose="020F0502020204030204"/>
                <a:ea typeface="+mn-ea"/>
                <a:cs typeface="+mn-cs"/>
              </a:endParaRPr>
            </a:p>
          </p:txBody>
        </p:sp>
        <p:sp>
          <p:nvSpPr>
            <p:cNvPr id="57" name="TextBox 71">
              <a:extLst>
                <a:ext uri="{FF2B5EF4-FFF2-40B4-BE49-F238E27FC236}">
                  <a16:creationId xmlns:a16="http://schemas.microsoft.com/office/drawing/2014/main" id="{8B9BE914-B1DA-4DE3-B40E-5373430F49D3}"/>
                </a:ext>
              </a:extLst>
            </p:cNvPr>
            <p:cNvSpPr txBox="1"/>
            <p:nvPr/>
          </p:nvSpPr>
          <p:spPr>
            <a:xfrm>
              <a:off x="5233723" y="4590374"/>
              <a:ext cx="1691302" cy="889154"/>
            </a:xfrm>
            <a:prstGeom prst="rect">
              <a:avLst/>
            </a:prstGeom>
            <a:noFill/>
          </p:spPr>
          <p:txBody>
            <a:bodyPr wrap="square" rtlCol="0">
              <a:sp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等线" panose="020F0502020204030204"/>
                  <a:ea typeface="+mn-ea"/>
                  <a:cs typeface="Arial" panose="020B0604020202020204" pitchFamily="34" charset="0"/>
                </a:rPr>
                <a:t>A wonderful serenity has taken possession of my entire soul.</a:t>
              </a:r>
            </a:p>
          </p:txBody>
        </p:sp>
        <p:sp>
          <p:nvSpPr>
            <p:cNvPr id="58" name="TextBox 74">
              <a:extLst>
                <a:ext uri="{FF2B5EF4-FFF2-40B4-BE49-F238E27FC236}">
                  <a16:creationId xmlns:a16="http://schemas.microsoft.com/office/drawing/2014/main" id="{1322A6C0-A028-4EDA-A376-1636365FA66A}"/>
                </a:ext>
              </a:extLst>
            </p:cNvPr>
            <p:cNvSpPr txBox="1"/>
            <p:nvPr/>
          </p:nvSpPr>
          <p:spPr>
            <a:xfrm>
              <a:off x="4919612" y="3895836"/>
              <a:ext cx="2352777" cy="416011"/>
            </a:xfrm>
            <a:prstGeom prst="rect">
              <a:avLst/>
            </a:prstGeom>
            <a:noFill/>
          </p:spPr>
          <p:txBody>
            <a:bodyPr wrap="square" rtlCol="0">
              <a:sp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4C38"/>
                  </a:solidFill>
                  <a:effectLst/>
                  <a:uLnTx/>
                  <a:uFillTx/>
                  <a:latin typeface="等线" panose="020F0502020204030204"/>
                  <a:ea typeface="+mn-ea"/>
                  <a:cs typeface="Arial" panose="020B0604020202020204" pitchFamily="34" charset="0"/>
                </a:rPr>
                <a:t>A wonderful serenity</a:t>
              </a:r>
            </a:p>
          </p:txBody>
        </p:sp>
        <p:sp>
          <p:nvSpPr>
            <p:cNvPr id="59" name="TextBox 76">
              <a:extLst>
                <a:ext uri="{FF2B5EF4-FFF2-40B4-BE49-F238E27FC236}">
                  <a16:creationId xmlns:a16="http://schemas.microsoft.com/office/drawing/2014/main" id="{52316E6C-E7C8-48F3-B3EB-9D6E195079D0}"/>
                </a:ext>
              </a:extLst>
            </p:cNvPr>
            <p:cNvSpPr txBox="1"/>
            <p:nvPr/>
          </p:nvSpPr>
          <p:spPr>
            <a:xfrm>
              <a:off x="5094512" y="5125585"/>
              <a:ext cx="2002974"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1" i="0" u="none" strike="noStrike" kern="1200" cap="none" spc="0" normalizeH="0" baseline="0" noProof="0" dirty="0">
                  <a:ln>
                    <a:noFill/>
                  </a:ln>
                  <a:solidFill>
                    <a:srgbClr val="FFFFFF">
                      <a:alpha val="20000"/>
                    </a:srgbClr>
                  </a:solidFill>
                  <a:effectLst/>
                  <a:uLnTx/>
                  <a:uFillTx/>
                  <a:latin typeface="等线 Light" panose="020F0302020204030204"/>
                  <a:ea typeface="+mn-ea"/>
                  <a:cs typeface="Arial" panose="020B0604020202020204" pitchFamily="34" charset="0"/>
                </a:rPr>
                <a:t>02</a:t>
              </a:r>
            </a:p>
          </p:txBody>
        </p:sp>
      </p:grpSp>
      <p:grpSp>
        <p:nvGrpSpPr>
          <p:cNvPr id="60" name="Group 36">
            <a:extLst>
              <a:ext uri="{FF2B5EF4-FFF2-40B4-BE49-F238E27FC236}">
                <a16:creationId xmlns:a16="http://schemas.microsoft.com/office/drawing/2014/main" id="{86E32BCA-1881-4233-9D22-0E826BD74225}"/>
              </a:ext>
            </a:extLst>
          </p:cNvPr>
          <p:cNvGrpSpPr/>
          <p:nvPr/>
        </p:nvGrpSpPr>
        <p:grpSpPr>
          <a:xfrm>
            <a:off x="8310750" y="3829172"/>
            <a:ext cx="3048000" cy="2120715"/>
            <a:chOff x="8310750" y="3829172"/>
            <a:chExt cx="3048000" cy="2120715"/>
          </a:xfrm>
        </p:grpSpPr>
        <p:sp>
          <p:nvSpPr>
            <p:cNvPr id="61" name="Rectangle: Rounded Corners 66">
              <a:extLst>
                <a:ext uri="{FF2B5EF4-FFF2-40B4-BE49-F238E27FC236}">
                  <a16:creationId xmlns:a16="http://schemas.microsoft.com/office/drawing/2014/main" id="{E488A8FB-CD48-4860-A81D-D70EA69E0601}"/>
                </a:ext>
              </a:extLst>
            </p:cNvPr>
            <p:cNvSpPr/>
            <p:nvPr/>
          </p:nvSpPr>
          <p:spPr>
            <a:xfrm>
              <a:off x="8557491" y="4096049"/>
              <a:ext cx="2554515" cy="1853838"/>
            </a:xfrm>
            <a:prstGeom prst="roundRect">
              <a:avLst>
                <a:gd name="adj" fmla="val 4167"/>
              </a:avLst>
            </a:prstGeom>
            <a:solidFill>
              <a:schemeClr val="accent4"/>
            </a:solidFill>
            <a:ln>
              <a:noFill/>
            </a:ln>
            <a:effectLst>
              <a:outerShdw blurRad="635000" dist="635000" dir="5400000" sx="85000" sy="85000" algn="t" rotWithShape="0">
                <a:prstClr val="black">
                  <a:alpha val="1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等线" panose="020F0502020204030204"/>
                <a:ea typeface="+mn-ea"/>
                <a:cs typeface="+mn-cs"/>
              </a:endParaRPr>
            </a:p>
          </p:txBody>
        </p:sp>
        <p:sp>
          <p:nvSpPr>
            <p:cNvPr id="62" name="Rectangle: Rounded Corners 61">
              <a:extLst>
                <a:ext uri="{FF2B5EF4-FFF2-40B4-BE49-F238E27FC236}">
                  <a16:creationId xmlns:a16="http://schemas.microsoft.com/office/drawing/2014/main" id="{57446675-5FE6-40AA-8931-85DEB3C2C2ED}"/>
                </a:ext>
              </a:extLst>
            </p:cNvPr>
            <p:cNvSpPr/>
            <p:nvPr/>
          </p:nvSpPr>
          <p:spPr>
            <a:xfrm>
              <a:off x="8310750" y="3829172"/>
              <a:ext cx="3048000" cy="610008"/>
            </a:xfrm>
            <a:prstGeom prst="roundRect">
              <a:avLst>
                <a:gd name="adj" fmla="val 50000"/>
              </a:avLst>
            </a:prstGeom>
            <a:solidFill>
              <a:schemeClr val="bg1"/>
            </a:solidFill>
            <a:ln>
              <a:noFill/>
            </a:ln>
            <a:effectLst>
              <a:outerShdw blurRad="330200" dist="190500" dir="5400000" algn="t" rotWithShape="0">
                <a:prstClr val="black">
                  <a:alpha val="1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等线" panose="020F0502020204030204"/>
                <a:ea typeface="+mn-ea"/>
                <a:cs typeface="+mn-cs"/>
              </a:endParaRPr>
            </a:p>
          </p:txBody>
        </p:sp>
        <p:sp>
          <p:nvSpPr>
            <p:cNvPr id="63" name="TextBox 69">
              <a:extLst>
                <a:ext uri="{FF2B5EF4-FFF2-40B4-BE49-F238E27FC236}">
                  <a16:creationId xmlns:a16="http://schemas.microsoft.com/office/drawing/2014/main" id="{A0CF510B-173E-4F6C-AEF9-D5019C6766B4}"/>
                </a:ext>
              </a:extLst>
            </p:cNvPr>
            <p:cNvSpPr txBox="1"/>
            <p:nvPr/>
          </p:nvSpPr>
          <p:spPr>
            <a:xfrm>
              <a:off x="8989097" y="4590374"/>
              <a:ext cx="1691302" cy="889154"/>
            </a:xfrm>
            <a:prstGeom prst="rect">
              <a:avLst/>
            </a:prstGeom>
            <a:noFill/>
          </p:spPr>
          <p:txBody>
            <a:bodyPr wrap="square" rtlCol="0">
              <a:sp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等线" panose="020F0502020204030204"/>
                  <a:ea typeface="+mn-ea"/>
                  <a:cs typeface="Arial" panose="020B0604020202020204" pitchFamily="34" charset="0"/>
                </a:rPr>
                <a:t>A wonderful serenity has taken possession of my entire soul.</a:t>
              </a:r>
            </a:p>
          </p:txBody>
        </p:sp>
        <p:sp>
          <p:nvSpPr>
            <p:cNvPr id="64" name="TextBox 70">
              <a:extLst>
                <a:ext uri="{FF2B5EF4-FFF2-40B4-BE49-F238E27FC236}">
                  <a16:creationId xmlns:a16="http://schemas.microsoft.com/office/drawing/2014/main" id="{5BF260EF-B602-4B6D-AC34-C6DBAEA1871C}"/>
                </a:ext>
              </a:extLst>
            </p:cNvPr>
            <p:cNvSpPr txBox="1"/>
            <p:nvPr/>
          </p:nvSpPr>
          <p:spPr>
            <a:xfrm>
              <a:off x="8658362" y="3895836"/>
              <a:ext cx="2352777" cy="416011"/>
            </a:xfrm>
            <a:prstGeom prst="rect">
              <a:avLst/>
            </a:prstGeom>
            <a:noFill/>
          </p:spPr>
          <p:txBody>
            <a:bodyPr wrap="square" rtlCol="0">
              <a:sp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8F38FF"/>
                  </a:solidFill>
                  <a:effectLst/>
                  <a:uLnTx/>
                  <a:uFillTx/>
                  <a:latin typeface="等线" panose="020F0502020204030204"/>
                  <a:ea typeface="+mn-ea"/>
                  <a:cs typeface="Arial" panose="020B0604020202020204" pitchFamily="34" charset="0"/>
                </a:rPr>
                <a:t>A wonderful serenity</a:t>
              </a:r>
            </a:p>
          </p:txBody>
        </p:sp>
        <p:sp>
          <p:nvSpPr>
            <p:cNvPr id="65" name="TextBox 77">
              <a:extLst>
                <a:ext uri="{FF2B5EF4-FFF2-40B4-BE49-F238E27FC236}">
                  <a16:creationId xmlns:a16="http://schemas.microsoft.com/office/drawing/2014/main" id="{1119FE13-B7D2-4365-B160-29258F2B7301}"/>
                </a:ext>
              </a:extLst>
            </p:cNvPr>
            <p:cNvSpPr txBox="1"/>
            <p:nvPr/>
          </p:nvSpPr>
          <p:spPr>
            <a:xfrm>
              <a:off x="8833261" y="5125585"/>
              <a:ext cx="2002974"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1" i="0" u="none" strike="noStrike" kern="1200" cap="none" spc="0" normalizeH="0" baseline="0" noProof="0" dirty="0">
                  <a:ln>
                    <a:noFill/>
                  </a:ln>
                  <a:solidFill>
                    <a:srgbClr val="FFFFFF">
                      <a:alpha val="20000"/>
                    </a:srgbClr>
                  </a:solidFill>
                  <a:effectLst/>
                  <a:uLnTx/>
                  <a:uFillTx/>
                  <a:latin typeface="等线 Light" panose="020F0302020204030204"/>
                  <a:ea typeface="+mn-ea"/>
                  <a:cs typeface="Arial" panose="020B0604020202020204" pitchFamily="34" charset="0"/>
                </a:rPr>
                <a:t>03</a:t>
              </a:r>
            </a:p>
          </p:txBody>
        </p:sp>
      </p:grpSp>
    </p:spTree>
    <p:extLst>
      <p:ext uri="{BB962C8B-B14F-4D97-AF65-F5344CB8AC3E}">
        <p14:creationId xmlns:p14="http://schemas.microsoft.com/office/powerpoint/2010/main" val="1009607048"/>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8" presetClass="entr" presetSubtype="3" fill="hold" grpId="0" nodeType="withEffect">
                                      <p:stCondLst>
                                        <p:cond delay="250"/>
                                      </p:stCondLst>
                                      <p:childTnLst>
                                        <p:set>
                                          <p:cBhvr>
                                            <p:cTn id="6" dur="1" fill="hold">
                                              <p:stCondLst>
                                                <p:cond delay="0"/>
                                              </p:stCondLst>
                                            </p:cTn>
                                            <p:tgtEl>
                                              <p:spTgt spid="47"/>
                                            </p:tgtEl>
                                            <p:attrNameLst>
                                              <p:attrName>style.visibility</p:attrName>
                                            </p:attrNameLst>
                                          </p:cBhvr>
                                          <p:to>
                                            <p:strVal val="visible"/>
                                          </p:to>
                                        </p:set>
                                        <p:animEffect transition="in" filter="strips(upRight)">
                                          <p:cBhvr>
                                            <p:cTn id="7" dur="500"/>
                                            <p:tgtEl>
                                              <p:spTgt spid="47"/>
                                            </p:tgtEl>
                                          </p:cBhvr>
                                        </p:animEffect>
                                      </p:childTnLst>
                                    </p:cTn>
                                  </p:par>
                                  <p:par>
                                    <p:cTn id="8" presetID="6" presetClass="emph" presetSubtype="0" accel="52000" decel="48000" autoRev="1" fill="hold" grpId="1" nodeType="withEffect">
                                      <p:stCondLst>
                                        <p:cond delay="250"/>
                                      </p:stCondLst>
                                      <p:childTnLst>
                                        <p:animScale>
                                          <p:cBhvr>
                                            <p:cTn id="9" dur="350" fill="hold"/>
                                            <p:tgtEl>
                                              <p:spTgt spid="47"/>
                                            </p:tgtEl>
                                          </p:cBhvr>
                                          <p:by x="110000" y="110000"/>
                                        </p:animScale>
                                      </p:childTnLst>
                                    </p:cTn>
                                  </p:par>
                                  <p:par>
                                    <p:cTn id="10" presetID="18" presetClass="entr" presetSubtype="3" fill="hold" nodeType="withEffect">
                                      <p:stCondLst>
                                        <p:cond delay="500"/>
                                      </p:stCondLst>
                                      <p:childTnLst>
                                        <p:set>
                                          <p:cBhvr>
                                            <p:cTn id="11" dur="1" fill="hold">
                                              <p:stCondLst>
                                                <p:cond delay="0"/>
                                              </p:stCondLst>
                                            </p:cTn>
                                            <p:tgtEl>
                                              <p:spTgt spid="2"/>
                                            </p:tgtEl>
                                            <p:attrNameLst>
                                              <p:attrName>style.visibility</p:attrName>
                                            </p:attrNameLst>
                                          </p:cBhvr>
                                          <p:to>
                                            <p:strVal val="visible"/>
                                          </p:to>
                                        </p:set>
                                        <p:animEffect transition="in" filter="strips(upRight)">
                                          <p:cBhvr>
                                            <p:cTn id="12" dur="500"/>
                                            <p:tgtEl>
                                              <p:spTgt spid="2"/>
                                            </p:tgtEl>
                                          </p:cBhvr>
                                        </p:animEffect>
                                      </p:childTnLst>
                                    </p:cTn>
                                  </p:par>
                                  <p:par>
                                    <p:cTn id="13" presetID="6" presetClass="emph" presetSubtype="0" accel="52000" decel="48000" autoRev="1" fill="hold" nodeType="withEffect">
                                      <p:stCondLst>
                                        <p:cond delay="500"/>
                                      </p:stCondLst>
                                      <p:childTnLst>
                                        <p:animScale>
                                          <p:cBhvr>
                                            <p:cTn id="14" dur="350" fill="hold"/>
                                            <p:tgtEl>
                                              <p:spTgt spid="2"/>
                                            </p:tgtEl>
                                          </p:cBhvr>
                                          <p:by x="110000" y="110000"/>
                                        </p:animScale>
                                      </p:childTnLst>
                                    </p:cTn>
                                  </p:par>
                                  <p:par>
                                    <p:cTn id="15" presetID="18" presetClass="entr" presetSubtype="3" fill="hold" nodeType="withEffect">
                                      <p:stCondLst>
                                        <p:cond delay="750"/>
                                      </p:stCondLst>
                                      <p:childTnLst>
                                        <p:set>
                                          <p:cBhvr>
                                            <p:cTn id="16" dur="1" fill="hold">
                                              <p:stCondLst>
                                                <p:cond delay="0"/>
                                              </p:stCondLst>
                                            </p:cTn>
                                            <p:tgtEl>
                                              <p:spTgt spid="13"/>
                                            </p:tgtEl>
                                            <p:attrNameLst>
                                              <p:attrName>style.visibility</p:attrName>
                                            </p:attrNameLst>
                                          </p:cBhvr>
                                          <p:to>
                                            <p:strVal val="visible"/>
                                          </p:to>
                                        </p:set>
                                        <p:animEffect transition="in" filter="strips(upRight)">
                                          <p:cBhvr>
                                            <p:cTn id="17" dur="500"/>
                                            <p:tgtEl>
                                              <p:spTgt spid="13"/>
                                            </p:tgtEl>
                                          </p:cBhvr>
                                        </p:animEffect>
                                      </p:childTnLst>
                                    </p:cTn>
                                  </p:par>
                                  <p:par>
                                    <p:cTn id="18" presetID="6" presetClass="emph" presetSubtype="0" accel="52000" decel="48000" autoRev="1" fill="hold" nodeType="withEffect">
                                      <p:stCondLst>
                                        <p:cond delay="750"/>
                                      </p:stCondLst>
                                      <p:childTnLst>
                                        <p:animScale>
                                          <p:cBhvr>
                                            <p:cTn id="19" dur="350" fill="hold"/>
                                            <p:tgtEl>
                                              <p:spTgt spid="13"/>
                                            </p:tgtEl>
                                          </p:cBhvr>
                                          <p:by x="110000" y="110000"/>
                                        </p:animScale>
                                      </p:childTnLst>
                                    </p:cTn>
                                  </p:par>
                                  <p:par>
                                    <p:cTn id="20" presetID="18" presetClass="entr" presetSubtype="3" fill="hold" nodeType="withEffect">
                                      <p:stCondLst>
                                        <p:cond delay="1000"/>
                                      </p:stCondLst>
                                      <p:childTnLst>
                                        <p:set>
                                          <p:cBhvr>
                                            <p:cTn id="21" dur="1" fill="hold">
                                              <p:stCondLst>
                                                <p:cond delay="0"/>
                                              </p:stCondLst>
                                            </p:cTn>
                                            <p:tgtEl>
                                              <p:spTgt spid="34"/>
                                            </p:tgtEl>
                                            <p:attrNameLst>
                                              <p:attrName>style.visibility</p:attrName>
                                            </p:attrNameLst>
                                          </p:cBhvr>
                                          <p:to>
                                            <p:strVal val="visible"/>
                                          </p:to>
                                        </p:set>
                                        <p:animEffect transition="in" filter="strips(upRight)">
                                          <p:cBhvr>
                                            <p:cTn id="22" dur="500"/>
                                            <p:tgtEl>
                                              <p:spTgt spid="34"/>
                                            </p:tgtEl>
                                          </p:cBhvr>
                                        </p:animEffect>
                                      </p:childTnLst>
                                    </p:cTn>
                                  </p:par>
                                  <p:par>
                                    <p:cTn id="23" presetID="6" presetClass="emph" presetSubtype="0" accel="52000" decel="48000" autoRev="1" fill="hold" nodeType="withEffect">
                                      <p:stCondLst>
                                        <p:cond delay="1000"/>
                                      </p:stCondLst>
                                      <p:childTnLst>
                                        <p:animScale>
                                          <p:cBhvr>
                                            <p:cTn id="24" dur="350" fill="hold"/>
                                            <p:tgtEl>
                                              <p:spTgt spid="34"/>
                                            </p:tgtEl>
                                          </p:cBhvr>
                                          <p:by x="110000" y="110000"/>
                                        </p:animScale>
                                      </p:childTnLst>
                                    </p:cTn>
                                  </p:par>
                                  <p:par>
                                    <p:cTn id="25" presetID="2" presetClass="entr" presetSubtype="4" fill="hold" nodeType="withEffect" p14:presetBounceEnd="64000">
                                      <p:stCondLst>
                                        <p:cond delay="750"/>
                                      </p:stCondLst>
                                      <p:childTnLst>
                                        <p:set>
                                          <p:cBhvr>
                                            <p:cTn id="26" dur="1" fill="hold">
                                              <p:stCondLst>
                                                <p:cond delay="0"/>
                                              </p:stCondLst>
                                            </p:cTn>
                                            <p:tgtEl>
                                              <p:spTgt spid="48"/>
                                            </p:tgtEl>
                                            <p:attrNameLst>
                                              <p:attrName>style.visibility</p:attrName>
                                            </p:attrNameLst>
                                          </p:cBhvr>
                                          <p:to>
                                            <p:strVal val="visible"/>
                                          </p:to>
                                        </p:set>
                                        <p:anim calcmode="lin" valueType="num" p14:bounceEnd="64000">
                                          <p:cBhvr additive="base">
                                            <p:cTn id="27" dur="1000" fill="hold"/>
                                            <p:tgtEl>
                                              <p:spTgt spid="48"/>
                                            </p:tgtEl>
                                            <p:attrNameLst>
                                              <p:attrName>ppt_x</p:attrName>
                                            </p:attrNameLst>
                                          </p:cBhvr>
                                          <p:tavLst>
                                            <p:tav tm="0">
                                              <p:val>
                                                <p:strVal val="#ppt_x"/>
                                              </p:val>
                                            </p:tav>
                                            <p:tav tm="100000">
                                              <p:val>
                                                <p:strVal val="#ppt_x"/>
                                              </p:val>
                                            </p:tav>
                                          </p:tavLst>
                                        </p:anim>
                                        <p:anim calcmode="lin" valueType="num" p14:bounceEnd="64000">
                                          <p:cBhvr additive="base">
                                            <p:cTn id="28" dur="1000" fill="hold"/>
                                            <p:tgtEl>
                                              <p:spTgt spid="48"/>
                                            </p:tgtEl>
                                            <p:attrNameLst>
                                              <p:attrName>ppt_y</p:attrName>
                                            </p:attrNameLst>
                                          </p:cBhvr>
                                          <p:tavLst>
                                            <p:tav tm="0">
                                              <p:val>
                                                <p:strVal val="1+#ppt_h/2"/>
                                              </p:val>
                                            </p:tav>
                                            <p:tav tm="100000">
                                              <p:val>
                                                <p:strVal val="#ppt_y"/>
                                              </p:val>
                                            </p:tav>
                                          </p:tavLst>
                                        </p:anim>
                                      </p:childTnLst>
                                    </p:cTn>
                                  </p:par>
                                  <p:par>
                                    <p:cTn id="29" presetID="2" presetClass="entr" presetSubtype="4" fill="hold" nodeType="withEffect" p14:presetBounceEnd="64000">
                                      <p:stCondLst>
                                        <p:cond delay="1000"/>
                                      </p:stCondLst>
                                      <p:childTnLst>
                                        <p:set>
                                          <p:cBhvr>
                                            <p:cTn id="30" dur="1" fill="hold">
                                              <p:stCondLst>
                                                <p:cond delay="0"/>
                                              </p:stCondLst>
                                            </p:cTn>
                                            <p:tgtEl>
                                              <p:spTgt spid="54"/>
                                            </p:tgtEl>
                                            <p:attrNameLst>
                                              <p:attrName>style.visibility</p:attrName>
                                            </p:attrNameLst>
                                          </p:cBhvr>
                                          <p:to>
                                            <p:strVal val="visible"/>
                                          </p:to>
                                        </p:set>
                                        <p:anim calcmode="lin" valueType="num" p14:bounceEnd="64000">
                                          <p:cBhvr additive="base">
                                            <p:cTn id="31" dur="1000" fill="hold"/>
                                            <p:tgtEl>
                                              <p:spTgt spid="54"/>
                                            </p:tgtEl>
                                            <p:attrNameLst>
                                              <p:attrName>ppt_x</p:attrName>
                                            </p:attrNameLst>
                                          </p:cBhvr>
                                          <p:tavLst>
                                            <p:tav tm="0">
                                              <p:val>
                                                <p:strVal val="#ppt_x"/>
                                              </p:val>
                                            </p:tav>
                                            <p:tav tm="100000">
                                              <p:val>
                                                <p:strVal val="#ppt_x"/>
                                              </p:val>
                                            </p:tav>
                                          </p:tavLst>
                                        </p:anim>
                                        <p:anim calcmode="lin" valueType="num" p14:bounceEnd="64000">
                                          <p:cBhvr additive="base">
                                            <p:cTn id="32" dur="1000" fill="hold"/>
                                            <p:tgtEl>
                                              <p:spTgt spid="54"/>
                                            </p:tgtEl>
                                            <p:attrNameLst>
                                              <p:attrName>ppt_y</p:attrName>
                                            </p:attrNameLst>
                                          </p:cBhvr>
                                          <p:tavLst>
                                            <p:tav tm="0">
                                              <p:val>
                                                <p:strVal val="1+#ppt_h/2"/>
                                              </p:val>
                                            </p:tav>
                                            <p:tav tm="100000">
                                              <p:val>
                                                <p:strVal val="#ppt_y"/>
                                              </p:val>
                                            </p:tav>
                                          </p:tavLst>
                                        </p:anim>
                                      </p:childTnLst>
                                    </p:cTn>
                                  </p:par>
                                  <p:par>
                                    <p:cTn id="33" presetID="2" presetClass="entr" presetSubtype="4" fill="hold" nodeType="withEffect" p14:presetBounceEnd="64000">
                                      <p:stCondLst>
                                        <p:cond delay="1250"/>
                                      </p:stCondLst>
                                      <p:childTnLst>
                                        <p:set>
                                          <p:cBhvr>
                                            <p:cTn id="34" dur="1" fill="hold">
                                              <p:stCondLst>
                                                <p:cond delay="0"/>
                                              </p:stCondLst>
                                            </p:cTn>
                                            <p:tgtEl>
                                              <p:spTgt spid="60"/>
                                            </p:tgtEl>
                                            <p:attrNameLst>
                                              <p:attrName>style.visibility</p:attrName>
                                            </p:attrNameLst>
                                          </p:cBhvr>
                                          <p:to>
                                            <p:strVal val="visible"/>
                                          </p:to>
                                        </p:set>
                                        <p:anim calcmode="lin" valueType="num" p14:bounceEnd="64000">
                                          <p:cBhvr additive="base">
                                            <p:cTn id="35" dur="1000" fill="hold"/>
                                            <p:tgtEl>
                                              <p:spTgt spid="60"/>
                                            </p:tgtEl>
                                            <p:attrNameLst>
                                              <p:attrName>ppt_x</p:attrName>
                                            </p:attrNameLst>
                                          </p:cBhvr>
                                          <p:tavLst>
                                            <p:tav tm="0">
                                              <p:val>
                                                <p:strVal val="#ppt_x"/>
                                              </p:val>
                                            </p:tav>
                                            <p:tav tm="100000">
                                              <p:val>
                                                <p:strVal val="#ppt_x"/>
                                              </p:val>
                                            </p:tav>
                                          </p:tavLst>
                                        </p:anim>
                                        <p:anim calcmode="lin" valueType="num" p14:bounceEnd="64000">
                                          <p:cBhvr additive="base">
                                            <p:cTn id="36" dur="1000" fill="hold"/>
                                            <p:tgtEl>
                                              <p:spTgt spid="6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7" grpId="0"/>
          <p:bldP spid="47" grpId="1"/>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8" presetClass="entr" presetSubtype="3" fill="hold" grpId="0" nodeType="withEffect">
                                      <p:stCondLst>
                                        <p:cond delay="250"/>
                                      </p:stCondLst>
                                      <p:childTnLst>
                                        <p:set>
                                          <p:cBhvr>
                                            <p:cTn id="6" dur="1" fill="hold">
                                              <p:stCondLst>
                                                <p:cond delay="0"/>
                                              </p:stCondLst>
                                            </p:cTn>
                                            <p:tgtEl>
                                              <p:spTgt spid="47"/>
                                            </p:tgtEl>
                                            <p:attrNameLst>
                                              <p:attrName>style.visibility</p:attrName>
                                            </p:attrNameLst>
                                          </p:cBhvr>
                                          <p:to>
                                            <p:strVal val="visible"/>
                                          </p:to>
                                        </p:set>
                                        <p:animEffect transition="in" filter="strips(upRight)">
                                          <p:cBhvr>
                                            <p:cTn id="7" dur="500"/>
                                            <p:tgtEl>
                                              <p:spTgt spid="47"/>
                                            </p:tgtEl>
                                          </p:cBhvr>
                                        </p:animEffect>
                                      </p:childTnLst>
                                    </p:cTn>
                                  </p:par>
                                  <p:par>
                                    <p:cTn id="8" presetID="6" presetClass="emph" presetSubtype="0" accel="52000" decel="48000" autoRev="1" fill="hold" grpId="1" nodeType="withEffect">
                                      <p:stCondLst>
                                        <p:cond delay="250"/>
                                      </p:stCondLst>
                                      <p:childTnLst>
                                        <p:animScale>
                                          <p:cBhvr>
                                            <p:cTn id="9" dur="350" fill="hold"/>
                                            <p:tgtEl>
                                              <p:spTgt spid="47"/>
                                            </p:tgtEl>
                                          </p:cBhvr>
                                          <p:by x="110000" y="110000"/>
                                        </p:animScale>
                                      </p:childTnLst>
                                    </p:cTn>
                                  </p:par>
                                  <p:par>
                                    <p:cTn id="10" presetID="18" presetClass="entr" presetSubtype="3" fill="hold" nodeType="withEffect">
                                      <p:stCondLst>
                                        <p:cond delay="500"/>
                                      </p:stCondLst>
                                      <p:childTnLst>
                                        <p:set>
                                          <p:cBhvr>
                                            <p:cTn id="11" dur="1" fill="hold">
                                              <p:stCondLst>
                                                <p:cond delay="0"/>
                                              </p:stCondLst>
                                            </p:cTn>
                                            <p:tgtEl>
                                              <p:spTgt spid="2"/>
                                            </p:tgtEl>
                                            <p:attrNameLst>
                                              <p:attrName>style.visibility</p:attrName>
                                            </p:attrNameLst>
                                          </p:cBhvr>
                                          <p:to>
                                            <p:strVal val="visible"/>
                                          </p:to>
                                        </p:set>
                                        <p:animEffect transition="in" filter="strips(upRight)">
                                          <p:cBhvr>
                                            <p:cTn id="12" dur="500"/>
                                            <p:tgtEl>
                                              <p:spTgt spid="2"/>
                                            </p:tgtEl>
                                          </p:cBhvr>
                                        </p:animEffect>
                                      </p:childTnLst>
                                    </p:cTn>
                                  </p:par>
                                  <p:par>
                                    <p:cTn id="13" presetID="6" presetClass="emph" presetSubtype="0" accel="52000" decel="48000" autoRev="1" fill="hold" nodeType="withEffect">
                                      <p:stCondLst>
                                        <p:cond delay="500"/>
                                      </p:stCondLst>
                                      <p:childTnLst>
                                        <p:animScale>
                                          <p:cBhvr>
                                            <p:cTn id="14" dur="350" fill="hold"/>
                                            <p:tgtEl>
                                              <p:spTgt spid="2"/>
                                            </p:tgtEl>
                                          </p:cBhvr>
                                          <p:by x="110000" y="110000"/>
                                        </p:animScale>
                                      </p:childTnLst>
                                    </p:cTn>
                                  </p:par>
                                  <p:par>
                                    <p:cTn id="15" presetID="18" presetClass="entr" presetSubtype="3" fill="hold" nodeType="withEffect">
                                      <p:stCondLst>
                                        <p:cond delay="750"/>
                                      </p:stCondLst>
                                      <p:childTnLst>
                                        <p:set>
                                          <p:cBhvr>
                                            <p:cTn id="16" dur="1" fill="hold">
                                              <p:stCondLst>
                                                <p:cond delay="0"/>
                                              </p:stCondLst>
                                            </p:cTn>
                                            <p:tgtEl>
                                              <p:spTgt spid="13"/>
                                            </p:tgtEl>
                                            <p:attrNameLst>
                                              <p:attrName>style.visibility</p:attrName>
                                            </p:attrNameLst>
                                          </p:cBhvr>
                                          <p:to>
                                            <p:strVal val="visible"/>
                                          </p:to>
                                        </p:set>
                                        <p:animEffect transition="in" filter="strips(upRight)">
                                          <p:cBhvr>
                                            <p:cTn id="17" dur="500"/>
                                            <p:tgtEl>
                                              <p:spTgt spid="13"/>
                                            </p:tgtEl>
                                          </p:cBhvr>
                                        </p:animEffect>
                                      </p:childTnLst>
                                    </p:cTn>
                                  </p:par>
                                  <p:par>
                                    <p:cTn id="18" presetID="6" presetClass="emph" presetSubtype="0" accel="52000" decel="48000" autoRev="1" fill="hold" nodeType="withEffect">
                                      <p:stCondLst>
                                        <p:cond delay="750"/>
                                      </p:stCondLst>
                                      <p:childTnLst>
                                        <p:animScale>
                                          <p:cBhvr>
                                            <p:cTn id="19" dur="350" fill="hold"/>
                                            <p:tgtEl>
                                              <p:spTgt spid="13"/>
                                            </p:tgtEl>
                                          </p:cBhvr>
                                          <p:by x="110000" y="110000"/>
                                        </p:animScale>
                                      </p:childTnLst>
                                    </p:cTn>
                                  </p:par>
                                  <p:par>
                                    <p:cTn id="20" presetID="18" presetClass="entr" presetSubtype="3" fill="hold" nodeType="withEffect">
                                      <p:stCondLst>
                                        <p:cond delay="1000"/>
                                      </p:stCondLst>
                                      <p:childTnLst>
                                        <p:set>
                                          <p:cBhvr>
                                            <p:cTn id="21" dur="1" fill="hold">
                                              <p:stCondLst>
                                                <p:cond delay="0"/>
                                              </p:stCondLst>
                                            </p:cTn>
                                            <p:tgtEl>
                                              <p:spTgt spid="34"/>
                                            </p:tgtEl>
                                            <p:attrNameLst>
                                              <p:attrName>style.visibility</p:attrName>
                                            </p:attrNameLst>
                                          </p:cBhvr>
                                          <p:to>
                                            <p:strVal val="visible"/>
                                          </p:to>
                                        </p:set>
                                        <p:animEffect transition="in" filter="strips(upRight)">
                                          <p:cBhvr>
                                            <p:cTn id="22" dur="500"/>
                                            <p:tgtEl>
                                              <p:spTgt spid="34"/>
                                            </p:tgtEl>
                                          </p:cBhvr>
                                        </p:animEffect>
                                      </p:childTnLst>
                                    </p:cTn>
                                  </p:par>
                                  <p:par>
                                    <p:cTn id="23" presetID="6" presetClass="emph" presetSubtype="0" accel="52000" decel="48000" autoRev="1" fill="hold" nodeType="withEffect">
                                      <p:stCondLst>
                                        <p:cond delay="1000"/>
                                      </p:stCondLst>
                                      <p:childTnLst>
                                        <p:animScale>
                                          <p:cBhvr>
                                            <p:cTn id="24" dur="350" fill="hold"/>
                                            <p:tgtEl>
                                              <p:spTgt spid="34"/>
                                            </p:tgtEl>
                                          </p:cBhvr>
                                          <p:by x="110000" y="110000"/>
                                        </p:animScale>
                                      </p:childTnLst>
                                    </p:cTn>
                                  </p:par>
                                  <p:par>
                                    <p:cTn id="25" presetID="2" presetClass="entr" presetSubtype="4" fill="hold" nodeType="withEffect">
                                      <p:stCondLst>
                                        <p:cond delay="750"/>
                                      </p:stCondLst>
                                      <p:childTnLst>
                                        <p:set>
                                          <p:cBhvr>
                                            <p:cTn id="26" dur="1" fill="hold">
                                              <p:stCondLst>
                                                <p:cond delay="0"/>
                                              </p:stCondLst>
                                            </p:cTn>
                                            <p:tgtEl>
                                              <p:spTgt spid="48"/>
                                            </p:tgtEl>
                                            <p:attrNameLst>
                                              <p:attrName>style.visibility</p:attrName>
                                            </p:attrNameLst>
                                          </p:cBhvr>
                                          <p:to>
                                            <p:strVal val="visible"/>
                                          </p:to>
                                        </p:set>
                                        <p:anim calcmode="lin" valueType="num">
                                          <p:cBhvr additive="base">
                                            <p:cTn id="27" dur="1000" fill="hold"/>
                                            <p:tgtEl>
                                              <p:spTgt spid="48"/>
                                            </p:tgtEl>
                                            <p:attrNameLst>
                                              <p:attrName>ppt_x</p:attrName>
                                            </p:attrNameLst>
                                          </p:cBhvr>
                                          <p:tavLst>
                                            <p:tav tm="0">
                                              <p:val>
                                                <p:strVal val="#ppt_x"/>
                                              </p:val>
                                            </p:tav>
                                            <p:tav tm="100000">
                                              <p:val>
                                                <p:strVal val="#ppt_x"/>
                                              </p:val>
                                            </p:tav>
                                          </p:tavLst>
                                        </p:anim>
                                        <p:anim calcmode="lin" valueType="num">
                                          <p:cBhvr additive="base">
                                            <p:cTn id="28" dur="1000" fill="hold"/>
                                            <p:tgtEl>
                                              <p:spTgt spid="48"/>
                                            </p:tgtEl>
                                            <p:attrNameLst>
                                              <p:attrName>ppt_y</p:attrName>
                                            </p:attrNameLst>
                                          </p:cBhvr>
                                          <p:tavLst>
                                            <p:tav tm="0">
                                              <p:val>
                                                <p:strVal val="1+#ppt_h/2"/>
                                              </p:val>
                                            </p:tav>
                                            <p:tav tm="100000">
                                              <p:val>
                                                <p:strVal val="#ppt_y"/>
                                              </p:val>
                                            </p:tav>
                                          </p:tavLst>
                                        </p:anim>
                                      </p:childTnLst>
                                    </p:cTn>
                                  </p:par>
                                  <p:par>
                                    <p:cTn id="29" presetID="2" presetClass="entr" presetSubtype="4" fill="hold" nodeType="withEffect">
                                      <p:stCondLst>
                                        <p:cond delay="1000"/>
                                      </p:stCondLst>
                                      <p:childTnLst>
                                        <p:set>
                                          <p:cBhvr>
                                            <p:cTn id="30" dur="1" fill="hold">
                                              <p:stCondLst>
                                                <p:cond delay="0"/>
                                              </p:stCondLst>
                                            </p:cTn>
                                            <p:tgtEl>
                                              <p:spTgt spid="54"/>
                                            </p:tgtEl>
                                            <p:attrNameLst>
                                              <p:attrName>style.visibility</p:attrName>
                                            </p:attrNameLst>
                                          </p:cBhvr>
                                          <p:to>
                                            <p:strVal val="visible"/>
                                          </p:to>
                                        </p:set>
                                        <p:anim calcmode="lin" valueType="num">
                                          <p:cBhvr additive="base">
                                            <p:cTn id="31" dur="1000" fill="hold"/>
                                            <p:tgtEl>
                                              <p:spTgt spid="54"/>
                                            </p:tgtEl>
                                            <p:attrNameLst>
                                              <p:attrName>ppt_x</p:attrName>
                                            </p:attrNameLst>
                                          </p:cBhvr>
                                          <p:tavLst>
                                            <p:tav tm="0">
                                              <p:val>
                                                <p:strVal val="#ppt_x"/>
                                              </p:val>
                                            </p:tav>
                                            <p:tav tm="100000">
                                              <p:val>
                                                <p:strVal val="#ppt_x"/>
                                              </p:val>
                                            </p:tav>
                                          </p:tavLst>
                                        </p:anim>
                                        <p:anim calcmode="lin" valueType="num">
                                          <p:cBhvr additive="base">
                                            <p:cTn id="32" dur="1000" fill="hold"/>
                                            <p:tgtEl>
                                              <p:spTgt spid="54"/>
                                            </p:tgtEl>
                                            <p:attrNameLst>
                                              <p:attrName>ppt_y</p:attrName>
                                            </p:attrNameLst>
                                          </p:cBhvr>
                                          <p:tavLst>
                                            <p:tav tm="0">
                                              <p:val>
                                                <p:strVal val="1+#ppt_h/2"/>
                                              </p:val>
                                            </p:tav>
                                            <p:tav tm="100000">
                                              <p:val>
                                                <p:strVal val="#ppt_y"/>
                                              </p:val>
                                            </p:tav>
                                          </p:tavLst>
                                        </p:anim>
                                      </p:childTnLst>
                                    </p:cTn>
                                  </p:par>
                                  <p:par>
                                    <p:cTn id="33" presetID="2" presetClass="entr" presetSubtype="4" fill="hold" nodeType="withEffect">
                                      <p:stCondLst>
                                        <p:cond delay="1250"/>
                                      </p:stCondLst>
                                      <p:childTnLst>
                                        <p:set>
                                          <p:cBhvr>
                                            <p:cTn id="34" dur="1" fill="hold">
                                              <p:stCondLst>
                                                <p:cond delay="0"/>
                                              </p:stCondLst>
                                            </p:cTn>
                                            <p:tgtEl>
                                              <p:spTgt spid="60"/>
                                            </p:tgtEl>
                                            <p:attrNameLst>
                                              <p:attrName>style.visibility</p:attrName>
                                            </p:attrNameLst>
                                          </p:cBhvr>
                                          <p:to>
                                            <p:strVal val="visible"/>
                                          </p:to>
                                        </p:set>
                                        <p:anim calcmode="lin" valueType="num">
                                          <p:cBhvr additive="base">
                                            <p:cTn id="35" dur="1000" fill="hold"/>
                                            <p:tgtEl>
                                              <p:spTgt spid="60"/>
                                            </p:tgtEl>
                                            <p:attrNameLst>
                                              <p:attrName>ppt_x</p:attrName>
                                            </p:attrNameLst>
                                          </p:cBhvr>
                                          <p:tavLst>
                                            <p:tav tm="0">
                                              <p:val>
                                                <p:strVal val="#ppt_x"/>
                                              </p:val>
                                            </p:tav>
                                            <p:tav tm="100000">
                                              <p:val>
                                                <p:strVal val="#ppt_x"/>
                                              </p:val>
                                            </p:tav>
                                          </p:tavLst>
                                        </p:anim>
                                        <p:anim calcmode="lin" valueType="num">
                                          <p:cBhvr additive="base">
                                            <p:cTn id="36" dur="1000" fill="hold"/>
                                            <p:tgtEl>
                                              <p:spTgt spid="6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7" grpId="0"/>
          <p:bldP spid="47" grpId="1"/>
        </p:bldLst>
      </p:timing>
    </mc:Fallback>
  </mc:AlternateContent>
</p:sld>
</file>

<file path=ppt/slides/slide6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52">
            <a:extLst>
              <a:ext uri="{FF2B5EF4-FFF2-40B4-BE49-F238E27FC236}">
                <a16:creationId xmlns:a16="http://schemas.microsoft.com/office/drawing/2014/main" id="{F25E20CC-3DA9-418D-833C-5CE5BE4801DA}"/>
              </a:ext>
            </a:extLst>
          </p:cNvPr>
          <p:cNvGrpSpPr/>
          <p:nvPr/>
        </p:nvGrpSpPr>
        <p:grpSpPr>
          <a:xfrm>
            <a:off x="2345048" y="3928392"/>
            <a:ext cx="461692" cy="968603"/>
            <a:chOff x="10306050" y="1760148"/>
            <a:chExt cx="381000" cy="395463"/>
          </a:xfrm>
        </p:grpSpPr>
        <p:cxnSp>
          <p:nvCxnSpPr>
            <p:cNvPr id="3" name="Straight Connector 47">
              <a:extLst>
                <a:ext uri="{FF2B5EF4-FFF2-40B4-BE49-F238E27FC236}">
                  <a16:creationId xmlns:a16="http://schemas.microsoft.com/office/drawing/2014/main" id="{BBA812D2-9C17-4B27-9A8B-20B6C3ED3C14}"/>
                </a:ext>
              </a:extLst>
            </p:cNvPr>
            <p:cNvCxnSpPr/>
            <p:nvPr/>
          </p:nvCxnSpPr>
          <p:spPr>
            <a:xfrm>
              <a:off x="10306050" y="1763042"/>
              <a:ext cx="381000" cy="0"/>
            </a:xfrm>
            <a:prstGeom prst="line">
              <a:avLst/>
            </a:prstGeom>
            <a:ln w="12700">
              <a:prstDash val="dash"/>
            </a:ln>
          </p:spPr>
          <p:style>
            <a:lnRef idx="1">
              <a:schemeClr val="accent1"/>
            </a:lnRef>
            <a:fillRef idx="0">
              <a:schemeClr val="accent1"/>
            </a:fillRef>
            <a:effectRef idx="0">
              <a:schemeClr val="accent1"/>
            </a:effectRef>
            <a:fontRef idx="minor">
              <a:schemeClr val="tx1"/>
            </a:fontRef>
          </p:style>
        </p:cxnSp>
        <p:cxnSp>
          <p:nvCxnSpPr>
            <p:cNvPr id="4" name="Straight Connector 49">
              <a:extLst>
                <a:ext uri="{FF2B5EF4-FFF2-40B4-BE49-F238E27FC236}">
                  <a16:creationId xmlns:a16="http://schemas.microsoft.com/office/drawing/2014/main" id="{4894568D-3E18-423E-854C-7C900127E7C8}"/>
                </a:ext>
              </a:extLst>
            </p:cNvPr>
            <p:cNvCxnSpPr>
              <a:cxnSpLocks/>
            </p:cNvCxnSpPr>
            <p:nvPr/>
          </p:nvCxnSpPr>
          <p:spPr>
            <a:xfrm flipV="1">
              <a:off x="10687050" y="1760148"/>
              <a:ext cx="0" cy="395463"/>
            </a:xfrm>
            <a:prstGeom prst="line">
              <a:avLst/>
            </a:prstGeom>
            <a:ln w="12700">
              <a:prstDash val="dash"/>
            </a:ln>
          </p:spPr>
          <p:style>
            <a:lnRef idx="1">
              <a:schemeClr val="accent1"/>
            </a:lnRef>
            <a:fillRef idx="0">
              <a:schemeClr val="accent1"/>
            </a:fillRef>
            <a:effectRef idx="0">
              <a:schemeClr val="accent1"/>
            </a:effectRef>
            <a:fontRef idx="minor">
              <a:schemeClr val="tx1"/>
            </a:fontRef>
          </p:style>
        </p:cxnSp>
      </p:grpSp>
      <p:grpSp>
        <p:nvGrpSpPr>
          <p:cNvPr id="5" name="Group 56">
            <a:extLst>
              <a:ext uri="{FF2B5EF4-FFF2-40B4-BE49-F238E27FC236}">
                <a16:creationId xmlns:a16="http://schemas.microsoft.com/office/drawing/2014/main" id="{DD53A133-82BF-4A72-B49E-8FF19A75CCB3}"/>
              </a:ext>
            </a:extLst>
          </p:cNvPr>
          <p:cNvGrpSpPr/>
          <p:nvPr/>
        </p:nvGrpSpPr>
        <p:grpSpPr>
          <a:xfrm>
            <a:off x="5061194" y="3928392"/>
            <a:ext cx="461692" cy="968603"/>
            <a:chOff x="10306050" y="1760148"/>
            <a:chExt cx="381000" cy="395463"/>
          </a:xfrm>
        </p:grpSpPr>
        <p:cxnSp>
          <p:nvCxnSpPr>
            <p:cNvPr id="6" name="Straight Connector 57">
              <a:extLst>
                <a:ext uri="{FF2B5EF4-FFF2-40B4-BE49-F238E27FC236}">
                  <a16:creationId xmlns:a16="http://schemas.microsoft.com/office/drawing/2014/main" id="{CA665725-BB9C-44E5-A31F-7CAA8DE537AF}"/>
                </a:ext>
              </a:extLst>
            </p:cNvPr>
            <p:cNvCxnSpPr/>
            <p:nvPr/>
          </p:nvCxnSpPr>
          <p:spPr>
            <a:xfrm>
              <a:off x="10306050" y="1763042"/>
              <a:ext cx="381000" cy="0"/>
            </a:xfrm>
            <a:prstGeom prst="line">
              <a:avLst/>
            </a:prstGeom>
            <a:ln w="12700">
              <a:solidFill>
                <a:schemeClr val="accent2"/>
              </a:solidFill>
              <a:prstDash val="dash"/>
            </a:ln>
          </p:spPr>
          <p:style>
            <a:lnRef idx="1">
              <a:schemeClr val="accent1"/>
            </a:lnRef>
            <a:fillRef idx="0">
              <a:schemeClr val="accent1"/>
            </a:fillRef>
            <a:effectRef idx="0">
              <a:schemeClr val="accent1"/>
            </a:effectRef>
            <a:fontRef idx="minor">
              <a:schemeClr val="tx1"/>
            </a:fontRef>
          </p:style>
        </p:cxnSp>
        <p:cxnSp>
          <p:nvCxnSpPr>
            <p:cNvPr id="7" name="Straight Connector 58">
              <a:extLst>
                <a:ext uri="{FF2B5EF4-FFF2-40B4-BE49-F238E27FC236}">
                  <a16:creationId xmlns:a16="http://schemas.microsoft.com/office/drawing/2014/main" id="{5FBDFC70-B960-4739-8CC0-DB65962DE9E6}"/>
                </a:ext>
              </a:extLst>
            </p:cNvPr>
            <p:cNvCxnSpPr>
              <a:cxnSpLocks/>
            </p:cNvCxnSpPr>
            <p:nvPr/>
          </p:nvCxnSpPr>
          <p:spPr>
            <a:xfrm flipV="1">
              <a:off x="10687050" y="1760148"/>
              <a:ext cx="0" cy="395463"/>
            </a:xfrm>
            <a:prstGeom prst="line">
              <a:avLst/>
            </a:prstGeom>
            <a:ln w="12700">
              <a:solidFill>
                <a:schemeClr val="accent2"/>
              </a:solidFill>
              <a:prstDash val="dash"/>
            </a:ln>
          </p:spPr>
          <p:style>
            <a:lnRef idx="1">
              <a:schemeClr val="accent1"/>
            </a:lnRef>
            <a:fillRef idx="0">
              <a:schemeClr val="accent1"/>
            </a:fillRef>
            <a:effectRef idx="0">
              <a:schemeClr val="accent1"/>
            </a:effectRef>
            <a:fontRef idx="minor">
              <a:schemeClr val="tx1"/>
            </a:fontRef>
          </p:style>
        </p:cxnSp>
      </p:grpSp>
      <p:grpSp>
        <p:nvGrpSpPr>
          <p:cNvPr id="8" name="Group 62">
            <a:extLst>
              <a:ext uri="{FF2B5EF4-FFF2-40B4-BE49-F238E27FC236}">
                <a16:creationId xmlns:a16="http://schemas.microsoft.com/office/drawing/2014/main" id="{FF7FC35A-25D2-4928-B582-AF498D68CBF1}"/>
              </a:ext>
            </a:extLst>
          </p:cNvPr>
          <p:cNvGrpSpPr/>
          <p:nvPr/>
        </p:nvGrpSpPr>
        <p:grpSpPr>
          <a:xfrm>
            <a:off x="7777340" y="3928392"/>
            <a:ext cx="461692" cy="968603"/>
            <a:chOff x="10306050" y="1760148"/>
            <a:chExt cx="381000" cy="395463"/>
          </a:xfrm>
        </p:grpSpPr>
        <p:cxnSp>
          <p:nvCxnSpPr>
            <p:cNvPr id="9" name="Straight Connector 63">
              <a:extLst>
                <a:ext uri="{FF2B5EF4-FFF2-40B4-BE49-F238E27FC236}">
                  <a16:creationId xmlns:a16="http://schemas.microsoft.com/office/drawing/2014/main" id="{10AACB6B-2977-448B-8A78-95B66F3B5790}"/>
                </a:ext>
              </a:extLst>
            </p:cNvPr>
            <p:cNvCxnSpPr/>
            <p:nvPr/>
          </p:nvCxnSpPr>
          <p:spPr>
            <a:xfrm>
              <a:off x="10306050" y="1763042"/>
              <a:ext cx="381000" cy="0"/>
            </a:xfrm>
            <a:prstGeom prst="line">
              <a:avLst/>
            </a:prstGeom>
            <a:ln w="12700">
              <a:solidFill>
                <a:schemeClr val="accent3"/>
              </a:solidFill>
              <a:prstDash val="dash"/>
            </a:ln>
          </p:spPr>
          <p:style>
            <a:lnRef idx="1">
              <a:schemeClr val="accent1"/>
            </a:lnRef>
            <a:fillRef idx="0">
              <a:schemeClr val="accent1"/>
            </a:fillRef>
            <a:effectRef idx="0">
              <a:schemeClr val="accent1"/>
            </a:effectRef>
            <a:fontRef idx="minor">
              <a:schemeClr val="tx1"/>
            </a:fontRef>
          </p:style>
        </p:cxnSp>
        <p:cxnSp>
          <p:nvCxnSpPr>
            <p:cNvPr id="10" name="Straight Connector 64">
              <a:extLst>
                <a:ext uri="{FF2B5EF4-FFF2-40B4-BE49-F238E27FC236}">
                  <a16:creationId xmlns:a16="http://schemas.microsoft.com/office/drawing/2014/main" id="{DD0E6D04-235C-4A47-8980-0E6C1E472C4A}"/>
                </a:ext>
              </a:extLst>
            </p:cNvPr>
            <p:cNvCxnSpPr>
              <a:cxnSpLocks/>
            </p:cNvCxnSpPr>
            <p:nvPr/>
          </p:nvCxnSpPr>
          <p:spPr>
            <a:xfrm flipV="1">
              <a:off x="10687050" y="1760148"/>
              <a:ext cx="0" cy="395463"/>
            </a:xfrm>
            <a:prstGeom prst="line">
              <a:avLst/>
            </a:prstGeom>
            <a:ln w="12700">
              <a:solidFill>
                <a:schemeClr val="accent3"/>
              </a:solidFill>
              <a:prstDash val="dash"/>
            </a:ln>
          </p:spPr>
          <p:style>
            <a:lnRef idx="1">
              <a:schemeClr val="accent1"/>
            </a:lnRef>
            <a:fillRef idx="0">
              <a:schemeClr val="accent1"/>
            </a:fillRef>
            <a:effectRef idx="0">
              <a:schemeClr val="accent1"/>
            </a:effectRef>
            <a:fontRef idx="minor">
              <a:schemeClr val="tx1"/>
            </a:fontRef>
          </p:style>
        </p:cxnSp>
      </p:grpSp>
      <p:grpSp>
        <p:nvGrpSpPr>
          <p:cNvPr id="11" name="Group 68">
            <a:extLst>
              <a:ext uri="{FF2B5EF4-FFF2-40B4-BE49-F238E27FC236}">
                <a16:creationId xmlns:a16="http://schemas.microsoft.com/office/drawing/2014/main" id="{BCF9E88E-D8EB-4D97-B7A3-091932997BB1}"/>
              </a:ext>
            </a:extLst>
          </p:cNvPr>
          <p:cNvGrpSpPr/>
          <p:nvPr/>
        </p:nvGrpSpPr>
        <p:grpSpPr>
          <a:xfrm>
            <a:off x="10493485" y="3928392"/>
            <a:ext cx="461692" cy="968603"/>
            <a:chOff x="10306050" y="1760148"/>
            <a:chExt cx="381000" cy="395463"/>
          </a:xfrm>
        </p:grpSpPr>
        <p:cxnSp>
          <p:nvCxnSpPr>
            <p:cNvPr id="12" name="Straight Connector 69">
              <a:extLst>
                <a:ext uri="{FF2B5EF4-FFF2-40B4-BE49-F238E27FC236}">
                  <a16:creationId xmlns:a16="http://schemas.microsoft.com/office/drawing/2014/main" id="{FB64E960-B0E0-42DD-956F-CB9A6DCCE005}"/>
                </a:ext>
              </a:extLst>
            </p:cNvPr>
            <p:cNvCxnSpPr/>
            <p:nvPr/>
          </p:nvCxnSpPr>
          <p:spPr>
            <a:xfrm>
              <a:off x="10306050" y="1763042"/>
              <a:ext cx="381000" cy="0"/>
            </a:xfrm>
            <a:prstGeom prst="line">
              <a:avLst/>
            </a:prstGeom>
            <a:ln w="12700">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13" name="Straight Connector 70">
              <a:extLst>
                <a:ext uri="{FF2B5EF4-FFF2-40B4-BE49-F238E27FC236}">
                  <a16:creationId xmlns:a16="http://schemas.microsoft.com/office/drawing/2014/main" id="{405FA084-5E66-4151-81B1-CFB5AA20DBA0}"/>
                </a:ext>
              </a:extLst>
            </p:cNvPr>
            <p:cNvCxnSpPr>
              <a:cxnSpLocks/>
            </p:cNvCxnSpPr>
            <p:nvPr/>
          </p:nvCxnSpPr>
          <p:spPr>
            <a:xfrm flipV="1">
              <a:off x="10687050" y="1760148"/>
              <a:ext cx="0" cy="395463"/>
            </a:xfrm>
            <a:prstGeom prst="line">
              <a:avLst/>
            </a:prstGeom>
            <a:ln w="12700">
              <a:solidFill>
                <a:schemeClr val="accent4"/>
              </a:solidFill>
              <a:prstDash val="dash"/>
            </a:ln>
          </p:spPr>
          <p:style>
            <a:lnRef idx="1">
              <a:schemeClr val="accent1"/>
            </a:lnRef>
            <a:fillRef idx="0">
              <a:schemeClr val="accent1"/>
            </a:fillRef>
            <a:effectRef idx="0">
              <a:schemeClr val="accent1"/>
            </a:effectRef>
            <a:fontRef idx="minor">
              <a:schemeClr val="tx1"/>
            </a:fontRef>
          </p:style>
        </p:cxnSp>
      </p:grpSp>
      <p:sp>
        <p:nvSpPr>
          <p:cNvPr id="14" name="TextBox 77">
            <a:extLst>
              <a:ext uri="{FF2B5EF4-FFF2-40B4-BE49-F238E27FC236}">
                <a16:creationId xmlns:a16="http://schemas.microsoft.com/office/drawing/2014/main" id="{09FA84E1-1657-453A-84E6-6BD63A61C747}"/>
              </a:ext>
            </a:extLst>
          </p:cNvPr>
          <p:cNvSpPr txBox="1"/>
          <p:nvPr/>
        </p:nvSpPr>
        <p:spPr>
          <a:xfrm>
            <a:off x="2657474" y="731469"/>
            <a:ext cx="6877050"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1" i="0" u="none" strike="noStrike" kern="1200" cap="none" spc="0" normalizeH="0" baseline="0" noProof="0" dirty="0">
                <a:ln>
                  <a:noFill/>
                </a:ln>
                <a:solidFill>
                  <a:srgbClr val="000000">
                    <a:lumMod val="85000"/>
                    <a:lumOff val="15000"/>
                  </a:srgbClr>
                </a:solidFill>
                <a:effectLst/>
                <a:uLnTx/>
                <a:uFillTx/>
                <a:latin typeface="等线 Light" panose="020F0302020204030204"/>
                <a:ea typeface="+mn-ea"/>
                <a:cs typeface="Arial" panose="020B0604020202020204" pitchFamily="34" charset="0"/>
              </a:rPr>
              <a:t>Your Title Text Goes Here</a:t>
            </a:r>
          </a:p>
        </p:txBody>
      </p:sp>
      <p:grpSp>
        <p:nvGrpSpPr>
          <p:cNvPr id="15" name="Group 80">
            <a:extLst>
              <a:ext uri="{FF2B5EF4-FFF2-40B4-BE49-F238E27FC236}">
                <a16:creationId xmlns:a16="http://schemas.microsoft.com/office/drawing/2014/main" id="{2F58F8D6-E07A-425D-93D9-F4364B1104B7}"/>
              </a:ext>
            </a:extLst>
          </p:cNvPr>
          <p:cNvGrpSpPr/>
          <p:nvPr/>
        </p:nvGrpSpPr>
        <p:grpSpPr>
          <a:xfrm>
            <a:off x="1260561" y="2387273"/>
            <a:ext cx="1410520" cy="1790802"/>
            <a:chOff x="2426125" y="3031199"/>
            <a:chExt cx="1410520" cy="1790802"/>
          </a:xfrm>
        </p:grpSpPr>
        <p:grpSp>
          <p:nvGrpSpPr>
            <p:cNvPr id="16" name="Group 1">
              <a:extLst>
                <a:ext uri="{FF2B5EF4-FFF2-40B4-BE49-F238E27FC236}">
                  <a16:creationId xmlns:a16="http://schemas.microsoft.com/office/drawing/2014/main" id="{DFF6ADAA-B79A-41B7-A625-377D0F5F1D34}"/>
                </a:ext>
              </a:extLst>
            </p:cNvPr>
            <p:cNvGrpSpPr/>
            <p:nvPr/>
          </p:nvGrpSpPr>
          <p:grpSpPr>
            <a:xfrm>
              <a:off x="2426125" y="3122886"/>
              <a:ext cx="1410520" cy="1699115"/>
              <a:chOff x="2426125" y="3122886"/>
              <a:chExt cx="1410520" cy="1699115"/>
            </a:xfrm>
          </p:grpSpPr>
          <p:sp>
            <p:nvSpPr>
              <p:cNvPr id="24" name="Freeform 13">
                <a:extLst>
                  <a:ext uri="{FF2B5EF4-FFF2-40B4-BE49-F238E27FC236}">
                    <a16:creationId xmlns:a16="http://schemas.microsoft.com/office/drawing/2014/main" id="{F98FC36D-54E3-43D6-A5BF-92B9AE98D68C}"/>
                  </a:ext>
                </a:extLst>
              </p:cNvPr>
              <p:cNvSpPr>
                <a:spLocks/>
              </p:cNvSpPr>
              <p:nvPr/>
            </p:nvSpPr>
            <p:spPr bwMode="auto">
              <a:xfrm>
                <a:off x="2455783" y="3375720"/>
                <a:ext cx="1380862" cy="1446281"/>
              </a:xfrm>
              <a:custGeom>
                <a:avLst/>
                <a:gdLst>
                  <a:gd name="T0" fmla="*/ 1516 w 1562"/>
                  <a:gd name="T1" fmla="*/ 0 h 1636"/>
                  <a:gd name="T2" fmla="*/ 1562 w 1562"/>
                  <a:gd name="T3" fmla="*/ 11 h 1636"/>
                  <a:gd name="T4" fmla="*/ 781 w 1562"/>
                  <a:gd name="T5" fmla="*/ 1636 h 1636"/>
                  <a:gd name="T6" fmla="*/ 0 w 1562"/>
                  <a:gd name="T7" fmla="*/ 11 h 1636"/>
                  <a:gd name="T8" fmla="*/ 57 w 1562"/>
                  <a:gd name="T9" fmla="*/ 0 h 1636"/>
                  <a:gd name="T10" fmla="*/ 1516 w 1562"/>
                  <a:gd name="T11" fmla="*/ 0 h 1636"/>
                </a:gdLst>
                <a:ahLst/>
                <a:cxnLst>
                  <a:cxn ang="0">
                    <a:pos x="T0" y="T1"/>
                  </a:cxn>
                  <a:cxn ang="0">
                    <a:pos x="T2" y="T3"/>
                  </a:cxn>
                  <a:cxn ang="0">
                    <a:pos x="T4" y="T5"/>
                  </a:cxn>
                  <a:cxn ang="0">
                    <a:pos x="T6" y="T7"/>
                  </a:cxn>
                  <a:cxn ang="0">
                    <a:pos x="T8" y="T9"/>
                  </a:cxn>
                  <a:cxn ang="0">
                    <a:pos x="T10" y="T11"/>
                  </a:cxn>
                </a:cxnLst>
                <a:rect l="0" t="0" r="r" b="b"/>
                <a:pathLst>
                  <a:path w="1562" h="1636">
                    <a:moveTo>
                      <a:pt x="1516" y="0"/>
                    </a:moveTo>
                    <a:lnTo>
                      <a:pt x="1562" y="11"/>
                    </a:lnTo>
                    <a:lnTo>
                      <a:pt x="781" y="1636"/>
                    </a:lnTo>
                    <a:lnTo>
                      <a:pt x="0" y="11"/>
                    </a:lnTo>
                    <a:lnTo>
                      <a:pt x="57" y="0"/>
                    </a:lnTo>
                    <a:lnTo>
                      <a:pt x="1516" y="0"/>
                    </a:lnTo>
                    <a:close/>
                  </a:path>
                </a:pathLst>
              </a:custGeom>
              <a:gradFill flip="none" rotWithShape="1">
                <a:gsLst>
                  <a:gs pos="0">
                    <a:schemeClr val="accent1">
                      <a:lumMod val="50000"/>
                    </a:schemeClr>
                  </a:gs>
                  <a:gs pos="50000">
                    <a:schemeClr val="accent1">
                      <a:lumMod val="75000"/>
                    </a:schemeClr>
                  </a:gs>
                  <a:gs pos="100000">
                    <a:schemeClr val="accent1"/>
                  </a:gs>
                </a:gsLst>
                <a:lin ang="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25" name="Oval 6">
                <a:extLst>
                  <a:ext uri="{FF2B5EF4-FFF2-40B4-BE49-F238E27FC236}">
                    <a16:creationId xmlns:a16="http://schemas.microsoft.com/office/drawing/2014/main" id="{26DE3F99-0AB6-4A16-9E7D-25EC552154B9}"/>
                  </a:ext>
                </a:extLst>
              </p:cNvPr>
              <p:cNvSpPr>
                <a:spLocks noChangeArrowheads="1"/>
              </p:cNvSpPr>
              <p:nvPr/>
            </p:nvSpPr>
            <p:spPr bwMode="auto">
              <a:xfrm>
                <a:off x="2426125" y="3122886"/>
                <a:ext cx="1402079" cy="455278"/>
              </a:xfrm>
              <a:prstGeom prst="ellipse">
                <a:avLst/>
              </a:pr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4400" b="0" i="0" u="none" strike="noStrike" kern="1200" cap="none" spc="0" normalizeH="0" baseline="0" noProof="0" dirty="0">
                  <a:ln>
                    <a:noFill/>
                  </a:ln>
                  <a:solidFill>
                    <a:srgbClr val="FFFFFF">
                      <a:lumMod val="85000"/>
                    </a:srgbClr>
                  </a:solidFill>
                  <a:effectLst/>
                  <a:uLnTx/>
                  <a:uFillTx/>
                  <a:latin typeface="等线" panose="020F0502020204030204"/>
                  <a:ea typeface="+mn-ea"/>
                  <a:cs typeface="+mn-cs"/>
                </a:endParaRPr>
              </a:p>
            </p:txBody>
          </p:sp>
        </p:grpSp>
        <p:grpSp>
          <p:nvGrpSpPr>
            <p:cNvPr id="17" name="Group 51">
              <a:extLst>
                <a:ext uri="{FF2B5EF4-FFF2-40B4-BE49-F238E27FC236}">
                  <a16:creationId xmlns:a16="http://schemas.microsoft.com/office/drawing/2014/main" id="{8AE78BB9-64C0-4FBC-B517-5B60BEF4EFCA}"/>
                </a:ext>
              </a:extLst>
            </p:cNvPr>
            <p:cNvGrpSpPr/>
            <p:nvPr/>
          </p:nvGrpSpPr>
          <p:grpSpPr>
            <a:xfrm>
              <a:off x="2924017" y="3031199"/>
              <a:ext cx="547080" cy="470174"/>
              <a:chOff x="2924017" y="3031199"/>
              <a:chExt cx="547080" cy="470174"/>
            </a:xfrm>
          </p:grpSpPr>
          <p:sp>
            <p:nvSpPr>
              <p:cNvPr id="18" name="Freeform 17">
                <a:extLst>
                  <a:ext uri="{FF2B5EF4-FFF2-40B4-BE49-F238E27FC236}">
                    <a16:creationId xmlns:a16="http://schemas.microsoft.com/office/drawing/2014/main" id="{8F455F64-D4F8-454E-8AE9-6CC8C3ADA74B}"/>
                  </a:ext>
                </a:extLst>
              </p:cNvPr>
              <p:cNvSpPr>
                <a:spLocks/>
              </p:cNvSpPr>
              <p:nvPr/>
            </p:nvSpPr>
            <p:spPr bwMode="auto">
              <a:xfrm>
                <a:off x="3072087" y="3130951"/>
                <a:ext cx="61307" cy="105468"/>
              </a:xfrm>
              <a:custGeom>
                <a:avLst/>
                <a:gdLst>
                  <a:gd name="T0" fmla="*/ 0 w 24"/>
                  <a:gd name="T1" fmla="*/ 0 h 41"/>
                  <a:gd name="T2" fmla="*/ 16 w 24"/>
                  <a:gd name="T3" fmla="*/ 21 h 41"/>
                  <a:gd name="T4" fmla="*/ 18 w 24"/>
                  <a:gd name="T5" fmla="*/ 41 h 41"/>
                  <a:gd name="T6" fmla="*/ 20 w 24"/>
                  <a:gd name="T7" fmla="*/ 20 h 41"/>
                  <a:gd name="T8" fmla="*/ 0 w 24"/>
                  <a:gd name="T9" fmla="*/ 0 h 41"/>
                </a:gdLst>
                <a:ahLst/>
                <a:cxnLst>
                  <a:cxn ang="0">
                    <a:pos x="T0" y="T1"/>
                  </a:cxn>
                  <a:cxn ang="0">
                    <a:pos x="T2" y="T3"/>
                  </a:cxn>
                  <a:cxn ang="0">
                    <a:pos x="T4" y="T5"/>
                  </a:cxn>
                  <a:cxn ang="0">
                    <a:pos x="T6" y="T7"/>
                  </a:cxn>
                  <a:cxn ang="0">
                    <a:pos x="T8" y="T9"/>
                  </a:cxn>
                </a:cxnLst>
                <a:rect l="0" t="0" r="r" b="b"/>
                <a:pathLst>
                  <a:path w="24" h="41">
                    <a:moveTo>
                      <a:pt x="0" y="0"/>
                    </a:moveTo>
                    <a:cubicBezTo>
                      <a:pt x="0" y="0"/>
                      <a:pt x="11" y="11"/>
                      <a:pt x="16" y="21"/>
                    </a:cubicBezTo>
                    <a:cubicBezTo>
                      <a:pt x="21" y="31"/>
                      <a:pt x="18" y="41"/>
                      <a:pt x="18" y="41"/>
                    </a:cubicBezTo>
                    <a:cubicBezTo>
                      <a:pt x="18" y="41"/>
                      <a:pt x="24" y="29"/>
                      <a:pt x="20" y="20"/>
                    </a:cubicBezTo>
                    <a:cubicBezTo>
                      <a:pt x="15" y="11"/>
                      <a:pt x="0" y="0"/>
                      <a:pt x="0" y="0"/>
                    </a:cubicBezTo>
                    <a:close/>
                  </a:path>
                </a:pathLst>
              </a:custGeom>
              <a:solidFill>
                <a:schemeClr val="tx1">
                  <a:lumMod val="65000"/>
                  <a:lumOff val="3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19" name="Freeform 18">
                <a:extLst>
                  <a:ext uri="{FF2B5EF4-FFF2-40B4-BE49-F238E27FC236}">
                    <a16:creationId xmlns:a16="http://schemas.microsoft.com/office/drawing/2014/main" id="{12AD5216-49B2-47DF-93EB-F3D5724D7DCB}"/>
                  </a:ext>
                </a:extLst>
              </p:cNvPr>
              <p:cNvSpPr>
                <a:spLocks/>
              </p:cNvSpPr>
              <p:nvPr/>
            </p:nvSpPr>
            <p:spPr bwMode="auto">
              <a:xfrm>
                <a:off x="3146382" y="3031199"/>
                <a:ext cx="324715" cy="220287"/>
              </a:xfrm>
              <a:custGeom>
                <a:avLst/>
                <a:gdLst>
                  <a:gd name="T0" fmla="*/ 127 w 127"/>
                  <a:gd name="T1" fmla="*/ 0 h 86"/>
                  <a:gd name="T2" fmla="*/ 106 w 127"/>
                  <a:gd name="T3" fmla="*/ 8 h 86"/>
                  <a:gd name="T4" fmla="*/ 35 w 127"/>
                  <a:gd name="T5" fmla="*/ 7 h 86"/>
                  <a:gd name="T6" fmla="*/ 0 w 127"/>
                  <a:gd name="T7" fmla="*/ 46 h 86"/>
                  <a:gd name="T8" fmla="*/ 9 w 127"/>
                  <a:gd name="T9" fmla="*/ 58 h 86"/>
                  <a:gd name="T10" fmla="*/ 23 w 127"/>
                  <a:gd name="T11" fmla="*/ 76 h 86"/>
                  <a:gd name="T12" fmla="*/ 127 w 127"/>
                  <a:gd name="T13" fmla="*/ 0 h 86"/>
                </a:gdLst>
                <a:ahLst/>
                <a:cxnLst>
                  <a:cxn ang="0">
                    <a:pos x="T0" y="T1"/>
                  </a:cxn>
                  <a:cxn ang="0">
                    <a:pos x="T2" y="T3"/>
                  </a:cxn>
                  <a:cxn ang="0">
                    <a:pos x="T4" y="T5"/>
                  </a:cxn>
                  <a:cxn ang="0">
                    <a:pos x="T6" y="T7"/>
                  </a:cxn>
                  <a:cxn ang="0">
                    <a:pos x="T8" y="T9"/>
                  </a:cxn>
                  <a:cxn ang="0">
                    <a:pos x="T10" y="T11"/>
                  </a:cxn>
                  <a:cxn ang="0">
                    <a:pos x="T12" y="T13"/>
                  </a:cxn>
                </a:cxnLst>
                <a:rect l="0" t="0" r="r" b="b"/>
                <a:pathLst>
                  <a:path w="127" h="86">
                    <a:moveTo>
                      <a:pt x="127" y="0"/>
                    </a:moveTo>
                    <a:cubicBezTo>
                      <a:pt x="127" y="0"/>
                      <a:pt x="120" y="7"/>
                      <a:pt x="106" y="8"/>
                    </a:cubicBezTo>
                    <a:cubicBezTo>
                      <a:pt x="91" y="9"/>
                      <a:pt x="63" y="0"/>
                      <a:pt x="35" y="7"/>
                    </a:cubicBezTo>
                    <a:cubicBezTo>
                      <a:pt x="7" y="14"/>
                      <a:pt x="1" y="38"/>
                      <a:pt x="0" y="46"/>
                    </a:cubicBezTo>
                    <a:cubicBezTo>
                      <a:pt x="0" y="54"/>
                      <a:pt x="9" y="58"/>
                      <a:pt x="9" y="58"/>
                    </a:cubicBezTo>
                    <a:cubicBezTo>
                      <a:pt x="9" y="58"/>
                      <a:pt x="2" y="70"/>
                      <a:pt x="23" y="76"/>
                    </a:cubicBezTo>
                    <a:cubicBezTo>
                      <a:pt x="96" y="86"/>
                      <a:pt x="127" y="0"/>
                      <a:pt x="127" y="0"/>
                    </a:cubicBezTo>
                    <a:close/>
                  </a:path>
                </a:pathLst>
              </a:custGeom>
              <a:solidFill>
                <a:srgbClr val="8BC5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20" name="Freeform 19">
                <a:extLst>
                  <a:ext uri="{FF2B5EF4-FFF2-40B4-BE49-F238E27FC236}">
                    <a16:creationId xmlns:a16="http://schemas.microsoft.com/office/drawing/2014/main" id="{87D2693E-467B-41AF-828E-02465195CC5C}"/>
                  </a:ext>
                </a:extLst>
              </p:cNvPr>
              <p:cNvSpPr>
                <a:spLocks/>
              </p:cNvSpPr>
              <p:nvPr/>
            </p:nvSpPr>
            <p:spPr bwMode="auto">
              <a:xfrm>
                <a:off x="3102740" y="3121080"/>
                <a:ext cx="196907" cy="171449"/>
              </a:xfrm>
              <a:custGeom>
                <a:avLst/>
                <a:gdLst>
                  <a:gd name="T0" fmla="*/ 77 w 77"/>
                  <a:gd name="T1" fmla="*/ 0 h 67"/>
                  <a:gd name="T2" fmla="*/ 28 w 77"/>
                  <a:gd name="T3" fmla="*/ 25 h 67"/>
                  <a:gd name="T4" fmla="*/ 0 w 77"/>
                  <a:gd name="T5" fmla="*/ 67 h 67"/>
                  <a:gd name="T6" fmla="*/ 21 w 77"/>
                  <a:gd name="T7" fmla="*/ 20 h 67"/>
                  <a:gd name="T8" fmla="*/ 77 w 77"/>
                  <a:gd name="T9" fmla="*/ 0 h 67"/>
                </a:gdLst>
                <a:ahLst/>
                <a:cxnLst>
                  <a:cxn ang="0">
                    <a:pos x="T0" y="T1"/>
                  </a:cxn>
                  <a:cxn ang="0">
                    <a:pos x="T2" y="T3"/>
                  </a:cxn>
                  <a:cxn ang="0">
                    <a:pos x="T4" y="T5"/>
                  </a:cxn>
                  <a:cxn ang="0">
                    <a:pos x="T6" y="T7"/>
                  </a:cxn>
                  <a:cxn ang="0">
                    <a:pos x="T8" y="T9"/>
                  </a:cxn>
                </a:cxnLst>
                <a:rect l="0" t="0" r="r" b="b"/>
                <a:pathLst>
                  <a:path w="77" h="67">
                    <a:moveTo>
                      <a:pt x="77" y="0"/>
                    </a:moveTo>
                    <a:cubicBezTo>
                      <a:pt x="77" y="0"/>
                      <a:pt x="49" y="9"/>
                      <a:pt x="28" y="25"/>
                    </a:cubicBezTo>
                    <a:cubicBezTo>
                      <a:pt x="6" y="41"/>
                      <a:pt x="0" y="67"/>
                      <a:pt x="0" y="67"/>
                    </a:cubicBezTo>
                    <a:cubicBezTo>
                      <a:pt x="0" y="67"/>
                      <a:pt x="1" y="34"/>
                      <a:pt x="21" y="20"/>
                    </a:cubicBezTo>
                    <a:cubicBezTo>
                      <a:pt x="41" y="5"/>
                      <a:pt x="77" y="0"/>
                      <a:pt x="77" y="0"/>
                    </a:cubicBezTo>
                    <a:close/>
                  </a:path>
                </a:pathLst>
              </a:custGeom>
              <a:solidFill>
                <a:schemeClr val="tx1">
                  <a:lumMod val="65000"/>
                  <a:lumOff val="3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21" name="Freeform 21">
                <a:extLst>
                  <a:ext uri="{FF2B5EF4-FFF2-40B4-BE49-F238E27FC236}">
                    <a16:creationId xmlns:a16="http://schemas.microsoft.com/office/drawing/2014/main" id="{4DD95DC1-1CC9-4D58-941D-2156D38C2A68}"/>
                  </a:ext>
                </a:extLst>
              </p:cNvPr>
              <p:cNvSpPr>
                <a:spLocks/>
              </p:cNvSpPr>
              <p:nvPr/>
            </p:nvSpPr>
            <p:spPr bwMode="auto">
              <a:xfrm>
                <a:off x="2926615" y="3146537"/>
                <a:ext cx="142875" cy="136120"/>
              </a:xfrm>
              <a:custGeom>
                <a:avLst/>
                <a:gdLst>
                  <a:gd name="T0" fmla="*/ 0 w 56"/>
                  <a:gd name="T1" fmla="*/ 3 h 53"/>
                  <a:gd name="T2" fmla="*/ 8 w 56"/>
                  <a:gd name="T3" fmla="*/ 11 h 53"/>
                  <a:gd name="T4" fmla="*/ 21 w 56"/>
                  <a:gd name="T5" fmla="*/ 42 h 53"/>
                  <a:gd name="T6" fmla="*/ 45 w 56"/>
                  <a:gd name="T7" fmla="*/ 49 h 53"/>
                  <a:gd name="T8" fmla="*/ 49 w 56"/>
                  <a:gd name="T9" fmla="*/ 43 h 53"/>
                  <a:gd name="T10" fmla="*/ 54 w 56"/>
                  <a:gd name="T11" fmla="*/ 34 h 53"/>
                  <a:gd name="T12" fmla="*/ 0 w 56"/>
                  <a:gd name="T13" fmla="*/ 3 h 53"/>
                </a:gdLst>
                <a:ahLst/>
                <a:cxnLst>
                  <a:cxn ang="0">
                    <a:pos x="T0" y="T1"/>
                  </a:cxn>
                  <a:cxn ang="0">
                    <a:pos x="T2" y="T3"/>
                  </a:cxn>
                  <a:cxn ang="0">
                    <a:pos x="T4" y="T5"/>
                  </a:cxn>
                  <a:cxn ang="0">
                    <a:pos x="T6" y="T7"/>
                  </a:cxn>
                  <a:cxn ang="0">
                    <a:pos x="T8" y="T9"/>
                  </a:cxn>
                  <a:cxn ang="0">
                    <a:pos x="T10" y="T11"/>
                  </a:cxn>
                  <a:cxn ang="0">
                    <a:pos x="T12" y="T13"/>
                  </a:cxn>
                </a:cxnLst>
                <a:rect l="0" t="0" r="r" b="b"/>
                <a:pathLst>
                  <a:path w="56" h="53">
                    <a:moveTo>
                      <a:pt x="0" y="3"/>
                    </a:moveTo>
                    <a:cubicBezTo>
                      <a:pt x="0" y="3"/>
                      <a:pt x="5" y="4"/>
                      <a:pt x="8" y="11"/>
                    </a:cubicBezTo>
                    <a:cubicBezTo>
                      <a:pt x="11" y="17"/>
                      <a:pt x="13" y="31"/>
                      <a:pt x="21" y="42"/>
                    </a:cubicBezTo>
                    <a:cubicBezTo>
                      <a:pt x="30" y="53"/>
                      <a:pt x="42" y="51"/>
                      <a:pt x="45" y="49"/>
                    </a:cubicBezTo>
                    <a:cubicBezTo>
                      <a:pt x="49" y="48"/>
                      <a:pt x="49" y="43"/>
                      <a:pt x="49" y="43"/>
                    </a:cubicBezTo>
                    <a:cubicBezTo>
                      <a:pt x="49" y="43"/>
                      <a:pt x="56" y="44"/>
                      <a:pt x="54" y="34"/>
                    </a:cubicBezTo>
                    <a:cubicBezTo>
                      <a:pt x="44" y="0"/>
                      <a:pt x="0" y="3"/>
                      <a:pt x="0" y="3"/>
                    </a:cubicBezTo>
                    <a:close/>
                  </a:path>
                </a:pathLst>
              </a:custGeom>
              <a:solidFill>
                <a:srgbClr val="8BC5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22" name="Freeform 22">
                <a:extLst>
                  <a:ext uri="{FF2B5EF4-FFF2-40B4-BE49-F238E27FC236}">
                    <a16:creationId xmlns:a16="http://schemas.microsoft.com/office/drawing/2014/main" id="{80A54A48-7A0E-4D7F-A1F8-BB69F1114567}"/>
                  </a:ext>
                </a:extLst>
              </p:cNvPr>
              <p:cNvSpPr>
                <a:spLocks/>
              </p:cNvSpPr>
              <p:nvPr/>
            </p:nvSpPr>
            <p:spPr bwMode="auto">
              <a:xfrm>
                <a:off x="3000910" y="3210441"/>
                <a:ext cx="112222" cy="69619"/>
              </a:xfrm>
              <a:custGeom>
                <a:avLst/>
                <a:gdLst>
                  <a:gd name="T0" fmla="*/ 0 w 44"/>
                  <a:gd name="T1" fmla="*/ 0 h 27"/>
                  <a:gd name="T2" fmla="*/ 20 w 44"/>
                  <a:gd name="T3" fmla="*/ 17 h 27"/>
                  <a:gd name="T4" fmla="*/ 44 w 44"/>
                  <a:gd name="T5" fmla="*/ 21 h 27"/>
                  <a:gd name="T6" fmla="*/ 19 w 44"/>
                  <a:gd name="T7" fmla="*/ 21 h 27"/>
                  <a:gd name="T8" fmla="*/ 0 w 44"/>
                  <a:gd name="T9" fmla="*/ 0 h 27"/>
                </a:gdLst>
                <a:ahLst/>
                <a:cxnLst>
                  <a:cxn ang="0">
                    <a:pos x="T0" y="T1"/>
                  </a:cxn>
                  <a:cxn ang="0">
                    <a:pos x="T2" y="T3"/>
                  </a:cxn>
                  <a:cxn ang="0">
                    <a:pos x="T4" y="T5"/>
                  </a:cxn>
                  <a:cxn ang="0">
                    <a:pos x="T6" y="T7"/>
                  </a:cxn>
                  <a:cxn ang="0">
                    <a:pos x="T8" y="T9"/>
                  </a:cxn>
                </a:cxnLst>
                <a:rect l="0" t="0" r="r" b="b"/>
                <a:pathLst>
                  <a:path w="44" h="27">
                    <a:moveTo>
                      <a:pt x="0" y="0"/>
                    </a:moveTo>
                    <a:cubicBezTo>
                      <a:pt x="0" y="0"/>
                      <a:pt x="9" y="11"/>
                      <a:pt x="20" y="17"/>
                    </a:cubicBezTo>
                    <a:cubicBezTo>
                      <a:pt x="31" y="24"/>
                      <a:pt x="44" y="21"/>
                      <a:pt x="44" y="21"/>
                    </a:cubicBezTo>
                    <a:cubicBezTo>
                      <a:pt x="44" y="21"/>
                      <a:pt x="30" y="27"/>
                      <a:pt x="19" y="21"/>
                    </a:cubicBezTo>
                    <a:cubicBezTo>
                      <a:pt x="9" y="15"/>
                      <a:pt x="0" y="0"/>
                      <a:pt x="0" y="0"/>
                    </a:cubicBezTo>
                    <a:close/>
                  </a:path>
                </a:pathLst>
              </a:custGeom>
              <a:solidFill>
                <a:schemeClr val="tx1">
                  <a:lumMod val="65000"/>
                  <a:lumOff val="3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23" name="Freeform 26">
                <a:extLst>
                  <a:ext uri="{FF2B5EF4-FFF2-40B4-BE49-F238E27FC236}">
                    <a16:creationId xmlns:a16="http://schemas.microsoft.com/office/drawing/2014/main" id="{69BD9182-5257-46F9-BC03-31F860B7C321}"/>
                  </a:ext>
                </a:extLst>
              </p:cNvPr>
              <p:cNvSpPr>
                <a:spLocks noEditPoints="1"/>
              </p:cNvSpPr>
              <p:nvPr/>
            </p:nvSpPr>
            <p:spPr bwMode="auto">
              <a:xfrm>
                <a:off x="2924017" y="3261357"/>
                <a:ext cx="342986" cy="240016"/>
              </a:xfrm>
              <a:custGeom>
                <a:avLst/>
                <a:gdLst>
                  <a:gd name="T0" fmla="*/ 136 w 193"/>
                  <a:gd name="T1" fmla="*/ 15 h 134"/>
                  <a:gd name="T2" fmla="*/ 108 w 193"/>
                  <a:gd name="T3" fmla="*/ 4 h 134"/>
                  <a:gd name="T4" fmla="*/ 90 w 193"/>
                  <a:gd name="T5" fmla="*/ 6 h 134"/>
                  <a:gd name="T6" fmla="*/ 73 w 193"/>
                  <a:gd name="T7" fmla="*/ 24 h 134"/>
                  <a:gd name="T8" fmla="*/ 27 w 193"/>
                  <a:gd name="T9" fmla="*/ 40 h 134"/>
                  <a:gd name="T10" fmla="*/ 59 w 193"/>
                  <a:gd name="T11" fmla="*/ 31 h 134"/>
                  <a:gd name="T12" fmla="*/ 23 w 193"/>
                  <a:gd name="T13" fmla="*/ 68 h 134"/>
                  <a:gd name="T14" fmla="*/ 40 w 193"/>
                  <a:gd name="T15" fmla="*/ 51 h 134"/>
                  <a:gd name="T16" fmla="*/ 25 w 193"/>
                  <a:gd name="T17" fmla="*/ 96 h 134"/>
                  <a:gd name="T18" fmla="*/ 32 w 193"/>
                  <a:gd name="T19" fmla="*/ 72 h 134"/>
                  <a:gd name="T20" fmla="*/ 46 w 193"/>
                  <a:gd name="T21" fmla="*/ 65 h 134"/>
                  <a:gd name="T22" fmla="*/ 45 w 193"/>
                  <a:gd name="T23" fmla="*/ 72 h 134"/>
                  <a:gd name="T24" fmla="*/ 65 w 193"/>
                  <a:gd name="T25" fmla="*/ 36 h 134"/>
                  <a:gd name="T26" fmla="*/ 27 w 193"/>
                  <a:gd name="T27" fmla="*/ 119 h 134"/>
                  <a:gd name="T28" fmla="*/ 45 w 193"/>
                  <a:gd name="T29" fmla="*/ 99 h 134"/>
                  <a:gd name="T30" fmla="*/ 48 w 193"/>
                  <a:gd name="T31" fmla="*/ 101 h 134"/>
                  <a:gd name="T32" fmla="*/ 49 w 193"/>
                  <a:gd name="T33" fmla="*/ 101 h 134"/>
                  <a:gd name="T34" fmla="*/ 59 w 193"/>
                  <a:gd name="T35" fmla="*/ 56 h 134"/>
                  <a:gd name="T36" fmla="*/ 83 w 193"/>
                  <a:gd name="T37" fmla="*/ 32 h 134"/>
                  <a:gd name="T38" fmla="*/ 76 w 193"/>
                  <a:gd name="T39" fmla="*/ 41 h 134"/>
                  <a:gd name="T40" fmla="*/ 68 w 193"/>
                  <a:gd name="T41" fmla="*/ 79 h 134"/>
                  <a:gd name="T42" fmla="*/ 75 w 193"/>
                  <a:gd name="T43" fmla="*/ 74 h 134"/>
                  <a:gd name="T44" fmla="*/ 75 w 193"/>
                  <a:gd name="T45" fmla="*/ 67 h 134"/>
                  <a:gd name="T46" fmla="*/ 78 w 193"/>
                  <a:gd name="T47" fmla="*/ 41 h 134"/>
                  <a:gd name="T48" fmla="*/ 80 w 193"/>
                  <a:gd name="T49" fmla="*/ 52 h 134"/>
                  <a:gd name="T50" fmla="*/ 76 w 193"/>
                  <a:gd name="T51" fmla="*/ 67 h 134"/>
                  <a:gd name="T52" fmla="*/ 79 w 193"/>
                  <a:gd name="T53" fmla="*/ 75 h 134"/>
                  <a:gd name="T54" fmla="*/ 85 w 193"/>
                  <a:gd name="T55" fmla="*/ 35 h 134"/>
                  <a:gd name="T56" fmla="*/ 90 w 193"/>
                  <a:gd name="T57" fmla="*/ 28 h 134"/>
                  <a:gd name="T58" fmla="*/ 87 w 193"/>
                  <a:gd name="T59" fmla="*/ 48 h 134"/>
                  <a:gd name="T60" fmla="*/ 96 w 193"/>
                  <a:gd name="T61" fmla="*/ 20 h 134"/>
                  <a:gd name="T62" fmla="*/ 97 w 193"/>
                  <a:gd name="T63" fmla="*/ 19 h 134"/>
                  <a:gd name="T64" fmla="*/ 104 w 193"/>
                  <a:gd name="T65" fmla="*/ 42 h 134"/>
                  <a:gd name="T66" fmla="*/ 98 w 193"/>
                  <a:gd name="T67" fmla="*/ 61 h 134"/>
                  <a:gd name="T68" fmla="*/ 105 w 193"/>
                  <a:gd name="T69" fmla="*/ 53 h 134"/>
                  <a:gd name="T70" fmla="*/ 108 w 193"/>
                  <a:gd name="T71" fmla="*/ 69 h 134"/>
                  <a:gd name="T72" fmla="*/ 111 w 193"/>
                  <a:gd name="T73" fmla="*/ 70 h 134"/>
                  <a:gd name="T74" fmla="*/ 116 w 193"/>
                  <a:gd name="T75" fmla="*/ 25 h 134"/>
                  <a:gd name="T76" fmla="*/ 117 w 193"/>
                  <a:gd name="T77" fmla="*/ 54 h 134"/>
                  <a:gd name="T78" fmla="*/ 121 w 193"/>
                  <a:gd name="T79" fmla="*/ 30 h 134"/>
                  <a:gd name="T80" fmla="*/ 139 w 193"/>
                  <a:gd name="T81" fmla="*/ 64 h 134"/>
                  <a:gd name="T82" fmla="*/ 138 w 193"/>
                  <a:gd name="T83" fmla="*/ 97 h 134"/>
                  <a:gd name="T84" fmla="*/ 150 w 193"/>
                  <a:gd name="T85" fmla="*/ 126 h 134"/>
                  <a:gd name="T86" fmla="*/ 146 w 193"/>
                  <a:gd name="T87" fmla="*/ 84 h 134"/>
                  <a:gd name="T88" fmla="*/ 157 w 193"/>
                  <a:gd name="T89" fmla="*/ 90 h 134"/>
                  <a:gd name="T90" fmla="*/ 132 w 193"/>
                  <a:gd name="T91" fmla="*/ 31 h 134"/>
                  <a:gd name="T92" fmla="*/ 128 w 193"/>
                  <a:gd name="T93" fmla="*/ 28 h 134"/>
                  <a:gd name="T94" fmla="*/ 142 w 193"/>
                  <a:gd name="T95" fmla="*/ 50 h 134"/>
                  <a:gd name="T96" fmla="*/ 146 w 193"/>
                  <a:gd name="T97" fmla="*/ 57 h 134"/>
                  <a:gd name="T98" fmla="*/ 147 w 193"/>
                  <a:gd name="T99" fmla="*/ 39 h 134"/>
                  <a:gd name="T100" fmla="*/ 166 w 193"/>
                  <a:gd name="T101" fmla="*/ 83 h 134"/>
                  <a:gd name="T102" fmla="*/ 175 w 193"/>
                  <a:gd name="T103" fmla="*/ 74 h 134"/>
                  <a:gd name="T104" fmla="*/ 161 w 193"/>
                  <a:gd name="T105" fmla="*/ 48 h 134"/>
                  <a:gd name="T106" fmla="*/ 175 w 193"/>
                  <a:gd name="T107" fmla="*/ 47 h 134"/>
                  <a:gd name="T108" fmla="*/ 160 w 193"/>
                  <a:gd name="T109" fmla="*/ 30 h 134"/>
                  <a:gd name="T110" fmla="*/ 83 w 193"/>
                  <a:gd name="T111" fmla="*/ 43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93" h="134">
                    <a:moveTo>
                      <a:pt x="166" y="32"/>
                    </a:moveTo>
                    <a:cubicBezTo>
                      <a:pt x="175" y="34"/>
                      <a:pt x="184" y="25"/>
                      <a:pt x="193" y="34"/>
                    </a:cubicBezTo>
                    <a:cubicBezTo>
                      <a:pt x="184" y="23"/>
                      <a:pt x="174" y="31"/>
                      <a:pt x="164" y="27"/>
                    </a:cubicBezTo>
                    <a:cubicBezTo>
                      <a:pt x="155" y="23"/>
                      <a:pt x="145" y="17"/>
                      <a:pt x="136" y="15"/>
                    </a:cubicBezTo>
                    <a:cubicBezTo>
                      <a:pt x="131" y="14"/>
                      <a:pt x="125" y="18"/>
                      <a:pt x="120" y="16"/>
                    </a:cubicBezTo>
                    <a:cubicBezTo>
                      <a:pt x="117" y="15"/>
                      <a:pt x="115" y="13"/>
                      <a:pt x="113" y="11"/>
                    </a:cubicBezTo>
                    <a:cubicBezTo>
                      <a:pt x="113" y="8"/>
                      <a:pt x="111" y="5"/>
                      <a:pt x="108" y="4"/>
                    </a:cubicBezTo>
                    <a:cubicBezTo>
                      <a:pt x="108" y="4"/>
                      <a:pt x="108" y="4"/>
                      <a:pt x="108" y="4"/>
                    </a:cubicBezTo>
                    <a:cubicBezTo>
                      <a:pt x="107" y="3"/>
                      <a:pt x="105" y="2"/>
                      <a:pt x="104" y="1"/>
                    </a:cubicBezTo>
                    <a:cubicBezTo>
                      <a:pt x="103" y="1"/>
                      <a:pt x="103" y="1"/>
                      <a:pt x="103" y="1"/>
                    </a:cubicBezTo>
                    <a:cubicBezTo>
                      <a:pt x="103" y="1"/>
                      <a:pt x="103" y="1"/>
                      <a:pt x="103" y="1"/>
                    </a:cubicBezTo>
                    <a:cubicBezTo>
                      <a:pt x="99" y="0"/>
                      <a:pt x="94" y="2"/>
                      <a:pt x="90" y="6"/>
                    </a:cubicBezTo>
                    <a:cubicBezTo>
                      <a:pt x="89" y="7"/>
                      <a:pt x="89" y="7"/>
                      <a:pt x="88" y="8"/>
                    </a:cubicBezTo>
                    <a:cubicBezTo>
                      <a:pt x="88" y="9"/>
                      <a:pt x="88" y="9"/>
                      <a:pt x="88" y="10"/>
                    </a:cubicBezTo>
                    <a:cubicBezTo>
                      <a:pt x="88" y="10"/>
                      <a:pt x="88" y="10"/>
                      <a:pt x="87" y="11"/>
                    </a:cubicBezTo>
                    <a:cubicBezTo>
                      <a:pt x="82" y="16"/>
                      <a:pt x="78" y="22"/>
                      <a:pt x="73" y="24"/>
                    </a:cubicBezTo>
                    <a:cubicBezTo>
                      <a:pt x="67" y="26"/>
                      <a:pt x="62" y="22"/>
                      <a:pt x="56" y="23"/>
                    </a:cubicBezTo>
                    <a:cubicBezTo>
                      <a:pt x="47" y="25"/>
                      <a:pt x="38" y="31"/>
                      <a:pt x="28" y="35"/>
                    </a:cubicBezTo>
                    <a:cubicBezTo>
                      <a:pt x="19" y="39"/>
                      <a:pt x="9" y="31"/>
                      <a:pt x="0" y="42"/>
                    </a:cubicBezTo>
                    <a:cubicBezTo>
                      <a:pt x="8" y="33"/>
                      <a:pt x="17" y="42"/>
                      <a:pt x="27" y="40"/>
                    </a:cubicBezTo>
                    <a:cubicBezTo>
                      <a:pt x="21" y="46"/>
                      <a:pt x="15" y="53"/>
                      <a:pt x="9" y="52"/>
                    </a:cubicBezTo>
                    <a:cubicBezTo>
                      <a:pt x="17" y="54"/>
                      <a:pt x="24" y="43"/>
                      <a:pt x="32" y="38"/>
                    </a:cubicBezTo>
                    <a:cubicBezTo>
                      <a:pt x="36" y="36"/>
                      <a:pt x="41" y="35"/>
                      <a:pt x="45" y="34"/>
                    </a:cubicBezTo>
                    <a:cubicBezTo>
                      <a:pt x="49" y="32"/>
                      <a:pt x="54" y="31"/>
                      <a:pt x="59" y="31"/>
                    </a:cubicBezTo>
                    <a:cubicBezTo>
                      <a:pt x="51" y="36"/>
                      <a:pt x="44" y="46"/>
                      <a:pt x="36" y="51"/>
                    </a:cubicBezTo>
                    <a:cubicBezTo>
                      <a:pt x="30" y="55"/>
                      <a:pt x="24" y="56"/>
                      <a:pt x="17" y="55"/>
                    </a:cubicBezTo>
                    <a:cubicBezTo>
                      <a:pt x="22" y="56"/>
                      <a:pt x="26" y="57"/>
                      <a:pt x="31" y="56"/>
                    </a:cubicBezTo>
                    <a:cubicBezTo>
                      <a:pt x="30" y="63"/>
                      <a:pt x="26" y="66"/>
                      <a:pt x="23" y="68"/>
                    </a:cubicBezTo>
                    <a:cubicBezTo>
                      <a:pt x="26" y="67"/>
                      <a:pt x="29" y="65"/>
                      <a:pt x="31" y="60"/>
                    </a:cubicBezTo>
                    <a:cubicBezTo>
                      <a:pt x="31" y="58"/>
                      <a:pt x="31" y="57"/>
                      <a:pt x="32" y="56"/>
                    </a:cubicBezTo>
                    <a:cubicBezTo>
                      <a:pt x="32" y="55"/>
                      <a:pt x="33" y="55"/>
                      <a:pt x="34" y="55"/>
                    </a:cubicBezTo>
                    <a:cubicBezTo>
                      <a:pt x="36" y="54"/>
                      <a:pt x="38" y="53"/>
                      <a:pt x="40" y="51"/>
                    </a:cubicBezTo>
                    <a:cubicBezTo>
                      <a:pt x="37" y="58"/>
                      <a:pt x="34" y="67"/>
                      <a:pt x="30" y="74"/>
                    </a:cubicBezTo>
                    <a:cubicBezTo>
                      <a:pt x="27" y="80"/>
                      <a:pt x="22" y="87"/>
                      <a:pt x="18" y="82"/>
                    </a:cubicBezTo>
                    <a:cubicBezTo>
                      <a:pt x="20" y="85"/>
                      <a:pt x="23" y="85"/>
                      <a:pt x="26" y="82"/>
                    </a:cubicBezTo>
                    <a:cubicBezTo>
                      <a:pt x="26" y="87"/>
                      <a:pt x="26" y="91"/>
                      <a:pt x="25" y="96"/>
                    </a:cubicBezTo>
                    <a:cubicBezTo>
                      <a:pt x="24" y="101"/>
                      <a:pt x="22" y="105"/>
                      <a:pt x="21" y="110"/>
                    </a:cubicBezTo>
                    <a:cubicBezTo>
                      <a:pt x="23" y="104"/>
                      <a:pt x="25" y="98"/>
                      <a:pt x="26" y="91"/>
                    </a:cubicBezTo>
                    <a:cubicBezTo>
                      <a:pt x="27" y="89"/>
                      <a:pt x="26" y="82"/>
                      <a:pt x="27" y="81"/>
                    </a:cubicBezTo>
                    <a:cubicBezTo>
                      <a:pt x="29" y="78"/>
                      <a:pt x="31" y="75"/>
                      <a:pt x="32" y="72"/>
                    </a:cubicBezTo>
                    <a:cubicBezTo>
                      <a:pt x="36" y="66"/>
                      <a:pt x="39" y="59"/>
                      <a:pt x="42" y="52"/>
                    </a:cubicBezTo>
                    <a:cubicBezTo>
                      <a:pt x="43" y="51"/>
                      <a:pt x="44" y="49"/>
                      <a:pt x="45" y="47"/>
                    </a:cubicBezTo>
                    <a:cubicBezTo>
                      <a:pt x="48" y="45"/>
                      <a:pt x="50" y="43"/>
                      <a:pt x="53" y="41"/>
                    </a:cubicBezTo>
                    <a:cubicBezTo>
                      <a:pt x="50" y="49"/>
                      <a:pt x="50" y="58"/>
                      <a:pt x="46" y="65"/>
                    </a:cubicBezTo>
                    <a:cubicBezTo>
                      <a:pt x="42" y="70"/>
                      <a:pt x="38" y="73"/>
                      <a:pt x="35" y="77"/>
                    </a:cubicBezTo>
                    <a:cubicBezTo>
                      <a:pt x="39" y="73"/>
                      <a:pt x="43" y="71"/>
                      <a:pt x="46" y="65"/>
                    </a:cubicBezTo>
                    <a:cubicBezTo>
                      <a:pt x="44" y="73"/>
                      <a:pt x="41" y="76"/>
                      <a:pt x="37" y="79"/>
                    </a:cubicBezTo>
                    <a:cubicBezTo>
                      <a:pt x="40" y="78"/>
                      <a:pt x="43" y="76"/>
                      <a:pt x="45" y="72"/>
                    </a:cubicBezTo>
                    <a:cubicBezTo>
                      <a:pt x="46" y="70"/>
                      <a:pt x="47" y="67"/>
                      <a:pt x="48" y="65"/>
                    </a:cubicBezTo>
                    <a:cubicBezTo>
                      <a:pt x="48" y="62"/>
                      <a:pt x="49" y="60"/>
                      <a:pt x="50" y="58"/>
                    </a:cubicBezTo>
                    <a:cubicBezTo>
                      <a:pt x="52" y="52"/>
                      <a:pt x="53" y="44"/>
                      <a:pt x="56" y="40"/>
                    </a:cubicBezTo>
                    <a:cubicBezTo>
                      <a:pt x="58" y="36"/>
                      <a:pt x="62" y="36"/>
                      <a:pt x="65" y="36"/>
                    </a:cubicBezTo>
                    <a:cubicBezTo>
                      <a:pt x="61" y="41"/>
                      <a:pt x="59" y="47"/>
                      <a:pt x="56" y="54"/>
                    </a:cubicBezTo>
                    <a:cubicBezTo>
                      <a:pt x="54" y="62"/>
                      <a:pt x="52" y="70"/>
                      <a:pt x="48" y="77"/>
                    </a:cubicBezTo>
                    <a:cubicBezTo>
                      <a:pt x="44" y="85"/>
                      <a:pt x="40" y="91"/>
                      <a:pt x="35" y="98"/>
                    </a:cubicBezTo>
                    <a:cubicBezTo>
                      <a:pt x="31" y="104"/>
                      <a:pt x="28" y="110"/>
                      <a:pt x="27" y="119"/>
                    </a:cubicBezTo>
                    <a:cubicBezTo>
                      <a:pt x="28" y="112"/>
                      <a:pt x="31" y="107"/>
                      <a:pt x="34" y="102"/>
                    </a:cubicBezTo>
                    <a:cubicBezTo>
                      <a:pt x="38" y="96"/>
                      <a:pt x="43" y="91"/>
                      <a:pt x="47" y="85"/>
                    </a:cubicBezTo>
                    <a:cubicBezTo>
                      <a:pt x="47" y="87"/>
                      <a:pt x="47" y="90"/>
                      <a:pt x="47" y="92"/>
                    </a:cubicBezTo>
                    <a:cubicBezTo>
                      <a:pt x="47" y="95"/>
                      <a:pt x="46" y="96"/>
                      <a:pt x="45" y="99"/>
                    </a:cubicBezTo>
                    <a:cubicBezTo>
                      <a:pt x="43" y="104"/>
                      <a:pt x="41" y="109"/>
                      <a:pt x="38" y="113"/>
                    </a:cubicBezTo>
                    <a:cubicBezTo>
                      <a:pt x="42" y="109"/>
                      <a:pt x="44" y="103"/>
                      <a:pt x="47" y="97"/>
                    </a:cubicBezTo>
                    <a:cubicBezTo>
                      <a:pt x="47" y="111"/>
                      <a:pt x="48" y="124"/>
                      <a:pt x="42" y="134"/>
                    </a:cubicBezTo>
                    <a:cubicBezTo>
                      <a:pt x="48" y="126"/>
                      <a:pt x="48" y="114"/>
                      <a:pt x="48" y="101"/>
                    </a:cubicBezTo>
                    <a:cubicBezTo>
                      <a:pt x="50" y="107"/>
                      <a:pt x="53" y="104"/>
                      <a:pt x="56" y="109"/>
                    </a:cubicBezTo>
                    <a:cubicBezTo>
                      <a:pt x="58" y="112"/>
                      <a:pt x="58" y="119"/>
                      <a:pt x="58" y="124"/>
                    </a:cubicBezTo>
                    <a:cubicBezTo>
                      <a:pt x="58" y="117"/>
                      <a:pt x="58" y="108"/>
                      <a:pt x="54" y="105"/>
                    </a:cubicBezTo>
                    <a:cubicBezTo>
                      <a:pt x="53" y="104"/>
                      <a:pt x="51" y="104"/>
                      <a:pt x="49" y="101"/>
                    </a:cubicBezTo>
                    <a:cubicBezTo>
                      <a:pt x="48" y="98"/>
                      <a:pt x="48" y="94"/>
                      <a:pt x="48" y="90"/>
                    </a:cubicBezTo>
                    <a:cubicBezTo>
                      <a:pt x="48" y="87"/>
                      <a:pt x="49" y="84"/>
                      <a:pt x="50" y="81"/>
                    </a:cubicBezTo>
                    <a:cubicBezTo>
                      <a:pt x="51" y="77"/>
                      <a:pt x="52" y="75"/>
                      <a:pt x="54" y="72"/>
                    </a:cubicBezTo>
                    <a:cubicBezTo>
                      <a:pt x="56" y="67"/>
                      <a:pt x="57" y="61"/>
                      <a:pt x="59" y="56"/>
                    </a:cubicBezTo>
                    <a:cubicBezTo>
                      <a:pt x="61" y="50"/>
                      <a:pt x="64" y="45"/>
                      <a:pt x="67" y="42"/>
                    </a:cubicBezTo>
                    <a:cubicBezTo>
                      <a:pt x="71" y="37"/>
                      <a:pt x="75" y="34"/>
                      <a:pt x="79" y="31"/>
                    </a:cubicBezTo>
                    <a:cubicBezTo>
                      <a:pt x="81" y="30"/>
                      <a:pt x="82" y="29"/>
                      <a:pt x="84" y="28"/>
                    </a:cubicBezTo>
                    <a:cubicBezTo>
                      <a:pt x="84" y="30"/>
                      <a:pt x="84" y="30"/>
                      <a:pt x="83" y="32"/>
                    </a:cubicBezTo>
                    <a:cubicBezTo>
                      <a:pt x="83" y="32"/>
                      <a:pt x="83" y="32"/>
                      <a:pt x="83" y="32"/>
                    </a:cubicBezTo>
                    <a:cubicBezTo>
                      <a:pt x="82" y="33"/>
                      <a:pt x="81" y="34"/>
                      <a:pt x="80" y="35"/>
                    </a:cubicBezTo>
                    <a:cubicBezTo>
                      <a:pt x="79" y="36"/>
                      <a:pt x="79" y="37"/>
                      <a:pt x="78" y="37"/>
                    </a:cubicBezTo>
                    <a:cubicBezTo>
                      <a:pt x="77" y="38"/>
                      <a:pt x="76" y="40"/>
                      <a:pt x="76" y="41"/>
                    </a:cubicBezTo>
                    <a:cubicBezTo>
                      <a:pt x="75" y="41"/>
                      <a:pt x="75" y="41"/>
                      <a:pt x="75" y="41"/>
                    </a:cubicBezTo>
                    <a:cubicBezTo>
                      <a:pt x="75" y="42"/>
                      <a:pt x="75" y="43"/>
                      <a:pt x="74" y="43"/>
                    </a:cubicBezTo>
                    <a:cubicBezTo>
                      <a:pt x="73" y="45"/>
                      <a:pt x="72" y="48"/>
                      <a:pt x="71" y="50"/>
                    </a:cubicBezTo>
                    <a:cubicBezTo>
                      <a:pt x="68" y="59"/>
                      <a:pt x="67" y="71"/>
                      <a:pt x="68" y="79"/>
                    </a:cubicBezTo>
                    <a:cubicBezTo>
                      <a:pt x="67" y="71"/>
                      <a:pt x="69" y="61"/>
                      <a:pt x="72" y="53"/>
                    </a:cubicBezTo>
                    <a:cubicBezTo>
                      <a:pt x="73" y="50"/>
                      <a:pt x="74" y="47"/>
                      <a:pt x="75" y="44"/>
                    </a:cubicBezTo>
                    <a:cubicBezTo>
                      <a:pt x="75" y="48"/>
                      <a:pt x="75" y="52"/>
                      <a:pt x="75" y="56"/>
                    </a:cubicBezTo>
                    <a:cubicBezTo>
                      <a:pt x="75" y="62"/>
                      <a:pt x="75" y="68"/>
                      <a:pt x="75" y="74"/>
                    </a:cubicBezTo>
                    <a:cubicBezTo>
                      <a:pt x="73" y="85"/>
                      <a:pt x="69" y="91"/>
                      <a:pt x="64" y="97"/>
                    </a:cubicBezTo>
                    <a:cubicBezTo>
                      <a:pt x="66" y="94"/>
                      <a:pt x="69" y="91"/>
                      <a:pt x="71" y="87"/>
                    </a:cubicBezTo>
                    <a:cubicBezTo>
                      <a:pt x="74" y="81"/>
                      <a:pt x="75" y="74"/>
                      <a:pt x="75" y="67"/>
                    </a:cubicBezTo>
                    <a:cubicBezTo>
                      <a:pt x="75" y="67"/>
                      <a:pt x="75" y="67"/>
                      <a:pt x="75" y="67"/>
                    </a:cubicBezTo>
                    <a:cubicBezTo>
                      <a:pt x="75" y="67"/>
                      <a:pt x="75" y="67"/>
                      <a:pt x="75" y="67"/>
                    </a:cubicBezTo>
                    <a:cubicBezTo>
                      <a:pt x="75" y="67"/>
                      <a:pt x="76" y="67"/>
                      <a:pt x="76" y="67"/>
                    </a:cubicBezTo>
                    <a:cubicBezTo>
                      <a:pt x="76" y="60"/>
                      <a:pt x="76" y="53"/>
                      <a:pt x="77" y="46"/>
                    </a:cubicBezTo>
                    <a:cubicBezTo>
                      <a:pt x="77" y="44"/>
                      <a:pt x="77" y="43"/>
                      <a:pt x="78" y="41"/>
                    </a:cubicBezTo>
                    <a:cubicBezTo>
                      <a:pt x="79" y="39"/>
                      <a:pt x="81" y="37"/>
                      <a:pt x="83" y="35"/>
                    </a:cubicBezTo>
                    <a:cubicBezTo>
                      <a:pt x="83" y="35"/>
                      <a:pt x="83" y="36"/>
                      <a:pt x="83" y="36"/>
                    </a:cubicBezTo>
                    <a:cubicBezTo>
                      <a:pt x="83" y="39"/>
                      <a:pt x="83" y="39"/>
                      <a:pt x="82" y="42"/>
                    </a:cubicBezTo>
                    <a:cubicBezTo>
                      <a:pt x="81" y="45"/>
                      <a:pt x="81" y="49"/>
                      <a:pt x="80" y="52"/>
                    </a:cubicBezTo>
                    <a:cubicBezTo>
                      <a:pt x="79" y="56"/>
                      <a:pt x="78" y="61"/>
                      <a:pt x="78" y="65"/>
                    </a:cubicBezTo>
                    <a:cubicBezTo>
                      <a:pt x="77" y="66"/>
                      <a:pt x="77" y="67"/>
                      <a:pt x="76" y="67"/>
                    </a:cubicBezTo>
                    <a:cubicBezTo>
                      <a:pt x="76" y="67"/>
                      <a:pt x="76" y="67"/>
                      <a:pt x="76" y="67"/>
                    </a:cubicBezTo>
                    <a:cubicBezTo>
                      <a:pt x="76" y="67"/>
                      <a:pt x="76" y="67"/>
                      <a:pt x="76" y="67"/>
                    </a:cubicBezTo>
                    <a:cubicBezTo>
                      <a:pt x="77" y="67"/>
                      <a:pt x="77" y="66"/>
                      <a:pt x="78" y="66"/>
                    </a:cubicBezTo>
                    <a:cubicBezTo>
                      <a:pt x="77" y="70"/>
                      <a:pt x="78" y="73"/>
                      <a:pt x="79" y="76"/>
                    </a:cubicBezTo>
                    <a:cubicBezTo>
                      <a:pt x="79" y="76"/>
                      <a:pt x="79" y="76"/>
                      <a:pt x="79" y="76"/>
                    </a:cubicBezTo>
                    <a:cubicBezTo>
                      <a:pt x="79" y="76"/>
                      <a:pt x="79" y="76"/>
                      <a:pt x="79" y="75"/>
                    </a:cubicBezTo>
                    <a:cubicBezTo>
                      <a:pt x="78" y="73"/>
                      <a:pt x="78" y="69"/>
                      <a:pt x="78" y="65"/>
                    </a:cubicBezTo>
                    <a:cubicBezTo>
                      <a:pt x="81" y="61"/>
                      <a:pt x="83" y="51"/>
                      <a:pt x="84" y="44"/>
                    </a:cubicBezTo>
                    <a:cubicBezTo>
                      <a:pt x="84" y="44"/>
                      <a:pt x="84" y="44"/>
                      <a:pt x="84" y="43"/>
                    </a:cubicBezTo>
                    <a:cubicBezTo>
                      <a:pt x="85" y="41"/>
                      <a:pt x="85" y="38"/>
                      <a:pt x="85" y="35"/>
                    </a:cubicBezTo>
                    <a:cubicBezTo>
                      <a:pt x="85" y="32"/>
                      <a:pt x="85" y="30"/>
                      <a:pt x="85" y="27"/>
                    </a:cubicBezTo>
                    <a:cubicBezTo>
                      <a:pt x="87" y="25"/>
                      <a:pt x="89" y="23"/>
                      <a:pt x="92" y="21"/>
                    </a:cubicBezTo>
                    <a:cubicBezTo>
                      <a:pt x="92" y="21"/>
                      <a:pt x="92" y="21"/>
                      <a:pt x="93" y="21"/>
                    </a:cubicBezTo>
                    <a:cubicBezTo>
                      <a:pt x="92" y="24"/>
                      <a:pt x="91" y="26"/>
                      <a:pt x="90" y="28"/>
                    </a:cubicBezTo>
                    <a:cubicBezTo>
                      <a:pt x="88" y="33"/>
                      <a:pt x="87" y="38"/>
                      <a:pt x="87" y="43"/>
                    </a:cubicBezTo>
                    <a:cubicBezTo>
                      <a:pt x="87" y="44"/>
                      <a:pt x="87" y="44"/>
                      <a:pt x="87" y="44"/>
                    </a:cubicBezTo>
                    <a:cubicBezTo>
                      <a:pt x="87" y="44"/>
                      <a:pt x="87" y="44"/>
                      <a:pt x="87" y="44"/>
                    </a:cubicBezTo>
                    <a:cubicBezTo>
                      <a:pt x="87" y="45"/>
                      <a:pt x="87" y="47"/>
                      <a:pt x="87" y="48"/>
                    </a:cubicBezTo>
                    <a:cubicBezTo>
                      <a:pt x="88" y="53"/>
                      <a:pt x="90" y="56"/>
                      <a:pt x="91" y="60"/>
                    </a:cubicBezTo>
                    <a:cubicBezTo>
                      <a:pt x="89" y="53"/>
                      <a:pt x="86" y="45"/>
                      <a:pt x="89" y="35"/>
                    </a:cubicBezTo>
                    <a:cubicBezTo>
                      <a:pt x="91" y="30"/>
                      <a:pt x="93" y="25"/>
                      <a:pt x="95" y="20"/>
                    </a:cubicBezTo>
                    <a:cubicBezTo>
                      <a:pt x="95" y="20"/>
                      <a:pt x="95" y="20"/>
                      <a:pt x="96" y="20"/>
                    </a:cubicBezTo>
                    <a:cubicBezTo>
                      <a:pt x="97" y="24"/>
                      <a:pt x="97" y="28"/>
                      <a:pt x="96" y="33"/>
                    </a:cubicBezTo>
                    <a:cubicBezTo>
                      <a:pt x="96" y="41"/>
                      <a:pt x="94" y="51"/>
                      <a:pt x="91" y="58"/>
                    </a:cubicBezTo>
                    <a:cubicBezTo>
                      <a:pt x="96" y="48"/>
                      <a:pt x="99" y="30"/>
                      <a:pt x="97" y="20"/>
                    </a:cubicBezTo>
                    <a:cubicBezTo>
                      <a:pt x="97" y="20"/>
                      <a:pt x="97" y="20"/>
                      <a:pt x="97" y="19"/>
                    </a:cubicBezTo>
                    <a:cubicBezTo>
                      <a:pt x="98" y="19"/>
                      <a:pt x="100" y="19"/>
                      <a:pt x="101" y="18"/>
                    </a:cubicBezTo>
                    <a:cubicBezTo>
                      <a:pt x="101" y="18"/>
                      <a:pt x="101" y="18"/>
                      <a:pt x="101" y="18"/>
                    </a:cubicBezTo>
                    <a:cubicBezTo>
                      <a:pt x="101" y="23"/>
                      <a:pt x="102" y="28"/>
                      <a:pt x="103" y="32"/>
                    </a:cubicBezTo>
                    <a:cubicBezTo>
                      <a:pt x="103" y="35"/>
                      <a:pt x="104" y="39"/>
                      <a:pt x="104" y="42"/>
                    </a:cubicBezTo>
                    <a:cubicBezTo>
                      <a:pt x="104" y="44"/>
                      <a:pt x="104" y="46"/>
                      <a:pt x="103" y="48"/>
                    </a:cubicBezTo>
                    <a:cubicBezTo>
                      <a:pt x="102" y="53"/>
                      <a:pt x="101" y="58"/>
                      <a:pt x="100" y="62"/>
                    </a:cubicBezTo>
                    <a:cubicBezTo>
                      <a:pt x="99" y="62"/>
                      <a:pt x="99" y="61"/>
                      <a:pt x="99" y="60"/>
                    </a:cubicBezTo>
                    <a:cubicBezTo>
                      <a:pt x="99" y="60"/>
                      <a:pt x="98" y="61"/>
                      <a:pt x="98" y="61"/>
                    </a:cubicBezTo>
                    <a:cubicBezTo>
                      <a:pt x="99" y="64"/>
                      <a:pt x="100" y="67"/>
                      <a:pt x="101" y="70"/>
                    </a:cubicBezTo>
                    <a:cubicBezTo>
                      <a:pt x="101" y="70"/>
                      <a:pt x="101" y="70"/>
                      <a:pt x="101" y="70"/>
                    </a:cubicBezTo>
                    <a:cubicBezTo>
                      <a:pt x="100" y="67"/>
                      <a:pt x="101" y="67"/>
                      <a:pt x="102" y="64"/>
                    </a:cubicBezTo>
                    <a:cubicBezTo>
                      <a:pt x="103" y="60"/>
                      <a:pt x="104" y="57"/>
                      <a:pt x="105" y="53"/>
                    </a:cubicBezTo>
                    <a:cubicBezTo>
                      <a:pt x="106" y="60"/>
                      <a:pt x="106" y="67"/>
                      <a:pt x="106" y="75"/>
                    </a:cubicBezTo>
                    <a:cubicBezTo>
                      <a:pt x="106" y="77"/>
                      <a:pt x="105" y="79"/>
                      <a:pt x="105" y="81"/>
                    </a:cubicBezTo>
                    <a:cubicBezTo>
                      <a:pt x="106" y="82"/>
                      <a:pt x="106" y="82"/>
                      <a:pt x="106" y="83"/>
                    </a:cubicBezTo>
                    <a:cubicBezTo>
                      <a:pt x="107" y="78"/>
                      <a:pt x="108" y="74"/>
                      <a:pt x="108" y="69"/>
                    </a:cubicBezTo>
                    <a:cubicBezTo>
                      <a:pt x="110" y="81"/>
                      <a:pt x="113" y="92"/>
                      <a:pt x="117" y="101"/>
                    </a:cubicBezTo>
                    <a:cubicBezTo>
                      <a:pt x="121" y="109"/>
                      <a:pt x="125" y="114"/>
                      <a:pt x="130" y="118"/>
                    </a:cubicBezTo>
                    <a:cubicBezTo>
                      <a:pt x="126" y="114"/>
                      <a:pt x="122" y="108"/>
                      <a:pt x="118" y="101"/>
                    </a:cubicBezTo>
                    <a:cubicBezTo>
                      <a:pt x="115" y="92"/>
                      <a:pt x="112" y="81"/>
                      <a:pt x="111" y="70"/>
                    </a:cubicBezTo>
                    <a:cubicBezTo>
                      <a:pt x="108" y="53"/>
                      <a:pt x="107" y="35"/>
                      <a:pt x="105" y="17"/>
                    </a:cubicBezTo>
                    <a:cubicBezTo>
                      <a:pt x="105" y="17"/>
                      <a:pt x="106" y="18"/>
                      <a:pt x="106" y="18"/>
                    </a:cubicBezTo>
                    <a:cubicBezTo>
                      <a:pt x="108" y="20"/>
                      <a:pt x="111" y="22"/>
                      <a:pt x="113" y="23"/>
                    </a:cubicBezTo>
                    <a:cubicBezTo>
                      <a:pt x="114" y="24"/>
                      <a:pt x="115" y="25"/>
                      <a:pt x="116" y="25"/>
                    </a:cubicBezTo>
                    <a:cubicBezTo>
                      <a:pt x="117" y="26"/>
                      <a:pt x="117" y="28"/>
                      <a:pt x="117" y="30"/>
                    </a:cubicBezTo>
                    <a:cubicBezTo>
                      <a:pt x="117" y="33"/>
                      <a:pt x="116" y="37"/>
                      <a:pt x="116" y="40"/>
                    </a:cubicBezTo>
                    <a:cubicBezTo>
                      <a:pt x="114" y="54"/>
                      <a:pt x="121" y="63"/>
                      <a:pt x="123" y="75"/>
                    </a:cubicBezTo>
                    <a:cubicBezTo>
                      <a:pt x="122" y="67"/>
                      <a:pt x="119" y="61"/>
                      <a:pt x="117" y="54"/>
                    </a:cubicBezTo>
                    <a:cubicBezTo>
                      <a:pt x="116" y="49"/>
                      <a:pt x="116" y="45"/>
                      <a:pt x="117" y="41"/>
                    </a:cubicBezTo>
                    <a:cubicBezTo>
                      <a:pt x="117" y="37"/>
                      <a:pt x="119" y="33"/>
                      <a:pt x="118" y="28"/>
                    </a:cubicBezTo>
                    <a:cubicBezTo>
                      <a:pt x="124" y="39"/>
                      <a:pt x="127" y="54"/>
                      <a:pt x="134" y="64"/>
                    </a:cubicBezTo>
                    <a:cubicBezTo>
                      <a:pt x="128" y="54"/>
                      <a:pt x="126" y="41"/>
                      <a:pt x="121" y="30"/>
                    </a:cubicBezTo>
                    <a:cubicBezTo>
                      <a:pt x="122" y="30"/>
                      <a:pt x="122" y="30"/>
                      <a:pt x="123" y="30"/>
                    </a:cubicBezTo>
                    <a:cubicBezTo>
                      <a:pt x="123" y="31"/>
                      <a:pt x="124" y="32"/>
                      <a:pt x="125" y="34"/>
                    </a:cubicBezTo>
                    <a:cubicBezTo>
                      <a:pt x="128" y="37"/>
                      <a:pt x="131" y="42"/>
                      <a:pt x="133" y="48"/>
                    </a:cubicBezTo>
                    <a:cubicBezTo>
                      <a:pt x="135" y="53"/>
                      <a:pt x="137" y="59"/>
                      <a:pt x="139" y="64"/>
                    </a:cubicBezTo>
                    <a:cubicBezTo>
                      <a:pt x="140" y="67"/>
                      <a:pt x="142" y="69"/>
                      <a:pt x="143" y="73"/>
                    </a:cubicBezTo>
                    <a:cubicBezTo>
                      <a:pt x="144" y="76"/>
                      <a:pt x="144" y="79"/>
                      <a:pt x="144" y="82"/>
                    </a:cubicBezTo>
                    <a:cubicBezTo>
                      <a:pt x="144" y="86"/>
                      <a:pt x="144" y="90"/>
                      <a:pt x="143" y="93"/>
                    </a:cubicBezTo>
                    <a:cubicBezTo>
                      <a:pt x="142" y="96"/>
                      <a:pt x="140" y="96"/>
                      <a:pt x="138" y="97"/>
                    </a:cubicBezTo>
                    <a:cubicBezTo>
                      <a:pt x="134" y="100"/>
                      <a:pt x="134" y="109"/>
                      <a:pt x="134" y="116"/>
                    </a:cubicBezTo>
                    <a:cubicBezTo>
                      <a:pt x="134" y="111"/>
                      <a:pt x="135" y="104"/>
                      <a:pt x="137" y="101"/>
                    </a:cubicBezTo>
                    <a:cubicBezTo>
                      <a:pt x="139" y="96"/>
                      <a:pt x="142" y="99"/>
                      <a:pt x="144" y="93"/>
                    </a:cubicBezTo>
                    <a:cubicBezTo>
                      <a:pt x="144" y="106"/>
                      <a:pt x="145" y="118"/>
                      <a:pt x="150" y="126"/>
                    </a:cubicBezTo>
                    <a:cubicBezTo>
                      <a:pt x="144" y="116"/>
                      <a:pt x="145" y="103"/>
                      <a:pt x="146" y="89"/>
                    </a:cubicBezTo>
                    <a:cubicBezTo>
                      <a:pt x="148" y="95"/>
                      <a:pt x="151" y="101"/>
                      <a:pt x="154" y="105"/>
                    </a:cubicBezTo>
                    <a:cubicBezTo>
                      <a:pt x="151" y="101"/>
                      <a:pt x="149" y="96"/>
                      <a:pt x="147" y="91"/>
                    </a:cubicBezTo>
                    <a:cubicBezTo>
                      <a:pt x="146" y="88"/>
                      <a:pt x="146" y="87"/>
                      <a:pt x="146" y="84"/>
                    </a:cubicBezTo>
                    <a:cubicBezTo>
                      <a:pt x="146" y="82"/>
                      <a:pt x="146" y="79"/>
                      <a:pt x="145" y="77"/>
                    </a:cubicBezTo>
                    <a:cubicBezTo>
                      <a:pt x="150" y="83"/>
                      <a:pt x="154" y="88"/>
                      <a:pt x="159" y="94"/>
                    </a:cubicBezTo>
                    <a:cubicBezTo>
                      <a:pt x="162" y="99"/>
                      <a:pt x="164" y="104"/>
                      <a:pt x="165" y="111"/>
                    </a:cubicBezTo>
                    <a:cubicBezTo>
                      <a:pt x="164" y="102"/>
                      <a:pt x="161" y="96"/>
                      <a:pt x="157" y="90"/>
                    </a:cubicBezTo>
                    <a:cubicBezTo>
                      <a:pt x="153" y="83"/>
                      <a:pt x="148" y="77"/>
                      <a:pt x="144" y="69"/>
                    </a:cubicBezTo>
                    <a:cubicBezTo>
                      <a:pt x="141" y="62"/>
                      <a:pt x="139" y="54"/>
                      <a:pt x="136" y="46"/>
                    </a:cubicBezTo>
                    <a:cubicBezTo>
                      <a:pt x="134" y="40"/>
                      <a:pt x="132" y="35"/>
                      <a:pt x="129" y="30"/>
                    </a:cubicBezTo>
                    <a:cubicBezTo>
                      <a:pt x="130" y="30"/>
                      <a:pt x="131" y="30"/>
                      <a:pt x="132" y="31"/>
                    </a:cubicBezTo>
                    <a:cubicBezTo>
                      <a:pt x="135" y="33"/>
                      <a:pt x="136" y="38"/>
                      <a:pt x="137" y="41"/>
                    </a:cubicBezTo>
                    <a:cubicBezTo>
                      <a:pt x="139" y="44"/>
                      <a:pt x="140" y="46"/>
                      <a:pt x="141" y="48"/>
                    </a:cubicBezTo>
                    <a:cubicBezTo>
                      <a:pt x="139" y="44"/>
                      <a:pt x="137" y="40"/>
                      <a:pt x="136" y="36"/>
                    </a:cubicBezTo>
                    <a:cubicBezTo>
                      <a:pt x="134" y="30"/>
                      <a:pt x="132" y="27"/>
                      <a:pt x="128" y="28"/>
                    </a:cubicBezTo>
                    <a:cubicBezTo>
                      <a:pt x="128" y="28"/>
                      <a:pt x="128" y="28"/>
                      <a:pt x="128" y="28"/>
                    </a:cubicBezTo>
                    <a:cubicBezTo>
                      <a:pt x="128" y="28"/>
                      <a:pt x="128" y="28"/>
                      <a:pt x="128" y="28"/>
                    </a:cubicBezTo>
                    <a:cubicBezTo>
                      <a:pt x="130" y="28"/>
                      <a:pt x="134" y="28"/>
                      <a:pt x="136" y="32"/>
                    </a:cubicBezTo>
                    <a:cubicBezTo>
                      <a:pt x="139" y="36"/>
                      <a:pt x="140" y="44"/>
                      <a:pt x="142" y="50"/>
                    </a:cubicBezTo>
                    <a:cubicBezTo>
                      <a:pt x="143" y="52"/>
                      <a:pt x="144" y="54"/>
                      <a:pt x="145" y="57"/>
                    </a:cubicBezTo>
                    <a:cubicBezTo>
                      <a:pt x="145" y="59"/>
                      <a:pt x="146" y="62"/>
                      <a:pt x="147" y="64"/>
                    </a:cubicBezTo>
                    <a:cubicBezTo>
                      <a:pt x="149" y="68"/>
                      <a:pt x="152" y="70"/>
                      <a:pt x="155" y="71"/>
                    </a:cubicBezTo>
                    <a:cubicBezTo>
                      <a:pt x="151" y="68"/>
                      <a:pt x="148" y="65"/>
                      <a:pt x="146" y="57"/>
                    </a:cubicBezTo>
                    <a:cubicBezTo>
                      <a:pt x="150" y="63"/>
                      <a:pt x="154" y="65"/>
                      <a:pt x="158" y="69"/>
                    </a:cubicBezTo>
                    <a:cubicBezTo>
                      <a:pt x="154" y="65"/>
                      <a:pt x="150" y="62"/>
                      <a:pt x="147" y="57"/>
                    </a:cubicBezTo>
                    <a:cubicBezTo>
                      <a:pt x="143" y="50"/>
                      <a:pt x="142" y="41"/>
                      <a:pt x="139" y="33"/>
                    </a:cubicBezTo>
                    <a:cubicBezTo>
                      <a:pt x="142" y="35"/>
                      <a:pt x="144" y="37"/>
                      <a:pt x="147" y="39"/>
                    </a:cubicBezTo>
                    <a:cubicBezTo>
                      <a:pt x="148" y="41"/>
                      <a:pt x="149" y="43"/>
                      <a:pt x="150" y="44"/>
                    </a:cubicBezTo>
                    <a:cubicBezTo>
                      <a:pt x="153" y="51"/>
                      <a:pt x="157" y="58"/>
                      <a:pt x="160" y="64"/>
                    </a:cubicBezTo>
                    <a:cubicBezTo>
                      <a:pt x="162" y="67"/>
                      <a:pt x="164" y="70"/>
                      <a:pt x="165" y="73"/>
                    </a:cubicBezTo>
                    <a:cubicBezTo>
                      <a:pt x="166" y="74"/>
                      <a:pt x="166" y="81"/>
                      <a:pt x="166" y="83"/>
                    </a:cubicBezTo>
                    <a:cubicBezTo>
                      <a:pt x="167" y="90"/>
                      <a:pt x="170" y="96"/>
                      <a:pt x="171" y="102"/>
                    </a:cubicBezTo>
                    <a:cubicBezTo>
                      <a:pt x="170" y="97"/>
                      <a:pt x="169" y="93"/>
                      <a:pt x="168" y="88"/>
                    </a:cubicBezTo>
                    <a:cubicBezTo>
                      <a:pt x="166" y="83"/>
                      <a:pt x="167" y="79"/>
                      <a:pt x="167" y="74"/>
                    </a:cubicBezTo>
                    <a:cubicBezTo>
                      <a:pt x="169" y="77"/>
                      <a:pt x="172" y="77"/>
                      <a:pt x="175" y="74"/>
                    </a:cubicBezTo>
                    <a:cubicBezTo>
                      <a:pt x="170" y="79"/>
                      <a:pt x="166" y="72"/>
                      <a:pt x="162" y="66"/>
                    </a:cubicBezTo>
                    <a:cubicBezTo>
                      <a:pt x="159" y="59"/>
                      <a:pt x="156" y="50"/>
                      <a:pt x="152" y="43"/>
                    </a:cubicBezTo>
                    <a:cubicBezTo>
                      <a:pt x="154" y="45"/>
                      <a:pt x="156" y="46"/>
                      <a:pt x="158" y="47"/>
                    </a:cubicBezTo>
                    <a:cubicBezTo>
                      <a:pt x="159" y="47"/>
                      <a:pt x="160" y="47"/>
                      <a:pt x="161" y="48"/>
                    </a:cubicBezTo>
                    <a:cubicBezTo>
                      <a:pt x="161" y="49"/>
                      <a:pt x="161" y="50"/>
                      <a:pt x="162" y="52"/>
                    </a:cubicBezTo>
                    <a:cubicBezTo>
                      <a:pt x="164" y="57"/>
                      <a:pt x="167" y="59"/>
                      <a:pt x="170" y="60"/>
                    </a:cubicBezTo>
                    <a:cubicBezTo>
                      <a:pt x="167" y="58"/>
                      <a:pt x="163" y="55"/>
                      <a:pt x="162" y="48"/>
                    </a:cubicBezTo>
                    <a:cubicBezTo>
                      <a:pt x="166" y="49"/>
                      <a:pt x="170" y="48"/>
                      <a:pt x="175" y="47"/>
                    </a:cubicBezTo>
                    <a:cubicBezTo>
                      <a:pt x="168" y="48"/>
                      <a:pt x="162" y="47"/>
                      <a:pt x="156" y="43"/>
                    </a:cubicBezTo>
                    <a:cubicBezTo>
                      <a:pt x="148" y="38"/>
                      <a:pt x="142" y="28"/>
                      <a:pt x="134" y="23"/>
                    </a:cubicBezTo>
                    <a:cubicBezTo>
                      <a:pt x="138" y="23"/>
                      <a:pt x="143" y="24"/>
                      <a:pt x="147" y="26"/>
                    </a:cubicBezTo>
                    <a:cubicBezTo>
                      <a:pt x="152" y="27"/>
                      <a:pt x="156" y="28"/>
                      <a:pt x="160" y="30"/>
                    </a:cubicBezTo>
                    <a:cubicBezTo>
                      <a:pt x="168" y="35"/>
                      <a:pt x="175" y="46"/>
                      <a:pt x="184" y="44"/>
                    </a:cubicBezTo>
                    <a:cubicBezTo>
                      <a:pt x="177" y="45"/>
                      <a:pt x="172" y="38"/>
                      <a:pt x="166" y="32"/>
                    </a:cubicBezTo>
                    <a:close/>
                    <a:moveTo>
                      <a:pt x="78" y="65"/>
                    </a:moveTo>
                    <a:cubicBezTo>
                      <a:pt x="79" y="57"/>
                      <a:pt x="81" y="49"/>
                      <a:pt x="83" y="43"/>
                    </a:cubicBezTo>
                    <a:cubicBezTo>
                      <a:pt x="83" y="51"/>
                      <a:pt x="81" y="60"/>
                      <a:pt x="78" y="65"/>
                    </a:cubicBezTo>
                    <a:close/>
                  </a:path>
                </a:pathLst>
              </a:custGeom>
              <a:solidFill>
                <a:schemeClr val="tx1">
                  <a:lumMod val="65000"/>
                  <a:lumOff val="3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grpSp>
      </p:grpSp>
      <p:grpSp>
        <p:nvGrpSpPr>
          <p:cNvPr id="26" name="Group 88">
            <a:extLst>
              <a:ext uri="{FF2B5EF4-FFF2-40B4-BE49-F238E27FC236}">
                <a16:creationId xmlns:a16="http://schemas.microsoft.com/office/drawing/2014/main" id="{1EFAF350-030E-4BA4-BA88-8EC7AE12A716}"/>
              </a:ext>
            </a:extLst>
          </p:cNvPr>
          <p:cNvGrpSpPr/>
          <p:nvPr/>
        </p:nvGrpSpPr>
        <p:grpSpPr>
          <a:xfrm>
            <a:off x="926447" y="4336168"/>
            <a:ext cx="2116848" cy="1622309"/>
            <a:chOff x="6933664" y="1075295"/>
            <a:chExt cx="2116848" cy="1622309"/>
          </a:xfrm>
        </p:grpSpPr>
        <p:sp>
          <p:nvSpPr>
            <p:cNvPr id="27" name="Rectangle 89">
              <a:extLst>
                <a:ext uri="{FF2B5EF4-FFF2-40B4-BE49-F238E27FC236}">
                  <a16:creationId xmlns:a16="http://schemas.microsoft.com/office/drawing/2014/main" id="{341E703C-6D19-4AD0-8788-2C02B21304A9}"/>
                </a:ext>
              </a:extLst>
            </p:cNvPr>
            <p:cNvSpPr/>
            <p:nvPr/>
          </p:nvSpPr>
          <p:spPr>
            <a:xfrm>
              <a:off x="6933664" y="1794215"/>
              <a:ext cx="2116848" cy="903389"/>
            </a:xfrm>
            <a:prstGeom prst="rect">
              <a:avLst/>
            </a:prstGeom>
          </p:spPr>
          <p:txBody>
            <a:bodyPr wrap="square">
              <a:spAutoFit/>
            </a:bodyPr>
            <a:lstStyle/>
            <a:p>
              <a:pPr marL="0" marR="0" lvl="0" indent="0" algn="ctr" defTabSz="914400" rtl="0" eaLnBrk="1" fontAlgn="auto" latinLnBrk="0" hangingPunct="1">
                <a:lnSpc>
                  <a:spcPct val="13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lumMod val="50000"/>
                      <a:lumOff val="50000"/>
                    </a:srgbClr>
                  </a:solidFill>
                  <a:effectLst/>
                  <a:uLnTx/>
                  <a:uFillTx/>
                  <a:latin typeface="等线" panose="020F0502020204030204"/>
                  <a:ea typeface="Open Sans Light" panose="020B0306030504020204" pitchFamily="34" charset="0"/>
                  <a:cs typeface="Segoe UI" panose="020B0502040204020203" pitchFamily="34" charset="0"/>
                </a:rPr>
                <a:t>Their pronunciation and their most common words. </a:t>
              </a:r>
            </a:p>
          </p:txBody>
        </p:sp>
        <p:sp>
          <p:nvSpPr>
            <p:cNvPr id="28" name="Rectangle 90">
              <a:extLst>
                <a:ext uri="{FF2B5EF4-FFF2-40B4-BE49-F238E27FC236}">
                  <a16:creationId xmlns:a16="http://schemas.microsoft.com/office/drawing/2014/main" id="{C8B03C91-7C04-4C12-B8CC-1B96C07357A6}"/>
                </a:ext>
              </a:extLst>
            </p:cNvPr>
            <p:cNvSpPr/>
            <p:nvPr/>
          </p:nvSpPr>
          <p:spPr>
            <a:xfrm>
              <a:off x="7036623" y="1075295"/>
              <a:ext cx="1910928" cy="737574"/>
            </a:xfrm>
            <a:prstGeom prst="rect">
              <a:avLst/>
            </a:prstGeom>
          </p:spPr>
          <p:txBody>
            <a:bodyPr wrap="square">
              <a:spAutoFit/>
            </a:bodyPr>
            <a:lstStyle/>
            <a:p>
              <a:pPr marL="0" marR="0" lvl="0" indent="0" algn="ctr" defTabSz="914400" rtl="0" eaLnBrk="1" fontAlgn="auto" latinLnBrk="0" hangingPunct="1">
                <a:lnSpc>
                  <a:spcPct val="130000"/>
                </a:lnSpc>
                <a:spcBef>
                  <a:spcPts val="0"/>
                </a:spcBef>
                <a:spcAft>
                  <a:spcPts val="0"/>
                </a:spcAft>
                <a:buClrTx/>
                <a:buSzTx/>
                <a:buFontTx/>
                <a:buNone/>
                <a:tabLst/>
                <a:defRPr/>
              </a:pPr>
              <a:r>
                <a:rPr kumimoji="0" lang="en-US" sz="3600" b="1" i="0" u="none" strike="noStrike" kern="1200" cap="none" spc="0" normalizeH="0" baseline="0" noProof="0" dirty="0">
                  <a:ln>
                    <a:noFill/>
                  </a:ln>
                  <a:solidFill>
                    <a:srgbClr val="FFD229"/>
                  </a:solidFill>
                  <a:effectLst/>
                  <a:uLnTx/>
                  <a:uFillTx/>
                  <a:latin typeface="等线 Light" panose="020F0302020204030204"/>
                  <a:ea typeface="Open Sans Light" panose="020B0306030504020204" pitchFamily="34" charset="0"/>
                  <a:cs typeface="Poppins" panose="02000000000000000000" pitchFamily="2" charset="0"/>
                </a:rPr>
                <a:t>221K</a:t>
              </a:r>
              <a:endParaRPr kumimoji="0" lang="en-US" sz="3600" b="1" i="0" u="none" strike="noStrike" kern="1200" cap="none" spc="0" normalizeH="0" baseline="30000" noProof="0" dirty="0">
                <a:ln>
                  <a:noFill/>
                </a:ln>
                <a:solidFill>
                  <a:srgbClr val="FFD229"/>
                </a:solidFill>
                <a:effectLst/>
                <a:uLnTx/>
                <a:uFillTx/>
                <a:latin typeface="等线 Light" panose="020F0302020204030204"/>
                <a:ea typeface="Open Sans Light" panose="020B0306030504020204" pitchFamily="34" charset="0"/>
                <a:cs typeface="Poppins" panose="02000000000000000000" pitchFamily="2" charset="0"/>
              </a:endParaRPr>
            </a:p>
          </p:txBody>
        </p:sp>
      </p:grpSp>
      <p:grpSp>
        <p:nvGrpSpPr>
          <p:cNvPr id="29" name="Group 79">
            <a:extLst>
              <a:ext uri="{FF2B5EF4-FFF2-40B4-BE49-F238E27FC236}">
                <a16:creationId xmlns:a16="http://schemas.microsoft.com/office/drawing/2014/main" id="{24658294-B565-4286-B1FE-7A7914E36D6F}"/>
              </a:ext>
            </a:extLst>
          </p:cNvPr>
          <p:cNvGrpSpPr/>
          <p:nvPr/>
        </p:nvGrpSpPr>
        <p:grpSpPr>
          <a:xfrm>
            <a:off x="4005535" y="2315129"/>
            <a:ext cx="1402079" cy="1862946"/>
            <a:chOff x="4305263" y="2584476"/>
            <a:chExt cx="1402079" cy="1862946"/>
          </a:xfrm>
        </p:grpSpPr>
        <p:grpSp>
          <p:nvGrpSpPr>
            <p:cNvPr id="30" name="Group 46">
              <a:extLst>
                <a:ext uri="{FF2B5EF4-FFF2-40B4-BE49-F238E27FC236}">
                  <a16:creationId xmlns:a16="http://schemas.microsoft.com/office/drawing/2014/main" id="{308450F9-F4D0-48E1-934F-2DB5B71BF235}"/>
                </a:ext>
              </a:extLst>
            </p:cNvPr>
            <p:cNvGrpSpPr/>
            <p:nvPr/>
          </p:nvGrpSpPr>
          <p:grpSpPr>
            <a:xfrm>
              <a:off x="4305263" y="2748307"/>
              <a:ext cx="1402079" cy="1699115"/>
              <a:chOff x="4305263" y="2748307"/>
              <a:chExt cx="1402079" cy="1699115"/>
            </a:xfrm>
          </p:grpSpPr>
          <p:sp>
            <p:nvSpPr>
              <p:cNvPr id="39" name="Freeform 10">
                <a:extLst>
                  <a:ext uri="{FF2B5EF4-FFF2-40B4-BE49-F238E27FC236}">
                    <a16:creationId xmlns:a16="http://schemas.microsoft.com/office/drawing/2014/main" id="{05316ABE-22BD-4103-8AF7-BE7D4C79F10E}"/>
                  </a:ext>
                </a:extLst>
              </p:cNvPr>
              <p:cNvSpPr>
                <a:spLocks/>
              </p:cNvSpPr>
              <p:nvPr/>
            </p:nvSpPr>
            <p:spPr bwMode="auto">
              <a:xfrm>
                <a:off x="4315871" y="3001141"/>
                <a:ext cx="1380862" cy="1446281"/>
              </a:xfrm>
              <a:custGeom>
                <a:avLst/>
                <a:gdLst>
                  <a:gd name="T0" fmla="*/ 1516 w 1562"/>
                  <a:gd name="T1" fmla="*/ 0 h 1636"/>
                  <a:gd name="T2" fmla="*/ 1562 w 1562"/>
                  <a:gd name="T3" fmla="*/ 11 h 1636"/>
                  <a:gd name="T4" fmla="*/ 781 w 1562"/>
                  <a:gd name="T5" fmla="*/ 1636 h 1636"/>
                  <a:gd name="T6" fmla="*/ 0 w 1562"/>
                  <a:gd name="T7" fmla="*/ 11 h 1636"/>
                  <a:gd name="T8" fmla="*/ 57 w 1562"/>
                  <a:gd name="T9" fmla="*/ 0 h 1636"/>
                  <a:gd name="T10" fmla="*/ 1516 w 1562"/>
                  <a:gd name="T11" fmla="*/ 0 h 1636"/>
                </a:gdLst>
                <a:ahLst/>
                <a:cxnLst>
                  <a:cxn ang="0">
                    <a:pos x="T0" y="T1"/>
                  </a:cxn>
                  <a:cxn ang="0">
                    <a:pos x="T2" y="T3"/>
                  </a:cxn>
                  <a:cxn ang="0">
                    <a:pos x="T4" y="T5"/>
                  </a:cxn>
                  <a:cxn ang="0">
                    <a:pos x="T6" y="T7"/>
                  </a:cxn>
                  <a:cxn ang="0">
                    <a:pos x="T8" y="T9"/>
                  </a:cxn>
                  <a:cxn ang="0">
                    <a:pos x="T10" y="T11"/>
                  </a:cxn>
                </a:cxnLst>
                <a:rect l="0" t="0" r="r" b="b"/>
                <a:pathLst>
                  <a:path w="1562" h="1636">
                    <a:moveTo>
                      <a:pt x="1516" y="0"/>
                    </a:moveTo>
                    <a:lnTo>
                      <a:pt x="1562" y="11"/>
                    </a:lnTo>
                    <a:lnTo>
                      <a:pt x="781" y="1636"/>
                    </a:lnTo>
                    <a:lnTo>
                      <a:pt x="0" y="11"/>
                    </a:lnTo>
                    <a:lnTo>
                      <a:pt x="57" y="0"/>
                    </a:lnTo>
                    <a:lnTo>
                      <a:pt x="1516" y="0"/>
                    </a:lnTo>
                    <a:close/>
                  </a:path>
                </a:pathLst>
              </a:custGeom>
              <a:gradFill flip="none" rotWithShape="1">
                <a:gsLst>
                  <a:gs pos="0">
                    <a:schemeClr val="accent2">
                      <a:lumMod val="50000"/>
                    </a:schemeClr>
                  </a:gs>
                  <a:gs pos="50000">
                    <a:schemeClr val="accent2">
                      <a:lumMod val="75000"/>
                    </a:schemeClr>
                  </a:gs>
                  <a:gs pos="100000">
                    <a:schemeClr val="accent2"/>
                  </a:gs>
                </a:gsLst>
                <a:lin ang="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40" name="Oval 6">
                <a:extLst>
                  <a:ext uri="{FF2B5EF4-FFF2-40B4-BE49-F238E27FC236}">
                    <a16:creationId xmlns:a16="http://schemas.microsoft.com/office/drawing/2014/main" id="{2F8B859B-059F-454B-A53F-5D331F7F2241}"/>
                  </a:ext>
                </a:extLst>
              </p:cNvPr>
              <p:cNvSpPr>
                <a:spLocks noChangeArrowheads="1"/>
              </p:cNvSpPr>
              <p:nvPr/>
            </p:nvSpPr>
            <p:spPr bwMode="auto">
              <a:xfrm>
                <a:off x="4305263" y="2748307"/>
                <a:ext cx="1402079" cy="455278"/>
              </a:xfrm>
              <a:prstGeom prst="ellipse">
                <a:avLst/>
              </a:pr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grpSp>
          <p:nvGrpSpPr>
            <p:cNvPr id="31" name="Group 74">
              <a:extLst>
                <a:ext uri="{FF2B5EF4-FFF2-40B4-BE49-F238E27FC236}">
                  <a16:creationId xmlns:a16="http://schemas.microsoft.com/office/drawing/2014/main" id="{B5EC4060-E8E9-43AD-94BC-017F16E70A67}"/>
                </a:ext>
              </a:extLst>
            </p:cNvPr>
            <p:cNvGrpSpPr/>
            <p:nvPr/>
          </p:nvGrpSpPr>
          <p:grpSpPr>
            <a:xfrm>
              <a:off x="4783975" y="2584476"/>
              <a:ext cx="692993" cy="595577"/>
              <a:chOff x="4783975" y="2584476"/>
              <a:chExt cx="692993" cy="595577"/>
            </a:xfrm>
          </p:grpSpPr>
          <p:sp>
            <p:nvSpPr>
              <p:cNvPr id="32" name="Freeform 16">
                <a:extLst>
                  <a:ext uri="{FF2B5EF4-FFF2-40B4-BE49-F238E27FC236}">
                    <a16:creationId xmlns:a16="http://schemas.microsoft.com/office/drawing/2014/main" id="{0B478A65-54DE-4498-B17D-08C932B157D3}"/>
                  </a:ext>
                </a:extLst>
              </p:cNvPr>
              <p:cNvSpPr>
                <a:spLocks/>
              </p:cNvSpPr>
              <p:nvPr/>
            </p:nvSpPr>
            <p:spPr bwMode="auto">
              <a:xfrm>
                <a:off x="4907043" y="2639757"/>
                <a:ext cx="148734" cy="155973"/>
              </a:xfrm>
              <a:custGeom>
                <a:avLst/>
                <a:gdLst>
                  <a:gd name="T0" fmla="*/ 4 w 46"/>
                  <a:gd name="T1" fmla="*/ 0 h 48"/>
                  <a:gd name="T2" fmla="*/ 10 w 46"/>
                  <a:gd name="T3" fmla="*/ 7 h 48"/>
                  <a:gd name="T4" fmla="*/ 36 w 46"/>
                  <a:gd name="T5" fmla="*/ 19 h 48"/>
                  <a:gd name="T6" fmla="*/ 42 w 46"/>
                  <a:gd name="T7" fmla="*/ 39 h 48"/>
                  <a:gd name="T8" fmla="*/ 37 w 46"/>
                  <a:gd name="T9" fmla="*/ 42 h 48"/>
                  <a:gd name="T10" fmla="*/ 29 w 46"/>
                  <a:gd name="T11" fmla="*/ 47 h 48"/>
                  <a:gd name="T12" fmla="*/ 4 w 46"/>
                  <a:gd name="T13" fmla="*/ 0 h 48"/>
                </a:gdLst>
                <a:ahLst/>
                <a:cxnLst>
                  <a:cxn ang="0">
                    <a:pos x="T0" y="T1"/>
                  </a:cxn>
                  <a:cxn ang="0">
                    <a:pos x="T2" y="T3"/>
                  </a:cxn>
                  <a:cxn ang="0">
                    <a:pos x="T4" y="T5"/>
                  </a:cxn>
                  <a:cxn ang="0">
                    <a:pos x="T6" y="T7"/>
                  </a:cxn>
                  <a:cxn ang="0">
                    <a:pos x="T8" y="T9"/>
                  </a:cxn>
                  <a:cxn ang="0">
                    <a:pos x="T10" y="T11"/>
                  </a:cxn>
                  <a:cxn ang="0">
                    <a:pos x="T12" y="T13"/>
                  </a:cxn>
                </a:cxnLst>
                <a:rect l="0" t="0" r="r" b="b"/>
                <a:pathLst>
                  <a:path w="46" h="48">
                    <a:moveTo>
                      <a:pt x="4" y="0"/>
                    </a:moveTo>
                    <a:cubicBezTo>
                      <a:pt x="4" y="0"/>
                      <a:pt x="5" y="4"/>
                      <a:pt x="10" y="7"/>
                    </a:cubicBezTo>
                    <a:cubicBezTo>
                      <a:pt x="15" y="10"/>
                      <a:pt x="27" y="11"/>
                      <a:pt x="36" y="19"/>
                    </a:cubicBezTo>
                    <a:cubicBezTo>
                      <a:pt x="46" y="27"/>
                      <a:pt x="44" y="36"/>
                      <a:pt x="42" y="39"/>
                    </a:cubicBezTo>
                    <a:cubicBezTo>
                      <a:pt x="41" y="42"/>
                      <a:pt x="37" y="42"/>
                      <a:pt x="37" y="42"/>
                    </a:cubicBezTo>
                    <a:cubicBezTo>
                      <a:pt x="37" y="42"/>
                      <a:pt x="37" y="48"/>
                      <a:pt x="29" y="47"/>
                    </a:cubicBezTo>
                    <a:cubicBezTo>
                      <a:pt x="0" y="37"/>
                      <a:pt x="4" y="0"/>
                      <a:pt x="4" y="0"/>
                    </a:cubicBezTo>
                    <a:close/>
                  </a:path>
                </a:pathLst>
              </a:custGeom>
              <a:solidFill>
                <a:srgbClr val="8BC5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33" name="Freeform 17">
                <a:extLst>
                  <a:ext uri="{FF2B5EF4-FFF2-40B4-BE49-F238E27FC236}">
                    <a16:creationId xmlns:a16="http://schemas.microsoft.com/office/drawing/2014/main" id="{DF5A9B63-92C4-480A-B177-3E0D6BFBF376}"/>
                  </a:ext>
                </a:extLst>
              </p:cNvPr>
              <p:cNvSpPr>
                <a:spLocks/>
              </p:cNvSpPr>
              <p:nvPr/>
            </p:nvSpPr>
            <p:spPr bwMode="auto">
              <a:xfrm>
                <a:off x="4971538" y="2710833"/>
                <a:ext cx="77658" cy="133598"/>
              </a:xfrm>
              <a:custGeom>
                <a:avLst/>
                <a:gdLst>
                  <a:gd name="T0" fmla="*/ 0 w 24"/>
                  <a:gd name="T1" fmla="*/ 0 h 41"/>
                  <a:gd name="T2" fmla="*/ 16 w 24"/>
                  <a:gd name="T3" fmla="*/ 21 h 41"/>
                  <a:gd name="T4" fmla="*/ 18 w 24"/>
                  <a:gd name="T5" fmla="*/ 41 h 41"/>
                  <a:gd name="T6" fmla="*/ 20 w 24"/>
                  <a:gd name="T7" fmla="*/ 20 h 41"/>
                  <a:gd name="T8" fmla="*/ 0 w 24"/>
                  <a:gd name="T9" fmla="*/ 0 h 41"/>
                </a:gdLst>
                <a:ahLst/>
                <a:cxnLst>
                  <a:cxn ang="0">
                    <a:pos x="T0" y="T1"/>
                  </a:cxn>
                  <a:cxn ang="0">
                    <a:pos x="T2" y="T3"/>
                  </a:cxn>
                  <a:cxn ang="0">
                    <a:pos x="T4" y="T5"/>
                  </a:cxn>
                  <a:cxn ang="0">
                    <a:pos x="T6" y="T7"/>
                  </a:cxn>
                  <a:cxn ang="0">
                    <a:pos x="T8" y="T9"/>
                  </a:cxn>
                </a:cxnLst>
                <a:rect l="0" t="0" r="r" b="b"/>
                <a:pathLst>
                  <a:path w="24" h="41">
                    <a:moveTo>
                      <a:pt x="0" y="0"/>
                    </a:moveTo>
                    <a:cubicBezTo>
                      <a:pt x="0" y="0"/>
                      <a:pt x="11" y="11"/>
                      <a:pt x="16" y="21"/>
                    </a:cubicBezTo>
                    <a:cubicBezTo>
                      <a:pt x="21" y="31"/>
                      <a:pt x="18" y="41"/>
                      <a:pt x="18" y="41"/>
                    </a:cubicBezTo>
                    <a:cubicBezTo>
                      <a:pt x="18" y="41"/>
                      <a:pt x="24" y="29"/>
                      <a:pt x="20" y="20"/>
                    </a:cubicBezTo>
                    <a:cubicBezTo>
                      <a:pt x="15" y="11"/>
                      <a:pt x="0" y="0"/>
                      <a:pt x="0" y="0"/>
                    </a:cubicBezTo>
                    <a:close/>
                  </a:path>
                </a:pathLst>
              </a:custGeom>
              <a:solidFill>
                <a:schemeClr val="tx1">
                  <a:lumMod val="65000"/>
                  <a:lumOff val="3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34" name="Freeform 18">
                <a:extLst>
                  <a:ext uri="{FF2B5EF4-FFF2-40B4-BE49-F238E27FC236}">
                    <a16:creationId xmlns:a16="http://schemas.microsoft.com/office/drawing/2014/main" id="{2A1D303B-FC74-4037-9992-3D7F3DFF64CA}"/>
                  </a:ext>
                </a:extLst>
              </p:cNvPr>
              <p:cNvSpPr>
                <a:spLocks/>
              </p:cNvSpPr>
              <p:nvPr/>
            </p:nvSpPr>
            <p:spPr bwMode="auto">
              <a:xfrm>
                <a:off x="5065647" y="2584476"/>
                <a:ext cx="411321" cy="279040"/>
              </a:xfrm>
              <a:custGeom>
                <a:avLst/>
                <a:gdLst>
                  <a:gd name="T0" fmla="*/ 127 w 127"/>
                  <a:gd name="T1" fmla="*/ 0 h 86"/>
                  <a:gd name="T2" fmla="*/ 106 w 127"/>
                  <a:gd name="T3" fmla="*/ 8 h 86"/>
                  <a:gd name="T4" fmla="*/ 35 w 127"/>
                  <a:gd name="T5" fmla="*/ 7 h 86"/>
                  <a:gd name="T6" fmla="*/ 0 w 127"/>
                  <a:gd name="T7" fmla="*/ 46 h 86"/>
                  <a:gd name="T8" fmla="*/ 9 w 127"/>
                  <a:gd name="T9" fmla="*/ 58 h 86"/>
                  <a:gd name="T10" fmla="*/ 23 w 127"/>
                  <a:gd name="T11" fmla="*/ 76 h 86"/>
                  <a:gd name="T12" fmla="*/ 127 w 127"/>
                  <a:gd name="T13" fmla="*/ 0 h 86"/>
                </a:gdLst>
                <a:ahLst/>
                <a:cxnLst>
                  <a:cxn ang="0">
                    <a:pos x="T0" y="T1"/>
                  </a:cxn>
                  <a:cxn ang="0">
                    <a:pos x="T2" y="T3"/>
                  </a:cxn>
                  <a:cxn ang="0">
                    <a:pos x="T4" y="T5"/>
                  </a:cxn>
                  <a:cxn ang="0">
                    <a:pos x="T6" y="T7"/>
                  </a:cxn>
                  <a:cxn ang="0">
                    <a:pos x="T8" y="T9"/>
                  </a:cxn>
                  <a:cxn ang="0">
                    <a:pos x="T10" y="T11"/>
                  </a:cxn>
                  <a:cxn ang="0">
                    <a:pos x="T12" y="T13"/>
                  </a:cxn>
                </a:cxnLst>
                <a:rect l="0" t="0" r="r" b="b"/>
                <a:pathLst>
                  <a:path w="127" h="86">
                    <a:moveTo>
                      <a:pt x="127" y="0"/>
                    </a:moveTo>
                    <a:cubicBezTo>
                      <a:pt x="127" y="0"/>
                      <a:pt x="120" y="7"/>
                      <a:pt x="106" y="8"/>
                    </a:cubicBezTo>
                    <a:cubicBezTo>
                      <a:pt x="91" y="9"/>
                      <a:pt x="63" y="0"/>
                      <a:pt x="35" y="7"/>
                    </a:cubicBezTo>
                    <a:cubicBezTo>
                      <a:pt x="7" y="14"/>
                      <a:pt x="1" y="38"/>
                      <a:pt x="0" y="46"/>
                    </a:cubicBezTo>
                    <a:cubicBezTo>
                      <a:pt x="0" y="54"/>
                      <a:pt x="9" y="58"/>
                      <a:pt x="9" y="58"/>
                    </a:cubicBezTo>
                    <a:cubicBezTo>
                      <a:pt x="9" y="58"/>
                      <a:pt x="2" y="70"/>
                      <a:pt x="23" y="76"/>
                    </a:cubicBezTo>
                    <a:cubicBezTo>
                      <a:pt x="96" y="86"/>
                      <a:pt x="127" y="0"/>
                      <a:pt x="127" y="0"/>
                    </a:cubicBezTo>
                    <a:close/>
                  </a:path>
                </a:pathLst>
              </a:custGeom>
              <a:solidFill>
                <a:srgbClr val="8BC5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35" name="Freeform 19">
                <a:extLst>
                  <a:ext uri="{FF2B5EF4-FFF2-40B4-BE49-F238E27FC236}">
                    <a16:creationId xmlns:a16="http://schemas.microsoft.com/office/drawing/2014/main" id="{E6D748BD-AE29-4560-8302-8B4ED426536F}"/>
                  </a:ext>
                </a:extLst>
              </p:cNvPr>
              <p:cNvSpPr>
                <a:spLocks/>
              </p:cNvSpPr>
              <p:nvPr/>
            </p:nvSpPr>
            <p:spPr bwMode="auto">
              <a:xfrm>
                <a:off x="5010366" y="2698329"/>
                <a:ext cx="249425" cy="217177"/>
              </a:xfrm>
              <a:custGeom>
                <a:avLst/>
                <a:gdLst>
                  <a:gd name="T0" fmla="*/ 77 w 77"/>
                  <a:gd name="T1" fmla="*/ 0 h 67"/>
                  <a:gd name="T2" fmla="*/ 28 w 77"/>
                  <a:gd name="T3" fmla="*/ 25 h 67"/>
                  <a:gd name="T4" fmla="*/ 0 w 77"/>
                  <a:gd name="T5" fmla="*/ 67 h 67"/>
                  <a:gd name="T6" fmla="*/ 21 w 77"/>
                  <a:gd name="T7" fmla="*/ 20 h 67"/>
                  <a:gd name="T8" fmla="*/ 77 w 77"/>
                  <a:gd name="T9" fmla="*/ 0 h 67"/>
                </a:gdLst>
                <a:ahLst/>
                <a:cxnLst>
                  <a:cxn ang="0">
                    <a:pos x="T0" y="T1"/>
                  </a:cxn>
                  <a:cxn ang="0">
                    <a:pos x="T2" y="T3"/>
                  </a:cxn>
                  <a:cxn ang="0">
                    <a:pos x="T4" y="T5"/>
                  </a:cxn>
                  <a:cxn ang="0">
                    <a:pos x="T6" y="T7"/>
                  </a:cxn>
                  <a:cxn ang="0">
                    <a:pos x="T8" y="T9"/>
                  </a:cxn>
                </a:cxnLst>
                <a:rect l="0" t="0" r="r" b="b"/>
                <a:pathLst>
                  <a:path w="77" h="67">
                    <a:moveTo>
                      <a:pt x="77" y="0"/>
                    </a:moveTo>
                    <a:cubicBezTo>
                      <a:pt x="77" y="0"/>
                      <a:pt x="49" y="9"/>
                      <a:pt x="28" y="25"/>
                    </a:cubicBezTo>
                    <a:cubicBezTo>
                      <a:pt x="6" y="41"/>
                      <a:pt x="0" y="67"/>
                      <a:pt x="0" y="67"/>
                    </a:cubicBezTo>
                    <a:cubicBezTo>
                      <a:pt x="0" y="67"/>
                      <a:pt x="1" y="34"/>
                      <a:pt x="21" y="20"/>
                    </a:cubicBezTo>
                    <a:cubicBezTo>
                      <a:pt x="41" y="5"/>
                      <a:pt x="77" y="0"/>
                      <a:pt x="77" y="0"/>
                    </a:cubicBezTo>
                    <a:close/>
                  </a:path>
                </a:pathLst>
              </a:custGeom>
              <a:solidFill>
                <a:schemeClr val="tx1">
                  <a:lumMod val="65000"/>
                  <a:lumOff val="3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36" name="Freeform 21">
                <a:extLst>
                  <a:ext uri="{FF2B5EF4-FFF2-40B4-BE49-F238E27FC236}">
                    <a16:creationId xmlns:a16="http://schemas.microsoft.com/office/drawing/2014/main" id="{53C7104B-57EB-4BB5-8F34-71BF7256A44B}"/>
                  </a:ext>
                </a:extLst>
              </p:cNvPr>
              <p:cNvSpPr>
                <a:spLocks/>
              </p:cNvSpPr>
              <p:nvPr/>
            </p:nvSpPr>
            <p:spPr bwMode="auto">
              <a:xfrm>
                <a:off x="4787266" y="2730577"/>
                <a:ext cx="180981" cy="172426"/>
              </a:xfrm>
              <a:custGeom>
                <a:avLst/>
                <a:gdLst>
                  <a:gd name="T0" fmla="*/ 0 w 56"/>
                  <a:gd name="T1" fmla="*/ 3 h 53"/>
                  <a:gd name="T2" fmla="*/ 8 w 56"/>
                  <a:gd name="T3" fmla="*/ 11 h 53"/>
                  <a:gd name="T4" fmla="*/ 21 w 56"/>
                  <a:gd name="T5" fmla="*/ 42 h 53"/>
                  <a:gd name="T6" fmla="*/ 45 w 56"/>
                  <a:gd name="T7" fmla="*/ 49 h 53"/>
                  <a:gd name="T8" fmla="*/ 49 w 56"/>
                  <a:gd name="T9" fmla="*/ 43 h 53"/>
                  <a:gd name="T10" fmla="*/ 54 w 56"/>
                  <a:gd name="T11" fmla="*/ 34 h 53"/>
                  <a:gd name="T12" fmla="*/ 0 w 56"/>
                  <a:gd name="T13" fmla="*/ 3 h 53"/>
                </a:gdLst>
                <a:ahLst/>
                <a:cxnLst>
                  <a:cxn ang="0">
                    <a:pos x="T0" y="T1"/>
                  </a:cxn>
                  <a:cxn ang="0">
                    <a:pos x="T2" y="T3"/>
                  </a:cxn>
                  <a:cxn ang="0">
                    <a:pos x="T4" y="T5"/>
                  </a:cxn>
                  <a:cxn ang="0">
                    <a:pos x="T6" y="T7"/>
                  </a:cxn>
                  <a:cxn ang="0">
                    <a:pos x="T8" y="T9"/>
                  </a:cxn>
                  <a:cxn ang="0">
                    <a:pos x="T10" y="T11"/>
                  </a:cxn>
                  <a:cxn ang="0">
                    <a:pos x="T12" y="T13"/>
                  </a:cxn>
                </a:cxnLst>
                <a:rect l="0" t="0" r="r" b="b"/>
                <a:pathLst>
                  <a:path w="56" h="53">
                    <a:moveTo>
                      <a:pt x="0" y="3"/>
                    </a:moveTo>
                    <a:cubicBezTo>
                      <a:pt x="0" y="3"/>
                      <a:pt x="5" y="4"/>
                      <a:pt x="8" y="11"/>
                    </a:cubicBezTo>
                    <a:cubicBezTo>
                      <a:pt x="11" y="17"/>
                      <a:pt x="13" y="31"/>
                      <a:pt x="21" y="42"/>
                    </a:cubicBezTo>
                    <a:cubicBezTo>
                      <a:pt x="30" y="53"/>
                      <a:pt x="42" y="51"/>
                      <a:pt x="45" y="49"/>
                    </a:cubicBezTo>
                    <a:cubicBezTo>
                      <a:pt x="49" y="48"/>
                      <a:pt x="49" y="43"/>
                      <a:pt x="49" y="43"/>
                    </a:cubicBezTo>
                    <a:cubicBezTo>
                      <a:pt x="49" y="43"/>
                      <a:pt x="56" y="44"/>
                      <a:pt x="54" y="34"/>
                    </a:cubicBezTo>
                    <a:cubicBezTo>
                      <a:pt x="44" y="0"/>
                      <a:pt x="0" y="3"/>
                      <a:pt x="0" y="3"/>
                    </a:cubicBezTo>
                    <a:close/>
                  </a:path>
                </a:pathLst>
              </a:custGeom>
              <a:solidFill>
                <a:srgbClr val="8BC5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37" name="Freeform 22">
                <a:extLst>
                  <a:ext uri="{FF2B5EF4-FFF2-40B4-BE49-F238E27FC236}">
                    <a16:creationId xmlns:a16="http://schemas.microsoft.com/office/drawing/2014/main" id="{C08DE4EE-A1A3-4507-9E7C-37A23494E51E}"/>
                  </a:ext>
                </a:extLst>
              </p:cNvPr>
              <p:cNvSpPr>
                <a:spLocks/>
              </p:cNvSpPr>
              <p:nvPr/>
            </p:nvSpPr>
            <p:spPr bwMode="auto">
              <a:xfrm>
                <a:off x="4881376" y="2811524"/>
                <a:ext cx="142153" cy="88187"/>
              </a:xfrm>
              <a:custGeom>
                <a:avLst/>
                <a:gdLst>
                  <a:gd name="T0" fmla="*/ 0 w 44"/>
                  <a:gd name="T1" fmla="*/ 0 h 27"/>
                  <a:gd name="T2" fmla="*/ 20 w 44"/>
                  <a:gd name="T3" fmla="*/ 17 h 27"/>
                  <a:gd name="T4" fmla="*/ 44 w 44"/>
                  <a:gd name="T5" fmla="*/ 21 h 27"/>
                  <a:gd name="T6" fmla="*/ 19 w 44"/>
                  <a:gd name="T7" fmla="*/ 21 h 27"/>
                  <a:gd name="T8" fmla="*/ 0 w 44"/>
                  <a:gd name="T9" fmla="*/ 0 h 27"/>
                </a:gdLst>
                <a:ahLst/>
                <a:cxnLst>
                  <a:cxn ang="0">
                    <a:pos x="T0" y="T1"/>
                  </a:cxn>
                  <a:cxn ang="0">
                    <a:pos x="T2" y="T3"/>
                  </a:cxn>
                  <a:cxn ang="0">
                    <a:pos x="T4" y="T5"/>
                  </a:cxn>
                  <a:cxn ang="0">
                    <a:pos x="T6" y="T7"/>
                  </a:cxn>
                  <a:cxn ang="0">
                    <a:pos x="T8" y="T9"/>
                  </a:cxn>
                </a:cxnLst>
                <a:rect l="0" t="0" r="r" b="b"/>
                <a:pathLst>
                  <a:path w="44" h="27">
                    <a:moveTo>
                      <a:pt x="0" y="0"/>
                    </a:moveTo>
                    <a:cubicBezTo>
                      <a:pt x="0" y="0"/>
                      <a:pt x="9" y="11"/>
                      <a:pt x="20" y="17"/>
                    </a:cubicBezTo>
                    <a:cubicBezTo>
                      <a:pt x="31" y="24"/>
                      <a:pt x="44" y="21"/>
                      <a:pt x="44" y="21"/>
                    </a:cubicBezTo>
                    <a:cubicBezTo>
                      <a:pt x="44" y="21"/>
                      <a:pt x="30" y="27"/>
                      <a:pt x="19" y="21"/>
                    </a:cubicBezTo>
                    <a:cubicBezTo>
                      <a:pt x="9" y="15"/>
                      <a:pt x="0" y="0"/>
                      <a:pt x="0" y="0"/>
                    </a:cubicBezTo>
                    <a:close/>
                  </a:path>
                </a:pathLst>
              </a:custGeom>
              <a:solidFill>
                <a:schemeClr val="tx1">
                  <a:lumMod val="65000"/>
                  <a:lumOff val="3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38" name="Freeform 26">
                <a:extLst>
                  <a:ext uri="{FF2B5EF4-FFF2-40B4-BE49-F238E27FC236}">
                    <a16:creationId xmlns:a16="http://schemas.microsoft.com/office/drawing/2014/main" id="{31142BB8-764E-4E00-9C7E-198188BC3976}"/>
                  </a:ext>
                </a:extLst>
              </p:cNvPr>
              <p:cNvSpPr>
                <a:spLocks noEditPoints="1"/>
              </p:cNvSpPr>
              <p:nvPr/>
            </p:nvSpPr>
            <p:spPr bwMode="auto">
              <a:xfrm>
                <a:off x="4783975" y="2876020"/>
                <a:ext cx="434466" cy="304033"/>
              </a:xfrm>
              <a:custGeom>
                <a:avLst/>
                <a:gdLst>
                  <a:gd name="T0" fmla="*/ 136 w 193"/>
                  <a:gd name="T1" fmla="*/ 15 h 134"/>
                  <a:gd name="T2" fmla="*/ 108 w 193"/>
                  <a:gd name="T3" fmla="*/ 4 h 134"/>
                  <a:gd name="T4" fmla="*/ 90 w 193"/>
                  <a:gd name="T5" fmla="*/ 6 h 134"/>
                  <a:gd name="T6" fmla="*/ 73 w 193"/>
                  <a:gd name="T7" fmla="*/ 24 h 134"/>
                  <a:gd name="T8" fmla="*/ 27 w 193"/>
                  <a:gd name="T9" fmla="*/ 40 h 134"/>
                  <a:gd name="T10" fmla="*/ 59 w 193"/>
                  <a:gd name="T11" fmla="*/ 31 h 134"/>
                  <a:gd name="T12" fmla="*/ 23 w 193"/>
                  <a:gd name="T13" fmla="*/ 68 h 134"/>
                  <a:gd name="T14" fmla="*/ 40 w 193"/>
                  <a:gd name="T15" fmla="*/ 51 h 134"/>
                  <a:gd name="T16" fmla="*/ 25 w 193"/>
                  <a:gd name="T17" fmla="*/ 96 h 134"/>
                  <a:gd name="T18" fmla="*/ 32 w 193"/>
                  <a:gd name="T19" fmla="*/ 72 h 134"/>
                  <a:gd name="T20" fmla="*/ 46 w 193"/>
                  <a:gd name="T21" fmla="*/ 65 h 134"/>
                  <a:gd name="T22" fmla="*/ 45 w 193"/>
                  <a:gd name="T23" fmla="*/ 72 h 134"/>
                  <a:gd name="T24" fmla="*/ 65 w 193"/>
                  <a:gd name="T25" fmla="*/ 36 h 134"/>
                  <a:gd name="T26" fmla="*/ 27 w 193"/>
                  <a:gd name="T27" fmla="*/ 119 h 134"/>
                  <a:gd name="T28" fmla="*/ 45 w 193"/>
                  <a:gd name="T29" fmla="*/ 99 h 134"/>
                  <a:gd name="T30" fmla="*/ 48 w 193"/>
                  <a:gd name="T31" fmla="*/ 101 h 134"/>
                  <a:gd name="T32" fmla="*/ 49 w 193"/>
                  <a:gd name="T33" fmla="*/ 101 h 134"/>
                  <a:gd name="T34" fmla="*/ 59 w 193"/>
                  <a:gd name="T35" fmla="*/ 56 h 134"/>
                  <a:gd name="T36" fmla="*/ 83 w 193"/>
                  <a:gd name="T37" fmla="*/ 32 h 134"/>
                  <a:gd name="T38" fmla="*/ 76 w 193"/>
                  <a:gd name="T39" fmla="*/ 41 h 134"/>
                  <a:gd name="T40" fmla="*/ 68 w 193"/>
                  <a:gd name="T41" fmla="*/ 79 h 134"/>
                  <a:gd name="T42" fmla="*/ 75 w 193"/>
                  <a:gd name="T43" fmla="*/ 74 h 134"/>
                  <a:gd name="T44" fmla="*/ 75 w 193"/>
                  <a:gd name="T45" fmla="*/ 67 h 134"/>
                  <a:gd name="T46" fmla="*/ 78 w 193"/>
                  <a:gd name="T47" fmla="*/ 41 h 134"/>
                  <a:gd name="T48" fmla="*/ 80 w 193"/>
                  <a:gd name="T49" fmla="*/ 52 h 134"/>
                  <a:gd name="T50" fmla="*/ 76 w 193"/>
                  <a:gd name="T51" fmla="*/ 67 h 134"/>
                  <a:gd name="T52" fmla="*/ 79 w 193"/>
                  <a:gd name="T53" fmla="*/ 75 h 134"/>
                  <a:gd name="T54" fmla="*/ 85 w 193"/>
                  <a:gd name="T55" fmla="*/ 35 h 134"/>
                  <a:gd name="T56" fmla="*/ 90 w 193"/>
                  <a:gd name="T57" fmla="*/ 28 h 134"/>
                  <a:gd name="T58" fmla="*/ 87 w 193"/>
                  <a:gd name="T59" fmla="*/ 48 h 134"/>
                  <a:gd name="T60" fmla="*/ 96 w 193"/>
                  <a:gd name="T61" fmla="*/ 20 h 134"/>
                  <a:gd name="T62" fmla="*/ 97 w 193"/>
                  <a:gd name="T63" fmla="*/ 19 h 134"/>
                  <a:gd name="T64" fmla="*/ 104 w 193"/>
                  <a:gd name="T65" fmla="*/ 42 h 134"/>
                  <a:gd name="T66" fmla="*/ 98 w 193"/>
                  <a:gd name="T67" fmla="*/ 61 h 134"/>
                  <a:gd name="T68" fmla="*/ 105 w 193"/>
                  <a:gd name="T69" fmla="*/ 53 h 134"/>
                  <a:gd name="T70" fmla="*/ 108 w 193"/>
                  <a:gd name="T71" fmla="*/ 69 h 134"/>
                  <a:gd name="T72" fmla="*/ 111 w 193"/>
                  <a:gd name="T73" fmla="*/ 70 h 134"/>
                  <a:gd name="T74" fmla="*/ 116 w 193"/>
                  <a:gd name="T75" fmla="*/ 25 h 134"/>
                  <a:gd name="T76" fmla="*/ 117 w 193"/>
                  <a:gd name="T77" fmla="*/ 54 h 134"/>
                  <a:gd name="T78" fmla="*/ 121 w 193"/>
                  <a:gd name="T79" fmla="*/ 30 h 134"/>
                  <a:gd name="T80" fmla="*/ 139 w 193"/>
                  <a:gd name="T81" fmla="*/ 64 h 134"/>
                  <a:gd name="T82" fmla="*/ 138 w 193"/>
                  <a:gd name="T83" fmla="*/ 97 h 134"/>
                  <a:gd name="T84" fmla="*/ 150 w 193"/>
                  <a:gd name="T85" fmla="*/ 126 h 134"/>
                  <a:gd name="T86" fmla="*/ 146 w 193"/>
                  <a:gd name="T87" fmla="*/ 84 h 134"/>
                  <a:gd name="T88" fmla="*/ 157 w 193"/>
                  <a:gd name="T89" fmla="*/ 90 h 134"/>
                  <a:gd name="T90" fmla="*/ 132 w 193"/>
                  <a:gd name="T91" fmla="*/ 31 h 134"/>
                  <a:gd name="T92" fmla="*/ 128 w 193"/>
                  <a:gd name="T93" fmla="*/ 28 h 134"/>
                  <a:gd name="T94" fmla="*/ 142 w 193"/>
                  <a:gd name="T95" fmla="*/ 50 h 134"/>
                  <a:gd name="T96" fmla="*/ 146 w 193"/>
                  <a:gd name="T97" fmla="*/ 57 h 134"/>
                  <a:gd name="T98" fmla="*/ 147 w 193"/>
                  <a:gd name="T99" fmla="*/ 39 h 134"/>
                  <a:gd name="T100" fmla="*/ 166 w 193"/>
                  <a:gd name="T101" fmla="*/ 83 h 134"/>
                  <a:gd name="T102" fmla="*/ 175 w 193"/>
                  <a:gd name="T103" fmla="*/ 74 h 134"/>
                  <a:gd name="T104" fmla="*/ 161 w 193"/>
                  <a:gd name="T105" fmla="*/ 48 h 134"/>
                  <a:gd name="T106" fmla="*/ 175 w 193"/>
                  <a:gd name="T107" fmla="*/ 47 h 134"/>
                  <a:gd name="T108" fmla="*/ 160 w 193"/>
                  <a:gd name="T109" fmla="*/ 30 h 134"/>
                  <a:gd name="T110" fmla="*/ 83 w 193"/>
                  <a:gd name="T111" fmla="*/ 43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93" h="134">
                    <a:moveTo>
                      <a:pt x="166" y="32"/>
                    </a:moveTo>
                    <a:cubicBezTo>
                      <a:pt x="175" y="34"/>
                      <a:pt x="184" y="25"/>
                      <a:pt x="193" y="34"/>
                    </a:cubicBezTo>
                    <a:cubicBezTo>
                      <a:pt x="184" y="23"/>
                      <a:pt x="174" y="31"/>
                      <a:pt x="164" y="27"/>
                    </a:cubicBezTo>
                    <a:cubicBezTo>
                      <a:pt x="155" y="23"/>
                      <a:pt x="145" y="17"/>
                      <a:pt x="136" y="15"/>
                    </a:cubicBezTo>
                    <a:cubicBezTo>
                      <a:pt x="131" y="14"/>
                      <a:pt x="125" y="18"/>
                      <a:pt x="120" y="16"/>
                    </a:cubicBezTo>
                    <a:cubicBezTo>
                      <a:pt x="117" y="15"/>
                      <a:pt x="115" y="13"/>
                      <a:pt x="113" y="11"/>
                    </a:cubicBezTo>
                    <a:cubicBezTo>
                      <a:pt x="113" y="8"/>
                      <a:pt x="111" y="5"/>
                      <a:pt x="108" y="4"/>
                    </a:cubicBezTo>
                    <a:cubicBezTo>
                      <a:pt x="108" y="4"/>
                      <a:pt x="108" y="4"/>
                      <a:pt x="108" y="4"/>
                    </a:cubicBezTo>
                    <a:cubicBezTo>
                      <a:pt x="107" y="3"/>
                      <a:pt x="105" y="2"/>
                      <a:pt x="104" y="1"/>
                    </a:cubicBezTo>
                    <a:cubicBezTo>
                      <a:pt x="103" y="1"/>
                      <a:pt x="103" y="1"/>
                      <a:pt x="103" y="1"/>
                    </a:cubicBezTo>
                    <a:cubicBezTo>
                      <a:pt x="103" y="1"/>
                      <a:pt x="103" y="1"/>
                      <a:pt x="103" y="1"/>
                    </a:cubicBezTo>
                    <a:cubicBezTo>
                      <a:pt x="99" y="0"/>
                      <a:pt x="94" y="2"/>
                      <a:pt x="90" y="6"/>
                    </a:cubicBezTo>
                    <a:cubicBezTo>
                      <a:pt x="89" y="7"/>
                      <a:pt x="89" y="7"/>
                      <a:pt x="88" y="8"/>
                    </a:cubicBezTo>
                    <a:cubicBezTo>
                      <a:pt x="88" y="9"/>
                      <a:pt x="88" y="9"/>
                      <a:pt x="88" y="10"/>
                    </a:cubicBezTo>
                    <a:cubicBezTo>
                      <a:pt x="88" y="10"/>
                      <a:pt x="88" y="10"/>
                      <a:pt x="87" y="11"/>
                    </a:cubicBezTo>
                    <a:cubicBezTo>
                      <a:pt x="82" y="16"/>
                      <a:pt x="78" y="22"/>
                      <a:pt x="73" y="24"/>
                    </a:cubicBezTo>
                    <a:cubicBezTo>
                      <a:pt x="67" y="26"/>
                      <a:pt x="62" y="22"/>
                      <a:pt x="56" y="23"/>
                    </a:cubicBezTo>
                    <a:cubicBezTo>
                      <a:pt x="47" y="25"/>
                      <a:pt x="38" y="31"/>
                      <a:pt x="28" y="35"/>
                    </a:cubicBezTo>
                    <a:cubicBezTo>
                      <a:pt x="19" y="39"/>
                      <a:pt x="9" y="31"/>
                      <a:pt x="0" y="42"/>
                    </a:cubicBezTo>
                    <a:cubicBezTo>
                      <a:pt x="8" y="33"/>
                      <a:pt x="17" y="42"/>
                      <a:pt x="27" y="40"/>
                    </a:cubicBezTo>
                    <a:cubicBezTo>
                      <a:pt x="21" y="46"/>
                      <a:pt x="15" y="53"/>
                      <a:pt x="9" y="52"/>
                    </a:cubicBezTo>
                    <a:cubicBezTo>
                      <a:pt x="17" y="54"/>
                      <a:pt x="24" y="43"/>
                      <a:pt x="32" y="38"/>
                    </a:cubicBezTo>
                    <a:cubicBezTo>
                      <a:pt x="36" y="36"/>
                      <a:pt x="41" y="35"/>
                      <a:pt x="45" y="34"/>
                    </a:cubicBezTo>
                    <a:cubicBezTo>
                      <a:pt x="49" y="32"/>
                      <a:pt x="54" y="31"/>
                      <a:pt x="59" y="31"/>
                    </a:cubicBezTo>
                    <a:cubicBezTo>
                      <a:pt x="51" y="36"/>
                      <a:pt x="44" y="46"/>
                      <a:pt x="36" y="51"/>
                    </a:cubicBezTo>
                    <a:cubicBezTo>
                      <a:pt x="30" y="55"/>
                      <a:pt x="24" y="56"/>
                      <a:pt x="17" y="55"/>
                    </a:cubicBezTo>
                    <a:cubicBezTo>
                      <a:pt x="22" y="56"/>
                      <a:pt x="26" y="57"/>
                      <a:pt x="31" y="56"/>
                    </a:cubicBezTo>
                    <a:cubicBezTo>
                      <a:pt x="30" y="63"/>
                      <a:pt x="26" y="66"/>
                      <a:pt x="23" y="68"/>
                    </a:cubicBezTo>
                    <a:cubicBezTo>
                      <a:pt x="26" y="67"/>
                      <a:pt x="29" y="65"/>
                      <a:pt x="31" y="60"/>
                    </a:cubicBezTo>
                    <a:cubicBezTo>
                      <a:pt x="31" y="58"/>
                      <a:pt x="31" y="57"/>
                      <a:pt x="32" y="56"/>
                    </a:cubicBezTo>
                    <a:cubicBezTo>
                      <a:pt x="32" y="55"/>
                      <a:pt x="33" y="55"/>
                      <a:pt x="34" y="55"/>
                    </a:cubicBezTo>
                    <a:cubicBezTo>
                      <a:pt x="36" y="54"/>
                      <a:pt x="38" y="53"/>
                      <a:pt x="40" y="51"/>
                    </a:cubicBezTo>
                    <a:cubicBezTo>
                      <a:pt x="37" y="58"/>
                      <a:pt x="34" y="67"/>
                      <a:pt x="30" y="74"/>
                    </a:cubicBezTo>
                    <a:cubicBezTo>
                      <a:pt x="27" y="80"/>
                      <a:pt x="22" y="87"/>
                      <a:pt x="18" y="82"/>
                    </a:cubicBezTo>
                    <a:cubicBezTo>
                      <a:pt x="20" y="85"/>
                      <a:pt x="23" y="85"/>
                      <a:pt x="26" y="82"/>
                    </a:cubicBezTo>
                    <a:cubicBezTo>
                      <a:pt x="26" y="87"/>
                      <a:pt x="26" y="91"/>
                      <a:pt x="25" y="96"/>
                    </a:cubicBezTo>
                    <a:cubicBezTo>
                      <a:pt x="24" y="101"/>
                      <a:pt x="22" y="105"/>
                      <a:pt x="21" y="110"/>
                    </a:cubicBezTo>
                    <a:cubicBezTo>
                      <a:pt x="23" y="104"/>
                      <a:pt x="25" y="98"/>
                      <a:pt x="26" y="91"/>
                    </a:cubicBezTo>
                    <a:cubicBezTo>
                      <a:pt x="27" y="89"/>
                      <a:pt x="26" y="82"/>
                      <a:pt x="27" y="81"/>
                    </a:cubicBezTo>
                    <a:cubicBezTo>
                      <a:pt x="29" y="78"/>
                      <a:pt x="31" y="75"/>
                      <a:pt x="32" y="72"/>
                    </a:cubicBezTo>
                    <a:cubicBezTo>
                      <a:pt x="36" y="66"/>
                      <a:pt x="39" y="59"/>
                      <a:pt x="42" y="52"/>
                    </a:cubicBezTo>
                    <a:cubicBezTo>
                      <a:pt x="43" y="51"/>
                      <a:pt x="44" y="49"/>
                      <a:pt x="45" y="47"/>
                    </a:cubicBezTo>
                    <a:cubicBezTo>
                      <a:pt x="48" y="45"/>
                      <a:pt x="50" y="43"/>
                      <a:pt x="53" y="41"/>
                    </a:cubicBezTo>
                    <a:cubicBezTo>
                      <a:pt x="50" y="49"/>
                      <a:pt x="50" y="58"/>
                      <a:pt x="46" y="65"/>
                    </a:cubicBezTo>
                    <a:cubicBezTo>
                      <a:pt x="42" y="70"/>
                      <a:pt x="38" y="73"/>
                      <a:pt x="35" y="77"/>
                    </a:cubicBezTo>
                    <a:cubicBezTo>
                      <a:pt x="39" y="73"/>
                      <a:pt x="43" y="71"/>
                      <a:pt x="46" y="65"/>
                    </a:cubicBezTo>
                    <a:cubicBezTo>
                      <a:pt x="44" y="73"/>
                      <a:pt x="41" y="76"/>
                      <a:pt x="37" y="79"/>
                    </a:cubicBezTo>
                    <a:cubicBezTo>
                      <a:pt x="40" y="78"/>
                      <a:pt x="43" y="76"/>
                      <a:pt x="45" y="72"/>
                    </a:cubicBezTo>
                    <a:cubicBezTo>
                      <a:pt x="46" y="70"/>
                      <a:pt x="47" y="67"/>
                      <a:pt x="48" y="65"/>
                    </a:cubicBezTo>
                    <a:cubicBezTo>
                      <a:pt x="48" y="62"/>
                      <a:pt x="49" y="60"/>
                      <a:pt x="50" y="58"/>
                    </a:cubicBezTo>
                    <a:cubicBezTo>
                      <a:pt x="52" y="52"/>
                      <a:pt x="53" y="44"/>
                      <a:pt x="56" y="40"/>
                    </a:cubicBezTo>
                    <a:cubicBezTo>
                      <a:pt x="58" y="36"/>
                      <a:pt x="62" y="36"/>
                      <a:pt x="65" y="36"/>
                    </a:cubicBezTo>
                    <a:cubicBezTo>
                      <a:pt x="61" y="41"/>
                      <a:pt x="59" y="47"/>
                      <a:pt x="56" y="54"/>
                    </a:cubicBezTo>
                    <a:cubicBezTo>
                      <a:pt x="54" y="62"/>
                      <a:pt x="52" y="70"/>
                      <a:pt x="48" y="77"/>
                    </a:cubicBezTo>
                    <a:cubicBezTo>
                      <a:pt x="44" y="85"/>
                      <a:pt x="40" y="91"/>
                      <a:pt x="35" y="98"/>
                    </a:cubicBezTo>
                    <a:cubicBezTo>
                      <a:pt x="31" y="104"/>
                      <a:pt x="28" y="110"/>
                      <a:pt x="27" y="119"/>
                    </a:cubicBezTo>
                    <a:cubicBezTo>
                      <a:pt x="28" y="112"/>
                      <a:pt x="31" y="107"/>
                      <a:pt x="34" y="102"/>
                    </a:cubicBezTo>
                    <a:cubicBezTo>
                      <a:pt x="38" y="96"/>
                      <a:pt x="43" y="91"/>
                      <a:pt x="47" y="85"/>
                    </a:cubicBezTo>
                    <a:cubicBezTo>
                      <a:pt x="47" y="87"/>
                      <a:pt x="47" y="90"/>
                      <a:pt x="47" y="92"/>
                    </a:cubicBezTo>
                    <a:cubicBezTo>
                      <a:pt x="47" y="95"/>
                      <a:pt x="46" y="96"/>
                      <a:pt x="45" y="99"/>
                    </a:cubicBezTo>
                    <a:cubicBezTo>
                      <a:pt x="43" y="104"/>
                      <a:pt x="41" y="109"/>
                      <a:pt x="38" y="113"/>
                    </a:cubicBezTo>
                    <a:cubicBezTo>
                      <a:pt x="42" y="109"/>
                      <a:pt x="44" y="103"/>
                      <a:pt x="47" y="97"/>
                    </a:cubicBezTo>
                    <a:cubicBezTo>
                      <a:pt x="47" y="111"/>
                      <a:pt x="48" y="124"/>
                      <a:pt x="42" y="134"/>
                    </a:cubicBezTo>
                    <a:cubicBezTo>
                      <a:pt x="48" y="126"/>
                      <a:pt x="48" y="114"/>
                      <a:pt x="48" y="101"/>
                    </a:cubicBezTo>
                    <a:cubicBezTo>
                      <a:pt x="50" y="107"/>
                      <a:pt x="53" y="104"/>
                      <a:pt x="56" y="109"/>
                    </a:cubicBezTo>
                    <a:cubicBezTo>
                      <a:pt x="58" y="112"/>
                      <a:pt x="58" y="119"/>
                      <a:pt x="58" y="124"/>
                    </a:cubicBezTo>
                    <a:cubicBezTo>
                      <a:pt x="58" y="117"/>
                      <a:pt x="58" y="108"/>
                      <a:pt x="54" y="105"/>
                    </a:cubicBezTo>
                    <a:cubicBezTo>
                      <a:pt x="53" y="104"/>
                      <a:pt x="51" y="104"/>
                      <a:pt x="49" y="101"/>
                    </a:cubicBezTo>
                    <a:cubicBezTo>
                      <a:pt x="48" y="98"/>
                      <a:pt x="48" y="94"/>
                      <a:pt x="48" y="90"/>
                    </a:cubicBezTo>
                    <a:cubicBezTo>
                      <a:pt x="48" y="87"/>
                      <a:pt x="49" y="84"/>
                      <a:pt x="50" y="81"/>
                    </a:cubicBezTo>
                    <a:cubicBezTo>
                      <a:pt x="51" y="77"/>
                      <a:pt x="52" y="75"/>
                      <a:pt x="54" y="72"/>
                    </a:cubicBezTo>
                    <a:cubicBezTo>
                      <a:pt x="56" y="67"/>
                      <a:pt x="57" y="61"/>
                      <a:pt x="59" y="56"/>
                    </a:cubicBezTo>
                    <a:cubicBezTo>
                      <a:pt x="61" y="50"/>
                      <a:pt x="64" y="45"/>
                      <a:pt x="67" y="42"/>
                    </a:cubicBezTo>
                    <a:cubicBezTo>
                      <a:pt x="71" y="37"/>
                      <a:pt x="75" y="34"/>
                      <a:pt x="79" y="31"/>
                    </a:cubicBezTo>
                    <a:cubicBezTo>
                      <a:pt x="81" y="30"/>
                      <a:pt x="82" y="29"/>
                      <a:pt x="84" y="28"/>
                    </a:cubicBezTo>
                    <a:cubicBezTo>
                      <a:pt x="84" y="30"/>
                      <a:pt x="84" y="30"/>
                      <a:pt x="83" y="32"/>
                    </a:cubicBezTo>
                    <a:cubicBezTo>
                      <a:pt x="83" y="32"/>
                      <a:pt x="83" y="32"/>
                      <a:pt x="83" y="32"/>
                    </a:cubicBezTo>
                    <a:cubicBezTo>
                      <a:pt x="82" y="33"/>
                      <a:pt x="81" y="34"/>
                      <a:pt x="80" y="35"/>
                    </a:cubicBezTo>
                    <a:cubicBezTo>
                      <a:pt x="79" y="36"/>
                      <a:pt x="79" y="37"/>
                      <a:pt x="78" y="37"/>
                    </a:cubicBezTo>
                    <a:cubicBezTo>
                      <a:pt x="77" y="38"/>
                      <a:pt x="76" y="40"/>
                      <a:pt x="76" y="41"/>
                    </a:cubicBezTo>
                    <a:cubicBezTo>
                      <a:pt x="75" y="41"/>
                      <a:pt x="75" y="41"/>
                      <a:pt x="75" y="41"/>
                    </a:cubicBezTo>
                    <a:cubicBezTo>
                      <a:pt x="75" y="42"/>
                      <a:pt x="75" y="43"/>
                      <a:pt x="74" y="43"/>
                    </a:cubicBezTo>
                    <a:cubicBezTo>
                      <a:pt x="73" y="45"/>
                      <a:pt x="72" y="48"/>
                      <a:pt x="71" y="50"/>
                    </a:cubicBezTo>
                    <a:cubicBezTo>
                      <a:pt x="68" y="59"/>
                      <a:pt x="67" y="71"/>
                      <a:pt x="68" y="79"/>
                    </a:cubicBezTo>
                    <a:cubicBezTo>
                      <a:pt x="67" y="71"/>
                      <a:pt x="69" y="61"/>
                      <a:pt x="72" y="53"/>
                    </a:cubicBezTo>
                    <a:cubicBezTo>
                      <a:pt x="73" y="50"/>
                      <a:pt x="74" y="47"/>
                      <a:pt x="75" y="44"/>
                    </a:cubicBezTo>
                    <a:cubicBezTo>
                      <a:pt x="75" y="48"/>
                      <a:pt x="75" y="52"/>
                      <a:pt x="75" y="56"/>
                    </a:cubicBezTo>
                    <a:cubicBezTo>
                      <a:pt x="75" y="62"/>
                      <a:pt x="75" y="68"/>
                      <a:pt x="75" y="74"/>
                    </a:cubicBezTo>
                    <a:cubicBezTo>
                      <a:pt x="73" y="85"/>
                      <a:pt x="69" y="91"/>
                      <a:pt x="64" y="97"/>
                    </a:cubicBezTo>
                    <a:cubicBezTo>
                      <a:pt x="66" y="94"/>
                      <a:pt x="69" y="91"/>
                      <a:pt x="71" y="87"/>
                    </a:cubicBezTo>
                    <a:cubicBezTo>
                      <a:pt x="74" y="81"/>
                      <a:pt x="75" y="74"/>
                      <a:pt x="75" y="67"/>
                    </a:cubicBezTo>
                    <a:cubicBezTo>
                      <a:pt x="75" y="67"/>
                      <a:pt x="75" y="67"/>
                      <a:pt x="75" y="67"/>
                    </a:cubicBezTo>
                    <a:cubicBezTo>
                      <a:pt x="75" y="67"/>
                      <a:pt x="75" y="67"/>
                      <a:pt x="75" y="67"/>
                    </a:cubicBezTo>
                    <a:cubicBezTo>
                      <a:pt x="75" y="67"/>
                      <a:pt x="76" y="67"/>
                      <a:pt x="76" y="67"/>
                    </a:cubicBezTo>
                    <a:cubicBezTo>
                      <a:pt x="76" y="60"/>
                      <a:pt x="76" y="53"/>
                      <a:pt x="77" y="46"/>
                    </a:cubicBezTo>
                    <a:cubicBezTo>
                      <a:pt x="77" y="44"/>
                      <a:pt x="77" y="43"/>
                      <a:pt x="78" y="41"/>
                    </a:cubicBezTo>
                    <a:cubicBezTo>
                      <a:pt x="79" y="39"/>
                      <a:pt x="81" y="37"/>
                      <a:pt x="83" y="35"/>
                    </a:cubicBezTo>
                    <a:cubicBezTo>
                      <a:pt x="83" y="35"/>
                      <a:pt x="83" y="36"/>
                      <a:pt x="83" y="36"/>
                    </a:cubicBezTo>
                    <a:cubicBezTo>
                      <a:pt x="83" y="39"/>
                      <a:pt x="83" y="39"/>
                      <a:pt x="82" y="42"/>
                    </a:cubicBezTo>
                    <a:cubicBezTo>
                      <a:pt x="81" y="45"/>
                      <a:pt x="81" y="49"/>
                      <a:pt x="80" y="52"/>
                    </a:cubicBezTo>
                    <a:cubicBezTo>
                      <a:pt x="79" y="56"/>
                      <a:pt x="78" y="61"/>
                      <a:pt x="78" y="65"/>
                    </a:cubicBezTo>
                    <a:cubicBezTo>
                      <a:pt x="77" y="66"/>
                      <a:pt x="77" y="67"/>
                      <a:pt x="76" y="67"/>
                    </a:cubicBezTo>
                    <a:cubicBezTo>
                      <a:pt x="76" y="67"/>
                      <a:pt x="76" y="67"/>
                      <a:pt x="76" y="67"/>
                    </a:cubicBezTo>
                    <a:cubicBezTo>
                      <a:pt x="76" y="67"/>
                      <a:pt x="76" y="67"/>
                      <a:pt x="76" y="67"/>
                    </a:cubicBezTo>
                    <a:cubicBezTo>
                      <a:pt x="77" y="67"/>
                      <a:pt x="77" y="66"/>
                      <a:pt x="78" y="66"/>
                    </a:cubicBezTo>
                    <a:cubicBezTo>
                      <a:pt x="77" y="70"/>
                      <a:pt x="78" y="73"/>
                      <a:pt x="79" y="76"/>
                    </a:cubicBezTo>
                    <a:cubicBezTo>
                      <a:pt x="79" y="76"/>
                      <a:pt x="79" y="76"/>
                      <a:pt x="79" y="76"/>
                    </a:cubicBezTo>
                    <a:cubicBezTo>
                      <a:pt x="79" y="76"/>
                      <a:pt x="79" y="76"/>
                      <a:pt x="79" y="75"/>
                    </a:cubicBezTo>
                    <a:cubicBezTo>
                      <a:pt x="78" y="73"/>
                      <a:pt x="78" y="69"/>
                      <a:pt x="78" y="65"/>
                    </a:cubicBezTo>
                    <a:cubicBezTo>
                      <a:pt x="81" y="61"/>
                      <a:pt x="83" y="51"/>
                      <a:pt x="84" y="44"/>
                    </a:cubicBezTo>
                    <a:cubicBezTo>
                      <a:pt x="84" y="44"/>
                      <a:pt x="84" y="44"/>
                      <a:pt x="84" y="43"/>
                    </a:cubicBezTo>
                    <a:cubicBezTo>
                      <a:pt x="85" y="41"/>
                      <a:pt x="85" y="38"/>
                      <a:pt x="85" y="35"/>
                    </a:cubicBezTo>
                    <a:cubicBezTo>
                      <a:pt x="85" y="32"/>
                      <a:pt x="85" y="30"/>
                      <a:pt x="85" y="27"/>
                    </a:cubicBezTo>
                    <a:cubicBezTo>
                      <a:pt x="87" y="25"/>
                      <a:pt x="89" y="23"/>
                      <a:pt x="92" y="21"/>
                    </a:cubicBezTo>
                    <a:cubicBezTo>
                      <a:pt x="92" y="21"/>
                      <a:pt x="92" y="21"/>
                      <a:pt x="93" y="21"/>
                    </a:cubicBezTo>
                    <a:cubicBezTo>
                      <a:pt x="92" y="24"/>
                      <a:pt x="91" y="26"/>
                      <a:pt x="90" y="28"/>
                    </a:cubicBezTo>
                    <a:cubicBezTo>
                      <a:pt x="88" y="33"/>
                      <a:pt x="87" y="38"/>
                      <a:pt x="87" y="43"/>
                    </a:cubicBezTo>
                    <a:cubicBezTo>
                      <a:pt x="87" y="44"/>
                      <a:pt x="87" y="44"/>
                      <a:pt x="87" y="44"/>
                    </a:cubicBezTo>
                    <a:cubicBezTo>
                      <a:pt x="87" y="44"/>
                      <a:pt x="87" y="44"/>
                      <a:pt x="87" y="44"/>
                    </a:cubicBezTo>
                    <a:cubicBezTo>
                      <a:pt x="87" y="45"/>
                      <a:pt x="87" y="47"/>
                      <a:pt x="87" y="48"/>
                    </a:cubicBezTo>
                    <a:cubicBezTo>
                      <a:pt x="88" y="53"/>
                      <a:pt x="90" y="56"/>
                      <a:pt x="91" y="60"/>
                    </a:cubicBezTo>
                    <a:cubicBezTo>
                      <a:pt x="89" y="53"/>
                      <a:pt x="86" y="45"/>
                      <a:pt x="89" y="35"/>
                    </a:cubicBezTo>
                    <a:cubicBezTo>
                      <a:pt x="91" y="30"/>
                      <a:pt x="93" y="25"/>
                      <a:pt x="95" y="20"/>
                    </a:cubicBezTo>
                    <a:cubicBezTo>
                      <a:pt x="95" y="20"/>
                      <a:pt x="95" y="20"/>
                      <a:pt x="96" y="20"/>
                    </a:cubicBezTo>
                    <a:cubicBezTo>
                      <a:pt x="97" y="24"/>
                      <a:pt x="97" y="28"/>
                      <a:pt x="96" y="33"/>
                    </a:cubicBezTo>
                    <a:cubicBezTo>
                      <a:pt x="96" y="41"/>
                      <a:pt x="94" y="51"/>
                      <a:pt x="91" y="58"/>
                    </a:cubicBezTo>
                    <a:cubicBezTo>
                      <a:pt x="96" y="48"/>
                      <a:pt x="99" y="30"/>
                      <a:pt x="97" y="20"/>
                    </a:cubicBezTo>
                    <a:cubicBezTo>
                      <a:pt x="97" y="20"/>
                      <a:pt x="97" y="20"/>
                      <a:pt x="97" y="19"/>
                    </a:cubicBezTo>
                    <a:cubicBezTo>
                      <a:pt x="98" y="19"/>
                      <a:pt x="100" y="19"/>
                      <a:pt x="101" y="18"/>
                    </a:cubicBezTo>
                    <a:cubicBezTo>
                      <a:pt x="101" y="18"/>
                      <a:pt x="101" y="18"/>
                      <a:pt x="101" y="18"/>
                    </a:cubicBezTo>
                    <a:cubicBezTo>
                      <a:pt x="101" y="23"/>
                      <a:pt x="102" y="28"/>
                      <a:pt x="103" y="32"/>
                    </a:cubicBezTo>
                    <a:cubicBezTo>
                      <a:pt x="103" y="35"/>
                      <a:pt x="104" y="39"/>
                      <a:pt x="104" y="42"/>
                    </a:cubicBezTo>
                    <a:cubicBezTo>
                      <a:pt x="104" y="44"/>
                      <a:pt x="104" y="46"/>
                      <a:pt x="103" y="48"/>
                    </a:cubicBezTo>
                    <a:cubicBezTo>
                      <a:pt x="102" y="53"/>
                      <a:pt x="101" y="58"/>
                      <a:pt x="100" y="62"/>
                    </a:cubicBezTo>
                    <a:cubicBezTo>
                      <a:pt x="99" y="62"/>
                      <a:pt x="99" y="61"/>
                      <a:pt x="99" y="60"/>
                    </a:cubicBezTo>
                    <a:cubicBezTo>
                      <a:pt x="99" y="60"/>
                      <a:pt x="98" y="61"/>
                      <a:pt x="98" y="61"/>
                    </a:cubicBezTo>
                    <a:cubicBezTo>
                      <a:pt x="99" y="64"/>
                      <a:pt x="100" y="67"/>
                      <a:pt x="101" y="70"/>
                    </a:cubicBezTo>
                    <a:cubicBezTo>
                      <a:pt x="101" y="70"/>
                      <a:pt x="101" y="70"/>
                      <a:pt x="101" y="70"/>
                    </a:cubicBezTo>
                    <a:cubicBezTo>
                      <a:pt x="100" y="67"/>
                      <a:pt x="101" y="67"/>
                      <a:pt x="102" y="64"/>
                    </a:cubicBezTo>
                    <a:cubicBezTo>
                      <a:pt x="103" y="60"/>
                      <a:pt x="104" y="57"/>
                      <a:pt x="105" y="53"/>
                    </a:cubicBezTo>
                    <a:cubicBezTo>
                      <a:pt x="106" y="60"/>
                      <a:pt x="106" y="67"/>
                      <a:pt x="106" y="75"/>
                    </a:cubicBezTo>
                    <a:cubicBezTo>
                      <a:pt x="106" y="77"/>
                      <a:pt x="105" y="79"/>
                      <a:pt x="105" y="81"/>
                    </a:cubicBezTo>
                    <a:cubicBezTo>
                      <a:pt x="106" y="82"/>
                      <a:pt x="106" y="82"/>
                      <a:pt x="106" y="83"/>
                    </a:cubicBezTo>
                    <a:cubicBezTo>
                      <a:pt x="107" y="78"/>
                      <a:pt x="108" y="74"/>
                      <a:pt x="108" y="69"/>
                    </a:cubicBezTo>
                    <a:cubicBezTo>
                      <a:pt x="110" y="81"/>
                      <a:pt x="113" y="92"/>
                      <a:pt x="117" y="101"/>
                    </a:cubicBezTo>
                    <a:cubicBezTo>
                      <a:pt x="121" y="109"/>
                      <a:pt x="125" y="114"/>
                      <a:pt x="130" y="118"/>
                    </a:cubicBezTo>
                    <a:cubicBezTo>
                      <a:pt x="126" y="114"/>
                      <a:pt x="122" y="108"/>
                      <a:pt x="118" y="101"/>
                    </a:cubicBezTo>
                    <a:cubicBezTo>
                      <a:pt x="115" y="92"/>
                      <a:pt x="112" y="81"/>
                      <a:pt x="111" y="70"/>
                    </a:cubicBezTo>
                    <a:cubicBezTo>
                      <a:pt x="108" y="53"/>
                      <a:pt x="107" y="35"/>
                      <a:pt x="105" y="17"/>
                    </a:cubicBezTo>
                    <a:cubicBezTo>
                      <a:pt x="105" y="17"/>
                      <a:pt x="106" y="18"/>
                      <a:pt x="106" y="18"/>
                    </a:cubicBezTo>
                    <a:cubicBezTo>
                      <a:pt x="108" y="20"/>
                      <a:pt x="111" y="22"/>
                      <a:pt x="113" y="23"/>
                    </a:cubicBezTo>
                    <a:cubicBezTo>
                      <a:pt x="114" y="24"/>
                      <a:pt x="115" y="25"/>
                      <a:pt x="116" y="25"/>
                    </a:cubicBezTo>
                    <a:cubicBezTo>
                      <a:pt x="117" y="26"/>
                      <a:pt x="117" y="28"/>
                      <a:pt x="117" y="30"/>
                    </a:cubicBezTo>
                    <a:cubicBezTo>
                      <a:pt x="117" y="33"/>
                      <a:pt x="116" y="37"/>
                      <a:pt x="116" y="40"/>
                    </a:cubicBezTo>
                    <a:cubicBezTo>
                      <a:pt x="114" y="54"/>
                      <a:pt x="121" y="63"/>
                      <a:pt x="123" y="75"/>
                    </a:cubicBezTo>
                    <a:cubicBezTo>
                      <a:pt x="122" y="67"/>
                      <a:pt x="119" y="61"/>
                      <a:pt x="117" y="54"/>
                    </a:cubicBezTo>
                    <a:cubicBezTo>
                      <a:pt x="116" y="49"/>
                      <a:pt x="116" y="45"/>
                      <a:pt x="117" y="41"/>
                    </a:cubicBezTo>
                    <a:cubicBezTo>
                      <a:pt x="117" y="37"/>
                      <a:pt x="119" y="33"/>
                      <a:pt x="118" y="28"/>
                    </a:cubicBezTo>
                    <a:cubicBezTo>
                      <a:pt x="124" y="39"/>
                      <a:pt x="127" y="54"/>
                      <a:pt x="134" y="64"/>
                    </a:cubicBezTo>
                    <a:cubicBezTo>
                      <a:pt x="128" y="54"/>
                      <a:pt x="126" y="41"/>
                      <a:pt x="121" y="30"/>
                    </a:cubicBezTo>
                    <a:cubicBezTo>
                      <a:pt x="122" y="30"/>
                      <a:pt x="122" y="30"/>
                      <a:pt x="123" y="30"/>
                    </a:cubicBezTo>
                    <a:cubicBezTo>
                      <a:pt x="123" y="31"/>
                      <a:pt x="124" y="32"/>
                      <a:pt x="125" y="34"/>
                    </a:cubicBezTo>
                    <a:cubicBezTo>
                      <a:pt x="128" y="37"/>
                      <a:pt x="131" y="42"/>
                      <a:pt x="133" y="48"/>
                    </a:cubicBezTo>
                    <a:cubicBezTo>
                      <a:pt x="135" y="53"/>
                      <a:pt x="137" y="59"/>
                      <a:pt x="139" y="64"/>
                    </a:cubicBezTo>
                    <a:cubicBezTo>
                      <a:pt x="140" y="67"/>
                      <a:pt x="142" y="69"/>
                      <a:pt x="143" y="73"/>
                    </a:cubicBezTo>
                    <a:cubicBezTo>
                      <a:pt x="144" y="76"/>
                      <a:pt x="144" y="79"/>
                      <a:pt x="144" y="82"/>
                    </a:cubicBezTo>
                    <a:cubicBezTo>
                      <a:pt x="144" y="86"/>
                      <a:pt x="144" y="90"/>
                      <a:pt x="143" y="93"/>
                    </a:cubicBezTo>
                    <a:cubicBezTo>
                      <a:pt x="142" y="96"/>
                      <a:pt x="140" y="96"/>
                      <a:pt x="138" y="97"/>
                    </a:cubicBezTo>
                    <a:cubicBezTo>
                      <a:pt x="134" y="100"/>
                      <a:pt x="134" y="109"/>
                      <a:pt x="134" y="116"/>
                    </a:cubicBezTo>
                    <a:cubicBezTo>
                      <a:pt x="134" y="111"/>
                      <a:pt x="135" y="104"/>
                      <a:pt x="137" y="101"/>
                    </a:cubicBezTo>
                    <a:cubicBezTo>
                      <a:pt x="139" y="96"/>
                      <a:pt x="142" y="99"/>
                      <a:pt x="144" y="93"/>
                    </a:cubicBezTo>
                    <a:cubicBezTo>
                      <a:pt x="144" y="106"/>
                      <a:pt x="145" y="118"/>
                      <a:pt x="150" y="126"/>
                    </a:cubicBezTo>
                    <a:cubicBezTo>
                      <a:pt x="144" y="116"/>
                      <a:pt x="145" y="103"/>
                      <a:pt x="146" y="89"/>
                    </a:cubicBezTo>
                    <a:cubicBezTo>
                      <a:pt x="148" y="95"/>
                      <a:pt x="151" y="101"/>
                      <a:pt x="154" y="105"/>
                    </a:cubicBezTo>
                    <a:cubicBezTo>
                      <a:pt x="151" y="101"/>
                      <a:pt x="149" y="96"/>
                      <a:pt x="147" y="91"/>
                    </a:cubicBezTo>
                    <a:cubicBezTo>
                      <a:pt x="146" y="88"/>
                      <a:pt x="146" y="87"/>
                      <a:pt x="146" y="84"/>
                    </a:cubicBezTo>
                    <a:cubicBezTo>
                      <a:pt x="146" y="82"/>
                      <a:pt x="146" y="79"/>
                      <a:pt x="145" y="77"/>
                    </a:cubicBezTo>
                    <a:cubicBezTo>
                      <a:pt x="150" y="83"/>
                      <a:pt x="154" y="88"/>
                      <a:pt x="159" y="94"/>
                    </a:cubicBezTo>
                    <a:cubicBezTo>
                      <a:pt x="162" y="99"/>
                      <a:pt x="164" y="104"/>
                      <a:pt x="165" y="111"/>
                    </a:cubicBezTo>
                    <a:cubicBezTo>
                      <a:pt x="164" y="102"/>
                      <a:pt x="161" y="96"/>
                      <a:pt x="157" y="90"/>
                    </a:cubicBezTo>
                    <a:cubicBezTo>
                      <a:pt x="153" y="83"/>
                      <a:pt x="148" y="77"/>
                      <a:pt x="144" y="69"/>
                    </a:cubicBezTo>
                    <a:cubicBezTo>
                      <a:pt x="141" y="62"/>
                      <a:pt x="139" y="54"/>
                      <a:pt x="136" y="46"/>
                    </a:cubicBezTo>
                    <a:cubicBezTo>
                      <a:pt x="134" y="40"/>
                      <a:pt x="132" y="35"/>
                      <a:pt x="129" y="30"/>
                    </a:cubicBezTo>
                    <a:cubicBezTo>
                      <a:pt x="130" y="30"/>
                      <a:pt x="131" y="30"/>
                      <a:pt x="132" y="31"/>
                    </a:cubicBezTo>
                    <a:cubicBezTo>
                      <a:pt x="135" y="33"/>
                      <a:pt x="136" y="38"/>
                      <a:pt x="137" y="41"/>
                    </a:cubicBezTo>
                    <a:cubicBezTo>
                      <a:pt x="139" y="44"/>
                      <a:pt x="140" y="46"/>
                      <a:pt x="141" y="48"/>
                    </a:cubicBezTo>
                    <a:cubicBezTo>
                      <a:pt x="139" y="44"/>
                      <a:pt x="137" y="40"/>
                      <a:pt x="136" y="36"/>
                    </a:cubicBezTo>
                    <a:cubicBezTo>
                      <a:pt x="134" y="30"/>
                      <a:pt x="132" y="27"/>
                      <a:pt x="128" y="28"/>
                    </a:cubicBezTo>
                    <a:cubicBezTo>
                      <a:pt x="128" y="28"/>
                      <a:pt x="128" y="28"/>
                      <a:pt x="128" y="28"/>
                    </a:cubicBezTo>
                    <a:cubicBezTo>
                      <a:pt x="128" y="28"/>
                      <a:pt x="128" y="28"/>
                      <a:pt x="128" y="28"/>
                    </a:cubicBezTo>
                    <a:cubicBezTo>
                      <a:pt x="130" y="28"/>
                      <a:pt x="134" y="28"/>
                      <a:pt x="136" y="32"/>
                    </a:cubicBezTo>
                    <a:cubicBezTo>
                      <a:pt x="139" y="36"/>
                      <a:pt x="140" y="44"/>
                      <a:pt x="142" y="50"/>
                    </a:cubicBezTo>
                    <a:cubicBezTo>
                      <a:pt x="143" y="52"/>
                      <a:pt x="144" y="54"/>
                      <a:pt x="145" y="57"/>
                    </a:cubicBezTo>
                    <a:cubicBezTo>
                      <a:pt x="145" y="59"/>
                      <a:pt x="146" y="62"/>
                      <a:pt x="147" y="64"/>
                    </a:cubicBezTo>
                    <a:cubicBezTo>
                      <a:pt x="149" y="68"/>
                      <a:pt x="152" y="70"/>
                      <a:pt x="155" y="71"/>
                    </a:cubicBezTo>
                    <a:cubicBezTo>
                      <a:pt x="151" y="68"/>
                      <a:pt x="148" y="65"/>
                      <a:pt x="146" y="57"/>
                    </a:cubicBezTo>
                    <a:cubicBezTo>
                      <a:pt x="150" y="63"/>
                      <a:pt x="154" y="65"/>
                      <a:pt x="158" y="69"/>
                    </a:cubicBezTo>
                    <a:cubicBezTo>
                      <a:pt x="154" y="65"/>
                      <a:pt x="150" y="62"/>
                      <a:pt x="147" y="57"/>
                    </a:cubicBezTo>
                    <a:cubicBezTo>
                      <a:pt x="143" y="50"/>
                      <a:pt x="142" y="41"/>
                      <a:pt x="139" y="33"/>
                    </a:cubicBezTo>
                    <a:cubicBezTo>
                      <a:pt x="142" y="35"/>
                      <a:pt x="144" y="37"/>
                      <a:pt x="147" y="39"/>
                    </a:cubicBezTo>
                    <a:cubicBezTo>
                      <a:pt x="148" y="41"/>
                      <a:pt x="149" y="43"/>
                      <a:pt x="150" y="44"/>
                    </a:cubicBezTo>
                    <a:cubicBezTo>
                      <a:pt x="153" y="51"/>
                      <a:pt x="157" y="58"/>
                      <a:pt x="160" y="64"/>
                    </a:cubicBezTo>
                    <a:cubicBezTo>
                      <a:pt x="162" y="67"/>
                      <a:pt x="164" y="70"/>
                      <a:pt x="165" y="73"/>
                    </a:cubicBezTo>
                    <a:cubicBezTo>
                      <a:pt x="166" y="74"/>
                      <a:pt x="166" y="81"/>
                      <a:pt x="166" y="83"/>
                    </a:cubicBezTo>
                    <a:cubicBezTo>
                      <a:pt x="167" y="90"/>
                      <a:pt x="170" y="96"/>
                      <a:pt x="171" y="102"/>
                    </a:cubicBezTo>
                    <a:cubicBezTo>
                      <a:pt x="170" y="97"/>
                      <a:pt x="169" y="93"/>
                      <a:pt x="168" y="88"/>
                    </a:cubicBezTo>
                    <a:cubicBezTo>
                      <a:pt x="166" y="83"/>
                      <a:pt x="167" y="79"/>
                      <a:pt x="167" y="74"/>
                    </a:cubicBezTo>
                    <a:cubicBezTo>
                      <a:pt x="169" y="77"/>
                      <a:pt x="172" y="77"/>
                      <a:pt x="175" y="74"/>
                    </a:cubicBezTo>
                    <a:cubicBezTo>
                      <a:pt x="170" y="79"/>
                      <a:pt x="166" y="72"/>
                      <a:pt x="162" y="66"/>
                    </a:cubicBezTo>
                    <a:cubicBezTo>
                      <a:pt x="159" y="59"/>
                      <a:pt x="156" y="50"/>
                      <a:pt x="152" y="43"/>
                    </a:cubicBezTo>
                    <a:cubicBezTo>
                      <a:pt x="154" y="45"/>
                      <a:pt x="156" y="46"/>
                      <a:pt x="158" y="47"/>
                    </a:cubicBezTo>
                    <a:cubicBezTo>
                      <a:pt x="159" y="47"/>
                      <a:pt x="160" y="47"/>
                      <a:pt x="161" y="48"/>
                    </a:cubicBezTo>
                    <a:cubicBezTo>
                      <a:pt x="161" y="49"/>
                      <a:pt x="161" y="50"/>
                      <a:pt x="162" y="52"/>
                    </a:cubicBezTo>
                    <a:cubicBezTo>
                      <a:pt x="164" y="57"/>
                      <a:pt x="167" y="59"/>
                      <a:pt x="170" y="60"/>
                    </a:cubicBezTo>
                    <a:cubicBezTo>
                      <a:pt x="167" y="58"/>
                      <a:pt x="163" y="55"/>
                      <a:pt x="162" y="48"/>
                    </a:cubicBezTo>
                    <a:cubicBezTo>
                      <a:pt x="166" y="49"/>
                      <a:pt x="170" y="48"/>
                      <a:pt x="175" y="47"/>
                    </a:cubicBezTo>
                    <a:cubicBezTo>
                      <a:pt x="168" y="48"/>
                      <a:pt x="162" y="47"/>
                      <a:pt x="156" y="43"/>
                    </a:cubicBezTo>
                    <a:cubicBezTo>
                      <a:pt x="148" y="38"/>
                      <a:pt x="142" y="28"/>
                      <a:pt x="134" y="23"/>
                    </a:cubicBezTo>
                    <a:cubicBezTo>
                      <a:pt x="138" y="23"/>
                      <a:pt x="143" y="24"/>
                      <a:pt x="147" y="26"/>
                    </a:cubicBezTo>
                    <a:cubicBezTo>
                      <a:pt x="152" y="27"/>
                      <a:pt x="156" y="28"/>
                      <a:pt x="160" y="30"/>
                    </a:cubicBezTo>
                    <a:cubicBezTo>
                      <a:pt x="168" y="35"/>
                      <a:pt x="175" y="46"/>
                      <a:pt x="184" y="44"/>
                    </a:cubicBezTo>
                    <a:cubicBezTo>
                      <a:pt x="177" y="45"/>
                      <a:pt x="172" y="38"/>
                      <a:pt x="166" y="32"/>
                    </a:cubicBezTo>
                    <a:close/>
                    <a:moveTo>
                      <a:pt x="78" y="65"/>
                    </a:moveTo>
                    <a:cubicBezTo>
                      <a:pt x="79" y="57"/>
                      <a:pt x="81" y="49"/>
                      <a:pt x="83" y="43"/>
                    </a:cubicBezTo>
                    <a:cubicBezTo>
                      <a:pt x="83" y="51"/>
                      <a:pt x="81" y="60"/>
                      <a:pt x="78" y="65"/>
                    </a:cubicBezTo>
                    <a:close/>
                  </a:path>
                </a:pathLst>
              </a:custGeom>
              <a:solidFill>
                <a:schemeClr val="tx1">
                  <a:lumMod val="65000"/>
                  <a:lumOff val="3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grpSp>
      </p:grpSp>
      <p:grpSp>
        <p:nvGrpSpPr>
          <p:cNvPr id="41" name="Group 94">
            <a:extLst>
              <a:ext uri="{FF2B5EF4-FFF2-40B4-BE49-F238E27FC236}">
                <a16:creationId xmlns:a16="http://schemas.microsoft.com/office/drawing/2014/main" id="{D33728C9-118D-418F-82DC-A662252BDF22}"/>
              </a:ext>
            </a:extLst>
          </p:cNvPr>
          <p:cNvGrpSpPr/>
          <p:nvPr/>
        </p:nvGrpSpPr>
        <p:grpSpPr>
          <a:xfrm>
            <a:off x="3667200" y="4336168"/>
            <a:ext cx="2116848" cy="1622309"/>
            <a:chOff x="6933664" y="1075295"/>
            <a:chExt cx="2116848" cy="1622309"/>
          </a:xfrm>
        </p:grpSpPr>
        <p:sp>
          <p:nvSpPr>
            <p:cNvPr id="42" name="Rectangle 95">
              <a:extLst>
                <a:ext uri="{FF2B5EF4-FFF2-40B4-BE49-F238E27FC236}">
                  <a16:creationId xmlns:a16="http://schemas.microsoft.com/office/drawing/2014/main" id="{899CB143-FE06-4B9E-8070-40D72F9E3BF0}"/>
                </a:ext>
              </a:extLst>
            </p:cNvPr>
            <p:cNvSpPr/>
            <p:nvPr/>
          </p:nvSpPr>
          <p:spPr>
            <a:xfrm>
              <a:off x="6933664" y="1794215"/>
              <a:ext cx="2116848" cy="903389"/>
            </a:xfrm>
            <a:prstGeom prst="rect">
              <a:avLst/>
            </a:prstGeom>
          </p:spPr>
          <p:txBody>
            <a:bodyPr wrap="square">
              <a:spAutoFit/>
            </a:bodyPr>
            <a:lstStyle/>
            <a:p>
              <a:pPr marL="0" marR="0" lvl="0" indent="0" algn="ctr" defTabSz="914400" rtl="0" eaLnBrk="1" fontAlgn="auto" latinLnBrk="0" hangingPunct="1">
                <a:lnSpc>
                  <a:spcPct val="13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lumMod val="50000"/>
                      <a:lumOff val="50000"/>
                    </a:srgbClr>
                  </a:solidFill>
                  <a:effectLst/>
                  <a:uLnTx/>
                  <a:uFillTx/>
                  <a:latin typeface="等线" panose="020F0502020204030204"/>
                  <a:ea typeface="Open Sans Light" panose="020B0306030504020204" pitchFamily="34" charset="0"/>
                  <a:cs typeface="Segoe UI" panose="020B0502040204020203" pitchFamily="34" charset="0"/>
                </a:rPr>
                <a:t>Their pronunciation and their most common words. </a:t>
              </a:r>
            </a:p>
          </p:txBody>
        </p:sp>
        <p:sp>
          <p:nvSpPr>
            <p:cNvPr id="43" name="Rectangle 96">
              <a:extLst>
                <a:ext uri="{FF2B5EF4-FFF2-40B4-BE49-F238E27FC236}">
                  <a16:creationId xmlns:a16="http://schemas.microsoft.com/office/drawing/2014/main" id="{C6D0D42E-7FE2-4574-9F7F-81CF94E5B1D4}"/>
                </a:ext>
              </a:extLst>
            </p:cNvPr>
            <p:cNvSpPr/>
            <p:nvPr/>
          </p:nvSpPr>
          <p:spPr>
            <a:xfrm>
              <a:off x="7036623" y="1075295"/>
              <a:ext cx="1910928" cy="737574"/>
            </a:xfrm>
            <a:prstGeom prst="rect">
              <a:avLst/>
            </a:prstGeom>
          </p:spPr>
          <p:txBody>
            <a:bodyPr wrap="square">
              <a:spAutoFit/>
            </a:bodyPr>
            <a:lstStyle/>
            <a:p>
              <a:pPr marL="0" marR="0" lvl="0" indent="0" algn="ctr" defTabSz="914400" rtl="0" eaLnBrk="1" fontAlgn="auto" latinLnBrk="0" hangingPunct="1">
                <a:lnSpc>
                  <a:spcPct val="130000"/>
                </a:lnSpc>
                <a:spcBef>
                  <a:spcPts val="0"/>
                </a:spcBef>
                <a:spcAft>
                  <a:spcPts val="0"/>
                </a:spcAft>
                <a:buClrTx/>
                <a:buSzTx/>
                <a:buFontTx/>
                <a:buNone/>
                <a:tabLst/>
                <a:defRPr/>
              </a:pPr>
              <a:r>
                <a:rPr kumimoji="0" lang="en-US" sz="3600" b="1" i="0" u="none" strike="noStrike" kern="1200" cap="none" spc="0" normalizeH="0" baseline="0" noProof="0" dirty="0">
                  <a:ln>
                    <a:noFill/>
                  </a:ln>
                  <a:solidFill>
                    <a:srgbClr val="FF4C38"/>
                  </a:solidFill>
                  <a:effectLst/>
                  <a:uLnTx/>
                  <a:uFillTx/>
                  <a:latin typeface="等线 Light" panose="020F0302020204030204"/>
                  <a:ea typeface="Open Sans Light" panose="020B0306030504020204" pitchFamily="34" charset="0"/>
                  <a:cs typeface="Poppins" panose="02000000000000000000" pitchFamily="2" charset="0"/>
                </a:rPr>
                <a:t>440K</a:t>
              </a:r>
              <a:endParaRPr kumimoji="0" lang="en-US" sz="3600" b="1" i="0" u="none" strike="noStrike" kern="1200" cap="none" spc="0" normalizeH="0" baseline="30000" noProof="0" dirty="0">
                <a:ln>
                  <a:noFill/>
                </a:ln>
                <a:solidFill>
                  <a:srgbClr val="FF4C38"/>
                </a:solidFill>
                <a:effectLst/>
                <a:uLnTx/>
                <a:uFillTx/>
                <a:latin typeface="等线 Light" panose="020F0302020204030204"/>
                <a:ea typeface="Open Sans Light" panose="020B0306030504020204" pitchFamily="34" charset="0"/>
                <a:cs typeface="Poppins" panose="02000000000000000000" pitchFamily="2" charset="0"/>
              </a:endParaRPr>
            </a:p>
          </p:txBody>
        </p:sp>
      </p:grpSp>
      <p:grpSp>
        <p:nvGrpSpPr>
          <p:cNvPr id="44" name="Group 78">
            <a:extLst>
              <a:ext uri="{FF2B5EF4-FFF2-40B4-BE49-F238E27FC236}">
                <a16:creationId xmlns:a16="http://schemas.microsoft.com/office/drawing/2014/main" id="{CF8C2713-B9D1-4F30-8893-6A17B98E97CC}"/>
              </a:ext>
            </a:extLst>
          </p:cNvPr>
          <p:cNvGrpSpPr/>
          <p:nvPr/>
        </p:nvGrpSpPr>
        <p:grpSpPr>
          <a:xfrm>
            <a:off x="6746288" y="1814757"/>
            <a:ext cx="1402079" cy="2363318"/>
            <a:chOff x="6184401" y="1709526"/>
            <a:chExt cx="1402079" cy="2363318"/>
          </a:xfrm>
        </p:grpSpPr>
        <p:grpSp>
          <p:nvGrpSpPr>
            <p:cNvPr id="45" name="Group 48">
              <a:extLst>
                <a:ext uri="{FF2B5EF4-FFF2-40B4-BE49-F238E27FC236}">
                  <a16:creationId xmlns:a16="http://schemas.microsoft.com/office/drawing/2014/main" id="{8D75A346-CEB0-48DC-A7F5-A1C14C734DC6}"/>
                </a:ext>
              </a:extLst>
            </p:cNvPr>
            <p:cNvGrpSpPr/>
            <p:nvPr/>
          </p:nvGrpSpPr>
          <p:grpSpPr>
            <a:xfrm>
              <a:off x="6184401" y="2373728"/>
              <a:ext cx="1402079" cy="1699116"/>
              <a:chOff x="6184401" y="2373728"/>
              <a:chExt cx="1402079" cy="1699116"/>
            </a:xfrm>
          </p:grpSpPr>
          <p:sp>
            <p:nvSpPr>
              <p:cNvPr id="52" name="Freeform 7">
                <a:extLst>
                  <a:ext uri="{FF2B5EF4-FFF2-40B4-BE49-F238E27FC236}">
                    <a16:creationId xmlns:a16="http://schemas.microsoft.com/office/drawing/2014/main" id="{ACC41B8C-E8F8-42EA-BD6F-3FFC3BE27190}"/>
                  </a:ext>
                </a:extLst>
              </p:cNvPr>
              <p:cNvSpPr>
                <a:spLocks/>
              </p:cNvSpPr>
              <p:nvPr/>
            </p:nvSpPr>
            <p:spPr bwMode="auto">
              <a:xfrm>
                <a:off x="6195009" y="2626563"/>
                <a:ext cx="1380862" cy="1446281"/>
              </a:xfrm>
              <a:custGeom>
                <a:avLst/>
                <a:gdLst>
                  <a:gd name="T0" fmla="*/ 1516 w 1562"/>
                  <a:gd name="T1" fmla="*/ 0 h 1636"/>
                  <a:gd name="T2" fmla="*/ 1562 w 1562"/>
                  <a:gd name="T3" fmla="*/ 11 h 1636"/>
                  <a:gd name="T4" fmla="*/ 781 w 1562"/>
                  <a:gd name="T5" fmla="*/ 1636 h 1636"/>
                  <a:gd name="T6" fmla="*/ 0 w 1562"/>
                  <a:gd name="T7" fmla="*/ 11 h 1636"/>
                  <a:gd name="T8" fmla="*/ 57 w 1562"/>
                  <a:gd name="T9" fmla="*/ 0 h 1636"/>
                  <a:gd name="T10" fmla="*/ 1516 w 1562"/>
                  <a:gd name="T11" fmla="*/ 0 h 1636"/>
                </a:gdLst>
                <a:ahLst/>
                <a:cxnLst>
                  <a:cxn ang="0">
                    <a:pos x="T0" y="T1"/>
                  </a:cxn>
                  <a:cxn ang="0">
                    <a:pos x="T2" y="T3"/>
                  </a:cxn>
                  <a:cxn ang="0">
                    <a:pos x="T4" y="T5"/>
                  </a:cxn>
                  <a:cxn ang="0">
                    <a:pos x="T6" y="T7"/>
                  </a:cxn>
                  <a:cxn ang="0">
                    <a:pos x="T8" y="T9"/>
                  </a:cxn>
                  <a:cxn ang="0">
                    <a:pos x="T10" y="T11"/>
                  </a:cxn>
                </a:cxnLst>
                <a:rect l="0" t="0" r="r" b="b"/>
                <a:pathLst>
                  <a:path w="1562" h="1636">
                    <a:moveTo>
                      <a:pt x="1516" y="0"/>
                    </a:moveTo>
                    <a:lnTo>
                      <a:pt x="1562" y="11"/>
                    </a:lnTo>
                    <a:lnTo>
                      <a:pt x="781" y="1636"/>
                    </a:lnTo>
                    <a:lnTo>
                      <a:pt x="0" y="11"/>
                    </a:lnTo>
                    <a:lnTo>
                      <a:pt x="57" y="0"/>
                    </a:lnTo>
                    <a:lnTo>
                      <a:pt x="1516" y="0"/>
                    </a:lnTo>
                    <a:close/>
                  </a:path>
                </a:pathLst>
              </a:custGeom>
              <a:gradFill flip="none" rotWithShape="1">
                <a:gsLst>
                  <a:gs pos="0">
                    <a:schemeClr val="accent3">
                      <a:lumMod val="50000"/>
                    </a:schemeClr>
                  </a:gs>
                  <a:gs pos="50000">
                    <a:schemeClr val="accent3">
                      <a:lumMod val="75000"/>
                    </a:schemeClr>
                  </a:gs>
                  <a:gs pos="100000">
                    <a:schemeClr val="accent3"/>
                  </a:gs>
                </a:gsLst>
                <a:lin ang="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53" name="Oval 5">
                <a:extLst>
                  <a:ext uri="{FF2B5EF4-FFF2-40B4-BE49-F238E27FC236}">
                    <a16:creationId xmlns:a16="http://schemas.microsoft.com/office/drawing/2014/main" id="{74E7BAC4-79AE-4BF9-8A9B-08FEA60C8017}"/>
                  </a:ext>
                </a:extLst>
              </p:cNvPr>
              <p:cNvSpPr>
                <a:spLocks noChangeArrowheads="1"/>
              </p:cNvSpPr>
              <p:nvPr/>
            </p:nvSpPr>
            <p:spPr bwMode="auto">
              <a:xfrm>
                <a:off x="6184401" y="2373728"/>
                <a:ext cx="1402079" cy="455278"/>
              </a:xfrm>
              <a:prstGeom prst="ellipse">
                <a:avLst/>
              </a:prstGeom>
              <a:solidFill>
                <a:schemeClr val="accent3">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grpSp>
          <p:nvGrpSpPr>
            <p:cNvPr id="46" name="Group 75">
              <a:extLst>
                <a:ext uri="{FF2B5EF4-FFF2-40B4-BE49-F238E27FC236}">
                  <a16:creationId xmlns:a16="http://schemas.microsoft.com/office/drawing/2014/main" id="{35D6FF03-B260-4E11-9ED4-36A4D624562A}"/>
                </a:ext>
              </a:extLst>
            </p:cNvPr>
            <p:cNvGrpSpPr/>
            <p:nvPr/>
          </p:nvGrpSpPr>
          <p:grpSpPr>
            <a:xfrm>
              <a:off x="6555426" y="1709526"/>
              <a:ext cx="660027" cy="1038258"/>
              <a:chOff x="6555426" y="1709526"/>
              <a:chExt cx="660027" cy="1038258"/>
            </a:xfrm>
          </p:grpSpPr>
          <p:sp>
            <p:nvSpPr>
              <p:cNvPr id="47" name="Freeform 26">
                <a:extLst>
                  <a:ext uri="{FF2B5EF4-FFF2-40B4-BE49-F238E27FC236}">
                    <a16:creationId xmlns:a16="http://schemas.microsoft.com/office/drawing/2014/main" id="{70ACA3FB-5F6C-4DD4-8025-C96EDDB4DB47}"/>
                  </a:ext>
                </a:extLst>
              </p:cNvPr>
              <p:cNvSpPr>
                <a:spLocks noEditPoints="1"/>
              </p:cNvSpPr>
              <p:nvPr/>
            </p:nvSpPr>
            <p:spPr bwMode="auto">
              <a:xfrm>
                <a:off x="6679655" y="2516185"/>
                <a:ext cx="414924" cy="231599"/>
              </a:xfrm>
              <a:custGeom>
                <a:avLst/>
                <a:gdLst>
                  <a:gd name="T0" fmla="*/ 136 w 193"/>
                  <a:gd name="T1" fmla="*/ 15 h 134"/>
                  <a:gd name="T2" fmla="*/ 108 w 193"/>
                  <a:gd name="T3" fmla="*/ 4 h 134"/>
                  <a:gd name="T4" fmla="*/ 90 w 193"/>
                  <a:gd name="T5" fmla="*/ 6 h 134"/>
                  <a:gd name="T6" fmla="*/ 73 w 193"/>
                  <a:gd name="T7" fmla="*/ 24 h 134"/>
                  <a:gd name="T8" fmla="*/ 27 w 193"/>
                  <a:gd name="T9" fmla="*/ 40 h 134"/>
                  <a:gd name="T10" fmla="*/ 59 w 193"/>
                  <a:gd name="T11" fmla="*/ 31 h 134"/>
                  <a:gd name="T12" fmla="*/ 23 w 193"/>
                  <a:gd name="T13" fmla="*/ 68 h 134"/>
                  <a:gd name="T14" fmla="*/ 40 w 193"/>
                  <a:gd name="T15" fmla="*/ 51 h 134"/>
                  <a:gd name="T16" fmla="*/ 25 w 193"/>
                  <a:gd name="T17" fmla="*/ 96 h 134"/>
                  <a:gd name="T18" fmla="*/ 32 w 193"/>
                  <a:gd name="T19" fmla="*/ 72 h 134"/>
                  <a:gd name="T20" fmla="*/ 46 w 193"/>
                  <a:gd name="T21" fmla="*/ 65 h 134"/>
                  <a:gd name="T22" fmla="*/ 45 w 193"/>
                  <a:gd name="T23" fmla="*/ 72 h 134"/>
                  <a:gd name="T24" fmla="*/ 65 w 193"/>
                  <a:gd name="T25" fmla="*/ 36 h 134"/>
                  <a:gd name="T26" fmla="*/ 27 w 193"/>
                  <a:gd name="T27" fmla="*/ 119 h 134"/>
                  <a:gd name="T28" fmla="*/ 45 w 193"/>
                  <a:gd name="T29" fmla="*/ 99 h 134"/>
                  <a:gd name="T30" fmla="*/ 48 w 193"/>
                  <a:gd name="T31" fmla="*/ 101 h 134"/>
                  <a:gd name="T32" fmla="*/ 49 w 193"/>
                  <a:gd name="T33" fmla="*/ 101 h 134"/>
                  <a:gd name="T34" fmla="*/ 59 w 193"/>
                  <a:gd name="T35" fmla="*/ 56 h 134"/>
                  <a:gd name="T36" fmla="*/ 83 w 193"/>
                  <a:gd name="T37" fmla="*/ 32 h 134"/>
                  <a:gd name="T38" fmla="*/ 76 w 193"/>
                  <a:gd name="T39" fmla="*/ 41 h 134"/>
                  <a:gd name="T40" fmla="*/ 68 w 193"/>
                  <a:gd name="T41" fmla="*/ 79 h 134"/>
                  <a:gd name="T42" fmla="*/ 75 w 193"/>
                  <a:gd name="T43" fmla="*/ 74 h 134"/>
                  <a:gd name="T44" fmla="*/ 75 w 193"/>
                  <a:gd name="T45" fmla="*/ 67 h 134"/>
                  <a:gd name="T46" fmla="*/ 78 w 193"/>
                  <a:gd name="T47" fmla="*/ 41 h 134"/>
                  <a:gd name="T48" fmla="*/ 80 w 193"/>
                  <a:gd name="T49" fmla="*/ 52 h 134"/>
                  <a:gd name="T50" fmla="*/ 76 w 193"/>
                  <a:gd name="T51" fmla="*/ 67 h 134"/>
                  <a:gd name="T52" fmla="*/ 79 w 193"/>
                  <a:gd name="T53" fmla="*/ 75 h 134"/>
                  <a:gd name="T54" fmla="*/ 85 w 193"/>
                  <a:gd name="T55" fmla="*/ 35 h 134"/>
                  <a:gd name="T56" fmla="*/ 90 w 193"/>
                  <a:gd name="T57" fmla="*/ 28 h 134"/>
                  <a:gd name="T58" fmla="*/ 87 w 193"/>
                  <a:gd name="T59" fmla="*/ 48 h 134"/>
                  <a:gd name="T60" fmla="*/ 96 w 193"/>
                  <a:gd name="T61" fmla="*/ 20 h 134"/>
                  <a:gd name="T62" fmla="*/ 97 w 193"/>
                  <a:gd name="T63" fmla="*/ 19 h 134"/>
                  <a:gd name="T64" fmla="*/ 104 w 193"/>
                  <a:gd name="T65" fmla="*/ 42 h 134"/>
                  <a:gd name="T66" fmla="*/ 98 w 193"/>
                  <a:gd name="T67" fmla="*/ 61 h 134"/>
                  <a:gd name="T68" fmla="*/ 105 w 193"/>
                  <a:gd name="T69" fmla="*/ 53 h 134"/>
                  <a:gd name="T70" fmla="*/ 108 w 193"/>
                  <a:gd name="T71" fmla="*/ 69 h 134"/>
                  <a:gd name="T72" fmla="*/ 111 w 193"/>
                  <a:gd name="T73" fmla="*/ 70 h 134"/>
                  <a:gd name="T74" fmla="*/ 116 w 193"/>
                  <a:gd name="T75" fmla="*/ 25 h 134"/>
                  <a:gd name="T76" fmla="*/ 117 w 193"/>
                  <a:gd name="T77" fmla="*/ 54 h 134"/>
                  <a:gd name="T78" fmla="*/ 121 w 193"/>
                  <a:gd name="T79" fmla="*/ 30 h 134"/>
                  <a:gd name="T80" fmla="*/ 139 w 193"/>
                  <a:gd name="T81" fmla="*/ 64 h 134"/>
                  <a:gd name="T82" fmla="*/ 138 w 193"/>
                  <a:gd name="T83" fmla="*/ 97 h 134"/>
                  <a:gd name="T84" fmla="*/ 150 w 193"/>
                  <a:gd name="T85" fmla="*/ 126 h 134"/>
                  <a:gd name="T86" fmla="*/ 146 w 193"/>
                  <a:gd name="T87" fmla="*/ 84 h 134"/>
                  <a:gd name="T88" fmla="*/ 157 w 193"/>
                  <a:gd name="T89" fmla="*/ 90 h 134"/>
                  <a:gd name="T90" fmla="*/ 132 w 193"/>
                  <a:gd name="T91" fmla="*/ 31 h 134"/>
                  <a:gd name="T92" fmla="*/ 128 w 193"/>
                  <a:gd name="T93" fmla="*/ 28 h 134"/>
                  <a:gd name="T94" fmla="*/ 142 w 193"/>
                  <a:gd name="T95" fmla="*/ 50 h 134"/>
                  <a:gd name="T96" fmla="*/ 146 w 193"/>
                  <a:gd name="T97" fmla="*/ 57 h 134"/>
                  <a:gd name="T98" fmla="*/ 147 w 193"/>
                  <a:gd name="T99" fmla="*/ 39 h 134"/>
                  <a:gd name="T100" fmla="*/ 166 w 193"/>
                  <a:gd name="T101" fmla="*/ 83 h 134"/>
                  <a:gd name="T102" fmla="*/ 175 w 193"/>
                  <a:gd name="T103" fmla="*/ 74 h 134"/>
                  <a:gd name="T104" fmla="*/ 161 w 193"/>
                  <a:gd name="T105" fmla="*/ 48 h 134"/>
                  <a:gd name="T106" fmla="*/ 175 w 193"/>
                  <a:gd name="T107" fmla="*/ 47 h 134"/>
                  <a:gd name="T108" fmla="*/ 160 w 193"/>
                  <a:gd name="T109" fmla="*/ 30 h 134"/>
                  <a:gd name="T110" fmla="*/ 83 w 193"/>
                  <a:gd name="T111" fmla="*/ 43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93" h="134">
                    <a:moveTo>
                      <a:pt x="166" y="32"/>
                    </a:moveTo>
                    <a:cubicBezTo>
                      <a:pt x="175" y="34"/>
                      <a:pt x="184" y="25"/>
                      <a:pt x="193" y="34"/>
                    </a:cubicBezTo>
                    <a:cubicBezTo>
                      <a:pt x="184" y="23"/>
                      <a:pt x="174" y="31"/>
                      <a:pt x="164" y="27"/>
                    </a:cubicBezTo>
                    <a:cubicBezTo>
                      <a:pt x="155" y="23"/>
                      <a:pt x="145" y="17"/>
                      <a:pt x="136" y="15"/>
                    </a:cubicBezTo>
                    <a:cubicBezTo>
                      <a:pt x="131" y="14"/>
                      <a:pt x="125" y="18"/>
                      <a:pt x="120" y="16"/>
                    </a:cubicBezTo>
                    <a:cubicBezTo>
                      <a:pt x="117" y="15"/>
                      <a:pt x="115" y="13"/>
                      <a:pt x="113" y="11"/>
                    </a:cubicBezTo>
                    <a:cubicBezTo>
                      <a:pt x="113" y="8"/>
                      <a:pt x="111" y="5"/>
                      <a:pt x="108" y="4"/>
                    </a:cubicBezTo>
                    <a:cubicBezTo>
                      <a:pt x="108" y="4"/>
                      <a:pt x="108" y="4"/>
                      <a:pt x="108" y="4"/>
                    </a:cubicBezTo>
                    <a:cubicBezTo>
                      <a:pt x="107" y="3"/>
                      <a:pt x="105" y="2"/>
                      <a:pt x="104" y="1"/>
                    </a:cubicBezTo>
                    <a:cubicBezTo>
                      <a:pt x="103" y="1"/>
                      <a:pt x="103" y="1"/>
                      <a:pt x="103" y="1"/>
                    </a:cubicBezTo>
                    <a:cubicBezTo>
                      <a:pt x="103" y="1"/>
                      <a:pt x="103" y="1"/>
                      <a:pt x="103" y="1"/>
                    </a:cubicBezTo>
                    <a:cubicBezTo>
                      <a:pt x="99" y="0"/>
                      <a:pt x="94" y="2"/>
                      <a:pt x="90" y="6"/>
                    </a:cubicBezTo>
                    <a:cubicBezTo>
                      <a:pt x="89" y="7"/>
                      <a:pt x="89" y="7"/>
                      <a:pt x="88" y="8"/>
                    </a:cubicBezTo>
                    <a:cubicBezTo>
                      <a:pt x="88" y="9"/>
                      <a:pt x="88" y="9"/>
                      <a:pt x="88" y="10"/>
                    </a:cubicBezTo>
                    <a:cubicBezTo>
                      <a:pt x="88" y="10"/>
                      <a:pt x="88" y="10"/>
                      <a:pt x="87" y="11"/>
                    </a:cubicBezTo>
                    <a:cubicBezTo>
                      <a:pt x="82" y="16"/>
                      <a:pt x="78" y="22"/>
                      <a:pt x="73" y="24"/>
                    </a:cubicBezTo>
                    <a:cubicBezTo>
                      <a:pt x="67" y="26"/>
                      <a:pt x="62" y="22"/>
                      <a:pt x="56" y="23"/>
                    </a:cubicBezTo>
                    <a:cubicBezTo>
                      <a:pt x="47" y="25"/>
                      <a:pt x="38" y="31"/>
                      <a:pt x="28" y="35"/>
                    </a:cubicBezTo>
                    <a:cubicBezTo>
                      <a:pt x="19" y="39"/>
                      <a:pt x="9" y="31"/>
                      <a:pt x="0" y="42"/>
                    </a:cubicBezTo>
                    <a:cubicBezTo>
                      <a:pt x="8" y="33"/>
                      <a:pt x="17" y="42"/>
                      <a:pt x="27" y="40"/>
                    </a:cubicBezTo>
                    <a:cubicBezTo>
                      <a:pt x="21" y="46"/>
                      <a:pt x="15" y="53"/>
                      <a:pt x="9" y="52"/>
                    </a:cubicBezTo>
                    <a:cubicBezTo>
                      <a:pt x="17" y="54"/>
                      <a:pt x="24" y="43"/>
                      <a:pt x="32" y="38"/>
                    </a:cubicBezTo>
                    <a:cubicBezTo>
                      <a:pt x="36" y="36"/>
                      <a:pt x="41" y="35"/>
                      <a:pt x="45" y="34"/>
                    </a:cubicBezTo>
                    <a:cubicBezTo>
                      <a:pt x="49" y="32"/>
                      <a:pt x="54" y="31"/>
                      <a:pt x="59" y="31"/>
                    </a:cubicBezTo>
                    <a:cubicBezTo>
                      <a:pt x="51" y="36"/>
                      <a:pt x="44" y="46"/>
                      <a:pt x="36" y="51"/>
                    </a:cubicBezTo>
                    <a:cubicBezTo>
                      <a:pt x="30" y="55"/>
                      <a:pt x="24" y="56"/>
                      <a:pt x="17" y="55"/>
                    </a:cubicBezTo>
                    <a:cubicBezTo>
                      <a:pt x="22" y="56"/>
                      <a:pt x="26" y="57"/>
                      <a:pt x="31" y="56"/>
                    </a:cubicBezTo>
                    <a:cubicBezTo>
                      <a:pt x="30" y="63"/>
                      <a:pt x="26" y="66"/>
                      <a:pt x="23" y="68"/>
                    </a:cubicBezTo>
                    <a:cubicBezTo>
                      <a:pt x="26" y="67"/>
                      <a:pt x="29" y="65"/>
                      <a:pt x="31" y="60"/>
                    </a:cubicBezTo>
                    <a:cubicBezTo>
                      <a:pt x="31" y="58"/>
                      <a:pt x="31" y="57"/>
                      <a:pt x="32" y="56"/>
                    </a:cubicBezTo>
                    <a:cubicBezTo>
                      <a:pt x="32" y="55"/>
                      <a:pt x="33" y="55"/>
                      <a:pt x="34" y="55"/>
                    </a:cubicBezTo>
                    <a:cubicBezTo>
                      <a:pt x="36" y="54"/>
                      <a:pt x="38" y="53"/>
                      <a:pt x="40" y="51"/>
                    </a:cubicBezTo>
                    <a:cubicBezTo>
                      <a:pt x="37" y="58"/>
                      <a:pt x="34" y="67"/>
                      <a:pt x="30" y="74"/>
                    </a:cubicBezTo>
                    <a:cubicBezTo>
                      <a:pt x="27" y="80"/>
                      <a:pt x="22" y="87"/>
                      <a:pt x="18" y="82"/>
                    </a:cubicBezTo>
                    <a:cubicBezTo>
                      <a:pt x="20" y="85"/>
                      <a:pt x="23" y="85"/>
                      <a:pt x="26" y="82"/>
                    </a:cubicBezTo>
                    <a:cubicBezTo>
                      <a:pt x="26" y="87"/>
                      <a:pt x="26" y="91"/>
                      <a:pt x="25" y="96"/>
                    </a:cubicBezTo>
                    <a:cubicBezTo>
                      <a:pt x="24" y="101"/>
                      <a:pt x="22" y="105"/>
                      <a:pt x="21" y="110"/>
                    </a:cubicBezTo>
                    <a:cubicBezTo>
                      <a:pt x="23" y="104"/>
                      <a:pt x="25" y="98"/>
                      <a:pt x="26" y="91"/>
                    </a:cubicBezTo>
                    <a:cubicBezTo>
                      <a:pt x="27" y="89"/>
                      <a:pt x="26" y="82"/>
                      <a:pt x="27" y="81"/>
                    </a:cubicBezTo>
                    <a:cubicBezTo>
                      <a:pt x="29" y="78"/>
                      <a:pt x="31" y="75"/>
                      <a:pt x="32" y="72"/>
                    </a:cubicBezTo>
                    <a:cubicBezTo>
                      <a:pt x="36" y="66"/>
                      <a:pt x="39" y="59"/>
                      <a:pt x="42" y="52"/>
                    </a:cubicBezTo>
                    <a:cubicBezTo>
                      <a:pt x="43" y="51"/>
                      <a:pt x="44" y="49"/>
                      <a:pt x="45" y="47"/>
                    </a:cubicBezTo>
                    <a:cubicBezTo>
                      <a:pt x="48" y="45"/>
                      <a:pt x="50" y="43"/>
                      <a:pt x="53" y="41"/>
                    </a:cubicBezTo>
                    <a:cubicBezTo>
                      <a:pt x="50" y="49"/>
                      <a:pt x="50" y="58"/>
                      <a:pt x="46" y="65"/>
                    </a:cubicBezTo>
                    <a:cubicBezTo>
                      <a:pt x="42" y="70"/>
                      <a:pt x="38" y="73"/>
                      <a:pt x="35" y="77"/>
                    </a:cubicBezTo>
                    <a:cubicBezTo>
                      <a:pt x="39" y="73"/>
                      <a:pt x="43" y="71"/>
                      <a:pt x="46" y="65"/>
                    </a:cubicBezTo>
                    <a:cubicBezTo>
                      <a:pt x="44" y="73"/>
                      <a:pt x="41" y="76"/>
                      <a:pt x="37" y="79"/>
                    </a:cubicBezTo>
                    <a:cubicBezTo>
                      <a:pt x="40" y="78"/>
                      <a:pt x="43" y="76"/>
                      <a:pt x="45" y="72"/>
                    </a:cubicBezTo>
                    <a:cubicBezTo>
                      <a:pt x="46" y="70"/>
                      <a:pt x="47" y="67"/>
                      <a:pt x="48" y="65"/>
                    </a:cubicBezTo>
                    <a:cubicBezTo>
                      <a:pt x="48" y="62"/>
                      <a:pt x="49" y="60"/>
                      <a:pt x="50" y="58"/>
                    </a:cubicBezTo>
                    <a:cubicBezTo>
                      <a:pt x="52" y="52"/>
                      <a:pt x="53" y="44"/>
                      <a:pt x="56" y="40"/>
                    </a:cubicBezTo>
                    <a:cubicBezTo>
                      <a:pt x="58" y="36"/>
                      <a:pt x="62" y="36"/>
                      <a:pt x="65" y="36"/>
                    </a:cubicBezTo>
                    <a:cubicBezTo>
                      <a:pt x="61" y="41"/>
                      <a:pt x="59" y="47"/>
                      <a:pt x="56" y="54"/>
                    </a:cubicBezTo>
                    <a:cubicBezTo>
                      <a:pt x="54" y="62"/>
                      <a:pt x="52" y="70"/>
                      <a:pt x="48" y="77"/>
                    </a:cubicBezTo>
                    <a:cubicBezTo>
                      <a:pt x="44" y="85"/>
                      <a:pt x="40" y="91"/>
                      <a:pt x="35" y="98"/>
                    </a:cubicBezTo>
                    <a:cubicBezTo>
                      <a:pt x="31" y="104"/>
                      <a:pt x="28" y="110"/>
                      <a:pt x="27" y="119"/>
                    </a:cubicBezTo>
                    <a:cubicBezTo>
                      <a:pt x="28" y="112"/>
                      <a:pt x="31" y="107"/>
                      <a:pt x="34" y="102"/>
                    </a:cubicBezTo>
                    <a:cubicBezTo>
                      <a:pt x="38" y="96"/>
                      <a:pt x="43" y="91"/>
                      <a:pt x="47" y="85"/>
                    </a:cubicBezTo>
                    <a:cubicBezTo>
                      <a:pt x="47" y="87"/>
                      <a:pt x="47" y="90"/>
                      <a:pt x="47" y="92"/>
                    </a:cubicBezTo>
                    <a:cubicBezTo>
                      <a:pt x="47" y="95"/>
                      <a:pt x="46" y="96"/>
                      <a:pt x="45" y="99"/>
                    </a:cubicBezTo>
                    <a:cubicBezTo>
                      <a:pt x="43" y="104"/>
                      <a:pt x="41" y="109"/>
                      <a:pt x="38" y="113"/>
                    </a:cubicBezTo>
                    <a:cubicBezTo>
                      <a:pt x="42" y="109"/>
                      <a:pt x="44" y="103"/>
                      <a:pt x="47" y="97"/>
                    </a:cubicBezTo>
                    <a:cubicBezTo>
                      <a:pt x="47" y="111"/>
                      <a:pt x="48" y="124"/>
                      <a:pt x="42" y="134"/>
                    </a:cubicBezTo>
                    <a:cubicBezTo>
                      <a:pt x="48" y="126"/>
                      <a:pt x="48" y="114"/>
                      <a:pt x="48" y="101"/>
                    </a:cubicBezTo>
                    <a:cubicBezTo>
                      <a:pt x="50" y="107"/>
                      <a:pt x="53" y="104"/>
                      <a:pt x="56" y="109"/>
                    </a:cubicBezTo>
                    <a:cubicBezTo>
                      <a:pt x="58" y="112"/>
                      <a:pt x="58" y="119"/>
                      <a:pt x="58" y="124"/>
                    </a:cubicBezTo>
                    <a:cubicBezTo>
                      <a:pt x="58" y="117"/>
                      <a:pt x="58" y="108"/>
                      <a:pt x="54" y="105"/>
                    </a:cubicBezTo>
                    <a:cubicBezTo>
                      <a:pt x="53" y="104"/>
                      <a:pt x="51" y="104"/>
                      <a:pt x="49" y="101"/>
                    </a:cubicBezTo>
                    <a:cubicBezTo>
                      <a:pt x="48" y="98"/>
                      <a:pt x="48" y="94"/>
                      <a:pt x="48" y="90"/>
                    </a:cubicBezTo>
                    <a:cubicBezTo>
                      <a:pt x="48" y="87"/>
                      <a:pt x="49" y="84"/>
                      <a:pt x="50" y="81"/>
                    </a:cubicBezTo>
                    <a:cubicBezTo>
                      <a:pt x="51" y="77"/>
                      <a:pt x="52" y="75"/>
                      <a:pt x="54" y="72"/>
                    </a:cubicBezTo>
                    <a:cubicBezTo>
                      <a:pt x="56" y="67"/>
                      <a:pt x="57" y="61"/>
                      <a:pt x="59" y="56"/>
                    </a:cubicBezTo>
                    <a:cubicBezTo>
                      <a:pt x="61" y="50"/>
                      <a:pt x="64" y="45"/>
                      <a:pt x="67" y="42"/>
                    </a:cubicBezTo>
                    <a:cubicBezTo>
                      <a:pt x="71" y="37"/>
                      <a:pt x="75" y="34"/>
                      <a:pt x="79" y="31"/>
                    </a:cubicBezTo>
                    <a:cubicBezTo>
                      <a:pt x="81" y="30"/>
                      <a:pt x="82" y="29"/>
                      <a:pt x="84" y="28"/>
                    </a:cubicBezTo>
                    <a:cubicBezTo>
                      <a:pt x="84" y="30"/>
                      <a:pt x="84" y="30"/>
                      <a:pt x="83" y="32"/>
                    </a:cubicBezTo>
                    <a:cubicBezTo>
                      <a:pt x="83" y="32"/>
                      <a:pt x="83" y="32"/>
                      <a:pt x="83" y="32"/>
                    </a:cubicBezTo>
                    <a:cubicBezTo>
                      <a:pt x="82" y="33"/>
                      <a:pt x="81" y="34"/>
                      <a:pt x="80" y="35"/>
                    </a:cubicBezTo>
                    <a:cubicBezTo>
                      <a:pt x="79" y="36"/>
                      <a:pt x="79" y="37"/>
                      <a:pt x="78" y="37"/>
                    </a:cubicBezTo>
                    <a:cubicBezTo>
                      <a:pt x="77" y="38"/>
                      <a:pt x="76" y="40"/>
                      <a:pt x="76" y="41"/>
                    </a:cubicBezTo>
                    <a:cubicBezTo>
                      <a:pt x="75" y="41"/>
                      <a:pt x="75" y="41"/>
                      <a:pt x="75" y="41"/>
                    </a:cubicBezTo>
                    <a:cubicBezTo>
                      <a:pt x="75" y="42"/>
                      <a:pt x="75" y="43"/>
                      <a:pt x="74" y="43"/>
                    </a:cubicBezTo>
                    <a:cubicBezTo>
                      <a:pt x="73" y="45"/>
                      <a:pt x="72" y="48"/>
                      <a:pt x="71" y="50"/>
                    </a:cubicBezTo>
                    <a:cubicBezTo>
                      <a:pt x="68" y="59"/>
                      <a:pt x="67" y="71"/>
                      <a:pt x="68" y="79"/>
                    </a:cubicBezTo>
                    <a:cubicBezTo>
                      <a:pt x="67" y="71"/>
                      <a:pt x="69" y="61"/>
                      <a:pt x="72" y="53"/>
                    </a:cubicBezTo>
                    <a:cubicBezTo>
                      <a:pt x="73" y="50"/>
                      <a:pt x="74" y="47"/>
                      <a:pt x="75" y="44"/>
                    </a:cubicBezTo>
                    <a:cubicBezTo>
                      <a:pt x="75" y="48"/>
                      <a:pt x="75" y="52"/>
                      <a:pt x="75" y="56"/>
                    </a:cubicBezTo>
                    <a:cubicBezTo>
                      <a:pt x="75" y="62"/>
                      <a:pt x="75" y="68"/>
                      <a:pt x="75" y="74"/>
                    </a:cubicBezTo>
                    <a:cubicBezTo>
                      <a:pt x="73" y="85"/>
                      <a:pt x="69" y="91"/>
                      <a:pt x="64" y="97"/>
                    </a:cubicBezTo>
                    <a:cubicBezTo>
                      <a:pt x="66" y="94"/>
                      <a:pt x="69" y="91"/>
                      <a:pt x="71" y="87"/>
                    </a:cubicBezTo>
                    <a:cubicBezTo>
                      <a:pt x="74" y="81"/>
                      <a:pt x="75" y="74"/>
                      <a:pt x="75" y="67"/>
                    </a:cubicBezTo>
                    <a:cubicBezTo>
                      <a:pt x="75" y="67"/>
                      <a:pt x="75" y="67"/>
                      <a:pt x="75" y="67"/>
                    </a:cubicBezTo>
                    <a:cubicBezTo>
                      <a:pt x="75" y="67"/>
                      <a:pt x="75" y="67"/>
                      <a:pt x="75" y="67"/>
                    </a:cubicBezTo>
                    <a:cubicBezTo>
                      <a:pt x="75" y="67"/>
                      <a:pt x="76" y="67"/>
                      <a:pt x="76" y="67"/>
                    </a:cubicBezTo>
                    <a:cubicBezTo>
                      <a:pt x="76" y="60"/>
                      <a:pt x="76" y="53"/>
                      <a:pt x="77" y="46"/>
                    </a:cubicBezTo>
                    <a:cubicBezTo>
                      <a:pt x="77" y="44"/>
                      <a:pt x="77" y="43"/>
                      <a:pt x="78" y="41"/>
                    </a:cubicBezTo>
                    <a:cubicBezTo>
                      <a:pt x="79" y="39"/>
                      <a:pt x="81" y="37"/>
                      <a:pt x="83" y="35"/>
                    </a:cubicBezTo>
                    <a:cubicBezTo>
                      <a:pt x="83" y="35"/>
                      <a:pt x="83" y="36"/>
                      <a:pt x="83" y="36"/>
                    </a:cubicBezTo>
                    <a:cubicBezTo>
                      <a:pt x="83" y="39"/>
                      <a:pt x="83" y="39"/>
                      <a:pt x="82" y="42"/>
                    </a:cubicBezTo>
                    <a:cubicBezTo>
                      <a:pt x="81" y="45"/>
                      <a:pt x="81" y="49"/>
                      <a:pt x="80" y="52"/>
                    </a:cubicBezTo>
                    <a:cubicBezTo>
                      <a:pt x="79" y="56"/>
                      <a:pt x="78" y="61"/>
                      <a:pt x="78" y="65"/>
                    </a:cubicBezTo>
                    <a:cubicBezTo>
                      <a:pt x="77" y="66"/>
                      <a:pt x="77" y="67"/>
                      <a:pt x="76" y="67"/>
                    </a:cubicBezTo>
                    <a:cubicBezTo>
                      <a:pt x="76" y="67"/>
                      <a:pt x="76" y="67"/>
                      <a:pt x="76" y="67"/>
                    </a:cubicBezTo>
                    <a:cubicBezTo>
                      <a:pt x="76" y="67"/>
                      <a:pt x="76" y="67"/>
                      <a:pt x="76" y="67"/>
                    </a:cubicBezTo>
                    <a:cubicBezTo>
                      <a:pt x="77" y="67"/>
                      <a:pt x="77" y="66"/>
                      <a:pt x="78" y="66"/>
                    </a:cubicBezTo>
                    <a:cubicBezTo>
                      <a:pt x="77" y="70"/>
                      <a:pt x="78" y="73"/>
                      <a:pt x="79" y="76"/>
                    </a:cubicBezTo>
                    <a:cubicBezTo>
                      <a:pt x="79" y="76"/>
                      <a:pt x="79" y="76"/>
                      <a:pt x="79" y="76"/>
                    </a:cubicBezTo>
                    <a:cubicBezTo>
                      <a:pt x="79" y="76"/>
                      <a:pt x="79" y="76"/>
                      <a:pt x="79" y="75"/>
                    </a:cubicBezTo>
                    <a:cubicBezTo>
                      <a:pt x="78" y="73"/>
                      <a:pt x="78" y="69"/>
                      <a:pt x="78" y="65"/>
                    </a:cubicBezTo>
                    <a:cubicBezTo>
                      <a:pt x="81" y="61"/>
                      <a:pt x="83" y="51"/>
                      <a:pt x="84" y="44"/>
                    </a:cubicBezTo>
                    <a:cubicBezTo>
                      <a:pt x="84" y="44"/>
                      <a:pt x="84" y="44"/>
                      <a:pt x="84" y="43"/>
                    </a:cubicBezTo>
                    <a:cubicBezTo>
                      <a:pt x="85" y="41"/>
                      <a:pt x="85" y="38"/>
                      <a:pt x="85" y="35"/>
                    </a:cubicBezTo>
                    <a:cubicBezTo>
                      <a:pt x="85" y="32"/>
                      <a:pt x="85" y="30"/>
                      <a:pt x="85" y="27"/>
                    </a:cubicBezTo>
                    <a:cubicBezTo>
                      <a:pt x="87" y="25"/>
                      <a:pt x="89" y="23"/>
                      <a:pt x="92" y="21"/>
                    </a:cubicBezTo>
                    <a:cubicBezTo>
                      <a:pt x="92" y="21"/>
                      <a:pt x="92" y="21"/>
                      <a:pt x="93" y="21"/>
                    </a:cubicBezTo>
                    <a:cubicBezTo>
                      <a:pt x="92" y="24"/>
                      <a:pt x="91" y="26"/>
                      <a:pt x="90" y="28"/>
                    </a:cubicBezTo>
                    <a:cubicBezTo>
                      <a:pt x="88" y="33"/>
                      <a:pt x="87" y="38"/>
                      <a:pt x="87" y="43"/>
                    </a:cubicBezTo>
                    <a:cubicBezTo>
                      <a:pt x="87" y="44"/>
                      <a:pt x="87" y="44"/>
                      <a:pt x="87" y="44"/>
                    </a:cubicBezTo>
                    <a:cubicBezTo>
                      <a:pt x="87" y="44"/>
                      <a:pt x="87" y="44"/>
                      <a:pt x="87" y="44"/>
                    </a:cubicBezTo>
                    <a:cubicBezTo>
                      <a:pt x="87" y="45"/>
                      <a:pt x="87" y="47"/>
                      <a:pt x="87" y="48"/>
                    </a:cubicBezTo>
                    <a:cubicBezTo>
                      <a:pt x="88" y="53"/>
                      <a:pt x="90" y="56"/>
                      <a:pt x="91" y="60"/>
                    </a:cubicBezTo>
                    <a:cubicBezTo>
                      <a:pt x="89" y="53"/>
                      <a:pt x="86" y="45"/>
                      <a:pt x="89" y="35"/>
                    </a:cubicBezTo>
                    <a:cubicBezTo>
                      <a:pt x="91" y="30"/>
                      <a:pt x="93" y="25"/>
                      <a:pt x="95" y="20"/>
                    </a:cubicBezTo>
                    <a:cubicBezTo>
                      <a:pt x="95" y="20"/>
                      <a:pt x="95" y="20"/>
                      <a:pt x="96" y="20"/>
                    </a:cubicBezTo>
                    <a:cubicBezTo>
                      <a:pt x="97" y="24"/>
                      <a:pt x="97" y="28"/>
                      <a:pt x="96" y="33"/>
                    </a:cubicBezTo>
                    <a:cubicBezTo>
                      <a:pt x="96" y="41"/>
                      <a:pt x="94" y="51"/>
                      <a:pt x="91" y="58"/>
                    </a:cubicBezTo>
                    <a:cubicBezTo>
                      <a:pt x="96" y="48"/>
                      <a:pt x="99" y="30"/>
                      <a:pt x="97" y="20"/>
                    </a:cubicBezTo>
                    <a:cubicBezTo>
                      <a:pt x="97" y="20"/>
                      <a:pt x="97" y="20"/>
                      <a:pt x="97" y="19"/>
                    </a:cubicBezTo>
                    <a:cubicBezTo>
                      <a:pt x="98" y="19"/>
                      <a:pt x="100" y="19"/>
                      <a:pt x="101" y="18"/>
                    </a:cubicBezTo>
                    <a:cubicBezTo>
                      <a:pt x="101" y="18"/>
                      <a:pt x="101" y="18"/>
                      <a:pt x="101" y="18"/>
                    </a:cubicBezTo>
                    <a:cubicBezTo>
                      <a:pt x="101" y="23"/>
                      <a:pt x="102" y="28"/>
                      <a:pt x="103" y="32"/>
                    </a:cubicBezTo>
                    <a:cubicBezTo>
                      <a:pt x="103" y="35"/>
                      <a:pt x="104" y="39"/>
                      <a:pt x="104" y="42"/>
                    </a:cubicBezTo>
                    <a:cubicBezTo>
                      <a:pt x="104" y="44"/>
                      <a:pt x="104" y="46"/>
                      <a:pt x="103" y="48"/>
                    </a:cubicBezTo>
                    <a:cubicBezTo>
                      <a:pt x="102" y="53"/>
                      <a:pt x="101" y="58"/>
                      <a:pt x="100" y="62"/>
                    </a:cubicBezTo>
                    <a:cubicBezTo>
                      <a:pt x="99" y="62"/>
                      <a:pt x="99" y="61"/>
                      <a:pt x="99" y="60"/>
                    </a:cubicBezTo>
                    <a:cubicBezTo>
                      <a:pt x="99" y="60"/>
                      <a:pt x="98" y="61"/>
                      <a:pt x="98" y="61"/>
                    </a:cubicBezTo>
                    <a:cubicBezTo>
                      <a:pt x="99" y="64"/>
                      <a:pt x="100" y="67"/>
                      <a:pt x="101" y="70"/>
                    </a:cubicBezTo>
                    <a:cubicBezTo>
                      <a:pt x="101" y="70"/>
                      <a:pt x="101" y="70"/>
                      <a:pt x="101" y="70"/>
                    </a:cubicBezTo>
                    <a:cubicBezTo>
                      <a:pt x="100" y="67"/>
                      <a:pt x="101" y="67"/>
                      <a:pt x="102" y="64"/>
                    </a:cubicBezTo>
                    <a:cubicBezTo>
                      <a:pt x="103" y="60"/>
                      <a:pt x="104" y="57"/>
                      <a:pt x="105" y="53"/>
                    </a:cubicBezTo>
                    <a:cubicBezTo>
                      <a:pt x="106" y="60"/>
                      <a:pt x="106" y="67"/>
                      <a:pt x="106" y="75"/>
                    </a:cubicBezTo>
                    <a:cubicBezTo>
                      <a:pt x="106" y="77"/>
                      <a:pt x="105" y="79"/>
                      <a:pt x="105" y="81"/>
                    </a:cubicBezTo>
                    <a:cubicBezTo>
                      <a:pt x="106" y="82"/>
                      <a:pt x="106" y="82"/>
                      <a:pt x="106" y="83"/>
                    </a:cubicBezTo>
                    <a:cubicBezTo>
                      <a:pt x="107" y="78"/>
                      <a:pt x="108" y="74"/>
                      <a:pt x="108" y="69"/>
                    </a:cubicBezTo>
                    <a:cubicBezTo>
                      <a:pt x="110" y="81"/>
                      <a:pt x="113" y="92"/>
                      <a:pt x="117" y="101"/>
                    </a:cubicBezTo>
                    <a:cubicBezTo>
                      <a:pt x="121" y="109"/>
                      <a:pt x="125" y="114"/>
                      <a:pt x="130" y="118"/>
                    </a:cubicBezTo>
                    <a:cubicBezTo>
                      <a:pt x="126" y="114"/>
                      <a:pt x="122" y="108"/>
                      <a:pt x="118" y="101"/>
                    </a:cubicBezTo>
                    <a:cubicBezTo>
                      <a:pt x="115" y="92"/>
                      <a:pt x="112" y="81"/>
                      <a:pt x="111" y="70"/>
                    </a:cubicBezTo>
                    <a:cubicBezTo>
                      <a:pt x="108" y="53"/>
                      <a:pt x="107" y="35"/>
                      <a:pt x="105" y="17"/>
                    </a:cubicBezTo>
                    <a:cubicBezTo>
                      <a:pt x="105" y="17"/>
                      <a:pt x="106" y="18"/>
                      <a:pt x="106" y="18"/>
                    </a:cubicBezTo>
                    <a:cubicBezTo>
                      <a:pt x="108" y="20"/>
                      <a:pt x="111" y="22"/>
                      <a:pt x="113" y="23"/>
                    </a:cubicBezTo>
                    <a:cubicBezTo>
                      <a:pt x="114" y="24"/>
                      <a:pt x="115" y="25"/>
                      <a:pt x="116" y="25"/>
                    </a:cubicBezTo>
                    <a:cubicBezTo>
                      <a:pt x="117" y="26"/>
                      <a:pt x="117" y="28"/>
                      <a:pt x="117" y="30"/>
                    </a:cubicBezTo>
                    <a:cubicBezTo>
                      <a:pt x="117" y="33"/>
                      <a:pt x="116" y="37"/>
                      <a:pt x="116" y="40"/>
                    </a:cubicBezTo>
                    <a:cubicBezTo>
                      <a:pt x="114" y="54"/>
                      <a:pt x="121" y="63"/>
                      <a:pt x="123" y="75"/>
                    </a:cubicBezTo>
                    <a:cubicBezTo>
                      <a:pt x="122" y="67"/>
                      <a:pt x="119" y="61"/>
                      <a:pt x="117" y="54"/>
                    </a:cubicBezTo>
                    <a:cubicBezTo>
                      <a:pt x="116" y="49"/>
                      <a:pt x="116" y="45"/>
                      <a:pt x="117" y="41"/>
                    </a:cubicBezTo>
                    <a:cubicBezTo>
                      <a:pt x="117" y="37"/>
                      <a:pt x="119" y="33"/>
                      <a:pt x="118" y="28"/>
                    </a:cubicBezTo>
                    <a:cubicBezTo>
                      <a:pt x="124" y="39"/>
                      <a:pt x="127" y="54"/>
                      <a:pt x="134" y="64"/>
                    </a:cubicBezTo>
                    <a:cubicBezTo>
                      <a:pt x="128" y="54"/>
                      <a:pt x="126" y="41"/>
                      <a:pt x="121" y="30"/>
                    </a:cubicBezTo>
                    <a:cubicBezTo>
                      <a:pt x="122" y="30"/>
                      <a:pt x="122" y="30"/>
                      <a:pt x="123" y="30"/>
                    </a:cubicBezTo>
                    <a:cubicBezTo>
                      <a:pt x="123" y="31"/>
                      <a:pt x="124" y="32"/>
                      <a:pt x="125" y="34"/>
                    </a:cubicBezTo>
                    <a:cubicBezTo>
                      <a:pt x="128" y="37"/>
                      <a:pt x="131" y="42"/>
                      <a:pt x="133" y="48"/>
                    </a:cubicBezTo>
                    <a:cubicBezTo>
                      <a:pt x="135" y="53"/>
                      <a:pt x="137" y="59"/>
                      <a:pt x="139" y="64"/>
                    </a:cubicBezTo>
                    <a:cubicBezTo>
                      <a:pt x="140" y="67"/>
                      <a:pt x="142" y="69"/>
                      <a:pt x="143" y="73"/>
                    </a:cubicBezTo>
                    <a:cubicBezTo>
                      <a:pt x="144" y="76"/>
                      <a:pt x="144" y="79"/>
                      <a:pt x="144" y="82"/>
                    </a:cubicBezTo>
                    <a:cubicBezTo>
                      <a:pt x="144" y="86"/>
                      <a:pt x="144" y="90"/>
                      <a:pt x="143" y="93"/>
                    </a:cubicBezTo>
                    <a:cubicBezTo>
                      <a:pt x="142" y="96"/>
                      <a:pt x="140" y="96"/>
                      <a:pt x="138" y="97"/>
                    </a:cubicBezTo>
                    <a:cubicBezTo>
                      <a:pt x="134" y="100"/>
                      <a:pt x="134" y="109"/>
                      <a:pt x="134" y="116"/>
                    </a:cubicBezTo>
                    <a:cubicBezTo>
                      <a:pt x="134" y="111"/>
                      <a:pt x="135" y="104"/>
                      <a:pt x="137" y="101"/>
                    </a:cubicBezTo>
                    <a:cubicBezTo>
                      <a:pt x="139" y="96"/>
                      <a:pt x="142" y="99"/>
                      <a:pt x="144" y="93"/>
                    </a:cubicBezTo>
                    <a:cubicBezTo>
                      <a:pt x="144" y="106"/>
                      <a:pt x="145" y="118"/>
                      <a:pt x="150" y="126"/>
                    </a:cubicBezTo>
                    <a:cubicBezTo>
                      <a:pt x="144" y="116"/>
                      <a:pt x="145" y="103"/>
                      <a:pt x="146" y="89"/>
                    </a:cubicBezTo>
                    <a:cubicBezTo>
                      <a:pt x="148" y="95"/>
                      <a:pt x="151" y="101"/>
                      <a:pt x="154" y="105"/>
                    </a:cubicBezTo>
                    <a:cubicBezTo>
                      <a:pt x="151" y="101"/>
                      <a:pt x="149" y="96"/>
                      <a:pt x="147" y="91"/>
                    </a:cubicBezTo>
                    <a:cubicBezTo>
                      <a:pt x="146" y="88"/>
                      <a:pt x="146" y="87"/>
                      <a:pt x="146" y="84"/>
                    </a:cubicBezTo>
                    <a:cubicBezTo>
                      <a:pt x="146" y="82"/>
                      <a:pt x="146" y="79"/>
                      <a:pt x="145" y="77"/>
                    </a:cubicBezTo>
                    <a:cubicBezTo>
                      <a:pt x="150" y="83"/>
                      <a:pt x="154" y="88"/>
                      <a:pt x="159" y="94"/>
                    </a:cubicBezTo>
                    <a:cubicBezTo>
                      <a:pt x="162" y="99"/>
                      <a:pt x="164" y="104"/>
                      <a:pt x="165" y="111"/>
                    </a:cubicBezTo>
                    <a:cubicBezTo>
                      <a:pt x="164" y="102"/>
                      <a:pt x="161" y="96"/>
                      <a:pt x="157" y="90"/>
                    </a:cubicBezTo>
                    <a:cubicBezTo>
                      <a:pt x="153" y="83"/>
                      <a:pt x="148" y="77"/>
                      <a:pt x="144" y="69"/>
                    </a:cubicBezTo>
                    <a:cubicBezTo>
                      <a:pt x="141" y="62"/>
                      <a:pt x="139" y="54"/>
                      <a:pt x="136" y="46"/>
                    </a:cubicBezTo>
                    <a:cubicBezTo>
                      <a:pt x="134" y="40"/>
                      <a:pt x="132" y="35"/>
                      <a:pt x="129" y="30"/>
                    </a:cubicBezTo>
                    <a:cubicBezTo>
                      <a:pt x="130" y="30"/>
                      <a:pt x="131" y="30"/>
                      <a:pt x="132" y="31"/>
                    </a:cubicBezTo>
                    <a:cubicBezTo>
                      <a:pt x="135" y="33"/>
                      <a:pt x="136" y="38"/>
                      <a:pt x="137" y="41"/>
                    </a:cubicBezTo>
                    <a:cubicBezTo>
                      <a:pt x="139" y="44"/>
                      <a:pt x="140" y="46"/>
                      <a:pt x="141" y="48"/>
                    </a:cubicBezTo>
                    <a:cubicBezTo>
                      <a:pt x="139" y="44"/>
                      <a:pt x="137" y="40"/>
                      <a:pt x="136" y="36"/>
                    </a:cubicBezTo>
                    <a:cubicBezTo>
                      <a:pt x="134" y="30"/>
                      <a:pt x="132" y="27"/>
                      <a:pt x="128" y="28"/>
                    </a:cubicBezTo>
                    <a:cubicBezTo>
                      <a:pt x="128" y="28"/>
                      <a:pt x="128" y="28"/>
                      <a:pt x="128" y="28"/>
                    </a:cubicBezTo>
                    <a:cubicBezTo>
                      <a:pt x="128" y="28"/>
                      <a:pt x="128" y="28"/>
                      <a:pt x="128" y="28"/>
                    </a:cubicBezTo>
                    <a:cubicBezTo>
                      <a:pt x="130" y="28"/>
                      <a:pt x="134" y="28"/>
                      <a:pt x="136" y="32"/>
                    </a:cubicBezTo>
                    <a:cubicBezTo>
                      <a:pt x="139" y="36"/>
                      <a:pt x="140" y="44"/>
                      <a:pt x="142" y="50"/>
                    </a:cubicBezTo>
                    <a:cubicBezTo>
                      <a:pt x="143" y="52"/>
                      <a:pt x="144" y="54"/>
                      <a:pt x="145" y="57"/>
                    </a:cubicBezTo>
                    <a:cubicBezTo>
                      <a:pt x="145" y="59"/>
                      <a:pt x="146" y="62"/>
                      <a:pt x="147" y="64"/>
                    </a:cubicBezTo>
                    <a:cubicBezTo>
                      <a:pt x="149" y="68"/>
                      <a:pt x="152" y="70"/>
                      <a:pt x="155" y="71"/>
                    </a:cubicBezTo>
                    <a:cubicBezTo>
                      <a:pt x="151" y="68"/>
                      <a:pt x="148" y="65"/>
                      <a:pt x="146" y="57"/>
                    </a:cubicBezTo>
                    <a:cubicBezTo>
                      <a:pt x="150" y="63"/>
                      <a:pt x="154" y="65"/>
                      <a:pt x="158" y="69"/>
                    </a:cubicBezTo>
                    <a:cubicBezTo>
                      <a:pt x="154" y="65"/>
                      <a:pt x="150" y="62"/>
                      <a:pt x="147" y="57"/>
                    </a:cubicBezTo>
                    <a:cubicBezTo>
                      <a:pt x="143" y="50"/>
                      <a:pt x="142" y="41"/>
                      <a:pt x="139" y="33"/>
                    </a:cubicBezTo>
                    <a:cubicBezTo>
                      <a:pt x="142" y="35"/>
                      <a:pt x="144" y="37"/>
                      <a:pt x="147" y="39"/>
                    </a:cubicBezTo>
                    <a:cubicBezTo>
                      <a:pt x="148" y="41"/>
                      <a:pt x="149" y="43"/>
                      <a:pt x="150" y="44"/>
                    </a:cubicBezTo>
                    <a:cubicBezTo>
                      <a:pt x="153" y="51"/>
                      <a:pt x="157" y="58"/>
                      <a:pt x="160" y="64"/>
                    </a:cubicBezTo>
                    <a:cubicBezTo>
                      <a:pt x="162" y="67"/>
                      <a:pt x="164" y="70"/>
                      <a:pt x="165" y="73"/>
                    </a:cubicBezTo>
                    <a:cubicBezTo>
                      <a:pt x="166" y="74"/>
                      <a:pt x="166" y="81"/>
                      <a:pt x="166" y="83"/>
                    </a:cubicBezTo>
                    <a:cubicBezTo>
                      <a:pt x="167" y="90"/>
                      <a:pt x="170" y="96"/>
                      <a:pt x="171" y="102"/>
                    </a:cubicBezTo>
                    <a:cubicBezTo>
                      <a:pt x="170" y="97"/>
                      <a:pt x="169" y="93"/>
                      <a:pt x="168" y="88"/>
                    </a:cubicBezTo>
                    <a:cubicBezTo>
                      <a:pt x="166" y="83"/>
                      <a:pt x="167" y="79"/>
                      <a:pt x="167" y="74"/>
                    </a:cubicBezTo>
                    <a:cubicBezTo>
                      <a:pt x="169" y="77"/>
                      <a:pt x="172" y="77"/>
                      <a:pt x="175" y="74"/>
                    </a:cubicBezTo>
                    <a:cubicBezTo>
                      <a:pt x="170" y="79"/>
                      <a:pt x="166" y="72"/>
                      <a:pt x="162" y="66"/>
                    </a:cubicBezTo>
                    <a:cubicBezTo>
                      <a:pt x="159" y="59"/>
                      <a:pt x="156" y="50"/>
                      <a:pt x="152" y="43"/>
                    </a:cubicBezTo>
                    <a:cubicBezTo>
                      <a:pt x="154" y="45"/>
                      <a:pt x="156" y="46"/>
                      <a:pt x="158" y="47"/>
                    </a:cubicBezTo>
                    <a:cubicBezTo>
                      <a:pt x="159" y="47"/>
                      <a:pt x="160" y="47"/>
                      <a:pt x="161" y="48"/>
                    </a:cubicBezTo>
                    <a:cubicBezTo>
                      <a:pt x="161" y="49"/>
                      <a:pt x="161" y="50"/>
                      <a:pt x="162" y="52"/>
                    </a:cubicBezTo>
                    <a:cubicBezTo>
                      <a:pt x="164" y="57"/>
                      <a:pt x="167" y="59"/>
                      <a:pt x="170" y="60"/>
                    </a:cubicBezTo>
                    <a:cubicBezTo>
                      <a:pt x="167" y="58"/>
                      <a:pt x="163" y="55"/>
                      <a:pt x="162" y="48"/>
                    </a:cubicBezTo>
                    <a:cubicBezTo>
                      <a:pt x="166" y="49"/>
                      <a:pt x="170" y="48"/>
                      <a:pt x="175" y="47"/>
                    </a:cubicBezTo>
                    <a:cubicBezTo>
                      <a:pt x="168" y="48"/>
                      <a:pt x="162" y="47"/>
                      <a:pt x="156" y="43"/>
                    </a:cubicBezTo>
                    <a:cubicBezTo>
                      <a:pt x="148" y="38"/>
                      <a:pt x="142" y="28"/>
                      <a:pt x="134" y="23"/>
                    </a:cubicBezTo>
                    <a:cubicBezTo>
                      <a:pt x="138" y="23"/>
                      <a:pt x="143" y="24"/>
                      <a:pt x="147" y="26"/>
                    </a:cubicBezTo>
                    <a:cubicBezTo>
                      <a:pt x="152" y="27"/>
                      <a:pt x="156" y="28"/>
                      <a:pt x="160" y="30"/>
                    </a:cubicBezTo>
                    <a:cubicBezTo>
                      <a:pt x="168" y="35"/>
                      <a:pt x="175" y="46"/>
                      <a:pt x="184" y="44"/>
                    </a:cubicBezTo>
                    <a:cubicBezTo>
                      <a:pt x="177" y="45"/>
                      <a:pt x="172" y="38"/>
                      <a:pt x="166" y="32"/>
                    </a:cubicBezTo>
                    <a:close/>
                    <a:moveTo>
                      <a:pt x="78" y="65"/>
                    </a:moveTo>
                    <a:cubicBezTo>
                      <a:pt x="79" y="57"/>
                      <a:pt x="81" y="49"/>
                      <a:pt x="83" y="43"/>
                    </a:cubicBezTo>
                    <a:cubicBezTo>
                      <a:pt x="83" y="51"/>
                      <a:pt x="81" y="60"/>
                      <a:pt x="78" y="65"/>
                    </a:cubicBezTo>
                    <a:close/>
                  </a:path>
                </a:pathLst>
              </a:custGeom>
              <a:solidFill>
                <a:schemeClr val="tx1">
                  <a:lumMod val="65000"/>
                  <a:lumOff val="3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48" name="Freeform 9">
                <a:extLst>
                  <a:ext uri="{FF2B5EF4-FFF2-40B4-BE49-F238E27FC236}">
                    <a16:creationId xmlns:a16="http://schemas.microsoft.com/office/drawing/2014/main" id="{B423D809-2A35-4C83-8803-99312C52CE88}"/>
                  </a:ext>
                </a:extLst>
              </p:cNvPr>
              <p:cNvSpPr>
                <a:spLocks/>
              </p:cNvSpPr>
              <p:nvPr/>
            </p:nvSpPr>
            <p:spPr bwMode="auto">
              <a:xfrm>
                <a:off x="6754068" y="1709526"/>
                <a:ext cx="133049" cy="237774"/>
              </a:xfrm>
              <a:custGeom>
                <a:avLst/>
                <a:gdLst>
                  <a:gd name="T0" fmla="*/ 565 w 1789"/>
                  <a:gd name="T1" fmla="*/ 3151 h 3192"/>
                  <a:gd name="T2" fmla="*/ 487 w 1789"/>
                  <a:gd name="T3" fmla="*/ 3071 h 3192"/>
                  <a:gd name="T4" fmla="*/ 388 w 1789"/>
                  <a:gd name="T5" fmla="*/ 2951 h 3192"/>
                  <a:gd name="T6" fmla="*/ 277 w 1789"/>
                  <a:gd name="T7" fmla="*/ 2796 h 3192"/>
                  <a:gd name="T8" fmla="*/ 170 w 1789"/>
                  <a:gd name="T9" fmla="*/ 2609 h 3192"/>
                  <a:gd name="T10" fmla="*/ 80 w 1789"/>
                  <a:gd name="T11" fmla="*/ 2393 h 3192"/>
                  <a:gd name="T12" fmla="*/ 18 w 1789"/>
                  <a:gd name="T13" fmla="*/ 2151 h 3192"/>
                  <a:gd name="T14" fmla="*/ 0 w 1789"/>
                  <a:gd name="T15" fmla="*/ 1887 h 3192"/>
                  <a:gd name="T16" fmla="*/ 38 w 1789"/>
                  <a:gd name="T17" fmla="*/ 1605 h 3192"/>
                  <a:gd name="T18" fmla="*/ 144 w 1789"/>
                  <a:gd name="T19" fmla="*/ 1307 h 3192"/>
                  <a:gd name="T20" fmla="*/ 316 w 1789"/>
                  <a:gd name="T21" fmla="*/ 1012 h 3192"/>
                  <a:gd name="T22" fmla="*/ 503 w 1789"/>
                  <a:gd name="T23" fmla="*/ 760 h 3192"/>
                  <a:gd name="T24" fmla="*/ 695 w 1789"/>
                  <a:gd name="T25" fmla="*/ 555 h 3192"/>
                  <a:gd name="T26" fmla="*/ 886 w 1789"/>
                  <a:gd name="T27" fmla="*/ 389 h 3192"/>
                  <a:gd name="T28" fmla="*/ 1070 w 1789"/>
                  <a:gd name="T29" fmla="*/ 260 h 3192"/>
                  <a:gd name="T30" fmla="*/ 1241 w 1789"/>
                  <a:gd name="T31" fmla="*/ 163 h 3192"/>
                  <a:gd name="T32" fmla="*/ 1394 w 1789"/>
                  <a:gd name="T33" fmla="*/ 92 h 3192"/>
                  <a:gd name="T34" fmla="*/ 1523 w 1789"/>
                  <a:gd name="T35" fmla="*/ 46 h 3192"/>
                  <a:gd name="T36" fmla="*/ 1622 w 1789"/>
                  <a:gd name="T37" fmla="*/ 17 h 3192"/>
                  <a:gd name="T38" fmla="*/ 1699 w 1789"/>
                  <a:gd name="T39" fmla="*/ 1 h 3192"/>
                  <a:gd name="T40" fmla="*/ 1692 w 1789"/>
                  <a:gd name="T41" fmla="*/ 32 h 3192"/>
                  <a:gd name="T42" fmla="*/ 1640 w 1789"/>
                  <a:gd name="T43" fmla="*/ 151 h 3192"/>
                  <a:gd name="T44" fmla="*/ 1600 w 1789"/>
                  <a:gd name="T45" fmla="*/ 257 h 3192"/>
                  <a:gd name="T46" fmla="*/ 1559 w 1789"/>
                  <a:gd name="T47" fmla="*/ 387 h 3192"/>
                  <a:gd name="T48" fmla="*/ 1523 w 1789"/>
                  <a:gd name="T49" fmla="*/ 534 h 3192"/>
                  <a:gd name="T50" fmla="*/ 1496 w 1789"/>
                  <a:gd name="T51" fmla="*/ 696 h 3192"/>
                  <a:gd name="T52" fmla="*/ 1483 w 1789"/>
                  <a:gd name="T53" fmla="*/ 870 h 3192"/>
                  <a:gd name="T54" fmla="*/ 1489 w 1789"/>
                  <a:gd name="T55" fmla="*/ 1052 h 3192"/>
                  <a:gd name="T56" fmla="*/ 1520 w 1789"/>
                  <a:gd name="T57" fmla="*/ 1235 h 3192"/>
                  <a:gd name="T58" fmla="*/ 1597 w 1789"/>
                  <a:gd name="T59" fmla="*/ 1475 h 3192"/>
                  <a:gd name="T60" fmla="*/ 1702 w 1789"/>
                  <a:gd name="T61" fmla="*/ 1774 h 3192"/>
                  <a:gd name="T62" fmla="*/ 1741 w 1789"/>
                  <a:gd name="T63" fmla="*/ 1901 h 3192"/>
                  <a:gd name="T64" fmla="*/ 1770 w 1789"/>
                  <a:gd name="T65" fmla="*/ 2017 h 3192"/>
                  <a:gd name="T66" fmla="*/ 1786 w 1789"/>
                  <a:gd name="T67" fmla="*/ 2128 h 3192"/>
                  <a:gd name="T68" fmla="*/ 1788 w 1789"/>
                  <a:gd name="T69" fmla="*/ 2236 h 3192"/>
                  <a:gd name="T70" fmla="*/ 1775 w 1789"/>
                  <a:gd name="T71" fmla="*/ 2344 h 3192"/>
                  <a:gd name="T72" fmla="*/ 1746 w 1789"/>
                  <a:gd name="T73" fmla="*/ 2458 h 3192"/>
                  <a:gd name="T74" fmla="*/ 1699 w 1789"/>
                  <a:gd name="T75" fmla="*/ 2581 h 3192"/>
                  <a:gd name="T76" fmla="*/ 1632 w 1789"/>
                  <a:gd name="T77" fmla="*/ 2716 h 3192"/>
                  <a:gd name="T78" fmla="*/ 1544 w 1789"/>
                  <a:gd name="T79" fmla="*/ 2846 h 3192"/>
                  <a:gd name="T80" fmla="*/ 1436 w 1789"/>
                  <a:gd name="T81" fmla="*/ 2949 h 3192"/>
                  <a:gd name="T82" fmla="*/ 1316 w 1789"/>
                  <a:gd name="T83" fmla="*/ 3030 h 3192"/>
                  <a:gd name="T84" fmla="*/ 1189 w 1789"/>
                  <a:gd name="T85" fmla="*/ 3091 h 3192"/>
                  <a:gd name="T86" fmla="*/ 1060 w 1789"/>
                  <a:gd name="T87" fmla="*/ 3134 h 3192"/>
                  <a:gd name="T88" fmla="*/ 936 w 1789"/>
                  <a:gd name="T89" fmla="*/ 3163 h 3192"/>
                  <a:gd name="T90" fmla="*/ 824 w 1789"/>
                  <a:gd name="T91" fmla="*/ 3181 h 3192"/>
                  <a:gd name="T92" fmla="*/ 730 w 1789"/>
                  <a:gd name="T93" fmla="*/ 3189 h 3192"/>
                  <a:gd name="T94" fmla="*/ 616 w 1789"/>
                  <a:gd name="T95" fmla="*/ 3192 h 3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789" h="3192">
                    <a:moveTo>
                      <a:pt x="607" y="3191"/>
                    </a:moveTo>
                    <a:lnTo>
                      <a:pt x="596" y="3181"/>
                    </a:lnTo>
                    <a:lnTo>
                      <a:pt x="565" y="3151"/>
                    </a:lnTo>
                    <a:lnTo>
                      <a:pt x="542" y="3130"/>
                    </a:lnTo>
                    <a:lnTo>
                      <a:pt x="517" y="3102"/>
                    </a:lnTo>
                    <a:lnTo>
                      <a:pt x="487" y="3071"/>
                    </a:lnTo>
                    <a:lnTo>
                      <a:pt x="457" y="3036"/>
                    </a:lnTo>
                    <a:lnTo>
                      <a:pt x="422" y="2996"/>
                    </a:lnTo>
                    <a:lnTo>
                      <a:pt x="388" y="2951"/>
                    </a:lnTo>
                    <a:lnTo>
                      <a:pt x="352" y="2903"/>
                    </a:lnTo>
                    <a:lnTo>
                      <a:pt x="315" y="2852"/>
                    </a:lnTo>
                    <a:lnTo>
                      <a:pt x="277" y="2796"/>
                    </a:lnTo>
                    <a:lnTo>
                      <a:pt x="241" y="2738"/>
                    </a:lnTo>
                    <a:lnTo>
                      <a:pt x="204" y="2675"/>
                    </a:lnTo>
                    <a:lnTo>
                      <a:pt x="170" y="2609"/>
                    </a:lnTo>
                    <a:lnTo>
                      <a:pt x="137" y="2540"/>
                    </a:lnTo>
                    <a:lnTo>
                      <a:pt x="107" y="2468"/>
                    </a:lnTo>
                    <a:lnTo>
                      <a:pt x="80" y="2393"/>
                    </a:lnTo>
                    <a:lnTo>
                      <a:pt x="55" y="2315"/>
                    </a:lnTo>
                    <a:lnTo>
                      <a:pt x="34" y="2234"/>
                    </a:lnTo>
                    <a:lnTo>
                      <a:pt x="18" y="2151"/>
                    </a:lnTo>
                    <a:lnTo>
                      <a:pt x="7" y="2065"/>
                    </a:lnTo>
                    <a:lnTo>
                      <a:pt x="0" y="1977"/>
                    </a:lnTo>
                    <a:lnTo>
                      <a:pt x="0" y="1887"/>
                    </a:lnTo>
                    <a:lnTo>
                      <a:pt x="6" y="1796"/>
                    </a:lnTo>
                    <a:lnTo>
                      <a:pt x="17" y="1701"/>
                    </a:lnTo>
                    <a:lnTo>
                      <a:pt x="38" y="1605"/>
                    </a:lnTo>
                    <a:lnTo>
                      <a:pt x="64" y="1507"/>
                    </a:lnTo>
                    <a:lnTo>
                      <a:pt x="100" y="1408"/>
                    </a:lnTo>
                    <a:lnTo>
                      <a:pt x="144" y="1307"/>
                    </a:lnTo>
                    <a:lnTo>
                      <a:pt x="197" y="1206"/>
                    </a:lnTo>
                    <a:lnTo>
                      <a:pt x="256" y="1105"/>
                    </a:lnTo>
                    <a:lnTo>
                      <a:pt x="316" y="1012"/>
                    </a:lnTo>
                    <a:lnTo>
                      <a:pt x="378" y="923"/>
                    </a:lnTo>
                    <a:lnTo>
                      <a:pt x="441" y="839"/>
                    </a:lnTo>
                    <a:lnTo>
                      <a:pt x="503" y="760"/>
                    </a:lnTo>
                    <a:lnTo>
                      <a:pt x="567" y="687"/>
                    </a:lnTo>
                    <a:lnTo>
                      <a:pt x="631" y="619"/>
                    </a:lnTo>
                    <a:lnTo>
                      <a:pt x="695" y="555"/>
                    </a:lnTo>
                    <a:lnTo>
                      <a:pt x="759" y="496"/>
                    </a:lnTo>
                    <a:lnTo>
                      <a:pt x="822" y="441"/>
                    </a:lnTo>
                    <a:lnTo>
                      <a:pt x="886" y="389"/>
                    </a:lnTo>
                    <a:lnTo>
                      <a:pt x="948" y="343"/>
                    </a:lnTo>
                    <a:lnTo>
                      <a:pt x="1009" y="300"/>
                    </a:lnTo>
                    <a:lnTo>
                      <a:pt x="1070" y="260"/>
                    </a:lnTo>
                    <a:lnTo>
                      <a:pt x="1128" y="225"/>
                    </a:lnTo>
                    <a:lnTo>
                      <a:pt x="1185" y="192"/>
                    </a:lnTo>
                    <a:lnTo>
                      <a:pt x="1241" y="163"/>
                    </a:lnTo>
                    <a:lnTo>
                      <a:pt x="1294" y="137"/>
                    </a:lnTo>
                    <a:lnTo>
                      <a:pt x="1345" y="113"/>
                    </a:lnTo>
                    <a:lnTo>
                      <a:pt x="1394" y="92"/>
                    </a:lnTo>
                    <a:lnTo>
                      <a:pt x="1440" y="74"/>
                    </a:lnTo>
                    <a:lnTo>
                      <a:pt x="1483" y="59"/>
                    </a:lnTo>
                    <a:lnTo>
                      <a:pt x="1523" y="46"/>
                    </a:lnTo>
                    <a:lnTo>
                      <a:pt x="1560" y="34"/>
                    </a:lnTo>
                    <a:lnTo>
                      <a:pt x="1593" y="25"/>
                    </a:lnTo>
                    <a:lnTo>
                      <a:pt x="1622" y="17"/>
                    </a:lnTo>
                    <a:lnTo>
                      <a:pt x="1648" y="11"/>
                    </a:lnTo>
                    <a:lnTo>
                      <a:pt x="1669" y="7"/>
                    </a:lnTo>
                    <a:lnTo>
                      <a:pt x="1699" y="1"/>
                    </a:lnTo>
                    <a:lnTo>
                      <a:pt x="1708" y="0"/>
                    </a:lnTo>
                    <a:lnTo>
                      <a:pt x="1705" y="8"/>
                    </a:lnTo>
                    <a:lnTo>
                      <a:pt x="1692" y="32"/>
                    </a:lnTo>
                    <a:lnTo>
                      <a:pt x="1675" y="70"/>
                    </a:lnTo>
                    <a:lnTo>
                      <a:pt x="1652" y="120"/>
                    </a:lnTo>
                    <a:lnTo>
                      <a:pt x="1640" y="151"/>
                    </a:lnTo>
                    <a:lnTo>
                      <a:pt x="1627" y="184"/>
                    </a:lnTo>
                    <a:lnTo>
                      <a:pt x="1613" y="219"/>
                    </a:lnTo>
                    <a:lnTo>
                      <a:pt x="1600" y="257"/>
                    </a:lnTo>
                    <a:lnTo>
                      <a:pt x="1586" y="298"/>
                    </a:lnTo>
                    <a:lnTo>
                      <a:pt x="1572" y="341"/>
                    </a:lnTo>
                    <a:lnTo>
                      <a:pt x="1559" y="387"/>
                    </a:lnTo>
                    <a:lnTo>
                      <a:pt x="1546" y="434"/>
                    </a:lnTo>
                    <a:lnTo>
                      <a:pt x="1535" y="483"/>
                    </a:lnTo>
                    <a:lnTo>
                      <a:pt x="1523" y="534"/>
                    </a:lnTo>
                    <a:lnTo>
                      <a:pt x="1513" y="587"/>
                    </a:lnTo>
                    <a:lnTo>
                      <a:pt x="1504" y="642"/>
                    </a:lnTo>
                    <a:lnTo>
                      <a:pt x="1496" y="696"/>
                    </a:lnTo>
                    <a:lnTo>
                      <a:pt x="1490" y="754"/>
                    </a:lnTo>
                    <a:lnTo>
                      <a:pt x="1485" y="812"/>
                    </a:lnTo>
                    <a:lnTo>
                      <a:pt x="1483" y="870"/>
                    </a:lnTo>
                    <a:lnTo>
                      <a:pt x="1483" y="929"/>
                    </a:lnTo>
                    <a:lnTo>
                      <a:pt x="1484" y="990"/>
                    </a:lnTo>
                    <a:lnTo>
                      <a:pt x="1489" y="1052"/>
                    </a:lnTo>
                    <a:lnTo>
                      <a:pt x="1497" y="1112"/>
                    </a:lnTo>
                    <a:lnTo>
                      <a:pt x="1507" y="1174"/>
                    </a:lnTo>
                    <a:lnTo>
                      <a:pt x="1520" y="1235"/>
                    </a:lnTo>
                    <a:lnTo>
                      <a:pt x="1536" y="1297"/>
                    </a:lnTo>
                    <a:lnTo>
                      <a:pt x="1556" y="1359"/>
                    </a:lnTo>
                    <a:lnTo>
                      <a:pt x="1597" y="1475"/>
                    </a:lnTo>
                    <a:lnTo>
                      <a:pt x="1636" y="1584"/>
                    </a:lnTo>
                    <a:lnTo>
                      <a:pt x="1672" y="1683"/>
                    </a:lnTo>
                    <a:lnTo>
                      <a:pt x="1702" y="1774"/>
                    </a:lnTo>
                    <a:lnTo>
                      <a:pt x="1717" y="1818"/>
                    </a:lnTo>
                    <a:lnTo>
                      <a:pt x="1730" y="1860"/>
                    </a:lnTo>
                    <a:lnTo>
                      <a:pt x="1741" y="1901"/>
                    </a:lnTo>
                    <a:lnTo>
                      <a:pt x="1753" y="1941"/>
                    </a:lnTo>
                    <a:lnTo>
                      <a:pt x="1762" y="1980"/>
                    </a:lnTo>
                    <a:lnTo>
                      <a:pt x="1770" y="2017"/>
                    </a:lnTo>
                    <a:lnTo>
                      <a:pt x="1777" y="2055"/>
                    </a:lnTo>
                    <a:lnTo>
                      <a:pt x="1782" y="2092"/>
                    </a:lnTo>
                    <a:lnTo>
                      <a:pt x="1786" y="2128"/>
                    </a:lnTo>
                    <a:lnTo>
                      <a:pt x="1788" y="2164"/>
                    </a:lnTo>
                    <a:lnTo>
                      <a:pt x="1789" y="2199"/>
                    </a:lnTo>
                    <a:lnTo>
                      <a:pt x="1788" y="2236"/>
                    </a:lnTo>
                    <a:lnTo>
                      <a:pt x="1786" y="2271"/>
                    </a:lnTo>
                    <a:lnTo>
                      <a:pt x="1781" y="2307"/>
                    </a:lnTo>
                    <a:lnTo>
                      <a:pt x="1775" y="2344"/>
                    </a:lnTo>
                    <a:lnTo>
                      <a:pt x="1767" y="2382"/>
                    </a:lnTo>
                    <a:lnTo>
                      <a:pt x="1757" y="2419"/>
                    </a:lnTo>
                    <a:lnTo>
                      <a:pt x="1746" y="2458"/>
                    </a:lnTo>
                    <a:lnTo>
                      <a:pt x="1732" y="2498"/>
                    </a:lnTo>
                    <a:lnTo>
                      <a:pt x="1716" y="2539"/>
                    </a:lnTo>
                    <a:lnTo>
                      <a:pt x="1699" y="2581"/>
                    </a:lnTo>
                    <a:lnTo>
                      <a:pt x="1678" y="2625"/>
                    </a:lnTo>
                    <a:lnTo>
                      <a:pt x="1657" y="2669"/>
                    </a:lnTo>
                    <a:lnTo>
                      <a:pt x="1632" y="2716"/>
                    </a:lnTo>
                    <a:lnTo>
                      <a:pt x="1605" y="2763"/>
                    </a:lnTo>
                    <a:lnTo>
                      <a:pt x="1576" y="2805"/>
                    </a:lnTo>
                    <a:lnTo>
                      <a:pt x="1544" y="2846"/>
                    </a:lnTo>
                    <a:lnTo>
                      <a:pt x="1511" y="2883"/>
                    </a:lnTo>
                    <a:lnTo>
                      <a:pt x="1474" y="2917"/>
                    </a:lnTo>
                    <a:lnTo>
                      <a:pt x="1436" y="2949"/>
                    </a:lnTo>
                    <a:lnTo>
                      <a:pt x="1398" y="2979"/>
                    </a:lnTo>
                    <a:lnTo>
                      <a:pt x="1358" y="3006"/>
                    </a:lnTo>
                    <a:lnTo>
                      <a:pt x="1316" y="3030"/>
                    </a:lnTo>
                    <a:lnTo>
                      <a:pt x="1274" y="3053"/>
                    </a:lnTo>
                    <a:lnTo>
                      <a:pt x="1232" y="3072"/>
                    </a:lnTo>
                    <a:lnTo>
                      <a:pt x="1189" y="3091"/>
                    </a:lnTo>
                    <a:lnTo>
                      <a:pt x="1145" y="3107"/>
                    </a:lnTo>
                    <a:lnTo>
                      <a:pt x="1103" y="3122"/>
                    </a:lnTo>
                    <a:lnTo>
                      <a:pt x="1060" y="3134"/>
                    </a:lnTo>
                    <a:lnTo>
                      <a:pt x="1018" y="3145"/>
                    </a:lnTo>
                    <a:lnTo>
                      <a:pt x="977" y="3155"/>
                    </a:lnTo>
                    <a:lnTo>
                      <a:pt x="936" y="3163"/>
                    </a:lnTo>
                    <a:lnTo>
                      <a:pt x="897" y="3169"/>
                    </a:lnTo>
                    <a:lnTo>
                      <a:pt x="860" y="3175"/>
                    </a:lnTo>
                    <a:lnTo>
                      <a:pt x="824" y="3181"/>
                    </a:lnTo>
                    <a:lnTo>
                      <a:pt x="791" y="3184"/>
                    </a:lnTo>
                    <a:lnTo>
                      <a:pt x="759" y="3187"/>
                    </a:lnTo>
                    <a:lnTo>
                      <a:pt x="730" y="3189"/>
                    </a:lnTo>
                    <a:lnTo>
                      <a:pt x="679" y="3191"/>
                    </a:lnTo>
                    <a:lnTo>
                      <a:pt x="640" y="3192"/>
                    </a:lnTo>
                    <a:lnTo>
                      <a:pt x="616" y="3192"/>
                    </a:lnTo>
                    <a:lnTo>
                      <a:pt x="607" y="3191"/>
                    </a:lnTo>
                    <a:close/>
                  </a:path>
                </a:pathLst>
              </a:custGeom>
              <a:solidFill>
                <a:srgbClr val="8BC5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49" name="Freeform 10">
                <a:extLst>
                  <a:ext uri="{FF2B5EF4-FFF2-40B4-BE49-F238E27FC236}">
                    <a16:creationId xmlns:a16="http://schemas.microsoft.com/office/drawing/2014/main" id="{6BC4FE16-B706-471C-ACD7-BD8A81B88E1F}"/>
                  </a:ext>
                </a:extLst>
              </p:cNvPr>
              <p:cNvSpPr>
                <a:spLocks/>
              </p:cNvSpPr>
              <p:nvPr/>
            </p:nvSpPr>
            <p:spPr bwMode="auto">
              <a:xfrm>
                <a:off x="6960536" y="2039353"/>
                <a:ext cx="254917" cy="250072"/>
              </a:xfrm>
              <a:custGeom>
                <a:avLst/>
                <a:gdLst>
                  <a:gd name="T0" fmla="*/ 555 w 3418"/>
                  <a:gd name="T1" fmla="*/ 3212 h 3355"/>
                  <a:gd name="T2" fmla="*/ 463 w 3418"/>
                  <a:gd name="T3" fmla="*/ 3159 h 3355"/>
                  <a:gd name="T4" fmla="*/ 326 w 3418"/>
                  <a:gd name="T5" fmla="*/ 3071 h 3355"/>
                  <a:gd name="T6" fmla="*/ 215 w 3418"/>
                  <a:gd name="T7" fmla="*/ 2979 h 3355"/>
                  <a:gd name="T8" fmla="*/ 114 w 3418"/>
                  <a:gd name="T9" fmla="*/ 2862 h 3355"/>
                  <a:gd name="T10" fmla="*/ 38 w 3418"/>
                  <a:gd name="T11" fmla="*/ 2721 h 3355"/>
                  <a:gd name="T12" fmla="*/ 2 w 3418"/>
                  <a:gd name="T13" fmla="*/ 2552 h 3355"/>
                  <a:gd name="T14" fmla="*/ 20 w 3418"/>
                  <a:gd name="T15" fmla="*/ 2353 h 3355"/>
                  <a:gd name="T16" fmla="*/ 109 w 3418"/>
                  <a:gd name="T17" fmla="*/ 2124 h 3355"/>
                  <a:gd name="T18" fmla="*/ 283 w 3418"/>
                  <a:gd name="T19" fmla="*/ 1861 h 3355"/>
                  <a:gd name="T20" fmla="*/ 533 w 3418"/>
                  <a:gd name="T21" fmla="*/ 1587 h 3355"/>
                  <a:gd name="T22" fmla="*/ 790 w 3418"/>
                  <a:gd name="T23" fmla="*/ 1372 h 3355"/>
                  <a:gd name="T24" fmla="*/ 1044 w 3418"/>
                  <a:gd name="T25" fmla="*/ 1213 h 3355"/>
                  <a:gd name="T26" fmla="*/ 1293 w 3418"/>
                  <a:gd name="T27" fmla="*/ 1097 h 3355"/>
                  <a:gd name="T28" fmla="*/ 1534 w 3418"/>
                  <a:gd name="T29" fmla="*/ 1016 h 3355"/>
                  <a:gd name="T30" fmla="*/ 1765 w 3418"/>
                  <a:gd name="T31" fmla="*/ 957 h 3355"/>
                  <a:gd name="T32" fmla="*/ 1982 w 3418"/>
                  <a:gd name="T33" fmla="*/ 911 h 3355"/>
                  <a:gd name="T34" fmla="*/ 2183 w 3418"/>
                  <a:gd name="T35" fmla="*/ 867 h 3355"/>
                  <a:gd name="T36" fmla="*/ 2363 w 3418"/>
                  <a:gd name="T37" fmla="*/ 813 h 3355"/>
                  <a:gd name="T38" fmla="*/ 2522 w 3418"/>
                  <a:gd name="T39" fmla="*/ 740 h 3355"/>
                  <a:gd name="T40" fmla="*/ 2654 w 3418"/>
                  <a:gd name="T41" fmla="*/ 636 h 3355"/>
                  <a:gd name="T42" fmla="*/ 2763 w 3418"/>
                  <a:gd name="T43" fmla="*/ 521 h 3355"/>
                  <a:gd name="T44" fmla="*/ 2851 w 3418"/>
                  <a:gd name="T45" fmla="*/ 417 h 3355"/>
                  <a:gd name="T46" fmla="*/ 2919 w 3418"/>
                  <a:gd name="T47" fmla="*/ 325 h 3355"/>
                  <a:gd name="T48" fmla="*/ 2973 w 3418"/>
                  <a:gd name="T49" fmla="*/ 244 h 3355"/>
                  <a:gd name="T50" fmla="*/ 3012 w 3418"/>
                  <a:gd name="T51" fmla="*/ 176 h 3355"/>
                  <a:gd name="T52" fmla="*/ 3050 w 3418"/>
                  <a:gd name="T53" fmla="*/ 87 h 3355"/>
                  <a:gd name="T54" fmla="*/ 3070 w 3418"/>
                  <a:gd name="T55" fmla="*/ 9 h 3355"/>
                  <a:gd name="T56" fmla="*/ 3095 w 3418"/>
                  <a:gd name="T57" fmla="*/ 41 h 3355"/>
                  <a:gd name="T58" fmla="*/ 3177 w 3418"/>
                  <a:gd name="T59" fmla="*/ 199 h 3355"/>
                  <a:gd name="T60" fmla="*/ 3239 w 3418"/>
                  <a:gd name="T61" fmla="*/ 344 h 3355"/>
                  <a:gd name="T62" fmla="*/ 3302 w 3418"/>
                  <a:gd name="T63" fmla="*/ 520 h 3355"/>
                  <a:gd name="T64" fmla="*/ 3358 w 3418"/>
                  <a:gd name="T65" fmla="*/ 724 h 3355"/>
                  <a:gd name="T66" fmla="*/ 3399 w 3418"/>
                  <a:gd name="T67" fmla="*/ 951 h 3355"/>
                  <a:gd name="T68" fmla="*/ 3418 w 3418"/>
                  <a:gd name="T69" fmla="*/ 1200 h 3355"/>
                  <a:gd name="T70" fmla="*/ 3407 w 3418"/>
                  <a:gd name="T71" fmla="*/ 1464 h 3355"/>
                  <a:gd name="T72" fmla="*/ 3358 w 3418"/>
                  <a:gd name="T73" fmla="*/ 1739 h 3355"/>
                  <a:gd name="T74" fmla="*/ 3264 w 3418"/>
                  <a:gd name="T75" fmla="*/ 2020 h 3355"/>
                  <a:gd name="T76" fmla="*/ 3151 w 3418"/>
                  <a:gd name="T77" fmla="*/ 2274 h 3355"/>
                  <a:gd name="T78" fmla="*/ 3024 w 3418"/>
                  <a:gd name="T79" fmla="*/ 2496 h 3355"/>
                  <a:gd name="T80" fmla="*/ 2886 w 3418"/>
                  <a:gd name="T81" fmla="*/ 2685 h 3355"/>
                  <a:gd name="T82" fmla="*/ 2735 w 3418"/>
                  <a:gd name="T83" fmla="*/ 2848 h 3355"/>
                  <a:gd name="T84" fmla="*/ 2573 w 3418"/>
                  <a:gd name="T85" fmla="*/ 2981 h 3355"/>
                  <a:gd name="T86" fmla="*/ 2401 w 3418"/>
                  <a:gd name="T87" fmla="*/ 3092 h 3355"/>
                  <a:gd name="T88" fmla="*/ 2218 w 3418"/>
                  <a:gd name="T89" fmla="*/ 3179 h 3355"/>
                  <a:gd name="T90" fmla="*/ 2026 w 3418"/>
                  <a:gd name="T91" fmla="*/ 3246 h 3355"/>
                  <a:gd name="T92" fmla="*/ 1824 w 3418"/>
                  <a:gd name="T93" fmla="*/ 3295 h 3355"/>
                  <a:gd name="T94" fmla="*/ 1614 w 3418"/>
                  <a:gd name="T95" fmla="*/ 3328 h 3355"/>
                  <a:gd name="T96" fmla="*/ 1404 w 3418"/>
                  <a:gd name="T97" fmla="*/ 3348 h 3355"/>
                  <a:gd name="T98" fmla="*/ 1221 w 3418"/>
                  <a:gd name="T99" fmla="*/ 3355 h 3355"/>
                  <a:gd name="T100" fmla="*/ 1065 w 3418"/>
                  <a:gd name="T101" fmla="*/ 3351 h 3355"/>
                  <a:gd name="T102" fmla="*/ 935 w 3418"/>
                  <a:gd name="T103" fmla="*/ 3340 h 3355"/>
                  <a:gd name="T104" fmla="*/ 827 w 3418"/>
                  <a:gd name="T105" fmla="*/ 3323 h 3355"/>
                  <a:gd name="T106" fmla="*/ 743 w 3418"/>
                  <a:gd name="T107" fmla="*/ 3302 h 3355"/>
                  <a:gd name="T108" fmla="*/ 676 w 3418"/>
                  <a:gd name="T109" fmla="*/ 3280 h 3355"/>
                  <a:gd name="T110" fmla="*/ 598 w 3418"/>
                  <a:gd name="T111" fmla="*/ 3243 h 3355"/>
                  <a:gd name="T112" fmla="*/ 574 w 3418"/>
                  <a:gd name="T113" fmla="*/ 3225 h 3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418" h="3355">
                    <a:moveTo>
                      <a:pt x="574" y="3225"/>
                    </a:moveTo>
                    <a:lnTo>
                      <a:pt x="568" y="3220"/>
                    </a:lnTo>
                    <a:lnTo>
                      <a:pt x="555" y="3212"/>
                    </a:lnTo>
                    <a:lnTo>
                      <a:pt x="539" y="3202"/>
                    </a:lnTo>
                    <a:lnTo>
                      <a:pt x="518" y="3189"/>
                    </a:lnTo>
                    <a:lnTo>
                      <a:pt x="463" y="3159"/>
                    </a:lnTo>
                    <a:lnTo>
                      <a:pt x="398" y="3119"/>
                    </a:lnTo>
                    <a:lnTo>
                      <a:pt x="362" y="3096"/>
                    </a:lnTo>
                    <a:lnTo>
                      <a:pt x="326" y="3071"/>
                    </a:lnTo>
                    <a:lnTo>
                      <a:pt x="289" y="3043"/>
                    </a:lnTo>
                    <a:lnTo>
                      <a:pt x="252" y="3012"/>
                    </a:lnTo>
                    <a:lnTo>
                      <a:pt x="215" y="2979"/>
                    </a:lnTo>
                    <a:lnTo>
                      <a:pt x="180" y="2943"/>
                    </a:lnTo>
                    <a:lnTo>
                      <a:pt x="145" y="2905"/>
                    </a:lnTo>
                    <a:lnTo>
                      <a:pt x="114" y="2862"/>
                    </a:lnTo>
                    <a:lnTo>
                      <a:pt x="85" y="2819"/>
                    </a:lnTo>
                    <a:lnTo>
                      <a:pt x="60" y="2771"/>
                    </a:lnTo>
                    <a:lnTo>
                      <a:pt x="38" y="2721"/>
                    </a:lnTo>
                    <a:lnTo>
                      <a:pt x="20" y="2668"/>
                    </a:lnTo>
                    <a:lnTo>
                      <a:pt x="8" y="2611"/>
                    </a:lnTo>
                    <a:lnTo>
                      <a:pt x="2" y="2552"/>
                    </a:lnTo>
                    <a:lnTo>
                      <a:pt x="0" y="2489"/>
                    </a:lnTo>
                    <a:lnTo>
                      <a:pt x="6" y="2423"/>
                    </a:lnTo>
                    <a:lnTo>
                      <a:pt x="20" y="2353"/>
                    </a:lnTo>
                    <a:lnTo>
                      <a:pt x="42" y="2280"/>
                    </a:lnTo>
                    <a:lnTo>
                      <a:pt x="70" y="2204"/>
                    </a:lnTo>
                    <a:lnTo>
                      <a:pt x="109" y="2124"/>
                    </a:lnTo>
                    <a:lnTo>
                      <a:pt x="157" y="2039"/>
                    </a:lnTo>
                    <a:lnTo>
                      <a:pt x="214" y="1952"/>
                    </a:lnTo>
                    <a:lnTo>
                      <a:pt x="283" y="1861"/>
                    </a:lnTo>
                    <a:lnTo>
                      <a:pt x="362" y="1765"/>
                    </a:lnTo>
                    <a:lnTo>
                      <a:pt x="447" y="1673"/>
                    </a:lnTo>
                    <a:lnTo>
                      <a:pt x="533" y="1587"/>
                    </a:lnTo>
                    <a:lnTo>
                      <a:pt x="618" y="1508"/>
                    </a:lnTo>
                    <a:lnTo>
                      <a:pt x="704" y="1438"/>
                    </a:lnTo>
                    <a:lnTo>
                      <a:pt x="790" y="1372"/>
                    </a:lnTo>
                    <a:lnTo>
                      <a:pt x="874" y="1314"/>
                    </a:lnTo>
                    <a:lnTo>
                      <a:pt x="960" y="1261"/>
                    </a:lnTo>
                    <a:lnTo>
                      <a:pt x="1044" y="1213"/>
                    </a:lnTo>
                    <a:lnTo>
                      <a:pt x="1128" y="1170"/>
                    </a:lnTo>
                    <a:lnTo>
                      <a:pt x="1211" y="1132"/>
                    </a:lnTo>
                    <a:lnTo>
                      <a:pt x="1293" y="1097"/>
                    </a:lnTo>
                    <a:lnTo>
                      <a:pt x="1374" y="1068"/>
                    </a:lnTo>
                    <a:lnTo>
                      <a:pt x="1455" y="1040"/>
                    </a:lnTo>
                    <a:lnTo>
                      <a:pt x="1534" y="1016"/>
                    </a:lnTo>
                    <a:lnTo>
                      <a:pt x="1613" y="995"/>
                    </a:lnTo>
                    <a:lnTo>
                      <a:pt x="1689" y="975"/>
                    </a:lnTo>
                    <a:lnTo>
                      <a:pt x="1765" y="957"/>
                    </a:lnTo>
                    <a:lnTo>
                      <a:pt x="1839" y="941"/>
                    </a:lnTo>
                    <a:lnTo>
                      <a:pt x="1911" y="926"/>
                    </a:lnTo>
                    <a:lnTo>
                      <a:pt x="1982" y="911"/>
                    </a:lnTo>
                    <a:lnTo>
                      <a:pt x="2050" y="896"/>
                    </a:lnTo>
                    <a:lnTo>
                      <a:pt x="2118" y="882"/>
                    </a:lnTo>
                    <a:lnTo>
                      <a:pt x="2183" y="867"/>
                    </a:lnTo>
                    <a:lnTo>
                      <a:pt x="2244" y="850"/>
                    </a:lnTo>
                    <a:lnTo>
                      <a:pt x="2305" y="832"/>
                    </a:lnTo>
                    <a:lnTo>
                      <a:pt x="2363" y="813"/>
                    </a:lnTo>
                    <a:lnTo>
                      <a:pt x="2418" y="791"/>
                    </a:lnTo>
                    <a:lnTo>
                      <a:pt x="2471" y="767"/>
                    </a:lnTo>
                    <a:lnTo>
                      <a:pt x="2522" y="740"/>
                    </a:lnTo>
                    <a:lnTo>
                      <a:pt x="2569" y="709"/>
                    </a:lnTo>
                    <a:lnTo>
                      <a:pt x="2613" y="675"/>
                    </a:lnTo>
                    <a:lnTo>
                      <a:pt x="2654" y="636"/>
                    </a:lnTo>
                    <a:lnTo>
                      <a:pt x="2693" y="596"/>
                    </a:lnTo>
                    <a:lnTo>
                      <a:pt x="2728" y="558"/>
                    </a:lnTo>
                    <a:lnTo>
                      <a:pt x="2763" y="521"/>
                    </a:lnTo>
                    <a:lnTo>
                      <a:pt x="2793" y="485"/>
                    </a:lnTo>
                    <a:lnTo>
                      <a:pt x="2823" y="450"/>
                    </a:lnTo>
                    <a:lnTo>
                      <a:pt x="2851" y="417"/>
                    </a:lnTo>
                    <a:lnTo>
                      <a:pt x="2876" y="385"/>
                    </a:lnTo>
                    <a:lnTo>
                      <a:pt x="2899" y="354"/>
                    </a:lnTo>
                    <a:lnTo>
                      <a:pt x="2919" y="325"/>
                    </a:lnTo>
                    <a:lnTo>
                      <a:pt x="2939" y="297"/>
                    </a:lnTo>
                    <a:lnTo>
                      <a:pt x="2957" y="271"/>
                    </a:lnTo>
                    <a:lnTo>
                      <a:pt x="2973" y="244"/>
                    </a:lnTo>
                    <a:lnTo>
                      <a:pt x="2986" y="220"/>
                    </a:lnTo>
                    <a:lnTo>
                      <a:pt x="3000" y="198"/>
                    </a:lnTo>
                    <a:lnTo>
                      <a:pt x="3012" y="176"/>
                    </a:lnTo>
                    <a:lnTo>
                      <a:pt x="3022" y="155"/>
                    </a:lnTo>
                    <a:lnTo>
                      <a:pt x="3038" y="119"/>
                    </a:lnTo>
                    <a:lnTo>
                      <a:pt x="3050" y="87"/>
                    </a:lnTo>
                    <a:lnTo>
                      <a:pt x="3060" y="61"/>
                    </a:lnTo>
                    <a:lnTo>
                      <a:pt x="3065" y="39"/>
                    </a:lnTo>
                    <a:lnTo>
                      <a:pt x="3070" y="9"/>
                    </a:lnTo>
                    <a:lnTo>
                      <a:pt x="3070" y="0"/>
                    </a:lnTo>
                    <a:lnTo>
                      <a:pt x="3077" y="10"/>
                    </a:lnTo>
                    <a:lnTo>
                      <a:pt x="3095" y="41"/>
                    </a:lnTo>
                    <a:lnTo>
                      <a:pt x="3122" y="91"/>
                    </a:lnTo>
                    <a:lnTo>
                      <a:pt x="3158" y="159"/>
                    </a:lnTo>
                    <a:lnTo>
                      <a:pt x="3177" y="199"/>
                    </a:lnTo>
                    <a:lnTo>
                      <a:pt x="3197" y="243"/>
                    </a:lnTo>
                    <a:lnTo>
                      <a:pt x="3218" y="291"/>
                    </a:lnTo>
                    <a:lnTo>
                      <a:pt x="3239" y="344"/>
                    </a:lnTo>
                    <a:lnTo>
                      <a:pt x="3261" y="399"/>
                    </a:lnTo>
                    <a:lnTo>
                      <a:pt x="3281" y="457"/>
                    </a:lnTo>
                    <a:lnTo>
                      <a:pt x="3302" y="520"/>
                    </a:lnTo>
                    <a:lnTo>
                      <a:pt x="3322" y="585"/>
                    </a:lnTo>
                    <a:lnTo>
                      <a:pt x="3340" y="653"/>
                    </a:lnTo>
                    <a:lnTo>
                      <a:pt x="3358" y="724"/>
                    </a:lnTo>
                    <a:lnTo>
                      <a:pt x="3374" y="797"/>
                    </a:lnTo>
                    <a:lnTo>
                      <a:pt x="3387" y="874"/>
                    </a:lnTo>
                    <a:lnTo>
                      <a:pt x="3399" y="951"/>
                    </a:lnTo>
                    <a:lnTo>
                      <a:pt x="3408" y="1032"/>
                    </a:lnTo>
                    <a:lnTo>
                      <a:pt x="3415" y="1114"/>
                    </a:lnTo>
                    <a:lnTo>
                      <a:pt x="3418" y="1200"/>
                    </a:lnTo>
                    <a:lnTo>
                      <a:pt x="3418" y="1286"/>
                    </a:lnTo>
                    <a:lnTo>
                      <a:pt x="3414" y="1374"/>
                    </a:lnTo>
                    <a:lnTo>
                      <a:pt x="3407" y="1464"/>
                    </a:lnTo>
                    <a:lnTo>
                      <a:pt x="3394" y="1554"/>
                    </a:lnTo>
                    <a:lnTo>
                      <a:pt x="3378" y="1645"/>
                    </a:lnTo>
                    <a:lnTo>
                      <a:pt x="3358" y="1739"/>
                    </a:lnTo>
                    <a:lnTo>
                      <a:pt x="3331" y="1833"/>
                    </a:lnTo>
                    <a:lnTo>
                      <a:pt x="3299" y="1927"/>
                    </a:lnTo>
                    <a:lnTo>
                      <a:pt x="3264" y="2020"/>
                    </a:lnTo>
                    <a:lnTo>
                      <a:pt x="3229" y="2109"/>
                    </a:lnTo>
                    <a:lnTo>
                      <a:pt x="3190" y="2193"/>
                    </a:lnTo>
                    <a:lnTo>
                      <a:pt x="3151" y="2274"/>
                    </a:lnTo>
                    <a:lnTo>
                      <a:pt x="3110" y="2352"/>
                    </a:lnTo>
                    <a:lnTo>
                      <a:pt x="3068" y="2425"/>
                    </a:lnTo>
                    <a:lnTo>
                      <a:pt x="3024" y="2496"/>
                    </a:lnTo>
                    <a:lnTo>
                      <a:pt x="2980" y="2562"/>
                    </a:lnTo>
                    <a:lnTo>
                      <a:pt x="2933" y="2626"/>
                    </a:lnTo>
                    <a:lnTo>
                      <a:pt x="2886" y="2685"/>
                    </a:lnTo>
                    <a:lnTo>
                      <a:pt x="2837" y="2743"/>
                    </a:lnTo>
                    <a:lnTo>
                      <a:pt x="2787" y="2796"/>
                    </a:lnTo>
                    <a:lnTo>
                      <a:pt x="2735" y="2848"/>
                    </a:lnTo>
                    <a:lnTo>
                      <a:pt x="2683" y="2894"/>
                    </a:lnTo>
                    <a:lnTo>
                      <a:pt x="2629" y="2940"/>
                    </a:lnTo>
                    <a:lnTo>
                      <a:pt x="2573" y="2981"/>
                    </a:lnTo>
                    <a:lnTo>
                      <a:pt x="2517" y="3021"/>
                    </a:lnTo>
                    <a:lnTo>
                      <a:pt x="2460" y="3058"/>
                    </a:lnTo>
                    <a:lnTo>
                      <a:pt x="2401" y="3092"/>
                    </a:lnTo>
                    <a:lnTo>
                      <a:pt x="2341" y="3123"/>
                    </a:lnTo>
                    <a:lnTo>
                      <a:pt x="2281" y="3152"/>
                    </a:lnTo>
                    <a:lnTo>
                      <a:pt x="2218" y="3179"/>
                    </a:lnTo>
                    <a:lnTo>
                      <a:pt x="2155" y="3204"/>
                    </a:lnTo>
                    <a:lnTo>
                      <a:pt x="2091" y="3225"/>
                    </a:lnTo>
                    <a:lnTo>
                      <a:pt x="2026" y="3246"/>
                    </a:lnTo>
                    <a:lnTo>
                      <a:pt x="1960" y="3264"/>
                    </a:lnTo>
                    <a:lnTo>
                      <a:pt x="1893" y="3280"/>
                    </a:lnTo>
                    <a:lnTo>
                      <a:pt x="1824" y="3295"/>
                    </a:lnTo>
                    <a:lnTo>
                      <a:pt x="1756" y="3308"/>
                    </a:lnTo>
                    <a:lnTo>
                      <a:pt x="1685" y="3319"/>
                    </a:lnTo>
                    <a:lnTo>
                      <a:pt x="1614" y="3328"/>
                    </a:lnTo>
                    <a:lnTo>
                      <a:pt x="1542" y="3336"/>
                    </a:lnTo>
                    <a:lnTo>
                      <a:pt x="1471" y="3342"/>
                    </a:lnTo>
                    <a:lnTo>
                      <a:pt x="1404" y="3348"/>
                    </a:lnTo>
                    <a:lnTo>
                      <a:pt x="1340" y="3351"/>
                    </a:lnTo>
                    <a:lnTo>
                      <a:pt x="1278" y="3353"/>
                    </a:lnTo>
                    <a:lnTo>
                      <a:pt x="1221" y="3355"/>
                    </a:lnTo>
                    <a:lnTo>
                      <a:pt x="1166" y="3355"/>
                    </a:lnTo>
                    <a:lnTo>
                      <a:pt x="1114" y="3353"/>
                    </a:lnTo>
                    <a:lnTo>
                      <a:pt x="1065" y="3351"/>
                    </a:lnTo>
                    <a:lnTo>
                      <a:pt x="1019" y="3348"/>
                    </a:lnTo>
                    <a:lnTo>
                      <a:pt x="976" y="3344"/>
                    </a:lnTo>
                    <a:lnTo>
                      <a:pt x="935" y="3340"/>
                    </a:lnTo>
                    <a:lnTo>
                      <a:pt x="896" y="3335"/>
                    </a:lnTo>
                    <a:lnTo>
                      <a:pt x="860" y="3329"/>
                    </a:lnTo>
                    <a:lnTo>
                      <a:pt x="827" y="3323"/>
                    </a:lnTo>
                    <a:lnTo>
                      <a:pt x="796" y="3317"/>
                    </a:lnTo>
                    <a:lnTo>
                      <a:pt x="768" y="3310"/>
                    </a:lnTo>
                    <a:lnTo>
                      <a:pt x="743" y="3302"/>
                    </a:lnTo>
                    <a:lnTo>
                      <a:pt x="719" y="3295"/>
                    </a:lnTo>
                    <a:lnTo>
                      <a:pt x="697" y="3288"/>
                    </a:lnTo>
                    <a:lnTo>
                      <a:pt x="676" y="3280"/>
                    </a:lnTo>
                    <a:lnTo>
                      <a:pt x="643" y="3267"/>
                    </a:lnTo>
                    <a:lnTo>
                      <a:pt x="617" y="3254"/>
                    </a:lnTo>
                    <a:lnTo>
                      <a:pt x="598" y="3243"/>
                    </a:lnTo>
                    <a:lnTo>
                      <a:pt x="584" y="3233"/>
                    </a:lnTo>
                    <a:lnTo>
                      <a:pt x="576" y="3228"/>
                    </a:lnTo>
                    <a:lnTo>
                      <a:pt x="574" y="3225"/>
                    </a:lnTo>
                    <a:close/>
                  </a:path>
                </a:pathLst>
              </a:custGeom>
              <a:solidFill>
                <a:srgbClr val="8BC5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50" name="Freeform 11">
                <a:extLst>
                  <a:ext uri="{FF2B5EF4-FFF2-40B4-BE49-F238E27FC236}">
                    <a16:creationId xmlns:a16="http://schemas.microsoft.com/office/drawing/2014/main" id="{97FE9959-27DB-4DC7-A7A6-66C9D8754B0B}"/>
                  </a:ext>
                </a:extLst>
              </p:cNvPr>
              <p:cNvSpPr>
                <a:spLocks/>
              </p:cNvSpPr>
              <p:nvPr/>
            </p:nvSpPr>
            <p:spPr bwMode="auto">
              <a:xfrm>
                <a:off x="6555426" y="1972642"/>
                <a:ext cx="273179" cy="223612"/>
              </a:xfrm>
              <a:custGeom>
                <a:avLst/>
                <a:gdLst>
                  <a:gd name="T0" fmla="*/ 3658 w 3661"/>
                  <a:gd name="T1" fmla="*/ 2513 h 3001"/>
                  <a:gd name="T2" fmla="*/ 3636 w 3661"/>
                  <a:gd name="T3" fmla="*/ 2432 h 3001"/>
                  <a:gd name="T4" fmla="*/ 3610 w 3661"/>
                  <a:gd name="T5" fmla="*/ 2348 h 3001"/>
                  <a:gd name="T6" fmla="*/ 3572 w 3661"/>
                  <a:gd name="T7" fmla="*/ 2244 h 3001"/>
                  <a:gd name="T8" fmla="*/ 3522 w 3661"/>
                  <a:gd name="T9" fmla="*/ 2126 h 3001"/>
                  <a:gd name="T10" fmla="*/ 3458 w 3661"/>
                  <a:gd name="T11" fmla="*/ 1997 h 3001"/>
                  <a:gd name="T12" fmla="*/ 3379 w 3661"/>
                  <a:gd name="T13" fmla="*/ 1864 h 3001"/>
                  <a:gd name="T14" fmla="*/ 3285 w 3661"/>
                  <a:gd name="T15" fmla="*/ 1728 h 3001"/>
                  <a:gd name="T16" fmla="*/ 3174 w 3661"/>
                  <a:gd name="T17" fmla="*/ 1597 h 3001"/>
                  <a:gd name="T18" fmla="*/ 3043 w 3661"/>
                  <a:gd name="T19" fmla="*/ 1473 h 3001"/>
                  <a:gd name="T20" fmla="*/ 2894 w 3661"/>
                  <a:gd name="T21" fmla="*/ 1362 h 3001"/>
                  <a:gd name="T22" fmla="*/ 2725 w 3661"/>
                  <a:gd name="T23" fmla="*/ 1268 h 3001"/>
                  <a:gd name="T24" fmla="*/ 2533 w 3661"/>
                  <a:gd name="T25" fmla="*/ 1196 h 3001"/>
                  <a:gd name="T26" fmla="*/ 2318 w 3661"/>
                  <a:gd name="T27" fmla="*/ 1149 h 3001"/>
                  <a:gd name="T28" fmla="*/ 2078 w 3661"/>
                  <a:gd name="T29" fmla="*/ 1133 h 3001"/>
                  <a:gd name="T30" fmla="*/ 1820 w 3661"/>
                  <a:gd name="T31" fmla="*/ 1143 h 3001"/>
                  <a:gd name="T32" fmla="*/ 1577 w 3661"/>
                  <a:gd name="T33" fmla="*/ 1133 h 3001"/>
                  <a:gd name="T34" fmla="*/ 1353 w 3661"/>
                  <a:gd name="T35" fmla="*/ 1098 h 3001"/>
                  <a:gd name="T36" fmla="*/ 1150 w 3661"/>
                  <a:gd name="T37" fmla="*/ 1039 h 3001"/>
                  <a:gd name="T38" fmla="*/ 965 w 3661"/>
                  <a:gd name="T39" fmla="*/ 963 h 3001"/>
                  <a:gd name="T40" fmla="*/ 800 w 3661"/>
                  <a:gd name="T41" fmla="*/ 873 h 3001"/>
                  <a:gd name="T42" fmla="*/ 651 w 3661"/>
                  <a:gd name="T43" fmla="*/ 771 h 3001"/>
                  <a:gd name="T44" fmla="*/ 521 w 3661"/>
                  <a:gd name="T45" fmla="*/ 663 h 3001"/>
                  <a:gd name="T46" fmla="*/ 407 w 3661"/>
                  <a:gd name="T47" fmla="*/ 552 h 3001"/>
                  <a:gd name="T48" fmla="*/ 310 w 3661"/>
                  <a:gd name="T49" fmla="*/ 441 h 3001"/>
                  <a:gd name="T50" fmla="*/ 228 w 3661"/>
                  <a:gd name="T51" fmla="*/ 335 h 3001"/>
                  <a:gd name="T52" fmla="*/ 161 w 3661"/>
                  <a:gd name="T53" fmla="*/ 237 h 3001"/>
                  <a:gd name="T54" fmla="*/ 109 w 3661"/>
                  <a:gd name="T55" fmla="*/ 151 h 3001"/>
                  <a:gd name="T56" fmla="*/ 70 w 3661"/>
                  <a:gd name="T57" fmla="*/ 81 h 3001"/>
                  <a:gd name="T58" fmla="*/ 37 w 3661"/>
                  <a:gd name="T59" fmla="*/ 14 h 3001"/>
                  <a:gd name="T60" fmla="*/ 28 w 3661"/>
                  <a:gd name="T61" fmla="*/ 22 h 3001"/>
                  <a:gd name="T62" fmla="*/ 16 w 3661"/>
                  <a:gd name="T63" fmla="*/ 127 h 3001"/>
                  <a:gd name="T64" fmla="*/ 7 w 3661"/>
                  <a:gd name="T65" fmla="*/ 240 h 3001"/>
                  <a:gd name="T66" fmla="*/ 1 w 3661"/>
                  <a:gd name="T67" fmla="*/ 382 h 3001"/>
                  <a:gd name="T68" fmla="*/ 0 w 3661"/>
                  <a:gd name="T69" fmla="*/ 548 h 3001"/>
                  <a:gd name="T70" fmla="*/ 7 w 3661"/>
                  <a:gd name="T71" fmla="*/ 735 h 3001"/>
                  <a:gd name="T72" fmla="*/ 25 w 3661"/>
                  <a:gd name="T73" fmla="*/ 937 h 3001"/>
                  <a:gd name="T74" fmla="*/ 57 w 3661"/>
                  <a:gd name="T75" fmla="*/ 1150 h 3001"/>
                  <a:gd name="T76" fmla="*/ 106 w 3661"/>
                  <a:gd name="T77" fmla="*/ 1372 h 3001"/>
                  <a:gd name="T78" fmla="*/ 174 w 3661"/>
                  <a:gd name="T79" fmla="*/ 1595 h 3001"/>
                  <a:gd name="T80" fmla="*/ 264 w 3661"/>
                  <a:gd name="T81" fmla="*/ 1818 h 3001"/>
                  <a:gd name="T82" fmla="*/ 378 w 3661"/>
                  <a:gd name="T83" fmla="*/ 2035 h 3001"/>
                  <a:gd name="T84" fmla="*/ 521 w 3661"/>
                  <a:gd name="T85" fmla="*/ 2240 h 3001"/>
                  <a:gd name="T86" fmla="*/ 693 w 3661"/>
                  <a:gd name="T87" fmla="*/ 2432 h 3001"/>
                  <a:gd name="T88" fmla="*/ 900 w 3661"/>
                  <a:gd name="T89" fmla="*/ 2605 h 3001"/>
                  <a:gd name="T90" fmla="*/ 1138 w 3661"/>
                  <a:gd name="T91" fmla="*/ 2753 h 3001"/>
                  <a:gd name="T92" fmla="*/ 1380 w 3661"/>
                  <a:gd name="T93" fmla="*/ 2864 h 3001"/>
                  <a:gd name="T94" fmla="*/ 1621 w 3661"/>
                  <a:gd name="T95" fmla="*/ 2939 h 3001"/>
                  <a:gd name="T96" fmla="*/ 1857 w 3661"/>
                  <a:gd name="T97" fmla="*/ 2984 h 3001"/>
                  <a:gd name="T98" fmla="*/ 2089 w 3661"/>
                  <a:gd name="T99" fmla="*/ 3001 h 3001"/>
                  <a:gd name="T100" fmla="*/ 2313 w 3661"/>
                  <a:gd name="T101" fmla="*/ 2995 h 3001"/>
                  <a:gd name="T102" fmla="*/ 2526 w 3661"/>
                  <a:gd name="T103" fmla="*/ 2970 h 3001"/>
                  <a:gd name="T104" fmla="*/ 2727 w 3661"/>
                  <a:gd name="T105" fmla="*/ 2930 h 3001"/>
                  <a:gd name="T106" fmla="*/ 2914 w 3661"/>
                  <a:gd name="T107" fmla="*/ 2879 h 3001"/>
                  <a:gd name="T108" fmla="*/ 3086 w 3661"/>
                  <a:gd name="T109" fmla="*/ 2819 h 3001"/>
                  <a:gd name="T110" fmla="*/ 3239 w 3661"/>
                  <a:gd name="T111" fmla="*/ 2758 h 3001"/>
                  <a:gd name="T112" fmla="*/ 3371 w 3661"/>
                  <a:gd name="T113" fmla="*/ 2696 h 3001"/>
                  <a:gd name="T114" fmla="*/ 3482 w 3661"/>
                  <a:gd name="T115" fmla="*/ 2638 h 3001"/>
                  <a:gd name="T116" fmla="*/ 3568 w 3661"/>
                  <a:gd name="T117" fmla="*/ 2589 h 3001"/>
                  <a:gd name="T118" fmla="*/ 3646 w 3661"/>
                  <a:gd name="T119" fmla="*/ 2541 h 30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661" h="3001">
                    <a:moveTo>
                      <a:pt x="3661" y="2529"/>
                    </a:moveTo>
                    <a:lnTo>
                      <a:pt x="3658" y="2513"/>
                    </a:lnTo>
                    <a:lnTo>
                      <a:pt x="3646" y="2465"/>
                    </a:lnTo>
                    <a:lnTo>
                      <a:pt x="3636" y="2432"/>
                    </a:lnTo>
                    <a:lnTo>
                      <a:pt x="3625" y="2392"/>
                    </a:lnTo>
                    <a:lnTo>
                      <a:pt x="3610" y="2348"/>
                    </a:lnTo>
                    <a:lnTo>
                      <a:pt x="3593" y="2298"/>
                    </a:lnTo>
                    <a:lnTo>
                      <a:pt x="3572" y="2244"/>
                    </a:lnTo>
                    <a:lnTo>
                      <a:pt x="3548" y="2187"/>
                    </a:lnTo>
                    <a:lnTo>
                      <a:pt x="3522" y="2126"/>
                    </a:lnTo>
                    <a:lnTo>
                      <a:pt x="3492" y="2062"/>
                    </a:lnTo>
                    <a:lnTo>
                      <a:pt x="3458" y="1997"/>
                    </a:lnTo>
                    <a:lnTo>
                      <a:pt x="3420" y="1931"/>
                    </a:lnTo>
                    <a:lnTo>
                      <a:pt x="3379" y="1864"/>
                    </a:lnTo>
                    <a:lnTo>
                      <a:pt x="3335" y="1795"/>
                    </a:lnTo>
                    <a:lnTo>
                      <a:pt x="3285" y="1728"/>
                    </a:lnTo>
                    <a:lnTo>
                      <a:pt x="3232" y="1662"/>
                    </a:lnTo>
                    <a:lnTo>
                      <a:pt x="3174" y="1597"/>
                    </a:lnTo>
                    <a:lnTo>
                      <a:pt x="3111" y="1534"/>
                    </a:lnTo>
                    <a:lnTo>
                      <a:pt x="3043" y="1473"/>
                    </a:lnTo>
                    <a:lnTo>
                      <a:pt x="2971" y="1416"/>
                    </a:lnTo>
                    <a:lnTo>
                      <a:pt x="2894" y="1362"/>
                    </a:lnTo>
                    <a:lnTo>
                      <a:pt x="2812" y="1312"/>
                    </a:lnTo>
                    <a:lnTo>
                      <a:pt x="2725" y="1268"/>
                    </a:lnTo>
                    <a:lnTo>
                      <a:pt x="2631" y="1229"/>
                    </a:lnTo>
                    <a:lnTo>
                      <a:pt x="2533" y="1196"/>
                    </a:lnTo>
                    <a:lnTo>
                      <a:pt x="2428" y="1168"/>
                    </a:lnTo>
                    <a:lnTo>
                      <a:pt x="2318" y="1149"/>
                    </a:lnTo>
                    <a:lnTo>
                      <a:pt x="2202" y="1136"/>
                    </a:lnTo>
                    <a:lnTo>
                      <a:pt x="2078" y="1133"/>
                    </a:lnTo>
                    <a:lnTo>
                      <a:pt x="1949" y="1138"/>
                    </a:lnTo>
                    <a:lnTo>
                      <a:pt x="1820" y="1143"/>
                    </a:lnTo>
                    <a:lnTo>
                      <a:pt x="1696" y="1142"/>
                    </a:lnTo>
                    <a:lnTo>
                      <a:pt x="1577" y="1133"/>
                    </a:lnTo>
                    <a:lnTo>
                      <a:pt x="1463" y="1118"/>
                    </a:lnTo>
                    <a:lnTo>
                      <a:pt x="1353" y="1098"/>
                    </a:lnTo>
                    <a:lnTo>
                      <a:pt x="1249" y="1071"/>
                    </a:lnTo>
                    <a:lnTo>
                      <a:pt x="1150" y="1039"/>
                    </a:lnTo>
                    <a:lnTo>
                      <a:pt x="1055" y="1003"/>
                    </a:lnTo>
                    <a:lnTo>
                      <a:pt x="965" y="963"/>
                    </a:lnTo>
                    <a:lnTo>
                      <a:pt x="881" y="919"/>
                    </a:lnTo>
                    <a:lnTo>
                      <a:pt x="800" y="873"/>
                    </a:lnTo>
                    <a:lnTo>
                      <a:pt x="723" y="822"/>
                    </a:lnTo>
                    <a:lnTo>
                      <a:pt x="651" y="771"/>
                    </a:lnTo>
                    <a:lnTo>
                      <a:pt x="584" y="717"/>
                    </a:lnTo>
                    <a:lnTo>
                      <a:pt x="521" y="663"/>
                    </a:lnTo>
                    <a:lnTo>
                      <a:pt x="462" y="608"/>
                    </a:lnTo>
                    <a:lnTo>
                      <a:pt x="407" y="552"/>
                    </a:lnTo>
                    <a:lnTo>
                      <a:pt x="357" y="496"/>
                    </a:lnTo>
                    <a:lnTo>
                      <a:pt x="310" y="441"/>
                    </a:lnTo>
                    <a:lnTo>
                      <a:pt x="266" y="387"/>
                    </a:lnTo>
                    <a:lnTo>
                      <a:pt x="228" y="335"/>
                    </a:lnTo>
                    <a:lnTo>
                      <a:pt x="192" y="285"/>
                    </a:lnTo>
                    <a:lnTo>
                      <a:pt x="161" y="237"/>
                    </a:lnTo>
                    <a:lnTo>
                      <a:pt x="133" y="192"/>
                    </a:lnTo>
                    <a:lnTo>
                      <a:pt x="109" y="151"/>
                    </a:lnTo>
                    <a:lnTo>
                      <a:pt x="87" y="115"/>
                    </a:lnTo>
                    <a:lnTo>
                      <a:pt x="70" y="81"/>
                    </a:lnTo>
                    <a:lnTo>
                      <a:pt x="56" y="54"/>
                    </a:lnTo>
                    <a:lnTo>
                      <a:pt x="37" y="14"/>
                    </a:lnTo>
                    <a:lnTo>
                      <a:pt x="31" y="0"/>
                    </a:lnTo>
                    <a:lnTo>
                      <a:pt x="28" y="22"/>
                    </a:lnTo>
                    <a:lnTo>
                      <a:pt x="21" y="83"/>
                    </a:lnTo>
                    <a:lnTo>
                      <a:pt x="16" y="127"/>
                    </a:lnTo>
                    <a:lnTo>
                      <a:pt x="12" y="180"/>
                    </a:lnTo>
                    <a:lnTo>
                      <a:pt x="7" y="240"/>
                    </a:lnTo>
                    <a:lnTo>
                      <a:pt x="4" y="308"/>
                    </a:lnTo>
                    <a:lnTo>
                      <a:pt x="1" y="382"/>
                    </a:lnTo>
                    <a:lnTo>
                      <a:pt x="0" y="462"/>
                    </a:lnTo>
                    <a:lnTo>
                      <a:pt x="0" y="548"/>
                    </a:lnTo>
                    <a:lnTo>
                      <a:pt x="3" y="639"/>
                    </a:lnTo>
                    <a:lnTo>
                      <a:pt x="7" y="735"/>
                    </a:lnTo>
                    <a:lnTo>
                      <a:pt x="15" y="834"/>
                    </a:lnTo>
                    <a:lnTo>
                      <a:pt x="25" y="937"/>
                    </a:lnTo>
                    <a:lnTo>
                      <a:pt x="40" y="1043"/>
                    </a:lnTo>
                    <a:lnTo>
                      <a:pt x="57" y="1150"/>
                    </a:lnTo>
                    <a:lnTo>
                      <a:pt x="79" y="1261"/>
                    </a:lnTo>
                    <a:lnTo>
                      <a:pt x="106" y="1372"/>
                    </a:lnTo>
                    <a:lnTo>
                      <a:pt x="137" y="1484"/>
                    </a:lnTo>
                    <a:lnTo>
                      <a:pt x="174" y="1595"/>
                    </a:lnTo>
                    <a:lnTo>
                      <a:pt x="216" y="1707"/>
                    </a:lnTo>
                    <a:lnTo>
                      <a:pt x="264" y="1818"/>
                    </a:lnTo>
                    <a:lnTo>
                      <a:pt x="318" y="1928"/>
                    </a:lnTo>
                    <a:lnTo>
                      <a:pt x="378" y="2035"/>
                    </a:lnTo>
                    <a:lnTo>
                      <a:pt x="446" y="2139"/>
                    </a:lnTo>
                    <a:lnTo>
                      <a:pt x="521" y="2240"/>
                    </a:lnTo>
                    <a:lnTo>
                      <a:pt x="603" y="2339"/>
                    </a:lnTo>
                    <a:lnTo>
                      <a:pt x="693" y="2432"/>
                    </a:lnTo>
                    <a:lnTo>
                      <a:pt x="793" y="2521"/>
                    </a:lnTo>
                    <a:lnTo>
                      <a:pt x="900" y="2605"/>
                    </a:lnTo>
                    <a:lnTo>
                      <a:pt x="1017" y="2683"/>
                    </a:lnTo>
                    <a:lnTo>
                      <a:pt x="1138" y="2753"/>
                    </a:lnTo>
                    <a:lnTo>
                      <a:pt x="1259" y="2812"/>
                    </a:lnTo>
                    <a:lnTo>
                      <a:pt x="1380" y="2864"/>
                    </a:lnTo>
                    <a:lnTo>
                      <a:pt x="1501" y="2906"/>
                    </a:lnTo>
                    <a:lnTo>
                      <a:pt x="1621" y="2939"/>
                    </a:lnTo>
                    <a:lnTo>
                      <a:pt x="1739" y="2965"/>
                    </a:lnTo>
                    <a:lnTo>
                      <a:pt x="1857" y="2984"/>
                    </a:lnTo>
                    <a:lnTo>
                      <a:pt x="1973" y="2996"/>
                    </a:lnTo>
                    <a:lnTo>
                      <a:pt x="2089" y="3001"/>
                    </a:lnTo>
                    <a:lnTo>
                      <a:pt x="2202" y="3001"/>
                    </a:lnTo>
                    <a:lnTo>
                      <a:pt x="2313" y="2995"/>
                    </a:lnTo>
                    <a:lnTo>
                      <a:pt x="2420" y="2985"/>
                    </a:lnTo>
                    <a:lnTo>
                      <a:pt x="2526" y="2970"/>
                    </a:lnTo>
                    <a:lnTo>
                      <a:pt x="2628" y="2952"/>
                    </a:lnTo>
                    <a:lnTo>
                      <a:pt x="2727" y="2930"/>
                    </a:lnTo>
                    <a:lnTo>
                      <a:pt x="2823" y="2906"/>
                    </a:lnTo>
                    <a:lnTo>
                      <a:pt x="2914" y="2879"/>
                    </a:lnTo>
                    <a:lnTo>
                      <a:pt x="3002" y="2850"/>
                    </a:lnTo>
                    <a:lnTo>
                      <a:pt x="3086" y="2819"/>
                    </a:lnTo>
                    <a:lnTo>
                      <a:pt x="3164" y="2789"/>
                    </a:lnTo>
                    <a:lnTo>
                      <a:pt x="3239" y="2758"/>
                    </a:lnTo>
                    <a:lnTo>
                      <a:pt x="3308" y="2726"/>
                    </a:lnTo>
                    <a:lnTo>
                      <a:pt x="3371" y="2696"/>
                    </a:lnTo>
                    <a:lnTo>
                      <a:pt x="3429" y="2666"/>
                    </a:lnTo>
                    <a:lnTo>
                      <a:pt x="3482" y="2638"/>
                    </a:lnTo>
                    <a:lnTo>
                      <a:pt x="3528" y="2613"/>
                    </a:lnTo>
                    <a:lnTo>
                      <a:pt x="3568" y="2589"/>
                    </a:lnTo>
                    <a:lnTo>
                      <a:pt x="3601" y="2569"/>
                    </a:lnTo>
                    <a:lnTo>
                      <a:pt x="3646" y="2541"/>
                    </a:lnTo>
                    <a:lnTo>
                      <a:pt x="3661" y="2529"/>
                    </a:lnTo>
                    <a:close/>
                  </a:path>
                </a:pathLst>
              </a:custGeom>
              <a:solidFill>
                <a:srgbClr val="8BC5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51" name="Freeform 12">
                <a:extLst>
                  <a:ext uri="{FF2B5EF4-FFF2-40B4-BE49-F238E27FC236}">
                    <a16:creationId xmlns:a16="http://schemas.microsoft.com/office/drawing/2014/main" id="{CD00FD78-CE26-4AC8-906E-C677C9EF947E}"/>
                  </a:ext>
                </a:extLst>
              </p:cNvPr>
              <p:cNvSpPr>
                <a:spLocks/>
              </p:cNvSpPr>
              <p:nvPr/>
            </p:nvSpPr>
            <p:spPr bwMode="auto">
              <a:xfrm>
                <a:off x="6714936" y="1779964"/>
                <a:ext cx="436042" cy="765869"/>
              </a:xfrm>
              <a:custGeom>
                <a:avLst/>
                <a:gdLst>
                  <a:gd name="T0" fmla="*/ 2836 w 5850"/>
                  <a:gd name="T1" fmla="*/ 9637 h 10272"/>
                  <a:gd name="T2" fmla="*/ 2951 w 5850"/>
                  <a:gd name="T3" fmla="*/ 9153 h 10272"/>
                  <a:gd name="T4" fmla="*/ 3023 w 5850"/>
                  <a:gd name="T5" fmla="*/ 8517 h 10272"/>
                  <a:gd name="T6" fmla="*/ 3003 w 5850"/>
                  <a:gd name="T7" fmla="*/ 7746 h 10272"/>
                  <a:gd name="T8" fmla="*/ 3139 w 5850"/>
                  <a:gd name="T9" fmla="*/ 7276 h 10272"/>
                  <a:gd name="T10" fmla="*/ 3674 w 5850"/>
                  <a:gd name="T11" fmla="*/ 6933 h 10272"/>
                  <a:gd name="T12" fmla="*/ 4468 w 5850"/>
                  <a:gd name="T13" fmla="*/ 6359 h 10272"/>
                  <a:gd name="T14" fmla="*/ 5082 w 5850"/>
                  <a:gd name="T15" fmla="*/ 5789 h 10272"/>
                  <a:gd name="T16" fmla="*/ 5500 w 5850"/>
                  <a:gd name="T17" fmla="*/ 5279 h 10272"/>
                  <a:gd name="T18" fmla="*/ 5746 w 5850"/>
                  <a:gd name="T19" fmla="*/ 4894 h 10272"/>
                  <a:gd name="T20" fmla="*/ 5845 w 5850"/>
                  <a:gd name="T21" fmla="*/ 4701 h 10272"/>
                  <a:gd name="T22" fmla="*/ 5694 w 5850"/>
                  <a:gd name="T23" fmla="*/ 4963 h 10272"/>
                  <a:gd name="T24" fmla="*/ 5435 w 5850"/>
                  <a:gd name="T25" fmla="*/ 5296 h 10272"/>
                  <a:gd name="T26" fmla="*/ 5061 w 5850"/>
                  <a:gd name="T27" fmla="*/ 5709 h 10272"/>
                  <a:gd name="T28" fmla="*/ 4560 w 5850"/>
                  <a:gd name="T29" fmla="*/ 6140 h 10272"/>
                  <a:gd name="T30" fmla="*/ 3984 w 5850"/>
                  <a:gd name="T31" fmla="*/ 6550 h 10272"/>
                  <a:gd name="T32" fmla="*/ 3300 w 5850"/>
                  <a:gd name="T33" fmla="*/ 6973 h 10272"/>
                  <a:gd name="T34" fmla="*/ 2853 w 5850"/>
                  <a:gd name="T35" fmla="*/ 6905 h 10272"/>
                  <a:gd name="T36" fmla="*/ 2568 w 5850"/>
                  <a:gd name="T37" fmla="*/ 6026 h 10272"/>
                  <a:gd name="T38" fmla="*/ 2095 w 5850"/>
                  <a:gd name="T39" fmla="*/ 4864 h 10272"/>
                  <a:gd name="T40" fmla="*/ 1586 w 5850"/>
                  <a:gd name="T41" fmla="*/ 3741 h 10272"/>
                  <a:gd name="T42" fmla="*/ 1329 w 5850"/>
                  <a:gd name="T43" fmla="*/ 3037 h 10272"/>
                  <a:gd name="T44" fmla="*/ 1248 w 5850"/>
                  <a:gd name="T45" fmla="*/ 2377 h 10272"/>
                  <a:gd name="T46" fmla="*/ 1323 w 5850"/>
                  <a:gd name="T47" fmla="*/ 1677 h 10272"/>
                  <a:gd name="T48" fmla="*/ 1469 w 5850"/>
                  <a:gd name="T49" fmla="*/ 987 h 10272"/>
                  <a:gd name="T50" fmla="*/ 1713 w 5850"/>
                  <a:gd name="T51" fmla="*/ 132 h 10272"/>
                  <a:gd name="T52" fmla="*/ 1679 w 5850"/>
                  <a:gd name="T53" fmla="*/ 141 h 10272"/>
                  <a:gd name="T54" fmla="*/ 1465 w 5850"/>
                  <a:gd name="T55" fmla="*/ 619 h 10272"/>
                  <a:gd name="T56" fmla="*/ 1240 w 5850"/>
                  <a:gd name="T57" fmla="*/ 1356 h 10272"/>
                  <a:gd name="T58" fmla="*/ 1131 w 5850"/>
                  <a:gd name="T59" fmla="*/ 2270 h 10272"/>
                  <a:gd name="T60" fmla="*/ 1228 w 5850"/>
                  <a:gd name="T61" fmla="*/ 3136 h 10272"/>
                  <a:gd name="T62" fmla="*/ 1370 w 5850"/>
                  <a:gd name="T63" fmla="*/ 3635 h 10272"/>
                  <a:gd name="T64" fmla="*/ 1549 w 5850"/>
                  <a:gd name="T65" fmla="*/ 4107 h 10272"/>
                  <a:gd name="T66" fmla="*/ 1963 w 5850"/>
                  <a:gd name="T67" fmla="*/ 5009 h 10272"/>
                  <a:gd name="T68" fmla="*/ 1734 w 5850"/>
                  <a:gd name="T69" fmla="*/ 5129 h 10272"/>
                  <a:gd name="T70" fmla="*/ 1217 w 5850"/>
                  <a:gd name="T71" fmla="*/ 5072 h 10272"/>
                  <a:gd name="T72" fmla="*/ 878 w 5850"/>
                  <a:gd name="T73" fmla="*/ 4993 h 10272"/>
                  <a:gd name="T74" fmla="*/ 516 w 5850"/>
                  <a:gd name="T75" fmla="*/ 4864 h 10272"/>
                  <a:gd name="T76" fmla="*/ 79 w 5850"/>
                  <a:gd name="T77" fmla="*/ 4651 h 10272"/>
                  <a:gd name="T78" fmla="*/ 66 w 5850"/>
                  <a:gd name="T79" fmla="*/ 4657 h 10272"/>
                  <a:gd name="T80" fmla="*/ 414 w 5850"/>
                  <a:gd name="T81" fmla="*/ 4892 h 10272"/>
                  <a:gd name="T82" fmla="*/ 777 w 5850"/>
                  <a:gd name="T83" fmla="*/ 5081 h 10272"/>
                  <a:gd name="T84" fmla="*/ 1187 w 5850"/>
                  <a:gd name="T85" fmla="*/ 5221 h 10272"/>
                  <a:gd name="T86" fmla="*/ 1652 w 5850"/>
                  <a:gd name="T87" fmla="*/ 5273 h 10272"/>
                  <a:gd name="T88" fmla="*/ 1974 w 5850"/>
                  <a:gd name="T89" fmla="*/ 5270 h 10272"/>
                  <a:gd name="T90" fmla="*/ 2298 w 5850"/>
                  <a:gd name="T91" fmla="*/ 5776 h 10272"/>
                  <a:gd name="T92" fmla="*/ 2443 w 5850"/>
                  <a:gd name="T93" fmla="*/ 6192 h 10272"/>
                  <a:gd name="T94" fmla="*/ 2552 w 5850"/>
                  <a:gd name="T95" fmla="*/ 6627 h 10272"/>
                  <a:gd name="T96" fmla="*/ 2615 w 5850"/>
                  <a:gd name="T97" fmla="*/ 7087 h 10272"/>
                  <a:gd name="T98" fmla="*/ 2609 w 5850"/>
                  <a:gd name="T99" fmla="*/ 7802 h 10272"/>
                  <a:gd name="T100" fmla="*/ 2488 w 5850"/>
                  <a:gd name="T101" fmla="*/ 8589 h 10272"/>
                  <a:gd name="T102" fmla="*/ 2295 w 5850"/>
                  <a:gd name="T103" fmla="*/ 9304 h 10272"/>
                  <a:gd name="T104" fmla="*/ 2081 w 5850"/>
                  <a:gd name="T105" fmla="*/ 9897 h 10272"/>
                  <a:gd name="T106" fmla="*/ 2475 w 5850"/>
                  <a:gd name="T107" fmla="*/ 10234 h 10272"/>
                  <a:gd name="T108" fmla="*/ 2595 w 5850"/>
                  <a:gd name="T109" fmla="*/ 10081 h 10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850" h="10272">
                    <a:moveTo>
                      <a:pt x="2713" y="9983"/>
                    </a:moveTo>
                    <a:lnTo>
                      <a:pt x="2739" y="9918"/>
                    </a:lnTo>
                    <a:lnTo>
                      <a:pt x="2769" y="9839"/>
                    </a:lnTo>
                    <a:lnTo>
                      <a:pt x="2786" y="9793"/>
                    </a:lnTo>
                    <a:lnTo>
                      <a:pt x="2802" y="9745"/>
                    </a:lnTo>
                    <a:lnTo>
                      <a:pt x="2819" y="9693"/>
                    </a:lnTo>
                    <a:lnTo>
                      <a:pt x="2836" y="9637"/>
                    </a:lnTo>
                    <a:lnTo>
                      <a:pt x="2853" y="9578"/>
                    </a:lnTo>
                    <a:lnTo>
                      <a:pt x="2872" y="9515"/>
                    </a:lnTo>
                    <a:lnTo>
                      <a:pt x="2889" y="9449"/>
                    </a:lnTo>
                    <a:lnTo>
                      <a:pt x="2905" y="9380"/>
                    </a:lnTo>
                    <a:lnTo>
                      <a:pt x="2922" y="9307"/>
                    </a:lnTo>
                    <a:lnTo>
                      <a:pt x="2937" y="9232"/>
                    </a:lnTo>
                    <a:lnTo>
                      <a:pt x="2951" y="9153"/>
                    </a:lnTo>
                    <a:lnTo>
                      <a:pt x="2966" y="9071"/>
                    </a:lnTo>
                    <a:lnTo>
                      <a:pt x="2979" y="8986"/>
                    </a:lnTo>
                    <a:lnTo>
                      <a:pt x="2990" y="8898"/>
                    </a:lnTo>
                    <a:lnTo>
                      <a:pt x="3002" y="8807"/>
                    </a:lnTo>
                    <a:lnTo>
                      <a:pt x="3011" y="8713"/>
                    </a:lnTo>
                    <a:lnTo>
                      <a:pt x="3018" y="8616"/>
                    </a:lnTo>
                    <a:lnTo>
                      <a:pt x="3023" y="8517"/>
                    </a:lnTo>
                    <a:lnTo>
                      <a:pt x="3027" y="8415"/>
                    </a:lnTo>
                    <a:lnTo>
                      <a:pt x="3029" y="8310"/>
                    </a:lnTo>
                    <a:lnTo>
                      <a:pt x="3029" y="8202"/>
                    </a:lnTo>
                    <a:lnTo>
                      <a:pt x="3026" y="8092"/>
                    </a:lnTo>
                    <a:lnTo>
                      <a:pt x="3021" y="7979"/>
                    </a:lnTo>
                    <a:lnTo>
                      <a:pt x="3013" y="7864"/>
                    </a:lnTo>
                    <a:lnTo>
                      <a:pt x="3003" y="7746"/>
                    </a:lnTo>
                    <a:lnTo>
                      <a:pt x="2989" y="7626"/>
                    </a:lnTo>
                    <a:lnTo>
                      <a:pt x="2973" y="7504"/>
                    </a:lnTo>
                    <a:lnTo>
                      <a:pt x="2954" y="7379"/>
                    </a:lnTo>
                    <a:lnTo>
                      <a:pt x="2993" y="7358"/>
                    </a:lnTo>
                    <a:lnTo>
                      <a:pt x="3037" y="7334"/>
                    </a:lnTo>
                    <a:lnTo>
                      <a:pt x="3085" y="7307"/>
                    </a:lnTo>
                    <a:lnTo>
                      <a:pt x="3139" y="7276"/>
                    </a:lnTo>
                    <a:lnTo>
                      <a:pt x="3198" y="7240"/>
                    </a:lnTo>
                    <a:lnTo>
                      <a:pt x="3262" y="7202"/>
                    </a:lnTo>
                    <a:lnTo>
                      <a:pt x="3333" y="7157"/>
                    </a:lnTo>
                    <a:lnTo>
                      <a:pt x="3409" y="7109"/>
                    </a:lnTo>
                    <a:lnTo>
                      <a:pt x="3490" y="7055"/>
                    </a:lnTo>
                    <a:lnTo>
                      <a:pt x="3580" y="6997"/>
                    </a:lnTo>
                    <a:lnTo>
                      <a:pt x="3674" y="6933"/>
                    </a:lnTo>
                    <a:lnTo>
                      <a:pt x="3776" y="6864"/>
                    </a:lnTo>
                    <a:lnTo>
                      <a:pt x="3884" y="6787"/>
                    </a:lnTo>
                    <a:lnTo>
                      <a:pt x="4000" y="6706"/>
                    </a:lnTo>
                    <a:lnTo>
                      <a:pt x="4123" y="6618"/>
                    </a:lnTo>
                    <a:lnTo>
                      <a:pt x="4253" y="6523"/>
                    </a:lnTo>
                    <a:lnTo>
                      <a:pt x="4363" y="6441"/>
                    </a:lnTo>
                    <a:lnTo>
                      <a:pt x="4468" y="6359"/>
                    </a:lnTo>
                    <a:lnTo>
                      <a:pt x="4570" y="6276"/>
                    </a:lnTo>
                    <a:lnTo>
                      <a:pt x="4665" y="6193"/>
                    </a:lnTo>
                    <a:lnTo>
                      <a:pt x="4758" y="6111"/>
                    </a:lnTo>
                    <a:lnTo>
                      <a:pt x="4845" y="6029"/>
                    </a:lnTo>
                    <a:lnTo>
                      <a:pt x="4928" y="5948"/>
                    </a:lnTo>
                    <a:lnTo>
                      <a:pt x="5008" y="5868"/>
                    </a:lnTo>
                    <a:lnTo>
                      <a:pt x="5082" y="5789"/>
                    </a:lnTo>
                    <a:lnTo>
                      <a:pt x="5154" y="5710"/>
                    </a:lnTo>
                    <a:lnTo>
                      <a:pt x="5222" y="5634"/>
                    </a:lnTo>
                    <a:lnTo>
                      <a:pt x="5284" y="5559"/>
                    </a:lnTo>
                    <a:lnTo>
                      <a:pt x="5344" y="5486"/>
                    </a:lnTo>
                    <a:lnTo>
                      <a:pt x="5400" y="5415"/>
                    </a:lnTo>
                    <a:lnTo>
                      <a:pt x="5452" y="5345"/>
                    </a:lnTo>
                    <a:lnTo>
                      <a:pt x="5500" y="5279"/>
                    </a:lnTo>
                    <a:lnTo>
                      <a:pt x="5545" y="5215"/>
                    </a:lnTo>
                    <a:lnTo>
                      <a:pt x="5587" y="5153"/>
                    </a:lnTo>
                    <a:lnTo>
                      <a:pt x="5625" y="5095"/>
                    </a:lnTo>
                    <a:lnTo>
                      <a:pt x="5660" y="5039"/>
                    </a:lnTo>
                    <a:lnTo>
                      <a:pt x="5692" y="4988"/>
                    </a:lnTo>
                    <a:lnTo>
                      <a:pt x="5721" y="4939"/>
                    </a:lnTo>
                    <a:lnTo>
                      <a:pt x="5746" y="4894"/>
                    </a:lnTo>
                    <a:lnTo>
                      <a:pt x="5768" y="4853"/>
                    </a:lnTo>
                    <a:lnTo>
                      <a:pt x="5805" y="4785"/>
                    </a:lnTo>
                    <a:lnTo>
                      <a:pt x="5830" y="4733"/>
                    </a:lnTo>
                    <a:lnTo>
                      <a:pt x="5845" y="4701"/>
                    </a:lnTo>
                    <a:lnTo>
                      <a:pt x="5850" y="4690"/>
                    </a:lnTo>
                    <a:lnTo>
                      <a:pt x="5848" y="4693"/>
                    </a:lnTo>
                    <a:lnTo>
                      <a:pt x="5845" y="4701"/>
                    </a:lnTo>
                    <a:lnTo>
                      <a:pt x="5839" y="4717"/>
                    </a:lnTo>
                    <a:lnTo>
                      <a:pt x="5830" y="4739"/>
                    </a:lnTo>
                    <a:lnTo>
                      <a:pt x="5815" y="4769"/>
                    </a:lnTo>
                    <a:lnTo>
                      <a:pt x="5795" y="4805"/>
                    </a:lnTo>
                    <a:lnTo>
                      <a:pt x="5768" y="4850"/>
                    </a:lnTo>
                    <a:lnTo>
                      <a:pt x="5735" y="4902"/>
                    </a:lnTo>
                    <a:lnTo>
                      <a:pt x="5694" y="4963"/>
                    </a:lnTo>
                    <a:lnTo>
                      <a:pt x="5645" y="5032"/>
                    </a:lnTo>
                    <a:lnTo>
                      <a:pt x="5617" y="5070"/>
                    </a:lnTo>
                    <a:lnTo>
                      <a:pt x="5586" y="5111"/>
                    </a:lnTo>
                    <a:lnTo>
                      <a:pt x="5553" y="5153"/>
                    </a:lnTo>
                    <a:lnTo>
                      <a:pt x="5516" y="5198"/>
                    </a:lnTo>
                    <a:lnTo>
                      <a:pt x="5477" y="5246"/>
                    </a:lnTo>
                    <a:lnTo>
                      <a:pt x="5435" y="5296"/>
                    </a:lnTo>
                    <a:lnTo>
                      <a:pt x="5391" y="5349"/>
                    </a:lnTo>
                    <a:lnTo>
                      <a:pt x="5343" y="5403"/>
                    </a:lnTo>
                    <a:lnTo>
                      <a:pt x="5292" y="5460"/>
                    </a:lnTo>
                    <a:lnTo>
                      <a:pt x="5238" y="5521"/>
                    </a:lnTo>
                    <a:lnTo>
                      <a:pt x="5180" y="5584"/>
                    </a:lnTo>
                    <a:lnTo>
                      <a:pt x="5119" y="5649"/>
                    </a:lnTo>
                    <a:lnTo>
                      <a:pt x="5061" y="5709"/>
                    </a:lnTo>
                    <a:lnTo>
                      <a:pt x="4998" y="5771"/>
                    </a:lnTo>
                    <a:lnTo>
                      <a:pt x="4931" y="5833"/>
                    </a:lnTo>
                    <a:lnTo>
                      <a:pt x="4863" y="5894"/>
                    </a:lnTo>
                    <a:lnTo>
                      <a:pt x="4791" y="5956"/>
                    </a:lnTo>
                    <a:lnTo>
                      <a:pt x="4716" y="6018"/>
                    </a:lnTo>
                    <a:lnTo>
                      <a:pt x="4639" y="6079"/>
                    </a:lnTo>
                    <a:lnTo>
                      <a:pt x="4560" y="6140"/>
                    </a:lnTo>
                    <a:lnTo>
                      <a:pt x="4480" y="6200"/>
                    </a:lnTo>
                    <a:lnTo>
                      <a:pt x="4399" y="6261"/>
                    </a:lnTo>
                    <a:lnTo>
                      <a:pt x="4316" y="6320"/>
                    </a:lnTo>
                    <a:lnTo>
                      <a:pt x="4234" y="6380"/>
                    </a:lnTo>
                    <a:lnTo>
                      <a:pt x="4149" y="6437"/>
                    </a:lnTo>
                    <a:lnTo>
                      <a:pt x="4066" y="6494"/>
                    </a:lnTo>
                    <a:lnTo>
                      <a:pt x="3984" y="6550"/>
                    </a:lnTo>
                    <a:lnTo>
                      <a:pt x="3900" y="6603"/>
                    </a:lnTo>
                    <a:lnTo>
                      <a:pt x="3819" y="6656"/>
                    </a:lnTo>
                    <a:lnTo>
                      <a:pt x="3738" y="6707"/>
                    </a:lnTo>
                    <a:lnTo>
                      <a:pt x="3659" y="6756"/>
                    </a:lnTo>
                    <a:lnTo>
                      <a:pt x="3583" y="6804"/>
                    </a:lnTo>
                    <a:lnTo>
                      <a:pt x="3436" y="6893"/>
                    </a:lnTo>
                    <a:lnTo>
                      <a:pt x="3300" y="6973"/>
                    </a:lnTo>
                    <a:lnTo>
                      <a:pt x="3178" y="7044"/>
                    </a:lnTo>
                    <a:lnTo>
                      <a:pt x="3071" y="7103"/>
                    </a:lnTo>
                    <a:lnTo>
                      <a:pt x="2983" y="7150"/>
                    </a:lnTo>
                    <a:lnTo>
                      <a:pt x="2917" y="7186"/>
                    </a:lnTo>
                    <a:lnTo>
                      <a:pt x="2898" y="7093"/>
                    </a:lnTo>
                    <a:lnTo>
                      <a:pt x="2877" y="6999"/>
                    </a:lnTo>
                    <a:lnTo>
                      <a:pt x="2853" y="6905"/>
                    </a:lnTo>
                    <a:lnTo>
                      <a:pt x="2828" y="6810"/>
                    </a:lnTo>
                    <a:lnTo>
                      <a:pt x="2802" y="6713"/>
                    </a:lnTo>
                    <a:lnTo>
                      <a:pt x="2772" y="6616"/>
                    </a:lnTo>
                    <a:lnTo>
                      <a:pt x="2741" y="6517"/>
                    </a:lnTo>
                    <a:lnTo>
                      <a:pt x="2708" y="6417"/>
                    </a:lnTo>
                    <a:lnTo>
                      <a:pt x="2637" y="6217"/>
                    </a:lnTo>
                    <a:lnTo>
                      <a:pt x="2568" y="6026"/>
                    </a:lnTo>
                    <a:lnTo>
                      <a:pt x="2498" y="5839"/>
                    </a:lnTo>
                    <a:lnTo>
                      <a:pt x="2430" y="5661"/>
                    </a:lnTo>
                    <a:lnTo>
                      <a:pt x="2361" y="5490"/>
                    </a:lnTo>
                    <a:lnTo>
                      <a:pt x="2293" y="5325"/>
                    </a:lnTo>
                    <a:lnTo>
                      <a:pt x="2225" y="5166"/>
                    </a:lnTo>
                    <a:lnTo>
                      <a:pt x="2160" y="5013"/>
                    </a:lnTo>
                    <a:lnTo>
                      <a:pt x="2095" y="4864"/>
                    </a:lnTo>
                    <a:lnTo>
                      <a:pt x="2031" y="4723"/>
                    </a:lnTo>
                    <a:lnTo>
                      <a:pt x="1969" y="4585"/>
                    </a:lnTo>
                    <a:lnTo>
                      <a:pt x="1909" y="4452"/>
                    </a:lnTo>
                    <a:lnTo>
                      <a:pt x="1792" y="4200"/>
                    </a:lnTo>
                    <a:lnTo>
                      <a:pt x="1685" y="3964"/>
                    </a:lnTo>
                    <a:lnTo>
                      <a:pt x="1634" y="3851"/>
                    </a:lnTo>
                    <a:lnTo>
                      <a:pt x="1586" y="3741"/>
                    </a:lnTo>
                    <a:lnTo>
                      <a:pt x="1540" y="3634"/>
                    </a:lnTo>
                    <a:lnTo>
                      <a:pt x="1498" y="3530"/>
                    </a:lnTo>
                    <a:lnTo>
                      <a:pt x="1458" y="3428"/>
                    </a:lnTo>
                    <a:lnTo>
                      <a:pt x="1421" y="3328"/>
                    </a:lnTo>
                    <a:lnTo>
                      <a:pt x="1387" y="3229"/>
                    </a:lnTo>
                    <a:lnTo>
                      <a:pt x="1356" y="3132"/>
                    </a:lnTo>
                    <a:lnTo>
                      <a:pt x="1329" y="3037"/>
                    </a:lnTo>
                    <a:lnTo>
                      <a:pt x="1306" y="2942"/>
                    </a:lnTo>
                    <a:lnTo>
                      <a:pt x="1285" y="2847"/>
                    </a:lnTo>
                    <a:lnTo>
                      <a:pt x="1270" y="2753"/>
                    </a:lnTo>
                    <a:lnTo>
                      <a:pt x="1258" y="2660"/>
                    </a:lnTo>
                    <a:lnTo>
                      <a:pt x="1250" y="2566"/>
                    </a:lnTo>
                    <a:lnTo>
                      <a:pt x="1247" y="2471"/>
                    </a:lnTo>
                    <a:lnTo>
                      <a:pt x="1248" y="2377"/>
                    </a:lnTo>
                    <a:lnTo>
                      <a:pt x="1252" y="2280"/>
                    </a:lnTo>
                    <a:lnTo>
                      <a:pt x="1259" y="2183"/>
                    </a:lnTo>
                    <a:lnTo>
                      <a:pt x="1268" y="2082"/>
                    </a:lnTo>
                    <a:lnTo>
                      <a:pt x="1280" y="1982"/>
                    </a:lnTo>
                    <a:lnTo>
                      <a:pt x="1292" y="1881"/>
                    </a:lnTo>
                    <a:lnTo>
                      <a:pt x="1307" y="1779"/>
                    </a:lnTo>
                    <a:lnTo>
                      <a:pt x="1323" y="1677"/>
                    </a:lnTo>
                    <a:lnTo>
                      <a:pt x="1341" y="1575"/>
                    </a:lnTo>
                    <a:lnTo>
                      <a:pt x="1361" y="1475"/>
                    </a:lnTo>
                    <a:lnTo>
                      <a:pt x="1381" y="1374"/>
                    </a:lnTo>
                    <a:lnTo>
                      <a:pt x="1402" y="1275"/>
                    </a:lnTo>
                    <a:lnTo>
                      <a:pt x="1424" y="1177"/>
                    </a:lnTo>
                    <a:lnTo>
                      <a:pt x="1446" y="1081"/>
                    </a:lnTo>
                    <a:lnTo>
                      <a:pt x="1469" y="987"/>
                    </a:lnTo>
                    <a:lnTo>
                      <a:pt x="1492" y="895"/>
                    </a:lnTo>
                    <a:lnTo>
                      <a:pt x="1515" y="806"/>
                    </a:lnTo>
                    <a:lnTo>
                      <a:pt x="1561" y="638"/>
                    </a:lnTo>
                    <a:lnTo>
                      <a:pt x="1605" y="484"/>
                    </a:lnTo>
                    <a:lnTo>
                      <a:pt x="1645" y="345"/>
                    </a:lnTo>
                    <a:lnTo>
                      <a:pt x="1682" y="228"/>
                    </a:lnTo>
                    <a:lnTo>
                      <a:pt x="1713" y="132"/>
                    </a:lnTo>
                    <a:lnTo>
                      <a:pt x="1737" y="60"/>
                    </a:lnTo>
                    <a:lnTo>
                      <a:pt x="1751" y="15"/>
                    </a:lnTo>
                    <a:lnTo>
                      <a:pt x="1757" y="0"/>
                    </a:lnTo>
                    <a:lnTo>
                      <a:pt x="1748" y="15"/>
                    </a:lnTo>
                    <a:lnTo>
                      <a:pt x="1721" y="63"/>
                    </a:lnTo>
                    <a:lnTo>
                      <a:pt x="1701" y="99"/>
                    </a:lnTo>
                    <a:lnTo>
                      <a:pt x="1679" y="141"/>
                    </a:lnTo>
                    <a:lnTo>
                      <a:pt x="1654" y="191"/>
                    </a:lnTo>
                    <a:lnTo>
                      <a:pt x="1627" y="247"/>
                    </a:lnTo>
                    <a:lnTo>
                      <a:pt x="1597" y="309"/>
                    </a:lnTo>
                    <a:lnTo>
                      <a:pt x="1565" y="379"/>
                    </a:lnTo>
                    <a:lnTo>
                      <a:pt x="1533" y="453"/>
                    </a:lnTo>
                    <a:lnTo>
                      <a:pt x="1499" y="533"/>
                    </a:lnTo>
                    <a:lnTo>
                      <a:pt x="1465" y="619"/>
                    </a:lnTo>
                    <a:lnTo>
                      <a:pt x="1431" y="711"/>
                    </a:lnTo>
                    <a:lnTo>
                      <a:pt x="1396" y="807"/>
                    </a:lnTo>
                    <a:lnTo>
                      <a:pt x="1362" y="908"/>
                    </a:lnTo>
                    <a:lnTo>
                      <a:pt x="1329" y="1013"/>
                    </a:lnTo>
                    <a:lnTo>
                      <a:pt x="1298" y="1124"/>
                    </a:lnTo>
                    <a:lnTo>
                      <a:pt x="1267" y="1238"/>
                    </a:lnTo>
                    <a:lnTo>
                      <a:pt x="1240" y="1356"/>
                    </a:lnTo>
                    <a:lnTo>
                      <a:pt x="1214" y="1478"/>
                    </a:lnTo>
                    <a:lnTo>
                      <a:pt x="1191" y="1602"/>
                    </a:lnTo>
                    <a:lnTo>
                      <a:pt x="1171" y="1730"/>
                    </a:lnTo>
                    <a:lnTo>
                      <a:pt x="1155" y="1862"/>
                    </a:lnTo>
                    <a:lnTo>
                      <a:pt x="1143" y="1995"/>
                    </a:lnTo>
                    <a:lnTo>
                      <a:pt x="1135" y="2132"/>
                    </a:lnTo>
                    <a:lnTo>
                      <a:pt x="1131" y="2270"/>
                    </a:lnTo>
                    <a:lnTo>
                      <a:pt x="1134" y="2411"/>
                    </a:lnTo>
                    <a:lnTo>
                      <a:pt x="1140" y="2554"/>
                    </a:lnTo>
                    <a:lnTo>
                      <a:pt x="1153" y="2696"/>
                    </a:lnTo>
                    <a:lnTo>
                      <a:pt x="1171" y="2841"/>
                    </a:lnTo>
                    <a:lnTo>
                      <a:pt x="1196" y="2987"/>
                    </a:lnTo>
                    <a:lnTo>
                      <a:pt x="1212" y="3063"/>
                    </a:lnTo>
                    <a:lnTo>
                      <a:pt x="1228" y="3136"/>
                    </a:lnTo>
                    <a:lnTo>
                      <a:pt x="1246" y="3210"/>
                    </a:lnTo>
                    <a:lnTo>
                      <a:pt x="1264" y="3282"/>
                    </a:lnTo>
                    <a:lnTo>
                      <a:pt x="1283" y="3354"/>
                    </a:lnTo>
                    <a:lnTo>
                      <a:pt x="1304" y="3425"/>
                    </a:lnTo>
                    <a:lnTo>
                      <a:pt x="1325" y="3495"/>
                    </a:lnTo>
                    <a:lnTo>
                      <a:pt x="1347" y="3566"/>
                    </a:lnTo>
                    <a:lnTo>
                      <a:pt x="1370" y="3635"/>
                    </a:lnTo>
                    <a:lnTo>
                      <a:pt x="1394" y="3704"/>
                    </a:lnTo>
                    <a:lnTo>
                      <a:pt x="1418" y="3773"/>
                    </a:lnTo>
                    <a:lnTo>
                      <a:pt x="1443" y="3840"/>
                    </a:lnTo>
                    <a:lnTo>
                      <a:pt x="1469" y="3908"/>
                    </a:lnTo>
                    <a:lnTo>
                      <a:pt x="1496" y="3975"/>
                    </a:lnTo>
                    <a:lnTo>
                      <a:pt x="1523" y="4041"/>
                    </a:lnTo>
                    <a:lnTo>
                      <a:pt x="1549" y="4107"/>
                    </a:lnTo>
                    <a:lnTo>
                      <a:pt x="1606" y="4239"/>
                    </a:lnTo>
                    <a:lnTo>
                      <a:pt x="1663" y="4369"/>
                    </a:lnTo>
                    <a:lnTo>
                      <a:pt x="1723" y="4499"/>
                    </a:lnTo>
                    <a:lnTo>
                      <a:pt x="1782" y="4627"/>
                    </a:lnTo>
                    <a:lnTo>
                      <a:pt x="1843" y="4755"/>
                    </a:lnTo>
                    <a:lnTo>
                      <a:pt x="1902" y="4883"/>
                    </a:lnTo>
                    <a:lnTo>
                      <a:pt x="1963" y="5009"/>
                    </a:lnTo>
                    <a:lnTo>
                      <a:pt x="2022" y="5136"/>
                    </a:lnTo>
                    <a:lnTo>
                      <a:pt x="1989" y="5137"/>
                    </a:lnTo>
                    <a:lnTo>
                      <a:pt x="1949" y="5136"/>
                    </a:lnTo>
                    <a:lnTo>
                      <a:pt x="1903" y="5136"/>
                    </a:lnTo>
                    <a:lnTo>
                      <a:pt x="1852" y="5135"/>
                    </a:lnTo>
                    <a:lnTo>
                      <a:pt x="1795" y="5133"/>
                    </a:lnTo>
                    <a:lnTo>
                      <a:pt x="1734" y="5129"/>
                    </a:lnTo>
                    <a:lnTo>
                      <a:pt x="1668" y="5126"/>
                    </a:lnTo>
                    <a:lnTo>
                      <a:pt x="1600" y="5120"/>
                    </a:lnTo>
                    <a:lnTo>
                      <a:pt x="1528" y="5114"/>
                    </a:lnTo>
                    <a:lnTo>
                      <a:pt x="1452" y="5106"/>
                    </a:lnTo>
                    <a:lnTo>
                      <a:pt x="1376" y="5096"/>
                    </a:lnTo>
                    <a:lnTo>
                      <a:pt x="1297" y="5086"/>
                    </a:lnTo>
                    <a:lnTo>
                      <a:pt x="1217" y="5072"/>
                    </a:lnTo>
                    <a:lnTo>
                      <a:pt x="1137" y="5057"/>
                    </a:lnTo>
                    <a:lnTo>
                      <a:pt x="1097" y="5049"/>
                    </a:lnTo>
                    <a:lnTo>
                      <a:pt x="1056" y="5040"/>
                    </a:lnTo>
                    <a:lnTo>
                      <a:pt x="1016" y="5031"/>
                    </a:lnTo>
                    <a:lnTo>
                      <a:pt x="976" y="5021"/>
                    </a:lnTo>
                    <a:lnTo>
                      <a:pt x="927" y="5007"/>
                    </a:lnTo>
                    <a:lnTo>
                      <a:pt x="878" y="4993"/>
                    </a:lnTo>
                    <a:lnTo>
                      <a:pt x="830" y="4980"/>
                    </a:lnTo>
                    <a:lnTo>
                      <a:pt x="783" y="4964"/>
                    </a:lnTo>
                    <a:lnTo>
                      <a:pt x="736" y="4948"/>
                    </a:lnTo>
                    <a:lnTo>
                      <a:pt x="691" y="4932"/>
                    </a:lnTo>
                    <a:lnTo>
                      <a:pt x="646" y="4916"/>
                    </a:lnTo>
                    <a:lnTo>
                      <a:pt x="602" y="4899"/>
                    </a:lnTo>
                    <a:lnTo>
                      <a:pt x="516" y="4864"/>
                    </a:lnTo>
                    <a:lnTo>
                      <a:pt x="436" y="4829"/>
                    </a:lnTo>
                    <a:lnTo>
                      <a:pt x="361" y="4795"/>
                    </a:lnTo>
                    <a:lnTo>
                      <a:pt x="291" y="4762"/>
                    </a:lnTo>
                    <a:lnTo>
                      <a:pt x="227" y="4730"/>
                    </a:lnTo>
                    <a:lnTo>
                      <a:pt x="170" y="4701"/>
                    </a:lnTo>
                    <a:lnTo>
                      <a:pt x="120" y="4674"/>
                    </a:lnTo>
                    <a:lnTo>
                      <a:pt x="79" y="4651"/>
                    </a:lnTo>
                    <a:lnTo>
                      <a:pt x="44" y="4632"/>
                    </a:lnTo>
                    <a:lnTo>
                      <a:pt x="20" y="4617"/>
                    </a:lnTo>
                    <a:lnTo>
                      <a:pt x="5" y="4608"/>
                    </a:lnTo>
                    <a:lnTo>
                      <a:pt x="0" y="4605"/>
                    </a:lnTo>
                    <a:lnTo>
                      <a:pt x="8" y="4611"/>
                    </a:lnTo>
                    <a:lnTo>
                      <a:pt x="29" y="4629"/>
                    </a:lnTo>
                    <a:lnTo>
                      <a:pt x="66" y="4657"/>
                    </a:lnTo>
                    <a:lnTo>
                      <a:pt x="114" y="4692"/>
                    </a:lnTo>
                    <a:lnTo>
                      <a:pt x="174" y="4735"/>
                    </a:lnTo>
                    <a:lnTo>
                      <a:pt x="245" y="4785"/>
                    </a:lnTo>
                    <a:lnTo>
                      <a:pt x="284" y="4810"/>
                    </a:lnTo>
                    <a:lnTo>
                      <a:pt x="326" y="4836"/>
                    </a:lnTo>
                    <a:lnTo>
                      <a:pt x="370" y="4863"/>
                    </a:lnTo>
                    <a:lnTo>
                      <a:pt x="414" y="4892"/>
                    </a:lnTo>
                    <a:lnTo>
                      <a:pt x="462" y="4919"/>
                    </a:lnTo>
                    <a:lnTo>
                      <a:pt x="511" y="4948"/>
                    </a:lnTo>
                    <a:lnTo>
                      <a:pt x="562" y="4975"/>
                    </a:lnTo>
                    <a:lnTo>
                      <a:pt x="614" y="5003"/>
                    </a:lnTo>
                    <a:lnTo>
                      <a:pt x="667" y="5030"/>
                    </a:lnTo>
                    <a:lnTo>
                      <a:pt x="721" y="5056"/>
                    </a:lnTo>
                    <a:lnTo>
                      <a:pt x="777" y="5081"/>
                    </a:lnTo>
                    <a:lnTo>
                      <a:pt x="834" y="5106"/>
                    </a:lnTo>
                    <a:lnTo>
                      <a:pt x="892" y="5129"/>
                    </a:lnTo>
                    <a:lnTo>
                      <a:pt x="950" y="5151"/>
                    </a:lnTo>
                    <a:lnTo>
                      <a:pt x="1009" y="5172"/>
                    </a:lnTo>
                    <a:lnTo>
                      <a:pt x="1069" y="5190"/>
                    </a:lnTo>
                    <a:lnTo>
                      <a:pt x="1128" y="5206"/>
                    </a:lnTo>
                    <a:lnTo>
                      <a:pt x="1187" y="5221"/>
                    </a:lnTo>
                    <a:lnTo>
                      <a:pt x="1248" y="5232"/>
                    </a:lnTo>
                    <a:lnTo>
                      <a:pt x="1307" y="5241"/>
                    </a:lnTo>
                    <a:lnTo>
                      <a:pt x="1385" y="5251"/>
                    </a:lnTo>
                    <a:lnTo>
                      <a:pt x="1458" y="5259"/>
                    </a:lnTo>
                    <a:lnTo>
                      <a:pt x="1526" y="5265"/>
                    </a:lnTo>
                    <a:lnTo>
                      <a:pt x="1592" y="5270"/>
                    </a:lnTo>
                    <a:lnTo>
                      <a:pt x="1652" y="5273"/>
                    </a:lnTo>
                    <a:lnTo>
                      <a:pt x="1710" y="5275"/>
                    </a:lnTo>
                    <a:lnTo>
                      <a:pt x="1763" y="5277"/>
                    </a:lnTo>
                    <a:lnTo>
                      <a:pt x="1813" y="5277"/>
                    </a:lnTo>
                    <a:lnTo>
                      <a:pt x="1859" y="5275"/>
                    </a:lnTo>
                    <a:lnTo>
                      <a:pt x="1900" y="5274"/>
                    </a:lnTo>
                    <a:lnTo>
                      <a:pt x="1939" y="5272"/>
                    </a:lnTo>
                    <a:lnTo>
                      <a:pt x="1974" y="5270"/>
                    </a:lnTo>
                    <a:lnTo>
                      <a:pt x="2032" y="5264"/>
                    </a:lnTo>
                    <a:lnTo>
                      <a:pt x="2078" y="5257"/>
                    </a:lnTo>
                    <a:lnTo>
                      <a:pt x="2129" y="5371"/>
                    </a:lnTo>
                    <a:lnTo>
                      <a:pt x="2180" y="5486"/>
                    </a:lnTo>
                    <a:lnTo>
                      <a:pt x="2229" y="5601"/>
                    </a:lnTo>
                    <a:lnTo>
                      <a:pt x="2275" y="5717"/>
                    </a:lnTo>
                    <a:lnTo>
                      <a:pt x="2298" y="5776"/>
                    </a:lnTo>
                    <a:lnTo>
                      <a:pt x="2321" y="5834"/>
                    </a:lnTo>
                    <a:lnTo>
                      <a:pt x="2343" y="5893"/>
                    </a:lnTo>
                    <a:lnTo>
                      <a:pt x="2365" y="5953"/>
                    </a:lnTo>
                    <a:lnTo>
                      <a:pt x="2385" y="6012"/>
                    </a:lnTo>
                    <a:lnTo>
                      <a:pt x="2405" y="6071"/>
                    </a:lnTo>
                    <a:lnTo>
                      <a:pt x="2424" y="6132"/>
                    </a:lnTo>
                    <a:lnTo>
                      <a:pt x="2443" y="6192"/>
                    </a:lnTo>
                    <a:lnTo>
                      <a:pt x="2460" y="6253"/>
                    </a:lnTo>
                    <a:lnTo>
                      <a:pt x="2478" y="6314"/>
                    </a:lnTo>
                    <a:lnTo>
                      <a:pt x="2495" y="6376"/>
                    </a:lnTo>
                    <a:lnTo>
                      <a:pt x="2510" y="6438"/>
                    </a:lnTo>
                    <a:lnTo>
                      <a:pt x="2524" y="6501"/>
                    </a:lnTo>
                    <a:lnTo>
                      <a:pt x="2539" y="6563"/>
                    </a:lnTo>
                    <a:lnTo>
                      <a:pt x="2552" y="6627"/>
                    </a:lnTo>
                    <a:lnTo>
                      <a:pt x="2563" y="6691"/>
                    </a:lnTo>
                    <a:lnTo>
                      <a:pt x="2575" y="6755"/>
                    </a:lnTo>
                    <a:lnTo>
                      <a:pt x="2585" y="6820"/>
                    </a:lnTo>
                    <a:lnTo>
                      <a:pt x="2594" y="6886"/>
                    </a:lnTo>
                    <a:lnTo>
                      <a:pt x="2602" y="6953"/>
                    </a:lnTo>
                    <a:lnTo>
                      <a:pt x="2609" y="7019"/>
                    </a:lnTo>
                    <a:lnTo>
                      <a:pt x="2615" y="7087"/>
                    </a:lnTo>
                    <a:lnTo>
                      <a:pt x="2619" y="7155"/>
                    </a:lnTo>
                    <a:lnTo>
                      <a:pt x="2623" y="7223"/>
                    </a:lnTo>
                    <a:lnTo>
                      <a:pt x="2626" y="7340"/>
                    </a:lnTo>
                    <a:lnTo>
                      <a:pt x="2626" y="7455"/>
                    </a:lnTo>
                    <a:lnTo>
                      <a:pt x="2624" y="7572"/>
                    </a:lnTo>
                    <a:lnTo>
                      <a:pt x="2618" y="7687"/>
                    </a:lnTo>
                    <a:lnTo>
                      <a:pt x="2609" y="7802"/>
                    </a:lnTo>
                    <a:lnTo>
                      <a:pt x="2599" y="7917"/>
                    </a:lnTo>
                    <a:lnTo>
                      <a:pt x="2585" y="8032"/>
                    </a:lnTo>
                    <a:lnTo>
                      <a:pt x="2570" y="8145"/>
                    </a:lnTo>
                    <a:lnTo>
                      <a:pt x="2552" y="8258"/>
                    </a:lnTo>
                    <a:lnTo>
                      <a:pt x="2532" y="8370"/>
                    </a:lnTo>
                    <a:lnTo>
                      <a:pt x="2511" y="8479"/>
                    </a:lnTo>
                    <a:lnTo>
                      <a:pt x="2488" y="8589"/>
                    </a:lnTo>
                    <a:lnTo>
                      <a:pt x="2464" y="8696"/>
                    </a:lnTo>
                    <a:lnTo>
                      <a:pt x="2438" y="8802"/>
                    </a:lnTo>
                    <a:lnTo>
                      <a:pt x="2411" y="8907"/>
                    </a:lnTo>
                    <a:lnTo>
                      <a:pt x="2383" y="9009"/>
                    </a:lnTo>
                    <a:lnTo>
                      <a:pt x="2354" y="9109"/>
                    </a:lnTo>
                    <a:lnTo>
                      <a:pt x="2325" y="9208"/>
                    </a:lnTo>
                    <a:lnTo>
                      <a:pt x="2295" y="9304"/>
                    </a:lnTo>
                    <a:lnTo>
                      <a:pt x="2264" y="9397"/>
                    </a:lnTo>
                    <a:lnTo>
                      <a:pt x="2234" y="9487"/>
                    </a:lnTo>
                    <a:lnTo>
                      <a:pt x="2204" y="9575"/>
                    </a:lnTo>
                    <a:lnTo>
                      <a:pt x="2173" y="9661"/>
                    </a:lnTo>
                    <a:lnTo>
                      <a:pt x="2142" y="9743"/>
                    </a:lnTo>
                    <a:lnTo>
                      <a:pt x="2111" y="9822"/>
                    </a:lnTo>
                    <a:lnTo>
                      <a:pt x="2081" y="9897"/>
                    </a:lnTo>
                    <a:lnTo>
                      <a:pt x="2053" y="9969"/>
                    </a:lnTo>
                    <a:lnTo>
                      <a:pt x="2024" y="10038"/>
                    </a:lnTo>
                    <a:lnTo>
                      <a:pt x="1971" y="10162"/>
                    </a:lnTo>
                    <a:lnTo>
                      <a:pt x="1923" y="10272"/>
                    </a:lnTo>
                    <a:lnTo>
                      <a:pt x="2451" y="10272"/>
                    </a:lnTo>
                    <a:lnTo>
                      <a:pt x="2451" y="10272"/>
                    </a:lnTo>
                    <a:lnTo>
                      <a:pt x="2475" y="10234"/>
                    </a:lnTo>
                    <a:lnTo>
                      <a:pt x="2502" y="10196"/>
                    </a:lnTo>
                    <a:lnTo>
                      <a:pt x="2515" y="10176"/>
                    </a:lnTo>
                    <a:lnTo>
                      <a:pt x="2530" y="10156"/>
                    </a:lnTo>
                    <a:lnTo>
                      <a:pt x="2545" y="10137"/>
                    </a:lnTo>
                    <a:lnTo>
                      <a:pt x="2561" y="10119"/>
                    </a:lnTo>
                    <a:lnTo>
                      <a:pt x="2578" y="10099"/>
                    </a:lnTo>
                    <a:lnTo>
                      <a:pt x="2595" y="10081"/>
                    </a:lnTo>
                    <a:lnTo>
                      <a:pt x="2613" y="10063"/>
                    </a:lnTo>
                    <a:lnTo>
                      <a:pt x="2632" y="10045"/>
                    </a:lnTo>
                    <a:lnTo>
                      <a:pt x="2651" y="10029"/>
                    </a:lnTo>
                    <a:lnTo>
                      <a:pt x="2671" y="10013"/>
                    </a:lnTo>
                    <a:lnTo>
                      <a:pt x="2691" y="9997"/>
                    </a:lnTo>
                    <a:lnTo>
                      <a:pt x="2713" y="9983"/>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grpSp>
      <p:grpSp>
        <p:nvGrpSpPr>
          <p:cNvPr id="54" name="Group 97">
            <a:extLst>
              <a:ext uri="{FF2B5EF4-FFF2-40B4-BE49-F238E27FC236}">
                <a16:creationId xmlns:a16="http://schemas.microsoft.com/office/drawing/2014/main" id="{7BF7741A-0CFE-4D52-ACBA-D7EEAC94EFBA}"/>
              </a:ext>
            </a:extLst>
          </p:cNvPr>
          <p:cNvGrpSpPr/>
          <p:nvPr/>
        </p:nvGrpSpPr>
        <p:grpSpPr>
          <a:xfrm>
            <a:off x="6407953" y="4336168"/>
            <a:ext cx="2116848" cy="1622309"/>
            <a:chOff x="6933664" y="1075295"/>
            <a:chExt cx="2116848" cy="1622309"/>
          </a:xfrm>
        </p:grpSpPr>
        <p:sp>
          <p:nvSpPr>
            <p:cNvPr id="55" name="Rectangle 98">
              <a:extLst>
                <a:ext uri="{FF2B5EF4-FFF2-40B4-BE49-F238E27FC236}">
                  <a16:creationId xmlns:a16="http://schemas.microsoft.com/office/drawing/2014/main" id="{9DB72D57-3367-47BA-8532-1CCA6C84B921}"/>
                </a:ext>
              </a:extLst>
            </p:cNvPr>
            <p:cNvSpPr/>
            <p:nvPr/>
          </p:nvSpPr>
          <p:spPr>
            <a:xfrm>
              <a:off x="6933664" y="1794215"/>
              <a:ext cx="2116848" cy="903389"/>
            </a:xfrm>
            <a:prstGeom prst="rect">
              <a:avLst/>
            </a:prstGeom>
          </p:spPr>
          <p:txBody>
            <a:bodyPr wrap="square">
              <a:spAutoFit/>
            </a:bodyPr>
            <a:lstStyle/>
            <a:p>
              <a:pPr marL="0" marR="0" lvl="0" indent="0" algn="ctr" defTabSz="914400" rtl="0" eaLnBrk="1" fontAlgn="auto" latinLnBrk="0" hangingPunct="1">
                <a:lnSpc>
                  <a:spcPct val="13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lumMod val="50000"/>
                      <a:lumOff val="50000"/>
                    </a:srgbClr>
                  </a:solidFill>
                  <a:effectLst/>
                  <a:uLnTx/>
                  <a:uFillTx/>
                  <a:latin typeface="等线" panose="020F0502020204030204"/>
                  <a:ea typeface="Open Sans Light" panose="020B0306030504020204" pitchFamily="34" charset="0"/>
                  <a:cs typeface="Segoe UI" panose="020B0502040204020203" pitchFamily="34" charset="0"/>
                </a:rPr>
                <a:t>Their pronunciation and their most common words. </a:t>
              </a:r>
            </a:p>
          </p:txBody>
        </p:sp>
        <p:sp>
          <p:nvSpPr>
            <p:cNvPr id="56" name="Rectangle 99">
              <a:extLst>
                <a:ext uri="{FF2B5EF4-FFF2-40B4-BE49-F238E27FC236}">
                  <a16:creationId xmlns:a16="http://schemas.microsoft.com/office/drawing/2014/main" id="{9BF9348E-0E54-4E0B-BB24-8ACB348BA8AE}"/>
                </a:ext>
              </a:extLst>
            </p:cNvPr>
            <p:cNvSpPr/>
            <p:nvPr/>
          </p:nvSpPr>
          <p:spPr>
            <a:xfrm>
              <a:off x="7036623" y="1075295"/>
              <a:ext cx="1910928" cy="737574"/>
            </a:xfrm>
            <a:prstGeom prst="rect">
              <a:avLst/>
            </a:prstGeom>
          </p:spPr>
          <p:txBody>
            <a:bodyPr wrap="square">
              <a:spAutoFit/>
            </a:bodyPr>
            <a:lstStyle/>
            <a:p>
              <a:pPr marL="0" marR="0" lvl="0" indent="0" algn="ctr" defTabSz="914400" rtl="0" eaLnBrk="1" fontAlgn="auto" latinLnBrk="0" hangingPunct="1">
                <a:lnSpc>
                  <a:spcPct val="130000"/>
                </a:lnSpc>
                <a:spcBef>
                  <a:spcPts val="0"/>
                </a:spcBef>
                <a:spcAft>
                  <a:spcPts val="0"/>
                </a:spcAft>
                <a:buClrTx/>
                <a:buSzTx/>
                <a:buFontTx/>
                <a:buNone/>
                <a:tabLst/>
                <a:defRPr/>
              </a:pPr>
              <a:r>
                <a:rPr kumimoji="0" lang="en-US" sz="3600" b="1" i="0" u="none" strike="noStrike" kern="1200" cap="none" spc="0" normalizeH="0" baseline="0" noProof="0" dirty="0">
                  <a:ln>
                    <a:noFill/>
                  </a:ln>
                  <a:solidFill>
                    <a:srgbClr val="FF388A"/>
                  </a:solidFill>
                  <a:effectLst/>
                  <a:uLnTx/>
                  <a:uFillTx/>
                  <a:latin typeface="等线 Light" panose="020F0302020204030204"/>
                  <a:ea typeface="Open Sans Light" panose="020B0306030504020204" pitchFamily="34" charset="0"/>
                  <a:cs typeface="Poppins" panose="02000000000000000000" pitchFamily="2" charset="0"/>
                </a:rPr>
                <a:t>600K</a:t>
              </a:r>
              <a:endParaRPr kumimoji="0" lang="en-US" sz="3600" b="1" i="0" u="none" strike="noStrike" kern="1200" cap="none" spc="0" normalizeH="0" baseline="30000" noProof="0" dirty="0">
                <a:ln>
                  <a:noFill/>
                </a:ln>
                <a:solidFill>
                  <a:srgbClr val="FF388A"/>
                </a:solidFill>
                <a:effectLst/>
                <a:uLnTx/>
                <a:uFillTx/>
                <a:latin typeface="等线 Light" panose="020F0302020204030204"/>
                <a:ea typeface="Open Sans Light" panose="020B0306030504020204" pitchFamily="34" charset="0"/>
                <a:cs typeface="Poppins" panose="02000000000000000000" pitchFamily="2" charset="0"/>
              </a:endParaRPr>
            </a:p>
          </p:txBody>
        </p:sp>
      </p:grpSp>
      <p:grpSp>
        <p:nvGrpSpPr>
          <p:cNvPr id="57" name="Group 42">
            <a:extLst>
              <a:ext uri="{FF2B5EF4-FFF2-40B4-BE49-F238E27FC236}">
                <a16:creationId xmlns:a16="http://schemas.microsoft.com/office/drawing/2014/main" id="{FC8A8B12-8B4E-4477-911E-55F643BE6C11}"/>
              </a:ext>
            </a:extLst>
          </p:cNvPr>
          <p:cNvGrpSpPr/>
          <p:nvPr/>
        </p:nvGrpSpPr>
        <p:grpSpPr>
          <a:xfrm>
            <a:off x="9487041" y="1988945"/>
            <a:ext cx="1402079" cy="2189130"/>
            <a:chOff x="8063540" y="1509135"/>
            <a:chExt cx="1402079" cy="2189130"/>
          </a:xfrm>
        </p:grpSpPr>
        <p:grpSp>
          <p:nvGrpSpPr>
            <p:cNvPr id="58" name="Group 50">
              <a:extLst>
                <a:ext uri="{FF2B5EF4-FFF2-40B4-BE49-F238E27FC236}">
                  <a16:creationId xmlns:a16="http://schemas.microsoft.com/office/drawing/2014/main" id="{514C2DE2-48B1-4710-B150-855034CCD44F}"/>
                </a:ext>
              </a:extLst>
            </p:cNvPr>
            <p:cNvGrpSpPr/>
            <p:nvPr/>
          </p:nvGrpSpPr>
          <p:grpSpPr>
            <a:xfrm>
              <a:off x="8063540" y="1999150"/>
              <a:ext cx="1402079" cy="1699115"/>
              <a:chOff x="8063540" y="1999150"/>
              <a:chExt cx="1402079" cy="1699115"/>
            </a:xfrm>
          </p:grpSpPr>
          <p:sp>
            <p:nvSpPr>
              <p:cNvPr id="74" name="Freeform 4">
                <a:extLst>
                  <a:ext uri="{FF2B5EF4-FFF2-40B4-BE49-F238E27FC236}">
                    <a16:creationId xmlns:a16="http://schemas.microsoft.com/office/drawing/2014/main" id="{FD825FAE-3B39-4E3E-923C-CFE2D4436846}"/>
                  </a:ext>
                </a:extLst>
              </p:cNvPr>
              <p:cNvSpPr>
                <a:spLocks/>
              </p:cNvSpPr>
              <p:nvPr/>
            </p:nvSpPr>
            <p:spPr bwMode="auto">
              <a:xfrm>
                <a:off x="8074148" y="2251984"/>
                <a:ext cx="1380862" cy="1446281"/>
              </a:xfrm>
              <a:custGeom>
                <a:avLst/>
                <a:gdLst>
                  <a:gd name="T0" fmla="*/ 1516 w 1562"/>
                  <a:gd name="T1" fmla="*/ 0 h 1636"/>
                  <a:gd name="T2" fmla="*/ 1562 w 1562"/>
                  <a:gd name="T3" fmla="*/ 11 h 1636"/>
                  <a:gd name="T4" fmla="*/ 781 w 1562"/>
                  <a:gd name="T5" fmla="*/ 1636 h 1636"/>
                  <a:gd name="T6" fmla="*/ 0 w 1562"/>
                  <a:gd name="T7" fmla="*/ 11 h 1636"/>
                  <a:gd name="T8" fmla="*/ 57 w 1562"/>
                  <a:gd name="T9" fmla="*/ 0 h 1636"/>
                  <a:gd name="T10" fmla="*/ 1516 w 1562"/>
                  <a:gd name="T11" fmla="*/ 0 h 1636"/>
                </a:gdLst>
                <a:ahLst/>
                <a:cxnLst>
                  <a:cxn ang="0">
                    <a:pos x="T0" y="T1"/>
                  </a:cxn>
                  <a:cxn ang="0">
                    <a:pos x="T2" y="T3"/>
                  </a:cxn>
                  <a:cxn ang="0">
                    <a:pos x="T4" y="T5"/>
                  </a:cxn>
                  <a:cxn ang="0">
                    <a:pos x="T6" y="T7"/>
                  </a:cxn>
                  <a:cxn ang="0">
                    <a:pos x="T8" y="T9"/>
                  </a:cxn>
                  <a:cxn ang="0">
                    <a:pos x="T10" y="T11"/>
                  </a:cxn>
                </a:cxnLst>
                <a:rect l="0" t="0" r="r" b="b"/>
                <a:pathLst>
                  <a:path w="1562" h="1636">
                    <a:moveTo>
                      <a:pt x="1516" y="0"/>
                    </a:moveTo>
                    <a:lnTo>
                      <a:pt x="1562" y="11"/>
                    </a:lnTo>
                    <a:lnTo>
                      <a:pt x="781" y="1636"/>
                    </a:lnTo>
                    <a:lnTo>
                      <a:pt x="0" y="11"/>
                    </a:lnTo>
                    <a:lnTo>
                      <a:pt x="57" y="0"/>
                    </a:lnTo>
                    <a:lnTo>
                      <a:pt x="1516" y="0"/>
                    </a:lnTo>
                    <a:close/>
                  </a:path>
                </a:pathLst>
              </a:custGeom>
              <a:gradFill flip="none" rotWithShape="1">
                <a:gsLst>
                  <a:gs pos="0">
                    <a:schemeClr val="accent4">
                      <a:lumMod val="50000"/>
                    </a:schemeClr>
                  </a:gs>
                  <a:gs pos="50000">
                    <a:schemeClr val="accent4">
                      <a:lumMod val="75000"/>
                    </a:schemeClr>
                  </a:gs>
                  <a:gs pos="100000">
                    <a:schemeClr val="accent4"/>
                  </a:gs>
                </a:gsLst>
                <a:lin ang="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75" name="Oval 3">
                <a:extLst>
                  <a:ext uri="{FF2B5EF4-FFF2-40B4-BE49-F238E27FC236}">
                    <a16:creationId xmlns:a16="http://schemas.microsoft.com/office/drawing/2014/main" id="{48FF4E64-67B3-4E5B-9330-37F65E51B813}"/>
                  </a:ext>
                </a:extLst>
              </p:cNvPr>
              <p:cNvSpPr>
                <a:spLocks noChangeArrowheads="1"/>
              </p:cNvSpPr>
              <p:nvPr/>
            </p:nvSpPr>
            <p:spPr bwMode="auto">
              <a:xfrm>
                <a:off x="8063540" y="1999150"/>
                <a:ext cx="1402079" cy="455278"/>
              </a:xfrm>
              <a:prstGeom prst="ellipse">
                <a:avLst/>
              </a:prstGeom>
              <a:solidFill>
                <a:schemeClr val="accent4">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grpSp>
        <p:grpSp>
          <p:nvGrpSpPr>
            <p:cNvPr id="59" name="Group 76">
              <a:extLst>
                <a:ext uri="{FF2B5EF4-FFF2-40B4-BE49-F238E27FC236}">
                  <a16:creationId xmlns:a16="http://schemas.microsoft.com/office/drawing/2014/main" id="{813E5E9B-2821-40BC-8C9F-E3E3FA5ACE76}"/>
                </a:ext>
              </a:extLst>
            </p:cNvPr>
            <p:cNvGrpSpPr/>
            <p:nvPr/>
          </p:nvGrpSpPr>
          <p:grpSpPr>
            <a:xfrm>
              <a:off x="8342462" y="1509135"/>
              <a:ext cx="1056686" cy="1049557"/>
              <a:chOff x="8342462" y="1490085"/>
              <a:chExt cx="1056686" cy="1049557"/>
            </a:xfrm>
          </p:grpSpPr>
          <p:sp>
            <p:nvSpPr>
              <p:cNvPr id="60" name="Freeform 16">
                <a:extLst>
                  <a:ext uri="{FF2B5EF4-FFF2-40B4-BE49-F238E27FC236}">
                    <a16:creationId xmlns:a16="http://schemas.microsoft.com/office/drawing/2014/main" id="{A207FE31-EDAD-4965-988D-A123C0729B46}"/>
                  </a:ext>
                </a:extLst>
              </p:cNvPr>
              <p:cNvSpPr>
                <a:spLocks/>
              </p:cNvSpPr>
              <p:nvPr/>
            </p:nvSpPr>
            <p:spPr bwMode="auto">
              <a:xfrm>
                <a:off x="8589998" y="1501938"/>
                <a:ext cx="270160" cy="283310"/>
              </a:xfrm>
              <a:custGeom>
                <a:avLst/>
                <a:gdLst>
                  <a:gd name="T0" fmla="*/ 4 w 46"/>
                  <a:gd name="T1" fmla="*/ 0 h 48"/>
                  <a:gd name="T2" fmla="*/ 10 w 46"/>
                  <a:gd name="T3" fmla="*/ 7 h 48"/>
                  <a:gd name="T4" fmla="*/ 36 w 46"/>
                  <a:gd name="T5" fmla="*/ 19 h 48"/>
                  <a:gd name="T6" fmla="*/ 42 w 46"/>
                  <a:gd name="T7" fmla="*/ 39 h 48"/>
                  <a:gd name="T8" fmla="*/ 37 w 46"/>
                  <a:gd name="T9" fmla="*/ 42 h 48"/>
                  <a:gd name="T10" fmla="*/ 29 w 46"/>
                  <a:gd name="T11" fmla="*/ 47 h 48"/>
                  <a:gd name="T12" fmla="*/ 4 w 46"/>
                  <a:gd name="T13" fmla="*/ 0 h 48"/>
                </a:gdLst>
                <a:ahLst/>
                <a:cxnLst>
                  <a:cxn ang="0">
                    <a:pos x="T0" y="T1"/>
                  </a:cxn>
                  <a:cxn ang="0">
                    <a:pos x="T2" y="T3"/>
                  </a:cxn>
                  <a:cxn ang="0">
                    <a:pos x="T4" y="T5"/>
                  </a:cxn>
                  <a:cxn ang="0">
                    <a:pos x="T6" y="T7"/>
                  </a:cxn>
                  <a:cxn ang="0">
                    <a:pos x="T8" y="T9"/>
                  </a:cxn>
                  <a:cxn ang="0">
                    <a:pos x="T10" y="T11"/>
                  </a:cxn>
                  <a:cxn ang="0">
                    <a:pos x="T12" y="T13"/>
                  </a:cxn>
                </a:cxnLst>
                <a:rect l="0" t="0" r="r" b="b"/>
                <a:pathLst>
                  <a:path w="46" h="48">
                    <a:moveTo>
                      <a:pt x="4" y="0"/>
                    </a:moveTo>
                    <a:cubicBezTo>
                      <a:pt x="4" y="0"/>
                      <a:pt x="5" y="4"/>
                      <a:pt x="10" y="7"/>
                    </a:cubicBezTo>
                    <a:cubicBezTo>
                      <a:pt x="15" y="10"/>
                      <a:pt x="27" y="11"/>
                      <a:pt x="36" y="19"/>
                    </a:cubicBezTo>
                    <a:cubicBezTo>
                      <a:pt x="46" y="27"/>
                      <a:pt x="44" y="36"/>
                      <a:pt x="42" y="39"/>
                    </a:cubicBezTo>
                    <a:cubicBezTo>
                      <a:pt x="41" y="42"/>
                      <a:pt x="37" y="42"/>
                      <a:pt x="37" y="42"/>
                    </a:cubicBezTo>
                    <a:cubicBezTo>
                      <a:pt x="37" y="42"/>
                      <a:pt x="37" y="48"/>
                      <a:pt x="29" y="47"/>
                    </a:cubicBezTo>
                    <a:cubicBezTo>
                      <a:pt x="0" y="37"/>
                      <a:pt x="4" y="0"/>
                      <a:pt x="4" y="0"/>
                    </a:cubicBezTo>
                    <a:close/>
                  </a:path>
                </a:pathLst>
              </a:custGeom>
              <a:solidFill>
                <a:srgbClr val="8BC5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61" name="Freeform 17">
                <a:extLst>
                  <a:ext uri="{FF2B5EF4-FFF2-40B4-BE49-F238E27FC236}">
                    <a16:creationId xmlns:a16="http://schemas.microsoft.com/office/drawing/2014/main" id="{6464B0C8-C2EE-4D23-8C19-235BF7604D84}"/>
                  </a:ext>
                </a:extLst>
              </p:cNvPr>
              <p:cNvSpPr>
                <a:spLocks/>
              </p:cNvSpPr>
              <p:nvPr/>
            </p:nvSpPr>
            <p:spPr bwMode="auto">
              <a:xfrm>
                <a:off x="8707146" y="1631047"/>
                <a:ext cx="141057" cy="242667"/>
              </a:xfrm>
              <a:custGeom>
                <a:avLst/>
                <a:gdLst>
                  <a:gd name="T0" fmla="*/ 0 w 24"/>
                  <a:gd name="T1" fmla="*/ 0 h 41"/>
                  <a:gd name="T2" fmla="*/ 16 w 24"/>
                  <a:gd name="T3" fmla="*/ 21 h 41"/>
                  <a:gd name="T4" fmla="*/ 18 w 24"/>
                  <a:gd name="T5" fmla="*/ 41 h 41"/>
                  <a:gd name="T6" fmla="*/ 20 w 24"/>
                  <a:gd name="T7" fmla="*/ 20 h 41"/>
                  <a:gd name="T8" fmla="*/ 0 w 24"/>
                  <a:gd name="T9" fmla="*/ 0 h 41"/>
                </a:gdLst>
                <a:ahLst/>
                <a:cxnLst>
                  <a:cxn ang="0">
                    <a:pos x="T0" y="T1"/>
                  </a:cxn>
                  <a:cxn ang="0">
                    <a:pos x="T2" y="T3"/>
                  </a:cxn>
                  <a:cxn ang="0">
                    <a:pos x="T4" y="T5"/>
                  </a:cxn>
                  <a:cxn ang="0">
                    <a:pos x="T6" y="T7"/>
                  </a:cxn>
                  <a:cxn ang="0">
                    <a:pos x="T8" y="T9"/>
                  </a:cxn>
                </a:cxnLst>
                <a:rect l="0" t="0" r="r" b="b"/>
                <a:pathLst>
                  <a:path w="24" h="41">
                    <a:moveTo>
                      <a:pt x="0" y="0"/>
                    </a:moveTo>
                    <a:cubicBezTo>
                      <a:pt x="0" y="0"/>
                      <a:pt x="11" y="11"/>
                      <a:pt x="16" y="21"/>
                    </a:cubicBezTo>
                    <a:cubicBezTo>
                      <a:pt x="21" y="31"/>
                      <a:pt x="18" y="41"/>
                      <a:pt x="18" y="41"/>
                    </a:cubicBezTo>
                    <a:cubicBezTo>
                      <a:pt x="18" y="41"/>
                      <a:pt x="24" y="29"/>
                      <a:pt x="20" y="20"/>
                    </a:cubicBezTo>
                    <a:cubicBezTo>
                      <a:pt x="15" y="11"/>
                      <a:pt x="0" y="0"/>
                      <a:pt x="0" y="0"/>
                    </a:cubicBezTo>
                    <a:close/>
                  </a:path>
                </a:pathLst>
              </a:custGeom>
              <a:solidFill>
                <a:schemeClr val="tx1">
                  <a:lumMod val="65000"/>
                  <a:lumOff val="3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62" name="Freeform 18">
                <a:extLst>
                  <a:ext uri="{FF2B5EF4-FFF2-40B4-BE49-F238E27FC236}">
                    <a16:creationId xmlns:a16="http://schemas.microsoft.com/office/drawing/2014/main" id="{2C93D9A5-8875-4A53-963B-A9069972A7E3}"/>
                  </a:ext>
                </a:extLst>
              </p:cNvPr>
              <p:cNvSpPr>
                <a:spLocks/>
              </p:cNvSpPr>
              <p:nvPr/>
            </p:nvSpPr>
            <p:spPr bwMode="auto">
              <a:xfrm>
                <a:off x="8871880" y="1490085"/>
                <a:ext cx="527268" cy="357699"/>
              </a:xfrm>
              <a:custGeom>
                <a:avLst/>
                <a:gdLst>
                  <a:gd name="T0" fmla="*/ 127 w 127"/>
                  <a:gd name="T1" fmla="*/ 0 h 86"/>
                  <a:gd name="T2" fmla="*/ 106 w 127"/>
                  <a:gd name="T3" fmla="*/ 8 h 86"/>
                  <a:gd name="T4" fmla="*/ 35 w 127"/>
                  <a:gd name="T5" fmla="*/ 7 h 86"/>
                  <a:gd name="T6" fmla="*/ 0 w 127"/>
                  <a:gd name="T7" fmla="*/ 46 h 86"/>
                  <a:gd name="T8" fmla="*/ 9 w 127"/>
                  <a:gd name="T9" fmla="*/ 58 h 86"/>
                  <a:gd name="T10" fmla="*/ 23 w 127"/>
                  <a:gd name="T11" fmla="*/ 76 h 86"/>
                  <a:gd name="T12" fmla="*/ 127 w 127"/>
                  <a:gd name="T13" fmla="*/ 0 h 86"/>
                </a:gdLst>
                <a:ahLst/>
                <a:cxnLst>
                  <a:cxn ang="0">
                    <a:pos x="T0" y="T1"/>
                  </a:cxn>
                  <a:cxn ang="0">
                    <a:pos x="T2" y="T3"/>
                  </a:cxn>
                  <a:cxn ang="0">
                    <a:pos x="T4" y="T5"/>
                  </a:cxn>
                  <a:cxn ang="0">
                    <a:pos x="T6" y="T7"/>
                  </a:cxn>
                  <a:cxn ang="0">
                    <a:pos x="T8" y="T9"/>
                  </a:cxn>
                  <a:cxn ang="0">
                    <a:pos x="T10" y="T11"/>
                  </a:cxn>
                  <a:cxn ang="0">
                    <a:pos x="T12" y="T13"/>
                  </a:cxn>
                </a:cxnLst>
                <a:rect l="0" t="0" r="r" b="b"/>
                <a:pathLst>
                  <a:path w="127" h="86">
                    <a:moveTo>
                      <a:pt x="127" y="0"/>
                    </a:moveTo>
                    <a:cubicBezTo>
                      <a:pt x="127" y="0"/>
                      <a:pt x="120" y="7"/>
                      <a:pt x="106" y="8"/>
                    </a:cubicBezTo>
                    <a:cubicBezTo>
                      <a:pt x="91" y="9"/>
                      <a:pt x="63" y="0"/>
                      <a:pt x="35" y="7"/>
                    </a:cubicBezTo>
                    <a:cubicBezTo>
                      <a:pt x="7" y="14"/>
                      <a:pt x="1" y="38"/>
                      <a:pt x="0" y="46"/>
                    </a:cubicBezTo>
                    <a:cubicBezTo>
                      <a:pt x="0" y="54"/>
                      <a:pt x="9" y="58"/>
                      <a:pt x="9" y="58"/>
                    </a:cubicBezTo>
                    <a:cubicBezTo>
                      <a:pt x="9" y="58"/>
                      <a:pt x="2" y="70"/>
                      <a:pt x="23" y="76"/>
                    </a:cubicBezTo>
                    <a:cubicBezTo>
                      <a:pt x="96" y="86"/>
                      <a:pt x="127" y="0"/>
                      <a:pt x="127" y="0"/>
                    </a:cubicBezTo>
                    <a:close/>
                  </a:path>
                </a:pathLst>
              </a:custGeom>
              <a:solidFill>
                <a:srgbClr val="8BC5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63" name="Freeform 19">
                <a:extLst>
                  <a:ext uri="{FF2B5EF4-FFF2-40B4-BE49-F238E27FC236}">
                    <a16:creationId xmlns:a16="http://schemas.microsoft.com/office/drawing/2014/main" id="{D17B4B3C-FBF3-4886-984B-027A00431A50}"/>
                  </a:ext>
                </a:extLst>
              </p:cNvPr>
              <p:cNvSpPr>
                <a:spLocks/>
              </p:cNvSpPr>
              <p:nvPr/>
            </p:nvSpPr>
            <p:spPr bwMode="auto">
              <a:xfrm rot="496965">
                <a:off x="8801016" y="1636034"/>
                <a:ext cx="319735" cy="278397"/>
              </a:xfrm>
              <a:custGeom>
                <a:avLst/>
                <a:gdLst>
                  <a:gd name="T0" fmla="*/ 77 w 77"/>
                  <a:gd name="T1" fmla="*/ 0 h 67"/>
                  <a:gd name="T2" fmla="*/ 28 w 77"/>
                  <a:gd name="T3" fmla="*/ 25 h 67"/>
                  <a:gd name="T4" fmla="*/ 0 w 77"/>
                  <a:gd name="T5" fmla="*/ 67 h 67"/>
                  <a:gd name="T6" fmla="*/ 21 w 77"/>
                  <a:gd name="T7" fmla="*/ 20 h 67"/>
                  <a:gd name="T8" fmla="*/ 77 w 77"/>
                  <a:gd name="T9" fmla="*/ 0 h 67"/>
                </a:gdLst>
                <a:ahLst/>
                <a:cxnLst>
                  <a:cxn ang="0">
                    <a:pos x="T0" y="T1"/>
                  </a:cxn>
                  <a:cxn ang="0">
                    <a:pos x="T2" y="T3"/>
                  </a:cxn>
                  <a:cxn ang="0">
                    <a:pos x="T4" y="T5"/>
                  </a:cxn>
                  <a:cxn ang="0">
                    <a:pos x="T6" y="T7"/>
                  </a:cxn>
                  <a:cxn ang="0">
                    <a:pos x="T8" y="T9"/>
                  </a:cxn>
                </a:cxnLst>
                <a:rect l="0" t="0" r="r" b="b"/>
                <a:pathLst>
                  <a:path w="77" h="67">
                    <a:moveTo>
                      <a:pt x="77" y="0"/>
                    </a:moveTo>
                    <a:cubicBezTo>
                      <a:pt x="77" y="0"/>
                      <a:pt x="49" y="9"/>
                      <a:pt x="28" y="25"/>
                    </a:cubicBezTo>
                    <a:cubicBezTo>
                      <a:pt x="6" y="41"/>
                      <a:pt x="0" y="67"/>
                      <a:pt x="0" y="67"/>
                    </a:cubicBezTo>
                    <a:cubicBezTo>
                      <a:pt x="0" y="67"/>
                      <a:pt x="1" y="34"/>
                      <a:pt x="21" y="20"/>
                    </a:cubicBezTo>
                    <a:cubicBezTo>
                      <a:pt x="41" y="5"/>
                      <a:pt x="77" y="0"/>
                      <a:pt x="77" y="0"/>
                    </a:cubicBezTo>
                    <a:close/>
                  </a:path>
                </a:pathLst>
              </a:custGeom>
              <a:solidFill>
                <a:schemeClr val="tx1">
                  <a:lumMod val="65000"/>
                  <a:lumOff val="3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64" name="Freeform 21">
                <a:extLst>
                  <a:ext uri="{FF2B5EF4-FFF2-40B4-BE49-F238E27FC236}">
                    <a16:creationId xmlns:a16="http://schemas.microsoft.com/office/drawing/2014/main" id="{CD9E1BA7-F4D2-43FC-8EF6-23A18E80365B}"/>
                  </a:ext>
                </a:extLst>
              </p:cNvPr>
              <p:cNvSpPr>
                <a:spLocks/>
              </p:cNvSpPr>
              <p:nvPr/>
            </p:nvSpPr>
            <p:spPr bwMode="auto">
              <a:xfrm>
                <a:off x="8485145" y="1764389"/>
                <a:ext cx="212306" cy="202269"/>
              </a:xfrm>
              <a:custGeom>
                <a:avLst/>
                <a:gdLst>
                  <a:gd name="T0" fmla="*/ 0 w 56"/>
                  <a:gd name="T1" fmla="*/ 3 h 53"/>
                  <a:gd name="T2" fmla="*/ 8 w 56"/>
                  <a:gd name="T3" fmla="*/ 11 h 53"/>
                  <a:gd name="T4" fmla="*/ 21 w 56"/>
                  <a:gd name="T5" fmla="*/ 42 h 53"/>
                  <a:gd name="T6" fmla="*/ 45 w 56"/>
                  <a:gd name="T7" fmla="*/ 49 h 53"/>
                  <a:gd name="T8" fmla="*/ 49 w 56"/>
                  <a:gd name="T9" fmla="*/ 43 h 53"/>
                  <a:gd name="T10" fmla="*/ 54 w 56"/>
                  <a:gd name="T11" fmla="*/ 34 h 53"/>
                  <a:gd name="T12" fmla="*/ 0 w 56"/>
                  <a:gd name="T13" fmla="*/ 3 h 53"/>
                </a:gdLst>
                <a:ahLst/>
                <a:cxnLst>
                  <a:cxn ang="0">
                    <a:pos x="T0" y="T1"/>
                  </a:cxn>
                  <a:cxn ang="0">
                    <a:pos x="T2" y="T3"/>
                  </a:cxn>
                  <a:cxn ang="0">
                    <a:pos x="T4" y="T5"/>
                  </a:cxn>
                  <a:cxn ang="0">
                    <a:pos x="T6" y="T7"/>
                  </a:cxn>
                  <a:cxn ang="0">
                    <a:pos x="T8" y="T9"/>
                  </a:cxn>
                  <a:cxn ang="0">
                    <a:pos x="T10" y="T11"/>
                  </a:cxn>
                  <a:cxn ang="0">
                    <a:pos x="T12" y="T13"/>
                  </a:cxn>
                </a:cxnLst>
                <a:rect l="0" t="0" r="r" b="b"/>
                <a:pathLst>
                  <a:path w="56" h="53">
                    <a:moveTo>
                      <a:pt x="0" y="3"/>
                    </a:moveTo>
                    <a:cubicBezTo>
                      <a:pt x="0" y="3"/>
                      <a:pt x="5" y="4"/>
                      <a:pt x="8" y="11"/>
                    </a:cubicBezTo>
                    <a:cubicBezTo>
                      <a:pt x="11" y="17"/>
                      <a:pt x="13" y="31"/>
                      <a:pt x="21" y="42"/>
                    </a:cubicBezTo>
                    <a:cubicBezTo>
                      <a:pt x="30" y="53"/>
                      <a:pt x="42" y="51"/>
                      <a:pt x="45" y="49"/>
                    </a:cubicBezTo>
                    <a:cubicBezTo>
                      <a:pt x="49" y="48"/>
                      <a:pt x="49" y="43"/>
                      <a:pt x="49" y="43"/>
                    </a:cubicBezTo>
                    <a:cubicBezTo>
                      <a:pt x="49" y="43"/>
                      <a:pt x="56" y="44"/>
                      <a:pt x="54" y="34"/>
                    </a:cubicBezTo>
                    <a:cubicBezTo>
                      <a:pt x="44" y="0"/>
                      <a:pt x="0" y="3"/>
                      <a:pt x="0" y="3"/>
                    </a:cubicBezTo>
                    <a:close/>
                  </a:path>
                </a:pathLst>
              </a:custGeom>
              <a:solidFill>
                <a:srgbClr val="8BC5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65" name="Freeform 22">
                <a:extLst>
                  <a:ext uri="{FF2B5EF4-FFF2-40B4-BE49-F238E27FC236}">
                    <a16:creationId xmlns:a16="http://schemas.microsoft.com/office/drawing/2014/main" id="{BDD31335-B71E-40E1-BFBE-04C4F35EF9DA}"/>
                  </a:ext>
                </a:extLst>
              </p:cNvPr>
              <p:cNvSpPr>
                <a:spLocks/>
              </p:cNvSpPr>
              <p:nvPr/>
            </p:nvSpPr>
            <p:spPr bwMode="auto">
              <a:xfrm>
                <a:off x="8595543" y="1859347"/>
                <a:ext cx="166757" cy="103451"/>
              </a:xfrm>
              <a:custGeom>
                <a:avLst/>
                <a:gdLst>
                  <a:gd name="T0" fmla="*/ 0 w 44"/>
                  <a:gd name="T1" fmla="*/ 0 h 27"/>
                  <a:gd name="T2" fmla="*/ 20 w 44"/>
                  <a:gd name="T3" fmla="*/ 17 h 27"/>
                  <a:gd name="T4" fmla="*/ 44 w 44"/>
                  <a:gd name="T5" fmla="*/ 21 h 27"/>
                  <a:gd name="T6" fmla="*/ 19 w 44"/>
                  <a:gd name="T7" fmla="*/ 21 h 27"/>
                  <a:gd name="T8" fmla="*/ 0 w 44"/>
                  <a:gd name="T9" fmla="*/ 0 h 27"/>
                </a:gdLst>
                <a:ahLst/>
                <a:cxnLst>
                  <a:cxn ang="0">
                    <a:pos x="T0" y="T1"/>
                  </a:cxn>
                  <a:cxn ang="0">
                    <a:pos x="T2" y="T3"/>
                  </a:cxn>
                  <a:cxn ang="0">
                    <a:pos x="T4" y="T5"/>
                  </a:cxn>
                  <a:cxn ang="0">
                    <a:pos x="T6" y="T7"/>
                  </a:cxn>
                  <a:cxn ang="0">
                    <a:pos x="T8" y="T9"/>
                  </a:cxn>
                </a:cxnLst>
                <a:rect l="0" t="0" r="r" b="b"/>
                <a:pathLst>
                  <a:path w="44" h="27">
                    <a:moveTo>
                      <a:pt x="0" y="0"/>
                    </a:moveTo>
                    <a:cubicBezTo>
                      <a:pt x="0" y="0"/>
                      <a:pt x="9" y="11"/>
                      <a:pt x="20" y="17"/>
                    </a:cubicBezTo>
                    <a:cubicBezTo>
                      <a:pt x="31" y="24"/>
                      <a:pt x="44" y="21"/>
                      <a:pt x="44" y="21"/>
                    </a:cubicBezTo>
                    <a:cubicBezTo>
                      <a:pt x="44" y="21"/>
                      <a:pt x="30" y="27"/>
                      <a:pt x="19" y="21"/>
                    </a:cubicBezTo>
                    <a:cubicBezTo>
                      <a:pt x="9" y="15"/>
                      <a:pt x="0" y="0"/>
                      <a:pt x="0" y="0"/>
                    </a:cubicBezTo>
                    <a:close/>
                  </a:path>
                </a:pathLst>
              </a:custGeom>
              <a:solidFill>
                <a:schemeClr val="tx1">
                  <a:lumMod val="65000"/>
                  <a:lumOff val="3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66" name="Freeform 26">
                <a:extLst>
                  <a:ext uri="{FF2B5EF4-FFF2-40B4-BE49-F238E27FC236}">
                    <a16:creationId xmlns:a16="http://schemas.microsoft.com/office/drawing/2014/main" id="{3C4968DF-6E21-450A-B79F-DA2583F1ABC1}"/>
                  </a:ext>
                </a:extLst>
              </p:cNvPr>
              <p:cNvSpPr>
                <a:spLocks noEditPoints="1"/>
              </p:cNvSpPr>
              <p:nvPr/>
            </p:nvSpPr>
            <p:spPr bwMode="auto">
              <a:xfrm>
                <a:off x="8342462" y="1987397"/>
                <a:ext cx="789164" cy="552245"/>
              </a:xfrm>
              <a:custGeom>
                <a:avLst/>
                <a:gdLst>
                  <a:gd name="T0" fmla="*/ 136 w 193"/>
                  <a:gd name="T1" fmla="*/ 15 h 134"/>
                  <a:gd name="T2" fmla="*/ 108 w 193"/>
                  <a:gd name="T3" fmla="*/ 4 h 134"/>
                  <a:gd name="T4" fmla="*/ 90 w 193"/>
                  <a:gd name="T5" fmla="*/ 6 h 134"/>
                  <a:gd name="T6" fmla="*/ 73 w 193"/>
                  <a:gd name="T7" fmla="*/ 24 h 134"/>
                  <a:gd name="T8" fmla="*/ 27 w 193"/>
                  <a:gd name="T9" fmla="*/ 40 h 134"/>
                  <a:gd name="T10" fmla="*/ 59 w 193"/>
                  <a:gd name="T11" fmla="*/ 31 h 134"/>
                  <a:gd name="T12" fmla="*/ 23 w 193"/>
                  <a:gd name="T13" fmla="*/ 68 h 134"/>
                  <a:gd name="T14" fmla="*/ 40 w 193"/>
                  <a:gd name="T15" fmla="*/ 51 h 134"/>
                  <a:gd name="T16" fmla="*/ 25 w 193"/>
                  <a:gd name="T17" fmla="*/ 96 h 134"/>
                  <a:gd name="T18" fmla="*/ 32 w 193"/>
                  <a:gd name="T19" fmla="*/ 72 h 134"/>
                  <a:gd name="T20" fmla="*/ 46 w 193"/>
                  <a:gd name="T21" fmla="*/ 65 h 134"/>
                  <a:gd name="T22" fmla="*/ 45 w 193"/>
                  <a:gd name="T23" fmla="*/ 72 h 134"/>
                  <a:gd name="T24" fmla="*/ 65 w 193"/>
                  <a:gd name="T25" fmla="*/ 36 h 134"/>
                  <a:gd name="T26" fmla="*/ 27 w 193"/>
                  <a:gd name="T27" fmla="*/ 119 h 134"/>
                  <a:gd name="T28" fmla="*/ 45 w 193"/>
                  <a:gd name="T29" fmla="*/ 99 h 134"/>
                  <a:gd name="T30" fmla="*/ 48 w 193"/>
                  <a:gd name="T31" fmla="*/ 101 h 134"/>
                  <a:gd name="T32" fmla="*/ 49 w 193"/>
                  <a:gd name="T33" fmla="*/ 101 h 134"/>
                  <a:gd name="T34" fmla="*/ 59 w 193"/>
                  <a:gd name="T35" fmla="*/ 56 h 134"/>
                  <a:gd name="T36" fmla="*/ 83 w 193"/>
                  <a:gd name="T37" fmla="*/ 32 h 134"/>
                  <a:gd name="T38" fmla="*/ 76 w 193"/>
                  <a:gd name="T39" fmla="*/ 41 h 134"/>
                  <a:gd name="T40" fmla="*/ 68 w 193"/>
                  <a:gd name="T41" fmla="*/ 79 h 134"/>
                  <a:gd name="T42" fmla="*/ 75 w 193"/>
                  <a:gd name="T43" fmla="*/ 74 h 134"/>
                  <a:gd name="T44" fmla="*/ 75 w 193"/>
                  <a:gd name="T45" fmla="*/ 67 h 134"/>
                  <a:gd name="T46" fmla="*/ 78 w 193"/>
                  <a:gd name="T47" fmla="*/ 41 h 134"/>
                  <a:gd name="T48" fmla="*/ 80 w 193"/>
                  <a:gd name="T49" fmla="*/ 52 h 134"/>
                  <a:gd name="T50" fmla="*/ 76 w 193"/>
                  <a:gd name="T51" fmla="*/ 67 h 134"/>
                  <a:gd name="T52" fmla="*/ 79 w 193"/>
                  <a:gd name="T53" fmla="*/ 75 h 134"/>
                  <a:gd name="T54" fmla="*/ 85 w 193"/>
                  <a:gd name="T55" fmla="*/ 35 h 134"/>
                  <a:gd name="T56" fmla="*/ 90 w 193"/>
                  <a:gd name="T57" fmla="*/ 28 h 134"/>
                  <a:gd name="T58" fmla="*/ 87 w 193"/>
                  <a:gd name="T59" fmla="*/ 48 h 134"/>
                  <a:gd name="T60" fmla="*/ 96 w 193"/>
                  <a:gd name="T61" fmla="*/ 20 h 134"/>
                  <a:gd name="T62" fmla="*/ 97 w 193"/>
                  <a:gd name="T63" fmla="*/ 19 h 134"/>
                  <a:gd name="T64" fmla="*/ 104 w 193"/>
                  <a:gd name="T65" fmla="*/ 42 h 134"/>
                  <a:gd name="T66" fmla="*/ 98 w 193"/>
                  <a:gd name="T67" fmla="*/ 61 h 134"/>
                  <a:gd name="T68" fmla="*/ 105 w 193"/>
                  <a:gd name="T69" fmla="*/ 53 h 134"/>
                  <a:gd name="T70" fmla="*/ 108 w 193"/>
                  <a:gd name="T71" fmla="*/ 69 h 134"/>
                  <a:gd name="T72" fmla="*/ 111 w 193"/>
                  <a:gd name="T73" fmla="*/ 70 h 134"/>
                  <a:gd name="T74" fmla="*/ 116 w 193"/>
                  <a:gd name="T75" fmla="*/ 25 h 134"/>
                  <a:gd name="T76" fmla="*/ 117 w 193"/>
                  <a:gd name="T77" fmla="*/ 54 h 134"/>
                  <a:gd name="T78" fmla="*/ 121 w 193"/>
                  <a:gd name="T79" fmla="*/ 30 h 134"/>
                  <a:gd name="T80" fmla="*/ 139 w 193"/>
                  <a:gd name="T81" fmla="*/ 64 h 134"/>
                  <a:gd name="T82" fmla="*/ 138 w 193"/>
                  <a:gd name="T83" fmla="*/ 97 h 134"/>
                  <a:gd name="T84" fmla="*/ 150 w 193"/>
                  <a:gd name="T85" fmla="*/ 126 h 134"/>
                  <a:gd name="T86" fmla="*/ 146 w 193"/>
                  <a:gd name="T87" fmla="*/ 84 h 134"/>
                  <a:gd name="T88" fmla="*/ 157 w 193"/>
                  <a:gd name="T89" fmla="*/ 90 h 134"/>
                  <a:gd name="T90" fmla="*/ 132 w 193"/>
                  <a:gd name="T91" fmla="*/ 31 h 134"/>
                  <a:gd name="T92" fmla="*/ 128 w 193"/>
                  <a:gd name="T93" fmla="*/ 28 h 134"/>
                  <a:gd name="T94" fmla="*/ 142 w 193"/>
                  <a:gd name="T95" fmla="*/ 50 h 134"/>
                  <a:gd name="T96" fmla="*/ 146 w 193"/>
                  <a:gd name="T97" fmla="*/ 57 h 134"/>
                  <a:gd name="T98" fmla="*/ 147 w 193"/>
                  <a:gd name="T99" fmla="*/ 39 h 134"/>
                  <a:gd name="T100" fmla="*/ 166 w 193"/>
                  <a:gd name="T101" fmla="*/ 83 h 134"/>
                  <a:gd name="T102" fmla="*/ 175 w 193"/>
                  <a:gd name="T103" fmla="*/ 74 h 134"/>
                  <a:gd name="T104" fmla="*/ 161 w 193"/>
                  <a:gd name="T105" fmla="*/ 48 h 134"/>
                  <a:gd name="T106" fmla="*/ 175 w 193"/>
                  <a:gd name="T107" fmla="*/ 47 h 134"/>
                  <a:gd name="T108" fmla="*/ 160 w 193"/>
                  <a:gd name="T109" fmla="*/ 30 h 134"/>
                  <a:gd name="T110" fmla="*/ 83 w 193"/>
                  <a:gd name="T111" fmla="*/ 43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93" h="134">
                    <a:moveTo>
                      <a:pt x="166" y="32"/>
                    </a:moveTo>
                    <a:cubicBezTo>
                      <a:pt x="175" y="34"/>
                      <a:pt x="184" y="25"/>
                      <a:pt x="193" y="34"/>
                    </a:cubicBezTo>
                    <a:cubicBezTo>
                      <a:pt x="184" y="23"/>
                      <a:pt x="174" y="31"/>
                      <a:pt x="164" y="27"/>
                    </a:cubicBezTo>
                    <a:cubicBezTo>
                      <a:pt x="155" y="23"/>
                      <a:pt x="145" y="17"/>
                      <a:pt x="136" y="15"/>
                    </a:cubicBezTo>
                    <a:cubicBezTo>
                      <a:pt x="131" y="14"/>
                      <a:pt x="125" y="18"/>
                      <a:pt x="120" y="16"/>
                    </a:cubicBezTo>
                    <a:cubicBezTo>
                      <a:pt x="117" y="15"/>
                      <a:pt x="115" y="13"/>
                      <a:pt x="113" y="11"/>
                    </a:cubicBezTo>
                    <a:cubicBezTo>
                      <a:pt x="113" y="8"/>
                      <a:pt x="111" y="5"/>
                      <a:pt x="108" y="4"/>
                    </a:cubicBezTo>
                    <a:cubicBezTo>
                      <a:pt x="108" y="4"/>
                      <a:pt x="108" y="4"/>
                      <a:pt x="108" y="4"/>
                    </a:cubicBezTo>
                    <a:cubicBezTo>
                      <a:pt x="107" y="3"/>
                      <a:pt x="105" y="2"/>
                      <a:pt x="104" y="1"/>
                    </a:cubicBezTo>
                    <a:cubicBezTo>
                      <a:pt x="103" y="1"/>
                      <a:pt x="103" y="1"/>
                      <a:pt x="103" y="1"/>
                    </a:cubicBezTo>
                    <a:cubicBezTo>
                      <a:pt x="103" y="1"/>
                      <a:pt x="103" y="1"/>
                      <a:pt x="103" y="1"/>
                    </a:cubicBezTo>
                    <a:cubicBezTo>
                      <a:pt x="99" y="0"/>
                      <a:pt x="94" y="2"/>
                      <a:pt x="90" y="6"/>
                    </a:cubicBezTo>
                    <a:cubicBezTo>
                      <a:pt x="89" y="7"/>
                      <a:pt x="89" y="7"/>
                      <a:pt x="88" y="8"/>
                    </a:cubicBezTo>
                    <a:cubicBezTo>
                      <a:pt x="88" y="9"/>
                      <a:pt x="88" y="9"/>
                      <a:pt x="88" y="10"/>
                    </a:cubicBezTo>
                    <a:cubicBezTo>
                      <a:pt x="88" y="10"/>
                      <a:pt x="88" y="10"/>
                      <a:pt x="87" y="11"/>
                    </a:cubicBezTo>
                    <a:cubicBezTo>
                      <a:pt x="82" y="16"/>
                      <a:pt x="78" y="22"/>
                      <a:pt x="73" y="24"/>
                    </a:cubicBezTo>
                    <a:cubicBezTo>
                      <a:pt x="67" y="26"/>
                      <a:pt x="62" y="22"/>
                      <a:pt x="56" y="23"/>
                    </a:cubicBezTo>
                    <a:cubicBezTo>
                      <a:pt x="47" y="25"/>
                      <a:pt x="38" y="31"/>
                      <a:pt x="28" y="35"/>
                    </a:cubicBezTo>
                    <a:cubicBezTo>
                      <a:pt x="19" y="39"/>
                      <a:pt x="9" y="31"/>
                      <a:pt x="0" y="42"/>
                    </a:cubicBezTo>
                    <a:cubicBezTo>
                      <a:pt x="8" y="33"/>
                      <a:pt x="17" y="42"/>
                      <a:pt x="27" y="40"/>
                    </a:cubicBezTo>
                    <a:cubicBezTo>
                      <a:pt x="21" y="46"/>
                      <a:pt x="15" y="53"/>
                      <a:pt x="9" y="52"/>
                    </a:cubicBezTo>
                    <a:cubicBezTo>
                      <a:pt x="17" y="54"/>
                      <a:pt x="24" y="43"/>
                      <a:pt x="32" y="38"/>
                    </a:cubicBezTo>
                    <a:cubicBezTo>
                      <a:pt x="36" y="36"/>
                      <a:pt x="41" y="35"/>
                      <a:pt x="45" y="34"/>
                    </a:cubicBezTo>
                    <a:cubicBezTo>
                      <a:pt x="49" y="32"/>
                      <a:pt x="54" y="31"/>
                      <a:pt x="59" y="31"/>
                    </a:cubicBezTo>
                    <a:cubicBezTo>
                      <a:pt x="51" y="36"/>
                      <a:pt x="44" y="46"/>
                      <a:pt x="36" y="51"/>
                    </a:cubicBezTo>
                    <a:cubicBezTo>
                      <a:pt x="30" y="55"/>
                      <a:pt x="24" y="56"/>
                      <a:pt x="17" y="55"/>
                    </a:cubicBezTo>
                    <a:cubicBezTo>
                      <a:pt x="22" y="56"/>
                      <a:pt x="26" y="57"/>
                      <a:pt x="31" y="56"/>
                    </a:cubicBezTo>
                    <a:cubicBezTo>
                      <a:pt x="30" y="63"/>
                      <a:pt x="26" y="66"/>
                      <a:pt x="23" y="68"/>
                    </a:cubicBezTo>
                    <a:cubicBezTo>
                      <a:pt x="26" y="67"/>
                      <a:pt x="29" y="65"/>
                      <a:pt x="31" y="60"/>
                    </a:cubicBezTo>
                    <a:cubicBezTo>
                      <a:pt x="31" y="58"/>
                      <a:pt x="31" y="57"/>
                      <a:pt x="32" y="56"/>
                    </a:cubicBezTo>
                    <a:cubicBezTo>
                      <a:pt x="32" y="55"/>
                      <a:pt x="33" y="55"/>
                      <a:pt x="34" y="55"/>
                    </a:cubicBezTo>
                    <a:cubicBezTo>
                      <a:pt x="36" y="54"/>
                      <a:pt x="38" y="53"/>
                      <a:pt x="40" y="51"/>
                    </a:cubicBezTo>
                    <a:cubicBezTo>
                      <a:pt x="37" y="58"/>
                      <a:pt x="34" y="67"/>
                      <a:pt x="30" y="74"/>
                    </a:cubicBezTo>
                    <a:cubicBezTo>
                      <a:pt x="27" y="80"/>
                      <a:pt x="22" y="87"/>
                      <a:pt x="18" y="82"/>
                    </a:cubicBezTo>
                    <a:cubicBezTo>
                      <a:pt x="20" y="85"/>
                      <a:pt x="23" y="85"/>
                      <a:pt x="26" y="82"/>
                    </a:cubicBezTo>
                    <a:cubicBezTo>
                      <a:pt x="26" y="87"/>
                      <a:pt x="26" y="91"/>
                      <a:pt x="25" y="96"/>
                    </a:cubicBezTo>
                    <a:cubicBezTo>
                      <a:pt x="24" y="101"/>
                      <a:pt x="22" y="105"/>
                      <a:pt x="21" y="110"/>
                    </a:cubicBezTo>
                    <a:cubicBezTo>
                      <a:pt x="23" y="104"/>
                      <a:pt x="25" y="98"/>
                      <a:pt x="26" y="91"/>
                    </a:cubicBezTo>
                    <a:cubicBezTo>
                      <a:pt x="27" y="89"/>
                      <a:pt x="26" y="82"/>
                      <a:pt x="27" y="81"/>
                    </a:cubicBezTo>
                    <a:cubicBezTo>
                      <a:pt x="29" y="78"/>
                      <a:pt x="31" y="75"/>
                      <a:pt x="32" y="72"/>
                    </a:cubicBezTo>
                    <a:cubicBezTo>
                      <a:pt x="36" y="66"/>
                      <a:pt x="39" y="59"/>
                      <a:pt x="42" y="52"/>
                    </a:cubicBezTo>
                    <a:cubicBezTo>
                      <a:pt x="43" y="51"/>
                      <a:pt x="44" y="49"/>
                      <a:pt x="45" y="47"/>
                    </a:cubicBezTo>
                    <a:cubicBezTo>
                      <a:pt x="48" y="45"/>
                      <a:pt x="50" y="43"/>
                      <a:pt x="53" y="41"/>
                    </a:cubicBezTo>
                    <a:cubicBezTo>
                      <a:pt x="50" y="49"/>
                      <a:pt x="50" y="58"/>
                      <a:pt x="46" y="65"/>
                    </a:cubicBezTo>
                    <a:cubicBezTo>
                      <a:pt x="42" y="70"/>
                      <a:pt x="38" y="73"/>
                      <a:pt x="35" y="77"/>
                    </a:cubicBezTo>
                    <a:cubicBezTo>
                      <a:pt x="39" y="73"/>
                      <a:pt x="43" y="71"/>
                      <a:pt x="46" y="65"/>
                    </a:cubicBezTo>
                    <a:cubicBezTo>
                      <a:pt x="44" y="73"/>
                      <a:pt x="41" y="76"/>
                      <a:pt x="37" y="79"/>
                    </a:cubicBezTo>
                    <a:cubicBezTo>
                      <a:pt x="40" y="78"/>
                      <a:pt x="43" y="76"/>
                      <a:pt x="45" y="72"/>
                    </a:cubicBezTo>
                    <a:cubicBezTo>
                      <a:pt x="46" y="70"/>
                      <a:pt x="47" y="67"/>
                      <a:pt x="48" y="65"/>
                    </a:cubicBezTo>
                    <a:cubicBezTo>
                      <a:pt x="48" y="62"/>
                      <a:pt x="49" y="60"/>
                      <a:pt x="50" y="58"/>
                    </a:cubicBezTo>
                    <a:cubicBezTo>
                      <a:pt x="52" y="52"/>
                      <a:pt x="53" y="44"/>
                      <a:pt x="56" y="40"/>
                    </a:cubicBezTo>
                    <a:cubicBezTo>
                      <a:pt x="58" y="36"/>
                      <a:pt x="62" y="36"/>
                      <a:pt x="65" y="36"/>
                    </a:cubicBezTo>
                    <a:cubicBezTo>
                      <a:pt x="61" y="41"/>
                      <a:pt x="59" y="47"/>
                      <a:pt x="56" y="54"/>
                    </a:cubicBezTo>
                    <a:cubicBezTo>
                      <a:pt x="54" y="62"/>
                      <a:pt x="52" y="70"/>
                      <a:pt x="48" y="77"/>
                    </a:cubicBezTo>
                    <a:cubicBezTo>
                      <a:pt x="44" y="85"/>
                      <a:pt x="40" y="91"/>
                      <a:pt x="35" y="98"/>
                    </a:cubicBezTo>
                    <a:cubicBezTo>
                      <a:pt x="31" y="104"/>
                      <a:pt x="28" y="110"/>
                      <a:pt x="27" y="119"/>
                    </a:cubicBezTo>
                    <a:cubicBezTo>
                      <a:pt x="28" y="112"/>
                      <a:pt x="31" y="107"/>
                      <a:pt x="34" y="102"/>
                    </a:cubicBezTo>
                    <a:cubicBezTo>
                      <a:pt x="38" y="96"/>
                      <a:pt x="43" y="91"/>
                      <a:pt x="47" y="85"/>
                    </a:cubicBezTo>
                    <a:cubicBezTo>
                      <a:pt x="47" y="87"/>
                      <a:pt x="47" y="90"/>
                      <a:pt x="47" y="92"/>
                    </a:cubicBezTo>
                    <a:cubicBezTo>
                      <a:pt x="47" y="95"/>
                      <a:pt x="46" y="96"/>
                      <a:pt x="45" y="99"/>
                    </a:cubicBezTo>
                    <a:cubicBezTo>
                      <a:pt x="43" y="104"/>
                      <a:pt x="41" y="109"/>
                      <a:pt x="38" y="113"/>
                    </a:cubicBezTo>
                    <a:cubicBezTo>
                      <a:pt x="42" y="109"/>
                      <a:pt x="44" y="103"/>
                      <a:pt x="47" y="97"/>
                    </a:cubicBezTo>
                    <a:cubicBezTo>
                      <a:pt x="47" y="111"/>
                      <a:pt x="48" y="124"/>
                      <a:pt x="42" y="134"/>
                    </a:cubicBezTo>
                    <a:cubicBezTo>
                      <a:pt x="48" y="126"/>
                      <a:pt x="48" y="114"/>
                      <a:pt x="48" y="101"/>
                    </a:cubicBezTo>
                    <a:cubicBezTo>
                      <a:pt x="50" y="107"/>
                      <a:pt x="53" y="104"/>
                      <a:pt x="56" y="109"/>
                    </a:cubicBezTo>
                    <a:cubicBezTo>
                      <a:pt x="58" y="112"/>
                      <a:pt x="58" y="119"/>
                      <a:pt x="58" y="124"/>
                    </a:cubicBezTo>
                    <a:cubicBezTo>
                      <a:pt x="58" y="117"/>
                      <a:pt x="58" y="108"/>
                      <a:pt x="54" y="105"/>
                    </a:cubicBezTo>
                    <a:cubicBezTo>
                      <a:pt x="53" y="104"/>
                      <a:pt x="51" y="104"/>
                      <a:pt x="49" y="101"/>
                    </a:cubicBezTo>
                    <a:cubicBezTo>
                      <a:pt x="48" y="98"/>
                      <a:pt x="48" y="94"/>
                      <a:pt x="48" y="90"/>
                    </a:cubicBezTo>
                    <a:cubicBezTo>
                      <a:pt x="48" y="87"/>
                      <a:pt x="49" y="84"/>
                      <a:pt x="50" y="81"/>
                    </a:cubicBezTo>
                    <a:cubicBezTo>
                      <a:pt x="51" y="77"/>
                      <a:pt x="52" y="75"/>
                      <a:pt x="54" y="72"/>
                    </a:cubicBezTo>
                    <a:cubicBezTo>
                      <a:pt x="56" y="67"/>
                      <a:pt x="57" y="61"/>
                      <a:pt x="59" y="56"/>
                    </a:cubicBezTo>
                    <a:cubicBezTo>
                      <a:pt x="61" y="50"/>
                      <a:pt x="64" y="45"/>
                      <a:pt x="67" y="42"/>
                    </a:cubicBezTo>
                    <a:cubicBezTo>
                      <a:pt x="71" y="37"/>
                      <a:pt x="75" y="34"/>
                      <a:pt x="79" y="31"/>
                    </a:cubicBezTo>
                    <a:cubicBezTo>
                      <a:pt x="81" y="30"/>
                      <a:pt x="82" y="29"/>
                      <a:pt x="84" y="28"/>
                    </a:cubicBezTo>
                    <a:cubicBezTo>
                      <a:pt x="84" y="30"/>
                      <a:pt x="84" y="30"/>
                      <a:pt x="83" y="32"/>
                    </a:cubicBezTo>
                    <a:cubicBezTo>
                      <a:pt x="83" y="32"/>
                      <a:pt x="83" y="32"/>
                      <a:pt x="83" y="32"/>
                    </a:cubicBezTo>
                    <a:cubicBezTo>
                      <a:pt x="82" y="33"/>
                      <a:pt x="81" y="34"/>
                      <a:pt x="80" y="35"/>
                    </a:cubicBezTo>
                    <a:cubicBezTo>
                      <a:pt x="79" y="36"/>
                      <a:pt x="79" y="37"/>
                      <a:pt x="78" y="37"/>
                    </a:cubicBezTo>
                    <a:cubicBezTo>
                      <a:pt x="77" y="38"/>
                      <a:pt x="76" y="40"/>
                      <a:pt x="76" y="41"/>
                    </a:cubicBezTo>
                    <a:cubicBezTo>
                      <a:pt x="75" y="41"/>
                      <a:pt x="75" y="41"/>
                      <a:pt x="75" y="41"/>
                    </a:cubicBezTo>
                    <a:cubicBezTo>
                      <a:pt x="75" y="42"/>
                      <a:pt x="75" y="43"/>
                      <a:pt x="74" y="43"/>
                    </a:cubicBezTo>
                    <a:cubicBezTo>
                      <a:pt x="73" y="45"/>
                      <a:pt x="72" y="48"/>
                      <a:pt x="71" y="50"/>
                    </a:cubicBezTo>
                    <a:cubicBezTo>
                      <a:pt x="68" y="59"/>
                      <a:pt x="67" y="71"/>
                      <a:pt x="68" y="79"/>
                    </a:cubicBezTo>
                    <a:cubicBezTo>
                      <a:pt x="67" y="71"/>
                      <a:pt x="69" y="61"/>
                      <a:pt x="72" y="53"/>
                    </a:cubicBezTo>
                    <a:cubicBezTo>
                      <a:pt x="73" y="50"/>
                      <a:pt x="74" y="47"/>
                      <a:pt x="75" y="44"/>
                    </a:cubicBezTo>
                    <a:cubicBezTo>
                      <a:pt x="75" y="48"/>
                      <a:pt x="75" y="52"/>
                      <a:pt x="75" y="56"/>
                    </a:cubicBezTo>
                    <a:cubicBezTo>
                      <a:pt x="75" y="62"/>
                      <a:pt x="75" y="68"/>
                      <a:pt x="75" y="74"/>
                    </a:cubicBezTo>
                    <a:cubicBezTo>
                      <a:pt x="73" y="85"/>
                      <a:pt x="69" y="91"/>
                      <a:pt x="64" y="97"/>
                    </a:cubicBezTo>
                    <a:cubicBezTo>
                      <a:pt x="66" y="94"/>
                      <a:pt x="69" y="91"/>
                      <a:pt x="71" y="87"/>
                    </a:cubicBezTo>
                    <a:cubicBezTo>
                      <a:pt x="74" y="81"/>
                      <a:pt x="75" y="74"/>
                      <a:pt x="75" y="67"/>
                    </a:cubicBezTo>
                    <a:cubicBezTo>
                      <a:pt x="75" y="67"/>
                      <a:pt x="75" y="67"/>
                      <a:pt x="75" y="67"/>
                    </a:cubicBezTo>
                    <a:cubicBezTo>
                      <a:pt x="75" y="67"/>
                      <a:pt x="75" y="67"/>
                      <a:pt x="75" y="67"/>
                    </a:cubicBezTo>
                    <a:cubicBezTo>
                      <a:pt x="75" y="67"/>
                      <a:pt x="76" y="67"/>
                      <a:pt x="76" y="67"/>
                    </a:cubicBezTo>
                    <a:cubicBezTo>
                      <a:pt x="76" y="60"/>
                      <a:pt x="76" y="53"/>
                      <a:pt x="77" y="46"/>
                    </a:cubicBezTo>
                    <a:cubicBezTo>
                      <a:pt x="77" y="44"/>
                      <a:pt x="77" y="43"/>
                      <a:pt x="78" y="41"/>
                    </a:cubicBezTo>
                    <a:cubicBezTo>
                      <a:pt x="79" y="39"/>
                      <a:pt x="81" y="37"/>
                      <a:pt x="83" y="35"/>
                    </a:cubicBezTo>
                    <a:cubicBezTo>
                      <a:pt x="83" y="35"/>
                      <a:pt x="83" y="36"/>
                      <a:pt x="83" y="36"/>
                    </a:cubicBezTo>
                    <a:cubicBezTo>
                      <a:pt x="83" y="39"/>
                      <a:pt x="83" y="39"/>
                      <a:pt x="82" y="42"/>
                    </a:cubicBezTo>
                    <a:cubicBezTo>
                      <a:pt x="81" y="45"/>
                      <a:pt x="81" y="49"/>
                      <a:pt x="80" y="52"/>
                    </a:cubicBezTo>
                    <a:cubicBezTo>
                      <a:pt x="79" y="56"/>
                      <a:pt x="78" y="61"/>
                      <a:pt x="78" y="65"/>
                    </a:cubicBezTo>
                    <a:cubicBezTo>
                      <a:pt x="77" y="66"/>
                      <a:pt x="77" y="67"/>
                      <a:pt x="76" y="67"/>
                    </a:cubicBezTo>
                    <a:cubicBezTo>
                      <a:pt x="76" y="67"/>
                      <a:pt x="76" y="67"/>
                      <a:pt x="76" y="67"/>
                    </a:cubicBezTo>
                    <a:cubicBezTo>
                      <a:pt x="76" y="67"/>
                      <a:pt x="76" y="67"/>
                      <a:pt x="76" y="67"/>
                    </a:cubicBezTo>
                    <a:cubicBezTo>
                      <a:pt x="77" y="67"/>
                      <a:pt x="77" y="66"/>
                      <a:pt x="78" y="66"/>
                    </a:cubicBezTo>
                    <a:cubicBezTo>
                      <a:pt x="77" y="70"/>
                      <a:pt x="78" y="73"/>
                      <a:pt x="79" y="76"/>
                    </a:cubicBezTo>
                    <a:cubicBezTo>
                      <a:pt x="79" y="76"/>
                      <a:pt x="79" y="76"/>
                      <a:pt x="79" y="76"/>
                    </a:cubicBezTo>
                    <a:cubicBezTo>
                      <a:pt x="79" y="76"/>
                      <a:pt x="79" y="76"/>
                      <a:pt x="79" y="75"/>
                    </a:cubicBezTo>
                    <a:cubicBezTo>
                      <a:pt x="78" y="73"/>
                      <a:pt x="78" y="69"/>
                      <a:pt x="78" y="65"/>
                    </a:cubicBezTo>
                    <a:cubicBezTo>
                      <a:pt x="81" y="61"/>
                      <a:pt x="83" y="51"/>
                      <a:pt x="84" y="44"/>
                    </a:cubicBezTo>
                    <a:cubicBezTo>
                      <a:pt x="84" y="44"/>
                      <a:pt x="84" y="44"/>
                      <a:pt x="84" y="43"/>
                    </a:cubicBezTo>
                    <a:cubicBezTo>
                      <a:pt x="85" y="41"/>
                      <a:pt x="85" y="38"/>
                      <a:pt x="85" y="35"/>
                    </a:cubicBezTo>
                    <a:cubicBezTo>
                      <a:pt x="85" y="32"/>
                      <a:pt x="85" y="30"/>
                      <a:pt x="85" y="27"/>
                    </a:cubicBezTo>
                    <a:cubicBezTo>
                      <a:pt x="87" y="25"/>
                      <a:pt x="89" y="23"/>
                      <a:pt x="92" y="21"/>
                    </a:cubicBezTo>
                    <a:cubicBezTo>
                      <a:pt x="92" y="21"/>
                      <a:pt x="92" y="21"/>
                      <a:pt x="93" y="21"/>
                    </a:cubicBezTo>
                    <a:cubicBezTo>
                      <a:pt x="92" y="24"/>
                      <a:pt x="91" y="26"/>
                      <a:pt x="90" y="28"/>
                    </a:cubicBezTo>
                    <a:cubicBezTo>
                      <a:pt x="88" y="33"/>
                      <a:pt x="87" y="38"/>
                      <a:pt x="87" y="43"/>
                    </a:cubicBezTo>
                    <a:cubicBezTo>
                      <a:pt x="87" y="44"/>
                      <a:pt x="87" y="44"/>
                      <a:pt x="87" y="44"/>
                    </a:cubicBezTo>
                    <a:cubicBezTo>
                      <a:pt x="87" y="44"/>
                      <a:pt x="87" y="44"/>
                      <a:pt x="87" y="44"/>
                    </a:cubicBezTo>
                    <a:cubicBezTo>
                      <a:pt x="87" y="45"/>
                      <a:pt x="87" y="47"/>
                      <a:pt x="87" y="48"/>
                    </a:cubicBezTo>
                    <a:cubicBezTo>
                      <a:pt x="88" y="53"/>
                      <a:pt x="90" y="56"/>
                      <a:pt x="91" y="60"/>
                    </a:cubicBezTo>
                    <a:cubicBezTo>
                      <a:pt x="89" y="53"/>
                      <a:pt x="86" y="45"/>
                      <a:pt x="89" y="35"/>
                    </a:cubicBezTo>
                    <a:cubicBezTo>
                      <a:pt x="91" y="30"/>
                      <a:pt x="93" y="25"/>
                      <a:pt x="95" y="20"/>
                    </a:cubicBezTo>
                    <a:cubicBezTo>
                      <a:pt x="95" y="20"/>
                      <a:pt x="95" y="20"/>
                      <a:pt x="96" y="20"/>
                    </a:cubicBezTo>
                    <a:cubicBezTo>
                      <a:pt x="97" y="24"/>
                      <a:pt x="97" y="28"/>
                      <a:pt x="96" y="33"/>
                    </a:cubicBezTo>
                    <a:cubicBezTo>
                      <a:pt x="96" y="41"/>
                      <a:pt x="94" y="51"/>
                      <a:pt x="91" y="58"/>
                    </a:cubicBezTo>
                    <a:cubicBezTo>
                      <a:pt x="96" y="48"/>
                      <a:pt x="99" y="30"/>
                      <a:pt x="97" y="20"/>
                    </a:cubicBezTo>
                    <a:cubicBezTo>
                      <a:pt x="97" y="20"/>
                      <a:pt x="97" y="20"/>
                      <a:pt x="97" y="19"/>
                    </a:cubicBezTo>
                    <a:cubicBezTo>
                      <a:pt x="98" y="19"/>
                      <a:pt x="100" y="19"/>
                      <a:pt x="101" y="18"/>
                    </a:cubicBezTo>
                    <a:cubicBezTo>
                      <a:pt x="101" y="18"/>
                      <a:pt x="101" y="18"/>
                      <a:pt x="101" y="18"/>
                    </a:cubicBezTo>
                    <a:cubicBezTo>
                      <a:pt x="101" y="23"/>
                      <a:pt x="102" y="28"/>
                      <a:pt x="103" y="32"/>
                    </a:cubicBezTo>
                    <a:cubicBezTo>
                      <a:pt x="103" y="35"/>
                      <a:pt x="104" y="39"/>
                      <a:pt x="104" y="42"/>
                    </a:cubicBezTo>
                    <a:cubicBezTo>
                      <a:pt x="104" y="44"/>
                      <a:pt x="104" y="46"/>
                      <a:pt x="103" y="48"/>
                    </a:cubicBezTo>
                    <a:cubicBezTo>
                      <a:pt x="102" y="53"/>
                      <a:pt x="101" y="58"/>
                      <a:pt x="100" y="62"/>
                    </a:cubicBezTo>
                    <a:cubicBezTo>
                      <a:pt x="99" y="62"/>
                      <a:pt x="99" y="61"/>
                      <a:pt x="99" y="60"/>
                    </a:cubicBezTo>
                    <a:cubicBezTo>
                      <a:pt x="99" y="60"/>
                      <a:pt x="98" y="61"/>
                      <a:pt x="98" y="61"/>
                    </a:cubicBezTo>
                    <a:cubicBezTo>
                      <a:pt x="99" y="64"/>
                      <a:pt x="100" y="67"/>
                      <a:pt x="101" y="70"/>
                    </a:cubicBezTo>
                    <a:cubicBezTo>
                      <a:pt x="101" y="70"/>
                      <a:pt x="101" y="70"/>
                      <a:pt x="101" y="70"/>
                    </a:cubicBezTo>
                    <a:cubicBezTo>
                      <a:pt x="100" y="67"/>
                      <a:pt x="101" y="67"/>
                      <a:pt x="102" y="64"/>
                    </a:cubicBezTo>
                    <a:cubicBezTo>
                      <a:pt x="103" y="60"/>
                      <a:pt x="104" y="57"/>
                      <a:pt x="105" y="53"/>
                    </a:cubicBezTo>
                    <a:cubicBezTo>
                      <a:pt x="106" y="60"/>
                      <a:pt x="106" y="67"/>
                      <a:pt x="106" y="75"/>
                    </a:cubicBezTo>
                    <a:cubicBezTo>
                      <a:pt x="106" y="77"/>
                      <a:pt x="105" y="79"/>
                      <a:pt x="105" y="81"/>
                    </a:cubicBezTo>
                    <a:cubicBezTo>
                      <a:pt x="106" y="82"/>
                      <a:pt x="106" y="82"/>
                      <a:pt x="106" y="83"/>
                    </a:cubicBezTo>
                    <a:cubicBezTo>
                      <a:pt x="107" y="78"/>
                      <a:pt x="108" y="74"/>
                      <a:pt x="108" y="69"/>
                    </a:cubicBezTo>
                    <a:cubicBezTo>
                      <a:pt x="110" y="81"/>
                      <a:pt x="113" y="92"/>
                      <a:pt x="117" y="101"/>
                    </a:cubicBezTo>
                    <a:cubicBezTo>
                      <a:pt x="121" y="109"/>
                      <a:pt x="125" y="114"/>
                      <a:pt x="130" y="118"/>
                    </a:cubicBezTo>
                    <a:cubicBezTo>
                      <a:pt x="126" y="114"/>
                      <a:pt x="122" y="108"/>
                      <a:pt x="118" y="101"/>
                    </a:cubicBezTo>
                    <a:cubicBezTo>
                      <a:pt x="115" y="92"/>
                      <a:pt x="112" y="81"/>
                      <a:pt x="111" y="70"/>
                    </a:cubicBezTo>
                    <a:cubicBezTo>
                      <a:pt x="108" y="53"/>
                      <a:pt x="107" y="35"/>
                      <a:pt x="105" y="17"/>
                    </a:cubicBezTo>
                    <a:cubicBezTo>
                      <a:pt x="105" y="17"/>
                      <a:pt x="106" y="18"/>
                      <a:pt x="106" y="18"/>
                    </a:cubicBezTo>
                    <a:cubicBezTo>
                      <a:pt x="108" y="20"/>
                      <a:pt x="111" y="22"/>
                      <a:pt x="113" y="23"/>
                    </a:cubicBezTo>
                    <a:cubicBezTo>
                      <a:pt x="114" y="24"/>
                      <a:pt x="115" y="25"/>
                      <a:pt x="116" y="25"/>
                    </a:cubicBezTo>
                    <a:cubicBezTo>
                      <a:pt x="117" y="26"/>
                      <a:pt x="117" y="28"/>
                      <a:pt x="117" y="30"/>
                    </a:cubicBezTo>
                    <a:cubicBezTo>
                      <a:pt x="117" y="33"/>
                      <a:pt x="116" y="37"/>
                      <a:pt x="116" y="40"/>
                    </a:cubicBezTo>
                    <a:cubicBezTo>
                      <a:pt x="114" y="54"/>
                      <a:pt x="121" y="63"/>
                      <a:pt x="123" y="75"/>
                    </a:cubicBezTo>
                    <a:cubicBezTo>
                      <a:pt x="122" y="67"/>
                      <a:pt x="119" y="61"/>
                      <a:pt x="117" y="54"/>
                    </a:cubicBezTo>
                    <a:cubicBezTo>
                      <a:pt x="116" y="49"/>
                      <a:pt x="116" y="45"/>
                      <a:pt x="117" y="41"/>
                    </a:cubicBezTo>
                    <a:cubicBezTo>
                      <a:pt x="117" y="37"/>
                      <a:pt x="119" y="33"/>
                      <a:pt x="118" y="28"/>
                    </a:cubicBezTo>
                    <a:cubicBezTo>
                      <a:pt x="124" y="39"/>
                      <a:pt x="127" y="54"/>
                      <a:pt x="134" y="64"/>
                    </a:cubicBezTo>
                    <a:cubicBezTo>
                      <a:pt x="128" y="54"/>
                      <a:pt x="126" y="41"/>
                      <a:pt x="121" y="30"/>
                    </a:cubicBezTo>
                    <a:cubicBezTo>
                      <a:pt x="122" y="30"/>
                      <a:pt x="122" y="30"/>
                      <a:pt x="123" y="30"/>
                    </a:cubicBezTo>
                    <a:cubicBezTo>
                      <a:pt x="123" y="31"/>
                      <a:pt x="124" y="32"/>
                      <a:pt x="125" y="34"/>
                    </a:cubicBezTo>
                    <a:cubicBezTo>
                      <a:pt x="128" y="37"/>
                      <a:pt x="131" y="42"/>
                      <a:pt x="133" y="48"/>
                    </a:cubicBezTo>
                    <a:cubicBezTo>
                      <a:pt x="135" y="53"/>
                      <a:pt x="137" y="59"/>
                      <a:pt x="139" y="64"/>
                    </a:cubicBezTo>
                    <a:cubicBezTo>
                      <a:pt x="140" y="67"/>
                      <a:pt x="142" y="69"/>
                      <a:pt x="143" y="73"/>
                    </a:cubicBezTo>
                    <a:cubicBezTo>
                      <a:pt x="144" y="76"/>
                      <a:pt x="144" y="79"/>
                      <a:pt x="144" y="82"/>
                    </a:cubicBezTo>
                    <a:cubicBezTo>
                      <a:pt x="144" y="86"/>
                      <a:pt x="144" y="90"/>
                      <a:pt x="143" y="93"/>
                    </a:cubicBezTo>
                    <a:cubicBezTo>
                      <a:pt x="142" y="96"/>
                      <a:pt x="140" y="96"/>
                      <a:pt x="138" y="97"/>
                    </a:cubicBezTo>
                    <a:cubicBezTo>
                      <a:pt x="134" y="100"/>
                      <a:pt x="134" y="109"/>
                      <a:pt x="134" y="116"/>
                    </a:cubicBezTo>
                    <a:cubicBezTo>
                      <a:pt x="134" y="111"/>
                      <a:pt x="135" y="104"/>
                      <a:pt x="137" y="101"/>
                    </a:cubicBezTo>
                    <a:cubicBezTo>
                      <a:pt x="139" y="96"/>
                      <a:pt x="142" y="99"/>
                      <a:pt x="144" y="93"/>
                    </a:cubicBezTo>
                    <a:cubicBezTo>
                      <a:pt x="144" y="106"/>
                      <a:pt x="145" y="118"/>
                      <a:pt x="150" y="126"/>
                    </a:cubicBezTo>
                    <a:cubicBezTo>
                      <a:pt x="144" y="116"/>
                      <a:pt x="145" y="103"/>
                      <a:pt x="146" y="89"/>
                    </a:cubicBezTo>
                    <a:cubicBezTo>
                      <a:pt x="148" y="95"/>
                      <a:pt x="151" y="101"/>
                      <a:pt x="154" y="105"/>
                    </a:cubicBezTo>
                    <a:cubicBezTo>
                      <a:pt x="151" y="101"/>
                      <a:pt x="149" y="96"/>
                      <a:pt x="147" y="91"/>
                    </a:cubicBezTo>
                    <a:cubicBezTo>
                      <a:pt x="146" y="88"/>
                      <a:pt x="146" y="87"/>
                      <a:pt x="146" y="84"/>
                    </a:cubicBezTo>
                    <a:cubicBezTo>
                      <a:pt x="146" y="82"/>
                      <a:pt x="146" y="79"/>
                      <a:pt x="145" y="77"/>
                    </a:cubicBezTo>
                    <a:cubicBezTo>
                      <a:pt x="150" y="83"/>
                      <a:pt x="154" y="88"/>
                      <a:pt x="159" y="94"/>
                    </a:cubicBezTo>
                    <a:cubicBezTo>
                      <a:pt x="162" y="99"/>
                      <a:pt x="164" y="104"/>
                      <a:pt x="165" y="111"/>
                    </a:cubicBezTo>
                    <a:cubicBezTo>
                      <a:pt x="164" y="102"/>
                      <a:pt x="161" y="96"/>
                      <a:pt x="157" y="90"/>
                    </a:cubicBezTo>
                    <a:cubicBezTo>
                      <a:pt x="153" y="83"/>
                      <a:pt x="148" y="77"/>
                      <a:pt x="144" y="69"/>
                    </a:cubicBezTo>
                    <a:cubicBezTo>
                      <a:pt x="141" y="62"/>
                      <a:pt x="139" y="54"/>
                      <a:pt x="136" y="46"/>
                    </a:cubicBezTo>
                    <a:cubicBezTo>
                      <a:pt x="134" y="40"/>
                      <a:pt x="132" y="35"/>
                      <a:pt x="129" y="30"/>
                    </a:cubicBezTo>
                    <a:cubicBezTo>
                      <a:pt x="130" y="30"/>
                      <a:pt x="131" y="30"/>
                      <a:pt x="132" y="31"/>
                    </a:cubicBezTo>
                    <a:cubicBezTo>
                      <a:pt x="135" y="33"/>
                      <a:pt x="136" y="38"/>
                      <a:pt x="137" y="41"/>
                    </a:cubicBezTo>
                    <a:cubicBezTo>
                      <a:pt x="139" y="44"/>
                      <a:pt x="140" y="46"/>
                      <a:pt x="141" y="48"/>
                    </a:cubicBezTo>
                    <a:cubicBezTo>
                      <a:pt x="139" y="44"/>
                      <a:pt x="137" y="40"/>
                      <a:pt x="136" y="36"/>
                    </a:cubicBezTo>
                    <a:cubicBezTo>
                      <a:pt x="134" y="30"/>
                      <a:pt x="132" y="27"/>
                      <a:pt x="128" y="28"/>
                    </a:cubicBezTo>
                    <a:cubicBezTo>
                      <a:pt x="128" y="28"/>
                      <a:pt x="128" y="28"/>
                      <a:pt x="128" y="28"/>
                    </a:cubicBezTo>
                    <a:cubicBezTo>
                      <a:pt x="128" y="28"/>
                      <a:pt x="128" y="28"/>
                      <a:pt x="128" y="28"/>
                    </a:cubicBezTo>
                    <a:cubicBezTo>
                      <a:pt x="130" y="28"/>
                      <a:pt x="134" y="28"/>
                      <a:pt x="136" y="32"/>
                    </a:cubicBezTo>
                    <a:cubicBezTo>
                      <a:pt x="139" y="36"/>
                      <a:pt x="140" y="44"/>
                      <a:pt x="142" y="50"/>
                    </a:cubicBezTo>
                    <a:cubicBezTo>
                      <a:pt x="143" y="52"/>
                      <a:pt x="144" y="54"/>
                      <a:pt x="145" y="57"/>
                    </a:cubicBezTo>
                    <a:cubicBezTo>
                      <a:pt x="145" y="59"/>
                      <a:pt x="146" y="62"/>
                      <a:pt x="147" y="64"/>
                    </a:cubicBezTo>
                    <a:cubicBezTo>
                      <a:pt x="149" y="68"/>
                      <a:pt x="152" y="70"/>
                      <a:pt x="155" y="71"/>
                    </a:cubicBezTo>
                    <a:cubicBezTo>
                      <a:pt x="151" y="68"/>
                      <a:pt x="148" y="65"/>
                      <a:pt x="146" y="57"/>
                    </a:cubicBezTo>
                    <a:cubicBezTo>
                      <a:pt x="150" y="63"/>
                      <a:pt x="154" y="65"/>
                      <a:pt x="158" y="69"/>
                    </a:cubicBezTo>
                    <a:cubicBezTo>
                      <a:pt x="154" y="65"/>
                      <a:pt x="150" y="62"/>
                      <a:pt x="147" y="57"/>
                    </a:cubicBezTo>
                    <a:cubicBezTo>
                      <a:pt x="143" y="50"/>
                      <a:pt x="142" y="41"/>
                      <a:pt x="139" y="33"/>
                    </a:cubicBezTo>
                    <a:cubicBezTo>
                      <a:pt x="142" y="35"/>
                      <a:pt x="144" y="37"/>
                      <a:pt x="147" y="39"/>
                    </a:cubicBezTo>
                    <a:cubicBezTo>
                      <a:pt x="148" y="41"/>
                      <a:pt x="149" y="43"/>
                      <a:pt x="150" y="44"/>
                    </a:cubicBezTo>
                    <a:cubicBezTo>
                      <a:pt x="153" y="51"/>
                      <a:pt x="157" y="58"/>
                      <a:pt x="160" y="64"/>
                    </a:cubicBezTo>
                    <a:cubicBezTo>
                      <a:pt x="162" y="67"/>
                      <a:pt x="164" y="70"/>
                      <a:pt x="165" y="73"/>
                    </a:cubicBezTo>
                    <a:cubicBezTo>
                      <a:pt x="166" y="74"/>
                      <a:pt x="166" y="81"/>
                      <a:pt x="166" y="83"/>
                    </a:cubicBezTo>
                    <a:cubicBezTo>
                      <a:pt x="167" y="90"/>
                      <a:pt x="170" y="96"/>
                      <a:pt x="171" y="102"/>
                    </a:cubicBezTo>
                    <a:cubicBezTo>
                      <a:pt x="170" y="97"/>
                      <a:pt x="169" y="93"/>
                      <a:pt x="168" y="88"/>
                    </a:cubicBezTo>
                    <a:cubicBezTo>
                      <a:pt x="166" y="83"/>
                      <a:pt x="167" y="79"/>
                      <a:pt x="167" y="74"/>
                    </a:cubicBezTo>
                    <a:cubicBezTo>
                      <a:pt x="169" y="77"/>
                      <a:pt x="172" y="77"/>
                      <a:pt x="175" y="74"/>
                    </a:cubicBezTo>
                    <a:cubicBezTo>
                      <a:pt x="170" y="79"/>
                      <a:pt x="166" y="72"/>
                      <a:pt x="162" y="66"/>
                    </a:cubicBezTo>
                    <a:cubicBezTo>
                      <a:pt x="159" y="59"/>
                      <a:pt x="156" y="50"/>
                      <a:pt x="152" y="43"/>
                    </a:cubicBezTo>
                    <a:cubicBezTo>
                      <a:pt x="154" y="45"/>
                      <a:pt x="156" y="46"/>
                      <a:pt x="158" y="47"/>
                    </a:cubicBezTo>
                    <a:cubicBezTo>
                      <a:pt x="159" y="47"/>
                      <a:pt x="160" y="47"/>
                      <a:pt x="161" y="48"/>
                    </a:cubicBezTo>
                    <a:cubicBezTo>
                      <a:pt x="161" y="49"/>
                      <a:pt x="161" y="50"/>
                      <a:pt x="162" y="52"/>
                    </a:cubicBezTo>
                    <a:cubicBezTo>
                      <a:pt x="164" y="57"/>
                      <a:pt x="167" y="59"/>
                      <a:pt x="170" y="60"/>
                    </a:cubicBezTo>
                    <a:cubicBezTo>
                      <a:pt x="167" y="58"/>
                      <a:pt x="163" y="55"/>
                      <a:pt x="162" y="48"/>
                    </a:cubicBezTo>
                    <a:cubicBezTo>
                      <a:pt x="166" y="49"/>
                      <a:pt x="170" y="48"/>
                      <a:pt x="175" y="47"/>
                    </a:cubicBezTo>
                    <a:cubicBezTo>
                      <a:pt x="168" y="48"/>
                      <a:pt x="162" y="47"/>
                      <a:pt x="156" y="43"/>
                    </a:cubicBezTo>
                    <a:cubicBezTo>
                      <a:pt x="148" y="38"/>
                      <a:pt x="142" y="28"/>
                      <a:pt x="134" y="23"/>
                    </a:cubicBezTo>
                    <a:cubicBezTo>
                      <a:pt x="138" y="23"/>
                      <a:pt x="143" y="24"/>
                      <a:pt x="147" y="26"/>
                    </a:cubicBezTo>
                    <a:cubicBezTo>
                      <a:pt x="152" y="27"/>
                      <a:pt x="156" y="28"/>
                      <a:pt x="160" y="30"/>
                    </a:cubicBezTo>
                    <a:cubicBezTo>
                      <a:pt x="168" y="35"/>
                      <a:pt x="175" y="46"/>
                      <a:pt x="184" y="44"/>
                    </a:cubicBezTo>
                    <a:cubicBezTo>
                      <a:pt x="177" y="45"/>
                      <a:pt x="172" y="38"/>
                      <a:pt x="166" y="32"/>
                    </a:cubicBezTo>
                    <a:close/>
                    <a:moveTo>
                      <a:pt x="78" y="65"/>
                    </a:moveTo>
                    <a:cubicBezTo>
                      <a:pt x="79" y="57"/>
                      <a:pt x="81" y="49"/>
                      <a:pt x="83" y="43"/>
                    </a:cubicBezTo>
                    <a:cubicBezTo>
                      <a:pt x="83" y="51"/>
                      <a:pt x="81" y="60"/>
                      <a:pt x="78" y="65"/>
                    </a:cubicBezTo>
                    <a:close/>
                  </a:path>
                </a:pathLst>
              </a:custGeom>
              <a:solidFill>
                <a:schemeClr val="tx1">
                  <a:lumMod val="65000"/>
                  <a:lumOff val="3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67" name="Freeform 21">
                <a:extLst>
                  <a:ext uri="{FF2B5EF4-FFF2-40B4-BE49-F238E27FC236}">
                    <a16:creationId xmlns:a16="http://schemas.microsoft.com/office/drawing/2014/main" id="{9C93BCA5-D424-4F0E-A9EA-35ADA3DEC0AA}"/>
                  </a:ext>
                </a:extLst>
              </p:cNvPr>
              <p:cNvSpPr>
                <a:spLocks/>
              </p:cNvSpPr>
              <p:nvPr/>
            </p:nvSpPr>
            <p:spPr bwMode="auto">
              <a:xfrm rot="7528282">
                <a:off x="8827004" y="1837504"/>
                <a:ext cx="212306" cy="202269"/>
              </a:xfrm>
              <a:custGeom>
                <a:avLst/>
                <a:gdLst>
                  <a:gd name="T0" fmla="*/ 0 w 56"/>
                  <a:gd name="T1" fmla="*/ 3 h 53"/>
                  <a:gd name="T2" fmla="*/ 8 w 56"/>
                  <a:gd name="T3" fmla="*/ 11 h 53"/>
                  <a:gd name="T4" fmla="*/ 21 w 56"/>
                  <a:gd name="T5" fmla="*/ 42 h 53"/>
                  <a:gd name="T6" fmla="*/ 45 w 56"/>
                  <a:gd name="T7" fmla="*/ 49 h 53"/>
                  <a:gd name="T8" fmla="*/ 49 w 56"/>
                  <a:gd name="T9" fmla="*/ 43 h 53"/>
                  <a:gd name="T10" fmla="*/ 54 w 56"/>
                  <a:gd name="T11" fmla="*/ 34 h 53"/>
                  <a:gd name="T12" fmla="*/ 0 w 56"/>
                  <a:gd name="T13" fmla="*/ 3 h 53"/>
                </a:gdLst>
                <a:ahLst/>
                <a:cxnLst>
                  <a:cxn ang="0">
                    <a:pos x="T0" y="T1"/>
                  </a:cxn>
                  <a:cxn ang="0">
                    <a:pos x="T2" y="T3"/>
                  </a:cxn>
                  <a:cxn ang="0">
                    <a:pos x="T4" y="T5"/>
                  </a:cxn>
                  <a:cxn ang="0">
                    <a:pos x="T6" y="T7"/>
                  </a:cxn>
                  <a:cxn ang="0">
                    <a:pos x="T8" y="T9"/>
                  </a:cxn>
                  <a:cxn ang="0">
                    <a:pos x="T10" y="T11"/>
                  </a:cxn>
                  <a:cxn ang="0">
                    <a:pos x="T12" y="T13"/>
                  </a:cxn>
                </a:cxnLst>
                <a:rect l="0" t="0" r="r" b="b"/>
                <a:pathLst>
                  <a:path w="56" h="53">
                    <a:moveTo>
                      <a:pt x="0" y="3"/>
                    </a:moveTo>
                    <a:cubicBezTo>
                      <a:pt x="0" y="3"/>
                      <a:pt x="5" y="4"/>
                      <a:pt x="8" y="11"/>
                    </a:cubicBezTo>
                    <a:cubicBezTo>
                      <a:pt x="11" y="17"/>
                      <a:pt x="13" y="31"/>
                      <a:pt x="21" y="42"/>
                    </a:cubicBezTo>
                    <a:cubicBezTo>
                      <a:pt x="30" y="53"/>
                      <a:pt x="42" y="51"/>
                      <a:pt x="45" y="49"/>
                    </a:cubicBezTo>
                    <a:cubicBezTo>
                      <a:pt x="49" y="48"/>
                      <a:pt x="49" y="43"/>
                      <a:pt x="49" y="43"/>
                    </a:cubicBezTo>
                    <a:cubicBezTo>
                      <a:pt x="49" y="43"/>
                      <a:pt x="56" y="44"/>
                      <a:pt x="54" y="34"/>
                    </a:cubicBezTo>
                    <a:cubicBezTo>
                      <a:pt x="44" y="0"/>
                      <a:pt x="0" y="3"/>
                      <a:pt x="0" y="3"/>
                    </a:cubicBezTo>
                    <a:close/>
                  </a:path>
                </a:pathLst>
              </a:custGeom>
              <a:solidFill>
                <a:srgbClr val="8BC5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68" name="Freeform 22">
                <a:extLst>
                  <a:ext uri="{FF2B5EF4-FFF2-40B4-BE49-F238E27FC236}">
                    <a16:creationId xmlns:a16="http://schemas.microsoft.com/office/drawing/2014/main" id="{EF579E98-7F7A-4438-81CF-9B41552E32EF}"/>
                  </a:ext>
                </a:extLst>
              </p:cNvPr>
              <p:cNvSpPr>
                <a:spLocks/>
              </p:cNvSpPr>
              <p:nvPr/>
            </p:nvSpPr>
            <p:spPr bwMode="auto">
              <a:xfrm rot="7528282">
                <a:off x="8761835" y="1931843"/>
                <a:ext cx="166757" cy="103451"/>
              </a:xfrm>
              <a:custGeom>
                <a:avLst/>
                <a:gdLst>
                  <a:gd name="T0" fmla="*/ 0 w 44"/>
                  <a:gd name="T1" fmla="*/ 0 h 27"/>
                  <a:gd name="T2" fmla="*/ 20 w 44"/>
                  <a:gd name="T3" fmla="*/ 17 h 27"/>
                  <a:gd name="T4" fmla="*/ 44 w 44"/>
                  <a:gd name="T5" fmla="*/ 21 h 27"/>
                  <a:gd name="T6" fmla="*/ 19 w 44"/>
                  <a:gd name="T7" fmla="*/ 21 h 27"/>
                  <a:gd name="T8" fmla="*/ 0 w 44"/>
                  <a:gd name="T9" fmla="*/ 0 h 27"/>
                </a:gdLst>
                <a:ahLst/>
                <a:cxnLst>
                  <a:cxn ang="0">
                    <a:pos x="T0" y="T1"/>
                  </a:cxn>
                  <a:cxn ang="0">
                    <a:pos x="T2" y="T3"/>
                  </a:cxn>
                  <a:cxn ang="0">
                    <a:pos x="T4" y="T5"/>
                  </a:cxn>
                  <a:cxn ang="0">
                    <a:pos x="T6" y="T7"/>
                  </a:cxn>
                  <a:cxn ang="0">
                    <a:pos x="T8" y="T9"/>
                  </a:cxn>
                </a:cxnLst>
                <a:rect l="0" t="0" r="r" b="b"/>
                <a:pathLst>
                  <a:path w="44" h="27">
                    <a:moveTo>
                      <a:pt x="0" y="0"/>
                    </a:moveTo>
                    <a:cubicBezTo>
                      <a:pt x="0" y="0"/>
                      <a:pt x="9" y="11"/>
                      <a:pt x="20" y="17"/>
                    </a:cubicBezTo>
                    <a:cubicBezTo>
                      <a:pt x="31" y="24"/>
                      <a:pt x="44" y="21"/>
                      <a:pt x="44" y="21"/>
                    </a:cubicBezTo>
                    <a:cubicBezTo>
                      <a:pt x="44" y="21"/>
                      <a:pt x="30" y="27"/>
                      <a:pt x="19" y="21"/>
                    </a:cubicBezTo>
                    <a:cubicBezTo>
                      <a:pt x="9" y="15"/>
                      <a:pt x="0" y="0"/>
                      <a:pt x="0" y="0"/>
                    </a:cubicBezTo>
                    <a:close/>
                  </a:path>
                </a:pathLst>
              </a:custGeom>
              <a:solidFill>
                <a:schemeClr val="tx1">
                  <a:lumMod val="65000"/>
                  <a:lumOff val="3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69" name="Freeform 21">
                <a:extLst>
                  <a:ext uri="{FF2B5EF4-FFF2-40B4-BE49-F238E27FC236}">
                    <a16:creationId xmlns:a16="http://schemas.microsoft.com/office/drawing/2014/main" id="{EC83E9B9-3F4A-4781-9C1F-307DE2BF01AB}"/>
                  </a:ext>
                </a:extLst>
              </p:cNvPr>
              <p:cNvSpPr>
                <a:spLocks/>
              </p:cNvSpPr>
              <p:nvPr/>
            </p:nvSpPr>
            <p:spPr bwMode="auto">
              <a:xfrm rot="7528282">
                <a:off x="8798701" y="1830536"/>
                <a:ext cx="78002" cy="74315"/>
              </a:xfrm>
              <a:custGeom>
                <a:avLst/>
                <a:gdLst>
                  <a:gd name="T0" fmla="*/ 0 w 56"/>
                  <a:gd name="T1" fmla="*/ 3 h 53"/>
                  <a:gd name="T2" fmla="*/ 8 w 56"/>
                  <a:gd name="T3" fmla="*/ 11 h 53"/>
                  <a:gd name="T4" fmla="*/ 21 w 56"/>
                  <a:gd name="T5" fmla="*/ 42 h 53"/>
                  <a:gd name="T6" fmla="*/ 45 w 56"/>
                  <a:gd name="T7" fmla="*/ 49 h 53"/>
                  <a:gd name="T8" fmla="*/ 49 w 56"/>
                  <a:gd name="T9" fmla="*/ 43 h 53"/>
                  <a:gd name="T10" fmla="*/ 54 w 56"/>
                  <a:gd name="T11" fmla="*/ 34 h 53"/>
                  <a:gd name="T12" fmla="*/ 0 w 56"/>
                  <a:gd name="T13" fmla="*/ 3 h 53"/>
                </a:gdLst>
                <a:ahLst/>
                <a:cxnLst>
                  <a:cxn ang="0">
                    <a:pos x="T0" y="T1"/>
                  </a:cxn>
                  <a:cxn ang="0">
                    <a:pos x="T2" y="T3"/>
                  </a:cxn>
                  <a:cxn ang="0">
                    <a:pos x="T4" y="T5"/>
                  </a:cxn>
                  <a:cxn ang="0">
                    <a:pos x="T6" y="T7"/>
                  </a:cxn>
                  <a:cxn ang="0">
                    <a:pos x="T8" y="T9"/>
                  </a:cxn>
                  <a:cxn ang="0">
                    <a:pos x="T10" y="T11"/>
                  </a:cxn>
                  <a:cxn ang="0">
                    <a:pos x="T12" y="T13"/>
                  </a:cxn>
                </a:cxnLst>
                <a:rect l="0" t="0" r="r" b="b"/>
                <a:pathLst>
                  <a:path w="56" h="53">
                    <a:moveTo>
                      <a:pt x="0" y="3"/>
                    </a:moveTo>
                    <a:cubicBezTo>
                      <a:pt x="0" y="3"/>
                      <a:pt x="5" y="4"/>
                      <a:pt x="8" y="11"/>
                    </a:cubicBezTo>
                    <a:cubicBezTo>
                      <a:pt x="11" y="17"/>
                      <a:pt x="13" y="31"/>
                      <a:pt x="21" y="42"/>
                    </a:cubicBezTo>
                    <a:cubicBezTo>
                      <a:pt x="30" y="53"/>
                      <a:pt x="42" y="51"/>
                      <a:pt x="45" y="49"/>
                    </a:cubicBezTo>
                    <a:cubicBezTo>
                      <a:pt x="49" y="48"/>
                      <a:pt x="49" y="43"/>
                      <a:pt x="49" y="43"/>
                    </a:cubicBezTo>
                    <a:cubicBezTo>
                      <a:pt x="49" y="43"/>
                      <a:pt x="56" y="44"/>
                      <a:pt x="54" y="34"/>
                    </a:cubicBezTo>
                    <a:cubicBezTo>
                      <a:pt x="44" y="0"/>
                      <a:pt x="0" y="3"/>
                      <a:pt x="0" y="3"/>
                    </a:cubicBezTo>
                    <a:close/>
                  </a:path>
                </a:pathLst>
              </a:custGeom>
              <a:solidFill>
                <a:srgbClr val="8BC5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70" name="Freeform 22">
                <a:extLst>
                  <a:ext uri="{FF2B5EF4-FFF2-40B4-BE49-F238E27FC236}">
                    <a16:creationId xmlns:a16="http://schemas.microsoft.com/office/drawing/2014/main" id="{8F1DE55D-CEC6-49DA-9CA0-4C7F599C43C3}"/>
                  </a:ext>
                </a:extLst>
              </p:cNvPr>
              <p:cNvSpPr>
                <a:spLocks/>
              </p:cNvSpPr>
              <p:nvPr/>
            </p:nvSpPr>
            <p:spPr bwMode="auto">
              <a:xfrm rot="7528282">
                <a:off x="8774758" y="1865197"/>
                <a:ext cx="61268" cy="38008"/>
              </a:xfrm>
              <a:custGeom>
                <a:avLst/>
                <a:gdLst>
                  <a:gd name="T0" fmla="*/ 0 w 44"/>
                  <a:gd name="T1" fmla="*/ 0 h 27"/>
                  <a:gd name="T2" fmla="*/ 20 w 44"/>
                  <a:gd name="T3" fmla="*/ 17 h 27"/>
                  <a:gd name="T4" fmla="*/ 44 w 44"/>
                  <a:gd name="T5" fmla="*/ 21 h 27"/>
                  <a:gd name="T6" fmla="*/ 19 w 44"/>
                  <a:gd name="T7" fmla="*/ 21 h 27"/>
                  <a:gd name="T8" fmla="*/ 0 w 44"/>
                  <a:gd name="T9" fmla="*/ 0 h 27"/>
                </a:gdLst>
                <a:ahLst/>
                <a:cxnLst>
                  <a:cxn ang="0">
                    <a:pos x="T0" y="T1"/>
                  </a:cxn>
                  <a:cxn ang="0">
                    <a:pos x="T2" y="T3"/>
                  </a:cxn>
                  <a:cxn ang="0">
                    <a:pos x="T4" y="T5"/>
                  </a:cxn>
                  <a:cxn ang="0">
                    <a:pos x="T6" y="T7"/>
                  </a:cxn>
                  <a:cxn ang="0">
                    <a:pos x="T8" y="T9"/>
                  </a:cxn>
                </a:cxnLst>
                <a:rect l="0" t="0" r="r" b="b"/>
                <a:pathLst>
                  <a:path w="44" h="27">
                    <a:moveTo>
                      <a:pt x="0" y="0"/>
                    </a:moveTo>
                    <a:cubicBezTo>
                      <a:pt x="0" y="0"/>
                      <a:pt x="9" y="11"/>
                      <a:pt x="20" y="17"/>
                    </a:cubicBezTo>
                    <a:cubicBezTo>
                      <a:pt x="31" y="24"/>
                      <a:pt x="44" y="21"/>
                      <a:pt x="44" y="21"/>
                    </a:cubicBezTo>
                    <a:cubicBezTo>
                      <a:pt x="44" y="21"/>
                      <a:pt x="30" y="27"/>
                      <a:pt x="19" y="21"/>
                    </a:cubicBezTo>
                    <a:cubicBezTo>
                      <a:pt x="9" y="15"/>
                      <a:pt x="0" y="0"/>
                      <a:pt x="0" y="0"/>
                    </a:cubicBezTo>
                    <a:close/>
                  </a:path>
                </a:pathLst>
              </a:custGeom>
              <a:solidFill>
                <a:schemeClr val="tx1">
                  <a:lumMod val="65000"/>
                  <a:lumOff val="3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71" name="Freeform 19">
                <a:extLst>
                  <a:ext uri="{FF2B5EF4-FFF2-40B4-BE49-F238E27FC236}">
                    <a16:creationId xmlns:a16="http://schemas.microsoft.com/office/drawing/2014/main" id="{472FC24F-806B-4E22-8B39-DCAB2FEE742D}"/>
                  </a:ext>
                </a:extLst>
              </p:cNvPr>
              <p:cNvSpPr>
                <a:spLocks/>
              </p:cNvSpPr>
              <p:nvPr/>
            </p:nvSpPr>
            <p:spPr bwMode="auto">
              <a:xfrm rot="20089445">
                <a:off x="8687851" y="1791238"/>
                <a:ext cx="280364" cy="231980"/>
              </a:xfrm>
              <a:custGeom>
                <a:avLst/>
                <a:gdLst>
                  <a:gd name="T0" fmla="*/ 77 w 77"/>
                  <a:gd name="T1" fmla="*/ 0 h 67"/>
                  <a:gd name="T2" fmla="*/ 28 w 77"/>
                  <a:gd name="T3" fmla="*/ 25 h 67"/>
                  <a:gd name="T4" fmla="*/ 0 w 77"/>
                  <a:gd name="T5" fmla="*/ 67 h 67"/>
                  <a:gd name="T6" fmla="*/ 21 w 77"/>
                  <a:gd name="T7" fmla="*/ 20 h 67"/>
                  <a:gd name="T8" fmla="*/ 77 w 77"/>
                  <a:gd name="T9" fmla="*/ 0 h 67"/>
                </a:gdLst>
                <a:ahLst/>
                <a:cxnLst>
                  <a:cxn ang="0">
                    <a:pos x="T0" y="T1"/>
                  </a:cxn>
                  <a:cxn ang="0">
                    <a:pos x="T2" y="T3"/>
                  </a:cxn>
                  <a:cxn ang="0">
                    <a:pos x="T4" y="T5"/>
                  </a:cxn>
                  <a:cxn ang="0">
                    <a:pos x="T6" y="T7"/>
                  </a:cxn>
                  <a:cxn ang="0">
                    <a:pos x="T8" y="T9"/>
                  </a:cxn>
                </a:cxnLst>
                <a:rect l="0" t="0" r="r" b="b"/>
                <a:pathLst>
                  <a:path w="77" h="67">
                    <a:moveTo>
                      <a:pt x="77" y="0"/>
                    </a:moveTo>
                    <a:cubicBezTo>
                      <a:pt x="77" y="0"/>
                      <a:pt x="49" y="9"/>
                      <a:pt x="28" y="25"/>
                    </a:cubicBezTo>
                    <a:cubicBezTo>
                      <a:pt x="6" y="41"/>
                      <a:pt x="0" y="67"/>
                      <a:pt x="0" y="67"/>
                    </a:cubicBezTo>
                    <a:cubicBezTo>
                      <a:pt x="0" y="67"/>
                      <a:pt x="1" y="34"/>
                      <a:pt x="21" y="20"/>
                    </a:cubicBezTo>
                    <a:cubicBezTo>
                      <a:pt x="41" y="5"/>
                      <a:pt x="77" y="0"/>
                      <a:pt x="77" y="0"/>
                    </a:cubicBezTo>
                    <a:close/>
                  </a:path>
                </a:pathLst>
              </a:custGeom>
              <a:solidFill>
                <a:schemeClr val="tx1">
                  <a:lumMod val="65000"/>
                  <a:lumOff val="3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72" name="Freeform 21">
                <a:extLst>
                  <a:ext uri="{FF2B5EF4-FFF2-40B4-BE49-F238E27FC236}">
                    <a16:creationId xmlns:a16="http://schemas.microsoft.com/office/drawing/2014/main" id="{EBADA8E0-892C-4AE3-B4D9-A197987259CA}"/>
                  </a:ext>
                </a:extLst>
              </p:cNvPr>
              <p:cNvSpPr>
                <a:spLocks/>
              </p:cNvSpPr>
              <p:nvPr/>
            </p:nvSpPr>
            <p:spPr bwMode="auto">
              <a:xfrm>
                <a:off x="8672511" y="1809758"/>
                <a:ext cx="78002" cy="74315"/>
              </a:xfrm>
              <a:custGeom>
                <a:avLst/>
                <a:gdLst>
                  <a:gd name="T0" fmla="*/ 0 w 56"/>
                  <a:gd name="T1" fmla="*/ 3 h 53"/>
                  <a:gd name="T2" fmla="*/ 8 w 56"/>
                  <a:gd name="T3" fmla="*/ 11 h 53"/>
                  <a:gd name="T4" fmla="*/ 21 w 56"/>
                  <a:gd name="T5" fmla="*/ 42 h 53"/>
                  <a:gd name="T6" fmla="*/ 45 w 56"/>
                  <a:gd name="T7" fmla="*/ 49 h 53"/>
                  <a:gd name="T8" fmla="*/ 49 w 56"/>
                  <a:gd name="T9" fmla="*/ 43 h 53"/>
                  <a:gd name="T10" fmla="*/ 54 w 56"/>
                  <a:gd name="T11" fmla="*/ 34 h 53"/>
                  <a:gd name="T12" fmla="*/ 0 w 56"/>
                  <a:gd name="T13" fmla="*/ 3 h 53"/>
                </a:gdLst>
                <a:ahLst/>
                <a:cxnLst>
                  <a:cxn ang="0">
                    <a:pos x="T0" y="T1"/>
                  </a:cxn>
                  <a:cxn ang="0">
                    <a:pos x="T2" y="T3"/>
                  </a:cxn>
                  <a:cxn ang="0">
                    <a:pos x="T4" y="T5"/>
                  </a:cxn>
                  <a:cxn ang="0">
                    <a:pos x="T6" y="T7"/>
                  </a:cxn>
                  <a:cxn ang="0">
                    <a:pos x="T8" y="T9"/>
                  </a:cxn>
                  <a:cxn ang="0">
                    <a:pos x="T10" y="T11"/>
                  </a:cxn>
                  <a:cxn ang="0">
                    <a:pos x="T12" y="T13"/>
                  </a:cxn>
                </a:cxnLst>
                <a:rect l="0" t="0" r="r" b="b"/>
                <a:pathLst>
                  <a:path w="56" h="53">
                    <a:moveTo>
                      <a:pt x="0" y="3"/>
                    </a:moveTo>
                    <a:cubicBezTo>
                      <a:pt x="0" y="3"/>
                      <a:pt x="5" y="4"/>
                      <a:pt x="8" y="11"/>
                    </a:cubicBezTo>
                    <a:cubicBezTo>
                      <a:pt x="11" y="17"/>
                      <a:pt x="13" y="31"/>
                      <a:pt x="21" y="42"/>
                    </a:cubicBezTo>
                    <a:cubicBezTo>
                      <a:pt x="30" y="53"/>
                      <a:pt x="42" y="51"/>
                      <a:pt x="45" y="49"/>
                    </a:cubicBezTo>
                    <a:cubicBezTo>
                      <a:pt x="49" y="48"/>
                      <a:pt x="49" y="43"/>
                      <a:pt x="49" y="43"/>
                    </a:cubicBezTo>
                    <a:cubicBezTo>
                      <a:pt x="49" y="43"/>
                      <a:pt x="56" y="44"/>
                      <a:pt x="54" y="34"/>
                    </a:cubicBezTo>
                    <a:cubicBezTo>
                      <a:pt x="44" y="0"/>
                      <a:pt x="0" y="3"/>
                      <a:pt x="0" y="3"/>
                    </a:cubicBezTo>
                    <a:close/>
                  </a:path>
                </a:pathLst>
              </a:custGeom>
              <a:solidFill>
                <a:srgbClr val="8BC5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73" name="Freeform 22">
                <a:extLst>
                  <a:ext uri="{FF2B5EF4-FFF2-40B4-BE49-F238E27FC236}">
                    <a16:creationId xmlns:a16="http://schemas.microsoft.com/office/drawing/2014/main" id="{ED9F1629-6FFB-4F17-BCCC-EC871CBB67B8}"/>
                  </a:ext>
                </a:extLst>
              </p:cNvPr>
              <p:cNvSpPr>
                <a:spLocks/>
              </p:cNvSpPr>
              <p:nvPr/>
            </p:nvSpPr>
            <p:spPr bwMode="auto">
              <a:xfrm>
                <a:off x="8713072" y="1844646"/>
                <a:ext cx="61267" cy="38008"/>
              </a:xfrm>
              <a:custGeom>
                <a:avLst/>
                <a:gdLst>
                  <a:gd name="T0" fmla="*/ 0 w 44"/>
                  <a:gd name="T1" fmla="*/ 0 h 27"/>
                  <a:gd name="T2" fmla="*/ 20 w 44"/>
                  <a:gd name="T3" fmla="*/ 17 h 27"/>
                  <a:gd name="T4" fmla="*/ 44 w 44"/>
                  <a:gd name="T5" fmla="*/ 21 h 27"/>
                  <a:gd name="T6" fmla="*/ 19 w 44"/>
                  <a:gd name="T7" fmla="*/ 21 h 27"/>
                  <a:gd name="T8" fmla="*/ 0 w 44"/>
                  <a:gd name="T9" fmla="*/ 0 h 27"/>
                </a:gdLst>
                <a:ahLst/>
                <a:cxnLst>
                  <a:cxn ang="0">
                    <a:pos x="T0" y="T1"/>
                  </a:cxn>
                  <a:cxn ang="0">
                    <a:pos x="T2" y="T3"/>
                  </a:cxn>
                  <a:cxn ang="0">
                    <a:pos x="T4" y="T5"/>
                  </a:cxn>
                  <a:cxn ang="0">
                    <a:pos x="T6" y="T7"/>
                  </a:cxn>
                  <a:cxn ang="0">
                    <a:pos x="T8" y="T9"/>
                  </a:cxn>
                </a:cxnLst>
                <a:rect l="0" t="0" r="r" b="b"/>
                <a:pathLst>
                  <a:path w="44" h="27">
                    <a:moveTo>
                      <a:pt x="0" y="0"/>
                    </a:moveTo>
                    <a:cubicBezTo>
                      <a:pt x="0" y="0"/>
                      <a:pt x="9" y="11"/>
                      <a:pt x="20" y="17"/>
                    </a:cubicBezTo>
                    <a:cubicBezTo>
                      <a:pt x="31" y="24"/>
                      <a:pt x="44" y="21"/>
                      <a:pt x="44" y="21"/>
                    </a:cubicBezTo>
                    <a:cubicBezTo>
                      <a:pt x="44" y="21"/>
                      <a:pt x="30" y="27"/>
                      <a:pt x="19" y="21"/>
                    </a:cubicBezTo>
                    <a:cubicBezTo>
                      <a:pt x="9" y="15"/>
                      <a:pt x="0" y="0"/>
                      <a:pt x="0" y="0"/>
                    </a:cubicBezTo>
                    <a:close/>
                  </a:path>
                </a:pathLst>
              </a:custGeom>
              <a:solidFill>
                <a:schemeClr val="tx1">
                  <a:lumMod val="65000"/>
                  <a:lumOff val="3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grpSp>
      </p:grpSp>
      <p:grpSp>
        <p:nvGrpSpPr>
          <p:cNvPr id="76" name="Group 100">
            <a:extLst>
              <a:ext uri="{FF2B5EF4-FFF2-40B4-BE49-F238E27FC236}">
                <a16:creationId xmlns:a16="http://schemas.microsoft.com/office/drawing/2014/main" id="{E83F45CF-7D0E-4269-A999-54D90B2FB39A}"/>
              </a:ext>
            </a:extLst>
          </p:cNvPr>
          <p:cNvGrpSpPr/>
          <p:nvPr/>
        </p:nvGrpSpPr>
        <p:grpSpPr>
          <a:xfrm>
            <a:off x="9148706" y="4336168"/>
            <a:ext cx="2116848" cy="1622309"/>
            <a:chOff x="6933664" y="1075295"/>
            <a:chExt cx="2116848" cy="1622309"/>
          </a:xfrm>
        </p:grpSpPr>
        <p:sp>
          <p:nvSpPr>
            <p:cNvPr id="77" name="Rectangle 101">
              <a:extLst>
                <a:ext uri="{FF2B5EF4-FFF2-40B4-BE49-F238E27FC236}">
                  <a16:creationId xmlns:a16="http://schemas.microsoft.com/office/drawing/2014/main" id="{894409F0-7972-45EB-963A-8D294C503A56}"/>
                </a:ext>
              </a:extLst>
            </p:cNvPr>
            <p:cNvSpPr/>
            <p:nvPr/>
          </p:nvSpPr>
          <p:spPr>
            <a:xfrm>
              <a:off x="6933664" y="1794215"/>
              <a:ext cx="2116848" cy="903389"/>
            </a:xfrm>
            <a:prstGeom prst="rect">
              <a:avLst/>
            </a:prstGeom>
          </p:spPr>
          <p:txBody>
            <a:bodyPr wrap="square">
              <a:spAutoFit/>
            </a:bodyPr>
            <a:lstStyle/>
            <a:p>
              <a:pPr marL="0" marR="0" lvl="0" indent="0" algn="ctr" defTabSz="914400" rtl="0" eaLnBrk="1" fontAlgn="auto" latinLnBrk="0" hangingPunct="1">
                <a:lnSpc>
                  <a:spcPct val="13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lumMod val="50000"/>
                      <a:lumOff val="50000"/>
                    </a:srgbClr>
                  </a:solidFill>
                  <a:effectLst/>
                  <a:uLnTx/>
                  <a:uFillTx/>
                  <a:latin typeface="等线" panose="020F0502020204030204"/>
                  <a:ea typeface="Open Sans Light" panose="020B0306030504020204" pitchFamily="34" charset="0"/>
                  <a:cs typeface="Segoe UI" panose="020B0502040204020203" pitchFamily="34" charset="0"/>
                </a:rPr>
                <a:t>Their pronunciation and their most common words. </a:t>
              </a:r>
            </a:p>
          </p:txBody>
        </p:sp>
        <p:sp>
          <p:nvSpPr>
            <p:cNvPr id="78" name="Rectangle 102">
              <a:extLst>
                <a:ext uri="{FF2B5EF4-FFF2-40B4-BE49-F238E27FC236}">
                  <a16:creationId xmlns:a16="http://schemas.microsoft.com/office/drawing/2014/main" id="{2F155CAB-6629-4375-8BF1-ED44C9B70841}"/>
                </a:ext>
              </a:extLst>
            </p:cNvPr>
            <p:cNvSpPr/>
            <p:nvPr/>
          </p:nvSpPr>
          <p:spPr>
            <a:xfrm>
              <a:off x="7036623" y="1075295"/>
              <a:ext cx="1910928" cy="737574"/>
            </a:xfrm>
            <a:prstGeom prst="rect">
              <a:avLst/>
            </a:prstGeom>
          </p:spPr>
          <p:txBody>
            <a:bodyPr wrap="square">
              <a:spAutoFit/>
            </a:bodyPr>
            <a:lstStyle/>
            <a:p>
              <a:pPr marL="0" marR="0" lvl="0" indent="0" algn="ctr" defTabSz="914400" rtl="0" eaLnBrk="1" fontAlgn="auto" latinLnBrk="0" hangingPunct="1">
                <a:lnSpc>
                  <a:spcPct val="130000"/>
                </a:lnSpc>
                <a:spcBef>
                  <a:spcPts val="0"/>
                </a:spcBef>
                <a:spcAft>
                  <a:spcPts val="0"/>
                </a:spcAft>
                <a:buClrTx/>
                <a:buSzTx/>
                <a:buFontTx/>
                <a:buNone/>
                <a:tabLst/>
                <a:defRPr/>
              </a:pPr>
              <a:r>
                <a:rPr kumimoji="0" lang="en-US" sz="3600" b="1" i="0" u="none" strike="noStrike" kern="1200" cap="none" spc="0" normalizeH="0" baseline="0" noProof="0" dirty="0">
                  <a:ln>
                    <a:noFill/>
                  </a:ln>
                  <a:solidFill>
                    <a:srgbClr val="8F38FF"/>
                  </a:solidFill>
                  <a:effectLst/>
                  <a:uLnTx/>
                  <a:uFillTx/>
                  <a:latin typeface="等线 Light" panose="020F0302020204030204"/>
                  <a:ea typeface="Open Sans Light" panose="020B0306030504020204" pitchFamily="34" charset="0"/>
                  <a:cs typeface="Poppins" panose="02000000000000000000" pitchFamily="2" charset="0"/>
                </a:rPr>
                <a:t>800K</a:t>
              </a:r>
              <a:endParaRPr kumimoji="0" lang="en-US" sz="3600" b="1" i="0" u="none" strike="noStrike" kern="1200" cap="none" spc="0" normalizeH="0" baseline="30000" noProof="0" dirty="0">
                <a:ln>
                  <a:noFill/>
                </a:ln>
                <a:solidFill>
                  <a:srgbClr val="8F38FF"/>
                </a:solidFill>
                <a:effectLst/>
                <a:uLnTx/>
                <a:uFillTx/>
                <a:latin typeface="等线 Light" panose="020F0302020204030204"/>
                <a:ea typeface="Open Sans Light" panose="020B0306030504020204" pitchFamily="34" charset="0"/>
                <a:cs typeface="Poppins" panose="02000000000000000000" pitchFamily="2" charset="0"/>
              </a:endParaRPr>
            </a:p>
          </p:txBody>
        </p:sp>
      </p:grpSp>
    </p:spTree>
    <p:extLst>
      <p:ext uri="{BB962C8B-B14F-4D97-AF65-F5344CB8AC3E}">
        <p14:creationId xmlns:p14="http://schemas.microsoft.com/office/powerpoint/2010/main" val="3007196936"/>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withEffect">
                                  <p:stCondLst>
                                    <p:cond delay="750"/>
                                  </p:stCondLst>
                                  <p:childTnLst>
                                    <p:set>
                                      <p:cBhvr>
                                        <p:cTn id="6" dur="1" fill="hold">
                                          <p:stCondLst>
                                            <p:cond delay="0"/>
                                          </p:stCondLst>
                                        </p:cTn>
                                        <p:tgtEl>
                                          <p:spTgt spid="2"/>
                                        </p:tgtEl>
                                        <p:attrNameLst>
                                          <p:attrName>style.visibility</p:attrName>
                                        </p:attrNameLst>
                                      </p:cBhvr>
                                      <p:to>
                                        <p:strVal val="visible"/>
                                      </p:to>
                                    </p:set>
                                    <p:animEffect transition="in" filter="wipe(up)">
                                      <p:cBhvr>
                                        <p:cTn id="7" dur="750"/>
                                        <p:tgtEl>
                                          <p:spTgt spid="2"/>
                                        </p:tgtEl>
                                      </p:cBhvr>
                                    </p:animEffect>
                                  </p:childTnLst>
                                </p:cTn>
                              </p:par>
                              <p:par>
                                <p:cTn id="8" presetID="22" presetClass="entr" presetSubtype="1" fill="hold" nodeType="withEffect">
                                  <p:stCondLst>
                                    <p:cond delay="1000"/>
                                  </p:stCondLst>
                                  <p:childTnLst>
                                    <p:set>
                                      <p:cBhvr>
                                        <p:cTn id="9" dur="1" fill="hold">
                                          <p:stCondLst>
                                            <p:cond delay="0"/>
                                          </p:stCondLst>
                                        </p:cTn>
                                        <p:tgtEl>
                                          <p:spTgt spid="5"/>
                                        </p:tgtEl>
                                        <p:attrNameLst>
                                          <p:attrName>style.visibility</p:attrName>
                                        </p:attrNameLst>
                                      </p:cBhvr>
                                      <p:to>
                                        <p:strVal val="visible"/>
                                      </p:to>
                                    </p:set>
                                    <p:animEffect transition="in" filter="wipe(up)">
                                      <p:cBhvr>
                                        <p:cTn id="10" dur="750"/>
                                        <p:tgtEl>
                                          <p:spTgt spid="5"/>
                                        </p:tgtEl>
                                      </p:cBhvr>
                                    </p:animEffect>
                                  </p:childTnLst>
                                </p:cTn>
                              </p:par>
                              <p:par>
                                <p:cTn id="11" presetID="22" presetClass="entr" presetSubtype="1" fill="hold" nodeType="withEffect">
                                  <p:stCondLst>
                                    <p:cond delay="1250"/>
                                  </p:stCondLst>
                                  <p:childTnLst>
                                    <p:set>
                                      <p:cBhvr>
                                        <p:cTn id="12" dur="1" fill="hold">
                                          <p:stCondLst>
                                            <p:cond delay="0"/>
                                          </p:stCondLst>
                                        </p:cTn>
                                        <p:tgtEl>
                                          <p:spTgt spid="8"/>
                                        </p:tgtEl>
                                        <p:attrNameLst>
                                          <p:attrName>style.visibility</p:attrName>
                                        </p:attrNameLst>
                                      </p:cBhvr>
                                      <p:to>
                                        <p:strVal val="visible"/>
                                      </p:to>
                                    </p:set>
                                    <p:animEffect transition="in" filter="wipe(up)">
                                      <p:cBhvr>
                                        <p:cTn id="13" dur="750"/>
                                        <p:tgtEl>
                                          <p:spTgt spid="8"/>
                                        </p:tgtEl>
                                      </p:cBhvr>
                                    </p:animEffect>
                                  </p:childTnLst>
                                </p:cTn>
                              </p:par>
                              <p:par>
                                <p:cTn id="14" presetID="22" presetClass="entr" presetSubtype="1" fill="hold" nodeType="withEffect">
                                  <p:stCondLst>
                                    <p:cond delay="1500"/>
                                  </p:stCondLst>
                                  <p:childTnLst>
                                    <p:set>
                                      <p:cBhvr>
                                        <p:cTn id="15" dur="1" fill="hold">
                                          <p:stCondLst>
                                            <p:cond delay="0"/>
                                          </p:stCondLst>
                                        </p:cTn>
                                        <p:tgtEl>
                                          <p:spTgt spid="11"/>
                                        </p:tgtEl>
                                        <p:attrNameLst>
                                          <p:attrName>style.visibility</p:attrName>
                                        </p:attrNameLst>
                                      </p:cBhvr>
                                      <p:to>
                                        <p:strVal val="visible"/>
                                      </p:to>
                                    </p:set>
                                    <p:animEffect transition="in" filter="wipe(up)">
                                      <p:cBhvr>
                                        <p:cTn id="16" dur="750"/>
                                        <p:tgtEl>
                                          <p:spTgt spid="11"/>
                                        </p:tgtEl>
                                      </p:cBhvr>
                                    </p:animEffect>
                                  </p:childTnLst>
                                </p:cTn>
                              </p:par>
                              <p:par>
                                <p:cTn id="17" presetID="18" presetClass="entr" presetSubtype="3" fill="hold" grpId="0" nodeType="withEffect">
                                  <p:stCondLst>
                                    <p:cond delay="250"/>
                                  </p:stCondLst>
                                  <p:childTnLst>
                                    <p:set>
                                      <p:cBhvr>
                                        <p:cTn id="18" dur="1" fill="hold">
                                          <p:stCondLst>
                                            <p:cond delay="0"/>
                                          </p:stCondLst>
                                        </p:cTn>
                                        <p:tgtEl>
                                          <p:spTgt spid="14"/>
                                        </p:tgtEl>
                                        <p:attrNameLst>
                                          <p:attrName>style.visibility</p:attrName>
                                        </p:attrNameLst>
                                      </p:cBhvr>
                                      <p:to>
                                        <p:strVal val="visible"/>
                                      </p:to>
                                    </p:set>
                                    <p:animEffect transition="in" filter="strips(upRight)">
                                      <p:cBhvr>
                                        <p:cTn id="19" dur="500"/>
                                        <p:tgtEl>
                                          <p:spTgt spid="14"/>
                                        </p:tgtEl>
                                      </p:cBhvr>
                                    </p:animEffect>
                                  </p:childTnLst>
                                </p:cTn>
                              </p:par>
                              <p:par>
                                <p:cTn id="20" presetID="6" presetClass="emph" presetSubtype="0" accel="52000" decel="48000" autoRev="1" fill="hold" grpId="1" nodeType="withEffect">
                                  <p:stCondLst>
                                    <p:cond delay="250"/>
                                  </p:stCondLst>
                                  <p:childTnLst>
                                    <p:animScale>
                                      <p:cBhvr>
                                        <p:cTn id="21" dur="350" fill="hold"/>
                                        <p:tgtEl>
                                          <p:spTgt spid="14"/>
                                        </p:tgtEl>
                                      </p:cBhvr>
                                      <p:by x="110000" y="110000"/>
                                    </p:animScale>
                                  </p:childTnLst>
                                </p:cTn>
                              </p:par>
                              <p:par>
                                <p:cTn id="22" presetID="18" presetClass="entr" presetSubtype="3" fill="hold" nodeType="withEffect">
                                  <p:stCondLst>
                                    <p:cond delay="500"/>
                                  </p:stCondLst>
                                  <p:childTnLst>
                                    <p:set>
                                      <p:cBhvr>
                                        <p:cTn id="23" dur="1" fill="hold">
                                          <p:stCondLst>
                                            <p:cond delay="0"/>
                                          </p:stCondLst>
                                        </p:cTn>
                                        <p:tgtEl>
                                          <p:spTgt spid="15"/>
                                        </p:tgtEl>
                                        <p:attrNameLst>
                                          <p:attrName>style.visibility</p:attrName>
                                        </p:attrNameLst>
                                      </p:cBhvr>
                                      <p:to>
                                        <p:strVal val="visible"/>
                                      </p:to>
                                    </p:set>
                                    <p:animEffect transition="in" filter="strips(upRight)">
                                      <p:cBhvr>
                                        <p:cTn id="24" dur="500"/>
                                        <p:tgtEl>
                                          <p:spTgt spid="15"/>
                                        </p:tgtEl>
                                      </p:cBhvr>
                                    </p:animEffect>
                                  </p:childTnLst>
                                </p:cTn>
                              </p:par>
                              <p:par>
                                <p:cTn id="25" presetID="6" presetClass="emph" presetSubtype="0" accel="52000" decel="48000" autoRev="1" fill="hold" nodeType="withEffect">
                                  <p:stCondLst>
                                    <p:cond delay="500"/>
                                  </p:stCondLst>
                                  <p:childTnLst>
                                    <p:animScale>
                                      <p:cBhvr>
                                        <p:cTn id="26" dur="350" fill="hold"/>
                                        <p:tgtEl>
                                          <p:spTgt spid="15"/>
                                        </p:tgtEl>
                                      </p:cBhvr>
                                      <p:by x="110000" y="110000"/>
                                    </p:animScale>
                                  </p:childTnLst>
                                </p:cTn>
                              </p:par>
                              <p:par>
                                <p:cTn id="27" presetID="18" presetClass="entr" presetSubtype="3" fill="hold" nodeType="withEffect">
                                  <p:stCondLst>
                                    <p:cond delay="750"/>
                                  </p:stCondLst>
                                  <p:childTnLst>
                                    <p:set>
                                      <p:cBhvr>
                                        <p:cTn id="28" dur="1" fill="hold">
                                          <p:stCondLst>
                                            <p:cond delay="0"/>
                                          </p:stCondLst>
                                        </p:cTn>
                                        <p:tgtEl>
                                          <p:spTgt spid="29"/>
                                        </p:tgtEl>
                                        <p:attrNameLst>
                                          <p:attrName>style.visibility</p:attrName>
                                        </p:attrNameLst>
                                      </p:cBhvr>
                                      <p:to>
                                        <p:strVal val="visible"/>
                                      </p:to>
                                    </p:set>
                                    <p:animEffect transition="in" filter="strips(upRight)">
                                      <p:cBhvr>
                                        <p:cTn id="29" dur="500"/>
                                        <p:tgtEl>
                                          <p:spTgt spid="29"/>
                                        </p:tgtEl>
                                      </p:cBhvr>
                                    </p:animEffect>
                                  </p:childTnLst>
                                </p:cTn>
                              </p:par>
                              <p:par>
                                <p:cTn id="30" presetID="6" presetClass="emph" presetSubtype="0" accel="52000" decel="48000" autoRev="1" fill="hold" nodeType="withEffect">
                                  <p:stCondLst>
                                    <p:cond delay="750"/>
                                  </p:stCondLst>
                                  <p:childTnLst>
                                    <p:animScale>
                                      <p:cBhvr>
                                        <p:cTn id="31" dur="350" fill="hold"/>
                                        <p:tgtEl>
                                          <p:spTgt spid="29"/>
                                        </p:tgtEl>
                                      </p:cBhvr>
                                      <p:by x="110000" y="110000"/>
                                    </p:animScale>
                                  </p:childTnLst>
                                </p:cTn>
                              </p:par>
                              <p:par>
                                <p:cTn id="32" presetID="18" presetClass="entr" presetSubtype="3" fill="hold" nodeType="withEffect">
                                  <p:stCondLst>
                                    <p:cond delay="1000"/>
                                  </p:stCondLst>
                                  <p:childTnLst>
                                    <p:set>
                                      <p:cBhvr>
                                        <p:cTn id="33" dur="1" fill="hold">
                                          <p:stCondLst>
                                            <p:cond delay="0"/>
                                          </p:stCondLst>
                                        </p:cTn>
                                        <p:tgtEl>
                                          <p:spTgt spid="44"/>
                                        </p:tgtEl>
                                        <p:attrNameLst>
                                          <p:attrName>style.visibility</p:attrName>
                                        </p:attrNameLst>
                                      </p:cBhvr>
                                      <p:to>
                                        <p:strVal val="visible"/>
                                      </p:to>
                                    </p:set>
                                    <p:animEffect transition="in" filter="strips(upRight)">
                                      <p:cBhvr>
                                        <p:cTn id="34" dur="500"/>
                                        <p:tgtEl>
                                          <p:spTgt spid="44"/>
                                        </p:tgtEl>
                                      </p:cBhvr>
                                    </p:animEffect>
                                  </p:childTnLst>
                                </p:cTn>
                              </p:par>
                              <p:par>
                                <p:cTn id="35" presetID="6" presetClass="emph" presetSubtype="0" accel="52000" decel="48000" autoRev="1" fill="hold" nodeType="withEffect">
                                  <p:stCondLst>
                                    <p:cond delay="1000"/>
                                  </p:stCondLst>
                                  <p:childTnLst>
                                    <p:animScale>
                                      <p:cBhvr>
                                        <p:cTn id="36" dur="350" fill="hold"/>
                                        <p:tgtEl>
                                          <p:spTgt spid="44"/>
                                        </p:tgtEl>
                                      </p:cBhvr>
                                      <p:by x="110000" y="110000"/>
                                    </p:animScale>
                                  </p:childTnLst>
                                </p:cTn>
                              </p:par>
                              <p:par>
                                <p:cTn id="37" presetID="18" presetClass="entr" presetSubtype="3" fill="hold" nodeType="withEffect">
                                  <p:stCondLst>
                                    <p:cond delay="1250"/>
                                  </p:stCondLst>
                                  <p:childTnLst>
                                    <p:set>
                                      <p:cBhvr>
                                        <p:cTn id="38" dur="1" fill="hold">
                                          <p:stCondLst>
                                            <p:cond delay="0"/>
                                          </p:stCondLst>
                                        </p:cTn>
                                        <p:tgtEl>
                                          <p:spTgt spid="57"/>
                                        </p:tgtEl>
                                        <p:attrNameLst>
                                          <p:attrName>style.visibility</p:attrName>
                                        </p:attrNameLst>
                                      </p:cBhvr>
                                      <p:to>
                                        <p:strVal val="visible"/>
                                      </p:to>
                                    </p:set>
                                    <p:animEffect transition="in" filter="strips(upRight)">
                                      <p:cBhvr>
                                        <p:cTn id="39" dur="500"/>
                                        <p:tgtEl>
                                          <p:spTgt spid="57"/>
                                        </p:tgtEl>
                                      </p:cBhvr>
                                    </p:animEffect>
                                  </p:childTnLst>
                                </p:cTn>
                              </p:par>
                              <p:par>
                                <p:cTn id="40" presetID="6" presetClass="emph" presetSubtype="0" accel="52000" decel="48000" autoRev="1" fill="hold" nodeType="withEffect">
                                  <p:stCondLst>
                                    <p:cond delay="1250"/>
                                  </p:stCondLst>
                                  <p:childTnLst>
                                    <p:animScale>
                                      <p:cBhvr>
                                        <p:cTn id="41" dur="350" fill="hold"/>
                                        <p:tgtEl>
                                          <p:spTgt spid="57"/>
                                        </p:tgtEl>
                                      </p:cBhvr>
                                      <p:by x="110000" y="110000"/>
                                    </p:animScale>
                                  </p:childTnLst>
                                </p:cTn>
                              </p:par>
                              <p:par>
                                <p:cTn id="42" presetID="18" presetClass="entr" presetSubtype="12" fill="hold" nodeType="withEffect">
                                  <p:stCondLst>
                                    <p:cond delay="500"/>
                                  </p:stCondLst>
                                  <p:childTnLst>
                                    <p:set>
                                      <p:cBhvr>
                                        <p:cTn id="43" dur="1" fill="hold">
                                          <p:stCondLst>
                                            <p:cond delay="0"/>
                                          </p:stCondLst>
                                        </p:cTn>
                                        <p:tgtEl>
                                          <p:spTgt spid="26"/>
                                        </p:tgtEl>
                                        <p:attrNameLst>
                                          <p:attrName>style.visibility</p:attrName>
                                        </p:attrNameLst>
                                      </p:cBhvr>
                                      <p:to>
                                        <p:strVal val="visible"/>
                                      </p:to>
                                    </p:set>
                                    <p:animEffect transition="in" filter="strips(downLeft)">
                                      <p:cBhvr>
                                        <p:cTn id="44" dur="500"/>
                                        <p:tgtEl>
                                          <p:spTgt spid="26"/>
                                        </p:tgtEl>
                                      </p:cBhvr>
                                    </p:animEffect>
                                  </p:childTnLst>
                                </p:cTn>
                              </p:par>
                              <p:par>
                                <p:cTn id="45" presetID="6" presetClass="emph" presetSubtype="0" accel="52000" decel="48000" autoRev="1" fill="hold" nodeType="withEffect">
                                  <p:stCondLst>
                                    <p:cond delay="500"/>
                                  </p:stCondLst>
                                  <p:childTnLst>
                                    <p:animScale>
                                      <p:cBhvr>
                                        <p:cTn id="46" dur="500" fill="hold"/>
                                        <p:tgtEl>
                                          <p:spTgt spid="26"/>
                                        </p:tgtEl>
                                      </p:cBhvr>
                                      <p:by x="120000" y="120000"/>
                                    </p:animScale>
                                  </p:childTnLst>
                                </p:cTn>
                              </p:par>
                              <p:par>
                                <p:cTn id="47" presetID="18" presetClass="entr" presetSubtype="12" fill="hold" nodeType="withEffect">
                                  <p:stCondLst>
                                    <p:cond delay="750"/>
                                  </p:stCondLst>
                                  <p:childTnLst>
                                    <p:set>
                                      <p:cBhvr>
                                        <p:cTn id="48" dur="1" fill="hold">
                                          <p:stCondLst>
                                            <p:cond delay="0"/>
                                          </p:stCondLst>
                                        </p:cTn>
                                        <p:tgtEl>
                                          <p:spTgt spid="41"/>
                                        </p:tgtEl>
                                        <p:attrNameLst>
                                          <p:attrName>style.visibility</p:attrName>
                                        </p:attrNameLst>
                                      </p:cBhvr>
                                      <p:to>
                                        <p:strVal val="visible"/>
                                      </p:to>
                                    </p:set>
                                    <p:animEffect transition="in" filter="strips(downLeft)">
                                      <p:cBhvr>
                                        <p:cTn id="49" dur="500"/>
                                        <p:tgtEl>
                                          <p:spTgt spid="41"/>
                                        </p:tgtEl>
                                      </p:cBhvr>
                                    </p:animEffect>
                                  </p:childTnLst>
                                </p:cTn>
                              </p:par>
                              <p:par>
                                <p:cTn id="50" presetID="6" presetClass="emph" presetSubtype="0" accel="52000" decel="48000" autoRev="1" fill="hold" nodeType="withEffect">
                                  <p:stCondLst>
                                    <p:cond delay="750"/>
                                  </p:stCondLst>
                                  <p:childTnLst>
                                    <p:animScale>
                                      <p:cBhvr>
                                        <p:cTn id="51" dur="500" fill="hold"/>
                                        <p:tgtEl>
                                          <p:spTgt spid="41"/>
                                        </p:tgtEl>
                                      </p:cBhvr>
                                      <p:by x="120000" y="120000"/>
                                    </p:animScale>
                                  </p:childTnLst>
                                </p:cTn>
                              </p:par>
                              <p:par>
                                <p:cTn id="52" presetID="18" presetClass="entr" presetSubtype="12" fill="hold" nodeType="withEffect">
                                  <p:stCondLst>
                                    <p:cond delay="1000"/>
                                  </p:stCondLst>
                                  <p:childTnLst>
                                    <p:set>
                                      <p:cBhvr>
                                        <p:cTn id="53" dur="1" fill="hold">
                                          <p:stCondLst>
                                            <p:cond delay="0"/>
                                          </p:stCondLst>
                                        </p:cTn>
                                        <p:tgtEl>
                                          <p:spTgt spid="54"/>
                                        </p:tgtEl>
                                        <p:attrNameLst>
                                          <p:attrName>style.visibility</p:attrName>
                                        </p:attrNameLst>
                                      </p:cBhvr>
                                      <p:to>
                                        <p:strVal val="visible"/>
                                      </p:to>
                                    </p:set>
                                    <p:animEffect transition="in" filter="strips(downLeft)">
                                      <p:cBhvr>
                                        <p:cTn id="54" dur="500"/>
                                        <p:tgtEl>
                                          <p:spTgt spid="54"/>
                                        </p:tgtEl>
                                      </p:cBhvr>
                                    </p:animEffect>
                                  </p:childTnLst>
                                </p:cTn>
                              </p:par>
                              <p:par>
                                <p:cTn id="55" presetID="6" presetClass="emph" presetSubtype="0" accel="52000" decel="48000" autoRev="1" fill="hold" nodeType="withEffect">
                                  <p:stCondLst>
                                    <p:cond delay="1000"/>
                                  </p:stCondLst>
                                  <p:childTnLst>
                                    <p:animScale>
                                      <p:cBhvr>
                                        <p:cTn id="56" dur="500" fill="hold"/>
                                        <p:tgtEl>
                                          <p:spTgt spid="54"/>
                                        </p:tgtEl>
                                      </p:cBhvr>
                                      <p:by x="120000" y="120000"/>
                                    </p:animScale>
                                  </p:childTnLst>
                                </p:cTn>
                              </p:par>
                              <p:par>
                                <p:cTn id="57" presetID="18" presetClass="entr" presetSubtype="12" fill="hold" nodeType="withEffect">
                                  <p:stCondLst>
                                    <p:cond delay="1250"/>
                                  </p:stCondLst>
                                  <p:childTnLst>
                                    <p:set>
                                      <p:cBhvr>
                                        <p:cTn id="58" dur="1" fill="hold">
                                          <p:stCondLst>
                                            <p:cond delay="0"/>
                                          </p:stCondLst>
                                        </p:cTn>
                                        <p:tgtEl>
                                          <p:spTgt spid="76"/>
                                        </p:tgtEl>
                                        <p:attrNameLst>
                                          <p:attrName>style.visibility</p:attrName>
                                        </p:attrNameLst>
                                      </p:cBhvr>
                                      <p:to>
                                        <p:strVal val="visible"/>
                                      </p:to>
                                    </p:set>
                                    <p:animEffect transition="in" filter="strips(downLeft)">
                                      <p:cBhvr>
                                        <p:cTn id="59" dur="500"/>
                                        <p:tgtEl>
                                          <p:spTgt spid="76"/>
                                        </p:tgtEl>
                                      </p:cBhvr>
                                    </p:animEffect>
                                  </p:childTnLst>
                                </p:cTn>
                              </p:par>
                              <p:par>
                                <p:cTn id="60" presetID="6" presetClass="emph" presetSubtype="0" accel="52000" decel="48000" autoRev="1" fill="hold" nodeType="withEffect">
                                  <p:stCondLst>
                                    <p:cond delay="1250"/>
                                  </p:stCondLst>
                                  <p:childTnLst>
                                    <p:animScale>
                                      <p:cBhvr>
                                        <p:cTn id="61" dur="500" fill="hold"/>
                                        <p:tgtEl>
                                          <p:spTgt spid="76"/>
                                        </p:tgtEl>
                                      </p:cBhvr>
                                      <p:by x="120000" y="12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14" grpId="1"/>
    </p:bldLst>
  </p:timing>
</p:sld>
</file>

<file path=ppt/slides/slide6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3">
            <a:extLst>
              <a:ext uri="{FF2B5EF4-FFF2-40B4-BE49-F238E27FC236}">
                <a16:creationId xmlns:a16="http://schemas.microsoft.com/office/drawing/2014/main" id="{08394736-1A55-46B4-8DA1-E058FF812367}"/>
              </a:ext>
            </a:extLst>
          </p:cNvPr>
          <p:cNvSpPr txBox="1"/>
          <p:nvPr/>
        </p:nvSpPr>
        <p:spPr>
          <a:xfrm>
            <a:off x="904145" y="484872"/>
            <a:ext cx="7069542" cy="76944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4400" b="1" i="0" u="none" strike="noStrike" kern="1200" cap="none" spc="0" normalizeH="0" baseline="0" noProof="0" dirty="0">
                <a:ln>
                  <a:noFill/>
                </a:ln>
                <a:solidFill>
                  <a:srgbClr val="000000">
                    <a:lumMod val="75000"/>
                    <a:lumOff val="25000"/>
                  </a:srgbClr>
                </a:solidFill>
                <a:effectLst/>
                <a:uLnTx/>
                <a:uFillTx/>
                <a:latin typeface="Segoe UI" panose="020B0502040204020203" pitchFamily="34" charset="0"/>
                <a:ea typeface="Tahoma" panose="020B0604030504040204" pitchFamily="34" charset="0"/>
                <a:cs typeface="Segoe UI" panose="020B0502040204020203" pitchFamily="34" charset="0"/>
              </a:rPr>
              <a:t>5 Step Plant Diagram</a:t>
            </a:r>
          </a:p>
        </p:txBody>
      </p:sp>
      <p:sp>
        <p:nvSpPr>
          <p:cNvPr id="3" name="TextBox 4">
            <a:extLst>
              <a:ext uri="{FF2B5EF4-FFF2-40B4-BE49-F238E27FC236}">
                <a16:creationId xmlns:a16="http://schemas.microsoft.com/office/drawing/2014/main" id="{EDFE7026-5A36-4DE4-AC2C-13CE2617CD82}"/>
              </a:ext>
            </a:extLst>
          </p:cNvPr>
          <p:cNvSpPr txBox="1"/>
          <p:nvPr/>
        </p:nvSpPr>
        <p:spPr>
          <a:xfrm>
            <a:off x="935206" y="1361732"/>
            <a:ext cx="2784696" cy="1572418"/>
          </a:xfrm>
          <a:prstGeom prst="rect">
            <a:avLst/>
          </a:prstGeom>
          <a:noFill/>
        </p:spPr>
        <p:txBody>
          <a:bodyPr wrap="square" rtlCol="0">
            <a:spAutoFit/>
          </a:bodyPr>
          <a:lstStyle/>
          <a:p>
            <a:pPr marL="0" marR="0" lvl="0" indent="0" algn="l" defTabSz="914400" rtl="0" eaLnBrk="1" fontAlgn="auto" latinLnBrk="0" hangingPunct="1">
              <a:lnSpc>
                <a:spcPct val="14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lumMod val="65000"/>
                    <a:lumOff val="35000"/>
                  </a:srgbClr>
                </a:solidFill>
                <a:effectLst/>
                <a:uLnTx/>
                <a:uFillTx/>
                <a:latin typeface="等线 Light" panose="020F0302020204030204"/>
                <a:ea typeface="+mn-ea"/>
                <a:cs typeface="+mn-cs"/>
              </a:rPr>
              <a:t>Lorem Ipsum is simply dummy text of the printing and typesetting industry. Lorem Ipsum has been the industry's standard dummy text ever since the 1500s. </a:t>
            </a:r>
          </a:p>
        </p:txBody>
      </p:sp>
      <p:grpSp>
        <p:nvGrpSpPr>
          <p:cNvPr id="4" name="Group 5">
            <a:extLst>
              <a:ext uri="{FF2B5EF4-FFF2-40B4-BE49-F238E27FC236}">
                <a16:creationId xmlns:a16="http://schemas.microsoft.com/office/drawing/2014/main" id="{381D22E8-BA84-418C-BFD3-2975BC641B0E}"/>
              </a:ext>
            </a:extLst>
          </p:cNvPr>
          <p:cNvGrpSpPr/>
          <p:nvPr/>
        </p:nvGrpSpPr>
        <p:grpSpPr>
          <a:xfrm>
            <a:off x="3719902" y="923910"/>
            <a:ext cx="7536892" cy="5449218"/>
            <a:chOff x="3873653" y="442991"/>
            <a:chExt cx="7536892" cy="5449218"/>
          </a:xfrm>
        </p:grpSpPr>
        <p:grpSp>
          <p:nvGrpSpPr>
            <p:cNvPr id="5" name="Graphic 7">
              <a:extLst>
                <a:ext uri="{FF2B5EF4-FFF2-40B4-BE49-F238E27FC236}">
                  <a16:creationId xmlns:a16="http://schemas.microsoft.com/office/drawing/2014/main" id="{63BF13A5-BFEC-4C66-9759-63A5F2FAC13D}"/>
                </a:ext>
              </a:extLst>
            </p:cNvPr>
            <p:cNvGrpSpPr/>
            <p:nvPr/>
          </p:nvGrpSpPr>
          <p:grpSpPr>
            <a:xfrm>
              <a:off x="4422612" y="1498600"/>
              <a:ext cx="6355032" cy="2659730"/>
              <a:chOff x="4354544" y="2243137"/>
              <a:chExt cx="3437000" cy="1438465"/>
            </a:xfrm>
          </p:grpSpPr>
          <p:sp>
            <p:nvSpPr>
              <p:cNvPr id="164" name="Freeform: Shape 165">
                <a:extLst>
                  <a:ext uri="{FF2B5EF4-FFF2-40B4-BE49-F238E27FC236}">
                    <a16:creationId xmlns:a16="http://schemas.microsoft.com/office/drawing/2014/main" id="{E011F37C-6768-487E-BA40-2960D7E4234A}"/>
                  </a:ext>
                </a:extLst>
              </p:cNvPr>
              <p:cNvSpPr/>
              <p:nvPr/>
            </p:nvSpPr>
            <p:spPr>
              <a:xfrm>
                <a:off x="4405312" y="2291714"/>
                <a:ext cx="3336512" cy="1341881"/>
              </a:xfrm>
              <a:custGeom>
                <a:avLst/>
                <a:gdLst>
                  <a:gd name="connsiteX0" fmla="*/ 3524 w 3336512"/>
                  <a:gd name="connsiteY0" fmla="*/ 1341882 h 1341881"/>
                  <a:gd name="connsiteX1" fmla="*/ 0 w 3336512"/>
                  <a:gd name="connsiteY1" fmla="*/ 1333024 h 1341881"/>
                  <a:gd name="connsiteX2" fmla="*/ 834104 w 3336512"/>
                  <a:gd name="connsiteY2" fmla="*/ 995839 h 1341881"/>
                  <a:gd name="connsiteX3" fmla="*/ 834771 w 3336512"/>
                  <a:gd name="connsiteY3" fmla="*/ 995744 h 1341881"/>
                  <a:gd name="connsiteX4" fmla="*/ 1658207 w 3336512"/>
                  <a:gd name="connsiteY4" fmla="*/ 901256 h 1341881"/>
                  <a:gd name="connsiteX5" fmla="*/ 2498027 w 3336512"/>
                  <a:gd name="connsiteY5" fmla="*/ 597980 h 1341881"/>
                  <a:gd name="connsiteX6" fmla="*/ 3330988 w 3336512"/>
                  <a:gd name="connsiteY6" fmla="*/ 0 h 1341881"/>
                  <a:gd name="connsiteX7" fmla="*/ 3336512 w 3336512"/>
                  <a:gd name="connsiteY7" fmla="*/ 7715 h 1341881"/>
                  <a:gd name="connsiteX8" fmla="*/ 2502503 w 3336512"/>
                  <a:gd name="connsiteY8" fmla="*/ 606457 h 1341881"/>
                  <a:gd name="connsiteX9" fmla="*/ 2501837 w 3336512"/>
                  <a:gd name="connsiteY9" fmla="*/ 606743 h 1341881"/>
                  <a:gd name="connsiteX10" fmla="*/ 1660398 w 3336512"/>
                  <a:gd name="connsiteY10" fmla="*/ 910590 h 1341881"/>
                  <a:gd name="connsiteX11" fmla="*/ 1659827 w 3336512"/>
                  <a:gd name="connsiteY11" fmla="*/ 910685 h 1341881"/>
                  <a:gd name="connsiteX12" fmla="*/ 836486 w 3336512"/>
                  <a:gd name="connsiteY12" fmla="*/ 1005173 h 13418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336512" h="1341881">
                    <a:moveTo>
                      <a:pt x="3524" y="1341882"/>
                    </a:moveTo>
                    <a:lnTo>
                      <a:pt x="0" y="1333024"/>
                    </a:lnTo>
                    <a:lnTo>
                      <a:pt x="834104" y="995839"/>
                    </a:lnTo>
                    <a:lnTo>
                      <a:pt x="834771" y="995744"/>
                    </a:lnTo>
                    <a:lnTo>
                      <a:pt x="1658207" y="901256"/>
                    </a:lnTo>
                    <a:lnTo>
                      <a:pt x="2498027" y="597980"/>
                    </a:lnTo>
                    <a:lnTo>
                      <a:pt x="3330988" y="0"/>
                    </a:lnTo>
                    <a:lnTo>
                      <a:pt x="3336512" y="7715"/>
                    </a:lnTo>
                    <a:lnTo>
                      <a:pt x="2502503" y="606457"/>
                    </a:lnTo>
                    <a:lnTo>
                      <a:pt x="2501837" y="606743"/>
                    </a:lnTo>
                    <a:lnTo>
                      <a:pt x="1660398" y="910590"/>
                    </a:lnTo>
                    <a:lnTo>
                      <a:pt x="1659827" y="910685"/>
                    </a:lnTo>
                    <a:lnTo>
                      <a:pt x="836486" y="1005173"/>
                    </a:lnTo>
                    <a:close/>
                  </a:path>
                </a:pathLst>
              </a:custGeom>
              <a:solidFill>
                <a:srgbClr val="D1D3D4"/>
              </a:solidFill>
              <a:ln w="9525" cap="flat">
                <a:solidFill>
                  <a:schemeClr val="bg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nvGrpSpPr>
              <p:cNvPr id="165" name="Graphic 7">
                <a:extLst>
                  <a:ext uri="{FF2B5EF4-FFF2-40B4-BE49-F238E27FC236}">
                    <a16:creationId xmlns:a16="http://schemas.microsoft.com/office/drawing/2014/main" id="{820457C8-C20B-4BFB-9335-51078202CDD7}"/>
                  </a:ext>
                </a:extLst>
              </p:cNvPr>
              <p:cNvGrpSpPr/>
              <p:nvPr/>
            </p:nvGrpSpPr>
            <p:grpSpPr>
              <a:xfrm>
                <a:off x="4354544" y="3576637"/>
                <a:ext cx="104965" cy="104965"/>
                <a:chOff x="4354544" y="3576637"/>
                <a:chExt cx="104965" cy="104965"/>
              </a:xfrm>
            </p:grpSpPr>
            <p:sp>
              <p:nvSpPr>
                <p:cNvPr id="178" name="Freeform: Shape 179">
                  <a:extLst>
                    <a:ext uri="{FF2B5EF4-FFF2-40B4-BE49-F238E27FC236}">
                      <a16:creationId xmlns:a16="http://schemas.microsoft.com/office/drawing/2014/main" id="{4EAC5AFB-2330-410D-B918-CA8A8CE6FDD7}"/>
                    </a:ext>
                  </a:extLst>
                </p:cNvPr>
                <p:cNvSpPr/>
                <p:nvPr/>
              </p:nvSpPr>
              <p:spPr>
                <a:xfrm>
                  <a:off x="4364069" y="3586162"/>
                  <a:ext cx="85915" cy="85915"/>
                </a:xfrm>
                <a:custGeom>
                  <a:avLst/>
                  <a:gdLst>
                    <a:gd name="connsiteX0" fmla="*/ 85916 w 85915"/>
                    <a:gd name="connsiteY0" fmla="*/ 42958 h 85915"/>
                    <a:gd name="connsiteX1" fmla="*/ 42958 w 85915"/>
                    <a:gd name="connsiteY1" fmla="*/ 85916 h 85915"/>
                    <a:gd name="connsiteX2" fmla="*/ 0 w 85915"/>
                    <a:gd name="connsiteY2" fmla="*/ 42958 h 85915"/>
                    <a:gd name="connsiteX3" fmla="*/ 42958 w 85915"/>
                    <a:gd name="connsiteY3" fmla="*/ 0 h 85915"/>
                    <a:gd name="connsiteX4" fmla="*/ 85916 w 85915"/>
                    <a:gd name="connsiteY4" fmla="*/ 42958 h 859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915" h="85915">
                      <a:moveTo>
                        <a:pt x="85916" y="42958"/>
                      </a:moveTo>
                      <a:cubicBezTo>
                        <a:pt x="85916" y="66675"/>
                        <a:pt x="66675" y="85916"/>
                        <a:pt x="42958" y="85916"/>
                      </a:cubicBezTo>
                      <a:cubicBezTo>
                        <a:pt x="19241" y="85916"/>
                        <a:pt x="0" y="66675"/>
                        <a:pt x="0" y="42958"/>
                      </a:cubicBezTo>
                      <a:cubicBezTo>
                        <a:pt x="0" y="19241"/>
                        <a:pt x="19241" y="0"/>
                        <a:pt x="42958" y="0"/>
                      </a:cubicBezTo>
                      <a:cubicBezTo>
                        <a:pt x="66675" y="95"/>
                        <a:pt x="85916" y="19241"/>
                        <a:pt x="85916" y="42958"/>
                      </a:cubicBezTo>
                      <a:close/>
                    </a:path>
                  </a:pathLst>
                </a:custGeom>
                <a:solidFill>
                  <a:schemeClr val="accent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179" name="Freeform: Shape 180">
                  <a:extLst>
                    <a:ext uri="{FF2B5EF4-FFF2-40B4-BE49-F238E27FC236}">
                      <a16:creationId xmlns:a16="http://schemas.microsoft.com/office/drawing/2014/main" id="{0DB7504A-1669-4DFD-8A2A-03A8B366B320}"/>
                    </a:ext>
                  </a:extLst>
                </p:cNvPr>
                <p:cNvSpPr/>
                <p:nvPr/>
              </p:nvSpPr>
              <p:spPr>
                <a:xfrm>
                  <a:off x="4354544" y="3576637"/>
                  <a:ext cx="104965" cy="104965"/>
                </a:xfrm>
                <a:custGeom>
                  <a:avLst/>
                  <a:gdLst>
                    <a:gd name="connsiteX0" fmla="*/ 52483 w 104965"/>
                    <a:gd name="connsiteY0" fmla="*/ 104966 h 104965"/>
                    <a:gd name="connsiteX1" fmla="*/ 0 w 104965"/>
                    <a:gd name="connsiteY1" fmla="*/ 52483 h 104965"/>
                    <a:gd name="connsiteX2" fmla="*/ 52483 w 104965"/>
                    <a:gd name="connsiteY2" fmla="*/ 0 h 104965"/>
                    <a:gd name="connsiteX3" fmla="*/ 104965 w 104965"/>
                    <a:gd name="connsiteY3" fmla="*/ 52483 h 104965"/>
                    <a:gd name="connsiteX4" fmla="*/ 52483 w 104965"/>
                    <a:gd name="connsiteY4" fmla="*/ 104966 h 104965"/>
                    <a:gd name="connsiteX5" fmla="*/ 52483 w 104965"/>
                    <a:gd name="connsiteY5" fmla="*/ 19145 h 104965"/>
                    <a:gd name="connsiteX6" fmla="*/ 19050 w 104965"/>
                    <a:gd name="connsiteY6" fmla="*/ 52578 h 104965"/>
                    <a:gd name="connsiteX7" fmla="*/ 52483 w 104965"/>
                    <a:gd name="connsiteY7" fmla="*/ 86011 h 104965"/>
                    <a:gd name="connsiteX8" fmla="*/ 85915 w 104965"/>
                    <a:gd name="connsiteY8" fmla="*/ 52578 h 104965"/>
                    <a:gd name="connsiteX9" fmla="*/ 52483 w 104965"/>
                    <a:gd name="connsiteY9" fmla="*/ 19145 h 104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4965" h="104965">
                      <a:moveTo>
                        <a:pt x="52483" y="104966"/>
                      </a:moveTo>
                      <a:cubicBezTo>
                        <a:pt x="23527" y="104966"/>
                        <a:pt x="0" y="81439"/>
                        <a:pt x="0" y="52483"/>
                      </a:cubicBezTo>
                      <a:cubicBezTo>
                        <a:pt x="0" y="23527"/>
                        <a:pt x="23527" y="0"/>
                        <a:pt x="52483" y="0"/>
                      </a:cubicBezTo>
                      <a:cubicBezTo>
                        <a:pt x="81439" y="0"/>
                        <a:pt x="104965" y="23527"/>
                        <a:pt x="104965" y="52483"/>
                      </a:cubicBezTo>
                      <a:cubicBezTo>
                        <a:pt x="104965" y="81439"/>
                        <a:pt x="81439" y="104966"/>
                        <a:pt x="52483" y="104966"/>
                      </a:cubicBezTo>
                      <a:close/>
                      <a:moveTo>
                        <a:pt x="52483" y="19145"/>
                      </a:moveTo>
                      <a:cubicBezTo>
                        <a:pt x="34100" y="19145"/>
                        <a:pt x="19050" y="34100"/>
                        <a:pt x="19050" y="52578"/>
                      </a:cubicBezTo>
                      <a:cubicBezTo>
                        <a:pt x="19050" y="70961"/>
                        <a:pt x="34004" y="86011"/>
                        <a:pt x="52483" y="86011"/>
                      </a:cubicBezTo>
                      <a:cubicBezTo>
                        <a:pt x="70866" y="86011"/>
                        <a:pt x="85915" y="71057"/>
                        <a:pt x="85915" y="52578"/>
                      </a:cubicBezTo>
                      <a:cubicBezTo>
                        <a:pt x="85915" y="34100"/>
                        <a:pt x="70961" y="19145"/>
                        <a:pt x="52483" y="19145"/>
                      </a:cubicBezTo>
                      <a:close/>
                    </a:path>
                  </a:pathLst>
                </a:custGeom>
                <a:solidFill>
                  <a:srgbClr val="D1D3D4"/>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grpSp>
            <p:nvGrpSpPr>
              <p:cNvPr id="166" name="Graphic 7">
                <a:extLst>
                  <a:ext uri="{FF2B5EF4-FFF2-40B4-BE49-F238E27FC236}">
                    <a16:creationId xmlns:a16="http://schemas.microsoft.com/office/drawing/2014/main" id="{CC890FE4-EC22-4639-A954-673FD523E20A}"/>
                  </a:ext>
                </a:extLst>
              </p:cNvPr>
              <p:cNvGrpSpPr/>
              <p:nvPr/>
            </p:nvGrpSpPr>
            <p:grpSpPr>
              <a:xfrm>
                <a:off x="5188077" y="3239737"/>
                <a:ext cx="104965" cy="104965"/>
                <a:chOff x="5188077" y="3239737"/>
                <a:chExt cx="104965" cy="104965"/>
              </a:xfrm>
            </p:grpSpPr>
            <p:sp>
              <p:nvSpPr>
                <p:cNvPr id="176" name="Freeform: Shape 177">
                  <a:extLst>
                    <a:ext uri="{FF2B5EF4-FFF2-40B4-BE49-F238E27FC236}">
                      <a16:creationId xmlns:a16="http://schemas.microsoft.com/office/drawing/2014/main" id="{31B6C5A0-AB4C-4894-807B-92B56F004A62}"/>
                    </a:ext>
                  </a:extLst>
                </p:cNvPr>
                <p:cNvSpPr/>
                <p:nvPr/>
              </p:nvSpPr>
              <p:spPr>
                <a:xfrm>
                  <a:off x="5197602" y="3249262"/>
                  <a:ext cx="85915" cy="85915"/>
                </a:xfrm>
                <a:custGeom>
                  <a:avLst/>
                  <a:gdLst>
                    <a:gd name="connsiteX0" fmla="*/ 85915 w 85915"/>
                    <a:gd name="connsiteY0" fmla="*/ 42958 h 85915"/>
                    <a:gd name="connsiteX1" fmla="*/ 42958 w 85915"/>
                    <a:gd name="connsiteY1" fmla="*/ 85916 h 85915"/>
                    <a:gd name="connsiteX2" fmla="*/ 0 w 85915"/>
                    <a:gd name="connsiteY2" fmla="*/ 42958 h 85915"/>
                    <a:gd name="connsiteX3" fmla="*/ 42958 w 85915"/>
                    <a:gd name="connsiteY3" fmla="*/ 0 h 85915"/>
                    <a:gd name="connsiteX4" fmla="*/ 85915 w 85915"/>
                    <a:gd name="connsiteY4" fmla="*/ 42958 h 859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915" h="85915">
                      <a:moveTo>
                        <a:pt x="85915" y="42958"/>
                      </a:moveTo>
                      <a:cubicBezTo>
                        <a:pt x="85915" y="66683"/>
                        <a:pt x="66683" y="85916"/>
                        <a:pt x="42958" y="85916"/>
                      </a:cubicBezTo>
                      <a:cubicBezTo>
                        <a:pt x="19233" y="85916"/>
                        <a:pt x="0" y="66683"/>
                        <a:pt x="0" y="42958"/>
                      </a:cubicBezTo>
                      <a:cubicBezTo>
                        <a:pt x="0" y="19233"/>
                        <a:pt x="19233" y="0"/>
                        <a:pt x="42958" y="0"/>
                      </a:cubicBezTo>
                      <a:cubicBezTo>
                        <a:pt x="66683" y="0"/>
                        <a:pt x="85915" y="19233"/>
                        <a:pt x="85915" y="42958"/>
                      </a:cubicBezTo>
                      <a:close/>
                    </a:path>
                  </a:pathLst>
                </a:custGeom>
                <a:solidFill>
                  <a:schemeClr val="accent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77" name="Freeform: Shape 178">
                  <a:extLst>
                    <a:ext uri="{FF2B5EF4-FFF2-40B4-BE49-F238E27FC236}">
                      <a16:creationId xmlns:a16="http://schemas.microsoft.com/office/drawing/2014/main" id="{E0C6D812-9E57-41EF-A326-3356947E69F0}"/>
                    </a:ext>
                  </a:extLst>
                </p:cNvPr>
                <p:cNvSpPr/>
                <p:nvPr/>
              </p:nvSpPr>
              <p:spPr>
                <a:xfrm>
                  <a:off x="5188077" y="3239737"/>
                  <a:ext cx="104965" cy="104965"/>
                </a:xfrm>
                <a:custGeom>
                  <a:avLst/>
                  <a:gdLst>
                    <a:gd name="connsiteX0" fmla="*/ 52483 w 104965"/>
                    <a:gd name="connsiteY0" fmla="*/ 104966 h 104965"/>
                    <a:gd name="connsiteX1" fmla="*/ 0 w 104965"/>
                    <a:gd name="connsiteY1" fmla="*/ 52483 h 104965"/>
                    <a:gd name="connsiteX2" fmla="*/ 52483 w 104965"/>
                    <a:gd name="connsiteY2" fmla="*/ 0 h 104965"/>
                    <a:gd name="connsiteX3" fmla="*/ 104965 w 104965"/>
                    <a:gd name="connsiteY3" fmla="*/ 52483 h 104965"/>
                    <a:gd name="connsiteX4" fmla="*/ 52483 w 104965"/>
                    <a:gd name="connsiteY4" fmla="*/ 104966 h 104965"/>
                    <a:gd name="connsiteX5" fmla="*/ 52483 w 104965"/>
                    <a:gd name="connsiteY5" fmla="*/ 19050 h 104965"/>
                    <a:gd name="connsiteX6" fmla="*/ 19050 w 104965"/>
                    <a:gd name="connsiteY6" fmla="*/ 52483 h 104965"/>
                    <a:gd name="connsiteX7" fmla="*/ 52483 w 104965"/>
                    <a:gd name="connsiteY7" fmla="*/ 85916 h 104965"/>
                    <a:gd name="connsiteX8" fmla="*/ 85915 w 104965"/>
                    <a:gd name="connsiteY8" fmla="*/ 52483 h 104965"/>
                    <a:gd name="connsiteX9" fmla="*/ 52483 w 104965"/>
                    <a:gd name="connsiteY9" fmla="*/ 19050 h 104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4965" h="104965">
                      <a:moveTo>
                        <a:pt x="52483" y="104966"/>
                      </a:moveTo>
                      <a:cubicBezTo>
                        <a:pt x="23527" y="104966"/>
                        <a:pt x="0" y="81439"/>
                        <a:pt x="0" y="52483"/>
                      </a:cubicBezTo>
                      <a:cubicBezTo>
                        <a:pt x="0" y="23527"/>
                        <a:pt x="23527" y="0"/>
                        <a:pt x="52483" y="0"/>
                      </a:cubicBezTo>
                      <a:cubicBezTo>
                        <a:pt x="81439" y="0"/>
                        <a:pt x="104965" y="23527"/>
                        <a:pt x="104965" y="52483"/>
                      </a:cubicBezTo>
                      <a:cubicBezTo>
                        <a:pt x="104965" y="81439"/>
                        <a:pt x="81439" y="104966"/>
                        <a:pt x="52483" y="104966"/>
                      </a:cubicBezTo>
                      <a:close/>
                      <a:moveTo>
                        <a:pt x="52483" y="19050"/>
                      </a:moveTo>
                      <a:cubicBezTo>
                        <a:pt x="34100" y="19050"/>
                        <a:pt x="19050" y="34004"/>
                        <a:pt x="19050" y="52483"/>
                      </a:cubicBezTo>
                      <a:cubicBezTo>
                        <a:pt x="19050" y="70866"/>
                        <a:pt x="34004" y="85916"/>
                        <a:pt x="52483" y="85916"/>
                      </a:cubicBezTo>
                      <a:cubicBezTo>
                        <a:pt x="70961" y="85916"/>
                        <a:pt x="85915" y="70961"/>
                        <a:pt x="85915" y="52483"/>
                      </a:cubicBezTo>
                      <a:cubicBezTo>
                        <a:pt x="85915" y="34100"/>
                        <a:pt x="70961" y="19050"/>
                        <a:pt x="52483" y="19050"/>
                      </a:cubicBezTo>
                      <a:close/>
                    </a:path>
                  </a:pathLst>
                </a:custGeom>
                <a:solidFill>
                  <a:srgbClr val="D1D3D4"/>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grpSp>
            <p:nvGrpSpPr>
              <p:cNvPr id="167" name="Graphic 7">
                <a:extLst>
                  <a:ext uri="{FF2B5EF4-FFF2-40B4-BE49-F238E27FC236}">
                    <a16:creationId xmlns:a16="http://schemas.microsoft.com/office/drawing/2014/main" id="{F47AE200-BB43-4523-BDE6-D3DCFE17C70D}"/>
                  </a:ext>
                </a:extLst>
              </p:cNvPr>
              <p:cNvGrpSpPr/>
              <p:nvPr/>
            </p:nvGrpSpPr>
            <p:grpSpPr>
              <a:xfrm>
                <a:off x="6012084" y="3145154"/>
                <a:ext cx="104965" cy="104965"/>
                <a:chOff x="6012084" y="3145154"/>
                <a:chExt cx="104965" cy="104965"/>
              </a:xfrm>
            </p:grpSpPr>
            <p:sp>
              <p:nvSpPr>
                <p:cNvPr id="174" name="Freeform: Shape 175">
                  <a:extLst>
                    <a:ext uri="{FF2B5EF4-FFF2-40B4-BE49-F238E27FC236}">
                      <a16:creationId xmlns:a16="http://schemas.microsoft.com/office/drawing/2014/main" id="{ADECA8BF-94EC-4CB9-99B0-348E63003D4A}"/>
                    </a:ext>
                  </a:extLst>
                </p:cNvPr>
                <p:cNvSpPr/>
                <p:nvPr/>
              </p:nvSpPr>
              <p:spPr>
                <a:xfrm>
                  <a:off x="6021609" y="3154679"/>
                  <a:ext cx="85915" cy="85915"/>
                </a:xfrm>
                <a:custGeom>
                  <a:avLst/>
                  <a:gdLst>
                    <a:gd name="connsiteX0" fmla="*/ 85916 w 85915"/>
                    <a:gd name="connsiteY0" fmla="*/ 42958 h 85915"/>
                    <a:gd name="connsiteX1" fmla="*/ 42958 w 85915"/>
                    <a:gd name="connsiteY1" fmla="*/ 85916 h 85915"/>
                    <a:gd name="connsiteX2" fmla="*/ 0 w 85915"/>
                    <a:gd name="connsiteY2" fmla="*/ 42958 h 85915"/>
                    <a:gd name="connsiteX3" fmla="*/ 42958 w 85915"/>
                    <a:gd name="connsiteY3" fmla="*/ 0 h 85915"/>
                    <a:gd name="connsiteX4" fmla="*/ 85916 w 85915"/>
                    <a:gd name="connsiteY4" fmla="*/ 42958 h 859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915" h="85915">
                      <a:moveTo>
                        <a:pt x="85916" y="42958"/>
                      </a:moveTo>
                      <a:cubicBezTo>
                        <a:pt x="85916" y="66683"/>
                        <a:pt x="66683" y="85916"/>
                        <a:pt x="42958" y="85916"/>
                      </a:cubicBezTo>
                      <a:cubicBezTo>
                        <a:pt x="19233" y="85916"/>
                        <a:pt x="0" y="66683"/>
                        <a:pt x="0" y="42958"/>
                      </a:cubicBezTo>
                      <a:cubicBezTo>
                        <a:pt x="0" y="19233"/>
                        <a:pt x="19233" y="0"/>
                        <a:pt x="42958" y="0"/>
                      </a:cubicBezTo>
                      <a:cubicBezTo>
                        <a:pt x="66683" y="0"/>
                        <a:pt x="85916" y="19233"/>
                        <a:pt x="85916" y="42958"/>
                      </a:cubicBezTo>
                      <a:close/>
                    </a:path>
                  </a:pathLst>
                </a:custGeom>
                <a:solidFill>
                  <a:schemeClr val="accent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75" name="Freeform: Shape 176">
                  <a:extLst>
                    <a:ext uri="{FF2B5EF4-FFF2-40B4-BE49-F238E27FC236}">
                      <a16:creationId xmlns:a16="http://schemas.microsoft.com/office/drawing/2014/main" id="{0C1C27E0-EA4E-4F41-B47B-369C7F661195}"/>
                    </a:ext>
                  </a:extLst>
                </p:cNvPr>
                <p:cNvSpPr/>
                <p:nvPr/>
              </p:nvSpPr>
              <p:spPr>
                <a:xfrm>
                  <a:off x="6012084" y="3145154"/>
                  <a:ext cx="104965" cy="104965"/>
                </a:xfrm>
                <a:custGeom>
                  <a:avLst/>
                  <a:gdLst>
                    <a:gd name="connsiteX0" fmla="*/ 52483 w 104965"/>
                    <a:gd name="connsiteY0" fmla="*/ 104966 h 104965"/>
                    <a:gd name="connsiteX1" fmla="*/ 0 w 104965"/>
                    <a:gd name="connsiteY1" fmla="*/ 52483 h 104965"/>
                    <a:gd name="connsiteX2" fmla="*/ 52483 w 104965"/>
                    <a:gd name="connsiteY2" fmla="*/ 0 h 104965"/>
                    <a:gd name="connsiteX3" fmla="*/ 104966 w 104965"/>
                    <a:gd name="connsiteY3" fmla="*/ 52483 h 104965"/>
                    <a:gd name="connsiteX4" fmla="*/ 52483 w 104965"/>
                    <a:gd name="connsiteY4" fmla="*/ 104966 h 104965"/>
                    <a:gd name="connsiteX5" fmla="*/ 52483 w 104965"/>
                    <a:gd name="connsiteY5" fmla="*/ 19050 h 104965"/>
                    <a:gd name="connsiteX6" fmla="*/ 19050 w 104965"/>
                    <a:gd name="connsiteY6" fmla="*/ 52483 h 104965"/>
                    <a:gd name="connsiteX7" fmla="*/ 52483 w 104965"/>
                    <a:gd name="connsiteY7" fmla="*/ 85916 h 104965"/>
                    <a:gd name="connsiteX8" fmla="*/ 85916 w 104965"/>
                    <a:gd name="connsiteY8" fmla="*/ 52483 h 104965"/>
                    <a:gd name="connsiteX9" fmla="*/ 52483 w 104965"/>
                    <a:gd name="connsiteY9" fmla="*/ 19050 h 104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4965" h="104965">
                      <a:moveTo>
                        <a:pt x="52483" y="104966"/>
                      </a:moveTo>
                      <a:cubicBezTo>
                        <a:pt x="23527" y="104966"/>
                        <a:pt x="0" y="81439"/>
                        <a:pt x="0" y="52483"/>
                      </a:cubicBezTo>
                      <a:cubicBezTo>
                        <a:pt x="0" y="23527"/>
                        <a:pt x="23527" y="0"/>
                        <a:pt x="52483" y="0"/>
                      </a:cubicBezTo>
                      <a:cubicBezTo>
                        <a:pt x="81439" y="0"/>
                        <a:pt x="104966" y="23527"/>
                        <a:pt x="104966" y="52483"/>
                      </a:cubicBezTo>
                      <a:cubicBezTo>
                        <a:pt x="104966" y="81439"/>
                        <a:pt x="81439" y="104966"/>
                        <a:pt x="52483" y="104966"/>
                      </a:cubicBezTo>
                      <a:close/>
                      <a:moveTo>
                        <a:pt x="52483" y="19050"/>
                      </a:moveTo>
                      <a:cubicBezTo>
                        <a:pt x="34100" y="19050"/>
                        <a:pt x="19050" y="34004"/>
                        <a:pt x="19050" y="52483"/>
                      </a:cubicBezTo>
                      <a:cubicBezTo>
                        <a:pt x="19050" y="70866"/>
                        <a:pt x="34004" y="85916"/>
                        <a:pt x="52483" y="85916"/>
                      </a:cubicBezTo>
                      <a:cubicBezTo>
                        <a:pt x="70866" y="85916"/>
                        <a:pt x="85916" y="70961"/>
                        <a:pt x="85916" y="52483"/>
                      </a:cubicBezTo>
                      <a:cubicBezTo>
                        <a:pt x="85916" y="34004"/>
                        <a:pt x="70961" y="19050"/>
                        <a:pt x="52483" y="19050"/>
                      </a:cubicBezTo>
                      <a:close/>
                    </a:path>
                  </a:pathLst>
                </a:custGeom>
                <a:solidFill>
                  <a:srgbClr val="D1D3D4"/>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grpSp>
            <p:nvGrpSpPr>
              <p:cNvPr id="168" name="Graphic 7">
                <a:extLst>
                  <a:ext uri="{FF2B5EF4-FFF2-40B4-BE49-F238E27FC236}">
                    <a16:creationId xmlns:a16="http://schemas.microsoft.com/office/drawing/2014/main" id="{E9DF1BB0-BA9C-4D39-B174-9766CBCBF63D}"/>
                  </a:ext>
                </a:extLst>
              </p:cNvPr>
              <p:cNvGrpSpPr/>
              <p:nvPr/>
            </p:nvGrpSpPr>
            <p:grpSpPr>
              <a:xfrm>
                <a:off x="6853047" y="2841402"/>
                <a:ext cx="104965" cy="104965"/>
                <a:chOff x="6853047" y="2841402"/>
                <a:chExt cx="104965" cy="104965"/>
              </a:xfrm>
            </p:grpSpPr>
            <p:sp>
              <p:nvSpPr>
                <p:cNvPr id="172" name="Freeform: Shape 173">
                  <a:extLst>
                    <a:ext uri="{FF2B5EF4-FFF2-40B4-BE49-F238E27FC236}">
                      <a16:creationId xmlns:a16="http://schemas.microsoft.com/office/drawing/2014/main" id="{D913821A-C027-4F43-B505-6ABC0AA155B2}"/>
                    </a:ext>
                  </a:extLst>
                </p:cNvPr>
                <p:cNvSpPr/>
                <p:nvPr/>
              </p:nvSpPr>
              <p:spPr>
                <a:xfrm>
                  <a:off x="6862572" y="2851022"/>
                  <a:ext cx="85915" cy="85915"/>
                </a:xfrm>
                <a:custGeom>
                  <a:avLst/>
                  <a:gdLst>
                    <a:gd name="connsiteX0" fmla="*/ 85916 w 85915"/>
                    <a:gd name="connsiteY0" fmla="*/ 42958 h 85915"/>
                    <a:gd name="connsiteX1" fmla="*/ 42958 w 85915"/>
                    <a:gd name="connsiteY1" fmla="*/ 85916 h 85915"/>
                    <a:gd name="connsiteX2" fmla="*/ 0 w 85915"/>
                    <a:gd name="connsiteY2" fmla="*/ 42958 h 85915"/>
                    <a:gd name="connsiteX3" fmla="*/ 42958 w 85915"/>
                    <a:gd name="connsiteY3" fmla="*/ 0 h 85915"/>
                    <a:gd name="connsiteX4" fmla="*/ 85916 w 85915"/>
                    <a:gd name="connsiteY4" fmla="*/ 42958 h 859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915" h="85915">
                      <a:moveTo>
                        <a:pt x="85916" y="42958"/>
                      </a:moveTo>
                      <a:cubicBezTo>
                        <a:pt x="85916" y="66683"/>
                        <a:pt x="66683" y="85916"/>
                        <a:pt x="42958" y="85916"/>
                      </a:cubicBezTo>
                      <a:cubicBezTo>
                        <a:pt x="19233" y="85916"/>
                        <a:pt x="0" y="66683"/>
                        <a:pt x="0" y="42958"/>
                      </a:cubicBezTo>
                      <a:cubicBezTo>
                        <a:pt x="0" y="19233"/>
                        <a:pt x="19233" y="0"/>
                        <a:pt x="42958" y="0"/>
                      </a:cubicBezTo>
                      <a:cubicBezTo>
                        <a:pt x="66683" y="0"/>
                        <a:pt x="85916" y="19233"/>
                        <a:pt x="85916" y="42958"/>
                      </a:cubicBezTo>
                      <a:close/>
                    </a:path>
                  </a:pathLst>
                </a:custGeom>
                <a:solidFill>
                  <a:schemeClr val="accent4"/>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73" name="Freeform: Shape 174">
                  <a:extLst>
                    <a:ext uri="{FF2B5EF4-FFF2-40B4-BE49-F238E27FC236}">
                      <a16:creationId xmlns:a16="http://schemas.microsoft.com/office/drawing/2014/main" id="{9A9DDC5C-BBA1-426F-9875-C4EE389F69E4}"/>
                    </a:ext>
                  </a:extLst>
                </p:cNvPr>
                <p:cNvSpPr/>
                <p:nvPr/>
              </p:nvSpPr>
              <p:spPr>
                <a:xfrm>
                  <a:off x="6853047" y="2841402"/>
                  <a:ext cx="104965" cy="104965"/>
                </a:xfrm>
                <a:custGeom>
                  <a:avLst/>
                  <a:gdLst>
                    <a:gd name="connsiteX0" fmla="*/ 52483 w 104965"/>
                    <a:gd name="connsiteY0" fmla="*/ 104966 h 104965"/>
                    <a:gd name="connsiteX1" fmla="*/ 0 w 104965"/>
                    <a:gd name="connsiteY1" fmla="*/ 52483 h 104965"/>
                    <a:gd name="connsiteX2" fmla="*/ 52483 w 104965"/>
                    <a:gd name="connsiteY2" fmla="*/ 0 h 104965"/>
                    <a:gd name="connsiteX3" fmla="*/ 104965 w 104965"/>
                    <a:gd name="connsiteY3" fmla="*/ 52483 h 104965"/>
                    <a:gd name="connsiteX4" fmla="*/ 52483 w 104965"/>
                    <a:gd name="connsiteY4" fmla="*/ 104966 h 104965"/>
                    <a:gd name="connsiteX5" fmla="*/ 52483 w 104965"/>
                    <a:gd name="connsiteY5" fmla="*/ 19145 h 104965"/>
                    <a:gd name="connsiteX6" fmla="*/ 19050 w 104965"/>
                    <a:gd name="connsiteY6" fmla="*/ 52578 h 104965"/>
                    <a:gd name="connsiteX7" fmla="*/ 52483 w 104965"/>
                    <a:gd name="connsiteY7" fmla="*/ 86011 h 104965"/>
                    <a:gd name="connsiteX8" fmla="*/ 85915 w 104965"/>
                    <a:gd name="connsiteY8" fmla="*/ 52578 h 104965"/>
                    <a:gd name="connsiteX9" fmla="*/ 52483 w 104965"/>
                    <a:gd name="connsiteY9" fmla="*/ 19145 h 104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4965" h="104965">
                      <a:moveTo>
                        <a:pt x="52483" y="104966"/>
                      </a:moveTo>
                      <a:cubicBezTo>
                        <a:pt x="23527" y="104966"/>
                        <a:pt x="0" y="81439"/>
                        <a:pt x="0" y="52483"/>
                      </a:cubicBezTo>
                      <a:cubicBezTo>
                        <a:pt x="0" y="23527"/>
                        <a:pt x="23527" y="0"/>
                        <a:pt x="52483" y="0"/>
                      </a:cubicBezTo>
                      <a:cubicBezTo>
                        <a:pt x="81439" y="0"/>
                        <a:pt x="104965" y="23527"/>
                        <a:pt x="104965" y="52483"/>
                      </a:cubicBezTo>
                      <a:cubicBezTo>
                        <a:pt x="104965" y="81439"/>
                        <a:pt x="81439" y="104966"/>
                        <a:pt x="52483" y="104966"/>
                      </a:cubicBezTo>
                      <a:close/>
                      <a:moveTo>
                        <a:pt x="52483" y="19145"/>
                      </a:moveTo>
                      <a:cubicBezTo>
                        <a:pt x="34099" y="19145"/>
                        <a:pt x="19050" y="34099"/>
                        <a:pt x="19050" y="52578"/>
                      </a:cubicBezTo>
                      <a:cubicBezTo>
                        <a:pt x="19050" y="70961"/>
                        <a:pt x="34004" y="86011"/>
                        <a:pt x="52483" y="86011"/>
                      </a:cubicBezTo>
                      <a:cubicBezTo>
                        <a:pt x="70961" y="86011"/>
                        <a:pt x="85915" y="71056"/>
                        <a:pt x="85915" y="52578"/>
                      </a:cubicBezTo>
                      <a:cubicBezTo>
                        <a:pt x="85915" y="34099"/>
                        <a:pt x="70866" y="19145"/>
                        <a:pt x="52483" y="19145"/>
                      </a:cubicBezTo>
                      <a:close/>
                    </a:path>
                  </a:pathLst>
                </a:custGeom>
                <a:solidFill>
                  <a:srgbClr val="D1D3D4"/>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grpSp>
            <p:nvGrpSpPr>
              <p:cNvPr id="169" name="Graphic 7">
                <a:extLst>
                  <a:ext uri="{FF2B5EF4-FFF2-40B4-BE49-F238E27FC236}">
                    <a16:creationId xmlns:a16="http://schemas.microsoft.com/office/drawing/2014/main" id="{529B44FC-59BA-44AC-91DD-14B86DF07A3A}"/>
                  </a:ext>
                </a:extLst>
              </p:cNvPr>
              <p:cNvGrpSpPr/>
              <p:nvPr/>
            </p:nvGrpSpPr>
            <p:grpSpPr>
              <a:xfrm>
                <a:off x="7686579" y="2243137"/>
                <a:ext cx="104965" cy="104870"/>
                <a:chOff x="7686579" y="2243137"/>
                <a:chExt cx="104965" cy="104870"/>
              </a:xfrm>
            </p:grpSpPr>
            <p:sp>
              <p:nvSpPr>
                <p:cNvPr id="170" name="Freeform: Shape 171">
                  <a:extLst>
                    <a:ext uri="{FF2B5EF4-FFF2-40B4-BE49-F238E27FC236}">
                      <a16:creationId xmlns:a16="http://schemas.microsoft.com/office/drawing/2014/main" id="{E5BF5ED9-C425-411B-8077-BBAE69E63CBB}"/>
                    </a:ext>
                  </a:extLst>
                </p:cNvPr>
                <p:cNvSpPr/>
                <p:nvPr/>
              </p:nvSpPr>
              <p:spPr>
                <a:xfrm>
                  <a:off x="7696104" y="2252662"/>
                  <a:ext cx="85915" cy="85915"/>
                </a:xfrm>
                <a:custGeom>
                  <a:avLst/>
                  <a:gdLst>
                    <a:gd name="connsiteX0" fmla="*/ 85916 w 85915"/>
                    <a:gd name="connsiteY0" fmla="*/ 42958 h 85915"/>
                    <a:gd name="connsiteX1" fmla="*/ 42958 w 85915"/>
                    <a:gd name="connsiteY1" fmla="*/ 85916 h 85915"/>
                    <a:gd name="connsiteX2" fmla="*/ 0 w 85915"/>
                    <a:gd name="connsiteY2" fmla="*/ 42958 h 85915"/>
                    <a:gd name="connsiteX3" fmla="*/ 42958 w 85915"/>
                    <a:gd name="connsiteY3" fmla="*/ 0 h 85915"/>
                    <a:gd name="connsiteX4" fmla="*/ 85916 w 85915"/>
                    <a:gd name="connsiteY4" fmla="*/ 42958 h 859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915" h="85915">
                      <a:moveTo>
                        <a:pt x="85916" y="42958"/>
                      </a:moveTo>
                      <a:cubicBezTo>
                        <a:pt x="85916" y="66683"/>
                        <a:pt x="66683" y="85916"/>
                        <a:pt x="42958" y="85916"/>
                      </a:cubicBezTo>
                      <a:cubicBezTo>
                        <a:pt x="19233" y="85916"/>
                        <a:pt x="0" y="66683"/>
                        <a:pt x="0" y="42958"/>
                      </a:cubicBezTo>
                      <a:cubicBezTo>
                        <a:pt x="0" y="19233"/>
                        <a:pt x="19233" y="0"/>
                        <a:pt x="42958" y="0"/>
                      </a:cubicBezTo>
                      <a:cubicBezTo>
                        <a:pt x="66683" y="0"/>
                        <a:pt x="85916" y="19233"/>
                        <a:pt x="85916" y="42958"/>
                      </a:cubicBezTo>
                      <a:close/>
                    </a:path>
                  </a:pathLst>
                </a:custGeom>
                <a:solidFill>
                  <a:schemeClr val="accent5"/>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71" name="Freeform: Shape 172">
                  <a:extLst>
                    <a:ext uri="{FF2B5EF4-FFF2-40B4-BE49-F238E27FC236}">
                      <a16:creationId xmlns:a16="http://schemas.microsoft.com/office/drawing/2014/main" id="{4084D5B8-5BEF-4BBA-B1D8-B12734A9C2FE}"/>
                    </a:ext>
                  </a:extLst>
                </p:cNvPr>
                <p:cNvSpPr/>
                <p:nvPr/>
              </p:nvSpPr>
              <p:spPr>
                <a:xfrm>
                  <a:off x="7686579" y="2243137"/>
                  <a:ext cx="104965" cy="104870"/>
                </a:xfrm>
                <a:custGeom>
                  <a:avLst/>
                  <a:gdLst>
                    <a:gd name="connsiteX0" fmla="*/ 52483 w 104965"/>
                    <a:gd name="connsiteY0" fmla="*/ 104870 h 104870"/>
                    <a:gd name="connsiteX1" fmla="*/ 0 w 104965"/>
                    <a:gd name="connsiteY1" fmla="*/ 52388 h 104870"/>
                    <a:gd name="connsiteX2" fmla="*/ 52483 w 104965"/>
                    <a:gd name="connsiteY2" fmla="*/ 0 h 104870"/>
                    <a:gd name="connsiteX3" fmla="*/ 104966 w 104965"/>
                    <a:gd name="connsiteY3" fmla="*/ 52483 h 104870"/>
                    <a:gd name="connsiteX4" fmla="*/ 52483 w 104965"/>
                    <a:gd name="connsiteY4" fmla="*/ 104870 h 104870"/>
                    <a:gd name="connsiteX5" fmla="*/ 52483 w 104965"/>
                    <a:gd name="connsiteY5" fmla="*/ 19050 h 104870"/>
                    <a:gd name="connsiteX6" fmla="*/ 19050 w 104965"/>
                    <a:gd name="connsiteY6" fmla="*/ 52483 h 104870"/>
                    <a:gd name="connsiteX7" fmla="*/ 52483 w 104965"/>
                    <a:gd name="connsiteY7" fmla="*/ 85916 h 104870"/>
                    <a:gd name="connsiteX8" fmla="*/ 85916 w 104965"/>
                    <a:gd name="connsiteY8" fmla="*/ 52483 h 104870"/>
                    <a:gd name="connsiteX9" fmla="*/ 52483 w 104965"/>
                    <a:gd name="connsiteY9" fmla="*/ 19050 h 1048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4965" h="104870">
                      <a:moveTo>
                        <a:pt x="52483" y="104870"/>
                      </a:moveTo>
                      <a:cubicBezTo>
                        <a:pt x="23527" y="104870"/>
                        <a:pt x="0" y="81344"/>
                        <a:pt x="0" y="52388"/>
                      </a:cubicBezTo>
                      <a:cubicBezTo>
                        <a:pt x="0" y="23432"/>
                        <a:pt x="23527" y="0"/>
                        <a:pt x="52483" y="0"/>
                      </a:cubicBezTo>
                      <a:cubicBezTo>
                        <a:pt x="81439" y="0"/>
                        <a:pt x="104966" y="23527"/>
                        <a:pt x="104966" y="52483"/>
                      </a:cubicBezTo>
                      <a:cubicBezTo>
                        <a:pt x="104966" y="81439"/>
                        <a:pt x="81439" y="104870"/>
                        <a:pt x="52483" y="104870"/>
                      </a:cubicBezTo>
                      <a:close/>
                      <a:moveTo>
                        <a:pt x="52483" y="19050"/>
                      </a:moveTo>
                      <a:cubicBezTo>
                        <a:pt x="34100" y="19050"/>
                        <a:pt x="19050" y="34004"/>
                        <a:pt x="19050" y="52483"/>
                      </a:cubicBezTo>
                      <a:cubicBezTo>
                        <a:pt x="19050" y="70866"/>
                        <a:pt x="34004" y="85916"/>
                        <a:pt x="52483" y="85916"/>
                      </a:cubicBezTo>
                      <a:cubicBezTo>
                        <a:pt x="70866" y="85916"/>
                        <a:pt x="85916" y="70961"/>
                        <a:pt x="85916" y="52483"/>
                      </a:cubicBezTo>
                      <a:cubicBezTo>
                        <a:pt x="85916" y="34004"/>
                        <a:pt x="70866" y="19050"/>
                        <a:pt x="52483" y="19050"/>
                      </a:cubicBezTo>
                      <a:close/>
                    </a:path>
                  </a:pathLst>
                </a:custGeom>
                <a:solidFill>
                  <a:srgbClr val="D1D3D4"/>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grpSp>
        </p:grpSp>
        <p:sp>
          <p:nvSpPr>
            <p:cNvPr id="6" name="Freeform: Shape 7">
              <a:extLst>
                <a:ext uri="{FF2B5EF4-FFF2-40B4-BE49-F238E27FC236}">
                  <a16:creationId xmlns:a16="http://schemas.microsoft.com/office/drawing/2014/main" id="{644E5096-7605-4028-A8BD-D91EE23E2972}"/>
                </a:ext>
              </a:extLst>
            </p:cNvPr>
            <p:cNvSpPr/>
            <p:nvPr/>
          </p:nvSpPr>
          <p:spPr>
            <a:xfrm>
              <a:off x="4517362" y="4684219"/>
              <a:ext cx="35224" cy="662730"/>
            </a:xfrm>
            <a:custGeom>
              <a:avLst/>
              <a:gdLst>
                <a:gd name="connsiteX0" fmla="*/ 0 w 19050"/>
                <a:gd name="connsiteY0" fmla="*/ 0 h 358425"/>
                <a:gd name="connsiteX1" fmla="*/ 19050 w 19050"/>
                <a:gd name="connsiteY1" fmla="*/ 0 h 358425"/>
                <a:gd name="connsiteX2" fmla="*/ 19050 w 19050"/>
                <a:gd name="connsiteY2" fmla="*/ 358426 h 358425"/>
                <a:gd name="connsiteX3" fmla="*/ 0 w 19050"/>
                <a:gd name="connsiteY3" fmla="*/ 358426 h 358425"/>
              </a:gdLst>
              <a:ahLst/>
              <a:cxnLst>
                <a:cxn ang="0">
                  <a:pos x="connsiteX0" y="connsiteY0"/>
                </a:cxn>
                <a:cxn ang="0">
                  <a:pos x="connsiteX1" y="connsiteY1"/>
                </a:cxn>
                <a:cxn ang="0">
                  <a:pos x="connsiteX2" y="connsiteY2"/>
                </a:cxn>
                <a:cxn ang="0">
                  <a:pos x="connsiteX3" y="connsiteY3"/>
                </a:cxn>
              </a:cxnLst>
              <a:rect l="l" t="t" r="r" b="b"/>
              <a:pathLst>
                <a:path w="19050" h="358425">
                  <a:moveTo>
                    <a:pt x="0" y="0"/>
                  </a:moveTo>
                  <a:lnTo>
                    <a:pt x="19050" y="0"/>
                  </a:lnTo>
                  <a:lnTo>
                    <a:pt x="19050" y="358426"/>
                  </a:lnTo>
                  <a:lnTo>
                    <a:pt x="0" y="358426"/>
                  </a:lnTo>
                  <a:close/>
                </a:path>
              </a:pathLst>
            </a:custGeom>
            <a:solidFill>
              <a:srgbClr val="6B4B2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7" name="Freeform: Shape 8">
              <a:extLst>
                <a:ext uri="{FF2B5EF4-FFF2-40B4-BE49-F238E27FC236}">
                  <a16:creationId xmlns:a16="http://schemas.microsoft.com/office/drawing/2014/main" id="{0A41AED1-178A-4C0B-A929-4C7A55B66719}"/>
                </a:ext>
              </a:extLst>
            </p:cNvPr>
            <p:cNvSpPr/>
            <p:nvPr/>
          </p:nvSpPr>
          <p:spPr>
            <a:xfrm>
              <a:off x="3963472" y="5087703"/>
              <a:ext cx="1143003" cy="804506"/>
            </a:xfrm>
            <a:custGeom>
              <a:avLst/>
              <a:gdLst>
                <a:gd name="connsiteX0" fmla="*/ 502158 w 618172"/>
                <a:gd name="connsiteY0" fmla="*/ 435102 h 435102"/>
                <a:gd name="connsiteX1" fmla="*/ 116015 w 618172"/>
                <a:gd name="connsiteY1" fmla="*/ 435102 h 435102"/>
                <a:gd name="connsiteX2" fmla="*/ 74009 w 618172"/>
                <a:gd name="connsiteY2" fmla="*/ 400145 h 435102"/>
                <a:gd name="connsiteX3" fmla="*/ 0 w 618172"/>
                <a:gd name="connsiteY3" fmla="*/ 0 h 435102"/>
                <a:gd name="connsiteX4" fmla="*/ 618173 w 618172"/>
                <a:gd name="connsiteY4" fmla="*/ 0 h 435102"/>
                <a:gd name="connsiteX5" fmla="*/ 544259 w 618172"/>
                <a:gd name="connsiteY5" fmla="*/ 400145 h 435102"/>
                <a:gd name="connsiteX6" fmla="*/ 502158 w 618172"/>
                <a:gd name="connsiteY6" fmla="*/ 435102 h 4351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18172" h="435102">
                  <a:moveTo>
                    <a:pt x="502158" y="435102"/>
                  </a:moveTo>
                  <a:lnTo>
                    <a:pt x="116015" y="435102"/>
                  </a:lnTo>
                  <a:cubicBezTo>
                    <a:pt x="95441" y="435102"/>
                    <a:pt x="77724" y="420434"/>
                    <a:pt x="74009" y="400145"/>
                  </a:cubicBezTo>
                  <a:lnTo>
                    <a:pt x="0" y="0"/>
                  </a:lnTo>
                  <a:lnTo>
                    <a:pt x="618173" y="0"/>
                  </a:lnTo>
                  <a:lnTo>
                    <a:pt x="544259" y="400145"/>
                  </a:lnTo>
                  <a:cubicBezTo>
                    <a:pt x="540449" y="420434"/>
                    <a:pt x="522732" y="435102"/>
                    <a:pt x="502158" y="435102"/>
                  </a:cubicBezTo>
                  <a:close/>
                </a:path>
              </a:pathLst>
            </a:custGeom>
            <a:solidFill>
              <a:srgbClr val="F6B31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8" name="Freeform: Shape 9">
              <a:extLst>
                <a:ext uri="{FF2B5EF4-FFF2-40B4-BE49-F238E27FC236}">
                  <a16:creationId xmlns:a16="http://schemas.microsoft.com/office/drawing/2014/main" id="{BE8C9B57-B5BA-4403-B052-2B46D7C23358}"/>
                </a:ext>
              </a:extLst>
            </p:cNvPr>
            <p:cNvSpPr/>
            <p:nvPr/>
          </p:nvSpPr>
          <p:spPr>
            <a:xfrm>
              <a:off x="3873653" y="4922152"/>
              <a:ext cx="1322468" cy="165549"/>
            </a:xfrm>
            <a:custGeom>
              <a:avLst/>
              <a:gdLst>
                <a:gd name="connsiteX0" fmla="*/ 670465 w 715232"/>
                <a:gd name="connsiteY0" fmla="*/ 0 h 89534"/>
                <a:gd name="connsiteX1" fmla="*/ 44768 w 715232"/>
                <a:gd name="connsiteY1" fmla="*/ 0 h 89534"/>
                <a:gd name="connsiteX2" fmla="*/ 0 w 715232"/>
                <a:gd name="connsiteY2" fmla="*/ 44767 h 89534"/>
                <a:gd name="connsiteX3" fmla="*/ 0 w 715232"/>
                <a:gd name="connsiteY3" fmla="*/ 44767 h 89534"/>
                <a:gd name="connsiteX4" fmla="*/ 44768 w 715232"/>
                <a:gd name="connsiteY4" fmla="*/ 89535 h 89534"/>
                <a:gd name="connsiteX5" fmla="*/ 670465 w 715232"/>
                <a:gd name="connsiteY5" fmla="*/ 89535 h 89534"/>
                <a:gd name="connsiteX6" fmla="*/ 715232 w 715232"/>
                <a:gd name="connsiteY6" fmla="*/ 44767 h 89534"/>
                <a:gd name="connsiteX7" fmla="*/ 715232 w 715232"/>
                <a:gd name="connsiteY7" fmla="*/ 44767 h 89534"/>
                <a:gd name="connsiteX8" fmla="*/ 670465 w 715232"/>
                <a:gd name="connsiteY8" fmla="*/ 0 h 895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5232" h="89534">
                  <a:moveTo>
                    <a:pt x="670465" y="0"/>
                  </a:moveTo>
                  <a:lnTo>
                    <a:pt x="44768" y="0"/>
                  </a:lnTo>
                  <a:cubicBezTo>
                    <a:pt x="20003" y="0"/>
                    <a:pt x="0" y="20098"/>
                    <a:pt x="0" y="44767"/>
                  </a:cubicBezTo>
                  <a:lnTo>
                    <a:pt x="0" y="44767"/>
                  </a:lnTo>
                  <a:cubicBezTo>
                    <a:pt x="0" y="69533"/>
                    <a:pt x="20098" y="89535"/>
                    <a:pt x="44768" y="89535"/>
                  </a:cubicBezTo>
                  <a:lnTo>
                    <a:pt x="670465" y="89535"/>
                  </a:lnTo>
                  <a:cubicBezTo>
                    <a:pt x="695230" y="89535"/>
                    <a:pt x="715232" y="69437"/>
                    <a:pt x="715232" y="44767"/>
                  </a:cubicBezTo>
                  <a:lnTo>
                    <a:pt x="715232" y="44767"/>
                  </a:lnTo>
                  <a:cubicBezTo>
                    <a:pt x="715328" y="20003"/>
                    <a:pt x="695230" y="0"/>
                    <a:pt x="670465" y="0"/>
                  </a:cubicBezTo>
                  <a:close/>
                </a:path>
              </a:pathLst>
            </a:custGeom>
            <a:solidFill>
              <a:srgbClr val="F6B31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9" name="Freeform: Shape 10">
              <a:extLst>
                <a:ext uri="{FF2B5EF4-FFF2-40B4-BE49-F238E27FC236}">
                  <a16:creationId xmlns:a16="http://schemas.microsoft.com/office/drawing/2014/main" id="{D1010D77-E8D2-430B-8AB8-29E3EAFF3F4E}"/>
                </a:ext>
              </a:extLst>
            </p:cNvPr>
            <p:cNvSpPr/>
            <p:nvPr/>
          </p:nvSpPr>
          <p:spPr>
            <a:xfrm>
              <a:off x="3963472" y="5087703"/>
              <a:ext cx="1143003" cy="62169"/>
            </a:xfrm>
            <a:custGeom>
              <a:avLst/>
              <a:gdLst>
                <a:gd name="connsiteX0" fmla="*/ 611886 w 618172"/>
                <a:gd name="connsiteY0" fmla="*/ 33623 h 33623"/>
                <a:gd name="connsiteX1" fmla="*/ 618173 w 618172"/>
                <a:gd name="connsiteY1" fmla="*/ 0 h 33623"/>
                <a:gd name="connsiteX2" fmla="*/ 0 w 618172"/>
                <a:gd name="connsiteY2" fmla="*/ 0 h 33623"/>
                <a:gd name="connsiteX3" fmla="*/ 6191 w 618172"/>
                <a:gd name="connsiteY3" fmla="*/ 33623 h 33623"/>
              </a:gdLst>
              <a:ahLst/>
              <a:cxnLst>
                <a:cxn ang="0">
                  <a:pos x="connsiteX0" y="connsiteY0"/>
                </a:cxn>
                <a:cxn ang="0">
                  <a:pos x="connsiteX1" y="connsiteY1"/>
                </a:cxn>
                <a:cxn ang="0">
                  <a:pos x="connsiteX2" y="connsiteY2"/>
                </a:cxn>
                <a:cxn ang="0">
                  <a:pos x="connsiteX3" y="connsiteY3"/>
                </a:cxn>
              </a:cxnLst>
              <a:rect l="l" t="t" r="r" b="b"/>
              <a:pathLst>
                <a:path w="618172" h="33623">
                  <a:moveTo>
                    <a:pt x="611886" y="33623"/>
                  </a:moveTo>
                  <a:lnTo>
                    <a:pt x="618173" y="0"/>
                  </a:lnTo>
                  <a:lnTo>
                    <a:pt x="0" y="0"/>
                  </a:lnTo>
                  <a:lnTo>
                    <a:pt x="6191" y="33623"/>
                  </a:lnTo>
                  <a:close/>
                </a:path>
              </a:pathLst>
            </a:custGeom>
            <a:solidFill>
              <a:srgbClr val="E6E7E8">
                <a:alpha val="25000"/>
              </a:srgb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nvGrpSpPr>
            <p:cNvPr id="10" name="Graphic 7">
              <a:extLst>
                <a:ext uri="{FF2B5EF4-FFF2-40B4-BE49-F238E27FC236}">
                  <a16:creationId xmlns:a16="http://schemas.microsoft.com/office/drawing/2014/main" id="{0AACD521-0760-434B-B5D8-4EFE35F1B247}"/>
                </a:ext>
              </a:extLst>
            </p:cNvPr>
            <p:cNvGrpSpPr/>
            <p:nvPr/>
          </p:nvGrpSpPr>
          <p:grpSpPr>
            <a:xfrm>
              <a:off x="4228420" y="4378192"/>
              <a:ext cx="306487" cy="306487"/>
              <a:chOff x="4249519" y="3800510"/>
              <a:chExt cx="165758" cy="165758"/>
            </a:xfrm>
          </p:grpSpPr>
          <p:sp>
            <p:nvSpPr>
              <p:cNvPr id="162" name="Freeform: Shape 163">
                <a:extLst>
                  <a:ext uri="{FF2B5EF4-FFF2-40B4-BE49-F238E27FC236}">
                    <a16:creationId xmlns:a16="http://schemas.microsoft.com/office/drawing/2014/main" id="{BAB1623B-FA7C-481A-B2CD-8F4662253D37}"/>
                  </a:ext>
                </a:extLst>
              </p:cNvPr>
              <p:cNvSpPr/>
              <p:nvPr/>
            </p:nvSpPr>
            <p:spPr>
              <a:xfrm>
                <a:off x="4249519" y="3800510"/>
                <a:ext cx="165758" cy="165758"/>
              </a:xfrm>
              <a:custGeom>
                <a:avLst/>
                <a:gdLst>
                  <a:gd name="connsiteX0" fmla="*/ 125789 w 165758"/>
                  <a:gd name="connsiteY0" fmla="*/ 39969 h 165758"/>
                  <a:gd name="connsiteX1" fmla="*/ 165508 w 165758"/>
                  <a:gd name="connsiteY1" fmla="*/ 165509 h 165758"/>
                  <a:gd name="connsiteX2" fmla="*/ 39969 w 165758"/>
                  <a:gd name="connsiteY2" fmla="*/ 125789 h 165758"/>
                  <a:gd name="connsiteX3" fmla="*/ 250 w 165758"/>
                  <a:gd name="connsiteY3" fmla="*/ 250 h 165758"/>
                  <a:gd name="connsiteX4" fmla="*/ 125789 w 165758"/>
                  <a:gd name="connsiteY4" fmla="*/ 39969 h 1657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5758" h="165758">
                    <a:moveTo>
                      <a:pt x="125789" y="39969"/>
                    </a:moveTo>
                    <a:cubicBezTo>
                      <a:pt x="171414" y="85594"/>
                      <a:pt x="165508" y="165509"/>
                      <a:pt x="165508" y="165509"/>
                    </a:cubicBezTo>
                    <a:cubicBezTo>
                      <a:pt x="165508" y="165509"/>
                      <a:pt x="85594" y="171414"/>
                      <a:pt x="39969" y="125789"/>
                    </a:cubicBezTo>
                    <a:cubicBezTo>
                      <a:pt x="-5656" y="80164"/>
                      <a:pt x="250" y="250"/>
                      <a:pt x="250" y="250"/>
                    </a:cubicBezTo>
                    <a:cubicBezTo>
                      <a:pt x="250" y="250"/>
                      <a:pt x="80164" y="-5656"/>
                      <a:pt x="125789" y="39969"/>
                    </a:cubicBezTo>
                    <a:close/>
                  </a:path>
                </a:pathLst>
              </a:custGeom>
              <a:solidFill>
                <a:srgbClr val="8DB936"/>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63" name="Freeform: Shape 164">
                <a:extLst>
                  <a:ext uri="{FF2B5EF4-FFF2-40B4-BE49-F238E27FC236}">
                    <a16:creationId xmlns:a16="http://schemas.microsoft.com/office/drawing/2014/main" id="{44AF0B13-5F41-4D6A-AE45-C5CF9CF57A0E}"/>
                  </a:ext>
                </a:extLst>
              </p:cNvPr>
              <p:cNvSpPr/>
              <p:nvPr/>
            </p:nvSpPr>
            <p:spPr>
              <a:xfrm>
                <a:off x="4249769" y="3800510"/>
                <a:ext cx="165508" cy="165508"/>
              </a:xfrm>
              <a:custGeom>
                <a:avLst/>
                <a:gdLst>
                  <a:gd name="connsiteX0" fmla="*/ 125539 w 165508"/>
                  <a:gd name="connsiteY0" fmla="*/ 39969 h 165508"/>
                  <a:gd name="connsiteX1" fmla="*/ 0 w 165508"/>
                  <a:gd name="connsiteY1" fmla="*/ 250 h 165508"/>
                  <a:gd name="connsiteX2" fmla="*/ 165259 w 165508"/>
                  <a:gd name="connsiteY2" fmla="*/ 165509 h 165508"/>
                  <a:gd name="connsiteX3" fmla="*/ 125539 w 165508"/>
                  <a:gd name="connsiteY3" fmla="*/ 39969 h 165508"/>
                </a:gdLst>
                <a:ahLst/>
                <a:cxnLst>
                  <a:cxn ang="0">
                    <a:pos x="connsiteX0" y="connsiteY0"/>
                  </a:cxn>
                  <a:cxn ang="0">
                    <a:pos x="connsiteX1" y="connsiteY1"/>
                  </a:cxn>
                  <a:cxn ang="0">
                    <a:pos x="connsiteX2" y="connsiteY2"/>
                  </a:cxn>
                  <a:cxn ang="0">
                    <a:pos x="connsiteX3" y="connsiteY3"/>
                  </a:cxn>
                </a:cxnLst>
                <a:rect l="l" t="t" r="r" b="b"/>
                <a:pathLst>
                  <a:path w="165508" h="165508">
                    <a:moveTo>
                      <a:pt x="125539" y="39969"/>
                    </a:moveTo>
                    <a:cubicBezTo>
                      <a:pt x="79915" y="-5656"/>
                      <a:pt x="0" y="250"/>
                      <a:pt x="0" y="250"/>
                    </a:cubicBezTo>
                    <a:lnTo>
                      <a:pt x="165259" y="165509"/>
                    </a:lnTo>
                    <a:cubicBezTo>
                      <a:pt x="165259" y="165509"/>
                      <a:pt x="171164" y="85594"/>
                      <a:pt x="125539" y="39969"/>
                    </a:cubicBezTo>
                    <a:close/>
                  </a:path>
                </a:pathLst>
              </a:custGeom>
              <a:solidFill>
                <a:srgbClr val="E6E7E8">
                  <a:alpha val="25000"/>
                </a:srgb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grpSp>
          <p:nvGrpSpPr>
            <p:cNvPr id="11" name="Graphic 7">
              <a:extLst>
                <a:ext uri="{FF2B5EF4-FFF2-40B4-BE49-F238E27FC236}">
                  <a16:creationId xmlns:a16="http://schemas.microsoft.com/office/drawing/2014/main" id="{A64D7367-3C01-4EC4-91FE-DACDF5B08BFE}"/>
                </a:ext>
              </a:extLst>
            </p:cNvPr>
            <p:cNvGrpSpPr/>
            <p:nvPr/>
          </p:nvGrpSpPr>
          <p:grpSpPr>
            <a:xfrm>
              <a:off x="4534865" y="4378192"/>
              <a:ext cx="306487" cy="306487"/>
              <a:chOff x="4415254" y="3800510"/>
              <a:chExt cx="165758" cy="165758"/>
            </a:xfrm>
          </p:grpSpPr>
          <p:sp>
            <p:nvSpPr>
              <p:cNvPr id="160" name="Freeform: Shape 161">
                <a:extLst>
                  <a:ext uri="{FF2B5EF4-FFF2-40B4-BE49-F238E27FC236}">
                    <a16:creationId xmlns:a16="http://schemas.microsoft.com/office/drawing/2014/main" id="{32757E8C-852C-4E18-860B-DB3AE3C03CA4}"/>
                  </a:ext>
                </a:extLst>
              </p:cNvPr>
              <p:cNvSpPr/>
              <p:nvPr/>
            </p:nvSpPr>
            <p:spPr>
              <a:xfrm>
                <a:off x="4415254" y="3800510"/>
                <a:ext cx="165758" cy="165758"/>
              </a:xfrm>
              <a:custGeom>
                <a:avLst/>
                <a:gdLst>
                  <a:gd name="connsiteX0" fmla="*/ 125789 w 165758"/>
                  <a:gd name="connsiteY0" fmla="*/ 125789 h 165758"/>
                  <a:gd name="connsiteX1" fmla="*/ 250 w 165758"/>
                  <a:gd name="connsiteY1" fmla="*/ 165509 h 165758"/>
                  <a:gd name="connsiteX2" fmla="*/ 39969 w 165758"/>
                  <a:gd name="connsiteY2" fmla="*/ 39969 h 165758"/>
                  <a:gd name="connsiteX3" fmla="*/ 165508 w 165758"/>
                  <a:gd name="connsiteY3" fmla="*/ 250 h 165758"/>
                  <a:gd name="connsiteX4" fmla="*/ 125789 w 165758"/>
                  <a:gd name="connsiteY4" fmla="*/ 125789 h 1657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5758" h="165758">
                    <a:moveTo>
                      <a:pt x="125789" y="125789"/>
                    </a:moveTo>
                    <a:cubicBezTo>
                      <a:pt x="80164" y="171414"/>
                      <a:pt x="250" y="165509"/>
                      <a:pt x="250" y="165509"/>
                    </a:cubicBezTo>
                    <a:cubicBezTo>
                      <a:pt x="250" y="165509"/>
                      <a:pt x="-5656" y="85594"/>
                      <a:pt x="39969" y="39969"/>
                    </a:cubicBezTo>
                    <a:cubicBezTo>
                      <a:pt x="85594" y="-5656"/>
                      <a:pt x="165508" y="250"/>
                      <a:pt x="165508" y="250"/>
                    </a:cubicBezTo>
                    <a:cubicBezTo>
                      <a:pt x="165508" y="250"/>
                      <a:pt x="171414" y="80164"/>
                      <a:pt x="125789" y="125789"/>
                    </a:cubicBezTo>
                    <a:close/>
                  </a:path>
                </a:pathLst>
              </a:custGeom>
              <a:solidFill>
                <a:srgbClr val="8DB936"/>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61" name="Freeform: Shape 162">
                <a:extLst>
                  <a:ext uri="{FF2B5EF4-FFF2-40B4-BE49-F238E27FC236}">
                    <a16:creationId xmlns:a16="http://schemas.microsoft.com/office/drawing/2014/main" id="{E50C2EE4-F0E4-4BE4-A5EE-DF12943E3EB0}"/>
                  </a:ext>
                </a:extLst>
              </p:cNvPr>
              <p:cNvSpPr/>
              <p:nvPr/>
            </p:nvSpPr>
            <p:spPr>
              <a:xfrm>
                <a:off x="4415504" y="3800760"/>
                <a:ext cx="165508" cy="165508"/>
              </a:xfrm>
              <a:custGeom>
                <a:avLst/>
                <a:gdLst>
                  <a:gd name="connsiteX0" fmla="*/ 125540 w 165508"/>
                  <a:gd name="connsiteY0" fmla="*/ 125540 h 165508"/>
                  <a:gd name="connsiteX1" fmla="*/ 165259 w 165508"/>
                  <a:gd name="connsiteY1" fmla="*/ 0 h 165508"/>
                  <a:gd name="connsiteX2" fmla="*/ 0 w 165508"/>
                  <a:gd name="connsiteY2" fmla="*/ 165259 h 165508"/>
                  <a:gd name="connsiteX3" fmla="*/ 125540 w 165508"/>
                  <a:gd name="connsiteY3" fmla="*/ 125540 h 165508"/>
                </a:gdLst>
                <a:ahLst/>
                <a:cxnLst>
                  <a:cxn ang="0">
                    <a:pos x="connsiteX0" y="connsiteY0"/>
                  </a:cxn>
                  <a:cxn ang="0">
                    <a:pos x="connsiteX1" y="connsiteY1"/>
                  </a:cxn>
                  <a:cxn ang="0">
                    <a:pos x="connsiteX2" y="connsiteY2"/>
                  </a:cxn>
                  <a:cxn ang="0">
                    <a:pos x="connsiteX3" y="connsiteY3"/>
                  </a:cxn>
                </a:cxnLst>
                <a:rect l="l" t="t" r="r" b="b"/>
                <a:pathLst>
                  <a:path w="165508" h="165508">
                    <a:moveTo>
                      <a:pt x="125540" y="125540"/>
                    </a:moveTo>
                    <a:cubicBezTo>
                      <a:pt x="171164" y="79915"/>
                      <a:pt x="165259" y="0"/>
                      <a:pt x="165259" y="0"/>
                    </a:cubicBezTo>
                    <a:lnTo>
                      <a:pt x="0" y="165259"/>
                    </a:lnTo>
                    <a:cubicBezTo>
                      <a:pt x="0" y="165259"/>
                      <a:pt x="79915" y="171164"/>
                      <a:pt x="125540" y="125540"/>
                    </a:cubicBezTo>
                    <a:close/>
                  </a:path>
                </a:pathLst>
              </a:custGeom>
              <a:solidFill>
                <a:srgbClr val="E6E7E8">
                  <a:alpha val="25000"/>
                </a:srgb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grpSp>
          <p:nvGrpSpPr>
            <p:cNvPr id="12" name="Graphic 7">
              <a:extLst>
                <a:ext uri="{FF2B5EF4-FFF2-40B4-BE49-F238E27FC236}">
                  <a16:creationId xmlns:a16="http://schemas.microsoft.com/office/drawing/2014/main" id="{0B14B832-191D-4D2B-A0C7-291950F9526C}"/>
                </a:ext>
              </a:extLst>
            </p:cNvPr>
            <p:cNvGrpSpPr/>
            <p:nvPr/>
          </p:nvGrpSpPr>
          <p:grpSpPr>
            <a:xfrm>
              <a:off x="5770156" y="3789540"/>
              <a:ext cx="612932" cy="1557408"/>
              <a:chOff x="5083338" y="3482149"/>
              <a:chExt cx="331493" cy="842295"/>
            </a:xfrm>
          </p:grpSpPr>
          <p:sp>
            <p:nvSpPr>
              <p:cNvPr id="150" name="Freeform: Shape 151">
                <a:extLst>
                  <a:ext uri="{FF2B5EF4-FFF2-40B4-BE49-F238E27FC236}">
                    <a16:creationId xmlns:a16="http://schemas.microsoft.com/office/drawing/2014/main" id="{F302CE1F-CA32-4CC6-8C44-9C3D26983D84}"/>
                  </a:ext>
                </a:extLst>
              </p:cNvPr>
              <p:cNvSpPr/>
              <p:nvPr/>
            </p:nvSpPr>
            <p:spPr>
              <a:xfrm>
                <a:off x="5239512" y="3685603"/>
                <a:ext cx="19050" cy="638841"/>
              </a:xfrm>
              <a:custGeom>
                <a:avLst/>
                <a:gdLst>
                  <a:gd name="connsiteX0" fmla="*/ 0 w 19050"/>
                  <a:gd name="connsiteY0" fmla="*/ 0 h 638841"/>
                  <a:gd name="connsiteX1" fmla="*/ 19050 w 19050"/>
                  <a:gd name="connsiteY1" fmla="*/ 0 h 638841"/>
                  <a:gd name="connsiteX2" fmla="*/ 19050 w 19050"/>
                  <a:gd name="connsiteY2" fmla="*/ 638842 h 638841"/>
                  <a:gd name="connsiteX3" fmla="*/ 0 w 19050"/>
                  <a:gd name="connsiteY3" fmla="*/ 638842 h 638841"/>
                </a:gdLst>
                <a:ahLst/>
                <a:cxnLst>
                  <a:cxn ang="0">
                    <a:pos x="connsiteX0" y="connsiteY0"/>
                  </a:cxn>
                  <a:cxn ang="0">
                    <a:pos x="connsiteX1" y="connsiteY1"/>
                  </a:cxn>
                  <a:cxn ang="0">
                    <a:pos x="connsiteX2" y="connsiteY2"/>
                  </a:cxn>
                  <a:cxn ang="0">
                    <a:pos x="connsiteX3" y="connsiteY3"/>
                  </a:cxn>
                </a:cxnLst>
                <a:rect l="l" t="t" r="r" b="b"/>
                <a:pathLst>
                  <a:path w="19050" h="638841">
                    <a:moveTo>
                      <a:pt x="0" y="0"/>
                    </a:moveTo>
                    <a:lnTo>
                      <a:pt x="19050" y="0"/>
                    </a:lnTo>
                    <a:lnTo>
                      <a:pt x="19050" y="638842"/>
                    </a:lnTo>
                    <a:lnTo>
                      <a:pt x="0" y="638842"/>
                    </a:lnTo>
                    <a:close/>
                  </a:path>
                </a:pathLst>
              </a:custGeom>
              <a:solidFill>
                <a:srgbClr val="6B4B2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nvGrpSpPr>
              <p:cNvPr id="151" name="Graphic 7">
                <a:extLst>
                  <a:ext uri="{FF2B5EF4-FFF2-40B4-BE49-F238E27FC236}">
                    <a16:creationId xmlns:a16="http://schemas.microsoft.com/office/drawing/2014/main" id="{44AF84C5-8563-4AB5-A60A-B48008C7280D}"/>
                  </a:ext>
                </a:extLst>
              </p:cNvPr>
              <p:cNvGrpSpPr/>
              <p:nvPr/>
            </p:nvGrpSpPr>
            <p:grpSpPr>
              <a:xfrm>
                <a:off x="5083338" y="3845839"/>
                <a:ext cx="165758" cy="165767"/>
                <a:chOff x="5083338" y="3845839"/>
                <a:chExt cx="165758" cy="165767"/>
              </a:xfrm>
            </p:grpSpPr>
            <p:sp>
              <p:nvSpPr>
                <p:cNvPr id="158" name="Freeform: Shape 159">
                  <a:extLst>
                    <a:ext uri="{FF2B5EF4-FFF2-40B4-BE49-F238E27FC236}">
                      <a16:creationId xmlns:a16="http://schemas.microsoft.com/office/drawing/2014/main" id="{DCD9A83E-F4FF-4251-84AF-2B1DA326D210}"/>
                    </a:ext>
                  </a:extLst>
                </p:cNvPr>
                <p:cNvSpPr/>
                <p:nvPr/>
              </p:nvSpPr>
              <p:spPr>
                <a:xfrm>
                  <a:off x="5083338" y="3845839"/>
                  <a:ext cx="165758" cy="165767"/>
                </a:xfrm>
                <a:custGeom>
                  <a:avLst/>
                  <a:gdLst>
                    <a:gd name="connsiteX0" fmla="*/ 125789 w 165758"/>
                    <a:gd name="connsiteY0" fmla="*/ 39979 h 165767"/>
                    <a:gd name="connsiteX1" fmla="*/ 165508 w 165758"/>
                    <a:gd name="connsiteY1" fmla="*/ 165518 h 165767"/>
                    <a:gd name="connsiteX2" fmla="*/ 39969 w 165758"/>
                    <a:gd name="connsiteY2" fmla="*/ 125799 h 165767"/>
                    <a:gd name="connsiteX3" fmla="*/ 250 w 165758"/>
                    <a:gd name="connsiteY3" fmla="*/ 259 h 165767"/>
                    <a:gd name="connsiteX4" fmla="*/ 125789 w 165758"/>
                    <a:gd name="connsiteY4" fmla="*/ 39979 h 1657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5758" h="165767">
                      <a:moveTo>
                        <a:pt x="125789" y="39979"/>
                      </a:moveTo>
                      <a:cubicBezTo>
                        <a:pt x="171414" y="85603"/>
                        <a:pt x="165508" y="165518"/>
                        <a:pt x="165508" y="165518"/>
                      </a:cubicBezTo>
                      <a:cubicBezTo>
                        <a:pt x="165508" y="165518"/>
                        <a:pt x="85594" y="171424"/>
                        <a:pt x="39969" y="125799"/>
                      </a:cubicBezTo>
                      <a:cubicBezTo>
                        <a:pt x="-5656" y="80174"/>
                        <a:pt x="250" y="259"/>
                        <a:pt x="250" y="259"/>
                      </a:cubicBezTo>
                      <a:cubicBezTo>
                        <a:pt x="250" y="259"/>
                        <a:pt x="80164" y="-5741"/>
                        <a:pt x="125789" y="39979"/>
                      </a:cubicBezTo>
                      <a:close/>
                    </a:path>
                  </a:pathLst>
                </a:custGeom>
                <a:solidFill>
                  <a:srgbClr val="8DB936"/>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59" name="Freeform: Shape 160">
                  <a:extLst>
                    <a:ext uri="{FF2B5EF4-FFF2-40B4-BE49-F238E27FC236}">
                      <a16:creationId xmlns:a16="http://schemas.microsoft.com/office/drawing/2014/main" id="{5966ED33-E6B3-47EB-90E9-7BAD61F87D7B}"/>
                    </a:ext>
                  </a:extLst>
                </p:cNvPr>
                <p:cNvSpPr/>
                <p:nvPr/>
              </p:nvSpPr>
              <p:spPr>
                <a:xfrm>
                  <a:off x="5083587" y="3845849"/>
                  <a:ext cx="165508" cy="165508"/>
                </a:xfrm>
                <a:custGeom>
                  <a:avLst/>
                  <a:gdLst>
                    <a:gd name="connsiteX0" fmla="*/ 125540 w 165508"/>
                    <a:gd name="connsiteY0" fmla="*/ 39969 h 165508"/>
                    <a:gd name="connsiteX1" fmla="*/ 0 w 165508"/>
                    <a:gd name="connsiteY1" fmla="*/ 250 h 165508"/>
                    <a:gd name="connsiteX2" fmla="*/ 165259 w 165508"/>
                    <a:gd name="connsiteY2" fmla="*/ 165509 h 165508"/>
                    <a:gd name="connsiteX3" fmla="*/ 125540 w 165508"/>
                    <a:gd name="connsiteY3" fmla="*/ 39969 h 165508"/>
                  </a:gdLst>
                  <a:ahLst/>
                  <a:cxnLst>
                    <a:cxn ang="0">
                      <a:pos x="connsiteX0" y="connsiteY0"/>
                    </a:cxn>
                    <a:cxn ang="0">
                      <a:pos x="connsiteX1" y="connsiteY1"/>
                    </a:cxn>
                    <a:cxn ang="0">
                      <a:pos x="connsiteX2" y="connsiteY2"/>
                    </a:cxn>
                    <a:cxn ang="0">
                      <a:pos x="connsiteX3" y="connsiteY3"/>
                    </a:cxn>
                  </a:cxnLst>
                  <a:rect l="l" t="t" r="r" b="b"/>
                  <a:pathLst>
                    <a:path w="165508" h="165508">
                      <a:moveTo>
                        <a:pt x="125540" y="39969"/>
                      </a:moveTo>
                      <a:cubicBezTo>
                        <a:pt x="79915" y="-5656"/>
                        <a:pt x="0" y="250"/>
                        <a:pt x="0" y="250"/>
                      </a:cubicBezTo>
                      <a:lnTo>
                        <a:pt x="165259" y="165509"/>
                      </a:lnTo>
                      <a:cubicBezTo>
                        <a:pt x="165259" y="165509"/>
                        <a:pt x="171164" y="85594"/>
                        <a:pt x="125540" y="39969"/>
                      </a:cubicBezTo>
                      <a:close/>
                    </a:path>
                  </a:pathLst>
                </a:custGeom>
                <a:solidFill>
                  <a:srgbClr val="E6E7E8">
                    <a:alpha val="25000"/>
                  </a:srgb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grpSp>
            <p:nvGrpSpPr>
              <p:cNvPr id="152" name="Graphic 7">
                <a:extLst>
                  <a:ext uri="{FF2B5EF4-FFF2-40B4-BE49-F238E27FC236}">
                    <a16:creationId xmlns:a16="http://schemas.microsoft.com/office/drawing/2014/main" id="{FB38117F-BBDE-4286-895D-F7965E45349D}"/>
                  </a:ext>
                </a:extLst>
              </p:cNvPr>
              <p:cNvGrpSpPr/>
              <p:nvPr/>
            </p:nvGrpSpPr>
            <p:grpSpPr>
              <a:xfrm>
                <a:off x="5249073" y="3735835"/>
                <a:ext cx="165758" cy="165758"/>
                <a:chOff x="5249073" y="3735835"/>
                <a:chExt cx="165758" cy="165758"/>
              </a:xfrm>
            </p:grpSpPr>
            <p:sp>
              <p:nvSpPr>
                <p:cNvPr id="156" name="Freeform: Shape 157">
                  <a:extLst>
                    <a:ext uri="{FF2B5EF4-FFF2-40B4-BE49-F238E27FC236}">
                      <a16:creationId xmlns:a16="http://schemas.microsoft.com/office/drawing/2014/main" id="{143ABDFD-A1EB-4184-B1F2-5F02DCCDAE11}"/>
                    </a:ext>
                  </a:extLst>
                </p:cNvPr>
                <p:cNvSpPr/>
                <p:nvPr/>
              </p:nvSpPr>
              <p:spPr>
                <a:xfrm>
                  <a:off x="5249073" y="3735835"/>
                  <a:ext cx="165758" cy="165758"/>
                </a:xfrm>
                <a:custGeom>
                  <a:avLst/>
                  <a:gdLst>
                    <a:gd name="connsiteX0" fmla="*/ 125789 w 165758"/>
                    <a:gd name="connsiteY0" fmla="*/ 125789 h 165758"/>
                    <a:gd name="connsiteX1" fmla="*/ 250 w 165758"/>
                    <a:gd name="connsiteY1" fmla="*/ 165508 h 165758"/>
                    <a:gd name="connsiteX2" fmla="*/ 39969 w 165758"/>
                    <a:gd name="connsiteY2" fmla="*/ 39969 h 165758"/>
                    <a:gd name="connsiteX3" fmla="*/ 165509 w 165758"/>
                    <a:gd name="connsiteY3" fmla="*/ 250 h 165758"/>
                    <a:gd name="connsiteX4" fmla="*/ 125789 w 165758"/>
                    <a:gd name="connsiteY4" fmla="*/ 125789 h 1657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5758" h="165758">
                      <a:moveTo>
                        <a:pt x="125789" y="125789"/>
                      </a:moveTo>
                      <a:cubicBezTo>
                        <a:pt x="80164" y="171414"/>
                        <a:pt x="250" y="165508"/>
                        <a:pt x="250" y="165508"/>
                      </a:cubicBezTo>
                      <a:cubicBezTo>
                        <a:pt x="250" y="165508"/>
                        <a:pt x="-5656" y="85594"/>
                        <a:pt x="39969" y="39969"/>
                      </a:cubicBezTo>
                      <a:cubicBezTo>
                        <a:pt x="85594" y="-5656"/>
                        <a:pt x="165509" y="250"/>
                        <a:pt x="165509" y="250"/>
                      </a:cubicBezTo>
                      <a:cubicBezTo>
                        <a:pt x="165509" y="250"/>
                        <a:pt x="171414" y="80164"/>
                        <a:pt x="125789" y="125789"/>
                      </a:cubicBezTo>
                      <a:close/>
                    </a:path>
                  </a:pathLst>
                </a:custGeom>
                <a:solidFill>
                  <a:srgbClr val="8DB936"/>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57" name="Freeform: Shape 158">
                  <a:extLst>
                    <a:ext uri="{FF2B5EF4-FFF2-40B4-BE49-F238E27FC236}">
                      <a16:creationId xmlns:a16="http://schemas.microsoft.com/office/drawing/2014/main" id="{9383E311-B4FE-4F55-9CA7-806592A0EE56}"/>
                    </a:ext>
                  </a:extLst>
                </p:cNvPr>
                <p:cNvSpPr/>
                <p:nvPr/>
              </p:nvSpPr>
              <p:spPr>
                <a:xfrm>
                  <a:off x="5249322" y="3736085"/>
                  <a:ext cx="165508" cy="165508"/>
                </a:xfrm>
                <a:custGeom>
                  <a:avLst/>
                  <a:gdLst>
                    <a:gd name="connsiteX0" fmla="*/ 125539 w 165508"/>
                    <a:gd name="connsiteY0" fmla="*/ 125539 h 165508"/>
                    <a:gd name="connsiteX1" fmla="*/ 165259 w 165508"/>
                    <a:gd name="connsiteY1" fmla="*/ 0 h 165508"/>
                    <a:gd name="connsiteX2" fmla="*/ 0 w 165508"/>
                    <a:gd name="connsiteY2" fmla="*/ 165259 h 165508"/>
                    <a:gd name="connsiteX3" fmla="*/ 125539 w 165508"/>
                    <a:gd name="connsiteY3" fmla="*/ 125539 h 165508"/>
                  </a:gdLst>
                  <a:ahLst/>
                  <a:cxnLst>
                    <a:cxn ang="0">
                      <a:pos x="connsiteX0" y="connsiteY0"/>
                    </a:cxn>
                    <a:cxn ang="0">
                      <a:pos x="connsiteX1" y="connsiteY1"/>
                    </a:cxn>
                    <a:cxn ang="0">
                      <a:pos x="connsiteX2" y="connsiteY2"/>
                    </a:cxn>
                    <a:cxn ang="0">
                      <a:pos x="connsiteX3" y="connsiteY3"/>
                    </a:cxn>
                  </a:cxnLst>
                  <a:rect l="l" t="t" r="r" b="b"/>
                  <a:pathLst>
                    <a:path w="165508" h="165508">
                      <a:moveTo>
                        <a:pt x="125539" y="125539"/>
                      </a:moveTo>
                      <a:cubicBezTo>
                        <a:pt x="171164" y="79915"/>
                        <a:pt x="165259" y="0"/>
                        <a:pt x="165259" y="0"/>
                      </a:cubicBezTo>
                      <a:lnTo>
                        <a:pt x="0" y="165259"/>
                      </a:lnTo>
                      <a:cubicBezTo>
                        <a:pt x="0" y="165259"/>
                        <a:pt x="79915" y="171164"/>
                        <a:pt x="125539" y="125539"/>
                      </a:cubicBezTo>
                      <a:close/>
                    </a:path>
                  </a:pathLst>
                </a:custGeom>
                <a:solidFill>
                  <a:srgbClr val="E6E7E8">
                    <a:alpha val="25000"/>
                  </a:srgb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grpSp>
            <p:nvGrpSpPr>
              <p:cNvPr id="153" name="Graphic 7">
                <a:extLst>
                  <a:ext uri="{FF2B5EF4-FFF2-40B4-BE49-F238E27FC236}">
                    <a16:creationId xmlns:a16="http://schemas.microsoft.com/office/drawing/2014/main" id="{2C56AD1C-CFA7-4A99-AC5E-1D2984B91A4B}"/>
                  </a:ext>
                </a:extLst>
              </p:cNvPr>
              <p:cNvGrpSpPr/>
              <p:nvPr/>
            </p:nvGrpSpPr>
            <p:grpSpPr>
              <a:xfrm>
                <a:off x="5188648" y="3482149"/>
                <a:ext cx="121348" cy="233743"/>
                <a:chOff x="5188648" y="3482149"/>
                <a:chExt cx="121348" cy="233743"/>
              </a:xfrm>
            </p:grpSpPr>
            <p:sp>
              <p:nvSpPr>
                <p:cNvPr id="154" name="Freeform: Shape 155">
                  <a:extLst>
                    <a:ext uri="{FF2B5EF4-FFF2-40B4-BE49-F238E27FC236}">
                      <a16:creationId xmlns:a16="http://schemas.microsoft.com/office/drawing/2014/main" id="{DE70CF5A-23D0-488D-88FD-62EE293A0881}"/>
                    </a:ext>
                  </a:extLst>
                </p:cNvPr>
                <p:cNvSpPr/>
                <p:nvPr/>
              </p:nvSpPr>
              <p:spPr>
                <a:xfrm>
                  <a:off x="5188648" y="3482149"/>
                  <a:ext cx="121348" cy="233743"/>
                </a:xfrm>
                <a:custGeom>
                  <a:avLst/>
                  <a:gdLst>
                    <a:gd name="connsiteX0" fmla="*/ 121348 w 121348"/>
                    <a:gd name="connsiteY0" fmla="*/ 116872 h 233743"/>
                    <a:gd name="connsiteX1" fmla="*/ 60674 w 121348"/>
                    <a:gd name="connsiteY1" fmla="*/ 233743 h 233743"/>
                    <a:gd name="connsiteX2" fmla="*/ 0 w 121348"/>
                    <a:gd name="connsiteY2" fmla="*/ 116872 h 233743"/>
                    <a:gd name="connsiteX3" fmla="*/ 60674 w 121348"/>
                    <a:gd name="connsiteY3" fmla="*/ 0 h 233743"/>
                    <a:gd name="connsiteX4" fmla="*/ 121348 w 121348"/>
                    <a:gd name="connsiteY4" fmla="*/ 116872 h 2337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348" h="233743">
                      <a:moveTo>
                        <a:pt x="121348" y="116872"/>
                      </a:moveTo>
                      <a:cubicBezTo>
                        <a:pt x="121348" y="181451"/>
                        <a:pt x="60674" y="233743"/>
                        <a:pt x="60674" y="233743"/>
                      </a:cubicBezTo>
                      <a:cubicBezTo>
                        <a:pt x="60674" y="233743"/>
                        <a:pt x="0" y="181451"/>
                        <a:pt x="0" y="116872"/>
                      </a:cubicBezTo>
                      <a:cubicBezTo>
                        <a:pt x="0" y="52292"/>
                        <a:pt x="60674" y="0"/>
                        <a:pt x="60674" y="0"/>
                      </a:cubicBezTo>
                      <a:cubicBezTo>
                        <a:pt x="60674" y="0"/>
                        <a:pt x="121348" y="52388"/>
                        <a:pt x="121348" y="116872"/>
                      </a:cubicBezTo>
                      <a:close/>
                    </a:path>
                  </a:pathLst>
                </a:custGeom>
                <a:solidFill>
                  <a:srgbClr val="8DB936"/>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55" name="Freeform: Shape 156">
                  <a:extLst>
                    <a:ext uri="{FF2B5EF4-FFF2-40B4-BE49-F238E27FC236}">
                      <a16:creationId xmlns:a16="http://schemas.microsoft.com/office/drawing/2014/main" id="{1125A966-0C53-4B79-8E4F-1199FF313D1B}"/>
                    </a:ext>
                  </a:extLst>
                </p:cNvPr>
                <p:cNvSpPr/>
                <p:nvPr/>
              </p:nvSpPr>
              <p:spPr>
                <a:xfrm>
                  <a:off x="5249322" y="3482149"/>
                  <a:ext cx="60674" cy="233743"/>
                </a:xfrm>
                <a:custGeom>
                  <a:avLst/>
                  <a:gdLst>
                    <a:gd name="connsiteX0" fmla="*/ 60674 w 60674"/>
                    <a:gd name="connsiteY0" fmla="*/ 116872 h 233743"/>
                    <a:gd name="connsiteX1" fmla="*/ 0 w 60674"/>
                    <a:gd name="connsiteY1" fmla="*/ 0 h 233743"/>
                    <a:gd name="connsiteX2" fmla="*/ 0 w 60674"/>
                    <a:gd name="connsiteY2" fmla="*/ 233743 h 233743"/>
                    <a:gd name="connsiteX3" fmla="*/ 60674 w 60674"/>
                    <a:gd name="connsiteY3" fmla="*/ 116872 h 233743"/>
                  </a:gdLst>
                  <a:ahLst/>
                  <a:cxnLst>
                    <a:cxn ang="0">
                      <a:pos x="connsiteX0" y="connsiteY0"/>
                    </a:cxn>
                    <a:cxn ang="0">
                      <a:pos x="connsiteX1" y="connsiteY1"/>
                    </a:cxn>
                    <a:cxn ang="0">
                      <a:pos x="connsiteX2" y="connsiteY2"/>
                    </a:cxn>
                    <a:cxn ang="0">
                      <a:pos x="connsiteX3" y="connsiteY3"/>
                    </a:cxn>
                  </a:cxnLst>
                  <a:rect l="l" t="t" r="r" b="b"/>
                  <a:pathLst>
                    <a:path w="60674" h="233743">
                      <a:moveTo>
                        <a:pt x="60674" y="116872"/>
                      </a:moveTo>
                      <a:cubicBezTo>
                        <a:pt x="60674" y="52292"/>
                        <a:pt x="0" y="0"/>
                        <a:pt x="0" y="0"/>
                      </a:cubicBezTo>
                      <a:lnTo>
                        <a:pt x="0" y="233743"/>
                      </a:lnTo>
                      <a:cubicBezTo>
                        <a:pt x="0" y="233743"/>
                        <a:pt x="60674" y="181451"/>
                        <a:pt x="60674" y="116872"/>
                      </a:cubicBezTo>
                      <a:close/>
                    </a:path>
                  </a:pathLst>
                </a:custGeom>
                <a:solidFill>
                  <a:srgbClr val="E6E7E8">
                    <a:alpha val="25000"/>
                  </a:srgb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grpSp>
        <p:sp>
          <p:nvSpPr>
            <p:cNvPr id="13" name="Freeform: Shape 14">
              <a:extLst>
                <a:ext uri="{FF2B5EF4-FFF2-40B4-BE49-F238E27FC236}">
                  <a16:creationId xmlns:a16="http://schemas.microsoft.com/office/drawing/2014/main" id="{28590C2F-6BED-4B01-A5DD-0D114E729C62}"/>
                </a:ext>
              </a:extLst>
            </p:cNvPr>
            <p:cNvSpPr/>
            <p:nvPr/>
          </p:nvSpPr>
          <p:spPr>
            <a:xfrm>
              <a:off x="5505384" y="5087703"/>
              <a:ext cx="1142828" cy="804506"/>
            </a:xfrm>
            <a:custGeom>
              <a:avLst/>
              <a:gdLst>
                <a:gd name="connsiteX0" fmla="*/ 502063 w 618077"/>
                <a:gd name="connsiteY0" fmla="*/ 435102 h 435102"/>
                <a:gd name="connsiteX1" fmla="*/ 115919 w 618077"/>
                <a:gd name="connsiteY1" fmla="*/ 435102 h 435102"/>
                <a:gd name="connsiteX2" fmla="*/ 73914 w 618077"/>
                <a:gd name="connsiteY2" fmla="*/ 400145 h 435102"/>
                <a:gd name="connsiteX3" fmla="*/ 0 w 618077"/>
                <a:gd name="connsiteY3" fmla="*/ 0 h 435102"/>
                <a:gd name="connsiteX4" fmla="*/ 618077 w 618077"/>
                <a:gd name="connsiteY4" fmla="*/ 0 h 435102"/>
                <a:gd name="connsiteX5" fmla="*/ 544163 w 618077"/>
                <a:gd name="connsiteY5" fmla="*/ 400145 h 435102"/>
                <a:gd name="connsiteX6" fmla="*/ 502063 w 618077"/>
                <a:gd name="connsiteY6" fmla="*/ 435102 h 4351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18077" h="435102">
                  <a:moveTo>
                    <a:pt x="502063" y="435102"/>
                  </a:moveTo>
                  <a:lnTo>
                    <a:pt x="115919" y="435102"/>
                  </a:lnTo>
                  <a:cubicBezTo>
                    <a:pt x="95345" y="435102"/>
                    <a:pt x="77629" y="420434"/>
                    <a:pt x="73914" y="400145"/>
                  </a:cubicBezTo>
                  <a:lnTo>
                    <a:pt x="0" y="0"/>
                  </a:lnTo>
                  <a:lnTo>
                    <a:pt x="618077" y="0"/>
                  </a:lnTo>
                  <a:lnTo>
                    <a:pt x="544163" y="400145"/>
                  </a:lnTo>
                  <a:cubicBezTo>
                    <a:pt x="540353" y="420434"/>
                    <a:pt x="522637" y="435102"/>
                    <a:pt x="502063" y="435102"/>
                  </a:cubicBezTo>
                  <a:close/>
                </a:path>
              </a:pathLst>
            </a:custGeom>
            <a:solidFill>
              <a:srgbClr val="F6B31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4" name="Freeform: Shape 15">
              <a:extLst>
                <a:ext uri="{FF2B5EF4-FFF2-40B4-BE49-F238E27FC236}">
                  <a16:creationId xmlns:a16="http://schemas.microsoft.com/office/drawing/2014/main" id="{B35F7B79-38AA-46C9-9E49-5180C80B2647}"/>
                </a:ext>
              </a:extLst>
            </p:cNvPr>
            <p:cNvSpPr/>
            <p:nvPr/>
          </p:nvSpPr>
          <p:spPr>
            <a:xfrm>
              <a:off x="5415387" y="4922152"/>
              <a:ext cx="1322468" cy="165549"/>
            </a:xfrm>
            <a:custGeom>
              <a:avLst/>
              <a:gdLst>
                <a:gd name="connsiteX0" fmla="*/ 670465 w 715232"/>
                <a:gd name="connsiteY0" fmla="*/ 0 h 89534"/>
                <a:gd name="connsiteX1" fmla="*/ 44767 w 715232"/>
                <a:gd name="connsiteY1" fmla="*/ 0 h 89534"/>
                <a:gd name="connsiteX2" fmla="*/ 0 w 715232"/>
                <a:gd name="connsiteY2" fmla="*/ 44767 h 89534"/>
                <a:gd name="connsiteX3" fmla="*/ 0 w 715232"/>
                <a:gd name="connsiteY3" fmla="*/ 44767 h 89534"/>
                <a:gd name="connsiteX4" fmla="*/ 44767 w 715232"/>
                <a:gd name="connsiteY4" fmla="*/ 89535 h 89534"/>
                <a:gd name="connsiteX5" fmla="*/ 670465 w 715232"/>
                <a:gd name="connsiteY5" fmla="*/ 89535 h 89534"/>
                <a:gd name="connsiteX6" fmla="*/ 715232 w 715232"/>
                <a:gd name="connsiteY6" fmla="*/ 44767 h 89534"/>
                <a:gd name="connsiteX7" fmla="*/ 715232 w 715232"/>
                <a:gd name="connsiteY7" fmla="*/ 44767 h 89534"/>
                <a:gd name="connsiteX8" fmla="*/ 670465 w 715232"/>
                <a:gd name="connsiteY8" fmla="*/ 0 h 895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5232" h="89534">
                  <a:moveTo>
                    <a:pt x="670465" y="0"/>
                  </a:moveTo>
                  <a:lnTo>
                    <a:pt x="44767" y="0"/>
                  </a:lnTo>
                  <a:cubicBezTo>
                    <a:pt x="20002" y="0"/>
                    <a:pt x="0" y="20098"/>
                    <a:pt x="0" y="44767"/>
                  </a:cubicBezTo>
                  <a:lnTo>
                    <a:pt x="0" y="44767"/>
                  </a:lnTo>
                  <a:cubicBezTo>
                    <a:pt x="0" y="69533"/>
                    <a:pt x="20098" y="89535"/>
                    <a:pt x="44767" y="89535"/>
                  </a:cubicBezTo>
                  <a:lnTo>
                    <a:pt x="670465" y="89535"/>
                  </a:lnTo>
                  <a:cubicBezTo>
                    <a:pt x="695230" y="89535"/>
                    <a:pt x="715232" y="69437"/>
                    <a:pt x="715232" y="44767"/>
                  </a:cubicBezTo>
                  <a:lnTo>
                    <a:pt x="715232" y="44767"/>
                  </a:lnTo>
                  <a:cubicBezTo>
                    <a:pt x="715232" y="20003"/>
                    <a:pt x="695230" y="0"/>
                    <a:pt x="670465" y="0"/>
                  </a:cubicBezTo>
                  <a:close/>
                </a:path>
              </a:pathLst>
            </a:custGeom>
            <a:solidFill>
              <a:srgbClr val="F6B31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5" name="Freeform: Shape 16">
              <a:extLst>
                <a:ext uri="{FF2B5EF4-FFF2-40B4-BE49-F238E27FC236}">
                  <a16:creationId xmlns:a16="http://schemas.microsoft.com/office/drawing/2014/main" id="{A60F9A18-71D2-4E82-A5DB-6F4C2EA6A79C}"/>
                </a:ext>
              </a:extLst>
            </p:cNvPr>
            <p:cNvSpPr/>
            <p:nvPr/>
          </p:nvSpPr>
          <p:spPr>
            <a:xfrm>
              <a:off x="5505206" y="5087703"/>
              <a:ext cx="1142828" cy="62169"/>
            </a:xfrm>
            <a:custGeom>
              <a:avLst/>
              <a:gdLst>
                <a:gd name="connsiteX0" fmla="*/ 611886 w 618077"/>
                <a:gd name="connsiteY0" fmla="*/ 33623 h 33623"/>
                <a:gd name="connsiteX1" fmla="*/ 618077 w 618077"/>
                <a:gd name="connsiteY1" fmla="*/ 0 h 33623"/>
                <a:gd name="connsiteX2" fmla="*/ 0 w 618077"/>
                <a:gd name="connsiteY2" fmla="*/ 0 h 33623"/>
                <a:gd name="connsiteX3" fmla="*/ 6191 w 618077"/>
                <a:gd name="connsiteY3" fmla="*/ 33623 h 33623"/>
              </a:gdLst>
              <a:ahLst/>
              <a:cxnLst>
                <a:cxn ang="0">
                  <a:pos x="connsiteX0" y="connsiteY0"/>
                </a:cxn>
                <a:cxn ang="0">
                  <a:pos x="connsiteX1" y="connsiteY1"/>
                </a:cxn>
                <a:cxn ang="0">
                  <a:pos x="connsiteX2" y="connsiteY2"/>
                </a:cxn>
                <a:cxn ang="0">
                  <a:pos x="connsiteX3" y="connsiteY3"/>
                </a:cxn>
              </a:cxnLst>
              <a:rect l="l" t="t" r="r" b="b"/>
              <a:pathLst>
                <a:path w="618077" h="33623">
                  <a:moveTo>
                    <a:pt x="611886" y="33623"/>
                  </a:moveTo>
                  <a:lnTo>
                    <a:pt x="618077" y="0"/>
                  </a:lnTo>
                  <a:lnTo>
                    <a:pt x="0" y="0"/>
                  </a:lnTo>
                  <a:lnTo>
                    <a:pt x="6191" y="33623"/>
                  </a:lnTo>
                  <a:close/>
                </a:path>
              </a:pathLst>
            </a:custGeom>
            <a:solidFill>
              <a:srgbClr val="E6E7E8">
                <a:alpha val="25000"/>
              </a:srgb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nvGrpSpPr>
            <p:cNvPr id="16" name="Graphic 7">
              <a:extLst>
                <a:ext uri="{FF2B5EF4-FFF2-40B4-BE49-F238E27FC236}">
                  <a16:creationId xmlns:a16="http://schemas.microsoft.com/office/drawing/2014/main" id="{A032BE8D-9F23-48F8-98EE-8FF7D565593E}"/>
                </a:ext>
              </a:extLst>
            </p:cNvPr>
            <p:cNvGrpSpPr/>
            <p:nvPr/>
          </p:nvGrpSpPr>
          <p:grpSpPr>
            <a:xfrm>
              <a:off x="7070081" y="3438360"/>
              <a:ext cx="1096551" cy="1908588"/>
              <a:chOff x="5786378" y="3292220"/>
              <a:chExt cx="593049" cy="1032224"/>
            </a:xfrm>
          </p:grpSpPr>
          <p:sp>
            <p:nvSpPr>
              <p:cNvPr id="132" name="Freeform: Shape 133">
                <a:extLst>
                  <a:ext uri="{FF2B5EF4-FFF2-40B4-BE49-F238E27FC236}">
                    <a16:creationId xmlns:a16="http://schemas.microsoft.com/office/drawing/2014/main" id="{DF868865-061D-435B-A109-A368E0F6AA7D}"/>
                  </a:ext>
                </a:extLst>
              </p:cNvPr>
              <p:cNvSpPr/>
              <p:nvPr/>
            </p:nvSpPr>
            <p:spPr>
              <a:xfrm>
                <a:off x="6070473" y="3497103"/>
                <a:ext cx="19050" cy="827341"/>
              </a:xfrm>
              <a:custGeom>
                <a:avLst/>
                <a:gdLst>
                  <a:gd name="connsiteX0" fmla="*/ 0 w 19050"/>
                  <a:gd name="connsiteY0" fmla="*/ 0 h 827341"/>
                  <a:gd name="connsiteX1" fmla="*/ 19050 w 19050"/>
                  <a:gd name="connsiteY1" fmla="*/ 0 h 827341"/>
                  <a:gd name="connsiteX2" fmla="*/ 19050 w 19050"/>
                  <a:gd name="connsiteY2" fmla="*/ 827341 h 827341"/>
                  <a:gd name="connsiteX3" fmla="*/ 0 w 19050"/>
                  <a:gd name="connsiteY3" fmla="*/ 827341 h 827341"/>
                </a:gdLst>
                <a:ahLst/>
                <a:cxnLst>
                  <a:cxn ang="0">
                    <a:pos x="connsiteX0" y="connsiteY0"/>
                  </a:cxn>
                  <a:cxn ang="0">
                    <a:pos x="connsiteX1" y="connsiteY1"/>
                  </a:cxn>
                  <a:cxn ang="0">
                    <a:pos x="connsiteX2" y="connsiteY2"/>
                  </a:cxn>
                  <a:cxn ang="0">
                    <a:pos x="connsiteX3" y="connsiteY3"/>
                  </a:cxn>
                </a:cxnLst>
                <a:rect l="l" t="t" r="r" b="b"/>
                <a:pathLst>
                  <a:path w="19050" h="827341">
                    <a:moveTo>
                      <a:pt x="0" y="0"/>
                    </a:moveTo>
                    <a:lnTo>
                      <a:pt x="19050" y="0"/>
                    </a:lnTo>
                    <a:lnTo>
                      <a:pt x="19050" y="827341"/>
                    </a:lnTo>
                    <a:lnTo>
                      <a:pt x="0" y="827341"/>
                    </a:lnTo>
                    <a:close/>
                  </a:path>
                </a:pathLst>
              </a:custGeom>
              <a:solidFill>
                <a:srgbClr val="6B4B2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nvGrpSpPr>
              <p:cNvPr id="133" name="Graphic 7">
                <a:extLst>
                  <a:ext uri="{FF2B5EF4-FFF2-40B4-BE49-F238E27FC236}">
                    <a16:creationId xmlns:a16="http://schemas.microsoft.com/office/drawing/2014/main" id="{2DBB6F0C-93EA-409A-9EDE-24A10A224C09}"/>
                  </a:ext>
                </a:extLst>
              </p:cNvPr>
              <p:cNvGrpSpPr/>
              <p:nvPr/>
            </p:nvGrpSpPr>
            <p:grpSpPr>
              <a:xfrm>
                <a:off x="5914203" y="3845839"/>
                <a:ext cx="165758" cy="165767"/>
                <a:chOff x="5914203" y="3845839"/>
                <a:chExt cx="165758" cy="165767"/>
              </a:xfrm>
            </p:grpSpPr>
            <p:sp>
              <p:nvSpPr>
                <p:cNvPr id="148" name="Freeform: Shape 149">
                  <a:extLst>
                    <a:ext uri="{FF2B5EF4-FFF2-40B4-BE49-F238E27FC236}">
                      <a16:creationId xmlns:a16="http://schemas.microsoft.com/office/drawing/2014/main" id="{066B81AF-21B4-47F0-AB88-7F9EEF591E28}"/>
                    </a:ext>
                  </a:extLst>
                </p:cNvPr>
                <p:cNvSpPr/>
                <p:nvPr/>
              </p:nvSpPr>
              <p:spPr>
                <a:xfrm>
                  <a:off x="5914203" y="3845839"/>
                  <a:ext cx="165758" cy="165767"/>
                </a:xfrm>
                <a:custGeom>
                  <a:avLst/>
                  <a:gdLst>
                    <a:gd name="connsiteX0" fmla="*/ 125789 w 165758"/>
                    <a:gd name="connsiteY0" fmla="*/ 39979 h 165767"/>
                    <a:gd name="connsiteX1" fmla="*/ 165508 w 165758"/>
                    <a:gd name="connsiteY1" fmla="*/ 165518 h 165767"/>
                    <a:gd name="connsiteX2" fmla="*/ 39969 w 165758"/>
                    <a:gd name="connsiteY2" fmla="*/ 125799 h 165767"/>
                    <a:gd name="connsiteX3" fmla="*/ 250 w 165758"/>
                    <a:gd name="connsiteY3" fmla="*/ 259 h 165767"/>
                    <a:gd name="connsiteX4" fmla="*/ 125789 w 165758"/>
                    <a:gd name="connsiteY4" fmla="*/ 39979 h 1657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5758" h="165767">
                      <a:moveTo>
                        <a:pt x="125789" y="39979"/>
                      </a:moveTo>
                      <a:cubicBezTo>
                        <a:pt x="171414" y="85603"/>
                        <a:pt x="165508" y="165518"/>
                        <a:pt x="165508" y="165518"/>
                      </a:cubicBezTo>
                      <a:cubicBezTo>
                        <a:pt x="165508" y="165518"/>
                        <a:pt x="85594" y="171424"/>
                        <a:pt x="39969" y="125799"/>
                      </a:cubicBezTo>
                      <a:cubicBezTo>
                        <a:pt x="-5656" y="80174"/>
                        <a:pt x="250" y="259"/>
                        <a:pt x="250" y="259"/>
                      </a:cubicBezTo>
                      <a:cubicBezTo>
                        <a:pt x="250" y="259"/>
                        <a:pt x="80164" y="-5741"/>
                        <a:pt x="125789" y="39979"/>
                      </a:cubicBezTo>
                      <a:close/>
                    </a:path>
                  </a:pathLst>
                </a:custGeom>
                <a:solidFill>
                  <a:srgbClr val="8DB936"/>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49" name="Freeform: Shape 150">
                  <a:extLst>
                    <a:ext uri="{FF2B5EF4-FFF2-40B4-BE49-F238E27FC236}">
                      <a16:creationId xmlns:a16="http://schemas.microsoft.com/office/drawing/2014/main" id="{71EECFA1-0F3A-431F-AB14-5034EAA046EA}"/>
                    </a:ext>
                  </a:extLst>
                </p:cNvPr>
                <p:cNvSpPr/>
                <p:nvPr/>
              </p:nvSpPr>
              <p:spPr>
                <a:xfrm>
                  <a:off x="5914453" y="3845849"/>
                  <a:ext cx="165508" cy="165508"/>
                </a:xfrm>
                <a:custGeom>
                  <a:avLst/>
                  <a:gdLst>
                    <a:gd name="connsiteX0" fmla="*/ 125539 w 165508"/>
                    <a:gd name="connsiteY0" fmla="*/ 39969 h 165508"/>
                    <a:gd name="connsiteX1" fmla="*/ 0 w 165508"/>
                    <a:gd name="connsiteY1" fmla="*/ 250 h 165508"/>
                    <a:gd name="connsiteX2" fmla="*/ 165259 w 165508"/>
                    <a:gd name="connsiteY2" fmla="*/ 165509 h 165508"/>
                    <a:gd name="connsiteX3" fmla="*/ 125539 w 165508"/>
                    <a:gd name="connsiteY3" fmla="*/ 39969 h 165508"/>
                  </a:gdLst>
                  <a:ahLst/>
                  <a:cxnLst>
                    <a:cxn ang="0">
                      <a:pos x="connsiteX0" y="connsiteY0"/>
                    </a:cxn>
                    <a:cxn ang="0">
                      <a:pos x="connsiteX1" y="connsiteY1"/>
                    </a:cxn>
                    <a:cxn ang="0">
                      <a:pos x="connsiteX2" y="connsiteY2"/>
                    </a:cxn>
                    <a:cxn ang="0">
                      <a:pos x="connsiteX3" y="connsiteY3"/>
                    </a:cxn>
                  </a:cxnLst>
                  <a:rect l="l" t="t" r="r" b="b"/>
                  <a:pathLst>
                    <a:path w="165508" h="165508">
                      <a:moveTo>
                        <a:pt x="125539" y="39969"/>
                      </a:moveTo>
                      <a:cubicBezTo>
                        <a:pt x="79915" y="-5656"/>
                        <a:pt x="0" y="250"/>
                        <a:pt x="0" y="250"/>
                      </a:cubicBezTo>
                      <a:lnTo>
                        <a:pt x="165259" y="165509"/>
                      </a:lnTo>
                      <a:cubicBezTo>
                        <a:pt x="165259" y="165509"/>
                        <a:pt x="171164" y="85594"/>
                        <a:pt x="125539" y="39969"/>
                      </a:cubicBezTo>
                      <a:close/>
                    </a:path>
                  </a:pathLst>
                </a:custGeom>
                <a:solidFill>
                  <a:srgbClr val="E6E7E8">
                    <a:alpha val="25000"/>
                  </a:srgb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grpSp>
            <p:nvGrpSpPr>
              <p:cNvPr id="134" name="Graphic 7">
                <a:extLst>
                  <a:ext uri="{FF2B5EF4-FFF2-40B4-BE49-F238E27FC236}">
                    <a16:creationId xmlns:a16="http://schemas.microsoft.com/office/drawing/2014/main" id="{3979946A-7586-43F4-B406-3069A9101522}"/>
                  </a:ext>
                </a:extLst>
              </p:cNvPr>
              <p:cNvGrpSpPr/>
              <p:nvPr/>
            </p:nvGrpSpPr>
            <p:grpSpPr>
              <a:xfrm>
                <a:off x="6079938" y="3735835"/>
                <a:ext cx="165767" cy="165758"/>
                <a:chOff x="6079938" y="3735835"/>
                <a:chExt cx="165767" cy="165758"/>
              </a:xfrm>
            </p:grpSpPr>
            <p:sp>
              <p:nvSpPr>
                <p:cNvPr id="146" name="Freeform: Shape 147">
                  <a:extLst>
                    <a:ext uri="{FF2B5EF4-FFF2-40B4-BE49-F238E27FC236}">
                      <a16:creationId xmlns:a16="http://schemas.microsoft.com/office/drawing/2014/main" id="{76D40D29-97C5-479E-AF58-7B4822E11A13}"/>
                    </a:ext>
                  </a:extLst>
                </p:cNvPr>
                <p:cNvSpPr/>
                <p:nvPr/>
              </p:nvSpPr>
              <p:spPr>
                <a:xfrm>
                  <a:off x="6079938" y="3735835"/>
                  <a:ext cx="165767" cy="165758"/>
                </a:xfrm>
                <a:custGeom>
                  <a:avLst/>
                  <a:gdLst>
                    <a:gd name="connsiteX0" fmla="*/ 125789 w 165767"/>
                    <a:gd name="connsiteY0" fmla="*/ 125789 h 165758"/>
                    <a:gd name="connsiteX1" fmla="*/ 250 w 165767"/>
                    <a:gd name="connsiteY1" fmla="*/ 165508 h 165758"/>
                    <a:gd name="connsiteX2" fmla="*/ 39969 w 165767"/>
                    <a:gd name="connsiteY2" fmla="*/ 39969 h 165758"/>
                    <a:gd name="connsiteX3" fmla="*/ 165509 w 165767"/>
                    <a:gd name="connsiteY3" fmla="*/ 250 h 165758"/>
                    <a:gd name="connsiteX4" fmla="*/ 125789 w 165767"/>
                    <a:gd name="connsiteY4" fmla="*/ 125789 h 1657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5767" h="165758">
                      <a:moveTo>
                        <a:pt x="125789" y="125789"/>
                      </a:moveTo>
                      <a:cubicBezTo>
                        <a:pt x="80164" y="171414"/>
                        <a:pt x="250" y="165508"/>
                        <a:pt x="250" y="165508"/>
                      </a:cubicBezTo>
                      <a:cubicBezTo>
                        <a:pt x="250" y="165508"/>
                        <a:pt x="-5656" y="85594"/>
                        <a:pt x="39969" y="39969"/>
                      </a:cubicBezTo>
                      <a:cubicBezTo>
                        <a:pt x="85594" y="-5656"/>
                        <a:pt x="165509" y="250"/>
                        <a:pt x="165509" y="250"/>
                      </a:cubicBezTo>
                      <a:cubicBezTo>
                        <a:pt x="165509" y="250"/>
                        <a:pt x="171509" y="80164"/>
                        <a:pt x="125789" y="125789"/>
                      </a:cubicBezTo>
                      <a:close/>
                    </a:path>
                  </a:pathLst>
                </a:custGeom>
                <a:solidFill>
                  <a:srgbClr val="8DB936"/>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47" name="Freeform: Shape 148">
                  <a:extLst>
                    <a:ext uri="{FF2B5EF4-FFF2-40B4-BE49-F238E27FC236}">
                      <a16:creationId xmlns:a16="http://schemas.microsoft.com/office/drawing/2014/main" id="{FCF5F0C9-46D0-4BD9-8EDF-7496D9270B3A}"/>
                    </a:ext>
                  </a:extLst>
                </p:cNvPr>
                <p:cNvSpPr/>
                <p:nvPr/>
              </p:nvSpPr>
              <p:spPr>
                <a:xfrm>
                  <a:off x="6080188" y="3736085"/>
                  <a:ext cx="165508" cy="165508"/>
                </a:xfrm>
                <a:custGeom>
                  <a:avLst/>
                  <a:gdLst>
                    <a:gd name="connsiteX0" fmla="*/ 125540 w 165508"/>
                    <a:gd name="connsiteY0" fmla="*/ 125539 h 165508"/>
                    <a:gd name="connsiteX1" fmla="*/ 165259 w 165508"/>
                    <a:gd name="connsiteY1" fmla="*/ 0 h 165508"/>
                    <a:gd name="connsiteX2" fmla="*/ 0 w 165508"/>
                    <a:gd name="connsiteY2" fmla="*/ 165259 h 165508"/>
                    <a:gd name="connsiteX3" fmla="*/ 125540 w 165508"/>
                    <a:gd name="connsiteY3" fmla="*/ 125539 h 165508"/>
                  </a:gdLst>
                  <a:ahLst/>
                  <a:cxnLst>
                    <a:cxn ang="0">
                      <a:pos x="connsiteX0" y="connsiteY0"/>
                    </a:cxn>
                    <a:cxn ang="0">
                      <a:pos x="connsiteX1" y="connsiteY1"/>
                    </a:cxn>
                    <a:cxn ang="0">
                      <a:pos x="connsiteX2" y="connsiteY2"/>
                    </a:cxn>
                    <a:cxn ang="0">
                      <a:pos x="connsiteX3" y="connsiteY3"/>
                    </a:cxn>
                  </a:cxnLst>
                  <a:rect l="l" t="t" r="r" b="b"/>
                  <a:pathLst>
                    <a:path w="165508" h="165508">
                      <a:moveTo>
                        <a:pt x="125540" y="125539"/>
                      </a:moveTo>
                      <a:cubicBezTo>
                        <a:pt x="171164" y="79915"/>
                        <a:pt x="165259" y="0"/>
                        <a:pt x="165259" y="0"/>
                      </a:cubicBezTo>
                      <a:lnTo>
                        <a:pt x="0" y="165259"/>
                      </a:lnTo>
                      <a:cubicBezTo>
                        <a:pt x="95" y="165259"/>
                        <a:pt x="79915" y="171164"/>
                        <a:pt x="125540" y="125539"/>
                      </a:cubicBezTo>
                      <a:close/>
                    </a:path>
                  </a:pathLst>
                </a:custGeom>
                <a:solidFill>
                  <a:srgbClr val="E6E7E8">
                    <a:alpha val="25000"/>
                  </a:srgb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grpSp>
            <p:nvGrpSpPr>
              <p:cNvPr id="135" name="Graphic 7">
                <a:extLst>
                  <a:ext uri="{FF2B5EF4-FFF2-40B4-BE49-F238E27FC236}">
                    <a16:creationId xmlns:a16="http://schemas.microsoft.com/office/drawing/2014/main" id="{BB1BCEB9-C558-4224-BD66-123929BF8303}"/>
                  </a:ext>
                </a:extLst>
              </p:cNvPr>
              <p:cNvGrpSpPr/>
              <p:nvPr/>
            </p:nvGrpSpPr>
            <p:grpSpPr>
              <a:xfrm>
                <a:off x="6019609" y="3292220"/>
                <a:ext cx="121348" cy="233743"/>
                <a:chOff x="6019609" y="3292220"/>
                <a:chExt cx="121348" cy="233743"/>
              </a:xfrm>
            </p:grpSpPr>
            <p:sp>
              <p:nvSpPr>
                <p:cNvPr id="144" name="Freeform: Shape 145">
                  <a:extLst>
                    <a:ext uri="{FF2B5EF4-FFF2-40B4-BE49-F238E27FC236}">
                      <a16:creationId xmlns:a16="http://schemas.microsoft.com/office/drawing/2014/main" id="{B8EF9875-3E1E-4D75-85EB-F50526FB4376}"/>
                    </a:ext>
                  </a:extLst>
                </p:cNvPr>
                <p:cNvSpPr/>
                <p:nvPr/>
              </p:nvSpPr>
              <p:spPr>
                <a:xfrm>
                  <a:off x="6019609" y="3292220"/>
                  <a:ext cx="121348" cy="233743"/>
                </a:xfrm>
                <a:custGeom>
                  <a:avLst/>
                  <a:gdLst>
                    <a:gd name="connsiteX0" fmla="*/ 121349 w 121348"/>
                    <a:gd name="connsiteY0" fmla="*/ 116872 h 233743"/>
                    <a:gd name="connsiteX1" fmla="*/ 60674 w 121348"/>
                    <a:gd name="connsiteY1" fmla="*/ 233743 h 233743"/>
                    <a:gd name="connsiteX2" fmla="*/ 0 w 121348"/>
                    <a:gd name="connsiteY2" fmla="*/ 116872 h 233743"/>
                    <a:gd name="connsiteX3" fmla="*/ 60674 w 121348"/>
                    <a:gd name="connsiteY3" fmla="*/ 0 h 233743"/>
                    <a:gd name="connsiteX4" fmla="*/ 121349 w 121348"/>
                    <a:gd name="connsiteY4" fmla="*/ 116872 h 2337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348" h="233743">
                      <a:moveTo>
                        <a:pt x="121349" y="116872"/>
                      </a:moveTo>
                      <a:cubicBezTo>
                        <a:pt x="121349" y="181451"/>
                        <a:pt x="60674" y="233743"/>
                        <a:pt x="60674" y="233743"/>
                      </a:cubicBezTo>
                      <a:cubicBezTo>
                        <a:pt x="60674" y="233743"/>
                        <a:pt x="0" y="181451"/>
                        <a:pt x="0" y="116872"/>
                      </a:cubicBezTo>
                      <a:cubicBezTo>
                        <a:pt x="0" y="52292"/>
                        <a:pt x="60674" y="0"/>
                        <a:pt x="60674" y="0"/>
                      </a:cubicBezTo>
                      <a:cubicBezTo>
                        <a:pt x="60674" y="0"/>
                        <a:pt x="121349" y="52292"/>
                        <a:pt x="121349" y="116872"/>
                      </a:cubicBezTo>
                      <a:close/>
                    </a:path>
                  </a:pathLst>
                </a:custGeom>
                <a:solidFill>
                  <a:srgbClr val="8DB936"/>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45" name="Freeform: Shape 146">
                  <a:extLst>
                    <a:ext uri="{FF2B5EF4-FFF2-40B4-BE49-F238E27FC236}">
                      <a16:creationId xmlns:a16="http://schemas.microsoft.com/office/drawing/2014/main" id="{9807D9A2-037E-4DBE-8FD1-764C9AF35F76}"/>
                    </a:ext>
                  </a:extLst>
                </p:cNvPr>
                <p:cNvSpPr/>
                <p:nvPr/>
              </p:nvSpPr>
              <p:spPr>
                <a:xfrm>
                  <a:off x="6080283" y="3292220"/>
                  <a:ext cx="60674" cy="233743"/>
                </a:xfrm>
                <a:custGeom>
                  <a:avLst/>
                  <a:gdLst>
                    <a:gd name="connsiteX0" fmla="*/ 60674 w 60674"/>
                    <a:gd name="connsiteY0" fmla="*/ 116872 h 233743"/>
                    <a:gd name="connsiteX1" fmla="*/ 0 w 60674"/>
                    <a:gd name="connsiteY1" fmla="*/ 0 h 233743"/>
                    <a:gd name="connsiteX2" fmla="*/ 0 w 60674"/>
                    <a:gd name="connsiteY2" fmla="*/ 233743 h 233743"/>
                    <a:gd name="connsiteX3" fmla="*/ 60674 w 60674"/>
                    <a:gd name="connsiteY3" fmla="*/ 116872 h 233743"/>
                  </a:gdLst>
                  <a:ahLst/>
                  <a:cxnLst>
                    <a:cxn ang="0">
                      <a:pos x="connsiteX0" y="connsiteY0"/>
                    </a:cxn>
                    <a:cxn ang="0">
                      <a:pos x="connsiteX1" y="connsiteY1"/>
                    </a:cxn>
                    <a:cxn ang="0">
                      <a:pos x="connsiteX2" y="connsiteY2"/>
                    </a:cxn>
                    <a:cxn ang="0">
                      <a:pos x="connsiteX3" y="connsiteY3"/>
                    </a:cxn>
                  </a:cxnLst>
                  <a:rect l="l" t="t" r="r" b="b"/>
                  <a:pathLst>
                    <a:path w="60674" h="233743">
                      <a:moveTo>
                        <a:pt x="60674" y="116872"/>
                      </a:moveTo>
                      <a:cubicBezTo>
                        <a:pt x="60674" y="52292"/>
                        <a:pt x="0" y="0"/>
                        <a:pt x="0" y="0"/>
                      </a:cubicBezTo>
                      <a:lnTo>
                        <a:pt x="0" y="233743"/>
                      </a:lnTo>
                      <a:cubicBezTo>
                        <a:pt x="0" y="233648"/>
                        <a:pt x="60674" y="181356"/>
                        <a:pt x="60674" y="116872"/>
                      </a:cubicBezTo>
                      <a:close/>
                    </a:path>
                  </a:pathLst>
                </a:custGeom>
                <a:solidFill>
                  <a:srgbClr val="E6E7E8">
                    <a:alpha val="25000"/>
                  </a:srgb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sp>
            <p:nvSpPr>
              <p:cNvPr id="136" name="Freeform: Shape 137">
                <a:extLst>
                  <a:ext uri="{FF2B5EF4-FFF2-40B4-BE49-F238E27FC236}">
                    <a16:creationId xmlns:a16="http://schemas.microsoft.com/office/drawing/2014/main" id="{5D075B1C-781F-4E66-8AF8-0BAF7B8A4A73}"/>
                  </a:ext>
                </a:extLst>
              </p:cNvPr>
              <p:cNvSpPr/>
              <p:nvPr/>
            </p:nvSpPr>
            <p:spPr>
              <a:xfrm rot="-2700000">
                <a:off x="5994951" y="3573296"/>
                <a:ext cx="19049" cy="214310"/>
              </a:xfrm>
              <a:custGeom>
                <a:avLst/>
                <a:gdLst>
                  <a:gd name="connsiteX0" fmla="*/ 0 w 19049"/>
                  <a:gd name="connsiteY0" fmla="*/ 0 h 214310"/>
                  <a:gd name="connsiteX1" fmla="*/ 19050 w 19049"/>
                  <a:gd name="connsiteY1" fmla="*/ 0 h 214310"/>
                  <a:gd name="connsiteX2" fmla="*/ 19050 w 19049"/>
                  <a:gd name="connsiteY2" fmla="*/ 214310 h 214310"/>
                  <a:gd name="connsiteX3" fmla="*/ 0 w 19049"/>
                  <a:gd name="connsiteY3" fmla="*/ 214310 h 214310"/>
                </a:gdLst>
                <a:ahLst/>
                <a:cxnLst>
                  <a:cxn ang="0">
                    <a:pos x="connsiteX0" y="connsiteY0"/>
                  </a:cxn>
                  <a:cxn ang="0">
                    <a:pos x="connsiteX1" y="connsiteY1"/>
                  </a:cxn>
                  <a:cxn ang="0">
                    <a:pos x="connsiteX2" y="connsiteY2"/>
                  </a:cxn>
                  <a:cxn ang="0">
                    <a:pos x="connsiteX3" y="connsiteY3"/>
                  </a:cxn>
                </a:cxnLst>
                <a:rect l="l" t="t" r="r" b="b"/>
                <a:pathLst>
                  <a:path w="19049" h="214310">
                    <a:moveTo>
                      <a:pt x="0" y="0"/>
                    </a:moveTo>
                    <a:lnTo>
                      <a:pt x="19050" y="0"/>
                    </a:lnTo>
                    <a:lnTo>
                      <a:pt x="19050" y="214310"/>
                    </a:lnTo>
                    <a:lnTo>
                      <a:pt x="0" y="214310"/>
                    </a:lnTo>
                    <a:close/>
                  </a:path>
                </a:pathLst>
              </a:custGeom>
              <a:solidFill>
                <a:srgbClr val="6B4B2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nvGrpSpPr>
              <p:cNvPr id="137" name="Graphic 7">
                <a:extLst>
                  <a:ext uri="{FF2B5EF4-FFF2-40B4-BE49-F238E27FC236}">
                    <a16:creationId xmlns:a16="http://schemas.microsoft.com/office/drawing/2014/main" id="{F69D7E9E-B393-4AB3-ACA9-E9D45FF90EF6}"/>
                  </a:ext>
                </a:extLst>
              </p:cNvPr>
              <p:cNvGrpSpPr/>
              <p:nvPr/>
            </p:nvGrpSpPr>
            <p:grpSpPr>
              <a:xfrm>
                <a:off x="5786378" y="3463611"/>
                <a:ext cx="165758" cy="165758"/>
                <a:chOff x="5786378" y="3463611"/>
                <a:chExt cx="165758" cy="165758"/>
              </a:xfrm>
            </p:grpSpPr>
            <p:sp>
              <p:nvSpPr>
                <p:cNvPr id="142" name="Freeform: Shape 143">
                  <a:extLst>
                    <a:ext uri="{FF2B5EF4-FFF2-40B4-BE49-F238E27FC236}">
                      <a16:creationId xmlns:a16="http://schemas.microsoft.com/office/drawing/2014/main" id="{92C3BC9D-3F9C-4270-859B-9635914D652A}"/>
                    </a:ext>
                  </a:extLst>
                </p:cNvPr>
                <p:cNvSpPr/>
                <p:nvPr/>
              </p:nvSpPr>
              <p:spPr>
                <a:xfrm>
                  <a:off x="5786378" y="3463611"/>
                  <a:ext cx="165758" cy="165758"/>
                </a:xfrm>
                <a:custGeom>
                  <a:avLst/>
                  <a:gdLst>
                    <a:gd name="connsiteX0" fmla="*/ 125789 w 165758"/>
                    <a:gd name="connsiteY0" fmla="*/ 39969 h 165758"/>
                    <a:gd name="connsiteX1" fmla="*/ 165508 w 165758"/>
                    <a:gd name="connsiteY1" fmla="*/ 165508 h 165758"/>
                    <a:gd name="connsiteX2" fmla="*/ 39969 w 165758"/>
                    <a:gd name="connsiteY2" fmla="*/ 125789 h 165758"/>
                    <a:gd name="connsiteX3" fmla="*/ 250 w 165758"/>
                    <a:gd name="connsiteY3" fmla="*/ 250 h 165758"/>
                    <a:gd name="connsiteX4" fmla="*/ 125789 w 165758"/>
                    <a:gd name="connsiteY4" fmla="*/ 39969 h 1657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5758" h="165758">
                      <a:moveTo>
                        <a:pt x="125789" y="39969"/>
                      </a:moveTo>
                      <a:cubicBezTo>
                        <a:pt x="171414" y="85594"/>
                        <a:pt x="165508" y="165508"/>
                        <a:pt x="165508" y="165508"/>
                      </a:cubicBezTo>
                      <a:cubicBezTo>
                        <a:pt x="165508" y="165508"/>
                        <a:pt x="85594" y="171414"/>
                        <a:pt x="39969" y="125789"/>
                      </a:cubicBezTo>
                      <a:cubicBezTo>
                        <a:pt x="-5656" y="80164"/>
                        <a:pt x="250" y="250"/>
                        <a:pt x="250" y="250"/>
                      </a:cubicBezTo>
                      <a:cubicBezTo>
                        <a:pt x="250" y="250"/>
                        <a:pt x="80069" y="-5656"/>
                        <a:pt x="125789" y="39969"/>
                      </a:cubicBezTo>
                      <a:close/>
                    </a:path>
                  </a:pathLst>
                </a:custGeom>
                <a:solidFill>
                  <a:srgbClr val="8DB936"/>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43" name="Freeform: Shape 144">
                  <a:extLst>
                    <a:ext uri="{FF2B5EF4-FFF2-40B4-BE49-F238E27FC236}">
                      <a16:creationId xmlns:a16="http://schemas.microsoft.com/office/drawing/2014/main" id="{0AF85B8A-5DF2-48BA-A86D-A254071CDF83}"/>
                    </a:ext>
                  </a:extLst>
                </p:cNvPr>
                <p:cNvSpPr/>
                <p:nvPr/>
              </p:nvSpPr>
              <p:spPr>
                <a:xfrm>
                  <a:off x="5786628" y="3463611"/>
                  <a:ext cx="165471" cy="165508"/>
                </a:xfrm>
                <a:custGeom>
                  <a:avLst/>
                  <a:gdLst>
                    <a:gd name="connsiteX0" fmla="*/ 125539 w 165471"/>
                    <a:gd name="connsiteY0" fmla="*/ 39969 h 165508"/>
                    <a:gd name="connsiteX1" fmla="*/ 0 w 165471"/>
                    <a:gd name="connsiteY1" fmla="*/ 250 h 165508"/>
                    <a:gd name="connsiteX2" fmla="*/ 165259 w 165471"/>
                    <a:gd name="connsiteY2" fmla="*/ 165508 h 165508"/>
                    <a:gd name="connsiteX3" fmla="*/ 125539 w 165471"/>
                    <a:gd name="connsiteY3" fmla="*/ 39969 h 165508"/>
                  </a:gdLst>
                  <a:ahLst/>
                  <a:cxnLst>
                    <a:cxn ang="0">
                      <a:pos x="connsiteX0" y="connsiteY0"/>
                    </a:cxn>
                    <a:cxn ang="0">
                      <a:pos x="connsiteX1" y="connsiteY1"/>
                    </a:cxn>
                    <a:cxn ang="0">
                      <a:pos x="connsiteX2" y="connsiteY2"/>
                    </a:cxn>
                    <a:cxn ang="0">
                      <a:pos x="connsiteX3" y="connsiteY3"/>
                    </a:cxn>
                  </a:cxnLst>
                  <a:rect l="l" t="t" r="r" b="b"/>
                  <a:pathLst>
                    <a:path w="165471" h="165508">
                      <a:moveTo>
                        <a:pt x="125539" y="39969"/>
                      </a:moveTo>
                      <a:cubicBezTo>
                        <a:pt x="79915" y="-5656"/>
                        <a:pt x="0" y="250"/>
                        <a:pt x="0" y="250"/>
                      </a:cubicBezTo>
                      <a:lnTo>
                        <a:pt x="165259" y="165508"/>
                      </a:lnTo>
                      <a:cubicBezTo>
                        <a:pt x="165163" y="165508"/>
                        <a:pt x="171164" y="85594"/>
                        <a:pt x="125539" y="39969"/>
                      </a:cubicBezTo>
                      <a:close/>
                    </a:path>
                  </a:pathLst>
                </a:custGeom>
                <a:solidFill>
                  <a:srgbClr val="E6E7E8">
                    <a:alpha val="25000"/>
                  </a:srgb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sp>
            <p:nvSpPr>
              <p:cNvPr id="138" name="Freeform: Shape 139">
                <a:extLst>
                  <a:ext uri="{FF2B5EF4-FFF2-40B4-BE49-F238E27FC236}">
                    <a16:creationId xmlns:a16="http://schemas.microsoft.com/office/drawing/2014/main" id="{CE056960-3EE9-4A3C-AEA9-63E69FED102B}"/>
                  </a:ext>
                </a:extLst>
              </p:cNvPr>
              <p:cNvSpPr/>
              <p:nvPr/>
            </p:nvSpPr>
            <p:spPr>
              <a:xfrm rot="-2700000">
                <a:off x="6048214" y="3567132"/>
                <a:ext cx="218596" cy="19049"/>
              </a:xfrm>
              <a:custGeom>
                <a:avLst/>
                <a:gdLst>
                  <a:gd name="connsiteX0" fmla="*/ 0 w 218596"/>
                  <a:gd name="connsiteY0" fmla="*/ 0 h 19049"/>
                  <a:gd name="connsiteX1" fmla="*/ 218597 w 218596"/>
                  <a:gd name="connsiteY1" fmla="*/ 0 h 19049"/>
                  <a:gd name="connsiteX2" fmla="*/ 218597 w 218596"/>
                  <a:gd name="connsiteY2" fmla="*/ 19050 h 19049"/>
                  <a:gd name="connsiteX3" fmla="*/ 0 w 218596"/>
                  <a:gd name="connsiteY3" fmla="*/ 19050 h 19049"/>
                </a:gdLst>
                <a:ahLst/>
                <a:cxnLst>
                  <a:cxn ang="0">
                    <a:pos x="connsiteX0" y="connsiteY0"/>
                  </a:cxn>
                  <a:cxn ang="0">
                    <a:pos x="connsiteX1" y="connsiteY1"/>
                  </a:cxn>
                  <a:cxn ang="0">
                    <a:pos x="connsiteX2" y="connsiteY2"/>
                  </a:cxn>
                  <a:cxn ang="0">
                    <a:pos x="connsiteX3" y="connsiteY3"/>
                  </a:cxn>
                </a:cxnLst>
                <a:rect l="l" t="t" r="r" b="b"/>
                <a:pathLst>
                  <a:path w="218596" h="19049">
                    <a:moveTo>
                      <a:pt x="0" y="0"/>
                    </a:moveTo>
                    <a:lnTo>
                      <a:pt x="218597" y="0"/>
                    </a:lnTo>
                    <a:lnTo>
                      <a:pt x="218597" y="19050"/>
                    </a:lnTo>
                    <a:lnTo>
                      <a:pt x="0" y="19050"/>
                    </a:lnTo>
                    <a:close/>
                  </a:path>
                </a:pathLst>
              </a:custGeom>
              <a:solidFill>
                <a:srgbClr val="6B4B2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nvGrpSpPr>
              <p:cNvPr id="139" name="Graphic 7">
                <a:extLst>
                  <a:ext uri="{FF2B5EF4-FFF2-40B4-BE49-F238E27FC236}">
                    <a16:creationId xmlns:a16="http://schemas.microsoft.com/office/drawing/2014/main" id="{FC87CD54-3C54-4847-8E4B-329D71854A64}"/>
                  </a:ext>
                </a:extLst>
              </p:cNvPr>
              <p:cNvGrpSpPr/>
              <p:nvPr/>
            </p:nvGrpSpPr>
            <p:grpSpPr>
              <a:xfrm>
                <a:off x="6213669" y="3350930"/>
                <a:ext cx="165758" cy="165758"/>
                <a:chOff x="6213669" y="3350930"/>
                <a:chExt cx="165758" cy="165758"/>
              </a:xfrm>
            </p:grpSpPr>
            <p:sp>
              <p:nvSpPr>
                <p:cNvPr id="140" name="Freeform: Shape 141">
                  <a:extLst>
                    <a:ext uri="{FF2B5EF4-FFF2-40B4-BE49-F238E27FC236}">
                      <a16:creationId xmlns:a16="http://schemas.microsoft.com/office/drawing/2014/main" id="{5742CBEA-4AD4-4843-BE5E-7D6290D1DCC6}"/>
                    </a:ext>
                  </a:extLst>
                </p:cNvPr>
                <p:cNvSpPr/>
                <p:nvPr/>
              </p:nvSpPr>
              <p:spPr>
                <a:xfrm>
                  <a:off x="6213669" y="3350930"/>
                  <a:ext cx="165758" cy="165758"/>
                </a:xfrm>
                <a:custGeom>
                  <a:avLst/>
                  <a:gdLst>
                    <a:gd name="connsiteX0" fmla="*/ 125789 w 165758"/>
                    <a:gd name="connsiteY0" fmla="*/ 125789 h 165758"/>
                    <a:gd name="connsiteX1" fmla="*/ 250 w 165758"/>
                    <a:gd name="connsiteY1" fmla="*/ 165508 h 165758"/>
                    <a:gd name="connsiteX2" fmla="*/ 39969 w 165758"/>
                    <a:gd name="connsiteY2" fmla="*/ 39969 h 165758"/>
                    <a:gd name="connsiteX3" fmla="*/ 165508 w 165758"/>
                    <a:gd name="connsiteY3" fmla="*/ 250 h 165758"/>
                    <a:gd name="connsiteX4" fmla="*/ 125789 w 165758"/>
                    <a:gd name="connsiteY4" fmla="*/ 125789 h 1657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5758" h="165758">
                      <a:moveTo>
                        <a:pt x="125789" y="125789"/>
                      </a:moveTo>
                      <a:cubicBezTo>
                        <a:pt x="80164" y="171414"/>
                        <a:pt x="250" y="165508"/>
                        <a:pt x="250" y="165508"/>
                      </a:cubicBezTo>
                      <a:cubicBezTo>
                        <a:pt x="250" y="165508"/>
                        <a:pt x="-5656" y="85594"/>
                        <a:pt x="39969" y="39969"/>
                      </a:cubicBezTo>
                      <a:cubicBezTo>
                        <a:pt x="85594" y="-5656"/>
                        <a:pt x="165508" y="250"/>
                        <a:pt x="165508" y="250"/>
                      </a:cubicBezTo>
                      <a:cubicBezTo>
                        <a:pt x="165508" y="250"/>
                        <a:pt x="171414" y="80164"/>
                        <a:pt x="125789" y="125789"/>
                      </a:cubicBezTo>
                      <a:close/>
                    </a:path>
                  </a:pathLst>
                </a:custGeom>
                <a:solidFill>
                  <a:srgbClr val="8DB936"/>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41" name="Freeform: Shape 142">
                  <a:extLst>
                    <a:ext uri="{FF2B5EF4-FFF2-40B4-BE49-F238E27FC236}">
                      <a16:creationId xmlns:a16="http://schemas.microsoft.com/office/drawing/2014/main" id="{23FF2B76-DB50-4F28-B1F4-5EBB2FC6DC19}"/>
                    </a:ext>
                  </a:extLst>
                </p:cNvPr>
                <p:cNvSpPr/>
                <p:nvPr/>
              </p:nvSpPr>
              <p:spPr>
                <a:xfrm>
                  <a:off x="6213919" y="3351180"/>
                  <a:ext cx="165508" cy="165508"/>
                </a:xfrm>
                <a:custGeom>
                  <a:avLst/>
                  <a:gdLst>
                    <a:gd name="connsiteX0" fmla="*/ 125539 w 165508"/>
                    <a:gd name="connsiteY0" fmla="*/ 125539 h 165508"/>
                    <a:gd name="connsiteX1" fmla="*/ 165259 w 165508"/>
                    <a:gd name="connsiteY1" fmla="*/ 0 h 165508"/>
                    <a:gd name="connsiteX2" fmla="*/ 0 w 165508"/>
                    <a:gd name="connsiteY2" fmla="*/ 165259 h 165508"/>
                    <a:gd name="connsiteX3" fmla="*/ 125539 w 165508"/>
                    <a:gd name="connsiteY3" fmla="*/ 125539 h 165508"/>
                  </a:gdLst>
                  <a:ahLst/>
                  <a:cxnLst>
                    <a:cxn ang="0">
                      <a:pos x="connsiteX0" y="connsiteY0"/>
                    </a:cxn>
                    <a:cxn ang="0">
                      <a:pos x="connsiteX1" y="connsiteY1"/>
                    </a:cxn>
                    <a:cxn ang="0">
                      <a:pos x="connsiteX2" y="connsiteY2"/>
                    </a:cxn>
                    <a:cxn ang="0">
                      <a:pos x="connsiteX3" y="connsiteY3"/>
                    </a:cxn>
                  </a:cxnLst>
                  <a:rect l="l" t="t" r="r" b="b"/>
                  <a:pathLst>
                    <a:path w="165508" h="165508">
                      <a:moveTo>
                        <a:pt x="125539" y="125539"/>
                      </a:moveTo>
                      <a:cubicBezTo>
                        <a:pt x="171164" y="79915"/>
                        <a:pt x="165259" y="0"/>
                        <a:pt x="165259" y="0"/>
                      </a:cubicBezTo>
                      <a:lnTo>
                        <a:pt x="0" y="165259"/>
                      </a:lnTo>
                      <a:cubicBezTo>
                        <a:pt x="0" y="165259"/>
                        <a:pt x="79915" y="171164"/>
                        <a:pt x="125539" y="125539"/>
                      </a:cubicBezTo>
                      <a:close/>
                    </a:path>
                  </a:pathLst>
                </a:custGeom>
                <a:solidFill>
                  <a:srgbClr val="E6E7E8">
                    <a:alpha val="25000"/>
                  </a:srgb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grpSp>
        <p:sp>
          <p:nvSpPr>
            <p:cNvPr id="17" name="Freeform: Shape 18">
              <a:extLst>
                <a:ext uri="{FF2B5EF4-FFF2-40B4-BE49-F238E27FC236}">
                  <a16:creationId xmlns:a16="http://schemas.microsoft.com/office/drawing/2014/main" id="{70DD55DC-4F25-4E9E-84F2-DC2E10F258FC}"/>
                </a:ext>
              </a:extLst>
            </p:cNvPr>
            <p:cNvSpPr/>
            <p:nvPr/>
          </p:nvSpPr>
          <p:spPr>
            <a:xfrm>
              <a:off x="7046942" y="5087703"/>
              <a:ext cx="1142828" cy="804506"/>
            </a:xfrm>
            <a:custGeom>
              <a:avLst/>
              <a:gdLst>
                <a:gd name="connsiteX0" fmla="*/ 502063 w 618077"/>
                <a:gd name="connsiteY0" fmla="*/ 435102 h 435102"/>
                <a:gd name="connsiteX1" fmla="*/ 115919 w 618077"/>
                <a:gd name="connsiteY1" fmla="*/ 435102 h 435102"/>
                <a:gd name="connsiteX2" fmla="*/ 73914 w 618077"/>
                <a:gd name="connsiteY2" fmla="*/ 400145 h 435102"/>
                <a:gd name="connsiteX3" fmla="*/ 0 w 618077"/>
                <a:gd name="connsiteY3" fmla="*/ 0 h 435102"/>
                <a:gd name="connsiteX4" fmla="*/ 618077 w 618077"/>
                <a:gd name="connsiteY4" fmla="*/ 0 h 435102"/>
                <a:gd name="connsiteX5" fmla="*/ 544163 w 618077"/>
                <a:gd name="connsiteY5" fmla="*/ 400145 h 435102"/>
                <a:gd name="connsiteX6" fmla="*/ 502063 w 618077"/>
                <a:gd name="connsiteY6" fmla="*/ 435102 h 4351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18077" h="435102">
                  <a:moveTo>
                    <a:pt x="502063" y="435102"/>
                  </a:moveTo>
                  <a:lnTo>
                    <a:pt x="115919" y="435102"/>
                  </a:lnTo>
                  <a:cubicBezTo>
                    <a:pt x="95345" y="435102"/>
                    <a:pt x="77629" y="420434"/>
                    <a:pt x="73914" y="400145"/>
                  </a:cubicBezTo>
                  <a:lnTo>
                    <a:pt x="0" y="0"/>
                  </a:lnTo>
                  <a:lnTo>
                    <a:pt x="618077" y="0"/>
                  </a:lnTo>
                  <a:lnTo>
                    <a:pt x="544163" y="400145"/>
                  </a:lnTo>
                  <a:cubicBezTo>
                    <a:pt x="540353" y="420434"/>
                    <a:pt x="522732" y="435102"/>
                    <a:pt x="502063" y="435102"/>
                  </a:cubicBezTo>
                  <a:close/>
                </a:path>
              </a:pathLst>
            </a:custGeom>
            <a:solidFill>
              <a:srgbClr val="F6B31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8" name="Freeform: Shape 19">
              <a:extLst>
                <a:ext uri="{FF2B5EF4-FFF2-40B4-BE49-F238E27FC236}">
                  <a16:creationId xmlns:a16="http://schemas.microsoft.com/office/drawing/2014/main" id="{522018E0-677B-4B6B-96B9-25C5992E0BE6}"/>
                </a:ext>
              </a:extLst>
            </p:cNvPr>
            <p:cNvSpPr/>
            <p:nvPr/>
          </p:nvSpPr>
          <p:spPr>
            <a:xfrm>
              <a:off x="6957123" y="4922152"/>
              <a:ext cx="1322468" cy="165549"/>
            </a:xfrm>
            <a:custGeom>
              <a:avLst/>
              <a:gdLst>
                <a:gd name="connsiteX0" fmla="*/ 670465 w 715232"/>
                <a:gd name="connsiteY0" fmla="*/ 0 h 89534"/>
                <a:gd name="connsiteX1" fmla="*/ 44767 w 715232"/>
                <a:gd name="connsiteY1" fmla="*/ 0 h 89534"/>
                <a:gd name="connsiteX2" fmla="*/ 0 w 715232"/>
                <a:gd name="connsiteY2" fmla="*/ 44767 h 89534"/>
                <a:gd name="connsiteX3" fmla="*/ 0 w 715232"/>
                <a:gd name="connsiteY3" fmla="*/ 44767 h 89534"/>
                <a:gd name="connsiteX4" fmla="*/ 44767 w 715232"/>
                <a:gd name="connsiteY4" fmla="*/ 89535 h 89534"/>
                <a:gd name="connsiteX5" fmla="*/ 670465 w 715232"/>
                <a:gd name="connsiteY5" fmla="*/ 89535 h 89534"/>
                <a:gd name="connsiteX6" fmla="*/ 715232 w 715232"/>
                <a:gd name="connsiteY6" fmla="*/ 44767 h 89534"/>
                <a:gd name="connsiteX7" fmla="*/ 715232 w 715232"/>
                <a:gd name="connsiteY7" fmla="*/ 44767 h 89534"/>
                <a:gd name="connsiteX8" fmla="*/ 670465 w 715232"/>
                <a:gd name="connsiteY8" fmla="*/ 0 h 895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5232" h="89534">
                  <a:moveTo>
                    <a:pt x="670465" y="0"/>
                  </a:moveTo>
                  <a:lnTo>
                    <a:pt x="44767" y="0"/>
                  </a:lnTo>
                  <a:cubicBezTo>
                    <a:pt x="20002" y="0"/>
                    <a:pt x="0" y="20098"/>
                    <a:pt x="0" y="44767"/>
                  </a:cubicBezTo>
                  <a:lnTo>
                    <a:pt x="0" y="44767"/>
                  </a:lnTo>
                  <a:cubicBezTo>
                    <a:pt x="0" y="69533"/>
                    <a:pt x="20098" y="89535"/>
                    <a:pt x="44767" y="89535"/>
                  </a:cubicBezTo>
                  <a:lnTo>
                    <a:pt x="670465" y="89535"/>
                  </a:lnTo>
                  <a:cubicBezTo>
                    <a:pt x="695230" y="89535"/>
                    <a:pt x="715232" y="69437"/>
                    <a:pt x="715232" y="44767"/>
                  </a:cubicBezTo>
                  <a:lnTo>
                    <a:pt x="715232" y="44767"/>
                  </a:lnTo>
                  <a:cubicBezTo>
                    <a:pt x="715232" y="20003"/>
                    <a:pt x="695134" y="0"/>
                    <a:pt x="670465" y="0"/>
                  </a:cubicBezTo>
                  <a:close/>
                </a:path>
              </a:pathLst>
            </a:custGeom>
            <a:solidFill>
              <a:srgbClr val="F6B31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9" name="Freeform: Shape 20">
              <a:extLst>
                <a:ext uri="{FF2B5EF4-FFF2-40B4-BE49-F238E27FC236}">
                  <a16:creationId xmlns:a16="http://schemas.microsoft.com/office/drawing/2014/main" id="{5BA2167C-B03C-46C2-8895-504FAA865D5C}"/>
                </a:ext>
              </a:extLst>
            </p:cNvPr>
            <p:cNvSpPr/>
            <p:nvPr/>
          </p:nvSpPr>
          <p:spPr>
            <a:xfrm>
              <a:off x="7046767" y="5087703"/>
              <a:ext cx="1143003" cy="62169"/>
            </a:xfrm>
            <a:custGeom>
              <a:avLst/>
              <a:gdLst>
                <a:gd name="connsiteX0" fmla="*/ 611981 w 618172"/>
                <a:gd name="connsiteY0" fmla="*/ 33623 h 33623"/>
                <a:gd name="connsiteX1" fmla="*/ 618173 w 618172"/>
                <a:gd name="connsiteY1" fmla="*/ 0 h 33623"/>
                <a:gd name="connsiteX2" fmla="*/ 0 w 618172"/>
                <a:gd name="connsiteY2" fmla="*/ 0 h 33623"/>
                <a:gd name="connsiteX3" fmla="*/ 6287 w 618172"/>
                <a:gd name="connsiteY3" fmla="*/ 33623 h 33623"/>
              </a:gdLst>
              <a:ahLst/>
              <a:cxnLst>
                <a:cxn ang="0">
                  <a:pos x="connsiteX0" y="connsiteY0"/>
                </a:cxn>
                <a:cxn ang="0">
                  <a:pos x="connsiteX1" y="connsiteY1"/>
                </a:cxn>
                <a:cxn ang="0">
                  <a:pos x="connsiteX2" y="connsiteY2"/>
                </a:cxn>
                <a:cxn ang="0">
                  <a:pos x="connsiteX3" y="connsiteY3"/>
                </a:cxn>
              </a:cxnLst>
              <a:rect l="l" t="t" r="r" b="b"/>
              <a:pathLst>
                <a:path w="618172" h="33623">
                  <a:moveTo>
                    <a:pt x="611981" y="33623"/>
                  </a:moveTo>
                  <a:lnTo>
                    <a:pt x="618173" y="0"/>
                  </a:lnTo>
                  <a:lnTo>
                    <a:pt x="0" y="0"/>
                  </a:lnTo>
                  <a:lnTo>
                    <a:pt x="6287" y="33623"/>
                  </a:lnTo>
                  <a:close/>
                </a:path>
              </a:pathLst>
            </a:custGeom>
            <a:solidFill>
              <a:srgbClr val="E6E7E8">
                <a:alpha val="25000"/>
              </a:srgb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0" name="Freeform: Shape 21">
              <a:extLst>
                <a:ext uri="{FF2B5EF4-FFF2-40B4-BE49-F238E27FC236}">
                  <a16:creationId xmlns:a16="http://schemas.microsoft.com/office/drawing/2014/main" id="{7CB9147F-AE01-40AA-B8BF-7CCD8329249F}"/>
                </a:ext>
              </a:extLst>
            </p:cNvPr>
            <p:cNvSpPr/>
            <p:nvPr/>
          </p:nvSpPr>
          <p:spPr>
            <a:xfrm>
              <a:off x="9137108" y="3299755"/>
              <a:ext cx="35224" cy="2047193"/>
            </a:xfrm>
            <a:custGeom>
              <a:avLst/>
              <a:gdLst>
                <a:gd name="connsiteX0" fmla="*/ 0 w 19050"/>
                <a:gd name="connsiteY0" fmla="*/ 0 h 1107186"/>
                <a:gd name="connsiteX1" fmla="*/ 19050 w 19050"/>
                <a:gd name="connsiteY1" fmla="*/ 0 h 1107186"/>
                <a:gd name="connsiteX2" fmla="*/ 19050 w 19050"/>
                <a:gd name="connsiteY2" fmla="*/ 1107186 h 1107186"/>
                <a:gd name="connsiteX3" fmla="*/ 0 w 19050"/>
                <a:gd name="connsiteY3" fmla="*/ 1107186 h 1107186"/>
              </a:gdLst>
              <a:ahLst/>
              <a:cxnLst>
                <a:cxn ang="0">
                  <a:pos x="connsiteX0" y="connsiteY0"/>
                </a:cxn>
                <a:cxn ang="0">
                  <a:pos x="connsiteX1" y="connsiteY1"/>
                </a:cxn>
                <a:cxn ang="0">
                  <a:pos x="connsiteX2" y="connsiteY2"/>
                </a:cxn>
                <a:cxn ang="0">
                  <a:pos x="connsiteX3" y="connsiteY3"/>
                </a:cxn>
              </a:cxnLst>
              <a:rect l="l" t="t" r="r" b="b"/>
              <a:pathLst>
                <a:path w="19050" h="1107186">
                  <a:moveTo>
                    <a:pt x="0" y="0"/>
                  </a:moveTo>
                  <a:lnTo>
                    <a:pt x="19050" y="0"/>
                  </a:lnTo>
                  <a:lnTo>
                    <a:pt x="19050" y="1107186"/>
                  </a:lnTo>
                  <a:lnTo>
                    <a:pt x="0" y="1107186"/>
                  </a:lnTo>
                  <a:close/>
                </a:path>
              </a:pathLst>
            </a:custGeom>
            <a:solidFill>
              <a:srgbClr val="6B4B2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nvGrpSpPr>
            <p:cNvPr id="21" name="Graphic 7">
              <a:extLst>
                <a:ext uri="{FF2B5EF4-FFF2-40B4-BE49-F238E27FC236}">
                  <a16:creationId xmlns:a16="http://schemas.microsoft.com/office/drawing/2014/main" id="{0FBDFE3D-36F4-4B49-93A3-AD5CE93AB2E3}"/>
                </a:ext>
              </a:extLst>
            </p:cNvPr>
            <p:cNvGrpSpPr/>
            <p:nvPr/>
          </p:nvGrpSpPr>
          <p:grpSpPr>
            <a:xfrm>
              <a:off x="8848166" y="4462005"/>
              <a:ext cx="306487" cy="306504"/>
              <a:chOff x="6748022" y="3845839"/>
              <a:chExt cx="165758" cy="165767"/>
            </a:xfrm>
          </p:grpSpPr>
          <p:sp>
            <p:nvSpPr>
              <p:cNvPr id="130" name="Freeform: Shape 131">
                <a:extLst>
                  <a:ext uri="{FF2B5EF4-FFF2-40B4-BE49-F238E27FC236}">
                    <a16:creationId xmlns:a16="http://schemas.microsoft.com/office/drawing/2014/main" id="{D858BB83-97EE-4902-A150-9DDF49D86A83}"/>
                  </a:ext>
                </a:extLst>
              </p:cNvPr>
              <p:cNvSpPr/>
              <p:nvPr/>
            </p:nvSpPr>
            <p:spPr>
              <a:xfrm>
                <a:off x="6748022" y="3845839"/>
                <a:ext cx="165758" cy="165767"/>
              </a:xfrm>
              <a:custGeom>
                <a:avLst/>
                <a:gdLst>
                  <a:gd name="connsiteX0" fmla="*/ 125789 w 165758"/>
                  <a:gd name="connsiteY0" fmla="*/ 39979 h 165767"/>
                  <a:gd name="connsiteX1" fmla="*/ 165508 w 165758"/>
                  <a:gd name="connsiteY1" fmla="*/ 165518 h 165767"/>
                  <a:gd name="connsiteX2" fmla="*/ 39969 w 165758"/>
                  <a:gd name="connsiteY2" fmla="*/ 125799 h 165767"/>
                  <a:gd name="connsiteX3" fmla="*/ 250 w 165758"/>
                  <a:gd name="connsiteY3" fmla="*/ 259 h 165767"/>
                  <a:gd name="connsiteX4" fmla="*/ 125789 w 165758"/>
                  <a:gd name="connsiteY4" fmla="*/ 39979 h 1657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5758" h="165767">
                    <a:moveTo>
                      <a:pt x="125789" y="39979"/>
                    </a:moveTo>
                    <a:cubicBezTo>
                      <a:pt x="171414" y="85603"/>
                      <a:pt x="165508" y="165518"/>
                      <a:pt x="165508" y="165518"/>
                    </a:cubicBezTo>
                    <a:cubicBezTo>
                      <a:pt x="165508" y="165518"/>
                      <a:pt x="85594" y="171424"/>
                      <a:pt x="39969" y="125799"/>
                    </a:cubicBezTo>
                    <a:cubicBezTo>
                      <a:pt x="-5656" y="80174"/>
                      <a:pt x="250" y="259"/>
                      <a:pt x="250" y="259"/>
                    </a:cubicBezTo>
                    <a:cubicBezTo>
                      <a:pt x="250" y="259"/>
                      <a:pt x="80164" y="-5741"/>
                      <a:pt x="125789" y="39979"/>
                    </a:cubicBezTo>
                    <a:close/>
                  </a:path>
                </a:pathLst>
              </a:custGeom>
              <a:solidFill>
                <a:srgbClr val="8DB936"/>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31" name="Freeform: Shape 132">
                <a:extLst>
                  <a:ext uri="{FF2B5EF4-FFF2-40B4-BE49-F238E27FC236}">
                    <a16:creationId xmlns:a16="http://schemas.microsoft.com/office/drawing/2014/main" id="{A6407F3C-D9EF-49AD-AC5B-891CB823D90F}"/>
                  </a:ext>
                </a:extLst>
              </p:cNvPr>
              <p:cNvSpPr/>
              <p:nvPr/>
            </p:nvSpPr>
            <p:spPr>
              <a:xfrm>
                <a:off x="6748272" y="3845849"/>
                <a:ext cx="165508" cy="165508"/>
              </a:xfrm>
              <a:custGeom>
                <a:avLst/>
                <a:gdLst>
                  <a:gd name="connsiteX0" fmla="*/ 125539 w 165508"/>
                  <a:gd name="connsiteY0" fmla="*/ 39969 h 165508"/>
                  <a:gd name="connsiteX1" fmla="*/ 0 w 165508"/>
                  <a:gd name="connsiteY1" fmla="*/ 250 h 165508"/>
                  <a:gd name="connsiteX2" fmla="*/ 165259 w 165508"/>
                  <a:gd name="connsiteY2" fmla="*/ 165509 h 165508"/>
                  <a:gd name="connsiteX3" fmla="*/ 125539 w 165508"/>
                  <a:gd name="connsiteY3" fmla="*/ 39969 h 165508"/>
                </a:gdLst>
                <a:ahLst/>
                <a:cxnLst>
                  <a:cxn ang="0">
                    <a:pos x="connsiteX0" y="connsiteY0"/>
                  </a:cxn>
                  <a:cxn ang="0">
                    <a:pos x="connsiteX1" y="connsiteY1"/>
                  </a:cxn>
                  <a:cxn ang="0">
                    <a:pos x="connsiteX2" y="connsiteY2"/>
                  </a:cxn>
                  <a:cxn ang="0">
                    <a:pos x="connsiteX3" y="connsiteY3"/>
                  </a:cxn>
                </a:cxnLst>
                <a:rect l="l" t="t" r="r" b="b"/>
                <a:pathLst>
                  <a:path w="165508" h="165508">
                    <a:moveTo>
                      <a:pt x="125539" y="39969"/>
                    </a:moveTo>
                    <a:cubicBezTo>
                      <a:pt x="79915" y="-5656"/>
                      <a:pt x="0" y="250"/>
                      <a:pt x="0" y="250"/>
                    </a:cubicBezTo>
                    <a:lnTo>
                      <a:pt x="165259" y="165509"/>
                    </a:lnTo>
                    <a:cubicBezTo>
                      <a:pt x="165259" y="165509"/>
                      <a:pt x="171164" y="85594"/>
                      <a:pt x="125539" y="39969"/>
                    </a:cubicBezTo>
                    <a:close/>
                  </a:path>
                </a:pathLst>
              </a:custGeom>
              <a:solidFill>
                <a:srgbClr val="E6E7E8">
                  <a:alpha val="25000"/>
                </a:srgb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grpSp>
          <p:nvGrpSpPr>
            <p:cNvPr id="22" name="Graphic 7">
              <a:extLst>
                <a:ext uri="{FF2B5EF4-FFF2-40B4-BE49-F238E27FC236}">
                  <a16:creationId xmlns:a16="http://schemas.microsoft.com/office/drawing/2014/main" id="{4F1AA70B-04E5-40C1-AA11-F1B3471093FF}"/>
                </a:ext>
              </a:extLst>
            </p:cNvPr>
            <p:cNvGrpSpPr/>
            <p:nvPr/>
          </p:nvGrpSpPr>
          <p:grpSpPr>
            <a:xfrm>
              <a:off x="9154611" y="4258607"/>
              <a:ext cx="306487" cy="306487"/>
              <a:chOff x="6913757" y="3735835"/>
              <a:chExt cx="165758" cy="165758"/>
            </a:xfrm>
          </p:grpSpPr>
          <p:sp>
            <p:nvSpPr>
              <p:cNvPr id="128" name="Freeform: Shape 129">
                <a:extLst>
                  <a:ext uri="{FF2B5EF4-FFF2-40B4-BE49-F238E27FC236}">
                    <a16:creationId xmlns:a16="http://schemas.microsoft.com/office/drawing/2014/main" id="{A060D261-07AD-4FE3-9F09-40B8AB95E29B}"/>
                  </a:ext>
                </a:extLst>
              </p:cNvPr>
              <p:cNvSpPr/>
              <p:nvPr/>
            </p:nvSpPr>
            <p:spPr>
              <a:xfrm>
                <a:off x="6913757" y="3735835"/>
                <a:ext cx="165758" cy="165758"/>
              </a:xfrm>
              <a:custGeom>
                <a:avLst/>
                <a:gdLst>
                  <a:gd name="connsiteX0" fmla="*/ 125789 w 165758"/>
                  <a:gd name="connsiteY0" fmla="*/ 125789 h 165758"/>
                  <a:gd name="connsiteX1" fmla="*/ 250 w 165758"/>
                  <a:gd name="connsiteY1" fmla="*/ 165508 h 165758"/>
                  <a:gd name="connsiteX2" fmla="*/ 39969 w 165758"/>
                  <a:gd name="connsiteY2" fmla="*/ 39969 h 165758"/>
                  <a:gd name="connsiteX3" fmla="*/ 165509 w 165758"/>
                  <a:gd name="connsiteY3" fmla="*/ 250 h 165758"/>
                  <a:gd name="connsiteX4" fmla="*/ 125789 w 165758"/>
                  <a:gd name="connsiteY4" fmla="*/ 125789 h 1657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5758" h="165758">
                    <a:moveTo>
                      <a:pt x="125789" y="125789"/>
                    </a:moveTo>
                    <a:cubicBezTo>
                      <a:pt x="80164" y="171414"/>
                      <a:pt x="250" y="165508"/>
                      <a:pt x="250" y="165508"/>
                    </a:cubicBezTo>
                    <a:cubicBezTo>
                      <a:pt x="250" y="165508"/>
                      <a:pt x="-5656" y="85594"/>
                      <a:pt x="39969" y="39969"/>
                    </a:cubicBezTo>
                    <a:cubicBezTo>
                      <a:pt x="85594" y="-5656"/>
                      <a:pt x="165509" y="250"/>
                      <a:pt x="165509" y="250"/>
                    </a:cubicBezTo>
                    <a:cubicBezTo>
                      <a:pt x="165509" y="250"/>
                      <a:pt x="171414" y="80164"/>
                      <a:pt x="125789" y="125789"/>
                    </a:cubicBezTo>
                    <a:close/>
                  </a:path>
                </a:pathLst>
              </a:custGeom>
              <a:solidFill>
                <a:srgbClr val="8DB936"/>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29" name="Freeform: Shape 130">
                <a:extLst>
                  <a:ext uri="{FF2B5EF4-FFF2-40B4-BE49-F238E27FC236}">
                    <a16:creationId xmlns:a16="http://schemas.microsoft.com/office/drawing/2014/main" id="{188D535F-36DC-49D5-9399-52D0C454D6BD}"/>
                  </a:ext>
                </a:extLst>
              </p:cNvPr>
              <p:cNvSpPr/>
              <p:nvPr/>
            </p:nvSpPr>
            <p:spPr>
              <a:xfrm>
                <a:off x="6914007" y="3736085"/>
                <a:ext cx="165508" cy="165508"/>
              </a:xfrm>
              <a:custGeom>
                <a:avLst/>
                <a:gdLst>
                  <a:gd name="connsiteX0" fmla="*/ 125539 w 165508"/>
                  <a:gd name="connsiteY0" fmla="*/ 125539 h 165508"/>
                  <a:gd name="connsiteX1" fmla="*/ 165259 w 165508"/>
                  <a:gd name="connsiteY1" fmla="*/ 0 h 165508"/>
                  <a:gd name="connsiteX2" fmla="*/ 0 w 165508"/>
                  <a:gd name="connsiteY2" fmla="*/ 165259 h 165508"/>
                  <a:gd name="connsiteX3" fmla="*/ 125539 w 165508"/>
                  <a:gd name="connsiteY3" fmla="*/ 125539 h 165508"/>
                </a:gdLst>
                <a:ahLst/>
                <a:cxnLst>
                  <a:cxn ang="0">
                    <a:pos x="connsiteX0" y="connsiteY0"/>
                  </a:cxn>
                  <a:cxn ang="0">
                    <a:pos x="connsiteX1" y="connsiteY1"/>
                  </a:cxn>
                  <a:cxn ang="0">
                    <a:pos x="connsiteX2" y="connsiteY2"/>
                  </a:cxn>
                  <a:cxn ang="0">
                    <a:pos x="connsiteX3" y="connsiteY3"/>
                  </a:cxn>
                </a:cxnLst>
                <a:rect l="l" t="t" r="r" b="b"/>
                <a:pathLst>
                  <a:path w="165508" h="165508">
                    <a:moveTo>
                      <a:pt x="125539" y="125539"/>
                    </a:moveTo>
                    <a:cubicBezTo>
                      <a:pt x="171164" y="79915"/>
                      <a:pt x="165259" y="0"/>
                      <a:pt x="165259" y="0"/>
                    </a:cubicBezTo>
                    <a:lnTo>
                      <a:pt x="0" y="165259"/>
                    </a:lnTo>
                    <a:cubicBezTo>
                      <a:pt x="0" y="165259"/>
                      <a:pt x="79915" y="171164"/>
                      <a:pt x="125539" y="125539"/>
                    </a:cubicBezTo>
                    <a:close/>
                  </a:path>
                </a:pathLst>
              </a:custGeom>
              <a:solidFill>
                <a:srgbClr val="E6E7E8">
                  <a:alpha val="25000"/>
                </a:srgb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grpSp>
          <p:nvGrpSpPr>
            <p:cNvPr id="23" name="Graphic 7">
              <a:extLst>
                <a:ext uri="{FF2B5EF4-FFF2-40B4-BE49-F238E27FC236}">
                  <a16:creationId xmlns:a16="http://schemas.microsoft.com/office/drawing/2014/main" id="{9C3B710F-A426-4E25-9DFE-F20A970545FA}"/>
                </a:ext>
              </a:extLst>
            </p:cNvPr>
            <p:cNvGrpSpPr/>
            <p:nvPr/>
          </p:nvGrpSpPr>
          <p:grpSpPr>
            <a:xfrm>
              <a:off x="9042885" y="2897680"/>
              <a:ext cx="224373" cy="432192"/>
              <a:chOff x="6853332" y="2999803"/>
              <a:chExt cx="121348" cy="233743"/>
            </a:xfrm>
          </p:grpSpPr>
          <p:sp>
            <p:nvSpPr>
              <p:cNvPr id="126" name="Freeform: Shape 127">
                <a:extLst>
                  <a:ext uri="{FF2B5EF4-FFF2-40B4-BE49-F238E27FC236}">
                    <a16:creationId xmlns:a16="http://schemas.microsoft.com/office/drawing/2014/main" id="{AD116199-B4AF-4879-9EF0-EE59E0577B8A}"/>
                  </a:ext>
                </a:extLst>
              </p:cNvPr>
              <p:cNvSpPr/>
              <p:nvPr/>
            </p:nvSpPr>
            <p:spPr>
              <a:xfrm>
                <a:off x="6853332" y="2999803"/>
                <a:ext cx="121348" cy="233743"/>
              </a:xfrm>
              <a:custGeom>
                <a:avLst/>
                <a:gdLst>
                  <a:gd name="connsiteX0" fmla="*/ 121348 w 121348"/>
                  <a:gd name="connsiteY0" fmla="*/ 116872 h 233743"/>
                  <a:gd name="connsiteX1" fmla="*/ 60674 w 121348"/>
                  <a:gd name="connsiteY1" fmla="*/ 233744 h 233743"/>
                  <a:gd name="connsiteX2" fmla="*/ 0 w 121348"/>
                  <a:gd name="connsiteY2" fmla="*/ 116872 h 233743"/>
                  <a:gd name="connsiteX3" fmla="*/ 60674 w 121348"/>
                  <a:gd name="connsiteY3" fmla="*/ 0 h 233743"/>
                  <a:gd name="connsiteX4" fmla="*/ 121348 w 121348"/>
                  <a:gd name="connsiteY4" fmla="*/ 116872 h 2337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348" h="233743">
                    <a:moveTo>
                      <a:pt x="121348" y="116872"/>
                    </a:moveTo>
                    <a:cubicBezTo>
                      <a:pt x="121348" y="181451"/>
                      <a:pt x="60674" y="233744"/>
                      <a:pt x="60674" y="233744"/>
                    </a:cubicBezTo>
                    <a:cubicBezTo>
                      <a:pt x="60674" y="233744"/>
                      <a:pt x="0" y="181451"/>
                      <a:pt x="0" y="116872"/>
                    </a:cubicBezTo>
                    <a:cubicBezTo>
                      <a:pt x="0" y="52292"/>
                      <a:pt x="60674" y="0"/>
                      <a:pt x="60674" y="0"/>
                    </a:cubicBezTo>
                    <a:cubicBezTo>
                      <a:pt x="60674" y="0"/>
                      <a:pt x="121348" y="52292"/>
                      <a:pt x="121348" y="116872"/>
                    </a:cubicBezTo>
                    <a:close/>
                  </a:path>
                </a:pathLst>
              </a:custGeom>
              <a:solidFill>
                <a:srgbClr val="8DB936"/>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27" name="Freeform: Shape 128">
                <a:extLst>
                  <a:ext uri="{FF2B5EF4-FFF2-40B4-BE49-F238E27FC236}">
                    <a16:creationId xmlns:a16="http://schemas.microsoft.com/office/drawing/2014/main" id="{9CBEEF73-AE24-4A2D-8481-27D4859A184B}"/>
                  </a:ext>
                </a:extLst>
              </p:cNvPr>
              <p:cNvSpPr/>
              <p:nvPr/>
            </p:nvSpPr>
            <p:spPr>
              <a:xfrm>
                <a:off x="6914007" y="2999803"/>
                <a:ext cx="60674" cy="233743"/>
              </a:xfrm>
              <a:custGeom>
                <a:avLst/>
                <a:gdLst>
                  <a:gd name="connsiteX0" fmla="*/ 60674 w 60674"/>
                  <a:gd name="connsiteY0" fmla="*/ 116872 h 233743"/>
                  <a:gd name="connsiteX1" fmla="*/ 0 w 60674"/>
                  <a:gd name="connsiteY1" fmla="*/ 0 h 233743"/>
                  <a:gd name="connsiteX2" fmla="*/ 0 w 60674"/>
                  <a:gd name="connsiteY2" fmla="*/ 233744 h 233743"/>
                  <a:gd name="connsiteX3" fmla="*/ 60674 w 60674"/>
                  <a:gd name="connsiteY3" fmla="*/ 116872 h 233743"/>
                </a:gdLst>
                <a:ahLst/>
                <a:cxnLst>
                  <a:cxn ang="0">
                    <a:pos x="connsiteX0" y="connsiteY0"/>
                  </a:cxn>
                  <a:cxn ang="0">
                    <a:pos x="connsiteX1" y="connsiteY1"/>
                  </a:cxn>
                  <a:cxn ang="0">
                    <a:pos x="connsiteX2" y="connsiteY2"/>
                  </a:cxn>
                  <a:cxn ang="0">
                    <a:pos x="connsiteX3" y="connsiteY3"/>
                  </a:cxn>
                </a:cxnLst>
                <a:rect l="l" t="t" r="r" b="b"/>
                <a:pathLst>
                  <a:path w="60674" h="233743">
                    <a:moveTo>
                      <a:pt x="60674" y="116872"/>
                    </a:moveTo>
                    <a:cubicBezTo>
                      <a:pt x="60674" y="52292"/>
                      <a:pt x="0" y="0"/>
                      <a:pt x="0" y="0"/>
                    </a:cubicBezTo>
                    <a:lnTo>
                      <a:pt x="0" y="233744"/>
                    </a:lnTo>
                    <a:cubicBezTo>
                      <a:pt x="0" y="233648"/>
                      <a:pt x="60674" y="181356"/>
                      <a:pt x="60674" y="116872"/>
                    </a:cubicBezTo>
                    <a:close/>
                  </a:path>
                </a:pathLst>
              </a:custGeom>
              <a:solidFill>
                <a:srgbClr val="E6E7E8">
                  <a:alpha val="25000"/>
                </a:srgb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sp>
          <p:nvSpPr>
            <p:cNvPr id="24" name="Freeform: Shape 25">
              <a:extLst>
                <a:ext uri="{FF2B5EF4-FFF2-40B4-BE49-F238E27FC236}">
                  <a16:creationId xmlns:a16="http://schemas.microsoft.com/office/drawing/2014/main" id="{7FB9A6F7-0C90-4AC4-9567-91F775F7A66C}"/>
                </a:ext>
              </a:extLst>
            </p:cNvPr>
            <p:cNvSpPr/>
            <p:nvPr/>
          </p:nvSpPr>
          <p:spPr>
            <a:xfrm rot="18900000">
              <a:off x="8997436" y="3958023"/>
              <a:ext cx="35222" cy="396260"/>
            </a:xfrm>
            <a:custGeom>
              <a:avLst/>
              <a:gdLst>
                <a:gd name="connsiteX0" fmla="*/ 0 w 19049"/>
                <a:gd name="connsiteY0" fmla="*/ 0 h 214310"/>
                <a:gd name="connsiteX1" fmla="*/ 19050 w 19049"/>
                <a:gd name="connsiteY1" fmla="*/ 0 h 214310"/>
                <a:gd name="connsiteX2" fmla="*/ 19050 w 19049"/>
                <a:gd name="connsiteY2" fmla="*/ 214310 h 214310"/>
                <a:gd name="connsiteX3" fmla="*/ 0 w 19049"/>
                <a:gd name="connsiteY3" fmla="*/ 214310 h 214310"/>
              </a:gdLst>
              <a:ahLst/>
              <a:cxnLst>
                <a:cxn ang="0">
                  <a:pos x="connsiteX0" y="connsiteY0"/>
                </a:cxn>
                <a:cxn ang="0">
                  <a:pos x="connsiteX1" y="connsiteY1"/>
                </a:cxn>
                <a:cxn ang="0">
                  <a:pos x="connsiteX2" y="connsiteY2"/>
                </a:cxn>
                <a:cxn ang="0">
                  <a:pos x="connsiteX3" y="connsiteY3"/>
                </a:cxn>
              </a:cxnLst>
              <a:rect l="l" t="t" r="r" b="b"/>
              <a:pathLst>
                <a:path w="19049" h="214310">
                  <a:moveTo>
                    <a:pt x="0" y="0"/>
                  </a:moveTo>
                  <a:lnTo>
                    <a:pt x="19050" y="0"/>
                  </a:lnTo>
                  <a:lnTo>
                    <a:pt x="19050" y="214310"/>
                  </a:lnTo>
                  <a:lnTo>
                    <a:pt x="0" y="214310"/>
                  </a:lnTo>
                  <a:close/>
                </a:path>
              </a:pathLst>
            </a:custGeom>
            <a:solidFill>
              <a:srgbClr val="6B4B2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nvGrpSpPr>
            <p:cNvPr id="25" name="Graphic 7">
              <a:extLst>
                <a:ext uri="{FF2B5EF4-FFF2-40B4-BE49-F238E27FC236}">
                  <a16:creationId xmlns:a16="http://schemas.microsoft.com/office/drawing/2014/main" id="{60A3FD91-57E0-4A59-891D-A431875A1980}"/>
                </a:ext>
              </a:extLst>
            </p:cNvPr>
            <p:cNvGrpSpPr/>
            <p:nvPr/>
          </p:nvGrpSpPr>
          <p:grpSpPr>
            <a:xfrm>
              <a:off x="8611639" y="3755263"/>
              <a:ext cx="306487" cy="306487"/>
              <a:chOff x="6620101" y="3463611"/>
              <a:chExt cx="165758" cy="165758"/>
            </a:xfrm>
          </p:grpSpPr>
          <p:sp>
            <p:nvSpPr>
              <p:cNvPr id="124" name="Freeform: Shape 125">
                <a:extLst>
                  <a:ext uri="{FF2B5EF4-FFF2-40B4-BE49-F238E27FC236}">
                    <a16:creationId xmlns:a16="http://schemas.microsoft.com/office/drawing/2014/main" id="{08FE99BD-186D-49F5-BC4E-DB2191BB12E1}"/>
                  </a:ext>
                </a:extLst>
              </p:cNvPr>
              <p:cNvSpPr/>
              <p:nvPr/>
            </p:nvSpPr>
            <p:spPr>
              <a:xfrm>
                <a:off x="6620101" y="3463611"/>
                <a:ext cx="165758" cy="165758"/>
              </a:xfrm>
              <a:custGeom>
                <a:avLst/>
                <a:gdLst>
                  <a:gd name="connsiteX0" fmla="*/ 125789 w 165758"/>
                  <a:gd name="connsiteY0" fmla="*/ 39969 h 165758"/>
                  <a:gd name="connsiteX1" fmla="*/ 165509 w 165758"/>
                  <a:gd name="connsiteY1" fmla="*/ 165508 h 165758"/>
                  <a:gd name="connsiteX2" fmla="*/ 39969 w 165758"/>
                  <a:gd name="connsiteY2" fmla="*/ 125789 h 165758"/>
                  <a:gd name="connsiteX3" fmla="*/ 250 w 165758"/>
                  <a:gd name="connsiteY3" fmla="*/ 250 h 165758"/>
                  <a:gd name="connsiteX4" fmla="*/ 125789 w 165758"/>
                  <a:gd name="connsiteY4" fmla="*/ 39969 h 1657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5758" h="165758">
                    <a:moveTo>
                      <a:pt x="125789" y="39969"/>
                    </a:moveTo>
                    <a:cubicBezTo>
                      <a:pt x="171414" y="85594"/>
                      <a:pt x="165509" y="165508"/>
                      <a:pt x="165509" y="165508"/>
                    </a:cubicBezTo>
                    <a:cubicBezTo>
                      <a:pt x="165509" y="165508"/>
                      <a:pt x="85594" y="171414"/>
                      <a:pt x="39969" y="125789"/>
                    </a:cubicBezTo>
                    <a:cubicBezTo>
                      <a:pt x="-5656" y="80164"/>
                      <a:pt x="250" y="250"/>
                      <a:pt x="250" y="250"/>
                    </a:cubicBezTo>
                    <a:cubicBezTo>
                      <a:pt x="250" y="250"/>
                      <a:pt x="80165" y="-5656"/>
                      <a:pt x="125789" y="39969"/>
                    </a:cubicBezTo>
                    <a:close/>
                  </a:path>
                </a:pathLst>
              </a:custGeom>
              <a:solidFill>
                <a:srgbClr val="8DB936"/>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25" name="Freeform: Shape 126">
                <a:extLst>
                  <a:ext uri="{FF2B5EF4-FFF2-40B4-BE49-F238E27FC236}">
                    <a16:creationId xmlns:a16="http://schemas.microsoft.com/office/drawing/2014/main" id="{5EDBAF97-C99C-4AD0-B868-4577110B24BE}"/>
                  </a:ext>
                </a:extLst>
              </p:cNvPr>
              <p:cNvSpPr/>
              <p:nvPr/>
            </p:nvSpPr>
            <p:spPr>
              <a:xfrm>
                <a:off x="6620351" y="3463611"/>
                <a:ext cx="165508" cy="165508"/>
              </a:xfrm>
              <a:custGeom>
                <a:avLst/>
                <a:gdLst>
                  <a:gd name="connsiteX0" fmla="*/ 125540 w 165508"/>
                  <a:gd name="connsiteY0" fmla="*/ 39969 h 165508"/>
                  <a:gd name="connsiteX1" fmla="*/ 0 w 165508"/>
                  <a:gd name="connsiteY1" fmla="*/ 250 h 165508"/>
                  <a:gd name="connsiteX2" fmla="*/ 165259 w 165508"/>
                  <a:gd name="connsiteY2" fmla="*/ 165508 h 165508"/>
                  <a:gd name="connsiteX3" fmla="*/ 125540 w 165508"/>
                  <a:gd name="connsiteY3" fmla="*/ 39969 h 165508"/>
                </a:gdLst>
                <a:ahLst/>
                <a:cxnLst>
                  <a:cxn ang="0">
                    <a:pos x="connsiteX0" y="connsiteY0"/>
                  </a:cxn>
                  <a:cxn ang="0">
                    <a:pos x="connsiteX1" y="connsiteY1"/>
                  </a:cxn>
                  <a:cxn ang="0">
                    <a:pos x="connsiteX2" y="connsiteY2"/>
                  </a:cxn>
                  <a:cxn ang="0">
                    <a:pos x="connsiteX3" y="connsiteY3"/>
                  </a:cxn>
                </a:cxnLst>
                <a:rect l="l" t="t" r="r" b="b"/>
                <a:pathLst>
                  <a:path w="165508" h="165508">
                    <a:moveTo>
                      <a:pt x="125540" y="39969"/>
                    </a:moveTo>
                    <a:cubicBezTo>
                      <a:pt x="79915" y="-5656"/>
                      <a:pt x="0" y="250"/>
                      <a:pt x="0" y="250"/>
                    </a:cubicBezTo>
                    <a:lnTo>
                      <a:pt x="165259" y="165508"/>
                    </a:lnTo>
                    <a:cubicBezTo>
                      <a:pt x="165259" y="165508"/>
                      <a:pt x="171164" y="85594"/>
                      <a:pt x="125540" y="39969"/>
                    </a:cubicBezTo>
                    <a:close/>
                  </a:path>
                </a:pathLst>
              </a:custGeom>
              <a:solidFill>
                <a:srgbClr val="E6E7E8">
                  <a:alpha val="25000"/>
                </a:srgb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sp>
          <p:nvSpPr>
            <p:cNvPr id="26" name="Freeform: Shape 27">
              <a:extLst>
                <a:ext uri="{FF2B5EF4-FFF2-40B4-BE49-F238E27FC236}">
                  <a16:creationId xmlns:a16="http://schemas.microsoft.com/office/drawing/2014/main" id="{8212AB10-5C7F-48C8-A0E0-B7FA5552E6A4}"/>
                </a:ext>
              </a:extLst>
            </p:cNvPr>
            <p:cNvSpPr/>
            <p:nvPr/>
          </p:nvSpPr>
          <p:spPr>
            <a:xfrm rot="18900000">
              <a:off x="9095966" y="3946684"/>
              <a:ext cx="404185" cy="35222"/>
            </a:xfrm>
            <a:custGeom>
              <a:avLst/>
              <a:gdLst>
                <a:gd name="connsiteX0" fmla="*/ 0 w 218596"/>
                <a:gd name="connsiteY0" fmla="*/ 0 h 19049"/>
                <a:gd name="connsiteX1" fmla="*/ 218597 w 218596"/>
                <a:gd name="connsiteY1" fmla="*/ 0 h 19049"/>
                <a:gd name="connsiteX2" fmla="*/ 218597 w 218596"/>
                <a:gd name="connsiteY2" fmla="*/ 19050 h 19049"/>
                <a:gd name="connsiteX3" fmla="*/ 0 w 218596"/>
                <a:gd name="connsiteY3" fmla="*/ 19050 h 19049"/>
              </a:gdLst>
              <a:ahLst/>
              <a:cxnLst>
                <a:cxn ang="0">
                  <a:pos x="connsiteX0" y="connsiteY0"/>
                </a:cxn>
                <a:cxn ang="0">
                  <a:pos x="connsiteX1" y="connsiteY1"/>
                </a:cxn>
                <a:cxn ang="0">
                  <a:pos x="connsiteX2" y="connsiteY2"/>
                </a:cxn>
                <a:cxn ang="0">
                  <a:pos x="connsiteX3" y="connsiteY3"/>
                </a:cxn>
              </a:cxnLst>
              <a:rect l="l" t="t" r="r" b="b"/>
              <a:pathLst>
                <a:path w="218596" h="19049">
                  <a:moveTo>
                    <a:pt x="0" y="0"/>
                  </a:moveTo>
                  <a:lnTo>
                    <a:pt x="218597" y="0"/>
                  </a:lnTo>
                  <a:lnTo>
                    <a:pt x="218597" y="19050"/>
                  </a:lnTo>
                  <a:lnTo>
                    <a:pt x="0" y="19050"/>
                  </a:lnTo>
                  <a:close/>
                </a:path>
              </a:pathLst>
            </a:custGeom>
            <a:solidFill>
              <a:srgbClr val="6B4B2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nvGrpSpPr>
            <p:cNvPr id="27" name="Graphic 7">
              <a:extLst>
                <a:ext uri="{FF2B5EF4-FFF2-40B4-BE49-F238E27FC236}">
                  <a16:creationId xmlns:a16="http://schemas.microsoft.com/office/drawing/2014/main" id="{72FBA1E3-0F29-479F-B9DE-3D231B7120B1}"/>
                </a:ext>
              </a:extLst>
            </p:cNvPr>
            <p:cNvGrpSpPr/>
            <p:nvPr/>
          </p:nvGrpSpPr>
          <p:grpSpPr>
            <a:xfrm>
              <a:off x="9401704" y="3546916"/>
              <a:ext cx="306504" cy="306487"/>
              <a:chOff x="7047393" y="3350930"/>
              <a:chExt cx="165767" cy="165758"/>
            </a:xfrm>
          </p:grpSpPr>
          <p:sp>
            <p:nvSpPr>
              <p:cNvPr id="122" name="Freeform: Shape 123">
                <a:extLst>
                  <a:ext uri="{FF2B5EF4-FFF2-40B4-BE49-F238E27FC236}">
                    <a16:creationId xmlns:a16="http://schemas.microsoft.com/office/drawing/2014/main" id="{06A93B5F-161D-42D5-80E2-60B1942B744E}"/>
                  </a:ext>
                </a:extLst>
              </p:cNvPr>
              <p:cNvSpPr/>
              <p:nvPr/>
            </p:nvSpPr>
            <p:spPr>
              <a:xfrm>
                <a:off x="7047393" y="3350930"/>
                <a:ext cx="165767" cy="165758"/>
              </a:xfrm>
              <a:custGeom>
                <a:avLst/>
                <a:gdLst>
                  <a:gd name="connsiteX0" fmla="*/ 125789 w 165767"/>
                  <a:gd name="connsiteY0" fmla="*/ 125789 h 165758"/>
                  <a:gd name="connsiteX1" fmla="*/ 250 w 165767"/>
                  <a:gd name="connsiteY1" fmla="*/ 165508 h 165758"/>
                  <a:gd name="connsiteX2" fmla="*/ 39969 w 165767"/>
                  <a:gd name="connsiteY2" fmla="*/ 39969 h 165758"/>
                  <a:gd name="connsiteX3" fmla="*/ 165509 w 165767"/>
                  <a:gd name="connsiteY3" fmla="*/ 250 h 165758"/>
                  <a:gd name="connsiteX4" fmla="*/ 125789 w 165767"/>
                  <a:gd name="connsiteY4" fmla="*/ 125789 h 1657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5767" h="165758">
                    <a:moveTo>
                      <a:pt x="125789" y="125789"/>
                    </a:moveTo>
                    <a:cubicBezTo>
                      <a:pt x="80164" y="171414"/>
                      <a:pt x="250" y="165508"/>
                      <a:pt x="250" y="165508"/>
                    </a:cubicBezTo>
                    <a:cubicBezTo>
                      <a:pt x="250" y="165508"/>
                      <a:pt x="-5656" y="85594"/>
                      <a:pt x="39969" y="39969"/>
                    </a:cubicBezTo>
                    <a:cubicBezTo>
                      <a:pt x="85594" y="-5656"/>
                      <a:pt x="165509" y="250"/>
                      <a:pt x="165509" y="250"/>
                    </a:cubicBezTo>
                    <a:cubicBezTo>
                      <a:pt x="165509" y="250"/>
                      <a:pt x="171509" y="80164"/>
                      <a:pt x="125789" y="125789"/>
                    </a:cubicBezTo>
                    <a:close/>
                  </a:path>
                </a:pathLst>
              </a:custGeom>
              <a:solidFill>
                <a:srgbClr val="8DB936"/>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23" name="Freeform: Shape 124">
                <a:extLst>
                  <a:ext uri="{FF2B5EF4-FFF2-40B4-BE49-F238E27FC236}">
                    <a16:creationId xmlns:a16="http://schemas.microsoft.com/office/drawing/2014/main" id="{F7599208-9150-45CE-B972-D22D58AD11E9}"/>
                  </a:ext>
                </a:extLst>
              </p:cNvPr>
              <p:cNvSpPr/>
              <p:nvPr/>
            </p:nvSpPr>
            <p:spPr>
              <a:xfrm>
                <a:off x="7047642" y="3351180"/>
                <a:ext cx="165508" cy="165508"/>
              </a:xfrm>
              <a:custGeom>
                <a:avLst/>
                <a:gdLst>
                  <a:gd name="connsiteX0" fmla="*/ 125539 w 165508"/>
                  <a:gd name="connsiteY0" fmla="*/ 125539 h 165508"/>
                  <a:gd name="connsiteX1" fmla="*/ 165259 w 165508"/>
                  <a:gd name="connsiteY1" fmla="*/ 0 h 165508"/>
                  <a:gd name="connsiteX2" fmla="*/ 0 w 165508"/>
                  <a:gd name="connsiteY2" fmla="*/ 165259 h 165508"/>
                  <a:gd name="connsiteX3" fmla="*/ 125539 w 165508"/>
                  <a:gd name="connsiteY3" fmla="*/ 125539 h 165508"/>
                </a:gdLst>
                <a:ahLst/>
                <a:cxnLst>
                  <a:cxn ang="0">
                    <a:pos x="connsiteX0" y="connsiteY0"/>
                  </a:cxn>
                  <a:cxn ang="0">
                    <a:pos x="connsiteX1" y="connsiteY1"/>
                  </a:cxn>
                  <a:cxn ang="0">
                    <a:pos x="connsiteX2" y="connsiteY2"/>
                  </a:cxn>
                  <a:cxn ang="0">
                    <a:pos x="connsiteX3" y="connsiteY3"/>
                  </a:cxn>
                </a:cxnLst>
                <a:rect l="l" t="t" r="r" b="b"/>
                <a:pathLst>
                  <a:path w="165508" h="165508">
                    <a:moveTo>
                      <a:pt x="125539" y="125539"/>
                    </a:moveTo>
                    <a:cubicBezTo>
                      <a:pt x="171164" y="79915"/>
                      <a:pt x="165259" y="0"/>
                      <a:pt x="165259" y="0"/>
                    </a:cubicBezTo>
                    <a:lnTo>
                      <a:pt x="0" y="165259"/>
                    </a:lnTo>
                    <a:cubicBezTo>
                      <a:pt x="95" y="165259"/>
                      <a:pt x="79915" y="171164"/>
                      <a:pt x="125539" y="125539"/>
                    </a:cubicBezTo>
                    <a:close/>
                  </a:path>
                </a:pathLst>
              </a:custGeom>
              <a:solidFill>
                <a:srgbClr val="E6E7E8">
                  <a:alpha val="25000"/>
                </a:srgb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sp>
          <p:nvSpPr>
            <p:cNvPr id="28" name="Freeform: Shape 29">
              <a:extLst>
                <a:ext uri="{FF2B5EF4-FFF2-40B4-BE49-F238E27FC236}">
                  <a16:creationId xmlns:a16="http://schemas.microsoft.com/office/drawing/2014/main" id="{01D7C873-D9C7-4852-B406-6220C80698B0}"/>
                </a:ext>
              </a:extLst>
            </p:cNvPr>
            <p:cNvSpPr/>
            <p:nvPr/>
          </p:nvSpPr>
          <p:spPr>
            <a:xfrm>
              <a:off x="8588678" y="5087703"/>
              <a:ext cx="1142828" cy="804506"/>
            </a:xfrm>
            <a:custGeom>
              <a:avLst/>
              <a:gdLst>
                <a:gd name="connsiteX0" fmla="*/ 502063 w 618077"/>
                <a:gd name="connsiteY0" fmla="*/ 435102 h 435102"/>
                <a:gd name="connsiteX1" fmla="*/ 115919 w 618077"/>
                <a:gd name="connsiteY1" fmla="*/ 435102 h 435102"/>
                <a:gd name="connsiteX2" fmla="*/ 73914 w 618077"/>
                <a:gd name="connsiteY2" fmla="*/ 400145 h 435102"/>
                <a:gd name="connsiteX3" fmla="*/ 0 w 618077"/>
                <a:gd name="connsiteY3" fmla="*/ 0 h 435102"/>
                <a:gd name="connsiteX4" fmla="*/ 618077 w 618077"/>
                <a:gd name="connsiteY4" fmla="*/ 0 h 435102"/>
                <a:gd name="connsiteX5" fmla="*/ 544163 w 618077"/>
                <a:gd name="connsiteY5" fmla="*/ 400145 h 435102"/>
                <a:gd name="connsiteX6" fmla="*/ 502063 w 618077"/>
                <a:gd name="connsiteY6" fmla="*/ 435102 h 4351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18077" h="435102">
                  <a:moveTo>
                    <a:pt x="502063" y="435102"/>
                  </a:moveTo>
                  <a:lnTo>
                    <a:pt x="115919" y="435102"/>
                  </a:lnTo>
                  <a:cubicBezTo>
                    <a:pt x="95345" y="435102"/>
                    <a:pt x="77629" y="420434"/>
                    <a:pt x="73914" y="400145"/>
                  </a:cubicBezTo>
                  <a:lnTo>
                    <a:pt x="0" y="0"/>
                  </a:lnTo>
                  <a:lnTo>
                    <a:pt x="618077" y="0"/>
                  </a:lnTo>
                  <a:lnTo>
                    <a:pt x="544163" y="400145"/>
                  </a:lnTo>
                  <a:cubicBezTo>
                    <a:pt x="540353" y="420434"/>
                    <a:pt x="522637" y="435102"/>
                    <a:pt x="502063" y="435102"/>
                  </a:cubicBezTo>
                  <a:close/>
                </a:path>
              </a:pathLst>
            </a:custGeom>
            <a:solidFill>
              <a:srgbClr val="F6B31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9" name="Freeform: Shape 30">
              <a:extLst>
                <a:ext uri="{FF2B5EF4-FFF2-40B4-BE49-F238E27FC236}">
                  <a16:creationId xmlns:a16="http://schemas.microsoft.com/office/drawing/2014/main" id="{3E6D49F0-E651-4ACF-8060-0CA4E8A9B4BA}"/>
                </a:ext>
              </a:extLst>
            </p:cNvPr>
            <p:cNvSpPr/>
            <p:nvPr/>
          </p:nvSpPr>
          <p:spPr>
            <a:xfrm>
              <a:off x="8498682" y="4922152"/>
              <a:ext cx="1322468" cy="165549"/>
            </a:xfrm>
            <a:custGeom>
              <a:avLst/>
              <a:gdLst>
                <a:gd name="connsiteX0" fmla="*/ 670465 w 715232"/>
                <a:gd name="connsiteY0" fmla="*/ 0 h 89534"/>
                <a:gd name="connsiteX1" fmla="*/ 44768 w 715232"/>
                <a:gd name="connsiteY1" fmla="*/ 0 h 89534"/>
                <a:gd name="connsiteX2" fmla="*/ 0 w 715232"/>
                <a:gd name="connsiteY2" fmla="*/ 44767 h 89534"/>
                <a:gd name="connsiteX3" fmla="*/ 0 w 715232"/>
                <a:gd name="connsiteY3" fmla="*/ 44767 h 89534"/>
                <a:gd name="connsiteX4" fmla="*/ 44768 w 715232"/>
                <a:gd name="connsiteY4" fmla="*/ 89535 h 89534"/>
                <a:gd name="connsiteX5" fmla="*/ 670465 w 715232"/>
                <a:gd name="connsiteY5" fmla="*/ 89535 h 89534"/>
                <a:gd name="connsiteX6" fmla="*/ 715233 w 715232"/>
                <a:gd name="connsiteY6" fmla="*/ 44767 h 89534"/>
                <a:gd name="connsiteX7" fmla="*/ 715233 w 715232"/>
                <a:gd name="connsiteY7" fmla="*/ 44767 h 89534"/>
                <a:gd name="connsiteX8" fmla="*/ 670465 w 715232"/>
                <a:gd name="connsiteY8" fmla="*/ 0 h 895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5232" h="89534">
                  <a:moveTo>
                    <a:pt x="670465" y="0"/>
                  </a:moveTo>
                  <a:lnTo>
                    <a:pt x="44768" y="0"/>
                  </a:lnTo>
                  <a:cubicBezTo>
                    <a:pt x="20003" y="0"/>
                    <a:pt x="0" y="20098"/>
                    <a:pt x="0" y="44767"/>
                  </a:cubicBezTo>
                  <a:lnTo>
                    <a:pt x="0" y="44767"/>
                  </a:lnTo>
                  <a:cubicBezTo>
                    <a:pt x="0" y="69533"/>
                    <a:pt x="20098" y="89535"/>
                    <a:pt x="44768" y="89535"/>
                  </a:cubicBezTo>
                  <a:lnTo>
                    <a:pt x="670465" y="89535"/>
                  </a:lnTo>
                  <a:cubicBezTo>
                    <a:pt x="695230" y="89535"/>
                    <a:pt x="715233" y="69437"/>
                    <a:pt x="715233" y="44767"/>
                  </a:cubicBezTo>
                  <a:lnTo>
                    <a:pt x="715233" y="44767"/>
                  </a:lnTo>
                  <a:cubicBezTo>
                    <a:pt x="715328" y="20003"/>
                    <a:pt x="695230" y="0"/>
                    <a:pt x="670465" y="0"/>
                  </a:cubicBezTo>
                  <a:close/>
                </a:path>
              </a:pathLst>
            </a:custGeom>
            <a:solidFill>
              <a:srgbClr val="F6B31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0" name="Freeform: Shape 31">
              <a:extLst>
                <a:ext uri="{FF2B5EF4-FFF2-40B4-BE49-F238E27FC236}">
                  <a16:creationId xmlns:a16="http://schemas.microsoft.com/office/drawing/2014/main" id="{B5ACFA07-70C5-4B30-8591-2DD817FB606C}"/>
                </a:ext>
              </a:extLst>
            </p:cNvPr>
            <p:cNvSpPr/>
            <p:nvPr/>
          </p:nvSpPr>
          <p:spPr>
            <a:xfrm>
              <a:off x="8588501" y="5087703"/>
              <a:ext cx="1143003" cy="62169"/>
            </a:xfrm>
            <a:custGeom>
              <a:avLst/>
              <a:gdLst>
                <a:gd name="connsiteX0" fmla="*/ 611886 w 618172"/>
                <a:gd name="connsiteY0" fmla="*/ 33623 h 33623"/>
                <a:gd name="connsiteX1" fmla="*/ 618172 w 618172"/>
                <a:gd name="connsiteY1" fmla="*/ 0 h 33623"/>
                <a:gd name="connsiteX2" fmla="*/ 0 w 618172"/>
                <a:gd name="connsiteY2" fmla="*/ 0 h 33623"/>
                <a:gd name="connsiteX3" fmla="*/ 6191 w 618172"/>
                <a:gd name="connsiteY3" fmla="*/ 33623 h 33623"/>
              </a:gdLst>
              <a:ahLst/>
              <a:cxnLst>
                <a:cxn ang="0">
                  <a:pos x="connsiteX0" y="connsiteY0"/>
                </a:cxn>
                <a:cxn ang="0">
                  <a:pos x="connsiteX1" y="connsiteY1"/>
                </a:cxn>
                <a:cxn ang="0">
                  <a:pos x="connsiteX2" y="connsiteY2"/>
                </a:cxn>
                <a:cxn ang="0">
                  <a:pos x="connsiteX3" y="connsiteY3"/>
                </a:cxn>
              </a:cxnLst>
              <a:rect l="l" t="t" r="r" b="b"/>
              <a:pathLst>
                <a:path w="618172" h="33623">
                  <a:moveTo>
                    <a:pt x="611886" y="33623"/>
                  </a:moveTo>
                  <a:lnTo>
                    <a:pt x="618172" y="0"/>
                  </a:lnTo>
                  <a:lnTo>
                    <a:pt x="0" y="0"/>
                  </a:lnTo>
                  <a:lnTo>
                    <a:pt x="6191" y="33623"/>
                  </a:lnTo>
                  <a:close/>
                </a:path>
              </a:pathLst>
            </a:custGeom>
            <a:solidFill>
              <a:srgbClr val="E6E7E8">
                <a:alpha val="25000"/>
              </a:srgb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1" name="Freeform: Shape 32">
              <a:extLst>
                <a:ext uri="{FF2B5EF4-FFF2-40B4-BE49-F238E27FC236}">
                  <a16:creationId xmlns:a16="http://schemas.microsoft.com/office/drawing/2014/main" id="{6DC4432D-5626-46F2-B936-BB9874A72224}"/>
                </a:ext>
              </a:extLst>
            </p:cNvPr>
            <p:cNvSpPr/>
            <p:nvPr/>
          </p:nvSpPr>
          <p:spPr>
            <a:xfrm rot="18900000">
              <a:off x="8755875" y="4192524"/>
              <a:ext cx="259417" cy="35222"/>
            </a:xfrm>
            <a:custGeom>
              <a:avLst/>
              <a:gdLst>
                <a:gd name="connsiteX0" fmla="*/ 0 w 140301"/>
                <a:gd name="connsiteY0" fmla="*/ 0 h 19049"/>
                <a:gd name="connsiteX1" fmla="*/ 140302 w 140301"/>
                <a:gd name="connsiteY1" fmla="*/ 0 h 19049"/>
                <a:gd name="connsiteX2" fmla="*/ 140302 w 140301"/>
                <a:gd name="connsiteY2" fmla="*/ 19050 h 19049"/>
                <a:gd name="connsiteX3" fmla="*/ 0 w 140301"/>
                <a:gd name="connsiteY3" fmla="*/ 19050 h 19049"/>
              </a:gdLst>
              <a:ahLst/>
              <a:cxnLst>
                <a:cxn ang="0">
                  <a:pos x="connsiteX0" y="connsiteY0"/>
                </a:cxn>
                <a:cxn ang="0">
                  <a:pos x="connsiteX1" y="connsiteY1"/>
                </a:cxn>
                <a:cxn ang="0">
                  <a:pos x="connsiteX2" y="connsiteY2"/>
                </a:cxn>
                <a:cxn ang="0">
                  <a:pos x="connsiteX3" y="connsiteY3"/>
                </a:cxn>
              </a:cxnLst>
              <a:rect l="l" t="t" r="r" b="b"/>
              <a:pathLst>
                <a:path w="140301" h="19049">
                  <a:moveTo>
                    <a:pt x="0" y="0"/>
                  </a:moveTo>
                  <a:lnTo>
                    <a:pt x="140302" y="0"/>
                  </a:lnTo>
                  <a:lnTo>
                    <a:pt x="140302" y="19050"/>
                  </a:lnTo>
                  <a:lnTo>
                    <a:pt x="0" y="19050"/>
                  </a:lnTo>
                  <a:close/>
                </a:path>
              </a:pathLst>
            </a:custGeom>
            <a:solidFill>
              <a:srgbClr val="6B4B2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nvGrpSpPr>
            <p:cNvPr id="32" name="Graphic 7">
              <a:extLst>
                <a:ext uri="{FF2B5EF4-FFF2-40B4-BE49-F238E27FC236}">
                  <a16:creationId xmlns:a16="http://schemas.microsoft.com/office/drawing/2014/main" id="{18080781-3594-487C-A2AB-0D3E6FD10BC1}"/>
                </a:ext>
              </a:extLst>
            </p:cNvPr>
            <p:cNvGrpSpPr/>
            <p:nvPr/>
          </p:nvGrpSpPr>
          <p:grpSpPr>
            <a:xfrm>
              <a:off x="8621300" y="4259112"/>
              <a:ext cx="208438" cy="208438"/>
              <a:chOff x="6625326" y="3736108"/>
              <a:chExt cx="112730" cy="112730"/>
            </a:xfrm>
          </p:grpSpPr>
          <p:sp>
            <p:nvSpPr>
              <p:cNvPr id="120" name="Freeform: Shape 121">
                <a:extLst>
                  <a:ext uri="{FF2B5EF4-FFF2-40B4-BE49-F238E27FC236}">
                    <a16:creationId xmlns:a16="http://schemas.microsoft.com/office/drawing/2014/main" id="{0CE9F89F-9E7F-438C-9AA6-D394E9F96FA1}"/>
                  </a:ext>
                </a:extLst>
              </p:cNvPr>
              <p:cNvSpPr/>
              <p:nvPr/>
            </p:nvSpPr>
            <p:spPr>
              <a:xfrm>
                <a:off x="6625326" y="3736108"/>
                <a:ext cx="112730" cy="112730"/>
              </a:xfrm>
              <a:custGeom>
                <a:avLst/>
                <a:gdLst>
                  <a:gd name="connsiteX0" fmla="*/ 27219 w 112730"/>
                  <a:gd name="connsiteY0" fmla="*/ 27219 h 112730"/>
                  <a:gd name="connsiteX1" fmla="*/ 112563 w 112730"/>
                  <a:gd name="connsiteY1" fmla="*/ 168 h 112730"/>
                  <a:gd name="connsiteX2" fmla="*/ 85512 w 112730"/>
                  <a:gd name="connsiteY2" fmla="*/ 85512 h 112730"/>
                  <a:gd name="connsiteX3" fmla="*/ 168 w 112730"/>
                  <a:gd name="connsiteY3" fmla="*/ 112563 h 112730"/>
                  <a:gd name="connsiteX4" fmla="*/ 27219 w 112730"/>
                  <a:gd name="connsiteY4" fmla="*/ 27219 h 1127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2730" h="112730">
                    <a:moveTo>
                      <a:pt x="27219" y="27219"/>
                    </a:moveTo>
                    <a:cubicBezTo>
                      <a:pt x="58270" y="-3833"/>
                      <a:pt x="112563" y="168"/>
                      <a:pt x="112563" y="168"/>
                    </a:cubicBezTo>
                    <a:cubicBezTo>
                      <a:pt x="112563" y="168"/>
                      <a:pt x="116563" y="54556"/>
                      <a:pt x="85512" y="85512"/>
                    </a:cubicBezTo>
                    <a:cubicBezTo>
                      <a:pt x="54461" y="116563"/>
                      <a:pt x="168" y="112563"/>
                      <a:pt x="168" y="112563"/>
                    </a:cubicBezTo>
                    <a:cubicBezTo>
                      <a:pt x="168" y="112563"/>
                      <a:pt x="-3832" y="58270"/>
                      <a:pt x="27219" y="27219"/>
                    </a:cubicBezTo>
                    <a:close/>
                  </a:path>
                </a:pathLst>
              </a:custGeom>
              <a:solidFill>
                <a:srgbClr val="8DB936"/>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21" name="Freeform: Shape 122">
                <a:extLst>
                  <a:ext uri="{FF2B5EF4-FFF2-40B4-BE49-F238E27FC236}">
                    <a16:creationId xmlns:a16="http://schemas.microsoft.com/office/drawing/2014/main" id="{FA4EEB59-FEEC-422A-A7B3-5AA7AB081DCC}"/>
                  </a:ext>
                </a:extLst>
              </p:cNvPr>
              <p:cNvSpPr/>
              <p:nvPr/>
            </p:nvSpPr>
            <p:spPr>
              <a:xfrm>
                <a:off x="6625326" y="3736108"/>
                <a:ext cx="112563" cy="112562"/>
              </a:xfrm>
              <a:custGeom>
                <a:avLst/>
                <a:gdLst>
                  <a:gd name="connsiteX0" fmla="*/ 27219 w 112563"/>
                  <a:gd name="connsiteY0" fmla="*/ 27219 h 112562"/>
                  <a:gd name="connsiteX1" fmla="*/ 168 w 112563"/>
                  <a:gd name="connsiteY1" fmla="*/ 112563 h 112562"/>
                  <a:gd name="connsiteX2" fmla="*/ 112563 w 112563"/>
                  <a:gd name="connsiteY2" fmla="*/ 168 h 112562"/>
                  <a:gd name="connsiteX3" fmla="*/ 27219 w 112563"/>
                  <a:gd name="connsiteY3" fmla="*/ 27219 h 112562"/>
                </a:gdLst>
                <a:ahLst/>
                <a:cxnLst>
                  <a:cxn ang="0">
                    <a:pos x="connsiteX0" y="connsiteY0"/>
                  </a:cxn>
                  <a:cxn ang="0">
                    <a:pos x="connsiteX1" y="connsiteY1"/>
                  </a:cxn>
                  <a:cxn ang="0">
                    <a:pos x="connsiteX2" y="connsiteY2"/>
                  </a:cxn>
                  <a:cxn ang="0">
                    <a:pos x="connsiteX3" y="connsiteY3"/>
                  </a:cxn>
                </a:cxnLst>
                <a:rect l="l" t="t" r="r" b="b"/>
                <a:pathLst>
                  <a:path w="112563" h="112562">
                    <a:moveTo>
                      <a:pt x="27219" y="27219"/>
                    </a:moveTo>
                    <a:cubicBezTo>
                      <a:pt x="-3832" y="58270"/>
                      <a:pt x="168" y="112563"/>
                      <a:pt x="168" y="112563"/>
                    </a:cubicBezTo>
                    <a:lnTo>
                      <a:pt x="112563" y="168"/>
                    </a:lnTo>
                    <a:cubicBezTo>
                      <a:pt x="112563" y="168"/>
                      <a:pt x="58270" y="-3833"/>
                      <a:pt x="27219" y="27219"/>
                    </a:cubicBezTo>
                    <a:close/>
                  </a:path>
                </a:pathLst>
              </a:custGeom>
              <a:solidFill>
                <a:srgbClr val="E6E7E8">
                  <a:alpha val="25000"/>
                </a:srgb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sp>
          <p:nvSpPr>
            <p:cNvPr id="33" name="Freeform: Shape 34">
              <a:extLst>
                <a:ext uri="{FF2B5EF4-FFF2-40B4-BE49-F238E27FC236}">
                  <a16:creationId xmlns:a16="http://schemas.microsoft.com/office/drawing/2014/main" id="{73631BDB-8C0A-43A9-82D5-F13371905741}"/>
                </a:ext>
              </a:extLst>
            </p:cNvPr>
            <p:cNvSpPr/>
            <p:nvPr/>
          </p:nvSpPr>
          <p:spPr>
            <a:xfrm rot="18900000">
              <a:off x="9031384" y="3598238"/>
              <a:ext cx="35222" cy="298868"/>
            </a:xfrm>
            <a:custGeom>
              <a:avLst/>
              <a:gdLst>
                <a:gd name="connsiteX0" fmla="*/ 0 w 19049"/>
                <a:gd name="connsiteY0" fmla="*/ 0 h 161637"/>
                <a:gd name="connsiteX1" fmla="*/ 19050 w 19049"/>
                <a:gd name="connsiteY1" fmla="*/ 0 h 161637"/>
                <a:gd name="connsiteX2" fmla="*/ 19050 w 19049"/>
                <a:gd name="connsiteY2" fmla="*/ 161638 h 161637"/>
                <a:gd name="connsiteX3" fmla="*/ 0 w 19049"/>
                <a:gd name="connsiteY3" fmla="*/ 161638 h 161637"/>
              </a:gdLst>
              <a:ahLst/>
              <a:cxnLst>
                <a:cxn ang="0">
                  <a:pos x="connsiteX0" y="connsiteY0"/>
                </a:cxn>
                <a:cxn ang="0">
                  <a:pos x="connsiteX1" y="connsiteY1"/>
                </a:cxn>
                <a:cxn ang="0">
                  <a:pos x="connsiteX2" y="connsiteY2"/>
                </a:cxn>
                <a:cxn ang="0">
                  <a:pos x="connsiteX3" y="connsiteY3"/>
                </a:cxn>
              </a:cxnLst>
              <a:rect l="l" t="t" r="r" b="b"/>
              <a:pathLst>
                <a:path w="19049" h="161637">
                  <a:moveTo>
                    <a:pt x="0" y="0"/>
                  </a:moveTo>
                  <a:lnTo>
                    <a:pt x="19050" y="0"/>
                  </a:lnTo>
                  <a:lnTo>
                    <a:pt x="19050" y="161638"/>
                  </a:lnTo>
                  <a:lnTo>
                    <a:pt x="0" y="161638"/>
                  </a:lnTo>
                  <a:close/>
                </a:path>
              </a:pathLst>
            </a:custGeom>
            <a:solidFill>
              <a:srgbClr val="6B4B2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nvGrpSpPr>
            <p:cNvPr id="34" name="Graphic 7">
              <a:extLst>
                <a:ext uri="{FF2B5EF4-FFF2-40B4-BE49-F238E27FC236}">
                  <a16:creationId xmlns:a16="http://schemas.microsoft.com/office/drawing/2014/main" id="{E106365E-2459-4728-B3E5-17A14465A566}"/>
                </a:ext>
              </a:extLst>
            </p:cNvPr>
            <p:cNvGrpSpPr/>
            <p:nvPr/>
          </p:nvGrpSpPr>
          <p:grpSpPr>
            <a:xfrm>
              <a:off x="8765012" y="3464291"/>
              <a:ext cx="208438" cy="208438"/>
              <a:chOff x="6703050" y="3306244"/>
              <a:chExt cx="112730" cy="112730"/>
            </a:xfrm>
          </p:grpSpPr>
          <p:sp>
            <p:nvSpPr>
              <p:cNvPr id="118" name="Freeform: Shape 119">
                <a:extLst>
                  <a:ext uri="{FF2B5EF4-FFF2-40B4-BE49-F238E27FC236}">
                    <a16:creationId xmlns:a16="http://schemas.microsoft.com/office/drawing/2014/main" id="{0B407D05-E555-4A64-94AE-976B14FCD62D}"/>
                  </a:ext>
                </a:extLst>
              </p:cNvPr>
              <p:cNvSpPr/>
              <p:nvPr/>
            </p:nvSpPr>
            <p:spPr>
              <a:xfrm>
                <a:off x="6703050" y="3306254"/>
                <a:ext cx="112730" cy="112721"/>
              </a:xfrm>
              <a:custGeom>
                <a:avLst/>
                <a:gdLst>
                  <a:gd name="connsiteX0" fmla="*/ 85512 w 112730"/>
                  <a:gd name="connsiteY0" fmla="*/ 27210 h 112721"/>
                  <a:gd name="connsiteX1" fmla="*/ 112563 w 112730"/>
                  <a:gd name="connsiteY1" fmla="*/ 112554 h 112721"/>
                  <a:gd name="connsiteX2" fmla="*/ 27219 w 112730"/>
                  <a:gd name="connsiteY2" fmla="*/ 85503 h 112721"/>
                  <a:gd name="connsiteX3" fmla="*/ 168 w 112730"/>
                  <a:gd name="connsiteY3" fmla="*/ 159 h 112721"/>
                  <a:gd name="connsiteX4" fmla="*/ 85512 w 112730"/>
                  <a:gd name="connsiteY4" fmla="*/ 27210 h 1127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2730" h="112721">
                    <a:moveTo>
                      <a:pt x="85512" y="27210"/>
                    </a:moveTo>
                    <a:cubicBezTo>
                      <a:pt x="116563" y="58261"/>
                      <a:pt x="112563" y="112554"/>
                      <a:pt x="112563" y="112554"/>
                    </a:cubicBezTo>
                    <a:cubicBezTo>
                      <a:pt x="112563" y="112554"/>
                      <a:pt x="58175" y="116554"/>
                      <a:pt x="27219" y="85503"/>
                    </a:cubicBezTo>
                    <a:cubicBezTo>
                      <a:pt x="-3833" y="54451"/>
                      <a:pt x="168" y="159"/>
                      <a:pt x="168" y="159"/>
                    </a:cubicBezTo>
                    <a:cubicBezTo>
                      <a:pt x="168" y="159"/>
                      <a:pt x="54461" y="-3747"/>
                      <a:pt x="85512" y="27210"/>
                    </a:cubicBezTo>
                    <a:close/>
                  </a:path>
                </a:pathLst>
              </a:custGeom>
              <a:solidFill>
                <a:srgbClr val="8DB936"/>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19" name="Freeform: Shape 120">
                <a:extLst>
                  <a:ext uri="{FF2B5EF4-FFF2-40B4-BE49-F238E27FC236}">
                    <a16:creationId xmlns:a16="http://schemas.microsoft.com/office/drawing/2014/main" id="{B97613F6-69F8-4D99-A62D-DBB008CE4A29}"/>
                  </a:ext>
                </a:extLst>
              </p:cNvPr>
              <p:cNvSpPr/>
              <p:nvPr/>
            </p:nvSpPr>
            <p:spPr>
              <a:xfrm>
                <a:off x="6703218" y="3306244"/>
                <a:ext cx="112562" cy="112563"/>
              </a:xfrm>
              <a:custGeom>
                <a:avLst/>
                <a:gdLst>
                  <a:gd name="connsiteX0" fmla="*/ 85344 w 112562"/>
                  <a:gd name="connsiteY0" fmla="*/ 27219 h 112563"/>
                  <a:gd name="connsiteX1" fmla="*/ 0 w 112562"/>
                  <a:gd name="connsiteY1" fmla="*/ 168 h 112563"/>
                  <a:gd name="connsiteX2" fmla="*/ 112395 w 112562"/>
                  <a:gd name="connsiteY2" fmla="*/ 112563 h 112563"/>
                  <a:gd name="connsiteX3" fmla="*/ 85344 w 112562"/>
                  <a:gd name="connsiteY3" fmla="*/ 27219 h 112563"/>
                </a:gdLst>
                <a:ahLst/>
                <a:cxnLst>
                  <a:cxn ang="0">
                    <a:pos x="connsiteX0" y="connsiteY0"/>
                  </a:cxn>
                  <a:cxn ang="0">
                    <a:pos x="connsiteX1" y="connsiteY1"/>
                  </a:cxn>
                  <a:cxn ang="0">
                    <a:pos x="connsiteX2" y="connsiteY2"/>
                  </a:cxn>
                  <a:cxn ang="0">
                    <a:pos x="connsiteX3" y="connsiteY3"/>
                  </a:cxn>
                </a:cxnLst>
                <a:rect l="l" t="t" r="r" b="b"/>
                <a:pathLst>
                  <a:path w="112562" h="112563">
                    <a:moveTo>
                      <a:pt x="85344" y="27219"/>
                    </a:moveTo>
                    <a:cubicBezTo>
                      <a:pt x="54293" y="-3833"/>
                      <a:pt x="0" y="168"/>
                      <a:pt x="0" y="168"/>
                    </a:cubicBezTo>
                    <a:lnTo>
                      <a:pt x="112395" y="112563"/>
                    </a:lnTo>
                    <a:cubicBezTo>
                      <a:pt x="112395" y="112658"/>
                      <a:pt x="116396" y="58270"/>
                      <a:pt x="85344" y="27219"/>
                    </a:cubicBezTo>
                    <a:close/>
                  </a:path>
                </a:pathLst>
              </a:custGeom>
              <a:solidFill>
                <a:srgbClr val="E6E7E8">
                  <a:alpha val="25000"/>
                </a:srgb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sp>
          <p:nvSpPr>
            <p:cNvPr id="35" name="Freeform: Shape 36">
              <a:extLst>
                <a:ext uri="{FF2B5EF4-FFF2-40B4-BE49-F238E27FC236}">
                  <a16:creationId xmlns:a16="http://schemas.microsoft.com/office/drawing/2014/main" id="{05547FEC-16CE-414B-8C86-7A5A68CB4931}"/>
                </a:ext>
              </a:extLst>
            </p:cNvPr>
            <p:cNvSpPr/>
            <p:nvPr/>
          </p:nvSpPr>
          <p:spPr>
            <a:xfrm rot="18900000">
              <a:off x="9103129" y="3447896"/>
              <a:ext cx="350470" cy="35222"/>
            </a:xfrm>
            <a:custGeom>
              <a:avLst/>
              <a:gdLst>
                <a:gd name="connsiteX0" fmla="*/ 0 w 189545"/>
                <a:gd name="connsiteY0" fmla="*/ 0 h 19049"/>
                <a:gd name="connsiteX1" fmla="*/ 189546 w 189545"/>
                <a:gd name="connsiteY1" fmla="*/ 0 h 19049"/>
                <a:gd name="connsiteX2" fmla="*/ 189546 w 189545"/>
                <a:gd name="connsiteY2" fmla="*/ 19050 h 19049"/>
                <a:gd name="connsiteX3" fmla="*/ 0 w 189545"/>
                <a:gd name="connsiteY3" fmla="*/ 19050 h 19049"/>
              </a:gdLst>
              <a:ahLst/>
              <a:cxnLst>
                <a:cxn ang="0">
                  <a:pos x="connsiteX0" y="connsiteY0"/>
                </a:cxn>
                <a:cxn ang="0">
                  <a:pos x="connsiteX1" y="connsiteY1"/>
                </a:cxn>
                <a:cxn ang="0">
                  <a:pos x="connsiteX2" y="connsiteY2"/>
                </a:cxn>
                <a:cxn ang="0">
                  <a:pos x="connsiteX3" y="connsiteY3"/>
                </a:cxn>
              </a:cxnLst>
              <a:rect l="l" t="t" r="r" b="b"/>
              <a:pathLst>
                <a:path w="189545" h="19049">
                  <a:moveTo>
                    <a:pt x="0" y="0"/>
                  </a:moveTo>
                  <a:lnTo>
                    <a:pt x="189546" y="0"/>
                  </a:lnTo>
                  <a:lnTo>
                    <a:pt x="189546" y="19050"/>
                  </a:lnTo>
                  <a:lnTo>
                    <a:pt x="0" y="19050"/>
                  </a:lnTo>
                  <a:close/>
                </a:path>
              </a:pathLst>
            </a:custGeom>
            <a:solidFill>
              <a:srgbClr val="6B4B2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nvGrpSpPr>
            <p:cNvPr id="36" name="Graphic 7">
              <a:extLst>
                <a:ext uri="{FF2B5EF4-FFF2-40B4-BE49-F238E27FC236}">
                  <a16:creationId xmlns:a16="http://schemas.microsoft.com/office/drawing/2014/main" id="{8F5A5401-920C-496D-8C14-10F2DA222E79}"/>
                </a:ext>
              </a:extLst>
            </p:cNvPr>
            <p:cNvGrpSpPr/>
            <p:nvPr/>
          </p:nvGrpSpPr>
          <p:grpSpPr>
            <a:xfrm>
              <a:off x="9374733" y="3159079"/>
              <a:ext cx="208438" cy="208438"/>
              <a:chOff x="7032806" y="3141176"/>
              <a:chExt cx="112730" cy="112730"/>
            </a:xfrm>
          </p:grpSpPr>
          <p:sp>
            <p:nvSpPr>
              <p:cNvPr id="116" name="Freeform: Shape 117">
                <a:extLst>
                  <a:ext uri="{FF2B5EF4-FFF2-40B4-BE49-F238E27FC236}">
                    <a16:creationId xmlns:a16="http://schemas.microsoft.com/office/drawing/2014/main" id="{2D4DD388-2F69-43CA-8BF8-4231D6729E7A}"/>
                  </a:ext>
                </a:extLst>
              </p:cNvPr>
              <p:cNvSpPr/>
              <p:nvPr/>
            </p:nvSpPr>
            <p:spPr>
              <a:xfrm>
                <a:off x="7032806" y="3141176"/>
                <a:ext cx="112730" cy="112730"/>
              </a:xfrm>
              <a:custGeom>
                <a:avLst/>
                <a:gdLst>
                  <a:gd name="connsiteX0" fmla="*/ 85512 w 112730"/>
                  <a:gd name="connsiteY0" fmla="*/ 85512 h 112730"/>
                  <a:gd name="connsiteX1" fmla="*/ 168 w 112730"/>
                  <a:gd name="connsiteY1" fmla="*/ 112563 h 112730"/>
                  <a:gd name="connsiteX2" fmla="*/ 27219 w 112730"/>
                  <a:gd name="connsiteY2" fmla="*/ 27219 h 112730"/>
                  <a:gd name="connsiteX3" fmla="*/ 112563 w 112730"/>
                  <a:gd name="connsiteY3" fmla="*/ 168 h 112730"/>
                  <a:gd name="connsiteX4" fmla="*/ 85512 w 112730"/>
                  <a:gd name="connsiteY4" fmla="*/ 85512 h 1127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2730" h="112730">
                    <a:moveTo>
                      <a:pt x="85512" y="85512"/>
                    </a:moveTo>
                    <a:cubicBezTo>
                      <a:pt x="54461" y="116563"/>
                      <a:pt x="168" y="112563"/>
                      <a:pt x="168" y="112563"/>
                    </a:cubicBezTo>
                    <a:cubicBezTo>
                      <a:pt x="168" y="112563"/>
                      <a:pt x="-3832" y="58175"/>
                      <a:pt x="27219" y="27219"/>
                    </a:cubicBezTo>
                    <a:cubicBezTo>
                      <a:pt x="58270" y="-3833"/>
                      <a:pt x="112563" y="168"/>
                      <a:pt x="112563" y="168"/>
                    </a:cubicBezTo>
                    <a:cubicBezTo>
                      <a:pt x="112563" y="168"/>
                      <a:pt x="116563" y="54460"/>
                      <a:pt x="85512" y="85512"/>
                    </a:cubicBezTo>
                    <a:close/>
                  </a:path>
                </a:pathLst>
              </a:custGeom>
              <a:solidFill>
                <a:srgbClr val="8DB936"/>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17" name="Freeform: Shape 118">
                <a:extLst>
                  <a:ext uri="{FF2B5EF4-FFF2-40B4-BE49-F238E27FC236}">
                    <a16:creationId xmlns:a16="http://schemas.microsoft.com/office/drawing/2014/main" id="{2F221100-0D06-4053-BC9B-A812F4E218A3}"/>
                  </a:ext>
                </a:extLst>
              </p:cNvPr>
              <p:cNvSpPr/>
              <p:nvPr/>
            </p:nvSpPr>
            <p:spPr>
              <a:xfrm>
                <a:off x="7032974" y="3141344"/>
                <a:ext cx="112563" cy="112562"/>
              </a:xfrm>
              <a:custGeom>
                <a:avLst/>
                <a:gdLst>
                  <a:gd name="connsiteX0" fmla="*/ 85344 w 112563"/>
                  <a:gd name="connsiteY0" fmla="*/ 85344 h 112562"/>
                  <a:gd name="connsiteX1" fmla="*/ 112395 w 112563"/>
                  <a:gd name="connsiteY1" fmla="*/ 0 h 112562"/>
                  <a:gd name="connsiteX2" fmla="*/ 0 w 112563"/>
                  <a:gd name="connsiteY2" fmla="*/ 112395 h 112562"/>
                  <a:gd name="connsiteX3" fmla="*/ 85344 w 112563"/>
                  <a:gd name="connsiteY3" fmla="*/ 85344 h 112562"/>
                </a:gdLst>
                <a:ahLst/>
                <a:cxnLst>
                  <a:cxn ang="0">
                    <a:pos x="connsiteX0" y="connsiteY0"/>
                  </a:cxn>
                  <a:cxn ang="0">
                    <a:pos x="connsiteX1" y="connsiteY1"/>
                  </a:cxn>
                  <a:cxn ang="0">
                    <a:pos x="connsiteX2" y="connsiteY2"/>
                  </a:cxn>
                  <a:cxn ang="0">
                    <a:pos x="connsiteX3" y="connsiteY3"/>
                  </a:cxn>
                </a:cxnLst>
                <a:rect l="l" t="t" r="r" b="b"/>
                <a:pathLst>
                  <a:path w="112563" h="112562">
                    <a:moveTo>
                      <a:pt x="85344" y="85344"/>
                    </a:moveTo>
                    <a:cubicBezTo>
                      <a:pt x="116396" y="54292"/>
                      <a:pt x="112395" y="0"/>
                      <a:pt x="112395" y="0"/>
                    </a:cubicBezTo>
                    <a:lnTo>
                      <a:pt x="0" y="112395"/>
                    </a:lnTo>
                    <a:cubicBezTo>
                      <a:pt x="-95" y="112395"/>
                      <a:pt x="54293" y="116395"/>
                      <a:pt x="85344" y="85344"/>
                    </a:cubicBezTo>
                    <a:close/>
                  </a:path>
                </a:pathLst>
              </a:custGeom>
              <a:solidFill>
                <a:srgbClr val="E6E7E8">
                  <a:alpha val="25000"/>
                </a:srgb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sp>
          <p:nvSpPr>
            <p:cNvPr id="37" name="Freeform: Shape 38">
              <a:extLst>
                <a:ext uri="{FF2B5EF4-FFF2-40B4-BE49-F238E27FC236}">
                  <a16:creationId xmlns:a16="http://schemas.microsoft.com/office/drawing/2014/main" id="{DF962E54-8ECB-4F48-8323-58B57FB47BFB}"/>
                </a:ext>
              </a:extLst>
            </p:cNvPr>
            <p:cNvSpPr/>
            <p:nvPr/>
          </p:nvSpPr>
          <p:spPr>
            <a:xfrm>
              <a:off x="10678667" y="2558300"/>
              <a:ext cx="35224" cy="2788648"/>
            </a:xfrm>
            <a:custGeom>
              <a:avLst/>
              <a:gdLst>
                <a:gd name="connsiteX0" fmla="*/ 0 w 19050"/>
                <a:gd name="connsiteY0" fmla="*/ 0 h 1508188"/>
                <a:gd name="connsiteX1" fmla="*/ 19050 w 19050"/>
                <a:gd name="connsiteY1" fmla="*/ 0 h 1508188"/>
                <a:gd name="connsiteX2" fmla="*/ 19050 w 19050"/>
                <a:gd name="connsiteY2" fmla="*/ 1508189 h 1508188"/>
                <a:gd name="connsiteX3" fmla="*/ 0 w 19050"/>
                <a:gd name="connsiteY3" fmla="*/ 1508189 h 1508188"/>
              </a:gdLst>
              <a:ahLst/>
              <a:cxnLst>
                <a:cxn ang="0">
                  <a:pos x="connsiteX0" y="connsiteY0"/>
                </a:cxn>
                <a:cxn ang="0">
                  <a:pos x="connsiteX1" y="connsiteY1"/>
                </a:cxn>
                <a:cxn ang="0">
                  <a:pos x="connsiteX2" y="connsiteY2"/>
                </a:cxn>
                <a:cxn ang="0">
                  <a:pos x="connsiteX3" y="connsiteY3"/>
                </a:cxn>
              </a:cxnLst>
              <a:rect l="l" t="t" r="r" b="b"/>
              <a:pathLst>
                <a:path w="19050" h="1508188">
                  <a:moveTo>
                    <a:pt x="0" y="0"/>
                  </a:moveTo>
                  <a:lnTo>
                    <a:pt x="19050" y="0"/>
                  </a:lnTo>
                  <a:lnTo>
                    <a:pt x="19050" y="1508189"/>
                  </a:lnTo>
                  <a:lnTo>
                    <a:pt x="0" y="1508189"/>
                  </a:lnTo>
                  <a:close/>
                </a:path>
              </a:pathLst>
            </a:custGeom>
            <a:solidFill>
              <a:srgbClr val="6B4B2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nvGrpSpPr>
            <p:cNvPr id="38" name="Graphic 7">
              <a:extLst>
                <a:ext uri="{FF2B5EF4-FFF2-40B4-BE49-F238E27FC236}">
                  <a16:creationId xmlns:a16="http://schemas.microsoft.com/office/drawing/2014/main" id="{BF8B2A93-6799-4B09-B474-2C5DC7ABA4F1}"/>
                </a:ext>
              </a:extLst>
            </p:cNvPr>
            <p:cNvGrpSpPr/>
            <p:nvPr/>
          </p:nvGrpSpPr>
          <p:grpSpPr>
            <a:xfrm>
              <a:off x="10389900" y="4462005"/>
              <a:ext cx="306487" cy="306504"/>
              <a:chOff x="7581840" y="3845839"/>
              <a:chExt cx="165758" cy="165767"/>
            </a:xfrm>
          </p:grpSpPr>
          <p:sp>
            <p:nvSpPr>
              <p:cNvPr id="114" name="Freeform: Shape 115">
                <a:extLst>
                  <a:ext uri="{FF2B5EF4-FFF2-40B4-BE49-F238E27FC236}">
                    <a16:creationId xmlns:a16="http://schemas.microsoft.com/office/drawing/2014/main" id="{9D0782A0-331C-4664-9D6A-80788AA2AD7C}"/>
                  </a:ext>
                </a:extLst>
              </p:cNvPr>
              <p:cNvSpPr/>
              <p:nvPr/>
            </p:nvSpPr>
            <p:spPr>
              <a:xfrm>
                <a:off x="7581840" y="3845839"/>
                <a:ext cx="165758" cy="165767"/>
              </a:xfrm>
              <a:custGeom>
                <a:avLst/>
                <a:gdLst>
                  <a:gd name="connsiteX0" fmla="*/ 125789 w 165758"/>
                  <a:gd name="connsiteY0" fmla="*/ 39979 h 165767"/>
                  <a:gd name="connsiteX1" fmla="*/ 165509 w 165758"/>
                  <a:gd name="connsiteY1" fmla="*/ 165518 h 165767"/>
                  <a:gd name="connsiteX2" fmla="*/ 39969 w 165758"/>
                  <a:gd name="connsiteY2" fmla="*/ 125799 h 165767"/>
                  <a:gd name="connsiteX3" fmla="*/ 250 w 165758"/>
                  <a:gd name="connsiteY3" fmla="*/ 259 h 165767"/>
                  <a:gd name="connsiteX4" fmla="*/ 125789 w 165758"/>
                  <a:gd name="connsiteY4" fmla="*/ 39979 h 1657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5758" h="165767">
                    <a:moveTo>
                      <a:pt x="125789" y="39979"/>
                    </a:moveTo>
                    <a:cubicBezTo>
                      <a:pt x="171414" y="85603"/>
                      <a:pt x="165509" y="165518"/>
                      <a:pt x="165509" y="165518"/>
                    </a:cubicBezTo>
                    <a:cubicBezTo>
                      <a:pt x="165509" y="165518"/>
                      <a:pt x="85594" y="171424"/>
                      <a:pt x="39969" y="125799"/>
                    </a:cubicBezTo>
                    <a:cubicBezTo>
                      <a:pt x="-5656" y="80174"/>
                      <a:pt x="250" y="259"/>
                      <a:pt x="250" y="259"/>
                    </a:cubicBezTo>
                    <a:cubicBezTo>
                      <a:pt x="250" y="259"/>
                      <a:pt x="80165" y="-5741"/>
                      <a:pt x="125789" y="39979"/>
                    </a:cubicBezTo>
                    <a:close/>
                  </a:path>
                </a:pathLst>
              </a:custGeom>
              <a:solidFill>
                <a:srgbClr val="8DB936"/>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15" name="Freeform: Shape 116">
                <a:extLst>
                  <a:ext uri="{FF2B5EF4-FFF2-40B4-BE49-F238E27FC236}">
                    <a16:creationId xmlns:a16="http://schemas.microsoft.com/office/drawing/2014/main" id="{97E42A09-78DB-45D2-8B05-2E66E5416192}"/>
                  </a:ext>
                </a:extLst>
              </p:cNvPr>
              <p:cNvSpPr/>
              <p:nvPr/>
            </p:nvSpPr>
            <p:spPr>
              <a:xfrm>
                <a:off x="7582090" y="3845849"/>
                <a:ext cx="165508" cy="165508"/>
              </a:xfrm>
              <a:custGeom>
                <a:avLst/>
                <a:gdLst>
                  <a:gd name="connsiteX0" fmla="*/ 125540 w 165508"/>
                  <a:gd name="connsiteY0" fmla="*/ 39969 h 165508"/>
                  <a:gd name="connsiteX1" fmla="*/ 0 w 165508"/>
                  <a:gd name="connsiteY1" fmla="*/ 250 h 165508"/>
                  <a:gd name="connsiteX2" fmla="*/ 165259 w 165508"/>
                  <a:gd name="connsiteY2" fmla="*/ 165509 h 165508"/>
                  <a:gd name="connsiteX3" fmla="*/ 125540 w 165508"/>
                  <a:gd name="connsiteY3" fmla="*/ 39969 h 165508"/>
                </a:gdLst>
                <a:ahLst/>
                <a:cxnLst>
                  <a:cxn ang="0">
                    <a:pos x="connsiteX0" y="connsiteY0"/>
                  </a:cxn>
                  <a:cxn ang="0">
                    <a:pos x="connsiteX1" y="connsiteY1"/>
                  </a:cxn>
                  <a:cxn ang="0">
                    <a:pos x="connsiteX2" y="connsiteY2"/>
                  </a:cxn>
                  <a:cxn ang="0">
                    <a:pos x="connsiteX3" y="connsiteY3"/>
                  </a:cxn>
                </a:cxnLst>
                <a:rect l="l" t="t" r="r" b="b"/>
                <a:pathLst>
                  <a:path w="165508" h="165508">
                    <a:moveTo>
                      <a:pt x="125540" y="39969"/>
                    </a:moveTo>
                    <a:cubicBezTo>
                      <a:pt x="79915" y="-5656"/>
                      <a:pt x="0" y="250"/>
                      <a:pt x="0" y="250"/>
                    </a:cubicBezTo>
                    <a:lnTo>
                      <a:pt x="165259" y="165509"/>
                    </a:lnTo>
                    <a:cubicBezTo>
                      <a:pt x="165259" y="165509"/>
                      <a:pt x="171164" y="85594"/>
                      <a:pt x="125540" y="39969"/>
                    </a:cubicBezTo>
                    <a:close/>
                  </a:path>
                </a:pathLst>
              </a:custGeom>
              <a:solidFill>
                <a:srgbClr val="E6E7E8">
                  <a:alpha val="25000"/>
                </a:srgb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grpSp>
          <p:nvGrpSpPr>
            <p:cNvPr id="39" name="Graphic 7">
              <a:extLst>
                <a:ext uri="{FF2B5EF4-FFF2-40B4-BE49-F238E27FC236}">
                  <a16:creationId xmlns:a16="http://schemas.microsoft.com/office/drawing/2014/main" id="{2D823D10-F901-4756-B384-F40CF3ABA26D}"/>
                </a:ext>
              </a:extLst>
            </p:cNvPr>
            <p:cNvGrpSpPr/>
            <p:nvPr/>
          </p:nvGrpSpPr>
          <p:grpSpPr>
            <a:xfrm>
              <a:off x="10696345" y="4258607"/>
              <a:ext cx="306487" cy="306487"/>
              <a:chOff x="7747575" y="3735835"/>
              <a:chExt cx="165758" cy="165758"/>
            </a:xfrm>
          </p:grpSpPr>
          <p:sp>
            <p:nvSpPr>
              <p:cNvPr id="112" name="Freeform: Shape 113">
                <a:extLst>
                  <a:ext uri="{FF2B5EF4-FFF2-40B4-BE49-F238E27FC236}">
                    <a16:creationId xmlns:a16="http://schemas.microsoft.com/office/drawing/2014/main" id="{24EABE9B-7E36-4F1F-8F36-405D3C36A0AC}"/>
                  </a:ext>
                </a:extLst>
              </p:cNvPr>
              <p:cNvSpPr/>
              <p:nvPr/>
            </p:nvSpPr>
            <p:spPr>
              <a:xfrm>
                <a:off x="7747575" y="3735835"/>
                <a:ext cx="165758" cy="165758"/>
              </a:xfrm>
              <a:custGeom>
                <a:avLst/>
                <a:gdLst>
                  <a:gd name="connsiteX0" fmla="*/ 125789 w 165758"/>
                  <a:gd name="connsiteY0" fmla="*/ 125789 h 165758"/>
                  <a:gd name="connsiteX1" fmla="*/ 250 w 165758"/>
                  <a:gd name="connsiteY1" fmla="*/ 165508 h 165758"/>
                  <a:gd name="connsiteX2" fmla="*/ 39969 w 165758"/>
                  <a:gd name="connsiteY2" fmla="*/ 39969 h 165758"/>
                  <a:gd name="connsiteX3" fmla="*/ 165508 w 165758"/>
                  <a:gd name="connsiteY3" fmla="*/ 250 h 165758"/>
                  <a:gd name="connsiteX4" fmla="*/ 125789 w 165758"/>
                  <a:gd name="connsiteY4" fmla="*/ 125789 h 1657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5758" h="165758">
                    <a:moveTo>
                      <a:pt x="125789" y="125789"/>
                    </a:moveTo>
                    <a:cubicBezTo>
                      <a:pt x="80164" y="171414"/>
                      <a:pt x="250" y="165508"/>
                      <a:pt x="250" y="165508"/>
                    </a:cubicBezTo>
                    <a:cubicBezTo>
                      <a:pt x="250" y="165508"/>
                      <a:pt x="-5656" y="85594"/>
                      <a:pt x="39969" y="39969"/>
                    </a:cubicBezTo>
                    <a:cubicBezTo>
                      <a:pt x="85594" y="-5656"/>
                      <a:pt x="165508" y="250"/>
                      <a:pt x="165508" y="250"/>
                    </a:cubicBezTo>
                    <a:cubicBezTo>
                      <a:pt x="165508" y="250"/>
                      <a:pt x="171414" y="80164"/>
                      <a:pt x="125789" y="125789"/>
                    </a:cubicBezTo>
                    <a:close/>
                  </a:path>
                </a:pathLst>
              </a:custGeom>
              <a:solidFill>
                <a:srgbClr val="8DB936"/>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13" name="Freeform: Shape 114">
                <a:extLst>
                  <a:ext uri="{FF2B5EF4-FFF2-40B4-BE49-F238E27FC236}">
                    <a16:creationId xmlns:a16="http://schemas.microsoft.com/office/drawing/2014/main" id="{2F9E15C3-6CB2-433F-9CED-8AEAAEC95D97}"/>
                  </a:ext>
                </a:extLst>
              </p:cNvPr>
              <p:cNvSpPr/>
              <p:nvPr/>
            </p:nvSpPr>
            <p:spPr>
              <a:xfrm>
                <a:off x="7747825" y="3736085"/>
                <a:ext cx="165508" cy="165508"/>
              </a:xfrm>
              <a:custGeom>
                <a:avLst/>
                <a:gdLst>
                  <a:gd name="connsiteX0" fmla="*/ 125539 w 165508"/>
                  <a:gd name="connsiteY0" fmla="*/ 125539 h 165508"/>
                  <a:gd name="connsiteX1" fmla="*/ 165259 w 165508"/>
                  <a:gd name="connsiteY1" fmla="*/ 0 h 165508"/>
                  <a:gd name="connsiteX2" fmla="*/ 0 w 165508"/>
                  <a:gd name="connsiteY2" fmla="*/ 165259 h 165508"/>
                  <a:gd name="connsiteX3" fmla="*/ 125539 w 165508"/>
                  <a:gd name="connsiteY3" fmla="*/ 125539 h 165508"/>
                </a:gdLst>
                <a:ahLst/>
                <a:cxnLst>
                  <a:cxn ang="0">
                    <a:pos x="connsiteX0" y="connsiteY0"/>
                  </a:cxn>
                  <a:cxn ang="0">
                    <a:pos x="connsiteX1" y="connsiteY1"/>
                  </a:cxn>
                  <a:cxn ang="0">
                    <a:pos x="connsiteX2" y="connsiteY2"/>
                  </a:cxn>
                  <a:cxn ang="0">
                    <a:pos x="connsiteX3" y="connsiteY3"/>
                  </a:cxn>
                </a:cxnLst>
                <a:rect l="l" t="t" r="r" b="b"/>
                <a:pathLst>
                  <a:path w="165508" h="165508">
                    <a:moveTo>
                      <a:pt x="125539" y="125539"/>
                    </a:moveTo>
                    <a:cubicBezTo>
                      <a:pt x="171164" y="79915"/>
                      <a:pt x="165259" y="0"/>
                      <a:pt x="165259" y="0"/>
                    </a:cubicBezTo>
                    <a:lnTo>
                      <a:pt x="0" y="165259"/>
                    </a:lnTo>
                    <a:cubicBezTo>
                      <a:pt x="0" y="165259"/>
                      <a:pt x="79915" y="171164"/>
                      <a:pt x="125539" y="125539"/>
                    </a:cubicBezTo>
                    <a:close/>
                  </a:path>
                </a:pathLst>
              </a:custGeom>
              <a:solidFill>
                <a:srgbClr val="E6E7E8">
                  <a:alpha val="25000"/>
                </a:srgb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grpSp>
          <p:nvGrpSpPr>
            <p:cNvPr id="40" name="Graphic 7">
              <a:extLst>
                <a:ext uri="{FF2B5EF4-FFF2-40B4-BE49-F238E27FC236}">
                  <a16:creationId xmlns:a16="http://schemas.microsoft.com/office/drawing/2014/main" id="{6F3D49B1-03F8-4ACF-9591-64F82D2504A2}"/>
                </a:ext>
              </a:extLst>
            </p:cNvPr>
            <p:cNvGrpSpPr/>
            <p:nvPr/>
          </p:nvGrpSpPr>
          <p:grpSpPr>
            <a:xfrm>
              <a:off x="10584621" y="2153229"/>
              <a:ext cx="224373" cy="432192"/>
              <a:chOff x="7687151" y="2597181"/>
              <a:chExt cx="121348" cy="233743"/>
            </a:xfrm>
          </p:grpSpPr>
          <p:sp>
            <p:nvSpPr>
              <p:cNvPr id="110" name="Freeform: Shape 111">
                <a:extLst>
                  <a:ext uri="{FF2B5EF4-FFF2-40B4-BE49-F238E27FC236}">
                    <a16:creationId xmlns:a16="http://schemas.microsoft.com/office/drawing/2014/main" id="{5F24602F-669D-4D54-884C-20AD3A2E3489}"/>
                  </a:ext>
                </a:extLst>
              </p:cNvPr>
              <p:cNvSpPr/>
              <p:nvPr/>
            </p:nvSpPr>
            <p:spPr>
              <a:xfrm>
                <a:off x="7687151" y="2597181"/>
                <a:ext cx="121348" cy="233743"/>
              </a:xfrm>
              <a:custGeom>
                <a:avLst/>
                <a:gdLst>
                  <a:gd name="connsiteX0" fmla="*/ 121349 w 121348"/>
                  <a:gd name="connsiteY0" fmla="*/ 116872 h 233743"/>
                  <a:gd name="connsiteX1" fmla="*/ 60674 w 121348"/>
                  <a:gd name="connsiteY1" fmla="*/ 233744 h 233743"/>
                  <a:gd name="connsiteX2" fmla="*/ 0 w 121348"/>
                  <a:gd name="connsiteY2" fmla="*/ 116872 h 233743"/>
                  <a:gd name="connsiteX3" fmla="*/ 60674 w 121348"/>
                  <a:gd name="connsiteY3" fmla="*/ 0 h 233743"/>
                  <a:gd name="connsiteX4" fmla="*/ 121349 w 121348"/>
                  <a:gd name="connsiteY4" fmla="*/ 116872 h 2337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348" h="233743">
                    <a:moveTo>
                      <a:pt x="121349" y="116872"/>
                    </a:moveTo>
                    <a:cubicBezTo>
                      <a:pt x="121349" y="181451"/>
                      <a:pt x="60674" y="233744"/>
                      <a:pt x="60674" y="233744"/>
                    </a:cubicBezTo>
                    <a:cubicBezTo>
                      <a:pt x="60674" y="233744"/>
                      <a:pt x="0" y="181451"/>
                      <a:pt x="0" y="116872"/>
                    </a:cubicBezTo>
                    <a:cubicBezTo>
                      <a:pt x="0" y="52292"/>
                      <a:pt x="60674" y="0"/>
                      <a:pt x="60674" y="0"/>
                    </a:cubicBezTo>
                    <a:cubicBezTo>
                      <a:pt x="60674" y="0"/>
                      <a:pt x="121349" y="52292"/>
                      <a:pt x="121349" y="116872"/>
                    </a:cubicBezTo>
                    <a:close/>
                  </a:path>
                </a:pathLst>
              </a:custGeom>
              <a:solidFill>
                <a:srgbClr val="FA6564"/>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11" name="Freeform: Shape 112">
                <a:extLst>
                  <a:ext uri="{FF2B5EF4-FFF2-40B4-BE49-F238E27FC236}">
                    <a16:creationId xmlns:a16="http://schemas.microsoft.com/office/drawing/2014/main" id="{28B264EB-6345-49B4-8336-4662BDC41EBC}"/>
                  </a:ext>
                </a:extLst>
              </p:cNvPr>
              <p:cNvSpPr/>
              <p:nvPr/>
            </p:nvSpPr>
            <p:spPr>
              <a:xfrm>
                <a:off x="7747825" y="2597181"/>
                <a:ext cx="60674" cy="233743"/>
              </a:xfrm>
              <a:custGeom>
                <a:avLst/>
                <a:gdLst>
                  <a:gd name="connsiteX0" fmla="*/ 60674 w 60674"/>
                  <a:gd name="connsiteY0" fmla="*/ 116872 h 233743"/>
                  <a:gd name="connsiteX1" fmla="*/ 0 w 60674"/>
                  <a:gd name="connsiteY1" fmla="*/ 0 h 233743"/>
                  <a:gd name="connsiteX2" fmla="*/ 0 w 60674"/>
                  <a:gd name="connsiteY2" fmla="*/ 233744 h 233743"/>
                  <a:gd name="connsiteX3" fmla="*/ 60674 w 60674"/>
                  <a:gd name="connsiteY3" fmla="*/ 116872 h 233743"/>
                </a:gdLst>
                <a:ahLst/>
                <a:cxnLst>
                  <a:cxn ang="0">
                    <a:pos x="connsiteX0" y="connsiteY0"/>
                  </a:cxn>
                  <a:cxn ang="0">
                    <a:pos x="connsiteX1" y="connsiteY1"/>
                  </a:cxn>
                  <a:cxn ang="0">
                    <a:pos x="connsiteX2" y="connsiteY2"/>
                  </a:cxn>
                  <a:cxn ang="0">
                    <a:pos x="connsiteX3" y="connsiteY3"/>
                  </a:cxn>
                </a:cxnLst>
                <a:rect l="l" t="t" r="r" b="b"/>
                <a:pathLst>
                  <a:path w="60674" h="233743">
                    <a:moveTo>
                      <a:pt x="60674" y="116872"/>
                    </a:moveTo>
                    <a:cubicBezTo>
                      <a:pt x="60674" y="52292"/>
                      <a:pt x="0" y="0"/>
                      <a:pt x="0" y="0"/>
                    </a:cubicBezTo>
                    <a:lnTo>
                      <a:pt x="0" y="233744"/>
                    </a:lnTo>
                    <a:cubicBezTo>
                      <a:pt x="0" y="233744"/>
                      <a:pt x="60674" y="181356"/>
                      <a:pt x="60674" y="116872"/>
                    </a:cubicBezTo>
                    <a:close/>
                  </a:path>
                </a:pathLst>
              </a:custGeom>
              <a:solidFill>
                <a:srgbClr val="E85656"/>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grpSp>
          <p:nvGrpSpPr>
            <p:cNvPr id="41" name="Graphic 7">
              <a:extLst>
                <a:ext uri="{FF2B5EF4-FFF2-40B4-BE49-F238E27FC236}">
                  <a16:creationId xmlns:a16="http://schemas.microsoft.com/office/drawing/2014/main" id="{097E43A5-257B-4C58-9736-D1F095B2D406}"/>
                </a:ext>
              </a:extLst>
            </p:cNvPr>
            <p:cNvGrpSpPr/>
            <p:nvPr/>
          </p:nvGrpSpPr>
          <p:grpSpPr>
            <a:xfrm>
              <a:off x="10664187" y="2273870"/>
              <a:ext cx="182181" cy="311552"/>
              <a:chOff x="7730183" y="2662427"/>
              <a:chExt cx="98529" cy="168497"/>
            </a:xfrm>
          </p:grpSpPr>
          <p:sp>
            <p:nvSpPr>
              <p:cNvPr id="108" name="Freeform: Shape 109">
                <a:extLst>
                  <a:ext uri="{FF2B5EF4-FFF2-40B4-BE49-F238E27FC236}">
                    <a16:creationId xmlns:a16="http://schemas.microsoft.com/office/drawing/2014/main" id="{A3808321-83DD-4451-B4B8-30ADD28D4059}"/>
                  </a:ext>
                </a:extLst>
              </p:cNvPr>
              <p:cNvSpPr/>
              <p:nvPr/>
            </p:nvSpPr>
            <p:spPr>
              <a:xfrm>
                <a:off x="7730183" y="2662427"/>
                <a:ext cx="98529" cy="168497"/>
              </a:xfrm>
              <a:custGeom>
                <a:avLst/>
                <a:gdLst>
                  <a:gd name="connsiteX0" fmla="*/ 92984 w 98529"/>
                  <a:gd name="connsiteY0" fmla="*/ 100679 h 168497"/>
                  <a:gd name="connsiteX1" fmla="*/ 17642 w 98529"/>
                  <a:gd name="connsiteY1" fmla="*/ 168497 h 168497"/>
                  <a:gd name="connsiteX2" fmla="*/ 5545 w 98529"/>
                  <a:gd name="connsiteY2" fmla="*/ 67818 h 168497"/>
                  <a:gd name="connsiteX3" fmla="*/ 80888 w 98529"/>
                  <a:gd name="connsiteY3" fmla="*/ 0 h 168497"/>
                  <a:gd name="connsiteX4" fmla="*/ 92984 w 98529"/>
                  <a:gd name="connsiteY4" fmla="*/ 100679 h 1684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529" h="168497">
                    <a:moveTo>
                      <a:pt x="92984" y="100679"/>
                    </a:moveTo>
                    <a:cubicBezTo>
                      <a:pt x="75554" y="147161"/>
                      <a:pt x="17642" y="168497"/>
                      <a:pt x="17642" y="168497"/>
                    </a:cubicBezTo>
                    <a:cubicBezTo>
                      <a:pt x="17642" y="168497"/>
                      <a:pt x="-11981" y="114395"/>
                      <a:pt x="5545" y="67818"/>
                    </a:cubicBezTo>
                    <a:cubicBezTo>
                      <a:pt x="22976" y="21336"/>
                      <a:pt x="80888" y="0"/>
                      <a:pt x="80888" y="0"/>
                    </a:cubicBezTo>
                    <a:cubicBezTo>
                      <a:pt x="80888" y="0"/>
                      <a:pt x="110510" y="54102"/>
                      <a:pt x="92984" y="100679"/>
                    </a:cubicBezTo>
                    <a:close/>
                  </a:path>
                </a:pathLst>
              </a:custGeom>
              <a:solidFill>
                <a:srgbClr val="FA6564"/>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09" name="Freeform: Shape 110">
                <a:extLst>
                  <a:ext uri="{FF2B5EF4-FFF2-40B4-BE49-F238E27FC236}">
                    <a16:creationId xmlns:a16="http://schemas.microsoft.com/office/drawing/2014/main" id="{4C2A3AA1-690A-4C2B-9B86-9680535F583D}"/>
                  </a:ext>
                </a:extLst>
              </p:cNvPr>
              <p:cNvSpPr/>
              <p:nvPr/>
            </p:nvSpPr>
            <p:spPr>
              <a:xfrm>
                <a:off x="7747825" y="2662427"/>
                <a:ext cx="80848" cy="168497"/>
              </a:xfrm>
              <a:custGeom>
                <a:avLst/>
                <a:gdLst>
                  <a:gd name="connsiteX0" fmla="*/ 75342 w 80848"/>
                  <a:gd name="connsiteY0" fmla="*/ 100679 h 168497"/>
                  <a:gd name="connsiteX1" fmla="*/ 63246 w 80848"/>
                  <a:gd name="connsiteY1" fmla="*/ 0 h 168497"/>
                  <a:gd name="connsiteX2" fmla="*/ 0 w 80848"/>
                  <a:gd name="connsiteY2" fmla="*/ 168497 h 168497"/>
                  <a:gd name="connsiteX3" fmla="*/ 75342 w 80848"/>
                  <a:gd name="connsiteY3" fmla="*/ 100679 h 168497"/>
                </a:gdLst>
                <a:ahLst/>
                <a:cxnLst>
                  <a:cxn ang="0">
                    <a:pos x="connsiteX0" y="connsiteY0"/>
                  </a:cxn>
                  <a:cxn ang="0">
                    <a:pos x="connsiteX1" y="connsiteY1"/>
                  </a:cxn>
                  <a:cxn ang="0">
                    <a:pos x="connsiteX2" y="connsiteY2"/>
                  </a:cxn>
                  <a:cxn ang="0">
                    <a:pos x="connsiteX3" y="connsiteY3"/>
                  </a:cxn>
                </a:cxnLst>
                <a:rect l="l" t="t" r="r" b="b"/>
                <a:pathLst>
                  <a:path w="80848" h="168497">
                    <a:moveTo>
                      <a:pt x="75342" y="100679"/>
                    </a:moveTo>
                    <a:cubicBezTo>
                      <a:pt x="92773" y="54197"/>
                      <a:pt x="63246" y="0"/>
                      <a:pt x="63246" y="0"/>
                    </a:cubicBezTo>
                    <a:lnTo>
                      <a:pt x="0" y="168497"/>
                    </a:lnTo>
                    <a:cubicBezTo>
                      <a:pt x="0" y="168497"/>
                      <a:pt x="57912" y="147161"/>
                      <a:pt x="75342" y="100679"/>
                    </a:cubicBezTo>
                    <a:close/>
                  </a:path>
                </a:pathLst>
              </a:custGeom>
              <a:solidFill>
                <a:srgbClr val="E85656"/>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grpSp>
          <p:nvGrpSpPr>
            <p:cNvPr id="42" name="Graphic 7">
              <a:extLst>
                <a:ext uri="{FF2B5EF4-FFF2-40B4-BE49-F238E27FC236}">
                  <a16:creationId xmlns:a16="http://schemas.microsoft.com/office/drawing/2014/main" id="{02B17ABD-DA49-45BE-9CFF-77CB9C1BC6C4}"/>
                </a:ext>
              </a:extLst>
            </p:cNvPr>
            <p:cNvGrpSpPr/>
            <p:nvPr/>
          </p:nvGrpSpPr>
          <p:grpSpPr>
            <a:xfrm>
              <a:off x="10547141" y="2273870"/>
              <a:ext cx="182109" cy="311552"/>
              <a:chOff x="7666881" y="2662427"/>
              <a:chExt cx="98490" cy="168497"/>
            </a:xfrm>
          </p:grpSpPr>
          <p:sp>
            <p:nvSpPr>
              <p:cNvPr id="106" name="Freeform: Shape 107">
                <a:extLst>
                  <a:ext uri="{FF2B5EF4-FFF2-40B4-BE49-F238E27FC236}">
                    <a16:creationId xmlns:a16="http://schemas.microsoft.com/office/drawing/2014/main" id="{5B33135E-AE58-441E-9663-9FC839AE7182}"/>
                  </a:ext>
                </a:extLst>
              </p:cNvPr>
              <p:cNvSpPr/>
              <p:nvPr/>
            </p:nvSpPr>
            <p:spPr>
              <a:xfrm>
                <a:off x="7666881" y="2662427"/>
                <a:ext cx="98490" cy="168497"/>
              </a:xfrm>
              <a:custGeom>
                <a:avLst/>
                <a:gdLst>
                  <a:gd name="connsiteX0" fmla="*/ 5506 w 98490"/>
                  <a:gd name="connsiteY0" fmla="*/ 100679 h 168497"/>
                  <a:gd name="connsiteX1" fmla="*/ 80849 w 98490"/>
                  <a:gd name="connsiteY1" fmla="*/ 168497 h 168497"/>
                  <a:gd name="connsiteX2" fmla="*/ 92945 w 98490"/>
                  <a:gd name="connsiteY2" fmla="*/ 67818 h 168497"/>
                  <a:gd name="connsiteX3" fmla="*/ 17603 w 98490"/>
                  <a:gd name="connsiteY3" fmla="*/ 0 h 168497"/>
                  <a:gd name="connsiteX4" fmla="*/ 5506 w 98490"/>
                  <a:gd name="connsiteY4" fmla="*/ 100679 h 1684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490" h="168497">
                    <a:moveTo>
                      <a:pt x="5506" y="100679"/>
                    </a:moveTo>
                    <a:cubicBezTo>
                      <a:pt x="22937" y="147161"/>
                      <a:pt x="80849" y="168497"/>
                      <a:pt x="80849" y="168497"/>
                    </a:cubicBezTo>
                    <a:cubicBezTo>
                      <a:pt x="80849" y="168497"/>
                      <a:pt x="110471" y="114395"/>
                      <a:pt x="92945" y="67818"/>
                    </a:cubicBezTo>
                    <a:cubicBezTo>
                      <a:pt x="75515" y="21336"/>
                      <a:pt x="17603" y="0"/>
                      <a:pt x="17603" y="0"/>
                    </a:cubicBezTo>
                    <a:cubicBezTo>
                      <a:pt x="17603" y="0"/>
                      <a:pt x="-11925" y="54102"/>
                      <a:pt x="5506" y="100679"/>
                    </a:cubicBezTo>
                    <a:close/>
                  </a:path>
                </a:pathLst>
              </a:custGeom>
              <a:solidFill>
                <a:srgbClr val="E85656"/>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07" name="Freeform: Shape 108">
                <a:extLst>
                  <a:ext uri="{FF2B5EF4-FFF2-40B4-BE49-F238E27FC236}">
                    <a16:creationId xmlns:a16="http://schemas.microsoft.com/office/drawing/2014/main" id="{37D5AD39-ED88-476A-8E5C-9E72376B1ECD}"/>
                  </a:ext>
                </a:extLst>
              </p:cNvPr>
              <p:cNvSpPr/>
              <p:nvPr/>
            </p:nvSpPr>
            <p:spPr>
              <a:xfrm>
                <a:off x="7666881" y="2662427"/>
                <a:ext cx="80848" cy="168497"/>
              </a:xfrm>
              <a:custGeom>
                <a:avLst/>
                <a:gdLst>
                  <a:gd name="connsiteX0" fmla="*/ 5506 w 80848"/>
                  <a:gd name="connsiteY0" fmla="*/ 100679 h 168497"/>
                  <a:gd name="connsiteX1" fmla="*/ 17603 w 80848"/>
                  <a:gd name="connsiteY1" fmla="*/ 0 h 168497"/>
                  <a:gd name="connsiteX2" fmla="*/ 80849 w 80848"/>
                  <a:gd name="connsiteY2" fmla="*/ 168497 h 168497"/>
                  <a:gd name="connsiteX3" fmla="*/ 5506 w 80848"/>
                  <a:gd name="connsiteY3" fmla="*/ 100679 h 168497"/>
                </a:gdLst>
                <a:ahLst/>
                <a:cxnLst>
                  <a:cxn ang="0">
                    <a:pos x="connsiteX0" y="connsiteY0"/>
                  </a:cxn>
                  <a:cxn ang="0">
                    <a:pos x="connsiteX1" y="connsiteY1"/>
                  </a:cxn>
                  <a:cxn ang="0">
                    <a:pos x="connsiteX2" y="connsiteY2"/>
                  </a:cxn>
                  <a:cxn ang="0">
                    <a:pos x="connsiteX3" y="connsiteY3"/>
                  </a:cxn>
                </a:cxnLst>
                <a:rect l="l" t="t" r="r" b="b"/>
                <a:pathLst>
                  <a:path w="80848" h="168497">
                    <a:moveTo>
                      <a:pt x="5506" y="100679"/>
                    </a:moveTo>
                    <a:cubicBezTo>
                      <a:pt x="-11925" y="54197"/>
                      <a:pt x="17603" y="0"/>
                      <a:pt x="17603" y="0"/>
                    </a:cubicBezTo>
                    <a:lnTo>
                      <a:pt x="80849" y="168497"/>
                    </a:lnTo>
                    <a:cubicBezTo>
                      <a:pt x="80944" y="168497"/>
                      <a:pt x="23032" y="147161"/>
                      <a:pt x="5506" y="100679"/>
                    </a:cubicBezTo>
                    <a:close/>
                  </a:path>
                </a:pathLst>
              </a:custGeom>
              <a:solidFill>
                <a:srgbClr val="FA6564"/>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sp>
          <p:nvSpPr>
            <p:cNvPr id="43" name="Freeform: Shape 44">
              <a:extLst>
                <a:ext uri="{FF2B5EF4-FFF2-40B4-BE49-F238E27FC236}">
                  <a16:creationId xmlns:a16="http://schemas.microsoft.com/office/drawing/2014/main" id="{2071142E-F1EF-4199-98DB-0B1779170D56}"/>
                </a:ext>
              </a:extLst>
            </p:cNvPr>
            <p:cNvSpPr/>
            <p:nvPr/>
          </p:nvSpPr>
          <p:spPr>
            <a:xfrm rot="18900000">
              <a:off x="10539024" y="3958134"/>
              <a:ext cx="35222" cy="396260"/>
            </a:xfrm>
            <a:custGeom>
              <a:avLst/>
              <a:gdLst>
                <a:gd name="connsiteX0" fmla="*/ 0 w 19049"/>
                <a:gd name="connsiteY0" fmla="*/ 0 h 214310"/>
                <a:gd name="connsiteX1" fmla="*/ 19050 w 19049"/>
                <a:gd name="connsiteY1" fmla="*/ 0 h 214310"/>
                <a:gd name="connsiteX2" fmla="*/ 19050 w 19049"/>
                <a:gd name="connsiteY2" fmla="*/ 214310 h 214310"/>
                <a:gd name="connsiteX3" fmla="*/ 0 w 19049"/>
                <a:gd name="connsiteY3" fmla="*/ 214310 h 214310"/>
              </a:gdLst>
              <a:ahLst/>
              <a:cxnLst>
                <a:cxn ang="0">
                  <a:pos x="connsiteX0" y="connsiteY0"/>
                </a:cxn>
                <a:cxn ang="0">
                  <a:pos x="connsiteX1" y="connsiteY1"/>
                </a:cxn>
                <a:cxn ang="0">
                  <a:pos x="connsiteX2" y="connsiteY2"/>
                </a:cxn>
                <a:cxn ang="0">
                  <a:pos x="connsiteX3" y="connsiteY3"/>
                </a:cxn>
              </a:cxnLst>
              <a:rect l="l" t="t" r="r" b="b"/>
              <a:pathLst>
                <a:path w="19049" h="214310">
                  <a:moveTo>
                    <a:pt x="0" y="0"/>
                  </a:moveTo>
                  <a:lnTo>
                    <a:pt x="19050" y="0"/>
                  </a:lnTo>
                  <a:lnTo>
                    <a:pt x="19050" y="214310"/>
                  </a:lnTo>
                  <a:lnTo>
                    <a:pt x="0" y="214310"/>
                  </a:lnTo>
                  <a:close/>
                </a:path>
              </a:pathLst>
            </a:custGeom>
            <a:solidFill>
              <a:srgbClr val="6B4B2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nvGrpSpPr>
            <p:cNvPr id="44" name="Graphic 7">
              <a:extLst>
                <a:ext uri="{FF2B5EF4-FFF2-40B4-BE49-F238E27FC236}">
                  <a16:creationId xmlns:a16="http://schemas.microsoft.com/office/drawing/2014/main" id="{C317BA75-7C98-48DD-8408-9B8491C957C5}"/>
                </a:ext>
              </a:extLst>
            </p:cNvPr>
            <p:cNvGrpSpPr/>
            <p:nvPr/>
          </p:nvGrpSpPr>
          <p:grpSpPr>
            <a:xfrm>
              <a:off x="10153373" y="3755263"/>
              <a:ext cx="306487" cy="306487"/>
              <a:chOff x="7453919" y="3463611"/>
              <a:chExt cx="165758" cy="165758"/>
            </a:xfrm>
          </p:grpSpPr>
          <p:sp>
            <p:nvSpPr>
              <p:cNvPr id="104" name="Freeform: Shape 105">
                <a:extLst>
                  <a:ext uri="{FF2B5EF4-FFF2-40B4-BE49-F238E27FC236}">
                    <a16:creationId xmlns:a16="http://schemas.microsoft.com/office/drawing/2014/main" id="{17D8157A-E391-4FAF-9D20-4AF39A3B0FC6}"/>
                  </a:ext>
                </a:extLst>
              </p:cNvPr>
              <p:cNvSpPr/>
              <p:nvPr/>
            </p:nvSpPr>
            <p:spPr>
              <a:xfrm>
                <a:off x="7453919" y="3463611"/>
                <a:ext cx="165758" cy="165758"/>
              </a:xfrm>
              <a:custGeom>
                <a:avLst/>
                <a:gdLst>
                  <a:gd name="connsiteX0" fmla="*/ 125789 w 165758"/>
                  <a:gd name="connsiteY0" fmla="*/ 39969 h 165758"/>
                  <a:gd name="connsiteX1" fmla="*/ 165509 w 165758"/>
                  <a:gd name="connsiteY1" fmla="*/ 165508 h 165758"/>
                  <a:gd name="connsiteX2" fmla="*/ 39969 w 165758"/>
                  <a:gd name="connsiteY2" fmla="*/ 125789 h 165758"/>
                  <a:gd name="connsiteX3" fmla="*/ 250 w 165758"/>
                  <a:gd name="connsiteY3" fmla="*/ 250 h 165758"/>
                  <a:gd name="connsiteX4" fmla="*/ 125789 w 165758"/>
                  <a:gd name="connsiteY4" fmla="*/ 39969 h 1657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5758" h="165758">
                    <a:moveTo>
                      <a:pt x="125789" y="39969"/>
                    </a:moveTo>
                    <a:cubicBezTo>
                      <a:pt x="171414" y="85594"/>
                      <a:pt x="165509" y="165508"/>
                      <a:pt x="165509" y="165508"/>
                    </a:cubicBezTo>
                    <a:cubicBezTo>
                      <a:pt x="165509" y="165508"/>
                      <a:pt x="85594" y="171414"/>
                      <a:pt x="39969" y="125789"/>
                    </a:cubicBezTo>
                    <a:cubicBezTo>
                      <a:pt x="-5656" y="80164"/>
                      <a:pt x="250" y="250"/>
                      <a:pt x="250" y="250"/>
                    </a:cubicBezTo>
                    <a:cubicBezTo>
                      <a:pt x="250" y="250"/>
                      <a:pt x="80165" y="-5656"/>
                      <a:pt x="125789" y="39969"/>
                    </a:cubicBezTo>
                    <a:close/>
                  </a:path>
                </a:pathLst>
              </a:custGeom>
              <a:solidFill>
                <a:srgbClr val="8DB936"/>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05" name="Freeform: Shape 106">
                <a:extLst>
                  <a:ext uri="{FF2B5EF4-FFF2-40B4-BE49-F238E27FC236}">
                    <a16:creationId xmlns:a16="http://schemas.microsoft.com/office/drawing/2014/main" id="{6A8621CA-8C6D-40A6-BD4A-28A1D5DDC897}"/>
                  </a:ext>
                </a:extLst>
              </p:cNvPr>
              <p:cNvSpPr/>
              <p:nvPr/>
            </p:nvSpPr>
            <p:spPr>
              <a:xfrm>
                <a:off x="7454169" y="3463611"/>
                <a:ext cx="165508" cy="165508"/>
              </a:xfrm>
              <a:custGeom>
                <a:avLst/>
                <a:gdLst>
                  <a:gd name="connsiteX0" fmla="*/ 125539 w 165508"/>
                  <a:gd name="connsiteY0" fmla="*/ 39969 h 165508"/>
                  <a:gd name="connsiteX1" fmla="*/ 0 w 165508"/>
                  <a:gd name="connsiteY1" fmla="*/ 250 h 165508"/>
                  <a:gd name="connsiteX2" fmla="*/ 165259 w 165508"/>
                  <a:gd name="connsiteY2" fmla="*/ 165508 h 165508"/>
                  <a:gd name="connsiteX3" fmla="*/ 125539 w 165508"/>
                  <a:gd name="connsiteY3" fmla="*/ 39969 h 165508"/>
                </a:gdLst>
                <a:ahLst/>
                <a:cxnLst>
                  <a:cxn ang="0">
                    <a:pos x="connsiteX0" y="connsiteY0"/>
                  </a:cxn>
                  <a:cxn ang="0">
                    <a:pos x="connsiteX1" y="connsiteY1"/>
                  </a:cxn>
                  <a:cxn ang="0">
                    <a:pos x="connsiteX2" y="connsiteY2"/>
                  </a:cxn>
                  <a:cxn ang="0">
                    <a:pos x="connsiteX3" y="connsiteY3"/>
                  </a:cxn>
                </a:cxnLst>
                <a:rect l="l" t="t" r="r" b="b"/>
                <a:pathLst>
                  <a:path w="165508" h="165508">
                    <a:moveTo>
                      <a:pt x="125539" y="39969"/>
                    </a:moveTo>
                    <a:cubicBezTo>
                      <a:pt x="79915" y="-5656"/>
                      <a:pt x="0" y="250"/>
                      <a:pt x="0" y="250"/>
                    </a:cubicBezTo>
                    <a:lnTo>
                      <a:pt x="165259" y="165508"/>
                    </a:lnTo>
                    <a:cubicBezTo>
                      <a:pt x="165259" y="165508"/>
                      <a:pt x="171164" y="85594"/>
                      <a:pt x="125539" y="39969"/>
                    </a:cubicBezTo>
                    <a:close/>
                  </a:path>
                </a:pathLst>
              </a:custGeom>
              <a:solidFill>
                <a:srgbClr val="E6E7E8">
                  <a:alpha val="25000"/>
                </a:srgb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sp>
          <p:nvSpPr>
            <p:cNvPr id="45" name="Freeform: Shape 46">
              <a:extLst>
                <a:ext uri="{FF2B5EF4-FFF2-40B4-BE49-F238E27FC236}">
                  <a16:creationId xmlns:a16="http://schemas.microsoft.com/office/drawing/2014/main" id="{1B9E4A3E-C923-4ABC-8A44-01994F1024AB}"/>
                </a:ext>
              </a:extLst>
            </p:cNvPr>
            <p:cNvSpPr/>
            <p:nvPr/>
          </p:nvSpPr>
          <p:spPr>
            <a:xfrm rot="18900000">
              <a:off x="10637598" y="3946456"/>
              <a:ext cx="404185" cy="35222"/>
            </a:xfrm>
            <a:custGeom>
              <a:avLst/>
              <a:gdLst>
                <a:gd name="connsiteX0" fmla="*/ 0 w 218596"/>
                <a:gd name="connsiteY0" fmla="*/ 0 h 19049"/>
                <a:gd name="connsiteX1" fmla="*/ 218597 w 218596"/>
                <a:gd name="connsiteY1" fmla="*/ 0 h 19049"/>
                <a:gd name="connsiteX2" fmla="*/ 218597 w 218596"/>
                <a:gd name="connsiteY2" fmla="*/ 19050 h 19049"/>
                <a:gd name="connsiteX3" fmla="*/ 0 w 218596"/>
                <a:gd name="connsiteY3" fmla="*/ 19050 h 19049"/>
              </a:gdLst>
              <a:ahLst/>
              <a:cxnLst>
                <a:cxn ang="0">
                  <a:pos x="connsiteX0" y="connsiteY0"/>
                </a:cxn>
                <a:cxn ang="0">
                  <a:pos x="connsiteX1" y="connsiteY1"/>
                </a:cxn>
                <a:cxn ang="0">
                  <a:pos x="connsiteX2" y="connsiteY2"/>
                </a:cxn>
                <a:cxn ang="0">
                  <a:pos x="connsiteX3" y="connsiteY3"/>
                </a:cxn>
              </a:cxnLst>
              <a:rect l="l" t="t" r="r" b="b"/>
              <a:pathLst>
                <a:path w="218596" h="19049">
                  <a:moveTo>
                    <a:pt x="0" y="0"/>
                  </a:moveTo>
                  <a:lnTo>
                    <a:pt x="218597" y="0"/>
                  </a:lnTo>
                  <a:lnTo>
                    <a:pt x="218597" y="19050"/>
                  </a:lnTo>
                  <a:lnTo>
                    <a:pt x="0" y="19050"/>
                  </a:lnTo>
                  <a:close/>
                </a:path>
              </a:pathLst>
            </a:custGeom>
            <a:solidFill>
              <a:srgbClr val="6B4B2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nvGrpSpPr>
            <p:cNvPr id="46" name="Graphic 7">
              <a:extLst>
                <a:ext uri="{FF2B5EF4-FFF2-40B4-BE49-F238E27FC236}">
                  <a16:creationId xmlns:a16="http://schemas.microsoft.com/office/drawing/2014/main" id="{8065FA9F-323D-44EE-867C-2798A01256F4}"/>
                </a:ext>
              </a:extLst>
            </p:cNvPr>
            <p:cNvGrpSpPr/>
            <p:nvPr/>
          </p:nvGrpSpPr>
          <p:grpSpPr>
            <a:xfrm>
              <a:off x="10943439" y="3546916"/>
              <a:ext cx="306487" cy="306487"/>
              <a:chOff x="7881211" y="3350930"/>
              <a:chExt cx="165758" cy="165758"/>
            </a:xfrm>
          </p:grpSpPr>
          <p:sp>
            <p:nvSpPr>
              <p:cNvPr id="102" name="Freeform: Shape 103">
                <a:extLst>
                  <a:ext uri="{FF2B5EF4-FFF2-40B4-BE49-F238E27FC236}">
                    <a16:creationId xmlns:a16="http://schemas.microsoft.com/office/drawing/2014/main" id="{A1D1D2E2-1D8A-4B7D-A79E-DD37C5D4DBE9}"/>
                  </a:ext>
                </a:extLst>
              </p:cNvPr>
              <p:cNvSpPr/>
              <p:nvPr/>
            </p:nvSpPr>
            <p:spPr>
              <a:xfrm>
                <a:off x="7881211" y="3350930"/>
                <a:ext cx="165758" cy="165758"/>
              </a:xfrm>
              <a:custGeom>
                <a:avLst/>
                <a:gdLst>
                  <a:gd name="connsiteX0" fmla="*/ 125789 w 165758"/>
                  <a:gd name="connsiteY0" fmla="*/ 125789 h 165758"/>
                  <a:gd name="connsiteX1" fmla="*/ 250 w 165758"/>
                  <a:gd name="connsiteY1" fmla="*/ 165508 h 165758"/>
                  <a:gd name="connsiteX2" fmla="*/ 39969 w 165758"/>
                  <a:gd name="connsiteY2" fmla="*/ 39969 h 165758"/>
                  <a:gd name="connsiteX3" fmla="*/ 165508 w 165758"/>
                  <a:gd name="connsiteY3" fmla="*/ 250 h 165758"/>
                  <a:gd name="connsiteX4" fmla="*/ 125789 w 165758"/>
                  <a:gd name="connsiteY4" fmla="*/ 125789 h 1657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5758" h="165758">
                    <a:moveTo>
                      <a:pt x="125789" y="125789"/>
                    </a:moveTo>
                    <a:cubicBezTo>
                      <a:pt x="80164" y="171414"/>
                      <a:pt x="250" y="165508"/>
                      <a:pt x="250" y="165508"/>
                    </a:cubicBezTo>
                    <a:cubicBezTo>
                      <a:pt x="250" y="165508"/>
                      <a:pt x="-5656" y="85594"/>
                      <a:pt x="39969" y="39969"/>
                    </a:cubicBezTo>
                    <a:cubicBezTo>
                      <a:pt x="85594" y="-5656"/>
                      <a:pt x="165508" y="250"/>
                      <a:pt x="165508" y="250"/>
                    </a:cubicBezTo>
                    <a:cubicBezTo>
                      <a:pt x="165508" y="250"/>
                      <a:pt x="171414" y="80164"/>
                      <a:pt x="125789" y="125789"/>
                    </a:cubicBezTo>
                    <a:close/>
                  </a:path>
                </a:pathLst>
              </a:custGeom>
              <a:solidFill>
                <a:srgbClr val="8DB936"/>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03" name="Freeform: Shape 104">
                <a:extLst>
                  <a:ext uri="{FF2B5EF4-FFF2-40B4-BE49-F238E27FC236}">
                    <a16:creationId xmlns:a16="http://schemas.microsoft.com/office/drawing/2014/main" id="{5B1E6B0E-A9EC-4F2E-9332-18FC1E2FCDCC}"/>
                  </a:ext>
                </a:extLst>
              </p:cNvPr>
              <p:cNvSpPr/>
              <p:nvPr/>
            </p:nvSpPr>
            <p:spPr>
              <a:xfrm>
                <a:off x="7881461" y="3351180"/>
                <a:ext cx="165508" cy="165508"/>
              </a:xfrm>
              <a:custGeom>
                <a:avLst/>
                <a:gdLst>
                  <a:gd name="connsiteX0" fmla="*/ 125539 w 165508"/>
                  <a:gd name="connsiteY0" fmla="*/ 125539 h 165508"/>
                  <a:gd name="connsiteX1" fmla="*/ 165259 w 165508"/>
                  <a:gd name="connsiteY1" fmla="*/ 0 h 165508"/>
                  <a:gd name="connsiteX2" fmla="*/ 0 w 165508"/>
                  <a:gd name="connsiteY2" fmla="*/ 165259 h 165508"/>
                  <a:gd name="connsiteX3" fmla="*/ 125539 w 165508"/>
                  <a:gd name="connsiteY3" fmla="*/ 125539 h 165508"/>
                </a:gdLst>
                <a:ahLst/>
                <a:cxnLst>
                  <a:cxn ang="0">
                    <a:pos x="connsiteX0" y="connsiteY0"/>
                  </a:cxn>
                  <a:cxn ang="0">
                    <a:pos x="connsiteX1" y="connsiteY1"/>
                  </a:cxn>
                  <a:cxn ang="0">
                    <a:pos x="connsiteX2" y="connsiteY2"/>
                  </a:cxn>
                  <a:cxn ang="0">
                    <a:pos x="connsiteX3" y="connsiteY3"/>
                  </a:cxn>
                </a:cxnLst>
                <a:rect l="l" t="t" r="r" b="b"/>
                <a:pathLst>
                  <a:path w="165508" h="165508">
                    <a:moveTo>
                      <a:pt x="125539" y="125539"/>
                    </a:moveTo>
                    <a:cubicBezTo>
                      <a:pt x="171164" y="79915"/>
                      <a:pt x="165259" y="0"/>
                      <a:pt x="165259" y="0"/>
                    </a:cubicBezTo>
                    <a:lnTo>
                      <a:pt x="0" y="165259"/>
                    </a:lnTo>
                    <a:cubicBezTo>
                      <a:pt x="0" y="165259"/>
                      <a:pt x="79915" y="171164"/>
                      <a:pt x="125539" y="125539"/>
                    </a:cubicBezTo>
                    <a:close/>
                  </a:path>
                </a:pathLst>
              </a:custGeom>
              <a:solidFill>
                <a:srgbClr val="E6E7E8">
                  <a:alpha val="25000"/>
                </a:srgb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sp>
          <p:nvSpPr>
            <p:cNvPr id="47" name="Freeform: Shape 48">
              <a:extLst>
                <a:ext uri="{FF2B5EF4-FFF2-40B4-BE49-F238E27FC236}">
                  <a16:creationId xmlns:a16="http://schemas.microsoft.com/office/drawing/2014/main" id="{6693A70F-462D-4A80-BF1E-4594D9C6F27E}"/>
                </a:ext>
              </a:extLst>
            </p:cNvPr>
            <p:cNvSpPr/>
            <p:nvPr/>
          </p:nvSpPr>
          <p:spPr>
            <a:xfrm rot="18900000">
              <a:off x="10297488" y="4192263"/>
              <a:ext cx="259417" cy="35222"/>
            </a:xfrm>
            <a:custGeom>
              <a:avLst/>
              <a:gdLst>
                <a:gd name="connsiteX0" fmla="*/ 0 w 140301"/>
                <a:gd name="connsiteY0" fmla="*/ 0 h 19049"/>
                <a:gd name="connsiteX1" fmla="*/ 140302 w 140301"/>
                <a:gd name="connsiteY1" fmla="*/ 0 h 19049"/>
                <a:gd name="connsiteX2" fmla="*/ 140302 w 140301"/>
                <a:gd name="connsiteY2" fmla="*/ 19050 h 19049"/>
                <a:gd name="connsiteX3" fmla="*/ 0 w 140301"/>
                <a:gd name="connsiteY3" fmla="*/ 19050 h 19049"/>
              </a:gdLst>
              <a:ahLst/>
              <a:cxnLst>
                <a:cxn ang="0">
                  <a:pos x="connsiteX0" y="connsiteY0"/>
                </a:cxn>
                <a:cxn ang="0">
                  <a:pos x="connsiteX1" y="connsiteY1"/>
                </a:cxn>
                <a:cxn ang="0">
                  <a:pos x="connsiteX2" y="connsiteY2"/>
                </a:cxn>
                <a:cxn ang="0">
                  <a:pos x="connsiteX3" y="connsiteY3"/>
                </a:cxn>
              </a:cxnLst>
              <a:rect l="l" t="t" r="r" b="b"/>
              <a:pathLst>
                <a:path w="140301" h="19049">
                  <a:moveTo>
                    <a:pt x="0" y="0"/>
                  </a:moveTo>
                  <a:lnTo>
                    <a:pt x="140302" y="0"/>
                  </a:lnTo>
                  <a:lnTo>
                    <a:pt x="140302" y="19050"/>
                  </a:lnTo>
                  <a:lnTo>
                    <a:pt x="0" y="19050"/>
                  </a:lnTo>
                  <a:close/>
                </a:path>
              </a:pathLst>
            </a:custGeom>
            <a:solidFill>
              <a:srgbClr val="6B4B2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nvGrpSpPr>
            <p:cNvPr id="48" name="Graphic 7">
              <a:extLst>
                <a:ext uri="{FF2B5EF4-FFF2-40B4-BE49-F238E27FC236}">
                  <a16:creationId xmlns:a16="http://schemas.microsoft.com/office/drawing/2014/main" id="{AC1900A8-2077-4358-8B0A-796CE88EDB4C}"/>
                </a:ext>
              </a:extLst>
            </p:cNvPr>
            <p:cNvGrpSpPr/>
            <p:nvPr/>
          </p:nvGrpSpPr>
          <p:grpSpPr>
            <a:xfrm>
              <a:off x="10162861" y="4259112"/>
              <a:ext cx="208438" cy="208422"/>
              <a:chOff x="7459050" y="3736108"/>
              <a:chExt cx="112730" cy="112721"/>
            </a:xfrm>
          </p:grpSpPr>
          <p:sp>
            <p:nvSpPr>
              <p:cNvPr id="100" name="Freeform: Shape 101">
                <a:extLst>
                  <a:ext uri="{FF2B5EF4-FFF2-40B4-BE49-F238E27FC236}">
                    <a16:creationId xmlns:a16="http://schemas.microsoft.com/office/drawing/2014/main" id="{FA7A04B9-A4D5-42BD-AE04-62B5CEDA8F19}"/>
                  </a:ext>
                </a:extLst>
              </p:cNvPr>
              <p:cNvSpPr/>
              <p:nvPr/>
            </p:nvSpPr>
            <p:spPr>
              <a:xfrm>
                <a:off x="7459050" y="3736108"/>
                <a:ext cx="112730" cy="112721"/>
              </a:xfrm>
              <a:custGeom>
                <a:avLst/>
                <a:gdLst>
                  <a:gd name="connsiteX0" fmla="*/ 27219 w 112730"/>
                  <a:gd name="connsiteY0" fmla="*/ 27219 h 112721"/>
                  <a:gd name="connsiteX1" fmla="*/ 112563 w 112730"/>
                  <a:gd name="connsiteY1" fmla="*/ 168 h 112721"/>
                  <a:gd name="connsiteX2" fmla="*/ 85512 w 112730"/>
                  <a:gd name="connsiteY2" fmla="*/ 85512 h 112721"/>
                  <a:gd name="connsiteX3" fmla="*/ 168 w 112730"/>
                  <a:gd name="connsiteY3" fmla="*/ 112563 h 112721"/>
                  <a:gd name="connsiteX4" fmla="*/ 27219 w 112730"/>
                  <a:gd name="connsiteY4" fmla="*/ 27219 h 1127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2730" h="112721">
                    <a:moveTo>
                      <a:pt x="27219" y="27219"/>
                    </a:moveTo>
                    <a:cubicBezTo>
                      <a:pt x="58270" y="-3833"/>
                      <a:pt x="112563" y="168"/>
                      <a:pt x="112563" y="168"/>
                    </a:cubicBezTo>
                    <a:cubicBezTo>
                      <a:pt x="112563" y="168"/>
                      <a:pt x="116563" y="54556"/>
                      <a:pt x="85512" y="85512"/>
                    </a:cubicBezTo>
                    <a:cubicBezTo>
                      <a:pt x="54461" y="116468"/>
                      <a:pt x="168" y="112563"/>
                      <a:pt x="168" y="112563"/>
                    </a:cubicBezTo>
                    <a:cubicBezTo>
                      <a:pt x="168" y="112563"/>
                      <a:pt x="-3832" y="58270"/>
                      <a:pt x="27219" y="27219"/>
                    </a:cubicBezTo>
                    <a:close/>
                  </a:path>
                </a:pathLst>
              </a:custGeom>
              <a:solidFill>
                <a:srgbClr val="8DB936"/>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01" name="Freeform: Shape 102">
                <a:extLst>
                  <a:ext uri="{FF2B5EF4-FFF2-40B4-BE49-F238E27FC236}">
                    <a16:creationId xmlns:a16="http://schemas.microsoft.com/office/drawing/2014/main" id="{2B16BAF3-B6F8-4D82-B536-CD1E707416EB}"/>
                  </a:ext>
                </a:extLst>
              </p:cNvPr>
              <p:cNvSpPr/>
              <p:nvPr/>
            </p:nvSpPr>
            <p:spPr>
              <a:xfrm>
                <a:off x="7459050" y="3736108"/>
                <a:ext cx="112563" cy="112562"/>
              </a:xfrm>
              <a:custGeom>
                <a:avLst/>
                <a:gdLst>
                  <a:gd name="connsiteX0" fmla="*/ 27219 w 112563"/>
                  <a:gd name="connsiteY0" fmla="*/ 27219 h 112562"/>
                  <a:gd name="connsiteX1" fmla="*/ 168 w 112563"/>
                  <a:gd name="connsiteY1" fmla="*/ 112563 h 112562"/>
                  <a:gd name="connsiteX2" fmla="*/ 112563 w 112563"/>
                  <a:gd name="connsiteY2" fmla="*/ 168 h 112562"/>
                  <a:gd name="connsiteX3" fmla="*/ 27219 w 112563"/>
                  <a:gd name="connsiteY3" fmla="*/ 27219 h 112562"/>
                </a:gdLst>
                <a:ahLst/>
                <a:cxnLst>
                  <a:cxn ang="0">
                    <a:pos x="connsiteX0" y="connsiteY0"/>
                  </a:cxn>
                  <a:cxn ang="0">
                    <a:pos x="connsiteX1" y="connsiteY1"/>
                  </a:cxn>
                  <a:cxn ang="0">
                    <a:pos x="connsiteX2" y="connsiteY2"/>
                  </a:cxn>
                  <a:cxn ang="0">
                    <a:pos x="connsiteX3" y="connsiteY3"/>
                  </a:cxn>
                </a:cxnLst>
                <a:rect l="l" t="t" r="r" b="b"/>
                <a:pathLst>
                  <a:path w="112563" h="112562">
                    <a:moveTo>
                      <a:pt x="27219" y="27219"/>
                    </a:moveTo>
                    <a:cubicBezTo>
                      <a:pt x="-3832" y="58270"/>
                      <a:pt x="168" y="112563"/>
                      <a:pt x="168" y="112563"/>
                    </a:cubicBezTo>
                    <a:lnTo>
                      <a:pt x="112563" y="168"/>
                    </a:lnTo>
                    <a:cubicBezTo>
                      <a:pt x="112658" y="168"/>
                      <a:pt x="58270" y="-3833"/>
                      <a:pt x="27219" y="27219"/>
                    </a:cubicBezTo>
                    <a:close/>
                  </a:path>
                </a:pathLst>
              </a:custGeom>
              <a:solidFill>
                <a:srgbClr val="E6E7E8">
                  <a:alpha val="25000"/>
                </a:srgb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sp>
          <p:nvSpPr>
            <p:cNvPr id="49" name="Freeform: Shape 50">
              <a:extLst>
                <a:ext uri="{FF2B5EF4-FFF2-40B4-BE49-F238E27FC236}">
                  <a16:creationId xmlns:a16="http://schemas.microsoft.com/office/drawing/2014/main" id="{71E5D4BF-C35F-45B0-8E1F-5424ACA2CFDD}"/>
                </a:ext>
              </a:extLst>
            </p:cNvPr>
            <p:cNvSpPr/>
            <p:nvPr/>
          </p:nvSpPr>
          <p:spPr>
            <a:xfrm rot="18900000">
              <a:off x="10572966" y="3598331"/>
              <a:ext cx="35222" cy="298868"/>
            </a:xfrm>
            <a:custGeom>
              <a:avLst/>
              <a:gdLst>
                <a:gd name="connsiteX0" fmla="*/ 0 w 19049"/>
                <a:gd name="connsiteY0" fmla="*/ 0 h 161637"/>
                <a:gd name="connsiteX1" fmla="*/ 19050 w 19049"/>
                <a:gd name="connsiteY1" fmla="*/ 0 h 161637"/>
                <a:gd name="connsiteX2" fmla="*/ 19050 w 19049"/>
                <a:gd name="connsiteY2" fmla="*/ 161638 h 161637"/>
                <a:gd name="connsiteX3" fmla="*/ 0 w 19049"/>
                <a:gd name="connsiteY3" fmla="*/ 161638 h 161637"/>
              </a:gdLst>
              <a:ahLst/>
              <a:cxnLst>
                <a:cxn ang="0">
                  <a:pos x="connsiteX0" y="connsiteY0"/>
                </a:cxn>
                <a:cxn ang="0">
                  <a:pos x="connsiteX1" y="connsiteY1"/>
                </a:cxn>
                <a:cxn ang="0">
                  <a:pos x="connsiteX2" y="connsiteY2"/>
                </a:cxn>
                <a:cxn ang="0">
                  <a:pos x="connsiteX3" y="connsiteY3"/>
                </a:cxn>
              </a:cxnLst>
              <a:rect l="l" t="t" r="r" b="b"/>
              <a:pathLst>
                <a:path w="19049" h="161637">
                  <a:moveTo>
                    <a:pt x="0" y="0"/>
                  </a:moveTo>
                  <a:lnTo>
                    <a:pt x="19050" y="0"/>
                  </a:lnTo>
                  <a:lnTo>
                    <a:pt x="19050" y="161638"/>
                  </a:lnTo>
                  <a:lnTo>
                    <a:pt x="0" y="161638"/>
                  </a:lnTo>
                  <a:close/>
                </a:path>
              </a:pathLst>
            </a:custGeom>
            <a:solidFill>
              <a:srgbClr val="6B4B2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nvGrpSpPr>
            <p:cNvPr id="50" name="Graphic 7">
              <a:extLst>
                <a:ext uri="{FF2B5EF4-FFF2-40B4-BE49-F238E27FC236}">
                  <a16:creationId xmlns:a16="http://schemas.microsoft.com/office/drawing/2014/main" id="{BD7264F3-50DE-4A39-BFBC-EB2237A0CBFE}"/>
                </a:ext>
              </a:extLst>
            </p:cNvPr>
            <p:cNvGrpSpPr/>
            <p:nvPr/>
          </p:nvGrpSpPr>
          <p:grpSpPr>
            <a:xfrm>
              <a:off x="10306748" y="3464291"/>
              <a:ext cx="208438" cy="208438"/>
              <a:chOff x="7536869" y="3306244"/>
              <a:chExt cx="112730" cy="112730"/>
            </a:xfrm>
          </p:grpSpPr>
          <p:sp>
            <p:nvSpPr>
              <p:cNvPr id="98" name="Freeform: Shape 99">
                <a:extLst>
                  <a:ext uri="{FF2B5EF4-FFF2-40B4-BE49-F238E27FC236}">
                    <a16:creationId xmlns:a16="http://schemas.microsoft.com/office/drawing/2014/main" id="{E451715A-B7B7-4B32-8BD3-E1B865DF27E5}"/>
                  </a:ext>
                </a:extLst>
              </p:cNvPr>
              <p:cNvSpPr/>
              <p:nvPr/>
            </p:nvSpPr>
            <p:spPr>
              <a:xfrm>
                <a:off x="7536869" y="3306254"/>
                <a:ext cx="112730" cy="112721"/>
              </a:xfrm>
              <a:custGeom>
                <a:avLst/>
                <a:gdLst>
                  <a:gd name="connsiteX0" fmla="*/ 85512 w 112730"/>
                  <a:gd name="connsiteY0" fmla="*/ 27210 h 112721"/>
                  <a:gd name="connsiteX1" fmla="*/ 112563 w 112730"/>
                  <a:gd name="connsiteY1" fmla="*/ 112554 h 112721"/>
                  <a:gd name="connsiteX2" fmla="*/ 27219 w 112730"/>
                  <a:gd name="connsiteY2" fmla="*/ 85503 h 112721"/>
                  <a:gd name="connsiteX3" fmla="*/ 168 w 112730"/>
                  <a:gd name="connsiteY3" fmla="*/ 159 h 112721"/>
                  <a:gd name="connsiteX4" fmla="*/ 85512 w 112730"/>
                  <a:gd name="connsiteY4" fmla="*/ 27210 h 1127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2730" h="112721">
                    <a:moveTo>
                      <a:pt x="85512" y="27210"/>
                    </a:moveTo>
                    <a:cubicBezTo>
                      <a:pt x="116563" y="58261"/>
                      <a:pt x="112563" y="112554"/>
                      <a:pt x="112563" y="112554"/>
                    </a:cubicBezTo>
                    <a:cubicBezTo>
                      <a:pt x="112563" y="112554"/>
                      <a:pt x="58175" y="116554"/>
                      <a:pt x="27219" y="85503"/>
                    </a:cubicBezTo>
                    <a:cubicBezTo>
                      <a:pt x="-3833" y="54451"/>
                      <a:pt x="168" y="159"/>
                      <a:pt x="168" y="159"/>
                    </a:cubicBezTo>
                    <a:cubicBezTo>
                      <a:pt x="168" y="159"/>
                      <a:pt x="54460" y="-3747"/>
                      <a:pt x="85512" y="27210"/>
                    </a:cubicBezTo>
                    <a:close/>
                  </a:path>
                </a:pathLst>
              </a:custGeom>
              <a:solidFill>
                <a:srgbClr val="8DB936"/>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99" name="Freeform: Shape 100">
                <a:extLst>
                  <a:ext uri="{FF2B5EF4-FFF2-40B4-BE49-F238E27FC236}">
                    <a16:creationId xmlns:a16="http://schemas.microsoft.com/office/drawing/2014/main" id="{800E7680-C36E-4844-9293-B155725F0A9D}"/>
                  </a:ext>
                </a:extLst>
              </p:cNvPr>
              <p:cNvSpPr/>
              <p:nvPr/>
            </p:nvSpPr>
            <p:spPr>
              <a:xfrm>
                <a:off x="7537037" y="3306244"/>
                <a:ext cx="112525" cy="112563"/>
              </a:xfrm>
              <a:custGeom>
                <a:avLst/>
                <a:gdLst>
                  <a:gd name="connsiteX0" fmla="*/ 85344 w 112525"/>
                  <a:gd name="connsiteY0" fmla="*/ 27219 h 112563"/>
                  <a:gd name="connsiteX1" fmla="*/ 0 w 112525"/>
                  <a:gd name="connsiteY1" fmla="*/ 168 h 112563"/>
                  <a:gd name="connsiteX2" fmla="*/ 112395 w 112525"/>
                  <a:gd name="connsiteY2" fmla="*/ 112563 h 112563"/>
                  <a:gd name="connsiteX3" fmla="*/ 85344 w 112525"/>
                  <a:gd name="connsiteY3" fmla="*/ 27219 h 112563"/>
                </a:gdLst>
                <a:ahLst/>
                <a:cxnLst>
                  <a:cxn ang="0">
                    <a:pos x="connsiteX0" y="connsiteY0"/>
                  </a:cxn>
                  <a:cxn ang="0">
                    <a:pos x="connsiteX1" y="connsiteY1"/>
                  </a:cxn>
                  <a:cxn ang="0">
                    <a:pos x="connsiteX2" y="connsiteY2"/>
                  </a:cxn>
                  <a:cxn ang="0">
                    <a:pos x="connsiteX3" y="connsiteY3"/>
                  </a:cxn>
                </a:cxnLst>
                <a:rect l="l" t="t" r="r" b="b"/>
                <a:pathLst>
                  <a:path w="112525" h="112563">
                    <a:moveTo>
                      <a:pt x="85344" y="27219"/>
                    </a:moveTo>
                    <a:cubicBezTo>
                      <a:pt x="54292" y="-3833"/>
                      <a:pt x="0" y="168"/>
                      <a:pt x="0" y="168"/>
                    </a:cubicBezTo>
                    <a:lnTo>
                      <a:pt x="112395" y="112563"/>
                    </a:lnTo>
                    <a:cubicBezTo>
                      <a:pt x="112300" y="112658"/>
                      <a:pt x="116396" y="58270"/>
                      <a:pt x="85344" y="27219"/>
                    </a:cubicBezTo>
                    <a:close/>
                  </a:path>
                </a:pathLst>
              </a:custGeom>
              <a:solidFill>
                <a:srgbClr val="E6E7E8">
                  <a:alpha val="25000"/>
                </a:srgb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sp>
          <p:nvSpPr>
            <p:cNvPr id="51" name="Freeform: Shape 52">
              <a:extLst>
                <a:ext uri="{FF2B5EF4-FFF2-40B4-BE49-F238E27FC236}">
                  <a16:creationId xmlns:a16="http://schemas.microsoft.com/office/drawing/2014/main" id="{6CA15373-A529-4286-9295-DADBA87F834E}"/>
                </a:ext>
              </a:extLst>
            </p:cNvPr>
            <p:cNvSpPr/>
            <p:nvPr/>
          </p:nvSpPr>
          <p:spPr>
            <a:xfrm rot="18900000">
              <a:off x="10644922" y="3448047"/>
              <a:ext cx="350470" cy="35222"/>
            </a:xfrm>
            <a:custGeom>
              <a:avLst/>
              <a:gdLst>
                <a:gd name="connsiteX0" fmla="*/ 0 w 189545"/>
                <a:gd name="connsiteY0" fmla="*/ 0 h 19049"/>
                <a:gd name="connsiteX1" fmla="*/ 189546 w 189545"/>
                <a:gd name="connsiteY1" fmla="*/ 0 h 19049"/>
                <a:gd name="connsiteX2" fmla="*/ 189546 w 189545"/>
                <a:gd name="connsiteY2" fmla="*/ 19050 h 19049"/>
                <a:gd name="connsiteX3" fmla="*/ 0 w 189545"/>
                <a:gd name="connsiteY3" fmla="*/ 19050 h 19049"/>
              </a:gdLst>
              <a:ahLst/>
              <a:cxnLst>
                <a:cxn ang="0">
                  <a:pos x="connsiteX0" y="connsiteY0"/>
                </a:cxn>
                <a:cxn ang="0">
                  <a:pos x="connsiteX1" y="connsiteY1"/>
                </a:cxn>
                <a:cxn ang="0">
                  <a:pos x="connsiteX2" y="connsiteY2"/>
                </a:cxn>
                <a:cxn ang="0">
                  <a:pos x="connsiteX3" y="connsiteY3"/>
                </a:cxn>
              </a:cxnLst>
              <a:rect l="l" t="t" r="r" b="b"/>
              <a:pathLst>
                <a:path w="189545" h="19049">
                  <a:moveTo>
                    <a:pt x="0" y="0"/>
                  </a:moveTo>
                  <a:lnTo>
                    <a:pt x="189546" y="0"/>
                  </a:lnTo>
                  <a:lnTo>
                    <a:pt x="189546" y="19050"/>
                  </a:lnTo>
                  <a:lnTo>
                    <a:pt x="0" y="19050"/>
                  </a:lnTo>
                  <a:close/>
                </a:path>
              </a:pathLst>
            </a:custGeom>
            <a:solidFill>
              <a:srgbClr val="6B4B2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nvGrpSpPr>
            <p:cNvPr id="52" name="Graphic 7">
              <a:extLst>
                <a:ext uri="{FF2B5EF4-FFF2-40B4-BE49-F238E27FC236}">
                  <a16:creationId xmlns:a16="http://schemas.microsoft.com/office/drawing/2014/main" id="{A995A564-7DDB-4483-B4FD-8BA17EACB8EF}"/>
                </a:ext>
              </a:extLst>
            </p:cNvPr>
            <p:cNvGrpSpPr/>
            <p:nvPr/>
          </p:nvGrpSpPr>
          <p:grpSpPr>
            <a:xfrm>
              <a:off x="10916467" y="3159079"/>
              <a:ext cx="208438" cy="208438"/>
              <a:chOff x="7866624" y="3141176"/>
              <a:chExt cx="112730" cy="112730"/>
            </a:xfrm>
          </p:grpSpPr>
          <p:sp>
            <p:nvSpPr>
              <p:cNvPr id="96" name="Freeform: Shape 97">
                <a:extLst>
                  <a:ext uri="{FF2B5EF4-FFF2-40B4-BE49-F238E27FC236}">
                    <a16:creationId xmlns:a16="http://schemas.microsoft.com/office/drawing/2014/main" id="{F9C43A00-6C18-4544-9360-AA58455FCEF5}"/>
                  </a:ext>
                </a:extLst>
              </p:cNvPr>
              <p:cNvSpPr/>
              <p:nvPr/>
            </p:nvSpPr>
            <p:spPr>
              <a:xfrm>
                <a:off x="7866624" y="3141176"/>
                <a:ext cx="112721" cy="112730"/>
              </a:xfrm>
              <a:custGeom>
                <a:avLst/>
                <a:gdLst>
                  <a:gd name="connsiteX0" fmla="*/ 85512 w 112721"/>
                  <a:gd name="connsiteY0" fmla="*/ 85512 h 112730"/>
                  <a:gd name="connsiteX1" fmla="*/ 168 w 112721"/>
                  <a:gd name="connsiteY1" fmla="*/ 112563 h 112730"/>
                  <a:gd name="connsiteX2" fmla="*/ 27219 w 112721"/>
                  <a:gd name="connsiteY2" fmla="*/ 27219 h 112730"/>
                  <a:gd name="connsiteX3" fmla="*/ 112563 w 112721"/>
                  <a:gd name="connsiteY3" fmla="*/ 168 h 112730"/>
                  <a:gd name="connsiteX4" fmla="*/ 85512 w 112721"/>
                  <a:gd name="connsiteY4" fmla="*/ 85512 h 1127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2721" h="112730">
                    <a:moveTo>
                      <a:pt x="85512" y="85512"/>
                    </a:moveTo>
                    <a:cubicBezTo>
                      <a:pt x="54460" y="116563"/>
                      <a:pt x="168" y="112563"/>
                      <a:pt x="168" y="112563"/>
                    </a:cubicBezTo>
                    <a:cubicBezTo>
                      <a:pt x="168" y="112563"/>
                      <a:pt x="-3833" y="58175"/>
                      <a:pt x="27219" y="27219"/>
                    </a:cubicBezTo>
                    <a:cubicBezTo>
                      <a:pt x="58270" y="-3833"/>
                      <a:pt x="112563" y="168"/>
                      <a:pt x="112563" y="168"/>
                    </a:cubicBezTo>
                    <a:cubicBezTo>
                      <a:pt x="112563" y="168"/>
                      <a:pt x="116468" y="54460"/>
                      <a:pt x="85512" y="85512"/>
                    </a:cubicBezTo>
                    <a:close/>
                  </a:path>
                </a:pathLst>
              </a:custGeom>
              <a:solidFill>
                <a:srgbClr val="8DB936"/>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97" name="Freeform: Shape 98">
                <a:extLst>
                  <a:ext uri="{FF2B5EF4-FFF2-40B4-BE49-F238E27FC236}">
                    <a16:creationId xmlns:a16="http://schemas.microsoft.com/office/drawing/2014/main" id="{EDE5EA51-2225-4E21-9915-941B106E306D}"/>
                  </a:ext>
                </a:extLst>
              </p:cNvPr>
              <p:cNvSpPr/>
              <p:nvPr/>
            </p:nvSpPr>
            <p:spPr>
              <a:xfrm>
                <a:off x="7866792" y="3141344"/>
                <a:ext cx="112562" cy="112562"/>
              </a:xfrm>
              <a:custGeom>
                <a:avLst/>
                <a:gdLst>
                  <a:gd name="connsiteX0" fmla="*/ 85344 w 112562"/>
                  <a:gd name="connsiteY0" fmla="*/ 85344 h 112562"/>
                  <a:gd name="connsiteX1" fmla="*/ 112395 w 112562"/>
                  <a:gd name="connsiteY1" fmla="*/ 0 h 112562"/>
                  <a:gd name="connsiteX2" fmla="*/ 0 w 112562"/>
                  <a:gd name="connsiteY2" fmla="*/ 112395 h 112562"/>
                  <a:gd name="connsiteX3" fmla="*/ 85344 w 112562"/>
                  <a:gd name="connsiteY3" fmla="*/ 85344 h 112562"/>
                </a:gdLst>
                <a:ahLst/>
                <a:cxnLst>
                  <a:cxn ang="0">
                    <a:pos x="connsiteX0" y="connsiteY0"/>
                  </a:cxn>
                  <a:cxn ang="0">
                    <a:pos x="connsiteX1" y="connsiteY1"/>
                  </a:cxn>
                  <a:cxn ang="0">
                    <a:pos x="connsiteX2" y="connsiteY2"/>
                  </a:cxn>
                  <a:cxn ang="0">
                    <a:pos x="connsiteX3" y="connsiteY3"/>
                  </a:cxn>
                </a:cxnLst>
                <a:rect l="l" t="t" r="r" b="b"/>
                <a:pathLst>
                  <a:path w="112562" h="112562">
                    <a:moveTo>
                      <a:pt x="85344" y="85344"/>
                    </a:moveTo>
                    <a:cubicBezTo>
                      <a:pt x="116396" y="54292"/>
                      <a:pt x="112395" y="0"/>
                      <a:pt x="112395" y="0"/>
                    </a:cubicBezTo>
                    <a:lnTo>
                      <a:pt x="0" y="112395"/>
                    </a:lnTo>
                    <a:cubicBezTo>
                      <a:pt x="-95" y="112395"/>
                      <a:pt x="54292" y="116395"/>
                      <a:pt x="85344" y="85344"/>
                    </a:cubicBezTo>
                    <a:close/>
                  </a:path>
                </a:pathLst>
              </a:custGeom>
              <a:solidFill>
                <a:srgbClr val="E6E7E8">
                  <a:alpha val="25000"/>
                </a:srgb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sp>
          <p:nvSpPr>
            <p:cNvPr id="53" name="Freeform: Shape 54">
              <a:extLst>
                <a:ext uri="{FF2B5EF4-FFF2-40B4-BE49-F238E27FC236}">
                  <a16:creationId xmlns:a16="http://schemas.microsoft.com/office/drawing/2014/main" id="{38377545-9A56-41F1-A3B1-A26A4085AF27}"/>
                </a:ext>
              </a:extLst>
            </p:cNvPr>
            <p:cNvSpPr/>
            <p:nvPr/>
          </p:nvSpPr>
          <p:spPr>
            <a:xfrm>
              <a:off x="10130412" y="5087703"/>
              <a:ext cx="1142828" cy="804506"/>
            </a:xfrm>
            <a:custGeom>
              <a:avLst/>
              <a:gdLst>
                <a:gd name="connsiteX0" fmla="*/ 502063 w 618077"/>
                <a:gd name="connsiteY0" fmla="*/ 435102 h 435102"/>
                <a:gd name="connsiteX1" fmla="*/ 115919 w 618077"/>
                <a:gd name="connsiteY1" fmla="*/ 435102 h 435102"/>
                <a:gd name="connsiteX2" fmla="*/ 73914 w 618077"/>
                <a:gd name="connsiteY2" fmla="*/ 400145 h 435102"/>
                <a:gd name="connsiteX3" fmla="*/ 0 w 618077"/>
                <a:gd name="connsiteY3" fmla="*/ 0 h 435102"/>
                <a:gd name="connsiteX4" fmla="*/ 618077 w 618077"/>
                <a:gd name="connsiteY4" fmla="*/ 0 h 435102"/>
                <a:gd name="connsiteX5" fmla="*/ 544163 w 618077"/>
                <a:gd name="connsiteY5" fmla="*/ 400145 h 435102"/>
                <a:gd name="connsiteX6" fmla="*/ 502063 w 618077"/>
                <a:gd name="connsiteY6" fmla="*/ 435102 h 4351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18077" h="435102">
                  <a:moveTo>
                    <a:pt x="502063" y="435102"/>
                  </a:moveTo>
                  <a:lnTo>
                    <a:pt x="115919" y="435102"/>
                  </a:lnTo>
                  <a:cubicBezTo>
                    <a:pt x="95345" y="435102"/>
                    <a:pt x="77629" y="420434"/>
                    <a:pt x="73914" y="400145"/>
                  </a:cubicBezTo>
                  <a:lnTo>
                    <a:pt x="0" y="0"/>
                  </a:lnTo>
                  <a:lnTo>
                    <a:pt x="618077" y="0"/>
                  </a:lnTo>
                  <a:lnTo>
                    <a:pt x="544163" y="400145"/>
                  </a:lnTo>
                  <a:cubicBezTo>
                    <a:pt x="540353" y="420434"/>
                    <a:pt x="522637" y="435102"/>
                    <a:pt x="502063" y="435102"/>
                  </a:cubicBezTo>
                  <a:close/>
                </a:path>
              </a:pathLst>
            </a:custGeom>
            <a:solidFill>
              <a:srgbClr val="F6B31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54" name="Freeform: Shape 55">
              <a:extLst>
                <a:ext uri="{FF2B5EF4-FFF2-40B4-BE49-F238E27FC236}">
                  <a16:creationId xmlns:a16="http://schemas.microsoft.com/office/drawing/2014/main" id="{0211FD1D-A55F-40FC-8835-B66EB6066554}"/>
                </a:ext>
              </a:extLst>
            </p:cNvPr>
            <p:cNvSpPr/>
            <p:nvPr/>
          </p:nvSpPr>
          <p:spPr>
            <a:xfrm>
              <a:off x="10040416" y="4922152"/>
              <a:ext cx="1322468" cy="165549"/>
            </a:xfrm>
            <a:custGeom>
              <a:avLst/>
              <a:gdLst>
                <a:gd name="connsiteX0" fmla="*/ 670465 w 715232"/>
                <a:gd name="connsiteY0" fmla="*/ 0 h 89534"/>
                <a:gd name="connsiteX1" fmla="*/ 44768 w 715232"/>
                <a:gd name="connsiteY1" fmla="*/ 0 h 89534"/>
                <a:gd name="connsiteX2" fmla="*/ 0 w 715232"/>
                <a:gd name="connsiteY2" fmla="*/ 44767 h 89534"/>
                <a:gd name="connsiteX3" fmla="*/ 0 w 715232"/>
                <a:gd name="connsiteY3" fmla="*/ 44767 h 89534"/>
                <a:gd name="connsiteX4" fmla="*/ 44768 w 715232"/>
                <a:gd name="connsiteY4" fmla="*/ 89535 h 89534"/>
                <a:gd name="connsiteX5" fmla="*/ 670465 w 715232"/>
                <a:gd name="connsiteY5" fmla="*/ 89535 h 89534"/>
                <a:gd name="connsiteX6" fmla="*/ 715232 w 715232"/>
                <a:gd name="connsiteY6" fmla="*/ 44767 h 89534"/>
                <a:gd name="connsiteX7" fmla="*/ 715232 w 715232"/>
                <a:gd name="connsiteY7" fmla="*/ 44767 h 89534"/>
                <a:gd name="connsiteX8" fmla="*/ 670465 w 715232"/>
                <a:gd name="connsiteY8" fmla="*/ 0 h 895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5232" h="89534">
                  <a:moveTo>
                    <a:pt x="670465" y="0"/>
                  </a:moveTo>
                  <a:lnTo>
                    <a:pt x="44768" y="0"/>
                  </a:lnTo>
                  <a:cubicBezTo>
                    <a:pt x="20003" y="0"/>
                    <a:pt x="0" y="20098"/>
                    <a:pt x="0" y="44767"/>
                  </a:cubicBezTo>
                  <a:lnTo>
                    <a:pt x="0" y="44767"/>
                  </a:lnTo>
                  <a:cubicBezTo>
                    <a:pt x="0" y="69533"/>
                    <a:pt x="20098" y="89535"/>
                    <a:pt x="44768" y="89535"/>
                  </a:cubicBezTo>
                  <a:lnTo>
                    <a:pt x="670465" y="89535"/>
                  </a:lnTo>
                  <a:cubicBezTo>
                    <a:pt x="695230" y="89535"/>
                    <a:pt x="715232" y="69437"/>
                    <a:pt x="715232" y="44767"/>
                  </a:cubicBezTo>
                  <a:lnTo>
                    <a:pt x="715232" y="44767"/>
                  </a:lnTo>
                  <a:cubicBezTo>
                    <a:pt x="715232" y="20003"/>
                    <a:pt x="695230" y="0"/>
                    <a:pt x="670465" y="0"/>
                  </a:cubicBezTo>
                  <a:close/>
                </a:path>
              </a:pathLst>
            </a:custGeom>
            <a:solidFill>
              <a:srgbClr val="F6B31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55" name="Freeform: Shape 56">
              <a:extLst>
                <a:ext uri="{FF2B5EF4-FFF2-40B4-BE49-F238E27FC236}">
                  <a16:creationId xmlns:a16="http://schemas.microsoft.com/office/drawing/2014/main" id="{41325D05-1A66-472C-BC52-8DB5BC48FEEA}"/>
                </a:ext>
              </a:extLst>
            </p:cNvPr>
            <p:cNvSpPr/>
            <p:nvPr/>
          </p:nvSpPr>
          <p:spPr>
            <a:xfrm>
              <a:off x="10130237" y="5087703"/>
              <a:ext cx="1142828" cy="62169"/>
            </a:xfrm>
            <a:custGeom>
              <a:avLst/>
              <a:gdLst>
                <a:gd name="connsiteX0" fmla="*/ 611886 w 618077"/>
                <a:gd name="connsiteY0" fmla="*/ 33623 h 33623"/>
                <a:gd name="connsiteX1" fmla="*/ 618077 w 618077"/>
                <a:gd name="connsiteY1" fmla="*/ 0 h 33623"/>
                <a:gd name="connsiteX2" fmla="*/ 0 w 618077"/>
                <a:gd name="connsiteY2" fmla="*/ 0 h 33623"/>
                <a:gd name="connsiteX3" fmla="*/ 6191 w 618077"/>
                <a:gd name="connsiteY3" fmla="*/ 33623 h 33623"/>
              </a:gdLst>
              <a:ahLst/>
              <a:cxnLst>
                <a:cxn ang="0">
                  <a:pos x="connsiteX0" y="connsiteY0"/>
                </a:cxn>
                <a:cxn ang="0">
                  <a:pos x="connsiteX1" y="connsiteY1"/>
                </a:cxn>
                <a:cxn ang="0">
                  <a:pos x="connsiteX2" y="connsiteY2"/>
                </a:cxn>
                <a:cxn ang="0">
                  <a:pos x="connsiteX3" y="connsiteY3"/>
                </a:cxn>
              </a:cxnLst>
              <a:rect l="l" t="t" r="r" b="b"/>
              <a:pathLst>
                <a:path w="618077" h="33623">
                  <a:moveTo>
                    <a:pt x="611886" y="33623"/>
                  </a:moveTo>
                  <a:lnTo>
                    <a:pt x="618077" y="0"/>
                  </a:lnTo>
                  <a:lnTo>
                    <a:pt x="0" y="0"/>
                  </a:lnTo>
                  <a:lnTo>
                    <a:pt x="6191" y="33623"/>
                  </a:lnTo>
                  <a:close/>
                </a:path>
              </a:pathLst>
            </a:custGeom>
            <a:solidFill>
              <a:srgbClr val="E6E7E8">
                <a:alpha val="25000"/>
              </a:srgb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56" name="Freeform: Shape 57">
              <a:extLst>
                <a:ext uri="{FF2B5EF4-FFF2-40B4-BE49-F238E27FC236}">
                  <a16:creationId xmlns:a16="http://schemas.microsoft.com/office/drawing/2014/main" id="{7F315CB9-C986-478A-9980-84B40AA55752}"/>
                </a:ext>
              </a:extLst>
            </p:cNvPr>
            <p:cNvSpPr/>
            <p:nvPr/>
          </p:nvSpPr>
          <p:spPr>
            <a:xfrm>
              <a:off x="10808994" y="3977105"/>
              <a:ext cx="268930" cy="35224"/>
            </a:xfrm>
            <a:custGeom>
              <a:avLst/>
              <a:gdLst>
                <a:gd name="connsiteX0" fmla="*/ 0 w 145446"/>
                <a:gd name="connsiteY0" fmla="*/ 0 h 19050"/>
                <a:gd name="connsiteX1" fmla="*/ 145447 w 145446"/>
                <a:gd name="connsiteY1" fmla="*/ 0 h 19050"/>
                <a:gd name="connsiteX2" fmla="*/ 145447 w 145446"/>
                <a:gd name="connsiteY2" fmla="*/ 19050 h 19050"/>
                <a:gd name="connsiteX3" fmla="*/ 0 w 145446"/>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45446" h="19050">
                  <a:moveTo>
                    <a:pt x="0" y="0"/>
                  </a:moveTo>
                  <a:lnTo>
                    <a:pt x="145447" y="0"/>
                  </a:lnTo>
                  <a:lnTo>
                    <a:pt x="145447" y="19050"/>
                  </a:lnTo>
                  <a:lnTo>
                    <a:pt x="0" y="19050"/>
                  </a:lnTo>
                  <a:close/>
                </a:path>
              </a:pathLst>
            </a:custGeom>
            <a:solidFill>
              <a:srgbClr val="6B4B2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nvGrpSpPr>
            <p:cNvPr id="57" name="Graphic 7">
              <a:extLst>
                <a:ext uri="{FF2B5EF4-FFF2-40B4-BE49-F238E27FC236}">
                  <a16:creationId xmlns:a16="http://schemas.microsoft.com/office/drawing/2014/main" id="{ED19D069-1C96-45DC-8263-41495A4C518D}"/>
                </a:ext>
              </a:extLst>
            </p:cNvPr>
            <p:cNvGrpSpPr/>
            <p:nvPr/>
          </p:nvGrpSpPr>
          <p:grpSpPr>
            <a:xfrm>
              <a:off x="11038651" y="3918457"/>
              <a:ext cx="293940" cy="152517"/>
              <a:chOff x="7932705" y="3551871"/>
              <a:chExt cx="158972" cy="82486"/>
            </a:xfrm>
          </p:grpSpPr>
          <p:sp>
            <p:nvSpPr>
              <p:cNvPr id="94" name="Freeform: Shape 95">
                <a:extLst>
                  <a:ext uri="{FF2B5EF4-FFF2-40B4-BE49-F238E27FC236}">
                    <a16:creationId xmlns:a16="http://schemas.microsoft.com/office/drawing/2014/main" id="{0225B9A1-C849-4B2B-ADAF-02C2C4B04C64}"/>
                  </a:ext>
                </a:extLst>
              </p:cNvPr>
              <p:cNvSpPr/>
              <p:nvPr/>
            </p:nvSpPr>
            <p:spPr>
              <a:xfrm>
                <a:off x="7932800" y="3551871"/>
                <a:ext cx="158876" cy="82486"/>
              </a:xfrm>
              <a:custGeom>
                <a:avLst/>
                <a:gdLst>
                  <a:gd name="connsiteX0" fmla="*/ 79438 w 158876"/>
                  <a:gd name="connsiteY0" fmla="*/ 82487 h 82486"/>
                  <a:gd name="connsiteX1" fmla="*/ 0 w 158876"/>
                  <a:gd name="connsiteY1" fmla="*/ 41243 h 82486"/>
                  <a:gd name="connsiteX2" fmla="*/ 79438 w 158876"/>
                  <a:gd name="connsiteY2" fmla="*/ 0 h 82486"/>
                  <a:gd name="connsiteX3" fmla="*/ 158877 w 158876"/>
                  <a:gd name="connsiteY3" fmla="*/ 41243 h 82486"/>
                  <a:gd name="connsiteX4" fmla="*/ 79438 w 158876"/>
                  <a:gd name="connsiteY4" fmla="*/ 82487 h 824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876" h="82486">
                    <a:moveTo>
                      <a:pt x="79438" y="82487"/>
                    </a:moveTo>
                    <a:cubicBezTo>
                      <a:pt x="35528" y="82487"/>
                      <a:pt x="0" y="41243"/>
                      <a:pt x="0" y="41243"/>
                    </a:cubicBezTo>
                    <a:cubicBezTo>
                      <a:pt x="0" y="41243"/>
                      <a:pt x="35623" y="0"/>
                      <a:pt x="79438" y="0"/>
                    </a:cubicBezTo>
                    <a:cubicBezTo>
                      <a:pt x="123349" y="0"/>
                      <a:pt x="158877" y="41243"/>
                      <a:pt x="158877" y="41243"/>
                    </a:cubicBezTo>
                    <a:cubicBezTo>
                      <a:pt x="158877" y="41243"/>
                      <a:pt x="123349" y="82487"/>
                      <a:pt x="79438" y="82487"/>
                    </a:cubicBezTo>
                    <a:close/>
                  </a:path>
                </a:pathLst>
              </a:custGeom>
              <a:solidFill>
                <a:srgbClr val="8DB936"/>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95" name="Freeform: Shape 96">
                <a:extLst>
                  <a:ext uri="{FF2B5EF4-FFF2-40B4-BE49-F238E27FC236}">
                    <a16:creationId xmlns:a16="http://schemas.microsoft.com/office/drawing/2014/main" id="{23A3E5FF-0FD0-494E-A08B-726CDDB2BB40}"/>
                  </a:ext>
                </a:extLst>
              </p:cNvPr>
              <p:cNvSpPr/>
              <p:nvPr/>
            </p:nvSpPr>
            <p:spPr>
              <a:xfrm>
                <a:off x="7932705" y="3593115"/>
                <a:ext cx="158972" cy="41243"/>
              </a:xfrm>
              <a:custGeom>
                <a:avLst/>
                <a:gdLst>
                  <a:gd name="connsiteX0" fmla="*/ 79534 w 158972"/>
                  <a:gd name="connsiteY0" fmla="*/ 41243 h 41243"/>
                  <a:gd name="connsiteX1" fmla="*/ 158972 w 158972"/>
                  <a:gd name="connsiteY1" fmla="*/ 0 h 41243"/>
                  <a:gd name="connsiteX2" fmla="*/ 0 w 158972"/>
                  <a:gd name="connsiteY2" fmla="*/ 0 h 41243"/>
                  <a:gd name="connsiteX3" fmla="*/ 79534 w 158972"/>
                  <a:gd name="connsiteY3" fmla="*/ 41243 h 41243"/>
                </a:gdLst>
                <a:ahLst/>
                <a:cxnLst>
                  <a:cxn ang="0">
                    <a:pos x="connsiteX0" y="connsiteY0"/>
                  </a:cxn>
                  <a:cxn ang="0">
                    <a:pos x="connsiteX1" y="connsiteY1"/>
                  </a:cxn>
                  <a:cxn ang="0">
                    <a:pos x="connsiteX2" y="connsiteY2"/>
                  </a:cxn>
                  <a:cxn ang="0">
                    <a:pos x="connsiteX3" y="connsiteY3"/>
                  </a:cxn>
                </a:cxnLst>
                <a:rect l="l" t="t" r="r" b="b"/>
                <a:pathLst>
                  <a:path w="158972" h="41243">
                    <a:moveTo>
                      <a:pt x="79534" y="41243"/>
                    </a:moveTo>
                    <a:cubicBezTo>
                      <a:pt x="123444" y="41243"/>
                      <a:pt x="158972" y="0"/>
                      <a:pt x="158972" y="0"/>
                    </a:cubicBezTo>
                    <a:lnTo>
                      <a:pt x="0" y="0"/>
                    </a:lnTo>
                    <a:cubicBezTo>
                      <a:pt x="95" y="0"/>
                      <a:pt x="35624" y="41243"/>
                      <a:pt x="79534" y="41243"/>
                    </a:cubicBezTo>
                    <a:close/>
                  </a:path>
                </a:pathLst>
              </a:custGeom>
              <a:solidFill>
                <a:srgbClr val="E6E7E8">
                  <a:alpha val="25000"/>
                </a:srgb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sp>
          <p:nvSpPr>
            <p:cNvPr id="58" name="Freeform: Shape 59">
              <a:extLst>
                <a:ext uri="{FF2B5EF4-FFF2-40B4-BE49-F238E27FC236}">
                  <a16:creationId xmlns:a16="http://schemas.microsoft.com/office/drawing/2014/main" id="{0A37EC25-BB38-41BE-A8F3-D61348D382ED}"/>
                </a:ext>
              </a:extLst>
            </p:cNvPr>
            <p:cNvSpPr/>
            <p:nvPr/>
          </p:nvSpPr>
          <p:spPr>
            <a:xfrm rot="18900000">
              <a:off x="10460330" y="2813652"/>
              <a:ext cx="35222" cy="618696"/>
            </a:xfrm>
            <a:custGeom>
              <a:avLst/>
              <a:gdLst>
                <a:gd name="connsiteX0" fmla="*/ 0 w 19049"/>
                <a:gd name="connsiteY0" fmla="*/ 0 h 334610"/>
                <a:gd name="connsiteX1" fmla="*/ 19050 w 19049"/>
                <a:gd name="connsiteY1" fmla="*/ 0 h 334610"/>
                <a:gd name="connsiteX2" fmla="*/ 19050 w 19049"/>
                <a:gd name="connsiteY2" fmla="*/ 334610 h 334610"/>
                <a:gd name="connsiteX3" fmla="*/ 0 w 19049"/>
                <a:gd name="connsiteY3" fmla="*/ 334610 h 334610"/>
              </a:gdLst>
              <a:ahLst/>
              <a:cxnLst>
                <a:cxn ang="0">
                  <a:pos x="connsiteX0" y="connsiteY0"/>
                </a:cxn>
                <a:cxn ang="0">
                  <a:pos x="connsiteX1" y="connsiteY1"/>
                </a:cxn>
                <a:cxn ang="0">
                  <a:pos x="connsiteX2" y="connsiteY2"/>
                </a:cxn>
                <a:cxn ang="0">
                  <a:pos x="connsiteX3" y="connsiteY3"/>
                </a:cxn>
              </a:cxnLst>
              <a:rect l="l" t="t" r="r" b="b"/>
              <a:pathLst>
                <a:path w="19049" h="334610">
                  <a:moveTo>
                    <a:pt x="0" y="0"/>
                  </a:moveTo>
                  <a:lnTo>
                    <a:pt x="19050" y="0"/>
                  </a:lnTo>
                  <a:lnTo>
                    <a:pt x="19050" y="334610"/>
                  </a:lnTo>
                  <a:lnTo>
                    <a:pt x="0" y="334610"/>
                  </a:lnTo>
                  <a:close/>
                </a:path>
              </a:pathLst>
            </a:custGeom>
            <a:solidFill>
              <a:srgbClr val="6B4B2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59" name="Freeform: Shape 60">
              <a:extLst>
                <a:ext uri="{FF2B5EF4-FFF2-40B4-BE49-F238E27FC236}">
                  <a16:creationId xmlns:a16="http://schemas.microsoft.com/office/drawing/2014/main" id="{FE9D8081-578E-467A-9465-AB97B026B3C6}"/>
                </a:ext>
              </a:extLst>
            </p:cNvPr>
            <p:cNvSpPr/>
            <p:nvPr/>
          </p:nvSpPr>
          <p:spPr>
            <a:xfrm>
              <a:off x="10289623" y="3146534"/>
              <a:ext cx="229480" cy="35224"/>
            </a:xfrm>
            <a:custGeom>
              <a:avLst/>
              <a:gdLst>
                <a:gd name="connsiteX0" fmla="*/ 0 w 124110"/>
                <a:gd name="connsiteY0" fmla="*/ 0 h 19050"/>
                <a:gd name="connsiteX1" fmla="*/ 124111 w 124110"/>
                <a:gd name="connsiteY1" fmla="*/ 0 h 19050"/>
                <a:gd name="connsiteX2" fmla="*/ 124111 w 124110"/>
                <a:gd name="connsiteY2" fmla="*/ 19050 h 19050"/>
                <a:gd name="connsiteX3" fmla="*/ 0 w 12411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24110" h="19050">
                  <a:moveTo>
                    <a:pt x="0" y="0"/>
                  </a:moveTo>
                  <a:lnTo>
                    <a:pt x="124111" y="0"/>
                  </a:lnTo>
                  <a:lnTo>
                    <a:pt x="124111" y="19050"/>
                  </a:lnTo>
                  <a:lnTo>
                    <a:pt x="0" y="19050"/>
                  </a:lnTo>
                  <a:close/>
                </a:path>
              </a:pathLst>
            </a:custGeom>
            <a:solidFill>
              <a:srgbClr val="6B4B2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nvGrpSpPr>
            <p:cNvPr id="60" name="Graphic 7">
              <a:extLst>
                <a:ext uri="{FF2B5EF4-FFF2-40B4-BE49-F238E27FC236}">
                  <a16:creationId xmlns:a16="http://schemas.microsoft.com/office/drawing/2014/main" id="{91EA7664-FAB9-46C6-A9EB-8F932C96293B}"/>
                </a:ext>
              </a:extLst>
            </p:cNvPr>
            <p:cNvGrpSpPr/>
            <p:nvPr/>
          </p:nvGrpSpPr>
          <p:grpSpPr>
            <a:xfrm>
              <a:off x="9983069" y="2631983"/>
              <a:ext cx="306487" cy="306487"/>
              <a:chOff x="7361813" y="2856106"/>
              <a:chExt cx="165758" cy="165758"/>
            </a:xfrm>
          </p:grpSpPr>
          <p:sp>
            <p:nvSpPr>
              <p:cNvPr id="92" name="Freeform: Shape 93">
                <a:extLst>
                  <a:ext uri="{FF2B5EF4-FFF2-40B4-BE49-F238E27FC236}">
                    <a16:creationId xmlns:a16="http://schemas.microsoft.com/office/drawing/2014/main" id="{5B6215B4-6F9D-447B-85B3-3D3F37F8907D}"/>
                  </a:ext>
                </a:extLst>
              </p:cNvPr>
              <p:cNvSpPr/>
              <p:nvPr/>
            </p:nvSpPr>
            <p:spPr>
              <a:xfrm>
                <a:off x="7361813" y="2856106"/>
                <a:ext cx="165758" cy="165758"/>
              </a:xfrm>
              <a:custGeom>
                <a:avLst/>
                <a:gdLst>
                  <a:gd name="connsiteX0" fmla="*/ 125789 w 165758"/>
                  <a:gd name="connsiteY0" fmla="*/ 39969 h 165758"/>
                  <a:gd name="connsiteX1" fmla="*/ 165508 w 165758"/>
                  <a:gd name="connsiteY1" fmla="*/ 165509 h 165758"/>
                  <a:gd name="connsiteX2" fmla="*/ 39969 w 165758"/>
                  <a:gd name="connsiteY2" fmla="*/ 125789 h 165758"/>
                  <a:gd name="connsiteX3" fmla="*/ 250 w 165758"/>
                  <a:gd name="connsiteY3" fmla="*/ 250 h 165758"/>
                  <a:gd name="connsiteX4" fmla="*/ 125789 w 165758"/>
                  <a:gd name="connsiteY4" fmla="*/ 39969 h 1657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5758" h="165758">
                    <a:moveTo>
                      <a:pt x="125789" y="39969"/>
                    </a:moveTo>
                    <a:cubicBezTo>
                      <a:pt x="171414" y="85594"/>
                      <a:pt x="165508" y="165509"/>
                      <a:pt x="165508" y="165509"/>
                    </a:cubicBezTo>
                    <a:cubicBezTo>
                      <a:pt x="165508" y="165509"/>
                      <a:pt x="85594" y="171414"/>
                      <a:pt x="39969" y="125789"/>
                    </a:cubicBezTo>
                    <a:cubicBezTo>
                      <a:pt x="-5656" y="80164"/>
                      <a:pt x="250" y="250"/>
                      <a:pt x="250" y="250"/>
                    </a:cubicBezTo>
                    <a:cubicBezTo>
                      <a:pt x="250" y="250"/>
                      <a:pt x="80164" y="-5656"/>
                      <a:pt x="125789" y="39969"/>
                    </a:cubicBezTo>
                    <a:close/>
                  </a:path>
                </a:pathLst>
              </a:custGeom>
              <a:solidFill>
                <a:srgbClr val="8DB936"/>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93" name="Freeform: Shape 94">
                <a:extLst>
                  <a:ext uri="{FF2B5EF4-FFF2-40B4-BE49-F238E27FC236}">
                    <a16:creationId xmlns:a16="http://schemas.microsoft.com/office/drawing/2014/main" id="{A5606BAC-A7EC-4624-BDD0-D6F7DE9A9A9A}"/>
                  </a:ext>
                </a:extLst>
              </p:cNvPr>
              <p:cNvSpPr/>
              <p:nvPr/>
            </p:nvSpPr>
            <p:spPr>
              <a:xfrm>
                <a:off x="7362063" y="2856106"/>
                <a:ext cx="165508" cy="165508"/>
              </a:xfrm>
              <a:custGeom>
                <a:avLst/>
                <a:gdLst>
                  <a:gd name="connsiteX0" fmla="*/ 125539 w 165508"/>
                  <a:gd name="connsiteY0" fmla="*/ 39969 h 165508"/>
                  <a:gd name="connsiteX1" fmla="*/ 0 w 165508"/>
                  <a:gd name="connsiteY1" fmla="*/ 250 h 165508"/>
                  <a:gd name="connsiteX2" fmla="*/ 165259 w 165508"/>
                  <a:gd name="connsiteY2" fmla="*/ 165509 h 165508"/>
                  <a:gd name="connsiteX3" fmla="*/ 125539 w 165508"/>
                  <a:gd name="connsiteY3" fmla="*/ 39969 h 165508"/>
                </a:gdLst>
                <a:ahLst/>
                <a:cxnLst>
                  <a:cxn ang="0">
                    <a:pos x="connsiteX0" y="connsiteY0"/>
                  </a:cxn>
                  <a:cxn ang="0">
                    <a:pos x="connsiteX1" y="connsiteY1"/>
                  </a:cxn>
                  <a:cxn ang="0">
                    <a:pos x="connsiteX2" y="connsiteY2"/>
                  </a:cxn>
                  <a:cxn ang="0">
                    <a:pos x="connsiteX3" y="connsiteY3"/>
                  </a:cxn>
                </a:cxnLst>
                <a:rect l="l" t="t" r="r" b="b"/>
                <a:pathLst>
                  <a:path w="165508" h="165508">
                    <a:moveTo>
                      <a:pt x="125539" y="39969"/>
                    </a:moveTo>
                    <a:cubicBezTo>
                      <a:pt x="79915" y="-5656"/>
                      <a:pt x="0" y="250"/>
                      <a:pt x="0" y="250"/>
                    </a:cubicBezTo>
                    <a:lnTo>
                      <a:pt x="165259" y="165509"/>
                    </a:lnTo>
                    <a:cubicBezTo>
                      <a:pt x="165259" y="165509"/>
                      <a:pt x="171164" y="85594"/>
                      <a:pt x="125539" y="39969"/>
                    </a:cubicBezTo>
                    <a:close/>
                  </a:path>
                </a:pathLst>
              </a:custGeom>
              <a:solidFill>
                <a:srgbClr val="E6E7E8">
                  <a:alpha val="25000"/>
                </a:srgb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grpSp>
          <p:nvGrpSpPr>
            <p:cNvPr id="61" name="Graphic 7">
              <a:extLst>
                <a:ext uri="{FF2B5EF4-FFF2-40B4-BE49-F238E27FC236}">
                  <a16:creationId xmlns:a16="http://schemas.microsoft.com/office/drawing/2014/main" id="{CFF6F057-7607-4678-81BD-FFB1C9025EB0}"/>
                </a:ext>
              </a:extLst>
            </p:cNvPr>
            <p:cNvGrpSpPr/>
            <p:nvPr/>
          </p:nvGrpSpPr>
          <p:grpSpPr>
            <a:xfrm>
              <a:off x="10023686" y="3087709"/>
              <a:ext cx="293940" cy="152517"/>
              <a:chOff x="7383780" y="3102577"/>
              <a:chExt cx="158972" cy="82486"/>
            </a:xfrm>
          </p:grpSpPr>
          <p:sp>
            <p:nvSpPr>
              <p:cNvPr id="90" name="Freeform: Shape 91">
                <a:extLst>
                  <a:ext uri="{FF2B5EF4-FFF2-40B4-BE49-F238E27FC236}">
                    <a16:creationId xmlns:a16="http://schemas.microsoft.com/office/drawing/2014/main" id="{95DA14C4-83DB-4CD8-9DCF-EF65387252FF}"/>
                  </a:ext>
                </a:extLst>
              </p:cNvPr>
              <p:cNvSpPr/>
              <p:nvPr/>
            </p:nvSpPr>
            <p:spPr>
              <a:xfrm>
                <a:off x="7383780" y="3102577"/>
                <a:ext cx="158876" cy="82486"/>
              </a:xfrm>
              <a:custGeom>
                <a:avLst/>
                <a:gdLst>
                  <a:gd name="connsiteX0" fmla="*/ 79438 w 158876"/>
                  <a:gd name="connsiteY0" fmla="*/ 0 h 82486"/>
                  <a:gd name="connsiteX1" fmla="*/ 158877 w 158876"/>
                  <a:gd name="connsiteY1" fmla="*/ 41243 h 82486"/>
                  <a:gd name="connsiteX2" fmla="*/ 79438 w 158876"/>
                  <a:gd name="connsiteY2" fmla="*/ 82486 h 82486"/>
                  <a:gd name="connsiteX3" fmla="*/ 0 w 158876"/>
                  <a:gd name="connsiteY3" fmla="*/ 41243 h 82486"/>
                  <a:gd name="connsiteX4" fmla="*/ 79438 w 158876"/>
                  <a:gd name="connsiteY4" fmla="*/ 0 h 824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876" h="82486">
                    <a:moveTo>
                      <a:pt x="79438" y="0"/>
                    </a:moveTo>
                    <a:cubicBezTo>
                      <a:pt x="123349" y="0"/>
                      <a:pt x="158877" y="41243"/>
                      <a:pt x="158877" y="41243"/>
                    </a:cubicBezTo>
                    <a:cubicBezTo>
                      <a:pt x="158877" y="41243"/>
                      <a:pt x="123254" y="82486"/>
                      <a:pt x="79438" y="82486"/>
                    </a:cubicBezTo>
                    <a:cubicBezTo>
                      <a:pt x="35528" y="82486"/>
                      <a:pt x="0" y="41243"/>
                      <a:pt x="0" y="41243"/>
                    </a:cubicBezTo>
                    <a:cubicBezTo>
                      <a:pt x="0" y="41243"/>
                      <a:pt x="35528" y="0"/>
                      <a:pt x="79438" y="0"/>
                    </a:cubicBezTo>
                    <a:close/>
                  </a:path>
                </a:pathLst>
              </a:custGeom>
              <a:solidFill>
                <a:srgbClr val="8DB936"/>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91" name="Freeform: Shape 92">
                <a:extLst>
                  <a:ext uri="{FF2B5EF4-FFF2-40B4-BE49-F238E27FC236}">
                    <a16:creationId xmlns:a16="http://schemas.microsoft.com/office/drawing/2014/main" id="{FD095D98-7364-4736-83FB-CD191BD8655F}"/>
                  </a:ext>
                </a:extLst>
              </p:cNvPr>
              <p:cNvSpPr/>
              <p:nvPr/>
            </p:nvSpPr>
            <p:spPr>
              <a:xfrm>
                <a:off x="7383780" y="3102577"/>
                <a:ext cx="158972" cy="41243"/>
              </a:xfrm>
              <a:custGeom>
                <a:avLst/>
                <a:gdLst>
                  <a:gd name="connsiteX0" fmla="*/ 79438 w 158972"/>
                  <a:gd name="connsiteY0" fmla="*/ 0 h 41243"/>
                  <a:gd name="connsiteX1" fmla="*/ 0 w 158972"/>
                  <a:gd name="connsiteY1" fmla="*/ 41243 h 41243"/>
                  <a:gd name="connsiteX2" fmla="*/ 158972 w 158972"/>
                  <a:gd name="connsiteY2" fmla="*/ 41243 h 41243"/>
                  <a:gd name="connsiteX3" fmla="*/ 79438 w 158972"/>
                  <a:gd name="connsiteY3" fmla="*/ 0 h 41243"/>
                </a:gdLst>
                <a:ahLst/>
                <a:cxnLst>
                  <a:cxn ang="0">
                    <a:pos x="connsiteX0" y="connsiteY0"/>
                  </a:cxn>
                  <a:cxn ang="0">
                    <a:pos x="connsiteX1" y="connsiteY1"/>
                  </a:cxn>
                  <a:cxn ang="0">
                    <a:pos x="connsiteX2" y="connsiteY2"/>
                  </a:cxn>
                  <a:cxn ang="0">
                    <a:pos x="connsiteX3" y="connsiteY3"/>
                  </a:cxn>
                </a:cxnLst>
                <a:rect l="l" t="t" r="r" b="b"/>
                <a:pathLst>
                  <a:path w="158972" h="41243">
                    <a:moveTo>
                      <a:pt x="79438" y="0"/>
                    </a:moveTo>
                    <a:cubicBezTo>
                      <a:pt x="35528" y="0"/>
                      <a:pt x="0" y="41243"/>
                      <a:pt x="0" y="41243"/>
                    </a:cubicBezTo>
                    <a:lnTo>
                      <a:pt x="158972" y="41243"/>
                    </a:lnTo>
                    <a:cubicBezTo>
                      <a:pt x="158972" y="41338"/>
                      <a:pt x="123349" y="0"/>
                      <a:pt x="79438" y="0"/>
                    </a:cubicBezTo>
                    <a:close/>
                  </a:path>
                </a:pathLst>
              </a:custGeom>
              <a:solidFill>
                <a:srgbClr val="E6E7E8">
                  <a:alpha val="25000"/>
                </a:srgb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sp>
          <p:nvSpPr>
            <p:cNvPr id="62" name="Freeform: Shape 63">
              <a:extLst>
                <a:ext uri="{FF2B5EF4-FFF2-40B4-BE49-F238E27FC236}">
                  <a16:creationId xmlns:a16="http://schemas.microsoft.com/office/drawing/2014/main" id="{2829446D-EDB2-4F73-A87C-52FE3A0A887C}"/>
                </a:ext>
              </a:extLst>
            </p:cNvPr>
            <p:cNvSpPr/>
            <p:nvPr/>
          </p:nvSpPr>
          <p:spPr>
            <a:xfrm>
              <a:off x="10442142" y="2897680"/>
              <a:ext cx="35224" cy="207290"/>
            </a:xfrm>
            <a:custGeom>
              <a:avLst/>
              <a:gdLst>
                <a:gd name="connsiteX0" fmla="*/ 0 w 19050"/>
                <a:gd name="connsiteY0" fmla="*/ 0 h 112109"/>
                <a:gd name="connsiteX1" fmla="*/ 19050 w 19050"/>
                <a:gd name="connsiteY1" fmla="*/ 0 h 112109"/>
                <a:gd name="connsiteX2" fmla="*/ 19050 w 19050"/>
                <a:gd name="connsiteY2" fmla="*/ 112109 h 112109"/>
                <a:gd name="connsiteX3" fmla="*/ 0 w 19050"/>
                <a:gd name="connsiteY3" fmla="*/ 112109 h 112109"/>
              </a:gdLst>
              <a:ahLst/>
              <a:cxnLst>
                <a:cxn ang="0">
                  <a:pos x="connsiteX0" y="connsiteY0"/>
                </a:cxn>
                <a:cxn ang="0">
                  <a:pos x="connsiteX1" y="connsiteY1"/>
                </a:cxn>
                <a:cxn ang="0">
                  <a:pos x="connsiteX2" y="connsiteY2"/>
                </a:cxn>
                <a:cxn ang="0">
                  <a:pos x="connsiteX3" y="connsiteY3"/>
                </a:cxn>
              </a:cxnLst>
              <a:rect l="l" t="t" r="r" b="b"/>
              <a:pathLst>
                <a:path w="19050" h="112109">
                  <a:moveTo>
                    <a:pt x="0" y="0"/>
                  </a:moveTo>
                  <a:lnTo>
                    <a:pt x="19050" y="0"/>
                  </a:lnTo>
                  <a:lnTo>
                    <a:pt x="19050" y="112109"/>
                  </a:lnTo>
                  <a:lnTo>
                    <a:pt x="0" y="112109"/>
                  </a:lnTo>
                  <a:close/>
                </a:path>
              </a:pathLst>
            </a:custGeom>
            <a:solidFill>
              <a:srgbClr val="6B4B2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nvGrpSpPr>
            <p:cNvPr id="63" name="Graphic 7">
              <a:extLst>
                <a:ext uri="{FF2B5EF4-FFF2-40B4-BE49-F238E27FC236}">
                  <a16:creationId xmlns:a16="http://schemas.microsoft.com/office/drawing/2014/main" id="{886E8FEE-8DC5-43E4-B94D-8351FFD532A2}"/>
                </a:ext>
              </a:extLst>
            </p:cNvPr>
            <p:cNvGrpSpPr/>
            <p:nvPr/>
          </p:nvGrpSpPr>
          <p:grpSpPr>
            <a:xfrm>
              <a:off x="10383671" y="2638081"/>
              <a:ext cx="152517" cy="293940"/>
              <a:chOff x="7578471" y="2859404"/>
              <a:chExt cx="82486" cy="158972"/>
            </a:xfrm>
          </p:grpSpPr>
          <p:sp>
            <p:nvSpPr>
              <p:cNvPr id="88" name="Freeform: Shape 89">
                <a:extLst>
                  <a:ext uri="{FF2B5EF4-FFF2-40B4-BE49-F238E27FC236}">
                    <a16:creationId xmlns:a16="http://schemas.microsoft.com/office/drawing/2014/main" id="{52A2B991-3440-4CEA-A7EC-6A4D44ED585D}"/>
                  </a:ext>
                </a:extLst>
              </p:cNvPr>
              <p:cNvSpPr/>
              <p:nvPr/>
            </p:nvSpPr>
            <p:spPr>
              <a:xfrm>
                <a:off x="7578471" y="2859404"/>
                <a:ext cx="82486" cy="158877"/>
              </a:xfrm>
              <a:custGeom>
                <a:avLst/>
                <a:gdLst>
                  <a:gd name="connsiteX0" fmla="*/ 82486 w 82486"/>
                  <a:gd name="connsiteY0" fmla="*/ 79439 h 158877"/>
                  <a:gd name="connsiteX1" fmla="*/ 41243 w 82486"/>
                  <a:gd name="connsiteY1" fmla="*/ 158877 h 158877"/>
                  <a:gd name="connsiteX2" fmla="*/ 0 w 82486"/>
                  <a:gd name="connsiteY2" fmla="*/ 79439 h 158877"/>
                  <a:gd name="connsiteX3" fmla="*/ 41243 w 82486"/>
                  <a:gd name="connsiteY3" fmla="*/ 0 h 158877"/>
                  <a:gd name="connsiteX4" fmla="*/ 82486 w 82486"/>
                  <a:gd name="connsiteY4" fmla="*/ 79439 h 1588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486" h="158877">
                    <a:moveTo>
                      <a:pt x="82486" y="79439"/>
                    </a:moveTo>
                    <a:cubicBezTo>
                      <a:pt x="82486" y="123349"/>
                      <a:pt x="41243" y="158877"/>
                      <a:pt x="41243" y="158877"/>
                    </a:cubicBezTo>
                    <a:cubicBezTo>
                      <a:pt x="41243" y="158877"/>
                      <a:pt x="0" y="123254"/>
                      <a:pt x="0" y="79439"/>
                    </a:cubicBezTo>
                    <a:cubicBezTo>
                      <a:pt x="0" y="35528"/>
                      <a:pt x="41243" y="0"/>
                      <a:pt x="41243" y="0"/>
                    </a:cubicBezTo>
                    <a:cubicBezTo>
                      <a:pt x="41243" y="0"/>
                      <a:pt x="82486" y="35624"/>
                      <a:pt x="82486" y="79439"/>
                    </a:cubicBezTo>
                    <a:close/>
                  </a:path>
                </a:pathLst>
              </a:custGeom>
              <a:solidFill>
                <a:srgbClr val="8DB936"/>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89" name="Freeform: Shape 90">
                <a:extLst>
                  <a:ext uri="{FF2B5EF4-FFF2-40B4-BE49-F238E27FC236}">
                    <a16:creationId xmlns:a16="http://schemas.microsoft.com/office/drawing/2014/main" id="{33739F81-5F98-4F4C-9568-5A4129A8C449}"/>
                  </a:ext>
                </a:extLst>
              </p:cNvPr>
              <p:cNvSpPr/>
              <p:nvPr/>
            </p:nvSpPr>
            <p:spPr>
              <a:xfrm>
                <a:off x="7619714" y="2859404"/>
                <a:ext cx="41243" cy="158972"/>
              </a:xfrm>
              <a:custGeom>
                <a:avLst/>
                <a:gdLst>
                  <a:gd name="connsiteX0" fmla="*/ 41243 w 41243"/>
                  <a:gd name="connsiteY0" fmla="*/ 79439 h 158972"/>
                  <a:gd name="connsiteX1" fmla="*/ 0 w 41243"/>
                  <a:gd name="connsiteY1" fmla="*/ 0 h 158972"/>
                  <a:gd name="connsiteX2" fmla="*/ 0 w 41243"/>
                  <a:gd name="connsiteY2" fmla="*/ 158972 h 158972"/>
                  <a:gd name="connsiteX3" fmla="*/ 41243 w 41243"/>
                  <a:gd name="connsiteY3" fmla="*/ 79439 h 158972"/>
                </a:gdLst>
                <a:ahLst/>
                <a:cxnLst>
                  <a:cxn ang="0">
                    <a:pos x="connsiteX0" y="connsiteY0"/>
                  </a:cxn>
                  <a:cxn ang="0">
                    <a:pos x="connsiteX1" y="connsiteY1"/>
                  </a:cxn>
                  <a:cxn ang="0">
                    <a:pos x="connsiteX2" y="connsiteY2"/>
                  </a:cxn>
                  <a:cxn ang="0">
                    <a:pos x="connsiteX3" y="connsiteY3"/>
                  </a:cxn>
                </a:cxnLst>
                <a:rect l="l" t="t" r="r" b="b"/>
                <a:pathLst>
                  <a:path w="41243" h="158972">
                    <a:moveTo>
                      <a:pt x="41243" y="79439"/>
                    </a:moveTo>
                    <a:cubicBezTo>
                      <a:pt x="41243" y="35528"/>
                      <a:pt x="0" y="0"/>
                      <a:pt x="0" y="0"/>
                    </a:cubicBezTo>
                    <a:lnTo>
                      <a:pt x="0" y="158972"/>
                    </a:lnTo>
                    <a:cubicBezTo>
                      <a:pt x="-95" y="158972"/>
                      <a:pt x="41243" y="123349"/>
                      <a:pt x="41243" y="79439"/>
                    </a:cubicBezTo>
                    <a:close/>
                  </a:path>
                </a:pathLst>
              </a:custGeom>
              <a:solidFill>
                <a:srgbClr val="E6E7E8">
                  <a:alpha val="25000"/>
                </a:srgb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sp>
          <p:nvSpPr>
            <p:cNvPr id="64" name="Freeform: Shape 65">
              <a:extLst>
                <a:ext uri="{FF2B5EF4-FFF2-40B4-BE49-F238E27FC236}">
                  <a16:creationId xmlns:a16="http://schemas.microsoft.com/office/drawing/2014/main" id="{14600005-B903-43AB-A05F-E6F82110ABA6}"/>
                </a:ext>
              </a:extLst>
            </p:cNvPr>
            <p:cNvSpPr/>
            <p:nvPr/>
          </p:nvSpPr>
          <p:spPr>
            <a:xfrm rot="18900000">
              <a:off x="10605941" y="2842602"/>
              <a:ext cx="618696" cy="35222"/>
            </a:xfrm>
            <a:custGeom>
              <a:avLst/>
              <a:gdLst>
                <a:gd name="connsiteX0" fmla="*/ 0 w 334610"/>
                <a:gd name="connsiteY0" fmla="*/ 0 h 19049"/>
                <a:gd name="connsiteX1" fmla="*/ 334610 w 334610"/>
                <a:gd name="connsiteY1" fmla="*/ 0 h 19049"/>
                <a:gd name="connsiteX2" fmla="*/ 334610 w 334610"/>
                <a:gd name="connsiteY2" fmla="*/ 19050 h 19049"/>
                <a:gd name="connsiteX3" fmla="*/ 0 w 334610"/>
                <a:gd name="connsiteY3" fmla="*/ 19050 h 19049"/>
              </a:gdLst>
              <a:ahLst/>
              <a:cxnLst>
                <a:cxn ang="0">
                  <a:pos x="connsiteX0" y="connsiteY0"/>
                </a:cxn>
                <a:cxn ang="0">
                  <a:pos x="connsiteX1" y="connsiteY1"/>
                </a:cxn>
                <a:cxn ang="0">
                  <a:pos x="connsiteX2" y="connsiteY2"/>
                </a:cxn>
                <a:cxn ang="0">
                  <a:pos x="connsiteX3" y="connsiteY3"/>
                </a:cxn>
              </a:cxnLst>
              <a:rect l="l" t="t" r="r" b="b"/>
              <a:pathLst>
                <a:path w="334610" h="19049">
                  <a:moveTo>
                    <a:pt x="0" y="0"/>
                  </a:moveTo>
                  <a:lnTo>
                    <a:pt x="334610" y="0"/>
                  </a:lnTo>
                  <a:lnTo>
                    <a:pt x="334610" y="19050"/>
                  </a:lnTo>
                  <a:lnTo>
                    <a:pt x="0" y="19050"/>
                  </a:lnTo>
                  <a:close/>
                </a:path>
              </a:pathLst>
            </a:custGeom>
            <a:solidFill>
              <a:srgbClr val="6B4B2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nvGrpSpPr>
            <p:cNvPr id="65" name="Graphic 7">
              <a:extLst>
                <a:ext uri="{FF2B5EF4-FFF2-40B4-BE49-F238E27FC236}">
                  <a16:creationId xmlns:a16="http://schemas.microsoft.com/office/drawing/2014/main" id="{15E5B254-98C0-4667-AA4B-50598C60A24F}"/>
                </a:ext>
              </a:extLst>
            </p:cNvPr>
            <p:cNvGrpSpPr/>
            <p:nvPr/>
          </p:nvGrpSpPr>
          <p:grpSpPr>
            <a:xfrm>
              <a:off x="11104058" y="2369215"/>
              <a:ext cx="306487" cy="306487"/>
              <a:chOff x="7968079" y="2713993"/>
              <a:chExt cx="165758" cy="165758"/>
            </a:xfrm>
          </p:grpSpPr>
          <p:sp>
            <p:nvSpPr>
              <p:cNvPr id="86" name="Freeform: Shape 87">
                <a:extLst>
                  <a:ext uri="{FF2B5EF4-FFF2-40B4-BE49-F238E27FC236}">
                    <a16:creationId xmlns:a16="http://schemas.microsoft.com/office/drawing/2014/main" id="{B832C01A-32A7-463F-8BAE-FE4F7DA49BCA}"/>
                  </a:ext>
                </a:extLst>
              </p:cNvPr>
              <p:cNvSpPr/>
              <p:nvPr/>
            </p:nvSpPr>
            <p:spPr>
              <a:xfrm>
                <a:off x="7968079" y="2713993"/>
                <a:ext cx="165758" cy="165758"/>
              </a:xfrm>
              <a:custGeom>
                <a:avLst/>
                <a:gdLst>
                  <a:gd name="connsiteX0" fmla="*/ 39969 w 165758"/>
                  <a:gd name="connsiteY0" fmla="*/ 39969 h 165758"/>
                  <a:gd name="connsiteX1" fmla="*/ 250 w 165758"/>
                  <a:gd name="connsiteY1" fmla="*/ 165508 h 165758"/>
                  <a:gd name="connsiteX2" fmla="*/ 125789 w 165758"/>
                  <a:gd name="connsiteY2" fmla="*/ 125789 h 165758"/>
                  <a:gd name="connsiteX3" fmla="*/ 165509 w 165758"/>
                  <a:gd name="connsiteY3" fmla="*/ 250 h 165758"/>
                  <a:gd name="connsiteX4" fmla="*/ 39969 w 165758"/>
                  <a:gd name="connsiteY4" fmla="*/ 39969 h 1657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5758" h="165758">
                    <a:moveTo>
                      <a:pt x="39969" y="39969"/>
                    </a:moveTo>
                    <a:cubicBezTo>
                      <a:pt x="-5656" y="85594"/>
                      <a:pt x="250" y="165508"/>
                      <a:pt x="250" y="165508"/>
                    </a:cubicBezTo>
                    <a:cubicBezTo>
                      <a:pt x="250" y="165508"/>
                      <a:pt x="80164" y="171414"/>
                      <a:pt x="125789" y="125789"/>
                    </a:cubicBezTo>
                    <a:cubicBezTo>
                      <a:pt x="171414" y="80164"/>
                      <a:pt x="165509" y="250"/>
                      <a:pt x="165509" y="250"/>
                    </a:cubicBezTo>
                    <a:cubicBezTo>
                      <a:pt x="165509" y="250"/>
                      <a:pt x="85594" y="-5656"/>
                      <a:pt x="39969" y="39969"/>
                    </a:cubicBezTo>
                    <a:close/>
                  </a:path>
                </a:pathLst>
              </a:custGeom>
              <a:solidFill>
                <a:srgbClr val="8DB936"/>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87" name="Freeform: Shape 88">
                <a:extLst>
                  <a:ext uri="{FF2B5EF4-FFF2-40B4-BE49-F238E27FC236}">
                    <a16:creationId xmlns:a16="http://schemas.microsoft.com/office/drawing/2014/main" id="{C7D66FF9-49AD-4509-B686-87FABBCFB79A}"/>
                  </a:ext>
                </a:extLst>
              </p:cNvPr>
              <p:cNvSpPr/>
              <p:nvPr/>
            </p:nvSpPr>
            <p:spPr>
              <a:xfrm>
                <a:off x="7968079" y="2713993"/>
                <a:ext cx="165508" cy="165508"/>
              </a:xfrm>
              <a:custGeom>
                <a:avLst/>
                <a:gdLst>
                  <a:gd name="connsiteX0" fmla="*/ 39969 w 165508"/>
                  <a:gd name="connsiteY0" fmla="*/ 39969 h 165508"/>
                  <a:gd name="connsiteX1" fmla="*/ 165509 w 165508"/>
                  <a:gd name="connsiteY1" fmla="*/ 250 h 165508"/>
                  <a:gd name="connsiteX2" fmla="*/ 250 w 165508"/>
                  <a:gd name="connsiteY2" fmla="*/ 165508 h 165508"/>
                  <a:gd name="connsiteX3" fmla="*/ 39969 w 165508"/>
                  <a:gd name="connsiteY3" fmla="*/ 39969 h 165508"/>
                </a:gdLst>
                <a:ahLst/>
                <a:cxnLst>
                  <a:cxn ang="0">
                    <a:pos x="connsiteX0" y="connsiteY0"/>
                  </a:cxn>
                  <a:cxn ang="0">
                    <a:pos x="connsiteX1" y="connsiteY1"/>
                  </a:cxn>
                  <a:cxn ang="0">
                    <a:pos x="connsiteX2" y="connsiteY2"/>
                  </a:cxn>
                  <a:cxn ang="0">
                    <a:pos x="connsiteX3" y="connsiteY3"/>
                  </a:cxn>
                </a:cxnLst>
                <a:rect l="l" t="t" r="r" b="b"/>
                <a:pathLst>
                  <a:path w="165508" h="165508">
                    <a:moveTo>
                      <a:pt x="39969" y="39969"/>
                    </a:moveTo>
                    <a:cubicBezTo>
                      <a:pt x="85594" y="-5656"/>
                      <a:pt x="165509" y="250"/>
                      <a:pt x="165509" y="250"/>
                    </a:cubicBezTo>
                    <a:lnTo>
                      <a:pt x="250" y="165508"/>
                    </a:lnTo>
                    <a:cubicBezTo>
                      <a:pt x="250" y="165508"/>
                      <a:pt x="-5656" y="85689"/>
                      <a:pt x="39969" y="39969"/>
                    </a:cubicBezTo>
                    <a:close/>
                  </a:path>
                </a:pathLst>
              </a:custGeom>
              <a:solidFill>
                <a:srgbClr val="E6E7E8">
                  <a:alpha val="25000"/>
                </a:srgb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sp>
          <p:nvSpPr>
            <p:cNvPr id="66" name="Freeform: Shape 67">
              <a:extLst>
                <a:ext uri="{FF2B5EF4-FFF2-40B4-BE49-F238E27FC236}">
                  <a16:creationId xmlns:a16="http://schemas.microsoft.com/office/drawing/2014/main" id="{BC484A42-B17B-4863-9A19-973971E87AC1}"/>
                </a:ext>
              </a:extLst>
            </p:cNvPr>
            <p:cNvSpPr/>
            <p:nvPr/>
          </p:nvSpPr>
          <p:spPr>
            <a:xfrm>
              <a:off x="10916073" y="2634912"/>
              <a:ext cx="35224" cy="207290"/>
            </a:xfrm>
            <a:custGeom>
              <a:avLst/>
              <a:gdLst>
                <a:gd name="connsiteX0" fmla="*/ 0 w 19050"/>
                <a:gd name="connsiteY0" fmla="*/ 0 h 112109"/>
                <a:gd name="connsiteX1" fmla="*/ 19050 w 19050"/>
                <a:gd name="connsiteY1" fmla="*/ 0 h 112109"/>
                <a:gd name="connsiteX2" fmla="*/ 19050 w 19050"/>
                <a:gd name="connsiteY2" fmla="*/ 112109 h 112109"/>
                <a:gd name="connsiteX3" fmla="*/ 0 w 19050"/>
                <a:gd name="connsiteY3" fmla="*/ 112109 h 112109"/>
              </a:gdLst>
              <a:ahLst/>
              <a:cxnLst>
                <a:cxn ang="0">
                  <a:pos x="connsiteX0" y="connsiteY0"/>
                </a:cxn>
                <a:cxn ang="0">
                  <a:pos x="connsiteX1" y="connsiteY1"/>
                </a:cxn>
                <a:cxn ang="0">
                  <a:pos x="connsiteX2" y="connsiteY2"/>
                </a:cxn>
                <a:cxn ang="0">
                  <a:pos x="connsiteX3" y="connsiteY3"/>
                </a:cxn>
              </a:cxnLst>
              <a:rect l="l" t="t" r="r" b="b"/>
              <a:pathLst>
                <a:path w="19050" h="112109">
                  <a:moveTo>
                    <a:pt x="0" y="0"/>
                  </a:moveTo>
                  <a:lnTo>
                    <a:pt x="19050" y="0"/>
                  </a:lnTo>
                  <a:lnTo>
                    <a:pt x="19050" y="112109"/>
                  </a:lnTo>
                  <a:lnTo>
                    <a:pt x="0" y="112109"/>
                  </a:lnTo>
                  <a:close/>
                </a:path>
              </a:pathLst>
            </a:custGeom>
            <a:solidFill>
              <a:srgbClr val="6B4B2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nvGrpSpPr>
            <p:cNvPr id="67" name="Graphic 7">
              <a:extLst>
                <a:ext uri="{FF2B5EF4-FFF2-40B4-BE49-F238E27FC236}">
                  <a16:creationId xmlns:a16="http://schemas.microsoft.com/office/drawing/2014/main" id="{4C075C62-10FB-408F-915D-5C9F5AF105FE}"/>
                </a:ext>
              </a:extLst>
            </p:cNvPr>
            <p:cNvGrpSpPr/>
            <p:nvPr/>
          </p:nvGrpSpPr>
          <p:grpSpPr>
            <a:xfrm>
              <a:off x="10857427" y="2375489"/>
              <a:ext cx="152517" cy="293940"/>
              <a:chOff x="7834693" y="2717386"/>
              <a:chExt cx="82486" cy="158972"/>
            </a:xfrm>
          </p:grpSpPr>
          <p:sp>
            <p:nvSpPr>
              <p:cNvPr id="84" name="Freeform: Shape 85">
                <a:extLst>
                  <a:ext uri="{FF2B5EF4-FFF2-40B4-BE49-F238E27FC236}">
                    <a16:creationId xmlns:a16="http://schemas.microsoft.com/office/drawing/2014/main" id="{03F8F238-B0E7-47EB-8E40-FA0DD297FAF9}"/>
                  </a:ext>
                </a:extLst>
              </p:cNvPr>
              <p:cNvSpPr/>
              <p:nvPr/>
            </p:nvSpPr>
            <p:spPr>
              <a:xfrm>
                <a:off x="7834693" y="2717386"/>
                <a:ext cx="82486" cy="158877"/>
              </a:xfrm>
              <a:custGeom>
                <a:avLst/>
                <a:gdLst>
                  <a:gd name="connsiteX0" fmla="*/ 0 w 82486"/>
                  <a:gd name="connsiteY0" fmla="*/ 79439 h 158877"/>
                  <a:gd name="connsiteX1" fmla="*/ 41243 w 82486"/>
                  <a:gd name="connsiteY1" fmla="*/ 158877 h 158877"/>
                  <a:gd name="connsiteX2" fmla="*/ 82487 w 82486"/>
                  <a:gd name="connsiteY2" fmla="*/ 79439 h 158877"/>
                  <a:gd name="connsiteX3" fmla="*/ 41243 w 82486"/>
                  <a:gd name="connsiteY3" fmla="*/ 0 h 158877"/>
                  <a:gd name="connsiteX4" fmla="*/ 0 w 82486"/>
                  <a:gd name="connsiteY4" fmla="*/ 79439 h 1588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486" h="158877">
                    <a:moveTo>
                      <a:pt x="0" y="79439"/>
                    </a:moveTo>
                    <a:cubicBezTo>
                      <a:pt x="0" y="123349"/>
                      <a:pt x="41243" y="158877"/>
                      <a:pt x="41243" y="158877"/>
                    </a:cubicBezTo>
                    <a:cubicBezTo>
                      <a:pt x="41243" y="158877"/>
                      <a:pt x="82487" y="123253"/>
                      <a:pt x="82487" y="79439"/>
                    </a:cubicBezTo>
                    <a:cubicBezTo>
                      <a:pt x="82487" y="35623"/>
                      <a:pt x="41243" y="0"/>
                      <a:pt x="41243" y="0"/>
                    </a:cubicBezTo>
                    <a:cubicBezTo>
                      <a:pt x="41243" y="0"/>
                      <a:pt x="0" y="35528"/>
                      <a:pt x="0" y="79439"/>
                    </a:cubicBezTo>
                    <a:close/>
                  </a:path>
                </a:pathLst>
              </a:custGeom>
              <a:solidFill>
                <a:srgbClr val="8DB936"/>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85" name="Freeform: Shape 86">
                <a:extLst>
                  <a:ext uri="{FF2B5EF4-FFF2-40B4-BE49-F238E27FC236}">
                    <a16:creationId xmlns:a16="http://schemas.microsoft.com/office/drawing/2014/main" id="{DEA6076D-AAC2-41E8-B911-7968C2951A7E}"/>
                  </a:ext>
                </a:extLst>
              </p:cNvPr>
              <p:cNvSpPr/>
              <p:nvPr/>
            </p:nvSpPr>
            <p:spPr>
              <a:xfrm>
                <a:off x="7834693" y="2717386"/>
                <a:ext cx="41243" cy="158972"/>
              </a:xfrm>
              <a:custGeom>
                <a:avLst/>
                <a:gdLst>
                  <a:gd name="connsiteX0" fmla="*/ 0 w 41243"/>
                  <a:gd name="connsiteY0" fmla="*/ 79439 h 158972"/>
                  <a:gd name="connsiteX1" fmla="*/ 41243 w 41243"/>
                  <a:gd name="connsiteY1" fmla="*/ 0 h 158972"/>
                  <a:gd name="connsiteX2" fmla="*/ 41243 w 41243"/>
                  <a:gd name="connsiteY2" fmla="*/ 158972 h 158972"/>
                  <a:gd name="connsiteX3" fmla="*/ 0 w 41243"/>
                  <a:gd name="connsiteY3" fmla="*/ 79439 h 158972"/>
                </a:gdLst>
                <a:ahLst/>
                <a:cxnLst>
                  <a:cxn ang="0">
                    <a:pos x="connsiteX0" y="connsiteY0"/>
                  </a:cxn>
                  <a:cxn ang="0">
                    <a:pos x="connsiteX1" y="connsiteY1"/>
                  </a:cxn>
                  <a:cxn ang="0">
                    <a:pos x="connsiteX2" y="connsiteY2"/>
                  </a:cxn>
                  <a:cxn ang="0">
                    <a:pos x="connsiteX3" y="connsiteY3"/>
                  </a:cxn>
                </a:cxnLst>
                <a:rect l="l" t="t" r="r" b="b"/>
                <a:pathLst>
                  <a:path w="41243" h="158972">
                    <a:moveTo>
                      <a:pt x="0" y="79439"/>
                    </a:moveTo>
                    <a:cubicBezTo>
                      <a:pt x="0" y="35528"/>
                      <a:pt x="41243" y="0"/>
                      <a:pt x="41243" y="0"/>
                    </a:cubicBezTo>
                    <a:lnTo>
                      <a:pt x="41243" y="158972"/>
                    </a:lnTo>
                    <a:cubicBezTo>
                      <a:pt x="41243" y="158877"/>
                      <a:pt x="0" y="123349"/>
                      <a:pt x="0" y="79439"/>
                    </a:cubicBezTo>
                    <a:close/>
                  </a:path>
                </a:pathLst>
              </a:custGeom>
              <a:solidFill>
                <a:srgbClr val="E6E7E8">
                  <a:alpha val="25000"/>
                </a:srgb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sp>
          <p:nvSpPr>
            <p:cNvPr id="68" name="Freeform: Shape 69">
              <a:extLst>
                <a:ext uri="{FF2B5EF4-FFF2-40B4-BE49-F238E27FC236}">
                  <a16:creationId xmlns:a16="http://schemas.microsoft.com/office/drawing/2014/main" id="{4BC5098A-344F-406B-A7A9-755C16CA13B4}"/>
                </a:ext>
              </a:extLst>
            </p:cNvPr>
            <p:cNvSpPr/>
            <p:nvPr/>
          </p:nvSpPr>
          <p:spPr>
            <a:xfrm rot="18900000">
              <a:off x="10614848" y="3174933"/>
              <a:ext cx="557054" cy="35222"/>
            </a:xfrm>
            <a:custGeom>
              <a:avLst/>
              <a:gdLst>
                <a:gd name="connsiteX0" fmla="*/ 0 w 301272"/>
                <a:gd name="connsiteY0" fmla="*/ 0 h 19049"/>
                <a:gd name="connsiteX1" fmla="*/ 301273 w 301272"/>
                <a:gd name="connsiteY1" fmla="*/ 0 h 19049"/>
                <a:gd name="connsiteX2" fmla="*/ 301273 w 301272"/>
                <a:gd name="connsiteY2" fmla="*/ 19050 h 19049"/>
                <a:gd name="connsiteX3" fmla="*/ 0 w 301272"/>
                <a:gd name="connsiteY3" fmla="*/ 19050 h 19049"/>
              </a:gdLst>
              <a:ahLst/>
              <a:cxnLst>
                <a:cxn ang="0">
                  <a:pos x="connsiteX0" y="connsiteY0"/>
                </a:cxn>
                <a:cxn ang="0">
                  <a:pos x="connsiteX1" y="connsiteY1"/>
                </a:cxn>
                <a:cxn ang="0">
                  <a:pos x="connsiteX2" y="connsiteY2"/>
                </a:cxn>
                <a:cxn ang="0">
                  <a:pos x="connsiteX3" y="connsiteY3"/>
                </a:cxn>
              </a:cxnLst>
              <a:rect l="l" t="t" r="r" b="b"/>
              <a:pathLst>
                <a:path w="301272" h="19049">
                  <a:moveTo>
                    <a:pt x="0" y="0"/>
                  </a:moveTo>
                  <a:lnTo>
                    <a:pt x="301273" y="0"/>
                  </a:lnTo>
                  <a:lnTo>
                    <a:pt x="301273" y="19050"/>
                  </a:lnTo>
                  <a:lnTo>
                    <a:pt x="0" y="19050"/>
                  </a:lnTo>
                  <a:close/>
                </a:path>
              </a:pathLst>
            </a:custGeom>
            <a:solidFill>
              <a:srgbClr val="6B4B2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nvGrpSpPr>
            <p:cNvPr id="69" name="Graphic 7">
              <a:extLst>
                <a:ext uri="{FF2B5EF4-FFF2-40B4-BE49-F238E27FC236}">
                  <a16:creationId xmlns:a16="http://schemas.microsoft.com/office/drawing/2014/main" id="{3478238D-D3A2-43C7-8201-139465E0E0F7}"/>
                </a:ext>
              </a:extLst>
            </p:cNvPr>
            <p:cNvGrpSpPr/>
            <p:nvPr/>
          </p:nvGrpSpPr>
          <p:grpSpPr>
            <a:xfrm>
              <a:off x="11048908" y="2827802"/>
              <a:ext cx="208438" cy="208438"/>
              <a:chOff x="7938252" y="2962011"/>
              <a:chExt cx="112730" cy="112730"/>
            </a:xfrm>
          </p:grpSpPr>
          <p:sp>
            <p:nvSpPr>
              <p:cNvPr id="82" name="Freeform: Shape 83">
                <a:extLst>
                  <a:ext uri="{FF2B5EF4-FFF2-40B4-BE49-F238E27FC236}">
                    <a16:creationId xmlns:a16="http://schemas.microsoft.com/office/drawing/2014/main" id="{490F7362-F1A8-4F92-B43B-622616A947D7}"/>
                  </a:ext>
                </a:extLst>
              </p:cNvPr>
              <p:cNvSpPr/>
              <p:nvPr/>
            </p:nvSpPr>
            <p:spPr>
              <a:xfrm>
                <a:off x="7938252" y="2962011"/>
                <a:ext cx="112730" cy="112730"/>
              </a:xfrm>
              <a:custGeom>
                <a:avLst/>
                <a:gdLst>
                  <a:gd name="connsiteX0" fmla="*/ 85512 w 112730"/>
                  <a:gd name="connsiteY0" fmla="*/ 85512 h 112730"/>
                  <a:gd name="connsiteX1" fmla="*/ 168 w 112730"/>
                  <a:gd name="connsiteY1" fmla="*/ 112563 h 112730"/>
                  <a:gd name="connsiteX2" fmla="*/ 27219 w 112730"/>
                  <a:gd name="connsiteY2" fmla="*/ 27219 h 112730"/>
                  <a:gd name="connsiteX3" fmla="*/ 112563 w 112730"/>
                  <a:gd name="connsiteY3" fmla="*/ 168 h 112730"/>
                  <a:gd name="connsiteX4" fmla="*/ 85512 w 112730"/>
                  <a:gd name="connsiteY4" fmla="*/ 85512 h 1127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2730" h="112730">
                    <a:moveTo>
                      <a:pt x="85512" y="85512"/>
                    </a:moveTo>
                    <a:cubicBezTo>
                      <a:pt x="54461" y="116563"/>
                      <a:pt x="168" y="112563"/>
                      <a:pt x="168" y="112563"/>
                    </a:cubicBezTo>
                    <a:cubicBezTo>
                      <a:pt x="168" y="112563"/>
                      <a:pt x="-3832" y="58175"/>
                      <a:pt x="27219" y="27219"/>
                    </a:cubicBezTo>
                    <a:cubicBezTo>
                      <a:pt x="58270" y="-3833"/>
                      <a:pt x="112563" y="168"/>
                      <a:pt x="112563" y="168"/>
                    </a:cubicBezTo>
                    <a:cubicBezTo>
                      <a:pt x="112563" y="168"/>
                      <a:pt x="116563" y="54460"/>
                      <a:pt x="85512" y="85512"/>
                    </a:cubicBezTo>
                    <a:close/>
                  </a:path>
                </a:pathLst>
              </a:custGeom>
              <a:solidFill>
                <a:srgbClr val="8DB936"/>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83" name="Freeform: Shape 84">
                <a:extLst>
                  <a:ext uri="{FF2B5EF4-FFF2-40B4-BE49-F238E27FC236}">
                    <a16:creationId xmlns:a16="http://schemas.microsoft.com/office/drawing/2014/main" id="{C4353A9A-EC5B-46AE-9E76-92AACAF30E7B}"/>
                  </a:ext>
                </a:extLst>
              </p:cNvPr>
              <p:cNvSpPr/>
              <p:nvPr/>
            </p:nvSpPr>
            <p:spPr>
              <a:xfrm>
                <a:off x="7938420" y="2962179"/>
                <a:ext cx="112563" cy="112562"/>
              </a:xfrm>
              <a:custGeom>
                <a:avLst/>
                <a:gdLst>
                  <a:gd name="connsiteX0" fmla="*/ 85344 w 112563"/>
                  <a:gd name="connsiteY0" fmla="*/ 85344 h 112562"/>
                  <a:gd name="connsiteX1" fmla="*/ 112395 w 112563"/>
                  <a:gd name="connsiteY1" fmla="*/ 0 h 112562"/>
                  <a:gd name="connsiteX2" fmla="*/ 0 w 112563"/>
                  <a:gd name="connsiteY2" fmla="*/ 112395 h 112562"/>
                  <a:gd name="connsiteX3" fmla="*/ 85344 w 112563"/>
                  <a:gd name="connsiteY3" fmla="*/ 85344 h 112562"/>
                </a:gdLst>
                <a:ahLst/>
                <a:cxnLst>
                  <a:cxn ang="0">
                    <a:pos x="connsiteX0" y="connsiteY0"/>
                  </a:cxn>
                  <a:cxn ang="0">
                    <a:pos x="connsiteX1" y="connsiteY1"/>
                  </a:cxn>
                  <a:cxn ang="0">
                    <a:pos x="connsiteX2" y="connsiteY2"/>
                  </a:cxn>
                  <a:cxn ang="0">
                    <a:pos x="connsiteX3" y="connsiteY3"/>
                  </a:cxn>
                </a:cxnLst>
                <a:rect l="l" t="t" r="r" b="b"/>
                <a:pathLst>
                  <a:path w="112563" h="112562">
                    <a:moveTo>
                      <a:pt x="85344" y="85344"/>
                    </a:moveTo>
                    <a:cubicBezTo>
                      <a:pt x="116396" y="54293"/>
                      <a:pt x="112395" y="0"/>
                      <a:pt x="112395" y="0"/>
                    </a:cubicBezTo>
                    <a:lnTo>
                      <a:pt x="0" y="112395"/>
                    </a:lnTo>
                    <a:cubicBezTo>
                      <a:pt x="-95" y="112395"/>
                      <a:pt x="54293" y="116396"/>
                      <a:pt x="85344" y="85344"/>
                    </a:cubicBezTo>
                    <a:close/>
                  </a:path>
                </a:pathLst>
              </a:custGeom>
              <a:solidFill>
                <a:srgbClr val="E6E7E8">
                  <a:alpha val="25000"/>
                </a:srgb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sp>
          <p:nvSpPr>
            <p:cNvPr id="70" name="Freeform: Shape 71">
              <a:extLst>
                <a:ext uri="{FF2B5EF4-FFF2-40B4-BE49-F238E27FC236}">
                  <a16:creationId xmlns:a16="http://schemas.microsoft.com/office/drawing/2014/main" id="{CB14E659-9FA5-4971-A64B-6DB407794854}"/>
                </a:ext>
              </a:extLst>
            </p:cNvPr>
            <p:cNvSpPr/>
            <p:nvPr/>
          </p:nvSpPr>
          <p:spPr>
            <a:xfrm>
              <a:off x="10696807" y="2453863"/>
              <a:ext cx="100562" cy="143183"/>
            </a:xfrm>
            <a:custGeom>
              <a:avLst/>
              <a:gdLst>
                <a:gd name="connsiteX0" fmla="*/ 0 w 54387"/>
                <a:gd name="connsiteY0" fmla="*/ 0 h 77438"/>
                <a:gd name="connsiteX1" fmla="*/ 0 w 54387"/>
                <a:gd name="connsiteY1" fmla="*/ 77438 h 77438"/>
                <a:gd name="connsiteX2" fmla="*/ 54388 w 54387"/>
                <a:gd name="connsiteY2" fmla="*/ 29051 h 77438"/>
                <a:gd name="connsiteX3" fmla="*/ 18288 w 54387"/>
                <a:gd name="connsiteY3" fmla="*/ 34195 h 77438"/>
                <a:gd name="connsiteX4" fmla="*/ 0 w 54387"/>
                <a:gd name="connsiteY4" fmla="*/ 0 h 774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387" h="77438">
                  <a:moveTo>
                    <a:pt x="0" y="0"/>
                  </a:moveTo>
                  <a:lnTo>
                    <a:pt x="0" y="77438"/>
                  </a:lnTo>
                  <a:cubicBezTo>
                    <a:pt x="0" y="77438"/>
                    <a:pt x="24193" y="62770"/>
                    <a:pt x="54388" y="29051"/>
                  </a:cubicBezTo>
                  <a:cubicBezTo>
                    <a:pt x="54388" y="29051"/>
                    <a:pt x="32575" y="26670"/>
                    <a:pt x="18288" y="34195"/>
                  </a:cubicBezTo>
                  <a:cubicBezTo>
                    <a:pt x="18192" y="34195"/>
                    <a:pt x="15049" y="17907"/>
                    <a:pt x="0" y="0"/>
                  </a:cubicBezTo>
                  <a:close/>
                </a:path>
              </a:pathLst>
            </a:custGeom>
            <a:solidFill>
              <a:srgbClr val="86AA2E"/>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71" name="Freeform: Shape 72">
              <a:extLst>
                <a:ext uri="{FF2B5EF4-FFF2-40B4-BE49-F238E27FC236}">
                  <a16:creationId xmlns:a16="http://schemas.microsoft.com/office/drawing/2014/main" id="{DC32D140-8A29-4968-9F59-92D2F2F862C1}"/>
                </a:ext>
              </a:extLst>
            </p:cNvPr>
            <p:cNvSpPr/>
            <p:nvPr/>
          </p:nvSpPr>
          <p:spPr>
            <a:xfrm>
              <a:off x="10596243" y="2453863"/>
              <a:ext cx="100562" cy="143183"/>
            </a:xfrm>
            <a:custGeom>
              <a:avLst/>
              <a:gdLst>
                <a:gd name="connsiteX0" fmla="*/ 54388 w 54387"/>
                <a:gd name="connsiteY0" fmla="*/ 0 h 77438"/>
                <a:gd name="connsiteX1" fmla="*/ 54388 w 54387"/>
                <a:gd name="connsiteY1" fmla="*/ 77438 h 77438"/>
                <a:gd name="connsiteX2" fmla="*/ 0 w 54387"/>
                <a:gd name="connsiteY2" fmla="*/ 29051 h 77438"/>
                <a:gd name="connsiteX3" fmla="*/ 36100 w 54387"/>
                <a:gd name="connsiteY3" fmla="*/ 34195 h 77438"/>
                <a:gd name="connsiteX4" fmla="*/ 54388 w 54387"/>
                <a:gd name="connsiteY4" fmla="*/ 0 h 774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387" h="77438">
                  <a:moveTo>
                    <a:pt x="54388" y="0"/>
                  </a:moveTo>
                  <a:lnTo>
                    <a:pt x="54388" y="77438"/>
                  </a:lnTo>
                  <a:cubicBezTo>
                    <a:pt x="54388" y="77438"/>
                    <a:pt x="30194" y="62770"/>
                    <a:pt x="0" y="29051"/>
                  </a:cubicBezTo>
                  <a:cubicBezTo>
                    <a:pt x="0" y="29051"/>
                    <a:pt x="21812" y="26670"/>
                    <a:pt x="36100" y="34195"/>
                  </a:cubicBezTo>
                  <a:cubicBezTo>
                    <a:pt x="36100" y="34195"/>
                    <a:pt x="39243" y="17907"/>
                    <a:pt x="54388" y="0"/>
                  </a:cubicBezTo>
                  <a:close/>
                </a:path>
              </a:pathLst>
            </a:custGeom>
            <a:solidFill>
              <a:srgbClr val="8DB936"/>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72" name="TextBox 73">
              <a:extLst>
                <a:ext uri="{FF2B5EF4-FFF2-40B4-BE49-F238E27FC236}">
                  <a16:creationId xmlns:a16="http://schemas.microsoft.com/office/drawing/2014/main" id="{90A6370F-F7E5-4706-B922-07B7A07BA59D}"/>
                </a:ext>
              </a:extLst>
            </p:cNvPr>
            <p:cNvSpPr txBox="1"/>
            <p:nvPr/>
          </p:nvSpPr>
          <p:spPr>
            <a:xfrm>
              <a:off x="3989559" y="3482091"/>
              <a:ext cx="1053384" cy="307777"/>
            </a:xfrm>
            <a:prstGeom prst="rect">
              <a:avLst/>
            </a:prstGeom>
            <a:noFill/>
          </p:spPr>
          <p:txBody>
            <a:bodyPr wrap="square" rtlCol="0" anchor="b">
              <a:spAutoFit/>
            </a:bodyPr>
            <a:lstStyle>
              <a:defPPr>
                <a:defRPr lang="en-US"/>
              </a:defPPr>
              <a:lvl1pPr>
                <a:defRPr sz="1200">
                  <a:solidFill>
                    <a:schemeClr val="tx1">
                      <a:lumMod val="65000"/>
                      <a:lumOff val="35000"/>
                    </a:schemeClr>
                  </a:solidFill>
                  <a:latin typeface="Calibri" panose="020F050202020403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300" normalizeH="0" baseline="0" noProof="0" dirty="0">
                  <a:ln>
                    <a:noFill/>
                  </a:ln>
                  <a:solidFill>
                    <a:srgbClr val="FFD229"/>
                  </a:solidFill>
                  <a:effectLst/>
                  <a:uLnTx/>
                  <a:uFillTx/>
                  <a:latin typeface="Segoe UI" panose="020B0502040204020203" pitchFamily="34" charset="0"/>
                  <a:ea typeface="+mn-ea"/>
                  <a:cs typeface="Segoe UI" panose="020B0502040204020203" pitchFamily="34" charset="0"/>
                </a:rPr>
                <a:t>2018</a:t>
              </a:r>
            </a:p>
          </p:txBody>
        </p:sp>
        <p:sp>
          <p:nvSpPr>
            <p:cNvPr id="73" name="TextBox 74">
              <a:extLst>
                <a:ext uri="{FF2B5EF4-FFF2-40B4-BE49-F238E27FC236}">
                  <a16:creationId xmlns:a16="http://schemas.microsoft.com/office/drawing/2014/main" id="{D2F3E079-5830-4415-87AC-B17DF04918E5}"/>
                </a:ext>
              </a:extLst>
            </p:cNvPr>
            <p:cNvSpPr txBox="1"/>
            <p:nvPr/>
          </p:nvSpPr>
          <p:spPr>
            <a:xfrm>
              <a:off x="5550106" y="2931017"/>
              <a:ext cx="1053384" cy="307777"/>
            </a:xfrm>
            <a:prstGeom prst="rect">
              <a:avLst/>
            </a:prstGeom>
            <a:noFill/>
          </p:spPr>
          <p:txBody>
            <a:bodyPr wrap="square" rtlCol="0" anchor="b">
              <a:spAutoFit/>
            </a:bodyPr>
            <a:lstStyle>
              <a:defPPr>
                <a:defRPr lang="en-US"/>
              </a:defPPr>
              <a:lvl1pPr>
                <a:defRPr sz="1200">
                  <a:solidFill>
                    <a:schemeClr val="tx1">
                      <a:lumMod val="65000"/>
                      <a:lumOff val="35000"/>
                    </a:schemeClr>
                  </a:solidFill>
                  <a:latin typeface="Calibri" panose="020F050202020403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300" normalizeH="0" baseline="0" noProof="0" dirty="0">
                  <a:ln>
                    <a:noFill/>
                  </a:ln>
                  <a:solidFill>
                    <a:srgbClr val="FF4C38"/>
                  </a:solidFill>
                  <a:effectLst/>
                  <a:uLnTx/>
                  <a:uFillTx/>
                  <a:latin typeface="Segoe UI" panose="020B0502040204020203" pitchFamily="34" charset="0"/>
                  <a:ea typeface="+mn-ea"/>
                  <a:cs typeface="Segoe UI" panose="020B0502040204020203" pitchFamily="34" charset="0"/>
                </a:rPr>
                <a:t>2019</a:t>
              </a:r>
            </a:p>
          </p:txBody>
        </p:sp>
        <p:sp>
          <p:nvSpPr>
            <p:cNvPr id="74" name="TextBox 75">
              <a:extLst>
                <a:ext uri="{FF2B5EF4-FFF2-40B4-BE49-F238E27FC236}">
                  <a16:creationId xmlns:a16="http://schemas.microsoft.com/office/drawing/2014/main" id="{D3402B82-FC5B-447A-BE4C-F5B9A6FED634}"/>
                </a:ext>
              </a:extLst>
            </p:cNvPr>
            <p:cNvSpPr txBox="1"/>
            <p:nvPr/>
          </p:nvSpPr>
          <p:spPr>
            <a:xfrm>
              <a:off x="7056284" y="2752077"/>
              <a:ext cx="1053384" cy="307777"/>
            </a:xfrm>
            <a:prstGeom prst="rect">
              <a:avLst/>
            </a:prstGeom>
            <a:noFill/>
          </p:spPr>
          <p:txBody>
            <a:bodyPr wrap="square" rtlCol="0" anchor="b">
              <a:spAutoFit/>
            </a:bodyPr>
            <a:lstStyle>
              <a:defPPr>
                <a:defRPr lang="en-US"/>
              </a:defPPr>
              <a:lvl1pPr>
                <a:defRPr sz="1200">
                  <a:solidFill>
                    <a:schemeClr val="tx1">
                      <a:lumMod val="65000"/>
                      <a:lumOff val="35000"/>
                    </a:schemeClr>
                  </a:solidFill>
                  <a:latin typeface="Calibri" panose="020F050202020403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300" normalizeH="0" baseline="0" noProof="0" dirty="0">
                  <a:ln>
                    <a:noFill/>
                  </a:ln>
                  <a:solidFill>
                    <a:srgbClr val="FF388A"/>
                  </a:solidFill>
                  <a:effectLst/>
                  <a:uLnTx/>
                  <a:uFillTx/>
                  <a:latin typeface="Segoe UI" panose="020B0502040204020203" pitchFamily="34" charset="0"/>
                  <a:ea typeface="+mn-ea"/>
                  <a:cs typeface="Segoe UI" panose="020B0502040204020203" pitchFamily="34" charset="0"/>
                </a:rPr>
                <a:t>2020</a:t>
              </a:r>
            </a:p>
          </p:txBody>
        </p:sp>
        <p:sp>
          <p:nvSpPr>
            <p:cNvPr id="75" name="TextBox 76">
              <a:extLst>
                <a:ext uri="{FF2B5EF4-FFF2-40B4-BE49-F238E27FC236}">
                  <a16:creationId xmlns:a16="http://schemas.microsoft.com/office/drawing/2014/main" id="{5AACE4FB-1365-4561-B6A5-64D5946083B9}"/>
                </a:ext>
              </a:extLst>
            </p:cNvPr>
            <p:cNvSpPr txBox="1"/>
            <p:nvPr/>
          </p:nvSpPr>
          <p:spPr>
            <a:xfrm>
              <a:off x="8611072" y="2235175"/>
              <a:ext cx="1053384" cy="307777"/>
            </a:xfrm>
            <a:prstGeom prst="rect">
              <a:avLst/>
            </a:prstGeom>
            <a:noFill/>
          </p:spPr>
          <p:txBody>
            <a:bodyPr wrap="square" rtlCol="0" anchor="b">
              <a:spAutoFit/>
            </a:bodyPr>
            <a:lstStyle>
              <a:defPPr>
                <a:defRPr lang="en-US"/>
              </a:defPPr>
              <a:lvl1pPr>
                <a:defRPr sz="1200">
                  <a:solidFill>
                    <a:schemeClr val="tx1">
                      <a:lumMod val="65000"/>
                      <a:lumOff val="35000"/>
                    </a:schemeClr>
                  </a:solidFill>
                  <a:latin typeface="Calibri" panose="020F050202020403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300" normalizeH="0" baseline="0" noProof="0" dirty="0">
                  <a:ln>
                    <a:noFill/>
                  </a:ln>
                  <a:solidFill>
                    <a:srgbClr val="8F38FF"/>
                  </a:solidFill>
                  <a:effectLst/>
                  <a:uLnTx/>
                  <a:uFillTx/>
                  <a:latin typeface="Segoe UI" panose="020B0502040204020203" pitchFamily="34" charset="0"/>
                  <a:ea typeface="+mn-ea"/>
                  <a:cs typeface="Segoe UI" panose="020B0502040204020203" pitchFamily="34" charset="0"/>
                </a:rPr>
                <a:t>2021</a:t>
              </a:r>
            </a:p>
          </p:txBody>
        </p:sp>
        <p:sp>
          <p:nvSpPr>
            <p:cNvPr id="76" name="TextBox 77">
              <a:extLst>
                <a:ext uri="{FF2B5EF4-FFF2-40B4-BE49-F238E27FC236}">
                  <a16:creationId xmlns:a16="http://schemas.microsoft.com/office/drawing/2014/main" id="{EB98D0F8-6CE1-49C3-95B9-6C1BE4338126}"/>
                </a:ext>
              </a:extLst>
            </p:cNvPr>
            <p:cNvSpPr txBox="1"/>
            <p:nvPr/>
          </p:nvSpPr>
          <p:spPr>
            <a:xfrm>
              <a:off x="10151051" y="1134849"/>
              <a:ext cx="1053384" cy="307777"/>
            </a:xfrm>
            <a:prstGeom prst="rect">
              <a:avLst/>
            </a:prstGeom>
            <a:noFill/>
          </p:spPr>
          <p:txBody>
            <a:bodyPr wrap="square" rtlCol="0" anchor="b">
              <a:spAutoFit/>
            </a:bodyPr>
            <a:lstStyle>
              <a:defPPr>
                <a:defRPr lang="en-US"/>
              </a:defPPr>
              <a:lvl1pPr>
                <a:defRPr sz="1200">
                  <a:solidFill>
                    <a:schemeClr val="tx1">
                      <a:lumMod val="65000"/>
                      <a:lumOff val="35000"/>
                    </a:schemeClr>
                  </a:solidFill>
                  <a:latin typeface="Calibri" panose="020F050202020403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300" normalizeH="0" baseline="0" noProof="0" dirty="0">
                  <a:ln>
                    <a:noFill/>
                  </a:ln>
                  <a:solidFill>
                    <a:srgbClr val="00D99B"/>
                  </a:solidFill>
                  <a:effectLst/>
                  <a:uLnTx/>
                  <a:uFillTx/>
                  <a:latin typeface="Segoe UI" panose="020B0502040204020203" pitchFamily="34" charset="0"/>
                  <a:ea typeface="+mn-ea"/>
                  <a:cs typeface="Segoe UI" panose="020B0502040204020203" pitchFamily="34" charset="0"/>
                </a:rPr>
                <a:t>2022</a:t>
              </a:r>
            </a:p>
          </p:txBody>
        </p:sp>
        <p:sp>
          <p:nvSpPr>
            <p:cNvPr id="77" name="TextBox 78">
              <a:extLst>
                <a:ext uri="{FF2B5EF4-FFF2-40B4-BE49-F238E27FC236}">
                  <a16:creationId xmlns:a16="http://schemas.microsoft.com/office/drawing/2014/main" id="{71442E62-2DAF-4298-8E29-FACFC5674806}"/>
                </a:ext>
              </a:extLst>
            </p:cNvPr>
            <p:cNvSpPr txBox="1"/>
            <p:nvPr/>
          </p:nvSpPr>
          <p:spPr>
            <a:xfrm>
              <a:off x="3887856" y="2821216"/>
              <a:ext cx="1262501" cy="667555"/>
            </a:xfrm>
            <a:prstGeom prst="rect">
              <a:avLst/>
            </a:prstGeom>
            <a:noFill/>
          </p:spPr>
          <p:txBody>
            <a:bodyPr wrap="square" rtlCol="0">
              <a:spAutoFit/>
            </a:bodyPr>
            <a:lstStyle/>
            <a:p>
              <a:pPr marL="0" marR="0" lvl="0" indent="0" algn="ctr" defTabSz="914400" rtl="0" eaLnBrk="1" fontAlgn="auto" latinLnBrk="0" hangingPunct="1">
                <a:lnSpc>
                  <a:spcPct val="14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lumMod val="65000"/>
                      <a:lumOff val="35000"/>
                    </a:srgbClr>
                  </a:solidFill>
                  <a:effectLst/>
                  <a:uLnTx/>
                  <a:uFillTx/>
                  <a:latin typeface="等线 Light" panose="020F0302020204030204"/>
                  <a:ea typeface="+mn-ea"/>
                  <a:cs typeface="+mn-cs"/>
                </a:rPr>
                <a:t>Lorem ipsum dolor sit </a:t>
              </a:r>
              <a:r>
                <a:rPr kumimoji="0" lang="en-US" sz="1400" b="0" i="0" u="none" strike="noStrike" kern="1200" cap="none" spc="0" normalizeH="0" baseline="0" noProof="0" dirty="0" err="1">
                  <a:ln>
                    <a:noFill/>
                  </a:ln>
                  <a:solidFill>
                    <a:srgbClr val="000000">
                      <a:lumMod val="65000"/>
                      <a:lumOff val="35000"/>
                    </a:srgbClr>
                  </a:solidFill>
                  <a:effectLst/>
                  <a:uLnTx/>
                  <a:uFillTx/>
                  <a:latin typeface="等线 Light" panose="020F0302020204030204"/>
                  <a:ea typeface="+mn-ea"/>
                  <a:cs typeface="+mn-cs"/>
                </a:rPr>
                <a:t>amet</a:t>
              </a:r>
              <a:r>
                <a:rPr kumimoji="0" lang="en-US" sz="1400" b="0" i="0" u="none" strike="noStrike" kern="1200" cap="none" spc="0" normalizeH="0" baseline="0" noProof="0" dirty="0">
                  <a:ln>
                    <a:noFill/>
                  </a:ln>
                  <a:solidFill>
                    <a:srgbClr val="000000">
                      <a:lumMod val="65000"/>
                      <a:lumOff val="35000"/>
                    </a:srgbClr>
                  </a:solidFill>
                  <a:effectLst/>
                  <a:uLnTx/>
                  <a:uFillTx/>
                  <a:latin typeface="等线 Light" panose="020F0302020204030204"/>
                  <a:ea typeface="+mn-ea"/>
                  <a:cs typeface="+mn-cs"/>
                </a:rPr>
                <a:t>, </a:t>
              </a:r>
            </a:p>
          </p:txBody>
        </p:sp>
        <p:sp>
          <p:nvSpPr>
            <p:cNvPr id="78" name="TextBox 79">
              <a:extLst>
                <a:ext uri="{FF2B5EF4-FFF2-40B4-BE49-F238E27FC236}">
                  <a16:creationId xmlns:a16="http://schemas.microsoft.com/office/drawing/2014/main" id="{6671D8B6-370F-446B-A2FE-984AC60F91D8}"/>
                </a:ext>
              </a:extLst>
            </p:cNvPr>
            <p:cNvSpPr txBox="1"/>
            <p:nvPr/>
          </p:nvSpPr>
          <p:spPr>
            <a:xfrm>
              <a:off x="5477494" y="2296432"/>
              <a:ext cx="1262501" cy="667555"/>
            </a:xfrm>
            <a:prstGeom prst="rect">
              <a:avLst/>
            </a:prstGeom>
            <a:noFill/>
          </p:spPr>
          <p:txBody>
            <a:bodyPr wrap="square" rtlCol="0">
              <a:spAutoFit/>
            </a:bodyPr>
            <a:lstStyle/>
            <a:p>
              <a:pPr marL="0" marR="0" lvl="0" indent="0" algn="ctr" defTabSz="914400" rtl="0" eaLnBrk="1" fontAlgn="auto" latinLnBrk="0" hangingPunct="1">
                <a:lnSpc>
                  <a:spcPct val="14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lumMod val="65000"/>
                      <a:lumOff val="35000"/>
                    </a:srgbClr>
                  </a:solidFill>
                  <a:effectLst/>
                  <a:uLnTx/>
                  <a:uFillTx/>
                  <a:latin typeface="等线 Light" panose="020F0302020204030204"/>
                  <a:ea typeface="+mn-ea"/>
                  <a:cs typeface="+mn-cs"/>
                </a:rPr>
                <a:t>Lorem ipsum dolor sit </a:t>
              </a:r>
              <a:r>
                <a:rPr kumimoji="0" lang="en-US" sz="1400" b="0" i="0" u="none" strike="noStrike" kern="1200" cap="none" spc="0" normalizeH="0" baseline="0" noProof="0" dirty="0" err="1">
                  <a:ln>
                    <a:noFill/>
                  </a:ln>
                  <a:solidFill>
                    <a:srgbClr val="000000">
                      <a:lumMod val="65000"/>
                      <a:lumOff val="35000"/>
                    </a:srgbClr>
                  </a:solidFill>
                  <a:effectLst/>
                  <a:uLnTx/>
                  <a:uFillTx/>
                  <a:latin typeface="等线 Light" panose="020F0302020204030204"/>
                  <a:ea typeface="+mn-ea"/>
                  <a:cs typeface="+mn-cs"/>
                </a:rPr>
                <a:t>amet</a:t>
              </a:r>
              <a:r>
                <a:rPr kumimoji="0" lang="en-US" sz="1400" b="0" i="0" u="none" strike="noStrike" kern="1200" cap="none" spc="0" normalizeH="0" baseline="0" noProof="0" dirty="0">
                  <a:ln>
                    <a:noFill/>
                  </a:ln>
                  <a:solidFill>
                    <a:srgbClr val="000000">
                      <a:lumMod val="65000"/>
                      <a:lumOff val="35000"/>
                    </a:srgbClr>
                  </a:solidFill>
                  <a:effectLst/>
                  <a:uLnTx/>
                  <a:uFillTx/>
                  <a:latin typeface="等线 Light" panose="020F0302020204030204"/>
                  <a:ea typeface="+mn-ea"/>
                  <a:cs typeface="+mn-cs"/>
                </a:rPr>
                <a:t>, </a:t>
              </a:r>
            </a:p>
          </p:txBody>
        </p:sp>
        <p:sp>
          <p:nvSpPr>
            <p:cNvPr id="79" name="TextBox 80">
              <a:extLst>
                <a:ext uri="{FF2B5EF4-FFF2-40B4-BE49-F238E27FC236}">
                  <a16:creationId xmlns:a16="http://schemas.microsoft.com/office/drawing/2014/main" id="{2EA163DC-E9AE-4652-B3B4-5EE7B47BD8AE}"/>
                </a:ext>
              </a:extLst>
            </p:cNvPr>
            <p:cNvSpPr txBox="1"/>
            <p:nvPr/>
          </p:nvSpPr>
          <p:spPr>
            <a:xfrm>
              <a:off x="6983936" y="2107192"/>
              <a:ext cx="1262501" cy="667555"/>
            </a:xfrm>
            <a:prstGeom prst="rect">
              <a:avLst/>
            </a:prstGeom>
            <a:noFill/>
          </p:spPr>
          <p:txBody>
            <a:bodyPr wrap="square" rtlCol="0">
              <a:spAutoFit/>
            </a:bodyPr>
            <a:lstStyle/>
            <a:p>
              <a:pPr marL="0" marR="0" lvl="0" indent="0" algn="ctr" defTabSz="914400" rtl="0" eaLnBrk="1" fontAlgn="auto" latinLnBrk="0" hangingPunct="1">
                <a:lnSpc>
                  <a:spcPct val="14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lumMod val="65000"/>
                      <a:lumOff val="35000"/>
                    </a:srgbClr>
                  </a:solidFill>
                  <a:effectLst/>
                  <a:uLnTx/>
                  <a:uFillTx/>
                  <a:latin typeface="等线 Light" panose="020F0302020204030204"/>
                  <a:ea typeface="+mn-ea"/>
                  <a:cs typeface="+mn-cs"/>
                </a:rPr>
                <a:t>Lorem ipsum dolor sit </a:t>
              </a:r>
              <a:r>
                <a:rPr kumimoji="0" lang="en-US" sz="1400" b="0" i="0" u="none" strike="noStrike" kern="1200" cap="none" spc="0" normalizeH="0" baseline="0" noProof="0" dirty="0" err="1">
                  <a:ln>
                    <a:noFill/>
                  </a:ln>
                  <a:solidFill>
                    <a:srgbClr val="000000">
                      <a:lumMod val="65000"/>
                      <a:lumOff val="35000"/>
                    </a:srgbClr>
                  </a:solidFill>
                  <a:effectLst/>
                  <a:uLnTx/>
                  <a:uFillTx/>
                  <a:latin typeface="等线 Light" panose="020F0302020204030204"/>
                  <a:ea typeface="+mn-ea"/>
                  <a:cs typeface="+mn-cs"/>
                </a:rPr>
                <a:t>amet</a:t>
              </a:r>
              <a:r>
                <a:rPr kumimoji="0" lang="en-US" sz="1400" b="0" i="0" u="none" strike="noStrike" kern="1200" cap="none" spc="0" normalizeH="0" baseline="0" noProof="0" dirty="0">
                  <a:ln>
                    <a:noFill/>
                  </a:ln>
                  <a:solidFill>
                    <a:srgbClr val="000000">
                      <a:lumMod val="65000"/>
                      <a:lumOff val="35000"/>
                    </a:srgbClr>
                  </a:solidFill>
                  <a:effectLst/>
                  <a:uLnTx/>
                  <a:uFillTx/>
                  <a:latin typeface="等线 Light" panose="020F0302020204030204"/>
                  <a:ea typeface="+mn-ea"/>
                  <a:cs typeface="+mn-cs"/>
                </a:rPr>
                <a:t>, </a:t>
              </a:r>
            </a:p>
          </p:txBody>
        </p:sp>
        <p:sp>
          <p:nvSpPr>
            <p:cNvPr id="80" name="TextBox 81">
              <a:extLst>
                <a:ext uri="{FF2B5EF4-FFF2-40B4-BE49-F238E27FC236}">
                  <a16:creationId xmlns:a16="http://schemas.microsoft.com/office/drawing/2014/main" id="{976EFF3B-4322-4DC3-8EC5-C440049AB864}"/>
                </a:ext>
              </a:extLst>
            </p:cNvPr>
            <p:cNvSpPr txBox="1"/>
            <p:nvPr/>
          </p:nvSpPr>
          <p:spPr>
            <a:xfrm>
              <a:off x="8526723" y="1610525"/>
              <a:ext cx="1262501" cy="667555"/>
            </a:xfrm>
            <a:prstGeom prst="rect">
              <a:avLst/>
            </a:prstGeom>
            <a:noFill/>
          </p:spPr>
          <p:txBody>
            <a:bodyPr wrap="square" rtlCol="0">
              <a:spAutoFit/>
            </a:bodyPr>
            <a:lstStyle/>
            <a:p>
              <a:pPr marL="0" marR="0" lvl="0" indent="0" algn="ctr" defTabSz="914400" rtl="0" eaLnBrk="1" fontAlgn="auto" latinLnBrk="0" hangingPunct="1">
                <a:lnSpc>
                  <a:spcPct val="14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lumMod val="65000"/>
                      <a:lumOff val="35000"/>
                    </a:srgbClr>
                  </a:solidFill>
                  <a:effectLst/>
                  <a:uLnTx/>
                  <a:uFillTx/>
                  <a:latin typeface="等线 Light" panose="020F0302020204030204"/>
                  <a:ea typeface="+mn-ea"/>
                  <a:cs typeface="+mn-cs"/>
                </a:rPr>
                <a:t>Lorem ipsum dolor sit </a:t>
              </a:r>
              <a:r>
                <a:rPr kumimoji="0" lang="en-US" sz="1400" b="0" i="0" u="none" strike="noStrike" kern="1200" cap="none" spc="0" normalizeH="0" baseline="0" noProof="0" dirty="0" err="1">
                  <a:ln>
                    <a:noFill/>
                  </a:ln>
                  <a:solidFill>
                    <a:srgbClr val="000000">
                      <a:lumMod val="65000"/>
                      <a:lumOff val="35000"/>
                    </a:srgbClr>
                  </a:solidFill>
                  <a:effectLst/>
                  <a:uLnTx/>
                  <a:uFillTx/>
                  <a:latin typeface="等线 Light" panose="020F0302020204030204"/>
                  <a:ea typeface="+mn-ea"/>
                  <a:cs typeface="+mn-cs"/>
                </a:rPr>
                <a:t>amet</a:t>
              </a:r>
              <a:r>
                <a:rPr kumimoji="0" lang="en-US" sz="1400" b="0" i="0" u="none" strike="noStrike" kern="1200" cap="none" spc="0" normalizeH="0" baseline="0" noProof="0" dirty="0">
                  <a:ln>
                    <a:noFill/>
                  </a:ln>
                  <a:solidFill>
                    <a:srgbClr val="000000">
                      <a:lumMod val="65000"/>
                      <a:lumOff val="35000"/>
                    </a:srgbClr>
                  </a:solidFill>
                  <a:effectLst/>
                  <a:uLnTx/>
                  <a:uFillTx/>
                  <a:latin typeface="等线 Light" panose="020F0302020204030204"/>
                  <a:ea typeface="+mn-ea"/>
                  <a:cs typeface="+mn-cs"/>
                </a:rPr>
                <a:t>, </a:t>
              </a:r>
            </a:p>
          </p:txBody>
        </p:sp>
        <p:sp>
          <p:nvSpPr>
            <p:cNvPr id="81" name="TextBox 82">
              <a:extLst>
                <a:ext uri="{FF2B5EF4-FFF2-40B4-BE49-F238E27FC236}">
                  <a16:creationId xmlns:a16="http://schemas.microsoft.com/office/drawing/2014/main" id="{70218BAD-1FAD-423B-B9D7-92463B25C461}"/>
                </a:ext>
              </a:extLst>
            </p:cNvPr>
            <p:cNvSpPr txBox="1"/>
            <p:nvPr/>
          </p:nvSpPr>
          <p:spPr>
            <a:xfrm>
              <a:off x="10010564" y="442991"/>
              <a:ext cx="1262501" cy="667555"/>
            </a:xfrm>
            <a:prstGeom prst="rect">
              <a:avLst/>
            </a:prstGeom>
            <a:noFill/>
          </p:spPr>
          <p:txBody>
            <a:bodyPr wrap="square" rtlCol="0">
              <a:spAutoFit/>
            </a:bodyPr>
            <a:lstStyle/>
            <a:p>
              <a:pPr marL="0" marR="0" lvl="0" indent="0" algn="ctr" defTabSz="914400" rtl="0" eaLnBrk="1" fontAlgn="auto" latinLnBrk="0" hangingPunct="1">
                <a:lnSpc>
                  <a:spcPct val="14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lumMod val="65000"/>
                      <a:lumOff val="35000"/>
                    </a:srgbClr>
                  </a:solidFill>
                  <a:effectLst/>
                  <a:uLnTx/>
                  <a:uFillTx/>
                  <a:latin typeface="等线 Light" panose="020F0302020204030204"/>
                  <a:ea typeface="+mn-ea"/>
                  <a:cs typeface="+mn-cs"/>
                </a:rPr>
                <a:t>Lorem ipsum dolor sit </a:t>
              </a:r>
              <a:r>
                <a:rPr kumimoji="0" lang="en-US" sz="1400" b="0" i="0" u="none" strike="noStrike" kern="1200" cap="none" spc="0" normalizeH="0" baseline="0" noProof="0" dirty="0" err="1">
                  <a:ln>
                    <a:noFill/>
                  </a:ln>
                  <a:solidFill>
                    <a:srgbClr val="000000">
                      <a:lumMod val="65000"/>
                      <a:lumOff val="35000"/>
                    </a:srgbClr>
                  </a:solidFill>
                  <a:effectLst/>
                  <a:uLnTx/>
                  <a:uFillTx/>
                  <a:latin typeface="等线 Light" panose="020F0302020204030204"/>
                  <a:ea typeface="+mn-ea"/>
                  <a:cs typeface="+mn-cs"/>
                </a:rPr>
                <a:t>amet</a:t>
              </a:r>
              <a:r>
                <a:rPr kumimoji="0" lang="en-US" sz="1400" b="0" i="0" u="none" strike="noStrike" kern="1200" cap="none" spc="0" normalizeH="0" baseline="0" noProof="0" dirty="0">
                  <a:ln>
                    <a:noFill/>
                  </a:ln>
                  <a:solidFill>
                    <a:srgbClr val="000000">
                      <a:lumMod val="65000"/>
                      <a:lumOff val="35000"/>
                    </a:srgbClr>
                  </a:solidFill>
                  <a:effectLst/>
                  <a:uLnTx/>
                  <a:uFillTx/>
                  <a:latin typeface="等线 Light" panose="020F0302020204030204"/>
                  <a:ea typeface="+mn-ea"/>
                  <a:cs typeface="+mn-cs"/>
                </a:rPr>
                <a:t>, </a:t>
              </a:r>
            </a:p>
          </p:txBody>
        </p:sp>
      </p:grpSp>
    </p:spTree>
    <p:extLst>
      <p:ext uri="{BB962C8B-B14F-4D97-AF65-F5344CB8AC3E}">
        <p14:creationId xmlns:p14="http://schemas.microsoft.com/office/powerpoint/2010/main" val="381600971"/>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6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3">
            <a:extLst>
              <a:ext uri="{FF2B5EF4-FFF2-40B4-BE49-F238E27FC236}">
                <a16:creationId xmlns:a16="http://schemas.microsoft.com/office/drawing/2014/main" id="{30D54052-6BBE-41F8-8126-DB1D820A3C2E}"/>
              </a:ext>
            </a:extLst>
          </p:cNvPr>
          <p:cNvSpPr txBox="1"/>
          <p:nvPr/>
        </p:nvSpPr>
        <p:spPr>
          <a:xfrm>
            <a:off x="504738" y="619658"/>
            <a:ext cx="7936310" cy="76944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4400" b="1" i="0" u="none" strike="noStrike" kern="1200" cap="none" spc="0" normalizeH="0" baseline="0" noProof="0" dirty="0">
                <a:ln>
                  <a:noFill/>
                </a:ln>
                <a:solidFill>
                  <a:srgbClr val="000000">
                    <a:lumMod val="75000"/>
                    <a:lumOff val="25000"/>
                  </a:srgbClr>
                </a:solidFill>
                <a:effectLst/>
                <a:uLnTx/>
                <a:uFillTx/>
                <a:latin typeface="Segoe UI" panose="020B0502040204020203" pitchFamily="34" charset="0"/>
                <a:ea typeface="Tahoma" panose="020B0604030504040204" pitchFamily="34" charset="0"/>
                <a:cs typeface="Segoe UI" panose="020B0502040204020203" pitchFamily="34" charset="0"/>
              </a:rPr>
              <a:t>3 Step Plant Diagram</a:t>
            </a:r>
          </a:p>
        </p:txBody>
      </p:sp>
      <p:grpSp>
        <p:nvGrpSpPr>
          <p:cNvPr id="3" name="Group 4">
            <a:extLst>
              <a:ext uri="{FF2B5EF4-FFF2-40B4-BE49-F238E27FC236}">
                <a16:creationId xmlns:a16="http://schemas.microsoft.com/office/drawing/2014/main" id="{C41407FA-E24A-4EC5-BB67-32F0E4FCC260}"/>
              </a:ext>
            </a:extLst>
          </p:cNvPr>
          <p:cNvGrpSpPr/>
          <p:nvPr/>
        </p:nvGrpSpPr>
        <p:grpSpPr>
          <a:xfrm>
            <a:off x="8267700" y="1106068"/>
            <a:ext cx="3936849" cy="2370531"/>
            <a:chOff x="7295762" y="1037911"/>
            <a:chExt cx="4908787" cy="2955773"/>
          </a:xfrm>
        </p:grpSpPr>
        <p:sp>
          <p:nvSpPr>
            <p:cNvPr id="4" name="Freeform: Shape 5">
              <a:extLst>
                <a:ext uri="{FF2B5EF4-FFF2-40B4-BE49-F238E27FC236}">
                  <a16:creationId xmlns:a16="http://schemas.microsoft.com/office/drawing/2014/main" id="{77DF7210-9F06-465C-A49B-54882FEA9531}"/>
                </a:ext>
              </a:extLst>
            </p:cNvPr>
            <p:cNvSpPr/>
            <p:nvPr/>
          </p:nvSpPr>
          <p:spPr>
            <a:xfrm rot="18246290">
              <a:off x="11113957" y="2220639"/>
              <a:ext cx="952887" cy="346321"/>
            </a:xfrm>
            <a:custGeom>
              <a:avLst/>
              <a:gdLst>
                <a:gd name="connsiteX0" fmla="*/ 0 w 587302"/>
                <a:gd name="connsiteY0" fmla="*/ 0 h 213451"/>
                <a:gd name="connsiteX1" fmla="*/ 587302 w 587302"/>
                <a:gd name="connsiteY1" fmla="*/ 0 h 213451"/>
                <a:gd name="connsiteX2" fmla="*/ 587302 w 587302"/>
                <a:gd name="connsiteY2" fmla="*/ 213452 h 213451"/>
                <a:gd name="connsiteX3" fmla="*/ 0 w 587302"/>
                <a:gd name="connsiteY3" fmla="*/ 213452 h 213451"/>
              </a:gdLst>
              <a:ahLst/>
              <a:cxnLst>
                <a:cxn ang="0">
                  <a:pos x="connsiteX0" y="connsiteY0"/>
                </a:cxn>
                <a:cxn ang="0">
                  <a:pos x="connsiteX1" y="connsiteY1"/>
                </a:cxn>
                <a:cxn ang="0">
                  <a:pos x="connsiteX2" y="connsiteY2"/>
                </a:cxn>
                <a:cxn ang="0">
                  <a:pos x="connsiteX3" y="connsiteY3"/>
                </a:cxn>
              </a:cxnLst>
              <a:rect l="l" t="t" r="r" b="b"/>
              <a:pathLst>
                <a:path w="587302" h="213451">
                  <a:moveTo>
                    <a:pt x="0" y="0"/>
                  </a:moveTo>
                  <a:lnTo>
                    <a:pt x="587302" y="0"/>
                  </a:lnTo>
                  <a:lnTo>
                    <a:pt x="587302" y="213452"/>
                  </a:lnTo>
                  <a:lnTo>
                    <a:pt x="0" y="213452"/>
                  </a:lnTo>
                  <a:close/>
                </a:path>
              </a:pathLst>
            </a:custGeom>
            <a:solidFill>
              <a:srgbClr val="13132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5" name="Freeform: Shape 6">
              <a:extLst>
                <a:ext uri="{FF2B5EF4-FFF2-40B4-BE49-F238E27FC236}">
                  <a16:creationId xmlns:a16="http://schemas.microsoft.com/office/drawing/2014/main" id="{2397E01E-BC01-4096-AC3A-96C2EBEBE95B}"/>
                </a:ext>
              </a:extLst>
            </p:cNvPr>
            <p:cNvSpPr/>
            <p:nvPr/>
          </p:nvSpPr>
          <p:spPr>
            <a:xfrm rot="18246290">
              <a:off x="11192962" y="2274800"/>
              <a:ext cx="952887" cy="346321"/>
            </a:xfrm>
            <a:custGeom>
              <a:avLst/>
              <a:gdLst>
                <a:gd name="connsiteX0" fmla="*/ 0 w 587302"/>
                <a:gd name="connsiteY0" fmla="*/ 0 h 213451"/>
                <a:gd name="connsiteX1" fmla="*/ 587302 w 587302"/>
                <a:gd name="connsiteY1" fmla="*/ 0 h 213451"/>
                <a:gd name="connsiteX2" fmla="*/ 587302 w 587302"/>
                <a:gd name="connsiteY2" fmla="*/ 213452 h 213451"/>
                <a:gd name="connsiteX3" fmla="*/ 0 w 587302"/>
                <a:gd name="connsiteY3" fmla="*/ 213452 h 213451"/>
              </a:gdLst>
              <a:ahLst/>
              <a:cxnLst>
                <a:cxn ang="0">
                  <a:pos x="connsiteX0" y="connsiteY0"/>
                </a:cxn>
                <a:cxn ang="0">
                  <a:pos x="connsiteX1" y="connsiteY1"/>
                </a:cxn>
                <a:cxn ang="0">
                  <a:pos x="connsiteX2" y="connsiteY2"/>
                </a:cxn>
                <a:cxn ang="0">
                  <a:pos x="connsiteX3" y="connsiteY3"/>
                </a:cxn>
              </a:cxnLst>
              <a:rect l="l" t="t" r="r" b="b"/>
              <a:pathLst>
                <a:path w="587302" h="213451">
                  <a:moveTo>
                    <a:pt x="0" y="0"/>
                  </a:moveTo>
                  <a:lnTo>
                    <a:pt x="587302" y="0"/>
                  </a:lnTo>
                  <a:lnTo>
                    <a:pt x="587302" y="213452"/>
                  </a:lnTo>
                  <a:lnTo>
                    <a:pt x="0" y="213452"/>
                  </a:lnTo>
                  <a:close/>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6" name="Freeform: Shape 7">
              <a:extLst>
                <a:ext uri="{FF2B5EF4-FFF2-40B4-BE49-F238E27FC236}">
                  <a16:creationId xmlns:a16="http://schemas.microsoft.com/office/drawing/2014/main" id="{D81505F4-DAF0-4A1C-9E47-ED2B6844F487}"/>
                </a:ext>
              </a:extLst>
            </p:cNvPr>
            <p:cNvSpPr/>
            <p:nvPr/>
          </p:nvSpPr>
          <p:spPr>
            <a:xfrm>
              <a:off x="11377135" y="2035885"/>
              <a:ext cx="827414" cy="1349300"/>
            </a:xfrm>
            <a:custGeom>
              <a:avLst/>
              <a:gdLst>
                <a:gd name="connsiteX0" fmla="*/ 509969 w 509968"/>
                <a:gd name="connsiteY0" fmla="*/ 122301 h 831627"/>
                <a:gd name="connsiteX1" fmla="*/ 329279 w 509968"/>
                <a:gd name="connsiteY1" fmla="*/ 0 h 831627"/>
                <a:gd name="connsiteX2" fmla="*/ 0 w 509968"/>
                <a:gd name="connsiteY2" fmla="*/ 486346 h 831627"/>
                <a:gd name="connsiteX3" fmla="*/ 509969 w 509968"/>
                <a:gd name="connsiteY3" fmla="*/ 831628 h 831627"/>
              </a:gdLst>
              <a:ahLst/>
              <a:cxnLst>
                <a:cxn ang="0">
                  <a:pos x="connsiteX0" y="connsiteY0"/>
                </a:cxn>
                <a:cxn ang="0">
                  <a:pos x="connsiteX1" y="connsiteY1"/>
                </a:cxn>
                <a:cxn ang="0">
                  <a:pos x="connsiteX2" y="connsiteY2"/>
                </a:cxn>
                <a:cxn ang="0">
                  <a:pos x="connsiteX3" y="connsiteY3"/>
                </a:cxn>
              </a:cxnLst>
              <a:rect l="l" t="t" r="r" b="b"/>
              <a:pathLst>
                <a:path w="509968" h="831627">
                  <a:moveTo>
                    <a:pt x="509969" y="122301"/>
                  </a:moveTo>
                  <a:lnTo>
                    <a:pt x="329279" y="0"/>
                  </a:lnTo>
                  <a:lnTo>
                    <a:pt x="0" y="486346"/>
                  </a:lnTo>
                  <a:lnTo>
                    <a:pt x="509969" y="831628"/>
                  </a:lnTo>
                  <a:close/>
                </a:path>
              </a:pathLst>
            </a:custGeom>
            <a:solidFill>
              <a:srgbClr val="13132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7" name="Freeform: Shape 8">
              <a:extLst>
                <a:ext uri="{FF2B5EF4-FFF2-40B4-BE49-F238E27FC236}">
                  <a16:creationId xmlns:a16="http://schemas.microsoft.com/office/drawing/2014/main" id="{DEDB3E60-328E-4B80-94D3-AB87D52F2C25}"/>
                </a:ext>
              </a:extLst>
            </p:cNvPr>
            <p:cNvSpPr/>
            <p:nvPr/>
          </p:nvSpPr>
          <p:spPr>
            <a:xfrm>
              <a:off x="11598349" y="2726751"/>
              <a:ext cx="111745" cy="111755"/>
            </a:xfrm>
            <a:custGeom>
              <a:avLst/>
              <a:gdLst>
                <a:gd name="connsiteX0" fmla="*/ 67682 w 68873"/>
                <a:gd name="connsiteY0" fmla="*/ 43393 h 68879"/>
                <a:gd name="connsiteX1" fmla="*/ 25487 w 68873"/>
                <a:gd name="connsiteY1" fmla="*/ 67682 h 68879"/>
                <a:gd name="connsiteX2" fmla="*/ 1198 w 68873"/>
                <a:gd name="connsiteY2" fmla="*/ 25486 h 68879"/>
                <a:gd name="connsiteX3" fmla="*/ 43394 w 68873"/>
                <a:gd name="connsiteY3" fmla="*/ 1198 h 68879"/>
                <a:gd name="connsiteX4" fmla="*/ 67682 w 68873"/>
                <a:gd name="connsiteY4" fmla="*/ 43393 h 68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873" h="68879">
                  <a:moveTo>
                    <a:pt x="67682" y="43393"/>
                  </a:moveTo>
                  <a:cubicBezTo>
                    <a:pt x="62729" y="61777"/>
                    <a:pt x="43870" y="72635"/>
                    <a:pt x="25487" y="67682"/>
                  </a:cubicBezTo>
                  <a:cubicBezTo>
                    <a:pt x="7103" y="62729"/>
                    <a:pt x="-3755" y="43870"/>
                    <a:pt x="1198" y="25486"/>
                  </a:cubicBezTo>
                  <a:cubicBezTo>
                    <a:pt x="6151" y="7103"/>
                    <a:pt x="25010" y="-3755"/>
                    <a:pt x="43394" y="1198"/>
                  </a:cubicBezTo>
                  <a:cubicBezTo>
                    <a:pt x="61681" y="6151"/>
                    <a:pt x="72635" y="25010"/>
                    <a:pt x="67682" y="43393"/>
                  </a:cubicBezTo>
                  <a:close/>
                </a:path>
              </a:pathLst>
            </a:custGeom>
            <a:solidFill>
              <a:srgbClr val="D8D8D8"/>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8" name="Freeform: Shape 9">
              <a:extLst>
                <a:ext uri="{FF2B5EF4-FFF2-40B4-BE49-F238E27FC236}">
                  <a16:creationId xmlns:a16="http://schemas.microsoft.com/office/drawing/2014/main" id="{5590B30B-1AE3-4133-A96E-04D666AE09E1}"/>
                </a:ext>
              </a:extLst>
            </p:cNvPr>
            <p:cNvSpPr/>
            <p:nvPr/>
          </p:nvSpPr>
          <p:spPr>
            <a:xfrm>
              <a:off x="11899092" y="2207497"/>
              <a:ext cx="305457" cy="288456"/>
            </a:xfrm>
            <a:custGeom>
              <a:avLst/>
              <a:gdLst>
                <a:gd name="connsiteX0" fmla="*/ 188265 w 188265"/>
                <a:gd name="connsiteY0" fmla="*/ 97016 h 177787"/>
                <a:gd name="connsiteX1" fmla="*/ 52248 w 188265"/>
                <a:gd name="connsiteY1" fmla="*/ 5671 h 177787"/>
                <a:gd name="connsiteX2" fmla="*/ 5671 w 188265"/>
                <a:gd name="connsiteY2" fmla="*/ 14815 h 177787"/>
                <a:gd name="connsiteX3" fmla="*/ 14815 w 188265"/>
                <a:gd name="connsiteY3" fmla="*/ 61392 h 177787"/>
                <a:gd name="connsiteX4" fmla="*/ 188170 w 188265"/>
                <a:gd name="connsiteY4" fmla="*/ 177788 h 177787"/>
                <a:gd name="connsiteX5" fmla="*/ 188170 w 188265"/>
                <a:gd name="connsiteY5" fmla="*/ 97016 h 177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8265" h="177787">
                  <a:moveTo>
                    <a:pt x="188265" y="97016"/>
                  </a:moveTo>
                  <a:lnTo>
                    <a:pt x="52248" y="5671"/>
                  </a:lnTo>
                  <a:cubicBezTo>
                    <a:pt x="36913" y="-4616"/>
                    <a:pt x="16053" y="-520"/>
                    <a:pt x="5671" y="14815"/>
                  </a:cubicBezTo>
                  <a:cubicBezTo>
                    <a:pt x="-4616" y="30150"/>
                    <a:pt x="-520" y="51010"/>
                    <a:pt x="14815" y="61392"/>
                  </a:cubicBezTo>
                  <a:lnTo>
                    <a:pt x="188170" y="177788"/>
                  </a:lnTo>
                  <a:lnTo>
                    <a:pt x="188170" y="97016"/>
                  </a:lnTo>
                  <a:close/>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9" name="Freeform: Shape 10">
              <a:extLst>
                <a:ext uri="{FF2B5EF4-FFF2-40B4-BE49-F238E27FC236}">
                  <a16:creationId xmlns:a16="http://schemas.microsoft.com/office/drawing/2014/main" id="{DB1C6F5B-9CEF-4A92-A3EE-70E5995A6797}"/>
                </a:ext>
              </a:extLst>
            </p:cNvPr>
            <p:cNvSpPr/>
            <p:nvPr/>
          </p:nvSpPr>
          <p:spPr>
            <a:xfrm>
              <a:off x="10789313" y="1262701"/>
              <a:ext cx="933223" cy="1440185"/>
            </a:xfrm>
            <a:custGeom>
              <a:avLst/>
              <a:gdLst>
                <a:gd name="connsiteX0" fmla="*/ 251427 w 575182"/>
                <a:gd name="connsiteY0" fmla="*/ 887643 h 887643"/>
                <a:gd name="connsiteX1" fmla="*/ 13112 w 575182"/>
                <a:gd name="connsiteY1" fmla="*/ 711050 h 887643"/>
                <a:gd name="connsiteX2" fmla="*/ 83502 w 575182"/>
                <a:gd name="connsiteY2" fmla="*/ 377294 h 887643"/>
                <a:gd name="connsiteX3" fmla="*/ 67595 w 575182"/>
                <a:gd name="connsiteY3" fmla="*/ 209368 h 887643"/>
                <a:gd name="connsiteX4" fmla="*/ 225615 w 575182"/>
                <a:gd name="connsiteY4" fmla="*/ 2295 h 887643"/>
                <a:gd name="connsiteX5" fmla="*/ 467931 w 575182"/>
                <a:gd name="connsiteY5" fmla="*/ 147741 h 887643"/>
                <a:gd name="connsiteX6" fmla="*/ 535272 w 575182"/>
                <a:gd name="connsiteY6" fmla="*/ 254993 h 887643"/>
                <a:gd name="connsiteX7" fmla="*/ 571944 w 575182"/>
                <a:gd name="connsiteY7" fmla="*/ 361292 h 887643"/>
                <a:gd name="connsiteX8" fmla="*/ 575182 w 575182"/>
                <a:gd name="connsiteY8" fmla="*/ 389867 h 887643"/>
                <a:gd name="connsiteX9" fmla="*/ 251427 w 575182"/>
                <a:gd name="connsiteY9" fmla="*/ 887643 h 8876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5182" h="887643">
                  <a:moveTo>
                    <a:pt x="251427" y="887643"/>
                  </a:moveTo>
                  <a:lnTo>
                    <a:pt x="13112" y="711050"/>
                  </a:lnTo>
                  <a:cubicBezTo>
                    <a:pt x="13112" y="711050"/>
                    <a:pt x="103504" y="468162"/>
                    <a:pt x="83502" y="377294"/>
                  </a:cubicBezTo>
                  <a:cubicBezTo>
                    <a:pt x="63499" y="286330"/>
                    <a:pt x="74072" y="212321"/>
                    <a:pt x="67595" y="209368"/>
                  </a:cubicBezTo>
                  <a:cubicBezTo>
                    <a:pt x="-114047" y="127929"/>
                    <a:pt x="115887" y="-20184"/>
                    <a:pt x="225615" y="2295"/>
                  </a:cubicBezTo>
                  <a:cubicBezTo>
                    <a:pt x="335343" y="24774"/>
                    <a:pt x="444690" y="114785"/>
                    <a:pt x="467931" y="147741"/>
                  </a:cubicBezTo>
                  <a:cubicBezTo>
                    <a:pt x="491076" y="180698"/>
                    <a:pt x="514317" y="233276"/>
                    <a:pt x="535272" y="254993"/>
                  </a:cubicBezTo>
                  <a:cubicBezTo>
                    <a:pt x="556132" y="276615"/>
                    <a:pt x="571944" y="361292"/>
                    <a:pt x="571944" y="361292"/>
                  </a:cubicBezTo>
                  <a:lnTo>
                    <a:pt x="575182" y="389867"/>
                  </a:lnTo>
                  <a:lnTo>
                    <a:pt x="251427" y="887643"/>
                  </a:lnTo>
                  <a:close/>
                </a:path>
              </a:pathLst>
            </a:custGeom>
            <a:solidFill>
              <a:srgbClr val="FDBA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0" name="Freeform: Shape 11">
              <a:extLst>
                <a:ext uri="{FF2B5EF4-FFF2-40B4-BE49-F238E27FC236}">
                  <a16:creationId xmlns:a16="http://schemas.microsoft.com/office/drawing/2014/main" id="{15021D1C-F2E5-408A-86E7-43E5FFC5CCFE}"/>
                </a:ext>
              </a:extLst>
            </p:cNvPr>
            <p:cNvSpPr/>
            <p:nvPr/>
          </p:nvSpPr>
          <p:spPr>
            <a:xfrm>
              <a:off x="11335872" y="1719384"/>
              <a:ext cx="387126" cy="706100"/>
            </a:xfrm>
            <a:custGeom>
              <a:avLst/>
              <a:gdLst>
                <a:gd name="connsiteX0" fmla="*/ 0 w 238601"/>
                <a:gd name="connsiteY0" fmla="*/ 21527 h 435197"/>
                <a:gd name="connsiteX1" fmla="*/ 14764 w 238601"/>
                <a:gd name="connsiteY1" fmla="*/ 435197 h 435197"/>
                <a:gd name="connsiteX2" fmla="*/ 238601 w 238601"/>
                <a:gd name="connsiteY2" fmla="*/ 114300 h 435197"/>
                <a:gd name="connsiteX3" fmla="*/ 125063 w 238601"/>
                <a:gd name="connsiteY3" fmla="*/ 0 h 435197"/>
                <a:gd name="connsiteX4" fmla="*/ 0 w 238601"/>
                <a:gd name="connsiteY4" fmla="*/ 21527 h 4351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8601" h="435197">
                  <a:moveTo>
                    <a:pt x="0" y="21527"/>
                  </a:moveTo>
                  <a:cubicBezTo>
                    <a:pt x="0" y="21527"/>
                    <a:pt x="153257" y="224790"/>
                    <a:pt x="14764" y="435197"/>
                  </a:cubicBezTo>
                  <a:lnTo>
                    <a:pt x="238601" y="114300"/>
                  </a:lnTo>
                  <a:lnTo>
                    <a:pt x="125063" y="0"/>
                  </a:lnTo>
                  <a:lnTo>
                    <a:pt x="0" y="21527"/>
                  </a:lnTo>
                  <a:close/>
                </a:path>
              </a:pathLst>
            </a:custGeom>
            <a:solidFill>
              <a:srgbClr val="FFCEAD"/>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1" name="Freeform: Shape 12">
              <a:extLst>
                <a:ext uri="{FF2B5EF4-FFF2-40B4-BE49-F238E27FC236}">
                  <a16:creationId xmlns:a16="http://schemas.microsoft.com/office/drawing/2014/main" id="{52FDCE46-0ECE-4064-80B1-3BBA822D174B}"/>
                </a:ext>
              </a:extLst>
            </p:cNvPr>
            <p:cNvSpPr/>
            <p:nvPr/>
          </p:nvSpPr>
          <p:spPr>
            <a:xfrm>
              <a:off x="11014003" y="1178922"/>
              <a:ext cx="709150" cy="726066"/>
            </a:xfrm>
            <a:custGeom>
              <a:avLst/>
              <a:gdLst>
                <a:gd name="connsiteX0" fmla="*/ 70651 w 437077"/>
                <a:gd name="connsiteY0" fmla="*/ 108223 h 447503"/>
                <a:gd name="connsiteX1" fmla="*/ 437078 w 437077"/>
                <a:gd name="connsiteY1" fmla="*/ 447503 h 447503"/>
                <a:gd name="connsiteX2" fmla="*/ 272200 w 437077"/>
                <a:gd name="connsiteY2" fmla="*/ 87649 h 447503"/>
                <a:gd name="connsiteX3" fmla="*/ 68174 w 437077"/>
                <a:gd name="connsiteY3" fmla="*/ 18402 h 447503"/>
                <a:gd name="connsiteX4" fmla="*/ 71 w 437077"/>
                <a:gd name="connsiteY4" fmla="*/ 19 h 4475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7077" h="447503">
                  <a:moveTo>
                    <a:pt x="70651" y="108223"/>
                  </a:moveTo>
                  <a:cubicBezTo>
                    <a:pt x="70651" y="108223"/>
                    <a:pt x="78938" y="407975"/>
                    <a:pt x="437078" y="447503"/>
                  </a:cubicBezTo>
                  <a:cubicBezTo>
                    <a:pt x="437078" y="447503"/>
                    <a:pt x="354782" y="111747"/>
                    <a:pt x="272200" y="87649"/>
                  </a:cubicBezTo>
                  <a:cubicBezTo>
                    <a:pt x="189618" y="63646"/>
                    <a:pt x="141231" y="38119"/>
                    <a:pt x="68174" y="18402"/>
                  </a:cubicBezTo>
                  <a:cubicBezTo>
                    <a:pt x="-4882" y="-1315"/>
                    <a:pt x="71" y="19"/>
                    <a:pt x="71" y="19"/>
                  </a:cubicBezTo>
                </a:path>
              </a:pathLst>
            </a:custGeom>
            <a:solidFill>
              <a:srgbClr val="FFCEAD"/>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2" name="Freeform: Shape 13">
              <a:extLst>
                <a:ext uri="{FF2B5EF4-FFF2-40B4-BE49-F238E27FC236}">
                  <a16:creationId xmlns:a16="http://schemas.microsoft.com/office/drawing/2014/main" id="{7545C692-5A18-4DFD-9BF4-83DA276E37DB}"/>
                </a:ext>
              </a:extLst>
            </p:cNvPr>
            <p:cNvSpPr/>
            <p:nvPr/>
          </p:nvSpPr>
          <p:spPr>
            <a:xfrm>
              <a:off x="11109315" y="1265342"/>
              <a:ext cx="329833" cy="886390"/>
            </a:xfrm>
            <a:custGeom>
              <a:avLst/>
              <a:gdLst>
                <a:gd name="connsiteX0" fmla="*/ 14097 w 203289"/>
                <a:gd name="connsiteY0" fmla="*/ 98774 h 546317"/>
                <a:gd name="connsiteX1" fmla="*/ 0 w 203289"/>
                <a:gd name="connsiteY1" fmla="*/ 0 h 546317"/>
                <a:gd name="connsiteX2" fmla="*/ 202692 w 203289"/>
                <a:gd name="connsiteY2" fmla="*/ 439198 h 546317"/>
                <a:gd name="connsiteX3" fmla="*/ 202882 w 203289"/>
                <a:gd name="connsiteY3" fmla="*/ 444341 h 546317"/>
                <a:gd name="connsiteX4" fmla="*/ 154114 w 203289"/>
                <a:gd name="connsiteY4" fmla="*/ 406717 h 546317"/>
                <a:gd name="connsiteX5" fmla="*/ 126778 w 203289"/>
                <a:gd name="connsiteY5" fmla="*/ 349472 h 546317"/>
                <a:gd name="connsiteX6" fmla="*/ 14097 w 203289"/>
                <a:gd name="connsiteY6" fmla="*/ 98774 h 546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3289" h="546317">
                  <a:moveTo>
                    <a:pt x="14097" y="98774"/>
                  </a:moveTo>
                  <a:cubicBezTo>
                    <a:pt x="14097" y="98774"/>
                    <a:pt x="23717" y="24289"/>
                    <a:pt x="0" y="0"/>
                  </a:cubicBezTo>
                  <a:cubicBezTo>
                    <a:pt x="0" y="0"/>
                    <a:pt x="194501" y="192500"/>
                    <a:pt x="202692" y="439198"/>
                  </a:cubicBezTo>
                  <a:cubicBezTo>
                    <a:pt x="202787" y="440912"/>
                    <a:pt x="202787" y="442627"/>
                    <a:pt x="202882" y="444341"/>
                  </a:cubicBezTo>
                  <a:cubicBezTo>
                    <a:pt x="208502" y="693992"/>
                    <a:pt x="154114" y="406717"/>
                    <a:pt x="154114" y="406717"/>
                  </a:cubicBezTo>
                  <a:lnTo>
                    <a:pt x="126778" y="349472"/>
                  </a:lnTo>
                  <a:cubicBezTo>
                    <a:pt x="126682" y="349567"/>
                    <a:pt x="87725" y="262509"/>
                    <a:pt x="14097" y="98774"/>
                  </a:cubicBezTo>
                  <a:close/>
                </a:path>
              </a:pathLst>
            </a:custGeom>
            <a:solidFill>
              <a:srgbClr val="FDBA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nvGrpSpPr>
            <p:cNvPr id="13" name="Graphic 2">
              <a:extLst>
                <a:ext uri="{FF2B5EF4-FFF2-40B4-BE49-F238E27FC236}">
                  <a16:creationId xmlns:a16="http://schemas.microsoft.com/office/drawing/2014/main" id="{BA7279E7-B220-4CE9-9FB1-47707C19B66A}"/>
                </a:ext>
              </a:extLst>
            </p:cNvPr>
            <p:cNvGrpSpPr/>
            <p:nvPr/>
          </p:nvGrpSpPr>
          <p:grpSpPr>
            <a:xfrm>
              <a:off x="9846246" y="1167620"/>
              <a:ext cx="1416520" cy="1869228"/>
              <a:chOff x="3950397" y="2037365"/>
              <a:chExt cx="873057" cy="1152079"/>
            </a:xfrm>
          </p:grpSpPr>
          <p:sp>
            <p:nvSpPr>
              <p:cNvPr id="32" name="Freeform: Shape 33">
                <a:extLst>
                  <a:ext uri="{FF2B5EF4-FFF2-40B4-BE49-F238E27FC236}">
                    <a16:creationId xmlns:a16="http://schemas.microsoft.com/office/drawing/2014/main" id="{E17FFBC0-91BE-4259-BC38-E75A728601D1}"/>
                  </a:ext>
                </a:extLst>
              </p:cNvPr>
              <p:cNvSpPr/>
              <p:nvPr/>
            </p:nvSpPr>
            <p:spPr>
              <a:xfrm>
                <a:off x="4536566" y="2851212"/>
                <a:ext cx="183832" cy="252126"/>
              </a:xfrm>
              <a:custGeom>
                <a:avLst/>
                <a:gdLst>
                  <a:gd name="connsiteX0" fmla="*/ 0 w 183832"/>
                  <a:gd name="connsiteY0" fmla="*/ 122873 h 252126"/>
                  <a:gd name="connsiteX1" fmla="*/ 0 w 183832"/>
                  <a:gd name="connsiteY1" fmla="*/ 122873 h 252126"/>
                  <a:gd name="connsiteX2" fmla="*/ 60103 w 183832"/>
                  <a:gd name="connsiteY2" fmla="*/ 252127 h 252126"/>
                  <a:gd name="connsiteX3" fmla="*/ 183832 w 183832"/>
                  <a:gd name="connsiteY3" fmla="*/ 0 h 252126"/>
                  <a:gd name="connsiteX4" fmla="*/ 51340 w 183832"/>
                  <a:gd name="connsiteY4" fmla="*/ 18193 h 252126"/>
                  <a:gd name="connsiteX5" fmla="*/ 0 w 183832"/>
                  <a:gd name="connsiteY5" fmla="*/ 122873 h 252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3832" h="252126">
                    <a:moveTo>
                      <a:pt x="0" y="122873"/>
                    </a:moveTo>
                    <a:cubicBezTo>
                      <a:pt x="0" y="122873"/>
                      <a:pt x="0" y="122873"/>
                      <a:pt x="0" y="122873"/>
                    </a:cubicBezTo>
                    <a:lnTo>
                      <a:pt x="60103" y="252127"/>
                    </a:lnTo>
                    <a:cubicBezTo>
                      <a:pt x="109919" y="160401"/>
                      <a:pt x="150876" y="76962"/>
                      <a:pt x="183832" y="0"/>
                    </a:cubicBezTo>
                    <a:cubicBezTo>
                      <a:pt x="139065" y="13335"/>
                      <a:pt x="87154" y="17240"/>
                      <a:pt x="51340" y="18193"/>
                    </a:cubicBezTo>
                    <a:cubicBezTo>
                      <a:pt x="35719" y="51721"/>
                      <a:pt x="18574" y="86678"/>
                      <a:pt x="0" y="122873"/>
                    </a:cubicBezTo>
                    <a:close/>
                  </a:path>
                </a:pathLst>
              </a:custGeom>
              <a:solidFill>
                <a:srgbClr val="22B57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3" name="Freeform: Shape 34">
                <a:extLst>
                  <a:ext uri="{FF2B5EF4-FFF2-40B4-BE49-F238E27FC236}">
                    <a16:creationId xmlns:a16="http://schemas.microsoft.com/office/drawing/2014/main" id="{E6870021-C339-4F1B-A2CC-9C28161D7C6E}"/>
                  </a:ext>
                </a:extLst>
              </p:cNvPr>
              <p:cNvSpPr/>
              <p:nvPr/>
            </p:nvSpPr>
            <p:spPr>
              <a:xfrm>
                <a:off x="4587811" y="2170516"/>
                <a:ext cx="235644" cy="698984"/>
              </a:xfrm>
              <a:custGeom>
                <a:avLst/>
                <a:gdLst>
                  <a:gd name="connsiteX0" fmla="*/ 234887 w 235644"/>
                  <a:gd name="connsiteY0" fmla="*/ 304745 h 698984"/>
                  <a:gd name="connsiteX1" fmla="*/ 188119 w 235644"/>
                  <a:gd name="connsiteY1" fmla="*/ 75859 h 698984"/>
                  <a:gd name="connsiteX2" fmla="*/ 145256 w 235644"/>
                  <a:gd name="connsiteY2" fmla="*/ 13756 h 698984"/>
                  <a:gd name="connsiteX3" fmla="*/ 17716 w 235644"/>
                  <a:gd name="connsiteY3" fmla="*/ 47475 h 698984"/>
                  <a:gd name="connsiteX4" fmla="*/ 121444 w 235644"/>
                  <a:gd name="connsiteY4" fmla="*/ 299030 h 698984"/>
                  <a:gd name="connsiteX5" fmla="*/ 0 w 235644"/>
                  <a:gd name="connsiteY5" fmla="*/ 698985 h 698984"/>
                  <a:gd name="connsiteX6" fmla="*/ 132493 w 235644"/>
                  <a:gd name="connsiteY6" fmla="*/ 680792 h 698984"/>
                  <a:gd name="connsiteX7" fmla="*/ 161258 w 235644"/>
                  <a:gd name="connsiteY7" fmla="*/ 609926 h 698984"/>
                  <a:gd name="connsiteX8" fmla="*/ 234887 w 235644"/>
                  <a:gd name="connsiteY8" fmla="*/ 304745 h 698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5644" h="698984">
                    <a:moveTo>
                      <a:pt x="234887" y="304745"/>
                    </a:moveTo>
                    <a:cubicBezTo>
                      <a:pt x="239363" y="216353"/>
                      <a:pt x="224028" y="141487"/>
                      <a:pt x="188119" y="75859"/>
                    </a:cubicBezTo>
                    <a:cubicBezTo>
                      <a:pt x="176117" y="53952"/>
                      <a:pt x="161830" y="33283"/>
                      <a:pt x="145256" y="13756"/>
                    </a:cubicBezTo>
                    <a:cubicBezTo>
                      <a:pt x="76200" y="-18152"/>
                      <a:pt x="38290" y="10613"/>
                      <a:pt x="17716" y="47475"/>
                    </a:cubicBezTo>
                    <a:cubicBezTo>
                      <a:pt x="94679" y="111007"/>
                      <a:pt x="126968" y="190445"/>
                      <a:pt x="121444" y="299030"/>
                    </a:cubicBezTo>
                    <a:cubicBezTo>
                      <a:pt x="116205" y="402853"/>
                      <a:pt x="76200" y="534964"/>
                      <a:pt x="0" y="698985"/>
                    </a:cubicBezTo>
                    <a:cubicBezTo>
                      <a:pt x="35814" y="698032"/>
                      <a:pt x="87725" y="694127"/>
                      <a:pt x="132493" y="680792"/>
                    </a:cubicBezTo>
                    <a:cubicBezTo>
                      <a:pt x="142875" y="656503"/>
                      <a:pt x="152495" y="632977"/>
                      <a:pt x="161258" y="609926"/>
                    </a:cubicBezTo>
                    <a:cubicBezTo>
                      <a:pt x="206312" y="492388"/>
                      <a:pt x="230410" y="392566"/>
                      <a:pt x="234887" y="304745"/>
                    </a:cubicBezTo>
                    <a:close/>
                  </a:path>
                </a:pathLst>
              </a:custGeom>
              <a:solidFill>
                <a:srgbClr val="1A8856"/>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4" name="Freeform: Shape 35">
                <a:extLst>
                  <a:ext uri="{FF2B5EF4-FFF2-40B4-BE49-F238E27FC236}">
                    <a16:creationId xmlns:a16="http://schemas.microsoft.com/office/drawing/2014/main" id="{B2E52919-1A96-458B-BD07-13BAF6FB1FB4}"/>
                  </a:ext>
                </a:extLst>
              </p:cNvPr>
              <p:cNvSpPr/>
              <p:nvPr/>
            </p:nvSpPr>
            <p:spPr>
              <a:xfrm>
                <a:off x="4450174" y="2974085"/>
                <a:ext cx="146494" cy="215360"/>
              </a:xfrm>
              <a:custGeom>
                <a:avLst/>
                <a:gdLst>
                  <a:gd name="connsiteX0" fmla="*/ 86392 w 146494"/>
                  <a:gd name="connsiteY0" fmla="*/ 0 h 215360"/>
                  <a:gd name="connsiteX1" fmla="*/ 0 w 146494"/>
                  <a:gd name="connsiteY1" fmla="*/ 159068 h 215360"/>
                  <a:gd name="connsiteX2" fmla="*/ 98584 w 146494"/>
                  <a:gd name="connsiteY2" fmla="*/ 215360 h 215360"/>
                  <a:gd name="connsiteX3" fmla="*/ 146495 w 146494"/>
                  <a:gd name="connsiteY3" fmla="*/ 129350 h 215360"/>
                  <a:gd name="connsiteX4" fmla="*/ 86392 w 146494"/>
                  <a:gd name="connsiteY4" fmla="*/ 0 h 215360"/>
                  <a:gd name="connsiteX5" fmla="*/ 86392 w 146494"/>
                  <a:gd name="connsiteY5" fmla="*/ 0 h 2153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6494" h="215360">
                    <a:moveTo>
                      <a:pt x="86392" y="0"/>
                    </a:moveTo>
                    <a:cubicBezTo>
                      <a:pt x="60484" y="50387"/>
                      <a:pt x="31718" y="103346"/>
                      <a:pt x="0" y="159068"/>
                    </a:cubicBezTo>
                    <a:lnTo>
                      <a:pt x="98584" y="215360"/>
                    </a:lnTo>
                    <a:cubicBezTo>
                      <a:pt x="115443" y="185833"/>
                      <a:pt x="131350" y="157258"/>
                      <a:pt x="146495" y="129350"/>
                    </a:cubicBezTo>
                    <a:lnTo>
                      <a:pt x="86392" y="0"/>
                    </a:lnTo>
                    <a:cubicBezTo>
                      <a:pt x="86392" y="0"/>
                      <a:pt x="86392" y="0"/>
                      <a:pt x="86392" y="0"/>
                    </a:cubicBezTo>
                    <a:close/>
                  </a:path>
                </a:pathLst>
              </a:custGeom>
              <a:solidFill>
                <a:srgbClr val="1A8856"/>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nvGrpSpPr>
              <p:cNvPr id="35" name="Graphic 2">
                <a:extLst>
                  <a:ext uri="{FF2B5EF4-FFF2-40B4-BE49-F238E27FC236}">
                    <a16:creationId xmlns:a16="http://schemas.microsoft.com/office/drawing/2014/main" id="{B060FDF7-00C9-4649-A545-D2BE618B7B02}"/>
                  </a:ext>
                </a:extLst>
              </p:cNvPr>
              <p:cNvGrpSpPr/>
              <p:nvPr/>
            </p:nvGrpSpPr>
            <p:grpSpPr>
              <a:xfrm>
                <a:off x="3950397" y="2037365"/>
                <a:ext cx="782669" cy="260635"/>
                <a:chOff x="3950397" y="2037365"/>
                <a:chExt cx="782669" cy="260635"/>
              </a:xfrm>
            </p:grpSpPr>
            <p:sp>
              <p:nvSpPr>
                <p:cNvPr id="36" name="Freeform: Shape 37">
                  <a:extLst>
                    <a:ext uri="{FF2B5EF4-FFF2-40B4-BE49-F238E27FC236}">
                      <a16:creationId xmlns:a16="http://schemas.microsoft.com/office/drawing/2014/main" id="{898A5FAE-8D96-431B-9BEB-8F755230EA00}"/>
                    </a:ext>
                  </a:extLst>
                </p:cNvPr>
                <p:cNvSpPr/>
                <p:nvPr/>
              </p:nvSpPr>
              <p:spPr>
                <a:xfrm>
                  <a:off x="4066507" y="2037365"/>
                  <a:ext cx="666559" cy="199770"/>
                </a:xfrm>
                <a:custGeom>
                  <a:avLst/>
                  <a:gdLst>
                    <a:gd name="connsiteX0" fmla="*/ 557594 w 666559"/>
                    <a:gd name="connsiteY0" fmla="*/ 54038 h 199770"/>
                    <a:gd name="connsiteX1" fmla="*/ 331280 w 666559"/>
                    <a:gd name="connsiteY1" fmla="*/ 698 h 199770"/>
                    <a:gd name="connsiteX2" fmla="*/ 115062 w 666559"/>
                    <a:gd name="connsiteY2" fmla="*/ 49466 h 199770"/>
                    <a:gd name="connsiteX3" fmla="*/ 0 w 666559"/>
                    <a:gd name="connsiteY3" fmla="*/ 99948 h 199770"/>
                    <a:gd name="connsiteX4" fmla="*/ 54293 w 666559"/>
                    <a:gd name="connsiteY4" fmla="*/ 199770 h 199770"/>
                    <a:gd name="connsiteX5" fmla="*/ 154781 w 666559"/>
                    <a:gd name="connsiteY5" fmla="*/ 155765 h 199770"/>
                    <a:gd name="connsiteX6" fmla="*/ 496634 w 666559"/>
                    <a:gd name="connsiteY6" fmla="*/ 149764 h 199770"/>
                    <a:gd name="connsiteX7" fmla="*/ 539020 w 666559"/>
                    <a:gd name="connsiteY7" fmla="*/ 180435 h 199770"/>
                    <a:gd name="connsiteX8" fmla="*/ 666560 w 666559"/>
                    <a:gd name="connsiteY8" fmla="*/ 146716 h 199770"/>
                    <a:gd name="connsiteX9" fmla="*/ 557594 w 666559"/>
                    <a:gd name="connsiteY9" fmla="*/ 54038 h 1997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66559" h="199770">
                      <a:moveTo>
                        <a:pt x="557594" y="54038"/>
                      </a:moveTo>
                      <a:cubicBezTo>
                        <a:pt x="494824" y="14033"/>
                        <a:pt x="418624" y="-3874"/>
                        <a:pt x="331280" y="698"/>
                      </a:cubicBezTo>
                      <a:cubicBezTo>
                        <a:pt x="265271" y="4127"/>
                        <a:pt x="192500" y="20605"/>
                        <a:pt x="115062" y="49466"/>
                      </a:cubicBezTo>
                      <a:cubicBezTo>
                        <a:pt x="72580" y="65277"/>
                        <a:pt x="33528" y="83089"/>
                        <a:pt x="0" y="99948"/>
                      </a:cubicBezTo>
                      <a:lnTo>
                        <a:pt x="54293" y="199770"/>
                      </a:lnTo>
                      <a:cubicBezTo>
                        <a:pt x="83820" y="185007"/>
                        <a:pt x="118015" y="169576"/>
                        <a:pt x="154781" y="155765"/>
                      </a:cubicBezTo>
                      <a:cubicBezTo>
                        <a:pt x="255842" y="118046"/>
                        <a:pt x="397097" y="86423"/>
                        <a:pt x="496634" y="149764"/>
                      </a:cubicBezTo>
                      <a:cubicBezTo>
                        <a:pt x="512064" y="159575"/>
                        <a:pt x="526161" y="169767"/>
                        <a:pt x="539020" y="180435"/>
                      </a:cubicBezTo>
                      <a:cubicBezTo>
                        <a:pt x="559594" y="143573"/>
                        <a:pt x="597408" y="114807"/>
                        <a:pt x="666560" y="146716"/>
                      </a:cubicBezTo>
                      <a:cubicBezTo>
                        <a:pt x="637604" y="112712"/>
                        <a:pt x="601504" y="82041"/>
                        <a:pt x="557594" y="54038"/>
                      </a:cubicBezTo>
                      <a:close/>
                    </a:path>
                  </a:pathLst>
                </a:custGeom>
                <a:solidFill>
                  <a:srgbClr val="22B57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7" name="Freeform: Shape 38">
                  <a:extLst>
                    <a:ext uri="{FF2B5EF4-FFF2-40B4-BE49-F238E27FC236}">
                      <a16:creationId xmlns:a16="http://schemas.microsoft.com/office/drawing/2014/main" id="{3744DFF7-09B2-4FB6-8676-B0C88B595DBB}"/>
                    </a:ext>
                  </a:extLst>
                </p:cNvPr>
                <p:cNvSpPr/>
                <p:nvPr/>
              </p:nvSpPr>
              <p:spPr>
                <a:xfrm>
                  <a:off x="3950397" y="2137504"/>
                  <a:ext cx="170307" cy="160496"/>
                </a:xfrm>
                <a:custGeom>
                  <a:avLst/>
                  <a:gdLst>
                    <a:gd name="connsiteX0" fmla="*/ 0 w 170307"/>
                    <a:gd name="connsiteY0" fmla="*/ 66580 h 160496"/>
                    <a:gd name="connsiteX1" fmla="*/ 63818 w 170307"/>
                    <a:gd name="connsiteY1" fmla="*/ 160496 h 160496"/>
                    <a:gd name="connsiteX2" fmla="*/ 170307 w 170307"/>
                    <a:gd name="connsiteY2" fmla="*/ 99822 h 160496"/>
                    <a:gd name="connsiteX3" fmla="*/ 116015 w 170307"/>
                    <a:gd name="connsiteY3" fmla="*/ 0 h 160496"/>
                    <a:gd name="connsiteX4" fmla="*/ 0 w 170307"/>
                    <a:gd name="connsiteY4" fmla="*/ 66580 h 1604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0307" h="160496">
                      <a:moveTo>
                        <a:pt x="0" y="66580"/>
                      </a:moveTo>
                      <a:lnTo>
                        <a:pt x="63818" y="160496"/>
                      </a:lnTo>
                      <a:cubicBezTo>
                        <a:pt x="64389" y="160115"/>
                        <a:pt x="106585" y="131636"/>
                        <a:pt x="170307" y="99822"/>
                      </a:cubicBezTo>
                      <a:lnTo>
                        <a:pt x="116015" y="0"/>
                      </a:lnTo>
                      <a:cubicBezTo>
                        <a:pt x="47816" y="34290"/>
                        <a:pt x="2762" y="64675"/>
                        <a:pt x="0" y="66580"/>
                      </a:cubicBezTo>
                      <a:close/>
                    </a:path>
                  </a:pathLst>
                </a:custGeom>
                <a:solidFill>
                  <a:srgbClr val="1A8856"/>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grpSp>
        <p:sp>
          <p:nvSpPr>
            <p:cNvPr id="14" name="Freeform: Shape 15">
              <a:extLst>
                <a:ext uri="{FF2B5EF4-FFF2-40B4-BE49-F238E27FC236}">
                  <a16:creationId xmlns:a16="http://schemas.microsoft.com/office/drawing/2014/main" id="{3BAB26A4-CA14-43A3-AA46-7A4EA1DC18F2}"/>
                </a:ext>
              </a:extLst>
            </p:cNvPr>
            <p:cNvSpPr/>
            <p:nvPr/>
          </p:nvSpPr>
          <p:spPr>
            <a:xfrm>
              <a:off x="7662422" y="2443209"/>
              <a:ext cx="1616348" cy="1128044"/>
            </a:xfrm>
            <a:custGeom>
              <a:avLst/>
              <a:gdLst>
                <a:gd name="connsiteX0" fmla="*/ 264605 w 996219"/>
                <a:gd name="connsiteY0" fmla="*/ 21460 h 695258"/>
                <a:gd name="connsiteX1" fmla="*/ 224790 w 996219"/>
                <a:gd name="connsiteY1" fmla="*/ 9173 h 695258"/>
                <a:gd name="connsiteX2" fmla="*/ 0 w 996219"/>
                <a:gd name="connsiteY2" fmla="*/ 69752 h 695258"/>
                <a:gd name="connsiteX3" fmla="*/ 135731 w 996219"/>
                <a:gd name="connsiteY3" fmla="*/ 108138 h 695258"/>
                <a:gd name="connsiteX4" fmla="*/ 996220 w 996219"/>
                <a:gd name="connsiteY4" fmla="*/ 695259 h 695258"/>
                <a:gd name="connsiteX5" fmla="*/ 264605 w 996219"/>
                <a:gd name="connsiteY5" fmla="*/ 21460 h 6952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96219" h="695258">
                  <a:moveTo>
                    <a:pt x="264605" y="21460"/>
                  </a:moveTo>
                  <a:cubicBezTo>
                    <a:pt x="249460" y="16031"/>
                    <a:pt x="236030" y="11840"/>
                    <a:pt x="224790" y="9173"/>
                  </a:cubicBezTo>
                  <a:cubicBezTo>
                    <a:pt x="59055" y="-30165"/>
                    <a:pt x="0" y="69752"/>
                    <a:pt x="0" y="69752"/>
                  </a:cubicBezTo>
                  <a:lnTo>
                    <a:pt x="135731" y="108138"/>
                  </a:lnTo>
                  <a:cubicBezTo>
                    <a:pt x="330708" y="85659"/>
                    <a:pt x="817817" y="526571"/>
                    <a:pt x="996220" y="695259"/>
                  </a:cubicBezTo>
                  <a:cubicBezTo>
                    <a:pt x="755999" y="453515"/>
                    <a:pt x="406432" y="147190"/>
                    <a:pt x="264605" y="21460"/>
                  </a:cubicBezTo>
                  <a:close/>
                </a:path>
              </a:pathLst>
            </a:custGeom>
            <a:solidFill>
              <a:srgbClr val="22B57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5" name="Freeform: Shape 16">
              <a:extLst>
                <a:ext uri="{FF2B5EF4-FFF2-40B4-BE49-F238E27FC236}">
                  <a16:creationId xmlns:a16="http://schemas.microsoft.com/office/drawing/2014/main" id="{018565A6-2A4C-4035-A987-839B5CADA802}"/>
                </a:ext>
              </a:extLst>
            </p:cNvPr>
            <p:cNvSpPr/>
            <p:nvPr/>
          </p:nvSpPr>
          <p:spPr>
            <a:xfrm>
              <a:off x="8091893" y="2478027"/>
              <a:ext cx="1295366" cy="1197542"/>
            </a:xfrm>
            <a:custGeom>
              <a:avLst/>
              <a:gdLst>
                <a:gd name="connsiteX0" fmla="*/ 798386 w 798385"/>
                <a:gd name="connsiteY0" fmla="*/ 738092 h 738092"/>
                <a:gd name="connsiteX1" fmla="*/ 740283 w 798385"/>
                <a:gd name="connsiteY1" fmla="*/ 385096 h 738092"/>
                <a:gd name="connsiteX2" fmla="*/ 0 w 798385"/>
                <a:gd name="connsiteY2" fmla="*/ 0 h 738092"/>
                <a:gd name="connsiteX3" fmla="*/ 731615 w 798385"/>
                <a:gd name="connsiteY3" fmla="*/ 673703 h 738092"/>
                <a:gd name="connsiteX4" fmla="*/ 798386 w 798385"/>
                <a:gd name="connsiteY4" fmla="*/ 738092 h 7380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8385" h="738092">
                  <a:moveTo>
                    <a:pt x="798386" y="738092"/>
                  </a:moveTo>
                  <a:lnTo>
                    <a:pt x="740283" y="385096"/>
                  </a:lnTo>
                  <a:cubicBezTo>
                    <a:pt x="740283" y="385096"/>
                    <a:pt x="206883" y="74200"/>
                    <a:pt x="0" y="0"/>
                  </a:cubicBezTo>
                  <a:cubicBezTo>
                    <a:pt x="141827" y="125635"/>
                    <a:pt x="491395" y="432054"/>
                    <a:pt x="731615" y="673703"/>
                  </a:cubicBezTo>
                  <a:cubicBezTo>
                    <a:pt x="773430" y="713422"/>
                    <a:pt x="798386" y="738092"/>
                    <a:pt x="798386" y="738092"/>
                  </a:cubicBezTo>
                  <a:close/>
                </a:path>
              </a:pathLst>
            </a:custGeom>
            <a:solidFill>
              <a:srgbClr val="1A8856"/>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6" name="Freeform: Shape 17">
              <a:extLst>
                <a:ext uri="{FF2B5EF4-FFF2-40B4-BE49-F238E27FC236}">
                  <a16:creationId xmlns:a16="http://schemas.microsoft.com/office/drawing/2014/main" id="{0E9B551D-8017-4478-B8E1-6C5B61812B3A}"/>
                </a:ext>
              </a:extLst>
            </p:cNvPr>
            <p:cNvSpPr/>
            <p:nvPr/>
          </p:nvSpPr>
          <p:spPr>
            <a:xfrm>
              <a:off x="9047114" y="1348020"/>
              <a:ext cx="3245" cy="1854"/>
            </a:xfrm>
            <a:custGeom>
              <a:avLst/>
              <a:gdLst>
                <a:gd name="connsiteX0" fmla="*/ 0 w 2000"/>
                <a:gd name="connsiteY0" fmla="*/ 1143 h 1143"/>
                <a:gd name="connsiteX1" fmla="*/ 2000 w 2000"/>
                <a:gd name="connsiteY1" fmla="*/ 0 h 1143"/>
                <a:gd name="connsiteX2" fmla="*/ 0 w 2000"/>
                <a:gd name="connsiteY2" fmla="*/ 1143 h 1143"/>
              </a:gdLst>
              <a:ahLst/>
              <a:cxnLst>
                <a:cxn ang="0">
                  <a:pos x="connsiteX0" y="connsiteY0"/>
                </a:cxn>
                <a:cxn ang="0">
                  <a:pos x="connsiteX1" y="connsiteY1"/>
                </a:cxn>
                <a:cxn ang="0">
                  <a:pos x="connsiteX2" y="connsiteY2"/>
                </a:cxn>
              </a:cxnLst>
              <a:rect l="l" t="t" r="r" b="b"/>
              <a:pathLst>
                <a:path w="2000" h="1143">
                  <a:moveTo>
                    <a:pt x="0" y="1143"/>
                  </a:moveTo>
                  <a:lnTo>
                    <a:pt x="2000" y="0"/>
                  </a:lnTo>
                  <a:cubicBezTo>
                    <a:pt x="2000" y="0"/>
                    <a:pt x="1333" y="381"/>
                    <a:pt x="0" y="1143"/>
                  </a:cubicBezTo>
                  <a:close/>
                </a:path>
              </a:pathLst>
            </a:custGeom>
            <a:no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7" name="Freeform: Shape 18">
              <a:extLst>
                <a:ext uri="{FF2B5EF4-FFF2-40B4-BE49-F238E27FC236}">
                  <a16:creationId xmlns:a16="http://schemas.microsoft.com/office/drawing/2014/main" id="{7376C9FC-0296-4708-95BE-EDBC682AE306}"/>
                </a:ext>
              </a:extLst>
            </p:cNvPr>
            <p:cNvSpPr/>
            <p:nvPr/>
          </p:nvSpPr>
          <p:spPr>
            <a:xfrm>
              <a:off x="8646289" y="1115327"/>
              <a:ext cx="2289338" cy="2663148"/>
            </a:xfrm>
            <a:custGeom>
              <a:avLst/>
              <a:gdLst>
                <a:gd name="connsiteX0" fmla="*/ 1402332 w 1411009"/>
                <a:gd name="connsiteY0" fmla="*/ 1245937 h 1641403"/>
                <a:gd name="connsiteX1" fmla="*/ 720056 w 1411009"/>
                <a:gd name="connsiteY1" fmla="*/ 79029 h 1641403"/>
                <a:gd name="connsiteX2" fmla="*/ 695576 w 1411009"/>
                <a:gd name="connsiteY2" fmla="*/ 55312 h 1641403"/>
                <a:gd name="connsiteX3" fmla="*/ 450308 w 1411009"/>
                <a:gd name="connsiteY3" fmla="*/ 27594 h 1641403"/>
                <a:gd name="connsiteX4" fmla="*/ 248949 w 1411009"/>
                <a:gd name="connsiteY4" fmla="*/ 143418 h 1641403"/>
                <a:gd name="connsiteX5" fmla="*/ 248949 w 1411009"/>
                <a:gd name="connsiteY5" fmla="*/ 143418 h 1641403"/>
                <a:gd name="connsiteX6" fmla="*/ 248949 w 1411009"/>
                <a:gd name="connsiteY6" fmla="*/ 143418 h 1641403"/>
                <a:gd name="connsiteX7" fmla="*/ 246949 w 1411009"/>
                <a:gd name="connsiteY7" fmla="*/ 144561 h 1641403"/>
                <a:gd name="connsiteX8" fmla="*/ 5109 w 1411009"/>
                <a:gd name="connsiteY8" fmla="*/ 529276 h 1641403"/>
                <a:gd name="connsiteX9" fmla="*/ 617757 w 1411009"/>
                <a:gd name="connsiteY9" fmla="*/ 1574549 h 1641403"/>
                <a:gd name="connsiteX10" fmla="*/ 885315 w 1411009"/>
                <a:gd name="connsiteY10" fmla="*/ 1621888 h 1641403"/>
                <a:gd name="connsiteX11" fmla="*/ 1379472 w 1411009"/>
                <a:gd name="connsiteY11" fmla="*/ 1332995 h 1641403"/>
                <a:gd name="connsiteX12" fmla="*/ 1402332 w 1411009"/>
                <a:gd name="connsiteY12" fmla="*/ 1245937 h 16414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11009" h="1641403">
                  <a:moveTo>
                    <a:pt x="1402332" y="1245937"/>
                  </a:moveTo>
                  <a:lnTo>
                    <a:pt x="720056" y="79029"/>
                  </a:lnTo>
                  <a:cubicBezTo>
                    <a:pt x="714055" y="68647"/>
                    <a:pt x="705482" y="60646"/>
                    <a:pt x="695576" y="55312"/>
                  </a:cubicBezTo>
                  <a:cubicBezTo>
                    <a:pt x="630425" y="-4791"/>
                    <a:pt x="530889" y="-18793"/>
                    <a:pt x="450308" y="27594"/>
                  </a:cubicBezTo>
                  <a:lnTo>
                    <a:pt x="248949" y="143418"/>
                  </a:lnTo>
                  <a:lnTo>
                    <a:pt x="248949" y="143418"/>
                  </a:lnTo>
                  <a:lnTo>
                    <a:pt x="248949" y="143418"/>
                  </a:lnTo>
                  <a:lnTo>
                    <a:pt x="246949" y="144561"/>
                  </a:lnTo>
                  <a:cubicBezTo>
                    <a:pt x="221612" y="159325"/>
                    <a:pt x="-39468" y="317249"/>
                    <a:pt x="5109" y="529276"/>
                  </a:cubicBezTo>
                  <a:cubicBezTo>
                    <a:pt x="51972" y="752161"/>
                    <a:pt x="560131" y="1524638"/>
                    <a:pt x="617757" y="1574549"/>
                  </a:cubicBezTo>
                  <a:cubicBezTo>
                    <a:pt x="715865" y="1659512"/>
                    <a:pt x="815306" y="1648939"/>
                    <a:pt x="885315" y="1621888"/>
                  </a:cubicBezTo>
                  <a:lnTo>
                    <a:pt x="1379472" y="1332995"/>
                  </a:lnTo>
                  <a:cubicBezTo>
                    <a:pt x="1409761" y="1315374"/>
                    <a:pt x="1420048" y="1276131"/>
                    <a:pt x="1402332" y="1245937"/>
                  </a:cubicBezTo>
                  <a:close/>
                </a:path>
              </a:pathLst>
            </a:custGeom>
            <a:solidFill>
              <a:srgbClr val="22B57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8" name="Freeform: Shape 19">
              <a:extLst>
                <a:ext uri="{FF2B5EF4-FFF2-40B4-BE49-F238E27FC236}">
                  <a16:creationId xmlns:a16="http://schemas.microsoft.com/office/drawing/2014/main" id="{4F210F35-6942-49F2-A5E4-486F08601710}"/>
                </a:ext>
              </a:extLst>
            </p:cNvPr>
            <p:cNvSpPr/>
            <p:nvPr/>
          </p:nvSpPr>
          <p:spPr>
            <a:xfrm>
              <a:off x="9050359" y="1348020"/>
              <a:ext cx="15454" cy="15454"/>
            </a:xfrm>
            <a:custGeom>
              <a:avLst/>
              <a:gdLst>
                <a:gd name="connsiteX0" fmla="*/ 0 w 9525"/>
                <a:gd name="connsiteY0" fmla="*/ 0 h 9525"/>
                <a:gd name="connsiteX1" fmla="*/ 0 w 9525"/>
                <a:gd name="connsiteY1" fmla="*/ 0 h 9525"/>
                <a:gd name="connsiteX2" fmla="*/ 0 w 9525"/>
                <a:gd name="connsiteY2" fmla="*/ 0 h 9525"/>
              </a:gdLst>
              <a:ahLst/>
              <a:cxnLst>
                <a:cxn ang="0">
                  <a:pos x="connsiteX0" y="connsiteY0"/>
                </a:cxn>
                <a:cxn ang="0">
                  <a:pos x="connsiteX1" y="connsiteY1"/>
                </a:cxn>
                <a:cxn ang="0">
                  <a:pos x="connsiteX2" y="connsiteY2"/>
                </a:cxn>
              </a:cxnLst>
              <a:rect l="l" t="t" r="r" b="b"/>
              <a:pathLst>
                <a:path w="9525" h="9525">
                  <a:moveTo>
                    <a:pt x="0" y="0"/>
                  </a:moveTo>
                  <a:lnTo>
                    <a:pt x="0" y="0"/>
                  </a:lnTo>
                  <a:lnTo>
                    <a:pt x="0" y="0"/>
                  </a:lnTo>
                  <a:close/>
                </a:path>
              </a:pathLst>
            </a:custGeom>
            <a:solidFill>
              <a:srgbClr val="1A8856"/>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9" name="Freeform: Shape 20">
              <a:extLst>
                <a:ext uri="{FF2B5EF4-FFF2-40B4-BE49-F238E27FC236}">
                  <a16:creationId xmlns:a16="http://schemas.microsoft.com/office/drawing/2014/main" id="{DFC3CDDA-4B06-43C9-B74E-3DBBC6CA0DCB}"/>
                </a:ext>
              </a:extLst>
            </p:cNvPr>
            <p:cNvSpPr/>
            <p:nvPr/>
          </p:nvSpPr>
          <p:spPr>
            <a:xfrm>
              <a:off x="8412955" y="1349875"/>
              <a:ext cx="1670049" cy="2643809"/>
            </a:xfrm>
            <a:custGeom>
              <a:avLst/>
              <a:gdLst>
                <a:gd name="connsiteX0" fmla="*/ 761664 w 1029317"/>
                <a:gd name="connsiteY0" fmla="*/ 1429988 h 1629484"/>
                <a:gd name="connsiteX1" fmla="*/ 149017 w 1029317"/>
                <a:gd name="connsiteY1" fmla="*/ 384715 h 1629484"/>
                <a:gd name="connsiteX2" fmla="*/ 390856 w 1029317"/>
                <a:gd name="connsiteY2" fmla="*/ 0 h 1629484"/>
                <a:gd name="connsiteX3" fmla="*/ 104154 w 1029317"/>
                <a:gd name="connsiteY3" fmla="*/ 164973 h 1629484"/>
                <a:gd name="connsiteX4" fmla="*/ 5951 w 1029317"/>
                <a:gd name="connsiteY4" fmla="*/ 395287 h 1629484"/>
                <a:gd name="connsiteX5" fmla="*/ 14524 w 1029317"/>
                <a:gd name="connsiteY5" fmla="*/ 431101 h 1629484"/>
                <a:gd name="connsiteX6" fmla="*/ 696799 w 1029317"/>
                <a:gd name="connsiteY6" fmla="*/ 1598009 h 1629484"/>
                <a:gd name="connsiteX7" fmla="*/ 783858 w 1029317"/>
                <a:gd name="connsiteY7" fmla="*/ 1620869 h 1629484"/>
                <a:gd name="connsiteX8" fmla="*/ 1029317 w 1029317"/>
                <a:gd name="connsiteY8" fmla="*/ 1477423 h 1629484"/>
                <a:gd name="connsiteX9" fmla="*/ 761664 w 1029317"/>
                <a:gd name="connsiteY9" fmla="*/ 1429988 h 1629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29317" h="1629484">
                  <a:moveTo>
                    <a:pt x="761664" y="1429988"/>
                  </a:moveTo>
                  <a:cubicBezTo>
                    <a:pt x="704134" y="1380077"/>
                    <a:pt x="195880" y="607600"/>
                    <a:pt x="149017" y="384715"/>
                  </a:cubicBezTo>
                  <a:cubicBezTo>
                    <a:pt x="104440" y="172593"/>
                    <a:pt x="365520" y="14668"/>
                    <a:pt x="390856" y="0"/>
                  </a:cubicBezTo>
                  <a:lnTo>
                    <a:pt x="104154" y="164973"/>
                  </a:lnTo>
                  <a:cubicBezTo>
                    <a:pt x="22239" y="212122"/>
                    <a:pt x="-15575" y="307562"/>
                    <a:pt x="5951" y="395287"/>
                  </a:cubicBezTo>
                  <a:cubicBezTo>
                    <a:pt x="5189" y="407384"/>
                    <a:pt x="7951" y="419862"/>
                    <a:pt x="14524" y="431101"/>
                  </a:cubicBezTo>
                  <a:lnTo>
                    <a:pt x="696799" y="1598009"/>
                  </a:lnTo>
                  <a:cubicBezTo>
                    <a:pt x="714421" y="1628204"/>
                    <a:pt x="753664" y="1638491"/>
                    <a:pt x="783858" y="1620869"/>
                  </a:cubicBezTo>
                  <a:lnTo>
                    <a:pt x="1029317" y="1477423"/>
                  </a:lnTo>
                  <a:cubicBezTo>
                    <a:pt x="959213" y="1504379"/>
                    <a:pt x="859772" y="1514951"/>
                    <a:pt x="761664" y="1429988"/>
                  </a:cubicBezTo>
                  <a:close/>
                </a:path>
              </a:pathLst>
            </a:custGeom>
            <a:solidFill>
              <a:srgbClr val="1A8856"/>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0" name="Freeform: Shape 21">
              <a:extLst>
                <a:ext uri="{FF2B5EF4-FFF2-40B4-BE49-F238E27FC236}">
                  <a16:creationId xmlns:a16="http://schemas.microsoft.com/office/drawing/2014/main" id="{4288B7EF-C5F0-47D8-89EF-762E03872320}"/>
                </a:ext>
              </a:extLst>
            </p:cNvPr>
            <p:cNvSpPr/>
            <p:nvPr/>
          </p:nvSpPr>
          <p:spPr>
            <a:xfrm>
              <a:off x="8941451" y="1289176"/>
              <a:ext cx="811324" cy="327662"/>
            </a:xfrm>
            <a:custGeom>
              <a:avLst/>
              <a:gdLst>
                <a:gd name="connsiteX0" fmla="*/ 21023 w 500051"/>
                <a:gd name="connsiteY0" fmla="*/ 200956 h 201951"/>
                <a:gd name="connsiteX1" fmla="*/ 3783 w 500051"/>
                <a:gd name="connsiteY1" fmla="*/ 187716 h 201951"/>
                <a:gd name="connsiteX2" fmla="*/ 14260 w 500051"/>
                <a:gd name="connsiteY2" fmla="*/ 148949 h 201951"/>
                <a:gd name="connsiteX3" fmla="*/ 74839 w 500051"/>
                <a:gd name="connsiteY3" fmla="*/ 113516 h 201951"/>
                <a:gd name="connsiteX4" fmla="*/ 239526 w 500051"/>
                <a:gd name="connsiteY4" fmla="*/ 22267 h 201951"/>
                <a:gd name="connsiteX5" fmla="*/ 490796 w 500051"/>
                <a:gd name="connsiteY5" fmla="*/ 58652 h 201951"/>
                <a:gd name="connsiteX6" fmla="*/ 492606 w 500051"/>
                <a:gd name="connsiteY6" fmla="*/ 98752 h 201951"/>
                <a:gd name="connsiteX7" fmla="*/ 452506 w 500051"/>
                <a:gd name="connsiteY7" fmla="*/ 100562 h 201951"/>
                <a:gd name="connsiteX8" fmla="*/ 264673 w 500051"/>
                <a:gd name="connsiteY8" fmla="*/ 73130 h 201951"/>
                <a:gd name="connsiteX9" fmla="*/ 264387 w 500051"/>
                <a:gd name="connsiteY9" fmla="*/ 73226 h 201951"/>
                <a:gd name="connsiteX10" fmla="*/ 103700 w 500051"/>
                <a:gd name="connsiteY10" fmla="*/ 162284 h 201951"/>
                <a:gd name="connsiteX11" fmla="*/ 42549 w 500051"/>
                <a:gd name="connsiteY11" fmla="*/ 198098 h 201951"/>
                <a:gd name="connsiteX12" fmla="*/ 21023 w 500051"/>
                <a:gd name="connsiteY12" fmla="*/ 200956 h 201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0051" h="201951">
                  <a:moveTo>
                    <a:pt x="21023" y="200956"/>
                  </a:moveTo>
                  <a:cubicBezTo>
                    <a:pt x="13974" y="199051"/>
                    <a:pt x="7688" y="194479"/>
                    <a:pt x="3783" y="187716"/>
                  </a:cubicBezTo>
                  <a:cubicBezTo>
                    <a:pt x="-4028" y="174095"/>
                    <a:pt x="639" y="156760"/>
                    <a:pt x="14260" y="148949"/>
                  </a:cubicBezTo>
                  <a:cubicBezTo>
                    <a:pt x="34644" y="137233"/>
                    <a:pt x="55027" y="125137"/>
                    <a:pt x="74839" y="113516"/>
                  </a:cubicBezTo>
                  <a:cubicBezTo>
                    <a:pt x="127512" y="82369"/>
                    <a:pt x="181995" y="50175"/>
                    <a:pt x="239526" y="22267"/>
                  </a:cubicBezTo>
                  <a:cubicBezTo>
                    <a:pt x="320108" y="-17738"/>
                    <a:pt x="423454" y="-2784"/>
                    <a:pt x="490796" y="58652"/>
                  </a:cubicBezTo>
                  <a:cubicBezTo>
                    <a:pt x="502416" y="69225"/>
                    <a:pt x="503178" y="87132"/>
                    <a:pt x="492606" y="98752"/>
                  </a:cubicBezTo>
                  <a:cubicBezTo>
                    <a:pt x="482033" y="110373"/>
                    <a:pt x="464126" y="111135"/>
                    <a:pt x="452506" y="100562"/>
                  </a:cubicBezTo>
                  <a:cubicBezTo>
                    <a:pt x="402023" y="54461"/>
                    <a:pt x="324775" y="43222"/>
                    <a:pt x="264673" y="73130"/>
                  </a:cubicBezTo>
                  <a:lnTo>
                    <a:pt x="264387" y="73226"/>
                  </a:lnTo>
                  <a:cubicBezTo>
                    <a:pt x="208856" y="100181"/>
                    <a:pt x="157802" y="130376"/>
                    <a:pt x="103700" y="162284"/>
                  </a:cubicBezTo>
                  <a:cubicBezTo>
                    <a:pt x="83793" y="174095"/>
                    <a:pt x="63219" y="186192"/>
                    <a:pt x="42549" y="198098"/>
                  </a:cubicBezTo>
                  <a:cubicBezTo>
                    <a:pt x="35787" y="202099"/>
                    <a:pt x="28071" y="202861"/>
                    <a:pt x="21023" y="200956"/>
                  </a:cubicBezTo>
                  <a:close/>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1" name="Freeform: Shape 22">
              <a:extLst>
                <a:ext uri="{FF2B5EF4-FFF2-40B4-BE49-F238E27FC236}">
                  <a16:creationId xmlns:a16="http://schemas.microsoft.com/office/drawing/2014/main" id="{49952282-E278-4AFB-B961-822451E25D24}"/>
                </a:ext>
              </a:extLst>
            </p:cNvPr>
            <p:cNvSpPr/>
            <p:nvPr/>
          </p:nvSpPr>
          <p:spPr>
            <a:xfrm>
              <a:off x="7295762" y="2628154"/>
              <a:ext cx="345574" cy="216136"/>
            </a:xfrm>
            <a:custGeom>
              <a:avLst/>
              <a:gdLst>
                <a:gd name="connsiteX0" fmla="*/ 17199 w 212991"/>
                <a:gd name="connsiteY0" fmla="*/ 133213 h 133213"/>
                <a:gd name="connsiteX1" fmla="*/ 2149 w 212991"/>
                <a:gd name="connsiteY1" fmla="*/ 124355 h 133213"/>
                <a:gd name="connsiteX2" fmla="*/ 8817 w 212991"/>
                <a:gd name="connsiteY2" fmla="*/ 101019 h 133213"/>
                <a:gd name="connsiteX3" fmla="*/ 187506 w 212991"/>
                <a:gd name="connsiteY3" fmla="*/ 2149 h 133213"/>
                <a:gd name="connsiteX4" fmla="*/ 210842 w 212991"/>
                <a:gd name="connsiteY4" fmla="*/ 8817 h 133213"/>
                <a:gd name="connsiteX5" fmla="*/ 204175 w 212991"/>
                <a:gd name="connsiteY5" fmla="*/ 32153 h 133213"/>
                <a:gd name="connsiteX6" fmla="*/ 25486 w 212991"/>
                <a:gd name="connsiteY6" fmla="*/ 131023 h 133213"/>
                <a:gd name="connsiteX7" fmla="*/ 17199 w 212991"/>
                <a:gd name="connsiteY7" fmla="*/ 133213 h 133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2991" h="133213">
                  <a:moveTo>
                    <a:pt x="17199" y="133213"/>
                  </a:moveTo>
                  <a:cubicBezTo>
                    <a:pt x="11198" y="133213"/>
                    <a:pt x="5293" y="129975"/>
                    <a:pt x="2149" y="124355"/>
                  </a:cubicBezTo>
                  <a:cubicBezTo>
                    <a:pt x="-2423" y="116068"/>
                    <a:pt x="530" y="105591"/>
                    <a:pt x="8817" y="101019"/>
                  </a:cubicBezTo>
                  <a:lnTo>
                    <a:pt x="187506" y="2149"/>
                  </a:lnTo>
                  <a:cubicBezTo>
                    <a:pt x="195793" y="-2423"/>
                    <a:pt x="206270" y="530"/>
                    <a:pt x="210842" y="8817"/>
                  </a:cubicBezTo>
                  <a:cubicBezTo>
                    <a:pt x="215414" y="17104"/>
                    <a:pt x="212461" y="27581"/>
                    <a:pt x="204175" y="32153"/>
                  </a:cubicBezTo>
                  <a:lnTo>
                    <a:pt x="25486" y="131023"/>
                  </a:lnTo>
                  <a:cubicBezTo>
                    <a:pt x="22914" y="132547"/>
                    <a:pt x="20056" y="133213"/>
                    <a:pt x="17199" y="133213"/>
                  </a:cubicBezTo>
                  <a:close/>
                </a:path>
              </a:pathLst>
            </a:custGeom>
            <a:solidFill>
              <a:schemeClr val="bg1">
                <a:lumMod val="95000"/>
              </a:scheme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2" name="Freeform: Shape 23">
              <a:extLst>
                <a:ext uri="{FF2B5EF4-FFF2-40B4-BE49-F238E27FC236}">
                  <a16:creationId xmlns:a16="http://schemas.microsoft.com/office/drawing/2014/main" id="{1167D458-E091-4325-9E4E-D95F401B2421}"/>
                </a:ext>
              </a:extLst>
            </p:cNvPr>
            <p:cNvSpPr/>
            <p:nvPr/>
          </p:nvSpPr>
          <p:spPr>
            <a:xfrm>
              <a:off x="7511907" y="2713477"/>
              <a:ext cx="250029" cy="480604"/>
            </a:xfrm>
            <a:custGeom>
              <a:avLst/>
              <a:gdLst>
                <a:gd name="connsiteX0" fmla="*/ 16092 w 154103"/>
                <a:gd name="connsiteY0" fmla="*/ 296176 h 296215"/>
                <a:gd name="connsiteX1" fmla="*/ 9806 w 154103"/>
                <a:gd name="connsiteY1" fmla="*/ 294367 h 296215"/>
                <a:gd name="connsiteX2" fmla="*/ 1805 w 154103"/>
                <a:gd name="connsiteY2" fmla="*/ 269316 h 296215"/>
                <a:gd name="connsiteX3" fmla="*/ 120772 w 154103"/>
                <a:gd name="connsiteY3" fmla="*/ 10617 h 296215"/>
                <a:gd name="connsiteX4" fmla="*/ 144298 w 154103"/>
                <a:gd name="connsiteY4" fmla="*/ 1854 h 296215"/>
                <a:gd name="connsiteX5" fmla="*/ 152299 w 154103"/>
                <a:gd name="connsiteY5" fmla="*/ 26905 h 296215"/>
                <a:gd name="connsiteX6" fmla="*/ 33332 w 154103"/>
                <a:gd name="connsiteY6" fmla="*/ 285604 h 296215"/>
                <a:gd name="connsiteX7" fmla="*/ 16092 w 154103"/>
                <a:gd name="connsiteY7" fmla="*/ 296176 h 296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4103" h="296215">
                  <a:moveTo>
                    <a:pt x="16092" y="296176"/>
                  </a:moveTo>
                  <a:cubicBezTo>
                    <a:pt x="13997" y="295986"/>
                    <a:pt x="11806" y="295414"/>
                    <a:pt x="9806" y="294367"/>
                  </a:cubicBezTo>
                  <a:cubicBezTo>
                    <a:pt x="1138" y="289890"/>
                    <a:pt x="-2482" y="278650"/>
                    <a:pt x="1805" y="269316"/>
                  </a:cubicBezTo>
                  <a:lnTo>
                    <a:pt x="120772" y="10617"/>
                  </a:lnTo>
                  <a:cubicBezTo>
                    <a:pt x="125058" y="1282"/>
                    <a:pt x="135631" y="-2623"/>
                    <a:pt x="144298" y="1854"/>
                  </a:cubicBezTo>
                  <a:cubicBezTo>
                    <a:pt x="152966" y="6331"/>
                    <a:pt x="156586" y="17570"/>
                    <a:pt x="152299" y="26905"/>
                  </a:cubicBezTo>
                  <a:lnTo>
                    <a:pt x="33332" y="285604"/>
                  </a:lnTo>
                  <a:cubicBezTo>
                    <a:pt x="29998" y="292747"/>
                    <a:pt x="23045" y="296653"/>
                    <a:pt x="16092" y="296176"/>
                  </a:cubicBezTo>
                  <a:close/>
                </a:path>
              </a:pathLst>
            </a:custGeom>
            <a:solidFill>
              <a:schemeClr val="bg1">
                <a:lumMod val="95000"/>
              </a:scheme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23" name="Freeform: Shape 24">
              <a:extLst>
                <a:ext uri="{FF2B5EF4-FFF2-40B4-BE49-F238E27FC236}">
                  <a16:creationId xmlns:a16="http://schemas.microsoft.com/office/drawing/2014/main" id="{A28CEE9F-2C05-4B2E-84C8-CFB3DC793B85}"/>
                </a:ext>
              </a:extLst>
            </p:cNvPr>
            <p:cNvSpPr/>
            <p:nvPr/>
          </p:nvSpPr>
          <p:spPr>
            <a:xfrm>
              <a:off x="7837775" y="2758624"/>
              <a:ext cx="120799" cy="315660"/>
            </a:xfrm>
            <a:custGeom>
              <a:avLst/>
              <a:gdLst>
                <a:gd name="connsiteX0" fmla="*/ 60515 w 74453"/>
                <a:gd name="connsiteY0" fmla="*/ 194532 h 194554"/>
                <a:gd name="connsiteX1" fmla="*/ 45466 w 74453"/>
                <a:gd name="connsiteY1" fmla="*/ 183673 h 194554"/>
                <a:gd name="connsiteX2" fmla="*/ 508 w 74453"/>
                <a:gd name="connsiteY2" fmla="*/ 18605 h 194554"/>
                <a:gd name="connsiteX3" fmla="*/ 10890 w 74453"/>
                <a:gd name="connsiteY3" fmla="*/ 508 h 194554"/>
                <a:gd name="connsiteX4" fmla="*/ 28988 w 74453"/>
                <a:gd name="connsiteY4" fmla="*/ 10890 h 194554"/>
                <a:gd name="connsiteX5" fmla="*/ 73945 w 74453"/>
                <a:gd name="connsiteY5" fmla="*/ 175958 h 194554"/>
                <a:gd name="connsiteX6" fmla="*/ 63563 w 74453"/>
                <a:gd name="connsiteY6" fmla="*/ 194056 h 194554"/>
                <a:gd name="connsiteX7" fmla="*/ 60515 w 74453"/>
                <a:gd name="connsiteY7" fmla="*/ 194532 h 1945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4453" h="194554">
                  <a:moveTo>
                    <a:pt x="60515" y="194532"/>
                  </a:moveTo>
                  <a:cubicBezTo>
                    <a:pt x="53752" y="194913"/>
                    <a:pt x="47371" y="190532"/>
                    <a:pt x="45466" y="183673"/>
                  </a:cubicBezTo>
                  <a:lnTo>
                    <a:pt x="508" y="18605"/>
                  </a:lnTo>
                  <a:cubicBezTo>
                    <a:pt x="-1588" y="10795"/>
                    <a:pt x="2984" y="2698"/>
                    <a:pt x="10890" y="508"/>
                  </a:cubicBezTo>
                  <a:cubicBezTo>
                    <a:pt x="18796" y="-1588"/>
                    <a:pt x="26797" y="2984"/>
                    <a:pt x="28988" y="10890"/>
                  </a:cubicBezTo>
                  <a:lnTo>
                    <a:pt x="73945" y="175958"/>
                  </a:lnTo>
                  <a:cubicBezTo>
                    <a:pt x="76041" y="183769"/>
                    <a:pt x="71469" y="191865"/>
                    <a:pt x="63563" y="194056"/>
                  </a:cubicBezTo>
                  <a:cubicBezTo>
                    <a:pt x="62515" y="194341"/>
                    <a:pt x="61563" y="194437"/>
                    <a:pt x="60515" y="194532"/>
                  </a:cubicBezTo>
                  <a:close/>
                </a:path>
              </a:pathLst>
            </a:custGeom>
            <a:solidFill>
              <a:schemeClr val="bg1">
                <a:lumMod val="95000"/>
              </a:scheme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4" name="Freeform: Shape 25">
              <a:extLst>
                <a:ext uri="{FF2B5EF4-FFF2-40B4-BE49-F238E27FC236}">
                  <a16:creationId xmlns:a16="http://schemas.microsoft.com/office/drawing/2014/main" id="{DCD0E2BF-80E5-4E62-A367-C1AC0D3DA4FF}"/>
                </a:ext>
              </a:extLst>
            </p:cNvPr>
            <p:cNvSpPr/>
            <p:nvPr/>
          </p:nvSpPr>
          <p:spPr>
            <a:xfrm>
              <a:off x="10414678" y="1858163"/>
              <a:ext cx="697731" cy="343551"/>
            </a:xfrm>
            <a:custGeom>
              <a:avLst/>
              <a:gdLst>
                <a:gd name="connsiteX0" fmla="*/ 26939 w 430039"/>
                <a:gd name="connsiteY0" fmla="*/ 0 h 211744"/>
                <a:gd name="connsiteX1" fmla="*/ 12366 w 430039"/>
                <a:gd name="connsiteY1" fmla="*/ 111919 h 211744"/>
                <a:gd name="connsiteX2" fmla="*/ 297639 w 430039"/>
                <a:gd name="connsiteY2" fmla="*/ 208502 h 211744"/>
                <a:gd name="connsiteX3" fmla="*/ 344217 w 430039"/>
                <a:gd name="connsiteY3" fmla="*/ 1714 h 211744"/>
              </a:gdLst>
              <a:ahLst/>
              <a:cxnLst>
                <a:cxn ang="0">
                  <a:pos x="connsiteX0" y="connsiteY0"/>
                </a:cxn>
                <a:cxn ang="0">
                  <a:pos x="connsiteX1" y="connsiteY1"/>
                </a:cxn>
                <a:cxn ang="0">
                  <a:pos x="connsiteX2" y="connsiteY2"/>
                </a:cxn>
                <a:cxn ang="0">
                  <a:pos x="connsiteX3" y="connsiteY3"/>
                </a:cxn>
              </a:cxnLst>
              <a:rect l="l" t="t" r="r" b="b"/>
              <a:pathLst>
                <a:path w="430039" h="211744">
                  <a:moveTo>
                    <a:pt x="26939" y="0"/>
                  </a:moveTo>
                  <a:cubicBezTo>
                    <a:pt x="26939" y="0"/>
                    <a:pt x="-22305" y="18669"/>
                    <a:pt x="12366" y="111919"/>
                  </a:cubicBezTo>
                  <a:cubicBezTo>
                    <a:pt x="43322" y="194881"/>
                    <a:pt x="200294" y="221837"/>
                    <a:pt x="297639" y="208502"/>
                  </a:cubicBezTo>
                  <a:cubicBezTo>
                    <a:pt x="485187" y="182785"/>
                    <a:pt x="447563" y="52197"/>
                    <a:pt x="344217" y="1714"/>
                  </a:cubicBezTo>
                </a:path>
              </a:pathLst>
            </a:custGeom>
            <a:solidFill>
              <a:srgbClr val="FFCEAD"/>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5" name="Freeform: Shape 26">
              <a:extLst>
                <a:ext uri="{FF2B5EF4-FFF2-40B4-BE49-F238E27FC236}">
                  <a16:creationId xmlns:a16="http://schemas.microsoft.com/office/drawing/2014/main" id="{0B3E4E81-560E-4AE9-9E9E-634B7DB234F2}"/>
                </a:ext>
              </a:extLst>
            </p:cNvPr>
            <p:cNvSpPr/>
            <p:nvPr/>
          </p:nvSpPr>
          <p:spPr>
            <a:xfrm>
              <a:off x="10510002" y="1475673"/>
              <a:ext cx="422979" cy="70056"/>
            </a:xfrm>
            <a:custGeom>
              <a:avLst/>
              <a:gdLst>
                <a:gd name="connsiteX0" fmla="*/ 260699 w 260699"/>
                <a:gd name="connsiteY0" fmla="*/ 16669 h 43178"/>
                <a:gd name="connsiteX1" fmla="*/ 0 w 260699"/>
                <a:gd name="connsiteY1" fmla="*/ 0 h 43178"/>
                <a:gd name="connsiteX2" fmla="*/ 260699 w 260699"/>
                <a:gd name="connsiteY2" fmla="*/ 16669 h 43178"/>
              </a:gdLst>
              <a:ahLst/>
              <a:cxnLst>
                <a:cxn ang="0">
                  <a:pos x="connsiteX0" y="connsiteY0"/>
                </a:cxn>
                <a:cxn ang="0">
                  <a:pos x="connsiteX1" y="connsiteY1"/>
                </a:cxn>
                <a:cxn ang="0">
                  <a:pos x="connsiteX2" y="connsiteY2"/>
                </a:cxn>
              </a:cxnLst>
              <a:rect l="l" t="t" r="r" b="b"/>
              <a:pathLst>
                <a:path w="260699" h="43178">
                  <a:moveTo>
                    <a:pt x="260699" y="16669"/>
                  </a:moveTo>
                  <a:lnTo>
                    <a:pt x="0" y="0"/>
                  </a:lnTo>
                  <a:cubicBezTo>
                    <a:pt x="123730" y="68580"/>
                    <a:pt x="215551" y="40672"/>
                    <a:pt x="260699" y="16669"/>
                  </a:cubicBezTo>
                  <a:close/>
                </a:path>
              </a:pathLst>
            </a:custGeom>
            <a:solidFill>
              <a:srgbClr val="FFCEAD"/>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6" name="Freeform: Shape 27">
              <a:extLst>
                <a:ext uri="{FF2B5EF4-FFF2-40B4-BE49-F238E27FC236}">
                  <a16:creationId xmlns:a16="http://schemas.microsoft.com/office/drawing/2014/main" id="{3B140BB2-FE2E-41E8-9876-8F831FF7AB2A}"/>
                </a:ext>
              </a:extLst>
            </p:cNvPr>
            <p:cNvSpPr/>
            <p:nvPr/>
          </p:nvSpPr>
          <p:spPr>
            <a:xfrm>
              <a:off x="10341480" y="1536408"/>
              <a:ext cx="812388" cy="396083"/>
            </a:xfrm>
            <a:custGeom>
              <a:avLst/>
              <a:gdLst>
                <a:gd name="connsiteX0" fmla="*/ 424669 w 500707"/>
                <a:gd name="connsiteY0" fmla="*/ 0 h 244122"/>
                <a:gd name="connsiteX1" fmla="*/ 36239 w 500707"/>
                <a:gd name="connsiteY1" fmla="*/ 11240 h 244122"/>
                <a:gd name="connsiteX2" fmla="*/ 12236 w 500707"/>
                <a:gd name="connsiteY2" fmla="*/ 162878 h 244122"/>
                <a:gd name="connsiteX3" fmla="*/ 428574 w 500707"/>
                <a:gd name="connsiteY3" fmla="*/ 213170 h 244122"/>
                <a:gd name="connsiteX4" fmla="*/ 424669 w 500707"/>
                <a:gd name="connsiteY4" fmla="*/ 0 h 2441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0707" h="244122">
                  <a:moveTo>
                    <a:pt x="424669" y="0"/>
                  </a:moveTo>
                  <a:cubicBezTo>
                    <a:pt x="223977" y="116967"/>
                    <a:pt x="88532" y="49340"/>
                    <a:pt x="36239" y="11240"/>
                  </a:cubicBezTo>
                  <a:cubicBezTo>
                    <a:pt x="8617" y="48292"/>
                    <a:pt x="-15386" y="102680"/>
                    <a:pt x="12236" y="162878"/>
                  </a:cubicBezTo>
                  <a:cubicBezTo>
                    <a:pt x="57385" y="261271"/>
                    <a:pt x="322085" y="260128"/>
                    <a:pt x="428574" y="213170"/>
                  </a:cubicBezTo>
                  <a:cubicBezTo>
                    <a:pt x="533063" y="166973"/>
                    <a:pt x="517252" y="57722"/>
                    <a:pt x="424669" y="0"/>
                  </a:cubicBezTo>
                  <a:close/>
                </a:path>
              </a:pathLst>
            </a:custGeom>
            <a:solidFill>
              <a:srgbClr val="FFCEAD"/>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7" name="Freeform: Shape 28">
              <a:extLst>
                <a:ext uri="{FF2B5EF4-FFF2-40B4-BE49-F238E27FC236}">
                  <a16:creationId xmlns:a16="http://schemas.microsoft.com/office/drawing/2014/main" id="{9EAB3961-03FE-41D5-B3D1-1EC2A039DBB0}"/>
                </a:ext>
              </a:extLst>
            </p:cNvPr>
            <p:cNvSpPr/>
            <p:nvPr/>
          </p:nvSpPr>
          <p:spPr>
            <a:xfrm>
              <a:off x="10400279" y="1450786"/>
              <a:ext cx="630219" cy="191936"/>
            </a:xfrm>
            <a:custGeom>
              <a:avLst/>
              <a:gdLst>
                <a:gd name="connsiteX0" fmla="*/ 388430 w 388429"/>
                <a:gd name="connsiteY0" fmla="*/ 52772 h 118298"/>
                <a:gd name="connsiteX1" fmla="*/ 349377 w 388429"/>
                <a:gd name="connsiteY1" fmla="*/ 33341 h 118298"/>
                <a:gd name="connsiteX2" fmla="*/ 328327 w 388429"/>
                <a:gd name="connsiteY2" fmla="*/ 32007 h 118298"/>
                <a:gd name="connsiteX3" fmla="*/ 67628 w 388429"/>
                <a:gd name="connsiteY3" fmla="*/ 15338 h 118298"/>
                <a:gd name="connsiteX4" fmla="*/ 58960 w 388429"/>
                <a:gd name="connsiteY4" fmla="*/ 2480 h 118298"/>
                <a:gd name="connsiteX5" fmla="*/ 0 w 388429"/>
                <a:gd name="connsiteY5" fmla="*/ 64011 h 118298"/>
                <a:gd name="connsiteX6" fmla="*/ 388430 w 388429"/>
                <a:gd name="connsiteY6" fmla="*/ 52772 h 118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8429" h="118298">
                  <a:moveTo>
                    <a:pt x="388430" y="52772"/>
                  </a:moveTo>
                  <a:cubicBezTo>
                    <a:pt x="376619" y="45437"/>
                    <a:pt x="363569" y="38865"/>
                    <a:pt x="349377" y="33341"/>
                  </a:cubicBezTo>
                  <a:lnTo>
                    <a:pt x="328327" y="32007"/>
                  </a:lnTo>
                  <a:cubicBezTo>
                    <a:pt x="307467" y="-60481"/>
                    <a:pt x="191357" y="83918"/>
                    <a:pt x="67628" y="15338"/>
                  </a:cubicBezTo>
                  <a:lnTo>
                    <a:pt x="58960" y="2480"/>
                  </a:lnTo>
                  <a:cubicBezTo>
                    <a:pt x="58960" y="2480"/>
                    <a:pt x="23051" y="33055"/>
                    <a:pt x="0" y="64011"/>
                  </a:cubicBezTo>
                  <a:cubicBezTo>
                    <a:pt x="52292" y="102016"/>
                    <a:pt x="187738" y="169739"/>
                    <a:pt x="388430" y="52772"/>
                  </a:cubicBezTo>
                  <a:close/>
                </a:path>
              </a:pathLst>
            </a:custGeom>
            <a:solidFill>
              <a:srgbClr val="FDBA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8" name="Freeform: Shape 29">
              <a:extLst>
                <a:ext uri="{FF2B5EF4-FFF2-40B4-BE49-F238E27FC236}">
                  <a16:creationId xmlns:a16="http://schemas.microsoft.com/office/drawing/2014/main" id="{AC46F632-B01F-4E60-8302-8B7AFE025B14}"/>
                </a:ext>
              </a:extLst>
            </p:cNvPr>
            <p:cNvSpPr/>
            <p:nvPr/>
          </p:nvSpPr>
          <p:spPr>
            <a:xfrm>
              <a:off x="10463153" y="1037911"/>
              <a:ext cx="1259999" cy="867076"/>
            </a:xfrm>
            <a:custGeom>
              <a:avLst/>
              <a:gdLst>
                <a:gd name="connsiteX0" fmla="*/ 776587 w 776587"/>
                <a:gd name="connsiteY0" fmla="*/ 534414 h 534413"/>
                <a:gd name="connsiteX1" fmla="*/ 422448 w 776587"/>
                <a:gd name="connsiteY1" fmla="*/ 4252 h 534413"/>
                <a:gd name="connsiteX2" fmla="*/ 20302 w 776587"/>
                <a:gd name="connsiteY2" fmla="*/ 266476 h 534413"/>
                <a:gd name="connsiteX3" fmla="*/ 487027 w 776587"/>
                <a:gd name="connsiteY3" fmla="*/ 190276 h 534413"/>
                <a:gd name="connsiteX4" fmla="*/ 487027 w 776587"/>
                <a:gd name="connsiteY4" fmla="*/ 190276 h 534413"/>
                <a:gd name="connsiteX5" fmla="*/ 776587 w 776587"/>
                <a:gd name="connsiteY5" fmla="*/ 534414 h 534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76587" h="534413">
                  <a:moveTo>
                    <a:pt x="776587" y="534414"/>
                  </a:moveTo>
                  <a:cubicBezTo>
                    <a:pt x="776587" y="534414"/>
                    <a:pt x="742583" y="45972"/>
                    <a:pt x="422448" y="4252"/>
                  </a:cubicBezTo>
                  <a:cubicBezTo>
                    <a:pt x="154129" y="-30704"/>
                    <a:pt x="-69899" y="158176"/>
                    <a:pt x="20302" y="266476"/>
                  </a:cubicBezTo>
                  <a:cubicBezTo>
                    <a:pt x="67927" y="323626"/>
                    <a:pt x="397016" y="299623"/>
                    <a:pt x="487027" y="190276"/>
                  </a:cubicBezTo>
                  <a:cubicBezTo>
                    <a:pt x="487027" y="190276"/>
                    <a:pt x="471883" y="153985"/>
                    <a:pt x="487027" y="190276"/>
                  </a:cubicBezTo>
                  <a:cubicBezTo>
                    <a:pt x="486932" y="190180"/>
                    <a:pt x="686576" y="253617"/>
                    <a:pt x="776587" y="534414"/>
                  </a:cubicBezTo>
                  <a:close/>
                </a:path>
              </a:pathLst>
            </a:custGeom>
            <a:solidFill>
              <a:srgbClr val="FFCEAD"/>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9" name="Freeform: Shape 30">
              <a:extLst>
                <a:ext uri="{FF2B5EF4-FFF2-40B4-BE49-F238E27FC236}">
                  <a16:creationId xmlns:a16="http://schemas.microsoft.com/office/drawing/2014/main" id="{B0391AB2-85F3-41AF-9B84-20560BC38761}"/>
                </a:ext>
              </a:extLst>
            </p:cNvPr>
            <p:cNvSpPr/>
            <p:nvPr/>
          </p:nvSpPr>
          <p:spPr>
            <a:xfrm>
              <a:off x="10572280" y="2108211"/>
              <a:ext cx="556911" cy="320581"/>
            </a:xfrm>
            <a:custGeom>
              <a:avLst/>
              <a:gdLst>
                <a:gd name="connsiteX0" fmla="*/ 24005 w 343246"/>
                <a:gd name="connsiteY0" fmla="*/ 4381 h 197587"/>
                <a:gd name="connsiteX1" fmla="*/ 11051 w 343246"/>
                <a:gd name="connsiteY1" fmla="*/ 104013 h 197587"/>
                <a:gd name="connsiteX2" fmla="*/ 265082 w 343246"/>
                <a:gd name="connsiteY2" fmla="*/ 190024 h 197587"/>
                <a:gd name="connsiteX3" fmla="*/ 281751 w 343246"/>
                <a:gd name="connsiteY3" fmla="*/ 0 h 197587"/>
              </a:gdLst>
              <a:ahLst/>
              <a:cxnLst>
                <a:cxn ang="0">
                  <a:pos x="connsiteX0" y="connsiteY0"/>
                </a:cxn>
                <a:cxn ang="0">
                  <a:pos x="connsiteX1" y="connsiteY1"/>
                </a:cxn>
                <a:cxn ang="0">
                  <a:pos x="connsiteX2" y="connsiteY2"/>
                </a:cxn>
                <a:cxn ang="0">
                  <a:pos x="connsiteX3" y="connsiteY3"/>
                </a:cxn>
              </a:cxnLst>
              <a:rect l="l" t="t" r="r" b="b"/>
              <a:pathLst>
                <a:path w="343246" h="197587">
                  <a:moveTo>
                    <a:pt x="24005" y="4381"/>
                  </a:moveTo>
                  <a:cubicBezTo>
                    <a:pt x="24005" y="4381"/>
                    <a:pt x="-19906" y="20955"/>
                    <a:pt x="11051" y="104013"/>
                  </a:cubicBezTo>
                  <a:cubicBezTo>
                    <a:pt x="38578" y="177927"/>
                    <a:pt x="181167" y="214503"/>
                    <a:pt x="265082" y="190024"/>
                  </a:cubicBezTo>
                  <a:cubicBezTo>
                    <a:pt x="357856" y="162973"/>
                    <a:pt x="373763" y="44863"/>
                    <a:pt x="281751" y="0"/>
                  </a:cubicBezTo>
                </a:path>
              </a:pathLst>
            </a:custGeom>
            <a:solidFill>
              <a:srgbClr val="FFCEAD"/>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0" name="Freeform: Shape 31">
              <a:extLst>
                <a:ext uri="{FF2B5EF4-FFF2-40B4-BE49-F238E27FC236}">
                  <a16:creationId xmlns:a16="http://schemas.microsoft.com/office/drawing/2014/main" id="{A8325F71-B78E-4B8D-A050-2C4B2DD95D07}"/>
                </a:ext>
              </a:extLst>
            </p:cNvPr>
            <p:cNvSpPr/>
            <p:nvPr/>
          </p:nvSpPr>
          <p:spPr>
            <a:xfrm>
              <a:off x="10573310" y="2132473"/>
              <a:ext cx="547594" cy="141693"/>
            </a:xfrm>
            <a:custGeom>
              <a:avLst/>
              <a:gdLst>
                <a:gd name="connsiteX0" fmla="*/ 320 w 337504"/>
                <a:gd name="connsiteY0" fmla="*/ 50101 h 87331"/>
                <a:gd name="connsiteX1" fmla="*/ 337505 w 337504"/>
                <a:gd name="connsiteY1" fmla="*/ 45625 h 87331"/>
                <a:gd name="connsiteX2" fmla="*/ 304929 w 337504"/>
                <a:gd name="connsiteY2" fmla="*/ 0 h 87331"/>
                <a:gd name="connsiteX3" fmla="*/ 1463 w 337504"/>
                <a:gd name="connsiteY3" fmla="*/ 18859 h 87331"/>
                <a:gd name="connsiteX4" fmla="*/ 320 w 337504"/>
                <a:gd name="connsiteY4" fmla="*/ 50101 h 873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7504" h="87331">
                  <a:moveTo>
                    <a:pt x="320" y="50101"/>
                  </a:moveTo>
                  <a:cubicBezTo>
                    <a:pt x="320" y="50101"/>
                    <a:pt x="243017" y="136779"/>
                    <a:pt x="337505" y="45625"/>
                  </a:cubicBezTo>
                  <a:cubicBezTo>
                    <a:pt x="337505" y="45625"/>
                    <a:pt x="328647" y="15050"/>
                    <a:pt x="304929" y="0"/>
                  </a:cubicBezTo>
                  <a:cubicBezTo>
                    <a:pt x="304929" y="0"/>
                    <a:pt x="208441" y="71628"/>
                    <a:pt x="1463" y="18859"/>
                  </a:cubicBezTo>
                  <a:cubicBezTo>
                    <a:pt x="1463" y="18955"/>
                    <a:pt x="-823" y="42672"/>
                    <a:pt x="320" y="50101"/>
                  </a:cubicBezTo>
                  <a:close/>
                </a:path>
              </a:pathLst>
            </a:custGeom>
            <a:solidFill>
              <a:srgbClr val="FDBA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1" name="Freeform: Shape 32">
              <a:extLst>
                <a:ext uri="{FF2B5EF4-FFF2-40B4-BE49-F238E27FC236}">
                  <a16:creationId xmlns:a16="http://schemas.microsoft.com/office/drawing/2014/main" id="{E817EF4E-F3E2-461E-9073-209D02A5CBDB}"/>
                </a:ext>
              </a:extLst>
            </p:cNvPr>
            <p:cNvSpPr/>
            <p:nvPr/>
          </p:nvSpPr>
          <p:spPr>
            <a:xfrm>
              <a:off x="10414414" y="1871607"/>
              <a:ext cx="672491" cy="171032"/>
            </a:xfrm>
            <a:custGeom>
              <a:avLst/>
              <a:gdLst>
                <a:gd name="connsiteX0" fmla="*/ 15672 w 414483"/>
                <a:gd name="connsiteY0" fmla="*/ 0 h 105414"/>
                <a:gd name="connsiteX1" fmla="*/ 718 w 414483"/>
                <a:gd name="connsiteY1" fmla="*/ 55531 h 105414"/>
                <a:gd name="connsiteX2" fmla="*/ 414484 w 414483"/>
                <a:gd name="connsiteY2" fmla="*/ 54578 h 105414"/>
                <a:gd name="connsiteX3" fmla="*/ 374098 w 414483"/>
                <a:gd name="connsiteY3" fmla="*/ 9811 h 105414"/>
                <a:gd name="connsiteX4" fmla="*/ 15672 w 414483"/>
                <a:gd name="connsiteY4" fmla="*/ 0 h 105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4483" h="105414">
                  <a:moveTo>
                    <a:pt x="15672" y="0"/>
                  </a:moveTo>
                  <a:cubicBezTo>
                    <a:pt x="15672" y="0"/>
                    <a:pt x="-3949" y="19526"/>
                    <a:pt x="718" y="55531"/>
                  </a:cubicBezTo>
                  <a:cubicBezTo>
                    <a:pt x="718" y="55531"/>
                    <a:pt x="237605" y="168402"/>
                    <a:pt x="414484" y="54578"/>
                  </a:cubicBezTo>
                  <a:cubicBezTo>
                    <a:pt x="414484" y="54578"/>
                    <a:pt x="402673" y="28861"/>
                    <a:pt x="374098" y="9811"/>
                  </a:cubicBezTo>
                  <a:cubicBezTo>
                    <a:pt x="374098" y="9716"/>
                    <a:pt x="219507" y="76486"/>
                    <a:pt x="15672" y="0"/>
                  </a:cubicBezTo>
                  <a:close/>
                </a:path>
              </a:pathLst>
            </a:custGeom>
            <a:solidFill>
              <a:srgbClr val="FDBA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pic>
        <p:nvPicPr>
          <p:cNvPr id="38" name="Graphic 39">
            <a:extLst>
              <a:ext uri="{FF2B5EF4-FFF2-40B4-BE49-F238E27FC236}">
                <a16:creationId xmlns:a16="http://schemas.microsoft.com/office/drawing/2014/main" id="{D6C8DD6A-5D67-461F-A09B-B70FD5DE9D1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57186" y="2757790"/>
            <a:ext cx="2200709" cy="3390126"/>
          </a:xfrm>
          <a:prstGeom prst="rect">
            <a:avLst/>
          </a:prstGeom>
        </p:spPr>
      </p:pic>
      <p:pic>
        <p:nvPicPr>
          <p:cNvPr id="39" name="Graphic 40">
            <a:extLst>
              <a:ext uri="{FF2B5EF4-FFF2-40B4-BE49-F238E27FC236}">
                <a16:creationId xmlns:a16="http://schemas.microsoft.com/office/drawing/2014/main" id="{703E85B2-A88B-433D-AA20-3151E6DF435B}"/>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099664" y="4238226"/>
            <a:ext cx="1725265" cy="1909690"/>
          </a:xfrm>
          <a:prstGeom prst="rect">
            <a:avLst/>
          </a:prstGeom>
        </p:spPr>
      </p:pic>
      <p:pic>
        <p:nvPicPr>
          <p:cNvPr id="40" name="Graphic 41">
            <a:extLst>
              <a:ext uri="{FF2B5EF4-FFF2-40B4-BE49-F238E27FC236}">
                <a16:creationId xmlns:a16="http://schemas.microsoft.com/office/drawing/2014/main" id="{75BD1835-955C-4836-A4FB-B87448AE51C5}"/>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656663" y="4773653"/>
            <a:ext cx="1415908" cy="1374264"/>
          </a:xfrm>
          <a:prstGeom prst="rect">
            <a:avLst/>
          </a:prstGeom>
        </p:spPr>
      </p:pic>
      <p:pic>
        <p:nvPicPr>
          <p:cNvPr id="41" name="Graphic 42">
            <a:extLst>
              <a:ext uri="{FF2B5EF4-FFF2-40B4-BE49-F238E27FC236}">
                <a16:creationId xmlns:a16="http://schemas.microsoft.com/office/drawing/2014/main" id="{8F491801-373D-46FF-A27D-A3E0ED10B6D6}"/>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8058984" y="5154401"/>
            <a:ext cx="1415908" cy="993516"/>
          </a:xfrm>
          <a:prstGeom prst="rect">
            <a:avLst/>
          </a:prstGeom>
        </p:spPr>
      </p:pic>
      <p:grpSp>
        <p:nvGrpSpPr>
          <p:cNvPr id="42" name="Group 43">
            <a:extLst>
              <a:ext uri="{FF2B5EF4-FFF2-40B4-BE49-F238E27FC236}">
                <a16:creationId xmlns:a16="http://schemas.microsoft.com/office/drawing/2014/main" id="{76681DD3-6A1B-4760-A4AF-DDAD5D5798A0}"/>
              </a:ext>
            </a:extLst>
          </p:cNvPr>
          <p:cNvGrpSpPr/>
          <p:nvPr/>
        </p:nvGrpSpPr>
        <p:grpSpPr>
          <a:xfrm>
            <a:off x="1190184" y="1701531"/>
            <a:ext cx="2560769" cy="973913"/>
            <a:chOff x="2959987" y="1744807"/>
            <a:chExt cx="2560769" cy="973913"/>
          </a:xfrm>
        </p:grpSpPr>
        <p:sp>
          <p:nvSpPr>
            <p:cNvPr id="43" name="Chevron 42">
              <a:extLst>
                <a:ext uri="{FF2B5EF4-FFF2-40B4-BE49-F238E27FC236}">
                  <a16:creationId xmlns:a16="http://schemas.microsoft.com/office/drawing/2014/main" id="{5296A538-4ACE-469D-9BC5-496537D1E175}"/>
                </a:ext>
              </a:extLst>
            </p:cNvPr>
            <p:cNvSpPr/>
            <p:nvPr/>
          </p:nvSpPr>
          <p:spPr>
            <a:xfrm>
              <a:off x="3025352" y="1744807"/>
              <a:ext cx="448103" cy="973913"/>
            </a:xfrm>
            <a:prstGeom prst="chevron">
              <a:avLst/>
            </a:prstGeom>
            <a:gradFill>
              <a:gsLst>
                <a:gs pos="0">
                  <a:schemeClr val="accent1">
                    <a:lumMod val="75000"/>
                  </a:schemeClr>
                </a:gs>
                <a:gs pos="100000">
                  <a:schemeClr val="accent1"/>
                </a:gs>
              </a:gsLst>
              <a:lin ang="10800000" scaled="1"/>
            </a:gradFill>
            <a:ln w="19050" algn="ctr">
              <a:noFill/>
              <a:round/>
              <a:headEnd/>
              <a:tailEnd/>
            </a:ln>
            <a:effectLst>
              <a:outerShdw blurRad="177800" dir="6540000" sx="86000" sy="86000" algn="ctr">
                <a:srgbClr val="000000">
                  <a:alpha val="19000"/>
                </a:srgbClr>
              </a:outerShdw>
            </a:effectLst>
          </p:spPr>
          <p:txBody>
            <a:bodyPr wrap="none" lIns="72000" tIns="0" rIns="72000" b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dirty="0">
                <a:ln>
                  <a:noFill/>
                </a:ln>
                <a:solidFill>
                  <a:prstClr val="white"/>
                </a:solidFill>
                <a:effectLst/>
                <a:uLnTx/>
                <a:uFillTx/>
                <a:latin typeface="Times New Roman" pitchFamily="18" charset="0"/>
                <a:ea typeface="굴림"/>
                <a:cs typeface="Times New Roman" pitchFamily="18" charset="0"/>
              </a:endParaRPr>
            </a:p>
          </p:txBody>
        </p:sp>
        <p:grpSp>
          <p:nvGrpSpPr>
            <p:cNvPr id="44" name="Group 45">
              <a:extLst>
                <a:ext uri="{FF2B5EF4-FFF2-40B4-BE49-F238E27FC236}">
                  <a16:creationId xmlns:a16="http://schemas.microsoft.com/office/drawing/2014/main" id="{E7A34AEE-1343-47AD-8158-E47A583A169F}"/>
                </a:ext>
              </a:extLst>
            </p:cNvPr>
            <p:cNvGrpSpPr/>
            <p:nvPr/>
          </p:nvGrpSpPr>
          <p:grpSpPr>
            <a:xfrm>
              <a:off x="2959987" y="2020748"/>
              <a:ext cx="421677" cy="422031"/>
              <a:chOff x="2843910" y="4497232"/>
              <a:chExt cx="450336" cy="450714"/>
            </a:xfrm>
            <a:effectLst>
              <a:outerShdw blurRad="304800" dist="190500" dir="2700000" algn="tl" rotWithShape="0">
                <a:prstClr val="black">
                  <a:alpha val="40000"/>
                </a:prstClr>
              </a:outerShdw>
            </a:effectLst>
          </p:grpSpPr>
          <p:sp>
            <p:nvSpPr>
              <p:cNvPr id="46" name="Oval 47">
                <a:extLst>
                  <a:ext uri="{FF2B5EF4-FFF2-40B4-BE49-F238E27FC236}">
                    <a16:creationId xmlns:a16="http://schemas.microsoft.com/office/drawing/2014/main" id="{DD40D634-5D47-42EE-AE58-C970BDB6122E}"/>
                  </a:ext>
                </a:extLst>
              </p:cNvPr>
              <p:cNvSpPr>
                <a:spLocks noChangeAspect="1"/>
              </p:cNvSpPr>
              <p:nvPr/>
            </p:nvSpPr>
            <p:spPr>
              <a:xfrm>
                <a:off x="2843910" y="4497232"/>
                <a:ext cx="450336" cy="450714"/>
              </a:xfrm>
              <a:prstGeom prst="ellipse">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500" b="1"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47" name="Rectangle 48">
                <a:extLst>
                  <a:ext uri="{FF2B5EF4-FFF2-40B4-BE49-F238E27FC236}">
                    <a16:creationId xmlns:a16="http://schemas.microsoft.com/office/drawing/2014/main" id="{4793780D-3F9F-4D48-9C2A-DC9315BE44FA}"/>
                  </a:ext>
                </a:extLst>
              </p:cNvPr>
              <p:cNvSpPr/>
              <p:nvPr/>
            </p:nvSpPr>
            <p:spPr>
              <a:xfrm rot="20808500">
                <a:off x="2870161" y="4545577"/>
                <a:ext cx="418839" cy="349101"/>
              </a:xfrm>
              <a:prstGeom prst="rect">
                <a:avLst/>
              </a:prstGeom>
            </p:spPr>
            <p:txBody>
              <a:bodyPr wrap="square">
                <a:spAutoFit/>
              </a:body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01</a:t>
                </a:r>
              </a:p>
            </p:txBody>
          </p:sp>
        </p:grpSp>
        <p:sp>
          <p:nvSpPr>
            <p:cNvPr id="45" name="TextBox 46">
              <a:extLst>
                <a:ext uri="{FF2B5EF4-FFF2-40B4-BE49-F238E27FC236}">
                  <a16:creationId xmlns:a16="http://schemas.microsoft.com/office/drawing/2014/main" id="{AA1988BB-B082-45E9-A455-83858848A643}"/>
                </a:ext>
              </a:extLst>
            </p:cNvPr>
            <p:cNvSpPr txBox="1"/>
            <p:nvPr/>
          </p:nvSpPr>
          <p:spPr>
            <a:xfrm>
              <a:off x="3586450" y="1929164"/>
              <a:ext cx="1934306" cy="73866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lumMod val="65000"/>
                      <a:lumOff val="35000"/>
                    </a:srgbClr>
                  </a:solidFill>
                  <a:effectLst/>
                  <a:uLnTx/>
                  <a:uFillTx/>
                  <a:latin typeface="等线 Light" panose="020F0302020204030204"/>
                  <a:ea typeface="+mn-ea"/>
                  <a:cs typeface="Segoe UI Light" panose="020B0502040204020203" pitchFamily="34" charset="0"/>
                </a:rPr>
                <a:t>A wonderful serenity has taken possession of my entire soul</a:t>
              </a:r>
              <a:endParaRPr kumimoji="0" lang="en-ID" sz="1400" b="0" i="0" u="none" strike="noStrike" kern="1200" cap="none" spc="0" normalizeH="0" baseline="0" noProof="0" dirty="0">
                <a:ln>
                  <a:noFill/>
                </a:ln>
                <a:solidFill>
                  <a:srgbClr val="000000">
                    <a:lumMod val="65000"/>
                    <a:lumOff val="35000"/>
                  </a:srgbClr>
                </a:solidFill>
                <a:effectLst/>
                <a:uLnTx/>
                <a:uFillTx/>
                <a:latin typeface="等线" panose="020F0502020204030204"/>
                <a:ea typeface="+mn-ea"/>
                <a:cs typeface="+mn-cs"/>
              </a:endParaRPr>
            </a:p>
          </p:txBody>
        </p:sp>
      </p:grpSp>
      <p:grpSp>
        <p:nvGrpSpPr>
          <p:cNvPr id="48" name="Group 49">
            <a:extLst>
              <a:ext uri="{FF2B5EF4-FFF2-40B4-BE49-F238E27FC236}">
                <a16:creationId xmlns:a16="http://schemas.microsoft.com/office/drawing/2014/main" id="{D5B2B170-E12C-4C16-B547-D4C89BFF7814}"/>
              </a:ext>
            </a:extLst>
          </p:cNvPr>
          <p:cNvGrpSpPr/>
          <p:nvPr/>
        </p:nvGrpSpPr>
        <p:grpSpPr>
          <a:xfrm>
            <a:off x="3014305" y="3181967"/>
            <a:ext cx="2560769" cy="973913"/>
            <a:chOff x="2959987" y="3037114"/>
            <a:chExt cx="2560769" cy="973913"/>
          </a:xfrm>
        </p:grpSpPr>
        <p:sp>
          <p:nvSpPr>
            <p:cNvPr id="49" name="Chevron 42">
              <a:extLst>
                <a:ext uri="{FF2B5EF4-FFF2-40B4-BE49-F238E27FC236}">
                  <a16:creationId xmlns:a16="http://schemas.microsoft.com/office/drawing/2014/main" id="{1987CE1D-6AE7-48E0-B48E-061AECE08E79}"/>
                </a:ext>
              </a:extLst>
            </p:cNvPr>
            <p:cNvSpPr/>
            <p:nvPr/>
          </p:nvSpPr>
          <p:spPr>
            <a:xfrm>
              <a:off x="3025352" y="3037114"/>
              <a:ext cx="448103" cy="973913"/>
            </a:xfrm>
            <a:prstGeom prst="chevron">
              <a:avLst/>
            </a:prstGeom>
            <a:gradFill rotWithShape="1">
              <a:gsLst>
                <a:gs pos="0">
                  <a:schemeClr val="accent2"/>
                </a:gs>
                <a:gs pos="100000">
                  <a:schemeClr val="accent2">
                    <a:lumMod val="75000"/>
                  </a:schemeClr>
                </a:gs>
              </a:gsLst>
              <a:lin ang="0" scaled="1"/>
            </a:gradFill>
            <a:ln w="9525" cap="flat" cmpd="sng">
              <a:noFill/>
              <a:prstDash val="solid"/>
              <a:round/>
              <a:headEnd/>
              <a:tailEnd/>
            </a:ln>
            <a:effectLst/>
          </p:spPr>
          <p:txBody>
            <a:bodyPr wrap="none" anchor="ctr"/>
            <a:lstStyle/>
            <a:p>
              <a:pPr marL="0" marR="0" lvl="0" indent="0" algn="l" defTabSz="914400" rtl="0" eaLnBrk="1" fontAlgn="auto" latinLnBrk="1" hangingPunct="1">
                <a:lnSpc>
                  <a:spcPct val="100000"/>
                </a:lnSpc>
                <a:spcBef>
                  <a:spcPts val="0"/>
                </a:spcBef>
                <a:spcAft>
                  <a:spcPts val="0"/>
                </a:spcAft>
                <a:buClrTx/>
                <a:buSzTx/>
                <a:buFontTx/>
                <a:buNone/>
                <a:tabLst/>
                <a:defRPr/>
              </a:pPr>
              <a:endParaRPr kumimoji="1" lang="en-US" sz="1400" b="0" i="0" u="none" strike="noStrike" kern="0" cap="none" spc="0" normalizeH="0" baseline="0" noProof="0" dirty="0">
                <a:ln>
                  <a:noFill/>
                </a:ln>
                <a:solidFill>
                  <a:prstClr val="black"/>
                </a:solidFill>
                <a:effectLst/>
                <a:uLnTx/>
                <a:uFillTx/>
                <a:latin typeface="굴림" charset="-127"/>
                <a:ea typeface="굴림" charset="-127"/>
                <a:cs typeface="+mn-cs"/>
              </a:endParaRPr>
            </a:p>
          </p:txBody>
        </p:sp>
        <p:grpSp>
          <p:nvGrpSpPr>
            <p:cNvPr id="50" name="Group 51">
              <a:extLst>
                <a:ext uri="{FF2B5EF4-FFF2-40B4-BE49-F238E27FC236}">
                  <a16:creationId xmlns:a16="http://schemas.microsoft.com/office/drawing/2014/main" id="{D13466F8-2CC2-4854-B044-555380A70714}"/>
                </a:ext>
              </a:extLst>
            </p:cNvPr>
            <p:cNvGrpSpPr/>
            <p:nvPr/>
          </p:nvGrpSpPr>
          <p:grpSpPr>
            <a:xfrm>
              <a:off x="2959987" y="3313057"/>
              <a:ext cx="421677" cy="422031"/>
              <a:chOff x="2843910" y="4497234"/>
              <a:chExt cx="450336" cy="450714"/>
            </a:xfrm>
            <a:effectLst>
              <a:outerShdw blurRad="304800" dist="190500" dir="2700000" algn="tl" rotWithShape="0">
                <a:prstClr val="black">
                  <a:alpha val="40000"/>
                </a:prstClr>
              </a:outerShdw>
            </a:effectLst>
          </p:grpSpPr>
          <p:sp>
            <p:nvSpPr>
              <p:cNvPr id="52" name="Oval 53">
                <a:extLst>
                  <a:ext uri="{FF2B5EF4-FFF2-40B4-BE49-F238E27FC236}">
                    <a16:creationId xmlns:a16="http://schemas.microsoft.com/office/drawing/2014/main" id="{3F0F2AFF-4B67-4126-9756-291F9E65DF01}"/>
                  </a:ext>
                </a:extLst>
              </p:cNvPr>
              <p:cNvSpPr>
                <a:spLocks noChangeAspect="1"/>
              </p:cNvSpPr>
              <p:nvPr/>
            </p:nvSpPr>
            <p:spPr>
              <a:xfrm>
                <a:off x="2843910" y="4497234"/>
                <a:ext cx="450336" cy="450714"/>
              </a:xfrm>
              <a:prstGeom prst="ellipse">
                <a:avLst/>
              </a:prstGeom>
              <a:solidFill>
                <a:schemeClr val="accent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500" b="1"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53" name="Rectangle 54">
                <a:extLst>
                  <a:ext uri="{FF2B5EF4-FFF2-40B4-BE49-F238E27FC236}">
                    <a16:creationId xmlns:a16="http://schemas.microsoft.com/office/drawing/2014/main" id="{E191DCF6-38F6-49C9-A6B7-B11A0A604BA5}"/>
                  </a:ext>
                </a:extLst>
              </p:cNvPr>
              <p:cNvSpPr/>
              <p:nvPr/>
            </p:nvSpPr>
            <p:spPr>
              <a:xfrm rot="20665541">
                <a:off x="2870150" y="4545870"/>
                <a:ext cx="413426" cy="349101"/>
              </a:xfrm>
              <a:prstGeom prst="rect">
                <a:avLst/>
              </a:prstGeom>
              <a:noFill/>
            </p:spPr>
            <p:txBody>
              <a:bodyPr wrap="square">
                <a:spAutoFit/>
              </a:body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02</a:t>
                </a:r>
              </a:p>
            </p:txBody>
          </p:sp>
        </p:grpSp>
        <p:sp>
          <p:nvSpPr>
            <p:cNvPr id="51" name="TextBox 52">
              <a:extLst>
                <a:ext uri="{FF2B5EF4-FFF2-40B4-BE49-F238E27FC236}">
                  <a16:creationId xmlns:a16="http://schemas.microsoft.com/office/drawing/2014/main" id="{D1657720-16B5-41CD-A59A-181E7D224398}"/>
                </a:ext>
              </a:extLst>
            </p:cNvPr>
            <p:cNvSpPr txBox="1"/>
            <p:nvPr/>
          </p:nvSpPr>
          <p:spPr>
            <a:xfrm>
              <a:off x="3586450" y="3221471"/>
              <a:ext cx="1934306" cy="73866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lumMod val="65000"/>
                      <a:lumOff val="35000"/>
                    </a:srgbClr>
                  </a:solidFill>
                  <a:effectLst/>
                  <a:uLnTx/>
                  <a:uFillTx/>
                  <a:latin typeface="等线 Light" panose="020F0302020204030204"/>
                  <a:ea typeface="+mn-ea"/>
                  <a:cs typeface="Segoe UI Light" panose="020B0502040204020203" pitchFamily="34" charset="0"/>
                </a:rPr>
                <a:t>A wonderful serenity has taken possession of my entire soul</a:t>
              </a:r>
              <a:endParaRPr kumimoji="0" lang="en-ID" sz="1400" b="0" i="0" u="none" strike="noStrike" kern="1200" cap="none" spc="0" normalizeH="0" baseline="0" noProof="0" dirty="0">
                <a:ln>
                  <a:noFill/>
                </a:ln>
                <a:solidFill>
                  <a:srgbClr val="000000">
                    <a:lumMod val="65000"/>
                    <a:lumOff val="35000"/>
                  </a:srgbClr>
                </a:solidFill>
                <a:effectLst/>
                <a:uLnTx/>
                <a:uFillTx/>
                <a:latin typeface="等线" panose="020F0502020204030204"/>
                <a:ea typeface="+mn-ea"/>
                <a:cs typeface="+mn-cs"/>
              </a:endParaRPr>
            </a:p>
          </p:txBody>
        </p:sp>
      </p:grpSp>
      <p:grpSp>
        <p:nvGrpSpPr>
          <p:cNvPr id="54" name="Group 55">
            <a:extLst>
              <a:ext uri="{FF2B5EF4-FFF2-40B4-BE49-F238E27FC236}">
                <a16:creationId xmlns:a16="http://schemas.microsoft.com/office/drawing/2014/main" id="{4D1F2F09-E46D-46B5-A454-3C010118E5DE}"/>
              </a:ext>
            </a:extLst>
          </p:cNvPr>
          <p:cNvGrpSpPr/>
          <p:nvPr/>
        </p:nvGrpSpPr>
        <p:grpSpPr>
          <a:xfrm>
            <a:off x="6071053" y="3806639"/>
            <a:ext cx="2560769" cy="973913"/>
            <a:chOff x="2959987" y="4329421"/>
            <a:chExt cx="2560769" cy="973913"/>
          </a:xfrm>
        </p:grpSpPr>
        <p:sp>
          <p:nvSpPr>
            <p:cNvPr id="55" name="Chevron 42">
              <a:extLst>
                <a:ext uri="{FF2B5EF4-FFF2-40B4-BE49-F238E27FC236}">
                  <a16:creationId xmlns:a16="http://schemas.microsoft.com/office/drawing/2014/main" id="{4213DD21-8C2F-465A-A155-D00B9CA4F98E}"/>
                </a:ext>
              </a:extLst>
            </p:cNvPr>
            <p:cNvSpPr/>
            <p:nvPr/>
          </p:nvSpPr>
          <p:spPr>
            <a:xfrm>
              <a:off x="3025352" y="4329421"/>
              <a:ext cx="448103" cy="973913"/>
            </a:xfrm>
            <a:prstGeom prst="chevron">
              <a:avLst/>
            </a:prstGeom>
            <a:gradFill rotWithShape="1">
              <a:gsLst>
                <a:gs pos="0">
                  <a:schemeClr val="accent3"/>
                </a:gs>
                <a:gs pos="100000">
                  <a:schemeClr val="accent3">
                    <a:lumMod val="75000"/>
                  </a:schemeClr>
                </a:gs>
              </a:gsLst>
              <a:lin ang="0" scaled="1"/>
            </a:gradFill>
            <a:ln w="9525" cap="flat" cmpd="sng">
              <a:noFill/>
              <a:prstDash val="solid"/>
              <a:round/>
              <a:headEnd/>
              <a:tailEnd/>
            </a:ln>
            <a:effectLst/>
          </p:spPr>
          <p:txBody>
            <a:bodyPr wrap="none" anchor="ctr"/>
            <a:lstStyle/>
            <a:p>
              <a:pPr marL="0" marR="0" lvl="0" indent="0" algn="l" defTabSz="914400" rtl="0" eaLnBrk="1" fontAlgn="auto" latinLnBrk="1" hangingPunct="1">
                <a:lnSpc>
                  <a:spcPct val="100000"/>
                </a:lnSpc>
                <a:spcBef>
                  <a:spcPts val="0"/>
                </a:spcBef>
                <a:spcAft>
                  <a:spcPts val="0"/>
                </a:spcAft>
                <a:buClrTx/>
                <a:buSzTx/>
                <a:buFontTx/>
                <a:buNone/>
                <a:tabLst/>
                <a:defRPr/>
              </a:pPr>
              <a:endParaRPr kumimoji="1" lang="en-US" sz="1400" b="0" i="0" u="none" strike="noStrike" kern="0" cap="none" spc="0" normalizeH="0" baseline="0" noProof="0" dirty="0">
                <a:ln>
                  <a:noFill/>
                </a:ln>
                <a:solidFill>
                  <a:prstClr val="black"/>
                </a:solidFill>
                <a:effectLst/>
                <a:uLnTx/>
                <a:uFillTx/>
                <a:latin typeface="굴림" charset="-127"/>
                <a:ea typeface="굴림" charset="-127"/>
                <a:cs typeface="+mn-cs"/>
              </a:endParaRPr>
            </a:p>
          </p:txBody>
        </p:sp>
        <p:grpSp>
          <p:nvGrpSpPr>
            <p:cNvPr id="56" name="Group 57">
              <a:extLst>
                <a:ext uri="{FF2B5EF4-FFF2-40B4-BE49-F238E27FC236}">
                  <a16:creationId xmlns:a16="http://schemas.microsoft.com/office/drawing/2014/main" id="{3A2AC9FD-F111-4F0B-9491-B9BCD6ACC012}"/>
                </a:ext>
              </a:extLst>
            </p:cNvPr>
            <p:cNvGrpSpPr/>
            <p:nvPr/>
          </p:nvGrpSpPr>
          <p:grpSpPr>
            <a:xfrm>
              <a:off x="2959987" y="4605362"/>
              <a:ext cx="423540" cy="422031"/>
              <a:chOff x="2843910" y="4497232"/>
              <a:chExt cx="452325" cy="450714"/>
            </a:xfrm>
            <a:effectLst>
              <a:outerShdw blurRad="304800" dist="190500" dir="2700000" algn="tl" rotWithShape="0">
                <a:prstClr val="black">
                  <a:alpha val="40000"/>
                </a:prstClr>
              </a:outerShdw>
            </a:effectLst>
          </p:grpSpPr>
          <p:sp>
            <p:nvSpPr>
              <p:cNvPr id="58" name="Oval 59">
                <a:extLst>
                  <a:ext uri="{FF2B5EF4-FFF2-40B4-BE49-F238E27FC236}">
                    <a16:creationId xmlns:a16="http://schemas.microsoft.com/office/drawing/2014/main" id="{4B7D69CF-341F-4754-9448-BB0434F52273}"/>
                  </a:ext>
                </a:extLst>
              </p:cNvPr>
              <p:cNvSpPr>
                <a:spLocks noChangeAspect="1"/>
              </p:cNvSpPr>
              <p:nvPr/>
            </p:nvSpPr>
            <p:spPr>
              <a:xfrm>
                <a:off x="2843910" y="4497232"/>
                <a:ext cx="450336" cy="450714"/>
              </a:xfrm>
              <a:prstGeom prst="ellipse">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500" b="1"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59" name="Rectangle 60">
                <a:extLst>
                  <a:ext uri="{FF2B5EF4-FFF2-40B4-BE49-F238E27FC236}">
                    <a16:creationId xmlns:a16="http://schemas.microsoft.com/office/drawing/2014/main" id="{22480A19-0CCA-40CD-977E-D3480DF2F672}"/>
                  </a:ext>
                </a:extLst>
              </p:cNvPr>
              <p:cNvSpPr/>
              <p:nvPr/>
            </p:nvSpPr>
            <p:spPr>
              <a:xfrm rot="20708028">
                <a:off x="2849550" y="4541698"/>
                <a:ext cx="446685" cy="349101"/>
              </a:xfrm>
              <a:prstGeom prst="rect">
                <a:avLst/>
              </a:prstGeom>
            </p:spPr>
            <p:txBody>
              <a:bodyPr wrap="square">
                <a:spAutoFit/>
              </a:body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03</a:t>
                </a:r>
              </a:p>
            </p:txBody>
          </p:sp>
        </p:grpSp>
        <p:sp>
          <p:nvSpPr>
            <p:cNvPr id="57" name="TextBox 58">
              <a:extLst>
                <a:ext uri="{FF2B5EF4-FFF2-40B4-BE49-F238E27FC236}">
                  <a16:creationId xmlns:a16="http://schemas.microsoft.com/office/drawing/2014/main" id="{82F2BE75-7E43-4141-8488-22B21AC9DD12}"/>
                </a:ext>
              </a:extLst>
            </p:cNvPr>
            <p:cNvSpPr txBox="1"/>
            <p:nvPr/>
          </p:nvSpPr>
          <p:spPr>
            <a:xfrm>
              <a:off x="3586450" y="4513778"/>
              <a:ext cx="1934306" cy="73866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lumMod val="65000"/>
                      <a:lumOff val="35000"/>
                    </a:srgbClr>
                  </a:solidFill>
                  <a:effectLst/>
                  <a:uLnTx/>
                  <a:uFillTx/>
                  <a:latin typeface="等线 Light" panose="020F0302020204030204"/>
                  <a:ea typeface="+mn-ea"/>
                  <a:cs typeface="Segoe UI Light" panose="020B0502040204020203" pitchFamily="34" charset="0"/>
                </a:rPr>
                <a:t>A wonderful serenity has taken possession of my entire soul</a:t>
              </a:r>
              <a:endParaRPr kumimoji="0" lang="en-ID" sz="1400" b="0" i="0" u="none" strike="noStrike" kern="1200" cap="none" spc="0" normalizeH="0" baseline="0" noProof="0" dirty="0">
                <a:ln>
                  <a:noFill/>
                </a:ln>
                <a:solidFill>
                  <a:srgbClr val="000000">
                    <a:lumMod val="65000"/>
                    <a:lumOff val="35000"/>
                  </a:srgbClr>
                </a:solidFill>
                <a:effectLst/>
                <a:uLnTx/>
                <a:uFillTx/>
                <a:latin typeface="等线" panose="020F0502020204030204"/>
                <a:ea typeface="+mn-ea"/>
                <a:cs typeface="+mn-cs"/>
              </a:endParaRPr>
            </a:p>
          </p:txBody>
        </p:sp>
      </p:grpSp>
      <p:grpSp>
        <p:nvGrpSpPr>
          <p:cNvPr id="60" name="Group 61">
            <a:extLst>
              <a:ext uri="{FF2B5EF4-FFF2-40B4-BE49-F238E27FC236}">
                <a16:creationId xmlns:a16="http://schemas.microsoft.com/office/drawing/2014/main" id="{AC3F6DBC-7950-4099-A32A-5A673194FC8D}"/>
              </a:ext>
            </a:extLst>
          </p:cNvPr>
          <p:cNvGrpSpPr/>
          <p:nvPr/>
        </p:nvGrpSpPr>
        <p:grpSpPr>
          <a:xfrm>
            <a:off x="8719960" y="4122695"/>
            <a:ext cx="2560767" cy="973913"/>
            <a:chOff x="2959987" y="5554975"/>
            <a:chExt cx="2560767" cy="973913"/>
          </a:xfrm>
        </p:grpSpPr>
        <p:sp>
          <p:nvSpPr>
            <p:cNvPr id="61" name="Chevron 42">
              <a:extLst>
                <a:ext uri="{FF2B5EF4-FFF2-40B4-BE49-F238E27FC236}">
                  <a16:creationId xmlns:a16="http://schemas.microsoft.com/office/drawing/2014/main" id="{AE79BA83-19A4-49B3-940D-110152AEE292}"/>
                </a:ext>
              </a:extLst>
            </p:cNvPr>
            <p:cNvSpPr/>
            <p:nvPr/>
          </p:nvSpPr>
          <p:spPr>
            <a:xfrm>
              <a:off x="3025352" y="5554975"/>
              <a:ext cx="448103" cy="973913"/>
            </a:xfrm>
            <a:prstGeom prst="chevron">
              <a:avLst/>
            </a:prstGeom>
            <a:gradFill rotWithShape="1">
              <a:gsLst>
                <a:gs pos="0">
                  <a:schemeClr val="accent4"/>
                </a:gs>
                <a:gs pos="100000">
                  <a:schemeClr val="accent4">
                    <a:lumMod val="75000"/>
                  </a:schemeClr>
                </a:gs>
              </a:gsLst>
              <a:lin ang="0" scaled="1"/>
            </a:gradFill>
            <a:ln w="9525" cap="flat" cmpd="sng">
              <a:noFill/>
              <a:prstDash val="solid"/>
              <a:round/>
              <a:headEnd/>
              <a:tailEnd/>
            </a:ln>
            <a:effectLst/>
          </p:spPr>
          <p:txBody>
            <a:bodyPr wrap="none" anchor="ctr"/>
            <a:lstStyle/>
            <a:p>
              <a:pPr marL="0" marR="0" lvl="0" indent="0" algn="l" defTabSz="914400" rtl="0" eaLnBrk="1" fontAlgn="auto" latinLnBrk="1" hangingPunct="1">
                <a:lnSpc>
                  <a:spcPct val="100000"/>
                </a:lnSpc>
                <a:spcBef>
                  <a:spcPts val="0"/>
                </a:spcBef>
                <a:spcAft>
                  <a:spcPts val="0"/>
                </a:spcAft>
                <a:buClrTx/>
                <a:buSzTx/>
                <a:buFontTx/>
                <a:buNone/>
                <a:tabLst/>
                <a:defRPr/>
              </a:pPr>
              <a:endParaRPr kumimoji="1" lang="en-US" sz="1400" b="0" i="0" u="none" strike="noStrike" kern="0" cap="none" spc="0" normalizeH="0" baseline="0" noProof="0" dirty="0">
                <a:ln>
                  <a:noFill/>
                </a:ln>
                <a:solidFill>
                  <a:prstClr val="black"/>
                </a:solidFill>
                <a:effectLst/>
                <a:uLnTx/>
                <a:uFillTx/>
                <a:latin typeface="굴림" charset="-127"/>
                <a:ea typeface="굴림" charset="-127"/>
                <a:cs typeface="+mn-cs"/>
              </a:endParaRPr>
            </a:p>
          </p:txBody>
        </p:sp>
        <p:grpSp>
          <p:nvGrpSpPr>
            <p:cNvPr id="62" name="Group 63">
              <a:extLst>
                <a:ext uri="{FF2B5EF4-FFF2-40B4-BE49-F238E27FC236}">
                  <a16:creationId xmlns:a16="http://schemas.microsoft.com/office/drawing/2014/main" id="{32862C6C-0864-4A39-B06A-FB816979F378}"/>
                </a:ext>
              </a:extLst>
            </p:cNvPr>
            <p:cNvGrpSpPr/>
            <p:nvPr/>
          </p:nvGrpSpPr>
          <p:grpSpPr>
            <a:xfrm>
              <a:off x="2959987" y="5830916"/>
              <a:ext cx="421677" cy="422031"/>
              <a:chOff x="2843910" y="4497232"/>
              <a:chExt cx="450336" cy="450714"/>
            </a:xfrm>
            <a:effectLst>
              <a:outerShdw blurRad="304800" dist="190500" dir="2700000" algn="tl" rotWithShape="0">
                <a:prstClr val="black">
                  <a:alpha val="40000"/>
                </a:prstClr>
              </a:outerShdw>
            </a:effectLst>
          </p:grpSpPr>
          <p:sp>
            <p:nvSpPr>
              <p:cNvPr id="64" name="Oval 65">
                <a:extLst>
                  <a:ext uri="{FF2B5EF4-FFF2-40B4-BE49-F238E27FC236}">
                    <a16:creationId xmlns:a16="http://schemas.microsoft.com/office/drawing/2014/main" id="{8445653A-4442-420F-AFB4-CD1F29F8675E}"/>
                  </a:ext>
                </a:extLst>
              </p:cNvPr>
              <p:cNvSpPr>
                <a:spLocks noChangeAspect="1"/>
              </p:cNvSpPr>
              <p:nvPr/>
            </p:nvSpPr>
            <p:spPr>
              <a:xfrm>
                <a:off x="2843910" y="4497232"/>
                <a:ext cx="450336" cy="450714"/>
              </a:xfrm>
              <a:prstGeom prst="ellipse">
                <a:avLst/>
              </a:prstGeom>
              <a:solidFill>
                <a:schemeClr val="accent4"/>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500" b="1"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65" name="Rectangle 66">
                <a:extLst>
                  <a:ext uri="{FF2B5EF4-FFF2-40B4-BE49-F238E27FC236}">
                    <a16:creationId xmlns:a16="http://schemas.microsoft.com/office/drawing/2014/main" id="{70711DC3-E2B6-42DB-B3CE-07425F86BA41}"/>
                  </a:ext>
                </a:extLst>
              </p:cNvPr>
              <p:cNvSpPr/>
              <p:nvPr/>
            </p:nvSpPr>
            <p:spPr>
              <a:xfrm rot="20476035">
                <a:off x="2869879" y="4544598"/>
                <a:ext cx="418697" cy="349101"/>
              </a:xfrm>
              <a:prstGeom prst="rect">
                <a:avLst/>
              </a:prstGeom>
              <a:noFill/>
            </p:spPr>
            <p:txBody>
              <a:bodyPr wrap="square">
                <a:spAutoFit/>
              </a:body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04</a:t>
                </a:r>
              </a:p>
            </p:txBody>
          </p:sp>
        </p:grpSp>
        <p:sp>
          <p:nvSpPr>
            <p:cNvPr id="63" name="TextBox 64">
              <a:extLst>
                <a:ext uri="{FF2B5EF4-FFF2-40B4-BE49-F238E27FC236}">
                  <a16:creationId xmlns:a16="http://schemas.microsoft.com/office/drawing/2014/main" id="{14D43790-5479-4082-B2E7-A701AE2DAA56}"/>
                </a:ext>
              </a:extLst>
            </p:cNvPr>
            <p:cNvSpPr txBox="1"/>
            <p:nvPr/>
          </p:nvSpPr>
          <p:spPr>
            <a:xfrm>
              <a:off x="3586449" y="5739332"/>
              <a:ext cx="1934305" cy="73866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lumMod val="65000"/>
                      <a:lumOff val="35000"/>
                    </a:srgbClr>
                  </a:solidFill>
                  <a:effectLst/>
                  <a:uLnTx/>
                  <a:uFillTx/>
                  <a:latin typeface="等线 Light" panose="020F0302020204030204"/>
                  <a:ea typeface="+mn-ea"/>
                  <a:cs typeface="Segoe UI Light" panose="020B0502040204020203" pitchFamily="34" charset="0"/>
                </a:rPr>
                <a:t>A wonderful serenity has taken possession of my entire soul</a:t>
              </a:r>
              <a:endParaRPr kumimoji="0" lang="en-ID" sz="1400" b="0" i="0" u="none" strike="noStrike" kern="1200" cap="none" spc="0" normalizeH="0" baseline="0" noProof="0" dirty="0">
                <a:ln>
                  <a:noFill/>
                </a:ln>
                <a:solidFill>
                  <a:srgbClr val="000000">
                    <a:lumMod val="65000"/>
                    <a:lumOff val="35000"/>
                  </a:srgbClr>
                </a:solidFill>
                <a:effectLst/>
                <a:uLnTx/>
                <a:uFillTx/>
                <a:latin typeface="等线" panose="020F0502020204030204"/>
                <a:ea typeface="+mn-ea"/>
                <a:cs typeface="+mn-cs"/>
              </a:endParaRPr>
            </a:p>
          </p:txBody>
        </p:sp>
      </p:grpSp>
    </p:spTree>
    <p:extLst>
      <p:ext uri="{BB962C8B-B14F-4D97-AF65-F5344CB8AC3E}">
        <p14:creationId xmlns:p14="http://schemas.microsoft.com/office/powerpoint/2010/main" val="3600459447"/>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6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2">
            <a:extLst>
              <a:ext uri="{FF2B5EF4-FFF2-40B4-BE49-F238E27FC236}">
                <a16:creationId xmlns:a16="http://schemas.microsoft.com/office/drawing/2014/main" id="{76E6889D-1C62-4D12-A57D-3C20B53DBFDC}"/>
              </a:ext>
            </a:extLst>
          </p:cNvPr>
          <p:cNvGrpSpPr/>
          <p:nvPr/>
        </p:nvGrpSpPr>
        <p:grpSpPr>
          <a:xfrm>
            <a:off x="6263618" y="4138238"/>
            <a:ext cx="1499028" cy="2324476"/>
            <a:chOff x="6352434" y="4062038"/>
            <a:chExt cx="1499028" cy="2324476"/>
          </a:xfrm>
        </p:grpSpPr>
        <p:sp>
          <p:nvSpPr>
            <p:cNvPr id="3" name="Freeform 1724">
              <a:extLst>
                <a:ext uri="{FF2B5EF4-FFF2-40B4-BE49-F238E27FC236}">
                  <a16:creationId xmlns:a16="http://schemas.microsoft.com/office/drawing/2014/main" id="{F21205E9-CD04-4C07-9E7F-98E63B456A94}"/>
                </a:ext>
              </a:extLst>
            </p:cNvPr>
            <p:cNvSpPr>
              <a:spLocks/>
            </p:cNvSpPr>
            <p:nvPr/>
          </p:nvSpPr>
          <p:spPr bwMode="auto">
            <a:xfrm>
              <a:off x="6352434" y="4726685"/>
              <a:ext cx="578886" cy="293016"/>
            </a:xfrm>
            <a:custGeom>
              <a:avLst/>
              <a:gdLst>
                <a:gd name="T0" fmla="*/ 158 w 324"/>
                <a:gd name="T1" fmla="*/ 0 h 164"/>
                <a:gd name="T2" fmla="*/ 158 w 324"/>
                <a:gd name="T3" fmla="*/ 0 h 164"/>
                <a:gd name="T4" fmla="*/ 174 w 324"/>
                <a:gd name="T5" fmla="*/ 0 h 164"/>
                <a:gd name="T6" fmla="*/ 190 w 324"/>
                <a:gd name="T7" fmla="*/ 2 h 164"/>
                <a:gd name="T8" fmla="*/ 206 w 324"/>
                <a:gd name="T9" fmla="*/ 4 h 164"/>
                <a:gd name="T10" fmla="*/ 222 w 324"/>
                <a:gd name="T11" fmla="*/ 10 h 164"/>
                <a:gd name="T12" fmla="*/ 250 w 324"/>
                <a:gd name="T13" fmla="*/ 20 h 164"/>
                <a:gd name="T14" fmla="*/ 274 w 324"/>
                <a:gd name="T15" fmla="*/ 34 h 164"/>
                <a:gd name="T16" fmla="*/ 296 w 324"/>
                <a:gd name="T17" fmla="*/ 48 h 164"/>
                <a:gd name="T18" fmla="*/ 312 w 324"/>
                <a:gd name="T19" fmla="*/ 62 h 164"/>
                <a:gd name="T20" fmla="*/ 324 w 324"/>
                <a:gd name="T21" fmla="*/ 74 h 164"/>
                <a:gd name="T22" fmla="*/ 324 w 324"/>
                <a:gd name="T23" fmla="*/ 74 h 164"/>
                <a:gd name="T24" fmla="*/ 312 w 324"/>
                <a:gd name="T25" fmla="*/ 88 h 164"/>
                <a:gd name="T26" fmla="*/ 298 w 324"/>
                <a:gd name="T27" fmla="*/ 100 h 164"/>
                <a:gd name="T28" fmla="*/ 280 w 324"/>
                <a:gd name="T29" fmla="*/ 118 h 164"/>
                <a:gd name="T30" fmla="*/ 256 w 324"/>
                <a:gd name="T31" fmla="*/ 134 h 164"/>
                <a:gd name="T32" fmla="*/ 230 w 324"/>
                <a:gd name="T33" fmla="*/ 148 h 164"/>
                <a:gd name="T34" fmla="*/ 216 w 324"/>
                <a:gd name="T35" fmla="*/ 154 h 164"/>
                <a:gd name="T36" fmla="*/ 200 w 324"/>
                <a:gd name="T37" fmla="*/ 158 h 164"/>
                <a:gd name="T38" fmla="*/ 184 w 324"/>
                <a:gd name="T39" fmla="*/ 162 h 164"/>
                <a:gd name="T40" fmla="*/ 168 w 324"/>
                <a:gd name="T41" fmla="*/ 164 h 164"/>
                <a:gd name="T42" fmla="*/ 168 w 324"/>
                <a:gd name="T43" fmla="*/ 164 h 164"/>
                <a:gd name="T44" fmla="*/ 150 w 324"/>
                <a:gd name="T45" fmla="*/ 164 h 164"/>
                <a:gd name="T46" fmla="*/ 134 w 324"/>
                <a:gd name="T47" fmla="*/ 162 h 164"/>
                <a:gd name="T48" fmla="*/ 118 w 324"/>
                <a:gd name="T49" fmla="*/ 158 h 164"/>
                <a:gd name="T50" fmla="*/ 104 w 324"/>
                <a:gd name="T51" fmla="*/ 154 h 164"/>
                <a:gd name="T52" fmla="*/ 74 w 324"/>
                <a:gd name="T53" fmla="*/ 142 h 164"/>
                <a:gd name="T54" fmla="*/ 50 w 324"/>
                <a:gd name="T55" fmla="*/ 128 h 164"/>
                <a:gd name="T56" fmla="*/ 30 w 324"/>
                <a:gd name="T57" fmla="*/ 114 h 164"/>
                <a:gd name="T58" fmla="*/ 14 w 324"/>
                <a:gd name="T59" fmla="*/ 102 h 164"/>
                <a:gd name="T60" fmla="*/ 0 w 324"/>
                <a:gd name="T61" fmla="*/ 90 h 164"/>
                <a:gd name="T62" fmla="*/ 0 w 324"/>
                <a:gd name="T63" fmla="*/ 90 h 164"/>
                <a:gd name="T64" fmla="*/ 12 w 324"/>
                <a:gd name="T65" fmla="*/ 76 h 164"/>
                <a:gd name="T66" fmla="*/ 26 w 324"/>
                <a:gd name="T67" fmla="*/ 62 h 164"/>
                <a:gd name="T68" fmla="*/ 44 w 324"/>
                <a:gd name="T69" fmla="*/ 46 h 164"/>
                <a:gd name="T70" fmla="*/ 68 w 324"/>
                <a:gd name="T71" fmla="*/ 30 h 164"/>
                <a:gd name="T72" fmla="*/ 94 w 324"/>
                <a:gd name="T73" fmla="*/ 16 h 164"/>
                <a:gd name="T74" fmla="*/ 110 w 324"/>
                <a:gd name="T75" fmla="*/ 10 h 164"/>
                <a:gd name="T76" fmla="*/ 124 w 324"/>
                <a:gd name="T77" fmla="*/ 4 h 164"/>
                <a:gd name="T78" fmla="*/ 140 w 324"/>
                <a:gd name="T79" fmla="*/ 2 h 164"/>
                <a:gd name="T80" fmla="*/ 158 w 324"/>
                <a:gd name="T81" fmla="*/ 0 h 164"/>
                <a:gd name="T82" fmla="*/ 158 w 324"/>
                <a:gd name="T83" fmla="*/ 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24" h="164">
                  <a:moveTo>
                    <a:pt x="158" y="0"/>
                  </a:moveTo>
                  <a:lnTo>
                    <a:pt x="158" y="0"/>
                  </a:lnTo>
                  <a:lnTo>
                    <a:pt x="174" y="0"/>
                  </a:lnTo>
                  <a:lnTo>
                    <a:pt x="190" y="2"/>
                  </a:lnTo>
                  <a:lnTo>
                    <a:pt x="206" y="4"/>
                  </a:lnTo>
                  <a:lnTo>
                    <a:pt x="222" y="10"/>
                  </a:lnTo>
                  <a:lnTo>
                    <a:pt x="250" y="20"/>
                  </a:lnTo>
                  <a:lnTo>
                    <a:pt x="274" y="34"/>
                  </a:lnTo>
                  <a:lnTo>
                    <a:pt x="296" y="48"/>
                  </a:lnTo>
                  <a:lnTo>
                    <a:pt x="312" y="62"/>
                  </a:lnTo>
                  <a:lnTo>
                    <a:pt x="324" y="74"/>
                  </a:lnTo>
                  <a:lnTo>
                    <a:pt x="324" y="74"/>
                  </a:lnTo>
                  <a:lnTo>
                    <a:pt x="312" y="88"/>
                  </a:lnTo>
                  <a:lnTo>
                    <a:pt x="298" y="100"/>
                  </a:lnTo>
                  <a:lnTo>
                    <a:pt x="280" y="118"/>
                  </a:lnTo>
                  <a:lnTo>
                    <a:pt x="256" y="134"/>
                  </a:lnTo>
                  <a:lnTo>
                    <a:pt x="230" y="148"/>
                  </a:lnTo>
                  <a:lnTo>
                    <a:pt x="216" y="154"/>
                  </a:lnTo>
                  <a:lnTo>
                    <a:pt x="200" y="158"/>
                  </a:lnTo>
                  <a:lnTo>
                    <a:pt x="184" y="162"/>
                  </a:lnTo>
                  <a:lnTo>
                    <a:pt x="168" y="164"/>
                  </a:lnTo>
                  <a:lnTo>
                    <a:pt x="168" y="164"/>
                  </a:lnTo>
                  <a:lnTo>
                    <a:pt x="150" y="164"/>
                  </a:lnTo>
                  <a:lnTo>
                    <a:pt x="134" y="162"/>
                  </a:lnTo>
                  <a:lnTo>
                    <a:pt x="118" y="158"/>
                  </a:lnTo>
                  <a:lnTo>
                    <a:pt x="104" y="154"/>
                  </a:lnTo>
                  <a:lnTo>
                    <a:pt x="74" y="142"/>
                  </a:lnTo>
                  <a:lnTo>
                    <a:pt x="50" y="128"/>
                  </a:lnTo>
                  <a:lnTo>
                    <a:pt x="30" y="114"/>
                  </a:lnTo>
                  <a:lnTo>
                    <a:pt x="14" y="102"/>
                  </a:lnTo>
                  <a:lnTo>
                    <a:pt x="0" y="90"/>
                  </a:lnTo>
                  <a:lnTo>
                    <a:pt x="0" y="90"/>
                  </a:lnTo>
                  <a:lnTo>
                    <a:pt x="12" y="76"/>
                  </a:lnTo>
                  <a:lnTo>
                    <a:pt x="26" y="62"/>
                  </a:lnTo>
                  <a:lnTo>
                    <a:pt x="44" y="46"/>
                  </a:lnTo>
                  <a:lnTo>
                    <a:pt x="68" y="30"/>
                  </a:lnTo>
                  <a:lnTo>
                    <a:pt x="94" y="16"/>
                  </a:lnTo>
                  <a:lnTo>
                    <a:pt x="110" y="10"/>
                  </a:lnTo>
                  <a:lnTo>
                    <a:pt x="124" y="4"/>
                  </a:lnTo>
                  <a:lnTo>
                    <a:pt x="140" y="2"/>
                  </a:lnTo>
                  <a:lnTo>
                    <a:pt x="158" y="0"/>
                  </a:lnTo>
                  <a:lnTo>
                    <a:pt x="158"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4" name="Freeform 1726">
              <a:extLst>
                <a:ext uri="{FF2B5EF4-FFF2-40B4-BE49-F238E27FC236}">
                  <a16:creationId xmlns:a16="http://schemas.microsoft.com/office/drawing/2014/main" id="{53EE8CC6-756E-402B-B0C2-9762C0A79514}"/>
                </a:ext>
              </a:extLst>
            </p:cNvPr>
            <p:cNvSpPr>
              <a:spLocks/>
            </p:cNvSpPr>
            <p:nvPr/>
          </p:nvSpPr>
          <p:spPr bwMode="auto">
            <a:xfrm>
              <a:off x="6666891" y="4683805"/>
              <a:ext cx="457391" cy="303736"/>
            </a:xfrm>
            <a:custGeom>
              <a:avLst/>
              <a:gdLst>
                <a:gd name="T0" fmla="*/ 166 w 256"/>
                <a:gd name="T1" fmla="*/ 20 h 170"/>
                <a:gd name="T2" fmla="*/ 166 w 256"/>
                <a:gd name="T3" fmla="*/ 20 h 170"/>
                <a:gd name="T4" fmla="*/ 178 w 256"/>
                <a:gd name="T5" fmla="*/ 28 h 170"/>
                <a:gd name="T6" fmla="*/ 190 w 256"/>
                <a:gd name="T7" fmla="*/ 38 h 170"/>
                <a:gd name="T8" fmla="*/ 200 w 256"/>
                <a:gd name="T9" fmla="*/ 48 h 170"/>
                <a:gd name="T10" fmla="*/ 210 w 256"/>
                <a:gd name="T11" fmla="*/ 60 h 170"/>
                <a:gd name="T12" fmla="*/ 224 w 256"/>
                <a:gd name="T13" fmla="*/ 82 h 170"/>
                <a:gd name="T14" fmla="*/ 236 w 256"/>
                <a:gd name="T15" fmla="*/ 106 h 170"/>
                <a:gd name="T16" fmla="*/ 246 w 256"/>
                <a:gd name="T17" fmla="*/ 126 h 170"/>
                <a:gd name="T18" fmla="*/ 252 w 256"/>
                <a:gd name="T19" fmla="*/ 144 h 170"/>
                <a:gd name="T20" fmla="*/ 256 w 256"/>
                <a:gd name="T21" fmla="*/ 160 h 170"/>
                <a:gd name="T22" fmla="*/ 256 w 256"/>
                <a:gd name="T23" fmla="*/ 160 h 170"/>
                <a:gd name="T24" fmla="*/ 240 w 256"/>
                <a:gd name="T25" fmla="*/ 164 h 170"/>
                <a:gd name="T26" fmla="*/ 222 w 256"/>
                <a:gd name="T27" fmla="*/ 168 h 170"/>
                <a:gd name="T28" fmla="*/ 198 w 256"/>
                <a:gd name="T29" fmla="*/ 170 h 170"/>
                <a:gd name="T30" fmla="*/ 174 w 256"/>
                <a:gd name="T31" fmla="*/ 170 h 170"/>
                <a:gd name="T32" fmla="*/ 146 w 256"/>
                <a:gd name="T33" fmla="*/ 168 h 170"/>
                <a:gd name="T34" fmla="*/ 132 w 256"/>
                <a:gd name="T35" fmla="*/ 166 h 170"/>
                <a:gd name="T36" fmla="*/ 118 w 256"/>
                <a:gd name="T37" fmla="*/ 162 h 170"/>
                <a:gd name="T38" fmla="*/ 104 w 256"/>
                <a:gd name="T39" fmla="*/ 156 h 170"/>
                <a:gd name="T40" fmla="*/ 90 w 256"/>
                <a:gd name="T41" fmla="*/ 150 h 170"/>
                <a:gd name="T42" fmla="*/ 90 w 256"/>
                <a:gd name="T43" fmla="*/ 150 h 170"/>
                <a:gd name="T44" fmla="*/ 78 w 256"/>
                <a:gd name="T45" fmla="*/ 142 h 170"/>
                <a:gd name="T46" fmla="*/ 66 w 256"/>
                <a:gd name="T47" fmla="*/ 132 h 170"/>
                <a:gd name="T48" fmla="*/ 56 w 256"/>
                <a:gd name="T49" fmla="*/ 122 h 170"/>
                <a:gd name="T50" fmla="*/ 46 w 256"/>
                <a:gd name="T51" fmla="*/ 110 h 170"/>
                <a:gd name="T52" fmla="*/ 30 w 256"/>
                <a:gd name="T53" fmla="*/ 88 h 170"/>
                <a:gd name="T54" fmla="*/ 18 w 256"/>
                <a:gd name="T55" fmla="*/ 64 h 170"/>
                <a:gd name="T56" fmla="*/ 10 w 256"/>
                <a:gd name="T57" fmla="*/ 44 h 170"/>
                <a:gd name="T58" fmla="*/ 4 w 256"/>
                <a:gd name="T59" fmla="*/ 26 h 170"/>
                <a:gd name="T60" fmla="*/ 0 w 256"/>
                <a:gd name="T61" fmla="*/ 10 h 170"/>
                <a:gd name="T62" fmla="*/ 0 w 256"/>
                <a:gd name="T63" fmla="*/ 10 h 170"/>
                <a:gd name="T64" fmla="*/ 16 w 256"/>
                <a:gd name="T65" fmla="*/ 6 h 170"/>
                <a:gd name="T66" fmla="*/ 34 w 256"/>
                <a:gd name="T67" fmla="*/ 2 h 170"/>
                <a:gd name="T68" fmla="*/ 56 w 256"/>
                <a:gd name="T69" fmla="*/ 0 h 170"/>
                <a:gd name="T70" fmla="*/ 82 w 256"/>
                <a:gd name="T71" fmla="*/ 0 h 170"/>
                <a:gd name="T72" fmla="*/ 110 w 256"/>
                <a:gd name="T73" fmla="*/ 2 h 170"/>
                <a:gd name="T74" fmla="*/ 124 w 256"/>
                <a:gd name="T75" fmla="*/ 4 h 170"/>
                <a:gd name="T76" fmla="*/ 138 w 256"/>
                <a:gd name="T77" fmla="*/ 8 h 170"/>
                <a:gd name="T78" fmla="*/ 152 w 256"/>
                <a:gd name="T79" fmla="*/ 14 h 170"/>
                <a:gd name="T80" fmla="*/ 166 w 256"/>
                <a:gd name="T81" fmla="*/ 20 h 170"/>
                <a:gd name="T82" fmla="*/ 166 w 256"/>
                <a:gd name="T83" fmla="*/ 2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56" h="170">
                  <a:moveTo>
                    <a:pt x="166" y="20"/>
                  </a:moveTo>
                  <a:lnTo>
                    <a:pt x="166" y="20"/>
                  </a:lnTo>
                  <a:lnTo>
                    <a:pt x="178" y="28"/>
                  </a:lnTo>
                  <a:lnTo>
                    <a:pt x="190" y="38"/>
                  </a:lnTo>
                  <a:lnTo>
                    <a:pt x="200" y="48"/>
                  </a:lnTo>
                  <a:lnTo>
                    <a:pt x="210" y="60"/>
                  </a:lnTo>
                  <a:lnTo>
                    <a:pt x="224" y="82"/>
                  </a:lnTo>
                  <a:lnTo>
                    <a:pt x="236" y="106"/>
                  </a:lnTo>
                  <a:lnTo>
                    <a:pt x="246" y="126"/>
                  </a:lnTo>
                  <a:lnTo>
                    <a:pt x="252" y="144"/>
                  </a:lnTo>
                  <a:lnTo>
                    <a:pt x="256" y="160"/>
                  </a:lnTo>
                  <a:lnTo>
                    <a:pt x="256" y="160"/>
                  </a:lnTo>
                  <a:lnTo>
                    <a:pt x="240" y="164"/>
                  </a:lnTo>
                  <a:lnTo>
                    <a:pt x="222" y="168"/>
                  </a:lnTo>
                  <a:lnTo>
                    <a:pt x="198" y="170"/>
                  </a:lnTo>
                  <a:lnTo>
                    <a:pt x="174" y="170"/>
                  </a:lnTo>
                  <a:lnTo>
                    <a:pt x="146" y="168"/>
                  </a:lnTo>
                  <a:lnTo>
                    <a:pt x="132" y="166"/>
                  </a:lnTo>
                  <a:lnTo>
                    <a:pt x="118" y="162"/>
                  </a:lnTo>
                  <a:lnTo>
                    <a:pt x="104" y="156"/>
                  </a:lnTo>
                  <a:lnTo>
                    <a:pt x="90" y="150"/>
                  </a:lnTo>
                  <a:lnTo>
                    <a:pt x="90" y="150"/>
                  </a:lnTo>
                  <a:lnTo>
                    <a:pt x="78" y="142"/>
                  </a:lnTo>
                  <a:lnTo>
                    <a:pt x="66" y="132"/>
                  </a:lnTo>
                  <a:lnTo>
                    <a:pt x="56" y="122"/>
                  </a:lnTo>
                  <a:lnTo>
                    <a:pt x="46" y="110"/>
                  </a:lnTo>
                  <a:lnTo>
                    <a:pt x="30" y="88"/>
                  </a:lnTo>
                  <a:lnTo>
                    <a:pt x="18" y="64"/>
                  </a:lnTo>
                  <a:lnTo>
                    <a:pt x="10" y="44"/>
                  </a:lnTo>
                  <a:lnTo>
                    <a:pt x="4" y="26"/>
                  </a:lnTo>
                  <a:lnTo>
                    <a:pt x="0" y="10"/>
                  </a:lnTo>
                  <a:lnTo>
                    <a:pt x="0" y="10"/>
                  </a:lnTo>
                  <a:lnTo>
                    <a:pt x="16" y="6"/>
                  </a:lnTo>
                  <a:lnTo>
                    <a:pt x="34" y="2"/>
                  </a:lnTo>
                  <a:lnTo>
                    <a:pt x="56" y="0"/>
                  </a:lnTo>
                  <a:lnTo>
                    <a:pt x="82" y="0"/>
                  </a:lnTo>
                  <a:lnTo>
                    <a:pt x="110" y="2"/>
                  </a:lnTo>
                  <a:lnTo>
                    <a:pt x="124" y="4"/>
                  </a:lnTo>
                  <a:lnTo>
                    <a:pt x="138" y="8"/>
                  </a:lnTo>
                  <a:lnTo>
                    <a:pt x="152" y="14"/>
                  </a:lnTo>
                  <a:lnTo>
                    <a:pt x="166" y="20"/>
                  </a:lnTo>
                  <a:lnTo>
                    <a:pt x="166" y="2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5" name="Freeform 1728">
              <a:extLst>
                <a:ext uri="{FF2B5EF4-FFF2-40B4-BE49-F238E27FC236}">
                  <a16:creationId xmlns:a16="http://schemas.microsoft.com/office/drawing/2014/main" id="{15730B03-89F4-4888-B9BC-08448F2E34C7}"/>
                </a:ext>
              </a:extLst>
            </p:cNvPr>
            <p:cNvSpPr>
              <a:spLocks/>
            </p:cNvSpPr>
            <p:nvPr/>
          </p:nvSpPr>
          <p:spPr bwMode="auto">
            <a:xfrm>
              <a:off x="6702624" y="4078118"/>
              <a:ext cx="246562" cy="482405"/>
            </a:xfrm>
            <a:custGeom>
              <a:avLst/>
              <a:gdLst>
                <a:gd name="T0" fmla="*/ 136 w 138"/>
                <a:gd name="T1" fmla="*/ 126 h 270"/>
                <a:gd name="T2" fmla="*/ 136 w 138"/>
                <a:gd name="T3" fmla="*/ 126 h 270"/>
                <a:gd name="T4" fmla="*/ 138 w 138"/>
                <a:gd name="T5" fmla="*/ 140 h 270"/>
                <a:gd name="T6" fmla="*/ 138 w 138"/>
                <a:gd name="T7" fmla="*/ 154 h 270"/>
                <a:gd name="T8" fmla="*/ 132 w 138"/>
                <a:gd name="T9" fmla="*/ 180 h 270"/>
                <a:gd name="T10" fmla="*/ 124 w 138"/>
                <a:gd name="T11" fmla="*/ 204 h 270"/>
                <a:gd name="T12" fmla="*/ 114 w 138"/>
                <a:gd name="T13" fmla="*/ 226 h 270"/>
                <a:gd name="T14" fmla="*/ 104 w 138"/>
                <a:gd name="T15" fmla="*/ 244 h 270"/>
                <a:gd name="T16" fmla="*/ 96 w 138"/>
                <a:gd name="T17" fmla="*/ 258 h 270"/>
                <a:gd name="T18" fmla="*/ 86 w 138"/>
                <a:gd name="T19" fmla="*/ 270 h 270"/>
                <a:gd name="T20" fmla="*/ 86 w 138"/>
                <a:gd name="T21" fmla="*/ 270 h 270"/>
                <a:gd name="T22" fmla="*/ 74 w 138"/>
                <a:gd name="T23" fmla="*/ 260 h 270"/>
                <a:gd name="T24" fmla="*/ 62 w 138"/>
                <a:gd name="T25" fmla="*/ 250 h 270"/>
                <a:gd name="T26" fmla="*/ 46 w 138"/>
                <a:gd name="T27" fmla="*/ 234 h 270"/>
                <a:gd name="T28" fmla="*/ 32 w 138"/>
                <a:gd name="T29" fmla="*/ 216 h 270"/>
                <a:gd name="T30" fmla="*/ 18 w 138"/>
                <a:gd name="T31" fmla="*/ 194 h 270"/>
                <a:gd name="T32" fmla="*/ 6 w 138"/>
                <a:gd name="T33" fmla="*/ 170 h 270"/>
                <a:gd name="T34" fmla="*/ 4 w 138"/>
                <a:gd name="T35" fmla="*/ 158 h 270"/>
                <a:gd name="T36" fmla="*/ 0 w 138"/>
                <a:gd name="T37" fmla="*/ 144 h 270"/>
                <a:gd name="T38" fmla="*/ 0 w 138"/>
                <a:gd name="T39" fmla="*/ 144 h 270"/>
                <a:gd name="T40" fmla="*/ 0 w 138"/>
                <a:gd name="T41" fmla="*/ 130 h 270"/>
                <a:gd name="T42" fmla="*/ 0 w 138"/>
                <a:gd name="T43" fmla="*/ 116 h 270"/>
                <a:gd name="T44" fmla="*/ 4 w 138"/>
                <a:gd name="T45" fmla="*/ 90 h 270"/>
                <a:gd name="T46" fmla="*/ 12 w 138"/>
                <a:gd name="T47" fmla="*/ 66 h 270"/>
                <a:gd name="T48" fmla="*/ 22 w 138"/>
                <a:gd name="T49" fmla="*/ 44 h 270"/>
                <a:gd name="T50" fmla="*/ 32 w 138"/>
                <a:gd name="T51" fmla="*/ 26 h 270"/>
                <a:gd name="T52" fmla="*/ 42 w 138"/>
                <a:gd name="T53" fmla="*/ 12 h 270"/>
                <a:gd name="T54" fmla="*/ 52 w 138"/>
                <a:gd name="T55" fmla="*/ 0 h 270"/>
                <a:gd name="T56" fmla="*/ 52 w 138"/>
                <a:gd name="T57" fmla="*/ 0 h 270"/>
                <a:gd name="T58" fmla="*/ 64 w 138"/>
                <a:gd name="T59" fmla="*/ 10 h 270"/>
                <a:gd name="T60" fmla="*/ 76 w 138"/>
                <a:gd name="T61" fmla="*/ 22 h 270"/>
                <a:gd name="T62" fmla="*/ 90 w 138"/>
                <a:gd name="T63" fmla="*/ 36 h 270"/>
                <a:gd name="T64" fmla="*/ 106 w 138"/>
                <a:gd name="T65" fmla="*/ 54 h 270"/>
                <a:gd name="T66" fmla="*/ 120 w 138"/>
                <a:gd name="T67" fmla="*/ 76 h 270"/>
                <a:gd name="T68" fmla="*/ 130 w 138"/>
                <a:gd name="T69" fmla="*/ 100 h 270"/>
                <a:gd name="T70" fmla="*/ 134 w 138"/>
                <a:gd name="T71" fmla="*/ 112 h 270"/>
                <a:gd name="T72" fmla="*/ 136 w 138"/>
                <a:gd name="T73" fmla="*/ 126 h 270"/>
                <a:gd name="T74" fmla="*/ 136 w 138"/>
                <a:gd name="T75" fmla="*/ 126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8" h="270">
                  <a:moveTo>
                    <a:pt x="136" y="126"/>
                  </a:moveTo>
                  <a:lnTo>
                    <a:pt x="136" y="126"/>
                  </a:lnTo>
                  <a:lnTo>
                    <a:pt x="138" y="140"/>
                  </a:lnTo>
                  <a:lnTo>
                    <a:pt x="138" y="154"/>
                  </a:lnTo>
                  <a:lnTo>
                    <a:pt x="132" y="180"/>
                  </a:lnTo>
                  <a:lnTo>
                    <a:pt x="124" y="204"/>
                  </a:lnTo>
                  <a:lnTo>
                    <a:pt x="114" y="226"/>
                  </a:lnTo>
                  <a:lnTo>
                    <a:pt x="104" y="244"/>
                  </a:lnTo>
                  <a:lnTo>
                    <a:pt x="96" y="258"/>
                  </a:lnTo>
                  <a:lnTo>
                    <a:pt x="86" y="270"/>
                  </a:lnTo>
                  <a:lnTo>
                    <a:pt x="86" y="270"/>
                  </a:lnTo>
                  <a:lnTo>
                    <a:pt x="74" y="260"/>
                  </a:lnTo>
                  <a:lnTo>
                    <a:pt x="62" y="250"/>
                  </a:lnTo>
                  <a:lnTo>
                    <a:pt x="46" y="234"/>
                  </a:lnTo>
                  <a:lnTo>
                    <a:pt x="32" y="216"/>
                  </a:lnTo>
                  <a:lnTo>
                    <a:pt x="18" y="194"/>
                  </a:lnTo>
                  <a:lnTo>
                    <a:pt x="6" y="170"/>
                  </a:lnTo>
                  <a:lnTo>
                    <a:pt x="4" y="158"/>
                  </a:lnTo>
                  <a:lnTo>
                    <a:pt x="0" y="144"/>
                  </a:lnTo>
                  <a:lnTo>
                    <a:pt x="0" y="144"/>
                  </a:lnTo>
                  <a:lnTo>
                    <a:pt x="0" y="130"/>
                  </a:lnTo>
                  <a:lnTo>
                    <a:pt x="0" y="116"/>
                  </a:lnTo>
                  <a:lnTo>
                    <a:pt x="4" y="90"/>
                  </a:lnTo>
                  <a:lnTo>
                    <a:pt x="12" y="66"/>
                  </a:lnTo>
                  <a:lnTo>
                    <a:pt x="22" y="44"/>
                  </a:lnTo>
                  <a:lnTo>
                    <a:pt x="32" y="26"/>
                  </a:lnTo>
                  <a:lnTo>
                    <a:pt x="42" y="12"/>
                  </a:lnTo>
                  <a:lnTo>
                    <a:pt x="52" y="0"/>
                  </a:lnTo>
                  <a:lnTo>
                    <a:pt x="52" y="0"/>
                  </a:lnTo>
                  <a:lnTo>
                    <a:pt x="64" y="10"/>
                  </a:lnTo>
                  <a:lnTo>
                    <a:pt x="76" y="22"/>
                  </a:lnTo>
                  <a:lnTo>
                    <a:pt x="90" y="36"/>
                  </a:lnTo>
                  <a:lnTo>
                    <a:pt x="106" y="54"/>
                  </a:lnTo>
                  <a:lnTo>
                    <a:pt x="120" y="76"/>
                  </a:lnTo>
                  <a:lnTo>
                    <a:pt x="130" y="100"/>
                  </a:lnTo>
                  <a:lnTo>
                    <a:pt x="134" y="112"/>
                  </a:lnTo>
                  <a:lnTo>
                    <a:pt x="136" y="126"/>
                  </a:lnTo>
                  <a:lnTo>
                    <a:pt x="136" y="126"/>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nvGrpSpPr>
            <p:cNvPr id="6" name="Group 6">
              <a:extLst>
                <a:ext uri="{FF2B5EF4-FFF2-40B4-BE49-F238E27FC236}">
                  <a16:creationId xmlns:a16="http://schemas.microsoft.com/office/drawing/2014/main" id="{313E823E-6104-4D02-8D5D-126D671759C5}"/>
                </a:ext>
              </a:extLst>
            </p:cNvPr>
            <p:cNvGrpSpPr/>
            <p:nvPr/>
          </p:nvGrpSpPr>
          <p:grpSpPr>
            <a:xfrm>
              <a:off x="6556116" y="5080448"/>
              <a:ext cx="400218" cy="326963"/>
              <a:chOff x="6556116" y="5080448"/>
              <a:chExt cx="400218" cy="326963"/>
            </a:xfrm>
          </p:grpSpPr>
          <p:sp>
            <p:nvSpPr>
              <p:cNvPr id="39" name="Freeform 1730">
                <a:extLst>
                  <a:ext uri="{FF2B5EF4-FFF2-40B4-BE49-F238E27FC236}">
                    <a16:creationId xmlns:a16="http://schemas.microsoft.com/office/drawing/2014/main" id="{6FC9DB3D-F090-4B7C-892D-54FB281A5680}"/>
                  </a:ext>
                </a:extLst>
              </p:cNvPr>
              <p:cNvSpPr>
                <a:spLocks/>
              </p:cNvSpPr>
              <p:nvPr/>
            </p:nvSpPr>
            <p:spPr bwMode="auto">
              <a:xfrm>
                <a:off x="6563263" y="5146555"/>
                <a:ext cx="393071" cy="260856"/>
              </a:xfrm>
              <a:custGeom>
                <a:avLst/>
                <a:gdLst>
                  <a:gd name="T0" fmla="*/ 32 w 220"/>
                  <a:gd name="T1" fmla="*/ 78 h 146"/>
                  <a:gd name="T2" fmla="*/ 32 w 220"/>
                  <a:gd name="T3" fmla="*/ 78 h 146"/>
                  <a:gd name="T4" fmla="*/ 26 w 220"/>
                  <a:gd name="T5" fmla="*/ 80 h 146"/>
                  <a:gd name="T6" fmla="*/ 20 w 220"/>
                  <a:gd name="T7" fmla="*/ 82 h 146"/>
                  <a:gd name="T8" fmla="*/ 8 w 220"/>
                  <a:gd name="T9" fmla="*/ 80 h 146"/>
                  <a:gd name="T10" fmla="*/ 4 w 220"/>
                  <a:gd name="T11" fmla="*/ 80 h 146"/>
                  <a:gd name="T12" fmla="*/ 2 w 220"/>
                  <a:gd name="T13" fmla="*/ 80 h 146"/>
                  <a:gd name="T14" fmla="*/ 0 w 220"/>
                  <a:gd name="T15" fmla="*/ 82 h 146"/>
                  <a:gd name="T16" fmla="*/ 2 w 220"/>
                  <a:gd name="T17" fmla="*/ 88 h 146"/>
                  <a:gd name="T18" fmla="*/ 22 w 220"/>
                  <a:gd name="T19" fmla="*/ 126 h 146"/>
                  <a:gd name="T20" fmla="*/ 22 w 220"/>
                  <a:gd name="T21" fmla="*/ 126 h 146"/>
                  <a:gd name="T22" fmla="*/ 30 w 220"/>
                  <a:gd name="T23" fmla="*/ 134 h 146"/>
                  <a:gd name="T24" fmla="*/ 40 w 220"/>
                  <a:gd name="T25" fmla="*/ 140 h 146"/>
                  <a:gd name="T26" fmla="*/ 54 w 220"/>
                  <a:gd name="T27" fmla="*/ 144 h 146"/>
                  <a:gd name="T28" fmla="*/ 70 w 220"/>
                  <a:gd name="T29" fmla="*/ 146 h 146"/>
                  <a:gd name="T30" fmla="*/ 88 w 220"/>
                  <a:gd name="T31" fmla="*/ 144 h 146"/>
                  <a:gd name="T32" fmla="*/ 106 w 220"/>
                  <a:gd name="T33" fmla="*/ 140 h 146"/>
                  <a:gd name="T34" fmla="*/ 126 w 220"/>
                  <a:gd name="T35" fmla="*/ 132 h 146"/>
                  <a:gd name="T36" fmla="*/ 146 w 220"/>
                  <a:gd name="T37" fmla="*/ 124 h 146"/>
                  <a:gd name="T38" fmla="*/ 146 w 220"/>
                  <a:gd name="T39" fmla="*/ 124 h 146"/>
                  <a:gd name="T40" fmla="*/ 164 w 220"/>
                  <a:gd name="T41" fmla="*/ 112 h 146"/>
                  <a:gd name="T42" fmla="*/ 182 w 220"/>
                  <a:gd name="T43" fmla="*/ 100 h 146"/>
                  <a:gd name="T44" fmla="*/ 196 w 220"/>
                  <a:gd name="T45" fmla="*/ 86 h 146"/>
                  <a:gd name="T46" fmla="*/ 208 w 220"/>
                  <a:gd name="T47" fmla="*/ 72 h 146"/>
                  <a:gd name="T48" fmla="*/ 216 w 220"/>
                  <a:gd name="T49" fmla="*/ 60 h 146"/>
                  <a:gd name="T50" fmla="*/ 220 w 220"/>
                  <a:gd name="T51" fmla="*/ 46 h 146"/>
                  <a:gd name="T52" fmla="*/ 220 w 220"/>
                  <a:gd name="T53" fmla="*/ 34 h 146"/>
                  <a:gd name="T54" fmla="*/ 218 w 220"/>
                  <a:gd name="T55" fmla="*/ 24 h 146"/>
                  <a:gd name="T56" fmla="*/ 214 w 220"/>
                  <a:gd name="T57" fmla="*/ 18 h 146"/>
                  <a:gd name="T58" fmla="*/ 214 w 220"/>
                  <a:gd name="T59" fmla="*/ 18 h 146"/>
                  <a:gd name="T60" fmla="*/ 210 w 220"/>
                  <a:gd name="T61" fmla="*/ 12 h 146"/>
                  <a:gd name="T62" fmla="*/ 206 w 220"/>
                  <a:gd name="T63" fmla="*/ 8 h 146"/>
                  <a:gd name="T64" fmla="*/ 196 w 220"/>
                  <a:gd name="T65" fmla="*/ 2 h 146"/>
                  <a:gd name="T66" fmla="*/ 184 w 220"/>
                  <a:gd name="T67" fmla="*/ 0 h 146"/>
                  <a:gd name="T68" fmla="*/ 178 w 220"/>
                  <a:gd name="T69" fmla="*/ 2 h 146"/>
                  <a:gd name="T70" fmla="*/ 172 w 220"/>
                  <a:gd name="T71" fmla="*/ 4 h 146"/>
                  <a:gd name="T72" fmla="*/ 32 w 220"/>
                  <a:gd name="T73" fmla="*/ 7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20" h="146">
                    <a:moveTo>
                      <a:pt x="32" y="78"/>
                    </a:moveTo>
                    <a:lnTo>
                      <a:pt x="32" y="78"/>
                    </a:lnTo>
                    <a:lnTo>
                      <a:pt x="26" y="80"/>
                    </a:lnTo>
                    <a:lnTo>
                      <a:pt x="20" y="82"/>
                    </a:lnTo>
                    <a:lnTo>
                      <a:pt x="8" y="80"/>
                    </a:lnTo>
                    <a:lnTo>
                      <a:pt x="4" y="80"/>
                    </a:lnTo>
                    <a:lnTo>
                      <a:pt x="2" y="80"/>
                    </a:lnTo>
                    <a:lnTo>
                      <a:pt x="0" y="82"/>
                    </a:lnTo>
                    <a:lnTo>
                      <a:pt x="2" y="88"/>
                    </a:lnTo>
                    <a:lnTo>
                      <a:pt x="22" y="126"/>
                    </a:lnTo>
                    <a:lnTo>
                      <a:pt x="22" y="126"/>
                    </a:lnTo>
                    <a:lnTo>
                      <a:pt x="30" y="134"/>
                    </a:lnTo>
                    <a:lnTo>
                      <a:pt x="40" y="140"/>
                    </a:lnTo>
                    <a:lnTo>
                      <a:pt x="54" y="144"/>
                    </a:lnTo>
                    <a:lnTo>
                      <a:pt x="70" y="146"/>
                    </a:lnTo>
                    <a:lnTo>
                      <a:pt x="88" y="144"/>
                    </a:lnTo>
                    <a:lnTo>
                      <a:pt x="106" y="140"/>
                    </a:lnTo>
                    <a:lnTo>
                      <a:pt x="126" y="132"/>
                    </a:lnTo>
                    <a:lnTo>
                      <a:pt x="146" y="124"/>
                    </a:lnTo>
                    <a:lnTo>
                      <a:pt x="146" y="124"/>
                    </a:lnTo>
                    <a:lnTo>
                      <a:pt x="164" y="112"/>
                    </a:lnTo>
                    <a:lnTo>
                      <a:pt x="182" y="100"/>
                    </a:lnTo>
                    <a:lnTo>
                      <a:pt x="196" y="86"/>
                    </a:lnTo>
                    <a:lnTo>
                      <a:pt x="208" y="72"/>
                    </a:lnTo>
                    <a:lnTo>
                      <a:pt x="216" y="60"/>
                    </a:lnTo>
                    <a:lnTo>
                      <a:pt x="220" y="46"/>
                    </a:lnTo>
                    <a:lnTo>
                      <a:pt x="220" y="34"/>
                    </a:lnTo>
                    <a:lnTo>
                      <a:pt x="218" y="24"/>
                    </a:lnTo>
                    <a:lnTo>
                      <a:pt x="214" y="18"/>
                    </a:lnTo>
                    <a:lnTo>
                      <a:pt x="214" y="18"/>
                    </a:lnTo>
                    <a:lnTo>
                      <a:pt x="210" y="12"/>
                    </a:lnTo>
                    <a:lnTo>
                      <a:pt x="206" y="8"/>
                    </a:lnTo>
                    <a:lnTo>
                      <a:pt x="196" y="2"/>
                    </a:lnTo>
                    <a:lnTo>
                      <a:pt x="184" y="0"/>
                    </a:lnTo>
                    <a:lnTo>
                      <a:pt x="178" y="2"/>
                    </a:lnTo>
                    <a:lnTo>
                      <a:pt x="172" y="4"/>
                    </a:lnTo>
                    <a:lnTo>
                      <a:pt x="32" y="78"/>
                    </a:lnTo>
                    <a:close/>
                  </a:path>
                </a:pathLst>
              </a:custGeom>
              <a:solidFill>
                <a:srgbClr val="FF9F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40" name="Freeform 1732">
                <a:extLst>
                  <a:ext uri="{FF2B5EF4-FFF2-40B4-BE49-F238E27FC236}">
                    <a16:creationId xmlns:a16="http://schemas.microsoft.com/office/drawing/2014/main" id="{FF6509FA-58EA-4EF7-B17A-A98DA26FB499}"/>
                  </a:ext>
                </a:extLst>
              </p:cNvPr>
              <p:cNvSpPr>
                <a:spLocks/>
              </p:cNvSpPr>
              <p:nvPr/>
            </p:nvSpPr>
            <p:spPr bwMode="auto">
              <a:xfrm>
                <a:off x="6556116" y="5080448"/>
                <a:ext cx="357337" cy="248350"/>
              </a:xfrm>
              <a:custGeom>
                <a:avLst/>
                <a:gdLst>
                  <a:gd name="T0" fmla="*/ 198 w 200"/>
                  <a:gd name="T1" fmla="*/ 17 h 139"/>
                  <a:gd name="T2" fmla="*/ 198 w 200"/>
                  <a:gd name="T3" fmla="*/ 17 h 139"/>
                  <a:gd name="T4" fmla="*/ 200 w 200"/>
                  <a:gd name="T5" fmla="*/ 27 h 139"/>
                  <a:gd name="T6" fmla="*/ 200 w 200"/>
                  <a:gd name="T7" fmla="*/ 39 h 139"/>
                  <a:gd name="T8" fmla="*/ 196 w 200"/>
                  <a:gd name="T9" fmla="*/ 53 h 139"/>
                  <a:gd name="T10" fmla="*/ 188 w 200"/>
                  <a:gd name="T11" fmla="*/ 67 h 139"/>
                  <a:gd name="T12" fmla="*/ 176 w 200"/>
                  <a:gd name="T13" fmla="*/ 79 h 139"/>
                  <a:gd name="T14" fmla="*/ 162 w 200"/>
                  <a:gd name="T15" fmla="*/ 93 h 139"/>
                  <a:gd name="T16" fmla="*/ 146 w 200"/>
                  <a:gd name="T17" fmla="*/ 105 h 139"/>
                  <a:gd name="T18" fmla="*/ 126 w 200"/>
                  <a:gd name="T19" fmla="*/ 117 h 139"/>
                  <a:gd name="T20" fmla="*/ 126 w 200"/>
                  <a:gd name="T21" fmla="*/ 117 h 139"/>
                  <a:gd name="T22" fmla="*/ 106 w 200"/>
                  <a:gd name="T23" fmla="*/ 125 h 139"/>
                  <a:gd name="T24" fmla="*/ 86 w 200"/>
                  <a:gd name="T25" fmla="*/ 133 h 139"/>
                  <a:gd name="T26" fmla="*/ 68 w 200"/>
                  <a:gd name="T27" fmla="*/ 137 h 139"/>
                  <a:gd name="T28" fmla="*/ 50 w 200"/>
                  <a:gd name="T29" fmla="*/ 139 h 139"/>
                  <a:gd name="T30" fmla="*/ 34 w 200"/>
                  <a:gd name="T31" fmla="*/ 137 h 139"/>
                  <a:gd name="T32" fmla="*/ 20 w 200"/>
                  <a:gd name="T33" fmla="*/ 135 h 139"/>
                  <a:gd name="T34" fmla="*/ 10 w 200"/>
                  <a:gd name="T35" fmla="*/ 129 h 139"/>
                  <a:gd name="T36" fmla="*/ 4 w 200"/>
                  <a:gd name="T37" fmla="*/ 119 h 139"/>
                  <a:gd name="T38" fmla="*/ 4 w 200"/>
                  <a:gd name="T39" fmla="*/ 119 h 139"/>
                  <a:gd name="T40" fmla="*/ 0 w 200"/>
                  <a:gd name="T41" fmla="*/ 109 h 139"/>
                  <a:gd name="T42" fmla="*/ 0 w 200"/>
                  <a:gd name="T43" fmla="*/ 97 h 139"/>
                  <a:gd name="T44" fmla="*/ 6 w 200"/>
                  <a:gd name="T45" fmla="*/ 83 h 139"/>
                  <a:gd name="T46" fmla="*/ 14 w 200"/>
                  <a:gd name="T47" fmla="*/ 71 h 139"/>
                  <a:gd name="T48" fmla="*/ 24 w 200"/>
                  <a:gd name="T49" fmla="*/ 57 h 139"/>
                  <a:gd name="T50" fmla="*/ 38 w 200"/>
                  <a:gd name="T51" fmla="*/ 43 h 139"/>
                  <a:gd name="T52" fmla="*/ 56 w 200"/>
                  <a:gd name="T53" fmla="*/ 31 h 139"/>
                  <a:gd name="T54" fmla="*/ 74 w 200"/>
                  <a:gd name="T55" fmla="*/ 21 h 139"/>
                  <a:gd name="T56" fmla="*/ 74 w 200"/>
                  <a:gd name="T57" fmla="*/ 21 h 139"/>
                  <a:gd name="T58" fmla="*/ 94 w 200"/>
                  <a:gd name="T59" fmla="*/ 11 h 139"/>
                  <a:gd name="T60" fmla="*/ 114 w 200"/>
                  <a:gd name="T61" fmla="*/ 5 h 139"/>
                  <a:gd name="T62" fmla="*/ 134 w 200"/>
                  <a:gd name="T63" fmla="*/ 0 h 139"/>
                  <a:gd name="T64" fmla="*/ 150 w 200"/>
                  <a:gd name="T65" fmla="*/ 0 h 139"/>
                  <a:gd name="T66" fmla="*/ 166 w 200"/>
                  <a:gd name="T67" fmla="*/ 0 h 139"/>
                  <a:gd name="T68" fmla="*/ 180 w 200"/>
                  <a:gd name="T69" fmla="*/ 3 h 139"/>
                  <a:gd name="T70" fmla="*/ 190 w 200"/>
                  <a:gd name="T71" fmla="*/ 9 h 139"/>
                  <a:gd name="T72" fmla="*/ 198 w 200"/>
                  <a:gd name="T73" fmla="*/ 17 h 139"/>
                  <a:gd name="T74" fmla="*/ 198 w 200"/>
                  <a:gd name="T75" fmla="*/ 17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00" h="139">
                    <a:moveTo>
                      <a:pt x="198" y="17"/>
                    </a:moveTo>
                    <a:lnTo>
                      <a:pt x="198" y="17"/>
                    </a:lnTo>
                    <a:lnTo>
                      <a:pt x="200" y="27"/>
                    </a:lnTo>
                    <a:lnTo>
                      <a:pt x="200" y="39"/>
                    </a:lnTo>
                    <a:lnTo>
                      <a:pt x="196" y="53"/>
                    </a:lnTo>
                    <a:lnTo>
                      <a:pt x="188" y="67"/>
                    </a:lnTo>
                    <a:lnTo>
                      <a:pt x="176" y="79"/>
                    </a:lnTo>
                    <a:lnTo>
                      <a:pt x="162" y="93"/>
                    </a:lnTo>
                    <a:lnTo>
                      <a:pt x="146" y="105"/>
                    </a:lnTo>
                    <a:lnTo>
                      <a:pt x="126" y="117"/>
                    </a:lnTo>
                    <a:lnTo>
                      <a:pt x="126" y="117"/>
                    </a:lnTo>
                    <a:lnTo>
                      <a:pt x="106" y="125"/>
                    </a:lnTo>
                    <a:lnTo>
                      <a:pt x="86" y="133"/>
                    </a:lnTo>
                    <a:lnTo>
                      <a:pt x="68" y="137"/>
                    </a:lnTo>
                    <a:lnTo>
                      <a:pt x="50" y="139"/>
                    </a:lnTo>
                    <a:lnTo>
                      <a:pt x="34" y="137"/>
                    </a:lnTo>
                    <a:lnTo>
                      <a:pt x="20" y="135"/>
                    </a:lnTo>
                    <a:lnTo>
                      <a:pt x="10" y="129"/>
                    </a:lnTo>
                    <a:lnTo>
                      <a:pt x="4" y="119"/>
                    </a:lnTo>
                    <a:lnTo>
                      <a:pt x="4" y="119"/>
                    </a:lnTo>
                    <a:lnTo>
                      <a:pt x="0" y="109"/>
                    </a:lnTo>
                    <a:lnTo>
                      <a:pt x="0" y="97"/>
                    </a:lnTo>
                    <a:lnTo>
                      <a:pt x="6" y="83"/>
                    </a:lnTo>
                    <a:lnTo>
                      <a:pt x="14" y="71"/>
                    </a:lnTo>
                    <a:lnTo>
                      <a:pt x="24" y="57"/>
                    </a:lnTo>
                    <a:lnTo>
                      <a:pt x="38" y="43"/>
                    </a:lnTo>
                    <a:lnTo>
                      <a:pt x="56" y="31"/>
                    </a:lnTo>
                    <a:lnTo>
                      <a:pt x="74" y="21"/>
                    </a:lnTo>
                    <a:lnTo>
                      <a:pt x="74" y="21"/>
                    </a:lnTo>
                    <a:lnTo>
                      <a:pt x="94" y="11"/>
                    </a:lnTo>
                    <a:lnTo>
                      <a:pt x="114" y="5"/>
                    </a:lnTo>
                    <a:lnTo>
                      <a:pt x="134" y="0"/>
                    </a:lnTo>
                    <a:lnTo>
                      <a:pt x="150" y="0"/>
                    </a:lnTo>
                    <a:lnTo>
                      <a:pt x="166" y="0"/>
                    </a:lnTo>
                    <a:lnTo>
                      <a:pt x="180" y="3"/>
                    </a:lnTo>
                    <a:lnTo>
                      <a:pt x="190" y="9"/>
                    </a:lnTo>
                    <a:lnTo>
                      <a:pt x="198" y="17"/>
                    </a:lnTo>
                    <a:lnTo>
                      <a:pt x="198" y="17"/>
                    </a:lnTo>
                    <a:close/>
                  </a:path>
                </a:pathLst>
              </a:custGeom>
              <a:solidFill>
                <a:srgbClr val="FFD6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grpSp>
          <p:nvGrpSpPr>
            <p:cNvPr id="7" name="Group 7">
              <a:extLst>
                <a:ext uri="{FF2B5EF4-FFF2-40B4-BE49-F238E27FC236}">
                  <a16:creationId xmlns:a16="http://schemas.microsoft.com/office/drawing/2014/main" id="{CDBAD1B0-4355-4718-BE15-A356847D246F}"/>
                </a:ext>
              </a:extLst>
            </p:cNvPr>
            <p:cNvGrpSpPr/>
            <p:nvPr/>
          </p:nvGrpSpPr>
          <p:grpSpPr>
            <a:xfrm>
              <a:off x="7174309" y="4244280"/>
              <a:ext cx="289443" cy="403791"/>
              <a:chOff x="7174309" y="4244280"/>
              <a:chExt cx="289443" cy="403791"/>
            </a:xfrm>
          </p:grpSpPr>
          <p:sp>
            <p:nvSpPr>
              <p:cNvPr id="37" name="Freeform 1734">
                <a:extLst>
                  <a:ext uri="{FF2B5EF4-FFF2-40B4-BE49-F238E27FC236}">
                    <a16:creationId xmlns:a16="http://schemas.microsoft.com/office/drawing/2014/main" id="{68DF3B3E-437D-4705-9EE3-117C9CA43F6A}"/>
                  </a:ext>
                </a:extLst>
              </p:cNvPr>
              <p:cNvSpPr>
                <a:spLocks/>
              </p:cNvSpPr>
              <p:nvPr/>
            </p:nvSpPr>
            <p:spPr bwMode="auto">
              <a:xfrm>
                <a:off x="7270790" y="4244280"/>
                <a:ext cx="192962" cy="403791"/>
              </a:xfrm>
              <a:custGeom>
                <a:avLst/>
                <a:gdLst>
                  <a:gd name="T0" fmla="*/ 28 w 108"/>
                  <a:gd name="T1" fmla="*/ 32 h 226"/>
                  <a:gd name="T2" fmla="*/ 28 w 108"/>
                  <a:gd name="T3" fmla="*/ 32 h 226"/>
                  <a:gd name="T4" fmla="*/ 28 w 108"/>
                  <a:gd name="T5" fmla="*/ 26 h 226"/>
                  <a:gd name="T6" fmla="*/ 26 w 108"/>
                  <a:gd name="T7" fmla="*/ 20 h 226"/>
                  <a:gd name="T8" fmla="*/ 20 w 108"/>
                  <a:gd name="T9" fmla="*/ 8 h 226"/>
                  <a:gd name="T10" fmla="*/ 16 w 108"/>
                  <a:gd name="T11" fmla="*/ 2 h 226"/>
                  <a:gd name="T12" fmla="*/ 18 w 108"/>
                  <a:gd name="T13" fmla="*/ 0 h 226"/>
                  <a:gd name="T14" fmla="*/ 22 w 108"/>
                  <a:gd name="T15" fmla="*/ 0 h 226"/>
                  <a:gd name="T16" fmla="*/ 72 w 108"/>
                  <a:gd name="T17" fmla="*/ 10 h 226"/>
                  <a:gd name="T18" fmla="*/ 72 w 108"/>
                  <a:gd name="T19" fmla="*/ 10 h 226"/>
                  <a:gd name="T20" fmla="*/ 82 w 108"/>
                  <a:gd name="T21" fmla="*/ 14 h 226"/>
                  <a:gd name="T22" fmla="*/ 90 w 108"/>
                  <a:gd name="T23" fmla="*/ 24 h 226"/>
                  <a:gd name="T24" fmla="*/ 98 w 108"/>
                  <a:gd name="T25" fmla="*/ 36 h 226"/>
                  <a:gd name="T26" fmla="*/ 104 w 108"/>
                  <a:gd name="T27" fmla="*/ 50 h 226"/>
                  <a:gd name="T28" fmla="*/ 108 w 108"/>
                  <a:gd name="T29" fmla="*/ 68 h 226"/>
                  <a:gd name="T30" fmla="*/ 108 w 108"/>
                  <a:gd name="T31" fmla="*/ 86 h 226"/>
                  <a:gd name="T32" fmla="*/ 108 w 108"/>
                  <a:gd name="T33" fmla="*/ 108 h 226"/>
                  <a:gd name="T34" fmla="*/ 106 w 108"/>
                  <a:gd name="T35" fmla="*/ 130 h 226"/>
                  <a:gd name="T36" fmla="*/ 106 w 108"/>
                  <a:gd name="T37" fmla="*/ 130 h 226"/>
                  <a:gd name="T38" fmla="*/ 100 w 108"/>
                  <a:gd name="T39" fmla="*/ 150 h 226"/>
                  <a:gd name="T40" fmla="*/ 94 w 108"/>
                  <a:gd name="T41" fmla="*/ 170 h 226"/>
                  <a:gd name="T42" fmla="*/ 84 w 108"/>
                  <a:gd name="T43" fmla="*/ 188 h 226"/>
                  <a:gd name="T44" fmla="*/ 76 w 108"/>
                  <a:gd name="T45" fmla="*/ 202 h 226"/>
                  <a:gd name="T46" fmla="*/ 64 w 108"/>
                  <a:gd name="T47" fmla="*/ 214 h 226"/>
                  <a:gd name="T48" fmla="*/ 54 w 108"/>
                  <a:gd name="T49" fmla="*/ 222 h 226"/>
                  <a:gd name="T50" fmla="*/ 42 w 108"/>
                  <a:gd name="T51" fmla="*/ 226 h 226"/>
                  <a:gd name="T52" fmla="*/ 32 w 108"/>
                  <a:gd name="T53" fmla="*/ 226 h 226"/>
                  <a:gd name="T54" fmla="*/ 24 w 108"/>
                  <a:gd name="T55" fmla="*/ 224 h 226"/>
                  <a:gd name="T56" fmla="*/ 24 w 108"/>
                  <a:gd name="T57" fmla="*/ 224 h 226"/>
                  <a:gd name="T58" fmla="*/ 18 w 108"/>
                  <a:gd name="T59" fmla="*/ 224 h 226"/>
                  <a:gd name="T60" fmla="*/ 14 w 108"/>
                  <a:gd name="T61" fmla="*/ 220 h 226"/>
                  <a:gd name="T62" fmla="*/ 4 w 108"/>
                  <a:gd name="T63" fmla="*/ 212 h 226"/>
                  <a:gd name="T64" fmla="*/ 0 w 108"/>
                  <a:gd name="T65" fmla="*/ 202 h 226"/>
                  <a:gd name="T66" fmla="*/ 0 w 108"/>
                  <a:gd name="T67" fmla="*/ 194 h 226"/>
                  <a:gd name="T68" fmla="*/ 0 w 108"/>
                  <a:gd name="T69" fmla="*/ 188 h 226"/>
                  <a:gd name="T70" fmla="*/ 28 w 108"/>
                  <a:gd name="T71" fmla="*/ 32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8" h="226">
                    <a:moveTo>
                      <a:pt x="28" y="32"/>
                    </a:moveTo>
                    <a:lnTo>
                      <a:pt x="28" y="32"/>
                    </a:lnTo>
                    <a:lnTo>
                      <a:pt x="28" y="26"/>
                    </a:lnTo>
                    <a:lnTo>
                      <a:pt x="26" y="20"/>
                    </a:lnTo>
                    <a:lnTo>
                      <a:pt x="20" y="8"/>
                    </a:lnTo>
                    <a:lnTo>
                      <a:pt x="16" y="2"/>
                    </a:lnTo>
                    <a:lnTo>
                      <a:pt x="18" y="0"/>
                    </a:lnTo>
                    <a:lnTo>
                      <a:pt x="22" y="0"/>
                    </a:lnTo>
                    <a:lnTo>
                      <a:pt x="72" y="10"/>
                    </a:lnTo>
                    <a:lnTo>
                      <a:pt x="72" y="10"/>
                    </a:lnTo>
                    <a:lnTo>
                      <a:pt x="82" y="14"/>
                    </a:lnTo>
                    <a:lnTo>
                      <a:pt x="90" y="24"/>
                    </a:lnTo>
                    <a:lnTo>
                      <a:pt x="98" y="36"/>
                    </a:lnTo>
                    <a:lnTo>
                      <a:pt x="104" y="50"/>
                    </a:lnTo>
                    <a:lnTo>
                      <a:pt x="108" y="68"/>
                    </a:lnTo>
                    <a:lnTo>
                      <a:pt x="108" y="86"/>
                    </a:lnTo>
                    <a:lnTo>
                      <a:pt x="108" y="108"/>
                    </a:lnTo>
                    <a:lnTo>
                      <a:pt x="106" y="130"/>
                    </a:lnTo>
                    <a:lnTo>
                      <a:pt x="106" y="130"/>
                    </a:lnTo>
                    <a:lnTo>
                      <a:pt x="100" y="150"/>
                    </a:lnTo>
                    <a:lnTo>
                      <a:pt x="94" y="170"/>
                    </a:lnTo>
                    <a:lnTo>
                      <a:pt x="84" y="188"/>
                    </a:lnTo>
                    <a:lnTo>
                      <a:pt x="76" y="202"/>
                    </a:lnTo>
                    <a:lnTo>
                      <a:pt x="64" y="214"/>
                    </a:lnTo>
                    <a:lnTo>
                      <a:pt x="54" y="222"/>
                    </a:lnTo>
                    <a:lnTo>
                      <a:pt x="42" y="226"/>
                    </a:lnTo>
                    <a:lnTo>
                      <a:pt x="32" y="226"/>
                    </a:lnTo>
                    <a:lnTo>
                      <a:pt x="24" y="224"/>
                    </a:lnTo>
                    <a:lnTo>
                      <a:pt x="24" y="224"/>
                    </a:lnTo>
                    <a:lnTo>
                      <a:pt x="18" y="224"/>
                    </a:lnTo>
                    <a:lnTo>
                      <a:pt x="14" y="220"/>
                    </a:lnTo>
                    <a:lnTo>
                      <a:pt x="4" y="212"/>
                    </a:lnTo>
                    <a:lnTo>
                      <a:pt x="0" y="202"/>
                    </a:lnTo>
                    <a:lnTo>
                      <a:pt x="0" y="194"/>
                    </a:lnTo>
                    <a:lnTo>
                      <a:pt x="0" y="188"/>
                    </a:lnTo>
                    <a:lnTo>
                      <a:pt x="28" y="32"/>
                    </a:lnTo>
                    <a:close/>
                  </a:path>
                </a:pathLst>
              </a:custGeom>
              <a:solidFill>
                <a:srgbClr val="FF9F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8" name="Freeform 1736">
                <a:extLst>
                  <a:ext uri="{FF2B5EF4-FFF2-40B4-BE49-F238E27FC236}">
                    <a16:creationId xmlns:a16="http://schemas.microsoft.com/office/drawing/2014/main" id="{C9FF0E1A-1C62-4FB9-9FEC-E5C85ACBD03F}"/>
                  </a:ext>
                </a:extLst>
              </p:cNvPr>
              <p:cNvSpPr>
                <a:spLocks/>
              </p:cNvSpPr>
              <p:nvPr/>
            </p:nvSpPr>
            <p:spPr bwMode="auto">
              <a:xfrm>
                <a:off x="7174309" y="4244280"/>
                <a:ext cx="203682" cy="385924"/>
              </a:xfrm>
              <a:custGeom>
                <a:avLst/>
                <a:gdLst>
                  <a:gd name="T0" fmla="*/ 36 w 114"/>
                  <a:gd name="T1" fmla="*/ 216 h 216"/>
                  <a:gd name="T2" fmla="*/ 36 w 114"/>
                  <a:gd name="T3" fmla="*/ 216 h 216"/>
                  <a:gd name="T4" fmla="*/ 48 w 114"/>
                  <a:gd name="T5" fmla="*/ 216 h 216"/>
                  <a:gd name="T6" fmla="*/ 60 w 114"/>
                  <a:gd name="T7" fmla="*/ 212 h 216"/>
                  <a:gd name="T8" fmla="*/ 70 w 114"/>
                  <a:gd name="T9" fmla="*/ 204 h 216"/>
                  <a:gd name="T10" fmla="*/ 80 w 114"/>
                  <a:gd name="T11" fmla="*/ 192 h 216"/>
                  <a:gd name="T12" fmla="*/ 90 w 114"/>
                  <a:gd name="T13" fmla="*/ 178 h 216"/>
                  <a:gd name="T14" fmla="*/ 98 w 114"/>
                  <a:gd name="T15" fmla="*/ 160 h 216"/>
                  <a:gd name="T16" fmla="*/ 106 w 114"/>
                  <a:gd name="T17" fmla="*/ 140 h 216"/>
                  <a:gd name="T18" fmla="*/ 110 w 114"/>
                  <a:gd name="T19" fmla="*/ 120 h 216"/>
                  <a:gd name="T20" fmla="*/ 110 w 114"/>
                  <a:gd name="T21" fmla="*/ 120 h 216"/>
                  <a:gd name="T22" fmla="*/ 114 w 114"/>
                  <a:gd name="T23" fmla="*/ 98 h 216"/>
                  <a:gd name="T24" fmla="*/ 114 w 114"/>
                  <a:gd name="T25" fmla="*/ 76 h 216"/>
                  <a:gd name="T26" fmla="*/ 112 w 114"/>
                  <a:gd name="T27" fmla="*/ 58 h 216"/>
                  <a:gd name="T28" fmla="*/ 108 w 114"/>
                  <a:gd name="T29" fmla="*/ 40 h 216"/>
                  <a:gd name="T30" fmla="*/ 104 w 114"/>
                  <a:gd name="T31" fmla="*/ 26 h 216"/>
                  <a:gd name="T32" fmla="*/ 96 w 114"/>
                  <a:gd name="T33" fmla="*/ 14 h 216"/>
                  <a:gd name="T34" fmla="*/ 88 w 114"/>
                  <a:gd name="T35" fmla="*/ 4 h 216"/>
                  <a:gd name="T36" fmla="*/ 76 w 114"/>
                  <a:gd name="T37" fmla="*/ 0 h 216"/>
                  <a:gd name="T38" fmla="*/ 76 w 114"/>
                  <a:gd name="T39" fmla="*/ 0 h 216"/>
                  <a:gd name="T40" fmla="*/ 66 w 114"/>
                  <a:gd name="T41" fmla="*/ 0 h 216"/>
                  <a:gd name="T42" fmla="*/ 54 w 114"/>
                  <a:gd name="T43" fmla="*/ 4 h 216"/>
                  <a:gd name="T44" fmla="*/ 44 w 114"/>
                  <a:gd name="T45" fmla="*/ 12 h 216"/>
                  <a:gd name="T46" fmla="*/ 34 w 114"/>
                  <a:gd name="T47" fmla="*/ 24 h 216"/>
                  <a:gd name="T48" fmla="*/ 24 w 114"/>
                  <a:gd name="T49" fmla="*/ 40 h 216"/>
                  <a:gd name="T50" fmla="*/ 16 w 114"/>
                  <a:gd name="T51" fmla="*/ 56 h 216"/>
                  <a:gd name="T52" fmla="*/ 8 w 114"/>
                  <a:gd name="T53" fmla="*/ 76 h 216"/>
                  <a:gd name="T54" fmla="*/ 4 w 114"/>
                  <a:gd name="T55" fmla="*/ 98 h 216"/>
                  <a:gd name="T56" fmla="*/ 4 w 114"/>
                  <a:gd name="T57" fmla="*/ 98 h 216"/>
                  <a:gd name="T58" fmla="*/ 0 w 114"/>
                  <a:gd name="T59" fmla="*/ 120 h 216"/>
                  <a:gd name="T60" fmla="*/ 0 w 114"/>
                  <a:gd name="T61" fmla="*/ 140 h 216"/>
                  <a:gd name="T62" fmla="*/ 2 w 114"/>
                  <a:gd name="T63" fmla="*/ 160 h 216"/>
                  <a:gd name="T64" fmla="*/ 4 w 114"/>
                  <a:gd name="T65" fmla="*/ 176 h 216"/>
                  <a:gd name="T66" fmla="*/ 10 w 114"/>
                  <a:gd name="T67" fmla="*/ 192 h 216"/>
                  <a:gd name="T68" fmla="*/ 18 w 114"/>
                  <a:gd name="T69" fmla="*/ 204 h 216"/>
                  <a:gd name="T70" fmla="*/ 26 w 114"/>
                  <a:gd name="T71" fmla="*/ 212 h 216"/>
                  <a:gd name="T72" fmla="*/ 36 w 114"/>
                  <a:gd name="T73" fmla="*/ 216 h 216"/>
                  <a:gd name="T74" fmla="*/ 36 w 114"/>
                  <a:gd name="T75" fmla="*/ 216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4" h="216">
                    <a:moveTo>
                      <a:pt x="36" y="216"/>
                    </a:moveTo>
                    <a:lnTo>
                      <a:pt x="36" y="216"/>
                    </a:lnTo>
                    <a:lnTo>
                      <a:pt x="48" y="216"/>
                    </a:lnTo>
                    <a:lnTo>
                      <a:pt x="60" y="212"/>
                    </a:lnTo>
                    <a:lnTo>
                      <a:pt x="70" y="204"/>
                    </a:lnTo>
                    <a:lnTo>
                      <a:pt x="80" y="192"/>
                    </a:lnTo>
                    <a:lnTo>
                      <a:pt x="90" y="178"/>
                    </a:lnTo>
                    <a:lnTo>
                      <a:pt x="98" y="160"/>
                    </a:lnTo>
                    <a:lnTo>
                      <a:pt x="106" y="140"/>
                    </a:lnTo>
                    <a:lnTo>
                      <a:pt x="110" y="120"/>
                    </a:lnTo>
                    <a:lnTo>
                      <a:pt x="110" y="120"/>
                    </a:lnTo>
                    <a:lnTo>
                      <a:pt x="114" y="98"/>
                    </a:lnTo>
                    <a:lnTo>
                      <a:pt x="114" y="76"/>
                    </a:lnTo>
                    <a:lnTo>
                      <a:pt x="112" y="58"/>
                    </a:lnTo>
                    <a:lnTo>
                      <a:pt x="108" y="40"/>
                    </a:lnTo>
                    <a:lnTo>
                      <a:pt x="104" y="26"/>
                    </a:lnTo>
                    <a:lnTo>
                      <a:pt x="96" y="14"/>
                    </a:lnTo>
                    <a:lnTo>
                      <a:pt x="88" y="4"/>
                    </a:lnTo>
                    <a:lnTo>
                      <a:pt x="76" y="0"/>
                    </a:lnTo>
                    <a:lnTo>
                      <a:pt x="76" y="0"/>
                    </a:lnTo>
                    <a:lnTo>
                      <a:pt x="66" y="0"/>
                    </a:lnTo>
                    <a:lnTo>
                      <a:pt x="54" y="4"/>
                    </a:lnTo>
                    <a:lnTo>
                      <a:pt x="44" y="12"/>
                    </a:lnTo>
                    <a:lnTo>
                      <a:pt x="34" y="24"/>
                    </a:lnTo>
                    <a:lnTo>
                      <a:pt x="24" y="40"/>
                    </a:lnTo>
                    <a:lnTo>
                      <a:pt x="16" y="56"/>
                    </a:lnTo>
                    <a:lnTo>
                      <a:pt x="8" y="76"/>
                    </a:lnTo>
                    <a:lnTo>
                      <a:pt x="4" y="98"/>
                    </a:lnTo>
                    <a:lnTo>
                      <a:pt x="4" y="98"/>
                    </a:lnTo>
                    <a:lnTo>
                      <a:pt x="0" y="120"/>
                    </a:lnTo>
                    <a:lnTo>
                      <a:pt x="0" y="140"/>
                    </a:lnTo>
                    <a:lnTo>
                      <a:pt x="2" y="160"/>
                    </a:lnTo>
                    <a:lnTo>
                      <a:pt x="4" y="176"/>
                    </a:lnTo>
                    <a:lnTo>
                      <a:pt x="10" y="192"/>
                    </a:lnTo>
                    <a:lnTo>
                      <a:pt x="18" y="204"/>
                    </a:lnTo>
                    <a:lnTo>
                      <a:pt x="26" y="212"/>
                    </a:lnTo>
                    <a:lnTo>
                      <a:pt x="36" y="216"/>
                    </a:lnTo>
                    <a:lnTo>
                      <a:pt x="36" y="216"/>
                    </a:lnTo>
                    <a:close/>
                  </a:path>
                </a:pathLst>
              </a:custGeom>
              <a:solidFill>
                <a:srgbClr val="FFD6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sp>
          <p:nvSpPr>
            <p:cNvPr id="8" name="Freeform 2310">
              <a:extLst>
                <a:ext uri="{FF2B5EF4-FFF2-40B4-BE49-F238E27FC236}">
                  <a16:creationId xmlns:a16="http://schemas.microsoft.com/office/drawing/2014/main" id="{24A240A9-656B-4305-B5B8-32BB4ED0CAB4}"/>
                </a:ext>
              </a:extLst>
            </p:cNvPr>
            <p:cNvSpPr>
              <a:spLocks/>
            </p:cNvSpPr>
            <p:nvPr/>
          </p:nvSpPr>
          <p:spPr bwMode="auto">
            <a:xfrm>
              <a:off x="6788385" y="4512283"/>
              <a:ext cx="300163" cy="282296"/>
            </a:xfrm>
            <a:custGeom>
              <a:avLst/>
              <a:gdLst>
                <a:gd name="T0" fmla="*/ 120 w 168"/>
                <a:gd name="T1" fmla="*/ 158 h 158"/>
                <a:gd name="T2" fmla="*/ 120 w 168"/>
                <a:gd name="T3" fmla="*/ 158 h 158"/>
                <a:gd name="T4" fmla="*/ 108 w 168"/>
                <a:gd name="T5" fmla="*/ 134 h 158"/>
                <a:gd name="T6" fmla="*/ 96 w 168"/>
                <a:gd name="T7" fmla="*/ 110 h 158"/>
                <a:gd name="T8" fmla="*/ 80 w 168"/>
                <a:gd name="T9" fmla="*/ 88 h 158"/>
                <a:gd name="T10" fmla="*/ 62 w 168"/>
                <a:gd name="T11" fmla="*/ 68 h 158"/>
                <a:gd name="T12" fmla="*/ 30 w 168"/>
                <a:gd name="T13" fmla="*/ 34 h 158"/>
                <a:gd name="T14" fmla="*/ 2 w 168"/>
                <a:gd name="T15" fmla="*/ 8 h 158"/>
                <a:gd name="T16" fmla="*/ 2 w 168"/>
                <a:gd name="T17" fmla="*/ 8 h 158"/>
                <a:gd name="T18" fmla="*/ 0 w 168"/>
                <a:gd name="T19" fmla="*/ 6 h 158"/>
                <a:gd name="T20" fmla="*/ 2 w 168"/>
                <a:gd name="T21" fmla="*/ 2 h 158"/>
                <a:gd name="T22" fmla="*/ 4 w 168"/>
                <a:gd name="T23" fmla="*/ 0 h 158"/>
                <a:gd name="T24" fmla="*/ 8 w 168"/>
                <a:gd name="T25" fmla="*/ 2 h 158"/>
                <a:gd name="T26" fmla="*/ 8 w 168"/>
                <a:gd name="T27" fmla="*/ 2 h 158"/>
                <a:gd name="T28" fmla="*/ 44 w 168"/>
                <a:gd name="T29" fmla="*/ 20 h 158"/>
                <a:gd name="T30" fmla="*/ 66 w 168"/>
                <a:gd name="T31" fmla="*/ 32 h 158"/>
                <a:gd name="T32" fmla="*/ 92 w 168"/>
                <a:gd name="T33" fmla="*/ 48 h 158"/>
                <a:gd name="T34" fmla="*/ 116 w 168"/>
                <a:gd name="T35" fmla="*/ 66 h 158"/>
                <a:gd name="T36" fmla="*/ 138 w 168"/>
                <a:gd name="T37" fmla="*/ 88 h 158"/>
                <a:gd name="T38" fmla="*/ 148 w 168"/>
                <a:gd name="T39" fmla="*/ 100 h 158"/>
                <a:gd name="T40" fmla="*/ 156 w 168"/>
                <a:gd name="T41" fmla="*/ 112 h 158"/>
                <a:gd name="T42" fmla="*/ 162 w 168"/>
                <a:gd name="T43" fmla="*/ 126 h 158"/>
                <a:gd name="T44" fmla="*/ 168 w 168"/>
                <a:gd name="T45" fmla="*/ 142 h 158"/>
                <a:gd name="T46" fmla="*/ 120 w 168"/>
                <a:gd name="T47" fmla="*/ 1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8" h="158">
                  <a:moveTo>
                    <a:pt x="120" y="158"/>
                  </a:moveTo>
                  <a:lnTo>
                    <a:pt x="120" y="158"/>
                  </a:lnTo>
                  <a:lnTo>
                    <a:pt x="108" y="134"/>
                  </a:lnTo>
                  <a:lnTo>
                    <a:pt x="96" y="110"/>
                  </a:lnTo>
                  <a:lnTo>
                    <a:pt x="80" y="88"/>
                  </a:lnTo>
                  <a:lnTo>
                    <a:pt x="62" y="68"/>
                  </a:lnTo>
                  <a:lnTo>
                    <a:pt x="30" y="34"/>
                  </a:lnTo>
                  <a:lnTo>
                    <a:pt x="2" y="8"/>
                  </a:lnTo>
                  <a:lnTo>
                    <a:pt x="2" y="8"/>
                  </a:lnTo>
                  <a:lnTo>
                    <a:pt x="0" y="6"/>
                  </a:lnTo>
                  <a:lnTo>
                    <a:pt x="2" y="2"/>
                  </a:lnTo>
                  <a:lnTo>
                    <a:pt x="4" y="0"/>
                  </a:lnTo>
                  <a:lnTo>
                    <a:pt x="8" y="2"/>
                  </a:lnTo>
                  <a:lnTo>
                    <a:pt x="8" y="2"/>
                  </a:lnTo>
                  <a:lnTo>
                    <a:pt x="44" y="20"/>
                  </a:lnTo>
                  <a:lnTo>
                    <a:pt x="66" y="32"/>
                  </a:lnTo>
                  <a:lnTo>
                    <a:pt x="92" y="48"/>
                  </a:lnTo>
                  <a:lnTo>
                    <a:pt x="116" y="66"/>
                  </a:lnTo>
                  <a:lnTo>
                    <a:pt x="138" y="88"/>
                  </a:lnTo>
                  <a:lnTo>
                    <a:pt x="148" y="100"/>
                  </a:lnTo>
                  <a:lnTo>
                    <a:pt x="156" y="112"/>
                  </a:lnTo>
                  <a:lnTo>
                    <a:pt x="162" y="126"/>
                  </a:lnTo>
                  <a:lnTo>
                    <a:pt x="168" y="142"/>
                  </a:lnTo>
                  <a:lnTo>
                    <a:pt x="120" y="158"/>
                  </a:lnTo>
                  <a:close/>
                </a:path>
              </a:pathLst>
            </a:custGeom>
            <a:solidFill>
              <a:srgbClr val="92D05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9" name="Freeform 2311">
              <a:extLst>
                <a:ext uri="{FF2B5EF4-FFF2-40B4-BE49-F238E27FC236}">
                  <a16:creationId xmlns:a16="http://schemas.microsoft.com/office/drawing/2014/main" id="{51B3A55F-3682-4844-99C7-85303DFF725F}"/>
                </a:ext>
              </a:extLst>
            </p:cNvPr>
            <p:cNvSpPr>
              <a:spLocks/>
            </p:cNvSpPr>
            <p:nvPr/>
          </p:nvSpPr>
          <p:spPr bwMode="auto">
            <a:xfrm>
              <a:off x="6788385" y="4512283"/>
              <a:ext cx="300163" cy="282296"/>
            </a:xfrm>
            <a:custGeom>
              <a:avLst/>
              <a:gdLst>
                <a:gd name="T0" fmla="*/ 120 w 168"/>
                <a:gd name="T1" fmla="*/ 158 h 158"/>
                <a:gd name="T2" fmla="*/ 120 w 168"/>
                <a:gd name="T3" fmla="*/ 158 h 158"/>
                <a:gd name="T4" fmla="*/ 108 w 168"/>
                <a:gd name="T5" fmla="*/ 134 h 158"/>
                <a:gd name="T6" fmla="*/ 96 w 168"/>
                <a:gd name="T7" fmla="*/ 110 h 158"/>
                <a:gd name="T8" fmla="*/ 80 w 168"/>
                <a:gd name="T9" fmla="*/ 88 h 158"/>
                <a:gd name="T10" fmla="*/ 62 w 168"/>
                <a:gd name="T11" fmla="*/ 68 h 158"/>
                <a:gd name="T12" fmla="*/ 30 w 168"/>
                <a:gd name="T13" fmla="*/ 34 h 158"/>
                <a:gd name="T14" fmla="*/ 2 w 168"/>
                <a:gd name="T15" fmla="*/ 8 h 158"/>
                <a:gd name="T16" fmla="*/ 2 w 168"/>
                <a:gd name="T17" fmla="*/ 8 h 158"/>
                <a:gd name="T18" fmla="*/ 0 w 168"/>
                <a:gd name="T19" fmla="*/ 6 h 158"/>
                <a:gd name="T20" fmla="*/ 2 w 168"/>
                <a:gd name="T21" fmla="*/ 2 h 158"/>
                <a:gd name="T22" fmla="*/ 4 w 168"/>
                <a:gd name="T23" fmla="*/ 0 h 158"/>
                <a:gd name="T24" fmla="*/ 8 w 168"/>
                <a:gd name="T25" fmla="*/ 2 h 158"/>
                <a:gd name="T26" fmla="*/ 8 w 168"/>
                <a:gd name="T27" fmla="*/ 2 h 158"/>
                <a:gd name="T28" fmla="*/ 44 w 168"/>
                <a:gd name="T29" fmla="*/ 20 h 158"/>
                <a:gd name="T30" fmla="*/ 66 w 168"/>
                <a:gd name="T31" fmla="*/ 32 h 158"/>
                <a:gd name="T32" fmla="*/ 92 w 168"/>
                <a:gd name="T33" fmla="*/ 48 h 158"/>
                <a:gd name="T34" fmla="*/ 116 w 168"/>
                <a:gd name="T35" fmla="*/ 66 h 158"/>
                <a:gd name="T36" fmla="*/ 138 w 168"/>
                <a:gd name="T37" fmla="*/ 88 h 158"/>
                <a:gd name="T38" fmla="*/ 148 w 168"/>
                <a:gd name="T39" fmla="*/ 100 h 158"/>
                <a:gd name="T40" fmla="*/ 156 w 168"/>
                <a:gd name="T41" fmla="*/ 112 h 158"/>
                <a:gd name="T42" fmla="*/ 162 w 168"/>
                <a:gd name="T43" fmla="*/ 126 h 158"/>
                <a:gd name="T44" fmla="*/ 168 w 168"/>
                <a:gd name="T45" fmla="*/ 142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8" h="158">
                  <a:moveTo>
                    <a:pt x="120" y="158"/>
                  </a:moveTo>
                  <a:lnTo>
                    <a:pt x="120" y="158"/>
                  </a:lnTo>
                  <a:lnTo>
                    <a:pt x="108" y="134"/>
                  </a:lnTo>
                  <a:lnTo>
                    <a:pt x="96" y="110"/>
                  </a:lnTo>
                  <a:lnTo>
                    <a:pt x="80" y="88"/>
                  </a:lnTo>
                  <a:lnTo>
                    <a:pt x="62" y="68"/>
                  </a:lnTo>
                  <a:lnTo>
                    <a:pt x="30" y="34"/>
                  </a:lnTo>
                  <a:lnTo>
                    <a:pt x="2" y="8"/>
                  </a:lnTo>
                  <a:lnTo>
                    <a:pt x="2" y="8"/>
                  </a:lnTo>
                  <a:lnTo>
                    <a:pt x="0" y="6"/>
                  </a:lnTo>
                  <a:lnTo>
                    <a:pt x="2" y="2"/>
                  </a:lnTo>
                  <a:lnTo>
                    <a:pt x="4" y="0"/>
                  </a:lnTo>
                  <a:lnTo>
                    <a:pt x="8" y="2"/>
                  </a:lnTo>
                  <a:lnTo>
                    <a:pt x="8" y="2"/>
                  </a:lnTo>
                  <a:lnTo>
                    <a:pt x="44" y="20"/>
                  </a:lnTo>
                  <a:lnTo>
                    <a:pt x="66" y="32"/>
                  </a:lnTo>
                  <a:lnTo>
                    <a:pt x="92" y="48"/>
                  </a:lnTo>
                  <a:lnTo>
                    <a:pt x="116" y="66"/>
                  </a:lnTo>
                  <a:lnTo>
                    <a:pt x="138" y="88"/>
                  </a:lnTo>
                  <a:lnTo>
                    <a:pt x="148" y="100"/>
                  </a:lnTo>
                  <a:lnTo>
                    <a:pt x="156" y="112"/>
                  </a:lnTo>
                  <a:lnTo>
                    <a:pt x="162" y="126"/>
                  </a:lnTo>
                  <a:lnTo>
                    <a:pt x="168" y="14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0" name="Freeform 2313">
              <a:extLst>
                <a:ext uri="{FF2B5EF4-FFF2-40B4-BE49-F238E27FC236}">
                  <a16:creationId xmlns:a16="http://schemas.microsoft.com/office/drawing/2014/main" id="{0AC8C428-3331-4D2F-BCB7-6750EE685BEE}"/>
                </a:ext>
              </a:extLst>
            </p:cNvPr>
            <p:cNvSpPr>
              <a:spLocks/>
            </p:cNvSpPr>
            <p:nvPr/>
          </p:nvSpPr>
          <p:spPr bwMode="auto">
            <a:xfrm>
              <a:off x="6509663" y="4272867"/>
              <a:ext cx="335897" cy="300163"/>
            </a:xfrm>
            <a:custGeom>
              <a:avLst/>
              <a:gdLst>
                <a:gd name="T0" fmla="*/ 180 w 188"/>
                <a:gd name="T1" fmla="*/ 158 h 168"/>
                <a:gd name="T2" fmla="*/ 180 w 188"/>
                <a:gd name="T3" fmla="*/ 158 h 168"/>
                <a:gd name="T4" fmla="*/ 166 w 188"/>
                <a:gd name="T5" fmla="*/ 162 h 168"/>
                <a:gd name="T6" fmla="*/ 152 w 188"/>
                <a:gd name="T7" fmla="*/ 166 h 168"/>
                <a:gd name="T8" fmla="*/ 138 w 188"/>
                <a:gd name="T9" fmla="*/ 168 h 168"/>
                <a:gd name="T10" fmla="*/ 122 w 188"/>
                <a:gd name="T11" fmla="*/ 166 h 168"/>
                <a:gd name="T12" fmla="*/ 108 w 188"/>
                <a:gd name="T13" fmla="*/ 164 h 168"/>
                <a:gd name="T14" fmla="*/ 92 w 188"/>
                <a:gd name="T15" fmla="*/ 160 h 168"/>
                <a:gd name="T16" fmla="*/ 78 w 188"/>
                <a:gd name="T17" fmla="*/ 154 h 168"/>
                <a:gd name="T18" fmla="*/ 64 w 188"/>
                <a:gd name="T19" fmla="*/ 146 h 168"/>
                <a:gd name="T20" fmla="*/ 52 w 188"/>
                <a:gd name="T21" fmla="*/ 136 h 168"/>
                <a:gd name="T22" fmla="*/ 40 w 188"/>
                <a:gd name="T23" fmla="*/ 122 h 168"/>
                <a:gd name="T24" fmla="*/ 28 w 188"/>
                <a:gd name="T25" fmla="*/ 108 h 168"/>
                <a:gd name="T26" fmla="*/ 18 w 188"/>
                <a:gd name="T27" fmla="*/ 90 h 168"/>
                <a:gd name="T28" fmla="*/ 12 w 188"/>
                <a:gd name="T29" fmla="*/ 72 h 168"/>
                <a:gd name="T30" fmla="*/ 6 w 188"/>
                <a:gd name="T31" fmla="*/ 50 h 168"/>
                <a:gd name="T32" fmla="*/ 2 w 188"/>
                <a:gd name="T33" fmla="*/ 26 h 168"/>
                <a:gd name="T34" fmla="*/ 0 w 188"/>
                <a:gd name="T35" fmla="*/ 0 h 168"/>
                <a:gd name="T36" fmla="*/ 0 w 188"/>
                <a:gd name="T37" fmla="*/ 0 h 168"/>
                <a:gd name="T38" fmla="*/ 22 w 188"/>
                <a:gd name="T39" fmla="*/ 0 h 168"/>
                <a:gd name="T40" fmla="*/ 42 w 188"/>
                <a:gd name="T41" fmla="*/ 0 h 168"/>
                <a:gd name="T42" fmla="*/ 62 w 188"/>
                <a:gd name="T43" fmla="*/ 2 h 168"/>
                <a:gd name="T44" fmla="*/ 78 w 188"/>
                <a:gd name="T45" fmla="*/ 4 h 168"/>
                <a:gd name="T46" fmla="*/ 78 w 188"/>
                <a:gd name="T47" fmla="*/ 4 h 168"/>
                <a:gd name="T48" fmla="*/ 94 w 188"/>
                <a:gd name="T49" fmla="*/ 8 h 168"/>
                <a:gd name="T50" fmla="*/ 108 w 188"/>
                <a:gd name="T51" fmla="*/ 14 h 168"/>
                <a:gd name="T52" fmla="*/ 120 w 188"/>
                <a:gd name="T53" fmla="*/ 20 h 168"/>
                <a:gd name="T54" fmla="*/ 130 w 188"/>
                <a:gd name="T55" fmla="*/ 28 h 168"/>
                <a:gd name="T56" fmla="*/ 150 w 188"/>
                <a:gd name="T57" fmla="*/ 44 h 168"/>
                <a:gd name="T58" fmla="*/ 164 w 188"/>
                <a:gd name="T59" fmla="*/ 60 h 168"/>
                <a:gd name="T60" fmla="*/ 176 w 188"/>
                <a:gd name="T61" fmla="*/ 78 h 168"/>
                <a:gd name="T62" fmla="*/ 182 w 188"/>
                <a:gd name="T63" fmla="*/ 94 h 168"/>
                <a:gd name="T64" fmla="*/ 186 w 188"/>
                <a:gd name="T65" fmla="*/ 108 h 168"/>
                <a:gd name="T66" fmla="*/ 188 w 188"/>
                <a:gd name="T67" fmla="*/ 118 h 168"/>
                <a:gd name="T68" fmla="*/ 188 w 188"/>
                <a:gd name="T69" fmla="*/ 118 h 168"/>
                <a:gd name="T70" fmla="*/ 188 w 188"/>
                <a:gd name="T71" fmla="*/ 142 h 168"/>
                <a:gd name="T72" fmla="*/ 186 w 188"/>
                <a:gd name="T73" fmla="*/ 154 h 168"/>
                <a:gd name="T74" fmla="*/ 182 w 188"/>
                <a:gd name="T75" fmla="*/ 156 h 168"/>
                <a:gd name="T76" fmla="*/ 180 w 188"/>
                <a:gd name="T77" fmla="*/ 158 h 168"/>
                <a:gd name="T78" fmla="*/ 180 w 188"/>
                <a:gd name="T79" fmla="*/ 15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88" h="168">
                  <a:moveTo>
                    <a:pt x="180" y="158"/>
                  </a:moveTo>
                  <a:lnTo>
                    <a:pt x="180" y="158"/>
                  </a:lnTo>
                  <a:lnTo>
                    <a:pt x="166" y="162"/>
                  </a:lnTo>
                  <a:lnTo>
                    <a:pt x="152" y="166"/>
                  </a:lnTo>
                  <a:lnTo>
                    <a:pt x="138" y="168"/>
                  </a:lnTo>
                  <a:lnTo>
                    <a:pt x="122" y="166"/>
                  </a:lnTo>
                  <a:lnTo>
                    <a:pt x="108" y="164"/>
                  </a:lnTo>
                  <a:lnTo>
                    <a:pt x="92" y="160"/>
                  </a:lnTo>
                  <a:lnTo>
                    <a:pt x="78" y="154"/>
                  </a:lnTo>
                  <a:lnTo>
                    <a:pt x="64" y="146"/>
                  </a:lnTo>
                  <a:lnTo>
                    <a:pt x="52" y="136"/>
                  </a:lnTo>
                  <a:lnTo>
                    <a:pt x="40" y="122"/>
                  </a:lnTo>
                  <a:lnTo>
                    <a:pt x="28" y="108"/>
                  </a:lnTo>
                  <a:lnTo>
                    <a:pt x="18" y="90"/>
                  </a:lnTo>
                  <a:lnTo>
                    <a:pt x="12" y="72"/>
                  </a:lnTo>
                  <a:lnTo>
                    <a:pt x="6" y="50"/>
                  </a:lnTo>
                  <a:lnTo>
                    <a:pt x="2" y="26"/>
                  </a:lnTo>
                  <a:lnTo>
                    <a:pt x="0" y="0"/>
                  </a:lnTo>
                  <a:lnTo>
                    <a:pt x="0" y="0"/>
                  </a:lnTo>
                  <a:lnTo>
                    <a:pt x="22" y="0"/>
                  </a:lnTo>
                  <a:lnTo>
                    <a:pt x="42" y="0"/>
                  </a:lnTo>
                  <a:lnTo>
                    <a:pt x="62" y="2"/>
                  </a:lnTo>
                  <a:lnTo>
                    <a:pt x="78" y="4"/>
                  </a:lnTo>
                  <a:lnTo>
                    <a:pt x="78" y="4"/>
                  </a:lnTo>
                  <a:lnTo>
                    <a:pt x="94" y="8"/>
                  </a:lnTo>
                  <a:lnTo>
                    <a:pt x="108" y="14"/>
                  </a:lnTo>
                  <a:lnTo>
                    <a:pt x="120" y="20"/>
                  </a:lnTo>
                  <a:lnTo>
                    <a:pt x="130" y="28"/>
                  </a:lnTo>
                  <a:lnTo>
                    <a:pt x="150" y="44"/>
                  </a:lnTo>
                  <a:lnTo>
                    <a:pt x="164" y="60"/>
                  </a:lnTo>
                  <a:lnTo>
                    <a:pt x="176" y="78"/>
                  </a:lnTo>
                  <a:lnTo>
                    <a:pt x="182" y="94"/>
                  </a:lnTo>
                  <a:lnTo>
                    <a:pt x="186" y="108"/>
                  </a:lnTo>
                  <a:lnTo>
                    <a:pt x="188" y="118"/>
                  </a:lnTo>
                  <a:lnTo>
                    <a:pt x="188" y="118"/>
                  </a:lnTo>
                  <a:lnTo>
                    <a:pt x="188" y="142"/>
                  </a:lnTo>
                  <a:lnTo>
                    <a:pt x="186" y="154"/>
                  </a:lnTo>
                  <a:lnTo>
                    <a:pt x="182" y="156"/>
                  </a:lnTo>
                  <a:lnTo>
                    <a:pt x="180" y="158"/>
                  </a:lnTo>
                  <a:lnTo>
                    <a:pt x="180" y="158"/>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1" name="Freeform 2315">
              <a:extLst>
                <a:ext uri="{FF2B5EF4-FFF2-40B4-BE49-F238E27FC236}">
                  <a16:creationId xmlns:a16="http://schemas.microsoft.com/office/drawing/2014/main" id="{B16DBCBF-4B3B-4D29-B945-94B50189FECA}"/>
                </a:ext>
              </a:extLst>
            </p:cNvPr>
            <p:cNvSpPr>
              <a:spLocks/>
            </p:cNvSpPr>
            <p:nvPr/>
          </p:nvSpPr>
          <p:spPr bwMode="auto">
            <a:xfrm>
              <a:off x="7231483" y="4769565"/>
              <a:ext cx="314456" cy="434165"/>
            </a:xfrm>
            <a:custGeom>
              <a:avLst/>
              <a:gdLst>
                <a:gd name="T0" fmla="*/ 150 w 176"/>
                <a:gd name="T1" fmla="*/ 162 h 243"/>
                <a:gd name="T2" fmla="*/ 150 w 176"/>
                <a:gd name="T3" fmla="*/ 162 h 243"/>
                <a:gd name="T4" fmla="*/ 158 w 176"/>
                <a:gd name="T5" fmla="*/ 150 h 243"/>
                <a:gd name="T6" fmla="*/ 164 w 176"/>
                <a:gd name="T7" fmla="*/ 136 h 243"/>
                <a:gd name="T8" fmla="*/ 168 w 176"/>
                <a:gd name="T9" fmla="*/ 122 h 243"/>
                <a:gd name="T10" fmla="*/ 172 w 176"/>
                <a:gd name="T11" fmla="*/ 108 h 243"/>
                <a:gd name="T12" fmla="*/ 176 w 176"/>
                <a:gd name="T13" fmla="*/ 82 h 243"/>
                <a:gd name="T14" fmla="*/ 176 w 176"/>
                <a:gd name="T15" fmla="*/ 56 h 243"/>
                <a:gd name="T16" fmla="*/ 174 w 176"/>
                <a:gd name="T17" fmla="*/ 34 h 243"/>
                <a:gd name="T18" fmla="*/ 172 w 176"/>
                <a:gd name="T19" fmla="*/ 16 h 243"/>
                <a:gd name="T20" fmla="*/ 168 w 176"/>
                <a:gd name="T21" fmla="*/ 0 h 243"/>
                <a:gd name="T22" fmla="*/ 168 w 176"/>
                <a:gd name="T23" fmla="*/ 0 h 243"/>
                <a:gd name="T24" fmla="*/ 152 w 176"/>
                <a:gd name="T25" fmla="*/ 2 h 243"/>
                <a:gd name="T26" fmla="*/ 136 w 176"/>
                <a:gd name="T27" fmla="*/ 8 h 243"/>
                <a:gd name="T28" fmla="*/ 114 w 176"/>
                <a:gd name="T29" fmla="*/ 14 h 243"/>
                <a:gd name="T30" fmla="*/ 92 w 176"/>
                <a:gd name="T31" fmla="*/ 26 h 243"/>
                <a:gd name="T32" fmla="*/ 68 w 176"/>
                <a:gd name="T33" fmla="*/ 40 h 243"/>
                <a:gd name="T34" fmla="*/ 56 w 176"/>
                <a:gd name="T35" fmla="*/ 48 h 243"/>
                <a:gd name="T36" fmla="*/ 46 w 176"/>
                <a:gd name="T37" fmla="*/ 58 h 243"/>
                <a:gd name="T38" fmla="*/ 36 w 176"/>
                <a:gd name="T39" fmla="*/ 68 h 243"/>
                <a:gd name="T40" fmla="*/ 26 w 176"/>
                <a:gd name="T41" fmla="*/ 82 h 243"/>
                <a:gd name="T42" fmla="*/ 26 w 176"/>
                <a:gd name="T43" fmla="*/ 82 h 243"/>
                <a:gd name="T44" fmla="*/ 20 w 176"/>
                <a:gd name="T45" fmla="*/ 94 h 243"/>
                <a:gd name="T46" fmla="*/ 14 w 176"/>
                <a:gd name="T47" fmla="*/ 108 h 243"/>
                <a:gd name="T48" fmla="*/ 8 w 176"/>
                <a:gd name="T49" fmla="*/ 122 h 243"/>
                <a:gd name="T50" fmla="*/ 6 w 176"/>
                <a:gd name="T51" fmla="*/ 134 h 243"/>
                <a:gd name="T52" fmla="*/ 2 w 176"/>
                <a:gd name="T53" fmla="*/ 162 h 243"/>
                <a:gd name="T54" fmla="*/ 0 w 176"/>
                <a:gd name="T55" fmla="*/ 187 h 243"/>
                <a:gd name="T56" fmla="*/ 2 w 176"/>
                <a:gd name="T57" fmla="*/ 209 h 243"/>
                <a:gd name="T58" fmla="*/ 4 w 176"/>
                <a:gd name="T59" fmla="*/ 227 h 243"/>
                <a:gd name="T60" fmla="*/ 8 w 176"/>
                <a:gd name="T61" fmla="*/ 243 h 243"/>
                <a:gd name="T62" fmla="*/ 150 w 176"/>
                <a:gd name="T63" fmla="*/ 162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76" h="243">
                  <a:moveTo>
                    <a:pt x="150" y="162"/>
                  </a:moveTo>
                  <a:lnTo>
                    <a:pt x="150" y="162"/>
                  </a:lnTo>
                  <a:lnTo>
                    <a:pt x="158" y="150"/>
                  </a:lnTo>
                  <a:lnTo>
                    <a:pt x="164" y="136"/>
                  </a:lnTo>
                  <a:lnTo>
                    <a:pt x="168" y="122"/>
                  </a:lnTo>
                  <a:lnTo>
                    <a:pt x="172" y="108"/>
                  </a:lnTo>
                  <a:lnTo>
                    <a:pt x="176" y="82"/>
                  </a:lnTo>
                  <a:lnTo>
                    <a:pt x="176" y="56"/>
                  </a:lnTo>
                  <a:lnTo>
                    <a:pt x="174" y="34"/>
                  </a:lnTo>
                  <a:lnTo>
                    <a:pt x="172" y="16"/>
                  </a:lnTo>
                  <a:lnTo>
                    <a:pt x="168" y="0"/>
                  </a:lnTo>
                  <a:lnTo>
                    <a:pt x="168" y="0"/>
                  </a:lnTo>
                  <a:lnTo>
                    <a:pt x="152" y="2"/>
                  </a:lnTo>
                  <a:lnTo>
                    <a:pt x="136" y="8"/>
                  </a:lnTo>
                  <a:lnTo>
                    <a:pt x="114" y="14"/>
                  </a:lnTo>
                  <a:lnTo>
                    <a:pt x="92" y="26"/>
                  </a:lnTo>
                  <a:lnTo>
                    <a:pt x="68" y="40"/>
                  </a:lnTo>
                  <a:lnTo>
                    <a:pt x="56" y="48"/>
                  </a:lnTo>
                  <a:lnTo>
                    <a:pt x="46" y="58"/>
                  </a:lnTo>
                  <a:lnTo>
                    <a:pt x="36" y="68"/>
                  </a:lnTo>
                  <a:lnTo>
                    <a:pt x="26" y="82"/>
                  </a:lnTo>
                  <a:lnTo>
                    <a:pt x="26" y="82"/>
                  </a:lnTo>
                  <a:lnTo>
                    <a:pt x="20" y="94"/>
                  </a:lnTo>
                  <a:lnTo>
                    <a:pt x="14" y="108"/>
                  </a:lnTo>
                  <a:lnTo>
                    <a:pt x="8" y="122"/>
                  </a:lnTo>
                  <a:lnTo>
                    <a:pt x="6" y="134"/>
                  </a:lnTo>
                  <a:lnTo>
                    <a:pt x="2" y="162"/>
                  </a:lnTo>
                  <a:lnTo>
                    <a:pt x="0" y="187"/>
                  </a:lnTo>
                  <a:lnTo>
                    <a:pt x="2" y="209"/>
                  </a:lnTo>
                  <a:lnTo>
                    <a:pt x="4" y="227"/>
                  </a:lnTo>
                  <a:lnTo>
                    <a:pt x="8" y="243"/>
                  </a:lnTo>
                  <a:lnTo>
                    <a:pt x="150" y="162"/>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2" name="Freeform 2316">
              <a:extLst>
                <a:ext uri="{FF2B5EF4-FFF2-40B4-BE49-F238E27FC236}">
                  <a16:creationId xmlns:a16="http://schemas.microsoft.com/office/drawing/2014/main" id="{519CB75D-39FC-4B2F-B4B5-08A7E5D31042}"/>
                </a:ext>
              </a:extLst>
            </p:cNvPr>
            <p:cNvSpPr>
              <a:spLocks/>
            </p:cNvSpPr>
            <p:nvPr/>
          </p:nvSpPr>
          <p:spPr bwMode="auto">
            <a:xfrm>
              <a:off x="7231483" y="4769565"/>
              <a:ext cx="314456" cy="434165"/>
            </a:xfrm>
            <a:custGeom>
              <a:avLst/>
              <a:gdLst>
                <a:gd name="T0" fmla="*/ 150 w 176"/>
                <a:gd name="T1" fmla="*/ 162 h 243"/>
                <a:gd name="T2" fmla="*/ 150 w 176"/>
                <a:gd name="T3" fmla="*/ 162 h 243"/>
                <a:gd name="T4" fmla="*/ 158 w 176"/>
                <a:gd name="T5" fmla="*/ 150 h 243"/>
                <a:gd name="T6" fmla="*/ 164 w 176"/>
                <a:gd name="T7" fmla="*/ 136 h 243"/>
                <a:gd name="T8" fmla="*/ 168 w 176"/>
                <a:gd name="T9" fmla="*/ 122 h 243"/>
                <a:gd name="T10" fmla="*/ 172 w 176"/>
                <a:gd name="T11" fmla="*/ 108 h 243"/>
                <a:gd name="T12" fmla="*/ 176 w 176"/>
                <a:gd name="T13" fmla="*/ 82 h 243"/>
                <a:gd name="T14" fmla="*/ 176 w 176"/>
                <a:gd name="T15" fmla="*/ 56 h 243"/>
                <a:gd name="T16" fmla="*/ 174 w 176"/>
                <a:gd name="T17" fmla="*/ 34 h 243"/>
                <a:gd name="T18" fmla="*/ 172 w 176"/>
                <a:gd name="T19" fmla="*/ 16 h 243"/>
                <a:gd name="T20" fmla="*/ 168 w 176"/>
                <a:gd name="T21" fmla="*/ 0 h 243"/>
                <a:gd name="T22" fmla="*/ 168 w 176"/>
                <a:gd name="T23" fmla="*/ 0 h 243"/>
                <a:gd name="T24" fmla="*/ 152 w 176"/>
                <a:gd name="T25" fmla="*/ 2 h 243"/>
                <a:gd name="T26" fmla="*/ 136 w 176"/>
                <a:gd name="T27" fmla="*/ 8 h 243"/>
                <a:gd name="T28" fmla="*/ 114 w 176"/>
                <a:gd name="T29" fmla="*/ 14 h 243"/>
                <a:gd name="T30" fmla="*/ 92 w 176"/>
                <a:gd name="T31" fmla="*/ 26 h 243"/>
                <a:gd name="T32" fmla="*/ 68 w 176"/>
                <a:gd name="T33" fmla="*/ 40 h 243"/>
                <a:gd name="T34" fmla="*/ 56 w 176"/>
                <a:gd name="T35" fmla="*/ 48 h 243"/>
                <a:gd name="T36" fmla="*/ 46 w 176"/>
                <a:gd name="T37" fmla="*/ 58 h 243"/>
                <a:gd name="T38" fmla="*/ 36 w 176"/>
                <a:gd name="T39" fmla="*/ 68 h 243"/>
                <a:gd name="T40" fmla="*/ 26 w 176"/>
                <a:gd name="T41" fmla="*/ 82 h 243"/>
                <a:gd name="T42" fmla="*/ 26 w 176"/>
                <a:gd name="T43" fmla="*/ 82 h 243"/>
                <a:gd name="T44" fmla="*/ 20 w 176"/>
                <a:gd name="T45" fmla="*/ 94 h 243"/>
                <a:gd name="T46" fmla="*/ 14 w 176"/>
                <a:gd name="T47" fmla="*/ 108 h 243"/>
                <a:gd name="T48" fmla="*/ 8 w 176"/>
                <a:gd name="T49" fmla="*/ 122 h 243"/>
                <a:gd name="T50" fmla="*/ 6 w 176"/>
                <a:gd name="T51" fmla="*/ 134 h 243"/>
                <a:gd name="T52" fmla="*/ 2 w 176"/>
                <a:gd name="T53" fmla="*/ 162 h 243"/>
                <a:gd name="T54" fmla="*/ 0 w 176"/>
                <a:gd name="T55" fmla="*/ 187 h 243"/>
                <a:gd name="T56" fmla="*/ 2 w 176"/>
                <a:gd name="T57" fmla="*/ 209 h 243"/>
                <a:gd name="T58" fmla="*/ 4 w 176"/>
                <a:gd name="T59" fmla="*/ 227 h 243"/>
                <a:gd name="T60" fmla="*/ 8 w 176"/>
                <a:gd name="T61"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76" h="243">
                  <a:moveTo>
                    <a:pt x="150" y="162"/>
                  </a:moveTo>
                  <a:lnTo>
                    <a:pt x="150" y="162"/>
                  </a:lnTo>
                  <a:lnTo>
                    <a:pt x="158" y="150"/>
                  </a:lnTo>
                  <a:lnTo>
                    <a:pt x="164" y="136"/>
                  </a:lnTo>
                  <a:lnTo>
                    <a:pt x="168" y="122"/>
                  </a:lnTo>
                  <a:lnTo>
                    <a:pt x="172" y="108"/>
                  </a:lnTo>
                  <a:lnTo>
                    <a:pt x="176" y="82"/>
                  </a:lnTo>
                  <a:lnTo>
                    <a:pt x="176" y="56"/>
                  </a:lnTo>
                  <a:lnTo>
                    <a:pt x="174" y="34"/>
                  </a:lnTo>
                  <a:lnTo>
                    <a:pt x="172" y="16"/>
                  </a:lnTo>
                  <a:lnTo>
                    <a:pt x="168" y="0"/>
                  </a:lnTo>
                  <a:lnTo>
                    <a:pt x="168" y="0"/>
                  </a:lnTo>
                  <a:lnTo>
                    <a:pt x="152" y="2"/>
                  </a:lnTo>
                  <a:lnTo>
                    <a:pt x="136" y="8"/>
                  </a:lnTo>
                  <a:lnTo>
                    <a:pt x="114" y="14"/>
                  </a:lnTo>
                  <a:lnTo>
                    <a:pt x="92" y="26"/>
                  </a:lnTo>
                  <a:lnTo>
                    <a:pt x="68" y="40"/>
                  </a:lnTo>
                  <a:lnTo>
                    <a:pt x="56" y="48"/>
                  </a:lnTo>
                  <a:lnTo>
                    <a:pt x="46" y="58"/>
                  </a:lnTo>
                  <a:lnTo>
                    <a:pt x="36" y="68"/>
                  </a:lnTo>
                  <a:lnTo>
                    <a:pt x="26" y="82"/>
                  </a:lnTo>
                  <a:lnTo>
                    <a:pt x="26" y="82"/>
                  </a:lnTo>
                  <a:lnTo>
                    <a:pt x="20" y="94"/>
                  </a:lnTo>
                  <a:lnTo>
                    <a:pt x="14" y="108"/>
                  </a:lnTo>
                  <a:lnTo>
                    <a:pt x="8" y="122"/>
                  </a:lnTo>
                  <a:lnTo>
                    <a:pt x="6" y="134"/>
                  </a:lnTo>
                  <a:lnTo>
                    <a:pt x="2" y="162"/>
                  </a:lnTo>
                  <a:lnTo>
                    <a:pt x="0" y="187"/>
                  </a:lnTo>
                  <a:lnTo>
                    <a:pt x="2" y="209"/>
                  </a:lnTo>
                  <a:lnTo>
                    <a:pt x="4" y="227"/>
                  </a:lnTo>
                  <a:lnTo>
                    <a:pt x="8" y="24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3" name="Freeform 2318">
              <a:extLst>
                <a:ext uri="{FF2B5EF4-FFF2-40B4-BE49-F238E27FC236}">
                  <a16:creationId xmlns:a16="http://schemas.microsoft.com/office/drawing/2014/main" id="{C43E7C53-6D8D-4902-BF75-FCE8683FF4D7}"/>
                </a:ext>
              </a:extLst>
            </p:cNvPr>
            <p:cNvSpPr>
              <a:spLocks/>
            </p:cNvSpPr>
            <p:nvPr/>
          </p:nvSpPr>
          <p:spPr bwMode="auto">
            <a:xfrm>
              <a:off x="6806252" y="5146556"/>
              <a:ext cx="371630" cy="335897"/>
            </a:xfrm>
            <a:custGeom>
              <a:avLst/>
              <a:gdLst>
                <a:gd name="T0" fmla="*/ 58 w 208"/>
                <a:gd name="T1" fmla="*/ 42 h 188"/>
                <a:gd name="T2" fmla="*/ 58 w 208"/>
                <a:gd name="T3" fmla="*/ 42 h 188"/>
                <a:gd name="T4" fmla="*/ 68 w 208"/>
                <a:gd name="T5" fmla="*/ 32 h 188"/>
                <a:gd name="T6" fmla="*/ 80 w 208"/>
                <a:gd name="T7" fmla="*/ 24 h 188"/>
                <a:gd name="T8" fmla="*/ 92 w 208"/>
                <a:gd name="T9" fmla="*/ 18 h 188"/>
                <a:gd name="T10" fmla="*/ 106 w 208"/>
                <a:gd name="T11" fmla="*/ 12 h 188"/>
                <a:gd name="T12" fmla="*/ 130 w 208"/>
                <a:gd name="T13" fmla="*/ 6 h 188"/>
                <a:gd name="T14" fmla="*/ 154 w 208"/>
                <a:gd name="T15" fmla="*/ 2 h 188"/>
                <a:gd name="T16" fmla="*/ 176 w 208"/>
                <a:gd name="T17" fmla="*/ 0 h 188"/>
                <a:gd name="T18" fmla="*/ 192 w 208"/>
                <a:gd name="T19" fmla="*/ 0 h 188"/>
                <a:gd name="T20" fmla="*/ 208 w 208"/>
                <a:gd name="T21" fmla="*/ 0 h 188"/>
                <a:gd name="T22" fmla="*/ 208 w 208"/>
                <a:gd name="T23" fmla="*/ 0 h 188"/>
                <a:gd name="T24" fmla="*/ 208 w 208"/>
                <a:gd name="T25" fmla="*/ 16 h 188"/>
                <a:gd name="T26" fmla="*/ 206 w 208"/>
                <a:gd name="T27" fmla="*/ 32 h 188"/>
                <a:gd name="T28" fmla="*/ 202 w 208"/>
                <a:gd name="T29" fmla="*/ 54 h 188"/>
                <a:gd name="T30" fmla="*/ 194 w 208"/>
                <a:gd name="T31" fmla="*/ 78 h 188"/>
                <a:gd name="T32" fmla="*/ 184 w 208"/>
                <a:gd name="T33" fmla="*/ 102 h 188"/>
                <a:gd name="T34" fmla="*/ 178 w 208"/>
                <a:gd name="T35" fmla="*/ 114 h 188"/>
                <a:gd name="T36" fmla="*/ 170 w 208"/>
                <a:gd name="T37" fmla="*/ 124 h 188"/>
                <a:gd name="T38" fmla="*/ 162 w 208"/>
                <a:gd name="T39" fmla="*/ 136 h 188"/>
                <a:gd name="T40" fmla="*/ 152 w 208"/>
                <a:gd name="T41" fmla="*/ 146 h 188"/>
                <a:gd name="T42" fmla="*/ 152 w 208"/>
                <a:gd name="T43" fmla="*/ 146 h 188"/>
                <a:gd name="T44" fmla="*/ 140 w 208"/>
                <a:gd name="T45" fmla="*/ 154 h 188"/>
                <a:gd name="T46" fmla="*/ 128 w 208"/>
                <a:gd name="T47" fmla="*/ 162 h 188"/>
                <a:gd name="T48" fmla="*/ 116 w 208"/>
                <a:gd name="T49" fmla="*/ 168 h 188"/>
                <a:gd name="T50" fmla="*/ 104 w 208"/>
                <a:gd name="T51" fmla="*/ 174 h 188"/>
                <a:gd name="T52" fmla="*/ 78 w 208"/>
                <a:gd name="T53" fmla="*/ 182 h 188"/>
                <a:gd name="T54" fmla="*/ 54 w 208"/>
                <a:gd name="T55" fmla="*/ 186 h 188"/>
                <a:gd name="T56" fmla="*/ 34 w 208"/>
                <a:gd name="T57" fmla="*/ 188 h 188"/>
                <a:gd name="T58" fmla="*/ 16 w 208"/>
                <a:gd name="T59" fmla="*/ 188 h 188"/>
                <a:gd name="T60" fmla="*/ 0 w 208"/>
                <a:gd name="T61" fmla="*/ 186 h 188"/>
                <a:gd name="T62" fmla="*/ 0 w 208"/>
                <a:gd name="T63" fmla="*/ 186 h 188"/>
                <a:gd name="T64" fmla="*/ 2 w 208"/>
                <a:gd name="T65" fmla="*/ 172 h 188"/>
                <a:gd name="T66" fmla="*/ 4 w 208"/>
                <a:gd name="T67" fmla="*/ 154 h 188"/>
                <a:gd name="T68" fmla="*/ 8 w 208"/>
                <a:gd name="T69" fmla="*/ 134 h 188"/>
                <a:gd name="T70" fmla="*/ 14 w 208"/>
                <a:gd name="T71" fmla="*/ 110 h 188"/>
                <a:gd name="T72" fmla="*/ 24 w 208"/>
                <a:gd name="T73" fmla="*/ 86 h 188"/>
                <a:gd name="T74" fmla="*/ 30 w 208"/>
                <a:gd name="T75" fmla="*/ 74 h 188"/>
                <a:gd name="T76" fmla="*/ 38 w 208"/>
                <a:gd name="T77" fmla="*/ 62 h 188"/>
                <a:gd name="T78" fmla="*/ 48 w 208"/>
                <a:gd name="T79" fmla="*/ 52 h 188"/>
                <a:gd name="T80" fmla="*/ 58 w 208"/>
                <a:gd name="T81" fmla="*/ 42 h 188"/>
                <a:gd name="T82" fmla="*/ 58 w 208"/>
                <a:gd name="T83" fmla="*/ 42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08" h="188">
                  <a:moveTo>
                    <a:pt x="58" y="42"/>
                  </a:moveTo>
                  <a:lnTo>
                    <a:pt x="58" y="42"/>
                  </a:lnTo>
                  <a:lnTo>
                    <a:pt x="68" y="32"/>
                  </a:lnTo>
                  <a:lnTo>
                    <a:pt x="80" y="24"/>
                  </a:lnTo>
                  <a:lnTo>
                    <a:pt x="92" y="18"/>
                  </a:lnTo>
                  <a:lnTo>
                    <a:pt x="106" y="12"/>
                  </a:lnTo>
                  <a:lnTo>
                    <a:pt x="130" y="6"/>
                  </a:lnTo>
                  <a:lnTo>
                    <a:pt x="154" y="2"/>
                  </a:lnTo>
                  <a:lnTo>
                    <a:pt x="176" y="0"/>
                  </a:lnTo>
                  <a:lnTo>
                    <a:pt x="192" y="0"/>
                  </a:lnTo>
                  <a:lnTo>
                    <a:pt x="208" y="0"/>
                  </a:lnTo>
                  <a:lnTo>
                    <a:pt x="208" y="0"/>
                  </a:lnTo>
                  <a:lnTo>
                    <a:pt x="208" y="16"/>
                  </a:lnTo>
                  <a:lnTo>
                    <a:pt x="206" y="32"/>
                  </a:lnTo>
                  <a:lnTo>
                    <a:pt x="202" y="54"/>
                  </a:lnTo>
                  <a:lnTo>
                    <a:pt x="194" y="78"/>
                  </a:lnTo>
                  <a:lnTo>
                    <a:pt x="184" y="102"/>
                  </a:lnTo>
                  <a:lnTo>
                    <a:pt x="178" y="114"/>
                  </a:lnTo>
                  <a:lnTo>
                    <a:pt x="170" y="124"/>
                  </a:lnTo>
                  <a:lnTo>
                    <a:pt x="162" y="136"/>
                  </a:lnTo>
                  <a:lnTo>
                    <a:pt x="152" y="146"/>
                  </a:lnTo>
                  <a:lnTo>
                    <a:pt x="152" y="146"/>
                  </a:lnTo>
                  <a:lnTo>
                    <a:pt x="140" y="154"/>
                  </a:lnTo>
                  <a:lnTo>
                    <a:pt x="128" y="162"/>
                  </a:lnTo>
                  <a:lnTo>
                    <a:pt x="116" y="168"/>
                  </a:lnTo>
                  <a:lnTo>
                    <a:pt x="104" y="174"/>
                  </a:lnTo>
                  <a:lnTo>
                    <a:pt x="78" y="182"/>
                  </a:lnTo>
                  <a:lnTo>
                    <a:pt x="54" y="186"/>
                  </a:lnTo>
                  <a:lnTo>
                    <a:pt x="34" y="188"/>
                  </a:lnTo>
                  <a:lnTo>
                    <a:pt x="16" y="188"/>
                  </a:lnTo>
                  <a:lnTo>
                    <a:pt x="0" y="186"/>
                  </a:lnTo>
                  <a:lnTo>
                    <a:pt x="0" y="186"/>
                  </a:lnTo>
                  <a:lnTo>
                    <a:pt x="2" y="172"/>
                  </a:lnTo>
                  <a:lnTo>
                    <a:pt x="4" y="154"/>
                  </a:lnTo>
                  <a:lnTo>
                    <a:pt x="8" y="134"/>
                  </a:lnTo>
                  <a:lnTo>
                    <a:pt x="14" y="110"/>
                  </a:lnTo>
                  <a:lnTo>
                    <a:pt x="24" y="86"/>
                  </a:lnTo>
                  <a:lnTo>
                    <a:pt x="30" y="74"/>
                  </a:lnTo>
                  <a:lnTo>
                    <a:pt x="38" y="62"/>
                  </a:lnTo>
                  <a:lnTo>
                    <a:pt x="48" y="52"/>
                  </a:lnTo>
                  <a:lnTo>
                    <a:pt x="58" y="42"/>
                  </a:lnTo>
                  <a:lnTo>
                    <a:pt x="58" y="42"/>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4" name="Freeform 2320">
              <a:extLst>
                <a:ext uri="{FF2B5EF4-FFF2-40B4-BE49-F238E27FC236}">
                  <a16:creationId xmlns:a16="http://schemas.microsoft.com/office/drawing/2014/main" id="{6BC96D81-69B6-42D8-AEFD-A1A57E2BDD87}"/>
                </a:ext>
              </a:extLst>
            </p:cNvPr>
            <p:cNvSpPr>
              <a:spLocks/>
            </p:cNvSpPr>
            <p:nvPr/>
          </p:nvSpPr>
          <p:spPr bwMode="auto">
            <a:xfrm>
              <a:off x="6995641" y="4751699"/>
              <a:ext cx="364484" cy="1120252"/>
            </a:xfrm>
            <a:custGeom>
              <a:avLst/>
              <a:gdLst>
                <a:gd name="T0" fmla="*/ 0 w 204"/>
                <a:gd name="T1" fmla="*/ 14 h 627"/>
                <a:gd name="T2" fmla="*/ 30 w 204"/>
                <a:gd name="T3" fmla="*/ 120 h 627"/>
                <a:gd name="T4" fmla="*/ 104 w 204"/>
                <a:gd name="T5" fmla="*/ 297 h 627"/>
                <a:gd name="T6" fmla="*/ 136 w 204"/>
                <a:gd name="T7" fmla="*/ 461 h 627"/>
                <a:gd name="T8" fmla="*/ 136 w 204"/>
                <a:gd name="T9" fmla="*/ 461 h 627"/>
                <a:gd name="T10" fmla="*/ 140 w 204"/>
                <a:gd name="T11" fmla="*/ 481 h 627"/>
                <a:gd name="T12" fmla="*/ 142 w 204"/>
                <a:gd name="T13" fmla="*/ 515 h 627"/>
                <a:gd name="T14" fmla="*/ 146 w 204"/>
                <a:gd name="T15" fmla="*/ 609 h 627"/>
                <a:gd name="T16" fmla="*/ 204 w 204"/>
                <a:gd name="T17" fmla="*/ 627 h 627"/>
                <a:gd name="T18" fmla="*/ 204 w 204"/>
                <a:gd name="T19" fmla="*/ 627 h 627"/>
                <a:gd name="T20" fmla="*/ 202 w 204"/>
                <a:gd name="T21" fmla="*/ 537 h 627"/>
                <a:gd name="T22" fmla="*/ 200 w 204"/>
                <a:gd name="T23" fmla="*/ 487 h 627"/>
                <a:gd name="T24" fmla="*/ 198 w 204"/>
                <a:gd name="T25" fmla="*/ 463 h 627"/>
                <a:gd name="T26" fmla="*/ 158 w 204"/>
                <a:gd name="T27" fmla="*/ 283 h 627"/>
                <a:gd name="T28" fmla="*/ 158 w 204"/>
                <a:gd name="T29" fmla="*/ 283 h 627"/>
                <a:gd name="T30" fmla="*/ 154 w 204"/>
                <a:gd name="T31" fmla="*/ 271 h 627"/>
                <a:gd name="T32" fmla="*/ 82 w 204"/>
                <a:gd name="T33" fmla="*/ 100 h 627"/>
                <a:gd name="T34" fmla="*/ 48 w 204"/>
                <a:gd name="T35" fmla="*/ 0 h 627"/>
                <a:gd name="T36" fmla="*/ 0 w 204"/>
                <a:gd name="T37" fmla="*/ 14 h 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04" h="627">
                  <a:moveTo>
                    <a:pt x="0" y="14"/>
                  </a:moveTo>
                  <a:lnTo>
                    <a:pt x="30" y="120"/>
                  </a:lnTo>
                  <a:lnTo>
                    <a:pt x="104" y="297"/>
                  </a:lnTo>
                  <a:lnTo>
                    <a:pt x="136" y="461"/>
                  </a:lnTo>
                  <a:lnTo>
                    <a:pt x="136" y="461"/>
                  </a:lnTo>
                  <a:lnTo>
                    <a:pt x="140" y="481"/>
                  </a:lnTo>
                  <a:lnTo>
                    <a:pt x="142" y="515"/>
                  </a:lnTo>
                  <a:lnTo>
                    <a:pt x="146" y="609"/>
                  </a:lnTo>
                  <a:lnTo>
                    <a:pt x="204" y="627"/>
                  </a:lnTo>
                  <a:lnTo>
                    <a:pt x="204" y="627"/>
                  </a:lnTo>
                  <a:lnTo>
                    <a:pt x="202" y="537"/>
                  </a:lnTo>
                  <a:lnTo>
                    <a:pt x="200" y="487"/>
                  </a:lnTo>
                  <a:lnTo>
                    <a:pt x="198" y="463"/>
                  </a:lnTo>
                  <a:lnTo>
                    <a:pt x="158" y="283"/>
                  </a:lnTo>
                  <a:lnTo>
                    <a:pt x="158" y="283"/>
                  </a:lnTo>
                  <a:lnTo>
                    <a:pt x="154" y="271"/>
                  </a:lnTo>
                  <a:lnTo>
                    <a:pt x="82" y="100"/>
                  </a:lnTo>
                  <a:lnTo>
                    <a:pt x="48" y="0"/>
                  </a:lnTo>
                  <a:lnTo>
                    <a:pt x="0" y="14"/>
                  </a:lnTo>
                  <a:close/>
                </a:path>
              </a:pathLst>
            </a:custGeom>
            <a:solidFill>
              <a:srgbClr val="92D05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5" name="Freeform 2321">
              <a:extLst>
                <a:ext uri="{FF2B5EF4-FFF2-40B4-BE49-F238E27FC236}">
                  <a16:creationId xmlns:a16="http://schemas.microsoft.com/office/drawing/2014/main" id="{C4D3CFF2-F4AB-4B1E-A511-B227EE939916}"/>
                </a:ext>
              </a:extLst>
            </p:cNvPr>
            <p:cNvSpPr>
              <a:spLocks/>
            </p:cNvSpPr>
            <p:nvPr/>
          </p:nvSpPr>
          <p:spPr bwMode="auto">
            <a:xfrm>
              <a:off x="6995641" y="4751699"/>
              <a:ext cx="364484" cy="1120252"/>
            </a:xfrm>
            <a:custGeom>
              <a:avLst/>
              <a:gdLst>
                <a:gd name="T0" fmla="*/ 0 w 204"/>
                <a:gd name="T1" fmla="*/ 14 h 627"/>
                <a:gd name="T2" fmla="*/ 30 w 204"/>
                <a:gd name="T3" fmla="*/ 120 h 627"/>
                <a:gd name="T4" fmla="*/ 104 w 204"/>
                <a:gd name="T5" fmla="*/ 297 h 627"/>
                <a:gd name="T6" fmla="*/ 136 w 204"/>
                <a:gd name="T7" fmla="*/ 461 h 627"/>
                <a:gd name="T8" fmla="*/ 136 w 204"/>
                <a:gd name="T9" fmla="*/ 461 h 627"/>
                <a:gd name="T10" fmla="*/ 140 w 204"/>
                <a:gd name="T11" fmla="*/ 481 h 627"/>
                <a:gd name="T12" fmla="*/ 142 w 204"/>
                <a:gd name="T13" fmla="*/ 515 h 627"/>
                <a:gd name="T14" fmla="*/ 146 w 204"/>
                <a:gd name="T15" fmla="*/ 609 h 627"/>
                <a:gd name="T16" fmla="*/ 204 w 204"/>
                <a:gd name="T17" fmla="*/ 627 h 627"/>
                <a:gd name="T18" fmla="*/ 204 w 204"/>
                <a:gd name="T19" fmla="*/ 627 h 627"/>
                <a:gd name="T20" fmla="*/ 202 w 204"/>
                <a:gd name="T21" fmla="*/ 537 h 627"/>
                <a:gd name="T22" fmla="*/ 200 w 204"/>
                <a:gd name="T23" fmla="*/ 487 h 627"/>
                <a:gd name="T24" fmla="*/ 198 w 204"/>
                <a:gd name="T25" fmla="*/ 463 h 627"/>
                <a:gd name="T26" fmla="*/ 158 w 204"/>
                <a:gd name="T27" fmla="*/ 283 h 627"/>
                <a:gd name="T28" fmla="*/ 158 w 204"/>
                <a:gd name="T29" fmla="*/ 283 h 627"/>
                <a:gd name="T30" fmla="*/ 154 w 204"/>
                <a:gd name="T31" fmla="*/ 271 h 627"/>
                <a:gd name="T32" fmla="*/ 82 w 204"/>
                <a:gd name="T33" fmla="*/ 100 h 627"/>
                <a:gd name="T34" fmla="*/ 48 w 204"/>
                <a:gd name="T35" fmla="*/ 0 h 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4" h="627">
                  <a:moveTo>
                    <a:pt x="0" y="14"/>
                  </a:moveTo>
                  <a:lnTo>
                    <a:pt x="30" y="120"/>
                  </a:lnTo>
                  <a:lnTo>
                    <a:pt x="104" y="297"/>
                  </a:lnTo>
                  <a:lnTo>
                    <a:pt x="136" y="461"/>
                  </a:lnTo>
                  <a:lnTo>
                    <a:pt x="136" y="461"/>
                  </a:lnTo>
                  <a:lnTo>
                    <a:pt x="140" y="481"/>
                  </a:lnTo>
                  <a:lnTo>
                    <a:pt x="142" y="515"/>
                  </a:lnTo>
                  <a:lnTo>
                    <a:pt x="146" y="609"/>
                  </a:lnTo>
                  <a:lnTo>
                    <a:pt x="204" y="627"/>
                  </a:lnTo>
                  <a:lnTo>
                    <a:pt x="204" y="627"/>
                  </a:lnTo>
                  <a:lnTo>
                    <a:pt x="202" y="537"/>
                  </a:lnTo>
                  <a:lnTo>
                    <a:pt x="200" y="487"/>
                  </a:lnTo>
                  <a:lnTo>
                    <a:pt x="198" y="463"/>
                  </a:lnTo>
                  <a:lnTo>
                    <a:pt x="158" y="283"/>
                  </a:lnTo>
                  <a:lnTo>
                    <a:pt x="158" y="283"/>
                  </a:lnTo>
                  <a:lnTo>
                    <a:pt x="154" y="271"/>
                  </a:lnTo>
                  <a:lnTo>
                    <a:pt x="82" y="100"/>
                  </a:lnTo>
                  <a:lnTo>
                    <a:pt x="4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6" name="Freeform 2323">
              <a:extLst>
                <a:ext uri="{FF2B5EF4-FFF2-40B4-BE49-F238E27FC236}">
                  <a16:creationId xmlns:a16="http://schemas.microsoft.com/office/drawing/2014/main" id="{CD43DA4D-C048-4B94-AD46-B408E739AD06}"/>
                </a:ext>
              </a:extLst>
            </p:cNvPr>
            <p:cNvSpPr>
              <a:spLocks/>
            </p:cNvSpPr>
            <p:nvPr/>
          </p:nvSpPr>
          <p:spPr bwMode="auto">
            <a:xfrm>
              <a:off x="7256497" y="5796909"/>
              <a:ext cx="107201" cy="468111"/>
            </a:xfrm>
            <a:custGeom>
              <a:avLst/>
              <a:gdLst>
                <a:gd name="T0" fmla="*/ 58 w 60"/>
                <a:gd name="T1" fmla="*/ 18 h 262"/>
                <a:gd name="T2" fmla="*/ 58 w 60"/>
                <a:gd name="T3" fmla="*/ 18 h 262"/>
                <a:gd name="T4" fmla="*/ 60 w 60"/>
                <a:gd name="T5" fmla="*/ 108 h 262"/>
                <a:gd name="T6" fmla="*/ 60 w 60"/>
                <a:gd name="T7" fmla="*/ 186 h 262"/>
                <a:gd name="T8" fmla="*/ 60 w 60"/>
                <a:gd name="T9" fmla="*/ 262 h 262"/>
                <a:gd name="T10" fmla="*/ 2 w 60"/>
                <a:gd name="T11" fmla="*/ 224 h 262"/>
                <a:gd name="T12" fmla="*/ 2 w 60"/>
                <a:gd name="T13" fmla="*/ 224 h 262"/>
                <a:gd name="T14" fmla="*/ 2 w 60"/>
                <a:gd name="T15" fmla="*/ 160 h 262"/>
                <a:gd name="T16" fmla="*/ 0 w 60"/>
                <a:gd name="T17" fmla="*/ 0 h 262"/>
                <a:gd name="T18" fmla="*/ 58 w 60"/>
                <a:gd name="T19" fmla="*/ 18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262">
                  <a:moveTo>
                    <a:pt x="58" y="18"/>
                  </a:moveTo>
                  <a:lnTo>
                    <a:pt x="58" y="18"/>
                  </a:lnTo>
                  <a:lnTo>
                    <a:pt x="60" y="108"/>
                  </a:lnTo>
                  <a:lnTo>
                    <a:pt x="60" y="186"/>
                  </a:lnTo>
                  <a:lnTo>
                    <a:pt x="60" y="262"/>
                  </a:lnTo>
                  <a:lnTo>
                    <a:pt x="2" y="224"/>
                  </a:lnTo>
                  <a:lnTo>
                    <a:pt x="2" y="224"/>
                  </a:lnTo>
                  <a:lnTo>
                    <a:pt x="2" y="160"/>
                  </a:lnTo>
                  <a:lnTo>
                    <a:pt x="0" y="0"/>
                  </a:lnTo>
                  <a:lnTo>
                    <a:pt x="58" y="18"/>
                  </a:lnTo>
                  <a:close/>
                </a:path>
              </a:pathLst>
            </a:custGeom>
            <a:solidFill>
              <a:srgbClr val="AE8A6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7" name="Freeform 2324">
              <a:extLst>
                <a:ext uri="{FF2B5EF4-FFF2-40B4-BE49-F238E27FC236}">
                  <a16:creationId xmlns:a16="http://schemas.microsoft.com/office/drawing/2014/main" id="{2CE8E2C1-06B4-4ECC-86F7-FA7DFFEA4DC0}"/>
                </a:ext>
              </a:extLst>
            </p:cNvPr>
            <p:cNvSpPr>
              <a:spLocks/>
            </p:cNvSpPr>
            <p:nvPr/>
          </p:nvSpPr>
          <p:spPr bwMode="auto">
            <a:xfrm>
              <a:off x="7256497" y="5796909"/>
              <a:ext cx="107201" cy="468111"/>
            </a:xfrm>
            <a:custGeom>
              <a:avLst/>
              <a:gdLst>
                <a:gd name="T0" fmla="*/ 58 w 60"/>
                <a:gd name="T1" fmla="*/ 18 h 262"/>
                <a:gd name="T2" fmla="*/ 58 w 60"/>
                <a:gd name="T3" fmla="*/ 18 h 262"/>
                <a:gd name="T4" fmla="*/ 60 w 60"/>
                <a:gd name="T5" fmla="*/ 108 h 262"/>
                <a:gd name="T6" fmla="*/ 60 w 60"/>
                <a:gd name="T7" fmla="*/ 186 h 262"/>
                <a:gd name="T8" fmla="*/ 60 w 60"/>
                <a:gd name="T9" fmla="*/ 262 h 262"/>
                <a:gd name="T10" fmla="*/ 2 w 60"/>
                <a:gd name="T11" fmla="*/ 224 h 262"/>
                <a:gd name="T12" fmla="*/ 2 w 60"/>
                <a:gd name="T13" fmla="*/ 224 h 262"/>
                <a:gd name="T14" fmla="*/ 2 w 60"/>
                <a:gd name="T15" fmla="*/ 160 h 262"/>
                <a:gd name="T16" fmla="*/ 0 w 60"/>
                <a:gd name="T17" fmla="*/ 0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0" h="262">
                  <a:moveTo>
                    <a:pt x="58" y="18"/>
                  </a:moveTo>
                  <a:lnTo>
                    <a:pt x="58" y="18"/>
                  </a:lnTo>
                  <a:lnTo>
                    <a:pt x="60" y="108"/>
                  </a:lnTo>
                  <a:lnTo>
                    <a:pt x="60" y="186"/>
                  </a:lnTo>
                  <a:lnTo>
                    <a:pt x="60" y="262"/>
                  </a:lnTo>
                  <a:lnTo>
                    <a:pt x="2" y="224"/>
                  </a:lnTo>
                  <a:lnTo>
                    <a:pt x="2" y="224"/>
                  </a:lnTo>
                  <a:lnTo>
                    <a:pt x="2" y="16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8" name="Freeform 2327">
              <a:extLst>
                <a:ext uri="{FF2B5EF4-FFF2-40B4-BE49-F238E27FC236}">
                  <a16:creationId xmlns:a16="http://schemas.microsoft.com/office/drawing/2014/main" id="{DA85B9EB-1FA0-4CA2-93BE-ABBA26357562}"/>
                </a:ext>
              </a:extLst>
            </p:cNvPr>
            <p:cNvSpPr>
              <a:spLocks/>
            </p:cNvSpPr>
            <p:nvPr/>
          </p:nvSpPr>
          <p:spPr bwMode="auto">
            <a:xfrm>
              <a:off x="7152869" y="4544443"/>
              <a:ext cx="303736" cy="464538"/>
            </a:xfrm>
            <a:custGeom>
              <a:avLst/>
              <a:gdLst>
                <a:gd name="T0" fmla="*/ 20 w 170"/>
                <a:gd name="T1" fmla="*/ 92 h 260"/>
                <a:gd name="T2" fmla="*/ 20 w 170"/>
                <a:gd name="T3" fmla="*/ 92 h 260"/>
                <a:gd name="T4" fmla="*/ 14 w 170"/>
                <a:gd name="T5" fmla="*/ 106 h 260"/>
                <a:gd name="T6" fmla="*/ 8 w 170"/>
                <a:gd name="T7" fmla="*/ 120 h 260"/>
                <a:gd name="T8" fmla="*/ 4 w 170"/>
                <a:gd name="T9" fmla="*/ 134 h 260"/>
                <a:gd name="T10" fmla="*/ 2 w 170"/>
                <a:gd name="T11" fmla="*/ 148 h 260"/>
                <a:gd name="T12" fmla="*/ 0 w 170"/>
                <a:gd name="T13" fmla="*/ 176 h 260"/>
                <a:gd name="T14" fmla="*/ 2 w 170"/>
                <a:gd name="T15" fmla="*/ 202 h 260"/>
                <a:gd name="T16" fmla="*/ 4 w 170"/>
                <a:gd name="T17" fmla="*/ 226 h 260"/>
                <a:gd name="T18" fmla="*/ 8 w 170"/>
                <a:gd name="T19" fmla="*/ 244 h 260"/>
                <a:gd name="T20" fmla="*/ 12 w 170"/>
                <a:gd name="T21" fmla="*/ 260 h 260"/>
                <a:gd name="T22" fmla="*/ 12 w 170"/>
                <a:gd name="T23" fmla="*/ 260 h 260"/>
                <a:gd name="T24" fmla="*/ 28 w 170"/>
                <a:gd name="T25" fmla="*/ 254 h 260"/>
                <a:gd name="T26" fmla="*/ 46 w 170"/>
                <a:gd name="T27" fmla="*/ 248 h 260"/>
                <a:gd name="T28" fmla="*/ 66 w 170"/>
                <a:gd name="T29" fmla="*/ 240 h 260"/>
                <a:gd name="T30" fmla="*/ 90 w 170"/>
                <a:gd name="T31" fmla="*/ 228 h 260"/>
                <a:gd name="T32" fmla="*/ 112 w 170"/>
                <a:gd name="T33" fmla="*/ 212 h 260"/>
                <a:gd name="T34" fmla="*/ 122 w 170"/>
                <a:gd name="T35" fmla="*/ 202 h 260"/>
                <a:gd name="T36" fmla="*/ 134 w 170"/>
                <a:gd name="T37" fmla="*/ 192 h 260"/>
                <a:gd name="T38" fmla="*/ 142 w 170"/>
                <a:gd name="T39" fmla="*/ 180 h 260"/>
                <a:gd name="T40" fmla="*/ 150 w 170"/>
                <a:gd name="T41" fmla="*/ 166 h 260"/>
                <a:gd name="T42" fmla="*/ 150 w 170"/>
                <a:gd name="T43" fmla="*/ 166 h 260"/>
                <a:gd name="T44" fmla="*/ 158 w 170"/>
                <a:gd name="T45" fmla="*/ 154 h 260"/>
                <a:gd name="T46" fmla="*/ 162 w 170"/>
                <a:gd name="T47" fmla="*/ 140 h 260"/>
                <a:gd name="T48" fmla="*/ 166 w 170"/>
                <a:gd name="T49" fmla="*/ 124 h 260"/>
                <a:gd name="T50" fmla="*/ 168 w 170"/>
                <a:gd name="T51" fmla="*/ 110 h 260"/>
                <a:gd name="T52" fmla="*/ 170 w 170"/>
                <a:gd name="T53" fmla="*/ 82 h 260"/>
                <a:gd name="T54" fmla="*/ 170 w 170"/>
                <a:gd name="T55" fmla="*/ 56 h 260"/>
                <a:gd name="T56" fmla="*/ 166 w 170"/>
                <a:gd name="T57" fmla="*/ 34 h 260"/>
                <a:gd name="T58" fmla="*/ 162 w 170"/>
                <a:gd name="T59" fmla="*/ 16 h 260"/>
                <a:gd name="T60" fmla="*/ 158 w 170"/>
                <a:gd name="T61" fmla="*/ 0 h 260"/>
                <a:gd name="T62" fmla="*/ 158 w 170"/>
                <a:gd name="T63" fmla="*/ 0 h 260"/>
                <a:gd name="T64" fmla="*/ 142 w 170"/>
                <a:gd name="T65" fmla="*/ 4 h 260"/>
                <a:gd name="T66" fmla="*/ 124 w 170"/>
                <a:gd name="T67" fmla="*/ 10 h 260"/>
                <a:gd name="T68" fmla="*/ 104 w 170"/>
                <a:gd name="T69" fmla="*/ 20 h 260"/>
                <a:gd name="T70" fmla="*/ 82 w 170"/>
                <a:gd name="T71" fmla="*/ 32 h 260"/>
                <a:gd name="T72" fmla="*/ 58 w 170"/>
                <a:gd name="T73" fmla="*/ 48 h 260"/>
                <a:gd name="T74" fmla="*/ 48 w 170"/>
                <a:gd name="T75" fmla="*/ 58 h 260"/>
                <a:gd name="T76" fmla="*/ 38 w 170"/>
                <a:gd name="T77" fmla="*/ 68 h 260"/>
                <a:gd name="T78" fmla="*/ 28 w 170"/>
                <a:gd name="T79" fmla="*/ 80 h 260"/>
                <a:gd name="T80" fmla="*/ 20 w 170"/>
                <a:gd name="T81" fmla="*/ 92 h 260"/>
                <a:gd name="T82" fmla="*/ 20 w 170"/>
                <a:gd name="T83" fmla="*/ 92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70" h="260">
                  <a:moveTo>
                    <a:pt x="20" y="92"/>
                  </a:moveTo>
                  <a:lnTo>
                    <a:pt x="20" y="92"/>
                  </a:lnTo>
                  <a:lnTo>
                    <a:pt x="14" y="106"/>
                  </a:lnTo>
                  <a:lnTo>
                    <a:pt x="8" y="120"/>
                  </a:lnTo>
                  <a:lnTo>
                    <a:pt x="4" y="134"/>
                  </a:lnTo>
                  <a:lnTo>
                    <a:pt x="2" y="148"/>
                  </a:lnTo>
                  <a:lnTo>
                    <a:pt x="0" y="176"/>
                  </a:lnTo>
                  <a:lnTo>
                    <a:pt x="2" y="202"/>
                  </a:lnTo>
                  <a:lnTo>
                    <a:pt x="4" y="226"/>
                  </a:lnTo>
                  <a:lnTo>
                    <a:pt x="8" y="244"/>
                  </a:lnTo>
                  <a:lnTo>
                    <a:pt x="12" y="260"/>
                  </a:lnTo>
                  <a:lnTo>
                    <a:pt x="12" y="260"/>
                  </a:lnTo>
                  <a:lnTo>
                    <a:pt x="28" y="254"/>
                  </a:lnTo>
                  <a:lnTo>
                    <a:pt x="46" y="248"/>
                  </a:lnTo>
                  <a:lnTo>
                    <a:pt x="66" y="240"/>
                  </a:lnTo>
                  <a:lnTo>
                    <a:pt x="90" y="228"/>
                  </a:lnTo>
                  <a:lnTo>
                    <a:pt x="112" y="212"/>
                  </a:lnTo>
                  <a:lnTo>
                    <a:pt x="122" y="202"/>
                  </a:lnTo>
                  <a:lnTo>
                    <a:pt x="134" y="192"/>
                  </a:lnTo>
                  <a:lnTo>
                    <a:pt x="142" y="180"/>
                  </a:lnTo>
                  <a:lnTo>
                    <a:pt x="150" y="166"/>
                  </a:lnTo>
                  <a:lnTo>
                    <a:pt x="150" y="166"/>
                  </a:lnTo>
                  <a:lnTo>
                    <a:pt x="158" y="154"/>
                  </a:lnTo>
                  <a:lnTo>
                    <a:pt x="162" y="140"/>
                  </a:lnTo>
                  <a:lnTo>
                    <a:pt x="166" y="124"/>
                  </a:lnTo>
                  <a:lnTo>
                    <a:pt x="168" y="110"/>
                  </a:lnTo>
                  <a:lnTo>
                    <a:pt x="170" y="82"/>
                  </a:lnTo>
                  <a:lnTo>
                    <a:pt x="170" y="56"/>
                  </a:lnTo>
                  <a:lnTo>
                    <a:pt x="166" y="34"/>
                  </a:lnTo>
                  <a:lnTo>
                    <a:pt x="162" y="16"/>
                  </a:lnTo>
                  <a:lnTo>
                    <a:pt x="158" y="0"/>
                  </a:lnTo>
                  <a:lnTo>
                    <a:pt x="158" y="0"/>
                  </a:lnTo>
                  <a:lnTo>
                    <a:pt x="142" y="4"/>
                  </a:lnTo>
                  <a:lnTo>
                    <a:pt x="124" y="10"/>
                  </a:lnTo>
                  <a:lnTo>
                    <a:pt x="104" y="20"/>
                  </a:lnTo>
                  <a:lnTo>
                    <a:pt x="82" y="32"/>
                  </a:lnTo>
                  <a:lnTo>
                    <a:pt x="58" y="48"/>
                  </a:lnTo>
                  <a:lnTo>
                    <a:pt x="48" y="58"/>
                  </a:lnTo>
                  <a:lnTo>
                    <a:pt x="38" y="68"/>
                  </a:lnTo>
                  <a:lnTo>
                    <a:pt x="28" y="80"/>
                  </a:lnTo>
                  <a:lnTo>
                    <a:pt x="20" y="92"/>
                  </a:lnTo>
                  <a:lnTo>
                    <a:pt x="20" y="92"/>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9" name="Freeform 2330">
              <a:extLst>
                <a:ext uri="{FF2B5EF4-FFF2-40B4-BE49-F238E27FC236}">
                  <a16:creationId xmlns:a16="http://schemas.microsoft.com/office/drawing/2014/main" id="{80F98818-B939-4BE9-A018-FB7C80D651EC}"/>
                </a:ext>
              </a:extLst>
            </p:cNvPr>
            <p:cNvSpPr>
              <a:spLocks/>
            </p:cNvSpPr>
            <p:nvPr/>
          </p:nvSpPr>
          <p:spPr bwMode="auto">
            <a:xfrm>
              <a:off x="6974201" y="6193552"/>
              <a:ext cx="407364" cy="171522"/>
            </a:xfrm>
            <a:custGeom>
              <a:avLst/>
              <a:gdLst>
                <a:gd name="T0" fmla="*/ 228 w 228"/>
                <a:gd name="T1" fmla="*/ 96 h 96"/>
                <a:gd name="T2" fmla="*/ 228 w 228"/>
                <a:gd name="T3" fmla="*/ 96 h 96"/>
                <a:gd name="T4" fmla="*/ 228 w 228"/>
                <a:gd name="T5" fmla="*/ 96 h 96"/>
                <a:gd name="T6" fmla="*/ 228 w 228"/>
                <a:gd name="T7" fmla="*/ 76 h 96"/>
                <a:gd name="T8" fmla="*/ 222 w 228"/>
                <a:gd name="T9" fmla="*/ 58 h 96"/>
                <a:gd name="T10" fmla="*/ 212 w 228"/>
                <a:gd name="T11" fmla="*/ 42 h 96"/>
                <a:gd name="T12" fmla="*/ 200 w 228"/>
                <a:gd name="T13" fmla="*/ 28 h 96"/>
                <a:gd name="T14" fmla="*/ 186 w 228"/>
                <a:gd name="T15" fmla="*/ 16 h 96"/>
                <a:gd name="T16" fmla="*/ 170 w 228"/>
                <a:gd name="T17" fmla="*/ 8 h 96"/>
                <a:gd name="T18" fmla="*/ 152 w 228"/>
                <a:gd name="T19" fmla="*/ 2 h 96"/>
                <a:gd name="T20" fmla="*/ 132 w 228"/>
                <a:gd name="T21" fmla="*/ 0 h 96"/>
                <a:gd name="T22" fmla="*/ 96 w 228"/>
                <a:gd name="T23" fmla="*/ 0 h 96"/>
                <a:gd name="T24" fmla="*/ 96 w 228"/>
                <a:gd name="T25" fmla="*/ 0 h 96"/>
                <a:gd name="T26" fmla="*/ 78 w 228"/>
                <a:gd name="T27" fmla="*/ 2 h 96"/>
                <a:gd name="T28" fmla="*/ 60 w 228"/>
                <a:gd name="T29" fmla="*/ 8 h 96"/>
                <a:gd name="T30" fmla="*/ 42 w 228"/>
                <a:gd name="T31" fmla="*/ 16 h 96"/>
                <a:gd name="T32" fmla="*/ 28 w 228"/>
                <a:gd name="T33" fmla="*/ 28 h 96"/>
                <a:gd name="T34" fmla="*/ 16 w 228"/>
                <a:gd name="T35" fmla="*/ 42 h 96"/>
                <a:gd name="T36" fmla="*/ 8 w 228"/>
                <a:gd name="T37" fmla="*/ 58 h 96"/>
                <a:gd name="T38" fmla="*/ 2 w 228"/>
                <a:gd name="T39" fmla="*/ 76 h 96"/>
                <a:gd name="T40" fmla="*/ 0 w 228"/>
                <a:gd name="T41"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8" h="96">
                  <a:moveTo>
                    <a:pt x="228" y="96"/>
                  </a:moveTo>
                  <a:lnTo>
                    <a:pt x="228" y="96"/>
                  </a:lnTo>
                  <a:lnTo>
                    <a:pt x="228" y="96"/>
                  </a:lnTo>
                  <a:lnTo>
                    <a:pt x="228" y="76"/>
                  </a:lnTo>
                  <a:lnTo>
                    <a:pt x="222" y="58"/>
                  </a:lnTo>
                  <a:lnTo>
                    <a:pt x="212" y="42"/>
                  </a:lnTo>
                  <a:lnTo>
                    <a:pt x="200" y="28"/>
                  </a:lnTo>
                  <a:lnTo>
                    <a:pt x="186" y="16"/>
                  </a:lnTo>
                  <a:lnTo>
                    <a:pt x="170" y="8"/>
                  </a:lnTo>
                  <a:lnTo>
                    <a:pt x="152" y="2"/>
                  </a:lnTo>
                  <a:lnTo>
                    <a:pt x="132" y="0"/>
                  </a:lnTo>
                  <a:lnTo>
                    <a:pt x="96" y="0"/>
                  </a:lnTo>
                  <a:lnTo>
                    <a:pt x="96" y="0"/>
                  </a:lnTo>
                  <a:lnTo>
                    <a:pt x="78" y="2"/>
                  </a:lnTo>
                  <a:lnTo>
                    <a:pt x="60" y="8"/>
                  </a:lnTo>
                  <a:lnTo>
                    <a:pt x="42" y="16"/>
                  </a:lnTo>
                  <a:lnTo>
                    <a:pt x="28" y="28"/>
                  </a:lnTo>
                  <a:lnTo>
                    <a:pt x="16" y="42"/>
                  </a:lnTo>
                  <a:lnTo>
                    <a:pt x="8" y="58"/>
                  </a:lnTo>
                  <a:lnTo>
                    <a:pt x="2" y="76"/>
                  </a:lnTo>
                  <a:lnTo>
                    <a:pt x="0" y="9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0" name="Freeform: Shape 20">
              <a:extLst>
                <a:ext uri="{FF2B5EF4-FFF2-40B4-BE49-F238E27FC236}">
                  <a16:creationId xmlns:a16="http://schemas.microsoft.com/office/drawing/2014/main" id="{349C2B18-04AD-4331-BC42-6FDE2F1CC1C6}"/>
                </a:ext>
              </a:extLst>
            </p:cNvPr>
            <p:cNvSpPr>
              <a:spLocks/>
            </p:cNvSpPr>
            <p:nvPr/>
          </p:nvSpPr>
          <p:spPr bwMode="auto">
            <a:xfrm>
              <a:off x="6970627" y="6118511"/>
              <a:ext cx="807581" cy="268003"/>
            </a:xfrm>
            <a:custGeom>
              <a:avLst/>
              <a:gdLst>
                <a:gd name="connsiteX0" fmla="*/ 431800 w 717550"/>
                <a:gd name="connsiteY0" fmla="*/ 0 h 238125"/>
                <a:gd name="connsiteX1" fmla="*/ 476250 w 717550"/>
                <a:gd name="connsiteY1" fmla="*/ 0 h 238125"/>
                <a:gd name="connsiteX2" fmla="*/ 501650 w 717550"/>
                <a:gd name="connsiteY2" fmla="*/ 3175 h 238125"/>
                <a:gd name="connsiteX3" fmla="*/ 527050 w 717550"/>
                <a:gd name="connsiteY3" fmla="*/ 6350 h 238125"/>
                <a:gd name="connsiteX4" fmla="*/ 549275 w 717550"/>
                <a:gd name="connsiteY4" fmla="*/ 12700 h 238125"/>
                <a:gd name="connsiteX5" fmla="*/ 571500 w 717550"/>
                <a:gd name="connsiteY5" fmla="*/ 19050 h 238125"/>
                <a:gd name="connsiteX6" fmla="*/ 590550 w 717550"/>
                <a:gd name="connsiteY6" fmla="*/ 28575 h 238125"/>
                <a:gd name="connsiteX7" fmla="*/ 609600 w 717550"/>
                <a:gd name="connsiteY7" fmla="*/ 41275 h 238125"/>
                <a:gd name="connsiteX8" fmla="*/ 628650 w 717550"/>
                <a:gd name="connsiteY8" fmla="*/ 57150 h 238125"/>
                <a:gd name="connsiteX9" fmla="*/ 647700 w 717550"/>
                <a:gd name="connsiteY9" fmla="*/ 69850 h 238125"/>
                <a:gd name="connsiteX10" fmla="*/ 660400 w 717550"/>
                <a:gd name="connsiteY10" fmla="*/ 88900 h 238125"/>
                <a:gd name="connsiteX11" fmla="*/ 676275 w 717550"/>
                <a:gd name="connsiteY11" fmla="*/ 104775 h 238125"/>
                <a:gd name="connsiteX12" fmla="*/ 685800 w 717550"/>
                <a:gd name="connsiteY12" fmla="*/ 127000 h 238125"/>
                <a:gd name="connsiteX13" fmla="*/ 698500 w 717550"/>
                <a:gd name="connsiteY13" fmla="*/ 146050 h 238125"/>
                <a:gd name="connsiteX14" fmla="*/ 704850 w 717550"/>
                <a:gd name="connsiteY14" fmla="*/ 168275 h 238125"/>
                <a:gd name="connsiteX15" fmla="*/ 711200 w 717550"/>
                <a:gd name="connsiteY15" fmla="*/ 190500 h 238125"/>
                <a:gd name="connsiteX16" fmla="*/ 714375 w 717550"/>
                <a:gd name="connsiteY16" fmla="*/ 215900 h 238125"/>
                <a:gd name="connsiteX17" fmla="*/ 717550 w 717550"/>
                <a:gd name="connsiteY17" fmla="*/ 238125 h 238125"/>
                <a:gd name="connsiteX18" fmla="*/ 365125 w 717550"/>
                <a:gd name="connsiteY18" fmla="*/ 238125 h 238125"/>
                <a:gd name="connsiteX19" fmla="*/ 193675 w 717550"/>
                <a:gd name="connsiteY19" fmla="*/ 238125 h 238125"/>
                <a:gd name="connsiteX20" fmla="*/ 3175 w 717550"/>
                <a:gd name="connsiteY20" fmla="*/ 238125 h 238125"/>
                <a:gd name="connsiteX21" fmla="*/ 0 w 717550"/>
                <a:gd name="connsiteY21" fmla="*/ 238125 h 238125"/>
                <a:gd name="connsiteX22" fmla="*/ 3347 w 717550"/>
                <a:gd name="connsiteY22" fmla="*/ 236405 h 238125"/>
                <a:gd name="connsiteX23" fmla="*/ 6350 w 717550"/>
                <a:gd name="connsiteY23" fmla="*/ 206375 h 238125"/>
                <a:gd name="connsiteX24" fmla="*/ 15875 w 717550"/>
                <a:gd name="connsiteY24" fmla="*/ 177800 h 238125"/>
                <a:gd name="connsiteX25" fmla="*/ 28575 w 717550"/>
                <a:gd name="connsiteY25" fmla="*/ 152400 h 238125"/>
                <a:gd name="connsiteX26" fmla="*/ 47625 w 717550"/>
                <a:gd name="connsiteY26" fmla="*/ 130175 h 238125"/>
                <a:gd name="connsiteX27" fmla="*/ 69850 w 717550"/>
                <a:gd name="connsiteY27" fmla="*/ 111125 h 238125"/>
                <a:gd name="connsiteX28" fmla="*/ 98425 w 717550"/>
                <a:gd name="connsiteY28" fmla="*/ 98425 h 238125"/>
                <a:gd name="connsiteX29" fmla="*/ 127000 w 717550"/>
                <a:gd name="connsiteY29" fmla="*/ 88900 h 238125"/>
                <a:gd name="connsiteX30" fmla="*/ 155575 w 717550"/>
                <a:gd name="connsiteY30" fmla="*/ 85725 h 238125"/>
                <a:gd name="connsiteX31" fmla="*/ 212725 w 717550"/>
                <a:gd name="connsiteY31" fmla="*/ 85725 h 238125"/>
                <a:gd name="connsiteX32" fmla="*/ 244475 w 717550"/>
                <a:gd name="connsiteY32" fmla="*/ 88900 h 238125"/>
                <a:gd name="connsiteX33" fmla="*/ 246239 w 717550"/>
                <a:gd name="connsiteY33" fmla="*/ 89488 h 238125"/>
                <a:gd name="connsiteX34" fmla="*/ 260350 w 717550"/>
                <a:gd name="connsiteY34" fmla="*/ 73025 h 238125"/>
                <a:gd name="connsiteX35" fmla="*/ 285750 w 717550"/>
                <a:gd name="connsiteY35" fmla="*/ 53975 h 238125"/>
                <a:gd name="connsiteX36" fmla="*/ 314325 w 717550"/>
                <a:gd name="connsiteY36" fmla="*/ 34925 h 238125"/>
                <a:gd name="connsiteX37" fmla="*/ 342900 w 717550"/>
                <a:gd name="connsiteY37" fmla="*/ 22225 h 238125"/>
                <a:gd name="connsiteX38" fmla="*/ 374650 w 717550"/>
                <a:gd name="connsiteY38" fmla="*/ 9525 h 238125"/>
                <a:gd name="connsiteX39" fmla="*/ 406400 w 717550"/>
                <a:gd name="connsiteY39" fmla="*/ 3175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717550" h="238125">
                  <a:moveTo>
                    <a:pt x="431800" y="0"/>
                  </a:moveTo>
                  <a:lnTo>
                    <a:pt x="476250" y="0"/>
                  </a:lnTo>
                  <a:lnTo>
                    <a:pt x="501650" y="3175"/>
                  </a:lnTo>
                  <a:lnTo>
                    <a:pt x="527050" y="6350"/>
                  </a:lnTo>
                  <a:lnTo>
                    <a:pt x="549275" y="12700"/>
                  </a:lnTo>
                  <a:lnTo>
                    <a:pt x="571500" y="19050"/>
                  </a:lnTo>
                  <a:lnTo>
                    <a:pt x="590550" y="28575"/>
                  </a:lnTo>
                  <a:lnTo>
                    <a:pt x="609600" y="41275"/>
                  </a:lnTo>
                  <a:lnTo>
                    <a:pt x="628650" y="57150"/>
                  </a:lnTo>
                  <a:lnTo>
                    <a:pt x="647700" y="69850"/>
                  </a:lnTo>
                  <a:lnTo>
                    <a:pt x="660400" y="88900"/>
                  </a:lnTo>
                  <a:lnTo>
                    <a:pt x="676275" y="104775"/>
                  </a:lnTo>
                  <a:lnTo>
                    <a:pt x="685800" y="127000"/>
                  </a:lnTo>
                  <a:lnTo>
                    <a:pt x="698500" y="146050"/>
                  </a:lnTo>
                  <a:lnTo>
                    <a:pt x="704850" y="168275"/>
                  </a:lnTo>
                  <a:lnTo>
                    <a:pt x="711200" y="190500"/>
                  </a:lnTo>
                  <a:lnTo>
                    <a:pt x="714375" y="215900"/>
                  </a:lnTo>
                  <a:lnTo>
                    <a:pt x="717550" y="238125"/>
                  </a:lnTo>
                  <a:lnTo>
                    <a:pt x="365125" y="238125"/>
                  </a:lnTo>
                  <a:lnTo>
                    <a:pt x="193675" y="238125"/>
                  </a:lnTo>
                  <a:lnTo>
                    <a:pt x="3175" y="238125"/>
                  </a:lnTo>
                  <a:lnTo>
                    <a:pt x="0" y="238125"/>
                  </a:lnTo>
                  <a:lnTo>
                    <a:pt x="3347" y="236405"/>
                  </a:lnTo>
                  <a:lnTo>
                    <a:pt x="6350" y="206375"/>
                  </a:lnTo>
                  <a:lnTo>
                    <a:pt x="15875" y="177800"/>
                  </a:lnTo>
                  <a:lnTo>
                    <a:pt x="28575" y="152400"/>
                  </a:lnTo>
                  <a:lnTo>
                    <a:pt x="47625" y="130175"/>
                  </a:lnTo>
                  <a:lnTo>
                    <a:pt x="69850" y="111125"/>
                  </a:lnTo>
                  <a:lnTo>
                    <a:pt x="98425" y="98425"/>
                  </a:lnTo>
                  <a:lnTo>
                    <a:pt x="127000" y="88900"/>
                  </a:lnTo>
                  <a:lnTo>
                    <a:pt x="155575" y="85725"/>
                  </a:lnTo>
                  <a:lnTo>
                    <a:pt x="212725" y="85725"/>
                  </a:lnTo>
                  <a:lnTo>
                    <a:pt x="244475" y="88900"/>
                  </a:lnTo>
                  <a:lnTo>
                    <a:pt x="246239" y="89488"/>
                  </a:lnTo>
                  <a:lnTo>
                    <a:pt x="260350" y="73025"/>
                  </a:lnTo>
                  <a:lnTo>
                    <a:pt x="285750" y="53975"/>
                  </a:lnTo>
                  <a:lnTo>
                    <a:pt x="314325" y="34925"/>
                  </a:lnTo>
                  <a:lnTo>
                    <a:pt x="342900" y="22225"/>
                  </a:lnTo>
                  <a:lnTo>
                    <a:pt x="374650" y="9525"/>
                  </a:lnTo>
                  <a:lnTo>
                    <a:pt x="406400" y="3175"/>
                  </a:lnTo>
                  <a:close/>
                </a:path>
              </a:pathLst>
            </a:custGeom>
            <a:solidFill>
              <a:srgbClr val="764C24"/>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1" name="Freeform 2333">
              <a:extLst>
                <a:ext uri="{FF2B5EF4-FFF2-40B4-BE49-F238E27FC236}">
                  <a16:creationId xmlns:a16="http://schemas.microsoft.com/office/drawing/2014/main" id="{555E3D07-1B98-42A9-AF94-7DD60F5972FD}"/>
                </a:ext>
              </a:extLst>
            </p:cNvPr>
            <p:cNvSpPr>
              <a:spLocks/>
            </p:cNvSpPr>
            <p:nvPr/>
          </p:nvSpPr>
          <p:spPr bwMode="auto">
            <a:xfrm>
              <a:off x="6970627" y="6118511"/>
              <a:ext cx="807581" cy="268003"/>
            </a:xfrm>
            <a:custGeom>
              <a:avLst/>
              <a:gdLst>
                <a:gd name="T0" fmla="*/ 144 w 452"/>
                <a:gd name="T1" fmla="*/ 76 h 150"/>
                <a:gd name="T2" fmla="*/ 144 w 452"/>
                <a:gd name="T3" fmla="*/ 76 h 150"/>
                <a:gd name="T4" fmla="*/ 152 w 452"/>
                <a:gd name="T5" fmla="*/ 60 h 150"/>
                <a:gd name="T6" fmla="*/ 164 w 452"/>
                <a:gd name="T7" fmla="*/ 46 h 150"/>
                <a:gd name="T8" fmla="*/ 180 w 452"/>
                <a:gd name="T9" fmla="*/ 34 h 150"/>
                <a:gd name="T10" fmla="*/ 198 w 452"/>
                <a:gd name="T11" fmla="*/ 22 h 150"/>
                <a:gd name="T12" fmla="*/ 216 w 452"/>
                <a:gd name="T13" fmla="*/ 14 h 150"/>
                <a:gd name="T14" fmla="*/ 236 w 452"/>
                <a:gd name="T15" fmla="*/ 6 h 150"/>
                <a:gd name="T16" fmla="*/ 256 w 452"/>
                <a:gd name="T17" fmla="*/ 2 h 150"/>
                <a:gd name="T18" fmla="*/ 272 w 452"/>
                <a:gd name="T19" fmla="*/ 0 h 150"/>
                <a:gd name="T20" fmla="*/ 300 w 452"/>
                <a:gd name="T21" fmla="*/ 0 h 150"/>
                <a:gd name="T22" fmla="*/ 300 w 452"/>
                <a:gd name="T23" fmla="*/ 0 h 150"/>
                <a:gd name="T24" fmla="*/ 316 w 452"/>
                <a:gd name="T25" fmla="*/ 2 h 150"/>
                <a:gd name="T26" fmla="*/ 332 w 452"/>
                <a:gd name="T27" fmla="*/ 4 h 150"/>
                <a:gd name="T28" fmla="*/ 346 w 452"/>
                <a:gd name="T29" fmla="*/ 8 h 150"/>
                <a:gd name="T30" fmla="*/ 360 w 452"/>
                <a:gd name="T31" fmla="*/ 12 h 150"/>
                <a:gd name="T32" fmla="*/ 372 w 452"/>
                <a:gd name="T33" fmla="*/ 18 h 150"/>
                <a:gd name="T34" fmla="*/ 384 w 452"/>
                <a:gd name="T35" fmla="*/ 26 h 150"/>
                <a:gd name="T36" fmla="*/ 396 w 452"/>
                <a:gd name="T37" fmla="*/ 36 h 150"/>
                <a:gd name="T38" fmla="*/ 408 w 452"/>
                <a:gd name="T39" fmla="*/ 44 h 150"/>
                <a:gd name="T40" fmla="*/ 416 w 452"/>
                <a:gd name="T41" fmla="*/ 56 h 150"/>
                <a:gd name="T42" fmla="*/ 426 w 452"/>
                <a:gd name="T43" fmla="*/ 66 h 150"/>
                <a:gd name="T44" fmla="*/ 432 w 452"/>
                <a:gd name="T45" fmla="*/ 80 h 150"/>
                <a:gd name="T46" fmla="*/ 440 w 452"/>
                <a:gd name="T47" fmla="*/ 92 h 150"/>
                <a:gd name="T48" fmla="*/ 444 w 452"/>
                <a:gd name="T49" fmla="*/ 106 h 150"/>
                <a:gd name="T50" fmla="*/ 448 w 452"/>
                <a:gd name="T51" fmla="*/ 120 h 150"/>
                <a:gd name="T52" fmla="*/ 450 w 452"/>
                <a:gd name="T53" fmla="*/ 136 h 150"/>
                <a:gd name="T54" fmla="*/ 452 w 452"/>
                <a:gd name="T55" fmla="*/ 150 h 150"/>
                <a:gd name="T56" fmla="*/ 452 w 452"/>
                <a:gd name="T57" fmla="*/ 150 h 150"/>
                <a:gd name="T58" fmla="*/ 122 w 452"/>
                <a:gd name="T59" fmla="*/ 150 h 150"/>
                <a:gd name="T60" fmla="*/ 0 w 452"/>
                <a:gd name="T61" fmla="*/ 15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52" h="150">
                  <a:moveTo>
                    <a:pt x="144" y="76"/>
                  </a:moveTo>
                  <a:lnTo>
                    <a:pt x="144" y="76"/>
                  </a:lnTo>
                  <a:lnTo>
                    <a:pt x="152" y="60"/>
                  </a:lnTo>
                  <a:lnTo>
                    <a:pt x="164" y="46"/>
                  </a:lnTo>
                  <a:lnTo>
                    <a:pt x="180" y="34"/>
                  </a:lnTo>
                  <a:lnTo>
                    <a:pt x="198" y="22"/>
                  </a:lnTo>
                  <a:lnTo>
                    <a:pt x="216" y="14"/>
                  </a:lnTo>
                  <a:lnTo>
                    <a:pt x="236" y="6"/>
                  </a:lnTo>
                  <a:lnTo>
                    <a:pt x="256" y="2"/>
                  </a:lnTo>
                  <a:lnTo>
                    <a:pt x="272" y="0"/>
                  </a:lnTo>
                  <a:lnTo>
                    <a:pt x="300" y="0"/>
                  </a:lnTo>
                  <a:lnTo>
                    <a:pt x="300" y="0"/>
                  </a:lnTo>
                  <a:lnTo>
                    <a:pt x="316" y="2"/>
                  </a:lnTo>
                  <a:lnTo>
                    <a:pt x="332" y="4"/>
                  </a:lnTo>
                  <a:lnTo>
                    <a:pt x="346" y="8"/>
                  </a:lnTo>
                  <a:lnTo>
                    <a:pt x="360" y="12"/>
                  </a:lnTo>
                  <a:lnTo>
                    <a:pt x="372" y="18"/>
                  </a:lnTo>
                  <a:lnTo>
                    <a:pt x="384" y="26"/>
                  </a:lnTo>
                  <a:lnTo>
                    <a:pt x="396" y="36"/>
                  </a:lnTo>
                  <a:lnTo>
                    <a:pt x="408" y="44"/>
                  </a:lnTo>
                  <a:lnTo>
                    <a:pt x="416" y="56"/>
                  </a:lnTo>
                  <a:lnTo>
                    <a:pt x="426" y="66"/>
                  </a:lnTo>
                  <a:lnTo>
                    <a:pt x="432" y="80"/>
                  </a:lnTo>
                  <a:lnTo>
                    <a:pt x="440" y="92"/>
                  </a:lnTo>
                  <a:lnTo>
                    <a:pt x="444" y="106"/>
                  </a:lnTo>
                  <a:lnTo>
                    <a:pt x="448" y="120"/>
                  </a:lnTo>
                  <a:lnTo>
                    <a:pt x="450" y="136"/>
                  </a:lnTo>
                  <a:lnTo>
                    <a:pt x="452" y="150"/>
                  </a:lnTo>
                  <a:lnTo>
                    <a:pt x="452" y="150"/>
                  </a:lnTo>
                  <a:lnTo>
                    <a:pt x="122" y="150"/>
                  </a:lnTo>
                  <a:lnTo>
                    <a:pt x="0" y="15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2" name="Freeform 2335">
              <a:extLst>
                <a:ext uri="{FF2B5EF4-FFF2-40B4-BE49-F238E27FC236}">
                  <a16:creationId xmlns:a16="http://schemas.microsoft.com/office/drawing/2014/main" id="{8E57C012-7031-4BDF-9424-AC8A7668327C}"/>
                </a:ext>
              </a:extLst>
            </p:cNvPr>
            <p:cNvSpPr>
              <a:spLocks/>
            </p:cNvSpPr>
            <p:nvPr/>
          </p:nvSpPr>
          <p:spPr bwMode="auto">
            <a:xfrm>
              <a:off x="7347617" y="5510651"/>
              <a:ext cx="225122" cy="293016"/>
            </a:xfrm>
            <a:custGeom>
              <a:avLst/>
              <a:gdLst>
                <a:gd name="T0" fmla="*/ 4 w 126"/>
                <a:gd name="T1" fmla="*/ 164 h 164"/>
                <a:gd name="T2" fmla="*/ 4 w 126"/>
                <a:gd name="T3" fmla="*/ 164 h 164"/>
                <a:gd name="T4" fmla="*/ 18 w 126"/>
                <a:gd name="T5" fmla="*/ 140 h 164"/>
                <a:gd name="T6" fmla="*/ 32 w 126"/>
                <a:gd name="T7" fmla="*/ 118 h 164"/>
                <a:gd name="T8" fmla="*/ 66 w 126"/>
                <a:gd name="T9" fmla="*/ 74 h 164"/>
                <a:gd name="T10" fmla="*/ 98 w 126"/>
                <a:gd name="T11" fmla="*/ 36 h 164"/>
                <a:gd name="T12" fmla="*/ 124 w 126"/>
                <a:gd name="T13" fmla="*/ 8 h 164"/>
                <a:gd name="T14" fmla="*/ 124 w 126"/>
                <a:gd name="T15" fmla="*/ 8 h 164"/>
                <a:gd name="T16" fmla="*/ 126 w 126"/>
                <a:gd name="T17" fmla="*/ 4 h 164"/>
                <a:gd name="T18" fmla="*/ 124 w 126"/>
                <a:gd name="T19" fmla="*/ 2 h 164"/>
                <a:gd name="T20" fmla="*/ 122 w 126"/>
                <a:gd name="T21" fmla="*/ 0 h 164"/>
                <a:gd name="T22" fmla="*/ 118 w 126"/>
                <a:gd name="T23" fmla="*/ 0 h 164"/>
                <a:gd name="T24" fmla="*/ 118 w 126"/>
                <a:gd name="T25" fmla="*/ 0 h 164"/>
                <a:gd name="T26" fmla="*/ 90 w 126"/>
                <a:gd name="T27" fmla="*/ 18 h 164"/>
                <a:gd name="T28" fmla="*/ 56 w 126"/>
                <a:gd name="T29" fmla="*/ 40 h 164"/>
                <a:gd name="T30" fmla="*/ 40 w 126"/>
                <a:gd name="T31" fmla="*/ 54 h 164"/>
                <a:gd name="T32" fmla="*/ 24 w 126"/>
                <a:gd name="T33" fmla="*/ 68 h 164"/>
                <a:gd name="T34" fmla="*/ 12 w 126"/>
                <a:gd name="T35" fmla="*/ 82 h 164"/>
                <a:gd name="T36" fmla="*/ 0 w 126"/>
                <a:gd name="T37" fmla="*/ 96 h 164"/>
                <a:gd name="T38" fmla="*/ 4 w 126"/>
                <a:gd name="T39" fmla="*/ 164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6" h="164">
                  <a:moveTo>
                    <a:pt x="4" y="164"/>
                  </a:moveTo>
                  <a:lnTo>
                    <a:pt x="4" y="164"/>
                  </a:lnTo>
                  <a:lnTo>
                    <a:pt x="18" y="140"/>
                  </a:lnTo>
                  <a:lnTo>
                    <a:pt x="32" y="118"/>
                  </a:lnTo>
                  <a:lnTo>
                    <a:pt x="66" y="74"/>
                  </a:lnTo>
                  <a:lnTo>
                    <a:pt x="98" y="36"/>
                  </a:lnTo>
                  <a:lnTo>
                    <a:pt x="124" y="8"/>
                  </a:lnTo>
                  <a:lnTo>
                    <a:pt x="124" y="8"/>
                  </a:lnTo>
                  <a:lnTo>
                    <a:pt x="126" y="4"/>
                  </a:lnTo>
                  <a:lnTo>
                    <a:pt x="124" y="2"/>
                  </a:lnTo>
                  <a:lnTo>
                    <a:pt x="122" y="0"/>
                  </a:lnTo>
                  <a:lnTo>
                    <a:pt x="118" y="0"/>
                  </a:lnTo>
                  <a:lnTo>
                    <a:pt x="118" y="0"/>
                  </a:lnTo>
                  <a:lnTo>
                    <a:pt x="90" y="18"/>
                  </a:lnTo>
                  <a:lnTo>
                    <a:pt x="56" y="40"/>
                  </a:lnTo>
                  <a:lnTo>
                    <a:pt x="40" y="54"/>
                  </a:lnTo>
                  <a:lnTo>
                    <a:pt x="24" y="68"/>
                  </a:lnTo>
                  <a:lnTo>
                    <a:pt x="12" y="82"/>
                  </a:lnTo>
                  <a:lnTo>
                    <a:pt x="0" y="96"/>
                  </a:lnTo>
                  <a:lnTo>
                    <a:pt x="4" y="164"/>
                  </a:lnTo>
                  <a:close/>
                </a:path>
              </a:pathLst>
            </a:custGeom>
            <a:solidFill>
              <a:srgbClr val="ADD15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3" name="Freeform 2336">
              <a:extLst>
                <a:ext uri="{FF2B5EF4-FFF2-40B4-BE49-F238E27FC236}">
                  <a16:creationId xmlns:a16="http://schemas.microsoft.com/office/drawing/2014/main" id="{CBEAED80-3FA5-4120-9566-5B7190DE57DD}"/>
                </a:ext>
              </a:extLst>
            </p:cNvPr>
            <p:cNvSpPr>
              <a:spLocks/>
            </p:cNvSpPr>
            <p:nvPr/>
          </p:nvSpPr>
          <p:spPr bwMode="auto">
            <a:xfrm>
              <a:off x="7324391" y="5532093"/>
              <a:ext cx="225122" cy="293016"/>
            </a:xfrm>
            <a:custGeom>
              <a:avLst/>
              <a:gdLst>
                <a:gd name="T0" fmla="*/ 4 w 126"/>
                <a:gd name="T1" fmla="*/ 164 h 164"/>
                <a:gd name="T2" fmla="*/ 4 w 126"/>
                <a:gd name="T3" fmla="*/ 164 h 164"/>
                <a:gd name="T4" fmla="*/ 18 w 126"/>
                <a:gd name="T5" fmla="*/ 140 h 164"/>
                <a:gd name="T6" fmla="*/ 32 w 126"/>
                <a:gd name="T7" fmla="*/ 118 h 164"/>
                <a:gd name="T8" fmla="*/ 66 w 126"/>
                <a:gd name="T9" fmla="*/ 74 h 164"/>
                <a:gd name="T10" fmla="*/ 98 w 126"/>
                <a:gd name="T11" fmla="*/ 36 h 164"/>
                <a:gd name="T12" fmla="*/ 124 w 126"/>
                <a:gd name="T13" fmla="*/ 8 h 164"/>
                <a:gd name="T14" fmla="*/ 124 w 126"/>
                <a:gd name="T15" fmla="*/ 8 h 164"/>
                <a:gd name="T16" fmla="*/ 126 w 126"/>
                <a:gd name="T17" fmla="*/ 4 h 164"/>
                <a:gd name="T18" fmla="*/ 124 w 126"/>
                <a:gd name="T19" fmla="*/ 2 h 164"/>
                <a:gd name="T20" fmla="*/ 122 w 126"/>
                <a:gd name="T21" fmla="*/ 0 h 164"/>
                <a:gd name="T22" fmla="*/ 118 w 126"/>
                <a:gd name="T23" fmla="*/ 0 h 164"/>
                <a:gd name="T24" fmla="*/ 118 w 126"/>
                <a:gd name="T25" fmla="*/ 0 h 164"/>
                <a:gd name="T26" fmla="*/ 90 w 126"/>
                <a:gd name="T27" fmla="*/ 18 h 164"/>
                <a:gd name="T28" fmla="*/ 56 w 126"/>
                <a:gd name="T29" fmla="*/ 40 h 164"/>
                <a:gd name="T30" fmla="*/ 40 w 126"/>
                <a:gd name="T31" fmla="*/ 54 h 164"/>
                <a:gd name="T32" fmla="*/ 24 w 126"/>
                <a:gd name="T33" fmla="*/ 68 h 164"/>
                <a:gd name="T34" fmla="*/ 12 w 126"/>
                <a:gd name="T35" fmla="*/ 82 h 164"/>
                <a:gd name="T36" fmla="*/ 0 w 126"/>
                <a:gd name="T37" fmla="*/ 96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6" h="164">
                  <a:moveTo>
                    <a:pt x="4" y="164"/>
                  </a:moveTo>
                  <a:lnTo>
                    <a:pt x="4" y="164"/>
                  </a:lnTo>
                  <a:lnTo>
                    <a:pt x="18" y="140"/>
                  </a:lnTo>
                  <a:lnTo>
                    <a:pt x="32" y="118"/>
                  </a:lnTo>
                  <a:lnTo>
                    <a:pt x="66" y="74"/>
                  </a:lnTo>
                  <a:lnTo>
                    <a:pt x="98" y="36"/>
                  </a:lnTo>
                  <a:lnTo>
                    <a:pt x="124" y="8"/>
                  </a:lnTo>
                  <a:lnTo>
                    <a:pt x="124" y="8"/>
                  </a:lnTo>
                  <a:lnTo>
                    <a:pt x="126" y="4"/>
                  </a:lnTo>
                  <a:lnTo>
                    <a:pt x="124" y="2"/>
                  </a:lnTo>
                  <a:lnTo>
                    <a:pt x="122" y="0"/>
                  </a:lnTo>
                  <a:lnTo>
                    <a:pt x="118" y="0"/>
                  </a:lnTo>
                  <a:lnTo>
                    <a:pt x="118" y="0"/>
                  </a:lnTo>
                  <a:lnTo>
                    <a:pt x="90" y="18"/>
                  </a:lnTo>
                  <a:lnTo>
                    <a:pt x="56" y="40"/>
                  </a:lnTo>
                  <a:lnTo>
                    <a:pt x="40" y="54"/>
                  </a:lnTo>
                  <a:lnTo>
                    <a:pt x="24" y="68"/>
                  </a:lnTo>
                  <a:lnTo>
                    <a:pt x="12" y="82"/>
                  </a:lnTo>
                  <a:lnTo>
                    <a:pt x="0" y="96"/>
                  </a:lnTo>
                </a:path>
              </a:pathLst>
            </a:custGeom>
            <a:solidFill>
              <a:srgbClr val="92D05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4" name="Freeform 2338">
              <a:extLst>
                <a:ext uri="{FF2B5EF4-FFF2-40B4-BE49-F238E27FC236}">
                  <a16:creationId xmlns:a16="http://schemas.microsoft.com/office/drawing/2014/main" id="{3133D292-EDA9-48F0-8392-98A12440A0A1}"/>
                </a:ext>
              </a:extLst>
            </p:cNvPr>
            <p:cNvSpPr>
              <a:spLocks/>
            </p:cNvSpPr>
            <p:nvPr/>
          </p:nvSpPr>
          <p:spPr bwMode="auto">
            <a:xfrm>
              <a:off x="7515565" y="5267661"/>
              <a:ext cx="335897" cy="300163"/>
            </a:xfrm>
            <a:custGeom>
              <a:avLst/>
              <a:gdLst>
                <a:gd name="T0" fmla="*/ 8 w 188"/>
                <a:gd name="T1" fmla="*/ 158 h 168"/>
                <a:gd name="T2" fmla="*/ 8 w 188"/>
                <a:gd name="T3" fmla="*/ 158 h 168"/>
                <a:gd name="T4" fmla="*/ 22 w 188"/>
                <a:gd name="T5" fmla="*/ 164 h 168"/>
                <a:gd name="T6" fmla="*/ 36 w 188"/>
                <a:gd name="T7" fmla="*/ 166 h 168"/>
                <a:gd name="T8" fmla="*/ 50 w 188"/>
                <a:gd name="T9" fmla="*/ 168 h 168"/>
                <a:gd name="T10" fmla="*/ 66 w 188"/>
                <a:gd name="T11" fmla="*/ 168 h 168"/>
                <a:gd name="T12" fmla="*/ 80 w 188"/>
                <a:gd name="T13" fmla="*/ 166 h 168"/>
                <a:gd name="T14" fmla="*/ 96 w 188"/>
                <a:gd name="T15" fmla="*/ 162 h 168"/>
                <a:gd name="T16" fmla="*/ 110 w 188"/>
                <a:gd name="T17" fmla="*/ 156 h 168"/>
                <a:gd name="T18" fmla="*/ 124 w 188"/>
                <a:gd name="T19" fmla="*/ 146 h 168"/>
                <a:gd name="T20" fmla="*/ 136 w 188"/>
                <a:gd name="T21" fmla="*/ 136 h 168"/>
                <a:gd name="T22" fmla="*/ 148 w 188"/>
                <a:gd name="T23" fmla="*/ 124 h 168"/>
                <a:gd name="T24" fmla="*/ 160 w 188"/>
                <a:gd name="T25" fmla="*/ 108 h 168"/>
                <a:gd name="T26" fmla="*/ 168 w 188"/>
                <a:gd name="T27" fmla="*/ 92 h 168"/>
                <a:gd name="T28" fmla="*/ 176 w 188"/>
                <a:gd name="T29" fmla="*/ 72 h 168"/>
                <a:gd name="T30" fmla="*/ 182 w 188"/>
                <a:gd name="T31" fmla="*/ 52 h 168"/>
                <a:gd name="T32" fmla="*/ 186 w 188"/>
                <a:gd name="T33" fmla="*/ 28 h 168"/>
                <a:gd name="T34" fmla="*/ 188 w 188"/>
                <a:gd name="T35" fmla="*/ 2 h 168"/>
                <a:gd name="T36" fmla="*/ 188 w 188"/>
                <a:gd name="T37" fmla="*/ 2 h 168"/>
                <a:gd name="T38" fmla="*/ 166 w 188"/>
                <a:gd name="T39" fmla="*/ 0 h 168"/>
                <a:gd name="T40" fmla="*/ 146 w 188"/>
                <a:gd name="T41" fmla="*/ 0 h 168"/>
                <a:gd name="T42" fmla="*/ 126 w 188"/>
                <a:gd name="T43" fmla="*/ 2 h 168"/>
                <a:gd name="T44" fmla="*/ 110 w 188"/>
                <a:gd name="T45" fmla="*/ 6 h 168"/>
                <a:gd name="T46" fmla="*/ 110 w 188"/>
                <a:gd name="T47" fmla="*/ 6 h 168"/>
                <a:gd name="T48" fmla="*/ 94 w 188"/>
                <a:gd name="T49" fmla="*/ 10 h 168"/>
                <a:gd name="T50" fmla="*/ 80 w 188"/>
                <a:gd name="T51" fmla="*/ 16 h 168"/>
                <a:gd name="T52" fmla="*/ 68 w 188"/>
                <a:gd name="T53" fmla="*/ 22 h 168"/>
                <a:gd name="T54" fmla="*/ 56 w 188"/>
                <a:gd name="T55" fmla="*/ 28 h 168"/>
                <a:gd name="T56" fmla="*/ 38 w 188"/>
                <a:gd name="T57" fmla="*/ 44 h 168"/>
                <a:gd name="T58" fmla="*/ 24 w 188"/>
                <a:gd name="T59" fmla="*/ 62 h 168"/>
                <a:gd name="T60" fmla="*/ 12 w 188"/>
                <a:gd name="T61" fmla="*/ 80 h 168"/>
                <a:gd name="T62" fmla="*/ 6 w 188"/>
                <a:gd name="T63" fmla="*/ 96 h 168"/>
                <a:gd name="T64" fmla="*/ 0 w 188"/>
                <a:gd name="T65" fmla="*/ 110 h 168"/>
                <a:gd name="T66" fmla="*/ 0 w 188"/>
                <a:gd name="T67" fmla="*/ 120 h 168"/>
                <a:gd name="T68" fmla="*/ 0 w 188"/>
                <a:gd name="T69" fmla="*/ 120 h 168"/>
                <a:gd name="T70" fmla="*/ 0 w 188"/>
                <a:gd name="T71" fmla="*/ 144 h 168"/>
                <a:gd name="T72" fmla="*/ 2 w 188"/>
                <a:gd name="T73" fmla="*/ 154 h 168"/>
                <a:gd name="T74" fmla="*/ 6 w 188"/>
                <a:gd name="T75" fmla="*/ 158 h 168"/>
                <a:gd name="T76" fmla="*/ 8 w 188"/>
                <a:gd name="T77" fmla="*/ 158 h 168"/>
                <a:gd name="T78" fmla="*/ 8 w 188"/>
                <a:gd name="T79" fmla="*/ 15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88" h="168">
                  <a:moveTo>
                    <a:pt x="8" y="158"/>
                  </a:moveTo>
                  <a:lnTo>
                    <a:pt x="8" y="158"/>
                  </a:lnTo>
                  <a:lnTo>
                    <a:pt x="22" y="164"/>
                  </a:lnTo>
                  <a:lnTo>
                    <a:pt x="36" y="166"/>
                  </a:lnTo>
                  <a:lnTo>
                    <a:pt x="50" y="168"/>
                  </a:lnTo>
                  <a:lnTo>
                    <a:pt x="66" y="168"/>
                  </a:lnTo>
                  <a:lnTo>
                    <a:pt x="80" y="166"/>
                  </a:lnTo>
                  <a:lnTo>
                    <a:pt x="96" y="162"/>
                  </a:lnTo>
                  <a:lnTo>
                    <a:pt x="110" y="156"/>
                  </a:lnTo>
                  <a:lnTo>
                    <a:pt x="124" y="146"/>
                  </a:lnTo>
                  <a:lnTo>
                    <a:pt x="136" y="136"/>
                  </a:lnTo>
                  <a:lnTo>
                    <a:pt x="148" y="124"/>
                  </a:lnTo>
                  <a:lnTo>
                    <a:pt x="160" y="108"/>
                  </a:lnTo>
                  <a:lnTo>
                    <a:pt x="168" y="92"/>
                  </a:lnTo>
                  <a:lnTo>
                    <a:pt x="176" y="72"/>
                  </a:lnTo>
                  <a:lnTo>
                    <a:pt x="182" y="52"/>
                  </a:lnTo>
                  <a:lnTo>
                    <a:pt x="186" y="28"/>
                  </a:lnTo>
                  <a:lnTo>
                    <a:pt x="188" y="2"/>
                  </a:lnTo>
                  <a:lnTo>
                    <a:pt x="188" y="2"/>
                  </a:lnTo>
                  <a:lnTo>
                    <a:pt x="166" y="0"/>
                  </a:lnTo>
                  <a:lnTo>
                    <a:pt x="146" y="0"/>
                  </a:lnTo>
                  <a:lnTo>
                    <a:pt x="126" y="2"/>
                  </a:lnTo>
                  <a:lnTo>
                    <a:pt x="110" y="6"/>
                  </a:lnTo>
                  <a:lnTo>
                    <a:pt x="110" y="6"/>
                  </a:lnTo>
                  <a:lnTo>
                    <a:pt x="94" y="10"/>
                  </a:lnTo>
                  <a:lnTo>
                    <a:pt x="80" y="16"/>
                  </a:lnTo>
                  <a:lnTo>
                    <a:pt x="68" y="22"/>
                  </a:lnTo>
                  <a:lnTo>
                    <a:pt x="56" y="28"/>
                  </a:lnTo>
                  <a:lnTo>
                    <a:pt x="38" y="44"/>
                  </a:lnTo>
                  <a:lnTo>
                    <a:pt x="24" y="62"/>
                  </a:lnTo>
                  <a:lnTo>
                    <a:pt x="12" y="80"/>
                  </a:lnTo>
                  <a:lnTo>
                    <a:pt x="6" y="96"/>
                  </a:lnTo>
                  <a:lnTo>
                    <a:pt x="0" y="110"/>
                  </a:lnTo>
                  <a:lnTo>
                    <a:pt x="0" y="120"/>
                  </a:lnTo>
                  <a:lnTo>
                    <a:pt x="0" y="120"/>
                  </a:lnTo>
                  <a:lnTo>
                    <a:pt x="0" y="144"/>
                  </a:lnTo>
                  <a:lnTo>
                    <a:pt x="2" y="154"/>
                  </a:lnTo>
                  <a:lnTo>
                    <a:pt x="6" y="158"/>
                  </a:lnTo>
                  <a:lnTo>
                    <a:pt x="8" y="158"/>
                  </a:lnTo>
                  <a:lnTo>
                    <a:pt x="8" y="158"/>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nvGrpSpPr>
            <p:cNvPr id="25" name="Group 25">
              <a:extLst>
                <a:ext uri="{FF2B5EF4-FFF2-40B4-BE49-F238E27FC236}">
                  <a16:creationId xmlns:a16="http://schemas.microsoft.com/office/drawing/2014/main" id="{D880DF80-E18B-41C0-87B3-B0EE8DFCB943}"/>
                </a:ext>
              </a:extLst>
            </p:cNvPr>
            <p:cNvGrpSpPr/>
            <p:nvPr/>
          </p:nvGrpSpPr>
          <p:grpSpPr>
            <a:xfrm>
              <a:off x="6545396" y="4633777"/>
              <a:ext cx="407365" cy="378778"/>
              <a:chOff x="6545396" y="4633777"/>
              <a:chExt cx="407365" cy="378778"/>
            </a:xfrm>
          </p:grpSpPr>
          <p:sp>
            <p:nvSpPr>
              <p:cNvPr id="35" name="Freeform 2346">
                <a:extLst>
                  <a:ext uri="{FF2B5EF4-FFF2-40B4-BE49-F238E27FC236}">
                    <a16:creationId xmlns:a16="http://schemas.microsoft.com/office/drawing/2014/main" id="{17983C43-9AF2-4983-BCDD-AE4503C7DB5B}"/>
                  </a:ext>
                </a:extLst>
              </p:cNvPr>
              <p:cNvSpPr>
                <a:spLocks/>
              </p:cNvSpPr>
              <p:nvPr/>
            </p:nvSpPr>
            <p:spPr bwMode="auto">
              <a:xfrm>
                <a:off x="6545396" y="4715965"/>
                <a:ext cx="396644" cy="296590"/>
              </a:xfrm>
              <a:custGeom>
                <a:avLst/>
                <a:gdLst>
                  <a:gd name="T0" fmla="*/ 222 w 222"/>
                  <a:gd name="T1" fmla="*/ 84 h 166"/>
                  <a:gd name="T2" fmla="*/ 206 w 222"/>
                  <a:gd name="T3" fmla="*/ 124 h 166"/>
                  <a:gd name="T4" fmla="*/ 206 w 222"/>
                  <a:gd name="T5" fmla="*/ 124 h 166"/>
                  <a:gd name="T6" fmla="*/ 198 w 222"/>
                  <a:gd name="T7" fmla="*/ 138 h 166"/>
                  <a:gd name="T8" fmla="*/ 186 w 222"/>
                  <a:gd name="T9" fmla="*/ 150 h 166"/>
                  <a:gd name="T10" fmla="*/ 172 w 222"/>
                  <a:gd name="T11" fmla="*/ 158 h 166"/>
                  <a:gd name="T12" fmla="*/ 156 w 222"/>
                  <a:gd name="T13" fmla="*/ 164 h 166"/>
                  <a:gd name="T14" fmla="*/ 136 w 222"/>
                  <a:gd name="T15" fmla="*/ 166 h 166"/>
                  <a:gd name="T16" fmla="*/ 116 w 222"/>
                  <a:gd name="T17" fmla="*/ 166 h 166"/>
                  <a:gd name="T18" fmla="*/ 96 w 222"/>
                  <a:gd name="T19" fmla="*/ 162 h 166"/>
                  <a:gd name="T20" fmla="*/ 76 w 222"/>
                  <a:gd name="T21" fmla="*/ 154 h 166"/>
                  <a:gd name="T22" fmla="*/ 76 w 222"/>
                  <a:gd name="T23" fmla="*/ 154 h 166"/>
                  <a:gd name="T24" fmla="*/ 56 w 222"/>
                  <a:gd name="T25" fmla="*/ 144 h 166"/>
                  <a:gd name="T26" fmla="*/ 38 w 222"/>
                  <a:gd name="T27" fmla="*/ 132 h 166"/>
                  <a:gd name="T28" fmla="*/ 24 w 222"/>
                  <a:gd name="T29" fmla="*/ 118 h 166"/>
                  <a:gd name="T30" fmla="*/ 12 w 222"/>
                  <a:gd name="T31" fmla="*/ 104 h 166"/>
                  <a:gd name="T32" fmla="*/ 4 w 222"/>
                  <a:gd name="T33" fmla="*/ 88 h 166"/>
                  <a:gd name="T34" fmla="*/ 0 w 222"/>
                  <a:gd name="T35" fmla="*/ 72 h 166"/>
                  <a:gd name="T36" fmla="*/ 0 w 222"/>
                  <a:gd name="T37" fmla="*/ 54 h 166"/>
                  <a:gd name="T38" fmla="*/ 4 w 222"/>
                  <a:gd name="T39" fmla="*/ 40 h 166"/>
                  <a:gd name="T40" fmla="*/ 20 w 222"/>
                  <a:gd name="T41" fmla="*/ 0 h 166"/>
                  <a:gd name="T42" fmla="*/ 222 w 222"/>
                  <a:gd name="T43" fmla="*/ 84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2" h="166">
                    <a:moveTo>
                      <a:pt x="222" y="84"/>
                    </a:moveTo>
                    <a:lnTo>
                      <a:pt x="206" y="124"/>
                    </a:lnTo>
                    <a:lnTo>
                      <a:pt x="206" y="124"/>
                    </a:lnTo>
                    <a:lnTo>
                      <a:pt x="198" y="138"/>
                    </a:lnTo>
                    <a:lnTo>
                      <a:pt x="186" y="150"/>
                    </a:lnTo>
                    <a:lnTo>
                      <a:pt x="172" y="158"/>
                    </a:lnTo>
                    <a:lnTo>
                      <a:pt x="156" y="164"/>
                    </a:lnTo>
                    <a:lnTo>
                      <a:pt x="136" y="166"/>
                    </a:lnTo>
                    <a:lnTo>
                      <a:pt x="116" y="166"/>
                    </a:lnTo>
                    <a:lnTo>
                      <a:pt x="96" y="162"/>
                    </a:lnTo>
                    <a:lnTo>
                      <a:pt x="76" y="154"/>
                    </a:lnTo>
                    <a:lnTo>
                      <a:pt x="76" y="154"/>
                    </a:lnTo>
                    <a:lnTo>
                      <a:pt x="56" y="144"/>
                    </a:lnTo>
                    <a:lnTo>
                      <a:pt x="38" y="132"/>
                    </a:lnTo>
                    <a:lnTo>
                      <a:pt x="24" y="118"/>
                    </a:lnTo>
                    <a:lnTo>
                      <a:pt x="12" y="104"/>
                    </a:lnTo>
                    <a:lnTo>
                      <a:pt x="4" y="88"/>
                    </a:lnTo>
                    <a:lnTo>
                      <a:pt x="0" y="72"/>
                    </a:lnTo>
                    <a:lnTo>
                      <a:pt x="0" y="54"/>
                    </a:lnTo>
                    <a:lnTo>
                      <a:pt x="4" y="40"/>
                    </a:lnTo>
                    <a:lnTo>
                      <a:pt x="20" y="0"/>
                    </a:lnTo>
                    <a:lnTo>
                      <a:pt x="222" y="84"/>
                    </a:lnTo>
                    <a:close/>
                  </a:path>
                </a:pathLst>
              </a:custGeom>
              <a:solidFill>
                <a:srgbClr val="FF9F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6" name="Freeform 2348">
                <a:extLst>
                  <a:ext uri="{FF2B5EF4-FFF2-40B4-BE49-F238E27FC236}">
                    <a16:creationId xmlns:a16="http://schemas.microsoft.com/office/drawing/2014/main" id="{013E2B85-5104-4C37-BD7E-EFC22895D7E8}"/>
                  </a:ext>
                </a:extLst>
              </p:cNvPr>
              <p:cNvSpPr>
                <a:spLocks/>
              </p:cNvSpPr>
              <p:nvPr/>
            </p:nvSpPr>
            <p:spPr bwMode="auto">
              <a:xfrm>
                <a:off x="6577557" y="4633777"/>
                <a:ext cx="375204" cy="300163"/>
              </a:xfrm>
              <a:custGeom>
                <a:avLst/>
                <a:gdLst>
                  <a:gd name="T0" fmla="*/ 4 w 210"/>
                  <a:gd name="T1" fmla="*/ 42 h 168"/>
                  <a:gd name="T2" fmla="*/ 4 w 210"/>
                  <a:gd name="T3" fmla="*/ 42 h 168"/>
                  <a:gd name="T4" fmla="*/ 0 w 210"/>
                  <a:gd name="T5" fmla="*/ 56 h 168"/>
                  <a:gd name="T6" fmla="*/ 0 w 210"/>
                  <a:gd name="T7" fmla="*/ 72 h 168"/>
                  <a:gd name="T8" fmla="*/ 4 w 210"/>
                  <a:gd name="T9" fmla="*/ 88 h 168"/>
                  <a:gd name="T10" fmla="*/ 12 w 210"/>
                  <a:gd name="T11" fmla="*/ 104 h 168"/>
                  <a:gd name="T12" fmla="*/ 24 w 210"/>
                  <a:gd name="T13" fmla="*/ 120 h 168"/>
                  <a:gd name="T14" fmla="*/ 38 w 210"/>
                  <a:gd name="T15" fmla="*/ 134 h 168"/>
                  <a:gd name="T16" fmla="*/ 56 w 210"/>
                  <a:gd name="T17" fmla="*/ 146 h 168"/>
                  <a:gd name="T18" fmla="*/ 76 w 210"/>
                  <a:gd name="T19" fmla="*/ 156 h 168"/>
                  <a:gd name="T20" fmla="*/ 76 w 210"/>
                  <a:gd name="T21" fmla="*/ 156 h 168"/>
                  <a:gd name="T22" fmla="*/ 96 w 210"/>
                  <a:gd name="T23" fmla="*/ 164 h 168"/>
                  <a:gd name="T24" fmla="*/ 118 w 210"/>
                  <a:gd name="T25" fmla="*/ 168 h 168"/>
                  <a:gd name="T26" fmla="*/ 138 w 210"/>
                  <a:gd name="T27" fmla="*/ 168 h 168"/>
                  <a:gd name="T28" fmla="*/ 156 w 210"/>
                  <a:gd name="T29" fmla="*/ 166 h 168"/>
                  <a:gd name="T30" fmla="*/ 172 w 210"/>
                  <a:gd name="T31" fmla="*/ 160 h 168"/>
                  <a:gd name="T32" fmla="*/ 186 w 210"/>
                  <a:gd name="T33" fmla="*/ 152 h 168"/>
                  <a:gd name="T34" fmla="*/ 198 w 210"/>
                  <a:gd name="T35" fmla="*/ 140 h 168"/>
                  <a:gd name="T36" fmla="*/ 206 w 210"/>
                  <a:gd name="T37" fmla="*/ 126 h 168"/>
                  <a:gd name="T38" fmla="*/ 206 w 210"/>
                  <a:gd name="T39" fmla="*/ 126 h 168"/>
                  <a:gd name="T40" fmla="*/ 210 w 210"/>
                  <a:gd name="T41" fmla="*/ 110 h 168"/>
                  <a:gd name="T42" fmla="*/ 210 w 210"/>
                  <a:gd name="T43" fmla="*/ 94 h 168"/>
                  <a:gd name="T44" fmla="*/ 206 w 210"/>
                  <a:gd name="T45" fmla="*/ 78 h 168"/>
                  <a:gd name="T46" fmla="*/ 198 w 210"/>
                  <a:gd name="T47" fmla="*/ 62 h 168"/>
                  <a:gd name="T48" fmla="*/ 186 w 210"/>
                  <a:gd name="T49" fmla="*/ 48 h 168"/>
                  <a:gd name="T50" fmla="*/ 172 w 210"/>
                  <a:gd name="T51" fmla="*/ 34 h 168"/>
                  <a:gd name="T52" fmla="*/ 156 w 210"/>
                  <a:gd name="T53" fmla="*/ 22 h 168"/>
                  <a:gd name="T54" fmla="*/ 136 w 210"/>
                  <a:gd name="T55" fmla="*/ 12 h 168"/>
                  <a:gd name="T56" fmla="*/ 136 w 210"/>
                  <a:gd name="T57" fmla="*/ 12 h 168"/>
                  <a:gd name="T58" fmla="*/ 114 w 210"/>
                  <a:gd name="T59" fmla="*/ 4 h 168"/>
                  <a:gd name="T60" fmla="*/ 94 w 210"/>
                  <a:gd name="T61" fmla="*/ 0 h 168"/>
                  <a:gd name="T62" fmla="*/ 74 w 210"/>
                  <a:gd name="T63" fmla="*/ 0 h 168"/>
                  <a:gd name="T64" fmla="*/ 56 w 210"/>
                  <a:gd name="T65" fmla="*/ 2 h 168"/>
                  <a:gd name="T66" fmla="*/ 38 w 210"/>
                  <a:gd name="T67" fmla="*/ 8 h 168"/>
                  <a:gd name="T68" fmla="*/ 24 w 210"/>
                  <a:gd name="T69" fmla="*/ 16 h 168"/>
                  <a:gd name="T70" fmla="*/ 12 w 210"/>
                  <a:gd name="T71" fmla="*/ 28 h 168"/>
                  <a:gd name="T72" fmla="*/ 4 w 210"/>
                  <a:gd name="T73" fmla="*/ 42 h 168"/>
                  <a:gd name="T74" fmla="*/ 4 w 210"/>
                  <a:gd name="T75" fmla="*/ 42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10" h="168">
                    <a:moveTo>
                      <a:pt x="4" y="42"/>
                    </a:moveTo>
                    <a:lnTo>
                      <a:pt x="4" y="42"/>
                    </a:lnTo>
                    <a:lnTo>
                      <a:pt x="0" y="56"/>
                    </a:lnTo>
                    <a:lnTo>
                      <a:pt x="0" y="72"/>
                    </a:lnTo>
                    <a:lnTo>
                      <a:pt x="4" y="88"/>
                    </a:lnTo>
                    <a:lnTo>
                      <a:pt x="12" y="104"/>
                    </a:lnTo>
                    <a:lnTo>
                      <a:pt x="24" y="120"/>
                    </a:lnTo>
                    <a:lnTo>
                      <a:pt x="38" y="134"/>
                    </a:lnTo>
                    <a:lnTo>
                      <a:pt x="56" y="146"/>
                    </a:lnTo>
                    <a:lnTo>
                      <a:pt x="76" y="156"/>
                    </a:lnTo>
                    <a:lnTo>
                      <a:pt x="76" y="156"/>
                    </a:lnTo>
                    <a:lnTo>
                      <a:pt x="96" y="164"/>
                    </a:lnTo>
                    <a:lnTo>
                      <a:pt x="118" y="168"/>
                    </a:lnTo>
                    <a:lnTo>
                      <a:pt x="138" y="168"/>
                    </a:lnTo>
                    <a:lnTo>
                      <a:pt x="156" y="166"/>
                    </a:lnTo>
                    <a:lnTo>
                      <a:pt x="172" y="160"/>
                    </a:lnTo>
                    <a:lnTo>
                      <a:pt x="186" y="152"/>
                    </a:lnTo>
                    <a:lnTo>
                      <a:pt x="198" y="140"/>
                    </a:lnTo>
                    <a:lnTo>
                      <a:pt x="206" y="126"/>
                    </a:lnTo>
                    <a:lnTo>
                      <a:pt x="206" y="126"/>
                    </a:lnTo>
                    <a:lnTo>
                      <a:pt x="210" y="110"/>
                    </a:lnTo>
                    <a:lnTo>
                      <a:pt x="210" y="94"/>
                    </a:lnTo>
                    <a:lnTo>
                      <a:pt x="206" y="78"/>
                    </a:lnTo>
                    <a:lnTo>
                      <a:pt x="198" y="62"/>
                    </a:lnTo>
                    <a:lnTo>
                      <a:pt x="186" y="48"/>
                    </a:lnTo>
                    <a:lnTo>
                      <a:pt x="172" y="34"/>
                    </a:lnTo>
                    <a:lnTo>
                      <a:pt x="156" y="22"/>
                    </a:lnTo>
                    <a:lnTo>
                      <a:pt x="136" y="12"/>
                    </a:lnTo>
                    <a:lnTo>
                      <a:pt x="136" y="12"/>
                    </a:lnTo>
                    <a:lnTo>
                      <a:pt x="114" y="4"/>
                    </a:lnTo>
                    <a:lnTo>
                      <a:pt x="94" y="0"/>
                    </a:lnTo>
                    <a:lnTo>
                      <a:pt x="74" y="0"/>
                    </a:lnTo>
                    <a:lnTo>
                      <a:pt x="56" y="2"/>
                    </a:lnTo>
                    <a:lnTo>
                      <a:pt x="38" y="8"/>
                    </a:lnTo>
                    <a:lnTo>
                      <a:pt x="24" y="16"/>
                    </a:lnTo>
                    <a:lnTo>
                      <a:pt x="12" y="28"/>
                    </a:lnTo>
                    <a:lnTo>
                      <a:pt x="4" y="42"/>
                    </a:lnTo>
                    <a:lnTo>
                      <a:pt x="4" y="42"/>
                    </a:lnTo>
                    <a:close/>
                  </a:path>
                </a:pathLst>
              </a:custGeom>
              <a:solidFill>
                <a:srgbClr val="FFD6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grpSp>
          <p:nvGrpSpPr>
            <p:cNvPr id="26" name="Group 26">
              <a:extLst>
                <a:ext uri="{FF2B5EF4-FFF2-40B4-BE49-F238E27FC236}">
                  <a16:creationId xmlns:a16="http://schemas.microsoft.com/office/drawing/2014/main" id="{AD3A1A87-04A6-49D3-AB2D-9C95E4C06AE2}"/>
                </a:ext>
              </a:extLst>
            </p:cNvPr>
            <p:cNvGrpSpPr/>
            <p:nvPr/>
          </p:nvGrpSpPr>
          <p:grpSpPr>
            <a:xfrm>
              <a:off x="7317244" y="4615911"/>
              <a:ext cx="393070" cy="407364"/>
              <a:chOff x="7317244" y="4615911"/>
              <a:chExt cx="393070" cy="407364"/>
            </a:xfrm>
          </p:grpSpPr>
          <p:sp>
            <p:nvSpPr>
              <p:cNvPr id="33" name="Freeform 2351">
                <a:extLst>
                  <a:ext uri="{FF2B5EF4-FFF2-40B4-BE49-F238E27FC236}">
                    <a16:creationId xmlns:a16="http://schemas.microsoft.com/office/drawing/2014/main" id="{7537DEE2-8406-4641-8E0D-EBAA4E80E408}"/>
                  </a:ext>
                </a:extLst>
              </p:cNvPr>
              <p:cNvSpPr>
                <a:spLocks/>
              </p:cNvSpPr>
              <p:nvPr/>
            </p:nvSpPr>
            <p:spPr bwMode="auto">
              <a:xfrm>
                <a:off x="7360124" y="4648071"/>
                <a:ext cx="350190" cy="375204"/>
              </a:xfrm>
              <a:custGeom>
                <a:avLst/>
                <a:gdLst>
                  <a:gd name="T0" fmla="*/ 0 w 196"/>
                  <a:gd name="T1" fmla="*/ 166 h 210"/>
                  <a:gd name="T2" fmla="*/ 32 w 196"/>
                  <a:gd name="T3" fmla="*/ 196 h 210"/>
                  <a:gd name="T4" fmla="*/ 32 w 196"/>
                  <a:gd name="T5" fmla="*/ 196 h 210"/>
                  <a:gd name="T6" fmla="*/ 46 w 196"/>
                  <a:gd name="T7" fmla="*/ 204 h 210"/>
                  <a:gd name="T8" fmla="*/ 62 w 196"/>
                  <a:gd name="T9" fmla="*/ 208 h 210"/>
                  <a:gd name="T10" fmla="*/ 78 w 196"/>
                  <a:gd name="T11" fmla="*/ 210 h 210"/>
                  <a:gd name="T12" fmla="*/ 96 w 196"/>
                  <a:gd name="T13" fmla="*/ 208 h 210"/>
                  <a:gd name="T14" fmla="*/ 112 w 196"/>
                  <a:gd name="T15" fmla="*/ 202 h 210"/>
                  <a:gd name="T16" fmla="*/ 130 w 196"/>
                  <a:gd name="T17" fmla="*/ 192 h 210"/>
                  <a:gd name="T18" fmla="*/ 148 w 196"/>
                  <a:gd name="T19" fmla="*/ 180 h 210"/>
                  <a:gd name="T20" fmla="*/ 162 w 196"/>
                  <a:gd name="T21" fmla="*/ 164 h 210"/>
                  <a:gd name="T22" fmla="*/ 162 w 196"/>
                  <a:gd name="T23" fmla="*/ 164 h 210"/>
                  <a:gd name="T24" fmla="*/ 176 w 196"/>
                  <a:gd name="T25" fmla="*/ 146 h 210"/>
                  <a:gd name="T26" fmla="*/ 186 w 196"/>
                  <a:gd name="T27" fmla="*/ 126 h 210"/>
                  <a:gd name="T28" fmla="*/ 192 w 196"/>
                  <a:gd name="T29" fmla="*/ 108 h 210"/>
                  <a:gd name="T30" fmla="*/ 196 w 196"/>
                  <a:gd name="T31" fmla="*/ 90 h 210"/>
                  <a:gd name="T32" fmla="*/ 196 w 196"/>
                  <a:gd name="T33" fmla="*/ 72 h 210"/>
                  <a:gd name="T34" fmla="*/ 192 w 196"/>
                  <a:gd name="T35" fmla="*/ 56 h 210"/>
                  <a:gd name="T36" fmla="*/ 186 w 196"/>
                  <a:gd name="T37" fmla="*/ 40 h 210"/>
                  <a:gd name="T38" fmla="*/ 174 w 196"/>
                  <a:gd name="T39" fmla="*/ 28 h 210"/>
                  <a:gd name="T40" fmla="*/ 142 w 196"/>
                  <a:gd name="T41" fmla="*/ 0 h 210"/>
                  <a:gd name="T42" fmla="*/ 0 w 196"/>
                  <a:gd name="T43" fmla="*/ 166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96" h="210">
                    <a:moveTo>
                      <a:pt x="0" y="166"/>
                    </a:moveTo>
                    <a:lnTo>
                      <a:pt x="32" y="196"/>
                    </a:lnTo>
                    <a:lnTo>
                      <a:pt x="32" y="196"/>
                    </a:lnTo>
                    <a:lnTo>
                      <a:pt x="46" y="204"/>
                    </a:lnTo>
                    <a:lnTo>
                      <a:pt x="62" y="208"/>
                    </a:lnTo>
                    <a:lnTo>
                      <a:pt x="78" y="210"/>
                    </a:lnTo>
                    <a:lnTo>
                      <a:pt x="96" y="208"/>
                    </a:lnTo>
                    <a:lnTo>
                      <a:pt x="112" y="202"/>
                    </a:lnTo>
                    <a:lnTo>
                      <a:pt x="130" y="192"/>
                    </a:lnTo>
                    <a:lnTo>
                      <a:pt x="148" y="180"/>
                    </a:lnTo>
                    <a:lnTo>
                      <a:pt x="162" y="164"/>
                    </a:lnTo>
                    <a:lnTo>
                      <a:pt x="162" y="164"/>
                    </a:lnTo>
                    <a:lnTo>
                      <a:pt x="176" y="146"/>
                    </a:lnTo>
                    <a:lnTo>
                      <a:pt x="186" y="126"/>
                    </a:lnTo>
                    <a:lnTo>
                      <a:pt x="192" y="108"/>
                    </a:lnTo>
                    <a:lnTo>
                      <a:pt x="196" y="90"/>
                    </a:lnTo>
                    <a:lnTo>
                      <a:pt x="196" y="72"/>
                    </a:lnTo>
                    <a:lnTo>
                      <a:pt x="192" y="56"/>
                    </a:lnTo>
                    <a:lnTo>
                      <a:pt x="186" y="40"/>
                    </a:lnTo>
                    <a:lnTo>
                      <a:pt x="174" y="28"/>
                    </a:lnTo>
                    <a:lnTo>
                      <a:pt x="142" y="0"/>
                    </a:lnTo>
                    <a:lnTo>
                      <a:pt x="0" y="166"/>
                    </a:lnTo>
                    <a:close/>
                  </a:path>
                </a:pathLst>
              </a:custGeom>
              <a:solidFill>
                <a:srgbClr val="FF9F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4" name="Freeform 2353">
                <a:extLst>
                  <a:ext uri="{FF2B5EF4-FFF2-40B4-BE49-F238E27FC236}">
                    <a16:creationId xmlns:a16="http://schemas.microsoft.com/office/drawing/2014/main" id="{3CD677EE-8B33-46E7-AEEA-6AA2E4DF7E0A}"/>
                  </a:ext>
                </a:extLst>
              </p:cNvPr>
              <p:cNvSpPr>
                <a:spLocks/>
              </p:cNvSpPr>
              <p:nvPr/>
            </p:nvSpPr>
            <p:spPr bwMode="auto">
              <a:xfrm>
                <a:off x="7317244" y="4615911"/>
                <a:ext cx="328750" cy="350190"/>
              </a:xfrm>
              <a:custGeom>
                <a:avLst/>
                <a:gdLst>
                  <a:gd name="T0" fmla="*/ 162 w 184"/>
                  <a:gd name="T1" fmla="*/ 16 h 196"/>
                  <a:gd name="T2" fmla="*/ 162 w 184"/>
                  <a:gd name="T3" fmla="*/ 16 h 196"/>
                  <a:gd name="T4" fmla="*/ 174 w 184"/>
                  <a:gd name="T5" fmla="*/ 28 h 196"/>
                  <a:gd name="T6" fmla="*/ 180 w 184"/>
                  <a:gd name="T7" fmla="*/ 42 h 196"/>
                  <a:gd name="T8" fmla="*/ 184 w 184"/>
                  <a:gd name="T9" fmla="*/ 58 h 196"/>
                  <a:gd name="T10" fmla="*/ 184 w 184"/>
                  <a:gd name="T11" fmla="*/ 76 h 196"/>
                  <a:gd name="T12" fmla="*/ 180 w 184"/>
                  <a:gd name="T13" fmla="*/ 94 h 196"/>
                  <a:gd name="T14" fmla="*/ 174 w 184"/>
                  <a:gd name="T15" fmla="*/ 114 h 196"/>
                  <a:gd name="T16" fmla="*/ 164 w 184"/>
                  <a:gd name="T17" fmla="*/ 132 h 196"/>
                  <a:gd name="T18" fmla="*/ 150 w 184"/>
                  <a:gd name="T19" fmla="*/ 150 h 196"/>
                  <a:gd name="T20" fmla="*/ 150 w 184"/>
                  <a:gd name="T21" fmla="*/ 150 h 196"/>
                  <a:gd name="T22" fmla="*/ 136 w 184"/>
                  <a:gd name="T23" fmla="*/ 166 h 196"/>
                  <a:gd name="T24" fmla="*/ 118 w 184"/>
                  <a:gd name="T25" fmla="*/ 178 h 196"/>
                  <a:gd name="T26" fmla="*/ 100 w 184"/>
                  <a:gd name="T27" fmla="*/ 188 h 196"/>
                  <a:gd name="T28" fmla="*/ 82 w 184"/>
                  <a:gd name="T29" fmla="*/ 194 h 196"/>
                  <a:gd name="T30" fmla="*/ 66 w 184"/>
                  <a:gd name="T31" fmla="*/ 196 h 196"/>
                  <a:gd name="T32" fmla="*/ 48 w 184"/>
                  <a:gd name="T33" fmla="*/ 196 h 196"/>
                  <a:gd name="T34" fmla="*/ 34 w 184"/>
                  <a:gd name="T35" fmla="*/ 190 h 196"/>
                  <a:gd name="T36" fmla="*/ 20 w 184"/>
                  <a:gd name="T37" fmla="*/ 182 h 196"/>
                  <a:gd name="T38" fmla="*/ 20 w 184"/>
                  <a:gd name="T39" fmla="*/ 182 h 196"/>
                  <a:gd name="T40" fmla="*/ 10 w 184"/>
                  <a:gd name="T41" fmla="*/ 170 h 196"/>
                  <a:gd name="T42" fmla="*/ 2 w 184"/>
                  <a:gd name="T43" fmla="*/ 156 h 196"/>
                  <a:gd name="T44" fmla="*/ 0 w 184"/>
                  <a:gd name="T45" fmla="*/ 138 h 196"/>
                  <a:gd name="T46" fmla="*/ 0 w 184"/>
                  <a:gd name="T47" fmla="*/ 122 h 196"/>
                  <a:gd name="T48" fmla="*/ 2 w 184"/>
                  <a:gd name="T49" fmla="*/ 102 h 196"/>
                  <a:gd name="T50" fmla="*/ 10 w 184"/>
                  <a:gd name="T51" fmla="*/ 84 h 196"/>
                  <a:gd name="T52" fmla="*/ 18 w 184"/>
                  <a:gd name="T53" fmla="*/ 64 h 196"/>
                  <a:gd name="T54" fmla="*/ 32 w 184"/>
                  <a:gd name="T55" fmla="*/ 48 h 196"/>
                  <a:gd name="T56" fmla="*/ 32 w 184"/>
                  <a:gd name="T57" fmla="*/ 48 h 196"/>
                  <a:gd name="T58" fmla="*/ 48 w 184"/>
                  <a:gd name="T59" fmla="*/ 32 h 196"/>
                  <a:gd name="T60" fmla="*/ 64 w 184"/>
                  <a:gd name="T61" fmla="*/ 18 h 196"/>
                  <a:gd name="T62" fmla="*/ 82 w 184"/>
                  <a:gd name="T63" fmla="*/ 10 h 196"/>
                  <a:gd name="T64" fmla="*/ 100 w 184"/>
                  <a:gd name="T65" fmla="*/ 4 h 196"/>
                  <a:gd name="T66" fmla="*/ 118 w 184"/>
                  <a:gd name="T67" fmla="*/ 0 h 196"/>
                  <a:gd name="T68" fmla="*/ 134 w 184"/>
                  <a:gd name="T69" fmla="*/ 2 h 196"/>
                  <a:gd name="T70" fmla="*/ 150 w 184"/>
                  <a:gd name="T71" fmla="*/ 6 h 196"/>
                  <a:gd name="T72" fmla="*/ 162 w 184"/>
                  <a:gd name="T73" fmla="*/ 16 h 196"/>
                  <a:gd name="T74" fmla="*/ 162 w 184"/>
                  <a:gd name="T75" fmla="*/ 16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84" h="196">
                    <a:moveTo>
                      <a:pt x="162" y="16"/>
                    </a:moveTo>
                    <a:lnTo>
                      <a:pt x="162" y="16"/>
                    </a:lnTo>
                    <a:lnTo>
                      <a:pt x="174" y="28"/>
                    </a:lnTo>
                    <a:lnTo>
                      <a:pt x="180" y="42"/>
                    </a:lnTo>
                    <a:lnTo>
                      <a:pt x="184" y="58"/>
                    </a:lnTo>
                    <a:lnTo>
                      <a:pt x="184" y="76"/>
                    </a:lnTo>
                    <a:lnTo>
                      <a:pt x="180" y="94"/>
                    </a:lnTo>
                    <a:lnTo>
                      <a:pt x="174" y="114"/>
                    </a:lnTo>
                    <a:lnTo>
                      <a:pt x="164" y="132"/>
                    </a:lnTo>
                    <a:lnTo>
                      <a:pt x="150" y="150"/>
                    </a:lnTo>
                    <a:lnTo>
                      <a:pt x="150" y="150"/>
                    </a:lnTo>
                    <a:lnTo>
                      <a:pt x="136" y="166"/>
                    </a:lnTo>
                    <a:lnTo>
                      <a:pt x="118" y="178"/>
                    </a:lnTo>
                    <a:lnTo>
                      <a:pt x="100" y="188"/>
                    </a:lnTo>
                    <a:lnTo>
                      <a:pt x="82" y="194"/>
                    </a:lnTo>
                    <a:lnTo>
                      <a:pt x="66" y="196"/>
                    </a:lnTo>
                    <a:lnTo>
                      <a:pt x="48" y="196"/>
                    </a:lnTo>
                    <a:lnTo>
                      <a:pt x="34" y="190"/>
                    </a:lnTo>
                    <a:lnTo>
                      <a:pt x="20" y="182"/>
                    </a:lnTo>
                    <a:lnTo>
                      <a:pt x="20" y="182"/>
                    </a:lnTo>
                    <a:lnTo>
                      <a:pt x="10" y="170"/>
                    </a:lnTo>
                    <a:lnTo>
                      <a:pt x="2" y="156"/>
                    </a:lnTo>
                    <a:lnTo>
                      <a:pt x="0" y="138"/>
                    </a:lnTo>
                    <a:lnTo>
                      <a:pt x="0" y="122"/>
                    </a:lnTo>
                    <a:lnTo>
                      <a:pt x="2" y="102"/>
                    </a:lnTo>
                    <a:lnTo>
                      <a:pt x="10" y="84"/>
                    </a:lnTo>
                    <a:lnTo>
                      <a:pt x="18" y="64"/>
                    </a:lnTo>
                    <a:lnTo>
                      <a:pt x="32" y="48"/>
                    </a:lnTo>
                    <a:lnTo>
                      <a:pt x="32" y="48"/>
                    </a:lnTo>
                    <a:lnTo>
                      <a:pt x="48" y="32"/>
                    </a:lnTo>
                    <a:lnTo>
                      <a:pt x="64" y="18"/>
                    </a:lnTo>
                    <a:lnTo>
                      <a:pt x="82" y="10"/>
                    </a:lnTo>
                    <a:lnTo>
                      <a:pt x="100" y="4"/>
                    </a:lnTo>
                    <a:lnTo>
                      <a:pt x="118" y="0"/>
                    </a:lnTo>
                    <a:lnTo>
                      <a:pt x="134" y="2"/>
                    </a:lnTo>
                    <a:lnTo>
                      <a:pt x="150" y="6"/>
                    </a:lnTo>
                    <a:lnTo>
                      <a:pt x="162" y="16"/>
                    </a:lnTo>
                    <a:lnTo>
                      <a:pt x="162" y="16"/>
                    </a:lnTo>
                    <a:close/>
                  </a:path>
                </a:pathLst>
              </a:custGeom>
              <a:solidFill>
                <a:srgbClr val="FFD6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grpSp>
          <p:nvGrpSpPr>
            <p:cNvPr id="27" name="Group 27">
              <a:extLst>
                <a:ext uri="{FF2B5EF4-FFF2-40B4-BE49-F238E27FC236}">
                  <a16:creationId xmlns:a16="http://schemas.microsoft.com/office/drawing/2014/main" id="{1F870CA2-C02F-40C1-842D-3D9974172B2E}"/>
                </a:ext>
              </a:extLst>
            </p:cNvPr>
            <p:cNvGrpSpPr/>
            <p:nvPr/>
          </p:nvGrpSpPr>
          <p:grpSpPr>
            <a:xfrm>
              <a:off x="6902733" y="4062038"/>
              <a:ext cx="285870" cy="403791"/>
              <a:chOff x="6902733" y="4062038"/>
              <a:chExt cx="285870" cy="403791"/>
            </a:xfrm>
          </p:grpSpPr>
          <p:sp>
            <p:nvSpPr>
              <p:cNvPr id="31" name="Freeform 2355">
                <a:extLst>
                  <a:ext uri="{FF2B5EF4-FFF2-40B4-BE49-F238E27FC236}">
                    <a16:creationId xmlns:a16="http://schemas.microsoft.com/office/drawing/2014/main" id="{4FB86A32-84CC-4A11-B969-593A36B74CBF}"/>
                  </a:ext>
                </a:extLst>
              </p:cNvPr>
              <p:cNvSpPr>
                <a:spLocks/>
              </p:cNvSpPr>
              <p:nvPr/>
            </p:nvSpPr>
            <p:spPr bwMode="auto">
              <a:xfrm>
                <a:off x="6977774" y="4062038"/>
                <a:ext cx="210829" cy="403791"/>
              </a:xfrm>
              <a:custGeom>
                <a:avLst/>
                <a:gdLst>
                  <a:gd name="T0" fmla="*/ 12 w 118"/>
                  <a:gd name="T1" fmla="*/ 188 h 226"/>
                  <a:gd name="T2" fmla="*/ 12 w 118"/>
                  <a:gd name="T3" fmla="*/ 188 h 226"/>
                  <a:gd name="T4" fmla="*/ 8 w 118"/>
                  <a:gd name="T5" fmla="*/ 200 h 226"/>
                  <a:gd name="T6" fmla="*/ 2 w 118"/>
                  <a:gd name="T7" fmla="*/ 210 h 226"/>
                  <a:gd name="T8" fmla="*/ 0 w 118"/>
                  <a:gd name="T9" fmla="*/ 214 h 226"/>
                  <a:gd name="T10" fmla="*/ 0 w 118"/>
                  <a:gd name="T11" fmla="*/ 218 h 226"/>
                  <a:gd name="T12" fmla="*/ 2 w 118"/>
                  <a:gd name="T13" fmla="*/ 220 h 226"/>
                  <a:gd name="T14" fmla="*/ 6 w 118"/>
                  <a:gd name="T15" fmla="*/ 222 h 226"/>
                  <a:gd name="T16" fmla="*/ 44 w 118"/>
                  <a:gd name="T17" fmla="*/ 226 h 226"/>
                  <a:gd name="T18" fmla="*/ 44 w 118"/>
                  <a:gd name="T19" fmla="*/ 226 h 226"/>
                  <a:gd name="T20" fmla="*/ 56 w 118"/>
                  <a:gd name="T21" fmla="*/ 224 h 226"/>
                  <a:gd name="T22" fmla="*/ 66 w 118"/>
                  <a:gd name="T23" fmla="*/ 220 h 226"/>
                  <a:gd name="T24" fmla="*/ 78 w 118"/>
                  <a:gd name="T25" fmla="*/ 212 h 226"/>
                  <a:gd name="T26" fmla="*/ 88 w 118"/>
                  <a:gd name="T27" fmla="*/ 200 h 226"/>
                  <a:gd name="T28" fmla="*/ 96 w 118"/>
                  <a:gd name="T29" fmla="*/ 186 h 226"/>
                  <a:gd name="T30" fmla="*/ 104 w 118"/>
                  <a:gd name="T31" fmla="*/ 168 h 226"/>
                  <a:gd name="T32" fmla="*/ 112 w 118"/>
                  <a:gd name="T33" fmla="*/ 148 h 226"/>
                  <a:gd name="T34" fmla="*/ 116 w 118"/>
                  <a:gd name="T35" fmla="*/ 126 h 226"/>
                  <a:gd name="T36" fmla="*/ 116 w 118"/>
                  <a:gd name="T37" fmla="*/ 126 h 226"/>
                  <a:gd name="T38" fmla="*/ 118 w 118"/>
                  <a:gd name="T39" fmla="*/ 104 h 226"/>
                  <a:gd name="T40" fmla="*/ 118 w 118"/>
                  <a:gd name="T41" fmla="*/ 84 h 226"/>
                  <a:gd name="T42" fmla="*/ 118 w 118"/>
                  <a:gd name="T43" fmla="*/ 64 h 226"/>
                  <a:gd name="T44" fmla="*/ 114 w 118"/>
                  <a:gd name="T45" fmla="*/ 46 h 226"/>
                  <a:gd name="T46" fmla="*/ 108 w 118"/>
                  <a:gd name="T47" fmla="*/ 32 h 226"/>
                  <a:gd name="T48" fmla="*/ 100 w 118"/>
                  <a:gd name="T49" fmla="*/ 20 h 226"/>
                  <a:gd name="T50" fmla="*/ 92 w 118"/>
                  <a:gd name="T51" fmla="*/ 12 h 226"/>
                  <a:gd name="T52" fmla="*/ 80 w 118"/>
                  <a:gd name="T53" fmla="*/ 8 h 226"/>
                  <a:gd name="T54" fmla="*/ 32 w 118"/>
                  <a:gd name="T55" fmla="*/ 0 h 226"/>
                  <a:gd name="T56" fmla="*/ 32 w 118"/>
                  <a:gd name="T57" fmla="*/ 0 h 226"/>
                  <a:gd name="T58" fmla="*/ 28 w 118"/>
                  <a:gd name="T59" fmla="*/ 0 h 226"/>
                  <a:gd name="T60" fmla="*/ 26 w 118"/>
                  <a:gd name="T61" fmla="*/ 2 h 226"/>
                  <a:gd name="T62" fmla="*/ 30 w 118"/>
                  <a:gd name="T63" fmla="*/ 8 h 226"/>
                  <a:gd name="T64" fmla="*/ 36 w 118"/>
                  <a:gd name="T65" fmla="*/ 20 h 226"/>
                  <a:gd name="T66" fmla="*/ 38 w 118"/>
                  <a:gd name="T67" fmla="*/ 26 h 226"/>
                  <a:gd name="T68" fmla="*/ 38 w 118"/>
                  <a:gd name="T69" fmla="*/ 32 h 226"/>
                  <a:gd name="T70" fmla="*/ 12 w 118"/>
                  <a:gd name="T71" fmla="*/ 188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18" h="226">
                    <a:moveTo>
                      <a:pt x="12" y="188"/>
                    </a:moveTo>
                    <a:lnTo>
                      <a:pt x="12" y="188"/>
                    </a:lnTo>
                    <a:lnTo>
                      <a:pt x="8" y="200"/>
                    </a:lnTo>
                    <a:lnTo>
                      <a:pt x="2" y="210"/>
                    </a:lnTo>
                    <a:lnTo>
                      <a:pt x="0" y="214"/>
                    </a:lnTo>
                    <a:lnTo>
                      <a:pt x="0" y="218"/>
                    </a:lnTo>
                    <a:lnTo>
                      <a:pt x="2" y="220"/>
                    </a:lnTo>
                    <a:lnTo>
                      <a:pt x="6" y="222"/>
                    </a:lnTo>
                    <a:lnTo>
                      <a:pt x="44" y="226"/>
                    </a:lnTo>
                    <a:lnTo>
                      <a:pt x="44" y="226"/>
                    </a:lnTo>
                    <a:lnTo>
                      <a:pt x="56" y="224"/>
                    </a:lnTo>
                    <a:lnTo>
                      <a:pt x="66" y="220"/>
                    </a:lnTo>
                    <a:lnTo>
                      <a:pt x="78" y="212"/>
                    </a:lnTo>
                    <a:lnTo>
                      <a:pt x="88" y="200"/>
                    </a:lnTo>
                    <a:lnTo>
                      <a:pt x="96" y="186"/>
                    </a:lnTo>
                    <a:lnTo>
                      <a:pt x="104" y="168"/>
                    </a:lnTo>
                    <a:lnTo>
                      <a:pt x="112" y="148"/>
                    </a:lnTo>
                    <a:lnTo>
                      <a:pt x="116" y="126"/>
                    </a:lnTo>
                    <a:lnTo>
                      <a:pt x="116" y="126"/>
                    </a:lnTo>
                    <a:lnTo>
                      <a:pt x="118" y="104"/>
                    </a:lnTo>
                    <a:lnTo>
                      <a:pt x="118" y="84"/>
                    </a:lnTo>
                    <a:lnTo>
                      <a:pt x="118" y="64"/>
                    </a:lnTo>
                    <a:lnTo>
                      <a:pt x="114" y="46"/>
                    </a:lnTo>
                    <a:lnTo>
                      <a:pt x="108" y="32"/>
                    </a:lnTo>
                    <a:lnTo>
                      <a:pt x="100" y="20"/>
                    </a:lnTo>
                    <a:lnTo>
                      <a:pt x="92" y="12"/>
                    </a:lnTo>
                    <a:lnTo>
                      <a:pt x="80" y="8"/>
                    </a:lnTo>
                    <a:lnTo>
                      <a:pt x="32" y="0"/>
                    </a:lnTo>
                    <a:lnTo>
                      <a:pt x="32" y="0"/>
                    </a:lnTo>
                    <a:lnTo>
                      <a:pt x="28" y="0"/>
                    </a:lnTo>
                    <a:lnTo>
                      <a:pt x="26" y="2"/>
                    </a:lnTo>
                    <a:lnTo>
                      <a:pt x="30" y="8"/>
                    </a:lnTo>
                    <a:lnTo>
                      <a:pt x="36" y="20"/>
                    </a:lnTo>
                    <a:lnTo>
                      <a:pt x="38" y="26"/>
                    </a:lnTo>
                    <a:lnTo>
                      <a:pt x="38" y="32"/>
                    </a:lnTo>
                    <a:lnTo>
                      <a:pt x="12" y="188"/>
                    </a:lnTo>
                    <a:close/>
                  </a:path>
                </a:pathLst>
              </a:custGeom>
              <a:solidFill>
                <a:srgbClr val="FF9F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2" name="Freeform 2357">
                <a:extLst>
                  <a:ext uri="{FF2B5EF4-FFF2-40B4-BE49-F238E27FC236}">
                    <a16:creationId xmlns:a16="http://schemas.microsoft.com/office/drawing/2014/main" id="{653FACD1-03F2-4C75-AAB9-2C3B6DFE3288}"/>
                  </a:ext>
                </a:extLst>
              </p:cNvPr>
              <p:cNvSpPr>
                <a:spLocks/>
              </p:cNvSpPr>
              <p:nvPr/>
            </p:nvSpPr>
            <p:spPr bwMode="auto">
              <a:xfrm>
                <a:off x="6902733" y="4062038"/>
                <a:ext cx="200109" cy="385924"/>
              </a:xfrm>
              <a:custGeom>
                <a:avLst/>
                <a:gdLst>
                  <a:gd name="T0" fmla="*/ 74 w 112"/>
                  <a:gd name="T1" fmla="*/ 0 h 216"/>
                  <a:gd name="T2" fmla="*/ 74 w 112"/>
                  <a:gd name="T3" fmla="*/ 0 h 216"/>
                  <a:gd name="T4" fmla="*/ 84 w 112"/>
                  <a:gd name="T5" fmla="*/ 4 h 216"/>
                  <a:gd name="T6" fmla="*/ 94 w 112"/>
                  <a:gd name="T7" fmla="*/ 12 h 216"/>
                  <a:gd name="T8" fmla="*/ 102 w 112"/>
                  <a:gd name="T9" fmla="*/ 24 h 216"/>
                  <a:gd name="T10" fmla="*/ 106 w 112"/>
                  <a:gd name="T11" fmla="*/ 38 h 216"/>
                  <a:gd name="T12" fmla="*/ 110 w 112"/>
                  <a:gd name="T13" fmla="*/ 56 h 216"/>
                  <a:gd name="T14" fmla="*/ 112 w 112"/>
                  <a:gd name="T15" fmla="*/ 74 h 216"/>
                  <a:gd name="T16" fmla="*/ 112 w 112"/>
                  <a:gd name="T17" fmla="*/ 96 h 216"/>
                  <a:gd name="T18" fmla="*/ 110 w 112"/>
                  <a:gd name="T19" fmla="*/ 118 h 216"/>
                  <a:gd name="T20" fmla="*/ 110 w 112"/>
                  <a:gd name="T21" fmla="*/ 118 h 216"/>
                  <a:gd name="T22" fmla="*/ 104 w 112"/>
                  <a:gd name="T23" fmla="*/ 140 h 216"/>
                  <a:gd name="T24" fmla="*/ 98 w 112"/>
                  <a:gd name="T25" fmla="*/ 160 h 216"/>
                  <a:gd name="T26" fmla="*/ 90 w 112"/>
                  <a:gd name="T27" fmla="*/ 176 h 216"/>
                  <a:gd name="T28" fmla="*/ 82 w 112"/>
                  <a:gd name="T29" fmla="*/ 192 h 216"/>
                  <a:gd name="T30" fmla="*/ 70 w 112"/>
                  <a:gd name="T31" fmla="*/ 204 h 216"/>
                  <a:gd name="T32" fmla="*/ 60 w 112"/>
                  <a:gd name="T33" fmla="*/ 212 h 216"/>
                  <a:gd name="T34" fmla="*/ 50 w 112"/>
                  <a:gd name="T35" fmla="*/ 216 h 216"/>
                  <a:gd name="T36" fmla="*/ 38 w 112"/>
                  <a:gd name="T37" fmla="*/ 216 h 216"/>
                  <a:gd name="T38" fmla="*/ 38 w 112"/>
                  <a:gd name="T39" fmla="*/ 216 h 216"/>
                  <a:gd name="T40" fmla="*/ 28 w 112"/>
                  <a:gd name="T41" fmla="*/ 212 h 216"/>
                  <a:gd name="T42" fmla="*/ 18 w 112"/>
                  <a:gd name="T43" fmla="*/ 204 h 216"/>
                  <a:gd name="T44" fmla="*/ 12 w 112"/>
                  <a:gd name="T45" fmla="*/ 194 h 216"/>
                  <a:gd name="T46" fmla="*/ 6 w 112"/>
                  <a:gd name="T47" fmla="*/ 178 h 216"/>
                  <a:gd name="T48" fmla="*/ 2 w 112"/>
                  <a:gd name="T49" fmla="*/ 162 h 216"/>
                  <a:gd name="T50" fmla="*/ 0 w 112"/>
                  <a:gd name="T51" fmla="*/ 142 h 216"/>
                  <a:gd name="T52" fmla="*/ 0 w 112"/>
                  <a:gd name="T53" fmla="*/ 122 h 216"/>
                  <a:gd name="T54" fmla="*/ 4 w 112"/>
                  <a:gd name="T55" fmla="*/ 100 h 216"/>
                  <a:gd name="T56" fmla="*/ 4 w 112"/>
                  <a:gd name="T57" fmla="*/ 100 h 216"/>
                  <a:gd name="T58" fmla="*/ 8 w 112"/>
                  <a:gd name="T59" fmla="*/ 78 h 216"/>
                  <a:gd name="T60" fmla="*/ 14 w 112"/>
                  <a:gd name="T61" fmla="*/ 58 h 216"/>
                  <a:gd name="T62" fmla="*/ 22 w 112"/>
                  <a:gd name="T63" fmla="*/ 40 h 216"/>
                  <a:gd name="T64" fmla="*/ 32 w 112"/>
                  <a:gd name="T65" fmla="*/ 26 h 216"/>
                  <a:gd name="T66" fmla="*/ 42 w 112"/>
                  <a:gd name="T67" fmla="*/ 14 h 216"/>
                  <a:gd name="T68" fmla="*/ 52 w 112"/>
                  <a:gd name="T69" fmla="*/ 6 h 216"/>
                  <a:gd name="T70" fmla="*/ 64 w 112"/>
                  <a:gd name="T71" fmla="*/ 0 h 216"/>
                  <a:gd name="T72" fmla="*/ 74 w 112"/>
                  <a:gd name="T73" fmla="*/ 0 h 216"/>
                  <a:gd name="T74" fmla="*/ 74 w 112"/>
                  <a:gd name="T75" fmla="*/ 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2" h="216">
                    <a:moveTo>
                      <a:pt x="74" y="0"/>
                    </a:moveTo>
                    <a:lnTo>
                      <a:pt x="74" y="0"/>
                    </a:lnTo>
                    <a:lnTo>
                      <a:pt x="84" y="4"/>
                    </a:lnTo>
                    <a:lnTo>
                      <a:pt x="94" y="12"/>
                    </a:lnTo>
                    <a:lnTo>
                      <a:pt x="102" y="24"/>
                    </a:lnTo>
                    <a:lnTo>
                      <a:pt x="106" y="38"/>
                    </a:lnTo>
                    <a:lnTo>
                      <a:pt x="110" y="56"/>
                    </a:lnTo>
                    <a:lnTo>
                      <a:pt x="112" y="74"/>
                    </a:lnTo>
                    <a:lnTo>
                      <a:pt x="112" y="96"/>
                    </a:lnTo>
                    <a:lnTo>
                      <a:pt x="110" y="118"/>
                    </a:lnTo>
                    <a:lnTo>
                      <a:pt x="110" y="118"/>
                    </a:lnTo>
                    <a:lnTo>
                      <a:pt x="104" y="140"/>
                    </a:lnTo>
                    <a:lnTo>
                      <a:pt x="98" y="160"/>
                    </a:lnTo>
                    <a:lnTo>
                      <a:pt x="90" y="176"/>
                    </a:lnTo>
                    <a:lnTo>
                      <a:pt x="82" y="192"/>
                    </a:lnTo>
                    <a:lnTo>
                      <a:pt x="70" y="204"/>
                    </a:lnTo>
                    <a:lnTo>
                      <a:pt x="60" y="212"/>
                    </a:lnTo>
                    <a:lnTo>
                      <a:pt x="50" y="216"/>
                    </a:lnTo>
                    <a:lnTo>
                      <a:pt x="38" y="216"/>
                    </a:lnTo>
                    <a:lnTo>
                      <a:pt x="38" y="216"/>
                    </a:lnTo>
                    <a:lnTo>
                      <a:pt x="28" y="212"/>
                    </a:lnTo>
                    <a:lnTo>
                      <a:pt x="18" y="204"/>
                    </a:lnTo>
                    <a:lnTo>
                      <a:pt x="12" y="194"/>
                    </a:lnTo>
                    <a:lnTo>
                      <a:pt x="6" y="178"/>
                    </a:lnTo>
                    <a:lnTo>
                      <a:pt x="2" y="162"/>
                    </a:lnTo>
                    <a:lnTo>
                      <a:pt x="0" y="142"/>
                    </a:lnTo>
                    <a:lnTo>
                      <a:pt x="0" y="122"/>
                    </a:lnTo>
                    <a:lnTo>
                      <a:pt x="4" y="100"/>
                    </a:lnTo>
                    <a:lnTo>
                      <a:pt x="4" y="100"/>
                    </a:lnTo>
                    <a:lnTo>
                      <a:pt x="8" y="78"/>
                    </a:lnTo>
                    <a:lnTo>
                      <a:pt x="14" y="58"/>
                    </a:lnTo>
                    <a:lnTo>
                      <a:pt x="22" y="40"/>
                    </a:lnTo>
                    <a:lnTo>
                      <a:pt x="32" y="26"/>
                    </a:lnTo>
                    <a:lnTo>
                      <a:pt x="42" y="14"/>
                    </a:lnTo>
                    <a:lnTo>
                      <a:pt x="52" y="6"/>
                    </a:lnTo>
                    <a:lnTo>
                      <a:pt x="64" y="0"/>
                    </a:lnTo>
                    <a:lnTo>
                      <a:pt x="74" y="0"/>
                    </a:lnTo>
                    <a:lnTo>
                      <a:pt x="74" y="0"/>
                    </a:lnTo>
                    <a:close/>
                  </a:path>
                </a:pathLst>
              </a:custGeom>
              <a:solidFill>
                <a:srgbClr val="FFD6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sp>
          <p:nvSpPr>
            <p:cNvPr id="28" name="Freeform 2359">
              <a:extLst>
                <a:ext uri="{FF2B5EF4-FFF2-40B4-BE49-F238E27FC236}">
                  <a16:creationId xmlns:a16="http://schemas.microsoft.com/office/drawing/2014/main" id="{EC7BA779-8CB7-4AF1-A8B3-5E3C9794AC26}"/>
                </a:ext>
              </a:extLst>
            </p:cNvPr>
            <p:cNvSpPr>
              <a:spLocks/>
            </p:cNvSpPr>
            <p:nvPr/>
          </p:nvSpPr>
          <p:spPr bwMode="auto">
            <a:xfrm>
              <a:off x="7263643" y="4944660"/>
              <a:ext cx="432378" cy="312670"/>
            </a:xfrm>
            <a:custGeom>
              <a:avLst/>
              <a:gdLst>
                <a:gd name="T0" fmla="*/ 162 w 242"/>
                <a:gd name="T1" fmla="*/ 149 h 175"/>
                <a:gd name="T2" fmla="*/ 162 w 242"/>
                <a:gd name="T3" fmla="*/ 149 h 175"/>
                <a:gd name="T4" fmla="*/ 150 w 242"/>
                <a:gd name="T5" fmla="*/ 157 h 175"/>
                <a:gd name="T6" fmla="*/ 136 w 242"/>
                <a:gd name="T7" fmla="*/ 163 h 175"/>
                <a:gd name="T8" fmla="*/ 122 w 242"/>
                <a:gd name="T9" fmla="*/ 167 h 175"/>
                <a:gd name="T10" fmla="*/ 108 w 242"/>
                <a:gd name="T11" fmla="*/ 171 h 175"/>
                <a:gd name="T12" fmla="*/ 82 w 242"/>
                <a:gd name="T13" fmla="*/ 175 h 175"/>
                <a:gd name="T14" fmla="*/ 56 w 242"/>
                <a:gd name="T15" fmla="*/ 175 h 175"/>
                <a:gd name="T16" fmla="*/ 34 w 242"/>
                <a:gd name="T17" fmla="*/ 175 h 175"/>
                <a:gd name="T18" fmla="*/ 16 w 242"/>
                <a:gd name="T19" fmla="*/ 171 h 175"/>
                <a:gd name="T20" fmla="*/ 0 w 242"/>
                <a:gd name="T21" fmla="*/ 169 h 175"/>
                <a:gd name="T22" fmla="*/ 0 w 242"/>
                <a:gd name="T23" fmla="*/ 169 h 175"/>
                <a:gd name="T24" fmla="*/ 2 w 242"/>
                <a:gd name="T25" fmla="*/ 153 h 175"/>
                <a:gd name="T26" fmla="*/ 8 w 242"/>
                <a:gd name="T27" fmla="*/ 135 h 175"/>
                <a:gd name="T28" fmla="*/ 14 w 242"/>
                <a:gd name="T29" fmla="*/ 115 h 175"/>
                <a:gd name="T30" fmla="*/ 24 w 242"/>
                <a:gd name="T31" fmla="*/ 91 h 175"/>
                <a:gd name="T32" fmla="*/ 38 w 242"/>
                <a:gd name="T33" fmla="*/ 68 h 175"/>
                <a:gd name="T34" fmla="*/ 48 w 242"/>
                <a:gd name="T35" fmla="*/ 56 h 175"/>
                <a:gd name="T36" fmla="*/ 56 w 242"/>
                <a:gd name="T37" fmla="*/ 46 h 175"/>
                <a:gd name="T38" fmla="*/ 68 w 242"/>
                <a:gd name="T39" fmla="*/ 36 h 175"/>
                <a:gd name="T40" fmla="*/ 80 w 242"/>
                <a:gd name="T41" fmla="*/ 26 h 175"/>
                <a:gd name="T42" fmla="*/ 80 w 242"/>
                <a:gd name="T43" fmla="*/ 26 h 175"/>
                <a:gd name="T44" fmla="*/ 92 w 242"/>
                <a:gd name="T45" fmla="*/ 20 h 175"/>
                <a:gd name="T46" fmla="*/ 106 w 242"/>
                <a:gd name="T47" fmla="*/ 12 h 175"/>
                <a:gd name="T48" fmla="*/ 120 w 242"/>
                <a:gd name="T49" fmla="*/ 8 h 175"/>
                <a:gd name="T50" fmla="*/ 134 w 242"/>
                <a:gd name="T51" fmla="*/ 4 h 175"/>
                <a:gd name="T52" fmla="*/ 160 w 242"/>
                <a:gd name="T53" fmla="*/ 0 h 175"/>
                <a:gd name="T54" fmla="*/ 186 w 242"/>
                <a:gd name="T55" fmla="*/ 0 h 175"/>
                <a:gd name="T56" fmla="*/ 208 w 242"/>
                <a:gd name="T57" fmla="*/ 2 h 175"/>
                <a:gd name="T58" fmla="*/ 226 w 242"/>
                <a:gd name="T59" fmla="*/ 4 h 175"/>
                <a:gd name="T60" fmla="*/ 242 w 242"/>
                <a:gd name="T61" fmla="*/ 6 h 175"/>
                <a:gd name="T62" fmla="*/ 242 w 242"/>
                <a:gd name="T63" fmla="*/ 6 h 175"/>
                <a:gd name="T64" fmla="*/ 240 w 242"/>
                <a:gd name="T65" fmla="*/ 22 h 175"/>
                <a:gd name="T66" fmla="*/ 234 w 242"/>
                <a:gd name="T67" fmla="*/ 40 h 175"/>
                <a:gd name="T68" fmla="*/ 228 w 242"/>
                <a:gd name="T69" fmla="*/ 62 h 175"/>
                <a:gd name="T70" fmla="*/ 216 w 242"/>
                <a:gd name="T71" fmla="*/ 83 h 175"/>
                <a:gd name="T72" fmla="*/ 202 w 242"/>
                <a:gd name="T73" fmla="*/ 107 h 175"/>
                <a:gd name="T74" fmla="*/ 194 w 242"/>
                <a:gd name="T75" fmla="*/ 119 h 175"/>
                <a:gd name="T76" fmla="*/ 184 w 242"/>
                <a:gd name="T77" fmla="*/ 129 h 175"/>
                <a:gd name="T78" fmla="*/ 174 w 242"/>
                <a:gd name="T79" fmla="*/ 139 h 175"/>
                <a:gd name="T80" fmla="*/ 162 w 242"/>
                <a:gd name="T81" fmla="*/ 149 h 175"/>
                <a:gd name="T82" fmla="*/ 162 w 242"/>
                <a:gd name="T83" fmla="*/ 149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42" h="175">
                  <a:moveTo>
                    <a:pt x="162" y="149"/>
                  </a:moveTo>
                  <a:lnTo>
                    <a:pt x="162" y="149"/>
                  </a:lnTo>
                  <a:lnTo>
                    <a:pt x="150" y="157"/>
                  </a:lnTo>
                  <a:lnTo>
                    <a:pt x="136" y="163"/>
                  </a:lnTo>
                  <a:lnTo>
                    <a:pt x="122" y="167"/>
                  </a:lnTo>
                  <a:lnTo>
                    <a:pt x="108" y="171"/>
                  </a:lnTo>
                  <a:lnTo>
                    <a:pt x="82" y="175"/>
                  </a:lnTo>
                  <a:lnTo>
                    <a:pt x="56" y="175"/>
                  </a:lnTo>
                  <a:lnTo>
                    <a:pt x="34" y="175"/>
                  </a:lnTo>
                  <a:lnTo>
                    <a:pt x="16" y="171"/>
                  </a:lnTo>
                  <a:lnTo>
                    <a:pt x="0" y="169"/>
                  </a:lnTo>
                  <a:lnTo>
                    <a:pt x="0" y="169"/>
                  </a:lnTo>
                  <a:lnTo>
                    <a:pt x="2" y="153"/>
                  </a:lnTo>
                  <a:lnTo>
                    <a:pt x="8" y="135"/>
                  </a:lnTo>
                  <a:lnTo>
                    <a:pt x="14" y="115"/>
                  </a:lnTo>
                  <a:lnTo>
                    <a:pt x="24" y="91"/>
                  </a:lnTo>
                  <a:lnTo>
                    <a:pt x="38" y="68"/>
                  </a:lnTo>
                  <a:lnTo>
                    <a:pt x="48" y="56"/>
                  </a:lnTo>
                  <a:lnTo>
                    <a:pt x="56" y="46"/>
                  </a:lnTo>
                  <a:lnTo>
                    <a:pt x="68" y="36"/>
                  </a:lnTo>
                  <a:lnTo>
                    <a:pt x="80" y="26"/>
                  </a:lnTo>
                  <a:lnTo>
                    <a:pt x="80" y="26"/>
                  </a:lnTo>
                  <a:lnTo>
                    <a:pt x="92" y="20"/>
                  </a:lnTo>
                  <a:lnTo>
                    <a:pt x="106" y="12"/>
                  </a:lnTo>
                  <a:lnTo>
                    <a:pt x="120" y="8"/>
                  </a:lnTo>
                  <a:lnTo>
                    <a:pt x="134" y="4"/>
                  </a:lnTo>
                  <a:lnTo>
                    <a:pt x="160" y="0"/>
                  </a:lnTo>
                  <a:lnTo>
                    <a:pt x="186" y="0"/>
                  </a:lnTo>
                  <a:lnTo>
                    <a:pt x="208" y="2"/>
                  </a:lnTo>
                  <a:lnTo>
                    <a:pt x="226" y="4"/>
                  </a:lnTo>
                  <a:lnTo>
                    <a:pt x="242" y="6"/>
                  </a:lnTo>
                  <a:lnTo>
                    <a:pt x="242" y="6"/>
                  </a:lnTo>
                  <a:lnTo>
                    <a:pt x="240" y="22"/>
                  </a:lnTo>
                  <a:lnTo>
                    <a:pt x="234" y="40"/>
                  </a:lnTo>
                  <a:lnTo>
                    <a:pt x="228" y="62"/>
                  </a:lnTo>
                  <a:lnTo>
                    <a:pt x="216" y="83"/>
                  </a:lnTo>
                  <a:lnTo>
                    <a:pt x="202" y="107"/>
                  </a:lnTo>
                  <a:lnTo>
                    <a:pt x="194" y="119"/>
                  </a:lnTo>
                  <a:lnTo>
                    <a:pt x="184" y="129"/>
                  </a:lnTo>
                  <a:lnTo>
                    <a:pt x="174" y="139"/>
                  </a:lnTo>
                  <a:lnTo>
                    <a:pt x="162" y="149"/>
                  </a:lnTo>
                  <a:lnTo>
                    <a:pt x="162" y="149"/>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9" name="Freeform 2361">
              <a:extLst>
                <a:ext uri="{FF2B5EF4-FFF2-40B4-BE49-F238E27FC236}">
                  <a16:creationId xmlns:a16="http://schemas.microsoft.com/office/drawing/2014/main" id="{4F28C3A1-FF41-467A-948F-DAE03F07A3E6}"/>
                </a:ext>
              </a:extLst>
            </p:cNvPr>
            <p:cNvSpPr>
              <a:spLocks/>
            </p:cNvSpPr>
            <p:nvPr/>
          </p:nvSpPr>
          <p:spPr bwMode="auto">
            <a:xfrm>
              <a:off x="6595423" y="4962527"/>
              <a:ext cx="561019" cy="301950"/>
            </a:xfrm>
            <a:custGeom>
              <a:avLst/>
              <a:gdLst>
                <a:gd name="T0" fmla="*/ 178 w 314"/>
                <a:gd name="T1" fmla="*/ 4 h 169"/>
                <a:gd name="T2" fmla="*/ 178 w 314"/>
                <a:gd name="T3" fmla="*/ 4 h 169"/>
                <a:gd name="T4" fmla="*/ 194 w 314"/>
                <a:gd name="T5" fmla="*/ 10 h 169"/>
                <a:gd name="T6" fmla="*/ 208 w 314"/>
                <a:gd name="T7" fmla="*/ 16 h 169"/>
                <a:gd name="T8" fmla="*/ 222 w 314"/>
                <a:gd name="T9" fmla="*/ 24 h 169"/>
                <a:gd name="T10" fmla="*/ 236 w 314"/>
                <a:gd name="T11" fmla="*/ 32 h 169"/>
                <a:gd name="T12" fmla="*/ 260 w 314"/>
                <a:gd name="T13" fmla="*/ 52 h 169"/>
                <a:gd name="T14" fmla="*/ 278 w 314"/>
                <a:gd name="T15" fmla="*/ 71 h 169"/>
                <a:gd name="T16" fmla="*/ 294 w 314"/>
                <a:gd name="T17" fmla="*/ 91 h 169"/>
                <a:gd name="T18" fmla="*/ 306 w 314"/>
                <a:gd name="T19" fmla="*/ 107 h 169"/>
                <a:gd name="T20" fmla="*/ 314 w 314"/>
                <a:gd name="T21" fmla="*/ 123 h 169"/>
                <a:gd name="T22" fmla="*/ 314 w 314"/>
                <a:gd name="T23" fmla="*/ 123 h 169"/>
                <a:gd name="T24" fmla="*/ 300 w 314"/>
                <a:gd name="T25" fmla="*/ 133 h 169"/>
                <a:gd name="T26" fmla="*/ 282 w 314"/>
                <a:gd name="T27" fmla="*/ 141 h 169"/>
                <a:gd name="T28" fmla="*/ 258 w 314"/>
                <a:gd name="T29" fmla="*/ 151 h 169"/>
                <a:gd name="T30" fmla="*/ 232 w 314"/>
                <a:gd name="T31" fmla="*/ 161 h 169"/>
                <a:gd name="T32" fmla="*/ 202 w 314"/>
                <a:gd name="T33" fmla="*/ 167 h 169"/>
                <a:gd name="T34" fmla="*/ 186 w 314"/>
                <a:gd name="T35" fmla="*/ 167 h 169"/>
                <a:gd name="T36" fmla="*/ 170 w 314"/>
                <a:gd name="T37" fmla="*/ 169 h 169"/>
                <a:gd name="T38" fmla="*/ 154 w 314"/>
                <a:gd name="T39" fmla="*/ 167 h 169"/>
                <a:gd name="T40" fmla="*/ 138 w 314"/>
                <a:gd name="T41" fmla="*/ 163 h 169"/>
                <a:gd name="T42" fmla="*/ 138 w 314"/>
                <a:gd name="T43" fmla="*/ 163 h 169"/>
                <a:gd name="T44" fmla="*/ 122 w 314"/>
                <a:gd name="T45" fmla="*/ 159 h 169"/>
                <a:gd name="T46" fmla="*/ 106 w 314"/>
                <a:gd name="T47" fmla="*/ 153 h 169"/>
                <a:gd name="T48" fmla="*/ 92 w 314"/>
                <a:gd name="T49" fmla="*/ 145 h 169"/>
                <a:gd name="T50" fmla="*/ 80 w 314"/>
                <a:gd name="T51" fmla="*/ 135 h 169"/>
                <a:gd name="T52" fmla="*/ 56 w 314"/>
                <a:gd name="T53" fmla="*/ 117 h 169"/>
                <a:gd name="T54" fmla="*/ 36 w 314"/>
                <a:gd name="T55" fmla="*/ 95 h 169"/>
                <a:gd name="T56" fmla="*/ 22 w 314"/>
                <a:gd name="T57" fmla="*/ 77 h 169"/>
                <a:gd name="T58" fmla="*/ 10 w 314"/>
                <a:gd name="T59" fmla="*/ 60 h 169"/>
                <a:gd name="T60" fmla="*/ 0 w 314"/>
                <a:gd name="T61" fmla="*/ 46 h 169"/>
                <a:gd name="T62" fmla="*/ 0 w 314"/>
                <a:gd name="T63" fmla="*/ 46 h 169"/>
                <a:gd name="T64" fmla="*/ 16 w 314"/>
                <a:gd name="T65" fmla="*/ 36 h 169"/>
                <a:gd name="T66" fmla="*/ 34 w 314"/>
                <a:gd name="T67" fmla="*/ 26 h 169"/>
                <a:gd name="T68" fmla="*/ 56 w 314"/>
                <a:gd name="T69" fmla="*/ 16 h 169"/>
                <a:gd name="T70" fmla="*/ 84 w 314"/>
                <a:gd name="T71" fmla="*/ 8 h 169"/>
                <a:gd name="T72" fmla="*/ 114 w 314"/>
                <a:gd name="T73" fmla="*/ 2 h 169"/>
                <a:gd name="T74" fmla="*/ 130 w 314"/>
                <a:gd name="T75" fmla="*/ 0 h 169"/>
                <a:gd name="T76" fmla="*/ 146 w 314"/>
                <a:gd name="T77" fmla="*/ 0 h 169"/>
                <a:gd name="T78" fmla="*/ 162 w 314"/>
                <a:gd name="T79" fmla="*/ 2 h 169"/>
                <a:gd name="T80" fmla="*/ 178 w 314"/>
                <a:gd name="T81" fmla="*/ 4 h 169"/>
                <a:gd name="T82" fmla="*/ 178 w 314"/>
                <a:gd name="T83" fmla="*/ 4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14" h="169">
                  <a:moveTo>
                    <a:pt x="178" y="4"/>
                  </a:moveTo>
                  <a:lnTo>
                    <a:pt x="178" y="4"/>
                  </a:lnTo>
                  <a:lnTo>
                    <a:pt x="194" y="10"/>
                  </a:lnTo>
                  <a:lnTo>
                    <a:pt x="208" y="16"/>
                  </a:lnTo>
                  <a:lnTo>
                    <a:pt x="222" y="24"/>
                  </a:lnTo>
                  <a:lnTo>
                    <a:pt x="236" y="32"/>
                  </a:lnTo>
                  <a:lnTo>
                    <a:pt x="260" y="52"/>
                  </a:lnTo>
                  <a:lnTo>
                    <a:pt x="278" y="71"/>
                  </a:lnTo>
                  <a:lnTo>
                    <a:pt x="294" y="91"/>
                  </a:lnTo>
                  <a:lnTo>
                    <a:pt x="306" y="107"/>
                  </a:lnTo>
                  <a:lnTo>
                    <a:pt x="314" y="123"/>
                  </a:lnTo>
                  <a:lnTo>
                    <a:pt x="314" y="123"/>
                  </a:lnTo>
                  <a:lnTo>
                    <a:pt x="300" y="133"/>
                  </a:lnTo>
                  <a:lnTo>
                    <a:pt x="282" y="141"/>
                  </a:lnTo>
                  <a:lnTo>
                    <a:pt x="258" y="151"/>
                  </a:lnTo>
                  <a:lnTo>
                    <a:pt x="232" y="161"/>
                  </a:lnTo>
                  <a:lnTo>
                    <a:pt x="202" y="167"/>
                  </a:lnTo>
                  <a:lnTo>
                    <a:pt x="186" y="167"/>
                  </a:lnTo>
                  <a:lnTo>
                    <a:pt x="170" y="169"/>
                  </a:lnTo>
                  <a:lnTo>
                    <a:pt x="154" y="167"/>
                  </a:lnTo>
                  <a:lnTo>
                    <a:pt x="138" y="163"/>
                  </a:lnTo>
                  <a:lnTo>
                    <a:pt x="138" y="163"/>
                  </a:lnTo>
                  <a:lnTo>
                    <a:pt x="122" y="159"/>
                  </a:lnTo>
                  <a:lnTo>
                    <a:pt x="106" y="153"/>
                  </a:lnTo>
                  <a:lnTo>
                    <a:pt x="92" y="145"/>
                  </a:lnTo>
                  <a:lnTo>
                    <a:pt x="80" y="135"/>
                  </a:lnTo>
                  <a:lnTo>
                    <a:pt x="56" y="117"/>
                  </a:lnTo>
                  <a:lnTo>
                    <a:pt x="36" y="95"/>
                  </a:lnTo>
                  <a:lnTo>
                    <a:pt x="22" y="77"/>
                  </a:lnTo>
                  <a:lnTo>
                    <a:pt x="10" y="60"/>
                  </a:lnTo>
                  <a:lnTo>
                    <a:pt x="0" y="46"/>
                  </a:lnTo>
                  <a:lnTo>
                    <a:pt x="0" y="46"/>
                  </a:lnTo>
                  <a:lnTo>
                    <a:pt x="16" y="36"/>
                  </a:lnTo>
                  <a:lnTo>
                    <a:pt x="34" y="26"/>
                  </a:lnTo>
                  <a:lnTo>
                    <a:pt x="56" y="16"/>
                  </a:lnTo>
                  <a:lnTo>
                    <a:pt x="84" y="8"/>
                  </a:lnTo>
                  <a:lnTo>
                    <a:pt x="114" y="2"/>
                  </a:lnTo>
                  <a:lnTo>
                    <a:pt x="130" y="0"/>
                  </a:lnTo>
                  <a:lnTo>
                    <a:pt x="146" y="0"/>
                  </a:lnTo>
                  <a:lnTo>
                    <a:pt x="162" y="2"/>
                  </a:lnTo>
                  <a:lnTo>
                    <a:pt x="178" y="4"/>
                  </a:lnTo>
                  <a:lnTo>
                    <a:pt x="178" y="4"/>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0" name="Freeform 2365">
              <a:extLst>
                <a:ext uri="{FF2B5EF4-FFF2-40B4-BE49-F238E27FC236}">
                  <a16:creationId xmlns:a16="http://schemas.microsoft.com/office/drawing/2014/main" id="{3F19E121-19FF-490B-BBE2-2D0D35F5F949}"/>
                </a:ext>
              </a:extLst>
            </p:cNvPr>
            <p:cNvSpPr>
              <a:spLocks/>
            </p:cNvSpPr>
            <p:nvPr/>
          </p:nvSpPr>
          <p:spPr bwMode="auto">
            <a:xfrm>
              <a:off x="6995641" y="4294307"/>
              <a:ext cx="285869" cy="485978"/>
            </a:xfrm>
            <a:custGeom>
              <a:avLst/>
              <a:gdLst>
                <a:gd name="T0" fmla="*/ 10 w 160"/>
                <a:gd name="T1" fmla="*/ 108 h 272"/>
                <a:gd name="T2" fmla="*/ 10 w 160"/>
                <a:gd name="T3" fmla="*/ 108 h 272"/>
                <a:gd name="T4" fmla="*/ 6 w 160"/>
                <a:gd name="T5" fmla="*/ 122 h 272"/>
                <a:gd name="T6" fmla="*/ 2 w 160"/>
                <a:gd name="T7" fmla="*/ 136 h 272"/>
                <a:gd name="T8" fmla="*/ 0 w 160"/>
                <a:gd name="T9" fmla="*/ 152 h 272"/>
                <a:gd name="T10" fmla="*/ 0 w 160"/>
                <a:gd name="T11" fmla="*/ 166 h 272"/>
                <a:gd name="T12" fmla="*/ 2 w 160"/>
                <a:gd name="T13" fmla="*/ 194 h 272"/>
                <a:gd name="T14" fmla="*/ 6 w 160"/>
                <a:gd name="T15" fmla="*/ 218 h 272"/>
                <a:gd name="T16" fmla="*/ 12 w 160"/>
                <a:gd name="T17" fmla="*/ 240 h 272"/>
                <a:gd name="T18" fmla="*/ 18 w 160"/>
                <a:gd name="T19" fmla="*/ 258 h 272"/>
                <a:gd name="T20" fmla="*/ 24 w 160"/>
                <a:gd name="T21" fmla="*/ 272 h 272"/>
                <a:gd name="T22" fmla="*/ 24 w 160"/>
                <a:gd name="T23" fmla="*/ 272 h 272"/>
                <a:gd name="T24" fmla="*/ 40 w 160"/>
                <a:gd name="T25" fmla="*/ 266 h 272"/>
                <a:gd name="T26" fmla="*/ 56 w 160"/>
                <a:gd name="T27" fmla="*/ 258 h 272"/>
                <a:gd name="T28" fmla="*/ 76 w 160"/>
                <a:gd name="T29" fmla="*/ 246 h 272"/>
                <a:gd name="T30" fmla="*/ 96 w 160"/>
                <a:gd name="T31" fmla="*/ 232 h 272"/>
                <a:gd name="T32" fmla="*/ 116 w 160"/>
                <a:gd name="T33" fmla="*/ 214 h 272"/>
                <a:gd name="T34" fmla="*/ 126 w 160"/>
                <a:gd name="T35" fmla="*/ 202 h 272"/>
                <a:gd name="T36" fmla="*/ 134 w 160"/>
                <a:gd name="T37" fmla="*/ 190 h 272"/>
                <a:gd name="T38" fmla="*/ 142 w 160"/>
                <a:gd name="T39" fmla="*/ 178 h 272"/>
                <a:gd name="T40" fmla="*/ 150 w 160"/>
                <a:gd name="T41" fmla="*/ 164 h 272"/>
                <a:gd name="T42" fmla="*/ 150 w 160"/>
                <a:gd name="T43" fmla="*/ 164 h 272"/>
                <a:gd name="T44" fmla="*/ 154 w 160"/>
                <a:gd name="T45" fmla="*/ 150 h 272"/>
                <a:gd name="T46" fmla="*/ 158 w 160"/>
                <a:gd name="T47" fmla="*/ 136 h 272"/>
                <a:gd name="T48" fmla="*/ 160 w 160"/>
                <a:gd name="T49" fmla="*/ 120 h 272"/>
                <a:gd name="T50" fmla="*/ 160 w 160"/>
                <a:gd name="T51" fmla="*/ 106 h 272"/>
                <a:gd name="T52" fmla="*/ 158 w 160"/>
                <a:gd name="T53" fmla="*/ 78 h 272"/>
                <a:gd name="T54" fmla="*/ 154 w 160"/>
                <a:gd name="T55" fmla="*/ 54 h 272"/>
                <a:gd name="T56" fmla="*/ 148 w 160"/>
                <a:gd name="T57" fmla="*/ 32 h 272"/>
                <a:gd name="T58" fmla="*/ 142 w 160"/>
                <a:gd name="T59" fmla="*/ 14 h 272"/>
                <a:gd name="T60" fmla="*/ 136 w 160"/>
                <a:gd name="T61" fmla="*/ 0 h 272"/>
                <a:gd name="T62" fmla="*/ 136 w 160"/>
                <a:gd name="T63" fmla="*/ 0 h 272"/>
                <a:gd name="T64" fmla="*/ 120 w 160"/>
                <a:gd name="T65" fmla="*/ 6 h 272"/>
                <a:gd name="T66" fmla="*/ 104 w 160"/>
                <a:gd name="T67" fmla="*/ 14 h 272"/>
                <a:gd name="T68" fmla="*/ 84 w 160"/>
                <a:gd name="T69" fmla="*/ 26 h 272"/>
                <a:gd name="T70" fmla="*/ 64 w 160"/>
                <a:gd name="T71" fmla="*/ 40 h 272"/>
                <a:gd name="T72" fmla="*/ 44 w 160"/>
                <a:gd name="T73" fmla="*/ 58 h 272"/>
                <a:gd name="T74" fmla="*/ 34 w 160"/>
                <a:gd name="T75" fmla="*/ 70 h 272"/>
                <a:gd name="T76" fmla="*/ 24 w 160"/>
                <a:gd name="T77" fmla="*/ 82 h 272"/>
                <a:gd name="T78" fmla="*/ 18 w 160"/>
                <a:gd name="T79" fmla="*/ 94 h 272"/>
                <a:gd name="T80" fmla="*/ 10 w 160"/>
                <a:gd name="T81" fmla="*/ 108 h 272"/>
                <a:gd name="T82" fmla="*/ 10 w 160"/>
                <a:gd name="T83" fmla="*/ 108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60" h="272">
                  <a:moveTo>
                    <a:pt x="10" y="108"/>
                  </a:moveTo>
                  <a:lnTo>
                    <a:pt x="10" y="108"/>
                  </a:lnTo>
                  <a:lnTo>
                    <a:pt x="6" y="122"/>
                  </a:lnTo>
                  <a:lnTo>
                    <a:pt x="2" y="136"/>
                  </a:lnTo>
                  <a:lnTo>
                    <a:pt x="0" y="152"/>
                  </a:lnTo>
                  <a:lnTo>
                    <a:pt x="0" y="166"/>
                  </a:lnTo>
                  <a:lnTo>
                    <a:pt x="2" y="194"/>
                  </a:lnTo>
                  <a:lnTo>
                    <a:pt x="6" y="218"/>
                  </a:lnTo>
                  <a:lnTo>
                    <a:pt x="12" y="240"/>
                  </a:lnTo>
                  <a:lnTo>
                    <a:pt x="18" y="258"/>
                  </a:lnTo>
                  <a:lnTo>
                    <a:pt x="24" y="272"/>
                  </a:lnTo>
                  <a:lnTo>
                    <a:pt x="24" y="272"/>
                  </a:lnTo>
                  <a:lnTo>
                    <a:pt x="40" y="266"/>
                  </a:lnTo>
                  <a:lnTo>
                    <a:pt x="56" y="258"/>
                  </a:lnTo>
                  <a:lnTo>
                    <a:pt x="76" y="246"/>
                  </a:lnTo>
                  <a:lnTo>
                    <a:pt x="96" y="232"/>
                  </a:lnTo>
                  <a:lnTo>
                    <a:pt x="116" y="214"/>
                  </a:lnTo>
                  <a:lnTo>
                    <a:pt x="126" y="202"/>
                  </a:lnTo>
                  <a:lnTo>
                    <a:pt x="134" y="190"/>
                  </a:lnTo>
                  <a:lnTo>
                    <a:pt x="142" y="178"/>
                  </a:lnTo>
                  <a:lnTo>
                    <a:pt x="150" y="164"/>
                  </a:lnTo>
                  <a:lnTo>
                    <a:pt x="150" y="164"/>
                  </a:lnTo>
                  <a:lnTo>
                    <a:pt x="154" y="150"/>
                  </a:lnTo>
                  <a:lnTo>
                    <a:pt x="158" y="136"/>
                  </a:lnTo>
                  <a:lnTo>
                    <a:pt x="160" y="120"/>
                  </a:lnTo>
                  <a:lnTo>
                    <a:pt x="160" y="106"/>
                  </a:lnTo>
                  <a:lnTo>
                    <a:pt x="158" y="78"/>
                  </a:lnTo>
                  <a:lnTo>
                    <a:pt x="154" y="54"/>
                  </a:lnTo>
                  <a:lnTo>
                    <a:pt x="148" y="32"/>
                  </a:lnTo>
                  <a:lnTo>
                    <a:pt x="142" y="14"/>
                  </a:lnTo>
                  <a:lnTo>
                    <a:pt x="136" y="0"/>
                  </a:lnTo>
                  <a:lnTo>
                    <a:pt x="136" y="0"/>
                  </a:lnTo>
                  <a:lnTo>
                    <a:pt x="120" y="6"/>
                  </a:lnTo>
                  <a:lnTo>
                    <a:pt x="104" y="14"/>
                  </a:lnTo>
                  <a:lnTo>
                    <a:pt x="84" y="26"/>
                  </a:lnTo>
                  <a:lnTo>
                    <a:pt x="64" y="40"/>
                  </a:lnTo>
                  <a:lnTo>
                    <a:pt x="44" y="58"/>
                  </a:lnTo>
                  <a:lnTo>
                    <a:pt x="34" y="70"/>
                  </a:lnTo>
                  <a:lnTo>
                    <a:pt x="24" y="82"/>
                  </a:lnTo>
                  <a:lnTo>
                    <a:pt x="18" y="94"/>
                  </a:lnTo>
                  <a:lnTo>
                    <a:pt x="10" y="108"/>
                  </a:lnTo>
                  <a:lnTo>
                    <a:pt x="10" y="108"/>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grpSp>
        <p:nvGrpSpPr>
          <p:cNvPr id="41" name="Group 41">
            <a:extLst>
              <a:ext uri="{FF2B5EF4-FFF2-40B4-BE49-F238E27FC236}">
                <a16:creationId xmlns:a16="http://schemas.microsoft.com/office/drawing/2014/main" id="{AF80863D-B3BE-4F43-A015-E79962D02EA6}"/>
              </a:ext>
            </a:extLst>
          </p:cNvPr>
          <p:cNvGrpSpPr/>
          <p:nvPr/>
        </p:nvGrpSpPr>
        <p:grpSpPr>
          <a:xfrm>
            <a:off x="9202141" y="2601690"/>
            <a:ext cx="2551385" cy="3861024"/>
            <a:chOff x="8399975" y="2525490"/>
            <a:chExt cx="2551385" cy="3861024"/>
          </a:xfrm>
        </p:grpSpPr>
        <p:sp>
          <p:nvSpPr>
            <p:cNvPr id="42" name="Freeform 1912">
              <a:extLst>
                <a:ext uri="{FF2B5EF4-FFF2-40B4-BE49-F238E27FC236}">
                  <a16:creationId xmlns:a16="http://schemas.microsoft.com/office/drawing/2014/main" id="{BABD0AFC-483F-477E-B489-A8F869B004B9}"/>
                </a:ext>
              </a:extLst>
            </p:cNvPr>
            <p:cNvSpPr>
              <a:spLocks/>
            </p:cNvSpPr>
            <p:nvPr/>
          </p:nvSpPr>
          <p:spPr bwMode="auto">
            <a:xfrm>
              <a:off x="10254553" y="2789919"/>
              <a:ext cx="357337" cy="471685"/>
            </a:xfrm>
            <a:custGeom>
              <a:avLst/>
              <a:gdLst>
                <a:gd name="T0" fmla="*/ 34 w 200"/>
                <a:gd name="T1" fmla="*/ 84 h 264"/>
                <a:gd name="T2" fmla="*/ 34 w 200"/>
                <a:gd name="T3" fmla="*/ 84 h 264"/>
                <a:gd name="T4" fmla="*/ 24 w 200"/>
                <a:gd name="T5" fmla="*/ 98 h 264"/>
                <a:gd name="T6" fmla="*/ 18 w 200"/>
                <a:gd name="T7" fmla="*/ 112 h 264"/>
                <a:gd name="T8" fmla="*/ 12 w 200"/>
                <a:gd name="T9" fmla="*/ 128 h 264"/>
                <a:gd name="T10" fmla="*/ 8 w 200"/>
                <a:gd name="T11" fmla="*/ 142 h 264"/>
                <a:gd name="T12" fmla="*/ 2 w 200"/>
                <a:gd name="T13" fmla="*/ 174 h 264"/>
                <a:gd name="T14" fmla="*/ 0 w 200"/>
                <a:gd name="T15" fmla="*/ 202 h 264"/>
                <a:gd name="T16" fmla="*/ 2 w 200"/>
                <a:gd name="T17" fmla="*/ 226 h 264"/>
                <a:gd name="T18" fmla="*/ 4 w 200"/>
                <a:gd name="T19" fmla="*/ 246 h 264"/>
                <a:gd name="T20" fmla="*/ 6 w 200"/>
                <a:gd name="T21" fmla="*/ 264 h 264"/>
                <a:gd name="T22" fmla="*/ 6 w 200"/>
                <a:gd name="T23" fmla="*/ 264 h 264"/>
                <a:gd name="T24" fmla="*/ 24 w 200"/>
                <a:gd name="T25" fmla="*/ 262 h 264"/>
                <a:gd name="T26" fmla="*/ 44 w 200"/>
                <a:gd name="T27" fmla="*/ 258 h 264"/>
                <a:gd name="T28" fmla="*/ 68 w 200"/>
                <a:gd name="T29" fmla="*/ 250 h 264"/>
                <a:gd name="T30" fmla="*/ 94 w 200"/>
                <a:gd name="T31" fmla="*/ 240 h 264"/>
                <a:gd name="T32" fmla="*/ 120 w 200"/>
                <a:gd name="T33" fmla="*/ 224 h 264"/>
                <a:gd name="T34" fmla="*/ 134 w 200"/>
                <a:gd name="T35" fmla="*/ 216 h 264"/>
                <a:gd name="T36" fmla="*/ 146 w 200"/>
                <a:gd name="T37" fmla="*/ 206 h 264"/>
                <a:gd name="T38" fmla="*/ 158 w 200"/>
                <a:gd name="T39" fmla="*/ 194 h 264"/>
                <a:gd name="T40" fmla="*/ 168 w 200"/>
                <a:gd name="T41" fmla="*/ 180 h 264"/>
                <a:gd name="T42" fmla="*/ 168 w 200"/>
                <a:gd name="T43" fmla="*/ 180 h 264"/>
                <a:gd name="T44" fmla="*/ 176 w 200"/>
                <a:gd name="T45" fmla="*/ 166 h 264"/>
                <a:gd name="T46" fmla="*/ 184 w 200"/>
                <a:gd name="T47" fmla="*/ 152 h 264"/>
                <a:gd name="T48" fmla="*/ 190 w 200"/>
                <a:gd name="T49" fmla="*/ 136 h 264"/>
                <a:gd name="T50" fmla="*/ 194 w 200"/>
                <a:gd name="T51" fmla="*/ 122 h 264"/>
                <a:gd name="T52" fmla="*/ 198 w 200"/>
                <a:gd name="T53" fmla="*/ 90 h 264"/>
                <a:gd name="T54" fmla="*/ 200 w 200"/>
                <a:gd name="T55" fmla="*/ 62 h 264"/>
                <a:gd name="T56" fmla="*/ 200 w 200"/>
                <a:gd name="T57" fmla="*/ 38 h 264"/>
                <a:gd name="T58" fmla="*/ 198 w 200"/>
                <a:gd name="T59" fmla="*/ 18 h 264"/>
                <a:gd name="T60" fmla="*/ 194 w 200"/>
                <a:gd name="T61" fmla="*/ 0 h 264"/>
                <a:gd name="T62" fmla="*/ 194 w 200"/>
                <a:gd name="T63" fmla="*/ 0 h 264"/>
                <a:gd name="T64" fmla="*/ 176 w 200"/>
                <a:gd name="T65" fmla="*/ 2 h 264"/>
                <a:gd name="T66" fmla="*/ 158 w 200"/>
                <a:gd name="T67" fmla="*/ 6 h 264"/>
                <a:gd name="T68" fmla="*/ 134 w 200"/>
                <a:gd name="T69" fmla="*/ 14 h 264"/>
                <a:gd name="T70" fmla="*/ 108 w 200"/>
                <a:gd name="T71" fmla="*/ 24 h 264"/>
                <a:gd name="T72" fmla="*/ 80 w 200"/>
                <a:gd name="T73" fmla="*/ 40 h 264"/>
                <a:gd name="T74" fmla="*/ 68 w 200"/>
                <a:gd name="T75" fmla="*/ 48 h 264"/>
                <a:gd name="T76" fmla="*/ 56 w 200"/>
                <a:gd name="T77" fmla="*/ 58 h 264"/>
                <a:gd name="T78" fmla="*/ 44 w 200"/>
                <a:gd name="T79" fmla="*/ 70 h 264"/>
                <a:gd name="T80" fmla="*/ 34 w 200"/>
                <a:gd name="T81" fmla="*/ 84 h 264"/>
                <a:gd name="T82" fmla="*/ 34 w 200"/>
                <a:gd name="T83" fmla="*/ 84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00" h="264">
                  <a:moveTo>
                    <a:pt x="34" y="84"/>
                  </a:moveTo>
                  <a:lnTo>
                    <a:pt x="34" y="84"/>
                  </a:lnTo>
                  <a:lnTo>
                    <a:pt x="24" y="98"/>
                  </a:lnTo>
                  <a:lnTo>
                    <a:pt x="18" y="112"/>
                  </a:lnTo>
                  <a:lnTo>
                    <a:pt x="12" y="128"/>
                  </a:lnTo>
                  <a:lnTo>
                    <a:pt x="8" y="142"/>
                  </a:lnTo>
                  <a:lnTo>
                    <a:pt x="2" y="174"/>
                  </a:lnTo>
                  <a:lnTo>
                    <a:pt x="0" y="202"/>
                  </a:lnTo>
                  <a:lnTo>
                    <a:pt x="2" y="226"/>
                  </a:lnTo>
                  <a:lnTo>
                    <a:pt x="4" y="246"/>
                  </a:lnTo>
                  <a:lnTo>
                    <a:pt x="6" y="264"/>
                  </a:lnTo>
                  <a:lnTo>
                    <a:pt x="6" y="264"/>
                  </a:lnTo>
                  <a:lnTo>
                    <a:pt x="24" y="262"/>
                  </a:lnTo>
                  <a:lnTo>
                    <a:pt x="44" y="258"/>
                  </a:lnTo>
                  <a:lnTo>
                    <a:pt x="68" y="250"/>
                  </a:lnTo>
                  <a:lnTo>
                    <a:pt x="94" y="240"/>
                  </a:lnTo>
                  <a:lnTo>
                    <a:pt x="120" y="224"/>
                  </a:lnTo>
                  <a:lnTo>
                    <a:pt x="134" y="216"/>
                  </a:lnTo>
                  <a:lnTo>
                    <a:pt x="146" y="206"/>
                  </a:lnTo>
                  <a:lnTo>
                    <a:pt x="158" y="194"/>
                  </a:lnTo>
                  <a:lnTo>
                    <a:pt x="168" y="180"/>
                  </a:lnTo>
                  <a:lnTo>
                    <a:pt x="168" y="180"/>
                  </a:lnTo>
                  <a:lnTo>
                    <a:pt x="176" y="166"/>
                  </a:lnTo>
                  <a:lnTo>
                    <a:pt x="184" y="152"/>
                  </a:lnTo>
                  <a:lnTo>
                    <a:pt x="190" y="136"/>
                  </a:lnTo>
                  <a:lnTo>
                    <a:pt x="194" y="122"/>
                  </a:lnTo>
                  <a:lnTo>
                    <a:pt x="198" y="90"/>
                  </a:lnTo>
                  <a:lnTo>
                    <a:pt x="200" y="62"/>
                  </a:lnTo>
                  <a:lnTo>
                    <a:pt x="200" y="38"/>
                  </a:lnTo>
                  <a:lnTo>
                    <a:pt x="198" y="18"/>
                  </a:lnTo>
                  <a:lnTo>
                    <a:pt x="194" y="0"/>
                  </a:lnTo>
                  <a:lnTo>
                    <a:pt x="194" y="0"/>
                  </a:lnTo>
                  <a:lnTo>
                    <a:pt x="176" y="2"/>
                  </a:lnTo>
                  <a:lnTo>
                    <a:pt x="158" y="6"/>
                  </a:lnTo>
                  <a:lnTo>
                    <a:pt x="134" y="14"/>
                  </a:lnTo>
                  <a:lnTo>
                    <a:pt x="108" y="24"/>
                  </a:lnTo>
                  <a:lnTo>
                    <a:pt x="80" y="40"/>
                  </a:lnTo>
                  <a:lnTo>
                    <a:pt x="68" y="48"/>
                  </a:lnTo>
                  <a:lnTo>
                    <a:pt x="56" y="58"/>
                  </a:lnTo>
                  <a:lnTo>
                    <a:pt x="44" y="70"/>
                  </a:lnTo>
                  <a:lnTo>
                    <a:pt x="34" y="84"/>
                  </a:lnTo>
                  <a:lnTo>
                    <a:pt x="34" y="84"/>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43" name="Freeform 1914">
              <a:extLst>
                <a:ext uri="{FF2B5EF4-FFF2-40B4-BE49-F238E27FC236}">
                  <a16:creationId xmlns:a16="http://schemas.microsoft.com/office/drawing/2014/main" id="{5DF151A7-40BD-4730-9E6D-1E1A1DE5B2FA}"/>
                </a:ext>
              </a:extLst>
            </p:cNvPr>
            <p:cNvSpPr>
              <a:spLocks/>
            </p:cNvSpPr>
            <p:nvPr/>
          </p:nvSpPr>
          <p:spPr bwMode="auto">
            <a:xfrm>
              <a:off x="10261700" y="3826196"/>
              <a:ext cx="300163" cy="568166"/>
            </a:xfrm>
            <a:custGeom>
              <a:avLst/>
              <a:gdLst>
                <a:gd name="T0" fmla="*/ 4 w 168"/>
                <a:gd name="T1" fmla="*/ 176 h 318"/>
                <a:gd name="T2" fmla="*/ 4 w 168"/>
                <a:gd name="T3" fmla="*/ 176 h 318"/>
                <a:gd name="T4" fmla="*/ 8 w 168"/>
                <a:gd name="T5" fmla="*/ 192 h 318"/>
                <a:gd name="T6" fmla="*/ 14 w 168"/>
                <a:gd name="T7" fmla="*/ 206 h 318"/>
                <a:gd name="T8" fmla="*/ 22 w 168"/>
                <a:gd name="T9" fmla="*/ 222 h 318"/>
                <a:gd name="T10" fmla="*/ 30 w 168"/>
                <a:gd name="T11" fmla="*/ 234 h 318"/>
                <a:gd name="T12" fmla="*/ 48 w 168"/>
                <a:gd name="T13" fmla="*/ 260 h 318"/>
                <a:gd name="T14" fmla="*/ 68 w 168"/>
                <a:gd name="T15" fmla="*/ 280 h 318"/>
                <a:gd name="T16" fmla="*/ 86 w 168"/>
                <a:gd name="T17" fmla="*/ 296 h 318"/>
                <a:gd name="T18" fmla="*/ 102 w 168"/>
                <a:gd name="T19" fmla="*/ 308 h 318"/>
                <a:gd name="T20" fmla="*/ 118 w 168"/>
                <a:gd name="T21" fmla="*/ 318 h 318"/>
                <a:gd name="T22" fmla="*/ 118 w 168"/>
                <a:gd name="T23" fmla="*/ 318 h 318"/>
                <a:gd name="T24" fmla="*/ 128 w 168"/>
                <a:gd name="T25" fmla="*/ 302 h 318"/>
                <a:gd name="T26" fmla="*/ 138 w 168"/>
                <a:gd name="T27" fmla="*/ 286 h 318"/>
                <a:gd name="T28" fmla="*/ 148 w 168"/>
                <a:gd name="T29" fmla="*/ 262 h 318"/>
                <a:gd name="T30" fmla="*/ 158 w 168"/>
                <a:gd name="T31" fmla="*/ 236 h 318"/>
                <a:gd name="T32" fmla="*/ 166 w 168"/>
                <a:gd name="T33" fmla="*/ 206 h 318"/>
                <a:gd name="T34" fmla="*/ 168 w 168"/>
                <a:gd name="T35" fmla="*/ 190 h 318"/>
                <a:gd name="T36" fmla="*/ 168 w 168"/>
                <a:gd name="T37" fmla="*/ 174 h 318"/>
                <a:gd name="T38" fmla="*/ 168 w 168"/>
                <a:gd name="T39" fmla="*/ 158 h 318"/>
                <a:gd name="T40" fmla="*/ 164 w 168"/>
                <a:gd name="T41" fmla="*/ 142 h 318"/>
                <a:gd name="T42" fmla="*/ 164 w 168"/>
                <a:gd name="T43" fmla="*/ 142 h 318"/>
                <a:gd name="T44" fmla="*/ 160 w 168"/>
                <a:gd name="T45" fmla="*/ 126 h 318"/>
                <a:gd name="T46" fmla="*/ 154 w 168"/>
                <a:gd name="T47" fmla="*/ 110 h 318"/>
                <a:gd name="T48" fmla="*/ 148 w 168"/>
                <a:gd name="T49" fmla="*/ 96 h 318"/>
                <a:gd name="T50" fmla="*/ 140 w 168"/>
                <a:gd name="T51" fmla="*/ 82 h 318"/>
                <a:gd name="T52" fmla="*/ 120 w 168"/>
                <a:gd name="T53" fmla="*/ 58 h 318"/>
                <a:gd name="T54" fmla="*/ 100 w 168"/>
                <a:gd name="T55" fmla="*/ 38 h 318"/>
                <a:gd name="T56" fmla="*/ 82 w 168"/>
                <a:gd name="T57" fmla="*/ 22 h 318"/>
                <a:gd name="T58" fmla="*/ 66 w 168"/>
                <a:gd name="T59" fmla="*/ 10 h 318"/>
                <a:gd name="T60" fmla="*/ 50 w 168"/>
                <a:gd name="T61" fmla="*/ 0 h 318"/>
                <a:gd name="T62" fmla="*/ 50 w 168"/>
                <a:gd name="T63" fmla="*/ 0 h 318"/>
                <a:gd name="T64" fmla="*/ 40 w 168"/>
                <a:gd name="T65" fmla="*/ 16 h 318"/>
                <a:gd name="T66" fmla="*/ 32 w 168"/>
                <a:gd name="T67" fmla="*/ 32 h 318"/>
                <a:gd name="T68" fmla="*/ 20 w 168"/>
                <a:gd name="T69" fmla="*/ 56 h 318"/>
                <a:gd name="T70" fmla="*/ 10 w 168"/>
                <a:gd name="T71" fmla="*/ 82 h 318"/>
                <a:gd name="T72" fmla="*/ 4 w 168"/>
                <a:gd name="T73" fmla="*/ 112 h 318"/>
                <a:gd name="T74" fmla="*/ 2 w 168"/>
                <a:gd name="T75" fmla="*/ 126 h 318"/>
                <a:gd name="T76" fmla="*/ 0 w 168"/>
                <a:gd name="T77" fmla="*/ 142 h 318"/>
                <a:gd name="T78" fmla="*/ 2 w 168"/>
                <a:gd name="T79" fmla="*/ 160 h 318"/>
                <a:gd name="T80" fmla="*/ 4 w 168"/>
                <a:gd name="T81" fmla="*/ 176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8" h="318">
                  <a:moveTo>
                    <a:pt x="4" y="176"/>
                  </a:moveTo>
                  <a:lnTo>
                    <a:pt x="4" y="176"/>
                  </a:lnTo>
                  <a:lnTo>
                    <a:pt x="8" y="192"/>
                  </a:lnTo>
                  <a:lnTo>
                    <a:pt x="14" y="206"/>
                  </a:lnTo>
                  <a:lnTo>
                    <a:pt x="22" y="222"/>
                  </a:lnTo>
                  <a:lnTo>
                    <a:pt x="30" y="234"/>
                  </a:lnTo>
                  <a:lnTo>
                    <a:pt x="48" y="260"/>
                  </a:lnTo>
                  <a:lnTo>
                    <a:pt x="68" y="280"/>
                  </a:lnTo>
                  <a:lnTo>
                    <a:pt x="86" y="296"/>
                  </a:lnTo>
                  <a:lnTo>
                    <a:pt x="102" y="308"/>
                  </a:lnTo>
                  <a:lnTo>
                    <a:pt x="118" y="318"/>
                  </a:lnTo>
                  <a:lnTo>
                    <a:pt x="118" y="318"/>
                  </a:lnTo>
                  <a:lnTo>
                    <a:pt x="128" y="302"/>
                  </a:lnTo>
                  <a:lnTo>
                    <a:pt x="138" y="286"/>
                  </a:lnTo>
                  <a:lnTo>
                    <a:pt x="148" y="262"/>
                  </a:lnTo>
                  <a:lnTo>
                    <a:pt x="158" y="236"/>
                  </a:lnTo>
                  <a:lnTo>
                    <a:pt x="166" y="206"/>
                  </a:lnTo>
                  <a:lnTo>
                    <a:pt x="168" y="190"/>
                  </a:lnTo>
                  <a:lnTo>
                    <a:pt x="168" y="174"/>
                  </a:lnTo>
                  <a:lnTo>
                    <a:pt x="168" y="158"/>
                  </a:lnTo>
                  <a:lnTo>
                    <a:pt x="164" y="142"/>
                  </a:lnTo>
                  <a:lnTo>
                    <a:pt x="164" y="142"/>
                  </a:lnTo>
                  <a:lnTo>
                    <a:pt x="160" y="126"/>
                  </a:lnTo>
                  <a:lnTo>
                    <a:pt x="154" y="110"/>
                  </a:lnTo>
                  <a:lnTo>
                    <a:pt x="148" y="96"/>
                  </a:lnTo>
                  <a:lnTo>
                    <a:pt x="140" y="82"/>
                  </a:lnTo>
                  <a:lnTo>
                    <a:pt x="120" y="58"/>
                  </a:lnTo>
                  <a:lnTo>
                    <a:pt x="100" y="38"/>
                  </a:lnTo>
                  <a:lnTo>
                    <a:pt x="82" y="22"/>
                  </a:lnTo>
                  <a:lnTo>
                    <a:pt x="66" y="10"/>
                  </a:lnTo>
                  <a:lnTo>
                    <a:pt x="50" y="0"/>
                  </a:lnTo>
                  <a:lnTo>
                    <a:pt x="50" y="0"/>
                  </a:lnTo>
                  <a:lnTo>
                    <a:pt x="40" y="16"/>
                  </a:lnTo>
                  <a:lnTo>
                    <a:pt x="32" y="32"/>
                  </a:lnTo>
                  <a:lnTo>
                    <a:pt x="20" y="56"/>
                  </a:lnTo>
                  <a:lnTo>
                    <a:pt x="10" y="82"/>
                  </a:lnTo>
                  <a:lnTo>
                    <a:pt x="4" y="112"/>
                  </a:lnTo>
                  <a:lnTo>
                    <a:pt x="2" y="126"/>
                  </a:lnTo>
                  <a:lnTo>
                    <a:pt x="0" y="142"/>
                  </a:lnTo>
                  <a:lnTo>
                    <a:pt x="2" y="160"/>
                  </a:lnTo>
                  <a:lnTo>
                    <a:pt x="4" y="17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44" name="Freeform 1915">
              <a:extLst>
                <a:ext uri="{FF2B5EF4-FFF2-40B4-BE49-F238E27FC236}">
                  <a16:creationId xmlns:a16="http://schemas.microsoft.com/office/drawing/2014/main" id="{D3BBF7DF-5933-4E32-8BEB-8A183BA09645}"/>
                </a:ext>
              </a:extLst>
            </p:cNvPr>
            <p:cNvSpPr>
              <a:spLocks/>
            </p:cNvSpPr>
            <p:nvPr/>
          </p:nvSpPr>
          <p:spPr bwMode="auto">
            <a:xfrm>
              <a:off x="10261700" y="3826196"/>
              <a:ext cx="300163" cy="568166"/>
            </a:xfrm>
            <a:custGeom>
              <a:avLst/>
              <a:gdLst>
                <a:gd name="T0" fmla="*/ 4 w 168"/>
                <a:gd name="T1" fmla="*/ 176 h 318"/>
                <a:gd name="T2" fmla="*/ 4 w 168"/>
                <a:gd name="T3" fmla="*/ 176 h 318"/>
                <a:gd name="T4" fmla="*/ 8 w 168"/>
                <a:gd name="T5" fmla="*/ 192 h 318"/>
                <a:gd name="T6" fmla="*/ 14 w 168"/>
                <a:gd name="T7" fmla="*/ 206 h 318"/>
                <a:gd name="T8" fmla="*/ 22 w 168"/>
                <a:gd name="T9" fmla="*/ 222 h 318"/>
                <a:gd name="T10" fmla="*/ 30 w 168"/>
                <a:gd name="T11" fmla="*/ 234 h 318"/>
                <a:gd name="T12" fmla="*/ 48 w 168"/>
                <a:gd name="T13" fmla="*/ 260 h 318"/>
                <a:gd name="T14" fmla="*/ 68 w 168"/>
                <a:gd name="T15" fmla="*/ 280 h 318"/>
                <a:gd name="T16" fmla="*/ 86 w 168"/>
                <a:gd name="T17" fmla="*/ 296 h 318"/>
                <a:gd name="T18" fmla="*/ 102 w 168"/>
                <a:gd name="T19" fmla="*/ 308 h 318"/>
                <a:gd name="T20" fmla="*/ 118 w 168"/>
                <a:gd name="T21" fmla="*/ 318 h 318"/>
                <a:gd name="T22" fmla="*/ 118 w 168"/>
                <a:gd name="T23" fmla="*/ 318 h 318"/>
                <a:gd name="T24" fmla="*/ 128 w 168"/>
                <a:gd name="T25" fmla="*/ 302 h 318"/>
                <a:gd name="T26" fmla="*/ 138 w 168"/>
                <a:gd name="T27" fmla="*/ 286 h 318"/>
                <a:gd name="T28" fmla="*/ 148 w 168"/>
                <a:gd name="T29" fmla="*/ 262 h 318"/>
                <a:gd name="T30" fmla="*/ 158 w 168"/>
                <a:gd name="T31" fmla="*/ 236 h 318"/>
                <a:gd name="T32" fmla="*/ 166 w 168"/>
                <a:gd name="T33" fmla="*/ 206 h 318"/>
                <a:gd name="T34" fmla="*/ 168 w 168"/>
                <a:gd name="T35" fmla="*/ 190 h 318"/>
                <a:gd name="T36" fmla="*/ 168 w 168"/>
                <a:gd name="T37" fmla="*/ 174 h 318"/>
                <a:gd name="T38" fmla="*/ 168 w 168"/>
                <a:gd name="T39" fmla="*/ 158 h 318"/>
                <a:gd name="T40" fmla="*/ 164 w 168"/>
                <a:gd name="T41" fmla="*/ 142 h 318"/>
                <a:gd name="T42" fmla="*/ 164 w 168"/>
                <a:gd name="T43" fmla="*/ 142 h 318"/>
                <a:gd name="T44" fmla="*/ 160 w 168"/>
                <a:gd name="T45" fmla="*/ 126 h 318"/>
                <a:gd name="T46" fmla="*/ 154 w 168"/>
                <a:gd name="T47" fmla="*/ 110 h 318"/>
                <a:gd name="T48" fmla="*/ 148 w 168"/>
                <a:gd name="T49" fmla="*/ 96 h 318"/>
                <a:gd name="T50" fmla="*/ 140 w 168"/>
                <a:gd name="T51" fmla="*/ 82 h 318"/>
                <a:gd name="T52" fmla="*/ 120 w 168"/>
                <a:gd name="T53" fmla="*/ 58 h 318"/>
                <a:gd name="T54" fmla="*/ 100 w 168"/>
                <a:gd name="T55" fmla="*/ 38 h 318"/>
                <a:gd name="T56" fmla="*/ 82 w 168"/>
                <a:gd name="T57" fmla="*/ 22 h 318"/>
                <a:gd name="T58" fmla="*/ 66 w 168"/>
                <a:gd name="T59" fmla="*/ 10 h 318"/>
                <a:gd name="T60" fmla="*/ 50 w 168"/>
                <a:gd name="T61" fmla="*/ 0 h 318"/>
                <a:gd name="T62" fmla="*/ 50 w 168"/>
                <a:gd name="T63" fmla="*/ 0 h 318"/>
                <a:gd name="T64" fmla="*/ 40 w 168"/>
                <a:gd name="T65" fmla="*/ 16 h 318"/>
                <a:gd name="T66" fmla="*/ 32 w 168"/>
                <a:gd name="T67" fmla="*/ 32 h 318"/>
                <a:gd name="T68" fmla="*/ 20 w 168"/>
                <a:gd name="T69" fmla="*/ 56 h 318"/>
                <a:gd name="T70" fmla="*/ 10 w 168"/>
                <a:gd name="T71" fmla="*/ 82 h 318"/>
                <a:gd name="T72" fmla="*/ 4 w 168"/>
                <a:gd name="T73" fmla="*/ 112 h 318"/>
                <a:gd name="T74" fmla="*/ 2 w 168"/>
                <a:gd name="T75" fmla="*/ 126 h 318"/>
                <a:gd name="T76" fmla="*/ 0 w 168"/>
                <a:gd name="T77" fmla="*/ 142 h 318"/>
                <a:gd name="T78" fmla="*/ 2 w 168"/>
                <a:gd name="T79" fmla="*/ 160 h 318"/>
                <a:gd name="T80" fmla="*/ 4 w 168"/>
                <a:gd name="T81" fmla="*/ 176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8" h="318">
                  <a:moveTo>
                    <a:pt x="4" y="176"/>
                  </a:moveTo>
                  <a:lnTo>
                    <a:pt x="4" y="176"/>
                  </a:lnTo>
                  <a:lnTo>
                    <a:pt x="8" y="192"/>
                  </a:lnTo>
                  <a:lnTo>
                    <a:pt x="14" y="206"/>
                  </a:lnTo>
                  <a:lnTo>
                    <a:pt x="22" y="222"/>
                  </a:lnTo>
                  <a:lnTo>
                    <a:pt x="30" y="234"/>
                  </a:lnTo>
                  <a:lnTo>
                    <a:pt x="48" y="260"/>
                  </a:lnTo>
                  <a:lnTo>
                    <a:pt x="68" y="280"/>
                  </a:lnTo>
                  <a:lnTo>
                    <a:pt x="86" y="296"/>
                  </a:lnTo>
                  <a:lnTo>
                    <a:pt x="102" y="308"/>
                  </a:lnTo>
                  <a:lnTo>
                    <a:pt x="118" y="318"/>
                  </a:lnTo>
                  <a:lnTo>
                    <a:pt x="118" y="318"/>
                  </a:lnTo>
                  <a:lnTo>
                    <a:pt x="128" y="302"/>
                  </a:lnTo>
                  <a:lnTo>
                    <a:pt x="138" y="286"/>
                  </a:lnTo>
                  <a:lnTo>
                    <a:pt x="148" y="262"/>
                  </a:lnTo>
                  <a:lnTo>
                    <a:pt x="158" y="236"/>
                  </a:lnTo>
                  <a:lnTo>
                    <a:pt x="166" y="206"/>
                  </a:lnTo>
                  <a:lnTo>
                    <a:pt x="168" y="190"/>
                  </a:lnTo>
                  <a:lnTo>
                    <a:pt x="168" y="174"/>
                  </a:lnTo>
                  <a:lnTo>
                    <a:pt x="168" y="158"/>
                  </a:lnTo>
                  <a:lnTo>
                    <a:pt x="164" y="142"/>
                  </a:lnTo>
                  <a:lnTo>
                    <a:pt x="164" y="142"/>
                  </a:lnTo>
                  <a:lnTo>
                    <a:pt x="160" y="126"/>
                  </a:lnTo>
                  <a:lnTo>
                    <a:pt x="154" y="110"/>
                  </a:lnTo>
                  <a:lnTo>
                    <a:pt x="148" y="96"/>
                  </a:lnTo>
                  <a:lnTo>
                    <a:pt x="140" y="82"/>
                  </a:lnTo>
                  <a:lnTo>
                    <a:pt x="120" y="58"/>
                  </a:lnTo>
                  <a:lnTo>
                    <a:pt x="100" y="38"/>
                  </a:lnTo>
                  <a:lnTo>
                    <a:pt x="82" y="22"/>
                  </a:lnTo>
                  <a:lnTo>
                    <a:pt x="66" y="10"/>
                  </a:lnTo>
                  <a:lnTo>
                    <a:pt x="50" y="0"/>
                  </a:lnTo>
                  <a:lnTo>
                    <a:pt x="50" y="0"/>
                  </a:lnTo>
                  <a:lnTo>
                    <a:pt x="40" y="16"/>
                  </a:lnTo>
                  <a:lnTo>
                    <a:pt x="32" y="32"/>
                  </a:lnTo>
                  <a:lnTo>
                    <a:pt x="20" y="56"/>
                  </a:lnTo>
                  <a:lnTo>
                    <a:pt x="10" y="82"/>
                  </a:lnTo>
                  <a:lnTo>
                    <a:pt x="4" y="112"/>
                  </a:lnTo>
                  <a:lnTo>
                    <a:pt x="2" y="126"/>
                  </a:lnTo>
                  <a:lnTo>
                    <a:pt x="0" y="142"/>
                  </a:lnTo>
                  <a:lnTo>
                    <a:pt x="2" y="160"/>
                  </a:lnTo>
                  <a:lnTo>
                    <a:pt x="4" y="17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45" name="Freeform 1917">
              <a:extLst>
                <a:ext uri="{FF2B5EF4-FFF2-40B4-BE49-F238E27FC236}">
                  <a16:creationId xmlns:a16="http://schemas.microsoft.com/office/drawing/2014/main" id="{3F3CEB47-76C7-4D71-8A6F-9A16C443BA74}"/>
                </a:ext>
              </a:extLst>
            </p:cNvPr>
            <p:cNvSpPr>
              <a:spLocks/>
            </p:cNvSpPr>
            <p:nvPr/>
          </p:nvSpPr>
          <p:spPr bwMode="auto">
            <a:xfrm>
              <a:off x="10247406" y="3808329"/>
              <a:ext cx="328750" cy="603899"/>
            </a:xfrm>
            <a:custGeom>
              <a:avLst/>
              <a:gdLst>
                <a:gd name="T0" fmla="*/ 4 w 184"/>
                <a:gd name="T1" fmla="*/ 188 h 338"/>
                <a:gd name="T2" fmla="*/ 8 w 184"/>
                <a:gd name="T3" fmla="*/ 204 h 338"/>
                <a:gd name="T4" fmla="*/ 22 w 184"/>
                <a:gd name="T5" fmla="*/ 236 h 338"/>
                <a:gd name="T6" fmla="*/ 50 w 184"/>
                <a:gd name="T7" fmla="*/ 274 h 338"/>
                <a:gd name="T8" fmla="*/ 70 w 184"/>
                <a:gd name="T9" fmla="*/ 296 h 338"/>
                <a:gd name="T10" fmla="*/ 106 w 184"/>
                <a:gd name="T11" fmla="*/ 324 h 338"/>
                <a:gd name="T12" fmla="*/ 128 w 184"/>
                <a:gd name="T13" fmla="*/ 338 h 338"/>
                <a:gd name="T14" fmla="*/ 132 w 184"/>
                <a:gd name="T15" fmla="*/ 332 h 338"/>
                <a:gd name="T16" fmla="*/ 148 w 184"/>
                <a:gd name="T17" fmla="*/ 306 h 338"/>
                <a:gd name="T18" fmla="*/ 158 w 184"/>
                <a:gd name="T19" fmla="*/ 288 h 338"/>
                <a:gd name="T20" fmla="*/ 176 w 184"/>
                <a:gd name="T21" fmla="*/ 240 h 338"/>
                <a:gd name="T22" fmla="*/ 184 w 184"/>
                <a:gd name="T23" fmla="*/ 184 h 338"/>
                <a:gd name="T24" fmla="*/ 184 w 184"/>
                <a:gd name="T25" fmla="*/ 168 h 338"/>
                <a:gd name="T26" fmla="*/ 180 w 184"/>
                <a:gd name="T27" fmla="*/ 150 h 338"/>
                <a:gd name="T28" fmla="*/ 170 w 184"/>
                <a:gd name="T29" fmla="*/ 118 h 338"/>
                <a:gd name="T30" fmla="*/ 154 w 184"/>
                <a:gd name="T31" fmla="*/ 88 h 338"/>
                <a:gd name="T32" fmla="*/ 114 w 184"/>
                <a:gd name="T33" fmla="*/ 42 h 338"/>
                <a:gd name="T34" fmla="*/ 94 w 184"/>
                <a:gd name="T35" fmla="*/ 26 h 338"/>
                <a:gd name="T36" fmla="*/ 62 w 184"/>
                <a:gd name="T37" fmla="*/ 4 h 338"/>
                <a:gd name="T38" fmla="*/ 52 w 184"/>
                <a:gd name="T39" fmla="*/ 6 h 338"/>
                <a:gd name="T40" fmla="*/ 44 w 184"/>
                <a:gd name="T41" fmla="*/ 18 h 338"/>
                <a:gd name="T42" fmla="*/ 26 w 184"/>
                <a:gd name="T43" fmla="*/ 50 h 338"/>
                <a:gd name="T44" fmla="*/ 18 w 184"/>
                <a:gd name="T45" fmla="*/ 72 h 338"/>
                <a:gd name="T46" fmla="*/ 2 w 184"/>
                <a:gd name="T47" fmla="*/ 124 h 338"/>
                <a:gd name="T48" fmla="*/ 0 w 184"/>
                <a:gd name="T49" fmla="*/ 154 h 338"/>
                <a:gd name="T50" fmla="*/ 4 w 184"/>
                <a:gd name="T51" fmla="*/ 188 h 338"/>
                <a:gd name="T52" fmla="*/ 20 w 184"/>
                <a:gd name="T53" fmla="*/ 184 h 338"/>
                <a:gd name="T54" fmla="*/ 18 w 184"/>
                <a:gd name="T55" fmla="*/ 168 h 338"/>
                <a:gd name="T56" fmla="*/ 16 w 184"/>
                <a:gd name="T57" fmla="*/ 154 h 338"/>
                <a:gd name="T58" fmla="*/ 24 w 184"/>
                <a:gd name="T59" fmla="*/ 102 h 338"/>
                <a:gd name="T60" fmla="*/ 42 w 184"/>
                <a:gd name="T61" fmla="*/ 56 h 338"/>
                <a:gd name="T62" fmla="*/ 50 w 184"/>
                <a:gd name="T63" fmla="*/ 40 h 338"/>
                <a:gd name="T64" fmla="*/ 58 w 184"/>
                <a:gd name="T65" fmla="*/ 26 h 338"/>
                <a:gd name="T66" fmla="*/ 64 w 184"/>
                <a:gd name="T67" fmla="*/ 18 h 338"/>
                <a:gd name="T68" fmla="*/ 66 w 184"/>
                <a:gd name="T69" fmla="*/ 14 h 338"/>
                <a:gd name="T70" fmla="*/ 58 w 184"/>
                <a:gd name="T71" fmla="*/ 10 h 338"/>
                <a:gd name="T72" fmla="*/ 56 w 184"/>
                <a:gd name="T73" fmla="*/ 18 h 338"/>
                <a:gd name="T74" fmla="*/ 72 w 184"/>
                <a:gd name="T75" fmla="*/ 28 h 338"/>
                <a:gd name="T76" fmla="*/ 106 w 184"/>
                <a:gd name="T77" fmla="*/ 56 h 338"/>
                <a:gd name="T78" fmla="*/ 124 w 184"/>
                <a:gd name="T79" fmla="*/ 76 h 338"/>
                <a:gd name="T80" fmla="*/ 148 w 184"/>
                <a:gd name="T81" fmla="*/ 112 h 338"/>
                <a:gd name="T82" fmla="*/ 160 w 184"/>
                <a:gd name="T83" fmla="*/ 138 h 338"/>
                <a:gd name="T84" fmla="*/ 164 w 184"/>
                <a:gd name="T85" fmla="*/ 154 h 338"/>
                <a:gd name="T86" fmla="*/ 168 w 184"/>
                <a:gd name="T87" fmla="*/ 184 h 338"/>
                <a:gd name="T88" fmla="*/ 166 w 184"/>
                <a:gd name="T89" fmla="*/ 210 h 338"/>
                <a:gd name="T90" fmla="*/ 152 w 184"/>
                <a:gd name="T91" fmla="*/ 260 h 338"/>
                <a:gd name="T92" fmla="*/ 144 w 184"/>
                <a:gd name="T93" fmla="*/ 280 h 338"/>
                <a:gd name="T94" fmla="*/ 126 w 184"/>
                <a:gd name="T95" fmla="*/ 312 h 338"/>
                <a:gd name="T96" fmla="*/ 122 w 184"/>
                <a:gd name="T97" fmla="*/ 320 h 338"/>
                <a:gd name="T98" fmla="*/ 120 w 184"/>
                <a:gd name="T99" fmla="*/ 322 h 338"/>
                <a:gd name="T100" fmla="*/ 126 w 184"/>
                <a:gd name="T101" fmla="*/ 328 h 338"/>
                <a:gd name="T102" fmla="*/ 130 w 184"/>
                <a:gd name="T103" fmla="*/ 320 h 338"/>
                <a:gd name="T104" fmla="*/ 112 w 184"/>
                <a:gd name="T105" fmla="*/ 310 h 338"/>
                <a:gd name="T106" fmla="*/ 78 w 184"/>
                <a:gd name="T107" fmla="*/ 282 h 338"/>
                <a:gd name="T108" fmla="*/ 60 w 184"/>
                <a:gd name="T109" fmla="*/ 262 h 338"/>
                <a:gd name="T110" fmla="*/ 36 w 184"/>
                <a:gd name="T111" fmla="*/ 226 h 338"/>
                <a:gd name="T112" fmla="*/ 24 w 184"/>
                <a:gd name="T113" fmla="*/ 198 h 338"/>
                <a:gd name="T114" fmla="*/ 12 w 184"/>
                <a:gd name="T115" fmla="*/ 186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84" h="338">
                  <a:moveTo>
                    <a:pt x="12" y="186"/>
                  </a:moveTo>
                  <a:lnTo>
                    <a:pt x="4" y="188"/>
                  </a:lnTo>
                  <a:lnTo>
                    <a:pt x="4" y="188"/>
                  </a:lnTo>
                  <a:lnTo>
                    <a:pt x="8" y="204"/>
                  </a:lnTo>
                  <a:lnTo>
                    <a:pt x="14" y="220"/>
                  </a:lnTo>
                  <a:lnTo>
                    <a:pt x="22" y="236"/>
                  </a:lnTo>
                  <a:lnTo>
                    <a:pt x="30" y="250"/>
                  </a:lnTo>
                  <a:lnTo>
                    <a:pt x="50" y="274"/>
                  </a:lnTo>
                  <a:lnTo>
                    <a:pt x="70" y="296"/>
                  </a:lnTo>
                  <a:lnTo>
                    <a:pt x="70" y="296"/>
                  </a:lnTo>
                  <a:lnTo>
                    <a:pt x="90" y="312"/>
                  </a:lnTo>
                  <a:lnTo>
                    <a:pt x="106" y="324"/>
                  </a:lnTo>
                  <a:lnTo>
                    <a:pt x="122" y="334"/>
                  </a:lnTo>
                  <a:lnTo>
                    <a:pt x="128" y="338"/>
                  </a:lnTo>
                  <a:lnTo>
                    <a:pt x="132" y="332"/>
                  </a:lnTo>
                  <a:lnTo>
                    <a:pt x="132" y="332"/>
                  </a:lnTo>
                  <a:lnTo>
                    <a:pt x="140" y="320"/>
                  </a:lnTo>
                  <a:lnTo>
                    <a:pt x="148" y="306"/>
                  </a:lnTo>
                  <a:lnTo>
                    <a:pt x="158" y="288"/>
                  </a:lnTo>
                  <a:lnTo>
                    <a:pt x="158" y="288"/>
                  </a:lnTo>
                  <a:lnTo>
                    <a:pt x="168" y="266"/>
                  </a:lnTo>
                  <a:lnTo>
                    <a:pt x="176" y="240"/>
                  </a:lnTo>
                  <a:lnTo>
                    <a:pt x="182" y="214"/>
                  </a:lnTo>
                  <a:lnTo>
                    <a:pt x="184" y="184"/>
                  </a:lnTo>
                  <a:lnTo>
                    <a:pt x="184" y="184"/>
                  </a:lnTo>
                  <a:lnTo>
                    <a:pt x="184" y="168"/>
                  </a:lnTo>
                  <a:lnTo>
                    <a:pt x="180" y="150"/>
                  </a:lnTo>
                  <a:lnTo>
                    <a:pt x="180" y="150"/>
                  </a:lnTo>
                  <a:lnTo>
                    <a:pt x="176" y="134"/>
                  </a:lnTo>
                  <a:lnTo>
                    <a:pt x="170" y="118"/>
                  </a:lnTo>
                  <a:lnTo>
                    <a:pt x="162" y="102"/>
                  </a:lnTo>
                  <a:lnTo>
                    <a:pt x="154" y="88"/>
                  </a:lnTo>
                  <a:lnTo>
                    <a:pt x="134" y="64"/>
                  </a:lnTo>
                  <a:lnTo>
                    <a:pt x="114" y="42"/>
                  </a:lnTo>
                  <a:lnTo>
                    <a:pt x="114" y="42"/>
                  </a:lnTo>
                  <a:lnTo>
                    <a:pt x="94" y="26"/>
                  </a:lnTo>
                  <a:lnTo>
                    <a:pt x="78" y="14"/>
                  </a:lnTo>
                  <a:lnTo>
                    <a:pt x="62" y="4"/>
                  </a:lnTo>
                  <a:lnTo>
                    <a:pt x="56" y="0"/>
                  </a:lnTo>
                  <a:lnTo>
                    <a:pt x="52" y="6"/>
                  </a:lnTo>
                  <a:lnTo>
                    <a:pt x="52" y="6"/>
                  </a:lnTo>
                  <a:lnTo>
                    <a:pt x="44" y="18"/>
                  </a:lnTo>
                  <a:lnTo>
                    <a:pt x="36" y="32"/>
                  </a:lnTo>
                  <a:lnTo>
                    <a:pt x="26" y="50"/>
                  </a:lnTo>
                  <a:lnTo>
                    <a:pt x="26" y="50"/>
                  </a:lnTo>
                  <a:lnTo>
                    <a:pt x="18" y="72"/>
                  </a:lnTo>
                  <a:lnTo>
                    <a:pt x="8" y="96"/>
                  </a:lnTo>
                  <a:lnTo>
                    <a:pt x="2" y="124"/>
                  </a:lnTo>
                  <a:lnTo>
                    <a:pt x="0" y="154"/>
                  </a:lnTo>
                  <a:lnTo>
                    <a:pt x="0" y="154"/>
                  </a:lnTo>
                  <a:lnTo>
                    <a:pt x="2" y="170"/>
                  </a:lnTo>
                  <a:lnTo>
                    <a:pt x="4" y="188"/>
                  </a:lnTo>
                  <a:lnTo>
                    <a:pt x="12" y="186"/>
                  </a:lnTo>
                  <a:lnTo>
                    <a:pt x="20" y="184"/>
                  </a:lnTo>
                  <a:lnTo>
                    <a:pt x="20" y="184"/>
                  </a:lnTo>
                  <a:lnTo>
                    <a:pt x="18" y="168"/>
                  </a:lnTo>
                  <a:lnTo>
                    <a:pt x="16" y="154"/>
                  </a:lnTo>
                  <a:lnTo>
                    <a:pt x="16" y="154"/>
                  </a:lnTo>
                  <a:lnTo>
                    <a:pt x="18" y="126"/>
                  </a:lnTo>
                  <a:lnTo>
                    <a:pt x="24" y="102"/>
                  </a:lnTo>
                  <a:lnTo>
                    <a:pt x="32" y="78"/>
                  </a:lnTo>
                  <a:lnTo>
                    <a:pt x="42" y="56"/>
                  </a:lnTo>
                  <a:lnTo>
                    <a:pt x="42" y="56"/>
                  </a:lnTo>
                  <a:lnTo>
                    <a:pt x="50" y="40"/>
                  </a:lnTo>
                  <a:lnTo>
                    <a:pt x="58" y="26"/>
                  </a:lnTo>
                  <a:lnTo>
                    <a:pt x="58" y="26"/>
                  </a:lnTo>
                  <a:lnTo>
                    <a:pt x="64" y="18"/>
                  </a:lnTo>
                  <a:lnTo>
                    <a:pt x="64" y="18"/>
                  </a:lnTo>
                  <a:lnTo>
                    <a:pt x="64" y="16"/>
                  </a:lnTo>
                  <a:lnTo>
                    <a:pt x="66" y="14"/>
                  </a:lnTo>
                  <a:lnTo>
                    <a:pt x="66" y="14"/>
                  </a:lnTo>
                  <a:lnTo>
                    <a:pt x="58" y="10"/>
                  </a:lnTo>
                  <a:lnTo>
                    <a:pt x="54" y="18"/>
                  </a:lnTo>
                  <a:lnTo>
                    <a:pt x="56" y="18"/>
                  </a:lnTo>
                  <a:lnTo>
                    <a:pt x="56" y="18"/>
                  </a:lnTo>
                  <a:lnTo>
                    <a:pt x="72" y="28"/>
                  </a:lnTo>
                  <a:lnTo>
                    <a:pt x="88" y="40"/>
                  </a:lnTo>
                  <a:lnTo>
                    <a:pt x="106" y="56"/>
                  </a:lnTo>
                  <a:lnTo>
                    <a:pt x="106" y="56"/>
                  </a:lnTo>
                  <a:lnTo>
                    <a:pt x="124" y="76"/>
                  </a:lnTo>
                  <a:lnTo>
                    <a:pt x="142" y="98"/>
                  </a:lnTo>
                  <a:lnTo>
                    <a:pt x="148" y="112"/>
                  </a:lnTo>
                  <a:lnTo>
                    <a:pt x="156" y="124"/>
                  </a:lnTo>
                  <a:lnTo>
                    <a:pt x="160" y="138"/>
                  </a:lnTo>
                  <a:lnTo>
                    <a:pt x="164" y="154"/>
                  </a:lnTo>
                  <a:lnTo>
                    <a:pt x="164" y="154"/>
                  </a:lnTo>
                  <a:lnTo>
                    <a:pt x="168" y="168"/>
                  </a:lnTo>
                  <a:lnTo>
                    <a:pt x="168" y="184"/>
                  </a:lnTo>
                  <a:lnTo>
                    <a:pt x="168" y="184"/>
                  </a:lnTo>
                  <a:lnTo>
                    <a:pt x="166" y="210"/>
                  </a:lnTo>
                  <a:lnTo>
                    <a:pt x="160" y="236"/>
                  </a:lnTo>
                  <a:lnTo>
                    <a:pt x="152" y="260"/>
                  </a:lnTo>
                  <a:lnTo>
                    <a:pt x="144" y="280"/>
                  </a:lnTo>
                  <a:lnTo>
                    <a:pt x="144" y="280"/>
                  </a:lnTo>
                  <a:lnTo>
                    <a:pt x="126" y="312"/>
                  </a:lnTo>
                  <a:lnTo>
                    <a:pt x="126" y="312"/>
                  </a:lnTo>
                  <a:lnTo>
                    <a:pt x="122" y="320"/>
                  </a:lnTo>
                  <a:lnTo>
                    <a:pt x="122" y="320"/>
                  </a:lnTo>
                  <a:lnTo>
                    <a:pt x="120" y="322"/>
                  </a:lnTo>
                  <a:lnTo>
                    <a:pt x="120" y="322"/>
                  </a:lnTo>
                  <a:lnTo>
                    <a:pt x="120" y="322"/>
                  </a:lnTo>
                  <a:lnTo>
                    <a:pt x="126" y="328"/>
                  </a:lnTo>
                  <a:lnTo>
                    <a:pt x="130" y="320"/>
                  </a:lnTo>
                  <a:lnTo>
                    <a:pt x="130" y="320"/>
                  </a:lnTo>
                  <a:lnTo>
                    <a:pt x="130" y="320"/>
                  </a:lnTo>
                  <a:lnTo>
                    <a:pt x="112" y="310"/>
                  </a:lnTo>
                  <a:lnTo>
                    <a:pt x="96" y="298"/>
                  </a:lnTo>
                  <a:lnTo>
                    <a:pt x="78" y="282"/>
                  </a:lnTo>
                  <a:lnTo>
                    <a:pt x="78" y="282"/>
                  </a:lnTo>
                  <a:lnTo>
                    <a:pt x="60" y="262"/>
                  </a:lnTo>
                  <a:lnTo>
                    <a:pt x="44" y="238"/>
                  </a:lnTo>
                  <a:lnTo>
                    <a:pt x="36" y="226"/>
                  </a:lnTo>
                  <a:lnTo>
                    <a:pt x="30" y="212"/>
                  </a:lnTo>
                  <a:lnTo>
                    <a:pt x="24" y="198"/>
                  </a:lnTo>
                  <a:lnTo>
                    <a:pt x="20" y="184"/>
                  </a:lnTo>
                  <a:lnTo>
                    <a:pt x="12" y="18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46" name="Freeform 1920">
              <a:extLst>
                <a:ext uri="{FF2B5EF4-FFF2-40B4-BE49-F238E27FC236}">
                  <a16:creationId xmlns:a16="http://schemas.microsoft.com/office/drawing/2014/main" id="{2398F1A7-7494-4650-8776-E2153CEC0B7A}"/>
                </a:ext>
              </a:extLst>
            </p:cNvPr>
            <p:cNvSpPr>
              <a:spLocks/>
            </p:cNvSpPr>
            <p:nvPr/>
          </p:nvSpPr>
          <p:spPr bwMode="auto">
            <a:xfrm>
              <a:off x="10272420" y="4137079"/>
              <a:ext cx="60747" cy="121495"/>
            </a:xfrm>
            <a:custGeom>
              <a:avLst/>
              <a:gdLst>
                <a:gd name="T0" fmla="*/ 6 w 34"/>
                <a:gd name="T1" fmla="*/ 0 h 68"/>
                <a:gd name="T2" fmla="*/ 0 w 34"/>
                <a:gd name="T3" fmla="*/ 2 h 68"/>
                <a:gd name="T4" fmla="*/ 0 w 34"/>
                <a:gd name="T5" fmla="*/ 2 h 68"/>
                <a:gd name="T6" fmla="*/ 6 w 34"/>
                <a:gd name="T7" fmla="*/ 20 h 68"/>
                <a:gd name="T8" fmla="*/ 14 w 34"/>
                <a:gd name="T9" fmla="*/ 36 h 68"/>
                <a:gd name="T10" fmla="*/ 24 w 34"/>
                <a:gd name="T11" fmla="*/ 52 h 68"/>
                <a:gd name="T12" fmla="*/ 34 w 34"/>
                <a:gd name="T13" fmla="*/ 68 h 68"/>
                <a:gd name="T14" fmla="*/ 34 w 34"/>
                <a:gd name="T15" fmla="*/ 68 h 68"/>
                <a:gd name="T16" fmla="*/ 32 w 34"/>
                <a:gd name="T17" fmla="*/ 60 h 68"/>
                <a:gd name="T18" fmla="*/ 32 w 34"/>
                <a:gd name="T19" fmla="*/ 60 h 68"/>
                <a:gd name="T20" fmla="*/ 24 w 34"/>
                <a:gd name="T21" fmla="*/ 46 h 68"/>
                <a:gd name="T22" fmla="*/ 16 w 34"/>
                <a:gd name="T23" fmla="*/ 32 h 68"/>
                <a:gd name="T24" fmla="*/ 10 w 34"/>
                <a:gd name="T25" fmla="*/ 16 h 68"/>
                <a:gd name="T26" fmla="*/ 6 w 34"/>
                <a:gd name="T27"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4" h="68">
                  <a:moveTo>
                    <a:pt x="6" y="0"/>
                  </a:moveTo>
                  <a:lnTo>
                    <a:pt x="0" y="2"/>
                  </a:lnTo>
                  <a:lnTo>
                    <a:pt x="0" y="2"/>
                  </a:lnTo>
                  <a:lnTo>
                    <a:pt x="6" y="20"/>
                  </a:lnTo>
                  <a:lnTo>
                    <a:pt x="14" y="36"/>
                  </a:lnTo>
                  <a:lnTo>
                    <a:pt x="24" y="52"/>
                  </a:lnTo>
                  <a:lnTo>
                    <a:pt x="34" y="68"/>
                  </a:lnTo>
                  <a:lnTo>
                    <a:pt x="34" y="68"/>
                  </a:lnTo>
                  <a:lnTo>
                    <a:pt x="32" y="60"/>
                  </a:lnTo>
                  <a:lnTo>
                    <a:pt x="32" y="60"/>
                  </a:lnTo>
                  <a:lnTo>
                    <a:pt x="24" y="46"/>
                  </a:lnTo>
                  <a:lnTo>
                    <a:pt x="16" y="32"/>
                  </a:lnTo>
                  <a:lnTo>
                    <a:pt x="10" y="1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47" name="Freeform 1921">
              <a:extLst>
                <a:ext uri="{FF2B5EF4-FFF2-40B4-BE49-F238E27FC236}">
                  <a16:creationId xmlns:a16="http://schemas.microsoft.com/office/drawing/2014/main" id="{E10A09AB-7915-47C6-A165-F4295C882CCC}"/>
                </a:ext>
              </a:extLst>
            </p:cNvPr>
            <p:cNvSpPr>
              <a:spLocks/>
            </p:cNvSpPr>
            <p:nvPr/>
          </p:nvSpPr>
          <p:spPr bwMode="auto">
            <a:xfrm>
              <a:off x="10261700" y="4122786"/>
              <a:ext cx="21440" cy="17867"/>
            </a:xfrm>
            <a:custGeom>
              <a:avLst/>
              <a:gdLst>
                <a:gd name="T0" fmla="*/ 10 w 12"/>
                <a:gd name="T1" fmla="*/ 0 h 10"/>
                <a:gd name="T2" fmla="*/ 10 w 12"/>
                <a:gd name="T3" fmla="*/ 0 h 10"/>
                <a:gd name="T4" fmla="*/ 4 w 12"/>
                <a:gd name="T5" fmla="*/ 2 h 10"/>
                <a:gd name="T6" fmla="*/ 4 w 12"/>
                <a:gd name="T7" fmla="*/ 2 h 10"/>
                <a:gd name="T8" fmla="*/ 4 w 12"/>
                <a:gd name="T9" fmla="*/ 4 h 10"/>
                <a:gd name="T10" fmla="*/ 0 w 12"/>
                <a:gd name="T11" fmla="*/ 4 h 10"/>
                <a:gd name="T12" fmla="*/ 0 w 12"/>
                <a:gd name="T13" fmla="*/ 4 h 10"/>
                <a:gd name="T14" fmla="*/ 0 w 12"/>
                <a:gd name="T15" fmla="*/ 4 h 10"/>
                <a:gd name="T16" fmla="*/ 4 w 12"/>
                <a:gd name="T17" fmla="*/ 4 h 10"/>
                <a:gd name="T18" fmla="*/ 4 w 12"/>
                <a:gd name="T19" fmla="*/ 4 h 10"/>
                <a:gd name="T20" fmla="*/ 6 w 12"/>
                <a:gd name="T21" fmla="*/ 10 h 10"/>
                <a:gd name="T22" fmla="*/ 12 w 12"/>
                <a:gd name="T23" fmla="*/ 8 h 10"/>
                <a:gd name="T24" fmla="*/ 12 w 12"/>
                <a:gd name="T25" fmla="*/ 8 h 10"/>
                <a:gd name="T26" fmla="*/ 10 w 12"/>
                <a:gd name="T27"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 h="10">
                  <a:moveTo>
                    <a:pt x="10" y="0"/>
                  </a:moveTo>
                  <a:lnTo>
                    <a:pt x="10" y="0"/>
                  </a:lnTo>
                  <a:lnTo>
                    <a:pt x="4" y="2"/>
                  </a:lnTo>
                  <a:lnTo>
                    <a:pt x="4" y="2"/>
                  </a:lnTo>
                  <a:lnTo>
                    <a:pt x="4" y="4"/>
                  </a:lnTo>
                  <a:lnTo>
                    <a:pt x="0" y="4"/>
                  </a:lnTo>
                  <a:lnTo>
                    <a:pt x="0" y="4"/>
                  </a:lnTo>
                  <a:lnTo>
                    <a:pt x="0" y="4"/>
                  </a:lnTo>
                  <a:lnTo>
                    <a:pt x="4" y="4"/>
                  </a:lnTo>
                  <a:lnTo>
                    <a:pt x="4" y="4"/>
                  </a:lnTo>
                  <a:lnTo>
                    <a:pt x="6" y="10"/>
                  </a:lnTo>
                  <a:lnTo>
                    <a:pt x="12" y="8"/>
                  </a:lnTo>
                  <a:lnTo>
                    <a:pt x="12" y="8"/>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48" name="Freeform 1922">
              <a:extLst>
                <a:ext uri="{FF2B5EF4-FFF2-40B4-BE49-F238E27FC236}">
                  <a16:creationId xmlns:a16="http://schemas.microsoft.com/office/drawing/2014/main" id="{9A656C76-C69E-43EB-8E90-0EFC88194C26}"/>
                </a:ext>
              </a:extLst>
            </p:cNvPr>
            <p:cNvSpPr>
              <a:spLocks/>
            </p:cNvSpPr>
            <p:nvPr/>
          </p:nvSpPr>
          <p:spPr bwMode="auto">
            <a:xfrm>
              <a:off x="10418928" y="4337188"/>
              <a:ext cx="17867" cy="7147"/>
            </a:xfrm>
            <a:custGeom>
              <a:avLst/>
              <a:gdLst>
                <a:gd name="T0" fmla="*/ 0 w 10"/>
                <a:gd name="T1" fmla="*/ 0 h 4"/>
                <a:gd name="T2" fmla="*/ 0 w 10"/>
                <a:gd name="T3" fmla="*/ 0 h 4"/>
                <a:gd name="T4" fmla="*/ 4 w 10"/>
                <a:gd name="T5" fmla="*/ 4 h 4"/>
                <a:gd name="T6" fmla="*/ 4 w 10"/>
                <a:gd name="T7" fmla="*/ 4 h 4"/>
                <a:gd name="T8" fmla="*/ 10 w 10"/>
                <a:gd name="T9" fmla="*/ 2 h 4"/>
                <a:gd name="T10" fmla="*/ 10 w 10"/>
                <a:gd name="T11" fmla="*/ 2 h 4"/>
                <a:gd name="T12" fmla="*/ 10 w 10"/>
                <a:gd name="T13" fmla="*/ 2 h 4"/>
                <a:gd name="T14" fmla="*/ 10 w 10"/>
                <a:gd name="T15" fmla="*/ 2 h 4"/>
                <a:gd name="T16" fmla="*/ 0 w 10"/>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4">
                  <a:moveTo>
                    <a:pt x="0" y="0"/>
                  </a:moveTo>
                  <a:lnTo>
                    <a:pt x="0" y="0"/>
                  </a:lnTo>
                  <a:lnTo>
                    <a:pt x="4" y="4"/>
                  </a:lnTo>
                  <a:lnTo>
                    <a:pt x="4" y="4"/>
                  </a:lnTo>
                  <a:lnTo>
                    <a:pt x="10" y="2"/>
                  </a:lnTo>
                  <a:lnTo>
                    <a:pt x="10" y="2"/>
                  </a:lnTo>
                  <a:lnTo>
                    <a:pt x="10" y="2"/>
                  </a:lnTo>
                  <a:lnTo>
                    <a:pt x="10" y="2"/>
                  </a:lnTo>
                  <a:lnTo>
                    <a:pt x="0" y="0"/>
                  </a:lnTo>
                  <a:close/>
                </a:path>
              </a:pathLst>
            </a:custGeom>
            <a:solidFill>
              <a:srgbClr val="9DA5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49" name="Freeform 1923">
              <a:extLst>
                <a:ext uri="{FF2B5EF4-FFF2-40B4-BE49-F238E27FC236}">
                  <a16:creationId xmlns:a16="http://schemas.microsoft.com/office/drawing/2014/main" id="{AC395DFE-1B20-41E3-9642-0CB3248307F1}"/>
                </a:ext>
              </a:extLst>
            </p:cNvPr>
            <p:cNvSpPr>
              <a:spLocks/>
            </p:cNvSpPr>
            <p:nvPr/>
          </p:nvSpPr>
          <p:spPr bwMode="auto">
            <a:xfrm>
              <a:off x="10418928" y="4337188"/>
              <a:ext cx="17867" cy="7147"/>
            </a:xfrm>
            <a:custGeom>
              <a:avLst/>
              <a:gdLst>
                <a:gd name="T0" fmla="*/ 0 w 10"/>
                <a:gd name="T1" fmla="*/ 0 h 4"/>
                <a:gd name="T2" fmla="*/ 0 w 10"/>
                <a:gd name="T3" fmla="*/ 0 h 4"/>
                <a:gd name="T4" fmla="*/ 4 w 10"/>
                <a:gd name="T5" fmla="*/ 4 h 4"/>
                <a:gd name="T6" fmla="*/ 4 w 10"/>
                <a:gd name="T7" fmla="*/ 4 h 4"/>
                <a:gd name="T8" fmla="*/ 10 w 10"/>
                <a:gd name="T9" fmla="*/ 2 h 4"/>
                <a:gd name="T10" fmla="*/ 10 w 10"/>
                <a:gd name="T11" fmla="*/ 2 h 4"/>
                <a:gd name="T12" fmla="*/ 10 w 10"/>
                <a:gd name="T13" fmla="*/ 2 h 4"/>
                <a:gd name="T14" fmla="*/ 10 w 10"/>
                <a:gd name="T15" fmla="*/ 2 h 4"/>
                <a:gd name="T16" fmla="*/ 0 w 10"/>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4">
                  <a:moveTo>
                    <a:pt x="0" y="0"/>
                  </a:moveTo>
                  <a:lnTo>
                    <a:pt x="0" y="0"/>
                  </a:lnTo>
                  <a:lnTo>
                    <a:pt x="4" y="4"/>
                  </a:lnTo>
                  <a:lnTo>
                    <a:pt x="4" y="4"/>
                  </a:lnTo>
                  <a:lnTo>
                    <a:pt x="10" y="2"/>
                  </a:lnTo>
                  <a:lnTo>
                    <a:pt x="10" y="2"/>
                  </a:lnTo>
                  <a:lnTo>
                    <a:pt x="10" y="2"/>
                  </a:lnTo>
                  <a:lnTo>
                    <a:pt x="10"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50" name="Freeform 1925">
              <a:extLst>
                <a:ext uri="{FF2B5EF4-FFF2-40B4-BE49-F238E27FC236}">
                  <a16:creationId xmlns:a16="http://schemas.microsoft.com/office/drawing/2014/main" id="{DD9544DA-B454-448B-A441-FFD2A41BFB19}"/>
                </a:ext>
              </a:extLst>
            </p:cNvPr>
            <p:cNvSpPr>
              <a:spLocks/>
            </p:cNvSpPr>
            <p:nvPr/>
          </p:nvSpPr>
          <p:spPr bwMode="auto">
            <a:xfrm>
              <a:off x="10415355" y="4337188"/>
              <a:ext cx="10720" cy="7147"/>
            </a:xfrm>
            <a:custGeom>
              <a:avLst/>
              <a:gdLst>
                <a:gd name="T0" fmla="*/ 0 w 6"/>
                <a:gd name="T1" fmla="*/ 0 h 4"/>
                <a:gd name="T2" fmla="*/ 0 w 6"/>
                <a:gd name="T3" fmla="*/ 0 h 4"/>
                <a:gd name="T4" fmla="*/ 6 w 6"/>
                <a:gd name="T5" fmla="*/ 4 h 4"/>
                <a:gd name="T6" fmla="*/ 6 w 6"/>
                <a:gd name="T7" fmla="*/ 4 h 4"/>
                <a:gd name="T8" fmla="*/ 6 w 6"/>
                <a:gd name="T9" fmla="*/ 4 h 4"/>
                <a:gd name="T10" fmla="*/ 6 w 6"/>
                <a:gd name="T11" fmla="*/ 4 h 4"/>
                <a:gd name="T12" fmla="*/ 2 w 6"/>
                <a:gd name="T13" fmla="*/ 0 h 4"/>
                <a:gd name="T14" fmla="*/ 2 w 6"/>
                <a:gd name="T15" fmla="*/ 0 h 4"/>
                <a:gd name="T16" fmla="*/ 0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0" y="0"/>
                  </a:moveTo>
                  <a:lnTo>
                    <a:pt x="0" y="0"/>
                  </a:lnTo>
                  <a:lnTo>
                    <a:pt x="6" y="4"/>
                  </a:lnTo>
                  <a:lnTo>
                    <a:pt x="6" y="4"/>
                  </a:lnTo>
                  <a:lnTo>
                    <a:pt x="6" y="4"/>
                  </a:lnTo>
                  <a:lnTo>
                    <a:pt x="6" y="4"/>
                  </a:lnTo>
                  <a:lnTo>
                    <a:pt x="2" y="0"/>
                  </a:lnTo>
                  <a:lnTo>
                    <a:pt x="2" y="0"/>
                  </a:lnTo>
                  <a:lnTo>
                    <a:pt x="0" y="0"/>
                  </a:lnTo>
                  <a:close/>
                </a:path>
              </a:pathLst>
            </a:custGeom>
            <a:solidFill>
              <a:srgbClr val="64091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51" name="Freeform 1926">
              <a:extLst>
                <a:ext uri="{FF2B5EF4-FFF2-40B4-BE49-F238E27FC236}">
                  <a16:creationId xmlns:a16="http://schemas.microsoft.com/office/drawing/2014/main" id="{DA87EB66-0D50-4758-964B-77B46A11C4BC}"/>
                </a:ext>
              </a:extLst>
            </p:cNvPr>
            <p:cNvSpPr>
              <a:spLocks/>
            </p:cNvSpPr>
            <p:nvPr/>
          </p:nvSpPr>
          <p:spPr bwMode="auto">
            <a:xfrm>
              <a:off x="10415355" y="4337188"/>
              <a:ext cx="10720" cy="7147"/>
            </a:xfrm>
            <a:custGeom>
              <a:avLst/>
              <a:gdLst>
                <a:gd name="T0" fmla="*/ 0 w 6"/>
                <a:gd name="T1" fmla="*/ 0 h 4"/>
                <a:gd name="T2" fmla="*/ 0 w 6"/>
                <a:gd name="T3" fmla="*/ 0 h 4"/>
                <a:gd name="T4" fmla="*/ 6 w 6"/>
                <a:gd name="T5" fmla="*/ 4 h 4"/>
                <a:gd name="T6" fmla="*/ 6 w 6"/>
                <a:gd name="T7" fmla="*/ 4 h 4"/>
                <a:gd name="T8" fmla="*/ 6 w 6"/>
                <a:gd name="T9" fmla="*/ 4 h 4"/>
                <a:gd name="T10" fmla="*/ 6 w 6"/>
                <a:gd name="T11" fmla="*/ 4 h 4"/>
                <a:gd name="T12" fmla="*/ 2 w 6"/>
                <a:gd name="T13" fmla="*/ 0 h 4"/>
                <a:gd name="T14" fmla="*/ 2 w 6"/>
                <a:gd name="T15" fmla="*/ 0 h 4"/>
                <a:gd name="T16" fmla="*/ 0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0" y="0"/>
                  </a:moveTo>
                  <a:lnTo>
                    <a:pt x="0" y="0"/>
                  </a:lnTo>
                  <a:lnTo>
                    <a:pt x="6" y="4"/>
                  </a:lnTo>
                  <a:lnTo>
                    <a:pt x="6" y="4"/>
                  </a:lnTo>
                  <a:lnTo>
                    <a:pt x="6" y="4"/>
                  </a:lnTo>
                  <a:lnTo>
                    <a:pt x="6" y="4"/>
                  </a:lnTo>
                  <a:lnTo>
                    <a:pt x="2"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52" name="Rectangle 1930">
              <a:extLst>
                <a:ext uri="{FF2B5EF4-FFF2-40B4-BE49-F238E27FC236}">
                  <a16:creationId xmlns:a16="http://schemas.microsoft.com/office/drawing/2014/main" id="{D4A11F81-C924-46AA-A6E5-7539728B60B5}"/>
                </a:ext>
              </a:extLst>
            </p:cNvPr>
            <p:cNvSpPr>
              <a:spLocks noChangeArrowheads="1"/>
            </p:cNvSpPr>
            <p:nvPr/>
          </p:nvSpPr>
          <p:spPr bwMode="auto">
            <a:xfrm>
              <a:off x="10268846" y="4140653"/>
              <a:ext cx="3573" cy="1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53" name="Freeform 1931">
              <a:extLst>
                <a:ext uri="{FF2B5EF4-FFF2-40B4-BE49-F238E27FC236}">
                  <a16:creationId xmlns:a16="http://schemas.microsoft.com/office/drawing/2014/main" id="{E73DE1C1-A20B-4975-A8AB-B604CE5398B9}"/>
                </a:ext>
              </a:extLst>
            </p:cNvPr>
            <p:cNvSpPr>
              <a:spLocks/>
            </p:cNvSpPr>
            <p:nvPr/>
          </p:nvSpPr>
          <p:spPr bwMode="auto">
            <a:xfrm>
              <a:off x="10436795" y="3911957"/>
              <a:ext cx="71467" cy="89334"/>
            </a:xfrm>
            <a:custGeom>
              <a:avLst/>
              <a:gdLst>
                <a:gd name="T0" fmla="*/ 2 w 40"/>
                <a:gd name="T1" fmla="*/ 0 h 50"/>
                <a:gd name="T2" fmla="*/ 2 w 40"/>
                <a:gd name="T3" fmla="*/ 0 h 50"/>
                <a:gd name="T4" fmla="*/ 0 w 40"/>
                <a:gd name="T5" fmla="*/ 2 h 50"/>
                <a:gd name="T6" fmla="*/ 0 w 40"/>
                <a:gd name="T7" fmla="*/ 2 h 50"/>
                <a:gd name="T8" fmla="*/ 20 w 40"/>
                <a:gd name="T9" fmla="*/ 24 h 50"/>
                <a:gd name="T10" fmla="*/ 28 w 40"/>
                <a:gd name="T11" fmla="*/ 38 h 50"/>
                <a:gd name="T12" fmla="*/ 36 w 40"/>
                <a:gd name="T13" fmla="*/ 50 h 50"/>
                <a:gd name="T14" fmla="*/ 36 w 40"/>
                <a:gd name="T15" fmla="*/ 50 h 50"/>
                <a:gd name="T16" fmla="*/ 40 w 40"/>
                <a:gd name="T17" fmla="*/ 48 h 50"/>
                <a:gd name="T18" fmla="*/ 40 w 40"/>
                <a:gd name="T19" fmla="*/ 48 h 50"/>
                <a:gd name="T20" fmla="*/ 40 w 40"/>
                <a:gd name="T21" fmla="*/ 48 h 50"/>
                <a:gd name="T22" fmla="*/ 40 w 40"/>
                <a:gd name="T23" fmla="*/ 48 h 50"/>
                <a:gd name="T24" fmla="*/ 32 w 40"/>
                <a:gd name="T25" fmla="*/ 34 h 50"/>
                <a:gd name="T26" fmla="*/ 22 w 40"/>
                <a:gd name="T27" fmla="*/ 22 h 50"/>
                <a:gd name="T28" fmla="*/ 2 w 40"/>
                <a:gd name="T2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0" h="50">
                  <a:moveTo>
                    <a:pt x="2" y="0"/>
                  </a:moveTo>
                  <a:lnTo>
                    <a:pt x="2" y="0"/>
                  </a:lnTo>
                  <a:lnTo>
                    <a:pt x="0" y="2"/>
                  </a:lnTo>
                  <a:lnTo>
                    <a:pt x="0" y="2"/>
                  </a:lnTo>
                  <a:lnTo>
                    <a:pt x="20" y="24"/>
                  </a:lnTo>
                  <a:lnTo>
                    <a:pt x="28" y="38"/>
                  </a:lnTo>
                  <a:lnTo>
                    <a:pt x="36" y="50"/>
                  </a:lnTo>
                  <a:lnTo>
                    <a:pt x="36" y="50"/>
                  </a:lnTo>
                  <a:lnTo>
                    <a:pt x="40" y="48"/>
                  </a:lnTo>
                  <a:lnTo>
                    <a:pt x="40" y="48"/>
                  </a:lnTo>
                  <a:lnTo>
                    <a:pt x="40" y="48"/>
                  </a:lnTo>
                  <a:lnTo>
                    <a:pt x="40" y="48"/>
                  </a:lnTo>
                  <a:lnTo>
                    <a:pt x="32" y="34"/>
                  </a:lnTo>
                  <a:lnTo>
                    <a:pt x="22" y="2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54" name="Freeform 1934">
              <a:extLst>
                <a:ext uri="{FF2B5EF4-FFF2-40B4-BE49-F238E27FC236}">
                  <a16:creationId xmlns:a16="http://schemas.microsoft.com/office/drawing/2014/main" id="{60FDAAF3-6926-49A5-AA92-261238CDD210}"/>
                </a:ext>
              </a:extLst>
            </p:cNvPr>
            <p:cNvSpPr>
              <a:spLocks/>
            </p:cNvSpPr>
            <p:nvPr/>
          </p:nvSpPr>
          <p:spPr bwMode="auto">
            <a:xfrm>
              <a:off x="10254553" y="4129933"/>
              <a:ext cx="17867" cy="14293"/>
            </a:xfrm>
            <a:custGeom>
              <a:avLst/>
              <a:gdLst>
                <a:gd name="T0" fmla="*/ 8 w 10"/>
                <a:gd name="T1" fmla="*/ 0 h 8"/>
                <a:gd name="T2" fmla="*/ 4 w 10"/>
                <a:gd name="T3" fmla="*/ 0 h 8"/>
                <a:gd name="T4" fmla="*/ 4 w 10"/>
                <a:gd name="T5" fmla="*/ 0 h 8"/>
                <a:gd name="T6" fmla="*/ 0 w 10"/>
                <a:gd name="T7" fmla="*/ 4 h 8"/>
                <a:gd name="T8" fmla="*/ 0 w 10"/>
                <a:gd name="T9" fmla="*/ 4 h 8"/>
                <a:gd name="T10" fmla="*/ 0 w 10"/>
                <a:gd name="T11" fmla="*/ 8 h 8"/>
                <a:gd name="T12" fmla="*/ 8 w 10"/>
                <a:gd name="T13" fmla="*/ 6 h 8"/>
                <a:gd name="T14" fmla="*/ 10 w 10"/>
                <a:gd name="T15" fmla="*/ 6 h 8"/>
                <a:gd name="T16" fmla="*/ 10 w 10"/>
                <a:gd name="T17" fmla="*/ 6 h 8"/>
                <a:gd name="T18" fmla="*/ 8 w 10"/>
                <a:gd name="T19"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 h="8">
                  <a:moveTo>
                    <a:pt x="8" y="0"/>
                  </a:moveTo>
                  <a:lnTo>
                    <a:pt x="4" y="0"/>
                  </a:lnTo>
                  <a:lnTo>
                    <a:pt x="4" y="0"/>
                  </a:lnTo>
                  <a:lnTo>
                    <a:pt x="0" y="4"/>
                  </a:lnTo>
                  <a:lnTo>
                    <a:pt x="0" y="4"/>
                  </a:lnTo>
                  <a:lnTo>
                    <a:pt x="0" y="8"/>
                  </a:lnTo>
                  <a:lnTo>
                    <a:pt x="8" y="6"/>
                  </a:lnTo>
                  <a:lnTo>
                    <a:pt x="10" y="6"/>
                  </a:lnTo>
                  <a:lnTo>
                    <a:pt x="10" y="6"/>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55" name="Freeform 1935">
              <a:extLst>
                <a:ext uri="{FF2B5EF4-FFF2-40B4-BE49-F238E27FC236}">
                  <a16:creationId xmlns:a16="http://schemas.microsoft.com/office/drawing/2014/main" id="{3596F0EC-950C-4D11-BB51-8BD4E48E8873}"/>
                </a:ext>
              </a:extLst>
            </p:cNvPr>
            <p:cNvSpPr>
              <a:spLocks/>
            </p:cNvSpPr>
            <p:nvPr/>
          </p:nvSpPr>
          <p:spPr bwMode="auto">
            <a:xfrm>
              <a:off x="10261700" y="4126359"/>
              <a:ext cx="7147" cy="3573"/>
            </a:xfrm>
            <a:custGeom>
              <a:avLst/>
              <a:gdLst>
                <a:gd name="T0" fmla="*/ 4 w 4"/>
                <a:gd name="T1" fmla="*/ 0 h 2"/>
                <a:gd name="T2" fmla="*/ 4 w 4"/>
                <a:gd name="T3" fmla="*/ 0 h 2"/>
                <a:gd name="T4" fmla="*/ 0 w 4"/>
                <a:gd name="T5" fmla="*/ 2 h 2"/>
                <a:gd name="T6" fmla="*/ 4 w 4"/>
                <a:gd name="T7" fmla="*/ 2 h 2"/>
                <a:gd name="T8" fmla="*/ 4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0" y="2"/>
                  </a:lnTo>
                  <a:lnTo>
                    <a:pt x="4" y="2"/>
                  </a:lnTo>
                  <a:lnTo>
                    <a:pt x="4"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56" name="Freeform 1936">
              <a:extLst>
                <a:ext uri="{FF2B5EF4-FFF2-40B4-BE49-F238E27FC236}">
                  <a16:creationId xmlns:a16="http://schemas.microsoft.com/office/drawing/2014/main" id="{FBFC263F-4905-44D1-A39B-1C086ED5AB04}"/>
                </a:ext>
              </a:extLst>
            </p:cNvPr>
            <p:cNvSpPr>
              <a:spLocks/>
            </p:cNvSpPr>
            <p:nvPr/>
          </p:nvSpPr>
          <p:spPr bwMode="auto">
            <a:xfrm>
              <a:off x="10440368" y="3883370"/>
              <a:ext cx="75041" cy="114348"/>
            </a:xfrm>
            <a:custGeom>
              <a:avLst/>
              <a:gdLst>
                <a:gd name="T0" fmla="*/ 4 w 42"/>
                <a:gd name="T1" fmla="*/ 0 h 64"/>
                <a:gd name="T2" fmla="*/ 4 w 42"/>
                <a:gd name="T3" fmla="*/ 0 h 64"/>
                <a:gd name="T4" fmla="*/ 0 w 42"/>
                <a:gd name="T5" fmla="*/ 10 h 64"/>
                <a:gd name="T6" fmla="*/ 0 w 42"/>
                <a:gd name="T7" fmla="*/ 10 h 64"/>
                <a:gd name="T8" fmla="*/ 0 w 42"/>
                <a:gd name="T9" fmla="*/ 16 h 64"/>
                <a:gd name="T10" fmla="*/ 0 w 42"/>
                <a:gd name="T11" fmla="*/ 16 h 64"/>
                <a:gd name="T12" fmla="*/ 20 w 42"/>
                <a:gd name="T13" fmla="*/ 38 h 64"/>
                <a:gd name="T14" fmla="*/ 30 w 42"/>
                <a:gd name="T15" fmla="*/ 50 h 64"/>
                <a:gd name="T16" fmla="*/ 38 w 42"/>
                <a:gd name="T17" fmla="*/ 64 h 64"/>
                <a:gd name="T18" fmla="*/ 38 w 42"/>
                <a:gd name="T19" fmla="*/ 64 h 64"/>
                <a:gd name="T20" fmla="*/ 42 w 42"/>
                <a:gd name="T21" fmla="*/ 46 h 64"/>
                <a:gd name="T22" fmla="*/ 42 w 42"/>
                <a:gd name="T23" fmla="*/ 46 h 64"/>
                <a:gd name="T24" fmla="*/ 24 w 42"/>
                <a:gd name="T25" fmla="*/ 22 h 64"/>
                <a:gd name="T26" fmla="*/ 4 w 42"/>
                <a:gd name="T27"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2" h="64">
                  <a:moveTo>
                    <a:pt x="4" y="0"/>
                  </a:moveTo>
                  <a:lnTo>
                    <a:pt x="4" y="0"/>
                  </a:lnTo>
                  <a:lnTo>
                    <a:pt x="0" y="10"/>
                  </a:lnTo>
                  <a:lnTo>
                    <a:pt x="0" y="10"/>
                  </a:lnTo>
                  <a:lnTo>
                    <a:pt x="0" y="16"/>
                  </a:lnTo>
                  <a:lnTo>
                    <a:pt x="0" y="16"/>
                  </a:lnTo>
                  <a:lnTo>
                    <a:pt x="20" y="38"/>
                  </a:lnTo>
                  <a:lnTo>
                    <a:pt x="30" y="50"/>
                  </a:lnTo>
                  <a:lnTo>
                    <a:pt x="38" y="64"/>
                  </a:lnTo>
                  <a:lnTo>
                    <a:pt x="38" y="64"/>
                  </a:lnTo>
                  <a:lnTo>
                    <a:pt x="42" y="46"/>
                  </a:lnTo>
                  <a:lnTo>
                    <a:pt x="42" y="46"/>
                  </a:lnTo>
                  <a:lnTo>
                    <a:pt x="24" y="2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57" name="Freeform 1937">
              <a:extLst>
                <a:ext uri="{FF2B5EF4-FFF2-40B4-BE49-F238E27FC236}">
                  <a16:creationId xmlns:a16="http://schemas.microsoft.com/office/drawing/2014/main" id="{8C93FBE0-B0F6-4838-821D-FF01AFB4F354}"/>
                </a:ext>
              </a:extLst>
            </p:cNvPr>
            <p:cNvSpPr>
              <a:spLocks/>
            </p:cNvSpPr>
            <p:nvPr/>
          </p:nvSpPr>
          <p:spPr bwMode="auto">
            <a:xfrm>
              <a:off x="9625640" y="3265177"/>
              <a:ext cx="507418" cy="1811698"/>
            </a:xfrm>
            <a:custGeom>
              <a:avLst/>
              <a:gdLst>
                <a:gd name="T0" fmla="*/ 50 w 284"/>
                <a:gd name="T1" fmla="*/ 1014 h 1014"/>
                <a:gd name="T2" fmla="*/ 158 w 284"/>
                <a:gd name="T3" fmla="*/ 770 h 1014"/>
                <a:gd name="T4" fmla="*/ 260 w 284"/>
                <a:gd name="T5" fmla="*/ 610 h 1014"/>
                <a:gd name="T6" fmla="*/ 260 w 284"/>
                <a:gd name="T7" fmla="*/ 610 h 1014"/>
                <a:gd name="T8" fmla="*/ 266 w 284"/>
                <a:gd name="T9" fmla="*/ 598 h 1014"/>
                <a:gd name="T10" fmla="*/ 272 w 284"/>
                <a:gd name="T11" fmla="*/ 584 h 1014"/>
                <a:gd name="T12" fmla="*/ 278 w 284"/>
                <a:gd name="T13" fmla="*/ 570 h 1014"/>
                <a:gd name="T14" fmla="*/ 280 w 284"/>
                <a:gd name="T15" fmla="*/ 556 h 1014"/>
                <a:gd name="T16" fmla="*/ 282 w 284"/>
                <a:gd name="T17" fmla="*/ 542 h 1014"/>
                <a:gd name="T18" fmla="*/ 284 w 284"/>
                <a:gd name="T19" fmla="*/ 526 h 1014"/>
                <a:gd name="T20" fmla="*/ 282 w 284"/>
                <a:gd name="T21" fmla="*/ 512 h 1014"/>
                <a:gd name="T22" fmla="*/ 280 w 284"/>
                <a:gd name="T23" fmla="*/ 498 h 1014"/>
                <a:gd name="T24" fmla="*/ 244 w 284"/>
                <a:gd name="T25" fmla="*/ 308 h 1014"/>
                <a:gd name="T26" fmla="*/ 174 w 284"/>
                <a:gd name="T27" fmla="*/ 126 h 1014"/>
                <a:gd name="T28" fmla="*/ 140 w 284"/>
                <a:gd name="T29" fmla="*/ 0 h 1014"/>
                <a:gd name="T30" fmla="*/ 86 w 284"/>
                <a:gd name="T31" fmla="*/ 16 h 1014"/>
                <a:gd name="T32" fmla="*/ 120 w 284"/>
                <a:gd name="T33" fmla="*/ 146 h 1014"/>
                <a:gd name="T34" fmla="*/ 190 w 284"/>
                <a:gd name="T35" fmla="*/ 326 h 1014"/>
                <a:gd name="T36" fmla="*/ 220 w 284"/>
                <a:gd name="T37" fmla="*/ 486 h 1014"/>
                <a:gd name="T38" fmla="*/ 220 w 284"/>
                <a:gd name="T39" fmla="*/ 486 h 1014"/>
                <a:gd name="T40" fmla="*/ 222 w 284"/>
                <a:gd name="T41" fmla="*/ 500 h 1014"/>
                <a:gd name="T42" fmla="*/ 224 w 284"/>
                <a:gd name="T43" fmla="*/ 516 h 1014"/>
                <a:gd name="T44" fmla="*/ 222 w 284"/>
                <a:gd name="T45" fmla="*/ 530 h 1014"/>
                <a:gd name="T46" fmla="*/ 220 w 284"/>
                <a:gd name="T47" fmla="*/ 544 h 1014"/>
                <a:gd name="T48" fmla="*/ 218 w 284"/>
                <a:gd name="T49" fmla="*/ 558 h 1014"/>
                <a:gd name="T50" fmla="*/ 212 w 284"/>
                <a:gd name="T51" fmla="*/ 572 h 1014"/>
                <a:gd name="T52" fmla="*/ 206 w 284"/>
                <a:gd name="T53" fmla="*/ 586 h 1014"/>
                <a:gd name="T54" fmla="*/ 200 w 284"/>
                <a:gd name="T55" fmla="*/ 598 h 1014"/>
                <a:gd name="T56" fmla="*/ 106 w 284"/>
                <a:gd name="T57" fmla="*/ 746 h 1014"/>
                <a:gd name="T58" fmla="*/ 0 w 284"/>
                <a:gd name="T59" fmla="*/ 968 h 1014"/>
                <a:gd name="T60" fmla="*/ 50 w 284"/>
                <a:gd name="T61" fmla="*/ 1014 h 10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4" h="1014">
                  <a:moveTo>
                    <a:pt x="50" y="1014"/>
                  </a:moveTo>
                  <a:lnTo>
                    <a:pt x="158" y="770"/>
                  </a:lnTo>
                  <a:lnTo>
                    <a:pt x="260" y="610"/>
                  </a:lnTo>
                  <a:lnTo>
                    <a:pt x="260" y="610"/>
                  </a:lnTo>
                  <a:lnTo>
                    <a:pt x="266" y="598"/>
                  </a:lnTo>
                  <a:lnTo>
                    <a:pt x="272" y="584"/>
                  </a:lnTo>
                  <a:lnTo>
                    <a:pt x="278" y="570"/>
                  </a:lnTo>
                  <a:lnTo>
                    <a:pt x="280" y="556"/>
                  </a:lnTo>
                  <a:lnTo>
                    <a:pt x="282" y="542"/>
                  </a:lnTo>
                  <a:lnTo>
                    <a:pt x="284" y="526"/>
                  </a:lnTo>
                  <a:lnTo>
                    <a:pt x="282" y="512"/>
                  </a:lnTo>
                  <a:lnTo>
                    <a:pt x="280" y="498"/>
                  </a:lnTo>
                  <a:lnTo>
                    <a:pt x="244" y="308"/>
                  </a:lnTo>
                  <a:lnTo>
                    <a:pt x="174" y="126"/>
                  </a:lnTo>
                  <a:lnTo>
                    <a:pt x="140" y="0"/>
                  </a:lnTo>
                  <a:lnTo>
                    <a:pt x="86" y="16"/>
                  </a:lnTo>
                  <a:lnTo>
                    <a:pt x="120" y="146"/>
                  </a:lnTo>
                  <a:lnTo>
                    <a:pt x="190" y="326"/>
                  </a:lnTo>
                  <a:lnTo>
                    <a:pt x="220" y="486"/>
                  </a:lnTo>
                  <a:lnTo>
                    <a:pt x="220" y="486"/>
                  </a:lnTo>
                  <a:lnTo>
                    <a:pt x="222" y="500"/>
                  </a:lnTo>
                  <a:lnTo>
                    <a:pt x="224" y="516"/>
                  </a:lnTo>
                  <a:lnTo>
                    <a:pt x="222" y="530"/>
                  </a:lnTo>
                  <a:lnTo>
                    <a:pt x="220" y="544"/>
                  </a:lnTo>
                  <a:lnTo>
                    <a:pt x="218" y="558"/>
                  </a:lnTo>
                  <a:lnTo>
                    <a:pt x="212" y="572"/>
                  </a:lnTo>
                  <a:lnTo>
                    <a:pt x="206" y="586"/>
                  </a:lnTo>
                  <a:lnTo>
                    <a:pt x="200" y="598"/>
                  </a:lnTo>
                  <a:lnTo>
                    <a:pt x="106" y="746"/>
                  </a:lnTo>
                  <a:lnTo>
                    <a:pt x="0" y="968"/>
                  </a:lnTo>
                  <a:lnTo>
                    <a:pt x="50" y="1014"/>
                  </a:lnTo>
                  <a:close/>
                </a:path>
              </a:pathLst>
            </a:custGeom>
            <a:solidFill>
              <a:srgbClr val="AE8A6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58" name="Freeform 1938">
              <a:extLst>
                <a:ext uri="{FF2B5EF4-FFF2-40B4-BE49-F238E27FC236}">
                  <a16:creationId xmlns:a16="http://schemas.microsoft.com/office/drawing/2014/main" id="{DEBECAD5-FCCD-44C6-B53F-CF9936376581}"/>
                </a:ext>
              </a:extLst>
            </p:cNvPr>
            <p:cNvSpPr>
              <a:spLocks/>
            </p:cNvSpPr>
            <p:nvPr/>
          </p:nvSpPr>
          <p:spPr bwMode="auto">
            <a:xfrm>
              <a:off x="9625640" y="3265177"/>
              <a:ext cx="507418" cy="1811698"/>
            </a:xfrm>
            <a:custGeom>
              <a:avLst/>
              <a:gdLst>
                <a:gd name="T0" fmla="*/ 50 w 284"/>
                <a:gd name="T1" fmla="*/ 1014 h 1014"/>
                <a:gd name="T2" fmla="*/ 158 w 284"/>
                <a:gd name="T3" fmla="*/ 770 h 1014"/>
                <a:gd name="T4" fmla="*/ 260 w 284"/>
                <a:gd name="T5" fmla="*/ 610 h 1014"/>
                <a:gd name="T6" fmla="*/ 260 w 284"/>
                <a:gd name="T7" fmla="*/ 610 h 1014"/>
                <a:gd name="T8" fmla="*/ 266 w 284"/>
                <a:gd name="T9" fmla="*/ 598 h 1014"/>
                <a:gd name="T10" fmla="*/ 272 w 284"/>
                <a:gd name="T11" fmla="*/ 584 h 1014"/>
                <a:gd name="T12" fmla="*/ 278 w 284"/>
                <a:gd name="T13" fmla="*/ 570 h 1014"/>
                <a:gd name="T14" fmla="*/ 280 w 284"/>
                <a:gd name="T15" fmla="*/ 556 h 1014"/>
                <a:gd name="T16" fmla="*/ 282 w 284"/>
                <a:gd name="T17" fmla="*/ 542 h 1014"/>
                <a:gd name="T18" fmla="*/ 284 w 284"/>
                <a:gd name="T19" fmla="*/ 526 h 1014"/>
                <a:gd name="T20" fmla="*/ 282 w 284"/>
                <a:gd name="T21" fmla="*/ 512 h 1014"/>
                <a:gd name="T22" fmla="*/ 280 w 284"/>
                <a:gd name="T23" fmla="*/ 498 h 1014"/>
                <a:gd name="T24" fmla="*/ 244 w 284"/>
                <a:gd name="T25" fmla="*/ 308 h 1014"/>
                <a:gd name="T26" fmla="*/ 174 w 284"/>
                <a:gd name="T27" fmla="*/ 126 h 1014"/>
                <a:gd name="T28" fmla="*/ 140 w 284"/>
                <a:gd name="T29" fmla="*/ 0 h 1014"/>
                <a:gd name="T30" fmla="*/ 86 w 284"/>
                <a:gd name="T31" fmla="*/ 16 h 1014"/>
                <a:gd name="T32" fmla="*/ 120 w 284"/>
                <a:gd name="T33" fmla="*/ 146 h 1014"/>
                <a:gd name="T34" fmla="*/ 190 w 284"/>
                <a:gd name="T35" fmla="*/ 326 h 1014"/>
                <a:gd name="T36" fmla="*/ 220 w 284"/>
                <a:gd name="T37" fmla="*/ 486 h 1014"/>
                <a:gd name="T38" fmla="*/ 220 w 284"/>
                <a:gd name="T39" fmla="*/ 486 h 1014"/>
                <a:gd name="T40" fmla="*/ 222 w 284"/>
                <a:gd name="T41" fmla="*/ 500 h 1014"/>
                <a:gd name="T42" fmla="*/ 224 w 284"/>
                <a:gd name="T43" fmla="*/ 516 h 1014"/>
                <a:gd name="T44" fmla="*/ 222 w 284"/>
                <a:gd name="T45" fmla="*/ 530 h 1014"/>
                <a:gd name="T46" fmla="*/ 220 w 284"/>
                <a:gd name="T47" fmla="*/ 544 h 1014"/>
                <a:gd name="T48" fmla="*/ 218 w 284"/>
                <a:gd name="T49" fmla="*/ 558 h 1014"/>
                <a:gd name="T50" fmla="*/ 212 w 284"/>
                <a:gd name="T51" fmla="*/ 572 h 1014"/>
                <a:gd name="T52" fmla="*/ 206 w 284"/>
                <a:gd name="T53" fmla="*/ 586 h 1014"/>
                <a:gd name="T54" fmla="*/ 200 w 284"/>
                <a:gd name="T55" fmla="*/ 598 h 1014"/>
                <a:gd name="T56" fmla="*/ 106 w 284"/>
                <a:gd name="T57" fmla="*/ 746 h 1014"/>
                <a:gd name="T58" fmla="*/ 0 w 284"/>
                <a:gd name="T59" fmla="*/ 968 h 1014"/>
                <a:gd name="T60" fmla="*/ 50 w 284"/>
                <a:gd name="T61" fmla="*/ 1014 h 10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4" h="1014">
                  <a:moveTo>
                    <a:pt x="50" y="1014"/>
                  </a:moveTo>
                  <a:lnTo>
                    <a:pt x="158" y="770"/>
                  </a:lnTo>
                  <a:lnTo>
                    <a:pt x="260" y="610"/>
                  </a:lnTo>
                  <a:lnTo>
                    <a:pt x="260" y="610"/>
                  </a:lnTo>
                  <a:lnTo>
                    <a:pt x="266" y="598"/>
                  </a:lnTo>
                  <a:lnTo>
                    <a:pt x="272" y="584"/>
                  </a:lnTo>
                  <a:lnTo>
                    <a:pt x="278" y="570"/>
                  </a:lnTo>
                  <a:lnTo>
                    <a:pt x="280" y="556"/>
                  </a:lnTo>
                  <a:lnTo>
                    <a:pt x="282" y="542"/>
                  </a:lnTo>
                  <a:lnTo>
                    <a:pt x="284" y="526"/>
                  </a:lnTo>
                  <a:lnTo>
                    <a:pt x="282" y="512"/>
                  </a:lnTo>
                  <a:lnTo>
                    <a:pt x="280" y="498"/>
                  </a:lnTo>
                  <a:lnTo>
                    <a:pt x="244" y="308"/>
                  </a:lnTo>
                  <a:lnTo>
                    <a:pt x="174" y="126"/>
                  </a:lnTo>
                  <a:lnTo>
                    <a:pt x="140" y="0"/>
                  </a:lnTo>
                  <a:lnTo>
                    <a:pt x="86" y="16"/>
                  </a:lnTo>
                  <a:lnTo>
                    <a:pt x="120" y="146"/>
                  </a:lnTo>
                  <a:lnTo>
                    <a:pt x="190" y="326"/>
                  </a:lnTo>
                  <a:lnTo>
                    <a:pt x="220" y="486"/>
                  </a:lnTo>
                  <a:lnTo>
                    <a:pt x="220" y="486"/>
                  </a:lnTo>
                  <a:lnTo>
                    <a:pt x="222" y="500"/>
                  </a:lnTo>
                  <a:lnTo>
                    <a:pt x="224" y="516"/>
                  </a:lnTo>
                  <a:lnTo>
                    <a:pt x="222" y="530"/>
                  </a:lnTo>
                  <a:lnTo>
                    <a:pt x="220" y="544"/>
                  </a:lnTo>
                  <a:lnTo>
                    <a:pt x="218" y="558"/>
                  </a:lnTo>
                  <a:lnTo>
                    <a:pt x="212" y="572"/>
                  </a:lnTo>
                  <a:lnTo>
                    <a:pt x="206" y="586"/>
                  </a:lnTo>
                  <a:lnTo>
                    <a:pt x="200" y="598"/>
                  </a:lnTo>
                  <a:lnTo>
                    <a:pt x="106" y="746"/>
                  </a:lnTo>
                  <a:lnTo>
                    <a:pt x="0" y="968"/>
                  </a:lnTo>
                  <a:lnTo>
                    <a:pt x="50" y="10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59" name="Freeform 1940">
              <a:extLst>
                <a:ext uri="{FF2B5EF4-FFF2-40B4-BE49-F238E27FC236}">
                  <a16:creationId xmlns:a16="http://schemas.microsoft.com/office/drawing/2014/main" id="{7B620349-5B83-4303-A50E-FF4A6EDFE7C7}"/>
                </a:ext>
              </a:extLst>
            </p:cNvPr>
            <p:cNvSpPr>
              <a:spLocks/>
            </p:cNvSpPr>
            <p:nvPr/>
          </p:nvSpPr>
          <p:spPr bwMode="auto">
            <a:xfrm>
              <a:off x="9607773" y="3247311"/>
              <a:ext cx="539579" cy="1849219"/>
            </a:xfrm>
            <a:custGeom>
              <a:avLst/>
              <a:gdLst>
                <a:gd name="T0" fmla="*/ 68 w 302"/>
                <a:gd name="T1" fmla="*/ 1026 h 1035"/>
                <a:gd name="T2" fmla="*/ 276 w 302"/>
                <a:gd name="T3" fmla="*/ 624 h 1035"/>
                <a:gd name="T4" fmla="*/ 288 w 302"/>
                <a:gd name="T5" fmla="*/ 604 h 1035"/>
                <a:gd name="T6" fmla="*/ 300 w 302"/>
                <a:gd name="T7" fmla="*/ 560 h 1035"/>
                <a:gd name="T8" fmla="*/ 302 w 302"/>
                <a:gd name="T9" fmla="*/ 536 h 1035"/>
                <a:gd name="T10" fmla="*/ 298 w 302"/>
                <a:gd name="T11" fmla="*/ 506 h 1035"/>
                <a:gd name="T12" fmla="*/ 192 w 302"/>
                <a:gd name="T13" fmla="*/ 134 h 1035"/>
                <a:gd name="T14" fmla="*/ 86 w 302"/>
                <a:gd name="T15" fmla="*/ 20 h 1035"/>
                <a:gd name="T16" fmla="*/ 192 w 302"/>
                <a:gd name="T17" fmla="*/ 338 h 1035"/>
                <a:gd name="T18" fmla="*/ 222 w 302"/>
                <a:gd name="T19" fmla="*/ 498 h 1035"/>
                <a:gd name="T20" fmla="*/ 226 w 302"/>
                <a:gd name="T21" fmla="*/ 524 h 1035"/>
                <a:gd name="T22" fmla="*/ 224 w 302"/>
                <a:gd name="T23" fmla="*/ 546 h 1035"/>
                <a:gd name="T24" fmla="*/ 212 w 302"/>
                <a:gd name="T25" fmla="*/ 586 h 1035"/>
                <a:gd name="T26" fmla="*/ 108 w 302"/>
                <a:gd name="T27" fmla="*/ 752 h 1035"/>
                <a:gd name="T28" fmla="*/ 64 w 302"/>
                <a:gd name="T29" fmla="*/ 1035 h 1035"/>
                <a:gd name="T30" fmla="*/ 60 w 302"/>
                <a:gd name="T31" fmla="*/ 1024 h 1035"/>
                <a:gd name="T32" fmla="*/ 20 w 302"/>
                <a:gd name="T33" fmla="*/ 976 h 1035"/>
                <a:gd name="T34" fmla="*/ 216 w 302"/>
                <a:gd name="T35" fmla="*/ 612 h 1035"/>
                <a:gd name="T36" fmla="*/ 226 w 302"/>
                <a:gd name="T37" fmla="*/ 592 h 1035"/>
                <a:gd name="T38" fmla="*/ 240 w 302"/>
                <a:gd name="T39" fmla="*/ 548 h 1035"/>
                <a:gd name="T40" fmla="*/ 242 w 302"/>
                <a:gd name="T41" fmla="*/ 524 h 1035"/>
                <a:gd name="T42" fmla="*/ 238 w 302"/>
                <a:gd name="T43" fmla="*/ 494 h 1035"/>
                <a:gd name="T44" fmla="*/ 138 w 302"/>
                <a:gd name="T45" fmla="*/ 154 h 1035"/>
                <a:gd name="T46" fmla="*/ 146 w 302"/>
                <a:gd name="T47" fmla="*/ 20 h 1035"/>
                <a:gd name="T48" fmla="*/ 248 w 302"/>
                <a:gd name="T49" fmla="*/ 320 h 1035"/>
                <a:gd name="T50" fmla="*/ 282 w 302"/>
                <a:gd name="T51" fmla="*/ 508 h 1035"/>
                <a:gd name="T52" fmla="*/ 286 w 302"/>
                <a:gd name="T53" fmla="*/ 536 h 1035"/>
                <a:gd name="T54" fmla="*/ 284 w 302"/>
                <a:gd name="T55" fmla="*/ 558 h 1035"/>
                <a:gd name="T56" fmla="*/ 272 w 302"/>
                <a:gd name="T57" fmla="*/ 598 h 1035"/>
                <a:gd name="T58" fmla="*/ 160 w 302"/>
                <a:gd name="T59" fmla="*/ 776 h 1035"/>
                <a:gd name="T60" fmla="*/ 60 w 302"/>
                <a:gd name="T61" fmla="*/ 1024 h 1035"/>
                <a:gd name="T62" fmla="*/ 60 w 302"/>
                <a:gd name="T63" fmla="*/ 1024 h 10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02" h="1035">
                  <a:moveTo>
                    <a:pt x="60" y="1024"/>
                  </a:moveTo>
                  <a:lnTo>
                    <a:pt x="68" y="1026"/>
                  </a:lnTo>
                  <a:lnTo>
                    <a:pt x="174" y="784"/>
                  </a:lnTo>
                  <a:lnTo>
                    <a:pt x="276" y="624"/>
                  </a:lnTo>
                  <a:lnTo>
                    <a:pt x="276" y="624"/>
                  </a:lnTo>
                  <a:lnTo>
                    <a:pt x="288" y="604"/>
                  </a:lnTo>
                  <a:lnTo>
                    <a:pt x="296" y="582"/>
                  </a:lnTo>
                  <a:lnTo>
                    <a:pt x="300" y="560"/>
                  </a:lnTo>
                  <a:lnTo>
                    <a:pt x="302" y="536"/>
                  </a:lnTo>
                  <a:lnTo>
                    <a:pt x="302" y="536"/>
                  </a:lnTo>
                  <a:lnTo>
                    <a:pt x="300" y="522"/>
                  </a:lnTo>
                  <a:lnTo>
                    <a:pt x="298" y="506"/>
                  </a:lnTo>
                  <a:lnTo>
                    <a:pt x="262" y="316"/>
                  </a:lnTo>
                  <a:lnTo>
                    <a:pt x="192" y="134"/>
                  </a:lnTo>
                  <a:lnTo>
                    <a:pt x="156" y="0"/>
                  </a:lnTo>
                  <a:lnTo>
                    <a:pt x="86" y="20"/>
                  </a:lnTo>
                  <a:lnTo>
                    <a:pt x="124" y="158"/>
                  </a:lnTo>
                  <a:lnTo>
                    <a:pt x="192" y="338"/>
                  </a:lnTo>
                  <a:lnTo>
                    <a:pt x="222" y="498"/>
                  </a:lnTo>
                  <a:lnTo>
                    <a:pt x="222" y="498"/>
                  </a:lnTo>
                  <a:lnTo>
                    <a:pt x="224" y="512"/>
                  </a:lnTo>
                  <a:lnTo>
                    <a:pt x="226" y="524"/>
                  </a:lnTo>
                  <a:lnTo>
                    <a:pt x="226" y="524"/>
                  </a:lnTo>
                  <a:lnTo>
                    <a:pt x="224" y="546"/>
                  </a:lnTo>
                  <a:lnTo>
                    <a:pt x="220" y="566"/>
                  </a:lnTo>
                  <a:lnTo>
                    <a:pt x="212" y="586"/>
                  </a:lnTo>
                  <a:lnTo>
                    <a:pt x="202" y="604"/>
                  </a:lnTo>
                  <a:lnTo>
                    <a:pt x="108" y="752"/>
                  </a:lnTo>
                  <a:lnTo>
                    <a:pt x="0" y="980"/>
                  </a:lnTo>
                  <a:lnTo>
                    <a:pt x="64" y="1035"/>
                  </a:lnTo>
                  <a:lnTo>
                    <a:pt x="68" y="1026"/>
                  </a:lnTo>
                  <a:lnTo>
                    <a:pt x="60" y="1024"/>
                  </a:lnTo>
                  <a:lnTo>
                    <a:pt x="66" y="1018"/>
                  </a:lnTo>
                  <a:lnTo>
                    <a:pt x="20" y="976"/>
                  </a:lnTo>
                  <a:lnTo>
                    <a:pt x="122" y="760"/>
                  </a:lnTo>
                  <a:lnTo>
                    <a:pt x="216" y="612"/>
                  </a:lnTo>
                  <a:lnTo>
                    <a:pt x="216" y="612"/>
                  </a:lnTo>
                  <a:lnTo>
                    <a:pt x="226" y="592"/>
                  </a:lnTo>
                  <a:lnTo>
                    <a:pt x="234" y="570"/>
                  </a:lnTo>
                  <a:lnTo>
                    <a:pt x="240" y="548"/>
                  </a:lnTo>
                  <a:lnTo>
                    <a:pt x="242" y="524"/>
                  </a:lnTo>
                  <a:lnTo>
                    <a:pt x="242" y="524"/>
                  </a:lnTo>
                  <a:lnTo>
                    <a:pt x="240" y="510"/>
                  </a:lnTo>
                  <a:lnTo>
                    <a:pt x="238" y="494"/>
                  </a:lnTo>
                  <a:lnTo>
                    <a:pt x="208" y="334"/>
                  </a:lnTo>
                  <a:lnTo>
                    <a:pt x="138" y="154"/>
                  </a:lnTo>
                  <a:lnTo>
                    <a:pt x="106" y="32"/>
                  </a:lnTo>
                  <a:lnTo>
                    <a:pt x="146" y="20"/>
                  </a:lnTo>
                  <a:lnTo>
                    <a:pt x="178" y="140"/>
                  </a:lnTo>
                  <a:lnTo>
                    <a:pt x="248" y="320"/>
                  </a:lnTo>
                  <a:lnTo>
                    <a:pt x="282" y="508"/>
                  </a:lnTo>
                  <a:lnTo>
                    <a:pt x="282" y="508"/>
                  </a:lnTo>
                  <a:lnTo>
                    <a:pt x="284" y="522"/>
                  </a:lnTo>
                  <a:lnTo>
                    <a:pt x="286" y="536"/>
                  </a:lnTo>
                  <a:lnTo>
                    <a:pt x="286" y="536"/>
                  </a:lnTo>
                  <a:lnTo>
                    <a:pt x="284" y="558"/>
                  </a:lnTo>
                  <a:lnTo>
                    <a:pt x="280" y="578"/>
                  </a:lnTo>
                  <a:lnTo>
                    <a:pt x="272" y="598"/>
                  </a:lnTo>
                  <a:lnTo>
                    <a:pt x="262" y="616"/>
                  </a:lnTo>
                  <a:lnTo>
                    <a:pt x="160" y="776"/>
                  </a:lnTo>
                  <a:lnTo>
                    <a:pt x="54" y="1020"/>
                  </a:lnTo>
                  <a:lnTo>
                    <a:pt x="60" y="1024"/>
                  </a:lnTo>
                  <a:lnTo>
                    <a:pt x="66" y="1018"/>
                  </a:lnTo>
                  <a:lnTo>
                    <a:pt x="60" y="102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60" name="Freeform 1942">
              <a:extLst>
                <a:ext uri="{FF2B5EF4-FFF2-40B4-BE49-F238E27FC236}">
                  <a16:creationId xmlns:a16="http://schemas.microsoft.com/office/drawing/2014/main" id="{B2B50432-89B8-419B-A250-0F1803D3B77A}"/>
                </a:ext>
              </a:extLst>
            </p:cNvPr>
            <p:cNvSpPr>
              <a:spLocks/>
            </p:cNvSpPr>
            <p:nvPr/>
          </p:nvSpPr>
          <p:spPr bwMode="auto">
            <a:xfrm>
              <a:off x="9711401" y="3840490"/>
              <a:ext cx="475258" cy="353764"/>
            </a:xfrm>
            <a:custGeom>
              <a:avLst/>
              <a:gdLst>
                <a:gd name="T0" fmla="*/ 180 w 266"/>
                <a:gd name="T1" fmla="*/ 166 h 198"/>
                <a:gd name="T2" fmla="*/ 180 w 266"/>
                <a:gd name="T3" fmla="*/ 166 h 198"/>
                <a:gd name="T4" fmla="*/ 164 w 266"/>
                <a:gd name="T5" fmla="*/ 176 h 198"/>
                <a:gd name="T6" fmla="*/ 150 w 266"/>
                <a:gd name="T7" fmla="*/ 182 h 198"/>
                <a:gd name="T8" fmla="*/ 136 w 266"/>
                <a:gd name="T9" fmla="*/ 188 h 198"/>
                <a:gd name="T10" fmla="*/ 120 w 266"/>
                <a:gd name="T11" fmla="*/ 192 h 198"/>
                <a:gd name="T12" fmla="*/ 90 w 266"/>
                <a:gd name="T13" fmla="*/ 196 h 198"/>
                <a:gd name="T14" fmla="*/ 62 w 266"/>
                <a:gd name="T15" fmla="*/ 198 h 198"/>
                <a:gd name="T16" fmla="*/ 36 w 266"/>
                <a:gd name="T17" fmla="*/ 196 h 198"/>
                <a:gd name="T18" fmla="*/ 16 w 266"/>
                <a:gd name="T19" fmla="*/ 194 h 198"/>
                <a:gd name="T20" fmla="*/ 0 w 266"/>
                <a:gd name="T21" fmla="*/ 192 h 198"/>
                <a:gd name="T22" fmla="*/ 0 w 266"/>
                <a:gd name="T23" fmla="*/ 192 h 198"/>
                <a:gd name="T24" fmla="*/ 2 w 266"/>
                <a:gd name="T25" fmla="*/ 174 h 198"/>
                <a:gd name="T26" fmla="*/ 6 w 266"/>
                <a:gd name="T27" fmla="*/ 154 h 198"/>
                <a:gd name="T28" fmla="*/ 14 w 266"/>
                <a:gd name="T29" fmla="*/ 130 h 198"/>
                <a:gd name="T30" fmla="*/ 26 w 266"/>
                <a:gd name="T31" fmla="*/ 104 h 198"/>
                <a:gd name="T32" fmla="*/ 40 w 266"/>
                <a:gd name="T33" fmla="*/ 78 h 198"/>
                <a:gd name="T34" fmla="*/ 50 w 266"/>
                <a:gd name="T35" fmla="*/ 66 h 198"/>
                <a:gd name="T36" fmla="*/ 60 w 266"/>
                <a:gd name="T37" fmla="*/ 54 h 198"/>
                <a:gd name="T38" fmla="*/ 72 w 266"/>
                <a:gd name="T39" fmla="*/ 42 h 198"/>
                <a:gd name="T40" fmla="*/ 86 w 266"/>
                <a:gd name="T41" fmla="*/ 32 h 198"/>
                <a:gd name="T42" fmla="*/ 86 w 266"/>
                <a:gd name="T43" fmla="*/ 32 h 198"/>
                <a:gd name="T44" fmla="*/ 100 w 266"/>
                <a:gd name="T45" fmla="*/ 22 h 198"/>
                <a:gd name="T46" fmla="*/ 114 w 266"/>
                <a:gd name="T47" fmla="*/ 16 h 198"/>
                <a:gd name="T48" fmla="*/ 130 w 266"/>
                <a:gd name="T49" fmla="*/ 10 h 198"/>
                <a:gd name="T50" fmla="*/ 144 w 266"/>
                <a:gd name="T51" fmla="*/ 6 h 198"/>
                <a:gd name="T52" fmla="*/ 174 w 266"/>
                <a:gd name="T53" fmla="*/ 2 h 198"/>
                <a:gd name="T54" fmla="*/ 204 w 266"/>
                <a:gd name="T55" fmla="*/ 0 h 198"/>
                <a:gd name="T56" fmla="*/ 228 w 266"/>
                <a:gd name="T57" fmla="*/ 0 h 198"/>
                <a:gd name="T58" fmla="*/ 248 w 266"/>
                <a:gd name="T59" fmla="*/ 4 h 198"/>
                <a:gd name="T60" fmla="*/ 266 w 266"/>
                <a:gd name="T61" fmla="*/ 6 h 198"/>
                <a:gd name="T62" fmla="*/ 266 w 266"/>
                <a:gd name="T63" fmla="*/ 6 h 198"/>
                <a:gd name="T64" fmla="*/ 262 w 266"/>
                <a:gd name="T65" fmla="*/ 24 h 198"/>
                <a:gd name="T66" fmla="*/ 258 w 266"/>
                <a:gd name="T67" fmla="*/ 44 h 198"/>
                <a:gd name="T68" fmla="*/ 250 w 266"/>
                <a:gd name="T69" fmla="*/ 68 h 198"/>
                <a:gd name="T70" fmla="*/ 238 w 266"/>
                <a:gd name="T71" fmla="*/ 94 h 198"/>
                <a:gd name="T72" fmla="*/ 224 w 266"/>
                <a:gd name="T73" fmla="*/ 120 h 198"/>
                <a:gd name="T74" fmla="*/ 214 w 266"/>
                <a:gd name="T75" fmla="*/ 132 h 198"/>
                <a:gd name="T76" fmla="*/ 204 w 266"/>
                <a:gd name="T77" fmla="*/ 144 h 198"/>
                <a:gd name="T78" fmla="*/ 192 w 266"/>
                <a:gd name="T79" fmla="*/ 156 h 198"/>
                <a:gd name="T80" fmla="*/ 180 w 266"/>
                <a:gd name="T81" fmla="*/ 166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66" h="198">
                  <a:moveTo>
                    <a:pt x="180" y="166"/>
                  </a:moveTo>
                  <a:lnTo>
                    <a:pt x="180" y="166"/>
                  </a:lnTo>
                  <a:lnTo>
                    <a:pt x="164" y="176"/>
                  </a:lnTo>
                  <a:lnTo>
                    <a:pt x="150" y="182"/>
                  </a:lnTo>
                  <a:lnTo>
                    <a:pt x="136" y="188"/>
                  </a:lnTo>
                  <a:lnTo>
                    <a:pt x="120" y="192"/>
                  </a:lnTo>
                  <a:lnTo>
                    <a:pt x="90" y="196"/>
                  </a:lnTo>
                  <a:lnTo>
                    <a:pt x="62" y="198"/>
                  </a:lnTo>
                  <a:lnTo>
                    <a:pt x="36" y="196"/>
                  </a:lnTo>
                  <a:lnTo>
                    <a:pt x="16" y="194"/>
                  </a:lnTo>
                  <a:lnTo>
                    <a:pt x="0" y="192"/>
                  </a:lnTo>
                  <a:lnTo>
                    <a:pt x="0" y="192"/>
                  </a:lnTo>
                  <a:lnTo>
                    <a:pt x="2" y="174"/>
                  </a:lnTo>
                  <a:lnTo>
                    <a:pt x="6" y="154"/>
                  </a:lnTo>
                  <a:lnTo>
                    <a:pt x="14" y="130"/>
                  </a:lnTo>
                  <a:lnTo>
                    <a:pt x="26" y="104"/>
                  </a:lnTo>
                  <a:lnTo>
                    <a:pt x="40" y="78"/>
                  </a:lnTo>
                  <a:lnTo>
                    <a:pt x="50" y="66"/>
                  </a:lnTo>
                  <a:lnTo>
                    <a:pt x="60" y="54"/>
                  </a:lnTo>
                  <a:lnTo>
                    <a:pt x="72" y="42"/>
                  </a:lnTo>
                  <a:lnTo>
                    <a:pt x="86" y="32"/>
                  </a:lnTo>
                  <a:lnTo>
                    <a:pt x="86" y="32"/>
                  </a:lnTo>
                  <a:lnTo>
                    <a:pt x="100" y="22"/>
                  </a:lnTo>
                  <a:lnTo>
                    <a:pt x="114" y="16"/>
                  </a:lnTo>
                  <a:lnTo>
                    <a:pt x="130" y="10"/>
                  </a:lnTo>
                  <a:lnTo>
                    <a:pt x="144" y="6"/>
                  </a:lnTo>
                  <a:lnTo>
                    <a:pt x="174" y="2"/>
                  </a:lnTo>
                  <a:lnTo>
                    <a:pt x="204" y="0"/>
                  </a:lnTo>
                  <a:lnTo>
                    <a:pt x="228" y="0"/>
                  </a:lnTo>
                  <a:lnTo>
                    <a:pt x="248" y="4"/>
                  </a:lnTo>
                  <a:lnTo>
                    <a:pt x="266" y="6"/>
                  </a:lnTo>
                  <a:lnTo>
                    <a:pt x="266" y="6"/>
                  </a:lnTo>
                  <a:lnTo>
                    <a:pt x="262" y="24"/>
                  </a:lnTo>
                  <a:lnTo>
                    <a:pt x="258" y="44"/>
                  </a:lnTo>
                  <a:lnTo>
                    <a:pt x="250" y="68"/>
                  </a:lnTo>
                  <a:lnTo>
                    <a:pt x="238" y="94"/>
                  </a:lnTo>
                  <a:lnTo>
                    <a:pt x="224" y="120"/>
                  </a:lnTo>
                  <a:lnTo>
                    <a:pt x="214" y="132"/>
                  </a:lnTo>
                  <a:lnTo>
                    <a:pt x="204" y="144"/>
                  </a:lnTo>
                  <a:lnTo>
                    <a:pt x="192" y="156"/>
                  </a:lnTo>
                  <a:lnTo>
                    <a:pt x="180" y="16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61" name="Freeform 1945">
              <a:extLst>
                <a:ext uri="{FF2B5EF4-FFF2-40B4-BE49-F238E27FC236}">
                  <a16:creationId xmlns:a16="http://schemas.microsoft.com/office/drawing/2014/main" id="{ED6E3AA7-E5B9-421E-AD6C-A7C1FBC3302C}"/>
                </a:ext>
              </a:extLst>
            </p:cNvPr>
            <p:cNvSpPr>
              <a:spLocks/>
            </p:cNvSpPr>
            <p:nvPr/>
          </p:nvSpPr>
          <p:spPr bwMode="auto">
            <a:xfrm>
              <a:off x="9725695" y="3858357"/>
              <a:ext cx="321603" cy="321603"/>
            </a:xfrm>
            <a:custGeom>
              <a:avLst/>
              <a:gdLst>
                <a:gd name="T0" fmla="*/ 164 w 180"/>
                <a:gd name="T1" fmla="*/ 0 h 180"/>
                <a:gd name="T2" fmla="*/ 164 w 180"/>
                <a:gd name="T3" fmla="*/ 0 h 180"/>
                <a:gd name="T4" fmla="*/ 144 w 180"/>
                <a:gd name="T5" fmla="*/ 2 h 180"/>
                <a:gd name="T6" fmla="*/ 122 w 180"/>
                <a:gd name="T7" fmla="*/ 8 h 180"/>
                <a:gd name="T8" fmla="*/ 102 w 180"/>
                <a:gd name="T9" fmla="*/ 16 h 180"/>
                <a:gd name="T10" fmla="*/ 82 w 180"/>
                <a:gd name="T11" fmla="*/ 28 h 180"/>
                <a:gd name="T12" fmla="*/ 82 w 180"/>
                <a:gd name="T13" fmla="*/ 28 h 180"/>
                <a:gd name="T14" fmla="*/ 66 w 180"/>
                <a:gd name="T15" fmla="*/ 40 h 180"/>
                <a:gd name="T16" fmla="*/ 66 w 180"/>
                <a:gd name="T17" fmla="*/ 40 h 180"/>
                <a:gd name="T18" fmla="*/ 62 w 180"/>
                <a:gd name="T19" fmla="*/ 72 h 180"/>
                <a:gd name="T20" fmla="*/ 56 w 180"/>
                <a:gd name="T21" fmla="*/ 96 h 180"/>
                <a:gd name="T22" fmla="*/ 48 w 180"/>
                <a:gd name="T23" fmla="*/ 120 h 180"/>
                <a:gd name="T24" fmla="*/ 46 w 180"/>
                <a:gd name="T25" fmla="*/ 126 h 180"/>
                <a:gd name="T26" fmla="*/ 40 w 180"/>
                <a:gd name="T27" fmla="*/ 124 h 180"/>
                <a:gd name="T28" fmla="*/ 40 w 180"/>
                <a:gd name="T29" fmla="*/ 124 h 180"/>
                <a:gd name="T30" fmla="*/ 16 w 180"/>
                <a:gd name="T31" fmla="*/ 116 h 180"/>
                <a:gd name="T32" fmla="*/ 16 w 180"/>
                <a:gd name="T33" fmla="*/ 116 h 180"/>
                <a:gd name="T34" fmla="*/ 16 w 180"/>
                <a:gd name="T35" fmla="*/ 120 h 180"/>
                <a:gd name="T36" fmla="*/ 16 w 180"/>
                <a:gd name="T37" fmla="*/ 120 h 180"/>
                <a:gd name="T38" fmla="*/ 6 w 180"/>
                <a:gd name="T39" fmla="*/ 152 h 180"/>
                <a:gd name="T40" fmla="*/ 0 w 180"/>
                <a:gd name="T41" fmla="*/ 176 h 180"/>
                <a:gd name="T42" fmla="*/ 0 w 180"/>
                <a:gd name="T43" fmla="*/ 176 h 180"/>
                <a:gd name="T44" fmla="*/ 10 w 180"/>
                <a:gd name="T45" fmla="*/ 176 h 180"/>
                <a:gd name="T46" fmla="*/ 10 w 180"/>
                <a:gd name="T47" fmla="*/ 176 h 180"/>
                <a:gd name="T48" fmla="*/ 30 w 180"/>
                <a:gd name="T49" fmla="*/ 180 h 180"/>
                <a:gd name="T50" fmla="*/ 54 w 180"/>
                <a:gd name="T51" fmla="*/ 180 h 180"/>
                <a:gd name="T52" fmla="*/ 54 w 180"/>
                <a:gd name="T53" fmla="*/ 180 h 180"/>
                <a:gd name="T54" fmla="*/ 54 w 180"/>
                <a:gd name="T55" fmla="*/ 180 h 180"/>
                <a:gd name="T56" fmla="*/ 54 w 180"/>
                <a:gd name="T57" fmla="*/ 180 h 180"/>
                <a:gd name="T58" fmla="*/ 76 w 180"/>
                <a:gd name="T59" fmla="*/ 180 h 180"/>
                <a:gd name="T60" fmla="*/ 98 w 180"/>
                <a:gd name="T61" fmla="*/ 176 h 180"/>
                <a:gd name="T62" fmla="*/ 122 w 180"/>
                <a:gd name="T63" fmla="*/ 172 h 180"/>
                <a:gd name="T64" fmla="*/ 144 w 180"/>
                <a:gd name="T65" fmla="*/ 162 h 180"/>
                <a:gd name="T66" fmla="*/ 144 w 180"/>
                <a:gd name="T67" fmla="*/ 162 h 180"/>
                <a:gd name="T68" fmla="*/ 144 w 180"/>
                <a:gd name="T69" fmla="*/ 162 h 180"/>
                <a:gd name="T70" fmla="*/ 146 w 180"/>
                <a:gd name="T71" fmla="*/ 144 h 180"/>
                <a:gd name="T72" fmla="*/ 150 w 180"/>
                <a:gd name="T73" fmla="*/ 124 h 180"/>
                <a:gd name="T74" fmla="*/ 156 w 180"/>
                <a:gd name="T75" fmla="*/ 100 h 180"/>
                <a:gd name="T76" fmla="*/ 156 w 180"/>
                <a:gd name="T77" fmla="*/ 100 h 180"/>
                <a:gd name="T78" fmla="*/ 166 w 180"/>
                <a:gd name="T79" fmla="*/ 70 h 180"/>
                <a:gd name="T80" fmla="*/ 172 w 180"/>
                <a:gd name="T81" fmla="*/ 54 h 180"/>
                <a:gd name="T82" fmla="*/ 180 w 180"/>
                <a:gd name="T83" fmla="*/ 40 h 180"/>
                <a:gd name="T84" fmla="*/ 178 w 180"/>
                <a:gd name="T85" fmla="*/ 36 h 180"/>
                <a:gd name="T86" fmla="*/ 178 w 180"/>
                <a:gd name="T87" fmla="*/ 36 h 180"/>
                <a:gd name="T88" fmla="*/ 174 w 180"/>
                <a:gd name="T89" fmla="*/ 26 h 180"/>
                <a:gd name="T90" fmla="*/ 164 w 180"/>
                <a:gd name="T91" fmla="*/ 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80" h="180">
                  <a:moveTo>
                    <a:pt x="164" y="0"/>
                  </a:moveTo>
                  <a:lnTo>
                    <a:pt x="164" y="0"/>
                  </a:lnTo>
                  <a:lnTo>
                    <a:pt x="144" y="2"/>
                  </a:lnTo>
                  <a:lnTo>
                    <a:pt x="122" y="8"/>
                  </a:lnTo>
                  <a:lnTo>
                    <a:pt x="102" y="16"/>
                  </a:lnTo>
                  <a:lnTo>
                    <a:pt x="82" y="28"/>
                  </a:lnTo>
                  <a:lnTo>
                    <a:pt x="82" y="28"/>
                  </a:lnTo>
                  <a:lnTo>
                    <a:pt x="66" y="40"/>
                  </a:lnTo>
                  <a:lnTo>
                    <a:pt x="66" y="40"/>
                  </a:lnTo>
                  <a:lnTo>
                    <a:pt x="62" y="72"/>
                  </a:lnTo>
                  <a:lnTo>
                    <a:pt x="56" y="96"/>
                  </a:lnTo>
                  <a:lnTo>
                    <a:pt x="48" y="120"/>
                  </a:lnTo>
                  <a:lnTo>
                    <a:pt x="46" y="126"/>
                  </a:lnTo>
                  <a:lnTo>
                    <a:pt x="40" y="124"/>
                  </a:lnTo>
                  <a:lnTo>
                    <a:pt x="40" y="124"/>
                  </a:lnTo>
                  <a:lnTo>
                    <a:pt x="16" y="116"/>
                  </a:lnTo>
                  <a:lnTo>
                    <a:pt x="16" y="116"/>
                  </a:lnTo>
                  <a:lnTo>
                    <a:pt x="16" y="120"/>
                  </a:lnTo>
                  <a:lnTo>
                    <a:pt x="16" y="120"/>
                  </a:lnTo>
                  <a:lnTo>
                    <a:pt x="6" y="152"/>
                  </a:lnTo>
                  <a:lnTo>
                    <a:pt x="0" y="176"/>
                  </a:lnTo>
                  <a:lnTo>
                    <a:pt x="0" y="176"/>
                  </a:lnTo>
                  <a:lnTo>
                    <a:pt x="10" y="176"/>
                  </a:lnTo>
                  <a:lnTo>
                    <a:pt x="10" y="176"/>
                  </a:lnTo>
                  <a:lnTo>
                    <a:pt x="30" y="180"/>
                  </a:lnTo>
                  <a:lnTo>
                    <a:pt x="54" y="180"/>
                  </a:lnTo>
                  <a:lnTo>
                    <a:pt x="54" y="180"/>
                  </a:lnTo>
                  <a:lnTo>
                    <a:pt x="54" y="180"/>
                  </a:lnTo>
                  <a:lnTo>
                    <a:pt x="54" y="180"/>
                  </a:lnTo>
                  <a:lnTo>
                    <a:pt x="76" y="180"/>
                  </a:lnTo>
                  <a:lnTo>
                    <a:pt x="98" y="176"/>
                  </a:lnTo>
                  <a:lnTo>
                    <a:pt x="122" y="172"/>
                  </a:lnTo>
                  <a:lnTo>
                    <a:pt x="144" y="162"/>
                  </a:lnTo>
                  <a:lnTo>
                    <a:pt x="144" y="162"/>
                  </a:lnTo>
                  <a:lnTo>
                    <a:pt x="144" y="162"/>
                  </a:lnTo>
                  <a:lnTo>
                    <a:pt x="146" y="144"/>
                  </a:lnTo>
                  <a:lnTo>
                    <a:pt x="150" y="124"/>
                  </a:lnTo>
                  <a:lnTo>
                    <a:pt x="156" y="100"/>
                  </a:lnTo>
                  <a:lnTo>
                    <a:pt x="156" y="100"/>
                  </a:lnTo>
                  <a:lnTo>
                    <a:pt x="166" y="70"/>
                  </a:lnTo>
                  <a:lnTo>
                    <a:pt x="172" y="54"/>
                  </a:lnTo>
                  <a:lnTo>
                    <a:pt x="180" y="40"/>
                  </a:lnTo>
                  <a:lnTo>
                    <a:pt x="178" y="36"/>
                  </a:lnTo>
                  <a:lnTo>
                    <a:pt x="178" y="36"/>
                  </a:lnTo>
                  <a:lnTo>
                    <a:pt x="174" y="26"/>
                  </a:lnTo>
                  <a:lnTo>
                    <a:pt x="164" y="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62" name="Freeform 1946">
              <a:extLst>
                <a:ext uri="{FF2B5EF4-FFF2-40B4-BE49-F238E27FC236}">
                  <a16:creationId xmlns:a16="http://schemas.microsoft.com/office/drawing/2014/main" id="{BB0DAC57-5553-449B-A9F7-C952911ED361}"/>
                </a:ext>
              </a:extLst>
            </p:cNvPr>
            <p:cNvSpPr>
              <a:spLocks/>
            </p:cNvSpPr>
            <p:nvPr/>
          </p:nvSpPr>
          <p:spPr bwMode="auto">
            <a:xfrm>
              <a:off x="9725695" y="3858357"/>
              <a:ext cx="321603" cy="321603"/>
            </a:xfrm>
            <a:custGeom>
              <a:avLst/>
              <a:gdLst>
                <a:gd name="T0" fmla="*/ 164 w 180"/>
                <a:gd name="T1" fmla="*/ 0 h 180"/>
                <a:gd name="T2" fmla="*/ 164 w 180"/>
                <a:gd name="T3" fmla="*/ 0 h 180"/>
                <a:gd name="T4" fmla="*/ 144 w 180"/>
                <a:gd name="T5" fmla="*/ 2 h 180"/>
                <a:gd name="T6" fmla="*/ 122 w 180"/>
                <a:gd name="T7" fmla="*/ 8 h 180"/>
                <a:gd name="T8" fmla="*/ 102 w 180"/>
                <a:gd name="T9" fmla="*/ 16 h 180"/>
                <a:gd name="T10" fmla="*/ 82 w 180"/>
                <a:gd name="T11" fmla="*/ 28 h 180"/>
                <a:gd name="T12" fmla="*/ 82 w 180"/>
                <a:gd name="T13" fmla="*/ 28 h 180"/>
                <a:gd name="T14" fmla="*/ 66 w 180"/>
                <a:gd name="T15" fmla="*/ 40 h 180"/>
                <a:gd name="T16" fmla="*/ 66 w 180"/>
                <a:gd name="T17" fmla="*/ 40 h 180"/>
                <a:gd name="T18" fmla="*/ 62 w 180"/>
                <a:gd name="T19" fmla="*/ 72 h 180"/>
                <a:gd name="T20" fmla="*/ 56 w 180"/>
                <a:gd name="T21" fmla="*/ 96 h 180"/>
                <a:gd name="T22" fmla="*/ 48 w 180"/>
                <a:gd name="T23" fmla="*/ 120 h 180"/>
                <a:gd name="T24" fmla="*/ 46 w 180"/>
                <a:gd name="T25" fmla="*/ 126 h 180"/>
                <a:gd name="T26" fmla="*/ 40 w 180"/>
                <a:gd name="T27" fmla="*/ 124 h 180"/>
                <a:gd name="T28" fmla="*/ 40 w 180"/>
                <a:gd name="T29" fmla="*/ 124 h 180"/>
                <a:gd name="T30" fmla="*/ 16 w 180"/>
                <a:gd name="T31" fmla="*/ 116 h 180"/>
                <a:gd name="T32" fmla="*/ 16 w 180"/>
                <a:gd name="T33" fmla="*/ 116 h 180"/>
                <a:gd name="T34" fmla="*/ 16 w 180"/>
                <a:gd name="T35" fmla="*/ 120 h 180"/>
                <a:gd name="T36" fmla="*/ 16 w 180"/>
                <a:gd name="T37" fmla="*/ 120 h 180"/>
                <a:gd name="T38" fmla="*/ 6 w 180"/>
                <a:gd name="T39" fmla="*/ 152 h 180"/>
                <a:gd name="T40" fmla="*/ 0 w 180"/>
                <a:gd name="T41" fmla="*/ 176 h 180"/>
                <a:gd name="T42" fmla="*/ 0 w 180"/>
                <a:gd name="T43" fmla="*/ 176 h 180"/>
                <a:gd name="T44" fmla="*/ 10 w 180"/>
                <a:gd name="T45" fmla="*/ 176 h 180"/>
                <a:gd name="T46" fmla="*/ 10 w 180"/>
                <a:gd name="T47" fmla="*/ 176 h 180"/>
                <a:gd name="T48" fmla="*/ 30 w 180"/>
                <a:gd name="T49" fmla="*/ 180 h 180"/>
                <a:gd name="T50" fmla="*/ 54 w 180"/>
                <a:gd name="T51" fmla="*/ 180 h 180"/>
                <a:gd name="T52" fmla="*/ 54 w 180"/>
                <a:gd name="T53" fmla="*/ 180 h 180"/>
                <a:gd name="T54" fmla="*/ 54 w 180"/>
                <a:gd name="T55" fmla="*/ 180 h 180"/>
                <a:gd name="T56" fmla="*/ 54 w 180"/>
                <a:gd name="T57" fmla="*/ 180 h 180"/>
                <a:gd name="T58" fmla="*/ 76 w 180"/>
                <a:gd name="T59" fmla="*/ 180 h 180"/>
                <a:gd name="T60" fmla="*/ 98 w 180"/>
                <a:gd name="T61" fmla="*/ 176 h 180"/>
                <a:gd name="T62" fmla="*/ 122 w 180"/>
                <a:gd name="T63" fmla="*/ 172 h 180"/>
                <a:gd name="T64" fmla="*/ 144 w 180"/>
                <a:gd name="T65" fmla="*/ 162 h 180"/>
                <a:gd name="T66" fmla="*/ 144 w 180"/>
                <a:gd name="T67" fmla="*/ 162 h 180"/>
                <a:gd name="T68" fmla="*/ 144 w 180"/>
                <a:gd name="T69" fmla="*/ 162 h 180"/>
                <a:gd name="T70" fmla="*/ 146 w 180"/>
                <a:gd name="T71" fmla="*/ 144 h 180"/>
                <a:gd name="T72" fmla="*/ 150 w 180"/>
                <a:gd name="T73" fmla="*/ 124 h 180"/>
                <a:gd name="T74" fmla="*/ 156 w 180"/>
                <a:gd name="T75" fmla="*/ 100 h 180"/>
                <a:gd name="T76" fmla="*/ 156 w 180"/>
                <a:gd name="T77" fmla="*/ 100 h 180"/>
                <a:gd name="T78" fmla="*/ 166 w 180"/>
                <a:gd name="T79" fmla="*/ 70 h 180"/>
                <a:gd name="T80" fmla="*/ 172 w 180"/>
                <a:gd name="T81" fmla="*/ 54 h 180"/>
                <a:gd name="T82" fmla="*/ 180 w 180"/>
                <a:gd name="T83" fmla="*/ 40 h 180"/>
                <a:gd name="T84" fmla="*/ 178 w 180"/>
                <a:gd name="T85" fmla="*/ 36 h 180"/>
                <a:gd name="T86" fmla="*/ 178 w 180"/>
                <a:gd name="T87" fmla="*/ 36 h 180"/>
                <a:gd name="T88" fmla="*/ 174 w 180"/>
                <a:gd name="T89" fmla="*/ 26 h 180"/>
                <a:gd name="T90" fmla="*/ 164 w 180"/>
                <a:gd name="T91" fmla="*/ 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80" h="180">
                  <a:moveTo>
                    <a:pt x="164" y="0"/>
                  </a:moveTo>
                  <a:lnTo>
                    <a:pt x="164" y="0"/>
                  </a:lnTo>
                  <a:lnTo>
                    <a:pt x="144" y="2"/>
                  </a:lnTo>
                  <a:lnTo>
                    <a:pt x="122" y="8"/>
                  </a:lnTo>
                  <a:lnTo>
                    <a:pt x="102" y="16"/>
                  </a:lnTo>
                  <a:lnTo>
                    <a:pt x="82" y="28"/>
                  </a:lnTo>
                  <a:lnTo>
                    <a:pt x="82" y="28"/>
                  </a:lnTo>
                  <a:lnTo>
                    <a:pt x="66" y="40"/>
                  </a:lnTo>
                  <a:lnTo>
                    <a:pt x="66" y="40"/>
                  </a:lnTo>
                  <a:lnTo>
                    <a:pt x="62" y="72"/>
                  </a:lnTo>
                  <a:lnTo>
                    <a:pt x="56" y="96"/>
                  </a:lnTo>
                  <a:lnTo>
                    <a:pt x="48" y="120"/>
                  </a:lnTo>
                  <a:lnTo>
                    <a:pt x="46" y="126"/>
                  </a:lnTo>
                  <a:lnTo>
                    <a:pt x="40" y="124"/>
                  </a:lnTo>
                  <a:lnTo>
                    <a:pt x="40" y="124"/>
                  </a:lnTo>
                  <a:lnTo>
                    <a:pt x="16" y="116"/>
                  </a:lnTo>
                  <a:lnTo>
                    <a:pt x="16" y="116"/>
                  </a:lnTo>
                  <a:lnTo>
                    <a:pt x="16" y="120"/>
                  </a:lnTo>
                  <a:lnTo>
                    <a:pt x="16" y="120"/>
                  </a:lnTo>
                  <a:lnTo>
                    <a:pt x="6" y="152"/>
                  </a:lnTo>
                  <a:lnTo>
                    <a:pt x="0" y="176"/>
                  </a:lnTo>
                  <a:lnTo>
                    <a:pt x="0" y="176"/>
                  </a:lnTo>
                  <a:lnTo>
                    <a:pt x="10" y="176"/>
                  </a:lnTo>
                  <a:lnTo>
                    <a:pt x="10" y="176"/>
                  </a:lnTo>
                  <a:lnTo>
                    <a:pt x="30" y="180"/>
                  </a:lnTo>
                  <a:lnTo>
                    <a:pt x="54" y="180"/>
                  </a:lnTo>
                  <a:lnTo>
                    <a:pt x="54" y="180"/>
                  </a:lnTo>
                  <a:lnTo>
                    <a:pt x="54" y="180"/>
                  </a:lnTo>
                  <a:lnTo>
                    <a:pt x="54" y="180"/>
                  </a:lnTo>
                  <a:lnTo>
                    <a:pt x="76" y="180"/>
                  </a:lnTo>
                  <a:lnTo>
                    <a:pt x="98" y="176"/>
                  </a:lnTo>
                  <a:lnTo>
                    <a:pt x="122" y="172"/>
                  </a:lnTo>
                  <a:lnTo>
                    <a:pt x="144" y="162"/>
                  </a:lnTo>
                  <a:lnTo>
                    <a:pt x="144" y="162"/>
                  </a:lnTo>
                  <a:lnTo>
                    <a:pt x="144" y="162"/>
                  </a:lnTo>
                  <a:lnTo>
                    <a:pt x="146" y="144"/>
                  </a:lnTo>
                  <a:lnTo>
                    <a:pt x="150" y="124"/>
                  </a:lnTo>
                  <a:lnTo>
                    <a:pt x="156" y="100"/>
                  </a:lnTo>
                  <a:lnTo>
                    <a:pt x="156" y="100"/>
                  </a:lnTo>
                  <a:lnTo>
                    <a:pt x="166" y="70"/>
                  </a:lnTo>
                  <a:lnTo>
                    <a:pt x="172" y="54"/>
                  </a:lnTo>
                  <a:lnTo>
                    <a:pt x="180" y="40"/>
                  </a:lnTo>
                  <a:lnTo>
                    <a:pt x="178" y="36"/>
                  </a:lnTo>
                  <a:lnTo>
                    <a:pt x="178" y="36"/>
                  </a:lnTo>
                  <a:lnTo>
                    <a:pt x="174" y="26"/>
                  </a:lnTo>
                  <a:lnTo>
                    <a:pt x="16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63" name="Freeform 1948">
              <a:extLst>
                <a:ext uri="{FF2B5EF4-FFF2-40B4-BE49-F238E27FC236}">
                  <a16:creationId xmlns:a16="http://schemas.microsoft.com/office/drawing/2014/main" id="{9182F5FC-4D71-4AC8-B403-658C569A1393}"/>
                </a:ext>
              </a:extLst>
            </p:cNvPr>
            <p:cNvSpPr>
              <a:spLocks/>
            </p:cNvSpPr>
            <p:nvPr/>
          </p:nvSpPr>
          <p:spPr bwMode="auto">
            <a:xfrm>
              <a:off x="9700681" y="4058465"/>
              <a:ext cx="310883" cy="150082"/>
            </a:xfrm>
            <a:custGeom>
              <a:avLst/>
              <a:gdLst>
                <a:gd name="T0" fmla="*/ 22 w 174"/>
                <a:gd name="T1" fmla="*/ 0 h 84"/>
                <a:gd name="T2" fmla="*/ 0 w 174"/>
                <a:gd name="T3" fmla="*/ 76 h 84"/>
                <a:gd name="T4" fmla="*/ 4 w 174"/>
                <a:gd name="T5" fmla="*/ 78 h 84"/>
                <a:gd name="T6" fmla="*/ 4 w 174"/>
                <a:gd name="T7" fmla="*/ 78 h 84"/>
                <a:gd name="T8" fmla="*/ 22 w 174"/>
                <a:gd name="T9" fmla="*/ 80 h 84"/>
                <a:gd name="T10" fmla="*/ 42 w 174"/>
                <a:gd name="T11" fmla="*/ 84 h 84"/>
                <a:gd name="T12" fmla="*/ 68 w 174"/>
                <a:gd name="T13" fmla="*/ 84 h 84"/>
                <a:gd name="T14" fmla="*/ 68 w 174"/>
                <a:gd name="T15" fmla="*/ 84 h 84"/>
                <a:gd name="T16" fmla="*/ 94 w 174"/>
                <a:gd name="T17" fmla="*/ 84 h 84"/>
                <a:gd name="T18" fmla="*/ 120 w 174"/>
                <a:gd name="T19" fmla="*/ 80 h 84"/>
                <a:gd name="T20" fmla="*/ 148 w 174"/>
                <a:gd name="T21" fmla="*/ 72 h 84"/>
                <a:gd name="T22" fmla="*/ 162 w 174"/>
                <a:gd name="T23" fmla="*/ 66 h 84"/>
                <a:gd name="T24" fmla="*/ 174 w 174"/>
                <a:gd name="T25" fmla="*/ 60 h 84"/>
                <a:gd name="T26" fmla="*/ 174 w 174"/>
                <a:gd name="T27" fmla="*/ 60 h 84"/>
                <a:gd name="T28" fmla="*/ 164 w 174"/>
                <a:gd name="T29" fmla="*/ 58 h 84"/>
                <a:gd name="T30" fmla="*/ 158 w 174"/>
                <a:gd name="T31" fmla="*/ 58 h 84"/>
                <a:gd name="T32" fmla="*/ 158 w 174"/>
                <a:gd name="T33" fmla="*/ 50 h 84"/>
                <a:gd name="T34" fmla="*/ 158 w 174"/>
                <a:gd name="T35" fmla="*/ 50 h 84"/>
                <a:gd name="T36" fmla="*/ 136 w 174"/>
                <a:gd name="T37" fmla="*/ 60 h 84"/>
                <a:gd name="T38" fmla="*/ 112 w 174"/>
                <a:gd name="T39" fmla="*/ 64 h 84"/>
                <a:gd name="T40" fmla="*/ 90 w 174"/>
                <a:gd name="T41" fmla="*/ 68 h 84"/>
                <a:gd name="T42" fmla="*/ 68 w 174"/>
                <a:gd name="T43" fmla="*/ 68 h 84"/>
                <a:gd name="T44" fmla="*/ 68 w 174"/>
                <a:gd name="T45" fmla="*/ 68 h 84"/>
                <a:gd name="T46" fmla="*/ 68 w 174"/>
                <a:gd name="T47" fmla="*/ 68 h 84"/>
                <a:gd name="T48" fmla="*/ 68 w 174"/>
                <a:gd name="T49" fmla="*/ 68 h 84"/>
                <a:gd name="T50" fmla="*/ 44 w 174"/>
                <a:gd name="T51" fmla="*/ 68 h 84"/>
                <a:gd name="T52" fmla="*/ 24 w 174"/>
                <a:gd name="T53" fmla="*/ 64 h 84"/>
                <a:gd name="T54" fmla="*/ 24 w 174"/>
                <a:gd name="T55" fmla="*/ 64 h 84"/>
                <a:gd name="T56" fmla="*/ 14 w 174"/>
                <a:gd name="T57" fmla="*/ 64 h 84"/>
                <a:gd name="T58" fmla="*/ 14 w 174"/>
                <a:gd name="T59" fmla="*/ 64 h 84"/>
                <a:gd name="T60" fmla="*/ 14 w 174"/>
                <a:gd name="T61" fmla="*/ 64 h 84"/>
                <a:gd name="T62" fmla="*/ 14 w 174"/>
                <a:gd name="T63" fmla="*/ 64 h 84"/>
                <a:gd name="T64" fmla="*/ 20 w 174"/>
                <a:gd name="T65" fmla="*/ 40 h 84"/>
                <a:gd name="T66" fmla="*/ 30 w 174"/>
                <a:gd name="T67" fmla="*/ 8 h 84"/>
                <a:gd name="T68" fmla="*/ 30 w 174"/>
                <a:gd name="T69" fmla="*/ 8 h 84"/>
                <a:gd name="T70" fmla="*/ 30 w 174"/>
                <a:gd name="T71" fmla="*/ 4 h 84"/>
                <a:gd name="T72" fmla="*/ 30 w 174"/>
                <a:gd name="T73" fmla="*/ 4 h 84"/>
                <a:gd name="T74" fmla="*/ 22 w 174"/>
                <a:gd name="T75" fmla="*/ 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74" h="84">
                  <a:moveTo>
                    <a:pt x="22" y="0"/>
                  </a:moveTo>
                  <a:lnTo>
                    <a:pt x="0" y="76"/>
                  </a:lnTo>
                  <a:lnTo>
                    <a:pt x="4" y="78"/>
                  </a:lnTo>
                  <a:lnTo>
                    <a:pt x="4" y="78"/>
                  </a:lnTo>
                  <a:lnTo>
                    <a:pt x="22" y="80"/>
                  </a:lnTo>
                  <a:lnTo>
                    <a:pt x="42" y="84"/>
                  </a:lnTo>
                  <a:lnTo>
                    <a:pt x="68" y="84"/>
                  </a:lnTo>
                  <a:lnTo>
                    <a:pt x="68" y="84"/>
                  </a:lnTo>
                  <a:lnTo>
                    <a:pt x="94" y="84"/>
                  </a:lnTo>
                  <a:lnTo>
                    <a:pt x="120" y="80"/>
                  </a:lnTo>
                  <a:lnTo>
                    <a:pt x="148" y="72"/>
                  </a:lnTo>
                  <a:lnTo>
                    <a:pt x="162" y="66"/>
                  </a:lnTo>
                  <a:lnTo>
                    <a:pt x="174" y="60"/>
                  </a:lnTo>
                  <a:lnTo>
                    <a:pt x="174" y="60"/>
                  </a:lnTo>
                  <a:lnTo>
                    <a:pt x="164" y="58"/>
                  </a:lnTo>
                  <a:lnTo>
                    <a:pt x="158" y="58"/>
                  </a:lnTo>
                  <a:lnTo>
                    <a:pt x="158" y="50"/>
                  </a:lnTo>
                  <a:lnTo>
                    <a:pt x="158" y="50"/>
                  </a:lnTo>
                  <a:lnTo>
                    <a:pt x="136" y="60"/>
                  </a:lnTo>
                  <a:lnTo>
                    <a:pt x="112" y="64"/>
                  </a:lnTo>
                  <a:lnTo>
                    <a:pt x="90" y="68"/>
                  </a:lnTo>
                  <a:lnTo>
                    <a:pt x="68" y="68"/>
                  </a:lnTo>
                  <a:lnTo>
                    <a:pt x="68" y="68"/>
                  </a:lnTo>
                  <a:lnTo>
                    <a:pt x="68" y="68"/>
                  </a:lnTo>
                  <a:lnTo>
                    <a:pt x="68" y="68"/>
                  </a:lnTo>
                  <a:lnTo>
                    <a:pt x="44" y="68"/>
                  </a:lnTo>
                  <a:lnTo>
                    <a:pt x="24" y="64"/>
                  </a:lnTo>
                  <a:lnTo>
                    <a:pt x="24" y="64"/>
                  </a:lnTo>
                  <a:lnTo>
                    <a:pt x="14" y="64"/>
                  </a:lnTo>
                  <a:lnTo>
                    <a:pt x="14" y="64"/>
                  </a:lnTo>
                  <a:lnTo>
                    <a:pt x="14" y="64"/>
                  </a:lnTo>
                  <a:lnTo>
                    <a:pt x="14" y="64"/>
                  </a:lnTo>
                  <a:lnTo>
                    <a:pt x="20" y="40"/>
                  </a:lnTo>
                  <a:lnTo>
                    <a:pt x="30" y="8"/>
                  </a:lnTo>
                  <a:lnTo>
                    <a:pt x="30" y="8"/>
                  </a:lnTo>
                  <a:lnTo>
                    <a:pt x="30" y="4"/>
                  </a:lnTo>
                  <a:lnTo>
                    <a:pt x="30" y="4"/>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64" name="Freeform 1949">
              <a:extLst>
                <a:ext uri="{FF2B5EF4-FFF2-40B4-BE49-F238E27FC236}">
                  <a16:creationId xmlns:a16="http://schemas.microsoft.com/office/drawing/2014/main" id="{D2A44E05-C891-440D-9EE7-0BF4FA0903CB}"/>
                </a:ext>
              </a:extLst>
            </p:cNvPr>
            <p:cNvSpPr>
              <a:spLocks/>
            </p:cNvSpPr>
            <p:nvPr/>
          </p:nvSpPr>
          <p:spPr bwMode="auto">
            <a:xfrm>
              <a:off x="9843616" y="3829770"/>
              <a:ext cx="175095" cy="100054"/>
            </a:xfrm>
            <a:custGeom>
              <a:avLst/>
              <a:gdLst>
                <a:gd name="T0" fmla="*/ 94 w 98"/>
                <a:gd name="T1" fmla="*/ 0 h 56"/>
                <a:gd name="T2" fmla="*/ 94 w 98"/>
                <a:gd name="T3" fmla="*/ 0 h 56"/>
                <a:gd name="T4" fmla="*/ 74 w 98"/>
                <a:gd name="T5" fmla="*/ 4 h 56"/>
                <a:gd name="T6" fmla="*/ 74 w 98"/>
                <a:gd name="T7" fmla="*/ 4 h 56"/>
                <a:gd name="T8" fmla="*/ 58 w 98"/>
                <a:gd name="T9" fmla="*/ 6 h 56"/>
                <a:gd name="T10" fmla="*/ 58 w 98"/>
                <a:gd name="T11" fmla="*/ 6 h 56"/>
                <a:gd name="T12" fmla="*/ 32 w 98"/>
                <a:gd name="T13" fmla="*/ 16 h 56"/>
                <a:gd name="T14" fmla="*/ 20 w 98"/>
                <a:gd name="T15" fmla="*/ 24 h 56"/>
                <a:gd name="T16" fmla="*/ 6 w 98"/>
                <a:gd name="T17" fmla="*/ 32 h 56"/>
                <a:gd name="T18" fmla="*/ 6 w 98"/>
                <a:gd name="T19" fmla="*/ 32 h 56"/>
                <a:gd name="T20" fmla="*/ 2 w 98"/>
                <a:gd name="T21" fmla="*/ 34 h 56"/>
                <a:gd name="T22" fmla="*/ 2 w 98"/>
                <a:gd name="T23" fmla="*/ 34 h 56"/>
                <a:gd name="T24" fmla="*/ 0 w 98"/>
                <a:gd name="T25" fmla="*/ 56 h 56"/>
                <a:gd name="T26" fmla="*/ 0 w 98"/>
                <a:gd name="T27" fmla="*/ 56 h 56"/>
                <a:gd name="T28" fmla="*/ 16 w 98"/>
                <a:gd name="T29" fmla="*/ 44 h 56"/>
                <a:gd name="T30" fmla="*/ 16 w 98"/>
                <a:gd name="T31" fmla="*/ 44 h 56"/>
                <a:gd name="T32" fmla="*/ 36 w 98"/>
                <a:gd name="T33" fmla="*/ 32 h 56"/>
                <a:gd name="T34" fmla="*/ 56 w 98"/>
                <a:gd name="T35" fmla="*/ 24 h 56"/>
                <a:gd name="T36" fmla="*/ 78 w 98"/>
                <a:gd name="T37" fmla="*/ 18 h 56"/>
                <a:gd name="T38" fmla="*/ 98 w 98"/>
                <a:gd name="T39" fmla="*/ 16 h 56"/>
                <a:gd name="T40" fmla="*/ 98 w 98"/>
                <a:gd name="T41" fmla="*/ 16 h 56"/>
                <a:gd name="T42" fmla="*/ 94 w 98"/>
                <a:gd name="T43"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8" h="56">
                  <a:moveTo>
                    <a:pt x="94" y="0"/>
                  </a:moveTo>
                  <a:lnTo>
                    <a:pt x="94" y="0"/>
                  </a:lnTo>
                  <a:lnTo>
                    <a:pt x="74" y="4"/>
                  </a:lnTo>
                  <a:lnTo>
                    <a:pt x="74" y="4"/>
                  </a:lnTo>
                  <a:lnTo>
                    <a:pt x="58" y="6"/>
                  </a:lnTo>
                  <a:lnTo>
                    <a:pt x="58" y="6"/>
                  </a:lnTo>
                  <a:lnTo>
                    <a:pt x="32" y="16"/>
                  </a:lnTo>
                  <a:lnTo>
                    <a:pt x="20" y="24"/>
                  </a:lnTo>
                  <a:lnTo>
                    <a:pt x="6" y="32"/>
                  </a:lnTo>
                  <a:lnTo>
                    <a:pt x="6" y="32"/>
                  </a:lnTo>
                  <a:lnTo>
                    <a:pt x="2" y="34"/>
                  </a:lnTo>
                  <a:lnTo>
                    <a:pt x="2" y="34"/>
                  </a:lnTo>
                  <a:lnTo>
                    <a:pt x="0" y="56"/>
                  </a:lnTo>
                  <a:lnTo>
                    <a:pt x="0" y="56"/>
                  </a:lnTo>
                  <a:lnTo>
                    <a:pt x="16" y="44"/>
                  </a:lnTo>
                  <a:lnTo>
                    <a:pt x="16" y="44"/>
                  </a:lnTo>
                  <a:lnTo>
                    <a:pt x="36" y="32"/>
                  </a:lnTo>
                  <a:lnTo>
                    <a:pt x="56" y="24"/>
                  </a:lnTo>
                  <a:lnTo>
                    <a:pt x="78" y="18"/>
                  </a:lnTo>
                  <a:lnTo>
                    <a:pt x="98" y="16"/>
                  </a:lnTo>
                  <a:lnTo>
                    <a:pt x="98" y="16"/>
                  </a:lnTo>
                  <a:lnTo>
                    <a:pt x="9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65" name="Freeform 1950">
              <a:extLst>
                <a:ext uri="{FF2B5EF4-FFF2-40B4-BE49-F238E27FC236}">
                  <a16:creationId xmlns:a16="http://schemas.microsoft.com/office/drawing/2014/main" id="{667753A1-4DE3-49FC-A709-F959549FD5EF}"/>
                </a:ext>
              </a:extLst>
            </p:cNvPr>
            <p:cNvSpPr>
              <a:spLocks/>
            </p:cNvSpPr>
            <p:nvPr/>
          </p:nvSpPr>
          <p:spPr bwMode="auto">
            <a:xfrm>
              <a:off x="9057475" y="3940544"/>
              <a:ext cx="528858" cy="318030"/>
            </a:xfrm>
            <a:custGeom>
              <a:avLst/>
              <a:gdLst>
                <a:gd name="T0" fmla="*/ 114 w 296"/>
                <a:gd name="T1" fmla="*/ 162 h 178"/>
                <a:gd name="T2" fmla="*/ 114 w 296"/>
                <a:gd name="T3" fmla="*/ 162 h 178"/>
                <a:gd name="T4" fmla="*/ 130 w 296"/>
                <a:gd name="T5" fmla="*/ 168 h 178"/>
                <a:gd name="T6" fmla="*/ 144 w 296"/>
                <a:gd name="T7" fmla="*/ 174 h 178"/>
                <a:gd name="T8" fmla="*/ 160 w 296"/>
                <a:gd name="T9" fmla="*/ 176 h 178"/>
                <a:gd name="T10" fmla="*/ 176 w 296"/>
                <a:gd name="T11" fmla="*/ 178 h 178"/>
                <a:gd name="T12" fmla="*/ 206 w 296"/>
                <a:gd name="T13" fmla="*/ 176 h 178"/>
                <a:gd name="T14" fmla="*/ 234 w 296"/>
                <a:gd name="T15" fmla="*/ 174 h 178"/>
                <a:gd name="T16" fmla="*/ 260 w 296"/>
                <a:gd name="T17" fmla="*/ 168 h 178"/>
                <a:gd name="T18" fmla="*/ 278 w 296"/>
                <a:gd name="T19" fmla="*/ 162 h 178"/>
                <a:gd name="T20" fmla="*/ 296 w 296"/>
                <a:gd name="T21" fmla="*/ 156 h 178"/>
                <a:gd name="T22" fmla="*/ 296 w 296"/>
                <a:gd name="T23" fmla="*/ 156 h 178"/>
                <a:gd name="T24" fmla="*/ 288 w 296"/>
                <a:gd name="T25" fmla="*/ 138 h 178"/>
                <a:gd name="T26" fmla="*/ 280 w 296"/>
                <a:gd name="T27" fmla="*/ 120 h 178"/>
                <a:gd name="T28" fmla="*/ 268 w 296"/>
                <a:gd name="T29" fmla="*/ 98 h 178"/>
                <a:gd name="T30" fmla="*/ 254 w 296"/>
                <a:gd name="T31" fmla="*/ 74 h 178"/>
                <a:gd name="T32" fmla="*/ 234 w 296"/>
                <a:gd name="T33" fmla="*/ 52 h 178"/>
                <a:gd name="T34" fmla="*/ 222 w 296"/>
                <a:gd name="T35" fmla="*/ 40 h 178"/>
                <a:gd name="T36" fmla="*/ 210 w 296"/>
                <a:gd name="T37" fmla="*/ 30 h 178"/>
                <a:gd name="T38" fmla="*/ 196 w 296"/>
                <a:gd name="T39" fmla="*/ 22 h 178"/>
                <a:gd name="T40" fmla="*/ 182 w 296"/>
                <a:gd name="T41" fmla="*/ 14 h 178"/>
                <a:gd name="T42" fmla="*/ 182 w 296"/>
                <a:gd name="T43" fmla="*/ 14 h 178"/>
                <a:gd name="T44" fmla="*/ 166 w 296"/>
                <a:gd name="T45" fmla="*/ 8 h 178"/>
                <a:gd name="T46" fmla="*/ 150 w 296"/>
                <a:gd name="T47" fmla="*/ 4 h 178"/>
                <a:gd name="T48" fmla="*/ 134 w 296"/>
                <a:gd name="T49" fmla="*/ 0 h 178"/>
                <a:gd name="T50" fmla="*/ 118 w 296"/>
                <a:gd name="T51" fmla="*/ 0 h 178"/>
                <a:gd name="T52" fmla="*/ 88 w 296"/>
                <a:gd name="T53" fmla="*/ 0 h 178"/>
                <a:gd name="T54" fmla="*/ 60 w 296"/>
                <a:gd name="T55" fmla="*/ 4 h 178"/>
                <a:gd name="T56" fmla="*/ 36 w 296"/>
                <a:gd name="T57" fmla="*/ 10 h 178"/>
                <a:gd name="T58" fmla="*/ 16 w 296"/>
                <a:gd name="T59" fmla="*/ 14 h 178"/>
                <a:gd name="T60" fmla="*/ 0 w 296"/>
                <a:gd name="T61" fmla="*/ 22 h 178"/>
                <a:gd name="T62" fmla="*/ 0 w 296"/>
                <a:gd name="T63" fmla="*/ 22 h 178"/>
                <a:gd name="T64" fmla="*/ 6 w 296"/>
                <a:gd name="T65" fmla="*/ 38 h 178"/>
                <a:gd name="T66" fmla="*/ 14 w 296"/>
                <a:gd name="T67" fmla="*/ 56 h 178"/>
                <a:gd name="T68" fmla="*/ 26 w 296"/>
                <a:gd name="T69" fmla="*/ 78 h 178"/>
                <a:gd name="T70" fmla="*/ 42 w 296"/>
                <a:gd name="T71" fmla="*/ 102 h 178"/>
                <a:gd name="T72" fmla="*/ 62 w 296"/>
                <a:gd name="T73" fmla="*/ 126 h 178"/>
                <a:gd name="T74" fmla="*/ 72 w 296"/>
                <a:gd name="T75" fmla="*/ 136 h 178"/>
                <a:gd name="T76" fmla="*/ 86 w 296"/>
                <a:gd name="T77" fmla="*/ 146 h 178"/>
                <a:gd name="T78" fmla="*/ 98 w 296"/>
                <a:gd name="T79" fmla="*/ 156 h 178"/>
                <a:gd name="T80" fmla="*/ 114 w 296"/>
                <a:gd name="T81" fmla="*/ 162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96" h="178">
                  <a:moveTo>
                    <a:pt x="114" y="162"/>
                  </a:moveTo>
                  <a:lnTo>
                    <a:pt x="114" y="162"/>
                  </a:lnTo>
                  <a:lnTo>
                    <a:pt x="130" y="168"/>
                  </a:lnTo>
                  <a:lnTo>
                    <a:pt x="144" y="174"/>
                  </a:lnTo>
                  <a:lnTo>
                    <a:pt x="160" y="176"/>
                  </a:lnTo>
                  <a:lnTo>
                    <a:pt x="176" y="178"/>
                  </a:lnTo>
                  <a:lnTo>
                    <a:pt x="206" y="176"/>
                  </a:lnTo>
                  <a:lnTo>
                    <a:pt x="234" y="174"/>
                  </a:lnTo>
                  <a:lnTo>
                    <a:pt x="260" y="168"/>
                  </a:lnTo>
                  <a:lnTo>
                    <a:pt x="278" y="162"/>
                  </a:lnTo>
                  <a:lnTo>
                    <a:pt x="296" y="156"/>
                  </a:lnTo>
                  <a:lnTo>
                    <a:pt x="296" y="156"/>
                  </a:lnTo>
                  <a:lnTo>
                    <a:pt x="288" y="138"/>
                  </a:lnTo>
                  <a:lnTo>
                    <a:pt x="280" y="120"/>
                  </a:lnTo>
                  <a:lnTo>
                    <a:pt x="268" y="98"/>
                  </a:lnTo>
                  <a:lnTo>
                    <a:pt x="254" y="74"/>
                  </a:lnTo>
                  <a:lnTo>
                    <a:pt x="234" y="52"/>
                  </a:lnTo>
                  <a:lnTo>
                    <a:pt x="222" y="40"/>
                  </a:lnTo>
                  <a:lnTo>
                    <a:pt x="210" y="30"/>
                  </a:lnTo>
                  <a:lnTo>
                    <a:pt x="196" y="22"/>
                  </a:lnTo>
                  <a:lnTo>
                    <a:pt x="182" y="14"/>
                  </a:lnTo>
                  <a:lnTo>
                    <a:pt x="182" y="14"/>
                  </a:lnTo>
                  <a:lnTo>
                    <a:pt x="166" y="8"/>
                  </a:lnTo>
                  <a:lnTo>
                    <a:pt x="150" y="4"/>
                  </a:lnTo>
                  <a:lnTo>
                    <a:pt x="134" y="0"/>
                  </a:lnTo>
                  <a:lnTo>
                    <a:pt x="118" y="0"/>
                  </a:lnTo>
                  <a:lnTo>
                    <a:pt x="88" y="0"/>
                  </a:lnTo>
                  <a:lnTo>
                    <a:pt x="60" y="4"/>
                  </a:lnTo>
                  <a:lnTo>
                    <a:pt x="36" y="10"/>
                  </a:lnTo>
                  <a:lnTo>
                    <a:pt x="16" y="14"/>
                  </a:lnTo>
                  <a:lnTo>
                    <a:pt x="0" y="22"/>
                  </a:lnTo>
                  <a:lnTo>
                    <a:pt x="0" y="22"/>
                  </a:lnTo>
                  <a:lnTo>
                    <a:pt x="6" y="38"/>
                  </a:lnTo>
                  <a:lnTo>
                    <a:pt x="14" y="56"/>
                  </a:lnTo>
                  <a:lnTo>
                    <a:pt x="26" y="78"/>
                  </a:lnTo>
                  <a:lnTo>
                    <a:pt x="42" y="102"/>
                  </a:lnTo>
                  <a:lnTo>
                    <a:pt x="62" y="126"/>
                  </a:lnTo>
                  <a:lnTo>
                    <a:pt x="72" y="136"/>
                  </a:lnTo>
                  <a:lnTo>
                    <a:pt x="86" y="146"/>
                  </a:lnTo>
                  <a:lnTo>
                    <a:pt x="98" y="156"/>
                  </a:lnTo>
                  <a:lnTo>
                    <a:pt x="114" y="162"/>
                  </a:lnTo>
                  <a:close/>
                </a:path>
              </a:pathLst>
            </a:custGeom>
            <a:solidFill>
              <a:srgbClr val="ADD15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66" name="Freeform 1951">
              <a:extLst>
                <a:ext uri="{FF2B5EF4-FFF2-40B4-BE49-F238E27FC236}">
                  <a16:creationId xmlns:a16="http://schemas.microsoft.com/office/drawing/2014/main" id="{6E86AA16-CBC6-4115-BB56-B502D5199B19}"/>
                </a:ext>
              </a:extLst>
            </p:cNvPr>
            <p:cNvSpPr>
              <a:spLocks/>
            </p:cNvSpPr>
            <p:nvPr/>
          </p:nvSpPr>
          <p:spPr bwMode="auto">
            <a:xfrm>
              <a:off x="9057475" y="3940544"/>
              <a:ext cx="528858" cy="318030"/>
            </a:xfrm>
            <a:custGeom>
              <a:avLst/>
              <a:gdLst>
                <a:gd name="T0" fmla="*/ 114 w 296"/>
                <a:gd name="T1" fmla="*/ 162 h 178"/>
                <a:gd name="T2" fmla="*/ 114 w 296"/>
                <a:gd name="T3" fmla="*/ 162 h 178"/>
                <a:gd name="T4" fmla="*/ 130 w 296"/>
                <a:gd name="T5" fmla="*/ 168 h 178"/>
                <a:gd name="T6" fmla="*/ 144 w 296"/>
                <a:gd name="T7" fmla="*/ 174 h 178"/>
                <a:gd name="T8" fmla="*/ 160 w 296"/>
                <a:gd name="T9" fmla="*/ 176 h 178"/>
                <a:gd name="T10" fmla="*/ 176 w 296"/>
                <a:gd name="T11" fmla="*/ 178 h 178"/>
                <a:gd name="T12" fmla="*/ 206 w 296"/>
                <a:gd name="T13" fmla="*/ 176 h 178"/>
                <a:gd name="T14" fmla="*/ 234 w 296"/>
                <a:gd name="T15" fmla="*/ 174 h 178"/>
                <a:gd name="T16" fmla="*/ 260 w 296"/>
                <a:gd name="T17" fmla="*/ 168 h 178"/>
                <a:gd name="T18" fmla="*/ 278 w 296"/>
                <a:gd name="T19" fmla="*/ 162 h 178"/>
                <a:gd name="T20" fmla="*/ 296 w 296"/>
                <a:gd name="T21" fmla="*/ 156 h 178"/>
                <a:gd name="T22" fmla="*/ 296 w 296"/>
                <a:gd name="T23" fmla="*/ 156 h 178"/>
                <a:gd name="T24" fmla="*/ 288 w 296"/>
                <a:gd name="T25" fmla="*/ 138 h 178"/>
                <a:gd name="T26" fmla="*/ 280 w 296"/>
                <a:gd name="T27" fmla="*/ 120 h 178"/>
                <a:gd name="T28" fmla="*/ 268 w 296"/>
                <a:gd name="T29" fmla="*/ 98 h 178"/>
                <a:gd name="T30" fmla="*/ 254 w 296"/>
                <a:gd name="T31" fmla="*/ 74 h 178"/>
                <a:gd name="T32" fmla="*/ 234 w 296"/>
                <a:gd name="T33" fmla="*/ 52 h 178"/>
                <a:gd name="T34" fmla="*/ 222 w 296"/>
                <a:gd name="T35" fmla="*/ 40 h 178"/>
                <a:gd name="T36" fmla="*/ 210 w 296"/>
                <a:gd name="T37" fmla="*/ 30 h 178"/>
                <a:gd name="T38" fmla="*/ 196 w 296"/>
                <a:gd name="T39" fmla="*/ 22 h 178"/>
                <a:gd name="T40" fmla="*/ 182 w 296"/>
                <a:gd name="T41" fmla="*/ 14 h 178"/>
                <a:gd name="T42" fmla="*/ 182 w 296"/>
                <a:gd name="T43" fmla="*/ 14 h 178"/>
                <a:gd name="T44" fmla="*/ 166 w 296"/>
                <a:gd name="T45" fmla="*/ 8 h 178"/>
                <a:gd name="T46" fmla="*/ 150 w 296"/>
                <a:gd name="T47" fmla="*/ 4 h 178"/>
                <a:gd name="T48" fmla="*/ 134 w 296"/>
                <a:gd name="T49" fmla="*/ 0 h 178"/>
                <a:gd name="T50" fmla="*/ 118 w 296"/>
                <a:gd name="T51" fmla="*/ 0 h 178"/>
                <a:gd name="T52" fmla="*/ 88 w 296"/>
                <a:gd name="T53" fmla="*/ 0 h 178"/>
                <a:gd name="T54" fmla="*/ 60 w 296"/>
                <a:gd name="T55" fmla="*/ 4 h 178"/>
                <a:gd name="T56" fmla="*/ 36 w 296"/>
                <a:gd name="T57" fmla="*/ 10 h 178"/>
                <a:gd name="T58" fmla="*/ 16 w 296"/>
                <a:gd name="T59" fmla="*/ 14 h 178"/>
                <a:gd name="T60" fmla="*/ 0 w 296"/>
                <a:gd name="T61" fmla="*/ 22 h 178"/>
                <a:gd name="T62" fmla="*/ 0 w 296"/>
                <a:gd name="T63" fmla="*/ 22 h 178"/>
                <a:gd name="T64" fmla="*/ 6 w 296"/>
                <a:gd name="T65" fmla="*/ 38 h 178"/>
                <a:gd name="T66" fmla="*/ 14 w 296"/>
                <a:gd name="T67" fmla="*/ 56 h 178"/>
                <a:gd name="T68" fmla="*/ 26 w 296"/>
                <a:gd name="T69" fmla="*/ 78 h 178"/>
                <a:gd name="T70" fmla="*/ 42 w 296"/>
                <a:gd name="T71" fmla="*/ 102 h 178"/>
                <a:gd name="T72" fmla="*/ 62 w 296"/>
                <a:gd name="T73" fmla="*/ 126 h 178"/>
                <a:gd name="T74" fmla="*/ 72 w 296"/>
                <a:gd name="T75" fmla="*/ 136 h 178"/>
                <a:gd name="T76" fmla="*/ 86 w 296"/>
                <a:gd name="T77" fmla="*/ 146 h 178"/>
                <a:gd name="T78" fmla="*/ 98 w 296"/>
                <a:gd name="T79" fmla="*/ 156 h 178"/>
                <a:gd name="T80" fmla="*/ 114 w 296"/>
                <a:gd name="T81" fmla="*/ 162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96" h="178">
                  <a:moveTo>
                    <a:pt x="114" y="162"/>
                  </a:moveTo>
                  <a:lnTo>
                    <a:pt x="114" y="162"/>
                  </a:lnTo>
                  <a:lnTo>
                    <a:pt x="130" y="168"/>
                  </a:lnTo>
                  <a:lnTo>
                    <a:pt x="144" y="174"/>
                  </a:lnTo>
                  <a:lnTo>
                    <a:pt x="160" y="176"/>
                  </a:lnTo>
                  <a:lnTo>
                    <a:pt x="176" y="178"/>
                  </a:lnTo>
                  <a:lnTo>
                    <a:pt x="206" y="176"/>
                  </a:lnTo>
                  <a:lnTo>
                    <a:pt x="234" y="174"/>
                  </a:lnTo>
                  <a:lnTo>
                    <a:pt x="260" y="168"/>
                  </a:lnTo>
                  <a:lnTo>
                    <a:pt x="278" y="162"/>
                  </a:lnTo>
                  <a:lnTo>
                    <a:pt x="296" y="156"/>
                  </a:lnTo>
                  <a:lnTo>
                    <a:pt x="296" y="156"/>
                  </a:lnTo>
                  <a:lnTo>
                    <a:pt x="288" y="138"/>
                  </a:lnTo>
                  <a:lnTo>
                    <a:pt x="280" y="120"/>
                  </a:lnTo>
                  <a:lnTo>
                    <a:pt x="268" y="98"/>
                  </a:lnTo>
                  <a:lnTo>
                    <a:pt x="254" y="74"/>
                  </a:lnTo>
                  <a:lnTo>
                    <a:pt x="234" y="52"/>
                  </a:lnTo>
                  <a:lnTo>
                    <a:pt x="222" y="40"/>
                  </a:lnTo>
                  <a:lnTo>
                    <a:pt x="210" y="30"/>
                  </a:lnTo>
                  <a:lnTo>
                    <a:pt x="196" y="22"/>
                  </a:lnTo>
                  <a:lnTo>
                    <a:pt x="182" y="14"/>
                  </a:lnTo>
                  <a:lnTo>
                    <a:pt x="182" y="14"/>
                  </a:lnTo>
                  <a:lnTo>
                    <a:pt x="166" y="8"/>
                  </a:lnTo>
                  <a:lnTo>
                    <a:pt x="150" y="4"/>
                  </a:lnTo>
                  <a:lnTo>
                    <a:pt x="134" y="0"/>
                  </a:lnTo>
                  <a:lnTo>
                    <a:pt x="118" y="0"/>
                  </a:lnTo>
                  <a:lnTo>
                    <a:pt x="88" y="0"/>
                  </a:lnTo>
                  <a:lnTo>
                    <a:pt x="60" y="4"/>
                  </a:lnTo>
                  <a:lnTo>
                    <a:pt x="36" y="10"/>
                  </a:lnTo>
                  <a:lnTo>
                    <a:pt x="16" y="14"/>
                  </a:lnTo>
                  <a:lnTo>
                    <a:pt x="0" y="22"/>
                  </a:lnTo>
                  <a:lnTo>
                    <a:pt x="0" y="22"/>
                  </a:lnTo>
                  <a:lnTo>
                    <a:pt x="6" y="38"/>
                  </a:lnTo>
                  <a:lnTo>
                    <a:pt x="14" y="56"/>
                  </a:lnTo>
                  <a:lnTo>
                    <a:pt x="26" y="78"/>
                  </a:lnTo>
                  <a:lnTo>
                    <a:pt x="42" y="102"/>
                  </a:lnTo>
                  <a:lnTo>
                    <a:pt x="62" y="126"/>
                  </a:lnTo>
                  <a:lnTo>
                    <a:pt x="72" y="136"/>
                  </a:lnTo>
                  <a:lnTo>
                    <a:pt x="86" y="146"/>
                  </a:lnTo>
                  <a:lnTo>
                    <a:pt x="98" y="156"/>
                  </a:lnTo>
                  <a:lnTo>
                    <a:pt x="114" y="16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67" name="Freeform 1953">
              <a:extLst>
                <a:ext uri="{FF2B5EF4-FFF2-40B4-BE49-F238E27FC236}">
                  <a16:creationId xmlns:a16="http://schemas.microsoft.com/office/drawing/2014/main" id="{B56D6893-71FC-4D56-924F-209454AA59E7}"/>
                </a:ext>
              </a:extLst>
            </p:cNvPr>
            <p:cNvSpPr>
              <a:spLocks/>
            </p:cNvSpPr>
            <p:nvPr/>
          </p:nvSpPr>
          <p:spPr bwMode="auto">
            <a:xfrm>
              <a:off x="9039608" y="3922677"/>
              <a:ext cx="561019" cy="350190"/>
            </a:xfrm>
            <a:custGeom>
              <a:avLst/>
              <a:gdLst>
                <a:gd name="T0" fmla="*/ 120 w 314"/>
                <a:gd name="T1" fmla="*/ 180 h 196"/>
                <a:gd name="T2" fmla="*/ 140 w 314"/>
                <a:gd name="T3" fmla="*/ 188 h 196"/>
                <a:gd name="T4" fmla="*/ 178 w 314"/>
                <a:gd name="T5" fmla="*/ 194 h 196"/>
                <a:gd name="T6" fmla="*/ 198 w 314"/>
                <a:gd name="T7" fmla="*/ 196 h 196"/>
                <a:gd name="T8" fmla="*/ 240 w 314"/>
                <a:gd name="T9" fmla="*/ 192 h 196"/>
                <a:gd name="T10" fmla="*/ 300 w 314"/>
                <a:gd name="T11" fmla="*/ 176 h 196"/>
                <a:gd name="T12" fmla="*/ 314 w 314"/>
                <a:gd name="T13" fmla="*/ 170 h 196"/>
                <a:gd name="T14" fmla="*/ 312 w 314"/>
                <a:gd name="T15" fmla="*/ 162 h 196"/>
                <a:gd name="T16" fmla="*/ 298 w 314"/>
                <a:gd name="T17" fmla="*/ 126 h 196"/>
                <a:gd name="T18" fmla="*/ 286 w 314"/>
                <a:gd name="T19" fmla="*/ 104 h 196"/>
                <a:gd name="T20" fmla="*/ 250 w 314"/>
                <a:gd name="T21" fmla="*/ 56 h 196"/>
                <a:gd name="T22" fmla="*/ 224 w 314"/>
                <a:gd name="T23" fmla="*/ 34 h 196"/>
                <a:gd name="T24" fmla="*/ 194 w 314"/>
                <a:gd name="T25" fmla="*/ 16 h 196"/>
                <a:gd name="T26" fmla="*/ 176 w 314"/>
                <a:gd name="T27" fmla="*/ 10 h 196"/>
                <a:gd name="T28" fmla="*/ 136 w 314"/>
                <a:gd name="T29" fmla="*/ 2 h 196"/>
                <a:gd name="T30" fmla="*/ 118 w 314"/>
                <a:gd name="T31" fmla="*/ 0 h 196"/>
                <a:gd name="T32" fmla="*/ 76 w 314"/>
                <a:gd name="T33" fmla="*/ 4 h 196"/>
                <a:gd name="T34" fmla="*/ 16 w 314"/>
                <a:gd name="T35" fmla="*/ 20 h 196"/>
                <a:gd name="T36" fmla="*/ 0 w 314"/>
                <a:gd name="T37" fmla="*/ 26 h 196"/>
                <a:gd name="T38" fmla="*/ 2 w 314"/>
                <a:gd name="T39" fmla="*/ 34 h 196"/>
                <a:gd name="T40" fmla="*/ 18 w 314"/>
                <a:gd name="T41" fmla="*/ 70 h 196"/>
                <a:gd name="T42" fmla="*/ 30 w 314"/>
                <a:gd name="T43" fmla="*/ 92 h 196"/>
                <a:gd name="T44" fmla="*/ 66 w 314"/>
                <a:gd name="T45" fmla="*/ 140 h 196"/>
                <a:gd name="T46" fmla="*/ 90 w 314"/>
                <a:gd name="T47" fmla="*/ 162 h 196"/>
                <a:gd name="T48" fmla="*/ 120 w 314"/>
                <a:gd name="T49" fmla="*/ 180 h 196"/>
                <a:gd name="T50" fmla="*/ 126 w 314"/>
                <a:gd name="T51" fmla="*/ 166 h 196"/>
                <a:gd name="T52" fmla="*/ 112 w 314"/>
                <a:gd name="T53" fmla="*/ 158 h 196"/>
                <a:gd name="T54" fmla="*/ 88 w 314"/>
                <a:gd name="T55" fmla="*/ 140 h 196"/>
                <a:gd name="T56" fmla="*/ 58 w 314"/>
                <a:gd name="T57" fmla="*/ 108 h 196"/>
                <a:gd name="T58" fmla="*/ 42 w 314"/>
                <a:gd name="T59" fmla="*/ 84 h 196"/>
                <a:gd name="T60" fmla="*/ 24 w 314"/>
                <a:gd name="T61" fmla="*/ 46 h 196"/>
                <a:gd name="T62" fmla="*/ 18 w 314"/>
                <a:gd name="T63" fmla="*/ 34 h 196"/>
                <a:gd name="T64" fmla="*/ 18 w 314"/>
                <a:gd name="T65" fmla="*/ 30 h 196"/>
                <a:gd name="T66" fmla="*/ 18 w 314"/>
                <a:gd name="T67" fmla="*/ 28 h 196"/>
                <a:gd name="T68" fmla="*/ 14 w 314"/>
                <a:gd name="T69" fmla="*/ 38 h 196"/>
                <a:gd name="T70" fmla="*/ 14 w 314"/>
                <a:gd name="T71" fmla="*/ 38 h 196"/>
                <a:gd name="T72" fmla="*/ 48 w 314"/>
                <a:gd name="T73" fmla="*/ 26 h 196"/>
                <a:gd name="T74" fmla="*/ 98 w 314"/>
                <a:gd name="T75" fmla="*/ 18 h 196"/>
                <a:gd name="T76" fmla="*/ 118 w 314"/>
                <a:gd name="T77" fmla="*/ 16 h 196"/>
                <a:gd name="T78" fmla="*/ 154 w 314"/>
                <a:gd name="T79" fmla="*/ 20 h 196"/>
                <a:gd name="T80" fmla="*/ 188 w 314"/>
                <a:gd name="T81" fmla="*/ 30 h 196"/>
                <a:gd name="T82" fmla="*/ 202 w 314"/>
                <a:gd name="T83" fmla="*/ 38 h 196"/>
                <a:gd name="T84" fmla="*/ 226 w 314"/>
                <a:gd name="T85" fmla="*/ 56 h 196"/>
                <a:gd name="T86" fmla="*/ 256 w 314"/>
                <a:gd name="T87" fmla="*/ 90 h 196"/>
                <a:gd name="T88" fmla="*/ 272 w 314"/>
                <a:gd name="T89" fmla="*/ 112 h 196"/>
                <a:gd name="T90" fmla="*/ 292 w 314"/>
                <a:gd name="T91" fmla="*/ 152 h 196"/>
                <a:gd name="T92" fmla="*/ 296 w 314"/>
                <a:gd name="T93" fmla="*/ 164 h 196"/>
                <a:gd name="T94" fmla="*/ 298 w 314"/>
                <a:gd name="T95" fmla="*/ 166 h 196"/>
                <a:gd name="T96" fmla="*/ 298 w 314"/>
                <a:gd name="T97" fmla="*/ 168 h 196"/>
                <a:gd name="T98" fmla="*/ 302 w 314"/>
                <a:gd name="T99" fmla="*/ 158 h 196"/>
                <a:gd name="T100" fmla="*/ 302 w 314"/>
                <a:gd name="T101" fmla="*/ 158 h 196"/>
                <a:gd name="T102" fmla="*/ 268 w 314"/>
                <a:gd name="T103" fmla="*/ 170 h 196"/>
                <a:gd name="T104" fmla="*/ 216 w 314"/>
                <a:gd name="T105" fmla="*/ 178 h 196"/>
                <a:gd name="T106" fmla="*/ 198 w 314"/>
                <a:gd name="T107" fmla="*/ 180 h 196"/>
                <a:gd name="T108" fmla="*/ 162 w 314"/>
                <a:gd name="T109" fmla="*/ 176 h 196"/>
                <a:gd name="T110" fmla="*/ 126 w 314"/>
                <a:gd name="T111" fmla="*/ 166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14" h="196">
                  <a:moveTo>
                    <a:pt x="124" y="172"/>
                  </a:moveTo>
                  <a:lnTo>
                    <a:pt x="120" y="180"/>
                  </a:lnTo>
                  <a:lnTo>
                    <a:pt x="120" y="180"/>
                  </a:lnTo>
                  <a:lnTo>
                    <a:pt x="140" y="188"/>
                  </a:lnTo>
                  <a:lnTo>
                    <a:pt x="158" y="192"/>
                  </a:lnTo>
                  <a:lnTo>
                    <a:pt x="178" y="194"/>
                  </a:lnTo>
                  <a:lnTo>
                    <a:pt x="198" y="196"/>
                  </a:lnTo>
                  <a:lnTo>
                    <a:pt x="198" y="196"/>
                  </a:lnTo>
                  <a:lnTo>
                    <a:pt x="220" y="194"/>
                  </a:lnTo>
                  <a:lnTo>
                    <a:pt x="240" y="192"/>
                  </a:lnTo>
                  <a:lnTo>
                    <a:pt x="276" y="184"/>
                  </a:lnTo>
                  <a:lnTo>
                    <a:pt x="300" y="176"/>
                  </a:lnTo>
                  <a:lnTo>
                    <a:pt x="308" y="172"/>
                  </a:lnTo>
                  <a:lnTo>
                    <a:pt x="314" y="170"/>
                  </a:lnTo>
                  <a:lnTo>
                    <a:pt x="312" y="162"/>
                  </a:lnTo>
                  <a:lnTo>
                    <a:pt x="312" y="162"/>
                  </a:lnTo>
                  <a:lnTo>
                    <a:pt x="306" y="146"/>
                  </a:lnTo>
                  <a:lnTo>
                    <a:pt x="298" y="126"/>
                  </a:lnTo>
                  <a:lnTo>
                    <a:pt x="286" y="104"/>
                  </a:lnTo>
                  <a:lnTo>
                    <a:pt x="286" y="104"/>
                  </a:lnTo>
                  <a:lnTo>
                    <a:pt x="270" y="80"/>
                  </a:lnTo>
                  <a:lnTo>
                    <a:pt x="250" y="56"/>
                  </a:lnTo>
                  <a:lnTo>
                    <a:pt x="238" y="44"/>
                  </a:lnTo>
                  <a:lnTo>
                    <a:pt x="224" y="34"/>
                  </a:lnTo>
                  <a:lnTo>
                    <a:pt x="210" y="24"/>
                  </a:lnTo>
                  <a:lnTo>
                    <a:pt x="194" y="16"/>
                  </a:lnTo>
                  <a:lnTo>
                    <a:pt x="194" y="16"/>
                  </a:lnTo>
                  <a:lnTo>
                    <a:pt x="176" y="10"/>
                  </a:lnTo>
                  <a:lnTo>
                    <a:pt x="156" y="4"/>
                  </a:lnTo>
                  <a:lnTo>
                    <a:pt x="136" y="2"/>
                  </a:lnTo>
                  <a:lnTo>
                    <a:pt x="118" y="0"/>
                  </a:lnTo>
                  <a:lnTo>
                    <a:pt x="118" y="0"/>
                  </a:lnTo>
                  <a:lnTo>
                    <a:pt x="96" y="2"/>
                  </a:lnTo>
                  <a:lnTo>
                    <a:pt x="76" y="4"/>
                  </a:lnTo>
                  <a:lnTo>
                    <a:pt x="40" y="12"/>
                  </a:lnTo>
                  <a:lnTo>
                    <a:pt x="16" y="20"/>
                  </a:lnTo>
                  <a:lnTo>
                    <a:pt x="6" y="24"/>
                  </a:lnTo>
                  <a:lnTo>
                    <a:pt x="0" y="26"/>
                  </a:lnTo>
                  <a:lnTo>
                    <a:pt x="2" y="34"/>
                  </a:lnTo>
                  <a:lnTo>
                    <a:pt x="2" y="34"/>
                  </a:lnTo>
                  <a:lnTo>
                    <a:pt x="8" y="52"/>
                  </a:lnTo>
                  <a:lnTo>
                    <a:pt x="18" y="70"/>
                  </a:lnTo>
                  <a:lnTo>
                    <a:pt x="30" y="92"/>
                  </a:lnTo>
                  <a:lnTo>
                    <a:pt x="30" y="92"/>
                  </a:lnTo>
                  <a:lnTo>
                    <a:pt x="46" y="116"/>
                  </a:lnTo>
                  <a:lnTo>
                    <a:pt x="66" y="140"/>
                  </a:lnTo>
                  <a:lnTo>
                    <a:pt x="78" y="152"/>
                  </a:lnTo>
                  <a:lnTo>
                    <a:pt x="90" y="162"/>
                  </a:lnTo>
                  <a:lnTo>
                    <a:pt x="104" y="172"/>
                  </a:lnTo>
                  <a:lnTo>
                    <a:pt x="120" y="180"/>
                  </a:lnTo>
                  <a:lnTo>
                    <a:pt x="124" y="172"/>
                  </a:lnTo>
                  <a:lnTo>
                    <a:pt x="126" y="166"/>
                  </a:lnTo>
                  <a:lnTo>
                    <a:pt x="126" y="166"/>
                  </a:lnTo>
                  <a:lnTo>
                    <a:pt x="112" y="158"/>
                  </a:lnTo>
                  <a:lnTo>
                    <a:pt x="100" y="150"/>
                  </a:lnTo>
                  <a:lnTo>
                    <a:pt x="88" y="140"/>
                  </a:lnTo>
                  <a:lnTo>
                    <a:pt x="78" y="130"/>
                  </a:lnTo>
                  <a:lnTo>
                    <a:pt x="58" y="108"/>
                  </a:lnTo>
                  <a:lnTo>
                    <a:pt x="42" y="84"/>
                  </a:lnTo>
                  <a:lnTo>
                    <a:pt x="42" y="84"/>
                  </a:lnTo>
                  <a:lnTo>
                    <a:pt x="32" y="62"/>
                  </a:lnTo>
                  <a:lnTo>
                    <a:pt x="24" y="46"/>
                  </a:lnTo>
                  <a:lnTo>
                    <a:pt x="24" y="46"/>
                  </a:lnTo>
                  <a:lnTo>
                    <a:pt x="18" y="34"/>
                  </a:lnTo>
                  <a:lnTo>
                    <a:pt x="18" y="34"/>
                  </a:lnTo>
                  <a:lnTo>
                    <a:pt x="18" y="30"/>
                  </a:lnTo>
                  <a:lnTo>
                    <a:pt x="18" y="30"/>
                  </a:lnTo>
                  <a:lnTo>
                    <a:pt x="18" y="28"/>
                  </a:lnTo>
                  <a:lnTo>
                    <a:pt x="10" y="32"/>
                  </a:lnTo>
                  <a:lnTo>
                    <a:pt x="14" y="38"/>
                  </a:lnTo>
                  <a:lnTo>
                    <a:pt x="14" y="38"/>
                  </a:lnTo>
                  <a:lnTo>
                    <a:pt x="14" y="38"/>
                  </a:lnTo>
                  <a:lnTo>
                    <a:pt x="24" y="34"/>
                  </a:lnTo>
                  <a:lnTo>
                    <a:pt x="48" y="26"/>
                  </a:lnTo>
                  <a:lnTo>
                    <a:pt x="80" y="20"/>
                  </a:lnTo>
                  <a:lnTo>
                    <a:pt x="98" y="18"/>
                  </a:lnTo>
                  <a:lnTo>
                    <a:pt x="118" y="16"/>
                  </a:lnTo>
                  <a:lnTo>
                    <a:pt x="118" y="16"/>
                  </a:lnTo>
                  <a:lnTo>
                    <a:pt x="136" y="18"/>
                  </a:lnTo>
                  <a:lnTo>
                    <a:pt x="154" y="20"/>
                  </a:lnTo>
                  <a:lnTo>
                    <a:pt x="170" y="24"/>
                  </a:lnTo>
                  <a:lnTo>
                    <a:pt x="188" y="30"/>
                  </a:lnTo>
                  <a:lnTo>
                    <a:pt x="188" y="30"/>
                  </a:lnTo>
                  <a:lnTo>
                    <a:pt x="202" y="38"/>
                  </a:lnTo>
                  <a:lnTo>
                    <a:pt x="214" y="46"/>
                  </a:lnTo>
                  <a:lnTo>
                    <a:pt x="226" y="56"/>
                  </a:lnTo>
                  <a:lnTo>
                    <a:pt x="238" y="66"/>
                  </a:lnTo>
                  <a:lnTo>
                    <a:pt x="256" y="90"/>
                  </a:lnTo>
                  <a:lnTo>
                    <a:pt x="272" y="112"/>
                  </a:lnTo>
                  <a:lnTo>
                    <a:pt x="272" y="112"/>
                  </a:lnTo>
                  <a:lnTo>
                    <a:pt x="284" y="134"/>
                  </a:lnTo>
                  <a:lnTo>
                    <a:pt x="292" y="152"/>
                  </a:lnTo>
                  <a:lnTo>
                    <a:pt x="292" y="152"/>
                  </a:lnTo>
                  <a:lnTo>
                    <a:pt x="296" y="164"/>
                  </a:lnTo>
                  <a:lnTo>
                    <a:pt x="296" y="164"/>
                  </a:lnTo>
                  <a:lnTo>
                    <a:pt x="298" y="166"/>
                  </a:lnTo>
                  <a:lnTo>
                    <a:pt x="298" y="168"/>
                  </a:lnTo>
                  <a:lnTo>
                    <a:pt x="298" y="168"/>
                  </a:lnTo>
                  <a:lnTo>
                    <a:pt x="306" y="166"/>
                  </a:lnTo>
                  <a:lnTo>
                    <a:pt x="302" y="158"/>
                  </a:lnTo>
                  <a:lnTo>
                    <a:pt x="302" y="158"/>
                  </a:lnTo>
                  <a:lnTo>
                    <a:pt x="302" y="158"/>
                  </a:lnTo>
                  <a:lnTo>
                    <a:pt x="290" y="162"/>
                  </a:lnTo>
                  <a:lnTo>
                    <a:pt x="268" y="170"/>
                  </a:lnTo>
                  <a:lnTo>
                    <a:pt x="234" y="176"/>
                  </a:lnTo>
                  <a:lnTo>
                    <a:pt x="216" y="178"/>
                  </a:lnTo>
                  <a:lnTo>
                    <a:pt x="198" y="180"/>
                  </a:lnTo>
                  <a:lnTo>
                    <a:pt x="198" y="180"/>
                  </a:lnTo>
                  <a:lnTo>
                    <a:pt x="180" y="178"/>
                  </a:lnTo>
                  <a:lnTo>
                    <a:pt x="162" y="176"/>
                  </a:lnTo>
                  <a:lnTo>
                    <a:pt x="144" y="172"/>
                  </a:lnTo>
                  <a:lnTo>
                    <a:pt x="126" y="166"/>
                  </a:lnTo>
                  <a:lnTo>
                    <a:pt x="124" y="17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68" name="Freeform 1954">
              <a:extLst>
                <a:ext uri="{FF2B5EF4-FFF2-40B4-BE49-F238E27FC236}">
                  <a16:creationId xmlns:a16="http://schemas.microsoft.com/office/drawing/2014/main" id="{64E24D2F-93A7-4F42-8386-EE8A6E5FA818}"/>
                </a:ext>
              </a:extLst>
            </p:cNvPr>
            <p:cNvSpPr>
              <a:spLocks/>
            </p:cNvSpPr>
            <p:nvPr/>
          </p:nvSpPr>
          <p:spPr bwMode="auto">
            <a:xfrm>
              <a:off x="9371931" y="3618941"/>
              <a:ext cx="293016" cy="575312"/>
            </a:xfrm>
            <a:custGeom>
              <a:avLst/>
              <a:gdLst>
                <a:gd name="T0" fmla="*/ 0 w 164"/>
                <a:gd name="T1" fmla="*/ 172 h 322"/>
                <a:gd name="T2" fmla="*/ 0 w 164"/>
                <a:gd name="T3" fmla="*/ 172 h 322"/>
                <a:gd name="T4" fmla="*/ 4 w 164"/>
                <a:gd name="T5" fmla="*/ 188 h 322"/>
                <a:gd name="T6" fmla="*/ 8 w 164"/>
                <a:gd name="T7" fmla="*/ 204 h 322"/>
                <a:gd name="T8" fmla="*/ 14 w 164"/>
                <a:gd name="T9" fmla="*/ 218 h 322"/>
                <a:gd name="T10" fmla="*/ 22 w 164"/>
                <a:gd name="T11" fmla="*/ 232 h 322"/>
                <a:gd name="T12" fmla="*/ 40 w 164"/>
                <a:gd name="T13" fmla="*/ 258 h 322"/>
                <a:gd name="T14" fmla="*/ 58 w 164"/>
                <a:gd name="T15" fmla="*/ 280 h 322"/>
                <a:gd name="T16" fmla="*/ 74 w 164"/>
                <a:gd name="T17" fmla="*/ 298 h 322"/>
                <a:gd name="T18" fmla="*/ 90 w 164"/>
                <a:gd name="T19" fmla="*/ 310 h 322"/>
                <a:gd name="T20" fmla="*/ 104 w 164"/>
                <a:gd name="T21" fmla="*/ 322 h 322"/>
                <a:gd name="T22" fmla="*/ 104 w 164"/>
                <a:gd name="T23" fmla="*/ 322 h 322"/>
                <a:gd name="T24" fmla="*/ 116 w 164"/>
                <a:gd name="T25" fmla="*/ 306 h 322"/>
                <a:gd name="T26" fmla="*/ 126 w 164"/>
                <a:gd name="T27" fmla="*/ 290 h 322"/>
                <a:gd name="T28" fmla="*/ 138 w 164"/>
                <a:gd name="T29" fmla="*/ 268 h 322"/>
                <a:gd name="T30" fmla="*/ 150 w 164"/>
                <a:gd name="T31" fmla="*/ 242 h 322"/>
                <a:gd name="T32" fmla="*/ 160 w 164"/>
                <a:gd name="T33" fmla="*/ 214 h 322"/>
                <a:gd name="T34" fmla="*/ 162 w 164"/>
                <a:gd name="T35" fmla="*/ 198 h 322"/>
                <a:gd name="T36" fmla="*/ 164 w 164"/>
                <a:gd name="T37" fmla="*/ 182 h 322"/>
                <a:gd name="T38" fmla="*/ 164 w 164"/>
                <a:gd name="T39" fmla="*/ 166 h 322"/>
                <a:gd name="T40" fmla="*/ 164 w 164"/>
                <a:gd name="T41" fmla="*/ 150 h 322"/>
                <a:gd name="T42" fmla="*/ 164 w 164"/>
                <a:gd name="T43" fmla="*/ 150 h 322"/>
                <a:gd name="T44" fmla="*/ 160 w 164"/>
                <a:gd name="T45" fmla="*/ 134 h 322"/>
                <a:gd name="T46" fmla="*/ 156 w 164"/>
                <a:gd name="T47" fmla="*/ 118 h 322"/>
                <a:gd name="T48" fmla="*/ 150 w 164"/>
                <a:gd name="T49" fmla="*/ 102 h 322"/>
                <a:gd name="T50" fmla="*/ 142 w 164"/>
                <a:gd name="T51" fmla="*/ 88 h 322"/>
                <a:gd name="T52" fmla="*/ 126 w 164"/>
                <a:gd name="T53" fmla="*/ 64 h 322"/>
                <a:gd name="T54" fmla="*/ 108 w 164"/>
                <a:gd name="T55" fmla="*/ 42 h 322"/>
                <a:gd name="T56" fmla="*/ 90 w 164"/>
                <a:gd name="T57" fmla="*/ 24 h 322"/>
                <a:gd name="T58" fmla="*/ 74 w 164"/>
                <a:gd name="T59" fmla="*/ 10 h 322"/>
                <a:gd name="T60" fmla="*/ 60 w 164"/>
                <a:gd name="T61" fmla="*/ 0 h 322"/>
                <a:gd name="T62" fmla="*/ 60 w 164"/>
                <a:gd name="T63" fmla="*/ 0 h 322"/>
                <a:gd name="T64" fmla="*/ 48 w 164"/>
                <a:gd name="T65" fmla="*/ 14 h 322"/>
                <a:gd name="T66" fmla="*/ 38 w 164"/>
                <a:gd name="T67" fmla="*/ 30 h 322"/>
                <a:gd name="T68" fmla="*/ 26 w 164"/>
                <a:gd name="T69" fmla="*/ 52 h 322"/>
                <a:gd name="T70" fmla="*/ 14 w 164"/>
                <a:gd name="T71" fmla="*/ 78 h 322"/>
                <a:gd name="T72" fmla="*/ 4 w 164"/>
                <a:gd name="T73" fmla="*/ 108 h 322"/>
                <a:gd name="T74" fmla="*/ 2 w 164"/>
                <a:gd name="T75" fmla="*/ 124 h 322"/>
                <a:gd name="T76" fmla="*/ 0 w 164"/>
                <a:gd name="T77" fmla="*/ 138 h 322"/>
                <a:gd name="T78" fmla="*/ 0 w 164"/>
                <a:gd name="T79" fmla="*/ 156 h 322"/>
                <a:gd name="T80" fmla="*/ 0 w 164"/>
                <a:gd name="T81" fmla="*/ 172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4" h="322">
                  <a:moveTo>
                    <a:pt x="0" y="172"/>
                  </a:moveTo>
                  <a:lnTo>
                    <a:pt x="0" y="172"/>
                  </a:lnTo>
                  <a:lnTo>
                    <a:pt x="4" y="188"/>
                  </a:lnTo>
                  <a:lnTo>
                    <a:pt x="8" y="204"/>
                  </a:lnTo>
                  <a:lnTo>
                    <a:pt x="14" y="218"/>
                  </a:lnTo>
                  <a:lnTo>
                    <a:pt x="22" y="232"/>
                  </a:lnTo>
                  <a:lnTo>
                    <a:pt x="40" y="258"/>
                  </a:lnTo>
                  <a:lnTo>
                    <a:pt x="58" y="280"/>
                  </a:lnTo>
                  <a:lnTo>
                    <a:pt x="74" y="298"/>
                  </a:lnTo>
                  <a:lnTo>
                    <a:pt x="90" y="310"/>
                  </a:lnTo>
                  <a:lnTo>
                    <a:pt x="104" y="322"/>
                  </a:lnTo>
                  <a:lnTo>
                    <a:pt x="104" y="322"/>
                  </a:lnTo>
                  <a:lnTo>
                    <a:pt x="116" y="306"/>
                  </a:lnTo>
                  <a:lnTo>
                    <a:pt x="126" y="290"/>
                  </a:lnTo>
                  <a:lnTo>
                    <a:pt x="138" y="268"/>
                  </a:lnTo>
                  <a:lnTo>
                    <a:pt x="150" y="242"/>
                  </a:lnTo>
                  <a:lnTo>
                    <a:pt x="160" y="214"/>
                  </a:lnTo>
                  <a:lnTo>
                    <a:pt x="162" y="198"/>
                  </a:lnTo>
                  <a:lnTo>
                    <a:pt x="164" y="182"/>
                  </a:lnTo>
                  <a:lnTo>
                    <a:pt x="164" y="166"/>
                  </a:lnTo>
                  <a:lnTo>
                    <a:pt x="164" y="150"/>
                  </a:lnTo>
                  <a:lnTo>
                    <a:pt x="164" y="150"/>
                  </a:lnTo>
                  <a:lnTo>
                    <a:pt x="160" y="134"/>
                  </a:lnTo>
                  <a:lnTo>
                    <a:pt x="156" y="118"/>
                  </a:lnTo>
                  <a:lnTo>
                    <a:pt x="150" y="102"/>
                  </a:lnTo>
                  <a:lnTo>
                    <a:pt x="142" y="88"/>
                  </a:lnTo>
                  <a:lnTo>
                    <a:pt x="126" y="64"/>
                  </a:lnTo>
                  <a:lnTo>
                    <a:pt x="108" y="42"/>
                  </a:lnTo>
                  <a:lnTo>
                    <a:pt x="90" y="24"/>
                  </a:lnTo>
                  <a:lnTo>
                    <a:pt x="74" y="10"/>
                  </a:lnTo>
                  <a:lnTo>
                    <a:pt x="60" y="0"/>
                  </a:lnTo>
                  <a:lnTo>
                    <a:pt x="60" y="0"/>
                  </a:lnTo>
                  <a:lnTo>
                    <a:pt x="48" y="14"/>
                  </a:lnTo>
                  <a:lnTo>
                    <a:pt x="38" y="30"/>
                  </a:lnTo>
                  <a:lnTo>
                    <a:pt x="26" y="52"/>
                  </a:lnTo>
                  <a:lnTo>
                    <a:pt x="14" y="78"/>
                  </a:lnTo>
                  <a:lnTo>
                    <a:pt x="4" y="108"/>
                  </a:lnTo>
                  <a:lnTo>
                    <a:pt x="2" y="124"/>
                  </a:lnTo>
                  <a:lnTo>
                    <a:pt x="0" y="138"/>
                  </a:lnTo>
                  <a:lnTo>
                    <a:pt x="0" y="156"/>
                  </a:lnTo>
                  <a:lnTo>
                    <a:pt x="0" y="172"/>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69" name="Freeform 1955">
              <a:extLst>
                <a:ext uri="{FF2B5EF4-FFF2-40B4-BE49-F238E27FC236}">
                  <a16:creationId xmlns:a16="http://schemas.microsoft.com/office/drawing/2014/main" id="{6105E6DF-E1C3-4818-A675-CDFF96458C15}"/>
                </a:ext>
              </a:extLst>
            </p:cNvPr>
            <p:cNvSpPr>
              <a:spLocks/>
            </p:cNvSpPr>
            <p:nvPr/>
          </p:nvSpPr>
          <p:spPr bwMode="auto">
            <a:xfrm>
              <a:off x="9371931" y="3618941"/>
              <a:ext cx="293016" cy="575312"/>
            </a:xfrm>
            <a:custGeom>
              <a:avLst/>
              <a:gdLst>
                <a:gd name="T0" fmla="*/ 0 w 164"/>
                <a:gd name="T1" fmla="*/ 172 h 322"/>
                <a:gd name="T2" fmla="*/ 0 w 164"/>
                <a:gd name="T3" fmla="*/ 172 h 322"/>
                <a:gd name="T4" fmla="*/ 4 w 164"/>
                <a:gd name="T5" fmla="*/ 188 h 322"/>
                <a:gd name="T6" fmla="*/ 8 w 164"/>
                <a:gd name="T7" fmla="*/ 204 h 322"/>
                <a:gd name="T8" fmla="*/ 14 w 164"/>
                <a:gd name="T9" fmla="*/ 218 h 322"/>
                <a:gd name="T10" fmla="*/ 22 w 164"/>
                <a:gd name="T11" fmla="*/ 232 h 322"/>
                <a:gd name="T12" fmla="*/ 40 w 164"/>
                <a:gd name="T13" fmla="*/ 258 h 322"/>
                <a:gd name="T14" fmla="*/ 58 w 164"/>
                <a:gd name="T15" fmla="*/ 280 h 322"/>
                <a:gd name="T16" fmla="*/ 74 w 164"/>
                <a:gd name="T17" fmla="*/ 298 h 322"/>
                <a:gd name="T18" fmla="*/ 90 w 164"/>
                <a:gd name="T19" fmla="*/ 310 h 322"/>
                <a:gd name="T20" fmla="*/ 104 w 164"/>
                <a:gd name="T21" fmla="*/ 322 h 322"/>
                <a:gd name="T22" fmla="*/ 104 w 164"/>
                <a:gd name="T23" fmla="*/ 322 h 322"/>
                <a:gd name="T24" fmla="*/ 116 w 164"/>
                <a:gd name="T25" fmla="*/ 306 h 322"/>
                <a:gd name="T26" fmla="*/ 126 w 164"/>
                <a:gd name="T27" fmla="*/ 290 h 322"/>
                <a:gd name="T28" fmla="*/ 138 w 164"/>
                <a:gd name="T29" fmla="*/ 268 h 322"/>
                <a:gd name="T30" fmla="*/ 150 w 164"/>
                <a:gd name="T31" fmla="*/ 242 h 322"/>
                <a:gd name="T32" fmla="*/ 160 w 164"/>
                <a:gd name="T33" fmla="*/ 214 h 322"/>
                <a:gd name="T34" fmla="*/ 162 w 164"/>
                <a:gd name="T35" fmla="*/ 198 h 322"/>
                <a:gd name="T36" fmla="*/ 164 w 164"/>
                <a:gd name="T37" fmla="*/ 182 h 322"/>
                <a:gd name="T38" fmla="*/ 164 w 164"/>
                <a:gd name="T39" fmla="*/ 166 h 322"/>
                <a:gd name="T40" fmla="*/ 164 w 164"/>
                <a:gd name="T41" fmla="*/ 150 h 322"/>
                <a:gd name="T42" fmla="*/ 164 w 164"/>
                <a:gd name="T43" fmla="*/ 150 h 322"/>
                <a:gd name="T44" fmla="*/ 160 w 164"/>
                <a:gd name="T45" fmla="*/ 134 h 322"/>
                <a:gd name="T46" fmla="*/ 156 w 164"/>
                <a:gd name="T47" fmla="*/ 118 h 322"/>
                <a:gd name="T48" fmla="*/ 150 w 164"/>
                <a:gd name="T49" fmla="*/ 102 h 322"/>
                <a:gd name="T50" fmla="*/ 142 w 164"/>
                <a:gd name="T51" fmla="*/ 88 h 322"/>
                <a:gd name="T52" fmla="*/ 126 w 164"/>
                <a:gd name="T53" fmla="*/ 64 h 322"/>
                <a:gd name="T54" fmla="*/ 108 w 164"/>
                <a:gd name="T55" fmla="*/ 42 h 322"/>
                <a:gd name="T56" fmla="*/ 90 w 164"/>
                <a:gd name="T57" fmla="*/ 24 h 322"/>
                <a:gd name="T58" fmla="*/ 74 w 164"/>
                <a:gd name="T59" fmla="*/ 10 h 322"/>
                <a:gd name="T60" fmla="*/ 60 w 164"/>
                <a:gd name="T61" fmla="*/ 0 h 322"/>
                <a:gd name="T62" fmla="*/ 60 w 164"/>
                <a:gd name="T63" fmla="*/ 0 h 322"/>
                <a:gd name="T64" fmla="*/ 48 w 164"/>
                <a:gd name="T65" fmla="*/ 14 h 322"/>
                <a:gd name="T66" fmla="*/ 38 w 164"/>
                <a:gd name="T67" fmla="*/ 30 h 322"/>
                <a:gd name="T68" fmla="*/ 26 w 164"/>
                <a:gd name="T69" fmla="*/ 52 h 322"/>
                <a:gd name="T70" fmla="*/ 14 w 164"/>
                <a:gd name="T71" fmla="*/ 78 h 322"/>
                <a:gd name="T72" fmla="*/ 4 w 164"/>
                <a:gd name="T73" fmla="*/ 108 h 322"/>
                <a:gd name="T74" fmla="*/ 2 w 164"/>
                <a:gd name="T75" fmla="*/ 124 h 322"/>
                <a:gd name="T76" fmla="*/ 0 w 164"/>
                <a:gd name="T77" fmla="*/ 138 h 322"/>
                <a:gd name="T78" fmla="*/ 0 w 164"/>
                <a:gd name="T79" fmla="*/ 156 h 322"/>
                <a:gd name="T80" fmla="*/ 0 w 164"/>
                <a:gd name="T81" fmla="*/ 172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4" h="322">
                  <a:moveTo>
                    <a:pt x="0" y="172"/>
                  </a:moveTo>
                  <a:lnTo>
                    <a:pt x="0" y="172"/>
                  </a:lnTo>
                  <a:lnTo>
                    <a:pt x="4" y="188"/>
                  </a:lnTo>
                  <a:lnTo>
                    <a:pt x="8" y="204"/>
                  </a:lnTo>
                  <a:lnTo>
                    <a:pt x="14" y="218"/>
                  </a:lnTo>
                  <a:lnTo>
                    <a:pt x="22" y="232"/>
                  </a:lnTo>
                  <a:lnTo>
                    <a:pt x="40" y="258"/>
                  </a:lnTo>
                  <a:lnTo>
                    <a:pt x="58" y="280"/>
                  </a:lnTo>
                  <a:lnTo>
                    <a:pt x="74" y="298"/>
                  </a:lnTo>
                  <a:lnTo>
                    <a:pt x="90" y="310"/>
                  </a:lnTo>
                  <a:lnTo>
                    <a:pt x="104" y="322"/>
                  </a:lnTo>
                  <a:lnTo>
                    <a:pt x="104" y="322"/>
                  </a:lnTo>
                  <a:lnTo>
                    <a:pt x="116" y="306"/>
                  </a:lnTo>
                  <a:lnTo>
                    <a:pt x="126" y="290"/>
                  </a:lnTo>
                  <a:lnTo>
                    <a:pt x="138" y="268"/>
                  </a:lnTo>
                  <a:lnTo>
                    <a:pt x="150" y="242"/>
                  </a:lnTo>
                  <a:lnTo>
                    <a:pt x="160" y="214"/>
                  </a:lnTo>
                  <a:lnTo>
                    <a:pt x="162" y="198"/>
                  </a:lnTo>
                  <a:lnTo>
                    <a:pt x="164" y="182"/>
                  </a:lnTo>
                  <a:lnTo>
                    <a:pt x="164" y="166"/>
                  </a:lnTo>
                  <a:lnTo>
                    <a:pt x="164" y="150"/>
                  </a:lnTo>
                  <a:lnTo>
                    <a:pt x="164" y="150"/>
                  </a:lnTo>
                  <a:lnTo>
                    <a:pt x="160" y="134"/>
                  </a:lnTo>
                  <a:lnTo>
                    <a:pt x="156" y="118"/>
                  </a:lnTo>
                  <a:lnTo>
                    <a:pt x="150" y="102"/>
                  </a:lnTo>
                  <a:lnTo>
                    <a:pt x="142" y="88"/>
                  </a:lnTo>
                  <a:lnTo>
                    <a:pt x="126" y="64"/>
                  </a:lnTo>
                  <a:lnTo>
                    <a:pt x="108" y="42"/>
                  </a:lnTo>
                  <a:lnTo>
                    <a:pt x="90" y="24"/>
                  </a:lnTo>
                  <a:lnTo>
                    <a:pt x="74" y="10"/>
                  </a:lnTo>
                  <a:lnTo>
                    <a:pt x="60" y="0"/>
                  </a:lnTo>
                  <a:lnTo>
                    <a:pt x="60" y="0"/>
                  </a:lnTo>
                  <a:lnTo>
                    <a:pt x="48" y="14"/>
                  </a:lnTo>
                  <a:lnTo>
                    <a:pt x="38" y="30"/>
                  </a:lnTo>
                  <a:lnTo>
                    <a:pt x="26" y="52"/>
                  </a:lnTo>
                  <a:lnTo>
                    <a:pt x="14" y="78"/>
                  </a:lnTo>
                  <a:lnTo>
                    <a:pt x="4" y="108"/>
                  </a:lnTo>
                  <a:lnTo>
                    <a:pt x="2" y="124"/>
                  </a:lnTo>
                  <a:lnTo>
                    <a:pt x="0" y="138"/>
                  </a:lnTo>
                  <a:lnTo>
                    <a:pt x="0" y="156"/>
                  </a:lnTo>
                  <a:lnTo>
                    <a:pt x="0" y="17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70" name="Freeform 1957">
              <a:extLst>
                <a:ext uri="{FF2B5EF4-FFF2-40B4-BE49-F238E27FC236}">
                  <a16:creationId xmlns:a16="http://schemas.microsoft.com/office/drawing/2014/main" id="{2346E947-3E67-4D9F-9CC4-75A4E6130372}"/>
                </a:ext>
              </a:extLst>
            </p:cNvPr>
            <p:cNvSpPr>
              <a:spLocks/>
            </p:cNvSpPr>
            <p:nvPr/>
          </p:nvSpPr>
          <p:spPr bwMode="auto">
            <a:xfrm>
              <a:off x="9357638" y="3601074"/>
              <a:ext cx="321603" cy="611046"/>
            </a:xfrm>
            <a:custGeom>
              <a:avLst/>
              <a:gdLst>
                <a:gd name="T0" fmla="*/ 0 w 180"/>
                <a:gd name="T1" fmla="*/ 182 h 342"/>
                <a:gd name="T2" fmla="*/ 4 w 180"/>
                <a:gd name="T3" fmla="*/ 200 h 342"/>
                <a:gd name="T4" fmla="*/ 16 w 180"/>
                <a:gd name="T5" fmla="*/ 232 h 342"/>
                <a:gd name="T6" fmla="*/ 40 w 180"/>
                <a:gd name="T7" fmla="*/ 272 h 342"/>
                <a:gd name="T8" fmla="*/ 60 w 180"/>
                <a:gd name="T9" fmla="*/ 296 h 342"/>
                <a:gd name="T10" fmla="*/ 92 w 180"/>
                <a:gd name="T11" fmla="*/ 326 h 342"/>
                <a:gd name="T12" fmla="*/ 114 w 180"/>
                <a:gd name="T13" fmla="*/ 342 h 342"/>
                <a:gd name="T14" fmla="*/ 118 w 180"/>
                <a:gd name="T15" fmla="*/ 336 h 342"/>
                <a:gd name="T16" fmla="*/ 138 w 180"/>
                <a:gd name="T17" fmla="*/ 308 h 342"/>
                <a:gd name="T18" fmla="*/ 150 w 180"/>
                <a:gd name="T19" fmla="*/ 290 h 342"/>
                <a:gd name="T20" fmla="*/ 172 w 180"/>
                <a:gd name="T21" fmla="*/ 240 h 342"/>
                <a:gd name="T22" fmla="*/ 180 w 180"/>
                <a:gd name="T23" fmla="*/ 196 h 342"/>
                <a:gd name="T24" fmla="*/ 180 w 180"/>
                <a:gd name="T25" fmla="*/ 180 h 342"/>
                <a:gd name="T26" fmla="*/ 180 w 180"/>
                <a:gd name="T27" fmla="*/ 158 h 342"/>
                <a:gd name="T28" fmla="*/ 170 w 180"/>
                <a:gd name="T29" fmla="*/ 124 h 342"/>
                <a:gd name="T30" fmla="*/ 158 w 180"/>
                <a:gd name="T31" fmla="*/ 94 h 342"/>
                <a:gd name="T32" fmla="*/ 120 w 180"/>
                <a:gd name="T33" fmla="*/ 46 h 342"/>
                <a:gd name="T34" fmla="*/ 102 w 180"/>
                <a:gd name="T35" fmla="*/ 28 h 342"/>
                <a:gd name="T36" fmla="*/ 72 w 180"/>
                <a:gd name="T37" fmla="*/ 4 h 342"/>
                <a:gd name="T38" fmla="*/ 62 w 180"/>
                <a:gd name="T39" fmla="*/ 4 h 342"/>
                <a:gd name="T40" fmla="*/ 52 w 180"/>
                <a:gd name="T41" fmla="*/ 18 h 342"/>
                <a:gd name="T42" fmla="*/ 30 w 180"/>
                <a:gd name="T43" fmla="*/ 52 h 342"/>
                <a:gd name="T44" fmla="*/ 20 w 180"/>
                <a:gd name="T45" fmla="*/ 74 h 342"/>
                <a:gd name="T46" fmla="*/ 2 w 180"/>
                <a:gd name="T47" fmla="*/ 130 h 342"/>
                <a:gd name="T48" fmla="*/ 0 w 180"/>
                <a:gd name="T49" fmla="*/ 160 h 342"/>
                <a:gd name="T50" fmla="*/ 0 w 180"/>
                <a:gd name="T51" fmla="*/ 182 h 342"/>
                <a:gd name="T52" fmla="*/ 16 w 180"/>
                <a:gd name="T53" fmla="*/ 180 h 342"/>
                <a:gd name="T54" fmla="*/ 16 w 180"/>
                <a:gd name="T55" fmla="*/ 160 h 342"/>
                <a:gd name="T56" fmla="*/ 16 w 180"/>
                <a:gd name="T57" fmla="*/ 146 h 342"/>
                <a:gd name="T58" fmla="*/ 24 w 180"/>
                <a:gd name="T59" fmla="*/ 106 h 342"/>
                <a:gd name="T60" fmla="*/ 44 w 180"/>
                <a:gd name="T61" fmla="*/ 60 h 342"/>
                <a:gd name="T62" fmla="*/ 56 w 180"/>
                <a:gd name="T63" fmla="*/ 40 h 342"/>
                <a:gd name="T64" fmla="*/ 64 w 180"/>
                <a:gd name="T65" fmla="*/ 26 h 342"/>
                <a:gd name="T66" fmla="*/ 72 w 180"/>
                <a:gd name="T67" fmla="*/ 18 h 342"/>
                <a:gd name="T68" fmla="*/ 74 w 180"/>
                <a:gd name="T69" fmla="*/ 16 h 342"/>
                <a:gd name="T70" fmla="*/ 68 w 180"/>
                <a:gd name="T71" fmla="*/ 10 h 342"/>
                <a:gd name="T72" fmla="*/ 64 w 180"/>
                <a:gd name="T73" fmla="*/ 16 h 342"/>
                <a:gd name="T74" fmla="*/ 80 w 180"/>
                <a:gd name="T75" fmla="*/ 30 h 342"/>
                <a:gd name="T76" fmla="*/ 112 w 180"/>
                <a:gd name="T77" fmla="*/ 60 h 342"/>
                <a:gd name="T78" fmla="*/ 128 w 180"/>
                <a:gd name="T79" fmla="*/ 80 h 342"/>
                <a:gd name="T80" fmla="*/ 150 w 180"/>
                <a:gd name="T81" fmla="*/ 118 h 342"/>
                <a:gd name="T82" fmla="*/ 160 w 180"/>
                <a:gd name="T83" fmla="*/ 146 h 342"/>
                <a:gd name="T84" fmla="*/ 164 w 180"/>
                <a:gd name="T85" fmla="*/ 160 h 342"/>
                <a:gd name="T86" fmla="*/ 164 w 180"/>
                <a:gd name="T87" fmla="*/ 180 h 342"/>
                <a:gd name="T88" fmla="*/ 162 w 180"/>
                <a:gd name="T89" fmla="*/ 208 h 342"/>
                <a:gd name="T90" fmla="*/ 146 w 180"/>
                <a:gd name="T91" fmla="*/ 260 h 342"/>
                <a:gd name="T92" fmla="*/ 136 w 180"/>
                <a:gd name="T93" fmla="*/ 282 h 342"/>
                <a:gd name="T94" fmla="*/ 116 w 180"/>
                <a:gd name="T95" fmla="*/ 314 h 342"/>
                <a:gd name="T96" fmla="*/ 108 w 180"/>
                <a:gd name="T97" fmla="*/ 324 h 342"/>
                <a:gd name="T98" fmla="*/ 106 w 180"/>
                <a:gd name="T99" fmla="*/ 326 h 342"/>
                <a:gd name="T100" fmla="*/ 106 w 180"/>
                <a:gd name="T101" fmla="*/ 326 h 342"/>
                <a:gd name="T102" fmla="*/ 116 w 180"/>
                <a:gd name="T103" fmla="*/ 324 h 342"/>
                <a:gd name="T104" fmla="*/ 116 w 180"/>
                <a:gd name="T105" fmla="*/ 324 h 342"/>
                <a:gd name="T106" fmla="*/ 86 w 180"/>
                <a:gd name="T107" fmla="*/ 300 h 342"/>
                <a:gd name="T108" fmla="*/ 68 w 180"/>
                <a:gd name="T109" fmla="*/ 282 h 342"/>
                <a:gd name="T110" fmla="*/ 36 w 180"/>
                <a:gd name="T111" fmla="*/ 238 h 342"/>
                <a:gd name="T112" fmla="*/ 24 w 180"/>
                <a:gd name="T113" fmla="*/ 210 h 342"/>
                <a:gd name="T114" fmla="*/ 16 w 180"/>
                <a:gd name="T115" fmla="*/ 180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80" h="342">
                  <a:moveTo>
                    <a:pt x="8" y="182"/>
                  </a:moveTo>
                  <a:lnTo>
                    <a:pt x="0" y="182"/>
                  </a:lnTo>
                  <a:lnTo>
                    <a:pt x="0" y="182"/>
                  </a:lnTo>
                  <a:lnTo>
                    <a:pt x="4" y="200"/>
                  </a:lnTo>
                  <a:lnTo>
                    <a:pt x="10" y="216"/>
                  </a:lnTo>
                  <a:lnTo>
                    <a:pt x="16" y="232"/>
                  </a:lnTo>
                  <a:lnTo>
                    <a:pt x="24" y="246"/>
                  </a:lnTo>
                  <a:lnTo>
                    <a:pt x="40" y="272"/>
                  </a:lnTo>
                  <a:lnTo>
                    <a:pt x="60" y="296"/>
                  </a:lnTo>
                  <a:lnTo>
                    <a:pt x="60" y="296"/>
                  </a:lnTo>
                  <a:lnTo>
                    <a:pt x="78" y="314"/>
                  </a:lnTo>
                  <a:lnTo>
                    <a:pt x="92" y="326"/>
                  </a:lnTo>
                  <a:lnTo>
                    <a:pt x="108" y="338"/>
                  </a:lnTo>
                  <a:lnTo>
                    <a:pt x="114" y="342"/>
                  </a:lnTo>
                  <a:lnTo>
                    <a:pt x="118" y="336"/>
                  </a:lnTo>
                  <a:lnTo>
                    <a:pt x="118" y="336"/>
                  </a:lnTo>
                  <a:lnTo>
                    <a:pt x="128" y="324"/>
                  </a:lnTo>
                  <a:lnTo>
                    <a:pt x="138" y="308"/>
                  </a:lnTo>
                  <a:lnTo>
                    <a:pt x="150" y="290"/>
                  </a:lnTo>
                  <a:lnTo>
                    <a:pt x="150" y="290"/>
                  </a:lnTo>
                  <a:lnTo>
                    <a:pt x="162" y="266"/>
                  </a:lnTo>
                  <a:lnTo>
                    <a:pt x="172" y="240"/>
                  </a:lnTo>
                  <a:lnTo>
                    <a:pt x="178" y="212"/>
                  </a:lnTo>
                  <a:lnTo>
                    <a:pt x="180" y="196"/>
                  </a:lnTo>
                  <a:lnTo>
                    <a:pt x="180" y="180"/>
                  </a:lnTo>
                  <a:lnTo>
                    <a:pt x="180" y="180"/>
                  </a:lnTo>
                  <a:lnTo>
                    <a:pt x="180" y="158"/>
                  </a:lnTo>
                  <a:lnTo>
                    <a:pt x="180" y="158"/>
                  </a:lnTo>
                  <a:lnTo>
                    <a:pt x="176" y="142"/>
                  </a:lnTo>
                  <a:lnTo>
                    <a:pt x="170" y="124"/>
                  </a:lnTo>
                  <a:lnTo>
                    <a:pt x="164" y="110"/>
                  </a:lnTo>
                  <a:lnTo>
                    <a:pt x="158" y="94"/>
                  </a:lnTo>
                  <a:lnTo>
                    <a:pt x="140" y="68"/>
                  </a:lnTo>
                  <a:lnTo>
                    <a:pt x="120" y="46"/>
                  </a:lnTo>
                  <a:lnTo>
                    <a:pt x="120" y="46"/>
                  </a:lnTo>
                  <a:lnTo>
                    <a:pt x="102" y="28"/>
                  </a:lnTo>
                  <a:lnTo>
                    <a:pt x="88" y="14"/>
                  </a:lnTo>
                  <a:lnTo>
                    <a:pt x="72" y="4"/>
                  </a:lnTo>
                  <a:lnTo>
                    <a:pt x="66" y="0"/>
                  </a:lnTo>
                  <a:lnTo>
                    <a:pt x="62" y="4"/>
                  </a:lnTo>
                  <a:lnTo>
                    <a:pt x="62" y="4"/>
                  </a:lnTo>
                  <a:lnTo>
                    <a:pt x="52" y="18"/>
                  </a:lnTo>
                  <a:lnTo>
                    <a:pt x="42" y="32"/>
                  </a:lnTo>
                  <a:lnTo>
                    <a:pt x="30" y="52"/>
                  </a:lnTo>
                  <a:lnTo>
                    <a:pt x="30" y="52"/>
                  </a:lnTo>
                  <a:lnTo>
                    <a:pt x="20" y="74"/>
                  </a:lnTo>
                  <a:lnTo>
                    <a:pt x="10" y="100"/>
                  </a:lnTo>
                  <a:lnTo>
                    <a:pt x="2" y="130"/>
                  </a:lnTo>
                  <a:lnTo>
                    <a:pt x="0" y="146"/>
                  </a:lnTo>
                  <a:lnTo>
                    <a:pt x="0" y="160"/>
                  </a:lnTo>
                  <a:lnTo>
                    <a:pt x="0" y="160"/>
                  </a:lnTo>
                  <a:lnTo>
                    <a:pt x="0" y="182"/>
                  </a:lnTo>
                  <a:lnTo>
                    <a:pt x="8" y="182"/>
                  </a:lnTo>
                  <a:lnTo>
                    <a:pt x="16" y="180"/>
                  </a:lnTo>
                  <a:lnTo>
                    <a:pt x="16" y="180"/>
                  </a:lnTo>
                  <a:lnTo>
                    <a:pt x="16" y="160"/>
                  </a:lnTo>
                  <a:lnTo>
                    <a:pt x="16" y="160"/>
                  </a:lnTo>
                  <a:lnTo>
                    <a:pt x="16" y="146"/>
                  </a:lnTo>
                  <a:lnTo>
                    <a:pt x="18" y="132"/>
                  </a:lnTo>
                  <a:lnTo>
                    <a:pt x="24" y="106"/>
                  </a:lnTo>
                  <a:lnTo>
                    <a:pt x="34" y="80"/>
                  </a:lnTo>
                  <a:lnTo>
                    <a:pt x="44" y="60"/>
                  </a:lnTo>
                  <a:lnTo>
                    <a:pt x="44" y="60"/>
                  </a:lnTo>
                  <a:lnTo>
                    <a:pt x="56" y="40"/>
                  </a:lnTo>
                  <a:lnTo>
                    <a:pt x="64" y="26"/>
                  </a:lnTo>
                  <a:lnTo>
                    <a:pt x="64" y="26"/>
                  </a:lnTo>
                  <a:lnTo>
                    <a:pt x="72" y="18"/>
                  </a:lnTo>
                  <a:lnTo>
                    <a:pt x="72" y="18"/>
                  </a:lnTo>
                  <a:lnTo>
                    <a:pt x="74" y="16"/>
                  </a:lnTo>
                  <a:lnTo>
                    <a:pt x="74" y="16"/>
                  </a:lnTo>
                  <a:lnTo>
                    <a:pt x="74" y="16"/>
                  </a:lnTo>
                  <a:lnTo>
                    <a:pt x="68" y="10"/>
                  </a:lnTo>
                  <a:lnTo>
                    <a:pt x="64" y="16"/>
                  </a:lnTo>
                  <a:lnTo>
                    <a:pt x="64" y="16"/>
                  </a:lnTo>
                  <a:lnTo>
                    <a:pt x="64" y="16"/>
                  </a:lnTo>
                  <a:lnTo>
                    <a:pt x="80" y="30"/>
                  </a:lnTo>
                  <a:lnTo>
                    <a:pt x="94" y="42"/>
                  </a:lnTo>
                  <a:lnTo>
                    <a:pt x="112" y="60"/>
                  </a:lnTo>
                  <a:lnTo>
                    <a:pt x="112" y="60"/>
                  </a:lnTo>
                  <a:lnTo>
                    <a:pt x="128" y="80"/>
                  </a:lnTo>
                  <a:lnTo>
                    <a:pt x="144" y="104"/>
                  </a:lnTo>
                  <a:lnTo>
                    <a:pt x="150" y="118"/>
                  </a:lnTo>
                  <a:lnTo>
                    <a:pt x="156" y="132"/>
                  </a:lnTo>
                  <a:lnTo>
                    <a:pt x="160" y="146"/>
                  </a:lnTo>
                  <a:lnTo>
                    <a:pt x="164" y="160"/>
                  </a:lnTo>
                  <a:lnTo>
                    <a:pt x="164" y="160"/>
                  </a:lnTo>
                  <a:lnTo>
                    <a:pt x="164" y="180"/>
                  </a:lnTo>
                  <a:lnTo>
                    <a:pt x="164" y="180"/>
                  </a:lnTo>
                  <a:lnTo>
                    <a:pt x="164" y="194"/>
                  </a:lnTo>
                  <a:lnTo>
                    <a:pt x="162" y="208"/>
                  </a:lnTo>
                  <a:lnTo>
                    <a:pt x="156" y="236"/>
                  </a:lnTo>
                  <a:lnTo>
                    <a:pt x="146" y="260"/>
                  </a:lnTo>
                  <a:lnTo>
                    <a:pt x="136" y="282"/>
                  </a:lnTo>
                  <a:lnTo>
                    <a:pt x="136" y="282"/>
                  </a:lnTo>
                  <a:lnTo>
                    <a:pt x="124" y="300"/>
                  </a:lnTo>
                  <a:lnTo>
                    <a:pt x="116" y="314"/>
                  </a:lnTo>
                  <a:lnTo>
                    <a:pt x="116" y="314"/>
                  </a:lnTo>
                  <a:lnTo>
                    <a:pt x="108" y="324"/>
                  </a:lnTo>
                  <a:lnTo>
                    <a:pt x="108" y="324"/>
                  </a:lnTo>
                  <a:lnTo>
                    <a:pt x="106" y="326"/>
                  </a:lnTo>
                  <a:lnTo>
                    <a:pt x="106" y="326"/>
                  </a:lnTo>
                  <a:lnTo>
                    <a:pt x="106" y="326"/>
                  </a:lnTo>
                  <a:lnTo>
                    <a:pt x="112" y="332"/>
                  </a:lnTo>
                  <a:lnTo>
                    <a:pt x="116" y="324"/>
                  </a:lnTo>
                  <a:lnTo>
                    <a:pt x="116" y="324"/>
                  </a:lnTo>
                  <a:lnTo>
                    <a:pt x="116" y="324"/>
                  </a:lnTo>
                  <a:lnTo>
                    <a:pt x="100" y="312"/>
                  </a:lnTo>
                  <a:lnTo>
                    <a:pt x="86" y="300"/>
                  </a:lnTo>
                  <a:lnTo>
                    <a:pt x="68" y="282"/>
                  </a:lnTo>
                  <a:lnTo>
                    <a:pt x="68" y="282"/>
                  </a:lnTo>
                  <a:lnTo>
                    <a:pt x="52" y="262"/>
                  </a:lnTo>
                  <a:lnTo>
                    <a:pt x="36" y="238"/>
                  </a:lnTo>
                  <a:lnTo>
                    <a:pt x="30" y="224"/>
                  </a:lnTo>
                  <a:lnTo>
                    <a:pt x="24" y="210"/>
                  </a:lnTo>
                  <a:lnTo>
                    <a:pt x="20" y="196"/>
                  </a:lnTo>
                  <a:lnTo>
                    <a:pt x="16" y="180"/>
                  </a:lnTo>
                  <a:lnTo>
                    <a:pt x="8" y="18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71" name="Freeform 1958">
              <a:extLst>
                <a:ext uri="{FF2B5EF4-FFF2-40B4-BE49-F238E27FC236}">
                  <a16:creationId xmlns:a16="http://schemas.microsoft.com/office/drawing/2014/main" id="{9542C0A6-58F4-4BC9-8F27-89C585C48395}"/>
                </a:ext>
              </a:extLst>
            </p:cNvPr>
            <p:cNvSpPr>
              <a:spLocks/>
            </p:cNvSpPr>
            <p:nvPr/>
          </p:nvSpPr>
          <p:spPr bwMode="auto">
            <a:xfrm>
              <a:off x="10376048" y="4287161"/>
              <a:ext cx="575312" cy="300163"/>
            </a:xfrm>
            <a:custGeom>
              <a:avLst/>
              <a:gdLst>
                <a:gd name="T0" fmla="*/ 172 w 322"/>
                <a:gd name="T1" fmla="*/ 2 h 168"/>
                <a:gd name="T2" fmla="*/ 172 w 322"/>
                <a:gd name="T3" fmla="*/ 2 h 168"/>
                <a:gd name="T4" fmla="*/ 154 w 322"/>
                <a:gd name="T5" fmla="*/ 0 h 168"/>
                <a:gd name="T6" fmla="*/ 138 w 322"/>
                <a:gd name="T7" fmla="*/ 2 h 168"/>
                <a:gd name="T8" fmla="*/ 122 w 322"/>
                <a:gd name="T9" fmla="*/ 4 h 168"/>
                <a:gd name="T10" fmla="*/ 106 w 322"/>
                <a:gd name="T11" fmla="*/ 6 h 168"/>
                <a:gd name="T12" fmla="*/ 78 w 322"/>
                <a:gd name="T13" fmla="*/ 16 h 168"/>
                <a:gd name="T14" fmla="*/ 52 w 322"/>
                <a:gd name="T15" fmla="*/ 28 h 168"/>
                <a:gd name="T16" fmla="*/ 30 w 322"/>
                <a:gd name="T17" fmla="*/ 40 h 168"/>
                <a:gd name="T18" fmla="*/ 14 w 322"/>
                <a:gd name="T19" fmla="*/ 52 h 168"/>
                <a:gd name="T20" fmla="*/ 0 w 322"/>
                <a:gd name="T21" fmla="*/ 62 h 168"/>
                <a:gd name="T22" fmla="*/ 0 w 322"/>
                <a:gd name="T23" fmla="*/ 62 h 168"/>
                <a:gd name="T24" fmla="*/ 12 w 322"/>
                <a:gd name="T25" fmla="*/ 76 h 168"/>
                <a:gd name="T26" fmla="*/ 24 w 322"/>
                <a:gd name="T27" fmla="*/ 90 h 168"/>
                <a:gd name="T28" fmla="*/ 42 w 322"/>
                <a:gd name="T29" fmla="*/ 106 h 168"/>
                <a:gd name="T30" fmla="*/ 64 w 322"/>
                <a:gd name="T31" fmla="*/ 124 h 168"/>
                <a:gd name="T32" fmla="*/ 90 w 322"/>
                <a:gd name="T33" fmla="*/ 140 h 168"/>
                <a:gd name="T34" fmla="*/ 120 w 322"/>
                <a:gd name="T35" fmla="*/ 154 h 168"/>
                <a:gd name="T36" fmla="*/ 134 w 322"/>
                <a:gd name="T37" fmla="*/ 160 h 168"/>
                <a:gd name="T38" fmla="*/ 150 w 322"/>
                <a:gd name="T39" fmla="*/ 164 h 168"/>
                <a:gd name="T40" fmla="*/ 150 w 322"/>
                <a:gd name="T41" fmla="*/ 164 h 168"/>
                <a:gd name="T42" fmla="*/ 164 w 322"/>
                <a:gd name="T43" fmla="*/ 166 h 168"/>
                <a:gd name="T44" fmla="*/ 180 w 322"/>
                <a:gd name="T45" fmla="*/ 168 h 168"/>
                <a:gd name="T46" fmla="*/ 194 w 322"/>
                <a:gd name="T47" fmla="*/ 166 h 168"/>
                <a:gd name="T48" fmla="*/ 208 w 322"/>
                <a:gd name="T49" fmla="*/ 164 h 168"/>
                <a:gd name="T50" fmla="*/ 236 w 322"/>
                <a:gd name="T51" fmla="*/ 154 h 168"/>
                <a:gd name="T52" fmla="*/ 260 w 322"/>
                <a:gd name="T53" fmla="*/ 142 h 168"/>
                <a:gd name="T54" fmla="*/ 282 w 322"/>
                <a:gd name="T55" fmla="*/ 130 h 168"/>
                <a:gd name="T56" fmla="*/ 302 w 322"/>
                <a:gd name="T57" fmla="*/ 118 h 168"/>
                <a:gd name="T58" fmla="*/ 322 w 322"/>
                <a:gd name="T59" fmla="*/ 104 h 168"/>
                <a:gd name="T60" fmla="*/ 322 w 322"/>
                <a:gd name="T61" fmla="*/ 104 h 168"/>
                <a:gd name="T62" fmla="*/ 310 w 322"/>
                <a:gd name="T63" fmla="*/ 90 h 168"/>
                <a:gd name="T64" fmla="*/ 298 w 322"/>
                <a:gd name="T65" fmla="*/ 74 h 168"/>
                <a:gd name="T66" fmla="*/ 280 w 322"/>
                <a:gd name="T67" fmla="*/ 56 h 168"/>
                <a:gd name="T68" fmla="*/ 258 w 322"/>
                <a:gd name="T69" fmla="*/ 40 h 168"/>
                <a:gd name="T70" fmla="*/ 232 w 322"/>
                <a:gd name="T71" fmla="*/ 22 h 168"/>
                <a:gd name="T72" fmla="*/ 218 w 322"/>
                <a:gd name="T73" fmla="*/ 16 h 168"/>
                <a:gd name="T74" fmla="*/ 204 w 322"/>
                <a:gd name="T75" fmla="*/ 10 h 168"/>
                <a:gd name="T76" fmla="*/ 188 w 322"/>
                <a:gd name="T77" fmla="*/ 4 h 168"/>
                <a:gd name="T78" fmla="*/ 172 w 322"/>
                <a:gd name="T79" fmla="*/ 2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22" h="168">
                  <a:moveTo>
                    <a:pt x="172" y="2"/>
                  </a:moveTo>
                  <a:lnTo>
                    <a:pt x="172" y="2"/>
                  </a:lnTo>
                  <a:lnTo>
                    <a:pt x="154" y="0"/>
                  </a:lnTo>
                  <a:lnTo>
                    <a:pt x="138" y="2"/>
                  </a:lnTo>
                  <a:lnTo>
                    <a:pt x="122" y="4"/>
                  </a:lnTo>
                  <a:lnTo>
                    <a:pt x="106" y="6"/>
                  </a:lnTo>
                  <a:lnTo>
                    <a:pt x="78" y="16"/>
                  </a:lnTo>
                  <a:lnTo>
                    <a:pt x="52" y="28"/>
                  </a:lnTo>
                  <a:lnTo>
                    <a:pt x="30" y="40"/>
                  </a:lnTo>
                  <a:lnTo>
                    <a:pt x="14" y="52"/>
                  </a:lnTo>
                  <a:lnTo>
                    <a:pt x="0" y="62"/>
                  </a:lnTo>
                  <a:lnTo>
                    <a:pt x="0" y="62"/>
                  </a:lnTo>
                  <a:lnTo>
                    <a:pt x="12" y="76"/>
                  </a:lnTo>
                  <a:lnTo>
                    <a:pt x="24" y="90"/>
                  </a:lnTo>
                  <a:lnTo>
                    <a:pt x="42" y="106"/>
                  </a:lnTo>
                  <a:lnTo>
                    <a:pt x="64" y="124"/>
                  </a:lnTo>
                  <a:lnTo>
                    <a:pt x="90" y="140"/>
                  </a:lnTo>
                  <a:lnTo>
                    <a:pt x="120" y="154"/>
                  </a:lnTo>
                  <a:lnTo>
                    <a:pt x="134" y="160"/>
                  </a:lnTo>
                  <a:lnTo>
                    <a:pt x="150" y="164"/>
                  </a:lnTo>
                  <a:lnTo>
                    <a:pt x="150" y="164"/>
                  </a:lnTo>
                  <a:lnTo>
                    <a:pt x="164" y="166"/>
                  </a:lnTo>
                  <a:lnTo>
                    <a:pt x="180" y="168"/>
                  </a:lnTo>
                  <a:lnTo>
                    <a:pt x="194" y="166"/>
                  </a:lnTo>
                  <a:lnTo>
                    <a:pt x="208" y="164"/>
                  </a:lnTo>
                  <a:lnTo>
                    <a:pt x="236" y="154"/>
                  </a:lnTo>
                  <a:lnTo>
                    <a:pt x="260" y="142"/>
                  </a:lnTo>
                  <a:lnTo>
                    <a:pt x="282" y="130"/>
                  </a:lnTo>
                  <a:lnTo>
                    <a:pt x="302" y="118"/>
                  </a:lnTo>
                  <a:lnTo>
                    <a:pt x="322" y="104"/>
                  </a:lnTo>
                  <a:lnTo>
                    <a:pt x="322" y="104"/>
                  </a:lnTo>
                  <a:lnTo>
                    <a:pt x="310" y="90"/>
                  </a:lnTo>
                  <a:lnTo>
                    <a:pt x="298" y="74"/>
                  </a:lnTo>
                  <a:lnTo>
                    <a:pt x="280" y="56"/>
                  </a:lnTo>
                  <a:lnTo>
                    <a:pt x="258" y="40"/>
                  </a:lnTo>
                  <a:lnTo>
                    <a:pt x="232" y="22"/>
                  </a:lnTo>
                  <a:lnTo>
                    <a:pt x="218" y="16"/>
                  </a:lnTo>
                  <a:lnTo>
                    <a:pt x="204" y="10"/>
                  </a:lnTo>
                  <a:lnTo>
                    <a:pt x="188" y="4"/>
                  </a:lnTo>
                  <a:lnTo>
                    <a:pt x="172" y="2"/>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72" name="Freeform 1959">
              <a:extLst>
                <a:ext uri="{FF2B5EF4-FFF2-40B4-BE49-F238E27FC236}">
                  <a16:creationId xmlns:a16="http://schemas.microsoft.com/office/drawing/2014/main" id="{17DAA735-9CEE-45C9-9FFB-F39DAD164927}"/>
                </a:ext>
              </a:extLst>
            </p:cNvPr>
            <p:cNvSpPr>
              <a:spLocks/>
            </p:cNvSpPr>
            <p:nvPr/>
          </p:nvSpPr>
          <p:spPr bwMode="auto">
            <a:xfrm>
              <a:off x="10376048" y="4287161"/>
              <a:ext cx="575312" cy="300163"/>
            </a:xfrm>
            <a:custGeom>
              <a:avLst/>
              <a:gdLst>
                <a:gd name="T0" fmla="*/ 172 w 322"/>
                <a:gd name="T1" fmla="*/ 2 h 168"/>
                <a:gd name="T2" fmla="*/ 172 w 322"/>
                <a:gd name="T3" fmla="*/ 2 h 168"/>
                <a:gd name="T4" fmla="*/ 154 w 322"/>
                <a:gd name="T5" fmla="*/ 0 h 168"/>
                <a:gd name="T6" fmla="*/ 138 w 322"/>
                <a:gd name="T7" fmla="*/ 2 h 168"/>
                <a:gd name="T8" fmla="*/ 122 w 322"/>
                <a:gd name="T9" fmla="*/ 4 h 168"/>
                <a:gd name="T10" fmla="*/ 106 w 322"/>
                <a:gd name="T11" fmla="*/ 6 h 168"/>
                <a:gd name="T12" fmla="*/ 78 w 322"/>
                <a:gd name="T13" fmla="*/ 16 h 168"/>
                <a:gd name="T14" fmla="*/ 52 w 322"/>
                <a:gd name="T15" fmla="*/ 28 h 168"/>
                <a:gd name="T16" fmla="*/ 30 w 322"/>
                <a:gd name="T17" fmla="*/ 40 h 168"/>
                <a:gd name="T18" fmla="*/ 14 w 322"/>
                <a:gd name="T19" fmla="*/ 52 h 168"/>
                <a:gd name="T20" fmla="*/ 0 w 322"/>
                <a:gd name="T21" fmla="*/ 62 h 168"/>
                <a:gd name="T22" fmla="*/ 0 w 322"/>
                <a:gd name="T23" fmla="*/ 62 h 168"/>
                <a:gd name="T24" fmla="*/ 12 w 322"/>
                <a:gd name="T25" fmla="*/ 76 h 168"/>
                <a:gd name="T26" fmla="*/ 24 w 322"/>
                <a:gd name="T27" fmla="*/ 90 h 168"/>
                <a:gd name="T28" fmla="*/ 42 w 322"/>
                <a:gd name="T29" fmla="*/ 106 h 168"/>
                <a:gd name="T30" fmla="*/ 64 w 322"/>
                <a:gd name="T31" fmla="*/ 124 h 168"/>
                <a:gd name="T32" fmla="*/ 90 w 322"/>
                <a:gd name="T33" fmla="*/ 140 h 168"/>
                <a:gd name="T34" fmla="*/ 120 w 322"/>
                <a:gd name="T35" fmla="*/ 154 h 168"/>
                <a:gd name="T36" fmla="*/ 134 w 322"/>
                <a:gd name="T37" fmla="*/ 160 h 168"/>
                <a:gd name="T38" fmla="*/ 150 w 322"/>
                <a:gd name="T39" fmla="*/ 164 h 168"/>
                <a:gd name="T40" fmla="*/ 150 w 322"/>
                <a:gd name="T41" fmla="*/ 164 h 168"/>
                <a:gd name="T42" fmla="*/ 164 w 322"/>
                <a:gd name="T43" fmla="*/ 166 h 168"/>
                <a:gd name="T44" fmla="*/ 180 w 322"/>
                <a:gd name="T45" fmla="*/ 168 h 168"/>
                <a:gd name="T46" fmla="*/ 194 w 322"/>
                <a:gd name="T47" fmla="*/ 166 h 168"/>
                <a:gd name="T48" fmla="*/ 208 w 322"/>
                <a:gd name="T49" fmla="*/ 164 h 168"/>
                <a:gd name="T50" fmla="*/ 236 w 322"/>
                <a:gd name="T51" fmla="*/ 154 h 168"/>
                <a:gd name="T52" fmla="*/ 260 w 322"/>
                <a:gd name="T53" fmla="*/ 142 h 168"/>
                <a:gd name="T54" fmla="*/ 282 w 322"/>
                <a:gd name="T55" fmla="*/ 130 h 168"/>
                <a:gd name="T56" fmla="*/ 302 w 322"/>
                <a:gd name="T57" fmla="*/ 118 h 168"/>
                <a:gd name="T58" fmla="*/ 322 w 322"/>
                <a:gd name="T59" fmla="*/ 104 h 168"/>
                <a:gd name="T60" fmla="*/ 322 w 322"/>
                <a:gd name="T61" fmla="*/ 104 h 168"/>
                <a:gd name="T62" fmla="*/ 310 w 322"/>
                <a:gd name="T63" fmla="*/ 90 h 168"/>
                <a:gd name="T64" fmla="*/ 298 w 322"/>
                <a:gd name="T65" fmla="*/ 74 h 168"/>
                <a:gd name="T66" fmla="*/ 280 w 322"/>
                <a:gd name="T67" fmla="*/ 56 h 168"/>
                <a:gd name="T68" fmla="*/ 258 w 322"/>
                <a:gd name="T69" fmla="*/ 40 h 168"/>
                <a:gd name="T70" fmla="*/ 232 w 322"/>
                <a:gd name="T71" fmla="*/ 22 h 168"/>
                <a:gd name="T72" fmla="*/ 218 w 322"/>
                <a:gd name="T73" fmla="*/ 16 h 168"/>
                <a:gd name="T74" fmla="*/ 204 w 322"/>
                <a:gd name="T75" fmla="*/ 10 h 168"/>
                <a:gd name="T76" fmla="*/ 188 w 322"/>
                <a:gd name="T77" fmla="*/ 4 h 168"/>
                <a:gd name="T78" fmla="*/ 172 w 322"/>
                <a:gd name="T79" fmla="*/ 2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22" h="168">
                  <a:moveTo>
                    <a:pt x="172" y="2"/>
                  </a:moveTo>
                  <a:lnTo>
                    <a:pt x="172" y="2"/>
                  </a:lnTo>
                  <a:lnTo>
                    <a:pt x="154" y="0"/>
                  </a:lnTo>
                  <a:lnTo>
                    <a:pt x="138" y="2"/>
                  </a:lnTo>
                  <a:lnTo>
                    <a:pt x="122" y="4"/>
                  </a:lnTo>
                  <a:lnTo>
                    <a:pt x="106" y="6"/>
                  </a:lnTo>
                  <a:lnTo>
                    <a:pt x="78" y="16"/>
                  </a:lnTo>
                  <a:lnTo>
                    <a:pt x="52" y="28"/>
                  </a:lnTo>
                  <a:lnTo>
                    <a:pt x="30" y="40"/>
                  </a:lnTo>
                  <a:lnTo>
                    <a:pt x="14" y="52"/>
                  </a:lnTo>
                  <a:lnTo>
                    <a:pt x="0" y="62"/>
                  </a:lnTo>
                  <a:lnTo>
                    <a:pt x="0" y="62"/>
                  </a:lnTo>
                  <a:lnTo>
                    <a:pt x="12" y="76"/>
                  </a:lnTo>
                  <a:lnTo>
                    <a:pt x="24" y="90"/>
                  </a:lnTo>
                  <a:lnTo>
                    <a:pt x="42" y="106"/>
                  </a:lnTo>
                  <a:lnTo>
                    <a:pt x="64" y="124"/>
                  </a:lnTo>
                  <a:lnTo>
                    <a:pt x="90" y="140"/>
                  </a:lnTo>
                  <a:lnTo>
                    <a:pt x="120" y="154"/>
                  </a:lnTo>
                  <a:lnTo>
                    <a:pt x="134" y="160"/>
                  </a:lnTo>
                  <a:lnTo>
                    <a:pt x="150" y="164"/>
                  </a:lnTo>
                  <a:lnTo>
                    <a:pt x="150" y="164"/>
                  </a:lnTo>
                  <a:lnTo>
                    <a:pt x="164" y="166"/>
                  </a:lnTo>
                  <a:lnTo>
                    <a:pt x="180" y="168"/>
                  </a:lnTo>
                  <a:lnTo>
                    <a:pt x="194" y="166"/>
                  </a:lnTo>
                  <a:lnTo>
                    <a:pt x="208" y="164"/>
                  </a:lnTo>
                  <a:lnTo>
                    <a:pt x="236" y="154"/>
                  </a:lnTo>
                  <a:lnTo>
                    <a:pt x="260" y="142"/>
                  </a:lnTo>
                  <a:lnTo>
                    <a:pt x="282" y="130"/>
                  </a:lnTo>
                  <a:lnTo>
                    <a:pt x="302" y="118"/>
                  </a:lnTo>
                  <a:lnTo>
                    <a:pt x="322" y="104"/>
                  </a:lnTo>
                  <a:lnTo>
                    <a:pt x="322" y="104"/>
                  </a:lnTo>
                  <a:lnTo>
                    <a:pt x="310" y="90"/>
                  </a:lnTo>
                  <a:lnTo>
                    <a:pt x="298" y="74"/>
                  </a:lnTo>
                  <a:lnTo>
                    <a:pt x="280" y="56"/>
                  </a:lnTo>
                  <a:lnTo>
                    <a:pt x="258" y="40"/>
                  </a:lnTo>
                  <a:lnTo>
                    <a:pt x="232" y="22"/>
                  </a:lnTo>
                  <a:lnTo>
                    <a:pt x="218" y="16"/>
                  </a:lnTo>
                  <a:lnTo>
                    <a:pt x="204" y="10"/>
                  </a:lnTo>
                  <a:lnTo>
                    <a:pt x="188" y="4"/>
                  </a:lnTo>
                  <a:lnTo>
                    <a:pt x="17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73" name="Freeform 1962">
              <a:extLst>
                <a:ext uri="{FF2B5EF4-FFF2-40B4-BE49-F238E27FC236}">
                  <a16:creationId xmlns:a16="http://schemas.microsoft.com/office/drawing/2014/main" id="{CC106FEC-3FAF-4667-B5BC-D59CBB818DD3}"/>
                </a:ext>
              </a:extLst>
            </p:cNvPr>
            <p:cNvSpPr>
              <a:spLocks/>
            </p:cNvSpPr>
            <p:nvPr/>
          </p:nvSpPr>
          <p:spPr bwMode="auto">
            <a:xfrm>
              <a:off x="10515409" y="3711849"/>
              <a:ext cx="371630" cy="453818"/>
            </a:xfrm>
            <a:custGeom>
              <a:avLst/>
              <a:gdLst>
                <a:gd name="T0" fmla="*/ 40 w 208"/>
                <a:gd name="T1" fmla="*/ 76 h 254"/>
                <a:gd name="T2" fmla="*/ 40 w 208"/>
                <a:gd name="T3" fmla="*/ 76 h 254"/>
                <a:gd name="T4" fmla="*/ 30 w 208"/>
                <a:gd name="T5" fmla="*/ 90 h 254"/>
                <a:gd name="T6" fmla="*/ 22 w 208"/>
                <a:gd name="T7" fmla="*/ 104 h 254"/>
                <a:gd name="T8" fmla="*/ 16 w 208"/>
                <a:gd name="T9" fmla="*/ 118 h 254"/>
                <a:gd name="T10" fmla="*/ 10 w 208"/>
                <a:gd name="T11" fmla="*/ 132 h 254"/>
                <a:gd name="T12" fmla="*/ 4 w 208"/>
                <a:gd name="T13" fmla="*/ 162 h 254"/>
                <a:gd name="T14" fmla="*/ 0 w 208"/>
                <a:gd name="T15" fmla="*/ 190 h 254"/>
                <a:gd name="T16" fmla="*/ 0 w 208"/>
                <a:gd name="T17" fmla="*/ 216 h 254"/>
                <a:gd name="T18" fmla="*/ 0 w 208"/>
                <a:gd name="T19" fmla="*/ 236 h 254"/>
                <a:gd name="T20" fmla="*/ 2 w 208"/>
                <a:gd name="T21" fmla="*/ 254 h 254"/>
                <a:gd name="T22" fmla="*/ 2 w 208"/>
                <a:gd name="T23" fmla="*/ 254 h 254"/>
                <a:gd name="T24" fmla="*/ 20 w 208"/>
                <a:gd name="T25" fmla="*/ 252 h 254"/>
                <a:gd name="T26" fmla="*/ 40 w 208"/>
                <a:gd name="T27" fmla="*/ 248 h 254"/>
                <a:gd name="T28" fmla="*/ 64 w 208"/>
                <a:gd name="T29" fmla="*/ 242 h 254"/>
                <a:gd name="T30" fmla="*/ 92 w 208"/>
                <a:gd name="T31" fmla="*/ 232 h 254"/>
                <a:gd name="T32" fmla="*/ 118 w 208"/>
                <a:gd name="T33" fmla="*/ 220 h 254"/>
                <a:gd name="T34" fmla="*/ 132 w 208"/>
                <a:gd name="T35" fmla="*/ 212 h 254"/>
                <a:gd name="T36" fmla="*/ 146 w 208"/>
                <a:gd name="T37" fmla="*/ 202 h 254"/>
                <a:gd name="T38" fmla="*/ 158 w 208"/>
                <a:gd name="T39" fmla="*/ 190 h 254"/>
                <a:gd name="T40" fmla="*/ 168 w 208"/>
                <a:gd name="T41" fmla="*/ 178 h 254"/>
                <a:gd name="T42" fmla="*/ 168 w 208"/>
                <a:gd name="T43" fmla="*/ 178 h 254"/>
                <a:gd name="T44" fmla="*/ 178 w 208"/>
                <a:gd name="T45" fmla="*/ 164 h 254"/>
                <a:gd name="T46" fmla="*/ 186 w 208"/>
                <a:gd name="T47" fmla="*/ 150 h 254"/>
                <a:gd name="T48" fmla="*/ 192 w 208"/>
                <a:gd name="T49" fmla="*/ 136 h 254"/>
                <a:gd name="T50" fmla="*/ 198 w 208"/>
                <a:gd name="T51" fmla="*/ 120 h 254"/>
                <a:gd name="T52" fmla="*/ 204 w 208"/>
                <a:gd name="T53" fmla="*/ 90 h 254"/>
                <a:gd name="T54" fmla="*/ 208 w 208"/>
                <a:gd name="T55" fmla="*/ 62 h 254"/>
                <a:gd name="T56" fmla="*/ 208 w 208"/>
                <a:gd name="T57" fmla="*/ 38 h 254"/>
                <a:gd name="T58" fmla="*/ 208 w 208"/>
                <a:gd name="T59" fmla="*/ 18 h 254"/>
                <a:gd name="T60" fmla="*/ 206 w 208"/>
                <a:gd name="T61" fmla="*/ 0 h 254"/>
                <a:gd name="T62" fmla="*/ 206 w 208"/>
                <a:gd name="T63" fmla="*/ 0 h 254"/>
                <a:gd name="T64" fmla="*/ 188 w 208"/>
                <a:gd name="T65" fmla="*/ 2 h 254"/>
                <a:gd name="T66" fmla="*/ 168 w 208"/>
                <a:gd name="T67" fmla="*/ 6 h 254"/>
                <a:gd name="T68" fmla="*/ 144 w 208"/>
                <a:gd name="T69" fmla="*/ 12 h 254"/>
                <a:gd name="T70" fmla="*/ 116 w 208"/>
                <a:gd name="T71" fmla="*/ 20 h 254"/>
                <a:gd name="T72" fmla="*/ 90 w 208"/>
                <a:gd name="T73" fmla="*/ 34 h 254"/>
                <a:gd name="T74" fmla="*/ 76 w 208"/>
                <a:gd name="T75" fmla="*/ 42 h 254"/>
                <a:gd name="T76" fmla="*/ 64 w 208"/>
                <a:gd name="T77" fmla="*/ 52 h 254"/>
                <a:gd name="T78" fmla="*/ 52 w 208"/>
                <a:gd name="T79" fmla="*/ 64 h 254"/>
                <a:gd name="T80" fmla="*/ 40 w 208"/>
                <a:gd name="T81" fmla="*/ 76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08" h="254">
                  <a:moveTo>
                    <a:pt x="40" y="76"/>
                  </a:moveTo>
                  <a:lnTo>
                    <a:pt x="40" y="76"/>
                  </a:lnTo>
                  <a:lnTo>
                    <a:pt x="30" y="90"/>
                  </a:lnTo>
                  <a:lnTo>
                    <a:pt x="22" y="104"/>
                  </a:lnTo>
                  <a:lnTo>
                    <a:pt x="16" y="118"/>
                  </a:lnTo>
                  <a:lnTo>
                    <a:pt x="10" y="132"/>
                  </a:lnTo>
                  <a:lnTo>
                    <a:pt x="4" y="162"/>
                  </a:lnTo>
                  <a:lnTo>
                    <a:pt x="0" y="190"/>
                  </a:lnTo>
                  <a:lnTo>
                    <a:pt x="0" y="216"/>
                  </a:lnTo>
                  <a:lnTo>
                    <a:pt x="0" y="236"/>
                  </a:lnTo>
                  <a:lnTo>
                    <a:pt x="2" y="254"/>
                  </a:lnTo>
                  <a:lnTo>
                    <a:pt x="2" y="254"/>
                  </a:lnTo>
                  <a:lnTo>
                    <a:pt x="20" y="252"/>
                  </a:lnTo>
                  <a:lnTo>
                    <a:pt x="40" y="248"/>
                  </a:lnTo>
                  <a:lnTo>
                    <a:pt x="64" y="242"/>
                  </a:lnTo>
                  <a:lnTo>
                    <a:pt x="92" y="232"/>
                  </a:lnTo>
                  <a:lnTo>
                    <a:pt x="118" y="220"/>
                  </a:lnTo>
                  <a:lnTo>
                    <a:pt x="132" y="212"/>
                  </a:lnTo>
                  <a:lnTo>
                    <a:pt x="146" y="202"/>
                  </a:lnTo>
                  <a:lnTo>
                    <a:pt x="158" y="190"/>
                  </a:lnTo>
                  <a:lnTo>
                    <a:pt x="168" y="178"/>
                  </a:lnTo>
                  <a:lnTo>
                    <a:pt x="168" y="178"/>
                  </a:lnTo>
                  <a:lnTo>
                    <a:pt x="178" y="164"/>
                  </a:lnTo>
                  <a:lnTo>
                    <a:pt x="186" y="150"/>
                  </a:lnTo>
                  <a:lnTo>
                    <a:pt x="192" y="136"/>
                  </a:lnTo>
                  <a:lnTo>
                    <a:pt x="198" y="120"/>
                  </a:lnTo>
                  <a:lnTo>
                    <a:pt x="204" y="90"/>
                  </a:lnTo>
                  <a:lnTo>
                    <a:pt x="208" y="62"/>
                  </a:lnTo>
                  <a:lnTo>
                    <a:pt x="208" y="38"/>
                  </a:lnTo>
                  <a:lnTo>
                    <a:pt x="208" y="18"/>
                  </a:lnTo>
                  <a:lnTo>
                    <a:pt x="206" y="0"/>
                  </a:lnTo>
                  <a:lnTo>
                    <a:pt x="206" y="0"/>
                  </a:lnTo>
                  <a:lnTo>
                    <a:pt x="188" y="2"/>
                  </a:lnTo>
                  <a:lnTo>
                    <a:pt x="168" y="6"/>
                  </a:lnTo>
                  <a:lnTo>
                    <a:pt x="144" y="12"/>
                  </a:lnTo>
                  <a:lnTo>
                    <a:pt x="116" y="20"/>
                  </a:lnTo>
                  <a:lnTo>
                    <a:pt x="90" y="34"/>
                  </a:lnTo>
                  <a:lnTo>
                    <a:pt x="76" y="42"/>
                  </a:lnTo>
                  <a:lnTo>
                    <a:pt x="64" y="52"/>
                  </a:lnTo>
                  <a:lnTo>
                    <a:pt x="52" y="64"/>
                  </a:lnTo>
                  <a:lnTo>
                    <a:pt x="40" y="76"/>
                  </a:lnTo>
                  <a:close/>
                </a:path>
              </a:pathLst>
            </a:custGeom>
            <a:solidFill>
              <a:srgbClr val="ADD15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74" name="Freeform 1963">
              <a:extLst>
                <a:ext uri="{FF2B5EF4-FFF2-40B4-BE49-F238E27FC236}">
                  <a16:creationId xmlns:a16="http://schemas.microsoft.com/office/drawing/2014/main" id="{3000FDC3-E552-47DB-A945-DFF26647625B}"/>
                </a:ext>
              </a:extLst>
            </p:cNvPr>
            <p:cNvSpPr>
              <a:spLocks/>
            </p:cNvSpPr>
            <p:nvPr/>
          </p:nvSpPr>
          <p:spPr bwMode="auto">
            <a:xfrm>
              <a:off x="10515409" y="3711849"/>
              <a:ext cx="371630" cy="453818"/>
            </a:xfrm>
            <a:custGeom>
              <a:avLst/>
              <a:gdLst>
                <a:gd name="T0" fmla="*/ 40 w 208"/>
                <a:gd name="T1" fmla="*/ 76 h 254"/>
                <a:gd name="T2" fmla="*/ 40 w 208"/>
                <a:gd name="T3" fmla="*/ 76 h 254"/>
                <a:gd name="T4" fmla="*/ 30 w 208"/>
                <a:gd name="T5" fmla="*/ 90 h 254"/>
                <a:gd name="T6" fmla="*/ 22 w 208"/>
                <a:gd name="T7" fmla="*/ 104 h 254"/>
                <a:gd name="T8" fmla="*/ 16 w 208"/>
                <a:gd name="T9" fmla="*/ 118 h 254"/>
                <a:gd name="T10" fmla="*/ 10 w 208"/>
                <a:gd name="T11" fmla="*/ 132 h 254"/>
                <a:gd name="T12" fmla="*/ 4 w 208"/>
                <a:gd name="T13" fmla="*/ 162 h 254"/>
                <a:gd name="T14" fmla="*/ 0 w 208"/>
                <a:gd name="T15" fmla="*/ 190 h 254"/>
                <a:gd name="T16" fmla="*/ 0 w 208"/>
                <a:gd name="T17" fmla="*/ 216 h 254"/>
                <a:gd name="T18" fmla="*/ 0 w 208"/>
                <a:gd name="T19" fmla="*/ 236 h 254"/>
                <a:gd name="T20" fmla="*/ 2 w 208"/>
                <a:gd name="T21" fmla="*/ 254 h 254"/>
                <a:gd name="T22" fmla="*/ 2 w 208"/>
                <a:gd name="T23" fmla="*/ 254 h 254"/>
                <a:gd name="T24" fmla="*/ 20 w 208"/>
                <a:gd name="T25" fmla="*/ 252 h 254"/>
                <a:gd name="T26" fmla="*/ 40 w 208"/>
                <a:gd name="T27" fmla="*/ 248 h 254"/>
                <a:gd name="T28" fmla="*/ 64 w 208"/>
                <a:gd name="T29" fmla="*/ 242 h 254"/>
                <a:gd name="T30" fmla="*/ 92 w 208"/>
                <a:gd name="T31" fmla="*/ 232 h 254"/>
                <a:gd name="T32" fmla="*/ 118 w 208"/>
                <a:gd name="T33" fmla="*/ 220 h 254"/>
                <a:gd name="T34" fmla="*/ 132 w 208"/>
                <a:gd name="T35" fmla="*/ 212 h 254"/>
                <a:gd name="T36" fmla="*/ 146 w 208"/>
                <a:gd name="T37" fmla="*/ 202 h 254"/>
                <a:gd name="T38" fmla="*/ 158 w 208"/>
                <a:gd name="T39" fmla="*/ 190 h 254"/>
                <a:gd name="T40" fmla="*/ 168 w 208"/>
                <a:gd name="T41" fmla="*/ 178 h 254"/>
                <a:gd name="T42" fmla="*/ 168 w 208"/>
                <a:gd name="T43" fmla="*/ 178 h 254"/>
                <a:gd name="T44" fmla="*/ 178 w 208"/>
                <a:gd name="T45" fmla="*/ 164 h 254"/>
                <a:gd name="T46" fmla="*/ 186 w 208"/>
                <a:gd name="T47" fmla="*/ 150 h 254"/>
                <a:gd name="T48" fmla="*/ 192 w 208"/>
                <a:gd name="T49" fmla="*/ 136 h 254"/>
                <a:gd name="T50" fmla="*/ 198 w 208"/>
                <a:gd name="T51" fmla="*/ 120 h 254"/>
                <a:gd name="T52" fmla="*/ 204 w 208"/>
                <a:gd name="T53" fmla="*/ 90 h 254"/>
                <a:gd name="T54" fmla="*/ 208 w 208"/>
                <a:gd name="T55" fmla="*/ 62 h 254"/>
                <a:gd name="T56" fmla="*/ 208 w 208"/>
                <a:gd name="T57" fmla="*/ 38 h 254"/>
                <a:gd name="T58" fmla="*/ 208 w 208"/>
                <a:gd name="T59" fmla="*/ 18 h 254"/>
                <a:gd name="T60" fmla="*/ 206 w 208"/>
                <a:gd name="T61" fmla="*/ 0 h 254"/>
                <a:gd name="T62" fmla="*/ 206 w 208"/>
                <a:gd name="T63" fmla="*/ 0 h 254"/>
                <a:gd name="T64" fmla="*/ 188 w 208"/>
                <a:gd name="T65" fmla="*/ 2 h 254"/>
                <a:gd name="T66" fmla="*/ 168 w 208"/>
                <a:gd name="T67" fmla="*/ 6 h 254"/>
                <a:gd name="T68" fmla="*/ 144 w 208"/>
                <a:gd name="T69" fmla="*/ 12 h 254"/>
                <a:gd name="T70" fmla="*/ 116 w 208"/>
                <a:gd name="T71" fmla="*/ 20 h 254"/>
                <a:gd name="T72" fmla="*/ 90 w 208"/>
                <a:gd name="T73" fmla="*/ 34 h 254"/>
                <a:gd name="T74" fmla="*/ 76 w 208"/>
                <a:gd name="T75" fmla="*/ 42 h 254"/>
                <a:gd name="T76" fmla="*/ 64 w 208"/>
                <a:gd name="T77" fmla="*/ 52 h 254"/>
                <a:gd name="T78" fmla="*/ 52 w 208"/>
                <a:gd name="T79" fmla="*/ 64 h 254"/>
                <a:gd name="T80" fmla="*/ 40 w 208"/>
                <a:gd name="T81" fmla="*/ 76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08" h="254">
                  <a:moveTo>
                    <a:pt x="40" y="76"/>
                  </a:moveTo>
                  <a:lnTo>
                    <a:pt x="40" y="76"/>
                  </a:lnTo>
                  <a:lnTo>
                    <a:pt x="30" y="90"/>
                  </a:lnTo>
                  <a:lnTo>
                    <a:pt x="22" y="104"/>
                  </a:lnTo>
                  <a:lnTo>
                    <a:pt x="16" y="118"/>
                  </a:lnTo>
                  <a:lnTo>
                    <a:pt x="10" y="132"/>
                  </a:lnTo>
                  <a:lnTo>
                    <a:pt x="4" y="162"/>
                  </a:lnTo>
                  <a:lnTo>
                    <a:pt x="0" y="190"/>
                  </a:lnTo>
                  <a:lnTo>
                    <a:pt x="0" y="216"/>
                  </a:lnTo>
                  <a:lnTo>
                    <a:pt x="0" y="236"/>
                  </a:lnTo>
                  <a:lnTo>
                    <a:pt x="2" y="254"/>
                  </a:lnTo>
                  <a:lnTo>
                    <a:pt x="2" y="254"/>
                  </a:lnTo>
                  <a:lnTo>
                    <a:pt x="20" y="252"/>
                  </a:lnTo>
                  <a:lnTo>
                    <a:pt x="40" y="248"/>
                  </a:lnTo>
                  <a:lnTo>
                    <a:pt x="64" y="242"/>
                  </a:lnTo>
                  <a:lnTo>
                    <a:pt x="92" y="232"/>
                  </a:lnTo>
                  <a:lnTo>
                    <a:pt x="118" y="220"/>
                  </a:lnTo>
                  <a:lnTo>
                    <a:pt x="132" y="212"/>
                  </a:lnTo>
                  <a:lnTo>
                    <a:pt x="146" y="202"/>
                  </a:lnTo>
                  <a:lnTo>
                    <a:pt x="158" y="190"/>
                  </a:lnTo>
                  <a:lnTo>
                    <a:pt x="168" y="178"/>
                  </a:lnTo>
                  <a:lnTo>
                    <a:pt x="168" y="178"/>
                  </a:lnTo>
                  <a:lnTo>
                    <a:pt x="178" y="164"/>
                  </a:lnTo>
                  <a:lnTo>
                    <a:pt x="186" y="150"/>
                  </a:lnTo>
                  <a:lnTo>
                    <a:pt x="192" y="136"/>
                  </a:lnTo>
                  <a:lnTo>
                    <a:pt x="198" y="120"/>
                  </a:lnTo>
                  <a:lnTo>
                    <a:pt x="204" y="90"/>
                  </a:lnTo>
                  <a:lnTo>
                    <a:pt x="208" y="62"/>
                  </a:lnTo>
                  <a:lnTo>
                    <a:pt x="208" y="38"/>
                  </a:lnTo>
                  <a:lnTo>
                    <a:pt x="208" y="18"/>
                  </a:lnTo>
                  <a:lnTo>
                    <a:pt x="206" y="0"/>
                  </a:lnTo>
                  <a:lnTo>
                    <a:pt x="206" y="0"/>
                  </a:lnTo>
                  <a:lnTo>
                    <a:pt x="188" y="2"/>
                  </a:lnTo>
                  <a:lnTo>
                    <a:pt x="168" y="6"/>
                  </a:lnTo>
                  <a:lnTo>
                    <a:pt x="144" y="12"/>
                  </a:lnTo>
                  <a:lnTo>
                    <a:pt x="116" y="20"/>
                  </a:lnTo>
                  <a:lnTo>
                    <a:pt x="90" y="34"/>
                  </a:lnTo>
                  <a:lnTo>
                    <a:pt x="76" y="42"/>
                  </a:lnTo>
                  <a:lnTo>
                    <a:pt x="64" y="52"/>
                  </a:lnTo>
                  <a:lnTo>
                    <a:pt x="52" y="64"/>
                  </a:lnTo>
                  <a:lnTo>
                    <a:pt x="40" y="76"/>
                  </a:lnTo>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75" name="Freeform 1966">
              <a:extLst>
                <a:ext uri="{FF2B5EF4-FFF2-40B4-BE49-F238E27FC236}">
                  <a16:creationId xmlns:a16="http://schemas.microsoft.com/office/drawing/2014/main" id="{E0704FD9-8779-4F97-A2BD-90AB9AC217FB}"/>
                </a:ext>
              </a:extLst>
            </p:cNvPr>
            <p:cNvSpPr>
              <a:spLocks/>
            </p:cNvSpPr>
            <p:nvPr/>
          </p:nvSpPr>
          <p:spPr bwMode="auto">
            <a:xfrm>
              <a:off x="10543996" y="4101346"/>
              <a:ext cx="214402" cy="189389"/>
            </a:xfrm>
            <a:custGeom>
              <a:avLst/>
              <a:gdLst>
                <a:gd name="T0" fmla="*/ 120 w 120"/>
                <a:gd name="T1" fmla="*/ 0 h 106"/>
                <a:gd name="T2" fmla="*/ 120 w 120"/>
                <a:gd name="T3" fmla="*/ 0 h 106"/>
                <a:gd name="T4" fmla="*/ 104 w 120"/>
                <a:gd name="T5" fmla="*/ 10 h 106"/>
                <a:gd name="T6" fmla="*/ 86 w 120"/>
                <a:gd name="T7" fmla="*/ 20 h 106"/>
                <a:gd name="T8" fmla="*/ 68 w 120"/>
                <a:gd name="T9" fmla="*/ 26 h 106"/>
                <a:gd name="T10" fmla="*/ 50 w 120"/>
                <a:gd name="T11" fmla="*/ 32 h 106"/>
                <a:gd name="T12" fmla="*/ 50 w 120"/>
                <a:gd name="T13" fmla="*/ 32 h 106"/>
                <a:gd name="T14" fmla="*/ 16 w 120"/>
                <a:gd name="T15" fmla="*/ 40 h 106"/>
                <a:gd name="T16" fmla="*/ 16 w 120"/>
                <a:gd name="T17" fmla="*/ 40 h 106"/>
                <a:gd name="T18" fmla="*/ 14 w 120"/>
                <a:gd name="T19" fmla="*/ 58 h 106"/>
                <a:gd name="T20" fmla="*/ 10 w 120"/>
                <a:gd name="T21" fmla="*/ 74 h 106"/>
                <a:gd name="T22" fmla="*/ 0 w 120"/>
                <a:gd name="T23" fmla="*/ 106 h 106"/>
                <a:gd name="T24" fmla="*/ 0 w 120"/>
                <a:gd name="T25" fmla="*/ 106 h 106"/>
                <a:gd name="T26" fmla="*/ 18 w 120"/>
                <a:gd name="T27" fmla="*/ 102 h 106"/>
                <a:gd name="T28" fmla="*/ 38 w 120"/>
                <a:gd name="T29" fmla="*/ 98 h 106"/>
                <a:gd name="T30" fmla="*/ 38 w 120"/>
                <a:gd name="T31" fmla="*/ 98 h 106"/>
                <a:gd name="T32" fmla="*/ 50 w 120"/>
                <a:gd name="T33" fmla="*/ 92 h 106"/>
                <a:gd name="T34" fmla="*/ 50 w 120"/>
                <a:gd name="T35" fmla="*/ 92 h 106"/>
                <a:gd name="T36" fmla="*/ 62 w 120"/>
                <a:gd name="T37" fmla="*/ 82 h 106"/>
                <a:gd name="T38" fmla="*/ 74 w 120"/>
                <a:gd name="T39" fmla="*/ 72 h 106"/>
                <a:gd name="T40" fmla="*/ 84 w 120"/>
                <a:gd name="T41" fmla="*/ 62 h 106"/>
                <a:gd name="T42" fmla="*/ 92 w 120"/>
                <a:gd name="T43" fmla="*/ 50 h 106"/>
                <a:gd name="T44" fmla="*/ 108 w 120"/>
                <a:gd name="T45" fmla="*/ 26 h 106"/>
                <a:gd name="T46" fmla="*/ 120 w 120"/>
                <a:gd name="T47" fmla="*/ 2 h 106"/>
                <a:gd name="T48" fmla="*/ 120 w 120"/>
                <a:gd name="T49" fmla="*/ 2 h 106"/>
                <a:gd name="T50" fmla="*/ 120 w 120"/>
                <a:gd name="T51"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0" h="106">
                  <a:moveTo>
                    <a:pt x="120" y="0"/>
                  </a:moveTo>
                  <a:lnTo>
                    <a:pt x="120" y="0"/>
                  </a:lnTo>
                  <a:lnTo>
                    <a:pt x="104" y="10"/>
                  </a:lnTo>
                  <a:lnTo>
                    <a:pt x="86" y="20"/>
                  </a:lnTo>
                  <a:lnTo>
                    <a:pt x="68" y="26"/>
                  </a:lnTo>
                  <a:lnTo>
                    <a:pt x="50" y="32"/>
                  </a:lnTo>
                  <a:lnTo>
                    <a:pt x="50" y="32"/>
                  </a:lnTo>
                  <a:lnTo>
                    <a:pt x="16" y="40"/>
                  </a:lnTo>
                  <a:lnTo>
                    <a:pt x="16" y="40"/>
                  </a:lnTo>
                  <a:lnTo>
                    <a:pt x="14" y="58"/>
                  </a:lnTo>
                  <a:lnTo>
                    <a:pt x="10" y="74"/>
                  </a:lnTo>
                  <a:lnTo>
                    <a:pt x="0" y="106"/>
                  </a:lnTo>
                  <a:lnTo>
                    <a:pt x="0" y="106"/>
                  </a:lnTo>
                  <a:lnTo>
                    <a:pt x="18" y="102"/>
                  </a:lnTo>
                  <a:lnTo>
                    <a:pt x="38" y="98"/>
                  </a:lnTo>
                  <a:lnTo>
                    <a:pt x="38" y="98"/>
                  </a:lnTo>
                  <a:lnTo>
                    <a:pt x="50" y="92"/>
                  </a:lnTo>
                  <a:lnTo>
                    <a:pt x="50" y="92"/>
                  </a:lnTo>
                  <a:lnTo>
                    <a:pt x="62" y="82"/>
                  </a:lnTo>
                  <a:lnTo>
                    <a:pt x="74" y="72"/>
                  </a:lnTo>
                  <a:lnTo>
                    <a:pt x="84" y="62"/>
                  </a:lnTo>
                  <a:lnTo>
                    <a:pt x="92" y="50"/>
                  </a:lnTo>
                  <a:lnTo>
                    <a:pt x="108" y="26"/>
                  </a:lnTo>
                  <a:lnTo>
                    <a:pt x="120" y="2"/>
                  </a:lnTo>
                  <a:lnTo>
                    <a:pt x="120" y="2"/>
                  </a:lnTo>
                  <a:lnTo>
                    <a:pt x="120" y="0"/>
                  </a:lnTo>
                  <a:close/>
                </a:path>
              </a:pathLst>
            </a:custGeom>
            <a:solidFill>
              <a:srgbClr val="DDC9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76" name="Freeform 1967">
              <a:extLst>
                <a:ext uri="{FF2B5EF4-FFF2-40B4-BE49-F238E27FC236}">
                  <a16:creationId xmlns:a16="http://schemas.microsoft.com/office/drawing/2014/main" id="{9D75FC85-D1B2-49A1-882B-4CAF253C94EC}"/>
                </a:ext>
              </a:extLst>
            </p:cNvPr>
            <p:cNvSpPr>
              <a:spLocks/>
            </p:cNvSpPr>
            <p:nvPr/>
          </p:nvSpPr>
          <p:spPr bwMode="auto">
            <a:xfrm>
              <a:off x="10543996" y="4101346"/>
              <a:ext cx="214402" cy="189389"/>
            </a:xfrm>
            <a:custGeom>
              <a:avLst/>
              <a:gdLst>
                <a:gd name="T0" fmla="*/ 120 w 120"/>
                <a:gd name="T1" fmla="*/ 0 h 106"/>
                <a:gd name="T2" fmla="*/ 120 w 120"/>
                <a:gd name="T3" fmla="*/ 0 h 106"/>
                <a:gd name="T4" fmla="*/ 104 w 120"/>
                <a:gd name="T5" fmla="*/ 10 h 106"/>
                <a:gd name="T6" fmla="*/ 86 w 120"/>
                <a:gd name="T7" fmla="*/ 20 h 106"/>
                <a:gd name="T8" fmla="*/ 68 w 120"/>
                <a:gd name="T9" fmla="*/ 26 h 106"/>
                <a:gd name="T10" fmla="*/ 50 w 120"/>
                <a:gd name="T11" fmla="*/ 32 h 106"/>
                <a:gd name="T12" fmla="*/ 50 w 120"/>
                <a:gd name="T13" fmla="*/ 32 h 106"/>
                <a:gd name="T14" fmla="*/ 16 w 120"/>
                <a:gd name="T15" fmla="*/ 40 h 106"/>
                <a:gd name="T16" fmla="*/ 16 w 120"/>
                <a:gd name="T17" fmla="*/ 40 h 106"/>
                <a:gd name="T18" fmla="*/ 14 w 120"/>
                <a:gd name="T19" fmla="*/ 58 h 106"/>
                <a:gd name="T20" fmla="*/ 10 w 120"/>
                <a:gd name="T21" fmla="*/ 74 h 106"/>
                <a:gd name="T22" fmla="*/ 0 w 120"/>
                <a:gd name="T23" fmla="*/ 106 h 106"/>
                <a:gd name="T24" fmla="*/ 0 w 120"/>
                <a:gd name="T25" fmla="*/ 106 h 106"/>
                <a:gd name="T26" fmla="*/ 18 w 120"/>
                <a:gd name="T27" fmla="*/ 102 h 106"/>
                <a:gd name="T28" fmla="*/ 38 w 120"/>
                <a:gd name="T29" fmla="*/ 98 h 106"/>
                <a:gd name="T30" fmla="*/ 38 w 120"/>
                <a:gd name="T31" fmla="*/ 98 h 106"/>
                <a:gd name="T32" fmla="*/ 50 w 120"/>
                <a:gd name="T33" fmla="*/ 92 h 106"/>
                <a:gd name="T34" fmla="*/ 50 w 120"/>
                <a:gd name="T35" fmla="*/ 92 h 106"/>
                <a:gd name="T36" fmla="*/ 62 w 120"/>
                <a:gd name="T37" fmla="*/ 82 h 106"/>
                <a:gd name="T38" fmla="*/ 74 w 120"/>
                <a:gd name="T39" fmla="*/ 72 h 106"/>
                <a:gd name="T40" fmla="*/ 84 w 120"/>
                <a:gd name="T41" fmla="*/ 62 h 106"/>
                <a:gd name="T42" fmla="*/ 92 w 120"/>
                <a:gd name="T43" fmla="*/ 50 h 106"/>
                <a:gd name="T44" fmla="*/ 108 w 120"/>
                <a:gd name="T45" fmla="*/ 26 h 106"/>
                <a:gd name="T46" fmla="*/ 120 w 120"/>
                <a:gd name="T47" fmla="*/ 2 h 106"/>
                <a:gd name="T48" fmla="*/ 120 w 120"/>
                <a:gd name="T49" fmla="*/ 2 h 106"/>
                <a:gd name="T50" fmla="*/ 120 w 120"/>
                <a:gd name="T51"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0" h="106">
                  <a:moveTo>
                    <a:pt x="120" y="0"/>
                  </a:moveTo>
                  <a:lnTo>
                    <a:pt x="120" y="0"/>
                  </a:lnTo>
                  <a:lnTo>
                    <a:pt x="104" y="10"/>
                  </a:lnTo>
                  <a:lnTo>
                    <a:pt x="86" y="20"/>
                  </a:lnTo>
                  <a:lnTo>
                    <a:pt x="68" y="26"/>
                  </a:lnTo>
                  <a:lnTo>
                    <a:pt x="50" y="32"/>
                  </a:lnTo>
                  <a:lnTo>
                    <a:pt x="50" y="32"/>
                  </a:lnTo>
                  <a:lnTo>
                    <a:pt x="16" y="40"/>
                  </a:lnTo>
                  <a:lnTo>
                    <a:pt x="16" y="40"/>
                  </a:lnTo>
                  <a:lnTo>
                    <a:pt x="14" y="58"/>
                  </a:lnTo>
                  <a:lnTo>
                    <a:pt x="10" y="74"/>
                  </a:lnTo>
                  <a:lnTo>
                    <a:pt x="0" y="106"/>
                  </a:lnTo>
                  <a:lnTo>
                    <a:pt x="0" y="106"/>
                  </a:lnTo>
                  <a:lnTo>
                    <a:pt x="18" y="102"/>
                  </a:lnTo>
                  <a:lnTo>
                    <a:pt x="38" y="98"/>
                  </a:lnTo>
                  <a:lnTo>
                    <a:pt x="38" y="98"/>
                  </a:lnTo>
                  <a:lnTo>
                    <a:pt x="50" y="92"/>
                  </a:lnTo>
                  <a:lnTo>
                    <a:pt x="50" y="92"/>
                  </a:lnTo>
                  <a:lnTo>
                    <a:pt x="62" y="82"/>
                  </a:lnTo>
                  <a:lnTo>
                    <a:pt x="74" y="72"/>
                  </a:lnTo>
                  <a:lnTo>
                    <a:pt x="84" y="62"/>
                  </a:lnTo>
                  <a:lnTo>
                    <a:pt x="92" y="50"/>
                  </a:lnTo>
                  <a:lnTo>
                    <a:pt x="108" y="26"/>
                  </a:lnTo>
                  <a:lnTo>
                    <a:pt x="120" y="2"/>
                  </a:lnTo>
                  <a:lnTo>
                    <a:pt x="120" y="2"/>
                  </a:lnTo>
                  <a:lnTo>
                    <a:pt x="12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77" name="Freeform 1968">
              <a:extLst>
                <a:ext uri="{FF2B5EF4-FFF2-40B4-BE49-F238E27FC236}">
                  <a16:creationId xmlns:a16="http://schemas.microsoft.com/office/drawing/2014/main" id="{2B7C8361-08F2-460F-BC1B-5AF6DD3960D8}"/>
                </a:ext>
              </a:extLst>
            </p:cNvPr>
            <p:cNvSpPr>
              <a:spLocks/>
            </p:cNvSpPr>
            <p:nvPr/>
          </p:nvSpPr>
          <p:spPr bwMode="auto">
            <a:xfrm>
              <a:off x="10526129" y="4172813"/>
              <a:ext cx="46454" cy="125068"/>
            </a:xfrm>
            <a:custGeom>
              <a:avLst/>
              <a:gdLst>
                <a:gd name="T0" fmla="*/ 26 w 26"/>
                <a:gd name="T1" fmla="*/ 0 h 70"/>
                <a:gd name="T2" fmla="*/ 26 w 26"/>
                <a:gd name="T3" fmla="*/ 0 h 70"/>
                <a:gd name="T4" fmla="*/ 18 w 26"/>
                <a:gd name="T5" fmla="*/ 2 h 70"/>
                <a:gd name="T6" fmla="*/ 18 w 26"/>
                <a:gd name="T7" fmla="*/ 2 h 70"/>
                <a:gd name="T8" fmla="*/ 16 w 26"/>
                <a:gd name="T9" fmla="*/ 20 h 70"/>
                <a:gd name="T10" fmla="*/ 12 w 26"/>
                <a:gd name="T11" fmla="*/ 38 h 70"/>
                <a:gd name="T12" fmla="*/ 0 w 26"/>
                <a:gd name="T13" fmla="*/ 70 h 70"/>
                <a:gd name="T14" fmla="*/ 0 w 26"/>
                <a:gd name="T15" fmla="*/ 70 h 70"/>
                <a:gd name="T16" fmla="*/ 10 w 26"/>
                <a:gd name="T17" fmla="*/ 66 h 70"/>
                <a:gd name="T18" fmla="*/ 10 w 26"/>
                <a:gd name="T19" fmla="*/ 66 h 70"/>
                <a:gd name="T20" fmla="*/ 20 w 26"/>
                <a:gd name="T21" fmla="*/ 34 h 70"/>
                <a:gd name="T22" fmla="*/ 24 w 26"/>
                <a:gd name="T23" fmla="*/ 18 h 70"/>
                <a:gd name="T24" fmla="*/ 26 w 26"/>
                <a:gd name="T25"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 h="70">
                  <a:moveTo>
                    <a:pt x="26" y="0"/>
                  </a:moveTo>
                  <a:lnTo>
                    <a:pt x="26" y="0"/>
                  </a:lnTo>
                  <a:lnTo>
                    <a:pt x="18" y="2"/>
                  </a:lnTo>
                  <a:lnTo>
                    <a:pt x="18" y="2"/>
                  </a:lnTo>
                  <a:lnTo>
                    <a:pt x="16" y="20"/>
                  </a:lnTo>
                  <a:lnTo>
                    <a:pt x="12" y="38"/>
                  </a:lnTo>
                  <a:lnTo>
                    <a:pt x="0" y="70"/>
                  </a:lnTo>
                  <a:lnTo>
                    <a:pt x="0" y="70"/>
                  </a:lnTo>
                  <a:lnTo>
                    <a:pt x="10" y="66"/>
                  </a:lnTo>
                  <a:lnTo>
                    <a:pt x="10" y="66"/>
                  </a:lnTo>
                  <a:lnTo>
                    <a:pt x="20" y="34"/>
                  </a:lnTo>
                  <a:lnTo>
                    <a:pt x="24" y="18"/>
                  </a:lnTo>
                  <a:lnTo>
                    <a:pt x="26" y="0"/>
                  </a:lnTo>
                  <a:close/>
                </a:path>
              </a:pathLst>
            </a:custGeom>
            <a:solidFill>
              <a:srgbClr val="64091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78" name="Freeform 1969">
              <a:extLst>
                <a:ext uri="{FF2B5EF4-FFF2-40B4-BE49-F238E27FC236}">
                  <a16:creationId xmlns:a16="http://schemas.microsoft.com/office/drawing/2014/main" id="{3B21A49F-A15C-4642-B760-A69B3350A074}"/>
                </a:ext>
              </a:extLst>
            </p:cNvPr>
            <p:cNvSpPr>
              <a:spLocks/>
            </p:cNvSpPr>
            <p:nvPr/>
          </p:nvSpPr>
          <p:spPr bwMode="auto">
            <a:xfrm>
              <a:off x="10526129" y="4172813"/>
              <a:ext cx="46454" cy="125068"/>
            </a:xfrm>
            <a:custGeom>
              <a:avLst/>
              <a:gdLst>
                <a:gd name="T0" fmla="*/ 26 w 26"/>
                <a:gd name="T1" fmla="*/ 0 h 70"/>
                <a:gd name="T2" fmla="*/ 26 w 26"/>
                <a:gd name="T3" fmla="*/ 0 h 70"/>
                <a:gd name="T4" fmla="*/ 18 w 26"/>
                <a:gd name="T5" fmla="*/ 2 h 70"/>
                <a:gd name="T6" fmla="*/ 18 w 26"/>
                <a:gd name="T7" fmla="*/ 2 h 70"/>
                <a:gd name="T8" fmla="*/ 16 w 26"/>
                <a:gd name="T9" fmla="*/ 20 h 70"/>
                <a:gd name="T10" fmla="*/ 12 w 26"/>
                <a:gd name="T11" fmla="*/ 38 h 70"/>
                <a:gd name="T12" fmla="*/ 0 w 26"/>
                <a:gd name="T13" fmla="*/ 70 h 70"/>
                <a:gd name="T14" fmla="*/ 0 w 26"/>
                <a:gd name="T15" fmla="*/ 70 h 70"/>
                <a:gd name="T16" fmla="*/ 10 w 26"/>
                <a:gd name="T17" fmla="*/ 66 h 70"/>
                <a:gd name="T18" fmla="*/ 10 w 26"/>
                <a:gd name="T19" fmla="*/ 66 h 70"/>
                <a:gd name="T20" fmla="*/ 20 w 26"/>
                <a:gd name="T21" fmla="*/ 34 h 70"/>
                <a:gd name="T22" fmla="*/ 24 w 26"/>
                <a:gd name="T23" fmla="*/ 18 h 70"/>
                <a:gd name="T24" fmla="*/ 26 w 26"/>
                <a:gd name="T25"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 h="70">
                  <a:moveTo>
                    <a:pt x="26" y="0"/>
                  </a:moveTo>
                  <a:lnTo>
                    <a:pt x="26" y="0"/>
                  </a:lnTo>
                  <a:lnTo>
                    <a:pt x="18" y="2"/>
                  </a:lnTo>
                  <a:lnTo>
                    <a:pt x="18" y="2"/>
                  </a:lnTo>
                  <a:lnTo>
                    <a:pt x="16" y="20"/>
                  </a:lnTo>
                  <a:lnTo>
                    <a:pt x="12" y="38"/>
                  </a:lnTo>
                  <a:lnTo>
                    <a:pt x="0" y="70"/>
                  </a:lnTo>
                  <a:lnTo>
                    <a:pt x="0" y="70"/>
                  </a:lnTo>
                  <a:lnTo>
                    <a:pt x="10" y="66"/>
                  </a:lnTo>
                  <a:lnTo>
                    <a:pt x="10" y="66"/>
                  </a:lnTo>
                  <a:lnTo>
                    <a:pt x="20" y="34"/>
                  </a:lnTo>
                  <a:lnTo>
                    <a:pt x="24" y="18"/>
                  </a:lnTo>
                  <a:lnTo>
                    <a:pt x="2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79" name="Freeform 1971">
              <a:extLst>
                <a:ext uri="{FF2B5EF4-FFF2-40B4-BE49-F238E27FC236}">
                  <a16:creationId xmlns:a16="http://schemas.microsoft.com/office/drawing/2014/main" id="{DBE4BA34-FF7C-4466-AFB3-0718F75CA97F}"/>
                </a:ext>
              </a:extLst>
            </p:cNvPr>
            <p:cNvSpPr>
              <a:spLocks/>
            </p:cNvSpPr>
            <p:nvPr/>
          </p:nvSpPr>
          <p:spPr bwMode="auto">
            <a:xfrm>
              <a:off x="10358181" y="4033452"/>
              <a:ext cx="171522" cy="278723"/>
            </a:xfrm>
            <a:custGeom>
              <a:avLst/>
              <a:gdLst>
                <a:gd name="T0" fmla="*/ 82 w 96"/>
                <a:gd name="T1" fmla="*/ 0 h 156"/>
                <a:gd name="T2" fmla="*/ 82 w 96"/>
                <a:gd name="T3" fmla="*/ 0 h 156"/>
                <a:gd name="T4" fmla="*/ 74 w 96"/>
                <a:gd name="T5" fmla="*/ 4 h 156"/>
                <a:gd name="T6" fmla="*/ 74 w 96"/>
                <a:gd name="T7" fmla="*/ 4 h 156"/>
                <a:gd name="T8" fmla="*/ 74 w 96"/>
                <a:gd name="T9" fmla="*/ 4 h 156"/>
                <a:gd name="T10" fmla="*/ 62 w 96"/>
                <a:gd name="T11" fmla="*/ 14 h 156"/>
                <a:gd name="T12" fmla="*/ 50 w 96"/>
                <a:gd name="T13" fmla="*/ 24 h 156"/>
                <a:gd name="T14" fmla="*/ 40 w 96"/>
                <a:gd name="T15" fmla="*/ 34 h 156"/>
                <a:gd name="T16" fmla="*/ 32 w 96"/>
                <a:gd name="T17" fmla="*/ 46 h 156"/>
                <a:gd name="T18" fmla="*/ 16 w 96"/>
                <a:gd name="T19" fmla="*/ 70 h 156"/>
                <a:gd name="T20" fmla="*/ 4 w 96"/>
                <a:gd name="T21" fmla="*/ 94 h 156"/>
                <a:gd name="T22" fmla="*/ 4 w 96"/>
                <a:gd name="T23" fmla="*/ 94 h 156"/>
                <a:gd name="T24" fmla="*/ 2 w 96"/>
                <a:gd name="T25" fmla="*/ 102 h 156"/>
                <a:gd name="T26" fmla="*/ 0 w 96"/>
                <a:gd name="T27" fmla="*/ 112 h 156"/>
                <a:gd name="T28" fmla="*/ 0 w 96"/>
                <a:gd name="T29" fmla="*/ 112 h 156"/>
                <a:gd name="T30" fmla="*/ 2 w 96"/>
                <a:gd name="T31" fmla="*/ 120 h 156"/>
                <a:gd name="T32" fmla="*/ 4 w 96"/>
                <a:gd name="T33" fmla="*/ 128 h 156"/>
                <a:gd name="T34" fmla="*/ 8 w 96"/>
                <a:gd name="T35" fmla="*/ 136 h 156"/>
                <a:gd name="T36" fmla="*/ 12 w 96"/>
                <a:gd name="T37" fmla="*/ 142 h 156"/>
                <a:gd name="T38" fmla="*/ 12 w 96"/>
                <a:gd name="T39" fmla="*/ 142 h 156"/>
                <a:gd name="T40" fmla="*/ 20 w 96"/>
                <a:gd name="T41" fmla="*/ 148 h 156"/>
                <a:gd name="T42" fmla="*/ 26 w 96"/>
                <a:gd name="T43" fmla="*/ 152 h 156"/>
                <a:gd name="T44" fmla="*/ 34 w 96"/>
                <a:gd name="T45" fmla="*/ 154 h 156"/>
                <a:gd name="T46" fmla="*/ 44 w 96"/>
                <a:gd name="T47" fmla="*/ 156 h 156"/>
                <a:gd name="T48" fmla="*/ 44 w 96"/>
                <a:gd name="T49" fmla="*/ 156 h 156"/>
                <a:gd name="T50" fmla="*/ 50 w 96"/>
                <a:gd name="T51" fmla="*/ 156 h 156"/>
                <a:gd name="T52" fmla="*/ 50 w 96"/>
                <a:gd name="T53" fmla="*/ 156 h 156"/>
                <a:gd name="T54" fmla="*/ 52 w 96"/>
                <a:gd name="T55" fmla="*/ 156 h 156"/>
                <a:gd name="T56" fmla="*/ 52 w 96"/>
                <a:gd name="T57" fmla="*/ 156 h 156"/>
                <a:gd name="T58" fmla="*/ 52 w 96"/>
                <a:gd name="T59" fmla="*/ 156 h 156"/>
                <a:gd name="T60" fmla="*/ 52 w 96"/>
                <a:gd name="T61" fmla="*/ 156 h 156"/>
                <a:gd name="T62" fmla="*/ 72 w 96"/>
                <a:gd name="T63" fmla="*/ 154 h 156"/>
                <a:gd name="T64" fmla="*/ 72 w 96"/>
                <a:gd name="T65" fmla="*/ 154 h 156"/>
                <a:gd name="T66" fmla="*/ 74 w 96"/>
                <a:gd name="T67" fmla="*/ 150 h 156"/>
                <a:gd name="T68" fmla="*/ 74 w 96"/>
                <a:gd name="T69" fmla="*/ 150 h 156"/>
                <a:gd name="T70" fmla="*/ 88 w 96"/>
                <a:gd name="T71" fmla="*/ 118 h 156"/>
                <a:gd name="T72" fmla="*/ 92 w 96"/>
                <a:gd name="T73" fmla="*/ 100 h 156"/>
                <a:gd name="T74" fmla="*/ 96 w 96"/>
                <a:gd name="T75" fmla="*/ 82 h 156"/>
                <a:gd name="T76" fmla="*/ 96 w 96"/>
                <a:gd name="T77" fmla="*/ 82 h 156"/>
                <a:gd name="T78" fmla="*/ 92 w 96"/>
                <a:gd name="T79" fmla="*/ 82 h 156"/>
                <a:gd name="T80" fmla="*/ 84 w 96"/>
                <a:gd name="T81" fmla="*/ 82 h 156"/>
                <a:gd name="T82" fmla="*/ 84 w 96"/>
                <a:gd name="T83" fmla="*/ 74 h 156"/>
                <a:gd name="T84" fmla="*/ 84 w 96"/>
                <a:gd name="T85" fmla="*/ 74 h 156"/>
                <a:gd name="T86" fmla="*/ 82 w 96"/>
                <a:gd name="T87" fmla="*/ 62 h 156"/>
                <a:gd name="T88" fmla="*/ 80 w 96"/>
                <a:gd name="T89" fmla="*/ 30 h 156"/>
                <a:gd name="T90" fmla="*/ 80 w 96"/>
                <a:gd name="T91" fmla="*/ 30 h 156"/>
                <a:gd name="T92" fmla="*/ 82 w 96"/>
                <a:gd name="T93" fmla="*/ 0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96" h="156">
                  <a:moveTo>
                    <a:pt x="82" y="0"/>
                  </a:moveTo>
                  <a:lnTo>
                    <a:pt x="82" y="0"/>
                  </a:lnTo>
                  <a:lnTo>
                    <a:pt x="74" y="4"/>
                  </a:lnTo>
                  <a:lnTo>
                    <a:pt x="74" y="4"/>
                  </a:lnTo>
                  <a:lnTo>
                    <a:pt x="74" y="4"/>
                  </a:lnTo>
                  <a:lnTo>
                    <a:pt x="62" y="14"/>
                  </a:lnTo>
                  <a:lnTo>
                    <a:pt x="50" y="24"/>
                  </a:lnTo>
                  <a:lnTo>
                    <a:pt x="40" y="34"/>
                  </a:lnTo>
                  <a:lnTo>
                    <a:pt x="32" y="46"/>
                  </a:lnTo>
                  <a:lnTo>
                    <a:pt x="16" y="70"/>
                  </a:lnTo>
                  <a:lnTo>
                    <a:pt x="4" y="94"/>
                  </a:lnTo>
                  <a:lnTo>
                    <a:pt x="4" y="94"/>
                  </a:lnTo>
                  <a:lnTo>
                    <a:pt x="2" y="102"/>
                  </a:lnTo>
                  <a:lnTo>
                    <a:pt x="0" y="112"/>
                  </a:lnTo>
                  <a:lnTo>
                    <a:pt x="0" y="112"/>
                  </a:lnTo>
                  <a:lnTo>
                    <a:pt x="2" y="120"/>
                  </a:lnTo>
                  <a:lnTo>
                    <a:pt x="4" y="128"/>
                  </a:lnTo>
                  <a:lnTo>
                    <a:pt x="8" y="136"/>
                  </a:lnTo>
                  <a:lnTo>
                    <a:pt x="12" y="142"/>
                  </a:lnTo>
                  <a:lnTo>
                    <a:pt x="12" y="142"/>
                  </a:lnTo>
                  <a:lnTo>
                    <a:pt x="20" y="148"/>
                  </a:lnTo>
                  <a:lnTo>
                    <a:pt x="26" y="152"/>
                  </a:lnTo>
                  <a:lnTo>
                    <a:pt x="34" y="154"/>
                  </a:lnTo>
                  <a:lnTo>
                    <a:pt x="44" y="156"/>
                  </a:lnTo>
                  <a:lnTo>
                    <a:pt x="44" y="156"/>
                  </a:lnTo>
                  <a:lnTo>
                    <a:pt x="50" y="156"/>
                  </a:lnTo>
                  <a:lnTo>
                    <a:pt x="50" y="156"/>
                  </a:lnTo>
                  <a:lnTo>
                    <a:pt x="52" y="156"/>
                  </a:lnTo>
                  <a:lnTo>
                    <a:pt x="52" y="156"/>
                  </a:lnTo>
                  <a:lnTo>
                    <a:pt x="52" y="156"/>
                  </a:lnTo>
                  <a:lnTo>
                    <a:pt x="52" y="156"/>
                  </a:lnTo>
                  <a:lnTo>
                    <a:pt x="72" y="154"/>
                  </a:lnTo>
                  <a:lnTo>
                    <a:pt x="72" y="154"/>
                  </a:lnTo>
                  <a:lnTo>
                    <a:pt x="74" y="150"/>
                  </a:lnTo>
                  <a:lnTo>
                    <a:pt x="74" y="150"/>
                  </a:lnTo>
                  <a:lnTo>
                    <a:pt x="88" y="118"/>
                  </a:lnTo>
                  <a:lnTo>
                    <a:pt x="92" y="100"/>
                  </a:lnTo>
                  <a:lnTo>
                    <a:pt x="96" y="82"/>
                  </a:lnTo>
                  <a:lnTo>
                    <a:pt x="96" y="82"/>
                  </a:lnTo>
                  <a:lnTo>
                    <a:pt x="92" y="82"/>
                  </a:lnTo>
                  <a:lnTo>
                    <a:pt x="84" y="82"/>
                  </a:lnTo>
                  <a:lnTo>
                    <a:pt x="84" y="74"/>
                  </a:lnTo>
                  <a:lnTo>
                    <a:pt x="84" y="74"/>
                  </a:lnTo>
                  <a:lnTo>
                    <a:pt x="82" y="62"/>
                  </a:lnTo>
                  <a:lnTo>
                    <a:pt x="80" y="30"/>
                  </a:lnTo>
                  <a:lnTo>
                    <a:pt x="80" y="30"/>
                  </a:lnTo>
                  <a:lnTo>
                    <a:pt x="8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80" name="Freeform 1972">
              <a:extLst>
                <a:ext uri="{FF2B5EF4-FFF2-40B4-BE49-F238E27FC236}">
                  <a16:creationId xmlns:a16="http://schemas.microsoft.com/office/drawing/2014/main" id="{E6C6AB9A-9D90-4D1B-809D-F091F7BA7B96}"/>
                </a:ext>
              </a:extLst>
            </p:cNvPr>
            <p:cNvSpPr>
              <a:spLocks/>
            </p:cNvSpPr>
            <p:nvPr/>
          </p:nvSpPr>
          <p:spPr bwMode="auto">
            <a:xfrm>
              <a:off x="10486822" y="4176387"/>
              <a:ext cx="57174" cy="132215"/>
            </a:xfrm>
            <a:custGeom>
              <a:avLst/>
              <a:gdLst>
                <a:gd name="T0" fmla="*/ 32 w 32"/>
                <a:gd name="T1" fmla="*/ 0 h 74"/>
                <a:gd name="T2" fmla="*/ 32 w 32"/>
                <a:gd name="T3" fmla="*/ 0 h 74"/>
                <a:gd name="T4" fmla="*/ 24 w 32"/>
                <a:gd name="T5" fmla="*/ 2 h 74"/>
                <a:gd name="T6" fmla="*/ 24 w 32"/>
                <a:gd name="T7" fmla="*/ 2 h 74"/>
                <a:gd name="T8" fmla="*/ 20 w 32"/>
                <a:gd name="T9" fmla="*/ 20 h 74"/>
                <a:gd name="T10" fmla="*/ 16 w 32"/>
                <a:gd name="T11" fmla="*/ 38 h 74"/>
                <a:gd name="T12" fmla="*/ 2 w 32"/>
                <a:gd name="T13" fmla="*/ 70 h 74"/>
                <a:gd name="T14" fmla="*/ 2 w 32"/>
                <a:gd name="T15" fmla="*/ 70 h 74"/>
                <a:gd name="T16" fmla="*/ 0 w 32"/>
                <a:gd name="T17" fmla="*/ 74 h 74"/>
                <a:gd name="T18" fmla="*/ 0 w 32"/>
                <a:gd name="T19" fmla="*/ 74 h 74"/>
                <a:gd name="T20" fmla="*/ 4 w 32"/>
                <a:gd name="T21" fmla="*/ 74 h 74"/>
                <a:gd name="T22" fmla="*/ 4 w 32"/>
                <a:gd name="T23" fmla="*/ 74 h 74"/>
                <a:gd name="T24" fmla="*/ 12 w 32"/>
                <a:gd name="T25" fmla="*/ 72 h 74"/>
                <a:gd name="T26" fmla="*/ 12 w 32"/>
                <a:gd name="T27" fmla="*/ 72 h 74"/>
                <a:gd name="T28" fmla="*/ 18 w 32"/>
                <a:gd name="T29" fmla="*/ 56 h 74"/>
                <a:gd name="T30" fmla="*/ 24 w 32"/>
                <a:gd name="T31" fmla="*/ 38 h 74"/>
                <a:gd name="T32" fmla="*/ 30 w 32"/>
                <a:gd name="T33" fmla="*/ 20 h 74"/>
                <a:gd name="T34" fmla="*/ 32 w 32"/>
                <a:gd name="T35" fmla="*/ 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2" h="74">
                  <a:moveTo>
                    <a:pt x="32" y="0"/>
                  </a:moveTo>
                  <a:lnTo>
                    <a:pt x="32" y="0"/>
                  </a:lnTo>
                  <a:lnTo>
                    <a:pt x="24" y="2"/>
                  </a:lnTo>
                  <a:lnTo>
                    <a:pt x="24" y="2"/>
                  </a:lnTo>
                  <a:lnTo>
                    <a:pt x="20" y="20"/>
                  </a:lnTo>
                  <a:lnTo>
                    <a:pt x="16" y="38"/>
                  </a:lnTo>
                  <a:lnTo>
                    <a:pt x="2" y="70"/>
                  </a:lnTo>
                  <a:lnTo>
                    <a:pt x="2" y="70"/>
                  </a:lnTo>
                  <a:lnTo>
                    <a:pt x="0" y="74"/>
                  </a:lnTo>
                  <a:lnTo>
                    <a:pt x="0" y="74"/>
                  </a:lnTo>
                  <a:lnTo>
                    <a:pt x="4" y="74"/>
                  </a:lnTo>
                  <a:lnTo>
                    <a:pt x="4" y="74"/>
                  </a:lnTo>
                  <a:lnTo>
                    <a:pt x="12" y="72"/>
                  </a:lnTo>
                  <a:lnTo>
                    <a:pt x="12" y="72"/>
                  </a:lnTo>
                  <a:lnTo>
                    <a:pt x="18" y="56"/>
                  </a:lnTo>
                  <a:lnTo>
                    <a:pt x="24" y="38"/>
                  </a:lnTo>
                  <a:lnTo>
                    <a:pt x="30" y="20"/>
                  </a:lnTo>
                  <a:lnTo>
                    <a:pt x="32" y="0"/>
                  </a:lnTo>
                  <a:close/>
                </a:path>
              </a:pathLst>
            </a:custGeom>
            <a:solidFill>
              <a:srgbClr val="90833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81" name="Freeform 1973">
              <a:extLst>
                <a:ext uri="{FF2B5EF4-FFF2-40B4-BE49-F238E27FC236}">
                  <a16:creationId xmlns:a16="http://schemas.microsoft.com/office/drawing/2014/main" id="{C84ED1E6-9356-4929-853B-9A4E81DD60BB}"/>
                </a:ext>
              </a:extLst>
            </p:cNvPr>
            <p:cNvSpPr>
              <a:spLocks/>
            </p:cNvSpPr>
            <p:nvPr/>
          </p:nvSpPr>
          <p:spPr bwMode="auto">
            <a:xfrm>
              <a:off x="10486822" y="4176387"/>
              <a:ext cx="57174" cy="132215"/>
            </a:xfrm>
            <a:custGeom>
              <a:avLst/>
              <a:gdLst>
                <a:gd name="T0" fmla="*/ 32 w 32"/>
                <a:gd name="T1" fmla="*/ 0 h 74"/>
                <a:gd name="T2" fmla="*/ 32 w 32"/>
                <a:gd name="T3" fmla="*/ 0 h 74"/>
                <a:gd name="T4" fmla="*/ 24 w 32"/>
                <a:gd name="T5" fmla="*/ 2 h 74"/>
                <a:gd name="T6" fmla="*/ 24 w 32"/>
                <a:gd name="T7" fmla="*/ 2 h 74"/>
                <a:gd name="T8" fmla="*/ 20 w 32"/>
                <a:gd name="T9" fmla="*/ 20 h 74"/>
                <a:gd name="T10" fmla="*/ 16 w 32"/>
                <a:gd name="T11" fmla="*/ 38 h 74"/>
                <a:gd name="T12" fmla="*/ 2 w 32"/>
                <a:gd name="T13" fmla="*/ 70 h 74"/>
                <a:gd name="T14" fmla="*/ 2 w 32"/>
                <a:gd name="T15" fmla="*/ 70 h 74"/>
                <a:gd name="T16" fmla="*/ 0 w 32"/>
                <a:gd name="T17" fmla="*/ 74 h 74"/>
                <a:gd name="T18" fmla="*/ 0 w 32"/>
                <a:gd name="T19" fmla="*/ 74 h 74"/>
                <a:gd name="T20" fmla="*/ 4 w 32"/>
                <a:gd name="T21" fmla="*/ 74 h 74"/>
                <a:gd name="T22" fmla="*/ 4 w 32"/>
                <a:gd name="T23" fmla="*/ 74 h 74"/>
                <a:gd name="T24" fmla="*/ 12 w 32"/>
                <a:gd name="T25" fmla="*/ 72 h 74"/>
                <a:gd name="T26" fmla="*/ 12 w 32"/>
                <a:gd name="T27" fmla="*/ 72 h 74"/>
                <a:gd name="T28" fmla="*/ 18 w 32"/>
                <a:gd name="T29" fmla="*/ 56 h 74"/>
                <a:gd name="T30" fmla="*/ 24 w 32"/>
                <a:gd name="T31" fmla="*/ 38 h 74"/>
                <a:gd name="T32" fmla="*/ 30 w 32"/>
                <a:gd name="T33" fmla="*/ 20 h 74"/>
                <a:gd name="T34" fmla="*/ 32 w 32"/>
                <a:gd name="T35" fmla="*/ 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2" h="74">
                  <a:moveTo>
                    <a:pt x="32" y="0"/>
                  </a:moveTo>
                  <a:lnTo>
                    <a:pt x="32" y="0"/>
                  </a:lnTo>
                  <a:lnTo>
                    <a:pt x="24" y="2"/>
                  </a:lnTo>
                  <a:lnTo>
                    <a:pt x="24" y="2"/>
                  </a:lnTo>
                  <a:lnTo>
                    <a:pt x="20" y="20"/>
                  </a:lnTo>
                  <a:lnTo>
                    <a:pt x="16" y="38"/>
                  </a:lnTo>
                  <a:lnTo>
                    <a:pt x="2" y="70"/>
                  </a:lnTo>
                  <a:lnTo>
                    <a:pt x="2" y="70"/>
                  </a:lnTo>
                  <a:lnTo>
                    <a:pt x="0" y="74"/>
                  </a:lnTo>
                  <a:lnTo>
                    <a:pt x="0" y="74"/>
                  </a:lnTo>
                  <a:lnTo>
                    <a:pt x="4" y="74"/>
                  </a:lnTo>
                  <a:lnTo>
                    <a:pt x="4" y="74"/>
                  </a:lnTo>
                  <a:lnTo>
                    <a:pt x="12" y="72"/>
                  </a:lnTo>
                  <a:lnTo>
                    <a:pt x="12" y="72"/>
                  </a:lnTo>
                  <a:lnTo>
                    <a:pt x="18" y="56"/>
                  </a:lnTo>
                  <a:lnTo>
                    <a:pt x="24" y="38"/>
                  </a:lnTo>
                  <a:lnTo>
                    <a:pt x="30" y="20"/>
                  </a:lnTo>
                  <a:lnTo>
                    <a:pt x="3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82" name="Freeform 1974">
              <a:extLst>
                <a:ext uri="{FF2B5EF4-FFF2-40B4-BE49-F238E27FC236}">
                  <a16:creationId xmlns:a16="http://schemas.microsoft.com/office/drawing/2014/main" id="{EF18AC23-8448-45AC-B2F3-9A786F020BF7}"/>
                </a:ext>
              </a:extLst>
            </p:cNvPr>
            <p:cNvSpPr>
              <a:spLocks/>
            </p:cNvSpPr>
            <p:nvPr/>
          </p:nvSpPr>
          <p:spPr bwMode="auto">
            <a:xfrm>
              <a:off x="10508262" y="4176387"/>
              <a:ext cx="50027" cy="128641"/>
            </a:xfrm>
            <a:custGeom>
              <a:avLst/>
              <a:gdLst>
                <a:gd name="T0" fmla="*/ 28 w 28"/>
                <a:gd name="T1" fmla="*/ 0 h 72"/>
                <a:gd name="T2" fmla="*/ 28 w 28"/>
                <a:gd name="T3" fmla="*/ 0 h 72"/>
                <a:gd name="T4" fmla="*/ 20 w 28"/>
                <a:gd name="T5" fmla="*/ 0 h 72"/>
                <a:gd name="T6" fmla="*/ 20 w 28"/>
                <a:gd name="T7" fmla="*/ 0 h 72"/>
                <a:gd name="T8" fmla="*/ 18 w 28"/>
                <a:gd name="T9" fmla="*/ 20 h 72"/>
                <a:gd name="T10" fmla="*/ 12 w 28"/>
                <a:gd name="T11" fmla="*/ 38 h 72"/>
                <a:gd name="T12" fmla="*/ 6 w 28"/>
                <a:gd name="T13" fmla="*/ 56 h 72"/>
                <a:gd name="T14" fmla="*/ 0 w 28"/>
                <a:gd name="T15" fmla="*/ 72 h 72"/>
                <a:gd name="T16" fmla="*/ 0 w 28"/>
                <a:gd name="T17" fmla="*/ 72 h 72"/>
                <a:gd name="T18" fmla="*/ 10 w 28"/>
                <a:gd name="T19" fmla="*/ 68 h 72"/>
                <a:gd name="T20" fmla="*/ 10 w 28"/>
                <a:gd name="T21" fmla="*/ 68 h 72"/>
                <a:gd name="T22" fmla="*/ 22 w 28"/>
                <a:gd name="T23" fmla="*/ 36 h 72"/>
                <a:gd name="T24" fmla="*/ 26 w 28"/>
                <a:gd name="T25" fmla="*/ 18 h 72"/>
                <a:gd name="T26" fmla="*/ 28 w 28"/>
                <a:gd name="T27" fmla="*/ 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 h="72">
                  <a:moveTo>
                    <a:pt x="28" y="0"/>
                  </a:moveTo>
                  <a:lnTo>
                    <a:pt x="28" y="0"/>
                  </a:lnTo>
                  <a:lnTo>
                    <a:pt x="20" y="0"/>
                  </a:lnTo>
                  <a:lnTo>
                    <a:pt x="20" y="0"/>
                  </a:lnTo>
                  <a:lnTo>
                    <a:pt x="18" y="20"/>
                  </a:lnTo>
                  <a:lnTo>
                    <a:pt x="12" y="38"/>
                  </a:lnTo>
                  <a:lnTo>
                    <a:pt x="6" y="56"/>
                  </a:lnTo>
                  <a:lnTo>
                    <a:pt x="0" y="72"/>
                  </a:lnTo>
                  <a:lnTo>
                    <a:pt x="0" y="72"/>
                  </a:lnTo>
                  <a:lnTo>
                    <a:pt x="10" y="68"/>
                  </a:lnTo>
                  <a:lnTo>
                    <a:pt x="10" y="68"/>
                  </a:lnTo>
                  <a:lnTo>
                    <a:pt x="22" y="36"/>
                  </a:lnTo>
                  <a:lnTo>
                    <a:pt x="26" y="18"/>
                  </a:lnTo>
                  <a:lnTo>
                    <a:pt x="28" y="0"/>
                  </a:lnTo>
                  <a:close/>
                </a:path>
              </a:pathLst>
            </a:custGeom>
            <a:solidFill>
              <a:srgbClr val="64091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83" name="Freeform 1975">
              <a:extLst>
                <a:ext uri="{FF2B5EF4-FFF2-40B4-BE49-F238E27FC236}">
                  <a16:creationId xmlns:a16="http://schemas.microsoft.com/office/drawing/2014/main" id="{004C6609-0B39-4C31-8DEF-24EBCCA0E22B}"/>
                </a:ext>
              </a:extLst>
            </p:cNvPr>
            <p:cNvSpPr>
              <a:spLocks/>
            </p:cNvSpPr>
            <p:nvPr/>
          </p:nvSpPr>
          <p:spPr bwMode="auto">
            <a:xfrm>
              <a:off x="10508262" y="4176387"/>
              <a:ext cx="50027" cy="128641"/>
            </a:xfrm>
            <a:custGeom>
              <a:avLst/>
              <a:gdLst>
                <a:gd name="T0" fmla="*/ 28 w 28"/>
                <a:gd name="T1" fmla="*/ 0 h 72"/>
                <a:gd name="T2" fmla="*/ 28 w 28"/>
                <a:gd name="T3" fmla="*/ 0 h 72"/>
                <a:gd name="T4" fmla="*/ 20 w 28"/>
                <a:gd name="T5" fmla="*/ 0 h 72"/>
                <a:gd name="T6" fmla="*/ 20 w 28"/>
                <a:gd name="T7" fmla="*/ 0 h 72"/>
                <a:gd name="T8" fmla="*/ 18 w 28"/>
                <a:gd name="T9" fmla="*/ 20 h 72"/>
                <a:gd name="T10" fmla="*/ 12 w 28"/>
                <a:gd name="T11" fmla="*/ 38 h 72"/>
                <a:gd name="T12" fmla="*/ 6 w 28"/>
                <a:gd name="T13" fmla="*/ 56 h 72"/>
                <a:gd name="T14" fmla="*/ 0 w 28"/>
                <a:gd name="T15" fmla="*/ 72 h 72"/>
                <a:gd name="T16" fmla="*/ 0 w 28"/>
                <a:gd name="T17" fmla="*/ 72 h 72"/>
                <a:gd name="T18" fmla="*/ 10 w 28"/>
                <a:gd name="T19" fmla="*/ 68 h 72"/>
                <a:gd name="T20" fmla="*/ 10 w 28"/>
                <a:gd name="T21" fmla="*/ 68 h 72"/>
                <a:gd name="T22" fmla="*/ 22 w 28"/>
                <a:gd name="T23" fmla="*/ 36 h 72"/>
                <a:gd name="T24" fmla="*/ 26 w 28"/>
                <a:gd name="T25" fmla="*/ 18 h 72"/>
                <a:gd name="T26" fmla="*/ 28 w 28"/>
                <a:gd name="T27" fmla="*/ 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 h="72">
                  <a:moveTo>
                    <a:pt x="28" y="0"/>
                  </a:moveTo>
                  <a:lnTo>
                    <a:pt x="28" y="0"/>
                  </a:lnTo>
                  <a:lnTo>
                    <a:pt x="20" y="0"/>
                  </a:lnTo>
                  <a:lnTo>
                    <a:pt x="20" y="0"/>
                  </a:lnTo>
                  <a:lnTo>
                    <a:pt x="18" y="20"/>
                  </a:lnTo>
                  <a:lnTo>
                    <a:pt x="12" y="38"/>
                  </a:lnTo>
                  <a:lnTo>
                    <a:pt x="6" y="56"/>
                  </a:lnTo>
                  <a:lnTo>
                    <a:pt x="0" y="72"/>
                  </a:lnTo>
                  <a:lnTo>
                    <a:pt x="0" y="72"/>
                  </a:lnTo>
                  <a:lnTo>
                    <a:pt x="10" y="68"/>
                  </a:lnTo>
                  <a:lnTo>
                    <a:pt x="10" y="68"/>
                  </a:lnTo>
                  <a:lnTo>
                    <a:pt x="22" y="36"/>
                  </a:lnTo>
                  <a:lnTo>
                    <a:pt x="26" y="18"/>
                  </a:lnTo>
                  <a:lnTo>
                    <a:pt x="2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84" name="Freeform 1976">
              <a:extLst>
                <a:ext uri="{FF2B5EF4-FFF2-40B4-BE49-F238E27FC236}">
                  <a16:creationId xmlns:a16="http://schemas.microsoft.com/office/drawing/2014/main" id="{72F266AD-A26E-4D26-A453-7DB0DAF9CC17}"/>
                </a:ext>
              </a:extLst>
            </p:cNvPr>
            <p:cNvSpPr>
              <a:spLocks/>
            </p:cNvSpPr>
            <p:nvPr/>
          </p:nvSpPr>
          <p:spPr bwMode="auto">
            <a:xfrm>
              <a:off x="10493969" y="4276441"/>
              <a:ext cx="117921" cy="32160"/>
            </a:xfrm>
            <a:custGeom>
              <a:avLst/>
              <a:gdLst>
                <a:gd name="T0" fmla="*/ 66 w 66"/>
                <a:gd name="T1" fmla="*/ 0 h 18"/>
                <a:gd name="T2" fmla="*/ 66 w 66"/>
                <a:gd name="T3" fmla="*/ 0 h 18"/>
                <a:gd name="T4" fmla="*/ 46 w 66"/>
                <a:gd name="T5" fmla="*/ 4 h 18"/>
                <a:gd name="T6" fmla="*/ 28 w 66"/>
                <a:gd name="T7" fmla="*/ 8 h 18"/>
                <a:gd name="T8" fmla="*/ 28 w 66"/>
                <a:gd name="T9" fmla="*/ 8 h 18"/>
                <a:gd name="T10" fmla="*/ 18 w 66"/>
                <a:gd name="T11" fmla="*/ 12 h 18"/>
                <a:gd name="T12" fmla="*/ 18 w 66"/>
                <a:gd name="T13" fmla="*/ 12 h 18"/>
                <a:gd name="T14" fmla="*/ 8 w 66"/>
                <a:gd name="T15" fmla="*/ 16 h 18"/>
                <a:gd name="T16" fmla="*/ 8 w 66"/>
                <a:gd name="T17" fmla="*/ 16 h 18"/>
                <a:gd name="T18" fmla="*/ 0 w 66"/>
                <a:gd name="T19" fmla="*/ 18 h 18"/>
                <a:gd name="T20" fmla="*/ 0 w 66"/>
                <a:gd name="T21" fmla="*/ 18 h 18"/>
                <a:gd name="T22" fmla="*/ 18 w 66"/>
                <a:gd name="T23" fmla="*/ 16 h 18"/>
                <a:gd name="T24" fmla="*/ 34 w 66"/>
                <a:gd name="T25" fmla="*/ 12 h 18"/>
                <a:gd name="T26" fmla="*/ 50 w 66"/>
                <a:gd name="T27" fmla="*/ 8 h 18"/>
                <a:gd name="T28" fmla="*/ 66 w 66"/>
                <a:gd name="T2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6" h="18">
                  <a:moveTo>
                    <a:pt x="66" y="0"/>
                  </a:moveTo>
                  <a:lnTo>
                    <a:pt x="66" y="0"/>
                  </a:lnTo>
                  <a:lnTo>
                    <a:pt x="46" y="4"/>
                  </a:lnTo>
                  <a:lnTo>
                    <a:pt x="28" y="8"/>
                  </a:lnTo>
                  <a:lnTo>
                    <a:pt x="28" y="8"/>
                  </a:lnTo>
                  <a:lnTo>
                    <a:pt x="18" y="12"/>
                  </a:lnTo>
                  <a:lnTo>
                    <a:pt x="18" y="12"/>
                  </a:lnTo>
                  <a:lnTo>
                    <a:pt x="8" y="16"/>
                  </a:lnTo>
                  <a:lnTo>
                    <a:pt x="8" y="16"/>
                  </a:lnTo>
                  <a:lnTo>
                    <a:pt x="0" y="18"/>
                  </a:lnTo>
                  <a:lnTo>
                    <a:pt x="0" y="18"/>
                  </a:lnTo>
                  <a:lnTo>
                    <a:pt x="18" y="16"/>
                  </a:lnTo>
                  <a:lnTo>
                    <a:pt x="34" y="12"/>
                  </a:lnTo>
                  <a:lnTo>
                    <a:pt x="50" y="8"/>
                  </a:lnTo>
                  <a:lnTo>
                    <a:pt x="66" y="0"/>
                  </a:lnTo>
                  <a:close/>
                </a:path>
              </a:pathLst>
            </a:custGeom>
            <a:solidFill>
              <a:srgbClr val="64091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85" name="Freeform 1977">
              <a:extLst>
                <a:ext uri="{FF2B5EF4-FFF2-40B4-BE49-F238E27FC236}">
                  <a16:creationId xmlns:a16="http://schemas.microsoft.com/office/drawing/2014/main" id="{54AA6FF9-866B-4CBB-99EE-0D13F871571B}"/>
                </a:ext>
              </a:extLst>
            </p:cNvPr>
            <p:cNvSpPr>
              <a:spLocks/>
            </p:cNvSpPr>
            <p:nvPr/>
          </p:nvSpPr>
          <p:spPr bwMode="auto">
            <a:xfrm>
              <a:off x="10493969" y="4276441"/>
              <a:ext cx="117921" cy="32160"/>
            </a:xfrm>
            <a:custGeom>
              <a:avLst/>
              <a:gdLst>
                <a:gd name="T0" fmla="*/ 66 w 66"/>
                <a:gd name="T1" fmla="*/ 0 h 18"/>
                <a:gd name="T2" fmla="*/ 66 w 66"/>
                <a:gd name="T3" fmla="*/ 0 h 18"/>
                <a:gd name="T4" fmla="*/ 46 w 66"/>
                <a:gd name="T5" fmla="*/ 4 h 18"/>
                <a:gd name="T6" fmla="*/ 28 w 66"/>
                <a:gd name="T7" fmla="*/ 8 h 18"/>
                <a:gd name="T8" fmla="*/ 28 w 66"/>
                <a:gd name="T9" fmla="*/ 8 h 18"/>
                <a:gd name="T10" fmla="*/ 18 w 66"/>
                <a:gd name="T11" fmla="*/ 12 h 18"/>
                <a:gd name="T12" fmla="*/ 18 w 66"/>
                <a:gd name="T13" fmla="*/ 12 h 18"/>
                <a:gd name="T14" fmla="*/ 8 w 66"/>
                <a:gd name="T15" fmla="*/ 16 h 18"/>
                <a:gd name="T16" fmla="*/ 8 w 66"/>
                <a:gd name="T17" fmla="*/ 16 h 18"/>
                <a:gd name="T18" fmla="*/ 0 w 66"/>
                <a:gd name="T19" fmla="*/ 18 h 18"/>
                <a:gd name="T20" fmla="*/ 0 w 66"/>
                <a:gd name="T21" fmla="*/ 18 h 18"/>
                <a:gd name="T22" fmla="*/ 18 w 66"/>
                <a:gd name="T23" fmla="*/ 16 h 18"/>
                <a:gd name="T24" fmla="*/ 34 w 66"/>
                <a:gd name="T25" fmla="*/ 12 h 18"/>
                <a:gd name="T26" fmla="*/ 50 w 66"/>
                <a:gd name="T27" fmla="*/ 8 h 18"/>
                <a:gd name="T28" fmla="*/ 66 w 66"/>
                <a:gd name="T2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6" h="18">
                  <a:moveTo>
                    <a:pt x="66" y="0"/>
                  </a:moveTo>
                  <a:lnTo>
                    <a:pt x="66" y="0"/>
                  </a:lnTo>
                  <a:lnTo>
                    <a:pt x="46" y="4"/>
                  </a:lnTo>
                  <a:lnTo>
                    <a:pt x="28" y="8"/>
                  </a:lnTo>
                  <a:lnTo>
                    <a:pt x="28" y="8"/>
                  </a:lnTo>
                  <a:lnTo>
                    <a:pt x="18" y="12"/>
                  </a:lnTo>
                  <a:lnTo>
                    <a:pt x="18" y="12"/>
                  </a:lnTo>
                  <a:lnTo>
                    <a:pt x="8" y="16"/>
                  </a:lnTo>
                  <a:lnTo>
                    <a:pt x="8" y="16"/>
                  </a:lnTo>
                  <a:lnTo>
                    <a:pt x="0" y="18"/>
                  </a:lnTo>
                  <a:lnTo>
                    <a:pt x="0" y="18"/>
                  </a:lnTo>
                  <a:lnTo>
                    <a:pt x="18" y="16"/>
                  </a:lnTo>
                  <a:lnTo>
                    <a:pt x="34" y="12"/>
                  </a:lnTo>
                  <a:lnTo>
                    <a:pt x="50" y="8"/>
                  </a:lnTo>
                  <a:lnTo>
                    <a:pt x="6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86" name="Freeform 1979">
              <a:extLst>
                <a:ext uri="{FF2B5EF4-FFF2-40B4-BE49-F238E27FC236}">
                  <a16:creationId xmlns:a16="http://schemas.microsoft.com/office/drawing/2014/main" id="{E442DAF9-7D92-45F6-8C67-909DA8BF5CC8}"/>
                </a:ext>
              </a:extLst>
            </p:cNvPr>
            <p:cNvSpPr>
              <a:spLocks/>
            </p:cNvSpPr>
            <p:nvPr/>
          </p:nvSpPr>
          <p:spPr bwMode="auto">
            <a:xfrm>
              <a:off x="10529702" y="3994145"/>
              <a:ext cx="232269" cy="153655"/>
            </a:xfrm>
            <a:custGeom>
              <a:avLst/>
              <a:gdLst>
                <a:gd name="T0" fmla="*/ 82 w 130"/>
                <a:gd name="T1" fmla="*/ 0 h 86"/>
                <a:gd name="T2" fmla="*/ 82 w 130"/>
                <a:gd name="T3" fmla="*/ 0 h 86"/>
                <a:gd name="T4" fmla="*/ 80 w 130"/>
                <a:gd name="T5" fmla="*/ 0 h 86"/>
                <a:gd name="T6" fmla="*/ 80 w 130"/>
                <a:gd name="T7" fmla="*/ 0 h 86"/>
                <a:gd name="T8" fmla="*/ 80 w 130"/>
                <a:gd name="T9" fmla="*/ 0 h 86"/>
                <a:gd name="T10" fmla="*/ 80 w 130"/>
                <a:gd name="T11" fmla="*/ 0 h 86"/>
                <a:gd name="T12" fmla="*/ 62 w 130"/>
                <a:gd name="T13" fmla="*/ 0 h 86"/>
                <a:gd name="T14" fmla="*/ 42 w 130"/>
                <a:gd name="T15" fmla="*/ 4 h 86"/>
                <a:gd name="T16" fmla="*/ 22 w 130"/>
                <a:gd name="T17" fmla="*/ 8 h 86"/>
                <a:gd name="T18" fmla="*/ 2 w 130"/>
                <a:gd name="T19" fmla="*/ 14 h 86"/>
                <a:gd name="T20" fmla="*/ 2 w 130"/>
                <a:gd name="T21" fmla="*/ 14 h 86"/>
                <a:gd name="T22" fmla="*/ 0 w 130"/>
                <a:gd name="T23" fmla="*/ 34 h 86"/>
                <a:gd name="T24" fmla="*/ 0 w 130"/>
                <a:gd name="T25" fmla="*/ 52 h 86"/>
                <a:gd name="T26" fmla="*/ 0 w 130"/>
                <a:gd name="T27" fmla="*/ 52 h 86"/>
                <a:gd name="T28" fmla="*/ 0 w 130"/>
                <a:gd name="T29" fmla="*/ 72 h 86"/>
                <a:gd name="T30" fmla="*/ 2 w 130"/>
                <a:gd name="T31" fmla="*/ 86 h 86"/>
                <a:gd name="T32" fmla="*/ 2 w 130"/>
                <a:gd name="T33" fmla="*/ 86 h 86"/>
                <a:gd name="T34" fmla="*/ 12 w 130"/>
                <a:gd name="T35" fmla="*/ 86 h 86"/>
                <a:gd name="T36" fmla="*/ 12 w 130"/>
                <a:gd name="T37" fmla="*/ 86 h 86"/>
                <a:gd name="T38" fmla="*/ 30 w 130"/>
                <a:gd name="T39" fmla="*/ 82 h 86"/>
                <a:gd name="T40" fmla="*/ 54 w 130"/>
                <a:gd name="T41" fmla="*/ 76 h 86"/>
                <a:gd name="T42" fmla="*/ 54 w 130"/>
                <a:gd name="T43" fmla="*/ 76 h 86"/>
                <a:gd name="T44" fmla="*/ 74 w 130"/>
                <a:gd name="T45" fmla="*/ 70 h 86"/>
                <a:gd name="T46" fmla="*/ 92 w 130"/>
                <a:gd name="T47" fmla="*/ 62 h 86"/>
                <a:gd name="T48" fmla="*/ 112 w 130"/>
                <a:gd name="T49" fmla="*/ 52 h 86"/>
                <a:gd name="T50" fmla="*/ 130 w 130"/>
                <a:gd name="T51" fmla="*/ 38 h 86"/>
                <a:gd name="T52" fmla="*/ 130 w 130"/>
                <a:gd name="T53" fmla="*/ 38 h 86"/>
                <a:gd name="T54" fmla="*/ 126 w 130"/>
                <a:gd name="T55" fmla="*/ 26 h 86"/>
                <a:gd name="T56" fmla="*/ 118 w 130"/>
                <a:gd name="T57" fmla="*/ 14 h 86"/>
                <a:gd name="T58" fmla="*/ 118 w 130"/>
                <a:gd name="T59" fmla="*/ 14 h 86"/>
                <a:gd name="T60" fmla="*/ 112 w 130"/>
                <a:gd name="T61" fmla="*/ 8 h 86"/>
                <a:gd name="T62" fmla="*/ 106 w 130"/>
                <a:gd name="T63" fmla="*/ 4 h 86"/>
                <a:gd name="T64" fmla="*/ 98 w 130"/>
                <a:gd name="T65" fmla="*/ 2 h 86"/>
                <a:gd name="T66" fmla="*/ 88 w 130"/>
                <a:gd name="T67" fmla="*/ 0 h 86"/>
                <a:gd name="T68" fmla="*/ 88 w 130"/>
                <a:gd name="T69" fmla="*/ 0 h 86"/>
                <a:gd name="T70" fmla="*/ 82 w 130"/>
                <a:gd name="T71" fmla="*/ 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30" h="86">
                  <a:moveTo>
                    <a:pt x="82" y="0"/>
                  </a:moveTo>
                  <a:lnTo>
                    <a:pt x="82" y="0"/>
                  </a:lnTo>
                  <a:lnTo>
                    <a:pt x="80" y="0"/>
                  </a:lnTo>
                  <a:lnTo>
                    <a:pt x="80" y="0"/>
                  </a:lnTo>
                  <a:lnTo>
                    <a:pt x="80" y="0"/>
                  </a:lnTo>
                  <a:lnTo>
                    <a:pt x="80" y="0"/>
                  </a:lnTo>
                  <a:lnTo>
                    <a:pt x="62" y="0"/>
                  </a:lnTo>
                  <a:lnTo>
                    <a:pt x="42" y="4"/>
                  </a:lnTo>
                  <a:lnTo>
                    <a:pt x="22" y="8"/>
                  </a:lnTo>
                  <a:lnTo>
                    <a:pt x="2" y="14"/>
                  </a:lnTo>
                  <a:lnTo>
                    <a:pt x="2" y="14"/>
                  </a:lnTo>
                  <a:lnTo>
                    <a:pt x="0" y="34"/>
                  </a:lnTo>
                  <a:lnTo>
                    <a:pt x="0" y="52"/>
                  </a:lnTo>
                  <a:lnTo>
                    <a:pt x="0" y="52"/>
                  </a:lnTo>
                  <a:lnTo>
                    <a:pt x="0" y="72"/>
                  </a:lnTo>
                  <a:lnTo>
                    <a:pt x="2" y="86"/>
                  </a:lnTo>
                  <a:lnTo>
                    <a:pt x="2" y="86"/>
                  </a:lnTo>
                  <a:lnTo>
                    <a:pt x="12" y="86"/>
                  </a:lnTo>
                  <a:lnTo>
                    <a:pt x="12" y="86"/>
                  </a:lnTo>
                  <a:lnTo>
                    <a:pt x="30" y="82"/>
                  </a:lnTo>
                  <a:lnTo>
                    <a:pt x="54" y="76"/>
                  </a:lnTo>
                  <a:lnTo>
                    <a:pt x="54" y="76"/>
                  </a:lnTo>
                  <a:lnTo>
                    <a:pt x="74" y="70"/>
                  </a:lnTo>
                  <a:lnTo>
                    <a:pt x="92" y="62"/>
                  </a:lnTo>
                  <a:lnTo>
                    <a:pt x="112" y="52"/>
                  </a:lnTo>
                  <a:lnTo>
                    <a:pt x="130" y="38"/>
                  </a:lnTo>
                  <a:lnTo>
                    <a:pt x="130" y="38"/>
                  </a:lnTo>
                  <a:lnTo>
                    <a:pt x="126" y="26"/>
                  </a:lnTo>
                  <a:lnTo>
                    <a:pt x="118" y="14"/>
                  </a:lnTo>
                  <a:lnTo>
                    <a:pt x="118" y="14"/>
                  </a:lnTo>
                  <a:lnTo>
                    <a:pt x="112" y="8"/>
                  </a:lnTo>
                  <a:lnTo>
                    <a:pt x="106" y="4"/>
                  </a:lnTo>
                  <a:lnTo>
                    <a:pt x="98" y="2"/>
                  </a:lnTo>
                  <a:lnTo>
                    <a:pt x="88" y="0"/>
                  </a:lnTo>
                  <a:lnTo>
                    <a:pt x="88" y="0"/>
                  </a:lnTo>
                  <a:lnTo>
                    <a:pt x="8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87" name="Freeform 1981">
              <a:extLst>
                <a:ext uri="{FF2B5EF4-FFF2-40B4-BE49-F238E27FC236}">
                  <a16:creationId xmlns:a16="http://schemas.microsoft.com/office/drawing/2014/main" id="{7A5AE1ED-BA1D-4146-9D94-D58F2EC7CD76}"/>
                </a:ext>
              </a:extLst>
            </p:cNvPr>
            <p:cNvSpPr>
              <a:spLocks/>
            </p:cNvSpPr>
            <p:nvPr/>
          </p:nvSpPr>
          <p:spPr bwMode="auto">
            <a:xfrm>
              <a:off x="10501115" y="4019158"/>
              <a:ext cx="264429" cy="160802"/>
            </a:xfrm>
            <a:custGeom>
              <a:avLst/>
              <a:gdLst>
                <a:gd name="T0" fmla="*/ 18 w 148"/>
                <a:gd name="T1" fmla="*/ 0 h 90"/>
                <a:gd name="T2" fmla="*/ 18 w 148"/>
                <a:gd name="T3" fmla="*/ 0 h 90"/>
                <a:gd name="T4" fmla="*/ 2 w 148"/>
                <a:gd name="T5" fmla="*/ 8 h 90"/>
                <a:gd name="T6" fmla="*/ 2 w 148"/>
                <a:gd name="T7" fmla="*/ 8 h 90"/>
                <a:gd name="T8" fmla="*/ 0 w 148"/>
                <a:gd name="T9" fmla="*/ 38 h 90"/>
                <a:gd name="T10" fmla="*/ 0 w 148"/>
                <a:gd name="T11" fmla="*/ 38 h 90"/>
                <a:gd name="T12" fmla="*/ 2 w 148"/>
                <a:gd name="T13" fmla="*/ 70 h 90"/>
                <a:gd name="T14" fmla="*/ 4 w 148"/>
                <a:gd name="T15" fmla="*/ 82 h 90"/>
                <a:gd name="T16" fmla="*/ 4 w 148"/>
                <a:gd name="T17" fmla="*/ 90 h 90"/>
                <a:gd name="T18" fmla="*/ 12 w 148"/>
                <a:gd name="T19" fmla="*/ 90 h 90"/>
                <a:gd name="T20" fmla="*/ 12 w 148"/>
                <a:gd name="T21" fmla="*/ 90 h 90"/>
                <a:gd name="T22" fmla="*/ 16 w 148"/>
                <a:gd name="T23" fmla="*/ 90 h 90"/>
                <a:gd name="T24" fmla="*/ 16 w 148"/>
                <a:gd name="T25" fmla="*/ 90 h 90"/>
                <a:gd name="T26" fmla="*/ 24 w 148"/>
                <a:gd name="T27" fmla="*/ 88 h 90"/>
                <a:gd name="T28" fmla="*/ 24 w 148"/>
                <a:gd name="T29" fmla="*/ 88 h 90"/>
                <a:gd name="T30" fmla="*/ 32 w 148"/>
                <a:gd name="T31" fmla="*/ 88 h 90"/>
                <a:gd name="T32" fmla="*/ 32 w 148"/>
                <a:gd name="T33" fmla="*/ 88 h 90"/>
                <a:gd name="T34" fmla="*/ 40 w 148"/>
                <a:gd name="T35" fmla="*/ 86 h 90"/>
                <a:gd name="T36" fmla="*/ 40 w 148"/>
                <a:gd name="T37" fmla="*/ 86 h 90"/>
                <a:gd name="T38" fmla="*/ 74 w 148"/>
                <a:gd name="T39" fmla="*/ 78 h 90"/>
                <a:gd name="T40" fmla="*/ 74 w 148"/>
                <a:gd name="T41" fmla="*/ 78 h 90"/>
                <a:gd name="T42" fmla="*/ 92 w 148"/>
                <a:gd name="T43" fmla="*/ 72 h 90"/>
                <a:gd name="T44" fmla="*/ 110 w 148"/>
                <a:gd name="T45" fmla="*/ 66 h 90"/>
                <a:gd name="T46" fmla="*/ 128 w 148"/>
                <a:gd name="T47" fmla="*/ 56 h 90"/>
                <a:gd name="T48" fmla="*/ 144 w 148"/>
                <a:gd name="T49" fmla="*/ 46 h 90"/>
                <a:gd name="T50" fmla="*/ 144 w 148"/>
                <a:gd name="T51" fmla="*/ 46 h 90"/>
                <a:gd name="T52" fmla="*/ 146 w 148"/>
                <a:gd name="T53" fmla="*/ 38 h 90"/>
                <a:gd name="T54" fmla="*/ 148 w 148"/>
                <a:gd name="T55" fmla="*/ 30 h 90"/>
                <a:gd name="T56" fmla="*/ 148 w 148"/>
                <a:gd name="T57" fmla="*/ 30 h 90"/>
                <a:gd name="T58" fmla="*/ 146 w 148"/>
                <a:gd name="T59" fmla="*/ 24 h 90"/>
                <a:gd name="T60" fmla="*/ 146 w 148"/>
                <a:gd name="T61" fmla="*/ 24 h 90"/>
                <a:gd name="T62" fmla="*/ 128 w 148"/>
                <a:gd name="T63" fmla="*/ 38 h 90"/>
                <a:gd name="T64" fmla="*/ 108 w 148"/>
                <a:gd name="T65" fmla="*/ 48 h 90"/>
                <a:gd name="T66" fmla="*/ 90 w 148"/>
                <a:gd name="T67" fmla="*/ 56 h 90"/>
                <a:gd name="T68" fmla="*/ 70 w 148"/>
                <a:gd name="T69" fmla="*/ 62 h 90"/>
                <a:gd name="T70" fmla="*/ 70 w 148"/>
                <a:gd name="T71" fmla="*/ 62 h 90"/>
                <a:gd name="T72" fmla="*/ 46 w 148"/>
                <a:gd name="T73" fmla="*/ 68 h 90"/>
                <a:gd name="T74" fmla="*/ 28 w 148"/>
                <a:gd name="T75" fmla="*/ 72 h 90"/>
                <a:gd name="T76" fmla="*/ 28 w 148"/>
                <a:gd name="T77" fmla="*/ 72 h 90"/>
                <a:gd name="T78" fmla="*/ 18 w 148"/>
                <a:gd name="T79" fmla="*/ 72 h 90"/>
                <a:gd name="T80" fmla="*/ 18 w 148"/>
                <a:gd name="T81" fmla="*/ 72 h 90"/>
                <a:gd name="T82" fmla="*/ 16 w 148"/>
                <a:gd name="T83" fmla="*/ 58 h 90"/>
                <a:gd name="T84" fmla="*/ 16 w 148"/>
                <a:gd name="T85" fmla="*/ 38 h 90"/>
                <a:gd name="T86" fmla="*/ 16 w 148"/>
                <a:gd name="T87" fmla="*/ 38 h 90"/>
                <a:gd name="T88" fmla="*/ 16 w 148"/>
                <a:gd name="T89" fmla="*/ 20 h 90"/>
                <a:gd name="T90" fmla="*/ 18 w 148"/>
                <a:gd name="T91" fmla="*/ 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48" h="90">
                  <a:moveTo>
                    <a:pt x="18" y="0"/>
                  </a:moveTo>
                  <a:lnTo>
                    <a:pt x="18" y="0"/>
                  </a:lnTo>
                  <a:lnTo>
                    <a:pt x="2" y="8"/>
                  </a:lnTo>
                  <a:lnTo>
                    <a:pt x="2" y="8"/>
                  </a:lnTo>
                  <a:lnTo>
                    <a:pt x="0" y="38"/>
                  </a:lnTo>
                  <a:lnTo>
                    <a:pt x="0" y="38"/>
                  </a:lnTo>
                  <a:lnTo>
                    <a:pt x="2" y="70"/>
                  </a:lnTo>
                  <a:lnTo>
                    <a:pt x="4" y="82"/>
                  </a:lnTo>
                  <a:lnTo>
                    <a:pt x="4" y="90"/>
                  </a:lnTo>
                  <a:lnTo>
                    <a:pt x="12" y="90"/>
                  </a:lnTo>
                  <a:lnTo>
                    <a:pt x="12" y="90"/>
                  </a:lnTo>
                  <a:lnTo>
                    <a:pt x="16" y="90"/>
                  </a:lnTo>
                  <a:lnTo>
                    <a:pt x="16" y="90"/>
                  </a:lnTo>
                  <a:lnTo>
                    <a:pt x="24" y="88"/>
                  </a:lnTo>
                  <a:lnTo>
                    <a:pt x="24" y="88"/>
                  </a:lnTo>
                  <a:lnTo>
                    <a:pt x="32" y="88"/>
                  </a:lnTo>
                  <a:lnTo>
                    <a:pt x="32" y="88"/>
                  </a:lnTo>
                  <a:lnTo>
                    <a:pt x="40" y="86"/>
                  </a:lnTo>
                  <a:lnTo>
                    <a:pt x="40" y="86"/>
                  </a:lnTo>
                  <a:lnTo>
                    <a:pt x="74" y="78"/>
                  </a:lnTo>
                  <a:lnTo>
                    <a:pt x="74" y="78"/>
                  </a:lnTo>
                  <a:lnTo>
                    <a:pt x="92" y="72"/>
                  </a:lnTo>
                  <a:lnTo>
                    <a:pt x="110" y="66"/>
                  </a:lnTo>
                  <a:lnTo>
                    <a:pt x="128" y="56"/>
                  </a:lnTo>
                  <a:lnTo>
                    <a:pt x="144" y="46"/>
                  </a:lnTo>
                  <a:lnTo>
                    <a:pt x="144" y="46"/>
                  </a:lnTo>
                  <a:lnTo>
                    <a:pt x="146" y="38"/>
                  </a:lnTo>
                  <a:lnTo>
                    <a:pt x="148" y="30"/>
                  </a:lnTo>
                  <a:lnTo>
                    <a:pt x="148" y="30"/>
                  </a:lnTo>
                  <a:lnTo>
                    <a:pt x="146" y="24"/>
                  </a:lnTo>
                  <a:lnTo>
                    <a:pt x="146" y="24"/>
                  </a:lnTo>
                  <a:lnTo>
                    <a:pt x="128" y="38"/>
                  </a:lnTo>
                  <a:lnTo>
                    <a:pt x="108" y="48"/>
                  </a:lnTo>
                  <a:lnTo>
                    <a:pt x="90" y="56"/>
                  </a:lnTo>
                  <a:lnTo>
                    <a:pt x="70" y="62"/>
                  </a:lnTo>
                  <a:lnTo>
                    <a:pt x="70" y="62"/>
                  </a:lnTo>
                  <a:lnTo>
                    <a:pt x="46" y="68"/>
                  </a:lnTo>
                  <a:lnTo>
                    <a:pt x="28" y="72"/>
                  </a:lnTo>
                  <a:lnTo>
                    <a:pt x="28" y="72"/>
                  </a:lnTo>
                  <a:lnTo>
                    <a:pt x="18" y="72"/>
                  </a:lnTo>
                  <a:lnTo>
                    <a:pt x="18" y="72"/>
                  </a:lnTo>
                  <a:lnTo>
                    <a:pt x="16" y="58"/>
                  </a:lnTo>
                  <a:lnTo>
                    <a:pt x="16" y="38"/>
                  </a:lnTo>
                  <a:lnTo>
                    <a:pt x="16" y="38"/>
                  </a:lnTo>
                  <a:lnTo>
                    <a:pt x="16" y="20"/>
                  </a:lnTo>
                  <a:lnTo>
                    <a:pt x="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88" name="Freeform 1983">
              <a:extLst>
                <a:ext uri="{FF2B5EF4-FFF2-40B4-BE49-F238E27FC236}">
                  <a16:creationId xmlns:a16="http://schemas.microsoft.com/office/drawing/2014/main" id="{CCE442BE-EA54-42F1-B651-CBDB4479992B}"/>
                </a:ext>
              </a:extLst>
            </p:cNvPr>
            <p:cNvSpPr>
              <a:spLocks/>
            </p:cNvSpPr>
            <p:nvPr/>
          </p:nvSpPr>
          <p:spPr bwMode="auto">
            <a:xfrm>
              <a:off x="10329594" y="4001292"/>
              <a:ext cx="175095" cy="339470"/>
            </a:xfrm>
            <a:custGeom>
              <a:avLst/>
              <a:gdLst>
                <a:gd name="T0" fmla="*/ 96 w 98"/>
                <a:gd name="T1" fmla="*/ 0 h 190"/>
                <a:gd name="T2" fmla="*/ 82 w 98"/>
                <a:gd name="T3" fmla="*/ 10 h 190"/>
                <a:gd name="T4" fmla="*/ 68 w 98"/>
                <a:gd name="T5" fmla="*/ 20 h 190"/>
                <a:gd name="T6" fmla="*/ 44 w 98"/>
                <a:gd name="T7" fmla="*/ 42 h 190"/>
                <a:gd name="T8" fmla="*/ 18 w 98"/>
                <a:gd name="T9" fmla="*/ 80 h 190"/>
                <a:gd name="T10" fmla="*/ 6 w 98"/>
                <a:gd name="T11" fmla="*/ 106 h 190"/>
                <a:gd name="T12" fmla="*/ 0 w 98"/>
                <a:gd name="T13" fmla="*/ 130 h 190"/>
                <a:gd name="T14" fmla="*/ 0 w 98"/>
                <a:gd name="T15" fmla="*/ 136 h 190"/>
                <a:gd name="T16" fmla="*/ 16 w 98"/>
                <a:gd name="T17" fmla="*/ 156 h 190"/>
                <a:gd name="T18" fmla="*/ 32 w 98"/>
                <a:gd name="T19" fmla="*/ 174 h 190"/>
                <a:gd name="T20" fmla="*/ 50 w 98"/>
                <a:gd name="T21" fmla="*/ 188 h 190"/>
                <a:gd name="T22" fmla="*/ 60 w 98"/>
                <a:gd name="T23" fmla="*/ 190 h 190"/>
                <a:gd name="T24" fmla="*/ 60 w 98"/>
                <a:gd name="T25" fmla="*/ 190 h 190"/>
                <a:gd name="T26" fmla="*/ 68 w 98"/>
                <a:gd name="T27" fmla="*/ 184 h 190"/>
                <a:gd name="T28" fmla="*/ 88 w 98"/>
                <a:gd name="T29" fmla="*/ 174 h 190"/>
                <a:gd name="T30" fmla="*/ 88 w 98"/>
                <a:gd name="T31" fmla="*/ 172 h 190"/>
                <a:gd name="T32" fmla="*/ 68 w 98"/>
                <a:gd name="T33" fmla="*/ 174 h 190"/>
                <a:gd name="T34" fmla="*/ 68 w 98"/>
                <a:gd name="T35" fmla="*/ 174 h 190"/>
                <a:gd name="T36" fmla="*/ 66 w 98"/>
                <a:gd name="T37" fmla="*/ 174 h 190"/>
                <a:gd name="T38" fmla="*/ 60 w 98"/>
                <a:gd name="T39" fmla="*/ 174 h 190"/>
                <a:gd name="T40" fmla="*/ 42 w 98"/>
                <a:gd name="T41" fmla="*/ 170 h 190"/>
                <a:gd name="T42" fmla="*/ 28 w 98"/>
                <a:gd name="T43" fmla="*/ 160 h 190"/>
                <a:gd name="T44" fmla="*/ 24 w 98"/>
                <a:gd name="T45" fmla="*/ 154 h 190"/>
                <a:gd name="T46" fmla="*/ 18 w 98"/>
                <a:gd name="T47" fmla="*/ 138 h 190"/>
                <a:gd name="T48" fmla="*/ 16 w 98"/>
                <a:gd name="T49" fmla="*/ 130 h 190"/>
                <a:gd name="T50" fmla="*/ 20 w 98"/>
                <a:gd name="T51" fmla="*/ 112 h 190"/>
                <a:gd name="T52" fmla="*/ 32 w 98"/>
                <a:gd name="T53" fmla="*/ 88 h 190"/>
                <a:gd name="T54" fmla="*/ 56 w 98"/>
                <a:gd name="T55" fmla="*/ 52 h 190"/>
                <a:gd name="T56" fmla="*/ 78 w 98"/>
                <a:gd name="T57" fmla="*/ 32 h 190"/>
                <a:gd name="T58" fmla="*/ 90 w 98"/>
                <a:gd name="T59" fmla="*/ 22 h 190"/>
                <a:gd name="T60" fmla="*/ 98 w 98"/>
                <a:gd name="T61" fmla="*/ 18 h 190"/>
                <a:gd name="T62" fmla="*/ 98 w 98"/>
                <a:gd name="T63" fmla="*/ 6 h 190"/>
                <a:gd name="T64" fmla="*/ 96 w 98"/>
                <a:gd name="T65" fmla="*/ 0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8" h="190">
                  <a:moveTo>
                    <a:pt x="96" y="0"/>
                  </a:moveTo>
                  <a:lnTo>
                    <a:pt x="96" y="0"/>
                  </a:lnTo>
                  <a:lnTo>
                    <a:pt x="82" y="10"/>
                  </a:lnTo>
                  <a:lnTo>
                    <a:pt x="82" y="10"/>
                  </a:lnTo>
                  <a:lnTo>
                    <a:pt x="82" y="10"/>
                  </a:lnTo>
                  <a:lnTo>
                    <a:pt x="68" y="20"/>
                  </a:lnTo>
                  <a:lnTo>
                    <a:pt x="56" y="30"/>
                  </a:lnTo>
                  <a:lnTo>
                    <a:pt x="44" y="42"/>
                  </a:lnTo>
                  <a:lnTo>
                    <a:pt x="34" y="54"/>
                  </a:lnTo>
                  <a:lnTo>
                    <a:pt x="18" y="80"/>
                  </a:lnTo>
                  <a:lnTo>
                    <a:pt x="6" y="106"/>
                  </a:lnTo>
                  <a:lnTo>
                    <a:pt x="6" y="106"/>
                  </a:lnTo>
                  <a:lnTo>
                    <a:pt x="2" y="118"/>
                  </a:lnTo>
                  <a:lnTo>
                    <a:pt x="0" y="130"/>
                  </a:lnTo>
                  <a:lnTo>
                    <a:pt x="0" y="130"/>
                  </a:lnTo>
                  <a:lnTo>
                    <a:pt x="0" y="136"/>
                  </a:lnTo>
                  <a:lnTo>
                    <a:pt x="0" y="136"/>
                  </a:lnTo>
                  <a:lnTo>
                    <a:pt x="16" y="156"/>
                  </a:lnTo>
                  <a:lnTo>
                    <a:pt x="32" y="174"/>
                  </a:lnTo>
                  <a:lnTo>
                    <a:pt x="32" y="174"/>
                  </a:lnTo>
                  <a:lnTo>
                    <a:pt x="50" y="188"/>
                  </a:lnTo>
                  <a:lnTo>
                    <a:pt x="50" y="188"/>
                  </a:lnTo>
                  <a:lnTo>
                    <a:pt x="60" y="190"/>
                  </a:lnTo>
                  <a:lnTo>
                    <a:pt x="60" y="190"/>
                  </a:lnTo>
                  <a:lnTo>
                    <a:pt x="60" y="190"/>
                  </a:lnTo>
                  <a:lnTo>
                    <a:pt x="60" y="190"/>
                  </a:lnTo>
                  <a:lnTo>
                    <a:pt x="68" y="184"/>
                  </a:lnTo>
                  <a:lnTo>
                    <a:pt x="68" y="184"/>
                  </a:lnTo>
                  <a:lnTo>
                    <a:pt x="88" y="174"/>
                  </a:lnTo>
                  <a:lnTo>
                    <a:pt x="88" y="174"/>
                  </a:lnTo>
                  <a:lnTo>
                    <a:pt x="88" y="172"/>
                  </a:lnTo>
                  <a:lnTo>
                    <a:pt x="88" y="172"/>
                  </a:lnTo>
                  <a:lnTo>
                    <a:pt x="68" y="174"/>
                  </a:lnTo>
                  <a:lnTo>
                    <a:pt x="68" y="174"/>
                  </a:lnTo>
                  <a:lnTo>
                    <a:pt x="68" y="174"/>
                  </a:lnTo>
                  <a:lnTo>
                    <a:pt x="68" y="174"/>
                  </a:lnTo>
                  <a:lnTo>
                    <a:pt x="66" y="174"/>
                  </a:lnTo>
                  <a:lnTo>
                    <a:pt x="66" y="174"/>
                  </a:lnTo>
                  <a:lnTo>
                    <a:pt x="60" y="174"/>
                  </a:lnTo>
                  <a:lnTo>
                    <a:pt x="60" y="174"/>
                  </a:lnTo>
                  <a:lnTo>
                    <a:pt x="50" y="172"/>
                  </a:lnTo>
                  <a:lnTo>
                    <a:pt x="42" y="170"/>
                  </a:lnTo>
                  <a:lnTo>
                    <a:pt x="36" y="166"/>
                  </a:lnTo>
                  <a:lnTo>
                    <a:pt x="28" y="160"/>
                  </a:lnTo>
                  <a:lnTo>
                    <a:pt x="28" y="160"/>
                  </a:lnTo>
                  <a:lnTo>
                    <a:pt x="24" y="154"/>
                  </a:lnTo>
                  <a:lnTo>
                    <a:pt x="20" y="146"/>
                  </a:lnTo>
                  <a:lnTo>
                    <a:pt x="18" y="138"/>
                  </a:lnTo>
                  <a:lnTo>
                    <a:pt x="16" y="130"/>
                  </a:lnTo>
                  <a:lnTo>
                    <a:pt x="16" y="130"/>
                  </a:lnTo>
                  <a:lnTo>
                    <a:pt x="18" y="120"/>
                  </a:lnTo>
                  <a:lnTo>
                    <a:pt x="20" y="112"/>
                  </a:lnTo>
                  <a:lnTo>
                    <a:pt x="20" y="112"/>
                  </a:lnTo>
                  <a:lnTo>
                    <a:pt x="32" y="88"/>
                  </a:lnTo>
                  <a:lnTo>
                    <a:pt x="48" y="64"/>
                  </a:lnTo>
                  <a:lnTo>
                    <a:pt x="56" y="52"/>
                  </a:lnTo>
                  <a:lnTo>
                    <a:pt x="66" y="42"/>
                  </a:lnTo>
                  <a:lnTo>
                    <a:pt x="78" y="32"/>
                  </a:lnTo>
                  <a:lnTo>
                    <a:pt x="90" y="22"/>
                  </a:lnTo>
                  <a:lnTo>
                    <a:pt x="90" y="22"/>
                  </a:lnTo>
                  <a:lnTo>
                    <a:pt x="90" y="22"/>
                  </a:lnTo>
                  <a:lnTo>
                    <a:pt x="98" y="18"/>
                  </a:lnTo>
                  <a:lnTo>
                    <a:pt x="98" y="18"/>
                  </a:lnTo>
                  <a:lnTo>
                    <a:pt x="98" y="6"/>
                  </a:lnTo>
                  <a:lnTo>
                    <a:pt x="98" y="6"/>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89" name="Freeform 1985">
              <a:extLst>
                <a:ext uri="{FF2B5EF4-FFF2-40B4-BE49-F238E27FC236}">
                  <a16:creationId xmlns:a16="http://schemas.microsoft.com/office/drawing/2014/main" id="{16E9A7DB-44A0-46C9-BF34-4B0E2975FC69}"/>
                </a:ext>
              </a:extLst>
            </p:cNvPr>
            <p:cNvSpPr>
              <a:spLocks/>
            </p:cNvSpPr>
            <p:nvPr/>
          </p:nvSpPr>
          <p:spPr bwMode="auto">
            <a:xfrm>
              <a:off x="10329594" y="4244281"/>
              <a:ext cx="89334" cy="92908"/>
            </a:xfrm>
            <a:custGeom>
              <a:avLst/>
              <a:gdLst>
                <a:gd name="T0" fmla="*/ 0 w 50"/>
                <a:gd name="T1" fmla="*/ 0 h 52"/>
                <a:gd name="T2" fmla="*/ 0 w 50"/>
                <a:gd name="T3" fmla="*/ 0 h 52"/>
                <a:gd name="T4" fmla="*/ 2 w 50"/>
                <a:gd name="T5" fmla="*/ 8 h 52"/>
                <a:gd name="T6" fmla="*/ 2 w 50"/>
                <a:gd name="T7" fmla="*/ 8 h 52"/>
                <a:gd name="T8" fmla="*/ 14 w 50"/>
                <a:gd name="T9" fmla="*/ 22 h 52"/>
                <a:gd name="T10" fmla="*/ 26 w 50"/>
                <a:gd name="T11" fmla="*/ 34 h 52"/>
                <a:gd name="T12" fmla="*/ 26 w 50"/>
                <a:gd name="T13" fmla="*/ 34 h 52"/>
                <a:gd name="T14" fmla="*/ 48 w 50"/>
                <a:gd name="T15" fmla="*/ 52 h 52"/>
                <a:gd name="T16" fmla="*/ 48 w 50"/>
                <a:gd name="T17" fmla="*/ 52 h 52"/>
                <a:gd name="T18" fmla="*/ 50 w 50"/>
                <a:gd name="T19" fmla="*/ 52 h 52"/>
                <a:gd name="T20" fmla="*/ 50 w 50"/>
                <a:gd name="T21" fmla="*/ 52 h 52"/>
                <a:gd name="T22" fmla="*/ 32 w 50"/>
                <a:gd name="T23" fmla="*/ 38 h 52"/>
                <a:gd name="T24" fmla="*/ 32 w 50"/>
                <a:gd name="T25" fmla="*/ 38 h 52"/>
                <a:gd name="T26" fmla="*/ 16 w 50"/>
                <a:gd name="T27" fmla="*/ 20 h 52"/>
                <a:gd name="T28" fmla="*/ 0 w 50"/>
                <a:gd name="T29"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0" h="52">
                  <a:moveTo>
                    <a:pt x="0" y="0"/>
                  </a:moveTo>
                  <a:lnTo>
                    <a:pt x="0" y="0"/>
                  </a:lnTo>
                  <a:lnTo>
                    <a:pt x="2" y="8"/>
                  </a:lnTo>
                  <a:lnTo>
                    <a:pt x="2" y="8"/>
                  </a:lnTo>
                  <a:lnTo>
                    <a:pt x="14" y="22"/>
                  </a:lnTo>
                  <a:lnTo>
                    <a:pt x="26" y="34"/>
                  </a:lnTo>
                  <a:lnTo>
                    <a:pt x="26" y="34"/>
                  </a:lnTo>
                  <a:lnTo>
                    <a:pt x="48" y="52"/>
                  </a:lnTo>
                  <a:lnTo>
                    <a:pt x="48" y="52"/>
                  </a:lnTo>
                  <a:lnTo>
                    <a:pt x="50" y="52"/>
                  </a:lnTo>
                  <a:lnTo>
                    <a:pt x="50" y="52"/>
                  </a:lnTo>
                  <a:lnTo>
                    <a:pt x="32" y="38"/>
                  </a:lnTo>
                  <a:lnTo>
                    <a:pt x="32" y="38"/>
                  </a:lnTo>
                  <a:lnTo>
                    <a:pt x="16" y="2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90" name="Freeform 1986">
              <a:extLst>
                <a:ext uri="{FF2B5EF4-FFF2-40B4-BE49-F238E27FC236}">
                  <a16:creationId xmlns:a16="http://schemas.microsoft.com/office/drawing/2014/main" id="{9D065533-B614-423F-817F-0ED2EE9B9154}"/>
                </a:ext>
              </a:extLst>
            </p:cNvPr>
            <p:cNvSpPr>
              <a:spLocks/>
            </p:cNvSpPr>
            <p:nvPr/>
          </p:nvSpPr>
          <p:spPr bwMode="auto">
            <a:xfrm>
              <a:off x="10501115" y="3997718"/>
              <a:ext cx="7147" cy="14293"/>
            </a:xfrm>
            <a:custGeom>
              <a:avLst/>
              <a:gdLst>
                <a:gd name="T0" fmla="*/ 4 w 4"/>
                <a:gd name="T1" fmla="*/ 0 h 8"/>
                <a:gd name="T2" fmla="*/ 4 w 4"/>
                <a:gd name="T3" fmla="*/ 0 h 8"/>
                <a:gd name="T4" fmla="*/ 0 w 4"/>
                <a:gd name="T5" fmla="*/ 2 h 8"/>
                <a:gd name="T6" fmla="*/ 0 w 4"/>
                <a:gd name="T7" fmla="*/ 2 h 8"/>
                <a:gd name="T8" fmla="*/ 2 w 4"/>
                <a:gd name="T9" fmla="*/ 8 h 8"/>
                <a:gd name="T10" fmla="*/ 2 w 4"/>
                <a:gd name="T11" fmla="*/ 8 h 8"/>
                <a:gd name="T12" fmla="*/ 4 w 4"/>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4" h="8">
                  <a:moveTo>
                    <a:pt x="4" y="0"/>
                  </a:moveTo>
                  <a:lnTo>
                    <a:pt x="4" y="0"/>
                  </a:lnTo>
                  <a:lnTo>
                    <a:pt x="0" y="2"/>
                  </a:lnTo>
                  <a:lnTo>
                    <a:pt x="0" y="2"/>
                  </a:lnTo>
                  <a:lnTo>
                    <a:pt x="2" y="8"/>
                  </a:lnTo>
                  <a:lnTo>
                    <a:pt x="2" y="8"/>
                  </a:lnTo>
                  <a:lnTo>
                    <a:pt x="4" y="0"/>
                  </a:lnTo>
                  <a:close/>
                </a:path>
              </a:pathLst>
            </a:custGeom>
            <a:solidFill>
              <a:srgbClr val="90833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91" name="Freeform 1987">
              <a:extLst>
                <a:ext uri="{FF2B5EF4-FFF2-40B4-BE49-F238E27FC236}">
                  <a16:creationId xmlns:a16="http://schemas.microsoft.com/office/drawing/2014/main" id="{108125E5-22D2-4710-B86E-688029CF13AC}"/>
                </a:ext>
              </a:extLst>
            </p:cNvPr>
            <p:cNvSpPr>
              <a:spLocks/>
            </p:cNvSpPr>
            <p:nvPr/>
          </p:nvSpPr>
          <p:spPr bwMode="auto">
            <a:xfrm>
              <a:off x="10501115" y="3997718"/>
              <a:ext cx="7147" cy="14293"/>
            </a:xfrm>
            <a:custGeom>
              <a:avLst/>
              <a:gdLst>
                <a:gd name="T0" fmla="*/ 4 w 4"/>
                <a:gd name="T1" fmla="*/ 0 h 8"/>
                <a:gd name="T2" fmla="*/ 4 w 4"/>
                <a:gd name="T3" fmla="*/ 0 h 8"/>
                <a:gd name="T4" fmla="*/ 0 w 4"/>
                <a:gd name="T5" fmla="*/ 2 h 8"/>
                <a:gd name="T6" fmla="*/ 0 w 4"/>
                <a:gd name="T7" fmla="*/ 2 h 8"/>
                <a:gd name="T8" fmla="*/ 2 w 4"/>
                <a:gd name="T9" fmla="*/ 8 h 8"/>
                <a:gd name="T10" fmla="*/ 2 w 4"/>
                <a:gd name="T11" fmla="*/ 8 h 8"/>
                <a:gd name="T12" fmla="*/ 4 w 4"/>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4" h="8">
                  <a:moveTo>
                    <a:pt x="4" y="0"/>
                  </a:moveTo>
                  <a:lnTo>
                    <a:pt x="4" y="0"/>
                  </a:lnTo>
                  <a:lnTo>
                    <a:pt x="0" y="2"/>
                  </a:lnTo>
                  <a:lnTo>
                    <a:pt x="0" y="2"/>
                  </a:lnTo>
                  <a:lnTo>
                    <a:pt x="2" y="8"/>
                  </a:lnTo>
                  <a:lnTo>
                    <a:pt x="2" y="8"/>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92" name="Freeform 1989">
              <a:extLst>
                <a:ext uri="{FF2B5EF4-FFF2-40B4-BE49-F238E27FC236}">
                  <a16:creationId xmlns:a16="http://schemas.microsoft.com/office/drawing/2014/main" id="{6F015FDC-4C60-471B-A64E-AC710B6ADAE8}"/>
                </a:ext>
              </a:extLst>
            </p:cNvPr>
            <p:cNvSpPr>
              <a:spLocks/>
            </p:cNvSpPr>
            <p:nvPr/>
          </p:nvSpPr>
          <p:spPr bwMode="auto">
            <a:xfrm>
              <a:off x="10333167" y="4258574"/>
              <a:ext cx="82187" cy="78614"/>
            </a:xfrm>
            <a:custGeom>
              <a:avLst/>
              <a:gdLst>
                <a:gd name="T0" fmla="*/ 0 w 46"/>
                <a:gd name="T1" fmla="*/ 0 h 44"/>
                <a:gd name="T2" fmla="*/ 0 w 46"/>
                <a:gd name="T3" fmla="*/ 0 h 44"/>
                <a:gd name="T4" fmla="*/ 6 w 46"/>
                <a:gd name="T5" fmla="*/ 14 h 44"/>
                <a:gd name="T6" fmla="*/ 16 w 46"/>
                <a:gd name="T7" fmla="*/ 26 h 44"/>
                <a:gd name="T8" fmla="*/ 16 w 46"/>
                <a:gd name="T9" fmla="*/ 26 h 44"/>
                <a:gd name="T10" fmla="*/ 22 w 46"/>
                <a:gd name="T11" fmla="*/ 32 h 44"/>
                <a:gd name="T12" fmla="*/ 28 w 46"/>
                <a:gd name="T13" fmla="*/ 38 h 44"/>
                <a:gd name="T14" fmla="*/ 36 w 46"/>
                <a:gd name="T15" fmla="*/ 42 h 44"/>
                <a:gd name="T16" fmla="*/ 46 w 46"/>
                <a:gd name="T17" fmla="*/ 44 h 44"/>
                <a:gd name="T18" fmla="*/ 46 w 46"/>
                <a:gd name="T19" fmla="*/ 44 h 44"/>
                <a:gd name="T20" fmla="*/ 24 w 46"/>
                <a:gd name="T21" fmla="*/ 26 h 44"/>
                <a:gd name="T22" fmla="*/ 24 w 46"/>
                <a:gd name="T23" fmla="*/ 26 h 44"/>
                <a:gd name="T24" fmla="*/ 12 w 46"/>
                <a:gd name="T25" fmla="*/ 14 h 44"/>
                <a:gd name="T26" fmla="*/ 0 w 46"/>
                <a:gd name="T27"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6" h="44">
                  <a:moveTo>
                    <a:pt x="0" y="0"/>
                  </a:moveTo>
                  <a:lnTo>
                    <a:pt x="0" y="0"/>
                  </a:lnTo>
                  <a:lnTo>
                    <a:pt x="6" y="14"/>
                  </a:lnTo>
                  <a:lnTo>
                    <a:pt x="16" y="26"/>
                  </a:lnTo>
                  <a:lnTo>
                    <a:pt x="16" y="26"/>
                  </a:lnTo>
                  <a:lnTo>
                    <a:pt x="22" y="32"/>
                  </a:lnTo>
                  <a:lnTo>
                    <a:pt x="28" y="38"/>
                  </a:lnTo>
                  <a:lnTo>
                    <a:pt x="36" y="42"/>
                  </a:lnTo>
                  <a:lnTo>
                    <a:pt x="46" y="44"/>
                  </a:lnTo>
                  <a:lnTo>
                    <a:pt x="46" y="44"/>
                  </a:lnTo>
                  <a:lnTo>
                    <a:pt x="24" y="26"/>
                  </a:lnTo>
                  <a:lnTo>
                    <a:pt x="24" y="26"/>
                  </a:lnTo>
                  <a:lnTo>
                    <a:pt x="12" y="14"/>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93" name="Freeform 1990">
              <a:extLst>
                <a:ext uri="{FF2B5EF4-FFF2-40B4-BE49-F238E27FC236}">
                  <a16:creationId xmlns:a16="http://schemas.microsoft.com/office/drawing/2014/main" id="{A120B72F-452B-48C9-8A9A-778DD41FD6E6}"/>
                </a:ext>
              </a:extLst>
            </p:cNvPr>
            <p:cNvSpPr>
              <a:spLocks/>
            </p:cNvSpPr>
            <p:nvPr/>
          </p:nvSpPr>
          <p:spPr bwMode="auto">
            <a:xfrm>
              <a:off x="10486822" y="4308601"/>
              <a:ext cx="7147" cy="3573"/>
            </a:xfrm>
            <a:custGeom>
              <a:avLst/>
              <a:gdLst>
                <a:gd name="T0" fmla="*/ 4 w 4"/>
                <a:gd name="T1" fmla="*/ 0 h 2"/>
                <a:gd name="T2" fmla="*/ 4 w 4"/>
                <a:gd name="T3" fmla="*/ 0 h 2"/>
                <a:gd name="T4" fmla="*/ 0 w 4"/>
                <a:gd name="T5" fmla="*/ 0 h 2"/>
                <a:gd name="T6" fmla="*/ 0 w 4"/>
                <a:gd name="T7" fmla="*/ 0 h 2"/>
                <a:gd name="T8" fmla="*/ 0 w 4"/>
                <a:gd name="T9" fmla="*/ 2 h 2"/>
                <a:gd name="T10" fmla="*/ 0 w 4"/>
                <a:gd name="T11" fmla="*/ 2 h 2"/>
                <a:gd name="T12" fmla="*/ 4 w 4"/>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4" h="2">
                  <a:moveTo>
                    <a:pt x="4" y="0"/>
                  </a:moveTo>
                  <a:lnTo>
                    <a:pt x="4" y="0"/>
                  </a:lnTo>
                  <a:lnTo>
                    <a:pt x="0" y="0"/>
                  </a:lnTo>
                  <a:lnTo>
                    <a:pt x="0" y="0"/>
                  </a:lnTo>
                  <a:lnTo>
                    <a:pt x="0" y="2"/>
                  </a:lnTo>
                  <a:lnTo>
                    <a:pt x="0" y="2"/>
                  </a:lnTo>
                  <a:lnTo>
                    <a:pt x="4" y="0"/>
                  </a:lnTo>
                  <a:close/>
                </a:path>
              </a:pathLst>
            </a:custGeom>
            <a:solidFill>
              <a:srgbClr val="90833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94" name="Freeform 1991">
              <a:extLst>
                <a:ext uri="{FF2B5EF4-FFF2-40B4-BE49-F238E27FC236}">
                  <a16:creationId xmlns:a16="http://schemas.microsoft.com/office/drawing/2014/main" id="{1C43F8CE-778B-493B-B898-271543767E65}"/>
                </a:ext>
              </a:extLst>
            </p:cNvPr>
            <p:cNvSpPr>
              <a:spLocks/>
            </p:cNvSpPr>
            <p:nvPr/>
          </p:nvSpPr>
          <p:spPr bwMode="auto">
            <a:xfrm>
              <a:off x="10486822" y="4308601"/>
              <a:ext cx="7147" cy="3573"/>
            </a:xfrm>
            <a:custGeom>
              <a:avLst/>
              <a:gdLst>
                <a:gd name="T0" fmla="*/ 4 w 4"/>
                <a:gd name="T1" fmla="*/ 0 h 2"/>
                <a:gd name="T2" fmla="*/ 4 w 4"/>
                <a:gd name="T3" fmla="*/ 0 h 2"/>
                <a:gd name="T4" fmla="*/ 0 w 4"/>
                <a:gd name="T5" fmla="*/ 0 h 2"/>
                <a:gd name="T6" fmla="*/ 0 w 4"/>
                <a:gd name="T7" fmla="*/ 0 h 2"/>
                <a:gd name="T8" fmla="*/ 0 w 4"/>
                <a:gd name="T9" fmla="*/ 2 h 2"/>
                <a:gd name="T10" fmla="*/ 0 w 4"/>
                <a:gd name="T11" fmla="*/ 2 h 2"/>
                <a:gd name="T12" fmla="*/ 4 w 4"/>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4" h="2">
                  <a:moveTo>
                    <a:pt x="4" y="0"/>
                  </a:moveTo>
                  <a:lnTo>
                    <a:pt x="4" y="0"/>
                  </a:lnTo>
                  <a:lnTo>
                    <a:pt x="0" y="0"/>
                  </a:lnTo>
                  <a:lnTo>
                    <a:pt x="0" y="0"/>
                  </a:lnTo>
                  <a:lnTo>
                    <a:pt x="0" y="2"/>
                  </a:lnTo>
                  <a:lnTo>
                    <a:pt x="0" y="2"/>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95" name="Freeform 1992">
              <a:extLst>
                <a:ext uri="{FF2B5EF4-FFF2-40B4-BE49-F238E27FC236}">
                  <a16:creationId xmlns:a16="http://schemas.microsoft.com/office/drawing/2014/main" id="{D2634295-4771-47B1-ABC4-35A1AF9294D3}"/>
                </a:ext>
              </a:extLst>
            </p:cNvPr>
            <p:cNvSpPr>
              <a:spLocks/>
            </p:cNvSpPr>
            <p:nvPr/>
          </p:nvSpPr>
          <p:spPr bwMode="auto">
            <a:xfrm>
              <a:off x="10611890" y="4076332"/>
              <a:ext cx="182242" cy="200109"/>
            </a:xfrm>
            <a:custGeom>
              <a:avLst/>
              <a:gdLst>
                <a:gd name="T0" fmla="*/ 102 w 102"/>
                <a:gd name="T1" fmla="*/ 0 h 112"/>
                <a:gd name="T2" fmla="*/ 102 w 102"/>
                <a:gd name="T3" fmla="*/ 0 h 112"/>
                <a:gd name="T4" fmla="*/ 82 w 102"/>
                <a:gd name="T5" fmla="*/ 14 h 112"/>
                <a:gd name="T6" fmla="*/ 82 w 102"/>
                <a:gd name="T7" fmla="*/ 14 h 112"/>
                <a:gd name="T8" fmla="*/ 82 w 102"/>
                <a:gd name="T9" fmla="*/ 16 h 112"/>
                <a:gd name="T10" fmla="*/ 82 w 102"/>
                <a:gd name="T11" fmla="*/ 16 h 112"/>
                <a:gd name="T12" fmla="*/ 70 w 102"/>
                <a:gd name="T13" fmla="*/ 40 h 112"/>
                <a:gd name="T14" fmla="*/ 54 w 102"/>
                <a:gd name="T15" fmla="*/ 64 h 112"/>
                <a:gd name="T16" fmla="*/ 46 w 102"/>
                <a:gd name="T17" fmla="*/ 76 h 112"/>
                <a:gd name="T18" fmla="*/ 36 w 102"/>
                <a:gd name="T19" fmla="*/ 86 h 112"/>
                <a:gd name="T20" fmla="*/ 24 w 102"/>
                <a:gd name="T21" fmla="*/ 96 h 112"/>
                <a:gd name="T22" fmla="*/ 12 w 102"/>
                <a:gd name="T23" fmla="*/ 106 h 112"/>
                <a:gd name="T24" fmla="*/ 12 w 102"/>
                <a:gd name="T25" fmla="*/ 106 h 112"/>
                <a:gd name="T26" fmla="*/ 0 w 102"/>
                <a:gd name="T27" fmla="*/ 112 h 112"/>
                <a:gd name="T28" fmla="*/ 0 w 102"/>
                <a:gd name="T29" fmla="*/ 112 h 112"/>
                <a:gd name="T30" fmla="*/ 20 w 102"/>
                <a:gd name="T31" fmla="*/ 110 h 112"/>
                <a:gd name="T32" fmla="*/ 20 w 102"/>
                <a:gd name="T33" fmla="*/ 110 h 112"/>
                <a:gd name="T34" fmla="*/ 32 w 102"/>
                <a:gd name="T35" fmla="*/ 112 h 112"/>
                <a:gd name="T36" fmla="*/ 32 w 102"/>
                <a:gd name="T37" fmla="*/ 112 h 112"/>
                <a:gd name="T38" fmla="*/ 42 w 102"/>
                <a:gd name="T39" fmla="*/ 102 h 112"/>
                <a:gd name="T40" fmla="*/ 54 w 102"/>
                <a:gd name="T41" fmla="*/ 92 h 112"/>
                <a:gd name="T42" fmla="*/ 72 w 102"/>
                <a:gd name="T43" fmla="*/ 68 h 112"/>
                <a:gd name="T44" fmla="*/ 86 w 102"/>
                <a:gd name="T45" fmla="*/ 46 h 112"/>
                <a:gd name="T46" fmla="*/ 96 w 102"/>
                <a:gd name="T47" fmla="*/ 22 h 112"/>
                <a:gd name="T48" fmla="*/ 96 w 102"/>
                <a:gd name="T49" fmla="*/ 22 h 112"/>
                <a:gd name="T50" fmla="*/ 100 w 102"/>
                <a:gd name="T51" fmla="*/ 10 h 112"/>
                <a:gd name="T52" fmla="*/ 102 w 102"/>
                <a:gd name="T53" fmla="*/ 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02" h="112">
                  <a:moveTo>
                    <a:pt x="102" y="0"/>
                  </a:moveTo>
                  <a:lnTo>
                    <a:pt x="102" y="0"/>
                  </a:lnTo>
                  <a:lnTo>
                    <a:pt x="82" y="14"/>
                  </a:lnTo>
                  <a:lnTo>
                    <a:pt x="82" y="14"/>
                  </a:lnTo>
                  <a:lnTo>
                    <a:pt x="82" y="16"/>
                  </a:lnTo>
                  <a:lnTo>
                    <a:pt x="82" y="16"/>
                  </a:lnTo>
                  <a:lnTo>
                    <a:pt x="70" y="40"/>
                  </a:lnTo>
                  <a:lnTo>
                    <a:pt x="54" y="64"/>
                  </a:lnTo>
                  <a:lnTo>
                    <a:pt x="46" y="76"/>
                  </a:lnTo>
                  <a:lnTo>
                    <a:pt x="36" y="86"/>
                  </a:lnTo>
                  <a:lnTo>
                    <a:pt x="24" y="96"/>
                  </a:lnTo>
                  <a:lnTo>
                    <a:pt x="12" y="106"/>
                  </a:lnTo>
                  <a:lnTo>
                    <a:pt x="12" y="106"/>
                  </a:lnTo>
                  <a:lnTo>
                    <a:pt x="0" y="112"/>
                  </a:lnTo>
                  <a:lnTo>
                    <a:pt x="0" y="112"/>
                  </a:lnTo>
                  <a:lnTo>
                    <a:pt x="20" y="110"/>
                  </a:lnTo>
                  <a:lnTo>
                    <a:pt x="20" y="110"/>
                  </a:lnTo>
                  <a:lnTo>
                    <a:pt x="32" y="112"/>
                  </a:lnTo>
                  <a:lnTo>
                    <a:pt x="32" y="112"/>
                  </a:lnTo>
                  <a:lnTo>
                    <a:pt x="42" y="102"/>
                  </a:lnTo>
                  <a:lnTo>
                    <a:pt x="54" y="92"/>
                  </a:lnTo>
                  <a:lnTo>
                    <a:pt x="72" y="68"/>
                  </a:lnTo>
                  <a:lnTo>
                    <a:pt x="86" y="46"/>
                  </a:lnTo>
                  <a:lnTo>
                    <a:pt x="96" y="22"/>
                  </a:lnTo>
                  <a:lnTo>
                    <a:pt x="96" y="22"/>
                  </a:lnTo>
                  <a:lnTo>
                    <a:pt x="100" y="10"/>
                  </a:lnTo>
                  <a:lnTo>
                    <a:pt x="102" y="0"/>
                  </a:lnTo>
                  <a:close/>
                </a:path>
              </a:pathLst>
            </a:custGeom>
            <a:solidFill>
              <a:srgbClr val="DDC9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96" name="Freeform 1993">
              <a:extLst>
                <a:ext uri="{FF2B5EF4-FFF2-40B4-BE49-F238E27FC236}">
                  <a16:creationId xmlns:a16="http://schemas.microsoft.com/office/drawing/2014/main" id="{D5A00CF8-8193-4C32-BFCF-65ACDEEB1215}"/>
                </a:ext>
              </a:extLst>
            </p:cNvPr>
            <p:cNvSpPr>
              <a:spLocks/>
            </p:cNvSpPr>
            <p:nvPr/>
          </p:nvSpPr>
          <p:spPr bwMode="auto">
            <a:xfrm>
              <a:off x="10611890" y="4076332"/>
              <a:ext cx="182242" cy="200109"/>
            </a:xfrm>
            <a:custGeom>
              <a:avLst/>
              <a:gdLst>
                <a:gd name="T0" fmla="*/ 102 w 102"/>
                <a:gd name="T1" fmla="*/ 0 h 112"/>
                <a:gd name="T2" fmla="*/ 102 w 102"/>
                <a:gd name="T3" fmla="*/ 0 h 112"/>
                <a:gd name="T4" fmla="*/ 82 w 102"/>
                <a:gd name="T5" fmla="*/ 14 h 112"/>
                <a:gd name="T6" fmla="*/ 82 w 102"/>
                <a:gd name="T7" fmla="*/ 14 h 112"/>
                <a:gd name="T8" fmla="*/ 82 w 102"/>
                <a:gd name="T9" fmla="*/ 16 h 112"/>
                <a:gd name="T10" fmla="*/ 82 w 102"/>
                <a:gd name="T11" fmla="*/ 16 h 112"/>
                <a:gd name="T12" fmla="*/ 70 w 102"/>
                <a:gd name="T13" fmla="*/ 40 h 112"/>
                <a:gd name="T14" fmla="*/ 54 w 102"/>
                <a:gd name="T15" fmla="*/ 64 h 112"/>
                <a:gd name="T16" fmla="*/ 46 w 102"/>
                <a:gd name="T17" fmla="*/ 76 h 112"/>
                <a:gd name="T18" fmla="*/ 36 w 102"/>
                <a:gd name="T19" fmla="*/ 86 h 112"/>
                <a:gd name="T20" fmla="*/ 24 w 102"/>
                <a:gd name="T21" fmla="*/ 96 h 112"/>
                <a:gd name="T22" fmla="*/ 12 w 102"/>
                <a:gd name="T23" fmla="*/ 106 h 112"/>
                <a:gd name="T24" fmla="*/ 12 w 102"/>
                <a:gd name="T25" fmla="*/ 106 h 112"/>
                <a:gd name="T26" fmla="*/ 0 w 102"/>
                <a:gd name="T27" fmla="*/ 112 h 112"/>
                <a:gd name="T28" fmla="*/ 0 w 102"/>
                <a:gd name="T29" fmla="*/ 112 h 112"/>
                <a:gd name="T30" fmla="*/ 20 w 102"/>
                <a:gd name="T31" fmla="*/ 110 h 112"/>
                <a:gd name="T32" fmla="*/ 20 w 102"/>
                <a:gd name="T33" fmla="*/ 110 h 112"/>
                <a:gd name="T34" fmla="*/ 32 w 102"/>
                <a:gd name="T35" fmla="*/ 112 h 112"/>
                <a:gd name="T36" fmla="*/ 32 w 102"/>
                <a:gd name="T37" fmla="*/ 112 h 112"/>
                <a:gd name="T38" fmla="*/ 42 w 102"/>
                <a:gd name="T39" fmla="*/ 102 h 112"/>
                <a:gd name="T40" fmla="*/ 54 w 102"/>
                <a:gd name="T41" fmla="*/ 92 h 112"/>
                <a:gd name="T42" fmla="*/ 72 w 102"/>
                <a:gd name="T43" fmla="*/ 68 h 112"/>
                <a:gd name="T44" fmla="*/ 86 w 102"/>
                <a:gd name="T45" fmla="*/ 46 h 112"/>
                <a:gd name="T46" fmla="*/ 96 w 102"/>
                <a:gd name="T47" fmla="*/ 22 h 112"/>
                <a:gd name="T48" fmla="*/ 96 w 102"/>
                <a:gd name="T49" fmla="*/ 22 h 112"/>
                <a:gd name="T50" fmla="*/ 100 w 102"/>
                <a:gd name="T51" fmla="*/ 10 h 112"/>
                <a:gd name="T52" fmla="*/ 102 w 102"/>
                <a:gd name="T53" fmla="*/ 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02" h="112">
                  <a:moveTo>
                    <a:pt x="102" y="0"/>
                  </a:moveTo>
                  <a:lnTo>
                    <a:pt x="102" y="0"/>
                  </a:lnTo>
                  <a:lnTo>
                    <a:pt x="82" y="14"/>
                  </a:lnTo>
                  <a:lnTo>
                    <a:pt x="82" y="14"/>
                  </a:lnTo>
                  <a:lnTo>
                    <a:pt x="82" y="16"/>
                  </a:lnTo>
                  <a:lnTo>
                    <a:pt x="82" y="16"/>
                  </a:lnTo>
                  <a:lnTo>
                    <a:pt x="70" y="40"/>
                  </a:lnTo>
                  <a:lnTo>
                    <a:pt x="54" y="64"/>
                  </a:lnTo>
                  <a:lnTo>
                    <a:pt x="46" y="76"/>
                  </a:lnTo>
                  <a:lnTo>
                    <a:pt x="36" y="86"/>
                  </a:lnTo>
                  <a:lnTo>
                    <a:pt x="24" y="96"/>
                  </a:lnTo>
                  <a:lnTo>
                    <a:pt x="12" y="106"/>
                  </a:lnTo>
                  <a:lnTo>
                    <a:pt x="12" y="106"/>
                  </a:lnTo>
                  <a:lnTo>
                    <a:pt x="0" y="112"/>
                  </a:lnTo>
                  <a:lnTo>
                    <a:pt x="0" y="112"/>
                  </a:lnTo>
                  <a:lnTo>
                    <a:pt x="20" y="110"/>
                  </a:lnTo>
                  <a:lnTo>
                    <a:pt x="20" y="110"/>
                  </a:lnTo>
                  <a:lnTo>
                    <a:pt x="32" y="112"/>
                  </a:lnTo>
                  <a:lnTo>
                    <a:pt x="32" y="112"/>
                  </a:lnTo>
                  <a:lnTo>
                    <a:pt x="42" y="102"/>
                  </a:lnTo>
                  <a:lnTo>
                    <a:pt x="54" y="92"/>
                  </a:lnTo>
                  <a:lnTo>
                    <a:pt x="72" y="68"/>
                  </a:lnTo>
                  <a:lnTo>
                    <a:pt x="86" y="46"/>
                  </a:lnTo>
                  <a:lnTo>
                    <a:pt x="96" y="22"/>
                  </a:lnTo>
                  <a:lnTo>
                    <a:pt x="96" y="22"/>
                  </a:lnTo>
                  <a:lnTo>
                    <a:pt x="100" y="10"/>
                  </a:lnTo>
                  <a:lnTo>
                    <a:pt x="10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97" name="Freeform 1994">
              <a:extLst>
                <a:ext uri="{FF2B5EF4-FFF2-40B4-BE49-F238E27FC236}">
                  <a16:creationId xmlns:a16="http://schemas.microsoft.com/office/drawing/2014/main" id="{9FB05662-A173-4341-807D-61CD2CB15822}"/>
                </a:ext>
              </a:extLst>
            </p:cNvPr>
            <p:cNvSpPr>
              <a:spLocks/>
            </p:cNvSpPr>
            <p:nvPr/>
          </p:nvSpPr>
          <p:spPr bwMode="auto">
            <a:xfrm>
              <a:off x="10501115" y="4305028"/>
              <a:ext cx="121495" cy="32160"/>
            </a:xfrm>
            <a:custGeom>
              <a:avLst/>
              <a:gdLst>
                <a:gd name="T0" fmla="*/ 68 w 68"/>
                <a:gd name="T1" fmla="*/ 0 h 18"/>
                <a:gd name="T2" fmla="*/ 68 w 68"/>
                <a:gd name="T3" fmla="*/ 0 h 18"/>
                <a:gd name="T4" fmla="*/ 50 w 68"/>
                <a:gd name="T5" fmla="*/ 2 h 18"/>
                <a:gd name="T6" fmla="*/ 32 w 68"/>
                <a:gd name="T7" fmla="*/ 6 h 18"/>
                <a:gd name="T8" fmla="*/ 16 w 68"/>
                <a:gd name="T9" fmla="*/ 12 h 18"/>
                <a:gd name="T10" fmla="*/ 0 w 68"/>
                <a:gd name="T11" fmla="*/ 18 h 18"/>
                <a:gd name="T12" fmla="*/ 0 w 68"/>
                <a:gd name="T13" fmla="*/ 18 h 18"/>
                <a:gd name="T14" fmla="*/ 18 w 68"/>
                <a:gd name="T15" fmla="*/ 16 h 18"/>
                <a:gd name="T16" fmla="*/ 34 w 68"/>
                <a:gd name="T17" fmla="*/ 12 h 18"/>
                <a:gd name="T18" fmla="*/ 50 w 68"/>
                <a:gd name="T19" fmla="*/ 6 h 18"/>
                <a:gd name="T20" fmla="*/ 68 w 68"/>
                <a:gd name="T21"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8" h="18">
                  <a:moveTo>
                    <a:pt x="68" y="0"/>
                  </a:moveTo>
                  <a:lnTo>
                    <a:pt x="68" y="0"/>
                  </a:lnTo>
                  <a:lnTo>
                    <a:pt x="50" y="2"/>
                  </a:lnTo>
                  <a:lnTo>
                    <a:pt x="32" y="6"/>
                  </a:lnTo>
                  <a:lnTo>
                    <a:pt x="16" y="12"/>
                  </a:lnTo>
                  <a:lnTo>
                    <a:pt x="0" y="18"/>
                  </a:lnTo>
                  <a:lnTo>
                    <a:pt x="0" y="18"/>
                  </a:lnTo>
                  <a:lnTo>
                    <a:pt x="18" y="16"/>
                  </a:lnTo>
                  <a:lnTo>
                    <a:pt x="34" y="12"/>
                  </a:lnTo>
                  <a:lnTo>
                    <a:pt x="50" y="6"/>
                  </a:lnTo>
                  <a:lnTo>
                    <a:pt x="68" y="0"/>
                  </a:lnTo>
                  <a:close/>
                </a:path>
              </a:pathLst>
            </a:custGeom>
            <a:solidFill>
              <a:srgbClr val="9DA5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98" name="Freeform 1995">
              <a:extLst>
                <a:ext uri="{FF2B5EF4-FFF2-40B4-BE49-F238E27FC236}">
                  <a16:creationId xmlns:a16="http://schemas.microsoft.com/office/drawing/2014/main" id="{79AE4E5E-C080-4263-9349-A36B97C90FCF}"/>
                </a:ext>
              </a:extLst>
            </p:cNvPr>
            <p:cNvSpPr>
              <a:spLocks/>
            </p:cNvSpPr>
            <p:nvPr/>
          </p:nvSpPr>
          <p:spPr bwMode="auto">
            <a:xfrm>
              <a:off x="10501115" y="4305028"/>
              <a:ext cx="121495" cy="32160"/>
            </a:xfrm>
            <a:custGeom>
              <a:avLst/>
              <a:gdLst>
                <a:gd name="T0" fmla="*/ 68 w 68"/>
                <a:gd name="T1" fmla="*/ 0 h 18"/>
                <a:gd name="T2" fmla="*/ 68 w 68"/>
                <a:gd name="T3" fmla="*/ 0 h 18"/>
                <a:gd name="T4" fmla="*/ 50 w 68"/>
                <a:gd name="T5" fmla="*/ 2 h 18"/>
                <a:gd name="T6" fmla="*/ 32 w 68"/>
                <a:gd name="T7" fmla="*/ 6 h 18"/>
                <a:gd name="T8" fmla="*/ 16 w 68"/>
                <a:gd name="T9" fmla="*/ 12 h 18"/>
                <a:gd name="T10" fmla="*/ 0 w 68"/>
                <a:gd name="T11" fmla="*/ 18 h 18"/>
                <a:gd name="T12" fmla="*/ 0 w 68"/>
                <a:gd name="T13" fmla="*/ 18 h 18"/>
                <a:gd name="T14" fmla="*/ 18 w 68"/>
                <a:gd name="T15" fmla="*/ 16 h 18"/>
                <a:gd name="T16" fmla="*/ 34 w 68"/>
                <a:gd name="T17" fmla="*/ 12 h 18"/>
                <a:gd name="T18" fmla="*/ 50 w 68"/>
                <a:gd name="T19" fmla="*/ 6 h 18"/>
                <a:gd name="T20" fmla="*/ 68 w 68"/>
                <a:gd name="T21"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8" h="18">
                  <a:moveTo>
                    <a:pt x="68" y="0"/>
                  </a:moveTo>
                  <a:lnTo>
                    <a:pt x="68" y="0"/>
                  </a:lnTo>
                  <a:lnTo>
                    <a:pt x="50" y="2"/>
                  </a:lnTo>
                  <a:lnTo>
                    <a:pt x="32" y="6"/>
                  </a:lnTo>
                  <a:lnTo>
                    <a:pt x="16" y="12"/>
                  </a:lnTo>
                  <a:lnTo>
                    <a:pt x="0" y="18"/>
                  </a:lnTo>
                  <a:lnTo>
                    <a:pt x="0" y="18"/>
                  </a:lnTo>
                  <a:lnTo>
                    <a:pt x="18" y="16"/>
                  </a:lnTo>
                  <a:lnTo>
                    <a:pt x="34" y="12"/>
                  </a:lnTo>
                  <a:lnTo>
                    <a:pt x="50" y="6"/>
                  </a:lnTo>
                  <a:lnTo>
                    <a:pt x="6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99" name="Freeform 1996">
              <a:extLst>
                <a:ext uri="{FF2B5EF4-FFF2-40B4-BE49-F238E27FC236}">
                  <a16:creationId xmlns:a16="http://schemas.microsoft.com/office/drawing/2014/main" id="{0201B030-1824-48FA-8F6D-208FFFEC5351}"/>
                </a:ext>
              </a:extLst>
            </p:cNvPr>
            <p:cNvSpPr>
              <a:spLocks/>
            </p:cNvSpPr>
            <p:nvPr/>
          </p:nvSpPr>
          <p:spPr bwMode="auto">
            <a:xfrm>
              <a:off x="10436795" y="4272868"/>
              <a:ext cx="232269" cy="67894"/>
            </a:xfrm>
            <a:custGeom>
              <a:avLst/>
              <a:gdLst>
                <a:gd name="T0" fmla="*/ 118 w 130"/>
                <a:gd name="T1" fmla="*/ 0 h 38"/>
                <a:gd name="T2" fmla="*/ 118 w 130"/>
                <a:gd name="T3" fmla="*/ 0 h 38"/>
                <a:gd name="T4" fmla="*/ 98 w 130"/>
                <a:gd name="T5" fmla="*/ 2 h 38"/>
                <a:gd name="T6" fmla="*/ 98 w 130"/>
                <a:gd name="T7" fmla="*/ 2 h 38"/>
                <a:gd name="T8" fmla="*/ 82 w 130"/>
                <a:gd name="T9" fmla="*/ 10 h 38"/>
                <a:gd name="T10" fmla="*/ 66 w 130"/>
                <a:gd name="T11" fmla="*/ 14 h 38"/>
                <a:gd name="T12" fmla="*/ 50 w 130"/>
                <a:gd name="T13" fmla="*/ 18 h 38"/>
                <a:gd name="T14" fmla="*/ 32 w 130"/>
                <a:gd name="T15" fmla="*/ 20 h 38"/>
                <a:gd name="T16" fmla="*/ 32 w 130"/>
                <a:gd name="T17" fmla="*/ 20 h 38"/>
                <a:gd name="T18" fmla="*/ 28 w 130"/>
                <a:gd name="T19" fmla="*/ 22 h 38"/>
                <a:gd name="T20" fmla="*/ 28 w 130"/>
                <a:gd name="T21" fmla="*/ 22 h 38"/>
                <a:gd name="T22" fmla="*/ 8 w 130"/>
                <a:gd name="T23" fmla="*/ 32 h 38"/>
                <a:gd name="T24" fmla="*/ 8 w 130"/>
                <a:gd name="T25" fmla="*/ 32 h 38"/>
                <a:gd name="T26" fmla="*/ 0 w 130"/>
                <a:gd name="T27" fmla="*/ 38 h 38"/>
                <a:gd name="T28" fmla="*/ 0 w 130"/>
                <a:gd name="T29" fmla="*/ 38 h 38"/>
                <a:gd name="T30" fmla="*/ 8 w 130"/>
                <a:gd name="T31" fmla="*/ 38 h 38"/>
                <a:gd name="T32" fmla="*/ 8 w 130"/>
                <a:gd name="T33" fmla="*/ 38 h 38"/>
                <a:gd name="T34" fmla="*/ 36 w 130"/>
                <a:gd name="T35" fmla="*/ 36 h 38"/>
                <a:gd name="T36" fmla="*/ 36 w 130"/>
                <a:gd name="T37" fmla="*/ 36 h 38"/>
                <a:gd name="T38" fmla="*/ 52 w 130"/>
                <a:gd name="T39" fmla="*/ 30 h 38"/>
                <a:gd name="T40" fmla="*/ 68 w 130"/>
                <a:gd name="T41" fmla="*/ 24 h 38"/>
                <a:gd name="T42" fmla="*/ 86 w 130"/>
                <a:gd name="T43" fmla="*/ 20 h 38"/>
                <a:gd name="T44" fmla="*/ 104 w 130"/>
                <a:gd name="T45" fmla="*/ 18 h 38"/>
                <a:gd name="T46" fmla="*/ 104 w 130"/>
                <a:gd name="T47" fmla="*/ 18 h 38"/>
                <a:gd name="T48" fmla="*/ 118 w 130"/>
                <a:gd name="T49" fmla="*/ 8 h 38"/>
                <a:gd name="T50" fmla="*/ 118 w 130"/>
                <a:gd name="T51" fmla="*/ 8 h 38"/>
                <a:gd name="T52" fmla="*/ 130 w 130"/>
                <a:gd name="T53" fmla="*/ 2 h 38"/>
                <a:gd name="T54" fmla="*/ 130 w 130"/>
                <a:gd name="T55" fmla="*/ 2 h 38"/>
                <a:gd name="T56" fmla="*/ 118 w 130"/>
                <a:gd name="T57"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30" h="38">
                  <a:moveTo>
                    <a:pt x="118" y="0"/>
                  </a:moveTo>
                  <a:lnTo>
                    <a:pt x="118" y="0"/>
                  </a:lnTo>
                  <a:lnTo>
                    <a:pt x="98" y="2"/>
                  </a:lnTo>
                  <a:lnTo>
                    <a:pt x="98" y="2"/>
                  </a:lnTo>
                  <a:lnTo>
                    <a:pt x="82" y="10"/>
                  </a:lnTo>
                  <a:lnTo>
                    <a:pt x="66" y="14"/>
                  </a:lnTo>
                  <a:lnTo>
                    <a:pt x="50" y="18"/>
                  </a:lnTo>
                  <a:lnTo>
                    <a:pt x="32" y="20"/>
                  </a:lnTo>
                  <a:lnTo>
                    <a:pt x="32" y="20"/>
                  </a:lnTo>
                  <a:lnTo>
                    <a:pt x="28" y="22"/>
                  </a:lnTo>
                  <a:lnTo>
                    <a:pt x="28" y="22"/>
                  </a:lnTo>
                  <a:lnTo>
                    <a:pt x="8" y="32"/>
                  </a:lnTo>
                  <a:lnTo>
                    <a:pt x="8" y="32"/>
                  </a:lnTo>
                  <a:lnTo>
                    <a:pt x="0" y="38"/>
                  </a:lnTo>
                  <a:lnTo>
                    <a:pt x="0" y="38"/>
                  </a:lnTo>
                  <a:lnTo>
                    <a:pt x="8" y="38"/>
                  </a:lnTo>
                  <a:lnTo>
                    <a:pt x="8" y="38"/>
                  </a:lnTo>
                  <a:lnTo>
                    <a:pt x="36" y="36"/>
                  </a:lnTo>
                  <a:lnTo>
                    <a:pt x="36" y="36"/>
                  </a:lnTo>
                  <a:lnTo>
                    <a:pt x="52" y="30"/>
                  </a:lnTo>
                  <a:lnTo>
                    <a:pt x="68" y="24"/>
                  </a:lnTo>
                  <a:lnTo>
                    <a:pt x="86" y="20"/>
                  </a:lnTo>
                  <a:lnTo>
                    <a:pt x="104" y="18"/>
                  </a:lnTo>
                  <a:lnTo>
                    <a:pt x="104" y="18"/>
                  </a:lnTo>
                  <a:lnTo>
                    <a:pt x="118" y="8"/>
                  </a:lnTo>
                  <a:lnTo>
                    <a:pt x="118" y="8"/>
                  </a:lnTo>
                  <a:lnTo>
                    <a:pt x="130" y="2"/>
                  </a:lnTo>
                  <a:lnTo>
                    <a:pt x="130" y="2"/>
                  </a:lnTo>
                  <a:lnTo>
                    <a:pt x="118" y="0"/>
                  </a:lnTo>
                  <a:close/>
                </a:path>
              </a:pathLst>
            </a:custGeom>
            <a:solidFill>
              <a:srgbClr val="64091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00" name="Freeform 1997">
              <a:extLst>
                <a:ext uri="{FF2B5EF4-FFF2-40B4-BE49-F238E27FC236}">
                  <a16:creationId xmlns:a16="http://schemas.microsoft.com/office/drawing/2014/main" id="{1F96147E-B4C3-4F5C-B28C-D137C30E77A9}"/>
                </a:ext>
              </a:extLst>
            </p:cNvPr>
            <p:cNvSpPr>
              <a:spLocks/>
            </p:cNvSpPr>
            <p:nvPr/>
          </p:nvSpPr>
          <p:spPr bwMode="auto">
            <a:xfrm>
              <a:off x="10436795" y="4272868"/>
              <a:ext cx="232269" cy="67894"/>
            </a:xfrm>
            <a:custGeom>
              <a:avLst/>
              <a:gdLst>
                <a:gd name="T0" fmla="*/ 118 w 130"/>
                <a:gd name="T1" fmla="*/ 0 h 38"/>
                <a:gd name="T2" fmla="*/ 118 w 130"/>
                <a:gd name="T3" fmla="*/ 0 h 38"/>
                <a:gd name="T4" fmla="*/ 98 w 130"/>
                <a:gd name="T5" fmla="*/ 2 h 38"/>
                <a:gd name="T6" fmla="*/ 98 w 130"/>
                <a:gd name="T7" fmla="*/ 2 h 38"/>
                <a:gd name="T8" fmla="*/ 82 w 130"/>
                <a:gd name="T9" fmla="*/ 10 h 38"/>
                <a:gd name="T10" fmla="*/ 66 w 130"/>
                <a:gd name="T11" fmla="*/ 14 h 38"/>
                <a:gd name="T12" fmla="*/ 50 w 130"/>
                <a:gd name="T13" fmla="*/ 18 h 38"/>
                <a:gd name="T14" fmla="*/ 32 w 130"/>
                <a:gd name="T15" fmla="*/ 20 h 38"/>
                <a:gd name="T16" fmla="*/ 32 w 130"/>
                <a:gd name="T17" fmla="*/ 20 h 38"/>
                <a:gd name="T18" fmla="*/ 28 w 130"/>
                <a:gd name="T19" fmla="*/ 22 h 38"/>
                <a:gd name="T20" fmla="*/ 28 w 130"/>
                <a:gd name="T21" fmla="*/ 22 h 38"/>
                <a:gd name="T22" fmla="*/ 8 w 130"/>
                <a:gd name="T23" fmla="*/ 32 h 38"/>
                <a:gd name="T24" fmla="*/ 8 w 130"/>
                <a:gd name="T25" fmla="*/ 32 h 38"/>
                <a:gd name="T26" fmla="*/ 0 w 130"/>
                <a:gd name="T27" fmla="*/ 38 h 38"/>
                <a:gd name="T28" fmla="*/ 0 w 130"/>
                <a:gd name="T29" fmla="*/ 38 h 38"/>
                <a:gd name="T30" fmla="*/ 8 w 130"/>
                <a:gd name="T31" fmla="*/ 38 h 38"/>
                <a:gd name="T32" fmla="*/ 8 w 130"/>
                <a:gd name="T33" fmla="*/ 38 h 38"/>
                <a:gd name="T34" fmla="*/ 36 w 130"/>
                <a:gd name="T35" fmla="*/ 36 h 38"/>
                <a:gd name="T36" fmla="*/ 36 w 130"/>
                <a:gd name="T37" fmla="*/ 36 h 38"/>
                <a:gd name="T38" fmla="*/ 52 w 130"/>
                <a:gd name="T39" fmla="*/ 30 h 38"/>
                <a:gd name="T40" fmla="*/ 68 w 130"/>
                <a:gd name="T41" fmla="*/ 24 h 38"/>
                <a:gd name="T42" fmla="*/ 86 w 130"/>
                <a:gd name="T43" fmla="*/ 20 h 38"/>
                <a:gd name="T44" fmla="*/ 104 w 130"/>
                <a:gd name="T45" fmla="*/ 18 h 38"/>
                <a:gd name="T46" fmla="*/ 104 w 130"/>
                <a:gd name="T47" fmla="*/ 18 h 38"/>
                <a:gd name="T48" fmla="*/ 118 w 130"/>
                <a:gd name="T49" fmla="*/ 8 h 38"/>
                <a:gd name="T50" fmla="*/ 118 w 130"/>
                <a:gd name="T51" fmla="*/ 8 h 38"/>
                <a:gd name="T52" fmla="*/ 130 w 130"/>
                <a:gd name="T53" fmla="*/ 2 h 38"/>
                <a:gd name="T54" fmla="*/ 130 w 130"/>
                <a:gd name="T55" fmla="*/ 2 h 38"/>
                <a:gd name="T56" fmla="*/ 118 w 130"/>
                <a:gd name="T57"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30" h="38">
                  <a:moveTo>
                    <a:pt x="118" y="0"/>
                  </a:moveTo>
                  <a:lnTo>
                    <a:pt x="118" y="0"/>
                  </a:lnTo>
                  <a:lnTo>
                    <a:pt x="98" y="2"/>
                  </a:lnTo>
                  <a:lnTo>
                    <a:pt x="98" y="2"/>
                  </a:lnTo>
                  <a:lnTo>
                    <a:pt x="82" y="10"/>
                  </a:lnTo>
                  <a:lnTo>
                    <a:pt x="66" y="14"/>
                  </a:lnTo>
                  <a:lnTo>
                    <a:pt x="50" y="18"/>
                  </a:lnTo>
                  <a:lnTo>
                    <a:pt x="32" y="20"/>
                  </a:lnTo>
                  <a:lnTo>
                    <a:pt x="32" y="20"/>
                  </a:lnTo>
                  <a:lnTo>
                    <a:pt x="28" y="22"/>
                  </a:lnTo>
                  <a:lnTo>
                    <a:pt x="28" y="22"/>
                  </a:lnTo>
                  <a:lnTo>
                    <a:pt x="8" y="32"/>
                  </a:lnTo>
                  <a:lnTo>
                    <a:pt x="8" y="32"/>
                  </a:lnTo>
                  <a:lnTo>
                    <a:pt x="0" y="38"/>
                  </a:lnTo>
                  <a:lnTo>
                    <a:pt x="0" y="38"/>
                  </a:lnTo>
                  <a:lnTo>
                    <a:pt x="8" y="38"/>
                  </a:lnTo>
                  <a:lnTo>
                    <a:pt x="8" y="38"/>
                  </a:lnTo>
                  <a:lnTo>
                    <a:pt x="36" y="36"/>
                  </a:lnTo>
                  <a:lnTo>
                    <a:pt x="36" y="36"/>
                  </a:lnTo>
                  <a:lnTo>
                    <a:pt x="52" y="30"/>
                  </a:lnTo>
                  <a:lnTo>
                    <a:pt x="68" y="24"/>
                  </a:lnTo>
                  <a:lnTo>
                    <a:pt x="86" y="20"/>
                  </a:lnTo>
                  <a:lnTo>
                    <a:pt x="104" y="18"/>
                  </a:lnTo>
                  <a:lnTo>
                    <a:pt x="104" y="18"/>
                  </a:lnTo>
                  <a:lnTo>
                    <a:pt x="118" y="8"/>
                  </a:lnTo>
                  <a:lnTo>
                    <a:pt x="118" y="8"/>
                  </a:lnTo>
                  <a:lnTo>
                    <a:pt x="130" y="2"/>
                  </a:lnTo>
                  <a:lnTo>
                    <a:pt x="130" y="2"/>
                  </a:lnTo>
                  <a:lnTo>
                    <a:pt x="1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01" name="Freeform 1999">
              <a:extLst>
                <a:ext uri="{FF2B5EF4-FFF2-40B4-BE49-F238E27FC236}">
                  <a16:creationId xmlns:a16="http://schemas.microsoft.com/office/drawing/2014/main" id="{DFA16F9A-024F-4534-B1F6-908171292E53}"/>
                </a:ext>
              </a:extLst>
            </p:cNvPr>
            <p:cNvSpPr>
              <a:spLocks/>
            </p:cNvSpPr>
            <p:nvPr/>
          </p:nvSpPr>
          <p:spPr bwMode="auto">
            <a:xfrm>
              <a:off x="10533276" y="3965558"/>
              <a:ext cx="253709" cy="96481"/>
            </a:xfrm>
            <a:custGeom>
              <a:avLst/>
              <a:gdLst>
                <a:gd name="T0" fmla="*/ 78 w 142"/>
                <a:gd name="T1" fmla="*/ 0 h 54"/>
                <a:gd name="T2" fmla="*/ 78 w 142"/>
                <a:gd name="T3" fmla="*/ 0 h 54"/>
                <a:gd name="T4" fmla="*/ 60 w 142"/>
                <a:gd name="T5" fmla="*/ 0 h 54"/>
                <a:gd name="T6" fmla="*/ 42 w 142"/>
                <a:gd name="T7" fmla="*/ 2 h 54"/>
                <a:gd name="T8" fmla="*/ 22 w 142"/>
                <a:gd name="T9" fmla="*/ 6 h 54"/>
                <a:gd name="T10" fmla="*/ 4 w 142"/>
                <a:gd name="T11" fmla="*/ 12 h 54"/>
                <a:gd name="T12" fmla="*/ 4 w 142"/>
                <a:gd name="T13" fmla="*/ 12 h 54"/>
                <a:gd name="T14" fmla="*/ 0 w 142"/>
                <a:gd name="T15" fmla="*/ 30 h 54"/>
                <a:gd name="T16" fmla="*/ 0 w 142"/>
                <a:gd name="T17" fmla="*/ 30 h 54"/>
                <a:gd name="T18" fmla="*/ 20 w 142"/>
                <a:gd name="T19" fmla="*/ 24 h 54"/>
                <a:gd name="T20" fmla="*/ 40 w 142"/>
                <a:gd name="T21" fmla="*/ 20 h 54"/>
                <a:gd name="T22" fmla="*/ 60 w 142"/>
                <a:gd name="T23" fmla="*/ 16 h 54"/>
                <a:gd name="T24" fmla="*/ 78 w 142"/>
                <a:gd name="T25" fmla="*/ 16 h 54"/>
                <a:gd name="T26" fmla="*/ 78 w 142"/>
                <a:gd name="T27" fmla="*/ 16 h 54"/>
                <a:gd name="T28" fmla="*/ 78 w 142"/>
                <a:gd name="T29" fmla="*/ 16 h 54"/>
                <a:gd name="T30" fmla="*/ 78 w 142"/>
                <a:gd name="T31" fmla="*/ 16 h 54"/>
                <a:gd name="T32" fmla="*/ 80 w 142"/>
                <a:gd name="T33" fmla="*/ 16 h 54"/>
                <a:gd name="T34" fmla="*/ 80 w 142"/>
                <a:gd name="T35" fmla="*/ 16 h 54"/>
                <a:gd name="T36" fmla="*/ 86 w 142"/>
                <a:gd name="T37" fmla="*/ 16 h 54"/>
                <a:gd name="T38" fmla="*/ 86 w 142"/>
                <a:gd name="T39" fmla="*/ 16 h 54"/>
                <a:gd name="T40" fmla="*/ 96 w 142"/>
                <a:gd name="T41" fmla="*/ 18 h 54"/>
                <a:gd name="T42" fmla="*/ 104 w 142"/>
                <a:gd name="T43" fmla="*/ 20 h 54"/>
                <a:gd name="T44" fmla="*/ 110 w 142"/>
                <a:gd name="T45" fmla="*/ 24 h 54"/>
                <a:gd name="T46" fmla="*/ 116 w 142"/>
                <a:gd name="T47" fmla="*/ 30 h 54"/>
                <a:gd name="T48" fmla="*/ 116 w 142"/>
                <a:gd name="T49" fmla="*/ 30 h 54"/>
                <a:gd name="T50" fmla="*/ 124 w 142"/>
                <a:gd name="T51" fmla="*/ 42 h 54"/>
                <a:gd name="T52" fmla="*/ 128 w 142"/>
                <a:gd name="T53" fmla="*/ 54 h 54"/>
                <a:gd name="T54" fmla="*/ 128 w 142"/>
                <a:gd name="T55" fmla="*/ 54 h 54"/>
                <a:gd name="T56" fmla="*/ 142 w 142"/>
                <a:gd name="T57" fmla="*/ 42 h 54"/>
                <a:gd name="T58" fmla="*/ 142 w 142"/>
                <a:gd name="T59" fmla="*/ 42 h 54"/>
                <a:gd name="T60" fmla="*/ 136 w 142"/>
                <a:gd name="T61" fmla="*/ 30 h 54"/>
                <a:gd name="T62" fmla="*/ 128 w 142"/>
                <a:gd name="T63" fmla="*/ 20 h 54"/>
                <a:gd name="T64" fmla="*/ 128 w 142"/>
                <a:gd name="T65" fmla="*/ 20 h 54"/>
                <a:gd name="T66" fmla="*/ 120 w 142"/>
                <a:gd name="T67" fmla="*/ 12 h 54"/>
                <a:gd name="T68" fmla="*/ 110 w 142"/>
                <a:gd name="T69" fmla="*/ 6 h 54"/>
                <a:gd name="T70" fmla="*/ 98 w 142"/>
                <a:gd name="T71" fmla="*/ 2 h 54"/>
                <a:gd name="T72" fmla="*/ 86 w 142"/>
                <a:gd name="T73" fmla="*/ 0 h 54"/>
                <a:gd name="T74" fmla="*/ 86 w 142"/>
                <a:gd name="T75" fmla="*/ 0 h 54"/>
                <a:gd name="T76" fmla="*/ 78 w 142"/>
                <a:gd name="T77"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42" h="54">
                  <a:moveTo>
                    <a:pt x="78" y="0"/>
                  </a:moveTo>
                  <a:lnTo>
                    <a:pt x="78" y="0"/>
                  </a:lnTo>
                  <a:lnTo>
                    <a:pt x="60" y="0"/>
                  </a:lnTo>
                  <a:lnTo>
                    <a:pt x="42" y="2"/>
                  </a:lnTo>
                  <a:lnTo>
                    <a:pt x="22" y="6"/>
                  </a:lnTo>
                  <a:lnTo>
                    <a:pt x="4" y="12"/>
                  </a:lnTo>
                  <a:lnTo>
                    <a:pt x="4" y="12"/>
                  </a:lnTo>
                  <a:lnTo>
                    <a:pt x="0" y="30"/>
                  </a:lnTo>
                  <a:lnTo>
                    <a:pt x="0" y="30"/>
                  </a:lnTo>
                  <a:lnTo>
                    <a:pt x="20" y="24"/>
                  </a:lnTo>
                  <a:lnTo>
                    <a:pt x="40" y="20"/>
                  </a:lnTo>
                  <a:lnTo>
                    <a:pt x="60" y="16"/>
                  </a:lnTo>
                  <a:lnTo>
                    <a:pt x="78" y="16"/>
                  </a:lnTo>
                  <a:lnTo>
                    <a:pt x="78" y="16"/>
                  </a:lnTo>
                  <a:lnTo>
                    <a:pt x="78" y="16"/>
                  </a:lnTo>
                  <a:lnTo>
                    <a:pt x="78" y="16"/>
                  </a:lnTo>
                  <a:lnTo>
                    <a:pt x="80" y="16"/>
                  </a:lnTo>
                  <a:lnTo>
                    <a:pt x="80" y="16"/>
                  </a:lnTo>
                  <a:lnTo>
                    <a:pt x="86" y="16"/>
                  </a:lnTo>
                  <a:lnTo>
                    <a:pt x="86" y="16"/>
                  </a:lnTo>
                  <a:lnTo>
                    <a:pt x="96" y="18"/>
                  </a:lnTo>
                  <a:lnTo>
                    <a:pt x="104" y="20"/>
                  </a:lnTo>
                  <a:lnTo>
                    <a:pt x="110" y="24"/>
                  </a:lnTo>
                  <a:lnTo>
                    <a:pt x="116" y="30"/>
                  </a:lnTo>
                  <a:lnTo>
                    <a:pt x="116" y="30"/>
                  </a:lnTo>
                  <a:lnTo>
                    <a:pt x="124" y="42"/>
                  </a:lnTo>
                  <a:lnTo>
                    <a:pt x="128" y="54"/>
                  </a:lnTo>
                  <a:lnTo>
                    <a:pt x="128" y="54"/>
                  </a:lnTo>
                  <a:lnTo>
                    <a:pt x="142" y="42"/>
                  </a:lnTo>
                  <a:lnTo>
                    <a:pt x="142" y="42"/>
                  </a:lnTo>
                  <a:lnTo>
                    <a:pt x="136" y="30"/>
                  </a:lnTo>
                  <a:lnTo>
                    <a:pt x="128" y="20"/>
                  </a:lnTo>
                  <a:lnTo>
                    <a:pt x="128" y="20"/>
                  </a:lnTo>
                  <a:lnTo>
                    <a:pt x="120" y="12"/>
                  </a:lnTo>
                  <a:lnTo>
                    <a:pt x="110" y="6"/>
                  </a:lnTo>
                  <a:lnTo>
                    <a:pt x="98" y="2"/>
                  </a:lnTo>
                  <a:lnTo>
                    <a:pt x="86" y="0"/>
                  </a:lnTo>
                  <a:lnTo>
                    <a:pt x="86" y="0"/>
                  </a:lnTo>
                  <a:lnTo>
                    <a:pt x="7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02" name="Freeform 2000">
              <a:extLst>
                <a:ext uri="{FF2B5EF4-FFF2-40B4-BE49-F238E27FC236}">
                  <a16:creationId xmlns:a16="http://schemas.microsoft.com/office/drawing/2014/main" id="{5CF97B94-70D2-4FA9-921F-BA4B3BE8B2C8}"/>
                </a:ext>
              </a:extLst>
            </p:cNvPr>
            <p:cNvSpPr>
              <a:spLocks noEditPoints="1"/>
            </p:cNvSpPr>
            <p:nvPr/>
          </p:nvSpPr>
          <p:spPr bwMode="auto">
            <a:xfrm>
              <a:off x="10504689" y="3986998"/>
              <a:ext cx="289443" cy="114348"/>
            </a:xfrm>
            <a:custGeom>
              <a:avLst/>
              <a:gdLst>
                <a:gd name="T0" fmla="*/ 158 w 162"/>
                <a:gd name="T1" fmla="*/ 30 h 64"/>
                <a:gd name="T2" fmla="*/ 158 w 162"/>
                <a:gd name="T3" fmla="*/ 30 h 64"/>
                <a:gd name="T4" fmla="*/ 144 w 162"/>
                <a:gd name="T5" fmla="*/ 42 h 64"/>
                <a:gd name="T6" fmla="*/ 144 w 162"/>
                <a:gd name="T7" fmla="*/ 42 h 64"/>
                <a:gd name="T8" fmla="*/ 146 w 162"/>
                <a:gd name="T9" fmla="*/ 48 h 64"/>
                <a:gd name="T10" fmla="*/ 146 w 162"/>
                <a:gd name="T11" fmla="*/ 48 h 64"/>
                <a:gd name="T12" fmla="*/ 144 w 162"/>
                <a:gd name="T13" fmla="*/ 56 h 64"/>
                <a:gd name="T14" fmla="*/ 142 w 162"/>
                <a:gd name="T15" fmla="*/ 64 h 64"/>
                <a:gd name="T16" fmla="*/ 142 w 162"/>
                <a:gd name="T17" fmla="*/ 64 h 64"/>
                <a:gd name="T18" fmla="*/ 162 w 162"/>
                <a:gd name="T19" fmla="*/ 50 h 64"/>
                <a:gd name="T20" fmla="*/ 162 w 162"/>
                <a:gd name="T21" fmla="*/ 50 h 64"/>
                <a:gd name="T22" fmla="*/ 162 w 162"/>
                <a:gd name="T23" fmla="*/ 48 h 64"/>
                <a:gd name="T24" fmla="*/ 162 w 162"/>
                <a:gd name="T25" fmla="*/ 48 h 64"/>
                <a:gd name="T26" fmla="*/ 160 w 162"/>
                <a:gd name="T27" fmla="*/ 40 h 64"/>
                <a:gd name="T28" fmla="*/ 158 w 162"/>
                <a:gd name="T29" fmla="*/ 30 h 64"/>
                <a:gd name="T30" fmla="*/ 20 w 162"/>
                <a:gd name="T31" fmla="*/ 0 h 64"/>
                <a:gd name="T32" fmla="*/ 20 w 162"/>
                <a:gd name="T33" fmla="*/ 0 h 64"/>
                <a:gd name="T34" fmla="*/ 2 w 162"/>
                <a:gd name="T35" fmla="*/ 6 h 64"/>
                <a:gd name="T36" fmla="*/ 2 w 162"/>
                <a:gd name="T37" fmla="*/ 6 h 64"/>
                <a:gd name="T38" fmla="*/ 0 w 162"/>
                <a:gd name="T39" fmla="*/ 14 h 64"/>
                <a:gd name="T40" fmla="*/ 0 w 162"/>
                <a:gd name="T41" fmla="*/ 14 h 64"/>
                <a:gd name="T42" fmla="*/ 0 w 162"/>
                <a:gd name="T43" fmla="*/ 26 h 64"/>
                <a:gd name="T44" fmla="*/ 0 w 162"/>
                <a:gd name="T45" fmla="*/ 26 h 64"/>
                <a:gd name="T46" fmla="*/ 16 w 162"/>
                <a:gd name="T47" fmla="*/ 18 h 64"/>
                <a:gd name="T48" fmla="*/ 16 w 162"/>
                <a:gd name="T49" fmla="*/ 18 h 64"/>
                <a:gd name="T50" fmla="*/ 20 w 162"/>
                <a:gd name="T51"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2" h="64">
                  <a:moveTo>
                    <a:pt x="158" y="30"/>
                  </a:moveTo>
                  <a:lnTo>
                    <a:pt x="158" y="30"/>
                  </a:lnTo>
                  <a:lnTo>
                    <a:pt x="144" y="42"/>
                  </a:lnTo>
                  <a:lnTo>
                    <a:pt x="144" y="42"/>
                  </a:lnTo>
                  <a:lnTo>
                    <a:pt x="146" y="48"/>
                  </a:lnTo>
                  <a:lnTo>
                    <a:pt x="146" y="48"/>
                  </a:lnTo>
                  <a:lnTo>
                    <a:pt x="144" y="56"/>
                  </a:lnTo>
                  <a:lnTo>
                    <a:pt x="142" y="64"/>
                  </a:lnTo>
                  <a:lnTo>
                    <a:pt x="142" y="64"/>
                  </a:lnTo>
                  <a:lnTo>
                    <a:pt x="162" y="50"/>
                  </a:lnTo>
                  <a:lnTo>
                    <a:pt x="162" y="50"/>
                  </a:lnTo>
                  <a:lnTo>
                    <a:pt x="162" y="48"/>
                  </a:lnTo>
                  <a:lnTo>
                    <a:pt x="162" y="48"/>
                  </a:lnTo>
                  <a:lnTo>
                    <a:pt x="160" y="40"/>
                  </a:lnTo>
                  <a:lnTo>
                    <a:pt x="158" y="30"/>
                  </a:lnTo>
                  <a:close/>
                  <a:moveTo>
                    <a:pt x="20" y="0"/>
                  </a:moveTo>
                  <a:lnTo>
                    <a:pt x="20" y="0"/>
                  </a:lnTo>
                  <a:lnTo>
                    <a:pt x="2" y="6"/>
                  </a:lnTo>
                  <a:lnTo>
                    <a:pt x="2" y="6"/>
                  </a:lnTo>
                  <a:lnTo>
                    <a:pt x="0" y="14"/>
                  </a:lnTo>
                  <a:lnTo>
                    <a:pt x="0" y="14"/>
                  </a:lnTo>
                  <a:lnTo>
                    <a:pt x="0" y="26"/>
                  </a:lnTo>
                  <a:lnTo>
                    <a:pt x="0" y="26"/>
                  </a:lnTo>
                  <a:lnTo>
                    <a:pt x="16" y="18"/>
                  </a:lnTo>
                  <a:lnTo>
                    <a:pt x="16" y="18"/>
                  </a:lnTo>
                  <a:lnTo>
                    <a:pt x="20" y="0"/>
                  </a:lnTo>
                  <a:close/>
                </a:path>
              </a:pathLst>
            </a:custGeom>
            <a:solidFill>
              <a:srgbClr val="64091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03" name="Freeform 2001">
              <a:extLst>
                <a:ext uri="{FF2B5EF4-FFF2-40B4-BE49-F238E27FC236}">
                  <a16:creationId xmlns:a16="http://schemas.microsoft.com/office/drawing/2014/main" id="{BC8C928D-4516-4475-ABB6-231076CAF124}"/>
                </a:ext>
              </a:extLst>
            </p:cNvPr>
            <p:cNvSpPr>
              <a:spLocks/>
            </p:cNvSpPr>
            <p:nvPr/>
          </p:nvSpPr>
          <p:spPr bwMode="auto">
            <a:xfrm>
              <a:off x="10758398" y="4040599"/>
              <a:ext cx="35734" cy="60747"/>
            </a:xfrm>
            <a:custGeom>
              <a:avLst/>
              <a:gdLst>
                <a:gd name="T0" fmla="*/ 16 w 20"/>
                <a:gd name="T1" fmla="*/ 0 h 34"/>
                <a:gd name="T2" fmla="*/ 16 w 20"/>
                <a:gd name="T3" fmla="*/ 0 h 34"/>
                <a:gd name="T4" fmla="*/ 2 w 20"/>
                <a:gd name="T5" fmla="*/ 12 h 34"/>
                <a:gd name="T6" fmla="*/ 2 w 20"/>
                <a:gd name="T7" fmla="*/ 12 h 34"/>
                <a:gd name="T8" fmla="*/ 4 w 20"/>
                <a:gd name="T9" fmla="*/ 18 h 34"/>
                <a:gd name="T10" fmla="*/ 4 w 20"/>
                <a:gd name="T11" fmla="*/ 18 h 34"/>
                <a:gd name="T12" fmla="*/ 2 w 20"/>
                <a:gd name="T13" fmla="*/ 26 h 34"/>
                <a:gd name="T14" fmla="*/ 0 w 20"/>
                <a:gd name="T15" fmla="*/ 34 h 34"/>
                <a:gd name="T16" fmla="*/ 0 w 20"/>
                <a:gd name="T17" fmla="*/ 34 h 34"/>
                <a:gd name="T18" fmla="*/ 20 w 20"/>
                <a:gd name="T19" fmla="*/ 20 h 34"/>
                <a:gd name="T20" fmla="*/ 20 w 20"/>
                <a:gd name="T21" fmla="*/ 20 h 34"/>
                <a:gd name="T22" fmla="*/ 20 w 20"/>
                <a:gd name="T23" fmla="*/ 18 h 34"/>
                <a:gd name="T24" fmla="*/ 20 w 20"/>
                <a:gd name="T25" fmla="*/ 18 h 34"/>
                <a:gd name="T26" fmla="*/ 18 w 20"/>
                <a:gd name="T27" fmla="*/ 10 h 34"/>
                <a:gd name="T28" fmla="*/ 16 w 20"/>
                <a:gd name="T29"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 h="34">
                  <a:moveTo>
                    <a:pt x="16" y="0"/>
                  </a:moveTo>
                  <a:lnTo>
                    <a:pt x="16" y="0"/>
                  </a:lnTo>
                  <a:lnTo>
                    <a:pt x="2" y="12"/>
                  </a:lnTo>
                  <a:lnTo>
                    <a:pt x="2" y="12"/>
                  </a:lnTo>
                  <a:lnTo>
                    <a:pt x="4" y="18"/>
                  </a:lnTo>
                  <a:lnTo>
                    <a:pt x="4" y="18"/>
                  </a:lnTo>
                  <a:lnTo>
                    <a:pt x="2" y="26"/>
                  </a:lnTo>
                  <a:lnTo>
                    <a:pt x="0" y="34"/>
                  </a:lnTo>
                  <a:lnTo>
                    <a:pt x="0" y="34"/>
                  </a:lnTo>
                  <a:lnTo>
                    <a:pt x="20" y="20"/>
                  </a:lnTo>
                  <a:lnTo>
                    <a:pt x="20" y="20"/>
                  </a:lnTo>
                  <a:lnTo>
                    <a:pt x="20" y="18"/>
                  </a:lnTo>
                  <a:lnTo>
                    <a:pt x="20" y="18"/>
                  </a:lnTo>
                  <a:lnTo>
                    <a:pt x="18" y="1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04" name="Freeform 2002">
              <a:extLst>
                <a:ext uri="{FF2B5EF4-FFF2-40B4-BE49-F238E27FC236}">
                  <a16:creationId xmlns:a16="http://schemas.microsoft.com/office/drawing/2014/main" id="{1C84D491-5038-49B5-A797-D80B990B3C58}"/>
                </a:ext>
              </a:extLst>
            </p:cNvPr>
            <p:cNvSpPr>
              <a:spLocks/>
            </p:cNvSpPr>
            <p:nvPr/>
          </p:nvSpPr>
          <p:spPr bwMode="auto">
            <a:xfrm>
              <a:off x="10504689" y="3986998"/>
              <a:ext cx="35734" cy="46454"/>
            </a:xfrm>
            <a:custGeom>
              <a:avLst/>
              <a:gdLst>
                <a:gd name="T0" fmla="*/ 20 w 20"/>
                <a:gd name="T1" fmla="*/ 0 h 26"/>
                <a:gd name="T2" fmla="*/ 20 w 20"/>
                <a:gd name="T3" fmla="*/ 0 h 26"/>
                <a:gd name="T4" fmla="*/ 2 w 20"/>
                <a:gd name="T5" fmla="*/ 6 h 26"/>
                <a:gd name="T6" fmla="*/ 2 w 20"/>
                <a:gd name="T7" fmla="*/ 6 h 26"/>
                <a:gd name="T8" fmla="*/ 0 w 20"/>
                <a:gd name="T9" fmla="*/ 14 h 26"/>
                <a:gd name="T10" fmla="*/ 0 w 20"/>
                <a:gd name="T11" fmla="*/ 14 h 26"/>
                <a:gd name="T12" fmla="*/ 0 w 20"/>
                <a:gd name="T13" fmla="*/ 26 h 26"/>
                <a:gd name="T14" fmla="*/ 0 w 20"/>
                <a:gd name="T15" fmla="*/ 26 h 26"/>
                <a:gd name="T16" fmla="*/ 16 w 20"/>
                <a:gd name="T17" fmla="*/ 18 h 26"/>
                <a:gd name="T18" fmla="*/ 16 w 20"/>
                <a:gd name="T19" fmla="*/ 18 h 26"/>
                <a:gd name="T20" fmla="*/ 20 w 20"/>
                <a:gd name="T2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6">
                  <a:moveTo>
                    <a:pt x="20" y="0"/>
                  </a:moveTo>
                  <a:lnTo>
                    <a:pt x="20" y="0"/>
                  </a:lnTo>
                  <a:lnTo>
                    <a:pt x="2" y="6"/>
                  </a:lnTo>
                  <a:lnTo>
                    <a:pt x="2" y="6"/>
                  </a:lnTo>
                  <a:lnTo>
                    <a:pt x="0" y="14"/>
                  </a:lnTo>
                  <a:lnTo>
                    <a:pt x="0" y="14"/>
                  </a:lnTo>
                  <a:lnTo>
                    <a:pt x="0" y="26"/>
                  </a:lnTo>
                  <a:lnTo>
                    <a:pt x="0" y="26"/>
                  </a:lnTo>
                  <a:lnTo>
                    <a:pt x="16" y="18"/>
                  </a:lnTo>
                  <a:lnTo>
                    <a:pt x="16" y="18"/>
                  </a:lnTo>
                  <a:lnTo>
                    <a:pt x="2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05" name="Freeform 2003">
              <a:extLst>
                <a:ext uri="{FF2B5EF4-FFF2-40B4-BE49-F238E27FC236}">
                  <a16:creationId xmlns:a16="http://schemas.microsoft.com/office/drawing/2014/main" id="{AFC8DDE8-32EB-4D75-9740-83279A4BDBAF}"/>
                </a:ext>
              </a:extLst>
            </p:cNvPr>
            <p:cNvSpPr>
              <a:spLocks/>
            </p:cNvSpPr>
            <p:nvPr/>
          </p:nvSpPr>
          <p:spPr bwMode="auto">
            <a:xfrm>
              <a:off x="10411781" y="4040599"/>
              <a:ext cx="521712" cy="318030"/>
            </a:xfrm>
            <a:custGeom>
              <a:avLst/>
              <a:gdLst>
                <a:gd name="T0" fmla="*/ 112 w 292"/>
                <a:gd name="T1" fmla="*/ 16 h 178"/>
                <a:gd name="T2" fmla="*/ 112 w 292"/>
                <a:gd name="T3" fmla="*/ 16 h 178"/>
                <a:gd name="T4" fmla="*/ 96 w 292"/>
                <a:gd name="T5" fmla="*/ 24 h 178"/>
                <a:gd name="T6" fmla="*/ 84 w 292"/>
                <a:gd name="T7" fmla="*/ 32 h 178"/>
                <a:gd name="T8" fmla="*/ 70 w 292"/>
                <a:gd name="T9" fmla="*/ 42 h 178"/>
                <a:gd name="T10" fmla="*/ 60 w 292"/>
                <a:gd name="T11" fmla="*/ 54 h 178"/>
                <a:gd name="T12" fmla="*/ 40 w 292"/>
                <a:gd name="T13" fmla="*/ 78 h 178"/>
                <a:gd name="T14" fmla="*/ 26 w 292"/>
                <a:gd name="T15" fmla="*/ 102 h 178"/>
                <a:gd name="T16" fmla="*/ 14 w 292"/>
                <a:gd name="T17" fmla="*/ 124 h 178"/>
                <a:gd name="T18" fmla="*/ 6 w 292"/>
                <a:gd name="T19" fmla="*/ 142 h 178"/>
                <a:gd name="T20" fmla="*/ 0 w 292"/>
                <a:gd name="T21" fmla="*/ 160 h 178"/>
                <a:gd name="T22" fmla="*/ 0 w 292"/>
                <a:gd name="T23" fmla="*/ 160 h 178"/>
                <a:gd name="T24" fmla="*/ 18 w 292"/>
                <a:gd name="T25" fmla="*/ 166 h 178"/>
                <a:gd name="T26" fmla="*/ 36 w 292"/>
                <a:gd name="T27" fmla="*/ 170 h 178"/>
                <a:gd name="T28" fmla="*/ 62 w 292"/>
                <a:gd name="T29" fmla="*/ 176 h 178"/>
                <a:gd name="T30" fmla="*/ 90 w 292"/>
                <a:gd name="T31" fmla="*/ 178 h 178"/>
                <a:gd name="T32" fmla="*/ 120 w 292"/>
                <a:gd name="T33" fmla="*/ 178 h 178"/>
                <a:gd name="T34" fmla="*/ 136 w 292"/>
                <a:gd name="T35" fmla="*/ 178 h 178"/>
                <a:gd name="T36" fmla="*/ 152 w 292"/>
                <a:gd name="T37" fmla="*/ 174 h 178"/>
                <a:gd name="T38" fmla="*/ 166 w 292"/>
                <a:gd name="T39" fmla="*/ 170 h 178"/>
                <a:gd name="T40" fmla="*/ 182 w 292"/>
                <a:gd name="T41" fmla="*/ 162 h 178"/>
                <a:gd name="T42" fmla="*/ 182 w 292"/>
                <a:gd name="T43" fmla="*/ 162 h 178"/>
                <a:gd name="T44" fmla="*/ 196 w 292"/>
                <a:gd name="T45" fmla="*/ 154 h 178"/>
                <a:gd name="T46" fmla="*/ 210 w 292"/>
                <a:gd name="T47" fmla="*/ 146 h 178"/>
                <a:gd name="T48" fmla="*/ 222 w 292"/>
                <a:gd name="T49" fmla="*/ 136 h 178"/>
                <a:gd name="T50" fmla="*/ 234 w 292"/>
                <a:gd name="T51" fmla="*/ 124 h 178"/>
                <a:gd name="T52" fmla="*/ 252 w 292"/>
                <a:gd name="T53" fmla="*/ 100 h 178"/>
                <a:gd name="T54" fmla="*/ 268 w 292"/>
                <a:gd name="T55" fmla="*/ 76 h 178"/>
                <a:gd name="T56" fmla="*/ 280 w 292"/>
                <a:gd name="T57" fmla="*/ 54 h 178"/>
                <a:gd name="T58" fmla="*/ 286 w 292"/>
                <a:gd name="T59" fmla="*/ 36 h 178"/>
                <a:gd name="T60" fmla="*/ 292 w 292"/>
                <a:gd name="T61" fmla="*/ 18 h 178"/>
                <a:gd name="T62" fmla="*/ 292 w 292"/>
                <a:gd name="T63" fmla="*/ 18 h 178"/>
                <a:gd name="T64" fmla="*/ 276 w 292"/>
                <a:gd name="T65" fmla="*/ 12 h 178"/>
                <a:gd name="T66" fmla="*/ 256 w 292"/>
                <a:gd name="T67" fmla="*/ 8 h 178"/>
                <a:gd name="T68" fmla="*/ 232 w 292"/>
                <a:gd name="T69" fmla="*/ 2 h 178"/>
                <a:gd name="T70" fmla="*/ 204 w 292"/>
                <a:gd name="T71" fmla="*/ 0 h 178"/>
                <a:gd name="T72" fmla="*/ 174 w 292"/>
                <a:gd name="T73" fmla="*/ 0 h 178"/>
                <a:gd name="T74" fmla="*/ 158 w 292"/>
                <a:gd name="T75" fmla="*/ 0 h 178"/>
                <a:gd name="T76" fmla="*/ 142 w 292"/>
                <a:gd name="T77" fmla="*/ 4 h 178"/>
                <a:gd name="T78" fmla="*/ 126 w 292"/>
                <a:gd name="T79" fmla="*/ 8 h 178"/>
                <a:gd name="T80" fmla="*/ 112 w 292"/>
                <a:gd name="T81" fmla="*/ 16 h 178"/>
                <a:gd name="T82" fmla="*/ 112 w 292"/>
                <a:gd name="T83" fmla="*/ 16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92" h="178">
                  <a:moveTo>
                    <a:pt x="112" y="16"/>
                  </a:moveTo>
                  <a:lnTo>
                    <a:pt x="112" y="16"/>
                  </a:lnTo>
                  <a:lnTo>
                    <a:pt x="96" y="24"/>
                  </a:lnTo>
                  <a:lnTo>
                    <a:pt x="84" y="32"/>
                  </a:lnTo>
                  <a:lnTo>
                    <a:pt x="70" y="42"/>
                  </a:lnTo>
                  <a:lnTo>
                    <a:pt x="60" y="54"/>
                  </a:lnTo>
                  <a:lnTo>
                    <a:pt x="40" y="78"/>
                  </a:lnTo>
                  <a:lnTo>
                    <a:pt x="26" y="102"/>
                  </a:lnTo>
                  <a:lnTo>
                    <a:pt x="14" y="124"/>
                  </a:lnTo>
                  <a:lnTo>
                    <a:pt x="6" y="142"/>
                  </a:lnTo>
                  <a:lnTo>
                    <a:pt x="0" y="160"/>
                  </a:lnTo>
                  <a:lnTo>
                    <a:pt x="0" y="160"/>
                  </a:lnTo>
                  <a:lnTo>
                    <a:pt x="18" y="166"/>
                  </a:lnTo>
                  <a:lnTo>
                    <a:pt x="36" y="170"/>
                  </a:lnTo>
                  <a:lnTo>
                    <a:pt x="62" y="176"/>
                  </a:lnTo>
                  <a:lnTo>
                    <a:pt x="90" y="178"/>
                  </a:lnTo>
                  <a:lnTo>
                    <a:pt x="120" y="178"/>
                  </a:lnTo>
                  <a:lnTo>
                    <a:pt x="136" y="178"/>
                  </a:lnTo>
                  <a:lnTo>
                    <a:pt x="152" y="174"/>
                  </a:lnTo>
                  <a:lnTo>
                    <a:pt x="166" y="170"/>
                  </a:lnTo>
                  <a:lnTo>
                    <a:pt x="182" y="162"/>
                  </a:lnTo>
                  <a:lnTo>
                    <a:pt x="182" y="162"/>
                  </a:lnTo>
                  <a:lnTo>
                    <a:pt x="196" y="154"/>
                  </a:lnTo>
                  <a:lnTo>
                    <a:pt x="210" y="146"/>
                  </a:lnTo>
                  <a:lnTo>
                    <a:pt x="222" y="136"/>
                  </a:lnTo>
                  <a:lnTo>
                    <a:pt x="234" y="124"/>
                  </a:lnTo>
                  <a:lnTo>
                    <a:pt x="252" y="100"/>
                  </a:lnTo>
                  <a:lnTo>
                    <a:pt x="268" y="76"/>
                  </a:lnTo>
                  <a:lnTo>
                    <a:pt x="280" y="54"/>
                  </a:lnTo>
                  <a:lnTo>
                    <a:pt x="286" y="36"/>
                  </a:lnTo>
                  <a:lnTo>
                    <a:pt x="292" y="18"/>
                  </a:lnTo>
                  <a:lnTo>
                    <a:pt x="292" y="18"/>
                  </a:lnTo>
                  <a:lnTo>
                    <a:pt x="276" y="12"/>
                  </a:lnTo>
                  <a:lnTo>
                    <a:pt x="256" y="8"/>
                  </a:lnTo>
                  <a:lnTo>
                    <a:pt x="232" y="2"/>
                  </a:lnTo>
                  <a:lnTo>
                    <a:pt x="204" y="0"/>
                  </a:lnTo>
                  <a:lnTo>
                    <a:pt x="174" y="0"/>
                  </a:lnTo>
                  <a:lnTo>
                    <a:pt x="158" y="0"/>
                  </a:lnTo>
                  <a:lnTo>
                    <a:pt x="142" y="4"/>
                  </a:lnTo>
                  <a:lnTo>
                    <a:pt x="126" y="8"/>
                  </a:lnTo>
                  <a:lnTo>
                    <a:pt x="112" y="16"/>
                  </a:lnTo>
                  <a:lnTo>
                    <a:pt x="112" y="16"/>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06" name="Freeform 2005">
              <a:extLst>
                <a:ext uri="{FF2B5EF4-FFF2-40B4-BE49-F238E27FC236}">
                  <a16:creationId xmlns:a16="http://schemas.microsoft.com/office/drawing/2014/main" id="{169D4EB6-62A6-427F-A85C-5373A8A2CF02}"/>
                </a:ext>
              </a:extLst>
            </p:cNvPr>
            <p:cNvSpPr>
              <a:spLocks/>
            </p:cNvSpPr>
            <p:nvPr/>
          </p:nvSpPr>
          <p:spPr bwMode="auto">
            <a:xfrm>
              <a:off x="10476102" y="3350938"/>
              <a:ext cx="335897" cy="507418"/>
            </a:xfrm>
            <a:custGeom>
              <a:avLst/>
              <a:gdLst>
                <a:gd name="T0" fmla="*/ 22 w 188"/>
                <a:gd name="T1" fmla="*/ 102 h 284"/>
                <a:gd name="T2" fmla="*/ 22 w 188"/>
                <a:gd name="T3" fmla="*/ 102 h 284"/>
                <a:gd name="T4" fmla="*/ 16 w 188"/>
                <a:gd name="T5" fmla="*/ 116 h 284"/>
                <a:gd name="T6" fmla="*/ 10 w 188"/>
                <a:gd name="T7" fmla="*/ 132 h 284"/>
                <a:gd name="T8" fmla="*/ 6 w 188"/>
                <a:gd name="T9" fmla="*/ 148 h 284"/>
                <a:gd name="T10" fmla="*/ 2 w 188"/>
                <a:gd name="T11" fmla="*/ 162 h 284"/>
                <a:gd name="T12" fmla="*/ 0 w 188"/>
                <a:gd name="T13" fmla="*/ 194 h 284"/>
                <a:gd name="T14" fmla="*/ 2 w 188"/>
                <a:gd name="T15" fmla="*/ 222 h 284"/>
                <a:gd name="T16" fmla="*/ 6 w 188"/>
                <a:gd name="T17" fmla="*/ 246 h 284"/>
                <a:gd name="T18" fmla="*/ 10 w 188"/>
                <a:gd name="T19" fmla="*/ 266 h 284"/>
                <a:gd name="T20" fmla="*/ 14 w 188"/>
                <a:gd name="T21" fmla="*/ 284 h 284"/>
                <a:gd name="T22" fmla="*/ 14 w 188"/>
                <a:gd name="T23" fmla="*/ 284 h 284"/>
                <a:gd name="T24" fmla="*/ 32 w 188"/>
                <a:gd name="T25" fmla="*/ 278 h 284"/>
                <a:gd name="T26" fmla="*/ 50 w 188"/>
                <a:gd name="T27" fmla="*/ 272 h 284"/>
                <a:gd name="T28" fmla="*/ 74 w 188"/>
                <a:gd name="T29" fmla="*/ 262 h 284"/>
                <a:gd name="T30" fmla="*/ 98 w 188"/>
                <a:gd name="T31" fmla="*/ 248 h 284"/>
                <a:gd name="T32" fmla="*/ 124 w 188"/>
                <a:gd name="T33" fmla="*/ 232 h 284"/>
                <a:gd name="T34" fmla="*/ 136 w 188"/>
                <a:gd name="T35" fmla="*/ 220 h 284"/>
                <a:gd name="T36" fmla="*/ 146 w 188"/>
                <a:gd name="T37" fmla="*/ 210 h 284"/>
                <a:gd name="T38" fmla="*/ 156 w 188"/>
                <a:gd name="T39" fmla="*/ 196 h 284"/>
                <a:gd name="T40" fmla="*/ 166 w 188"/>
                <a:gd name="T41" fmla="*/ 182 h 284"/>
                <a:gd name="T42" fmla="*/ 166 w 188"/>
                <a:gd name="T43" fmla="*/ 182 h 284"/>
                <a:gd name="T44" fmla="*/ 174 w 188"/>
                <a:gd name="T45" fmla="*/ 168 h 284"/>
                <a:gd name="T46" fmla="*/ 178 w 188"/>
                <a:gd name="T47" fmla="*/ 152 h 284"/>
                <a:gd name="T48" fmla="*/ 182 w 188"/>
                <a:gd name="T49" fmla="*/ 136 h 284"/>
                <a:gd name="T50" fmla="*/ 186 w 188"/>
                <a:gd name="T51" fmla="*/ 122 h 284"/>
                <a:gd name="T52" fmla="*/ 188 w 188"/>
                <a:gd name="T53" fmla="*/ 90 h 284"/>
                <a:gd name="T54" fmla="*/ 186 w 188"/>
                <a:gd name="T55" fmla="*/ 62 h 284"/>
                <a:gd name="T56" fmla="*/ 182 w 188"/>
                <a:gd name="T57" fmla="*/ 38 h 284"/>
                <a:gd name="T58" fmla="*/ 178 w 188"/>
                <a:gd name="T59" fmla="*/ 18 h 284"/>
                <a:gd name="T60" fmla="*/ 174 w 188"/>
                <a:gd name="T61" fmla="*/ 0 h 284"/>
                <a:gd name="T62" fmla="*/ 174 w 188"/>
                <a:gd name="T63" fmla="*/ 0 h 284"/>
                <a:gd name="T64" fmla="*/ 156 w 188"/>
                <a:gd name="T65" fmla="*/ 6 h 284"/>
                <a:gd name="T66" fmla="*/ 138 w 188"/>
                <a:gd name="T67" fmla="*/ 12 h 284"/>
                <a:gd name="T68" fmla="*/ 114 w 188"/>
                <a:gd name="T69" fmla="*/ 22 h 284"/>
                <a:gd name="T70" fmla="*/ 90 w 188"/>
                <a:gd name="T71" fmla="*/ 36 h 284"/>
                <a:gd name="T72" fmla="*/ 64 w 188"/>
                <a:gd name="T73" fmla="*/ 54 h 284"/>
                <a:gd name="T74" fmla="*/ 54 w 188"/>
                <a:gd name="T75" fmla="*/ 64 h 284"/>
                <a:gd name="T76" fmla="*/ 42 w 188"/>
                <a:gd name="T77" fmla="*/ 74 h 284"/>
                <a:gd name="T78" fmla="*/ 32 w 188"/>
                <a:gd name="T79" fmla="*/ 88 h 284"/>
                <a:gd name="T80" fmla="*/ 22 w 188"/>
                <a:gd name="T81" fmla="*/ 102 h 284"/>
                <a:gd name="T82" fmla="*/ 22 w 188"/>
                <a:gd name="T83" fmla="*/ 102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88" h="284">
                  <a:moveTo>
                    <a:pt x="22" y="102"/>
                  </a:moveTo>
                  <a:lnTo>
                    <a:pt x="22" y="102"/>
                  </a:lnTo>
                  <a:lnTo>
                    <a:pt x="16" y="116"/>
                  </a:lnTo>
                  <a:lnTo>
                    <a:pt x="10" y="132"/>
                  </a:lnTo>
                  <a:lnTo>
                    <a:pt x="6" y="148"/>
                  </a:lnTo>
                  <a:lnTo>
                    <a:pt x="2" y="162"/>
                  </a:lnTo>
                  <a:lnTo>
                    <a:pt x="0" y="194"/>
                  </a:lnTo>
                  <a:lnTo>
                    <a:pt x="2" y="222"/>
                  </a:lnTo>
                  <a:lnTo>
                    <a:pt x="6" y="246"/>
                  </a:lnTo>
                  <a:lnTo>
                    <a:pt x="10" y="266"/>
                  </a:lnTo>
                  <a:lnTo>
                    <a:pt x="14" y="284"/>
                  </a:lnTo>
                  <a:lnTo>
                    <a:pt x="14" y="284"/>
                  </a:lnTo>
                  <a:lnTo>
                    <a:pt x="32" y="278"/>
                  </a:lnTo>
                  <a:lnTo>
                    <a:pt x="50" y="272"/>
                  </a:lnTo>
                  <a:lnTo>
                    <a:pt x="74" y="262"/>
                  </a:lnTo>
                  <a:lnTo>
                    <a:pt x="98" y="248"/>
                  </a:lnTo>
                  <a:lnTo>
                    <a:pt x="124" y="232"/>
                  </a:lnTo>
                  <a:lnTo>
                    <a:pt x="136" y="220"/>
                  </a:lnTo>
                  <a:lnTo>
                    <a:pt x="146" y="210"/>
                  </a:lnTo>
                  <a:lnTo>
                    <a:pt x="156" y="196"/>
                  </a:lnTo>
                  <a:lnTo>
                    <a:pt x="166" y="182"/>
                  </a:lnTo>
                  <a:lnTo>
                    <a:pt x="166" y="182"/>
                  </a:lnTo>
                  <a:lnTo>
                    <a:pt x="174" y="168"/>
                  </a:lnTo>
                  <a:lnTo>
                    <a:pt x="178" y="152"/>
                  </a:lnTo>
                  <a:lnTo>
                    <a:pt x="182" y="136"/>
                  </a:lnTo>
                  <a:lnTo>
                    <a:pt x="186" y="122"/>
                  </a:lnTo>
                  <a:lnTo>
                    <a:pt x="188" y="90"/>
                  </a:lnTo>
                  <a:lnTo>
                    <a:pt x="186" y="62"/>
                  </a:lnTo>
                  <a:lnTo>
                    <a:pt x="182" y="38"/>
                  </a:lnTo>
                  <a:lnTo>
                    <a:pt x="178" y="18"/>
                  </a:lnTo>
                  <a:lnTo>
                    <a:pt x="174" y="0"/>
                  </a:lnTo>
                  <a:lnTo>
                    <a:pt x="174" y="0"/>
                  </a:lnTo>
                  <a:lnTo>
                    <a:pt x="156" y="6"/>
                  </a:lnTo>
                  <a:lnTo>
                    <a:pt x="138" y="12"/>
                  </a:lnTo>
                  <a:lnTo>
                    <a:pt x="114" y="22"/>
                  </a:lnTo>
                  <a:lnTo>
                    <a:pt x="90" y="36"/>
                  </a:lnTo>
                  <a:lnTo>
                    <a:pt x="64" y="54"/>
                  </a:lnTo>
                  <a:lnTo>
                    <a:pt x="54" y="64"/>
                  </a:lnTo>
                  <a:lnTo>
                    <a:pt x="42" y="74"/>
                  </a:lnTo>
                  <a:lnTo>
                    <a:pt x="32" y="88"/>
                  </a:lnTo>
                  <a:lnTo>
                    <a:pt x="22" y="102"/>
                  </a:lnTo>
                  <a:lnTo>
                    <a:pt x="22" y="102"/>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07" name="Freeform 2007">
              <a:extLst>
                <a:ext uri="{FF2B5EF4-FFF2-40B4-BE49-F238E27FC236}">
                  <a16:creationId xmlns:a16="http://schemas.microsoft.com/office/drawing/2014/main" id="{9A94CF5F-340C-4F03-A9FA-98BF7FD914B2}"/>
                </a:ext>
              </a:extLst>
            </p:cNvPr>
            <p:cNvSpPr>
              <a:spLocks/>
            </p:cNvSpPr>
            <p:nvPr/>
          </p:nvSpPr>
          <p:spPr bwMode="auto">
            <a:xfrm>
              <a:off x="9136089" y="3004322"/>
              <a:ext cx="618193" cy="1775965"/>
            </a:xfrm>
            <a:custGeom>
              <a:avLst/>
              <a:gdLst>
                <a:gd name="T0" fmla="*/ 260 w 346"/>
                <a:gd name="T1" fmla="*/ 994 h 994"/>
                <a:gd name="T2" fmla="*/ 290 w 346"/>
                <a:gd name="T3" fmla="*/ 730 h 994"/>
                <a:gd name="T4" fmla="*/ 340 w 346"/>
                <a:gd name="T5" fmla="*/ 548 h 994"/>
                <a:gd name="T6" fmla="*/ 340 w 346"/>
                <a:gd name="T7" fmla="*/ 548 h 994"/>
                <a:gd name="T8" fmla="*/ 344 w 346"/>
                <a:gd name="T9" fmla="*/ 534 h 994"/>
                <a:gd name="T10" fmla="*/ 346 w 346"/>
                <a:gd name="T11" fmla="*/ 518 h 994"/>
                <a:gd name="T12" fmla="*/ 346 w 346"/>
                <a:gd name="T13" fmla="*/ 504 h 994"/>
                <a:gd name="T14" fmla="*/ 346 w 346"/>
                <a:gd name="T15" fmla="*/ 490 h 994"/>
                <a:gd name="T16" fmla="*/ 344 w 346"/>
                <a:gd name="T17" fmla="*/ 476 h 994"/>
                <a:gd name="T18" fmla="*/ 340 w 346"/>
                <a:gd name="T19" fmla="*/ 462 h 994"/>
                <a:gd name="T20" fmla="*/ 334 w 346"/>
                <a:gd name="T21" fmla="*/ 448 h 994"/>
                <a:gd name="T22" fmla="*/ 328 w 346"/>
                <a:gd name="T23" fmla="*/ 434 h 994"/>
                <a:gd name="T24" fmla="*/ 238 w 346"/>
                <a:gd name="T25" fmla="*/ 264 h 994"/>
                <a:gd name="T26" fmla="*/ 118 w 346"/>
                <a:gd name="T27" fmla="*/ 110 h 994"/>
                <a:gd name="T28" fmla="*/ 48 w 346"/>
                <a:gd name="T29" fmla="*/ 0 h 994"/>
                <a:gd name="T30" fmla="*/ 0 w 346"/>
                <a:gd name="T31" fmla="*/ 30 h 994"/>
                <a:gd name="T32" fmla="*/ 72 w 346"/>
                <a:gd name="T33" fmla="*/ 146 h 994"/>
                <a:gd name="T34" fmla="*/ 192 w 346"/>
                <a:gd name="T35" fmla="*/ 296 h 994"/>
                <a:gd name="T36" fmla="*/ 268 w 346"/>
                <a:gd name="T37" fmla="*/ 440 h 994"/>
                <a:gd name="T38" fmla="*/ 268 w 346"/>
                <a:gd name="T39" fmla="*/ 440 h 994"/>
                <a:gd name="T40" fmla="*/ 274 w 346"/>
                <a:gd name="T41" fmla="*/ 454 h 994"/>
                <a:gd name="T42" fmla="*/ 278 w 346"/>
                <a:gd name="T43" fmla="*/ 468 h 994"/>
                <a:gd name="T44" fmla="*/ 282 w 346"/>
                <a:gd name="T45" fmla="*/ 482 h 994"/>
                <a:gd name="T46" fmla="*/ 284 w 346"/>
                <a:gd name="T47" fmla="*/ 496 h 994"/>
                <a:gd name="T48" fmla="*/ 286 w 346"/>
                <a:gd name="T49" fmla="*/ 510 h 994"/>
                <a:gd name="T50" fmla="*/ 284 w 346"/>
                <a:gd name="T51" fmla="*/ 526 h 994"/>
                <a:gd name="T52" fmla="*/ 284 w 346"/>
                <a:gd name="T53" fmla="*/ 540 h 994"/>
                <a:gd name="T54" fmla="*/ 280 w 346"/>
                <a:gd name="T55" fmla="*/ 554 h 994"/>
                <a:gd name="T56" fmla="*/ 234 w 346"/>
                <a:gd name="T57" fmla="*/ 724 h 994"/>
                <a:gd name="T58" fmla="*/ 198 w 346"/>
                <a:gd name="T59" fmla="*/ 966 h 994"/>
                <a:gd name="T60" fmla="*/ 260 w 346"/>
                <a:gd name="T61" fmla="*/ 994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46" h="994">
                  <a:moveTo>
                    <a:pt x="260" y="994"/>
                  </a:moveTo>
                  <a:lnTo>
                    <a:pt x="290" y="730"/>
                  </a:lnTo>
                  <a:lnTo>
                    <a:pt x="340" y="548"/>
                  </a:lnTo>
                  <a:lnTo>
                    <a:pt x="340" y="548"/>
                  </a:lnTo>
                  <a:lnTo>
                    <a:pt x="344" y="534"/>
                  </a:lnTo>
                  <a:lnTo>
                    <a:pt x="346" y="518"/>
                  </a:lnTo>
                  <a:lnTo>
                    <a:pt x="346" y="504"/>
                  </a:lnTo>
                  <a:lnTo>
                    <a:pt x="346" y="490"/>
                  </a:lnTo>
                  <a:lnTo>
                    <a:pt x="344" y="476"/>
                  </a:lnTo>
                  <a:lnTo>
                    <a:pt x="340" y="462"/>
                  </a:lnTo>
                  <a:lnTo>
                    <a:pt x="334" y="448"/>
                  </a:lnTo>
                  <a:lnTo>
                    <a:pt x="328" y="434"/>
                  </a:lnTo>
                  <a:lnTo>
                    <a:pt x="238" y="264"/>
                  </a:lnTo>
                  <a:lnTo>
                    <a:pt x="118" y="110"/>
                  </a:lnTo>
                  <a:lnTo>
                    <a:pt x="48" y="0"/>
                  </a:lnTo>
                  <a:lnTo>
                    <a:pt x="0" y="30"/>
                  </a:lnTo>
                  <a:lnTo>
                    <a:pt x="72" y="146"/>
                  </a:lnTo>
                  <a:lnTo>
                    <a:pt x="192" y="296"/>
                  </a:lnTo>
                  <a:lnTo>
                    <a:pt x="268" y="440"/>
                  </a:lnTo>
                  <a:lnTo>
                    <a:pt x="268" y="440"/>
                  </a:lnTo>
                  <a:lnTo>
                    <a:pt x="274" y="454"/>
                  </a:lnTo>
                  <a:lnTo>
                    <a:pt x="278" y="468"/>
                  </a:lnTo>
                  <a:lnTo>
                    <a:pt x="282" y="482"/>
                  </a:lnTo>
                  <a:lnTo>
                    <a:pt x="284" y="496"/>
                  </a:lnTo>
                  <a:lnTo>
                    <a:pt x="286" y="510"/>
                  </a:lnTo>
                  <a:lnTo>
                    <a:pt x="284" y="526"/>
                  </a:lnTo>
                  <a:lnTo>
                    <a:pt x="284" y="540"/>
                  </a:lnTo>
                  <a:lnTo>
                    <a:pt x="280" y="554"/>
                  </a:lnTo>
                  <a:lnTo>
                    <a:pt x="234" y="724"/>
                  </a:lnTo>
                  <a:lnTo>
                    <a:pt x="198" y="966"/>
                  </a:lnTo>
                  <a:lnTo>
                    <a:pt x="260" y="994"/>
                  </a:lnTo>
                  <a:close/>
                </a:path>
              </a:pathLst>
            </a:custGeom>
            <a:solidFill>
              <a:srgbClr val="AE8A6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08" name="Freeform 2008">
              <a:extLst>
                <a:ext uri="{FF2B5EF4-FFF2-40B4-BE49-F238E27FC236}">
                  <a16:creationId xmlns:a16="http://schemas.microsoft.com/office/drawing/2014/main" id="{C0AC30E3-D74A-482D-8A20-70698C3C80A5}"/>
                </a:ext>
              </a:extLst>
            </p:cNvPr>
            <p:cNvSpPr>
              <a:spLocks/>
            </p:cNvSpPr>
            <p:nvPr/>
          </p:nvSpPr>
          <p:spPr bwMode="auto">
            <a:xfrm>
              <a:off x="9136089" y="3004322"/>
              <a:ext cx="618193" cy="1775965"/>
            </a:xfrm>
            <a:custGeom>
              <a:avLst/>
              <a:gdLst>
                <a:gd name="T0" fmla="*/ 260 w 346"/>
                <a:gd name="T1" fmla="*/ 994 h 994"/>
                <a:gd name="T2" fmla="*/ 290 w 346"/>
                <a:gd name="T3" fmla="*/ 730 h 994"/>
                <a:gd name="T4" fmla="*/ 340 w 346"/>
                <a:gd name="T5" fmla="*/ 548 h 994"/>
                <a:gd name="T6" fmla="*/ 340 w 346"/>
                <a:gd name="T7" fmla="*/ 548 h 994"/>
                <a:gd name="T8" fmla="*/ 344 w 346"/>
                <a:gd name="T9" fmla="*/ 534 h 994"/>
                <a:gd name="T10" fmla="*/ 346 w 346"/>
                <a:gd name="T11" fmla="*/ 518 h 994"/>
                <a:gd name="T12" fmla="*/ 346 w 346"/>
                <a:gd name="T13" fmla="*/ 504 h 994"/>
                <a:gd name="T14" fmla="*/ 346 w 346"/>
                <a:gd name="T15" fmla="*/ 490 h 994"/>
                <a:gd name="T16" fmla="*/ 344 w 346"/>
                <a:gd name="T17" fmla="*/ 476 h 994"/>
                <a:gd name="T18" fmla="*/ 340 w 346"/>
                <a:gd name="T19" fmla="*/ 462 h 994"/>
                <a:gd name="T20" fmla="*/ 334 w 346"/>
                <a:gd name="T21" fmla="*/ 448 h 994"/>
                <a:gd name="T22" fmla="*/ 328 w 346"/>
                <a:gd name="T23" fmla="*/ 434 h 994"/>
                <a:gd name="T24" fmla="*/ 238 w 346"/>
                <a:gd name="T25" fmla="*/ 264 h 994"/>
                <a:gd name="T26" fmla="*/ 118 w 346"/>
                <a:gd name="T27" fmla="*/ 110 h 994"/>
                <a:gd name="T28" fmla="*/ 48 w 346"/>
                <a:gd name="T29" fmla="*/ 0 h 994"/>
                <a:gd name="T30" fmla="*/ 0 w 346"/>
                <a:gd name="T31" fmla="*/ 30 h 994"/>
                <a:gd name="T32" fmla="*/ 72 w 346"/>
                <a:gd name="T33" fmla="*/ 146 h 994"/>
                <a:gd name="T34" fmla="*/ 192 w 346"/>
                <a:gd name="T35" fmla="*/ 296 h 994"/>
                <a:gd name="T36" fmla="*/ 268 w 346"/>
                <a:gd name="T37" fmla="*/ 440 h 994"/>
                <a:gd name="T38" fmla="*/ 268 w 346"/>
                <a:gd name="T39" fmla="*/ 440 h 994"/>
                <a:gd name="T40" fmla="*/ 274 w 346"/>
                <a:gd name="T41" fmla="*/ 454 h 994"/>
                <a:gd name="T42" fmla="*/ 278 w 346"/>
                <a:gd name="T43" fmla="*/ 468 h 994"/>
                <a:gd name="T44" fmla="*/ 282 w 346"/>
                <a:gd name="T45" fmla="*/ 482 h 994"/>
                <a:gd name="T46" fmla="*/ 284 w 346"/>
                <a:gd name="T47" fmla="*/ 496 h 994"/>
                <a:gd name="T48" fmla="*/ 286 w 346"/>
                <a:gd name="T49" fmla="*/ 510 h 994"/>
                <a:gd name="T50" fmla="*/ 284 w 346"/>
                <a:gd name="T51" fmla="*/ 526 h 994"/>
                <a:gd name="T52" fmla="*/ 284 w 346"/>
                <a:gd name="T53" fmla="*/ 540 h 994"/>
                <a:gd name="T54" fmla="*/ 280 w 346"/>
                <a:gd name="T55" fmla="*/ 554 h 994"/>
                <a:gd name="T56" fmla="*/ 234 w 346"/>
                <a:gd name="T57" fmla="*/ 724 h 994"/>
                <a:gd name="T58" fmla="*/ 198 w 346"/>
                <a:gd name="T59" fmla="*/ 966 h 994"/>
                <a:gd name="T60" fmla="*/ 260 w 346"/>
                <a:gd name="T61" fmla="*/ 994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46" h="994">
                  <a:moveTo>
                    <a:pt x="260" y="994"/>
                  </a:moveTo>
                  <a:lnTo>
                    <a:pt x="290" y="730"/>
                  </a:lnTo>
                  <a:lnTo>
                    <a:pt x="340" y="548"/>
                  </a:lnTo>
                  <a:lnTo>
                    <a:pt x="340" y="548"/>
                  </a:lnTo>
                  <a:lnTo>
                    <a:pt x="344" y="534"/>
                  </a:lnTo>
                  <a:lnTo>
                    <a:pt x="346" y="518"/>
                  </a:lnTo>
                  <a:lnTo>
                    <a:pt x="346" y="504"/>
                  </a:lnTo>
                  <a:lnTo>
                    <a:pt x="346" y="490"/>
                  </a:lnTo>
                  <a:lnTo>
                    <a:pt x="344" y="476"/>
                  </a:lnTo>
                  <a:lnTo>
                    <a:pt x="340" y="462"/>
                  </a:lnTo>
                  <a:lnTo>
                    <a:pt x="334" y="448"/>
                  </a:lnTo>
                  <a:lnTo>
                    <a:pt x="328" y="434"/>
                  </a:lnTo>
                  <a:lnTo>
                    <a:pt x="238" y="264"/>
                  </a:lnTo>
                  <a:lnTo>
                    <a:pt x="118" y="110"/>
                  </a:lnTo>
                  <a:lnTo>
                    <a:pt x="48" y="0"/>
                  </a:lnTo>
                  <a:lnTo>
                    <a:pt x="0" y="30"/>
                  </a:lnTo>
                  <a:lnTo>
                    <a:pt x="72" y="146"/>
                  </a:lnTo>
                  <a:lnTo>
                    <a:pt x="192" y="296"/>
                  </a:lnTo>
                  <a:lnTo>
                    <a:pt x="268" y="440"/>
                  </a:lnTo>
                  <a:lnTo>
                    <a:pt x="268" y="440"/>
                  </a:lnTo>
                  <a:lnTo>
                    <a:pt x="274" y="454"/>
                  </a:lnTo>
                  <a:lnTo>
                    <a:pt x="278" y="468"/>
                  </a:lnTo>
                  <a:lnTo>
                    <a:pt x="282" y="482"/>
                  </a:lnTo>
                  <a:lnTo>
                    <a:pt x="284" y="496"/>
                  </a:lnTo>
                  <a:lnTo>
                    <a:pt x="286" y="510"/>
                  </a:lnTo>
                  <a:lnTo>
                    <a:pt x="284" y="526"/>
                  </a:lnTo>
                  <a:lnTo>
                    <a:pt x="284" y="540"/>
                  </a:lnTo>
                  <a:lnTo>
                    <a:pt x="280" y="554"/>
                  </a:lnTo>
                  <a:lnTo>
                    <a:pt x="234" y="724"/>
                  </a:lnTo>
                  <a:lnTo>
                    <a:pt x="198" y="966"/>
                  </a:lnTo>
                  <a:lnTo>
                    <a:pt x="260" y="99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09" name="Freeform 2015">
              <a:extLst>
                <a:ext uri="{FF2B5EF4-FFF2-40B4-BE49-F238E27FC236}">
                  <a16:creationId xmlns:a16="http://schemas.microsoft.com/office/drawing/2014/main" id="{6E63D345-0426-48EE-BF6F-AB69A1C671FF}"/>
                </a:ext>
              </a:extLst>
            </p:cNvPr>
            <p:cNvSpPr>
              <a:spLocks/>
            </p:cNvSpPr>
            <p:nvPr/>
          </p:nvSpPr>
          <p:spPr bwMode="auto">
            <a:xfrm>
              <a:off x="9218276" y="4001292"/>
              <a:ext cx="382350" cy="439524"/>
            </a:xfrm>
            <a:custGeom>
              <a:avLst/>
              <a:gdLst>
                <a:gd name="T0" fmla="*/ 44 w 214"/>
                <a:gd name="T1" fmla="*/ 176 h 246"/>
                <a:gd name="T2" fmla="*/ 44 w 214"/>
                <a:gd name="T3" fmla="*/ 176 h 246"/>
                <a:gd name="T4" fmla="*/ 56 w 214"/>
                <a:gd name="T5" fmla="*/ 188 h 246"/>
                <a:gd name="T6" fmla="*/ 68 w 214"/>
                <a:gd name="T7" fmla="*/ 198 h 246"/>
                <a:gd name="T8" fmla="*/ 80 w 214"/>
                <a:gd name="T9" fmla="*/ 208 h 246"/>
                <a:gd name="T10" fmla="*/ 94 w 214"/>
                <a:gd name="T11" fmla="*/ 216 h 246"/>
                <a:gd name="T12" fmla="*/ 122 w 214"/>
                <a:gd name="T13" fmla="*/ 228 h 246"/>
                <a:gd name="T14" fmla="*/ 150 w 214"/>
                <a:gd name="T15" fmla="*/ 238 h 246"/>
                <a:gd name="T16" fmla="*/ 174 w 214"/>
                <a:gd name="T17" fmla="*/ 242 h 246"/>
                <a:gd name="T18" fmla="*/ 194 w 214"/>
                <a:gd name="T19" fmla="*/ 246 h 246"/>
                <a:gd name="T20" fmla="*/ 212 w 214"/>
                <a:gd name="T21" fmla="*/ 246 h 246"/>
                <a:gd name="T22" fmla="*/ 212 w 214"/>
                <a:gd name="T23" fmla="*/ 246 h 246"/>
                <a:gd name="T24" fmla="*/ 212 w 214"/>
                <a:gd name="T25" fmla="*/ 228 h 246"/>
                <a:gd name="T26" fmla="*/ 214 w 214"/>
                <a:gd name="T27" fmla="*/ 210 h 246"/>
                <a:gd name="T28" fmla="*/ 212 w 214"/>
                <a:gd name="T29" fmla="*/ 184 h 246"/>
                <a:gd name="T30" fmla="*/ 208 w 214"/>
                <a:gd name="T31" fmla="*/ 156 h 246"/>
                <a:gd name="T32" fmla="*/ 200 w 214"/>
                <a:gd name="T33" fmla="*/ 126 h 246"/>
                <a:gd name="T34" fmla="*/ 194 w 214"/>
                <a:gd name="T35" fmla="*/ 112 h 246"/>
                <a:gd name="T36" fmla="*/ 188 w 214"/>
                <a:gd name="T37" fmla="*/ 98 h 246"/>
                <a:gd name="T38" fmla="*/ 180 w 214"/>
                <a:gd name="T39" fmla="*/ 84 h 246"/>
                <a:gd name="T40" fmla="*/ 170 w 214"/>
                <a:gd name="T41" fmla="*/ 70 h 246"/>
                <a:gd name="T42" fmla="*/ 170 w 214"/>
                <a:gd name="T43" fmla="*/ 70 h 246"/>
                <a:gd name="T44" fmla="*/ 158 w 214"/>
                <a:gd name="T45" fmla="*/ 58 h 246"/>
                <a:gd name="T46" fmla="*/ 146 w 214"/>
                <a:gd name="T47" fmla="*/ 48 h 246"/>
                <a:gd name="T48" fmla="*/ 132 w 214"/>
                <a:gd name="T49" fmla="*/ 38 h 246"/>
                <a:gd name="T50" fmla="*/ 118 w 214"/>
                <a:gd name="T51" fmla="*/ 30 h 246"/>
                <a:gd name="T52" fmla="*/ 92 w 214"/>
                <a:gd name="T53" fmla="*/ 18 h 246"/>
                <a:gd name="T54" fmla="*/ 64 w 214"/>
                <a:gd name="T55" fmla="*/ 8 h 246"/>
                <a:gd name="T56" fmla="*/ 40 w 214"/>
                <a:gd name="T57" fmla="*/ 4 h 246"/>
                <a:gd name="T58" fmla="*/ 20 w 214"/>
                <a:gd name="T59" fmla="*/ 0 h 246"/>
                <a:gd name="T60" fmla="*/ 2 w 214"/>
                <a:gd name="T61" fmla="*/ 0 h 246"/>
                <a:gd name="T62" fmla="*/ 2 w 214"/>
                <a:gd name="T63" fmla="*/ 0 h 246"/>
                <a:gd name="T64" fmla="*/ 0 w 214"/>
                <a:gd name="T65" fmla="*/ 18 h 246"/>
                <a:gd name="T66" fmla="*/ 0 w 214"/>
                <a:gd name="T67" fmla="*/ 36 h 246"/>
                <a:gd name="T68" fmla="*/ 2 w 214"/>
                <a:gd name="T69" fmla="*/ 62 h 246"/>
                <a:gd name="T70" fmla="*/ 6 w 214"/>
                <a:gd name="T71" fmla="*/ 90 h 246"/>
                <a:gd name="T72" fmla="*/ 14 w 214"/>
                <a:gd name="T73" fmla="*/ 120 h 246"/>
                <a:gd name="T74" fmla="*/ 18 w 214"/>
                <a:gd name="T75" fmla="*/ 134 h 246"/>
                <a:gd name="T76" fmla="*/ 26 w 214"/>
                <a:gd name="T77" fmla="*/ 148 h 246"/>
                <a:gd name="T78" fmla="*/ 34 w 214"/>
                <a:gd name="T79" fmla="*/ 162 h 246"/>
                <a:gd name="T80" fmla="*/ 44 w 214"/>
                <a:gd name="T81" fmla="*/ 17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14" h="246">
                  <a:moveTo>
                    <a:pt x="44" y="176"/>
                  </a:moveTo>
                  <a:lnTo>
                    <a:pt x="44" y="176"/>
                  </a:lnTo>
                  <a:lnTo>
                    <a:pt x="56" y="188"/>
                  </a:lnTo>
                  <a:lnTo>
                    <a:pt x="68" y="198"/>
                  </a:lnTo>
                  <a:lnTo>
                    <a:pt x="80" y="208"/>
                  </a:lnTo>
                  <a:lnTo>
                    <a:pt x="94" y="216"/>
                  </a:lnTo>
                  <a:lnTo>
                    <a:pt x="122" y="228"/>
                  </a:lnTo>
                  <a:lnTo>
                    <a:pt x="150" y="238"/>
                  </a:lnTo>
                  <a:lnTo>
                    <a:pt x="174" y="242"/>
                  </a:lnTo>
                  <a:lnTo>
                    <a:pt x="194" y="246"/>
                  </a:lnTo>
                  <a:lnTo>
                    <a:pt x="212" y="246"/>
                  </a:lnTo>
                  <a:lnTo>
                    <a:pt x="212" y="246"/>
                  </a:lnTo>
                  <a:lnTo>
                    <a:pt x="212" y="228"/>
                  </a:lnTo>
                  <a:lnTo>
                    <a:pt x="214" y="210"/>
                  </a:lnTo>
                  <a:lnTo>
                    <a:pt x="212" y="184"/>
                  </a:lnTo>
                  <a:lnTo>
                    <a:pt x="208" y="156"/>
                  </a:lnTo>
                  <a:lnTo>
                    <a:pt x="200" y="126"/>
                  </a:lnTo>
                  <a:lnTo>
                    <a:pt x="194" y="112"/>
                  </a:lnTo>
                  <a:lnTo>
                    <a:pt x="188" y="98"/>
                  </a:lnTo>
                  <a:lnTo>
                    <a:pt x="180" y="84"/>
                  </a:lnTo>
                  <a:lnTo>
                    <a:pt x="170" y="70"/>
                  </a:lnTo>
                  <a:lnTo>
                    <a:pt x="170" y="70"/>
                  </a:lnTo>
                  <a:lnTo>
                    <a:pt x="158" y="58"/>
                  </a:lnTo>
                  <a:lnTo>
                    <a:pt x="146" y="48"/>
                  </a:lnTo>
                  <a:lnTo>
                    <a:pt x="132" y="38"/>
                  </a:lnTo>
                  <a:lnTo>
                    <a:pt x="118" y="30"/>
                  </a:lnTo>
                  <a:lnTo>
                    <a:pt x="92" y="18"/>
                  </a:lnTo>
                  <a:lnTo>
                    <a:pt x="64" y="8"/>
                  </a:lnTo>
                  <a:lnTo>
                    <a:pt x="40" y="4"/>
                  </a:lnTo>
                  <a:lnTo>
                    <a:pt x="20" y="0"/>
                  </a:lnTo>
                  <a:lnTo>
                    <a:pt x="2" y="0"/>
                  </a:lnTo>
                  <a:lnTo>
                    <a:pt x="2" y="0"/>
                  </a:lnTo>
                  <a:lnTo>
                    <a:pt x="0" y="18"/>
                  </a:lnTo>
                  <a:lnTo>
                    <a:pt x="0" y="36"/>
                  </a:lnTo>
                  <a:lnTo>
                    <a:pt x="2" y="62"/>
                  </a:lnTo>
                  <a:lnTo>
                    <a:pt x="6" y="90"/>
                  </a:lnTo>
                  <a:lnTo>
                    <a:pt x="14" y="120"/>
                  </a:lnTo>
                  <a:lnTo>
                    <a:pt x="18" y="134"/>
                  </a:lnTo>
                  <a:lnTo>
                    <a:pt x="26" y="148"/>
                  </a:lnTo>
                  <a:lnTo>
                    <a:pt x="34" y="162"/>
                  </a:lnTo>
                  <a:lnTo>
                    <a:pt x="44" y="176"/>
                  </a:lnTo>
                  <a:close/>
                </a:path>
              </a:pathLst>
            </a:custGeom>
            <a:solidFill>
              <a:srgbClr val="ADD15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10" name="Freeform 2016">
              <a:extLst>
                <a:ext uri="{FF2B5EF4-FFF2-40B4-BE49-F238E27FC236}">
                  <a16:creationId xmlns:a16="http://schemas.microsoft.com/office/drawing/2014/main" id="{85A1994C-3749-468D-AEEE-89972CBED2C9}"/>
                </a:ext>
              </a:extLst>
            </p:cNvPr>
            <p:cNvSpPr>
              <a:spLocks/>
            </p:cNvSpPr>
            <p:nvPr/>
          </p:nvSpPr>
          <p:spPr bwMode="auto">
            <a:xfrm>
              <a:off x="9218276" y="4001292"/>
              <a:ext cx="382350" cy="439524"/>
            </a:xfrm>
            <a:custGeom>
              <a:avLst/>
              <a:gdLst>
                <a:gd name="T0" fmla="*/ 44 w 214"/>
                <a:gd name="T1" fmla="*/ 176 h 246"/>
                <a:gd name="T2" fmla="*/ 44 w 214"/>
                <a:gd name="T3" fmla="*/ 176 h 246"/>
                <a:gd name="T4" fmla="*/ 56 w 214"/>
                <a:gd name="T5" fmla="*/ 188 h 246"/>
                <a:gd name="T6" fmla="*/ 68 w 214"/>
                <a:gd name="T7" fmla="*/ 198 h 246"/>
                <a:gd name="T8" fmla="*/ 80 w 214"/>
                <a:gd name="T9" fmla="*/ 208 h 246"/>
                <a:gd name="T10" fmla="*/ 94 w 214"/>
                <a:gd name="T11" fmla="*/ 216 h 246"/>
                <a:gd name="T12" fmla="*/ 122 w 214"/>
                <a:gd name="T13" fmla="*/ 228 h 246"/>
                <a:gd name="T14" fmla="*/ 150 w 214"/>
                <a:gd name="T15" fmla="*/ 238 h 246"/>
                <a:gd name="T16" fmla="*/ 174 w 214"/>
                <a:gd name="T17" fmla="*/ 242 h 246"/>
                <a:gd name="T18" fmla="*/ 194 w 214"/>
                <a:gd name="T19" fmla="*/ 246 h 246"/>
                <a:gd name="T20" fmla="*/ 212 w 214"/>
                <a:gd name="T21" fmla="*/ 246 h 246"/>
                <a:gd name="T22" fmla="*/ 212 w 214"/>
                <a:gd name="T23" fmla="*/ 246 h 246"/>
                <a:gd name="T24" fmla="*/ 212 w 214"/>
                <a:gd name="T25" fmla="*/ 228 h 246"/>
                <a:gd name="T26" fmla="*/ 214 w 214"/>
                <a:gd name="T27" fmla="*/ 210 h 246"/>
                <a:gd name="T28" fmla="*/ 212 w 214"/>
                <a:gd name="T29" fmla="*/ 184 h 246"/>
                <a:gd name="T30" fmla="*/ 208 w 214"/>
                <a:gd name="T31" fmla="*/ 156 h 246"/>
                <a:gd name="T32" fmla="*/ 200 w 214"/>
                <a:gd name="T33" fmla="*/ 126 h 246"/>
                <a:gd name="T34" fmla="*/ 194 w 214"/>
                <a:gd name="T35" fmla="*/ 112 h 246"/>
                <a:gd name="T36" fmla="*/ 188 w 214"/>
                <a:gd name="T37" fmla="*/ 98 h 246"/>
                <a:gd name="T38" fmla="*/ 180 w 214"/>
                <a:gd name="T39" fmla="*/ 84 h 246"/>
                <a:gd name="T40" fmla="*/ 170 w 214"/>
                <a:gd name="T41" fmla="*/ 70 h 246"/>
                <a:gd name="T42" fmla="*/ 170 w 214"/>
                <a:gd name="T43" fmla="*/ 70 h 246"/>
                <a:gd name="T44" fmla="*/ 158 w 214"/>
                <a:gd name="T45" fmla="*/ 58 h 246"/>
                <a:gd name="T46" fmla="*/ 146 w 214"/>
                <a:gd name="T47" fmla="*/ 48 h 246"/>
                <a:gd name="T48" fmla="*/ 132 w 214"/>
                <a:gd name="T49" fmla="*/ 38 h 246"/>
                <a:gd name="T50" fmla="*/ 118 w 214"/>
                <a:gd name="T51" fmla="*/ 30 h 246"/>
                <a:gd name="T52" fmla="*/ 92 w 214"/>
                <a:gd name="T53" fmla="*/ 18 h 246"/>
                <a:gd name="T54" fmla="*/ 64 w 214"/>
                <a:gd name="T55" fmla="*/ 8 h 246"/>
                <a:gd name="T56" fmla="*/ 40 w 214"/>
                <a:gd name="T57" fmla="*/ 4 h 246"/>
                <a:gd name="T58" fmla="*/ 20 w 214"/>
                <a:gd name="T59" fmla="*/ 0 h 246"/>
                <a:gd name="T60" fmla="*/ 2 w 214"/>
                <a:gd name="T61" fmla="*/ 0 h 246"/>
                <a:gd name="T62" fmla="*/ 2 w 214"/>
                <a:gd name="T63" fmla="*/ 0 h 246"/>
                <a:gd name="T64" fmla="*/ 0 w 214"/>
                <a:gd name="T65" fmla="*/ 18 h 246"/>
                <a:gd name="T66" fmla="*/ 0 w 214"/>
                <a:gd name="T67" fmla="*/ 36 h 246"/>
                <a:gd name="T68" fmla="*/ 2 w 214"/>
                <a:gd name="T69" fmla="*/ 62 h 246"/>
                <a:gd name="T70" fmla="*/ 6 w 214"/>
                <a:gd name="T71" fmla="*/ 90 h 246"/>
                <a:gd name="T72" fmla="*/ 14 w 214"/>
                <a:gd name="T73" fmla="*/ 120 h 246"/>
                <a:gd name="T74" fmla="*/ 18 w 214"/>
                <a:gd name="T75" fmla="*/ 134 h 246"/>
                <a:gd name="T76" fmla="*/ 26 w 214"/>
                <a:gd name="T77" fmla="*/ 148 h 246"/>
                <a:gd name="T78" fmla="*/ 34 w 214"/>
                <a:gd name="T79" fmla="*/ 162 h 246"/>
                <a:gd name="T80" fmla="*/ 44 w 214"/>
                <a:gd name="T81" fmla="*/ 17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14" h="246">
                  <a:moveTo>
                    <a:pt x="44" y="176"/>
                  </a:moveTo>
                  <a:lnTo>
                    <a:pt x="44" y="176"/>
                  </a:lnTo>
                  <a:lnTo>
                    <a:pt x="56" y="188"/>
                  </a:lnTo>
                  <a:lnTo>
                    <a:pt x="68" y="198"/>
                  </a:lnTo>
                  <a:lnTo>
                    <a:pt x="80" y="208"/>
                  </a:lnTo>
                  <a:lnTo>
                    <a:pt x="94" y="216"/>
                  </a:lnTo>
                  <a:lnTo>
                    <a:pt x="122" y="228"/>
                  </a:lnTo>
                  <a:lnTo>
                    <a:pt x="150" y="238"/>
                  </a:lnTo>
                  <a:lnTo>
                    <a:pt x="174" y="242"/>
                  </a:lnTo>
                  <a:lnTo>
                    <a:pt x="194" y="246"/>
                  </a:lnTo>
                  <a:lnTo>
                    <a:pt x="212" y="246"/>
                  </a:lnTo>
                  <a:lnTo>
                    <a:pt x="212" y="246"/>
                  </a:lnTo>
                  <a:lnTo>
                    <a:pt x="212" y="228"/>
                  </a:lnTo>
                  <a:lnTo>
                    <a:pt x="214" y="210"/>
                  </a:lnTo>
                  <a:lnTo>
                    <a:pt x="212" y="184"/>
                  </a:lnTo>
                  <a:lnTo>
                    <a:pt x="208" y="156"/>
                  </a:lnTo>
                  <a:lnTo>
                    <a:pt x="200" y="126"/>
                  </a:lnTo>
                  <a:lnTo>
                    <a:pt x="194" y="112"/>
                  </a:lnTo>
                  <a:lnTo>
                    <a:pt x="188" y="98"/>
                  </a:lnTo>
                  <a:lnTo>
                    <a:pt x="180" y="84"/>
                  </a:lnTo>
                  <a:lnTo>
                    <a:pt x="170" y="70"/>
                  </a:lnTo>
                  <a:lnTo>
                    <a:pt x="170" y="70"/>
                  </a:lnTo>
                  <a:lnTo>
                    <a:pt x="158" y="58"/>
                  </a:lnTo>
                  <a:lnTo>
                    <a:pt x="146" y="48"/>
                  </a:lnTo>
                  <a:lnTo>
                    <a:pt x="132" y="38"/>
                  </a:lnTo>
                  <a:lnTo>
                    <a:pt x="118" y="30"/>
                  </a:lnTo>
                  <a:lnTo>
                    <a:pt x="92" y="18"/>
                  </a:lnTo>
                  <a:lnTo>
                    <a:pt x="64" y="8"/>
                  </a:lnTo>
                  <a:lnTo>
                    <a:pt x="40" y="4"/>
                  </a:lnTo>
                  <a:lnTo>
                    <a:pt x="20" y="0"/>
                  </a:lnTo>
                  <a:lnTo>
                    <a:pt x="2" y="0"/>
                  </a:lnTo>
                  <a:lnTo>
                    <a:pt x="2" y="0"/>
                  </a:lnTo>
                  <a:lnTo>
                    <a:pt x="0" y="18"/>
                  </a:lnTo>
                  <a:lnTo>
                    <a:pt x="0" y="36"/>
                  </a:lnTo>
                  <a:lnTo>
                    <a:pt x="2" y="62"/>
                  </a:lnTo>
                  <a:lnTo>
                    <a:pt x="6" y="90"/>
                  </a:lnTo>
                  <a:lnTo>
                    <a:pt x="14" y="120"/>
                  </a:lnTo>
                  <a:lnTo>
                    <a:pt x="18" y="134"/>
                  </a:lnTo>
                  <a:lnTo>
                    <a:pt x="26" y="148"/>
                  </a:lnTo>
                  <a:lnTo>
                    <a:pt x="34" y="162"/>
                  </a:lnTo>
                  <a:lnTo>
                    <a:pt x="44" y="17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11" name="Freeform 2018">
              <a:extLst>
                <a:ext uri="{FF2B5EF4-FFF2-40B4-BE49-F238E27FC236}">
                  <a16:creationId xmlns:a16="http://schemas.microsoft.com/office/drawing/2014/main" id="{020AB7F2-36D3-4743-BEBB-1090D2837423}"/>
                </a:ext>
              </a:extLst>
            </p:cNvPr>
            <p:cNvSpPr>
              <a:spLocks/>
            </p:cNvSpPr>
            <p:nvPr/>
          </p:nvSpPr>
          <p:spPr bwMode="auto">
            <a:xfrm>
              <a:off x="9203983" y="3983425"/>
              <a:ext cx="410937" cy="475258"/>
            </a:xfrm>
            <a:custGeom>
              <a:avLst/>
              <a:gdLst>
                <a:gd name="T0" fmla="*/ 46 w 230"/>
                <a:gd name="T1" fmla="*/ 192 h 266"/>
                <a:gd name="T2" fmla="*/ 58 w 230"/>
                <a:gd name="T3" fmla="*/ 204 h 266"/>
                <a:gd name="T4" fmla="*/ 84 w 230"/>
                <a:gd name="T5" fmla="*/ 224 h 266"/>
                <a:gd name="T6" fmla="*/ 128 w 230"/>
                <a:gd name="T7" fmla="*/ 246 h 266"/>
                <a:gd name="T8" fmla="*/ 156 w 230"/>
                <a:gd name="T9" fmla="*/ 254 h 266"/>
                <a:gd name="T10" fmla="*/ 200 w 230"/>
                <a:gd name="T11" fmla="*/ 264 h 266"/>
                <a:gd name="T12" fmla="*/ 226 w 230"/>
                <a:gd name="T13" fmla="*/ 266 h 266"/>
                <a:gd name="T14" fmla="*/ 228 w 230"/>
                <a:gd name="T15" fmla="*/ 258 h 266"/>
                <a:gd name="T16" fmla="*/ 230 w 230"/>
                <a:gd name="T17" fmla="*/ 222 h 266"/>
                <a:gd name="T18" fmla="*/ 228 w 230"/>
                <a:gd name="T19" fmla="*/ 190 h 266"/>
                <a:gd name="T20" fmla="*/ 222 w 230"/>
                <a:gd name="T21" fmla="*/ 152 h 266"/>
                <a:gd name="T22" fmla="*/ 216 w 230"/>
                <a:gd name="T23" fmla="*/ 132 h 266"/>
                <a:gd name="T24" fmla="*/ 196 w 230"/>
                <a:gd name="T25" fmla="*/ 94 h 266"/>
                <a:gd name="T26" fmla="*/ 184 w 230"/>
                <a:gd name="T27" fmla="*/ 74 h 266"/>
                <a:gd name="T28" fmla="*/ 158 w 230"/>
                <a:gd name="T29" fmla="*/ 52 h 266"/>
                <a:gd name="T30" fmla="*/ 130 w 230"/>
                <a:gd name="T31" fmla="*/ 34 h 266"/>
                <a:gd name="T32" fmla="*/ 74 w 230"/>
                <a:gd name="T33" fmla="*/ 12 h 266"/>
                <a:gd name="T34" fmla="*/ 50 w 230"/>
                <a:gd name="T35" fmla="*/ 6 h 266"/>
                <a:gd name="T36" fmla="*/ 10 w 230"/>
                <a:gd name="T37" fmla="*/ 2 h 266"/>
                <a:gd name="T38" fmla="*/ 2 w 230"/>
                <a:gd name="T39" fmla="*/ 8 h 266"/>
                <a:gd name="T40" fmla="*/ 2 w 230"/>
                <a:gd name="T41" fmla="*/ 18 h 266"/>
                <a:gd name="T42" fmla="*/ 0 w 230"/>
                <a:gd name="T43" fmla="*/ 44 h 266"/>
                <a:gd name="T44" fmla="*/ 4 w 230"/>
                <a:gd name="T45" fmla="*/ 94 h 266"/>
                <a:gd name="T46" fmla="*/ 8 w 230"/>
                <a:gd name="T47" fmla="*/ 114 h 266"/>
                <a:gd name="T48" fmla="*/ 22 w 230"/>
                <a:gd name="T49" fmla="*/ 154 h 266"/>
                <a:gd name="T50" fmla="*/ 46 w 230"/>
                <a:gd name="T51" fmla="*/ 192 h 266"/>
                <a:gd name="T52" fmla="*/ 58 w 230"/>
                <a:gd name="T53" fmla="*/ 180 h 266"/>
                <a:gd name="T54" fmla="*/ 46 w 230"/>
                <a:gd name="T55" fmla="*/ 164 h 266"/>
                <a:gd name="T56" fmla="*/ 30 w 230"/>
                <a:gd name="T57" fmla="*/ 128 h 266"/>
                <a:gd name="T58" fmla="*/ 24 w 230"/>
                <a:gd name="T59" fmla="*/ 110 h 266"/>
                <a:gd name="T60" fmla="*/ 18 w 230"/>
                <a:gd name="T61" fmla="*/ 74 h 266"/>
                <a:gd name="T62" fmla="*/ 16 w 230"/>
                <a:gd name="T63" fmla="*/ 44 h 266"/>
                <a:gd name="T64" fmla="*/ 18 w 230"/>
                <a:gd name="T65" fmla="*/ 20 h 266"/>
                <a:gd name="T66" fmla="*/ 18 w 230"/>
                <a:gd name="T67" fmla="*/ 12 h 266"/>
                <a:gd name="T68" fmla="*/ 18 w 230"/>
                <a:gd name="T69" fmla="*/ 10 h 266"/>
                <a:gd name="T70" fmla="*/ 10 w 230"/>
                <a:gd name="T71" fmla="*/ 18 h 266"/>
                <a:gd name="T72" fmla="*/ 10 w 230"/>
                <a:gd name="T73" fmla="*/ 18 h 266"/>
                <a:gd name="T74" fmla="*/ 50 w 230"/>
                <a:gd name="T75" fmla="*/ 22 h 266"/>
                <a:gd name="T76" fmla="*/ 74 w 230"/>
                <a:gd name="T77" fmla="*/ 28 h 266"/>
                <a:gd name="T78" fmla="*/ 124 w 230"/>
                <a:gd name="T79" fmla="*/ 48 h 266"/>
                <a:gd name="T80" fmla="*/ 150 w 230"/>
                <a:gd name="T81" fmla="*/ 64 h 266"/>
                <a:gd name="T82" fmla="*/ 172 w 230"/>
                <a:gd name="T83" fmla="*/ 86 h 266"/>
                <a:gd name="T84" fmla="*/ 184 w 230"/>
                <a:gd name="T85" fmla="*/ 102 h 266"/>
                <a:gd name="T86" fmla="*/ 200 w 230"/>
                <a:gd name="T87" fmla="*/ 138 h 266"/>
                <a:gd name="T88" fmla="*/ 206 w 230"/>
                <a:gd name="T89" fmla="*/ 156 h 266"/>
                <a:gd name="T90" fmla="*/ 212 w 230"/>
                <a:gd name="T91" fmla="*/ 192 h 266"/>
                <a:gd name="T92" fmla="*/ 214 w 230"/>
                <a:gd name="T93" fmla="*/ 222 h 266"/>
                <a:gd name="T94" fmla="*/ 212 w 230"/>
                <a:gd name="T95" fmla="*/ 246 h 266"/>
                <a:gd name="T96" fmla="*/ 212 w 230"/>
                <a:gd name="T97" fmla="*/ 254 h 266"/>
                <a:gd name="T98" fmla="*/ 212 w 230"/>
                <a:gd name="T99" fmla="*/ 256 h 266"/>
                <a:gd name="T100" fmla="*/ 220 w 230"/>
                <a:gd name="T101" fmla="*/ 248 h 266"/>
                <a:gd name="T102" fmla="*/ 220 w 230"/>
                <a:gd name="T103" fmla="*/ 248 h 266"/>
                <a:gd name="T104" fmla="*/ 180 w 230"/>
                <a:gd name="T105" fmla="*/ 244 h 266"/>
                <a:gd name="T106" fmla="*/ 156 w 230"/>
                <a:gd name="T107" fmla="*/ 238 h 266"/>
                <a:gd name="T108" fmla="*/ 104 w 230"/>
                <a:gd name="T109" fmla="*/ 218 h 266"/>
                <a:gd name="T110" fmla="*/ 80 w 230"/>
                <a:gd name="T111" fmla="*/ 202 h 266"/>
                <a:gd name="T112" fmla="*/ 58 w 230"/>
                <a:gd name="T113" fmla="*/ 180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30" h="266">
                  <a:moveTo>
                    <a:pt x="52" y="186"/>
                  </a:moveTo>
                  <a:lnTo>
                    <a:pt x="46" y="192"/>
                  </a:lnTo>
                  <a:lnTo>
                    <a:pt x="46" y="192"/>
                  </a:lnTo>
                  <a:lnTo>
                    <a:pt x="58" y="204"/>
                  </a:lnTo>
                  <a:lnTo>
                    <a:pt x="70" y="214"/>
                  </a:lnTo>
                  <a:lnTo>
                    <a:pt x="84" y="224"/>
                  </a:lnTo>
                  <a:lnTo>
                    <a:pt x="98" y="232"/>
                  </a:lnTo>
                  <a:lnTo>
                    <a:pt x="128" y="246"/>
                  </a:lnTo>
                  <a:lnTo>
                    <a:pt x="156" y="254"/>
                  </a:lnTo>
                  <a:lnTo>
                    <a:pt x="156" y="254"/>
                  </a:lnTo>
                  <a:lnTo>
                    <a:pt x="180" y="260"/>
                  </a:lnTo>
                  <a:lnTo>
                    <a:pt x="200" y="264"/>
                  </a:lnTo>
                  <a:lnTo>
                    <a:pt x="220" y="264"/>
                  </a:lnTo>
                  <a:lnTo>
                    <a:pt x="226" y="266"/>
                  </a:lnTo>
                  <a:lnTo>
                    <a:pt x="228" y="258"/>
                  </a:lnTo>
                  <a:lnTo>
                    <a:pt x="228" y="258"/>
                  </a:lnTo>
                  <a:lnTo>
                    <a:pt x="228" y="248"/>
                  </a:lnTo>
                  <a:lnTo>
                    <a:pt x="230" y="222"/>
                  </a:lnTo>
                  <a:lnTo>
                    <a:pt x="230" y="222"/>
                  </a:lnTo>
                  <a:lnTo>
                    <a:pt x="228" y="190"/>
                  </a:lnTo>
                  <a:lnTo>
                    <a:pt x="226" y="172"/>
                  </a:lnTo>
                  <a:lnTo>
                    <a:pt x="222" y="152"/>
                  </a:lnTo>
                  <a:lnTo>
                    <a:pt x="222" y="152"/>
                  </a:lnTo>
                  <a:lnTo>
                    <a:pt x="216" y="132"/>
                  </a:lnTo>
                  <a:lnTo>
                    <a:pt x="208" y="112"/>
                  </a:lnTo>
                  <a:lnTo>
                    <a:pt x="196" y="94"/>
                  </a:lnTo>
                  <a:lnTo>
                    <a:pt x="184" y="74"/>
                  </a:lnTo>
                  <a:lnTo>
                    <a:pt x="184" y="74"/>
                  </a:lnTo>
                  <a:lnTo>
                    <a:pt x="172" y="62"/>
                  </a:lnTo>
                  <a:lnTo>
                    <a:pt x="158" y="52"/>
                  </a:lnTo>
                  <a:lnTo>
                    <a:pt x="144" y="42"/>
                  </a:lnTo>
                  <a:lnTo>
                    <a:pt x="130" y="34"/>
                  </a:lnTo>
                  <a:lnTo>
                    <a:pt x="102" y="20"/>
                  </a:lnTo>
                  <a:lnTo>
                    <a:pt x="74" y="12"/>
                  </a:lnTo>
                  <a:lnTo>
                    <a:pt x="74" y="12"/>
                  </a:lnTo>
                  <a:lnTo>
                    <a:pt x="50" y="6"/>
                  </a:lnTo>
                  <a:lnTo>
                    <a:pt x="30" y="2"/>
                  </a:lnTo>
                  <a:lnTo>
                    <a:pt x="10" y="2"/>
                  </a:lnTo>
                  <a:lnTo>
                    <a:pt x="4" y="0"/>
                  </a:lnTo>
                  <a:lnTo>
                    <a:pt x="2" y="8"/>
                  </a:lnTo>
                  <a:lnTo>
                    <a:pt x="2" y="8"/>
                  </a:lnTo>
                  <a:lnTo>
                    <a:pt x="2" y="18"/>
                  </a:lnTo>
                  <a:lnTo>
                    <a:pt x="0" y="44"/>
                  </a:lnTo>
                  <a:lnTo>
                    <a:pt x="0" y="44"/>
                  </a:lnTo>
                  <a:lnTo>
                    <a:pt x="2" y="76"/>
                  </a:lnTo>
                  <a:lnTo>
                    <a:pt x="4" y="94"/>
                  </a:lnTo>
                  <a:lnTo>
                    <a:pt x="8" y="114"/>
                  </a:lnTo>
                  <a:lnTo>
                    <a:pt x="8" y="114"/>
                  </a:lnTo>
                  <a:lnTo>
                    <a:pt x="14" y="134"/>
                  </a:lnTo>
                  <a:lnTo>
                    <a:pt x="22" y="154"/>
                  </a:lnTo>
                  <a:lnTo>
                    <a:pt x="32" y="172"/>
                  </a:lnTo>
                  <a:lnTo>
                    <a:pt x="46" y="192"/>
                  </a:lnTo>
                  <a:lnTo>
                    <a:pt x="52" y="186"/>
                  </a:lnTo>
                  <a:lnTo>
                    <a:pt x="58" y="180"/>
                  </a:lnTo>
                  <a:lnTo>
                    <a:pt x="58" y="180"/>
                  </a:lnTo>
                  <a:lnTo>
                    <a:pt x="46" y="164"/>
                  </a:lnTo>
                  <a:lnTo>
                    <a:pt x="36" y="146"/>
                  </a:lnTo>
                  <a:lnTo>
                    <a:pt x="30" y="128"/>
                  </a:lnTo>
                  <a:lnTo>
                    <a:pt x="24" y="110"/>
                  </a:lnTo>
                  <a:lnTo>
                    <a:pt x="24" y="110"/>
                  </a:lnTo>
                  <a:lnTo>
                    <a:pt x="20" y="92"/>
                  </a:lnTo>
                  <a:lnTo>
                    <a:pt x="18" y="74"/>
                  </a:lnTo>
                  <a:lnTo>
                    <a:pt x="16" y="44"/>
                  </a:lnTo>
                  <a:lnTo>
                    <a:pt x="16" y="44"/>
                  </a:lnTo>
                  <a:lnTo>
                    <a:pt x="18" y="20"/>
                  </a:lnTo>
                  <a:lnTo>
                    <a:pt x="18" y="20"/>
                  </a:lnTo>
                  <a:lnTo>
                    <a:pt x="18" y="12"/>
                  </a:lnTo>
                  <a:lnTo>
                    <a:pt x="18" y="12"/>
                  </a:lnTo>
                  <a:lnTo>
                    <a:pt x="18" y="10"/>
                  </a:lnTo>
                  <a:lnTo>
                    <a:pt x="18" y="10"/>
                  </a:lnTo>
                  <a:lnTo>
                    <a:pt x="10" y="10"/>
                  </a:lnTo>
                  <a:lnTo>
                    <a:pt x="10" y="18"/>
                  </a:lnTo>
                  <a:lnTo>
                    <a:pt x="10" y="18"/>
                  </a:lnTo>
                  <a:lnTo>
                    <a:pt x="10" y="18"/>
                  </a:lnTo>
                  <a:lnTo>
                    <a:pt x="30" y="18"/>
                  </a:lnTo>
                  <a:lnTo>
                    <a:pt x="50" y="22"/>
                  </a:lnTo>
                  <a:lnTo>
                    <a:pt x="74" y="28"/>
                  </a:lnTo>
                  <a:lnTo>
                    <a:pt x="74" y="28"/>
                  </a:lnTo>
                  <a:lnTo>
                    <a:pt x="98" y="36"/>
                  </a:lnTo>
                  <a:lnTo>
                    <a:pt x="124" y="48"/>
                  </a:lnTo>
                  <a:lnTo>
                    <a:pt x="138" y="56"/>
                  </a:lnTo>
                  <a:lnTo>
                    <a:pt x="150" y="64"/>
                  </a:lnTo>
                  <a:lnTo>
                    <a:pt x="160" y="74"/>
                  </a:lnTo>
                  <a:lnTo>
                    <a:pt x="172" y="86"/>
                  </a:lnTo>
                  <a:lnTo>
                    <a:pt x="172" y="86"/>
                  </a:lnTo>
                  <a:lnTo>
                    <a:pt x="184" y="102"/>
                  </a:lnTo>
                  <a:lnTo>
                    <a:pt x="192" y="120"/>
                  </a:lnTo>
                  <a:lnTo>
                    <a:pt x="200" y="138"/>
                  </a:lnTo>
                  <a:lnTo>
                    <a:pt x="206" y="156"/>
                  </a:lnTo>
                  <a:lnTo>
                    <a:pt x="206" y="156"/>
                  </a:lnTo>
                  <a:lnTo>
                    <a:pt x="210" y="174"/>
                  </a:lnTo>
                  <a:lnTo>
                    <a:pt x="212" y="192"/>
                  </a:lnTo>
                  <a:lnTo>
                    <a:pt x="214" y="222"/>
                  </a:lnTo>
                  <a:lnTo>
                    <a:pt x="214" y="222"/>
                  </a:lnTo>
                  <a:lnTo>
                    <a:pt x="212" y="246"/>
                  </a:lnTo>
                  <a:lnTo>
                    <a:pt x="212" y="246"/>
                  </a:lnTo>
                  <a:lnTo>
                    <a:pt x="212" y="254"/>
                  </a:lnTo>
                  <a:lnTo>
                    <a:pt x="212" y="254"/>
                  </a:lnTo>
                  <a:lnTo>
                    <a:pt x="212" y="256"/>
                  </a:lnTo>
                  <a:lnTo>
                    <a:pt x="212" y="256"/>
                  </a:lnTo>
                  <a:lnTo>
                    <a:pt x="220" y="256"/>
                  </a:lnTo>
                  <a:lnTo>
                    <a:pt x="220" y="248"/>
                  </a:lnTo>
                  <a:lnTo>
                    <a:pt x="220" y="248"/>
                  </a:lnTo>
                  <a:lnTo>
                    <a:pt x="220" y="248"/>
                  </a:lnTo>
                  <a:lnTo>
                    <a:pt x="200" y="248"/>
                  </a:lnTo>
                  <a:lnTo>
                    <a:pt x="180" y="244"/>
                  </a:lnTo>
                  <a:lnTo>
                    <a:pt x="156" y="238"/>
                  </a:lnTo>
                  <a:lnTo>
                    <a:pt x="156" y="238"/>
                  </a:lnTo>
                  <a:lnTo>
                    <a:pt x="130" y="230"/>
                  </a:lnTo>
                  <a:lnTo>
                    <a:pt x="104" y="218"/>
                  </a:lnTo>
                  <a:lnTo>
                    <a:pt x="92" y="210"/>
                  </a:lnTo>
                  <a:lnTo>
                    <a:pt x="80" y="202"/>
                  </a:lnTo>
                  <a:lnTo>
                    <a:pt x="68" y="192"/>
                  </a:lnTo>
                  <a:lnTo>
                    <a:pt x="58" y="180"/>
                  </a:lnTo>
                  <a:lnTo>
                    <a:pt x="52" y="18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12" name="Freeform 2019">
              <a:extLst>
                <a:ext uri="{FF2B5EF4-FFF2-40B4-BE49-F238E27FC236}">
                  <a16:creationId xmlns:a16="http://schemas.microsoft.com/office/drawing/2014/main" id="{9BD01189-81ED-4E35-818A-CE19E6E31EE3}"/>
                </a:ext>
              </a:extLst>
            </p:cNvPr>
            <p:cNvSpPr>
              <a:spLocks/>
            </p:cNvSpPr>
            <p:nvPr/>
          </p:nvSpPr>
          <p:spPr bwMode="auto">
            <a:xfrm>
              <a:off x="8450002" y="3858357"/>
              <a:ext cx="578886" cy="293016"/>
            </a:xfrm>
            <a:custGeom>
              <a:avLst/>
              <a:gdLst>
                <a:gd name="T0" fmla="*/ 160 w 324"/>
                <a:gd name="T1" fmla="*/ 164 h 164"/>
                <a:gd name="T2" fmla="*/ 160 w 324"/>
                <a:gd name="T3" fmla="*/ 164 h 164"/>
                <a:gd name="T4" fmla="*/ 176 w 324"/>
                <a:gd name="T5" fmla="*/ 164 h 164"/>
                <a:gd name="T6" fmla="*/ 194 w 324"/>
                <a:gd name="T7" fmla="*/ 162 h 164"/>
                <a:gd name="T8" fmla="*/ 208 w 324"/>
                <a:gd name="T9" fmla="*/ 158 h 164"/>
                <a:gd name="T10" fmla="*/ 224 w 324"/>
                <a:gd name="T11" fmla="*/ 154 h 164"/>
                <a:gd name="T12" fmla="*/ 252 w 324"/>
                <a:gd name="T13" fmla="*/ 142 h 164"/>
                <a:gd name="T14" fmla="*/ 276 w 324"/>
                <a:gd name="T15" fmla="*/ 128 h 164"/>
                <a:gd name="T16" fmla="*/ 296 w 324"/>
                <a:gd name="T17" fmla="*/ 112 h 164"/>
                <a:gd name="T18" fmla="*/ 312 w 324"/>
                <a:gd name="T19" fmla="*/ 100 h 164"/>
                <a:gd name="T20" fmla="*/ 324 w 324"/>
                <a:gd name="T21" fmla="*/ 88 h 164"/>
                <a:gd name="T22" fmla="*/ 324 w 324"/>
                <a:gd name="T23" fmla="*/ 88 h 164"/>
                <a:gd name="T24" fmla="*/ 312 w 324"/>
                <a:gd name="T25" fmla="*/ 74 h 164"/>
                <a:gd name="T26" fmla="*/ 298 w 324"/>
                <a:gd name="T27" fmla="*/ 60 h 164"/>
                <a:gd name="T28" fmla="*/ 278 w 324"/>
                <a:gd name="T29" fmla="*/ 46 h 164"/>
                <a:gd name="T30" fmla="*/ 256 w 324"/>
                <a:gd name="T31" fmla="*/ 30 h 164"/>
                <a:gd name="T32" fmla="*/ 228 w 324"/>
                <a:gd name="T33" fmla="*/ 16 h 164"/>
                <a:gd name="T34" fmla="*/ 214 w 324"/>
                <a:gd name="T35" fmla="*/ 10 h 164"/>
                <a:gd name="T36" fmla="*/ 198 w 324"/>
                <a:gd name="T37" fmla="*/ 6 h 164"/>
                <a:gd name="T38" fmla="*/ 182 w 324"/>
                <a:gd name="T39" fmla="*/ 2 h 164"/>
                <a:gd name="T40" fmla="*/ 166 w 324"/>
                <a:gd name="T41" fmla="*/ 0 h 164"/>
                <a:gd name="T42" fmla="*/ 166 w 324"/>
                <a:gd name="T43" fmla="*/ 0 h 164"/>
                <a:gd name="T44" fmla="*/ 148 w 324"/>
                <a:gd name="T45" fmla="*/ 2 h 164"/>
                <a:gd name="T46" fmla="*/ 132 w 324"/>
                <a:gd name="T47" fmla="*/ 4 h 164"/>
                <a:gd name="T48" fmla="*/ 116 w 324"/>
                <a:gd name="T49" fmla="*/ 6 h 164"/>
                <a:gd name="T50" fmla="*/ 102 w 324"/>
                <a:gd name="T51" fmla="*/ 12 h 164"/>
                <a:gd name="T52" fmla="*/ 74 w 324"/>
                <a:gd name="T53" fmla="*/ 24 h 164"/>
                <a:gd name="T54" fmla="*/ 50 w 324"/>
                <a:gd name="T55" fmla="*/ 38 h 164"/>
                <a:gd name="T56" fmla="*/ 30 w 324"/>
                <a:gd name="T57" fmla="*/ 52 h 164"/>
                <a:gd name="T58" fmla="*/ 14 w 324"/>
                <a:gd name="T59" fmla="*/ 66 h 164"/>
                <a:gd name="T60" fmla="*/ 0 w 324"/>
                <a:gd name="T61" fmla="*/ 78 h 164"/>
                <a:gd name="T62" fmla="*/ 0 w 324"/>
                <a:gd name="T63" fmla="*/ 78 h 164"/>
                <a:gd name="T64" fmla="*/ 14 w 324"/>
                <a:gd name="T65" fmla="*/ 92 h 164"/>
                <a:gd name="T66" fmla="*/ 28 w 324"/>
                <a:gd name="T67" fmla="*/ 104 h 164"/>
                <a:gd name="T68" fmla="*/ 46 w 324"/>
                <a:gd name="T69" fmla="*/ 120 h 164"/>
                <a:gd name="T70" fmla="*/ 70 w 324"/>
                <a:gd name="T71" fmla="*/ 136 h 164"/>
                <a:gd name="T72" fmla="*/ 98 w 324"/>
                <a:gd name="T73" fmla="*/ 150 h 164"/>
                <a:gd name="T74" fmla="*/ 112 w 324"/>
                <a:gd name="T75" fmla="*/ 156 h 164"/>
                <a:gd name="T76" fmla="*/ 128 w 324"/>
                <a:gd name="T77" fmla="*/ 160 h 164"/>
                <a:gd name="T78" fmla="*/ 144 w 324"/>
                <a:gd name="T79" fmla="*/ 164 h 164"/>
                <a:gd name="T80" fmla="*/ 160 w 324"/>
                <a:gd name="T81" fmla="*/ 164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4" h="164">
                  <a:moveTo>
                    <a:pt x="160" y="164"/>
                  </a:moveTo>
                  <a:lnTo>
                    <a:pt x="160" y="164"/>
                  </a:lnTo>
                  <a:lnTo>
                    <a:pt x="176" y="164"/>
                  </a:lnTo>
                  <a:lnTo>
                    <a:pt x="194" y="162"/>
                  </a:lnTo>
                  <a:lnTo>
                    <a:pt x="208" y="158"/>
                  </a:lnTo>
                  <a:lnTo>
                    <a:pt x="224" y="154"/>
                  </a:lnTo>
                  <a:lnTo>
                    <a:pt x="252" y="142"/>
                  </a:lnTo>
                  <a:lnTo>
                    <a:pt x="276" y="128"/>
                  </a:lnTo>
                  <a:lnTo>
                    <a:pt x="296" y="112"/>
                  </a:lnTo>
                  <a:lnTo>
                    <a:pt x="312" y="100"/>
                  </a:lnTo>
                  <a:lnTo>
                    <a:pt x="324" y="88"/>
                  </a:lnTo>
                  <a:lnTo>
                    <a:pt x="324" y="88"/>
                  </a:lnTo>
                  <a:lnTo>
                    <a:pt x="312" y="74"/>
                  </a:lnTo>
                  <a:lnTo>
                    <a:pt x="298" y="60"/>
                  </a:lnTo>
                  <a:lnTo>
                    <a:pt x="278" y="46"/>
                  </a:lnTo>
                  <a:lnTo>
                    <a:pt x="256" y="30"/>
                  </a:lnTo>
                  <a:lnTo>
                    <a:pt x="228" y="16"/>
                  </a:lnTo>
                  <a:lnTo>
                    <a:pt x="214" y="10"/>
                  </a:lnTo>
                  <a:lnTo>
                    <a:pt x="198" y="6"/>
                  </a:lnTo>
                  <a:lnTo>
                    <a:pt x="182" y="2"/>
                  </a:lnTo>
                  <a:lnTo>
                    <a:pt x="166" y="0"/>
                  </a:lnTo>
                  <a:lnTo>
                    <a:pt x="166" y="0"/>
                  </a:lnTo>
                  <a:lnTo>
                    <a:pt x="148" y="2"/>
                  </a:lnTo>
                  <a:lnTo>
                    <a:pt x="132" y="4"/>
                  </a:lnTo>
                  <a:lnTo>
                    <a:pt x="116" y="6"/>
                  </a:lnTo>
                  <a:lnTo>
                    <a:pt x="102" y="12"/>
                  </a:lnTo>
                  <a:lnTo>
                    <a:pt x="74" y="24"/>
                  </a:lnTo>
                  <a:lnTo>
                    <a:pt x="50" y="38"/>
                  </a:lnTo>
                  <a:lnTo>
                    <a:pt x="30" y="52"/>
                  </a:lnTo>
                  <a:lnTo>
                    <a:pt x="14" y="66"/>
                  </a:lnTo>
                  <a:lnTo>
                    <a:pt x="0" y="78"/>
                  </a:lnTo>
                  <a:lnTo>
                    <a:pt x="0" y="78"/>
                  </a:lnTo>
                  <a:lnTo>
                    <a:pt x="14" y="92"/>
                  </a:lnTo>
                  <a:lnTo>
                    <a:pt x="28" y="104"/>
                  </a:lnTo>
                  <a:lnTo>
                    <a:pt x="46" y="120"/>
                  </a:lnTo>
                  <a:lnTo>
                    <a:pt x="70" y="136"/>
                  </a:lnTo>
                  <a:lnTo>
                    <a:pt x="98" y="150"/>
                  </a:lnTo>
                  <a:lnTo>
                    <a:pt x="112" y="156"/>
                  </a:lnTo>
                  <a:lnTo>
                    <a:pt x="128" y="160"/>
                  </a:lnTo>
                  <a:lnTo>
                    <a:pt x="144" y="164"/>
                  </a:lnTo>
                  <a:lnTo>
                    <a:pt x="160" y="164"/>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13" name="Freeform 2020">
              <a:extLst>
                <a:ext uri="{FF2B5EF4-FFF2-40B4-BE49-F238E27FC236}">
                  <a16:creationId xmlns:a16="http://schemas.microsoft.com/office/drawing/2014/main" id="{2BB9724F-C932-4BDC-A4AC-9AE6B646B00D}"/>
                </a:ext>
              </a:extLst>
            </p:cNvPr>
            <p:cNvSpPr>
              <a:spLocks/>
            </p:cNvSpPr>
            <p:nvPr/>
          </p:nvSpPr>
          <p:spPr bwMode="auto">
            <a:xfrm>
              <a:off x="8450002" y="3858357"/>
              <a:ext cx="578886" cy="293016"/>
            </a:xfrm>
            <a:custGeom>
              <a:avLst/>
              <a:gdLst>
                <a:gd name="T0" fmla="*/ 160 w 324"/>
                <a:gd name="T1" fmla="*/ 164 h 164"/>
                <a:gd name="T2" fmla="*/ 160 w 324"/>
                <a:gd name="T3" fmla="*/ 164 h 164"/>
                <a:gd name="T4" fmla="*/ 176 w 324"/>
                <a:gd name="T5" fmla="*/ 164 h 164"/>
                <a:gd name="T6" fmla="*/ 194 w 324"/>
                <a:gd name="T7" fmla="*/ 162 h 164"/>
                <a:gd name="T8" fmla="*/ 208 w 324"/>
                <a:gd name="T9" fmla="*/ 158 h 164"/>
                <a:gd name="T10" fmla="*/ 224 w 324"/>
                <a:gd name="T11" fmla="*/ 154 h 164"/>
                <a:gd name="T12" fmla="*/ 252 w 324"/>
                <a:gd name="T13" fmla="*/ 142 h 164"/>
                <a:gd name="T14" fmla="*/ 276 w 324"/>
                <a:gd name="T15" fmla="*/ 128 h 164"/>
                <a:gd name="T16" fmla="*/ 296 w 324"/>
                <a:gd name="T17" fmla="*/ 112 h 164"/>
                <a:gd name="T18" fmla="*/ 312 w 324"/>
                <a:gd name="T19" fmla="*/ 100 h 164"/>
                <a:gd name="T20" fmla="*/ 324 w 324"/>
                <a:gd name="T21" fmla="*/ 88 h 164"/>
                <a:gd name="T22" fmla="*/ 324 w 324"/>
                <a:gd name="T23" fmla="*/ 88 h 164"/>
                <a:gd name="T24" fmla="*/ 312 w 324"/>
                <a:gd name="T25" fmla="*/ 74 h 164"/>
                <a:gd name="T26" fmla="*/ 298 w 324"/>
                <a:gd name="T27" fmla="*/ 60 h 164"/>
                <a:gd name="T28" fmla="*/ 278 w 324"/>
                <a:gd name="T29" fmla="*/ 46 h 164"/>
                <a:gd name="T30" fmla="*/ 256 w 324"/>
                <a:gd name="T31" fmla="*/ 30 h 164"/>
                <a:gd name="T32" fmla="*/ 228 w 324"/>
                <a:gd name="T33" fmla="*/ 16 h 164"/>
                <a:gd name="T34" fmla="*/ 214 w 324"/>
                <a:gd name="T35" fmla="*/ 10 h 164"/>
                <a:gd name="T36" fmla="*/ 198 w 324"/>
                <a:gd name="T37" fmla="*/ 6 h 164"/>
                <a:gd name="T38" fmla="*/ 182 w 324"/>
                <a:gd name="T39" fmla="*/ 2 h 164"/>
                <a:gd name="T40" fmla="*/ 166 w 324"/>
                <a:gd name="T41" fmla="*/ 0 h 164"/>
                <a:gd name="T42" fmla="*/ 166 w 324"/>
                <a:gd name="T43" fmla="*/ 0 h 164"/>
                <a:gd name="T44" fmla="*/ 148 w 324"/>
                <a:gd name="T45" fmla="*/ 2 h 164"/>
                <a:gd name="T46" fmla="*/ 132 w 324"/>
                <a:gd name="T47" fmla="*/ 4 h 164"/>
                <a:gd name="T48" fmla="*/ 116 w 324"/>
                <a:gd name="T49" fmla="*/ 6 h 164"/>
                <a:gd name="T50" fmla="*/ 102 w 324"/>
                <a:gd name="T51" fmla="*/ 12 h 164"/>
                <a:gd name="T52" fmla="*/ 74 w 324"/>
                <a:gd name="T53" fmla="*/ 24 h 164"/>
                <a:gd name="T54" fmla="*/ 50 w 324"/>
                <a:gd name="T55" fmla="*/ 38 h 164"/>
                <a:gd name="T56" fmla="*/ 30 w 324"/>
                <a:gd name="T57" fmla="*/ 52 h 164"/>
                <a:gd name="T58" fmla="*/ 14 w 324"/>
                <a:gd name="T59" fmla="*/ 66 h 164"/>
                <a:gd name="T60" fmla="*/ 0 w 324"/>
                <a:gd name="T61" fmla="*/ 78 h 164"/>
                <a:gd name="T62" fmla="*/ 0 w 324"/>
                <a:gd name="T63" fmla="*/ 78 h 164"/>
                <a:gd name="T64" fmla="*/ 14 w 324"/>
                <a:gd name="T65" fmla="*/ 92 h 164"/>
                <a:gd name="T66" fmla="*/ 28 w 324"/>
                <a:gd name="T67" fmla="*/ 104 h 164"/>
                <a:gd name="T68" fmla="*/ 46 w 324"/>
                <a:gd name="T69" fmla="*/ 120 h 164"/>
                <a:gd name="T70" fmla="*/ 70 w 324"/>
                <a:gd name="T71" fmla="*/ 136 h 164"/>
                <a:gd name="T72" fmla="*/ 98 w 324"/>
                <a:gd name="T73" fmla="*/ 150 h 164"/>
                <a:gd name="T74" fmla="*/ 112 w 324"/>
                <a:gd name="T75" fmla="*/ 156 h 164"/>
                <a:gd name="T76" fmla="*/ 128 w 324"/>
                <a:gd name="T77" fmla="*/ 160 h 164"/>
                <a:gd name="T78" fmla="*/ 144 w 324"/>
                <a:gd name="T79" fmla="*/ 164 h 164"/>
                <a:gd name="T80" fmla="*/ 160 w 324"/>
                <a:gd name="T81" fmla="*/ 164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4" h="164">
                  <a:moveTo>
                    <a:pt x="160" y="164"/>
                  </a:moveTo>
                  <a:lnTo>
                    <a:pt x="160" y="164"/>
                  </a:lnTo>
                  <a:lnTo>
                    <a:pt x="176" y="164"/>
                  </a:lnTo>
                  <a:lnTo>
                    <a:pt x="194" y="162"/>
                  </a:lnTo>
                  <a:lnTo>
                    <a:pt x="208" y="158"/>
                  </a:lnTo>
                  <a:lnTo>
                    <a:pt x="224" y="154"/>
                  </a:lnTo>
                  <a:lnTo>
                    <a:pt x="252" y="142"/>
                  </a:lnTo>
                  <a:lnTo>
                    <a:pt x="276" y="128"/>
                  </a:lnTo>
                  <a:lnTo>
                    <a:pt x="296" y="112"/>
                  </a:lnTo>
                  <a:lnTo>
                    <a:pt x="312" y="100"/>
                  </a:lnTo>
                  <a:lnTo>
                    <a:pt x="324" y="88"/>
                  </a:lnTo>
                  <a:lnTo>
                    <a:pt x="324" y="88"/>
                  </a:lnTo>
                  <a:lnTo>
                    <a:pt x="312" y="74"/>
                  </a:lnTo>
                  <a:lnTo>
                    <a:pt x="298" y="60"/>
                  </a:lnTo>
                  <a:lnTo>
                    <a:pt x="278" y="46"/>
                  </a:lnTo>
                  <a:lnTo>
                    <a:pt x="256" y="30"/>
                  </a:lnTo>
                  <a:lnTo>
                    <a:pt x="228" y="16"/>
                  </a:lnTo>
                  <a:lnTo>
                    <a:pt x="214" y="10"/>
                  </a:lnTo>
                  <a:lnTo>
                    <a:pt x="198" y="6"/>
                  </a:lnTo>
                  <a:lnTo>
                    <a:pt x="182" y="2"/>
                  </a:lnTo>
                  <a:lnTo>
                    <a:pt x="166" y="0"/>
                  </a:lnTo>
                  <a:lnTo>
                    <a:pt x="166" y="0"/>
                  </a:lnTo>
                  <a:lnTo>
                    <a:pt x="148" y="2"/>
                  </a:lnTo>
                  <a:lnTo>
                    <a:pt x="132" y="4"/>
                  </a:lnTo>
                  <a:lnTo>
                    <a:pt x="116" y="6"/>
                  </a:lnTo>
                  <a:lnTo>
                    <a:pt x="102" y="12"/>
                  </a:lnTo>
                  <a:lnTo>
                    <a:pt x="74" y="24"/>
                  </a:lnTo>
                  <a:lnTo>
                    <a:pt x="50" y="38"/>
                  </a:lnTo>
                  <a:lnTo>
                    <a:pt x="30" y="52"/>
                  </a:lnTo>
                  <a:lnTo>
                    <a:pt x="14" y="66"/>
                  </a:lnTo>
                  <a:lnTo>
                    <a:pt x="0" y="78"/>
                  </a:lnTo>
                  <a:lnTo>
                    <a:pt x="0" y="78"/>
                  </a:lnTo>
                  <a:lnTo>
                    <a:pt x="14" y="92"/>
                  </a:lnTo>
                  <a:lnTo>
                    <a:pt x="28" y="104"/>
                  </a:lnTo>
                  <a:lnTo>
                    <a:pt x="46" y="120"/>
                  </a:lnTo>
                  <a:lnTo>
                    <a:pt x="70" y="136"/>
                  </a:lnTo>
                  <a:lnTo>
                    <a:pt x="98" y="150"/>
                  </a:lnTo>
                  <a:lnTo>
                    <a:pt x="112" y="156"/>
                  </a:lnTo>
                  <a:lnTo>
                    <a:pt x="128" y="160"/>
                  </a:lnTo>
                  <a:lnTo>
                    <a:pt x="144" y="164"/>
                  </a:lnTo>
                  <a:lnTo>
                    <a:pt x="160" y="16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14" name="Freeform 2022">
              <a:extLst>
                <a:ext uri="{FF2B5EF4-FFF2-40B4-BE49-F238E27FC236}">
                  <a16:creationId xmlns:a16="http://schemas.microsoft.com/office/drawing/2014/main" id="{7527BF71-3BCC-4581-9C5C-87D3CF424B81}"/>
                </a:ext>
              </a:extLst>
            </p:cNvPr>
            <p:cNvSpPr>
              <a:spLocks/>
            </p:cNvSpPr>
            <p:nvPr/>
          </p:nvSpPr>
          <p:spPr bwMode="auto">
            <a:xfrm>
              <a:off x="8432135" y="3844063"/>
              <a:ext cx="618193" cy="321603"/>
            </a:xfrm>
            <a:custGeom>
              <a:avLst/>
              <a:gdLst>
                <a:gd name="T0" fmla="*/ 170 w 346"/>
                <a:gd name="T1" fmla="*/ 180 h 180"/>
                <a:gd name="T2" fmla="*/ 174 w 346"/>
                <a:gd name="T3" fmla="*/ 180 h 180"/>
                <a:gd name="T4" fmla="*/ 192 w 346"/>
                <a:gd name="T5" fmla="*/ 180 h 180"/>
                <a:gd name="T6" fmla="*/ 224 w 346"/>
                <a:gd name="T7" fmla="*/ 174 h 180"/>
                <a:gd name="T8" fmla="*/ 268 w 346"/>
                <a:gd name="T9" fmla="*/ 156 h 180"/>
                <a:gd name="T10" fmla="*/ 292 w 346"/>
                <a:gd name="T11" fmla="*/ 140 h 180"/>
                <a:gd name="T12" fmla="*/ 328 w 346"/>
                <a:gd name="T13" fmla="*/ 114 h 180"/>
                <a:gd name="T14" fmla="*/ 346 w 346"/>
                <a:gd name="T15" fmla="*/ 96 h 180"/>
                <a:gd name="T16" fmla="*/ 342 w 346"/>
                <a:gd name="T17" fmla="*/ 90 h 180"/>
                <a:gd name="T18" fmla="*/ 314 w 346"/>
                <a:gd name="T19" fmla="*/ 62 h 180"/>
                <a:gd name="T20" fmla="*/ 294 w 346"/>
                <a:gd name="T21" fmla="*/ 46 h 180"/>
                <a:gd name="T22" fmla="*/ 242 w 346"/>
                <a:gd name="T23" fmla="*/ 16 h 180"/>
                <a:gd name="T24" fmla="*/ 210 w 346"/>
                <a:gd name="T25" fmla="*/ 6 h 180"/>
                <a:gd name="T26" fmla="*/ 176 w 346"/>
                <a:gd name="T27" fmla="*/ 0 h 180"/>
                <a:gd name="T28" fmla="*/ 176 w 346"/>
                <a:gd name="T29" fmla="*/ 0 h 180"/>
                <a:gd name="T30" fmla="*/ 170 w 346"/>
                <a:gd name="T31" fmla="*/ 0 h 180"/>
                <a:gd name="T32" fmla="*/ 138 w 346"/>
                <a:gd name="T33" fmla="*/ 4 h 180"/>
                <a:gd name="T34" fmla="*/ 106 w 346"/>
                <a:gd name="T35" fmla="*/ 14 h 180"/>
                <a:gd name="T36" fmla="*/ 54 w 346"/>
                <a:gd name="T37" fmla="*/ 40 h 180"/>
                <a:gd name="T38" fmla="*/ 34 w 346"/>
                <a:gd name="T39" fmla="*/ 56 h 180"/>
                <a:gd name="T40" fmla="*/ 4 w 346"/>
                <a:gd name="T41" fmla="*/ 80 h 180"/>
                <a:gd name="T42" fmla="*/ 4 w 346"/>
                <a:gd name="T43" fmla="*/ 92 h 180"/>
                <a:gd name="T44" fmla="*/ 18 w 346"/>
                <a:gd name="T45" fmla="*/ 104 h 180"/>
                <a:gd name="T46" fmla="*/ 52 w 346"/>
                <a:gd name="T47" fmla="*/ 134 h 180"/>
                <a:gd name="T48" fmla="*/ 76 w 346"/>
                <a:gd name="T49" fmla="*/ 152 h 180"/>
                <a:gd name="T50" fmla="*/ 120 w 346"/>
                <a:gd name="T51" fmla="*/ 172 h 180"/>
                <a:gd name="T52" fmla="*/ 152 w 346"/>
                <a:gd name="T53" fmla="*/ 180 h 180"/>
                <a:gd name="T54" fmla="*/ 170 w 346"/>
                <a:gd name="T55" fmla="*/ 172 h 180"/>
                <a:gd name="T56" fmla="*/ 170 w 346"/>
                <a:gd name="T57" fmla="*/ 164 h 180"/>
                <a:gd name="T58" fmla="*/ 140 w 346"/>
                <a:gd name="T59" fmla="*/ 160 h 180"/>
                <a:gd name="T60" fmla="*/ 110 w 346"/>
                <a:gd name="T61" fmla="*/ 150 h 180"/>
                <a:gd name="T62" fmla="*/ 62 w 346"/>
                <a:gd name="T63" fmla="*/ 122 h 180"/>
                <a:gd name="T64" fmla="*/ 42 w 346"/>
                <a:gd name="T65" fmla="*/ 106 h 180"/>
                <a:gd name="T66" fmla="*/ 28 w 346"/>
                <a:gd name="T67" fmla="*/ 94 h 180"/>
                <a:gd name="T68" fmla="*/ 20 w 346"/>
                <a:gd name="T69" fmla="*/ 84 h 180"/>
                <a:gd name="T70" fmla="*/ 16 w 346"/>
                <a:gd name="T71" fmla="*/ 82 h 180"/>
                <a:gd name="T72" fmla="*/ 10 w 346"/>
                <a:gd name="T73" fmla="*/ 86 h 180"/>
                <a:gd name="T74" fmla="*/ 16 w 346"/>
                <a:gd name="T75" fmla="*/ 92 h 180"/>
                <a:gd name="T76" fmla="*/ 30 w 346"/>
                <a:gd name="T77" fmla="*/ 78 h 180"/>
                <a:gd name="T78" fmla="*/ 64 w 346"/>
                <a:gd name="T79" fmla="*/ 52 h 180"/>
                <a:gd name="T80" fmla="*/ 88 w 346"/>
                <a:gd name="T81" fmla="*/ 38 h 180"/>
                <a:gd name="T82" fmla="*/ 142 w 346"/>
                <a:gd name="T83" fmla="*/ 20 h 180"/>
                <a:gd name="T84" fmla="*/ 170 w 346"/>
                <a:gd name="T85" fmla="*/ 16 h 180"/>
                <a:gd name="T86" fmla="*/ 174 w 346"/>
                <a:gd name="T87" fmla="*/ 16 h 180"/>
                <a:gd name="T88" fmla="*/ 174 w 346"/>
                <a:gd name="T89" fmla="*/ 16 h 180"/>
                <a:gd name="T90" fmla="*/ 206 w 346"/>
                <a:gd name="T91" fmla="*/ 22 h 180"/>
                <a:gd name="T92" fmla="*/ 234 w 346"/>
                <a:gd name="T93" fmla="*/ 30 h 180"/>
                <a:gd name="T94" fmla="*/ 284 w 346"/>
                <a:gd name="T95" fmla="*/ 60 h 180"/>
                <a:gd name="T96" fmla="*/ 302 w 346"/>
                <a:gd name="T97" fmla="*/ 74 h 180"/>
                <a:gd name="T98" fmla="*/ 316 w 346"/>
                <a:gd name="T99" fmla="*/ 88 h 180"/>
                <a:gd name="T100" fmla="*/ 326 w 346"/>
                <a:gd name="T101" fmla="*/ 98 h 180"/>
                <a:gd name="T102" fmla="*/ 328 w 346"/>
                <a:gd name="T103" fmla="*/ 100 h 180"/>
                <a:gd name="T104" fmla="*/ 334 w 346"/>
                <a:gd name="T105" fmla="*/ 96 h 180"/>
                <a:gd name="T106" fmla="*/ 328 w 346"/>
                <a:gd name="T107" fmla="*/ 90 h 180"/>
                <a:gd name="T108" fmla="*/ 314 w 346"/>
                <a:gd name="T109" fmla="*/ 104 h 180"/>
                <a:gd name="T110" fmla="*/ 280 w 346"/>
                <a:gd name="T111" fmla="*/ 130 h 180"/>
                <a:gd name="T112" fmla="*/ 258 w 346"/>
                <a:gd name="T113" fmla="*/ 142 h 180"/>
                <a:gd name="T114" fmla="*/ 204 w 346"/>
                <a:gd name="T115" fmla="*/ 162 h 180"/>
                <a:gd name="T116" fmla="*/ 174 w 346"/>
                <a:gd name="T117" fmla="*/ 164 h 180"/>
                <a:gd name="T118" fmla="*/ 170 w 346"/>
                <a:gd name="T119" fmla="*/ 164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46" h="180">
                  <a:moveTo>
                    <a:pt x="170" y="172"/>
                  </a:moveTo>
                  <a:lnTo>
                    <a:pt x="170" y="180"/>
                  </a:lnTo>
                  <a:lnTo>
                    <a:pt x="170" y="180"/>
                  </a:lnTo>
                  <a:lnTo>
                    <a:pt x="174" y="180"/>
                  </a:lnTo>
                  <a:lnTo>
                    <a:pt x="174" y="180"/>
                  </a:lnTo>
                  <a:lnTo>
                    <a:pt x="192" y="180"/>
                  </a:lnTo>
                  <a:lnTo>
                    <a:pt x="208" y="178"/>
                  </a:lnTo>
                  <a:lnTo>
                    <a:pt x="224" y="174"/>
                  </a:lnTo>
                  <a:lnTo>
                    <a:pt x="240" y="168"/>
                  </a:lnTo>
                  <a:lnTo>
                    <a:pt x="268" y="156"/>
                  </a:lnTo>
                  <a:lnTo>
                    <a:pt x="292" y="140"/>
                  </a:lnTo>
                  <a:lnTo>
                    <a:pt x="292" y="140"/>
                  </a:lnTo>
                  <a:lnTo>
                    <a:pt x="312" y="126"/>
                  </a:lnTo>
                  <a:lnTo>
                    <a:pt x="328" y="114"/>
                  </a:lnTo>
                  <a:lnTo>
                    <a:pt x="340" y="102"/>
                  </a:lnTo>
                  <a:lnTo>
                    <a:pt x="346" y="96"/>
                  </a:lnTo>
                  <a:lnTo>
                    <a:pt x="342" y="90"/>
                  </a:lnTo>
                  <a:lnTo>
                    <a:pt x="342" y="90"/>
                  </a:lnTo>
                  <a:lnTo>
                    <a:pt x="328" y="76"/>
                  </a:lnTo>
                  <a:lnTo>
                    <a:pt x="314" y="62"/>
                  </a:lnTo>
                  <a:lnTo>
                    <a:pt x="294" y="46"/>
                  </a:lnTo>
                  <a:lnTo>
                    <a:pt x="294" y="46"/>
                  </a:lnTo>
                  <a:lnTo>
                    <a:pt x="270" y="30"/>
                  </a:lnTo>
                  <a:lnTo>
                    <a:pt x="242" y="16"/>
                  </a:lnTo>
                  <a:lnTo>
                    <a:pt x="226" y="10"/>
                  </a:lnTo>
                  <a:lnTo>
                    <a:pt x="210" y="6"/>
                  </a:lnTo>
                  <a:lnTo>
                    <a:pt x="192" y="2"/>
                  </a:lnTo>
                  <a:lnTo>
                    <a:pt x="176" y="0"/>
                  </a:lnTo>
                  <a:lnTo>
                    <a:pt x="176" y="0"/>
                  </a:lnTo>
                  <a:lnTo>
                    <a:pt x="176" y="0"/>
                  </a:lnTo>
                  <a:lnTo>
                    <a:pt x="170" y="0"/>
                  </a:lnTo>
                  <a:lnTo>
                    <a:pt x="170" y="0"/>
                  </a:lnTo>
                  <a:lnTo>
                    <a:pt x="154" y="2"/>
                  </a:lnTo>
                  <a:lnTo>
                    <a:pt x="138" y="4"/>
                  </a:lnTo>
                  <a:lnTo>
                    <a:pt x="122" y="8"/>
                  </a:lnTo>
                  <a:lnTo>
                    <a:pt x="106" y="14"/>
                  </a:lnTo>
                  <a:lnTo>
                    <a:pt x="78" y="26"/>
                  </a:lnTo>
                  <a:lnTo>
                    <a:pt x="54" y="40"/>
                  </a:lnTo>
                  <a:lnTo>
                    <a:pt x="54" y="40"/>
                  </a:lnTo>
                  <a:lnTo>
                    <a:pt x="34" y="56"/>
                  </a:lnTo>
                  <a:lnTo>
                    <a:pt x="18" y="68"/>
                  </a:lnTo>
                  <a:lnTo>
                    <a:pt x="4" y="80"/>
                  </a:lnTo>
                  <a:lnTo>
                    <a:pt x="0" y="86"/>
                  </a:lnTo>
                  <a:lnTo>
                    <a:pt x="4" y="92"/>
                  </a:lnTo>
                  <a:lnTo>
                    <a:pt x="4" y="92"/>
                  </a:lnTo>
                  <a:lnTo>
                    <a:pt x="18" y="104"/>
                  </a:lnTo>
                  <a:lnTo>
                    <a:pt x="32" y="118"/>
                  </a:lnTo>
                  <a:lnTo>
                    <a:pt x="52" y="134"/>
                  </a:lnTo>
                  <a:lnTo>
                    <a:pt x="52" y="134"/>
                  </a:lnTo>
                  <a:lnTo>
                    <a:pt x="76" y="152"/>
                  </a:lnTo>
                  <a:lnTo>
                    <a:pt x="104" y="166"/>
                  </a:lnTo>
                  <a:lnTo>
                    <a:pt x="120" y="172"/>
                  </a:lnTo>
                  <a:lnTo>
                    <a:pt x="136" y="176"/>
                  </a:lnTo>
                  <a:lnTo>
                    <a:pt x="152" y="180"/>
                  </a:lnTo>
                  <a:lnTo>
                    <a:pt x="170" y="180"/>
                  </a:lnTo>
                  <a:lnTo>
                    <a:pt x="170" y="172"/>
                  </a:lnTo>
                  <a:lnTo>
                    <a:pt x="170" y="164"/>
                  </a:lnTo>
                  <a:lnTo>
                    <a:pt x="170" y="164"/>
                  </a:lnTo>
                  <a:lnTo>
                    <a:pt x="154" y="164"/>
                  </a:lnTo>
                  <a:lnTo>
                    <a:pt x="140" y="160"/>
                  </a:lnTo>
                  <a:lnTo>
                    <a:pt x="124" y="156"/>
                  </a:lnTo>
                  <a:lnTo>
                    <a:pt x="110" y="150"/>
                  </a:lnTo>
                  <a:lnTo>
                    <a:pt x="84" y="138"/>
                  </a:lnTo>
                  <a:lnTo>
                    <a:pt x="62" y="122"/>
                  </a:lnTo>
                  <a:lnTo>
                    <a:pt x="62" y="122"/>
                  </a:lnTo>
                  <a:lnTo>
                    <a:pt x="42" y="106"/>
                  </a:lnTo>
                  <a:lnTo>
                    <a:pt x="28" y="94"/>
                  </a:lnTo>
                  <a:lnTo>
                    <a:pt x="28" y="94"/>
                  </a:lnTo>
                  <a:lnTo>
                    <a:pt x="20" y="84"/>
                  </a:lnTo>
                  <a:lnTo>
                    <a:pt x="20" y="84"/>
                  </a:lnTo>
                  <a:lnTo>
                    <a:pt x="18" y="82"/>
                  </a:lnTo>
                  <a:lnTo>
                    <a:pt x="16" y="82"/>
                  </a:lnTo>
                  <a:lnTo>
                    <a:pt x="16" y="80"/>
                  </a:lnTo>
                  <a:lnTo>
                    <a:pt x="10" y="86"/>
                  </a:lnTo>
                  <a:lnTo>
                    <a:pt x="16" y="92"/>
                  </a:lnTo>
                  <a:lnTo>
                    <a:pt x="16" y="92"/>
                  </a:lnTo>
                  <a:lnTo>
                    <a:pt x="16" y="92"/>
                  </a:lnTo>
                  <a:lnTo>
                    <a:pt x="30" y="78"/>
                  </a:lnTo>
                  <a:lnTo>
                    <a:pt x="46" y="66"/>
                  </a:lnTo>
                  <a:lnTo>
                    <a:pt x="64" y="52"/>
                  </a:lnTo>
                  <a:lnTo>
                    <a:pt x="64" y="52"/>
                  </a:lnTo>
                  <a:lnTo>
                    <a:pt x="88" y="38"/>
                  </a:lnTo>
                  <a:lnTo>
                    <a:pt x="114" y="28"/>
                  </a:lnTo>
                  <a:lnTo>
                    <a:pt x="142" y="20"/>
                  </a:lnTo>
                  <a:lnTo>
                    <a:pt x="156" y="18"/>
                  </a:lnTo>
                  <a:lnTo>
                    <a:pt x="170" y="16"/>
                  </a:lnTo>
                  <a:lnTo>
                    <a:pt x="170" y="16"/>
                  </a:lnTo>
                  <a:lnTo>
                    <a:pt x="174" y="16"/>
                  </a:lnTo>
                  <a:lnTo>
                    <a:pt x="174" y="16"/>
                  </a:lnTo>
                  <a:lnTo>
                    <a:pt x="174" y="16"/>
                  </a:lnTo>
                  <a:lnTo>
                    <a:pt x="190" y="18"/>
                  </a:lnTo>
                  <a:lnTo>
                    <a:pt x="206" y="22"/>
                  </a:lnTo>
                  <a:lnTo>
                    <a:pt x="220" y="26"/>
                  </a:lnTo>
                  <a:lnTo>
                    <a:pt x="234" y="30"/>
                  </a:lnTo>
                  <a:lnTo>
                    <a:pt x="260" y="44"/>
                  </a:lnTo>
                  <a:lnTo>
                    <a:pt x="284" y="60"/>
                  </a:lnTo>
                  <a:lnTo>
                    <a:pt x="284" y="60"/>
                  </a:lnTo>
                  <a:lnTo>
                    <a:pt x="302" y="74"/>
                  </a:lnTo>
                  <a:lnTo>
                    <a:pt x="316" y="88"/>
                  </a:lnTo>
                  <a:lnTo>
                    <a:pt x="316" y="88"/>
                  </a:lnTo>
                  <a:lnTo>
                    <a:pt x="326" y="98"/>
                  </a:lnTo>
                  <a:lnTo>
                    <a:pt x="326" y="98"/>
                  </a:lnTo>
                  <a:lnTo>
                    <a:pt x="328" y="100"/>
                  </a:lnTo>
                  <a:lnTo>
                    <a:pt x="328" y="100"/>
                  </a:lnTo>
                  <a:lnTo>
                    <a:pt x="328" y="100"/>
                  </a:lnTo>
                  <a:lnTo>
                    <a:pt x="334" y="96"/>
                  </a:lnTo>
                  <a:lnTo>
                    <a:pt x="330" y="90"/>
                  </a:lnTo>
                  <a:lnTo>
                    <a:pt x="328" y="90"/>
                  </a:lnTo>
                  <a:lnTo>
                    <a:pt x="328" y="90"/>
                  </a:lnTo>
                  <a:lnTo>
                    <a:pt x="314" y="104"/>
                  </a:lnTo>
                  <a:lnTo>
                    <a:pt x="300" y="116"/>
                  </a:lnTo>
                  <a:lnTo>
                    <a:pt x="280" y="130"/>
                  </a:lnTo>
                  <a:lnTo>
                    <a:pt x="280" y="130"/>
                  </a:lnTo>
                  <a:lnTo>
                    <a:pt x="258" y="142"/>
                  </a:lnTo>
                  <a:lnTo>
                    <a:pt x="232" y="154"/>
                  </a:lnTo>
                  <a:lnTo>
                    <a:pt x="204" y="162"/>
                  </a:lnTo>
                  <a:lnTo>
                    <a:pt x="190" y="164"/>
                  </a:lnTo>
                  <a:lnTo>
                    <a:pt x="174" y="164"/>
                  </a:lnTo>
                  <a:lnTo>
                    <a:pt x="174" y="164"/>
                  </a:lnTo>
                  <a:lnTo>
                    <a:pt x="170" y="164"/>
                  </a:lnTo>
                  <a:lnTo>
                    <a:pt x="170" y="17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15" name="Freeform 2023">
              <a:extLst>
                <a:ext uri="{FF2B5EF4-FFF2-40B4-BE49-F238E27FC236}">
                  <a16:creationId xmlns:a16="http://schemas.microsoft.com/office/drawing/2014/main" id="{6CE8E1AC-93E1-48E1-91E3-4EC8C4B542C7}"/>
                </a:ext>
              </a:extLst>
            </p:cNvPr>
            <p:cNvSpPr>
              <a:spLocks/>
            </p:cNvSpPr>
            <p:nvPr/>
          </p:nvSpPr>
          <p:spPr bwMode="auto">
            <a:xfrm>
              <a:off x="8714431" y="3304485"/>
              <a:ext cx="314456" cy="532432"/>
            </a:xfrm>
            <a:custGeom>
              <a:avLst/>
              <a:gdLst>
                <a:gd name="T0" fmla="*/ 14 w 176"/>
                <a:gd name="T1" fmla="*/ 182 h 298"/>
                <a:gd name="T2" fmla="*/ 14 w 176"/>
                <a:gd name="T3" fmla="*/ 182 h 298"/>
                <a:gd name="T4" fmla="*/ 20 w 176"/>
                <a:gd name="T5" fmla="*/ 196 h 298"/>
                <a:gd name="T6" fmla="*/ 30 w 176"/>
                <a:gd name="T7" fmla="*/ 210 h 298"/>
                <a:gd name="T8" fmla="*/ 38 w 176"/>
                <a:gd name="T9" fmla="*/ 222 h 298"/>
                <a:gd name="T10" fmla="*/ 50 w 176"/>
                <a:gd name="T11" fmla="*/ 234 h 298"/>
                <a:gd name="T12" fmla="*/ 72 w 176"/>
                <a:gd name="T13" fmla="*/ 254 h 298"/>
                <a:gd name="T14" fmla="*/ 96 w 176"/>
                <a:gd name="T15" fmla="*/ 270 h 298"/>
                <a:gd name="T16" fmla="*/ 118 w 176"/>
                <a:gd name="T17" fmla="*/ 284 h 298"/>
                <a:gd name="T18" fmla="*/ 136 w 176"/>
                <a:gd name="T19" fmla="*/ 292 h 298"/>
                <a:gd name="T20" fmla="*/ 152 w 176"/>
                <a:gd name="T21" fmla="*/ 298 h 298"/>
                <a:gd name="T22" fmla="*/ 152 w 176"/>
                <a:gd name="T23" fmla="*/ 298 h 298"/>
                <a:gd name="T24" fmla="*/ 160 w 176"/>
                <a:gd name="T25" fmla="*/ 282 h 298"/>
                <a:gd name="T26" fmla="*/ 166 w 176"/>
                <a:gd name="T27" fmla="*/ 262 h 298"/>
                <a:gd name="T28" fmla="*/ 172 w 176"/>
                <a:gd name="T29" fmla="*/ 238 h 298"/>
                <a:gd name="T30" fmla="*/ 176 w 176"/>
                <a:gd name="T31" fmla="*/ 210 h 298"/>
                <a:gd name="T32" fmla="*/ 176 w 176"/>
                <a:gd name="T33" fmla="*/ 180 h 298"/>
                <a:gd name="T34" fmla="*/ 176 w 176"/>
                <a:gd name="T35" fmla="*/ 164 h 298"/>
                <a:gd name="T36" fmla="*/ 174 w 176"/>
                <a:gd name="T37" fmla="*/ 148 h 298"/>
                <a:gd name="T38" fmla="*/ 170 w 176"/>
                <a:gd name="T39" fmla="*/ 132 h 298"/>
                <a:gd name="T40" fmla="*/ 164 w 176"/>
                <a:gd name="T41" fmla="*/ 116 h 298"/>
                <a:gd name="T42" fmla="*/ 164 w 176"/>
                <a:gd name="T43" fmla="*/ 116 h 298"/>
                <a:gd name="T44" fmla="*/ 156 w 176"/>
                <a:gd name="T45" fmla="*/ 102 h 298"/>
                <a:gd name="T46" fmla="*/ 148 w 176"/>
                <a:gd name="T47" fmla="*/ 88 h 298"/>
                <a:gd name="T48" fmla="*/ 138 w 176"/>
                <a:gd name="T49" fmla="*/ 76 h 298"/>
                <a:gd name="T50" fmla="*/ 128 w 176"/>
                <a:gd name="T51" fmla="*/ 64 h 298"/>
                <a:gd name="T52" fmla="*/ 104 w 176"/>
                <a:gd name="T53" fmla="*/ 44 h 298"/>
                <a:gd name="T54" fmla="*/ 82 w 176"/>
                <a:gd name="T55" fmla="*/ 28 h 298"/>
                <a:gd name="T56" fmla="*/ 60 w 176"/>
                <a:gd name="T57" fmla="*/ 16 h 298"/>
                <a:gd name="T58" fmla="*/ 42 w 176"/>
                <a:gd name="T59" fmla="*/ 6 h 298"/>
                <a:gd name="T60" fmla="*/ 24 w 176"/>
                <a:gd name="T61" fmla="*/ 0 h 298"/>
                <a:gd name="T62" fmla="*/ 24 w 176"/>
                <a:gd name="T63" fmla="*/ 0 h 298"/>
                <a:gd name="T64" fmla="*/ 18 w 176"/>
                <a:gd name="T65" fmla="*/ 16 h 298"/>
                <a:gd name="T66" fmla="*/ 12 w 176"/>
                <a:gd name="T67" fmla="*/ 36 h 298"/>
                <a:gd name="T68" fmla="*/ 6 w 176"/>
                <a:gd name="T69" fmla="*/ 60 h 298"/>
                <a:gd name="T70" fmla="*/ 2 w 176"/>
                <a:gd name="T71" fmla="*/ 88 h 298"/>
                <a:gd name="T72" fmla="*/ 0 w 176"/>
                <a:gd name="T73" fmla="*/ 118 h 298"/>
                <a:gd name="T74" fmla="*/ 0 w 176"/>
                <a:gd name="T75" fmla="*/ 134 h 298"/>
                <a:gd name="T76" fmla="*/ 4 w 176"/>
                <a:gd name="T77" fmla="*/ 150 h 298"/>
                <a:gd name="T78" fmla="*/ 8 w 176"/>
                <a:gd name="T79" fmla="*/ 166 h 298"/>
                <a:gd name="T80" fmla="*/ 14 w 176"/>
                <a:gd name="T81" fmla="*/ 182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76" h="298">
                  <a:moveTo>
                    <a:pt x="14" y="182"/>
                  </a:moveTo>
                  <a:lnTo>
                    <a:pt x="14" y="182"/>
                  </a:lnTo>
                  <a:lnTo>
                    <a:pt x="20" y="196"/>
                  </a:lnTo>
                  <a:lnTo>
                    <a:pt x="30" y="210"/>
                  </a:lnTo>
                  <a:lnTo>
                    <a:pt x="38" y="222"/>
                  </a:lnTo>
                  <a:lnTo>
                    <a:pt x="50" y="234"/>
                  </a:lnTo>
                  <a:lnTo>
                    <a:pt x="72" y="254"/>
                  </a:lnTo>
                  <a:lnTo>
                    <a:pt x="96" y="270"/>
                  </a:lnTo>
                  <a:lnTo>
                    <a:pt x="118" y="284"/>
                  </a:lnTo>
                  <a:lnTo>
                    <a:pt x="136" y="292"/>
                  </a:lnTo>
                  <a:lnTo>
                    <a:pt x="152" y="298"/>
                  </a:lnTo>
                  <a:lnTo>
                    <a:pt x="152" y="298"/>
                  </a:lnTo>
                  <a:lnTo>
                    <a:pt x="160" y="282"/>
                  </a:lnTo>
                  <a:lnTo>
                    <a:pt x="166" y="262"/>
                  </a:lnTo>
                  <a:lnTo>
                    <a:pt x="172" y="238"/>
                  </a:lnTo>
                  <a:lnTo>
                    <a:pt x="176" y="210"/>
                  </a:lnTo>
                  <a:lnTo>
                    <a:pt x="176" y="180"/>
                  </a:lnTo>
                  <a:lnTo>
                    <a:pt x="176" y="164"/>
                  </a:lnTo>
                  <a:lnTo>
                    <a:pt x="174" y="148"/>
                  </a:lnTo>
                  <a:lnTo>
                    <a:pt x="170" y="132"/>
                  </a:lnTo>
                  <a:lnTo>
                    <a:pt x="164" y="116"/>
                  </a:lnTo>
                  <a:lnTo>
                    <a:pt x="164" y="116"/>
                  </a:lnTo>
                  <a:lnTo>
                    <a:pt x="156" y="102"/>
                  </a:lnTo>
                  <a:lnTo>
                    <a:pt x="148" y="88"/>
                  </a:lnTo>
                  <a:lnTo>
                    <a:pt x="138" y="76"/>
                  </a:lnTo>
                  <a:lnTo>
                    <a:pt x="128" y="64"/>
                  </a:lnTo>
                  <a:lnTo>
                    <a:pt x="104" y="44"/>
                  </a:lnTo>
                  <a:lnTo>
                    <a:pt x="82" y="28"/>
                  </a:lnTo>
                  <a:lnTo>
                    <a:pt x="60" y="16"/>
                  </a:lnTo>
                  <a:lnTo>
                    <a:pt x="42" y="6"/>
                  </a:lnTo>
                  <a:lnTo>
                    <a:pt x="24" y="0"/>
                  </a:lnTo>
                  <a:lnTo>
                    <a:pt x="24" y="0"/>
                  </a:lnTo>
                  <a:lnTo>
                    <a:pt x="18" y="16"/>
                  </a:lnTo>
                  <a:lnTo>
                    <a:pt x="12" y="36"/>
                  </a:lnTo>
                  <a:lnTo>
                    <a:pt x="6" y="60"/>
                  </a:lnTo>
                  <a:lnTo>
                    <a:pt x="2" y="88"/>
                  </a:lnTo>
                  <a:lnTo>
                    <a:pt x="0" y="118"/>
                  </a:lnTo>
                  <a:lnTo>
                    <a:pt x="0" y="134"/>
                  </a:lnTo>
                  <a:lnTo>
                    <a:pt x="4" y="150"/>
                  </a:lnTo>
                  <a:lnTo>
                    <a:pt x="8" y="166"/>
                  </a:lnTo>
                  <a:lnTo>
                    <a:pt x="14" y="182"/>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16" name="Freeform 2024">
              <a:extLst>
                <a:ext uri="{FF2B5EF4-FFF2-40B4-BE49-F238E27FC236}">
                  <a16:creationId xmlns:a16="http://schemas.microsoft.com/office/drawing/2014/main" id="{B5AFD3A5-8F31-43B2-A321-490F065CBA69}"/>
                </a:ext>
              </a:extLst>
            </p:cNvPr>
            <p:cNvSpPr>
              <a:spLocks/>
            </p:cNvSpPr>
            <p:nvPr/>
          </p:nvSpPr>
          <p:spPr bwMode="auto">
            <a:xfrm>
              <a:off x="8714431" y="3304485"/>
              <a:ext cx="314456" cy="532432"/>
            </a:xfrm>
            <a:custGeom>
              <a:avLst/>
              <a:gdLst>
                <a:gd name="T0" fmla="*/ 14 w 176"/>
                <a:gd name="T1" fmla="*/ 182 h 298"/>
                <a:gd name="T2" fmla="*/ 14 w 176"/>
                <a:gd name="T3" fmla="*/ 182 h 298"/>
                <a:gd name="T4" fmla="*/ 20 w 176"/>
                <a:gd name="T5" fmla="*/ 196 h 298"/>
                <a:gd name="T6" fmla="*/ 30 w 176"/>
                <a:gd name="T7" fmla="*/ 210 h 298"/>
                <a:gd name="T8" fmla="*/ 38 w 176"/>
                <a:gd name="T9" fmla="*/ 222 h 298"/>
                <a:gd name="T10" fmla="*/ 50 w 176"/>
                <a:gd name="T11" fmla="*/ 234 h 298"/>
                <a:gd name="T12" fmla="*/ 72 w 176"/>
                <a:gd name="T13" fmla="*/ 254 h 298"/>
                <a:gd name="T14" fmla="*/ 96 w 176"/>
                <a:gd name="T15" fmla="*/ 270 h 298"/>
                <a:gd name="T16" fmla="*/ 118 w 176"/>
                <a:gd name="T17" fmla="*/ 284 h 298"/>
                <a:gd name="T18" fmla="*/ 136 w 176"/>
                <a:gd name="T19" fmla="*/ 292 h 298"/>
                <a:gd name="T20" fmla="*/ 152 w 176"/>
                <a:gd name="T21" fmla="*/ 298 h 298"/>
                <a:gd name="T22" fmla="*/ 152 w 176"/>
                <a:gd name="T23" fmla="*/ 298 h 298"/>
                <a:gd name="T24" fmla="*/ 160 w 176"/>
                <a:gd name="T25" fmla="*/ 282 h 298"/>
                <a:gd name="T26" fmla="*/ 166 w 176"/>
                <a:gd name="T27" fmla="*/ 262 h 298"/>
                <a:gd name="T28" fmla="*/ 172 w 176"/>
                <a:gd name="T29" fmla="*/ 238 h 298"/>
                <a:gd name="T30" fmla="*/ 176 w 176"/>
                <a:gd name="T31" fmla="*/ 210 h 298"/>
                <a:gd name="T32" fmla="*/ 176 w 176"/>
                <a:gd name="T33" fmla="*/ 180 h 298"/>
                <a:gd name="T34" fmla="*/ 176 w 176"/>
                <a:gd name="T35" fmla="*/ 164 h 298"/>
                <a:gd name="T36" fmla="*/ 174 w 176"/>
                <a:gd name="T37" fmla="*/ 148 h 298"/>
                <a:gd name="T38" fmla="*/ 170 w 176"/>
                <a:gd name="T39" fmla="*/ 132 h 298"/>
                <a:gd name="T40" fmla="*/ 164 w 176"/>
                <a:gd name="T41" fmla="*/ 116 h 298"/>
                <a:gd name="T42" fmla="*/ 164 w 176"/>
                <a:gd name="T43" fmla="*/ 116 h 298"/>
                <a:gd name="T44" fmla="*/ 156 w 176"/>
                <a:gd name="T45" fmla="*/ 102 h 298"/>
                <a:gd name="T46" fmla="*/ 148 w 176"/>
                <a:gd name="T47" fmla="*/ 88 h 298"/>
                <a:gd name="T48" fmla="*/ 138 w 176"/>
                <a:gd name="T49" fmla="*/ 76 h 298"/>
                <a:gd name="T50" fmla="*/ 128 w 176"/>
                <a:gd name="T51" fmla="*/ 64 h 298"/>
                <a:gd name="T52" fmla="*/ 104 w 176"/>
                <a:gd name="T53" fmla="*/ 44 h 298"/>
                <a:gd name="T54" fmla="*/ 82 w 176"/>
                <a:gd name="T55" fmla="*/ 28 h 298"/>
                <a:gd name="T56" fmla="*/ 60 w 176"/>
                <a:gd name="T57" fmla="*/ 16 h 298"/>
                <a:gd name="T58" fmla="*/ 42 w 176"/>
                <a:gd name="T59" fmla="*/ 6 h 298"/>
                <a:gd name="T60" fmla="*/ 24 w 176"/>
                <a:gd name="T61" fmla="*/ 0 h 298"/>
                <a:gd name="T62" fmla="*/ 24 w 176"/>
                <a:gd name="T63" fmla="*/ 0 h 298"/>
                <a:gd name="T64" fmla="*/ 18 w 176"/>
                <a:gd name="T65" fmla="*/ 16 h 298"/>
                <a:gd name="T66" fmla="*/ 12 w 176"/>
                <a:gd name="T67" fmla="*/ 36 h 298"/>
                <a:gd name="T68" fmla="*/ 6 w 176"/>
                <a:gd name="T69" fmla="*/ 60 h 298"/>
                <a:gd name="T70" fmla="*/ 2 w 176"/>
                <a:gd name="T71" fmla="*/ 88 h 298"/>
                <a:gd name="T72" fmla="*/ 0 w 176"/>
                <a:gd name="T73" fmla="*/ 118 h 298"/>
                <a:gd name="T74" fmla="*/ 0 w 176"/>
                <a:gd name="T75" fmla="*/ 134 h 298"/>
                <a:gd name="T76" fmla="*/ 4 w 176"/>
                <a:gd name="T77" fmla="*/ 150 h 298"/>
                <a:gd name="T78" fmla="*/ 8 w 176"/>
                <a:gd name="T79" fmla="*/ 166 h 298"/>
                <a:gd name="T80" fmla="*/ 14 w 176"/>
                <a:gd name="T81" fmla="*/ 182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76" h="298">
                  <a:moveTo>
                    <a:pt x="14" y="182"/>
                  </a:moveTo>
                  <a:lnTo>
                    <a:pt x="14" y="182"/>
                  </a:lnTo>
                  <a:lnTo>
                    <a:pt x="20" y="196"/>
                  </a:lnTo>
                  <a:lnTo>
                    <a:pt x="30" y="210"/>
                  </a:lnTo>
                  <a:lnTo>
                    <a:pt x="38" y="222"/>
                  </a:lnTo>
                  <a:lnTo>
                    <a:pt x="50" y="234"/>
                  </a:lnTo>
                  <a:lnTo>
                    <a:pt x="72" y="254"/>
                  </a:lnTo>
                  <a:lnTo>
                    <a:pt x="96" y="270"/>
                  </a:lnTo>
                  <a:lnTo>
                    <a:pt x="118" y="284"/>
                  </a:lnTo>
                  <a:lnTo>
                    <a:pt x="136" y="292"/>
                  </a:lnTo>
                  <a:lnTo>
                    <a:pt x="152" y="298"/>
                  </a:lnTo>
                  <a:lnTo>
                    <a:pt x="152" y="298"/>
                  </a:lnTo>
                  <a:lnTo>
                    <a:pt x="160" y="282"/>
                  </a:lnTo>
                  <a:lnTo>
                    <a:pt x="166" y="262"/>
                  </a:lnTo>
                  <a:lnTo>
                    <a:pt x="172" y="238"/>
                  </a:lnTo>
                  <a:lnTo>
                    <a:pt x="176" y="210"/>
                  </a:lnTo>
                  <a:lnTo>
                    <a:pt x="176" y="180"/>
                  </a:lnTo>
                  <a:lnTo>
                    <a:pt x="176" y="164"/>
                  </a:lnTo>
                  <a:lnTo>
                    <a:pt x="174" y="148"/>
                  </a:lnTo>
                  <a:lnTo>
                    <a:pt x="170" y="132"/>
                  </a:lnTo>
                  <a:lnTo>
                    <a:pt x="164" y="116"/>
                  </a:lnTo>
                  <a:lnTo>
                    <a:pt x="164" y="116"/>
                  </a:lnTo>
                  <a:lnTo>
                    <a:pt x="156" y="102"/>
                  </a:lnTo>
                  <a:lnTo>
                    <a:pt x="148" y="88"/>
                  </a:lnTo>
                  <a:lnTo>
                    <a:pt x="138" y="76"/>
                  </a:lnTo>
                  <a:lnTo>
                    <a:pt x="128" y="64"/>
                  </a:lnTo>
                  <a:lnTo>
                    <a:pt x="104" y="44"/>
                  </a:lnTo>
                  <a:lnTo>
                    <a:pt x="82" y="28"/>
                  </a:lnTo>
                  <a:lnTo>
                    <a:pt x="60" y="16"/>
                  </a:lnTo>
                  <a:lnTo>
                    <a:pt x="42" y="6"/>
                  </a:lnTo>
                  <a:lnTo>
                    <a:pt x="24" y="0"/>
                  </a:lnTo>
                  <a:lnTo>
                    <a:pt x="24" y="0"/>
                  </a:lnTo>
                  <a:lnTo>
                    <a:pt x="18" y="16"/>
                  </a:lnTo>
                  <a:lnTo>
                    <a:pt x="12" y="36"/>
                  </a:lnTo>
                  <a:lnTo>
                    <a:pt x="6" y="60"/>
                  </a:lnTo>
                  <a:lnTo>
                    <a:pt x="2" y="88"/>
                  </a:lnTo>
                  <a:lnTo>
                    <a:pt x="0" y="118"/>
                  </a:lnTo>
                  <a:lnTo>
                    <a:pt x="0" y="134"/>
                  </a:lnTo>
                  <a:lnTo>
                    <a:pt x="4" y="150"/>
                  </a:lnTo>
                  <a:lnTo>
                    <a:pt x="8" y="166"/>
                  </a:lnTo>
                  <a:lnTo>
                    <a:pt x="14" y="18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17" name="Freeform 2032">
              <a:extLst>
                <a:ext uri="{FF2B5EF4-FFF2-40B4-BE49-F238E27FC236}">
                  <a16:creationId xmlns:a16="http://schemas.microsoft.com/office/drawing/2014/main" id="{D9CA710C-A3D3-46A7-877A-0D38E9940437}"/>
                </a:ext>
              </a:extLst>
            </p:cNvPr>
            <p:cNvSpPr>
              <a:spLocks/>
            </p:cNvSpPr>
            <p:nvPr/>
          </p:nvSpPr>
          <p:spPr bwMode="auto">
            <a:xfrm>
              <a:off x="10007991" y="3375952"/>
              <a:ext cx="310883" cy="539579"/>
            </a:xfrm>
            <a:custGeom>
              <a:avLst/>
              <a:gdLst>
                <a:gd name="T0" fmla="*/ 10 w 174"/>
                <a:gd name="T1" fmla="*/ 120 h 302"/>
                <a:gd name="T2" fmla="*/ 10 w 174"/>
                <a:gd name="T3" fmla="*/ 120 h 302"/>
                <a:gd name="T4" fmla="*/ 6 w 174"/>
                <a:gd name="T5" fmla="*/ 136 h 302"/>
                <a:gd name="T6" fmla="*/ 2 w 174"/>
                <a:gd name="T7" fmla="*/ 152 h 302"/>
                <a:gd name="T8" fmla="*/ 0 w 174"/>
                <a:gd name="T9" fmla="*/ 168 h 302"/>
                <a:gd name="T10" fmla="*/ 0 w 174"/>
                <a:gd name="T11" fmla="*/ 184 h 302"/>
                <a:gd name="T12" fmla="*/ 2 w 174"/>
                <a:gd name="T13" fmla="*/ 214 h 302"/>
                <a:gd name="T14" fmla="*/ 6 w 174"/>
                <a:gd name="T15" fmla="*/ 242 h 302"/>
                <a:gd name="T16" fmla="*/ 14 w 174"/>
                <a:gd name="T17" fmla="*/ 266 h 302"/>
                <a:gd name="T18" fmla="*/ 20 w 174"/>
                <a:gd name="T19" fmla="*/ 286 h 302"/>
                <a:gd name="T20" fmla="*/ 28 w 174"/>
                <a:gd name="T21" fmla="*/ 302 h 302"/>
                <a:gd name="T22" fmla="*/ 28 w 174"/>
                <a:gd name="T23" fmla="*/ 302 h 302"/>
                <a:gd name="T24" fmla="*/ 44 w 174"/>
                <a:gd name="T25" fmla="*/ 294 h 302"/>
                <a:gd name="T26" fmla="*/ 62 w 174"/>
                <a:gd name="T27" fmla="*/ 286 h 302"/>
                <a:gd name="T28" fmla="*/ 84 w 174"/>
                <a:gd name="T29" fmla="*/ 272 h 302"/>
                <a:gd name="T30" fmla="*/ 106 w 174"/>
                <a:gd name="T31" fmla="*/ 256 h 302"/>
                <a:gd name="T32" fmla="*/ 128 w 174"/>
                <a:gd name="T33" fmla="*/ 236 h 302"/>
                <a:gd name="T34" fmla="*/ 138 w 174"/>
                <a:gd name="T35" fmla="*/ 224 h 302"/>
                <a:gd name="T36" fmla="*/ 148 w 174"/>
                <a:gd name="T37" fmla="*/ 210 h 302"/>
                <a:gd name="T38" fmla="*/ 156 w 174"/>
                <a:gd name="T39" fmla="*/ 196 h 302"/>
                <a:gd name="T40" fmla="*/ 164 w 174"/>
                <a:gd name="T41" fmla="*/ 182 h 302"/>
                <a:gd name="T42" fmla="*/ 164 w 174"/>
                <a:gd name="T43" fmla="*/ 182 h 302"/>
                <a:gd name="T44" fmla="*/ 168 w 174"/>
                <a:gd name="T45" fmla="*/ 166 h 302"/>
                <a:gd name="T46" fmla="*/ 172 w 174"/>
                <a:gd name="T47" fmla="*/ 150 h 302"/>
                <a:gd name="T48" fmla="*/ 174 w 174"/>
                <a:gd name="T49" fmla="*/ 134 h 302"/>
                <a:gd name="T50" fmla="*/ 174 w 174"/>
                <a:gd name="T51" fmla="*/ 118 h 302"/>
                <a:gd name="T52" fmla="*/ 172 w 174"/>
                <a:gd name="T53" fmla="*/ 88 h 302"/>
                <a:gd name="T54" fmla="*/ 168 w 174"/>
                <a:gd name="T55" fmla="*/ 60 h 302"/>
                <a:gd name="T56" fmla="*/ 160 w 174"/>
                <a:gd name="T57" fmla="*/ 36 h 302"/>
                <a:gd name="T58" fmla="*/ 154 w 174"/>
                <a:gd name="T59" fmla="*/ 16 h 302"/>
                <a:gd name="T60" fmla="*/ 146 w 174"/>
                <a:gd name="T61" fmla="*/ 0 h 302"/>
                <a:gd name="T62" fmla="*/ 146 w 174"/>
                <a:gd name="T63" fmla="*/ 0 h 302"/>
                <a:gd name="T64" fmla="*/ 130 w 174"/>
                <a:gd name="T65" fmla="*/ 8 h 302"/>
                <a:gd name="T66" fmla="*/ 112 w 174"/>
                <a:gd name="T67" fmla="*/ 16 h 302"/>
                <a:gd name="T68" fmla="*/ 92 w 174"/>
                <a:gd name="T69" fmla="*/ 30 h 302"/>
                <a:gd name="T70" fmla="*/ 68 w 174"/>
                <a:gd name="T71" fmla="*/ 46 h 302"/>
                <a:gd name="T72" fmla="*/ 46 w 174"/>
                <a:gd name="T73" fmla="*/ 66 h 302"/>
                <a:gd name="T74" fmla="*/ 36 w 174"/>
                <a:gd name="T75" fmla="*/ 78 h 302"/>
                <a:gd name="T76" fmla="*/ 26 w 174"/>
                <a:gd name="T77" fmla="*/ 92 h 302"/>
                <a:gd name="T78" fmla="*/ 18 w 174"/>
                <a:gd name="T79" fmla="*/ 106 h 302"/>
                <a:gd name="T80" fmla="*/ 10 w 174"/>
                <a:gd name="T81" fmla="*/ 120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74" h="302">
                  <a:moveTo>
                    <a:pt x="10" y="120"/>
                  </a:moveTo>
                  <a:lnTo>
                    <a:pt x="10" y="120"/>
                  </a:lnTo>
                  <a:lnTo>
                    <a:pt x="6" y="136"/>
                  </a:lnTo>
                  <a:lnTo>
                    <a:pt x="2" y="152"/>
                  </a:lnTo>
                  <a:lnTo>
                    <a:pt x="0" y="168"/>
                  </a:lnTo>
                  <a:lnTo>
                    <a:pt x="0" y="184"/>
                  </a:lnTo>
                  <a:lnTo>
                    <a:pt x="2" y="214"/>
                  </a:lnTo>
                  <a:lnTo>
                    <a:pt x="6" y="242"/>
                  </a:lnTo>
                  <a:lnTo>
                    <a:pt x="14" y="266"/>
                  </a:lnTo>
                  <a:lnTo>
                    <a:pt x="20" y="286"/>
                  </a:lnTo>
                  <a:lnTo>
                    <a:pt x="28" y="302"/>
                  </a:lnTo>
                  <a:lnTo>
                    <a:pt x="28" y="302"/>
                  </a:lnTo>
                  <a:lnTo>
                    <a:pt x="44" y="294"/>
                  </a:lnTo>
                  <a:lnTo>
                    <a:pt x="62" y="286"/>
                  </a:lnTo>
                  <a:lnTo>
                    <a:pt x="84" y="272"/>
                  </a:lnTo>
                  <a:lnTo>
                    <a:pt x="106" y="256"/>
                  </a:lnTo>
                  <a:lnTo>
                    <a:pt x="128" y="236"/>
                  </a:lnTo>
                  <a:lnTo>
                    <a:pt x="138" y="224"/>
                  </a:lnTo>
                  <a:lnTo>
                    <a:pt x="148" y="210"/>
                  </a:lnTo>
                  <a:lnTo>
                    <a:pt x="156" y="196"/>
                  </a:lnTo>
                  <a:lnTo>
                    <a:pt x="164" y="182"/>
                  </a:lnTo>
                  <a:lnTo>
                    <a:pt x="164" y="182"/>
                  </a:lnTo>
                  <a:lnTo>
                    <a:pt x="168" y="166"/>
                  </a:lnTo>
                  <a:lnTo>
                    <a:pt x="172" y="150"/>
                  </a:lnTo>
                  <a:lnTo>
                    <a:pt x="174" y="134"/>
                  </a:lnTo>
                  <a:lnTo>
                    <a:pt x="174" y="118"/>
                  </a:lnTo>
                  <a:lnTo>
                    <a:pt x="172" y="88"/>
                  </a:lnTo>
                  <a:lnTo>
                    <a:pt x="168" y="60"/>
                  </a:lnTo>
                  <a:lnTo>
                    <a:pt x="160" y="36"/>
                  </a:lnTo>
                  <a:lnTo>
                    <a:pt x="154" y="16"/>
                  </a:lnTo>
                  <a:lnTo>
                    <a:pt x="146" y="0"/>
                  </a:lnTo>
                  <a:lnTo>
                    <a:pt x="146" y="0"/>
                  </a:lnTo>
                  <a:lnTo>
                    <a:pt x="130" y="8"/>
                  </a:lnTo>
                  <a:lnTo>
                    <a:pt x="112" y="16"/>
                  </a:lnTo>
                  <a:lnTo>
                    <a:pt x="92" y="30"/>
                  </a:lnTo>
                  <a:lnTo>
                    <a:pt x="68" y="46"/>
                  </a:lnTo>
                  <a:lnTo>
                    <a:pt x="46" y="66"/>
                  </a:lnTo>
                  <a:lnTo>
                    <a:pt x="36" y="78"/>
                  </a:lnTo>
                  <a:lnTo>
                    <a:pt x="26" y="92"/>
                  </a:lnTo>
                  <a:lnTo>
                    <a:pt x="18" y="106"/>
                  </a:lnTo>
                  <a:lnTo>
                    <a:pt x="10" y="12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18" name="Freeform 2035">
              <a:extLst>
                <a:ext uri="{FF2B5EF4-FFF2-40B4-BE49-F238E27FC236}">
                  <a16:creationId xmlns:a16="http://schemas.microsoft.com/office/drawing/2014/main" id="{EA867DEE-EAD9-4CC5-B162-1CE426C5665B}"/>
                </a:ext>
              </a:extLst>
            </p:cNvPr>
            <p:cNvSpPr>
              <a:spLocks/>
            </p:cNvSpPr>
            <p:nvPr/>
          </p:nvSpPr>
          <p:spPr bwMode="auto">
            <a:xfrm>
              <a:off x="10022284" y="3411686"/>
              <a:ext cx="282296" cy="485978"/>
            </a:xfrm>
            <a:custGeom>
              <a:avLst/>
              <a:gdLst>
                <a:gd name="T0" fmla="*/ 118 w 158"/>
                <a:gd name="T1" fmla="*/ 0 h 272"/>
                <a:gd name="T2" fmla="*/ 118 w 158"/>
                <a:gd name="T3" fmla="*/ 0 h 272"/>
                <a:gd name="T4" fmla="*/ 88 w 158"/>
                <a:gd name="T5" fmla="*/ 16 h 272"/>
                <a:gd name="T6" fmla="*/ 88 w 158"/>
                <a:gd name="T7" fmla="*/ 16 h 272"/>
                <a:gd name="T8" fmla="*/ 66 w 158"/>
                <a:gd name="T9" fmla="*/ 32 h 272"/>
                <a:gd name="T10" fmla="*/ 44 w 158"/>
                <a:gd name="T11" fmla="*/ 52 h 272"/>
                <a:gd name="T12" fmla="*/ 34 w 158"/>
                <a:gd name="T13" fmla="*/ 64 h 272"/>
                <a:gd name="T14" fmla="*/ 26 w 158"/>
                <a:gd name="T15" fmla="*/ 76 h 272"/>
                <a:gd name="T16" fmla="*/ 18 w 158"/>
                <a:gd name="T17" fmla="*/ 90 h 272"/>
                <a:gd name="T18" fmla="*/ 12 w 158"/>
                <a:gd name="T19" fmla="*/ 104 h 272"/>
                <a:gd name="T20" fmla="*/ 12 w 158"/>
                <a:gd name="T21" fmla="*/ 104 h 272"/>
                <a:gd name="T22" fmla="*/ 12 w 158"/>
                <a:gd name="T23" fmla="*/ 104 h 272"/>
                <a:gd name="T24" fmla="*/ 6 w 158"/>
                <a:gd name="T25" fmla="*/ 118 h 272"/>
                <a:gd name="T26" fmla="*/ 4 w 158"/>
                <a:gd name="T27" fmla="*/ 134 h 272"/>
                <a:gd name="T28" fmla="*/ 2 w 158"/>
                <a:gd name="T29" fmla="*/ 148 h 272"/>
                <a:gd name="T30" fmla="*/ 0 w 158"/>
                <a:gd name="T31" fmla="*/ 164 h 272"/>
                <a:gd name="T32" fmla="*/ 0 w 158"/>
                <a:gd name="T33" fmla="*/ 164 h 272"/>
                <a:gd name="T34" fmla="*/ 2 w 158"/>
                <a:gd name="T35" fmla="*/ 182 h 272"/>
                <a:gd name="T36" fmla="*/ 4 w 158"/>
                <a:gd name="T37" fmla="*/ 198 h 272"/>
                <a:gd name="T38" fmla="*/ 10 w 158"/>
                <a:gd name="T39" fmla="*/ 230 h 272"/>
                <a:gd name="T40" fmla="*/ 18 w 158"/>
                <a:gd name="T41" fmla="*/ 254 h 272"/>
                <a:gd name="T42" fmla="*/ 24 w 158"/>
                <a:gd name="T43" fmla="*/ 272 h 272"/>
                <a:gd name="T44" fmla="*/ 24 w 158"/>
                <a:gd name="T45" fmla="*/ 272 h 272"/>
                <a:gd name="T46" fmla="*/ 32 w 158"/>
                <a:gd name="T47" fmla="*/ 268 h 272"/>
                <a:gd name="T48" fmla="*/ 32 w 158"/>
                <a:gd name="T49" fmla="*/ 268 h 272"/>
                <a:gd name="T50" fmla="*/ 50 w 158"/>
                <a:gd name="T51" fmla="*/ 258 h 272"/>
                <a:gd name="T52" fmla="*/ 70 w 158"/>
                <a:gd name="T53" fmla="*/ 246 h 272"/>
                <a:gd name="T54" fmla="*/ 70 w 158"/>
                <a:gd name="T55" fmla="*/ 246 h 272"/>
                <a:gd name="T56" fmla="*/ 94 w 158"/>
                <a:gd name="T57" fmla="*/ 230 h 272"/>
                <a:gd name="T58" fmla="*/ 114 w 158"/>
                <a:gd name="T59" fmla="*/ 210 h 272"/>
                <a:gd name="T60" fmla="*/ 124 w 158"/>
                <a:gd name="T61" fmla="*/ 198 h 272"/>
                <a:gd name="T62" fmla="*/ 134 w 158"/>
                <a:gd name="T63" fmla="*/ 186 h 272"/>
                <a:gd name="T64" fmla="*/ 142 w 158"/>
                <a:gd name="T65" fmla="*/ 172 h 272"/>
                <a:gd name="T66" fmla="*/ 148 w 158"/>
                <a:gd name="T67" fmla="*/ 158 h 272"/>
                <a:gd name="T68" fmla="*/ 148 w 158"/>
                <a:gd name="T69" fmla="*/ 158 h 272"/>
                <a:gd name="T70" fmla="*/ 154 w 158"/>
                <a:gd name="T71" fmla="*/ 144 h 272"/>
                <a:gd name="T72" fmla="*/ 156 w 158"/>
                <a:gd name="T73" fmla="*/ 128 h 272"/>
                <a:gd name="T74" fmla="*/ 158 w 158"/>
                <a:gd name="T75" fmla="*/ 114 h 272"/>
                <a:gd name="T76" fmla="*/ 158 w 158"/>
                <a:gd name="T77" fmla="*/ 98 h 272"/>
                <a:gd name="T78" fmla="*/ 158 w 158"/>
                <a:gd name="T79" fmla="*/ 98 h 272"/>
                <a:gd name="T80" fmla="*/ 158 w 158"/>
                <a:gd name="T81" fmla="*/ 74 h 272"/>
                <a:gd name="T82" fmla="*/ 154 w 158"/>
                <a:gd name="T83" fmla="*/ 54 h 272"/>
                <a:gd name="T84" fmla="*/ 150 w 158"/>
                <a:gd name="T85" fmla="*/ 34 h 272"/>
                <a:gd name="T86" fmla="*/ 144 w 158"/>
                <a:gd name="T87" fmla="*/ 16 h 272"/>
                <a:gd name="T88" fmla="*/ 144 w 158"/>
                <a:gd name="T89" fmla="*/ 16 h 272"/>
                <a:gd name="T90" fmla="*/ 118 w 158"/>
                <a:gd name="T91" fmla="*/ 0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58" h="272">
                  <a:moveTo>
                    <a:pt x="118" y="0"/>
                  </a:moveTo>
                  <a:lnTo>
                    <a:pt x="118" y="0"/>
                  </a:lnTo>
                  <a:lnTo>
                    <a:pt x="88" y="16"/>
                  </a:lnTo>
                  <a:lnTo>
                    <a:pt x="88" y="16"/>
                  </a:lnTo>
                  <a:lnTo>
                    <a:pt x="66" y="32"/>
                  </a:lnTo>
                  <a:lnTo>
                    <a:pt x="44" y="52"/>
                  </a:lnTo>
                  <a:lnTo>
                    <a:pt x="34" y="64"/>
                  </a:lnTo>
                  <a:lnTo>
                    <a:pt x="26" y="76"/>
                  </a:lnTo>
                  <a:lnTo>
                    <a:pt x="18" y="90"/>
                  </a:lnTo>
                  <a:lnTo>
                    <a:pt x="12" y="104"/>
                  </a:lnTo>
                  <a:lnTo>
                    <a:pt x="12" y="104"/>
                  </a:lnTo>
                  <a:lnTo>
                    <a:pt x="12" y="104"/>
                  </a:lnTo>
                  <a:lnTo>
                    <a:pt x="6" y="118"/>
                  </a:lnTo>
                  <a:lnTo>
                    <a:pt x="4" y="134"/>
                  </a:lnTo>
                  <a:lnTo>
                    <a:pt x="2" y="148"/>
                  </a:lnTo>
                  <a:lnTo>
                    <a:pt x="0" y="164"/>
                  </a:lnTo>
                  <a:lnTo>
                    <a:pt x="0" y="164"/>
                  </a:lnTo>
                  <a:lnTo>
                    <a:pt x="2" y="182"/>
                  </a:lnTo>
                  <a:lnTo>
                    <a:pt x="4" y="198"/>
                  </a:lnTo>
                  <a:lnTo>
                    <a:pt x="10" y="230"/>
                  </a:lnTo>
                  <a:lnTo>
                    <a:pt x="18" y="254"/>
                  </a:lnTo>
                  <a:lnTo>
                    <a:pt x="24" y="272"/>
                  </a:lnTo>
                  <a:lnTo>
                    <a:pt x="24" y="272"/>
                  </a:lnTo>
                  <a:lnTo>
                    <a:pt x="32" y="268"/>
                  </a:lnTo>
                  <a:lnTo>
                    <a:pt x="32" y="268"/>
                  </a:lnTo>
                  <a:lnTo>
                    <a:pt x="50" y="258"/>
                  </a:lnTo>
                  <a:lnTo>
                    <a:pt x="70" y="246"/>
                  </a:lnTo>
                  <a:lnTo>
                    <a:pt x="70" y="246"/>
                  </a:lnTo>
                  <a:lnTo>
                    <a:pt x="94" y="230"/>
                  </a:lnTo>
                  <a:lnTo>
                    <a:pt x="114" y="210"/>
                  </a:lnTo>
                  <a:lnTo>
                    <a:pt x="124" y="198"/>
                  </a:lnTo>
                  <a:lnTo>
                    <a:pt x="134" y="186"/>
                  </a:lnTo>
                  <a:lnTo>
                    <a:pt x="142" y="172"/>
                  </a:lnTo>
                  <a:lnTo>
                    <a:pt x="148" y="158"/>
                  </a:lnTo>
                  <a:lnTo>
                    <a:pt x="148" y="158"/>
                  </a:lnTo>
                  <a:lnTo>
                    <a:pt x="154" y="144"/>
                  </a:lnTo>
                  <a:lnTo>
                    <a:pt x="156" y="128"/>
                  </a:lnTo>
                  <a:lnTo>
                    <a:pt x="158" y="114"/>
                  </a:lnTo>
                  <a:lnTo>
                    <a:pt x="158" y="98"/>
                  </a:lnTo>
                  <a:lnTo>
                    <a:pt x="158" y="98"/>
                  </a:lnTo>
                  <a:lnTo>
                    <a:pt x="158" y="74"/>
                  </a:lnTo>
                  <a:lnTo>
                    <a:pt x="154" y="54"/>
                  </a:lnTo>
                  <a:lnTo>
                    <a:pt x="150" y="34"/>
                  </a:lnTo>
                  <a:lnTo>
                    <a:pt x="144" y="16"/>
                  </a:lnTo>
                  <a:lnTo>
                    <a:pt x="144" y="16"/>
                  </a:lnTo>
                  <a:lnTo>
                    <a:pt x="118" y="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19" name="Freeform 2036">
              <a:extLst>
                <a:ext uri="{FF2B5EF4-FFF2-40B4-BE49-F238E27FC236}">
                  <a16:creationId xmlns:a16="http://schemas.microsoft.com/office/drawing/2014/main" id="{8F58FB58-F9C5-413D-9A1F-D1BC48D3A5C1}"/>
                </a:ext>
              </a:extLst>
            </p:cNvPr>
            <p:cNvSpPr>
              <a:spLocks/>
            </p:cNvSpPr>
            <p:nvPr/>
          </p:nvSpPr>
          <p:spPr bwMode="auto">
            <a:xfrm>
              <a:off x="10022284" y="3411686"/>
              <a:ext cx="282296" cy="485978"/>
            </a:xfrm>
            <a:custGeom>
              <a:avLst/>
              <a:gdLst>
                <a:gd name="T0" fmla="*/ 118 w 158"/>
                <a:gd name="T1" fmla="*/ 0 h 272"/>
                <a:gd name="T2" fmla="*/ 118 w 158"/>
                <a:gd name="T3" fmla="*/ 0 h 272"/>
                <a:gd name="T4" fmla="*/ 88 w 158"/>
                <a:gd name="T5" fmla="*/ 16 h 272"/>
                <a:gd name="T6" fmla="*/ 88 w 158"/>
                <a:gd name="T7" fmla="*/ 16 h 272"/>
                <a:gd name="T8" fmla="*/ 66 w 158"/>
                <a:gd name="T9" fmla="*/ 32 h 272"/>
                <a:gd name="T10" fmla="*/ 44 w 158"/>
                <a:gd name="T11" fmla="*/ 52 h 272"/>
                <a:gd name="T12" fmla="*/ 34 w 158"/>
                <a:gd name="T13" fmla="*/ 64 h 272"/>
                <a:gd name="T14" fmla="*/ 26 w 158"/>
                <a:gd name="T15" fmla="*/ 76 h 272"/>
                <a:gd name="T16" fmla="*/ 18 w 158"/>
                <a:gd name="T17" fmla="*/ 90 h 272"/>
                <a:gd name="T18" fmla="*/ 12 w 158"/>
                <a:gd name="T19" fmla="*/ 104 h 272"/>
                <a:gd name="T20" fmla="*/ 12 w 158"/>
                <a:gd name="T21" fmla="*/ 104 h 272"/>
                <a:gd name="T22" fmla="*/ 12 w 158"/>
                <a:gd name="T23" fmla="*/ 104 h 272"/>
                <a:gd name="T24" fmla="*/ 6 w 158"/>
                <a:gd name="T25" fmla="*/ 118 h 272"/>
                <a:gd name="T26" fmla="*/ 4 w 158"/>
                <a:gd name="T27" fmla="*/ 134 h 272"/>
                <a:gd name="T28" fmla="*/ 2 w 158"/>
                <a:gd name="T29" fmla="*/ 148 h 272"/>
                <a:gd name="T30" fmla="*/ 0 w 158"/>
                <a:gd name="T31" fmla="*/ 164 h 272"/>
                <a:gd name="T32" fmla="*/ 0 w 158"/>
                <a:gd name="T33" fmla="*/ 164 h 272"/>
                <a:gd name="T34" fmla="*/ 2 w 158"/>
                <a:gd name="T35" fmla="*/ 182 h 272"/>
                <a:gd name="T36" fmla="*/ 4 w 158"/>
                <a:gd name="T37" fmla="*/ 198 h 272"/>
                <a:gd name="T38" fmla="*/ 10 w 158"/>
                <a:gd name="T39" fmla="*/ 230 h 272"/>
                <a:gd name="T40" fmla="*/ 18 w 158"/>
                <a:gd name="T41" fmla="*/ 254 h 272"/>
                <a:gd name="T42" fmla="*/ 24 w 158"/>
                <a:gd name="T43" fmla="*/ 272 h 272"/>
                <a:gd name="T44" fmla="*/ 24 w 158"/>
                <a:gd name="T45" fmla="*/ 272 h 272"/>
                <a:gd name="T46" fmla="*/ 32 w 158"/>
                <a:gd name="T47" fmla="*/ 268 h 272"/>
                <a:gd name="T48" fmla="*/ 32 w 158"/>
                <a:gd name="T49" fmla="*/ 268 h 272"/>
                <a:gd name="T50" fmla="*/ 50 w 158"/>
                <a:gd name="T51" fmla="*/ 258 h 272"/>
                <a:gd name="T52" fmla="*/ 70 w 158"/>
                <a:gd name="T53" fmla="*/ 246 h 272"/>
                <a:gd name="T54" fmla="*/ 70 w 158"/>
                <a:gd name="T55" fmla="*/ 246 h 272"/>
                <a:gd name="T56" fmla="*/ 94 w 158"/>
                <a:gd name="T57" fmla="*/ 230 h 272"/>
                <a:gd name="T58" fmla="*/ 114 w 158"/>
                <a:gd name="T59" fmla="*/ 210 h 272"/>
                <a:gd name="T60" fmla="*/ 124 w 158"/>
                <a:gd name="T61" fmla="*/ 198 h 272"/>
                <a:gd name="T62" fmla="*/ 134 w 158"/>
                <a:gd name="T63" fmla="*/ 186 h 272"/>
                <a:gd name="T64" fmla="*/ 142 w 158"/>
                <a:gd name="T65" fmla="*/ 172 h 272"/>
                <a:gd name="T66" fmla="*/ 148 w 158"/>
                <a:gd name="T67" fmla="*/ 158 h 272"/>
                <a:gd name="T68" fmla="*/ 148 w 158"/>
                <a:gd name="T69" fmla="*/ 158 h 272"/>
                <a:gd name="T70" fmla="*/ 154 w 158"/>
                <a:gd name="T71" fmla="*/ 144 h 272"/>
                <a:gd name="T72" fmla="*/ 156 w 158"/>
                <a:gd name="T73" fmla="*/ 128 h 272"/>
                <a:gd name="T74" fmla="*/ 158 w 158"/>
                <a:gd name="T75" fmla="*/ 114 h 272"/>
                <a:gd name="T76" fmla="*/ 158 w 158"/>
                <a:gd name="T77" fmla="*/ 98 h 272"/>
                <a:gd name="T78" fmla="*/ 158 w 158"/>
                <a:gd name="T79" fmla="*/ 98 h 272"/>
                <a:gd name="T80" fmla="*/ 158 w 158"/>
                <a:gd name="T81" fmla="*/ 74 h 272"/>
                <a:gd name="T82" fmla="*/ 154 w 158"/>
                <a:gd name="T83" fmla="*/ 54 h 272"/>
                <a:gd name="T84" fmla="*/ 150 w 158"/>
                <a:gd name="T85" fmla="*/ 34 h 272"/>
                <a:gd name="T86" fmla="*/ 144 w 158"/>
                <a:gd name="T87" fmla="*/ 16 h 272"/>
                <a:gd name="T88" fmla="*/ 144 w 158"/>
                <a:gd name="T89" fmla="*/ 16 h 272"/>
                <a:gd name="T90" fmla="*/ 118 w 158"/>
                <a:gd name="T91" fmla="*/ 0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58" h="272">
                  <a:moveTo>
                    <a:pt x="118" y="0"/>
                  </a:moveTo>
                  <a:lnTo>
                    <a:pt x="118" y="0"/>
                  </a:lnTo>
                  <a:lnTo>
                    <a:pt x="88" y="16"/>
                  </a:lnTo>
                  <a:lnTo>
                    <a:pt x="88" y="16"/>
                  </a:lnTo>
                  <a:lnTo>
                    <a:pt x="66" y="32"/>
                  </a:lnTo>
                  <a:lnTo>
                    <a:pt x="44" y="52"/>
                  </a:lnTo>
                  <a:lnTo>
                    <a:pt x="34" y="64"/>
                  </a:lnTo>
                  <a:lnTo>
                    <a:pt x="26" y="76"/>
                  </a:lnTo>
                  <a:lnTo>
                    <a:pt x="18" y="90"/>
                  </a:lnTo>
                  <a:lnTo>
                    <a:pt x="12" y="104"/>
                  </a:lnTo>
                  <a:lnTo>
                    <a:pt x="12" y="104"/>
                  </a:lnTo>
                  <a:lnTo>
                    <a:pt x="12" y="104"/>
                  </a:lnTo>
                  <a:lnTo>
                    <a:pt x="6" y="118"/>
                  </a:lnTo>
                  <a:lnTo>
                    <a:pt x="4" y="134"/>
                  </a:lnTo>
                  <a:lnTo>
                    <a:pt x="2" y="148"/>
                  </a:lnTo>
                  <a:lnTo>
                    <a:pt x="0" y="164"/>
                  </a:lnTo>
                  <a:lnTo>
                    <a:pt x="0" y="164"/>
                  </a:lnTo>
                  <a:lnTo>
                    <a:pt x="2" y="182"/>
                  </a:lnTo>
                  <a:lnTo>
                    <a:pt x="4" y="198"/>
                  </a:lnTo>
                  <a:lnTo>
                    <a:pt x="10" y="230"/>
                  </a:lnTo>
                  <a:lnTo>
                    <a:pt x="18" y="254"/>
                  </a:lnTo>
                  <a:lnTo>
                    <a:pt x="24" y="272"/>
                  </a:lnTo>
                  <a:lnTo>
                    <a:pt x="24" y="272"/>
                  </a:lnTo>
                  <a:lnTo>
                    <a:pt x="32" y="268"/>
                  </a:lnTo>
                  <a:lnTo>
                    <a:pt x="32" y="268"/>
                  </a:lnTo>
                  <a:lnTo>
                    <a:pt x="50" y="258"/>
                  </a:lnTo>
                  <a:lnTo>
                    <a:pt x="70" y="246"/>
                  </a:lnTo>
                  <a:lnTo>
                    <a:pt x="70" y="246"/>
                  </a:lnTo>
                  <a:lnTo>
                    <a:pt x="94" y="230"/>
                  </a:lnTo>
                  <a:lnTo>
                    <a:pt x="114" y="210"/>
                  </a:lnTo>
                  <a:lnTo>
                    <a:pt x="124" y="198"/>
                  </a:lnTo>
                  <a:lnTo>
                    <a:pt x="134" y="186"/>
                  </a:lnTo>
                  <a:lnTo>
                    <a:pt x="142" y="172"/>
                  </a:lnTo>
                  <a:lnTo>
                    <a:pt x="148" y="158"/>
                  </a:lnTo>
                  <a:lnTo>
                    <a:pt x="148" y="158"/>
                  </a:lnTo>
                  <a:lnTo>
                    <a:pt x="154" y="144"/>
                  </a:lnTo>
                  <a:lnTo>
                    <a:pt x="156" y="128"/>
                  </a:lnTo>
                  <a:lnTo>
                    <a:pt x="158" y="114"/>
                  </a:lnTo>
                  <a:lnTo>
                    <a:pt x="158" y="98"/>
                  </a:lnTo>
                  <a:lnTo>
                    <a:pt x="158" y="98"/>
                  </a:lnTo>
                  <a:lnTo>
                    <a:pt x="158" y="74"/>
                  </a:lnTo>
                  <a:lnTo>
                    <a:pt x="154" y="54"/>
                  </a:lnTo>
                  <a:lnTo>
                    <a:pt x="150" y="34"/>
                  </a:lnTo>
                  <a:lnTo>
                    <a:pt x="144" y="16"/>
                  </a:lnTo>
                  <a:lnTo>
                    <a:pt x="144" y="16"/>
                  </a:lnTo>
                  <a:lnTo>
                    <a:pt x="1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20" name="Freeform 2038">
              <a:extLst>
                <a:ext uri="{FF2B5EF4-FFF2-40B4-BE49-F238E27FC236}">
                  <a16:creationId xmlns:a16="http://schemas.microsoft.com/office/drawing/2014/main" id="{7A49126A-9B4B-47CA-9C12-FDAD2A60584B}"/>
                </a:ext>
              </a:extLst>
            </p:cNvPr>
            <p:cNvSpPr>
              <a:spLocks/>
            </p:cNvSpPr>
            <p:nvPr/>
          </p:nvSpPr>
          <p:spPr bwMode="auto">
            <a:xfrm>
              <a:off x="10065165" y="3440273"/>
              <a:ext cx="242989" cy="457391"/>
            </a:xfrm>
            <a:custGeom>
              <a:avLst/>
              <a:gdLst>
                <a:gd name="T0" fmla="*/ 120 w 136"/>
                <a:gd name="T1" fmla="*/ 0 h 256"/>
                <a:gd name="T2" fmla="*/ 120 w 136"/>
                <a:gd name="T3" fmla="*/ 0 h 256"/>
                <a:gd name="T4" fmla="*/ 126 w 136"/>
                <a:gd name="T5" fmla="*/ 18 h 256"/>
                <a:gd name="T6" fmla="*/ 130 w 136"/>
                <a:gd name="T7" fmla="*/ 38 h 256"/>
                <a:gd name="T8" fmla="*/ 134 w 136"/>
                <a:gd name="T9" fmla="*/ 58 h 256"/>
                <a:gd name="T10" fmla="*/ 134 w 136"/>
                <a:gd name="T11" fmla="*/ 82 h 256"/>
                <a:gd name="T12" fmla="*/ 134 w 136"/>
                <a:gd name="T13" fmla="*/ 82 h 256"/>
                <a:gd name="T14" fmla="*/ 134 w 136"/>
                <a:gd name="T15" fmla="*/ 98 h 256"/>
                <a:gd name="T16" fmla="*/ 132 w 136"/>
                <a:gd name="T17" fmla="*/ 112 h 256"/>
                <a:gd name="T18" fmla="*/ 130 w 136"/>
                <a:gd name="T19" fmla="*/ 128 h 256"/>
                <a:gd name="T20" fmla="*/ 124 w 136"/>
                <a:gd name="T21" fmla="*/ 142 h 256"/>
                <a:gd name="T22" fmla="*/ 124 w 136"/>
                <a:gd name="T23" fmla="*/ 142 h 256"/>
                <a:gd name="T24" fmla="*/ 118 w 136"/>
                <a:gd name="T25" fmla="*/ 156 h 256"/>
                <a:gd name="T26" fmla="*/ 110 w 136"/>
                <a:gd name="T27" fmla="*/ 170 h 256"/>
                <a:gd name="T28" fmla="*/ 100 w 136"/>
                <a:gd name="T29" fmla="*/ 182 h 256"/>
                <a:gd name="T30" fmla="*/ 90 w 136"/>
                <a:gd name="T31" fmla="*/ 194 h 256"/>
                <a:gd name="T32" fmla="*/ 70 w 136"/>
                <a:gd name="T33" fmla="*/ 214 h 256"/>
                <a:gd name="T34" fmla="*/ 46 w 136"/>
                <a:gd name="T35" fmla="*/ 230 h 256"/>
                <a:gd name="T36" fmla="*/ 46 w 136"/>
                <a:gd name="T37" fmla="*/ 230 h 256"/>
                <a:gd name="T38" fmla="*/ 26 w 136"/>
                <a:gd name="T39" fmla="*/ 242 h 256"/>
                <a:gd name="T40" fmla="*/ 8 w 136"/>
                <a:gd name="T41" fmla="*/ 252 h 256"/>
                <a:gd name="T42" fmla="*/ 8 w 136"/>
                <a:gd name="T43" fmla="*/ 252 h 256"/>
                <a:gd name="T44" fmla="*/ 0 w 136"/>
                <a:gd name="T45" fmla="*/ 256 h 256"/>
                <a:gd name="T46" fmla="*/ 0 w 136"/>
                <a:gd name="T47" fmla="*/ 256 h 256"/>
                <a:gd name="T48" fmla="*/ 0 w 136"/>
                <a:gd name="T49" fmla="*/ 256 h 256"/>
                <a:gd name="T50" fmla="*/ 0 w 136"/>
                <a:gd name="T51" fmla="*/ 256 h 256"/>
                <a:gd name="T52" fmla="*/ 10 w 136"/>
                <a:gd name="T53" fmla="*/ 252 h 256"/>
                <a:gd name="T54" fmla="*/ 10 w 136"/>
                <a:gd name="T55" fmla="*/ 252 h 256"/>
                <a:gd name="T56" fmla="*/ 28 w 136"/>
                <a:gd name="T57" fmla="*/ 242 h 256"/>
                <a:gd name="T58" fmla="*/ 48 w 136"/>
                <a:gd name="T59" fmla="*/ 230 h 256"/>
                <a:gd name="T60" fmla="*/ 48 w 136"/>
                <a:gd name="T61" fmla="*/ 230 h 256"/>
                <a:gd name="T62" fmla="*/ 70 w 136"/>
                <a:gd name="T63" fmla="*/ 214 h 256"/>
                <a:gd name="T64" fmla="*/ 92 w 136"/>
                <a:gd name="T65" fmla="*/ 194 h 256"/>
                <a:gd name="T66" fmla="*/ 102 w 136"/>
                <a:gd name="T67" fmla="*/ 182 h 256"/>
                <a:gd name="T68" fmla="*/ 110 w 136"/>
                <a:gd name="T69" fmla="*/ 170 h 256"/>
                <a:gd name="T70" fmla="*/ 118 w 136"/>
                <a:gd name="T71" fmla="*/ 156 h 256"/>
                <a:gd name="T72" fmla="*/ 126 w 136"/>
                <a:gd name="T73" fmla="*/ 142 h 256"/>
                <a:gd name="T74" fmla="*/ 126 w 136"/>
                <a:gd name="T75" fmla="*/ 142 h 256"/>
                <a:gd name="T76" fmla="*/ 130 w 136"/>
                <a:gd name="T77" fmla="*/ 128 h 256"/>
                <a:gd name="T78" fmla="*/ 134 w 136"/>
                <a:gd name="T79" fmla="*/ 112 h 256"/>
                <a:gd name="T80" fmla="*/ 136 w 136"/>
                <a:gd name="T81" fmla="*/ 98 h 256"/>
                <a:gd name="T82" fmla="*/ 136 w 136"/>
                <a:gd name="T83" fmla="*/ 82 h 256"/>
                <a:gd name="T84" fmla="*/ 136 w 136"/>
                <a:gd name="T85" fmla="*/ 82 h 256"/>
                <a:gd name="T86" fmla="*/ 134 w 136"/>
                <a:gd name="T87" fmla="*/ 60 h 256"/>
                <a:gd name="T88" fmla="*/ 132 w 136"/>
                <a:gd name="T89" fmla="*/ 38 h 256"/>
                <a:gd name="T90" fmla="*/ 126 w 136"/>
                <a:gd name="T91" fmla="*/ 18 h 256"/>
                <a:gd name="T92" fmla="*/ 122 w 136"/>
                <a:gd name="T93" fmla="*/ 0 h 256"/>
                <a:gd name="T94" fmla="*/ 122 w 136"/>
                <a:gd name="T95" fmla="*/ 0 h 256"/>
                <a:gd name="T96" fmla="*/ 120 w 136"/>
                <a:gd name="T97" fmla="*/ 0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36" h="256">
                  <a:moveTo>
                    <a:pt x="120" y="0"/>
                  </a:moveTo>
                  <a:lnTo>
                    <a:pt x="120" y="0"/>
                  </a:lnTo>
                  <a:lnTo>
                    <a:pt x="126" y="18"/>
                  </a:lnTo>
                  <a:lnTo>
                    <a:pt x="130" y="38"/>
                  </a:lnTo>
                  <a:lnTo>
                    <a:pt x="134" y="58"/>
                  </a:lnTo>
                  <a:lnTo>
                    <a:pt x="134" y="82"/>
                  </a:lnTo>
                  <a:lnTo>
                    <a:pt x="134" y="82"/>
                  </a:lnTo>
                  <a:lnTo>
                    <a:pt x="134" y="98"/>
                  </a:lnTo>
                  <a:lnTo>
                    <a:pt x="132" y="112"/>
                  </a:lnTo>
                  <a:lnTo>
                    <a:pt x="130" y="128"/>
                  </a:lnTo>
                  <a:lnTo>
                    <a:pt x="124" y="142"/>
                  </a:lnTo>
                  <a:lnTo>
                    <a:pt x="124" y="142"/>
                  </a:lnTo>
                  <a:lnTo>
                    <a:pt x="118" y="156"/>
                  </a:lnTo>
                  <a:lnTo>
                    <a:pt x="110" y="170"/>
                  </a:lnTo>
                  <a:lnTo>
                    <a:pt x="100" y="182"/>
                  </a:lnTo>
                  <a:lnTo>
                    <a:pt x="90" y="194"/>
                  </a:lnTo>
                  <a:lnTo>
                    <a:pt x="70" y="214"/>
                  </a:lnTo>
                  <a:lnTo>
                    <a:pt x="46" y="230"/>
                  </a:lnTo>
                  <a:lnTo>
                    <a:pt x="46" y="230"/>
                  </a:lnTo>
                  <a:lnTo>
                    <a:pt x="26" y="242"/>
                  </a:lnTo>
                  <a:lnTo>
                    <a:pt x="8" y="252"/>
                  </a:lnTo>
                  <a:lnTo>
                    <a:pt x="8" y="252"/>
                  </a:lnTo>
                  <a:lnTo>
                    <a:pt x="0" y="256"/>
                  </a:lnTo>
                  <a:lnTo>
                    <a:pt x="0" y="256"/>
                  </a:lnTo>
                  <a:lnTo>
                    <a:pt x="0" y="256"/>
                  </a:lnTo>
                  <a:lnTo>
                    <a:pt x="0" y="256"/>
                  </a:lnTo>
                  <a:lnTo>
                    <a:pt x="10" y="252"/>
                  </a:lnTo>
                  <a:lnTo>
                    <a:pt x="10" y="252"/>
                  </a:lnTo>
                  <a:lnTo>
                    <a:pt x="28" y="242"/>
                  </a:lnTo>
                  <a:lnTo>
                    <a:pt x="48" y="230"/>
                  </a:lnTo>
                  <a:lnTo>
                    <a:pt x="48" y="230"/>
                  </a:lnTo>
                  <a:lnTo>
                    <a:pt x="70" y="214"/>
                  </a:lnTo>
                  <a:lnTo>
                    <a:pt x="92" y="194"/>
                  </a:lnTo>
                  <a:lnTo>
                    <a:pt x="102" y="182"/>
                  </a:lnTo>
                  <a:lnTo>
                    <a:pt x="110" y="170"/>
                  </a:lnTo>
                  <a:lnTo>
                    <a:pt x="118" y="156"/>
                  </a:lnTo>
                  <a:lnTo>
                    <a:pt x="126" y="142"/>
                  </a:lnTo>
                  <a:lnTo>
                    <a:pt x="126" y="142"/>
                  </a:lnTo>
                  <a:lnTo>
                    <a:pt x="130" y="128"/>
                  </a:lnTo>
                  <a:lnTo>
                    <a:pt x="134" y="112"/>
                  </a:lnTo>
                  <a:lnTo>
                    <a:pt x="136" y="98"/>
                  </a:lnTo>
                  <a:lnTo>
                    <a:pt x="136" y="82"/>
                  </a:lnTo>
                  <a:lnTo>
                    <a:pt x="136" y="82"/>
                  </a:lnTo>
                  <a:lnTo>
                    <a:pt x="134" y="60"/>
                  </a:lnTo>
                  <a:lnTo>
                    <a:pt x="132" y="38"/>
                  </a:lnTo>
                  <a:lnTo>
                    <a:pt x="126" y="18"/>
                  </a:lnTo>
                  <a:lnTo>
                    <a:pt x="122" y="0"/>
                  </a:lnTo>
                  <a:lnTo>
                    <a:pt x="122" y="0"/>
                  </a:lnTo>
                  <a:lnTo>
                    <a:pt x="12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21" name="Freeform 2039">
              <a:extLst>
                <a:ext uri="{FF2B5EF4-FFF2-40B4-BE49-F238E27FC236}">
                  <a16:creationId xmlns:a16="http://schemas.microsoft.com/office/drawing/2014/main" id="{C53A15DD-466B-4062-B135-F4145944C3EB}"/>
                </a:ext>
              </a:extLst>
            </p:cNvPr>
            <p:cNvSpPr>
              <a:spLocks/>
            </p:cNvSpPr>
            <p:nvPr/>
          </p:nvSpPr>
          <p:spPr bwMode="auto">
            <a:xfrm>
              <a:off x="10272420" y="3454566"/>
              <a:ext cx="64321" cy="321603"/>
            </a:xfrm>
            <a:custGeom>
              <a:avLst/>
              <a:gdLst>
                <a:gd name="T0" fmla="*/ 24 w 36"/>
                <a:gd name="T1" fmla="*/ 0 h 180"/>
                <a:gd name="T2" fmla="*/ 24 w 36"/>
                <a:gd name="T3" fmla="*/ 0 h 180"/>
                <a:gd name="T4" fmla="*/ 24 w 36"/>
                <a:gd name="T5" fmla="*/ 0 h 180"/>
                <a:gd name="T6" fmla="*/ 32 w 36"/>
                <a:gd name="T7" fmla="*/ 34 h 180"/>
                <a:gd name="T8" fmla="*/ 34 w 36"/>
                <a:gd name="T9" fmla="*/ 54 h 180"/>
                <a:gd name="T10" fmla="*/ 34 w 36"/>
                <a:gd name="T11" fmla="*/ 74 h 180"/>
                <a:gd name="T12" fmla="*/ 34 w 36"/>
                <a:gd name="T13" fmla="*/ 74 h 180"/>
                <a:gd name="T14" fmla="*/ 34 w 36"/>
                <a:gd name="T15" fmla="*/ 90 h 180"/>
                <a:gd name="T16" fmla="*/ 32 w 36"/>
                <a:gd name="T17" fmla="*/ 106 h 180"/>
                <a:gd name="T18" fmla="*/ 28 w 36"/>
                <a:gd name="T19" fmla="*/ 124 h 180"/>
                <a:gd name="T20" fmla="*/ 22 w 36"/>
                <a:gd name="T21" fmla="*/ 140 h 180"/>
                <a:gd name="T22" fmla="*/ 22 w 36"/>
                <a:gd name="T23" fmla="*/ 140 h 180"/>
                <a:gd name="T24" fmla="*/ 12 w 36"/>
                <a:gd name="T25" fmla="*/ 162 h 180"/>
                <a:gd name="T26" fmla="*/ 0 w 36"/>
                <a:gd name="T27" fmla="*/ 180 h 180"/>
                <a:gd name="T28" fmla="*/ 0 w 36"/>
                <a:gd name="T29" fmla="*/ 180 h 180"/>
                <a:gd name="T30" fmla="*/ 2 w 36"/>
                <a:gd name="T31" fmla="*/ 180 h 180"/>
                <a:gd name="T32" fmla="*/ 2 w 36"/>
                <a:gd name="T33" fmla="*/ 180 h 180"/>
                <a:gd name="T34" fmla="*/ 14 w 36"/>
                <a:gd name="T35" fmla="*/ 162 h 180"/>
                <a:gd name="T36" fmla="*/ 24 w 36"/>
                <a:gd name="T37" fmla="*/ 140 h 180"/>
                <a:gd name="T38" fmla="*/ 24 w 36"/>
                <a:gd name="T39" fmla="*/ 140 h 180"/>
                <a:gd name="T40" fmla="*/ 30 w 36"/>
                <a:gd name="T41" fmla="*/ 124 h 180"/>
                <a:gd name="T42" fmla="*/ 34 w 36"/>
                <a:gd name="T43" fmla="*/ 106 h 180"/>
                <a:gd name="T44" fmla="*/ 36 w 36"/>
                <a:gd name="T45" fmla="*/ 90 h 180"/>
                <a:gd name="T46" fmla="*/ 36 w 36"/>
                <a:gd name="T47" fmla="*/ 74 h 180"/>
                <a:gd name="T48" fmla="*/ 36 w 36"/>
                <a:gd name="T49" fmla="*/ 74 h 180"/>
                <a:gd name="T50" fmla="*/ 34 w 36"/>
                <a:gd name="T51" fmla="*/ 54 h 180"/>
                <a:gd name="T52" fmla="*/ 32 w 36"/>
                <a:gd name="T53" fmla="*/ 34 h 180"/>
                <a:gd name="T54" fmla="*/ 24 w 36"/>
                <a:gd name="T55" fmla="*/ 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6" h="180">
                  <a:moveTo>
                    <a:pt x="24" y="0"/>
                  </a:moveTo>
                  <a:lnTo>
                    <a:pt x="24" y="0"/>
                  </a:lnTo>
                  <a:lnTo>
                    <a:pt x="24" y="0"/>
                  </a:lnTo>
                  <a:lnTo>
                    <a:pt x="32" y="34"/>
                  </a:lnTo>
                  <a:lnTo>
                    <a:pt x="34" y="54"/>
                  </a:lnTo>
                  <a:lnTo>
                    <a:pt x="34" y="74"/>
                  </a:lnTo>
                  <a:lnTo>
                    <a:pt x="34" y="74"/>
                  </a:lnTo>
                  <a:lnTo>
                    <a:pt x="34" y="90"/>
                  </a:lnTo>
                  <a:lnTo>
                    <a:pt x="32" y="106"/>
                  </a:lnTo>
                  <a:lnTo>
                    <a:pt x="28" y="124"/>
                  </a:lnTo>
                  <a:lnTo>
                    <a:pt x="22" y="140"/>
                  </a:lnTo>
                  <a:lnTo>
                    <a:pt x="22" y="140"/>
                  </a:lnTo>
                  <a:lnTo>
                    <a:pt x="12" y="162"/>
                  </a:lnTo>
                  <a:lnTo>
                    <a:pt x="0" y="180"/>
                  </a:lnTo>
                  <a:lnTo>
                    <a:pt x="0" y="180"/>
                  </a:lnTo>
                  <a:lnTo>
                    <a:pt x="2" y="180"/>
                  </a:lnTo>
                  <a:lnTo>
                    <a:pt x="2" y="180"/>
                  </a:lnTo>
                  <a:lnTo>
                    <a:pt x="14" y="162"/>
                  </a:lnTo>
                  <a:lnTo>
                    <a:pt x="24" y="140"/>
                  </a:lnTo>
                  <a:lnTo>
                    <a:pt x="24" y="140"/>
                  </a:lnTo>
                  <a:lnTo>
                    <a:pt x="30" y="124"/>
                  </a:lnTo>
                  <a:lnTo>
                    <a:pt x="34" y="106"/>
                  </a:lnTo>
                  <a:lnTo>
                    <a:pt x="36" y="90"/>
                  </a:lnTo>
                  <a:lnTo>
                    <a:pt x="36" y="74"/>
                  </a:lnTo>
                  <a:lnTo>
                    <a:pt x="36" y="74"/>
                  </a:lnTo>
                  <a:lnTo>
                    <a:pt x="34" y="54"/>
                  </a:lnTo>
                  <a:lnTo>
                    <a:pt x="32" y="34"/>
                  </a:lnTo>
                  <a:lnTo>
                    <a:pt x="24" y="0"/>
                  </a:lnTo>
                  <a:close/>
                </a:path>
              </a:pathLst>
            </a:custGeom>
            <a:solidFill>
              <a:srgbClr val="DDC9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22" name="Freeform 2040">
              <a:extLst>
                <a:ext uri="{FF2B5EF4-FFF2-40B4-BE49-F238E27FC236}">
                  <a16:creationId xmlns:a16="http://schemas.microsoft.com/office/drawing/2014/main" id="{4864F611-E8C7-4DA7-9D1D-F8286F8B0773}"/>
                </a:ext>
              </a:extLst>
            </p:cNvPr>
            <p:cNvSpPr>
              <a:spLocks/>
            </p:cNvSpPr>
            <p:nvPr/>
          </p:nvSpPr>
          <p:spPr bwMode="auto">
            <a:xfrm>
              <a:off x="10272420" y="3454566"/>
              <a:ext cx="64321" cy="321603"/>
            </a:xfrm>
            <a:custGeom>
              <a:avLst/>
              <a:gdLst>
                <a:gd name="T0" fmla="*/ 24 w 36"/>
                <a:gd name="T1" fmla="*/ 0 h 180"/>
                <a:gd name="T2" fmla="*/ 24 w 36"/>
                <a:gd name="T3" fmla="*/ 0 h 180"/>
                <a:gd name="T4" fmla="*/ 24 w 36"/>
                <a:gd name="T5" fmla="*/ 0 h 180"/>
                <a:gd name="T6" fmla="*/ 32 w 36"/>
                <a:gd name="T7" fmla="*/ 34 h 180"/>
                <a:gd name="T8" fmla="*/ 34 w 36"/>
                <a:gd name="T9" fmla="*/ 54 h 180"/>
                <a:gd name="T10" fmla="*/ 34 w 36"/>
                <a:gd name="T11" fmla="*/ 74 h 180"/>
                <a:gd name="T12" fmla="*/ 34 w 36"/>
                <a:gd name="T13" fmla="*/ 74 h 180"/>
                <a:gd name="T14" fmla="*/ 34 w 36"/>
                <a:gd name="T15" fmla="*/ 90 h 180"/>
                <a:gd name="T16" fmla="*/ 32 w 36"/>
                <a:gd name="T17" fmla="*/ 106 h 180"/>
                <a:gd name="T18" fmla="*/ 28 w 36"/>
                <a:gd name="T19" fmla="*/ 124 h 180"/>
                <a:gd name="T20" fmla="*/ 22 w 36"/>
                <a:gd name="T21" fmla="*/ 140 h 180"/>
                <a:gd name="T22" fmla="*/ 22 w 36"/>
                <a:gd name="T23" fmla="*/ 140 h 180"/>
                <a:gd name="T24" fmla="*/ 12 w 36"/>
                <a:gd name="T25" fmla="*/ 162 h 180"/>
                <a:gd name="T26" fmla="*/ 0 w 36"/>
                <a:gd name="T27" fmla="*/ 180 h 180"/>
                <a:gd name="T28" fmla="*/ 0 w 36"/>
                <a:gd name="T29" fmla="*/ 180 h 180"/>
                <a:gd name="T30" fmla="*/ 2 w 36"/>
                <a:gd name="T31" fmla="*/ 180 h 180"/>
                <a:gd name="T32" fmla="*/ 2 w 36"/>
                <a:gd name="T33" fmla="*/ 180 h 180"/>
                <a:gd name="T34" fmla="*/ 14 w 36"/>
                <a:gd name="T35" fmla="*/ 162 h 180"/>
                <a:gd name="T36" fmla="*/ 24 w 36"/>
                <a:gd name="T37" fmla="*/ 140 h 180"/>
                <a:gd name="T38" fmla="*/ 24 w 36"/>
                <a:gd name="T39" fmla="*/ 140 h 180"/>
                <a:gd name="T40" fmla="*/ 30 w 36"/>
                <a:gd name="T41" fmla="*/ 124 h 180"/>
                <a:gd name="T42" fmla="*/ 34 w 36"/>
                <a:gd name="T43" fmla="*/ 106 h 180"/>
                <a:gd name="T44" fmla="*/ 36 w 36"/>
                <a:gd name="T45" fmla="*/ 90 h 180"/>
                <a:gd name="T46" fmla="*/ 36 w 36"/>
                <a:gd name="T47" fmla="*/ 74 h 180"/>
                <a:gd name="T48" fmla="*/ 36 w 36"/>
                <a:gd name="T49" fmla="*/ 74 h 180"/>
                <a:gd name="T50" fmla="*/ 34 w 36"/>
                <a:gd name="T51" fmla="*/ 54 h 180"/>
                <a:gd name="T52" fmla="*/ 32 w 36"/>
                <a:gd name="T53" fmla="*/ 34 h 180"/>
                <a:gd name="T54" fmla="*/ 24 w 36"/>
                <a:gd name="T55" fmla="*/ 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6" h="180">
                  <a:moveTo>
                    <a:pt x="24" y="0"/>
                  </a:moveTo>
                  <a:lnTo>
                    <a:pt x="24" y="0"/>
                  </a:lnTo>
                  <a:lnTo>
                    <a:pt x="24" y="0"/>
                  </a:lnTo>
                  <a:lnTo>
                    <a:pt x="32" y="34"/>
                  </a:lnTo>
                  <a:lnTo>
                    <a:pt x="34" y="54"/>
                  </a:lnTo>
                  <a:lnTo>
                    <a:pt x="34" y="74"/>
                  </a:lnTo>
                  <a:lnTo>
                    <a:pt x="34" y="74"/>
                  </a:lnTo>
                  <a:lnTo>
                    <a:pt x="34" y="90"/>
                  </a:lnTo>
                  <a:lnTo>
                    <a:pt x="32" y="106"/>
                  </a:lnTo>
                  <a:lnTo>
                    <a:pt x="28" y="124"/>
                  </a:lnTo>
                  <a:lnTo>
                    <a:pt x="22" y="140"/>
                  </a:lnTo>
                  <a:lnTo>
                    <a:pt x="22" y="140"/>
                  </a:lnTo>
                  <a:lnTo>
                    <a:pt x="12" y="162"/>
                  </a:lnTo>
                  <a:lnTo>
                    <a:pt x="0" y="180"/>
                  </a:lnTo>
                  <a:lnTo>
                    <a:pt x="0" y="180"/>
                  </a:lnTo>
                  <a:lnTo>
                    <a:pt x="2" y="180"/>
                  </a:lnTo>
                  <a:lnTo>
                    <a:pt x="2" y="180"/>
                  </a:lnTo>
                  <a:lnTo>
                    <a:pt x="14" y="162"/>
                  </a:lnTo>
                  <a:lnTo>
                    <a:pt x="24" y="140"/>
                  </a:lnTo>
                  <a:lnTo>
                    <a:pt x="24" y="140"/>
                  </a:lnTo>
                  <a:lnTo>
                    <a:pt x="30" y="124"/>
                  </a:lnTo>
                  <a:lnTo>
                    <a:pt x="34" y="106"/>
                  </a:lnTo>
                  <a:lnTo>
                    <a:pt x="36" y="90"/>
                  </a:lnTo>
                  <a:lnTo>
                    <a:pt x="36" y="74"/>
                  </a:lnTo>
                  <a:lnTo>
                    <a:pt x="36" y="74"/>
                  </a:lnTo>
                  <a:lnTo>
                    <a:pt x="34" y="54"/>
                  </a:lnTo>
                  <a:lnTo>
                    <a:pt x="32" y="34"/>
                  </a:lnTo>
                  <a:lnTo>
                    <a:pt x="2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23" name="Freeform 2044">
              <a:extLst>
                <a:ext uri="{FF2B5EF4-FFF2-40B4-BE49-F238E27FC236}">
                  <a16:creationId xmlns:a16="http://schemas.microsoft.com/office/drawing/2014/main" id="{384A5AAC-6E11-4314-91A6-C3E98FD4CE0D}"/>
                </a:ext>
              </a:extLst>
            </p:cNvPr>
            <p:cNvSpPr>
              <a:spLocks/>
            </p:cNvSpPr>
            <p:nvPr/>
          </p:nvSpPr>
          <p:spPr bwMode="auto">
            <a:xfrm>
              <a:off x="10050871" y="3915531"/>
              <a:ext cx="39307" cy="17867"/>
            </a:xfrm>
            <a:custGeom>
              <a:avLst/>
              <a:gdLst>
                <a:gd name="T0" fmla="*/ 22 w 22"/>
                <a:gd name="T1" fmla="*/ 0 h 10"/>
                <a:gd name="T2" fmla="*/ 22 w 22"/>
                <a:gd name="T3" fmla="*/ 0 h 10"/>
                <a:gd name="T4" fmla="*/ 6 w 22"/>
                <a:gd name="T5" fmla="*/ 8 h 10"/>
                <a:gd name="T6" fmla="*/ 0 w 22"/>
                <a:gd name="T7" fmla="*/ 10 h 10"/>
                <a:gd name="T8" fmla="*/ 0 w 22"/>
                <a:gd name="T9" fmla="*/ 10 h 10"/>
                <a:gd name="T10" fmla="*/ 8 w 22"/>
                <a:gd name="T11" fmla="*/ 8 h 10"/>
                <a:gd name="T12" fmla="*/ 8 w 22"/>
                <a:gd name="T13" fmla="*/ 8 h 10"/>
                <a:gd name="T14" fmla="*/ 22 w 22"/>
                <a:gd name="T15" fmla="*/ 2 h 10"/>
                <a:gd name="T16" fmla="*/ 22 w 22"/>
                <a:gd name="T17" fmla="*/ 2 h 10"/>
                <a:gd name="T18" fmla="*/ 22 w 22"/>
                <a:gd name="T19"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 h="10">
                  <a:moveTo>
                    <a:pt x="22" y="0"/>
                  </a:moveTo>
                  <a:lnTo>
                    <a:pt x="22" y="0"/>
                  </a:lnTo>
                  <a:lnTo>
                    <a:pt x="6" y="8"/>
                  </a:lnTo>
                  <a:lnTo>
                    <a:pt x="0" y="10"/>
                  </a:lnTo>
                  <a:lnTo>
                    <a:pt x="0" y="10"/>
                  </a:lnTo>
                  <a:lnTo>
                    <a:pt x="8" y="8"/>
                  </a:lnTo>
                  <a:lnTo>
                    <a:pt x="8" y="8"/>
                  </a:lnTo>
                  <a:lnTo>
                    <a:pt x="22" y="2"/>
                  </a:lnTo>
                  <a:lnTo>
                    <a:pt x="22" y="2"/>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24" name="Freeform 2045">
              <a:extLst>
                <a:ext uri="{FF2B5EF4-FFF2-40B4-BE49-F238E27FC236}">
                  <a16:creationId xmlns:a16="http://schemas.microsoft.com/office/drawing/2014/main" id="{96668AB6-5FDD-43D8-B507-78EE1BABB8DB}"/>
                </a:ext>
              </a:extLst>
            </p:cNvPr>
            <p:cNvSpPr>
              <a:spLocks/>
            </p:cNvSpPr>
            <p:nvPr/>
          </p:nvSpPr>
          <p:spPr bwMode="auto">
            <a:xfrm>
              <a:off x="10240260" y="3776169"/>
              <a:ext cx="35734" cy="39307"/>
            </a:xfrm>
            <a:custGeom>
              <a:avLst/>
              <a:gdLst>
                <a:gd name="T0" fmla="*/ 20 w 20"/>
                <a:gd name="T1" fmla="*/ 0 h 22"/>
                <a:gd name="T2" fmla="*/ 20 w 20"/>
                <a:gd name="T3" fmla="*/ 0 h 22"/>
                <a:gd name="T4" fmla="*/ 18 w 20"/>
                <a:gd name="T5" fmla="*/ 0 h 22"/>
                <a:gd name="T6" fmla="*/ 18 w 20"/>
                <a:gd name="T7" fmla="*/ 0 h 22"/>
                <a:gd name="T8" fmla="*/ 0 w 20"/>
                <a:gd name="T9" fmla="*/ 22 h 22"/>
                <a:gd name="T10" fmla="*/ 0 w 20"/>
                <a:gd name="T11" fmla="*/ 22 h 22"/>
                <a:gd name="T12" fmla="*/ 2 w 20"/>
                <a:gd name="T13" fmla="*/ 20 h 22"/>
                <a:gd name="T14" fmla="*/ 2 w 20"/>
                <a:gd name="T15" fmla="*/ 20 h 22"/>
                <a:gd name="T16" fmla="*/ 20 w 20"/>
                <a:gd name="T1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22">
                  <a:moveTo>
                    <a:pt x="20" y="0"/>
                  </a:moveTo>
                  <a:lnTo>
                    <a:pt x="20" y="0"/>
                  </a:lnTo>
                  <a:lnTo>
                    <a:pt x="18" y="0"/>
                  </a:lnTo>
                  <a:lnTo>
                    <a:pt x="18" y="0"/>
                  </a:lnTo>
                  <a:lnTo>
                    <a:pt x="0" y="22"/>
                  </a:lnTo>
                  <a:lnTo>
                    <a:pt x="0" y="22"/>
                  </a:lnTo>
                  <a:lnTo>
                    <a:pt x="2" y="20"/>
                  </a:lnTo>
                  <a:lnTo>
                    <a:pt x="2" y="20"/>
                  </a:lnTo>
                  <a:lnTo>
                    <a:pt x="2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25" name="Freeform 2048">
              <a:extLst>
                <a:ext uri="{FF2B5EF4-FFF2-40B4-BE49-F238E27FC236}">
                  <a16:creationId xmlns:a16="http://schemas.microsoft.com/office/drawing/2014/main" id="{9C6B2A83-B109-4227-A81D-F6AD8ECA037A}"/>
                </a:ext>
              </a:extLst>
            </p:cNvPr>
            <p:cNvSpPr>
              <a:spLocks/>
            </p:cNvSpPr>
            <p:nvPr/>
          </p:nvSpPr>
          <p:spPr bwMode="auto">
            <a:xfrm>
              <a:off x="10022284" y="3408112"/>
              <a:ext cx="210829" cy="489552"/>
            </a:xfrm>
            <a:custGeom>
              <a:avLst/>
              <a:gdLst>
                <a:gd name="T0" fmla="*/ 116 w 118"/>
                <a:gd name="T1" fmla="*/ 0 h 274"/>
                <a:gd name="T2" fmla="*/ 116 w 118"/>
                <a:gd name="T3" fmla="*/ 0 h 274"/>
                <a:gd name="T4" fmla="*/ 88 w 118"/>
                <a:gd name="T5" fmla="*/ 18 h 274"/>
                <a:gd name="T6" fmla="*/ 88 w 118"/>
                <a:gd name="T7" fmla="*/ 18 h 274"/>
                <a:gd name="T8" fmla="*/ 66 w 118"/>
                <a:gd name="T9" fmla="*/ 34 h 274"/>
                <a:gd name="T10" fmla="*/ 44 w 118"/>
                <a:gd name="T11" fmla="*/ 54 h 274"/>
                <a:gd name="T12" fmla="*/ 34 w 118"/>
                <a:gd name="T13" fmla="*/ 66 h 274"/>
                <a:gd name="T14" fmla="*/ 24 w 118"/>
                <a:gd name="T15" fmla="*/ 78 h 274"/>
                <a:gd name="T16" fmla="*/ 16 w 118"/>
                <a:gd name="T17" fmla="*/ 92 h 274"/>
                <a:gd name="T18" fmla="*/ 10 w 118"/>
                <a:gd name="T19" fmla="*/ 106 h 274"/>
                <a:gd name="T20" fmla="*/ 10 w 118"/>
                <a:gd name="T21" fmla="*/ 106 h 274"/>
                <a:gd name="T22" fmla="*/ 10 w 118"/>
                <a:gd name="T23" fmla="*/ 106 h 274"/>
                <a:gd name="T24" fmla="*/ 6 w 118"/>
                <a:gd name="T25" fmla="*/ 120 h 274"/>
                <a:gd name="T26" fmla="*/ 2 w 118"/>
                <a:gd name="T27" fmla="*/ 136 h 274"/>
                <a:gd name="T28" fmla="*/ 0 w 118"/>
                <a:gd name="T29" fmla="*/ 150 h 274"/>
                <a:gd name="T30" fmla="*/ 0 w 118"/>
                <a:gd name="T31" fmla="*/ 166 h 274"/>
                <a:gd name="T32" fmla="*/ 0 w 118"/>
                <a:gd name="T33" fmla="*/ 166 h 274"/>
                <a:gd name="T34" fmla="*/ 0 w 118"/>
                <a:gd name="T35" fmla="*/ 184 h 274"/>
                <a:gd name="T36" fmla="*/ 2 w 118"/>
                <a:gd name="T37" fmla="*/ 200 h 274"/>
                <a:gd name="T38" fmla="*/ 8 w 118"/>
                <a:gd name="T39" fmla="*/ 232 h 274"/>
                <a:gd name="T40" fmla="*/ 16 w 118"/>
                <a:gd name="T41" fmla="*/ 256 h 274"/>
                <a:gd name="T42" fmla="*/ 24 w 118"/>
                <a:gd name="T43" fmla="*/ 274 h 274"/>
                <a:gd name="T44" fmla="*/ 24 w 118"/>
                <a:gd name="T45" fmla="*/ 274 h 274"/>
                <a:gd name="T46" fmla="*/ 24 w 118"/>
                <a:gd name="T47" fmla="*/ 274 h 274"/>
                <a:gd name="T48" fmla="*/ 24 w 118"/>
                <a:gd name="T49" fmla="*/ 274 h 274"/>
                <a:gd name="T50" fmla="*/ 18 w 118"/>
                <a:gd name="T51" fmla="*/ 256 h 274"/>
                <a:gd name="T52" fmla="*/ 10 w 118"/>
                <a:gd name="T53" fmla="*/ 232 h 274"/>
                <a:gd name="T54" fmla="*/ 4 w 118"/>
                <a:gd name="T55" fmla="*/ 200 h 274"/>
                <a:gd name="T56" fmla="*/ 2 w 118"/>
                <a:gd name="T57" fmla="*/ 184 h 274"/>
                <a:gd name="T58" fmla="*/ 0 w 118"/>
                <a:gd name="T59" fmla="*/ 166 h 274"/>
                <a:gd name="T60" fmla="*/ 0 w 118"/>
                <a:gd name="T61" fmla="*/ 166 h 274"/>
                <a:gd name="T62" fmla="*/ 2 w 118"/>
                <a:gd name="T63" fmla="*/ 150 h 274"/>
                <a:gd name="T64" fmla="*/ 4 w 118"/>
                <a:gd name="T65" fmla="*/ 136 h 274"/>
                <a:gd name="T66" fmla="*/ 6 w 118"/>
                <a:gd name="T67" fmla="*/ 120 h 274"/>
                <a:gd name="T68" fmla="*/ 12 w 118"/>
                <a:gd name="T69" fmla="*/ 106 h 274"/>
                <a:gd name="T70" fmla="*/ 12 w 118"/>
                <a:gd name="T71" fmla="*/ 106 h 274"/>
                <a:gd name="T72" fmla="*/ 12 w 118"/>
                <a:gd name="T73" fmla="*/ 106 h 274"/>
                <a:gd name="T74" fmla="*/ 18 w 118"/>
                <a:gd name="T75" fmla="*/ 92 h 274"/>
                <a:gd name="T76" fmla="*/ 26 w 118"/>
                <a:gd name="T77" fmla="*/ 78 h 274"/>
                <a:gd name="T78" fmla="*/ 34 w 118"/>
                <a:gd name="T79" fmla="*/ 66 h 274"/>
                <a:gd name="T80" fmla="*/ 44 w 118"/>
                <a:gd name="T81" fmla="*/ 54 h 274"/>
                <a:gd name="T82" fmla="*/ 66 w 118"/>
                <a:gd name="T83" fmla="*/ 34 h 274"/>
                <a:gd name="T84" fmla="*/ 88 w 118"/>
                <a:gd name="T85" fmla="*/ 18 h 274"/>
                <a:gd name="T86" fmla="*/ 88 w 118"/>
                <a:gd name="T87" fmla="*/ 18 h 274"/>
                <a:gd name="T88" fmla="*/ 118 w 118"/>
                <a:gd name="T89" fmla="*/ 2 h 274"/>
                <a:gd name="T90" fmla="*/ 118 w 118"/>
                <a:gd name="T91" fmla="*/ 2 h 274"/>
                <a:gd name="T92" fmla="*/ 116 w 118"/>
                <a:gd name="T93" fmla="*/ 0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18" h="274">
                  <a:moveTo>
                    <a:pt x="116" y="0"/>
                  </a:moveTo>
                  <a:lnTo>
                    <a:pt x="116" y="0"/>
                  </a:lnTo>
                  <a:lnTo>
                    <a:pt x="88" y="18"/>
                  </a:lnTo>
                  <a:lnTo>
                    <a:pt x="88" y="18"/>
                  </a:lnTo>
                  <a:lnTo>
                    <a:pt x="66" y="34"/>
                  </a:lnTo>
                  <a:lnTo>
                    <a:pt x="44" y="54"/>
                  </a:lnTo>
                  <a:lnTo>
                    <a:pt x="34" y="66"/>
                  </a:lnTo>
                  <a:lnTo>
                    <a:pt x="24" y="78"/>
                  </a:lnTo>
                  <a:lnTo>
                    <a:pt x="16" y="92"/>
                  </a:lnTo>
                  <a:lnTo>
                    <a:pt x="10" y="106"/>
                  </a:lnTo>
                  <a:lnTo>
                    <a:pt x="10" y="106"/>
                  </a:lnTo>
                  <a:lnTo>
                    <a:pt x="10" y="106"/>
                  </a:lnTo>
                  <a:lnTo>
                    <a:pt x="6" y="120"/>
                  </a:lnTo>
                  <a:lnTo>
                    <a:pt x="2" y="136"/>
                  </a:lnTo>
                  <a:lnTo>
                    <a:pt x="0" y="150"/>
                  </a:lnTo>
                  <a:lnTo>
                    <a:pt x="0" y="166"/>
                  </a:lnTo>
                  <a:lnTo>
                    <a:pt x="0" y="166"/>
                  </a:lnTo>
                  <a:lnTo>
                    <a:pt x="0" y="184"/>
                  </a:lnTo>
                  <a:lnTo>
                    <a:pt x="2" y="200"/>
                  </a:lnTo>
                  <a:lnTo>
                    <a:pt x="8" y="232"/>
                  </a:lnTo>
                  <a:lnTo>
                    <a:pt x="16" y="256"/>
                  </a:lnTo>
                  <a:lnTo>
                    <a:pt x="24" y="274"/>
                  </a:lnTo>
                  <a:lnTo>
                    <a:pt x="24" y="274"/>
                  </a:lnTo>
                  <a:lnTo>
                    <a:pt x="24" y="274"/>
                  </a:lnTo>
                  <a:lnTo>
                    <a:pt x="24" y="274"/>
                  </a:lnTo>
                  <a:lnTo>
                    <a:pt x="18" y="256"/>
                  </a:lnTo>
                  <a:lnTo>
                    <a:pt x="10" y="232"/>
                  </a:lnTo>
                  <a:lnTo>
                    <a:pt x="4" y="200"/>
                  </a:lnTo>
                  <a:lnTo>
                    <a:pt x="2" y="184"/>
                  </a:lnTo>
                  <a:lnTo>
                    <a:pt x="0" y="166"/>
                  </a:lnTo>
                  <a:lnTo>
                    <a:pt x="0" y="166"/>
                  </a:lnTo>
                  <a:lnTo>
                    <a:pt x="2" y="150"/>
                  </a:lnTo>
                  <a:lnTo>
                    <a:pt x="4" y="136"/>
                  </a:lnTo>
                  <a:lnTo>
                    <a:pt x="6" y="120"/>
                  </a:lnTo>
                  <a:lnTo>
                    <a:pt x="12" y="106"/>
                  </a:lnTo>
                  <a:lnTo>
                    <a:pt x="12" y="106"/>
                  </a:lnTo>
                  <a:lnTo>
                    <a:pt x="12" y="106"/>
                  </a:lnTo>
                  <a:lnTo>
                    <a:pt x="18" y="92"/>
                  </a:lnTo>
                  <a:lnTo>
                    <a:pt x="26" y="78"/>
                  </a:lnTo>
                  <a:lnTo>
                    <a:pt x="34" y="66"/>
                  </a:lnTo>
                  <a:lnTo>
                    <a:pt x="44" y="54"/>
                  </a:lnTo>
                  <a:lnTo>
                    <a:pt x="66" y="34"/>
                  </a:lnTo>
                  <a:lnTo>
                    <a:pt x="88" y="18"/>
                  </a:lnTo>
                  <a:lnTo>
                    <a:pt x="88" y="18"/>
                  </a:lnTo>
                  <a:lnTo>
                    <a:pt x="118" y="2"/>
                  </a:lnTo>
                  <a:lnTo>
                    <a:pt x="118" y="2"/>
                  </a:lnTo>
                  <a:lnTo>
                    <a:pt x="116" y="0"/>
                  </a:lnTo>
                  <a:close/>
                </a:path>
              </a:pathLst>
            </a:custGeom>
            <a:solidFill>
              <a:srgbClr val="9DA5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26" name="Freeform 2049">
              <a:extLst>
                <a:ext uri="{FF2B5EF4-FFF2-40B4-BE49-F238E27FC236}">
                  <a16:creationId xmlns:a16="http://schemas.microsoft.com/office/drawing/2014/main" id="{3EC48739-7401-4180-BAC3-4E6556588465}"/>
                </a:ext>
              </a:extLst>
            </p:cNvPr>
            <p:cNvSpPr>
              <a:spLocks/>
            </p:cNvSpPr>
            <p:nvPr/>
          </p:nvSpPr>
          <p:spPr bwMode="auto">
            <a:xfrm>
              <a:off x="10022284" y="3408112"/>
              <a:ext cx="210829" cy="489552"/>
            </a:xfrm>
            <a:custGeom>
              <a:avLst/>
              <a:gdLst>
                <a:gd name="T0" fmla="*/ 116 w 118"/>
                <a:gd name="T1" fmla="*/ 0 h 274"/>
                <a:gd name="T2" fmla="*/ 116 w 118"/>
                <a:gd name="T3" fmla="*/ 0 h 274"/>
                <a:gd name="T4" fmla="*/ 88 w 118"/>
                <a:gd name="T5" fmla="*/ 18 h 274"/>
                <a:gd name="T6" fmla="*/ 88 w 118"/>
                <a:gd name="T7" fmla="*/ 18 h 274"/>
                <a:gd name="T8" fmla="*/ 66 w 118"/>
                <a:gd name="T9" fmla="*/ 34 h 274"/>
                <a:gd name="T10" fmla="*/ 44 w 118"/>
                <a:gd name="T11" fmla="*/ 54 h 274"/>
                <a:gd name="T12" fmla="*/ 34 w 118"/>
                <a:gd name="T13" fmla="*/ 66 h 274"/>
                <a:gd name="T14" fmla="*/ 24 w 118"/>
                <a:gd name="T15" fmla="*/ 78 h 274"/>
                <a:gd name="T16" fmla="*/ 16 w 118"/>
                <a:gd name="T17" fmla="*/ 92 h 274"/>
                <a:gd name="T18" fmla="*/ 10 w 118"/>
                <a:gd name="T19" fmla="*/ 106 h 274"/>
                <a:gd name="T20" fmla="*/ 10 w 118"/>
                <a:gd name="T21" fmla="*/ 106 h 274"/>
                <a:gd name="T22" fmla="*/ 10 w 118"/>
                <a:gd name="T23" fmla="*/ 106 h 274"/>
                <a:gd name="T24" fmla="*/ 6 w 118"/>
                <a:gd name="T25" fmla="*/ 120 h 274"/>
                <a:gd name="T26" fmla="*/ 2 w 118"/>
                <a:gd name="T27" fmla="*/ 136 h 274"/>
                <a:gd name="T28" fmla="*/ 0 w 118"/>
                <a:gd name="T29" fmla="*/ 150 h 274"/>
                <a:gd name="T30" fmla="*/ 0 w 118"/>
                <a:gd name="T31" fmla="*/ 166 h 274"/>
                <a:gd name="T32" fmla="*/ 0 w 118"/>
                <a:gd name="T33" fmla="*/ 166 h 274"/>
                <a:gd name="T34" fmla="*/ 0 w 118"/>
                <a:gd name="T35" fmla="*/ 184 h 274"/>
                <a:gd name="T36" fmla="*/ 2 w 118"/>
                <a:gd name="T37" fmla="*/ 200 h 274"/>
                <a:gd name="T38" fmla="*/ 8 w 118"/>
                <a:gd name="T39" fmla="*/ 232 h 274"/>
                <a:gd name="T40" fmla="*/ 16 w 118"/>
                <a:gd name="T41" fmla="*/ 256 h 274"/>
                <a:gd name="T42" fmla="*/ 24 w 118"/>
                <a:gd name="T43" fmla="*/ 274 h 274"/>
                <a:gd name="T44" fmla="*/ 24 w 118"/>
                <a:gd name="T45" fmla="*/ 274 h 274"/>
                <a:gd name="T46" fmla="*/ 24 w 118"/>
                <a:gd name="T47" fmla="*/ 274 h 274"/>
                <a:gd name="T48" fmla="*/ 24 w 118"/>
                <a:gd name="T49" fmla="*/ 274 h 274"/>
                <a:gd name="T50" fmla="*/ 18 w 118"/>
                <a:gd name="T51" fmla="*/ 256 h 274"/>
                <a:gd name="T52" fmla="*/ 10 w 118"/>
                <a:gd name="T53" fmla="*/ 232 h 274"/>
                <a:gd name="T54" fmla="*/ 4 w 118"/>
                <a:gd name="T55" fmla="*/ 200 h 274"/>
                <a:gd name="T56" fmla="*/ 2 w 118"/>
                <a:gd name="T57" fmla="*/ 184 h 274"/>
                <a:gd name="T58" fmla="*/ 0 w 118"/>
                <a:gd name="T59" fmla="*/ 166 h 274"/>
                <a:gd name="T60" fmla="*/ 0 w 118"/>
                <a:gd name="T61" fmla="*/ 166 h 274"/>
                <a:gd name="T62" fmla="*/ 2 w 118"/>
                <a:gd name="T63" fmla="*/ 150 h 274"/>
                <a:gd name="T64" fmla="*/ 4 w 118"/>
                <a:gd name="T65" fmla="*/ 136 h 274"/>
                <a:gd name="T66" fmla="*/ 6 w 118"/>
                <a:gd name="T67" fmla="*/ 120 h 274"/>
                <a:gd name="T68" fmla="*/ 12 w 118"/>
                <a:gd name="T69" fmla="*/ 106 h 274"/>
                <a:gd name="T70" fmla="*/ 12 w 118"/>
                <a:gd name="T71" fmla="*/ 106 h 274"/>
                <a:gd name="T72" fmla="*/ 12 w 118"/>
                <a:gd name="T73" fmla="*/ 106 h 274"/>
                <a:gd name="T74" fmla="*/ 18 w 118"/>
                <a:gd name="T75" fmla="*/ 92 h 274"/>
                <a:gd name="T76" fmla="*/ 26 w 118"/>
                <a:gd name="T77" fmla="*/ 78 h 274"/>
                <a:gd name="T78" fmla="*/ 34 w 118"/>
                <a:gd name="T79" fmla="*/ 66 h 274"/>
                <a:gd name="T80" fmla="*/ 44 w 118"/>
                <a:gd name="T81" fmla="*/ 54 h 274"/>
                <a:gd name="T82" fmla="*/ 66 w 118"/>
                <a:gd name="T83" fmla="*/ 34 h 274"/>
                <a:gd name="T84" fmla="*/ 88 w 118"/>
                <a:gd name="T85" fmla="*/ 18 h 274"/>
                <a:gd name="T86" fmla="*/ 88 w 118"/>
                <a:gd name="T87" fmla="*/ 18 h 274"/>
                <a:gd name="T88" fmla="*/ 118 w 118"/>
                <a:gd name="T89" fmla="*/ 2 h 274"/>
                <a:gd name="T90" fmla="*/ 118 w 118"/>
                <a:gd name="T91" fmla="*/ 2 h 274"/>
                <a:gd name="T92" fmla="*/ 116 w 118"/>
                <a:gd name="T93" fmla="*/ 0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18" h="274">
                  <a:moveTo>
                    <a:pt x="116" y="0"/>
                  </a:moveTo>
                  <a:lnTo>
                    <a:pt x="116" y="0"/>
                  </a:lnTo>
                  <a:lnTo>
                    <a:pt x="88" y="18"/>
                  </a:lnTo>
                  <a:lnTo>
                    <a:pt x="88" y="18"/>
                  </a:lnTo>
                  <a:lnTo>
                    <a:pt x="66" y="34"/>
                  </a:lnTo>
                  <a:lnTo>
                    <a:pt x="44" y="54"/>
                  </a:lnTo>
                  <a:lnTo>
                    <a:pt x="34" y="66"/>
                  </a:lnTo>
                  <a:lnTo>
                    <a:pt x="24" y="78"/>
                  </a:lnTo>
                  <a:lnTo>
                    <a:pt x="16" y="92"/>
                  </a:lnTo>
                  <a:lnTo>
                    <a:pt x="10" y="106"/>
                  </a:lnTo>
                  <a:lnTo>
                    <a:pt x="10" y="106"/>
                  </a:lnTo>
                  <a:lnTo>
                    <a:pt x="10" y="106"/>
                  </a:lnTo>
                  <a:lnTo>
                    <a:pt x="6" y="120"/>
                  </a:lnTo>
                  <a:lnTo>
                    <a:pt x="2" y="136"/>
                  </a:lnTo>
                  <a:lnTo>
                    <a:pt x="0" y="150"/>
                  </a:lnTo>
                  <a:lnTo>
                    <a:pt x="0" y="166"/>
                  </a:lnTo>
                  <a:lnTo>
                    <a:pt x="0" y="166"/>
                  </a:lnTo>
                  <a:lnTo>
                    <a:pt x="0" y="184"/>
                  </a:lnTo>
                  <a:lnTo>
                    <a:pt x="2" y="200"/>
                  </a:lnTo>
                  <a:lnTo>
                    <a:pt x="8" y="232"/>
                  </a:lnTo>
                  <a:lnTo>
                    <a:pt x="16" y="256"/>
                  </a:lnTo>
                  <a:lnTo>
                    <a:pt x="24" y="274"/>
                  </a:lnTo>
                  <a:lnTo>
                    <a:pt x="24" y="274"/>
                  </a:lnTo>
                  <a:lnTo>
                    <a:pt x="24" y="274"/>
                  </a:lnTo>
                  <a:lnTo>
                    <a:pt x="24" y="274"/>
                  </a:lnTo>
                  <a:lnTo>
                    <a:pt x="18" y="256"/>
                  </a:lnTo>
                  <a:lnTo>
                    <a:pt x="10" y="232"/>
                  </a:lnTo>
                  <a:lnTo>
                    <a:pt x="4" y="200"/>
                  </a:lnTo>
                  <a:lnTo>
                    <a:pt x="2" y="184"/>
                  </a:lnTo>
                  <a:lnTo>
                    <a:pt x="0" y="166"/>
                  </a:lnTo>
                  <a:lnTo>
                    <a:pt x="0" y="166"/>
                  </a:lnTo>
                  <a:lnTo>
                    <a:pt x="2" y="150"/>
                  </a:lnTo>
                  <a:lnTo>
                    <a:pt x="4" y="136"/>
                  </a:lnTo>
                  <a:lnTo>
                    <a:pt x="6" y="120"/>
                  </a:lnTo>
                  <a:lnTo>
                    <a:pt x="12" y="106"/>
                  </a:lnTo>
                  <a:lnTo>
                    <a:pt x="12" y="106"/>
                  </a:lnTo>
                  <a:lnTo>
                    <a:pt x="12" y="106"/>
                  </a:lnTo>
                  <a:lnTo>
                    <a:pt x="18" y="92"/>
                  </a:lnTo>
                  <a:lnTo>
                    <a:pt x="26" y="78"/>
                  </a:lnTo>
                  <a:lnTo>
                    <a:pt x="34" y="66"/>
                  </a:lnTo>
                  <a:lnTo>
                    <a:pt x="44" y="54"/>
                  </a:lnTo>
                  <a:lnTo>
                    <a:pt x="66" y="34"/>
                  </a:lnTo>
                  <a:lnTo>
                    <a:pt x="88" y="18"/>
                  </a:lnTo>
                  <a:lnTo>
                    <a:pt x="88" y="18"/>
                  </a:lnTo>
                  <a:lnTo>
                    <a:pt x="118" y="2"/>
                  </a:lnTo>
                  <a:lnTo>
                    <a:pt x="118" y="2"/>
                  </a:lnTo>
                  <a:lnTo>
                    <a:pt x="1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27" name="Freeform 2050">
              <a:extLst>
                <a:ext uri="{FF2B5EF4-FFF2-40B4-BE49-F238E27FC236}">
                  <a16:creationId xmlns:a16="http://schemas.microsoft.com/office/drawing/2014/main" id="{C727C0AF-9384-4376-9CE6-D07A0216B51B}"/>
                </a:ext>
              </a:extLst>
            </p:cNvPr>
            <p:cNvSpPr>
              <a:spLocks/>
            </p:cNvSpPr>
            <p:nvPr/>
          </p:nvSpPr>
          <p:spPr bwMode="auto">
            <a:xfrm>
              <a:off x="9807882" y="2879254"/>
              <a:ext cx="300163" cy="564592"/>
            </a:xfrm>
            <a:custGeom>
              <a:avLst/>
              <a:gdLst>
                <a:gd name="T0" fmla="*/ 4 w 168"/>
                <a:gd name="T1" fmla="*/ 176 h 316"/>
                <a:gd name="T2" fmla="*/ 4 w 168"/>
                <a:gd name="T3" fmla="*/ 176 h 316"/>
                <a:gd name="T4" fmla="*/ 8 w 168"/>
                <a:gd name="T5" fmla="*/ 192 h 316"/>
                <a:gd name="T6" fmla="*/ 14 w 168"/>
                <a:gd name="T7" fmla="*/ 206 h 316"/>
                <a:gd name="T8" fmla="*/ 22 w 168"/>
                <a:gd name="T9" fmla="*/ 220 h 316"/>
                <a:gd name="T10" fmla="*/ 30 w 168"/>
                <a:gd name="T11" fmla="*/ 234 h 316"/>
                <a:gd name="T12" fmla="*/ 48 w 168"/>
                <a:gd name="T13" fmla="*/ 258 h 316"/>
                <a:gd name="T14" fmla="*/ 68 w 168"/>
                <a:gd name="T15" fmla="*/ 278 h 316"/>
                <a:gd name="T16" fmla="*/ 88 w 168"/>
                <a:gd name="T17" fmla="*/ 294 h 316"/>
                <a:gd name="T18" fmla="*/ 104 w 168"/>
                <a:gd name="T19" fmla="*/ 306 h 316"/>
                <a:gd name="T20" fmla="*/ 118 w 168"/>
                <a:gd name="T21" fmla="*/ 316 h 316"/>
                <a:gd name="T22" fmla="*/ 118 w 168"/>
                <a:gd name="T23" fmla="*/ 316 h 316"/>
                <a:gd name="T24" fmla="*/ 128 w 168"/>
                <a:gd name="T25" fmla="*/ 302 h 316"/>
                <a:gd name="T26" fmla="*/ 138 w 168"/>
                <a:gd name="T27" fmla="*/ 284 h 316"/>
                <a:gd name="T28" fmla="*/ 148 w 168"/>
                <a:gd name="T29" fmla="*/ 262 h 316"/>
                <a:gd name="T30" fmla="*/ 158 w 168"/>
                <a:gd name="T31" fmla="*/ 234 h 316"/>
                <a:gd name="T32" fmla="*/ 166 w 168"/>
                <a:gd name="T33" fmla="*/ 206 h 316"/>
                <a:gd name="T34" fmla="*/ 168 w 168"/>
                <a:gd name="T35" fmla="*/ 190 h 316"/>
                <a:gd name="T36" fmla="*/ 168 w 168"/>
                <a:gd name="T37" fmla="*/ 174 h 316"/>
                <a:gd name="T38" fmla="*/ 168 w 168"/>
                <a:gd name="T39" fmla="*/ 158 h 316"/>
                <a:gd name="T40" fmla="*/ 164 w 168"/>
                <a:gd name="T41" fmla="*/ 140 h 316"/>
                <a:gd name="T42" fmla="*/ 164 w 168"/>
                <a:gd name="T43" fmla="*/ 140 h 316"/>
                <a:gd name="T44" fmla="*/ 160 w 168"/>
                <a:gd name="T45" fmla="*/ 124 h 316"/>
                <a:gd name="T46" fmla="*/ 154 w 168"/>
                <a:gd name="T47" fmla="*/ 110 h 316"/>
                <a:gd name="T48" fmla="*/ 148 w 168"/>
                <a:gd name="T49" fmla="*/ 96 h 316"/>
                <a:gd name="T50" fmla="*/ 138 w 168"/>
                <a:gd name="T51" fmla="*/ 82 h 316"/>
                <a:gd name="T52" fmla="*/ 120 w 168"/>
                <a:gd name="T53" fmla="*/ 58 h 316"/>
                <a:gd name="T54" fmla="*/ 100 w 168"/>
                <a:gd name="T55" fmla="*/ 38 h 316"/>
                <a:gd name="T56" fmla="*/ 82 w 168"/>
                <a:gd name="T57" fmla="*/ 22 h 316"/>
                <a:gd name="T58" fmla="*/ 66 w 168"/>
                <a:gd name="T59" fmla="*/ 10 h 316"/>
                <a:gd name="T60" fmla="*/ 50 w 168"/>
                <a:gd name="T61" fmla="*/ 0 h 316"/>
                <a:gd name="T62" fmla="*/ 50 w 168"/>
                <a:gd name="T63" fmla="*/ 0 h 316"/>
                <a:gd name="T64" fmla="*/ 40 w 168"/>
                <a:gd name="T65" fmla="*/ 14 h 316"/>
                <a:gd name="T66" fmla="*/ 30 w 168"/>
                <a:gd name="T67" fmla="*/ 32 h 316"/>
                <a:gd name="T68" fmla="*/ 20 w 168"/>
                <a:gd name="T69" fmla="*/ 54 h 316"/>
                <a:gd name="T70" fmla="*/ 10 w 168"/>
                <a:gd name="T71" fmla="*/ 82 h 316"/>
                <a:gd name="T72" fmla="*/ 4 w 168"/>
                <a:gd name="T73" fmla="*/ 110 h 316"/>
                <a:gd name="T74" fmla="*/ 2 w 168"/>
                <a:gd name="T75" fmla="*/ 126 h 316"/>
                <a:gd name="T76" fmla="*/ 0 w 168"/>
                <a:gd name="T77" fmla="*/ 142 h 316"/>
                <a:gd name="T78" fmla="*/ 2 w 168"/>
                <a:gd name="T79" fmla="*/ 158 h 316"/>
                <a:gd name="T80" fmla="*/ 4 w 168"/>
                <a:gd name="T81" fmla="*/ 176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8" h="316">
                  <a:moveTo>
                    <a:pt x="4" y="176"/>
                  </a:moveTo>
                  <a:lnTo>
                    <a:pt x="4" y="176"/>
                  </a:lnTo>
                  <a:lnTo>
                    <a:pt x="8" y="192"/>
                  </a:lnTo>
                  <a:lnTo>
                    <a:pt x="14" y="206"/>
                  </a:lnTo>
                  <a:lnTo>
                    <a:pt x="22" y="220"/>
                  </a:lnTo>
                  <a:lnTo>
                    <a:pt x="30" y="234"/>
                  </a:lnTo>
                  <a:lnTo>
                    <a:pt x="48" y="258"/>
                  </a:lnTo>
                  <a:lnTo>
                    <a:pt x="68" y="278"/>
                  </a:lnTo>
                  <a:lnTo>
                    <a:pt x="88" y="294"/>
                  </a:lnTo>
                  <a:lnTo>
                    <a:pt x="104" y="306"/>
                  </a:lnTo>
                  <a:lnTo>
                    <a:pt x="118" y="316"/>
                  </a:lnTo>
                  <a:lnTo>
                    <a:pt x="118" y="316"/>
                  </a:lnTo>
                  <a:lnTo>
                    <a:pt x="128" y="302"/>
                  </a:lnTo>
                  <a:lnTo>
                    <a:pt x="138" y="284"/>
                  </a:lnTo>
                  <a:lnTo>
                    <a:pt x="148" y="262"/>
                  </a:lnTo>
                  <a:lnTo>
                    <a:pt x="158" y="234"/>
                  </a:lnTo>
                  <a:lnTo>
                    <a:pt x="166" y="206"/>
                  </a:lnTo>
                  <a:lnTo>
                    <a:pt x="168" y="190"/>
                  </a:lnTo>
                  <a:lnTo>
                    <a:pt x="168" y="174"/>
                  </a:lnTo>
                  <a:lnTo>
                    <a:pt x="168" y="158"/>
                  </a:lnTo>
                  <a:lnTo>
                    <a:pt x="164" y="140"/>
                  </a:lnTo>
                  <a:lnTo>
                    <a:pt x="164" y="140"/>
                  </a:lnTo>
                  <a:lnTo>
                    <a:pt x="160" y="124"/>
                  </a:lnTo>
                  <a:lnTo>
                    <a:pt x="154" y="110"/>
                  </a:lnTo>
                  <a:lnTo>
                    <a:pt x="148" y="96"/>
                  </a:lnTo>
                  <a:lnTo>
                    <a:pt x="138" y="82"/>
                  </a:lnTo>
                  <a:lnTo>
                    <a:pt x="120" y="58"/>
                  </a:lnTo>
                  <a:lnTo>
                    <a:pt x="100" y="38"/>
                  </a:lnTo>
                  <a:lnTo>
                    <a:pt x="82" y="22"/>
                  </a:lnTo>
                  <a:lnTo>
                    <a:pt x="66" y="10"/>
                  </a:lnTo>
                  <a:lnTo>
                    <a:pt x="50" y="0"/>
                  </a:lnTo>
                  <a:lnTo>
                    <a:pt x="50" y="0"/>
                  </a:lnTo>
                  <a:lnTo>
                    <a:pt x="40" y="14"/>
                  </a:lnTo>
                  <a:lnTo>
                    <a:pt x="30" y="32"/>
                  </a:lnTo>
                  <a:lnTo>
                    <a:pt x="20" y="54"/>
                  </a:lnTo>
                  <a:lnTo>
                    <a:pt x="10" y="82"/>
                  </a:lnTo>
                  <a:lnTo>
                    <a:pt x="4" y="110"/>
                  </a:lnTo>
                  <a:lnTo>
                    <a:pt x="2" y="126"/>
                  </a:lnTo>
                  <a:lnTo>
                    <a:pt x="0" y="142"/>
                  </a:lnTo>
                  <a:lnTo>
                    <a:pt x="2" y="158"/>
                  </a:lnTo>
                  <a:lnTo>
                    <a:pt x="4" y="176"/>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28" name="Freeform 2051">
              <a:extLst>
                <a:ext uri="{FF2B5EF4-FFF2-40B4-BE49-F238E27FC236}">
                  <a16:creationId xmlns:a16="http://schemas.microsoft.com/office/drawing/2014/main" id="{324617DB-F501-48C6-92EB-867AC9A1FFBD}"/>
                </a:ext>
              </a:extLst>
            </p:cNvPr>
            <p:cNvSpPr>
              <a:spLocks/>
            </p:cNvSpPr>
            <p:nvPr/>
          </p:nvSpPr>
          <p:spPr bwMode="auto">
            <a:xfrm>
              <a:off x="9807882" y="2879254"/>
              <a:ext cx="300163" cy="564592"/>
            </a:xfrm>
            <a:custGeom>
              <a:avLst/>
              <a:gdLst>
                <a:gd name="T0" fmla="*/ 4 w 168"/>
                <a:gd name="T1" fmla="*/ 176 h 316"/>
                <a:gd name="T2" fmla="*/ 4 w 168"/>
                <a:gd name="T3" fmla="*/ 176 h 316"/>
                <a:gd name="T4" fmla="*/ 8 w 168"/>
                <a:gd name="T5" fmla="*/ 192 h 316"/>
                <a:gd name="T6" fmla="*/ 14 w 168"/>
                <a:gd name="T7" fmla="*/ 206 h 316"/>
                <a:gd name="T8" fmla="*/ 22 w 168"/>
                <a:gd name="T9" fmla="*/ 220 h 316"/>
                <a:gd name="T10" fmla="*/ 30 w 168"/>
                <a:gd name="T11" fmla="*/ 234 h 316"/>
                <a:gd name="T12" fmla="*/ 48 w 168"/>
                <a:gd name="T13" fmla="*/ 258 h 316"/>
                <a:gd name="T14" fmla="*/ 68 w 168"/>
                <a:gd name="T15" fmla="*/ 278 h 316"/>
                <a:gd name="T16" fmla="*/ 88 w 168"/>
                <a:gd name="T17" fmla="*/ 294 h 316"/>
                <a:gd name="T18" fmla="*/ 104 w 168"/>
                <a:gd name="T19" fmla="*/ 306 h 316"/>
                <a:gd name="T20" fmla="*/ 118 w 168"/>
                <a:gd name="T21" fmla="*/ 316 h 316"/>
                <a:gd name="T22" fmla="*/ 118 w 168"/>
                <a:gd name="T23" fmla="*/ 316 h 316"/>
                <a:gd name="T24" fmla="*/ 128 w 168"/>
                <a:gd name="T25" fmla="*/ 302 h 316"/>
                <a:gd name="T26" fmla="*/ 138 w 168"/>
                <a:gd name="T27" fmla="*/ 284 h 316"/>
                <a:gd name="T28" fmla="*/ 148 w 168"/>
                <a:gd name="T29" fmla="*/ 262 h 316"/>
                <a:gd name="T30" fmla="*/ 158 w 168"/>
                <a:gd name="T31" fmla="*/ 234 h 316"/>
                <a:gd name="T32" fmla="*/ 166 w 168"/>
                <a:gd name="T33" fmla="*/ 206 h 316"/>
                <a:gd name="T34" fmla="*/ 168 w 168"/>
                <a:gd name="T35" fmla="*/ 190 h 316"/>
                <a:gd name="T36" fmla="*/ 168 w 168"/>
                <a:gd name="T37" fmla="*/ 174 h 316"/>
                <a:gd name="T38" fmla="*/ 168 w 168"/>
                <a:gd name="T39" fmla="*/ 158 h 316"/>
                <a:gd name="T40" fmla="*/ 164 w 168"/>
                <a:gd name="T41" fmla="*/ 140 h 316"/>
                <a:gd name="T42" fmla="*/ 164 w 168"/>
                <a:gd name="T43" fmla="*/ 140 h 316"/>
                <a:gd name="T44" fmla="*/ 160 w 168"/>
                <a:gd name="T45" fmla="*/ 124 h 316"/>
                <a:gd name="T46" fmla="*/ 154 w 168"/>
                <a:gd name="T47" fmla="*/ 110 h 316"/>
                <a:gd name="T48" fmla="*/ 148 w 168"/>
                <a:gd name="T49" fmla="*/ 96 h 316"/>
                <a:gd name="T50" fmla="*/ 138 w 168"/>
                <a:gd name="T51" fmla="*/ 82 h 316"/>
                <a:gd name="T52" fmla="*/ 120 w 168"/>
                <a:gd name="T53" fmla="*/ 58 h 316"/>
                <a:gd name="T54" fmla="*/ 100 w 168"/>
                <a:gd name="T55" fmla="*/ 38 h 316"/>
                <a:gd name="T56" fmla="*/ 82 w 168"/>
                <a:gd name="T57" fmla="*/ 22 h 316"/>
                <a:gd name="T58" fmla="*/ 66 w 168"/>
                <a:gd name="T59" fmla="*/ 10 h 316"/>
                <a:gd name="T60" fmla="*/ 50 w 168"/>
                <a:gd name="T61" fmla="*/ 0 h 316"/>
                <a:gd name="T62" fmla="*/ 50 w 168"/>
                <a:gd name="T63" fmla="*/ 0 h 316"/>
                <a:gd name="T64" fmla="*/ 40 w 168"/>
                <a:gd name="T65" fmla="*/ 14 h 316"/>
                <a:gd name="T66" fmla="*/ 30 w 168"/>
                <a:gd name="T67" fmla="*/ 32 h 316"/>
                <a:gd name="T68" fmla="*/ 20 w 168"/>
                <a:gd name="T69" fmla="*/ 54 h 316"/>
                <a:gd name="T70" fmla="*/ 10 w 168"/>
                <a:gd name="T71" fmla="*/ 82 h 316"/>
                <a:gd name="T72" fmla="*/ 4 w 168"/>
                <a:gd name="T73" fmla="*/ 110 h 316"/>
                <a:gd name="T74" fmla="*/ 2 w 168"/>
                <a:gd name="T75" fmla="*/ 126 h 316"/>
                <a:gd name="T76" fmla="*/ 0 w 168"/>
                <a:gd name="T77" fmla="*/ 142 h 316"/>
                <a:gd name="T78" fmla="*/ 2 w 168"/>
                <a:gd name="T79" fmla="*/ 158 h 316"/>
                <a:gd name="T80" fmla="*/ 4 w 168"/>
                <a:gd name="T81" fmla="*/ 176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8" h="316">
                  <a:moveTo>
                    <a:pt x="4" y="176"/>
                  </a:moveTo>
                  <a:lnTo>
                    <a:pt x="4" y="176"/>
                  </a:lnTo>
                  <a:lnTo>
                    <a:pt x="8" y="192"/>
                  </a:lnTo>
                  <a:lnTo>
                    <a:pt x="14" y="206"/>
                  </a:lnTo>
                  <a:lnTo>
                    <a:pt x="22" y="220"/>
                  </a:lnTo>
                  <a:lnTo>
                    <a:pt x="30" y="234"/>
                  </a:lnTo>
                  <a:lnTo>
                    <a:pt x="48" y="258"/>
                  </a:lnTo>
                  <a:lnTo>
                    <a:pt x="68" y="278"/>
                  </a:lnTo>
                  <a:lnTo>
                    <a:pt x="88" y="294"/>
                  </a:lnTo>
                  <a:lnTo>
                    <a:pt x="104" y="306"/>
                  </a:lnTo>
                  <a:lnTo>
                    <a:pt x="118" y="316"/>
                  </a:lnTo>
                  <a:lnTo>
                    <a:pt x="118" y="316"/>
                  </a:lnTo>
                  <a:lnTo>
                    <a:pt x="128" y="302"/>
                  </a:lnTo>
                  <a:lnTo>
                    <a:pt x="138" y="284"/>
                  </a:lnTo>
                  <a:lnTo>
                    <a:pt x="148" y="262"/>
                  </a:lnTo>
                  <a:lnTo>
                    <a:pt x="158" y="234"/>
                  </a:lnTo>
                  <a:lnTo>
                    <a:pt x="166" y="206"/>
                  </a:lnTo>
                  <a:lnTo>
                    <a:pt x="168" y="190"/>
                  </a:lnTo>
                  <a:lnTo>
                    <a:pt x="168" y="174"/>
                  </a:lnTo>
                  <a:lnTo>
                    <a:pt x="168" y="158"/>
                  </a:lnTo>
                  <a:lnTo>
                    <a:pt x="164" y="140"/>
                  </a:lnTo>
                  <a:lnTo>
                    <a:pt x="164" y="140"/>
                  </a:lnTo>
                  <a:lnTo>
                    <a:pt x="160" y="124"/>
                  </a:lnTo>
                  <a:lnTo>
                    <a:pt x="154" y="110"/>
                  </a:lnTo>
                  <a:lnTo>
                    <a:pt x="148" y="96"/>
                  </a:lnTo>
                  <a:lnTo>
                    <a:pt x="138" y="82"/>
                  </a:lnTo>
                  <a:lnTo>
                    <a:pt x="120" y="58"/>
                  </a:lnTo>
                  <a:lnTo>
                    <a:pt x="100" y="38"/>
                  </a:lnTo>
                  <a:lnTo>
                    <a:pt x="82" y="22"/>
                  </a:lnTo>
                  <a:lnTo>
                    <a:pt x="66" y="10"/>
                  </a:lnTo>
                  <a:lnTo>
                    <a:pt x="50" y="0"/>
                  </a:lnTo>
                  <a:lnTo>
                    <a:pt x="50" y="0"/>
                  </a:lnTo>
                  <a:lnTo>
                    <a:pt x="40" y="14"/>
                  </a:lnTo>
                  <a:lnTo>
                    <a:pt x="30" y="32"/>
                  </a:lnTo>
                  <a:lnTo>
                    <a:pt x="20" y="54"/>
                  </a:lnTo>
                  <a:lnTo>
                    <a:pt x="10" y="82"/>
                  </a:lnTo>
                  <a:lnTo>
                    <a:pt x="4" y="110"/>
                  </a:lnTo>
                  <a:lnTo>
                    <a:pt x="2" y="126"/>
                  </a:lnTo>
                  <a:lnTo>
                    <a:pt x="0" y="142"/>
                  </a:lnTo>
                  <a:lnTo>
                    <a:pt x="2" y="158"/>
                  </a:lnTo>
                  <a:lnTo>
                    <a:pt x="4" y="17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29" name="Freeform 2054">
              <a:extLst>
                <a:ext uri="{FF2B5EF4-FFF2-40B4-BE49-F238E27FC236}">
                  <a16:creationId xmlns:a16="http://schemas.microsoft.com/office/drawing/2014/main" id="{39C639F7-7024-4DFC-A78A-89A8B6A3D1BF}"/>
                </a:ext>
              </a:extLst>
            </p:cNvPr>
            <p:cNvSpPr>
              <a:spLocks/>
            </p:cNvSpPr>
            <p:nvPr/>
          </p:nvSpPr>
          <p:spPr bwMode="auto">
            <a:xfrm>
              <a:off x="10068738" y="2886400"/>
              <a:ext cx="307310" cy="550299"/>
            </a:xfrm>
            <a:custGeom>
              <a:avLst/>
              <a:gdLst>
                <a:gd name="T0" fmla="*/ 8 w 172"/>
                <a:gd name="T1" fmla="*/ 178 h 308"/>
                <a:gd name="T2" fmla="*/ 8 w 172"/>
                <a:gd name="T3" fmla="*/ 178 h 308"/>
                <a:gd name="T4" fmla="*/ 14 w 172"/>
                <a:gd name="T5" fmla="*/ 194 h 308"/>
                <a:gd name="T6" fmla="*/ 20 w 172"/>
                <a:gd name="T7" fmla="*/ 208 h 308"/>
                <a:gd name="T8" fmla="*/ 30 w 172"/>
                <a:gd name="T9" fmla="*/ 222 h 308"/>
                <a:gd name="T10" fmla="*/ 38 w 172"/>
                <a:gd name="T11" fmla="*/ 234 h 308"/>
                <a:gd name="T12" fmla="*/ 60 w 172"/>
                <a:gd name="T13" fmla="*/ 258 h 308"/>
                <a:gd name="T14" fmla="*/ 82 w 172"/>
                <a:gd name="T15" fmla="*/ 276 h 308"/>
                <a:gd name="T16" fmla="*/ 102 w 172"/>
                <a:gd name="T17" fmla="*/ 290 h 308"/>
                <a:gd name="T18" fmla="*/ 118 w 172"/>
                <a:gd name="T19" fmla="*/ 300 h 308"/>
                <a:gd name="T20" fmla="*/ 134 w 172"/>
                <a:gd name="T21" fmla="*/ 308 h 308"/>
                <a:gd name="T22" fmla="*/ 134 w 172"/>
                <a:gd name="T23" fmla="*/ 308 h 308"/>
                <a:gd name="T24" fmla="*/ 142 w 172"/>
                <a:gd name="T25" fmla="*/ 292 h 308"/>
                <a:gd name="T26" fmla="*/ 150 w 172"/>
                <a:gd name="T27" fmla="*/ 274 h 308"/>
                <a:gd name="T28" fmla="*/ 160 w 172"/>
                <a:gd name="T29" fmla="*/ 252 h 308"/>
                <a:gd name="T30" fmla="*/ 166 w 172"/>
                <a:gd name="T31" fmla="*/ 224 h 308"/>
                <a:gd name="T32" fmla="*/ 172 w 172"/>
                <a:gd name="T33" fmla="*/ 194 h 308"/>
                <a:gd name="T34" fmla="*/ 172 w 172"/>
                <a:gd name="T35" fmla="*/ 178 h 308"/>
                <a:gd name="T36" fmla="*/ 170 w 172"/>
                <a:gd name="T37" fmla="*/ 162 h 308"/>
                <a:gd name="T38" fmla="*/ 168 w 172"/>
                <a:gd name="T39" fmla="*/ 146 h 308"/>
                <a:gd name="T40" fmla="*/ 164 w 172"/>
                <a:gd name="T41" fmla="*/ 130 h 308"/>
                <a:gd name="T42" fmla="*/ 164 w 172"/>
                <a:gd name="T43" fmla="*/ 130 h 308"/>
                <a:gd name="T44" fmla="*/ 158 w 172"/>
                <a:gd name="T45" fmla="*/ 114 h 308"/>
                <a:gd name="T46" fmla="*/ 152 w 172"/>
                <a:gd name="T47" fmla="*/ 100 h 308"/>
                <a:gd name="T48" fmla="*/ 142 w 172"/>
                <a:gd name="T49" fmla="*/ 86 h 308"/>
                <a:gd name="T50" fmla="*/ 134 w 172"/>
                <a:gd name="T51" fmla="*/ 74 h 308"/>
                <a:gd name="T52" fmla="*/ 112 w 172"/>
                <a:gd name="T53" fmla="*/ 50 h 308"/>
                <a:gd name="T54" fmla="*/ 92 w 172"/>
                <a:gd name="T55" fmla="*/ 32 h 308"/>
                <a:gd name="T56" fmla="*/ 70 w 172"/>
                <a:gd name="T57" fmla="*/ 18 h 308"/>
                <a:gd name="T58" fmla="*/ 54 w 172"/>
                <a:gd name="T59" fmla="*/ 8 h 308"/>
                <a:gd name="T60" fmla="*/ 38 w 172"/>
                <a:gd name="T61" fmla="*/ 0 h 308"/>
                <a:gd name="T62" fmla="*/ 38 w 172"/>
                <a:gd name="T63" fmla="*/ 0 h 308"/>
                <a:gd name="T64" fmla="*/ 30 w 172"/>
                <a:gd name="T65" fmla="*/ 16 h 308"/>
                <a:gd name="T66" fmla="*/ 22 w 172"/>
                <a:gd name="T67" fmla="*/ 34 h 308"/>
                <a:gd name="T68" fmla="*/ 12 w 172"/>
                <a:gd name="T69" fmla="*/ 56 h 308"/>
                <a:gd name="T70" fmla="*/ 6 w 172"/>
                <a:gd name="T71" fmla="*/ 84 h 308"/>
                <a:gd name="T72" fmla="*/ 2 w 172"/>
                <a:gd name="T73" fmla="*/ 114 h 308"/>
                <a:gd name="T74" fmla="*/ 0 w 172"/>
                <a:gd name="T75" fmla="*/ 130 h 308"/>
                <a:gd name="T76" fmla="*/ 2 w 172"/>
                <a:gd name="T77" fmla="*/ 146 h 308"/>
                <a:gd name="T78" fmla="*/ 4 w 172"/>
                <a:gd name="T79" fmla="*/ 162 h 308"/>
                <a:gd name="T80" fmla="*/ 8 w 172"/>
                <a:gd name="T81" fmla="*/ 178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72" h="308">
                  <a:moveTo>
                    <a:pt x="8" y="178"/>
                  </a:moveTo>
                  <a:lnTo>
                    <a:pt x="8" y="178"/>
                  </a:lnTo>
                  <a:lnTo>
                    <a:pt x="14" y="194"/>
                  </a:lnTo>
                  <a:lnTo>
                    <a:pt x="20" y="208"/>
                  </a:lnTo>
                  <a:lnTo>
                    <a:pt x="30" y="222"/>
                  </a:lnTo>
                  <a:lnTo>
                    <a:pt x="38" y="234"/>
                  </a:lnTo>
                  <a:lnTo>
                    <a:pt x="60" y="258"/>
                  </a:lnTo>
                  <a:lnTo>
                    <a:pt x="82" y="276"/>
                  </a:lnTo>
                  <a:lnTo>
                    <a:pt x="102" y="290"/>
                  </a:lnTo>
                  <a:lnTo>
                    <a:pt x="118" y="300"/>
                  </a:lnTo>
                  <a:lnTo>
                    <a:pt x="134" y="308"/>
                  </a:lnTo>
                  <a:lnTo>
                    <a:pt x="134" y="308"/>
                  </a:lnTo>
                  <a:lnTo>
                    <a:pt x="142" y="292"/>
                  </a:lnTo>
                  <a:lnTo>
                    <a:pt x="150" y="274"/>
                  </a:lnTo>
                  <a:lnTo>
                    <a:pt x="160" y="252"/>
                  </a:lnTo>
                  <a:lnTo>
                    <a:pt x="166" y="224"/>
                  </a:lnTo>
                  <a:lnTo>
                    <a:pt x="172" y="194"/>
                  </a:lnTo>
                  <a:lnTo>
                    <a:pt x="172" y="178"/>
                  </a:lnTo>
                  <a:lnTo>
                    <a:pt x="170" y="162"/>
                  </a:lnTo>
                  <a:lnTo>
                    <a:pt x="168" y="146"/>
                  </a:lnTo>
                  <a:lnTo>
                    <a:pt x="164" y="130"/>
                  </a:lnTo>
                  <a:lnTo>
                    <a:pt x="164" y="130"/>
                  </a:lnTo>
                  <a:lnTo>
                    <a:pt x="158" y="114"/>
                  </a:lnTo>
                  <a:lnTo>
                    <a:pt x="152" y="100"/>
                  </a:lnTo>
                  <a:lnTo>
                    <a:pt x="142" y="86"/>
                  </a:lnTo>
                  <a:lnTo>
                    <a:pt x="134" y="74"/>
                  </a:lnTo>
                  <a:lnTo>
                    <a:pt x="112" y="50"/>
                  </a:lnTo>
                  <a:lnTo>
                    <a:pt x="92" y="32"/>
                  </a:lnTo>
                  <a:lnTo>
                    <a:pt x="70" y="18"/>
                  </a:lnTo>
                  <a:lnTo>
                    <a:pt x="54" y="8"/>
                  </a:lnTo>
                  <a:lnTo>
                    <a:pt x="38" y="0"/>
                  </a:lnTo>
                  <a:lnTo>
                    <a:pt x="38" y="0"/>
                  </a:lnTo>
                  <a:lnTo>
                    <a:pt x="30" y="16"/>
                  </a:lnTo>
                  <a:lnTo>
                    <a:pt x="22" y="34"/>
                  </a:lnTo>
                  <a:lnTo>
                    <a:pt x="12" y="56"/>
                  </a:lnTo>
                  <a:lnTo>
                    <a:pt x="6" y="84"/>
                  </a:lnTo>
                  <a:lnTo>
                    <a:pt x="2" y="114"/>
                  </a:lnTo>
                  <a:lnTo>
                    <a:pt x="0" y="130"/>
                  </a:lnTo>
                  <a:lnTo>
                    <a:pt x="2" y="146"/>
                  </a:lnTo>
                  <a:lnTo>
                    <a:pt x="4" y="162"/>
                  </a:lnTo>
                  <a:lnTo>
                    <a:pt x="8" y="178"/>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30" name="Freeform 2055">
              <a:extLst>
                <a:ext uri="{FF2B5EF4-FFF2-40B4-BE49-F238E27FC236}">
                  <a16:creationId xmlns:a16="http://schemas.microsoft.com/office/drawing/2014/main" id="{4132EE7D-7318-40D2-89DA-46748928A80E}"/>
                </a:ext>
              </a:extLst>
            </p:cNvPr>
            <p:cNvSpPr>
              <a:spLocks/>
            </p:cNvSpPr>
            <p:nvPr/>
          </p:nvSpPr>
          <p:spPr bwMode="auto">
            <a:xfrm>
              <a:off x="10068738" y="2886400"/>
              <a:ext cx="307310" cy="550299"/>
            </a:xfrm>
            <a:custGeom>
              <a:avLst/>
              <a:gdLst>
                <a:gd name="T0" fmla="*/ 8 w 172"/>
                <a:gd name="T1" fmla="*/ 178 h 308"/>
                <a:gd name="T2" fmla="*/ 8 w 172"/>
                <a:gd name="T3" fmla="*/ 178 h 308"/>
                <a:gd name="T4" fmla="*/ 14 w 172"/>
                <a:gd name="T5" fmla="*/ 194 h 308"/>
                <a:gd name="T6" fmla="*/ 20 w 172"/>
                <a:gd name="T7" fmla="*/ 208 h 308"/>
                <a:gd name="T8" fmla="*/ 30 w 172"/>
                <a:gd name="T9" fmla="*/ 222 h 308"/>
                <a:gd name="T10" fmla="*/ 38 w 172"/>
                <a:gd name="T11" fmla="*/ 234 h 308"/>
                <a:gd name="T12" fmla="*/ 60 w 172"/>
                <a:gd name="T13" fmla="*/ 258 h 308"/>
                <a:gd name="T14" fmla="*/ 82 w 172"/>
                <a:gd name="T15" fmla="*/ 276 h 308"/>
                <a:gd name="T16" fmla="*/ 102 w 172"/>
                <a:gd name="T17" fmla="*/ 290 h 308"/>
                <a:gd name="T18" fmla="*/ 118 w 172"/>
                <a:gd name="T19" fmla="*/ 300 h 308"/>
                <a:gd name="T20" fmla="*/ 134 w 172"/>
                <a:gd name="T21" fmla="*/ 308 h 308"/>
                <a:gd name="T22" fmla="*/ 134 w 172"/>
                <a:gd name="T23" fmla="*/ 308 h 308"/>
                <a:gd name="T24" fmla="*/ 142 w 172"/>
                <a:gd name="T25" fmla="*/ 292 h 308"/>
                <a:gd name="T26" fmla="*/ 150 w 172"/>
                <a:gd name="T27" fmla="*/ 274 h 308"/>
                <a:gd name="T28" fmla="*/ 160 w 172"/>
                <a:gd name="T29" fmla="*/ 252 h 308"/>
                <a:gd name="T30" fmla="*/ 166 w 172"/>
                <a:gd name="T31" fmla="*/ 224 h 308"/>
                <a:gd name="T32" fmla="*/ 172 w 172"/>
                <a:gd name="T33" fmla="*/ 194 h 308"/>
                <a:gd name="T34" fmla="*/ 172 w 172"/>
                <a:gd name="T35" fmla="*/ 178 h 308"/>
                <a:gd name="T36" fmla="*/ 170 w 172"/>
                <a:gd name="T37" fmla="*/ 162 h 308"/>
                <a:gd name="T38" fmla="*/ 168 w 172"/>
                <a:gd name="T39" fmla="*/ 146 h 308"/>
                <a:gd name="T40" fmla="*/ 164 w 172"/>
                <a:gd name="T41" fmla="*/ 130 h 308"/>
                <a:gd name="T42" fmla="*/ 164 w 172"/>
                <a:gd name="T43" fmla="*/ 130 h 308"/>
                <a:gd name="T44" fmla="*/ 158 w 172"/>
                <a:gd name="T45" fmla="*/ 114 h 308"/>
                <a:gd name="T46" fmla="*/ 152 w 172"/>
                <a:gd name="T47" fmla="*/ 100 h 308"/>
                <a:gd name="T48" fmla="*/ 142 w 172"/>
                <a:gd name="T49" fmla="*/ 86 h 308"/>
                <a:gd name="T50" fmla="*/ 134 w 172"/>
                <a:gd name="T51" fmla="*/ 74 h 308"/>
                <a:gd name="T52" fmla="*/ 112 w 172"/>
                <a:gd name="T53" fmla="*/ 50 h 308"/>
                <a:gd name="T54" fmla="*/ 92 w 172"/>
                <a:gd name="T55" fmla="*/ 32 h 308"/>
                <a:gd name="T56" fmla="*/ 70 w 172"/>
                <a:gd name="T57" fmla="*/ 18 h 308"/>
                <a:gd name="T58" fmla="*/ 54 w 172"/>
                <a:gd name="T59" fmla="*/ 8 h 308"/>
                <a:gd name="T60" fmla="*/ 38 w 172"/>
                <a:gd name="T61" fmla="*/ 0 h 308"/>
                <a:gd name="T62" fmla="*/ 38 w 172"/>
                <a:gd name="T63" fmla="*/ 0 h 308"/>
                <a:gd name="T64" fmla="*/ 30 w 172"/>
                <a:gd name="T65" fmla="*/ 16 h 308"/>
                <a:gd name="T66" fmla="*/ 22 w 172"/>
                <a:gd name="T67" fmla="*/ 34 h 308"/>
                <a:gd name="T68" fmla="*/ 12 w 172"/>
                <a:gd name="T69" fmla="*/ 56 h 308"/>
                <a:gd name="T70" fmla="*/ 6 w 172"/>
                <a:gd name="T71" fmla="*/ 84 h 308"/>
                <a:gd name="T72" fmla="*/ 2 w 172"/>
                <a:gd name="T73" fmla="*/ 114 h 308"/>
                <a:gd name="T74" fmla="*/ 0 w 172"/>
                <a:gd name="T75" fmla="*/ 130 h 308"/>
                <a:gd name="T76" fmla="*/ 2 w 172"/>
                <a:gd name="T77" fmla="*/ 146 h 308"/>
                <a:gd name="T78" fmla="*/ 4 w 172"/>
                <a:gd name="T79" fmla="*/ 162 h 308"/>
                <a:gd name="T80" fmla="*/ 8 w 172"/>
                <a:gd name="T81" fmla="*/ 178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72" h="308">
                  <a:moveTo>
                    <a:pt x="8" y="178"/>
                  </a:moveTo>
                  <a:lnTo>
                    <a:pt x="8" y="178"/>
                  </a:lnTo>
                  <a:lnTo>
                    <a:pt x="14" y="194"/>
                  </a:lnTo>
                  <a:lnTo>
                    <a:pt x="20" y="208"/>
                  </a:lnTo>
                  <a:lnTo>
                    <a:pt x="30" y="222"/>
                  </a:lnTo>
                  <a:lnTo>
                    <a:pt x="38" y="234"/>
                  </a:lnTo>
                  <a:lnTo>
                    <a:pt x="60" y="258"/>
                  </a:lnTo>
                  <a:lnTo>
                    <a:pt x="82" y="276"/>
                  </a:lnTo>
                  <a:lnTo>
                    <a:pt x="102" y="290"/>
                  </a:lnTo>
                  <a:lnTo>
                    <a:pt x="118" y="300"/>
                  </a:lnTo>
                  <a:lnTo>
                    <a:pt x="134" y="308"/>
                  </a:lnTo>
                  <a:lnTo>
                    <a:pt x="134" y="308"/>
                  </a:lnTo>
                  <a:lnTo>
                    <a:pt x="142" y="292"/>
                  </a:lnTo>
                  <a:lnTo>
                    <a:pt x="150" y="274"/>
                  </a:lnTo>
                  <a:lnTo>
                    <a:pt x="160" y="252"/>
                  </a:lnTo>
                  <a:lnTo>
                    <a:pt x="166" y="224"/>
                  </a:lnTo>
                  <a:lnTo>
                    <a:pt x="172" y="194"/>
                  </a:lnTo>
                  <a:lnTo>
                    <a:pt x="172" y="178"/>
                  </a:lnTo>
                  <a:lnTo>
                    <a:pt x="170" y="162"/>
                  </a:lnTo>
                  <a:lnTo>
                    <a:pt x="168" y="146"/>
                  </a:lnTo>
                  <a:lnTo>
                    <a:pt x="164" y="130"/>
                  </a:lnTo>
                  <a:lnTo>
                    <a:pt x="164" y="130"/>
                  </a:lnTo>
                  <a:lnTo>
                    <a:pt x="158" y="114"/>
                  </a:lnTo>
                  <a:lnTo>
                    <a:pt x="152" y="100"/>
                  </a:lnTo>
                  <a:lnTo>
                    <a:pt x="142" y="86"/>
                  </a:lnTo>
                  <a:lnTo>
                    <a:pt x="134" y="74"/>
                  </a:lnTo>
                  <a:lnTo>
                    <a:pt x="112" y="50"/>
                  </a:lnTo>
                  <a:lnTo>
                    <a:pt x="92" y="32"/>
                  </a:lnTo>
                  <a:lnTo>
                    <a:pt x="70" y="18"/>
                  </a:lnTo>
                  <a:lnTo>
                    <a:pt x="54" y="8"/>
                  </a:lnTo>
                  <a:lnTo>
                    <a:pt x="38" y="0"/>
                  </a:lnTo>
                  <a:lnTo>
                    <a:pt x="38" y="0"/>
                  </a:lnTo>
                  <a:lnTo>
                    <a:pt x="30" y="16"/>
                  </a:lnTo>
                  <a:lnTo>
                    <a:pt x="22" y="34"/>
                  </a:lnTo>
                  <a:lnTo>
                    <a:pt x="12" y="56"/>
                  </a:lnTo>
                  <a:lnTo>
                    <a:pt x="6" y="84"/>
                  </a:lnTo>
                  <a:lnTo>
                    <a:pt x="2" y="114"/>
                  </a:lnTo>
                  <a:lnTo>
                    <a:pt x="0" y="130"/>
                  </a:lnTo>
                  <a:lnTo>
                    <a:pt x="2" y="146"/>
                  </a:lnTo>
                  <a:lnTo>
                    <a:pt x="4" y="162"/>
                  </a:lnTo>
                  <a:lnTo>
                    <a:pt x="8" y="17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31" name="Freeform 2058">
              <a:extLst>
                <a:ext uri="{FF2B5EF4-FFF2-40B4-BE49-F238E27FC236}">
                  <a16:creationId xmlns:a16="http://schemas.microsoft.com/office/drawing/2014/main" id="{0597ACDA-4DF6-421F-90D4-395E61B82211}"/>
                </a:ext>
              </a:extLst>
            </p:cNvPr>
            <p:cNvSpPr>
              <a:spLocks/>
            </p:cNvSpPr>
            <p:nvPr/>
          </p:nvSpPr>
          <p:spPr bwMode="auto">
            <a:xfrm>
              <a:off x="9443398" y="2990028"/>
              <a:ext cx="303736" cy="553872"/>
            </a:xfrm>
            <a:custGeom>
              <a:avLst/>
              <a:gdLst>
                <a:gd name="T0" fmla="*/ 6 w 170"/>
                <a:gd name="T1" fmla="*/ 130 h 310"/>
                <a:gd name="T2" fmla="*/ 6 w 170"/>
                <a:gd name="T3" fmla="*/ 130 h 310"/>
                <a:gd name="T4" fmla="*/ 2 w 170"/>
                <a:gd name="T5" fmla="*/ 148 h 310"/>
                <a:gd name="T6" fmla="*/ 0 w 170"/>
                <a:gd name="T7" fmla="*/ 164 h 310"/>
                <a:gd name="T8" fmla="*/ 0 w 170"/>
                <a:gd name="T9" fmla="*/ 180 h 310"/>
                <a:gd name="T10" fmla="*/ 0 w 170"/>
                <a:gd name="T11" fmla="*/ 196 h 310"/>
                <a:gd name="T12" fmla="*/ 4 w 170"/>
                <a:gd name="T13" fmla="*/ 226 h 310"/>
                <a:gd name="T14" fmla="*/ 12 w 170"/>
                <a:gd name="T15" fmla="*/ 252 h 310"/>
                <a:gd name="T16" fmla="*/ 20 w 170"/>
                <a:gd name="T17" fmla="*/ 276 h 310"/>
                <a:gd name="T18" fmla="*/ 30 w 170"/>
                <a:gd name="T19" fmla="*/ 294 h 310"/>
                <a:gd name="T20" fmla="*/ 38 w 170"/>
                <a:gd name="T21" fmla="*/ 310 h 310"/>
                <a:gd name="T22" fmla="*/ 38 w 170"/>
                <a:gd name="T23" fmla="*/ 310 h 310"/>
                <a:gd name="T24" fmla="*/ 54 w 170"/>
                <a:gd name="T25" fmla="*/ 302 h 310"/>
                <a:gd name="T26" fmla="*/ 70 w 170"/>
                <a:gd name="T27" fmla="*/ 290 h 310"/>
                <a:gd name="T28" fmla="*/ 90 w 170"/>
                <a:gd name="T29" fmla="*/ 276 h 310"/>
                <a:gd name="T30" fmla="*/ 112 w 170"/>
                <a:gd name="T31" fmla="*/ 258 h 310"/>
                <a:gd name="T32" fmla="*/ 132 w 170"/>
                <a:gd name="T33" fmla="*/ 236 h 310"/>
                <a:gd name="T34" fmla="*/ 142 w 170"/>
                <a:gd name="T35" fmla="*/ 222 h 310"/>
                <a:gd name="T36" fmla="*/ 150 w 170"/>
                <a:gd name="T37" fmla="*/ 208 h 310"/>
                <a:gd name="T38" fmla="*/ 158 w 170"/>
                <a:gd name="T39" fmla="*/ 194 h 310"/>
                <a:gd name="T40" fmla="*/ 164 w 170"/>
                <a:gd name="T41" fmla="*/ 178 h 310"/>
                <a:gd name="T42" fmla="*/ 164 w 170"/>
                <a:gd name="T43" fmla="*/ 178 h 310"/>
                <a:gd name="T44" fmla="*/ 166 w 170"/>
                <a:gd name="T45" fmla="*/ 162 h 310"/>
                <a:gd name="T46" fmla="*/ 170 w 170"/>
                <a:gd name="T47" fmla="*/ 146 h 310"/>
                <a:gd name="T48" fmla="*/ 170 w 170"/>
                <a:gd name="T49" fmla="*/ 130 h 310"/>
                <a:gd name="T50" fmla="*/ 170 w 170"/>
                <a:gd name="T51" fmla="*/ 114 h 310"/>
                <a:gd name="T52" fmla="*/ 164 w 170"/>
                <a:gd name="T53" fmla="*/ 84 h 310"/>
                <a:gd name="T54" fmla="*/ 156 w 170"/>
                <a:gd name="T55" fmla="*/ 56 h 310"/>
                <a:gd name="T56" fmla="*/ 148 w 170"/>
                <a:gd name="T57" fmla="*/ 34 h 310"/>
                <a:gd name="T58" fmla="*/ 140 w 170"/>
                <a:gd name="T59" fmla="*/ 16 h 310"/>
                <a:gd name="T60" fmla="*/ 132 w 170"/>
                <a:gd name="T61" fmla="*/ 0 h 310"/>
                <a:gd name="T62" fmla="*/ 132 w 170"/>
                <a:gd name="T63" fmla="*/ 0 h 310"/>
                <a:gd name="T64" fmla="*/ 116 w 170"/>
                <a:gd name="T65" fmla="*/ 8 h 310"/>
                <a:gd name="T66" fmla="*/ 98 w 170"/>
                <a:gd name="T67" fmla="*/ 18 h 310"/>
                <a:gd name="T68" fmla="*/ 78 w 170"/>
                <a:gd name="T69" fmla="*/ 34 h 310"/>
                <a:gd name="T70" fmla="*/ 58 w 170"/>
                <a:gd name="T71" fmla="*/ 52 h 310"/>
                <a:gd name="T72" fmla="*/ 36 w 170"/>
                <a:gd name="T73" fmla="*/ 74 h 310"/>
                <a:gd name="T74" fmla="*/ 28 w 170"/>
                <a:gd name="T75" fmla="*/ 86 h 310"/>
                <a:gd name="T76" fmla="*/ 18 w 170"/>
                <a:gd name="T77" fmla="*/ 100 h 310"/>
                <a:gd name="T78" fmla="*/ 12 w 170"/>
                <a:gd name="T79" fmla="*/ 116 h 310"/>
                <a:gd name="T80" fmla="*/ 6 w 170"/>
                <a:gd name="T81" fmla="*/ 130 h 310"/>
                <a:gd name="T82" fmla="*/ 6 w 170"/>
                <a:gd name="T83" fmla="*/ 130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70" h="310">
                  <a:moveTo>
                    <a:pt x="6" y="130"/>
                  </a:moveTo>
                  <a:lnTo>
                    <a:pt x="6" y="130"/>
                  </a:lnTo>
                  <a:lnTo>
                    <a:pt x="2" y="148"/>
                  </a:lnTo>
                  <a:lnTo>
                    <a:pt x="0" y="164"/>
                  </a:lnTo>
                  <a:lnTo>
                    <a:pt x="0" y="180"/>
                  </a:lnTo>
                  <a:lnTo>
                    <a:pt x="0" y="196"/>
                  </a:lnTo>
                  <a:lnTo>
                    <a:pt x="4" y="226"/>
                  </a:lnTo>
                  <a:lnTo>
                    <a:pt x="12" y="252"/>
                  </a:lnTo>
                  <a:lnTo>
                    <a:pt x="20" y="276"/>
                  </a:lnTo>
                  <a:lnTo>
                    <a:pt x="30" y="294"/>
                  </a:lnTo>
                  <a:lnTo>
                    <a:pt x="38" y="310"/>
                  </a:lnTo>
                  <a:lnTo>
                    <a:pt x="38" y="310"/>
                  </a:lnTo>
                  <a:lnTo>
                    <a:pt x="54" y="302"/>
                  </a:lnTo>
                  <a:lnTo>
                    <a:pt x="70" y="290"/>
                  </a:lnTo>
                  <a:lnTo>
                    <a:pt x="90" y="276"/>
                  </a:lnTo>
                  <a:lnTo>
                    <a:pt x="112" y="258"/>
                  </a:lnTo>
                  <a:lnTo>
                    <a:pt x="132" y="236"/>
                  </a:lnTo>
                  <a:lnTo>
                    <a:pt x="142" y="222"/>
                  </a:lnTo>
                  <a:lnTo>
                    <a:pt x="150" y="208"/>
                  </a:lnTo>
                  <a:lnTo>
                    <a:pt x="158" y="194"/>
                  </a:lnTo>
                  <a:lnTo>
                    <a:pt x="164" y="178"/>
                  </a:lnTo>
                  <a:lnTo>
                    <a:pt x="164" y="178"/>
                  </a:lnTo>
                  <a:lnTo>
                    <a:pt x="166" y="162"/>
                  </a:lnTo>
                  <a:lnTo>
                    <a:pt x="170" y="146"/>
                  </a:lnTo>
                  <a:lnTo>
                    <a:pt x="170" y="130"/>
                  </a:lnTo>
                  <a:lnTo>
                    <a:pt x="170" y="114"/>
                  </a:lnTo>
                  <a:lnTo>
                    <a:pt x="164" y="84"/>
                  </a:lnTo>
                  <a:lnTo>
                    <a:pt x="156" y="56"/>
                  </a:lnTo>
                  <a:lnTo>
                    <a:pt x="148" y="34"/>
                  </a:lnTo>
                  <a:lnTo>
                    <a:pt x="140" y="16"/>
                  </a:lnTo>
                  <a:lnTo>
                    <a:pt x="132" y="0"/>
                  </a:lnTo>
                  <a:lnTo>
                    <a:pt x="132" y="0"/>
                  </a:lnTo>
                  <a:lnTo>
                    <a:pt x="116" y="8"/>
                  </a:lnTo>
                  <a:lnTo>
                    <a:pt x="98" y="18"/>
                  </a:lnTo>
                  <a:lnTo>
                    <a:pt x="78" y="34"/>
                  </a:lnTo>
                  <a:lnTo>
                    <a:pt x="58" y="52"/>
                  </a:lnTo>
                  <a:lnTo>
                    <a:pt x="36" y="74"/>
                  </a:lnTo>
                  <a:lnTo>
                    <a:pt x="28" y="86"/>
                  </a:lnTo>
                  <a:lnTo>
                    <a:pt x="18" y="100"/>
                  </a:lnTo>
                  <a:lnTo>
                    <a:pt x="12" y="116"/>
                  </a:lnTo>
                  <a:lnTo>
                    <a:pt x="6" y="130"/>
                  </a:lnTo>
                  <a:lnTo>
                    <a:pt x="6" y="13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32" name="Freeform 2060">
              <a:extLst>
                <a:ext uri="{FF2B5EF4-FFF2-40B4-BE49-F238E27FC236}">
                  <a16:creationId xmlns:a16="http://schemas.microsoft.com/office/drawing/2014/main" id="{815A549B-98E2-4321-BCEF-CCA384DE8F60}"/>
                </a:ext>
              </a:extLst>
            </p:cNvPr>
            <p:cNvSpPr>
              <a:spLocks/>
            </p:cNvSpPr>
            <p:nvPr/>
          </p:nvSpPr>
          <p:spPr bwMode="auto">
            <a:xfrm>
              <a:off x="9429105" y="2972161"/>
              <a:ext cx="332323" cy="589606"/>
            </a:xfrm>
            <a:custGeom>
              <a:avLst/>
              <a:gdLst>
                <a:gd name="T0" fmla="*/ 6 w 186"/>
                <a:gd name="T1" fmla="*/ 138 h 330"/>
                <a:gd name="T2" fmla="*/ 0 w 186"/>
                <a:gd name="T3" fmla="*/ 164 h 330"/>
                <a:gd name="T4" fmla="*/ 0 w 186"/>
                <a:gd name="T5" fmla="*/ 188 h 330"/>
                <a:gd name="T6" fmla="*/ 6 w 186"/>
                <a:gd name="T7" fmla="*/ 240 h 330"/>
                <a:gd name="T8" fmla="*/ 20 w 186"/>
                <a:gd name="T9" fmla="*/ 284 h 330"/>
                <a:gd name="T10" fmla="*/ 32 w 186"/>
                <a:gd name="T11" fmla="*/ 312 h 330"/>
                <a:gd name="T12" fmla="*/ 42 w 186"/>
                <a:gd name="T13" fmla="*/ 330 h 330"/>
                <a:gd name="T14" fmla="*/ 50 w 186"/>
                <a:gd name="T15" fmla="*/ 328 h 330"/>
                <a:gd name="T16" fmla="*/ 84 w 186"/>
                <a:gd name="T17" fmla="*/ 308 h 330"/>
                <a:gd name="T18" fmla="*/ 104 w 186"/>
                <a:gd name="T19" fmla="*/ 292 h 330"/>
                <a:gd name="T20" fmla="*/ 146 w 186"/>
                <a:gd name="T21" fmla="*/ 250 h 330"/>
                <a:gd name="T22" fmla="*/ 166 w 186"/>
                <a:gd name="T23" fmla="*/ 222 h 330"/>
                <a:gd name="T24" fmla="*/ 178 w 186"/>
                <a:gd name="T25" fmla="*/ 190 h 330"/>
                <a:gd name="T26" fmla="*/ 184 w 186"/>
                <a:gd name="T27" fmla="*/ 166 h 330"/>
                <a:gd name="T28" fmla="*/ 186 w 186"/>
                <a:gd name="T29" fmla="*/ 142 h 330"/>
                <a:gd name="T30" fmla="*/ 180 w 186"/>
                <a:gd name="T31" fmla="*/ 90 h 330"/>
                <a:gd name="T32" fmla="*/ 166 w 186"/>
                <a:gd name="T33" fmla="*/ 46 h 330"/>
                <a:gd name="T34" fmla="*/ 152 w 186"/>
                <a:gd name="T35" fmla="*/ 16 h 330"/>
                <a:gd name="T36" fmla="*/ 142 w 186"/>
                <a:gd name="T37" fmla="*/ 0 h 330"/>
                <a:gd name="T38" fmla="*/ 136 w 186"/>
                <a:gd name="T39" fmla="*/ 2 h 330"/>
                <a:gd name="T40" fmla="*/ 102 w 186"/>
                <a:gd name="T41" fmla="*/ 22 h 330"/>
                <a:gd name="T42" fmla="*/ 82 w 186"/>
                <a:gd name="T43" fmla="*/ 36 h 330"/>
                <a:gd name="T44" fmla="*/ 38 w 186"/>
                <a:gd name="T45" fmla="*/ 80 h 330"/>
                <a:gd name="T46" fmla="*/ 20 w 186"/>
                <a:gd name="T47" fmla="*/ 106 h 330"/>
                <a:gd name="T48" fmla="*/ 6 w 186"/>
                <a:gd name="T49" fmla="*/ 138 h 330"/>
                <a:gd name="T50" fmla="*/ 22 w 186"/>
                <a:gd name="T51" fmla="*/ 144 h 330"/>
                <a:gd name="T52" fmla="*/ 26 w 186"/>
                <a:gd name="T53" fmla="*/ 128 h 330"/>
                <a:gd name="T54" fmla="*/ 42 w 186"/>
                <a:gd name="T55" fmla="*/ 102 h 330"/>
                <a:gd name="T56" fmla="*/ 70 w 186"/>
                <a:gd name="T57" fmla="*/ 68 h 330"/>
                <a:gd name="T58" fmla="*/ 92 w 186"/>
                <a:gd name="T59" fmla="*/ 50 h 330"/>
                <a:gd name="T60" fmla="*/ 128 w 186"/>
                <a:gd name="T61" fmla="*/ 24 h 330"/>
                <a:gd name="T62" fmla="*/ 138 w 186"/>
                <a:gd name="T63" fmla="*/ 18 h 330"/>
                <a:gd name="T64" fmla="*/ 142 w 186"/>
                <a:gd name="T65" fmla="*/ 18 h 330"/>
                <a:gd name="T66" fmla="*/ 142 w 186"/>
                <a:gd name="T67" fmla="*/ 16 h 330"/>
                <a:gd name="T68" fmla="*/ 132 w 186"/>
                <a:gd name="T69" fmla="*/ 14 h 330"/>
                <a:gd name="T70" fmla="*/ 132 w 186"/>
                <a:gd name="T71" fmla="*/ 14 h 330"/>
                <a:gd name="T72" fmla="*/ 152 w 186"/>
                <a:gd name="T73" fmla="*/ 54 h 330"/>
                <a:gd name="T74" fmla="*/ 158 w 186"/>
                <a:gd name="T75" fmla="*/ 74 h 330"/>
                <a:gd name="T76" fmla="*/ 168 w 186"/>
                <a:gd name="T77" fmla="*/ 118 h 330"/>
                <a:gd name="T78" fmla="*/ 170 w 186"/>
                <a:gd name="T79" fmla="*/ 142 h 330"/>
                <a:gd name="T80" fmla="*/ 164 w 186"/>
                <a:gd name="T81" fmla="*/ 186 h 330"/>
                <a:gd name="T82" fmla="*/ 158 w 186"/>
                <a:gd name="T83" fmla="*/ 200 h 330"/>
                <a:gd name="T84" fmla="*/ 144 w 186"/>
                <a:gd name="T85" fmla="*/ 228 h 330"/>
                <a:gd name="T86" fmla="*/ 114 w 186"/>
                <a:gd name="T87" fmla="*/ 262 h 330"/>
                <a:gd name="T88" fmla="*/ 94 w 186"/>
                <a:gd name="T89" fmla="*/ 280 h 330"/>
                <a:gd name="T90" fmla="*/ 58 w 186"/>
                <a:gd name="T91" fmla="*/ 304 h 330"/>
                <a:gd name="T92" fmla="*/ 46 w 186"/>
                <a:gd name="T93" fmla="*/ 310 h 330"/>
                <a:gd name="T94" fmla="*/ 44 w 186"/>
                <a:gd name="T95" fmla="*/ 312 h 330"/>
                <a:gd name="T96" fmla="*/ 42 w 186"/>
                <a:gd name="T97" fmla="*/ 312 h 330"/>
                <a:gd name="T98" fmla="*/ 52 w 186"/>
                <a:gd name="T99" fmla="*/ 316 h 330"/>
                <a:gd name="T100" fmla="*/ 52 w 186"/>
                <a:gd name="T101" fmla="*/ 316 h 330"/>
                <a:gd name="T102" fmla="*/ 34 w 186"/>
                <a:gd name="T103" fmla="*/ 274 h 330"/>
                <a:gd name="T104" fmla="*/ 26 w 186"/>
                <a:gd name="T105" fmla="*/ 256 h 330"/>
                <a:gd name="T106" fmla="*/ 16 w 186"/>
                <a:gd name="T107" fmla="*/ 212 h 330"/>
                <a:gd name="T108" fmla="*/ 16 w 186"/>
                <a:gd name="T109" fmla="*/ 188 h 330"/>
                <a:gd name="T110" fmla="*/ 22 w 186"/>
                <a:gd name="T111" fmla="*/ 144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86" h="330">
                  <a:moveTo>
                    <a:pt x="14" y="140"/>
                  </a:moveTo>
                  <a:lnTo>
                    <a:pt x="6" y="138"/>
                  </a:lnTo>
                  <a:lnTo>
                    <a:pt x="6" y="138"/>
                  </a:lnTo>
                  <a:lnTo>
                    <a:pt x="0" y="164"/>
                  </a:lnTo>
                  <a:lnTo>
                    <a:pt x="0" y="188"/>
                  </a:lnTo>
                  <a:lnTo>
                    <a:pt x="0" y="188"/>
                  </a:lnTo>
                  <a:lnTo>
                    <a:pt x="0" y="214"/>
                  </a:lnTo>
                  <a:lnTo>
                    <a:pt x="6" y="240"/>
                  </a:lnTo>
                  <a:lnTo>
                    <a:pt x="12" y="262"/>
                  </a:lnTo>
                  <a:lnTo>
                    <a:pt x="20" y="284"/>
                  </a:lnTo>
                  <a:lnTo>
                    <a:pt x="20" y="284"/>
                  </a:lnTo>
                  <a:lnTo>
                    <a:pt x="32" y="312"/>
                  </a:lnTo>
                  <a:lnTo>
                    <a:pt x="38" y="324"/>
                  </a:lnTo>
                  <a:lnTo>
                    <a:pt x="42" y="330"/>
                  </a:lnTo>
                  <a:lnTo>
                    <a:pt x="50" y="328"/>
                  </a:lnTo>
                  <a:lnTo>
                    <a:pt x="50" y="328"/>
                  </a:lnTo>
                  <a:lnTo>
                    <a:pt x="66" y="318"/>
                  </a:lnTo>
                  <a:lnTo>
                    <a:pt x="84" y="308"/>
                  </a:lnTo>
                  <a:lnTo>
                    <a:pt x="104" y="292"/>
                  </a:lnTo>
                  <a:lnTo>
                    <a:pt x="104" y="292"/>
                  </a:lnTo>
                  <a:lnTo>
                    <a:pt x="126" y="274"/>
                  </a:lnTo>
                  <a:lnTo>
                    <a:pt x="146" y="250"/>
                  </a:lnTo>
                  <a:lnTo>
                    <a:pt x="156" y="236"/>
                  </a:lnTo>
                  <a:lnTo>
                    <a:pt x="166" y="222"/>
                  </a:lnTo>
                  <a:lnTo>
                    <a:pt x="172" y="208"/>
                  </a:lnTo>
                  <a:lnTo>
                    <a:pt x="178" y="190"/>
                  </a:lnTo>
                  <a:lnTo>
                    <a:pt x="178" y="190"/>
                  </a:lnTo>
                  <a:lnTo>
                    <a:pt x="184" y="166"/>
                  </a:lnTo>
                  <a:lnTo>
                    <a:pt x="186" y="142"/>
                  </a:lnTo>
                  <a:lnTo>
                    <a:pt x="186" y="142"/>
                  </a:lnTo>
                  <a:lnTo>
                    <a:pt x="184" y="114"/>
                  </a:lnTo>
                  <a:lnTo>
                    <a:pt x="180" y="90"/>
                  </a:lnTo>
                  <a:lnTo>
                    <a:pt x="174" y="66"/>
                  </a:lnTo>
                  <a:lnTo>
                    <a:pt x="166" y="46"/>
                  </a:lnTo>
                  <a:lnTo>
                    <a:pt x="166" y="46"/>
                  </a:lnTo>
                  <a:lnTo>
                    <a:pt x="152" y="16"/>
                  </a:lnTo>
                  <a:lnTo>
                    <a:pt x="146" y="6"/>
                  </a:lnTo>
                  <a:lnTo>
                    <a:pt x="142" y="0"/>
                  </a:lnTo>
                  <a:lnTo>
                    <a:pt x="136" y="2"/>
                  </a:lnTo>
                  <a:lnTo>
                    <a:pt x="136" y="2"/>
                  </a:lnTo>
                  <a:lnTo>
                    <a:pt x="120" y="10"/>
                  </a:lnTo>
                  <a:lnTo>
                    <a:pt x="102" y="22"/>
                  </a:lnTo>
                  <a:lnTo>
                    <a:pt x="82" y="36"/>
                  </a:lnTo>
                  <a:lnTo>
                    <a:pt x="82" y="36"/>
                  </a:lnTo>
                  <a:lnTo>
                    <a:pt x="60" y="56"/>
                  </a:lnTo>
                  <a:lnTo>
                    <a:pt x="38" y="80"/>
                  </a:lnTo>
                  <a:lnTo>
                    <a:pt x="28" y="92"/>
                  </a:lnTo>
                  <a:lnTo>
                    <a:pt x="20" y="106"/>
                  </a:lnTo>
                  <a:lnTo>
                    <a:pt x="12" y="122"/>
                  </a:lnTo>
                  <a:lnTo>
                    <a:pt x="6" y="138"/>
                  </a:lnTo>
                  <a:lnTo>
                    <a:pt x="14" y="140"/>
                  </a:lnTo>
                  <a:lnTo>
                    <a:pt x="22" y="144"/>
                  </a:lnTo>
                  <a:lnTo>
                    <a:pt x="22" y="144"/>
                  </a:lnTo>
                  <a:lnTo>
                    <a:pt x="26" y="128"/>
                  </a:lnTo>
                  <a:lnTo>
                    <a:pt x="34" y="114"/>
                  </a:lnTo>
                  <a:lnTo>
                    <a:pt x="42" y="102"/>
                  </a:lnTo>
                  <a:lnTo>
                    <a:pt x="50" y="90"/>
                  </a:lnTo>
                  <a:lnTo>
                    <a:pt x="70" y="68"/>
                  </a:lnTo>
                  <a:lnTo>
                    <a:pt x="92" y="50"/>
                  </a:lnTo>
                  <a:lnTo>
                    <a:pt x="92" y="50"/>
                  </a:lnTo>
                  <a:lnTo>
                    <a:pt x="110" y="36"/>
                  </a:lnTo>
                  <a:lnTo>
                    <a:pt x="128" y="24"/>
                  </a:lnTo>
                  <a:lnTo>
                    <a:pt x="128" y="24"/>
                  </a:lnTo>
                  <a:lnTo>
                    <a:pt x="138" y="18"/>
                  </a:lnTo>
                  <a:lnTo>
                    <a:pt x="138" y="18"/>
                  </a:lnTo>
                  <a:lnTo>
                    <a:pt x="142" y="18"/>
                  </a:lnTo>
                  <a:lnTo>
                    <a:pt x="142" y="16"/>
                  </a:lnTo>
                  <a:lnTo>
                    <a:pt x="142" y="16"/>
                  </a:lnTo>
                  <a:lnTo>
                    <a:pt x="140" y="10"/>
                  </a:lnTo>
                  <a:lnTo>
                    <a:pt x="132" y="14"/>
                  </a:lnTo>
                  <a:lnTo>
                    <a:pt x="132" y="14"/>
                  </a:lnTo>
                  <a:lnTo>
                    <a:pt x="132" y="14"/>
                  </a:lnTo>
                  <a:lnTo>
                    <a:pt x="140" y="26"/>
                  </a:lnTo>
                  <a:lnTo>
                    <a:pt x="152" y="54"/>
                  </a:lnTo>
                  <a:lnTo>
                    <a:pt x="152" y="54"/>
                  </a:lnTo>
                  <a:lnTo>
                    <a:pt x="158" y="74"/>
                  </a:lnTo>
                  <a:lnTo>
                    <a:pt x="164" y="94"/>
                  </a:lnTo>
                  <a:lnTo>
                    <a:pt x="168" y="118"/>
                  </a:lnTo>
                  <a:lnTo>
                    <a:pt x="170" y="142"/>
                  </a:lnTo>
                  <a:lnTo>
                    <a:pt x="170" y="142"/>
                  </a:lnTo>
                  <a:lnTo>
                    <a:pt x="168" y="164"/>
                  </a:lnTo>
                  <a:lnTo>
                    <a:pt x="164" y="186"/>
                  </a:lnTo>
                  <a:lnTo>
                    <a:pt x="164" y="186"/>
                  </a:lnTo>
                  <a:lnTo>
                    <a:pt x="158" y="200"/>
                  </a:lnTo>
                  <a:lnTo>
                    <a:pt x="152" y="214"/>
                  </a:lnTo>
                  <a:lnTo>
                    <a:pt x="144" y="228"/>
                  </a:lnTo>
                  <a:lnTo>
                    <a:pt x="134" y="240"/>
                  </a:lnTo>
                  <a:lnTo>
                    <a:pt x="114" y="262"/>
                  </a:lnTo>
                  <a:lnTo>
                    <a:pt x="94" y="280"/>
                  </a:lnTo>
                  <a:lnTo>
                    <a:pt x="94" y="280"/>
                  </a:lnTo>
                  <a:lnTo>
                    <a:pt x="74" y="294"/>
                  </a:lnTo>
                  <a:lnTo>
                    <a:pt x="58" y="304"/>
                  </a:lnTo>
                  <a:lnTo>
                    <a:pt x="58" y="304"/>
                  </a:lnTo>
                  <a:lnTo>
                    <a:pt x="46" y="310"/>
                  </a:lnTo>
                  <a:lnTo>
                    <a:pt x="46" y="310"/>
                  </a:lnTo>
                  <a:lnTo>
                    <a:pt x="44" y="312"/>
                  </a:lnTo>
                  <a:lnTo>
                    <a:pt x="42" y="312"/>
                  </a:lnTo>
                  <a:lnTo>
                    <a:pt x="42" y="312"/>
                  </a:lnTo>
                  <a:lnTo>
                    <a:pt x="46" y="320"/>
                  </a:lnTo>
                  <a:lnTo>
                    <a:pt x="52" y="316"/>
                  </a:lnTo>
                  <a:lnTo>
                    <a:pt x="52" y="316"/>
                  </a:lnTo>
                  <a:lnTo>
                    <a:pt x="52" y="316"/>
                  </a:lnTo>
                  <a:lnTo>
                    <a:pt x="46" y="304"/>
                  </a:lnTo>
                  <a:lnTo>
                    <a:pt x="34" y="274"/>
                  </a:lnTo>
                  <a:lnTo>
                    <a:pt x="34" y="274"/>
                  </a:lnTo>
                  <a:lnTo>
                    <a:pt x="26" y="256"/>
                  </a:lnTo>
                  <a:lnTo>
                    <a:pt x="20" y="234"/>
                  </a:lnTo>
                  <a:lnTo>
                    <a:pt x="16" y="212"/>
                  </a:lnTo>
                  <a:lnTo>
                    <a:pt x="16" y="188"/>
                  </a:lnTo>
                  <a:lnTo>
                    <a:pt x="16" y="188"/>
                  </a:lnTo>
                  <a:lnTo>
                    <a:pt x="16" y="166"/>
                  </a:lnTo>
                  <a:lnTo>
                    <a:pt x="22" y="144"/>
                  </a:lnTo>
                  <a:lnTo>
                    <a:pt x="14" y="14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33" name="Freeform 2061">
              <a:extLst>
                <a:ext uri="{FF2B5EF4-FFF2-40B4-BE49-F238E27FC236}">
                  <a16:creationId xmlns:a16="http://schemas.microsoft.com/office/drawing/2014/main" id="{6C037702-9BF4-4188-BB17-312757EECA60}"/>
                </a:ext>
              </a:extLst>
            </p:cNvPr>
            <p:cNvSpPr>
              <a:spLocks/>
            </p:cNvSpPr>
            <p:nvPr/>
          </p:nvSpPr>
          <p:spPr bwMode="auto">
            <a:xfrm>
              <a:off x="9572040" y="3250884"/>
              <a:ext cx="403791" cy="418084"/>
            </a:xfrm>
            <a:custGeom>
              <a:avLst/>
              <a:gdLst>
                <a:gd name="T0" fmla="*/ 54 w 226"/>
                <a:gd name="T1" fmla="*/ 60 h 234"/>
                <a:gd name="T2" fmla="*/ 54 w 226"/>
                <a:gd name="T3" fmla="*/ 60 h 234"/>
                <a:gd name="T4" fmla="*/ 42 w 226"/>
                <a:gd name="T5" fmla="*/ 72 h 234"/>
                <a:gd name="T6" fmla="*/ 34 w 226"/>
                <a:gd name="T7" fmla="*/ 86 h 234"/>
                <a:gd name="T8" fmla="*/ 26 w 226"/>
                <a:gd name="T9" fmla="*/ 100 h 234"/>
                <a:gd name="T10" fmla="*/ 18 w 226"/>
                <a:gd name="T11" fmla="*/ 114 h 234"/>
                <a:gd name="T12" fmla="*/ 10 w 226"/>
                <a:gd name="T13" fmla="*/ 144 h 234"/>
                <a:gd name="T14" fmla="*/ 4 w 226"/>
                <a:gd name="T15" fmla="*/ 170 h 234"/>
                <a:gd name="T16" fmla="*/ 0 w 226"/>
                <a:gd name="T17" fmla="*/ 196 h 234"/>
                <a:gd name="T18" fmla="*/ 0 w 226"/>
                <a:gd name="T19" fmla="*/ 216 h 234"/>
                <a:gd name="T20" fmla="*/ 0 w 226"/>
                <a:gd name="T21" fmla="*/ 234 h 234"/>
                <a:gd name="T22" fmla="*/ 0 w 226"/>
                <a:gd name="T23" fmla="*/ 234 h 234"/>
                <a:gd name="T24" fmla="*/ 18 w 226"/>
                <a:gd name="T25" fmla="*/ 234 h 234"/>
                <a:gd name="T26" fmla="*/ 38 w 226"/>
                <a:gd name="T27" fmla="*/ 232 h 234"/>
                <a:gd name="T28" fmla="*/ 62 w 226"/>
                <a:gd name="T29" fmla="*/ 228 h 234"/>
                <a:gd name="T30" fmla="*/ 90 w 226"/>
                <a:gd name="T31" fmla="*/ 222 h 234"/>
                <a:gd name="T32" fmla="*/ 118 w 226"/>
                <a:gd name="T33" fmla="*/ 210 h 234"/>
                <a:gd name="T34" fmla="*/ 132 w 226"/>
                <a:gd name="T35" fmla="*/ 204 h 234"/>
                <a:gd name="T36" fmla="*/ 146 w 226"/>
                <a:gd name="T37" fmla="*/ 196 h 234"/>
                <a:gd name="T38" fmla="*/ 160 w 226"/>
                <a:gd name="T39" fmla="*/ 186 h 234"/>
                <a:gd name="T40" fmla="*/ 172 w 226"/>
                <a:gd name="T41" fmla="*/ 174 h 234"/>
                <a:gd name="T42" fmla="*/ 172 w 226"/>
                <a:gd name="T43" fmla="*/ 174 h 234"/>
                <a:gd name="T44" fmla="*/ 182 w 226"/>
                <a:gd name="T45" fmla="*/ 162 h 234"/>
                <a:gd name="T46" fmla="*/ 192 w 226"/>
                <a:gd name="T47" fmla="*/ 148 h 234"/>
                <a:gd name="T48" fmla="*/ 200 w 226"/>
                <a:gd name="T49" fmla="*/ 134 h 234"/>
                <a:gd name="T50" fmla="*/ 206 w 226"/>
                <a:gd name="T51" fmla="*/ 120 h 234"/>
                <a:gd name="T52" fmla="*/ 216 w 226"/>
                <a:gd name="T53" fmla="*/ 92 h 234"/>
                <a:gd name="T54" fmla="*/ 222 w 226"/>
                <a:gd name="T55" fmla="*/ 64 h 234"/>
                <a:gd name="T56" fmla="*/ 224 w 226"/>
                <a:gd name="T57" fmla="*/ 38 h 234"/>
                <a:gd name="T58" fmla="*/ 226 w 226"/>
                <a:gd name="T59" fmla="*/ 18 h 234"/>
                <a:gd name="T60" fmla="*/ 226 w 226"/>
                <a:gd name="T61" fmla="*/ 0 h 234"/>
                <a:gd name="T62" fmla="*/ 226 w 226"/>
                <a:gd name="T63" fmla="*/ 0 h 234"/>
                <a:gd name="T64" fmla="*/ 208 w 226"/>
                <a:gd name="T65" fmla="*/ 0 h 234"/>
                <a:gd name="T66" fmla="*/ 188 w 226"/>
                <a:gd name="T67" fmla="*/ 2 h 234"/>
                <a:gd name="T68" fmla="*/ 162 w 226"/>
                <a:gd name="T69" fmla="*/ 6 h 234"/>
                <a:gd name="T70" fmla="*/ 136 w 226"/>
                <a:gd name="T71" fmla="*/ 12 h 234"/>
                <a:gd name="T72" fmla="*/ 106 w 226"/>
                <a:gd name="T73" fmla="*/ 24 h 234"/>
                <a:gd name="T74" fmla="*/ 92 w 226"/>
                <a:gd name="T75" fmla="*/ 30 h 234"/>
                <a:gd name="T76" fmla="*/ 78 w 226"/>
                <a:gd name="T77" fmla="*/ 38 h 234"/>
                <a:gd name="T78" fmla="*/ 66 w 226"/>
                <a:gd name="T79" fmla="*/ 48 h 234"/>
                <a:gd name="T80" fmla="*/ 54 w 226"/>
                <a:gd name="T81" fmla="*/ 60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26" h="234">
                  <a:moveTo>
                    <a:pt x="54" y="60"/>
                  </a:moveTo>
                  <a:lnTo>
                    <a:pt x="54" y="60"/>
                  </a:lnTo>
                  <a:lnTo>
                    <a:pt x="42" y="72"/>
                  </a:lnTo>
                  <a:lnTo>
                    <a:pt x="34" y="86"/>
                  </a:lnTo>
                  <a:lnTo>
                    <a:pt x="26" y="100"/>
                  </a:lnTo>
                  <a:lnTo>
                    <a:pt x="18" y="114"/>
                  </a:lnTo>
                  <a:lnTo>
                    <a:pt x="10" y="144"/>
                  </a:lnTo>
                  <a:lnTo>
                    <a:pt x="4" y="170"/>
                  </a:lnTo>
                  <a:lnTo>
                    <a:pt x="0" y="196"/>
                  </a:lnTo>
                  <a:lnTo>
                    <a:pt x="0" y="216"/>
                  </a:lnTo>
                  <a:lnTo>
                    <a:pt x="0" y="234"/>
                  </a:lnTo>
                  <a:lnTo>
                    <a:pt x="0" y="234"/>
                  </a:lnTo>
                  <a:lnTo>
                    <a:pt x="18" y="234"/>
                  </a:lnTo>
                  <a:lnTo>
                    <a:pt x="38" y="232"/>
                  </a:lnTo>
                  <a:lnTo>
                    <a:pt x="62" y="228"/>
                  </a:lnTo>
                  <a:lnTo>
                    <a:pt x="90" y="222"/>
                  </a:lnTo>
                  <a:lnTo>
                    <a:pt x="118" y="210"/>
                  </a:lnTo>
                  <a:lnTo>
                    <a:pt x="132" y="204"/>
                  </a:lnTo>
                  <a:lnTo>
                    <a:pt x="146" y="196"/>
                  </a:lnTo>
                  <a:lnTo>
                    <a:pt x="160" y="186"/>
                  </a:lnTo>
                  <a:lnTo>
                    <a:pt x="172" y="174"/>
                  </a:lnTo>
                  <a:lnTo>
                    <a:pt x="172" y="174"/>
                  </a:lnTo>
                  <a:lnTo>
                    <a:pt x="182" y="162"/>
                  </a:lnTo>
                  <a:lnTo>
                    <a:pt x="192" y="148"/>
                  </a:lnTo>
                  <a:lnTo>
                    <a:pt x="200" y="134"/>
                  </a:lnTo>
                  <a:lnTo>
                    <a:pt x="206" y="120"/>
                  </a:lnTo>
                  <a:lnTo>
                    <a:pt x="216" y="92"/>
                  </a:lnTo>
                  <a:lnTo>
                    <a:pt x="222" y="64"/>
                  </a:lnTo>
                  <a:lnTo>
                    <a:pt x="224" y="38"/>
                  </a:lnTo>
                  <a:lnTo>
                    <a:pt x="226" y="18"/>
                  </a:lnTo>
                  <a:lnTo>
                    <a:pt x="226" y="0"/>
                  </a:lnTo>
                  <a:lnTo>
                    <a:pt x="226" y="0"/>
                  </a:lnTo>
                  <a:lnTo>
                    <a:pt x="208" y="0"/>
                  </a:lnTo>
                  <a:lnTo>
                    <a:pt x="188" y="2"/>
                  </a:lnTo>
                  <a:lnTo>
                    <a:pt x="162" y="6"/>
                  </a:lnTo>
                  <a:lnTo>
                    <a:pt x="136" y="12"/>
                  </a:lnTo>
                  <a:lnTo>
                    <a:pt x="106" y="24"/>
                  </a:lnTo>
                  <a:lnTo>
                    <a:pt x="92" y="30"/>
                  </a:lnTo>
                  <a:lnTo>
                    <a:pt x="78" y="38"/>
                  </a:lnTo>
                  <a:lnTo>
                    <a:pt x="66" y="48"/>
                  </a:lnTo>
                  <a:lnTo>
                    <a:pt x="54" y="6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34" name="Freeform 2062">
              <a:extLst>
                <a:ext uri="{FF2B5EF4-FFF2-40B4-BE49-F238E27FC236}">
                  <a16:creationId xmlns:a16="http://schemas.microsoft.com/office/drawing/2014/main" id="{313B05FB-F5F4-4979-9E96-A5B5E31FF040}"/>
                </a:ext>
              </a:extLst>
            </p:cNvPr>
            <p:cNvSpPr>
              <a:spLocks/>
            </p:cNvSpPr>
            <p:nvPr/>
          </p:nvSpPr>
          <p:spPr bwMode="auto">
            <a:xfrm>
              <a:off x="9572040" y="3250884"/>
              <a:ext cx="403791" cy="418084"/>
            </a:xfrm>
            <a:custGeom>
              <a:avLst/>
              <a:gdLst>
                <a:gd name="T0" fmla="*/ 54 w 226"/>
                <a:gd name="T1" fmla="*/ 60 h 234"/>
                <a:gd name="T2" fmla="*/ 54 w 226"/>
                <a:gd name="T3" fmla="*/ 60 h 234"/>
                <a:gd name="T4" fmla="*/ 42 w 226"/>
                <a:gd name="T5" fmla="*/ 72 h 234"/>
                <a:gd name="T6" fmla="*/ 34 w 226"/>
                <a:gd name="T7" fmla="*/ 86 h 234"/>
                <a:gd name="T8" fmla="*/ 26 w 226"/>
                <a:gd name="T9" fmla="*/ 100 h 234"/>
                <a:gd name="T10" fmla="*/ 18 w 226"/>
                <a:gd name="T11" fmla="*/ 114 h 234"/>
                <a:gd name="T12" fmla="*/ 10 w 226"/>
                <a:gd name="T13" fmla="*/ 144 h 234"/>
                <a:gd name="T14" fmla="*/ 4 w 226"/>
                <a:gd name="T15" fmla="*/ 170 h 234"/>
                <a:gd name="T16" fmla="*/ 0 w 226"/>
                <a:gd name="T17" fmla="*/ 196 h 234"/>
                <a:gd name="T18" fmla="*/ 0 w 226"/>
                <a:gd name="T19" fmla="*/ 216 h 234"/>
                <a:gd name="T20" fmla="*/ 0 w 226"/>
                <a:gd name="T21" fmla="*/ 234 h 234"/>
                <a:gd name="T22" fmla="*/ 0 w 226"/>
                <a:gd name="T23" fmla="*/ 234 h 234"/>
                <a:gd name="T24" fmla="*/ 18 w 226"/>
                <a:gd name="T25" fmla="*/ 234 h 234"/>
                <a:gd name="T26" fmla="*/ 38 w 226"/>
                <a:gd name="T27" fmla="*/ 232 h 234"/>
                <a:gd name="T28" fmla="*/ 62 w 226"/>
                <a:gd name="T29" fmla="*/ 228 h 234"/>
                <a:gd name="T30" fmla="*/ 90 w 226"/>
                <a:gd name="T31" fmla="*/ 222 h 234"/>
                <a:gd name="T32" fmla="*/ 118 w 226"/>
                <a:gd name="T33" fmla="*/ 210 h 234"/>
                <a:gd name="T34" fmla="*/ 132 w 226"/>
                <a:gd name="T35" fmla="*/ 204 h 234"/>
                <a:gd name="T36" fmla="*/ 146 w 226"/>
                <a:gd name="T37" fmla="*/ 196 h 234"/>
                <a:gd name="T38" fmla="*/ 160 w 226"/>
                <a:gd name="T39" fmla="*/ 186 h 234"/>
                <a:gd name="T40" fmla="*/ 172 w 226"/>
                <a:gd name="T41" fmla="*/ 174 h 234"/>
                <a:gd name="T42" fmla="*/ 172 w 226"/>
                <a:gd name="T43" fmla="*/ 174 h 234"/>
                <a:gd name="T44" fmla="*/ 182 w 226"/>
                <a:gd name="T45" fmla="*/ 162 h 234"/>
                <a:gd name="T46" fmla="*/ 192 w 226"/>
                <a:gd name="T47" fmla="*/ 148 h 234"/>
                <a:gd name="T48" fmla="*/ 200 w 226"/>
                <a:gd name="T49" fmla="*/ 134 h 234"/>
                <a:gd name="T50" fmla="*/ 206 w 226"/>
                <a:gd name="T51" fmla="*/ 120 h 234"/>
                <a:gd name="T52" fmla="*/ 216 w 226"/>
                <a:gd name="T53" fmla="*/ 92 h 234"/>
                <a:gd name="T54" fmla="*/ 222 w 226"/>
                <a:gd name="T55" fmla="*/ 64 h 234"/>
                <a:gd name="T56" fmla="*/ 224 w 226"/>
                <a:gd name="T57" fmla="*/ 38 h 234"/>
                <a:gd name="T58" fmla="*/ 226 w 226"/>
                <a:gd name="T59" fmla="*/ 18 h 234"/>
                <a:gd name="T60" fmla="*/ 226 w 226"/>
                <a:gd name="T61" fmla="*/ 0 h 234"/>
                <a:gd name="T62" fmla="*/ 226 w 226"/>
                <a:gd name="T63" fmla="*/ 0 h 234"/>
                <a:gd name="T64" fmla="*/ 208 w 226"/>
                <a:gd name="T65" fmla="*/ 0 h 234"/>
                <a:gd name="T66" fmla="*/ 188 w 226"/>
                <a:gd name="T67" fmla="*/ 2 h 234"/>
                <a:gd name="T68" fmla="*/ 162 w 226"/>
                <a:gd name="T69" fmla="*/ 6 h 234"/>
                <a:gd name="T70" fmla="*/ 136 w 226"/>
                <a:gd name="T71" fmla="*/ 12 h 234"/>
                <a:gd name="T72" fmla="*/ 106 w 226"/>
                <a:gd name="T73" fmla="*/ 24 h 234"/>
                <a:gd name="T74" fmla="*/ 92 w 226"/>
                <a:gd name="T75" fmla="*/ 30 h 234"/>
                <a:gd name="T76" fmla="*/ 78 w 226"/>
                <a:gd name="T77" fmla="*/ 38 h 234"/>
                <a:gd name="T78" fmla="*/ 66 w 226"/>
                <a:gd name="T79" fmla="*/ 48 h 234"/>
                <a:gd name="T80" fmla="*/ 54 w 226"/>
                <a:gd name="T81" fmla="*/ 60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26" h="234">
                  <a:moveTo>
                    <a:pt x="54" y="60"/>
                  </a:moveTo>
                  <a:lnTo>
                    <a:pt x="54" y="60"/>
                  </a:lnTo>
                  <a:lnTo>
                    <a:pt x="42" y="72"/>
                  </a:lnTo>
                  <a:lnTo>
                    <a:pt x="34" y="86"/>
                  </a:lnTo>
                  <a:lnTo>
                    <a:pt x="26" y="100"/>
                  </a:lnTo>
                  <a:lnTo>
                    <a:pt x="18" y="114"/>
                  </a:lnTo>
                  <a:lnTo>
                    <a:pt x="10" y="144"/>
                  </a:lnTo>
                  <a:lnTo>
                    <a:pt x="4" y="170"/>
                  </a:lnTo>
                  <a:lnTo>
                    <a:pt x="0" y="196"/>
                  </a:lnTo>
                  <a:lnTo>
                    <a:pt x="0" y="216"/>
                  </a:lnTo>
                  <a:lnTo>
                    <a:pt x="0" y="234"/>
                  </a:lnTo>
                  <a:lnTo>
                    <a:pt x="0" y="234"/>
                  </a:lnTo>
                  <a:lnTo>
                    <a:pt x="18" y="234"/>
                  </a:lnTo>
                  <a:lnTo>
                    <a:pt x="38" y="232"/>
                  </a:lnTo>
                  <a:lnTo>
                    <a:pt x="62" y="228"/>
                  </a:lnTo>
                  <a:lnTo>
                    <a:pt x="90" y="222"/>
                  </a:lnTo>
                  <a:lnTo>
                    <a:pt x="118" y="210"/>
                  </a:lnTo>
                  <a:lnTo>
                    <a:pt x="132" y="204"/>
                  </a:lnTo>
                  <a:lnTo>
                    <a:pt x="146" y="196"/>
                  </a:lnTo>
                  <a:lnTo>
                    <a:pt x="160" y="186"/>
                  </a:lnTo>
                  <a:lnTo>
                    <a:pt x="172" y="174"/>
                  </a:lnTo>
                  <a:lnTo>
                    <a:pt x="172" y="174"/>
                  </a:lnTo>
                  <a:lnTo>
                    <a:pt x="182" y="162"/>
                  </a:lnTo>
                  <a:lnTo>
                    <a:pt x="192" y="148"/>
                  </a:lnTo>
                  <a:lnTo>
                    <a:pt x="200" y="134"/>
                  </a:lnTo>
                  <a:lnTo>
                    <a:pt x="206" y="120"/>
                  </a:lnTo>
                  <a:lnTo>
                    <a:pt x="216" y="92"/>
                  </a:lnTo>
                  <a:lnTo>
                    <a:pt x="222" y="64"/>
                  </a:lnTo>
                  <a:lnTo>
                    <a:pt x="224" y="38"/>
                  </a:lnTo>
                  <a:lnTo>
                    <a:pt x="226" y="18"/>
                  </a:lnTo>
                  <a:lnTo>
                    <a:pt x="226" y="0"/>
                  </a:lnTo>
                  <a:lnTo>
                    <a:pt x="226" y="0"/>
                  </a:lnTo>
                  <a:lnTo>
                    <a:pt x="208" y="0"/>
                  </a:lnTo>
                  <a:lnTo>
                    <a:pt x="188" y="2"/>
                  </a:lnTo>
                  <a:lnTo>
                    <a:pt x="162" y="6"/>
                  </a:lnTo>
                  <a:lnTo>
                    <a:pt x="136" y="12"/>
                  </a:lnTo>
                  <a:lnTo>
                    <a:pt x="106" y="24"/>
                  </a:lnTo>
                  <a:lnTo>
                    <a:pt x="92" y="30"/>
                  </a:lnTo>
                  <a:lnTo>
                    <a:pt x="78" y="38"/>
                  </a:lnTo>
                  <a:lnTo>
                    <a:pt x="66" y="48"/>
                  </a:lnTo>
                  <a:lnTo>
                    <a:pt x="54" y="6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35" name="Freeform 2064">
              <a:extLst>
                <a:ext uri="{FF2B5EF4-FFF2-40B4-BE49-F238E27FC236}">
                  <a16:creationId xmlns:a16="http://schemas.microsoft.com/office/drawing/2014/main" id="{0FA20030-5D3F-4383-9129-27988064665E}"/>
                </a:ext>
              </a:extLst>
            </p:cNvPr>
            <p:cNvSpPr>
              <a:spLocks/>
            </p:cNvSpPr>
            <p:nvPr/>
          </p:nvSpPr>
          <p:spPr bwMode="auto">
            <a:xfrm>
              <a:off x="9557746" y="3236591"/>
              <a:ext cx="432378" cy="446671"/>
            </a:xfrm>
            <a:custGeom>
              <a:avLst/>
              <a:gdLst>
                <a:gd name="T0" fmla="*/ 56 w 242"/>
                <a:gd name="T1" fmla="*/ 62 h 250"/>
                <a:gd name="T2" fmla="*/ 46 w 242"/>
                <a:gd name="T3" fmla="*/ 72 h 250"/>
                <a:gd name="T4" fmla="*/ 26 w 242"/>
                <a:gd name="T5" fmla="*/ 106 h 250"/>
                <a:gd name="T6" fmla="*/ 8 w 242"/>
                <a:gd name="T7" fmla="*/ 154 h 250"/>
                <a:gd name="T8" fmla="*/ 4 w 242"/>
                <a:gd name="T9" fmla="*/ 176 h 250"/>
                <a:gd name="T10" fmla="*/ 0 w 242"/>
                <a:gd name="T11" fmla="*/ 228 h 250"/>
                <a:gd name="T12" fmla="*/ 0 w 242"/>
                <a:gd name="T13" fmla="*/ 242 h 250"/>
                <a:gd name="T14" fmla="*/ 8 w 242"/>
                <a:gd name="T15" fmla="*/ 250 h 250"/>
                <a:gd name="T16" fmla="*/ 14 w 242"/>
                <a:gd name="T17" fmla="*/ 250 h 250"/>
                <a:gd name="T18" fmla="*/ 42 w 242"/>
                <a:gd name="T19" fmla="*/ 248 h 250"/>
                <a:gd name="T20" fmla="*/ 86 w 242"/>
                <a:gd name="T21" fmla="*/ 240 h 250"/>
                <a:gd name="T22" fmla="*/ 112 w 242"/>
                <a:gd name="T23" fmla="*/ 232 h 250"/>
                <a:gd name="T24" fmla="*/ 162 w 242"/>
                <a:gd name="T25" fmla="*/ 208 h 250"/>
                <a:gd name="T26" fmla="*/ 186 w 242"/>
                <a:gd name="T27" fmla="*/ 188 h 250"/>
                <a:gd name="T28" fmla="*/ 202 w 242"/>
                <a:gd name="T29" fmla="*/ 166 h 250"/>
                <a:gd name="T30" fmla="*/ 226 w 242"/>
                <a:gd name="T31" fmla="*/ 120 h 250"/>
                <a:gd name="T32" fmla="*/ 232 w 242"/>
                <a:gd name="T33" fmla="*/ 96 h 250"/>
                <a:gd name="T34" fmla="*/ 240 w 242"/>
                <a:gd name="T35" fmla="*/ 54 h 250"/>
                <a:gd name="T36" fmla="*/ 242 w 242"/>
                <a:gd name="T37" fmla="*/ 22 h 250"/>
                <a:gd name="T38" fmla="*/ 240 w 242"/>
                <a:gd name="T39" fmla="*/ 2 h 250"/>
                <a:gd name="T40" fmla="*/ 234 w 242"/>
                <a:gd name="T41" fmla="*/ 0 h 250"/>
                <a:gd name="T42" fmla="*/ 228 w 242"/>
                <a:gd name="T43" fmla="*/ 0 h 250"/>
                <a:gd name="T44" fmla="*/ 178 w 242"/>
                <a:gd name="T45" fmla="*/ 4 h 250"/>
                <a:gd name="T46" fmla="*/ 154 w 242"/>
                <a:gd name="T47" fmla="*/ 10 h 250"/>
                <a:gd name="T48" fmla="*/ 104 w 242"/>
                <a:gd name="T49" fmla="*/ 28 h 250"/>
                <a:gd name="T50" fmla="*/ 66 w 242"/>
                <a:gd name="T51" fmla="*/ 52 h 250"/>
                <a:gd name="T52" fmla="*/ 62 w 242"/>
                <a:gd name="T53" fmla="*/ 68 h 250"/>
                <a:gd name="T54" fmla="*/ 68 w 242"/>
                <a:gd name="T55" fmla="*/ 74 h 250"/>
                <a:gd name="T56" fmla="*/ 88 w 242"/>
                <a:gd name="T57" fmla="*/ 56 h 250"/>
                <a:gd name="T58" fmla="*/ 134 w 242"/>
                <a:gd name="T59" fmla="*/ 32 h 250"/>
                <a:gd name="T60" fmla="*/ 158 w 242"/>
                <a:gd name="T61" fmla="*/ 26 h 250"/>
                <a:gd name="T62" fmla="*/ 200 w 242"/>
                <a:gd name="T63" fmla="*/ 18 h 250"/>
                <a:gd name="T64" fmla="*/ 228 w 242"/>
                <a:gd name="T65" fmla="*/ 16 h 250"/>
                <a:gd name="T66" fmla="*/ 232 w 242"/>
                <a:gd name="T67" fmla="*/ 16 h 250"/>
                <a:gd name="T68" fmla="*/ 234 w 242"/>
                <a:gd name="T69" fmla="*/ 8 h 250"/>
                <a:gd name="T70" fmla="*/ 226 w 242"/>
                <a:gd name="T71" fmla="*/ 10 h 250"/>
                <a:gd name="T72" fmla="*/ 226 w 242"/>
                <a:gd name="T73" fmla="*/ 22 h 250"/>
                <a:gd name="T74" fmla="*/ 224 w 242"/>
                <a:gd name="T75" fmla="*/ 52 h 250"/>
                <a:gd name="T76" fmla="*/ 218 w 242"/>
                <a:gd name="T77" fmla="*/ 92 h 250"/>
                <a:gd name="T78" fmla="*/ 210 w 242"/>
                <a:gd name="T79" fmla="*/ 114 h 250"/>
                <a:gd name="T80" fmla="*/ 190 w 242"/>
                <a:gd name="T81" fmla="*/ 158 h 250"/>
                <a:gd name="T82" fmla="*/ 174 w 242"/>
                <a:gd name="T83" fmla="*/ 176 h 250"/>
                <a:gd name="T84" fmla="*/ 154 w 242"/>
                <a:gd name="T85" fmla="*/ 194 h 250"/>
                <a:gd name="T86" fmla="*/ 106 w 242"/>
                <a:gd name="T87" fmla="*/ 218 h 250"/>
                <a:gd name="T88" fmla="*/ 82 w 242"/>
                <a:gd name="T89" fmla="*/ 224 h 250"/>
                <a:gd name="T90" fmla="*/ 40 w 242"/>
                <a:gd name="T91" fmla="*/ 232 h 250"/>
                <a:gd name="T92" fmla="*/ 14 w 242"/>
                <a:gd name="T93" fmla="*/ 234 h 250"/>
                <a:gd name="T94" fmla="*/ 8 w 242"/>
                <a:gd name="T95" fmla="*/ 234 h 250"/>
                <a:gd name="T96" fmla="*/ 8 w 242"/>
                <a:gd name="T97" fmla="*/ 242 h 250"/>
                <a:gd name="T98" fmla="*/ 16 w 242"/>
                <a:gd name="T99" fmla="*/ 240 h 250"/>
                <a:gd name="T100" fmla="*/ 16 w 242"/>
                <a:gd name="T101" fmla="*/ 228 h 250"/>
                <a:gd name="T102" fmla="*/ 16 w 242"/>
                <a:gd name="T103" fmla="*/ 198 h 250"/>
                <a:gd name="T104" fmla="*/ 24 w 242"/>
                <a:gd name="T105" fmla="*/ 158 h 250"/>
                <a:gd name="T106" fmla="*/ 30 w 242"/>
                <a:gd name="T107" fmla="*/ 136 h 250"/>
                <a:gd name="T108" fmla="*/ 52 w 242"/>
                <a:gd name="T109" fmla="*/ 92 h 250"/>
                <a:gd name="T110" fmla="*/ 62 w 242"/>
                <a:gd name="T111" fmla="*/ 68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42" h="250">
                  <a:moveTo>
                    <a:pt x="62" y="68"/>
                  </a:moveTo>
                  <a:lnTo>
                    <a:pt x="56" y="62"/>
                  </a:lnTo>
                  <a:lnTo>
                    <a:pt x="56" y="62"/>
                  </a:lnTo>
                  <a:lnTo>
                    <a:pt x="46" y="72"/>
                  </a:lnTo>
                  <a:lnTo>
                    <a:pt x="38" y="84"/>
                  </a:lnTo>
                  <a:lnTo>
                    <a:pt x="26" y="106"/>
                  </a:lnTo>
                  <a:lnTo>
                    <a:pt x="16" y="130"/>
                  </a:lnTo>
                  <a:lnTo>
                    <a:pt x="8" y="154"/>
                  </a:lnTo>
                  <a:lnTo>
                    <a:pt x="8" y="154"/>
                  </a:lnTo>
                  <a:lnTo>
                    <a:pt x="4" y="176"/>
                  </a:lnTo>
                  <a:lnTo>
                    <a:pt x="0" y="196"/>
                  </a:lnTo>
                  <a:lnTo>
                    <a:pt x="0" y="228"/>
                  </a:lnTo>
                  <a:lnTo>
                    <a:pt x="0" y="228"/>
                  </a:lnTo>
                  <a:lnTo>
                    <a:pt x="0" y="242"/>
                  </a:lnTo>
                  <a:lnTo>
                    <a:pt x="0" y="250"/>
                  </a:lnTo>
                  <a:lnTo>
                    <a:pt x="8" y="250"/>
                  </a:lnTo>
                  <a:lnTo>
                    <a:pt x="8" y="250"/>
                  </a:lnTo>
                  <a:lnTo>
                    <a:pt x="14" y="250"/>
                  </a:lnTo>
                  <a:lnTo>
                    <a:pt x="14" y="250"/>
                  </a:lnTo>
                  <a:lnTo>
                    <a:pt x="42" y="248"/>
                  </a:lnTo>
                  <a:lnTo>
                    <a:pt x="64" y="246"/>
                  </a:lnTo>
                  <a:lnTo>
                    <a:pt x="86" y="240"/>
                  </a:lnTo>
                  <a:lnTo>
                    <a:pt x="86" y="240"/>
                  </a:lnTo>
                  <a:lnTo>
                    <a:pt x="112" y="232"/>
                  </a:lnTo>
                  <a:lnTo>
                    <a:pt x="138" y="222"/>
                  </a:lnTo>
                  <a:lnTo>
                    <a:pt x="162" y="208"/>
                  </a:lnTo>
                  <a:lnTo>
                    <a:pt x="174" y="198"/>
                  </a:lnTo>
                  <a:lnTo>
                    <a:pt x="186" y="188"/>
                  </a:lnTo>
                  <a:lnTo>
                    <a:pt x="186" y="188"/>
                  </a:lnTo>
                  <a:lnTo>
                    <a:pt x="202" y="166"/>
                  </a:lnTo>
                  <a:lnTo>
                    <a:pt x="216" y="144"/>
                  </a:lnTo>
                  <a:lnTo>
                    <a:pt x="226" y="120"/>
                  </a:lnTo>
                  <a:lnTo>
                    <a:pt x="232" y="96"/>
                  </a:lnTo>
                  <a:lnTo>
                    <a:pt x="232" y="96"/>
                  </a:lnTo>
                  <a:lnTo>
                    <a:pt x="238" y="74"/>
                  </a:lnTo>
                  <a:lnTo>
                    <a:pt x="240" y="54"/>
                  </a:lnTo>
                  <a:lnTo>
                    <a:pt x="242" y="22"/>
                  </a:lnTo>
                  <a:lnTo>
                    <a:pt x="242" y="22"/>
                  </a:lnTo>
                  <a:lnTo>
                    <a:pt x="242" y="8"/>
                  </a:lnTo>
                  <a:lnTo>
                    <a:pt x="240" y="2"/>
                  </a:lnTo>
                  <a:lnTo>
                    <a:pt x="234" y="0"/>
                  </a:lnTo>
                  <a:lnTo>
                    <a:pt x="234" y="0"/>
                  </a:lnTo>
                  <a:lnTo>
                    <a:pt x="228" y="0"/>
                  </a:lnTo>
                  <a:lnTo>
                    <a:pt x="228" y="0"/>
                  </a:lnTo>
                  <a:lnTo>
                    <a:pt x="198" y="2"/>
                  </a:lnTo>
                  <a:lnTo>
                    <a:pt x="178" y="4"/>
                  </a:lnTo>
                  <a:lnTo>
                    <a:pt x="154" y="10"/>
                  </a:lnTo>
                  <a:lnTo>
                    <a:pt x="154" y="10"/>
                  </a:lnTo>
                  <a:lnTo>
                    <a:pt x="128" y="18"/>
                  </a:lnTo>
                  <a:lnTo>
                    <a:pt x="104" y="28"/>
                  </a:lnTo>
                  <a:lnTo>
                    <a:pt x="78" y="42"/>
                  </a:lnTo>
                  <a:lnTo>
                    <a:pt x="66" y="52"/>
                  </a:lnTo>
                  <a:lnTo>
                    <a:pt x="56" y="62"/>
                  </a:lnTo>
                  <a:lnTo>
                    <a:pt x="62" y="68"/>
                  </a:lnTo>
                  <a:lnTo>
                    <a:pt x="68" y="74"/>
                  </a:lnTo>
                  <a:lnTo>
                    <a:pt x="68" y="74"/>
                  </a:lnTo>
                  <a:lnTo>
                    <a:pt x="78" y="64"/>
                  </a:lnTo>
                  <a:lnTo>
                    <a:pt x="88" y="56"/>
                  </a:lnTo>
                  <a:lnTo>
                    <a:pt x="110" y="42"/>
                  </a:lnTo>
                  <a:lnTo>
                    <a:pt x="134" y="32"/>
                  </a:lnTo>
                  <a:lnTo>
                    <a:pt x="158" y="26"/>
                  </a:lnTo>
                  <a:lnTo>
                    <a:pt x="158" y="26"/>
                  </a:lnTo>
                  <a:lnTo>
                    <a:pt x="180" y="20"/>
                  </a:lnTo>
                  <a:lnTo>
                    <a:pt x="200" y="18"/>
                  </a:lnTo>
                  <a:lnTo>
                    <a:pt x="228" y="16"/>
                  </a:lnTo>
                  <a:lnTo>
                    <a:pt x="228" y="16"/>
                  </a:lnTo>
                  <a:lnTo>
                    <a:pt x="232" y="16"/>
                  </a:lnTo>
                  <a:lnTo>
                    <a:pt x="232" y="16"/>
                  </a:lnTo>
                  <a:lnTo>
                    <a:pt x="234" y="16"/>
                  </a:lnTo>
                  <a:lnTo>
                    <a:pt x="234" y="8"/>
                  </a:lnTo>
                  <a:lnTo>
                    <a:pt x="226" y="10"/>
                  </a:lnTo>
                  <a:lnTo>
                    <a:pt x="226" y="10"/>
                  </a:lnTo>
                  <a:lnTo>
                    <a:pt x="226" y="10"/>
                  </a:lnTo>
                  <a:lnTo>
                    <a:pt x="226" y="22"/>
                  </a:lnTo>
                  <a:lnTo>
                    <a:pt x="226" y="22"/>
                  </a:lnTo>
                  <a:lnTo>
                    <a:pt x="224" y="52"/>
                  </a:lnTo>
                  <a:lnTo>
                    <a:pt x="222" y="72"/>
                  </a:lnTo>
                  <a:lnTo>
                    <a:pt x="218" y="92"/>
                  </a:lnTo>
                  <a:lnTo>
                    <a:pt x="218" y="92"/>
                  </a:lnTo>
                  <a:lnTo>
                    <a:pt x="210" y="114"/>
                  </a:lnTo>
                  <a:lnTo>
                    <a:pt x="202" y="136"/>
                  </a:lnTo>
                  <a:lnTo>
                    <a:pt x="190" y="158"/>
                  </a:lnTo>
                  <a:lnTo>
                    <a:pt x="174" y="176"/>
                  </a:lnTo>
                  <a:lnTo>
                    <a:pt x="174" y="176"/>
                  </a:lnTo>
                  <a:lnTo>
                    <a:pt x="164" y="186"/>
                  </a:lnTo>
                  <a:lnTo>
                    <a:pt x="154" y="194"/>
                  </a:lnTo>
                  <a:lnTo>
                    <a:pt x="130" y="208"/>
                  </a:lnTo>
                  <a:lnTo>
                    <a:pt x="106" y="218"/>
                  </a:lnTo>
                  <a:lnTo>
                    <a:pt x="82" y="224"/>
                  </a:lnTo>
                  <a:lnTo>
                    <a:pt x="82" y="224"/>
                  </a:lnTo>
                  <a:lnTo>
                    <a:pt x="60" y="230"/>
                  </a:lnTo>
                  <a:lnTo>
                    <a:pt x="40" y="232"/>
                  </a:lnTo>
                  <a:lnTo>
                    <a:pt x="14" y="234"/>
                  </a:lnTo>
                  <a:lnTo>
                    <a:pt x="14" y="234"/>
                  </a:lnTo>
                  <a:lnTo>
                    <a:pt x="10" y="234"/>
                  </a:lnTo>
                  <a:lnTo>
                    <a:pt x="8" y="234"/>
                  </a:lnTo>
                  <a:lnTo>
                    <a:pt x="8" y="234"/>
                  </a:lnTo>
                  <a:lnTo>
                    <a:pt x="8" y="242"/>
                  </a:lnTo>
                  <a:lnTo>
                    <a:pt x="16" y="240"/>
                  </a:lnTo>
                  <a:lnTo>
                    <a:pt x="16" y="240"/>
                  </a:lnTo>
                  <a:lnTo>
                    <a:pt x="16" y="240"/>
                  </a:lnTo>
                  <a:lnTo>
                    <a:pt x="16" y="228"/>
                  </a:lnTo>
                  <a:lnTo>
                    <a:pt x="16" y="228"/>
                  </a:lnTo>
                  <a:lnTo>
                    <a:pt x="16" y="198"/>
                  </a:lnTo>
                  <a:lnTo>
                    <a:pt x="20" y="178"/>
                  </a:lnTo>
                  <a:lnTo>
                    <a:pt x="24" y="158"/>
                  </a:lnTo>
                  <a:lnTo>
                    <a:pt x="24" y="158"/>
                  </a:lnTo>
                  <a:lnTo>
                    <a:pt x="30" y="136"/>
                  </a:lnTo>
                  <a:lnTo>
                    <a:pt x="40" y="114"/>
                  </a:lnTo>
                  <a:lnTo>
                    <a:pt x="52" y="92"/>
                  </a:lnTo>
                  <a:lnTo>
                    <a:pt x="68" y="74"/>
                  </a:lnTo>
                  <a:lnTo>
                    <a:pt x="62" y="6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36" name="Freeform 2065">
              <a:extLst>
                <a:ext uri="{FF2B5EF4-FFF2-40B4-BE49-F238E27FC236}">
                  <a16:creationId xmlns:a16="http://schemas.microsoft.com/office/drawing/2014/main" id="{648D8C16-B522-462A-8D60-EB6166F22499}"/>
                </a:ext>
              </a:extLst>
            </p:cNvPr>
            <p:cNvSpPr>
              <a:spLocks/>
            </p:cNvSpPr>
            <p:nvPr/>
          </p:nvSpPr>
          <p:spPr bwMode="auto">
            <a:xfrm>
              <a:off x="9246863" y="2693438"/>
              <a:ext cx="325176" cy="518139"/>
            </a:xfrm>
            <a:custGeom>
              <a:avLst/>
              <a:gdLst>
                <a:gd name="T0" fmla="*/ 18 w 182"/>
                <a:gd name="T1" fmla="*/ 108 h 290"/>
                <a:gd name="T2" fmla="*/ 18 w 182"/>
                <a:gd name="T3" fmla="*/ 108 h 290"/>
                <a:gd name="T4" fmla="*/ 10 w 182"/>
                <a:gd name="T5" fmla="*/ 124 h 290"/>
                <a:gd name="T6" fmla="*/ 6 w 182"/>
                <a:gd name="T7" fmla="*/ 140 h 290"/>
                <a:gd name="T8" fmla="*/ 2 w 182"/>
                <a:gd name="T9" fmla="*/ 156 h 290"/>
                <a:gd name="T10" fmla="*/ 0 w 182"/>
                <a:gd name="T11" fmla="*/ 170 h 290"/>
                <a:gd name="T12" fmla="*/ 0 w 182"/>
                <a:gd name="T13" fmla="*/ 202 h 290"/>
                <a:gd name="T14" fmla="*/ 4 w 182"/>
                <a:gd name="T15" fmla="*/ 230 h 290"/>
                <a:gd name="T16" fmla="*/ 8 w 182"/>
                <a:gd name="T17" fmla="*/ 254 h 290"/>
                <a:gd name="T18" fmla="*/ 14 w 182"/>
                <a:gd name="T19" fmla="*/ 274 h 290"/>
                <a:gd name="T20" fmla="*/ 20 w 182"/>
                <a:gd name="T21" fmla="*/ 290 h 290"/>
                <a:gd name="T22" fmla="*/ 20 w 182"/>
                <a:gd name="T23" fmla="*/ 290 h 290"/>
                <a:gd name="T24" fmla="*/ 36 w 182"/>
                <a:gd name="T25" fmla="*/ 284 h 290"/>
                <a:gd name="T26" fmla="*/ 54 w 182"/>
                <a:gd name="T27" fmla="*/ 276 h 290"/>
                <a:gd name="T28" fmla="*/ 78 w 182"/>
                <a:gd name="T29" fmla="*/ 266 h 290"/>
                <a:gd name="T30" fmla="*/ 102 w 182"/>
                <a:gd name="T31" fmla="*/ 250 h 290"/>
                <a:gd name="T32" fmla="*/ 126 w 182"/>
                <a:gd name="T33" fmla="*/ 232 h 290"/>
                <a:gd name="T34" fmla="*/ 136 w 182"/>
                <a:gd name="T35" fmla="*/ 220 h 290"/>
                <a:gd name="T36" fmla="*/ 146 w 182"/>
                <a:gd name="T37" fmla="*/ 208 h 290"/>
                <a:gd name="T38" fmla="*/ 156 w 182"/>
                <a:gd name="T39" fmla="*/ 196 h 290"/>
                <a:gd name="T40" fmla="*/ 164 w 182"/>
                <a:gd name="T41" fmla="*/ 180 h 290"/>
                <a:gd name="T42" fmla="*/ 164 w 182"/>
                <a:gd name="T43" fmla="*/ 180 h 290"/>
                <a:gd name="T44" fmla="*/ 170 w 182"/>
                <a:gd name="T45" fmla="*/ 166 h 290"/>
                <a:gd name="T46" fmla="*/ 176 w 182"/>
                <a:gd name="T47" fmla="*/ 150 h 290"/>
                <a:gd name="T48" fmla="*/ 178 w 182"/>
                <a:gd name="T49" fmla="*/ 134 h 290"/>
                <a:gd name="T50" fmla="*/ 180 w 182"/>
                <a:gd name="T51" fmla="*/ 118 h 290"/>
                <a:gd name="T52" fmla="*/ 182 w 182"/>
                <a:gd name="T53" fmla="*/ 88 h 290"/>
                <a:gd name="T54" fmla="*/ 178 w 182"/>
                <a:gd name="T55" fmla="*/ 60 h 290"/>
                <a:gd name="T56" fmla="*/ 174 w 182"/>
                <a:gd name="T57" fmla="*/ 36 h 290"/>
                <a:gd name="T58" fmla="*/ 168 w 182"/>
                <a:gd name="T59" fmla="*/ 16 h 290"/>
                <a:gd name="T60" fmla="*/ 162 w 182"/>
                <a:gd name="T61" fmla="*/ 0 h 290"/>
                <a:gd name="T62" fmla="*/ 162 w 182"/>
                <a:gd name="T63" fmla="*/ 0 h 290"/>
                <a:gd name="T64" fmla="*/ 146 w 182"/>
                <a:gd name="T65" fmla="*/ 4 h 290"/>
                <a:gd name="T66" fmla="*/ 126 w 182"/>
                <a:gd name="T67" fmla="*/ 12 h 290"/>
                <a:gd name="T68" fmla="*/ 104 w 182"/>
                <a:gd name="T69" fmla="*/ 24 h 290"/>
                <a:gd name="T70" fmla="*/ 80 w 182"/>
                <a:gd name="T71" fmla="*/ 38 h 290"/>
                <a:gd name="T72" fmla="*/ 56 w 182"/>
                <a:gd name="T73" fmla="*/ 58 h 290"/>
                <a:gd name="T74" fmla="*/ 46 w 182"/>
                <a:gd name="T75" fmla="*/ 68 h 290"/>
                <a:gd name="T76" fmla="*/ 34 w 182"/>
                <a:gd name="T77" fmla="*/ 80 h 290"/>
                <a:gd name="T78" fmla="*/ 26 w 182"/>
                <a:gd name="T79" fmla="*/ 94 h 290"/>
                <a:gd name="T80" fmla="*/ 18 w 182"/>
                <a:gd name="T81" fmla="*/ 108 h 290"/>
                <a:gd name="T82" fmla="*/ 18 w 182"/>
                <a:gd name="T83" fmla="*/ 108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82" h="290">
                  <a:moveTo>
                    <a:pt x="18" y="108"/>
                  </a:moveTo>
                  <a:lnTo>
                    <a:pt x="18" y="108"/>
                  </a:lnTo>
                  <a:lnTo>
                    <a:pt x="10" y="124"/>
                  </a:lnTo>
                  <a:lnTo>
                    <a:pt x="6" y="140"/>
                  </a:lnTo>
                  <a:lnTo>
                    <a:pt x="2" y="156"/>
                  </a:lnTo>
                  <a:lnTo>
                    <a:pt x="0" y="170"/>
                  </a:lnTo>
                  <a:lnTo>
                    <a:pt x="0" y="202"/>
                  </a:lnTo>
                  <a:lnTo>
                    <a:pt x="4" y="230"/>
                  </a:lnTo>
                  <a:lnTo>
                    <a:pt x="8" y="254"/>
                  </a:lnTo>
                  <a:lnTo>
                    <a:pt x="14" y="274"/>
                  </a:lnTo>
                  <a:lnTo>
                    <a:pt x="20" y="290"/>
                  </a:lnTo>
                  <a:lnTo>
                    <a:pt x="20" y="290"/>
                  </a:lnTo>
                  <a:lnTo>
                    <a:pt x="36" y="284"/>
                  </a:lnTo>
                  <a:lnTo>
                    <a:pt x="54" y="276"/>
                  </a:lnTo>
                  <a:lnTo>
                    <a:pt x="78" y="266"/>
                  </a:lnTo>
                  <a:lnTo>
                    <a:pt x="102" y="250"/>
                  </a:lnTo>
                  <a:lnTo>
                    <a:pt x="126" y="232"/>
                  </a:lnTo>
                  <a:lnTo>
                    <a:pt x="136" y="220"/>
                  </a:lnTo>
                  <a:lnTo>
                    <a:pt x="146" y="208"/>
                  </a:lnTo>
                  <a:lnTo>
                    <a:pt x="156" y="196"/>
                  </a:lnTo>
                  <a:lnTo>
                    <a:pt x="164" y="180"/>
                  </a:lnTo>
                  <a:lnTo>
                    <a:pt x="164" y="180"/>
                  </a:lnTo>
                  <a:lnTo>
                    <a:pt x="170" y="166"/>
                  </a:lnTo>
                  <a:lnTo>
                    <a:pt x="176" y="150"/>
                  </a:lnTo>
                  <a:lnTo>
                    <a:pt x="178" y="134"/>
                  </a:lnTo>
                  <a:lnTo>
                    <a:pt x="180" y="118"/>
                  </a:lnTo>
                  <a:lnTo>
                    <a:pt x="182" y="88"/>
                  </a:lnTo>
                  <a:lnTo>
                    <a:pt x="178" y="60"/>
                  </a:lnTo>
                  <a:lnTo>
                    <a:pt x="174" y="36"/>
                  </a:lnTo>
                  <a:lnTo>
                    <a:pt x="168" y="16"/>
                  </a:lnTo>
                  <a:lnTo>
                    <a:pt x="162" y="0"/>
                  </a:lnTo>
                  <a:lnTo>
                    <a:pt x="162" y="0"/>
                  </a:lnTo>
                  <a:lnTo>
                    <a:pt x="146" y="4"/>
                  </a:lnTo>
                  <a:lnTo>
                    <a:pt x="126" y="12"/>
                  </a:lnTo>
                  <a:lnTo>
                    <a:pt x="104" y="24"/>
                  </a:lnTo>
                  <a:lnTo>
                    <a:pt x="80" y="38"/>
                  </a:lnTo>
                  <a:lnTo>
                    <a:pt x="56" y="58"/>
                  </a:lnTo>
                  <a:lnTo>
                    <a:pt x="46" y="68"/>
                  </a:lnTo>
                  <a:lnTo>
                    <a:pt x="34" y="80"/>
                  </a:lnTo>
                  <a:lnTo>
                    <a:pt x="26" y="94"/>
                  </a:lnTo>
                  <a:lnTo>
                    <a:pt x="18" y="108"/>
                  </a:lnTo>
                  <a:lnTo>
                    <a:pt x="18" y="108"/>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37" name="Freeform 2067">
              <a:extLst>
                <a:ext uri="{FF2B5EF4-FFF2-40B4-BE49-F238E27FC236}">
                  <a16:creationId xmlns:a16="http://schemas.microsoft.com/office/drawing/2014/main" id="{216404B9-B128-4385-9DA1-C934F9C92B1A}"/>
                </a:ext>
              </a:extLst>
            </p:cNvPr>
            <p:cNvSpPr>
              <a:spLocks/>
            </p:cNvSpPr>
            <p:nvPr/>
          </p:nvSpPr>
          <p:spPr bwMode="auto">
            <a:xfrm>
              <a:off x="8968141" y="2525490"/>
              <a:ext cx="310883" cy="543152"/>
            </a:xfrm>
            <a:custGeom>
              <a:avLst/>
              <a:gdLst>
                <a:gd name="T0" fmla="*/ 10 w 174"/>
                <a:gd name="T1" fmla="*/ 180 h 304"/>
                <a:gd name="T2" fmla="*/ 10 w 174"/>
                <a:gd name="T3" fmla="*/ 180 h 304"/>
                <a:gd name="T4" fmla="*/ 18 w 174"/>
                <a:gd name="T5" fmla="*/ 196 h 304"/>
                <a:gd name="T6" fmla="*/ 26 w 174"/>
                <a:gd name="T7" fmla="*/ 210 h 304"/>
                <a:gd name="T8" fmla="*/ 34 w 174"/>
                <a:gd name="T9" fmla="*/ 224 h 304"/>
                <a:gd name="T10" fmla="*/ 44 w 174"/>
                <a:gd name="T11" fmla="*/ 236 h 304"/>
                <a:gd name="T12" fmla="*/ 66 w 174"/>
                <a:gd name="T13" fmla="*/ 256 h 304"/>
                <a:gd name="T14" fmla="*/ 90 w 174"/>
                <a:gd name="T15" fmla="*/ 274 h 304"/>
                <a:gd name="T16" fmla="*/ 110 w 174"/>
                <a:gd name="T17" fmla="*/ 286 h 304"/>
                <a:gd name="T18" fmla="*/ 128 w 174"/>
                <a:gd name="T19" fmla="*/ 296 h 304"/>
                <a:gd name="T20" fmla="*/ 144 w 174"/>
                <a:gd name="T21" fmla="*/ 304 h 304"/>
                <a:gd name="T22" fmla="*/ 144 w 174"/>
                <a:gd name="T23" fmla="*/ 304 h 304"/>
                <a:gd name="T24" fmla="*/ 152 w 174"/>
                <a:gd name="T25" fmla="*/ 288 h 304"/>
                <a:gd name="T26" fmla="*/ 158 w 174"/>
                <a:gd name="T27" fmla="*/ 268 h 304"/>
                <a:gd name="T28" fmla="*/ 166 w 174"/>
                <a:gd name="T29" fmla="*/ 246 h 304"/>
                <a:gd name="T30" fmla="*/ 172 w 174"/>
                <a:gd name="T31" fmla="*/ 218 h 304"/>
                <a:gd name="T32" fmla="*/ 174 w 174"/>
                <a:gd name="T33" fmla="*/ 186 h 304"/>
                <a:gd name="T34" fmla="*/ 174 w 174"/>
                <a:gd name="T35" fmla="*/ 172 h 304"/>
                <a:gd name="T36" fmla="*/ 172 w 174"/>
                <a:gd name="T37" fmla="*/ 156 h 304"/>
                <a:gd name="T38" fmla="*/ 170 w 174"/>
                <a:gd name="T39" fmla="*/ 140 h 304"/>
                <a:gd name="T40" fmla="*/ 164 w 174"/>
                <a:gd name="T41" fmla="*/ 124 h 304"/>
                <a:gd name="T42" fmla="*/ 164 w 174"/>
                <a:gd name="T43" fmla="*/ 124 h 304"/>
                <a:gd name="T44" fmla="*/ 158 w 174"/>
                <a:gd name="T45" fmla="*/ 108 h 304"/>
                <a:gd name="T46" fmla="*/ 150 w 174"/>
                <a:gd name="T47" fmla="*/ 94 h 304"/>
                <a:gd name="T48" fmla="*/ 140 w 174"/>
                <a:gd name="T49" fmla="*/ 80 h 304"/>
                <a:gd name="T50" fmla="*/ 130 w 174"/>
                <a:gd name="T51" fmla="*/ 68 h 304"/>
                <a:gd name="T52" fmla="*/ 108 w 174"/>
                <a:gd name="T53" fmla="*/ 48 h 304"/>
                <a:gd name="T54" fmla="*/ 86 w 174"/>
                <a:gd name="T55" fmla="*/ 30 h 304"/>
                <a:gd name="T56" fmla="*/ 66 w 174"/>
                <a:gd name="T57" fmla="*/ 16 h 304"/>
                <a:gd name="T58" fmla="*/ 48 w 174"/>
                <a:gd name="T59" fmla="*/ 8 h 304"/>
                <a:gd name="T60" fmla="*/ 32 w 174"/>
                <a:gd name="T61" fmla="*/ 0 h 304"/>
                <a:gd name="T62" fmla="*/ 32 w 174"/>
                <a:gd name="T63" fmla="*/ 0 h 304"/>
                <a:gd name="T64" fmla="*/ 24 w 174"/>
                <a:gd name="T65" fmla="*/ 16 h 304"/>
                <a:gd name="T66" fmla="*/ 16 w 174"/>
                <a:gd name="T67" fmla="*/ 34 h 304"/>
                <a:gd name="T68" fmla="*/ 10 w 174"/>
                <a:gd name="T69" fmla="*/ 58 h 304"/>
                <a:gd name="T70" fmla="*/ 4 w 174"/>
                <a:gd name="T71" fmla="*/ 86 h 304"/>
                <a:gd name="T72" fmla="*/ 0 w 174"/>
                <a:gd name="T73" fmla="*/ 116 h 304"/>
                <a:gd name="T74" fmla="*/ 2 w 174"/>
                <a:gd name="T75" fmla="*/ 132 h 304"/>
                <a:gd name="T76" fmla="*/ 2 w 174"/>
                <a:gd name="T77" fmla="*/ 148 h 304"/>
                <a:gd name="T78" fmla="*/ 6 w 174"/>
                <a:gd name="T79" fmla="*/ 164 h 304"/>
                <a:gd name="T80" fmla="*/ 10 w 174"/>
                <a:gd name="T81" fmla="*/ 180 h 304"/>
                <a:gd name="T82" fmla="*/ 10 w 174"/>
                <a:gd name="T83" fmla="*/ 180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74" h="304">
                  <a:moveTo>
                    <a:pt x="10" y="180"/>
                  </a:moveTo>
                  <a:lnTo>
                    <a:pt x="10" y="180"/>
                  </a:lnTo>
                  <a:lnTo>
                    <a:pt x="18" y="196"/>
                  </a:lnTo>
                  <a:lnTo>
                    <a:pt x="26" y="210"/>
                  </a:lnTo>
                  <a:lnTo>
                    <a:pt x="34" y="224"/>
                  </a:lnTo>
                  <a:lnTo>
                    <a:pt x="44" y="236"/>
                  </a:lnTo>
                  <a:lnTo>
                    <a:pt x="66" y="256"/>
                  </a:lnTo>
                  <a:lnTo>
                    <a:pt x="90" y="274"/>
                  </a:lnTo>
                  <a:lnTo>
                    <a:pt x="110" y="286"/>
                  </a:lnTo>
                  <a:lnTo>
                    <a:pt x="128" y="296"/>
                  </a:lnTo>
                  <a:lnTo>
                    <a:pt x="144" y="304"/>
                  </a:lnTo>
                  <a:lnTo>
                    <a:pt x="144" y="304"/>
                  </a:lnTo>
                  <a:lnTo>
                    <a:pt x="152" y="288"/>
                  </a:lnTo>
                  <a:lnTo>
                    <a:pt x="158" y="268"/>
                  </a:lnTo>
                  <a:lnTo>
                    <a:pt x="166" y="246"/>
                  </a:lnTo>
                  <a:lnTo>
                    <a:pt x="172" y="218"/>
                  </a:lnTo>
                  <a:lnTo>
                    <a:pt x="174" y="186"/>
                  </a:lnTo>
                  <a:lnTo>
                    <a:pt x="174" y="172"/>
                  </a:lnTo>
                  <a:lnTo>
                    <a:pt x="172" y="156"/>
                  </a:lnTo>
                  <a:lnTo>
                    <a:pt x="170" y="140"/>
                  </a:lnTo>
                  <a:lnTo>
                    <a:pt x="164" y="124"/>
                  </a:lnTo>
                  <a:lnTo>
                    <a:pt x="164" y="124"/>
                  </a:lnTo>
                  <a:lnTo>
                    <a:pt x="158" y="108"/>
                  </a:lnTo>
                  <a:lnTo>
                    <a:pt x="150" y="94"/>
                  </a:lnTo>
                  <a:lnTo>
                    <a:pt x="140" y="80"/>
                  </a:lnTo>
                  <a:lnTo>
                    <a:pt x="130" y="68"/>
                  </a:lnTo>
                  <a:lnTo>
                    <a:pt x="108" y="48"/>
                  </a:lnTo>
                  <a:lnTo>
                    <a:pt x="86" y="30"/>
                  </a:lnTo>
                  <a:lnTo>
                    <a:pt x="66" y="16"/>
                  </a:lnTo>
                  <a:lnTo>
                    <a:pt x="48" y="8"/>
                  </a:lnTo>
                  <a:lnTo>
                    <a:pt x="32" y="0"/>
                  </a:lnTo>
                  <a:lnTo>
                    <a:pt x="32" y="0"/>
                  </a:lnTo>
                  <a:lnTo>
                    <a:pt x="24" y="16"/>
                  </a:lnTo>
                  <a:lnTo>
                    <a:pt x="16" y="34"/>
                  </a:lnTo>
                  <a:lnTo>
                    <a:pt x="10" y="58"/>
                  </a:lnTo>
                  <a:lnTo>
                    <a:pt x="4" y="86"/>
                  </a:lnTo>
                  <a:lnTo>
                    <a:pt x="0" y="116"/>
                  </a:lnTo>
                  <a:lnTo>
                    <a:pt x="2" y="132"/>
                  </a:lnTo>
                  <a:lnTo>
                    <a:pt x="2" y="148"/>
                  </a:lnTo>
                  <a:lnTo>
                    <a:pt x="6" y="164"/>
                  </a:lnTo>
                  <a:lnTo>
                    <a:pt x="10" y="180"/>
                  </a:lnTo>
                  <a:lnTo>
                    <a:pt x="10" y="18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38" name="Freeform 2069">
              <a:extLst>
                <a:ext uri="{FF2B5EF4-FFF2-40B4-BE49-F238E27FC236}">
                  <a16:creationId xmlns:a16="http://schemas.microsoft.com/office/drawing/2014/main" id="{490D3497-ED02-4F18-BB80-DC7FEDEDB4A7}"/>
                </a:ext>
              </a:extLst>
            </p:cNvPr>
            <p:cNvSpPr>
              <a:spLocks/>
            </p:cNvSpPr>
            <p:nvPr/>
          </p:nvSpPr>
          <p:spPr bwMode="auto">
            <a:xfrm>
              <a:off x="9164676" y="3533180"/>
              <a:ext cx="643206" cy="1588363"/>
            </a:xfrm>
            <a:custGeom>
              <a:avLst/>
              <a:gdLst>
                <a:gd name="T0" fmla="*/ 316 w 360"/>
                <a:gd name="T1" fmla="*/ 889 h 889"/>
                <a:gd name="T2" fmla="*/ 170 w 360"/>
                <a:gd name="T3" fmla="*/ 628 h 889"/>
                <a:gd name="T4" fmla="*/ 42 w 360"/>
                <a:gd name="T5" fmla="*/ 490 h 889"/>
                <a:gd name="T6" fmla="*/ 42 w 360"/>
                <a:gd name="T7" fmla="*/ 490 h 889"/>
                <a:gd name="T8" fmla="*/ 32 w 360"/>
                <a:gd name="T9" fmla="*/ 478 h 889"/>
                <a:gd name="T10" fmla="*/ 24 w 360"/>
                <a:gd name="T11" fmla="*/ 466 h 889"/>
                <a:gd name="T12" fmla="*/ 16 w 360"/>
                <a:gd name="T13" fmla="*/ 454 h 889"/>
                <a:gd name="T14" fmla="*/ 10 w 360"/>
                <a:gd name="T15" fmla="*/ 440 h 889"/>
                <a:gd name="T16" fmla="*/ 6 w 360"/>
                <a:gd name="T17" fmla="*/ 426 h 889"/>
                <a:gd name="T18" fmla="*/ 2 w 360"/>
                <a:gd name="T19" fmla="*/ 412 h 889"/>
                <a:gd name="T20" fmla="*/ 0 w 360"/>
                <a:gd name="T21" fmla="*/ 398 h 889"/>
                <a:gd name="T22" fmla="*/ 0 w 360"/>
                <a:gd name="T23" fmla="*/ 382 h 889"/>
                <a:gd name="T24" fmla="*/ 2 w 360"/>
                <a:gd name="T25" fmla="*/ 190 h 889"/>
                <a:gd name="T26" fmla="*/ 38 w 360"/>
                <a:gd name="T27" fmla="*/ 0 h 889"/>
                <a:gd name="T28" fmla="*/ 36 w 360"/>
                <a:gd name="T29" fmla="*/ 10 h 889"/>
                <a:gd name="T30" fmla="*/ 92 w 360"/>
                <a:gd name="T31" fmla="*/ 14 h 889"/>
                <a:gd name="T32" fmla="*/ 94 w 360"/>
                <a:gd name="T33" fmla="*/ 8 h 889"/>
                <a:gd name="T34" fmla="*/ 58 w 360"/>
                <a:gd name="T35" fmla="*/ 198 h 889"/>
                <a:gd name="T36" fmla="*/ 58 w 360"/>
                <a:gd name="T37" fmla="*/ 360 h 889"/>
                <a:gd name="T38" fmla="*/ 58 w 360"/>
                <a:gd name="T39" fmla="*/ 360 h 889"/>
                <a:gd name="T40" fmla="*/ 58 w 360"/>
                <a:gd name="T41" fmla="*/ 376 h 889"/>
                <a:gd name="T42" fmla="*/ 60 w 360"/>
                <a:gd name="T43" fmla="*/ 390 h 889"/>
                <a:gd name="T44" fmla="*/ 64 w 360"/>
                <a:gd name="T45" fmla="*/ 404 h 889"/>
                <a:gd name="T46" fmla="*/ 68 w 360"/>
                <a:gd name="T47" fmla="*/ 418 h 889"/>
                <a:gd name="T48" fmla="*/ 74 w 360"/>
                <a:gd name="T49" fmla="*/ 432 h 889"/>
                <a:gd name="T50" fmla="*/ 80 w 360"/>
                <a:gd name="T51" fmla="*/ 444 h 889"/>
                <a:gd name="T52" fmla="*/ 88 w 360"/>
                <a:gd name="T53" fmla="*/ 456 h 889"/>
                <a:gd name="T54" fmla="*/ 98 w 360"/>
                <a:gd name="T55" fmla="*/ 468 h 889"/>
                <a:gd name="T56" fmla="*/ 216 w 360"/>
                <a:gd name="T57" fmla="*/ 596 h 889"/>
                <a:gd name="T58" fmla="*/ 360 w 360"/>
                <a:gd name="T59" fmla="*/ 794 h 889"/>
                <a:gd name="T60" fmla="*/ 316 w 360"/>
                <a:gd name="T61" fmla="*/ 889 h 8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60" h="889">
                  <a:moveTo>
                    <a:pt x="316" y="889"/>
                  </a:moveTo>
                  <a:lnTo>
                    <a:pt x="170" y="628"/>
                  </a:lnTo>
                  <a:lnTo>
                    <a:pt x="42" y="490"/>
                  </a:lnTo>
                  <a:lnTo>
                    <a:pt x="42" y="490"/>
                  </a:lnTo>
                  <a:lnTo>
                    <a:pt x="32" y="478"/>
                  </a:lnTo>
                  <a:lnTo>
                    <a:pt x="24" y="466"/>
                  </a:lnTo>
                  <a:lnTo>
                    <a:pt x="16" y="454"/>
                  </a:lnTo>
                  <a:lnTo>
                    <a:pt x="10" y="440"/>
                  </a:lnTo>
                  <a:lnTo>
                    <a:pt x="6" y="426"/>
                  </a:lnTo>
                  <a:lnTo>
                    <a:pt x="2" y="412"/>
                  </a:lnTo>
                  <a:lnTo>
                    <a:pt x="0" y="398"/>
                  </a:lnTo>
                  <a:lnTo>
                    <a:pt x="0" y="382"/>
                  </a:lnTo>
                  <a:lnTo>
                    <a:pt x="2" y="190"/>
                  </a:lnTo>
                  <a:lnTo>
                    <a:pt x="38" y="0"/>
                  </a:lnTo>
                  <a:lnTo>
                    <a:pt x="36" y="10"/>
                  </a:lnTo>
                  <a:lnTo>
                    <a:pt x="92" y="14"/>
                  </a:lnTo>
                  <a:lnTo>
                    <a:pt x="94" y="8"/>
                  </a:lnTo>
                  <a:lnTo>
                    <a:pt x="58" y="198"/>
                  </a:lnTo>
                  <a:lnTo>
                    <a:pt x="58" y="360"/>
                  </a:lnTo>
                  <a:lnTo>
                    <a:pt x="58" y="360"/>
                  </a:lnTo>
                  <a:lnTo>
                    <a:pt x="58" y="376"/>
                  </a:lnTo>
                  <a:lnTo>
                    <a:pt x="60" y="390"/>
                  </a:lnTo>
                  <a:lnTo>
                    <a:pt x="64" y="404"/>
                  </a:lnTo>
                  <a:lnTo>
                    <a:pt x="68" y="418"/>
                  </a:lnTo>
                  <a:lnTo>
                    <a:pt x="74" y="432"/>
                  </a:lnTo>
                  <a:lnTo>
                    <a:pt x="80" y="444"/>
                  </a:lnTo>
                  <a:lnTo>
                    <a:pt x="88" y="456"/>
                  </a:lnTo>
                  <a:lnTo>
                    <a:pt x="98" y="468"/>
                  </a:lnTo>
                  <a:lnTo>
                    <a:pt x="216" y="596"/>
                  </a:lnTo>
                  <a:lnTo>
                    <a:pt x="360" y="794"/>
                  </a:lnTo>
                  <a:lnTo>
                    <a:pt x="316" y="889"/>
                  </a:lnTo>
                  <a:close/>
                </a:path>
              </a:pathLst>
            </a:custGeom>
            <a:solidFill>
              <a:srgbClr val="AE8A6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39" name="Freeform 2073">
              <a:extLst>
                <a:ext uri="{FF2B5EF4-FFF2-40B4-BE49-F238E27FC236}">
                  <a16:creationId xmlns:a16="http://schemas.microsoft.com/office/drawing/2014/main" id="{F177CCB7-E002-4011-881A-3F788CEB43FD}"/>
                </a:ext>
              </a:extLst>
            </p:cNvPr>
            <p:cNvSpPr>
              <a:spLocks/>
            </p:cNvSpPr>
            <p:nvPr/>
          </p:nvSpPr>
          <p:spPr bwMode="auto">
            <a:xfrm>
              <a:off x="9286170" y="4015585"/>
              <a:ext cx="293016" cy="578886"/>
            </a:xfrm>
            <a:custGeom>
              <a:avLst/>
              <a:gdLst>
                <a:gd name="T0" fmla="*/ 164 w 164"/>
                <a:gd name="T1" fmla="*/ 158 h 324"/>
                <a:gd name="T2" fmla="*/ 164 w 164"/>
                <a:gd name="T3" fmla="*/ 158 h 324"/>
                <a:gd name="T4" fmla="*/ 164 w 164"/>
                <a:gd name="T5" fmla="*/ 176 h 324"/>
                <a:gd name="T6" fmla="*/ 162 w 164"/>
                <a:gd name="T7" fmla="*/ 192 h 324"/>
                <a:gd name="T8" fmla="*/ 158 w 164"/>
                <a:gd name="T9" fmla="*/ 208 h 324"/>
                <a:gd name="T10" fmla="*/ 154 w 164"/>
                <a:gd name="T11" fmla="*/ 222 h 324"/>
                <a:gd name="T12" fmla="*/ 142 w 164"/>
                <a:gd name="T13" fmla="*/ 250 h 324"/>
                <a:gd name="T14" fmla="*/ 128 w 164"/>
                <a:gd name="T15" fmla="*/ 274 h 324"/>
                <a:gd name="T16" fmla="*/ 114 w 164"/>
                <a:gd name="T17" fmla="*/ 296 h 324"/>
                <a:gd name="T18" fmla="*/ 102 w 164"/>
                <a:gd name="T19" fmla="*/ 310 h 324"/>
                <a:gd name="T20" fmla="*/ 90 w 164"/>
                <a:gd name="T21" fmla="*/ 324 h 324"/>
                <a:gd name="T22" fmla="*/ 90 w 164"/>
                <a:gd name="T23" fmla="*/ 324 h 324"/>
                <a:gd name="T24" fmla="*/ 76 w 164"/>
                <a:gd name="T25" fmla="*/ 312 h 324"/>
                <a:gd name="T26" fmla="*/ 62 w 164"/>
                <a:gd name="T27" fmla="*/ 298 h 324"/>
                <a:gd name="T28" fmla="*/ 46 w 164"/>
                <a:gd name="T29" fmla="*/ 278 h 324"/>
                <a:gd name="T30" fmla="*/ 30 w 164"/>
                <a:gd name="T31" fmla="*/ 256 h 324"/>
                <a:gd name="T32" fmla="*/ 16 w 164"/>
                <a:gd name="T33" fmla="*/ 228 h 324"/>
                <a:gd name="T34" fmla="*/ 10 w 164"/>
                <a:gd name="T35" fmla="*/ 214 h 324"/>
                <a:gd name="T36" fmla="*/ 6 w 164"/>
                <a:gd name="T37" fmla="*/ 198 h 324"/>
                <a:gd name="T38" fmla="*/ 2 w 164"/>
                <a:gd name="T39" fmla="*/ 182 h 324"/>
                <a:gd name="T40" fmla="*/ 0 w 164"/>
                <a:gd name="T41" fmla="*/ 166 h 324"/>
                <a:gd name="T42" fmla="*/ 0 w 164"/>
                <a:gd name="T43" fmla="*/ 166 h 324"/>
                <a:gd name="T44" fmla="*/ 0 w 164"/>
                <a:gd name="T45" fmla="*/ 150 h 324"/>
                <a:gd name="T46" fmla="*/ 2 w 164"/>
                <a:gd name="T47" fmla="*/ 132 h 324"/>
                <a:gd name="T48" fmla="*/ 6 w 164"/>
                <a:gd name="T49" fmla="*/ 118 h 324"/>
                <a:gd name="T50" fmla="*/ 10 w 164"/>
                <a:gd name="T51" fmla="*/ 102 h 324"/>
                <a:gd name="T52" fmla="*/ 22 w 164"/>
                <a:gd name="T53" fmla="*/ 74 h 324"/>
                <a:gd name="T54" fmla="*/ 36 w 164"/>
                <a:gd name="T55" fmla="*/ 50 h 324"/>
                <a:gd name="T56" fmla="*/ 50 w 164"/>
                <a:gd name="T57" fmla="*/ 28 h 324"/>
                <a:gd name="T58" fmla="*/ 64 w 164"/>
                <a:gd name="T59" fmla="*/ 14 h 324"/>
                <a:gd name="T60" fmla="*/ 76 w 164"/>
                <a:gd name="T61" fmla="*/ 0 h 324"/>
                <a:gd name="T62" fmla="*/ 76 w 164"/>
                <a:gd name="T63" fmla="*/ 0 h 324"/>
                <a:gd name="T64" fmla="*/ 88 w 164"/>
                <a:gd name="T65" fmla="*/ 12 h 324"/>
                <a:gd name="T66" fmla="*/ 102 w 164"/>
                <a:gd name="T67" fmla="*/ 26 h 324"/>
                <a:gd name="T68" fmla="*/ 118 w 164"/>
                <a:gd name="T69" fmla="*/ 46 h 324"/>
                <a:gd name="T70" fmla="*/ 134 w 164"/>
                <a:gd name="T71" fmla="*/ 70 h 324"/>
                <a:gd name="T72" fmla="*/ 148 w 164"/>
                <a:gd name="T73" fmla="*/ 96 h 324"/>
                <a:gd name="T74" fmla="*/ 154 w 164"/>
                <a:gd name="T75" fmla="*/ 110 h 324"/>
                <a:gd name="T76" fmla="*/ 160 w 164"/>
                <a:gd name="T77" fmla="*/ 126 h 324"/>
                <a:gd name="T78" fmla="*/ 162 w 164"/>
                <a:gd name="T79" fmla="*/ 142 h 324"/>
                <a:gd name="T80" fmla="*/ 164 w 164"/>
                <a:gd name="T81" fmla="*/ 158 h 324"/>
                <a:gd name="T82" fmla="*/ 164 w 164"/>
                <a:gd name="T83" fmla="*/ 158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64" h="324">
                  <a:moveTo>
                    <a:pt x="164" y="158"/>
                  </a:moveTo>
                  <a:lnTo>
                    <a:pt x="164" y="158"/>
                  </a:lnTo>
                  <a:lnTo>
                    <a:pt x="164" y="176"/>
                  </a:lnTo>
                  <a:lnTo>
                    <a:pt x="162" y="192"/>
                  </a:lnTo>
                  <a:lnTo>
                    <a:pt x="158" y="208"/>
                  </a:lnTo>
                  <a:lnTo>
                    <a:pt x="154" y="222"/>
                  </a:lnTo>
                  <a:lnTo>
                    <a:pt x="142" y="250"/>
                  </a:lnTo>
                  <a:lnTo>
                    <a:pt x="128" y="274"/>
                  </a:lnTo>
                  <a:lnTo>
                    <a:pt x="114" y="296"/>
                  </a:lnTo>
                  <a:lnTo>
                    <a:pt x="102" y="310"/>
                  </a:lnTo>
                  <a:lnTo>
                    <a:pt x="90" y="324"/>
                  </a:lnTo>
                  <a:lnTo>
                    <a:pt x="90" y="324"/>
                  </a:lnTo>
                  <a:lnTo>
                    <a:pt x="76" y="312"/>
                  </a:lnTo>
                  <a:lnTo>
                    <a:pt x="62" y="298"/>
                  </a:lnTo>
                  <a:lnTo>
                    <a:pt x="46" y="278"/>
                  </a:lnTo>
                  <a:lnTo>
                    <a:pt x="30" y="256"/>
                  </a:lnTo>
                  <a:lnTo>
                    <a:pt x="16" y="228"/>
                  </a:lnTo>
                  <a:lnTo>
                    <a:pt x="10" y="214"/>
                  </a:lnTo>
                  <a:lnTo>
                    <a:pt x="6" y="198"/>
                  </a:lnTo>
                  <a:lnTo>
                    <a:pt x="2" y="182"/>
                  </a:lnTo>
                  <a:lnTo>
                    <a:pt x="0" y="166"/>
                  </a:lnTo>
                  <a:lnTo>
                    <a:pt x="0" y="166"/>
                  </a:lnTo>
                  <a:lnTo>
                    <a:pt x="0" y="150"/>
                  </a:lnTo>
                  <a:lnTo>
                    <a:pt x="2" y="132"/>
                  </a:lnTo>
                  <a:lnTo>
                    <a:pt x="6" y="118"/>
                  </a:lnTo>
                  <a:lnTo>
                    <a:pt x="10" y="102"/>
                  </a:lnTo>
                  <a:lnTo>
                    <a:pt x="22" y="74"/>
                  </a:lnTo>
                  <a:lnTo>
                    <a:pt x="36" y="50"/>
                  </a:lnTo>
                  <a:lnTo>
                    <a:pt x="50" y="28"/>
                  </a:lnTo>
                  <a:lnTo>
                    <a:pt x="64" y="14"/>
                  </a:lnTo>
                  <a:lnTo>
                    <a:pt x="76" y="0"/>
                  </a:lnTo>
                  <a:lnTo>
                    <a:pt x="76" y="0"/>
                  </a:lnTo>
                  <a:lnTo>
                    <a:pt x="88" y="12"/>
                  </a:lnTo>
                  <a:lnTo>
                    <a:pt x="102" y="26"/>
                  </a:lnTo>
                  <a:lnTo>
                    <a:pt x="118" y="46"/>
                  </a:lnTo>
                  <a:lnTo>
                    <a:pt x="134" y="70"/>
                  </a:lnTo>
                  <a:lnTo>
                    <a:pt x="148" y="96"/>
                  </a:lnTo>
                  <a:lnTo>
                    <a:pt x="154" y="110"/>
                  </a:lnTo>
                  <a:lnTo>
                    <a:pt x="160" y="126"/>
                  </a:lnTo>
                  <a:lnTo>
                    <a:pt x="162" y="142"/>
                  </a:lnTo>
                  <a:lnTo>
                    <a:pt x="164" y="158"/>
                  </a:lnTo>
                  <a:lnTo>
                    <a:pt x="164" y="158"/>
                  </a:lnTo>
                  <a:close/>
                </a:path>
              </a:pathLst>
            </a:custGeom>
            <a:solidFill>
              <a:srgbClr val="ADD15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40" name="Freeform 2075">
              <a:extLst>
                <a:ext uri="{FF2B5EF4-FFF2-40B4-BE49-F238E27FC236}">
                  <a16:creationId xmlns:a16="http://schemas.microsoft.com/office/drawing/2014/main" id="{4BAF3C9B-F27F-4C49-8BB5-EA807BDC2521}"/>
                </a:ext>
              </a:extLst>
            </p:cNvPr>
            <p:cNvSpPr>
              <a:spLocks/>
            </p:cNvSpPr>
            <p:nvPr/>
          </p:nvSpPr>
          <p:spPr bwMode="auto">
            <a:xfrm>
              <a:off x="9025314" y="4462256"/>
              <a:ext cx="500272" cy="335897"/>
            </a:xfrm>
            <a:custGeom>
              <a:avLst/>
              <a:gdLst>
                <a:gd name="T0" fmla="*/ 182 w 280"/>
                <a:gd name="T1" fmla="*/ 24 h 188"/>
                <a:gd name="T2" fmla="*/ 182 w 280"/>
                <a:gd name="T3" fmla="*/ 24 h 188"/>
                <a:gd name="T4" fmla="*/ 196 w 280"/>
                <a:gd name="T5" fmla="*/ 32 h 188"/>
                <a:gd name="T6" fmla="*/ 208 w 280"/>
                <a:gd name="T7" fmla="*/ 44 h 188"/>
                <a:gd name="T8" fmla="*/ 220 w 280"/>
                <a:gd name="T9" fmla="*/ 54 h 188"/>
                <a:gd name="T10" fmla="*/ 230 w 280"/>
                <a:gd name="T11" fmla="*/ 66 h 188"/>
                <a:gd name="T12" fmla="*/ 246 w 280"/>
                <a:gd name="T13" fmla="*/ 92 h 188"/>
                <a:gd name="T14" fmla="*/ 260 w 280"/>
                <a:gd name="T15" fmla="*/ 118 h 188"/>
                <a:gd name="T16" fmla="*/ 268 w 280"/>
                <a:gd name="T17" fmla="*/ 140 h 188"/>
                <a:gd name="T18" fmla="*/ 274 w 280"/>
                <a:gd name="T19" fmla="*/ 160 h 188"/>
                <a:gd name="T20" fmla="*/ 280 w 280"/>
                <a:gd name="T21" fmla="*/ 176 h 188"/>
                <a:gd name="T22" fmla="*/ 280 w 280"/>
                <a:gd name="T23" fmla="*/ 176 h 188"/>
                <a:gd name="T24" fmla="*/ 262 w 280"/>
                <a:gd name="T25" fmla="*/ 182 h 188"/>
                <a:gd name="T26" fmla="*/ 242 w 280"/>
                <a:gd name="T27" fmla="*/ 184 h 188"/>
                <a:gd name="T28" fmla="*/ 218 w 280"/>
                <a:gd name="T29" fmla="*/ 188 h 188"/>
                <a:gd name="T30" fmla="*/ 190 w 280"/>
                <a:gd name="T31" fmla="*/ 188 h 188"/>
                <a:gd name="T32" fmla="*/ 158 w 280"/>
                <a:gd name="T33" fmla="*/ 186 h 188"/>
                <a:gd name="T34" fmla="*/ 144 w 280"/>
                <a:gd name="T35" fmla="*/ 182 h 188"/>
                <a:gd name="T36" fmla="*/ 128 w 280"/>
                <a:gd name="T37" fmla="*/ 178 h 188"/>
                <a:gd name="T38" fmla="*/ 112 w 280"/>
                <a:gd name="T39" fmla="*/ 172 h 188"/>
                <a:gd name="T40" fmla="*/ 98 w 280"/>
                <a:gd name="T41" fmla="*/ 164 h 188"/>
                <a:gd name="T42" fmla="*/ 98 w 280"/>
                <a:gd name="T43" fmla="*/ 164 h 188"/>
                <a:gd name="T44" fmla="*/ 84 w 280"/>
                <a:gd name="T45" fmla="*/ 156 h 188"/>
                <a:gd name="T46" fmla="*/ 72 w 280"/>
                <a:gd name="T47" fmla="*/ 144 h 188"/>
                <a:gd name="T48" fmla="*/ 60 w 280"/>
                <a:gd name="T49" fmla="*/ 134 h 188"/>
                <a:gd name="T50" fmla="*/ 50 w 280"/>
                <a:gd name="T51" fmla="*/ 122 h 188"/>
                <a:gd name="T52" fmla="*/ 34 w 280"/>
                <a:gd name="T53" fmla="*/ 96 h 188"/>
                <a:gd name="T54" fmla="*/ 20 w 280"/>
                <a:gd name="T55" fmla="*/ 70 h 188"/>
                <a:gd name="T56" fmla="*/ 12 w 280"/>
                <a:gd name="T57" fmla="*/ 48 h 188"/>
                <a:gd name="T58" fmla="*/ 4 w 280"/>
                <a:gd name="T59" fmla="*/ 28 h 188"/>
                <a:gd name="T60" fmla="*/ 0 w 280"/>
                <a:gd name="T61" fmla="*/ 12 h 188"/>
                <a:gd name="T62" fmla="*/ 0 w 280"/>
                <a:gd name="T63" fmla="*/ 12 h 188"/>
                <a:gd name="T64" fmla="*/ 18 w 280"/>
                <a:gd name="T65" fmla="*/ 6 h 188"/>
                <a:gd name="T66" fmla="*/ 38 w 280"/>
                <a:gd name="T67" fmla="*/ 2 h 188"/>
                <a:gd name="T68" fmla="*/ 62 w 280"/>
                <a:gd name="T69" fmla="*/ 0 h 188"/>
                <a:gd name="T70" fmla="*/ 90 w 280"/>
                <a:gd name="T71" fmla="*/ 0 h 188"/>
                <a:gd name="T72" fmla="*/ 122 w 280"/>
                <a:gd name="T73" fmla="*/ 2 h 188"/>
                <a:gd name="T74" fmla="*/ 136 w 280"/>
                <a:gd name="T75" fmla="*/ 6 h 188"/>
                <a:gd name="T76" fmla="*/ 152 w 280"/>
                <a:gd name="T77" fmla="*/ 10 h 188"/>
                <a:gd name="T78" fmla="*/ 168 w 280"/>
                <a:gd name="T79" fmla="*/ 16 h 188"/>
                <a:gd name="T80" fmla="*/ 182 w 280"/>
                <a:gd name="T81" fmla="*/ 24 h 188"/>
                <a:gd name="T82" fmla="*/ 182 w 280"/>
                <a:gd name="T83" fmla="*/ 24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80" h="188">
                  <a:moveTo>
                    <a:pt x="182" y="24"/>
                  </a:moveTo>
                  <a:lnTo>
                    <a:pt x="182" y="24"/>
                  </a:lnTo>
                  <a:lnTo>
                    <a:pt x="196" y="32"/>
                  </a:lnTo>
                  <a:lnTo>
                    <a:pt x="208" y="44"/>
                  </a:lnTo>
                  <a:lnTo>
                    <a:pt x="220" y="54"/>
                  </a:lnTo>
                  <a:lnTo>
                    <a:pt x="230" y="66"/>
                  </a:lnTo>
                  <a:lnTo>
                    <a:pt x="246" y="92"/>
                  </a:lnTo>
                  <a:lnTo>
                    <a:pt x="260" y="118"/>
                  </a:lnTo>
                  <a:lnTo>
                    <a:pt x="268" y="140"/>
                  </a:lnTo>
                  <a:lnTo>
                    <a:pt x="274" y="160"/>
                  </a:lnTo>
                  <a:lnTo>
                    <a:pt x="280" y="176"/>
                  </a:lnTo>
                  <a:lnTo>
                    <a:pt x="280" y="176"/>
                  </a:lnTo>
                  <a:lnTo>
                    <a:pt x="262" y="182"/>
                  </a:lnTo>
                  <a:lnTo>
                    <a:pt x="242" y="184"/>
                  </a:lnTo>
                  <a:lnTo>
                    <a:pt x="218" y="188"/>
                  </a:lnTo>
                  <a:lnTo>
                    <a:pt x="190" y="188"/>
                  </a:lnTo>
                  <a:lnTo>
                    <a:pt x="158" y="186"/>
                  </a:lnTo>
                  <a:lnTo>
                    <a:pt x="144" y="182"/>
                  </a:lnTo>
                  <a:lnTo>
                    <a:pt x="128" y="178"/>
                  </a:lnTo>
                  <a:lnTo>
                    <a:pt x="112" y="172"/>
                  </a:lnTo>
                  <a:lnTo>
                    <a:pt x="98" y="164"/>
                  </a:lnTo>
                  <a:lnTo>
                    <a:pt x="98" y="164"/>
                  </a:lnTo>
                  <a:lnTo>
                    <a:pt x="84" y="156"/>
                  </a:lnTo>
                  <a:lnTo>
                    <a:pt x="72" y="144"/>
                  </a:lnTo>
                  <a:lnTo>
                    <a:pt x="60" y="134"/>
                  </a:lnTo>
                  <a:lnTo>
                    <a:pt x="50" y="122"/>
                  </a:lnTo>
                  <a:lnTo>
                    <a:pt x="34" y="96"/>
                  </a:lnTo>
                  <a:lnTo>
                    <a:pt x="20" y="70"/>
                  </a:lnTo>
                  <a:lnTo>
                    <a:pt x="12" y="48"/>
                  </a:lnTo>
                  <a:lnTo>
                    <a:pt x="4" y="28"/>
                  </a:lnTo>
                  <a:lnTo>
                    <a:pt x="0" y="12"/>
                  </a:lnTo>
                  <a:lnTo>
                    <a:pt x="0" y="12"/>
                  </a:lnTo>
                  <a:lnTo>
                    <a:pt x="18" y="6"/>
                  </a:lnTo>
                  <a:lnTo>
                    <a:pt x="38" y="2"/>
                  </a:lnTo>
                  <a:lnTo>
                    <a:pt x="62" y="0"/>
                  </a:lnTo>
                  <a:lnTo>
                    <a:pt x="90" y="0"/>
                  </a:lnTo>
                  <a:lnTo>
                    <a:pt x="122" y="2"/>
                  </a:lnTo>
                  <a:lnTo>
                    <a:pt x="136" y="6"/>
                  </a:lnTo>
                  <a:lnTo>
                    <a:pt x="152" y="10"/>
                  </a:lnTo>
                  <a:lnTo>
                    <a:pt x="168" y="16"/>
                  </a:lnTo>
                  <a:lnTo>
                    <a:pt x="182" y="24"/>
                  </a:lnTo>
                  <a:lnTo>
                    <a:pt x="182" y="2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41" name="Freeform 2077">
              <a:extLst>
                <a:ext uri="{FF2B5EF4-FFF2-40B4-BE49-F238E27FC236}">
                  <a16:creationId xmlns:a16="http://schemas.microsoft.com/office/drawing/2014/main" id="{667625AB-049D-4E75-8644-CCA1BD22E807}"/>
                </a:ext>
              </a:extLst>
            </p:cNvPr>
            <p:cNvSpPr>
              <a:spLocks/>
            </p:cNvSpPr>
            <p:nvPr/>
          </p:nvSpPr>
          <p:spPr bwMode="auto">
            <a:xfrm>
              <a:off x="9507719" y="3547474"/>
              <a:ext cx="325176" cy="518139"/>
            </a:xfrm>
            <a:custGeom>
              <a:avLst/>
              <a:gdLst>
                <a:gd name="T0" fmla="*/ 166 w 182"/>
                <a:gd name="T1" fmla="*/ 108 h 290"/>
                <a:gd name="T2" fmla="*/ 166 w 182"/>
                <a:gd name="T3" fmla="*/ 108 h 290"/>
                <a:gd name="T4" fmla="*/ 172 w 182"/>
                <a:gd name="T5" fmla="*/ 124 h 290"/>
                <a:gd name="T6" fmla="*/ 176 w 182"/>
                <a:gd name="T7" fmla="*/ 140 h 290"/>
                <a:gd name="T8" fmla="*/ 180 w 182"/>
                <a:gd name="T9" fmla="*/ 156 h 290"/>
                <a:gd name="T10" fmla="*/ 182 w 182"/>
                <a:gd name="T11" fmla="*/ 170 h 290"/>
                <a:gd name="T12" fmla="*/ 182 w 182"/>
                <a:gd name="T13" fmla="*/ 202 h 290"/>
                <a:gd name="T14" fmla="*/ 178 w 182"/>
                <a:gd name="T15" fmla="*/ 230 h 290"/>
                <a:gd name="T16" fmla="*/ 174 w 182"/>
                <a:gd name="T17" fmla="*/ 254 h 290"/>
                <a:gd name="T18" fmla="*/ 170 w 182"/>
                <a:gd name="T19" fmla="*/ 274 h 290"/>
                <a:gd name="T20" fmla="*/ 164 w 182"/>
                <a:gd name="T21" fmla="*/ 290 h 290"/>
                <a:gd name="T22" fmla="*/ 164 w 182"/>
                <a:gd name="T23" fmla="*/ 290 h 290"/>
                <a:gd name="T24" fmla="*/ 146 w 182"/>
                <a:gd name="T25" fmla="*/ 284 h 290"/>
                <a:gd name="T26" fmla="*/ 128 w 182"/>
                <a:gd name="T27" fmla="*/ 278 h 290"/>
                <a:gd name="T28" fmla="*/ 106 w 182"/>
                <a:gd name="T29" fmla="*/ 266 h 290"/>
                <a:gd name="T30" fmla="*/ 82 w 182"/>
                <a:gd name="T31" fmla="*/ 252 h 290"/>
                <a:gd name="T32" fmla="*/ 58 w 182"/>
                <a:gd name="T33" fmla="*/ 232 h 290"/>
                <a:gd name="T34" fmla="*/ 46 w 182"/>
                <a:gd name="T35" fmla="*/ 222 h 290"/>
                <a:gd name="T36" fmla="*/ 36 w 182"/>
                <a:gd name="T37" fmla="*/ 210 h 290"/>
                <a:gd name="T38" fmla="*/ 26 w 182"/>
                <a:gd name="T39" fmla="*/ 196 h 290"/>
                <a:gd name="T40" fmla="*/ 18 w 182"/>
                <a:gd name="T41" fmla="*/ 182 h 290"/>
                <a:gd name="T42" fmla="*/ 18 w 182"/>
                <a:gd name="T43" fmla="*/ 182 h 290"/>
                <a:gd name="T44" fmla="*/ 12 w 182"/>
                <a:gd name="T45" fmla="*/ 166 h 290"/>
                <a:gd name="T46" fmla="*/ 6 w 182"/>
                <a:gd name="T47" fmla="*/ 150 h 290"/>
                <a:gd name="T48" fmla="*/ 4 w 182"/>
                <a:gd name="T49" fmla="*/ 134 h 290"/>
                <a:gd name="T50" fmla="*/ 2 w 182"/>
                <a:gd name="T51" fmla="*/ 118 h 290"/>
                <a:gd name="T52" fmla="*/ 0 w 182"/>
                <a:gd name="T53" fmla="*/ 88 h 290"/>
                <a:gd name="T54" fmla="*/ 4 w 182"/>
                <a:gd name="T55" fmla="*/ 60 h 290"/>
                <a:gd name="T56" fmla="*/ 8 w 182"/>
                <a:gd name="T57" fmla="*/ 36 h 290"/>
                <a:gd name="T58" fmla="*/ 14 w 182"/>
                <a:gd name="T59" fmla="*/ 16 h 290"/>
                <a:gd name="T60" fmla="*/ 20 w 182"/>
                <a:gd name="T61" fmla="*/ 0 h 290"/>
                <a:gd name="T62" fmla="*/ 20 w 182"/>
                <a:gd name="T63" fmla="*/ 0 h 290"/>
                <a:gd name="T64" fmla="*/ 36 w 182"/>
                <a:gd name="T65" fmla="*/ 6 h 290"/>
                <a:gd name="T66" fmla="*/ 56 w 182"/>
                <a:gd name="T67" fmla="*/ 12 h 290"/>
                <a:gd name="T68" fmla="*/ 78 w 182"/>
                <a:gd name="T69" fmla="*/ 24 h 290"/>
                <a:gd name="T70" fmla="*/ 102 w 182"/>
                <a:gd name="T71" fmla="*/ 38 h 290"/>
                <a:gd name="T72" fmla="*/ 126 w 182"/>
                <a:gd name="T73" fmla="*/ 58 h 290"/>
                <a:gd name="T74" fmla="*/ 136 w 182"/>
                <a:gd name="T75" fmla="*/ 68 h 290"/>
                <a:gd name="T76" fmla="*/ 148 w 182"/>
                <a:gd name="T77" fmla="*/ 80 h 290"/>
                <a:gd name="T78" fmla="*/ 156 w 182"/>
                <a:gd name="T79" fmla="*/ 94 h 290"/>
                <a:gd name="T80" fmla="*/ 166 w 182"/>
                <a:gd name="T81" fmla="*/ 108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82" h="290">
                  <a:moveTo>
                    <a:pt x="166" y="108"/>
                  </a:moveTo>
                  <a:lnTo>
                    <a:pt x="166" y="108"/>
                  </a:lnTo>
                  <a:lnTo>
                    <a:pt x="172" y="124"/>
                  </a:lnTo>
                  <a:lnTo>
                    <a:pt x="176" y="140"/>
                  </a:lnTo>
                  <a:lnTo>
                    <a:pt x="180" y="156"/>
                  </a:lnTo>
                  <a:lnTo>
                    <a:pt x="182" y="170"/>
                  </a:lnTo>
                  <a:lnTo>
                    <a:pt x="182" y="202"/>
                  </a:lnTo>
                  <a:lnTo>
                    <a:pt x="178" y="230"/>
                  </a:lnTo>
                  <a:lnTo>
                    <a:pt x="174" y="254"/>
                  </a:lnTo>
                  <a:lnTo>
                    <a:pt x="170" y="274"/>
                  </a:lnTo>
                  <a:lnTo>
                    <a:pt x="164" y="290"/>
                  </a:lnTo>
                  <a:lnTo>
                    <a:pt x="164" y="290"/>
                  </a:lnTo>
                  <a:lnTo>
                    <a:pt x="146" y="284"/>
                  </a:lnTo>
                  <a:lnTo>
                    <a:pt x="128" y="278"/>
                  </a:lnTo>
                  <a:lnTo>
                    <a:pt x="106" y="266"/>
                  </a:lnTo>
                  <a:lnTo>
                    <a:pt x="82" y="252"/>
                  </a:lnTo>
                  <a:lnTo>
                    <a:pt x="58" y="232"/>
                  </a:lnTo>
                  <a:lnTo>
                    <a:pt x="46" y="222"/>
                  </a:lnTo>
                  <a:lnTo>
                    <a:pt x="36" y="210"/>
                  </a:lnTo>
                  <a:lnTo>
                    <a:pt x="26" y="196"/>
                  </a:lnTo>
                  <a:lnTo>
                    <a:pt x="18" y="182"/>
                  </a:lnTo>
                  <a:lnTo>
                    <a:pt x="18" y="182"/>
                  </a:lnTo>
                  <a:lnTo>
                    <a:pt x="12" y="166"/>
                  </a:lnTo>
                  <a:lnTo>
                    <a:pt x="6" y="150"/>
                  </a:lnTo>
                  <a:lnTo>
                    <a:pt x="4" y="134"/>
                  </a:lnTo>
                  <a:lnTo>
                    <a:pt x="2" y="118"/>
                  </a:lnTo>
                  <a:lnTo>
                    <a:pt x="0" y="88"/>
                  </a:lnTo>
                  <a:lnTo>
                    <a:pt x="4" y="60"/>
                  </a:lnTo>
                  <a:lnTo>
                    <a:pt x="8" y="36"/>
                  </a:lnTo>
                  <a:lnTo>
                    <a:pt x="14" y="16"/>
                  </a:lnTo>
                  <a:lnTo>
                    <a:pt x="20" y="0"/>
                  </a:lnTo>
                  <a:lnTo>
                    <a:pt x="20" y="0"/>
                  </a:lnTo>
                  <a:lnTo>
                    <a:pt x="36" y="6"/>
                  </a:lnTo>
                  <a:lnTo>
                    <a:pt x="56" y="12"/>
                  </a:lnTo>
                  <a:lnTo>
                    <a:pt x="78" y="24"/>
                  </a:lnTo>
                  <a:lnTo>
                    <a:pt x="102" y="38"/>
                  </a:lnTo>
                  <a:lnTo>
                    <a:pt x="126" y="58"/>
                  </a:lnTo>
                  <a:lnTo>
                    <a:pt x="136" y="68"/>
                  </a:lnTo>
                  <a:lnTo>
                    <a:pt x="148" y="80"/>
                  </a:lnTo>
                  <a:lnTo>
                    <a:pt x="156" y="94"/>
                  </a:lnTo>
                  <a:lnTo>
                    <a:pt x="166" y="108"/>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42" name="Freeform 2078">
              <a:extLst>
                <a:ext uri="{FF2B5EF4-FFF2-40B4-BE49-F238E27FC236}">
                  <a16:creationId xmlns:a16="http://schemas.microsoft.com/office/drawing/2014/main" id="{C5E12866-91A5-468C-BF3A-F82A98F3DEFF}"/>
                </a:ext>
              </a:extLst>
            </p:cNvPr>
            <p:cNvSpPr>
              <a:spLocks/>
            </p:cNvSpPr>
            <p:nvPr/>
          </p:nvSpPr>
          <p:spPr bwMode="auto">
            <a:xfrm>
              <a:off x="9507719" y="3547474"/>
              <a:ext cx="325176" cy="518139"/>
            </a:xfrm>
            <a:custGeom>
              <a:avLst/>
              <a:gdLst>
                <a:gd name="T0" fmla="*/ 166 w 182"/>
                <a:gd name="T1" fmla="*/ 108 h 290"/>
                <a:gd name="T2" fmla="*/ 166 w 182"/>
                <a:gd name="T3" fmla="*/ 108 h 290"/>
                <a:gd name="T4" fmla="*/ 172 w 182"/>
                <a:gd name="T5" fmla="*/ 124 h 290"/>
                <a:gd name="T6" fmla="*/ 176 w 182"/>
                <a:gd name="T7" fmla="*/ 140 h 290"/>
                <a:gd name="T8" fmla="*/ 180 w 182"/>
                <a:gd name="T9" fmla="*/ 156 h 290"/>
                <a:gd name="T10" fmla="*/ 182 w 182"/>
                <a:gd name="T11" fmla="*/ 170 h 290"/>
                <a:gd name="T12" fmla="*/ 182 w 182"/>
                <a:gd name="T13" fmla="*/ 202 h 290"/>
                <a:gd name="T14" fmla="*/ 178 w 182"/>
                <a:gd name="T15" fmla="*/ 230 h 290"/>
                <a:gd name="T16" fmla="*/ 174 w 182"/>
                <a:gd name="T17" fmla="*/ 254 h 290"/>
                <a:gd name="T18" fmla="*/ 170 w 182"/>
                <a:gd name="T19" fmla="*/ 274 h 290"/>
                <a:gd name="T20" fmla="*/ 164 w 182"/>
                <a:gd name="T21" fmla="*/ 290 h 290"/>
                <a:gd name="T22" fmla="*/ 164 w 182"/>
                <a:gd name="T23" fmla="*/ 290 h 290"/>
                <a:gd name="T24" fmla="*/ 146 w 182"/>
                <a:gd name="T25" fmla="*/ 284 h 290"/>
                <a:gd name="T26" fmla="*/ 128 w 182"/>
                <a:gd name="T27" fmla="*/ 278 h 290"/>
                <a:gd name="T28" fmla="*/ 106 w 182"/>
                <a:gd name="T29" fmla="*/ 266 h 290"/>
                <a:gd name="T30" fmla="*/ 82 w 182"/>
                <a:gd name="T31" fmla="*/ 252 h 290"/>
                <a:gd name="T32" fmla="*/ 58 w 182"/>
                <a:gd name="T33" fmla="*/ 232 h 290"/>
                <a:gd name="T34" fmla="*/ 46 w 182"/>
                <a:gd name="T35" fmla="*/ 222 h 290"/>
                <a:gd name="T36" fmla="*/ 36 w 182"/>
                <a:gd name="T37" fmla="*/ 210 h 290"/>
                <a:gd name="T38" fmla="*/ 26 w 182"/>
                <a:gd name="T39" fmla="*/ 196 h 290"/>
                <a:gd name="T40" fmla="*/ 18 w 182"/>
                <a:gd name="T41" fmla="*/ 182 h 290"/>
                <a:gd name="T42" fmla="*/ 18 w 182"/>
                <a:gd name="T43" fmla="*/ 182 h 290"/>
                <a:gd name="T44" fmla="*/ 12 w 182"/>
                <a:gd name="T45" fmla="*/ 166 h 290"/>
                <a:gd name="T46" fmla="*/ 6 w 182"/>
                <a:gd name="T47" fmla="*/ 150 h 290"/>
                <a:gd name="T48" fmla="*/ 4 w 182"/>
                <a:gd name="T49" fmla="*/ 134 h 290"/>
                <a:gd name="T50" fmla="*/ 2 w 182"/>
                <a:gd name="T51" fmla="*/ 118 h 290"/>
                <a:gd name="T52" fmla="*/ 0 w 182"/>
                <a:gd name="T53" fmla="*/ 88 h 290"/>
                <a:gd name="T54" fmla="*/ 4 w 182"/>
                <a:gd name="T55" fmla="*/ 60 h 290"/>
                <a:gd name="T56" fmla="*/ 8 w 182"/>
                <a:gd name="T57" fmla="*/ 36 h 290"/>
                <a:gd name="T58" fmla="*/ 14 w 182"/>
                <a:gd name="T59" fmla="*/ 16 h 290"/>
                <a:gd name="T60" fmla="*/ 20 w 182"/>
                <a:gd name="T61" fmla="*/ 0 h 290"/>
                <a:gd name="T62" fmla="*/ 20 w 182"/>
                <a:gd name="T63" fmla="*/ 0 h 290"/>
                <a:gd name="T64" fmla="*/ 36 w 182"/>
                <a:gd name="T65" fmla="*/ 6 h 290"/>
                <a:gd name="T66" fmla="*/ 56 w 182"/>
                <a:gd name="T67" fmla="*/ 12 h 290"/>
                <a:gd name="T68" fmla="*/ 78 w 182"/>
                <a:gd name="T69" fmla="*/ 24 h 290"/>
                <a:gd name="T70" fmla="*/ 102 w 182"/>
                <a:gd name="T71" fmla="*/ 38 h 290"/>
                <a:gd name="T72" fmla="*/ 126 w 182"/>
                <a:gd name="T73" fmla="*/ 58 h 290"/>
                <a:gd name="T74" fmla="*/ 136 w 182"/>
                <a:gd name="T75" fmla="*/ 68 h 290"/>
                <a:gd name="T76" fmla="*/ 148 w 182"/>
                <a:gd name="T77" fmla="*/ 80 h 290"/>
                <a:gd name="T78" fmla="*/ 156 w 182"/>
                <a:gd name="T79" fmla="*/ 94 h 290"/>
                <a:gd name="T80" fmla="*/ 166 w 182"/>
                <a:gd name="T81" fmla="*/ 108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82" h="290">
                  <a:moveTo>
                    <a:pt x="166" y="108"/>
                  </a:moveTo>
                  <a:lnTo>
                    <a:pt x="166" y="108"/>
                  </a:lnTo>
                  <a:lnTo>
                    <a:pt x="172" y="124"/>
                  </a:lnTo>
                  <a:lnTo>
                    <a:pt x="176" y="140"/>
                  </a:lnTo>
                  <a:lnTo>
                    <a:pt x="180" y="156"/>
                  </a:lnTo>
                  <a:lnTo>
                    <a:pt x="182" y="170"/>
                  </a:lnTo>
                  <a:lnTo>
                    <a:pt x="182" y="202"/>
                  </a:lnTo>
                  <a:lnTo>
                    <a:pt x="178" y="230"/>
                  </a:lnTo>
                  <a:lnTo>
                    <a:pt x="174" y="254"/>
                  </a:lnTo>
                  <a:lnTo>
                    <a:pt x="170" y="274"/>
                  </a:lnTo>
                  <a:lnTo>
                    <a:pt x="164" y="290"/>
                  </a:lnTo>
                  <a:lnTo>
                    <a:pt x="164" y="290"/>
                  </a:lnTo>
                  <a:lnTo>
                    <a:pt x="146" y="284"/>
                  </a:lnTo>
                  <a:lnTo>
                    <a:pt x="128" y="278"/>
                  </a:lnTo>
                  <a:lnTo>
                    <a:pt x="106" y="266"/>
                  </a:lnTo>
                  <a:lnTo>
                    <a:pt x="82" y="252"/>
                  </a:lnTo>
                  <a:lnTo>
                    <a:pt x="58" y="232"/>
                  </a:lnTo>
                  <a:lnTo>
                    <a:pt x="46" y="222"/>
                  </a:lnTo>
                  <a:lnTo>
                    <a:pt x="36" y="210"/>
                  </a:lnTo>
                  <a:lnTo>
                    <a:pt x="26" y="196"/>
                  </a:lnTo>
                  <a:lnTo>
                    <a:pt x="18" y="182"/>
                  </a:lnTo>
                  <a:lnTo>
                    <a:pt x="18" y="182"/>
                  </a:lnTo>
                  <a:lnTo>
                    <a:pt x="12" y="166"/>
                  </a:lnTo>
                  <a:lnTo>
                    <a:pt x="6" y="150"/>
                  </a:lnTo>
                  <a:lnTo>
                    <a:pt x="4" y="134"/>
                  </a:lnTo>
                  <a:lnTo>
                    <a:pt x="2" y="118"/>
                  </a:lnTo>
                  <a:lnTo>
                    <a:pt x="0" y="88"/>
                  </a:lnTo>
                  <a:lnTo>
                    <a:pt x="4" y="60"/>
                  </a:lnTo>
                  <a:lnTo>
                    <a:pt x="8" y="36"/>
                  </a:lnTo>
                  <a:lnTo>
                    <a:pt x="14" y="16"/>
                  </a:lnTo>
                  <a:lnTo>
                    <a:pt x="20" y="0"/>
                  </a:lnTo>
                  <a:lnTo>
                    <a:pt x="20" y="0"/>
                  </a:lnTo>
                  <a:lnTo>
                    <a:pt x="36" y="6"/>
                  </a:lnTo>
                  <a:lnTo>
                    <a:pt x="56" y="12"/>
                  </a:lnTo>
                  <a:lnTo>
                    <a:pt x="78" y="24"/>
                  </a:lnTo>
                  <a:lnTo>
                    <a:pt x="102" y="38"/>
                  </a:lnTo>
                  <a:lnTo>
                    <a:pt x="126" y="58"/>
                  </a:lnTo>
                  <a:lnTo>
                    <a:pt x="136" y="68"/>
                  </a:lnTo>
                  <a:lnTo>
                    <a:pt x="148" y="80"/>
                  </a:lnTo>
                  <a:lnTo>
                    <a:pt x="156" y="94"/>
                  </a:lnTo>
                  <a:lnTo>
                    <a:pt x="166" y="10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43" name="Freeform 2080">
              <a:extLst>
                <a:ext uri="{FF2B5EF4-FFF2-40B4-BE49-F238E27FC236}">
                  <a16:creationId xmlns:a16="http://schemas.microsoft.com/office/drawing/2014/main" id="{C0CD2FC3-379B-4199-9F1D-10998410186D}"/>
                </a:ext>
              </a:extLst>
            </p:cNvPr>
            <p:cNvSpPr>
              <a:spLocks/>
            </p:cNvSpPr>
            <p:nvPr/>
          </p:nvSpPr>
          <p:spPr bwMode="auto">
            <a:xfrm>
              <a:off x="9493426" y="3529607"/>
              <a:ext cx="353763" cy="553872"/>
            </a:xfrm>
            <a:custGeom>
              <a:avLst/>
              <a:gdLst>
                <a:gd name="T0" fmla="*/ 166 w 198"/>
                <a:gd name="T1" fmla="*/ 122 h 310"/>
                <a:gd name="T2" fmla="*/ 174 w 198"/>
                <a:gd name="T3" fmla="*/ 140 h 310"/>
                <a:gd name="T4" fmla="*/ 182 w 198"/>
                <a:gd name="T5" fmla="*/ 180 h 310"/>
                <a:gd name="T6" fmla="*/ 182 w 198"/>
                <a:gd name="T7" fmla="*/ 200 h 310"/>
                <a:gd name="T8" fmla="*/ 180 w 198"/>
                <a:gd name="T9" fmla="*/ 236 h 310"/>
                <a:gd name="T10" fmla="*/ 172 w 198"/>
                <a:gd name="T11" fmla="*/ 268 h 310"/>
                <a:gd name="T12" fmla="*/ 166 w 198"/>
                <a:gd name="T13" fmla="*/ 290 h 310"/>
                <a:gd name="T14" fmla="*/ 164 w 198"/>
                <a:gd name="T15" fmla="*/ 296 h 310"/>
                <a:gd name="T16" fmla="*/ 172 w 198"/>
                <a:gd name="T17" fmla="*/ 300 h 310"/>
                <a:gd name="T18" fmla="*/ 174 w 198"/>
                <a:gd name="T19" fmla="*/ 292 h 310"/>
                <a:gd name="T20" fmla="*/ 154 w 198"/>
                <a:gd name="T21" fmla="*/ 286 h 310"/>
                <a:gd name="T22" fmla="*/ 114 w 198"/>
                <a:gd name="T23" fmla="*/ 268 h 310"/>
                <a:gd name="T24" fmla="*/ 92 w 198"/>
                <a:gd name="T25" fmla="*/ 252 h 310"/>
                <a:gd name="T26" fmla="*/ 58 w 198"/>
                <a:gd name="T27" fmla="*/ 224 h 310"/>
                <a:gd name="T28" fmla="*/ 40 w 198"/>
                <a:gd name="T29" fmla="*/ 200 h 310"/>
                <a:gd name="T30" fmla="*/ 34 w 198"/>
                <a:gd name="T31" fmla="*/ 188 h 310"/>
                <a:gd name="T32" fmla="*/ 20 w 198"/>
                <a:gd name="T33" fmla="*/ 150 h 310"/>
                <a:gd name="T34" fmla="*/ 16 w 198"/>
                <a:gd name="T35" fmla="*/ 110 h 310"/>
                <a:gd name="T36" fmla="*/ 18 w 198"/>
                <a:gd name="T37" fmla="*/ 92 h 310"/>
                <a:gd name="T38" fmla="*/ 26 w 198"/>
                <a:gd name="T39" fmla="*/ 42 h 310"/>
                <a:gd name="T40" fmla="*/ 32 w 198"/>
                <a:gd name="T41" fmla="*/ 20 h 310"/>
                <a:gd name="T42" fmla="*/ 34 w 198"/>
                <a:gd name="T43" fmla="*/ 14 h 310"/>
                <a:gd name="T44" fmla="*/ 36 w 198"/>
                <a:gd name="T45" fmla="*/ 12 h 310"/>
                <a:gd name="T46" fmla="*/ 26 w 198"/>
                <a:gd name="T47" fmla="*/ 18 h 310"/>
                <a:gd name="T48" fmla="*/ 26 w 198"/>
                <a:gd name="T49" fmla="*/ 18 h 310"/>
                <a:gd name="T50" fmla="*/ 64 w 198"/>
                <a:gd name="T51" fmla="*/ 32 h 310"/>
                <a:gd name="T52" fmla="*/ 84 w 198"/>
                <a:gd name="T53" fmla="*/ 42 h 310"/>
                <a:gd name="T54" fmla="*/ 130 w 198"/>
                <a:gd name="T55" fmla="*/ 74 h 310"/>
                <a:gd name="T56" fmla="*/ 150 w 198"/>
                <a:gd name="T57" fmla="*/ 96 h 310"/>
                <a:gd name="T58" fmla="*/ 166 w 198"/>
                <a:gd name="T59" fmla="*/ 122 h 310"/>
                <a:gd name="T60" fmla="*/ 180 w 198"/>
                <a:gd name="T61" fmla="*/ 116 h 310"/>
                <a:gd name="T62" fmla="*/ 172 w 198"/>
                <a:gd name="T63" fmla="*/ 100 h 310"/>
                <a:gd name="T64" fmla="*/ 150 w 198"/>
                <a:gd name="T65" fmla="*/ 74 h 310"/>
                <a:gd name="T66" fmla="*/ 114 w 198"/>
                <a:gd name="T67" fmla="*/ 42 h 310"/>
                <a:gd name="T68" fmla="*/ 90 w 198"/>
                <a:gd name="T69" fmla="*/ 26 h 310"/>
                <a:gd name="T70" fmla="*/ 48 w 198"/>
                <a:gd name="T71" fmla="*/ 8 h 310"/>
                <a:gd name="T72" fmla="*/ 22 w 198"/>
                <a:gd name="T73" fmla="*/ 0 h 310"/>
                <a:gd name="T74" fmla="*/ 20 w 198"/>
                <a:gd name="T75" fmla="*/ 6 h 310"/>
                <a:gd name="T76" fmla="*/ 10 w 198"/>
                <a:gd name="T77" fmla="*/ 38 h 310"/>
                <a:gd name="T78" fmla="*/ 2 w 198"/>
                <a:gd name="T79" fmla="*/ 90 h 310"/>
                <a:gd name="T80" fmla="*/ 0 w 198"/>
                <a:gd name="T81" fmla="*/ 110 h 310"/>
                <a:gd name="T82" fmla="*/ 4 w 198"/>
                <a:gd name="T83" fmla="*/ 152 h 310"/>
                <a:gd name="T84" fmla="*/ 18 w 198"/>
                <a:gd name="T85" fmla="*/ 194 h 310"/>
                <a:gd name="T86" fmla="*/ 28 w 198"/>
                <a:gd name="T87" fmla="*/ 210 h 310"/>
                <a:gd name="T88" fmla="*/ 48 w 198"/>
                <a:gd name="T89" fmla="*/ 236 h 310"/>
                <a:gd name="T90" fmla="*/ 84 w 198"/>
                <a:gd name="T91" fmla="*/ 268 h 310"/>
                <a:gd name="T92" fmla="*/ 110 w 198"/>
                <a:gd name="T93" fmla="*/ 282 h 310"/>
                <a:gd name="T94" fmla="*/ 152 w 198"/>
                <a:gd name="T95" fmla="*/ 302 h 310"/>
                <a:gd name="T96" fmla="*/ 176 w 198"/>
                <a:gd name="T97" fmla="*/ 310 h 310"/>
                <a:gd name="T98" fmla="*/ 178 w 198"/>
                <a:gd name="T99" fmla="*/ 304 h 310"/>
                <a:gd name="T100" fmla="*/ 188 w 198"/>
                <a:gd name="T101" fmla="*/ 272 h 310"/>
                <a:gd name="T102" fmla="*/ 198 w 198"/>
                <a:gd name="T103" fmla="*/ 220 h 310"/>
                <a:gd name="T104" fmla="*/ 198 w 198"/>
                <a:gd name="T105" fmla="*/ 200 h 310"/>
                <a:gd name="T106" fmla="*/ 194 w 198"/>
                <a:gd name="T107" fmla="*/ 158 h 310"/>
                <a:gd name="T108" fmla="*/ 180 w 198"/>
                <a:gd name="T109" fmla="*/ 116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98" h="310">
                  <a:moveTo>
                    <a:pt x="174" y="118"/>
                  </a:moveTo>
                  <a:lnTo>
                    <a:pt x="166" y="122"/>
                  </a:lnTo>
                  <a:lnTo>
                    <a:pt x="166" y="122"/>
                  </a:lnTo>
                  <a:lnTo>
                    <a:pt x="174" y="140"/>
                  </a:lnTo>
                  <a:lnTo>
                    <a:pt x="178" y="160"/>
                  </a:lnTo>
                  <a:lnTo>
                    <a:pt x="182" y="180"/>
                  </a:lnTo>
                  <a:lnTo>
                    <a:pt x="182" y="200"/>
                  </a:lnTo>
                  <a:lnTo>
                    <a:pt x="182" y="200"/>
                  </a:lnTo>
                  <a:lnTo>
                    <a:pt x="182" y="218"/>
                  </a:lnTo>
                  <a:lnTo>
                    <a:pt x="180" y="236"/>
                  </a:lnTo>
                  <a:lnTo>
                    <a:pt x="172" y="268"/>
                  </a:lnTo>
                  <a:lnTo>
                    <a:pt x="172" y="268"/>
                  </a:lnTo>
                  <a:lnTo>
                    <a:pt x="166" y="290"/>
                  </a:lnTo>
                  <a:lnTo>
                    <a:pt x="166" y="290"/>
                  </a:lnTo>
                  <a:lnTo>
                    <a:pt x="164" y="296"/>
                  </a:lnTo>
                  <a:lnTo>
                    <a:pt x="164" y="296"/>
                  </a:lnTo>
                  <a:lnTo>
                    <a:pt x="164" y="298"/>
                  </a:lnTo>
                  <a:lnTo>
                    <a:pt x="172" y="300"/>
                  </a:lnTo>
                  <a:lnTo>
                    <a:pt x="174" y="292"/>
                  </a:lnTo>
                  <a:lnTo>
                    <a:pt x="174" y="292"/>
                  </a:lnTo>
                  <a:lnTo>
                    <a:pt x="174" y="292"/>
                  </a:lnTo>
                  <a:lnTo>
                    <a:pt x="154" y="286"/>
                  </a:lnTo>
                  <a:lnTo>
                    <a:pt x="136" y="278"/>
                  </a:lnTo>
                  <a:lnTo>
                    <a:pt x="114" y="268"/>
                  </a:lnTo>
                  <a:lnTo>
                    <a:pt x="114" y="268"/>
                  </a:lnTo>
                  <a:lnTo>
                    <a:pt x="92" y="252"/>
                  </a:lnTo>
                  <a:lnTo>
                    <a:pt x="70" y="234"/>
                  </a:lnTo>
                  <a:lnTo>
                    <a:pt x="58" y="224"/>
                  </a:lnTo>
                  <a:lnTo>
                    <a:pt x="50" y="214"/>
                  </a:lnTo>
                  <a:lnTo>
                    <a:pt x="40" y="200"/>
                  </a:lnTo>
                  <a:lnTo>
                    <a:pt x="34" y="188"/>
                  </a:lnTo>
                  <a:lnTo>
                    <a:pt x="34" y="188"/>
                  </a:lnTo>
                  <a:lnTo>
                    <a:pt x="26" y="168"/>
                  </a:lnTo>
                  <a:lnTo>
                    <a:pt x="20" y="150"/>
                  </a:lnTo>
                  <a:lnTo>
                    <a:pt x="18" y="130"/>
                  </a:lnTo>
                  <a:lnTo>
                    <a:pt x="16" y="110"/>
                  </a:lnTo>
                  <a:lnTo>
                    <a:pt x="16" y="110"/>
                  </a:lnTo>
                  <a:lnTo>
                    <a:pt x="18" y="92"/>
                  </a:lnTo>
                  <a:lnTo>
                    <a:pt x="20" y="72"/>
                  </a:lnTo>
                  <a:lnTo>
                    <a:pt x="26" y="42"/>
                  </a:lnTo>
                  <a:lnTo>
                    <a:pt x="26" y="42"/>
                  </a:lnTo>
                  <a:lnTo>
                    <a:pt x="32" y="20"/>
                  </a:lnTo>
                  <a:lnTo>
                    <a:pt x="32" y="20"/>
                  </a:lnTo>
                  <a:lnTo>
                    <a:pt x="34" y="14"/>
                  </a:lnTo>
                  <a:lnTo>
                    <a:pt x="34" y="12"/>
                  </a:lnTo>
                  <a:lnTo>
                    <a:pt x="36" y="12"/>
                  </a:lnTo>
                  <a:lnTo>
                    <a:pt x="28" y="10"/>
                  </a:lnTo>
                  <a:lnTo>
                    <a:pt x="26" y="18"/>
                  </a:lnTo>
                  <a:lnTo>
                    <a:pt x="26" y="18"/>
                  </a:lnTo>
                  <a:lnTo>
                    <a:pt x="26" y="18"/>
                  </a:lnTo>
                  <a:lnTo>
                    <a:pt x="44" y="24"/>
                  </a:lnTo>
                  <a:lnTo>
                    <a:pt x="64" y="32"/>
                  </a:lnTo>
                  <a:lnTo>
                    <a:pt x="84" y="42"/>
                  </a:lnTo>
                  <a:lnTo>
                    <a:pt x="84" y="42"/>
                  </a:lnTo>
                  <a:lnTo>
                    <a:pt x="108" y="56"/>
                  </a:lnTo>
                  <a:lnTo>
                    <a:pt x="130" y="74"/>
                  </a:lnTo>
                  <a:lnTo>
                    <a:pt x="140" y="86"/>
                  </a:lnTo>
                  <a:lnTo>
                    <a:pt x="150" y="96"/>
                  </a:lnTo>
                  <a:lnTo>
                    <a:pt x="158" y="108"/>
                  </a:lnTo>
                  <a:lnTo>
                    <a:pt x="166" y="122"/>
                  </a:lnTo>
                  <a:lnTo>
                    <a:pt x="174" y="118"/>
                  </a:lnTo>
                  <a:lnTo>
                    <a:pt x="180" y="116"/>
                  </a:lnTo>
                  <a:lnTo>
                    <a:pt x="180" y="116"/>
                  </a:lnTo>
                  <a:lnTo>
                    <a:pt x="172" y="100"/>
                  </a:lnTo>
                  <a:lnTo>
                    <a:pt x="162" y="86"/>
                  </a:lnTo>
                  <a:lnTo>
                    <a:pt x="150" y="74"/>
                  </a:lnTo>
                  <a:lnTo>
                    <a:pt x="138" y="62"/>
                  </a:lnTo>
                  <a:lnTo>
                    <a:pt x="114" y="42"/>
                  </a:lnTo>
                  <a:lnTo>
                    <a:pt x="90" y="26"/>
                  </a:lnTo>
                  <a:lnTo>
                    <a:pt x="90" y="26"/>
                  </a:lnTo>
                  <a:lnTo>
                    <a:pt x="66" y="16"/>
                  </a:lnTo>
                  <a:lnTo>
                    <a:pt x="48" y="8"/>
                  </a:lnTo>
                  <a:lnTo>
                    <a:pt x="30" y="2"/>
                  </a:lnTo>
                  <a:lnTo>
                    <a:pt x="22" y="0"/>
                  </a:lnTo>
                  <a:lnTo>
                    <a:pt x="20" y="6"/>
                  </a:lnTo>
                  <a:lnTo>
                    <a:pt x="20" y="6"/>
                  </a:lnTo>
                  <a:lnTo>
                    <a:pt x="18" y="16"/>
                  </a:lnTo>
                  <a:lnTo>
                    <a:pt x="10" y="38"/>
                  </a:lnTo>
                  <a:lnTo>
                    <a:pt x="4" y="70"/>
                  </a:lnTo>
                  <a:lnTo>
                    <a:pt x="2" y="90"/>
                  </a:lnTo>
                  <a:lnTo>
                    <a:pt x="0" y="110"/>
                  </a:lnTo>
                  <a:lnTo>
                    <a:pt x="0" y="110"/>
                  </a:lnTo>
                  <a:lnTo>
                    <a:pt x="2" y="132"/>
                  </a:lnTo>
                  <a:lnTo>
                    <a:pt x="4" y="152"/>
                  </a:lnTo>
                  <a:lnTo>
                    <a:pt x="10" y="174"/>
                  </a:lnTo>
                  <a:lnTo>
                    <a:pt x="18" y="194"/>
                  </a:lnTo>
                  <a:lnTo>
                    <a:pt x="18" y="194"/>
                  </a:lnTo>
                  <a:lnTo>
                    <a:pt x="28" y="210"/>
                  </a:lnTo>
                  <a:lnTo>
                    <a:pt x="38" y="224"/>
                  </a:lnTo>
                  <a:lnTo>
                    <a:pt x="48" y="236"/>
                  </a:lnTo>
                  <a:lnTo>
                    <a:pt x="60" y="248"/>
                  </a:lnTo>
                  <a:lnTo>
                    <a:pt x="84" y="268"/>
                  </a:lnTo>
                  <a:lnTo>
                    <a:pt x="110" y="282"/>
                  </a:lnTo>
                  <a:lnTo>
                    <a:pt x="110" y="282"/>
                  </a:lnTo>
                  <a:lnTo>
                    <a:pt x="132" y="294"/>
                  </a:lnTo>
                  <a:lnTo>
                    <a:pt x="152" y="302"/>
                  </a:lnTo>
                  <a:lnTo>
                    <a:pt x="170" y="308"/>
                  </a:lnTo>
                  <a:lnTo>
                    <a:pt x="176" y="310"/>
                  </a:lnTo>
                  <a:lnTo>
                    <a:pt x="178" y="304"/>
                  </a:lnTo>
                  <a:lnTo>
                    <a:pt x="178" y="304"/>
                  </a:lnTo>
                  <a:lnTo>
                    <a:pt x="182" y="294"/>
                  </a:lnTo>
                  <a:lnTo>
                    <a:pt x="188" y="272"/>
                  </a:lnTo>
                  <a:lnTo>
                    <a:pt x="196" y="240"/>
                  </a:lnTo>
                  <a:lnTo>
                    <a:pt x="198" y="220"/>
                  </a:lnTo>
                  <a:lnTo>
                    <a:pt x="198" y="200"/>
                  </a:lnTo>
                  <a:lnTo>
                    <a:pt x="198" y="200"/>
                  </a:lnTo>
                  <a:lnTo>
                    <a:pt x="198" y="178"/>
                  </a:lnTo>
                  <a:lnTo>
                    <a:pt x="194" y="158"/>
                  </a:lnTo>
                  <a:lnTo>
                    <a:pt x="188" y="136"/>
                  </a:lnTo>
                  <a:lnTo>
                    <a:pt x="180" y="116"/>
                  </a:lnTo>
                  <a:lnTo>
                    <a:pt x="174" y="11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44" name="Freeform 2081">
              <a:extLst>
                <a:ext uri="{FF2B5EF4-FFF2-40B4-BE49-F238E27FC236}">
                  <a16:creationId xmlns:a16="http://schemas.microsoft.com/office/drawing/2014/main" id="{652A5B93-B4C4-4335-8A68-B26700C6B11F}"/>
                </a:ext>
              </a:extLst>
            </p:cNvPr>
            <p:cNvSpPr>
              <a:spLocks/>
            </p:cNvSpPr>
            <p:nvPr/>
          </p:nvSpPr>
          <p:spPr bwMode="auto">
            <a:xfrm>
              <a:off x="8528616" y="4365775"/>
              <a:ext cx="493125" cy="343043"/>
            </a:xfrm>
            <a:custGeom>
              <a:avLst/>
              <a:gdLst>
                <a:gd name="T0" fmla="*/ 94 w 276"/>
                <a:gd name="T1" fmla="*/ 26 h 192"/>
                <a:gd name="T2" fmla="*/ 94 w 276"/>
                <a:gd name="T3" fmla="*/ 26 h 192"/>
                <a:gd name="T4" fmla="*/ 108 w 276"/>
                <a:gd name="T5" fmla="*/ 18 h 192"/>
                <a:gd name="T6" fmla="*/ 124 w 276"/>
                <a:gd name="T7" fmla="*/ 12 h 192"/>
                <a:gd name="T8" fmla="*/ 140 w 276"/>
                <a:gd name="T9" fmla="*/ 8 h 192"/>
                <a:gd name="T10" fmla="*/ 154 w 276"/>
                <a:gd name="T11" fmla="*/ 4 h 192"/>
                <a:gd name="T12" fmla="*/ 184 w 276"/>
                <a:gd name="T13" fmla="*/ 0 h 192"/>
                <a:gd name="T14" fmla="*/ 214 w 276"/>
                <a:gd name="T15" fmla="*/ 0 h 192"/>
                <a:gd name="T16" fmla="*/ 238 w 276"/>
                <a:gd name="T17" fmla="*/ 4 h 192"/>
                <a:gd name="T18" fmla="*/ 258 w 276"/>
                <a:gd name="T19" fmla="*/ 6 h 192"/>
                <a:gd name="T20" fmla="*/ 276 w 276"/>
                <a:gd name="T21" fmla="*/ 10 h 192"/>
                <a:gd name="T22" fmla="*/ 276 w 276"/>
                <a:gd name="T23" fmla="*/ 10 h 192"/>
                <a:gd name="T24" fmla="*/ 272 w 276"/>
                <a:gd name="T25" fmla="*/ 28 h 192"/>
                <a:gd name="T26" fmla="*/ 266 w 276"/>
                <a:gd name="T27" fmla="*/ 48 h 192"/>
                <a:gd name="T28" fmla="*/ 256 w 276"/>
                <a:gd name="T29" fmla="*/ 70 h 192"/>
                <a:gd name="T30" fmla="*/ 244 w 276"/>
                <a:gd name="T31" fmla="*/ 96 h 192"/>
                <a:gd name="T32" fmla="*/ 228 w 276"/>
                <a:gd name="T33" fmla="*/ 122 h 192"/>
                <a:gd name="T34" fmla="*/ 218 w 276"/>
                <a:gd name="T35" fmla="*/ 134 h 192"/>
                <a:gd name="T36" fmla="*/ 206 w 276"/>
                <a:gd name="T37" fmla="*/ 146 h 192"/>
                <a:gd name="T38" fmla="*/ 194 w 276"/>
                <a:gd name="T39" fmla="*/ 156 h 192"/>
                <a:gd name="T40" fmla="*/ 180 w 276"/>
                <a:gd name="T41" fmla="*/ 166 h 192"/>
                <a:gd name="T42" fmla="*/ 180 w 276"/>
                <a:gd name="T43" fmla="*/ 166 h 192"/>
                <a:gd name="T44" fmla="*/ 166 w 276"/>
                <a:gd name="T45" fmla="*/ 174 h 192"/>
                <a:gd name="T46" fmla="*/ 150 w 276"/>
                <a:gd name="T47" fmla="*/ 180 h 192"/>
                <a:gd name="T48" fmla="*/ 136 w 276"/>
                <a:gd name="T49" fmla="*/ 184 h 192"/>
                <a:gd name="T50" fmla="*/ 120 w 276"/>
                <a:gd name="T51" fmla="*/ 188 h 192"/>
                <a:gd name="T52" fmla="*/ 90 w 276"/>
                <a:gd name="T53" fmla="*/ 192 h 192"/>
                <a:gd name="T54" fmla="*/ 62 w 276"/>
                <a:gd name="T55" fmla="*/ 192 h 192"/>
                <a:gd name="T56" fmla="*/ 36 w 276"/>
                <a:gd name="T57" fmla="*/ 188 h 192"/>
                <a:gd name="T58" fmla="*/ 16 w 276"/>
                <a:gd name="T59" fmla="*/ 186 h 192"/>
                <a:gd name="T60" fmla="*/ 0 w 276"/>
                <a:gd name="T61" fmla="*/ 182 h 192"/>
                <a:gd name="T62" fmla="*/ 0 w 276"/>
                <a:gd name="T63" fmla="*/ 182 h 192"/>
                <a:gd name="T64" fmla="*/ 4 w 276"/>
                <a:gd name="T65" fmla="*/ 164 h 192"/>
                <a:gd name="T66" fmla="*/ 10 w 276"/>
                <a:gd name="T67" fmla="*/ 144 h 192"/>
                <a:gd name="T68" fmla="*/ 18 w 276"/>
                <a:gd name="T69" fmla="*/ 122 h 192"/>
                <a:gd name="T70" fmla="*/ 30 w 276"/>
                <a:gd name="T71" fmla="*/ 96 h 192"/>
                <a:gd name="T72" fmla="*/ 48 w 276"/>
                <a:gd name="T73" fmla="*/ 70 h 192"/>
                <a:gd name="T74" fmla="*/ 58 w 276"/>
                <a:gd name="T75" fmla="*/ 58 h 192"/>
                <a:gd name="T76" fmla="*/ 68 w 276"/>
                <a:gd name="T77" fmla="*/ 46 h 192"/>
                <a:gd name="T78" fmla="*/ 80 w 276"/>
                <a:gd name="T79" fmla="*/ 36 h 192"/>
                <a:gd name="T80" fmla="*/ 94 w 276"/>
                <a:gd name="T81" fmla="*/ 26 h 192"/>
                <a:gd name="T82" fmla="*/ 94 w 276"/>
                <a:gd name="T83" fmla="*/ 26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76" h="192">
                  <a:moveTo>
                    <a:pt x="94" y="26"/>
                  </a:moveTo>
                  <a:lnTo>
                    <a:pt x="94" y="26"/>
                  </a:lnTo>
                  <a:lnTo>
                    <a:pt x="108" y="18"/>
                  </a:lnTo>
                  <a:lnTo>
                    <a:pt x="124" y="12"/>
                  </a:lnTo>
                  <a:lnTo>
                    <a:pt x="140" y="8"/>
                  </a:lnTo>
                  <a:lnTo>
                    <a:pt x="154" y="4"/>
                  </a:lnTo>
                  <a:lnTo>
                    <a:pt x="184" y="0"/>
                  </a:lnTo>
                  <a:lnTo>
                    <a:pt x="214" y="0"/>
                  </a:lnTo>
                  <a:lnTo>
                    <a:pt x="238" y="4"/>
                  </a:lnTo>
                  <a:lnTo>
                    <a:pt x="258" y="6"/>
                  </a:lnTo>
                  <a:lnTo>
                    <a:pt x="276" y="10"/>
                  </a:lnTo>
                  <a:lnTo>
                    <a:pt x="276" y="10"/>
                  </a:lnTo>
                  <a:lnTo>
                    <a:pt x="272" y="28"/>
                  </a:lnTo>
                  <a:lnTo>
                    <a:pt x="266" y="48"/>
                  </a:lnTo>
                  <a:lnTo>
                    <a:pt x="256" y="70"/>
                  </a:lnTo>
                  <a:lnTo>
                    <a:pt x="244" y="96"/>
                  </a:lnTo>
                  <a:lnTo>
                    <a:pt x="228" y="122"/>
                  </a:lnTo>
                  <a:lnTo>
                    <a:pt x="218" y="134"/>
                  </a:lnTo>
                  <a:lnTo>
                    <a:pt x="206" y="146"/>
                  </a:lnTo>
                  <a:lnTo>
                    <a:pt x="194" y="156"/>
                  </a:lnTo>
                  <a:lnTo>
                    <a:pt x="180" y="166"/>
                  </a:lnTo>
                  <a:lnTo>
                    <a:pt x="180" y="166"/>
                  </a:lnTo>
                  <a:lnTo>
                    <a:pt x="166" y="174"/>
                  </a:lnTo>
                  <a:lnTo>
                    <a:pt x="150" y="180"/>
                  </a:lnTo>
                  <a:lnTo>
                    <a:pt x="136" y="184"/>
                  </a:lnTo>
                  <a:lnTo>
                    <a:pt x="120" y="188"/>
                  </a:lnTo>
                  <a:lnTo>
                    <a:pt x="90" y="192"/>
                  </a:lnTo>
                  <a:lnTo>
                    <a:pt x="62" y="192"/>
                  </a:lnTo>
                  <a:lnTo>
                    <a:pt x="36" y="188"/>
                  </a:lnTo>
                  <a:lnTo>
                    <a:pt x="16" y="186"/>
                  </a:lnTo>
                  <a:lnTo>
                    <a:pt x="0" y="182"/>
                  </a:lnTo>
                  <a:lnTo>
                    <a:pt x="0" y="182"/>
                  </a:lnTo>
                  <a:lnTo>
                    <a:pt x="4" y="164"/>
                  </a:lnTo>
                  <a:lnTo>
                    <a:pt x="10" y="144"/>
                  </a:lnTo>
                  <a:lnTo>
                    <a:pt x="18" y="122"/>
                  </a:lnTo>
                  <a:lnTo>
                    <a:pt x="30" y="96"/>
                  </a:lnTo>
                  <a:lnTo>
                    <a:pt x="48" y="70"/>
                  </a:lnTo>
                  <a:lnTo>
                    <a:pt x="58" y="58"/>
                  </a:lnTo>
                  <a:lnTo>
                    <a:pt x="68" y="46"/>
                  </a:lnTo>
                  <a:lnTo>
                    <a:pt x="80" y="36"/>
                  </a:lnTo>
                  <a:lnTo>
                    <a:pt x="94" y="26"/>
                  </a:lnTo>
                  <a:lnTo>
                    <a:pt x="94" y="26"/>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45" name="Freeform 2085">
              <a:extLst>
                <a:ext uri="{FF2B5EF4-FFF2-40B4-BE49-F238E27FC236}">
                  <a16:creationId xmlns:a16="http://schemas.microsoft.com/office/drawing/2014/main" id="{5DFC145D-58A0-430C-A6CD-8E42DCB0EFEB}"/>
                </a:ext>
              </a:extLst>
            </p:cNvPr>
            <p:cNvSpPr>
              <a:spLocks/>
            </p:cNvSpPr>
            <p:nvPr/>
          </p:nvSpPr>
          <p:spPr bwMode="auto">
            <a:xfrm>
              <a:off x="8818059" y="4033452"/>
              <a:ext cx="318030" cy="528859"/>
            </a:xfrm>
            <a:custGeom>
              <a:avLst/>
              <a:gdLst>
                <a:gd name="T0" fmla="*/ 164 w 178"/>
                <a:gd name="T1" fmla="*/ 114 h 296"/>
                <a:gd name="T2" fmla="*/ 164 w 178"/>
                <a:gd name="T3" fmla="*/ 114 h 296"/>
                <a:gd name="T4" fmla="*/ 170 w 178"/>
                <a:gd name="T5" fmla="*/ 130 h 296"/>
                <a:gd name="T6" fmla="*/ 174 w 178"/>
                <a:gd name="T7" fmla="*/ 146 h 296"/>
                <a:gd name="T8" fmla="*/ 176 w 178"/>
                <a:gd name="T9" fmla="*/ 162 h 296"/>
                <a:gd name="T10" fmla="*/ 178 w 178"/>
                <a:gd name="T11" fmla="*/ 178 h 296"/>
                <a:gd name="T12" fmla="*/ 178 w 178"/>
                <a:gd name="T13" fmla="*/ 208 h 296"/>
                <a:gd name="T14" fmla="*/ 174 w 178"/>
                <a:gd name="T15" fmla="*/ 236 h 296"/>
                <a:gd name="T16" fmla="*/ 168 w 178"/>
                <a:gd name="T17" fmla="*/ 260 h 296"/>
                <a:gd name="T18" fmla="*/ 162 w 178"/>
                <a:gd name="T19" fmla="*/ 278 h 296"/>
                <a:gd name="T20" fmla="*/ 156 w 178"/>
                <a:gd name="T21" fmla="*/ 296 h 296"/>
                <a:gd name="T22" fmla="*/ 156 w 178"/>
                <a:gd name="T23" fmla="*/ 296 h 296"/>
                <a:gd name="T24" fmla="*/ 140 w 178"/>
                <a:gd name="T25" fmla="*/ 290 h 296"/>
                <a:gd name="T26" fmla="*/ 120 w 178"/>
                <a:gd name="T27" fmla="*/ 282 h 296"/>
                <a:gd name="T28" fmla="*/ 100 w 178"/>
                <a:gd name="T29" fmla="*/ 270 h 296"/>
                <a:gd name="T30" fmla="*/ 76 w 178"/>
                <a:gd name="T31" fmla="*/ 254 h 296"/>
                <a:gd name="T32" fmla="*/ 52 w 178"/>
                <a:gd name="T33" fmla="*/ 234 h 296"/>
                <a:gd name="T34" fmla="*/ 40 w 178"/>
                <a:gd name="T35" fmla="*/ 224 h 296"/>
                <a:gd name="T36" fmla="*/ 30 w 178"/>
                <a:gd name="T37" fmla="*/ 210 h 296"/>
                <a:gd name="T38" fmla="*/ 22 w 178"/>
                <a:gd name="T39" fmla="*/ 198 h 296"/>
                <a:gd name="T40" fmla="*/ 14 w 178"/>
                <a:gd name="T41" fmla="*/ 182 h 296"/>
                <a:gd name="T42" fmla="*/ 14 w 178"/>
                <a:gd name="T43" fmla="*/ 182 h 296"/>
                <a:gd name="T44" fmla="*/ 8 w 178"/>
                <a:gd name="T45" fmla="*/ 168 h 296"/>
                <a:gd name="T46" fmla="*/ 4 w 178"/>
                <a:gd name="T47" fmla="*/ 152 h 296"/>
                <a:gd name="T48" fmla="*/ 0 w 178"/>
                <a:gd name="T49" fmla="*/ 136 h 296"/>
                <a:gd name="T50" fmla="*/ 0 w 178"/>
                <a:gd name="T51" fmla="*/ 120 h 296"/>
                <a:gd name="T52" fmla="*/ 0 w 178"/>
                <a:gd name="T53" fmla="*/ 90 h 296"/>
                <a:gd name="T54" fmla="*/ 4 w 178"/>
                <a:gd name="T55" fmla="*/ 62 h 296"/>
                <a:gd name="T56" fmla="*/ 10 w 178"/>
                <a:gd name="T57" fmla="*/ 36 h 296"/>
                <a:gd name="T58" fmla="*/ 14 w 178"/>
                <a:gd name="T59" fmla="*/ 18 h 296"/>
                <a:gd name="T60" fmla="*/ 22 w 178"/>
                <a:gd name="T61" fmla="*/ 0 h 296"/>
                <a:gd name="T62" fmla="*/ 22 w 178"/>
                <a:gd name="T63" fmla="*/ 0 h 296"/>
                <a:gd name="T64" fmla="*/ 38 w 178"/>
                <a:gd name="T65" fmla="*/ 8 h 296"/>
                <a:gd name="T66" fmla="*/ 56 w 178"/>
                <a:gd name="T67" fmla="*/ 16 h 296"/>
                <a:gd name="T68" fmla="*/ 78 w 178"/>
                <a:gd name="T69" fmla="*/ 28 h 296"/>
                <a:gd name="T70" fmla="*/ 102 w 178"/>
                <a:gd name="T71" fmla="*/ 42 h 296"/>
                <a:gd name="T72" fmla="*/ 126 w 178"/>
                <a:gd name="T73" fmla="*/ 62 h 296"/>
                <a:gd name="T74" fmla="*/ 136 w 178"/>
                <a:gd name="T75" fmla="*/ 74 h 296"/>
                <a:gd name="T76" fmla="*/ 146 w 178"/>
                <a:gd name="T77" fmla="*/ 86 h 296"/>
                <a:gd name="T78" fmla="*/ 156 w 178"/>
                <a:gd name="T79" fmla="*/ 100 h 296"/>
                <a:gd name="T80" fmla="*/ 164 w 178"/>
                <a:gd name="T81" fmla="*/ 114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78" h="296">
                  <a:moveTo>
                    <a:pt x="164" y="114"/>
                  </a:moveTo>
                  <a:lnTo>
                    <a:pt x="164" y="114"/>
                  </a:lnTo>
                  <a:lnTo>
                    <a:pt x="170" y="130"/>
                  </a:lnTo>
                  <a:lnTo>
                    <a:pt x="174" y="146"/>
                  </a:lnTo>
                  <a:lnTo>
                    <a:pt x="176" y="162"/>
                  </a:lnTo>
                  <a:lnTo>
                    <a:pt x="178" y="178"/>
                  </a:lnTo>
                  <a:lnTo>
                    <a:pt x="178" y="208"/>
                  </a:lnTo>
                  <a:lnTo>
                    <a:pt x="174" y="236"/>
                  </a:lnTo>
                  <a:lnTo>
                    <a:pt x="168" y="260"/>
                  </a:lnTo>
                  <a:lnTo>
                    <a:pt x="162" y="278"/>
                  </a:lnTo>
                  <a:lnTo>
                    <a:pt x="156" y="296"/>
                  </a:lnTo>
                  <a:lnTo>
                    <a:pt x="156" y="296"/>
                  </a:lnTo>
                  <a:lnTo>
                    <a:pt x="140" y="290"/>
                  </a:lnTo>
                  <a:lnTo>
                    <a:pt x="120" y="282"/>
                  </a:lnTo>
                  <a:lnTo>
                    <a:pt x="100" y="270"/>
                  </a:lnTo>
                  <a:lnTo>
                    <a:pt x="76" y="254"/>
                  </a:lnTo>
                  <a:lnTo>
                    <a:pt x="52" y="234"/>
                  </a:lnTo>
                  <a:lnTo>
                    <a:pt x="40" y="224"/>
                  </a:lnTo>
                  <a:lnTo>
                    <a:pt x="30" y="210"/>
                  </a:lnTo>
                  <a:lnTo>
                    <a:pt x="22" y="198"/>
                  </a:lnTo>
                  <a:lnTo>
                    <a:pt x="14" y="182"/>
                  </a:lnTo>
                  <a:lnTo>
                    <a:pt x="14" y="182"/>
                  </a:lnTo>
                  <a:lnTo>
                    <a:pt x="8" y="168"/>
                  </a:lnTo>
                  <a:lnTo>
                    <a:pt x="4" y="152"/>
                  </a:lnTo>
                  <a:lnTo>
                    <a:pt x="0" y="136"/>
                  </a:lnTo>
                  <a:lnTo>
                    <a:pt x="0" y="120"/>
                  </a:lnTo>
                  <a:lnTo>
                    <a:pt x="0" y="90"/>
                  </a:lnTo>
                  <a:lnTo>
                    <a:pt x="4" y="62"/>
                  </a:lnTo>
                  <a:lnTo>
                    <a:pt x="10" y="36"/>
                  </a:lnTo>
                  <a:lnTo>
                    <a:pt x="14" y="18"/>
                  </a:lnTo>
                  <a:lnTo>
                    <a:pt x="22" y="0"/>
                  </a:lnTo>
                  <a:lnTo>
                    <a:pt x="22" y="0"/>
                  </a:lnTo>
                  <a:lnTo>
                    <a:pt x="38" y="8"/>
                  </a:lnTo>
                  <a:lnTo>
                    <a:pt x="56" y="16"/>
                  </a:lnTo>
                  <a:lnTo>
                    <a:pt x="78" y="28"/>
                  </a:lnTo>
                  <a:lnTo>
                    <a:pt x="102" y="42"/>
                  </a:lnTo>
                  <a:lnTo>
                    <a:pt x="126" y="62"/>
                  </a:lnTo>
                  <a:lnTo>
                    <a:pt x="136" y="74"/>
                  </a:lnTo>
                  <a:lnTo>
                    <a:pt x="146" y="86"/>
                  </a:lnTo>
                  <a:lnTo>
                    <a:pt x="156" y="100"/>
                  </a:lnTo>
                  <a:lnTo>
                    <a:pt x="164" y="11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46" name="Freeform 2086">
              <a:extLst>
                <a:ext uri="{FF2B5EF4-FFF2-40B4-BE49-F238E27FC236}">
                  <a16:creationId xmlns:a16="http://schemas.microsoft.com/office/drawing/2014/main" id="{EA97E031-7377-40E4-BE5F-BA2C08487F76}"/>
                </a:ext>
              </a:extLst>
            </p:cNvPr>
            <p:cNvSpPr>
              <a:spLocks/>
            </p:cNvSpPr>
            <p:nvPr/>
          </p:nvSpPr>
          <p:spPr bwMode="auto">
            <a:xfrm>
              <a:off x="8818059" y="4033452"/>
              <a:ext cx="318030" cy="528859"/>
            </a:xfrm>
            <a:custGeom>
              <a:avLst/>
              <a:gdLst>
                <a:gd name="T0" fmla="*/ 164 w 178"/>
                <a:gd name="T1" fmla="*/ 114 h 296"/>
                <a:gd name="T2" fmla="*/ 164 w 178"/>
                <a:gd name="T3" fmla="*/ 114 h 296"/>
                <a:gd name="T4" fmla="*/ 170 w 178"/>
                <a:gd name="T5" fmla="*/ 130 h 296"/>
                <a:gd name="T6" fmla="*/ 174 w 178"/>
                <a:gd name="T7" fmla="*/ 146 h 296"/>
                <a:gd name="T8" fmla="*/ 176 w 178"/>
                <a:gd name="T9" fmla="*/ 162 h 296"/>
                <a:gd name="T10" fmla="*/ 178 w 178"/>
                <a:gd name="T11" fmla="*/ 178 h 296"/>
                <a:gd name="T12" fmla="*/ 178 w 178"/>
                <a:gd name="T13" fmla="*/ 208 h 296"/>
                <a:gd name="T14" fmla="*/ 174 w 178"/>
                <a:gd name="T15" fmla="*/ 236 h 296"/>
                <a:gd name="T16" fmla="*/ 168 w 178"/>
                <a:gd name="T17" fmla="*/ 260 h 296"/>
                <a:gd name="T18" fmla="*/ 162 w 178"/>
                <a:gd name="T19" fmla="*/ 278 h 296"/>
                <a:gd name="T20" fmla="*/ 156 w 178"/>
                <a:gd name="T21" fmla="*/ 296 h 296"/>
                <a:gd name="T22" fmla="*/ 156 w 178"/>
                <a:gd name="T23" fmla="*/ 296 h 296"/>
                <a:gd name="T24" fmla="*/ 140 w 178"/>
                <a:gd name="T25" fmla="*/ 290 h 296"/>
                <a:gd name="T26" fmla="*/ 120 w 178"/>
                <a:gd name="T27" fmla="*/ 282 h 296"/>
                <a:gd name="T28" fmla="*/ 100 w 178"/>
                <a:gd name="T29" fmla="*/ 270 h 296"/>
                <a:gd name="T30" fmla="*/ 76 w 178"/>
                <a:gd name="T31" fmla="*/ 254 h 296"/>
                <a:gd name="T32" fmla="*/ 52 w 178"/>
                <a:gd name="T33" fmla="*/ 234 h 296"/>
                <a:gd name="T34" fmla="*/ 40 w 178"/>
                <a:gd name="T35" fmla="*/ 224 h 296"/>
                <a:gd name="T36" fmla="*/ 30 w 178"/>
                <a:gd name="T37" fmla="*/ 210 h 296"/>
                <a:gd name="T38" fmla="*/ 22 w 178"/>
                <a:gd name="T39" fmla="*/ 198 h 296"/>
                <a:gd name="T40" fmla="*/ 14 w 178"/>
                <a:gd name="T41" fmla="*/ 182 h 296"/>
                <a:gd name="T42" fmla="*/ 14 w 178"/>
                <a:gd name="T43" fmla="*/ 182 h 296"/>
                <a:gd name="T44" fmla="*/ 8 w 178"/>
                <a:gd name="T45" fmla="*/ 168 h 296"/>
                <a:gd name="T46" fmla="*/ 4 w 178"/>
                <a:gd name="T47" fmla="*/ 152 h 296"/>
                <a:gd name="T48" fmla="*/ 0 w 178"/>
                <a:gd name="T49" fmla="*/ 136 h 296"/>
                <a:gd name="T50" fmla="*/ 0 w 178"/>
                <a:gd name="T51" fmla="*/ 120 h 296"/>
                <a:gd name="T52" fmla="*/ 0 w 178"/>
                <a:gd name="T53" fmla="*/ 90 h 296"/>
                <a:gd name="T54" fmla="*/ 4 w 178"/>
                <a:gd name="T55" fmla="*/ 62 h 296"/>
                <a:gd name="T56" fmla="*/ 10 w 178"/>
                <a:gd name="T57" fmla="*/ 36 h 296"/>
                <a:gd name="T58" fmla="*/ 14 w 178"/>
                <a:gd name="T59" fmla="*/ 18 h 296"/>
                <a:gd name="T60" fmla="*/ 22 w 178"/>
                <a:gd name="T61" fmla="*/ 0 h 296"/>
                <a:gd name="T62" fmla="*/ 22 w 178"/>
                <a:gd name="T63" fmla="*/ 0 h 296"/>
                <a:gd name="T64" fmla="*/ 38 w 178"/>
                <a:gd name="T65" fmla="*/ 8 h 296"/>
                <a:gd name="T66" fmla="*/ 56 w 178"/>
                <a:gd name="T67" fmla="*/ 16 h 296"/>
                <a:gd name="T68" fmla="*/ 78 w 178"/>
                <a:gd name="T69" fmla="*/ 28 h 296"/>
                <a:gd name="T70" fmla="*/ 102 w 178"/>
                <a:gd name="T71" fmla="*/ 42 h 296"/>
                <a:gd name="T72" fmla="*/ 126 w 178"/>
                <a:gd name="T73" fmla="*/ 62 h 296"/>
                <a:gd name="T74" fmla="*/ 136 w 178"/>
                <a:gd name="T75" fmla="*/ 74 h 296"/>
                <a:gd name="T76" fmla="*/ 146 w 178"/>
                <a:gd name="T77" fmla="*/ 86 h 296"/>
                <a:gd name="T78" fmla="*/ 156 w 178"/>
                <a:gd name="T79" fmla="*/ 100 h 296"/>
                <a:gd name="T80" fmla="*/ 164 w 178"/>
                <a:gd name="T81" fmla="*/ 114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78" h="296">
                  <a:moveTo>
                    <a:pt x="164" y="114"/>
                  </a:moveTo>
                  <a:lnTo>
                    <a:pt x="164" y="114"/>
                  </a:lnTo>
                  <a:lnTo>
                    <a:pt x="170" y="130"/>
                  </a:lnTo>
                  <a:lnTo>
                    <a:pt x="174" y="146"/>
                  </a:lnTo>
                  <a:lnTo>
                    <a:pt x="176" y="162"/>
                  </a:lnTo>
                  <a:lnTo>
                    <a:pt x="178" y="178"/>
                  </a:lnTo>
                  <a:lnTo>
                    <a:pt x="178" y="208"/>
                  </a:lnTo>
                  <a:lnTo>
                    <a:pt x="174" y="236"/>
                  </a:lnTo>
                  <a:lnTo>
                    <a:pt x="168" y="260"/>
                  </a:lnTo>
                  <a:lnTo>
                    <a:pt x="162" y="278"/>
                  </a:lnTo>
                  <a:lnTo>
                    <a:pt x="156" y="296"/>
                  </a:lnTo>
                  <a:lnTo>
                    <a:pt x="156" y="296"/>
                  </a:lnTo>
                  <a:lnTo>
                    <a:pt x="140" y="290"/>
                  </a:lnTo>
                  <a:lnTo>
                    <a:pt x="120" y="282"/>
                  </a:lnTo>
                  <a:lnTo>
                    <a:pt x="100" y="270"/>
                  </a:lnTo>
                  <a:lnTo>
                    <a:pt x="76" y="254"/>
                  </a:lnTo>
                  <a:lnTo>
                    <a:pt x="52" y="234"/>
                  </a:lnTo>
                  <a:lnTo>
                    <a:pt x="40" y="224"/>
                  </a:lnTo>
                  <a:lnTo>
                    <a:pt x="30" y="210"/>
                  </a:lnTo>
                  <a:lnTo>
                    <a:pt x="22" y="198"/>
                  </a:lnTo>
                  <a:lnTo>
                    <a:pt x="14" y="182"/>
                  </a:lnTo>
                  <a:lnTo>
                    <a:pt x="14" y="182"/>
                  </a:lnTo>
                  <a:lnTo>
                    <a:pt x="8" y="168"/>
                  </a:lnTo>
                  <a:lnTo>
                    <a:pt x="4" y="152"/>
                  </a:lnTo>
                  <a:lnTo>
                    <a:pt x="0" y="136"/>
                  </a:lnTo>
                  <a:lnTo>
                    <a:pt x="0" y="120"/>
                  </a:lnTo>
                  <a:lnTo>
                    <a:pt x="0" y="90"/>
                  </a:lnTo>
                  <a:lnTo>
                    <a:pt x="4" y="62"/>
                  </a:lnTo>
                  <a:lnTo>
                    <a:pt x="10" y="36"/>
                  </a:lnTo>
                  <a:lnTo>
                    <a:pt x="14" y="18"/>
                  </a:lnTo>
                  <a:lnTo>
                    <a:pt x="22" y="0"/>
                  </a:lnTo>
                  <a:lnTo>
                    <a:pt x="22" y="0"/>
                  </a:lnTo>
                  <a:lnTo>
                    <a:pt x="38" y="8"/>
                  </a:lnTo>
                  <a:lnTo>
                    <a:pt x="56" y="16"/>
                  </a:lnTo>
                  <a:lnTo>
                    <a:pt x="78" y="28"/>
                  </a:lnTo>
                  <a:lnTo>
                    <a:pt x="102" y="42"/>
                  </a:lnTo>
                  <a:lnTo>
                    <a:pt x="126" y="62"/>
                  </a:lnTo>
                  <a:lnTo>
                    <a:pt x="136" y="74"/>
                  </a:lnTo>
                  <a:lnTo>
                    <a:pt x="146" y="86"/>
                  </a:lnTo>
                  <a:lnTo>
                    <a:pt x="156" y="100"/>
                  </a:lnTo>
                  <a:lnTo>
                    <a:pt x="164" y="1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47" name="Freeform 2088">
              <a:extLst>
                <a:ext uri="{FF2B5EF4-FFF2-40B4-BE49-F238E27FC236}">
                  <a16:creationId xmlns:a16="http://schemas.microsoft.com/office/drawing/2014/main" id="{0A8D7454-980E-4514-870C-FE6BBA75FA09}"/>
                </a:ext>
              </a:extLst>
            </p:cNvPr>
            <p:cNvSpPr>
              <a:spLocks/>
            </p:cNvSpPr>
            <p:nvPr/>
          </p:nvSpPr>
          <p:spPr bwMode="auto">
            <a:xfrm>
              <a:off x="8803766" y="4019158"/>
              <a:ext cx="346617" cy="561019"/>
            </a:xfrm>
            <a:custGeom>
              <a:avLst/>
              <a:gdLst>
                <a:gd name="T0" fmla="*/ 164 w 194"/>
                <a:gd name="T1" fmla="*/ 126 h 314"/>
                <a:gd name="T2" fmla="*/ 170 w 194"/>
                <a:gd name="T3" fmla="*/ 142 h 314"/>
                <a:gd name="T4" fmla="*/ 178 w 194"/>
                <a:gd name="T5" fmla="*/ 178 h 314"/>
                <a:gd name="T6" fmla="*/ 178 w 194"/>
                <a:gd name="T7" fmla="*/ 196 h 314"/>
                <a:gd name="T8" fmla="*/ 174 w 194"/>
                <a:gd name="T9" fmla="*/ 236 h 314"/>
                <a:gd name="T10" fmla="*/ 168 w 194"/>
                <a:gd name="T11" fmla="*/ 270 h 314"/>
                <a:gd name="T12" fmla="*/ 160 w 194"/>
                <a:gd name="T13" fmla="*/ 292 h 314"/>
                <a:gd name="T14" fmla="*/ 156 w 194"/>
                <a:gd name="T15" fmla="*/ 300 h 314"/>
                <a:gd name="T16" fmla="*/ 164 w 194"/>
                <a:gd name="T17" fmla="*/ 304 h 314"/>
                <a:gd name="T18" fmla="*/ 166 w 194"/>
                <a:gd name="T19" fmla="*/ 296 h 314"/>
                <a:gd name="T20" fmla="*/ 148 w 194"/>
                <a:gd name="T21" fmla="*/ 288 h 314"/>
                <a:gd name="T22" fmla="*/ 108 w 194"/>
                <a:gd name="T23" fmla="*/ 270 h 314"/>
                <a:gd name="T24" fmla="*/ 86 w 194"/>
                <a:gd name="T25" fmla="*/ 254 h 314"/>
                <a:gd name="T26" fmla="*/ 54 w 194"/>
                <a:gd name="T27" fmla="*/ 224 h 314"/>
                <a:gd name="T28" fmla="*/ 36 w 194"/>
                <a:gd name="T29" fmla="*/ 200 h 314"/>
                <a:gd name="T30" fmla="*/ 30 w 194"/>
                <a:gd name="T31" fmla="*/ 188 h 314"/>
                <a:gd name="T32" fmla="*/ 18 w 194"/>
                <a:gd name="T33" fmla="*/ 152 h 314"/>
                <a:gd name="T34" fmla="*/ 16 w 194"/>
                <a:gd name="T35" fmla="*/ 116 h 314"/>
                <a:gd name="T36" fmla="*/ 16 w 194"/>
                <a:gd name="T37" fmla="*/ 96 h 314"/>
                <a:gd name="T38" fmla="*/ 26 w 194"/>
                <a:gd name="T39" fmla="*/ 44 h 314"/>
                <a:gd name="T40" fmla="*/ 34 w 194"/>
                <a:gd name="T41" fmla="*/ 20 h 314"/>
                <a:gd name="T42" fmla="*/ 36 w 194"/>
                <a:gd name="T43" fmla="*/ 14 h 314"/>
                <a:gd name="T44" fmla="*/ 36 w 194"/>
                <a:gd name="T45" fmla="*/ 12 h 314"/>
                <a:gd name="T46" fmla="*/ 26 w 194"/>
                <a:gd name="T47" fmla="*/ 16 h 314"/>
                <a:gd name="T48" fmla="*/ 28 w 194"/>
                <a:gd name="T49" fmla="*/ 16 h 314"/>
                <a:gd name="T50" fmla="*/ 64 w 194"/>
                <a:gd name="T51" fmla="*/ 32 h 314"/>
                <a:gd name="T52" fmla="*/ 86 w 194"/>
                <a:gd name="T53" fmla="*/ 44 h 314"/>
                <a:gd name="T54" fmla="*/ 130 w 194"/>
                <a:gd name="T55" fmla="*/ 78 h 314"/>
                <a:gd name="T56" fmla="*/ 148 w 194"/>
                <a:gd name="T57" fmla="*/ 100 h 314"/>
                <a:gd name="T58" fmla="*/ 164 w 194"/>
                <a:gd name="T59" fmla="*/ 126 h 314"/>
                <a:gd name="T60" fmla="*/ 178 w 194"/>
                <a:gd name="T61" fmla="*/ 118 h 314"/>
                <a:gd name="T62" fmla="*/ 170 w 194"/>
                <a:gd name="T63" fmla="*/ 104 h 314"/>
                <a:gd name="T64" fmla="*/ 150 w 194"/>
                <a:gd name="T65" fmla="*/ 76 h 314"/>
                <a:gd name="T66" fmla="*/ 114 w 194"/>
                <a:gd name="T67" fmla="*/ 44 h 314"/>
                <a:gd name="T68" fmla="*/ 90 w 194"/>
                <a:gd name="T69" fmla="*/ 28 h 314"/>
                <a:gd name="T70" fmla="*/ 50 w 194"/>
                <a:gd name="T71" fmla="*/ 8 h 314"/>
                <a:gd name="T72" fmla="*/ 24 w 194"/>
                <a:gd name="T73" fmla="*/ 0 h 314"/>
                <a:gd name="T74" fmla="*/ 22 w 194"/>
                <a:gd name="T75" fmla="*/ 6 h 314"/>
                <a:gd name="T76" fmla="*/ 10 w 194"/>
                <a:gd name="T77" fmla="*/ 38 h 314"/>
                <a:gd name="T78" fmla="*/ 0 w 194"/>
                <a:gd name="T79" fmla="*/ 94 h 314"/>
                <a:gd name="T80" fmla="*/ 0 w 194"/>
                <a:gd name="T81" fmla="*/ 116 h 314"/>
                <a:gd name="T82" fmla="*/ 2 w 194"/>
                <a:gd name="T83" fmla="*/ 156 h 314"/>
                <a:gd name="T84" fmla="*/ 14 w 194"/>
                <a:gd name="T85" fmla="*/ 194 h 314"/>
                <a:gd name="T86" fmla="*/ 22 w 194"/>
                <a:gd name="T87" fmla="*/ 210 h 314"/>
                <a:gd name="T88" fmla="*/ 44 w 194"/>
                <a:gd name="T89" fmla="*/ 236 h 314"/>
                <a:gd name="T90" fmla="*/ 78 w 194"/>
                <a:gd name="T91" fmla="*/ 268 h 314"/>
                <a:gd name="T92" fmla="*/ 102 w 194"/>
                <a:gd name="T93" fmla="*/ 284 h 314"/>
                <a:gd name="T94" fmla="*/ 144 w 194"/>
                <a:gd name="T95" fmla="*/ 306 h 314"/>
                <a:gd name="T96" fmla="*/ 168 w 194"/>
                <a:gd name="T97" fmla="*/ 314 h 314"/>
                <a:gd name="T98" fmla="*/ 172 w 194"/>
                <a:gd name="T99" fmla="*/ 308 h 314"/>
                <a:gd name="T100" fmla="*/ 182 w 194"/>
                <a:gd name="T101" fmla="*/ 274 h 314"/>
                <a:gd name="T102" fmla="*/ 194 w 194"/>
                <a:gd name="T103" fmla="*/ 218 h 314"/>
                <a:gd name="T104" fmla="*/ 194 w 194"/>
                <a:gd name="T105" fmla="*/ 196 h 314"/>
                <a:gd name="T106" fmla="*/ 190 w 194"/>
                <a:gd name="T107" fmla="*/ 158 h 314"/>
                <a:gd name="T108" fmla="*/ 178 w 194"/>
                <a:gd name="T109" fmla="*/ 118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94" h="314">
                  <a:moveTo>
                    <a:pt x="172" y="122"/>
                  </a:moveTo>
                  <a:lnTo>
                    <a:pt x="164" y="126"/>
                  </a:lnTo>
                  <a:lnTo>
                    <a:pt x="164" y="126"/>
                  </a:lnTo>
                  <a:lnTo>
                    <a:pt x="170" y="142"/>
                  </a:lnTo>
                  <a:lnTo>
                    <a:pt x="174" y="160"/>
                  </a:lnTo>
                  <a:lnTo>
                    <a:pt x="178" y="178"/>
                  </a:lnTo>
                  <a:lnTo>
                    <a:pt x="178" y="196"/>
                  </a:lnTo>
                  <a:lnTo>
                    <a:pt x="178" y="196"/>
                  </a:lnTo>
                  <a:lnTo>
                    <a:pt x="178" y="216"/>
                  </a:lnTo>
                  <a:lnTo>
                    <a:pt x="174" y="236"/>
                  </a:lnTo>
                  <a:lnTo>
                    <a:pt x="168" y="270"/>
                  </a:lnTo>
                  <a:lnTo>
                    <a:pt x="168" y="270"/>
                  </a:lnTo>
                  <a:lnTo>
                    <a:pt x="160" y="292"/>
                  </a:lnTo>
                  <a:lnTo>
                    <a:pt x="160" y="292"/>
                  </a:lnTo>
                  <a:lnTo>
                    <a:pt x="158" y="298"/>
                  </a:lnTo>
                  <a:lnTo>
                    <a:pt x="156" y="300"/>
                  </a:lnTo>
                  <a:lnTo>
                    <a:pt x="156" y="300"/>
                  </a:lnTo>
                  <a:lnTo>
                    <a:pt x="164" y="304"/>
                  </a:lnTo>
                  <a:lnTo>
                    <a:pt x="166" y="296"/>
                  </a:lnTo>
                  <a:lnTo>
                    <a:pt x="166" y="296"/>
                  </a:lnTo>
                  <a:lnTo>
                    <a:pt x="166" y="296"/>
                  </a:lnTo>
                  <a:lnTo>
                    <a:pt x="148" y="288"/>
                  </a:lnTo>
                  <a:lnTo>
                    <a:pt x="130" y="280"/>
                  </a:lnTo>
                  <a:lnTo>
                    <a:pt x="108" y="270"/>
                  </a:lnTo>
                  <a:lnTo>
                    <a:pt x="108" y="270"/>
                  </a:lnTo>
                  <a:lnTo>
                    <a:pt x="86" y="254"/>
                  </a:lnTo>
                  <a:lnTo>
                    <a:pt x="64" y="236"/>
                  </a:lnTo>
                  <a:lnTo>
                    <a:pt x="54" y="224"/>
                  </a:lnTo>
                  <a:lnTo>
                    <a:pt x="44" y="214"/>
                  </a:lnTo>
                  <a:lnTo>
                    <a:pt x="36" y="200"/>
                  </a:lnTo>
                  <a:lnTo>
                    <a:pt x="30" y="188"/>
                  </a:lnTo>
                  <a:lnTo>
                    <a:pt x="30" y="188"/>
                  </a:lnTo>
                  <a:lnTo>
                    <a:pt x="22" y="170"/>
                  </a:lnTo>
                  <a:lnTo>
                    <a:pt x="18" y="152"/>
                  </a:lnTo>
                  <a:lnTo>
                    <a:pt x="16" y="134"/>
                  </a:lnTo>
                  <a:lnTo>
                    <a:pt x="16" y="116"/>
                  </a:lnTo>
                  <a:lnTo>
                    <a:pt x="16" y="116"/>
                  </a:lnTo>
                  <a:lnTo>
                    <a:pt x="16" y="96"/>
                  </a:lnTo>
                  <a:lnTo>
                    <a:pt x="18" y="76"/>
                  </a:lnTo>
                  <a:lnTo>
                    <a:pt x="26" y="44"/>
                  </a:lnTo>
                  <a:lnTo>
                    <a:pt x="26" y="44"/>
                  </a:lnTo>
                  <a:lnTo>
                    <a:pt x="34" y="20"/>
                  </a:lnTo>
                  <a:lnTo>
                    <a:pt x="34" y="20"/>
                  </a:lnTo>
                  <a:lnTo>
                    <a:pt x="36" y="14"/>
                  </a:lnTo>
                  <a:lnTo>
                    <a:pt x="36" y="12"/>
                  </a:lnTo>
                  <a:lnTo>
                    <a:pt x="36" y="12"/>
                  </a:lnTo>
                  <a:lnTo>
                    <a:pt x="30" y="8"/>
                  </a:lnTo>
                  <a:lnTo>
                    <a:pt x="26" y="16"/>
                  </a:lnTo>
                  <a:lnTo>
                    <a:pt x="28" y="16"/>
                  </a:lnTo>
                  <a:lnTo>
                    <a:pt x="28" y="16"/>
                  </a:lnTo>
                  <a:lnTo>
                    <a:pt x="46" y="24"/>
                  </a:lnTo>
                  <a:lnTo>
                    <a:pt x="64" y="32"/>
                  </a:lnTo>
                  <a:lnTo>
                    <a:pt x="86" y="44"/>
                  </a:lnTo>
                  <a:lnTo>
                    <a:pt x="86" y="44"/>
                  </a:lnTo>
                  <a:lnTo>
                    <a:pt x="108" y="58"/>
                  </a:lnTo>
                  <a:lnTo>
                    <a:pt x="130" y="78"/>
                  </a:lnTo>
                  <a:lnTo>
                    <a:pt x="140" y="88"/>
                  </a:lnTo>
                  <a:lnTo>
                    <a:pt x="148" y="100"/>
                  </a:lnTo>
                  <a:lnTo>
                    <a:pt x="156" y="112"/>
                  </a:lnTo>
                  <a:lnTo>
                    <a:pt x="164" y="126"/>
                  </a:lnTo>
                  <a:lnTo>
                    <a:pt x="172" y="122"/>
                  </a:lnTo>
                  <a:lnTo>
                    <a:pt x="178" y="118"/>
                  </a:lnTo>
                  <a:lnTo>
                    <a:pt x="178" y="118"/>
                  </a:lnTo>
                  <a:lnTo>
                    <a:pt x="170" y="104"/>
                  </a:lnTo>
                  <a:lnTo>
                    <a:pt x="160" y="90"/>
                  </a:lnTo>
                  <a:lnTo>
                    <a:pt x="150" y="76"/>
                  </a:lnTo>
                  <a:lnTo>
                    <a:pt x="138" y="64"/>
                  </a:lnTo>
                  <a:lnTo>
                    <a:pt x="114" y="44"/>
                  </a:lnTo>
                  <a:lnTo>
                    <a:pt x="90" y="28"/>
                  </a:lnTo>
                  <a:lnTo>
                    <a:pt x="90" y="28"/>
                  </a:lnTo>
                  <a:lnTo>
                    <a:pt x="68" y="16"/>
                  </a:lnTo>
                  <a:lnTo>
                    <a:pt x="50" y="8"/>
                  </a:lnTo>
                  <a:lnTo>
                    <a:pt x="32" y="2"/>
                  </a:lnTo>
                  <a:lnTo>
                    <a:pt x="24" y="0"/>
                  </a:lnTo>
                  <a:lnTo>
                    <a:pt x="22" y="6"/>
                  </a:lnTo>
                  <a:lnTo>
                    <a:pt x="22" y="6"/>
                  </a:lnTo>
                  <a:lnTo>
                    <a:pt x="18" y="14"/>
                  </a:lnTo>
                  <a:lnTo>
                    <a:pt x="10" y="38"/>
                  </a:lnTo>
                  <a:lnTo>
                    <a:pt x="2" y="74"/>
                  </a:lnTo>
                  <a:lnTo>
                    <a:pt x="0" y="94"/>
                  </a:lnTo>
                  <a:lnTo>
                    <a:pt x="0" y="116"/>
                  </a:lnTo>
                  <a:lnTo>
                    <a:pt x="0" y="116"/>
                  </a:lnTo>
                  <a:lnTo>
                    <a:pt x="0" y="136"/>
                  </a:lnTo>
                  <a:lnTo>
                    <a:pt x="2" y="156"/>
                  </a:lnTo>
                  <a:lnTo>
                    <a:pt x="8" y="174"/>
                  </a:lnTo>
                  <a:lnTo>
                    <a:pt x="14" y="194"/>
                  </a:lnTo>
                  <a:lnTo>
                    <a:pt x="14" y="194"/>
                  </a:lnTo>
                  <a:lnTo>
                    <a:pt x="22" y="210"/>
                  </a:lnTo>
                  <a:lnTo>
                    <a:pt x="32" y="224"/>
                  </a:lnTo>
                  <a:lnTo>
                    <a:pt x="44" y="236"/>
                  </a:lnTo>
                  <a:lnTo>
                    <a:pt x="54" y="248"/>
                  </a:lnTo>
                  <a:lnTo>
                    <a:pt x="78" y="268"/>
                  </a:lnTo>
                  <a:lnTo>
                    <a:pt x="102" y="284"/>
                  </a:lnTo>
                  <a:lnTo>
                    <a:pt x="102" y="284"/>
                  </a:lnTo>
                  <a:lnTo>
                    <a:pt x="126" y="296"/>
                  </a:lnTo>
                  <a:lnTo>
                    <a:pt x="144" y="306"/>
                  </a:lnTo>
                  <a:lnTo>
                    <a:pt x="162" y="312"/>
                  </a:lnTo>
                  <a:lnTo>
                    <a:pt x="168" y="314"/>
                  </a:lnTo>
                  <a:lnTo>
                    <a:pt x="172" y="308"/>
                  </a:lnTo>
                  <a:lnTo>
                    <a:pt x="172" y="308"/>
                  </a:lnTo>
                  <a:lnTo>
                    <a:pt x="176" y="298"/>
                  </a:lnTo>
                  <a:lnTo>
                    <a:pt x="182" y="274"/>
                  </a:lnTo>
                  <a:lnTo>
                    <a:pt x="190" y="238"/>
                  </a:lnTo>
                  <a:lnTo>
                    <a:pt x="194" y="218"/>
                  </a:lnTo>
                  <a:lnTo>
                    <a:pt x="194" y="196"/>
                  </a:lnTo>
                  <a:lnTo>
                    <a:pt x="194" y="196"/>
                  </a:lnTo>
                  <a:lnTo>
                    <a:pt x="194" y="178"/>
                  </a:lnTo>
                  <a:lnTo>
                    <a:pt x="190" y="158"/>
                  </a:lnTo>
                  <a:lnTo>
                    <a:pt x="186" y="138"/>
                  </a:lnTo>
                  <a:lnTo>
                    <a:pt x="178" y="118"/>
                  </a:lnTo>
                  <a:lnTo>
                    <a:pt x="172" y="12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48" name="Freeform 2089">
              <a:extLst>
                <a:ext uri="{FF2B5EF4-FFF2-40B4-BE49-F238E27FC236}">
                  <a16:creationId xmlns:a16="http://schemas.microsoft.com/office/drawing/2014/main" id="{D89D60B5-DC4C-43AF-A706-A2B186B42E3E}"/>
                </a:ext>
              </a:extLst>
            </p:cNvPr>
            <p:cNvSpPr>
              <a:spLocks/>
            </p:cNvSpPr>
            <p:nvPr/>
          </p:nvSpPr>
          <p:spPr bwMode="auto">
            <a:xfrm>
              <a:off x="8424989" y="4154946"/>
              <a:ext cx="571739" cy="293016"/>
            </a:xfrm>
            <a:custGeom>
              <a:avLst/>
              <a:gdLst>
                <a:gd name="T0" fmla="*/ 174 w 320"/>
                <a:gd name="T1" fmla="*/ 2 h 164"/>
                <a:gd name="T2" fmla="*/ 174 w 320"/>
                <a:gd name="T3" fmla="*/ 2 h 164"/>
                <a:gd name="T4" fmla="*/ 190 w 320"/>
                <a:gd name="T5" fmla="*/ 4 h 164"/>
                <a:gd name="T6" fmla="*/ 204 w 320"/>
                <a:gd name="T7" fmla="*/ 10 h 164"/>
                <a:gd name="T8" fmla="*/ 220 w 320"/>
                <a:gd name="T9" fmla="*/ 16 h 164"/>
                <a:gd name="T10" fmla="*/ 234 w 320"/>
                <a:gd name="T11" fmla="*/ 24 h 164"/>
                <a:gd name="T12" fmla="*/ 258 w 320"/>
                <a:gd name="T13" fmla="*/ 40 h 164"/>
                <a:gd name="T14" fmla="*/ 280 w 320"/>
                <a:gd name="T15" fmla="*/ 60 h 164"/>
                <a:gd name="T16" fmla="*/ 298 w 320"/>
                <a:gd name="T17" fmla="*/ 78 h 164"/>
                <a:gd name="T18" fmla="*/ 310 w 320"/>
                <a:gd name="T19" fmla="*/ 92 h 164"/>
                <a:gd name="T20" fmla="*/ 320 w 320"/>
                <a:gd name="T21" fmla="*/ 106 h 164"/>
                <a:gd name="T22" fmla="*/ 320 w 320"/>
                <a:gd name="T23" fmla="*/ 106 h 164"/>
                <a:gd name="T24" fmla="*/ 306 w 320"/>
                <a:gd name="T25" fmla="*/ 118 h 164"/>
                <a:gd name="T26" fmla="*/ 290 w 320"/>
                <a:gd name="T27" fmla="*/ 128 h 164"/>
                <a:gd name="T28" fmla="*/ 268 w 320"/>
                <a:gd name="T29" fmla="*/ 140 h 164"/>
                <a:gd name="T30" fmla="*/ 242 w 320"/>
                <a:gd name="T31" fmla="*/ 152 h 164"/>
                <a:gd name="T32" fmla="*/ 212 w 320"/>
                <a:gd name="T33" fmla="*/ 160 h 164"/>
                <a:gd name="T34" fmla="*/ 196 w 320"/>
                <a:gd name="T35" fmla="*/ 162 h 164"/>
                <a:gd name="T36" fmla="*/ 180 w 320"/>
                <a:gd name="T37" fmla="*/ 164 h 164"/>
                <a:gd name="T38" fmla="*/ 164 w 320"/>
                <a:gd name="T39" fmla="*/ 164 h 164"/>
                <a:gd name="T40" fmla="*/ 148 w 320"/>
                <a:gd name="T41" fmla="*/ 162 h 164"/>
                <a:gd name="T42" fmla="*/ 148 w 320"/>
                <a:gd name="T43" fmla="*/ 162 h 164"/>
                <a:gd name="T44" fmla="*/ 132 w 320"/>
                <a:gd name="T45" fmla="*/ 160 h 164"/>
                <a:gd name="T46" fmla="*/ 116 w 320"/>
                <a:gd name="T47" fmla="*/ 154 h 164"/>
                <a:gd name="T48" fmla="*/ 102 w 320"/>
                <a:gd name="T49" fmla="*/ 148 h 164"/>
                <a:gd name="T50" fmla="*/ 88 w 320"/>
                <a:gd name="T51" fmla="*/ 140 h 164"/>
                <a:gd name="T52" fmla="*/ 62 w 320"/>
                <a:gd name="T53" fmla="*/ 124 h 164"/>
                <a:gd name="T54" fmla="*/ 40 w 320"/>
                <a:gd name="T55" fmla="*/ 104 h 164"/>
                <a:gd name="T56" fmla="*/ 24 w 320"/>
                <a:gd name="T57" fmla="*/ 88 h 164"/>
                <a:gd name="T58" fmla="*/ 10 w 320"/>
                <a:gd name="T59" fmla="*/ 72 h 164"/>
                <a:gd name="T60" fmla="*/ 0 w 320"/>
                <a:gd name="T61" fmla="*/ 58 h 164"/>
                <a:gd name="T62" fmla="*/ 0 w 320"/>
                <a:gd name="T63" fmla="*/ 58 h 164"/>
                <a:gd name="T64" fmla="*/ 14 w 320"/>
                <a:gd name="T65" fmla="*/ 46 h 164"/>
                <a:gd name="T66" fmla="*/ 32 w 320"/>
                <a:gd name="T67" fmla="*/ 36 h 164"/>
                <a:gd name="T68" fmla="*/ 54 w 320"/>
                <a:gd name="T69" fmla="*/ 24 h 164"/>
                <a:gd name="T70" fmla="*/ 80 w 320"/>
                <a:gd name="T71" fmla="*/ 12 h 164"/>
                <a:gd name="T72" fmla="*/ 108 w 320"/>
                <a:gd name="T73" fmla="*/ 4 h 164"/>
                <a:gd name="T74" fmla="*/ 124 w 320"/>
                <a:gd name="T75" fmla="*/ 2 h 164"/>
                <a:gd name="T76" fmla="*/ 140 w 320"/>
                <a:gd name="T77" fmla="*/ 0 h 164"/>
                <a:gd name="T78" fmla="*/ 156 w 320"/>
                <a:gd name="T79" fmla="*/ 0 h 164"/>
                <a:gd name="T80" fmla="*/ 174 w 320"/>
                <a:gd name="T81" fmla="*/ 2 h 164"/>
                <a:gd name="T82" fmla="*/ 174 w 320"/>
                <a:gd name="T83" fmla="*/ 2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20" h="164">
                  <a:moveTo>
                    <a:pt x="174" y="2"/>
                  </a:moveTo>
                  <a:lnTo>
                    <a:pt x="174" y="2"/>
                  </a:lnTo>
                  <a:lnTo>
                    <a:pt x="190" y="4"/>
                  </a:lnTo>
                  <a:lnTo>
                    <a:pt x="204" y="10"/>
                  </a:lnTo>
                  <a:lnTo>
                    <a:pt x="220" y="16"/>
                  </a:lnTo>
                  <a:lnTo>
                    <a:pt x="234" y="24"/>
                  </a:lnTo>
                  <a:lnTo>
                    <a:pt x="258" y="40"/>
                  </a:lnTo>
                  <a:lnTo>
                    <a:pt x="280" y="60"/>
                  </a:lnTo>
                  <a:lnTo>
                    <a:pt x="298" y="78"/>
                  </a:lnTo>
                  <a:lnTo>
                    <a:pt x="310" y="92"/>
                  </a:lnTo>
                  <a:lnTo>
                    <a:pt x="320" y="106"/>
                  </a:lnTo>
                  <a:lnTo>
                    <a:pt x="320" y="106"/>
                  </a:lnTo>
                  <a:lnTo>
                    <a:pt x="306" y="118"/>
                  </a:lnTo>
                  <a:lnTo>
                    <a:pt x="290" y="128"/>
                  </a:lnTo>
                  <a:lnTo>
                    <a:pt x="268" y="140"/>
                  </a:lnTo>
                  <a:lnTo>
                    <a:pt x="242" y="152"/>
                  </a:lnTo>
                  <a:lnTo>
                    <a:pt x="212" y="160"/>
                  </a:lnTo>
                  <a:lnTo>
                    <a:pt x="196" y="162"/>
                  </a:lnTo>
                  <a:lnTo>
                    <a:pt x="180" y="164"/>
                  </a:lnTo>
                  <a:lnTo>
                    <a:pt x="164" y="164"/>
                  </a:lnTo>
                  <a:lnTo>
                    <a:pt x="148" y="162"/>
                  </a:lnTo>
                  <a:lnTo>
                    <a:pt x="148" y="162"/>
                  </a:lnTo>
                  <a:lnTo>
                    <a:pt x="132" y="160"/>
                  </a:lnTo>
                  <a:lnTo>
                    <a:pt x="116" y="154"/>
                  </a:lnTo>
                  <a:lnTo>
                    <a:pt x="102" y="148"/>
                  </a:lnTo>
                  <a:lnTo>
                    <a:pt x="88" y="140"/>
                  </a:lnTo>
                  <a:lnTo>
                    <a:pt x="62" y="124"/>
                  </a:lnTo>
                  <a:lnTo>
                    <a:pt x="40" y="104"/>
                  </a:lnTo>
                  <a:lnTo>
                    <a:pt x="24" y="88"/>
                  </a:lnTo>
                  <a:lnTo>
                    <a:pt x="10" y="72"/>
                  </a:lnTo>
                  <a:lnTo>
                    <a:pt x="0" y="58"/>
                  </a:lnTo>
                  <a:lnTo>
                    <a:pt x="0" y="58"/>
                  </a:lnTo>
                  <a:lnTo>
                    <a:pt x="14" y="46"/>
                  </a:lnTo>
                  <a:lnTo>
                    <a:pt x="32" y="36"/>
                  </a:lnTo>
                  <a:lnTo>
                    <a:pt x="54" y="24"/>
                  </a:lnTo>
                  <a:lnTo>
                    <a:pt x="80" y="12"/>
                  </a:lnTo>
                  <a:lnTo>
                    <a:pt x="108" y="4"/>
                  </a:lnTo>
                  <a:lnTo>
                    <a:pt x="124" y="2"/>
                  </a:lnTo>
                  <a:lnTo>
                    <a:pt x="140" y="0"/>
                  </a:lnTo>
                  <a:lnTo>
                    <a:pt x="156" y="0"/>
                  </a:lnTo>
                  <a:lnTo>
                    <a:pt x="174" y="2"/>
                  </a:lnTo>
                  <a:lnTo>
                    <a:pt x="174" y="2"/>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49" name="Freeform 2091">
              <a:extLst>
                <a:ext uri="{FF2B5EF4-FFF2-40B4-BE49-F238E27FC236}">
                  <a16:creationId xmlns:a16="http://schemas.microsoft.com/office/drawing/2014/main" id="{17C0A39D-342A-4489-9CA7-EB241AE05175}"/>
                </a:ext>
              </a:extLst>
            </p:cNvPr>
            <p:cNvSpPr>
              <a:spLocks/>
            </p:cNvSpPr>
            <p:nvPr/>
          </p:nvSpPr>
          <p:spPr bwMode="auto">
            <a:xfrm>
              <a:off x="8414268" y="3504593"/>
              <a:ext cx="443098" cy="378777"/>
            </a:xfrm>
            <a:custGeom>
              <a:avLst/>
              <a:gdLst>
                <a:gd name="T0" fmla="*/ 176 w 248"/>
                <a:gd name="T1" fmla="*/ 44 h 212"/>
                <a:gd name="T2" fmla="*/ 176 w 248"/>
                <a:gd name="T3" fmla="*/ 44 h 212"/>
                <a:gd name="T4" fmla="*/ 188 w 248"/>
                <a:gd name="T5" fmla="*/ 54 h 212"/>
                <a:gd name="T6" fmla="*/ 200 w 248"/>
                <a:gd name="T7" fmla="*/ 68 h 212"/>
                <a:gd name="T8" fmla="*/ 208 w 248"/>
                <a:gd name="T9" fmla="*/ 80 h 212"/>
                <a:gd name="T10" fmla="*/ 216 w 248"/>
                <a:gd name="T11" fmla="*/ 94 h 212"/>
                <a:gd name="T12" fmla="*/ 228 w 248"/>
                <a:gd name="T13" fmla="*/ 122 h 212"/>
                <a:gd name="T14" fmla="*/ 238 w 248"/>
                <a:gd name="T15" fmla="*/ 148 h 212"/>
                <a:gd name="T16" fmla="*/ 242 w 248"/>
                <a:gd name="T17" fmla="*/ 172 h 212"/>
                <a:gd name="T18" fmla="*/ 246 w 248"/>
                <a:gd name="T19" fmla="*/ 192 h 212"/>
                <a:gd name="T20" fmla="*/ 248 w 248"/>
                <a:gd name="T21" fmla="*/ 210 h 212"/>
                <a:gd name="T22" fmla="*/ 248 w 248"/>
                <a:gd name="T23" fmla="*/ 210 h 212"/>
                <a:gd name="T24" fmla="*/ 230 w 248"/>
                <a:gd name="T25" fmla="*/ 212 h 212"/>
                <a:gd name="T26" fmla="*/ 210 w 248"/>
                <a:gd name="T27" fmla="*/ 212 h 212"/>
                <a:gd name="T28" fmla="*/ 184 w 248"/>
                <a:gd name="T29" fmla="*/ 210 h 212"/>
                <a:gd name="T30" fmla="*/ 156 w 248"/>
                <a:gd name="T31" fmla="*/ 208 h 212"/>
                <a:gd name="T32" fmla="*/ 128 w 248"/>
                <a:gd name="T33" fmla="*/ 200 h 212"/>
                <a:gd name="T34" fmla="*/ 112 w 248"/>
                <a:gd name="T35" fmla="*/ 194 h 212"/>
                <a:gd name="T36" fmla="*/ 98 w 248"/>
                <a:gd name="T37" fmla="*/ 186 h 212"/>
                <a:gd name="T38" fmla="*/ 84 w 248"/>
                <a:gd name="T39" fmla="*/ 178 h 212"/>
                <a:gd name="T40" fmla="*/ 70 w 248"/>
                <a:gd name="T41" fmla="*/ 168 h 212"/>
                <a:gd name="T42" fmla="*/ 70 w 248"/>
                <a:gd name="T43" fmla="*/ 168 h 212"/>
                <a:gd name="T44" fmla="*/ 58 w 248"/>
                <a:gd name="T45" fmla="*/ 158 h 212"/>
                <a:gd name="T46" fmla="*/ 48 w 248"/>
                <a:gd name="T47" fmla="*/ 146 h 212"/>
                <a:gd name="T48" fmla="*/ 38 w 248"/>
                <a:gd name="T49" fmla="*/ 132 h 212"/>
                <a:gd name="T50" fmla="*/ 30 w 248"/>
                <a:gd name="T51" fmla="*/ 118 h 212"/>
                <a:gd name="T52" fmla="*/ 18 w 248"/>
                <a:gd name="T53" fmla="*/ 90 h 212"/>
                <a:gd name="T54" fmla="*/ 10 w 248"/>
                <a:gd name="T55" fmla="*/ 64 h 212"/>
                <a:gd name="T56" fmla="*/ 4 w 248"/>
                <a:gd name="T57" fmla="*/ 40 h 212"/>
                <a:gd name="T58" fmla="*/ 0 w 248"/>
                <a:gd name="T59" fmla="*/ 20 h 212"/>
                <a:gd name="T60" fmla="*/ 0 w 248"/>
                <a:gd name="T61" fmla="*/ 2 h 212"/>
                <a:gd name="T62" fmla="*/ 0 w 248"/>
                <a:gd name="T63" fmla="*/ 2 h 212"/>
                <a:gd name="T64" fmla="*/ 18 w 248"/>
                <a:gd name="T65" fmla="*/ 0 h 212"/>
                <a:gd name="T66" fmla="*/ 38 w 248"/>
                <a:gd name="T67" fmla="*/ 0 h 212"/>
                <a:gd name="T68" fmla="*/ 62 w 248"/>
                <a:gd name="T69" fmla="*/ 2 h 212"/>
                <a:gd name="T70" fmla="*/ 90 w 248"/>
                <a:gd name="T71" fmla="*/ 6 h 212"/>
                <a:gd name="T72" fmla="*/ 120 w 248"/>
                <a:gd name="T73" fmla="*/ 12 h 212"/>
                <a:gd name="T74" fmla="*/ 134 w 248"/>
                <a:gd name="T75" fmla="*/ 18 h 212"/>
                <a:gd name="T76" fmla="*/ 150 w 248"/>
                <a:gd name="T77" fmla="*/ 26 h 212"/>
                <a:gd name="T78" fmla="*/ 164 w 248"/>
                <a:gd name="T79" fmla="*/ 34 h 212"/>
                <a:gd name="T80" fmla="*/ 176 w 248"/>
                <a:gd name="T81" fmla="*/ 44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48" h="212">
                  <a:moveTo>
                    <a:pt x="176" y="44"/>
                  </a:moveTo>
                  <a:lnTo>
                    <a:pt x="176" y="44"/>
                  </a:lnTo>
                  <a:lnTo>
                    <a:pt x="188" y="54"/>
                  </a:lnTo>
                  <a:lnTo>
                    <a:pt x="200" y="68"/>
                  </a:lnTo>
                  <a:lnTo>
                    <a:pt x="208" y="80"/>
                  </a:lnTo>
                  <a:lnTo>
                    <a:pt x="216" y="94"/>
                  </a:lnTo>
                  <a:lnTo>
                    <a:pt x="228" y="122"/>
                  </a:lnTo>
                  <a:lnTo>
                    <a:pt x="238" y="148"/>
                  </a:lnTo>
                  <a:lnTo>
                    <a:pt x="242" y="172"/>
                  </a:lnTo>
                  <a:lnTo>
                    <a:pt x="246" y="192"/>
                  </a:lnTo>
                  <a:lnTo>
                    <a:pt x="248" y="210"/>
                  </a:lnTo>
                  <a:lnTo>
                    <a:pt x="248" y="210"/>
                  </a:lnTo>
                  <a:lnTo>
                    <a:pt x="230" y="212"/>
                  </a:lnTo>
                  <a:lnTo>
                    <a:pt x="210" y="212"/>
                  </a:lnTo>
                  <a:lnTo>
                    <a:pt x="184" y="210"/>
                  </a:lnTo>
                  <a:lnTo>
                    <a:pt x="156" y="208"/>
                  </a:lnTo>
                  <a:lnTo>
                    <a:pt x="128" y="200"/>
                  </a:lnTo>
                  <a:lnTo>
                    <a:pt x="112" y="194"/>
                  </a:lnTo>
                  <a:lnTo>
                    <a:pt x="98" y="186"/>
                  </a:lnTo>
                  <a:lnTo>
                    <a:pt x="84" y="178"/>
                  </a:lnTo>
                  <a:lnTo>
                    <a:pt x="70" y="168"/>
                  </a:lnTo>
                  <a:lnTo>
                    <a:pt x="70" y="168"/>
                  </a:lnTo>
                  <a:lnTo>
                    <a:pt x="58" y="158"/>
                  </a:lnTo>
                  <a:lnTo>
                    <a:pt x="48" y="146"/>
                  </a:lnTo>
                  <a:lnTo>
                    <a:pt x="38" y="132"/>
                  </a:lnTo>
                  <a:lnTo>
                    <a:pt x="30" y="118"/>
                  </a:lnTo>
                  <a:lnTo>
                    <a:pt x="18" y="90"/>
                  </a:lnTo>
                  <a:lnTo>
                    <a:pt x="10" y="64"/>
                  </a:lnTo>
                  <a:lnTo>
                    <a:pt x="4" y="40"/>
                  </a:lnTo>
                  <a:lnTo>
                    <a:pt x="0" y="20"/>
                  </a:lnTo>
                  <a:lnTo>
                    <a:pt x="0" y="2"/>
                  </a:lnTo>
                  <a:lnTo>
                    <a:pt x="0" y="2"/>
                  </a:lnTo>
                  <a:lnTo>
                    <a:pt x="18" y="0"/>
                  </a:lnTo>
                  <a:lnTo>
                    <a:pt x="38" y="0"/>
                  </a:lnTo>
                  <a:lnTo>
                    <a:pt x="62" y="2"/>
                  </a:lnTo>
                  <a:lnTo>
                    <a:pt x="90" y="6"/>
                  </a:lnTo>
                  <a:lnTo>
                    <a:pt x="120" y="12"/>
                  </a:lnTo>
                  <a:lnTo>
                    <a:pt x="134" y="18"/>
                  </a:lnTo>
                  <a:lnTo>
                    <a:pt x="150" y="26"/>
                  </a:lnTo>
                  <a:lnTo>
                    <a:pt x="164" y="34"/>
                  </a:lnTo>
                  <a:lnTo>
                    <a:pt x="176" y="4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50" name="Freeform 2092">
              <a:extLst>
                <a:ext uri="{FF2B5EF4-FFF2-40B4-BE49-F238E27FC236}">
                  <a16:creationId xmlns:a16="http://schemas.microsoft.com/office/drawing/2014/main" id="{B0C63225-2115-4B18-A842-749B09225212}"/>
                </a:ext>
              </a:extLst>
            </p:cNvPr>
            <p:cNvSpPr>
              <a:spLocks/>
            </p:cNvSpPr>
            <p:nvPr/>
          </p:nvSpPr>
          <p:spPr bwMode="auto">
            <a:xfrm>
              <a:off x="8414268" y="3504593"/>
              <a:ext cx="443098" cy="378777"/>
            </a:xfrm>
            <a:custGeom>
              <a:avLst/>
              <a:gdLst>
                <a:gd name="T0" fmla="*/ 176 w 248"/>
                <a:gd name="T1" fmla="*/ 44 h 212"/>
                <a:gd name="T2" fmla="*/ 176 w 248"/>
                <a:gd name="T3" fmla="*/ 44 h 212"/>
                <a:gd name="T4" fmla="*/ 188 w 248"/>
                <a:gd name="T5" fmla="*/ 54 h 212"/>
                <a:gd name="T6" fmla="*/ 200 w 248"/>
                <a:gd name="T7" fmla="*/ 68 h 212"/>
                <a:gd name="T8" fmla="*/ 208 w 248"/>
                <a:gd name="T9" fmla="*/ 80 h 212"/>
                <a:gd name="T10" fmla="*/ 216 w 248"/>
                <a:gd name="T11" fmla="*/ 94 h 212"/>
                <a:gd name="T12" fmla="*/ 228 w 248"/>
                <a:gd name="T13" fmla="*/ 122 h 212"/>
                <a:gd name="T14" fmla="*/ 238 w 248"/>
                <a:gd name="T15" fmla="*/ 148 h 212"/>
                <a:gd name="T16" fmla="*/ 242 w 248"/>
                <a:gd name="T17" fmla="*/ 172 h 212"/>
                <a:gd name="T18" fmla="*/ 246 w 248"/>
                <a:gd name="T19" fmla="*/ 192 h 212"/>
                <a:gd name="T20" fmla="*/ 248 w 248"/>
                <a:gd name="T21" fmla="*/ 210 h 212"/>
                <a:gd name="T22" fmla="*/ 248 w 248"/>
                <a:gd name="T23" fmla="*/ 210 h 212"/>
                <a:gd name="T24" fmla="*/ 230 w 248"/>
                <a:gd name="T25" fmla="*/ 212 h 212"/>
                <a:gd name="T26" fmla="*/ 210 w 248"/>
                <a:gd name="T27" fmla="*/ 212 h 212"/>
                <a:gd name="T28" fmla="*/ 184 w 248"/>
                <a:gd name="T29" fmla="*/ 210 h 212"/>
                <a:gd name="T30" fmla="*/ 156 w 248"/>
                <a:gd name="T31" fmla="*/ 208 h 212"/>
                <a:gd name="T32" fmla="*/ 128 w 248"/>
                <a:gd name="T33" fmla="*/ 200 h 212"/>
                <a:gd name="T34" fmla="*/ 112 w 248"/>
                <a:gd name="T35" fmla="*/ 194 h 212"/>
                <a:gd name="T36" fmla="*/ 98 w 248"/>
                <a:gd name="T37" fmla="*/ 186 h 212"/>
                <a:gd name="T38" fmla="*/ 84 w 248"/>
                <a:gd name="T39" fmla="*/ 178 h 212"/>
                <a:gd name="T40" fmla="*/ 70 w 248"/>
                <a:gd name="T41" fmla="*/ 168 h 212"/>
                <a:gd name="T42" fmla="*/ 70 w 248"/>
                <a:gd name="T43" fmla="*/ 168 h 212"/>
                <a:gd name="T44" fmla="*/ 58 w 248"/>
                <a:gd name="T45" fmla="*/ 158 h 212"/>
                <a:gd name="T46" fmla="*/ 48 w 248"/>
                <a:gd name="T47" fmla="*/ 146 h 212"/>
                <a:gd name="T48" fmla="*/ 38 w 248"/>
                <a:gd name="T49" fmla="*/ 132 h 212"/>
                <a:gd name="T50" fmla="*/ 30 w 248"/>
                <a:gd name="T51" fmla="*/ 118 h 212"/>
                <a:gd name="T52" fmla="*/ 18 w 248"/>
                <a:gd name="T53" fmla="*/ 90 h 212"/>
                <a:gd name="T54" fmla="*/ 10 w 248"/>
                <a:gd name="T55" fmla="*/ 64 h 212"/>
                <a:gd name="T56" fmla="*/ 4 w 248"/>
                <a:gd name="T57" fmla="*/ 40 h 212"/>
                <a:gd name="T58" fmla="*/ 0 w 248"/>
                <a:gd name="T59" fmla="*/ 20 h 212"/>
                <a:gd name="T60" fmla="*/ 0 w 248"/>
                <a:gd name="T61" fmla="*/ 2 h 212"/>
                <a:gd name="T62" fmla="*/ 0 w 248"/>
                <a:gd name="T63" fmla="*/ 2 h 212"/>
                <a:gd name="T64" fmla="*/ 18 w 248"/>
                <a:gd name="T65" fmla="*/ 0 h 212"/>
                <a:gd name="T66" fmla="*/ 38 w 248"/>
                <a:gd name="T67" fmla="*/ 0 h 212"/>
                <a:gd name="T68" fmla="*/ 62 w 248"/>
                <a:gd name="T69" fmla="*/ 2 h 212"/>
                <a:gd name="T70" fmla="*/ 90 w 248"/>
                <a:gd name="T71" fmla="*/ 6 h 212"/>
                <a:gd name="T72" fmla="*/ 120 w 248"/>
                <a:gd name="T73" fmla="*/ 12 h 212"/>
                <a:gd name="T74" fmla="*/ 134 w 248"/>
                <a:gd name="T75" fmla="*/ 18 h 212"/>
                <a:gd name="T76" fmla="*/ 150 w 248"/>
                <a:gd name="T77" fmla="*/ 26 h 212"/>
                <a:gd name="T78" fmla="*/ 164 w 248"/>
                <a:gd name="T79" fmla="*/ 34 h 212"/>
                <a:gd name="T80" fmla="*/ 176 w 248"/>
                <a:gd name="T81" fmla="*/ 44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48" h="212">
                  <a:moveTo>
                    <a:pt x="176" y="44"/>
                  </a:moveTo>
                  <a:lnTo>
                    <a:pt x="176" y="44"/>
                  </a:lnTo>
                  <a:lnTo>
                    <a:pt x="188" y="54"/>
                  </a:lnTo>
                  <a:lnTo>
                    <a:pt x="200" y="68"/>
                  </a:lnTo>
                  <a:lnTo>
                    <a:pt x="208" y="80"/>
                  </a:lnTo>
                  <a:lnTo>
                    <a:pt x="216" y="94"/>
                  </a:lnTo>
                  <a:lnTo>
                    <a:pt x="228" y="122"/>
                  </a:lnTo>
                  <a:lnTo>
                    <a:pt x="238" y="148"/>
                  </a:lnTo>
                  <a:lnTo>
                    <a:pt x="242" y="172"/>
                  </a:lnTo>
                  <a:lnTo>
                    <a:pt x="246" y="192"/>
                  </a:lnTo>
                  <a:lnTo>
                    <a:pt x="248" y="210"/>
                  </a:lnTo>
                  <a:lnTo>
                    <a:pt x="248" y="210"/>
                  </a:lnTo>
                  <a:lnTo>
                    <a:pt x="230" y="212"/>
                  </a:lnTo>
                  <a:lnTo>
                    <a:pt x="210" y="212"/>
                  </a:lnTo>
                  <a:lnTo>
                    <a:pt x="184" y="210"/>
                  </a:lnTo>
                  <a:lnTo>
                    <a:pt x="156" y="208"/>
                  </a:lnTo>
                  <a:lnTo>
                    <a:pt x="128" y="200"/>
                  </a:lnTo>
                  <a:lnTo>
                    <a:pt x="112" y="194"/>
                  </a:lnTo>
                  <a:lnTo>
                    <a:pt x="98" y="186"/>
                  </a:lnTo>
                  <a:lnTo>
                    <a:pt x="84" y="178"/>
                  </a:lnTo>
                  <a:lnTo>
                    <a:pt x="70" y="168"/>
                  </a:lnTo>
                  <a:lnTo>
                    <a:pt x="70" y="168"/>
                  </a:lnTo>
                  <a:lnTo>
                    <a:pt x="58" y="158"/>
                  </a:lnTo>
                  <a:lnTo>
                    <a:pt x="48" y="146"/>
                  </a:lnTo>
                  <a:lnTo>
                    <a:pt x="38" y="132"/>
                  </a:lnTo>
                  <a:lnTo>
                    <a:pt x="30" y="118"/>
                  </a:lnTo>
                  <a:lnTo>
                    <a:pt x="18" y="90"/>
                  </a:lnTo>
                  <a:lnTo>
                    <a:pt x="10" y="64"/>
                  </a:lnTo>
                  <a:lnTo>
                    <a:pt x="4" y="40"/>
                  </a:lnTo>
                  <a:lnTo>
                    <a:pt x="0" y="20"/>
                  </a:lnTo>
                  <a:lnTo>
                    <a:pt x="0" y="2"/>
                  </a:lnTo>
                  <a:lnTo>
                    <a:pt x="0" y="2"/>
                  </a:lnTo>
                  <a:lnTo>
                    <a:pt x="18" y="0"/>
                  </a:lnTo>
                  <a:lnTo>
                    <a:pt x="38" y="0"/>
                  </a:lnTo>
                  <a:lnTo>
                    <a:pt x="62" y="2"/>
                  </a:lnTo>
                  <a:lnTo>
                    <a:pt x="90" y="6"/>
                  </a:lnTo>
                  <a:lnTo>
                    <a:pt x="120" y="12"/>
                  </a:lnTo>
                  <a:lnTo>
                    <a:pt x="134" y="18"/>
                  </a:lnTo>
                  <a:lnTo>
                    <a:pt x="150" y="26"/>
                  </a:lnTo>
                  <a:lnTo>
                    <a:pt x="164" y="34"/>
                  </a:lnTo>
                  <a:lnTo>
                    <a:pt x="176" y="4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51" name="Freeform 2094">
              <a:extLst>
                <a:ext uri="{FF2B5EF4-FFF2-40B4-BE49-F238E27FC236}">
                  <a16:creationId xmlns:a16="http://schemas.microsoft.com/office/drawing/2014/main" id="{4E4F8C8C-8F3E-4875-958E-152B5B8D1CC9}"/>
                </a:ext>
              </a:extLst>
            </p:cNvPr>
            <p:cNvSpPr>
              <a:spLocks/>
            </p:cNvSpPr>
            <p:nvPr/>
          </p:nvSpPr>
          <p:spPr bwMode="auto">
            <a:xfrm>
              <a:off x="8399975" y="3490300"/>
              <a:ext cx="471685" cy="407364"/>
            </a:xfrm>
            <a:custGeom>
              <a:avLst/>
              <a:gdLst>
                <a:gd name="T0" fmla="*/ 180 w 264"/>
                <a:gd name="T1" fmla="*/ 58 h 228"/>
                <a:gd name="T2" fmla="*/ 190 w 264"/>
                <a:gd name="T3" fmla="*/ 68 h 228"/>
                <a:gd name="T4" fmla="*/ 210 w 264"/>
                <a:gd name="T5" fmla="*/ 92 h 228"/>
                <a:gd name="T6" fmla="*/ 230 w 264"/>
                <a:gd name="T7" fmla="*/ 132 h 228"/>
                <a:gd name="T8" fmla="*/ 238 w 264"/>
                <a:gd name="T9" fmla="*/ 158 h 228"/>
                <a:gd name="T10" fmla="*/ 246 w 264"/>
                <a:gd name="T11" fmla="*/ 202 h 228"/>
                <a:gd name="T12" fmla="*/ 248 w 264"/>
                <a:gd name="T13" fmla="*/ 214 h 228"/>
                <a:gd name="T14" fmla="*/ 248 w 264"/>
                <a:gd name="T15" fmla="*/ 218 h 228"/>
                <a:gd name="T16" fmla="*/ 248 w 264"/>
                <a:gd name="T17" fmla="*/ 218 h 228"/>
                <a:gd name="T18" fmla="*/ 254 w 264"/>
                <a:gd name="T19" fmla="*/ 210 h 228"/>
                <a:gd name="T20" fmla="*/ 254 w 264"/>
                <a:gd name="T21" fmla="*/ 210 h 228"/>
                <a:gd name="T22" fmla="*/ 220 w 264"/>
                <a:gd name="T23" fmla="*/ 212 h 228"/>
                <a:gd name="T24" fmla="*/ 190 w 264"/>
                <a:gd name="T25" fmla="*/ 210 h 228"/>
                <a:gd name="T26" fmla="*/ 154 w 264"/>
                <a:gd name="T27" fmla="*/ 204 h 228"/>
                <a:gd name="T28" fmla="*/ 136 w 264"/>
                <a:gd name="T29" fmla="*/ 200 h 228"/>
                <a:gd name="T30" fmla="*/ 100 w 264"/>
                <a:gd name="T31" fmla="*/ 182 h 228"/>
                <a:gd name="T32" fmla="*/ 84 w 264"/>
                <a:gd name="T33" fmla="*/ 170 h 228"/>
                <a:gd name="T34" fmla="*/ 62 w 264"/>
                <a:gd name="T35" fmla="*/ 148 h 228"/>
                <a:gd name="T36" fmla="*/ 46 w 264"/>
                <a:gd name="T37" fmla="*/ 122 h 228"/>
                <a:gd name="T38" fmla="*/ 24 w 264"/>
                <a:gd name="T39" fmla="*/ 70 h 228"/>
                <a:gd name="T40" fmla="*/ 20 w 264"/>
                <a:gd name="T41" fmla="*/ 46 h 228"/>
                <a:gd name="T42" fmla="*/ 16 w 264"/>
                <a:gd name="T43" fmla="*/ 26 h 228"/>
                <a:gd name="T44" fmla="*/ 16 w 264"/>
                <a:gd name="T45" fmla="*/ 14 h 228"/>
                <a:gd name="T46" fmla="*/ 16 w 264"/>
                <a:gd name="T47" fmla="*/ 10 h 228"/>
                <a:gd name="T48" fmla="*/ 8 w 264"/>
                <a:gd name="T49" fmla="*/ 10 h 228"/>
                <a:gd name="T50" fmla="*/ 10 w 264"/>
                <a:gd name="T51" fmla="*/ 18 h 228"/>
                <a:gd name="T52" fmla="*/ 20 w 264"/>
                <a:gd name="T53" fmla="*/ 16 h 228"/>
                <a:gd name="T54" fmla="*/ 42 w 264"/>
                <a:gd name="T55" fmla="*/ 16 h 228"/>
                <a:gd name="T56" fmla="*/ 90 w 264"/>
                <a:gd name="T57" fmla="*/ 20 h 228"/>
                <a:gd name="T58" fmla="*/ 110 w 264"/>
                <a:gd name="T59" fmla="*/ 24 h 228"/>
                <a:gd name="T60" fmla="*/ 146 w 264"/>
                <a:gd name="T61" fmla="*/ 36 h 228"/>
                <a:gd name="T62" fmla="*/ 180 w 264"/>
                <a:gd name="T63" fmla="*/ 58 h 228"/>
                <a:gd name="T64" fmla="*/ 190 w 264"/>
                <a:gd name="T65" fmla="*/ 46 h 228"/>
                <a:gd name="T66" fmla="*/ 172 w 264"/>
                <a:gd name="T67" fmla="*/ 32 h 228"/>
                <a:gd name="T68" fmla="*/ 132 w 264"/>
                <a:gd name="T69" fmla="*/ 14 h 228"/>
                <a:gd name="T70" fmla="*/ 112 w 264"/>
                <a:gd name="T71" fmla="*/ 8 h 228"/>
                <a:gd name="T72" fmla="*/ 76 w 264"/>
                <a:gd name="T73" fmla="*/ 2 h 228"/>
                <a:gd name="T74" fmla="*/ 42 w 264"/>
                <a:gd name="T75" fmla="*/ 0 h 228"/>
                <a:gd name="T76" fmla="*/ 6 w 264"/>
                <a:gd name="T77" fmla="*/ 2 h 228"/>
                <a:gd name="T78" fmla="*/ 0 w 264"/>
                <a:gd name="T79" fmla="*/ 10 h 228"/>
                <a:gd name="T80" fmla="*/ 0 w 264"/>
                <a:gd name="T81" fmla="*/ 28 h 228"/>
                <a:gd name="T82" fmla="*/ 10 w 264"/>
                <a:gd name="T83" fmla="*/ 74 h 228"/>
                <a:gd name="T84" fmla="*/ 18 w 264"/>
                <a:gd name="T85" fmla="*/ 102 h 228"/>
                <a:gd name="T86" fmla="*/ 40 w 264"/>
                <a:gd name="T87" fmla="*/ 144 h 228"/>
                <a:gd name="T88" fmla="*/ 60 w 264"/>
                <a:gd name="T89" fmla="*/ 170 h 228"/>
                <a:gd name="T90" fmla="*/ 74 w 264"/>
                <a:gd name="T91" fmla="*/ 182 h 228"/>
                <a:gd name="T92" fmla="*/ 110 w 264"/>
                <a:gd name="T93" fmla="*/ 206 h 228"/>
                <a:gd name="T94" fmla="*/ 150 w 264"/>
                <a:gd name="T95" fmla="*/ 220 h 228"/>
                <a:gd name="T96" fmla="*/ 170 w 264"/>
                <a:gd name="T97" fmla="*/ 224 h 228"/>
                <a:gd name="T98" fmla="*/ 220 w 264"/>
                <a:gd name="T99" fmla="*/ 228 h 228"/>
                <a:gd name="T100" fmla="*/ 246 w 264"/>
                <a:gd name="T101" fmla="*/ 228 h 228"/>
                <a:gd name="T102" fmla="*/ 264 w 264"/>
                <a:gd name="T103" fmla="*/ 224 h 228"/>
                <a:gd name="T104" fmla="*/ 264 w 264"/>
                <a:gd name="T105" fmla="*/ 218 h 228"/>
                <a:gd name="T106" fmla="*/ 258 w 264"/>
                <a:gd name="T107" fmla="*/ 180 h 228"/>
                <a:gd name="T108" fmla="*/ 254 w 264"/>
                <a:gd name="T109" fmla="*/ 154 h 228"/>
                <a:gd name="T110" fmla="*/ 232 w 264"/>
                <a:gd name="T111" fmla="*/ 98 h 228"/>
                <a:gd name="T112" fmla="*/ 214 w 264"/>
                <a:gd name="T113" fmla="*/ 70 h 228"/>
                <a:gd name="T114" fmla="*/ 190 w 264"/>
                <a:gd name="T115" fmla="*/ 46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64" h="228">
                  <a:moveTo>
                    <a:pt x="184" y="52"/>
                  </a:moveTo>
                  <a:lnTo>
                    <a:pt x="180" y="58"/>
                  </a:lnTo>
                  <a:lnTo>
                    <a:pt x="180" y="58"/>
                  </a:lnTo>
                  <a:lnTo>
                    <a:pt x="190" y="68"/>
                  </a:lnTo>
                  <a:lnTo>
                    <a:pt x="200" y="80"/>
                  </a:lnTo>
                  <a:lnTo>
                    <a:pt x="210" y="92"/>
                  </a:lnTo>
                  <a:lnTo>
                    <a:pt x="218" y="106"/>
                  </a:lnTo>
                  <a:lnTo>
                    <a:pt x="230" y="132"/>
                  </a:lnTo>
                  <a:lnTo>
                    <a:pt x="238" y="158"/>
                  </a:lnTo>
                  <a:lnTo>
                    <a:pt x="238" y="158"/>
                  </a:lnTo>
                  <a:lnTo>
                    <a:pt x="244" y="182"/>
                  </a:lnTo>
                  <a:lnTo>
                    <a:pt x="246" y="202"/>
                  </a:lnTo>
                  <a:lnTo>
                    <a:pt x="246" y="202"/>
                  </a:lnTo>
                  <a:lnTo>
                    <a:pt x="248" y="214"/>
                  </a:lnTo>
                  <a:lnTo>
                    <a:pt x="248" y="214"/>
                  </a:lnTo>
                  <a:lnTo>
                    <a:pt x="248" y="218"/>
                  </a:lnTo>
                  <a:lnTo>
                    <a:pt x="248" y="218"/>
                  </a:lnTo>
                  <a:lnTo>
                    <a:pt x="248" y="218"/>
                  </a:lnTo>
                  <a:lnTo>
                    <a:pt x="256" y="218"/>
                  </a:lnTo>
                  <a:lnTo>
                    <a:pt x="254" y="210"/>
                  </a:lnTo>
                  <a:lnTo>
                    <a:pt x="254" y="210"/>
                  </a:lnTo>
                  <a:lnTo>
                    <a:pt x="254" y="210"/>
                  </a:lnTo>
                  <a:lnTo>
                    <a:pt x="242" y="212"/>
                  </a:lnTo>
                  <a:lnTo>
                    <a:pt x="220" y="212"/>
                  </a:lnTo>
                  <a:lnTo>
                    <a:pt x="220" y="212"/>
                  </a:lnTo>
                  <a:lnTo>
                    <a:pt x="190" y="210"/>
                  </a:lnTo>
                  <a:lnTo>
                    <a:pt x="172" y="208"/>
                  </a:lnTo>
                  <a:lnTo>
                    <a:pt x="154" y="204"/>
                  </a:lnTo>
                  <a:lnTo>
                    <a:pt x="154" y="204"/>
                  </a:lnTo>
                  <a:lnTo>
                    <a:pt x="136" y="200"/>
                  </a:lnTo>
                  <a:lnTo>
                    <a:pt x="118" y="192"/>
                  </a:lnTo>
                  <a:lnTo>
                    <a:pt x="100" y="182"/>
                  </a:lnTo>
                  <a:lnTo>
                    <a:pt x="84" y="170"/>
                  </a:lnTo>
                  <a:lnTo>
                    <a:pt x="84" y="170"/>
                  </a:lnTo>
                  <a:lnTo>
                    <a:pt x="72" y="160"/>
                  </a:lnTo>
                  <a:lnTo>
                    <a:pt x="62" y="148"/>
                  </a:lnTo>
                  <a:lnTo>
                    <a:pt x="54" y="136"/>
                  </a:lnTo>
                  <a:lnTo>
                    <a:pt x="46" y="122"/>
                  </a:lnTo>
                  <a:lnTo>
                    <a:pt x="34" y="96"/>
                  </a:lnTo>
                  <a:lnTo>
                    <a:pt x="24" y="70"/>
                  </a:lnTo>
                  <a:lnTo>
                    <a:pt x="24" y="70"/>
                  </a:lnTo>
                  <a:lnTo>
                    <a:pt x="20" y="46"/>
                  </a:lnTo>
                  <a:lnTo>
                    <a:pt x="16" y="26"/>
                  </a:lnTo>
                  <a:lnTo>
                    <a:pt x="16" y="26"/>
                  </a:lnTo>
                  <a:lnTo>
                    <a:pt x="16" y="14"/>
                  </a:lnTo>
                  <a:lnTo>
                    <a:pt x="16" y="14"/>
                  </a:lnTo>
                  <a:lnTo>
                    <a:pt x="16" y="10"/>
                  </a:lnTo>
                  <a:lnTo>
                    <a:pt x="16" y="10"/>
                  </a:lnTo>
                  <a:lnTo>
                    <a:pt x="16" y="10"/>
                  </a:lnTo>
                  <a:lnTo>
                    <a:pt x="8" y="10"/>
                  </a:lnTo>
                  <a:lnTo>
                    <a:pt x="8" y="18"/>
                  </a:lnTo>
                  <a:lnTo>
                    <a:pt x="10" y="18"/>
                  </a:lnTo>
                  <a:lnTo>
                    <a:pt x="10" y="18"/>
                  </a:lnTo>
                  <a:lnTo>
                    <a:pt x="20" y="16"/>
                  </a:lnTo>
                  <a:lnTo>
                    <a:pt x="42" y="16"/>
                  </a:lnTo>
                  <a:lnTo>
                    <a:pt x="42" y="16"/>
                  </a:lnTo>
                  <a:lnTo>
                    <a:pt x="74" y="18"/>
                  </a:lnTo>
                  <a:lnTo>
                    <a:pt x="90" y="20"/>
                  </a:lnTo>
                  <a:lnTo>
                    <a:pt x="110" y="24"/>
                  </a:lnTo>
                  <a:lnTo>
                    <a:pt x="110" y="24"/>
                  </a:lnTo>
                  <a:lnTo>
                    <a:pt x="128" y="28"/>
                  </a:lnTo>
                  <a:lnTo>
                    <a:pt x="146" y="36"/>
                  </a:lnTo>
                  <a:lnTo>
                    <a:pt x="162" y="46"/>
                  </a:lnTo>
                  <a:lnTo>
                    <a:pt x="180" y="58"/>
                  </a:lnTo>
                  <a:lnTo>
                    <a:pt x="184" y="52"/>
                  </a:lnTo>
                  <a:lnTo>
                    <a:pt x="190" y="46"/>
                  </a:lnTo>
                  <a:lnTo>
                    <a:pt x="190" y="46"/>
                  </a:lnTo>
                  <a:lnTo>
                    <a:pt x="172" y="32"/>
                  </a:lnTo>
                  <a:lnTo>
                    <a:pt x="152" y="22"/>
                  </a:lnTo>
                  <a:lnTo>
                    <a:pt x="132" y="14"/>
                  </a:lnTo>
                  <a:lnTo>
                    <a:pt x="112" y="8"/>
                  </a:lnTo>
                  <a:lnTo>
                    <a:pt x="112" y="8"/>
                  </a:lnTo>
                  <a:lnTo>
                    <a:pt x="94" y="4"/>
                  </a:lnTo>
                  <a:lnTo>
                    <a:pt x="76" y="2"/>
                  </a:lnTo>
                  <a:lnTo>
                    <a:pt x="42" y="0"/>
                  </a:lnTo>
                  <a:lnTo>
                    <a:pt x="42" y="0"/>
                  </a:lnTo>
                  <a:lnTo>
                    <a:pt x="16" y="0"/>
                  </a:lnTo>
                  <a:lnTo>
                    <a:pt x="6" y="2"/>
                  </a:lnTo>
                  <a:lnTo>
                    <a:pt x="0" y="4"/>
                  </a:lnTo>
                  <a:lnTo>
                    <a:pt x="0" y="10"/>
                  </a:lnTo>
                  <a:lnTo>
                    <a:pt x="0" y="10"/>
                  </a:lnTo>
                  <a:lnTo>
                    <a:pt x="0" y="28"/>
                  </a:lnTo>
                  <a:lnTo>
                    <a:pt x="4" y="50"/>
                  </a:lnTo>
                  <a:lnTo>
                    <a:pt x="10" y="74"/>
                  </a:lnTo>
                  <a:lnTo>
                    <a:pt x="10" y="74"/>
                  </a:lnTo>
                  <a:lnTo>
                    <a:pt x="18" y="102"/>
                  </a:lnTo>
                  <a:lnTo>
                    <a:pt x="32" y="130"/>
                  </a:lnTo>
                  <a:lnTo>
                    <a:pt x="40" y="144"/>
                  </a:lnTo>
                  <a:lnTo>
                    <a:pt x="50" y="158"/>
                  </a:lnTo>
                  <a:lnTo>
                    <a:pt x="60" y="170"/>
                  </a:lnTo>
                  <a:lnTo>
                    <a:pt x="74" y="182"/>
                  </a:lnTo>
                  <a:lnTo>
                    <a:pt x="74" y="182"/>
                  </a:lnTo>
                  <a:lnTo>
                    <a:pt x="92" y="196"/>
                  </a:lnTo>
                  <a:lnTo>
                    <a:pt x="110" y="206"/>
                  </a:lnTo>
                  <a:lnTo>
                    <a:pt x="130" y="214"/>
                  </a:lnTo>
                  <a:lnTo>
                    <a:pt x="150" y="220"/>
                  </a:lnTo>
                  <a:lnTo>
                    <a:pt x="150" y="220"/>
                  </a:lnTo>
                  <a:lnTo>
                    <a:pt x="170" y="224"/>
                  </a:lnTo>
                  <a:lnTo>
                    <a:pt x="188" y="226"/>
                  </a:lnTo>
                  <a:lnTo>
                    <a:pt x="220" y="228"/>
                  </a:lnTo>
                  <a:lnTo>
                    <a:pt x="220" y="228"/>
                  </a:lnTo>
                  <a:lnTo>
                    <a:pt x="246" y="228"/>
                  </a:lnTo>
                  <a:lnTo>
                    <a:pt x="256" y="226"/>
                  </a:lnTo>
                  <a:lnTo>
                    <a:pt x="264" y="224"/>
                  </a:lnTo>
                  <a:lnTo>
                    <a:pt x="264" y="218"/>
                  </a:lnTo>
                  <a:lnTo>
                    <a:pt x="264" y="218"/>
                  </a:lnTo>
                  <a:lnTo>
                    <a:pt x="262" y="200"/>
                  </a:lnTo>
                  <a:lnTo>
                    <a:pt x="258" y="180"/>
                  </a:lnTo>
                  <a:lnTo>
                    <a:pt x="254" y="154"/>
                  </a:lnTo>
                  <a:lnTo>
                    <a:pt x="254" y="154"/>
                  </a:lnTo>
                  <a:lnTo>
                    <a:pt x="244" y="126"/>
                  </a:lnTo>
                  <a:lnTo>
                    <a:pt x="232" y="98"/>
                  </a:lnTo>
                  <a:lnTo>
                    <a:pt x="222" y="84"/>
                  </a:lnTo>
                  <a:lnTo>
                    <a:pt x="214" y="70"/>
                  </a:lnTo>
                  <a:lnTo>
                    <a:pt x="202" y="58"/>
                  </a:lnTo>
                  <a:lnTo>
                    <a:pt x="190" y="46"/>
                  </a:lnTo>
                  <a:lnTo>
                    <a:pt x="184" y="5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52" name="Freeform 2095">
              <a:extLst>
                <a:ext uri="{FF2B5EF4-FFF2-40B4-BE49-F238E27FC236}">
                  <a16:creationId xmlns:a16="http://schemas.microsoft.com/office/drawing/2014/main" id="{6220EC8D-0CF5-4D10-A3C7-F000E96FC604}"/>
                </a:ext>
              </a:extLst>
            </p:cNvPr>
            <p:cNvSpPr>
              <a:spLocks/>
            </p:cNvSpPr>
            <p:nvPr/>
          </p:nvSpPr>
          <p:spPr bwMode="auto">
            <a:xfrm>
              <a:off x="8932407" y="3393819"/>
              <a:ext cx="300163" cy="561019"/>
            </a:xfrm>
            <a:custGeom>
              <a:avLst/>
              <a:gdLst>
                <a:gd name="T0" fmla="*/ 162 w 168"/>
                <a:gd name="T1" fmla="*/ 136 h 314"/>
                <a:gd name="T2" fmla="*/ 162 w 168"/>
                <a:gd name="T3" fmla="*/ 136 h 314"/>
                <a:gd name="T4" fmla="*/ 166 w 168"/>
                <a:gd name="T5" fmla="*/ 152 h 314"/>
                <a:gd name="T6" fmla="*/ 168 w 168"/>
                <a:gd name="T7" fmla="*/ 168 h 314"/>
                <a:gd name="T8" fmla="*/ 168 w 168"/>
                <a:gd name="T9" fmla="*/ 184 h 314"/>
                <a:gd name="T10" fmla="*/ 166 w 168"/>
                <a:gd name="T11" fmla="*/ 200 h 314"/>
                <a:gd name="T12" fmla="*/ 160 w 168"/>
                <a:gd name="T13" fmla="*/ 230 h 314"/>
                <a:gd name="T14" fmla="*/ 152 w 168"/>
                <a:gd name="T15" fmla="*/ 258 h 314"/>
                <a:gd name="T16" fmla="*/ 142 w 168"/>
                <a:gd name="T17" fmla="*/ 280 h 314"/>
                <a:gd name="T18" fmla="*/ 134 w 168"/>
                <a:gd name="T19" fmla="*/ 298 h 314"/>
                <a:gd name="T20" fmla="*/ 124 w 168"/>
                <a:gd name="T21" fmla="*/ 314 h 314"/>
                <a:gd name="T22" fmla="*/ 124 w 168"/>
                <a:gd name="T23" fmla="*/ 314 h 314"/>
                <a:gd name="T24" fmla="*/ 110 w 168"/>
                <a:gd name="T25" fmla="*/ 304 h 314"/>
                <a:gd name="T26" fmla="*/ 92 w 168"/>
                <a:gd name="T27" fmla="*/ 294 h 314"/>
                <a:gd name="T28" fmla="*/ 74 w 168"/>
                <a:gd name="T29" fmla="*/ 278 h 314"/>
                <a:gd name="T30" fmla="*/ 52 w 168"/>
                <a:gd name="T31" fmla="*/ 258 h 314"/>
                <a:gd name="T32" fmla="*/ 32 w 168"/>
                <a:gd name="T33" fmla="*/ 236 h 314"/>
                <a:gd name="T34" fmla="*/ 24 w 168"/>
                <a:gd name="T35" fmla="*/ 222 h 314"/>
                <a:gd name="T36" fmla="*/ 16 w 168"/>
                <a:gd name="T37" fmla="*/ 208 h 314"/>
                <a:gd name="T38" fmla="*/ 10 w 168"/>
                <a:gd name="T39" fmla="*/ 194 h 314"/>
                <a:gd name="T40" fmla="*/ 4 w 168"/>
                <a:gd name="T41" fmla="*/ 178 h 314"/>
                <a:gd name="T42" fmla="*/ 4 w 168"/>
                <a:gd name="T43" fmla="*/ 178 h 314"/>
                <a:gd name="T44" fmla="*/ 0 w 168"/>
                <a:gd name="T45" fmla="*/ 162 h 314"/>
                <a:gd name="T46" fmla="*/ 0 w 168"/>
                <a:gd name="T47" fmla="*/ 146 h 314"/>
                <a:gd name="T48" fmla="*/ 0 w 168"/>
                <a:gd name="T49" fmla="*/ 128 h 314"/>
                <a:gd name="T50" fmla="*/ 0 w 168"/>
                <a:gd name="T51" fmla="*/ 114 h 314"/>
                <a:gd name="T52" fmla="*/ 6 w 168"/>
                <a:gd name="T53" fmla="*/ 84 h 314"/>
                <a:gd name="T54" fmla="*/ 14 w 168"/>
                <a:gd name="T55" fmla="*/ 56 h 314"/>
                <a:gd name="T56" fmla="*/ 24 w 168"/>
                <a:gd name="T57" fmla="*/ 34 h 314"/>
                <a:gd name="T58" fmla="*/ 34 w 168"/>
                <a:gd name="T59" fmla="*/ 16 h 314"/>
                <a:gd name="T60" fmla="*/ 42 w 168"/>
                <a:gd name="T61" fmla="*/ 0 h 314"/>
                <a:gd name="T62" fmla="*/ 42 w 168"/>
                <a:gd name="T63" fmla="*/ 0 h 314"/>
                <a:gd name="T64" fmla="*/ 58 w 168"/>
                <a:gd name="T65" fmla="*/ 8 h 314"/>
                <a:gd name="T66" fmla="*/ 74 w 168"/>
                <a:gd name="T67" fmla="*/ 20 h 314"/>
                <a:gd name="T68" fmla="*/ 94 w 168"/>
                <a:gd name="T69" fmla="*/ 36 h 314"/>
                <a:gd name="T70" fmla="*/ 114 w 168"/>
                <a:gd name="T71" fmla="*/ 54 h 314"/>
                <a:gd name="T72" fmla="*/ 134 w 168"/>
                <a:gd name="T73" fmla="*/ 78 h 314"/>
                <a:gd name="T74" fmla="*/ 144 w 168"/>
                <a:gd name="T75" fmla="*/ 92 h 314"/>
                <a:gd name="T76" fmla="*/ 152 w 168"/>
                <a:gd name="T77" fmla="*/ 106 h 314"/>
                <a:gd name="T78" fmla="*/ 158 w 168"/>
                <a:gd name="T79" fmla="*/ 120 h 314"/>
                <a:gd name="T80" fmla="*/ 162 w 168"/>
                <a:gd name="T81" fmla="*/ 136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8" h="314">
                  <a:moveTo>
                    <a:pt x="162" y="136"/>
                  </a:moveTo>
                  <a:lnTo>
                    <a:pt x="162" y="136"/>
                  </a:lnTo>
                  <a:lnTo>
                    <a:pt x="166" y="152"/>
                  </a:lnTo>
                  <a:lnTo>
                    <a:pt x="168" y="168"/>
                  </a:lnTo>
                  <a:lnTo>
                    <a:pt x="168" y="184"/>
                  </a:lnTo>
                  <a:lnTo>
                    <a:pt x="166" y="200"/>
                  </a:lnTo>
                  <a:lnTo>
                    <a:pt x="160" y="230"/>
                  </a:lnTo>
                  <a:lnTo>
                    <a:pt x="152" y="258"/>
                  </a:lnTo>
                  <a:lnTo>
                    <a:pt x="142" y="280"/>
                  </a:lnTo>
                  <a:lnTo>
                    <a:pt x="134" y="298"/>
                  </a:lnTo>
                  <a:lnTo>
                    <a:pt x="124" y="314"/>
                  </a:lnTo>
                  <a:lnTo>
                    <a:pt x="124" y="314"/>
                  </a:lnTo>
                  <a:lnTo>
                    <a:pt x="110" y="304"/>
                  </a:lnTo>
                  <a:lnTo>
                    <a:pt x="92" y="294"/>
                  </a:lnTo>
                  <a:lnTo>
                    <a:pt x="74" y="278"/>
                  </a:lnTo>
                  <a:lnTo>
                    <a:pt x="52" y="258"/>
                  </a:lnTo>
                  <a:lnTo>
                    <a:pt x="32" y="236"/>
                  </a:lnTo>
                  <a:lnTo>
                    <a:pt x="24" y="222"/>
                  </a:lnTo>
                  <a:lnTo>
                    <a:pt x="16" y="208"/>
                  </a:lnTo>
                  <a:lnTo>
                    <a:pt x="10" y="194"/>
                  </a:lnTo>
                  <a:lnTo>
                    <a:pt x="4" y="178"/>
                  </a:lnTo>
                  <a:lnTo>
                    <a:pt x="4" y="178"/>
                  </a:lnTo>
                  <a:lnTo>
                    <a:pt x="0" y="162"/>
                  </a:lnTo>
                  <a:lnTo>
                    <a:pt x="0" y="146"/>
                  </a:lnTo>
                  <a:lnTo>
                    <a:pt x="0" y="128"/>
                  </a:lnTo>
                  <a:lnTo>
                    <a:pt x="0" y="114"/>
                  </a:lnTo>
                  <a:lnTo>
                    <a:pt x="6" y="84"/>
                  </a:lnTo>
                  <a:lnTo>
                    <a:pt x="14" y="56"/>
                  </a:lnTo>
                  <a:lnTo>
                    <a:pt x="24" y="34"/>
                  </a:lnTo>
                  <a:lnTo>
                    <a:pt x="34" y="16"/>
                  </a:lnTo>
                  <a:lnTo>
                    <a:pt x="42" y="0"/>
                  </a:lnTo>
                  <a:lnTo>
                    <a:pt x="42" y="0"/>
                  </a:lnTo>
                  <a:lnTo>
                    <a:pt x="58" y="8"/>
                  </a:lnTo>
                  <a:lnTo>
                    <a:pt x="74" y="20"/>
                  </a:lnTo>
                  <a:lnTo>
                    <a:pt x="94" y="36"/>
                  </a:lnTo>
                  <a:lnTo>
                    <a:pt x="114" y="54"/>
                  </a:lnTo>
                  <a:lnTo>
                    <a:pt x="134" y="78"/>
                  </a:lnTo>
                  <a:lnTo>
                    <a:pt x="144" y="92"/>
                  </a:lnTo>
                  <a:lnTo>
                    <a:pt x="152" y="106"/>
                  </a:lnTo>
                  <a:lnTo>
                    <a:pt x="158" y="120"/>
                  </a:lnTo>
                  <a:lnTo>
                    <a:pt x="162" y="13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53" name="Freeform 2096">
              <a:extLst>
                <a:ext uri="{FF2B5EF4-FFF2-40B4-BE49-F238E27FC236}">
                  <a16:creationId xmlns:a16="http://schemas.microsoft.com/office/drawing/2014/main" id="{FB9ED57D-CD6F-4F3E-AA41-F864F7963D37}"/>
                </a:ext>
              </a:extLst>
            </p:cNvPr>
            <p:cNvSpPr>
              <a:spLocks/>
            </p:cNvSpPr>
            <p:nvPr/>
          </p:nvSpPr>
          <p:spPr bwMode="auto">
            <a:xfrm>
              <a:off x="8932407" y="3393819"/>
              <a:ext cx="300163" cy="561019"/>
            </a:xfrm>
            <a:custGeom>
              <a:avLst/>
              <a:gdLst>
                <a:gd name="T0" fmla="*/ 162 w 168"/>
                <a:gd name="T1" fmla="*/ 136 h 314"/>
                <a:gd name="T2" fmla="*/ 162 w 168"/>
                <a:gd name="T3" fmla="*/ 136 h 314"/>
                <a:gd name="T4" fmla="*/ 166 w 168"/>
                <a:gd name="T5" fmla="*/ 152 h 314"/>
                <a:gd name="T6" fmla="*/ 168 w 168"/>
                <a:gd name="T7" fmla="*/ 168 h 314"/>
                <a:gd name="T8" fmla="*/ 168 w 168"/>
                <a:gd name="T9" fmla="*/ 184 h 314"/>
                <a:gd name="T10" fmla="*/ 166 w 168"/>
                <a:gd name="T11" fmla="*/ 200 h 314"/>
                <a:gd name="T12" fmla="*/ 160 w 168"/>
                <a:gd name="T13" fmla="*/ 230 h 314"/>
                <a:gd name="T14" fmla="*/ 152 w 168"/>
                <a:gd name="T15" fmla="*/ 258 h 314"/>
                <a:gd name="T16" fmla="*/ 142 w 168"/>
                <a:gd name="T17" fmla="*/ 280 h 314"/>
                <a:gd name="T18" fmla="*/ 134 w 168"/>
                <a:gd name="T19" fmla="*/ 298 h 314"/>
                <a:gd name="T20" fmla="*/ 124 w 168"/>
                <a:gd name="T21" fmla="*/ 314 h 314"/>
                <a:gd name="T22" fmla="*/ 124 w 168"/>
                <a:gd name="T23" fmla="*/ 314 h 314"/>
                <a:gd name="T24" fmla="*/ 110 w 168"/>
                <a:gd name="T25" fmla="*/ 304 h 314"/>
                <a:gd name="T26" fmla="*/ 92 w 168"/>
                <a:gd name="T27" fmla="*/ 294 h 314"/>
                <a:gd name="T28" fmla="*/ 74 w 168"/>
                <a:gd name="T29" fmla="*/ 278 h 314"/>
                <a:gd name="T30" fmla="*/ 52 w 168"/>
                <a:gd name="T31" fmla="*/ 258 h 314"/>
                <a:gd name="T32" fmla="*/ 32 w 168"/>
                <a:gd name="T33" fmla="*/ 236 h 314"/>
                <a:gd name="T34" fmla="*/ 24 w 168"/>
                <a:gd name="T35" fmla="*/ 222 h 314"/>
                <a:gd name="T36" fmla="*/ 16 w 168"/>
                <a:gd name="T37" fmla="*/ 208 h 314"/>
                <a:gd name="T38" fmla="*/ 10 w 168"/>
                <a:gd name="T39" fmla="*/ 194 h 314"/>
                <a:gd name="T40" fmla="*/ 4 w 168"/>
                <a:gd name="T41" fmla="*/ 178 h 314"/>
                <a:gd name="T42" fmla="*/ 4 w 168"/>
                <a:gd name="T43" fmla="*/ 178 h 314"/>
                <a:gd name="T44" fmla="*/ 0 w 168"/>
                <a:gd name="T45" fmla="*/ 162 h 314"/>
                <a:gd name="T46" fmla="*/ 0 w 168"/>
                <a:gd name="T47" fmla="*/ 146 h 314"/>
                <a:gd name="T48" fmla="*/ 0 w 168"/>
                <a:gd name="T49" fmla="*/ 128 h 314"/>
                <a:gd name="T50" fmla="*/ 0 w 168"/>
                <a:gd name="T51" fmla="*/ 114 h 314"/>
                <a:gd name="T52" fmla="*/ 6 w 168"/>
                <a:gd name="T53" fmla="*/ 84 h 314"/>
                <a:gd name="T54" fmla="*/ 14 w 168"/>
                <a:gd name="T55" fmla="*/ 56 h 314"/>
                <a:gd name="T56" fmla="*/ 24 w 168"/>
                <a:gd name="T57" fmla="*/ 34 h 314"/>
                <a:gd name="T58" fmla="*/ 34 w 168"/>
                <a:gd name="T59" fmla="*/ 16 h 314"/>
                <a:gd name="T60" fmla="*/ 42 w 168"/>
                <a:gd name="T61" fmla="*/ 0 h 314"/>
                <a:gd name="T62" fmla="*/ 42 w 168"/>
                <a:gd name="T63" fmla="*/ 0 h 314"/>
                <a:gd name="T64" fmla="*/ 58 w 168"/>
                <a:gd name="T65" fmla="*/ 8 h 314"/>
                <a:gd name="T66" fmla="*/ 74 w 168"/>
                <a:gd name="T67" fmla="*/ 20 h 314"/>
                <a:gd name="T68" fmla="*/ 94 w 168"/>
                <a:gd name="T69" fmla="*/ 36 h 314"/>
                <a:gd name="T70" fmla="*/ 114 w 168"/>
                <a:gd name="T71" fmla="*/ 54 h 314"/>
                <a:gd name="T72" fmla="*/ 134 w 168"/>
                <a:gd name="T73" fmla="*/ 78 h 314"/>
                <a:gd name="T74" fmla="*/ 144 w 168"/>
                <a:gd name="T75" fmla="*/ 92 h 314"/>
                <a:gd name="T76" fmla="*/ 152 w 168"/>
                <a:gd name="T77" fmla="*/ 106 h 314"/>
                <a:gd name="T78" fmla="*/ 158 w 168"/>
                <a:gd name="T79" fmla="*/ 120 h 314"/>
                <a:gd name="T80" fmla="*/ 162 w 168"/>
                <a:gd name="T81" fmla="*/ 136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8" h="314">
                  <a:moveTo>
                    <a:pt x="162" y="136"/>
                  </a:moveTo>
                  <a:lnTo>
                    <a:pt x="162" y="136"/>
                  </a:lnTo>
                  <a:lnTo>
                    <a:pt x="166" y="152"/>
                  </a:lnTo>
                  <a:lnTo>
                    <a:pt x="168" y="168"/>
                  </a:lnTo>
                  <a:lnTo>
                    <a:pt x="168" y="184"/>
                  </a:lnTo>
                  <a:lnTo>
                    <a:pt x="166" y="200"/>
                  </a:lnTo>
                  <a:lnTo>
                    <a:pt x="160" y="230"/>
                  </a:lnTo>
                  <a:lnTo>
                    <a:pt x="152" y="258"/>
                  </a:lnTo>
                  <a:lnTo>
                    <a:pt x="142" y="280"/>
                  </a:lnTo>
                  <a:lnTo>
                    <a:pt x="134" y="298"/>
                  </a:lnTo>
                  <a:lnTo>
                    <a:pt x="124" y="314"/>
                  </a:lnTo>
                  <a:lnTo>
                    <a:pt x="124" y="314"/>
                  </a:lnTo>
                  <a:lnTo>
                    <a:pt x="110" y="304"/>
                  </a:lnTo>
                  <a:lnTo>
                    <a:pt x="92" y="294"/>
                  </a:lnTo>
                  <a:lnTo>
                    <a:pt x="74" y="278"/>
                  </a:lnTo>
                  <a:lnTo>
                    <a:pt x="52" y="258"/>
                  </a:lnTo>
                  <a:lnTo>
                    <a:pt x="32" y="236"/>
                  </a:lnTo>
                  <a:lnTo>
                    <a:pt x="24" y="222"/>
                  </a:lnTo>
                  <a:lnTo>
                    <a:pt x="16" y="208"/>
                  </a:lnTo>
                  <a:lnTo>
                    <a:pt x="10" y="194"/>
                  </a:lnTo>
                  <a:lnTo>
                    <a:pt x="4" y="178"/>
                  </a:lnTo>
                  <a:lnTo>
                    <a:pt x="4" y="178"/>
                  </a:lnTo>
                  <a:lnTo>
                    <a:pt x="0" y="162"/>
                  </a:lnTo>
                  <a:lnTo>
                    <a:pt x="0" y="146"/>
                  </a:lnTo>
                  <a:lnTo>
                    <a:pt x="0" y="128"/>
                  </a:lnTo>
                  <a:lnTo>
                    <a:pt x="0" y="114"/>
                  </a:lnTo>
                  <a:lnTo>
                    <a:pt x="6" y="84"/>
                  </a:lnTo>
                  <a:lnTo>
                    <a:pt x="14" y="56"/>
                  </a:lnTo>
                  <a:lnTo>
                    <a:pt x="24" y="34"/>
                  </a:lnTo>
                  <a:lnTo>
                    <a:pt x="34" y="16"/>
                  </a:lnTo>
                  <a:lnTo>
                    <a:pt x="42" y="0"/>
                  </a:lnTo>
                  <a:lnTo>
                    <a:pt x="42" y="0"/>
                  </a:lnTo>
                  <a:lnTo>
                    <a:pt x="58" y="8"/>
                  </a:lnTo>
                  <a:lnTo>
                    <a:pt x="74" y="20"/>
                  </a:lnTo>
                  <a:lnTo>
                    <a:pt x="94" y="36"/>
                  </a:lnTo>
                  <a:lnTo>
                    <a:pt x="114" y="54"/>
                  </a:lnTo>
                  <a:lnTo>
                    <a:pt x="134" y="78"/>
                  </a:lnTo>
                  <a:lnTo>
                    <a:pt x="144" y="92"/>
                  </a:lnTo>
                  <a:lnTo>
                    <a:pt x="152" y="106"/>
                  </a:lnTo>
                  <a:lnTo>
                    <a:pt x="158" y="120"/>
                  </a:lnTo>
                  <a:lnTo>
                    <a:pt x="162" y="13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54" name="Freeform 2098">
              <a:extLst>
                <a:ext uri="{FF2B5EF4-FFF2-40B4-BE49-F238E27FC236}">
                  <a16:creationId xmlns:a16="http://schemas.microsoft.com/office/drawing/2014/main" id="{23D40EC3-A278-4190-A3D0-6DC94FF315F5}"/>
                </a:ext>
              </a:extLst>
            </p:cNvPr>
            <p:cNvSpPr>
              <a:spLocks/>
            </p:cNvSpPr>
            <p:nvPr/>
          </p:nvSpPr>
          <p:spPr bwMode="auto">
            <a:xfrm>
              <a:off x="8918113" y="3375952"/>
              <a:ext cx="328750" cy="596753"/>
            </a:xfrm>
            <a:custGeom>
              <a:avLst/>
              <a:gdLst>
                <a:gd name="T0" fmla="*/ 164 w 184"/>
                <a:gd name="T1" fmla="*/ 148 h 334"/>
                <a:gd name="T2" fmla="*/ 166 w 184"/>
                <a:gd name="T3" fmla="*/ 168 h 334"/>
                <a:gd name="T4" fmla="*/ 168 w 184"/>
                <a:gd name="T5" fmla="*/ 186 h 334"/>
                <a:gd name="T6" fmla="*/ 162 w 184"/>
                <a:gd name="T7" fmla="*/ 236 h 334"/>
                <a:gd name="T8" fmla="*/ 148 w 184"/>
                <a:gd name="T9" fmla="*/ 278 h 334"/>
                <a:gd name="T10" fmla="*/ 132 w 184"/>
                <a:gd name="T11" fmla="*/ 308 h 334"/>
                <a:gd name="T12" fmla="*/ 128 w 184"/>
                <a:gd name="T13" fmla="*/ 316 h 334"/>
                <a:gd name="T14" fmla="*/ 126 w 184"/>
                <a:gd name="T15" fmla="*/ 318 h 334"/>
                <a:gd name="T16" fmla="*/ 126 w 184"/>
                <a:gd name="T17" fmla="*/ 320 h 334"/>
                <a:gd name="T18" fmla="*/ 136 w 184"/>
                <a:gd name="T19" fmla="*/ 316 h 334"/>
                <a:gd name="T20" fmla="*/ 136 w 184"/>
                <a:gd name="T21" fmla="*/ 316 h 334"/>
                <a:gd name="T22" fmla="*/ 102 w 184"/>
                <a:gd name="T23" fmla="*/ 294 h 334"/>
                <a:gd name="T24" fmla="*/ 84 w 184"/>
                <a:gd name="T25" fmla="*/ 280 h 334"/>
                <a:gd name="T26" fmla="*/ 46 w 184"/>
                <a:gd name="T27" fmla="*/ 240 h 334"/>
                <a:gd name="T28" fmla="*/ 30 w 184"/>
                <a:gd name="T29" fmla="*/ 214 h 334"/>
                <a:gd name="T30" fmla="*/ 20 w 184"/>
                <a:gd name="T31" fmla="*/ 186 h 334"/>
                <a:gd name="T32" fmla="*/ 16 w 184"/>
                <a:gd name="T33" fmla="*/ 166 h 334"/>
                <a:gd name="T34" fmla="*/ 16 w 184"/>
                <a:gd name="T35" fmla="*/ 146 h 334"/>
                <a:gd name="T36" fmla="*/ 22 w 184"/>
                <a:gd name="T37" fmla="*/ 96 h 334"/>
                <a:gd name="T38" fmla="*/ 36 w 184"/>
                <a:gd name="T39" fmla="*/ 54 h 334"/>
                <a:gd name="T40" fmla="*/ 50 w 184"/>
                <a:gd name="T41" fmla="*/ 24 h 334"/>
                <a:gd name="T42" fmla="*/ 56 w 184"/>
                <a:gd name="T43" fmla="*/ 16 h 334"/>
                <a:gd name="T44" fmla="*/ 56 w 184"/>
                <a:gd name="T45" fmla="*/ 14 h 334"/>
                <a:gd name="T46" fmla="*/ 56 w 184"/>
                <a:gd name="T47" fmla="*/ 14 h 334"/>
                <a:gd name="T48" fmla="*/ 46 w 184"/>
                <a:gd name="T49" fmla="*/ 16 h 334"/>
                <a:gd name="T50" fmla="*/ 46 w 184"/>
                <a:gd name="T51" fmla="*/ 18 h 334"/>
                <a:gd name="T52" fmla="*/ 80 w 184"/>
                <a:gd name="T53" fmla="*/ 38 h 334"/>
                <a:gd name="T54" fmla="*/ 100 w 184"/>
                <a:gd name="T55" fmla="*/ 54 h 334"/>
                <a:gd name="T56" fmla="*/ 138 w 184"/>
                <a:gd name="T57" fmla="*/ 94 h 334"/>
                <a:gd name="T58" fmla="*/ 152 w 184"/>
                <a:gd name="T59" fmla="*/ 120 h 334"/>
                <a:gd name="T60" fmla="*/ 164 w 184"/>
                <a:gd name="T61" fmla="*/ 148 h 334"/>
                <a:gd name="T62" fmla="*/ 178 w 184"/>
                <a:gd name="T63" fmla="*/ 144 h 334"/>
                <a:gd name="T64" fmla="*/ 174 w 184"/>
                <a:gd name="T65" fmla="*/ 128 h 334"/>
                <a:gd name="T66" fmla="*/ 158 w 184"/>
                <a:gd name="T67" fmla="*/ 96 h 334"/>
                <a:gd name="T68" fmla="*/ 128 w 184"/>
                <a:gd name="T69" fmla="*/ 60 h 334"/>
                <a:gd name="T70" fmla="*/ 108 w 184"/>
                <a:gd name="T71" fmla="*/ 40 h 334"/>
                <a:gd name="T72" fmla="*/ 70 w 184"/>
                <a:gd name="T73" fmla="*/ 12 h 334"/>
                <a:gd name="T74" fmla="*/ 48 w 184"/>
                <a:gd name="T75" fmla="*/ 0 h 334"/>
                <a:gd name="T76" fmla="*/ 44 w 184"/>
                <a:gd name="T77" fmla="*/ 6 h 334"/>
                <a:gd name="T78" fmla="*/ 22 w 184"/>
                <a:gd name="T79" fmla="*/ 48 h 334"/>
                <a:gd name="T80" fmla="*/ 14 w 184"/>
                <a:gd name="T81" fmla="*/ 68 h 334"/>
                <a:gd name="T82" fmla="*/ 0 w 184"/>
                <a:gd name="T83" fmla="*/ 118 h 334"/>
                <a:gd name="T84" fmla="*/ 0 w 184"/>
                <a:gd name="T85" fmla="*/ 146 h 334"/>
                <a:gd name="T86" fmla="*/ 4 w 184"/>
                <a:gd name="T87" fmla="*/ 190 h 334"/>
                <a:gd name="T88" fmla="*/ 10 w 184"/>
                <a:gd name="T89" fmla="*/ 206 h 334"/>
                <a:gd name="T90" fmla="*/ 26 w 184"/>
                <a:gd name="T91" fmla="*/ 236 h 334"/>
                <a:gd name="T92" fmla="*/ 54 w 184"/>
                <a:gd name="T93" fmla="*/ 274 h 334"/>
                <a:gd name="T94" fmla="*/ 76 w 184"/>
                <a:gd name="T95" fmla="*/ 294 h 334"/>
                <a:gd name="T96" fmla="*/ 112 w 184"/>
                <a:gd name="T97" fmla="*/ 322 h 334"/>
                <a:gd name="T98" fmla="*/ 136 w 184"/>
                <a:gd name="T99" fmla="*/ 334 h 334"/>
                <a:gd name="T100" fmla="*/ 140 w 184"/>
                <a:gd name="T101" fmla="*/ 328 h 334"/>
                <a:gd name="T102" fmla="*/ 162 w 184"/>
                <a:gd name="T103" fmla="*/ 286 h 334"/>
                <a:gd name="T104" fmla="*/ 170 w 184"/>
                <a:gd name="T105" fmla="*/ 264 h 334"/>
                <a:gd name="T106" fmla="*/ 182 w 184"/>
                <a:gd name="T107" fmla="*/ 214 h 334"/>
                <a:gd name="T108" fmla="*/ 184 w 184"/>
                <a:gd name="T109" fmla="*/ 186 h 334"/>
                <a:gd name="T110" fmla="*/ 178 w 184"/>
                <a:gd name="T111" fmla="*/ 144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84" h="334">
                  <a:moveTo>
                    <a:pt x="170" y="146"/>
                  </a:moveTo>
                  <a:lnTo>
                    <a:pt x="164" y="148"/>
                  </a:lnTo>
                  <a:lnTo>
                    <a:pt x="164" y="148"/>
                  </a:lnTo>
                  <a:lnTo>
                    <a:pt x="166" y="168"/>
                  </a:lnTo>
                  <a:lnTo>
                    <a:pt x="168" y="186"/>
                  </a:lnTo>
                  <a:lnTo>
                    <a:pt x="168" y="186"/>
                  </a:lnTo>
                  <a:lnTo>
                    <a:pt x="166" y="212"/>
                  </a:lnTo>
                  <a:lnTo>
                    <a:pt x="162" y="236"/>
                  </a:lnTo>
                  <a:lnTo>
                    <a:pt x="154" y="260"/>
                  </a:lnTo>
                  <a:lnTo>
                    <a:pt x="148" y="278"/>
                  </a:lnTo>
                  <a:lnTo>
                    <a:pt x="148" y="278"/>
                  </a:lnTo>
                  <a:lnTo>
                    <a:pt x="132" y="308"/>
                  </a:lnTo>
                  <a:lnTo>
                    <a:pt x="132" y="308"/>
                  </a:lnTo>
                  <a:lnTo>
                    <a:pt x="128" y="316"/>
                  </a:lnTo>
                  <a:lnTo>
                    <a:pt x="128" y="316"/>
                  </a:lnTo>
                  <a:lnTo>
                    <a:pt x="126" y="318"/>
                  </a:lnTo>
                  <a:lnTo>
                    <a:pt x="126" y="318"/>
                  </a:lnTo>
                  <a:lnTo>
                    <a:pt x="126" y="320"/>
                  </a:lnTo>
                  <a:lnTo>
                    <a:pt x="132" y="324"/>
                  </a:lnTo>
                  <a:lnTo>
                    <a:pt x="136" y="316"/>
                  </a:lnTo>
                  <a:lnTo>
                    <a:pt x="136" y="316"/>
                  </a:lnTo>
                  <a:lnTo>
                    <a:pt x="136" y="316"/>
                  </a:lnTo>
                  <a:lnTo>
                    <a:pt x="118" y="306"/>
                  </a:lnTo>
                  <a:lnTo>
                    <a:pt x="102" y="294"/>
                  </a:lnTo>
                  <a:lnTo>
                    <a:pt x="84" y="280"/>
                  </a:lnTo>
                  <a:lnTo>
                    <a:pt x="84" y="280"/>
                  </a:lnTo>
                  <a:lnTo>
                    <a:pt x="64" y="262"/>
                  </a:lnTo>
                  <a:lnTo>
                    <a:pt x="46" y="240"/>
                  </a:lnTo>
                  <a:lnTo>
                    <a:pt x="38" y="226"/>
                  </a:lnTo>
                  <a:lnTo>
                    <a:pt x="30" y="214"/>
                  </a:lnTo>
                  <a:lnTo>
                    <a:pt x="24" y="200"/>
                  </a:lnTo>
                  <a:lnTo>
                    <a:pt x="20" y="186"/>
                  </a:lnTo>
                  <a:lnTo>
                    <a:pt x="20" y="186"/>
                  </a:lnTo>
                  <a:lnTo>
                    <a:pt x="16" y="166"/>
                  </a:lnTo>
                  <a:lnTo>
                    <a:pt x="16" y="146"/>
                  </a:lnTo>
                  <a:lnTo>
                    <a:pt x="16" y="146"/>
                  </a:lnTo>
                  <a:lnTo>
                    <a:pt x="16" y="122"/>
                  </a:lnTo>
                  <a:lnTo>
                    <a:pt x="22" y="96"/>
                  </a:lnTo>
                  <a:lnTo>
                    <a:pt x="28" y="74"/>
                  </a:lnTo>
                  <a:lnTo>
                    <a:pt x="36" y="54"/>
                  </a:lnTo>
                  <a:lnTo>
                    <a:pt x="36" y="54"/>
                  </a:lnTo>
                  <a:lnTo>
                    <a:pt x="50" y="24"/>
                  </a:lnTo>
                  <a:lnTo>
                    <a:pt x="50" y="24"/>
                  </a:lnTo>
                  <a:lnTo>
                    <a:pt x="56" y="16"/>
                  </a:lnTo>
                  <a:lnTo>
                    <a:pt x="56" y="16"/>
                  </a:lnTo>
                  <a:lnTo>
                    <a:pt x="56" y="14"/>
                  </a:lnTo>
                  <a:lnTo>
                    <a:pt x="56" y="14"/>
                  </a:lnTo>
                  <a:lnTo>
                    <a:pt x="56" y="14"/>
                  </a:lnTo>
                  <a:lnTo>
                    <a:pt x="50" y="10"/>
                  </a:lnTo>
                  <a:lnTo>
                    <a:pt x="46" y="16"/>
                  </a:lnTo>
                  <a:lnTo>
                    <a:pt x="46" y="18"/>
                  </a:lnTo>
                  <a:lnTo>
                    <a:pt x="46" y="18"/>
                  </a:lnTo>
                  <a:lnTo>
                    <a:pt x="64" y="28"/>
                  </a:lnTo>
                  <a:lnTo>
                    <a:pt x="80" y="38"/>
                  </a:lnTo>
                  <a:lnTo>
                    <a:pt x="100" y="54"/>
                  </a:lnTo>
                  <a:lnTo>
                    <a:pt x="100" y="54"/>
                  </a:lnTo>
                  <a:lnTo>
                    <a:pt x="118" y="72"/>
                  </a:lnTo>
                  <a:lnTo>
                    <a:pt x="138" y="94"/>
                  </a:lnTo>
                  <a:lnTo>
                    <a:pt x="146" y="106"/>
                  </a:lnTo>
                  <a:lnTo>
                    <a:pt x="152" y="120"/>
                  </a:lnTo>
                  <a:lnTo>
                    <a:pt x="158" y="134"/>
                  </a:lnTo>
                  <a:lnTo>
                    <a:pt x="164" y="148"/>
                  </a:lnTo>
                  <a:lnTo>
                    <a:pt x="170" y="146"/>
                  </a:lnTo>
                  <a:lnTo>
                    <a:pt x="178" y="144"/>
                  </a:lnTo>
                  <a:lnTo>
                    <a:pt x="178" y="144"/>
                  </a:lnTo>
                  <a:lnTo>
                    <a:pt x="174" y="128"/>
                  </a:lnTo>
                  <a:lnTo>
                    <a:pt x="166" y="112"/>
                  </a:lnTo>
                  <a:lnTo>
                    <a:pt x="158" y="96"/>
                  </a:lnTo>
                  <a:lnTo>
                    <a:pt x="148" y="84"/>
                  </a:lnTo>
                  <a:lnTo>
                    <a:pt x="128" y="60"/>
                  </a:lnTo>
                  <a:lnTo>
                    <a:pt x="108" y="40"/>
                  </a:lnTo>
                  <a:lnTo>
                    <a:pt x="108" y="40"/>
                  </a:lnTo>
                  <a:lnTo>
                    <a:pt x="88" y="24"/>
                  </a:lnTo>
                  <a:lnTo>
                    <a:pt x="70" y="12"/>
                  </a:lnTo>
                  <a:lnTo>
                    <a:pt x="54" y="2"/>
                  </a:lnTo>
                  <a:lnTo>
                    <a:pt x="48" y="0"/>
                  </a:lnTo>
                  <a:lnTo>
                    <a:pt x="44" y="6"/>
                  </a:lnTo>
                  <a:lnTo>
                    <a:pt x="44" y="6"/>
                  </a:lnTo>
                  <a:lnTo>
                    <a:pt x="36" y="18"/>
                  </a:lnTo>
                  <a:lnTo>
                    <a:pt x="22" y="48"/>
                  </a:lnTo>
                  <a:lnTo>
                    <a:pt x="22" y="48"/>
                  </a:lnTo>
                  <a:lnTo>
                    <a:pt x="14" y="68"/>
                  </a:lnTo>
                  <a:lnTo>
                    <a:pt x="6" y="92"/>
                  </a:lnTo>
                  <a:lnTo>
                    <a:pt x="0" y="118"/>
                  </a:lnTo>
                  <a:lnTo>
                    <a:pt x="0" y="146"/>
                  </a:lnTo>
                  <a:lnTo>
                    <a:pt x="0" y="146"/>
                  </a:lnTo>
                  <a:lnTo>
                    <a:pt x="0" y="168"/>
                  </a:lnTo>
                  <a:lnTo>
                    <a:pt x="4" y="190"/>
                  </a:lnTo>
                  <a:lnTo>
                    <a:pt x="4" y="190"/>
                  </a:lnTo>
                  <a:lnTo>
                    <a:pt x="10" y="206"/>
                  </a:lnTo>
                  <a:lnTo>
                    <a:pt x="16" y="222"/>
                  </a:lnTo>
                  <a:lnTo>
                    <a:pt x="26" y="236"/>
                  </a:lnTo>
                  <a:lnTo>
                    <a:pt x="34" y="250"/>
                  </a:lnTo>
                  <a:lnTo>
                    <a:pt x="54" y="274"/>
                  </a:lnTo>
                  <a:lnTo>
                    <a:pt x="76" y="294"/>
                  </a:lnTo>
                  <a:lnTo>
                    <a:pt x="76" y="294"/>
                  </a:lnTo>
                  <a:lnTo>
                    <a:pt x="96" y="310"/>
                  </a:lnTo>
                  <a:lnTo>
                    <a:pt x="112" y="322"/>
                  </a:lnTo>
                  <a:lnTo>
                    <a:pt x="130" y="330"/>
                  </a:lnTo>
                  <a:lnTo>
                    <a:pt x="136" y="334"/>
                  </a:lnTo>
                  <a:lnTo>
                    <a:pt x="140" y="328"/>
                  </a:lnTo>
                  <a:lnTo>
                    <a:pt x="140" y="328"/>
                  </a:lnTo>
                  <a:lnTo>
                    <a:pt x="146" y="316"/>
                  </a:lnTo>
                  <a:lnTo>
                    <a:pt x="162" y="286"/>
                  </a:lnTo>
                  <a:lnTo>
                    <a:pt x="162" y="286"/>
                  </a:lnTo>
                  <a:lnTo>
                    <a:pt x="170" y="264"/>
                  </a:lnTo>
                  <a:lnTo>
                    <a:pt x="178" y="240"/>
                  </a:lnTo>
                  <a:lnTo>
                    <a:pt x="182" y="214"/>
                  </a:lnTo>
                  <a:lnTo>
                    <a:pt x="184" y="186"/>
                  </a:lnTo>
                  <a:lnTo>
                    <a:pt x="184" y="186"/>
                  </a:lnTo>
                  <a:lnTo>
                    <a:pt x="182" y="166"/>
                  </a:lnTo>
                  <a:lnTo>
                    <a:pt x="178" y="144"/>
                  </a:lnTo>
                  <a:lnTo>
                    <a:pt x="170" y="14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55" name="Freeform 2099">
              <a:extLst>
                <a:ext uri="{FF2B5EF4-FFF2-40B4-BE49-F238E27FC236}">
                  <a16:creationId xmlns:a16="http://schemas.microsoft.com/office/drawing/2014/main" id="{4651E353-11F5-4520-8F7D-0B7C58FFB55E}"/>
                </a:ext>
              </a:extLst>
            </p:cNvPr>
            <p:cNvSpPr>
              <a:spLocks/>
            </p:cNvSpPr>
            <p:nvPr/>
          </p:nvSpPr>
          <p:spPr bwMode="auto">
            <a:xfrm>
              <a:off x="8875233" y="3879797"/>
              <a:ext cx="203682" cy="217976"/>
            </a:xfrm>
            <a:custGeom>
              <a:avLst/>
              <a:gdLst>
                <a:gd name="T0" fmla="*/ 4 w 114"/>
                <a:gd name="T1" fmla="*/ 0 h 122"/>
                <a:gd name="T2" fmla="*/ 4 w 114"/>
                <a:gd name="T3" fmla="*/ 0 h 122"/>
                <a:gd name="T4" fmla="*/ 0 w 114"/>
                <a:gd name="T5" fmla="*/ 0 h 122"/>
                <a:gd name="T6" fmla="*/ 0 w 114"/>
                <a:gd name="T7" fmla="*/ 0 h 122"/>
                <a:gd name="T8" fmla="*/ 24 w 114"/>
                <a:gd name="T9" fmla="*/ 12 h 122"/>
                <a:gd name="T10" fmla="*/ 46 w 114"/>
                <a:gd name="T11" fmla="*/ 26 h 122"/>
                <a:gd name="T12" fmla="*/ 46 w 114"/>
                <a:gd name="T13" fmla="*/ 26 h 122"/>
                <a:gd name="T14" fmla="*/ 66 w 114"/>
                <a:gd name="T15" fmla="*/ 42 h 122"/>
                <a:gd name="T16" fmla="*/ 80 w 114"/>
                <a:gd name="T17" fmla="*/ 56 h 122"/>
                <a:gd name="T18" fmla="*/ 94 w 114"/>
                <a:gd name="T19" fmla="*/ 70 h 122"/>
                <a:gd name="T20" fmla="*/ 98 w 114"/>
                <a:gd name="T21" fmla="*/ 76 h 122"/>
                <a:gd name="T22" fmla="*/ 92 w 114"/>
                <a:gd name="T23" fmla="*/ 82 h 122"/>
                <a:gd name="T24" fmla="*/ 92 w 114"/>
                <a:gd name="T25" fmla="*/ 82 h 122"/>
                <a:gd name="T26" fmla="*/ 84 w 114"/>
                <a:gd name="T27" fmla="*/ 90 h 122"/>
                <a:gd name="T28" fmla="*/ 58 w 114"/>
                <a:gd name="T29" fmla="*/ 110 h 122"/>
                <a:gd name="T30" fmla="*/ 58 w 114"/>
                <a:gd name="T31" fmla="*/ 110 h 122"/>
                <a:gd name="T32" fmla="*/ 74 w 114"/>
                <a:gd name="T33" fmla="*/ 122 h 122"/>
                <a:gd name="T34" fmla="*/ 74 w 114"/>
                <a:gd name="T35" fmla="*/ 122 h 122"/>
                <a:gd name="T36" fmla="*/ 94 w 114"/>
                <a:gd name="T37" fmla="*/ 108 h 122"/>
                <a:gd name="T38" fmla="*/ 94 w 114"/>
                <a:gd name="T39" fmla="*/ 108 h 122"/>
                <a:gd name="T40" fmla="*/ 110 w 114"/>
                <a:gd name="T41" fmla="*/ 96 h 122"/>
                <a:gd name="T42" fmla="*/ 110 w 114"/>
                <a:gd name="T43" fmla="*/ 96 h 122"/>
                <a:gd name="T44" fmla="*/ 98 w 114"/>
                <a:gd name="T45" fmla="*/ 68 h 122"/>
                <a:gd name="T46" fmla="*/ 94 w 114"/>
                <a:gd name="T47" fmla="*/ 58 h 122"/>
                <a:gd name="T48" fmla="*/ 92 w 114"/>
                <a:gd name="T49" fmla="*/ 50 h 122"/>
                <a:gd name="T50" fmla="*/ 98 w 114"/>
                <a:gd name="T51" fmla="*/ 48 h 122"/>
                <a:gd name="T52" fmla="*/ 98 w 114"/>
                <a:gd name="T53" fmla="*/ 48 h 122"/>
                <a:gd name="T54" fmla="*/ 114 w 114"/>
                <a:gd name="T55" fmla="*/ 42 h 122"/>
                <a:gd name="T56" fmla="*/ 114 w 114"/>
                <a:gd name="T57" fmla="*/ 42 h 122"/>
                <a:gd name="T58" fmla="*/ 100 w 114"/>
                <a:gd name="T59" fmla="*/ 32 h 122"/>
                <a:gd name="T60" fmla="*/ 86 w 114"/>
                <a:gd name="T61" fmla="*/ 22 h 122"/>
                <a:gd name="T62" fmla="*/ 70 w 114"/>
                <a:gd name="T63" fmla="*/ 14 h 122"/>
                <a:gd name="T64" fmla="*/ 54 w 114"/>
                <a:gd name="T65" fmla="*/ 6 h 122"/>
                <a:gd name="T66" fmla="*/ 56 w 114"/>
                <a:gd name="T67" fmla="*/ 0 h 122"/>
                <a:gd name="T68" fmla="*/ 56 w 114"/>
                <a:gd name="T69" fmla="*/ 0 h 122"/>
                <a:gd name="T70" fmla="*/ 54 w 114"/>
                <a:gd name="T71" fmla="*/ 6 h 122"/>
                <a:gd name="T72" fmla="*/ 54 w 114"/>
                <a:gd name="T73" fmla="*/ 6 h 122"/>
                <a:gd name="T74" fmla="*/ 30 w 114"/>
                <a:gd name="T75" fmla="*/ 0 h 122"/>
                <a:gd name="T76" fmla="*/ 4 w 114"/>
                <a:gd name="T77" fmla="*/ 0 h 122"/>
                <a:gd name="T78" fmla="*/ 4 w 114"/>
                <a:gd name="T79" fmla="*/ 0 h 122"/>
                <a:gd name="T80" fmla="*/ 4 w 114"/>
                <a:gd name="T81" fmla="*/ 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14" h="122">
                  <a:moveTo>
                    <a:pt x="4" y="0"/>
                  </a:moveTo>
                  <a:lnTo>
                    <a:pt x="4" y="0"/>
                  </a:lnTo>
                  <a:lnTo>
                    <a:pt x="0" y="0"/>
                  </a:lnTo>
                  <a:lnTo>
                    <a:pt x="0" y="0"/>
                  </a:lnTo>
                  <a:lnTo>
                    <a:pt x="24" y="12"/>
                  </a:lnTo>
                  <a:lnTo>
                    <a:pt x="46" y="26"/>
                  </a:lnTo>
                  <a:lnTo>
                    <a:pt x="46" y="26"/>
                  </a:lnTo>
                  <a:lnTo>
                    <a:pt x="66" y="42"/>
                  </a:lnTo>
                  <a:lnTo>
                    <a:pt x="80" y="56"/>
                  </a:lnTo>
                  <a:lnTo>
                    <a:pt x="94" y="70"/>
                  </a:lnTo>
                  <a:lnTo>
                    <a:pt x="98" y="76"/>
                  </a:lnTo>
                  <a:lnTo>
                    <a:pt x="92" y="82"/>
                  </a:lnTo>
                  <a:lnTo>
                    <a:pt x="92" y="82"/>
                  </a:lnTo>
                  <a:lnTo>
                    <a:pt x="84" y="90"/>
                  </a:lnTo>
                  <a:lnTo>
                    <a:pt x="58" y="110"/>
                  </a:lnTo>
                  <a:lnTo>
                    <a:pt x="58" y="110"/>
                  </a:lnTo>
                  <a:lnTo>
                    <a:pt x="74" y="122"/>
                  </a:lnTo>
                  <a:lnTo>
                    <a:pt x="74" y="122"/>
                  </a:lnTo>
                  <a:lnTo>
                    <a:pt x="94" y="108"/>
                  </a:lnTo>
                  <a:lnTo>
                    <a:pt x="94" y="108"/>
                  </a:lnTo>
                  <a:lnTo>
                    <a:pt x="110" y="96"/>
                  </a:lnTo>
                  <a:lnTo>
                    <a:pt x="110" y="96"/>
                  </a:lnTo>
                  <a:lnTo>
                    <a:pt x="98" y="68"/>
                  </a:lnTo>
                  <a:lnTo>
                    <a:pt x="94" y="58"/>
                  </a:lnTo>
                  <a:lnTo>
                    <a:pt x="92" y="50"/>
                  </a:lnTo>
                  <a:lnTo>
                    <a:pt x="98" y="48"/>
                  </a:lnTo>
                  <a:lnTo>
                    <a:pt x="98" y="48"/>
                  </a:lnTo>
                  <a:lnTo>
                    <a:pt x="114" y="42"/>
                  </a:lnTo>
                  <a:lnTo>
                    <a:pt x="114" y="42"/>
                  </a:lnTo>
                  <a:lnTo>
                    <a:pt x="100" y="32"/>
                  </a:lnTo>
                  <a:lnTo>
                    <a:pt x="86" y="22"/>
                  </a:lnTo>
                  <a:lnTo>
                    <a:pt x="70" y="14"/>
                  </a:lnTo>
                  <a:lnTo>
                    <a:pt x="54" y="6"/>
                  </a:lnTo>
                  <a:lnTo>
                    <a:pt x="56" y="0"/>
                  </a:lnTo>
                  <a:lnTo>
                    <a:pt x="56" y="0"/>
                  </a:lnTo>
                  <a:lnTo>
                    <a:pt x="54" y="6"/>
                  </a:lnTo>
                  <a:lnTo>
                    <a:pt x="54" y="6"/>
                  </a:lnTo>
                  <a:lnTo>
                    <a:pt x="30" y="0"/>
                  </a:lnTo>
                  <a:lnTo>
                    <a:pt x="4" y="0"/>
                  </a:lnTo>
                  <a:lnTo>
                    <a:pt x="4" y="0"/>
                  </a:lnTo>
                  <a:lnTo>
                    <a:pt x="4" y="0"/>
                  </a:lnTo>
                  <a:close/>
                </a:path>
              </a:pathLst>
            </a:custGeom>
            <a:solidFill>
              <a:srgbClr val="DDC9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56" name="Freeform 2100">
              <a:extLst>
                <a:ext uri="{FF2B5EF4-FFF2-40B4-BE49-F238E27FC236}">
                  <a16:creationId xmlns:a16="http://schemas.microsoft.com/office/drawing/2014/main" id="{B7D19032-A7A8-4F6E-99F2-90885C9E1A14}"/>
                </a:ext>
              </a:extLst>
            </p:cNvPr>
            <p:cNvSpPr>
              <a:spLocks/>
            </p:cNvSpPr>
            <p:nvPr/>
          </p:nvSpPr>
          <p:spPr bwMode="auto">
            <a:xfrm>
              <a:off x="8875233" y="3879797"/>
              <a:ext cx="203682" cy="217976"/>
            </a:xfrm>
            <a:custGeom>
              <a:avLst/>
              <a:gdLst>
                <a:gd name="T0" fmla="*/ 4 w 114"/>
                <a:gd name="T1" fmla="*/ 0 h 122"/>
                <a:gd name="T2" fmla="*/ 4 w 114"/>
                <a:gd name="T3" fmla="*/ 0 h 122"/>
                <a:gd name="T4" fmla="*/ 0 w 114"/>
                <a:gd name="T5" fmla="*/ 0 h 122"/>
                <a:gd name="T6" fmla="*/ 0 w 114"/>
                <a:gd name="T7" fmla="*/ 0 h 122"/>
                <a:gd name="T8" fmla="*/ 24 w 114"/>
                <a:gd name="T9" fmla="*/ 12 h 122"/>
                <a:gd name="T10" fmla="*/ 46 w 114"/>
                <a:gd name="T11" fmla="*/ 26 h 122"/>
                <a:gd name="T12" fmla="*/ 46 w 114"/>
                <a:gd name="T13" fmla="*/ 26 h 122"/>
                <a:gd name="T14" fmla="*/ 66 w 114"/>
                <a:gd name="T15" fmla="*/ 42 h 122"/>
                <a:gd name="T16" fmla="*/ 80 w 114"/>
                <a:gd name="T17" fmla="*/ 56 h 122"/>
                <a:gd name="T18" fmla="*/ 94 w 114"/>
                <a:gd name="T19" fmla="*/ 70 h 122"/>
                <a:gd name="T20" fmla="*/ 98 w 114"/>
                <a:gd name="T21" fmla="*/ 76 h 122"/>
                <a:gd name="T22" fmla="*/ 92 w 114"/>
                <a:gd name="T23" fmla="*/ 82 h 122"/>
                <a:gd name="T24" fmla="*/ 92 w 114"/>
                <a:gd name="T25" fmla="*/ 82 h 122"/>
                <a:gd name="T26" fmla="*/ 84 w 114"/>
                <a:gd name="T27" fmla="*/ 90 h 122"/>
                <a:gd name="T28" fmla="*/ 58 w 114"/>
                <a:gd name="T29" fmla="*/ 110 h 122"/>
                <a:gd name="T30" fmla="*/ 58 w 114"/>
                <a:gd name="T31" fmla="*/ 110 h 122"/>
                <a:gd name="T32" fmla="*/ 74 w 114"/>
                <a:gd name="T33" fmla="*/ 122 h 122"/>
                <a:gd name="T34" fmla="*/ 74 w 114"/>
                <a:gd name="T35" fmla="*/ 122 h 122"/>
                <a:gd name="T36" fmla="*/ 94 w 114"/>
                <a:gd name="T37" fmla="*/ 108 h 122"/>
                <a:gd name="T38" fmla="*/ 94 w 114"/>
                <a:gd name="T39" fmla="*/ 108 h 122"/>
                <a:gd name="T40" fmla="*/ 110 w 114"/>
                <a:gd name="T41" fmla="*/ 96 h 122"/>
                <a:gd name="T42" fmla="*/ 110 w 114"/>
                <a:gd name="T43" fmla="*/ 96 h 122"/>
                <a:gd name="T44" fmla="*/ 98 w 114"/>
                <a:gd name="T45" fmla="*/ 68 h 122"/>
                <a:gd name="T46" fmla="*/ 94 w 114"/>
                <a:gd name="T47" fmla="*/ 58 h 122"/>
                <a:gd name="T48" fmla="*/ 92 w 114"/>
                <a:gd name="T49" fmla="*/ 50 h 122"/>
                <a:gd name="T50" fmla="*/ 98 w 114"/>
                <a:gd name="T51" fmla="*/ 48 h 122"/>
                <a:gd name="T52" fmla="*/ 98 w 114"/>
                <a:gd name="T53" fmla="*/ 48 h 122"/>
                <a:gd name="T54" fmla="*/ 114 w 114"/>
                <a:gd name="T55" fmla="*/ 42 h 122"/>
                <a:gd name="T56" fmla="*/ 114 w 114"/>
                <a:gd name="T57" fmla="*/ 42 h 122"/>
                <a:gd name="T58" fmla="*/ 100 w 114"/>
                <a:gd name="T59" fmla="*/ 32 h 122"/>
                <a:gd name="T60" fmla="*/ 86 w 114"/>
                <a:gd name="T61" fmla="*/ 22 h 122"/>
                <a:gd name="T62" fmla="*/ 70 w 114"/>
                <a:gd name="T63" fmla="*/ 14 h 122"/>
                <a:gd name="T64" fmla="*/ 54 w 114"/>
                <a:gd name="T65" fmla="*/ 6 h 122"/>
                <a:gd name="T66" fmla="*/ 56 w 114"/>
                <a:gd name="T67" fmla="*/ 0 h 122"/>
                <a:gd name="T68" fmla="*/ 56 w 114"/>
                <a:gd name="T69" fmla="*/ 0 h 122"/>
                <a:gd name="T70" fmla="*/ 54 w 114"/>
                <a:gd name="T71" fmla="*/ 6 h 122"/>
                <a:gd name="T72" fmla="*/ 54 w 114"/>
                <a:gd name="T73" fmla="*/ 6 h 122"/>
                <a:gd name="T74" fmla="*/ 30 w 114"/>
                <a:gd name="T75" fmla="*/ 0 h 122"/>
                <a:gd name="T76" fmla="*/ 4 w 114"/>
                <a:gd name="T77" fmla="*/ 0 h 122"/>
                <a:gd name="T78" fmla="*/ 4 w 114"/>
                <a:gd name="T79" fmla="*/ 0 h 122"/>
                <a:gd name="T80" fmla="*/ 4 w 114"/>
                <a:gd name="T81" fmla="*/ 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14" h="122">
                  <a:moveTo>
                    <a:pt x="4" y="0"/>
                  </a:moveTo>
                  <a:lnTo>
                    <a:pt x="4" y="0"/>
                  </a:lnTo>
                  <a:lnTo>
                    <a:pt x="0" y="0"/>
                  </a:lnTo>
                  <a:lnTo>
                    <a:pt x="0" y="0"/>
                  </a:lnTo>
                  <a:lnTo>
                    <a:pt x="24" y="12"/>
                  </a:lnTo>
                  <a:lnTo>
                    <a:pt x="46" y="26"/>
                  </a:lnTo>
                  <a:lnTo>
                    <a:pt x="46" y="26"/>
                  </a:lnTo>
                  <a:lnTo>
                    <a:pt x="66" y="42"/>
                  </a:lnTo>
                  <a:lnTo>
                    <a:pt x="80" y="56"/>
                  </a:lnTo>
                  <a:lnTo>
                    <a:pt x="94" y="70"/>
                  </a:lnTo>
                  <a:lnTo>
                    <a:pt x="98" y="76"/>
                  </a:lnTo>
                  <a:lnTo>
                    <a:pt x="92" y="82"/>
                  </a:lnTo>
                  <a:lnTo>
                    <a:pt x="92" y="82"/>
                  </a:lnTo>
                  <a:lnTo>
                    <a:pt x="84" y="90"/>
                  </a:lnTo>
                  <a:lnTo>
                    <a:pt x="58" y="110"/>
                  </a:lnTo>
                  <a:lnTo>
                    <a:pt x="58" y="110"/>
                  </a:lnTo>
                  <a:lnTo>
                    <a:pt x="74" y="122"/>
                  </a:lnTo>
                  <a:lnTo>
                    <a:pt x="74" y="122"/>
                  </a:lnTo>
                  <a:lnTo>
                    <a:pt x="94" y="108"/>
                  </a:lnTo>
                  <a:lnTo>
                    <a:pt x="94" y="108"/>
                  </a:lnTo>
                  <a:lnTo>
                    <a:pt x="110" y="96"/>
                  </a:lnTo>
                  <a:lnTo>
                    <a:pt x="110" y="96"/>
                  </a:lnTo>
                  <a:lnTo>
                    <a:pt x="98" y="68"/>
                  </a:lnTo>
                  <a:lnTo>
                    <a:pt x="94" y="58"/>
                  </a:lnTo>
                  <a:lnTo>
                    <a:pt x="92" y="50"/>
                  </a:lnTo>
                  <a:lnTo>
                    <a:pt x="98" y="48"/>
                  </a:lnTo>
                  <a:lnTo>
                    <a:pt x="98" y="48"/>
                  </a:lnTo>
                  <a:lnTo>
                    <a:pt x="114" y="42"/>
                  </a:lnTo>
                  <a:lnTo>
                    <a:pt x="114" y="42"/>
                  </a:lnTo>
                  <a:lnTo>
                    <a:pt x="100" y="32"/>
                  </a:lnTo>
                  <a:lnTo>
                    <a:pt x="86" y="22"/>
                  </a:lnTo>
                  <a:lnTo>
                    <a:pt x="70" y="14"/>
                  </a:lnTo>
                  <a:lnTo>
                    <a:pt x="54" y="6"/>
                  </a:lnTo>
                  <a:lnTo>
                    <a:pt x="56" y="0"/>
                  </a:lnTo>
                  <a:lnTo>
                    <a:pt x="56" y="0"/>
                  </a:lnTo>
                  <a:lnTo>
                    <a:pt x="54" y="6"/>
                  </a:lnTo>
                  <a:lnTo>
                    <a:pt x="54" y="6"/>
                  </a:lnTo>
                  <a:lnTo>
                    <a:pt x="30" y="0"/>
                  </a:lnTo>
                  <a:lnTo>
                    <a:pt x="4"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57" name="Freeform 2101">
              <a:extLst>
                <a:ext uri="{FF2B5EF4-FFF2-40B4-BE49-F238E27FC236}">
                  <a16:creationId xmlns:a16="http://schemas.microsoft.com/office/drawing/2014/main" id="{DBB56FBB-1556-4C65-9313-BA4AE68393AE}"/>
                </a:ext>
              </a:extLst>
            </p:cNvPr>
            <p:cNvSpPr>
              <a:spLocks/>
            </p:cNvSpPr>
            <p:nvPr/>
          </p:nvSpPr>
          <p:spPr bwMode="auto">
            <a:xfrm>
              <a:off x="9075342" y="3976278"/>
              <a:ext cx="75041" cy="75041"/>
            </a:xfrm>
            <a:custGeom>
              <a:avLst/>
              <a:gdLst>
                <a:gd name="T0" fmla="*/ 14 w 42"/>
                <a:gd name="T1" fmla="*/ 0 h 42"/>
                <a:gd name="T2" fmla="*/ 14 w 42"/>
                <a:gd name="T3" fmla="*/ 0 h 42"/>
                <a:gd name="T4" fmla="*/ 0 w 42"/>
                <a:gd name="T5" fmla="*/ 6 h 42"/>
                <a:gd name="T6" fmla="*/ 0 w 42"/>
                <a:gd name="T7" fmla="*/ 6 h 42"/>
                <a:gd name="T8" fmla="*/ 4 w 42"/>
                <a:gd name="T9" fmla="*/ 16 h 42"/>
                <a:gd name="T10" fmla="*/ 4 w 42"/>
                <a:gd name="T11" fmla="*/ 16 h 42"/>
                <a:gd name="T12" fmla="*/ 14 w 42"/>
                <a:gd name="T13" fmla="*/ 38 h 42"/>
                <a:gd name="T14" fmla="*/ 14 w 42"/>
                <a:gd name="T15" fmla="*/ 38 h 42"/>
                <a:gd name="T16" fmla="*/ 20 w 42"/>
                <a:gd name="T17" fmla="*/ 38 h 42"/>
                <a:gd name="T18" fmla="*/ 20 w 42"/>
                <a:gd name="T19" fmla="*/ 38 h 42"/>
                <a:gd name="T20" fmla="*/ 32 w 42"/>
                <a:gd name="T21" fmla="*/ 38 h 42"/>
                <a:gd name="T22" fmla="*/ 42 w 42"/>
                <a:gd name="T23" fmla="*/ 42 h 42"/>
                <a:gd name="T24" fmla="*/ 42 w 42"/>
                <a:gd name="T25" fmla="*/ 36 h 42"/>
                <a:gd name="T26" fmla="*/ 42 w 42"/>
                <a:gd name="T27" fmla="*/ 36 h 42"/>
                <a:gd name="T28" fmla="*/ 34 w 42"/>
                <a:gd name="T29" fmla="*/ 26 h 42"/>
                <a:gd name="T30" fmla="*/ 34 w 42"/>
                <a:gd name="T31" fmla="*/ 26 h 42"/>
                <a:gd name="T32" fmla="*/ 14 w 42"/>
                <a:gd name="T33"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42">
                  <a:moveTo>
                    <a:pt x="14" y="0"/>
                  </a:moveTo>
                  <a:lnTo>
                    <a:pt x="14" y="0"/>
                  </a:lnTo>
                  <a:lnTo>
                    <a:pt x="0" y="6"/>
                  </a:lnTo>
                  <a:lnTo>
                    <a:pt x="0" y="6"/>
                  </a:lnTo>
                  <a:lnTo>
                    <a:pt x="4" y="16"/>
                  </a:lnTo>
                  <a:lnTo>
                    <a:pt x="4" y="16"/>
                  </a:lnTo>
                  <a:lnTo>
                    <a:pt x="14" y="38"/>
                  </a:lnTo>
                  <a:lnTo>
                    <a:pt x="14" y="38"/>
                  </a:lnTo>
                  <a:lnTo>
                    <a:pt x="20" y="38"/>
                  </a:lnTo>
                  <a:lnTo>
                    <a:pt x="20" y="38"/>
                  </a:lnTo>
                  <a:lnTo>
                    <a:pt x="32" y="38"/>
                  </a:lnTo>
                  <a:lnTo>
                    <a:pt x="42" y="42"/>
                  </a:lnTo>
                  <a:lnTo>
                    <a:pt x="42" y="36"/>
                  </a:lnTo>
                  <a:lnTo>
                    <a:pt x="42" y="36"/>
                  </a:lnTo>
                  <a:lnTo>
                    <a:pt x="34" y="26"/>
                  </a:lnTo>
                  <a:lnTo>
                    <a:pt x="34" y="26"/>
                  </a:lnTo>
                  <a:lnTo>
                    <a:pt x="14" y="0"/>
                  </a:lnTo>
                  <a:close/>
                </a:path>
              </a:pathLst>
            </a:custGeom>
            <a:solidFill>
              <a:srgbClr val="9DA5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58" name="Freeform 2102">
              <a:extLst>
                <a:ext uri="{FF2B5EF4-FFF2-40B4-BE49-F238E27FC236}">
                  <a16:creationId xmlns:a16="http://schemas.microsoft.com/office/drawing/2014/main" id="{B6E9AFD7-AEA5-4CD8-82B6-ED9093959AFB}"/>
                </a:ext>
              </a:extLst>
            </p:cNvPr>
            <p:cNvSpPr>
              <a:spLocks/>
            </p:cNvSpPr>
            <p:nvPr/>
          </p:nvSpPr>
          <p:spPr bwMode="auto">
            <a:xfrm>
              <a:off x="9075342" y="3976278"/>
              <a:ext cx="75041" cy="75041"/>
            </a:xfrm>
            <a:custGeom>
              <a:avLst/>
              <a:gdLst>
                <a:gd name="T0" fmla="*/ 14 w 42"/>
                <a:gd name="T1" fmla="*/ 0 h 42"/>
                <a:gd name="T2" fmla="*/ 14 w 42"/>
                <a:gd name="T3" fmla="*/ 0 h 42"/>
                <a:gd name="T4" fmla="*/ 0 w 42"/>
                <a:gd name="T5" fmla="*/ 6 h 42"/>
                <a:gd name="T6" fmla="*/ 0 w 42"/>
                <a:gd name="T7" fmla="*/ 6 h 42"/>
                <a:gd name="T8" fmla="*/ 4 w 42"/>
                <a:gd name="T9" fmla="*/ 16 h 42"/>
                <a:gd name="T10" fmla="*/ 4 w 42"/>
                <a:gd name="T11" fmla="*/ 16 h 42"/>
                <a:gd name="T12" fmla="*/ 14 w 42"/>
                <a:gd name="T13" fmla="*/ 38 h 42"/>
                <a:gd name="T14" fmla="*/ 14 w 42"/>
                <a:gd name="T15" fmla="*/ 38 h 42"/>
                <a:gd name="T16" fmla="*/ 20 w 42"/>
                <a:gd name="T17" fmla="*/ 38 h 42"/>
                <a:gd name="T18" fmla="*/ 20 w 42"/>
                <a:gd name="T19" fmla="*/ 38 h 42"/>
                <a:gd name="T20" fmla="*/ 32 w 42"/>
                <a:gd name="T21" fmla="*/ 38 h 42"/>
                <a:gd name="T22" fmla="*/ 42 w 42"/>
                <a:gd name="T23" fmla="*/ 42 h 42"/>
                <a:gd name="T24" fmla="*/ 42 w 42"/>
                <a:gd name="T25" fmla="*/ 36 h 42"/>
                <a:gd name="T26" fmla="*/ 42 w 42"/>
                <a:gd name="T27" fmla="*/ 36 h 42"/>
                <a:gd name="T28" fmla="*/ 34 w 42"/>
                <a:gd name="T29" fmla="*/ 26 h 42"/>
                <a:gd name="T30" fmla="*/ 34 w 42"/>
                <a:gd name="T31" fmla="*/ 26 h 42"/>
                <a:gd name="T32" fmla="*/ 14 w 42"/>
                <a:gd name="T33"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42">
                  <a:moveTo>
                    <a:pt x="14" y="0"/>
                  </a:moveTo>
                  <a:lnTo>
                    <a:pt x="14" y="0"/>
                  </a:lnTo>
                  <a:lnTo>
                    <a:pt x="0" y="6"/>
                  </a:lnTo>
                  <a:lnTo>
                    <a:pt x="0" y="6"/>
                  </a:lnTo>
                  <a:lnTo>
                    <a:pt x="4" y="16"/>
                  </a:lnTo>
                  <a:lnTo>
                    <a:pt x="4" y="16"/>
                  </a:lnTo>
                  <a:lnTo>
                    <a:pt x="14" y="38"/>
                  </a:lnTo>
                  <a:lnTo>
                    <a:pt x="14" y="38"/>
                  </a:lnTo>
                  <a:lnTo>
                    <a:pt x="20" y="38"/>
                  </a:lnTo>
                  <a:lnTo>
                    <a:pt x="20" y="38"/>
                  </a:lnTo>
                  <a:lnTo>
                    <a:pt x="32" y="38"/>
                  </a:lnTo>
                  <a:lnTo>
                    <a:pt x="42" y="42"/>
                  </a:lnTo>
                  <a:lnTo>
                    <a:pt x="42" y="36"/>
                  </a:lnTo>
                  <a:lnTo>
                    <a:pt x="42" y="36"/>
                  </a:lnTo>
                  <a:lnTo>
                    <a:pt x="34" y="26"/>
                  </a:lnTo>
                  <a:lnTo>
                    <a:pt x="34" y="2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59" name="Freeform 2103">
              <a:extLst>
                <a:ext uri="{FF2B5EF4-FFF2-40B4-BE49-F238E27FC236}">
                  <a16:creationId xmlns:a16="http://schemas.microsoft.com/office/drawing/2014/main" id="{0F92E6FA-F745-47D6-B859-0858CF008416}"/>
                </a:ext>
              </a:extLst>
            </p:cNvPr>
            <p:cNvSpPr>
              <a:spLocks/>
            </p:cNvSpPr>
            <p:nvPr/>
          </p:nvSpPr>
          <p:spPr bwMode="auto">
            <a:xfrm>
              <a:off x="9039608" y="3954838"/>
              <a:ext cx="60747" cy="96481"/>
            </a:xfrm>
            <a:custGeom>
              <a:avLst/>
              <a:gdLst>
                <a:gd name="T0" fmla="*/ 22 w 34"/>
                <a:gd name="T1" fmla="*/ 0 h 54"/>
                <a:gd name="T2" fmla="*/ 22 w 34"/>
                <a:gd name="T3" fmla="*/ 0 h 54"/>
                <a:gd name="T4" fmla="*/ 6 w 34"/>
                <a:gd name="T5" fmla="*/ 6 h 54"/>
                <a:gd name="T6" fmla="*/ 0 w 34"/>
                <a:gd name="T7" fmla="*/ 8 h 54"/>
                <a:gd name="T8" fmla="*/ 2 w 34"/>
                <a:gd name="T9" fmla="*/ 16 h 54"/>
                <a:gd name="T10" fmla="*/ 2 w 34"/>
                <a:gd name="T11" fmla="*/ 16 h 54"/>
                <a:gd name="T12" fmla="*/ 6 w 34"/>
                <a:gd name="T13" fmla="*/ 26 h 54"/>
                <a:gd name="T14" fmla="*/ 18 w 34"/>
                <a:gd name="T15" fmla="*/ 54 h 54"/>
                <a:gd name="T16" fmla="*/ 18 w 34"/>
                <a:gd name="T17" fmla="*/ 54 h 54"/>
                <a:gd name="T18" fmla="*/ 28 w 34"/>
                <a:gd name="T19" fmla="*/ 52 h 54"/>
                <a:gd name="T20" fmla="*/ 28 w 34"/>
                <a:gd name="T21" fmla="*/ 52 h 54"/>
                <a:gd name="T22" fmla="*/ 28 w 34"/>
                <a:gd name="T23" fmla="*/ 52 h 54"/>
                <a:gd name="T24" fmla="*/ 34 w 34"/>
                <a:gd name="T25" fmla="*/ 50 h 54"/>
                <a:gd name="T26" fmla="*/ 34 w 34"/>
                <a:gd name="T27" fmla="*/ 50 h 54"/>
                <a:gd name="T28" fmla="*/ 24 w 34"/>
                <a:gd name="T29" fmla="*/ 28 h 54"/>
                <a:gd name="T30" fmla="*/ 24 w 34"/>
                <a:gd name="T31" fmla="*/ 28 h 54"/>
                <a:gd name="T32" fmla="*/ 20 w 34"/>
                <a:gd name="T33" fmla="*/ 18 h 54"/>
                <a:gd name="T34" fmla="*/ 20 w 34"/>
                <a:gd name="T35" fmla="*/ 18 h 54"/>
                <a:gd name="T36" fmla="*/ 34 w 34"/>
                <a:gd name="T37" fmla="*/ 12 h 54"/>
                <a:gd name="T38" fmla="*/ 34 w 34"/>
                <a:gd name="T39" fmla="*/ 12 h 54"/>
                <a:gd name="T40" fmla="*/ 22 w 34"/>
                <a:gd name="T41"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4" h="54">
                  <a:moveTo>
                    <a:pt x="22" y="0"/>
                  </a:moveTo>
                  <a:lnTo>
                    <a:pt x="22" y="0"/>
                  </a:lnTo>
                  <a:lnTo>
                    <a:pt x="6" y="6"/>
                  </a:lnTo>
                  <a:lnTo>
                    <a:pt x="0" y="8"/>
                  </a:lnTo>
                  <a:lnTo>
                    <a:pt x="2" y="16"/>
                  </a:lnTo>
                  <a:lnTo>
                    <a:pt x="2" y="16"/>
                  </a:lnTo>
                  <a:lnTo>
                    <a:pt x="6" y="26"/>
                  </a:lnTo>
                  <a:lnTo>
                    <a:pt x="18" y="54"/>
                  </a:lnTo>
                  <a:lnTo>
                    <a:pt x="18" y="54"/>
                  </a:lnTo>
                  <a:lnTo>
                    <a:pt x="28" y="52"/>
                  </a:lnTo>
                  <a:lnTo>
                    <a:pt x="28" y="52"/>
                  </a:lnTo>
                  <a:lnTo>
                    <a:pt x="28" y="52"/>
                  </a:lnTo>
                  <a:lnTo>
                    <a:pt x="34" y="50"/>
                  </a:lnTo>
                  <a:lnTo>
                    <a:pt x="34" y="50"/>
                  </a:lnTo>
                  <a:lnTo>
                    <a:pt x="24" y="28"/>
                  </a:lnTo>
                  <a:lnTo>
                    <a:pt x="24" y="28"/>
                  </a:lnTo>
                  <a:lnTo>
                    <a:pt x="20" y="18"/>
                  </a:lnTo>
                  <a:lnTo>
                    <a:pt x="20" y="18"/>
                  </a:lnTo>
                  <a:lnTo>
                    <a:pt x="34" y="12"/>
                  </a:lnTo>
                  <a:lnTo>
                    <a:pt x="34" y="12"/>
                  </a:lnTo>
                  <a:lnTo>
                    <a:pt x="22" y="0"/>
                  </a:lnTo>
                  <a:close/>
                </a:path>
              </a:pathLst>
            </a:custGeom>
            <a:solidFill>
              <a:srgbClr val="64091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60" name="Freeform 2104">
              <a:extLst>
                <a:ext uri="{FF2B5EF4-FFF2-40B4-BE49-F238E27FC236}">
                  <a16:creationId xmlns:a16="http://schemas.microsoft.com/office/drawing/2014/main" id="{9204C11B-E470-4D79-A8F9-CB856462B5B0}"/>
                </a:ext>
              </a:extLst>
            </p:cNvPr>
            <p:cNvSpPr>
              <a:spLocks/>
            </p:cNvSpPr>
            <p:nvPr/>
          </p:nvSpPr>
          <p:spPr bwMode="auto">
            <a:xfrm>
              <a:off x="9039608" y="3954838"/>
              <a:ext cx="60747" cy="96481"/>
            </a:xfrm>
            <a:custGeom>
              <a:avLst/>
              <a:gdLst>
                <a:gd name="T0" fmla="*/ 22 w 34"/>
                <a:gd name="T1" fmla="*/ 0 h 54"/>
                <a:gd name="T2" fmla="*/ 22 w 34"/>
                <a:gd name="T3" fmla="*/ 0 h 54"/>
                <a:gd name="T4" fmla="*/ 6 w 34"/>
                <a:gd name="T5" fmla="*/ 6 h 54"/>
                <a:gd name="T6" fmla="*/ 0 w 34"/>
                <a:gd name="T7" fmla="*/ 8 h 54"/>
                <a:gd name="T8" fmla="*/ 2 w 34"/>
                <a:gd name="T9" fmla="*/ 16 h 54"/>
                <a:gd name="T10" fmla="*/ 2 w 34"/>
                <a:gd name="T11" fmla="*/ 16 h 54"/>
                <a:gd name="T12" fmla="*/ 6 w 34"/>
                <a:gd name="T13" fmla="*/ 26 h 54"/>
                <a:gd name="T14" fmla="*/ 18 w 34"/>
                <a:gd name="T15" fmla="*/ 54 h 54"/>
                <a:gd name="T16" fmla="*/ 18 w 34"/>
                <a:gd name="T17" fmla="*/ 54 h 54"/>
                <a:gd name="T18" fmla="*/ 28 w 34"/>
                <a:gd name="T19" fmla="*/ 52 h 54"/>
                <a:gd name="T20" fmla="*/ 28 w 34"/>
                <a:gd name="T21" fmla="*/ 52 h 54"/>
                <a:gd name="T22" fmla="*/ 28 w 34"/>
                <a:gd name="T23" fmla="*/ 52 h 54"/>
                <a:gd name="T24" fmla="*/ 34 w 34"/>
                <a:gd name="T25" fmla="*/ 50 h 54"/>
                <a:gd name="T26" fmla="*/ 34 w 34"/>
                <a:gd name="T27" fmla="*/ 50 h 54"/>
                <a:gd name="T28" fmla="*/ 24 w 34"/>
                <a:gd name="T29" fmla="*/ 28 h 54"/>
                <a:gd name="T30" fmla="*/ 24 w 34"/>
                <a:gd name="T31" fmla="*/ 28 h 54"/>
                <a:gd name="T32" fmla="*/ 20 w 34"/>
                <a:gd name="T33" fmla="*/ 18 h 54"/>
                <a:gd name="T34" fmla="*/ 20 w 34"/>
                <a:gd name="T35" fmla="*/ 18 h 54"/>
                <a:gd name="T36" fmla="*/ 34 w 34"/>
                <a:gd name="T37" fmla="*/ 12 h 54"/>
                <a:gd name="T38" fmla="*/ 34 w 34"/>
                <a:gd name="T39" fmla="*/ 12 h 54"/>
                <a:gd name="T40" fmla="*/ 22 w 34"/>
                <a:gd name="T41"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4" h="54">
                  <a:moveTo>
                    <a:pt x="22" y="0"/>
                  </a:moveTo>
                  <a:lnTo>
                    <a:pt x="22" y="0"/>
                  </a:lnTo>
                  <a:lnTo>
                    <a:pt x="6" y="6"/>
                  </a:lnTo>
                  <a:lnTo>
                    <a:pt x="0" y="8"/>
                  </a:lnTo>
                  <a:lnTo>
                    <a:pt x="2" y="16"/>
                  </a:lnTo>
                  <a:lnTo>
                    <a:pt x="2" y="16"/>
                  </a:lnTo>
                  <a:lnTo>
                    <a:pt x="6" y="26"/>
                  </a:lnTo>
                  <a:lnTo>
                    <a:pt x="18" y="54"/>
                  </a:lnTo>
                  <a:lnTo>
                    <a:pt x="18" y="54"/>
                  </a:lnTo>
                  <a:lnTo>
                    <a:pt x="28" y="52"/>
                  </a:lnTo>
                  <a:lnTo>
                    <a:pt x="28" y="52"/>
                  </a:lnTo>
                  <a:lnTo>
                    <a:pt x="28" y="52"/>
                  </a:lnTo>
                  <a:lnTo>
                    <a:pt x="34" y="50"/>
                  </a:lnTo>
                  <a:lnTo>
                    <a:pt x="34" y="50"/>
                  </a:lnTo>
                  <a:lnTo>
                    <a:pt x="24" y="28"/>
                  </a:lnTo>
                  <a:lnTo>
                    <a:pt x="24" y="28"/>
                  </a:lnTo>
                  <a:lnTo>
                    <a:pt x="20" y="18"/>
                  </a:lnTo>
                  <a:lnTo>
                    <a:pt x="20" y="18"/>
                  </a:lnTo>
                  <a:lnTo>
                    <a:pt x="34" y="12"/>
                  </a:lnTo>
                  <a:lnTo>
                    <a:pt x="34" y="12"/>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61" name="Freeform 2106">
              <a:extLst>
                <a:ext uri="{FF2B5EF4-FFF2-40B4-BE49-F238E27FC236}">
                  <a16:creationId xmlns:a16="http://schemas.microsoft.com/office/drawing/2014/main" id="{71C463CC-4E0D-40A7-848A-0F611922441A}"/>
                </a:ext>
              </a:extLst>
            </p:cNvPr>
            <p:cNvSpPr>
              <a:spLocks/>
            </p:cNvSpPr>
            <p:nvPr/>
          </p:nvSpPr>
          <p:spPr bwMode="auto">
            <a:xfrm>
              <a:off x="8675124" y="3894090"/>
              <a:ext cx="335897" cy="210829"/>
            </a:xfrm>
            <a:custGeom>
              <a:avLst/>
              <a:gdLst>
                <a:gd name="T0" fmla="*/ 94 w 188"/>
                <a:gd name="T1" fmla="*/ 0 h 118"/>
                <a:gd name="T2" fmla="*/ 94 w 188"/>
                <a:gd name="T3" fmla="*/ 0 h 118"/>
                <a:gd name="T4" fmla="*/ 66 w 188"/>
                <a:gd name="T5" fmla="*/ 2 h 118"/>
                <a:gd name="T6" fmla="*/ 66 w 188"/>
                <a:gd name="T7" fmla="*/ 2 h 118"/>
                <a:gd name="T8" fmla="*/ 48 w 188"/>
                <a:gd name="T9" fmla="*/ 2 h 118"/>
                <a:gd name="T10" fmla="*/ 48 w 188"/>
                <a:gd name="T11" fmla="*/ 2 h 118"/>
                <a:gd name="T12" fmla="*/ 20 w 188"/>
                <a:gd name="T13" fmla="*/ 12 h 118"/>
                <a:gd name="T14" fmla="*/ 0 w 188"/>
                <a:gd name="T15" fmla="*/ 22 h 118"/>
                <a:gd name="T16" fmla="*/ 0 w 188"/>
                <a:gd name="T17" fmla="*/ 22 h 118"/>
                <a:gd name="T18" fmla="*/ 4 w 188"/>
                <a:gd name="T19" fmla="*/ 30 h 118"/>
                <a:gd name="T20" fmla="*/ 4 w 188"/>
                <a:gd name="T21" fmla="*/ 30 h 118"/>
                <a:gd name="T22" fmla="*/ 14 w 188"/>
                <a:gd name="T23" fmla="*/ 46 h 118"/>
                <a:gd name="T24" fmla="*/ 28 w 188"/>
                <a:gd name="T25" fmla="*/ 66 h 118"/>
                <a:gd name="T26" fmla="*/ 28 w 188"/>
                <a:gd name="T27" fmla="*/ 66 h 118"/>
                <a:gd name="T28" fmla="*/ 38 w 188"/>
                <a:gd name="T29" fmla="*/ 80 h 118"/>
                <a:gd name="T30" fmla="*/ 50 w 188"/>
                <a:gd name="T31" fmla="*/ 94 h 118"/>
                <a:gd name="T32" fmla="*/ 64 w 188"/>
                <a:gd name="T33" fmla="*/ 106 h 118"/>
                <a:gd name="T34" fmla="*/ 80 w 188"/>
                <a:gd name="T35" fmla="*/ 118 h 118"/>
                <a:gd name="T36" fmla="*/ 80 w 188"/>
                <a:gd name="T37" fmla="*/ 118 h 118"/>
                <a:gd name="T38" fmla="*/ 90 w 188"/>
                <a:gd name="T39" fmla="*/ 88 h 118"/>
                <a:gd name="T40" fmla="*/ 94 w 188"/>
                <a:gd name="T41" fmla="*/ 76 h 118"/>
                <a:gd name="T42" fmla="*/ 96 w 188"/>
                <a:gd name="T43" fmla="*/ 70 h 118"/>
                <a:gd name="T44" fmla="*/ 104 w 188"/>
                <a:gd name="T45" fmla="*/ 72 h 118"/>
                <a:gd name="T46" fmla="*/ 104 w 188"/>
                <a:gd name="T47" fmla="*/ 72 h 118"/>
                <a:gd name="T48" fmla="*/ 118 w 188"/>
                <a:gd name="T49" fmla="*/ 76 h 118"/>
                <a:gd name="T50" fmla="*/ 136 w 188"/>
                <a:gd name="T51" fmla="*/ 84 h 118"/>
                <a:gd name="T52" fmla="*/ 156 w 188"/>
                <a:gd name="T53" fmla="*/ 94 h 118"/>
                <a:gd name="T54" fmla="*/ 156 w 188"/>
                <a:gd name="T55" fmla="*/ 94 h 118"/>
                <a:gd name="T56" fmla="*/ 174 w 188"/>
                <a:gd name="T57" fmla="*/ 78 h 118"/>
                <a:gd name="T58" fmla="*/ 188 w 188"/>
                <a:gd name="T59" fmla="*/ 68 h 118"/>
                <a:gd name="T60" fmla="*/ 188 w 188"/>
                <a:gd name="T61" fmla="*/ 68 h 118"/>
                <a:gd name="T62" fmla="*/ 180 w 188"/>
                <a:gd name="T63" fmla="*/ 60 h 118"/>
                <a:gd name="T64" fmla="*/ 180 w 188"/>
                <a:gd name="T65" fmla="*/ 60 h 118"/>
                <a:gd name="T66" fmla="*/ 166 w 188"/>
                <a:gd name="T67" fmla="*/ 46 h 118"/>
                <a:gd name="T68" fmla="*/ 148 w 188"/>
                <a:gd name="T69" fmla="*/ 32 h 118"/>
                <a:gd name="T70" fmla="*/ 148 w 188"/>
                <a:gd name="T71" fmla="*/ 32 h 118"/>
                <a:gd name="T72" fmla="*/ 122 w 188"/>
                <a:gd name="T73" fmla="*/ 16 h 118"/>
                <a:gd name="T74" fmla="*/ 110 w 188"/>
                <a:gd name="T75" fmla="*/ 8 h 118"/>
                <a:gd name="T76" fmla="*/ 94 w 188"/>
                <a:gd name="T77"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88" h="118">
                  <a:moveTo>
                    <a:pt x="94" y="0"/>
                  </a:moveTo>
                  <a:lnTo>
                    <a:pt x="94" y="0"/>
                  </a:lnTo>
                  <a:lnTo>
                    <a:pt x="66" y="2"/>
                  </a:lnTo>
                  <a:lnTo>
                    <a:pt x="66" y="2"/>
                  </a:lnTo>
                  <a:lnTo>
                    <a:pt x="48" y="2"/>
                  </a:lnTo>
                  <a:lnTo>
                    <a:pt x="48" y="2"/>
                  </a:lnTo>
                  <a:lnTo>
                    <a:pt x="20" y="12"/>
                  </a:lnTo>
                  <a:lnTo>
                    <a:pt x="0" y="22"/>
                  </a:lnTo>
                  <a:lnTo>
                    <a:pt x="0" y="22"/>
                  </a:lnTo>
                  <a:lnTo>
                    <a:pt x="4" y="30"/>
                  </a:lnTo>
                  <a:lnTo>
                    <a:pt x="4" y="30"/>
                  </a:lnTo>
                  <a:lnTo>
                    <a:pt x="14" y="46"/>
                  </a:lnTo>
                  <a:lnTo>
                    <a:pt x="28" y="66"/>
                  </a:lnTo>
                  <a:lnTo>
                    <a:pt x="28" y="66"/>
                  </a:lnTo>
                  <a:lnTo>
                    <a:pt x="38" y="80"/>
                  </a:lnTo>
                  <a:lnTo>
                    <a:pt x="50" y="94"/>
                  </a:lnTo>
                  <a:lnTo>
                    <a:pt x="64" y="106"/>
                  </a:lnTo>
                  <a:lnTo>
                    <a:pt x="80" y="118"/>
                  </a:lnTo>
                  <a:lnTo>
                    <a:pt x="80" y="118"/>
                  </a:lnTo>
                  <a:lnTo>
                    <a:pt x="90" y="88"/>
                  </a:lnTo>
                  <a:lnTo>
                    <a:pt x="94" y="76"/>
                  </a:lnTo>
                  <a:lnTo>
                    <a:pt x="96" y="70"/>
                  </a:lnTo>
                  <a:lnTo>
                    <a:pt x="104" y="72"/>
                  </a:lnTo>
                  <a:lnTo>
                    <a:pt x="104" y="72"/>
                  </a:lnTo>
                  <a:lnTo>
                    <a:pt x="118" y="76"/>
                  </a:lnTo>
                  <a:lnTo>
                    <a:pt x="136" y="84"/>
                  </a:lnTo>
                  <a:lnTo>
                    <a:pt x="156" y="94"/>
                  </a:lnTo>
                  <a:lnTo>
                    <a:pt x="156" y="94"/>
                  </a:lnTo>
                  <a:lnTo>
                    <a:pt x="174" y="78"/>
                  </a:lnTo>
                  <a:lnTo>
                    <a:pt x="188" y="68"/>
                  </a:lnTo>
                  <a:lnTo>
                    <a:pt x="188" y="68"/>
                  </a:lnTo>
                  <a:lnTo>
                    <a:pt x="180" y="60"/>
                  </a:lnTo>
                  <a:lnTo>
                    <a:pt x="180" y="60"/>
                  </a:lnTo>
                  <a:lnTo>
                    <a:pt x="166" y="46"/>
                  </a:lnTo>
                  <a:lnTo>
                    <a:pt x="148" y="32"/>
                  </a:lnTo>
                  <a:lnTo>
                    <a:pt x="148" y="32"/>
                  </a:lnTo>
                  <a:lnTo>
                    <a:pt x="122" y="16"/>
                  </a:lnTo>
                  <a:lnTo>
                    <a:pt x="110" y="8"/>
                  </a:lnTo>
                  <a:lnTo>
                    <a:pt x="9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62" name="Freeform 2107">
              <a:extLst>
                <a:ext uri="{FF2B5EF4-FFF2-40B4-BE49-F238E27FC236}">
                  <a16:creationId xmlns:a16="http://schemas.microsoft.com/office/drawing/2014/main" id="{DD2A29F8-0A89-46B0-9EE7-C69F36B63EBE}"/>
                </a:ext>
              </a:extLst>
            </p:cNvPr>
            <p:cNvSpPr>
              <a:spLocks/>
            </p:cNvSpPr>
            <p:nvPr/>
          </p:nvSpPr>
          <p:spPr bwMode="auto">
            <a:xfrm>
              <a:off x="8843073" y="3879797"/>
              <a:ext cx="207255" cy="196535"/>
            </a:xfrm>
            <a:custGeom>
              <a:avLst/>
              <a:gdLst>
                <a:gd name="T0" fmla="*/ 18 w 116"/>
                <a:gd name="T1" fmla="*/ 0 h 110"/>
                <a:gd name="T2" fmla="*/ 18 w 116"/>
                <a:gd name="T3" fmla="*/ 0 h 110"/>
                <a:gd name="T4" fmla="*/ 16 w 116"/>
                <a:gd name="T5" fmla="*/ 0 h 110"/>
                <a:gd name="T6" fmla="*/ 16 w 116"/>
                <a:gd name="T7" fmla="*/ 0 h 110"/>
                <a:gd name="T8" fmla="*/ 16 w 116"/>
                <a:gd name="T9" fmla="*/ 0 h 110"/>
                <a:gd name="T10" fmla="*/ 16 w 116"/>
                <a:gd name="T11" fmla="*/ 6 h 110"/>
                <a:gd name="T12" fmla="*/ 8 w 116"/>
                <a:gd name="T13" fmla="*/ 8 h 110"/>
                <a:gd name="T14" fmla="*/ 8 w 116"/>
                <a:gd name="T15" fmla="*/ 8 h 110"/>
                <a:gd name="T16" fmla="*/ 0 w 116"/>
                <a:gd name="T17" fmla="*/ 8 h 110"/>
                <a:gd name="T18" fmla="*/ 0 w 116"/>
                <a:gd name="T19" fmla="*/ 8 h 110"/>
                <a:gd name="T20" fmla="*/ 16 w 116"/>
                <a:gd name="T21" fmla="*/ 16 h 110"/>
                <a:gd name="T22" fmla="*/ 28 w 116"/>
                <a:gd name="T23" fmla="*/ 24 h 110"/>
                <a:gd name="T24" fmla="*/ 54 w 116"/>
                <a:gd name="T25" fmla="*/ 40 h 110"/>
                <a:gd name="T26" fmla="*/ 54 w 116"/>
                <a:gd name="T27" fmla="*/ 40 h 110"/>
                <a:gd name="T28" fmla="*/ 72 w 116"/>
                <a:gd name="T29" fmla="*/ 54 h 110"/>
                <a:gd name="T30" fmla="*/ 86 w 116"/>
                <a:gd name="T31" fmla="*/ 68 h 110"/>
                <a:gd name="T32" fmla="*/ 86 w 116"/>
                <a:gd name="T33" fmla="*/ 68 h 110"/>
                <a:gd name="T34" fmla="*/ 94 w 116"/>
                <a:gd name="T35" fmla="*/ 76 h 110"/>
                <a:gd name="T36" fmla="*/ 94 w 116"/>
                <a:gd name="T37" fmla="*/ 76 h 110"/>
                <a:gd name="T38" fmla="*/ 80 w 116"/>
                <a:gd name="T39" fmla="*/ 86 h 110"/>
                <a:gd name="T40" fmla="*/ 62 w 116"/>
                <a:gd name="T41" fmla="*/ 102 h 110"/>
                <a:gd name="T42" fmla="*/ 62 w 116"/>
                <a:gd name="T43" fmla="*/ 102 h 110"/>
                <a:gd name="T44" fmla="*/ 68 w 116"/>
                <a:gd name="T45" fmla="*/ 106 h 110"/>
                <a:gd name="T46" fmla="*/ 68 w 116"/>
                <a:gd name="T47" fmla="*/ 106 h 110"/>
                <a:gd name="T48" fmla="*/ 76 w 116"/>
                <a:gd name="T49" fmla="*/ 110 h 110"/>
                <a:gd name="T50" fmla="*/ 76 w 116"/>
                <a:gd name="T51" fmla="*/ 110 h 110"/>
                <a:gd name="T52" fmla="*/ 102 w 116"/>
                <a:gd name="T53" fmla="*/ 90 h 110"/>
                <a:gd name="T54" fmla="*/ 110 w 116"/>
                <a:gd name="T55" fmla="*/ 82 h 110"/>
                <a:gd name="T56" fmla="*/ 116 w 116"/>
                <a:gd name="T57" fmla="*/ 76 h 110"/>
                <a:gd name="T58" fmla="*/ 112 w 116"/>
                <a:gd name="T59" fmla="*/ 70 h 110"/>
                <a:gd name="T60" fmla="*/ 112 w 116"/>
                <a:gd name="T61" fmla="*/ 70 h 110"/>
                <a:gd name="T62" fmla="*/ 98 w 116"/>
                <a:gd name="T63" fmla="*/ 56 h 110"/>
                <a:gd name="T64" fmla="*/ 84 w 116"/>
                <a:gd name="T65" fmla="*/ 42 h 110"/>
                <a:gd name="T66" fmla="*/ 64 w 116"/>
                <a:gd name="T67" fmla="*/ 26 h 110"/>
                <a:gd name="T68" fmla="*/ 64 w 116"/>
                <a:gd name="T69" fmla="*/ 26 h 110"/>
                <a:gd name="T70" fmla="*/ 42 w 116"/>
                <a:gd name="T71" fmla="*/ 12 h 110"/>
                <a:gd name="T72" fmla="*/ 18 w 116"/>
                <a:gd name="T73"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16" h="110">
                  <a:moveTo>
                    <a:pt x="18" y="0"/>
                  </a:moveTo>
                  <a:lnTo>
                    <a:pt x="18" y="0"/>
                  </a:lnTo>
                  <a:lnTo>
                    <a:pt x="16" y="0"/>
                  </a:lnTo>
                  <a:lnTo>
                    <a:pt x="16" y="0"/>
                  </a:lnTo>
                  <a:lnTo>
                    <a:pt x="16" y="0"/>
                  </a:lnTo>
                  <a:lnTo>
                    <a:pt x="16" y="6"/>
                  </a:lnTo>
                  <a:lnTo>
                    <a:pt x="8" y="8"/>
                  </a:lnTo>
                  <a:lnTo>
                    <a:pt x="8" y="8"/>
                  </a:lnTo>
                  <a:lnTo>
                    <a:pt x="0" y="8"/>
                  </a:lnTo>
                  <a:lnTo>
                    <a:pt x="0" y="8"/>
                  </a:lnTo>
                  <a:lnTo>
                    <a:pt x="16" y="16"/>
                  </a:lnTo>
                  <a:lnTo>
                    <a:pt x="28" y="24"/>
                  </a:lnTo>
                  <a:lnTo>
                    <a:pt x="54" y="40"/>
                  </a:lnTo>
                  <a:lnTo>
                    <a:pt x="54" y="40"/>
                  </a:lnTo>
                  <a:lnTo>
                    <a:pt x="72" y="54"/>
                  </a:lnTo>
                  <a:lnTo>
                    <a:pt x="86" y="68"/>
                  </a:lnTo>
                  <a:lnTo>
                    <a:pt x="86" y="68"/>
                  </a:lnTo>
                  <a:lnTo>
                    <a:pt x="94" y="76"/>
                  </a:lnTo>
                  <a:lnTo>
                    <a:pt x="94" y="76"/>
                  </a:lnTo>
                  <a:lnTo>
                    <a:pt x="80" y="86"/>
                  </a:lnTo>
                  <a:lnTo>
                    <a:pt x="62" y="102"/>
                  </a:lnTo>
                  <a:lnTo>
                    <a:pt x="62" y="102"/>
                  </a:lnTo>
                  <a:lnTo>
                    <a:pt x="68" y="106"/>
                  </a:lnTo>
                  <a:lnTo>
                    <a:pt x="68" y="106"/>
                  </a:lnTo>
                  <a:lnTo>
                    <a:pt x="76" y="110"/>
                  </a:lnTo>
                  <a:lnTo>
                    <a:pt x="76" y="110"/>
                  </a:lnTo>
                  <a:lnTo>
                    <a:pt x="102" y="90"/>
                  </a:lnTo>
                  <a:lnTo>
                    <a:pt x="110" y="82"/>
                  </a:lnTo>
                  <a:lnTo>
                    <a:pt x="116" y="76"/>
                  </a:lnTo>
                  <a:lnTo>
                    <a:pt x="112" y="70"/>
                  </a:lnTo>
                  <a:lnTo>
                    <a:pt x="112" y="70"/>
                  </a:lnTo>
                  <a:lnTo>
                    <a:pt x="98" y="56"/>
                  </a:lnTo>
                  <a:lnTo>
                    <a:pt x="84" y="42"/>
                  </a:lnTo>
                  <a:lnTo>
                    <a:pt x="64" y="26"/>
                  </a:lnTo>
                  <a:lnTo>
                    <a:pt x="64" y="26"/>
                  </a:lnTo>
                  <a:lnTo>
                    <a:pt x="42" y="12"/>
                  </a:lnTo>
                  <a:lnTo>
                    <a:pt x="18" y="0"/>
                  </a:lnTo>
                  <a:close/>
                </a:path>
              </a:pathLst>
            </a:custGeom>
            <a:solidFill>
              <a:srgbClr val="64091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63" name="Freeform 2108">
              <a:extLst>
                <a:ext uri="{FF2B5EF4-FFF2-40B4-BE49-F238E27FC236}">
                  <a16:creationId xmlns:a16="http://schemas.microsoft.com/office/drawing/2014/main" id="{41D8B939-8857-46E5-8A0A-1C80A0C57C23}"/>
                </a:ext>
              </a:extLst>
            </p:cNvPr>
            <p:cNvSpPr>
              <a:spLocks/>
            </p:cNvSpPr>
            <p:nvPr/>
          </p:nvSpPr>
          <p:spPr bwMode="auto">
            <a:xfrm>
              <a:off x="8843073" y="3879797"/>
              <a:ext cx="207255" cy="196535"/>
            </a:xfrm>
            <a:custGeom>
              <a:avLst/>
              <a:gdLst>
                <a:gd name="T0" fmla="*/ 18 w 116"/>
                <a:gd name="T1" fmla="*/ 0 h 110"/>
                <a:gd name="T2" fmla="*/ 18 w 116"/>
                <a:gd name="T3" fmla="*/ 0 h 110"/>
                <a:gd name="T4" fmla="*/ 16 w 116"/>
                <a:gd name="T5" fmla="*/ 0 h 110"/>
                <a:gd name="T6" fmla="*/ 16 w 116"/>
                <a:gd name="T7" fmla="*/ 0 h 110"/>
                <a:gd name="T8" fmla="*/ 16 w 116"/>
                <a:gd name="T9" fmla="*/ 0 h 110"/>
                <a:gd name="T10" fmla="*/ 16 w 116"/>
                <a:gd name="T11" fmla="*/ 6 h 110"/>
                <a:gd name="T12" fmla="*/ 8 w 116"/>
                <a:gd name="T13" fmla="*/ 8 h 110"/>
                <a:gd name="T14" fmla="*/ 8 w 116"/>
                <a:gd name="T15" fmla="*/ 8 h 110"/>
                <a:gd name="T16" fmla="*/ 0 w 116"/>
                <a:gd name="T17" fmla="*/ 8 h 110"/>
                <a:gd name="T18" fmla="*/ 0 w 116"/>
                <a:gd name="T19" fmla="*/ 8 h 110"/>
                <a:gd name="T20" fmla="*/ 16 w 116"/>
                <a:gd name="T21" fmla="*/ 16 h 110"/>
                <a:gd name="T22" fmla="*/ 28 w 116"/>
                <a:gd name="T23" fmla="*/ 24 h 110"/>
                <a:gd name="T24" fmla="*/ 54 w 116"/>
                <a:gd name="T25" fmla="*/ 40 h 110"/>
                <a:gd name="T26" fmla="*/ 54 w 116"/>
                <a:gd name="T27" fmla="*/ 40 h 110"/>
                <a:gd name="T28" fmla="*/ 72 w 116"/>
                <a:gd name="T29" fmla="*/ 54 h 110"/>
                <a:gd name="T30" fmla="*/ 86 w 116"/>
                <a:gd name="T31" fmla="*/ 68 h 110"/>
                <a:gd name="T32" fmla="*/ 86 w 116"/>
                <a:gd name="T33" fmla="*/ 68 h 110"/>
                <a:gd name="T34" fmla="*/ 94 w 116"/>
                <a:gd name="T35" fmla="*/ 76 h 110"/>
                <a:gd name="T36" fmla="*/ 94 w 116"/>
                <a:gd name="T37" fmla="*/ 76 h 110"/>
                <a:gd name="T38" fmla="*/ 80 w 116"/>
                <a:gd name="T39" fmla="*/ 86 h 110"/>
                <a:gd name="T40" fmla="*/ 62 w 116"/>
                <a:gd name="T41" fmla="*/ 102 h 110"/>
                <a:gd name="T42" fmla="*/ 62 w 116"/>
                <a:gd name="T43" fmla="*/ 102 h 110"/>
                <a:gd name="T44" fmla="*/ 68 w 116"/>
                <a:gd name="T45" fmla="*/ 106 h 110"/>
                <a:gd name="T46" fmla="*/ 68 w 116"/>
                <a:gd name="T47" fmla="*/ 106 h 110"/>
                <a:gd name="T48" fmla="*/ 76 w 116"/>
                <a:gd name="T49" fmla="*/ 110 h 110"/>
                <a:gd name="T50" fmla="*/ 76 w 116"/>
                <a:gd name="T51" fmla="*/ 110 h 110"/>
                <a:gd name="T52" fmla="*/ 102 w 116"/>
                <a:gd name="T53" fmla="*/ 90 h 110"/>
                <a:gd name="T54" fmla="*/ 110 w 116"/>
                <a:gd name="T55" fmla="*/ 82 h 110"/>
                <a:gd name="T56" fmla="*/ 116 w 116"/>
                <a:gd name="T57" fmla="*/ 76 h 110"/>
                <a:gd name="T58" fmla="*/ 112 w 116"/>
                <a:gd name="T59" fmla="*/ 70 h 110"/>
                <a:gd name="T60" fmla="*/ 112 w 116"/>
                <a:gd name="T61" fmla="*/ 70 h 110"/>
                <a:gd name="T62" fmla="*/ 98 w 116"/>
                <a:gd name="T63" fmla="*/ 56 h 110"/>
                <a:gd name="T64" fmla="*/ 84 w 116"/>
                <a:gd name="T65" fmla="*/ 42 h 110"/>
                <a:gd name="T66" fmla="*/ 64 w 116"/>
                <a:gd name="T67" fmla="*/ 26 h 110"/>
                <a:gd name="T68" fmla="*/ 64 w 116"/>
                <a:gd name="T69" fmla="*/ 26 h 110"/>
                <a:gd name="T70" fmla="*/ 42 w 116"/>
                <a:gd name="T71" fmla="*/ 12 h 110"/>
                <a:gd name="T72" fmla="*/ 18 w 116"/>
                <a:gd name="T73"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16" h="110">
                  <a:moveTo>
                    <a:pt x="18" y="0"/>
                  </a:moveTo>
                  <a:lnTo>
                    <a:pt x="18" y="0"/>
                  </a:lnTo>
                  <a:lnTo>
                    <a:pt x="16" y="0"/>
                  </a:lnTo>
                  <a:lnTo>
                    <a:pt x="16" y="0"/>
                  </a:lnTo>
                  <a:lnTo>
                    <a:pt x="16" y="0"/>
                  </a:lnTo>
                  <a:lnTo>
                    <a:pt x="16" y="6"/>
                  </a:lnTo>
                  <a:lnTo>
                    <a:pt x="8" y="8"/>
                  </a:lnTo>
                  <a:lnTo>
                    <a:pt x="8" y="8"/>
                  </a:lnTo>
                  <a:lnTo>
                    <a:pt x="0" y="8"/>
                  </a:lnTo>
                  <a:lnTo>
                    <a:pt x="0" y="8"/>
                  </a:lnTo>
                  <a:lnTo>
                    <a:pt x="16" y="16"/>
                  </a:lnTo>
                  <a:lnTo>
                    <a:pt x="28" y="24"/>
                  </a:lnTo>
                  <a:lnTo>
                    <a:pt x="54" y="40"/>
                  </a:lnTo>
                  <a:lnTo>
                    <a:pt x="54" y="40"/>
                  </a:lnTo>
                  <a:lnTo>
                    <a:pt x="72" y="54"/>
                  </a:lnTo>
                  <a:lnTo>
                    <a:pt x="86" y="68"/>
                  </a:lnTo>
                  <a:lnTo>
                    <a:pt x="86" y="68"/>
                  </a:lnTo>
                  <a:lnTo>
                    <a:pt x="94" y="76"/>
                  </a:lnTo>
                  <a:lnTo>
                    <a:pt x="94" y="76"/>
                  </a:lnTo>
                  <a:lnTo>
                    <a:pt x="80" y="86"/>
                  </a:lnTo>
                  <a:lnTo>
                    <a:pt x="62" y="102"/>
                  </a:lnTo>
                  <a:lnTo>
                    <a:pt x="62" y="102"/>
                  </a:lnTo>
                  <a:lnTo>
                    <a:pt x="68" y="106"/>
                  </a:lnTo>
                  <a:lnTo>
                    <a:pt x="68" y="106"/>
                  </a:lnTo>
                  <a:lnTo>
                    <a:pt x="76" y="110"/>
                  </a:lnTo>
                  <a:lnTo>
                    <a:pt x="76" y="110"/>
                  </a:lnTo>
                  <a:lnTo>
                    <a:pt x="102" y="90"/>
                  </a:lnTo>
                  <a:lnTo>
                    <a:pt x="110" y="82"/>
                  </a:lnTo>
                  <a:lnTo>
                    <a:pt x="116" y="76"/>
                  </a:lnTo>
                  <a:lnTo>
                    <a:pt x="112" y="70"/>
                  </a:lnTo>
                  <a:lnTo>
                    <a:pt x="112" y="70"/>
                  </a:lnTo>
                  <a:lnTo>
                    <a:pt x="98" y="56"/>
                  </a:lnTo>
                  <a:lnTo>
                    <a:pt x="84" y="42"/>
                  </a:lnTo>
                  <a:lnTo>
                    <a:pt x="64" y="26"/>
                  </a:lnTo>
                  <a:lnTo>
                    <a:pt x="64" y="26"/>
                  </a:lnTo>
                  <a:lnTo>
                    <a:pt x="42" y="12"/>
                  </a:lnTo>
                  <a:lnTo>
                    <a:pt x="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64" name="Freeform 2109">
              <a:extLst>
                <a:ext uri="{FF2B5EF4-FFF2-40B4-BE49-F238E27FC236}">
                  <a16:creationId xmlns:a16="http://schemas.microsoft.com/office/drawing/2014/main" id="{806ADF7A-C4C2-46FE-993C-D54C6118B461}"/>
                </a:ext>
              </a:extLst>
            </p:cNvPr>
            <p:cNvSpPr>
              <a:spLocks/>
            </p:cNvSpPr>
            <p:nvPr/>
          </p:nvSpPr>
          <p:spPr bwMode="auto">
            <a:xfrm>
              <a:off x="9150382" y="4040599"/>
              <a:ext cx="10720" cy="14293"/>
            </a:xfrm>
            <a:custGeom>
              <a:avLst/>
              <a:gdLst>
                <a:gd name="T0" fmla="*/ 0 w 6"/>
                <a:gd name="T1" fmla="*/ 0 h 8"/>
                <a:gd name="T2" fmla="*/ 0 w 6"/>
                <a:gd name="T3" fmla="*/ 6 h 8"/>
                <a:gd name="T4" fmla="*/ 0 w 6"/>
                <a:gd name="T5" fmla="*/ 6 h 8"/>
                <a:gd name="T6" fmla="*/ 6 w 6"/>
                <a:gd name="T7" fmla="*/ 8 h 8"/>
                <a:gd name="T8" fmla="*/ 6 w 6"/>
                <a:gd name="T9" fmla="*/ 8 h 8"/>
                <a:gd name="T10" fmla="*/ 0 w 6"/>
                <a:gd name="T11" fmla="*/ 0 h 8"/>
              </a:gdLst>
              <a:ahLst/>
              <a:cxnLst>
                <a:cxn ang="0">
                  <a:pos x="T0" y="T1"/>
                </a:cxn>
                <a:cxn ang="0">
                  <a:pos x="T2" y="T3"/>
                </a:cxn>
                <a:cxn ang="0">
                  <a:pos x="T4" y="T5"/>
                </a:cxn>
                <a:cxn ang="0">
                  <a:pos x="T6" y="T7"/>
                </a:cxn>
                <a:cxn ang="0">
                  <a:pos x="T8" y="T9"/>
                </a:cxn>
                <a:cxn ang="0">
                  <a:pos x="T10" y="T11"/>
                </a:cxn>
              </a:cxnLst>
              <a:rect l="0" t="0" r="r" b="b"/>
              <a:pathLst>
                <a:path w="6" h="8">
                  <a:moveTo>
                    <a:pt x="0" y="0"/>
                  </a:moveTo>
                  <a:lnTo>
                    <a:pt x="0" y="6"/>
                  </a:lnTo>
                  <a:lnTo>
                    <a:pt x="0" y="6"/>
                  </a:lnTo>
                  <a:lnTo>
                    <a:pt x="6" y="8"/>
                  </a:lnTo>
                  <a:lnTo>
                    <a:pt x="6" y="8"/>
                  </a:lnTo>
                  <a:lnTo>
                    <a:pt x="0" y="0"/>
                  </a:lnTo>
                  <a:close/>
                </a:path>
              </a:pathLst>
            </a:custGeom>
            <a:solidFill>
              <a:srgbClr val="64091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65" name="Freeform 2110">
              <a:extLst>
                <a:ext uri="{FF2B5EF4-FFF2-40B4-BE49-F238E27FC236}">
                  <a16:creationId xmlns:a16="http://schemas.microsoft.com/office/drawing/2014/main" id="{148B52EB-4E6F-44CD-9382-36C631109852}"/>
                </a:ext>
              </a:extLst>
            </p:cNvPr>
            <p:cNvSpPr>
              <a:spLocks/>
            </p:cNvSpPr>
            <p:nvPr/>
          </p:nvSpPr>
          <p:spPr bwMode="auto">
            <a:xfrm>
              <a:off x="9150382" y="4040599"/>
              <a:ext cx="10720" cy="14293"/>
            </a:xfrm>
            <a:custGeom>
              <a:avLst/>
              <a:gdLst>
                <a:gd name="T0" fmla="*/ 0 w 6"/>
                <a:gd name="T1" fmla="*/ 0 h 8"/>
                <a:gd name="T2" fmla="*/ 0 w 6"/>
                <a:gd name="T3" fmla="*/ 6 h 8"/>
                <a:gd name="T4" fmla="*/ 0 w 6"/>
                <a:gd name="T5" fmla="*/ 6 h 8"/>
                <a:gd name="T6" fmla="*/ 6 w 6"/>
                <a:gd name="T7" fmla="*/ 8 h 8"/>
                <a:gd name="T8" fmla="*/ 6 w 6"/>
                <a:gd name="T9" fmla="*/ 8 h 8"/>
                <a:gd name="T10" fmla="*/ 0 w 6"/>
                <a:gd name="T11" fmla="*/ 0 h 8"/>
              </a:gdLst>
              <a:ahLst/>
              <a:cxnLst>
                <a:cxn ang="0">
                  <a:pos x="T0" y="T1"/>
                </a:cxn>
                <a:cxn ang="0">
                  <a:pos x="T2" y="T3"/>
                </a:cxn>
                <a:cxn ang="0">
                  <a:pos x="T4" y="T5"/>
                </a:cxn>
                <a:cxn ang="0">
                  <a:pos x="T6" y="T7"/>
                </a:cxn>
                <a:cxn ang="0">
                  <a:pos x="T8" y="T9"/>
                </a:cxn>
                <a:cxn ang="0">
                  <a:pos x="T10" y="T11"/>
                </a:cxn>
              </a:cxnLst>
              <a:rect l="0" t="0" r="r" b="b"/>
              <a:pathLst>
                <a:path w="6" h="8">
                  <a:moveTo>
                    <a:pt x="0" y="0"/>
                  </a:moveTo>
                  <a:lnTo>
                    <a:pt x="0" y="6"/>
                  </a:lnTo>
                  <a:lnTo>
                    <a:pt x="0" y="6"/>
                  </a:lnTo>
                  <a:lnTo>
                    <a:pt x="6" y="8"/>
                  </a:lnTo>
                  <a:lnTo>
                    <a:pt x="6" y="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66" name="Freeform 2112">
              <a:extLst>
                <a:ext uri="{FF2B5EF4-FFF2-40B4-BE49-F238E27FC236}">
                  <a16:creationId xmlns:a16="http://schemas.microsoft.com/office/drawing/2014/main" id="{F99790B8-E540-4994-947D-F03A9FF695CD}"/>
                </a:ext>
              </a:extLst>
            </p:cNvPr>
            <p:cNvSpPr>
              <a:spLocks/>
            </p:cNvSpPr>
            <p:nvPr/>
          </p:nvSpPr>
          <p:spPr bwMode="auto">
            <a:xfrm>
              <a:off x="8843073" y="4051319"/>
              <a:ext cx="142935" cy="96481"/>
            </a:xfrm>
            <a:custGeom>
              <a:avLst/>
              <a:gdLst>
                <a:gd name="T0" fmla="*/ 12 w 80"/>
                <a:gd name="T1" fmla="*/ 0 h 54"/>
                <a:gd name="T2" fmla="*/ 12 w 80"/>
                <a:gd name="T3" fmla="*/ 0 h 54"/>
                <a:gd name="T4" fmla="*/ 12 w 80"/>
                <a:gd name="T5" fmla="*/ 2 h 54"/>
                <a:gd name="T6" fmla="*/ 12 w 80"/>
                <a:gd name="T7" fmla="*/ 2 h 54"/>
                <a:gd name="T8" fmla="*/ 4 w 80"/>
                <a:gd name="T9" fmla="*/ 26 h 54"/>
                <a:gd name="T10" fmla="*/ 4 w 80"/>
                <a:gd name="T11" fmla="*/ 26 h 54"/>
                <a:gd name="T12" fmla="*/ 0 w 80"/>
                <a:gd name="T13" fmla="*/ 40 h 54"/>
                <a:gd name="T14" fmla="*/ 0 w 80"/>
                <a:gd name="T15" fmla="*/ 40 h 54"/>
                <a:gd name="T16" fmla="*/ 12 w 80"/>
                <a:gd name="T17" fmla="*/ 46 h 54"/>
                <a:gd name="T18" fmla="*/ 26 w 80"/>
                <a:gd name="T19" fmla="*/ 52 h 54"/>
                <a:gd name="T20" fmla="*/ 26 w 80"/>
                <a:gd name="T21" fmla="*/ 52 h 54"/>
                <a:gd name="T22" fmla="*/ 38 w 80"/>
                <a:gd name="T23" fmla="*/ 54 h 54"/>
                <a:gd name="T24" fmla="*/ 38 w 80"/>
                <a:gd name="T25" fmla="*/ 54 h 54"/>
                <a:gd name="T26" fmla="*/ 38 w 80"/>
                <a:gd name="T27" fmla="*/ 54 h 54"/>
                <a:gd name="T28" fmla="*/ 38 w 80"/>
                <a:gd name="T29" fmla="*/ 54 h 54"/>
                <a:gd name="T30" fmla="*/ 48 w 80"/>
                <a:gd name="T31" fmla="*/ 52 h 54"/>
                <a:gd name="T32" fmla="*/ 56 w 80"/>
                <a:gd name="T33" fmla="*/ 50 h 54"/>
                <a:gd name="T34" fmla="*/ 74 w 80"/>
                <a:gd name="T35" fmla="*/ 40 h 54"/>
                <a:gd name="T36" fmla="*/ 74 w 80"/>
                <a:gd name="T37" fmla="*/ 40 h 54"/>
                <a:gd name="T38" fmla="*/ 80 w 80"/>
                <a:gd name="T39" fmla="*/ 36 h 54"/>
                <a:gd name="T40" fmla="*/ 80 w 80"/>
                <a:gd name="T41" fmla="*/ 36 h 54"/>
                <a:gd name="T42" fmla="*/ 64 w 80"/>
                <a:gd name="T43" fmla="*/ 26 h 54"/>
                <a:gd name="T44" fmla="*/ 64 w 80"/>
                <a:gd name="T45" fmla="*/ 26 h 54"/>
                <a:gd name="T46" fmla="*/ 34 w 80"/>
                <a:gd name="T47" fmla="*/ 10 h 54"/>
                <a:gd name="T48" fmla="*/ 12 w 80"/>
                <a:gd name="T49"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0" h="54">
                  <a:moveTo>
                    <a:pt x="12" y="0"/>
                  </a:moveTo>
                  <a:lnTo>
                    <a:pt x="12" y="0"/>
                  </a:lnTo>
                  <a:lnTo>
                    <a:pt x="12" y="2"/>
                  </a:lnTo>
                  <a:lnTo>
                    <a:pt x="12" y="2"/>
                  </a:lnTo>
                  <a:lnTo>
                    <a:pt x="4" y="26"/>
                  </a:lnTo>
                  <a:lnTo>
                    <a:pt x="4" y="26"/>
                  </a:lnTo>
                  <a:lnTo>
                    <a:pt x="0" y="40"/>
                  </a:lnTo>
                  <a:lnTo>
                    <a:pt x="0" y="40"/>
                  </a:lnTo>
                  <a:lnTo>
                    <a:pt x="12" y="46"/>
                  </a:lnTo>
                  <a:lnTo>
                    <a:pt x="26" y="52"/>
                  </a:lnTo>
                  <a:lnTo>
                    <a:pt x="26" y="52"/>
                  </a:lnTo>
                  <a:lnTo>
                    <a:pt x="38" y="54"/>
                  </a:lnTo>
                  <a:lnTo>
                    <a:pt x="38" y="54"/>
                  </a:lnTo>
                  <a:lnTo>
                    <a:pt x="38" y="54"/>
                  </a:lnTo>
                  <a:lnTo>
                    <a:pt x="38" y="54"/>
                  </a:lnTo>
                  <a:lnTo>
                    <a:pt x="48" y="52"/>
                  </a:lnTo>
                  <a:lnTo>
                    <a:pt x="56" y="50"/>
                  </a:lnTo>
                  <a:lnTo>
                    <a:pt x="74" y="40"/>
                  </a:lnTo>
                  <a:lnTo>
                    <a:pt x="74" y="40"/>
                  </a:lnTo>
                  <a:lnTo>
                    <a:pt x="80" y="36"/>
                  </a:lnTo>
                  <a:lnTo>
                    <a:pt x="80" y="36"/>
                  </a:lnTo>
                  <a:lnTo>
                    <a:pt x="64" y="26"/>
                  </a:lnTo>
                  <a:lnTo>
                    <a:pt x="64" y="26"/>
                  </a:lnTo>
                  <a:lnTo>
                    <a:pt x="34" y="10"/>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67" name="Freeform 2114">
              <a:extLst>
                <a:ext uri="{FF2B5EF4-FFF2-40B4-BE49-F238E27FC236}">
                  <a16:creationId xmlns:a16="http://schemas.microsoft.com/office/drawing/2014/main" id="{FB8B2FD3-1BB9-4950-A570-087417B8C0BE}"/>
                </a:ext>
              </a:extLst>
            </p:cNvPr>
            <p:cNvSpPr>
              <a:spLocks/>
            </p:cNvSpPr>
            <p:nvPr/>
          </p:nvSpPr>
          <p:spPr bwMode="auto">
            <a:xfrm>
              <a:off x="8818059" y="4019158"/>
              <a:ext cx="189389" cy="103628"/>
            </a:xfrm>
            <a:custGeom>
              <a:avLst/>
              <a:gdLst>
                <a:gd name="T0" fmla="*/ 16 w 106"/>
                <a:gd name="T1" fmla="*/ 0 h 58"/>
                <a:gd name="T2" fmla="*/ 14 w 106"/>
                <a:gd name="T3" fmla="*/ 6 h 58"/>
                <a:gd name="T4" fmla="*/ 14 w 106"/>
                <a:gd name="T5" fmla="*/ 6 h 58"/>
                <a:gd name="T6" fmla="*/ 10 w 106"/>
                <a:gd name="T7" fmla="*/ 18 h 58"/>
                <a:gd name="T8" fmla="*/ 0 w 106"/>
                <a:gd name="T9" fmla="*/ 48 h 58"/>
                <a:gd name="T10" fmla="*/ 0 w 106"/>
                <a:gd name="T11" fmla="*/ 48 h 58"/>
                <a:gd name="T12" fmla="*/ 14 w 106"/>
                <a:gd name="T13" fmla="*/ 58 h 58"/>
                <a:gd name="T14" fmla="*/ 14 w 106"/>
                <a:gd name="T15" fmla="*/ 58 h 58"/>
                <a:gd name="T16" fmla="*/ 18 w 106"/>
                <a:gd name="T17" fmla="*/ 44 h 58"/>
                <a:gd name="T18" fmla="*/ 18 w 106"/>
                <a:gd name="T19" fmla="*/ 44 h 58"/>
                <a:gd name="T20" fmla="*/ 26 w 106"/>
                <a:gd name="T21" fmla="*/ 20 h 58"/>
                <a:gd name="T22" fmla="*/ 26 w 106"/>
                <a:gd name="T23" fmla="*/ 20 h 58"/>
                <a:gd name="T24" fmla="*/ 26 w 106"/>
                <a:gd name="T25" fmla="*/ 18 h 58"/>
                <a:gd name="T26" fmla="*/ 26 w 106"/>
                <a:gd name="T27" fmla="*/ 18 h 58"/>
                <a:gd name="T28" fmla="*/ 48 w 106"/>
                <a:gd name="T29" fmla="*/ 28 h 58"/>
                <a:gd name="T30" fmla="*/ 78 w 106"/>
                <a:gd name="T31" fmla="*/ 44 h 58"/>
                <a:gd name="T32" fmla="*/ 78 w 106"/>
                <a:gd name="T33" fmla="*/ 44 h 58"/>
                <a:gd name="T34" fmla="*/ 94 w 106"/>
                <a:gd name="T35" fmla="*/ 54 h 58"/>
                <a:gd name="T36" fmla="*/ 94 w 106"/>
                <a:gd name="T37" fmla="*/ 54 h 58"/>
                <a:gd name="T38" fmla="*/ 106 w 106"/>
                <a:gd name="T39" fmla="*/ 44 h 58"/>
                <a:gd name="T40" fmla="*/ 106 w 106"/>
                <a:gd name="T41" fmla="*/ 44 h 58"/>
                <a:gd name="T42" fmla="*/ 90 w 106"/>
                <a:gd name="T43" fmla="*/ 32 h 58"/>
                <a:gd name="T44" fmla="*/ 90 w 106"/>
                <a:gd name="T45" fmla="*/ 32 h 58"/>
                <a:gd name="T46" fmla="*/ 82 w 106"/>
                <a:gd name="T47" fmla="*/ 28 h 58"/>
                <a:gd name="T48" fmla="*/ 82 w 106"/>
                <a:gd name="T49" fmla="*/ 28 h 58"/>
                <a:gd name="T50" fmla="*/ 76 w 106"/>
                <a:gd name="T51" fmla="*/ 24 h 58"/>
                <a:gd name="T52" fmla="*/ 76 w 106"/>
                <a:gd name="T53" fmla="*/ 24 h 58"/>
                <a:gd name="T54" fmla="*/ 56 w 106"/>
                <a:gd name="T55" fmla="*/ 14 h 58"/>
                <a:gd name="T56" fmla="*/ 38 w 106"/>
                <a:gd name="T57" fmla="*/ 6 h 58"/>
                <a:gd name="T58" fmla="*/ 24 w 106"/>
                <a:gd name="T59" fmla="*/ 2 h 58"/>
                <a:gd name="T60" fmla="*/ 16 w 106"/>
                <a:gd name="T61"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6" h="58">
                  <a:moveTo>
                    <a:pt x="16" y="0"/>
                  </a:moveTo>
                  <a:lnTo>
                    <a:pt x="14" y="6"/>
                  </a:lnTo>
                  <a:lnTo>
                    <a:pt x="14" y="6"/>
                  </a:lnTo>
                  <a:lnTo>
                    <a:pt x="10" y="18"/>
                  </a:lnTo>
                  <a:lnTo>
                    <a:pt x="0" y="48"/>
                  </a:lnTo>
                  <a:lnTo>
                    <a:pt x="0" y="48"/>
                  </a:lnTo>
                  <a:lnTo>
                    <a:pt x="14" y="58"/>
                  </a:lnTo>
                  <a:lnTo>
                    <a:pt x="14" y="58"/>
                  </a:lnTo>
                  <a:lnTo>
                    <a:pt x="18" y="44"/>
                  </a:lnTo>
                  <a:lnTo>
                    <a:pt x="18" y="44"/>
                  </a:lnTo>
                  <a:lnTo>
                    <a:pt x="26" y="20"/>
                  </a:lnTo>
                  <a:lnTo>
                    <a:pt x="26" y="20"/>
                  </a:lnTo>
                  <a:lnTo>
                    <a:pt x="26" y="18"/>
                  </a:lnTo>
                  <a:lnTo>
                    <a:pt x="26" y="18"/>
                  </a:lnTo>
                  <a:lnTo>
                    <a:pt x="48" y="28"/>
                  </a:lnTo>
                  <a:lnTo>
                    <a:pt x="78" y="44"/>
                  </a:lnTo>
                  <a:lnTo>
                    <a:pt x="78" y="44"/>
                  </a:lnTo>
                  <a:lnTo>
                    <a:pt x="94" y="54"/>
                  </a:lnTo>
                  <a:lnTo>
                    <a:pt x="94" y="54"/>
                  </a:lnTo>
                  <a:lnTo>
                    <a:pt x="106" y="44"/>
                  </a:lnTo>
                  <a:lnTo>
                    <a:pt x="106" y="44"/>
                  </a:lnTo>
                  <a:lnTo>
                    <a:pt x="90" y="32"/>
                  </a:lnTo>
                  <a:lnTo>
                    <a:pt x="90" y="32"/>
                  </a:lnTo>
                  <a:lnTo>
                    <a:pt x="82" y="28"/>
                  </a:lnTo>
                  <a:lnTo>
                    <a:pt x="82" y="28"/>
                  </a:lnTo>
                  <a:lnTo>
                    <a:pt x="76" y="24"/>
                  </a:lnTo>
                  <a:lnTo>
                    <a:pt x="76" y="24"/>
                  </a:lnTo>
                  <a:lnTo>
                    <a:pt x="56" y="14"/>
                  </a:lnTo>
                  <a:lnTo>
                    <a:pt x="38" y="6"/>
                  </a:lnTo>
                  <a:lnTo>
                    <a:pt x="24" y="2"/>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68" name="Freeform 2115">
              <a:extLst>
                <a:ext uri="{FF2B5EF4-FFF2-40B4-BE49-F238E27FC236}">
                  <a16:creationId xmlns:a16="http://schemas.microsoft.com/office/drawing/2014/main" id="{777C2209-4E99-4E49-A7D0-26EB914163A5}"/>
                </a:ext>
              </a:extLst>
            </p:cNvPr>
            <p:cNvSpPr>
              <a:spLocks/>
            </p:cNvSpPr>
            <p:nvPr/>
          </p:nvSpPr>
          <p:spPr bwMode="auto">
            <a:xfrm>
              <a:off x="8760885" y="3879797"/>
              <a:ext cx="110774" cy="17867"/>
            </a:xfrm>
            <a:custGeom>
              <a:avLst/>
              <a:gdLst>
                <a:gd name="T0" fmla="*/ 62 w 62"/>
                <a:gd name="T1" fmla="*/ 0 h 10"/>
                <a:gd name="T2" fmla="*/ 62 w 62"/>
                <a:gd name="T3" fmla="*/ 0 h 10"/>
                <a:gd name="T4" fmla="*/ 46 w 62"/>
                <a:gd name="T5" fmla="*/ 0 h 10"/>
                <a:gd name="T6" fmla="*/ 30 w 62"/>
                <a:gd name="T7" fmla="*/ 2 h 10"/>
                <a:gd name="T8" fmla="*/ 0 w 62"/>
                <a:gd name="T9" fmla="*/ 10 h 10"/>
                <a:gd name="T10" fmla="*/ 0 w 62"/>
                <a:gd name="T11" fmla="*/ 10 h 10"/>
                <a:gd name="T12" fmla="*/ 18 w 62"/>
                <a:gd name="T13" fmla="*/ 10 h 10"/>
                <a:gd name="T14" fmla="*/ 18 w 62"/>
                <a:gd name="T15" fmla="*/ 10 h 10"/>
                <a:gd name="T16" fmla="*/ 46 w 62"/>
                <a:gd name="T17" fmla="*/ 8 h 10"/>
                <a:gd name="T18" fmla="*/ 46 w 62"/>
                <a:gd name="T19" fmla="*/ 8 h 10"/>
                <a:gd name="T20" fmla="*/ 54 w 62"/>
                <a:gd name="T21" fmla="*/ 8 h 10"/>
                <a:gd name="T22" fmla="*/ 62 w 62"/>
                <a:gd name="T23" fmla="*/ 6 h 10"/>
                <a:gd name="T24" fmla="*/ 62 w 62"/>
                <a:gd name="T25" fmla="*/ 0 h 10"/>
                <a:gd name="T26" fmla="*/ 62 w 62"/>
                <a:gd name="T27" fmla="*/ 0 h 10"/>
                <a:gd name="T28" fmla="*/ 62 w 62"/>
                <a:gd name="T29"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2" h="10">
                  <a:moveTo>
                    <a:pt x="62" y="0"/>
                  </a:moveTo>
                  <a:lnTo>
                    <a:pt x="62" y="0"/>
                  </a:lnTo>
                  <a:lnTo>
                    <a:pt x="46" y="0"/>
                  </a:lnTo>
                  <a:lnTo>
                    <a:pt x="30" y="2"/>
                  </a:lnTo>
                  <a:lnTo>
                    <a:pt x="0" y="10"/>
                  </a:lnTo>
                  <a:lnTo>
                    <a:pt x="0" y="10"/>
                  </a:lnTo>
                  <a:lnTo>
                    <a:pt x="18" y="10"/>
                  </a:lnTo>
                  <a:lnTo>
                    <a:pt x="18" y="10"/>
                  </a:lnTo>
                  <a:lnTo>
                    <a:pt x="46" y="8"/>
                  </a:lnTo>
                  <a:lnTo>
                    <a:pt x="46" y="8"/>
                  </a:lnTo>
                  <a:lnTo>
                    <a:pt x="54" y="8"/>
                  </a:lnTo>
                  <a:lnTo>
                    <a:pt x="62" y="6"/>
                  </a:lnTo>
                  <a:lnTo>
                    <a:pt x="62" y="0"/>
                  </a:lnTo>
                  <a:lnTo>
                    <a:pt x="62" y="0"/>
                  </a:lnTo>
                  <a:lnTo>
                    <a:pt x="62" y="0"/>
                  </a:lnTo>
                  <a:close/>
                </a:path>
              </a:pathLst>
            </a:custGeom>
            <a:solidFill>
              <a:srgbClr val="64091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69" name="Freeform 2116">
              <a:extLst>
                <a:ext uri="{FF2B5EF4-FFF2-40B4-BE49-F238E27FC236}">
                  <a16:creationId xmlns:a16="http://schemas.microsoft.com/office/drawing/2014/main" id="{9A0D2635-1556-4AAB-B3AF-B09D9059C020}"/>
                </a:ext>
              </a:extLst>
            </p:cNvPr>
            <p:cNvSpPr>
              <a:spLocks/>
            </p:cNvSpPr>
            <p:nvPr/>
          </p:nvSpPr>
          <p:spPr bwMode="auto">
            <a:xfrm>
              <a:off x="8760885" y="3879797"/>
              <a:ext cx="110774" cy="17867"/>
            </a:xfrm>
            <a:custGeom>
              <a:avLst/>
              <a:gdLst>
                <a:gd name="T0" fmla="*/ 62 w 62"/>
                <a:gd name="T1" fmla="*/ 0 h 10"/>
                <a:gd name="T2" fmla="*/ 62 w 62"/>
                <a:gd name="T3" fmla="*/ 0 h 10"/>
                <a:gd name="T4" fmla="*/ 46 w 62"/>
                <a:gd name="T5" fmla="*/ 0 h 10"/>
                <a:gd name="T6" fmla="*/ 30 w 62"/>
                <a:gd name="T7" fmla="*/ 2 h 10"/>
                <a:gd name="T8" fmla="*/ 0 w 62"/>
                <a:gd name="T9" fmla="*/ 10 h 10"/>
                <a:gd name="T10" fmla="*/ 0 w 62"/>
                <a:gd name="T11" fmla="*/ 10 h 10"/>
                <a:gd name="T12" fmla="*/ 18 w 62"/>
                <a:gd name="T13" fmla="*/ 10 h 10"/>
                <a:gd name="T14" fmla="*/ 18 w 62"/>
                <a:gd name="T15" fmla="*/ 10 h 10"/>
                <a:gd name="T16" fmla="*/ 46 w 62"/>
                <a:gd name="T17" fmla="*/ 8 h 10"/>
                <a:gd name="T18" fmla="*/ 46 w 62"/>
                <a:gd name="T19" fmla="*/ 8 h 10"/>
                <a:gd name="T20" fmla="*/ 54 w 62"/>
                <a:gd name="T21" fmla="*/ 8 h 10"/>
                <a:gd name="T22" fmla="*/ 62 w 62"/>
                <a:gd name="T23" fmla="*/ 6 h 10"/>
                <a:gd name="T24" fmla="*/ 62 w 62"/>
                <a:gd name="T25" fmla="*/ 0 h 10"/>
                <a:gd name="T26" fmla="*/ 62 w 62"/>
                <a:gd name="T27" fmla="*/ 0 h 10"/>
                <a:gd name="T28" fmla="*/ 62 w 62"/>
                <a:gd name="T29"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2" h="10">
                  <a:moveTo>
                    <a:pt x="62" y="0"/>
                  </a:moveTo>
                  <a:lnTo>
                    <a:pt x="62" y="0"/>
                  </a:lnTo>
                  <a:lnTo>
                    <a:pt x="46" y="0"/>
                  </a:lnTo>
                  <a:lnTo>
                    <a:pt x="30" y="2"/>
                  </a:lnTo>
                  <a:lnTo>
                    <a:pt x="0" y="10"/>
                  </a:lnTo>
                  <a:lnTo>
                    <a:pt x="0" y="10"/>
                  </a:lnTo>
                  <a:lnTo>
                    <a:pt x="18" y="10"/>
                  </a:lnTo>
                  <a:lnTo>
                    <a:pt x="18" y="10"/>
                  </a:lnTo>
                  <a:lnTo>
                    <a:pt x="46" y="8"/>
                  </a:lnTo>
                  <a:lnTo>
                    <a:pt x="46" y="8"/>
                  </a:lnTo>
                  <a:lnTo>
                    <a:pt x="54" y="8"/>
                  </a:lnTo>
                  <a:lnTo>
                    <a:pt x="62" y="6"/>
                  </a:lnTo>
                  <a:lnTo>
                    <a:pt x="62" y="0"/>
                  </a:lnTo>
                  <a:lnTo>
                    <a:pt x="62" y="0"/>
                  </a:lnTo>
                  <a:lnTo>
                    <a:pt x="6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70" name="Freeform 2117">
              <a:extLst>
                <a:ext uri="{FF2B5EF4-FFF2-40B4-BE49-F238E27FC236}">
                  <a16:creationId xmlns:a16="http://schemas.microsoft.com/office/drawing/2014/main" id="{4CCB57F1-4DD4-47F8-A433-78E395C37FA3}"/>
                </a:ext>
              </a:extLst>
            </p:cNvPr>
            <p:cNvSpPr>
              <a:spLocks noEditPoints="1"/>
            </p:cNvSpPr>
            <p:nvPr/>
          </p:nvSpPr>
          <p:spPr bwMode="auto">
            <a:xfrm>
              <a:off x="8868086" y="3851210"/>
              <a:ext cx="239416" cy="264429"/>
            </a:xfrm>
            <a:custGeom>
              <a:avLst/>
              <a:gdLst>
                <a:gd name="T0" fmla="*/ 114 w 134"/>
                <a:gd name="T1" fmla="*/ 112 h 148"/>
                <a:gd name="T2" fmla="*/ 114 w 134"/>
                <a:gd name="T3" fmla="*/ 112 h 148"/>
                <a:gd name="T4" fmla="*/ 98 w 134"/>
                <a:gd name="T5" fmla="*/ 124 h 148"/>
                <a:gd name="T6" fmla="*/ 98 w 134"/>
                <a:gd name="T7" fmla="*/ 124 h 148"/>
                <a:gd name="T8" fmla="*/ 78 w 134"/>
                <a:gd name="T9" fmla="*/ 138 h 148"/>
                <a:gd name="T10" fmla="*/ 78 w 134"/>
                <a:gd name="T11" fmla="*/ 138 h 148"/>
                <a:gd name="T12" fmla="*/ 92 w 134"/>
                <a:gd name="T13" fmla="*/ 148 h 148"/>
                <a:gd name="T14" fmla="*/ 92 w 134"/>
                <a:gd name="T15" fmla="*/ 148 h 148"/>
                <a:gd name="T16" fmla="*/ 96 w 134"/>
                <a:gd name="T17" fmla="*/ 146 h 148"/>
                <a:gd name="T18" fmla="*/ 96 w 134"/>
                <a:gd name="T19" fmla="*/ 146 h 148"/>
                <a:gd name="T20" fmla="*/ 110 w 134"/>
                <a:gd name="T21" fmla="*/ 134 h 148"/>
                <a:gd name="T22" fmla="*/ 122 w 134"/>
                <a:gd name="T23" fmla="*/ 126 h 148"/>
                <a:gd name="T24" fmla="*/ 122 w 134"/>
                <a:gd name="T25" fmla="*/ 126 h 148"/>
                <a:gd name="T26" fmla="*/ 114 w 134"/>
                <a:gd name="T27" fmla="*/ 112 h 148"/>
                <a:gd name="T28" fmla="*/ 8 w 134"/>
                <a:gd name="T29" fmla="*/ 0 h 148"/>
                <a:gd name="T30" fmla="*/ 8 w 134"/>
                <a:gd name="T31" fmla="*/ 0 h 148"/>
                <a:gd name="T32" fmla="*/ 0 w 134"/>
                <a:gd name="T33" fmla="*/ 0 h 148"/>
                <a:gd name="T34" fmla="*/ 0 w 134"/>
                <a:gd name="T35" fmla="*/ 0 h 148"/>
                <a:gd name="T36" fmla="*/ 2 w 134"/>
                <a:gd name="T37" fmla="*/ 14 h 148"/>
                <a:gd name="T38" fmla="*/ 2 w 134"/>
                <a:gd name="T39" fmla="*/ 14 h 148"/>
                <a:gd name="T40" fmla="*/ 4 w 134"/>
                <a:gd name="T41" fmla="*/ 16 h 148"/>
                <a:gd name="T42" fmla="*/ 4 w 134"/>
                <a:gd name="T43" fmla="*/ 16 h 148"/>
                <a:gd name="T44" fmla="*/ 8 w 134"/>
                <a:gd name="T45" fmla="*/ 16 h 148"/>
                <a:gd name="T46" fmla="*/ 8 w 134"/>
                <a:gd name="T47" fmla="*/ 16 h 148"/>
                <a:gd name="T48" fmla="*/ 8 w 134"/>
                <a:gd name="T49" fmla="*/ 16 h 148"/>
                <a:gd name="T50" fmla="*/ 8 w 134"/>
                <a:gd name="T51" fmla="*/ 16 h 148"/>
                <a:gd name="T52" fmla="*/ 34 w 134"/>
                <a:gd name="T53" fmla="*/ 16 h 148"/>
                <a:gd name="T54" fmla="*/ 58 w 134"/>
                <a:gd name="T55" fmla="*/ 22 h 148"/>
                <a:gd name="T56" fmla="*/ 60 w 134"/>
                <a:gd name="T57" fmla="*/ 16 h 148"/>
                <a:gd name="T58" fmla="*/ 64 w 134"/>
                <a:gd name="T59" fmla="*/ 8 h 148"/>
                <a:gd name="T60" fmla="*/ 60 w 134"/>
                <a:gd name="T61" fmla="*/ 16 h 148"/>
                <a:gd name="T62" fmla="*/ 58 w 134"/>
                <a:gd name="T63" fmla="*/ 22 h 148"/>
                <a:gd name="T64" fmla="*/ 58 w 134"/>
                <a:gd name="T65" fmla="*/ 22 h 148"/>
                <a:gd name="T66" fmla="*/ 74 w 134"/>
                <a:gd name="T67" fmla="*/ 30 h 148"/>
                <a:gd name="T68" fmla="*/ 90 w 134"/>
                <a:gd name="T69" fmla="*/ 38 h 148"/>
                <a:gd name="T70" fmla="*/ 104 w 134"/>
                <a:gd name="T71" fmla="*/ 48 h 148"/>
                <a:gd name="T72" fmla="*/ 118 w 134"/>
                <a:gd name="T73" fmla="*/ 58 h 148"/>
                <a:gd name="T74" fmla="*/ 118 w 134"/>
                <a:gd name="T75" fmla="*/ 58 h 148"/>
                <a:gd name="T76" fmla="*/ 134 w 134"/>
                <a:gd name="T77" fmla="*/ 52 h 148"/>
                <a:gd name="T78" fmla="*/ 134 w 134"/>
                <a:gd name="T79" fmla="*/ 52 h 148"/>
                <a:gd name="T80" fmla="*/ 130 w 134"/>
                <a:gd name="T81" fmla="*/ 48 h 148"/>
                <a:gd name="T82" fmla="*/ 130 w 134"/>
                <a:gd name="T83" fmla="*/ 48 h 148"/>
                <a:gd name="T84" fmla="*/ 104 w 134"/>
                <a:gd name="T85" fmla="*/ 28 h 148"/>
                <a:gd name="T86" fmla="*/ 104 w 134"/>
                <a:gd name="T87" fmla="*/ 28 h 148"/>
                <a:gd name="T88" fmla="*/ 102 w 134"/>
                <a:gd name="T89" fmla="*/ 26 h 148"/>
                <a:gd name="T90" fmla="*/ 102 w 134"/>
                <a:gd name="T91" fmla="*/ 26 h 148"/>
                <a:gd name="T92" fmla="*/ 84 w 134"/>
                <a:gd name="T93" fmla="*/ 16 h 148"/>
                <a:gd name="T94" fmla="*/ 64 w 134"/>
                <a:gd name="T95" fmla="*/ 8 h 148"/>
                <a:gd name="T96" fmla="*/ 64 w 134"/>
                <a:gd name="T97" fmla="*/ 8 h 148"/>
                <a:gd name="T98" fmla="*/ 64 w 134"/>
                <a:gd name="T99" fmla="*/ 8 h 148"/>
                <a:gd name="T100" fmla="*/ 50 w 134"/>
                <a:gd name="T101" fmla="*/ 4 h 148"/>
                <a:gd name="T102" fmla="*/ 36 w 134"/>
                <a:gd name="T103" fmla="*/ 0 h 148"/>
                <a:gd name="T104" fmla="*/ 8 w 134"/>
                <a:gd name="T105" fmla="*/ 0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4" h="148">
                  <a:moveTo>
                    <a:pt x="114" y="112"/>
                  </a:moveTo>
                  <a:lnTo>
                    <a:pt x="114" y="112"/>
                  </a:lnTo>
                  <a:lnTo>
                    <a:pt x="98" y="124"/>
                  </a:lnTo>
                  <a:lnTo>
                    <a:pt x="98" y="124"/>
                  </a:lnTo>
                  <a:lnTo>
                    <a:pt x="78" y="138"/>
                  </a:lnTo>
                  <a:lnTo>
                    <a:pt x="78" y="138"/>
                  </a:lnTo>
                  <a:lnTo>
                    <a:pt x="92" y="148"/>
                  </a:lnTo>
                  <a:lnTo>
                    <a:pt x="92" y="148"/>
                  </a:lnTo>
                  <a:lnTo>
                    <a:pt x="96" y="146"/>
                  </a:lnTo>
                  <a:lnTo>
                    <a:pt x="96" y="146"/>
                  </a:lnTo>
                  <a:lnTo>
                    <a:pt x="110" y="134"/>
                  </a:lnTo>
                  <a:lnTo>
                    <a:pt x="122" y="126"/>
                  </a:lnTo>
                  <a:lnTo>
                    <a:pt x="122" y="126"/>
                  </a:lnTo>
                  <a:lnTo>
                    <a:pt x="114" y="112"/>
                  </a:lnTo>
                  <a:close/>
                  <a:moveTo>
                    <a:pt x="8" y="0"/>
                  </a:moveTo>
                  <a:lnTo>
                    <a:pt x="8" y="0"/>
                  </a:lnTo>
                  <a:lnTo>
                    <a:pt x="0" y="0"/>
                  </a:lnTo>
                  <a:lnTo>
                    <a:pt x="0" y="0"/>
                  </a:lnTo>
                  <a:lnTo>
                    <a:pt x="2" y="14"/>
                  </a:lnTo>
                  <a:lnTo>
                    <a:pt x="2" y="14"/>
                  </a:lnTo>
                  <a:lnTo>
                    <a:pt x="4" y="16"/>
                  </a:lnTo>
                  <a:lnTo>
                    <a:pt x="4" y="16"/>
                  </a:lnTo>
                  <a:lnTo>
                    <a:pt x="8" y="16"/>
                  </a:lnTo>
                  <a:lnTo>
                    <a:pt x="8" y="16"/>
                  </a:lnTo>
                  <a:lnTo>
                    <a:pt x="8" y="16"/>
                  </a:lnTo>
                  <a:lnTo>
                    <a:pt x="8" y="16"/>
                  </a:lnTo>
                  <a:lnTo>
                    <a:pt x="34" y="16"/>
                  </a:lnTo>
                  <a:lnTo>
                    <a:pt x="58" y="22"/>
                  </a:lnTo>
                  <a:lnTo>
                    <a:pt x="60" y="16"/>
                  </a:lnTo>
                  <a:lnTo>
                    <a:pt x="64" y="8"/>
                  </a:lnTo>
                  <a:lnTo>
                    <a:pt x="60" y="16"/>
                  </a:lnTo>
                  <a:lnTo>
                    <a:pt x="58" y="22"/>
                  </a:lnTo>
                  <a:lnTo>
                    <a:pt x="58" y="22"/>
                  </a:lnTo>
                  <a:lnTo>
                    <a:pt x="74" y="30"/>
                  </a:lnTo>
                  <a:lnTo>
                    <a:pt x="90" y="38"/>
                  </a:lnTo>
                  <a:lnTo>
                    <a:pt x="104" y="48"/>
                  </a:lnTo>
                  <a:lnTo>
                    <a:pt x="118" y="58"/>
                  </a:lnTo>
                  <a:lnTo>
                    <a:pt x="118" y="58"/>
                  </a:lnTo>
                  <a:lnTo>
                    <a:pt x="134" y="52"/>
                  </a:lnTo>
                  <a:lnTo>
                    <a:pt x="134" y="52"/>
                  </a:lnTo>
                  <a:lnTo>
                    <a:pt x="130" y="48"/>
                  </a:lnTo>
                  <a:lnTo>
                    <a:pt x="130" y="48"/>
                  </a:lnTo>
                  <a:lnTo>
                    <a:pt x="104" y="28"/>
                  </a:lnTo>
                  <a:lnTo>
                    <a:pt x="104" y="28"/>
                  </a:lnTo>
                  <a:lnTo>
                    <a:pt x="102" y="26"/>
                  </a:lnTo>
                  <a:lnTo>
                    <a:pt x="102" y="26"/>
                  </a:lnTo>
                  <a:lnTo>
                    <a:pt x="84" y="16"/>
                  </a:lnTo>
                  <a:lnTo>
                    <a:pt x="64" y="8"/>
                  </a:lnTo>
                  <a:lnTo>
                    <a:pt x="64" y="8"/>
                  </a:lnTo>
                  <a:lnTo>
                    <a:pt x="64" y="8"/>
                  </a:lnTo>
                  <a:lnTo>
                    <a:pt x="50" y="4"/>
                  </a:lnTo>
                  <a:lnTo>
                    <a:pt x="36" y="0"/>
                  </a:lnTo>
                  <a:lnTo>
                    <a:pt x="8" y="0"/>
                  </a:lnTo>
                  <a:close/>
                </a:path>
              </a:pathLst>
            </a:custGeom>
            <a:solidFill>
              <a:srgbClr val="DDC9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71" name="Freeform 2118">
              <a:extLst>
                <a:ext uri="{FF2B5EF4-FFF2-40B4-BE49-F238E27FC236}">
                  <a16:creationId xmlns:a16="http://schemas.microsoft.com/office/drawing/2014/main" id="{6CF5B96C-0EBF-4A51-9139-D54F9A024F60}"/>
                </a:ext>
              </a:extLst>
            </p:cNvPr>
            <p:cNvSpPr>
              <a:spLocks/>
            </p:cNvSpPr>
            <p:nvPr/>
          </p:nvSpPr>
          <p:spPr bwMode="auto">
            <a:xfrm>
              <a:off x="9007448" y="4051319"/>
              <a:ext cx="78614" cy="64321"/>
            </a:xfrm>
            <a:custGeom>
              <a:avLst/>
              <a:gdLst>
                <a:gd name="T0" fmla="*/ 36 w 44"/>
                <a:gd name="T1" fmla="*/ 0 h 36"/>
                <a:gd name="T2" fmla="*/ 36 w 44"/>
                <a:gd name="T3" fmla="*/ 0 h 36"/>
                <a:gd name="T4" fmla="*/ 20 w 44"/>
                <a:gd name="T5" fmla="*/ 12 h 36"/>
                <a:gd name="T6" fmla="*/ 20 w 44"/>
                <a:gd name="T7" fmla="*/ 12 h 36"/>
                <a:gd name="T8" fmla="*/ 0 w 44"/>
                <a:gd name="T9" fmla="*/ 26 h 36"/>
                <a:gd name="T10" fmla="*/ 0 w 44"/>
                <a:gd name="T11" fmla="*/ 26 h 36"/>
                <a:gd name="T12" fmla="*/ 14 w 44"/>
                <a:gd name="T13" fmla="*/ 36 h 36"/>
                <a:gd name="T14" fmla="*/ 14 w 44"/>
                <a:gd name="T15" fmla="*/ 36 h 36"/>
                <a:gd name="T16" fmla="*/ 18 w 44"/>
                <a:gd name="T17" fmla="*/ 34 h 36"/>
                <a:gd name="T18" fmla="*/ 18 w 44"/>
                <a:gd name="T19" fmla="*/ 34 h 36"/>
                <a:gd name="T20" fmla="*/ 32 w 44"/>
                <a:gd name="T21" fmla="*/ 22 h 36"/>
                <a:gd name="T22" fmla="*/ 44 w 44"/>
                <a:gd name="T23" fmla="*/ 14 h 36"/>
                <a:gd name="T24" fmla="*/ 44 w 44"/>
                <a:gd name="T25" fmla="*/ 14 h 36"/>
                <a:gd name="T26" fmla="*/ 36 w 44"/>
                <a:gd name="T27"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36">
                  <a:moveTo>
                    <a:pt x="36" y="0"/>
                  </a:moveTo>
                  <a:lnTo>
                    <a:pt x="36" y="0"/>
                  </a:lnTo>
                  <a:lnTo>
                    <a:pt x="20" y="12"/>
                  </a:lnTo>
                  <a:lnTo>
                    <a:pt x="20" y="12"/>
                  </a:lnTo>
                  <a:lnTo>
                    <a:pt x="0" y="26"/>
                  </a:lnTo>
                  <a:lnTo>
                    <a:pt x="0" y="26"/>
                  </a:lnTo>
                  <a:lnTo>
                    <a:pt x="14" y="36"/>
                  </a:lnTo>
                  <a:lnTo>
                    <a:pt x="14" y="36"/>
                  </a:lnTo>
                  <a:lnTo>
                    <a:pt x="18" y="34"/>
                  </a:lnTo>
                  <a:lnTo>
                    <a:pt x="18" y="34"/>
                  </a:lnTo>
                  <a:lnTo>
                    <a:pt x="32" y="22"/>
                  </a:lnTo>
                  <a:lnTo>
                    <a:pt x="44" y="14"/>
                  </a:lnTo>
                  <a:lnTo>
                    <a:pt x="44" y="14"/>
                  </a:lnTo>
                  <a:lnTo>
                    <a:pt x="3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72" name="Freeform 2119">
              <a:extLst>
                <a:ext uri="{FF2B5EF4-FFF2-40B4-BE49-F238E27FC236}">
                  <a16:creationId xmlns:a16="http://schemas.microsoft.com/office/drawing/2014/main" id="{5F1CDF17-2C13-4538-9D60-C3FE74072428}"/>
                </a:ext>
              </a:extLst>
            </p:cNvPr>
            <p:cNvSpPr>
              <a:spLocks/>
            </p:cNvSpPr>
            <p:nvPr/>
          </p:nvSpPr>
          <p:spPr bwMode="auto">
            <a:xfrm>
              <a:off x="8868086" y="3851210"/>
              <a:ext cx="239416" cy="103628"/>
            </a:xfrm>
            <a:custGeom>
              <a:avLst/>
              <a:gdLst>
                <a:gd name="T0" fmla="*/ 8 w 134"/>
                <a:gd name="T1" fmla="*/ 0 h 58"/>
                <a:gd name="T2" fmla="*/ 8 w 134"/>
                <a:gd name="T3" fmla="*/ 0 h 58"/>
                <a:gd name="T4" fmla="*/ 0 w 134"/>
                <a:gd name="T5" fmla="*/ 0 h 58"/>
                <a:gd name="T6" fmla="*/ 0 w 134"/>
                <a:gd name="T7" fmla="*/ 0 h 58"/>
                <a:gd name="T8" fmla="*/ 2 w 134"/>
                <a:gd name="T9" fmla="*/ 14 h 58"/>
                <a:gd name="T10" fmla="*/ 2 w 134"/>
                <a:gd name="T11" fmla="*/ 14 h 58"/>
                <a:gd name="T12" fmla="*/ 4 w 134"/>
                <a:gd name="T13" fmla="*/ 16 h 58"/>
                <a:gd name="T14" fmla="*/ 4 w 134"/>
                <a:gd name="T15" fmla="*/ 16 h 58"/>
                <a:gd name="T16" fmla="*/ 8 w 134"/>
                <a:gd name="T17" fmla="*/ 16 h 58"/>
                <a:gd name="T18" fmla="*/ 8 w 134"/>
                <a:gd name="T19" fmla="*/ 16 h 58"/>
                <a:gd name="T20" fmla="*/ 8 w 134"/>
                <a:gd name="T21" fmla="*/ 16 h 58"/>
                <a:gd name="T22" fmla="*/ 8 w 134"/>
                <a:gd name="T23" fmla="*/ 16 h 58"/>
                <a:gd name="T24" fmla="*/ 34 w 134"/>
                <a:gd name="T25" fmla="*/ 16 h 58"/>
                <a:gd name="T26" fmla="*/ 58 w 134"/>
                <a:gd name="T27" fmla="*/ 22 h 58"/>
                <a:gd name="T28" fmla="*/ 60 w 134"/>
                <a:gd name="T29" fmla="*/ 16 h 58"/>
                <a:gd name="T30" fmla="*/ 64 w 134"/>
                <a:gd name="T31" fmla="*/ 8 h 58"/>
                <a:gd name="T32" fmla="*/ 60 w 134"/>
                <a:gd name="T33" fmla="*/ 16 h 58"/>
                <a:gd name="T34" fmla="*/ 58 w 134"/>
                <a:gd name="T35" fmla="*/ 22 h 58"/>
                <a:gd name="T36" fmla="*/ 58 w 134"/>
                <a:gd name="T37" fmla="*/ 22 h 58"/>
                <a:gd name="T38" fmla="*/ 74 w 134"/>
                <a:gd name="T39" fmla="*/ 30 h 58"/>
                <a:gd name="T40" fmla="*/ 90 w 134"/>
                <a:gd name="T41" fmla="*/ 38 h 58"/>
                <a:gd name="T42" fmla="*/ 104 w 134"/>
                <a:gd name="T43" fmla="*/ 48 h 58"/>
                <a:gd name="T44" fmla="*/ 118 w 134"/>
                <a:gd name="T45" fmla="*/ 58 h 58"/>
                <a:gd name="T46" fmla="*/ 118 w 134"/>
                <a:gd name="T47" fmla="*/ 58 h 58"/>
                <a:gd name="T48" fmla="*/ 134 w 134"/>
                <a:gd name="T49" fmla="*/ 52 h 58"/>
                <a:gd name="T50" fmla="*/ 134 w 134"/>
                <a:gd name="T51" fmla="*/ 52 h 58"/>
                <a:gd name="T52" fmla="*/ 130 w 134"/>
                <a:gd name="T53" fmla="*/ 48 h 58"/>
                <a:gd name="T54" fmla="*/ 130 w 134"/>
                <a:gd name="T55" fmla="*/ 48 h 58"/>
                <a:gd name="T56" fmla="*/ 104 w 134"/>
                <a:gd name="T57" fmla="*/ 28 h 58"/>
                <a:gd name="T58" fmla="*/ 104 w 134"/>
                <a:gd name="T59" fmla="*/ 28 h 58"/>
                <a:gd name="T60" fmla="*/ 102 w 134"/>
                <a:gd name="T61" fmla="*/ 26 h 58"/>
                <a:gd name="T62" fmla="*/ 102 w 134"/>
                <a:gd name="T63" fmla="*/ 26 h 58"/>
                <a:gd name="T64" fmla="*/ 84 w 134"/>
                <a:gd name="T65" fmla="*/ 16 h 58"/>
                <a:gd name="T66" fmla="*/ 64 w 134"/>
                <a:gd name="T67" fmla="*/ 8 h 58"/>
                <a:gd name="T68" fmla="*/ 64 w 134"/>
                <a:gd name="T69" fmla="*/ 8 h 58"/>
                <a:gd name="T70" fmla="*/ 64 w 134"/>
                <a:gd name="T71" fmla="*/ 8 h 58"/>
                <a:gd name="T72" fmla="*/ 50 w 134"/>
                <a:gd name="T73" fmla="*/ 4 h 58"/>
                <a:gd name="T74" fmla="*/ 36 w 134"/>
                <a:gd name="T75" fmla="*/ 0 h 58"/>
                <a:gd name="T76" fmla="*/ 8 w 134"/>
                <a:gd name="T77"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34" h="58">
                  <a:moveTo>
                    <a:pt x="8" y="0"/>
                  </a:moveTo>
                  <a:lnTo>
                    <a:pt x="8" y="0"/>
                  </a:lnTo>
                  <a:lnTo>
                    <a:pt x="0" y="0"/>
                  </a:lnTo>
                  <a:lnTo>
                    <a:pt x="0" y="0"/>
                  </a:lnTo>
                  <a:lnTo>
                    <a:pt x="2" y="14"/>
                  </a:lnTo>
                  <a:lnTo>
                    <a:pt x="2" y="14"/>
                  </a:lnTo>
                  <a:lnTo>
                    <a:pt x="4" y="16"/>
                  </a:lnTo>
                  <a:lnTo>
                    <a:pt x="4" y="16"/>
                  </a:lnTo>
                  <a:lnTo>
                    <a:pt x="8" y="16"/>
                  </a:lnTo>
                  <a:lnTo>
                    <a:pt x="8" y="16"/>
                  </a:lnTo>
                  <a:lnTo>
                    <a:pt x="8" y="16"/>
                  </a:lnTo>
                  <a:lnTo>
                    <a:pt x="8" y="16"/>
                  </a:lnTo>
                  <a:lnTo>
                    <a:pt x="34" y="16"/>
                  </a:lnTo>
                  <a:lnTo>
                    <a:pt x="58" y="22"/>
                  </a:lnTo>
                  <a:lnTo>
                    <a:pt x="60" y="16"/>
                  </a:lnTo>
                  <a:lnTo>
                    <a:pt x="64" y="8"/>
                  </a:lnTo>
                  <a:lnTo>
                    <a:pt x="60" y="16"/>
                  </a:lnTo>
                  <a:lnTo>
                    <a:pt x="58" y="22"/>
                  </a:lnTo>
                  <a:lnTo>
                    <a:pt x="58" y="22"/>
                  </a:lnTo>
                  <a:lnTo>
                    <a:pt x="74" y="30"/>
                  </a:lnTo>
                  <a:lnTo>
                    <a:pt x="90" y="38"/>
                  </a:lnTo>
                  <a:lnTo>
                    <a:pt x="104" y="48"/>
                  </a:lnTo>
                  <a:lnTo>
                    <a:pt x="118" y="58"/>
                  </a:lnTo>
                  <a:lnTo>
                    <a:pt x="118" y="58"/>
                  </a:lnTo>
                  <a:lnTo>
                    <a:pt x="134" y="52"/>
                  </a:lnTo>
                  <a:lnTo>
                    <a:pt x="134" y="52"/>
                  </a:lnTo>
                  <a:lnTo>
                    <a:pt x="130" y="48"/>
                  </a:lnTo>
                  <a:lnTo>
                    <a:pt x="130" y="48"/>
                  </a:lnTo>
                  <a:lnTo>
                    <a:pt x="104" y="28"/>
                  </a:lnTo>
                  <a:lnTo>
                    <a:pt x="104" y="28"/>
                  </a:lnTo>
                  <a:lnTo>
                    <a:pt x="102" y="26"/>
                  </a:lnTo>
                  <a:lnTo>
                    <a:pt x="102" y="26"/>
                  </a:lnTo>
                  <a:lnTo>
                    <a:pt x="84" y="16"/>
                  </a:lnTo>
                  <a:lnTo>
                    <a:pt x="64" y="8"/>
                  </a:lnTo>
                  <a:lnTo>
                    <a:pt x="64" y="8"/>
                  </a:lnTo>
                  <a:lnTo>
                    <a:pt x="64" y="8"/>
                  </a:lnTo>
                  <a:lnTo>
                    <a:pt x="50" y="4"/>
                  </a:lnTo>
                  <a:lnTo>
                    <a:pt x="36" y="0"/>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73" name="Freeform 2120">
              <a:extLst>
                <a:ext uri="{FF2B5EF4-FFF2-40B4-BE49-F238E27FC236}">
                  <a16:creationId xmlns:a16="http://schemas.microsoft.com/office/drawing/2014/main" id="{4C0242FF-DFB2-4C83-93DB-8CC84170C1FC}"/>
                </a:ext>
              </a:extLst>
            </p:cNvPr>
            <p:cNvSpPr>
              <a:spLocks noEditPoints="1"/>
            </p:cNvSpPr>
            <p:nvPr/>
          </p:nvSpPr>
          <p:spPr bwMode="auto">
            <a:xfrm>
              <a:off x="9100355" y="3969131"/>
              <a:ext cx="50027" cy="114348"/>
            </a:xfrm>
            <a:custGeom>
              <a:avLst/>
              <a:gdLst>
                <a:gd name="T0" fmla="*/ 6 w 28"/>
                <a:gd name="T1" fmla="*/ 42 h 64"/>
                <a:gd name="T2" fmla="*/ 6 w 28"/>
                <a:gd name="T3" fmla="*/ 42 h 64"/>
                <a:gd name="T4" fmla="*/ 0 w 28"/>
                <a:gd name="T5" fmla="*/ 42 h 64"/>
                <a:gd name="T6" fmla="*/ 0 w 28"/>
                <a:gd name="T7" fmla="*/ 42 h 64"/>
                <a:gd name="T8" fmla="*/ 8 w 28"/>
                <a:gd name="T9" fmla="*/ 58 h 64"/>
                <a:gd name="T10" fmla="*/ 8 w 28"/>
                <a:gd name="T11" fmla="*/ 58 h 64"/>
                <a:gd name="T12" fmla="*/ 18 w 28"/>
                <a:gd name="T13" fmla="*/ 60 h 64"/>
                <a:gd name="T14" fmla="*/ 28 w 28"/>
                <a:gd name="T15" fmla="*/ 64 h 64"/>
                <a:gd name="T16" fmla="*/ 28 w 28"/>
                <a:gd name="T17" fmla="*/ 46 h 64"/>
                <a:gd name="T18" fmla="*/ 28 w 28"/>
                <a:gd name="T19" fmla="*/ 46 h 64"/>
                <a:gd name="T20" fmla="*/ 18 w 28"/>
                <a:gd name="T21" fmla="*/ 42 h 64"/>
                <a:gd name="T22" fmla="*/ 6 w 28"/>
                <a:gd name="T23" fmla="*/ 42 h 64"/>
                <a:gd name="T24" fmla="*/ 18 w 28"/>
                <a:gd name="T25" fmla="*/ 0 h 64"/>
                <a:gd name="T26" fmla="*/ 18 w 28"/>
                <a:gd name="T27" fmla="*/ 0 h 64"/>
                <a:gd name="T28" fmla="*/ 0 w 28"/>
                <a:gd name="T29" fmla="*/ 4 h 64"/>
                <a:gd name="T30" fmla="*/ 0 w 28"/>
                <a:gd name="T31" fmla="*/ 4 h 64"/>
                <a:gd name="T32" fmla="*/ 20 w 28"/>
                <a:gd name="T33" fmla="*/ 30 h 64"/>
                <a:gd name="T34" fmla="*/ 20 w 28"/>
                <a:gd name="T35" fmla="*/ 30 h 64"/>
                <a:gd name="T36" fmla="*/ 28 w 28"/>
                <a:gd name="T37" fmla="*/ 40 h 64"/>
                <a:gd name="T38" fmla="*/ 28 w 28"/>
                <a:gd name="T39" fmla="*/ 14 h 64"/>
                <a:gd name="T40" fmla="*/ 28 w 28"/>
                <a:gd name="T41" fmla="*/ 14 h 64"/>
                <a:gd name="T42" fmla="*/ 18 w 28"/>
                <a:gd name="T43"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8" h="64">
                  <a:moveTo>
                    <a:pt x="6" y="42"/>
                  </a:moveTo>
                  <a:lnTo>
                    <a:pt x="6" y="42"/>
                  </a:lnTo>
                  <a:lnTo>
                    <a:pt x="0" y="42"/>
                  </a:lnTo>
                  <a:lnTo>
                    <a:pt x="0" y="42"/>
                  </a:lnTo>
                  <a:lnTo>
                    <a:pt x="8" y="58"/>
                  </a:lnTo>
                  <a:lnTo>
                    <a:pt x="8" y="58"/>
                  </a:lnTo>
                  <a:lnTo>
                    <a:pt x="18" y="60"/>
                  </a:lnTo>
                  <a:lnTo>
                    <a:pt x="28" y="64"/>
                  </a:lnTo>
                  <a:lnTo>
                    <a:pt x="28" y="46"/>
                  </a:lnTo>
                  <a:lnTo>
                    <a:pt x="28" y="46"/>
                  </a:lnTo>
                  <a:lnTo>
                    <a:pt x="18" y="42"/>
                  </a:lnTo>
                  <a:lnTo>
                    <a:pt x="6" y="42"/>
                  </a:lnTo>
                  <a:close/>
                  <a:moveTo>
                    <a:pt x="18" y="0"/>
                  </a:moveTo>
                  <a:lnTo>
                    <a:pt x="18" y="0"/>
                  </a:lnTo>
                  <a:lnTo>
                    <a:pt x="0" y="4"/>
                  </a:lnTo>
                  <a:lnTo>
                    <a:pt x="0" y="4"/>
                  </a:lnTo>
                  <a:lnTo>
                    <a:pt x="20" y="30"/>
                  </a:lnTo>
                  <a:lnTo>
                    <a:pt x="20" y="30"/>
                  </a:lnTo>
                  <a:lnTo>
                    <a:pt x="28" y="40"/>
                  </a:lnTo>
                  <a:lnTo>
                    <a:pt x="28" y="14"/>
                  </a:lnTo>
                  <a:lnTo>
                    <a:pt x="28" y="14"/>
                  </a:lnTo>
                  <a:lnTo>
                    <a:pt x="18" y="0"/>
                  </a:lnTo>
                  <a:close/>
                </a:path>
              </a:pathLst>
            </a:custGeom>
            <a:solidFill>
              <a:srgbClr val="9DA5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74" name="Freeform 2121">
              <a:extLst>
                <a:ext uri="{FF2B5EF4-FFF2-40B4-BE49-F238E27FC236}">
                  <a16:creationId xmlns:a16="http://schemas.microsoft.com/office/drawing/2014/main" id="{B54483DD-5637-4A32-80B0-F60AC85C72C2}"/>
                </a:ext>
              </a:extLst>
            </p:cNvPr>
            <p:cNvSpPr>
              <a:spLocks/>
            </p:cNvSpPr>
            <p:nvPr/>
          </p:nvSpPr>
          <p:spPr bwMode="auto">
            <a:xfrm>
              <a:off x="9100355" y="4044172"/>
              <a:ext cx="50027" cy="39307"/>
            </a:xfrm>
            <a:custGeom>
              <a:avLst/>
              <a:gdLst>
                <a:gd name="T0" fmla="*/ 6 w 28"/>
                <a:gd name="T1" fmla="*/ 0 h 22"/>
                <a:gd name="T2" fmla="*/ 6 w 28"/>
                <a:gd name="T3" fmla="*/ 0 h 22"/>
                <a:gd name="T4" fmla="*/ 0 w 28"/>
                <a:gd name="T5" fmla="*/ 0 h 22"/>
                <a:gd name="T6" fmla="*/ 0 w 28"/>
                <a:gd name="T7" fmla="*/ 0 h 22"/>
                <a:gd name="T8" fmla="*/ 8 w 28"/>
                <a:gd name="T9" fmla="*/ 16 h 22"/>
                <a:gd name="T10" fmla="*/ 8 w 28"/>
                <a:gd name="T11" fmla="*/ 16 h 22"/>
                <a:gd name="T12" fmla="*/ 18 w 28"/>
                <a:gd name="T13" fmla="*/ 18 h 22"/>
                <a:gd name="T14" fmla="*/ 28 w 28"/>
                <a:gd name="T15" fmla="*/ 22 h 22"/>
                <a:gd name="T16" fmla="*/ 28 w 28"/>
                <a:gd name="T17" fmla="*/ 4 h 22"/>
                <a:gd name="T18" fmla="*/ 28 w 28"/>
                <a:gd name="T19" fmla="*/ 4 h 22"/>
                <a:gd name="T20" fmla="*/ 18 w 28"/>
                <a:gd name="T21" fmla="*/ 0 h 22"/>
                <a:gd name="T22" fmla="*/ 6 w 28"/>
                <a:gd name="T23"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 h="22">
                  <a:moveTo>
                    <a:pt x="6" y="0"/>
                  </a:moveTo>
                  <a:lnTo>
                    <a:pt x="6" y="0"/>
                  </a:lnTo>
                  <a:lnTo>
                    <a:pt x="0" y="0"/>
                  </a:lnTo>
                  <a:lnTo>
                    <a:pt x="0" y="0"/>
                  </a:lnTo>
                  <a:lnTo>
                    <a:pt x="8" y="16"/>
                  </a:lnTo>
                  <a:lnTo>
                    <a:pt x="8" y="16"/>
                  </a:lnTo>
                  <a:lnTo>
                    <a:pt x="18" y="18"/>
                  </a:lnTo>
                  <a:lnTo>
                    <a:pt x="28" y="22"/>
                  </a:lnTo>
                  <a:lnTo>
                    <a:pt x="28" y="4"/>
                  </a:lnTo>
                  <a:lnTo>
                    <a:pt x="28" y="4"/>
                  </a:lnTo>
                  <a:lnTo>
                    <a:pt x="18"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75" name="Freeform 2122">
              <a:extLst>
                <a:ext uri="{FF2B5EF4-FFF2-40B4-BE49-F238E27FC236}">
                  <a16:creationId xmlns:a16="http://schemas.microsoft.com/office/drawing/2014/main" id="{D6385267-4A8A-49A2-95FF-DB67159704CA}"/>
                </a:ext>
              </a:extLst>
            </p:cNvPr>
            <p:cNvSpPr>
              <a:spLocks/>
            </p:cNvSpPr>
            <p:nvPr/>
          </p:nvSpPr>
          <p:spPr bwMode="auto">
            <a:xfrm>
              <a:off x="9100355" y="3969131"/>
              <a:ext cx="50027" cy="71467"/>
            </a:xfrm>
            <a:custGeom>
              <a:avLst/>
              <a:gdLst>
                <a:gd name="T0" fmla="*/ 18 w 28"/>
                <a:gd name="T1" fmla="*/ 0 h 40"/>
                <a:gd name="T2" fmla="*/ 18 w 28"/>
                <a:gd name="T3" fmla="*/ 0 h 40"/>
                <a:gd name="T4" fmla="*/ 0 w 28"/>
                <a:gd name="T5" fmla="*/ 4 h 40"/>
                <a:gd name="T6" fmla="*/ 0 w 28"/>
                <a:gd name="T7" fmla="*/ 4 h 40"/>
                <a:gd name="T8" fmla="*/ 20 w 28"/>
                <a:gd name="T9" fmla="*/ 30 h 40"/>
                <a:gd name="T10" fmla="*/ 20 w 28"/>
                <a:gd name="T11" fmla="*/ 30 h 40"/>
                <a:gd name="T12" fmla="*/ 28 w 28"/>
                <a:gd name="T13" fmla="*/ 40 h 40"/>
                <a:gd name="T14" fmla="*/ 28 w 28"/>
                <a:gd name="T15" fmla="*/ 14 h 40"/>
                <a:gd name="T16" fmla="*/ 28 w 28"/>
                <a:gd name="T17" fmla="*/ 14 h 40"/>
                <a:gd name="T18" fmla="*/ 18 w 28"/>
                <a:gd name="T19"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 h="40">
                  <a:moveTo>
                    <a:pt x="18" y="0"/>
                  </a:moveTo>
                  <a:lnTo>
                    <a:pt x="18" y="0"/>
                  </a:lnTo>
                  <a:lnTo>
                    <a:pt x="0" y="4"/>
                  </a:lnTo>
                  <a:lnTo>
                    <a:pt x="0" y="4"/>
                  </a:lnTo>
                  <a:lnTo>
                    <a:pt x="20" y="30"/>
                  </a:lnTo>
                  <a:lnTo>
                    <a:pt x="20" y="30"/>
                  </a:lnTo>
                  <a:lnTo>
                    <a:pt x="28" y="40"/>
                  </a:lnTo>
                  <a:lnTo>
                    <a:pt x="28" y="14"/>
                  </a:lnTo>
                  <a:lnTo>
                    <a:pt x="28" y="14"/>
                  </a:lnTo>
                  <a:lnTo>
                    <a:pt x="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76" name="Freeform 2123">
              <a:extLst>
                <a:ext uri="{FF2B5EF4-FFF2-40B4-BE49-F238E27FC236}">
                  <a16:creationId xmlns:a16="http://schemas.microsoft.com/office/drawing/2014/main" id="{AEB00A71-7001-4821-8D55-EAEE7CB20E76}"/>
                </a:ext>
              </a:extLst>
            </p:cNvPr>
            <p:cNvSpPr>
              <a:spLocks noEditPoints="1"/>
            </p:cNvSpPr>
            <p:nvPr/>
          </p:nvSpPr>
          <p:spPr bwMode="auto">
            <a:xfrm>
              <a:off x="9071768" y="3944118"/>
              <a:ext cx="60747" cy="132215"/>
            </a:xfrm>
            <a:custGeom>
              <a:avLst/>
              <a:gdLst>
                <a:gd name="T0" fmla="*/ 16 w 34"/>
                <a:gd name="T1" fmla="*/ 56 h 74"/>
                <a:gd name="T2" fmla="*/ 16 w 34"/>
                <a:gd name="T3" fmla="*/ 56 h 74"/>
                <a:gd name="T4" fmla="*/ 10 w 34"/>
                <a:gd name="T5" fmla="*/ 58 h 74"/>
                <a:gd name="T6" fmla="*/ 10 w 34"/>
                <a:gd name="T7" fmla="*/ 58 h 74"/>
                <a:gd name="T8" fmla="*/ 10 w 34"/>
                <a:gd name="T9" fmla="*/ 58 h 74"/>
                <a:gd name="T10" fmla="*/ 0 w 34"/>
                <a:gd name="T11" fmla="*/ 60 h 74"/>
                <a:gd name="T12" fmla="*/ 0 w 34"/>
                <a:gd name="T13" fmla="*/ 60 h 74"/>
                <a:gd name="T14" fmla="*/ 8 w 34"/>
                <a:gd name="T15" fmla="*/ 74 h 74"/>
                <a:gd name="T16" fmla="*/ 8 w 34"/>
                <a:gd name="T17" fmla="*/ 74 h 74"/>
                <a:gd name="T18" fmla="*/ 14 w 34"/>
                <a:gd name="T19" fmla="*/ 72 h 74"/>
                <a:gd name="T20" fmla="*/ 14 w 34"/>
                <a:gd name="T21" fmla="*/ 72 h 74"/>
                <a:gd name="T22" fmla="*/ 14 w 34"/>
                <a:gd name="T23" fmla="*/ 72 h 74"/>
                <a:gd name="T24" fmla="*/ 22 w 34"/>
                <a:gd name="T25" fmla="*/ 72 h 74"/>
                <a:gd name="T26" fmla="*/ 22 w 34"/>
                <a:gd name="T27" fmla="*/ 72 h 74"/>
                <a:gd name="T28" fmla="*/ 22 w 34"/>
                <a:gd name="T29" fmla="*/ 72 h 74"/>
                <a:gd name="T30" fmla="*/ 22 w 34"/>
                <a:gd name="T31" fmla="*/ 72 h 74"/>
                <a:gd name="T32" fmla="*/ 24 w 34"/>
                <a:gd name="T33" fmla="*/ 72 h 74"/>
                <a:gd name="T34" fmla="*/ 24 w 34"/>
                <a:gd name="T35" fmla="*/ 72 h 74"/>
                <a:gd name="T36" fmla="*/ 16 w 34"/>
                <a:gd name="T37" fmla="*/ 56 h 74"/>
                <a:gd name="T38" fmla="*/ 20 w 34"/>
                <a:gd name="T39" fmla="*/ 0 h 74"/>
                <a:gd name="T40" fmla="*/ 20 w 34"/>
                <a:gd name="T41" fmla="*/ 0 h 74"/>
                <a:gd name="T42" fmla="*/ 4 w 34"/>
                <a:gd name="T43" fmla="*/ 6 h 74"/>
                <a:gd name="T44" fmla="*/ 4 w 34"/>
                <a:gd name="T45" fmla="*/ 6 h 74"/>
                <a:gd name="T46" fmla="*/ 16 w 34"/>
                <a:gd name="T47" fmla="*/ 18 h 74"/>
                <a:gd name="T48" fmla="*/ 16 w 34"/>
                <a:gd name="T49" fmla="*/ 18 h 74"/>
                <a:gd name="T50" fmla="*/ 34 w 34"/>
                <a:gd name="T51" fmla="*/ 14 h 74"/>
                <a:gd name="T52" fmla="*/ 34 w 34"/>
                <a:gd name="T53" fmla="*/ 14 h 74"/>
                <a:gd name="T54" fmla="*/ 20 w 34"/>
                <a:gd name="T55" fmla="*/ 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74">
                  <a:moveTo>
                    <a:pt x="16" y="56"/>
                  </a:moveTo>
                  <a:lnTo>
                    <a:pt x="16" y="56"/>
                  </a:lnTo>
                  <a:lnTo>
                    <a:pt x="10" y="58"/>
                  </a:lnTo>
                  <a:lnTo>
                    <a:pt x="10" y="58"/>
                  </a:lnTo>
                  <a:lnTo>
                    <a:pt x="10" y="58"/>
                  </a:lnTo>
                  <a:lnTo>
                    <a:pt x="0" y="60"/>
                  </a:lnTo>
                  <a:lnTo>
                    <a:pt x="0" y="60"/>
                  </a:lnTo>
                  <a:lnTo>
                    <a:pt x="8" y="74"/>
                  </a:lnTo>
                  <a:lnTo>
                    <a:pt x="8" y="74"/>
                  </a:lnTo>
                  <a:lnTo>
                    <a:pt x="14" y="72"/>
                  </a:lnTo>
                  <a:lnTo>
                    <a:pt x="14" y="72"/>
                  </a:lnTo>
                  <a:lnTo>
                    <a:pt x="14" y="72"/>
                  </a:lnTo>
                  <a:lnTo>
                    <a:pt x="22" y="72"/>
                  </a:lnTo>
                  <a:lnTo>
                    <a:pt x="22" y="72"/>
                  </a:lnTo>
                  <a:lnTo>
                    <a:pt x="22" y="72"/>
                  </a:lnTo>
                  <a:lnTo>
                    <a:pt x="22" y="72"/>
                  </a:lnTo>
                  <a:lnTo>
                    <a:pt x="24" y="72"/>
                  </a:lnTo>
                  <a:lnTo>
                    <a:pt x="24" y="72"/>
                  </a:lnTo>
                  <a:lnTo>
                    <a:pt x="16" y="56"/>
                  </a:lnTo>
                  <a:close/>
                  <a:moveTo>
                    <a:pt x="20" y="0"/>
                  </a:moveTo>
                  <a:lnTo>
                    <a:pt x="20" y="0"/>
                  </a:lnTo>
                  <a:lnTo>
                    <a:pt x="4" y="6"/>
                  </a:lnTo>
                  <a:lnTo>
                    <a:pt x="4" y="6"/>
                  </a:lnTo>
                  <a:lnTo>
                    <a:pt x="16" y="18"/>
                  </a:lnTo>
                  <a:lnTo>
                    <a:pt x="16" y="18"/>
                  </a:lnTo>
                  <a:lnTo>
                    <a:pt x="34" y="14"/>
                  </a:lnTo>
                  <a:lnTo>
                    <a:pt x="34" y="14"/>
                  </a:lnTo>
                  <a:lnTo>
                    <a:pt x="20" y="0"/>
                  </a:lnTo>
                  <a:close/>
                </a:path>
              </a:pathLst>
            </a:custGeom>
            <a:solidFill>
              <a:srgbClr val="64091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77" name="Freeform 2124">
              <a:extLst>
                <a:ext uri="{FF2B5EF4-FFF2-40B4-BE49-F238E27FC236}">
                  <a16:creationId xmlns:a16="http://schemas.microsoft.com/office/drawing/2014/main" id="{8E11CC0A-6553-4D0A-A4FC-7E14E851D7B7}"/>
                </a:ext>
              </a:extLst>
            </p:cNvPr>
            <p:cNvSpPr>
              <a:spLocks/>
            </p:cNvSpPr>
            <p:nvPr/>
          </p:nvSpPr>
          <p:spPr bwMode="auto">
            <a:xfrm>
              <a:off x="9071768" y="4044172"/>
              <a:ext cx="42880" cy="32160"/>
            </a:xfrm>
            <a:custGeom>
              <a:avLst/>
              <a:gdLst>
                <a:gd name="T0" fmla="*/ 16 w 24"/>
                <a:gd name="T1" fmla="*/ 0 h 18"/>
                <a:gd name="T2" fmla="*/ 16 w 24"/>
                <a:gd name="T3" fmla="*/ 0 h 18"/>
                <a:gd name="T4" fmla="*/ 10 w 24"/>
                <a:gd name="T5" fmla="*/ 2 h 18"/>
                <a:gd name="T6" fmla="*/ 10 w 24"/>
                <a:gd name="T7" fmla="*/ 2 h 18"/>
                <a:gd name="T8" fmla="*/ 10 w 24"/>
                <a:gd name="T9" fmla="*/ 2 h 18"/>
                <a:gd name="T10" fmla="*/ 0 w 24"/>
                <a:gd name="T11" fmla="*/ 4 h 18"/>
                <a:gd name="T12" fmla="*/ 0 w 24"/>
                <a:gd name="T13" fmla="*/ 4 h 18"/>
                <a:gd name="T14" fmla="*/ 8 w 24"/>
                <a:gd name="T15" fmla="*/ 18 h 18"/>
                <a:gd name="T16" fmla="*/ 8 w 24"/>
                <a:gd name="T17" fmla="*/ 18 h 18"/>
                <a:gd name="T18" fmla="*/ 14 w 24"/>
                <a:gd name="T19" fmla="*/ 16 h 18"/>
                <a:gd name="T20" fmla="*/ 14 w 24"/>
                <a:gd name="T21" fmla="*/ 16 h 18"/>
                <a:gd name="T22" fmla="*/ 14 w 24"/>
                <a:gd name="T23" fmla="*/ 16 h 18"/>
                <a:gd name="T24" fmla="*/ 22 w 24"/>
                <a:gd name="T25" fmla="*/ 16 h 18"/>
                <a:gd name="T26" fmla="*/ 22 w 24"/>
                <a:gd name="T27" fmla="*/ 16 h 18"/>
                <a:gd name="T28" fmla="*/ 22 w 24"/>
                <a:gd name="T29" fmla="*/ 16 h 18"/>
                <a:gd name="T30" fmla="*/ 22 w 24"/>
                <a:gd name="T31" fmla="*/ 16 h 18"/>
                <a:gd name="T32" fmla="*/ 24 w 24"/>
                <a:gd name="T33" fmla="*/ 16 h 18"/>
                <a:gd name="T34" fmla="*/ 24 w 24"/>
                <a:gd name="T35" fmla="*/ 16 h 18"/>
                <a:gd name="T36" fmla="*/ 16 w 24"/>
                <a:gd name="T3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4" h="18">
                  <a:moveTo>
                    <a:pt x="16" y="0"/>
                  </a:moveTo>
                  <a:lnTo>
                    <a:pt x="16" y="0"/>
                  </a:lnTo>
                  <a:lnTo>
                    <a:pt x="10" y="2"/>
                  </a:lnTo>
                  <a:lnTo>
                    <a:pt x="10" y="2"/>
                  </a:lnTo>
                  <a:lnTo>
                    <a:pt x="10" y="2"/>
                  </a:lnTo>
                  <a:lnTo>
                    <a:pt x="0" y="4"/>
                  </a:lnTo>
                  <a:lnTo>
                    <a:pt x="0" y="4"/>
                  </a:lnTo>
                  <a:lnTo>
                    <a:pt x="8" y="18"/>
                  </a:lnTo>
                  <a:lnTo>
                    <a:pt x="8" y="18"/>
                  </a:lnTo>
                  <a:lnTo>
                    <a:pt x="14" y="16"/>
                  </a:lnTo>
                  <a:lnTo>
                    <a:pt x="14" y="16"/>
                  </a:lnTo>
                  <a:lnTo>
                    <a:pt x="14" y="16"/>
                  </a:lnTo>
                  <a:lnTo>
                    <a:pt x="22" y="16"/>
                  </a:lnTo>
                  <a:lnTo>
                    <a:pt x="22" y="16"/>
                  </a:lnTo>
                  <a:lnTo>
                    <a:pt x="22" y="16"/>
                  </a:lnTo>
                  <a:lnTo>
                    <a:pt x="22" y="16"/>
                  </a:lnTo>
                  <a:lnTo>
                    <a:pt x="24" y="16"/>
                  </a:lnTo>
                  <a:lnTo>
                    <a:pt x="24" y="16"/>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78" name="Freeform 2126">
              <a:extLst>
                <a:ext uri="{FF2B5EF4-FFF2-40B4-BE49-F238E27FC236}">
                  <a16:creationId xmlns:a16="http://schemas.microsoft.com/office/drawing/2014/main" id="{4C35E6CF-5E85-48EF-A521-E5BE9A0F64BE}"/>
                </a:ext>
              </a:extLst>
            </p:cNvPr>
            <p:cNvSpPr>
              <a:spLocks/>
            </p:cNvSpPr>
            <p:nvPr/>
          </p:nvSpPr>
          <p:spPr bwMode="auto">
            <a:xfrm>
              <a:off x="9078915" y="3944117"/>
              <a:ext cx="53601" cy="32160"/>
            </a:xfrm>
            <a:custGeom>
              <a:avLst/>
              <a:gdLst>
                <a:gd name="T0" fmla="*/ 16 w 30"/>
                <a:gd name="T1" fmla="*/ 0 h 18"/>
                <a:gd name="T2" fmla="*/ 16 w 30"/>
                <a:gd name="T3" fmla="*/ 0 h 18"/>
                <a:gd name="T4" fmla="*/ 0 w 30"/>
                <a:gd name="T5" fmla="*/ 6 h 18"/>
                <a:gd name="T6" fmla="*/ 0 w 30"/>
                <a:gd name="T7" fmla="*/ 6 h 18"/>
                <a:gd name="T8" fmla="*/ 12 w 30"/>
                <a:gd name="T9" fmla="*/ 18 h 18"/>
                <a:gd name="T10" fmla="*/ 12 w 30"/>
                <a:gd name="T11" fmla="*/ 18 h 18"/>
                <a:gd name="T12" fmla="*/ 30 w 30"/>
                <a:gd name="T13" fmla="*/ 14 h 18"/>
                <a:gd name="T14" fmla="*/ 30 w 30"/>
                <a:gd name="T15" fmla="*/ 14 h 18"/>
                <a:gd name="T16" fmla="*/ 16 w 30"/>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 h="18">
                  <a:moveTo>
                    <a:pt x="16" y="0"/>
                  </a:moveTo>
                  <a:lnTo>
                    <a:pt x="16" y="0"/>
                  </a:lnTo>
                  <a:lnTo>
                    <a:pt x="0" y="6"/>
                  </a:lnTo>
                  <a:lnTo>
                    <a:pt x="0" y="6"/>
                  </a:lnTo>
                  <a:lnTo>
                    <a:pt x="12" y="18"/>
                  </a:lnTo>
                  <a:lnTo>
                    <a:pt x="12" y="18"/>
                  </a:lnTo>
                  <a:lnTo>
                    <a:pt x="30" y="14"/>
                  </a:lnTo>
                  <a:lnTo>
                    <a:pt x="30" y="14"/>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79" name="Freeform 2128">
              <a:extLst>
                <a:ext uri="{FF2B5EF4-FFF2-40B4-BE49-F238E27FC236}">
                  <a16:creationId xmlns:a16="http://schemas.microsoft.com/office/drawing/2014/main" id="{C43C0F7E-C7F6-48A1-B1FB-3768FA42F838}"/>
                </a:ext>
              </a:extLst>
            </p:cNvPr>
            <p:cNvSpPr>
              <a:spLocks/>
            </p:cNvSpPr>
            <p:nvPr/>
          </p:nvSpPr>
          <p:spPr bwMode="auto">
            <a:xfrm>
              <a:off x="8639390" y="3890517"/>
              <a:ext cx="178668" cy="242989"/>
            </a:xfrm>
            <a:custGeom>
              <a:avLst/>
              <a:gdLst>
                <a:gd name="T0" fmla="*/ 32 w 100"/>
                <a:gd name="T1" fmla="*/ 0 h 136"/>
                <a:gd name="T2" fmla="*/ 32 w 100"/>
                <a:gd name="T3" fmla="*/ 0 h 136"/>
                <a:gd name="T4" fmla="*/ 12 w 100"/>
                <a:gd name="T5" fmla="*/ 8 h 136"/>
                <a:gd name="T6" fmla="*/ 6 w 100"/>
                <a:gd name="T7" fmla="*/ 12 h 136"/>
                <a:gd name="T8" fmla="*/ 0 w 100"/>
                <a:gd name="T9" fmla="*/ 16 h 136"/>
                <a:gd name="T10" fmla="*/ 2 w 100"/>
                <a:gd name="T11" fmla="*/ 22 h 136"/>
                <a:gd name="T12" fmla="*/ 2 w 100"/>
                <a:gd name="T13" fmla="*/ 22 h 136"/>
                <a:gd name="T14" fmla="*/ 10 w 100"/>
                <a:gd name="T15" fmla="*/ 40 h 136"/>
                <a:gd name="T16" fmla="*/ 20 w 100"/>
                <a:gd name="T17" fmla="*/ 58 h 136"/>
                <a:gd name="T18" fmla="*/ 34 w 100"/>
                <a:gd name="T19" fmla="*/ 78 h 136"/>
                <a:gd name="T20" fmla="*/ 34 w 100"/>
                <a:gd name="T21" fmla="*/ 78 h 136"/>
                <a:gd name="T22" fmla="*/ 46 w 100"/>
                <a:gd name="T23" fmla="*/ 94 h 136"/>
                <a:gd name="T24" fmla="*/ 60 w 100"/>
                <a:gd name="T25" fmla="*/ 108 h 136"/>
                <a:gd name="T26" fmla="*/ 76 w 100"/>
                <a:gd name="T27" fmla="*/ 122 h 136"/>
                <a:gd name="T28" fmla="*/ 92 w 100"/>
                <a:gd name="T29" fmla="*/ 136 h 136"/>
                <a:gd name="T30" fmla="*/ 92 w 100"/>
                <a:gd name="T31" fmla="*/ 136 h 136"/>
                <a:gd name="T32" fmla="*/ 96 w 100"/>
                <a:gd name="T33" fmla="*/ 134 h 136"/>
                <a:gd name="T34" fmla="*/ 96 w 100"/>
                <a:gd name="T35" fmla="*/ 134 h 136"/>
                <a:gd name="T36" fmla="*/ 100 w 100"/>
                <a:gd name="T37" fmla="*/ 120 h 136"/>
                <a:gd name="T38" fmla="*/ 100 w 100"/>
                <a:gd name="T39" fmla="*/ 120 h 136"/>
                <a:gd name="T40" fmla="*/ 84 w 100"/>
                <a:gd name="T41" fmla="*/ 108 h 136"/>
                <a:gd name="T42" fmla="*/ 70 w 100"/>
                <a:gd name="T43" fmla="*/ 96 h 136"/>
                <a:gd name="T44" fmla="*/ 58 w 100"/>
                <a:gd name="T45" fmla="*/ 82 h 136"/>
                <a:gd name="T46" fmla="*/ 48 w 100"/>
                <a:gd name="T47" fmla="*/ 68 h 136"/>
                <a:gd name="T48" fmla="*/ 48 w 100"/>
                <a:gd name="T49" fmla="*/ 68 h 136"/>
                <a:gd name="T50" fmla="*/ 34 w 100"/>
                <a:gd name="T51" fmla="*/ 48 h 136"/>
                <a:gd name="T52" fmla="*/ 24 w 100"/>
                <a:gd name="T53" fmla="*/ 32 h 136"/>
                <a:gd name="T54" fmla="*/ 24 w 100"/>
                <a:gd name="T55" fmla="*/ 32 h 136"/>
                <a:gd name="T56" fmla="*/ 20 w 100"/>
                <a:gd name="T57" fmla="*/ 24 h 136"/>
                <a:gd name="T58" fmla="*/ 20 w 100"/>
                <a:gd name="T59" fmla="*/ 24 h 136"/>
                <a:gd name="T60" fmla="*/ 40 w 100"/>
                <a:gd name="T61" fmla="*/ 14 h 136"/>
                <a:gd name="T62" fmla="*/ 68 w 100"/>
                <a:gd name="T63" fmla="*/ 4 h 136"/>
                <a:gd name="T64" fmla="*/ 68 w 100"/>
                <a:gd name="T65" fmla="*/ 4 h 136"/>
                <a:gd name="T66" fmla="*/ 52 w 100"/>
                <a:gd name="T67" fmla="*/ 2 h 136"/>
                <a:gd name="T68" fmla="*/ 32 w 100"/>
                <a:gd name="T69" fmla="*/ 0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0" h="136">
                  <a:moveTo>
                    <a:pt x="32" y="0"/>
                  </a:moveTo>
                  <a:lnTo>
                    <a:pt x="32" y="0"/>
                  </a:lnTo>
                  <a:lnTo>
                    <a:pt x="12" y="8"/>
                  </a:lnTo>
                  <a:lnTo>
                    <a:pt x="6" y="12"/>
                  </a:lnTo>
                  <a:lnTo>
                    <a:pt x="0" y="16"/>
                  </a:lnTo>
                  <a:lnTo>
                    <a:pt x="2" y="22"/>
                  </a:lnTo>
                  <a:lnTo>
                    <a:pt x="2" y="22"/>
                  </a:lnTo>
                  <a:lnTo>
                    <a:pt x="10" y="40"/>
                  </a:lnTo>
                  <a:lnTo>
                    <a:pt x="20" y="58"/>
                  </a:lnTo>
                  <a:lnTo>
                    <a:pt x="34" y="78"/>
                  </a:lnTo>
                  <a:lnTo>
                    <a:pt x="34" y="78"/>
                  </a:lnTo>
                  <a:lnTo>
                    <a:pt x="46" y="94"/>
                  </a:lnTo>
                  <a:lnTo>
                    <a:pt x="60" y="108"/>
                  </a:lnTo>
                  <a:lnTo>
                    <a:pt x="76" y="122"/>
                  </a:lnTo>
                  <a:lnTo>
                    <a:pt x="92" y="136"/>
                  </a:lnTo>
                  <a:lnTo>
                    <a:pt x="92" y="136"/>
                  </a:lnTo>
                  <a:lnTo>
                    <a:pt x="96" y="134"/>
                  </a:lnTo>
                  <a:lnTo>
                    <a:pt x="96" y="134"/>
                  </a:lnTo>
                  <a:lnTo>
                    <a:pt x="100" y="120"/>
                  </a:lnTo>
                  <a:lnTo>
                    <a:pt x="100" y="120"/>
                  </a:lnTo>
                  <a:lnTo>
                    <a:pt x="84" y="108"/>
                  </a:lnTo>
                  <a:lnTo>
                    <a:pt x="70" y="96"/>
                  </a:lnTo>
                  <a:lnTo>
                    <a:pt x="58" y="82"/>
                  </a:lnTo>
                  <a:lnTo>
                    <a:pt x="48" y="68"/>
                  </a:lnTo>
                  <a:lnTo>
                    <a:pt x="48" y="68"/>
                  </a:lnTo>
                  <a:lnTo>
                    <a:pt x="34" y="48"/>
                  </a:lnTo>
                  <a:lnTo>
                    <a:pt x="24" y="32"/>
                  </a:lnTo>
                  <a:lnTo>
                    <a:pt x="24" y="32"/>
                  </a:lnTo>
                  <a:lnTo>
                    <a:pt x="20" y="24"/>
                  </a:lnTo>
                  <a:lnTo>
                    <a:pt x="20" y="24"/>
                  </a:lnTo>
                  <a:lnTo>
                    <a:pt x="40" y="14"/>
                  </a:lnTo>
                  <a:lnTo>
                    <a:pt x="68" y="4"/>
                  </a:lnTo>
                  <a:lnTo>
                    <a:pt x="68" y="4"/>
                  </a:lnTo>
                  <a:lnTo>
                    <a:pt x="52" y="2"/>
                  </a:lnTo>
                  <a:lnTo>
                    <a:pt x="3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80" name="Freeform 2129">
              <a:extLst>
                <a:ext uri="{FF2B5EF4-FFF2-40B4-BE49-F238E27FC236}">
                  <a16:creationId xmlns:a16="http://schemas.microsoft.com/office/drawing/2014/main" id="{742AD179-9BC2-49D1-BCAD-9F0C15C9B61D}"/>
                </a:ext>
              </a:extLst>
            </p:cNvPr>
            <p:cNvSpPr>
              <a:spLocks noEditPoints="1"/>
            </p:cNvSpPr>
            <p:nvPr/>
          </p:nvSpPr>
          <p:spPr bwMode="auto">
            <a:xfrm>
              <a:off x="8803765" y="3876223"/>
              <a:ext cx="71467" cy="260856"/>
            </a:xfrm>
            <a:custGeom>
              <a:avLst/>
              <a:gdLst>
                <a:gd name="T0" fmla="*/ 4 w 40"/>
                <a:gd name="T1" fmla="*/ 142 h 146"/>
                <a:gd name="T2" fmla="*/ 4 w 40"/>
                <a:gd name="T3" fmla="*/ 142 h 146"/>
                <a:gd name="T4" fmla="*/ 0 w 40"/>
                <a:gd name="T5" fmla="*/ 144 h 146"/>
                <a:gd name="T6" fmla="*/ 0 w 40"/>
                <a:gd name="T7" fmla="*/ 144 h 146"/>
                <a:gd name="T8" fmla="*/ 4 w 40"/>
                <a:gd name="T9" fmla="*/ 146 h 146"/>
                <a:gd name="T10" fmla="*/ 4 w 40"/>
                <a:gd name="T11" fmla="*/ 146 h 146"/>
                <a:gd name="T12" fmla="*/ 4 w 40"/>
                <a:gd name="T13" fmla="*/ 142 h 146"/>
                <a:gd name="T14" fmla="*/ 38 w 40"/>
                <a:gd name="T15" fmla="*/ 0 h 146"/>
                <a:gd name="T16" fmla="*/ 38 w 40"/>
                <a:gd name="T17" fmla="*/ 0 h 146"/>
                <a:gd name="T18" fmla="*/ 38 w 40"/>
                <a:gd name="T19" fmla="*/ 2 h 146"/>
                <a:gd name="T20" fmla="*/ 38 w 40"/>
                <a:gd name="T21" fmla="*/ 2 h 146"/>
                <a:gd name="T22" fmla="*/ 40 w 40"/>
                <a:gd name="T23" fmla="*/ 2 h 146"/>
                <a:gd name="T24" fmla="*/ 40 w 40"/>
                <a:gd name="T25" fmla="*/ 2 h 146"/>
                <a:gd name="T26" fmla="*/ 38 w 40"/>
                <a:gd name="T27"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146">
                  <a:moveTo>
                    <a:pt x="4" y="142"/>
                  </a:moveTo>
                  <a:lnTo>
                    <a:pt x="4" y="142"/>
                  </a:lnTo>
                  <a:lnTo>
                    <a:pt x="0" y="144"/>
                  </a:lnTo>
                  <a:lnTo>
                    <a:pt x="0" y="144"/>
                  </a:lnTo>
                  <a:lnTo>
                    <a:pt x="4" y="146"/>
                  </a:lnTo>
                  <a:lnTo>
                    <a:pt x="4" y="146"/>
                  </a:lnTo>
                  <a:lnTo>
                    <a:pt x="4" y="142"/>
                  </a:lnTo>
                  <a:close/>
                  <a:moveTo>
                    <a:pt x="38" y="0"/>
                  </a:moveTo>
                  <a:lnTo>
                    <a:pt x="38" y="0"/>
                  </a:lnTo>
                  <a:lnTo>
                    <a:pt x="38" y="2"/>
                  </a:lnTo>
                  <a:lnTo>
                    <a:pt x="38" y="2"/>
                  </a:lnTo>
                  <a:lnTo>
                    <a:pt x="40" y="2"/>
                  </a:lnTo>
                  <a:lnTo>
                    <a:pt x="40" y="2"/>
                  </a:lnTo>
                  <a:lnTo>
                    <a:pt x="38" y="0"/>
                  </a:lnTo>
                  <a:close/>
                </a:path>
              </a:pathLst>
            </a:custGeom>
            <a:solidFill>
              <a:srgbClr val="64091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81" name="Freeform 2130">
              <a:extLst>
                <a:ext uri="{FF2B5EF4-FFF2-40B4-BE49-F238E27FC236}">
                  <a16:creationId xmlns:a16="http://schemas.microsoft.com/office/drawing/2014/main" id="{165C1D07-63F9-4D10-9B92-79C4E97C4598}"/>
                </a:ext>
              </a:extLst>
            </p:cNvPr>
            <p:cNvSpPr>
              <a:spLocks/>
            </p:cNvSpPr>
            <p:nvPr/>
          </p:nvSpPr>
          <p:spPr bwMode="auto">
            <a:xfrm>
              <a:off x="8803765" y="4129932"/>
              <a:ext cx="7147" cy="7147"/>
            </a:xfrm>
            <a:custGeom>
              <a:avLst/>
              <a:gdLst>
                <a:gd name="T0" fmla="*/ 4 w 4"/>
                <a:gd name="T1" fmla="*/ 0 h 4"/>
                <a:gd name="T2" fmla="*/ 4 w 4"/>
                <a:gd name="T3" fmla="*/ 0 h 4"/>
                <a:gd name="T4" fmla="*/ 0 w 4"/>
                <a:gd name="T5" fmla="*/ 2 h 4"/>
                <a:gd name="T6" fmla="*/ 0 w 4"/>
                <a:gd name="T7" fmla="*/ 2 h 4"/>
                <a:gd name="T8" fmla="*/ 4 w 4"/>
                <a:gd name="T9" fmla="*/ 4 h 4"/>
                <a:gd name="T10" fmla="*/ 4 w 4"/>
                <a:gd name="T11" fmla="*/ 4 h 4"/>
                <a:gd name="T12" fmla="*/ 4 w 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0"/>
                  </a:moveTo>
                  <a:lnTo>
                    <a:pt x="4" y="0"/>
                  </a:lnTo>
                  <a:lnTo>
                    <a:pt x="0" y="2"/>
                  </a:lnTo>
                  <a:lnTo>
                    <a:pt x="0" y="2"/>
                  </a:lnTo>
                  <a:lnTo>
                    <a:pt x="4" y="4"/>
                  </a:lnTo>
                  <a:lnTo>
                    <a:pt x="4" y="4"/>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82" name="Freeform 2131">
              <a:extLst>
                <a:ext uri="{FF2B5EF4-FFF2-40B4-BE49-F238E27FC236}">
                  <a16:creationId xmlns:a16="http://schemas.microsoft.com/office/drawing/2014/main" id="{BFF2F78A-58D3-4D9A-AD45-79069890B161}"/>
                </a:ext>
              </a:extLst>
            </p:cNvPr>
            <p:cNvSpPr>
              <a:spLocks/>
            </p:cNvSpPr>
            <p:nvPr/>
          </p:nvSpPr>
          <p:spPr bwMode="auto">
            <a:xfrm>
              <a:off x="8871659" y="3876223"/>
              <a:ext cx="3573" cy="3573"/>
            </a:xfrm>
            <a:custGeom>
              <a:avLst/>
              <a:gdLst>
                <a:gd name="T0" fmla="*/ 0 w 2"/>
                <a:gd name="T1" fmla="*/ 0 h 2"/>
                <a:gd name="T2" fmla="*/ 0 w 2"/>
                <a:gd name="T3" fmla="*/ 0 h 2"/>
                <a:gd name="T4" fmla="*/ 0 w 2"/>
                <a:gd name="T5" fmla="*/ 2 h 2"/>
                <a:gd name="T6" fmla="*/ 0 w 2"/>
                <a:gd name="T7" fmla="*/ 2 h 2"/>
                <a:gd name="T8" fmla="*/ 2 w 2"/>
                <a:gd name="T9" fmla="*/ 2 h 2"/>
                <a:gd name="T10" fmla="*/ 2 w 2"/>
                <a:gd name="T11" fmla="*/ 2 h 2"/>
                <a:gd name="T12" fmla="*/ 0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0" y="0"/>
                  </a:moveTo>
                  <a:lnTo>
                    <a:pt x="0" y="0"/>
                  </a:lnTo>
                  <a:lnTo>
                    <a:pt x="0" y="2"/>
                  </a:lnTo>
                  <a:lnTo>
                    <a:pt x="0" y="2"/>
                  </a:lnTo>
                  <a:lnTo>
                    <a:pt x="2" y="2"/>
                  </a:lnTo>
                  <a:lnTo>
                    <a:pt x="2"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83" name="Freeform 2132">
              <a:extLst>
                <a:ext uri="{FF2B5EF4-FFF2-40B4-BE49-F238E27FC236}">
                  <a16:creationId xmlns:a16="http://schemas.microsoft.com/office/drawing/2014/main" id="{89603311-7207-41E3-8E16-0CD66F527ACB}"/>
                </a:ext>
              </a:extLst>
            </p:cNvPr>
            <p:cNvSpPr>
              <a:spLocks/>
            </p:cNvSpPr>
            <p:nvPr/>
          </p:nvSpPr>
          <p:spPr bwMode="auto">
            <a:xfrm>
              <a:off x="9178969" y="4033451"/>
              <a:ext cx="75041" cy="150081"/>
            </a:xfrm>
            <a:custGeom>
              <a:avLst/>
              <a:gdLst>
                <a:gd name="T0" fmla="*/ 0 w 42"/>
                <a:gd name="T1" fmla="*/ 0 h 84"/>
                <a:gd name="T2" fmla="*/ 0 w 42"/>
                <a:gd name="T3" fmla="*/ 40 h 84"/>
                <a:gd name="T4" fmla="*/ 0 w 42"/>
                <a:gd name="T5" fmla="*/ 40 h 84"/>
                <a:gd name="T6" fmla="*/ 6 w 42"/>
                <a:gd name="T7" fmla="*/ 44 h 84"/>
                <a:gd name="T8" fmla="*/ 6 w 42"/>
                <a:gd name="T9" fmla="*/ 44 h 84"/>
                <a:gd name="T10" fmla="*/ 8 w 42"/>
                <a:gd name="T11" fmla="*/ 46 h 84"/>
                <a:gd name="T12" fmla="*/ 8 w 42"/>
                <a:gd name="T13" fmla="*/ 48 h 84"/>
                <a:gd name="T14" fmla="*/ 8 w 42"/>
                <a:gd name="T15" fmla="*/ 48 h 84"/>
                <a:gd name="T16" fmla="*/ 8 w 42"/>
                <a:gd name="T17" fmla="*/ 48 h 84"/>
                <a:gd name="T18" fmla="*/ 42 w 42"/>
                <a:gd name="T19" fmla="*/ 84 h 84"/>
                <a:gd name="T20" fmla="*/ 42 w 42"/>
                <a:gd name="T21" fmla="*/ 84 h 84"/>
                <a:gd name="T22" fmla="*/ 42 w 42"/>
                <a:gd name="T23" fmla="*/ 82 h 84"/>
                <a:gd name="T24" fmla="*/ 22 w 42"/>
                <a:gd name="T25" fmla="*/ 40 h 84"/>
                <a:gd name="T26" fmla="*/ 22 w 42"/>
                <a:gd name="T27" fmla="*/ 40 h 84"/>
                <a:gd name="T28" fmla="*/ 16 w 42"/>
                <a:gd name="T29" fmla="*/ 28 h 84"/>
                <a:gd name="T30" fmla="*/ 0 w 42"/>
                <a:gd name="T31" fmla="*/ 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2" h="84">
                  <a:moveTo>
                    <a:pt x="0" y="0"/>
                  </a:moveTo>
                  <a:lnTo>
                    <a:pt x="0" y="40"/>
                  </a:lnTo>
                  <a:lnTo>
                    <a:pt x="0" y="40"/>
                  </a:lnTo>
                  <a:lnTo>
                    <a:pt x="6" y="44"/>
                  </a:lnTo>
                  <a:lnTo>
                    <a:pt x="6" y="44"/>
                  </a:lnTo>
                  <a:lnTo>
                    <a:pt x="8" y="46"/>
                  </a:lnTo>
                  <a:lnTo>
                    <a:pt x="8" y="48"/>
                  </a:lnTo>
                  <a:lnTo>
                    <a:pt x="8" y="48"/>
                  </a:lnTo>
                  <a:lnTo>
                    <a:pt x="8" y="48"/>
                  </a:lnTo>
                  <a:lnTo>
                    <a:pt x="42" y="84"/>
                  </a:lnTo>
                  <a:lnTo>
                    <a:pt x="42" y="84"/>
                  </a:lnTo>
                  <a:lnTo>
                    <a:pt x="42" y="82"/>
                  </a:lnTo>
                  <a:lnTo>
                    <a:pt x="22" y="40"/>
                  </a:lnTo>
                  <a:lnTo>
                    <a:pt x="22" y="40"/>
                  </a:lnTo>
                  <a:lnTo>
                    <a:pt x="16" y="28"/>
                  </a:lnTo>
                  <a:lnTo>
                    <a:pt x="0" y="0"/>
                  </a:lnTo>
                  <a:close/>
                </a:path>
              </a:pathLst>
            </a:custGeom>
            <a:solidFill>
              <a:srgbClr val="AE8A6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84" name="Freeform 2133">
              <a:extLst>
                <a:ext uri="{FF2B5EF4-FFF2-40B4-BE49-F238E27FC236}">
                  <a16:creationId xmlns:a16="http://schemas.microsoft.com/office/drawing/2014/main" id="{A2F6811B-7623-4DE9-B06D-3900B48FBEAF}"/>
                </a:ext>
              </a:extLst>
            </p:cNvPr>
            <p:cNvSpPr>
              <a:spLocks/>
            </p:cNvSpPr>
            <p:nvPr/>
          </p:nvSpPr>
          <p:spPr bwMode="auto">
            <a:xfrm>
              <a:off x="9178969" y="4033451"/>
              <a:ext cx="75041" cy="150081"/>
            </a:xfrm>
            <a:custGeom>
              <a:avLst/>
              <a:gdLst>
                <a:gd name="T0" fmla="*/ 0 w 42"/>
                <a:gd name="T1" fmla="*/ 0 h 84"/>
                <a:gd name="T2" fmla="*/ 0 w 42"/>
                <a:gd name="T3" fmla="*/ 40 h 84"/>
                <a:gd name="T4" fmla="*/ 0 w 42"/>
                <a:gd name="T5" fmla="*/ 40 h 84"/>
                <a:gd name="T6" fmla="*/ 6 w 42"/>
                <a:gd name="T7" fmla="*/ 44 h 84"/>
                <a:gd name="T8" fmla="*/ 6 w 42"/>
                <a:gd name="T9" fmla="*/ 44 h 84"/>
                <a:gd name="T10" fmla="*/ 8 w 42"/>
                <a:gd name="T11" fmla="*/ 46 h 84"/>
                <a:gd name="T12" fmla="*/ 8 w 42"/>
                <a:gd name="T13" fmla="*/ 48 h 84"/>
                <a:gd name="T14" fmla="*/ 8 w 42"/>
                <a:gd name="T15" fmla="*/ 48 h 84"/>
                <a:gd name="T16" fmla="*/ 8 w 42"/>
                <a:gd name="T17" fmla="*/ 48 h 84"/>
                <a:gd name="T18" fmla="*/ 42 w 42"/>
                <a:gd name="T19" fmla="*/ 84 h 84"/>
                <a:gd name="T20" fmla="*/ 42 w 42"/>
                <a:gd name="T21" fmla="*/ 84 h 84"/>
                <a:gd name="T22" fmla="*/ 42 w 42"/>
                <a:gd name="T23" fmla="*/ 82 h 84"/>
                <a:gd name="T24" fmla="*/ 22 w 42"/>
                <a:gd name="T25" fmla="*/ 40 h 84"/>
                <a:gd name="T26" fmla="*/ 22 w 42"/>
                <a:gd name="T27" fmla="*/ 40 h 84"/>
                <a:gd name="T28" fmla="*/ 16 w 42"/>
                <a:gd name="T29" fmla="*/ 28 h 84"/>
                <a:gd name="T30" fmla="*/ 0 w 42"/>
                <a:gd name="T31" fmla="*/ 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2" h="84">
                  <a:moveTo>
                    <a:pt x="0" y="0"/>
                  </a:moveTo>
                  <a:lnTo>
                    <a:pt x="0" y="40"/>
                  </a:lnTo>
                  <a:lnTo>
                    <a:pt x="0" y="40"/>
                  </a:lnTo>
                  <a:lnTo>
                    <a:pt x="6" y="44"/>
                  </a:lnTo>
                  <a:lnTo>
                    <a:pt x="6" y="44"/>
                  </a:lnTo>
                  <a:lnTo>
                    <a:pt x="8" y="46"/>
                  </a:lnTo>
                  <a:lnTo>
                    <a:pt x="8" y="48"/>
                  </a:lnTo>
                  <a:lnTo>
                    <a:pt x="8" y="48"/>
                  </a:lnTo>
                  <a:lnTo>
                    <a:pt x="8" y="48"/>
                  </a:lnTo>
                  <a:lnTo>
                    <a:pt x="42" y="84"/>
                  </a:lnTo>
                  <a:lnTo>
                    <a:pt x="42" y="84"/>
                  </a:lnTo>
                  <a:lnTo>
                    <a:pt x="42" y="82"/>
                  </a:lnTo>
                  <a:lnTo>
                    <a:pt x="22" y="40"/>
                  </a:lnTo>
                  <a:lnTo>
                    <a:pt x="22" y="40"/>
                  </a:lnTo>
                  <a:lnTo>
                    <a:pt x="16" y="2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85" name="Freeform 2135">
              <a:extLst>
                <a:ext uri="{FF2B5EF4-FFF2-40B4-BE49-F238E27FC236}">
                  <a16:creationId xmlns:a16="http://schemas.microsoft.com/office/drawing/2014/main" id="{DFCEB491-2E5D-48C6-912A-D3A5A48C71A3}"/>
                </a:ext>
              </a:extLst>
            </p:cNvPr>
            <p:cNvSpPr>
              <a:spLocks/>
            </p:cNvSpPr>
            <p:nvPr/>
          </p:nvSpPr>
          <p:spPr bwMode="auto">
            <a:xfrm>
              <a:off x="9254010" y="4179960"/>
              <a:ext cx="0" cy="7147"/>
            </a:xfrm>
            <a:custGeom>
              <a:avLst/>
              <a:gdLst>
                <a:gd name="T0" fmla="*/ 0 h 4"/>
                <a:gd name="T1" fmla="*/ 0 h 4"/>
                <a:gd name="T2" fmla="*/ 2 h 4"/>
                <a:gd name="T3" fmla="*/ 4 h 4"/>
                <a:gd name="T4" fmla="*/ 0 h 4"/>
              </a:gdLst>
              <a:ahLst/>
              <a:cxnLst>
                <a:cxn ang="0">
                  <a:pos x="0" y="T0"/>
                </a:cxn>
                <a:cxn ang="0">
                  <a:pos x="0" y="T1"/>
                </a:cxn>
                <a:cxn ang="0">
                  <a:pos x="0" y="T2"/>
                </a:cxn>
                <a:cxn ang="0">
                  <a:pos x="0" y="T3"/>
                </a:cxn>
                <a:cxn ang="0">
                  <a:pos x="0" y="T4"/>
                </a:cxn>
              </a:cxnLst>
              <a:rect l="0" t="0" r="r" b="b"/>
              <a:pathLst>
                <a:path h="4">
                  <a:moveTo>
                    <a:pt x="0" y="0"/>
                  </a:moveTo>
                  <a:lnTo>
                    <a:pt x="0" y="0"/>
                  </a:lnTo>
                  <a:lnTo>
                    <a:pt x="0" y="2"/>
                  </a:lnTo>
                  <a:lnTo>
                    <a:pt x="0" y="4"/>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86" name="Freeform 2136">
              <a:extLst>
                <a:ext uri="{FF2B5EF4-FFF2-40B4-BE49-F238E27FC236}">
                  <a16:creationId xmlns:a16="http://schemas.microsoft.com/office/drawing/2014/main" id="{55CC9C26-FFF8-4CA6-B73D-A2247084D05E}"/>
                </a:ext>
              </a:extLst>
            </p:cNvPr>
            <p:cNvSpPr>
              <a:spLocks/>
            </p:cNvSpPr>
            <p:nvPr/>
          </p:nvSpPr>
          <p:spPr bwMode="auto">
            <a:xfrm>
              <a:off x="9150382" y="3994144"/>
              <a:ext cx="28587" cy="110774"/>
            </a:xfrm>
            <a:custGeom>
              <a:avLst/>
              <a:gdLst>
                <a:gd name="T0" fmla="*/ 0 w 16"/>
                <a:gd name="T1" fmla="*/ 0 h 62"/>
                <a:gd name="T2" fmla="*/ 0 w 16"/>
                <a:gd name="T3" fmla="*/ 26 h 62"/>
                <a:gd name="T4" fmla="*/ 0 w 16"/>
                <a:gd name="T5" fmla="*/ 26 h 62"/>
                <a:gd name="T6" fmla="*/ 6 w 16"/>
                <a:gd name="T7" fmla="*/ 34 h 62"/>
                <a:gd name="T8" fmla="*/ 6 w 16"/>
                <a:gd name="T9" fmla="*/ 34 h 62"/>
                <a:gd name="T10" fmla="*/ 0 w 16"/>
                <a:gd name="T11" fmla="*/ 32 h 62"/>
                <a:gd name="T12" fmla="*/ 0 w 16"/>
                <a:gd name="T13" fmla="*/ 50 h 62"/>
                <a:gd name="T14" fmla="*/ 0 w 16"/>
                <a:gd name="T15" fmla="*/ 50 h 62"/>
                <a:gd name="T16" fmla="*/ 10 w 16"/>
                <a:gd name="T17" fmla="*/ 56 h 62"/>
                <a:gd name="T18" fmla="*/ 10 w 16"/>
                <a:gd name="T19" fmla="*/ 56 h 62"/>
                <a:gd name="T20" fmla="*/ 16 w 16"/>
                <a:gd name="T21" fmla="*/ 62 h 62"/>
                <a:gd name="T22" fmla="*/ 16 w 16"/>
                <a:gd name="T23" fmla="*/ 22 h 62"/>
                <a:gd name="T24" fmla="*/ 16 w 16"/>
                <a:gd name="T25" fmla="*/ 22 h 62"/>
                <a:gd name="T26" fmla="*/ 6 w 16"/>
                <a:gd name="T27" fmla="*/ 6 h 62"/>
                <a:gd name="T28" fmla="*/ 6 w 16"/>
                <a:gd name="T29" fmla="*/ 6 h 62"/>
                <a:gd name="T30" fmla="*/ 0 w 16"/>
                <a:gd name="T31"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 h="62">
                  <a:moveTo>
                    <a:pt x="0" y="0"/>
                  </a:moveTo>
                  <a:lnTo>
                    <a:pt x="0" y="26"/>
                  </a:lnTo>
                  <a:lnTo>
                    <a:pt x="0" y="26"/>
                  </a:lnTo>
                  <a:lnTo>
                    <a:pt x="6" y="34"/>
                  </a:lnTo>
                  <a:lnTo>
                    <a:pt x="6" y="34"/>
                  </a:lnTo>
                  <a:lnTo>
                    <a:pt x="0" y="32"/>
                  </a:lnTo>
                  <a:lnTo>
                    <a:pt x="0" y="50"/>
                  </a:lnTo>
                  <a:lnTo>
                    <a:pt x="0" y="50"/>
                  </a:lnTo>
                  <a:lnTo>
                    <a:pt x="10" y="56"/>
                  </a:lnTo>
                  <a:lnTo>
                    <a:pt x="10" y="56"/>
                  </a:lnTo>
                  <a:lnTo>
                    <a:pt x="16" y="62"/>
                  </a:lnTo>
                  <a:lnTo>
                    <a:pt x="16" y="22"/>
                  </a:lnTo>
                  <a:lnTo>
                    <a:pt x="16" y="22"/>
                  </a:lnTo>
                  <a:lnTo>
                    <a:pt x="6" y="6"/>
                  </a:lnTo>
                  <a:lnTo>
                    <a:pt x="6" y="6"/>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87" name="Freeform 2138">
              <a:extLst>
                <a:ext uri="{FF2B5EF4-FFF2-40B4-BE49-F238E27FC236}">
                  <a16:creationId xmlns:a16="http://schemas.microsoft.com/office/drawing/2014/main" id="{376970A5-A4BF-4224-B56C-DC7E3A15AEC2}"/>
                </a:ext>
              </a:extLst>
            </p:cNvPr>
            <p:cNvSpPr>
              <a:spLocks/>
            </p:cNvSpPr>
            <p:nvPr/>
          </p:nvSpPr>
          <p:spPr bwMode="auto">
            <a:xfrm>
              <a:off x="8835926" y="4115639"/>
              <a:ext cx="171522" cy="60747"/>
            </a:xfrm>
            <a:custGeom>
              <a:avLst/>
              <a:gdLst>
                <a:gd name="T0" fmla="*/ 84 w 96"/>
                <a:gd name="T1" fmla="*/ 0 h 34"/>
                <a:gd name="T2" fmla="*/ 84 w 96"/>
                <a:gd name="T3" fmla="*/ 0 h 34"/>
                <a:gd name="T4" fmla="*/ 78 w 96"/>
                <a:gd name="T5" fmla="*/ 4 h 34"/>
                <a:gd name="T6" fmla="*/ 78 w 96"/>
                <a:gd name="T7" fmla="*/ 4 h 34"/>
                <a:gd name="T8" fmla="*/ 60 w 96"/>
                <a:gd name="T9" fmla="*/ 14 h 34"/>
                <a:gd name="T10" fmla="*/ 52 w 96"/>
                <a:gd name="T11" fmla="*/ 16 h 34"/>
                <a:gd name="T12" fmla="*/ 42 w 96"/>
                <a:gd name="T13" fmla="*/ 18 h 34"/>
                <a:gd name="T14" fmla="*/ 42 w 96"/>
                <a:gd name="T15" fmla="*/ 18 h 34"/>
                <a:gd name="T16" fmla="*/ 42 w 96"/>
                <a:gd name="T17" fmla="*/ 18 h 34"/>
                <a:gd name="T18" fmla="*/ 42 w 96"/>
                <a:gd name="T19" fmla="*/ 18 h 34"/>
                <a:gd name="T20" fmla="*/ 30 w 96"/>
                <a:gd name="T21" fmla="*/ 16 h 34"/>
                <a:gd name="T22" fmla="*/ 30 w 96"/>
                <a:gd name="T23" fmla="*/ 16 h 34"/>
                <a:gd name="T24" fmla="*/ 16 w 96"/>
                <a:gd name="T25" fmla="*/ 10 h 34"/>
                <a:gd name="T26" fmla="*/ 4 w 96"/>
                <a:gd name="T27" fmla="*/ 4 h 34"/>
                <a:gd name="T28" fmla="*/ 4 w 96"/>
                <a:gd name="T29" fmla="*/ 4 h 34"/>
                <a:gd name="T30" fmla="*/ 0 w 96"/>
                <a:gd name="T31" fmla="*/ 20 h 34"/>
                <a:gd name="T32" fmla="*/ 0 w 96"/>
                <a:gd name="T33" fmla="*/ 20 h 34"/>
                <a:gd name="T34" fmla="*/ 24 w 96"/>
                <a:gd name="T35" fmla="*/ 30 h 34"/>
                <a:gd name="T36" fmla="*/ 24 w 96"/>
                <a:gd name="T37" fmla="*/ 30 h 34"/>
                <a:gd name="T38" fmla="*/ 34 w 96"/>
                <a:gd name="T39" fmla="*/ 32 h 34"/>
                <a:gd name="T40" fmla="*/ 42 w 96"/>
                <a:gd name="T41" fmla="*/ 34 h 34"/>
                <a:gd name="T42" fmla="*/ 42 w 96"/>
                <a:gd name="T43" fmla="*/ 34 h 34"/>
                <a:gd name="T44" fmla="*/ 58 w 96"/>
                <a:gd name="T45" fmla="*/ 32 h 34"/>
                <a:gd name="T46" fmla="*/ 74 w 96"/>
                <a:gd name="T47" fmla="*/ 26 h 34"/>
                <a:gd name="T48" fmla="*/ 74 w 96"/>
                <a:gd name="T49" fmla="*/ 26 h 34"/>
                <a:gd name="T50" fmla="*/ 86 w 96"/>
                <a:gd name="T51" fmla="*/ 18 h 34"/>
                <a:gd name="T52" fmla="*/ 96 w 96"/>
                <a:gd name="T53" fmla="*/ 10 h 34"/>
                <a:gd name="T54" fmla="*/ 96 w 96"/>
                <a:gd name="T55" fmla="*/ 10 h 34"/>
                <a:gd name="T56" fmla="*/ 84 w 96"/>
                <a:gd name="T5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6" h="34">
                  <a:moveTo>
                    <a:pt x="84" y="0"/>
                  </a:moveTo>
                  <a:lnTo>
                    <a:pt x="84" y="0"/>
                  </a:lnTo>
                  <a:lnTo>
                    <a:pt x="78" y="4"/>
                  </a:lnTo>
                  <a:lnTo>
                    <a:pt x="78" y="4"/>
                  </a:lnTo>
                  <a:lnTo>
                    <a:pt x="60" y="14"/>
                  </a:lnTo>
                  <a:lnTo>
                    <a:pt x="52" y="16"/>
                  </a:lnTo>
                  <a:lnTo>
                    <a:pt x="42" y="18"/>
                  </a:lnTo>
                  <a:lnTo>
                    <a:pt x="42" y="18"/>
                  </a:lnTo>
                  <a:lnTo>
                    <a:pt x="42" y="18"/>
                  </a:lnTo>
                  <a:lnTo>
                    <a:pt x="42" y="18"/>
                  </a:lnTo>
                  <a:lnTo>
                    <a:pt x="30" y="16"/>
                  </a:lnTo>
                  <a:lnTo>
                    <a:pt x="30" y="16"/>
                  </a:lnTo>
                  <a:lnTo>
                    <a:pt x="16" y="10"/>
                  </a:lnTo>
                  <a:lnTo>
                    <a:pt x="4" y="4"/>
                  </a:lnTo>
                  <a:lnTo>
                    <a:pt x="4" y="4"/>
                  </a:lnTo>
                  <a:lnTo>
                    <a:pt x="0" y="20"/>
                  </a:lnTo>
                  <a:lnTo>
                    <a:pt x="0" y="20"/>
                  </a:lnTo>
                  <a:lnTo>
                    <a:pt x="24" y="30"/>
                  </a:lnTo>
                  <a:lnTo>
                    <a:pt x="24" y="30"/>
                  </a:lnTo>
                  <a:lnTo>
                    <a:pt x="34" y="32"/>
                  </a:lnTo>
                  <a:lnTo>
                    <a:pt x="42" y="34"/>
                  </a:lnTo>
                  <a:lnTo>
                    <a:pt x="42" y="34"/>
                  </a:lnTo>
                  <a:lnTo>
                    <a:pt x="58" y="32"/>
                  </a:lnTo>
                  <a:lnTo>
                    <a:pt x="74" y="26"/>
                  </a:lnTo>
                  <a:lnTo>
                    <a:pt x="74" y="26"/>
                  </a:lnTo>
                  <a:lnTo>
                    <a:pt x="86" y="18"/>
                  </a:lnTo>
                  <a:lnTo>
                    <a:pt x="96" y="10"/>
                  </a:lnTo>
                  <a:lnTo>
                    <a:pt x="96" y="10"/>
                  </a:lnTo>
                  <a:lnTo>
                    <a:pt x="8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88" name="Freeform 2140">
              <a:extLst>
                <a:ext uri="{FF2B5EF4-FFF2-40B4-BE49-F238E27FC236}">
                  <a16:creationId xmlns:a16="http://schemas.microsoft.com/office/drawing/2014/main" id="{CB7F575C-1517-4045-B8A0-27451F8B5D80}"/>
                </a:ext>
              </a:extLst>
            </p:cNvPr>
            <p:cNvSpPr>
              <a:spLocks/>
            </p:cNvSpPr>
            <p:nvPr/>
          </p:nvSpPr>
          <p:spPr bwMode="auto">
            <a:xfrm>
              <a:off x="8810912" y="4104919"/>
              <a:ext cx="32160" cy="46454"/>
            </a:xfrm>
            <a:custGeom>
              <a:avLst/>
              <a:gdLst>
                <a:gd name="T0" fmla="*/ 4 w 18"/>
                <a:gd name="T1" fmla="*/ 0 h 26"/>
                <a:gd name="T2" fmla="*/ 4 w 18"/>
                <a:gd name="T3" fmla="*/ 0 h 26"/>
                <a:gd name="T4" fmla="*/ 0 w 18"/>
                <a:gd name="T5" fmla="*/ 14 h 26"/>
                <a:gd name="T6" fmla="*/ 0 w 18"/>
                <a:gd name="T7" fmla="*/ 14 h 26"/>
                <a:gd name="T8" fmla="*/ 0 w 18"/>
                <a:gd name="T9" fmla="*/ 18 h 26"/>
                <a:gd name="T10" fmla="*/ 0 w 18"/>
                <a:gd name="T11" fmla="*/ 18 h 26"/>
                <a:gd name="T12" fmla="*/ 14 w 18"/>
                <a:gd name="T13" fmla="*/ 26 h 26"/>
                <a:gd name="T14" fmla="*/ 14 w 18"/>
                <a:gd name="T15" fmla="*/ 26 h 26"/>
                <a:gd name="T16" fmla="*/ 18 w 18"/>
                <a:gd name="T17" fmla="*/ 10 h 26"/>
                <a:gd name="T18" fmla="*/ 18 w 18"/>
                <a:gd name="T19" fmla="*/ 10 h 26"/>
                <a:gd name="T20" fmla="*/ 4 w 18"/>
                <a:gd name="T2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 h="26">
                  <a:moveTo>
                    <a:pt x="4" y="0"/>
                  </a:moveTo>
                  <a:lnTo>
                    <a:pt x="4" y="0"/>
                  </a:lnTo>
                  <a:lnTo>
                    <a:pt x="0" y="14"/>
                  </a:lnTo>
                  <a:lnTo>
                    <a:pt x="0" y="14"/>
                  </a:lnTo>
                  <a:lnTo>
                    <a:pt x="0" y="18"/>
                  </a:lnTo>
                  <a:lnTo>
                    <a:pt x="0" y="18"/>
                  </a:lnTo>
                  <a:lnTo>
                    <a:pt x="14" y="26"/>
                  </a:lnTo>
                  <a:lnTo>
                    <a:pt x="14" y="26"/>
                  </a:lnTo>
                  <a:lnTo>
                    <a:pt x="18" y="10"/>
                  </a:lnTo>
                  <a:lnTo>
                    <a:pt x="18" y="1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89" name="Freeform 2141">
              <a:extLst>
                <a:ext uri="{FF2B5EF4-FFF2-40B4-BE49-F238E27FC236}">
                  <a16:creationId xmlns:a16="http://schemas.microsoft.com/office/drawing/2014/main" id="{A4D81800-79C5-4E4B-9788-3BA5C50BFDC7}"/>
                </a:ext>
              </a:extLst>
            </p:cNvPr>
            <p:cNvSpPr>
              <a:spLocks/>
            </p:cNvSpPr>
            <p:nvPr/>
          </p:nvSpPr>
          <p:spPr bwMode="auto">
            <a:xfrm>
              <a:off x="8986007" y="4097772"/>
              <a:ext cx="46454" cy="35734"/>
            </a:xfrm>
            <a:custGeom>
              <a:avLst/>
              <a:gdLst>
                <a:gd name="T0" fmla="*/ 12 w 26"/>
                <a:gd name="T1" fmla="*/ 0 h 20"/>
                <a:gd name="T2" fmla="*/ 12 w 26"/>
                <a:gd name="T3" fmla="*/ 0 h 20"/>
                <a:gd name="T4" fmla="*/ 0 w 26"/>
                <a:gd name="T5" fmla="*/ 10 h 20"/>
                <a:gd name="T6" fmla="*/ 0 w 26"/>
                <a:gd name="T7" fmla="*/ 10 h 20"/>
                <a:gd name="T8" fmla="*/ 12 w 26"/>
                <a:gd name="T9" fmla="*/ 20 h 20"/>
                <a:gd name="T10" fmla="*/ 12 w 26"/>
                <a:gd name="T11" fmla="*/ 20 h 20"/>
                <a:gd name="T12" fmla="*/ 26 w 26"/>
                <a:gd name="T13" fmla="*/ 10 h 20"/>
                <a:gd name="T14" fmla="*/ 26 w 26"/>
                <a:gd name="T15" fmla="*/ 10 h 20"/>
                <a:gd name="T16" fmla="*/ 12 w 26"/>
                <a:gd name="T1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 h="20">
                  <a:moveTo>
                    <a:pt x="12" y="0"/>
                  </a:moveTo>
                  <a:lnTo>
                    <a:pt x="12" y="0"/>
                  </a:lnTo>
                  <a:lnTo>
                    <a:pt x="0" y="10"/>
                  </a:lnTo>
                  <a:lnTo>
                    <a:pt x="0" y="10"/>
                  </a:lnTo>
                  <a:lnTo>
                    <a:pt x="12" y="20"/>
                  </a:lnTo>
                  <a:lnTo>
                    <a:pt x="12" y="20"/>
                  </a:lnTo>
                  <a:lnTo>
                    <a:pt x="26" y="10"/>
                  </a:lnTo>
                  <a:lnTo>
                    <a:pt x="26" y="10"/>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90" name="Freeform 2142">
              <a:extLst>
                <a:ext uri="{FF2B5EF4-FFF2-40B4-BE49-F238E27FC236}">
                  <a16:creationId xmlns:a16="http://schemas.microsoft.com/office/drawing/2014/main" id="{AF67967D-ABEB-4B47-AC1F-04A2116F3DCB}"/>
                </a:ext>
              </a:extLst>
            </p:cNvPr>
            <p:cNvSpPr>
              <a:spLocks/>
            </p:cNvSpPr>
            <p:nvPr/>
          </p:nvSpPr>
          <p:spPr bwMode="auto">
            <a:xfrm>
              <a:off x="8760885" y="3851210"/>
              <a:ext cx="78614" cy="17867"/>
            </a:xfrm>
            <a:custGeom>
              <a:avLst/>
              <a:gdLst>
                <a:gd name="T0" fmla="*/ 44 w 44"/>
                <a:gd name="T1" fmla="*/ 0 h 10"/>
                <a:gd name="T2" fmla="*/ 44 w 44"/>
                <a:gd name="T3" fmla="*/ 0 h 10"/>
                <a:gd name="T4" fmla="*/ 20 w 44"/>
                <a:gd name="T5" fmla="*/ 4 h 10"/>
                <a:gd name="T6" fmla="*/ 0 w 44"/>
                <a:gd name="T7" fmla="*/ 10 h 10"/>
                <a:gd name="T8" fmla="*/ 0 w 44"/>
                <a:gd name="T9" fmla="*/ 10 h 10"/>
                <a:gd name="T10" fmla="*/ 18 w 44"/>
                <a:gd name="T11" fmla="*/ 10 h 10"/>
                <a:gd name="T12" fmla="*/ 18 w 44"/>
                <a:gd name="T13" fmla="*/ 10 h 10"/>
                <a:gd name="T14" fmla="*/ 44 w 44"/>
                <a:gd name="T15" fmla="*/ 8 h 10"/>
                <a:gd name="T16" fmla="*/ 44 w 44"/>
                <a:gd name="T17" fmla="*/ 8 h 10"/>
                <a:gd name="T18" fmla="*/ 44 w 44"/>
                <a:gd name="T19"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10">
                  <a:moveTo>
                    <a:pt x="44" y="0"/>
                  </a:moveTo>
                  <a:lnTo>
                    <a:pt x="44" y="0"/>
                  </a:lnTo>
                  <a:lnTo>
                    <a:pt x="20" y="4"/>
                  </a:lnTo>
                  <a:lnTo>
                    <a:pt x="0" y="10"/>
                  </a:lnTo>
                  <a:lnTo>
                    <a:pt x="0" y="10"/>
                  </a:lnTo>
                  <a:lnTo>
                    <a:pt x="18" y="10"/>
                  </a:lnTo>
                  <a:lnTo>
                    <a:pt x="18" y="10"/>
                  </a:lnTo>
                  <a:lnTo>
                    <a:pt x="44" y="8"/>
                  </a:lnTo>
                  <a:lnTo>
                    <a:pt x="44" y="8"/>
                  </a:lnTo>
                  <a:lnTo>
                    <a:pt x="44" y="0"/>
                  </a:lnTo>
                  <a:close/>
                </a:path>
              </a:pathLst>
            </a:custGeom>
            <a:solidFill>
              <a:srgbClr val="9DA5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91" name="Freeform 2143">
              <a:extLst>
                <a:ext uri="{FF2B5EF4-FFF2-40B4-BE49-F238E27FC236}">
                  <a16:creationId xmlns:a16="http://schemas.microsoft.com/office/drawing/2014/main" id="{FECE26F4-D748-4F72-A24F-3E0745AC687E}"/>
                </a:ext>
              </a:extLst>
            </p:cNvPr>
            <p:cNvSpPr>
              <a:spLocks/>
            </p:cNvSpPr>
            <p:nvPr/>
          </p:nvSpPr>
          <p:spPr bwMode="auto">
            <a:xfrm>
              <a:off x="8760885" y="3851210"/>
              <a:ext cx="78614" cy="17867"/>
            </a:xfrm>
            <a:custGeom>
              <a:avLst/>
              <a:gdLst>
                <a:gd name="T0" fmla="*/ 44 w 44"/>
                <a:gd name="T1" fmla="*/ 0 h 10"/>
                <a:gd name="T2" fmla="*/ 44 w 44"/>
                <a:gd name="T3" fmla="*/ 0 h 10"/>
                <a:gd name="T4" fmla="*/ 20 w 44"/>
                <a:gd name="T5" fmla="*/ 4 h 10"/>
                <a:gd name="T6" fmla="*/ 0 w 44"/>
                <a:gd name="T7" fmla="*/ 10 h 10"/>
                <a:gd name="T8" fmla="*/ 0 w 44"/>
                <a:gd name="T9" fmla="*/ 10 h 10"/>
                <a:gd name="T10" fmla="*/ 18 w 44"/>
                <a:gd name="T11" fmla="*/ 10 h 10"/>
                <a:gd name="T12" fmla="*/ 18 w 44"/>
                <a:gd name="T13" fmla="*/ 10 h 10"/>
                <a:gd name="T14" fmla="*/ 44 w 44"/>
                <a:gd name="T15" fmla="*/ 8 h 10"/>
                <a:gd name="T16" fmla="*/ 44 w 44"/>
                <a:gd name="T17" fmla="*/ 8 h 10"/>
                <a:gd name="T18" fmla="*/ 44 w 44"/>
                <a:gd name="T19"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10">
                  <a:moveTo>
                    <a:pt x="44" y="0"/>
                  </a:moveTo>
                  <a:lnTo>
                    <a:pt x="44" y="0"/>
                  </a:lnTo>
                  <a:lnTo>
                    <a:pt x="20" y="4"/>
                  </a:lnTo>
                  <a:lnTo>
                    <a:pt x="0" y="10"/>
                  </a:lnTo>
                  <a:lnTo>
                    <a:pt x="0" y="10"/>
                  </a:lnTo>
                  <a:lnTo>
                    <a:pt x="18" y="10"/>
                  </a:lnTo>
                  <a:lnTo>
                    <a:pt x="18" y="10"/>
                  </a:lnTo>
                  <a:lnTo>
                    <a:pt x="44" y="8"/>
                  </a:lnTo>
                  <a:lnTo>
                    <a:pt x="44" y="8"/>
                  </a:lnTo>
                  <a:lnTo>
                    <a:pt x="4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92" name="Freeform 2144">
              <a:extLst>
                <a:ext uri="{FF2B5EF4-FFF2-40B4-BE49-F238E27FC236}">
                  <a16:creationId xmlns:a16="http://schemas.microsoft.com/office/drawing/2014/main" id="{8238C2C4-C123-4D5F-91FC-BC141B98E2C2}"/>
                </a:ext>
              </a:extLst>
            </p:cNvPr>
            <p:cNvSpPr>
              <a:spLocks/>
            </p:cNvSpPr>
            <p:nvPr/>
          </p:nvSpPr>
          <p:spPr bwMode="auto">
            <a:xfrm>
              <a:off x="8696564" y="3851210"/>
              <a:ext cx="175095" cy="46454"/>
            </a:xfrm>
            <a:custGeom>
              <a:avLst/>
              <a:gdLst>
                <a:gd name="T0" fmla="*/ 96 w 98"/>
                <a:gd name="T1" fmla="*/ 0 h 26"/>
                <a:gd name="T2" fmla="*/ 96 w 98"/>
                <a:gd name="T3" fmla="*/ 0 h 26"/>
                <a:gd name="T4" fmla="*/ 80 w 98"/>
                <a:gd name="T5" fmla="*/ 0 h 26"/>
                <a:gd name="T6" fmla="*/ 80 w 98"/>
                <a:gd name="T7" fmla="*/ 0 h 26"/>
                <a:gd name="T8" fmla="*/ 80 w 98"/>
                <a:gd name="T9" fmla="*/ 8 h 26"/>
                <a:gd name="T10" fmla="*/ 80 w 98"/>
                <a:gd name="T11" fmla="*/ 8 h 26"/>
                <a:gd name="T12" fmla="*/ 54 w 98"/>
                <a:gd name="T13" fmla="*/ 10 h 26"/>
                <a:gd name="T14" fmla="*/ 54 w 98"/>
                <a:gd name="T15" fmla="*/ 10 h 26"/>
                <a:gd name="T16" fmla="*/ 36 w 98"/>
                <a:gd name="T17" fmla="*/ 10 h 26"/>
                <a:gd name="T18" fmla="*/ 36 w 98"/>
                <a:gd name="T19" fmla="*/ 10 h 26"/>
                <a:gd name="T20" fmla="*/ 12 w 98"/>
                <a:gd name="T21" fmla="*/ 16 h 26"/>
                <a:gd name="T22" fmla="*/ 12 w 98"/>
                <a:gd name="T23" fmla="*/ 16 h 26"/>
                <a:gd name="T24" fmla="*/ 0 w 98"/>
                <a:gd name="T25" fmla="*/ 22 h 26"/>
                <a:gd name="T26" fmla="*/ 0 w 98"/>
                <a:gd name="T27" fmla="*/ 22 h 26"/>
                <a:gd name="T28" fmla="*/ 20 w 98"/>
                <a:gd name="T29" fmla="*/ 24 h 26"/>
                <a:gd name="T30" fmla="*/ 36 w 98"/>
                <a:gd name="T31" fmla="*/ 26 h 26"/>
                <a:gd name="T32" fmla="*/ 36 w 98"/>
                <a:gd name="T33" fmla="*/ 26 h 26"/>
                <a:gd name="T34" fmla="*/ 66 w 98"/>
                <a:gd name="T35" fmla="*/ 18 h 26"/>
                <a:gd name="T36" fmla="*/ 82 w 98"/>
                <a:gd name="T37" fmla="*/ 16 h 26"/>
                <a:gd name="T38" fmla="*/ 98 w 98"/>
                <a:gd name="T39" fmla="*/ 16 h 26"/>
                <a:gd name="T40" fmla="*/ 98 w 98"/>
                <a:gd name="T41" fmla="*/ 16 h 26"/>
                <a:gd name="T42" fmla="*/ 98 w 98"/>
                <a:gd name="T43" fmla="*/ 14 h 26"/>
                <a:gd name="T44" fmla="*/ 98 w 98"/>
                <a:gd name="T45" fmla="*/ 14 h 26"/>
                <a:gd name="T46" fmla="*/ 96 w 98"/>
                <a:gd name="T4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8" h="26">
                  <a:moveTo>
                    <a:pt x="96" y="0"/>
                  </a:moveTo>
                  <a:lnTo>
                    <a:pt x="96" y="0"/>
                  </a:lnTo>
                  <a:lnTo>
                    <a:pt x="80" y="0"/>
                  </a:lnTo>
                  <a:lnTo>
                    <a:pt x="80" y="0"/>
                  </a:lnTo>
                  <a:lnTo>
                    <a:pt x="80" y="8"/>
                  </a:lnTo>
                  <a:lnTo>
                    <a:pt x="80" y="8"/>
                  </a:lnTo>
                  <a:lnTo>
                    <a:pt x="54" y="10"/>
                  </a:lnTo>
                  <a:lnTo>
                    <a:pt x="54" y="10"/>
                  </a:lnTo>
                  <a:lnTo>
                    <a:pt x="36" y="10"/>
                  </a:lnTo>
                  <a:lnTo>
                    <a:pt x="36" y="10"/>
                  </a:lnTo>
                  <a:lnTo>
                    <a:pt x="12" y="16"/>
                  </a:lnTo>
                  <a:lnTo>
                    <a:pt x="12" y="16"/>
                  </a:lnTo>
                  <a:lnTo>
                    <a:pt x="0" y="22"/>
                  </a:lnTo>
                  <a:lnTo>
                    <a:pt x="0" y="22"/>
                  </a:lnTo>
                  <a:lnTo>
                    <a:pt x="20" y="24"/>
                  </a:lnTo>
                  <a:lnTo>
                    <a:pt x="36" y="26"/>
                  </a:lnTo>
                  <a:lnTo>
                    <a:pt x="36" y="26"/>
                  </a:lnTo>
                  <a:lnTo>
                    <a:pt x="66" y="18"/>
                  </a:lnTo>
                  <a:lnTo>
                    <a:pt x="82" y="16"/>
                  </a:lnTo>
                  <a:lnTo>
                    <a:pt x="98" y="16"/>
                  </a:lnTo>
                  <a:lnTo>
                    <a:pt x="98" y="16"/>
                  </a:lnTo>
                  <a:lnTo>
                    <a:pt x="98" y="14"/>
                  </a:lnTo>
                  <a:lnTo>
                    <a:pt x="98" y="14"/>
                  </a:lnTo>
                  <a:lnTo>
                    <a:pt x="96" y="0"/>
                  </a:lnTo>
                  <a:close/>
                </a:path>
              </a:pathLst>
            </a:custGeom>
            <a:solidFill>
              <a:srgbClr val="64091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93" name="Freeform 2145">
              <a:extLst>
                <a:ext uri="{FF2B5EF4-FFF2-40B4-BE49-F238E27FC236}">
                  <a16:creationId xmlns:a16="http://schemas.microsoft.com/office/drawing/2014/main" id="{6648ACCD-ADA9-4D12-9D68-0F4853777F77}"/>
                </a:ext>
              </a:extLst>
            </p:cNvPr>
            <p:cNvSpPr>
              <a:spLocks/>
            </p:cNvSpPr>
            <p:nvPr/>
          </p:nvSpPr>
          <p:spPr bwMode="auto">
            <a:xfrm>
              <a:off x="8696564" y="3851210"/>
              <a:ext cx="175095" cy="46454"/>
            </a:xfrm>
            <a:custGeom>
              <a:avLst/>
              <a:gdLst>
                <a:gd name="T0" fmla="*/ 96 w 98"/>
                <a:gd name="T1" fmla="*/ 0 h 26"/>
                <a:gd name="T2" fmla="*/ 96 w 98"/>
                <a:gd name="T3" fmla="*/ 0 h 26"/>
                <a:gd name="T4" fmla="*/ 80 w 98"/>
                <a:gd name="T5" fmla="*/ 0 h 26"/>
                <a:gd name="T6" fmla="*/ 80 w 98"/>
                <a:gd name="T7" fmla="*/ 0 h 26"/>
                <a:gd name="T8" fmla="*/ 80 w 98"/>
                <a:gd name="T9" fmla="*/ 8 h 26"/>
                <a:gd name="T10" fmla="*/ 80 w 98"/>
                <a:gd name="T11" fmla="*/ 8 h 26"/>
                <a:gd name="T12" fmla="*/ 54 w 98"/>
                <a:gd name="T13" fmla="*/ 10 h 26"/>
                <a:gd name="T14" fmla="*/ 54 w 98"/>
                <a:gd name="T15" fmla="*/ 10 h 26"/>
                <a:gd name="T16" fmla="*/ 36 w 98"/>
                <a:gd name="T17" fmla="*/ 10 h 26"/>
                <a:gd name="T18" fmla="*/ 36 w 98"/>
                <a:gd name="T19" fmla="*/ 10 h 26"/>
                <a:gd name="T20" fmla="*/ 12 w 98"/>
                <a:gd name="T21" fmla="*/ 16 h 26"/>
                <a:gd name="T22" fmla="*/ 12 w 98"/>
                <a:gd name="T23" fmla="*/ 16 h 26"/>
                <a:gd name="T24" fmla="*/ 0 w 98"/>
                <a:gd name="T25" fmla="*/ 22 h 26"/>
                <a:gd name="T26" fmla="*/ 0 w 98"/>
                <a:gd name="T27" fmla="*/ 22 h 26"/>
                <a:gd name="T28" fmla="*/ 20 w 98"/>
                <a:gd name="T29" fmla="*/ 24 h 26"/>
                <a:gd name="T30" fmla="*/ 36 w 98"/>
                <a:gd name="T31" fmla="*/ 26 h 26"/>
                <a:gd name="T32" fmla="*/ 36 w 98"/>
                <a:gd name="T33" fmla="*/ 26 h 26"/>
                <a:gd name="T34" fmla="*/ 66 w 98"/>
                <a:gd name="T35" fmla="*/ 18 h 26"/>
                <a:gd name="T36" fmla="*/ 82 w 98"/>
                <a:gd name="T37" fmla="*/ 16 h 26"/>
                <a:gd name="T38" fmla="*/ 98 w 98"/>
                <a:gd name="T39" fmla="*/ 16 h 26"/>
                <a:gd name="T40" fmla="*/ 98 w 98"/>
                <a:gd name="T41" fmla="*/ 16 h 26"/>
                <a:gd name="T42" fmla="*/ 98 w 98"/>
                <a:gd name="T43" fmla="*/ 14 h 26"/>
                <a:gd name="T44" fmla="*/ 98 w 98"/>
                <a:gd name="T45" fmla="*/ 14 h 26"/>
                <a:gd name="T46" fmla="*/ 96 w 98"/>
                <a:gd name="T4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8" h="26">
                  <a:moveTo>
                    <a:pt x="96" y="0"/>
                  </a:moveTo>
                  <a:lnTo>
                    <a:pt x="96" y="0"/>
                  </a:lnTo>
                  <a:lnTo>
                    <a:pt x="80" y="0"/>
                  </a:lnTo>
                  <a:lnTo>
                    <a:pt x="80" y="0"/>
                  </a:lnTo>
                  <a:lnTo>
                    <a:pt x="80" y="8"/>
                  </a:lnTo>
                  <a:lnTo>
                    <a:pt x="80" y="8"/>
                  </a:lnTo>
                  <a:lnTo>
                    <a:pt x="54" y="10"/>
                  </a:lnTo>
                  <a:lnTo>
                    <a:pt x="54" y="10"/>
                  </a:lnTo>
                  <a:lnTo>
                    <a:pt x="36" y="10"/>
                  </a:lnTo>
                  <a:lnTo>
                    <a:pt x="36" y="10"/>
                  </a:lnTo>
                  <a:lnTo>
                    <a:pt x="12" y="16"/>
                  </a:lnTo>
                  <a:lnTo>
                    <a:pt x="12" y="16"/>
                  </a:lnTo>
                  <a:lnTo>
                    <a:pt x="0" y="22"/>
                  </a:lnTo>
                  <a:lnTo>
                    <a:pt x="0" y="22"/>
                  </a:lnTo>
                  <a:lnTo>
                    <a:pt x="20" y="24"/>
                  </a:lnTo>
                  <a:lnTo>
                    <a:pt x="36" y="26"/>
                  </a:lnTo>
                  <a:lnTo>
                    <a:pt x="36" y="26"/>
                  </a:lnTo>
                  <a:lnTo>
                    <a:pt x="66" y="18"/>
                  </a:lnTo>
                  <a:lnTo>
                    <a:pt x="82" y="16"/>
                  </a:lnTo>
                  <a:lnTo>
                    <a:pt x="98" y="16"/>
                  </a:lnTo>
                  <a:lnTo>
                    <a:pt x="98" y="16"/>
                  </a:lnTo>
                  <a:lnTo>
                    <a:pt x="98" y="14"/>
                  </a:lnTo>
                  <a:lnTo>
                    <a:pt x="98" y="14"/>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94" name="Freeform 2146">
              <a:extLst>
                <a:ext uri="{FF2B5EF4-FFF2-40B4-BE49-F238E27FC236}">
                  <a16:creationId xmlns:a16="http://schemas.microsoft.com/office/drawing/2014/main" id="{A2E4FB5F-68DD-4E8D-B034-C5D794DEC2A4}"/>
                </a:ext>
              </a:extLst>
            </p:cNvPr>
            <p:cNvSpPr>
              <a:spLocks/>
            </p:cNvSpPr>
            <p:nvPr/>
          </p:nvSpPr>
          <p:spPr bwMode="auto">
            <a:xfrm>
              <a:off x="9050328" y="3897663"/>
              <a:ext cx="50027" cy="39307"/>
            </a:xfrm>
            <a:custGeom>
              <a:avLst/>
              <a:gdLst>
                <a:gd name="T0" fmla="*/ 0 w 28"/>
                <a:gd name="T1" fmla="*/ 0 h 22"/>
                <a:gd name="T2" fmla="*/ 0 w 28"/>
                <a:gd name="T3" fmla="*/ 0 h 22"/>
                <a:gd name="T4" fmla="*/ 2 w 28"/>
                <a:gd name="T5" fmla="*/ 2 h 22"/>
                <a:gd name="T6" fmla="*/ 2 w 28"/>
                <a:gd name="T7" fmla="*/ 2 h 22"/>
                <a:gd name="T8" fmla="*/ 28 w 28"/>
                <a:gd name="T9" fmla="*/ 22 h 22"/>
                <a:gd name="T10" fmla="*/ 28 w 28"/>
                <a:gd name="T11" fmla="*/ 22 h 22"/>
                <a:gd name="T12" fmla="*/ 14 w 28"/>
                <a:gd name="T13" fmla="*/ 10 h 22"/>
                <a:gd name="T14" fmla="*/ 0 w 28"/>
                <a:gd name="T15" fmla="*/ 0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 h="22">
                  <a:moveTo>
                    <a:pt x="0" y="0"/>
                  </a:moveTo>
                  <a:lnTo>
                    <a:pt x="0" y="0"/>
                  </a:lnTo>
                  <a:lnTo>
                    <a:pt x="2" y="2"/>
                  </a:lnTo>
                  <a:lnTo>
                    <a:pt x="2" y="2"/>
                  </a:lnTo>
                  <a:lnTo>
                    <a:pt x="28" y="22"/>
                  </a:lnTo>
                  <a:lnTo>
                    <a:pt x="28" y="22"/>
                  </a:lnTo>
                  <a:lnTo>
                    <a:pt x="14" y="10"/>
                  </a:lnTo>
                  <a:lnTo>
                    <a:pt x="0" y="0"/>
                  </a:lnTo>
                  <a:close/>
                </a:path>
              </a:pathLst>
            </a:custGeom>
            <a:solidFill>
              <a:srgbClr val="64091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95" name="Freeform 2147">
              <a:extLst>
                <a:ext uri="{FF2B5EF4-FFF2-40B4-BE49-F238E27FC236}">
                  <a16:creationId xmlns:a16="http://schemas.microsoft.com/office/drawing/2014/main" id="{5965971E-32FF-4310-8A63-6764B89F6905}"/>
                </a:ext>
              </a:extLst>
            </p:cNvPr>
            <p:cNvSpPr>
              <a:spLocks/>
            </p:cNvSpPr>
            <p:nvPr/>
          </p:nvSpPr>
          <p:spPr bwMode="auto">
            <a:xfrm>
              <a:off x="9050328" y="3897663"/>
              <a:ext cx="50027" cy="39307"/>
            </a:xfrm>
            <a:custGeom>
              <a:avLst/>
              <a:gdLst>
                <a:gd name="T0" fmla="*/ 0 w 28"/>
                <a:gd name="T1" fmla="*/ 0 h 22"/>
                <a:gd name="T2" fmla="*/ 0 w 28"/>
                <a:gd name="T3" fmla="*/ 0 h 22"/>
                <a:gd name="T4" fmla="*/ 2 w 28"/>
                <a:gd name="T5" fmla="*/ 2 h 22"/>
                <a:gd name="T6" fmla="*/ 2 w 28"/>
                <a:gd name="T7" fmla="*/ 2 h 22"/>
                <a:gd name="T8" fmla="*/ 28 w 28"/>
                <a:gd name="T9" fmla="*/ 22 h 22"/>
                <a:gd name="T10" fmla="*/ 28 w 28"/>
                <a:gd name="T11" fmla="*/ 22 h 22"/>
                <a:gd name="T12" fmla="*/ 14 w 28"/>
                <a:gd name="T13" fmla="*/ 10 h 22"/>
                <a:gd name="T14" fmla="*/ 0 w 28"/>
                <a:gd name="T15" fmla="*/ 0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 h="22">
                  <a:moveTo>
                    <a:pt x="0" y="0"/>
                  </a:moveTo>
                  <a:lnTo>
                    <a:pt x="0" y="0"/>
                  </a:lnTo>
                  <a:lnTo>
                    <a:pt x="2" y="2"/>
                  </a:lnTo>
                  <a:lnTo>
                    <a:pt x="2" y="2"/>
                  </a:lnTo>
                  <a:lnTo>
                    <a:pt x="28" y="22"/>
                  </a:lnTo>
                  <a:lnTo>
                    <a:pt x="28" y="22"/>
                  </a:lnTo>
                  <a:lnTo>
                    <a:pt x="14" y="1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96" name="Freeform 2148">
              <a:extLst>
                <a:ext uri="{FF2B5EF4-FFF2-40B4-BE49-F238E27FC236}">
                  <a16:creationId xmlns:a16="http://schemas.microsoft.com/office/drawing/2014/main" id="{19E5D7AC-5A84-4DBC-8F5A-7507B954A9D9}"/>
                </a:ext>
              </a:extLst>
            </p:cNvPr>
            <p:cNvSpPr>
              <a:spLocks/>
            </p:cNvSpPr>
            <p:nvPr/>
          </p:nvSpPr>
          <p:spPr bwMode="auto">
            <a:xfrm>
              <a:off x="8696564" y="3801183"/>
              <a:ext cx="550299" cy="307310"/>
            </a:xfrm>
            <a:custGeom>
              <a:avLst/>
              <a:gdLst>
                <a:gd name="T0" fmla="*/ 180 w 308"/>
                <a:gd name="T1" fmla="*/ 8 h 172"/>
                <a:gd name="T2" fmla="*/ 180 w 308"/>
                <a:gd name="T3" fmla="*/ 8 h 172"/>
                <a:gd name="T4" fmla="*/ 196 w 308"/>
                <a:gd name="T5" fmla="*/ 16 h 172"/>
                <a:gd name="T6" fmla="*/ 210 w 308"/>
                <a:gd name="T7" fmla="*/ 22 h 172"/>
                <a:gd name="T8" fmla="*/ 224 w 308"/>
                <a:gd name="T9" fmla="*/ 32 h 172"/>
                <a:gd name="T10" fmla="*/ 236 w 308"/>
                <a:gd name="T11" fmla="*/ 42 h 172"/>
                <a:gd name="T12" fmla="*/ 258 w 308"/>
                <a:gd name="T13" fmla="*/ 62 h 172"/>
                <a:gd name="T14" fmla="*/ 276 w 308"/>
                <a:gd name="T15" fmla="*/ 84 h 172"/>
                <a:gd name="T16" fmla="*/ 290 w 308"/>
                <a:gd name="T17" fmla="*/ 104 h 172"/>
                <a:gd name="T18" fmla="*/ 300 w 308"/>
                <a:gd name="T19" fmla="*/ 122 h 172"/>
                <a:gd name="T20" fmla="*/ 308 w 308"/>
                <a:gd name="T21" fmla="*/ 138 h 172"/>
                <a:gd name="T22" fmla="*/ 308 w 308"/>
                <a:gd name="T23" fmla="*/ 138 h 172"/>
                <a:gd name="T24" fmla="*/ 292 w 308"/>
                <a:gd name="T25" fmla="*/ 146 h 172"/>
                <a:gd name="T26" fmla="*/ 274 w 308"/>
                <a:gd name="T27" fmla="*/ 154 h 172"/>
                <a:gd name="T28" fmla="*/ 250 w 308"/>
                <a:gd name="T29" fmla="*/ 162 h 172"/>
                <a:gd name="T30" fmla="*/ 222 w 308"/>
                <a:gd name="T31" fmla="*/ 168 h 172"/>
                <a:gd name="T32" fmla="*/ 192 w 308"/>
                <a:gd name="T33" fmla="*/ 172 h 172"/>
                <a:gd name="T34" fmla="*/ 176 w 308"/>
                <a:gd name="T35" fmla="*/ 172 h 172"/>
                <a:gd name="T36" fmla="*/ 160 w 308"/>
                <a:gd name="T37" fmla="*/ 172 h 172"/>
                <a:gd name="T38" fmla="*/ 144 w 308"/>
                <a:gd name="T39" fmla="*/ 170 h 172"/>
                <a:gd name="T40" fmla="*/ 128 w 308"/>
                <a:gd name="T41" fmla="*/ 164 h 172"/>
                <a:gd name="T42" fmla="*/ 128 w 308"/>
                <a:gd name="T43" fmla="*/ 164 h 172"/>
                <a:gd name="T44" fmla="*/ 114 w 308"/>
                <a:gd name="T45" fmla="*/ 158 h 172"/>
                <a:gd name="T46" fmla="*/ 98 w 308"/>
                <a:gd name="T47" fmla="*/ 152 h 172"/>
                <a:gd name="T48" fmla="*/ 86 w 308"/>
                <a:gd name="T49" fmla="*/ 142 h 172"/>
                <a:gd name="T50" fmla="*/ 72 w 308"/>
                <a:gd name="T51" fmla="*/ 132 h 172"/>
                <a:gd name="T52" fmla="*/ 50 w 308"/>
                <a:gd name="T53" fmla="*/ 112 h 172"/>
                <a:gd name="T54" fmla="*/ 32 w 308"/>
                <a:gd name="T55" fmla="*/ 90 h 172"/>
                <a:gd name="T56" fmla="*/ 18 w 308"/>
                <a:gd name="T57" fmla="*/ 70 h 172"/>
                <a:gd name="T58" fmla="*/ 8 w 308"/>
                <a:gd name="T59" fmla="*/ 52 h 172"/>
                <a:gd name="T60" fmla="*/ 0 w 308"/>
                <a:gd name="T61" fmla="*/ 36 h 172"/>
                <a:gd name="T62" fmla="*/ 0 w 308"/>
                <a:gd name="T63" fmla="*/ 36 h 172"/>
                <a:gd name="T64" fmla="*/ 16 w 308"/>
                <a:gd name="T65" fmla="*/ 28 h 172"/>
                <a:gd name="T66" fmla="*/ 36 w 308"/>
                <a:gd name="T67" fmla="*/ 20 h 172"/>
                <a:gd name="T68" fmla="*/ 58 w 308"/>
                <a:gd name="T69" fmla="*/ 12 h 172"/>
                <a:gd name="T70" fmla="*/ 86 w 308"/>
                <a:gd name="T71" fmla="*/ 6 h 172"/>
                <a:gd name="T72" fmla="*/ 116 w 308"/>
                <a:gd name="T73" fmla="*/ 2 h 172"/>
                <a:gd name="T74" fmla="*/ 132 w 308"/>
                <a:gd name="T75" fmla="*/ 0 h 172"/>
                <a:gd name="T76" fmla="*/ 148 w 308"/>
                <a:gd name="T77" fmla="*/ 2 h 172"/>
                <a:gd name="T78" fmla="*/ 164 w 308"/>
                <a:gd name="T79" fmla="*/ 4 h 172"/>
                <a:gd name="T80" fmla="*/ 180 w 308"/>
                <a:gd name="T81" fmla="*/ 8 h 172"/>
                <a:gd name="T82" fmla="*/ 180 w 308"/>
                <a:gd name="T83" fmla="*/ 8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08" h="172">
                  <a:moveTo>
                    <a:pt x="180" y="8"/>
                  </a:moveTo>
                  <a:lnTo>
                    <a:pt x="180" y="8"/>
                  </a:lnTo>
                  <a:lnTo>
                    <a:pt x="196" y="16"/>
                  </a:lnTo>
                  <a:lnTo>
                    <a:pt x="210" y="22"/>
                  </a:lnTo>
                  <a:lnTo>
                    <a:pt x="224" y="32"/>
                  </a:lnTo>
                  <a:lnTo>
                    <a:pt x="236" y="42"/>
                  </a:lnTo>
                  <a:lnTo>
                    <a:pt x="258" y="62"/>
                  </a:lnTo>
                  <a:lnTo>
                    <a:pt x="276" y="84"/>
                  </a:lnTo>
                  <a:lnTo>
                    <a:pt x="290" y="104"/>
                  </a:lnTo>
                  <a:lnTo>
                    <a:pt x="300" y="122"/>
                  </a:lnTo>
                  <a:lnTo>
                    <a:pt x="308" y="138"/>
                  </a:lnTo>
                  <a:lnTo>
                    <a:pt x="308" y="138"/>
                  </a:lnTo>
                  <a:lnTo>
                    <a:pt x="292" y="146"/>
                  </a:lnTo>
                  <a:lnTo>
                    <a:pt x="274" y="154"/>
                  </a:lnTo>
                  <a:lnTo>
                    <a:pt x="250" y="162"/>
                  </a:lnTo>
                  <a:lnTo>
                    <a:pt x="222" y="168"/>
                  </a:lnTo>
                  <a:lnTo>
                    <a:pt x="192" y="172"/>
                  </a:lnTo>
                  <a:lnTo>
                    <a:pt x="176" y="172"/>
                  </a:lnTo>
                  <a:lnTo>
                    <a:pt x="160" y="172"/>
                  </a:lnTo>
                  <a:lnTo>
                    <a:pt x="144" y="170"/>
                  </a:lnTo>
                  <a:lnTo>
                    <a:pt x="128" y="164"/>
                  </a:lnTo>
                  <a:lnTo>
                    <a:pt x="128" y="164"/>
                  </a:lnTo>
                  <a:lnTo>
                    <a:pt x="114" y="158"/>
                  </a:lnTo>
                  <a:lnTo>
                    <a:pt x="98" y="152"/>
                  </a:lnTo>
                  <a:lnTo>
                    <a:pt x="86" y="142"/>
                  </a:lnTo>
                  <a:lnTo>
                    <a:pt x="72" y="132"/>
                  </a:lnTo>
                  <a:lnTo>
                    <a:pt x="50" y="112"/>
                  </a:lnTo>
                  <a:lnTo>
                    <a:pt x="32" y="90"/>
                  </a:lnTo>
                  <a:lnTo>
                    <a:pt x="18" y="70"/>
                  </a:lnTo>
                  <a:lnTo>
                    <a:pt x="8" y="52"/>
                  </a:lnTo>
                  <a:lnTo>
                    <a:pt x="0" y="36"/>
                  </a:lnTo>
                  <a:lnTo>
                    <a:pt x="0" y="36"/>
                  </a:lnTo>
                  <a:lnTo>
                    <a:pt x="16" y="28"/>
                  </a:lnTo>
                  <a:lnTo>
                    <a:pt x="36" y="20"/>
                  </a:lnTo>
                  <a:lnTo>
                    <a:pt x="58" y="12"/>
                  </a:lnTo>
                  <a:lnTo>
                    <a:pt x="86" y="6"/>
                  </a:lnTo>
                  <a:lnTo>
                    <a:pt x="116" y="2"/>
                  </a:lnTo>
                  <a:lnTo>
                    <a:pt x="132" y="0"/>
                  </a:lnTo>
                  <a:lnTo>
                    <a:pt x="148" y="2"/>
                  </a:lnTo>
                  <a:lnTo>
                    <a:pt x="164" y="4"/>
                  </a:lnTo>
                  <a:lnTo>
                    <a:pt x="180" y="8"/>
                  </a:lnTo>
                  <a:lnTo>
                    <a:pt x="180" y="8"/>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97" name="Freeform 2150">
              <a:extLst>
                <a:ext uri="{FF2B5EF4-FFF2-40B4-BE49-F238E27FC236}">
                  <a16:creationId xmlns:a16="http://schemas.microsoft.com/office/drawing/2014/main" id="{BC3660A1-E61F-4E16-BF0B-C4B007177230}"/>
                </a:ext>
              </a:extLst>
            </p:cNvPr>
            <p:cNvSpPr>
              <a:spLocks/>
            </p:cNvSpPr>
            <p:nvPr/>
          </p:nvSpPr>
          <p:spPr bwMode="auto">
            <a:xfrm>
              <a:off x="8932407" y="3290191"/>
              <a:ext cx="578886" cy="293016"/>
            </a:xfrm>
            <a:custGeom>
              <a:avLst/>
              <a:gdLst>
                <a:gd name="T0" fmla="*/ 166 w 324"/>
                <a:gd name="T1" fmla="*/ 2 h 164"/>
                <a:gd name="T2" fmla="*/ 166 w 324"/>
                <a:gd name="T3" fmla="*/ 2 h 164"/>
                <a:gd name="T4" fmla="*/ 182 w 324"/>
                <a:gd name="T5" fmla="*/ 2 h 164"/>
                <a:gd name="T6" fmla="*/ 198 w 324"/>
                <a:gd name="T7" fmla="*/ 6 h 164"/>
                <a:gd name="T8" fmla="*/ 214 w 324"/>
                <a:gd name="T9" fmla="*/ 12 h 164"/>
                <a:gd name="T10" fmla="*/ 228 w 324"/>
                <a:gd name="T11" fmla="*/ 18 h 164"/>
                <a:gd name="T12" fmla="*/ 256 w 324"/>
                <a:gd name="T13" fmla="*/ 32 h 164"/>
                <a:gd name="T14" fmla="*/ 278 w 324"/>
                <a:gd name="T15" fmla="*/ 48 h 164"/>
                <a:gd name="T16" fmla="*/ 298 w 324"/>
                <a:gd name="T17" fmla="*/ 64 h 164"/>
                <a:gd name="T18" fmla="*/ 312 w 324"/>
                <a:gd name="T19" fmla="*/ 78 h 164"/>
                <a:gd name="T20" fmla="*/ 324 w 324"/>
                <a:gd name="T21" fmla="*/ 92 h 164"/>
                <a:gd name="T22" fmla="*/ 324 w 324"/>
                <a:gd name="T23" fmla="*/ 92 h 164"/>
                <a:gd name="T24" fmla="*/ 310 w 324"/>
                <a:gd name="T25" fmla="*/ 104 h 164"/>
                <a:gd name="T26" fmla="*/ 294 w 324"/>
                <a:gd name="T27" fmla="*/ 116 h 164"/>
                <a:gd name="T28" fmla="*/ 274 w 324"/>
                <a:gd name="T29" fmla="*/ 130 h 164"/>
                <a:gd name="T30" fmla="*/ 248 w 324"/>
                <a:gd name="T31" fmla="*/ 144 h 164"/>
                <a:gd name="T32" fmla="*/ 220 w 324"/>
                <a:gd name="T33" fmla="*/ 156 h 164"/>
                <a:gd name="T34" fmla="*/ 206 w 324"/>
                <a:gd name="T35" fmla="*/ 160 h 164"/>
                <a:gd name="T36" fmla="*/ 190 w 324"/>
                <a:gd name="T37" fmla="*/ 164 h 164"/>
                <a:gd name="T38" fmla="*/ 174 w 324"/>
                <a:gd name="T39" fmla="*/ 164 h 164"/>
                <a:gd name="T40" fmla="*/ 156 w 324"/>
                <a:gd name="T41" fmla="*/ 164 h 164"/>
                <a:gd name="T42" fmla="*/ 156 w 324"/>
                <a:gd name="T43" fmla="*/ 164 h 164"/>
                <a:gd name="T44" fmla="*/ 140 w 324"/>
                <a:gd name="T45" fmla="*/ 162 h 164"/>
                <a:gd name="T46" fmla="*/ 124 w 324"/>
                <a:gd name="T47" fmla="*/ 160 h 164"/>
                <a:gd name="T48" fmla="*/ 108 w 324"/>
                <a:gd name="T49" fmla="*/ 154 h 164"/>
                <a:gd name="T50" fmla="*/ 94 w 324"/>
                <a:gd name="T51" fmla="*/ 148 h 164"/>
                <a:gd name="T52" fmla="*/ 68 w 324"/>
                <a:gd name="T53" fmla="*/ 134 h 164"/>
                <a:gd name="T54" fmla="*/ 44 w 324"/>
                <a:gd name="T55" fmla="*/ 118 h 164"/>
                <a:gd name="T56" fmla="*/ 26 w 324"/>
                <a:gd name="T57" fmla="*/ 102 h 164"/>
                <a:gd name="T58" fmla="*/ 12 w 324"/>
                <a:gd name="T59" fmla="*/ 88 h 164"/>
                <a:gd name="T60" fmla="*/ 0 w 324"/>
                <a:gd name="T61" fmla="*/ 74 h 164"/>
                <a:gd name="T62" fmla="*/ 0 w 324"/>
                <a:gd name="T63" fmla="*/ 74 h 164"/>
                <a:gd name="T64" fmla="*/ 14 w 324"/>
                <a:gd name="T65" fmla="*/ 62 h 164"/>
                <a:gd name="T66" fmla="*/ 28 w 324"/>
                <a:gd name="T67" fmla="*/ 50 h 164"/>
                <a:gd name="T68" fmla="*/ 50 w 324"/>
                <a:gd name="T69" fmla="*/ 36 h 164"/>
                <a:gd name="T70" fmla="*/ 74 w 324"/>
                <a:gd name="T71" fmla="*/ 22 h 164"/>
                <a:gd name="T72" fmla="*/ 102 w 324"/>
                <a:gd name="T73" fmla="*/ 10 h 164"/>
                <a:gd name="T74" fmla="*/ 118 w 324"/>
                <a:gd name="T75" fmla="*/ 6 h 164"/>
                <a:gd name="T76" fmla="*/ 134 w 324"/>
                <a:gd name="T77" fmla="*/ 2 h 164"/>
                <a:gd name="T78" fmla="*/ 150 w 324"/>
                <a:gd name="T79" fmla="*/ 0 h 164"/>
                <a:gd name="T80" fmla="*/ 166 w 324"/>
                <a:gd name="T81" fmla="*/ 2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4" h="164">
                  <a:moveTo>
                    <a:pt x="166" y="2"/>
                  </a:moveTo>
                  <a:lnTo>
                    <a:pt x="166" y="2"/>
                  </a:lnTo>
                  <a:lnTo>
                    <a:pt x="182" y="2"/>
                  </a:lnTo>
                  <a:lnTo>
                    <a:pt x="198" y="6"/>
                  </a:lnTo>
                  <a:lnTo>
                    <a:pt x="214" y="12"/>
                  </a:lnTo>
                  <a:lnTo>
                    <a:pt x="228" y="18"/>
                  </a:lnTo>
                  <a:lnTo>
                    <a:pt x="256" y="32"/>
                  </a:lnTo>
                  <a:lnTo>
                    <a:pt x="278" y="48"/>
                  </a:lnTo>
                  <a:lnTo>
                    <a:pt x="298" y="64"/>
                  </a:lnTo>
                  <a:lnTo>
                    <a:pt x="312" y="78"/>
                  </a:lnTo>
                  <a:lnTo>
                    <a:pt x="324" y="92"/>
                  </a:lnTo>
                  <a:lnTo>
                    <a:pt x="324" y="92"/>
                  </a:lnTo>
                  <a:lnTo>
                    <a:pt x="310" y="104"/>
                  </a:lnTo>
                  <a:lnTo>
                    <a:pt x="294" y="116"/>
                  </a:lnTo>
                  <a:lnTo>
                    <a:pt x="274" y="130"/>
                  </a:lnTo>
                  <a:lnTo>
                    <a:pt x="248" y="144"/>
                  </a:lnTo>
                  <a:lnTo>
                    <a:pt x="220" y="156"/>
                  </a:lnTo>
                  <a:lnTo>
                    <a:pt x="206" y="160"/>
                  </a:lnTo>
                  <a:lnTo>
                    <a:pt x="190" y="164"/>
                  </a:lnTo>
                  <a:lnTo>
                    <a:pt x="174" y="164"/>
                  </a:lnTo>
                  <a:lnTo>
                    <a:pt x="156" y="164"/>
                  </a:lnTo>
                  <a:lnTo>
                    <a:pt x="156" y="164"/>
                  </a:lnTo>
                  <a:lnTo>
                    <a:pt x="140" y="162"/>
                  </a:lnTo>
                  <a:lnTo>
                    <a:pt x="124" y="160"/>
                  </a:lnTo>
                  <a:lnTo>
                    <a:pt x="108" y="154"/>
                  </a:lnTo>
                  <a:lnTo>
                    <a:pt x="94" y="148"/>
                  </a:lnTo>
                  <a:lnTo>
                    <a:pt x="68" y="134"/>
                  </a:lnTo>
                  <a:lnTo>
                    <a:pt x="44" y="118"/>
                  </a:lnTo>
                  <a:lnTo>
                    <a:pt x="26" y="102"/>
                  </a:lnTo>
                  <a:lnTo>
                    <a:pt x="12" y="88"/>
                  </a:lnTo>
                  <a:lnTo>
                    <a:pt x="0" y="74"/>
                  </a:lnTo>
                  <a:lnTo>
                    <a:pt x="0" y="74"/>
                  </a:lnTo>
                  <a:lnTo>
                    <a:pt x="14" y="62"/>
                  </a:lnTo>
                  <a:lnTo>
                    <a:pt x="28" y="50"/>
                  </a:lnTo>
                  <a:lnTo>
                    <a:pt x="50" y="36"/>
                  </a:lnTo>
                  <a:lnTo>
                    <a:pt x="74" y="22"/>
                  </a:lnTo>
                  <a:lnTo>
                    <a:pt x="102" y="10"/>
                  </a:lnTo>
                  <a:lnTo>
                    <a:pt x="118" y="6"/>
                  </a:lnTo>
                  <a:lnTo>
                    <a:pt x="134" y="2"/>
                  </a:lnTo>
                  <a:lnTo>
                    <a:pt x="150" y="0"/>
                  </a:lnTo>
                  <a:lnTo>
                    <a:pt x="166" y="2"/>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98" name="Freeform 2151">
              <a:extLst>
                <a:ext uri="{FF2B5EF4-FFF2-40B4-BE49-F238E27FC236}">
                  <a16:creationId xmlns:a16="http://schemas.microsoft.com/office/drawing/2014/main" id="{322AFFB9-5F41-44D8-9348-3770398DFAA0}"/>
                </a:ext>
              </a:extLst>
            </p:cNvPr>
            <p:cNvSpPr>
              <a:spLocks/>
            </p:cNvSpPr>
            <p:nvPr/>
          </p:nvSpPr>
          <p:spPr bwMode="auto">
            <a:xfrm>
              <a:off x="8932407" y="3290191"/>
              <a:ext cx="578886" cy="293016"/>
            </a:xfrm>
            <a:custGeom>
              <a:avLst/>
              <a:gdLst>
                <a:gd name="T0" fmla="*/ 166 w 324"/>
                <a:gd name="T1" fmla="*/ 2 h 164"/>
                <a:gd name="T2" fmla="*/ 166 w 324"/>
                <a:gd name="T3" fmla="*/ 2 h 164"/>
                <a:gd name="T4" fmla="*/ 182 w 324"/>
                <a:gd name="T5" fmla="*/ 2 h 164"/>
                <a:gd name="T6" fmla="*/ 198 w 324"/>
                <a:gd name="T7" fmla="*/ 6 h 164"/>
                <a:gd name="T8" fmla="*/ 214 w 324"/>
                <a:gd name="T9" fmla="*/ 12 h 164"/>
                <a:gd name="T10" fmla="*/ 228 w 324"/>
                <a:gd name="T11" fmla="*/ 18 h 164"/>
                <a:gd name="T12" fmla="*/ 256 w 324"/>
                <a:gd name="T13" fmla="*/ 32 h 164"/>
                <a:gd name="T14" fmla="*/ 278 w 324"/>
                <a:gd name="T15" fmla="*/ 48 h 164"/>
                <a:gd name="T16" fmla="*/ 298 w 324"/>
                <a:gd name="T17" fmla="*/ 64 h 164"/>
                <a:gd name="T18" fmla="*/ 312 w 324"/>
                <a:gd name="T19" fmla="*/ 78 h 164"/>
                <a:gd name="T20" fmla="*/ 324 w 324"/>
                <a:gd name="T21" fmla="*/ 92 h 164"/>
                <a:gd name="T22" fmla="*/ 324 w 324"/>
                <a:gd name="T23" fmla="*/ 92 h 164"/>
                <a:gd name="T24" fmla="*/ 310 w 324"/>
                <a:gd name="T25" fmla="*/ 104 h 164"/>
                <a:gd name="T26" fmla="*/ 294 w 324"/>
                <a:gd name="T27" fmla="*/ 116 h 164"/>
                <a:gd name="T28" fmla="*/ 274 w 324"/>
                <a:gd name="T29" fmla="*/ 130 h 164"/>
                <a:gd name="T30" fmla="*/ 248 w 324"/>
                <a:gd name="T31" fmla="*/ 144 h 164"/>
                <a:gd name="T32" fmla="*/ 220 w 324"/>
                <a:gd name="T33" fmla="*/ 156 h 164"/>
                <a:gd name="T34" fmla="*/ 206 w 324"/>
                <a:gd name="T35" fmla="*/ 160 h 164"/>
                <a:gd name="T36" fmla="*/ 190 w 324"/>
                <a:gd name="T37" fmla="*/ 164 h 164"/>
                <a:gd name="T38" fmla="*/ 174 w 324"/>
                <a:gd name="T39" fmla="*/ 164 h 164"/>
                <a:gd name="T40" fmla="*/ 156 w 324"/>
                <a:gd name="T41" fmla="*/ 164 h 164"/>
                <a:gd name="T42" fmla="*/ 156 w 324"/>
                <a:gd name="T43" fmla="*/ 164 h 164"/>
                <a:gd name="T44" fmla="*/ 140 w 324"/>
                <a:gd name="T45" fmla="*/ 162 h 164"/>
                <a:gd name="T46" fmla="*/ 124 w 324"/>
                <a:gd name="T47" fmla="*/ 160 h 164"/>
                <a:gd name="T48" fmla="*/ 108 w 324"/>
                <a:gd name="T49" fmla="*/ 154 h 164"/>
                <a:gd name="T50" fmla="*/ 94 w 324"/>
                <a:gd name="T51" fmla="*/ 148 h 164"/>
                <a:gd name="T52" fmla="*/ 68 w 324"/>
                <a:gd name="T53" fmla="*/ 134 h 164"/>
                <a:gd name="T54" fmla="*/ 44 w 324"/>
                <a:gd name="T55" fmla="*/ 118 h 164"/>
                <a:gd name="T56" fmla="*/ 26 w 324"/>
                <a:gd name="T57" fmla="*/ 102 h 164"/>
                <a:gd name="T58" fmla="*/ 12 w 324"/>
                <a:gd name="T59" fmla="*/ 88 h 164"/>
                <a:gd name="T60" fmla="*/ 0 w 324"/>
                <a:gd name="T61" fmla="*/ 74 h 164"/>
                <a:gd name="T62" fmla="*/ 0 w 324"/>
                <a:gd name="T63" fmla="*/ 74 h 164"/>
                <a:gd name="T64" fmla="*/ 14 w 324"/>
                <a:gd name="T65" fmla="*/ 62 h 164"/>
                <a:gd name="T66" fmla="*/ 28 w 324"/>
                <a:gd name="T67" fmla="*/ 50 h 164"/>
                <a:gd name="T68" fmla="*/ 50 w 324"/>
                <a:gd name="T69" fmla="*/ 36 h 164"/>
                <a:gd name="T70" fmla="*/ 74 w 324"/>
                <a:gd name="T71" fmla="*/ 22 h 164"/>
                <a:gd name="T72" fmla="*/ 102 w 324"/>
                <a:gd name="T73" fmla="*/ 10 h 164"/>
                <a:gd name="T74" fmla="*/ 118 w 324"/>
                <a:gd name="T75" fmla="*/ 6 h 164"/>
                <a:gd name="T76" fmla="*/ 134 w 324"/>
                <a:gd name="T77" fmla="*/ 2 h 164"/>
                <a:gd name="T78" fmla="*/ 150 w 324"/>
                <a:gd name="T79" fmla="*/ 0 h 164"/>
                <a:gd name="T80" fmla="*/ 166 w 324"/>
                <a:gd name="T81" fmla="*/ 2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4" h="164">
                  <a:moveTo>
                    <a:pt x="166" y="2"/>
                  </a:moveTo>
                  <a:lnTo>
                    <a:pt x="166" y="2"/>
                  </a:lnTo>
                  <a:lnTo>
                    <a:pt x="182" y="2"/>
                  </a:lnTo>
                  <a:lnTo>
                    <a:pt x="198" y="6"/>
                  </a:lnTo>
                  <a:lnTo>
                    <a:pt x="214" y="12"/>
                  </a:lnTo>
                  <a:lnTo>
                    <a:pt x="228" y="18"/>
                  </a:lnTo>
                  <a:lnTo>
                    <a:pt x="256" y="32"/>
                  </a:lnTo>
                  <a:lnTo>
                    <a:pt x="278" y="48"/>
                  </a:lnTo>
                  <a:lnTo>
                    <a:pt x="298" y="64"/>
                  </a:lnTo>
                  <a:lnTo>
                    <a:pt x="312" y="78"/>
                  </a:lnTo>
                  <a:lnTo>
                    <a:pt x="324" y="92"/>
                  </a:lnTo>
                  <a:lnTo>
                    <a:pt x="324" y="92"/>
                  </a:lnTo>
                  <a:lnTo>
                    <a:pt x="310" y="104"/>
                  </a:lnTo>
                  <a:lnTo>
                    <a:pt x="294" y="116"/>
                  </a:lnTo>
                  <a:lnTo>
                    <a:pt x="274" y="130"/>
                  </a:lnTo>
                  <a:lnTo>
                    <a:pt x="248" y="144"/>
                  </a:lnTo>
                  <a:lnTo>
                    <a:pt x="220" y="156"/>
                  </a:lnTo>
                  <a:lnTo>
                    <a:pt x="206" y="160"/>
                  </a:lnTo>
                  <a:lnTo>
                    <a:pt x="190" y="164"/>
                  </a:lnTo>
                  <a:lnTo>
                    <a:pt x="174" y="164"/>
                  </a:lnTo>
                  <a:lnTo>
                    <a:pt x="156" y="164"/>
                  </a:lnTo>
                  <a:lnTo>
                    <a:pt x="156" y="164"/>
                  </a:lnTo>
                  <a:lnTo>
                    <a:pt x="140" y="162"/>
                  </a:lnTo>
                  <a:lnTo>
                    <a:pt x="124" y="160"/>
                  </a:lnTo>
                  <a:lnTo>
                    <a:pt x="108" y="154"/>
                  </a:lnTo>
                  <a:lnTo>
                    <a:pt x="94" y="148"/>
                  </a:lnTo>
                  <a:lnTo>
                    <a:pt x="68" y="134"/>
                  </a:lnTo>
                  <a:lnTo>
                    <a:pt x="44" y="118"/>
                  </a:lnTo>
                  <a:lnTo>
                    <a:pt x="26" y="102"/>
                  </a:lnTo>
                  <a:lnTo>
                    <a:pt x="12" y="88"/>
                  </a:lnTo>
                  <a:lnTo>
                    <a:pt x="0" y="74"/>
                  </a:lnTo>
                  <a:lnTo>
                    <a:pt x="0" y="74"/>
                  </a:lnTo>
                  <a:lnTo>
                    <a:pt x="14" y="62"/>
                  </a:lnTo>
                  <a:lnTo>
                    <a:pt x="28" y="50"/>
                  </a:lnTo>
                  <a:lnTo>
                    <a:pt x="50" y="36"/>
                  </a:lnTo>
                  <a:lnTo>
                    <a:pt x="74" y="22"/>
                  </a:lnTo>
                  <a:lnTo>
                    <a:pt x="102" y="10"/>
                  </a:lnTo>
                  <a:lnTo>
                    <a:pt x="118" y="6"/>
                  </a:lnTo>
                  <a:lnTo>
                    <a:pt x="134" y="2"/>
                  </a:lnTo>
                  <a:lnTo>
                    <a:pt x="150" y="0"/>
                  </a:lnTo>
                  <a:lnTo>
                    <a:pt x="166"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99" name="Freeform 2154">
              <a:extLst>
                <a:ext uri="{FF2B5EF4-FFF2-40B4-BE49-F238E27FC236}">
                  <a16:creationId xmlns:a16="http://schemas.microsoft.com/office/drawing/2014/main" id="{0D32A2F6-7E6D-40AC-9157-8D189A80D662}"/>
                </a:ext>
              </a:extLst>
            </p:cNvPr>
            <p:cNvSpPr>
              <a:spLocks/>
            </p:cNvSpPr>
            <p:nvPr/>
          </p:nvSpPr>
          <p:spPr bwMode="auto">
            <a:xfrm>
              <a:off x="8764458" y="2982881"/>
              <a:ext cx="550299" cy="307310"/>
            </a:xfrm>
            <a:custGeom>
              <a:avLst/>
              <a:gdLst>
                <a:gd name="T0" fmla="*/ 180 w 308"/>
                <a:gd name="T1" fmla="*/ 8 h 172"/>
                <a:gd name="T2" fmla="*/ 180 w 308"/>
                <a:gd name="T3" fmla="*/ 8 h 172"/>
                <a:gd name="T4" fmla="*/ 194 w 308"/>
                <a:gd name="T5" fmla="*/ 14 h 172"/>
                <a:gd name="T6" fmla="*/ 210 w 308"/>
                <a:gd name="T7" fmla="*/ 22 h 172"/>
                <a:gd name="T8" fmla="*/ 222 w 308"/>
                <a:gd name="T9" fmla="*/ 30 h 172"/>
                <a:gd name="T10" fmla="*/ 236 w 308"/>
                <a:gd name="T11" fmla="*/ 40 h 172"/>
                <a:gd name="T12" fmla="*/ 258 w 308"/>
                <a:gd name="T13" fmla="*/ 60 h 172"/>
                <a:gd name="T14" fmla="*/ 276 w 308"/>
                <a:gd name="T15" fmla="*/ 82 h 172"/>
                <a:gd name="T16" fmla="*/ 290 w 308"/>
                <a:gd name="T17" fmla="*/ 102 h 172"/>
                <a:gd name="T18" fmla="*/ 300 w 308"/>
                <a:gd name="T19" fmla="*/ 120 h 172"/>
                <a:gd name="T20" fmla="*/ 308 w 308"/>
                <a:gd name="T21" fmla="*/ 136 h 172"/>
                <a:gd name="T22" fmla="*/ 308 w 308"/>
                <a:gd name="T23" fmla="*/ 136 h 172"/>
                <a:gd name="T24" fmla="*/ 292 w 308"/>
                <a:gd name="T25" fmla="*/ 144 h 172"/>
                <a:gd name="T26" fmla="*/ 274 w 308"/>
                <a:gd name="T27" fmla="*/ 152 h 172"/>
                <a:gd name="T28" fmla="*/ 250 w 308"/>
                <a:gd name="T29" fmla="*/ 160 h 172"/>
                <a:gd name="T30" fmla="*/ 224 w 308"/>
                <a:gd name="T31" fmla="*/ 168 h 172"/>
                <a:gd name="T32" fmla="*/ 192 w 308"/>
                <a:gd name="T33" fmla="*/ 172 h 172"/>
                <a:gd name="T34" fmla="*/ 178 w 308"/>
                <a:gd name="T35" fmla="*/ 172 h 172"/>
                <a:gd name="T36" fmla="*/ 162 w 308"/>
                <a:gd name="T37" fmla="*/ 172 h 172"/>
                <a:gd name="T38" fmla="*/ 144 w 308"/>
                <a:gd name="T39" fmla="*/ 168 h 172"/>
                <a:gd name="T40" fmla="*/ 128 w 308"/>
                <a:gd name="T41" fmla="*/ 164 h 172"/>
                <a:gd name="T42" fmla="*/ 128 w 308"/>
                <a:gd name="T43" fmla="*/ 164 h 172"/>
                <a:gd name="T44" fmla="*/ 114 w 308"/>
                <a:gd name="T45" fmla="*/ 158 h 172"/>
                <a:gd name="T46" fmla="*/ 98 w 308"/>
                <a:gd name="T47" fmla="*/ 150 h 172"/>
                <a:gd name="T48" fmla="*/ 86 w 308"/>
                <a:gd name="T49" fmla="*/ 142 h 172"/>
                <a:gd name="T50" fmla="*/ 72 w 308"/>
                <a:gd name="T51" fmla="*/ 132 h 172"/>
                <a:gd name="T52" fmla="*/ 50 w 308"/>
                <a:gd name="T53" fmla="*/ 112 h 172"/>
                <a:gd name="T54" fmla="*/ 32 w 308"/>
                <a:gd name="T55" fmla="*/ 90 h 172"/>
                <a:gd name="T56" fmla="*/ 18 w 308"/>
                <a:gd name="T57" fmla="*/ 70 h 172"/>
                <a:gd name="T58" fmla="*/ 8 w 308"/>
                <a:gd name="T59" fmla="*/ 52 h 172"/>
                <a:gd name="T60" fmla="*/ 0 w 308"/>
                <a:gd name="T61" fmla="*/ 36 h 172"/>
                <a:gd name="T62" fmla="*/ 0 w 308"/>
                <a:gd name="T63" fmla="*/ 36 h 172"/>
                <a:gd name="T64" fmla="*/ 16 w 308"/>
                <a:gd name="T65" fmla="*/ 28 h 172"/>
                <a:gd name="T66" fmla="*/ 34 w 308"/>
                <a:gd name="T67" fmla="*/ 20 h 172"/>
                <a:gd name="T68" fmla="*/ 58 w 308"/>
                <a:gd name="T69" fmla="*/ 12 h 172"/>
                <a:gd name="T70" fmla="*/ 86 w 308"/>
                <a:gd name="T71" fmla="*/ 4 h 172"/>
                <a:gd name="T72" fmla="*/ 116 w 308"/>
                <a:gd name="T73" fmla="*/ 0 h 172"/>
                <a:gd name="T74" fmla="*/ 132 w 308"/>
                <a:gd name="T75" fmla="*/ 0 h 172"/>
                <a:gd name="T76" fmla="*/ 148 w 308"/>
                <a:gd name="T77" fmla="*/ 2 h 172"/>
                <a:gd name="T78" fmla="*/ 164 w 308"/>
                <a:gd name="T79" fmla="*/ 4 h 172"/>
                <a:gd name="T80" fmla="*/ 180 w 308"/>
                <a:gd name="T81" fmla="*/ 8 h 172"/>
                <a:gd name="T82" fmla="*/ 180 w 308"/>
                <a:gd name="T83" fmla="*/ 8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08" h="172">
                  <a:moveTo>
                    <a:pt x="180" y="8"/>
                  </a:moveTo>
                  <a:lnTo>
                    <a:pt x="180" y="8"/>
                  </a:lnTo>
                  <a:lnTo>
                    <a:pt x="194" y="14"/>
                  </a:lnTo>
                  <a:lnTo>
                    <a:pt x="210" y="22"/>
                  </a:lnTo>
                  <a:lnTo>
                    <a:pt x="222" y="30"/>
                  </a:lnTo>
                  <a:lnTo>
                    <a:pt x="236" y="40"/>
                  </a:lnTo>
                  <a:lnTo>
                    <a:pt x="258" y="60"/>
                  </a:lnTo>
                  <a:lnTo>
                    <a:pt x="276" y="82"/>
                  </a:lnTo>
                  <a:lnTo>
                    <a:pt x="290" y="102"/>
                  </a:lnTo>
                  <a:lnTo>
                    <a:pt x="300" y="120"/>
                  </a:lnTo>
                  <a:lnTo>
                    <a:pt x="308" y="136"/>
                  </a:lnTo>
                  <a:lnTo>
                    <a:pt x="308" y="136"/>
                  </a:lnTo>
                  <a:lnTo>
                    <a:pt x="292" y="144"/>
                  </a:lnTo>
                  <a:lnTo>
                    <a:pt x="274" y="152"/>
                  </a:lnTo>
                  <a:lnTo>
                    <a:pt x="250" y="160"/>
                  </a:lnTo>
                  <a:lnTo>
                    <a:pt x="224" y="168"/>
                  </a:lnTo>
                  <a:lnTo>
                    <a:pt x="192" y="172"/>
                  </a:lnTo>
                  <a:lnTo>
                    <a:pt x="178" y="172"/>
                  </a:lnTo>
                  <a:lnTo>
                    <a:pt x="162" y="172"/>
                  </a:lnTo>
                  <a:lnTo>
                    <a:pt x="144" y="168"/>
                  </a:lnTo>
                  <a:lnTo>
                    <a:pt x="128" y="164"/>
                  </a:lnTo>
                  <a:lnTo>
                    <a:pt x="128" y="164"/>
                  </a:lnTo>
                  <a:lnTo>
                    <a:pt x="114" y="158"/>
                  </a:lnTo>
                  <a:lnTo>
                    <a:pt x="98" y="150"/>
                  </a:lnTo>
                  <a:lnTo>
                    <a:pt x="86" y="142"/>
                  </a:lnTo>
                  <a:lnTo>
                    <a:pt x="72" y="132"/>
                  </a:lnTo>
                  <a:lnTo>
                    <a:pt x="50" y="112"/>
                  </a:lnTo>
                  <a:lnTo>
                    <a:pt x="32" y="90"/>
                  </a:lnTo>
                  <a:lnTo>
                    <a:pt x="18" y="70"/>
                  </a:lnTo>
                  <a:lnTo>
                    <a:pt x="8" y="52"/>
                  </a:lnTo>
                  <a:lnTo>
                    <a:pt x="0" y="36"/>
                  </a:lnTo>
                  <a:lnTo>
                    <a:pt x="0" y="36"/>
                  </a:lnTo>
                  <a:lnTo>
                    <a:pt x="16" y="28"/>
                  </a:lnTo>
                  <a:lnTo>
                    <a:pt x="34" y="20"/>
                  </a:lnTo>
                  <a:lnTo>
                    <a:pt x="58" y="12"/>
                  </a:lnTo>
                  <a:lnTo>
                    <a:pt x="86" y="4"/>
                  </a:lnTo>
                  <a:lnTo>
                    <a:pt x="116" y="0"/>
                  </a:lnTo>
                  <a:lnTo>
                    <a:pt x="132" y="0"/>
                  </a:lnTo>
                  <a:lnTo>
                    <a:pt x="148" y="2"/>
                  </a:lnTo>
                  <a:lnTo>
                    <a:pt x="164" y="4"/>
                  </a:lnTo>
                  <a:lnTo>
                    <a:pt x="180" y="8"/>
                  </a:lnTo>
                  <a:lnTo>
                    <a:pt x="180" y="8"/>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00" name="Freeform 2156">
              <a:extLst>
                <a:ext uri="{FF2B5EF4-FFF2-40B4-BE49-F238E27FC236}">
                  <a16:creationId xmlns:a16="http://schemas.microsoft.com/office/drawing/2014/main" id="{50457109-3E56-4459-8C6F-39F3B3C82E56}"/>
                </a:ext>
              </a:extLst>
            </p:cNvPr>
            <p:cNvSpPr>
              <a:spLocks/>
            </p:cNvSpPr>
            <p:nvPr/>
          </p:nvSpPr>
          <p:spPr bwMode="auto">
            <a:xfrm>
              <a:off x="10326020" y="3104376"/>
              <a:ext cx="335897" cy="500272"/>
            </a:xfrm>
            <a:custGeom>
              <a:avLst/>
              <a:gdLst>
                <a:gd name="T0" fmla="*/ 22 w 188"/>
                <a:gd name="T1" fmla="*/ 98 h 280"/>
                <a:gd name="T2" fmla="*/ 22 w 188"/>
                <a:gd name="T3" fmla="*/ 98 h 280"/>
                <a:gd name="T4" fmla="*/ 16 w 188"/>
                <a:gd name="T5" fmla="*/ 114 h 280"/>
                <a:gd name="T6" fmla="*/ 10 w 188"/>
                <a:gd name="T7" fmla="*/ 128 h 280"/>
                <a:gd name="T8" fmla="*/ 6 w 188"/>
                <a:gd name="T9" fmla="*/ 144 h 280"/>
                <a:gd name="T10" fmla="*/ 2 w 188"/>
                <a:gd name="T11" fmla="*/ 160 h 280"/>
                <a:gd name="T12" fmla="*/ 0 w 188"/>
                <a:gd name="T13" fmla="*/ 190 h 280"/>
                <a:gd name="T14" fmla="*/ 0 w 188"/>
                <a:gd name="T15" fmla="*/ 218 h 280"/>
                <a:gd name="T16" fmla="*/ 4 w 188"/>
                <a:gd name="T17" fmla="*/ 242 h 280"/>
                <a:gd name="T18" fmla="*/ 8 w 188"/>
                <a:gd name="T19" fmla="*/ 262 h 280"/>
                <a:gd name="T20" fmla="*/ 12 w 188"/>
                <a:gd name="T21" fmla="*/ 280 h 280"/>
                <a:gd name="T22" fmla="*/ 12 w 188"/>
                <a:gd name="T23" fmla="*/ 280 h 280"/>
                <a:gd name="T24" fmla="*/ 30 w 188"/>
                <a:gd name="T25" fmla="*/ 276 h 280"/>
                <a:gd name="T26" fmla="*/ 48 w 188"/>
                <a:gd name="T27" fmla="*/ 270 h 280"/>
                <a:gd name="T28" fmla="*/ 72 w 188"/>
                <a:gd name="T29" fmla="*/ 260 h 280"/>
                <a:gd name="T30" fmla="*/ 96 w 188"/>
                <a:gd name="T31" fmla="*/ 246 h 280"/>
                <a:gd name="T32" fmla="*/ 122 w 188"/>
                <a:gd name="T33" fmla="*/ 230 h 280"/>
                <a:gd name="T34" fmla="*/ 134 w 188"/>
                <a:gd name="T35" fmla="*/ 220 h 280"/>
                <a:gd name="T36" fmla="*/ 144 w 188"/>
                <a:gd name="T37" fmla="*/ 208 h 280"/>
                <a:gd name="T38" fmla="*/ 156 w 188"/>
                <a:gd name="T39" fmla="*/ 196 h 280"/>
                <a:gd name="T40" fmla="*/ 164 w 188"/>
                <a:gd name="T41" fmla="*/ 182 h 280"/>
                <a:gd name="T42" fmla="*/ 164 w 188"/>
                <a:gd name="T43" fmla="*/ 182 h 280"/>
                <a:gd name="T44" fmla="*/ 172 w 188"/>
                <a:gd name="T45" fmla="*/ 166 h 280"/>
                <a:gd name="T46" fmla="*/ 178 w 188"/>
                <a:gd name="T47" fmla="*/ 152 h 280"/>
                <a:gd name="T48" fmla="*/ 182 w 188"/>
                <a:gd name="T49" fmla="*/ 136 h 280"/>
                <a:gd name="T50" fmla="*/ 186 w 188"/>
                <a:gd name="T51" fmla="*/ 120 h 280"/>
                <a:gd name="T52" fmla="*/ 188 w 188"/>
                <a:gd name="T53" fmla="*/ 90 h 280"/>
                <a:gd name="T54" fmla="*/ 188 w 188"/>
                <a:gd name="T55" fmla="*/ 62 h 280"/>
                <a:gd name="T56" fmla="*/ 184 w 188"/>
                <a:gd name="T57" fmla="*/ 38 h 280"/>
                <a:gd name="T58" fmla="*/ 180 w 188"/>
                <a:gd name="T59" fmla="*/ 18 h 280"/>
                <a:gd name="T60" fmla="*/ 176 w 188"/>
                <a:gd name="T61" fmla="*/ 0 h 280"/>
                <a:gd name="T62" fmla="*/ 176 w 188"/>
                <a:gd name="T63" fmla="*/ 0 h 280"/>
                <a:gd name="T64" fmla="*/ 158 w 188"/>
                <a:gd name="T65" fmla="*/ 4 h 280"/>
                <a:gd name="T66" fmla="*/ 140 w 188"/>
                <a:gd name="T67" fmla="*/ 10 h 280"/>
                <a:gd name="T68" fmla="*/ 116 w 188"/>
                <a:gd name="T69" fmla="*/ 20 h 280"/>
                <a:gd name="T70" fmla="*/ 92 w 188"/>
                <a:gd name="T71" fmla="*/ 34 h 280"/>
                <a:gd name="T72" fmla="*/ 66 w 188"/>
                <a:gd name="T73" fmla="*/ 50 h 280"/>
                <a:gd name="T74" fmla="*/ 54 w 188"/>
                <a:gd name="T75" fmla="*/ 60 h 280"/>
                <a:gd name="T76" fmla="*/ 42 w 188"/>
                <a:gd name="T77" fmla="*/ 72 h 280"/>
                <a:gd name="T78" fmla="*/ 32 w 188"/>
                <a:gd name="T79" fmla="*/ 84 h 280"/>
                <a:gd name="T80" fmla="*/ 22 w 188"/>
                <a:gd name="T81" fmla="*/ 98 h 280"/>
                <a:gd name="T82" fmla="*/ 22 w 188"/>
                <a:gd name="T83" fmla="*/ 98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88" h="280">
                  <a:moveTo>
                    <a:pt x="22" y="98"/>
                  </a:moveTo>
                  <a:lnTo>
                    <a:pt x="22" y="98"/>
                  </a:lnTo>
                  <a:lnTo>
                    <a:pt x="16" y="114"/>
                  </a:lnTo>
                  <a:lnTo>
                    <a:pt x="10" y="128"/>
                  </a:lnTo>
                  <a:lnTo>
                    <a:pt x="6" y="144"/>
                  </a:lnTo>
                  <a:lnTo>
                    <a:pt x="2" y="160"/>
                  </a:lnTo>
                  <a:lnTo>
                    <a:pt x="0" y="190"/>
                  </a:lnTo>
                  <a:lnTo>
                    <a:pt x="0" y="218"/>
                  </a:lnTo>
                  <a:lnTo>
                    <a:pt x="4" y="242"/>
                  </a:lnTo>
                  <a:lnTo>
                    <a:pt x="8" y="262"/>
                  </a:lnTo>
                  <a:lnTo>
                    <a:pt x="12" y="280"/>
                  </a:lnTo>
                  <a:lnTo>
                    <a:pt x="12" y="280"/>
                  </a:lnTo>
                  <a:lnTo>
                    <a:pt x="30" y="276"/>
                  </a:lnTo>
                  <a:lnTo>
                    <a:pt x="48" y="270"/>
                  </a:lnTo>
                  <a:lnTo>
                    <a:pt x="72" y="260"/>
                  </a:lnTo>
                  <a:lnTo>
                    <a:pt x="96" y="246"/>
                  </a:lnTo>
                  <a:lnTo>
                    <a:pt x="122" y="230"/>
                  </a:lnTo>
                  <a:lnTo>
                    <a:pt x="134" y="220"/>
                  </a:lnTo>
                  <a:lnTo>
                    <a:pt x="144" y="208"/>
                  </a:lnTo>
                  <a:lnTo>
                    <a:pt x="156" y="196"/>
                  </a:lnTo>
                  <a:lnTo>
                    <a:pt x="164" y="182"/>
                  </a:lnTo>
                  <a:lnTo>
                    <a:pt x="164" y="182"/>
                  </a:lnTo>
                  <a:lnTo>
                    <a:pt x="172" y="166"/>
                  </a:lnTo>
                  <a:lnTo>
                    <a:pt x="178" y="152"/>
                  </a:lnTo>
                  <a:lnTo>
                    <a:pt x="182" y="136"/>
                  </a:lnTo>
                  <a:lnTo>
                    <a:pt x="186" y="120"/>
                  </a:lnTo>
                  <a:lnTo>
                    <a:pt x="188" y="90"/>
                  </a:lnTo>
                  <a:lnTo>
                    <a:pt x="188" y="62"/>
                  </a:lnTo>
                  <a:lnTo>
                    <a:pt x="184" y="38"/>
                  </a:lnTo>
                  <a:lnTo>
                    <a:pt x="180" y="18"/>
                  </a:lnTo>
                  <a:lnTo>
                    <a:pt x="176" y="0"/>
                  </a:lnTo>
                  <a:lnTo>
                    <a:pt x="176" y="0"/>
                  </a:lnTo>
                  <a:lnTo>
                    <a:pt x="158" y="4"/>
                  </a:lnTo>
                  <a:lnTo>
                    <a:pt x="140" y="10"/>
                  </a:lnTo>
                  <a:lnTo>
                    <a:pt x="116" y="20"/>
                  </a:lnTo>
                  <a:lnTo>
                    <a:pt x="92" y="34"/>
                  </a:lnTo>
                  <a:lnTo>
                    <a:pt x="66" y="50"/>
                  </a:lnTo>
                  <a:lnTo>
                    <a:pt x="54" y="60"/>
                  </a:lnTo>
                  <a:lnTo>
                    <a:pt x="42" y="72"/>
                  </a:lnTo>
                  <a:lnTo>
                    <a:pt x="32" y="84"/>
                  </a:lnTo>
                  <a:lnTo>
                    <a:pt x="22" y="98"/>
                  </a:lnTo>
                  <a:lnTo>
                    <a:pt x="22" y="98"/>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01" name="Freeform 2158">
              <a:extLst>
                <a:ext uri="{FF2B5EF4-FFF2-40B4-BE49-F238E27FC236}">
                  <a16:creationId xmlns:a16="http://schemas.microsoft.com/office/drawing/2014/main" id="{4D22276C-FD7E-473C-8F98-1DC0D977C57B}"/>
                </a:ext>
              </a:extLst>
            </p:cNvPr>
            <p:cNvSpPr>
              <a:spLocks/>
            </p:cNvSpPr>
            <p:nvPr/>
          </p:nvSpPr>
          <p:spPr bwMode="auto">
            <a:xfrm>
              <a:off x="9707828" y="3536753"/>
              <a:ext cx="532432" cy="314456"/>
            </a:xfrm>
            <a:custGeom>
              <a:avLst/>
              <a:gdLst>
                <a:gd name="T0" fmla="*/ 118 w 298"/>
                <a:gd name="T1" fmla="*/ 12 h 176"/>
                <a:gd name="T2" fmla="*/ 118 w 298"/>
                <a:gd name="T3" fmla="*/ 12 h 176"/>
                <a:gd name="T4" fmla="*/ 102 w 298"/>
                <a:gd name="T5" fmla="*/ 20 h 176"/>
                <a:gd name="T6" fmla="*/ 88 w 298"/>
                <a:gd name="T7" fmla="*/ 28 h 176"/>
                <a:gd name="T8" fmla="*/ 76 w 298"/>
                <a:gd name="T9" fmla="*/ 38 h 176"/>
                <a:gd name="T10" fmla="*/ 64 w 298"/>
                <a:gd name="T11" fmla="*/ 50 h 176"/>
                <a:gd name="T12" fmla="*/ 44 w 298"/>
                <a:gd name="T13" fmla="*/ 72 h 176"/>
                <a:gd name="T14" fmla="*/ 28 w 298"/>
                <a:gd name="T15" fmla="*/ 96 h 176"/>
                <a:gd name="T16" fmla="*/ 16 w 298"/>
                <a:gd name="T17" fmla="*/ 118 h 176"/>
                <a:gd name="T18" fmla="*/ 8 w 298"/>
                <a:gd name="T19" fmla="*/ 136 h 176"/>
                <a:gd name="T20" fmla="*/ 0 w 298"/>
                <a:gd name="T21" fmla="*/ 152 h 176"/>
                <a:gd name="T22" fmla="*/ 0 w 298"/>
                <a:gd name="T23" fmla="*/ 152 h 176"/>
                <a:gd name="T24" fmla="*/ 18 w 298"/>
                <a:gd name="T25" fmla="*/ 160 h 176"/>
                <a:gd name="T26" fmla="*/ 36 w 298"/>
                <a:gd name="T27" fmla="*/ 166 h 176"/>
                <a:gd name="T28" fmla="*/ 60 w 298"/>
                <a:gd name="T29" fmla="*/ 172 h 176"/>
                <a:gd name="T30" fmla="*/ 88 w 298"/>
                <a:gd name="T31" fmla="*/ 176 h 176"/>
                <a:gd name="T32" fmla="*/ 120 w 298"/>
                <a:gd name="T33" fmla="*/ 176 h 176"/>
                <a:gd name="T34" fmla="*/ 136 w 298"/>
                <a:gd name="T35" fmla="*/ 176 h 176"/>
                <a:gd name="T36" fmla="*/ 150 w 298"/>
                <a:gd name="T37" fmla="*/ 174 h 176"/>
                <a:gd name="T38" fmla="*/ 166 w 298"/>
                <a:gd name="T39" fmla="*/ 170 h 176"/>
                <a:gd name="T40" fmla="*/ 182 w 298"/>
                <a:gd name="T41" fmla="*/ 164 h 176"/>
                <a:gd name="T42" fmla="*/ 182 w 298"/>
                <a:gd name="T43" fmla="*/ 164 h 176"/>
                <a:gd name="T44" fmla="*/ 198 w 298"/>
                <a:gd name="T45" fmla="*/ 156 h 176"/>
                <a:gd name="T46" fmla="*/ 210 w 298"/>
                <a:gd name="T47" fmla="*/ 148 h 176"/>
                <a:gd name="T48" fmla="*/ 224 w 298"/>
                <a:gd name="T49" fmla="*/ 138 h 176"/>
                <a:gd name="T50" fmla="*/ 236 w 298"/>
                <a:gd name="T51" fmla="*/ 126 h 176"/>
                <a:gd name="T52" fmla="*/ 256 w 298"/>
                <a:gd name="T53" fmla="*/ 104 h 176"/>
                <a:gd name="T54" fmla="*/ 272 w 298"/>
                <a:gd name="T55" fmla="*/ 80 h 176"/>
                <a:gd name="T56" fmla="*/ 284 w 298"/>
                <a:gd name="T57" fmla="*/ 58 h 176"/>
                <a:gd name="T58" fmla="*/ 292 w 298"/>
                <a:gd name="T59" fmla="*/ 40 h 176"/>
                <a:gd name="T60" fmla="*/ 298 w 298"/>
                <a:gd name="T61" fmla="*/ 24 h 176"/>
                <a:gd name="T62" fmla="*/ 298 w 298"/>
                <a:gd name="T63" fmla="*/ 24 h 176"/>
                <a:gd name="T64" fmla="*/ 282 w 298"/>
                <a:gd name="T65" fmla="*/ 18 h 176"/>
                <a:gd name="T66" fmla="*/ 264 w 298"/>
                <a:gd name="T67" fmla="*/ 10 h 176"/>
                <a:gd name="T68" fmla="*/ 238 w 298"/>
                <a:gd name="T69" fmla="*/ 4 h 176"/>
                <a:gd name="T70" fmla="*/ 210 w 298"/>
                <a:gd name="T71" fmla="*/ 0 h 176"/>
                <a:gd name="T72" fmla="*/ 180 w 298"/>
                <a:gd name="T73" fmla="*/ 0 h 176"/>
                <a:gd name="T74" fmla="*/ 164 w 298"/>
                <a:gd name="T75" fmla="*/ 0 h 176"/>
                <a:gd name="T76" fmla="*/ 148 w 298"/>
                <a:gd name="T77" fmla="*/ 4 h 176"/>
                <a:gd name="T78" fmla="*/ 132 w 298"/>
                <a:gd name="T79" fmla="*/ 8 h 176"/>
                <a:gd name="T80" fmla="*/ 118 w 298"/>
                <a:gd name="T81" fmla="*/ 12 h 176"/>
                <a:gd name="T82" fmla="*/ 118 w 298"/>
                <a:gd name="T83" fmla="*/ 12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98" h="176">
                  <a:moveTo>
                    <a:pt x="118" y="12"/>
                  </a:moveTo>
                  <a:lnTo>
                    <a:pt x="118" y="12"/>
                  </a:lnTo>
                  <a:lnTo>
                    <a:pt x="102" y="20"/>
                  </a:lnTo>
                  <a:lnTo>
                    <a:pt x="88" y="28"/>
                  </a:lnTo>
                  <a:lnTo>
                    <a:pt x="76" y="38"/>
                  </a:lnTo>
                  <a:lnTo>
                    <a:pt x="64" y="50"/>
                  </a:lnTo>
                  <a:lnTo>
                    <a:pt x="44" y="72"/>
                  </a:lnTo>
                  <a:lnTo>
                    <a:pt x="28" y="96"/>
                  </a:lnTo>
                  <a:lnTo>
                    <a:pt x="16" y="118"/>
                  </a:lnTo>
                  <a:lnTo>
                    <a:pt x="8" y="136"/>
                  </a:lnTo>
                  <a:lnTo>
                    <a:pt x="0" y="152"/>
                  </a:lnTo>
                  <a:lnTo>
                    <a:pt x="0" y="152"/>
                  </a:lnTo>
                  <a:lnTo>
                    <a:pt x="18" y="160"/>
                  </a:lnTo>
                  <a:lnTo>
                    <a:pt x="36" y="166"/>
                  </a:lnTo>
                  <a:lnTo>
                    <a:pt x="60" y="172"/>
                  </a:lnTo>
                  <a:lnTo>
                    <a:pt x="88" y="176"/>
                  </a:lnTo>
                  <a:lnTo>
                    <a:pt x="120" y="176"/>
                  </a:lnTo>
                  <a:lnTo>
                    <a:pt x="136" y="176"/>
                  </a:lnTo>
                  <a:lnTo>
                    <a:pt x="150" y="174"/>
                  </a:lnTo>
                  <a:lnTo>
                    <a:pt x="166" y="170"/>
                  </a:lnTo>
                  <a:lnTo>
                    <a:pt x="182" y="164"/>
                  </a:lnTo>
                  <a:lnTo>
                    <a:pt x="182" y="164"/>
                  </a:lnTo>
                  <a:lnTo>
                    <a:pt x="198" y="156"/>
                  </a:lnTo>
                  <a:lnTo>
                    <a:pt x="210" y="148"/>
                  </a:lnTo>
                  <a:lnTo>
                    <a:pt x="224" y="138"/>
                  </a:lnTo>
                  <a:lnTo>
                    <a:pt x="236" y="126"/>
                  </a:lnTo>
                  <a:lnTo>
                    <a:pt x="256" y="104"/>
                  </a:lnTo>
                  <a:lnTo>
                    <a:pt x="272" y="80"/>
                  </a:lnTo>
                  <a:lnTo>
                    <a:pt x="284" y="58"/>
                  </a:lnTo>
                  <a:lnTo>
                    <a:pt x="292" y="40"/>
                  </a:lnTo>
                  <a:lnTo>
                    <a:pt x="298" y="24"/>
                  </a:lnTo>
                  <a:lnTo>
                    <a:pt x="298" y="24"/>
                  </a:lnTo>
                  <a:lnTo>
                    <a:pt x="282" y="18"/>
                  </a:lnTo>
                  <a:lnTo>
                    <a:pt x="264" y="10"/>
                  </a:lnTo>
                  <a:lnTo>
                    <a:pt x="238" y="4"/>
                  </a:lnTo>
                  <a:lnTo>
                    <a:pt x="210" y="0"/>
                  </a:lnTo>
                  <a:lnTo>
                    <a:pt x="180" y="0"/>
                  </a:lnTo>
                  <a:lnTo>
                    <a:pt x="164" y="0"/>
                  </a:lnTo>
                  <a:lnTo>
                    <a:pt x="148" y="4"/>
                  </a:lnTo>
                  <a:lnTo>
                    <a:pt x="132" y="8"/>
                  </a:lnTo>
                  <a:lnTo>
                    <a:pt x="118" y="12"/>
                  </a:lnTo>
                  <a:lnTo>
                    <a:pt x="118" y="12"/>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02" name="Freeform 2160">
              <a:extLst>
                <a:ext uri="{FF2B5EF4-FFF2-40B4-BE49-F238E27FC236}">
                  <a16:creationId xmlns:a16="http://schemas.microsoft.com/office/drawing/2014/main" id="{67CF675D-073A-494D-8073-02402833BD3A}"/>
                </a:ext>
              </a:extLst>
            </p:cNvPr>
            <p:cNvSpPr>
              <a:spLocks/>
            </p:cNvSpPr>
            <p:nvPr/>
          </p:nvSpPr>
          <p:spPr bwMode="auto">
            <a:xfrm>
              <a:off x="10229539" y="3479579"/>
              <a:ext cx="364484" cy="464538"/>
            </a:xfrm>
            <a:custGeom>
              <a:avLst/>
              <a:gdLst>
                <a:gd name="T0" fmla="*/ 36 w 204"/>
                <a:gd name="T1" fmla="*/ 82 h 260"/>
                <a:gd name="T2" fmla="*/ 36 w 204"/>
                <a:gd name="T3" fmla="*/ 82 h 260"/>
                <a:gd name="T4" fmla="*/ 28 w 204"/>
                <a:gd name="T5" fmla="*/ 94 h 260"/>
                <a:gd name="T6" fmla="*/ 20 w 204"/>
                <a:gd name="T7" fmla="*/ 110 h 260"/>
                <a:gd name="T8" fmla="*/ 14 w 204"/>
                <a:gd name="T9" fmla="*/ 124 h 260"/>
                <a:gd name="T10" fmla="*/ 10 w 204"/>
                <a:gd name="T11" fmla="*/ 140 h 260"/>
                <a:gd name="T12" fmla="*/ 4 w 204"/>
                <a:gd name="T13" fmla="*/ 170 h 260"/>
                <a:gd name="T14" fmla="*/ 0 w 204"/>
                <a:gd name="T15" fmla="*/ 198 h 260"/>
                <a:gd name="T16" fmla="*/ 2 w 204"/>
                <a:gd name="T17" fmla="*/ 222 h 260"/>
                <a:gd name="T18" fmla="*/ 2 w 204"/>
                <a:gd name="T19" fmla="*/ 242 h 260"/>
                <a:gd name="T20" fmla="*/ 6 w 204"/>
                <a:gd name="T21" fmla="*/ 260 h 260"/>
                <a:gd name="T22" fmla="*/ 6 w 204"/>
                <a:gd name="T23" fmla="*/ 260 h 260"/>
                <a:gd name="T24" fmla="*/ 24 w 204"/>
                <a:gd name="T25" fmla="*/ 258 h 260"/>
                <a:gd name="T26" fmla="*/ 42 w 204"/>
                <a:gd name="T27" fmla="*/ 254 h 260"/>
                <a:gd name="T28" fmla="*/ 66 w 204"/>
                <a:gd name="T29" fmla="*/ 246 h 260"/>
                <a:gd name="T30" fmla="*/ 94 w 204"/>
                <a:gd name="T31" fmla="*/ 236 h 260"/>
                <a:gd name="T32" fmla="*/ 120 w 204"/>
                <a:gd name="T33" fmla="*/ 222 h 260"/>
                <a:gd name="T34" fmla="*/ 134 w 204"/>
                <a:gd name="T35" fmla="*/ 214 h 260"/>
                <a:gd name="T36" fmla="*/ 146 w 204"/>
                <a:gd name="T37" fmla="*/ 204 h 260"/>
                <a:gd name="T38" fmla="*/ 158 w 204"/>
                <a:gd name="T39" fmla="*/ 192 h 260"/>
                <a:gd name="T40" fmla="*/ 168 w 204"/>
                <a:gd name="T41" fmla="*/ 180 h 260"/>
                <a:gd name="T42" fmla="*/ 168 w 204"/>
                <a:gd name="T43" fmla="*/ 180 h 260"/>
                <a:gd name="T44" fmla="*/ 178 w 204"/>
                <a:gd name="T45" fmla="*/ 166 h 260"/>
                <a:gd name="T46" fmla="*/ 184 w 204"/>
                <a:gd name="T47" fmla="*/ 150 h 260"/>
                <a:gd name="T48" fmla="*/ 190 w 204"/>
                <a:gd name="T49" fmla="*/ 136 h 260"/>
                <a:gd name="T50" fmla="*/ 196 w 204"/>
                <a:gd name="T51" fmla="*/ 120 h 260"/>
                <a:gd name="T52" fmla="*/ 202 w 204"/>
                <a:gd name="T53" fmla="*/ 90 h 260"/>
                <a:gd name="T54" fmla="*/ 204 w 204"/>
                <a:gd name="T55" fmla="*/ 62 h 260"/>
                <a:gd name="T56" fmla="*/ 204 w 204"/>
                <a:gd name="T57" fmla="*/ 38 h 260"/>
                <a:gd name="T58" fmla="*/ 202 w 204"/>
                <a:gd name="T59" fmla="*/ 18 h 260"/>
                <a:gd name="T60" fmla="*/ 200 w 204"/>
                <a:gd name="T61" fmla="*/ 0 h 260"/>
                <a:gd name="T62" fmla="*/ 200 w 204"/>
                <a:gd name="T63" fmla="*/ 0 h 260"/>
                <a:gd name="T64" fmla="*/ 182 w 204"/>
                <a:gd name="T65" fmla="*/ 2 h 260"/>
                <a:gd name="T66" fmla="*/ 162 w 204"/>
                <a:gd name="T67" fmla="*/ 6 h 260"/>
                <a:gd name="T68" fmla="*/ 138 w 204"/>
                <a:gd name="T69" fmla="*/ 14 h 260"/>
                <a:gd name="T70" fmla="*/ 112 w 204"/>
                <a:gd name="T71" fmla="*/ 24 h 260"/>
                <a:gd name="T72" fmla="*/ 84 w 204"/>
                <a:gd name="T73" fmla="*/ 38 h 260"/>
                <a:gd name="T74" fmla="*/ 72 w 204"/>
                <a:gd name="T75" fmla="*/ 46 h 260"/>
                <a:gd name="T76" fmla="*/ 58 w 204"/>
                <a:gd name="T77" fmla="*/ 56 h 260"/>
                <a:gd name="T78" fmla="*/ 48 w 204"/>
                <a:gd name="T79" fmla="*/ 68 h 260"/>
                <a:gd name="T80" fmla="*/ 36 w 204"/>
                <a:gd name="T81" fmla="*/ 82 h 260"/>
                <a:gd name="T82" fmla="*/ 36 w 204"/>
                <a:gd name="T83" fmla="*/ 82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04" h="260">
                  <a:moveTo>
                    <a:pt x="36" y="82"/>
                  </a:moveTo>
                  <a:lnTo>
                    <a:pt x="36" y="82"/>
                  </a:lnTo>
                  <a:lnTo>
                    <a:pt x="28" y="94"/>
                  </a:lnTo>
                  <a:lnTo>
                    <a:pt x="20" y="110"/>
                  </a:lnTo>
                  <a:lnTo>
                    <a:pt x="14" y="124"/>
                  </a:lnTo>
                  <a:lnTo>
                    <a:pt x="10" y="140"/>
                  </a:lnTo>
                  <a:lnTo>
                    <a:pt x="4" y="170"/>
                  </a:lnTo>
                  <a:lnTo>
                    <a:pt x="0" y="198"/>
                  </a:lnTo>
                  <a:lnTo>
                    <a:pt x="2" y="222"/>
                  </a:lnTo>
                  <a:lnTo>
                    <a:pt x="2" y="242"/>
                  </a:lnTo>
                  <a:lnTo>
                    <a:pt x="6" y="260"/>
                  </a:lnTo>
                  <a:lnTo>
                    <a:pt x="6" y="260"/>
                  </a:lnTo>
                  <a:lnTo>
                    <a:pt x="24" y="258"/>
                  </a:lnTo>
                  <a:lnTo>
                    <a:pt x="42" y="254"/>
                  </a:lnTo>
                  <a:lnTo>
                    <a:pt x="66" y="246"/>
                  </a:lnTo>
                  <a:lnTo>
                    <a:pt x="94" y="236"/>
                  </a:lnTo>
                  <a:lnTo>
                    <a:pt x="120" y="222"/>
                  </a:lnTo>
                  <a:lnTo>
                    <a:pt x="134" y="214"/>
                  </a:lnTo>
                  <a:lnTo>
                    <a:pt x="146" y="204"/>
                  </a:lnTo>
                  <a:lnTo>
                    <a:pt x="158" y="192"/>
                  </a:lnTo>
                  <a:lnTo>
                    <a:pt x="168" y="180"/>
                  </a:lnTo>
                  <a:lnTo>
                    <a:pt x="168" y="180"/>
                  </a:lnTo>
                  <a:lnTo>
                    <a:pt x="178" y="166"/>
                  </a:lnTo>
                  <a:lnTo>
                    <a:pt x="184" y="150"/>
                  </a:lnTo>
                  <a:lnTo>
                    <a:pt x="190" y="136"/>
                  </a:lnTo>
                  <a:lnTo>
                    <a:pt x="196" y="120"/>
                  </a:lnTo>
                  <a:lnTo>
                    <a:pt x="202" y="90"/>
                  </a:lnTo>
                  <a:lnTo>
                    <a:pt x="204" y="62"/>
                  </a:lnTo>
                  <a:lnTo>
                    <a:pt x="204" y="38"/>
                  </a:lnTo>
                  <a:lnTo>
                    <a:pt x="202" y="18"/>
                  </a:lnTo>
                  <a:lnTo>
                    <a:pt x="200" y="0"/>
                  </a:lnTo>
                  <a:lnTo>
                    <a:pt x="200" y="0"/>
                  </a:lnTo>
                  <a:lnTo>
                    <a:pt x="182" y="2"/>
                  </a:lnTo>
                  <a:lnTo>
                    <a:pt x="162" y="6"/>
                  </a:lnTo>
                  <a:lnTo>
                    <a:pt x="138" y="14"/>
                  </a:lnTo>
                  <a:lnTo>
                    <a:pt x="112" y="24"/>
                  </a:lnTo>
                  <a:lnTo>
                    <a:pt x="84" y="38"/>
                  </a:lnTo>
                  <a:lnTo>
                    <a:pt x="72" y="46"/>
                  </a:lnTo>
                  <a:lnTo>
                    <a:pt x="58" y="56"/>
                  </a:lnTo>
                  <a:lnTo>
                    <a:pt x="48" y="68"/>
                  </a:lnTo>
                  <a:lnTo>
                    <a:pt x="36" y="82"/>
                  </a:lnTo>
                  <a:lnTo>
                    <a:pt x="36" y="82"/>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03" name="Freeform 2162">
              <a:extLst>
                <a:ext uri="{FF2B5EF4-FFF2-40B4-BE49-F238E27FC236}">
                  <a16:creationId xmlns:a16="http://schemas.microsoft.com/office/drawing/2014/main" id="{1E576FDC-E96F-4BF8-B459-6321482EA890}"/>
                </a:ext>
              </a:extLst>
            </p:cNvPr>
            <p:cNvSpPr>
              <a:spLocks/>
            </p:cNvSpPr>
            <p:nvPr/>
          </p:nvSpPr>
          <p:spPr bwMode="auto">
            <a:xfrm>
              <a:off x="9714974" y="4365775"/>
              <a:ext cx="192962" cy="2002874"/>
            </a:xfrm>
            <a:custGeom>
              <a:avLst/>
              <a:gdLst>
                <a:gd name="T0" fmla="*/ 66 w 108"/>
                <a:gd name="T1" fmla="*/ 68 h 1121"/>
                <a:gd name="T2" fmla="*/ 96 w 108"/>
                <a:gd name="T3" fmla="*/ 104 h 1121"/>
                <a:gd name="T4" fmla="*/ 108 w 108"/>
                <a:gd name="T5" fmla="*/ 1121 h 1121"/>
                <a:gd name="T6" fmla="*/ 66 w 108"/>
                <a:gd name="T7" fmla="*/ 1121 h 1121"/>
                <a:gd name="T8" fmla="*/ 0 w 108"/>
                <a:gd name="T9" fmla="*/ 1121 h 1121"/>
                <a:gd name="T10" fmla="*/ 12 w 108"/>
                <a:gd name="T11" fmla="*/ 254 h 1121"/>
                <a:gd name="T12" fmla="*/ 12 w 108"/>
                <a:gd name="T13" fmla="*/ 254 h 1121"/>
                <a:gd name="T14" fmla="*/ 8 w 108"/>
                <a:gd name="T15" fmla="*/ 114 h 1121"/>
                <a:gd name="T16" fmla="*/ 8 w 108"/>
                <a:gd name="T17" fmla="*/ 26 h 1121"/>
                <a:gd name="T18" fmla="*/ 8 w 108"/>
                <a:gd name="T19" fmla="*/ 2 h 1121"/>
                <a:gd name="T20" fmla="*/ 8 w 108"/>
                <a:gd name="T21" fmla="*/ 0 h 1121"/>
                <a:gd name="T22" fmla="*/ 10 w 108"/>
                <a:gd name="T23" fmla="*/ 2 h 1121"/>
                <a:gd name="T24" fmla="*/ 50 w 108"/>
                <a:gd name="T25" fmla="*/ 50 h 1121"/>
                <a:gd name="T26" fmla="*/ 66 w 108"/>
                <a:gd name="T27" fmla="*/ 68 h 1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8" h="1121">
                  <a:moveTo>
                    <a:pt x="66" y="68"/>
                  </a:moveTo>
                  <a:lnTo>
                    <a:pt x="96" y="104"/>
                  </a:lnTo>
                  <a:lnTo>
                    <a:pt x="108" y="1121"/>
                  </a:lnTo>
                  <a:lnTo>
                    <a:pt x="66" y="1121"/>
                  </a:lnTo>
                  <a:lnTo>
                    <a:pt x="0" y="1121"/>
                  </a:lnTo>
                  <a:lnTo>
                    <a:pt x="12" y="254"/>
                  </a:lnTo>
                  <a:lnTo>
                    <a:pt x="12" y="254"/>
                  </a:lnTo>
                  <a:lnTo>
                    <a:pt x="8" y="114"/>
                  </a:lnTo>
                  <a:lnTo>
                    <a:pt x="8" y="26"/>
                  </a:lnTo>
                  <a:lnTo>
                    <a:pt x="8" y="2"/>
                  </a:lnTo>
                  <a:lnTo>
                    <a:pt x="8" y="0"/>
                  </a:lnTo>
                  <a:lnTo>
                    <a:pt x="10" y="2"/>
                  </a:lnTo>
                  <a:lnTo>
                    <a:pt x="50" y="50"/>
                  </a:lnTo>
                  <a:lnTo>
                    <a:pt x="66" y="68"/>
                  </a:lnTo>
                  <a:close/>
                </a:path>
              </a:pathLst>
            </a:custGeom>
            <a:solidFill>
              <a:srgbClr val="AE8A6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04" name="Freeform 2163">
              <a:extLst>
                <a:ext uri="{FF2B5EF4-FFF2-40B4-BE49-F238E27FC236}">
                  <a16:creationId xmlns:a16="http://schemas.microsoft.com/office/drawing/2014/main" id="{01DABFC2-7887-4CAA-BD7E-18BF3927F38F}"/>
                </a:ext>
              </a:extLst>
            </p:cNvPr>
            <p:cNvSpPr>
              <a:spLocks/>
            </p:cNvSpPr>
            <p:nvPr/>
          </p:nvSpPr>
          <p:spPr bwMode="auto">
            <a:xfrm>
              <a:off x="9714974" y="4365775"/>
              <a:ext cx="192962" cy="2002874"/>
            </a:xfrm>
            <a:custGeom>
              <a:avLst/>
              <a:gdLst>
                <a:gd name="T0" fmla="*/ 66 w 108"/>
                <a:gd name="T1" fmla="*/ 68 h 1121"/>
                <a:gd name="T2" fmla="*/ 96 w 108"/>
                <a:gd name="T3" fmla="*/ 104 h 1121"/>
                <a:gd name="T4" fmla="*/ 108 w 108"/>
                <a:gd name="T5" fmla="*/ 1121 h 1121"/>
                <a:gd name="T6" fmla="*/ 66 w 108"/>
                <a:gd name="T7" fmla="*/ 1121 h 1121"/>
                <a:gd name="T8" fmla="*/ 0 w 108"/>
                <a:gd name="T9" fmla="*/ 1121 h 1121"/>
                <a:gd name="T10" fmla="*/ 12 w 108"/>
                <a:gd name="T11" fmla="*/ 254 h 1121"/>
                <a:gd name="T12" fmla="*/ 12 w 108"/>
                <a:gd name="T13" fmla="*/ 254 h 1121"/>
                <a:gd name="T14" fmla="*/ 8 w 108"/>
                <a:gd name="T15" fmla="*/ 114 h 1121"/>
                <a:gd name="T16" fmla="*/ 8 w 108"/>
                <a:gd name="T17" fmla="*/ 26 h 1121"/>
                <a:gd name="T18" fmla="*/ 8 w 108"/>
                <a:gd name="T19" fmla="*/ 2 h 1121"/>
                <a:gd name="T20" fmla="*/ 8 w 108"/>
                <a:gd name="T21" fmla="*/ 0 h 1121"/>
                <a:gd name="T22" fmla="*/ 10 w 108"/>
                <a:gd name="T23" fmla="*/ 2 h 1121"/>
                <a:gd name="T24" fmla="*/ 50 w 108"/>
                <a:gd name="T25" fmla="*/ 50 h 1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8" h="1121">
                  <a:moveTo>
                    <a:pt x="66" y="68"/>
                  </a:moveTo>
                  <a:lnTo>
                    <a:pt x="96" y="104"/>
                  </a:lnTo>
                  <a:lnTo>
                    <a:pt x="108" y="1121"/>
                  </a:lnTo>
                  <a:lnTo>
                    <a:pt x="66" y="1121"/>
                  </a:lnTo>
                  <a:lnTo>
                    <a:pt x="0" y="1121"/>
                  </a:lnTo>
                  <a:lnTo>
                    <a:pt x="12" y="254"/>
                  </a:lnTo>
                  <a:lnTo>
                    <a:pt x="12" y="254"/>
                  </a:lnTo>
                  <a:lnTo>
                    <a:pt x="8" y="114"/>
                  </a:lnTo>
                  <a:lnTo>
                    <a:pt x="8" y="26"/>
                  </a:lnTo>
                  <a:lnTo>
                    <a:pt x="8" y="2"/>
                  </a:lnTo>
                  <a:lnTo>
                    <a:pt x="8" y="0"/>
                  </a:lnTo>
                  <a:lnTo>
                    <a:pt x="10" y="2"/>
                  </a:lnTo>
                  <a:lnTo>
                    <a:pt x="50" y="5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05" name="Freeform 2165">
              <a:extLst>
                <a:ext uri="{FF2B5EF4-FFF2-40B4-BE49-F238E27FC236}">
                  <a16:creationId xmlns:a16="http://schemas.microsoft.com/office/drawing/2014/main" id="{5B0D6C99-89EF-41E8-A3E9-B0A73C55B1DF}"/>
                </a:ext>
              </a:extLst>
            </p:cNvPr>
            <p:cNvSpPr>
              <a:spLocks/>
            </p:cNvSpPr>
            <p:nvPr/>
          </p:nvSpPr>
          <p:spPr bwMode="auto">
            <a:xfrm>
              <a:off x="9865056" y="4165666"/>
              <a:ext cx="686087" cy="1073798"/>
            </a:xfrm>
            <a:custGeom>
              <a:avLst/>
              <a:gdLst>
                <a:gd name="T0" fmla="*/ 0 w 384"/>
                <a:gd name="T1" fmla="*/ 513 h 601"/>
                <a:gd name="T2" fmla="*/ 180 w 384"/>
                <a:gd name="T3" fmla="*/ 240 h 601"/>
                <a:gd name="T4" fmla="*/ 334 w 384"/>
                <a:gd name="T5" fmla="*/ 0 h 601"/>
                <a:gd name="T6" fmla="*/ 384 w 384"/>
                <a:gd name="T7" fmla="*/ 40 h 601"/>
                <a:gd name="T8" fmla="*/ 8 w 384"/>
                <a:gd name="T9" fmla="*/ 601 h 601"/>
                <a:gd name="T10" fmla="*/ 0 w 384"/>
                <a:gd name="T11" fmla="*/ 513 h 601"/>
              </a:gdLst>
              <a:ahLst/>
              <a:cxnLst>
                <a:cxn ang="0">
                  <a:pos x="T0" y="T1"/>
                </a:cxn>
                <a:cxn ang="0">
                  <a:pos x="T2" y="T3"/>
                </a:cxn>
                <a:cxn ang="0">
                  <a:pos x="T4" y="T5"/>
                </a:cxn>
                <a:cxn ang="0">
                  <a:pos x="T6" y="T7"/>
                </a:cxn>
                <a:cxn ang="0">
                  <a:pos x="T8" y="T9"/>
                </a:cxn>
                <a:cxn ang="0">
                  <a:pos x="T10" y="T11"/>
                </a:cxn>
              </a:cxnLst>
              <a:rect l="0" t="0" r="r" b="b"/>
              <a:pathLst>
                <a:path w="384" h="601">
                  <a:moveTo>
                    <a:pt x="0" y="513"/>
                  </a:moveTo>
                  <a:lnTo>
                    <a:pt x="180" y="240"/>
                  </a:lnTo>
                  <a:lnTo>
                    <a:pt x="334" y="0"/>
                  </a:lnTo>
                  <a:lnTo>
                    <a:pt x="384" y="40"/>
                  </a:lnTo>
                  <a:lnTo>
                    <a:pt x="8" y="601"/>
                  </a:lnTo>
                  <a:lnTo>
                    <a:pt x="0" y="513"/>
                  </a:lnTo>
                  <a:close/>
                </a:path>
              </a:pathLst>
            </a:custGeom>
            <a:solidFill>
              <a:srgbClr val="AE8A6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06" name="Freeform 2166">
              <a:extLst>
                <a:ext uri="{FF2B5EF4-FFF2-40B4-BE49-F238E27FC236}">
                  <a16:creationId xmlns:a16="http://schemas.microsoft.com/office/drawing/2014/main" id="{A689D479-FF49-4A7C-A004-3D33BCD929D2}"/>
                </a:ext>
              </a:extLst>
            </p:cNvPr>
            <p:cNvSpPr>
              <a:spLocks/>
            </p:cNvSpPr>
            <p:nvPr/>
          </p:nvSpPr>
          <p:spPr bwMode="auto">
            <a:xfrm>
              <a:off x="9865056" y="4165666"/>
              <a:ext cx="686087" cy="1073798"/>
            </a:xfrm>
            <a:custGeom>
              <a:avLst/>
              <a:gdLst>
                <a:gd name="T0" fmla="*/ 0 w 384"/>
                <a:gd name="T1" fmla="*/ 513 h 601"/>
                <a:gd name="T2" fmla="*/ 180 w 384"/>
                <a:gd name="T3" fmla="*/ 240 h 601"/>
                <a:gd name="T4" fmla="*/ 334 w 384"/>
                <a:gd name="T5" fmla="*/ 0 h 601"/>
                <a:gd name="T6" fmla="*/ 384 w 384"/>
                <a:gd name="T7" fmla="*/ 40 h 601"/>
                <a:gd name="T8" fmla="*/ 8 w 384"/>
                <a:gd name="T9" fmla="*/ 601 h 601"/>
              </a:gdLst>
              <a:ahLst/>
              <a:cxnLst>
                <a:cxn ang="0">
                  <a:pos x="T0" y="T1"/>
                </a:cxn>
                <a:cxn ang="0">
                  <a:pos x="T2" y="T3"/>
                </a:cxn>
                <a:cxn ang="0">
                  <a:pos x="T4" y="T5"/>
                </a:cxn>
                <a:cxn ang="0">
                  <a:pos x="T6" y="T7"/>
                </a:cxn>
                <a:cxn ang="0">
                  <a:pos x="T8" y="T9"/>
                </a:cxn>
              </a:cxnLst>
              <a:rect l="0" t="0" r="r" b="b"/>
              <a:pathLst>
                <a:path w="384" h="601">
                  <a:moveTo>
                    <a:pt x="0" y="513"/>
                  </a:moveTo>
                  <a:lnTo>
                    <a:pt x="180" y="240"/>
                  </a:lnTo>
                  <a:lnTo>
                    <a:pt x="334" y="0"/>
                  </a:lnTo>
                  <a:lnTo>
                    <a:pt x="384" y="40"/>
                  </a:lnTo>
                  <a:lnTo>
                    <a:pt x="8" y="60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07" name="Freeform 2168">
              <a:extLst>
                <a:ext uri="{FF2B5EF4-FFF2-40B4-BE49-F238E27FC236}">
                  <a16:creationId xmlns:a16="http://schemas.microsoft.com/office/drawing/2014/main" id="{4E9EF11D-4729-4544-BF1D-B81850CE8257}"/>
                </a:ext>
              </a:extLst>
            </p:cNvPr>
            <p:cNvSpPr>
              <a:spLocks/>
            </p:cNvSpPr>
            <p:nvPr/>
          </p:nvSpPr>
          <p:spPr bwMode="auto">
            <a:xfrm>
              <a:off x="9375504" y="3375952"/>
              <a:ext cx="546725" cy="1870659"/>
            </a:xfrm>
            <a:custGeom>
              <a:avLst/>
              <a:gdLst>
                <a:gd name="T0" fmla="*/ 212 w 306"/>
                <a:gd name="T1" fmla="*/ 1047 h 1047"/>
                <a:gd name="T2" fmla="*/ 16 w 306"/>
                <a:gd name="T3" fmla="*/ 736 h 1047"/>
                <a:gd name="T4" fmla="*/ 16 w 306"/>
                <a:gd name="T5" fmla="*/ 736 h 1047"/>
                <a:gd name="T6" fmla="*/ 10 w 306"/>
                <a:gd name="T7" fmla="*/ 722 h 1047"/>
                <a:gd name="T8" fmla="*/ 4 w 306"/>
                <a:gd name="T9" fmla="*/ 708 h 1047"/>
                <a:gd name="T10" fmla="*/ 2 w 306"/>
                <a:gd name="T11" fmla="*/ 694 h 1047"/>
                <a:gd name="T12" fmla="*/ 0 w 306"/>
                <a:gd name="T13" fmla="*/ 680 h 1047"/>
                <a:gd name="T14" fmla="*/ 0 w 306"/>
                <a:gd name="T15" fmla="*/ 664 h 1047"/>
                <a:gd name="T16" fmla="*/ 0 w 306"/>
                <a:gd name="T17" fmla="*/ 650 h 1047"/>
                <a:gd name="T18" fmla="*/ 4 w 306"/>
                <a:gd name="T19" fmla="*/ 636 h 1047"/>
                <a:gd name="T20" fmla="*/ 6 w 306"/>
                <a:gd name="T21" fmla="*/ 622 h 1047"/>
                <a:gd name="T22" fmla="*/ 64 w 306"/>
                <a:gd name="T23" fmla="*/ 438 h 1047"/>
                <a:gd name="T24" fmla="*/ 156 w 306"/>
                <a:gd name="T25" fmla="*/ 266 h 1047"/>
                <a:gd name="T26" fmla="*/ 254 w 306"/>
                <a:gd name="T27" fmla="*/ 0 h 1047"/>
                <a:gd name="T28" fmla="*/ 306 w 306"/>
                <a:gd name="T29" fmla="*/ 20 h 1047"/>
                <a:gd name="T30" fmla="*/ 206 w 306"/>
                <a:gd name="T31" fmla="*/ 292 h 1047"/>
                <a:gd name="T32" fmla="*/ 116 w 306"/>
                <a:gd name="T33" fmla="*/ 462 h 1047"/>
                <a:gd name="T34" fmla="*/ 68 w 306"/>
                <a:gd name="T35" fmla="*/ 618 h 1047"/>
                <a:gd name="T36" fmla="*/ 68 w 306"/>
                <a:gd name="T37" fmla="*/ 618 h 1047"/>
                <a:gd name="T38" fmla="*/ 64 w 306"/>
                <a:gd name="T39" fmla="*/ 632 h 1047"/>
                <a:gd name="T40" fmla="*/ 62 w 306"/>
                <a:gd name="T41" fmla="*/ 646 h 1047"/>
                <a:gd name="T42" fmla="*/ 62 w 306"/>
                <a:gd name="T43" fmla="*/ 660 h 1047"/>
                <a:gd name="T44" fmla="*/ 62 w 306"/>
                <a:gd name="T45" fmla="*/ 674 h 1047"/>
                <a:gd name="T46" fmla="*/ 64 w 306"/>
                <a:gd name="T47" fmla="*/ 690 h 1047"/>
                <a:gd name="T48" fmla="*/ 66 w 306"/>
                <a:gd name="T49" fmla="*/ 704 h 1047"/>
                <a:gd name="T50" fmla="*/ 70 w 306"/>
                <a:gd name="T51" fmla="*/ 718 h 1047"/>
                <a:gd name="T52" fmla="*/ 76 w 306"/>
                <a:gd name="T53" fmla="*/ 732 h 1047"/>
                <a:gd name="T54" fmla="*/ 218 w 306"/>
                <a:gd name="T55" fmla="*/ 936 h 1047"/>
                <a:gd name="T56" fmla="*/ 212 w 306"/>
                <a:gd name="T57" fmla="*/ 1047 h 10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06" h="1047">
                  <a:moveTo>
                    <a:pt x="212" y="1047"/>
                  </a:moveTo>
                  <a:lnTo>
                    <a:pt x="16" y="736"/>
                  </a:lnTo>
                  <a:lnTo>
                    <a:pt x="16" y="736"/>
                  </a:lnTo>
                  <a:lnTo>
                    <a:pt x="10" y="722"/>
                  </a:lnTo>
                  <a:lnTo>
                    <a:pt x="4" y="708"/>
                  </a:lnTo>
                  <a:lnTo>
                    <a:pt x="2" y="694"/>
                  </a:lnTo>
                  <a:lnTo>
                    <a:pt x="0" y="680"/>
                  </a:lnTo>
                  <a:lnTo>
                    <a:pt x="0" y="664"/>
                  </a:lnTo>
                  <a:lnTo>
                    <a:pt x="0" y="650"/>
                  </a:lnTo>
                  <a:lnTo>
                    <a:pt x="4" y="636"/>
                  </a:lnTo>
                  <a:lnTo>
                    <a:pt x="6" y="622"/>
                  </a:lnTo>
                  <a:lnTo>
                    <a:pt x="64" y="438"/>
                  </a:lnTo>
                  <a:lnTo>
                    <a:pt x="156" y="266"/>
                  </a:lnTo>
                  <a:lnTo>
                    <a:pt x="254" y="0"/>
                  </a:lnTo>
                  <a:lnTo>
                    <a:pt x="306" y="20"/>
                  </a:lnTo>
                  <a:lnTo>
                    <a:pt x="206" y="292"/>
                  </a:lnTo>
                  <a:lnTo>
                    <a:pt x="116" y="462"/>
                  </a:lnTo>
                  <a:lnTo>
                    <a:pt x="68" y="618"/>
                  </a:lnTo>
                  <a:lnTo>
                    <a:pt x="68" y="618"/>
                  </a:lnTo>
                  <a:lnTo>
                    <a:pt x="64" y="632"/>
                  </a:lnTo>
                  <a:lnTo>
                    <a:pt x="62" y="646"/>
                  </a:lnTo>
                  <a:lnTo>
                    <a:pt x="62" y="660"/>
                  </a:lnTo>
                  <a:lnTo>
                    <a:pt x="62" y="674"/>
                  </a:lnTo>
                  <a:lnTo>
                    <a:pt x="64" y="690"/>
                  </a:lnTo>
                  <a:lnTo>
                    <a:pt x="66" y="704"/>
                  </a:lnTo>
                  <a:lnTo>
                    <a:pt x="70" y="718"/>
                  </a:lnTo>
                  <a:lnTo>
                    <a:pt x="76" y="732"/>
                  </a:lnTo>
                  <a:lnTo>
                    <a:pt x="218" y="936"/>
                  </a:lnTo>
                  <a:lnTo>
                    <a:pt x="212" y="1047"/>
                  </a:lnTo>
                  <a:close/>
                </a:path>
              </a:pathLst>
            </a:custGeom>
            <a:solidFill>
              <a:srgbClr val="AE8A6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08" name="Freeform 2169">
              <a:extLst>
                <a:ext uri="{FF2B5EF4-FFF2-40B4-BE49-F238E27FC236}">
                  <a16:creationId xmlns:a16="http://schemas.microsoft.com/office/drawing/2014/main" id="{6E738C05-8B90-4A3E-964C-E8A861A69C96}"/>
                </a:ext>
              </a:extLst>
            </p:cNvPr>
            <p:cNvSpPr>
              <a:spLocks/>
            </p:cNvSpPr>
            <p:nvPr/>
          </p:nvSpPr>
          <p:spPr bwMode="auto">
            <a:xfrm>
              <a:off x="9375504" y="3375952"/>
              <a:ext cx="546725" cy="1870659"/>
            </a:xfrm>
            <a:custGeom>
              <a:avLst/>
              <a:gdLst>
                <a:gd name="T0" fmla="*/ 212 w 306"/>
                <a:gd name="T1" fmla="*/ 1047 h 1047"/>
                <a:gd name="T2" fmla="*/ 16 w 306"/>
                <a:gd name="T3" fmla="*/ 736 h 1047"/>
                <a:gd name="T4" fmla="*/ 16 w 306"/>
                <a:gd name="T5" fmla="*/ 736 h 1047"/>
                <a:gd name="T6" fmla="*/ 10 w 306"/>
                <a:gd name="T7" fmla="*/ 722 h 1047"/>
                <a:gd name="T8" fmla="*/ 4 w 306"/>
                <a:gd name="T9" fmla="*/ 708 h 1047"/>
                <a:gd name="T10" fmla="*/ 2 w 306"/>
                <a:gd name="T11" fmla="*/ 694 h 1047"/>
                <a:gd name="T12" fmla="*/ 0 w 306"/>
                <a:gd name="T13" fmla="*/ 680 h 1047"/>
                <a:gd name="T14" fmla="*/ 0 w 306"/>
                <a:gd name="T15" fmla="*/ 664 h 1047"/>
                <a:gd name="T16" fmla="*/ 0 w 306"/>
                <a:gd name="T17" fmla="*/ 650 h 1047"/>
                <a:gd name="T18" fmla="*/ 4 w 306"/>
                <a:gd name="T19" fmla="*/ 636 h 1047"/>
                <a:gd name="T20" fmla="*/ 6 w 306"/>
                <a:gd name="T21" fmla="*/ 622 h 1047"/>
                <a:gd name="T22" fmla="*/ 64 w 306"/>
                <a:gd name="T23" fmla="*/ 438 h 1047"/>
                <a:gd name="T24" fmla="*/ 156 w 306"/>
                <a:gd name="T25" fmla="*/ 266 h 1047"/>
                <a:gd name="T26" fmla="*/ 254 w 306"/>
                <a:gd name="T27" fmla="*/ 0 h 1047"/>
                <a:gd name="T28" fmla="*/ 306 w 306"/>
                <a:gd name="T29" fmla="*/ 20 h 1047"/>
                <a:gd name="T30" fmla="*/ 206 w 306"/>
                <a:gd name="T31" fmla="*/ 292 h 1047"/>
                <a:gd name="T32" fmla="*/ 116 w 306"/>
                <a:gd name="T33" fmla="*/ 462 h 1047"/>
                <a:gd name="T34" fmla="*/ 68 w 306"/>
                <a:gd name="T35" fmla="*/ 618 h 1047"/>
                <a:gd name="T36" fmla="*/ 68 w 306"/>
                <a:gd name="T37" fmla="*/ 618 h 1047"/>
                <a:gd name="T38" fmla="*/ 64 w 306"/>
                <a:gd name="T39" fmla="*/ 632 h 1047"/>
                <a:gd name="T40" fmla="*/ 62 w 306"/>
                <a:gd name="T41" fmla="*/ 646 h 1047"/>
                <a:gd name="T42" fmla="*/ 62 w 306"/>
                <a:gd name="T43" fmla="*/ 660 h 1047"/>
                <a:gd name="T44" fmla="*/ 62 w 306"/>
                <a:gd name="T45" fmla="*/ 674 h 1047"/>
                <a:gd name="T46" fmla="*/ 64 w 306"/>
                <a:gd name="T47" fmla="*/ 690 h 1047"/>
                <a:gd name="T48" fmla="*/ 66 w 306"/>
                <a:gd name="T49" fmla="*/ 704 h 1047"/>
                <a:gd name="T50" fmla="*/ 70 w 306"/>
                <a:gd name="T51" fmla="*/ 718 h 1047"/>
                <a:gd name="T52" fmla="*/ 76 w 306"/>
                <a:gd name="T53" fmla="*/ 732 h 1047"/>
                <a:gd name="T54" fmla="*/ 218 w 306"/>
                <a:gd name="T55" fmla="*/ 936 h 1047"/>
                <a:gd name="T56" fmla="*/ 212 w 306"/>
                <a:gd name="T57" fmla="*/ 1047 h 10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06" h="1047">
                  <a:moveTo>
                    <a:pt x="212" y="1047"/>
                  </a:moveTo>
                  <a:lnTo>
                    <a:pt x="16" y="736"/>
                  </a:lnTo>
                  <a:lnTo>
                    <a:pt x="16" y="736"/>
                  </a:lnTo>
                  <a:lnTo>
                    <a:pt x="10" y="722"/>
                  </a:lnTo>
                  <a:lnTo>
                    <a:pt x="4" y="708"/>
                  </a:lnTo>
                  <a:lnTo>
                    <a:pt x="2" y="694"/>
                  </a:lnTo>
                  <a:lnTo>
                    <a:pt x="0" y="680"/>
                  </a:lnTo>
                  <a:lnTo>
                    <a:pt x="0" y="664"/>
                  </a:lnTo>
                  <a:lnTo>
                    <a:pt x="0" y="650"/>
                  </a:lnTo>
                  <a:lnTo>
                    <a:pt x="4" y="636"/>
                  </a:lnTo>
                  <a:lnTo>
                    <a:pt x="6" y="622"/>
                  </a:lnTo>
                  <a:lnTo>
                    <a:pt x="64" y="438"/>
                  </a:lnTo>
                  <a:lnTo>
                    <a:pt x="156" y="266"/>
                  </a:lnTo>
                  <a:lnTo>
                    <a:pt x="254" y="0"/>
                  </a:lnTo>
                  <a:lnTo>
                    <a:pt x="306" y="20"/>
                  </a:lnTo>
                  <a:lnTo>
                    <a:pt x="206" y="292"/>
                  </a:lnTo>
                  <a:lnTo>
                    <a:pt x="116" y="462"/>
                  </a:lnTo>
                  <a:lnTo>
                    <a:pt x="68" y="618"/>
                  </a:lnTo>
                  <a:lnTo>
                    <a:pt x="68" y="618"/>
                  </a:lnTo>
                  <a:lnTo>
                    <a:pt x="64" y="632"/>
                  </a:lnTo>
                  <a:lnTo>
                    <a:pt x="62" y="646"/>
                  </a:lnTo>
                  <a:lnTo>
                    <a:pt x="62" y="660"/>
                  </a:lnTo>
                  <a:lnTo>
                    <a:pt x="62" y="674"/>
                  </a:lnTo>
                  <a:lnTo>
                    <a:pt x="64" y="690"/>
                  </a:lnTo>
                  <a:lnTo>
                    <a:pt x="66" y="704"/>
                  </a:lnTo>
                  <a:lnTo>
                    <a:pt x="70" y="718"/>
                  </a:lnTo>
                  <a:lnTo>
                    <a:pt x="76" y="732"/>
                  </a:lnTo>
                  <a:lnTo>
                    <a:pt x="218" y="936"/>
                  </a:lnTo>
                  <a:lnTo>
                    <a:pt x="212" y="104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09" name="Freeform 2171">
              <a:extLst>
                <a:ext uri="{FF2B5EF4-FFF2-40B4-BE49-F238E27FC236}">
                  <a16:creationId xmlns:a16="http://schemas.microsoft.com/office/drawing/2014/main" id="{8C68C09B-A6DB-48C2-A620-4CBBB9EDD4DE}"/>
                </a:ext>
              </a:extLst>
            </p:cNvPr>
            <p:cNvSpPr>
              <a:spLocks/>
            </p:cNvSpPr>
            <p:nvPr/>
          </p:nvSpPr>
          <p:spPr bwMode="auto">
            <a:xfrm>
              <a:off x="9361211" y="3358085"/>
              <a:ext cx="578886" cy="1902819"/>
            </a:xfrm>
            <a:custGeom>
              <a:avLst/>
              <a:gdLst>
                <a:gd name="T0" fmla="*/ 30 w 324"/>
                <a:gd name="T1" fmla="*/ 742 h 1065"/>
                <a:gd name="T2" fmla="*/ 30 w 324"/>
                <a:gd name="T3" fmla="*/ 742 h 1065"/>
                <a:gd name="T4" fmla="*/ 24 w 324"/>
                <a:gd name="T5" fmla="*/ 726 h 1065"/>
                <a:gd name="T6" fmla="*/ 16 w 324"/>
                <a:gd name="T7" fmla="*/ 694 h 1065"/>
                <a:gd name="T8" fmla="*/ 16 w 324"/>
                <a:gd name="T9" fmla="*/ 678 h 1065"/>
                <a:gd name="T10" fmla="*/ 22 w 324"/>
                <a:gd name="T11" fmla="*/ 634 h 1065"/>
                <a:gd name="T12" fmla="*/ 170 w 324"/>
                <a:gd name="T13" fmla="*/ 280 h 1065"/>
                <a:gd name="T14" fmla="*/ 304 w 324"/>
                <a:gd name="T15" fmla="*/ 36 h 1065"/>
                <a:gd name="T16" fmla="*/ 118 w 324"/>
                <a:gd name="T17" fmla="*/ 468 h 1065"/>
                <a:gd name="T18" fmla="*/ 68 w 324"/>
                <a:gd name="T19" fmla="*/ 624 h 1065"/>
                <a:gd name="T20" fmla="*/ 62 w 324"/>
                <a:gd name="T21" fmla="*/ 674 h 1065"/>
                <a:gd name="T22" fmla="*/ 62 w 324"/>
                <a:gd name="T23" fmla="*/ 692 h 1065"/>
                <a:gd name="T24" fmla="*/ 70 w 324"/>
                <a:gd name="T25" fmla="*/ 728 h 1065"/>
                <a:gd name="T26" fmla="*/ 78 w 324"/>
                <a:gd name="T27" fmla="*/ 746 h 1065"/>
                <a:gd name="T28" fmla="*/ 220 w 324"/>
                <a:gd name="T29" fmla="*/ 950 h 1065"/>
                <a:gd name="T30" fmla="*/ 224 w 324"/>
                <a:gd name="T31" fmla="*/ 954 h 1065"/>
                <a:gd name="T32" fmla="*/ 230 w 324"/>
                <a:gd name="T33" fmla="*/ 952 h 1065"/>
                <a:gd name="T34" fmla="*/ 232 w 324"/>
                <a:gd name="T35" fmla="*/ 950 h 1065"/>
                <a:gd name="T36" fmla="*/ 234 w 324"/>
                <a:gd name="T37" fmla="*/ 944 h 1065"/>
                <a:gd name="T38" fmla="*/ 90 w 324"/>
                <a:gd name="T39" fmla="*/ 736 h 1065"/>
                <a:gd name="T40" fmla="*/ 92 w 324"/>
                <a:gd name="T41" fmla="*/ 738 h 1065"/>
                <a:gd name="T42" fmla="*/ 86 w 324"/>
                <a:gd name="T43" fmla="*/ 722 h 1065"/>
                <a:gd name="T44" fmla="*/ 78 w 324"/>
                <a:gd name="T45" fmla="*/ 690 h 1065"/>
                <a:gd name="T46" fmla="*/ 76 w 324"/>
                <a:gd name="T47" fmla="*/ 674 h 1065"/>
                <a:gd name="T48" fmla="*/ 84 w 324"/>
                <a:gd name="T49" fmla="*/ 630 h 1065"/>
                <a:gd name="T50" fmla="*/ 222 w 324"/>
                <a:gd name="T51" fmla="*/ 304 h 1065"/>
                <a:gd name="T52" fmla="*/ 256 w 324"/>
                <a:gd name="T53" fmla="*/ 0 h 1065"/>
                <a:gd name="T54" fmla="*/ 66 w 324"/>
                <a:gd name="T55" fmla="*/ 444 h 1065"/>
                <a:gd name="T56" fmla="*/ 8 w 324"/>
                <a:gd name="T57" fmla="*/ 630 h 1065"/>
                <a:gd name="T58" fmla="*/ 0 w 324"/>
                <a:gd name="T59" fmla="*/ 678 h 1065"/>
                <a:gd name="T60" fmla="*/ 0 w 324"/>
                <a:gd name="T61" fmla="*/ 696 h 1065"/>
                <a:gd name="T62" fmla="*/ 8 w 324"/>
                <a:gd name="T63" fmla="*/ 732 h 1065"/>
                <a:gd name="T64" fmla="*/ 16 w 324"/>
                <a:gd name="T65" fmla="*/ 750 h 1065"/>
                <a:gd name="T66" fmla="*/ 212 w 324"/>
                <a:gd name="T67" fmla="*/ 1061 h 1065"/>
                <a:gd name="T68" fmla="*/ 218 w 324"/>
                <a:gd name="T69" fmla="*/ 1065 h 1065"/>
                <a:gd name="T70" fmla="*/ 224 w 324"/>
                <a:gd name="T71" fmla="*/ 1065 h 1065"/>
                <a:gd name="T72" fmla="*/ 226 w 324"/>
                <a:gd name="T73" fmla="*/ 1061 h 1065"/>
                <a:gd name="T74" fmla="*/ 228 w 324"/>
                <a:gd name="T75" fmla="*/ 1055 h 1065"/>
                <a:gd name="T76" fmla="*/ 226 w 324"/>
                <a:gd name="T77" fmla="*/ 1053 h 10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24" h="1065">
                  <a:moveTo>
                    <a:pt x="226" y="1053"/>
                  </a:moveTo>
                  <a:lnTo>
                    <a:pt x="30" y="742"/>
                  </a:lnTo>
                  <a:lnTo>
                    <a:pt x="24" y="746"/>
                  </a:lnTo>
                  <a:lnTo>
                    <a:pt x="30" y="742"/>
                  </a:lnTo>
                  <a:lnTo>
                    <a:pt x="30" y="742"/>
                  </a:lnTo>
                  <a:lnTo>
                    <a:pt x="24" y="726"/>
                  </a:lnTo>
                  <a:lnTo>
                    <a:pt x="20" y="710"/>
                  </a:lnTo>
                  <a:lnTo>
                    <a:pt x="16" y="694"/>
                  </a:lnTo>
                  <a:lnTo>
                    <a:pt x="16" y="678"/>
                  </a:lnTo>
                  <a:lnTo>
                    <a:pt x="16" y="678"/>
                  </a:lnTo>
                  <a:lnTo>
                    <a:pt x="18" y="656"/>
                  </a:lnTo>
                  <a:lnTo>
                    <a:pt x="22" y="634"/>
                  </a:lnTo>
                  <a:lnTo>
                    <a:pt x="80" y="450"/>
                  </a:lnTo>
                  <a:lnTo>
                    <a:pt x="170" y="280"/>
                  </a:lnTo>
                  <a:lnTo>
                    <a:pt x="266" y="20"/>
                  </a:lnTo>
                  <a:lnTo>
                    <a:pt x="304" y="36"/>
                  </a:lnTo>
                  <a:lnTo>
                    <a:pt x="208" y="298"/>
                  </a:lnTo>
                  <a:lnTo>
                    <a:pt x="118" y="468"/>
                  </a:lnTo>
                  <a:lnTo>
                    <a:pt x="68" y="624"/>
                  </a:lnTo>
                  <a:lnTo>
                    <a:pt x="68" y="624"/>
                  </a:lnTo>
                  <a:lnTo>
                    <a:pt x="62" y="650"/>
                  </a:lnTo>
                  <a:lnTo>
                    <a:pt x="62" y="674"/>
                  </a:lnTo>
                  <a:lnTo>
                    <a:pt x="62" y="674"/>
                  </a:lnTo>
                  <a:lnTo>
                    <a:pt x="62" y="692"/>
                  </a:lnTo>
                  <a:lnTo>
                    <a:pt x="66" y="710"/>
                  </a:lnTo>
                  <a:lnTo>
                    <a:pt x="70" y="728"/>
                  </a:lnTo>
                  <a:lnTo>
                    <a:pt x="76" y="744"/>
                  </a:lnTo>
                  <a:lnTo>
                    <a:pt x="78" y="746"/>
                  </a:lnTo>
                  <a:lnTo>
                    <a:pt x="220" y="950"/>
                  </a:lnTo>
                  <a:lnTo>
                    <a:pt x="220" y="950"/>
                  </a:lnTo>
                  <a:lnTo>
                    <a:pt x="222" y="952"/>
                  </a:lnTo>
                  <a:lnTo>
                    <a:pt x="224" y="954"/>
                  </a:lnTo>
                  <a:lnTo>
                    <a:pt x="228" y="954"/>
                  </a:lnTo>
                  <a:lnTo>
                    <a:pt x="230" y="952"/>
                  </a:lnTo>
                  <a:lnTo>
                    <a:pt x="230" y="952"/>
                  </a:lnTo>
                  <a:lnTo>
                    <a:pt x="232" y="950"/>
                  </a:lnTo>
                  <a:lnTo>
                    <a:pt x="234" y="948"/>
                  </a:lnTo>
                  <a:lnTo>
                    <a:pt x="234" y="944"/>
                  </a:lnTo>
                  <a:lnTo>
                    <a:pt x="232" y="942"/>
                  </a:lnTo>
                  <a:lnTo>
                    <a:pt x="90" y="736"/>
                  </a:lnTo>
                  <a:lnTo>
                    <a:pt x="84" y="742"/>
                  </a:lnTo>
                  <a:lnTo>
                    <a:pt x="92" y="738"/>
                  </a:lnTo>
                  <a:lnTo>
                    <a:pt x="92" y="738"/>
                  </a:lnTo>
                  <a:lnTo>
                    <a:pt x="86" y="722"/>
                  </a:lnTo>
                  <a:lnTo>
                    <a:pt x="80" y="706"/>
                  </a:lnTo>
                  <a:lnTo>
                    <a:pt x="78" y="690"/>
                  </a:lnTo>
                  <a:lnTo>
                    <a:pt x="76" y="674"/>
                  </a:lnTo>
                  <a:lnTo>
                    <a:pt x="76" y="674"/>
                  </a:lnTo>
                  <a:lnTo>
                    <a:pt x="78" y="652"/>
                  </a:lnTo>
                  <a:lnTo>
                    <a:pt x="84" y="630"/>
                  </a:lnTo>
                  <a:lnTo>
                    <a:pt x="132" y="474"/>
                  </a:lnTo>
                  <a:lnTo>
                    <a:pt x="222" y="304"/>
                  </a:lnTo>
                  <a:lnTo>
                    <a:pt x="324" y="26"/>
                  </a:lnTo>
                  <a:lnTo>
                    <a:pt x="256" y="0"/>
                  </a:lnTo>
                  <a:lnTo>
                    <a:pt x="156" y="272"/>
                  </a:lnTo>
                  <a:lnTo>
                    <a:pt x="66" y="444"/>
                  </a:lnTo>
                  <a:lnTo>
                    <a:pt x="8" y="630"/>
                  </a:lnTo>
                  <a:lnTo>
                    <a:pt x="8" y="630"/>
                  </a:lnTo>
                  <a:lnTo>
                    <a:pt x="2" y="654"/>
                  </a:lnTo>
                  <a:lnTo>
                    <a:pt x="0" y="678"/>
                  </a:lnTo>
                  <a:lnTo>
                    <a:pt x="0" y="678"/>
                  </a:lnTo>
                  <a:lnTo>
                    <a:pt x="0" y="696"/>
                  </a:lnTo>
                  <a:lnTo>
                    <a:pt x="4" y="714"/>
                  </a:lnTo>
                  <a:lnTo>
                    <a:pt x="8" y="732"/>
                  </a:lnTo>
                  <a:lnTo>
                    <a:pt x="16" y="750"/>
                  </a:lnTo>
                  <a:lnTo>
                    <a:pt x="16" y="750"/>
                  </a:lnTo>
                  <a:lnTo>
                    <a:pt x="212" y="1061"/>
                  </a:lnTo>
                  <a:lnTo>
                    <a:pt x="212" y="1061"/>
                  </a:lnTo>
                  <a:lnTo>
                    <a:pt x="216" y="1063"/>
                  </a:lnTo>
                  <a:lnTo>
                    <a:pt x="218" y="1065"/>
                  </a:lnTo>
                  <a:lnTo>
                    <a:pt x="220" y="1065"/>
                  </a:lnTo>
                  <a:lnTo>
                    <a:pt x="224" y="1065"/>
                  </a:lnTo>
                  <a:lnTo>
                    <a:pt x="224" y="1065"/>
                  </a:lnTo>
                  <a:lnTo>
                    <a:pt x="226" y="1061"/>
                  </a:lnTo>
                  <a:lnTo>
                    <a:pt x="228" y="1059"/>
                  </a:lnTo>
                  <a:lnTo>
                    <a:pt x="228" y="1055"/>
                  </a:lnTo>
                  <a:lnTo>
                    <a:pt x="226" y="1053"/>
                  </a:lnTo>
                  <a:lnTo>
                    <a:pt x="226" y="105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10" name="Freeform 2172">
              <a:extLst>
                <a:ext uri="{FF2B5EF4-FFF2-40B4-BE49-F238E27FC236}">
                  <a16:creationId xmlns:a16="http://schemas.microsoft.com/office/drawing/2014/main" id="{6A1E0817-F345-41E2-B5BE-9431CBC608B6}"/>
                </a:ext>
              </a:extLst>
            </p:cNvPr>
            <p:cNvSpPr>
              <a:spLocks/>
            </p:cNvSpPr>
            <p:nvPr/>
          </p:nvSpPr>
          <p:spPr bwMode="auto">
            <a:xfrm>
              <a:off x="9797162" y="3919104"/>
              <a:ext cx="485978" cy="346617"/>
            </a:xfrm>
            <a:custGeom>
              <a:avLst/>
              <a:gdLst>
                <a:gd name="T0" fmla="*/ 182 w 272"/>
                <a:gd name="T1" fmla="*/ 164 h 194"/>
                <a:gd name="T2" fmla="*/ 182 w 272"/>
                <a:gd name="T3" fmla="*/ 164 h 194"/>
                <a:gd name="T4" fmla="*/ 168 w 272"/>
                <a:gd name="T5" fmla="*/ 174 h 194"/>
                <a:gd name="T6" fmla="*/ 152 w 272"/>
                <a:gd name="T7" fmla="*/ 180 h 194"/>
                <a:gd name="T8" fmla="*/ 138 w 272"/>
                <a:gd name="T9" fmla="*/ 184 h 194"/>
                <a:gd name="T10" fmla="*/ 122 w 272"/>
                <a:gd name="T11" fmla="*/ 188 h 194"/>
                <a:gd name="T12" fmla="*/ 92 w 272"/>
                <a:gd name="T13" fmla="*/ 192 h 194"/>
                <a:gd name="T14" fmla="*/ 64 w 272"/>
                <a:gd name="T15" fmla="*/ 194 h 194"/>
                <a:gd name="T16" fmla="*/ 38 w 272"/>
                <a:gd name="T17" fmla="*/ 192 h 194"/>
                <a:gd name="T18" fmla="*/ 18 w 272"/>
                <a:gd name="T19" fmla="*/ 188 h 194"/>
                <a:gd name="T20" fmla="*/ 0 w 272"/>
                <a:gd name="T21" fmla="*/ 184 h 194"/>
                <a:gd name="T22" fmla="*/ 0 w 272"/>
                <a:gd name="T23" fmla="*/ 184 h 194"/>
                <a:gd name="T24" fmla="*/ 4 w 272"/>
                <a:gd name="T25" fmla="*/ 166 h 194"/>
                <a:gd name="T26" fmla="*/ 10 w 272"/>
                <a:gd name="T27" fmla="*/ 148 h 194"/>
                <a:gd name="T28" fmla="*/ 18 w 272"/>
                <a:gd name="T29" fmla="*/ 124 h 194"/>
                <a:gd name="T30" fmla="*/ 30 w 272"/>
                <a:gd name="T31" fmla="*/ 98 h 194"/>
                <a:gd name="T32" fmla="*/ 46 w 272"/>
                <a:gd name="T33" fmla="*/ 72 h 194"/>
                <a:gd name="T34" fmla="*/ 56 w 272"/>
                <a:gd name="T35" fmla="*/ 60 h 194"/>
                <a:gd name="T36" fmla="*/ 66 w 272"/>
                <a:gd name="T37" fmla="*/ 48 h 194"/>
                <a:gd name="T38" fmla="*/ 78 w 272"/>
                <a:gd name="T39" fmla="*/ 38 h 194"/>
                <a:gd name="T40" fmla="*/ 92 w 272"/>
                <a:gd name="T41" fmla="*/ 28 h 194"/>
                <a:gd name="T42" fmla="*/ 92 w 272"/>
                <a:gd name="T43" fmla="*/ 28 h 194"/>
                <a:gd name="T44" fmla="*/ 106 w 272"/>
                <a:gd name="T45" fmla="*/ 20 h 194"/>
                <a:gd name="T46" fmla="*/ 122 w 272"/>
                <a:gd name="T47" fmla="*/ 12 h 194"/>
                <a:gd name="T48" fmla="*/ 136 w 272"/>
                <a:gd name="T49" fmla="*/ 8 h 194"/>
                <a:gd name="T50" fmla="*/ 152 w 272"/>
                <a:gd name="T51" fmla="*/ 4 h 194"/>
                <a:gd name="T52" fmla="*/ 182 w 272"/>
                <a:gd name="T53" fmla="*/ 0 h 194"/>
                <a:gd name="T54" fmla="*/ 210 w 272"/>
                <a:gd name="T55" fmla="*/ 0 h 194"/>
                <a:gd name="T56" fmla="*/ 236 w 272"/>
                <a:gd name="T57" fmla="*/ 2 h 194"/>
                <a:gd name="T58" fmla="*/ 256 w 272"/>
                <a:gd name="T59" fmla="*/ 4 h 194"/>
                <a:gd name="T60" fmla="*/ 272 w 272"/>
                <a:gd name="T61" fmla="*/ 8 h 194"/>
                <a:gd name="T62" fmla="*/ 272 w 272"/>
                <a:gd name="T63" fmla="*/ 8 h 194"/>
                <a:gd name="T64" fmla="*/ 270 w 272"/>
                <a:gd name="T65" fmla="*/ 26 h 194"/>
                <a:gd name="T66" fmla="*/ 264 w 272"/>
                <a:gd name="T67" fmla="*/ 44 h 194"/>
                <a:gd name="T68" fmla="*/ 256 w 272"/>
                <a:gd name="T69" fmla="*/ 68 h 194"/>
                <a:gd name="T70" fmla="*/ 244 w 272"/>
                <a:gd name="T71" fmla="*/ 94 h 194"/>
                <a:gd name="T72" fmla="*/ 228 w 272"/>
                <a:gd name="T73" fmla="*/ 120 h 194"/>
                <a:gd name="T74" fmla="*/ 218 w 272"/>
                <a:gd name="T75" fmla="*/ 132 h 194"/>
                <a:gd name="T76" fmla="*/ 208 w 272"/>
                <a:gd name="T77" fmla="*/ 144 h 194"/>
                <a:gd name="T78" fmla="*/ 194 w 272"/>
                <a:gd name="T79" fmla="*/ 156 h 194"/>
                <a:gd name="T80" fmla="*/ 182 w 272"/>
                <a:gd name="T81" fmla="*/ 164 h 194"/>
                <a:gd name="T82" fmla="*/ 182 w 272"/>
                <a:gd name="T83" fmla="*/ 164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72" h="194">
                  <a:moveTo>
                    <a:pt x="182" y="164"/>
                  </a:moveTo>
                  <a:lnTo>
                    <a:pt x="182" y="164"/>
                  </a:lnTo>
                  <a:lnTo>
                    <a:pt x="168" y="174"/>
                  </a:lnTo>
                  <a:lnTo>
                    <a:pt x="152" y="180"/>
                  </a:lnTo>
                  <a:lnTo>
                    <a:pt x="138" y="184"/>
                  </a:lnTo>
                  <a:lnTo>
                    <a:pt x="122" y="188"/>
                  </a:lnTo>
                  <a:lnTo>
                    <a:pt x="92" y="192"/>
                  </a:lnTo>
                  <a:lnTo>
                    <a:pt x="64" y="194"/>
                  </a:lnTo>
                  <a:lnTo>
                    <a:pt x="38" y="192"/>
                  </a:lnTo>
                  <a:lnTo>
                    <a:pt x="18" y="188"/>
                  </a:lnTo>
                  <a:lnTo>
                    <a:pt x="0" y="184"/>
                  </a:lnTo>
                  <a:lnTo>
                    <a:pt x="0" y="184"/>
                  </a:lnTo>
                  <a:lnTo>
                    <a:pt x="4" y="166"/>
                  </a:lnTo>
                  <a:lnTo>
                    <a:pt x="10" y="148"/>
                  </a:lnTo>
                  <a:lnTo>
                    <a:pt x="18" y="124"/>
                  </a:lnTo>
                  <a:lnTo>
                    <a:pt x="30" y="98"/>
                  </a:lnTo>
                  <a:lnTo>
                    <a:pt x="46" y="72"/>
                  </a:lnTo>
                  <a:lnTo>
                    <a:pt x="56" y="60"/>
                  </a:lnTo>
                  <a:lnTo>
                    <a:pt x="66" y="48"/>
                  </a:lnTo>
                  <a:lnTo>
                    <a:pt x="78" y="38"/>
                  </a:lnTo>
                  <a:lnTo>
                    <a:pt x="92" y="28"/>
                  </a:lnTo>
                  <a:lnTo>
                    <a:pt x="92" y="28"/>
                  </a:lnTo>
                  <a:lnTo>
                    <a:pt x="106" y="20"/>
                  </a:lnTo>
                  <a:lnTo>
                    <a:pt x="122" y="12"/>
                  </a:lnTo>
                  <a:lnTo>
                    <a:pt x="136" y="8"/>
                  </a:lnTo>
                  <a:lnTo>
                    <a:pt x="152" y="4"/>
                  </a:lnTo>
                  <a:lnTo>
                    <a:pt x="182" y="0"/>
                  </a:lnTo>
                  <a:lnTo>
                    <a:pt x="210" y="0"/>
                  </a:lnTo>
                  <a:lnTo>
                    <a:pt x="236" y="2"/>
                  </a:lnTo>
                  <a:lnTo>
                    <a:pt x="256" y="4"/>
                  </a:lnTo>
                  <a:lnTo>
                    <a:pt x="272" y="8"/>
                  </a:lnTo>
                  <a:lnTo>
                    <a:pt x="272" y="8"/>
                  </a:lnTo>
                  <a:lnTo>
                    <a:pt x="270" y="26"/>
                  </a:lnTo>
                  <a:lnTo>
                    <a:pt x="264" y="44"/>
                  </a:lnTo>
                  <a:lnTo>
                    <a:pt x="256" y="68"/>
                  </a:lnTo>
                  <a:lnTo>
                    <a:pt x="244" y="94"/>
                  </a:lnTo>
                  <a:lnTo>
                    <a:pt x="228" y="120"/>
                  </a:lnTo>
                  <a:lnTo>
                    <a:pt x="218" y="132"/>
                  </a:lnTo>
                  <a:lnTo>
                    <a:pt x="208" y="144"/>
                  </a:lnTo>
                  <a:lnTo>
                    <a:pt x="194" y="156"/>
                  </a:lnTo>
                  <a:lnTo>
                    <a:pt x="182" y="164"/>
                  </a:lnTo>
                  <a:lnTo>
                    <a:pt x="182" y="16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11" name="Freeform 2174">
              <a:extLst>
                <a:ext uri="{FF2B5EF4-FFF2-40B4-BE49-F238E27FC236}">
                  <a16:creationId xmlns:a16="http://schemas.microsoft.com/office/drawing/2014/main" id="{07A03197-64B4-4A05-9E0F-9321BCDBDDD2}"/>
                </a:ext>
              </a:extLst>
            </p:cNvPr>
            <p:cNvSpPr>
              <a:spLocks/>
            </p:cNvSpPr>
            <p:nvPr/>
          </p:nvSpPr>
          <p:spPr bwMode="auto">
            <a:xfrm>
              <a:off x="8757311" y="4330041"/>
              <a:ext cx="575312" cy="293016"/>
            </a:xfrm>
            <a:custGeom>
              <a:avLst/>
              <a:gdLst>
                <a:gd name="T0" fmla="*/ 150 w 322"/>
                <a:gd name="T1" fmla="*/ 0 h 164"/>
                <a:gd name="T2" fmla="*/ 150 w 322"/>
                <a:gd name="T3" fmla="*/ 0 h 164"/>
                <a:gd name="T4" fmla="*/ 168 w 322"/>
                <a:gd name="T5" fmla="*/ 0 h 164"/>
                <a:gd name="T6" fmla="*/ 184 w 322"/>
                <a:gd name="T7" fmla="*/ 2 h 164"/>
                <a:gd name="T8" fmla="*/ 200 w 322"/>
                <a:gd name="T9" fmla="*/ 4 h 164"/>
                <a:gd name="T10" fmla="*/ 214 w 322"/>
                <a:gd name="T11" fmla="*/ 8 h 164"/>
                <a:gd name="T12" fmla="*/ 244 w 322"/>
                <a:gd name="T13" fmla="*/ 18 h 164"/>
                <a:gd name="T14" fmla="*/ 270 w 322"/>
                <a:gd name="T15" fmla="*/ 30 h 164"/>
                <a:gd name="T16" fmla="*/ 290 w 322"/>
                <a:gd name="T17" fmla="*/ 42 h 164"/>
                <a:gd name="T18" fmla="*/ 308 w 322"/>
                <a:gd name="T19" fmla="*/ 52 h 164"/>
                <a:gd name="T20" fmla="*/ 322 w 322"/>
                <a:gd name="T21" fmla="*/ 62 h 164"/>
                <a:gd name="T22" fmla="*/ 322 w 322"/>
                <a:gd name="T23" fmla="*/ 62 h 164"/>
                <a:gd name="T24" fmla="*/ 310 w 322"/>
                <a:gd name="T25" fmla="*/ 78 h 164"/>
                <a:gd name="T26" fmla="*/ 296 w 322"/>
                <a:gd name="T27" fmla="*/ 92 h 164"/>
                <a:gd name="T28" fmla="*/ 280 w 322"/>
                <a:gd name="T29" fmla="*/ 110 h 164"/>
                <a:gd name="T30" fmla="*/ 258 w 322"/>
                <a:gd name="T31" fmla="*/ 128 h 164"/>
                <a:gd name="T32" fmla="*/ 232 w 322"/>
                <a:gd name="T33" fmla="*/ 144 h 164"/>
                <a:gd name="T34" fmla="*/ 218 w 322"/>
                <a:gd name="T35" fmla="*/ 150 h 164"/>
                <a:gd name="T36" fmla="*/ 202 w 322"/>
                <a:gd name="T37" fmla="*/ 156 h 164"/>
                <a:gd name="T38" fmla="*/ 186 w 322"/>
                <a:gd name="T39" fmla="*/ 160 h 164"/>
                <a:gd name="T40" fmla="*/ 170 w 322"/>
                <a:gd name="T41" fmla="*/ 164 h 164"/>
                <a:gd name="T42" fmla="*/ 170 w 322"/>
                <a:gd name="T43" fmla="*/ 164 h 164"/>
                <a:gd name="T44" fmla="*/ 154 w 322"/>
                <a:gd name="T45" fmla="*/ 164 h 164"/>
                <a:gd name="T46" fmla="*/ 138 w 322"/>
                <a:gd name="T47" fmla="*/ 164 h 164"/>
                <a:gd name="T48" fmla="*/ 122 w 322"/>
                <a:gd name="T49" fmla="*/ 162 h 164"/>
                <a:gd name="T50" fmla="*/ 106 w 322"/>
                <a:gd name="T51" fmla="*/ 158 h 164"/>
                <a:gd name="T52" fmla="*/ 78 w 322"/>
                <a:gd name="T53" fmla="*/ 150 h 164"/>
                <a:gd name="T54" fmla="*/ 52 w 322"/>
                <a:gd name="T55" fmla="*/ 136 h 164"/>
                <a:gd name="T56" fmla="*/ 30 w 322"/>
                <a:gd name="T57" fmla="*/ 124 h 164"/>
                <a:gd name="T58" fmla="*/ 14 w 322"/>
                <a:gd name="T59" fmla="*/ 114 h 164"/>
                <a:gd name="T60" fmla="*/ 0 w 322"/>
                <a:gd name="T61" fmla="*/ 102 h 164"/>
                <a:gd name="T62" fmla="*/ 0 w 322"/>
                <a:gd name="T63" fmla="*/ 102 h 164"/>
                <a:gd name="T64" fmla="*/ 16 w 322"/>
                <a:gd name="T65" fmla="*/ 82 h 164"/>
                <a:gd name="T66" fmla="*/ 30 w 322"/>
                <a:gd name="T67" fmla="*/ 68 h 164"/>
                <a:gd name="T68" fmla="*/ 46 w 322"/>
                <a:gd name="T69" fmla="*/ 50 h 164"/>
                <a:gd name="T70" fmla="*/ 68 w 322"/>
                <a:gd name="T71" fmla="*/ 32 h 164"/>
                <a:gd name="T72" fmla="*/ 92 w 322"/>
                <a:gd name="T73" fmla="*/ 18 h 164"/>
                <a:gd name="T74" fmla="*/ 106 w 322"/>
                <a:gd name="T75" fmla="*/ 12 h 164"/>
                <a:gd name="T76" fmla="*/ 120 w 322"/>
                <a:gd name="T77" fmla="*/ 6 h 164"/>
                <a:gd name="T78" fmla="*/ 134 w 322"/>
                <a:gd name="T79" fmla="*/ 2 h 164"/>
                <a:gd name="T80" fmla="*/ 150 w 322"/>
                <a:gd name="T81" fmla="*/ 0 h 164"/>
                <a:gd name="T82" fmla="*/ 150 w 322"/>
                <a:gd name="T83" fmla="*/ 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22" h="164">
                  <a:moveTo>
                    <a:pt x="150" y="0"/>
                  </a:moveTo>
                  <a:lnTo>
                    <a:pt x="150" y="0"/>
                  </a:lnTo>
                  <a:lnTo>
                    <a:pt x="168" y="0"/>
                  </a:lnTo>
                  <a:lnTo>
                    <a:pt x="184" y="2"/>
                  </a:lnTo>
                  <a:lnTo>
                    <a:pt x="200" y="4"/>
                  </a:lnTo>
                  <a:lnTo>
                    <a:pt x="214" y="8"/>
                  </a:lnTo>
                  <a:lnTo>
                    <a:pt x="244" y="18"/>
                  </a:lnTo>
                  <a:lnTo>
                    <a:pt x="270" y="30"/>
                  </a:lnTo>
                  <a:lnTo>
                    <a:pt x="290" y="42"/>
                  </a:lnTo>
                  <a:lnTo>
                    <a:pt x="308" y="52"/>
                  </a:lnTo>
                  <a:lnTo>
                    <a:pt x="322" y="62"/>
                  </a:lnTo>
                  <a:lnTo>
                    <a:pt x="322" y="62"/>
                  </a:lnTo>
                  <a:lnTo>
                    <a:pt x="310" y="78"/>
                  </a:lnTo>
                  <a:lnTo>
                    <a:pt x="296" y="92"/>
                  </a:lnTo>
                  <a:lnTo>
                    <a:pt x="280" y="110"/>
                  </a:lnTo>
                  <a:lnTo>
                    <a:pt x="258" y="128"/>
                  </a:lnTo>
                  <a:lnTo>
                    <a:pt x="232" y="144"/>
                  </a:lnTo>
                  <a:lnTo>
                    <a:pt x="218" y="150"/>
                  </a:lnTo>
                  <a:lnTo>
                    <a:pt x="202" y="156"/>
                  </a:lnTo>
                  <a:lnTo>
                    <a:pt x="186" y="160"/>
                  </a:lnTo>
                  <a:lnTo>
                    <a:pt x="170" y="164"/>
                  </a:lnTo>
                  <a:lnTo>
                    <a:pt x="170" y="164"/>
                  </a:lnTo>
                  <a:lnTo>
                    <a:pt x="154" y="164"/>
                  </a:lnTo>
                  <a:lnTo>
                    <a:pt x="138" y="164"/>
                  </a:lnTo>
                  <a:lnTo>
                    <a:pt x="122" y="162"/>
                  </a:lnTo>
                  <a:lnTo>
                    <a:pt x="106" y="158"/>
                  </a:lnTo>
                  <a:lnTo>
                    <a:pt x="78" y="150"/>
                  </a:lnTo>
                  <a:lnTo>
                    <a:pt x="52" y="136"/>
                  </a:lnTo>
                  <a:lnTo>
                    <a:pt x="30" y="124"/>
                  </a:lnTo>
                  <a:lnTo>
                    <a:pt x="14" y="114"/>
                  </a:lnTo>
                  <a:lnTo>
                    <a:pt x="0" y="102"/>
                  </a:lnTo>
                  <a:lnTo>
                    <a:pt x="0" y="102"/>
                  </a:lnTo>
                  <a:lnTo>
                    <a:pt x="16" y="82"/>
                  </a:lnTo>
                  <a:lnTo>
                    <a:pt x="30" y="68"/>
                  </a:lnTo>
                  <a:lnTo>
                    <a:pt x="46" y="50"/>
                  </a:lnTo>
                  <a:lnTo>
                    <a:pt x="68" y="32"/>
                  </a:lnTo>
                  <a:lnTo>
                    <a:pt x="92" y="18"/>
                  </a:lnTo>
                  <a:lnTo>
                    <a:pt x="106" y="12"/>
                  </a:lnTo>
                  <a:lnTo>
                    <a:pt x="120" y="6"/>
                  </a:lnTo>
                  <a:lnTo>
                    <a:pt x="134" y="2"/>
                  </a:lnTo>
                  <a:lnTo>
                    <a:pt x="150" y="0"/>
                  </a:lnTo>
                  <a:lnTo>
                    <a:pt x="150"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12" name="Freeform 2176">
              <a:extLst>
                <a:ext uri="{FF2B5EF4-FFF2-40B4-BE49-F238E27FC236}">
                  <a16:creationId xmlns:a16="http://schemas.microsoft.com/office/drawing/2014/main" id="{42853F0F-71F0-49EF-ACF9-A4042D6ED293}"/>
                </a:ext>
              </a:extLst>
            </p:cNvPr>
            <p:cNvSpPr>
              <a:spLocks/>
            </p:cNvSpPr>
            <p:nvPr/>
          </p:nvSpPr>
          <p:spPr bwMode="auto">
            <a:xfrm>
              <a:off x="8950273" y="4519430"/>
              <a:ext cx="475258" cy="353763"/>
            </a:xfrm>
            <a:custGeom>
              <a:avLst/>
              <a:gdLst>
                <a:gd name="T0" fmla="*/ 86 w 266"/>
                <a:gd name="T1" fmla="*/ 32 h 198"/>
                <a:gd name="T2" fmla="*/ 86 w 266"/>
                <a:gd name="T3" fmla="*/ 32 h 198"/>
                <a:gd name="T4" fmla="*/ 100 w 266"/>
                <a:gd name="T5" fmla="*/ 22 h 198"/>
                <a:gd name="T6" fmla="*/ 114 w 266"/>
                <a:gd name="T7" fmla="*/ 16 h 198"/>
                <a:gd name="T8" fmla="*/ 130 w 266"/>
                <a:gd name="T9" fmla="*/ 10 h 198"/>
                <a:gd name="T10" fmla="*/ 144 w 266"/>
                <a:gd name="T11" fmla="*/ 6 h 198"/>
                <a:gd name="T12" fmla="*/ 174 w 266"/>
                <a:gd name="T13" fmla="*/ 0 h 198"/>
                <a:gd name="T14" fmla="*/ 204 w 266"/>
                <a:gd name="T15" fmla="*/ 0 h 198"/>
                <a:gd name="T16" fmla="*/ 228 w 266"/>
                <a:gd name="T17" fmla="*/ 0 h 198"/>
                <a:gd name="T18" fmla="*/ 248 w 266"/>
                <a:gd name="T19" fmla="*/ 2 h 198"/>
                <a:gd name="T20" fmla="*/ 266 w 266"/>
                <a:gd name="T21" fmla="*/ 6 h 198"/>
                <a:gd name="T22" fmla="*/ 266 w 266"/>
                <a:gd name="T23" fmla="*/ 6 h 198"/>
                <a:gd name="T24" fmla="*/ 262 w 266"/>
                <a:gd name="T25" fmla="*/ 24 h 198"/>
                <a:gd name="T26" fmla="*/ 258 w 266"/>
                <a:gd name="T27" fmla="*/ 42 h 198"/>
                <a:gd name="T28" fmla="*/ 250 w 266"/>
                <a:gd name="T29" fmla="*/ 66 h 198"/>
                <a:gd name="T30" fmla="*/ 238 w 266"/>
                <a:gd name="T31" fmla="*/ 92 h 198"/>
                <a:gd name="T32" fmla="*/ 224 w 266"/>
                <a:gd name="T33" fmla="*/ 118 h 198"/>
                <a:gd name="T34" fmla="*/ 214 w 266"/>
                <a:gd name="T35" fmla="*/ 132 h 198"/>
                <a:gd name="T36" fmla="*/ 204 w 266"/>
                <a:gd name="T37" fmla="*/ 144 h 198"/>
                <a:gd name="T38" fmla="*/ 192 w 266"/>
                <a:gd name="T39" fmla="*/ 156 h 198"/>
                <a:gd name="T40" fmla="*/ 180 w 266"/>
                <a:gd name="T41" fmla="*/ 166 h 198"/>
                <a:gd name="T42" fmla="*/ 180 w 266"/>
                <a:gd name="T43" fmla="*/ 166 h 198"/>
                <a:gd name="T44" fmla="*/ 166 w 266"/>
                <a:gd name="T45" fmla="*/ 174 h 198"/>
                <a:gd name="T46" fmla="*/ 150 w 266"/>
                <a:gd name="T47" fmla="*/ 182 h 198"/>
                <a:gd name="T48" fmla="*/ 136 w 266"/>
                <a:gd name="T49" fmla="*/ 186 h 198"/>
                <a:gd name="T50" fmla="*/ 120 w 266"/>
                <a:gd name="T51" fmla="*/ 192 h 198"/>
                <a:gd name="T52" fmla="*/ 90 w 266"/>
                <a:gd name="T53" fmla="*/ 196 h 198"/>
                <a:gd name="T54" fmla="*/ 62 w 266"/>
                <a:gd name="T55" fmla="*/ 198 h 198"/>
                <a:gd name="T56" fmla="*/ 36 w 266"/>
                <a:gd name="T57" fmla="*/ 196 h 198"/>
                <a:gd name="T58" fmla="*/ 18 w 266"/>
                <a:gd name="T59" fmla="*/ 194 h 198"/>
                <a:gd name="T60" fmla="*/ 0 w 266"/>
                <a:gd name="T61" fmla="*/ 192 h 198"/>
                <a:gd name="T62" fmla="*/ 0 w 266"/>
                <a:gd name="T63" fmla="*/ 192 h 198"/>
                <a:gd name="T64" fmla="*/ 2 w 266"/>
                <a:gd name="T65" fmla="*/ 174 h 198"/>
                <a:gd name="T66" fmla="*/ 8 w 266"/>
                <a:gd name="T67" fmla="*/ 154 h 198"/>
                <a:gd name="T68" fmla="*/ 14 w 266"/>
                <a:gd name="T69" fmla="*/ 130 h 198"/>
                <a:gd name="T70" fmla="*/ 26 w 266"/>
                <a:gd name="T71" fmla="*/ 104 h 198"/>
                <a:gd name="T72" fmla="*/ 42 w 266"/>
                <a:gd name="T73" fmla="*/ 78 h 198"/>
                <a:gd name="T74" fmla="*/ 50 w 266"/>
                <a:gd name="T75" fmla="*/ 66 h 198"/>
                <a:gd name="T76" fmla="*/ 60 w 266"/>
                <a:gd name="T77" fmla="*/ 52 h 198"/>
                <a:gd name="T78" fmla="*/ 72 w 266"/>
                <a:gd name="T79" fmla="*/ 42 h 198"/>
                <a:gd name="T80" fmla="*/ 86 w 266"/>
                <a:gd name="T81" fmla="*/ 32 h 198"/>
                <a:gd name="T82" fmla="*/ 86 w 266"/>
                <a:gd name="T83" fmla="*/ 32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66" h="198">
                  <a:moveTo>
                    <a:pt x="86" y="32"/>
                  </a:moveTo>
                  <a:lnTo>
                    <a:pt x="86" y="32"/>
                  </a:lnTo>
                  <a:lnTo>
                    <a:pt x="100" y="22"/>
                  </a:lnTo>
                  <a:lnTo>
                    <a:pt x="114" y="16"/>
                  </a:lnTo>
                  <a:lnTo>
                    <a:pt x="130" y="10"/>
                  </a:lnTo>
                  <a:lnTo>
                    <a:pt x="144" y="6"/>
                  </a:lnTo>
                  <a:lnTo>
                    <a:pt x="174" y="0"/>
                  </a:lnTo>
                  <a:lnTo>
                    <a:pt x="204" y="0"/>
                  </a:lnTo>
                  <a:lnTo>
                    <a:pt x="228" y="0"/>
                  </a:lnTo>
                  <a:lnTo>
                    <a:pt x="248" y="2"/>
                  </a:lnTo>
                  <a:lnTo>
                    <a:pt x="266" y="6"/>
                  </a:lnTo>
                  <a:lnTo>
                    <a:pt x="266" y="6"/>
                  </a:lnTo>
                  <a:lnTo>
                    <a:pt x="262" y="24"/>
                  </a:lnTo>
                  <a:lnTo>
                    <a:pt x="258" y="42"/>
                  </a:lnTo>
                  <a:lnTo>
                    <a:pt x="250" y="66"/>
                  </a:lnTo>
                  <a:lnTo>
                    <a:pt x="238" y="92"/>
                  </a:lnTo>
                  <a:lnTo>
                    <a:pt x="224" y="118"/>
                  </a:lnTo>
                  <a:lnTo>
                    <a:pt x="214" y="132"/>
                  </a:lnTo>
                  <a:lnTo>
                    <a:pt x="204" y="144"/>
                  </a:lnTo>
                  <a:lnTo>
                    <a:pt x="192" y="156"/>
                  </a:lnTo>
                  <a:lnTo>
                    <a:pt x="180" y="166"/>
                  </a:lnTo>
                  <a:lnTo>
                    <a:pt x="180" y="166"/>
                  </a:lnTo>
                  <a:lnTo>
                    <a:pt x="166" y="174"/>
                  </a:lnTo>
                  <a:lnTo>
                    <a:pt x="150" y="182"/>
                  </a:lnTo>
                  <a:lnTo>
                    <a:pt x="136" y="186"/>
                  </a:lnTo>
                  <a:lnTo>
                    <a:pt x="120" y="192"/>
                  </a:lnTo>
                  <a:lnTo>
                    <a:pt x="90" y="196"/>
                  </a:lnTo>
                  <a:lnTo>
                    <a:pt x="62" y="198"/>
                  </a:lnTo>
                  <a:lnTo>
                    <a:pt x="36" y="196"/>
                  </a:lnTo>
                  <a:lnTo>
                    <a:pt x="18" y="194"/>
                  </a:lnTo>
                  <a:lnTo>
                    <a:pt x="0" y="192"/>
                  </a:lnTo>
                  <a:lnTo>
                    <a:pt x="0" y="192"/>
                  </a:lnTo>
                  <a:lnTo>
                    <a:pt x="2" y="174"/>
                  </a:lnTo>
                  <a:lnTo>
                    <a:pt x="8" y="154"/>
                  </a:lnTo>
                  <a:lnTo>
                    <a:pt x="14" y="130"/>
                  </a:lnTo>
                  <a:lnTo>
                    <a:pt x="26" y="104"/>
                  </a:lnTo>
                  <a:lnTo>
                    <a:pt x="42" y="78"/>
                  </a:lnTo>
                  <a:lnTo>
                    <a:pt x="50" y="66"/>
                  </a:lnTo>
                  <a:lnTo>
                    <a:pt x="60" y="52"/>
                  </a:lnTo>
                  <a:lnTo>
                    <a:pt x="72" y="42"/>
                  </a:lnTo>
                  <a:lnTo>
                    <a:pt x="86" y="32"/>
                  </a:lnTo>
                  <a:lnTo>
                    <a:pt x="86" y="32"/>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13" name="Freeform 2178">
              <a:extLst>
                <a:ext uri="{FF2B5EF4-FFF2-40B4-BE49-F238E27FC236}">
                  <a16:creationId xmlns:a16="http://schemas.microsoft.com/office/drawing/2014/main" id="{03D98208-AE87-47B5-88A6-C97BA683E8DD}"/>
                </a:ext>
              </a:extLst>
            </p:cNvPr>
            <p:cNvSpPr>
              <a:spLocks/>
            </p:cNvSpPr>
            <p:nvPr/>
          </p:nvSpPr>
          <p:spPr bwMode="auto">
            <a:xfrm>
              <a:off x="8968139" y="4226411"/>
              <a:ext cx="543152" cy="310883"/>
            </a:xfrm>
            <a:custGeom>
              <a:avLst/>
              <a:gdLst>
                <a:gd name="T0" fmla="*/ 180 w 304"/>
                <a:gd name="T1" fmla="*/ 10 h 174"/>
                <a:gd name="T2" fmla="*/ 180 w 304"/>
                <a:gd name="T3" fmla="*/ 10 h 174"/>
                <a:gd name="T4" fmla="*/ 194 w 304"/>
                <a:gd name="T5" fmla="*/ 18 h 174"/>
                <a:gd name="T6" fmla="*/ 210 w 304"/>
                <a:gd name="T7" fmla="*/ 24 h 174"/>
                <a:gd name="T8" fmla="*/ 222 w 304"/>
                <a:gd name="T9" fmla="*/ 34 h 174"/>
                <a:gd name="T10" fmla="*/ 234 w 304"/>
                <a:gd name="T11" fmla="*/ 44 h 174"/>
                <a:gd name="T12" fmla="*/ 256 w 304"/>
                <a:gd name="T13" fmla="*/ 66 h 174"/>
                <a:gd name="T14" fmla="*/ 274 w 304"/>
                <a:gd name="T15" fmla="*/ 88 h 174"/>
                <a:gd name="T16" fmla="*/ 286 w 304"/>
                <a:gd name="T17" fmla="*/ 110 h 174"/>
                <a:gd name="T18" fmla="*/ 296 w 304"/>
                <a:gd name="T19" fmla="*/ 126 h 174"/>
                <a:gd name="T20" fmla="*/ 304 w 304"/>
                <a:gd name="T21" fmla="*/ 144 h 174"/>
                <a:gd name="T22" fmla="*/ 304 w 304"/>
                <a:gd name="T23" fmla="*/ 144 h 174"/>
                <a:gd name="T24" fmla="*/ 288 w 304"/>
                <a:gd name="T25" fmla="*/ 150 h 174"/>
                <a:gd name="T26" fmla="*/ 270 w 304"/>
                <a:gd name="T27" fmla="*/ 158 h 174"/>
                <a:gd name="T28" fmla="*/ 246 w 304"/>
                <a:gd name="T29" fmla="*/ 166 h 174"/>
                <a:gd name="T30" fmla="*/ 218 w 304"/>
                <a:gd name="T31" fmla="*/ 172 h 174"/>
                <a:gd name="T32" fmla="*/ 188 w 304"/>
                <a:gd name="T33" fmla="*/ 174 h 174"/>
                <a:gd name="T34" fmla="*/ 172 w 304"/>
                <a:gd name="T35" fmla="*/ 174 h 174"/>
                <a:gd name="T36" fmla="*/ 156 w 304"/>
                <a:gd name="T37" fmla="*/ 172 h 174"/>
                <a:gd name="T38" fmla="*/ 140 w 304"/>
                <a:gd name="T39" fmla="*/ 170 h 174"/>
                <a:gd name="T40" fmla="*/ 124 w 304"/>
                <a:gd name="T41" fmla="*/ 164 h 174"/>
                <a:gd name="T42" fmla="*/ 124 w 304"/>
                <a:gd name="T43" fmla="*/ 164 h 174"/>
                <a:gd name="T44" fmla="*/ 108 w 304"/>
                <a:gd name="T45" fmla="*/ 158 h 174"/>
                <a:gd name="T46" fmla="*/ 94 w 304"/>
                <a:gd name="T47" fmla="*/ 150 h 174"/>
                <a:gd name="T48" fmla="*/ 80 w 304"/>
                <a:gd name="T49" fmla="*/ 142 h 174"/>
                <a:gd name="T50" fmla="*/ 68 w 304"/>
                <a:gd name="T51" fmla="*/ 132 h 174"/>
                <a:gd name="T52" fmla="*/ 48 w 304"/>
                <a:gd name="T53" fmla="*/ 110 h 174"/>
                <a:gd name="T54" fmla="*/ 30 w 304"/>
                <a:gd name="T55" fmla="*/ 86 h 174"/>
                <a:gd name="T56" fmla="*/ 16 w 304"/>
                <a:gd name="T57" fmla="*/ 66 h 174"/>
                <a:gd name="T58" fmla="*/ 6 w 304"/>
                <a:gd name="T59" fmla="*/ 48 h 174"/>
                <a:gd name="T60" fmla="*/ 0 w 304"/>
                <a:gd name="T61" fmla="*/ 32 h 174"/>
                <a:gd name="T62" fmla="*/ 0 w 304"/>
                <a:gd name="T63" fmla="*/ 32 h 174"/>
                <a:gd name="T64" fmla="*/ 16 w 304"/>
                <a:gd name="T65" fmla="*/ 24 h 174"/>
                <a:gd name="T66" fmla="*/ 34 w 304"/>
                <a:gd name="T67" fmla="*/ 18 h 174"/>
                <a:gd name="T68" fmla="*/ 58 w 304"/>
                <a:gd name="T69" fmla="*/ 10 h 174"/>
                <a:gd name="T70" fmla="*/ 86 w 304"/>
                <a:gd name="T71" fmla="*/ 4 h 174"/>
                <a:gd name="T72" fmla="*/ 116 w 304"/>
                <a:gd name="T73" fmla="*/ 0 h 174"/>
                <a:gd name="T74" fmla="*/ 132 w 304"/>
                <a:gd name="T75" fmla="*/ 2 h 174"/>
                <a:gd name="T76" fmla="*/ 148 w 304"/>
                <a:gd name="T77" fmla="*/ 2 h 174"/>
                <a:gd name="T78" fmla="*/ 164 w 304"/>
                <a:gd name="T79" fmla="*/ 6 h 174"/>
                <a:gd name="T80" fmla="*/ 180 w 304"/>
                <a:gd name="T81" fmla="*/ 10 h 174"/>
                <a:gd name="T82" fmla="*/ 180 w 304"/>
                <a:gd name="T83" fmla="*/ 10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04" h="174">
                  <a:moveTo>
                    <a:pt x="180" y="10"/>
                  </a:moveTo>
                  <a:lnTo>
                    <a:pt x="180" y="10"/>
                  </a:lnTo>
                  <a:lnTo>
                    <a:pt x="194" y="18"/>
                  </a:lnTo>
                  <a:lnTo>
                    <a:pt x="210" y="24"/>
                  </a:lnTo>
                  <a:lnTo>
                    <a:pt x="222" y="34"/>
                  </a:lnTo>
                  <a:lnTo>
                    <a:pt x="234" y="44"/>
                  </a:lnTo>
                  <a:lnTo>
                    <a:pt x="256" y="66"/>
                  </a:lnTo>
                  <a:lnTo>
                    <a:pt x="274" y="88"/>
                  </a:lnTo>
                  <a:lnTo>
                    <a:pt x="286" y="110"/>
                  </a:lnTo>
                  <a:lnTo>
                    <a:pt x="296" y="126"/>
                  </a:lnTo>
                  <a:lnTo>
                    <a:pt x="304" y="144"/>
                  </a:lnTo>
                  <a:lnTo>
                    <a:pt x="304" y="144"/>
                  </a:lnTo>
                  <a:lnTo>
                    <a:pt x="288" y="150"/>
                  </a:lnTo>
                  <a:lnTo>
                    <a:pt x="270" y="158"/>
                  </a:lnTo>
                  <a:lnTo>
                    <a:pt x="246" y="166"/>
                  </a:lnTo>
                  <a:lnTo>
                    <a:pt x="218" y="172"/>
                  </a:lnTo>
                  <a:lnTo>
                    <a:pt x="188" y="174"/>
                  </a:lnTo>
                  <a:lnTo>
                    <a:pt x="172" y="174"/>
                  </a:lnTo>
                  <a:lnTo>
                    <a:pt x="156" y="172"/>
                  </a:lnTo>
                  <a:lnTo>
                    <a:pt x="140" y="170"/>
                  </a:lnTo>
                  <a:lnTo>
                    <a:pt x="124" y="164"/>
                  </a:lnTo>
                  <a:lnTo>
                    <a:pt x="124" y="164"/>
                  </a:lnTo>
                  <a:lnTo>
                    <a:pt x="108" y="158"/>
                  </a:lnTo>
                  <a:lnTo>
                    <a:pt x="94" y="150"/>
                  </a:lnTo>
                  <a:lnTo>
                    <a:pt x="80" y="142"/>
                  </a:lnTo>
                  <a:lnTo>
                    <a:pt x="68" y="132"/>
                  </a:lnTo>
                  <a:lnTo>
                    <a:pt x="48" y="110"/>
                  </a:lnTo>
                  <a:lnTo>
                    <a:pt x="30" y="86"/>
                  </a:lnTo>
                  <a:lnTo>
                    <a:pt x="16" y="66"/>
                  </a:lnTo>
                  <a:lnTo>
                    <a:pt x="6" y="48"/>
                  </a:lnTo>
                  <a:lnTo>
                    <a:pt x="0" y="32"/>
                  </a:lnTo>
                  <a:lnTo>
                    <a:pt x="0" y="32"/>
                  </a:lnTo>
                  <a:lnTo>
                    <a:pt x="16" y="24"/>
                  </a:lnTo>
                  <a:lnTo>
                    <a:pt x="34" y="18"/>
                  </a:lnTo>
                  <a:lnTo>
                    <a:pt x="58" y="10"/>
                  </a:lnTo>
                  <a:lnTo>
                    <a:pt x="86" y="4"/>
                  </a:lnTo>
                  <a:lnTo>
                    <a:pt x="116" y="0"/>
                  </a:lnTo>
                  <a:lnTo>
                    <a:pt x="132" y="2"/>
                  </a:lnTo>
                  <a:lnTo>
                    <a:pt x="148" y="2"/>
                  </a:lnTo>
                  <a:lnTo>
                    <a:pt x="164" y="6"/>
                  </a:lnTo>
                  <a:lnTo>
                    <a:pt x="180" y="10"/>
                  </a:lnTo>
                  <a:lnTo>
                    <a:pt x="180" y="1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14" name="Freeform 2181">
              <a:extLst>
                <a:ext uri="{FF2B5EF4-FFF2-40B4-BE49-F238E27FC236}">
                  <a16:creationId xmlns:a16="http://schemas.microsoft.com/office/drawing/2014/main" id="{38B363F3-FC08-449D-9E75-5F25EF0A325D}"/>
                </a:ext>
              </a:extLst>
            </p:cNvPr>
            <p:cNvSpPr>
              <a:spLocks/>
            </p:cNvSpPr>
            <p:nvPr/>
          </p:nvSpPr>
          <p:spPr bwMode="auto">
            <a:xfrm>
              <a:off x="9311184" y="3540327"/>
              <a:ext cx="171522" cy="203682"/>
            </a:xfrm>
            <a:custGeom>
              <a:avLst/>
              <a:gdLst>
                <a:gd name="T0" fmla="*/ 64 w 96"/>
                <a:gd name="T1" fmla="*/ 0 h 114"/>
                <a:gd name="T2" fmla="*/ 64 w 96"/>
                <a:gd name="T3" fmla="*/ 0 h 114"/>
                <a:gd name="T4" fmla="*/ 42 w 96"/>
                <a:gd name="T5" fmla="*/ 10 h 114"/>
                <a:gd name="T6" fmla="*/ 16 w 96"/>
                <a:gd name="T7" fmla="*/ 22 h 114"/>
                <a:gd name="T8" fmla="*/ 0 w 96"/>
                <a:gd name="T9" fmla="*/ 114 h 114"/>
                <a:gd name="T10" fmla="*/ 0 w 96"/>
                <a:gd name="T11" fmla="*/ 114 h 114"/>
                <a:gd name="T12" fmla="*/ 12 w 96"/>
                <a:gd name="T13" fmla="*/ 114 h 114"/>
                <a:gd name="T14" fmla="*/ 12 w 96"/>
                <a:gd name="T15" fmla="*/ 114 h 114"/>
                <a:gd name="T16" fmla="*/ 12 w 96"/>
                <a:gd name="T17" fmla="*/ 114 h 114"/>
                <a:gd name="T18" fmla="*/ 12 w 96"/>
                <a:gd name="T19" fmla="*/ 114 h 114"/>
                <a:gd name="T20" fmla="*/ 38 w 96"/>
                <a:gd name="T21" fmla="*/ 112 h 114"/>
                <a:gd name="T22" fmla="*/ 38 w 96"/>
                <a:gd name="T23" fmla="*/ 112 h 114"/>
                <a:gd name="T24" fmla="*/ 44 w 96"/>
                <a:gd name="T25" fmla="*/ 98 h 114"/>
                <a:gd name="T26" fmla="*/ 46 w 96"/>
                <a:gd name="T27" fmla="*/ 90 h 114"/>
                <a:gd name="T28" fmla="*/ 52 w 96"/>
                <a:gd name="T29" fmla="*/ 92 h 114"/>
                <a:gd name="T30" fmla="*/ 52 w 96"/>
                <a:gd name="T31" fmla="*/ 92 h 114"/>
                <a:gd name="T32" fmla="*/ 56 w 96"/>
                <a:gd name="T33" fmla="*/ 86 h 114"/>
                <a:gd name="T34" fmla="*/ 56 w 96"/>
                <a:gd name="T35" fmla="*/ 86 h 114"/>
                <a:gd name="T36" fmla="*/ 68 w 96"/>
                <a:gd name="T37" fmla="*/ 66 h 114"/>
                <a:gd name="T38" fmla="*/ 78 w 96"/>
                <a:gd name="T39" fmla="*/ 52 h 114"/>
                <a:gd name="T40" fmla="*/ 88 w 96"/>
                <a:gd name="T41" fmla="*/ 38 h 114"/>
                <a:gd name="T42" fmla="*/ 92 w 96"/>
                <a:gd name="T43" fmla="*/ 34 h 114"/>
                <a:gd name="T44" fmla="*/ 96 w 96"/>
                <a:gd name="T45" fmla="*/ 36 h 114"/>
                <a:gd name="T46" fmla="*/ 96 w 96"/>
                <a:gd name="T47" fmla="*/ 36 h 114"/>
                <a:gd name="T48" fmla="*/ 82 w 96"/>
                <a:gd name="T49" fmla="*/ 18 h 114"/>
                <a:gd name="T50" fmla="*/ 64 w 96"/>
                <a:gd name="T5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6" h="114">
                  <a:moveTo>
                    <a:pt x="64" y="0"/>
                  </a:moveTo>
                  <a:lnTo>
                    <a:pt x="64" y="0"/>
                  </a:lnTo>
                  <a:lnTo>
                    <a:pt x="42" y="10"/>
                  </a:lnTo>
                  <a:lnTo>
                    <a:pt x="16" y="22"/>
                  </a:lnTo>
                  <a:lnTo>
                    <a:pt x="0" y="114"/>
                  </a:lnTo>
                  <a:lnTo>
                    <a:pt x="0" y="114"/>
                  </a:lnTo>
                  <a:lnTo>
                    <a:pt x="12" y="114"/>
                  </a:lnTo>
                  <a:lnTo>
                    <a:pt x="12" y="114"/>
                  </a:lnTo>
                  <a:lnTo>
                    <a:pt x="12" y="114"/>
                  </a:lnTo>
                  <a:lnTo>
                    <a:pt x="12" y="114"/>
                  </a:lnTo>
                  <a:lnTo>
                    <a:pt x="38" y="112"/>
                  </a:lnTo>
                  <a:lnTo>
                    <a:pt x="38" y="112"/>
                  </a:lnTo>
                  <a:lnTo>
                    <a:pt x="44" y="98"/>
                  </a:lnTo>
                  <a:lnTo>
                    <a:pt x="46" y="90"/>
                  </a:lnTo>
                  <a:lnTo>
                    <a:pt x="52" y="92"/>
                  </a:lnTo>
                  <a:lnTo>
                    <a:pt x="52" y="92"/>
                  </a:lnTo>
                  <a:lnTo>
                    <a:pt x="56" y="86"/>
                  </a:lnTo>
                  <a:lnTo>
                    <a:pt x="56" y="86"/>
                  </a:lnTo>
                  <a:lnTo>
                    <a:pt x="68" y="66"/>
                  </a:lnTo>
                  <a:lnTo>
                    <a:pt x="78" y="52"/>
                  </a:lnTo>
                  <a:lnTo>
                    <a:pt x="88" y="38"/>
                  </a:lnTo>
                  <a:lnTo>
                    <a:pt x="92" y="34"/>
                  </a:lnTo>
                  <a:lnTo>
                    <a:pt x="96" y="36"/>
                  </a:lnTo>
                  <a:lnTo>
                    <a:pt x="96" y="36"/>
                  </a:lnTo>
                  <a:lnTo>
                    <a:pt x="82" y="18"/>
                  </a:lnTo>
                  <a:lnTo>
                    <a:pt x="6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15" name="Freeform 2183">
              <a:extLst>
                <a:ext uri="{FF2B5EF4-FFF2-40B4-BE49-F238E27FC236}">
                  <a16:creationId xmlns:a16="http://schemas.microsoft.com/office/drawing/2014/main" id="{2AE07263-546B-4864-9BDF-329175808554}"/>
                </a:ext>
              </a:extLst>
            </p:cNvPr>
            <p:cNvSpPr>
              <a:spLocks/>
            </p:cNvSpPr>
            <p:nvPr/>
          </p:nvSpPr>
          <p:spPr bwMode="auto">
            <a:xfrm>
              <a:off x="9432678" y="3636808"/>
              <a:ext cx="67894" cy="89334"/>
            </a:xfrm>
            <a:custGeom>
              <a:avLst/>
              <a:gdLst>
                <a:gd name="T0" fmla="*/ 28 w 38"/>
                <a:gd name="T1" fmla="*/ 0 h 50"/>
                <a:gd name="T2" fmla="*/ 28 w 38"/>
                <a:gd name="T3" fmla="*/ 0 h 50"/>
                <a:gd name="T4" fmla="*/ 22 w 38"/>
                <a:gd name="T5" fmla="*/ 6 h 50"/>
                <a:gd name="T6" fmla="*/ 22 w 38"/>
                <a:gd name="T7" fmla="*/ 6 h 50"/>
                <a:gd name="T8" fmla="*/ 14 w 38"/>
                <a:gd name="T9" fmla="*/ 20 h 50"/>
                <a:gd name="T10" fmla="*/ 2 w 38"/>
                <a:gd name="T11" fmla="*/ 40 h 50"/>
                <a:gd name="T12" fmla="*/ 2 w 38"/>
                <a:gd name="T13" fmla="*/ 40 h 50"/>
                <a:gd name="T14" fmla="*/ 0 w 38"/>
                <a:gd name="T15" fmla="*/ 44 h 50"/>
                <a:gd name="T16" fmla="*/ 0 w 38"/>
                <a:gd name="T17" fmla="*/ 44 h 50"/>
                <a:gd name="T18" fmla="*/ 14 w 38"/>
                <a:gd name="T19" fmla="*/ 50 h 50"/>
                <a:gd name="T20" fmla="*/ 14 w 38"/>
                <a:gd name="T21" fmla="*/ 50 h 50"/>
                <a:gd name="T22" fmla="*/ 34 w 38"/>
                <a:gd name="T23" fmla="*/ 42 h 50"/>
                <a:gd name="T24" fmla="*/ 34 w 38"/>
                <a:gd name="T25" fmla="*/ 42 h 50"/>
                <a:gd name="T26" fmla="*/ 38 w 38"/>
                <a:gd name="T27" fmla="*/ 10 h 50"/>
                <a:gd name="T28" fmla="*/ 38 w 38"/>
                <a:gd name="T29" fmla="*/ 10 h 50"/>
                <a:gd name="T30" fmla="*/ 28 w 38"/>
                <a:gd name="T31"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8" h="50">
                  <a:moveTo>
                    <a:pt x="28" y="0"/>
                  </a:moveTo>
                  <a:lnTo>
                    <a:pt x="28" y="0"/>
                  </a:lnTo>
                  <a:lnTo>
                    <a:pt x="22" y="6"/>
                  </a:lnTo>
                  <a:lnTo>
                    <a:pt x="22" y="6"/>
                  </a:lnTo>
                  <a:lnTo>
                    <a:pt x="14" y="20"/>
                  </a:lnTo>
                  <a:lnTo>
                    <a:pt x="2" y="40"/>
                  </a:lnTo>
                  <a:lnTo>
                    <a:pt x="2" y="40"/>
                  </a:lnTo>
                  <a:lnTo>
                    <a:pt x="0" y="44"/>
                  </a:lnTo>
                  <a:lnTo>
                    <a:pt x="0" y="44"/>
                  </a:lnTo>
                  <a:lnTo>
                    <a:pt x="14" y="50"/>
                  </a:lnTo>
                  <a:lnTo>
                    <a:pt x="14" y="50"/>
                  </a:lnTo>
                  <a:lnTo>
                    <a:pt x="34" y="42"/>
                  </a:lnTo>
                  <a:lnTo>
                    <a:pt x="34" y="42"/>
                  </a:lnTo>
                  <a:lnTo>
                    <a:pt x="38" y="10"/>
                  </a:lnTo>
                  <a:lnTo>
                    <a:pt x="38" y="10"/>
                  </a:lnTo>
                  <a:lnTo>
                    <a:pt x="2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16" name="Freeform 2185">
              <a:extLst>
                <a:ext uri="{FF2B5EF4-FFF2-40B4-BE49-F238E27FC236}">
                  <a16:creationId xmlns:a16="http://schemas.microsoft.com/office/drawing/2014/main" id="{FC2B02B2-412E-44B7-9607-2429E75B9F8F}"/>
                </a:ext>
              </a:extLst>
            </p:cNvPr>
            <p:cNvSpPr>
              <a:spLocks/>
            </p:cNvSpPr>
            <p:nvPr/>
          </p:nvSpPr>
          <p:spPr bwMode="auto">
            <a:xfrm>
              <a:off x="9404091" y="3601074"/>
              <a:ext cx="100054" cy="114348"/>
            </a:xfrm>
            <a:custGeom>
              <a:avLst/>
              <a:gdLst>
                <a:gd name="T0" fmla="*/ 40 w 56"/>
                <a:gd name="T1" fmla="*/ 0 h 64"/>
                <a:gd name="T2" fmla="*/ 36 w 56"/>
                <a:gd name="T3" fmla="*/ 4 h 64"/>
                <a:gd name="T4" fmla="*/ 36 w 56"/>
                <a:gd name="T5" fmla="*/ 4 h 64"/>
                <a:gd name="T6" fmla="*/ 26 w 56"/>
                <a:gd name="T7" fmla="*/ 18 h 64"/>
                <a:gd name="T8" fmla="*/ 16 w 56"/>
                <a:gd name="T9" fmla="*/ 32 h 64"/>
                <a:gd name="T10" fmla="*/ 4 w 56"/>
                <a:gd name="T11" fmla="*/ 52 h 64"/>
                <a:gd name="T12" fmla="*/ 4 w 56"/>
                <a:gd name="T13" fmla="*/ 52 h 64"/>
                <a:gd name="T14" fmla="*/ 0 w 56"/>
                <a:gd name="T15" fmla="*/ 58 h 64"/>
                <a:gd name="T16" fmla="*/ 2 w 56"/>
                <a:gd name="T17" fmla="*/ 58 h 64"/>
                <a:gd name="T18" fmla="*/ 2 w 56"/>
                <a:gd name="T19" fmla="*/ 58 h 64"/>
                <a:gd name="T20" fmla="*/ 16 w 56"/>
                <a:gd name="T21" fmla="*/ 64 h 64"/>
                <a:gd name="T22" fmla="*/ 16 w 56"/>
                <a:gd name="T23" fmla="*/ 64 h 64"/>
                <a:gd name="T24" fmla="*/ 18 w 56"/>
                <a:gd name="T25" fmla="*/ 60 h 64"/>
                <a:gd name="T26" fmla="*/ 18 w 56"/>
                <a:gd name="T27" fmla="*/ 60 h 64"/>
                <a:gd name="T28" fmla="*/ 30 w 56"/>
                <a:gd name="T29" fmla="*/ 40 h 64"/>
                <a:gd name="T30" fmla="*/ 38 w 56"/>
                <a:gd name="T31" fmla="*/ 26 h 64"/>
                <a:gd name="T32" fmla="*/ 38 w 56"/>
                <a:gd name="T33" fmla="*/ 26 h 64"/>
                <a:gd name="T34" fmla="*/ 44 w 56"/>
                <a:gd name="T35" fmla="*/ 20 h 64"/>
                <a:gd name="T36" fmla="*/ 44 w 56"/>
                <a:gd name="T37" fmla="*/ 20 h 64"/>
                <a:gd name="T38" fmla="*/ 54 w 56"/>
                <a:gd name="T39" fmla="*/ 30 h 64"/>
                <a:gd name="T40" fmla="*/ 54 w 56"/>
                <a:gd name="T41" fmla="*/ 30 h 64"/>
                <a:gd name="T42" fmla="*/ 56 w 56"/>
                <a:gd name="T43" fmla="*/ 18 h 64"/>
                <a:gd name="T44" fmla="*/ 56 w 56"/>
                <a:gd name="T45" fmla="*/ 18 h 64"/>
                <a:gd name="T46" fmla="*/ 48 w 56"/>
                <a:gd name="T47" fmla="*/ 6 h 64"/>
                <a:gd name="T48" fmla="*/ 48 w 56"/>
                <a:gd name="T49" fmla="*/ 6 h 64"/>
                <a:gd name="T50" fmla="*/ 44 w 56"/>
                <a:gd name="T51" fmla="*/ 2 h 64"/>
                <a:gd name="T52" fmla="*/ 40 w 56"/>
                <a:gd name="T53"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6" h="64">
                  <a:moveTo>
                    <a:pt x="40" y="0"/>
                  </a:moveTo>
                  <a:lnTo>
                    <a:pt x="36" y="4"/>
                  </a:lnTo>
                  <a:lnTo>
                    <a:pt x="36" y="4"/>
                  </a:lnTo>
                  <a:lnTo>
                    <a:pt x="26" y="18"/>
                  </a:lnTo>
                  <a:lnTo>
                    <a:pt x="16" y="32"/>
                  </a:lnTo>
                  <a:lnTo>
                    <a:pt x="4" y="52"/>
                  </a:lnTo>
                  <a:lnTo>
                    <a:pt x="4" y="52"/>
                  </a:lnTo>
                  <a:lnTo>
                    <a:pt x="0" y="58"/>
                  </a:lnTo>
                  <a:lnTo>
                    <a:pt x="2" y="58"/>
                  </a:lnTo>
                  <a:lnTo>
                    <a:pt x="2" y="58"/>
                  </a:lnTo>
                  <a:lnTo>
                    <a:pt x="16" y="64"/>
                  </a:lnTo>
                  <a:lnTo>
                    <a:pt x="16" y="64"/>
                  </a:lnTo>
                  <a:lnTo>
                    <a:pt x="18" y="60"/>
                  </a:lnTo>
                  <a:lnTo>
                    <a:pt x="18" y="60"/>
                  </a:lnTo>
                  <a:lnTo>
                    <a:pt x="30" y="40"/>
                  </a:lnTo>
                  <a:lnTo>
                    <a:pt x="38" y="26"/>
                  </a:lnTo>
                  <a:lnTo>
                    <a:pt x="38" y="26"/>
                  </a:lnTo>
                  <a:lnTo>
                    <a:pt x="44" y="20"/>
                  </a:lnTo>
                  <a:lnTo>
                    <a:pt x="44" y="20"/>
                  </a:lnTo>
                  <a:lnTo>
                    <a:pt x="54" y="30"/>
                  </a:lnTo>
                  <a:lnTo>
                    <a:pt x="54" y="30"/>
                  </a:lnTo>
                  <a:lnTo>
                    <a:pt x="56" y="18"/>
                  </a:lnTo>
                  <a:lnTo>
                    <a:pt x="56" y="18"/>
                  </a:lnTo>
                  <a:lnTo>
                    <a:pt x="48" y="6"/>
                  </a:lnTo>
                  <a:lnTo>
                    <a:pt x="48" y="6"/>
                  </a:lnTo>
                  <a:lnTo>
                    <a:pt x="44" y="2"/>
                  </a:lnTo>
                  <a:lnTo>
                    <a:pt x="4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17" name="Freeform 2187">
              <a:extLst>
                <a:ext uri="{FF2B5EF4-FFF2-40B4-BE49-F238E27FC236}">
                  <a16:creationId xmlns:a16="http://schemas.microsoft.com/office/drawing/2014/main" id="{336E086C-4E69-40F7-A759-C5E803E4852C}"/>
                </a:ext>
              </a:extLst>
            </p:cNvPr>
            <p:cNvSpPr>
              <a:spLocks/>
            </p:cNvSpPr>
            <p:nvPr/>
          </p:nvSpPr>
          <p:spPr bwMode="auto">
            <a:xfrm>
              <a:off x="9379078" y="3701128"/>
              <a:ext cx="78614" cy="39307"/>
            </a:xfrm>
            <a:custGeom>
              <a:avLst/>
              <a:gdLst>
                <a:gd name="T0" fmla="*/ 8 w 44"/>
                <a:gd name="T1" fmla="*/ 0 h 22"/>
                <a:gd name="T2" fmla="*/ 6 w 44"/>
                <a:gd name="T3" fmla="*/ 8 h 22"/>
                <a:gd name="T4" fmla="*/ 6 w 44"/>
                <a:gd name="T5" fmla="*/ 8 h 22"/>
                <a:gd name="T6" fmla="*/ 0 w 44"/>
                <a:gd name="T7" fmla="*/ 22 h 22"/>
                <a:gd name="T8" fmla="*/ 0 w 44"/>
                <a:gd name="T9" fmla="*/ 22 h 22"/>
                <a:gd name="T10" fmla="*/ 22 w 44"/>
                <a:gd name="T11" fmla="*/ 18 h 22"/>
                <a:gd name="T12" fmla="*/ 44 w 44"/>
                <a:gd name="T13" fmla="*/ 14 h 22"/>
                <a:gd name="T14" fmla="*/ 44 w 44"/>
                <a:gd name="T15" fmla="*/ 14 h 22"/>
                <a:gd name="T16" fmla="*/ 30 w 44"/>
                <a:gd name="T17" fmla="*/ 8 h 22"/>
                <a:gd name="T18" fmla="*/ 30 w 44"/>
                <a:gd name="T19" fmla="*/ 8 h 22"/>
                <a:gd name="T20" fmla="*/ 16 w 44"/>
                <a:gd name="T21" fmla="*/ 2 h 22"/>
                <a:gd name="T22" fmla="*/ 14 w 44"/>
                <a:gd name="T23" fmla="*/ 2 h 22"/>
                <a:gd name="T24" fmla="*/ 8 w 44"/>
                <a:gd name="T2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22">
                  <a:moveTo>
                    <a:pt x="8" y="0"/>
                  </a:moveTo>
                  <a:lnTo>
                    <a:pt x="6" y="8"/>
                  </a:lnTo>
                  <a:lnTo>
                    <a:pt x="6" y="8"/>
                  </a:lnTo>
                  <a:lnTo>
                    <a:pt x="0" y="22"/>
                  </a:lnTo>
                  <a:lnTo>
                    <a:pt x="0" y="22"/>
                  </a:lnTo>
                  <a:lnTo>
                    <a:pt x="22" y="18"/>
                  </a:lnTo>
                  <a:lnTo>
                    <a:pt x="44" y="14"/>
                  </a:lnTo>
                  <a:lnTo>
                    <a:pt x="44" y="14"/>
                  </a:lnTo>
                  <a:lnTo>
                    <a:pt x="30" y="8"/>
                  </a:lnTo>
                  <a:lnTo>
                    <a:pt x="30" y="8"/>
                  </a:lnTo>
                  <a:lnTo>
                    <a:pt x="16" y="2"/>
                  </a:lnTo>
                  <a:lnTo>
                    <a:pt x="14" y="2"/>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18" name="Freeform 2189">
              <a:extLst>
                <a:ext uri="{FF2B5EF4-FFF2-40B4-BE49-F238E27FC236}">
                  <a16:creationId xmlns:a16="http://schemas.microsoft.com/office/drawing/2014/main" id="{277C71D8-4FCC-42DD-8C37-1566C040B695}"/>
                </a:ext>
              </a:extLst>
            </p:cNvPr>
            <p:cNvSpPr>
              <a:spLocks/>
            </p:cNvSpPr>
            <p:nvPr/>
          </p:nvSpPr>
          <p:spPr bwMode="auto">
            <a:xfrm>
              <a:off x="9232569" y="3586780"/>
              <a:ext cx="78614" cy="153655"/>
            </a:xfrm>
            <a:custGeom>
              <a:avLst/>
              <a:gdLst>
                <a:gd name="T0" fmla="*/ 44 w 44"/>
                <a:gd name="T1" fmla="*/ 0 h 86"/>
                <a:gd name="T2" fmla="*/ 44 w 44"/>
                <a:gd name="T3" fmla="*/ 0 h 86"/>
                <a:gd name="T4" fmla="*/ 22 w 44"/>
                <a:gd name="T5" fmla="*/ 6 h 86"/>
                <a:gd name="T6" fmla="*/ 0 w 44"/>
                <a:gd name="T7" fmla="*/ 8 h 86"/>
                <a:gd name="T8" fmla="*/ 0 w 44"/>
                <a:gd name="T9" fmla="*/ 14 h 86"/>
                <a:gd name="T10" fmla="*/ 0 w 44"/>
                <a:gd name="T11" fmla="*/ 14 h 86"/>
                <a:gd name="T12" fmla="*/ 2 w 44"/>
                <a:gd name="T13" fmla="*/ 26 h 86"/>
                <a:gd name="T14" fmla="*/ 2 w 44"/>
                <a:gd name="T15" fmla="*/ 26 h 86"/>
                <a:gd name="T16" fmla="*/ 2 w 44"/>
                <a:gd name="T17" fmla="*/ 26 h 86"/>
                <a:gd name="T18" fmla="*/ 6 w 44"/>
                <a:gd name="T19" fmla="*/ 48 h 86"/>
                <a:gd name="T20" fmla="*/ 8 w 44"/>
                <a:gd name="T21" fmla="*/ 68 h 86"/>
                <a:gd name="T22" fmla="*/ 8 w 44"/>
                <a:gd name="T23" fmla="*/ 68 h 86"/>
                <a:gd name="T24" fmla="*/ 8 w 44"/>
                <a:gd name="T25" fmla="*/ 82 h 86"/>
                <a:gd name="T26" fmla="*/ 8 w 44"/>
                <a:gd name="T27" fmla="*/ 82 h 86"/>
                <a:gd name="T28" fmla="*/ 28 w 44"/>
                <a:gd name="T29" fmla="*/ 86 h 86"/>
                <a:gd name="T30" fmla="*/ 44 w 44"/>
                <a:gd name="T31" fmla="*/ 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4" h="86">
                  <a:moveTo>
                    <a:pt x="44" y="0"/>
                  </a:moveTo>
                  <a:lnTo>
                    <a:pt x="44" y="0"/>
                  </a:lnTo>
                  <a:lnTo>
                    <a:pt x="22" y="6"/>
                  </a:lnTo>
                  <a:lnTo>
                    <a:pt x="0" y="8"/>
                  </a:lnTo>
                  <a:lnTo>
                    <a:pt x="0" y="14"/>
                  </a:lnTo>
                  <a:lnTo>
                    <a:pt x="0" y="14"/>
                  </a:lnTo>
                  <a:lnTo>
                    <a:pt x="2" y="26"/>
                  </a:lnTo>
                  <a:lnTo>
                    <a:pt x="2" y="26"/>
                  </a:lnTo>
                  <a:lnTo>
                    <a:pt x="2" y="26"/>
                  </a:lnTo>
                  <a:lnTo>
                    <a:pt x="6" y="48"/>
                  </a:lnTo>
                  <a:lnTo>
                    <a:pt x="8" y="68"/>
                  </a:lnTo>
                  <a:lnTo>
                    <a:pt x="8" y="68"/>
                  </a:lnTo>
                  <a:lnTo>
                    <a:pt x="8" y="82"/>
                  </a:lnTo>
                  <a:lnTo>
                    <a:pt x="8" y="82"/>
                  </a:lnTo>
                  <a:lnTo>
                    <a:pt x="28" y="86"/>
                  </a:lnTo>
                  <a:lnTo>
                    <a:pt x="4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19" name="Freeform 2191">
              <a:extLst>
                <a:ext uri="{FF2B5EF4-FFF2-40B4-BE49-F238E27FC236}">
                  <a16:creationId xmlns:a16="http://schemas.microsoft.com/office/drawing/2014/main" id="{B66C65BD-D7D3-4E76-8B76-05B1873278E4}"/>
                </a:ext>
              </a:extLst>
            </p:cNvPr>
            <p:cNvSpPr>
              <a:spLocks/>
            </p:cNvSpPr>
            <p:nvPr/>
          </p:nvSpPr>
          <p:spPr bwMode="auto">
            <a:xfrm>
              <a:off x="9225423" y="3601074"/>
              <a:ext cx="7147" cy="10720"/>
            </a:xfrm>
            <a:custGeom>
              <a:avLst/>
              <a:gdLst>
                <a:gd name="T0" fmla="*/ 4 w 4"/>
                <a:gd name="T1" fmla="*/ 0 h 6"/>
                <a:gd name="T2" fmla="*/ 4 w 4"/>
                <a:gd name="T3" fmla="*/ 0 h 6"/>
                <a:gd name="T4" fmla="*/ 2 w 4"/>
                <a:gd name="T5" fmla="*/ 0 h 6"/>
                <a:gd name="T6" fmla="*/ 2 w 4"/>
                <a:gd name="T7" fmla="*/ 0 h 6"/>
                <a:gd name="T8" fmla="*/ 0 w 4"/>
                <a:gd name="T9" fmla="*/ 0 h 6"/>
                <a:gd name="T10" fmla="*/ 0 w 4"/>
                <a:gd name="T11" fmla="*/ 0 h 6"/>
                <a:gd name="T12" fmla="*/ 4 w 4"/>
                <a:gd name="T13" fmla="*/ 6 h 6"/>
                <a:gd name="T14" fmla="*/ 4 w 4"/>
                <a:gd name="T15" fmla="*/ 0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6">
                  <a:moveTo>
                    <a:pt x="4" y="0"/>
                  </a:moveTo>
                  <a:lnTo>
                    <a:pt x="4" y="0"/>
                  </a:lnTo>
                  <a:lnTo>
                    <a:pt x="2" y="0"/>
                  </a:lnTo>
                  <a:lnTo>
                    <a:pt x="2" y="0"/>
                  </a:lnTo>
                  <a:lnTo>
                    <a:pt x="0" y="0"/>
                  </a:lnTo>
                  <a:lnTo>
                    <a:pt x="0" y="0"/>
                  </a:lnTo>
                  <a:lnTo>
                    <a:pt x="4" y="6"/>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20" name="Freeform 2194">
              <a:extLst>
                <a:ext uri="{FF2B5EF4-FFF2-40B4-BE49-F238E27FC236}">
                  <a16:creationId xmlns:a16="http://schemas.microsoft.com/office/drawing/2014/main" id="{D20858BD-2418-492B-8EE7-D9ED3A4C3261}"/>
                </a:ext>
              </a:extLst>
            </p:cNvPr>
            <p:cNvSpPr>
              <a:spLocks/>
            </p:cNvSpPr>
            <p:nvPr/>
          </p:nvSpPr>
          <p:spPr bwMode="auto">
            <a:xfrm>
              <a:off x="9525586" y="3672541"/>
              <a:ext cx="10720" cy="28587"/>
            </a:xfrm>
            <a:custGeom>
              <a:avLst/>
              <a:gdLst>
                <a:gd name="T0" fmla="*/ 0 w 6"/>
                <a:gd name="T1" fmla="*/ 0 h 16"/>
                <a:gd name="T2" fmla="*/ 0 w 6"/>
                <a:gd name="T3" fmla="*/ 0 h 16"/>
                <a:gd name="T4" fmla="*/ 0 w 6"/>
                <a:gd name="T5" fmla="*/ 16 h 16"/>
                <a:gd name="T6" fmla="*/ 0 w 6"/>
                <a:gd name="T7" fmla="*/ 16 h 16"/>
                <a:gd name="T8" fmla="*/ 6 w 6"/>
                <a:gd name="T9" fmla="*/ 12 h 16"/>
                <a:gd name="T10" fmla="*/ 6 w 6"/>
                <a:gd name="T11" fmla="*/ 12 h 16"/>
                <a:gd name="T12" fmla="*/ 2 w 6"/>
                <a:gd name="T13" fmla="*/ 4 h 16"/>
                <a:gd name="T14" fmla="*/ 2 w 6"/>
                <a:gd name="T15" fmla="*/ 4 h 16"/>
                <a:gd name="T16" fmla="*/ 0 w 6"/>
                <a:gd name="T17"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6">
                  <a:moveTo>
                    <a:pt x="0" y="0"/>
                  </a:moveTo>
                  <a:lnTo>
                    <a:pt x="0" y="0"/>
                  </a:lnTo>
                  <a:lnTo>
                    <a:pt x="0" y="16"/>
                  </a:lnTo>
                  <a:lnTo>
                    <a:pt x="0" y="16"/>
                  </a:lnTo>
                  <a:lnTo>
                    <a:pt x="6" y="12"/>
                  </a:lnTo>
                  <a:lnTo>
                    <a:pt x="6" y="12"/>
                  </a:lnTo>
                  <a:lnTo>
                    <a:pt x="2" y="4"/>
                  </a:lnTo>
                  <a:lnTo>
                    <a:pt x="2" y="4"/>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21" name="Freeform 2196">
              <a:extLst>
                <a:ext uri="{FF2B5EF4-FFF2-40B4-BE49-F238E27FC236}">
                  <a16:creationId xmlns:a16="http://schemas.microsoft.com/office/drawing/2014/main" id="{0D99BCBF-2F60-422B-92D1-C06644287300}"/>
                </a:ext>
              </a:extLst>
            </p:cNvPr>
            <p:cNvSpPr>
              <a:spLocks/>
            </p:cNvSpPr>
            <p:nvPr/>
          </p:nvSpPr>
          <p:spPr bwMode="auto">
            <a:xfrm>
              <a:off x="9493425" y="3633234"/>
              <a:ext cx="32160" cy="78614"/>
            </a:xfrm>
            <a:custGeom>
              <a:avLst/>
              <a:gdLst>
                <a:gd name="T0" fmla="*/ 6 w 18"/>
                <a:gd name="T1" fmla="*/ 0 h 44"/>
                <a:gd name="T2" fmla="*/ 6 w 18"/>
                <a:gd name="T3" fmla="*/ 0 h 44"/>
                <a:gd name="T4" fmla="*/ 4 w 18"/>
                <a:gd name="T5" fmla="*/ 12 h 44"/>
                <a:gd name="T6" fmla="*/ 4 w 18"/>
                <a:gd name="T7" fmla="*/ 12 h 44"/>
                <a:gd name="T8" fmla="*/ 0 w 18"/>
                <a:gd name="T9" fmla="*/ 44 h 44"/>
                <a:gd name="T10" fmla="*/ 0 w 18"/>
                <a:gd name="T11" fmla="*/ 44 h 44"/>
                <a:gd name="T12" fmla="*/ 18 w 18"/>
                <a:gd name="T13" fmla="*/ 38 h 44"/>
                <a:gd name="T14" fmla="*/ 18 w 18"/>
                <a:gd name="T15" fmla="*/ 38 h 44"/>
                <a:gd name="T16" fmla="*/ 18 w 18"/>
                <a:gd name="T17" fmla="*/ 22 h 44"/>
                <a:gd name="T18" fmla="*/ 18 w 18"/>
                <a:gd name="T19" fmla="*/ 22 h 44"/>
                <a:gd name="T20" fmla="*/ 6 w 18"/>
                <a:gd name="T21"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 h="44">
                  <a:moveTo>
                    <a:pt x="6" y="0"/>
                  </a:moveTo>
                  <a:lnTo>
                    <a:pt x="6" y="0"/>
                  </a:lnTo>
                  <a:lnTo>
                    <a:pt x="4" y="12"/>
                  </a:lnTo>
                  <a:lnTo>
                    <a:pt x="4" y="12"/>
                  </a:lnTo>
                  <a:lnTo>
                    <a:pt x="0" y="44"/>
                  </a:lnTo>
                  <a:lnTo>
                    <a:pt x="0" y="44"/>
                  </a:lnTo>
                  <a:lnTo>
                    <a:pt x="18" y="38"/>
                  </a:lnTo>
                  <a:lnTo>
                    <a:pt x="18" y="38"/>
                  </a:lnTo>
                  <a:lnTo>
                    <a:pt x="18" y="22"/>
                  </a:lnTo>
                  <a:lnTo>
                    <a:pt x="18" y="2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22" name="Freeform 2198">
              <a:extLst>
                <a:ext uri="{FF2B5EF4-FFF2-40B4-BE49-F238E27FC236}">
                  <a16:creationId xmlns:a16="http://schemas.microsoft.com/office/drawing/2014/main" id="{E497B841-C379-4986-9DE2-9256F2B486B0}"/>
                </a:ext>
              </a:extLst>
            </p:cNvPr>
            <p:cNvSpPr>
              <a:spLocks/>
            </p:cNvSpPr>
            <p:nvPr/>
          </p:nvSpPr>
          <p:spPr bwMode="auto">
            <a:xfrm>
              <a:off x="9039608" y="3536753"/>
              <a:ext cx="182242" cy="185815"/>
            </a:xfrm>
            <a:custGeom>
              <a:avLst/>
              <a:gdLst>
                <a:gd name="T0" fmla="*/ 0 w 102"/>
                <a:gd name="T1" fmla="*/ 0 h 104"/>
                <a:gd name="T2" fmla="*/ 0 w 102"/>
                <a:gd name="T3" fmla="*/ 0 h 104"/>
                <a:gd name="T4" fmla="*/ 8 w 102"/>
                <a:gd name="T5" fmla="*/ 16 h 104"/>
                <a:gd name="T6" fmla="*/ 20 w 102"/>
                <a:gd name="T7" fmla="*/ 34 h 104"/>
                <a:gd name="T8" fmla="*/ 20 w 102"/>
                <a:gd name="T9" fmla="*/ 34 h 104"/>
                <a:gd name="T10" fmla="*/ 36 w 102"/>
                <a:gd name="T11" fmla="*/ 54 h 104"/>
                <a:gd name="T12" fmla="*/ 54 w 102"/>
                <a:gd name="T13" fmla="*/ 72 h 104"/>
                <a:gd name="T14" fmla="*/ 76 w 102"/>
                <a:gd name="T15" fmla="*/ 90 h 104"/>
                <a:gd name="T16" fmla="*/ 88 w 102"/>
                <a:gd name="T17" fmla="*/ 96 h 104"/>
                <a:gd name="T18" fmla="*/ 100 w 102"/>
                <a:gd name="T19" fmla="*/ 104 h 104"/>
                <a:gd name="T20" fmla="*/ 100 w 102"/>
                <a:gd name="T21" fmla="*/ 104 h 104"/>
                <a:gd name="T22" fmla="*/ 100 w 102"/>
                <a:gd name="T23" fmla="*/ 96 h 104"/>
                <a:gd name="T24" fmla="*/ 100 w 102"/>
                <a:gd name="T25" fmla="*/ 96 h 104"/>
                <a:gd name="T26" fmla="*/ 98 w 102"/>
                <a:gd name="T27" fmla="*/ 78 h 104"/>
                <a:gd name="T28" fmla="*/ 96 w 102"/>
                <a:gd name="T29" fmla="*/ 58 h 104"/>
                <a:gd name="T30" fmla="*/ 102 w 102"/>
                <a:gd name="T31" fmla="*/ 56 h 104"/>
                <a:gd name="T32" fmla="*/ 102 w 102"/>
                <a:gd name="T33" fmla="*/ 56 h 104"/>
                <a:gd name="T34" fmla="*/ 96 w 102"/>
                <a:gd name="T35" fmla="*/ 58 h 104"/>
                <a:gd name="T36" fmla="*/ 96 w 102"/>
                <a:gd name="T37" fmla="*/ 58 h 104"/>
                <a:gd name="T38" fmla="*/ 86 w 102"/>
                <a:gd name="T39" fmla="*/ 34 h 104"/>
                <a:gd name="T40" fmla="*/ 86 w 102"/>
                <a:gd name="T41" fmla="*/ 34 h 104"/>
                <a:gd name="T42" fmla="*/ 62 w 102"/>
                <a:gd name="T43" fmla="*/ 30 h 104"/>
                <a:gd name="T44" fmla="*/ 40 w 102"/>
                <a:gd name="T45" fmla="*/ 22 h 104"/>
                <a:gd name="T46" fmla="*/ 18 w 102"/>
                <a:gd name="T47" fmla="*/ 12 h 104"/>
                <a:gd name="T48" fmla="*/ 0 w 102"/>
                <a:gd name="T49"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2" h="104">
                  <a:moveTo>
                    <a:pt x="0" y="0"/>
                  </a:moveTo>
                  <a:lnTo>
                    <a:pt x="0" y="0"/>
                  </a:lnTo>
                  <a:lnTo>
                    <a:pt x="8" y="16"/>
                  </a:lnTo>
                  <a:lnTo>
                    <a:pt x="20" y="34"/>
                  </a:lnTo>
                  <a:lnTo>
                    <a:pt x="20" y="34"/>
                  </a:lnTo>
                  <a:lnTo>
                    <a:pt x="36" y="54"/>
                  </a:lnTo>
                  <a:lnTo>
                    <a:pt x="54" y="72"/>
                  </a:lnTo>
                  <a:lnTo>
                    <a:pt x="76" y="90"/>
                  </a:lnTo>
                  <a:lnTo>
                    <a:pt x="88" y="96"/>
                  </a:lnTo>
                  <a:lnTo>
                    <a:pt x="100" y="104"/>
                  </a:lnTo>
                  <a:lnTo>
                    <a:pt x="100" y="104"/>
                  </a:lnTo>
                  <a:lnTo>
                    <a:pt x="100" y="96"/>
                  </a:lnTo>
                  <a:lnTo>
                    <a:pt x="100" y="96"/>
                  </a:lnTo>
                  <a:lnTo>
                    <a:pt x="98" y="78"/>
                  </a:lnTo>
                  <a:lnTo>
                    <a:pt x="96" y="58"/>
                  </a:lnTo>
                  <a:lnTo>
                    <a:pt x="102" y="56"/>
                  </a:lnTo>
                  <a:lnTo>
                    <a:pt x="102" y="56"/>
                  </a:lnTo>
                  <a:lnTo>
                    <a:pt x="96" y="58"/>
                  </a:lnTo>
                  <a:lnTo>
                    <a:pt x="96" y="58"/>
                  </a:lnTo>
                  <a:lnTo>
                    <a:pt x="86" y="34"/>
                  </a:lnTo>
                  <a:lnTo>
                    <a:pt x="86" y="34"/>
                  </a:lnTo>
                  <a:lnTo>
                    <a:pt x="62" y="30"/>
                  </a:lnTo>
                  <a:lnTo>
                    <a:pt x="40" y="22"/>
                  </a:lnTo>
                  <a:lnTo>
                    <a:pt x="18" y="1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23" name="Freeform 2200">
              <a:extLst>
                <a:ext uri="{FF2B5EF4-FFF2-40B4-BE49-F238E27FC236}">
                  <a16:creationId xmlns:a16="http://schemas.microsoft.com/office/drawing/2014/main" id="{E4ACEF82-5BFD-4554-BEE7-4E49EA31A564}"/>
                </a:ext>
              </a:extLst>
            </p:cNvPr>
            <p:cNvSpPr>
              <a:spLocks/>
            </p:cNvSpPr>
            <p:nvPr/>
          </p:nvSpPr>
          <p:spPr bwMode="auto">
            <a:xfrm>
              <a:off x="9193262" y="3597501"/>
              <a:ext cx="53601" cy="135788"/>
            </a:xfrm>
            <a:custGeom>
              <a:avLst/>
              <a:gdLst>
                <a:gd name="T0" fmla="*/ 0 w 30"/>
                <a:gd name="T1" fmla="*/ 0 h 76"/>
                <a:gd name="T2" fmla="*/ 0 w 30"/>
                <a:gd name="T3" fmla="*/ 0 h 76"/>
                <a:gd name="T4" fmla="*/ 10 w 30"/>
                <a:gd name="T5" fmla="*/ 24 h 76"/>
                <a:gd name="T6" fmla="*/ 16 w 30"/>
                <a:gd name="T7" fmla="*/ 22 h 76"/>
                <a:gd name="T8" fmla="*/ 24 w 30"/>
                <a:gd name="T9" fmla="*/ 20 h 76"/>
                <a:gd name="T10" fmla="*/ 16 w 30"/>
                <a:gd name="T11" fmla="*/ 22 h 76"/>
                <a:gd name="T12" fmla="*/ 10 w 30"/>
                <a:gd name="T13" fmla="*/ 24 h 76"/>
                <a:gd name="T14" fmla="*/ 10 w 30"/>
                <a:gd name="T15" fmla="*/ 24 h 76"/>
                <a:gd name="T16" fmla="*/ 12 w 30"/>
                <a:gd name="T17" fmla="*/ 44 h 76"/>
                <a:gd name="T18" fmla="*/ 14 w 30"/>
                <a:gd name="T19" fmla="*/ 62 h 76"/>
                <a:gd name="T20" fmla="*/ 14 w 30"/>
                <a:gd name="T21" fmla="*/ 62 h 76"/>
                <a:gd name="T22" fmla="*/ 14 w 30"/>
                <a:gd name="T23" fmla="*/ 70 h 76"/>
                <a:gd name="T24" fmla="*/ 14 w 30"/>
                <a:gd name="T25" fmla="*/ 70 h 76"/>
                <a:gd name="T26" fmla="*/ 26 w 30"/>
                <a:gd name="T27" fmla="*/ 74 h 76"/>
                <a:gd name="T28" fmla="*/ 26 w 30"/>
                <a:gd name="T29" fmla="*/ 74 h 76"/>
                <a:gd name="T30" fmla="*/ 30 w 30"/>
                <a:gd name="T31" fmla="*/ 76 h 76"/>
                <a:gd name="T32" fmla="*/ 30 w 30"/>
                <a:gd name="T33" fmla="*/ 76 h 76"/>
                <a:gd name="T34" fmla="*/ 30 w 30"/>
                <a:gd name="T35" fmla="*/ 62 h 76"/>
                <a:gd name="T36" fmla="*/ 30 w 30"/>
                <a:gd name="T37" fmla="*/ 62 h 76"/>
                <a:gd name="T38" fmla="*/ 28 w 30"/>
                <a:gd name="T39" fmla="*/ 42 h 76"/>
                <a:gd name="T40" fmla="*/ 24 w 30"/>
                <a:gd name="T41" fmla="*/ 20 h 76"/>
                <a:gd name="T42" fmla="*/ 24 w 30"/>
                <a:gd name="T43" fmla="*/ 20 h 76"/>
                <a:gd name="T44" fmla="*/ 24 w 30"/>
                <a:gd name="T45" fmla="*/ 20 h 76"/>
                <a:gd name="T46" fmla="*/ 22 w 30"/>
                <a:gd name="T47" fmla="*/ 8 h 76"/>
                <a:gd name="T48" fmla="*/ 22 w 30"/>
                <a:gd name="T49" fmla="*/ 8 h 76"/>
                <a:gd name="T50" fmla="*/ 18 w 30"/>
                <a:gd name="T51" fmla="*/ 2 h 76"/>
                <a:gd name="T52" fmla="*/ 18 w 30"/>
                <a:gd name="T53" fmla="*/ 2 h 76"/>
                <a:gd name="T54" fmla="*/ 10 w 30"/>
                <a:gd name="T55" fmla="*/ 0 h 76"/>
                <a:gd name="T56" fmla="*/ 10 w 30"/>
                <a:gd name="T57" fmla="*/ 0 h 76"/>
                <a:gd name="T58" fmla="*/ 0 w 30"/>
                <a:gd name="T5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0" h="76">
                  <a:moveTo>
                    <a:pt x="0" y="0"/>
                  </a:moveTo>
                  <a:lnTo>
                    <a:pt x="0" y="0"/>
                  </a:lnTo>
                  <a:lnTo>
                    <a:pt x="10" y="24"/>
                  </a:lnTo>
                  <a:lnTo>
                    <a:pt x="16" y="22"/>
                  </a:lnTo>
                  <a:lnTo>
                    <a:pt x="24" y="20"/>
                  </a:lnTo>
                  <a:lnTo>
                    <a:pt x="16" y="22"/>
                  </a:lnTo>
                  <a:lnTo>
                    <a:pt x="10" y="24"/>
                  </a:lnTo>
                  <a:lnTo>
                    <a:pt x="10" y="24"/>
                  </a:lnTo>
                  <a:lnTo>
                    <a:pt x="12" y="44"/>
                  </a:lnTo>
                  <a:lnTo>
                    <a:pt x="14" y="62"/>
                  </a:lnTo>
                  <a:lnTo>
                    <a:pt x="14" y="62"/>
                  </a:lnTo>
                  <a:lnTo>
                    <a:pt x="14" y="70"/>
                  </a:lnTo>
                  <a:lnTo>
                    <a:pt x="14" y="70"/>
                  </a:lnTo>
                  <a:lnTo>
                    <a:pt x="26" y="74"/>
                  </a:lnTo>
                  <a:lnTo>
                    <a:pt x="26" y="74"/>
                  </a:lnTo>
                  <a:lnTo>
                    <a:pt x="30" y="76"/>
                  </a:lnTo>
                  <a:lnTo>
                    <a:pt x="30" y="76"/>
                  </a:lnTo>
                  <a:lnTo>
                    <a:pt x="30" y="62"/>
                  </a:lnTo>
                  <a:lnTo>
                    <a:pt x="30" y="62"/>
                  </a:lnTo>
                  <a:lnTo>
                    <a:pt x="28" y="42"/>
                  </a:lnTo>
                  <a:lnTo>
                    <a:pt x="24" y="20"/>
                  </a:lnTo>
                  <a:lnTo>
                    <a:pt x="24" y="20"/>
                  </a:lnTo>
                  <a:lnTo>
                    <a:pt x="24" y="20"/>
                  </a:lnTo>
                  <a:lnTo>
                    <a:pt x="22" y="8"/>
                  </a:lnTo>
                  <a:lnTo>
                    <a:pt x="22" y="8"/>
                  </a:lnTo>
                  <a:lnTo>
                    <a:pt x="18" y="2"/>
                  </a:lnTo>
                  <a:lnTo>
                    <a:pt x="18" y="2"/>
                  </a:lnTo>
                  <a:lnTo>
                    <a:pt x="10" y="0"/>
                  </a:lnTo>
                  <a:lnTo>
                    <a:pt x="1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24" name="Freeform 2202">
              <a:extLst>
                <a:ext uri="{FF2B5EF4-FFF2-40B4-BE49-F238E27FC236}">
                  <a16:creationId xmlns:a16="http://schemas.microsoft.com/office/drawing/2014/main" id="{340E9AD3-E630-411C-9911-3CFBDEF5AD24}"/>
                </a:ext>
              </a:extLst>
            </p:cNvPr>
            <p:cNvSpPr>
              <a:spLocks/>
            </p:cNvSpPr>
            <p:nvPr/>
          </p:nvSpPr>
          <p:spPr bwMode="auto">
            <a:xfrm>
              <a:off x="9046754" y="3465286"/>
              <a:ext cx="353763" cy="107201"/>
            </a:xfrm>
            <a:custGeom>
              <a:avLst/>
              <a:gdLst>
                <a:gd name="T0" fmla="*/ 104 w 198"/>
                <a:gd name="T1" fmla="*/ 0 h 60"/>
                <a:gd name="T2" fmla="*/ 104 w 198"/>
                <a:gd name="T3" fmla="*/ 0 h 60"/>
                <a:gd name="T4" fmla="*/ 88 w 198"/>
                <a:gd name="T5" fmla="*/ 0 h 60"/>
                <a:gd name="T6" fmla="*/ 72 w 198"/>
                <a:gd name="T7" fmla="*/ 2 h 60"/>
                <a:gd name="T8" fmla="*/ 44 w 198"/>
                <a:gd name="T9" fmla="*/ 8 h 60"/>
                <a:gd name="T10" fmla="*/ 18 w 198"/>
                <a:gd name="T11" fmla="*/ 16 h 60"/>
                <a:gd name="T12" fmla="*/ 0 w 198"/>
                <a:gd name="T13" fmla="*/ 24 h 60"/>
                <a:gd name="T14" fmla="*/ 0 w 198"/>
                <a:gd name="T15" fmla="*/ 24 h 60"/>
                <a:gd name="T16" fmla="*/ 20 w 198"/>
                <a:gd name="T17" fmla="*/ 36 h 60"/>
                <a:gd name="T18" fmla="*/ 42 w 198"/>
                <a:gd name="T19" fmla="*/ 48 h 60"/>
                <a:gd name="T20" fmla="*/ 68 w 198"/>
                <a:gd name="T21" fmla="*/ 54 h 60"/>
                <a:gd name="T22" fmla="*/ 80 w 198"/>
                <a:gd name="T23" fmla="*/ 58 h 60"/>
                <a:gd name="T24" fmla="*/ 94 w 198"/>
                <a:gd name="T25" fmla="*/ 58 h 60"/>
                <a:gd name="T26" fmla="*/ 94 w 198"/>
                <a:gd name="T27" fmla="*/ 58 h 60"/>
                <a:gd name="T28" fmla="*/ 102 w 198"/>
                <a:gd name="T29" fmla="*/ 60 h 60"/>
                <a:gd name="T30" fmla="*/ 102 w 198"/>
                <a:gd name="T31" fmla="*/ 60 h 60"/>
                <a:gd name="T32" fmla="*/ 102 w 198"/>
                <a:gd name="T33" fmla="*/ 60 h 60"/>
                <a:gd name="T34" fmla="*/ 102 w 198"/>
                <a:gd name="T35" fmla="*/ 60 h 60"/>
                <a:gd name="T36" fmla="*/ 128 w 198"/>
                <a:gd name="T37" fmla="*/ 56 h 60"/>
                <a:gd name="T38" fmla="*/ 154 w 198"/>
                <a:gd name="T39" fmla="*/ 50 h 60"/>
                <a:gd name="T40" fmla="*/ 176 w 198"/>
                <a:gd name="T41" fmla="*/ 42 h 60"/>
                <a:gd name="T42" fmla="*/ 198 w 198"/>
                <a:gd name="T43" fmla="*/ 30 h 60"/>
                <a:gd name="T44" fmla="*/ 198 w 198"/>
                <a:gd name="T45" fmla="*/ 30 h 60"/>
                <a:gd name="T46" fmla="*/ 178 w 198"/>
                <a:gd name="T47" fmla="*/ 18 h 60"/>
                <a:gd name="T48" fmla="*/ 156 w 198"/>
                <a:gd name="T49" fmla="*/ 8 h 60"/>
                <a:gd name="T50" fmla="*/ 160 w 198"/>
                <a:gd name="T51" fmla="*/ 0 h 60"/>
                <a:gd name="T52" fmla="*/ 160 w 198"/>
                <a:gd name="T53" fmla="*/ 0 h 60"/>
                <a:gd name="T54" fmla="*/ 156 w 198"/>
                <a:gd name="T55" fmla="*/ 8 h 60"/>
                <a:gd name="T56" fmla="*/ 156 w 198"/>
                <a:gd name="T57" fmla="*/ 8 h 60"/>
                <a:gd name="T58" fmla="*/ 144 w 198"/>
                <a:gd name="T59" fmla="*/ 4 h 60"/>
                <a:gd name="T60" fmla="*/ 130 w 198"/>
                <a:gd name="T61" fmla="*/ 2 h 60"/>
                <a:gd name="T62" fmla="*/ 104 w 198"/>
                <a:gd name="T63" fmla="*/ 0 h 60"/>
                <a:gd name="T64" fmla="*/ 104 w 198"/>
                <a:gd name="T65" fmla="*/ 0 h 60"/>
                <a:gd name="T66" fmla="*/ 104 w 198"/>
                <a:gd name="T67"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98" h="60">
                  <a:moveTo>
                    <a:pt x="104" y="0"/>
                  </a:moveTo>
                  <a:lnTo>
                    <a:pt x="104" y="0"/>
                  </a:lnTo>
                  <a:lnTo>
                    <a:pt x="88" y="0"/>
                  </a:lnTo>
                  <a:lnTo>
                    <a:pt x="72" y="2"/>
                  </a:lnTo>
                  <a:lnTo>
                    <a:pt x="44" y="8"/>
                  </a:lnTo>
                  <a:lnTo>
                    <a:pt x="18" y="16"/>
                  </a:lnTo>
                  <a:lnTo>
                    <a:pt x="0" y="24"/>
                  </a:lnTo>
                  <a:lnTo>
                    <a:pt x="0" y="24"/>
                  </a:lnTo>
                  <a:lnTo>
                    <a:pt x="20" y="36"/>
                  </a:lnTo>
                  <a:lnTo>
                    <a:pt x="42" y="48"/>
                  </a:lnTo>
                  <a:lnTo>
                    <a:pt x="68" y="54"/>
                  </a:lnTo>
                  <a:lnTo>
                    <a:pt x="80" y="58"/>
                  </a:lnTo>
                  <a:lnTo>
                    <a:pt x="94" y="58"/>
                  </a:lnTo>
                  <a:lnTo>
                    <a:pt x="94" y="58"/>
                  </a:lnTo>
                  <a:lnTo>
                    <a:pt x="102" y="60"/>
                  </a:lnTo>
                  <a:lnTo>
                    <a:pt x="102" y="60"/>
                  </a:lnTo>
                  <a:lnTo>
                    <a:pt x="102" y="60"/>
                  </a:lnTo>
                  <a:lnTo>
                    <a:pt x="102" y="60"/>
                  </a:lnTo>
                  <a:lnTo>
                    <a:pt x="128" y="56"/>
                  </a:lnTo>
                  <a:lnTo>
                    <a:pt x="154" y="50"/>
                  </a:lnTo>
                  <a:lnTo>
                    <a:pt x="176" y="42"/>
                  </a:lnTo>
                  <a:lnTo>
                    <a:pt x="198" y="30"/>
                  </a:lnTo>
                  <a:lnTo>
                    <a:pt x="198" y="30"/>
                  </a:lnTo>
                  <a:lnTo>
                    <a:pt x="178" y="18"/>
                  </a:lnTo>
                  <a:lnTo>
                    <a:pt x="156" y="8"/>
                  </a:lnTo>
                  <a:lnTo>
                    <a:pt x="160" y="0"/>
                  </a:lnTo>
                  <a:lnTo>
                    <a:pt x="160" y="0"/>
                  </a:lnTo>
                  <a:lnTo>
                    <a:pt x="156" y="8"/>
                  </a:lnTo>
                  <a:lnTo>
                    <a:pt x="156" y="8"/>
                  </a:lnTo>
                  <a:lnTo>
                    <a:pt x="144" y="4"/>
                  </a:lnTo>
                  <a:lnTo>
                    <a:pt x="130" y="2"/>
                  </a:lnTo>
                  <a:lnTo>
                    <a:pt x="104" y="0"/>
                  </a:lnTo>
                  <a:lnTo>
                    <a:pt x="104" y="0"/>
                  </a:lnTo>
                  <a:lnTo>
                    <a:pt x="10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25" name="Freeform 2204">
              <a:extLst>
                <a:ext uri="{FF2B5EF4-FFF2-40B4-BE49-F238E27FC236}">
                  <a16:creationId xmlns:a16="http://schemas.microsoft.com/office/drawing/2014/main" id="{AE95F8F6-2DF8-494A-899B-D862E4B3F2E0}"/>
                </a:ext>
              </a:extLst>
            </p:cNvPr>
            <p:cNvSpPr>
              <a:spLocks/>
            </p:cNvSpPr>
            <p:nvPr/>
          </p:nvSpPr>
          <p:spPr bwMode="auto">
            <a:xfrm>
              <a:off x="9028887" y="3508166"/>
              <a:ext cx="396644" cy="92908"/>
            </a:xfrm>
            <a:custGeom>
              <a:avLst/>
              <a:gdLst>
                <a:gd name="T0" fmla="*/ 10 w 222"/>
                <a:gd name="T1" fmla="*/ 0 h 52"/>
                <a:gd name="T2" fmla="*/ 10 w 222"/>
                <a:gd name="T3" fmla="*/ 0 h 52"/>
                <a:gd name="T4" fmla="*/ 0 w 222"/>
                <a:gd name="T5" fmla="*/ 4 h 52"/>
                <a:gd name="T6" fmla="*/ 0 w 222"/>
                <a:gd name="T7" fmla="*/ 4 h 52"/>
                <a:gd name="T8" fmla="*/ 4 w 222"/>
                <a:gd name="T9" fmla="*/ 12 h 52"/>
                <a:gd name="T10" fmla="*/ 4 w 222"/>
                <a:gd name="T11" fmla="*/ 12 h 52"/>
                <a:gd name="T12" fmla="*/ 6 w 222"/>
                <a:gd name="T13" fmla="*/ 16 h 52"/>
                <a:gd name="T14" fmla="*/ 6 w 222"/>
                <a:gd name="T15" fmla="*/ 16 h 52"/>
                <a:gd name="T16" fmla="*/ 24 w 222"/>
                <a:gd name="T17" fmla="*/ 28 h 52"/>
                <a:gd name="T18" fmla="*/ 46 w 222"/>
                <a:gd name="T19" fmla="*/ 38 h 52"/>
                <a:gd name="T20" fmla="*/ 68 w 222"/>
                <a:gd name="T21" fmla="*/ 46 h 52"/>
                <a:gd name="T22" fmla="*/ 92 w 222"/>
                <a:gd name="T23" fmla="*/ 50 h 52"/>
                <a:gd name="T24" fmla="*/ 92 w 222"/>
                <a:gd name="T25" fmla="*/ 50 h 52"/>
                <a:gd name="T26" fmla="*/ 102 w 222"/>
                <a:gd name="T27" fmla="*/ 50 h 52"/>
                <a:gd name="T28" fmla="*/ 102 w 222"/>
                <a:gd name="T29" fmla="*/ 50 h 52"/>
                <a:gd name="T30" fmla="*/ 110 w 222"/>
                <a:gd name="T31" fmla="*/ 52 h 52"/>
                <a:gd name="T32" fmla="*/ 110 w 222"/>
                <a:gd name="T33" fmla="*/ 52 h 52"/>
                <a:gd name="T34" fmla="*/ 112 w 222"/>
                <a:gd name="T35" fmla="*/ 52 h 52"/>
                <a:gd name="T36" fmla="*/ 112 w 222"/>
                <a:gd name="T37" fmla="*/ 52 h 52"/>
                <a:gd name="T38" fmla="*/ 114 w 222"/>
                <a:gd name="T39" fmla="*/ 52 h 52"/>
                <a:gd name="T40" fmla="*/ 114 w 222"/>
                <a:gd name="T41" fmla="*/ 52 h 52"/>
                <a:gd name="T42" fmla="*/ 136 w 222"/>
                <a:gd name="T43" fmla="*/ 50 h 52"/>
                <a:gd name="T44" fmla="*/ 158 w 222"/>
                <a:gd name="T45" fmla="*/ 44 h 52"/>
                <a:gd name="T46" fmla="*/ 158 w 222"/>
                <a:gd name="T47" fmla="*/ 44 h 52"/>
                <a:gd name="T48" fmla="*/ 174 w 222"/>
                <a:gd name="T49" fmla="*/ 40 h 52"/>
                <a:gd name="T50" fmla="*/ 174 w 222"/>
                <a:gd name="T51" fmla="*/ 40 h 52"/>
                <a:gd name="T52" fmla="*/ 200 w 222"/>
                <a:gd name="T53" fmla="*/ 28 h 52"/>
                <a:gd name="T54" fmla="*/ 222 w 222"/>
                <a:gd name="T55" fmla="*/ 18 h 52"/>
                <a:gd name="T56" fmla="*/ 222 w 222"/>
                <a:gd name="T57" fmla="*/ 18 h 52"/>
                <a:gd name="T58" fmla="*/ 208 w 222"/>
                <a:gd name="T59" fmla="*/ 6 h 52"/>
                <a:gd name="T60" fmla="*/ 208 w 222"/>
                <a:gd name="T61" fmla="*/ 6 h 52"/>
                <a:gd name="T62" fmla="*/ 186 w 222"/>
                <a:gd name="T63" fmla="*/ 18 h 52"/>
                <a:gd name="T64" fmla="*/ 164 w 222"/>
                <a:gd name="T65" fmla="*/ 26 h 52"/>
                <a:gd name="T66" fmla="*/ 138 w 222"/>
                <a:gd name="T67" fmla="*/ 32 h 52"/>
                <a:gd name="T68" fmla="*/ 112 w 222"/>
                <a:gd name="T69" fmla="*/ 36 h 52"/>
                <a:gd name="T70" fmla="*/ 112 w 222"/>
                <a:gd name="T71" fmla="*/ 36 h 52"/>
                <a:gd name="T72" fmla="*/ 112 w 222"/>
                <a:gd name="T73" fmla="*/ 36 h 52"/>
                <a:gd name="T74" fmla="*/ 112 w 222"/>
                <a:gd name="T75" fmla="*/ 36 h 52"/>
                <a:gd name="T76" fmla="*/ 104 w 222"/>
                <a:gd name="T77" fmla="*/ 34 h 52"/>
                <a:gd name="T78" fmla="*/ 104 w 222"/>
                <a:gd name="T79" fmla="*/ 34 h 52"/>
                <a:gd name="T80" fmla="*/ 90 w 222"/>
                <a:gd name="T81" fmla="*/ 34 h 52"/>
                <a:gd name="T82" fmla="*/ 78 w 222"/>
                <a:gd name="T83" fmla="*/ 30 h 52"/>
                <a:gd name="T84" fmla="*/ 52 w 222"/>
                <a:gd name="T85" fmla="*/ 24 h 52"/>
                <a:gd name="T86" fmla="*/ 30 w 222"/>
                <a:gd name="T87" fmla="*/ 12 h 52"/>
                <a:gd name="T88" fmla="*/ 10 w 222"/>
                <a:gd name="T89"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22" h="52">
                  <a:moveTo>
                    <a:pt x="10" y="0"/>
                  </a:moveTo>
                  <a:lnTo>
                    <a:pt x="10" y="0"/>
                  </a:lnTo>
                  <a:lnTo>
                    <a:pt x="0" y="4"/>
                  </a:lnTo>
                  <a:lnTo>
                    <a:pt x="0" y="4"/>
                  </a:lnTo>
                  <a:lnTo>
                    <a:pt x="4" y="12"/>
                  </a:lnTo>
                  <a:lnTo>
                    <a:pt x="4" y="12"/>
                  </a:lnTo>
                  <a:lnTo>
                    <a:pt x="6" y="16"/>
                  </a:lnTo>
                  <a:lnTo>
                    <a:pt x="6" y="16"/>
                  </a:lnTo>
                  <a:lnTo>
                    <a:pt x="24" y="28"/>
                  </a:lnTo>
                  <a:lnTo>
                    <a:pt x="46" y="38"/>
                  </a:lnTo>
                  <a:lnTo>
                    <a:pt x="68" y="46"/>
                  </a:lnTo>
                  <a:lnTo>
                    <a:pt x="92" y="50"/>
                  </a:lnTo>
                  <a:lnTo>
                    <a:pt x="92" y="50"/>
                  </a:lnTo>
                  <a:lnTo>
                    <a:pt x="102" y="50"/>
                  </a:lnTo>
                  <a:lnTo>
                    <a:pt x="102" y="50"/>
                  </a:lnTo>
                  <a:lnTo>
                    <a:pt x="110" y="52"/>
                  </a:lnTo>
                  <a:lnTo>
                    <a:pt x="110" y="52"/>
                  </a:lnTo>
                  <a:lnTo>
                    <a:pt x="112" y="52"/>
                  </a:lnTo>
                  <a:lnTo>
                    <a:pt x="112" y="52"/>
                  </a:lnTo>
                  <a:lnTo>
                    <a:pt x="114" y="52"/>
                  </a:lnTo>
                  <a:lnTo>
                    <a:pt x="114" y="52"/>
                  </a:lnTo>
                  <a:lnTo>
                    <a:pt x="136" y="50"/>
                  </a:lnTo>
                  <a:lnTo>
                    <a:pt x="158" y="44"/>
                  </a:lnTo>
                  <a:lnTo>
                    <a:pt x="158" y="44"/>
                  </a:lnTo>
                  <a:lnTo>
                    <a:pt x="174" y="40"/>
                  </a:lnTo>
                  <a:lnTo>
                    <a:pt x="174" y="40"/>
                  </a:lnTo>
                  <a:lnTo>
                    <a:pt x="200" y="28"/>
                  </a:lnTo>
                  <a:lnTo>
                    <a:pt x="222" y="18"/>
                  </a:lnTo>
                  <a:lnTo>
                    <a:pt x="222" y="18"/>
                  </a:lnTo>
                  <a:lnTo>
                    <a:pt x="208" y="6"/>
                  </a:lnTo>
                  <a:lnTo>
                    <a:pt x="208" y="6"/>
                  </a:lnTo>
                  <a:lnTo>
                    <a:pt x="186" y="18"/>
                  </a:lnTo>
                  <a:lnTo>
                    <a:pt x="164" y="26"/>
                  </a:lnTo>
                  <a:lnTo>
                    <a:pt x="138" y="32"/>
                  </a:lnTo>
                  <a:lnTo>
                    <a:pt x="112" y="36"/>
                  </a:lnTo>
                  <a:lnTo>
                    <a:pt x="112" y="36"/>
                  </a:lnTo>
                  <a:lnTo>
                    <a:pt x="112" y="36"/>
                  </a:lnTo>
                  <a:lnTo>
                    <a:pt x="112" y="36"/>
                  </a:lnTo>
                  <a:lnTo>
                    <a:pt x="104" y="34"/>
                  </a:lnTo>
                  <a:lnTo>
                    <a:pt x="104" y="34"/>
                  </a:lnTo>
                  <a:lnTo>
                    <a:pt x="90" y="34"/>
                  </a:lnTo>
                  <a:lnTo>
                    <a:pt x="78" y="30"/>
                  </a:lnTo>
                  <a:lnTo>
                    <a:pt x="52" y="24"/>
                  </a:lnTo>
                  <a:lnTo>
                    <a:pt x="30" y="12"/>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26" name="Freeform 2207">
              <a:extLst>
                <a:ext uri="{FF2B5EF4-FFF2-40B4-BE49-F238E27FC236}">
                  <a16:creationId xmlns:a16="http://schemas.microsoft.com/office/drawing/2014/main" id="{F38673CD-E5FE-4F4C-90CF-1CB3FEA76F3A}"/>
                </a:ext>
              </a:extLst>
            </p:cNvPr>
            <p:cNvSpPr>
              <a:spLocks/>
            </p:cNvSpPr>
            <p:nvPr/>
          </p:nvSpPr>
          <p:spPr bwMode="auto">
            <a:xfrm>
              <a:off x="9425531" y="3522460"/>
              <a:ext cx="82187" cy="100054"/>
            </a:xfrm>
            <a:custGeom>
              <a:avLst/>
              <a:gdLst>
                <a:gd name="T0" fmla="*/ 14 w 46"/>
                <a:gd name="T1" fmla="*/ 0 h 56"/>
                <a:gd name="T2" fmla="*/ 14 w 46"/>
                <a:gd name="T3" fmla="*/ 0 h 56"/>
                <a:gd name="T4" fmla="*/ 4 w 46"/>
                <a:gd name="T5" fmla="*/ 6 h 56"/>
                <a:gd name="T6" fmla="*/ 4 w 46"/>
                <a:gd name="T7" fmla="*/ 6 h 56"/>
                <a:gd name="T8" fmla="*/ 0 w 46"/>
                <a:gd name="T9" fmla="*/ 10 h 56"/>
                <a:gd name="T10" fmla="*/ 0 w 46"/>
                <a:gd name="T11" fmla="*/ 10 h 56"/>
                <a:gd name="T12" fmla="*/ 18 w 46"/>
                <a:gd name="T13" fmla="*/ 28 h 56"/>
                <a:gd name="T14" fmla="*/ 32 w 46"/>
                <a:gd name="T15" fmla="*/ 46 h 56"/>
                <a:gd name="T16" fmla="*/ 34 w 46"/>
                <a:gd name="T17" fmla="*/ 48 h 56"/>
                <a:gd name="T18" fmla="*/ 34 w 46"/>
                <a:gd name="T19" fmla="*/ 48 h 56"/>
                <a:gd name="T20" fmla="*/ 46 w 46"/>
                <a:gd name="T21" fmla="*/ 56 h 56"/>
                <a:gd name="T22" fmla="*/ 46 w 46"/>
                <a:gd name="T23" fmla="*/ 56 h 56"/>
                <a:gd name="T24" fmla="*/ 46 w 46"/>
                <a:gd name="T25" fmla="*/ 54 h 56"/>
                <a:gd name="T26" fmla="*/ 22 w 46"/>
                <a:gd name="T27" fmla="*/ 10 h 56"/>
                <a:gd name="T28" fmla="*/ 20 w 46"/>
                <a:gd name="T29" fmla="*/ 6 h 56"/>
                <a:gd name="T30" fmla="*/ 20 w 46"/>
                <a:gd name="T31" fmla="*/ 6 h 56"/>
                <a:gd name="T32" fmla="*/ 14 w 46"/>
                <a:gd name="T33"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6" h="56">
                  <a:moveTo>
                    <a:pt x="14" y="0"/>
                  </a:moveTo>
                  <a:lnTo>
                    <a:pt x="14" y="0"/>
                  </a:lnTo>
                  <a:lnTo>
                    <a:pt x="4" y="6"/>
                  </a:lnTo>
                  <a:lnTo>
                    <a:pt x="4" y="6"/>
                  </a:lnTo>
                  <a:lnTo>
                    <a:pt x="0" y="10"/>
                  </a:lnTo>
                  <a:lnTo>
                    <a:pt x="0" y="10"/>
                  </a:lnTo>
                  <a:lnTo>
                    <a:pt x="18" y="28"/>
                  </a:lnTo>
                  <a:lnTo>
                    <a:pt x="32" y="46"/>
                  </a:lnTo>
                  <a:lnTo>
                    <a:pt x="34" y="48"/>
                  </a:lnTo>
                  <a:lnTo>
                    <a:pt x="34" y="48"/>
                  </a:lnTo>
                  <a:lnTo>
                    <a:pt x="46" y="56"/>
                  </a:lnTo>
                  <a:lnTo>
                    <a:pt x="46" y="56"/>
                  </a:lnTo>
                  <a:lnTo>
                    <a:pt x="46" y="54"/>
                  </a:lnTo>
                  <a:lnTo>
                    <a:pt x="22" y="10"/>
                  </a:lnTo>
                  <a:lnTo>
                    <a:pt x="20" y="6"/>
                  </a:lnTo>
                  <a:lnTo>
                    <a:pt x="20" y="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27" name="Freeform 2209">
              <a:extLst>
                <a:ext uri="{FF2B5EF4-FFF2-40B4-BE49-F238E27FC236}">
                  <a16:creationId xmlns:a16="http://schemas.microsoft.com/office/drawing/2014/main" id="{29CE307E-F6E6-49A6-9CE9-7ABD5100C9A3}"/>
                </a:ext>
              </a:extLst>
            </p:cNvPr>
            <p:cNvSpPr>
              <a:spLocks/>
            </p:cNvSpPr>
            <p:nvPr/>
          </p:nvSpPr>
          <p:spPr bwMode="auto">
            <a:xfrm>
              <a:off x="9457692" y="3711848"/>
              <a:ext cx="35734" cy="32160"/>
            </a:xfrm>
            <a:custGeom>
              <a:avLst/>
              <a:gdLst>
                <a:gd name="T0" fmla="*/ 20 w 20"/>
                <a:gd name="T1" fmla="*/ 0 h 18"/>
                <a:gd name="T2" fmla="*/ 20 w 20"/>
                <a:gd name="T3" fmla="*/ 0 h 18"/>
                <a:gd name="T4" fmla="*/ 0 w 20"/>
                <a:gd name="T5" fmla="*/ 8 h 18"/>
                <a:gd name="T6" fmla="*/ 0 w 20"/>
                <a:gd name="T7" fmla="*/ 8 h 18"/>
                <a:gd name="T8" fmla="*/ 20 w 20"/>
                <a:gd name="T9" fmla="*/ 18 h 18"/>
                <a:gd name="T10" fmla="*/ 20 w 20"/>
                <a:gd name="T11" fmla="*/ 18 h 18"/>
                <a:gd name="T12" fmla="*/ 20 w 20"/>
                <a:gd name="T13" fmla="*/ 18 h 18"/>
                <a:gd name="T14" fmla="*/ 20 w 20"/>
                <a:gd name="T15" fmla="*/ 18 h 18"/>
                <a:gd name="T16" fmla="*/ 20 w 20"/>
                <a:gd name="T17" fmla="*/ 18 h 18"/>
                <a:gd name="T18" fmla="*/ 20 w 20"/>
                <a:gd name="T19" fmla="*/ 18 h 18"/>
                <a:gd name="T20" fmla="*/ 20 w 20"/>
                <a:gd name="T21" fmla="*/ 8 h 18"/>
                <a:gd name="T22" fmla="*/ 20 w 20"/>
                <a:gd name="T23" fmla="*/ 8 h 18"/>
                <a:gd name="T24" fmla="*/ 20 w 20"/>
                <a:gd name="T25"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8">
                  <a:moveTo>
                    <a:pt x="20" y="0"/>
                  </a:moveTo>
                  <a:lnTo>
                    <a:pt x="20" y="0"/>
                  </a:lnTo>
                  <a:lnTo>
                    <a:pt x="0" y="8"/>
                  </a:lnTo>
                  <a:lnTo>
                    <a:pt x="0" y="8"/>
                  </a:lnTo>
                  <a:lnTo>
                    <a:pt x="20" y="18"/>
                  </a:lnTo>
                  <a:lnTo>
                    <a:pt x="20" y="18"/>
                  </a:lnTo>
                  <a:lnTo>
                    <a:pt x="20" y="18"/>
                  </a:lnTo>
                  <a:lnTo>
                    <a:pt x="20" y="18"/>
                  </a:lnTo>
                  <a:lnTo>
                    <a:pt x="20" y="18"/>
                  </a:lnTo>
                  <a:lnTo>
                    <a:pt x="20" y="18"/>
                  </a:lnTo>
                  <a:lnTo>
                    <a:pt x="20" y="8"/>
                  </a:lnTo>
                  <a:lnTo>
                    <a:pt x="20" y="8"/>
                  </a:lnTo>
                  <a:lnTo>
                    <a:pt x="2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28" name="Freeform 2211">
              <a:extLst>
                <a:ext uri="{FF2B5EF4-FFF2-40B4-BE49-F238E27FC236}">
                  <a16:creationId xmlns:a16="http://schemas.microsoft.com/office/drawing/2014/main" id="{996FB101-BEDB-4C42-A6FD-87042A9E7935}"/>
                </a:ext>
              </a:extLst>
            </p:cNvPr>
            <p:cNvSpPr>
              <a:spLocks/>
            </p:cNvSpPr>
            <p:nvPr/>
          </p:nvSpPr>
          <p:spPr bwMode="auto">
            <a:xfrm>
              <a:off x="9482705" y="3604647"/>
              <a:ext cx="25014" cy="28587"/>
            </a:xfrm>
            <a:custGeom>
              <a:avLst/>
              <a:gdLst>
                <a:gd name="T0" fmla="*/ 0 w 14"/>
                <a:gd name="T1" fmla="*/ 0 h 16"/>
                <a:gd name="T2" fmla="*/ 0 w 14"/>
                <a:gd name="T3" fmla="*/ 0 h 16"/>
                <a:gd name="T4" fmla="*/ 4 w 14"/>
                <a:gd name="T5" fmla="*/ 4 h 16"/>
                <a:gd name="T6" fmla="*/ 4 w 14"/>
                <a:gd name="T7" fmla="*/ 4 h 16"/>
                <a:gd name="T8" fmla="*/ 12 w 14"/>
                <a:gd name="T9" fmla="*/ 16 h 16"/>
                <a:gd name="T10" fmla="*/ 12 w 14"/>
                <a:gd name="T11" fmla="*/ 16 h 16"/>
                <a:gd name="T12" fmla="*/ 14 w 14"/>
                <a:gd name="T13" fmla="*/ 10 h 16"/>
                <a:gd name="T14" fmla="*/ 14 w 14"/>
                <a:gd name="T15" fmla="*/ 10 h 16"/>
                <a:gd name="T16" fmla="*/ 2 w 14"/>
                <a:gd name="T17" fmla="*/ 2 h 16"/>
                <a:gd name="T18" fmla="*/ 0 w 14"/>
                <a:gd name="T19"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 h="16">
                  <a:moveTo>
                    <a:pt x="0" y="0"/>
                  </a:moveTo>
                  <a:lnTo>
                    <a:pt x="0" y="0"/>
                  </a:lnTo>
                  <a:lnTo>
                    <a:pt x="4" y="4"/>
                  </a:lnTo>
                  <a:lnTo>
                    <a:pt x="4" y="4"/>
                  </a:lnTo>
                  <a:lnTo>
                    <a:pt x="12" y="16"/>
                  </a:lnTo>
                  <a:lnTo>
                    <a:pt x="12" y="16"/>
                  </a:lnTo>
                  <a:lnTo>
                    <a:pt x="14" y="10"/>
                  </a:lnTo>
                  <a:lnTo>
                    <a:pt x="14" y="10"/>
                  </a:lnTo>
                  <a:lnTo>
                    <a:pt x="2"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29" name="Freeform 2213">
              <a:extLst>
                <a:ext uri="{FF2B5EF4-FFF2-40B4-BE49-F238E27FC236}">
                  <a16:creationId xmlns:a16="http://schemas.microsoft.com/office/drawing/2014/main" id="{0F1F4234-3DC9-4B44-8AB3-8BB3B0BBE9CD}"/>
                </a:ext>
              </a:extLst>
            </p:cNvPr>
            <p:cNvSpPr>
              <a:spLocks/>
            </p:cNvSpPr>
            <p:nvPr/>
          </p:nvSpPr>
          <p:spPr bwMode="auto">
            <a:xfrm>
              <a:off x="9461265" y="3533180"/>
              <a:ext cx="50027" cy="85761"/>
            </a:xfrm>
            <a:custGeom>
              <a:avLst/>
              <a:gdLst>
                <a:gd name="T0" fmla="*/ 0 w 28"/>
                <a:gd name="T1" fmla="*/ 0 h 48"/>
                <a:gd name="T2" fmla="*/ 2 w 28"/>
                <a:gd name="T3" fmla="*/ 4 h 48"/>
                <a:gd name="T4" fmla="*/ 26 w 28"/>
                <a:gd name="T5" fmla="*/ 48 h 48"/>
                <a:gd name="T6" fmla="*/ 26 w 28"/>
                <a:gd name="T7" fmla="*/ 48 h 48"/>
                <a:gd name="T8" fmla="*/ 28 w 28"/>
                <a:gd name="T9" fmla="*/ 34 h 48"/>
                <a:gd name="T10" fmla="*/ 28 w 28"/>
                <a:gd name="T11" fmla="*/ 34 h 48"/>
                <a:gd name="T12" fmla="*/ 28 w 28"/>
                <a:gd name="T13" fmla="*/ 34 h 48"/>
                <a:gd name="T14" fmla="*/ 28 w 28"/>
                <a:gd name="T15" fmla="*/ 34 h 48"/>
                <a:gd name="T16" fmla="*/ 16 w 28"/>
                <a:gd name="T17" fmla="*/ 18 h 48"/>
                <a:gd name="T18" fmla="*/ 0 w 28"/>
                <a:gd name="T19"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 h="48">
                  <a:moveTo>
                    <a:pt x="0" y="0"/>
                  </a:moveTo>
                  <a:lnTo>
                    <a:pt x="2" y="4"/>
                  </a:lnTo>
                  <a:lnTo>
                    <a:pt x="26" y="48"/>
                  </a:lnTo>
                  <a:lnTo>
                    <a:pt x="26" y="48"/>
                  </a:lnTo>
                  <a:lnTo>
                    <a:pt x="28" y="34"/>
                  </a:lnTo>
                  <a:lnTo>
                    <a:pt x="28" y="34"/>
                  </a:lnTo>
                  <a:lnTo>
                    <a:pt x="28" y="34"/>
                  </a:lnTo>
                  <a:lnTo>
                    <a:pt x="28" y="34"/>
                  </a:lnTo>
                  <a:lnTo>
                    <a:pt x="16" y="1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30" name="Freeform 2215">
              <a:extLst>
                <a:ext uri="{FF2B5EF4-FFF2-40B4-BE49-F238E27FC236}">
                  <a16:creationId xmlns:a16="http://schemas.microsoft.com/office/drawing/2014/main" id="{95B7F7E5-9320-4B0E-9177-A354934AD123}"/>
                </a:ext>
              </a:extLst>
            </p:cNvPr>
            <p:cNvSpPr>
              <a:spLocks/>
            </p:cNvSpPr>
            <p:nvPr/>
          </p:nvSpPr>
          <p:spPr bwMode="auto">
            <a:xfrm>
              <a:off x="9400518" y="3736862"/>
              <a:ext cx="53601" cy="32160"/>
            </a:xfrm>
            <a:custGeom>
              <a:avLst/>
              <a:gdLst>
                <a:gd name="T0" fmla="*/ 6 w 30"/>
                <a:gd name="T1" fmla="*/ 0 h 18"/>
                <a:gd name="T2" fmla="*/ 6 w 30"/>
                <a:gd name="T3" fmla="*/ 0 h 18"/>
                <a:gd name="T4" fmla="*/ 6 w 30"/>
                <a:gd name="T5" fmla="*/ 2 h 18"/>
                <a:gd name="T6" fmla="*/ 6 w 30"/>
                <a:gd name="T7" fmla="*/ 2 h 18"/>
                <a:gd name="T8" fmla="*/ 0 w 30"/>
                <a:gd name="T9" fmla="*/ 18 h 18"/>
                <a:gd name="T10" fmla="*/ 0 w 30"/>
                <a:gd name="T11" fmla="*/ 18 h 18"/>
                <a:gd name="T12" fmla="*/ 30 w 30"/>
                <a:gd name="T13" fmla="*/ 10 h 18"/>
                <a:gd name="T14" fmla="*/ 30 w 30"/>
                <a:gd name="T15" fmla="*/ 10 h 18"/>
                <a:gd name="T16" fmla="*/ 6 w 30"/>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 h="18">
                  <a:moveTo>
                    <a:pt x="6" y="0"/>
                  </a:moveTo>
                  <a:lnTo>
                    <a:pt x="6" y="0"/>
                  </a:lnTo>
                  <a:lnTo>
                    <a:pt x="6" y="2"/>
                  </a:lnTo>
                  <a:lnTo>
                    <a:pt x="6" y="2"/>
                  </a:lnTo>
                  <a:lnTo>
                    <a:pt x="0" y="18"/>
                  </a:lnTo>
                  <a:lnTo>
                    <a:pt x="0" y="18"/>
                  </a:lnTo>
                  <a:lnTo>
                    <a:pt x="30" y="10"/>
                  </a:lnTo>
                  <a:lnTo>
                    <a:pt x="30" y="1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31" name="Freeform 2217">
              <a:extLst>
                <a:ext uri="{FF2B5EF4-FFF2-40B4-BE49-F238E27FC236}">
                  <a16:creationId xmlns:a16="http://schemas.microsoft.com/office/drawing/2014/main" id="{CAD1B19D-29A2-4C89-92D3-DD99FF4E8CA3}"/>
                </a:ext>
              </a:extLst>
            </p:cNvPr>
            <p:cNvSpPr>
              <a:spLocks/>
            </p:cNvSpPr>
            <p:nvPr/>
          </p:nvSpPr>
          <p:spPr bwMode="auto">
            <a:xfrm>
              <a:off x="9368357" y="3726142"/>
              <a:ext cx="125068" cy="46454"/>
            </a:xfrm>
            <a:custGeom>
              <a:avLst/>
              <a:gdLst>
                <a:gd name="T0" fmla="*/ 50 w 70"/>
                <a:gd name="T1" fmla="*/ 0 h 26"/>
                <a:gd name="T2" fmla="*/ 50 w 70"/>
                <a:gd name="T3" fmla="*/ 0 h 26"/>
                <a:gd name="T4" fmla="*/ 28 w 70"/>
                <a:gd name="T5" fmla="*/ 4 h 26"/>
                <a:gd name="T6" fmla="*/ 6 w 70"/>
                <a:gd name="T7" fmla="*/ 8 h 26"/>
                <a:gd name="T8" fmla="*/ 6 w 70"/>
                <a:gd name="T9" fmla="*/ 8 h 26"/>
                <a:gd name="T10" fmla="*/ 0 w 70"/>
                <a:gd name="T11" fmla="*/ 26 h 26"/>
                <a:gd name="T12" fmla="*/ 0 w 70"/>
                <a:gd name="T13" fmla="*/ 26 h 26"/>
                <a:gd name="T14" fmla="*/ 18 w 70"/>
                <a:gd name="T15" fmla="*/ 24 h 26"/>
                <a:gd name="T16" fmla="*/ 18 w 70"/>
                <a:gd name="T17" fmla="*/ 24 h 26"/>
                <a:gd name="T18" fmla="*/ 24 w 70"/>
                <a:gd name="T19" fmla="*/ 8 h 26"/>
                <a:gd name="T20" fmla="*/ 24 w 70"/>
                <a:gd name="T21" fmla="*/ 8 h 26"/>
                <a:gd name="T22" fmla="*/ 24 w 70"/>
                <a:gd name="T23" fmla="*/ 6 h 26"/>
                <a:gd name="T24" fmla="*/ 24 w 70"/>
                <a:gd name="T25" fmla="*/ 6 h 26"/>
                <a:gd name="T26" fmla="*/ 48 w 70"/>
                <a:gd name="T27" fmla="*/ 16 h 26"/>
                <a:gd name="T28" fmla="*/ 48 w 70"/>
                <a:gd name="T29" fmla="*/ 16 h 26"/>
                <a:gd name="T30" fmla="*/ 70 w 70"/>
                <a:gd name="T31" fmla="*/ 10 h 26"/>
                <a:gd name="T32" fmla="*/ 70 w 70"/>
                <a:gd name="T33" fmla="*/ 10 h 26"/>
                <a:gd name="T34" fmla="*/ 50 w 70"/>
                <a:gd name="T3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0" h="26">
                  <a:moveTo>
                    <a:pt x="50" y="0"/>
                  </a:moveTo>
                  <a:lnTo>
                    <a:pt x="50" y="0"/>
                  </a:lnTo>
                  <a:lnTo>
                    <a:pt x="28" y="4"/>
                  </a:lnTo>
                  <a:lnTo>
                    <a:pt x="6" y="8"/>
                  </a:lnTo>
                  <a:lnTo>
                    <a:pt x="6" y="8"/>
                  </a:lnTo>
                  <a:lnTo>
                    <a:pt x="0" y="26"/>
                  </a:lnTo>
                  <a:lnTo>
                    <a:pt x="0" y="26"/>
                  </a:lnTo>
                  <a:lnTo>
                    <a:pt x="18" y="24"/>
                  </a:lnTo>
                  <a:lnTo>
                    <a:pt x="18" y="24"/>
                  </a:lnTo>
                  <a:lnTo>
                    <a:pt x="24" y="8"/>
                  </a:lnTo>
                  <a:lnTo>
                    <a:pt x="24" y="8"/>
                  </a:lnTo>
                  <a:lnTo>
                    <a:pt x="24" y="6"/>
                  </a:lnTo>
                  <a:lnTo>
                    <a:pt x="24" y="6"/>
                  </a:lnTo>
                  <a:lnTo>
                    <a:pt x="48" y="16"/>
                  </a:lnTo>
                  <a:lnTo>
                    <a:pt x="48" y="16"/>
                  </a:lnTo>
                  <a:lnTo>
                    <a:pt x="70" y="10"/>
                  </a:lnTo>
                  <a:lnTo>
                    <a:pt x="70" y="10"/>
                  </a:lnTo>
                  <a:lnTo>
                    <a:pt x="5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32" name="Freeform 2219">
              <a:extLst>
                <a:ext uri="{FF2B5EF4-FFF2-40B4-BE49-F238E27FC236}">
                  <a16:creationId xmlns:a16="http://schemas.microsoft.com/office/drawing/2014/main" id="{A25D2E8C-35CB-41E3-BFC5-CE3C1F04028D}"/>
                </a:ext>
              </a:extLst>
            </p:cNvPr>
            <p:cNvSpPr>
              <a:spLocks/>
            </p:cNvSpPr>
            <p:nvPr/>
          </p:nvSpPr>
          <p:spPr bwMode="auto">
            <a:xfrm>
              <a:off x="9243290" y="3733289"/>
              <a:ext cx="39307" cy="35734"/>
            </a:xfrm>
            <a:custGeom>
              <a:avLst/>
              <a:gdLst>
                <a:gd name="T0" fmla="*/ 2 w 22"/>
                <a:gd name="T1" fmla="*/ 0 h 20"/>
                <a:gd name="T2" fmla="*/ 2 w 22"/>
                <a:gd name="T3" fmla="*/ 0 h 20"/>
                <a:gd name="T4" fmla="*/ 0 w 22"/>
                <a:gd name="T5" fmla="*/ 16 h 20"/>
                <a:gd name="T6" fmla="*/ 0 w 22"/>
                <a:gd name="T7" fmla="*/ 16 h 20"/>
                <a:gd name="T8" fmla="*/ 18 w 22"/>
                <a:gd name="T9" fmla="*/ 20 h 20"/>
                <a:gd name="T10" fmla="*/ 22 w 22"/>
                <a:gd name="T11" fmla="*/ 4 h 20"/>
                <a:gd name="T12" fmla="*/ 22 w 22"/>
                <a:gd name="T13" fmla="*/ 4 h 20"/>
                <a:gd name="T14" fmla="*/ 2 w 22"/>
                <a:gd name="T15" fmla="*/ 0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20">
                  <a:moveTo>
                    <a:pt x="2" y="0"/>
                  </a:moveTo>
                  <a:lnTo>
                    <a:pt x="2" y="0"/>
                  </a:lnTo>
                  <a:lnTo>
                    <a:pt x="0" y="16"/>
                  </a:lnTo>
                  <a:lnTo>
                    <a:pt x="0" y="16"/>
                  </a:lnTo>
                  <a:lnTo>
                    <a:pt x="18" y="20"/>
                  </a:lnTo>
                  <a:lnTo>
                    <a:pt x="22" y="4"/>
                  </a:lnTo>
                  <a:lnTo>
                    <a:pt x="22" y="4"/>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33" name="Freeform 2223">
              <a:extLst>
                <a:ext uri="{FF2B5EF4-FFF2-40B4-BE49-F238E27FC236}">
                  <a16:creationId xmlns:a16="http://schemas.microsoft.com/office/drawing/2014/main" id="{E3B52746-2BD4-4AAE-B128-E373AD1D3BE3}"/>
                </a:ext>
              </a:extLst>
            </p:cNvPr>
            <p:cNvSpPr>
              <a:spLocks/>
            </p:cNvSpPr>
            <p:nvPr/>
          </p:nvSpPr>
          <p:spPr bwMode="auto">
            <a:xfrm>
              <a:off x="9522012" y="3626087"/>
              <a:ext cx="53601" cy="107201"/>
            </a:xfrm>
            <a:custGeom>
              <a:avLst/>
              <a:gdLst>
                <a:gd name="T0" fmla="*/ 6 w 30"/>
                <a:gd name="T1" fmla="*/ 0 h 60"/>
                <a:gd name="T2" fmla="*/ 6 w 30"/>
                <a:gd name="T3" fmla="*/ 0 h 60"/>
                <a:gd name="T4" fmla="*/ 2 w 30"/>
                <a:gd name="T5" fmla="*/ 26 h 60"/>
                <a:gd name="T6" fmla="*/ 2 w 30"/>
                <a:gd name="T7" fmla="*/ 26 h 60"/>
                <a:gd name="T8" fmla="*/ 4 w 30"/>
                <a:gd name="T9" fmla="*/ 30 h 60"/>
                <a:gd name="T10" fmla="*/ 4 w 30"/>
                <a:gd name="T11" fmla="*/ 30 h 60"/>
                <a:gd name="T12" fmla="*/ 8 w 30"/>
                <a:gd name="T13" fmla="*/ 38 h 60"/>
                <a:gd name="T14" fmla="*/ 8 w 30"/>
                <a:gd name="T15" fmla="*/ 38 h 60"/>
                <a:gd name="T16" fmla="*/ 2 w 30"/>
                <a:gd name="T17" fmla="*/ 42 h 60"/>
                <a:gd name="T18" fmla="*/ 2 w 30"/>
                <a:gd name="T19" fmla="*/ 42 h 60"/>
                <a:gd name="T20" fmla="*/ 0 w 30"/>
                <a:gd name="T21" fmla="*/ 56 h 60"/>
                <a:gd name="T22" fmla="*/ 0 w 30"/>
                <a:gd name="T23" fmla="*/ 56 h 60"/>
                <a:gd name="T24" fmla="*/ 0 w 30"/>
                <a:gd name="T25" fmla="*/ 60 h 60"/>
                <a:gd name="T26" fmla="*/ 0 w 30"/>
                <a:gd name="T27" fmla="*/ 60 h 60"/>
                <a:gd name="T28" fmla="*/ 24 w 30"/>
                <a:gd name="T29" fmla="*/ 48 h 60"/>
                <a:gd name="T30" fmla="*/ 30 w 30"/>
                <a:gd name="T31" fmla="*/ 46 h 60"/>
                <a:gd name="T32" fmla="*/ 26 w 30"/>
                <a:gd name="T33" fmla="*/ 38 h 60"/>
                <a:gd name="T34" fmla="*/ 26 w 30"/>
                <a:gd name="T35" fmla="*/ 38 h 60"/>
                <a:gd name="T36" fmla="*/ 22 w 30"/>
                <a:gd name="T37" fmla="*/ 28 h 60"/>
                <a:gd name="T38" fmla="*/ 6 w 30"/>
                <a:gd name="T39"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0" h="60">
                  <a:moveTo>
                    <a:pt x="6" y="0"/>
                  </a:moveTo>
                  <a:lnTo>
                    <a:pt x="6" y="0"/>
                  </a:lnTo>
                  <a:lnTo>
                    <a:pt x="2" y="26"/>
                  </a:lnTo>
                  <a:lnTo>
                    <a:pt x="2" y="26"/>
                  </a:lnTo>
                  <a:lnTo>
                    <a:pt x="4" y="30"/>
                  </a:lnTo>
                  <a:lnTo>
                    <a:pt x="4" y="30"/>
                  </a:lnTo>
                  <a:lnTo>
                    <a:pt x="8" y="38"/>
                  </a:lnTo>
                  <a:lnTo>
                    <a:pt x="8" y="38"/>
                  </a:lnTo>
                  <a:lnTo>
                    <a:pt x="2" y="42"/>
                  </a:lnTo>
                  <a:lnTo>
                    <a:pt x="2" y="42"/>
                  </a:lnTo>
                  <a:lnTo>
                    <a:pt x="0" y="56"/>
                  </a:lnTo>
                  <a:lnTo>
                    <a:pt x="0" y="56"/>
                  </a:lnTo>
                  <a:lnTo>
                    <a:pt x="0" y="60"/>
                  </a:lnTo>
                  <a:lnTo>
                    <a:pt x="0" y="60"/>
                  </a:lnTo>
                  <a:lnTo>
                    <a:pt x="24" y="48"/>
                  </a:lnTo>
                  <a:lnTo>
                    <a:pt x="30" y="46"/>
                  </a:lnTo>
                  <a:lnTo>
                    <a:pt x="26" y="38"/>
                  </a:lnTo>
                  <a:lnTo>
                    <a:pt x="26" y="38"/>
                  </a:lnTo>
                  <a:lnTo>
                    <a:pt x="22" y="2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34" name="Freeform 2225">
              <a:extLst>
                <a:ext uri="{FF2B5EF4-FFF2-40B4-BE49-F238E27FC236}">
                  <a16:creationId xmlns:a16="http://schemas.microsoft.com/office/drawing/2014/main" id="{C4126A88-F536-4DDA-B810-8CAF7580BFE2}"/>
                </a:ext>
              </a:extLst>
            </p:cNvPr>
            <p:cNvSpPr>
              <a:spLocks/>
            </p:cNvSpPr>
            <p:nvPr/>
          </p:nvSpPr>
          <p:spPr bwMode="auto">
            <a:xfrm>
              <a:off x="9493425" y="3701128"/>
              <a:ext cx="32160" cy="42880"/>
            </a:xfrm>
            <a:custGeom>
              <a:avLst/>
              <a:gdLst>
                <a:gd name="T0" fmla="*/ 18 w 18"/>
                <a:gd name="T1" fmla="*/ 0 h 24"/>
                <a:gd name="T2" fmla="*/ 18 w 18"/>
                <a:gd name="T3" fmla="*/ 0 h 24"/>
                <a:gd name="T4" fmla="*/ 0 w 18"/>
                <a:gd name="T5" fmla="*/ 6 h 24"/>
                <a:gd name="T6" fmla="*/ 0 w 18"/>
                <a:gd name="T7" fmla="*/ 6 h 24"/>
                <a:gd name="T8" fmla="*/ 0 w 18"/>
                <a:gd name="T9" fmla="*/ 14 h 24"/>
                <a:gd name="T10" fmla="*/ 0 w 18"/>
                <a:gd name="T11" fmla="*/ 14 h 24"/>
                <a:gd name="T12" fmla="*/ 0 w 18"/>
                <a:gd name="T13" fmla="*/ 24 h 24"/>
                <a:gd name="T14" fmla="*/ 0 w 18"/>
                <a:gd name="T15" fmla="*/ 24 h 24"/>
                <a:gd name="T16" fmla="*/ 16 w 18"/>
                <a:gd name="T17" fmla="*/ 18 h 24"/>
                <a:gd name="T18" fmla="*/ 16 w 18"/>
                <a:gd name="T19" fmla="*/ 18 h 24"/>
                <a:gd name="T20" fmla="*/ 16 w 18"/>
                <a:gd name="T21" fmla="*/ 14 h 24"/>
                <a:gd name="T22" fmla="*/ 16 w 18"/>
                <a:gd name="T23" fmla="*/ 14 h 24"/>
                <a:gd name="T24" fmla="*/ 18 w 18"/>
                <a:gd name="T25"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24">
                  <a:moveTo>
                    <a:pt x="18" y="0"/>
                  </a:moveTo>
                  <a:lnTo>
                    <a:pt x="18" y="0"/>
                  </a:lnTo>
                  <a:lnTo>
                    <a:pt x="0" y="6"/>
                  </a:lnTo>
                  <a:lnTo>
                    <a:pt x="0" y="6"/>
                  </a:lnTo>
                  <a:lnTo>
                    <a:pt x="0" y="14"/>
                  </a:lnTo>
                  <a:lnTo>
                    <a:pt x="0" y="14"/>
                  </a:lnTo>
                  <a:lnTo>
                    <a:pt x="0" y="24"/>
                  </a:lnTo>
                  <a:lnTo>
                    <a:pt x="0" y="24"/>
                  </a:lnTo>
                  <a:lnTo>
                    <a:pt x="16" y="18"/>
                  </a:lnTo>
                  <a:lnTo>
                    <a:pt x="16" y="18"/>
                  </a:lnTo>
                  <a:lnTo>
                    <a:pt x="16" y="14"/>
                  </a:lnTo>
                  <a:lnTo>
                    <a:pt x="16" y="14"/>
                  </a:lnTo>
                  <a:lnTo>
                    <a:pt x="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35" name="Freeform 2226">
              <a:extLst>
                <a:ext uri="{FF2B5EF4-FFF2-40B4-BE49-F238E27FC236}">
                  <a16:creationId xmlns:a16="http://schemas.microsoft.com/office/drawing/2014/main" id="{265AC134-2BD2-4EE9-BAFE-374683A88321}"/>
                </a:ext>
              </a:extLst>
            </p:cNvPr>
            <p:cNvSpPr>
              <a:spLocks/>
            </p:cNvSpPr>
            <p:nvPr/>
          </p:nvSpPr>
          <p:spPr bwMode="auto">
            <a:xfrm>
              <a:off x="9504145" y="3593927"/>
              <a:ext cx="28587" cy="78614"/>
            </a:xfrm>
            <a:custGeom>
              <a:avLst/>
              <a:gdLst>
                <a:gd name="T0" fmla="*/ 4 w 16"/>
                <a:gd name="T1" fmla="*/ 0 h 44"/>
                <a:gd name="T2" fmla="*/ 4 w 16"/>
                <a:gd name="T3" fmla="*/ 0 h 44"/>
                <a:gd name="T4" fmla="*/ 2 w 16"/>
                <a:gd name="T5" fmla="*/ 14 h 44"/>
                <a:gd name="T6" fmla="*/ 2 w 16"/>
                <a:gd name="T7" fmla="*/ 14 h 44"/>
                <a:gd name="T8" fmla="*/ 2 w 16"/>
                <a:gd name="T9" fmla="*/ 16 h 44"/>
                <a:gd name="T10" fmla="*/ 2 w 16"/>
                <a:gd name="T11" fmla="*/ 16 h 44"/>
                <a:gd name="T12" fmla="*/ 0 w 16"/>
                <a:gd name="T13" fmla="*/ 22 h 44"/>
                <a:gd name="T14" fmla="*/ 0 w 16"/>
                <a:gd name="T15" fmla="*/ 22 h 44"/>
                <a:gd name="T16" fmla="*/ 12 w 16"/>
                <a:gd name="T17" fmla="*/ 44 h 44"/>
                <a:gd name="T18" fmla="*/ 12 w 16"/>
                <a:gd name="T19" fmla="*/ 44 h 44"/>
                <a:gd name="T20" fmla="*/ 16 w 16"/>
                <a:gd name="T21" fmla="*/ 18 h 44"/>
                <a:gd name="T22" fmla="*/ 16 w 16"/>
                <a:gd name="T23" fmla="*/ 18 h 44"/>
                <a:gd name="T24" fmla="*/ 4 w 16"/>
                <a:gd name="T25"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44">
                  <a:moveTo>
                    <a:pt x="4" y="0"/>
                  </a:moveTo>
                  <a:lnTo>
                    <a:pt x="4" y="0"/>
                  </a:lnTo>
                  <a:lnTo>
                    <a:pt x="2" y="14"/>
                  </a:lnTo>
                  <a:lnTo>
                    <a:pt x="2" y="14"/>
                  </a:lnTo>
                  <a:lnTo>
                    <a:pt x="2" y="16"/>
                  </a:lnTo>
                  <a:lnTo>
                    <a:pt x="2" y="16"/>
                  </a:lnTo>
                  <a:lnTo>
                    <a:pt x="0" y="22"/>
                  </a:lnTo>
                  <a:lnTo>
                    <a:pt x="0" y="22"/>
                  </a:lnTo>
                  <a:lnTo>
                    <a:pt x="12" y="44"/>
                  </a:lnTo>
                  <a:lnTo>
                    <a:pt x="12" y="44"/>
                  </a:lnTo>
                  <a:lnTo>
                    <a:pt x="16" y="18"/>
                  </a:lnTo>
                  <a:lnTo>
                    <a:pt x="16" y="18"/>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36" name="Freeform 2228">
              <a:extLst>
                <a:ext uri="{FF2B5EF4-FFF2-40B4-BE49-F238E27FC236}">
                  <a16:creationId xmlns:a16="http://schemas.microsoft.com/office/drawing/2014/main" id="{E53A0B8F-A984-4998-BB38-5E58F6DB6408}"/>
                </a:ext>
              </a:extLst>
            </p:cNvPr>
            <p:cNvSpPr>
              <a:spLocks/>
            </p:cNvSpPr>
            <p:nvPr/>
          </p:nvSpPr>
          <p:spPr bwMode="auto">
            <a:xfrm>
              <a:off x="8993154" y="3501020"/>
              <a:ext cx="225122" cy="250136"/>
            </a:xfrm>
            <a:custGeom>
              <a:avLst/>
              <a:gdLst>
                <a:gd name="T0" fmla="*/ 0 w 126"/>
                <a:gd name="T1" fmla="*/ 0 h 140"/>
                <a:gd name="T2" fmla="*/ 0 w 126"/>
                <a:gd name="T3" fmla="*/ 0 h 140"/>
                <a:gd name="T4" fmla="*/ 2 w 126"/>
                <a:gd name="T5" fmla="*/ 8 h 140"/>
                <a:gd name="T6" fmla="*/ 2 w 126"/>
                <a:gd name="T7" fmla="*/ 8 h 140"/>
                <a:gd name="T8" fmla="*/ 10 w 126"/>
                <a:gd name="T9" fmla="*/ 24 h 140"/>
                <a:gd name="T10" fmla="*/ 20 w 126"/>
                <a:gd name="T11" fmla="*/ 42 h 140"/>
                <a:gd name="T12" fmla="*/ 34 w 126"/>
                <a:gd name="T13" fmla="*/ 64 h 140"/>
                <a:gd name="T14" fmla="*/ 34 w 126"/>
                <a:gd name="T15" fmla="*/ 64 h 140"/>
                <a:gd name="T16" fmla="*/ 50 w 126"/>
                <a:gd name="T17" fmla="*/ 84 h 140"/>
                <a:gd name="T18" fmla="*/ 72 w 126"/>
                <a:gd name="T19" fmla="*/ 106 h 140"/>
                <a:gd name="T20" fmla="*/ 84 w 126"/>
                <a:gd name="T21" fmla="*/ 116 h 140"/>
                <a:gd name="T22" fmla="*/ 96 w 126"/>
                <a:gd name="T23" fmla="*/ 124 h 140"/>
                <a:gd name="T24" fmla="*/ 110 w 126"/>
                <a:gd name="T25" fmla="*/ 134 h 140"/>
                <a:gd name="T26" fmla="*/ 124 w 126"/>
                <a:gd name="T27" fmla="*/ 140 h 140"/>
                <a:gd name="T28" fmla="*/ 124 w 126"/>
                <a:gd name="T29" fmla="*/ 140 h 140"/>
                <a:gd name="T30" fmla="*/ 126 w 126"/>
                <a:gd name="T31" fmla="*/ 124 h 140"/>
                <a:gd name="T32" fmla="*/ 126 w 126"/>
                <a:gd name="T33" fmla="*/ 124 h 140"/>
                <a:gd name="T34" fmla="*/ 114 w 126"/>
                <a:gd name="T35" fmla="*/ 116 h 140"/>
                <a:gd name="T36" fmla="*/ 102 w 126"/>
                <a:gd name="T37" fmla="*/ 110 h 140"/>
                <a:gd name="T38" fmla="*/ 80 w 126"/>
                <a:gd name="T39" fmla="*/ 92 h 140"/>
                <a:gd name="T40" fmla="*/ 62 w 126"/>
                <a:gd name="T41" fmla="*/ 74 h 140"/>
                <a:gd name="T42" fmla="*/ 46 w 126"/>
                <a:gd name="T43" fmla="*/ 54 h 140"/>
                <a:gd name="T44" fmla="*/ 46 w 126"/>
                <a:gd name="T45" fmla="*/ 54 h 140"/>
                <a:gd name="T46" fmla="*/ 34 w 126"/>
                <a:gd name="T47" fmla="*/ 36 h 140"/>
                <a:gd name="T48" fmla="*/ 26 w 126"/>
                <a:gd name="T49" fmla="*/ 20 h 140"/>
                <a:gd name="T50" fmla="*/ 26 w 126"/>
                <a:gd name="T51" fmla="*/ 20 h 140"/>
                <a:gd name="T52" fmla="*/ 6 w 126"/>
                <a:gd name="T53" fmla="*/ 6 h 140"/>
                <a:gd name="T54" fmla="*/ 6 w 126"/>
                <a:gd name="T55" fmla="*/ 6 h 140"/>
                <a:gd name="T56" fmla="*/ 0 w 126"/>
                <a:gd name="T57" fmla="*/ 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26" h="140">
                  <a:moveTo>
                    <a:pt x="0" y="0"/>
                  </a:moveTo>
                  <a:lnTo>
                    <a:pt x="0" y="0"/>
                  </a:lnTo>
                  <a:lnTo>
                    <a:pt x="2" y="8"/>
                  </a:lnTo>
                  <a:lnTo>
                    <a:pt x="2" y="8"/>
                  </a:lnTo>
                  <a:lnTo>
                    <a:pt x="10" y="24"/>
                  </a:lnTo>
                  <a:lnTo>
                    <a:pt x="20" y="42"/>
                  </a:lnTo>
                  <a:lnTo>
                    <a:pt x="34" y="64"/>
                  </a:lnTo>
                  <a:lnTo>
                    <a:pt x="34" y="64"/>
                  </a:lnTo>
                  <a:lnTo>
                    <a:pt x="50" y="84"/>
                  </a:lnTo>
                  <a:lnTo>
                    <a:pt x="72" y="106"/>
                  </a:lnTo>
                  <a:lnTo>
                    <a:pt x="84" y="116"/>
                  </a:lnTo>
                  <a:lnTo>
                    <a:pt x="96" y="124"/>
                  </a:lnTo>
                  <a:lnTo>
                    <a:pt x="110" y="134"/>
                  </a:lnTo>
                  <a:lnTo>
                    <a:pt x="124" y="140"/>
                  </a:lnTo>
                  <a:lnTo>
                    <a:pt x="124" y="140"/>
                  </a:lnTo>
                  <a:lnTo>
                    <a:pt x="126" y="124"/>
                  </a:lnTo>
                  <a:lnTo>
                    <a:pt x="126" y="124"/>
                  </a:lnTo>
                  <a:lnTo>
                    <a:pt x="114" y="116"/>
                  </a:lnTo>
                  <a:lnTo>
                    <a:pt x="102" y="110"/>
                  </a:lnTo>
                  <a:lnTo>
                    <a:pt x="80" y="92"/>
                  </a:lnTo>
                  <a:lnTo>
                    <a:pt x="62" y="74"/>
                  </a:lnTo>
                  <a:lnTo>
                    <a:pt x="46" y="54"/>
                  </a:lnTo>
                  <a:lnTo>
                    <a:pt x="46" y="54"/>
                  </a:lnTo>
                  <a:lnTo>
                    <a:pt x="34" y="36"/>
                  </a:lnTo>
                  <a:lnTo>
                    <a:pt x="26" y="20"/>
                  </a:lnTo>
                  <a:lnTo>
                    <a:pt x="26" y="20"/>
                  </a:lnTo>
                  <a:lnTo>
                    <a:pt x="6" y="6"/>
                  </a:lnTo>
                  <a:lnTo>
                    <a:pt x="6" y="6"/>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37" name="Freeform 2230">
              <a:extLst>
                <a:ext uri="{FF2B5EF4-FFF2-40B4-BE49-F238E27FC236}">
                  <a16:creationId xmlns:a16="http://schemas.microsoft.com/office/drawing/2014/main" id="{01C4B9B4-1E51-41C9-8451-F9744391E0CC}"/>
                </a:ext>
              </a:extLst>
            </p:cNvPr>
            <p:cNvSpPr>
              <a:spLocks/>
            </p:cNvSpPr>
            <p:nvPr/>
          </p:nvSpPr>
          <p:spPr bwMode="auto">
            <a:xfrm>
              <a:off x="9214703" y="3722568"/>
              <a:ext cx="32160" cy="39307"/>
            </a:xfrm>
            <a:custGeom>
              <a:avLst/>
              <a:gdLst>
                <a:gd name="T0" fmla="*/ 2 w 18"/>
                <a:gd name="T1" fmla="*/ 0 h 22"/>
                <a:gd name="T2" fmla="*/ 2 w 18"/>
                <a:gd name="T3" fmla="*/ 0 h 22"/>
                <a:gd name="T4" fmla="*/ 0 w 18"/>
                <a:gd name="T5" fmla="*/ 16 h 22"/>
                <a:gd name="T6" fmla="*/ 0 w 18"/>
                <a:gd name="T7" fmla="*/ 16 h 22"/>
                <a:gd name="T8" fmla="*/ 8 w 18"/>
                <a:gd name="T9" fmla="*/ 18 h 22"/>
                <a:gd name="T10" fmla="*/ 8 w 18"/>
                <a:gd name="T11" fmla="*/ 18 h 22"/>
                <a:gd name="T12" fmla="*/ 16 w 18"/>
                <a:gd name="T13" fmla="*/ 22 h 22"/>
                <a:gd name="T14" fmla="*/ 16 w 18"/>
                <a:gd name="T15" fmla="*/ 22 h 22"/>
                <a:gd name="T16" fmla="*/ 18 w 18"/>
                <a:gd name="T17" fmla="*/ 6 h 22"/>
                <a:gd name="T18" fmla="*/ 18 w 18"/>
                <a:gd name="T19" fmla="*/ 6 h 22"/>
                <a:gd name="T20" fmla="*/ 14 w 18"/>
                <a:gd name="T21" fmla="*/ 4 h 22"/>
                <a:gd name="T22" fmla="*/ 14 w 18"/>
                <a:gd name="T23" fmla="*/ 4 h 22"/>
                <a:gd name="T24" fmla="*/ 2 w 18"/>
                <a:gd name="T2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22">
                  <a:moveTo>
                    <a:pt x="2" y="0"/>
                  </a:moveTo>
                  <a:lnTo>
                    <a:pt x="2" y="0"/>
                  </a:lnTo>
                  <a:lnTo>
                    <a:pt x="0" y="16"/>
                  </a:lnTo>
                  <a:lnTo>
                    <a:pt x="0" y="16"/>
                  </a:lnTo>
                  <a:lnTo>
                    <a:pt x="8" y="18"/>
                  </a:lnTo>
                  <a:lnTo>
                    <a:pt x="8" y="18"/>
                  </a:lnTo>
                  <a:lnTo>
                    <a:pt x="16" y="22"/>
                  </a:lnTo>
                  <a:lnTo>
                    <a:pt x="16" y="22"/>
                  </a:lnTo>
                  <a:lnTo>
                    <a:pt x="18" y="6"/>
                  </a:lnTo>
                  <a:lnTo>
                    <a:pt x="18" y="6"/>
                  </a:lnTo>
                  <a:lnTo>
                    <a:pt x="14" y="4"/>
                  </a:lnTo>
                  <a:lnTo>
                    <a:pt x="14" y="4"/>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38" name="Freeform 2232">
              <a:extLst>
                <a:ext uri="{FF2B5EF4-FFF2-40B4-BE49-F238E27FC236}">
                  <a16:creationId xmlns:a16="http://schemas.microsoft.com/office/drawing/2014/main" id="{9DEED20F-8EAF-4D2E-A5DF-F80E6F0A0655}"/>
                </a:ext>
              </a:extLst>
            </p:cNvPr>
            <p:cNvSpPr>
              <a:spLocks/>
            </p:cNvSpPr>
            <p:nvPr/>
          </p:nvSpPr>
          <p:spPr bwMode="auto">
            <a:xfrm>
              <a:off x="9018167" y="3436699"/>
              <a:ext cx="407364" cy="82187"/>
            </a:xfrm>
            <a:custGeom>
              <a:avLst/>
              <a:gdLst>
                <a:gd name="T0" fmla="*/ 120 w 228"/>
                <a:gd name="T1" fmla="*/ 0 h 46"/>
                <a:gd name="T2" fmla="*/ 120 w 228"/>
                <a:gd name="T3" fmla="*/ 0 h 46"/>
                <a:gd name="T4" fmla="*/ 94 w 228"/>
                <a:gd name="T5" fmla="*/ 2 h 46"/>
                <a:gd name="T6" fmla="*/ 70 w 228"/>
                <a:gd name="T7" fmla="*/ 4 h 46"/>
                <a:gd name="T8" fmla="*/ 50 w 228"/>
                <a:gd name="T9" fmla="*/ 10 h 46"/>
                <a:gd name="T10" fmla="*/ 30 w 228"/>
                <a:gd name="T11" fmla="*/ 16 h 46"/>
                <a:gd name="T12" fmla="*/ 30 w 228"/>
                <a:gd name="T13" fmla="*/ 16 h 46"/>
                <a:gd name="T14" fmla="*/ 0 w 228"/>
                <a:gd name="T15" fmla="*/ 28 h 46"/>
                <a:gd name="T16" fmla="*/ 0 w 228"/>
                <a:gd name="T17" fmla="*/ 28 h 46"/>
                <a:gd name="T18" fmla="*/ 2 w 228"/>
                <a:gd name="T19" fmla="*/ 28 h 46"/>
                <a:gd name="T20" fmla="*/ 2 w 228"/>
                <a:gd name="T21" fmla="*/ 28 h 46"/>
                <a:gd name="T22" fmla="*/ 16 w 228"/>
                <a:gd name="T23" fmla="*/ 40 h 46"/>
                <a:gd name="T24" fmla="*/ 16 w 228"/>
                <a:gd name="T25" fmla="*/ 40 h 46"/>
                <a:gd name="T26" fmla="*/ 34 w 228"/>
                <a:gd name="T27" fmla="*/ 32 h 46"/>
                <a:gd name="T28" fmla="*/ 60 w 228"/>
                <a:gd name="T29" fmla="*/ 24 h 46"/>
                <a:gd name="T30" fmla="*/ 88 w 228"/>
                <a:gd name="T31" fmla="*/ 18 h 46"/>
                <a:gd name="T32" fmla="*/ 104 w 228"/>
                <a:gd name="T33" fmla="*/ 16 h 46"/>
                <a:gd name="T34" fmla="*/ 120 w 228"/>
                <a:gd name="T35" fmla="*/ 16 h 46"/>
                <a:gd name="T36" fmla="*/ 120 w 228"/>
                <a:gd name="T37" fmla="*/ 16 h 46"/>
                <a:gd name="T38" fmla="*/ 120 w 228"/>
                <a:gd name="T39" fmla="*/ 16 h 46"/>
                <a:gd name="T40" fmla="*/ 120 w 228"/>
                <a:gd name="T41" fmla="*/ 16 h 46"/>
                <a:gd name="T42" fmla="*/ 146 w 228"/>
                <a:gd name="T43" fmla="*/ 18 h 46"/>
                <a:gd name="T44" fmla="*/ 160 w 228"/>
                <a:gd name="T45" fmla="*/ 20 h 46"/>
                <a:gd name="T46" fmla="*/ 172 w 228"/>
                <a:gd name="T47" fmla="*/ 24 h 46"/>
                <a:gd name="T48" fmla="*/ 176 w 228"/>
                <a:gd name="T49" fmla="*/ 16 h 46"/>
                <a:gd name="T50" fmla="*/ 178 w 228"/>
                <a:gd name="T51" fmla="*/ 10 h 46"/>
                <a:gd name="T52" fmla="*/ 176 w 228"/>
                <a:gd name="T53" fmla="*/ 16 h 46"/>
                <a:gd name="T54" fmla="*/ 172 w 228"/>
                <a:gd name="T55" fmla="*/ 24 h 46"/>
                <a:gd name="T56" fmla="*/ 172 w 228"/>
                <a:gd name="T57" fmla="*/ 24 h 46"/>
                <a:gd name="T58" fmla="*/ 194 w 228"/>
                <a:gd name="T59" fmla="*/ 34 h 46"/>
                <a:gd name="T60" fmla="*/ 214 w 228"/>
                <a:gd name="T61" fmla="*/ 46 h 46"/>
                <a:gd name="T62" fmla="*/ 214 w 228"/>
                <a:gd name="T63" fmla="*/ 46 h 46"/>
                <a:gd name="T64" fmla="*/ 222 w 228"/>
                <a:gd name="T65" fmla="*/ 42 h 46"/>
                <a:gd name="T66" fmla="*/ 222 w 228"/>
                <a:gd name="T67" fmla="*/ 42 h 46"/>
                <a:gd name="T68" fmla="*/ 228 w 228"/>
                <a:gd name="T69" fmla="*/ 38 h 46"/>
                <a:gd name="T70" fmla="*/ 228 w 228"/>
                <a:gd name="T71" fmla="*/ 38 h 46"/>
                <a:gd name="T72" fmla="*/ 204 w 228"/>
                <a:gd name="T73" fmla="*/ 22 h 46"/>
                <a:gd name="T74" fmla="*/ 192 w 228"/>
                <a:gd name="T75" fmla="*/ 14 h 46"/>
                <a:gd name="T76" fmla="*/ 178 w 228"/>
                <a:gd name="T77" fmla="*/ 10 h 46"/>
                <a:gd name="T78" fmla="*/ 178 w 228"/>
                <a:gd name="T79" fmla="*/ 10 h 46"/>
                <a:gd name="T80" fmla="*/ 178 w 228"/>
                <a:gd name="T81" fmla="*/ 10 h 46"/>
                <a:gd name="T82" fmla="*/ 164 w 228"/>
                <a:gd name="T83" fmla="*/ 4 h 46"/>
                <a:gd name="T84" fmla="*/ 148 w 228"/>
                <a:gd name="T85" fmla="*/ 2 h 46"/>
                <a:gd name="T86" fmla="*/ 120 w 228"/>
                <a:gd name="T87"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28" h="46">
                  <a:moveTo>
                    <a:pt x="120" y="0"/>
                  </a:moveTo>
                  <a:lnTo>
                    <a:pt x="120" y="0"/>
                  </a:lnTo>
                  <a:lnTo>
                    <a:pt x="94" y="2"/>
                  </a:lnTo>
                  <a:lnTo>
                    <a:pt x="70" y="4"/>
                  </a:lnTo>
                  <a:lnTo>
                    <a:pt x="50" y="10"/>
                  </a:lnTo>
                  <a:lnTo>
                    <a:pt x="30" y="16"/>
                  </a:lnTo>
                  <a:lnTo>
                    <a:pt x="30" y="16"/>
                  </a:lnTo>
                  <a:lnTo>
                    <a:pt x="0" y="28"/>
                  </a:lnTo>
                  <a:lnTo>
                    <a:pt x="0" y="28"/>
                  </a:lnTo>
                  <a:lnTo>
                    <a:pt x="2" y="28"/>
                  </a:lnTo>
                  <a:lnTo>
                    <a:pt x="2" y="28"/>
                  </a:lnTo>
                  <a:lnTo>
                    <a:pt x="16" y="40"/>
                  </a:lnTo>
                  <a:lnTo>
                    <a:pt x="16" y="40"/>
                  </a:lnTo>
                  <a:lnTo>
                    <a:pt x="34" y="32"/>
                  </a:lnTo>
                  <a:lnTo>
                    <a:pt x="60" y="24"/>
                  </a:lnTo>
                  <a:lnTo>
                    <a:pt x="88" y="18"/>
                  </a:lnTo>
                  <a:lnTo>
                    <a:pt x="104" y="16"/>
                  </a:lnTo>
                  <a:lnTo>
                    <a:pt x="120" y="16"/>
                  </a:lnTo>
                  <a:lnTo>
                    <a:pt x="120" y="16"/>
                  </a:lnTo>
                  <a:lnTo>
                    <a:pt x="120" y="16"/>
                  </a:lnTo>
                  <a:lnTo>
                    <a:pt x="120" y="16"/>
                  </a:lnTo>
                  <a:lnTo>
                    <a:pt x="146" y="18"/>
                  </a:lnTo>
                  <a:lnTo>
                    <a:pt x="160" y="20"/>
                  </a:lnTo>
                  <a:lnTo>
                    <a:pt x="172" y="24"/>
                  </a:lnTo>
                  <a:lnTo>
                    <a:pt x="176" y="16"/>
                  </a:lnTo>
                  <a:lnTo>
                    <a:pt x="178" y="10"/>
                  </a:lnTo>
                  <a:lnTo>
                    <a:pt x="176" y="16"/>
                  </a:lnTo>
                  <a:lnTo>
                    <a:pt x="172" y="24"/>
                  </a:lnTo>
                  <a:lnTo>
                    <a:pt x="172" y="24"/>
                  </a:lnTo>
                  <a:lnTo>
                    <a:pt x="194" y="34"/>
                  </a:lnTo>
                  <a:lnTo>
                    <a:pt x="214" y="46"/>
                  </a:lnTo>
                  <a:lnTo>
                    <a:pt x="214" y="46"/>
                  </a:lnTo>
                  <a:lnTo>
                    <a:pt x="222" y="42"/>
                  </a:lnTo>
                  <a:lnTo>
                    <a:pt x="222" y="42"/>
                  </a:lnTo>
                  <a:lnTo>
                    <a:pt x="228" y="38"/>
                  </a:lnTo>
                  <a:lnTo>
                    <a:pt x="228" y="38"/>
                  </a:lnTo>
                  <a:lnTo>
                    <a:pt x="204" y="22"/>
                  </a:lnTo>
                  <a:lnTo>
                    <a:pt x="192" y="14"/>
                  </a:lnTo>
                  <a:lnTo>
                    <a:pt x="178" y="10"/>
                  </a:lnTo>
                  <a:lnTo>
                    <a:pt x="178" y="10"/>
                  </a:lnTo>
                  <a:lnTo>
                    <a:pt x="178" y="10"/>
                  </a:lnTo>
                  <a:lnTo>
                    <a:pt x="164" y="4"/>
                  </a:lnTo>
                  <a:lnTo>
                    <a:pt x="148" y="2"/>
                  </a:lnTo>
                  <a:lnTo>
                    <a:pt x="12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39" name="Freeform 2234">
              <a:extLst>
                <a:ext uri="{FF2B5EF4-FFF2-40B4-BE49-F238E27FC236}">
                  <a16:creationId xmlns:a16="http://schemas.microsoft.com/office/drawing/2014/main" id="{1B3A8A85-92D6-466D-A072-8E1FBDA5763C}"/>
                </a:ext>
              </a:extLst>
            </p:cNvPr>
            <p:cNvSpPr>
              <a:spLocks/>
            </p:cNvSpPr>
            <p:nvPr/>
          </p:nvSpPr>
          <p:spPr bwMode="auto">
            <a:xfrm>
              <a:off x="9400518" y="3504593"/>
              <a:ext cx="50027" cy="35734"/>
            </a:xfrm>
            <a:custGeom>
              <a:avLst/>
              <a:gdLst>
                <a:gd name="T0" fmla="*/ 14 w 28"/>
                <a:gd name="T1" fmla="*/ 0 h 20"/>
                <a:gd name="T2" fmla="*/ 14 w 28"/>
                <a:gd name="T3" fmla="*/ 0 h 20"/>
                <a:gd name="T4" fmla="*/ 8 w 28"/>
                <a:gd name="T5" fmla="*/ 4 h 20"/>
                <a:gd name="T6" fmla="*/ 8 w 28"/>
                <a:gd name="T7" fmla="*/ 4 h 20"/>
                <a:gd name="T8" fmla="*/ 0 w 28"/>
                <a:gd name="T9" fmla="*/ 8 h 20"/>
                <a:gd name="T10" fmla="*/ 0 w 28"/>
                <a:gd name="T11" fmla="*/ 8 h 20"/>
                <a:gd name="T12" fmla="*/ 14 w 28"/>
                <a:gd name="T13" fmla="*/ 20 h 20"/>
                <a:gd name="T14" fmla="*/ 14 w 28"/>
                <a:gd name="T15" fmla="*/ 20 h 20"/>
                <a:gd name="T16" fmla="*/ 18 w 28"/>
                <a:gd name="T17" fmla="*/ 16 h 20"/>
                <a:gd name="T18" fmla="*/ 18 w 28"/>
                <a:gd name="T19" fmla="*/ 16 h 20"/>
                <a:gd name="T20" fmla="*/ 28 w 28"/>
                <a:gd name="T21" fmla="*/ 10 h 20"/>
                <a:gd name="T22" fmla="*/ 28 w 28"/>
                <a:gd name="T23" fmla="*/ 10 h 20"/>
                <a:gd name="T24" fmla="*/ 14 w 28"/>
                <a:gd name="T2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 h="20">
                  <a:moveTo>
                    <a:pt x="14" y="0"/>
                  </a:moveTo>
                  <a:lnTo>
                    <a:pt x="14" y="0"/>
                  </a:lnTo>
                  <a:lnTo>
                    <a:pt x="8" y="4"/>
                  </a:lnTo>
                  <a:lnTo>
                    <a:pt x="8" y="4"/>
                  </a:lnTo>
                  <a:lnTo>
                    <a:pt x="0" y="8"/>
                  </a:lnTo>
                  <a:lnTo>
                    <a:pt x="0" y="8"/>
                  </a:lnTo>
                  <a:lnTo>
                    <a:pt x="14" y="20"/>
                  </a:lnTo>
                  <a:lnTo>
                    <a:pt x="14" y="20"/>
                  </a:lnTo>
                  <a:lnTo>
                    <a:pt x="18" y="16"/>
                  </a:lnTo>
                  <a:lnTo>
                    <a:pt x="18" y="16"/>
                  </a:lnTo>
                  <a:lnTo>
                    <a:pt x="28" y="10"/>
                  </a:lnTo>
                  <a:lnTo>
                    <a:pt x="28" y="1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40" name="Freeform 2235">
              <a:extLst>
                <a:ext uri="{FF2B5EF4-FFF2-40B4-BE49-F238E27FC236}">
                  <a16:creationId xmlns:a16="http://schemas.microsoft.com/office/drawing/2014/main" id="{51EE515D-5D06-43B9-A774-788D1BCF3736}"/>
                </a:ext>
              </a:extLst>
            </p:cNvPr>
            <p:cNvSpPr>
              <a:spLocks/>
            </p:cNvSpPr>
            <p:nvPr/>
          </p:nvSpPr>
          <p:spPr bwMode="auto">
            <a:xfrm>
              <a:off x="8993154" y="3486726"/>
              <a:ext cx="53601" cy="50027"/>
            </a:xfrm>
            <a:custGeom>
              <a:avLst/>
              <a:gdLst>
                <a:gd name="T0" fmla="*/ 14 w 30"/>
                <a:gd name="T1" fmla="*/ 0 h 28"/>
                <a:gd name="T2" fmla="*/ 14 w 30"/>
                <a:gd name="T3" fmla="*/ 0 h 28"/>
                <a:gd name="T4" fmla="*/ 6 w 30"/>
                <a:gd name="T5" fmla="*/ 6 h 28"/>
                <a:gd name="T6" fmla="*/ 0 w 30"/>
                <a:gd name="T7" fmla="*/ 8 h 28"/>
                <a:gd name="T8" fmla="*/ 0 w 30"/>
                <a:gd name="T9" fmla="*/ 8 h 28"/>
                <a:gd name="T10" fmla="*/ 6 w 30"/>
                <a:gd name="T11" fmla="*/ 14 h 28"/>
                <a:gd name="T12" fmla="*/ 6 w 30"/>
                <a:gd name="T13" fmla="*/ 14 h 28"/>
                <a:gd name="T14" fmla="*/ 26 w 30"/>
                <a:gd name="T15" fmla="*/ 28 h 28"/>
                <a:gd name="T16" fmla="*/ 26 w 30"/>
                <a:gd name="T17" fmla="*/ 28 h 28"/>
                <a:gd name="T18" fmla="*/ 24 w 30"/>
                <a:gd name="T19" fmla="*/ 24 h 28"/>
                <a:gd name="T20" fmla="*/ 24 w 30"/>
                <a:gd name="T21" fmla="*/ 24 h 28"/>
                <a:gd name="T22" fmla="*/ 20 w 30"/>
                <a:gd name="T23" fmla="*/ 16 h 28"/>
                <a:gd name="T24" fmla="*/ 20 w 30"/>
                <a:gd name="T25" fmla="*/ 16 h 28"/>
                <a:gd name="T26" fmla="*/ 30 w 30"/>
                <a:gd name="T27" fmla="*/ 12 h 28"/>
                <a:gd name="T28" fmla="*/ 30 w 30"/>
                <a:gd name="T29" fmla="*/ 12 h 28"/>
                <a:gd name="T30" fmla="*/ 16 w 30"/>
                <a:gd name="T31" fmla="*/ 0 h 28"/>
                <a:gd name="T32" fmla="*/ 16 w 30"/>
                <a:gd name="T33" fmla="*/ 0 h 28"/>
                <a:gd name="T34" fmla="*/ 14 w 30"/>
                <a:gd name="T3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 h="28">
                  <a:moveTo>
                    <a:pt x="14" y="0"/>
                  </a:moveTo>
                  <a:lnTo>
                    <a:pt x="14" y="0"/>
                  </a:lnTo>
                  <a:lnTo>
                    <a:pt x="6" y="6"/>
                  </a:lnTo>
                  <a:lnTo>
                    <a:pt x="0" y="8"/>
                  </a:lnTo>
                  <a:lnTo>
                    <a:pt x="0" y="8"/>
                  </a:lnTo>
                  <a:lnTo>
                    <a:pt x="6" y="14"/>
                  </a:lnTo>
                  <a:lnTo>
                    <a:pt x="6" y="14"/>
                  </a:lnTo>
                  <a:lnTo>
                    <a:pt x="26" y="28"/>
                  </a:lnTo>
                  <a:lnTo>
                    <a:pt x="26" y="28"/>
                  </a:lnTo>
                  <a:lnTo>
                    <a:pt x="24" y="24"/>
                  </a:lnTo>
                  <a:lnTo>
                    <a:pt x="24" y="24"/>
                  </a:lnTo>
                  <a:lnTo>
                    <a:pt x="20" y="16"/>
                  </a:lnTo>
                  <a:lnTo>
                    <a:pt x="20" y="16"/>
                  </a:lnTo>
                  <a:lnTo>
                    <a:pt x="30" y="12"/>
                  </a:lnTo>
                  <a:lnTo>
                    <a:pt x="30" y="12"/>
                  </a:lnTo>
                  <a:lnTo>
                    <a:pt x="16" y="0"/>
                  </a:lnTo>
                  <a:lnTo>
                    <a:pt x="16"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41" name="Freeform 2236">
              <a:extLst>
                <a:ext uri="{FF2B5EF4-FFF2-40B4-BE49-F238E27FC236}">
                  <a16:creationId xmlns:a16="http://schemas.microsoft.com/office/drawing/2014/main" id="{E61D6EE8-3199-4EB3-B033-B5F94C009644}"/>
                </a:ext>
              </a:extLst>
            </p:cNvPr>
            <p:cNvSpPr>
              <a:spLocks/>
            </p:cNvSpPr>
            <p:nvPr/>
          </p:nvSpPr>
          <p:spPr bwMode="auto">
            <a:xfrm>
              <a:off x="9550599" y="3722568"/>
              <a:ext cx="293016" cy="582459"/>
            </a:xfrm>
            <a:custGeom>
              <a:avLst/>
              <a:gdLst>
                <a:gd name="T0" fmla="*/ 164 w 164"/>
                <a:gd name="T1" fmla="*/ 164 h 326"/>
                <a:gd name="T2" fmla="*/ 164 w 164"/>
                <a:gd name="T3" fmla="*/ 164 h 326"/>
                <a:gd name="T4" fmla="*/ 164 w 164"/>
                <a:gd name="T5" fmla="*/ 182 h 326"/>
                <a:gd name="T6" fmla="*/ 160 w 164"/>
                <a:gd name="T7" fmla="*/ 198 h 326"/>
                <a:gd name="T8" fmla="*/ 156 w 164"/>
                <a:gd name="T9" fmla="*/ 212 h 326"/>
                <a:gd name="T10" fmla="*/ 150 w 164"/>
                <a:gd name="T11" fmla="*/ 228 h 326"/>
                <a:gd name="T12" fmla="*/ 136 w 164"/>
                <a:gd name="T13" fmla="*/ 254 h 326"/>
                <a:gd name="T14" fmla="*/ 122 w 164"/>
                <a:gd name="T15" fmla="*/ 278 h 326"/>
                <a:gd name="T16" fmla="*/ 106 w 164"/>
                <a:gd name="T17" fmla="*/ 298 h 326"/>
                <a:gd name="T18" fmla="*/ 92 w 164"/>
                <a:gd name="T19" fmla="*/ 312 h 326"/>
                <a:gd name="T20" fmla="*/ 80 w 164"/>
                <a:gd name="T21" fmla="*/ 326 h 326"/>
                <a:gd name="T22" fmla="*/ 80 w 164"/>
                <a:gd name="T23" fmla="*/ 326 h 326"/>
                <a:gd name="T24" fmla="*/ 66 w 164"/>
                <a:gd name="T25" fmla="*/ 312 h 326"/>
                <a:gd name="T26" fmla="*/ 54 w 164"/>
                <a:gd name="T27" fmla="*/ 298 h 326"/>
                <a:gd name="T28" fmla="*/ 40 w 164"/>
                <a:gd name="T29" fmla="*/ 276 h 326"/>
                <a:gd name="T30" fmla="*/ 24 w 164"/>
                <a:gd name="T31" fmla="*/ 252 h 326"/>
                <a:gd name="T32" fmla="*/ 12 w 164"/>
                <a:gd name="T33" fmla="*/ 224 h 326"/>
                <a:gd name="T34" fmla="*/ 8 w 164"/>
                <a:gd name="T35" fmla="*/ 210 h 326"/>
                <a:gd name="T36" fmla="*/ 4 w 164"/>
                <a:gd name="T37" fmla="*/ 194 h 326"/>
                <a:gd name="T38" fmla="*/ 2 w 164"/>
                <a:gd name="T39" fmla="*/ 178 h 326"/>
                <a:gd name="T40" fmla="*/ 0 w 164"/>
                <a:gd name="T41" fmla="*/ 162 h 326"/>
                <a:gd name="T42" fmla="*/ 0 w 164"/>
                <a:gd name="T43" fmla="*/ 162 h 326"/>
                <a:gd name="T44" fmla="*/ 2 w 164"/>
                <a:gd name="T45" fmla="*/ 144 h 326"/>
                <a:gd name="T46" fmla="*/ 4 w 164"/>
                <a:gd name="T47" fmla="*/ 128 h 326"/>
                <a:gd name="T48" fmla="*/ 10 w 164"/>
                <a:gd name="T49" fmla="*/ 114 h 326"/>
                <a:gd name="T50" fmla="*/ 14 w 164"/>
                <a:gd name="T51" fmla="*/ 98 h 326"/>
                <a:gd name="T52" fmla="*/ 28 w 164"/>
                <a:gd name="T53" fmla="*/ 72 h 326"/>
                <a:gd name="T54" fmla="*/ 44 w 164"/>
                <a:gd name="T55" fmla="*/ 48 h 326"/>
                <a:gd name="T56" fmla="*/ 60 w 164"/>
                <a:gd name="T57" fmla="*/ 28 h 326"/>
                <a:gd name="T58" fmla="*/ 72 w 164"/>
                <a:gd name="T59" fmla="*/ 14 h 326"/>
                <a:gd name="T60" fmla="*/ 86 w 164"/>
                <a:gd name="T61" fmla="*/ 0 h 326"/>
                <a:gd name="T62" fmla="*/ 86 w 164"/>
                <a:gd name="T63" fmla="*/ 0 h 326"/>
                <a:gd name="T64" fmla="*/ 98 w 164"/>
                <a:gd name="T65" fmla="*/ 14 h 326"/>
                <a:gd name="T66" fmla="*/ 112 w 164"/>
                <a:gd name="T67" fmla="*/ 28 h 326"/>
                <a:gd name="T68" fmla="*/ 126 w 164"/>
                <a:gd name="T69" fmla="*/ 50 h 326"/>
                <a:gd name="T70" fmla="*/ 140 w 164"/>
                <a:gd name="T71" fmla="*/ 74 h 326"/>
                <a:gd name="T72" fmla="*/ 154 w 164"/>
                <a:gd name="T73" fmla="*/ 102 h 326"/>
                <a:gd name="T74" fmla="*/ 158 w 164"/>
                <a:gd name="T75" fmla="*/ 116 h 326"/>
                <a:gd name="T76" fmla="*/ 162 w 164"/>
                <a:gd name="T77" fmla="*/ 132 h 326"/>
                <a:gd name="T78" fmla="*/ 164 w 164"/>
                <a:gd name="T79" fmla="*/ 148 h 326"/>
                <a:gd name="T80" fmla="*/ 164 w 164"/>
                <a:gd name="T81" fmla="*/ 164 h 326"/>
                <a:gd name="T82" fmla="*/ 164 w 164"/>
                <a:gd name="T83" fmla="*/ 164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64" h="326">
                  <a:moveTo>
                    <a:pt x="164" y="164"/>
                  </a:moveTo>
                  <a:lnTo>
                    <a:pt x="164" y="164"/>
                  </a:lnTo>
                  <a:lnTo>
                    <a:pt x="164" y="182"/>
                  </a:lnTo>
                  <a:lnTo>
                    <a:pt x="160" y="198"/>
                  </a:lnTo>
                  <a:lnTo>
                    <a:pt x="156" y="212"/>
                  </a:lnTo>
                  <a:lnTo>
                    <a:pt x="150" y="228"/>
                  </a:lnTo>
                  <a:lnTo>
                    <a:pt x="136" y="254"/>
                  </a:lnTo>
                  <a:lnTo>
                    <a:pt x="122" y="278"/>
                  </a:lnTo>
                  <a:lnTo>
                    <a:pt x="106" y="298"/>
                  </a:lnTo>
                  <a:lnTo>
                    <a:pt x="92" y="312"/>
                  </a:lnTo>
                  <a:lnTo>
                    <a:pt x="80" y="326"/>
                  </a:lnTo>
                  <a:lnTo>
                    <a:pt x="80" y="326"/>
                  </a:lnTo>
                  <a:lnTo>
                    <a:pt x="66" y="312"/>
                  </a:lnTo>
                  <a:lnTo>
                    <a:pt x="54" y="298"/>
                  </a:lnTo>
                  <a:lnTo>
                    <a:pt x="40" y="276"/>
                  </a:lnTo>
                  <a:lnTo>
                    <a:pt x="24" y="252"/>
                  </a:lnTo>
                  <a:lnTo>
                    <a:pt x="12" y="224"/>
                  </a:lnTo>
                  <a:lnTo>
                    <a:pt x="8" y="210"/>
                  </a:lnTo>
                  <a:lnTo>
                    <a:pt x="4" y="194"/>
                  </a:lnTo>
                  <a:lnTo>
                    <a:pt x="2" y="178"/>
                  </a:lnTo>
                  <a:lnTo>
                    <a:pt x="0" y="162"/>
                  </a:lnTo>
                  <a:lnTo>
                    <a:pt x="0" y="162"/>
                  </a:lnTo>
                  <a:lnTo>
                    <a:pt x="2" y="144"/>
                  </a:lnTo>
                  <a:lnTo>
                    <a:pt x="4" y="128"/>
                  </a:lnTo>
                  <a:lnTo>
                    <a:pt x="10" y="114"/>
                  </a:lnTo>
                  <a:lnTo>
                    <a:pt x="14" y="98"/>
                  </a:lnTo>
                  <a:lnTo>
                    <a:pt x="28" y="72"/>
                  </a:lnTo>
                  <a:lnTo>
                    <a:pt x="44" y="48"/>
                  </a:lnTo>
                  <a:lnTo>
                    <a:pt x="60" y="28"/>
                  </a:lnTo>
                  <a:lnTo>
                    <a:pt x="72" y="14"/>
                  </a:lnTo>
                  <a:lnTo>
                    <a:pt x="86" y="0"/>
                  </a:lnTo>
                  <a:lnTo>
                    <a:pt x="86" y="0"/>
                  </a:lnTo>
                  <a:lnTo>
                    <a:pt x="98" y="14"/>
                  </a:lnTo>
                  <a:lnTo>
                    <a:pt x="112" y="28"/>
                  </a:lnTo>
                  <a:lnTo>
                    <a:pt x="126" y="50"/>
                  </a:lnTo>
                  <a:lnTo>
                    <a:pt x="140" y="74"/>
                  </a:lnTo>
                  <a:lnTo>
                    <a:pt x="154" y="102"/>
                  </a:lnTo>
                  <a:lnTo>
                    <a:pt x="158" y="116"/>
                  </a:lnTo>
                  <a:lnTo>
                    <a:pt x="162" y="132"/>
                  </a:lnTo>
                  <a:lnTo>
                    <a:pt x="164" y="148"/>
                  </a:lnTo>
                  <a:lnTo>
                    <a:pt x="164" y="164"/>
                  </a:lnTo>
                  <a:lnTo>
                    <a:pt x="164" y="164"/>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42" name="Freeform 2238">
              <a:extLst>
                <a:ext uri="{FF2B5EF4-FFF2-40B4-BE49-F238E27FC236}">
                  <a16:creationId xmlns:a16="http://schemas.microsoft.com/office/drawing/2014/main" id="{40593B00-B916-41E4-A474-32A169591E49}"/>
                </a:ext>
              </a:extLst>
            </p:cNvPr>
            <p:cNvSpPr>
              <a:spLocks noEditPoints="1"/>
            </p:cNvSpPr>
            <p:nvPr/>
          </p:nvSpPr>
          <p:spPr bwMode="auto">
            <a:xfrm>
              <a:off x="9815029" y="3250884"/>
              <a:ext cx="300163" cy="71467"/>
            </a:xfrm>
            <a:custGeom>
              <a:avLst/>
              <a:gdLst>
                <a:gd name="T0" fmla="*/ 164 w 168"/>
                <a:gd name="T1" fmla="*/ 22 h 40"/>
                <a:gd name="T2" fmla="*/ 164 w 168"/>
                <a:gd name="T3" fmla="*/ 22 h 40"/>
                <a:gd name="T4" fmla="*/ 158 w 168"/>
                <a:gd name="T5" fmla="*/ 40 h 40"/>
                <a:gd name="T6" fmla="*/ 158 w 168"/>
                <a:gd name="T7" fmla="*/ 40 h 40"/>
                <a:gd name="T8" fmla="*/ 168 w 168"/>
                <a:gd name="T9" fmla="*/ 28 h 40"/>
                <a:gd name="T10" fmla="*/ 168 w 168"/>
                <a:gd name="T11" fmla="*/ 28 h 40"/>
                <a:gd name="T12" fmla="*/ 164 w 168"/>
                <a:gd name="T13" fmla="*/ 22 h 40"/>
                <a:gd name="T14" fmla="*/ 2 w 168"/>
                <a:gd name="T15" fmla="*/ 0 h 40"/>
                <a:gd name="T16" fmla="*/ 2 w 168"/>
                <a:gd name="T17" fmla="*/ 0 h 40"/>
                <a:gd name="T18" fmla="*/ 0 w 168"/>
                <a:gd name="T19" fmla="*/ 4 h 40"/>
                <a:gd name="T20" fmla="*/ 0 w 168"/>
                <a:gd name="T21" fmla="*/ 4 h 40"/>
                <a:gd name="T22" fmla="*/ 4 w 168"/>
                <a:gd name="T23" fmla="*/ 4 h 40"/>
                <a:gd name="T24" fmla="*/ 4 w 168"/>
                <a:gd name="T25" fmla="*/ 4 h 40"/>
                <a:gd name="T26" fmla="*/ 2 w 168"/>
                <a:gd name="T27"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8" h="40">
                  <a:moveTo>
                    <a:pt x="164" y="22"/>
                  </a:moveTo>
                  <a:lnTo>
                    <a:pt x="164" y="22"/>
                  </a:lnTo>
                  <a:lnTo>
                    <a:pt x="158" y="40"/>
                  </a:lnTo>
                  <a:lnTo>
                    <a:pt x="158" y="40"/>
                  </a:lnTo>
                  <a:lnTo>
                    <a:pt x="168" y="28"/>
                  </a:lnTo>
                  <a:lnTo>
                    <a:pt x="168" y="28"/>
                  </a:lnTo>
                  <a:lnTo>
                    <a:pt x="164" y="22"/>
                  </a:lnTo>
                  <a:close/>
                  <a:moveTo>
                    <a:pt x="2" y="0"/>
                  </a:moveTo>
                  <a:lnTo>
                    <a:pt x="2" y="0"/>
                  </a:lnTo>
                  <a:lnTo>
                    <a:pt x="0" y="4"/>
                  </a:lnTo>
                  <a:lnTo>
                    <a:pt x="0" y="4"/>
                  </a:lnTo>
                  <a:lnTo>
                    <a:pt x="4" y="4"/>
                  </a:lnTo>
                  <a:lnTo>
                    <a:pt x="4" y="4"/>
                  </a:lnTo>
                  <a:lnTo>
                    <a:pt x="2" y="0"/>
                  </a:lnTo>
                  <a:close/>
                </a:path>
              </a:pathLst>
            </a:custGeom>
            <a:solidFill>
              <a:srgbClr val="DDC9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43" name="Freeform 2239">
              <a:extLst>
                <a:ext uri="{FF2B5EF4-FFF2-40B4-BE49-F238E27FC236}">
                  <a16:creationId xmlns:a16="http://schemas.microsoft.com/office/drawing/2014/main" id="{AF5BC1B8-232A-4B1B-BDF9-47BA40DD3E60}"/>
                </a:ext>
              </a:extLst>
            </p:cNvPr>
            <p:cNvSpPr>
              <a:spLocks/>
            </p:cNvSpPr>
            <p:nvPr/>
          </p:nvSpPr>
          <p:spPr bwMode="auto">
            <a:xfrm>
              <a:off x="10097325" y="3290191"/>
              <a:ext cx="17867" cy="32160"/>
            </a:xfrm>
            <a:custGeom>
              <a:avLst/>
              <a:gdLst>
                <a:gd name="T0" fmla="*/ 6 w 10"/>
                <a:gd name="T1" fmla="*/ 0 h 18"/>
                <a:gd name="T2" fmla="*/ 6 w 10"/>
                <a:gd name="T3" fmla="*/ 0 h 18"/>
                <a:gd name="T4" fmla="*/ 0 w 10"/>
                <a:gd name="T5" fmla="*/ 18 h 18"/>
                <a:gd name="T6" fmla="*/ 0 w 10"/>
                <a:gd name="T7" fmla="*/ 18 h 18"/>
                <a:gd name="T8" fmla="*/ 10 w 10"/>
                <a:gd name="T9" fmla="*/ 6 h 18"/>
                <a:gd name="T10" fmla="*/ 10 w 10"/>
                <a:gd name="T11" fmla="*/ 6 h 18"/>
                <a:gd name="T12" fmla="*/ 6 w 10"/>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10" h="18">
                  <a:moveTo>
                    <a:pt x="6" y="0"/>
                  </a:moveTo>
                  <a:lnTo>
                    <a:pt x="6" y="0"/>
                  </a:lnTo>
                  <a:lnTo>
                    <a:pt x="0" y="18"/>
                  </a:lnTo>
                  <a:lnTo>
                    <a:pt x="0" y="18"/>
                  </a:lnTo>
                  <a:lnTo>
                    <a:pt x="10" y="6"/>
                  </a:lnTo>
                  <a:lnTo>
                    <a:pt x="10" y="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44" name="Freeform 2240">
              <a:extLst>
                <a:ext uri="{FF2B5EF4-FFF2-40B4-BE49-F238E27FC236}">
                  <a16:creationId xmlns:a16="http://schemas.microsoft.com/office/drawing/2014/main" id="{9EA75E1D-7607-4039-BFB6-8C970E6941BB}"/>
                </a:ext>
              </a:extLst>
            </p:cNvPr>
            <p:cNvSpPr>
              <a:spLocks/>
            </p:cNvSpPr>
            <p:nvPr/>
          </p:nvSpPr>
          <p:spPr bwMode="auto">
            <a:xfrm>
              <a:off x="9815029" y="3250884"/>
              <a:ext cx="7147" cy="7147"/>
            </a:xfrm>
            <a:custGeom>
              <a:avLst/>
              <a:gdLst>
                <a:gd name="T0" fmla="*/ 2 w 4"/>
                <a:gd name="T1" fmla="*/ 0 h 4"/>
                <a:gd name="T2" fmla="*/ 2 w 4"/>
                <a:gd name="T3" fmla="*/ 0 h 4"/>
                <a:gd name="T4" fmla="*/ 0 w 4"/>
                <a:gd name="T5" fmla="*/ 4 h 4"/>
                <a:gd name="T6" fmla="*/ 0 w 4"/>
                <a:gd name="T7" fmla="*/ 4 h 4"/>
                <a:gd name="T8" fmla="*/ 4 w 4"/>
                <a:gd name="T9" fmla="*/ 4 h 4"/>
                <a:gd name="T10" fmla="*/ 4 w 4"/>
                <a:gd name="T11" fmla="*/ 4 h 4"/>
                <a:gd name="T12" fmla="*/ 2 w 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2" y="0"/>
                  </a:moveTo>
                  <a:lnTo>
                    <a:pt x="2" y="0"/>
                  </a:lnTo>
                  <a:lnTo>
                    <a:pt x="0" y="4"/>
                  </a:lnTo>
                  <a:lnTo>
                    <a:pt x="0" y="4"/>
                  </a:lnTo>
                  <a:lnTo>
                    <a:pt x="4" y="4"/>
                  </a:lnTo>
                  <a:lnTo>
                    <a:pt x="4" y="4"/>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45" name="Freeform 2242">
              <a:extLst>
                <a:ext uri="{FF2B5EF4-FFF2-40B4-BE49-F238E27FC236}">
                  <a16:creationId xmlns:a16="http://schemas.microsoft.com/office/drawing/2014/main" id="{E59CFEC3-3CB6-4B20-8F82-E4469BA57F37}"/>
                </a:ext>
              </a:extLst>
            </p:cNvPr>
            <p:cNvSpPr>
              <a:spLocks/>
            </p:cNvSpPr>
            <p:nvPr/>
          </p:nvSpPr>
          <p:spPr bwMode="auto">
            <a:xfrm>
              <a:off x="9836469" y="3082935"/>
              <a:ext cx="250136" cy="318030"/>
            </a:xfrm>
            <a:custGeom>
              <a:avLst/>
              <a:gdLst>
                <a:gd name="T0" fmla="*/ 124 w 140"/>
                <a:gd name="T1" fmla="*/ 0 h 178"/>
                <a:gd name="T2" fmla="*/ 124 w 140"/>
                <a:gd name="T3" fmla="*/ 0 h 178"/>
                <a:gd name="T4" fmla="*/ 102 w 140"/>
                <a:gd name="T5" fmla="*/ 4 h 178"/>
                <a:gd name="T6" fmla="*/ 102 w 140"/>
                <a:gd name="T7" fmla="*/ 4 h 178"/>
                <a:gd name="T8" fmla="*/ 84 w 140"/>
                <a:gd name="T9" fmla="*/ 10 h 178"/>
                <a:gd name="T10" fmla="*/ 68 w 140"/>
                <a:gd name="T11" fmla="*/ 16 h 178"/>
                <a:gd name="T12" fmla="*/ 50 w 140"/>
                <a:gd name="T13" fmla="*/ 26 h 178"/>
                <a:gd name="T14" fmla="*/ 34 w 140"/>
                <a:gd name="T15" fmla="*/ 38 h 178"/>
                <a:gd name="T16" fmla="*/ 34 w 140"/>
                <a:gd name="T17" fmla="*/ 38 h 178"/>
                <a:gd name="T18" fmla="*/ 16 w 140"/>
                <a:gd name="T19" fmla="*/ 56 h 178"/>
                <a:gd name="T20" fmla="*/ 0 w 140"/>
                <a:gd name="T21" fmla="*/ 76 h 178"/>
                <a:gd name="T22" fmla="*/ 0 w 140"/>
                <a:gd name="T23" fmla="*/ 76 h 178"/>
                <a:gd name="T24" fmla="*/ 8 w 140"/>
                <a:gd name="T25" fmla="*/ 94 h 178"/>
                <a:gd name="T26" fmla="*/ 8 w 140"/>
                <a:gd name="T27" fmla="*/ 94 h 178"/>
                <a:gd name="T28" fmla="*/ 28 w 140"/>
                <a:gd name="T29" fmla="*/ 90 h 178"/>
                <a:gd name="T30" fmla="*/ 46 w 140"/>
                <a:gd name="T31" fmla="*/ 88 h 178"/>
                <a:gd name="T32" fmla="*/ 72 w 140"/>
                <a:gd name="T33" fmla="*/ 86 h 178"/>
                <a:gd name="T34" fmla="*/ 72 w 140"/>
                <a:gd name="T35" fmla="*/ 86 h 178"/>
                <a:gd name="T36" fmla="*/ 78 w 140"/>
                <a:gd name="T37" fmla="*/ 86 h 178"/>
                <a:gd name="T38" fmla="*/ 84 w 140"/>
                <a:gd name="T39" fmla="*/ 88 h 178"/>
                <a:gd name="T40" fmla="*/ 86 w 140"/>
                <a:gd name="T41" fmla="*/ 94 h 178"/>
                <a:gd name="T42" fmla="*/ 86 w 140"/>
                <a:gd name="T43" fmla="*/ 94 h 178"/>
                <a:gd name="T44" fmla="*/ 86 w 140"/>
                <a:gd name="T45" fmla="*/ 108 h 178"/>
                <a:gd name="T46" fmla="*/ 86 w 140"/>
                <a:gd name="T47" fmla="*/ 108 h 178"/>
                <a:gd name="T48" fmla="*/ 84 w 140"/>
                <a:gd name="T49" fmla="*/ 136 h 178"/>
                <a:gd name="T50" fmla="*/ 82 w 140"/>
                <a:gd name="T51" fmla="*/ 156 h 178"/>
                <a:gd name="T52" fmla="*/ 78 w 140"/>
                <a:gd name="T53" fmla="*/ 176 h 178"/>
                <a:gd name="T54" fmla="*/ 78 w 140"/>
                <a:gd name="T55" fmla="*/ 176 h 178"/>
                <a:gd name="T56" fmla="*/ 80 w 140"/>
                <a:gd name="T57" fmla="*/ 178 h 178"/>
                <a:gd name="T58" fmla="*/ 80 w 140"/>
                <a:gd name="T59" fmla="*/ 178 h 178"/>
                <a:gd name="T60" fmla="*/ 100 w 140"/>
                <a:gd name="T61" fmla="*/ 170 h 178"/>
                <a:gd name="T62" fmla="*/ 118 w 140"/>
                <a:gd name="T63" fmla="*/ 160 h 178"/>
                <a:gd name="T64" fmla="*/ 118 w 140"/>
                <a:gd name="T65" fmla="*/ 160 h 178"/>
                <a:gd name="T66" fmla="*/ 120 w 140"/>
                <a:gd name="T67" fmla="*/ 156 h 178"/>
                <a:gd name="T68" fmla="*/ 120 w 140"/>
                <a:gd name="T69" fmla="*/ 156 h 178"/>
                <a:gd name="T70" fmla="*/ 132 w 140"/>
                <a:gd name="T71" fmla="*/ 128 h 178"/>
                <a:gd name="T72" fmla="*/ 136 w 140"/>
                <a:gd name="T73" fmla="*/ 112 h 178"/>
                <a:gd name="T74" fmla="*/ 140 w 140"/>
                <a:gd name="T75" fmla="*/ 96 h 178"/>
                <a:gd name="T76" fmla="*/ 140 w 140"/>
                <a:gd name="T77" fmla="*/ 96 h 178"/>
                <a:gd name="T78" fmla="*/ 130 w 140"/>
                <a:gd name="T79" fmla="*/ 70 h 178"/>
                <a:gd name="T80" fmla="*/ 138 w 140"/>
                <a:gd name="T81" fmla="*/ 68 h 178"/>
                <a:gd name="T82" fmla="*/ 138 w 140"/>
                <a:gd name="T83" fmla="*/ 68 h 178"/>
                <a:gd name="T84" fmla="*/ 130 w 140"/>
                <a:gd name="T85" fmla="*/ 70 h 178"/>
                <a:gd name="T86" fmla="*/ 130 w 140"/>
                <a:gd name="T87" fmla="*/ 70 h 178"/>
                <a:gd name="T88" fmla="*/ 124 w 140"/>
                <a:gd name="T89" fmla="*/ 46 h 178"/>
                <a:gd name="T90" fmla="*/ 122 w 140"/>
                <a:gd name="T91" fmla="*/ 20 h 178"/>
                <a:gd name="T92" fmla="*/ 122 w 140"/>
                <a:gd name="T93" fmla="*/ 20 h 178"/>
                <a:gd name="T94" fmla="*/ 124 w 140"/>
                <a:gd name="T9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40" h="178">
                  <a:moveTo>
                    <a:pt x="124" y="0"/>
                  </a:moveTo>
                  <a:lnTo>
                    <a:pt x="124" y="0"/>
                  </a:lnTo>
                  <a:lnTo>
                    <a:pt x="102" y="4"/>
                  </a:lnTo>
                  <a:lnTo>
                    <a:pt x="102" y="4"/>
                  </a:lnTo>
                  <a:lnTo>
                    <a:pt x="84" y="10"/>
                  </a:lnTo>
                  <a:lnTo>
                    <a:pt x="68" y="16"/>
                  </a:lnTo>
                  <a:lnTo>
                    <a:pt x="50" y="26"/>
                  </a:lnTo>
                  <a:lnTo>
                    <a:pt x="34" y="38"/>
                  </a:lnTo>
                  <a:lnTo>
                    <a:pt x="34" y="38"/>
                  </a:lnTo>
                  <a:lnTo>
                    <a:pt x="16" y="56"/>
                  </a:lnTo>
                  <a:lnTo>
                    <a:pt x="0" y="76"/>
                  </a:lnTo>
                  <a:lnTo>
                    <a:pt x="0" y="76"/>
                  </a:lnTo>
                  <a:lnTo>
                    <a:pt x="8" y="94"/>
                  </a:lnTo>
                  <a:lnTo>
                    <a:pt x="8" y="94"/>
                  </a:lnTo>
                  <a:lnTo>
                    <a:pt x="28" y="90"/>
                  </a:lnTo>
                  <a:lnTo>
                    <a:pt x="46" y="88"/>
                  </a:lnTo>
                  <a:lnTo>
                    <a:pt x="72" y="86"/>
                  </a:lnTo>
                  <a:lnTo>
                    <a:pt x="72" y="86"/>
                  </a:lnTo>
                  <a:lnTo>
                    <a:pt x="78" y="86"/>
                  </a:lnTo>
                  <a:lnTo>
                    <a:pt x="84" y="88"/>
                  </a:lnTo>
                  <a:lnTo>
                    <a:pt x="86" y="94"/>
                  </a:lnTo>
                  <a:lnTo>
                    <a:pt x="86" y="94"/>
                  </a:lnTo>
                  <a:lnTo>
                    <a:pt x="86" y="108"/>
                  </a:lnTo>
                  <a:lnTo>
                    <a:pt x="86" y="108"/>
                  </a:lnTo>
                  <a:lnTo>
                    <a:pt x="84" y="136"/>
                  </a:lnTo>
                  <a:lnTo>
                    <a:pt x="82" y="156"/>
                  </a:lnTo>
                  <a:lnTo>
                    <a:pt x="78" y="176"/>
                  </a:lnTo>
                  <a:lnTo>
                    <a:pt x="78" y="176"/>
                  </a:lnTo>
                  <a:lnTo>
                    <a:pt x="80" y="178"/>
                  </a:lnTo>
                  <a:lnTo>
                    <a:pt x="80" y="178"/>
                  </a:lnTo>
                  <a:lnTo>
                    <a:pt x="100" y="170"/>
                  </a:lnTo>
                  <a:lnTo>
                    <a:pt x="118" y="160"/>
                  </a:lnTo>
                  <a:lnTo>
                    <a:pt x="118" y="160"/>
                  </a:lnTo>
                  <a:lnTo>
                    <a:pt x="120" y="156"/>
                  </a:lnTo>
                  <a:lnTo>
                    <a:pt x="120" y="156"/>
                  </a:lnTo>
                  <a:lnTo>
                    <a:pt x="132" y="128"/>
                  </a:lnTo>
                  <a:lnTo>
                    <a:pt x="136" y="112"/>
                  </a:lnTo>
                  <a:lnTo>
                    <a:pt x="140" y="96"/>
                  </a:lnTo>
                  <a:lnTo>
                    <a:pt x="140" y="96"/>
                  </a:lnTo>
                  <a:lnTo>
                    <a:pt x="130" y="70"/>
                  </a:lnTo>
                  <a:lnTo>
                    <a:pt x="138" y="68"/>
                  </a:lnTo>
                  <a:lnTo>
                    <a:pt x="138" y="68"/>
                  </a:lnTo>
                  <a:lnTo>
                    <a:pt x="130" y="70"/>
                  </a:lnTo>
                  <a:lnTo>
                    <a:pt x="130" y="70"/>
                  </a:lnTo>
                  <a:lnTo>
                    <a:pt x="124" y="46"/>
                  </a:lnTo>
                  <a:lnTo>
                    <a:pt x="122" y="20"/>
                  </a:lnTo>
                  <a:lnTo>
                    <a:pt x="122" y="20"/>
                  </a:lnTo>
                  <a:lnTo>
                    <a:pt x="12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46" name="Freeform 2244">
              <a:extLst>
                <a:ext uri="{FF2B5EF4-FFF2-40B4-BE49-F238E27FC236}">
                  <a16:creationId xmlns:a16="http://schemas.microsoft.com/office/drawing/2014/main" id="{2AE46C34-0DCD-437A-8376-D7A15FD92A27}"/>
                </a:ext>
              </a:extLst>
            </p:cNvPr>
            <p:cNvSpPr>
              <a:spLocks/>
            </p:cNvSpPr>
            <p:nvPr/>
          </p:nvSpPr>
          <p:spPr bwMode="auto">
            <a:xfrm>
              <a:off x="9975830" y="3397392"/>
              <a:ext cx="3573" cy="7147"/>
            </a:xfrm>
            <a:custGeom>
              <a:avLst/>
              <a:gdLst>
                <a:gd name="T0" fmla="*/ 0 w 2"/>
                <a:gd name="T1" fmla="*/ 0 h 4"/>
                <a:gd name="T2" fmla="*/ 0 w 2"/>
                <a:gd name="T3" fmla="*/ 0 h 4"/>
                <a:gd name="T4" fmla="*/ 0 w 2"/>
                <a:gd name="T5" fmla="*/ 4 h 4"/>
                <a:gd name="T6" fmla="*/ 0 w 2"/>
                <a:gd name="T7" fmla="*/ 4 h 4"/>
                <a:gd name="T8" fmla="*/ 2 w 2"/>
                <a:gd name="T9" fmla="*/ 2 h 4"/>
                <a:gd name="T10" fmla="*/ 2 w 2"/>
                <a:gd name="T11" fmla="*/ 2 h 4"/>
                <a:gd name="T12" fmla="*/ 0 w 2"/>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 h="4">
                  <a:moveTo>
                    <a:pt x="0" y="0"/>
                  </a:moveTo>
                  <a:lnTo>
                    <a:pt x="0" y="0"/>
                  </a:lnTo>
                  <a:lnTo>
                    <a:pt x="0" y="4"/>
                  </a:lnTo>
                  <a:lnTo>
                    <a:pt x="0" y="4"/>
                  </a:lnTo>
                  <a:lnTo>
                    <a:pt x="2" y="2"/>
                  </a:lnTo>
                  <a:lnTo>
                    <a:pt x="2"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47" name="Freeform 2245">
              <a:extLst>
                <a:ext uri="{FF2B5EF4-FFF2-40B4-BE49-F238E27FC236}">
                  <a16:creationId xmlns:a16="http://schemas.microsoft.com/office/drawing/2014/main" id="{3C2006E7-7A25-4754-9497-9599E26D9297}"/>
                </a:ext>
              </a:extLst>
            </p:cNvPr>
            <p:cNvSpPr>
              <a:spLocks/>
            </p:cNvSpPr>
            <p:nvPr/>
          </p:nvSpPr>
          <p:spPr bwMode="auto">
            <a:xfrm>
              <a:off x="10047298" y="3254457"/>
              <a:ext cx="60747" cy="114348"/>
            </a:xfrm>
            <a:custGeom>
              <a:avLst/>
              <a:gdLst>
                <a:gd name="T0" fmla="*/ 22 w 34"/>
                <a:gd name="T1" fmla="*/ 0 h 64"/>
                <a:gd name="T2" fmla="*/ 22 w 34"/>
                <a:gd name="T3" fmla="*/ 0 h 64"/>
                <a:gd name="T4" fmla="*/ 18 w 34"/>
                <a:gd name="T5" fmla="*/ 16 h 64"/>
                <a:gd name="T6" fmla="*/ 14 w 34"/>
                <a:gd name="T7" fmla="*/ 32 h 64"/>
                <a:gd name="T8" fmla="*/ 2 w 34"/>
                <a:gd name="T9" fmla="*/ 60 h 64"/>
                <a:gd name="T10" fmla="*/ 2 w 34"/>
                <a:gd name="T11" fmla="*/ 60 h 64"/>
                <a:gd name="T12" fmla="*/ 0 w 34"/>
                <a:gd name="T13" fmla="*/ 64 h 64"/>
                <a:gd name="T14" fmla="*/ 0 w 34"/>
                <a:gd name="T15" fmla="*/ 64 h 64"/>
                <a:gd name="T16" fmla="*/ 10 w 34"/>
                <a:gd name="T17" fmla="*/ 56 h 64"/>
                <a:gd name="T18" fmla="*/ 10 w 34"/>
                <a:gd name="T19" fmla="*/ 56 h 64"/>
                <a:gd name="T20" fmla="*/ 10 w 34"/>
                <a:gd name="T21" fmla="*/ 56 h 64"/>
                <a:gd name="T22" fmla="*/ 28 w 34"/>
                <a:gd name="T23" fmla="*/ 38 h 64"/>
                <a:gd name="T24" fmla="*/ 28 w 34"/>
                <a:gd name="T25" fmla="*/ 38 h 64"/>
                <a:gd name="T26" fmla="*/ 34 w 34"/>
                <a:gd name="T27" fmla="*/ 20 h 64"/>
                <a:gd name="T28" fmla="*/ 34 w 34"/>
                <a:gd name="T29" fmla="*/ 20 h 64"/>
                <a:gd name="T30" fmla="*/ 22 w 34"/>
                <a:gd name="T31"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4" h="64">
                  <a:moveTo>
                    <a:pt x="22" y="0"/>
                  </a:moveTo>
                  <a:lnTo>
                    <a:pt x="22" y="0"/>
                  </a:lnTo>
                  <a:lnTo>
                    <a:pt x="18" y="16"/>
                  </a:lnTo>
                  <a:lnTo>
                    <a:pt x="14" y="32"/>
                  </a:lnTo>
                  <a:lnTo>
                    <a:pt x="2" y="60"/>
                  </a:lnTo>
                  <a:lnTo>
                    <a:pt x="2" y="60"/>
                  </a:lnTo>
                  <a:lnTo>
                    <a:pt x="0" y="64"/>
                  </a:lnTo>
                  <a:lnTo>
                    <a:pt x="0" y="64"/>
                  </a:lnTo>
                  <a:lnTo>
                    <a:pt x="10" y="56"/>
                  </a:lnTo>
                  <a:lnTo>
                    <a:pt x="10" y="56"/>
                  </a:lnTo>
                  <a:lnTo>
                    <a:pt x="10" y="56"/>
                  </a:lnTo>
                  <a:lnTo>
                    <a:pt x="28" y="38"/>
                  </a:lnTo>
                  <a:lnTo>
                    <a:pt x="28" y="38"/>
                  </a:lnTo>
                  <a:lnTo>
                    <a:pt x="34" y="20"/>
                  </a:lnTo>
                  <a:lnTo>
                    <a:pt x="34" y="20"/>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48" name="Freeform 2246">
              <a:extLst>
                <a:ext uri="{FF2B5EF4-FFF2-40B4-BE49-F238E27FC236}">
                  <a16:creationId xmlns:a16="http://schemas.microsoft.com/office/drawing/2014/main" id="{72BB0FDF-03D8-4E94-A745-96FE078A5405}"/>
                </a:ext>
              </a:extLst>
            </p:cNvPr>
            <p:cNvSpPr>
              <a:spLocks/>
            </p:cNvSpPr>
            <p:nvPr/>
          </p:nvSpPr>
          <p:spPr bwMode="auto">
            <a:xfrm>
              <a:off x="9818602" y="3218723"/>
              <a:ext cx="32160" cy="39307"/>
            </a:xfrm>
            <a:custGeom>
              <a:avLst/>
              <a:gdLst>
                <a:gd name="T0" fmla="*/ 10 w 18"/>
                <a:gd name="T1" fmla="*/ 0 h 22"/>
                <a:gd name="T2" fmla="*/ 10 w 18"/>
                <a:gd name="T3" fmla="*/ 0 h 22"/>
                <a:gd name="T4" fmla="*/ 0 w 18"/>
                <a:gd name="T5" fmla="*/ 18 h 22"/>
                <a:gd name="T6" fmla="*/ 0 w 18"/>
                <a:gd name="T7" fmla="*/ 18 h 22"/>
                <a:gd name="T8" fmla="*/ 2 w 18"/>
                <a:gd name="T9" fmla="*/ 22 h 22"/>
                <a:gd name="T10" fmla="*/ 2 w 18"/>
                <a:gd name="T11" fmla="*/ 22 h 22"/>
                <a:gd name="T12" fmla="*/ 8 w 18"/>
                <a:gd name="T13" fmla="*/ 20 h 22"/>
                <a:gd name="T14" fmla="*/ 8 w 18"/>
                <a:gd name="T15" fmla="*/ 20 h 22"/>
                <a:gd name="T16" fmla="*/ 18 w 18"/>
                <a:gd name="T17" fmla="*/ 18 h 22"/>
                <a:gd name="T18" fmla="*/ 18 w 18"/>
                <a:gd name="T19" fmla="*/ 18 h 22"/>
                <a:gd name="T20" fmla="*/ 10 w 18"/>
                <a:gd name="T2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 h="22">
                  <a:moveTo>
                    <a:pt x="10" y="0"/>
                  </a:moveTo>
                  <a:lnTo>
                    <a:pt x="10" y="0"/>
                  </a:lnTo>
                  <a:lnTo>
                    <a:pt x="0" y="18"/>
                  </a:lnTo>
                  <a:lnTo>
                    <a:pt x="0" y="18"/>
                  </a:lnTo>
                  <a:lnTo>
                    <a:pt x="2" y="22"/>
                  </a:lnTo>
                  <a:lnTo>
                    <a:pt x="2" y="22"/>
                  </a:lnTo>
                  <a:lnTo>
                    <a:pt x="8" y="20"/>
                  </a:lnTo>
                  <a:lnTo>
                    <a:pt x="8" y="20"/>
                  </a:lnTo>
                  <a:lnTo>
                    <a:pt x="18" y="18"/>
                  </a:lnTo>
                  <a:lnTo>
                    <a:pt x="18" y="18"/>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49" name="Freeform 2248">
              <a:extLst>
                <a:ext uri="{FF2B5EF4-FFF2-40B4-BE49-F238E27FC236}">
                  <a16:creationId xmlns:a16="http://schemas.microsoft.com/office/drawing/2014/main" id="{E836EAE1-B084-4C90-93CA-977EDF304968}"/>
                </a:ext>
              </a:extLst>
            </p:cNvPr>
            <p:cNvSpPr>
              <a:spLocks/>
            </p:cNvSpPr>
            <p:nvPr/>
          </p:nvSpPr>
          <p:spPr bwMode="auto">
            <a:xfrm>
              <a:off x="10083031" y="3075789"/>
              <a:ext cx="107201" cy="196535"/>
            </a:xfrm>
            <a:custGeom>
              <a:avLst/>
              <a:gdLst>
                <a:gd name="T0" fmla="*/ 32 w 60"/>
                <a:gd name="T1" fmla="*/ 0 h 110"/>
                <a:gd name="T2" fmla="*/ 32 w 60"/>
                <a:gd name="T3" fmla="*/ 0 h 110"/>
                <a:gd name="T4" fmla="*/ 32 w 60"/>
                <a:gd name="T5" fmla="*/ 0 h 110"/>
                <a:gd name="T6" fmla="*/ 32 w 60"/>
                <a:gd name="T7" fmla="*/ 0 h 110"/>
                <a:gd name="T8" fmla="*/ 30 w 60"/>
                <a:gd name="T9" fmla="*/ 0 h 110"/>
                <a:gd name="T10" fmla="*/ 30 w 60"/>
                <a:gd name="T11" fmla="*/ 0 h 110"/>
                <a:gd name="T12" fmla="*/ 2 w 60"/>
                <a:gd name="T13" fmla="*/ 2 h 110"/>
                <a:gd name="T14" fmla="*/ 2 w 60"/>
                <a:gd name="T15" fmla="*/ 2 h 110"/>
                <a:gd name="T16" fmla="*/ 0 w 60"/>
                <a:gd name="T17" fmla="*/ 24 h 110"/>
                <a:gd name="T18" fmla="*/ 0 w 60"/>
                <a:gd name="T19" fmla="*/ 24 h 110"/>
                <a:gd name="T20" fmla="*/ 2 w 60"/>
                <a:gd name="T21" fmla="*/ 46 h 110"/>
                <a:gd name="T22" fmla="*/ 8 w 60"/>
                <a:gd name="T23" fmla="*/ 70 h 110"/>
                <a:gd name="T24" fmla="*/ 8 w 60"/>
                <a:gd name="T25" fmla="*/ 70 h 110"/>
                <a:gd name="T26" fmla="*/ 8 w 60"/>
                <a:gd name="T27" fmla="*/ 70 h 110"/>
                <a:gd name="T28" fmla="*/ 16 w 60"/>
                <a:gd name="T29" fmla="*/ 92 h 110"/>
                <a:gd name="T30" fmla="*/ 28 w 60"/>
                <a:gd name="T31" fmla="*/ 110 h 110"/>
                <a:gd name="T32" fmla="*/ 28 w 60"/>
                <a:gd name="T33" fmla="*/ 110 h 110"/>
                <a:gd name="T34" fmla="*/ 40 w 60"/>
                <a:gd name="T35" fmla="*/ 84 h 110"/>
                <a:gd name="T36" fmla="*/ 48 w 60"/>
                <a:gd name="T37" fmla="*/ 58 h 110"/>
                <a:gd name="T38" fmla="*/ 48 w 60"/>
                <a:gd name="T39" fmla="*/ 58 h 110"/>
                <a:gd name="T40" fmla="*/ 56 w 60"/>
                <a:gd name="T41" fmla="*/ 24 h 110"/>
                <a:gd name="T42" fmla="*/ 60 w 60"/>
                <a:gd name="T43" fmla="*/ 2 h 110"/>
                <a:gd name="T44" fmla="*/ 60 w 60"/>
                <a:gd name="T45" fmla="*/ 2 h 110"/>
                <a:gd name="T46" fmla="*/ 58 w 60"/>
                <a:gd name="T47" fmla="*/ 2 h 110"/>
                <a:gd name="T48" fmla="*/ 58 w 60"/>
                <a:gd name="T49" fmla="*/ 2 h 110"/>
                <a:gd name="T50" fmla="*/ 32 w 60"/>
                <a:gd name="T51"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0" h="110">
                  <a:moveTo>
                    <a:pt x="32" y="0"/>
                  </a:moveTo>
                  <a:lnTo>
                    <a:pt x="32" y="0"/>
                  </a:lnTo>
                  <a:lnTo>
                    <a:pt x="32" y="0"/>
                  </a:lnTo>
                  <a:lnTo>
                    <a:pt x="32" y="0"/>
                  </a:lnTo>
                  <a:lnTo>
                    <a:pt x="30" y="0"/>
                  </a:lnTo>
                  <a:lnTo>
                    <a:pt x="30" y="0"/>
                  </a:lnTo>
                  <a:lnTo>
                    <a:pt x="2" y="2"/>
                  </a:lnTo>
                  <a:lnTo>
                    <a:pt x="2" y="2"/>
                  </a:lnTo>
                  <a:lnTo>
                    <a:pt x="0" y="24"/>
                  </a:lnTo>
                  <a:lnTo>
                    <a:pt x="0" y="24"/>
                  </a:lnTo>
                  <a:lnTo>
                    <a:pt x="2" y="46"/>
                  </a:lnTo>
                  <a:lnTo>
                    <a:pt x="8" y="70"/>
                  </a:lnTo>
                  <a:lnTo>
                    <a:pt x="8" y="70"/>
                  </a:lnTo>
                  <a:lnTo>
                    <a:pt x="8" y="70"/>
                  </a:lnTo>
                  <a:lnTo>
                    <a:pt x="16" y="92"/>
                  </a:lnTo>
                  <a:lnTo>
                    <a:pt x="28" y="110"/>
                  </a:lnTo>
                  <a:lnTo>
                    <a:pt x="28" y="110"/>
                  </a:lnTo>
                  <a:lnTo>
                    <a:pt x="40" y="84"/>
                  </a:lnTo>
                  <a:lnTo>
                    <a:pt x="48" y="58"/>
                  </a:lnTo>
                  <a:lnTo>
                    <a:pt x="48" y="58"/>
                  </a:lnTo>
                  <a:lnTo>
                    <a:pt x="56" y="24"/>
                  </a:lnTo>
                  <a:lnTo>
                    <a:pt x="60" y="2"/>
                  </a:lnTo>
                  <a:lnTo>
                    <a:pt x="60" y="2"/>
                  </a:lnTo>
                  <a:lnTo>
                    <a:pt x="58" y="2"/>
                  </a:lnTo>
                  <a:lnTo>
                    <a:pt x="58" y="2"/>
                  </a:lnTo>
                  <a:lnTo>
                    <a:pt x="3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50" name="Freeform 2250">
              <a:extLst>
                <a:ext uri="{FF2B5EF4-FFF2-40B4-BE49-F238E27FC236}">
                  <a16:creationId xmlns:a16="http://schemas.microsoft.com/office/drawing/2014/main" id="{533F97B9-2F78-4225-8F24-4173D02FBAFC}"/>
                </a:ext>
              </a:extLst>
            </p:cNvPr>
            <p:cNvSpPr>
              <a:spLocks/>
            </p:cNvSpPr>
            <p:nvPr/>
          </p:nvSpPr>
          <p:spPr bwMode="auto">
            <a:xfrm>
              <a:off x="10054444" y="3079362"/>
              <a:ext cx="78614" cy="221549"/>
            </a:xfrm>
            <a:custGeom>
              <a:avLst/>
              <a:gdLst>
                <a:gd name="T0" fmla="*/ 18 w 44"/>
                <a:gd name="T1" fmla="*/ 0 h 124"/>
                <a:gd name="T2" fmla="*/ 18 w 44"/>
                <a:gd name="T3" fmla="*/ 0 h 124"/>
                <a:gd name="T4" fmla="*/ 2 w 44"/>
                <a:gd name="T5" fmla="*/ 2 h 124"/>
                <a:gd name="T6" fmla="*/ 2 w 44"/>
                <a:gd name="T7" fmla="*/ 2 h 124"/>
                <a:gd name="T8" fmla="*/ 0 w 44"/>
                <a:gd name="T9" fmla="*/ 22 h 124"/>
                <a:gd name="T10" fmla="*/ 0 w 44"/>
                <a:gd name="T11" fmla="*/ 22 h 124"/>
                <a:gd name="T12" fmla="*/ 2 w 44"/>
                <a:gd name="T13" fmla="*/ 48 h 124"/>
                <a:gd name="T14" fmla="*/ 8 w 44"/>
                <a:gd name="T15" fmla="*/ 72 h 124"/>
                <a:gd name="T16" fmla="*/ 16 w 44"/>
                <a:gd name="T17" fmla="*/ 70 h 124"/>
                <a:gd name="T18" fmla="*/ 24 w 44"/>
                <a:gd name="T19" fmla="*/ 68 h 124"/>
                <a:gd name="T20" fmla="*/ 16 w 44"/>
                <a:gd name="T21" fmla="*/ 70 h 124"/>
                <a:gd name="T22" fmla="*/ 8 w 44"/>
                <a:gd name="T23" fmla="*/ 72 h 124"/>
                <a:gd name="T24" fmla="*/ 8 w 44"/>
                <a:gd name="T25" fmla="*/ 72 h 124"/>
                <a:gd name="T26" fmla="*/ 18 w 44"/>
                <a:gd name="T27" fmla="*/ 98 h 124"/>
                <a:gd name="T28" fmla="*/ 18 w 44"/>
                <a:gd name="T29" fmla="*/ 98 h 124"/>
                <a:gd name="T30" fmla="*/ 30 w 44"/>
                <a:gd name="T31" fmla="*/ 118 h 124"/>
                <a:gd name="T32" fmla="*/ 30 w 44"/>
                <a:gd name="T33" fmla="*/ 118 h 124"/>
                <a:gd name="T34" fmla="*/ 34 w 44"/>
                <a:gd name="T35" fmla="*/ 124 h 124"/>
                <a:gd name="T36" fmla="*/ 34 w 44"/>
                <a:gd name="T37" fmla="*/ 124 h 124"/>
                <a:gd name="T38" fmla="*/ 44 w 44"/>
                <a:gd name="T39" fmla="*/ 108 h 124"/>
                <a:gd name="T40" fmla="*/ 44 w 44"/>
                <a:gd name="T41" fmla="*/ 108 h 124"/>
                <a:gd name="T42" fmla="*/ 32 w 44"/>
                <a:gd name="T43" fmla="*/ 90 h 124"/>
                <a:gd name="T44" fmla="*/ 24 w 44"/>
                <a:gd name="T45" fmla="*/ 68 h 124"/>
                <a:gd name="T46" fmla="*/ 24 w 44"/>
                <a:gd name="T47" fmla="*/ 68 h 124"/>
                <a:gd name="T48" fmla="*/ 24 w 44"/>
                <a:gd name="T49" fmla="*/ 68 h 124"/>
                <a:gd name="T50" fmla="*/ 18 w 44"/>
                <a:gd name="T51" fmla="*/ 44 h 124"/>
                <a:gd name="T52" fmla="*/ 16 w 44"/>
                <a:gd name="T53" fmla="*/ 22 h 124"/>
                <a:gd name="T54" fmla="*/ 16 w 44"/>
                <a:gd name="T55" fmla="*/ 22 h 124"/>
                <a:gd name="T56" fmla="*/ 18 w 44"/>
                <a:gd name="T57" fmla="*/ 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4" h="124">
                  <a:moveTo>
                    <a:pt x="18" y="0"/>
                  </a:moveTo>
                  <a:lnTo>
                    <a:pt x="18" y="0"/>
                  </a:lnTo>
                  <a:lnTo>
                    <a:pt x="2" y="2"/>
                  </a:lnTo>
                  <a:lnTo>
                    <a:pt x="2" y="2"/>
                  </a:lnTo>
                  <a:lnTo>
                    <a:pt x="0" y="22"/>
                  </a:lnTo>
                  <a:lnTo>
                    <a:pt x="0" y="22"/>
                  </a:lnTo>
                  <a:lnTo>
                    <a:pt x="2" y="48"/>
                  </a:lnTo>
                  <a:lnTo>
                    <a:pt x="8" y="72"/>
                  </a:lnTo>
                  <a:lnTo>
                    <a:pt x="16" y="70"/>
                  </a:lnTo>
                  <a:lnTo>
                    <a:pt x="24" y="68"/>
                  </a:lnTo>
                  <a:lnTo>
                    <a:pt x="16" y="70"/>
                  </a:lnTo>
                  <a:lnTo>
                    <a:pt x="8" y="72"/>
                  </a:lnTo>
                  <a:lnTo>
                    <a:pt x="8" y="72"/>
                  </a:lnTo>
                  <a:lnTo>
                    <a:pt x="18" y="98"/>
                  </a:lnTo>
                  <a:lnTo>
                    <a:pt x="18" y="98"/>
                  </a:lnTo>
                  <a:lnTo>
                    <a:pt x="30" y="118"/>
                  </a:lnTo>
                  <a:lnTo>
                    <a:pt x="30" y="118"/>
                  </a:lnTo>
                  <a:lnTo>
                    <a:pt x="34" y="124"/>
                  </a:lnTo>
                  <a:lnTo>
                    <a:pt x="34" y="124"/>
                  </a:lnTo>
                  <a:lnTo>
                    <a:pt x="44" y="108"/>
                  </a:lnTo>
                  <a:lnTo>
                    <a:pt x="44" y="108"/>
                  </a:lnTo>
                  <a:lnTo>
                    <a:pt x="32" y="90"/>
                  </a:lnTo>
                  <a:lnTo>
                    <a:pt x="24" y="68"/>
                  </a:lnTo>
                  <a:lnTo>
                    <a:pt x="24" y="68"/>
                  </a:lnTo>
                  <a:lnTo>
                    <a:pt x="24" y="68"/>
                  </a:lnTo>
                  <a:lnTo>
                    <a:pt x="18" y="44"/>
                  </a:lnTo>
                  <a:lnTo>
                    <a:pt x="16" y="22"/>
                  </a:lnTo>
                  <a:lnTo>
                    <a:pt x="16" y="22"/>
                  </a:lnTo>
                  <a:lnTo>
                    <a:pt x="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51" name="Freeform 2252">
              <a:extLst>
                <a:ext uri="{FF2B5EF4-FFF2-40B4-BE49-F238E27FC236}">
                  <a16:creationId xmlns:a16="http://schemas.microsoft.com/office/drawing/2014/main" id="{A720D14B-2539-4DE2-A05D-F5271DD26D51}"/>
                </a:ext>
              </a:extLst>
            </p:cNvPr>
            <p:cNvSpPr>
              <a:spLocks/>
            </p:cNvSpPr>
            <p:nvPr/>
          </p:nvSpPr>
          <p:spPr bwMode="auto">
            <a:xfrm>
              <a:off x="9772148" y="3265177"/>
              <a:ext cx="189389" cy="160802"/>
            </a:xfrm>
            <a:custGeom>
              <a:avLst/>
              <a:gdLst>
                <a:gd name="T0" fmla="*/ 106 w 106"/>
                <a:gd name="T1" fmla="*/ 0 h 90"/>
                <a:gd name="T2" fmla="*/ 106 w 106"/>
                <a:gd name="T3" fmla="*/ 0 h 90"/>
                <a:gd name="T4" fmla="*/ 78 w 106"/>
                <a:gd name="T5" fmla="*/ 2 h 90"/>
                <a:gd name="T6" fmla="*/ 60 w 106"/>
                <a:gd name="T7" fmla="*/ 4 h 90"/>
                <a:gd name="T8" fmla="*/ 38 w 106"/>
                <a:gd name="T9" fmla="*/ 10 h 90"/>
                <a:gd name="T10" fmla="*/ 38 w 106"/>
                <a:gd name="T11" fmla="*/ 10 h 90"/>
                <a:gd name="T12" fmla="*/ 18 w 106"/>
                <a:gd name="T13" fmla="*/ 16 h 90"/>
                <a:gd name="T14" fmla="*/ 18 w 106"/>
                <a:gd name="T15" fmla="*/ 16 h 90"/>
                <a:gd name="T16" fmla="*/ 12 w 106"/>
                <a:gd name="T17" fmla="*/ 34 h 90"/>
                <a:gd name="T18" fmla="*/ 12 w 106"/>
                <a:gd name="T19" fmla="*/ 34 h 90"/>
                <a:gd name="T20" fmla="*/ 4 w 106"/>
                <a:gd name="T21" fmla="*/ 66 h 90"/>
                <a:gd name="T22" fmla="*/ 0 w 106"/>
                <a:gd name="T23" fmla="*/ 90 h 90"/>
                <a:gd name="T24" fmla="*/ 0 w 106"/>
                <a:gd name="T25" fmla="*/ 90 h 90"/>
                <a:gd name="T26" fmla="*/ 4 w 106"/>
                <a:gd name="T27" fmla="*/ 90 h 90"/>
                <a:gd name="T28" fmla="*/ 4 w 106"/>
                <a:gd name="T29" fmla="*/ 90 h 90"/>
                <a:gd name="T30" fmla="*/ 12 w 106"/>
                <a:gd name="T31" fmla="*/ 90 h 90"/>
                <a:gd name="T32" fmla="*/ 26 w 106"/>
                <a:gd name="T33" fmla="*/ 52 h 90"/>
                <a:gd name="T34" fmla="*/ 94 w 106"/>
                <a:gd name="T35" fmla="*/ 78 h 90"/>
                <a:gd name="T36" fmla="*/ 92 w 106"/>
                <a:gd name="T37" fmla="*/ 84 h 90"/>
                <a:gd name="T38" fmla="*/ 92 w 106"/>
                <a:gd name="T39" fmla="*/ 84 h 90"/>
                <a:gd name="T40" fmla="*/ 96 w 106"/>
                <a:gd name="T41" fmla="*/ 82 h 90"/>
                <a:gd name="T42" fmla="*/ 96 w 106"/>
                <a:gd name="T43" fmla="*/ 82 h 90"/>
                <a:gd name="T44" fmla="*/ 96 w 106"/>
                <a:gd name="T45" fmla="*/ 82 h 90"/>
                <a:gd name="T46" fmla="*/ 96 w 106"/>
                <a:gd name="T47" fmla="*/ 82 h 90"/>
                <a:gd name="T48" fmla="*/ 98 w 106"/>
                <a:gd name="T49" fmla="*/ 76 h 90"/>
                <a:gd name="T50" fmla="*/ 98 w 106"/>
                <a:gd name="T51" fmla="*/ 76 h 90"/>
                <a:gd name="T52" fmla="*/ 102 w 106"/>
                <a:gd name="T53" fmla="*/ 56 h 90"/>
                <a:gd name="T54" fmla="*/ 104 w 106"/>
                <a:gd name="T55" fmla="*/ 36 h 90"/>
                <a:gd name="T56" fmla="*/ 106 w 106"/>
                <a:gd name="T57" fmla="*/ 6 h 90"/>
                <a:gd name="T58" fmla="*/ 106 w 106"/>
                <a:gd name="T59" fmla="*/ 6 h 90"/>
                <a:gd name="T60" fmla="*/ 106 w 106"/>
                <a:gd name="T61" fmla="*/ 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6" h="90">
                  <a:moveTo>
                    <a:pt x="106" y="0"/>
                  </a:moveTo>
                  <a:lnTo>
                    <a:pt x="106" y="0"/>
                  </a:lnTo>
                  <a:lnTo>
                    <a:pt x="78" y="2"/>
                  </a:lnTo>
                  <a:lnTo>
                    <a:pt x="60" y="4"/>
                  </a:lnTo>
                  <a:lnTo>
                    <a:pt x="38" y="10"/>
                  </a:lnTo>
                  <a:lnTo>
                    <a:pt x="38" y="10"/>
                  </a:lnTo>
                  <a:lnTo>
                    <a:pt x="18" y="16"/>
                  </a:lnTo>
                  <a:lnTo>
                    <a:pt x="18" y="16"/>
                  </a:lnTo>
                  <a:lnTo>
                    <a:pt x="12" y="34"/>
                  </a:lnTo>
                  <a:lnTo>
                    <a:pt x="12" y="34"/>
                  </a:lnTo>
                  <a:lnTo>
                    <a:pt x="4" y="66"/>
                  </a:lnTo>
                  <a:lnTo>
                    <a:pt x="0" y="90"/>
                  </a:lnTo>
                  <a:lnTo>
                    <a:pt x="0" y="90"/>
                  </a:lnTo>
                  <a:lnTo>
                    <a:pt x="4" y="90"/>
                  </a:lnTo>
                  <a:lnTo>
                    <a:pt x="4" y="90"/>
                  </a:lnTo>
                  <a:lnTo>
                    <a:pt x="12" y="90"/>
                  </a:lnTo>
                  <a:lnTo>
                    <a:pt x="26" y="52"/>
                  </a:lnTo>
                  <a:lnTo>
                    <a:pt x="94" y="78"/>
                  </a:lnTo>
                  <a:lnTo>
                    <a:pt x="92" y="84"/>
                  </a:lnTo>
                  <a:lnTo>
                    <a:pt x="92" y="84"/>
                  </a:lnTo>
                  <a:lnTo>
                    <a:pt x="96" y="82"/>
                  </a:lnTo>
                  <a:lnTo>
                    <a:pt x="96" y="82"/>
                  </a:lnTo>
                  <a:lnTo>
                    <a:pt x="96" y="82"/>
                  </a:lnTo>
                  <a:lnTo>
                    <a:pt x="96" y="82"/>
                  </a:lnTo>
                  <a:lnTo>
                    <a:pt x="98" y="76"/>
                  </a:lnTo>
                  <a:lnTo>
                    <a:pt x="98" y="76"/>
                  </a:lnTo>
                  <a:lnTo>
                    <a:pt x="102" y="56"/>
                  </a:lnTo>
                  <a:lnTo>
                    <a:pt x="104" y="36"/>
                  </a:lnTo>
                  <a:lnTo>
                    <a:pt x="106" y="6"/>
                  </a:lnTo>
                  <a:lnTo>
                    <a:pt x="106" y="6"/>
                  </a:lnTo>
                  <a:lnTo>
                    <a:pt x="10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52" name="Freeform 2254">
              <a:extLst>
                <a:ext uri="{FF2B5EF4-FFF2-40B4-BE49-F238E27FC236}">
                  <a16:creationId xmlns:a16="http://schemas.microsoft.com/office/drawing/2014/main" id="{AABA444F-3C65-4412-99E3-F74C279B643E}"/>
                </a:ext>
              </a:extLst>
            </p:cNvPr>
            <p:cNvSpPr>
              <a:spLocks/>
            </p:cNvSpPr>
            <p:nvPr/>
          </p:nvSpPr>
          <p:spPr bwMode="auto">
            <a:xfrm>
              <a:off x="9804308" y="3236590"/>
              <a:ext cx="185815" cy="175095"/>
            </a:xfrm>
            <a:custGeom>
              <a:avLst/>
              <a:gdLst>
                <a:gd name="T0" fmla="*/ 90 w 104"/>
                <a:gd name="T1" fmla="*/ 0 h 98"/>
                <a:gd name="T2" fmla="*/ 90 w 104"/>
                <a:gd name="T3" fmla="*/ 0 h 98"/>
                <a:gd name="T4" fmla="*/ 64 w 104"/>
                <a:gd name="T5" fmla="*/ 2 h 98"/>
                <a:gd name="T6" fmla="*/ 46 w 104"/>
                <a:gd name="T7" fmla="*/ 4 h 98"/>
                <a:gd name="T8" fmla="*/ 26 w 104"/>
                <a:gd name="T9" fmla="*/ 8 h 98"/>
                <a:gd name="T10" fmla="*/ 26 w 104"/>
                <a:gd name="T11" fmla="*/ 8 h 98"/>
                <a:gd name="T12" fmla="*/ 16 w 104"/>
                <a:gd name="T13" fmla="*/ 10 h 98"/>
                <a:gd name="T14" fmla="*/ 16 w 104"/>
                <a:gd name="T15" fmla="*/ 10 h 98"/>
                <a:gd name="T16" fmla="*/ 10 w 104"/>
                <a:gd name="T17" fmla="*/ 12 h 98"/>
                <a:gd name="T18" fmla="*/ 10 w 104"/>
                <a:gd name="T19" fmla="*/ 12 h 98"/>
                <a:gd name="T20" fmla="*/ 6 w 104"/>
                <a:gd name="T21" fmla="*/ 12 h 98"/>
                <a:gd name="T22" fmla="*/ 6 w 104"/>
                <a:gd name="T23" fmla="*/ 12 h 98"/>
                <a:gd name="T24" fmla="*/ 0 w 104"/>
                <a:gd name="T25" fmla="*/ 32 h 98"/>
                <a:gd name="T26" fmla="*/ 0 w 104"/>
                <a:gd name="T27" fmla="*/ 32 h 98"/>
                <a:gd name="T28" fmla="*/ 20 w 104"/>
                <a:gd name="T29" fmla="*/ 26 h 98"/>
                <a:gd name="T30" fmla="*/ 20 w 104"/>
                <a:gd name="T31" fmla="*/ 26 h 98"/>
                <a:gd name="T32" fmla="*/ 42 w 104"/>
                <a:gd name="T33" fmla="*/ 20 h 98"/>
                <a:gd name="T34" fmla="*/ 60 w 104"/>
                <a:gd name="T35" fmla="*/ 18 h 98"/>
                <a:gd name="T36" fmla="*/ 88 w 104"/>
                <a:gd name="T37" fmla="*/ 16 h 98"/>
                <a:gd name="T38" fmla="*/ 88 w 104"/>
                <a:gd name="T39" fmla="*/ 16 h 98"/>
                <a:gd name="T40" fmla="*/ 88 w 104"/>
                <a:gd name="T41" fmla="*/ 22 h 98"/>
                <a:gd name="T42" fmla="*/ 88 w 104"/>
                <a:gd name="T43" fmla="*/ 22 h 98"/>
                <a:gd name="T44" fmla="*/ 86 w 104"/>
                <a:gd name="T45" fmla="*/ 52 h 98"/>
                <a:gd name="T46" fmla="*/ 84 w 104"/>
                <a:gd name="T47" fmla="*/ 72 h 98"/>
                <a:gd name="T48" fmla="*/ 80 w 104"/>
                <a:gd name="T49" fmla="*/ 92 h 98"/>
                <a:gd name="T50" fmla="*/ 80 w 104"/>
                <a:gd name="T51" fmla="*/ 92 h 98"/>
                <a:gd name="T52" fmla="*/ 78 w 104"/>
                <a:gd name="T53" fmla="*/ 98 h 98"/>
                <a:gd name="T54" fmla="*/ 78 w 104"/>
                <a:gd name="T55" fmla="*/ 98 h 98"/>
                <a:gd name="T56" fmla="*/ 96 w 104"/>
                <a:gd name="T57" fmla="*/ 94 h 98"/>
                <a:gd name="T58" fmla="*/ 96 w 104"/>
                <a:gd name="T59" fmla="*/ 94 h 98"/>
                <a:gd name="T60" fmla="*/ 96 w 104"/>
                <a:gd name="T61" fmla="*/ 90 h 98"/>
                <a:gd name="T62" fmla="*/ 96 w 104"/>
                <a:gd name="T63" fmla="*/ 90 h 98"/>
                <a:gd name="T64" fmla="*/ 100 w 104"/>
                <a:gd name="T65" fmla="*/ 70 h 98"/>
                <a:gd name="T66" fmla="*/ 102 w 104"/>
                <a:gd name="T67" fmla="*/ 50 h 98"/>
                <a:gd name="T68" fmla="*/ 104 w 104"/>
                <a:gd name="T69" fmla="*/ 22 h 98"/>
                <a:gd name="T70" fmla="*/ 104 w 104"/>
                <a:gd name="T71" fmla="*/ 22 h 98"/>
                <a:gd name="T72" fmla="*/ 104 w 104"/>
                <a:gd name="T73" fmla="*/ 8 h 98"/>
                <a:gd name="T74" fmla="*/ 102 w 104"/>
                <a:gd name="T75" fmla="*/ 2 h 98"/>
                <a:gd name="T76" fmla="*/ 96 w 104"/>
                <a:gd name="T77" fmla="*/ 0 h 98"/>
                <a:gd name="T78" fmla="*/ 96 w 104"/>
                <a:gd name="T79" fmla="*/ 0 h 98"/>
                <a:gd name="T80" fmla="*/ 90 w 104"/>
                <a:gd name="T81" fmla="*/ 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4" h="98">
                  <a:moveTo>
                    <a:pt x="90" y="0"/>
                  </a:moveTo>
                  <a:lnTo>
                    <a:pt x="90" y="0"/>
                  </a:lnTo>
                  <a:lnTo>
                    <a:pt x="64" y="2"/>
                  </a:lnTo>
                  <a:lnTo>
                    <a:pt x="46" y="4"/>
                  </a:lnTo>
                  <a:lnTo>
                    <a:pt x="26" y="8"/>
                  </a:lnTo>
                  <a:lnTo>
                    <a:pt x="26" y="8"/>
                  </a:lnTo>
                  <a:lnTo>
                    <a:pt x="16" y="10"/>
                  </a:lnTo>
                  <a:lnTo>
                    <a:pt x="16" y="10"/>
                  </a:lnTo>
                  <a:lnTo>
                    <a:pt x="10" y="12"/>
                  </a:lnTo>
                  <a:lnTo>
                    <a:pt x="10" y="12"/>
                  </a:lnTo>
                  <a:lnTo>
                    <a:pt x="6" y="12"/>
                  </a:lnTo>
                  <a:lnTo>
                    <a:pt x="6" y="12"/>
                  </a:lnTo>
                  <a:lnTo>
                    <a:pt x="0" y="32"/>
                  </a:lnTo>
                  <a:lnTo>
                    <a:pt x="0" y="32"/>
                  </a:lnTo>
                  <a:lnTo>
                    <a:pt x="20" y="26"/>
                  </a:lnTo>
                  <a:lnTo>
                    <a:pt x="20" y="26"/>
                  </a:lnTo>
                  <a:lnTo>
                    <a:pt x="42" y="20"/>
                  </a:lnTo>
                  <a:lnTo>
                    <a:pt x="60" y="18"/>
                  </a:lnTo>
                  <a:lnTo>
                    <a:pt x="88" y="16"/>
                  </a:lnTo>
                  <a:lnTo>
                    <a:pt x="88" y="16"/>
                  </a:lnTo>
                  <a:lnTo>
                    <a:pt x="88" y="22"/>
                  </a:lnTo>
                  <a:lnTo>
                    <a:pt x="88" y="22"/>
                  </a:lnTo>
                  <a:lnTo>
                    <a:pt x="86" y="52"/>
                  </a:lnTo>
                  <a:lnTo>
                    <a:pt x="84" y="72"/>
                  </a:lnTo>
                  <a:lnTo>
                    <a:pt x="80" y="92"/>
                  </a:lnTo>
                  <a:lnTo>
                    <a:pt x="80" y="92"/>
                  </a:lnTo>
                  <a:lnTo>
                    <a:pt x="78" y="98"/>
                  </a:lnTo>
                  <a:lnTo>
                    <a:pt x="78" y="98"/>
                  </a:lnTo>
                  <a:lnTo>
                    <a:pt x="96" y="94"/>
                  </a:lnTo>
                  <a:lnTo>
                    <a:pt x="96" y="94"/>
                  </a:lnTo>
                  <a:lnTo>
                    <a:pt x="96" y="90"/>
                  </a:lnTo>
                  <a:lnTo>
                    <a:pt x="96" y="90"/>
                  </a:lnTo>
                  <a:lnTo>
                    <a:pt x="100" y="70"/>
                  </a:lnTo>
                  <a:lnTo>
                    <a:pt x="102" y="50"/>
                  </a:lnTo>
                  <a:lnTo>
                    <a:pt x="104" y="22"/>
                  </a:lnTo>
                  <a:lnTo>
                    <a:pt x="104" y="22"/>
                  </a:lnTo>
                  <a:lnTo>
                    <a:pt x="104" y="8"/>
                  </a:lnTo>
                  <a:lnTo>
                    <a:pt x="102" y="2"/>
                  </a:lnTo>
                  <a:lnTo>
                    <a:pt x="96" y="0"/>
                  </a:lnTo>
                  <a:lnTo>
                    <a:pt x="96" y="0"/>
                  </a:lnTo>
                  <a:lnTo>
                    <a:pt x="9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53" name="Freeform 2255">
              <a:extLst>
                <a:ext uri="{FF2B5EF4-FFF2-40B4-BE49-F238E27FC236}">
                  <a16:creationId xmlns:a16="http://schemas.microsoft.com/office/drawing/2014/main" id="{C4CB750C-5E39-4533-9F68-7C0B13E19FF9}"/>
                </a:ext>
              </a:extLst>
            </p:cNvPr>
            <p:cNvSpPr>
              <a:spLocks/>
            </p:cNvSpPr>
            <p:nvPr/>
          </p:nvSpPr>
          <p:spPr bwMode="auto">
            <a:xfrm>
              <a:off x="9825749" y="3393819"/>
              <a:ext cx="78614" cy="32160"/>
            </a:xfrm>
            <a:custGeom>
              <a:avLst/>
              <a:gdLst>
                <a:gd name="T0" fmla="*/ 6 w 44"/>
                <a:gd name="T1" fmla="*/ 0 h 18"/>
                <a:gd name="T2" fmla="*/ 0 w 44"/>
                <a:gd name="T3" fmla="*/ 18 h 18"/>
                <a:gd name="T4" fmla="*/ 0 w 44"/>
                <a:gd name="T5" fmla="*/ 18 h 18"/>
                <a:gd name="T6" fmla="*/ 20 w 44"/>
                <a:gd name="T7" fmla="*/ 18 h 18"/>
                <a:gd name="T8" fmla="*/ 44 w 44"/>
                <a:gd name="T9" fmla="*/ 16 h 18"/>
                <a:gd name="T10" fmla="*/ 6 w 44"/>
                <a:gd name="T11" fmla="*/ 0 h 18"/>
              </a:gdLst>
              <a:ahLst/>
              <a:cxnLst>
                <a:cxn ang="0">
                  <a:pos x="T0" y="T1"/>
                </a:cxn>
                <a:cxn ang="0">
                  <a:pos x="T2" y="T3"/>
                </a:cxn>
                <a:cxn ang="0">
                  <a:pos x="T4" y="T5"/>
                </a:cxn>
                <a:cxn ang="0">
                  <a:pos x="T6" y="T7"/>
                </a:cxn>
                <a:cxn ang="0">
                  <a:pos x="T8" y="T9"/>
                </a:cxn>
                <a:cxn ang="0">
                  <a:pos x="T10" y="T11"/>
                </a:cxn>
              </a:cxnLst>
              <a:rect l="0" t="0" r="r" b="b"/>
              <a:pathLst>
                <a:path w="44" h="18">
                  <a:moveTo>
                    <a:pt x="6" y="0"/>
                  </a:moveTo>
                  <a:lnTo>
                    <a:pt x="0" y="18"/>
                  </a:lnTo>
                  <a:lnTo>
                    <a:pt x="0" y="18"/>
                  </a:lnTo>
                  <a:lnTo>
                    <a:pt x="20" y="18"/>
                  </a:lnTo>
                  <a:lnTo>
                    <a:pt x="44" y="16"/>
                  </a:lnTo>
                  <a:lnTo>
                    <a:pt x="6" y="0"/>
                  </a:lnTo>
                  <a:close/>
                </a:path>
              </a:pathLst>
            </a:custGeom>
            <a:solidFill>
              <a:srgbClr val="B06B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54" name="Freeform 2256">
              <a:extLst>
                <a:ext uri="{FF2B5EF4-FFF2-40B4-BE49-F238E27FC236}">
                  <a16:creationId xmlns:a16="http://schemas.microsoft.com/office/drawing/2014/main" id="{A622FA98-FBA8-4A29-88B6-1A763FDDA8DD}"/>
                </a:ext>
              </a:extLst>
            </p:cNvPr>
            <p:cNvSpPr>
              <a:spLocks/>
            </p:cNvSpPr>
            <p:nvPr/>
          </p:nvSpPr>
          <p:spPr bwMode="auto">
            <a:xfrm>
              <a:off x="9825749" y="3393819"/>
              <a:ext cx="78614" cy="32160"/>
            </a:xfrm>
            <a:custGeom>
              <a:avLst/>
              <a:gdLst>
                <a:gd name="T0" fmla="*/ 6 w 44"/>
                <a:gd name="T1" fmla="*/ 0 h 18"/>
                <a:gd name="T2" fmla="*/ 0 w 44"/>
                <a:gd name="T3" fmla="*/ 18 h 18"/>
                <a:gd name="T4" fmla="*/ 0 w 44"/>
                <a:gd name="T5" fmla="*/ 18 h 18"/>
                <a:gd name="T6" fmla="*/ 20 w 44"/>
                <a:gd name="T7" fmla="*/ 18 h 18"/>
                <a:gd name="T8" fmla="*/ 44 w 44"/>
                <a:gd name="T9" fmla="*/ 16 h 18"/>
                <a:gd name="T10" fmla="*/ 6 w 44"/>
                <a:gd name="T11" fmla="*/ 0 h 18"/>
              </a:gdLst>
              <a:ahLst/>
              <a:cxnLst>
                <a:cxn ang="0">
                  <a:pos x="T0" y="T1"/>
                </a:cxn>
                <a:cxn ang="0">
                  <a:pos x="T2" y="T3"/>
                </a:cxn>
                <a:cxn ang="0">
                  <a:pos x="T4" y="T5"/>
                </a:cxn>
                <a:cxn ang="0">
                  <a:pos x="T6" y="T7"/>
                </a:cxn>
                <a:cxn ang="0">
                  <a:pos x="T8" y="T9"/>
                </a:cxn>
                <a:cxn ang="0">
                  <a:pos x="T10" y="T11"/>
                </a:cxn>
              </a:cxnLst>
              <a:rect l="0" t="0" r="r" b="b"/>
              <a:pathLst>
                <a:path w="44" h="18">
                  <a:moveTo>
                    <a:pt x="6" y="0"/>
                  </a:moveTo>
                  <a:lnTo>
                    <a:pt x="0" y="18"/>
                  </a:lnTo>
                  <a:lnTo>
                    <a:pt x="0" y="18"/>
                  </a:lnTo>
                  <a:lnTo>
                    <a:pt x="20" y="18"/>
                  </a:lnTo>
                  <a:lnTo>
                    <a:pt x="44" y="16"/>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55" name="Freeform 2257">
              <a:extLst>
                <a:ext uri="{FF2B5EF4-FFF2-40B4-BE49-F238E27FC236}">
                  <a16:creationId xmlns:a16="http://schemas.microsoft.com/office/drawing/2014/main" id="{8DE70A29-E764-4937-889D-84A2A18803C2}"/>
                </a:ext>
              </a:extLst>
            </p:cNvPr>
            <p:cNvSpPr>
              <a:spLocks/>
            </p:cNvSpPr>
            <p:nvPr/>
          </p:nvSpPr>
          <p:spPr bwMode="auto">
            <a:xfrm>
              <a:off x="9793588" y="3358085"/>
              <a:ext cx="146508" cy="67894"/>
            </a:xfrm>
            <a:custGeom>
              <a:avLst/>
              <a:gdLst>
                <a:gd name="T0" fmla="*/ 14 w 82"/>
                <a:gd name="T1" fmla="*/ 0 h 38"/>
                <a:gd name="T2" fmla="*/ 0 w 82"/>
                <a:gd name="T3" fmla="*/ 38 h 38"/>
                <a:gd name="T4" fmla="*/ 0 w 82"/>
                <a:gd name="T5" fmla="*/ 38 h 38"/>
                <a:gd name="T6" fmla="*/ 18 w 82"/>
                <a:gd name="T7" fmla="*/ 38 h 38"/>
                <a:gd name="T8" fmla="*/ 18 w 82"/>
                <a:gd name="T9" fmla="*/ 38 h 38"/>
                <a:gd name="T10" fmla="*/ 18 w 82"/>
                <a:gd name="T11" fmla="*/ 38 h 38"/>
                <a:gd name="T12" fmla="*/ 24 w 82"/>
                <a:gd name="T13" fmla="*/ 20 h 38"/>
                <a:gd name="T14" fmla="*/ 62 w 82"/>
                <a:gd name="T15" fmla="*/ 36 h 38"/>
                <a:gd name="T16" fmla="*/ 62 w 82"/>
                <a:gd name="T17" fmla="*/ 36 h 38"/>
                <a:gd name="T18" fmla="*/ 80 w 82"/>
                <a:gd name="T19" fmla="*/ 32 h 38"/>
                <a:gd name="T20" fmla="*/ 82 w 82"/>
                <a:gd name="T21" fmla="*/ 26 h 38"/>
                <a:gd name="T22" fmla="*/ 14 w 82"/>
                <a:gd name="T23"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2" h="38">
                  <a:moveTo>
                    <a:pt x="14" y="0"/>
                  </a:moveTo>
                  <a:lnTo>
                    <a:pt x="0" y="38"/>
                  </a:lnTo>
                  <a:lnTo>
                    <a:pt x="0" y="38"/>
                  </a:lnTo>
                  <a:lnTo>
                    <a:pt x="18" y="38"/>
                  </a:lnTo>
                  <a:lnTo>
                    <a:pt x="18" y="38"/>
                  </a:lnTo>
                  <a:lnTo>
                    <a:pt x="18" y="38"/>
                  </a:lnTo>
                  <a:lnTo>
                    <a:pt x="24" y="20"/>
                  </a:lnTo>
                  <a:lnTo>
                    <a:pt x="62" y="36"/>
                  </a:lnTo>
                  <a:lnTo>
                    <a:pt x="62" y="36"/>
                  </a:lnTo>
                  <a:lnTo>
                    <a:pt x="80" y="32"/>
                  </a:lnTo>
                  <a:lnTo>
                    <a:pt x="82" y="26"/>
                  </a:lnTo>
                  <a:lnTo>
                    <a:pt x="14" y="0"/>
                  </a:lnTo>
                  <a:close/>
                </a:path>
              </a:pathLst>
            </a:custGeom>
            <a:solidFill>
              <a:srgbClr val="64091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56" name="Freeform 2258">
              <a:extLst>
                <a:ext uri="{FF2B5EF4-FFF2-40B4-BE49-F238E27FC236}">
                  <a16:creationId xmlns:a16="http://schemas.microsoft.com/office/drawing/2014/main" id="{E4A11D3E-634E-4E7B-A15A-611C9F58F8CC}"/>
                </a:ext>
              </a:extLst>
            </p:cNvPr>
            <p:cNvSpPr>
              <a:spLocks/>
            </p:cNvSpPr>
            <p:nvPr/>
          </p:nvSpPr>
          <p:spPr bwMode="auto">
            <a:xfrm>
              <a:off x="9793588" y="3358085"/>
              <a:ext cx="146508" cy="67894"/>
            </a:xfrm>
            <a:custGeom>
              <a:avLst/>
              <a:gdLst>
                <a:gd name="T0" fmla="*/ 14 w 82"/>
                <a:gd name="T1" fmla="*/ 0 h 38"/>
                <a:gd name="T2" fmla="*/ 0 w 82"/>
                <a:gd name="T3" fmla="*/ 38 h 38"/>
                <a:gd name="T4" fmla="*/ 0 w 82"/>
                <a:gd name="T5" fmla="*/ 38 h 38"/>
                <a:gd name="T6" fmla="*/ 18 w 82"/>
                <a:gd name="T7" fmla="*/ 38 h 38"/>
                <a:gd name="T8" fmla="*/ 18 w 82"/>
                <a:gd name="T9" fmla="*/ 38 h 38"/>
                <a:gd name="T10" fmla="*/ 18 w 82"/>
                <a:gd name="T11" fmla="*/ 38 h 38"/>
                <a:gd name="T12" fmla="*/ 24 w 82"/>
                <a:gd name="T13" fmla="*/ 20 h 38"/>
                <a:gd name="T14" fmla="*/ 62 w 82"/>
                <a:gd name="T15" fmla="*/ 36 h 38"/>
                <a:gd name="T16" fmla="*/ 62 w 82"/>
                <a:gd name="T17" fmla="*/ 36 h 38"/>
                <a:gd name="T18" fmla="*/ 80 w 82"/>
                <a:gd name="T19" fmla="*/ 32 h 38"/>
                <a:gd name="T20" fmla="*/ 82 w 82"/>
                <a:gd name="T21" fmla="*/ 26 h 38"/>
                <a:gd name="T22" fmla="*/ 14 w 82"/>
                <a:gd name="T23"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2" h="38">
                  <a:moveTo>
                    <a:pt x="14" y="0"/>
                  </a:moveTo>
                  <a:lnTo>
                    <a:pt x="0" y="38"/>
                  </a:lnTo>
                  <a:lnTo>
                    <a:pt x="0" y="38"/>
                  </a:lnTo>
                  <a:lnTo>
                    <a:pt x="18" y="38"/>
                  </a:lnTo>
                  <a:lnTo>
                    <a:pt x="18" y="38"/>
                  </a:lnTo>
                  <a:lnTo>
                    <a:pt x="18" y="38"/>
                  </a:lnTo>
                  <a:lnTo>
                    <a:pt x="24" y="20"/>
                  </a:lnTo>
                  <a:lnTo>
                    <a:pt x="62" y="36"/>
                  </a:lnTo>
                  <a:lnTo>
                    <a:pt x="62" y="36"/>
                  </a:lnTo>
                  <a:lnTo>
                    <a:pt x="80" y="32"/>
                  </a:lnTo>
                  <a:lnTo>
                    <a:pt x="82" y="26"/>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57" name="Freeform 2260">
              <a:extLst>
                <a:ext uri="{FF2B5EF4-FFF2-40B4-BE49-F238E27FC236}">
                  <a16:creationId xmlns:a16="http://schemas.microsoft.com/office/drawing/2014/main" id="{FBBB8125-58F6-43FC-A8DF-69E7C6BD23D6}"/>
                </a:ext>
              </a:extLst>
            </p:cNvPr>
            <p:cNvSpPr>
              <a:spLocks/>
            </p:cNvSpPr>
            <p:nvPr/>
          </p:nvSpPr>
          <p:spPr bwMode="auto">
            <a:xfrm>
              <a:off x="9965110" y="3429552"/>
              <a:ext cx="10720" cy="7147"/>
            </a:xfrm>
            <a:custGeom>
              <a:avLst/>
              <a:gdLst>
                <a:gd name="T0" fmla="*/ 2 w 6"/>
                <a:gd name="T1" fmla="*/ 0 h 4"/>
                <a:gd name="T2" fmla="*/ 2 w 6"/>
                <a:gd name="T3" fmla="*/ 0 h 4"/>
                <a:gd name="T4" fmla="*/ 0 w 6"/>
                <a:gd name="T5" fmla="*/ 4 h 4"/>
                <a:gd name="T6" fmla="*/ 0 w 6"/>
                <a:gd name="T7" fmla="*/ 4 h 4"/>
                <a:gd name="T8" fmla="*/ 6 w 6"/>
                <a:gd name="T9" fmla="*/ 2 h 4"/>
                <a:gd name="T10" fmla="*/ 6 w 6"/>
                <a:gd name="T11" fmla="*/ 2 h 4"/>
                <a:gd name="T12" fmla="*/ 2 w 6"/>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6" h="4">
                  <a:moveTo>
                    <a:pt x="2" y="0"/>
                  </a:moveTo>
                  <a:lnTo>
                    <a:pt x="2" y="0"/>
                  </a:lnTo>
                  <a:lnTo>
                    <a:pt x="0" y="4"/>
                  </a:lnTo>
                  <a:lnTo>
                    <a:pt x="0" y="4"/>
                  </a:lnTo>
                  <a:lnTo>
                    <a:pt x="6" y="2"/>
                  </a:lnTo>
                  <a:lnTo>
                    <a:pt x="6"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58" name="Freeform 2261">
              <a:extLst>
                <a:ext uri="{FF2B5EF4-FFF2-40B4-BE49-F238E27FC236}">
                  <a16:creationId xmlns:a16="http://schemas.microsoft.com/office/drawing/2014/main" id="{528AD263-7AC3-4E60-8E7F-615C255E5940}"/>
                </a:ext>
              </a:extLst>
            </p:cNvPr>
            <p:cNvSpPr>
              <a:spLocks/>
            </p:cNvSpPr>
            <p:nvPr/>
          </p:nvSpPr>
          <p:spPr bwMode="auto">
            <a:xfrm>
              <a:off x="10068738" y="3300911"/>
              <a:ext cx="64321" cy="85761"/>
            </a:xfrm>
            <a:custGeom>
              <a:avLst/>
              <a:gdLst>
                <a:gd name="T0" fmla="*/ 26 w 36"/>
                <a:gd name="T1" fmla="*/ 0 h 48"/>
                <a:gd name="T2" fmla="*/ 26 w 36"/>
                <a:gd name="T3" fmla="*/ 0 h 48"/>
                <a:gd name="T4" fmla="*/ 16 w 36"/>
                <a:gd name="T5" fmla="*/ 12 h 48"/>
                <a:gd name="T6" fmla="*/ 16 w 36"/>
                <a:gd name="T7" fmla="*/ 12 h 48"/>
                <a:gd name="T8" fmla="*/ 4 w 36"/>
                <a:gd name="T9" fmla="*/ 40 h 48"/>
                <a:gd name="T10" fmla="*/ 4 w 36"/>
                <a:gd name="T11" fmla="*/ 40 h 48"/>
                <a:gd name="T12" fmla="*/ 0 w 36"/>
                <a:gd name="T13" fmla="*/ 48 h 48"/>
                <a:gd name="T14" fmla="*/ 0 w 36"/>
                <a:gd name="T15" fmla="*/ 48 h 48"/>
                <a:gd name="T16" fmla="*/ 8 w 36"/>
                <a:gd name="T17" fmla="*/ 42 h 48"/>
                <a:gd name="T18" fmla="*/ 8 w 36"/>
                <a:gd name="T19" fmla="*/ 42 h 48"/>
                <a:gd name="T20" fmla="*/ 8 w 36"/>
                <a:gd name="T21" fmla="*/ 42 h 48"/>
                <a:gd name="T22" fmla="*/ 24 w 36"/>
                <a:gd name="T23" fmla="*/ 28 h 48"/>
                <a:gd name="T24" fmla="*/ 36 w 36"/>
                <a:gd name="T25" fmla="*/ 12 h 48"/>
                <a:gd name="T26" fmla="*/ 36 w 36"/>
                <a:gd name="T27" fmla="*/ 12 h 48"/>
                <a:gd name="T28" fmla="*/ 26 w 36"/>
                <a:gd name="T29"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 h="48">
                  <a:moveTo>
                    <a:pt x="26" y="0"/>
                  </a:moveTo>
                  <a:lnTo>
                    <a:pt x="26" y="0"/>
                  </a:lnTo>
                  <a:lnTo>
                    <a:pt x="16" y="12"/>
                  </a:lnTo>
                  <a:lnTo>
                    <a:pt x="16" y="12"/>
                  </a:lnTo>
                  <a:lnTo>
                    <a:pt x="4" y="40"/>
                  </a:lnTo>
                  <a:lnTo>
                    <a:pt x="4" y="40"/>
                  </a:lnTo>
                  <a:lnTo>
                    <a:pt x="0" y="48"/>
                  </a:lnTo>
                  <a:lnTo>
                    <a:pt x="0" y="48"/>
                  </a:lnTo>
                  <a:lnTo>
                    <a:pt x="8" y="42"/>
                  </a:lnTo>
                  <a:lnTo>
                    <a:pt x="8" y="42"/>
                  </a:lnTo>
                  <a:lnTo>
                    <a:pt x="8" y="42"/>
                  </a:lnTo>
                  <a:lnTo>
                    <a:pt x="24" y="28"/>
                  </a:lnTo>
                  <a:lnTo>
                    <a:pt x="36" y="12"/>
                  </a:lnTo>
                  <a:lnTo>
                    <a:pt x="36" y="12"/>
                  </a:lnTo>
                  <a:lnTo>
                    <a:pt x="2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59" name="Freeform 2262">
              <a:extLst>
                <a:ext uri="{FF2B5EF4-FFF2-40B4-BE49-F238E27FC236}">
                  <a16:creationId xmlns:a16="http://schemas.microsoft.com/office/drawing/2014/main" id="{F2EB0EB8-3240-4D56-973C-D42FF7CCF171}"/>
                </a:ext>
              </a:extLst>
            </p:cNvPr>
            <p:cNvSpPr>
              <a:spLocks/>
            </p:cNvSpPr>
            <p:nvPr/>
          </p:nvSpPr>
          <p:spPr bwMode="auto">
            <a:xfrm>
              <a:off x="9779295" y="3215150"/>
              <a:ext cx="39307" cy="53601"/>
            </a:xfrm>
            <a:custGeom>
              <a:avLst/>
              <a:gdLst>
                <a:gd name="T0" fmla="*/ 16 w 22"/>
                <a:gd name="T1" fmla="*/ 0 h 30"/>
                <a:gd name="T2" fmla="*/ 16 w 22"/>
                <a:gd name="T3" fmla="*/ 0 h 30"/>
                <a:gd name="T4" fmla="*/ 8 w 22"/>
                <a:gd name="T5" fmla="*/ 16 h 30"/>
                <a:gd name="T6" fmla="*/ 0 w 22"/>
                <a:gd name="T7" fmla="*/ 30 h 30"/>
                <a:gd name="T8" fmla="*/ 0 w 22"/>
                <a:gd name="T9" fmla="*/ 30 h 30"/>
                <a:gd name="T10" fmla="*/ 20 w 22"/>
                <a:gd name="T11" fmla="*/ 24 h 30"/>
                <a:gd name="T12" fmla="*/ 20 w 22"/>
                <a:gd name="T13" fmla="*/ 24 h 30"/>
                <a:gd name="T14" fmla="*/ 22 w 22"/>
                <a:gd name="T15" fmla="*/ 20 h 30"/>
                <a:gd name="T16" fmla="*/ 22 w 22"/>
                <a:gd name="T17" fmla="*/ 20 h 30"/>
                <a:gd name="T18" fmla="*/ 16 w 22"/>
                <a:gd name="T1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 h="30">
                  <a:moveTo>
                    <a:pt x="16" y="0"/>
                  </a:moveTo>
                  <a:lnTo>
                    <a:pt x="16" y="0"/>
                  </a:lnTo>
                  <a:lnTo>
                    <a:pt x="8" y="16"/>
                  </a:lnTo>
                  <a:lnTo>
                    <a:pt x="0" y="30"/>
                  </a:lnTo>
                  <a:lnTo>
                    <a:pt x="0" y="30"/>
                  </a:lnTo>
                  <a:lnTo>
                    <a:pt x="20" y="24"/>
                  </a:lnTo>
                  <a:lnTo>
                    <a:pt x="20" y="24"/>
                  </a:lnTo>
                  <a:lnTo>
                    <a:pt x="22" y="20"/>
                  </a:lnTo>
                  <a:lnTo>
                    <a:pt x="22" y="20"/>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60" name="Freeform 2264">
              <a:extLst>
                <a:ext uri="{FF2B5EF4-FFF2-40B4-BE49-F238E27FC236}">
                  <a16:creationId xmlns:a16="http://schemas.microsoft.com/office/drawing/2014/main" id="{7D090B43-A96E-42B4-B285-AC096FD7F200}"/>
                </a:ext>
              </a:extLst>
            </p:cNvPr>
            <p:cNvSpPr>
              <a:spLocks/>
            </p:cNvSpPr>
            <p:nvPr/>
          </p:nvSpPr>
          <p:spPr bwMode="auto">
            <a:xfrm>
              <a:off x="9979404" y="3368805"/>
              <a:ext cx="67894" cy="53601"/>
            </a:xfrm>
            <a:custGeom>
              <a:avLst/>
              <a:gdLst>
                <a:gd name="T0" fmla="*/ 38 w 38"/>
                <a:gd name="T1" fmla="*/ 0 h 30"/>
                <a:gd name="T2" fmla="*/ 38 w 38"/>
                <a:gd name="T3" fmla="*/ 0 h 30"/>
                <a:gd name="T4" fmla="*/ 20 w 38"/>
                <a:gd name="T5" fmla="*/ 10 h 30"/>
                <a:gd name="T6" fmla="*/ 0 w 38"/>
                <a:gd name="T7" fmla="*/ 18 h 30"/>
                <a:gd name="T8" fmla="*/ 0 w 38"/>
                <a:gd name="T9" fmla="*/ 18 h 30"/>
                <a:gd name="T10" fmla="*/ 16 w 38"/>
                <a:gd name="T11" fmla="*/ 30 h 30"/>
                <a:gd name="T12" fmla="*/ 16 w 38"/>
                <a:gd name="T13" fmla="*/ 30 h 30"/>
                <a:gd name="T14" fmla="*/ 24 w 38"/>
                <a:gd name="T15" fmla="*/ 26 h 30"/>
                <a:gd name="T16" fmla="*/ 24 w 38"/>
                <a:gd name="T17" fmla="*/ 26 h 30"/>
                <a:gd name="T18" fmla="*/ 38 w 38"/>
                <a:gd name="T1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 h="30">
                  <a:moveTo>
                    <a:pt x="38" y="0"/>
                  </a:moveTo>
                  <a:lnTo>
                    <a:pt x="38" y="0"/>
                  </a:lnTo>
                  <a:lnTo>
                    <a:pt x="20" y="10"/>
                  </a:lnTo>
                  <a:lnTo>
                    <a:pt x="0" y="18"/>
                  </a:lnTo>
                  <a:lnTo>
                    <a:pt x="0" y="18"/>
                  </a:lnTo>
                  <a:lnTo>
                    <a:pt x="16" y="30"/>
                  </a:lnTo>
                  <a:lnTo>
                    <a:pt x="16" y="30"/>
                  </a:lnTo>
                  <a:lnTo>
                    <a:pt x="24" y="26"/>
                  </a:lnTo>
                  <a:lnTo>
                    <a:pt x="24" y="26"/>
                  </a:lnTo>
                  <a:lnTo>
                    <a:pt x="3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61" name="Freeform 2265">
              <a:extLst>
                <a:ext uri="{FF2B5EF4-FFF2-40B4-BE49-F238E27FC236}">
                  <a16:creationId xmlns:a16="http://schemas.microsoft.com/office/drawing/2014/main" id="{FA90AA21-26D9-43DF-AA14-532533C320B7}"/>
                </a:ext>
              </a:extLst>
            </p:cNvPr>
            <p:cNvSpPr>
              <a:spLocks/>
            </p:cNvSpPr>
            <p:nvPr/>
          </p:nvSpPr>
          <p:spPr bwMode="auto">
            <a:xfrm>
              <a:off x="9829322" y="3054349"/>
              <a:ext cx="232269" cy="164375"/>
            </a:xfrm>
            <a:custGeom>
              <a:avLst/>
              <a:gdLst>
                <a:gd name="T0" fmla="*/ 128 w 130"/>
                <a:gd name="T1" fmla="*/ 0 h 92"/>
                <a:gd name="T2" fmla="*/ 128 w 130"/>
                <a:gd name="T3" fmla="*/ 0 h 92"/>
                <a:gd name="T4" fmla="*/ 104 w 130"/>
                <a:gd name="T5" fmla="*/ 4 h 92"/>
                <a:gd name="T6" fmla="*/ 104 w 130"/>
                <a:gd name="T7" fmla="*/ 4 h 92"/>
                <a:gd name="T8" fmla="*/ 84 w 130"/>
                <a:gd name="T9" fmla="*/ 10 h 92"/>
                <a:gd name="T10" fmla="*/ 64 w 130"/>
                <a:gd name="T11" fmla="*/ 18 h 92"/>
                <a:gd name="T12" fmla="*/ 46 w 130"/>
                <a:gd name="T13" fmla="*/ 28 h 92"/>
                <a:gd name="T14" fmla="*/ 28 w 130"/>
                <a:gd name="T15" fmla="*/ 42 h 92"/>
                <a:gd name="T16" fmla="*/ 28 w 130"/>
                <a:gd name="T17" fmla="*/ 42 h 92"/>
                <a:gd name="T18" fmla="*/ 12 w 130"/>
                <a:gd name="T19" fmla="*/ 56 h 92"/>
                <a:gd name="T20" fmla="*/ 0 w 130"/>
                <a:gd name="T21" fmla="*/ 72 h 92"/>
                <a:gd name="T22" fmla="*/ 0 w 130"/>
                <a:gd name="T23" fmla="*/ 72 h 92"/>
                <a:gd name="T24" fmla="*/ 0 w 130"/>
                <a:gd name="T25" fmla="*/ 76 h 92"/>
                <a:gd name="T26" fmla="*/ 0 w 130"/>
                <a:gd name="T27" fmla="*/ 76 h 92"/>
                <a:gd name="T28" fmla="*/ 0 w 130"/>
                <a:gd name="T29" fmla="*/ 76 h 92"/>
                <a:gd name="T30" fmla="*/ 4 w 130"/>
                <a:gd name="T31" fmla="*/ 92 h 92"/>
                <a:gd name="T32" fmla="*/ 4 w 130"/>
                <a:gd name="T33" fmla="*/ 92 h 92"/>
                <a:gd name="T34" fmla="*/ 20 w 130"/>
                <a:gd name="T35" fmla="*/ 72 h 92"/>
                <a:gd name="T36" fmla="*/ 38 w 130"/>
                <a:gd name="T37" fmla="*/ 54 h 92"/>
                <a:gd name="T38" fmla="*/ 38 w 130"/>
                <a:gd name="T39" fmla="*/ 54 h 92"/>
                <a:gd name="T40" fmla="*/ 54 w 130"/>
                <a:gd name="T41" fmla="*/ 42 h 92"/>
                <a:gd name="T42" fmla="*/ 72 w 130"/>
                <a:gd name="T43" fmla="*/ 32 h 92"/>
                <a:gd name="T44" fmla="*/ 88 w 130"/>
                <a:gd name="T45" fmla="*/ 26 h 92"/>
                <a:gd name="T46" fmla="*/ 106 w 130"/>
                <a:gd name="T47" fmla="*/ 20 h 92"/>
                <a:gd name="T48" fmla="*/ 106 w 130"/>
                <a:gd name="T49" fmla="*/ 20 h 92"/>
                <a:gd name="T50" fmla="*/ 128 w 130"/>
                <a:gd name="T51" fmla="*/ 16 h 92"/>
                <a:gd name="T52" fmla="*/ 128 w 130"/>
                <a:gd name="T53" fmla="*/ 16 h 92"/>
                <a:gd name="T54" fmla="*/ 130 w 130"/>
                <a:gd name="T55" fmla="*/ 2 h 92"/>
                <a:gd name="T56" fmla="*/ 130 w 130"/>
                <a:gd name="T57" fmla="*/ 2 h 92"/>
                <a:gd name="T58" fmla="*/ 128 w 130"/>
                <a:gd name="T59" fmla="*/ 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30" h="92">
                  <a:moveTo>
                    <a:pt x="128" y="0"/>
                  </a:moveTo>
                  <a:lnTo>
                    <a:pt x="128" y="0"/>
                  </a:lnTo>
                  <a:lnTo>
                    <a:pt x="104" y="4"/>
                  </a:lnTo>
                  <a:lnTo>
                    <a:pt x="104" y="4"/>
                  </a:lnTo>
                  <a:lnTo>
                    <a:pt x="84" y="10"/>
                  </a:lnTo>
                  <a:lnTo>
                    <a:pt x="64" y="18"/>
                  </a:lnTo>
                  <a:lnTo>
                    <a:pt x="46" y="28"/>
                  </a:lnTo>
                  <a:lnTo>
                    <a:pt x="28" y="42"/>
                  </a:lnTo>
                  <a:lnTo>
                    <a:pt x="28" y="42"/>
                  </a:lnTo>
                  <a:lnTo>
                    <a:pt x="12" y="56"/>
                  </a:lnTo>
                  <a:lnTo>
                    <a:pt x="0" y="72"/>
                  </a:lnTo>
                  <a:lnTo>
                    <a:pt x="0" y="72"/>
                  </a:lnTo>
                  <a:lnTo>
                    <a:pt x="0" y="76"/>
                  </a:lnTo>
                  <a:lnTo>
                    <a:pt x="0" y="76"/>
                  </a:lnTo>
                  <a:lnTo>
                    <a:pt x="0" y="76"/>
                  </a:lnTo>
                  <a:lnTo>
                    <a:pt x="4" y="92"/>
                  </a:lnTo>
                  <a:lnTo>
                    <a:pt x="4" y="92"/>
                  </a:lnTo>
                  <a:lnTo>
                    <a:pt x="20" y="72"/>
                  </a:lnTo>
                  <a:lnTo>
                    <a:pt x="38" y="54"/>
                  </a:lnTo>
                  <a:lnTo>
                    <a:pt x="38" y="54"/>
                  </a:lnTo>
                  <a:lnTo>
                    <a:pt x="54" y="42"/>
                  </a:lnTo>
                  <a:lnTo>
                    <a:pt x="72" y="32"/>
                  </a:lnTo>
                  <a:lnTo>
                    <a:pt x="88" y="26"/>
                  </a:lnTo>
                  <a:lnTo>
                    <a:pt x="106" y="20"/>
                  </a:lnTo>
                  <a:lnTo>
                    <a:pt x="106" y="20"/>
                  </a:lnTo>
                  <a:lnTo>
                    <a:pt x="128" y="16"/>
                  </a:lnTo>
                  <a:lnTo>
                    <a:pt x="128" y="16"/>
                  </a:lnTo>
                  <a:lnTo>
                    <a:pt x="130" y="2"/>
                  </a:lnTo>
                  <a:lnTo>
                    <a:pt x="130" y="2"/>
                  </a:lnTo>
                  <a:lnTo>
                    <a:pt x="12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62" name="Freeform 2267">
              <a:extLst>
                <a:ext uri="{FF2B5EF4-FFF2-40B4-BE49-F238E27FC236}">
                  <a16:creationId xmlns:a16="http://schemas.microsoft.com/office/drawing/2014/main" id="{A2EB260A-A6BC-4361-B657-2D82CFA6DC4D}"/>
                </a:ext>
              </a:extLst>
            </p:cNvPr>
            <p:cNvSpPr>
              <a:spLocks/>
            </p:cNvSpPr>
            <p:nvPr/>
          </p:nvSpPr>
          <p:spPr bwMode="auto">
            <a:xfrm>
              <a:off x="9968683" y="3400965"/>
              <a:ext cx="39307" cy="32160"/>
            </a:xfrm>
            <a:custGeom>
              <a:avLst/>
              <a:gdLst>
                <a:gd name="T0" fmla="*/ 6 w 22"/>
                <a:gd name="T1" fmla="*/ 0 h 18"/>
                <a:gd name="T2" fmla="*/ 6 w 22"/>
                <a:gd name="T3" fmla="*/ 0 h 18"/>
                <a:gd name="T4" fmla="*/ 4 w 22"/>
                <a:gd name="T5" fmla="*/ 2 h 18"/>
                <a:gd name="T6" fmla="*/ 4 w 22"/>
                <a:gd name="T7" fmla="*/ 2 h 18"/>
                <a:gd name="T8" fmla="*/ 2 w 22"/>
                <a:gd name="T9" fmla="*/ 4 h 18"/>
                <a:gd name="T10" fmla="*/ 2 w 22"/>
                <a:gd name="T11" fmla="*/ 4 h 18"/>
                <a:gd name="T12" fmla="*/ 0 w 22"/>
                <a:gd name="T13" fmla="*/ 16 h 18"/>
                <a:gd name="T14" fmla="*/ 0 w 22"/>
                <a:gd name="T15" fmla="*/ 16 h 18"/>
                <a:gd name="T16" fmla="*/ 4 w 22"/>
                <a:gd name="T17" fmla="*/ 18 h 18"/>
                <a:gd name="T18" fmla="*/ 4 w 22"/>
                <a:gd name="T19" fmla="*/ 18 h 18"/>
                <a:gd name="T20" fmla="*/ 22 w 22"/>
                <a:gd name="T21" fmla="*/ 12 h 18"/>
                <a:gd name="T22" fmla="*/ 22 w 22"/>
                <a:gd name="T23" fmla="*/ 12 h 18"/>
                <a:gd name="T24" fmla="*/ 6 w 22"/>
                <a:gd name="T25"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 h="18">
                  <a:moveTo>
                    <a:pt x="6" y="0"/>
                  </a:moveTo>
                  <a:lnTo>
                    <a:pt x="6" y="0"/>
                  </a:lnTo>
                  <a:lnTo>
                    <a:pt x="4" y="2"/>
                  </a:lnTo>
                  <a:lnTo>
                    <a:pt x="4" y="2"/>
                  </a:lnTo>
                  <a:lnTo>
                    <a:pt x="2" y="4"/>
                  </a:lnTo>
                  <a:lnTo>
                    <a:pt x="2" y="4"/>
                  </a:lnTo>
                  <a:lnTo>
                    <a:pt x="0" y="16"/>
                  </a:lnTo>
                  <a:lnTo>
                    <a:pt x="0" y="16"/>
                  </a:lnTo>
                  <a:lnTo>
                    <a:pt x="4" y="18"/>
                  </a:lnTo>
                  <a:lnTo>
                    <a:pt x="4" y="18"/>
                  </a:lnTo>
                  <a:lnTo>
                    <a:pt x="22" y="12"/>
                  </a:lnTo>
                  <a:lnTo>
                    <a:pt x="22" y="12"/>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63" name="Freeform 2268">
              <a:extLst>
                <a:ext uri="{FF2B5EF4-FFF2-40B4-BE49-F238E27FC236}">
                  <a16:creationId xmlns:a16="http://schemas.microsoft.com/office/drawing/2014/main" id="{7BFFD0D0-8BB5-4923-BFA5-47441660AD50}"/>
                </a:ext>
              </a:extLst>
            </p:cNvPr>
            <p:cNvSpPr>
              <a:spLocks/>
            </p:cNvSpPr>
            <p:nvPr/>
          </p:nvSpPr>
          <p:spPr bwMode="auto">
            <a:xfrm>
              <a:off x="10022284" y="3322351"/>
              <a:ext cx="75041" cy="92908"/>
            </a:xfrm>
            <a:custGeom>
              <a:avLst/>
              <a:gdLst>
                <a:gd name="T0" fmla="*/ 42 w 42"/>
                <a:gd name="T1" fmla="*/ 0 h 52"/>
                <a:gd name="T2" fmla="*/ 42 w 42"/>
                <a:gd name="T3" fmla="*/ 0 h 52"/>
                <a:gd name="T4" fmla="*/ 24 w 42"/>
                <a:gd name="T5" fmla="*/ 18 h 52"/>
                <a:gd name="T6" fmla="*/ 24 w 42"/>
                <a:gd name="T7" fmla="*/ 18 h 52"/>
                <a:gd name="T8" fmla="*/ 24 w 42"/>
                <a:gd name="T9" fmla="*/ 18 h 52"/>
                <a:gd name="T10" fmla="*/ 14 w 42"/>
                <a:gd name="T11" fmla="*/ 26 h 52"/>
                <a:gd name="T12" fmla="*/ 14 w 42"/>
                <a:gd name="T13" fmla="*/ 26 h 52"/>
                <a:gd name="T14" fmla="*/ 0 w 42"/>
                <a:gd name="T15" fmla="*/ 52 h 52"/>
                <a:gd name="T16" fmla="*/ 0 w 42"/>
                <a:gd name="T17" fmla="*/ 52 h 52"/>
                <a:gd name="T18" fmla="*/ 14 w 42"/>
                <a:gd name="T19" fmla="*/ 44 h 52"/>
                <a:gd name="T20" fmla="*/ 26 w 42"/>
                <a:gd name="T21" fmla="*/ 36 h 52"/>
                <a:gd name="T22" fmla="*/ 26 w 42"/>
                <a:gd name="T23" fmla="*/ 36 h 52"/>
                <a:gd name="T24" fmla="*/ 30 w 42"/>
                <a:gd name="T25" fmla="*/ 28 h 52"/>
                <a:gd name="T26" fmla="*/ 30 w 42"/>
                <a:gd name="T27" fmla="*/ 28 h 52"/>
                <a:gd name="T28" fmla="*/ 42 w 42"/>
                <a:gd name="T29"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 h="52">
                  <a:moveTo>
                    <a:pt x="42" y="0"/>
                  </a:moveTo>
                  <a:lnTo>
                    <a:pt x="42" y="0"/>
                  </a:lnTo>
                  <a:lnTo>
                    <a:pt x="24" y="18"/>
                  </a:lnTo>
                  <a:lnTo>
                    <a:pt x="24" y="18"/>
                  </a:lnTo>
                  <a:lnTo>
                    <a:pt x="24" y="18"/>
                  </a:lnTo>
                  <a:lnTo>
                    <a:pt x="14" y="26"/>
                  </a:lnTo>
                  <a:lnTo>
                    <a:pt x="14" y="26"/>
                  </a:lnTo>
                  <a:lnTo>
                    <a:pt x="0" y="52"/>
                  </a:lnTo>
                  <a:lnTo>
                    <a:pt x="0" y="52"/>
                  </a:lnTo>
                  <a:lnTo>
                    <a:pt x="14" y="44"/>
                  </a:lnTo>
                  <a:lnTo>
                    <a:pt x="26" y="36"/>
                  </a:lnTo>
                  <a:lnTo>
                    <a:pt x="26" y="36"/>
                  </a:lnTo>
                  <a:lnTo>
                    <a:pt x="30" y="28"/>
                  </a:lnTo>
                  <a:lnTo>
                    <a:pt x="30" y="28"/>
                  </a:lnTo>
                  <a:lnTo>
                    <a:pt x="4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64" name="Freeform 2269">
              <a:extLst>
                <a:ext uri="{FF2B5EF4-FFF2-40B4-BE49-F238E27FC236}">
                  <a16:creationId xmlns:a16="http://schemas.microsoft.com/office/drawing/2014/main" id="{D8BB7713-4AA1-462C-AD86-92DBFE690756}"/>
                </a:ext>
              </a:extLst>
            </p:cNvPr>
            <p:cNvSpPr>
              <a:spLocks/>
            </p:cNvSpPr>
            <p:nvPr/>
          </p:nvSpPr>
          <p:spPr bwMode="auto">
            <a:xfrm>
              <a:off x="9807882" y="3182990"/>
              <a:ext cx="28587" cy="67894"/>
            </a:xfrm>
            <a:custGeom>
              <a:avLst/>
              <a:gdLst>
                <a:gd name="T0" fmla="*/ 12 w 16"/>
                <a:gd name="T1" fmla="*/ 0 h 38"/>
                <a:gd name="T2" fmla="*/ 12 w 16"/>
                <a:gd name="T3" fmla="*/ 0 h 38"/>
                <a:gd name="T4" fmla="*/ 8 w 16"/>
                <a:gd name="T5" fmla="*/ 4 h 38"/>
                <a:gd name="T6" fmla="*/ 12 w 16"/>
                <a:gd name="T7" fmla="*/ 4 h 38"/>
                <a:gd name="T8" fmla="*/ 8 w 16"/>
                <a:gd name="T9" fmla="*/ 4 h 38"/>
                <a:gd name="T10" fmla="*/ 8 w 16"/>
                <a:gd name="T11" fmla="*/ 4 h 38"/>
                <a:gd name="T12" fmla="*/ 0 w 16"/>
                <a:gd name="T13" fmla="*/ 18 h 38"/>
                <a:gd name="T14" fmla="*/ 0 w 16"/>
                <a:gd name="T15" fmla="*/ 18 h 38"/>
                <a:gd name="T16" fmla="*/ 6 w 16"/>
                <a:gd name="T17" fmla="*/ 38 h 38"/>
                <a:gd name="T18" fmla="*/ 6 w 16"/>
                <a:gd name="T19" fmla="*/ 38 h 38"/>
                <a:gd name="T20" fmla="*/ 16 w 16"/>
                <a:gd name="T21" fmla="*/ 20 h 38"/>
                <a:gd name="T22" fmla="*/ 16 w 16"/>
                <a:gd name="T23" fmla="*/ 20 h 38"/>
                <a:gd name="T24" fmla="*/ 12 w 16"/>
                <a:gd name="T25" fmla="*/ 4 h 38"/>
                <a:gd name="T26" fmla="*/ 12 w 16"/>
                <a:gd name="T27" fmla="*/ 4 h 38"/>
                <a:gd name="T28" fmla="*/ 12 w 16"/>
                <a:gd name="T29" fmla="*/ 4 h 38"/>
                <a:gd name="T30" fmla="*/ 12 w 16"/>
                <a:gd name="T31"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 h="38">
                  <a:moveTo>
                    <a:pt x="12" y="0"/>
                  </a:moveTo>
                  <a:lnTo>
                    <a:pt x="12" y="0"/>
                  </a:lnTo>
                  <a:lnTo>
                    <a:pt x="8" y="4"/>
                  </a:lnTo>
                  <a:lnTo>
                    <a:pt x="12" y="4"/>
                  </a:lnTo>
                  <a:lnTo>
                    <a:pt x="8" y="4"/>
                  </a:lnTo>
                  <a:lnTo>
                    <a:pt x="8" y="4"/>
                  </a:lnTo>
                  <a:lnTo>
                    <a:pt x="0" y="18"/>
                  </a:lnTo>
                  <a:lnTo>
                    <a:pt x="0" y="18"/>
                  </a:lnTo>
                  <a:lnTo>
                    <a:pt x="6" y="38"/>
                  </a:lnTo>
                  <a:lnTo>
                    <a:pt x="6" y="38"/>
                  </a:lnTo>
                  <a:lnTo>
                    <a:pt x="16" y="20"/>
                  </a:lnTo>
                  <a:lnTo>
                    <a:pt x="16" y="20"/>
                  </a:lnTo>
                  <a:lnTo>
                    <a:pt x="12" y="4"/>
                  </a:lnTo>
                  <a:lnTo>
                    <a:pt x="12" y="4"/>
                  </a:lnTo>
                  <a:lnTo>
                    <a:pt x="12" y="4"/>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65" name="Freeform 2270">
              <a:extLst>
                <a:ext uri="{FF2B5EF4-FFF2-40B4-BE49-F238E27FC236}">
                  <a16:creationId xmlns:a16="http://schemas.microsoft.com/office/drawing/2014/main" id="{B74E64DB-C400-426A-ADE3-788CC97A0E38}"/>
                </a:ext>
              </a:extLst>
            </p:cNvPr>
            <p:cNvSpPr>
              <a:spLocks/>
            </p:cNvSpPr>
            <p:nvPr/>
          </p:nvSpPr>
          <p:spPr bwMode="auto">
            <a:xfrm>
              <a:off x="10058018" y="3054349"/>
              <a:ext cx="3573" cy="3573"/>
            </a:xfrm>
            <a:custGeom>
              <a:avLst/>
              <a:gdLst>
                <a:gd name="T0" fmla="*/ 2 w 2"/>
                <a:gd name="T1" fmla="*/ 0 h 2"/>
                <a:gd name="T2" fmla="*/ 2 w 2"/>
                <a:gd name="T3" fmla="*/ 0 h 2"/>
                <a:gd name="T4" fmla="*/ 0 w 2"/>
                <a:gd name="T5" fmla="*/ 0 h 2"/>
                <a:gd name="T6" fmla="*/ 0 w 2"/>
                <a:gd name="T7" fmla="*/ 0 h 2"/>
                <a:gd name="T8" fmla="*/ 2 w 2"/>
                <a:gd name="T9" fmla="*/ 2 h 2"/>
                <a:gd name="T10" fmla="*/ 2 w 2"/>
                <a:gd name="T11" fmla="*/ 2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0"/>
                  </a:lnTo>
                  <a:lnTo>
                    <a:pt x="0" y="0"/>
                  </a:lnTo>
                  <a:lnTo>
                    <a:pt x="2" y="2"/>
                  </a:lnTo>
                  <a:lnTo>
                    <a:pt x="2"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66" name="Freeform 2272">
              <a:extLst>
                <a:ext uri="{FF2B5EF4-FFF2-40B4-BE49-F238E27FC236}">
                  <a16:creationId xmlns:a16="http://schemas.microsoft.com/office/drawing/2014/main" id="{4721C148-C4F0-4177-91F9-681557EBD344}"/>
                </a:ext>
              </a:extLst>
            </p:cNvPr>
            <p:cNvSpPr>
              <a:spLocks/>
            </p:cNvSpPr>
            <p:nvPr/>
          </p:nvSpPr>
          <p:spPr bwMode="auto">
            <a:xfrm>
              <a:off x="10086605" y="3047202"/>
              <a:ext cx="132215" cy="250136"/>
            </a:xfrm>
            <a:custGeom>
              <a:avLst/>
              <a:gdLst>
                <a:gd name="T0" fmla="*/ 30 w 74"/>
                <a:gd name="T1" fmla="*/ 0 h 140"/>
                <a:gd name="T2" fmla="*/ 30 w 74"/>
                <a:gd name="T3" fmla="*/ 0 h 140"/>
                <a:gd name="T4" fmla="*/ 2 w 74"/>
                <a:gd name="T5" fmla="*/ 2 h 140"/>
                <a:gd name="T6" fmla="*/ 2 w 74"/>
                <a:gd name="T7" fmla="*/ 2 h 140"/>
                <a:gd name="T8" fmla="*/ 0 w 74"/>
                <a:gd name="T9" fmla="*/ 18 h 140"/>
                <a:gd name="T10" fmla="*/ 0 w 74"/>
                <a:gd name="T11" fmla="*/ 18 h 140"/>
                <a:gd name="T12" fmla="*/ 28 w 74"/>
                <a:gd name="T13" fmla="*/ 16 h 140"/>
                <a:gd name="T14" fmla="*/ 28 w 74"/>
                <a:gd name="T15" fmla="*/ 16 h 140"/>
                <a:gd name="T16" fmla="*/ 30 w 74"/>
                <a:gd name="T17" fmla="*/ 16 h 140"/>
                <a:gd name="T18" fmla="*/ 30 w 74"/>
                <a:gd name="T19" fmla="*/ 16 h 140"/>
                <a:gd name="T20" fmla="*/ 30 w 74"/>
                <a:gd name="T21" fmla="*/ 16 h 140"/>
                <a:gd name="T22" fmla="*/ 30 w 74"/>
                <a:gd name="T23" fmla="*/ 16 h 140"/>
                <a:gd name="T24" fmla="*/ 56 w 74"/>
                <a:gd name="T25" fmla="*/ 18 h 140"/>
                <a:gd name="T26" fmla="*/ 56 w 74"/>
                <a:gd name="T27" fmla="*/ 18 h 140"/>
                <a:gd name="T28" fmla="*/ 58 w 74"/>
                <a:gd name="T29" fmla="*/ 18 h 140"/>
                <a:gd name="T30" fmla="*/ 58 w 74"/>
                <a:gd name="T31" fmla="*/ 18 h 140"/>
                <a:gd name="T32" fmla="*/ 54 w 74"/>
                <a:gd name="T33" fmla="*/ 40 h 140"/>
                <a:gd name="T34" fmla="*/ 46 w 74"/>
                <a:gd name="T35" fmla="*/ 74 h 140"/>
                <a:gd name="T36" fmla="*/ 46 w 74"/>
                <a:gd name="T37" fmla="*/ 74 h 140"/>
                <a:gd name="T38" fmla="*/ 38 w 74"/>
                <a:gd name="T39" fmla="*/ 100 h 140"/>
                <a:gd name="T40" fmla="*/ 26 w 74"/>
                <a:gd name="T41" fmla="*/ 126 h 140"/>
                <a:gd name="T42" fmla="*/ 26 w 74"/>
                <a:gd name="T43" fmla="*/ 126 h 140"/>
                <a:gd name="T44" fmla="*/ 36 w 74"/>
                <a:gd name="T45" fmla="*/ 140 h 140"/>
                <a:gd name="T46" fmla="*/ 36 w 74"/>
                <a:gd name="T47" fmla="*/ 140 h 140"/>
                <a:gd name="T48" fmla="*/ 44 w 74"/>
                <a:gd name="T49" fmla="*/ 124 h 140"/>
                <a:gd name="T50" fmla="*/ 52 w 74"/>
                <a:gd name="T51" fmla="*/ 108 h 140"/>
                <a:gd name="T52" fmla="*/ 64 w 74"/>
                <a:gd name="T53" fmla="*/ 76 h 140"/>
                <a:gd name="T54" fmla="*/ 64 w 74"/>
                <a:gd name="T55" fmla="*/ 76 h 140"/>
                <a:gd name="T56" fmla="*/ 70 w 74"/>
                <a:gd name="T57" fmla="*/ 50 h 140"/>
                <a:gd name="T58" fmla="*/ 72 w 74"/>
                <a:gd name="T59" fmla="*/ 30 h 140"/>
                <a:gd name="T60" fmla="*/ 74 w 74"/>
                <a:gd name="T61" fmla="*/ 12 h 140"/>
                <a:gd name="T62" fmla="*/ 74 w 74"/>
                <a:gd name="T63" fmla="*/ 4 h 140"/>
                <a:gd name="T64" fmla="*/ 68 w 74"/>
                <a:gd name="T65" fmla="*/ 4 h 140"/>
                <a:gd name="T66" fmla="*/ 68 w 74"/>
                <a:gd name="T67" fmla="*/ 4 h 140"/>
                <a:gd name="T68" fmla="*/ 56 w 74"/>
                <a:gd name="T69" fmla="*/ 2 h 140"/>
                <a:gd name="T70" fmla="*/ 30 w 74"/>
                <a:gd name="T71" fmla="*/ 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4" h="140">
                  <a:moveTo>
                    <a:pt x="30" y="0"/>
                  </a:moveTo>
                  <a:lnTo>
                    <a:pt x="30" y="0"/>
                  </a:lnTo>
                  <a:lnTo>
                    <a:pt x="2" y="2"/>
                  </a:lnTo>
                  <a:lnTo>
                    <a:pt x="2" y="2"/>
                  </a:lnTo>
                  <a:lnTo>
                    <a:pt x="0" y="18"/>
                  </a:lnTo>
                  <a:lnTo>
                    <a:pt x="0" y="18"/>
                  </a:lnTo>
                  <a:lnTo>
                    <a:pt x="28" y="16"/>
                  </a:lnTo>
                  <a:lnTo>
                    <a:pt x="28" y="16"/>
                  </a:lnTo>
                  <a:lnTo>
                    <a:pt x="30" y="16"/>
                  </a:lnTo>
                  <a:lnTo>
                    <a:pt x="30" y="16"/>
                  </a:lnTo>
                  <a:lnTo>
                    <a:pt x="30" y="16"/>
                  </a:lnTo>
                  <a:lnTo>
                    <a:pt x="30" y="16"/>
                  </a:lnTo>
                  <a:lnTo>
                    <a:pt x="56" y="18"/>
                  </a:lnTo>
                  <a:lnTo>
                    <a:pt x="56" y="18"/>
                  </a:lnTo>
                  <a:lnTo>
                    <a:pt x="58" y="18"/>
                  </a:lnTo>
                  <a:lnTo>
                    <a:pt x="58" y="18"/>
                  </a:lnTo>
                  <a:lnTo>
                    <a:pt x="54" y="40"/>
                  </a:lnTo>
                  <a:lnTo>
                    <a:pt x="46" y="74"/>
                  </a:lnTo>
                  <a:lnTo>
                    <a:pt x="46" y="74"/>
                  </a:lnTo>
                  <a:lnTo>
                    <a:pt x="38" y="100"/>
                  </a:lnTo>
                  <a:lnTo>
                    <a:pt x="26" y="126"/>
                  </a:lnTo>
                  <a:lnTo>
                    <a:pt x="26" y="126"/>
                  </a:lnTo>
                  <a:lnTo>
                    <a:pt x="36" y="140"/>
                  </a:lnTo>
                  <a:lnTo>
                    <a:pt x="36" y="140"/>
                  </a:lnTo>
                  <a:lnTo>
                    <a:pt x="44" y="124"/>
                  </a:lnTo>
                  <a:lnTo>
                    <a:pt x="52" y="108"/>
                  </a:lnTo>
                  <a:lnTo>
                    <a:pt x="64" y="76"/>
                  </a:lnTo>
                  <a:lnTo>
                    <a:pt x="64" y="76"/>
                  </a:lnTo>
                  <a:lnTo>
                    <a:pt x="70" y="50"/>
                  </a:lnTo>
                  <a:lnTo>
                    <a:pt x="72" y="30"/>
                  </a:lnTo>
                  <a:lnTo>
                    <a:pt x="74" y="12"/>
                  </a:lnTo>
                  <a:lnTo>
                    <a:pt x="74" y="4"/>
                  </a:lnTo>
                  <a:lnTo>
                    <a:pt x="68" y="4"/>
                  </a:lnTo>
                  <a:lnTo>
                    <a:pt x="68" y="4"/>
                  </a:lnTo>
                  <a:lnTo>
                    <a:pt x="56" y="2"/>
                  </a:lnTo>
                  <a:lnTo>
                    <a:pt x="3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67" name="Freeform 2274">
              <a:extLst>
                <a:ext uri="{FF2B5EF4-FFF2-40B4-BE49-F238E27FC236}">
                  <a16:creationId xmlns:a16="http://schemas.microsoft.com/office/drawing/2014/main" id="{5A360D3E-AF71-4501-915B-B24A38CCD964}"/>
                </a:ext>
              </a:extLst>
            </p:cNvPr>
            <p:cNvSpPr>
              <a:spLocks/>
            </p:cNvSpPr>
            <p:nvPr/>
          </p:nvSpPr>
          <p:spPr bwMode="auto">
            <a:xfrm>
              <a:off x="10115192" y="3272324"/>
              <a:ext cx="35734" cy="50027"/>
            </a:xfrm>
            <a:custGeom>
              <a:avLst/>
              <a:gdLst>
                <a:gd name="T0" fmla="*/ 10 w 20"/>
                <a:gd name="T1" fmla="*/ 0 h 28"/>
                <a:gd name="T2" fmla="*/ 10 w 20"/>
                <a:gd name="T3" fmla="*/ 0 h 28"/>
                <a:gd name="T4" fmla="*/ 0 w 20"/>
                <a:gd name="T5" fmla="*/ 16 h 28"/>
                <a:gd name="T6" fmla="*/ 0 w 20"/>
                <a:gd name="T7" fmla="*/ 16 h 28"/>
                <a:gd name="T8" fmla="*/ 10 w 20"/>
                <a:gd name="T9" fmla="*/ 28 h 28"/>
                <a:gd name="T10" fmla="*/ 10 w 20"/>
                <a:gd name="T11" fmla="*/ 28 h 28"/>
                <a:gd name="T12" fmla="*/ 20 w 20"/>
                <a:gd name="T13" fmla="*/ 14 h 28"/>
                <a:gd name="T14" fmla="*/ 20 w 20"/>
                <a:gd name="T15" fmla="*/ 14 h 28"/>
                <a:gd name="T16" fmla="*/ 10 w 20"/>
                <a:gd name="T17"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28">
                  <a:moveTo>
                    <a:pt x="10" y="0"/>
                  </a:moveTo>
                  <a:lnTo>
                    <a:pt x="10" y="0"/>
                  </a:lnTo>
                  <a:lnTo>
                    <a:pt x="0" y="16"/>
                  </a:lnTo>
                  <a:lnTo>
                    <a:pt x="0" y="16"/>
                  </a:lnTo>
                  <a:lnTo>
                    <a:pt x="10" y="28"/>
                  </a:lnTo>
                  <a:lnTo>
                    <a:pt x="10" y="28"/>
                  </a:lnTo>
                  <a:lnTo>
                    <a:pt x="20" y="14"/>
                  </a:lnTo>
                  <a:lnTo>
                    <a:pt x="20" y="14"/>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68" name="Freeform 2275">
              <a:extLst>
                <a:ext uri="{FF2B5EF4-FFF2-40B4-BE49-F238E27FC236}">
                  <a16:creationId xmlns:a16="http://schemas.microsoft.com/office/drawing/2014/main" id="{F33AF029-8274-45AD-9162-35D4D60B8B23}"/>
                </a:ext>
              </a:extLst>
            </p:cNvPr>
            <p:cNvSpPr>
              <a:spLocks/>
            </p:cNvSpPr>
            <p:nvPr/>
          </p:nvSpPr>
          <p:spPr bwMode="auto">
            <a:xfrm>
              <a:off x="10058018" y="3050775"/>
              <a:ext cx="32160" cy="32160"/>
            </a:xfrm>
            <a:custGeom>
              <a:avLst/>
              <a:gdLst>
                <a:gd name="T0" fmla="*/ 18 w 18"/>
                <a:gd name="T1" fmla="*/ 0 h 18"/>
                <a:gd name="T2" fmla="*/ 18 w 18"/>
                <a:gd name="T3" fmla="*/ 0 h 18"/>
                <a:gd name="T4" fmla="*/ 2 w 18"/>
                <a:gd name="T5" fmla="*/ 2 h 18"/>
                <a:gd name="T6" fmla="*/ 2 w 18"/>
                <a:gd name="T7" fmla="*/ 2 h 18"/>
                <a:gd name="T8" fmla="*/ 2 w 18"/>
                <a:gd name="T9" fmla="*/ 4 h 18"/>
                <a:gd name="T10" fmla="*/ 2 w 18"/>
                <a:gd name="T11" fmla="*/ 4 h 18"/>
                <a:gd name="T12" fmla="*/ 0 w 18"/>
                <a:gd name="T13" fmla="*/ 18 h 18"/>
                <a:gd name="T14" fmla="*/ 0 w 18"/>
                <a:gd name="T15" fmla="*/ 18 h 18"/>
                <a:gd name="T16" fmla="*/ 16 w 18"/>
                <a:gd name="T17" fmla="*/ 16 h 18"/>
                <a:gd name="T18" fmla="*/ 16 w 18"/>
                <a:gd name="T19" fmla="*/ 16 h 18"/>
                <a:gd name="T20" fmla="*/ 18 w 18"/>
                <a:gd name="T21"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 h="18">
                  <a:moveTo>
                    <a:pt x="18" y="0"/>
                  </a:moveTo>
                  <a:lnTo>
                    <a:pt x="18" y="0"/>
                  </a:lnTo>
                  <a:lnTo>
                    <a:pt x="2" y="2"/>
                  </a:lnTo>
                  <a:lnTo>
                    <a:pt x="2" y="2"/>
                  </a:lnTo>
                  <a:lnTo>
                    <a:pt x="2" y="4"/>
                  </a:lnTo>
                  <a:lnTo>
                    <a:pt x="2" y="4"/>
                  </a:lnTo>
                  <a:lnTo>
                    <a:pt x="0" y="18"/>
                  </a:lnTo>
                  <a:lnTo>
                    <a:pt x="0" y="18"/>
                  </a:lnTo>
                  <a:lnTo>
                    <a:pt x="16" y="16"/>
                  </a:lnTo>
                  <a:lnTo>
                    <a:pt x="16" y="16"/>
                  </a:lnTo>
                  <a:lnTo>
                    <a:pt x="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69" name="Freeform 2277">
              <a:extLst>
                <a:ext uri="{FF2B5EF4-FFF2-40B4-BE49-F238E27FC236}">
                  <a16:creationId xmlns:a16="http://schemas.microsoft.com/office/drawing/2014/main" id="{3D3C9C03-D410-4CDE-8CEA-50236BF4E5E8}"/>
                </a:ext>
              </a:extLst>
            </p:cNvPr>
            <p:cNvSpPr>
              <a:spLocks/>
            </p:cNvSpPr>
            <p:nvPr/>
          </p:nvSpPr>
          <p:spPr bwMode="auto">
            <a:xfrm>
              <a:off x="9925803" y="3411685"/>
              <a:ext cx="17867" cy="35734"/>
            </a:xfrm>
            <a:custGeom>
              <a:avLst/>
              <a:gdLst>
                <a:gd name="T0" fmla="*/ 10 w 10"/>
                <a:gd name="T1" fmla="*/ 0 h 20"/>
                <a:gd name="T2" fmla="*/ 10 w 10"/>
                <a:gd name="T3" fmla="*/ 0 h 20"/>
                <a:gd name="T4" fmla="*/ 10 w 10"/>
                <a:gd name="T5" fmla="*/ 0 h 20"/>
                <a:gd name="T6" fmla="*/ 10 w 10"/>
                <a:gd name="T7" fmla="*/ 0 h 20"/>
                <a:gd name="T8" fmla="*/ 6 w 10"/>
                <a:gd name="T9" fmla="*/ 2 h 20"/>
                <a:gd name="T10" fmla="*/ 0 w 10"/>
                <a:gd name="T11" fmla="*/ 20 h 20"/>
                <a:gd name="T12" fmla="*/ 0 w 10"/>
                <a:gd name="T13" fmla="*/ 20 h 20"/>
                <a:gd name="T14" fmla="*/ 4 w 10"/>
                <a:gd name="T15" fmla="*/ 18 h 20"/>
                <a:gd name="T16" fmla="*/ 4 w 10"/>
                <a:gd name="T17" fmla="*/ 18 h 20"/>
                <a:gd name="T18" fmla="*/ 10 w 10"/>
                <a:gd name="T1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 h="20">
                  <a:moveTo>
                    <a:pt x="10" y="0"/>
                  </a:moveTo>
                  <a:lnTo>
                    <a:pt x="10" y="0"/>
                  </a:lnTo>
                  <a:lnTo>
                    <a:pt x="10" y="0"/>
                  </a:lnTo>
                  <a:lnTo>
                    <a:pt x="10" y="0"/>
                  </a:lnTo>
                  <a:lnTo>
                    <a:pt x="6" y="2"/>
                  </a:lnTo>
                  <a:lnTo>
                    <a:pt x="0" y="20"/>
                  </a:lnTo>
                  <a:lnTo>
                    <a:pt x="0" y="20"/>
                  </a:lnTo>
                  <a:lnTo>
                    <a:pt x="4" y="18"/>
                  </a:lnTo>
                  <a:lnTo>
                    <a:pt x="4" y="18"/>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70" name="Freeform 2278">
              <a:extLst>
                <a:ext uri="{FF2B5EF4-FFF2-40B4-BE49-F238E27FC236}">
                  <a16:creationId xmlns:a16="http://schemas.microsoft.com/office/drawing/2014/main" id="{767ABE4D-6C6D-485A-AF62-2784618074C3}"/>
                </a:ext>
              </a:extLst>
            </p:cNvPr>
            <p:cNvSpPr>
              <a:spLocks/>
            </p:cNvSpPr>
            <p:nvPr/>
          </p:nvSpPr>
          <p:spPr bwMode="auto">
            <a:xfrm>
              <a:off x="9743561" y="3293764"/>
              <a:ext cx="60747" cy="160802"/>
            </a:xfrm>
            <a:custGeom>
              <a:avLst/>
              <a:gdLst>
                <a:gd name="T0" fmla="*/ 34 w 34"/>
                <a:gd name="T1" fmla="*/ 0 h 90"/>
                <a:gd name="T2" fmla="*/ 34 w 34"/>
                <a:gd name="T3" fmla="*/ 0 h 90"/>
                <a:gd name="T4" fmla="*/ 14 w 34"/>
                <a:gd name="T5" fmla="*/ 8 h 90"/>
                <a:gd name="T6" fmla="*/ 14 w 34"/>
                <a:gd name="T7" fmla="*/ 8 h 90"/>
                <a:gd name="T8" fmla="*/ 10 w 34"/>
                <a:gd name="T9" fmla="*/ 16 h 90"/>
                <a:gd name="T10" fmla="*/ 10 w 34"/>
                <a:gd name="T11" fmla="*/ 16 h 90"/>
                <a:gd name="T12" fmla="*/ 6 w 34"/>
                <a:gd name="T13" fmla="*/ 42 h 90"/>
                <a:gd name="T14" fmla="*/ 2 w 34"/>
                <a:gd name="T15" fmla="*/ 62 h 90"/>
                <a:gd name="T16" fmla="*/ 0 w 34"/>
                <a:gd name="T17" fmla="*/ 80 h 90"/>
                <a:gd name="T18" fmla="*/ 0 w 34"/>
                <a:gd name="T19" fmla="*/ 88 h 90"/>
                <a:gd name="T20" fmla="*/ 8 w 34"/>
                <a:gd name="T21" fmla="*/ 88 h 90"/>
                <a:gd name="T22" fmla="*/ 8 w 34"/>
                <a:gd name="T23" fmla="*/ 88 h 90"/>
                <a:gd name="T24" fmla="*/ 22 w 34"/>
                <a:gd name="T25" fmla="*/ 90 h 90"/>
                <a:gd name="T26" fmla="*/ 28 w 34"/>
                <a:gd name="T27" fmla="*/ 74 h 90"/>
                <a:gd name="T28" fmla="*/ 28 w 34"/>
                <a:gd name="T29" fmla="*/ 74 h 90"/>
                <a:gd name="T30" fmla="*/ 20 w 34"/>
                <a:gd name="T31" fmla="*/ 74 h 90"/>
                <a:gd name="T32" fmla="*/ 20 w 34"/>
                <a:gd name="T33" fmla="*/ 74 h 90"/>
                <a:gd name="T34" fmla="*/ 16 w 34"/>
                <a:gd name="T35" fmla="*/ 74 h 90"/>
                <a:gd name="T36" fmla="*/ 16 w 34"/>
                <a:gd name="T37" fmla="*/ 74 h 90"/>
                <a:gd name="T38" fmla="*/ 20 w 34"/>
                <a:gd name="T39" fmla="*/ 50 h 90"/>
                <a:gd name="T40" fmla="*/ 28 w 34"/>
                <a:gd name="T41" fmla="*/ 18 h 90"/>
                <a:gd name="T42" fmla="*/ 28 w 34"/>
                <a:gd name="T43" fmla="*/ 18 h 90"/>
                <a:gd name="T44" fmla="*/ 34 w 34"/>
                <a:gd name="T45" fmla="*/ 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4" h="90">
                  <a:moveTo>
                    <a:pt x="34" y="0"/>
                  </a:moveTo>
                  <a:lnTo>
                    <a:pt x="34" y="0"/>
                  </a:lnTo>
                  <a:lnTo>
                    <a:pt x="14" y="8"/>
                  </a:lnTo>
                  <a:lnTo>
                    <a:pt x="14" y="8"/>
                  </a:lnTo>
                  <a:lnTo>
                    <a:pt x="10" y="16"/>
                  </a:lnTo>
                  <a:lnTo>
                    <a:pt x="10" y="16"/>
                  </a:lnTo>
                  <a:lnTo>
                    <a:pt x="6" y="42"/>
                  </a:lnTo>
                  <a:lnTo>
                    <a:pt x="2" y="62"/>
                  </a:lnTo>
                  <a:lnTo>
                    <a:pt x="0" y="80"/>
                  </a:lnTo>
                  <a:lnTo>
                    <a:pt x="0" y="88"/>
                  </a:lnTo>
                  <a:lnTo>
                    <a:pt x="8" y="88"/>
                  </a:lnTo>
                  <a:lnTo>
                    <a:pt x="8" y="88"/>
                  </a:lnTo>
                  <a:lnTo>
                    <a:pt x="22" y="90"/>
                  </a:lnTo>
                  <a:lnTo>
                    <a:pt x="28" y="74"/>
                  </a:lnTo>
                  <a:lnTo>
                    <a:pt x="28" y="74"/>
                  </a:lnTo>
                  <a:lnTo>
                    <a:pt x="20" y="74"/>
                  </a:lnTo>
                  <a:lnTo>
                    <a:pt x="20" y="74"/>
                  </a:lnTo>
                  <a:lnTo>
                    <a:pt x="16" y="74"/>
                  </a:lnTo>
                  <a:lnTo>
                    <a:pt x="16" y="74"/>
                  </a:lnTo>
                  <a:lnTo>
                    <a:pt x="20" y="50"/>
                  </a:lnTo>
                  <a:lnTo>
                    <a:pt x="28" y="18"/>
                  </a:lnTo>
                  <a:lnTo>
                    <a:pt x="28" y="18"/>
                  </a:lnTo>
                  <a:lnTo>
                    <a:pt x="3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71" name="Freeform 2280">
              <a:extLst>
                <a:ext uri="{FF2B5EF4-FFF2-40B4-BE49-F238E27FC236}">
                  <a16:creationId xmlns:a16="http://schemas.microsoft.com/office/drawing/2014/main" id="{6AF52953-8FE3-4739-93F4-9FB8B3DCB5A2}"/>
                </a:ext>
              </a:extLst>
            </p:cNvPr>
            <p:cNvSpPr>
              <a:spLocks/>
            </p:cNvSpPr>
            <p:nvPr/>
          </p:nvSpPr>
          <p:spPr bwMode="auto">
            <a:xfrm>
              <a:off x="9932950" y="3404539"/>
              <a:ext cx="42880" cy="39307"/>
            </a:xfrm>
            <a:custGeom>
              <a:avLst/>
              <a:gdLst>
                <a:gd name="T0" fmla="*/ 24 w 24"/>
                <a:gd name="T1" fmla="*/ 0 h 22"/>
                <a:gd name="T2" fmla="*/ 24 w 24"/>
                <a:gd name="T3" fmla="*/ 0 h 22"/>
                <a:gd name="T4" fmla="*/ 6 w 24"/>
                <a:gd name="T5" fmla="*/ 4 h 22"/>
                <a:gd name="T6" fmla="*/ 6 w 24"/>
                <a:gd name="T7" fmla="*/ 4 h 22"/>
                <a:gd name="T8" fmla="*/ 0 w 24"/>
                <a:gd name="T9" fmla="*/ 22 h 22"/>
                <a:gd name="T10" fmla="*/ 0 w 24"/>
                <a:gd name="T11" fmla="*/ 22 h 22"/>
                <a:gd name="T12" fmla="*/ 10 w 24"/>
                <a:gd name="T13" fmla="*/ 20 h 22"/>
                <a:gd name="T14" fmla="*/ 10 w 24"/>
                <a:gd name="T15" fmla="*/ 20 h 22"/>
                <a:gd name="T16" fmla="*/ 18 w 24"/>
                <a:gd name="T17" fmla="*/ 18 h 22"/>
                <a:gd name="T18" fmla="*/ 18 w 24"/>
                <a:gd name="T19" fmla="*/ 18 h 22"/>
                <a:gd name="T20" fmla="*/ 20 w 24"/>
                <a:gd name="T21" fmla="*/ 14 h 22"/>
                <a:gd name="T22" fmla="*/ 20 w 24"/>
                <a:gd name="T23" fmla="*/ 14 h 22"/>
                <a:gd name="T24" fmla="*/ 22 w 24"/>
                <a:gd name="T25" fmla="*/ 2 h 22"/>
                <a:gd name="T26" fmla="*/ 22 w 24"/>
                <a:gd name="T27" fmla="*/ 2 h 22"/>
                <a:gd name="T28" fmla="*/ 24 w 24"/>
                <a:gd name="T29"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 h="22">
                  <a:moveTo>
                    <a:pt x="24" y="0"/>
                  </a:moveTo>
                  <a:lnTo>
                    <a:pt x="24" y="0"/>
                  </a:lnTo>
                  <a:lnTo>
                    <a:pt x="6" y="4"/>
                  </a:lnTo>
                  <a:lnTo>
                    <a:pt x="6" y="4"/>
                  </a:lnTo>
                  <a:lnTo>
                    <a:pt x="0" y="22"/>
                  </a:lnTo>
                  <a:lnTo>
                    <a:pt x="0" y="22"/>
                  </a:lnTo>
                  <a:lnTo>
                    <a:pt x="10" y="20"/>
                  </a:lnTo>
                  <a:lnTo>
                    <a:pt x="10" y="20"/>
                  </a:lnTo>
                  <a:lnTo>
                    <a:pt x="18" y="18"/>
                  </a:lnTo>
                  <a:lnTo>
                    <a:pt x="18" y="18"/>
                  </a:lnTo>
                  <a:lnTo>
                    <a:pt x="20" y="14"/>
                  </a:lnTo>
                  <a:lnTo>
                    <a:pt x="20" y="14"/>
                  </a:lnTo>
                  <a:lnTo>
                    <a:pt x="22" y="2"/>
                  </a:lnTo>
                  <a:lnTo>
                    <a:pt x="22" y="2"/>
                  </a:lnTo>
                  <a:lnTo>
                    <a:pt x="2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72" name="Freeform 2281">
              <a:extLst>
                <a:ext uri="{FF2B5EF4-FFF2-40B4-BE49-F238E27FC236}">
                  <a16:creationId xmlns:a16="http://schemas.microsoft.com/office/drawing/2014/main" id="{93513738-256B-4C73-8627-F5D7E63058A4}"/>
                </a:ext>
              </a:extLst>
            </p:cNvPr>
            <p:cNvSpPr>
              <a:spLocks/>
            </p:cNvSpPr>
            <p:nvPr/>
          </p:nvSpPr>
          <p:spPr bwMode="auto">
            <a:xfrm>
              <a:off x="9768575" y="3258031"/>
              <a:ext cx="46454" cy="50027"/>
            </a:xfrm>
            <a:custGeom>
              <a:avLst/>
              <a:gdLst>
                <a:gd name="T0" fmla="*/ 26 w 26"/>
                <a:gd name="T1" fmla="*/ 0 h 28"/>
                <a:gd name="T2" fmla="*/ 26 w 26"/>
                <a:gd name="T3" fmla="*/ 0 h 28"/>
                <a:gd name="T4" fmla="*/ 6 w 26"/>
                <a:gd name="T5" fmla="*/ 6 h 28"/>
                <a:gd name="T6" fmla="*/ 6 w 26"/>
                <a:gd name="T7" fmla="*/ 6 h 28"/>
                <a:gd name="T8" fmla="*/ 0 w 26"/>
                <a:gd name="T9" fmla="*/ 28 h 28"/>
                <a:gd name="T10" fmla="*/ 0 w 26"/>
                <a:gd name="T11" fmla="*/ 28 h 28"/>
                <a:gd name="T12" fmla="*/ 20 w 26"/>
                <a:gd name="T13" fmla="*/ 20 h 28"/>
                <a:gd name="T14" fmla="*/ 20 w 26"/>
                <a:gd name="T15" fmla="*/ 20 h 28"/>
                <a:gd name="T16" fmla="*/ 26 w 26"/>
                <a:gd name="T17"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 h="28">
                  <a:moveTo>
                    <a:pt x="26" y="0"/>
                  </a:moveTo>
                  <a:lnTo>
                    <a:pt x="26" y="0"/>
                  </a:lnTo>
                  <a:lnTo>
                    <a:pt x="6" y="6"/>
                  </a:lnTo>
                  <a:lnTo>
                    <a:pt x="6" y="6"/>
                  </a:lnTo>
                  <a:lnTo>
                    <a:pt x="0" y="28"/>
                  </a:lnTo>
                  <a:lnTo>
                    <a:pt x="0" y="28"/>
                  </a:lnTo>
                  <a:lnTo>
                    <a:pt x="20" y="20"/>
                  </a:lnTo>
                  <a:lnTo>
                    <a:pt x="20" y="20"/>
                  </a:lnTo>
                  <a:lnTo>
                    <a:pt x="2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73" name="Freeform 2282">
              <a:extLst>
                <a:ext uri="{FF2B5EF4-FFF2-40B4-BE49-F238E27FC236}">
                  <a16:creationId xmlns:a16="http://schemas.microsoft.com/office/drawing/2014/main" id="{CDEF84AD-FEBF-4230-A055-F995BFFE48BE}"/>
                </a:ext>
              </a:extLst>
            </p:cNvPr>
            <p:cNvSpPr>
              <a:spLocks/>
            </p:cNvSpPr>
            <p:nvPr/>
          </p:nvSpPr>
          <p:spPr bwMode="auto">
            <a:xfrm>
              <a:off x="9815029" y="3422405"/>
              <a:ext cx="89334" cy="32160"/>
            </a:xfrm>
            <a:custGeom>
              <a:avLst/>
              <a:gdLst>
                <a:gd name="T0" fmla="*/ 50 w 50"/>
                <a:gd name="T1" fmla="*/ 0 h 18"/>
                <a:gd name="T2" fmla="*/ 50 w 50"/>
                <a:gd name="T3" fmla="*/ 0 h 18"/>
                <a:gd name="T4" fmla="*/ 26 w 50"/>
                <a:gd name="T5" fmla="*/ 2 h 18"/>
                <a:gd name="T6" fmla="*/ 6 w 50"/>
                <a:gd name="T7" fmla="*/ 2 h 18"/>
                <a:gd name="T8" fmla="*/ 0 w 50"/>
                <a:gd name="T9" fmla="*/ 18 h 18"/>
                <a:gd name="T10" fmla="*/ 0 w 50"/>
                <a:gd name="T11" fmla="*/ 18 h 18"/>
                <a:gd name="T12" fmla="*/ 6 w 50"/>
                <a:gd name="T13" fmla="*/ 18 h 18"/>
                <a:gd name="T14" fmla="*/ 6 w 50"/>
                <a:gd name="T15" fmla="*/ 18 h 18"/>
                <a:gd name="T16" fmla="*/ 24 w 50"/>
                <a:gd name="T17" fmla="*/ 18 h 18"/>
                <a:gd name="T18" fmla="*/ 44 w 50"/>
                <a:gd name="T19" fmla="*/ 16 h 18"/>
                <a:gd name="T20" fmla="*/ 50 w 50"/>
                <a:gd name="T21" fmla="*/ 0 h 18"/>
                <a:gd name="T22" fmla="*/ 50 w 50"/>
                <a:gd name="T2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 h="18">
                  <a:moveTo>
                    <a:pt x="50" y="0"/>
                  </a:moveTo>
                  <a:lnTo>
                    <a:pt x="50" y="0"/>
                  </a:lnTo>
                  <a:lnTo>
                    <a:pt x="26" y="2"/>
                  </a:lnTo>
                  <a:lnTo>
                    <a:pt x="6" y="2"/>
                  </a:lnTo>
                  <a:lnTo>
                    <a:pt x="0" y="18"/>
                  </a:lnTo>
                  <a:lnTo>
                    <a:pt x="0" y="18"/>
                  </a:lnTo>
                  <a:lnTo>
                    <a:pt x="6" y="18"/>
                  </a:lnTo>
                  <a:lnTo>
                    <a:pt x="6" y="18"/>
                  </a:lnTo>
                  <a:lnTo>
                    <a:pt x="24" y="18"/>
                  </a:lnTo>
                  <a:lnTo>
                    <a:pt x="44" y="16"/>
                  </a:lnTo>
                  <a:lnTo>
                    <a:pt x="50" y="0"/>
                  </a:lnTo>
                  <a:lnTo>
                    <a:pt x="50" y="0"/>
                  </a:lnTo>
                  <a:close/>
                </a:path>
              </a:pathLst>
            </a:custGeom>
            <a:solidFill>
              <a:srgbClr val="B06B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74" name="Freeform 2283">
              <a:extLst>
                <a:ext uri="{FF2B5EF4-FFF2-40B4-BE49-F238E27FC236}">
                  <a16:creationId xmlns:a16="http://schemas.microsoft.com/office/drawing/2014/main" id="{7EDE646C-EC12-466D-B8CA-CC47CC47FB15}"/>
                </a:ext>
              </a:extLst>
            </p:cNvPr>
            <p:cNvSpPr>
              <a:spLocks/>
            </p:cNvSpPr>
            <p:nvPr/>
          </p:nvSpPr>
          <p:spPr bwMode="auto">
            <a:xfrm>
              <a:off x="9815029" y="3422405"/>
              <a:ext cx="89334" cy="32160"/>
            </a:xfrm>
            <a:custGeom>
              <a:avLst/>
              <a:gdLst>
                <a:gd name="T0" fmla="*/ 50 w 50"/>
                <a:gd name="T1" fmla="*/ 0 h 18"/>
                <a:gd name="T2" fmla="*/ 50 w 50"/>
                <a:gd name="T3" fmla="*/ 0 h 18"/>
                <a:gd name="T4" fmla="*/ 26 w 50"/>
                <a:gd name="T5" fmla="*/ 2 h 18"/>
                <a:gd name="T6" fmla="*/ 6 w 50"/>
                <a:gd name="T7" fmla="*/ 2 h 18"/>
                <a:gd name="T8" fmla="*/ 0 w 50"/>
                <a:gd name="T9" fmla="*/ 18 h 18"/>
                <a:gd name="T10" fmla="*/ 0 w 50"/>
                <a:gd name="T11" fmla="*/ 18 h 18"/>
                <a:gd name="T12" fmla="*/ 6 w 50"/>
                <a:gd name="T13" fmla="*/ 18 h 18"/>
                <a:gd name="T14" fmla="*/ 6 w 50"/>
                <a:gd name="T15" fmla="*/ 18 h 18"/>
                <a:gd name="T16" fmla="*/ 24 w 50"/>
                <a:gd name="T17" fmla="*/ 18 h 18"/>
                <a:gd name="T18" fmla="*/ 44 w 50"/>
                <a:gd name="T19" fmla="*/ 16 h 18"/>
                <a:gd name="T20" fmla="*/ 50 w 50"/>
                <a:gd name="T21" fmla="*/ 0 h 18"/>
                <a:gd name="T22" fmla="*/ 50 w 50"/>
                <a:gd name="T2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 h="18">
                  <a:moveTo>
                    <a:pt x="50" y="0"/>
                  </a:moveTo>
                  <a:lnTo>
                    <a:pt x="50" y="0"/>
                  </a:lnTo>
                  <a:lnTo>
                    <a:pt x="26" y="2"/>
                  </a:lnTo>
                  <a:lnTo>
                    <a:pt x="6" y="2"/>
                  </a:lnTo>
                  <a:lnTo>
                    <a:pt x="0" y="18"/>
                  </a:lnTo>
                  <a:lnTo>
                    <a:pt x="0" y="18"/>
                  </a:lnTo>
                  <a:lnTo>
                    <a:pt x="6" y="18"/>
                  </a:lnTo>
                  <a:lnTo>
                    <a:pt x="6" y="18"/>
                  </a:lnTo>
                  <a:lnTo>
                    <a:pt x="24" y="18"/>
                  </a:lnTo>
                  <a:lnTo>
                    <a:pt x="44" y="16"/>
                  </a:lnTo>
                  <a:lnTo>
                    <a:pt x="50" y="0"/>
                  </a:lnTo>
                  <a:lnTo>
                    <a:pt x="5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75" name="Freeform 2284">
              <a:extLst>
                <a:ext uri="{FF2B5EF4-FFF2-40B4-BE49-F238E27FC236}">
                  <a16:creationId xmlns:a16="http://schemas.microsoft.com/office/drawing/2014/main" id="{60FA2845-A76F-4878-9FB7-57D42BB53B72}"/>
                </a:ext>
              </a:extLst>
            </p:cNvPr>
            <p:cNvSpPr>
              <a:spLocks noEditPoints="1"/>
            </p:cNvSpPr>
            <p:nvPr/>
          </p:nvSpPr>
          <p:spPr bwMode="auto">
            <a:xfrm>
              <a:off x="9782868" y="3415259"/>
              <a:ext cx="153655" cy="39307"/>
            </a:xfrm>
            <a:custGeom>
              <a:avLst/>
              <a:gdLst>
                <a:gd name="T0" fmla="*/ 6 w 86"/>
                <a:gd name="T1" fmla="*/ 6 h 22"/>
                <a:gd name="T2" fmla="*/ 0 w 86"/>
                <a:gd name="T3" fmla="*/ 22 h 22"/>
                <a:gd name="T4" fmla="*/ 0 w 86"/>
                <a:gd name="T5" fmla="*/ 22 h 22"/>
                <a:gd name="T6" fmla="*/ 18 w 86"/>
                <a:gd name="T7" fmla="*/ 22 h 22"/>
                <a:gd name="T8" fmla="*/ 24 w 86"/>
                <a:gd name="T9" fmla="*/ 6 h 22"/>
                <a:gd name="T10" fmla="*/ 24 w 86"/>
                <a:gd name="T11" fmla="*/ 6 h 22"/>
                <a:gd name="T12" fmla="*/ 24 w 86"/>
                <a:gd name="T13" fmla="*/ 6 h 22"/>
                <a:gd name="T14" fmla="*/ 24 w 86"/>
                <a:gd name="T15" fmla="*/ 6 h 22"/>
                <a:gd name="T16" fmla="*/ 6 w 86"/>
                <a:gd name="T17" fmla="*/ 6 h 22"/>
                <a:gd name="T18" fmla="*/ 86 w 86"/>
                <a:gd name="T19" fmla="*/ 0 h 22"/>
                <a:gd name="T20" fmla="*/ 86 w 86"/>
                <a:gd name="T21" fmla="*/ 0 h 22"/>
                <a:gd name="T22" fmla="*/ 68 w 86"/>
                <a:gd name="T23" fmla="*/ 4 h 22"/>
                <a:gd name="T24" fmla="*/ 68 w 86"/>
                <a:gd name="T25" fmla="*/ 4 h 22"/>
                <a:gd name="T26" fmla="*/ 62 w 86"/>
                <a:gd name="T27" fmla="*/ 20 h 22"/>
                <a:gd name="T28" fmla="*/ 62 w 86"/>
                <a:gd name="T29" fmla="*/ 20 h 22"/>
                <a:gd name="T30" fmla="*/ 80 w 86"/>
                <a:gd name="T31" fmla="*/ 18 h 22"/>
                <a:gd name="T32" fmla="*/ 86 w 86"/>
                <a:gd name="T33"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6" h="22">
                  <a:moveTo>
                    <a:pt x="6" y="6"/>
                  </a:moveTo>
                  <a:lnTo>
                    <a:pt x="0" y="22"/>
                  </a:lnTo>
                  <a:lnTo>
                    <a:pt x="0" y="22"/>
                  </a:lnTo>
                  <a:lnTo>
                    <a:pt x="18" y="22"/>
                  </a:lnTo>
                  <a:lnTo>
                    <a:pt x="24" y="6"/>
                  </a:lnTo>
                  <a:lnTo>
                    <a:pt x="24" y="6"/>
                  </a:lnTo>
                  <a:lnTo>
                    <a:pt x="24" y="6"/>
                  </a:lnTo>
                  <a:lnTo>
                    <a:pt x="24" y="6"/>
                  </a:lnTo>
                  <a:lnTo>
                    <a:pt x="6" y="6"/>
                  </a:lnTo>
                  <a:close/>
                  <a:moveTo>
                    <a:pt x="86" y="0"/>
                  </a:moveTo>
                  <a:lnTo>
                    <a:pt x="86" y="0"/>
                  </a:lnTo>
                  <a:lnTo>
                    <a:pt x="68" y="4"/>
                  </a:lnTo>
                  <a:lnTo>
                    <a:pt x="68" y="4"/>
                  </a:lnTo>
                  <a:lnTo>
                    <a:pt x="62" y="20"/>
                  </a:lnTo>
                  <a:lnTo>
                    <a:pt x="62" y="20"/>
                  </a:lnTo>
                  <a:lnTo>
                    <a:pt x="80" y="18"/>
                  </a:lnTo>
                  <a:lnTo>
                    <a:pt x="86" y="0"/>
                  </a:lnTo>
                  <a:close/>
                </a:path>
              </a:pathLst>
            </a:custGeom>
            <a:solidFill>
              <a:srgbClr val="64091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76" name="Freeform 2285">
              <a:extLst>
                <a:ext uri="{FF2B5EF4-FFF2-40B4-BE49-F238E27FC236}">
                  <a16:creationId xmlns:a16="http://schemas.microsoft.com/office/drawing/2014/main" id="{890CFD28-33E4-4D93-B93B-68AC97F75632}"/>
                </a:ext>
              </a:extLst>
            </p:cNvPr>
            <p:cNvSpPr>
              <a:spLocks/>
            </p:cNvSpPr>
            <p:nvPr/>
          </p:nvSpPr>
          <p:spPr bwMode="auto">
            <a:xfrm>
              <a:off x="9782868" y="3425979"/>
              <a:ext cx="42880" cy="28587"/>
            </a:xfrm>
            <a:custGeom>
              <a:avLst/>
              <a:gdLst>
                <a:gd name="T0" fmla="*/ 6 w 24"/>
                <a:gd name="T1" fmla="*/ 0 h 16"/>
                <a:gd name="T2" fmla="*/ 0 w 24"/>
                <a:gd name="T3" fmla="*/ 16 h 16"/>
                <a:gd name="T4" fmla="*/ 0 w 24"/>
                <a:gd name="T5" fmla="*/ 16 h 16"/>
                <a:gd name="T6" fmla="*/ 18 w 24"/>
                <a:gd name="T7" fmla="*/ 16 h 16"/>
                <a:gd name="T8" fmla="*/ 24 w 24"/>
                <a:gd name="T9" fmla="*/ 0 h 16"/>
                <a:gd name="T10" fmla="*/ 24 w 24"/>
                <a:gd name="T11" fmla="*/ 0 h 16"/>
                <a:gd name="T12" fmla="*/ 24 w 24"/>
                <a:gd name="T13" fmla="*/ 0 h 16"/>
                <a:gd name="T14" fmla="*/ 24 w 24"/>
                <a:gd name="T15" fmla="*/ 0 h 16"/>
                <a:gd name="T16" fmla="*/ 6 w 24"/>
                <a:gd name="T17"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16">
                  <a:moveTo>
                    <a:pt x="6" y="0"/>
                  </a:moveTo>
                  <a:lnTo>
                    <a:pt x="0" y="16"/>
                  </a:lnTo>
                  <a:lnTo>
                    <a:pt x="0" y="16"/>
                  </a:lnTo>
                  <a:lnTo>
                    <a:pt x="18" y="16"/>
                  </a:lnTo>
                  <a:lnTo>
                    <a:pt x="24" y="0"/>
                  </a:lnTo>
                  <a:lnTo>
                    <a:pt x="24" y="0"/>
                  </a:lnTo>
                  <a:lnTo>
                    <a:pt x="24" y="0"/>
                  </a:lnTo>
                  <a:lnTo>
                    <a:pt x="24" y="0"/>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77" name="Freeform 2286">
              <a:extLst>
                <a:ext uri="{FF2B5EF4-FFF2-40B4-BE49-F238E27FC236}">
                  <a16:creationId xmlns:a16="http://schemas.microsoft.com/office/drawing/2014/main" id="{9CCCF077-2711-425D-A94F-11FA53CE0958}"/>
                </a:ext>
              </a:extLst>
            </p:cNvPr>
            <p:cNvSpPr>
              <a:spLocks/>
            </p:cNvSpPr>
            <p:nvPr/>
          </p:nvSpPr>
          <p:spPr bwMode="auto">
            <a:xfrm>
              <a:off x="9893643" y="3415259"/>
              <a:ext cx="42880" cy="35734"/>
            </a:xfrm>
            <a:custGeom>
              <a:avLst/>
              <a:gdLst>
                <a:gd name="T0" fmla="*/ 24 w 24"/>
                <a:gd name="T1" fmla="*/ 0 h 20"/>
                <a:gd name="T2" fmla="*/ 24 w 24"/>
                <a:gd name="T3" fmla="*/ 0 h 20"/>
                <a:gd name="T4" fmla="*/ 6 w 24"/>
                <a:gd name="T5" fmla="*/ 4 h 20"/>
                <a:gd name="T6" fmla="*/ 6 w 24"/>
                <a:gd name="T7" fmla="*/ 4 h 20"/>
                <a:gd name="T8" fmla="*/ 0 w 24"/>
                <a:gd name="T9" fmla="*/ 20 h 20"/>
                <a:gd name="T10" fmla="*/ 0 w 24"/>
                <a:gd name="T11" fmla="*/ 20 h 20"/>
                <a:gd name="T12" fmla="*/ 18 w 24"/>
                <a:gd name="T13" fmla="*/ 18 h 20"/>
                <a:gd name="T14" fmla="*/ 24 w 24"/>
                <a:gd name="T15" fmla="*/ 0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 h="20">
                  <a:moveTo>
                    <a:pt x="24" y="0"/>
                  </a:moveTo>
                  <a:lnTo>
                    <a:pt x="24" y="0"/>
                  </a:lnTo>
                  <a:lnTo>
                    <a:pt x="6" y="4"/>
                  </a:lnTo>
                  <a:lnTo>
                    <a:pt x="6" y="4"/>
                  </a:lnTo>
                  <a:lnTo>
                    <a:pt x="0" y="20"/>
                  </a:lnTo>
                  <a:lnTo>
                    <a:pt x="0" y="20"/>
                  </a:lnTo>
                  <a:lnTo>
                    <a:pt x="18" y="18"/>
                  </a:lnTo>
                  <a:lnTo>
                    <a:pt x="2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78" name="Freeform 2287">
              <a:extLst>
                <a:ext uri="{FF2B5EF4-FFF2-40B4-BE49-F238E27FC236}">
                  <a16:creationId xmlns:a16="http://schemas.microsoft.com/office/drawing/2014/main" id="{C4DC6ED2-E6A6-403A-893F-52E8F5939F55}"/>
                </a:ext>
              </a:extLst>
            </p:cNvPr>
            <p:cNvSpPr>
              <a:spLocks/>
            </p:cNvSpPr>
            <p:nvPr/>
          </p:nvSpPr>
          <p:spPr bwMode="auto">
            <a:xfrm>
              <a:off x="9765001" y="3168696"/>
              <a:ext cx="443098" cy="382350"/>
            </a:xfrm>
            <a:custGeom>
              <a:avLst/>
              <a:gdLst>
                <a:gd name="T0" fmla="*/ 176 w 248"/>
                <a:gd name="T1" fmla="*/ 170 h 214"/>
                <a:gd name="T2" fmla="*/ 176 w 248"/>
                <a:gd name="T3" fmla="*/ 170 h 214"/>
                <a:gd name="T4" fmla="*/ 162 w 248"/>
                <a:gd name="T5" fmla="*/ 180 h 214"/>
                <a:gd name="T6" fmla="*/ 148 w 248"/>
                <a:gd name="T7" fmla="*/ 188 h 214"/>
                <a:gd name="T8" fmla="*/ 134 w 248"/>
                <a:gd name="T9" fmla="*/ 196 h 214"/>
                <a:gd name="T10" fmla="*/ 120 w 248"/>
                <a:gd name="T11" fmla="*/ 200 h 214"/>
                <a:gd name="T12" fmla="*/ 90 w 248"/>
                <a:gd name="T13" fmla="*/ 208 h 214"/>
                <a:gd name="T14" fmla="*/ 62 w 248"/>
                <a:gd name="T15" fmla="*/ 212 h 214"/>
                <a:gd name="T16" fmla="*/ 38 w 248"/>
                <a:gd name="T17" fmla="*/ 214 h 214"/>
                <a:gd name="T18" fmla="*/ 18 w 248"/>
                <a:gd name="T19" fmla="*/ 214 h 214"/>
                <a:gd name="T20" fmla="*/ 0 w 248"/>
                <a:gd name="T21" fmla="*/ 212 h 214"/>
                <a:gd name="T22" fmla="*/ 0 w 248"/>
                <a:gd name="T23" fmla="*/ 212 h 214"/>
                <a:gd name="T24" fmla="*/ 0 w 248"/>
                <a:gd name="T25" fmla="*/ 194 h 214"/>
                <a:gd name="T26" fmla="*/ 4 w 248"/>
                <a:gd name="T27" fmla="*/ 174 h 214"/>
                <a:gd name="T28" fmla="*/ 10 w 248"/>
                <a:gd name="T29" fmla="*/ 150 h 214"/>
                <a:gd name="T30" fmla="*/ 18 w 248"/>
                <a:gd name="T31" fmla="*/ 122 h 214"/>
                <a:gd name="T32" fmla="*/ 30 w 248"/>
                <a:gd name="T33" fmla="*/ 96 h 214"/>
                <a:gd name="T34" fmla="*/ 38 w 248"/>
                <a:gd name="T35" fmla="*/ 82 h 214"/>
                <a:gd name="T36" fmla="*/ 48 w 248"/>
                <a:gd name="T37" fmla="*/ 68 h 214"/>
                <a:gd name="T38" fmla="*/ 58 w 248"/>
                <a:gd name="T39" fmla="*/ 56 h 214"/>
                <a:gd name="T40" fmla="*/ 70 w 248"/>
                <a:gd name="T41" fmla="*/ 44 h 214"/>
                <a:gd name="T42" fmla="*/ 70 w 248"/>
                <a:gd name="T43" fmla="*/ 44 h 214"/>
                <a:gd name="T44" fmla="*/ 84 w 248"/>
                <a:gd name="T45" fmla="*/ 34 h 214"/>
                <a:gd name="T46" fmla="*/ 98 w 248"/>
                <a:gd name="T47" fmla="*/ 26 h 214"/>
                <a:gd name="T48" fmla="*/ 112 w 248"/>
                <a:gd name="T49" fmla="*/ 20 h 214"/>
                <a:gd name="T50" fmla="*/ 126 w 248"/>
                <a:gd name="T51" fmla="*/ 14 h 214"/>
                <a:gd name="T52" fmla="*/ 156 w 248"/>
                <a:gd name="T53" fmla="*/ 6 h 214"/>
                <a:gd name="T54" fmla="*/ 184 w 248"/>
                <a:gd name="T55" fmla="*/ 2 h 214"/>
                <a:gd name="T56" fmla="*/ 210 w 248"/>
                <a:gd name="T57" fmla="*/ 0 h 214"/>
                <a:gd name="T58" fmla="*/ 230 w 248"/>
                <a:gd name="T59" fmla="*/ 2 h 214"/>
                <a:gd name="T60" fmla="*/ 248 w 248"/>
                <a:gd name="T61" fmla="*/ 2 h 214"/>
                <a:gd name="T62" fmla="*/ 248 w 248"/>
                <a:gd name="T63" fmla="*/ 2 h 214"/>
                <a:gd name="T64" fmla="*/ 246 w 248"/>
                <a:gd name="T65" fmla="*/ 20 h 214"/>
                <a:gd name="T66" fmla="*/ 242 w 248"/>
                <a:gd name="T67" fmla="*/ 40 h 214"/>
                <a:gd name="T68" fmla="*/ 238 w 248"/>
                <a:gd name="T69" fmla="*/ 64 h 214"/>
                <a:gd name="T70" fmla="*/ 228 w 248"/>
                <a:gd name="T71" fmla="*/ 92 h 214"/>
                <a:gd name="T72" fmla="*/ 216 w 248"/>
                <a:gd name="T73" fmla="*/ 120 h 214"/>
                <a:gd name="T74" fmla="*/ 208 w 248"/>
                <a:gd name="T75" fmla="*/ 134 h 214"/>
                <a:gd name="T76" fmla="*/ 198 w 248"/>
                <a:gd name="T77" fmla="*/ 146 h 214"/>
                <a:gd name="T78" fmla="*/ 188 w 248"/>
                <a:gd name="T79" fmla="*/ 158 h 214"/>
                <a:gd name="T80" fmla="*/ 176 w 248"/>
                <a:gd name="T81" fmla="*/ 170 h 214"/>
                <a:gd name="T82" fmla="*/ 176 w 248"/>
                <a:gd name="T83" fmla="*/ 170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48" h="214">
                  <a:moveTo>
                    <a:pt x="176" y="170"/>
                  </a:moveTo>
                  <a:lnTo>
                    <a:pt x="176" y="170"/>
                  </a:lnTo>
                  <a:lnTo>
                    <a:pt x="162" y="180"/>
                  </a:lnTo>
                  <a:lnTo>
                    <a:pt x="148" y="188"/>
                  </a:lnTo>
                  <a:lnTo>
                    <a:pt x="134" y="196"/>
                  </a:lnTo>
                  <a:lnTo>
                    <a:pt x="120" y="200"/>
                  </a:lnTo>
                  <a:lnTo>
                    <a:pt x="90" y="208"/>
                  </a:lnTo>
                  <a:lnTo>
                    <a:pt x="62" y="212"/>
                  </a:lnTo>
                  <a:lnTo>
                    <a:pt x="38" y="214"/>
                  </a:lnTo>
                  <a:lnTo>
                    <a:pt x="18" y="214"/>
                  </a:lnTo>
                  <a:lnTo>
                    <a:pt x="0" y="212"/>
                  </a:lnTo>
                  <a:lnTo>
                    <a:pt x="0" y="212"/>
                  </a:lnTo>
                  <a:lnTo>
                    <a:pt x="0" y="194"/>
                  </a:lnTo>
                  <a:lnTo>
                    <a:pt x="4" y="174"/>
                  </a:lnTo>
                  <a:lnTo>
                    <a:pt x="10" y="150"/>
                  </a:lnTo>
                  <a:lnTo>
                    <a:pt x="18" y="122"/>
                  </a:lnTo>
                  <a:lnTo>
                    <a:pt x="30" y="96"/>
                  </a:lnTo>
                  <a:lnTo>
                    <a:pt x="38" y="82"/>
                  </a:lnTo>
                  <a:lnTo>
                    <a:pt x="48" y="68"/>
                  </a:lnTo>
                  <a:lnTo>
                    <a:pt x="58" y="56"/>
                  </a:lnTo>
                  <a:lnTo>
                    <a:pt x="70" y="44"/>
                  </a:lnTo>
                  <a:lnTo>
                    <a:pt x="70" y="44"/>
                  </a:lnTo>
                  <a:lnTo>
                    <a:pt x="84" y="34"/>
                  </a:lnTo>
                  <a:lnTo>
                    <a:pt x="98" y="26"/>
                  </a:lnTo>
                  <a:lnTo>
                    <a:pt x="112" y="20"/>
                  </a:lnTo>
                  <a:lnTo>
                    <a:pt x="126" y="14"/>
                  </a:lnTo>
                  <a:lnTo>
                    <a:pt x="156" y="6"/>
                  </a:lnTo>
                  <a:lnTo>
                    <a:pt x="184" y="2"/>
                  </a:lnTo>
                  <a:lnTo>
                    <a:pt x="210" y="0"/>
                  </a:lnTo>
                  <a:lnTo>
                    <a:pt x="230" y="2"/>
                  </a:lnTo>
                  <a:lnTo>
                    <a:pt x="248" y="2"/>
                  </a:lnTo>
                  <a:lnTo>
                    <a:pt x="248" y="2"/>
                  </a:lnTo>
                  <a:lnTo>
                    <a:pt x="246" y="20"/>
                  </a:lnTo>
                  <a:lnTo>
                    <a:pt x="242" y="40"/>
                  </a:lnTo>
                  <a:lnTo>
                    <a:pt x="238" y="64"/>
                  </a:lnTo>
                  <a:lnTo>
                    <a:pt x="228" y="92"/>
                  </a:lnTo>
                  <a:lnTo>
                    <a:pt x="216" y="120"/>
                  </a:lnTo>
                  <a:lnTo>
                    <a:pt x="208" y="134"/>
                  </a:lnTo>
                  <a:lnTo>
                    <a:pt x="198" y="146"/>
                  </a:lnTo>
                  <a:lnTo>
                    <a:pt x="188" y="158"/>
                  </a:lnTo>
                  <a:lnTo>
                    <a:pt x="176" y="170"/>
                  </a:lnTo>
                  <a:lnTo>
                    <a:pt x="176" y="17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79" name="Freeform 2289">
              <a:extLst>
                <a:ext uri="{FF2B5EF4-FFF2-40B4-BE49-F238E27FC236}">
                  <a16:creationId xmlns:a16="http://schemas.microsoft.com/office/drawing/2014/main" id="{1403FB00-3E72-4AAC-AD4F-48FF2C126AAF}"/>
                </a:ext>
              </a:extLst>
            </p:cNvPr>
            <p:cNvSpPr>
              <a:spLocks/>
            </p:cNvSpPr>
            <p:nvPr/>
          </p:nvSpPr>
          <p:spPr bwMode="auto">
            <a:xfrm>
              <a:off x="9407665" y="6075631"/>
              <a:ext cx="614619" cy="310883"/>
            </a:xfrm>
            <a:custGeom>
              <a:avLst/>
              <a:gdLst>
                <a:gd name="T0" fmla="*/ 344 w 344"/>
                <a:gd name="T1" fmla="*/ 170 h 174"/>
                <a:gd name="T2" fmla="*/ 344 w 344"/>
                <a:gd name="T3" fmla="*/ 132 h 174"/>
                <a:gd name="T4" fmla="*/ 344 w 344"/>
                <a:gd name="T5" fmla="*/ 132 h 174"/>
                <a:gd name="T6" fmla="*/ 344 w 344"/>
                <a:gd name="T7" fmla="*/ 118 h 174"/>
                <a:gd name="T8" fmla="*/ 342 w 344"/>
                <a:gd name="T9" fmla="*/ 106 h 174"/>
                <a:gd name="T10" fmla="*/ 338 w 344"/>
                <a:gd name="T11" fmla="*/ 92 h 174"/>
                <a:gd name="T12" fmla="*/ 334 w 344"/>
                <a:gd name="T13" fmla="*/ 80 h 174"/>
                <a:gd name="T14" fmla="*/ 328 w 344"/>
                <a:gd name="T15" fmla="*/ 70 h 174"/>
                <a:gd name="T16" fmla="*/ 322 w 344"/>
                <a:gd name="T17" fmla="*/ 58 h 174"/>
                <a:gd name="T18" fmla="*/ 314 w 344"/>
                <a:gd name="T19" fmla="*/ 48 h 174"/>
                <a:gd name="T20" fmla="*/ 306 w 344"/>
                <a:gd name="T21" fmla="*/ 40 h 174"/>
                <a:gd name="T22" fmla="*/ 296 w 344"/>
                <a:gd name="T23" fmla="*/ 30 h 174"/>
                <a:gd name="T24" fmla="*/ 286 w 344"/>
                <a:gd name="T25" fmla="*/ 22 h 174"/>
                <a:gd name="T26" fmla="*/ 276 w 344"/>
                <a:gd name="T27" fmla="*/ 16 h 174"/>
                <a:gd name="T28" fmla="*/ 264 w 344"/>
                <a:gd name="T29" fmla="*/ 10 h 174"/>
                <a:gd name="T30" fmla="*/ 252 w 344"/>
                <a:gd name="T31" fmla="*/ 6 h 174"/>
                <a:gd name="T32" fmla="*/ 240 w 344"/>
                <a:gd name="T33" fmla="*/ 4 h 174"/>
                <a:gd name="T34" fmla="*/ 226 w 344"/>
                <a:gd name="T35" fmla="*/ 2 h 174"/>
                <a:gd name="T36" fmla="*/ 214 w 344"/>
                <a:gd name="T37" fmla="*/ 0 h 174"/>
                <a:gd name="T38" fmla="*/ 132 w 344"/>
                <a:gd name="T39" fmla="*/ 0 h 174"/>
                <a:gd name="T40" fmla="*/ 132 w 344"/>
                <a:gd name="T41" fmla="*/ 0 h 174"/>
                <a:gd name="T42" fmla="*/ 118 w 344"/>
                <a:gd name="T43" fmla="*/ 2 h 174"/>
                <a:gd name="T44" fmla="*/ 106 w 344"/>
                <a:gd name="T45" fmla="*/ 4 h 174"/>
                <a:gd name="T46" fmla="*/ 94 w 344"/>
                <a:gd name="T47" fmla="*/ 6 h 174"/>
                <a:gd name="T48" fmla="*/ 80 w 344"/>
                <a:gd name="T49" fmla="*/ 10 h 174"/>
                <a:gd name="T50" fmla="*/ 70 w 344"/>
                <a:gd name="T51" fmla="*/ 16 h 174"/>
                <a:gd name="T52" fmla="*/ 58 w 344"/>
                <a:gd name="T53" fmla="*/ 22 h 174"/>
                <a:gd name="T54" fmla="*/ 48 w 344"/>
                <a:gd name="T55" fmla="*/ 30 h 174"/>
                <a:gd name="T56" fmla="*/ 40 w 344"/>
                <a:gd name="T57" fmla="*/ 40 h 174"/>
                <a:gd name="T58" fmla="*/ 30 w 344"/>
                <a:gd name="T59" fmla="*/ 48 h 174"/>
                <a:gd name="T60" fmla="*/ 24 w 344"/>
                <a:gd name="T61" fmla="*/ 58 h 174"/>
                <a:gd name="T62" fmla="*/ 16 w 344"/>
                <a:gd name="T63" fmla="*/ 70 h 174"/>
                <a:gd name="T64" fmla="*/ 12 w 344"/>
                <a:gd name="T65" fmla="*/ 80 h 174"/>
                <a:gd name="T66" fmla="*/ 6 w 344"/>
                <a:gd name="T67" fmla="*/ 92 h 174"/>
                <a:gd name="T68" fmla="*/ 4 w 344"/>
                <a:gd name="T69" fmla="*/ 106 h 174"/>
                <a:gd name="T70" fmla="*/ 2 w 344"/>
                <a:gd name="T71" fmla="*/ 118 h 174"/>
                <a:gd name="T72" fmla="*/ 0 w 344"/>
                <a:gd name="T73" fmla="*/ 132 h 174"/>
                <a:gd name="T74" fmla="*/ 0 w 344"/>
                <a:gd name="T75" fmla="*/ 174 h 174"/>
                <a:gd name="T76" fmla="*/ 344 w 344"/>
                <a:gd name="T77" fmla="*/ 170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44" h="174">
                  <a:moveTo>
                    <a:pt x="344" y="170"/>
                  </a:moveTo>
                  <a:lnTo>
                    <a:pt x="344" y="132"/>
                  </a:lnTo>
                  <a:lnTo>
                    <a:pt x="344" y="132"/>
                  </a:lnTo>
                  <a:lnTo>
                    <a:pt x="344" y="118"/>
                  </a:lnTo>
                  <a:lnTo>
                    <a:pt x="342" y="106"/>
                  </a:lnTo>
                  <a:lnTo>
                    <a:pt x="338" y="92"/>
                  </a:lnTo>
                  <a:lnTo>
                    <a:pt x="334" y="80"/>
                  </a:lnTo>
                  <a:lnTo>
                    <a:pt x="328" y="70"/>
                  </a:lnTo>
                  <a:lnTo>
                    <a:pt x="322" y="58"/>
                  </a:lnTo>
                  <a:lnTo>
                    <a:pt x="314" y="48"/>
                  </a:lnTo>
                  <a:lnTo>
                    <a:pt x="306" y="40"/>
                  </a:lnTo>
                  <a:lnTo>
                    <a:pt x="296" y="30"/>
                  </a:lnTo>
                  <a:lnTo>
                    <a:pt x="286" y="22"/>
                  </a:lnTo>
                  <a:lnTo>
                    <a:pt x="276" y="16"/>
                  </a:lnTo>
                  <a:lnTo>
                    <a:pt x="264" y="10"/>
                  </a:lnTo>
                  <a:lnTo>
                    <a:pt x="252" y="6"/>
                  </a:lnTo>
                  <a:lnTo>
                    <a:pt x="240" y="4"/>
                  </a:lnTo>
                  <a:lnTo>
                    <a:pt x="226" y="2"/>
                  </a:lnTo>
                  <a:lnTo>
                    <a:pt x="214" y="0"/>
                  </a:lnTo>
                  <a:lnTo>
                    <a:pt x="132" y="0"/>
                  </a:lnTo>
                  <a:lnTo>
                    <a:pt x="132" y="0"/>
                  </a:lnTo>
                  <a:lnTo>
                    <a:pt x="118" y="2"/>
                  </a:lnTo>
                  <a:lnTo>
                    <a:pt x="106" y="4"/>
                  </a:lnTo>
                  <a:lnTo>
                    <a:pt x="94" y="6"/>
                  </a:lnTo>
                  <a:lnTo>
                    <a:pt x="80" y="10"/>
                  </a:lnTo>
                  <a:lnTo>
                    <a:pt x="70" y="16"/>
                  </a:lnTo>
                  <a:lnTo>
                    <a:pt x="58" y="22"/>
                  </a:lnTo>
                  <a:lnTo>
                    <a:pt x="48" y="30"/>
                  </a:lnTo>
                  <a:lnTo>
                    <a:pt x="40" y="40"/>
                  </a:lnTo>
                  <a:lnTo>
                    <a:pt x="30" y="48"/>
                  </a:lnTo>
                  <a:lnTo>
                    <a:pt x="24" y="58"/>
                  </a:lnTo>
                  <a:lnTo>
                    <a:pt x="16" y="70"/>
                  </a:lnTo>
                  <a:lnTo>
                    <a:pt x="12" y="80"/>
                  </a:lnTo>
                  <a:lnTo>
                    <a:pt x="6" y="92"/>
                  </a:lnTo>
                  <a:lnTo>
                    <a:pt x="4" y="106"/>
                  </a:lnTo>
                  <a:lnTo>
                    <a:pt x="2" y="118"/>
                  </a:lnTo>
                  <a:lnTo>
                    <a:pt x="0" y="132"/>
                  </a:lnTo>
                  <a:lnTo>
                    <a:pt x="0" y="174"/>
                  </a:lnTo>
                  <a:lnTo>
                    <a:pt x="344" y="170"/>
                  </a:lnTo>
                  <a:close/>
                </a:path>
              </a:pathLst>
            </a:custGeom>
            <a:solidFill>
              <a:srgbClr val="764C24"/>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80" name="Freeform 2290">
              <a:extLst>
                <a:ext uri="{FF2B5EF4-FFF2-40B4-BE49-F238E27FC236}">
                  <a16:creationId xmlns:a16="http://schemas.microsoft.com/office/drawing/2014/main" id="{25020DA8-D68B-4DA9-8C36-BB6F26A33341}"/>
                </a:ext>
              </a:extLst>
            </p:cNvPr>
            <p:cNvSpPr>
              <a:spLocks/>
            </p:cNvSpPr>
            <p:nvPr/>
          </p:nvSpPr>
          <p:spPr bwMode="auto">
            <a:xfrm>
              <a:off x="9407665" y="6075631"/>
              <a:ext cx="614619" cy="310883"/>
            </a:xfrm>
            <a:custGeom>
              <a:avLst/>
              <a:gdLst>
                <a:gd name="T0" fmla="*/ 344 w 344"/>
                <a:gd name="T1" fmla="*/ 170 h 174"/>
                <a:gd name="T2" fmla="*/ 344 w 344"/>
                <a:gd name="T3" fmla="*/ 132 h 174"/>
                <a:gd name="T4" fmla="*/ 344 w 344"/>
                <a:gd name="T5" fmla="*/ 132 h 174"/>
                <a:gd name="T6" fmla="*/ 344 w 344"/>
                <a:gd name="T7" fmla="*/ 118 h 174"/>
                <a:gd name="T8" fmla="*/ 342 w 344"/>
                <a:gd name="T9" fmla="*/ 106 h 174"/>
                <a:gd name="T10" fmla="*/ 338 w 344"/>
                <a:gd name="T11" fmla="*/ 92 h 174"/>
                <a:gd name="T12" fmla="*/ 334 w 344"/>
                <a:gd name="T13" fmla="*/ 80 h 174"/>
                <a:gd name="T14" fmla="*/ 328 w 344"/>
                <a:gd name="T15" fmla="*/ 70 h 174"/>
                <a:gd name="T16" fmla="*/ 322 w 344"/>
                <a:gd name="T17" fmla="*/ 58 h 174"/>
                <a:gd name="T18" fmla="*/ 314 w 344"/>
                <a:gd name="T19" fmla="*/ 48 h 174"/>
                <a:gd name="T20" fmla="*/ 306 w 344"/>
                <a:gd name="T21" fmla="*/ 40 h 174"/>
                <a:gd name="T22" fmla="*/ 296 w 344"/>
                <a:gd name="T23" fmla="*/ 30 h 174"/>
                <a:gd name="T24" fmla="*/ 286 w 344"/>
                <a:gd name="T25" fmla="*/ 22 h 174"/>
                <a:gd name="T26" fmla="*/ 276 w 344"/>
                <a:gd name="T27" fmla="*/ 16 h 174"/>
                <a:gd name="T28" fmla="*/ 264 w 344"/>
                <a:gd name="T29" fmla="*/ 10 h 174"/>
                <a:gd name="T30" fmla="*/ 252 w 344"/>
                <a:gd name="T31" fmla="*/ 6 h 174"/>
                <a:gd name="T32" fmla="*/ 240 w 344"/>
                <a:gd name="T33" fmla="*/ 4 h 174"/>
                <a:gd name="T34" fmla="*/ 226 w 344"/>
                <a:gd name="T35" fmla="*/ 2 h 174"/>
                <a:gd name="T36" fmla="*/ 214 w 344"/>
                <a:gd name="T37" fmla="*/ 0 h 174"/>
                <a:gd name="T38" fmla="*/ 132 w 344"/>
                <a:gd name="T39" fmla="*/ 0 h 174"/>
                <a:gd name="T40" fmla="*/ 132 w 344"/>
                <a:gd name="T41" fmla="*/ 0 h 174"/>
                <a:gd name="T42" fmla="*/ 118 w 344"/>
                <a:gd name="T43" fmla="*/ 2 h 174"/>
                <a:gd name="T44" fmla="*/ 106 w 344"/>
                <a:gd name="T45" fmla="*/ 4 h 174"/>
                <a:gd name="T46" fmla="*/ 94 w 344"/>
                <a:gd name="T47" fmla="*/ 6 h 174"/>
                <a:gd name="T48" fmla="*/ 80 w 344"/>
                <a:gd name="T49" fmla="*/ 10 h 174"/>
                <a:gd name="T50" fmla="*/ 70 w 344"/>
                <a:gd name="T51" fmla="*/ 16 h 174"/>
                <a:gd name="T52" fmla="*/ 58 w 344"/>
                <a:gd name="T53" fmla="*/ 22 h 174"/>
                <a:gd name="T54" fmla="*/ 48 w 344"/>
                <a:gd name="T55" fmla="*/ 30 h 174"/>
                <a:gd name="T56" fmla="*/ 40 w 344"/>
                <a:gd name="T57" fmla="*/ 40 h 174"/>
                <a:gd name="T58" fmla="*/ 30 w 344"/>
                <a:gd name="T59" fmla="*/ 48 h 174"/>
                <a:gd name="T60" fmla="*/ 24 w 344"/>
                <a:gd name="T61" fmla="*/ 58 h 174"/>
                <a:gd name="T62" fmla="*/ 16 w 344"/>
                <a:gd name="T63" fmla="*/ 70 h 174"/>
                <a:gd name="T64" fmla="*/ 12 w 344"/>
                <a:gd name="T65" fmla="*/ 80 h 174"/>
                <a:gd name="T66" fmla="*/ 6 w 344"/>
                <a:gd name="T67" fmla="*/ 92 h 174"/>
                <a:gd name="T68" fmla="*/ 4 w 344"/>
                <a:gd name="T69" fmla="*/ 106 h 174"/>
                <a:gd name="T70" fmla="*/ 2 w 344"/>
                <a:gd name="T71" fmla="*/ 118 h 174"/>
                <a:gd name="T72" fmla="*/ 0 w 344"/>
                <a:gd name="T73" fmla="*/ 132 h 174"/>
                <a:gd name="T74" fmla="*/ 0 w 344"/>
                <a:gd name="T75" fmla="*/ 174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44" h="174">
                  <a:moveTo>
                    <a:pt x="344" y="170"/>
                  </a:moveTo>
                  <a:lnTo>
                    <a:pt x="344" y="132"/>
                  </a:lnTo>
                  <a:lnTo>
                    <a:pt x="344" y="132"/>
                  </a:lnTo>
                  <a:lnTo>
                    <a:pt x="344" y="118"/>
                  </a:lnTo>
                  <a:lnTo>
                    <a:pt x="342" y="106"/>
                  </a:lnTo>
                  <a:lnTo>
                    <a:pt x="338" y="92"/>
                  </a:lnTo>
                  <a:lnTo>
                    <a:pt x="334" y="80"/>
                  </a:lnTo>
                  <a:lnTo>
                    <a:pt x="328" y="70"/>
                  </a:lnTo>
                  <a:lnTo>
                    <a:pt x="322" y="58"/>
                  </a:lnTo>
                  <a:lnTo>
                    <a:pt x="314" y="48"/>
                  </a:lnTo>
                  <a:lnTo>
                    <a:pt x="306" y="40"/>
                  </a:lnTo>
                  <a:lnTo>
                    <a:pt x="296" y="30"/>
                  </a:lnTo>
                  <a:lnTo>
                    <a:pt x="286" y="22"/>
                  </a:lnTo>
                  <a:lnTo>
                    <a:pt x="276" y="16"/>
                  </a:lnTo>
                  <a:lnTo>
                    <a:pt x="264" y="10"/>
                  </a:lnTo>
                  <a:lnTo>
                    <a:pt x="252" y="6"/>
                  </a:lnTo>
                  <a:lnTo>
                    <a:pt x="240" y="4"/>
                  </a:lnTo>
                  <a:lnTo>
                    <a:pt x="226" y="2"/>
                  </a:lnTo>
                  <a:lnTo>
                    <a:pt x="214" y="0"/>
                  </a:lnTo>
                  <a:lnTo>
                    <a:pt x="132" y="0"/>
                  </a:lnTo>
                  <a:lnTo>
                    <a:pt x="132" y="0"/>
                  </a:lnTo>
                  <a:lnTo>
                    <a:pt x="118" y="2"/>
                  </a:lnTo>
                  <a:lnTo>
                    <a:pt x="106" y="4"/>
                  </a:lnTo>
                  <a:lnTo>
                    <a:pt x="94" y="6"/>
                  </a:lnTo>
                  <a:lnTo>
                    <a:pt x="80" y="10"/>
                  </a:lnTo>
                  <a:lnTo>
                    <a:pt x="70" y="16"/>
                  </a:lnTo>
                  <a:lnTo>
                    <a:pt x="58" y="22"/>
                  </a:lnTo>
                  <a:lnTo>
                    <a:pt x="48" y="30"/>
                  </a:lnTo>
                  <a:lnTo>
                    <a:pt x="40" y="40"/>
                  </a:lnTo>
                  <a:lnTo>
                    <a:pt x="30" y="48"/>
                  </a:lnTo>
                  <a:lnTo>
                    <a:pt x="24" y="58"/>
                  </a:lnTo>
                  <a:lnTo>
                    <a:pt x="16" y="70"/>
                  </a:lnTo>
                  <a:lnTo>
                    <a:pt x="12" y="80"/>
                  </a:lnTo>
                  <a:lnTo>
                    <a:pt x="6" y="92"/>
                  </a:lnTo>
                  <a:lnTo>
                    <a:pt x="4" y="106"/>
                  </a:lnTo>
                  <a:lnTo>
                    <a:pt x="2" y="118"/>
                  </a:lnTo>
                  <a:lnTo>
                    <a:pt x="0" y="132"/>
                  </a:lnTo>
                  <a:lnTo>
                    <a:pt x="0" y="174"/>
                  </a:lnTo>
                </a:path>
              </a:pathLst>
            </a:custGeom>
            <a:solidFill>
              <a:srgbClr val="764C24"/>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81" name="Freeform 2292">
              <a:extLst>
                <a:ext uri="{FF2B5EF4-FFF2-40B4-BE49-F238E27FC236}">
                  <a16:creationId xmlns:a16="http://schemas.microsoft.com/office/drawing/2014/main" id="{5D0ED173-1D83-4DB3-816B-CAE77784C0F2}"/>
                </a:ext>
              </a:extLst>
            </p:cNvPr>
            <p:cNvSpPr>
              <a:spLocks/>
            </p:cNvSpPr>
            <p:nvPr/>
          </p:nvSpPr>
          <p:spPr bwMode="auto">
            <a:xfrm>
              <a:off x="9214703" y="6200699"/>
              <a:ext cx="414511" cy="185815"/>
            </a:xfrm>
            <a:custGeom>
              <a:avLst/>
              <a:gdLst>
                <a:gd name="T0" fmla="*/ 232 w 232"/>
                <a:gd name="T1" fmla="*/ 104 h 104"/>
                <a:gd name="T2" fmla="*/ 232 w 232"/>
                <a:gd name="T3" fmla="*/ 104 h 104"/>
                <a:gd name="T4" fmla="*/ 0 w 232"/>
                <a:gd name="T5" fmla="*/ 104 h 104"/>
                <a:gd name="T6" fmla="*/ 0 w 232"/>
                <a:gd name="T7" fmla="*/ 104 h 104"/>
                <a:gd name="T8" fmla="*/ 2 w 232"/>
                <a:gd name="T9" fmla="*/ 84 h 104"/>
                <a:gd name="T10" fmla="*/ 8 w 232"/>
                <a:gd name="T11" fmla="*/ 64 h 104"/>
                <a:gd name="T12" fmla="*/ 18 w 232"/>
                <a:gd name="T13" fmla="*/ 46 h 104"/>
                <a:gd name="T14" fmla="*/ 30 w 232"/>
                <a:gd name="T15" fmla="*/ 30 h 104"/>
                <a:gd name="T16" fmla="*/ 46 w 232"/>
                <a:gd name="T17" fmla="*/ 18 h 104"/>
                <a:gd name="T18" fmla="*/ 64 w 232"/>
                <a:gd name="T19" fmla="*/ 8 h 104"/>
                <a:gd name="T20" fmla="*/ 84 w 232"/>
                <a:gd name="T21" fmla="*/ 2 h 104"/>
                <a:gd name="T22" fmla="*/ 104 w 232"/>
                <a:gd name="T23" fmla="*/ 0 h 104"/>
                <a:gd name="T24" fmla="*/ 128 w 232"/>
                <a:gd name="T25" fmla="*/ 0 h 104"/>
                <a:gd name="T26" fmla="*/ 128 w 232"/>
                <a:gd name="T27" fmla="*/ 0 h 104"/>
                <a:gd name="T28" fmla="*/ 150 w 232"/>
                <a:gd name="T29" fmla="*/ 2 h 104"/>
                <a:gd name="T30" fmla="*/ 168 w 232"/>
                <a:gd name="T31" fmla="*/ 8 h 104"/>
                <a:gd name="T32" fmla="*/ 232 w 232"/>
                <a:gd name="T33"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2" h="104">
                  <a:moveTo>
                    <a:pt x="232" y="104"/>
                  </a:moveTo>
                  <a:lnTo>
                    <a:pt x="232" y="104"/>
                  </a:lnTo>
                  <a:lnTo>
                    <a:pt x="0" y="104"/>
                  </a:lnTo>
                  <a:lnTo>
                    <a:pt x="0" y="104"/>
                  </a:lnTo>
                  <a:lnTo>
                    <a:pt x="2" y="84"/>
                  </a:lnTo>
                  <a:lnTo>
                    <a:pt x="8" y="64"/>
                  </a:lnTo>
                  <a:lnTo>
                    <a:pt x="18" y="46"/>
                  </a:lnTo>
                  <a:lnTo>
                    <a:pt x="30" y="30"/>
                  </a:lnTo>
                  <a:lnTo>
                    <a:pt x="46" y="18"/>
                  </a:lnTo>
                  <a:lnTo>
                    <a:pt x="64" y="8"/>
                  </a:lnTo>
                  <a:lnTo>
                    <a:pt x="84" y="2"/>
                  </a:lnTo>
                  <a:lnTo>
                    <a:pt x="104" y="0"/>
                  </a:lnTo>
                  <a:lnTo>
                    <a:pt x="128" y="0"/>
                  </a:lnTo>
                  <a:lnTo>
                    <a:pt x="128" y="0"/>
                  </a:lnTo>
                  <a:lnTo>
                    <a:pt x="150" y="2"/>
                  </a:lnTo>
                  <a:lnTo>
                    <a:pt x="168" y="8"/>
                  </a:lnTo>
                  <a:lnTo>
                    <a:pt x="232" y="104"/>
                  </a:lnTo>
                  <a:close/>
                </a:path>
              </a:pathLst>
            </a:custGeom>
            <a:solidFill>
              <a:srgbClr val="764C24"/>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82" name="Freeform 2293">
              <a:extLst>
                <a:ext uri="{FF2B5EF4-FFF2-40B4-BE49-F238E27FC236}">
                  <a16:creationId xmlns:a16="http://schemas.microsoft.com/office/drawing/2014/main" id="{32B1FE91-DED6-4F6E-A0B2-00CE44B9536E}"/>
                </a:ext>
              </a:extLst>
            </p:cNvPr>
            <p:cNvSpPr>
              <a:spLocks/>
            </p:cNvSpPr>
            <p:nvPr/>
          </p:nvSpPr>
          <p:spPr bwMode="auto">
            <a:xfrm>
              <a:off x="9214703" y="6200699"/>
              <a:ext cx="414511" cy="185815"/>
            </a:xfrm>
            <a:custGeom>
              <a:avLst/>
              <a:gdLst>
                <a:gd name="T0" fmla="*/ 232 w 232"/>
                <a:gd name="T1" fmla="*/ 104 h 104"/>
                <a:gd name="T2" fmla="*/ 232 w 232"/>
                <a:gd name="T3" fmla="*/ 104 h 104"/>
                <a:gd name="T4" fmla="*/ 0 w 232"/>
                <a:gd name="T5" fmla="*/ 104 h 104"/>
                <a:gd name="T6" fmla="*/ 0 w 232"/>
                <a:gd name="T7" fmla="*/ 104 h 104"/>
                <a:gd name="T8" fmla="*/ 2 w 232"/>
                <a:gd name="T9" fmla="*/ 84 h 104"/>
                <a:gd name="T10" fmla="*/ 8 w 232"/>
                <a:gd name="T11" fmla="*/ 64 h 104"/>
                <a:gd name="T12" fmla="*/ 18 w 232"/>
                <a:gd name="T13" fmla="*/ 46 h 104"/>
                <a:gd name="T14" fmla="*/ 30 w 232"/>
                <a:gd name="T15" fmla="*/ 30 h 104"/>
                <a:gd name="T16" fmla="*/ 46 w 232"/>
                <a:gd name="T17" fmla="*/ 18 h 104"/>
                <a:gd name="T18" fmla="*/ 64 w 232"/>
                <a:gd name="T19" fmla="*/ 8 h 104"/>
                <a:gd name="T20" fmla="*/ 84 w 232"/>
                <a:gd name="T21" fmla="*/ 2 h 104"/>
                <a:gd name="T22" fmla="*/ 104 w 232"/>
                <a:gd name="T23" fmla="*/ 0 h 104"/>
                <a:gd name="T24" fmla="*/ 128 w 232"/>
                <a:gd name="T25" fmla="*/ 0 h 104"/>
                <a:gd name="T26" fmla="*/ 128 w 232"/>
                <a:gd name="T27" fmla="*/ 0 h 104"/>
                <a:gd name="T28" fmla="*/ 150 w 232"/>
                <a:gd name="T29" fmla="*/ 2 h 104"/>
                <a:gd name="T30" fmla="*/ 168 w 232"/>
                <a:gd name="T31" fmla="*/ 8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32" h="104">
                  <a:moveTo>
                    <a:pt x="232" y="104"/>
                  </a:moveTo>
                  <a:lnTo>
                    <a:pt x="232" y="104"/>
                  </a:lnTo>
                  <a:lnTo>
                    <a:pt x="0" y="104"/>
                  </a:lnTo>
                  <a:lnTo>
                    <a:pt x="0" y="104"/>
                  </a:lnTo>
                  <a:lnTo>
                    <a:pt x="2" y="84"/>
                  </a:lnTo>
                  <a:lnTo>
                    <a:pt x="8" y="64"/>
                  </a:lnTo>
                  <a:lnTo>
                    <a:pt x="18" y="46"/>
                  </a:lnTo>
                  <a:lnTo>
                    <a:pt x="30" y="30"/>
                  </a:lnTo>
                  <a:lnTo>
                    <a:pt x="46" y="18"/>
                  </a:lnTo>
                  <a:lnTo>
                    <a:pt x="64" y="8"/>
                  </a:lnTo>
                  <a:lnTo>
                    <a:pt x="84" y="2"/>
                  </a:lnTo>
                  <a:lnTo>
                    <a:pt x="104" y="0"/>
                  </a:lnTo>
                  <a:lnTo>
                    <a:pt x="128" y="0"/>
                  </a:lnTo>
                  <a:lnTo>
                    <a:pt x="128" y="0"/>
                  </a:lnTo>
                  <a:lnTo>
                    <a:pt x="150" y="2"/>
                  </a:lnTo>
                  <a:lnTo>
                    <a:pt x="168" y="8"/>
                  </a:lnTo>
                </a:path>
              </a:pathLst>
            </a:custGeom>
            <a:solidFill>
              <a:srgbClr val="764C24"/>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83" name="Freeform 2295">
              <a:extLst>
                <a:ext uri="{FF2B5EF4-FFF2-40B4-BE49-F238E27FC236}">
                  <a16:creationId xmlns:a16="http://schemas.microsoft.com/office/drawing/2014/main" id="{5E68F885-00AB-4DFA-A0BA-A8E24A5A2A92}"/>
                </a:ext>
              </a:extLst>
            </p:cNvPr>
            <p:cNvSpPr>
              <a:spLocks/>
            </p:cNvSpPr>
            <p:nvPr/>
          </p:nvSpPr>
          <p:spPr bwMode="auto">
            <a:xfrm>
              <a:off x="9589906" y="6118511"/>
              <a:ext cx="618193" cy="268003"/>
            </a:xfrm>
            <a:custGeom>
              <a:avLst/>
              <a:gdLst>
                <a:gd name="T0" fmla="*/ 38 w 346"/>
                <a:gd name="T1" fmla="*/ 50 h 150"/>
                <a:gd name="T2" fmla="*/ 38 w 346"/>
                <a:gd name="T3" fmla="*/ 50 h 150"/>
                <a:gd name="T4" fmla="*/ 48 w 346"/>
                <a:gd name="T5" fmla="*/ 40 h 150"/>
                <a:gd name="T6" fmla="*/ 60 w 346"/>
                <a:gd name="T7" fmla="*/ 30 h 150"/>
                <a:gd name="T8" fmla="*/ 74 w 346"/>
                <a:gd name="T9" fmla="*/ 20 h 150"/>
                <a:gd name="T10" fmla="*/ 88 w 346"/>
                <a:gd name="T11" fmla="*/ 14 h 150"/>
                <a:gd name="T12" fmla="*/ 102 w 346"/>
                <a:gd name="T13" fmla="*/ 8 h 150"/>
                <a:gd name="T14" fmla="*/ 118 w 346"/>
                <a:gd name="T15" fmla="*/ 2 h 150"/>
                <a:gd name="T16" fmla="*/ 134 w 346"/>
                <a:gd name="T17" fmla="*/ 0 h 150"/>
                <a:gd name="T18" fmla="*/ 150 w 346"/>
                <a:gd name="T19" fmla="*/ 0 h 150"/>
                <a:gd name="T20" fmla="*/ 194 w 346"/>
                <a:gd name="T21" fmla="*/ 0 h 150"/>
                <a:gd name="T22" fmla="*/ 194 w 346"/>
                <a:gd name="T23" fmla="*/ 0 h 150"/>
                <a:gd name="T24" fmla="*/ 210 w 346"/>
                <a:gd name="T25" fmla="*/ 0 h 150"/>
                <a:gd name="T26" fmla="*/ 226 w 346"/>
                <a:gd name="T27" fmla="*/ 2 h 150"/>
                <a:gd name="T28" fmla="*/ 240 w 346"/>
                <a:gd name="T29" fmla="*/ 6 h 150"/>
                <a:gd name="T30" fmla="*/ 254 w 346"/>
                <a:gd name="T31" fmla="*/ 12 h 150"/>
                <a:gd name="T32" fmla="*/ 266 w 346"/>
                <a:gd name="T33" fmla="*/ 18 h 150"/>
                <a:gd name="T34" fmla="*/ 278 w 346"/>
                <a:gd name="T35" fmla="*/ 26 h 150"/>
                <a:gd name="T36" fmla="*/ 290 w 346"/>
                <a:gd name="T37" fmla="*/ 34 h 150"/>
                <a:gd name="T38" fmla="*/ 302 w 346"/>
                <a:gd name="T39" fmla="*/ 44 h 150"/>
                <a:gd name="T40" fmla="*/ 310 w 346"/>
                <a:gd name="T41" fmla="*/ 54 h 150"/>
                <a:gd name="T42" fmla="*/ 320 w 346"/>
                <a:gd name="T43" fmla="*/ 66 h 150"/>
                <a:gd name="T44" fmla="*/ 326 w 346"/>
                <a:gd name="T45" fmla="*/ 78 h 150"/>
                <a:gd name="T46" fmla="*/ 334 w 346"/>
                <a:gd name="T47" fmla="*/ 92 h 150"/>
                <a:gd name="T48" fmla="*/ 338 w 346"/>
                <a:gd name="T49" fmla="*/ 104 h 150"/>
                <a:gd name="T50" fmla="*/ 342 w 346"/>
                <a:gd name="T51" fmla="*/ 120 h 150"/>
                <a:gd name="T52" fmla="*/ 344 w 346"/>
                <a:gd name="T53" fmla="*/ 134 h 150"/>
                <a:gd name="T54" fmla="*/ 346 w 346"/>
                <a:gd name="T55" fmla="*/ 150 h 150"/>
                <a:gd name="T56" fmla="*/ 346 w 346"/>
                <a:gd name="T57" fmla="*/ 150 h 150"/>
                <a:gd name="T58" fmla="*/ 0 w 346"/>
                <a:gd name="T59" fmla="*/ 150 h 150"/>
                <a:gd name="T60" fmla="*/ 38 w 346"/>
                <a:gd name="T61" fmla="*/ 5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46" h="150">
                  <a:moveTo>
                    <a:pt x="38" y="50"/>
                  </a:moveTo>
                  <a:lnTo>
                    <a:pt x="38" y="50"/>
                  </a:lnTo>
                  <a:lnTo>
                    <a:pt x="48" y="40"/>
                  </a:lnTo>
                  <a:lnTo>
                    <a:pt x="60" y="30"/>
                  </a:lnTo>
                  <a:lnTo>
                    <a:pt x="74" y="20"/>
                  </a:lnTo>
                  <a:lnTo>
                    <a:pt x="88" y="14"/>
                  </a:lnTo>
                  <a:lnTo>
                    <a:pt x="102" y="8"/>
                  </a:lnTo>
                  <a:lnTo>
                    <a:pt x="118" y="2"/>
                  </a:lnTo>
                  <a:lnTo>
                    <a:pt x="134" y="0"/>
                  </a:lnTo>
                  <a:lnTo>
                    <a:pt x="150" y="0"/>
                  </a:lnTo>
                  <a:lnTo>
                    <a:pt x="194" y="0"/>
                  </a:lnTo>
                  <a:lnTo>
                    <a:pt x="194" y="0"/>
                  </a:lnTo>
                  <a:lnTo>
                    <a:pt x="210" y="0"/>
                  </a:lnTo>
                  <a:lnTo>
                    <a:pt x="226" y="2"/>
                  </a:lnTo>
                  <a:lnTo>
                    <a:pt x="240" y="6"/>
                  </a:lnTo>
                  <a:lnTo>
                    <a:pt x="254" y="12"/>
                  </a:lnTo>
                  <a:lnTo>
                    <a:pt x="266" y="18"/>
                  </a:lnTo>
                  <a:lnTo>
                    <a:pt x="278" y="26"/>
                  </a:lnTo>
                  <a:lnTo>
                    <a:pt x="290" y="34"/>
                  </a:lnTo>
                  <a:lnTo>
                    <a:pt x="302" y="44"/>
                  </a:lnTo>
                  <a:lnTo>
                    <a:pt x="310" y="54"/>
                  </a:lnTo>
                  <a:lnTo>
                    <a:pt x="320" y="66"/>
                  </a:lnTo>
                  <a:lnTo>
                    <a:pt x="326" y="78"/>
                  </a:lnTo>
                  <a:lnTo>
                    <a:pt x="334" y="92"/>
                  </a:lnTo>
                  <a:lnTo>
                    <a:pt x="338" y="104"/>
                  </a:lnTo>
                  <a:lnTo>
                    <a:pt x="342" y="120"/>
                  </a:lnTo>
                  <a:lnTo>
                    <a:pt x="344" y="134"/>
                  </a:lnTo>
                  <a:lnTo>
                    <a:pt x="346" y="150"/>
                  </a:lnTo>
                  <a:lnTo>
                    <a:pt x="346" y="150"/>
                  </a:lnTo>
                  <a:lnTo>
                    <a:pt x="0" y="150"/>
                  </a:lnTo>
                  <a:lnTo>
                    <a:pt x="38" y="50"/>
                  </a:lnTo>
                  <a:close/>
                </a:path>
              </a:pathLst>
            </a:custGeom>
            <a:solidFill>
              <a:srgbClr val="764C24"/>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84" name="Freeform 2296">
              <a:extLst>
                <a:ext uri="{FF2B5EF4-FFF2-40B4-BE49-F238E27FC236}">
                  <a16:creationId xmlns:a16="http://schemas.microsoft.com/office/drawing/2014/main" id="{933E3E66-AAF7-478C-B797-CEA84CA31BEA}"/>
                </a:ext>
              </a:extLst>
            </p:cNvPr>
            <p:cNvSpPr>
              <a:spLocks/>
            </p:cNvSpPr>
            <p:nvPr/>
          </p:nvSpPr>
          <p:spPr bwMode="auto">
            <a:xfrm>
              <a:off x="9589906" y="6118511"/>
              <a:ext cx="618193" cy="268003"/>
            </a:xfrm>
            <a:custGeom>
              <a:avLst/>
              <a:gdLst>
                <a:gd name="T0" fmla="*/ 38 w 346"/>
                <a:gd name="T1" fmla="*/ 50 h 150"/>
                <a:gd name="T2" fmla="*/ 38 w 346"/>
                <a:gd name="T3" fmla="*/ 50 h 150"/>
                <a:gd name="T4" fmla="*/ 48 w 346"/>
                <a:gd name="T5" fmla="*/ 40 h 150"/>
                <a:gd name="T6" fmla="*/ 60 w 346"/>
                <a:gd name="T7" fmla="*/ 30 h 150"/>
                <a:gd name="T8" fmla="*/ 74 w 346"/>
                <a:gd name="T9" fmla="*/ 20 h 150"/>
                <a:gd name="T10" fmla="*/ 88 w 346"/>
                <a:gd name="T11" fmla="*/ 14 h 150"/>
                <a:gd name="T12" fmla="*/ 102 w 346"/>
                <a:gd name="T13" fmla="*/ 8 h 150"/>
                <a:gd name="T14" fmla="*/ 118 w 346"/>
                <a:gd name="T15" fmla="*/ 2 h 150"/>
                <a:gd name="T16" fmla="*/ 134 w 346"/>
                <a:gd name="T17" fmla="*/ 0 h 150"/>
                <a:gd name="T18" fmla="*/ 150 w 346"/>
                <a:gd name="T19" fmla="*/ 0 h 150"/>
                <a:gd name="T20" fmla="*/ 194 w 346"/>
                <a:gd name="T21" fmla="*/ 0 h 150"/>
                <a:gd name="T22" fmla="*/ 194 w 346"/>
                <a:gd name="T23" fmla="*/ 0 h 150"/>
                <a:gd name="T24" fmla="*/ 210 w 346"/>
                <a:gd name="T25" fmla="*/ 0 h 150"/>
                <a:gd name="T26" fmla="*/ 226 w 346"/>
                <a:gd name="T27" fmla="*/ 2 h 150"/>
                <a:gd name="T28" fmla="*/ 240 w 346"/>
                <a:gd name="T29" fmla="*/ 6 h 150"/>
                <a:gd name="T30" fmla="*/ 254 w 346"/>
                <a:gd name="T31" fmla="*/ 12 h 150"/>
                <a:gd name="T32" fmla="*/ 266 w 346"/>
                <a:gd name="T33" fmla="*/ 18 h 150"/>
                <a:gd name="T34" fmla="*/ 278 w 346"/>
                <a:gd name="T35" fmla="*/ 26 h 150"/>
                <a:gd name="T36" fmla="*/ 290 w 346"/>
                <a:gd name="T37" fmla="*/ 34 h 150"/>
                <a:gd name="T38" fmla="*/ 302 w 346"/>
                <a:gd name="T39" fmla="*/ 44 h 150"/>
                <a:gd name="T40" fmla="*/ 310 w 346"/>
                <a:gd name="T41" fmla="*/ 54 h 150"/>
                <a:gd name="T42" fmla="*/ 320 w 346"/>
                <a:gd name="T43" fmla="*/ 66 h 150"/>
                <a:gd name="T44" fmla="*/ 326 w 346"/>
                <a:gd name="T45" fmla="*/ 78 h 150"/>
                <a:gd name="T46" fmla="*/ 334 w 346"/>
                <a:gd name="T47" fmla="*/ 92 h 150"/>
                <a:gd name="T48" fmla="*/ 338 w 346"/>
                <a:gd name="T49" fmla="*/ 104 h 150"/>
                <a:gd name="T50" fmla="*/ 342 w 346"/>
                <a:gd name="T51" fmla="*/ 120 h 150"/>
                <a:gd name="T52" fmla="*/ 344 w 346"/>
                <a:gd name="T53" fmla="*/ 134 h 150"/>
                <a:gd name="T54" fmla="*/ 346 w 346"/>
                <a:gd name="T55" fmla="*/ 150 h 150"/>
                <a:gd name="T56" fmla="*/ 346 w 346"/>
                <a:gd name="T57" fmla="*/ 150 h 150"/>
                <a:gd name="T58" fmla="*/ 0 w 346"/>
                <a:gd name="T59" fmla="*/ 15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46" h="150">
                  <a:moveTo>
                    <a:pt x="38" y="50"/>
                  </a:moveTo>
                  <a:lnTo>
                    <a:pt x="38" y="50"/>
                  </a:lnTo>
                  <a:lnTo>
                    <a:pt x="48" y="40"/>
                  </a:lnTo>
                  <a:lnTo>
                    <a:pt x="60" y="30"/>
                  </a:lnTo>
                  <a:lnTo>
                    <a:pt x="74" y="20"/>
                  </a:lnTo>
                  <a:lnTo>
                    <a:pt x="88" y="14"/>
                  </a:lnTo>
                  <a:lnTo>
                    <a:pt x="102" y="8"/>
                  </a:lnTo>
                  <a:lnTo>
                    <a:pt x="118" y="2"/>
                  </a:lnTo>
                  <a:lnTo>
                    <a:pt x="134" y="0"/>
                  </a:lnTo>
                  <a:lnTo>
                    <a:pt x="150" y="0"/>
                  </a:lnTo>
                  <a:lnTo>
                    <a:pt x="194" y="0"/>
                  </a:lnTo>
                  <a:lnTo>
                    <a:pt x="194" y="0"/>
                  </a:lnTo>
                  <a:lnTo>
                    <a:pt x="210" y="0"/>
                  </a:lnTo>
                  <a:lnTo>
                    <a:pt x="226" y="2"/>
                  </a:lnTo>
                  <a:lnTo>
                    <a:pt x="240" y="6"/>
                  </a:lnTo>
                  <a:lnTo>
                    <a:pt x="254" y="12"/>
                  </a:lnTo>
                  <a:lnTo>
                    <a:pt x="266" y="18"/>
                  </a:lnTo>
                  <a:lnTo>
                    <a:pt x="278" y="26"/>
                  </a:lnTo>
                  <a:lnTo>
                    <a:pt x="290" y="34"/>
                  </a:lnTo>
                  <a:lnTo>
                    <a:pt x="302" y="44"/>
                  </a:lnTo>
                  <a:lnTo>
                    <a:pt x="310" y="54"/>
                  </a:lnTo>
                  <a:lnTo>
                    <a:pt x="320" y="66"/>
                  </a:lnTo>
                  <a:lnTo>
                    <a:pt x="326" y="78"/>
                  </a:lnTo>
                  <a:lnTo>
                    <a:pt x="334" y="92"/>
                  </a:lnTo>
                  <a:lnTo>
                    <a:pt x="338" y="104"/>
                  </a:lnTo>
                  <a:lnTo>
                    <a:pt x="342" y="120"/>
                  </a:lnTo>
                  <a:lnTo>
                    <a:pt x="344" y="134"/>
                  </a:lnTo>
                  <a:lnTo>
                    <a:pt x="346" y="150"/>
                  </a:lnTo>
                  <a:lnTo>
                    <a:pt x="346" y="150"/>
                  </a:lnTo>
                  <a:lnTo>
                    <a:pt x="0" y="150"/>
                  </a:lnTo>
                </a:path>
              </a:pathLst>
            </a:custGeom>
            <a:solidFill>
              <a:srgbClr val="764C24"/>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85" name="Freeform 2298">
              <a:extLst>
                <a:ext uri="{FF2B5EF4-FFF2-40B4-BE49-F238E27FC236}">
                  <a16:creationId xmlns:a16="http://schemas.microsoft.com/office/drawing/2014/main" id="{39803169-83E0-410B-AE95-BD52CF4C474B}"/>
                </a:ext>
              </a:extLst>
            </p:cNvPr>
            <p:cNvSpPr>
              <a:spLocks/>
            </p:cNvSpPr>
            <p:nvPr/>
          </p:nvSpPr>
          <p:spPr bwMode="auto">
            <a:xfrm>
              <a:off x="9975830" y="6189979"/>
              <a:ext cx="439524" cy="196535"/>
            </a:xfrm>
            <a:custGeom>
              <a:avLst/>
              <a:gdLst>
                <a:gd name="T0" fmla="*/ 26 w 246"/>
                <a:gd name="T1" fmla="*/ 40 h 110"/>
                <a:gd name="T2" fmla="*/ 26 w 246"/>
                <a:gd name="T3" fmla="*/ 40 h 110"/>
                <a:gd name="T4" fmla="*/ 34 w 246"/>
                <a:gd name="T5" fmla="*/ 30 h 110"/>
                <a:gd name="T6" fmla="*/ 42 w 246"/>
                <a:gd name="T7" fmla="*/ 22 h 110"/>
                <a:gd name="T8" fmla="*/ 52 w 246"/>
                <a:gd name="T9" fmla="*/ 16 h 110"/>
                <a:gd name="T10" fmla="*/ 62 w 246"/>
                <a:gd name="T11" fmla="*/ 10 h 110"/>
                <a:gd name="T12" fmla="*/ 74 w 246"/>
                <a:gd name="T13" fmla="*/ 6 h 110"/>
                <a:gd name="T14" fmla="*/ 86 w 246"/>
                <a:gd name="T15" fmla="*/ 2 h 110"/>
                <a:gd name="T16" fmla="*/ 98 w 246"/>
                <a:gd name="T17" fmla="*/ 0 h 110"/>
                <a:gd name="T18" fmla="*/ 110 w 246"/>
                <a:gd name="T19" fmla="*/ 0 h 110"/>
                <a:gd name="T20" fmla="*/ 136 w 246"/>
                <a:gd name="T21" fmla="*/ 0 h 110"/>
                <a:gd name="T22" fmla="*/ 136 w 246"/>
                <a:gd name="T23" fmla="*/ 0 h 110"/>
                <a:gd name="T24" fmla="*/ 158 w 246"/>
                <a:gd name="T25" fmla="*/ 2 h 110"/>
                <a:gd name="T26" fmla="*/ 178 w 246"/>
                <a:gd name="T27" fmla="*/ 8 h 110"/>
                <a:gd name="T28" fmla="*/ 196 w 246"/>
                <a:gd name="T29" fmla="*/ 18 h 110"/>
                <a:gd name="T30" fmla="*/ 214 w 246"/>
                <a:gd name="T31" fmla="*/ 32 h 110"/>
                <a:gd name="T32" fmla="*/ 226 w 246"/>
                <a:gd name="T33" fmla="*/ 48 h 110"/>
                <a:gd name="T34" fmla="*/ 238 w 246"/>
                <a:gd name="T35" fmla="*/ 68 h 110"/>
                <a:gd name="T36" fmla="*/ 244 w 246"/>
                <a:gd name="T37" fmla="*/ 88 h 110"/>
                <a:gd name="T38" fmla="*/ 246 w 246"/>
                <a:gd name="T39" fmla="*/ 110 h 110"/>
                <a:gd name="T40" fmla="*/ 0 w 246"/>
                <a:gd name="T41" fmla="*/ 110 h 110"/>
                <a:gd name="T42" fmla="*/ 26 w 246"/>
                <a:gd name="T43" fmla="*/ 4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6" h="110">
                  <a:moveTo>
                    <a:pt x="26" y="40"/>
                  </a:moveTo>
                  <a:lnTo>
                    <a:pt x="26" y="40"/>
                  </a:lnTo>
                  <a:lnTo>
                    <a:pt x="34" y="30"/>
                  </a:lnTo>
                  <a:lnTo>
                    <a:pt x="42" y="22"/>
                  </a:lnTo>
                  <a:lnTo>
                    <a:pt x="52" y="16"/>
                  </a:lnTo>
                  <a:lnTo>
                    <a:pt x="62" y="10"/>
                  </a:lnTo>
                  <a:lnTo>
                    <a:pt x="74" y="6"/>
                  </a:lnTo>
                  <a:lnTo>
                    <a:pt x="86" y="2"/>
                  </a:lnTo>
                  <a:lnTo>
                    <a:pt x="98" y="0"/>
                  </a:lnTo>
                  <a:lnTo>
                    <a:pt x="110" y="0"/>
                  </a:lnTo>
                  <a:lnTo>
                    <a:pt x="136" y="0"/>
                  </a:lnTo>
                  <a:lnTo>
                    <a:pt x="136" y="0"/>
                  </a:lnTo>
                  <a:lnTo>
                    <a:pt x="158" y="2"/>
                  </a:lnTo>
                  <a:lnTo>
                    <a:pt x="178" y="8"/>
                  </a:lnTo>
                  <a:lnTo>
                    <a:pt x="196" y="18"/>
                  </a:lnTo>
                  <a:lnTo>
                    <a:pt x="214" y="32"/>
                  </a:lnTo>
                  <a:lnTo>
                    <a:pt x="226" y="48"/>
                  </a:lnTo>
                  <a:lnTo>
                    <a:pt x="238" y="68"/>
                  </a:lnTo>
                  <a:lnTo>
                    <a:pt x="244" y="88"/>
                  </a:lnTo>
                  <a:lnTo>
                    <a:pt x="246" y="110"/>
                  </a:lnTo>
                  <a:lnTo>
                    <a:pt x="0" y="110"/>
                  </a:lnTo>
                  <a:lnTo>
                    <a:pt x="26" y="40"/>
                  </a:lnTo>
                  <a:close/>
                </a:path>
              </a:pathLst>
            </a:custGeom>
            <a:solidFill>
              <a:srgbClr val="764C24"/>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86" name="Freeform 2299">
              <a:extLst>
                <a:ext uri="{FF2B5EF4-FFF2-40B4-BE49-F238E27FC236}">
                  <a16:creationId xmlns:a16="http://schemas.microsoft.com/office/drawing/2014/main" id="{1835414F-7146-4782-9D57-2A690A5114AA}"/>
                </a:ext>
              </a:extLst>
            </p:cNvPr>
            <p:cNvSpPr>
              <a:spLocks/>
            </p:cNvSpPr>
            <p:nvPr/>
          </p:nvSpPr>
          <p:spPr bwMode="auto">
            <a:xfrm>
              <a:off x="9975830" y="6189979"/>
              <a:ext cx="439524" cy="196535"/>
            </a:xfrm>
            <a:custGeom>
              <a:avLst/>
              <a:gdLst>
                <a:gd name="T0" fmla="*/ 26 w 246"/>
                <a:gd name="T1" fmla="*/ 40 h 110"/>
                <a:gd name="T2" fmla="*/ 26 w 246"/>
                <a:gd name="T3" fmla="*/ 40 h 110"/>
                <a:gd name="T4" fmla="*/ 34 w 246"/>
                <a:gd name="T5" fmla="*/ 30 h 110"/>
                <a:gd name="T6" fmla="*/ 42 w 246"/>
                <a:gd name="T7" fmla="*/ 22 h 110"/>
                <a:gd name="T8" fmla="*/ 52 w 246"/>
                <a:gd name="T9" fmla="*/ 16 h 110"/>
                <a:gd name="T10" fmla="*/ 62 w 246"/>
                <a:gd name="T11" fmla="*/ 10 h 110"/>
                <a:gd name="T12" fmla="*/ 74 w 246"/>
                <a:gd name="T13" fmla="*/ 6 h 110"/>
                <a:gd name="T14" fmla="*/ 86 w 246"/>
                <a:gd name="T15" fmla="*/ 2 h 110"/>
                <a:gd name="T16" fmla="*/ 98 w 246"/>
                <a:gd name="T17" fmla="*/ 0 h 110"/>
                <a:gd name="T18" fmla="*/ 110 w 246"/>
                <a:gd name="T19" fmla="*/ 0 h 110"/>
                <a:gd name="T20" fmla="*/ 136 w 246"/>
                <a:gd name="T21" fmla="*/ 0 h 110"/>
                <a:gd name="T22" fmla="*/ 136 w 246"/>
                <a:gd name="T23" fmla="*/ 0 h 110"/>
                <a:gd name="T24" fmla="*/ 158 w 246"/>
                <a:gd name="T25" fmla="*/ 2 h 110"/>
                <a:gd name="T26" fmla="*/ 178 w 246"/>
                <a:gd name="T27" fmla="*/ 8 h 110"/>
                <a:gd name="T28" fmla="*/ 196 w 246"/>
                <a:gd name="T29" fmla="*/ 18 h 110"/>
                <a:gd name="T30" fmla="*/ 214 w 246"/>
                <a:gd name="T31" fmla="*/ 32 h 110"/>
                <a:gd name="T32" fmla="*/ 226 w 246"/>
                <a:gd name="T33" fmla="*/ 48 h 110"/>
                <a:gd name="T34" fmla="*/ 238 w 246"/>
                <a:gd name="T35" fmla="*/ 68 h 110"/>
                <a:gd name="T36" fmla="*/ 244 w 246"/>
                <a:gd name="T37" fmla="*/ 88 h 110"/>
                <a:gd name="T38" fmla="*/ 246 w 246"/>
                <a:gd name="T39" fmla="*/ 110 h 110"/>
                <a:gd name="T40" fmla="*/ 0 w 246"/>
                <a:gd name="T41" fmla="*/ 11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46" h="110">
                  <a:moveTo>
                    <a:pt x="26" y="40"/>
                  </a:moveTo>
                  <a:lnTo>
                    <a:pt x="26" y="40"/>
                  </a:lnTo>
                  <a:lnTo>
                    <a:pt x="34" y="30"/>
                  </a:lnTo>
                  <a:lnTo>
                    <a:pt x="42" y="22"/>
                  </a:lnTo>
                  <a:lnTo>
                    <a:pt x="52" y="16"/>
                  </a:lnTo>
                  <a:lnTo>
                    <a:pt x="62" y="10"/>
                  </a:lnTo>
                  <a:lnTo>
                    <a:pt x="74" y="6"/>
                  </a:lnTo>
                  <a:lnTo>
                    <a:pt x="86" y="2"/>
                  </a:lnTo>
                  <a:lnTo>
                    <a:pt x="98" y="0"/>
                  </a:lnTo>
                  <a:lnTo>
                    <a:pt x="110" y="0"/>
                  </a:lnTo>
                  <a:lnTo>
                    <a:pt x="136" y="0"/>
                  </a:lnTo>
                  <a:lnTo>
                    <a:pt x="136" y="0"/>
                  </a:lnTo>
                  <a:lnTo>
                    <a:pt x="158" y="2"/>
                  </a:lnTo>
                  <a:lnTo>
                    <a:pt x="178" y="8"/>
                  </a:lnTo>
                  <a:lnTo>
                    <a:pt x="196" y="18"/>
                  </a:lnTo>
                  <a:lnTo>
                    <a:pt x="214" y="32"/>
                  </a:lnTo>
                  <a:lnTo>
                    <a:pt x="226" y="48"/>
                  </a:lnTo>
                  <a:lnTo>
                    <a:pt x="238" y="68"/>
                  </a:lnTo>
                  <a:lnTo>
                    <a:pt x="244" y="88"/>
                  </a:lnTo>
                  <a:lnTo>
                    <a:pt x="246" y="110"/>
                  </a:lnTo>
                  <a:lnTo>
                    <a:pt x="0" y="110"/>
                  </a:lnTo>
                </a:path>
              </a:pathLst>
            </a:custGeom>
            <a:solidFill>
              <a:srgbClr val="764C24"/>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87" name="Freeform 2363">
              <a:extLst>
                <a:ext uri="{FF2B5EF4-FFF2-40B4-BE49-F238E27FC236}">
                  <a16:creationId xmlns:a16="http://schemas.microsoft.com/office/drawing/2014/main" id="{662ABA88-8257-48F7-A67A-43A3BE55A6C3}"/>
                </a:ext>
              </a:extLst>
            </p:cNvPr>
            <p:cNvSpPr>
              <a:spLocks/>
            </p:cNvSpPr>
            <p:nvPr/>
          </p:nvSpPr>
          <p:spPr bwMode="auto">
            <a:xfrm>
              <a:off x="10283140" y="4358628"/>
              <a:ext cx="385924" cy="432378"/>
            </a:xfrm>
            <a:custGeom>
              <a:avLst/>
              <a:gdLst>
                <a:gd name="T0" fmla="*/ 170 w 216"/>
                <a:gd name="T1" fmla="*/ 66 h 242"/>
                <a:gd name="T2" fmla="*/ 170 w 216"/>
                <a:gd name="T3" fmla="*/ 66 h 242"/>
                <a:gd name="T4" fmla="*/ 180 w 216"/>
                <a:gd name="T5" fmla="*/ 80 h 242"/>
                <a:gd name="T6" fmla="*/ 188 w 216"/>
                <a:gd name="T7" fmla="*/ 94 h 242"/>
                <a:gd name="T8" fmla="*/ 196 w 216"/>
                <a:gd name="T9" fmla="*/ 108 h 242"/>
                <a:gd name="T10" fmla="*/ 202 w 216"/>
                <a:gd name="T11" fmla="*/ 122 h 242"/>
                <a:gd name="T12" fmla="*/ 210 w 216"/>
                <a:gd name="T13" fmla="*/ 152 h 242"/>
                <a:gd name="T14" fmla="*/ 214 w 216"/>
                <a:gd name="T15" fmla="*/ 180 h 242"/>
                <a:gd name="T16" fmla="*/ 216 w 216"/>
                <a:gd name="T17" fmla="*/ 204 h 242"/>
                <a:gd name="T18" fmla="*/ 216 w 216"/>
                <a:gd name="T19" fmla="*/ 224 h 242"/>
                <a:gd name="T20" fmla="*/ 216 w 216"/>
                <a:gd name="T21" fmla="*/ 242 h 242"/>
                <a:gd name="T22" fmla="*/ 216 w 216"/>
                <a:gd name="T23" fmla="*/ 242 h 242"/>
                <a:gd name="T24" fmla="*/ 198 w 216"/>
                <a:gd name="T25" fmla="*/ 242 h 242"/>
                <a:gd name="T26" fmla="*/ 178 w 216"/>
                <a:gd name="T27" fmla="*/ 240 h 242"/>
                <a:gd name="T28" fmla="*/ 154 w 216"/>
                <a:gd name="T29" fmla="*/ 234 h 242"/>
                <a:gd name="T30" fmla="*/ 126 w 216"/>
                <a:gd name="T31" fmla="*/ 226 h 242"/>
                <a:gd name="T32" fmla="*/ 98 w 216"/>
                <a:gd name="T33" fmla="*/ 214 h 242"/>
                <a:gd name="T34" fmla="*/ 84 w 216"/>
                <a:gd name="T35" fmla="*/ 206 h 242"/>
                <a:gd name="T36" fmla="*/ 70 w 216"/>
                <a:gd name="T37" fmla="*/ 198 h 242"/>
                <a:gd name="T38" fmla="*/ 58 w 216"/>
                <a:gd name="T39" fmla="*/ 188 h 242"/>
                <a:gd name="T40" fmla="*/ 46 w 216"/>
                <a:gd name="T41" fmla="*/ 176 h 242"/>
                <a:gd name="T42" fmla="*/ 46 w 216"/>
                <a:gd name="T43" fmla="*/ 176 h 242"/>
                <a:gd name="T44" fmla="*/ 36 w 216"/>
                <a:gd name="T45" fmla="*/ 162 h 242"/>
                <a:gd name="T46" fmla="*/ 28 w 216"/>
                <a:gd name="T47" fmla="*/ 148 h 242"/>
                <a:gd name="T48" fmla="*/ 20 w 216"/>
                <a:gd name="T49" fmla="*/ 134 h 242"/>
                <a:gd name="T50" fmla="*/ 14 w 216"/>
                <a:gd name="T51" fmla="*/ 120 h 242"/>
                <a:gd name="T52" fmla="*/ 6 w 216"/>
                <a:gd name="T53" fmla="*/ 90 h 242"/>
                <a:gd name="T54" fmla="*/ 2 w 216"/>
                <a:gd name="T55" fmla="*/ 62 h 242"/>
                <a:gd name="T56" fmla="*/ 0 w 216"/>
                <a:gd name="T57" fmla="*/ 38 h 242"/>
                <a:gd name="T58" fmla="*/ 0 w 216"/>
                <a:gd name="T59" fmla="*/ 18 h 242"/>
                <a:gd name="T60" fmla="*/ 2 w 216"/>
                <a:gd name="T61" fmla="*/ 0 h 242"/>
                <a:gd name="T62" fmla="*/ 2 w 216"/>
                <a:gd name="T63" fmla="*/ 0 h 242"/>
                <a:gd name="T64" fmla="*/ 20 w 216"/>
                <a:gd name="T65" fmla="*/ 2 h 242"/>
                <a:gd name="T66" fmla="*/ 40 w 216"/>
                <a:gd name="T67" fmla="*/ 4 h 242"/>
                <a:gd name="T68" fmla="*/ 64 w 216"/>
                <a:gd name="T69" fmla="*/ 8 h 242"/>
                <a:gd name="T70" fmla="*/ 90 w 216"/>
                <a:gd name="T71" fmla="*/ 16 h 242"/>
                <a:gd name="T72" fmla="*/ 118 w 216"/>
                <a:gd name="T73" fmla="*/ 28 h 242"/>
                <a:gd name="T74" fmla="*/ 132 w 216"/>
                <a:gd name="T75" fmla="*/ 36 h 242"/>
                <a:gd name="T76" fmla="*/ 146 w 216"/>
                <a:gd name="T77" fmla="*/ 44 h 242"/>
                <a:gd name="T78" fmla="*/ 158 w 216"/>
                <a:gd name="T79" fmla="*/ 56 h 242"/>
                <a:gd name="T80" fmla="*/ 170 w 216"/>
                <a:gd name="T81" fmla="*/ 66 h 242"/>
                <a:gd name="T82" fmla="*/ 170 w 216"/>
                <a:gd name="T83" fmla="*/ 66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6" h="242">
                  <a:moveTo>
                    <a:pt x="170" y="66"/>
                  </a:moveTo>
                  <a:lnTo>
                    <a:pt x="170" y="66"/>
                  </a:lnTo>
                  <a:lnTo>
                    <a:pt x="180" y="80"/>
                  </a:lnTo>
                  <a:lnTo>
                    <a:pt x="188" y="94"/>
                  </a:lnTo>
                  <a:lnTo>
                    <a:pt x="196" y="108"/>
                  </a:lnTo>
                  <a:lnTo>
                    <a:pt x="202" y="122"/>
                  </a:lnTo>
                  <a:lnTo>
                    <a:pt x="210" y="152"/>
                  </a:lnTo>
                  <a:lnTo>
                    <a:pt x="214" y="180"/>
                  </a:lnTo>
                  <a:lnTo>
                    <a:pt x="216" y="204"/>
                  </a:lnTo>
                  <a:lnTo>
                    <a:pt x="216" y="224"/>
                  </a:lnTo>
                  <a:lnTo>
                    <a:pt x="216" y="242"/>
                  </a:lnTo>
                  <a:lnTo>
                    <a:pt x="216" y="242"/>
                  </a:lnTo>
                  <a:lnTo>
                    <a:pt x="198" y="242"/>
                  </a:lnTo>
                  <a:lnTo>
                    <a:pt x="178" y="240"/>
                  </a:lnTo>
                  <a:lnTo>
                    <a:pt x="154" y="234"/>
                  </a:lnTo>
                  <a:lnTo>
                    <a:pt x="126" y="226"/>
                  </a:lnTo>
                  <a:lnTo>
                    <a:pt x="98" y="214"/>
                  </a:lnTo>
                  <a:lnTo>
                    <a:pt x="84" y="206"/>
                  </a:lnTo>
                  <a:lnTo>
                    <a:pt x="70" y="198"/>
                  </a:lnTo>
                  <a:lnTo>
                    <a:pt x="58" y="188"/>
                  </a:lnTo>
                  <a:lnTo>
                    <a:pt x="46" y="176"/>
                  </a:lnTo>
                  <a:lnTo>
                    <a:pt x="46" y="176"/>
                  </a:lnTo>
                  <a:lnTo>
                    <a:pt x="36" y="162"/>
                  </a:lnTo>
                  <a:lnTo>
                    <a:pt x="28" y="148"/>
                  </a:lnTo>
                  <a:lnTo>
                    <a:pt x="20" y="134"/>
                  </a:lnTo>
                  <a:lnTo>
                    <a:pt x="14" y="120"/>
                  </a:lnTo>
                  <a:lnTo>
                    <a:pt x="6" y="90"/>
                  </a:lnTo>
                  <a:lnTo>
                    <a:pt x="2" y="62"/>
                  </a:lnTo>
                  <a:lnTo>
                    <a:pt x="0" y="38"/>
                  </a:lnTo>
                  <a:lnTo>
                    <a:pt x="0" y="18"/>
                  </a:lnTo>
                  <a:lnTo>
                    <a:pt x="2" y="0"/>
                  </a:lnTo>
                  <a:lnTo>
                    <a:pt x="2" y="0"/>
                  </a:lnTo>
                  <a:lnTo>
                    <a:pt x="20" y="2"/>
                  </a:lnTo>
                  <a:lnTo>
                    <a:pt x="40" y="4"/>
                  </a:lnTo>
                  <a:lnTo>
                    <a:pt x="64" y="8"/>
                  </a:lnTo>
                  <a:lnTo>
                    <a:pt x="90" y="16"/>
                  </a:lnTo>
                  <a:lnTo>
                    <a:pt x="118" y="28"/>
                  </a:lnTo>
                  <a:lnTo>
                    <a:pt x="132" y="36"/>
                  </a:lnTo>
                  <a:lnTo>
                    <a:pt x="146" y="44"/>
                  </a:lnTo>
                  <a:lnTo>
                    <a:pt x="158" y="56"/>
                  </a:lnTo>
                  <a:lnTo>
                    <a:pt x="170" y="66"/>
                  </a:lnTo>
                  <a:lnTo>
                    <a:pt x="170" y="66"/>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88" name="Freeform 2369">
              <a:extLst>
                <a:ext uri="{FF2B5EF4-FFF2-40B4-BE49-F238E27FC236}">
                  <a16:creationId xmlns:a16="http://schemas.microsoft.com/office/drawing/2014/main" id="{910CE7A6-A8D5-4BE3-A1AE-9FE59D22F957}"/>
                </a:ext>
              </a:extLst>
            </p:cNvPr>
            <p:cNvSpPr>
              <a:spLocks/>
            </p:cNvSpPr>
            <p:nvPr/>
          </p:nvSpPr>
          <p:spPr bwMode="auto">
            <a:xfrm>
              <a:off x="9211129" y="2872107"/>
              <a:ext cx="475258" cy="804008"/>
            </a:xfrm>
            <a:custGeom>
              <a:avLst/>
              <a:gdLst>
                <a:gd name="T0" fmla="*/ 98 w 266"/>
                <a:gd name="T1" fmla="*/ 50 h 450"/>
                <a:gd name="T2" fmla="*/ 132 w 266"/>
                <a:gd name="T3" fmla="*/ 50 h 450"/>
                <a:gd name="T4" fmla="*/ 170 w 266"/>
                <a:gd name="T5" fmla="*/ 64 h 450"/>
                <a:gd name="T6" fmla="*/ 194 w 266"/>
                <a:gd name="T7" fmla="*/ 88 h 450"/>
                <a:gd name="T8" fmla="*/ 210 w 266"/>
                <a:gd name="T9" fmla="*/ 120 h 450"/>
                <a:gd name="T10" fmla="*/ 212 w 266"/>
                <a:gd name="T11" fmla="*/ 162 h 450"/>
                <a:gd name="T12" fmla="*/ 198 w 266"/>
                <a:gd name="T13" fmla="*/ 198 h 450"/>
                <a:gd name="T14" fmla="*/ 178 w 266"/>
                <a:gd name="T15" fmla="*/ 220 h 450"/>
                <a:gd name="T16" fmla="*/ 138 w 266"/>
                <a:gd name="T17" fmla="*/ 252 h 450"/>
                <a:gd name="T18" fmla="*/ 102 w 266"/>
                <a:gd name="T19" fmla="*/ 286 h 450"/>
                <a:gd name="T20" fmla="*/ 98 w 266"/>
                <a:gd name="T21" fmla="*/ 304 h 450"/>
                <a:gd name="T22" fmla="*/ 98 w 266"/>
                <a:gd name="T23" fmla="*/ 322 h 450"/>
                <a:gd name="T24" fmla="*/ 114 w 266"/>
                <a:gd name="T25" fmla="*/ 348 h 450"/>
                <a:gd name="T26" fmla="*/ 132 w 266"/>
                <a:gd name="T27" fmla="*/ 356 h 450"/>
                <a:gd name="T28" fmla="*/ 154 w 266"/>
                <a:gd name="T29" fmla="*/ 356 h 450"/>
                <a:gd name="T30" fmla="*/ 178 w 266"/>
                <a:gd name="T31" fmla="*/ 350 h 450"/>
                <a:gd name="T32" fmla="*/ 202 w 266"/>
                <a:gd name="T33" fmla="*/ 328 h 450"/>
                <a:gd name="T34" fmla="*/ 208 w 266"/>
                <a:gd name="T35" fmla="*/ 306 h 450"/>
                <a:gd name="T36" fmla="*/ 262 w 266"/>
                <a:gd name="T37" fmla="*/ 264 h 450"/>
                <a:gd name="T38" fmla="*/ 266 w 266"/>
                <a:gd name="T39" fmla="*/ 306 h 450"/>
                <a:gd name="T40" fmla="*/ 256 w 266"/>
                <a:gd name="T41" fmla="*/ 344 h 450"/>
                <a:gd name="T42" fmla="*/ 216 w 266"/>
                <a:gd name="T43" fmla="*/ 386 h 450"/>
                <a:gd name="T44" fmla="*/ 170 w 266"/>
                <a:gd name="T45" fmla="*/ 450 h 450"/>
                <a:gd name="T46" fmla="*/ 134 w 266"/>
                <a:gd name="T47" fmla="*/ 406 h 450"/>
                <a:gd name="T48" fmla="*/ 106 w 266"/>
                <a:gd name="T49" fmla="*/ 404 h 450"/>
                <a:gd name="T50" fmla="*/ 84 w 266"/>
                <a:gd name="T51" fmla="*/ 394 h 450"/>
                <a:gd name="T52" fmla="*/ 48 w 266"/>
                <a:gd name="T53" fmla="*/ 354 h 450"/>
                <a:gd name="T54" fmla="*/ 38 w 266"/>
                <a:gd name="T55" fmla="*/ 316 h 450"/>
                <a:gd name="T56" fmla="*/ 42 w 266"/>
                <a:gd name="T57" fmla="*/ 282 h 450"/>
                <a:gd name="T58" fmla="*/ 60 w 266"/>
                <a:gd name="T59" fmla="*/ 252 h 450"/>
                <a:gd name="T60" fmla="*/ 90 w 266"/>
                <a:gd name="T61" fmla="*/ 222 h 450"/>
                <a:gd name="T62" fmla="*/ 136 w 266"/>
                <a:gd name="T63" fmla="*/ 188 h 450"/>
                <a:gd name="T64" fmla="*/ 150 w 266"/>
                <a:gd name="T65" fmla="*/ 170 h 450"/>
                <a:gd name="T66" fmla="*/ 156 w 266"/>
                <a:gd name="T67" fmla="*/ 144 h 450"/>
                <a:gd name="T68" fmla="*/ 150 w 266"/>
                <a:gd name="T69" fmla="*/ 124 h 450"/>
                <a:gd name="T70" fmla="*/ 132 w 266"/>
                <a:gd name="T71" fmla="*/ 104 h 450"/>
                <a:gd name="T72" fmla="*/ 110 w 266"/>
                <a:gd name="T73" fmla="*/ 98 h 450"/>
                <a:gd name="T74" fmla="*/ 94 w 266"/>
                <a:gd name="T75" fmla="*/ 100 h 450"/>
                <a:gd name="T76" fmla="*/ 68 w 266"/>
                <a:gd name="T77" fmla="*/ 118 h 450"/>
                <a:gd name="T78" fmla="*/ 60 w 266"/>
                <a:gd name="T79" fmla="*/ 138 h 450"/>
                <a:gd name="T80" fmla="*/ 62 w 266"/>
                <a:gd name="T81" fmla="*/ 176 h 450"/>
                <a:gd name="T82" fmla="*/ 2 w 266"/>
                <a:gd name="T83" fmla="*/ 170 h 450"/>
                <a:gd name="T84" fmla="*/ 8 w 266"/>
                <a:gd name="T85" fmla="*/ 112 h 450"/>
                <a:gd name="T86" fmla="*/ 28 w 266"/>
                <a:gd name="T87" fmla="*/ 82 h 450"/>
                <a:gd name="T88" fmla="*/ 48 w 266"/>
                <a:gd name="T89" fmla="*/ 10 h 4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66" h="450">
                  <a:moveTo>
                    <a:pt x="84" y="0"/>
                  </a:moveTo>
                  <a:lnTo>
                    <a:pt x="98" y="50"/>
                  </a:lnTo>
                  <a:lnTo>
                    <a:pt x="98" y="50"/>
                  </a:lnTo>
                  <a:lnTo>
                    <a:pt x="118" y="50"/>
                  </a:lnTo>
                  <a:lnTo>
                    <a:pt x="118" y="50"/>
                  </a:lnTo>
                  <a:lnTo>
                    <a:pt x="132" y="50"/>
                  </a:lnTo>
                  <a:lnTo>
                    <a:pt x="146" y="52"/>
                  </a:lnTo>
                  <a:lnTo>
                    <a:pt x="158" y="58"/>
                  </a:lnTo>
                  <a:lnTo>
                    <a:pt x="170" y="64"/>
                  </a:lnTo>
                  <a:lnTo>
                    <a:pt x="170" y="64"/>
                  </a:lnTo>
                  <a:lnTo>
                    <a:pt x="184" y="74"/>
                  </a:lnTo>
                  <a:lnTo>
                    <a:pt x="194" y="88"/>
                  </a:lnTo>
                  <a:lnTo>
                    <a:pt x="204" y="102"/>
                  </a:lnTo>
                  <a:lnTo>
                    <a:pt x="210" y="120"/>
                  </a:lnTo>
                  <a:lnTo>
                    <a:pt x="210" y="120"/>
                  </a:lnTo>
                  <a:lnTo>
                    <a:pt x="212" y="134"/>
                  </a:lnTo>
                  <a:lnTo>
                    <a:pt x="214" y="148"/>
                  </a:lnTo>
                  <a:lnTo>
                    <a:pt x="212" y="162"/>
                  </a:lnTo>
                  <a:lnTo>
                    <a:pt x="210" y="174"/>
                  </a:lnTo>
                  <a:lnTo>
                    <a:pt x="204" y="186"/>
                  </a:lnTo>
                  <a:lnTo>
                    <a:pt x="198" y="198"/>
                  </a:lnTo>
                  <a:lnTo>
                    <a:pt x="190" y="210"/>
                  </a:lnTo>
                  <a:lnTo>
                    <a:pt x="178" y="220"/>
                  </a:lnTo>
                  <a:lnTo>
                    <a:pt x="178" y="220"/>
                  </a:lnTo>
                  <a:lnTo>
                    <a:pt x="162" y="236"/>
                  </a:lnTo>
                  <a:lnTo>
                    <a:pt x="138" y="252"/>
                  </a:lnTo>
                  <a:lnTo>
                    <a:pt x="138" y="252"/>
                  </a:lnTo>
                  <a:lnTo>
                    <a:pt x="116" y="270"/>
                  </a:lnTo>
                  <a:lnTo>
                    <a:pt x="108" y="278"/>
                  </a:lnTo>
                  <a:lnTo>
                    <a:pt x="102" y="286"/>
                  </a:lnTo>
                  <a:lnTo>
                    <a:pt x="102" y="286"/>
                  </a:lnTo>
                  <a:lnTo>
                    <a:pt x="98" y="294"/>
                  </a:lnTo>
                  <a:lnTo>
                    <a:pt x="98" y="304"/>
                  </a:lnTo>
                  <a:lnTo>
                    <a:pt x="96" y="312"/>
                  </a:lnTo>
                  <a:lnTo>
                    <a:pt x="98" y="322"/>
                  </a:lnTo>
                  <a:lnTo>
                    <a:pt x="98" y="322"/>
                  </a:lnTo>
                  <a:lnTo>
                    <a:pt x="102" y="332"/>
                  </a:lnTo>
                  <a:lnTo>
                    <a:pt x="108" y="340"/>
                  </a:lnTo>
                  <a:lnTo>
                    <a:pt x="114" y="348"/>
                  </a:lnTo>
                  <a:lnTo>
                    <a:pt x="122" y="352"/>
                  </a:lnTo>
                  <a:lnTo>
                    <a:pt x="122" y="352"/>
                  </a:lnTo>
                  <a:lnTo>
                    <a:pt x="132" y="356"/>
                  </a:lnTo>
                  <a:lnTo>
                    <a:pt x="144" y="358"/>
                  </a:lnTo>
                  <a:lnTo>
                    <a:pt x="144" y="358"/>
                  </a:lnTo>
                  <a:lnTo>
                    <a:pt x="154" y="356"/>
                  </a:lnTo>
                  <a:lnTo>
                    <a:pt x="166" y="354"/>
                  </a:lnTo>
                  <a:lnTo>
                    <a:pt x="166" y="354"/>
                  </a:lnTo>
                  <a:lnTo>
                    <a:pt x="178" y="350"/>
                  </a:lnTo>
                  <a:lnTo>
                    <a:pt x="188" y="344"/>
                  </a:lnTo>
                  <a:lnTo>
                    <a:pt x="196" y="336"/>
                  </a:lnTo>
                  <a:lnTo>
                    <a:pt x="202" y="328"/>
                  </a:lnTo>
                  <a:lnTo>
                    <a:pt x="202" y="328"/>
                  </a:lnTo>
                  <a:lnTo>
                    <a:pt x="206" y="316"/>
                  </a:lnTo>
                  <a:lnTo>
                    <a:pt x="208" y="306"/>
                  </a:lnTo>
                  <a:lnTo>
                    <a:pt x="208" y="292"/>
                  </a:lnTo>
                  <a:lnTo>
                    <a:pt x="206" y="278"/>
                  </a:lnTo>
                  <a:lnTo>
                    <a:pt x="262" y="264"/>
                  </a:lnTo>
                  <a:lnTo>
                    <a:pt x="262" y="264"/>
                  </a:lnTo>
                  <a:lnTo>
                    <a:pt x="266" y="286"/>
                  </a:lnTo>
                  <a:lnTo>
                    <a:pt x="266" y="306"/>
                  </a:lnTo>
                  <a:lnTo>
                    <a:pt x="264" y="326"/>
                  </a:lnTo>
                  <a:lnTo>
                    <a:pt x="256" y="344"/>
                  </a:lnTo>
                  <a:lnTo>
                    <a:pt x="256" y="344"/>
                  </a:lnTo>
                  <a:lnTo>
                    <a:pt x="246" y="360"/>
                  </a:lnTo>
                  <a:lnTo>
                    <a:pt x="232" y="374"/>
                  </a:lnTo>
                  <a:lnTo>
                    <a:pt x="216" y="386"/>
                  </a:lnTo>
                  <a:lnTo>
                    <a:pt x="194" y="396"/>
                  </a:lnTo>
                  <a:lnTo>
                    <a:pt x="206" y="440"/>
                  </a:lnTo>
                  <a:lnTo>
                    <a:pt x="170" y="450"/>
                  </a:lnTo>
                  <a:lnTo>
                    <a:pt x="158" y="404"/>
                  </a:lnTo>
                  <a:lnTo>
                    <a:pt x="158" y="404"/>
                  </a:lnTo>
                  <a:lnTo>
                    <a:pt x="134" y="406"/>
                  </a:lnTo>
                  <a:lnTo>
                    <a:pt x="134" y="406"/>
                  </a:lnTo>
                  <a:lnTo>
                    <a:pt x="120" y="406"/>
                  </a:lnTo>
                  <a:lnTo>
                    <a:pt x="106" y="404"/>
                  </a:lnTo>
                  <a:lnTo>
                    <a:pt x="94" y="400"/>
                  </a:lnTo>
                  <a:lnTo>
                    <a:pt x="84" y="394"/>
                  </a:lnTo>
                  <a:lnTo>
                    <a:pt x="84" y="394"/>
                  </a:lnTo>
                  <a:lnTo>
                    <a:pt x="70" y="384"/>
                  </a:lnTo>
                  <a:lnTo>
                    <a:pt x="58" y="370"/>
                  </a:lnTo>
                  <a:lnTo>
                    <a:pt x="48" y="354"/>
                  </a:lnTo>
                  <a:lnTo>
                    <a:pt x="42" y="336"/>
                  </a:lnTo>
                  <a:lnTo>
                    <a:pt x="42" y="336"/>
                  </a:lnTo>
                  <a:lnTo>
                    <a:pt x="38" y="316"/>
                  </a:lnTo>
                  <a:lnTo>
                    <a:pt x="38" y="298"/>
                  </a:lnTo>
                  <a:lnTo>
                    <a:pt x="38" y="298"/>
                  </a:lnTo>
                  <a:lnTo>
                    <a:pt x="42" y="282"/>
                  </a:lnTo>
                  <a:lnTo>
                    <a:pt x="50" y="266"/>
                  </a:lnTo>
                  <a:lnTo>
                    <a:pt x="50" y="266"/>
                  </a:lnTo>
                  <a:lnTo>
                    <a:pt x="60" y="252"/>
                  </a:lnTo>
                  <a:lnTo>
                    <a:pt x="72" y="238"/>
                  </a:lnTo>
                  <a:lnTo>
                    <a:pt x="72" y="238"/>
                  </a:lnTo>
                  <a:lnTo>
                    <a:pt x="90" y="222"/>
                  </a:lnTo>
                  <a:lnTo>
                    <a:pt x="114" y="204"/>
                  </a:lnTo>
                  <a:lnTo>
                    <a:pt x="114" y="204"/>
                  </a:lnTo>
                  <a:lnTo>
                    <a:pt x="136" y="188"/>
                  </a:lnTo>
                  <a:lnTo>
                    <a:pt x="144" y="178"/>
                  </a:lnTo>
                  <a:lnTo>
                    <a:pt x="150" y="170"/>
                  </a:lnTo>
                  <a:lnTo>
                    <a:pt x="150" y="170"/>
                  </a:lnTo>
                  <a:lnTo>
                    <a:pt x="154" y="162"/>
                  </a:lnTo>
                  <a:lnTo>
                    <a:pt x="156" y="154"/>
                  </a:lnTo>
                  <a:lnTo>
                    <a:pt x="156" y="144"/>
                  </a:lnTo>
                  <a:lnTo>
                    <a:pt x="154" y="136"/>
                  </a:lnTo>
                  <a:lnTo>
                    <a:pt x="154" y="136"/>
                  </a:lnTo>
                  <a:lnTo>
                    <a:pt x="150" y="124"/>
                  </a:lnTo>
                  <a:lnTo>
                    <a:pt x="146" y="116"/>
                  </a:lnTo>
                  <a:lnTo>
                    <a:pt x="138" y="110"/>
                  </a:lnTo>
                  <a:lnTo>
                    <a:pt x="132" y="104"/>
                  </a:lnTo>
                  <a:lnTo>
                    <a:pt x="132" y="104"/>
                  </a:lnTo>
                  <a:lnTo>
                    <a:pt x="122" y="100"/>
                  </a:lnTo>
                  <a:lnTo>
                    <a:pt x="110" y="98"/>
                  </a:lnTo>
                  <a:lnTo>
                    <a:pt x="110" y="98"/>
                  </a:lnTo>
                  <a:lnTo>
                    <a:pt x="94" y="100"/>
                  </a:lnTo>
                  <a:lnTo>
                    <a:pt x="94" y="100"/>
                  </a:lnTo>
                  <a:lnTo>
                    <a:pt x="84" y="104"/>
                  </a:lnTo>
                  <a:lnTo>
                    <a:pt x="74" y="110"/>
                  </a:lnTo>
                  <a:lnTo>
                    <a:pt x="68" y="118"/>
                  </a:lnTo>
                  <a:lnTo>
                    <a:pt x="62" y="128"/>
                  </a:lnTo>
                  <a:lnTo>
                    <a:pt x="62" y="128"/>
                  </a:lnTo>
                  <a:lnTo>
                    <a:pt x="60" y="138"/>
                  </a:lnTo>
                  <a:lnTo>
                    <a:pt x="58" y="150"/>
                  </a:lnTo>
                  <a:lnTo>
                    <a:pt x="58" y="162"/>
                  </a:lnTo>
                  <a:lnTo>
                    <a:pt x="62" y="176"/>
                  </a:lnTo>
                  <a:lnTo>
                    <a:pt x="6" y="192"/>
                  </a:lnTo>
                  <a:lnTo>
                    <a:pt x="6" y="192"/>
                  </a:lnTo>
                  <a:lnTo>
                    <a:pt x="2" y="170"/>
                  </a:lnTo>
                  <a:lnTo>
                    <a:pt x="0" y="148"/>
                  </a:lnTo>
                  <a:lnTo>
                    <a:pt x="2" y="130"/>
                  </a:lnTo>
                  <a:lnTo>
                    <a:pt x="8" y="112"/>
                  </a:lnTo>
                  <a:lnTo>
                    <a:pt x="8" y="112"/>
                  </a:lnTo>
                  <a:lnTo>
                    <a:pt x="16" y="96"/>
                  </a:lnTo>
                  <a:lnTo>
                    <a:pt x="28" y="82"/>
                  </a:lnTo>
                  <a:lnTo>
                    <a:pt x="44" y="70"/>
                  </a:lnTo>
                  <a:lnTo>
                    <a:pt x="62" y="62"/>
                  </a:lnTo>
                  <a:lnTo>
                    <a:pt x="48" y="10"/>
                  </a:lnTo>
                  <a:lnTo>
                    <a:pt x="8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89" name="Freeform 2370">
              <a:extLst>
                <a:ext uri="{FF2B5EF4-FFF2-40B4-BE49-F238E27FC236}">
                  <a16:creationId xmlns:a16="http://schemas.microsoft.com/office/drawing/2014/main" id="{11C08F12-13AD-448E-99F1-11ACF44FA560}"/>
                </a:ext>
              </a:extLst>
            </p:cNvPr>
            <p:cNvSpPr>
              <a:spLocks/>
            </p:cNvSpPr>
            <p:nvPr/>
          </p:nvSpPr>
          <p:spPr bwMode="auto">
            <a:xfrm>
              <a:off x="9182542" y="2836373"/>
              <a:ext cx="532432" cy="875475"/>
            </a:xfrm>
            <a:custGeom>
              <a:avLst/>
              <a:gdLst>
                <a:gd name="T0" fmla="*/ 60 w 298"/>
                <a:gd name="T1" fmla="*/ 14 h 490"/>
                <a:gd name="T2" fmla="*/ 58 w 298"/>
                <a:gd name="T3" fmla="*/ 72 h 490"/>
                <a:gd name="T4" fmla="*/ 28 w 298"/>
                <a:gd name="T5" fmla="*/ 96 h 490"/>
                <a:gd name="T6" fmla="*/ 10 w 298"/>
                <a:gd name="T7" fmla="*/ 126 h 490"/>
                <a:gd name="T8" fmla="*/ 2 w 298"/>
                <a:gd name="T9" fmla="*/ 192 h 490"/>
                <a:gd name="T10" fmla="*/ 26 w 298"/>
                <a:gd name="T11" fmla="*/ 228 h 490"/>
                <a:gd name="T12" fmla="*/ 94 w 298"/>
                <a:gd name="T13" fmla="*/ 192 h 490"/>
                <a:gd name="T14" fmla="*/ 90 w 298"/>
                <a:gd name="T15" fmla="*/ 170 h 490"/>
                <a:gd name="T16" fmla="*/ 94 w 298"/>
                <a:gd name="T17" fmla="*/ 154 h 490"/>
                <a:gd name="T18" fmla="*/ 106 w 298"/>
                <a:gd name="T19" fmla="*/ 140 h 490"/>
                <a:gd name="T20" fmla="*/ 126 w 298"/>
                <a:gd name="T21" fmla="*/ 134 h 490"/>
                <a:gd name="T22" fmla="*/ 140 w 298"/>
                <a:gd name="T23" fmla="*/ 138 h 490"/>
                <a:gd name="T24" fmla="*/ 148 w 298"/>
                <a:gd name="T25" fmla="*/ 146 h 490"/>
                <a:gd name="T26" fmla="*/ 156 w 298"/>
                <a:gd name="T27" fmla="*/ 172 h 490"/>
                <a:gd name="T28" fmla="*/ 152 w 298"/>
                <a:gd name="T29" fmla="*/ 182 h 490"/>
                <a:gd name="T30" fmla="*/ 120 w 298"/>
                <a:gd name="T31" fmla="*/ 212 h 490"/>
                <a:gd name="T32" fmla="*/ 78 w 298"/>
                <a:gd name="T33" fmla="*/ 246 h 490"/>
                <a:gd name="T34" fmla="*/ 52 w 298"/>
                <a:gd name="T35" fmla="*/ 278 h 490"/>
                <a:gd name="T36" fmla="*/ 38 w 298"/>
                <a:gd name="T37" fmla="*/ 316 h 490"/>
                <a:gd name="T38" fmla="*/ 42 w 298"/>
                <a:gd name="T39" fmla="*/ 360 h 490"/>
                <a:gd name="T40" fmla="*/ 60 w 298"/>
                <a:gd name="T41" fmla="*/ 400 h 490"/>
                <a:gd name="T42" fmla="*/ 90 w 298"/>
                <a:gd name="T43" fmla="*/ 428 h 490"/>
                <a:gd name="T44" fmla="*/ 134 w 298"/>
                <a:gd name="T45" fmla="*/ 442 h 490"/>
                <a:gd name="T46" fmla="*/ 162 w 298"/>
                <a:gd name="T47" fmla="*/ 442 h 490"/>
                <a:gd name="T48" fmla="*/ 190 w 298"/>
                <a:gd name="T49" fmla="*/ 486 h 490"/>
                <a:gd name="T50" fmla="*/ 238 w 298"/>
                <a:gd name="T51" fmla="*/ 456 h 490"/>
                <a:gd name="T52" fmla="*/ 248 w 298"/>
                <a:gd name="T53" fmla="*/ 414 h 490"/>
                <a:gd name="T54" fmla="*/ 286 w 298"/>
                <a:gd name="T55" fmla="*/ 370 h 490"/>
                <a:gd name="T56" fmla="*/ 298 w 298"/>
                <a:gd name="T57" fmla="*/ 328 h 490"/>
                <a:gd name="T58" fmla="*/ 290 w 298"/>
                <a:gd name="T59" fmla="*/ 264 h 490"/>
                <a:gd name="T60" fmla="*/ 202 w 298"/>
                <a:gd name="T61" fmla="*/ 286 h 490"/>
                <a:gd name="T62" fmla="*/ 208 w 298"/>
                <a:gd name="T63" fmla="*/ 314 h 490"/>
                <a:gd name="T64" fmla="*/ 204 w 298"/>
                <a:gd name="T65" fmla="*/ 340 h 490"/>
                <a:gd name="T66" fmla="*/ 194 w 298"/>
                <a:gd name="T67" fmla="*/ 352 h 490"/>
                <a:gd name="T68" fmla="*/ 178 w 298"/>
                <a:gd name="T69" fmla="*/ 360 h 490"/>
                <a:gd name="T70" fmla="*/ 152 w 298"/>
                <a:gd name="T71" fmla="*/ 360 h 490"/>
                <a:gd name="T72" fmla="*/ 140 w 298"/>
                <a:gd name="T73" fmla="*/ 354 h 490"/>
                <a:gd name="T74" fmla="*/ 130 w 298"/>
                <a:gd name="T75" fmla="*/ 338 h 490"/>
                <a:gd name="T76" fmla="*/ 130 w 298"/>
                <a:gd name="T77" fmla="*/ 320 h 490"/>
                <a:gd name="T78" fmla="*/ 142 w 298"/>
                <a:gd name="T79" fmla="*/ 302 h 490"/>
                <a:gd name="T80" fmla="*/ 164 w 298"/>
                <a:gd name="T81" fmla="*/ 286 h 490"/>
                <a:gd name="T82" fmla="*/ 206 w 298"/>
                <a:gd name="T83" fmla="*/ 252 h 490"/>
                <a:gd name="T84" fmla="*/ 236 w 298"/>
                <a:gd name="T85" fmla="*/ 212 h 490"/>
                <a:gd name="T86" fmla="*/ 246 w 298"/>
                <a:gd name="T87" fmla="*/ 168 h 490"/>
                <a:gd name="T88" fmla="*/ 242 w 298"/>
                <a:gd name="T89" fmla="*/ 136 h 490"/>
                <a:gd name="T90" fmla="*/ 210 w 298"/>
                <a:gd name="T91" fmla="*/ 82 h 490"/>
                <a:gd name="T92" fmla="*/ 180 w 298"/>
                <a:gd name="T93" fmla="*/ 62 h 490"/>
                <a:gd name="T94" fmla="*/ 134 w 298"/>
                <a:gd name="T95" fmla="*/ 54 h 490"/>
                <a:gd name="T96" fmla="*/ 116 w 298"/>
                <a:gd name="T97" fmla="*/ 16 h 4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98" h="490">
                  <a:moveTo>
                    <a:pt x="112" y="0"/>
                  </a:moveTo>
                  <a:lnTo>
                    <a:pt x="96" y="4"/>
                  </a:lnTo>
                  <a:lnTo>
                    <a:pt x="60" y="14"/>
                  </a:lnTo>
                  <a:lnTo>
                    <a:pt x="44" y="18"/>
                  </a:lnTo>
                  <a:lnTo>
                    <a:pt x="48" y="34"/>
                  </a:lnTo>
                  <a:lnTo>
                    <a:pt x="58" y="72"/>
                  </a:lnTo>
                  <a:lnTo>
                    <a:pt x="58" y="72"/>
                  </a:lnTo>
                  <a:lnTo>
                    <a:pt x="42" y="82"/>
                  </a:lnTo>
                  <a:lnTo>
                    <a:pt x="28" y="96"/>
                  </a:lnTo>
                  <a:lnTo>
                    <a:pt x="18" y="110"/>
                  </a:lnTo>
                  <a:lnTo>
                    <a:pt x="10" y="126"/>
                  </a:lnTo>
                  <a:lnTo>
                    <a:pt x="10" y="126"/>
                  </a:lnTo>
                  <a:lnTo>
                    <a:pt x="2" y="146"/>
                  </a:lnTo>
                  <a:lnTo>
                    <a:pt x="0" y="168"/>
                  </a:lnTo>
                  <a:lnTo>
                    <a:pt x="2" y="192"/>
                  </a:lnTo>
                  <a:lnTo>
                    <a:pt x="6" y="216"/>
                  </a:lnTo>
                  <a:lnTo>
                    <a:pt x="10" y="232"/>
                  </a:lnTo>
                  <a:lnTo>
                    <a:pt x="26" y="228"/>
                  </a:lnTo>
                  <a:lnTo>
                    <a:pt x="82" y="212"/>
                  </a:lnTo>
                  <a:lnTo>
                    <a:pt x="98" y="208"/>
                  </a:lnTo>
                  <a:lnTo>
                    <a:pt x="94" y="192"/>
                  </a:lnTo>
                  <a:lnTo>
                    <a:pt x="94" y="192"/>
                  </a:lnTo>
                  <a:lnTo>
                    <a:pt x="90" y="182"/>
                  </a:lnTo>
                  <a:lnTo>
                    <a:pt x="90" y="170"/>
                  </a:lnTo>
                  <a:lnTo>
                    <a:pt x="90" y="162"/>
                  </a:lnTo>
                  <a:lnTo>
                    <a:pt x="94" y="154"/>
                  </a:lnTo>
                  <a:lnTo>
                    <a:pt x="94" y="154"/>
                  </a:lnTo>
                  <a:lnTo>
                    <a:pt x="96" y="148"/>
                  </a:lnTo>
                  <a:lnTo>
                    <a:pt x="102" y="142"/>
                  </a:lnTo>
                  <a:lnTo>
                    <a:pt x="106" y="140"/>
                  </a:lnTo>
                  <a:lnTo>
                    <a:pt x="114" y="136"/>
                  </a:lnTo>
                  <a:lnTo>
                    <a:pt x="114" y="136"/>
                  </a:lnTo>
                  <a:lnTo>
                    <a:pt x="126" y="134"/>
                  </a:lnTo>
                  <a:lnTo>
                    <a:pt x="126" y="134"/>
                  </a:lnTo>
                  <a:lnTo>
                    <a:pt x="134" y="136"/>
                  </a:lnTo>
                  <a:lnTo>
                    <a:pt x="140" y="138"/>
                  </a:lnTo>
                  <a:lnTo>
                    <a:pt x="140" y="138"/>
                  </a:lnTo>
                  <a:lnTo>
                    <a:pt x="144" y="142"/>
                  </a:lnTo>
                  <a:lnTo>
                    <a:pt x="148" y="146"/>
                  </a:lnTo>
                  <a:lnTo>
                    <a:pt x="154" y="160"/>
                  </a:lnTo>
                  <a:lnTo>
                    <a:pt x="154" y="160"/>
                  </a:lnTo>
                  <a:lnTo>
                    <a:pt x="156" y="172"/>
                  </a:lnTo>
                  <a:lnTo>
                    <a:pt x="154" y="178"/>
                  </a:lnTo>
                  <a:lnTo>
                    <a:pt x="152" y="182"/>
                  </a:lnTo>
                  <a:lnTo>
                    <a:pt x="152" y="182"/>
                  </a:lnTo>
                  <a:lnTo>
                    <a:pt x="142" y="194"/>
                  </a:lnTo>
                  <a:lnTo>
                    <a:pt x="134" y="202"/>
                  </a:lnTo>
                  <a:lnTo>
                    <a:pt x="120" y="212"/>
                  </a:lnTo>
                  <a:lnTo>
                    <a:pt x="120" y="212"/>
                  </a:lnTo>
                  <a:lnTo>
                    <a:pt x="96" y="230"/>
                  </a:lnTo>
                  <a:lnTo>
                    <a:pt x="78" y="246"/>
                  </a:lnTo>
                  <a:lnTo>
                    <a:pt x="78" y="246"/>
                  </a:lnTo>
                  <a:lnTo>
                    <a:pt x="62" y="262"/>
                  </a:lnTo>
                  <a:lnTo>
                    <a:pt x="52" y="278"/>
                  </a:lnTo>
                  <a:lnTo>
                    <a:pt x="52" y="278"/>
                  </a:lnTo>
                  <a:lnTo>
                    <a:pt x="44" y="296"/>
                  </a:lnTo>
                  <a:lnTo>
                    <a:pt x="38" y="316"/>
                  </a:lnTo>
                  <a:lnTo>
                    <a:pt x="38" y="316"/>
                  </a:lnTo>
                  <a:lnTo>
                    <a:pt x="38" y="338"/>
                  </a:lnTo>
                  <a:lnTo>
                    <a:pt x="42" y="360"/>
                  </a:lnTo>
                  <a:lnTo>
                    <a:pt x="42" y="360"/>
                  </a:lnTo>
                  <a:lnTo>
                    <a:pt x="50" y="382"/>
                  </a:lnTo>
                  <a:lnTo>
                    <a:pt x="60" y="400"/>
                  </a:lnTo>
                  <a:lnTo>
                    <a:pt x="74" y="416"/>
                  </a:lnTo>
                  <a:lnTo>
                    <a:pt x="90" y="428"/>
                  </a:lnTo>
                  <a:lnTo>
                    <a:pt x="90" y="428"/>
                  </a:lnTo>
                  <a:lnTo>
                    <a:pt x="104" y="434"/>
                  </a:lnTo>
                  <a:lnTo>
                    <a:pt x="118" y="438"/>
                  </a:lnTo>
                  <a:lnTo>
                    <a:pt x="134" y="442"/>
                  </a:lnTo>
                  <a:lnTo>
                    <a:pt x="150" y="442"/>
                  </a:lnTo>
                  <a:lnTo>
                    <a:pt x="150" y="442"/>
                  </a:lnTo>
                  <a:lnTo>
                    <a:pt x="162" y="442"/>
                  </a:lnTo>
                  <a:lnTo>
                    <a:pt x="170" y="474"/>
                  </a:lnTo>
                  <a:lnTo>
                    <a:pt x="174" y="490"/>
                  </a:lnTo>
                  <a:lnTo>
                    <a:pt x="190" y="486"/>
                  </a:lnTo>
                  <a:lnTo>
                    <a:pt x="226" y="476"/>
                  </a:lnTo>
                  <a:lnTo>
                    <a:pt x="242" y="472"/>
                  </a:lnTo>
                  <a:lnTo>
                    <a:pt x="238" y="456"/>
                  </a:lnTo>
                  <a:lnTo>
                    <a:pt x="230" y="424"/>
                  </a:lnTo>
                  <a:lnTo>
                    <a:pt x="230" y="424"/>
                  </a:lnTo>
                  <a:lnTo>
                    <a:pt x="248" y="414"/>
                  </a:lnTo>
                  <a:lnTo>
                    <a:pt x="264" y="402"/>
                  </a:lnTo>
                  <a:lnTo>
                    <a:pt x="276" y="388"/>
                  </a:lnTo>
                  <a:lnTo>
                    <a:pt x="286" y="370"/>
                  </a:lnTo>
                  <a:lnTo>
                    <a:pt x="286" y="370"/>
                  </a:lnTo>
                  <a:lnTo>
                    <a:pt x="294" y="350"/>
                  </a:lnTo>
                  <a:lnTo>
                    <a:pt x="298" y="328"/>
                  </a:lnTo>
                  <a:lnTo>
                    <a:pt x="298" y="304"/>
                  </a:lnTo>
                  <a:lnTo>
                    <a:pt x="294" y="280"/>
                  </a:lnTo>
                  <a:lnTo>
                    <a:pt x="290" y="264"/>
                  </a:lnTo>
                  <a:lnTo>
                    <a:pt x="274" y="268"/>
                  </a:lnTo>
                  <a:lnTo>
                    <a:pt x="218" y="282"/>
                  </a:lnTo>
                  <a:lnTo>
                    <a:pt x="202" y="286"/>
                  </a:lnTo>
                  <a:lnTo>
                    <a:pt x="206" y="302"/>
                  </a:lnTo>
                  <a:lnTo>
                    <a:pt x="206" y="302"/>
                  </a:lnTo>
                  <a:lnTo>
                    <a:pt x="208" y="314"/>
                  </a:lnTo>
                  <a:lnTo>
                    <a:pt x="208" y="324"/>
                  </a:lnTo>
                  <a:lnTo>
                    <a:pt x="208" y="332"/>
                  </a:lnTo>
                  <a:lnTo>
                    <a:pt x="204" y="340"/>
                  </a:lnTo>
                  <a:lnTo>
                    <a:pt x="204" y="340"/>
                  </a:lnTo>
                  <a:lnTo>
                    <a:pt x="200" y="346"/>
                  </a:lnTo>
                  <a:lnTo>
                    <a:pt x="194" y="352"/>
                  </a:lnTo>
                  <a:lnTo>
                    <a:pt x="186" y="356"/>
                  </a:lnTo>
                  <a:lnTo>
                    <a:pt x="178" y="360"/>
                  </a:lnTo>
                  <a:lnTo>
                    <a:pt x="178" y="360"/>
                  </a:lnTo>
                  <a:lnTo>
                    <a:pt x="160" y="362"/>
                  </a:lnTo>
                  <a:lnTo>
                    <a:pt x="160" y="362"/>
                  </a:lnTo>
                  <a:lnTo>
                    <a:pt x="152" y="360"/>
                  </a:lnTo>
                  <a:lnTo>
                    <a:pt x="144" y="358"/>
                  </a:lnTo>
                  <a:lnTo>
                    <a:pt x="144" y="358"/>
                  </a:lnTo>
                  <a:lnTo>
                    <a:pt x="140" y="354"/>
                  </a:lnTo>
                  <a:lnTo>
                    <a:pt x="136" y="350"/>
                  </a:lnTo>
                  <a:lnTo>
                    <a:pt x="132" y="344"/>
                  </a:lnTo>
                  <a:lnTo>
                    <a:pt x="130" y="338"/>
                  </a:lnTo>
                  <a:lnTo>
                    <a:pt x="130" y="338"/>
                  </a:lnTo>
                  <a:lnTo>
                    <a:pt x="128" y="326"/>
                  </a:lnTo>
                  <a:lnTo>
                    <a:pt x="130" y="320"/>
                  </a:lnTo>
                  <a:lnTo>
                    <a:pt x="132" y="314"/>
                  </a:lnTo>
                  <a:lnTo>
                    <a:pt x="132" y="314"/>
                  </a:lnTo>
                  <a:lnTo>
                    <a:pt x="142" y="302"/>
                  </a:lnTo>
                  <a:lnTo>
                    <a:pt x="150" y="294"/>
                  </a:lnTo>
                  <a:lnTo>
                    <a:pt x="164" y="286"/>
                  </a:lnTo>
                  <a:lnTo>
                    <a:pt x="164" y="286"/>
                  </a:lnTo>
                  <a:lnTo>
                    <a:pt x="188" y="268"/>
                  </a:lnTo>
                  <a:lnTo>
                    <a:pt x="206" y="252"/>
                  </a:lnTo>
                  <a:lnTo>
                    <a:pt x="206" y="252"/>
                  </a:lnTo>
                  <a:lnTo>
                    <a:pt x="218" y="240"/>
                  </a:lnTo>
                  <a:lnTo>
                    <a:pt x="228" y="226"/>
                  </a:lnTo>
                  <a:lnTo>
                    <a:pt x="236" y="212"/>
                  </a:lnTo>
                  <a:lnTo>
                    <a:pt x="242" y="198"/>
                  </a:lnTo>
                  <a:lnTo>
                    <a:pt x="244" y="184"/>
                  </a:lnTo>
                  <a:lnTo>
                    <a:pt x="246" y="168"/>
                  </a:lnTo>
                  <a:lnTo>
                    <a:pt x="244" y="152"/>
                  </a:lnTo>
                  <a:lnTo>
                    <a:pt x="242" y="136"/>
                  </a:lnTo>
                  <a:lnTo>
                    <a:pt x="242" y="136"/>
                  </a:lnTo>
                  <a:lnTo>
                    <a:pt x="234" y="116"/>
                  </a:lnTo>
                  <a:lnTo>
                    <a:pt x="224" y="98"/>
                  </a:lnTo>
                  <a:lnTo>
                    <a:pt x="210" y="82"/>
                  </a:lnTo>
                  <a:lnTo>
                    <a:pt x="194" y="70"/>
                  </a:lnTo>
                  <a:lnTo>
                    <a:pt x="194" y="70"/>
                  </a:lnTo>
                  <a:lnTo>
                    <a:pt x="180" y="62"/>
                  </a:lnTo>
                  <a:lnTo>
                    <a:pt x="166" y="58"/>
                  </a:lnTo>
                  <a:lnTo>
                    <a:pt x="150" y="54"/>
                  </a:lnTo>
                  <a:lnTo>
                    <a:pt x="134" y="54"/>
                  </a:lnTo>
                  <a:lnTo>
                    <a:pt x="134" y="54"/>
                  </a:lnTo>
                  <a:lnTo>
                    <a:pt x="126" y="54"/>
                  </a:lnTo>
                  <a:lnTo>
                    <a:pt x="116" y="16"/>
                  </a:lnTo>
                  <a:lnTo>
                    <a:pt x="1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90" name="Freeform 2371">
              <a:extLst>
                <a:ext uri="{FF2B5EF4-FFF2-40B4-BE49-F238E27FC236}">
                  <a16:creationId xmlns:a16="http://schemas.microsoft.com/office/drawing/2014/main" id="{35684E8A-BB57-43E0-8707-0C8486C67F9E}"/>
                </a:ext>
              </a:extLst>
            </p:cNvPr>
            <p:cNvSpPr>
              <a:spLocks/>
            </p:cNvSpPr>
            <p:nvPr/>
          </p:nvSpPr>
          <p:spPr bwMode="auto">
            <a:xfrm>
              <a:off x="9875776" y="4194253"/>
              <a:ext cx="435951" cy="385924"/>
            </a:xfrm>
            <a:custGeom>
              <a:avLst/>
              <a:gdLst>
                <a:gd name="T0" fmla="*/ 68 w 244"/>
                <a:gd name="T1" fmla="*/ 170 h 216"/>
                <a:gd name="T2" fmla="*/ 68 w 244"/>
                <a:gd name="T3" fmla="*/ 170 h 216"/>
                <a:gd name="T4" fmla="*/ 82 w 244"/>
                <a:gd name="T5" fmla="*/ 180 h 216"/>
                <a:gd name="T6" fmla="*/ 96 w 244"/>
                <a:gd name="T7" fmla="*/ 188 h 216"/>
                <a:gd name="T8" fmla="*/ 110 w 244"/>
                <a:gd name="T9" fmla="*/ 196 h 216"/>
                <a:gd name="T10" fmla="*/ 124 w 244"/>
                <a:gd name="T11" fmla="*/ 202 h 216"/>
                <a:gd name="T12" fmla="*/ 154 w 244"/>
                <a:gd name="T13" fmla="*/ 210 h 216"/>
                <a:gd name="T14" fmla="*/ 182 w 244"/>
                <a:gd name="T15" fmla="*/ 214 h 216"/>
                <a:gd name="T16" fmla="*/ 206 w 244"/>
                <a:gd name="T17" fmla="*/ 216 h 216"/>
                <a:gd name="T18" fmla="*/ 226 w 244"/>
                <a:gd name="T19" fmla="*/ 216 h 216"/>
                <a:gd name="T20" fmla="*/ 244 w 244"/>
                <a:gd name="T21" fmla="*/ 214 h 216"/>
                <a:gd name="T22" fmla="*/ 244 w 244"/>
                <a:gd name="T23" fmla="*/ 214 h 216"/>
                <a:gd name="T24" fmla="*/ 244 w 244"/>
                <a:gd name="T25" fmla="*/ 196 h 216"/>
                <a:gd name="T26" fmla="*/ 240 w 244"/>
                <a:gd name="T27" fmla="*/ 176 h 216"/>
                <a:gd name="T28" fmla="*/ 236 w 244"/>
                <a:gd name="T29" fmla="*/ 152 h 216"/>
                <a:gd name="T30" fmla="*/ 228 w 244"/>
                <a:gd name="T31" fmla="*/ 126 h 216"/>
                <a:gd name="T32" fmla="*/ 216 w 244"/>
                <a:gd name="T33" fmla="*/ 98 h 216"/>
                <a:gd name="T34" fmla="*/ 208 w 244"/>
                <a:gd name="T35" fmla="*/ 84 h 216"/>
                <a:gd name="T36" fmla="*/ 198 w 244"/>
                <a:gd name="T37" fmla="*/ 70 h 216"/>
                <a:gd name="T38" fmla="*/ 188 w 244"/>
                <a:gd name="T39" fmla="*/ 58 h 216"/>
                <a:gd name="T40" fmla="*/ 176 w 244"/>
                <a:gd name="T41" fmla="*/ 46 h 216"/>
                <a:gd name="T42" fmla="*/ 176 w 244"/>
                <a:gd name="T43" fmla="*/ 46 h 216"/>
                <a:gd name="T44" fmla="*/ 164 w 244"/>
                <a:gd name="T45" fmla="*/ 36 h 216"/>
                <a:gd name="T46" fmla="*/ 150 w 244"/>
                <a:gd name="T47" fmla="*/ 28 h 216"/>
                <a:gd name="T48" fmla="*/ 136 w 244"/>
                <a:gd name="T49" fmla="*/ 20 h 216"/>
                <a:gd name="T50" fmla="*/ 120 w 244"/>
                <a:gd name="T51" fmla="*/ 14 h 216"/>
                <a:gd name="T52" fmla="*/ 92 w 244"/>
                <a:gd name="T53" fmla="*/ 6 h 216"/>
                <a:gd name="T54" fmla="*/ 64 w 244"/>
                <a:gd name="T55" fmla="*/ 2 h 216"/>
                <a:gd name="T56" fmla="*/ 38 w 244"/>
                <a:gd name="T57" fmla="*/ 0 h 216"/>
                <a:gd name="T58" fmla="*/ 18 w 244"/>
                <a:gd name="T59" fmla="*/ 0 h 216"/>
                <a:gd name="T60" fmla="*/ 0 w 244"/>
                <a:gd name="T61" fmla="*/ 0 h 216"/>
                <a:gd name="T62" fmla="*/ 0 w 244"/>
                <a:gd name="T63" fmla="*/ 0 h 216"/>
                <a:gd name="T64" fmla="*/ 2 w 244"/>
                <a:gd name="T65" fmla="*/ 18 h 216"/>
                <a:gd name="T66" fmla="*/ 4 w 244"/>
                <a:gd name="T67" fmla="*/ 38 h 216"/>
                <a:gd name="T68" fmla="*/ 10 w 244"/>
                <a:gd name="T69" fmla="*/ 62 h 216"/>
                <a:gd name="T70" fmla="*/ 18 w 244"/>
                <a:gd name="T71" fmla="*/ 90 h 216"/>
                <a:gd name="T72" fmla="*/ 30 w 244"/>
                <a:gd name="T73" fmla="*/ 118 h 216"/>
                <a:gd name="T74" fmla="*/ 38 w 244"/>
                <a:gd name="T75" fmla="*/ 132 h 216"/>
                <a:gd name="T76" fmla="*/ 46 w 244"/>
                <a:gd name="T77" fmla="*/ 146 h 216"/>
                <a:gd name="T78" fmla="*/ 56 w 244"/>
                <a:gd name="T79" fmla="*/ 158 h 216"/>
                <a:gd name="T80" fmla="*/ 68 w 244"/>
                <a:gd name="T81" fmla="*/ 170 h 216"/>
                <a:gd name="T82" fmla="*/ 68 w 244"/>
                <a:gd name="T83" fmla="*/ 17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44" h="216">
                  <a:moveTo>
                    <a:pt x="68" y="170"/>
                  </a:moveTo>
                  <a:lnTo>
                    <a:pt x="68" y="170"/>
                  </a:lnTo>
                  <a:lnTo>
                    <a:pt x="82" y="180"/>
                  </a:lnTo>
                  <a:lnTo>
                    <a:pt x="96" y="188"/>
                  </a:lnTo>
                  <a:lnTo>
                    <a:pt x="110" y="196"/>
                  </a:lnTo>
                  <a:lnTo>
                    <a:pt x="124" y="202"/>
                  </a:lnTo>
                  <a:lnTo>
                    <a:pt x="154" y="210"/>
                  </a:lnTo>
                  <a:lnTo>
                    <a:pt x="182" y="214"/>
                  </a:lnTo>
                  <a:lnTo>
                    <a:pt x="206" y="216"/>
                  </a:lnTo>
                  <a:lnTo>
                    <a:pt x="226" y="216"/>
                  </a:lnTo>
                  <a:lnTo>
                    <a:pt x="244" y="214"/>
                  </a:lnTo>
                  <a:lnTo>
                    <a:pt x="244" y="214"/>
                  </a:lnTo>
                  <a:lnTo>
                    <a:pt x="244" y="196"/>
                  </a:lnTo>
                  <a:lnTo>
                    <a:pt x="240" y="176"/>
                  </a:lnTo>
                  <a:lnTo>
                    <a:pt x="236" y="152"/>
                  </a:lnTo>
                  <a:lnTo>
                    <a:pt x="228" y="126"/>
                  </a:lnTo>
                  <a:lnTo>
                    <a:pt x="216" y="98"/>
                  </a:lnTo>
                  <a:lnTo>
                    <a:pt x="208" y="84"/>
                  </a:lnTo>
                  <a:lnTo>
                    <a:pt x="198" y="70"/>
                  </a:lnTo>
                  <a:lnTo>
                    <a:pt x="188" y="58"/>
                  </a:lnTo>
                  <a:lnTo>
                    <a:pt x="176" y="46"/>
                  </a:lnTo>
                  <a:lnTo>
                    <a:pt x="176" y="46"/>
                  </a:lnTo>
                  <a:lnTo>
                    <a:pt x="164" y="36"/>
                  </a:lnTo>
                  <a:lnTo>
                    <a:pt x="150" y="28"/>
                  </a:lnTo>
                  <a:lnTo>
                    <a:pt x="136" y="20"/>
                  </a:lnTo>
                  <a:lnTo>
                    <a:pt x="120" y="14"/>
                  </a:lnTo>
                  <a:lnTo>
                    <a:pt x="92" y="6"/>
                  </a:lnTo>
                  <a:lnTo>
                    <a:pt x="64" y="2"/>
                  </a:lnTo>
                  <a:lnTo>
                    <a:pt x="38" y="0"/>
                  </a:lnTo>
                  <a:lnTo>
                    <a:pt x="18" y="0"/>
                  </a:lnTo>
                  <a:lnTo>
                    <a:pt x="0" y="0"/>
                  </a:lnTo>
                  <a:lnTo>
                    <a:pt x="0" y="0"/>
                  </a:lnTo>
                  <a:lnTo>
                    <a:pt x="2" y="18"/>
                  </a:lnTo>
                  <a:lnTo>
                    <a:pt x="4" y="38"/>
                  </a:lnTo>
                  <a:lnTo>
                    <a:pt x="10" y="62"/>
                  </a:lnTo>
                  <a:lnTo>
                    <a:pt x="18" y="90"/>
                  </a:lnTo>
                  <a:lnTo>
                    <a:pt x="30" y="118"/>
                  </a:lnTo>
                  <a:lnTo>
                    <a:pt x="38" y="132"/>
                  </a:lnTo>
                  <a:lnTo>
                    <a:pt x="46" y="146"/>
                  </a:lnTo>
                  <a:lnTo>
                    <a:pt x="56" y="158"/>
                  </a:lnTo>
                  <a:lnTo>
                    <a:pt x="68" y="170"/>
                  </a:lnTo>
                  <a:lnTo>
                    <a:pt x="68" y="17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91" name="Freeform 2373">
              <a:extLst>
                <a:ext uri="{FF2B5EF4-FFF2-40B4-BE49-F238E27FC236}">
                  <a16:creationId xmlns:a16="http://schemas.microsoft.com/office/drawing/2014/main" id="{B7D7BECF-856F-4BB2-8623-B476F28B29A4}"/>
                </a:ext>
              </a:extLst>
            </p:cNvPr>
            <p:cNvSpPr>
              <a:spLocks/>
            </p:cNvSpPr>
            <p:nvPr/>
          </p:nvSpPr>
          <p:spPr bwMode="auto">
            <a:xfrm>
              <a:off x="8707284" y="3593927"/>
              <a:ext cx="471685" cy="614619"/>
            </a:xfrm>
            <a:custGeom>
              <a:avLst/>
              <a:gdLst>
                <a:gd name="T0" fmla="*/ 172 w 264"/>
                <a:gd name="T1" fmla="*/ 318 h 344"/>
                <a:gd name="T2" fmla="*/ 134 w 264"/>
                <a:gd name="T3" fmla="*/ 320 h 344"/>
                <a:gd name="T4" fmla="*/ 106 w 264"/>
                <a:gd name="T5" fmla="*/ 306 h 344"/>
                <a:gd name="T6" fmla="*/ 84 w 264"/>
                <a:gd name="T7" fmla="*/ 282 h 344"/>
                <a:gd name="T8" fmla="*/ 70 w 264"/>
                <a:gd name="T9" fmla="*/ 252 h 344"/>
                <a:gd name="T10" fmla="*/ 70 w 264"/>
                <a:gd name="T11" fmla="*/ 222 h 344"/>
                <a:gd name="T12" fmla="*/ 82 w 264"/>
                <a:gd name="T13" fmla="*/ 192 h 344"/>
                <a:gd name="T14" fmla="*/ 106 w 264"/>
                <a:gd name="T15" fmla="*/ 154 h 344"/>
                <a:gd name="T16" fmla="*/ 124 w 264"/>
                <a:gd name="T17" fmla="*/ 122 h 344"/>
                <a:gd name="T18" fmla="*/ 118 w 264"/>
                <a:gd name="T19" fmla="*/ 100 h 344"/>
                <a:gd name="T20" fmla="*/ 104 w 264"/>
                <a:gd name="T21" fmla="*/ 88 h 344"/>
                <a:gd name="T22" fmla="*/ 94 w 264"/>
                <a:gd name="T23" fmla="*/ 84 h 344"/>
                <a:gd name="T24" fmla="*/ 76 w 264"/>
                <a:gd name="T25" fmla="*/ 92 h 344"/>
                <a:gd name="T26" fmla="*/ 66 w 264"/>
                <a:gd name="T27" fmla="*/ 102 h 344"/>
                <a:gd name="T28" fmla="*/ 62 w 264"/>
                <a:gd name="T29" fmla="*/ 114 h 344"/>
                <a:gd name="T30" fmla="*/ 66 w 264"/>
                <a:gd name="T31" fmla="*/ 138 h 344"/>
                <a:gd name="T32" fmla="*/ 24 w 264"/>
                <a:gd name="T33" fmla="*/ 188 h 344"/>
                <a:gd name="T34" fmla="*/ 10 w 264"/>
                <a:gd name="T35" fmla="*/ 164 h 344"/>
                <a:gd name="T36" fmla="*/ 0 w 264"/>
                <a:gd name="T37" fmla="*/ 114 h 344"/>
                <a:gd name="T38" fmla="*/ 8 w 264"/>
                <a:gd name="T39" fmla="*/ 86 h 344"/>
                <a:gd name="T40" fmla="*/ 2 w 264"/>
                <a:gd name="T41" fmla="*/ 24 h 344"/>
                <a:gd name="T42" fmla="*/ 64 w 264"/>
                <a:gd name="T43" fmla="*/ 36 h 344"/>
                <a:gd name="T44" fmla="*/ 102 w 264"/>
                <a:gd name="T45" fmla="*/ 28 h 344"/>
                <a:gd name="T46" fmla="*/ 136 w 264"/>
                <a:gd name="T47" fmla="*/ 34 h 344"/>
                <a:gd name="T48" fmla="*/ 172 w 264"/>
                <a:gd name="T49" fmla="*/ 66 h 344"/>
                <a:gd name="T50" fmla="*/ 182 w 264"/>
                <a:gd name="T51" fmla="*/ 88 h 344"/>
                <a:gd name="T52" fmla="*/ 186 w 264"/>
                <a:gd name="T53" fmla="*/ 124 h 344"/>
                <a:gd name="T54" fmla="*/ 172 w 264"/>
                <a:gd name="T55" fmla="*/ 160 h 344"/>
                <a:gd name="T56" fmla="*/ 150 w 264"/>
                <a:gd name="T57" fmla="*/ 194 h 344"/>
                <a:gd name="T58" fmla="*/ 132 w 264"/>
                <a:gd name="T59" fmla="*/ 226 h 344"/>
                <a:gd name="T60" fmla="*/ 136 w 264"/>
                <a:gd name="T61" fmla="*/ 248 h 344"/>
                <a:gd name="T62" fmla="*/ 146 w 264"/>
                <a:gd name="T63" fmla="*/ 258 h 344"/>
                <a:gd name="T64" fmla="*/ 156 w 264"/>
                <a:gd name="T65" fmla="*/ 262 h 344"/>
                <a:gd name="T66" fmla="*/ 172 w 264"/>
                <a:gd name="T67" fmla="*/ 260 h 344"/>
                <a:gd name="T68" fmla="*/ 192 w 264"/>
                <a:gd name="T69" fmla="*/ 248 h 344"/>
                <a:gd name="T70" fmla="*/ 202 w 264"/>
                <a:gd name="T71" fmla="*/ 230 h 344"/>
                <a:gd name="T72" fmla="*/ 202 w 264"/>
                <a:gd name="T73" fmla="*/ 214 h 344"/>
                <a:gd name="T74" fmla="*/ 190 w 264"/>
                <a:gd name="T75" fmla="*/ 190 h 344"/>
                <a:gd name="T76" fmla="*/ 246 w 264"/>
                <a:gd name="T77" fmla="*/ 162 h 344"/>
                <a:gd name="T78" fmla="*/ 264 w 264"/>
                <a:gd name="T79" fmla="*/ 214 h 344"/>
                <a:gd name="T80" fmla="*/ 260 w 264"/>
                <a:gd name="T81" fmla="*/ 246 h 344"/>
                <a:gd name="T82" fmla="*/ 232 w 264"/>
                <a:gd name="T83" fmla="*/ 286 h 344"/>
                <a:gd name="T84" fmla="*/ 194 w 264"/>
                <a:gd name="T85" fmla="*/ 31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64" h="344">
                  <a:moveTo>
                    <a:pt x="194" y="312"/>
                  </a:moveTo>
                  <a:lnTo>
                    <a:pt x="194" y="312"/>
                  </a:lnTo>
                  <a:lnTo>
                    <a:pt x="172" y="318"/>
                  </a:lnTo>
                  <a:lnTo>
                    <a:pt x="152" y="322"/>
                  </a:lnTo>
                  <a:lnTo>
                    <a:pt x="152" y="322"/>
                  </a:lnTo>
                  <a:lnTo>
                    <a:pt x="134" y="320"/>
                  </a:lnTo>
                  <a:lnTo>
                    <a:pt x="134" y="320"/>
                  </a:lnTo>
                  <a:lnTo>
                    <a:pt x="120" y="314"/>
                  </a:lnTo>
                  <a:lnTo>
                    <a:pt x="106" y="306"/>
                  </a:lnTo>
                  <a:lnTo>
                    <a:pt x="94" y="296"/>
                  </a:lnTo>
                  <a:lnTo>
                    <a:pt x="84" y="282"/>
                  </a:lnTo>
                  <a:lnTo>
                    <a:pt x="84" y="282"/>
                  </a:lnTo>
                  <a:lnTo>
                    <a:pt x="76" y="266"/>
                  </a:lnTo>
                  <a:lnTo>
                    <a:pt x="70" y="252"/>
                  </a:lnTo>
                  <a:lnTo>
                    <a:pt x="70" y="252"/>
                  </a:lnTo>
                  <a:lnTo>
                    <a:pt x="70" y="236"/>
                  </a:lnTo>
                  <a:lnTo>
                    <a:pt x="70" y="222"/>
                  </a:lnTo>
                  <a:lnTo>
                    <a:pt x="70" y="222"/>
                  </a:lnTo>
                  <a:lnTo>
                    <a:pt x="74" y="206"/>
                  </a:lnTo>
                  <a:lnTo>
                    <a:pt x="82" y="192"/>
                  </a:lnTo>
                  <a:lnTo>
                    <a:pt x="82" y="192"/>
                  </a:lnTo>
                  <a:lnTo>
                    <a:pt x="92" y="174"/>
                  </a:lnTo>
                  <a:lnTo>
                    <a:pt x="106" y="154"/>
                  </a:lnTo>
                  <a:lnTo>
                    <a:pt x="106" y="154"/>
                  </a:lnTo>
                  <a:lnTo>
                    <a:pt x="118" y="136"/>
                  </a:lnTo>
                  <a:lnTo>
                    <a:pt x="124" y="122"/>
                  </a:lnTo>
                  <a:lnTo>
                    <a:pt x="124" y="122"/>
                  </a:lnTo>
                  <a:lnTo>
                    <a:pt x="124" y="118"/>
                  </a:lnTo>
                  <a:lnTo>
                    <a:pt x="124" y="112"/>
                  </a:lnTo>
                  <a:lnTo>
                    <a:pt x="118" y="100"/>
                  </a:lnTo>
                  <a:lnTo>
                    <a:pt x="118" y="100"/>
                  </a:lnTo>
                  <a:lnTo>
                    <a:pt x="110" y="90"/>
                  </a:lnTo>
                  <a:lnTo>
                    <a:pt x="104" y="88"/>
                  </a:lnTo>
                  <a:lnTo>
                    <a:pt x="98" y="86"/>
                  </a:lnTo>
                  <a:lnTo>
                    <a:pt x="98" y="86"/>
                  </a:lnTo>
                  <a:lnTo>
                    <a:pt x="94" y="84"/>
                  </a:lnTo>
                  <a:lnTo>
                    <a:pt x="94" y="84"/>
                  </a:lnTo>
                  <a:lnTo>
                    <a:pt x="84" y="86"/>
                  </a:lnTo>
                  <a:lnTo>
                    <a:pt x="76" y="92"/>
                  </a:lnTo>
                  <a:lnTo>
                    <a:pt x="76" y="92"/>
                  </a:lnTo>
                  <a:lnTo>
                    <a:pt x="70" y="96"/>
                  </a:lnTo>
                  <a:lnTo>
                    <a:pt x="66" y="102"/>
                  </a:lnTo>
                  <a:lnTo>
                    <a:pt x="62" y="106"/>
                  </a:lnTo>
                  <a:lnTo>
                    <a:pt x="62" y="114"/>
                  </a:lnTo>
                  <a:lnTo>
                    <a:pt x="62" y="114"/>
                  </a:lnTo>
                  <a:lnTo>
                    <a:pt x="62" y="122"/>
                  </a:lnTo>
                  <a:lnTo>
                    <a:pt x="64" y="130"/>
                  </a:lnTo>
                  <a:lnTo>
                    <a:pt x="66" y="138"/>
                  </a:lnTo>
                  <a:lnTo>
                    <a:pt x="72" y="146"/>
                  </a:lnTo>
                  <a:lnTo>
                    <a:pt x="76" y="154"/>
                  </a:lnTo>
                  <a:lnTo>
                    <a:pt x="24" y="188"/>
                  </a:lnTo>
                  <a:lnTo>
                    <a:pt x="20" y="180"/>
                  </a:lnTo>
                  <a:lnTo>
                    <a:pt x="20" y="180"/>
                  </a:lnTo>
                  <a:lnTo>
                    <a:pt x="10" y="164"/>
                  </a:lnTo>
                  <a:lnTo>
                    <a:pt x="4" y="148"/>
                  </a:lnTo>
                  <a:lnTo>
                    <a:pt x="0" y="130"/>
                  </a:lnTo>
                  <a:lnTo>
                    <a:pt x="0" y="114"/>
                  </a:lnTo>
                  <a:lnTo>
                    <a:pt x="0" y="114"/>
                  </a:lnTo>
                  <a:lnTo>
                    <a:pt x="2" y="100"/>
                  </a:lnTo>
                  <a:lnTo>
                    <a:pt x="8" y="86"/>
                  </a:lnTo>
                  <a:lnTo>
                    <a:pt x="16" y="74"/>
                  </a:lnTo>
                  <a:lnTo>
                    <a:pt x="26" y="62"/>
                  </a:lnTo>
                  <a:lnTo>
                    <a:pt x="2" y="24"/>
                  </a:lnTo>
                  <a:lnTo>
                    <a:pt x="40" y="0"/>
                  </a:lnTo>
                  <a:lnTo>
                    <a:pt x="64" y="36"/>
                  </a:lnTo>
                  <a:lnTo>
                    <a:pt x="64" y="36"/>
                  </a:lnTo>
                  <a:lnTo>
                    <a:pt x="84" y="30"/>
                  </a:lnTo>
                  <a:lnTo>
                    <a:pt x="102" y="28"/>
                  </a:lnTo>
                  <a:lnTo>
                    <a:pt x="102" y="28"/>
                  </a:lnTo>
                  <a:lnTo>
                    <a:pt x="122" y="30"/>
                  </a:lnTo>
                  <a:lnTo>
                    <a:pt x="122" y="30"/>
                  </a:lnTo>
                  <a:lnTo>
                    <a:pt x="136" y="34"/>
                  </a:lnTo>
                  <a:lnTo>
                    <a:pt x="150" y="42"/>
                  </a:lnTo>
                  <a:lnTo>
                    <a:pt x="160" y="52"/>
                  </a:lnTo>
                  <a:lnTo>
                    <a:pt x="172" y="66"/>
                  </a:lnTo>
                  <a:lnTo>
                    <a:pt x="172" y="66"/>
                  </a:lnTo>
                  <a:lnTo>
                    <a:pt x="178" y="78"/>
                  </a:lnTo>
                  <a:lnTo>
                    <a:pt x="182" y="88"/>
                  </a:lnTo>
                  <a:lnTo>
                    <a:pt x="184" y="100"/>
                  </a:lnTo>
                  <a:lnTo>
                    <a:pt x="186" y="112"/>
                  </a:lnTo>
                  <a:lnTo>
                    <a:pt x="186" y="124"/>
                  </a:lnTo>
                  <a:lnTo>
                    <a:pt x="182" y="134"/>
                  </a:lnTo>
                  <a:lnTo>
                    <a:pt x="178" y="146"/>
                  </a:lnTo>
                  <a:lnTo>
                    <a:pt x="172" y="160"/>
                  </a:lnTo>
                  <a:lnTo>
                    <a:pt x="172" y="160"/>
                  </a:lnTo>
                  <a:lnTo>
                    <a:pt x="164" y="174"/>
                  </a:lnTo>
                  <a:lnTo>
                    <a:pt x="150" y="194"/>
                  </a:lnTo>
                  <a:lnTo>
                    <a:pt x="150" y="194"/>
                  </a:lnTo>
                  <a:lnTo>
                    <a:pt x="138" y="212"/>
                  </a:lnTo>
                  <a:lnTo>
                    <a:pt x="132" y="226"/>
                  </a:lnTo>
                  <a:lnTo>
                    <a:pt x="132" y="226"/>
                  </a:lnTo>
                  <a:lnTo>
                    <a:pt x="132" y="238"/>
                  </a:lnTo>
                  <a:lnTo>
                    <a:pt x="136" y="248"/>
                  </a:lnTo>
                  <a:lnTo>
                    <a:pt x="136" y="248"/>
                  </a:lnTo>
                  <a:lnTo>
                    <a:pt x="140" y="254"/>
                  </a:lnTo>
                  <a:lnTo>
                    <a:pt x="146" y="258"/>
                  </a:lnTo>
                  <a:lnTo>
                    <a:pt x="150" y="260"/>
                  </a:lnTo>
                  <a:lnTo>
                    <a:pt x="156" y="262"/>
                  </a:lnTo>
                  <a:lnTo>
                    <a:pt x="156" y="262"/>
                  </a:lnTo>
                  <a:lnTo>
                    <a:pt x="160" y="262"/>
                  </a:lnTo>
                  <a:lnTo>
                    <a:pt x="160" y="262"/>
                  </a:lnTo>
                  <a:lnTo>
                    <a:pt x="172" y="260"/>
                  </a:lnTo>
                  <a:lnTo>
                    <a:pt x="184" y="254"/>
                  </a:lnTo>
                  <a:lnTo>
                    <a:pt x="184" y="254"/>
                  </a:lnTo>
                  <a:lnTo>
                    <a:pt x="192" y="248"/>
                  </a:lnTo>
                  <a:lnTo>
                    <a:pt x="198" y="242"/>
                  </a:lnTo>
                  <a:lnTo>
                    <a:pt x="200" y="236"/>
                  </a:lnTo>
                  <a:lnTo>
                    <a:pt x="202" y="230"/>
                  </a:lnTo>
                  <a:lnTo>
                    <a:pt x="202" y="230"/>
                  </a:lnTo>
                  <a:lnTo>
                    <a:pt x="204" y="222"/>
                  </a:lnTo>
                  <a:lnTo>
                    <a:pt x="202" y="214"/>
                  </a:lnTo>
                  <a:lnTo>
                    <a:pt x="198" y="206"/>
                  </a:lnTo>
                  <a:lnTo>
                    <a:pt x="194" y="196"/>
                  </a:lnTo>
                  <a:lnTo>
                    <a:pt x="190" y="190"/>
                  </a:lnTo>
                  <a:lnTo>
                    <a:pt x="242" y="156"/>
                  </a:lnTo>
                  <a:lnTo>
                    <a:pt x="246" y="162"/>
                  </a:lnTo>
                  <a:lnTo>
                    <a:pt x="246" y="162"/>
                  </a:lnTo>
                  <a:lnTo>
                    <a:pt x="256" y="180"/>
                  </a:lnTo>
                  <a:lnTo>
                    <a:pt x="262" y="196"/>
                  </a:lnTo>
                  <a:lnTo>
                    <a:pt x="264" y="214"/>
                  </a:lnTo>
                  <a:lnTo>
                    <a:pt x="264" y="230"/>
                  </a:lnTo>
                  <a:lnTo>
                    <a:pt x="264" y="230"/>
                  </a:lnTo>
                  <a:lnTo>
                    <a:pt x="260" y="246"/>
                  </a:lnTo>
                  <a:lnTo>
                    <a:pt x="254" y="260"/>
                  </a:lnTo>
                  <a:lnTo>
                    <a:pt x="244" y="274"/>
                  </a:lnTo>
                  <a:lnTo>
                    <a:pt x="232" y="286"/>
                  </a:lnTo>
                  <a:lnTo>
                    <a:pt x="254" y="318"/>
                  </a:lnTo>
                  <a:lnTo>
                    <a:pt x="214" y="344"/>
                  </a:lnTo>
                  <a:lnTo>
                    <a:pt x="194" y="312"/>
                  </a:lnTo>
                  <a:close/>
                </a:path>
              </a:pathLst>
            </a:custGeom>
            <a:solidFill>
              <a:srgbClr val="FFD6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92" name="Freeform 2375">
              <a:extLst>
                <a:ext uri="{FF2B5EF4-FFF2-40B4-BE49-F238E27FC236}">
                  <a16:creationId xmlns:a16="http://schemas.microsoft.com/office/drawing/2014/main" id="{22556835-58A3-4CFD-A2B1-BCF9558ADBDC}"/>
                </a:ext>
              </a:extLst>
            </p:cNvPr>
            <p:cNvSpPr>
              <a:spLocks/>
            </p:cNvSpPr>
            <p:nvPr/>
          </p:nvSpPr>
          <p:spPr bwMode="auto">
            <a:xfrm>
              <a:off x="8721578" y="3611794"/>
              <a:ext cx="443098" cy="575312"/>
            </a:xfrm>
            <a:custGeom>
              <a:avLst/>
              <a:gdLst>
                <a:gd name="T0" fmla="*/ 54 w 248"/>
                <a:gd name="T1" fmla="*/ 36 h 322"/>
                <a:gd name="T2" fmla="*/ 94 w 248"/>
                <a:gd name="T3" fmla="*/ 26 h 322"/>
                <a:gd name="T4" fmla="*/ 112 w 248"/>
                <a:gd name="T5" fmla="*/ 28 h 322"/>
                <a:gd name="T6" fmla="*/ 148 w 248"/>
                <a:gd name="T7" fmla="*/ 48 h 322"/>
                <a:gd name="T8" fmla="*/ 162 w 248"/>
                <a:gd name="T9" fmla="*/ 70 h 322"/>
                <a:gd name="T10" fmla="*/ 170 w 248"/>
                <a:gd name="T11" fmla="*/ 102 h 322"/>
                <a:gd name="T12" fmla="*/ 164 w 248"/>
                <a:gd name="T13" fmla="*/ 134 h 322"/>
                <a:gd name="T14" fmla="*/ 148 w 248"/>
                <a:gd name="T15" fmla="*/ 160 h 322"/>
                <a:gd name="T16" fmla="*/ 122 w 248"/>
                <a:gd name="T17" fmla="*/ 198 h 322"/>
                <a:gd name="T18" fmla="*/ 116 w 248"/>
                <a:gd name="T19" fmla="*/ 214 h 322"/>
                <a:gd name="T20" fmla="*/ 118 w 248"/>
                <a:gd name="T21" fmla="*/ 236 h 322"/>
                <a:gd name="T22" fmla="*/ 128 w 248"/>
                <a:gd name="T23" fmla="*/ 250 h 322"/>
                <a:gd name="T24" fmla="*/ 148 w 248"/>
                <a:gd name="T25" fmla="*/ 260 h 322"/>
                <a:gd name="T26" fmla="*/ 152 w 248"/>
                <a:gd name="T27" fmla="*/ 260 h 322"/>
                <a:gd name="T28" fmla="*/ 182 w 248"/>
                <a:gd name="T29" fmla="*/ 250 h 322"/>
                <a:gd name="T30" fmla="*/ 200 w 248"/>
                <a:gd name="T31" fmla="*/ 230 h 322"/>
                <a:gd name="T32" fmla="*/ 204 w 248"/>
                <a:gd name="T33" fmla="*/ 212 h 322"/>
                <a:gd name="T34" fmla="*/ 192 w 248"/>
                <a:gd name="T35" fmla="*/ 182 h 322"/>
                <a:gd name="T36" fmla="*/ 240 w 248"/>
                <a:gd name="T37" fmla="*/ 172 h 322"/>
                <a:gd name="T38" fmla="*/ 248 w 248"/>
                <a:gd name="T39" fmla="*/ 220 h 322"/>
                <a:gd name="T40" fmla="*/ 238 w 248"/>
                <a:gd name="T41" fmla="*/ 248 h 322"/>
                <a:gd name="T42" fmla="*/ 234 w 248"/>
                <a:gd name="T43" fmla="*/ 306 h 322"/>
                <a:gd name="T44" fmla="*/ 188 w 248"/>
                <a:gd name="T45" fmla="*/ 292 h 322"/>
                <a:gd name="T46" fmla="*/ 154 w 248"/>
                <a:gd name="T47" fmla="*/ 302 h 322"/>
                <a:gd name="T48" fmla="*/ 128 w 248"/>
                <a:gd name="T49" fmla="*/ 302 h 322"/>
                <a:gd name="T50" fmla="*/ 102 w 248"/>
                <a:gd name="T51" fmla="*/ 290 h 322"/>
                <a:gd name="T52" fmla="*/ 82 w 248"/>
                <a:gd name="T53" fmla="*/ 268 h 322"/>
                <a:gd name="T54" fmla="*/ 70 w 248"/>
                <a:gd name="T55" fmla="*/ 240 h 322"/>
                <a:gd name="T56" fmla="*/ 70 w 248"/>
                <a:gd name="T57" fmla="*/ 212 h 322"/>
                <a:gd name="T58" fmla="*/ 80 w 248"/>
                <a:gd name="T59" fmla="*/ 184 h 322"/>
                <a:gd name="T60" fmla="*/ 104 w 248"/>
                <a:gd name="T61" fmla="*/ 150 h 322"/>
                <a:gd name="T62" fmla="*/ 122 w 248"/>
                <a:gd name="T63" fmla="*/ 114 h 322"/>
                <a:gd name="T64" fmla="*/ 120 w 248"/>
                <a:gd name="T65" fmla="*/ 94 h 322"/>
                <a:gd name="T66" fmla="*/ 112 w 248"/>
                <a:gd name="T67" fmla="*/ 78 h 322"/>
                <a:gd name="T68" fmla="*/ 92 w 248"/>
                <a:gd name="T69" fmla="*/ 68 h 322"/>
                <a:gd name="T70" fmla="*/ 86 w 248"/>
                <a:gd name="T71" fmla="*/ 66 h 322"/>
                <a:gd name="T72" fmla="*/ 62 w 248"/>
                <a:gd name="T73" fmla="*/ 74 h 322"/>
                <a:gd name="T74" fmla="*/ 48 w 248"/>
                <a:gd name="T75" fmla="*/ 94 h 322"/>
                <a:gd name="T76" fmla="*/ 46 w 248"/>
                <a:gd name="T77" fmla="*/ 112 h 322"/>
                <a:gd name="T78" fmla="*/ 58 w 248"/>
                <a:gd name="T79" fmla="*/ 140 h 322"/>
                <a:gd name="T80" fmla="*/ 10 w 248"/>
                <a:gd name="T81" fmla="*/ 150 h 322"/>
                <a:gd name="T82" fmla="*/ 0 w 248"/>
                <a:gd name="T83" fmla="*/ 104 h 322"/>
                <a:gd name="T84" fmla="*/ 8 w 248"/>
                <a:gd name="T85" fmla="*/ 76 h 322"/>
                <a:gd name="T86" fmla="*/ 4 w 248"/>
                <a:gd name="T87" fmla="*/ 16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48" h="322">
                  <a:moveTo>
                    <a:pt x="30" y="0"/>
                  </a:moveTo>
                  <a:lnTo>
                    <a:pt x="54" y="36"/>
                  </a:lnTo>
                  <a:lnTo>
                    <a:pt x="54" y="36"/>
                  </a:lnTo>
                  <a:lnTo>
                    <a:pt x="74" y="28"/>
                  </a:lnTo>
                  <a:lnTo>
                    <a:pt x="84" y="26"/>
                  </a:lnTo>
                  <a:lnTo>
                    <a:pt x="94" y="26"/>
                  </a:lnTo>
                  <a:lnTo>
                    <a:pt x="94" y="26"/>
                  </a:lnTo>
                  <a:lnTo>
                    <a:pt x="112" y="28"/>
                  </a:lnTo>
                  <a:lnTo>
                    <a:pt x="112" y="28"/>
                  </a:lnTo>
                  <a:lnTo>
                    <a:pt x="124" y="32"/>
                  </a:lnTo>
                  <a:lnTo>
                    <a:pt x="136" y="38"/>
                  </a:lnTo>
                  <a:lnTo>
                    <a:pt x="148" y="48"/>
                  </a:lnTo>
                  <a:lnTo>
                    <a:pt x="156" y="60"/>
                  </a:lnTo>
                  <a:lnTo>
                    <a:pt x="156" y="60"/>
                  </a:lnTo>
                  <a:lnTo>
                    <a:pt x="162" y="70"/>
                  </a:lnTo>
                  <a:lnTo>
                    <a:pt x="166" y="80"/>
                  </a:lnTo>
                  <a:lnTo>
                    <a:pt x="168" y="92"/>
                  </a:lnTo>
                  <a:lnTo>
                    <a:pt x="170" y="102"/>
                  </a:lnTo>
                  <a:lnTo>
                    <a:pt x="170" y="112"/>
                  </a:lnTo>
                  <a:lnTo>
                    <a:pt x="166" y="124"/>
                  </a:lnTo>
                  <a:lnTo>
                    <a:pt x="164" y="134"/>
                  </a:lnTo>
                  <a:lnTo>
                    <a:pt x="158" y="146"/>
                  </a:lnTo>
                  <a:lnTo>
                    <a:pt x="158" y="146"/>
                  </a:lnTo>
                  <a:lnTo>
                    <a:pt x="148" y="160"/>
                  </a:lnTo>
                  <a:lnTo>
                    <a:pt x="134" y="180"/>
                  </a:lnTo>
                  <a:lnTo>
                    <a:pt x="134" y="180"/>
                  </a:lnTo>
                  <a:lnTo>
                    <a:pt x="122" y="198"/>
                  </a:lnTo>
                  <a:lnTo>
                    <a:pt x="118" y="206"/>
                  </a:lnTo>
                  <a:lnTo>
                    <a:pt x="116" y="214"/>
                  </a:lnTo>
                  <a:lnTo>
                    <a:pt x="116" y="214"/>
                  </a:lnTo>
                  <a:lnTo>
                    <a:pt x="116" y="222"/>
                  </a:lnTo>
                  <a:lnTo>
                    <a:pt x="116" y="228"/>
                  </a:lnTo>
                  <a:lnTo>
                    <a:pt x="118" y="236"/>
                  </a:lnTo>
                  <a:lnTo>
                    <a:pt x="122" y="242"/>
                  </a:lnTo>
                  <a:lnTo>
                    <a:pt x="122" y="242"/>
                  </a:lnTo>
                  <a:lnTo>
                    <a:pt x="128" y="250"/>
                  </a:lnTo>
                  <a:lnTo>
                    <a:pt x="134" y="254"/>
                  </a:lnTo>
                  <a:lnTo>
                    <a:pt x="140" y="258"/>
                  </a:lnTo>
                  <a:lnTo>
                    <a:pt x="148" y="260"/>
                  </a:lnTo>
                  <a:lnTo>
                    <a:pt x="148" y="260"/>
                  </a:lnTo>
                  <a:lnTo>
                    <a:pt x="152" y="260"/>
                  </a:lnTo>
                  <a:lnTo>
                    <a:pt x="152" y="260"/>
                  </a:lnTo>
                  <a:lnTo>
                    <a:pt x="166" y="258"/>
                  </a:lnTo>
                  <a:lnTo>
                    <a:pt x="182" y="250"/>
                  </a:lnTo>
                  <a:lnTo>
                    <a:pt x="182" y="250"/>
                  </a:lnTo>
                  <a:lnTo>
                    <a:pt x="190" y="244"/>
                  </a:lnTo>
                  <a:lnTo>
                    <a:pt x="196" y="238"/>
                  </a:lnTo>
                  <a:lnTo>
                    <a:pt x="200" y="230"/>
                  </a:lnTo>
                  <a:lnTo>
                    <a:pt x="202" y="220"/>
                  </a:lnTo>
                  <a:lnTo>
                    <a:pt x="202" y="220"/>
                  </a:lnTo>
                  <a:lnTo>
                    <a:pt x="204" y="212"/>
                  </a:lnTo>
                  <a:lnTo>
                    <a:pt x="202" y="202"/>
                  </a:lnTo>
                  <a:lnTo>
                    <a:pt x="198" y="192"/>
                  </a:lnTo>
                  <a:lnTo>
                    <a:pt x="192" y="182"/>
                  </a:lnTo>
                  <a:lnTo>
                    <a:pt x="232" y="156"/>
                  </a:lnTo>
                  <a:lnTo>
                    <a:pt x="232" y="156"/>
                  </a:lnTo>
                  <a:lnTo>
                    <a:pt x="240" y="172"/>
                  </a:lnTo>
                  <a:lnTo>
                    <a:pt x="246" y="188"/>
                  </a:lnTo>
                  <a:lnTo>
                    <a:pt x="248" y="204"/>
                  </a:lnTo>
                  <a:lnTo>
                    <a:pt x="248" y="220"/>
                  </a:lnTo>
                  <a:lnTo>
                    <a:pt x="248" y="220"/>
                  </a:lnTo>
                  <a:lnTo>
                    <a:pt x="244" y="234"/>
                  </a:lnTo>
                  <a:lnTo>
                    <a:pt x="238" y="248"/>
                  </a:lnTo>
                  <a:lnTo>
                    <a:pt x="228" y="262"/>
                  </a:lnTo>
                  <a:lnTo>
                    <a:pt x="214" y="274"/>
                  </a:lnTo>
                  <a:lnTo>
                    <a:pt x="234" y="306"/>
                  </a:lnTo>
                  <a:lnTo>
                    <a:pt x="208" y="322"/>
                  </a:lnTo>
                  <a:lnTo>
                    <a:pt x="188" y="292"/>
                  </a:lnTo>
                  <a:lnTo>
                    <a:pt x="188" y="292"/>
                  </a:lnTo>
                  <a:lnTo>
                    <a:pt x="176" y="296"/>
                  </a:lnTo>
                  <a:lnTo>
                    <a:pt x="166" y="300"/>
                  </a:lnTo>
                  <a:lnTo>
                    <a:pt x="154" y="302"/>
                  </a:lnTo>
                  <a:lnTo>
                    <a:pt x="144" y="304"/>
                  </a:lnTo>
                  <a:lnTo>
                    <a:pt x="144" y="304"/>
                  </a:lnTo>
                  <a:lnTo>
                    <a:pt x="128" y="302"/>
                  </a:lnTo>
                  <a:lnTo>
                    <a:pt x="128" y="302"/>
                  </a:lnTo>
                  <a:lnTo>
                    <a:pt x="114" y="298"/>
                  </a:lnTo>
                  <a:lnTo>
                    <a:pt x="102" y="290"/>
                  </a:lnTo>
                  <a:lnTo>
                    <a:pt x="92" y="280"/>
                  </a:lnTo>
                  <a:lnTo>
                    <a:pt x="82" y="268"/>
                  </a:lnTo>
                  <a:lnTo>
                    <a:pt x="82" y="268"/>
                  </a:lnTo>
                  <a:lnTo>
                    <a:pt x="74" y="254"/>
                  </a:lnTo>
                  <a:lnTo>
                    <a:pt x="70" y="240"/>
                  </a:lnTo>
                  <a:lnTo>
                    <a:pt x="70" y="240"/>
                  </a:lnTo>
                  <a:lnTo>
                    <a:pt x="68" y="226"/>
                  </a:lnTo>
                  <a:lnTo>
                    <a:pt x="70" y="212"/>
                  </a:lnTo>
                  <a:lnTo>
                    <a:pt x="70" y="212"/>
                  </a:lnTo>
                  <a:lnTo>
                    <a:pt x="74" y="198"/>
                  </a:lnTo>
                  <a:lnTo>
                    <a:pt x="80" y="184"/>
                  </a:lnTo>
                  <a:lnTo>
                    <a:pt x="80" y="184"/>
                  </a:lnTo>
                  <a:lnTo>
                    <a:pt x="90" y="168"/>
                  </a:lnTo>
                  <a:lnTo>
                    <a:pt x="104" y="150"/>
                  </a:lnTo>
                  <a:lnTo>
                    <a:pt x="104" y="150"/>
                  </a:lnTo>
                  <a:lnTo>
                    <a:pt x="116" y="130"/>
                  </a:lnTo>
                  <a:lnTo>
                    <a:pt x="122" y="114"/>
                  </a:lnTo>
                  <a:lnTo>
                    <a:pt x="122" y="114"/>
                  </a:lnTo>
                  <a:lnTo>
                    <a:pt x="124" y="108"/>
                  </a:lnTo>
                  <a:lnTo>
                    <a:pt x="124" y="100"/>
                  </a:lnTo>
                  <a:lnTo>
                    <a:pt x="120" y="94"/>
                  </a:lnTo>
                  <a:lnTo>
                    <a:pt x="116" y="86"/>
                  </a:lnTo>
                  <a:lnTo>
                    <a:pt x="116" y="86"/>
                  </a:lnTo>
                  <a:lnTo>
                    <a:pt x="112" y="78"/>
                  </a:lnTo>
                  <a:lnTo>
                    <a:pt x="106" y="74"/>
                  </a:lnTo>
                  <a:lnTo>
                    <a:pt x="100" y="70"/>
                  </a:lnTo>
                  <a:lnTo>
                    <a:pt x="92" y="68"/>
                  </a:lnTo>
                  <a:lnTo>
                    <a:pt x="92" y="68"/>
                  </a:lnTo>
                  <a:lnTo>
                    <a:pt x="86" y="66"/>
                  </a:lnTo>
                  <a:lnTo>
                    <a:pt x="86" y="66"/>
                  </a:lnTo>
                  <a:lnTo>
                    <a:pt x="74" y="68"/>
                  </a:lnTo>
                  <a:lnTo>
                    <a:pt x="62" y="74"/>
                  </a:lnTo>
                  <a:lnTo>
                    <a:pt x="62" y="74"/>
                  </a:lnTo>
                  <a:lnTo>
                    <a:pt x="56" y="80"/>
                  </a:lnTo>
                  <a:lnTo>
                    <a:pt x="50" y="88"/>
                  </a:lnTo>
                  <a:lnTo>
                    <a:pt x="48" y="94"/>
                  </a:lnTo>
                  <a:lnTo>
                    <a:pt x="46" y="102"/>
                  </a:lnTo>
                  <a:lnTo>
                    <a:pt x="46" y="102"/>
                  </a:lnTo>
                  <a:lnTo>
                    <a:pt x="46" y="112"/>
                  </a:lnTo>
                  <a:lnTo>
                    <a:pt x="48" y="122"/>
                  </a:lnTo>
                  <a:lnTo>
                    <a:pt x="52" y="130"/>
                  </a:lnTo>
                  <a:lnTo>
                    <a:pt x="58" y="140"/>
                  </a:lnTo>
                  <a:lnTo>
                    <a:pt x="18" y="166"/>
                  </a:lnTo>
                  <a:lnTo>
                    <a:pt x="18" y="166"/>
                  </a:lnTo>
                  <a:lnTo>
                    <a:pt x="10" y="150"/>
                  </a:lnTo>
                  <a:lnTo>
                    <a:pt x="4" y="136"/>
                  </a:lnTo>
                  <a:lnTo>
                    <a:pt x="0" y="120"/>
                  </a:lnTo>
                  <a:lnTo>
                    <a:pt x="0" y="104"/>
                  </a:lnTo>
                  <a:lnTo>
                    <a:pt x="0" y="104"/>
                  </a:lnTo>
                  <a:lnTo>
                    <a:pt x="2" y="90"/>
                  </a:lnTo>
                  <a:lnTo>
                    <a:pt x="8" y="76"/>
                  </a:lnTo>
                  <a:lnTo>
                    <a:pt x="16" y="64"/>
                  </a:lnTo>
                  <a:lnTo>
                    <a:pt x="28" y="52"/>
                  </a:lnTo>
                  <a:lnTo>
                    <a:pt x="4" y="16"/>
                  </a:lnTo>
                  <a:lnTo>
                    <a:pt x="3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93" name="Freeform 2376">
              <a:extLst>
                <a:ext uri="{FF2B5EF4-FFF2-40B4-BE49-F238E27FC236}">
                  <a16:creationId xmlns:a16="http://schemas.microsoft.com/office/drawing/2014/main" id="{F323727D-F283-4DE2-A7DD-129D94966FD5}"/>
                </a:ext>
              </a:extLst>
            </p:cNvPr>
            <p:cNvSpPr>
              <a:spLocks/>
            </p:cNvSpPr>
            <p:nvPr/>
          </p:nvSpPr>
          <p:spPr bwMode="auto">
            <a:xfrm>
              <a:off x="8689417" y="3572487"/>
              <a:ext cx="503845" cy="657500"/>
            </a:xfrm>
            <a:custGeom>
              <a:avLst/>
              <a:gdLst>
                <a:gd name="T0" fmla="*/ 14 w 282"/>
                <a:gd name="T1" fmla="*/ 26 h 368"/>
                <a:gd name="T2" fmla="*/ 26 w 282"/>
                <a:gd name="T3" fmla="*/ 72 h 368"/>
                <a:gd name="T4" fmla="*/ 8 w 282"/>
                <a:gd name="T5" fmla="*/ 98 h 368"/>
                <a:gd name="T6" fmla="*/ 2 w 282"/>
                <a:gd name="T7" fmla="*/ 126 h 368"/>
                <a:gd name="T8" fmla="*/ 12 w 282"/>
                <a:gd name="T9" fmla="*/ 180 h 368"/>
                <a:gd name="T10" fmla="*/ 44 w 282"/>
                <a:gd name="T11" fmla="*/ 202 h 368"/>
                <a:gd name="T12" fmla="*/ 88 w 282"/>
                <a:gd name="T13" fmla="*/ 154 h 368"/>
                <a:gd name="T14" fmla="*/ 80 w 282"/>
                <a:gd name="T15" fmla="*/ 132 h 368"/>
                <a:gd name="T16" fmla="*/ 82 w 282"/>
                <a:gd name="T17" fmla="*/ 118 h 368"/>
                <a:gd name="T18" fmla="*/ 98 w 282"/>
                <a:gd name="T19" fmla="*/ 106 h 368"/>
                <a:gd name="T20" fmla="*/ 108 w 282"/>
                <a:gd name="T21" fmla="*/ 106 h 368"/>
                <a:gd name="T22" fmla="*/ 116 w 282"/>
                <a:gd name="T23" fmla="*/ 110 h 368"/>
                <a:gd name="T24" fmla="*/ 124 w 282"/>
                <a:gd name="T25" fmla="*/ 122 h 368"/>
                <a:gd name="T26" fmla="*/ 126 w 282"/>
                <a:gd name="T27" fmla="*/ 132 h 368"/>
                <a:gd name="T28" fmla="*/ 110 w 282"/>
                <a:gd name="T29" fmla="*/ 162 h 368"/>
                <a:gd name="T30" fmla="*/ 84 w 282"/>
                <a:gd name="T31" fmla="*/ 200 h 368"/>
                <a:gd name="T32" fmla="*/ 72 w 282"/>
                <a:gd name="T33" fmla="*/ 232 h 368"/>
                <a:gd name="T34" fmla="*/ 72 w 282"/>
                <a:gd name="T35" fmla="*/ 264 h 368"/>
                <a:gd name="T36" fmla="*/ 88 w 282"/>
                <a:gd name="T37" fmla="*/ 298 h 368"/>
                <a:gd name="T38" fmla="*/ 126 w 282"/>
                <a:gd name="T39" fmla="*/ 334 h 368"/>
                <a:gd name="T40" fmla="*/ 162 w 282"/>
                <a:gd name="T41" fmla="*/ 342 h 368"/>
                <a:gd name="T42" fmla="*/ 200 w 282"/>
                <a:gd name="T43" fmla="*/ 334 h 368"/>
                <a:gd name="T44" fmla="*/ 236 w 282"/>
                <a:gd name="T45" fmla="*/ 358 h 368"/>
                <a:gd name="T46" fmla="*/ 266 w 282"/>
                <a:gd name="T47" fmla="*/ 320 h 368"/>
                <a:gd name="T48" fmla="*/ 264 w 282"/>
                <a:gd name="T49" fmla="*/ 286 h 368"/>
                <a:gd name="T50" fmla="*/ 282 w 282"/>
                <a:gd name="T51" fmla="*/ 244 h 368"/>
                <a:gd name="T52" fmla="*/ 280 w 282"/>
                <a:gd name="T53" fmla="*/ 208 h 368"/>
                <a:gd name="T54" fmla="*/ 254 w 282"/>
                <a:gd name="T55" fmla="*/ 156 h 368"/>
                <a:gd name="T56" fmla="*/ 188 w 282"/>
                <a:gd name="T57" fmla="*/ 200 h 368"/>
                <a:gd name="T58" fmla="*/ 204 w 282"/>
                <a:gd name="T59" fmla="*/ 228 h 368"/>
                <a:gd name="T60" fmla="*/ 206 w 282"/>
                <a:gd name="T61" fmla="*/ 240 h 368"/>
                <a:gd name="T62" fmla="*/ 190 w 282"/>
                <a:gd name="T63" fmla="*/ 260 h 368"/>
                <a:gd name="T64" fmla="*/ 170 w 282"/>
                <a:gd name="T65" fmla="*/ 266 h 368"/>
                <a:gd name="T66" fmla="*/ 168 w 282"/>
                <a:gd name="T67" fmla="*/ 266 h 368"/>
                <a:gd name="T68" fmla="*/ 154 w 282"/>
                <a:gd name="T69" fmla="*/ 256 h 368"/>
                <a:gd name="T70" fmla="*/ 150 w 282"/>
                <a:gd name="T71" fmla="*/ 240 h 368"/>
                <a:gd name="T72" fmla="*/ 166 w 282"/>
                <a:gd name="T73" fmla="*/ 210 h 368"/>
                <a:gd name="T74" fmla="*/ 190 w 282"/>
                <a:gd name="T75" fmla="*/ 174 h 368"/>
                <a:gd name="T76" fmla="*/ 200 w 282"/>
                <a:gd name="T77" fmla="*/ 148 h 368"/>
                <a:gd name="T78" fmla="*/ 202 w 282"/>
                <a:gd name="T79" fmla="*/ 110 h 368"/>
                <a:gd name="T80" fmla="*/ 188 w 282"/>
                <a:gd name="T81" fmla="*/ 74 h 368"/>
                <a:gd name="T82" fmla="*/ 164 w 282"/>
                <a:gd name="T83" fmla="*/ 48 h 368"/>
                <a:gd name="T84" fmla="*/ 134 w 282"/>
                <a:gd name="T85" fmla="*/ 34 h 368"/>
                <a:gd name="T86" fmla="*/ 112 w 282"/>
                <a:gd name="T87" fmla="*/ 32 h 368"/>
                <a:gd name="T88" fmla="*/ 62 w 282"/>
                <a:gd name="T89" fmla="*/ 14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82" h="368">
                  <a:moveTo>
                    <a:pt x="54" y="0"/>
                  </a:moveTo>
                  <a:lnTo>
                    <a:pt x="40" y="8"/>
                  </a:lnTo>
                  <a:lnTo>
                    <a:pt x="14" y="26"/>
                  </a:lnTo>
                  <a:lnTo>
                    <a:pt x="0" y="34"/>
                  </a:lnTo>
                  <a:lnTo>
                    <a:pt x="10" y="48"/>
                  </a:lnTo>
                  <a:lnTo>
                    <a:pt x="26" y="72"/>
                  </a:lnTo>
                  <a:lnTo>
                    <a:pt x="26" y="72"/>
                  </a:lnTo>
                  <a:lnTo>
                    <a:pt x="16" y="84"/>
                  </a:lnTo>
                  <a:lnTo>
                    <a:pt x="8" y="98"/>
                  </a:lnTo>
                  <a:lnTo>
                    <a:pt x="4" y="112"/>
                  </a:lnTo>
                  <a:lnTo>
                    <a:pt x="2" y="126"/>
                  </a:lnTo>
                  <a:lnTo>
                    <a:pt x="2" y="126"/>
                  </a:lnTo>
                  <a:lnTo>
                    <a:pt x="2" y="144"/>
                  </a:lnTo>
                  <a:lnTo>
                    <a:pt x="6" y="162"/>
                  </a:lnTo>
                  <a:lnTo>
                    <a:pt x="12" y="180"/>
                  </a:lnTo>
                  <a:lnTo>
                    <a:pt x="22" y="198"/>
                  </a:lnTo>
                  <a:lnTo>
                    <a:pt x="32" y="210"/>
                  </a:lnTo>
                  <a:lnTo>
                    <a:pt x="44" y="202"/>
                  </a:lnTo>
                  <a:lnTo>
                    <a:pt x="84" y="176"/>
                  </a:lnTo>
                  <a:lnTo>
                    <a:pt x="98" y="168"/>
                  </a:lnTo>
                  <a:lnTo>
                    <a:pt x="88" y="154"/>
                  </a:lnTo>
                  <a:lnTo>
                    <a:pt x="88" y="154"/>
                  </a:lnTo>
                  <a:lnTo>
                    <a:pt x="82" y="140"/>
                  </a:lnTo>
                  <a:lnTo>
                    <a:pt x="80" y="132"/>
                  </a:lnTo>
                  <a:lnTo>
                    <a:pt x="80" y="126"/>
                  </a:lnTo>
                  <a:lnTo>
                    <a:pt x="80" y="126"/>
                  </a:lnTo>
                  <a:lnTo>
                    <a:pt x="82" y="118"/>
                  </a:lnTo>
                  <a:lnTo>
                    <a:pt x="90" y="110"/>
                  </a:lnTo>
                  <a:lnTo>
                    <a:pt x="90" y="110"/>
                  </a:lnTo>
                  <a:lnTo>
                    <a:pt x="98" y="106"/>
                  </a:lnTo>
                  <a:lnTo>
                    <a:pt x="104" y="104"/>
                  </a:lnTo>
                  <a:lnTo>
                    <a:pt x="104" y="104"/>
                  </a:lnTo>
                  <a:lnTo>
                    <a:pt x="108" y="106"/>
                  </a:lnTo>
                  <a:lnTo>
                    <a:pt x="108" y="106"/>
                  </a:lnTo>
                  <a:lnTo>
                    <a:pt x="112" y="108"/>
                  </a:lnTo>
                  <a:lnTo>
                    <a:pt x="116" y="110"/>
                  </a:lnTo>
                  <a:lnTo>
                    <a:pt x="122" y="116"/>
                  </a:lnTo>
                  <a:lnTo>
                    <a:pt x="122" y="116"/>
                  </a:lnTo>
                  <a:lnTo>
                    <a:pt x="124" y="122"/>
                  </a:lnTo>
                  <a:lnTo>
                    <a:pt x="126" y="126"/>
                  </a:lnTo>
                  <a:lnTo>
                    <a:pt x="126" y="132"/>
                  </a:lnTo>
                  <a:lnTo>
                    <a:pt x="126" y="132"/>
                  </a:lnTo>
                  <a:lnTo>
                    <a:pt x="122" y="144"/>
                  </a:lnTo>
                  <a:lnTo>
                    <a:pt x="110" y="162"/>
                  </a:lnTo>
                  <a:lnTo>
                    <a:pt x="110" y="162"/>
                  </a:lnTo>
                  <a:lnTo>
                    <a:pt x="94" y="182"/>
                  </a:lnTo>
                  <a:lnTo>
                    <a:pt x="84" y="200"/>
                  </a:lnTo>
                  <a:lnTo>
                    <a:pt x="84" y="200"/>
                  </a:lnTo>
                  <a:lnTo>
                    <a:pt x="78" y="216"/>
                  </a:lnTo>
                  <a:lnTo>
                    <a:pt x="72" y="232"/>
                  </a:lnTo>
                  <a:lnTo>
                    <a:pt x="72" y="232"/>
                  </a:lnTo>
                  <a:lnTo>
                    <a:pt x="72" y="248"/>
                  </a:lnTo>
                  <a:lnTo>
                    <a:pt x="72" y="264"/>
                  </a:lnTo>
                  <a:lnTo>
                    <a:pt x="72" y="264"/>
                  </a:lnTo>
                  <a:lnTo>
                    <a:pt x="78" y="282"/>
                  </a:lnTo>
                  <a:lnTo>
                    <a:pt x="88" y="298"/>
                  </a:lnTo>
                  <a:lnTo>
                    <a:pt x="88" y="298"/>
                  </a:lnTo>
                  <a:lnTo>
                    <a:pt x="98" y="314"/>
                  </a:lnTo>
                  <a:lnTo>
                    <a:pt x="112" y="326"/>
                  </a:lnTo>
                  <a:lnTo>
                    <a:pt x="126" y="334"/>
                  </a:lnTo>
                  <a:lnTo>
                    <a:pt x="142" y="340"/>
                  </a:lnTo>
                  <a:lnTo>
                    <a:pt x="142" y="340"/>
                  </a:lnTo>
                  <a:lnTo>
                    <a:pt x="162" y="342"/>
                  </a:lnTo>
                  <a:lnTo>
                    <a:pt x="162" y="342"/>
                  </a:lnTo>
                  <a:lnTo>
                    <a:pt x="180" y="340"/>
                  </a:lnTo>
                  <a:lnTo>
                    <a:pt x="200" y="334"/>
                  </a:lnTo>
                  <a:lnTo>
                    <a:pt x="214" y="354"/>
                  </a:lnTo>
                  <a:lnTo>
                    <a:pt x="222" y="368"/>
                  </a:lnTo>
                  <a:lnTo>
                    <a:pt x="236" y="358"/>
                  </a:lnTo>
                  <a:lnTo>
                    <a:pt x="262" y="342"/>
                  </a:lnTo>
                  <a:lnTo>
                    <a:pt x="274" y="332"/>
                  </a:lnTo>
                  <a:lnTo>
                    <a:pt x="266" y="320"/>
                  </a:lnTo>
                  <a:lnTo>
                    <a:pt x="252" y="300"/>
                  </a:lnTo>
                  <a:lnTo>
                    <a:pt x="252" y="300"/>
                  </a:lnTo>
                  <a:lnTo>
                    <a:pt x="264" y="286"/>
                  </a:lnTo>
                  <a:lnTo>
                    <a:pt x="272" y="274"/>
                  </a:lnTo>
                  <a:lnTo>
                    <a:pt x="278" y="258"/>
                  </a:lnTo>
                  <a:lnTo>
                    <a:pt x="282" y="244"/>
                  </a:lnTo>
                  <a:lnTo>
                    <a:pt x="282" y="244"/>
                  </a:lnTo>
                  <a:lnTo>
                    <a:pt x="282" y="226"/>
                  </a:lnTo>
                  <a:lnTo>
                    <a:pt x="280" y="208"/>
                  </a:lnTo>
                  <a:lnTo>
                    <a:pt x="274" y="188"/>
                  </a:lnTo>
                  <a:lnTo>
                    <a:pt x="264" y="170"/>
                  </a:lnTo>
                  <a:lnTo>
                    <a:pt x="254" y="156"/>
                  </a:lnTo>
                  <a:lnTo>
                    <a:pt x="242" y="166"/>
                  </a:lnTo>
                  <a:lnTo>
                    <a:pt x="202" y="192"/>
                  </a:lnTo>
                  <a:lnTo>
                    <a:pt x="188" y="200"/>
                  </a:lnTo>
                  <a:lnTo>
                    <a:pt x="198" y="214"/>
                  </a:lnTo>
                  <a:lnTo>
                    <a:pt x="198" y="214"/>
                  </a:lnTo>
                  <a:lnTo>
                    <a:pt x="204" y="228"/>
                  </a:lnTo>
                  <a:lnTo>
                    <a:pt x="206" y="234"/>
                  </a:lnTo>
                  <a:lnTo>
                    <a:pt x="206" y="240"/>
                  </a:lnTo>
                  <a:lnTo>
                    <a:pt x="206" y="240"/>
                  </a:lnTo>
                  <a:lnTo>
                    <a:pt x="204" y="246"/>
                  </a:lnTo>
                  <a:lnTo>
                    <a:pt x="200" y="250"/>
                  </a:lnTo>
                  <a:lnTo>
                    <a:pt x="190" y="260"/>
                  </a:lnTo>
                  <a:lnTo>
                    <a:pt x="190" y="260"/>
                  </a:lnTo>
                  <a:lnTo>
                    <a:pt x="180" y="264"/>
                  </a:lnTo>
                  <a:lnTo>
                    <a:pt x="170" y="266"/>
                  </a:lnTo>
                  <a:lnTo>
                    <a:pt x="170" y="266"/>
                  </a:lnTo>
                  <a:lnTo>
                    <a:pt x="168" y="266"/>
                  </a:lnTo>
                  <a:lnTo>
                    <a:pt x="168" y="266"/>
                  </a:lnTo>
                  <a:lnTo>
                    <a:pt x="162" y="264"/>
                  </a:lnTo>
                  <a:lnTo>
                    <a:pt x="158" y="262"/>
                  </a:lnTo>
                  <a:lnTo>
                    <a:pt x="154" y="256"/>
                  </a:lnTo>
                  <a:lnTo>
                    <a:pt x="154" y="256"/>
                  </a:lnTo>
                  <a:lnTo>
                    <a:pt x="150" y="248"/>
                  </a:lnTo>
                  <a:lnTo>
                    <a:pt x="150" y="240"/>
                  </a:lnTo>
                  <a:lnTo>
                    <a:pt x="150" y="240"/>
                  </a:lnTo>
                  <a:lnTo>
                    <a:pt x="154" y="228"/>
                  </a:lnTo>
                  <a:lnTo>
                    <a:pt x="166" y="210"/>
                  </a:lnTo>
                  <a:lnTo>
                    <a:pt x="166" y="210"/>
                  </a:lnTo>
                  <a:lnTo>
                    <a:pt x="180" y="192"/>
                  </a:lnTo>
                  <a:lnTo>
                    <a:pt x="190" y="174"/>
                  </a:lnTo>
                  <a:lnTo>
                    <a:pt x="190" y="174"/>
                  </a:lnTo>
                  <a:lnTo>
                    <a:pt x="196" y="162"/>
                  </a:lnTo>
                  <a:lnTo>
                    <a:pt x="200" y="148"/>
                  </a:lnTo>
                  <a:lnTo>
                    <a:pt x="202" y="136"/>
                  </a:lnTo>
                  <a:lnTo>
                    <a:pt x="204" y="124"/>
                  </a:lnTo>
                  <a:lnTo>
                    <a:pt x="202" y="110"/>
                  </a:lnTo>
                  <a:lnTo>
                    <a:pt x="200" y="98"/>
                  </a:lnTo>
                  <a:lnTo>
                    <a:pt x="194" y="86"/>
                  </a:lnTo>
                  <a:lnTo>
                    <a:pt x="188" y="74"/>
                  </a:lnTo>
                  <a:lnTo>
                    <a:pt x="188" y="74"/>
                  </a:lnTo>
                  <a:lnTo>
                    <a:pt x="176" y="60"/>
                  </a:lnTo>
                  <a:lnTo>
                    <a:pt x="164" y="48"/>
                  </a:lnTo>
                  <a:lnTo>
                    <a:pt x="150" y="40"/>
                  </a:lnTo>
                  <a:lnTo>
                    <a:pt x="134" y="34"/>
                  </a:lnTo>
                  <a:lnTo>
                    <a:pt x="134" y="34"/>
                  </a:lnTo>
                  <a:lnTo>
                    <a:pt x="122" y="32"/>
                  </a:lnTo>
                  <a:lnTo>
                    <a:pt x="112" y="32"/>
                  </a:lnTo>
                  <a:lnTo>
                    <a:pt x="112" y="32"/>
                  </a:lnTo>
                  <a:lnTo>
                    <a:pt x="94" y="32"/>
                  </a:lnTo>
                  <a:lnTo>
                    <a:pt x="78" y="38"/>
                  </a:lnTo>
                  <a:lnTo>
                    <a:pt x="62" y="14"/>
                  </a:lnTo>
                  <a:lnTo>
                    <a:pt x="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94" name="Freeform 2377">
              <a:extLst>
                <a:ext uri="{FF2B5EF4-FFF2-40B4-BE49-F238E27FC236}">
                  <a16:creationId xmlns:a16="http://schemas.microsoft.com/office/drawing/2014/main" id="{C28AEC8F-9015-4559-937F-F9F392C594D6}"/>
                </a:ext>
              </a:extLst>
            </p:cNvPr>
            <p:cNvSpPr>
              <a:spLocks/>
            </p:cNvSpPr>
            <p:nvPr/>
          </p:nvSpPr>
          <p:spPr bwMode="auto">
            <a:xfrm>
              <a:off x="10133058" y="2932854"/>
              <a:ext cx="421657" cy="671793"/>
            </a:xfrm>
            <a:custGeom>
              <a:avLst/>
              <a:gdLst>
                <a:gd name="T0" fmla="*/ 48 w 236"/>
                <a:gd name="T1" fmla="*/ 324 h 376"/>
                <a:gd name="T2" fmla="*/ 14 w 236"/>
                <a:gd name="T3" fmla="*/ 294 h 376"/>
                <a:gd name="T4" fmla="*/ 2 w 236"/>
                <a:gd name="T5" fmla="*/ 266 h 376"/>
                <a:gd name="T6" fmla="*/ 6 w 236"/>
                <a:gd name="T7" fmla="*/ 220 h 376"/>
                <a:gd name="T8" fmla="*/ 24 w 236"/>
                <a:gd name="T9" fmla="*/ 190 h 376"/>
                <a:gd name="T10" fmla="*/ 48 w 236"/>
                <a:gd name="T11" fmla="*/ 172 h 376"/>
                <a:gd name="T12" fmla="*/ 78 w 236"/>
                <a:gd name="T13" fmla="*/ 162 h 376"/>
                <a:gd name="T14" fmla="*/ 120 w 236"/>
                <a:gd name="T15" fmla="*/ 160 h 376"/>
                <a:gd name="T16" fmla="*/ 142 w 236"/>
                <a:gd name="T17" fmla="*/ 160 h 376"/>
                <a:gd name="T18" fmla="*/ 162 w 236"/>
                <a:gd name="T19" fmla="*/ 152 h 376"/>
                <a:gd name="T20" fmla="*/ 172 w 236"/>
                <a:gd name="T21" fmla="*/ 138 h 376"/>
                <a:gd name="T22" fmla="*/ 172 w 236"/>
                <a:gd name="T23" fmla="*/ 114 h 376"/>
                <a:gd name="T24" fmla="*/ 164 w 236"/>
                <a:gd name="T25" fmla="*/ 106 h 376"/>
                <a:gd name="T26" fmla="*/ 142 w 236"/>
                <a:gd name="T27" fmla="*/ 96 h 376"/>
                <a:gd name="T28" fmla="*/ 128 w 236"/>
                <a:gd name="T29" fmla="*/ 102 h 376"/>
                <a:gd name="T30" fmla="*/ 116 w 236"/>
                <a:gd name="T31" fmla="*/ 112 h 376"/>
                <a:gd name="T32" fmla="*/ 104 w 236"/>
                <a:gd name="T33" fmla="*/ 136 h 376"/>
                <a:gd name="T34" fmla="*/ 48 w 236"/>
                <a:gd name="T35" fmla="*/ 108 h 376"/>
                <a:gd name="T36" fmla="*/ 78 w 236"/>
                <a:gd name="T37" fmla="*/ 62 h 376"/>
                <a:gd name="T38" fmla="*/ 100 w 236"/>
                <a:gd name="T39" fmla="*/ 48 h 376"/>
                <a:gd name="T40" fmla="*/ 132 w 236"/>
                <a:gd name="T41" fmla="*/ 40 h 376"/>
                <a:gd name="T42" fmla="*/ 162 w 236"/>
                <a:gd name="T43" fmla="*/ 0 h 376"/>
                <a:gd name="T44" fmla="*/ 192 w 236"/>
                <a:gd name="T45" fmla="*/ 58 h 376"/>
                <a:gd name="T46" fmla="*/ 224 w 236"/>
                <a:gd name="T47" fmla="*/ 86 h 376"/>
                <a:gd name="T48" fmla="*/ 234 w 236"/>
                <a:gd name="T49" fmla="*/ 114 h 376"/>
                <a:gd name="T50" fmla="*/ 230 w 236"/>
                <a:gd name="T51" fmla="*/ 160 h 376"/>
                <a:gd name="T52" fmla="*/ 218 w 236"/>
                <a:gd name="T53" fmla="*/ 182 h 376"/>
                <a:gd name="T54" fmla="*/ 194 w 236"/>
                <a:gd name="T55" fmla="*/ 206 h 376"/>
                <a:gd name="T56" fmla="*/ 158 w 236"/>
                <a:gd name="T57" fmla="*/ 216 h 376"/>
                <a:gd name="T58" fmla="*/ 122 w 236"/>
                <a:gd name="T59" fmla="*/ 218 h 376"/>
                <a:gd name="T60" fmla="*/ 94 w 236"/>
                <a:gd name="T61" fmla="*/ 220 h 376"/>
                <a:gd name="T62" fmla="*/ 70 w 236"/>
                <a:gd name="T63" fmla="*/ 230 h 376"/>
                <a:gd name="T64" fmla="*/ 64 w 236"/>
                <a:gd name="T65" fmla="*/ 248 h 376"/>
                <a:gd name="T66" fmla="*/ 66 w 236"/>
                <a:gd name="T67" fmla="*/ 264 h 376"/>
                <a:gd name="T68" fmla="*/ 74 w 236"/>
                <a:gd name="T69" fmla="*/ 274 h 376"/>
                <a:gd name="T70" fmla="*/ 98 w 236"/>
                <a:gd name="T71" fmla="*/ 284 h 376"/>
                <a:gd name="T72" fmla="*/ 112 w 236"/>
                <a:gd name="T73" fmla="*/ 284 h 376"/>
                <a:gd name="T74" fmla="*/ 126 w 236"/>
                <a:gd name="T75" fmla="*/ 278 h 376"/>
                <a:gd name="T76" fmla="*/ 140 w 236"/>
                <a:gd name="T77" fmla="*/ 256 h 376"/>
                <a:gd name="T78" fmla="*/ 198 w 236"/>
                <a:gd name="T79" fmla="*/ 278 h 376"/>
                <a:gd name="T80" fmla="*/ 180 w 236"/>
                <a:gd name="T81" fmla="*/ 310 h 376"/>
                <a:gd name="T82" fmla="*/ 154 w 236"/>
                <a:gd name="T83" fmla="*/ 332 h 376"/>
                <a:gd name="T84" fmla="*/ 124 w 236"/>
                <a:gd name="T85" fmla="*/ 340 h 376"/>
                <a:gd name="T86" fmla="*/ 92 w 236"/>
                <a:gd name="T87" fmla="*/ 340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6" h="376">
                  <a:moveTo>
                    <a:pt x="34" y="360"/>
                  </a:moveTo>
                  <a:lnTo>
                    <a:pt x="48" y="324"/>
                  </a:lnTo>
                  <a:lnTo>
                    <a:pt x="48" y="324"/>
                  </a:lnTo>
                  <a:lnTo>
                    <a:pt x="34" y="314"/>
                  </a:lnTo>
                  <a:lnTo>
                    <a:pt x="22" y="304"/>
                  </a:lnTo>
                  <a:lnTo>
                    <a:pt x="14" y="294"/>
                  </a:lnTo>
                  <a:lnTo>
                    <a:pt x="6" y="282"/>
                  </a:lnTo>
                  <a:lnTo>
                    <a:pt x="6" y="282"/>
                  </a:lnTo>
                  <a:lnTo>
                    <a:pt x="2" y="266"/>
                  </a:lnTo>
                  <a:lnTo>
                    <a:pt x="0" y="252"/>
                  </a:lnTo>
                  <a:lnTo>
                    <a:pt x="2" y="236"/>
                  </a:lnTo>
                  <a:lnTo>
                    <a:pt x="6" y="220"/>
                  </a:lnTo>
                  <a:lnTo>
                    <a:pt x="6" y="220"/>
                  </a:lnTo>
                  <a:lnTo>
                    <a:pt x="14" y="202"/>
                  </a:lnTo>
                  <a:lnTo>
                    <a:pt x="24" y="190"/>
                  </a:lnTo>
                  <a:lnTo>
                    <a:pt x="24" y="190"/>
                  </a:lnTo>
                  <a:lnTo>
                    <a:pt x="34" y="180"/>
                  </a:lnTo>
                  <a:lnTo>
                    <a:pt x="48" y="172"/>
                  </a:lnTo>
                  <a:lnTo>
                    <a:pt x="48" y="172"/>
                  </a:lnTo>
                  <a:lnTo>
                    <a:pt x="62" y="166"/>
                  </a:lnTo>
                  <a:lnTo>
                    <a:pt x="78" y="162"/>
                  </a:lnTo>
                  <a:lnTo>
                    <a:pt x="78" y="162"/>
                  </a:lnTo>
                  <a:lnTo>
                    <a:pt x="96" y="162"/>
                  </a:lnTo>
                  <a:lnTo>
                    <a:pt x="120" y="160"/>
                  </a:lnTo>
                  <a:lnTo>
                    <a:pt x="120" y="160"/>
                  </a:lnTo>
                  <a:lnTo>
                    <a:pt x="120" y="160"/>
                  </a:lnTo>
                  <a:lnTo>
                    <a:pt x="142" y="160"/>
                  </a:lnTo>
                  <a:lnTo>
                    <a:pt x="156" y="156"/>
                  </a:lnTo>
                  <a:lnTo>
                    <a:pt x="156" y="156"/>
                  </a:lnTo>
                  <a:lnTo>
                    <a:pt x="162" y="152"/>
                  </a:lnTo>
                  <a:lnTo>
                    <a:pt x="166" y="148"/>
                  </a:lnTo>
                  <a:lnTo>
                    <a:pt x="172" y="138"/>
                  </a:lnTo>
                  <a:lnTo>
                    <a:pt x="172" y="138"/>
                  </a:lnTo>
                  <a:lnTo>
                    <a:pt x="174" y="126"/>
                  </a:lnTo>
                  <a:lnTo>
                    <a:pt x="174" y="120"/>
                  </a:lnTo>
                  <a:lnTo>
                    <a:pt x="172" y="114"/>
                  </a:lnTo>
                  <a:lnTo>
                    <a:pt x="172" y="114"/>
                  </a:lnTo>
                  <a:lnTo>
                    <a:pt x="168" y="110"/>
                  </a:lnTo>
                  <a:lnTo>
                    <a:pt x="164" y="106"/>
                  </a:lnTo>
                  <a:lnTo>
                    <a:pt x="152" y="100"/>
                  </a:lnTo>
                  <a:lnTo>
                    <a:pt x="152" y="100"/>
                  </a:lnTo>
                  <a:lnTo>
                    <a:pt x="142" y="96"/>
                  </a:lnTo>
                  <a:lnTo>
                    <a:pt x="142" y="96"/>
                  </a:lnTo>
                  <a:lnTo>
                    <a:pt x="134" y="98"/>
                  </a:lnTo>
                  <a:lnTo>
                    <a:pt x="128" y="102"/>
                  </a:lnTo>
                  <a:lnTo>
                    <a:pt x="128" y="102"/>
                  </a:lnTo>
                  <a:lnTo>
                    <a:pt x="122" y="106"/>
                  </a:lnTo>
                  <a:lnTo>
                    <a:pt x="116" y="112"/>
                  </a:lnTo>
                  <a:lnTo>
                    <a:pt x="112" y="120"/>
                  </a:lnTo>
                  <a:lnTo>
                    <a:pt x="108" y="130"/>
                  </a:lnTo>
                  <a:lnTo>
                    <a:pt x="104" y="136"/>
                  </a:lnTo>
                  <a:lnTo>
                    <a:pt x="46" y="116"/>
                  </a:lnTo>
                  <a:lnTo>
                    <a:pt x="48" y="108"/>
                  </a:lnTo>
                  <a:lnTo>
                    <a:pt x="48" y="108"/>
                  </a:lnTo>
                  <a:lnTo>
                    <a:pt x="56" y="90"/>
                  </a:lnTo>
                  <a:lnTo>
                    <a:pt x="66" y="74"/>
                  </a:lnTo>
                  <a:lnTo>
                    <a:pt x="78" y="62"/>
                  </a:lnTo>
                  <a:lnTo>
                    <a:pt x="90" y="52"/>
                  </a:lnTo>
                  <a:lnTo>
                    <a:pt x="90" y="52"/>
                  </a:lnTo>
                  <a:lnTo>
                    <a:pt x="100" y="48"/>
                  </a:lnTo>
                  <a:lnTo>
                    <a:pt x="110" y="44"/>
                  </a:lnTo>
                  <a:lnTo>
                    <a:pt x="122" y="42"/>
                  </a:lnTo>
                  <a:lnTo>
                    <a:pt x="132" y="40"/>
                  </a:lnTo>
                  <a:lnTo>
                    <a:pt x="132" y="40"/>
                  </a:lnTo>
                  <a:lnTo>
                    <a:pt x="148" y="42"/>
                  </a:lnTo>
                  <a:lnTo>
                    <a:pt x="162" y="0"/>
                  </a:lnTo>
                  <a:lnTo>
                    <a:pt x="206" y="16"/>
                  </a:lnTo>
                  <a:lnTo>
                    <a:pt x="192" y="58"/>
                  </a:lnTo>
                  <a:lnTo>
                    <a:pt x="192" y="58"/>
                  </a:lnTo>
                  <a:lnTo>
                    <a:pt x="204" y="66"/>
                  </a:lnTo>
                  <a:lnTo>
                    <a:pt x="214" y="76"/>
                  </a:lnTo>
                  <a:lnTo>
                    <a:pt x="224" y="86"/>
                  </a:lnTo>
                  <a:lnTo>
                    <a:pt x="230" y="98"/>
                  </a:lnTo>
                  <a:lnTo>
                    <a:pt x="230" y="98"/>
                  </a:lnTo>
                  <a:lnTo>
                    <a:pt x="234" y="114"/>
                  </a:lnTo>
                  <a:lnTo>
                    <a:pt x="236" y="128"/>
                  </a:lnTo>
                  <a:lnTo>
                    <a:pt x="234" y="144"/>
                  </a:lnTo>
                  <a:lnTo>
                    <a:pt x="230" y="160"/>
                  </a:lnTo>
                  <a:lnTo>
                    <a:pt x="230" y="160"/>
                  </a:lnTo>
                  <a:lnTo>
                    <a:pt x="224" y="172"/>
                  </a:lnTo>
                  <a:lnTo>
                    <a:pt x="218" y="182"/>
                  </a:lnTo>
                  <a:lnTo>
                    <a:pt x="212" y="190"/>
                  </a:lnTo>
                  <a:lnTo>
                    <a:pt x="202" y="198"/>
                  </a:lnTo>
                  <a:lnTo>
                    <a:pt x="194" y="206"/>
                  </a:lnTo>
                  <a:lnTo>
                    <a:pt x="182" y="210"/>
                  </a:lnTo>
                  <a:lnTo>
                    <a:pt x="170" y="214"/>
                  </a:lnTo>
                  <a:lnTo>
                    <a:pt x="158" y="216"/>
                  </a:lnTo>
                  <a:lnTo>
                    <a:pt x="158" y="216"/>
                  </a:lnTo>
                  <a:lnTo>
                    <a:pt x="122" y="218"/>
                  </a:lnTo>
                  <a:lnTo>
                    <a:pt x="122" y="218"/>
                  </a:lnTo>
                  <a:lnTo>
                    <a:pt x="112" y="218"/>
                  </a:lnTo>
                  <a:lnTo>
                    <a:pt x="112" y="218"/>
                  </a:lnTo>
                  <a:lnTo>
                    <a:pt x="94" y="220"/>
                  </a:lnTo>
                  <a:lnTo>
                    <a:pt x="80" y="224"/>
                  </a:lnTo>
                  <a:lnTo>
                    <a:pt x="80" y="224"/>
                  </a:lnTo>
                  <a:lnTo>
                    <a:pt x="70" y="230"/>
                  </a:lnTo>
                  <a:lnTo>
                    <a:pt x="64" y="242"/>
                  </a:lnTo>
                  <a:lnTo>
                    <a:pt x="64" y="242"/>
                  </a:lnTo>
                  <a:lnTo>
                    <a:pt x="64" y="248"/>
                  </a:lnTo>
                  <a:lnTo>
                    <a:pt x="62" y="254"/>
                  </a:lnTo>
                  <a:lnTo>
                    <a:pt x="64" y="260"/>
                  </a:lnTo>
                  <a:lnTo>
                    <a:pt x="66" y="264"/>
                  </a:lnTo>
                  <a:lnTo>
                    <a:pt x="66" y="264"/>
                  </a:lnTo>
                  <a:lnTo>
                    <a:pt x="70" y="270"/>
                  </a:lnTo>
                  <a:lnTo>
                    <a:pt x="74" y="274"/>
                  </a:lnTo>
                  <a:lnTo>
                    <a:pt x="88" y="282"/>
                  </a:lnTo>
                  <a:lnTo>
                    <a:pt x="88" y="282"/>
                  </a:lnTo>
                  <a:lnTo>
                    <a:pt x="98" y="284"/>
                  </a:lnTo>
                  <a:lnTo>
                    <a:pt x="104" y="286"/>
                  </a:lnTo>
                  <a:lnTo>
                    <a:pt x="104" y="286"/>
                  </a:lnTo>
                  <a:lnTo>
                    <a:pt x="112" y="284"/>
                  </a:lnTo>
                  <a:lnTo>
                    <a:pt x="120" y="282"/>
                  </a:lnTo>
                  <a:lnTo>
                    <a:pt x="120" y="282"/>
                  </a:lnTo>
                  <a:lnTo>
                    <a:pt x="126" y="278"/>
                  </a:lnTo>
                  <a:lnTo>
                    <a:pt x="130" y="272"/>
                  </a:lnTo>
                  <a:lnTo>
                    <a:pt x="136" y="264"/>
                  </a:lnTo>
                  <a:lnTo>
                    <a:pt x="140" y="256"/>
                  </a:lnTo>
                  <a:lnTo>
                    <a:pt x="142" y="248"/>
                  </a:lnTo>
                  <a:lnTo>
                    <a:pt x="200" y="270"/>
                  </a:lnTo>
                  <a:lnTo>
                    <a:pt x="198" y="278"/>
                  </a:lnTo>
                  <a:lnTo>
                    <a:pt x="198" y="278"/>
                  </a:lnTo>
                  <a:lnTo>
                    <a:pt x="190" y="296"/>
                  </a:lnTo>
                  <a:lnTo>
                    <a:pt x="180" y="310"/>
                  </a:lnTo>
                  <a:lnTo>
                    <a:pt x="168" y="322"/>
                  </a:lnTo>
                  <a:lnTo>
                    <a:pt x="154" y="332"/>
                  </a:lnTo>
                  <a:lnTo>
                    <a:pt x="154" y="332"/>
                  </a:lnTo>
                  <a:lnTo>
                    <a:pt x="144" y="336"/>
                  </a:lnTo>
                  <a:lnTo>
                    <a:pt x="134" y="340"/>
                  </a:lnTo>
                  <a:lnTo>
                    <a:pt x="124" y="340"/>
                  </a:lnTo>
                  <a:lnTo>
                    <a:pt x="114" y="342"/>
                  </a:lnTo>
                  <a:lnTo>
                    <a:pt x="114" y="342"/>
                  </a:lnTo>
                  <a:lnTo>
                    <a:pt x="92" y="340"/>
                  </a:lnTo>
                  <a:lnTo>
                    <a:pt x="78" y="376"/>
                  </a:lnTo>
                  <a:lnTo>
                    <a:pt x="34" y="360"/>
                  </a:lnTo>
                  <a:close/>
                </a:path>
              </a:pathLst>
            </a:custGeom>
            <a:solidFill>
              <a:srgbClr val="FFD6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95" name="Freeform 2379">
              <a:extLst>
                <a:ext uri="{FF2B5EF4-FFF2-40B4-BE49-F238E27FC236}">
                  <a16:creationId xmlns:a16="http://schemas.microsoft.com/office/drawing/2014/main" id="{3E8436E1-DE44-43A1-948F-9F0BF261B89C}"/>
                </a:ext>
              </a:extLst>
            </p:cNvPr>
            <p:cNvSpPr>
              <a:spLocks/>
            </p:cNvSpPr>
            <p:nvPr/>
          </p:nvSpPr>
          <p:spPr bwMode="auto">
            <a:xfrm>
              <a:off x="10147352" y="2954294"/>
              <a:ext cx="393071" cy="628913"/>
            </a:xfrm>
            <a:custGeom>
              <a:avLst/>
              <a:gdLst>
                <a:gd name="T0" fmla="*/ 174 w 220"/>
                <a:gd name="T1" fmla="*/ 48 h 352"/>
                <a:gd name="T2" fmla="*/ 198 w 220"/>
                <a:gd name="T3" fmla="*/ 66 h 352"/>
                <a:gd name="T4" fmla="*/ 214 w 220"/>
                <a:gd name="T5" fmla="*/ 90 h 352"/>
                <a:gd name="T6" fmla="*/ 218 w 220"/>
                <a:gd name="T7" fmla="*/ 130 h 352"/>
                <a:gd name="T8" fmla="*/ 210 w 220"/>
                <a:gd name="T9" fmla="*/ 156 h 352"/>
                <a:gd name="T10" fmla="*/ 190 w 220"/>
                <a:gd name="T11" fmla="*/ 180 h 352"/>
                <a:gd name="T12" fmla="*/ 160 w 220"/>
                <a:gd name="T13" fmla="*/ 194 h 352"/>
                <a:gd name="T14" fmla="*/ 114 w 220"/>
                <a:gd name="T15" fmla="*/ 198 h 352"/>
                <a:gd name="T16" fmla="*/ 108 w 220"/>
                <a:gd name="T17" fmla="*/ 198 h 352"/>
                <a:gd name="T18" fmla="*/ 84 w 220"/>
                <a:gd name="T19" fmla="*/ 200 h 352"/>
                <a:gd name="T20" fmla="*/ 62 w 220"/>
                <a:gd name="T21" fmla="*/ 208 h 352"/>
                <a:gd name="T22" fmla="*/ 50 w 220"/>
                <a:gd name="T23" fmla="*/ 226 h 352"/>
                <a:gd name="T24" fmla="*/ 46 w 220"/>
                <a:gd name="T25" fmla="*/ 242 h 352"/>
                <a:gd name="T26" fmla="*/ 50 w 220"/>
                <a:gd name="T27" fmla="*/ 256 h 352"/>
                <a:gd name="T28" fmla="*/ 68 w 220"/>
                <a:gd name="T29" fmla="*/ 274 h 352"/>
                <a:gd name="T30" fmla="*/ 88 w 220"/>
                <a:gd name="T31" fmla="*/ 280 h 352"/>
                <a:gd name="T32" fmla="*/ 106 w 220"/>
                <a:gd name="T33" fmla="*/ 280 h 352"/>
                <a:gd name="T34" fmla="*/ 122 w 220"/>
                <a:gd name="T35" fmla="*/ 272 h 352"/>
                <a:gd name="T36" fmla="*/ 140 w 220"/>
                <a:gd name="T37" fmla="*/ 246 h 352"/>
                <a:gd name="T38" fmla="*/ 176 w 220"/>
                <a:gd name="T39" fmla="*/ 280 h 352"/>
                <a:gd name="T40" fmla="*/ 142 w 220"/>
                <a:gd name="T41" fmla="*/ 312 h 352"/>
                <a:gd name="T42" fmla="*/ 124 w 220"/>
                <a:gd name="T43" fmla="*/ 320 h 352"/>
                <a:gd name="T44" fmla="*/ 92 w 220"/>
                <a:gd name="T45" fmla="*/ 320 h 352"/>
                <a:gd name="T46" fmla="*/ 36 w 220"/>
                <a:gd name="T47" fmla="*/ 342 h 352"/>
                <a:gd name="T48" fmla="*/ 36 w 220"/>
                <a:gd name="T49" fmla="*/ 298 h 352"/>
                <a:gd name="T50" fmla="*/ 6 w 220"/>
                <a:gd name="T51" fmla="*/ 266 h 352"/>
                <a:gd name="T52" fmla="*/ 0 w 220"/>
                <a:gd name="T53" fmla="*/ 238 h 352"/>
                <a:gd name="T54" fmla="*/ 6 w 220"/>
                <a:gd name="T55" fmla="*/ 210 h 352"/>
                <a:gd name="T56" fmla="*/ 22 w 220"/>
                <a:gd name="T57" fmla="*/ 184 h 352"/>
                <a:gd name="T58" fmla="*/ 42 w 220"/>
                <a:gd name="T59" fmla="*/ 168 h 352"/>
                <a:gd name="T60" fmla="*/ 70 w 220"/>
                <a:gd name="T61" fmla="*/ 158 h 352"/>
                <a:gd name="T62" fmla="*/ 112 w 220"/>
                <a:gd name="T63" fmla="*/ 156 h 352"/>
                <a:gd name="T64" fmla="*/ 136 w 220"/>
                <a:gd name="T65" fmla="*/ 156 h 352"/>
                <a:gd name="T66" fmla="*/ 158 w 220"/>
                <a:gd name="T67" fmla="*/ 148 h 352"/>
                <a:gd name="T68" fmla="*/ 170 w 220"/>
                <a:gd name="T69" fmla="*/ 130 h 352"/>
                <a:gd name="T70" fmla="*/ 174 w 220"/>
                <a:gd name="T71" fmla="*/ 112 h 352"/>
                <a:gd name="T72" fmla="*/ 170 w 220"/>
                <a:gd name="T73" fmla="*/ 98 h 352"/>
                <a:gd name="T74" fmla="*/ 156 w 220"/>
                <a:gd name="T75" fmla="*/ 84 h 352"/>
                <a:gd name="T76" fmla="*/ 140 w 220"/>
                <a:gd name="T77" fmla="*/ 78 h 352"/>
                <a:gd name="T78" fmla="*/ 124 w 220"/>
                <a:gd name="T79" fmla="*/ 78 h 352"/>
                <a:gd name="T80" fmla="*/ 108 w 220"/>
                <a:gd name="T81" fmla="*/ 88 h 352"/>
                <a:gd name="T82" fmla="*/ 92 w 220"/>
                <a:gd name="T83" fmla="*/ 114 h 352"/>
                <a:gd name="T84" fmla="*/ 56 w 220"/>
                <a:gd name="T85" fmla="*/ 82 h 352"/>
                <a:gd name="T86" fmla="*/ 86 w 220"/>
                <a:gd name="T87" fmla="*/ 48 h 352"/>
                <a:gd name="T88" fmla="*/ 104 w 220"/>
                <a:gd name="T89" fmla="*/ 40 h 352"/>
                <a:gd name="T90" fmla="*/ 124 w 220"/>
                <a:gd name="T91" fmla="*/ 36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0" h="352">
                  <a:moveTo>
                    <a:pt x="160" y="0"/>
                  </a:moveTo>
                  <a:lnTo>
                    <a:pt x="188" y="10"/>
                  </a:lnTo>
                  <a:lnTo>
                    <a:pt x="174" y="48"/>
                  </a:lnTo>
                  <a:lnTo>
                    <a:pt x="174" y="48"/>
                  </a:lnTo>
                  <a:lnTo>
                    <a:pt x="188" y="58"/>
                  </a:lnTo>
                  <a:lnTo>
                    <a:pt x="198" y="66"/>
                  </a:lnTo>
                  <a:lnTo>
                    <a:pt x="208" y="78"/>
                  </a:lnTo>
                  <a:lnTo>
                    <a:pt x="214" y="90"/>
                  </a:lnTo>
                  <a:lnTo>
                    <a:pt x="214" y="90"/>
                  </a:lnTo>
                  <a:lnTo>
                    <a:pt x="218" y="104"/>
                  </a:lnTo>
                  <a:lnTo>
                    <a:pt x="220" y="116"/>
                  </a:lnTo>
                  <a:lnTo>
                    <a:pt x="218" y="130"/>
                  </a:lnTo>
                  <a:lnTo>
                    <a:pt x="214" y="146"/>
                  </a:lnTo>
                  <a:lnTo>
                    <a:pt x="214" y="146"/>
                  </a:lnTo>
                  <a:lnTo>
                    <a:pt x="210" y="156"/>
                  </a:lnTo>
                  <a:lnTo>
                    <a:pt x="204" y="166"/>
                  </a:lnTo>
                  <a:lnTo>
                    <a:pt x="198" y="174"/>
                  </a:lnTo>
                  <a:lnTo>
                    <a:pt x="190" y="180"/>
                  </a:lnTo>
                  <a:lnTo>
                    <a:pt x="180" y="186"/>
                  </a:lnTo>
                  <a:lnTo>
                    <a:pt x="170" y="190"/>
                  </a:lnTo>
                  <a:lnTo>
                    <a:pt x="160" y="194"/>
                  </a:lnTo>
                  <a:lnTo>
                    <a:pt x="148" y="196"/>
                  </a:lnTo>
                  <a:lnTo>
                    <a:pt x="148" y="196"/>
                  </a:lnTo>
                  <a:lnTo>
                    <a:pt x="114" y="198"/>
                  </a:lnTo>
                  <a:lnTo>
                    <a:pt x="114" y="198"/>
                  </a:lnTo>
                  <a:lnTo>
                    <a:pt x="108" y="198"/>
                  </a:lnTo>
                  <a:lnTo>
                    <a:pt x="108" y="198"/>
                  </a:lnTo>
                  <a:lnTo>
                    <a:pt x="104" y="198"/>
                  </a:lnTo>
                  <a:lnTo>
                    <a:pt x="104" y="198"/>
                  </a:lnTo>
                  <a:lnTo>
                    <a:pt x="84" y="200"/>
                  </a:lnTo>
                  <a:lnTo>
                    <a:pt x="68" y="204"/>
                  </a:lnTo>
                  <a:lnTo>
                    <a:pt x="68" y="204"/>
                  </a:lnTo>
                  <a:lnTo>
                    <a:pt x="62" y="208"/>
                  </a:lnTo>
                  <a:lnTo>
                    <a:pt x="56" y="214"/>
                  </a:lnTo>
                  <a:lnTo>
                    <a:pt x="52" y="220"/>
                  </a:lnTo>
                  <a:lnTo>
                    <a:pt x="50" y="226"/>
                  </a:lnTo>
                  <a:lnTo>
                    <a:pt x="50" y="226"/>
                  </a:lnTo>
                  <a:lnTo>
                    <a:pt x="48" y="234"/>
                  </a:lnTo>
                  <a:lnTo>
                    <a:pt x="46" y="242"/>
                  </a:lnTo>
                  <a:lnTo>
                    <a:pt x="48" y="250"/>
                  </a:lnTo>
                  <a:lnTo>
                    <a:pt x="50" y="256"/>
                  </a:lnTo>
                  <a:lnTo>
                    <a:pt x="50" y="256"/>
                  </a:lnTo>
                  <a:lnTo>
                    <a:pt x="54" y="262"/>
                  </a:lnTo>
                  <a:lnTo>
                    <a:pt x="60" y="268"/>
                  </a:lnTo>
                  <a:lnTo>
                    <a:pt x="68" y="274"/>
                  </a:lnTo>
                  <a:lnTo>
                    <a:pt x="78" y="278"/>
                  </a:lnTo>
                  <a:lnTo>
                    <a:pt x="78" y="278"/>
                  </a:lnTo>
                  <a:lnTo>
                    <a:pt x="88" y="280"/>
                  </a:lnTo>
                  <a:lnTo>
                    <a:pt x="96" y="282"/>
                  </a:lnTo>
                  <a:lnTo>
                    <a:pt x="96" y="282"/>
                  </a:lnTo>
                  <a:lnTo>
                    <a:pt x="106" y="280"/>
                  </a:lnTo>
                  <a:lnTo>
                    <a:pt x="114" y="278"/>
                  </a:lnTo>
                  <a:lnTo>
                    <a:pt x="114" y="278"/>
                  </a:lnTo>
                  <a:lnTo>
                    <a:pt x="122" y="272"/>
                  </a:lnTo>
                  <a:lnTo>
                    <a:pt x="128" y="266"/>
                  </a:lnTo>
                  <a:lnTo>
                    <a:pt x="134" y="256"/>
                  </a:lnTo>
                  <a:lnTo>
                    <a:pt x="140" y="246"/>
                  </a:lnTo>
                  <a:lnTo>
                    <a:pt x="182" y="262"/>
                  </a:lnTo>
                  <a:lnTo>
                    <a:pt x="182" y="262"/>
                  </a:lnTo>
                  <a:lnTo>
                    <a:pt x="176" y="280"/>
                  </a:lnTo>
                  <a:lnTo>
                    <a:pt x="166" y="292"/>
                  </a:lnTo>
                  <a:lnTo>
                    <a:pt x="156" y="304"/>
                  </a:lnTo>
                  <a:lnTo>
                    <a:pt x="142" y="312"/>
                  </a:lnTo>
                  <a:lnTo>
                    <a:pt x="142" y="312"/>
                  </a:lnTo>
                  <a:lnTo>
                    <a:pt x="134" y="316"/>
                  </a:lnTo>
                  <a:lnTo>
                    <a:pt x="124" y="320"/>
                  </a:lnTo>
                  <a:lnTo>
                    <a:pt x="106" y="322"/>
                  </a:lnTo>
                  <a:lnTo>
                    <a:pt x="106" y="322"/>
                  </a:lnTo>
                  <a:lnTo>
                    <a:pt x="92" y="320"/>
                  </a:lnTo>
                  <a:lnTo>
                    <a:pt x="78" y="318"/>
                  </a:lnTo>
                  <a:lnTo>
                    <a:pt x="66" y="352"/>
                  </a:lnTo>
                  <a:lnTo>
                    <a:pt x="36" y="342"/>
                  </a:lnTo>
                  <a:lnTo>
                    <a:pt x="50" y="308"/>
                  </a:lnTo>
                  <a:lnTo>
                    <a:pt x="50" y="308"/>
                  </a:lnTo>
                  <a:lnTo>
                    <a:pt x="36" y="298"/>
                  </a:lnTo>
                  <a:lnTo>
                    <a:pt x="22" y="290"/>
                  </a:lnTo>
                  <a:lnTo>
                    <a:pt x="14" y="278"/>
                  </a:lnTo>
                  <a:lnTo>
                    <a:pt x="6" y="266"/>
                  </a:lnTo>
                  <a:lnTo>
                    <a:pt x="6" y="266"/>
                  </a:lnTo>
                  <a:lnTo>
                    <a:pt x="2" y="252"/>
                  </a:lnTo>
                  <a:lnTo>
                    <a:pt x="0" y="238"/>
                  </a:lnTo>
                  <a:lnTo>
                    <a:pt x="2" y="224"/>
                  </a:lnTo>
                  <a:lnTo>
                    <a:pt x="6" y="210"/>
                  </a:lnTo>
                  <a:lnTo>
                    <a:pt x="6" y="210"/>
                  </a:lnTo>
                  <a:lnTo>
                    <a:pt x="12" y="196"/>
                  </a:lnTo>
                  <a:lnTo>
                    <a:pt x="22" y="184"/>
                  </a:lnTo>
                  <a:lnTo>
                    <a:pt x="22" y="184"/>
                  </a:lnTo>
                  <a:lnTo>
                    <a:pt x="32" y="174"/>
                  </a:lnTo>
                  <a:lnTo>
                    <a:pt x="42" y="168"/>
                  </a:lnTo>
                  <a:lnTo>
                    <a:pt x="42" y="168"/>
                  </a:lnTo>
                  <a:lnTo>
                    <a:pt x="56" y="162"/>
                  </a:lnTo>
                  <a:lnTo>
                    <a:pt x="70" y="158"/>
                  </a:lnTo>
                  <a:lnTo>
                    <a:pt x="70" y="158"/>
                  </a:lnTo>
                  <a:lnTo>
                    <a:pt x="88" y="158"/>
                  </a:lnTo>
                  <a:lnTo>
                    <a:pt x="112" y="156"/>
                  </a:lnTo>
                  <a:lnTo>
                    <a:pt x="112" y="156"/>
                  </a:lnTo>
                  <a:lnTo>
                    <a:pt x="114" y="156"/>
                  </a:lnTo>
                  <a:lnTo>
                    <a:pt x="114" y="156"/>
                  </a:lnTo>
                  <a:lnTo>
                    <a:pt x="136" y="156"/>
                  </a:lnTo>
                  <a:lnTo>
                    <a:pt x="152" y="150"/>
                  </a:lnTo>
                  <a:lnTo>
                    <a:pt x="152" y="150"/>
                  </a:lnTo>
                  <a:lnTo>
                    <a:pt x="158" y="148"/>
                  </a:lnTo>
                  <a:lnTo>
                    <a:pt x="164" y="142"/>
                  </a:lnTo>
                  <a:lnTo>
                    <a:pt x="168" y="136"/>
                  </a:lnTo>
                  <a:lnTo>
                    <a:pt x="170" y="130"/>
                  </a:lnTo>
                  <a:lnTo>
                    <a:pt x="170" y="130"/>
                  </a:lnTo>
                  <a:lnTo>
                    <a:pt x="174" y="120"/>
                  </a:lnTo>
                  <a:lnTo>
                    <a:pt x="174" y="112"/>
                  </a:lnTo>
                  <a:lnTo>
                    <a:pt x="174" y="106"/>
                  </a:lnTo>
                  <a:lnTo>
                    <a:pt x="170" y="98"/>
                  </a:lnTo>
                  <a:lnTo>
                    <a:pt x="170" y="98"/>
                  </a:lnTo>
                  <a:lnTo>
                    <a:pt x="168" y="92"/>
                  </a:lnTo>
                  <a:lnTo>
                    <a:pt x="162" y="88"/>
                  </a:lnTo>
                  <a:lnTo>
                    <a:pt x="156" y="84"/>
                  </a:lnTo>
                  <a:lnTo>
                    <a:pt x="148" y="80"/>
                  </a:lnTo>
                  <a:lnTo>
                    <a:pt x="148" y="80"/>
                  </a:lnTo>
                  <a:lnTo>
                    <a:pt x="140" y="78"/>
                  </a:lnTo>
                  <a:lnTo>
                    <a:pt x="134" y="76"/>
                  </a:lnTo>
                  <a:lnTo>
                    <a:pt x="134" y="76"/>
                  </a:lnTo>
                  <a:lnTo>
                    <a:pt x="124" y="78"/>
                  </a:lnTo>
                  <a:lnTo>
                    <a:pt x="116" y="82"/>
                  </a:lnTo>
                  <a:lnTo>
                    <a:pt x="116" y="82"/>
                  </a:lnTo>
                  <a:lnTo>
                    <a:pt x="108" y="88"/>
                  </a:lnTo>
                  <a:lnTo>
                    <a:pt x="102" y="96"/>
                  </a:lnTo>
                  <a:lnTo>
                    <a:pt x="96" y="104"/>
                  </a:lnTo>
                  <a:lnTo>
                    <a:pt x="92" y="114"/>
                  </a:lnTo>
                  <a:lnTo>
                    <a:pt x="48" y="98"/>
                  </a:lnTo>
                  <a:lnTo>
                    <a:pt x="48" y="98"/>
                  </a:lnTo>
                  <a:lnTo>
                    <a:pt x="56" y="82"/>
                  </a:lnTo>
                  <a:lnTo>
                    <a:pt x="64" y="68"/>
                  </a:lnTo>
                  <a:lnTo>
                    <a:pt x="74" y="56"/>
                  </a:lnTo>
                  <a:lnTo>
                    <a:pt x="86" y="48"/>
                  </a:lnTo>
                  <a:lnTo>
                    <a:pt x="86" y="48"/>
                  </a:lnTo>
                  <a:lnTo>
                    <a:pt x="96" y="42"/>
                  </a:lnTo>
                  <a:lnTo>
                    <a:pt x="104" y="40"/>
                  </a:lnTo>
                  <a:lnTo>
                    <a:pt x="114" y="38"/>
                  </a:lnTo>
                  <a:lnTo>
                    <a:pt x="124" y="36"/>
                  </a:lnTo>
                  <a:lnTo>
                    <a:pt x="124" y="36"/>
                  </a:lnTo>
                  <a:lnTo>
                    <a:pt x="144" y="38"/>
                  </a:lnTo>
                  <a:lnTo>
                    <a:pt x="16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96" name="Freeform 2380">
              <a:extLst>
                <a:ext uri="{FF2B5EF4-FFF2-40B4-BE49-F238E27FC236}">
                  <a16:creationId xmlns:a16="http://schemas.microsoft.com/office/drawing/2014/main" id="{C9331E2E-06B4-4000-8E2F-DAFE7F28855A}"/>
                </a:ext>
              </a:extLst>
            </p:cNvPr>
            <p:cNvSpPr>
              <a:spLocks/>
            </p:cNvSpPr>
            <p:nvPr/>
          </p:nvSpPr>
          <p:spPr bwMode="auto">
            <a:xfrm>
              <a:off x="10118765" y="2914987"/>
              <a:ext cx="450244" cy="707527"/>
            </a:xfrm>
            <a:custGeom>
              <a:avLst/>
              <a:gdLst>
                <a:gd name="T0" fmla="*/ 150 w 252"/>
                <a:gd name="T1" fmla="*/ 42 h 396"/>
                <a:gd name="T2" fmla="*/ 140 w 252"/>
                <a:gd name="T3" fmla="*/ 42 h 396"/>
                <a:gd name="T4" fmla="*/ 104 w 252"/>
                <a:gd name="T5" fmla="*/ 50 h 396"/>
                <a:gd name="T6" fmla="*/ 80 w 252"/>
                <a:gd name="T7" fmla="*/ 66 h 396"/>
                <a:gd name="T8" fmla="*/ 50 w 252"/>
                <a:gd name="T9" fmla="*/ 114 h 396"/>
                <a:gd name="T10" fmla="*/ 102 w 252"/>
                <a:gd name="T11" fmla="*/ 152 h 396"/>
                <a:gd name="T12" fmla="*/ 122 w 252"/>
                <a:gd name="T13" fmla="*/ 142 h 396"/>
                <a:gd name="T14" fmla="*/ 140 w 252"/>
                <a:gd name="T15" fmla="*/ 118 h 396"/>
                <a:gd name="T16" fmla="*/ 150 w 252"/>
                <a:gd name="T17" fmla="*/ 114 h 396"/>
                <a:gd name="T18" fmla="*/ 158 w 252"/>
                <a:gd name="T19" fmla="*/ 116 h 396"/>
                <a:gd name="T20" fmla="*/ 172 w 252"/>
                <a:gd name="T21" fmla="*/ 128 h 396"/>
                <a:gd name="T22" fmla="*/ 172 w 252"/>
                <a:gd name="T23" fmla="*/ 146 h 396"/>
                <a:gd name="T24" fmla="*/ 162 w 252"/>
                <a:gd name="T25" fmla="*/ 158 h 396"/>
                <a:gd name="T26" fmla="*/ 130 w 252"/>
                <a:gd name="T27" fmla="*/ 162 h 396"/>
                <a:gd name="T28" fmla="*/ 104 w 252"/>
                <a:gd name="T29" fmla="*/ 164 h 396"/>
                <a:gd name="T30" fmla="*/ 68 w 252"/>
                <a:gd name="T31" fmla="*/ 168 h 396"/>
                <a:gd name="T32" fmla="*/ 38 w 252"/>
                <a:gd name="T33" fmla="*/ 184 h 396"/>
                <a:gd name="T34" fmla="*/ 14 w 252"/>
                <a:gd name="T35" fmla="*/ 208 h 396"/>
                <a:gd name="T36" fmla="*/ 2 w 252"/>
                <a:gd name="T37" fmla="*/ 244 h 396"/>
                <a:gd name="T38" fmla="*/ 8 w 252"/>
                <a:gd name="T39" fmla="*/ 294 h 396"/>
                <a:gd name="T40" fmla="*/ 22 w 252"/>
                <a:gd name="T41" fmla="*/ 318 h 396"/>
                <a:gd name="T42" fmla="*/ 38 w 252"/>
                <a:gd name="T43" fmla="*/ 358 h 396"/>
                <a:gd name="T44" fmla="*/ 76 w 252"/>
                <a:gd name="T45" fmla="*/ 390 h 396"/>
                <a:gd name="T46" fmla="*/ 104 w 252"/>
                <a:gd name="T47" fmla="*/ 358 h 396"/>
                <a:gd name="T48" fmla="*/ 122 w 252"/>
                <a:gd name="T49" fmla="*/ 360 h 396"/>
                <a:gd name="T50" fmla="*/ 156 w 252"/>
                <a:gd name="T51" fmla="*/ 354 h 396"/>
                <a:gd name="T52" fmla="*/ 182 w 252"/>
                <a:gd name="T53" fmla="*/ 338 h 396"/>
                <a:gd name="T54" fmla="*/ 214 w 252"/>
                <a:gd name="T55" fmla="*/ 290 h 396"/>
                <a:gd name="T56" fmla="*/ 160 w 252"/>
                <a:gd name="T57" fmla="*/ 254 h 396"/>
                <a:gd name="T58" fmla="*/ 140 w 252"/>
                <a:gd name="T59" fmla="*/ 262 h 396"/>
                <a:gd name="T60" fmla="*/ 124 w 252"/>
                <a:gd name="T61" fmla="*/ 286 h 396"/>
                <a:gd name="T62" fmla="*/ 112 w 252"/>
                <a:gd name="T63" fmla="*/ 288 h 396"/>
                <a:gd name="T64" fmla="*/ 100 w 252"/>
                <a:gd name="T65" fmla="*/ 284 h 396"/>
                <a:gd name="T66" fmla="*/ 84 w 252"/>
                <a:gd name="T67" fmla="*/ 276 h 396"/>
                <a:gd name="T68" fmla="*/ 78 w 252"/>
                <a:gd name="T69" fmla="*/ 264 h 396"/>
                <a:gd name="T70" fmla="*/ 80 w 252"/>
                <a:gd name="T71" fmla="*/ 254 h 396"/>
                <a:gd name="T72" fmla="*/ 92 w 252"/>
                <a:gd name="T73" fmla="*/ 240 h 396"/>
                <a:gd name="T74" fmla="*/ 124 w 252"/>
                <a:gd name="T75" fmla="*/ 236 h 396"/>
                <a:gd name="T76" fmla="*/ 130 w 252"/>
                <a:gd name="T77" fmla="*/ 236 h 396"/>
                <a:gd name="T78" fmla="*/ 166 w 252"/>
                <a:gd name="T79" fmla="*/ 234 h 396"/>
                <a:gd name="T80" fmla="*/ 206 w 252"/>
                <a:gd name="T81" fmla="*/ 222 h 396"/>
                <a:gd name="T82" fmla="*/ 234 w 252"/>
                <a:gd name="T83" fmla="*/ 196 h 396"/>
                <a:gd name="T84" fmla="*/ 246 w 252"/>
                <a:gd name="T85" fmla="*/ 174 h 396"/>
                <a:gd name="T86" fmla="*/ 250 w 252"/>
                <a:gd name="T87" fmla="*/ 122 h 396"/>
                <a:gd name="T88" fmla="*/ 238 w 252"/>
                <a:gd name="T89" fmla="*/ 94 h 396"/>
                <a:gd name="T90" fmla="*/ 210 w 252"/>
                <a:gd name="T91" fmla="*/ 64 h 396"/>
                <a:gd name="T92" fmla="*/ 210 w 252"/>
                <a:gd name="T93" fmla="*/ 16 h 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52" h="396">
                  <a:moveTo>
                    <a:pt x="166" y="0"/>
                  </a:moveTo>
                  <a:lnTo>
                    <a:pt x="160" y="16"/>
                  </a:lnTo>
                  <a:lnTo>
                    <a:pt x="150" y="42"/>
                  </a:lnTo>
                  <a:lnTo>
                    <a:pt x="150" y="42"/>
                  </a:lnTo>
                  <a:lnTo>
                    <a:pt x="140" y="42"/>
                  </a:lnTo>
                  <a:lnTo>
                    <a:pt x="140" y="42"/>
                  </a:lnTo>
                  <a:lnTo>
                    <a:pt x="128" y="44"/>
                  </a:lnTo>
                  <a:lnTo>
                    <a:pt x="116" y="46"/>
                  </a:lnTo>
                  <a:lnTo>
                    <a:pt x="104" y="50"/>
                  </a:lnTo>
                  <a:lnTo>
                    <a:pt x="94" y="56"/>
                  </a:lnTo>
                  <a:lnTo>
                    <a:pt x="94" y="56"/>
                  </a:lnTo>
                  <a:lnTo>
                    <a:pt x="80" y="66"/>
                  </a:lnTo>
                  <a:lnTo>
                    <a:pt x="68" y="80"/>
                  </a:lnTo>
                  <a:lnTo>
                    <a:pt x="58" y="96"/>
                  </a:lnTo>
                  <a:lnTo>
                    <a:pt x="50" y="114"/>
                  </a:lnTo>
                  <a:lnTo>
                    <a:pt x="44" y="130"/>
                  </a:lnTo>
                  <a:lnTo>
                    <a:pt x="58" y="136"/>
                  </a:lnTo>
                  <a:lnTo>
                    <a:pt x="102" y="152"/>
                  </a:lnTo>
                  <a:lnTo>
                    <a:pt x="118" y="156"/>
                  </a:lnTo>
                  <a:lnTo>
                    <a:pt x="122" y="142"/>
                  </a:lnTo>
                  <a:lnTo>
                    <a:pt x="122" y="142"/>
                  </a:lnTo>
                  <a:lnTo>
                    <a:pt x="130" y="128"/>
                  </a:lnTo>
                  <a:lnTo>
                    <a:pt x="134" y="122"/>
                  </a:lnTo>
                  <a:lnTo>
                    <a:pt x="140" y="118"/>
                  </a:lnTo>
                  <a:lnTo>
                    <a:pt x="140" y="118"/>
                  </a:lnTo>
                  <a:lnTo>
                    <a:pt x="144" y="116"/>
                  </a:lnTo>
                  <a:lnTo>
                    <a:pt x="150" y="114"/>
                  </a:lnTo>
                  <a:lnTo>
                    <a:pt x="150" y="114"/>
                  </a:lnTo>
                  <a:lnTo>
                    <a:pt x="158" y="116"/>
                  </a:lnTo>
                  <a:lnTo>
                    <a:pt x="158" y="116"/>
                  </a:lnTo>
                  <a:lnTo>
                    <a:pt x="168" y="122"/>
                  </a:lnTo>
                  <a:lnTo>
                    <a:pt x="172" y="128"/>
                  </a:lnTo>
                  <a:lnTo>
                    <a:pt x="172" y="128"/>
                  </a:lnTo>
                  <a:lnTo>
                    <a:pt x="174" y="134"/>
                  </a:lnTo>
                  <a:lnTo>
                    <a:pt x="174" y="138"/>
                  </a:lnTo>
                  <a:lnTo>
                    <a:pt x="172" y="146"/>
                  </a:lnTo>
                  <a:lnTo>
                    <a:pt x="172" y="146"/>
                  </a:lnTo>
                  <a:lnTo>
                    <a:pt x="166" y="154"/>
                  </a:lnTo>
                  <a:lnTo>
                    <a:pt x="162" y="158"/>
                  </a:lnTo>
                  <a:lnTo>
                    <a:pt x="162" y="158"/>
                  </a:lnTo>
                  <a:lnTo>
                    <a:pt x="150" y="162"/>
                  </a:lnTo>
                  <a:lnTo>
                    <a:pt x="130" y="162"/>
                  </a:lnTo>
                  <a:lnTo>
                    <a:pt x="128" y="162"/>
                  </a:lnTo>
                  <a:lnTo>
                    <a:pt x="128" y="162"/>
                  </a:lnTo>
                  <a:lnTo>
                    <a:pt x="104" y="164"/>
                  </a:lnTo>
                  <a:lnTo>
                    <a:pt x="84" y="166"/>
                  </a:lnTo>
                  <a:lnTo>
                    <a:pt x="84" y="166"/>
                  </a:lnTo>
                  <a:lnTo>
                    <a:pt x="68" y="168"/>
                  </a:lnTo>
                  <a:lnTo>
                    <a:pt x="52" y="174"/>
                  </a:lnTo>
                  <a:lnTo>
                    <a:pt x="52" y="174"/>
                  </a:lnTo>
                  <a:lnTo>
                    <a:pt x="38" y="184"/>
                  </a:lnTo>
                  <a:lnTo>
                    <a:pt x="26" y="194"/>
                  </a:lnTo>
                  <a:lnTo>
                    <a:pt x="26" y="194"/>
                  </a:lnTo>
                  <a:lnTo>
                    <a:pt x="14" y="208"/>
                  </a:lnTo>
                  <a:lnTo>
                    <a:pt x="6" y="226"/>
                  </a:lnTo>
                  <a:lnTo>
                    <a:pt x="6" y="226"/>
                  </a:lnTo>
                  <a:lnTo>
                    <a:pt x="2" y="244"/>
                  </a:lnTo>
                  <a:lnTo>
                    <a:pt x="0" y="262"/>
                  </a:lnTo>
                  <a:lnTo>
                    <a:pt x="2" y="278"/>
                  </a:lnTo>
                  <a:lnTo>
                    <a:pt x="8" y="294"/>
                  </a:lnTo>
                  <a:lnTo>
                    <a:pt x="8" y="294"/>
                  </a:lnTo>
                  <a:lnTo>
                    <a:pt x="14" y="306"/>
                  </a:lnTo>
                  <a:lnTo>
                    <a:pt x="22" y="318"/>
                  </a:lnTo>
                  <a:lnTo>
                    <a:pt x="34" y="328"/>
                  </a:lnTo>
                  <a:lnTo>
                    <a:pt x="46" y="336"/>
                  </a:lnTo>
                  <a:lnTo>
                    <a:pt x="38" y="358"/>
                  </a:lnTo>
                  <a:lnTo>
                    <a:pt x="32" y="374"/>
                  </a:lnTo>
                  <a:lnTo>
                    <a:pt x="48" y="380"/>
                  </a:lnTo>
                  <a:lnTo>
                    <a:pt x="76" y="390"/>
                  </a:lnTo>
                  <a:lnTo>
                    <a:pt x="90" y="396"/>
                  </a:lnTo>
                  <a:lnTo>
                    <a:pt x="96" y="380"/>
                  </a:lnTo>
                  <a:lnTo>
                    <a:pt x="104" y="358"/>
                  </a:lnTo>
                  <a:lnTo>
                    <a:pt x="104" y="358"/>
                  </a:lnTo>
                  <a:lnTo>
                    <a:pt x="122" y="360"/>
                  </a:lnTo>
                  <a:lnTo>
                    <a:pt x="122" y="360"/>
                  </a:lnTo>
                  <a:lnTo>
                    <a:pt x="134" y="358"/>
                  </a:lnTo>
                  <a:lnTo>
                    <a:pt x="144" y="356"/>
                  </a:lnTo>
                  <a:lnTo>
                    <a:pt x="156" y="354"/>
                  </a:lnTo>
                  <a:lnTo>
                    <a:pt x="166" y="348"/>
                  </a:lnTo>
                  <a:lnTo>
                    <a:pt x="166" y="348"/>
                  </a:lnTo>
                  <a:lnTo>
                    <a:pt x="182" y="338"/>
                  </a:lnTo>
                  <a:lnTo>
                    <a:pt x="194" y="326"/>
                  </a:lnTo>
                  <a:lnTo>
                    <a:pt x="206" y="310"/>
                  </a:lnTo>
                  <a:lnTo>
                    <a:pt x="214" y="290"/>
                  </a:lnTo>
                  <a:lnTo>
                    <a:pt x="220" y="276"/>
                  </a:lnTo>
                  <a:lnTo>
                    <a:pt x="204" y="270"/>
                  </a:lnTo>
                  <a:lnTo>
                    <a:pt x="160" y="254"/>
                  </a:lnTo>
                  <a:lnTo>
                    <a:pt x="146" y="248"/>
                  </a:lnTo>
                  <a:lnTo>
                    <a:pt x="140" y="262"/>
                  </a:lnTo>
                  <a:lnTo>
                    <a:pt x="140" y="262"/>
                  </a:lnTo>
                  <a:lnTo>
                    <a:pt x="132" y="276"/>
                  </a:lnTo>
                  <a:lnTo>
                    <a:pt x="128" y="282"/>
                  </a:lnTo>
                  <a:lnTo>
                    <a:pt x="124" y="286"/>
                  </a:lnTo>
                  <a:lnTo>
                    <a:pt x="124" y="286"/>
                  </a:lnTo>
                  <a:lnTo>
                    <a:pt x="118" y="286"/>
                  </a:lnTo>
                  <a:lnTo>
                    <a:pt x="112" y="288"/>
                  </a:lnTo>
                  <a:lnTo>
                    <a:pt x="112" y="288"/>
                  </a:lnTo>
                  <a:lnTo>
                    <a:pt x="106" y="286"/>
                  </a:lnTo>
                  <a:lnTo>
                    <a:pt x="100" y="284"/>
                  </a:lnTo>
                  <a:lnTo>
                    <a:pt x="100" y="284"/>
                  </a:lnTo>
                  <a:lnTo>
                    <a:pt x="88" y="278"/>
                  </a:lnTo>
                  <a:lnTo>
                    <a:pt x="84" y="276"/>
                  </a:lnTo>
                  <a:lnTo>
                    <a:pt x="80" y="272"/>
                  </a:lnTo>
                  <a:lnTo>
                    <a:pt x="80" y="272"/>
                  </a:lnTo>
                  <a:lnTo>
                    <a:pt x="78" y="264"/>
                  </a:lnTo>
                  <a:lnTo>
                    <a:pt x="78" y="260"/>
                  </a:lnTo>
                  <a:lnTo>
                    <a:pt x="80" y="254"/>
                  </a:lnTo>
                  <a:lnTo>
                    <a:pt x="80" y="254"/>
                  </a:lnTo>
                  <a:lnTo>
                    <a:pt x="84" y="246"/>
                  </a:lnTo>
                  <a:lnTo>
                    <a:pt x="92" y="240"/>
                  </a:lnTo>
                  <a:lnTo>
                    <a:pt x="92" y="240"/>
                  </a:lnTo>
                  <a:lnTo>
                    <a:pt x="102" y="238"/>
                  </a:lnTo>
                  <a:lnTo>
                    <a:pt x="120" y="236"/>
                  </a:lnTo>
                  <a:lnTo>
                    <a:pt x="124" y="236"/>
                  </a:lnTo>
                  <a:lnTo>
                    <a:pt x="124" y="236"/>
                  </a:lnTo>
                  <a:lnTo>
                    <a:pt x="130" y="236"/>
                  </a:lnTo>
                  <a:lnTo>
                    <a:pt x="130" y="236"/>
                  </a:lnTo>
                  <a:lnTo>
                    <a:pt x="150" y="236"/>
                  </a:lnTo>
                  <a:lnTo>
                    <a:pt x="166" y="234"/>
                  </a:lnTo>
                  <a:lnTo>
                    <a:pt x="166" y="234"/>
                  </a:lnTo>
                  <a:lnTo>
                    <a:pt x="180" y="232"/>
                  </a:lnTo>
                  <a:lnTo>
                    <a:pt x="194" y="228"/>
                  </a:lnTo>
                  <a:lnTo>
                    <a:pt x="206" y="222"/>
                  </a:lnTo>
                  <a:lnTo>
                    <a:pt x="216" y="214"/>
                  </a:lnTo>
                  <a:lnTo>
                    <a:pt x="224" y="206"/>
                  </a:lnTo>
                  <a:lnTo>
                    <a:pt x="234" y="196"/>
                  </a:lnTo>
                  <a:lnTo>
                    <a:pt x="240" y="186"/>
                  </a:lnTo>
                  <a:lnTo>
                    <a:pt x="246" y="174"/>
                  </a:lnTo>
                  <a:lnTo>
                    <a:pt x="246" y="174"/>
                  </a:lnTo>
                  <a:lnTo>
                    <a:pt x="250" y="156"/>
                  </a:lnTo>
                  <a:lnTo>
                    <a:pt x="252" y="138"/>
                  </a:lnTo>
                  <a:lnTo>
                    <a:pt x="250" y="122"/>
                  </a:lnTo>
                  <a:lnTo>
                    <a:pt x="246" y="106"/>
                  </a:lnTo>
                  <a:lnTo>
                    <a:pt x="246" y="106"/>
                  </a:lnTo>
                  <a:lnTo>
                    <a:pt x="238" y="94"/>
                  </a:lnTo>
                  <a:lnTo>
                    <a:pt x="230" y="82"/>
                  </a:lnTo>
                  <a:lnTo>
                    <a:pt x="220" y="72"/>
                  </a:lnTo>
                  <a:lnTo>
                    <a:pt x="210" y="64"/>
                  </a:lnTo>
                  <a:lnTo>
                    <a:pt x="218" y="38"/>
                  </a:lnTo>
                  <a:lnTo>
                    <a:pt x="224" y="22"/>
                  </a:lnTo>
                  <a:lnTo>
                    <a:pt x="210" y="16"/>
                  </a:lnTo>
                  <a:lnTo>
                    <a:pt x="180" y="6"/>
                  </a:lnTo>
                  <a:lnTo>
                    <a:pt x="16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97" name="Freeform 2381">
              <a:extLst>
                <a:ext uri="{FF2B5EF4-FFF2-40B4-BE49-F238E27FC236}">
                  <a16:creationId xmlns:a16="http://schemas.microsoft.com/office/drawing/2014/main" id="{24753A0E-D2BC-4865-96F5-AFAA619EDA2C}"/>
                </a:ext>
              </a:extLst>
            </p:cNvPr>
            <p:cNvSpPr>
              <a:spLocks/>
            </p:cNvSpPr>
            <p:nvPr/>
          </p:nvSpPr>
          <p:spPr bwMode="auto">
            <a:xfrm>
              <a:off x="9686387" y="3658248"/>
              <a:ext cx="371630" cy="671793"/>
            </a:xfrm>
            <a:custGeom>
              <a:avLst/>
              <a:gdLst>
                <a:gd name="T0" fmla="*/ 60 w 208"/>
                <a:gd name="T1" fmla="*/ 332 h 376"/>
                <a:gd name="T2" fmla="*/ 46 w 208"/>
                <a:gd name="T3" fmla="*/ 326 h 376"/>
                <a:gd name="T4" fmla="*/ 22 w 208"/>
                <a:gd name="T5" fmla="*/ 308 h 376"/>
                <a:gd name="T6" fmla="*/ 12 w 208"/>
                <a:gd name="T7" fmla="*/ 298 h 376"/>
                <a:gd name="T8" fmla="*/ 2 w 208"/>
                <a:gd name="T9" fmla="*/ 270 h 376"/>
                <a:gd name="T10" fmla="*/ 0 w 208"/>
                <a:gd name="T11" fmla="*/ 238 h 376"/>
                <a:gd name="T12" fmla="*/ 6 w 208"/>
                <a:gd name="T13" fmla="*/ 222 h 376"/>
                <a:gd name="T14" fmla="*/ 12 w 208"/>
                <a:gd name="T15" fmla="*/ 208 h 376"/>
                <a:gd name="T16" fmla="*/ 32 w 208"/>
                <a:gd name="T17" fmla="*/ 186 h 376"/>
                <a:gd name="T18" fmla="*/ 44 w 208"/>
                <a:gd name="T19" fmla="*/ 178 h 376"/>
                <a:gd name="T20" fmla="*/ 60 w 208"/>
                <a:gd name="T21" fmla="*/ 172 h 376"/>
                <a:gd name="T22" fmla="*/ 100 w 208"/>
                <a:gd name="T23" fmla="*/ 162 h 376"/>
                <a:gd name="T24" fmla="*/ 120 w 208"/>
                <a:gd name="T25" fmla="*/ 156 h 376"/>
                <a:gd name="T26" fmla="*/ 134 w 208"/>
                <a:gd name="T27" fmla="*/ 150 h 376"/>
                <a:gd name="T28" fmla="*/ 146 w 208"/>
                <a:gd name="T29" fmla="*/ 130 h 376"/>
                <a:gd name="T30" fmla="*/ 146 w 208"/>
                <a:gd name="T31" fmla="*/ 118 h 376"/>
                <a:gd name="T32" fmla="*/ 142 w 208"/>
                <a:gd name="T33" fmla="*/ 108 h 376"/>
                <a:gd name="T34" fmla="*/ 138 w 208"/>
                <a:gd name="T35" fmla="*/ 104 h 376"/>
                <a:gd name="T36" fmla="*/ 120 w 208"/>
                <a:gd name="T37" fmla="*/ 96 h 376"/>
                <a:gd name="T38" fmla="*/ 114 w 208"/>
                <a:gd name="T39" fmla="*/ 96 h 376"/>
                <a:gd name="T40" fmla="*/ 104 w 208"/>
                <a:gd name="T41" fmla="*/ 98 h 376"/>
                <a:gd name="T42" fmla="*/ 96 w 208"/>
                <a:gd name="T43" fmla="*/ 104 h 376"/>
                <a:gd name="T44" fmla="*/ 88 w 208"/>
                <a:gd name="T45" fmla="*/ 116 h 376"/>
                <a:gd name="T46" fmla="*/ 82 w 208"/>
                <a:gd name="T47" fmla="*/ 134 h 376"/>
                <a:gd name="T48" fmla="*/ 20 w 208"/>
                <a:gd name="T49" fmla="*/ 132 h 376"/>
                <a:gd name="T50" fmla="*/ 22 w 208"/>
                <a:gd name="T51" fmla="*/ 124 h 376"/>
                <a:gd name="T52" fmla="*/ 32 w 208"/>
                <a:gd name="T53" fmla="*/ 88 h 376"/>
                <a:gd name="T54" fmla="*/ 52 w 208"/>
                <a:gd name="T55" fmla="*/ 62 h 376"/>
                <a:gd name="T56" fmla="*/ 62 w 208"/>
                <a:gd name="T57" fmla="*/ 54 h 376"/>
                <a:gd name="T58" fmla="*/ 90 w 208"/>
                <a:gd name="T59" fmla="*/ 44 h 376"/>
                <a:gd name="T60" fmla="*/ 112 w 208"/>
                <a:gd name="T61" fmla="*/ 0 h 376"/>
                <a:gd name="T62" fmla="*/ 150 w 208"/>
                <a:gd name="T63" fmla="*/ 48 h 376"/>
                <a:gd name="T64" fmla="*/ 164 w 208"/>
                <a:gd name="T65" fmla="*/ 54 h 376"/>
                <a:gd name="T66" fmla="*/ 186 w 208"/>
                <a:gd name="T67" fmla="*/ 72 h 376"/>
                <a:gd name="T68" fmla="*/ 194 w 208"/>
                <a:gd name="T69" fmla="*/ 82 h 376"/>
                <a:gd name="T70" fmla="*/ 206 w 208"/>
                <a:gd name="T71" fmla="*/ 110 h 376"/>
                <a:gd name="T72" fmla="*/ 206 w 208"/>
                <a:gd name="T73" fmla="*/ 142 h 376"/>
                <a:gd name="T74" fmla="*/ 204 w 208"/>
                <a:gd name="T75" fmla="*/ 154 h 376"/>
                <a:gd name="T76" fmla="*/ 194 w 208"/>
                <a:gd name="T77" fmla="*/ 174 h 376"/>
                <a:gd name="T78" fmla="*/ 178 w 208"/>
                <a:gd name="T79" fmla="*/ 192 h 376"/>
                <a:gd name="T80" fmla="*/ 158 w 208"/>
                <a:gd name="T81" fmla="*/ 204 h 376"/>
                <a:gd name="T82" fmla="*/ 146 w 208"/>
                <a:gd name="T83" fmla="*/ 208 h 376"/>
                <a:gd name="T84" fmla="*/ 106 w 208"/>
                <a:gd name="T85" fmla="*/ 218 h 376"/>
                <a:gd name="T86" fmla="*/ 86 w 208"/>
                <a:gd name="T87" fmla="*/ 224 h 376"/>
                <a:gd name="T88" fmla="*/ 72 w 208"/>
                <a:gd name="T89" fmla="*/ 230 h 376"/>
                <a:gd name="T90" fmla="*/ 62 w 208"/>
                <a:gd name="T91" fmla="*/ 250 h 376"/>
                <a:gd name="T92" fmla="*/ 62 w 208"/>
                <a:gd name="T93" fmla="*/ 262 h 376"/>
                <a:gd name="T94" fmla="*/ 66 w 208"/>
                <a:gd name="T95" fmla="*/ 272 h 376"/>
                <a:gd name="T96" fmla="*/ 70 w 208"/>
                <a:gd name="T97" fmla="*/ 276 h 376"/>
                <a:gd name="T98" fmla="*/ 92 w 208"/>
                <a:gd name="T99" fmla="*/ 284 h 376"/>
                <a:gd name="T100" fmla="*/ 100 w 208"/>
                <a:gd name="T101" fmla="*/ 286 h 376"/>
                <a:gd name="T102" fmla="*/ 112 w 208"/>
                <a:gd name="T103" fmla="*/ 284 h 376"/>
                <a:gd name="T104" fmla="*/ 122 w 208"/>
                <a:gd name="T105" fmla="*/ 278 h 376"/>
                <a:gd name="T106" fmla="*/ 130 w 208"/>
                <a:gd name="T107" fmla="*/ 266 h 376"/>
                <a:gd name="T108" fmla="*/ 136 w 208"/>
                <a:gd name="T109" fmla="*/ 250 h 376"/>
                <a:gd name="T110" fmla="*/ 198 w 208"/>
                <a:gd name="T111" fmla="*/ 252 h 376"/>
                <a:gd name="T112" fmla="*/ 196 w 208"/>
                <a:gd name="T113" fmla="*/ 260 h 376"/>
                <a:gd name="T114" fmla="*/ 186 w 208"/>
                <a:gd name="T115" fmla="*/ 294 h 376"/>
                <a:gd name="T116" fmla="*/ 164 w 208"/>
                <a:gd name="T117" fmla="*/ 320 h 376"/>
                <a:gd name="T118" fmla="*/ 152 w 208"/>
                <a:gd name="T119" fmla="*/ 328 h 376"/>
                <a:gd name="T120" fmla="*/ 122 w 208"/>
                <a:gd name="T121" fmla="*/ 338 h 376"/>
                <a:gd name="T122" fmla="*/ 106 w 208"/>
                <a:gd name="T123" fmla="*/ 340 h 376"/>
                <a:gd name="T124" fmla="*/ 54 w 208"/>
                <a:gd name="T125" fmla="*/ 368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8" h="376">
                  <a:moveTo>
                    <a:pt x="54" y="368"/>
                  </a:moveTo>
                  <a:lnTo>
                    <a:pt x="60" y="332"/>
                  </a:lnTo>
                  <a:lnTo>
                    <a:pt x="60" y="332"/>
                  </a:lnTo>
                  <a:lnTo>
                    <a:pt x="46" y="326"/>
                  </a:lnTo>
                  <a:lnTo>
                    <a:pt x="32" y="318"/>
                  </a:lnTo>
                  <a:lnTo>
                    <a:pt x="22" y="308"/>
                  </a:lnTo>
                  <a:lnTo>
                    <a:pt x="12" y="298"/>
                  </a:lnTo>
                  <a:lnTo>
                    <a:pt x="12" y="298"/>
                  </a:lnTo>
                  <a:lnTo>
                    <a:pt x="6" y="286"/>
                  </a:lnTo>
                  <a:lnTo>
                    <a:pt x="2" y="270"/>
                  </a:lnTo>
                  <a:lnTo>
                    <a:pt x="0" y="256"/>
                  </a:lnTo>
                  <a:lnTo>
                    <a:pt x="0" y="238"/>
                  </a:lnTo>
                  <a:lnTo>
                    <a:pt x="0" y="238"/>
                  </a:lnTo>
                  <a:lnTo>
                    <a:pt x="6" y="222"/>
                  </a:lnTo>
                  <a:lnTo>
                    <a:pt x="12" y="208"/>
                  </a:lnTo>
                  <a:lnTo>
                    <a:pt x="12" y="208"/>
                  </a:lnTo>
                  <a:lnTo>
                    <a:pt x="20" y="196"/>
                  </a:lnTo>
                  <a:lnTo>
                    <a:pt x="32" y="186"/>
                  </a:lnTo>
                  <a:lnTo>
                    <a:pt x="32" y="186"/>
                  </a:lnTo>
                  <a:lnTo>
                    <a:pt x="44" y="178"/>
                  </a:lnTo>
                  <a:lnTo>
                    <a:pt x="60" y="172"/>
                  </a:lnTo>
                  <a:lnTo>
                    <a:pt x="60" y="172"/>
                  </a:lnTo>
                  <a:lnTo>
                    <a:pt x="78" y="166"/>
                  </a:lnTo>
                  <a:lnTo>
                    <a:pt x="100" y="162"/>
                  </a:lnTo>
                  <a:lnTo>
                    <a:pt x="100" y="162"/>
                  </a:lnTo>
                  <a:lnTo>
                    <a:pt x="120" y="156"/>
                  </a:lnTo>
                  <a:lnTo>
                    <a:pt x="134" y="150"/>
                  </a:lnTo>
                  <a:lnTo>
                    <a:pt x="134" y="150"/>
                  </a:lnTo>
                  <a:lnTo>
                    <a:pt x="142" y="142"/>
                  </a:lnTo>
                  <a:lnTo>
                    <a:pt x="146" y="130"/>
                  </a:lnTo>
                  <a:lnTo>
                    <a:pt x="146" y="130"/>
                  </a:lnTo>
                  <a:lnTo>
                    <a:pt x="146" y="118"/>
                  </a:lnTo>
                  <a:lnTo>
                    <a:pt x="144" y="112"/>
                  </a:lnTo>
                  <a:lnTo>
                    <a:pt x="142" y="108"/>
                  </a:lnTo>
                  <a:lnTo>
                    <a:pt x="142" y="108"/>
                  </a:lnTo>
                  <a:lnTo>
                    <a:pt x="138" y="104"/>
                  </a:lnTo>
                  <a:lnTo>
                    <a:pt x="132" y="100"/>
                  </a:lnTo>
                  <a:lnTo>
                    <a:pt x="120" y="96"/>
                  </a:lnTo>
                  <a:lnTo>
                    <a:pt x="120" y="96"/>
                  </a:lnTo>
                  <a:lnTo>
                    <a:pt x="114" y="96"/>
                  </a:lnTo>
                  <a:lnTo>
                    <a:pt x="114" y="96"/>
                  </a:lnTo>
                  <a:lnTo>
                    <a:pt x="104" y="98"/>
                  </a:lnTo>
                  <a:lnTo>
                    <a:pt x="96" y="104"/>
                  </a:lnTo>
                  <a:lnTo>
                    <a:pt x="96" y="104"/>
                  </a:lnTo>
                  <a:lnTo>
                    <a:pt x="92" y="108"/>
                  </a:lnTo>
                  <a:lnTo>
                    <a:pt x="88" y="116"/>
                  </a:lnTo>
                  <a:lnTo>
                    <a:pt x="84" y="124"/>
                  </a:lnTo>
                  <a:lnTo>
                    <a:pt x="82" y="134"/>
                  </a:lnTo>
                  <a:lnTo>
                    <a:pt x="80" y="142"/>
                  </a:lnTo>
                  <a:lnTo>
                    <a:pt x="20" y="132"/>
                  </a:lnTo>
                  <a:lnTo>
                    <a:pt x="22" y="124"/>
                  </a:lnTo>
                  <a:lnTo>
                    <a:pt x="22" y="124"/>
                  </a:lnTo>
                  <a:lnTo>
                    <a:pt x="26" y="104"/>
                  </a:lnTo>
                  <a:lnTo>
                    <a:pt x="32" y="88"/>
                  </a:lnTo>
                  <a:lnTo>
                    <a:pt x="40" y="74"/>
                  </a:lnTo>
                  <a:lnTo>
                    <a:pt x="52" y="62"/>
                  </a:lnTo>
                  <a:lnTo>
                    <a:pt x="52" y="62"/>
                  </a:lnTo>
                  <a:lnTo>
                    <a:pt x="62" y="54"/>
                  </a:lnTo>
                  <a:lnTo>
                    <a:pt x="76" y="48"/>
                  </a:lnTo>
                  <a:lnTo>
                    <a:pt x="90" y="44"/>
                  </a:lnTo>
                  <a:lnTo>
                    <a:pt x="104" y="42"/>
                  </a:lnTo>
                  <a:lnTo>
                    <a:pt x="112" y="0"/>
                  </a:lnTo>
                  <a:lnTo>
                    <a:pt x="158" y="8"/>
                  </a:lnTo>
                  <a:lnTo>
                    <a:pt x="150" y="48"/>
                  </a:lnTo>
                  <a:lnTo>
                    <a:pt x="150" y="48"/>
                  </a:lnTo>
                  <a:lnTo>
                    <a:pt x="164" y="54"/>
                  </a:lnTo>
                  <a:lnTo>
                    <a:pt x="176" y="62"/>
                  </a:lnTo>
                  <a:lnTo>
                    <a:pt x="186" y="72"/>
                  </a:lnTo>
                  <a:lnTo>
                    <a:pt x="194" y="82"/>
                  </a:lnTo>
                  <a:lnTo>
                    <a:pt x="194" y="82"/>
                  </a:lnTo>
                  <a:lnTo>
                    <a:pt x="202" y="96"/>
                  </a:lnTo>
                  <a:lnTo>
                    <a:pt x="206" y="110"/>
                  </a:lnTo>
                  <a:lnTo>
                    <a:pt x="208" y="124"/>
                  </a:lnTo>
                  <a:lnTo>
                    <a:pt x="206" y="142"/>
                  </a:lnTo>
                  <a:lnTo>
                    <a:pt x="206" y="142"/>
                  </a:lnTo>
                  <a:lnTo>
                    <a:pt x="204" y="154"/>
                  </a:lnTo>
                  <a:lnTo>
                    <a:pt x="200" y="164"/>
                  </a:lnTo>
                  <a:lnTo>
                    <a:pt x="194" y="174"/>
                  </a:lnTo>
                  <a:lnTo>
                    <a:pt x="186" y="184"/>
                  </a:lnTo>
                  <a:lnTo>
                    <a:pt x="178" y="192"/>
                  </a:lnTo>
                  <a:lnTo>
                    <a:pt x="170" y="198"/>
                  </a:lnTo>
                  <a:lnTo>
                    <a:pt x="158" y="204"/>
                  </a:lnTo>
                  <a:lnTo>
                    <a:pt x="146" y="208"/>
                  </a:lnTo>
                  <a:lnTo>
                    <a:pt x="146" y="208"/>
                  </a:lnTo>
                  <a:lnTo>
                    <a:pt x="128" y="214"/>
                  </a:lnTo>
                  <a:lnTo>
                    <a:pt x="106" y="218"/>
                  </a:lnTo>
                  <a:lnTo>
                    <a:pt x="106" y="218"/>
                  </a:lnTo>
                  <a:lnTo>
                    <a:pt x="86" y="224"/>
                  </a:lnTo>
                  <a:lnTo>
                    <a:pt x="72" y="230"/>
                  </a:lnTo>
                  <a:lnTo>
                    <a:pt x="72" y="230"/>
                  </a:lnTo>
                  <a:lnTo>
                    <a:pt x="66" y="238"/>
                  </a:lnTo>
                  <a:lnTo>
                    <a:pt x="62" y="250"/>
                  </a:lnTo>
                  <a:lnTo>
                    <a:pt x="62" y="250"/>
                  </a:lnTo>
                  <a:lnTo>
                    <a:pt x="62" y="262"/>
                  </a:lnTo>
                  <a:lnTo>
                    <a:pt x="64" y="266"/>
                  </a:lnTo>
                  <a:lnTo>
                    <a:pt x="66" y="272"/>
                  </a:lnTo>
                  <a:lnTo>
                    <a:pt x="66" y="272"/>
                  </a:lnTo>
                  <a:lnTo>
                    <a:pt x="70" y="276"/>
                  </a:lnTo>
                  <a:lnTo>
                    <a:pt x="76" y="280"/>
                  </a:lnTo>
                  <a:lnTo>
                    <a:pt x="92" y="284"/>
                  </a:lnTo>
                  <a:lnTo>
                    <a:pt x="92" y="284"/>
                  </a:lnTo>
                  <a:lnTo>
                    <a:pt x="100" y="286"/>
                  </a:lnTo>
                  <a:lnTo>
                    <a:pt x="100" y="286"/>
                  </a:lnTo>
                  <a:lnTo>
                    <a:pt x="112" y="284"/>
                  </a:lnTo>
                  <a:lnTo>
                    <a:pt x="122" y="278"/>
                  </a:lnTo>
                  <a:lnTo>
                    <a:pt x="122" y="278"/>
                  </a:lnTo>
                  <a:lnTo>
                    <a:pt x="126" y="274"/>
                  </a:lnTo>
                  <a:lnTo>
                    <a:pt x="130" y="266"/>
                  </a:lnTo>
                  <a:lnTo>
                    <a:pt x="134" y="258"/>
                  </a:lnTo>
                  <a:lnTo>
                    <a:pt x="136" y="250"/>
                  </a:lnTo>
                  <a:lnTo>
                    <a:pt x="138" y="242"/>
                  </a:lnTo>
                  <a:lnTo>
                    <a:pt x="198" y="252"/>
                  </a:lnTo>
                  <a:lnTo>
                    <a:pt x="196" y="260"/>
                  </a:lnTo>
                  <a:lnTo>
                    <a:pt x="196" y="260"/>
                  </a:lnTo>
                  <a:lnTo>
                    <a:pt x="192" y="278"/>
                  </a:lnTo>
                  <a:lnTo>
                    <a:pt x="186" y="294"/>
                  </a:lnTo>
                  <a:lnTo>
                    <a:pt x="176" y="308"/>
                  </a:lnTo>
                  <a:lnTo>
                    <a:pt x="164" y="320"/>
                  </a:lnTo>
                  <a:lnTo>
                    <a:pt x="164" y="320"/>
                  </a:lnTo>
                  <a:lnTo>
                    <a:pt x="152" y="328"/>
                  </a:lnTo>
                  <a:lnTo>
                    <a:pt x="138" y="334"/>
                  </a:lnTo>
                  <a:lnTo>
                    <a:pt x="122" y="338"/>
                  </a:lnTo>
                  <a:lnTo>
                    <a:pt x="106" y="340"/>
                  </a:lnTo>
                  <a:lnTo>
                    <a:pt x="106" y="340"/>
                  </a:lnTo>
                  <a:lnTo>
                    <a:pt x="100" y="376"/>
                  </a:lnTo>
                  <a:lnTo>
                    <a:pt x="54" y="368"/>
                  </a:lnTo>
                  <a:close/>
                </a:path>
              </a:pathLst>
            </a:custGeom>
            <a:solidFill>
              <a:srgbClr val="FFD6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98" name="Freeform 2383">
              <a:extLst>
                <a:ext uri="{FF2B5EF4-FFF2-40B4-BE49-F238E27FC236}">
                  <a16:creationId xmlns:a16="http://schemas.microsoft.com/office/drawing/2014/main" id="{8BC36934-A6AD-4357-AFD9-806057273B05}"/>
                </a:ext>
              </a:extLst>
            </p:cNvPr>
            <p:cNvSpPr>
              <a:spLocks/>
            </p:cNvSpPr>
            <p:nvPr/>
          </p:nvSpPr>
          <p:spPr bwMode="auto">
            <a:xfrm>
              <a:off x="9700681" y="3672541"/>
              <a:ext cx="343043" cy="639633"/>
            </a:xfrm>
            <a:custGeom>
              <a:avLst/>
              <a:gdLst>
                <a:gd name="T0" fmla="*/ 134 w 192"/>
                <a:gd name="T1" fmla="*/ 46 h 358"/>
                <a:gd name="T2" fmla="*/ 160 w 192"/>
                <a:gd name="T3" fmla="*/ 58 h 358"/>
                <a:gd name="T4" fmla="*/ 180 w 192"/>
                <a:gd name="T5" fmla="*/ 78 h 358"/>
                <a:gd name="T6" fmla="*/ 192 w 192"/>
                <a:gd name="T7" fmla="*/ 118 h 358"/>
                <a:gd name="T8" fmla="*/ 188 w 192"/>
                <a:gd name="T9" fmla="*/ 142 h 358"/>
                <a:gd name="T10" fmla="*/ 172 w 192"/>
                <a:gd name="T11" fmla="*/ 170 h 358"/>
                <a:gd name="T12" fmla="*/ 146 w 192"/>
                <a:gd name="T13" fmla="*/ 188 h 358"/>
                <a:gd name="T14" fmla="*/ 118 w 192"/>
                <a:gd name="T15" fmla="*/ 198 h 358"/>
                <a:gd name="T16" fmla="*/ 76 w 192"/>
                <a:gd name="T17" fmla="*/ 208 h 358"/>
                <a:gd name="T18" fmla="*/ 60 w 192"/>
                <a:gd name="T19" fmla="*/ 216 h 358"/>
                <a:gd name="T20" fmla="*/ 48 w 192"/>
                <a:gd name="T21" fmla="*/ 232 h 358"/>
                <a:gd name="T22" fmla="*/ 46 w 192"/>
                <a:gd name="T23" fmla="*/ 248 h 358"/>
                <a:gd name="T24" fmla="*/ 52 w 192"/>
                <a:gd name="T25" fmla="*/ 268 h 358"/>
                <a:gd name="T26" fmla="*/ 64 w 192"/>
                <a:gd name="T27" fmla="*/ 278 h 358"/>
                <a:gd name="T28" fmla="*/ 82 w 192"/>
                <a:gd name="T29" fmla="*/ 284 h 358"/>
                <a:gd name="T30" fmla="*/ 106 w 192"/>
                <a:gd name="T31" fmla="*/ 284 h 358"/>
                <a:gd name="T32" fmla="*/ 124 w 192"/>
                <a:gd name="T33" fmla="*/ 270 h 358"/>
                <a:gd name="T34" fmla="*/ 136 w 192"/>
                <a:gd name="T35" fmla="*/ 242 h 358"/>
                <a:gd name="T36" fmla="*/ 176 w 192"/>
                <a:gd name="T37" fmla="*/ 268 h 358"/>
                <a:gd name="T38" fmla="*/ 152 w 192"/>
                <a:gd name="T39" fmla="*/ 306 h 358"/>
                <a:gd name="T40" fmla="*/ 128 w 192"/>
                <a:gd name="T41" fmla="*/ 318 h 358"/>
                <a:gd name="T42" fmla="*/ 98 w 192"/>
                <a:gd name="T43" fmla="*/ 324 h 358"/>
                <a:gd name="T44" fmla="*/ 56 w 192"/>
                <a:gd name="T45" fmla="*/ 354 h 358"/>
                <a:gd name="T46" fmla="*/ 46 w 192"/>
                <a:gd name="T47" fmla="*/ 312 h 358"/>
                <a:gd name="T48" fmla="*/ 12 w 192"/>
                <a:gd name="T49" fmla="*/ 286 h 358"/>
                <a:gd name="T50" fmla="*/ 0 w 192"/>
                <a:gd name="T51" fmla="*/ 260 h 358"/>
                <a:gd name="T52" fmla="*/ 0 w 192"/>
                <a:gd name="T53" fmla="*/ 232 h 358"/>
                <a:gd name="T54" fmla="*/ 10 w 192"/>
                <a:gd name="T55" fmla="*/ 204 h 358"/>
                <a:gd name="T56" fmla="*/ 28 w 192"/>
                <a:gd name="T57" fmla="*/ 184 h 358"/>
                <a:gd name="T58" fmla="*/ 54 w 192"/>
                <a:gd name="T59" fmla="*/ 170 h 358"/>
                <a:gd name="T60" fmla="*/ 94 w 192"/>
                <a:gd name="T61" fmla="*/ 162 h 358"/>
                <a:gd name="T62" fmla="*/ 130 w 192"/>
                <a:gd name="T63" fmla="*/ 148 h 358"/>
                <a:gd name="T64" fmla="*/ 144 w 192"/>
                <a:gd name="T65" fmla="*/ 132 h 358"/>
                <a:gd name="T66" fmla="*/ 146 w 192"/>
                <a:gd name="T67" fmla="*/ 116 h 358"/>
                <a:gd name="T68" fmla="*/ 140 w 192"/>
                <a:gd name="T69" fmla="*/ 94 h 358"/>
                <a:gd name="T70" fmla="*/ 130 w 192"/>
                <a:gd name="T71" fmla="*/ 86 h 358"/>
                <a:gd name="T72" fmla="*/ 114 w 192"/>
                <a:gd name="T73" fmla="*/ 80 h 358"/>
                <a:gd name="T74" fmla="*/ 100 w 192"/>
                <a:gd name="T75" fmla="*/ 80 h 358"/>
                <a:gd name="T76" fmla="*/ 82 w 192"/>
                <a:gd name="T77" fmla="*/ 90 h 358"/>
                <a:gd name="T78" fmla="*/ 72 w 192"/>
                <a:gd name="T79" fmla="*/ 104 h 358"/>
                <a:gd name="T80" fmla="*/ 22 w 192"/>
                <a:gd name="T81" fmla="*/ 116 h 358"/>
                <a:gd name="T82" fmla="*/ 32 w 192"/>
                <a:gd name="T83" fmla="*/ 84 h 358"/>
                <a:gd name="T84" fmla="*/ 48 w 192"/>
                <a:gd name="T85" fmla="*/ 60 h 358"/>
                <a:gd name="T86" fmla="*/ 86 w 192"/>
                <a:gd name="T87" fmla="*/ 42 h 358"/>
                <a:gd name="T88" fmla="*/ 104 w 192"/>
                <a:gd name="T89" fmla="*/ 42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92" h="358">
                  <a:moveTo>
                    <a:pt x="110" y="0"/>
                  </a:moveTo>
                  <a:lnTo>
                    <a:pt x="140" y="6"/>
                  </a:lnTo>
                  <a:lnTo>
                    <a:pt x="134" y="46"/>
                  </a:lnTo>
                  <a:lnTo>
                    <a:pt x="134" y="46"/>
                  </a:lnTo>
                  <a:lnTo>
                    <a:pt x="148" y="52"/>
                  </a:lnTo>
                  <a:lnTo>
                    <a:pt x="160" y="58"/>
                  </a:lnTo>
                  <a:lnTo>
                    <a:pt x="172" y="68"/>
                  </a:lnTo>
                  <a:lnTo>
                    <a:pt x="180" y="78"/>
                  </a:lnTo>
                  <a:lnTo>
                    <a:pt x="180" y="78"/>
                  </a:lnTo>
                  <a:lnTo>
                    <a:pt x="186" y="90"/>
                  </a:lnTo>
                  <a:lnTo>
                    <a:pt x="190" y="104"/>
                  </a:lnTo>
                  <a:lnTo>
                    <a:pt x="192" y="118"/>
                  </a:lnTo>
                  <a:lnTo>
                    <a:pt x="190" y="132"/>
                  </a:lnTo>
                  <a:lnTo>
                    <a:pt x="190" y="132"/>
                  </a:lnTo>
                  <a:lnTo>
                    <a:pt x="188" y="142"/>
                  </a:lnTo>
                  <a:lnTo>
                    <a:pt x="184" y="152"/>
                  </a:lnTo>
                  <a:lnTo>
                    <a:pt x="178" y="162"/>
                  </a:lnTo>
                  <a:lnTo>
                    <a:pt x="172" y="170"/>
                  </a:lnTo>
                  <a:lnTo>
                    <a:pt x="166" y="178"/>
                  </a:lnTo>
                  <a:lnTo>
                    <a:pt x="156" y="184"/>
                  </a:lnTo>
                  <a:lnTo>
                    <a:pt x="146" y="188"/>
                  </a:lnTo>
                  <a:lnTo>
                    <a:pt x="136" y="194"/>
                  </a:lnTo>
                  <a:lnTo>
                    <a:pt x="136" y="194"/>
                  </a:lnTo>
                  <a:lnTo>
                    <a:pt x="118" y="198"/>
                  </a:lnTo>
                  <a:lnTo>
                    <a:pt x="96" y="202"/>
                  </a:lnTo>
                  <a:lnTo>
                    <a:pt x="96" y="202"/>
                  </a:lnTo>
                  <a:lnTo>
                    <a:pt x="76" y="208"/>
                  </a:lnTo>
                  <a:lnTo>
                    <a:pt x="66" y="212"/>
                  </a:lnTo>
                  <a:lnTo>
                    <a:pt x="60" y="216"/>
                  </a:lnTo>
                  <a:lnTo>
                    <a:pt x="60" y="216"/>
                  </a:lnTo>
                  <a:lnTo>
                    <a:pt x="54" y="220"/>
                  </a:lnTo>
                  <a:lnTo>
                    <a:pt x="50" y="226"/>
                  </a:lnTo>
                  <a:lnTo>
                    <a:pt x="48" y="232"/>
                  </a:lnTo>
                  <a:lnTo>
                    <a:pt x="46" y="240"/>
                  </a:lnTo>
                  <a:lnTo>
                    <a:pt x="46" y="240"/>
                  </a:lnTo>
                  <a:lnTo>
                    <a:pt x="46" y="248"/>
                  </a:lnTo>
                  <a:lnTo>
                    <a:pt x="46" y="256"/>
                  </a:lnTo>
                  <a:lnTo>
                    <a:pt x="48" y="262"/>
                  </a:lnTo>
                  <a:lnTo>
                    <a:pt x="52" y="268"/>
                  </a:lnTo>
                  <a:lnTo>
                    <a:pt x="52" y="268"/>
                  </a:lnTo>
                  <a:lnTo>
                    <a:pt x="58" y="274"/>
                  </a:lnTo>
                  <a:lnTo>
                    <a:pt x="64" y="278"/>
                  </a:lnTo>
                  <a:lnTo>
                    <a:pt x="72" y="282"/>
                  </a:lnTo>
                  <a:lnTo>
                    <a:pt x="82" y="284"/>
                  </a:lnTo>
                  <a:lnTo>
                    <a:pt x="82" y="284"/>
                  </a:lnTo>
                  <a:lnTo>
                    <a:pt x="92" y="286"/>
                  </a:lnTo>
                  <a:lnTo>
                    <a:pt x="92" y="286"/>
                  </a:lnTo>
                  <a:lnTo>
                    <a:pt x="106" y="284"/>
                  </a:lnTo>
                  <a:lnTo>
                    <a:pt x="118" y="276"/>
                  </a:lnTo>
                  <a:lnTo>
                    <a:pt x="118" y="276"/>
                  </a:lnTo>
                  <a:lnTo>
                    <a:pt x="124" y="270"/>
                  </a:lnTo>
                  <a:lnTo>
                    <a:pt x="130" y="264"/>
                  </a:lnTo>
                  <a:lnTo>
                    <a:pt x="134" y="254"/>
                  </a:lnTo>
                  <a:lnTo>
                    <a:pt x="136" y="242"/>
                  </a:lnTo>
                  <a:lnTo>
                    <a:pt x="180" y="250"/>
                  </a:lnTo>
                  <a:lnTo>
                    <a:pt x="180" y="250"/>
                  </a:lnTo>
                  <a:lnTo>
                    <a:pt x="176" y="268"/>
                  </a:lnTo>
                  <a:lnTo>
                    <a:pt x="170" y="282"/>
                  </a:lnTo>
                  <a:lnTo>
                    <a:pt x="162" y="296"/>
                  </a:lnTo>
                  <a:lnTo>
                    <a:pt x="152" y="306"/>
                  </a:lnTo>
                  <a:lnTo>
                    <a:pt x="152" y="306"/>
                  </a:lnTo>
                  <a:lnTo>
                    <a:pt x="140" y="314"/>
                  </a:lnTo>
                  <a:lnTo>
                    <a:pt x="128" y="318"/>
                  </a:lnTo>
                  <a:lnTo>
                    <a:pt x="114" y="322"/>
                  </a:lnTo>
                  <a:lnTo>
                    <a:pt x="98" y="324"/>
                  </a:lnTo>
                  <a:lnTo>
                    <a:pt x="98" y="324"/>
                  </a:lnTo>
                  <a:lnTo>
                    <a:pt x="90" y="322"/>
                  </a:lnTo>
                  <a:lnTo>
                    <a:pt x="84" y="358"/>
                  </a:lnTo>
                  <a:lnTo>
                    <a:pt x="56" y="354"/>
                  </a:lnTo>
                  <a:lnTo>
                    <a:pt x="62" y="318"/>
                  </a:lnTo>
                  <a:lnTo>
                    <a:pt x="62" y="318"/>
                  </a:lnTo>
                  <a:lnTo>
                    <a:pt x="46" y="312"/>
                  </a:lnTo>
                  <a:lnTo>
                    <a:pt x="32" y="306"/>
                  </a:lnTo>
                  <a:lnTo>
                    <a:pt x="20" y="296"/>
                  </a:lnTo>
                  <a:lnTo>
                    <a:pt x="12" y="286"/>
                  </a:lnTo>
                  <a:lnTo>
                    <a:pt x="12" y="286"/>
                  </a:lnTo>
                  <a:lnTo>
                    <a:pt x="4" y="274"/>
                  </a:lnTo>
                  <a:lnTo>
                    <a:pt x="0" y="260"/>
                  </a:lnTo>
                  <a:lnTo>
                    <a:pt x="0" y="246"/>
                  </a:lnTo>
                  <a:lnTo>
                    <a:pt x="0" y="232"/>
                  </a:lnTo>
                  <a:lnTo>
                    <a:pt x="0" y="232"/>
                  </a:lnTo>
                  <a:lnTo>
                    <a:pt x="4" y="216"/>
                  </a:lnTo>
                  <a:lnTo>
                    <a:pt x="10" y="204"/>
                  </a:lnTo>
                  <a:lnTo>
                    <a:pt x="10" y="204"/>
                  </a:lnTo>
                  <a:lnTo>
                    <a:pt x="18" y="192"/>
                  </a:lnTo>
                  <a:lnTo>
                    <a:pt x="28" y="184"/>
                  </a:lnTo>
                  <a:lnTo>
                    <a:pt x="28" y="184"/>
                  </a:lnTo>
                  <a:lnTo>
                    <a:pt x="40" y="176"/>
                  </a:lnTo>
                  <a:lnTo>
                    <a:pt x="54" y="170"/>
                  </a:lnTo>
                  <a:lnTo>
                    <a:pt x="54" y="170"/>
                  </a:lnTo>
                  <a:lnTo>
                    <a:pt x="72" y="166"/>
                  </a:lnTo>
                  <a:lnTo>
                    <a:pt x="94" y="162"/>
                  </a:lnTo>
                  <a:lnTo>
                    <a:pt x="94" y="162"/>
                  </a:lnTo>
                  <a:lnTo>
                    <a:pt x="116" y="156"/>
                  </a:lnTo>
                  <a:lnTo>
                    <a:pt x="130" y="148"/>
                  </a:lnTo>
                  <a:lnTo>
                    <a:pt x="130" y="148"/>
                  </a:lnTo>
                  <a:lnTo>
                    <a:pt x="136" y="144"/>
                  </a:lnTo>
                  <a:lnTo>
                    <a:pt x="140" y="138"/>
                  </a:lnTo>
                  <a:lnTo>
                    <a:pt x="144" y="132"/>
                  </a:lnTo>
                  <a:lnTo>
                    <a:pt x="146" y="124"/>
                  </a:lnTo>
                  <a:lnTo>
                    <a:pt x="146" y="124"/>
                  </a:lnTo>
                  <a:lnTo>
                    <a:pt x="146" y="116"/>
                  </a:lnTo>
                  <a:lnTo>
                    <a:pt x="146" y="108"/>
                  </a:lnTo>
                  <a:lnTo>
                    <a:pt x="144" y="100"/>
                  </a:lnTo>
                  <a:lnTo>
                    <a:pt x="140" y="94"/>
                  </a:lnTo>
                  <a:lnTo>
                    <a:pt x="140" y="94"/>
                  </a:lnTo>
                  <a:lnTo>
                    <a:pt x="134" y="90"/>
                  </a:lnTo>
                  <a:lnTo>
                    <a:pt x="130" y="86"/>
                  </a:lnTo>
                  <a:lnTo>
                    <a:pt x="122" y="82"/>
                  </a:lnTo>
                  <a:lnTo>
                    <a:pt x="114" y="80"/>
                  </a:lnTo>
                  <a:lnTo>
                    <a:pt x="114" y="80"/>
                  </a:lnTo>
                  <a:lnTo>
                    <a:pt x="106" y="80"/>
                  </a:lnTo>
                  <a:lnTo>
                    <a:pt x="106" y="80"/>
                  </a:lnTo>
                  <a:lnTo>
                    <a:pt x="100" y="80"/>
                  </a:lnTo>
                  <a:lnTo>
                    <a:pt x="94" y="82"/>
                  </a:lnTo>
                  <a:lnTo>
                    <a:pt x="88" y="86"/>
                  </a:lnTo>
                  <a:lnTo>
                    <a:pt x="82" y="90"/>
                  </a:lnTo>
                  <a:lnTo>
                    <a:pt x="82" y="90"/>
                  </a:lnTo>
                  <a:lnTo>
                    <a:pt x="78" y="96"/>
                  </a:lnTo>
                  <a:lnTo>
                    <a:pt x="72" y="104"/>
                  </a:lnTo>
                  <a:lnTo>
                    <a:pt x="68" y="114"/>
                  </a:lnTo>
                  <a:lnTo>
                    <a:pt x="66" y="124"/>
                  </a:lnTo>
                  <a:lnTo>
                    <a:pt x="22" y="116"/>
                  </a:lnTo>
                  <a:lnTo>
                    <a:pt x="22" y="116"/>
                  </a:lnTo>
                  <a:lnTo>
                    <a:pt x="26" y="100"/>
                  </a:lnTo>
                  <a:lnTo>
                    <a:pt x="32" y="84"/>
                  </a:lnTo>
                  <a:lnTo>
                    <a:pt x="40" y="72"/>
                  </a:lnTo>
                  <a:lnTo>
                    <a:pt x="48" y="60"/>
                  </a:lnTo>
                  <a:lnTo>
                    <a:pt x="48" y="60"/>
                  </a:lnTo>
                  <a:lnTo>
                    <a:pt x="60" y="52"/>
                  </a:lnTo>
                  <a:lnTo>
                    <a:pt x="72" y="46"/>
                  </a:lnTo>
                  <a:lnTo>
                    <a:pt x="86" y="42"/>
                  </a:lnTo>
                  <a:lnTo>
                    <a:pt x="100" y="42"/>
                  </a:lnTo>
                  <a:lnTo>
                    <a:pt x="100" y="42"/>
                  </a:lnTo>
                  <a:lnTo>
                    <a:pt x="104" y="42"/>
                  </a:lnTo>
                  <a:lnTo>
                    <a:pt x="1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99" name="Freeform 2384">
              <a:extLst>
                <a:ext uri="{FF2B5EF4-FFF2-40B4-BE49-F238E27FC236}">
                  <a16:creationId xmlns:a16="http://schemas.microsoft.com/office/drawing/2014/main" id="{91444FB9-4152-4D04-9A5B-686C4A061BFF}"/>
                </a:ext>
              </a:extLst>
            </p:cNvPr>
            <p:cNvSpPr>
              <a:spLocks/>
            </p:cNvSpPr>
            <p:nvPr/>
          </p:nvSpPr>
          <p:spPr bwMode="auto">
            <a:xfrm>
              <a:off x="9672094" y="3640381"/>
              <a:ext cx="400217" cy="707527"/>
            </a:xfrm>
            <a:custGeom>
              <a:avLst/>
              <a:gdLst>
                <a:gd name="T0" fmla="*/ 106 w 224"/>
                <a:gd name="T1" fmla="*/ 44 h 396"/>
                <a:gd name="T2" fmla="*/ 78 w 224"/>
                <a:gd name="T3" fmla="*/ 52 h 396"/>
                <a:gd name="T4" fmla="*/ 54 w 224"/>
                <a:gd name="T5" fmla="*/ 66 h 396"/>
                <a:gd name="T6" fmla="*/ 26 w 224"/>
                <a:gd name="T7" fmla="*/ 112 h 396"/>
                <a:gd name="T8" fmla="*/ 34 w 224"/>
                <a:gd name="T9" fmla="*/ 150 h 396"/>
                <a:gd name="T10" fmla="*/ 98 w 224"/>
                <a:gd name="T11" fmla="*/ 144 h 396"/>
                <a:gd name="T12" fmla="*/ 106 w 224"/>
                <a:gd name="T13" fmla="*/ 124 h 396"/>
                <a:gd name="T14" fmla="*/ 116 w 224"/>
                <a:gd name="T15" fmla="*/ 116 h 396"/>
                <a:gd name="T16" fmla="*/ 126 w 224"/>
                <a:gd name="T17" fmla="*/ 114 h 396"/>
                <a:gd name="T18" fmla="*/ 142 w 224"/>
                <a:gd name="T19" fmla="*/ 122 h 396"/>
                <a:gd name="T20" fmla="*/ 146 w 224"/>
                <a:gd name="T21" fmla="*/ 132 h 396"/>
                <a:gd name="T22" fmla="*/ 142 w 224"/>
                <a:gd name="T23" fmla="*/ 148 h 396"/>
                <a:gd name="T24" fmla="*/ 128 w 224"/>
                <a:gd name="T25" fmla="*/ 158 h 396"/>
                <a:gd name="T26" fmla="*/ 84 w 224"/>
                <a:gd name="T27" fmla="*/ 168 h 396"/>
                <a:gd name="T28" fmla="*/ 50 w 224"/>
                <a:gd name="T29" fmla="*/ 180 h 396"/>
                <a:gd name="T30" fmla="*/ 22 w 224"/>
                <a:gd name="T31" fmla="*/ 200 h 396"/>
                <a:gd name="T32" fmla="*/ 6 w 224"/>
                <a:gd name="T33" fmla="*/ 228 h 396"/>
                <a:gd name="T34" fmla="*/ 0 w 224"/>
                <a:gd name="T35" fmla="*/ 266 h 396"/>
                <a:gd name="T36" fmla="*/ 14 w 224"/>
                <a:gd name="T37" fmla="*/ 314 h 396"/>
                <a:gd name="T38" fmla="*/ 34 w 224"/>
                <a:gd name="T39" fmla="*/ 332 h 396"/>
                <a:gd name="T40" fmla="*/ 56 w 224"/>
                <a:gd name="T41" fmla="*/ 370 h 396"/>
                <a:gd name="T42" fmla="*/ 98 w 224"/>
                <a:gd name="T43" fmla="*/ 392 h 396"/>
                <a:gd name="T44" fmla="*/ 120 w 224"/>
                <a:gd name="T45" fmla="*/ 356 h 396"/>
                <a:gd name="T46" fmla="*/ 152 w 224"/>
                <a:gd name="T47" fmla="*/ 350 h 396"/>
                <a:gd name="T48" fmla="*/ 178 w 224"/>
                <a:gd name="T49" fmla="*/ 336 h 396"/>
                <a:gd name="T50" fmla="*/ 208 w 224"/>
                <a:gd name="T51" fmla="*/ 292 h 396"/>
                <a:gd name="T52" fmla="*/ 200 w 224"/>
                <a:gd name="T53" fmla="*/ 252 h 396"/>
                <a:gd name="T54" fmla="*/ 136 w 224"/>
                <a:gd name="T55" fmla="*/ 258 h 396"/>
                <a:gd name="T56" fmla="*/ 128 w 224"/>
                <a:gd name="T57" fmla="*/ 278 h 396"/>
                <a:gd name="T58" fmla="*/ 118 w 224"/>
                <a:gd name="T59" fmla="*/ 286 h 396"/>
                <a:gd name="T60" fmla="*/ 102 w 224"/>
                <a:gd name="T61" fmla="*/ 286 h 396"/>
                <a:gd name="T62" fmla="*/ 80 w 224"/>
                <a:gd name="T63" fmla="*/ 276 h 396"/>
                <a:gd name="T64" fmla="*/ 78 w 224"/>
                <a:gd name="T65" fmla="*/ 266 h 396"/>
                <a:gd name="T66" fmla="*/ 80 w 224"/>
                <a:gd name="T67" fmla="*/ 252 h 396"/>
                <a:gd name="T68" fmla="*/ 96 w 224"/>
                <a:gd name="T69" fmla="*/ 242 h 396"/>
                <a:gd name="T70" fmla="*/ 138 w 224"/>
                <a:gd name="T71" fmla="*/ 232 h 396"/>
                <a:gd name="T72" fmla="*/ 170 w 224"/>
                <a:gd name="T73" fmla="*/ 222 h 396"/>
                <a:gd name="T74" fmla="*/ 200 w 224"/>
                <a:gd name="T75" fmla="*/ 198 h 396"/>
                <a:gd name="T76" fmla="*/ 218 w 224"/>
                <a:gd name="T77" fmla="*/ 166 h 396"/>
                <a:gd name="T78" fmla="*/ 224 w 224"/>
                <a:gd name="T79" fmla="*/ 134 h 396"/>
                <a:gd name="T80" fmla="*/ 210 w 224"/>
                <a:gd name="T81" fmla="*/ 88 h 396"/>
                <a:gd name="T82" fmla="*/ 192 w 224"/>
                <a:gd name="T83" fmla="*/ 68 h 396"/>
                <a:gd name="T84" fmla="*/ 172 w 224"/>
                <a:gd name="T85" fmla="*/ 26 h 396"/>
                <a:gd name="T86" fmla="*/ 128 w 224"/>
                <a:gd name="T87" fmla="*/ 4 h 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24" h="396">
                  <a:moveTo>
                    <a:pt x="114" y="0"/>
                  </a:moveTo>
                  <a:lnTo>
                    <a:pt x="110" y="16"/>
                  </a:lnTo>
                  <a:lnTo>
                    <a:pt x="106" y="44"/>
                  </a:lnTo>
                  <a:lnTo>
                    <a:pt x="106" y="44"/>
                  </a:lnTo>
                  <a:lnTo>
                    <a:pt x="92" y="46"/>
                  </a:lnTo>
                  <a:lnTo>
                    <a:pt x="78" y="52"/>
                  </a:lnTo>
                  <a:lnTo>
                    <a:pt x="66" y="58"/>
                  </a:lnTo>
                  <a:lnTo>
                    <a:pt x="54" y="66"/>
                  </a:lnTo>
                  <a:lnTo>
                    <a:pt x="54" y="66"/>
                  </a:lnTo>
                  <a:lnTo>
                    <a:pt x="42" y="80"/>
                  </a:lnTo>
                  <a:lnTo>
                    <a:pt x="34" y="94"/>
                  </a:lnTo>
                  <a:lnTo>
                    <a:pt x="26" y="112"/>
                  </a:lnTo>
                  <a:lnTo>
                    <a:pt x="22" y="132"/>
                  </a:lnTo>
                  <a:lnTo>
                    <a:pt x="20" y="148"/>
                  </a:lnTo>
                  <a:lnTo>
                    <a:pt x="34" y="150"/>
                  </a:lnTo>
                  <a:lnTo>
                    <a:pt x="80" y="158"/>
                  </a:lnTo>
                  <a:lnTo>
                    <a:pt x="96" y="160"/>
                  </a:lnTo>
                  <a:lnTo>
                    <a:pt x="98" y="144"/>
                  </a:lnTo>
                  <a:lnTo>
                    <a:pt x="98" y="144"/>
                  </a:lnTo>
                  <a:lnTo>
                    <a:pt x="102" y="130"/>
                  </a:lnTo>
                  <a:lnTo>
                    <a:pt x="106" y="124"/>
                  </a:lnTo>
                  <a:lnTo>
                    <a:pt x="110" y="118"/>
                  </a:lnTo>
                  <a:lnTo>
                    <a:pt x="110" y="118"/>
                  </a:lnTo>
                  <a:lnTo>
                    <a:pt x="116" y="116"/>
                  </a:lnTo>
                  <a:lnTo>
                    <a:pt x="122" y="114"/>
                  </a:lnTo>
                  <a:lnTo>
                    <a:pt x="122" y="114"/>
                  </a:lnTo>
                  <a:lnTo>
                    <a:pt x="126" y="114"/>
                  </a:lnTo>
                  <a:lnTo>
                    <a:pt x="126" y="114"/>
                  </a:lnTo>
                  <a:lnTo>
                    <a:pt x="136" y="118"/>
                  </a:lnTo>
                  <a:lnTo>
                    <a:pt x="142" y="122"/>
                  </a:lnTo>
                  <a:lnTo>
                    <a:pt x="142" y="122"/>
                  </a:lnTo>
                  <a:lnTo>
                    <a:pt x="146" y="128"/>
                  </a:lnTo>
                  <a:lnTo>
                    <a:pt x="146" y="132"/>
                  </a:lnTo>
                  <a:lnTo>
                    <a:pt x="146" y="140"/>
                  </a:lnTo>
                  <a:lnTo>
                    <a:pt x="146" y="140"/>
                  </a:lnTo>
                  <a:lnTo>
                    <a:pt x="142" y="148"/>
                  </a:lnTo>
                  <a:lnTo>
                    <a:pt x="138" y="154"/>
                  </a:lnTo>
                  <a:lnTo>
                    <a:pt x="138" y="154"/>
                  </a:lnTo>
                  <a:lnTo>
                    <a:pt x="128" y="158"/>
                  </a:lnTo>
                  <a:lnTo>
                    <a:pt x="108" y="164"/>
                  </a:lnTo>
                  <a:lnTo>
                    <a:pt x="108" y="164"/>
                  </a:lnTo>
                  <a:lnTo>
                    <a:pt x="84" y="168"/>
                  </a:lnTo>
                  <a:lnTo>
                    <a:pt x="66" y="174"/>
                  </a:lnTo>
                  <a:lnTo>
                    <a:pt x="66" y="174"/>
                  </a:lnTo>
                  <a:lnTo>
                    <a:pt x="50" y="180"/>
                  </a:lnTo>
                  <a:lnTo>
                    <a:pt x="36" y="190"/>
                  </a:lnTo>
                  <a:lnTo>
                    <a:pt x="36" y="190"/>
                  </a:lnTo>
                  <a:lnTo>
                    <a:pt x="22" y="200"/>
                  </a:lnTo>
                  <a:lnTo>
                    <a:pt x="14" y="214"/>
                  </a:lnTo>
                  <a:lnTo>
                    <a:pt x="14" y="214"/>
                  </a:lnTo>
                  <a:lnTo>
                    <a:pt x="6" y="228"/>
                  </a:lnTo>
                  <a:lnTo>
                    <a:pt x="2" y="248"/>
                  </a:lnTo>
                  <a:lnTo>
                    <a:pt x="2" y="248"/>
                  </a:lnTo>
                  <a:lnTo>
                    <a:pt x="0" y="266"/>
                  </a:lnTo>
                  <a:lnTo>
                    <a:pt x="2" y="282"/>
                  </a:lnTo>
                  <a:lnTo>
                    <a:pt x="6" y="298"/>
                  </a:lnTo>
                  <a:lnTo>
                    <a:pt x="14" y="314"/>
                  </a:lnTo>
                  <a:lnTo>
                    <a:pt x="14" y="314"/>
                  </a:lnTo>
                  <a:lnTo>
                    <a:pt x="24" y="324"/>
                  </a:lnTo>
                  <a:lnTo>
                    <a:pt x="34" y="332"/>
                  </a:lnTo>
                  <a:lnTo>
                    <a:pt x="46" y="340"/>
                  </a:lnTo>
                  <a:lnTo>
                    <a:pt x="60" y="346"/>
                  </a:lnTo>
                  <a:lnTo>
                    <a:pt x="56" y="370"/>
                  </a:lnTo>
                  <a:lnTo>
                    <a:pt x="52" y="384"/>
                  </a:lnTo>
                  <a:lnTo>
                    <a:pt x="68" y="388"/>
                  </a:lnTo>
                  <a:lnTo>
                    <a:pt x="98" y="392"/>
                  </a:lnTo>
                  <a:lnTo>
                    <a:pt x="114" y="396"/>
                  </a:lnTo>
                  <a:lnTo>
                    <a:pt x="116" y="380"/>
                  </a:lnTo>
                  <a:lnTo>
                    <a:pt x="120" y="356"/>
                  </a:lnTo>
                  <a:lnTo>
                    <a:pt x="120" y="356"/>
                  </a:lnTo>
                  <a:lnTo>
                    <a:pt x="136" y="356"/>
                  </a:lnTo>
                  <a:lnTo>
                    <a:pt x="152" y="350"/>
                  </a:lnTo>
                  <a:lnTo>
                    <a:pt x="166" y="344"/>
                  </a:lnTo>
                  <a:lnTo>
                    <a:pt x="178" y="336"/>
                  </a:lnTo>
                  <a:lnTo>
                    <a:pt x="178" y="336"/>
                  </a:lnTo>
                  <a:lnTo>
                    <a:pt x="190" y="324"/>
                  </a:lnTo>
                  <a:lnTo>
                    <a:pt x="200" y="308"/>
                  </a:lnTo>
                  <a:lnTo>
                    <a:pt x="208" y="292"/>
                  </a:lnTo>
                  <a:lnTo>
                    <a:pt x="212" y="272"/>
                  </a:lnTo>
                  <a:lnTo>
                    <a:pt x="216" y="256"/>
                  </a:lnTo>
                  <a:lnTo>
                    <a:pt x="200" y="252"/>
                  </a:lnTo>
                  <a:lnTo>
                    <a:pt x="154" y="246"/>
                  </a:lnTo>
                  <a:lnTo>
                    <a:pt x="138" y="242"/>
                  </a:lnTo>
                  <a:lnTo>
                    <a:pt x="136" y="258"/>
                  </a:lnTo>
                  <a:lnTo>
                    <a:pt x="136" y="258"/>
                  </a:lnTo>
                  <a:lnTo>
                    <a:pt x="132" y="272"/>
                  </a:lnTo>
                  <a:lnTo>
                    <a:pt x="128" y="278"/>
                  </a:lnTo>
                  <a:lnTo>
                    <a:pt x="124" y="282"/>
                  </a:lnTo>
                  <a:lnTo>
                    <a:pt x="124" y="282"/>
                  </a:lnTo>
                  <a:lnTo>
                    <a:pt x="118" y="286"/>
                  </a:lnTo>
                  <a:lnTo>
                    <a:pt x="108" y="288"/>
                  </a:lnTo>
                  <a:lnTo>
                    <a:pt x="108" y="288"/>
                  </a:lnTo>
                  <a:lnTo>
                    <a:pt x="102" y="286"/>
                  </a:lnTo>
                  <a:lnTo>
                    <a:pt x="102" y="286"/>
                  </a:lnTo>
                  <a:lnTo>
                    <a:pt x="88" y="282"/>
                  </a:lnTo>
                  <a:lnTo>
                    <a:pt x="80" y="276"/>
                  </a:lnTo>
                  <a:lnTo>
                    <a:pt x="80" y="276"/>
                  </a:lnTo>
                  <a:lnTo>
                    <a:pt x="78" y="270"/>
                  </a:lnTo>
                  <a:lnTo>
                    <a:pt x="78" y="266"/>
                  </a:lnTo>
                  <a:lnTo>
                    <a:pt x="78" y="260"/>
                  </a:lnTo>
                  <a:lnTo>
                    <a:pt x="78" y="260"/>
                  </a:lnTo>
                  <a:lnTo>
                    <a:pt x="80" y="252"/>
                  </a:lnTo>
                  <a:lnTo>
                    <a:pt x="86" y="246"/>
                  </a:lnTo>
                  <a:lnTo>
                    <a:pt x="86" y="246"/>
                  </a:lnTo>
                  <a:lnTo>
                    <a:pt x="96" y="242"/>
                  </a:lnTo>
                  <a:lnTo>
                    <a:pt x="116" y="236"/>
                  </a:lnTo>
                  <a:lnTo>
                    <a:pt x="116" y="236"/>
                  </a:lnTo>
                  <a:lnTo>
                    <a:pt x="138" y="232"/>
                  </a:lnTo>
                  <a:lnTo>
                    <a:pt x="156" y="226"/>
                  </a:lnTo>
                  <a:lnTo>
                    <a:pt x="156" y="226"/>
                  </a:lnTo>
                  <a:lnTo>
                    <a:pt x="170" y="222"/>
                  </a:lnTo>
                  <a:lnTo>
                    <a:pt x="182" y="214"/>
                  </a:lnTo>
                  <a:lnTo>
                    <a:pt x="192" y="208"/>
                  </a:lnTo>
                  <a:lnTo>
                    <a:pt x="200" y="198"/>
                  </a:lnTo>
                  <a:lnTo>
                    <a:pt x="208" y="188"/>
                  </a:lnTo>
                  <a:lnTo>
                    <a:pt x="214" y="178"/>
                  </a:lnTo>
                  <a:lnTo>
                    <a:pt x="218" y="166"/>
                  </a:lnTo>
                  <a:lnTo>
                    <a:pt x="222" y="152"/>
                  </a:lnTo>
                  <a:lnTo>
                    <a:pt x="222" y="152"/>
                  </a:lnTo>
                  <a:lnTo>
                    <a:pt x="224" y="134"/>
                  </a:lnTo>
                  <a:lnTo>
                    <a:pt x="222" y="118"/>
                  </a:lnTo>
                  <a:lnTo>
                    <a:pt x="218" y="102"/>
                  </a:lnTo>
                  <a:lnTo>
                    <a:pt x="210" y="88"/>
                  </a:lnTo>
                  <a:lnTo>
                    <a:pt x="210" y="88"/>
                  </a:lnTo>
                  <a:lnTo>
                    <a:pt x="200" y="76"/>
                  </a:lnTo>
                  <a:lnTo>
                    <a:pt x="192" y="68"/>
                  </a:lnTo>
                  <a:lnTo>
                    <a:pt x="180" y="60"/>
                  </a:lnTo>
                  <a:lnTo>
                    <a:pt x="168" y="54"/>
                  </a:lnTo>
                  <a:lnTo>
                    <a:pt x="172" y="26"/>
                  </a:lnTo>
                  <a:lnTo>
                    <a:pt x="174" y="10"/>
                  </a:lnTo>
                  <a:lnTo>
                    <a:pt x="158" y="8"/>
                  </a:lnTo>
                  <a:lnTo>
                    <a:pt x="128" y="4"/>
                  </a:lnTo>
                  <a:lnTo>
                    <a:pt x="1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00" name="Freeform 2385">
              <a:extLst>
                <a:ext uri="{FF2B5EF4-FFF2-40B4-BE49-F238E27FC236}">
                  <a16:creationId xmlns:a16="http://schemas.microsoft.com/office/drawing/2014/main" id="{58462325-B317-4946-96C1-D5AF41C6211C}"/>
                </a:ext>
              </a:extLst>
            </p:cNvPr>
            <p:cNvSpPr>
              <a:spLocks/>
            </p:cNvSpPr>
            <p:nvPr/>
          </p:nvSpPr>
          <p:spPr bwMode="auto">
            <a:xfrm>
              <a:off x="9271877" y="3858356"/>
              <a:ext cx="303736" cy="557445"/>
            </a:xfrm>
            <a:custGeom>
              <a:avLst/>
              <a:gdLst>
                <a:gd name="T0" fmla="*/ 164 w 170"/>
                <a:gd name="T1" fmla="*/ 132 h 312"/>
                <a:gd name="T2" fmla="*/ 164 w 170"/>
                <a:gd name="T3" fmla="*/ 132 h 312"/>
                <a:gd name="T4" fmla="*/ 168 w 170"/>
                <a:gd name="T5" fmla="*/ 148 h 312"/>
                <a:gd name="T6" fmla="*/ 170 w 170"/>
                <a:gd name="T7" fmla="*/ 166 h 312"/>
                <a:gd name="T8" fmla="*/ 170 w 170"/>
                <a:gd name="T9" fmla="*/ 182 h 312"/>
                <a:gd name="T10" fmla="*/ 170 w 170"/>
                <a:gd name="T11" fmla="*/ 196 h 312"/>
                <a:gd name="T12" fmla="*/ 164 w 170"/>
                <a:gd name="T13" fmla="*/ 226 h 312"/>
                <a:gd name="T14" fmla="*/ 156 w 170"/>
                <a:gd name="T15" fmla="*/ 254 h 312"/>
                <a:gd name="T16" fmla="*/ 148 w 170"/>
                <a:gd name="T17" fmla="*/ 278 h 312"/>
                <a:gd name="T18" fmla="*/ 140 w 170"/>
                <a:gd name="T19" fmla="*/ 296 h 312"/>
                <a:gd name="T20" fmla="*/ 130 w 170"/>
                <a:gd name="T21" fmla="*/ 312 h 312"/>
                <a:gd name="T22" fmla="*/ 130 w 170"/>
                <a:gd name="T23" fmla="*/ 312 h 312"/>
                <a:gd name="T24" fmla="*/ 114 w 170"/>
                <a:gd name="T25" fmla="*/ 302 h 312"/>
                <a:gd name="T26" fmla="*/ 98 w 170"/>
                <a:gd name="T27" fmla="*/ 292 h 312"/>
                <a:gd name="T28" fmla="*/ 78 w 170"/>
                <a:gd name="T29" fmla="*/ 276 h 312"/>
                <a:gd name="T30" fmla="*/ 56 w 170"/>
                <a:gd name="T31" fmla="*/ 258 h 312"/>
                <a:gd name="T32" fmla="*/ 36 w 170"/>
                <a:gd name="T33" fmla="*/ 236 h 312"/>
                <a:gd name="T34" fmla="*/ 28 w 170"/>
                <a:gd name="T35" fmla="*/ 222 h 312"/>
                <a:gd name="T36" fmla="*/ 20 w 170"/>
                <a:gd name="T37" fmla="*/ 208 h 312"/>
                <a:gd name="T38" fmla="*/ 12 w 170"/>
                <a:gd name="T39" fmla="*/ 194 h 312"/>
                <a:gd name="T40" fmla="*/ 6 w 170"/>
                <a:gd name="T41" fmla="*/ 178 h 312"/>
                <a:gd name="T42" fmla="*/ 6 w 170"/>
                <a:gd name="T43" fmla="*/ 178 h 312"/>
                <a:gd name="T44" fmla="*/ 4 w 170"/>
                <a:gd name="T45" fmla="*/ 162 h 312"/>
                <a:gd name="T46" fmla="*/ 2 w 170"/>
                <a:gd name="T47" fmla="*/ 146 h 312"/>
                <a:gd name="T48" fmla="*/ 0 w 170"/>
                <a:gd name="T49" fmla="*/ 130 h 312"/>
                <a:gd name="T50" fmla="*/ 2 w 170"/>
                <a:gd name="T51" fmla="*/ 114 h 312"/>
                <a:gd name="T52" fmla="*/ 6 w 170"/>
                <a:gd name="T53" fmla="*/ 84 h 312"/>
                <a:gd name="T54" fmla="*/ 14 w 170"/>
                <a:gd name="T55" fmla="*/ 56 h 312"/>
                <a:gd name="T56" fmla="*/ 24 w 170"/>
                <a:gd name="T57" fmla="*/ 34 h 312"/>
                <a:gd name="T58" fmla="*/ 32 w 170"/>
                <a:gd name="T59" fmla="*/ 16 h 312"/>
                <a:gd name="T60" fmla="*/ 42 w 170"/>
                <a:gd name="T61" fmla="*/ 0 h 312"/>
                <a:gd name="T62" fmla="*/ 42 w 170"/>
                <a:gd name="T63" fmla="*/ 0 h 312"/>
                <a:gd name="T64" fmla="*/ 56 w 170"/>
                <a:gd name="T65" fmla="*/ 8 h 312"/>
                <a:gd name="T66" fmla="*/ 74 w 170"/>
                <a:gd name="T67" fmla="*/ 18 h 312"/>
                <a:gd name="T68" fmla="*/ 94 w 170"/>
                <a:gd name="T69" fmla="*/ 34 h 312"/>
                <a:gd name="T70" fmla="*/ 114 w 170"/>
                <a:gd name="T71" fmla="*/ 52 h 312"/>
                <a:gd name="T72" fmla="*/ 134 w 170"/>
                <a:gd name="T73" fmla="*/ 76 h 312"/>
                <a:gd name="T74" fmla="*/ 144 w 170"/>
                <a:gd name="T75" fmla="*/ 88 h 312"/>
                <a:gd name="T76" fmla="*/ 152 w 170"/>
                <a:gd name="T77" fmla="*/ 102 h 312"/>
                <a:gd name="T78" fmla="*/ 160 w 170"/>
                <a:gd name="T79" fmla="*/ 116 h 312"/>
                <a:gd name="T80" fmla="*/ 164 w 170"/>
                <a:gd name="T81" fmla="*/ 132 h 312"/>
                <a:gd name="T82" fmla="*/ 164 w 170"/>
                <a:gd name="T83" fmla="*/ 132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70" h="312">
                  <a:moveTo>
                    <a:pt x="164" y="132"/>
                  </a:moveTo>
                  <a:lnTo>
                    <a:pt x="164" y="132"/>
                  </a:lnTo>
                  <a:lnTo>
                    <a:pt x="168" y="148"/>
                  </a:lnTo>
                  <a:lnTo>
                    <a:pt x="170" y="166"/>
                  </a:lnTo>
                  <a:lnTo>
                    <a:pt x="170" y="182"/>
                  </a:lnTo>
                  <a:lnTo>
                    <a:pt x="170" y="196"/>
                  </a:lnTo>
                  <a:lnTo>
                    <a:pt x="164" y="226"/>
                  </a:lnTo>
                  <a:lnTo>
                    <a:pt x="156" y="254"/>
                  </a:lnTo>
                  <a:lnTo>
                    <a:pt x="148" y="278"/>
                  </a:lnTo>
                  <a:lnTo>
                    <a:pt x="140" y="296"/>
                  </a:lnTo>
                  <a:lnTo>
                    <a:pt x="130" y="312"/>
                  </a:lnTo>
                  <a:lnTo>
                    <a:pt x="130" y="312"/>
                  </a:lnTo>
                  <a:lnTo>
                    <a:pt x="114" y="302"/>
                  </a:lnTo>
                  <a:lnTo>
                    <a:pt x="98" y="292"/>
                  </a:lnTo>
                  <a:lnTo>
                    <a:pt x="78" y="276"/>
                  </a:lnTo>
                  <a:lnTo>
                    <a:pt x="56" y="258"/>
                  </a:lnTo>
                  <a:lnTo>
                    <a:pt x="36" y="236"/>
                  </a:lnTo>
                  <a:lnTo>
                    <a:pt x="28" y="222"/>
                  </a:lnTo>
                  <a:lnTo>
                    <a:pt x="20" y="208"/>
                  </a:lnTo>
                  <a:lnTo>
                    <a:pt x="12" y="194"/>
                  </a:lnTo>
                  <a:lnTo>
                    <a:pt x="6" y="178"/>
                  </a:lnTo>
                  <a:lnTo>
                    <a:pt x="6" y="178"/>
                  </a:lnTo>
                  <a:lnTo>
                    <a:pt x="4" y="162"/>
                  </a:lnTo>
                  <a:lnTo>
                    <a:pt x="2" y="146"/>
                  </a:lnTo>
                  <a:lnTo>
                    <a:pt x="0" y="130"/>
                  </a:lnTo>
                  <a:lnTo>
                    <a:pt x="2" y="114"/>
                  </a:lnTo>
                  <a:lnTo>
                    <a:pt x="6" y="84"/>
                  </a:lnTo>
                  <a:lnTo>
                    <a:pt x="14" y="56"/>
                  </a:lnTo>
                  <a:lnTo>
                    <a:pt x="24" y="34"/>
                  </a:lnTo>
                  <a:lnTo>
                    <a:pt x="32" y="16"/>
                  </a:lnTo>
                  <a:lnTo>
                    <a:pt x="42" y="0"/>
                  </a:lnTo>
                  <a:lnTo>
                    <a:pt x="42" y="0"/>
                  </a:lnTo>
                  <a:lnTo>
                    <a:pt x="56" y="8"/>
                  </a:lnTo>
                  <a:lnTo>
                    <a:pt x="74" y="18"/>
                  </a:lnTo>
                  <a:lnTo>
                    <a:pt x="94" y="34"/>
                  </a:lnTo>
                  <a:lnTo>
                    <a:pt x="114" y="52"/>
                  </a:lnTo>
                  <a:lnTo>
                    <a:pt x="134" y="76"/>
                  </a:lnTo>
                  <a:lnTo>
                    <a:pt x="144" y="88"/>
                  </a:lnTo>
                  <a:lnTo>
                    <a:pt x="152" y="102"/>
                  </a:lnTo>
                  <a:lnTo>
                    <a:pt x="160" y="116"/>
                  </a:lnTo>
                  <a:lnTo>
                    <a:pt x="164" y="132"/>
                  </a:lnTo>
                  <a:lnTo>
                    <a:pt x="164" y="132"/>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01" name="Freeform 2387">
              <a:extLst>
                <a:ext uri="{FF2B5EF4-FFF2-40B4-BE49-F238E27FC236}">
                  <a16:creationId xmlns:a16="http://schemas.microsoft.com/office/drawing/2014/main" id="{66C35896-7D3C-419E-8D83-1538935A5294}"/>
                </a:ext>
              </a:extLst>
            </p:cNvPr>
            <p:cNvSpPr>
              <a:spLocks/>
            </p:cNvSpPr>
            <p:nvPr/>
          </p:nvSpPr>
          <p:spPr bwMode="auto">
            <a:xfrm>
              <a:off x="10365327" y="3615367"/>
              <a:ext cx="510992" cy="714674"/>
            </a:xfrm>
            <a:custGeom>
              <a:avLst/>
              <a:gdLst>
                <a:gd name="T0" fmla="*/ 40 w 286"/>
                <a:gd name="T1" fmla="*/ 336 h 400"/>
                <a:gd name="T2" fmla="*/ 8 w 286"/>
                <a:gd name="T3" fmla="*/ 298 h 400"/>
                <a:gd name="T4" fmla="*/ 0 w 286"/>
                <a:gd name="T5" fmla="*/ 266 h 400"/>
                <a:gd name="T6" fmla="*/ 14 w 286"/>
                <a:gd name="T7" fmla="*/ 214 h 400"/>
                <a:gd name="T8" fmla="*/ 38 w 286"/>
                <a:gd name="T9" fmla="*/ 184 h 400"/>
                <a:gd name="T10" fmla="*/ 68 w 286"/>
                <a:gd name="T11" fmla="*/ 170 h 400"/>
                <a:gd name="T12" fmla="*/ 100 w 286"/>
                <a:gd name="T13" fmla="*/ 166 h 400"/>
                <a:gd name="T14" fmla="*/ 124 w 286"/>
                <a:gd name="T15" fmla="*/ 166 h 400"/>
                <a:gd name="T16" fmla="*/ 178 w 286"/>
                <a:gd name="T17" fmla="*/ 174 h 400"/>
                <a:gd name="T18" fmla="*/ 192 w 286"/>
                <a:gd name="T19" fmla="*/ 172 h 400"/>
                <a:gd name="T20" fmla="*/ 208 w 286"/>
                <a:gd name="T21" fmla="*/ 160 h 400"/>
                <a:gd name="T22" fmla="*/ 216 w 286"/>
                <a:gd name="T23" fmla="*/ 148 h 400"/>
                <a:gd name="T24" fmla="*/ 218 w 286"/>
                <a:gd name="T25" fmla="*/ 128 h 400"/>
                <a:gd name="T26" fmla="*/ 210 w 286"/>
                <a:gd name="T27" fmla="*/ 116 h 400"/>
                <a:gd name="T28" fmla="*/ 198 w 286"/>
                <a:gd name="T29" fmla="*/ 106 h 400"/>
                <a:gd name="T30" fmla="*/ 182 w 286"/>
                <a:gd name="T31" fmla="*/ 100 h 400"/>
                <a:gd name="T32" fmla="*/ 170 w 286"/>
                <a:gd name="T33" fmla="*/ 104 h 400"/>
                <a:gd name="T34" fmla="*/ 148 w 286"/>
                <a:gd name="T35" fmla="*/ 122 h 400"/>
                <a:gd name="T36" fmla="*/ 78 w 286"/>
                <a:gd name="T37" fmla="*/ 104 h 400"/>
                <a:gd name="T38" fmla="*/ 94 w 286"/>
                <a:gd name="T39" fmla="*/ 80 h 400"/>
                <a:gd name="T40" fmla="*/ 138 w 286"/>
                <a:gd name="T41" fmla="*/ 44 h 400"/>
                <a:gd name="T42" fmla="*/ 172 w 286"/>
                <a:gd name="T43" fmla="*/ 38 h 400"/>
                <a:gd name="T44" fmla="*/ 204 w 286"/>
                <a:gd name="T45" fmla="*/ 44 h 400"/>
                <a:gd name="T46" fmla="*/ 248 w 286"/>
                <a:gd name="T47" fmla="*/ 68 h 400"/>
                <a:gd name="T48" fmla="*/ 270 w 286"/>
                <a:gd name="T49" fmla="*/ 92 h 400"/>
                <a:gd name="T50" fmla="*/ 282 w 286"/>
                <a:gd name="T51" fmla="*/ 122 h 400"/>
                <a:gd name="T52" fmla="*/ 280 w 286"/>
                <a:gd name="T53" fmla="*/ 172 h 400"/>
                <a:gd name="T54" fmla="*/ 264 w 286"/>
                <a:gd name="T55" fmla="*/ 200 h 400"/>
                <a:gd name="T56" fmla="*/ 236 w 286"/>
                <a:gd name="T57" fmla="*/ 226 h 400"/>
                <a:gd name="T58" fmla="*/ 200 w 286"/>
                <a:gd name="T59" fmla="*/ 236 h 400"/>
                <a:gd name="T60" fmla="*/ 182 w 286"/>
                <a:gd name="T61" fmla="*/ 238 h 400"/>
                <a:gd name="T62" fmla="*/ 134 w 286"/>
                <a:gd name="T63" fmla="*/ 232 h 400"/>
                <a:gd name="T64" fmla="*/ 108 w 286"/>
                <a:gd name="T65" fmla="*/ 230 h 400"/>
                <a:gd name="T66" fmla="*/ 88 w 286"/>
                <a:gd name="T67" fmla="*/ 234 h 400"/>
                <a:gd name="T68" fmla="*/ 72 w 286"/>
                <a:gd name="T69" fmla="*/ 248 h 400"/>
                <a:gd name="T70" fmla="*/ 68 w 286"/>
                <a:gd name="T71" fmla="*/ 262 h 400"/>
                <a:gd name="T72" fmla="*/ 68 w 286"/>
                <a:gd name="T73" fmla="*/ 276 h 400"/>
                <a:gd name="T74" fmla="*/ 84 w 286"/>
                <a:gd name="T75" fmla="*/ 294 h 400"/>
                <a:gd name="T76" fmla="*/ 104 w 286"/>
                <a:gd name="T77" fmla="*/ 306 h 400"/>
                <a:gd name="T78" fmla="*/ 126 w 286"/>
                <a:gd name="T79" fmla="*/ 306 h 400"/>
                <a:gd name="T80" fmla="*/ 142 w 286"/>
                <a:gd name="T81" fmla="*/ 296 h 400"/>
                <a:gd name="T82" fmla="*/ 158 w 286"/>
                <a:gd name="T83" fmla="*/ 272 h 400"/>
                <a:gd name="T84" fmla="*/ 214 w 286"/>
                <a:gd name="T85" fmla="*/ 314 h 400"/>
                <a:gd name="T86" fmla="*/ 174 w 286"/>
                <a:gd name="T87" fmla="*/ 358 h 400"/>
                <a:gd name="T88" fmla="*/ 142 w 286"/>
                <a:gd name="T89" fmla="*/ 370 h 400"/>
                <a:gd name="T90" fmla="*/ 106 w 286"/>
                <a:gd name="T91" fmla="*/ 368 h 400"/>
                <a:gd name="T92" fmla="*/ 20 w 286"/>
                <a:gd name="T93" fmla="*/ 37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6" h="400">
                  <a:moveTo>
                    <a:pt x="20" y="374"/>
                  </a:moveTo>
                  <a:lnTo>
                    <a:pt x="40" y="336"/>
                  </a:lnTo>
                  <a:lnTo>
                    <a:pt x="40" y="336"/>
                  </a:lnTo>
                  <a:lnTo>
                    <a:pt x="28" y="324"/>
                  </a:lnTo>
                  <a:lnTo>
                    <a:pt x="16" y="312"/>
                  </a:lnTo>
                  <a:lnTo>
                    <a:pt x="8" y="298"/>
                  </a:lnTo>
                  <a:lnTo>
                    <a:pt x="2" y="282"/>
                  </a:lnTo>
                  <a:lnTo>
                    <a:pt x="2" y="282"/>
                  </a:lnTo>
                  <a:lnTo>
                    <a:pt x="0" y="266"/>
                  </a:lnTo>
                  <a:lnTo>
                    <a:pt x="0" y="248"/>
                  </a:lnTo>
                  <a:lnTo>
                    <a:pt x="6" y="230"/>
                  </a:lnTo>
                  <a:lnTo>
                    <a:pt x="14" y="214"/>
                  </a:lnTo>
                  <a:lnTo>
                    <a:pt x="14" y="214"/>
                  </a:lnTo>
                  <a:lnTo>
                    <a:pt x="24" y="198"/>
                  </a:lnTo>
                  <a:lnTo>
                    <a:pt x="38" y="184"/>
                  </a:lnTo>
                  <a:lnTo>
                    <a:pt x="38" y="184"/>
                  </a:lnTo>
                  <a:lnTo>
                    <a:pt x="52" y="176"/>
                  </a:lnTo>
                  <a:lnTo>
                    <a:pt x="68" y="170"/>
                  </a:lnTo>
                  <a:lnTo>
                    <a:pt x="68" y="170"/>
                  </a:lnTo>
                  <a:lnTo>
                    <a:pt x="82" y="166"/>
                  </a:lnTo>
                  <a:lnTo>
                    <a:pt x="100" y="166"/>
                  </a:lnTo>
                  <a:lnTo>
                    <a:pt x="102" y="166"/>
                  </a:lnTo>
                  <a:lnTo>
                    <a:pt x="102" y="166"/>
                  </a:lnTo>
                  <a:lnTo>
                    <a:pt x="124" y="166"/>
                  </a:lnTo>
                  <a:lnTo>
                    <a:pt x="150" y="170"/>
                  </a:lnTo>
                  <a:lnTo>
                    <a:pt x="150" y="170"/>
                  </a:lnTo>
                  <a:lnTo>
                    <a:pt x="178" y="174"/>
                  </a:lnTo>
                  <a:lnTo>
                    <a:pt x="178" y="174"/>
                  </a:lnTo>
                  <a:lnTo>
                    <a:pt x="192" y="172"/>
                  </a:lnTo>
                  <a:lnTo>
                    <a:pt x="192" y="172"/>
                  </a:lnTo>
                  <a:lnTo>
                    <a:pt x="198" y="170"/>
                  </a:lnTo>
                  <a:lnTo>
                    <a:pt x="204" y="166"/>
                  </a:lnTo>
                  <a:lnTo>
                    <a:pt x="208" y="160"/>
                  </a:lnTo>
                  <a:lnTo>
                    <a:pt x="212" y="154"/>
                  </a:lnTo>
                  <a:lnTo>
                    <a:pt x="212" y="154"/>
                  </a:lnTo>
                  <a:lnTo>
                    <a:pt x="216" y="148"/>
                  </a:lnTo>
                  <a:lnTo>
                    <a:pt x="218" y="140"/>
                  </a:lnTo>
                  <a:lnTo>
                    <a:pt x="218" y="134"/>
                  </a:lnTo>
                  <a:lnTo>
                    <a:pt x="218" y="128"/>
                  </a:lnTo>
                  <a:lnTo>
                    <a:pt x="218" y="128"/>
                  </a:lnTo>
                  <a:lnTo>
                    <a:pt x="214" y="122"/>
                  </a:lnTo>
                  <a:lnTo>
                    <a:pt x="210" y="116"/>
                  </a:lnTo>
                  <a:lnTo>
                    <a:pt x="206" y="110"/>
                  </a:lnTo>
                  <a:lnTo>
                    <a:pt x="198" y="106"/>
                  </a:lnTo>
                  <a:lnTo>
                    <a:pt x="198" y="106"/>
                  </a:lnTo>
                  <a:lnTo>
                    <a:pt x="190" y="102"/>
                  </a:lnTo>
                  <a:lnTo>
                    <a:pt x="182" y="100"/>
                  </a:lnTo>
                  <a:lnTo>
                    <a:pt x="182" y="100"/>
                  </a:lnTo>
                  <a:lnTo>
                    <a:pt x="176" y="102"/>
                  </a:lnTo>
                  <a:lnTo>
                    <a:pt x="170" y="104"/>
                  </a:lnTo>
                  <a:lnTo>
                    <a:pt x="170" y="104"/>
                  </a:lnTo>
                  <a:lnTo>
                    <a:pt x="162" y="108"/>
                  </a:lnTo>
                  <a:lnTo>
                    <a:pt x="154" y="114"/>
                  </a:lnTo>
                  <a:lnTo>
                    <a:pt x="148" y="122"/>
                  </a:lnTo>
                  <a:lnTo>
                    <a:pt x="140" y="132"/>
                  </a:lnTo>
                  <a:lnTo>
                    <a:pt x="138" y="138"/>
                  </a:lnTo>
                  <a:lnTo>
                    <a:pt x="78" y="104"/>
                  </a:lnTo>
                  <a:lnTo>
                    <a:pt x="82" y="98"/>
                  </a:lnTo>
                  <a:lnTo>
                    <a:pt x="82" y="98"/>
                  </a:lnTo>
                  <a:lnTo>
                    <a:pt x="94" y="80"/>
                  </a:lnTo>
                  <a:lnTo>
                    <a:pt x="106" y="64"/>
                  </a:lnTo>
                  <a:lnTo>
                    <a:pt x="122" y="52"/>
                  </a:lnTo>
                  <a:lnTo>
                    <a:pt x="138" y="44"/>
                  </a:lnTo>
                  <a:lnTo>
                    <a:pt x="138" y="44"/>
                  </a:lnTo>
                  <a:lnTo>
                    <a:pt x="154" y="40"/>
                  </a:lnTo>
                  <a:lnTo>
                    <a:pt x="172" y="38"/>
                  </a:lnTo>
                  <a:lnTo>
                    <a:pt x="172" y="38"/>
                  </a:lnTo>
                  <a:lnTo>
                    <a:pt x="188" y="38"/>
                  </a:lnTo>
                  <a:lnTo>
                    <a:pt x="204" y="44"/>
                  </a:lnTo>
                  <a:lnTo>
                    <a:pt x="228" y="0"/>
                  </a:lnTo>
                  <a:lnTo>
                    <a:pt x="272" y="26"/>
                  </a:lnTo>
                  <a:lnTo>
                    <a:pt x="248" y="68"/>
                  </a:lnTo>
                  <a:lnTo>
                    <a:pt x="248" y="68"/>
                  </a:lnTo>
                  <a:lnTo>
                    <a:pt x="260" y="80"/>
                  </a:lnTo>
                  <a:lnTo>
                    <a:pt x="270" y="92"/>
                  </a:lnTo>
                  <a:lnTo>
                    <a:pt x="278" y="106"/>
                  </a:lnTo>
                  <a:lnTo>
                    <a:pt x="282" y="122"/>
                  </a:lnTo>
                  <a:lnTo>
                    <a:pt x="282" y="122"/>
                  </a:lnTo>
                  <a:lnTo>
                    <a:pt x="286" y="138"/>
                  </a:lnTo>
                  <a:lnTo>
                    <a:pt x="284" y="156"/>
                  </a:lnTo>
                  <a:lnTo>
                    <a:pt x="280" y="172"/>
                  </a:lnTo>
                  <a:lnTo>
                    <a:pt x="272" y="190"/>
                  </a:lnTo>
                  <a:lnTo>
                    <a:pt x="272" y="190"/>
                  </a:lnTo>
                  <a:lnTo>
                    <a:pt x="264" y="200"/>
                  </a:lnTo>
                  <a:lnTo>
                    <a:pt x="256" y="210"/>
                  </a:lnTo>
                  <a:lnTo>
                    <a:pt x="246" y="218"/>
                  </a:lnTo>
                  <a:lnTo>
                    <a:pt x="236" y="226"/>
                  </a:lnTo>
                  <a:lnTo>
                    <a:pt x="224" y="230"/>
                  </a:lnTo>
                  <a:lnTo>
                    <a:pt x="212" y="234"/>
                  </a:lnTo>
                  <a:lnTo>
                    <a:pt x="200" y="236"/>
                  </a:lnTo>
                  <a:lnTo>
                    <a:pt x="184" y="238"/>
                  </a:lnTo>
                  <a:lnTo>
                    <a:pt x="184" y="238"/>
                  </a:lnTo>
                  <a:lnTo>
                    <a:pt x="182" y="238"/>
                  </a:lnTo>
                  <a:lnTo>
                    <a:pt x="182" y="238"/>
                  </a:lnTo>
                  <a:lnTo>
                    <a:pt x="160" y="236"/>
                  </a:lnTo>
                  <a:lnTo>
                    <a:pt x="134" y="232"/>
                  </a:lnTo>
                  <a:lnTo>
                    <a:pt x="134" y="232"/>
                  </a:lnTo>
                  <a:lnTo>
                    <a:pt x="108" y="230"/>
                  </a:lnTo>
                  <a:lnTo>
                    <a:pt x="108" y="230"/>
                  </a:lnTo>
                  <a:lnTo>
                    <a:pt x="94" y="232"/>
                  </a:lnTo>
                  <a:lnTo>
                    <a:pt x="94" y="232"/>
                  </a:lnTo>
                  <a:lnTo>
                    <a:pt x="88" y="234"/>
                  </a:lnTo>
                  <a:lnTo>
                    <a:pt x="82" y="238"/>
                  </a:lnTo>
                  <a:lnTo>
                    <a:pt x="76" y="242"/>
                  </a:lnTo>
                  <a:lnTo>
                    <a:pt x="72" y="248"/>
                  </a:lnTo>
                  <a:lnTo>
                    <a:pt x="72" y="248"/>
                  </a:lnTo>
                  <a:lnTo>
                    <a:pt x="70" y="256"/>
                  </a:lnTo>
                  <a:lnTo>
                    <a:pt x="68" y="262"/>
                  </a:lnTo>
                  <a:lnTo>
                    <a:pt x="68" y="268"/>
                  </a:lnTo>
                  <a:lnTo>
                    <a:pt x="68" y="276"/>
                  </a:lnTo>
                  <a:lnTo>
                    <a:pt x="68" y="276"/>
                  </a:lnTo>
                  <a:lnTo>
                    <a:pt x="72" y="282"/>
                  </a:lnTo>
                  <a:lnTo>
                    <a:pt x="76" y="288"/>
                  </a:lnTo>
                  <a:lnTo>
                    <a:pt x="84" y="294"/>
                  </a:lnTo>
                  <a:lnTo>
                    <a:pt x="92" y="300"/>
                  </a:lnTo>
                  <a:lnTo>
                    <a:pt x="92" y="300"/>
                  </a:lnTo>
                  <a:lnTo>
                    <a:pt x="104" y="306"/>
                  </a:lnTo>
                  <a:lnTo>
                    <a:pt x="116" y="308"/>
                  </a:lnTo>
                  <a:lnTo>
                    <a:pt x="116" y="308"/>
                  </a:lnTo>
                  <a:lnTo>
                    <a:pt x="126" y="306"/>
                  </a:lnTo>
                  <a:lnTo>
                    <a:pt x="126" y="306"/>
                  </a:lnTo>
                  <a:lnTo>
                    <a:pt x="134" y="302"/>
                  </a:lnTo>
                  <a:lnTo>
                    <a:pt x="142" y="296"/>
                  </a:lnTo>
                  <a:lnTo>
                    <a:pt x="148" y="288"/>
                  </a:lnTo>
                  <a:lnTo>
                    <a:pt x="156" y="280"/>
                  </a:lnTo>
                  <a:lnTo>
                    <a:pt x="158" y="272"/>
                  </a:lnTo>
                  <a:lnTo>
                    <a:pt x="218" y="306"/>
                  </a:lnTo>
                  <a:lnTo>
                    <a:pt x="214" y="314"/>
                  </a:lnTo>
                  <a:lnTo>
                    <a:pt x="214" y="314"/>
                  </a:lnTo>
                  <a:lnTo>
                    <a:pt x="202" y="332"/>
                  </a:lnTo>
                  <a:lnTo>
                    <a:pt x="188" y="346"/>
                  </a:lnTo>
                  <a:lnTo>
                    <a:pt x="174" y="358"/>
                  </a:lnTo>
                  <a:lnTo>
                    <a:pt x="156" y="366"/>
                  </a:lnTo>
                  <a:lnTo>
                    <a:pt x="156" y="366"/>
                  </a:lnTo>
                  <a:lnTo>
                    <a:pt x="142" y="370"/>
                  </a:lnTo>
                  <a:lnTo>
                    <a:pt x="126" y="370"/>
                  </a:lnTo>
                  <a:lnTo>
                    <a:pt x="126" y="370"/>
                  </a:lnTo>
                  <a:lnTo>
                    <a:pt x="106" y="368"/>
                  </a:lnTo>
                  <a:lnTo>
                    <a:pt x="84" y="362"/>
                  </a:lnTo>
                  <a:lnTo>
                    <a:pt x="64" y="400"/>
                  </a:lnTo>
                  <a:lnTo>
                    <a:pt x="20" y="374"/>
                  </a:lnTo>
                  <a:close/>
                </a:path>
              </a:pathLst>
            </a:custGeom>
            <a:solidFill>
              <a:srgbClr val="FFD6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02" name="Freeform 2389">
              <a:extLst>
                <a:ext uri="{FF2B5EF4-FFF2-40B4-BE49-F238E27FC236}">
                  <a16:creationId xmlns:a16="http://schemas.microsoft.com/office/drawing/2014/main" id="{B33EDF7E-AD4C-47F0-81F3-0CC9B77D370B}"/>
                </a:ext>
              </a:extLst>
            </p:cNvPr>
            <p:cNvSpPr>
              <a:spLocks/>
            </p:cNvSpPr>
            <p:nvPr/>
          </p:nvSpPr>
          <p:spPr bwMode="auto">
            <a:xfrm>
              <a:off x="10379621" y="3636808"/>
              <a:ext cx="482405" cy="671793"/>
            </a:xfrm>
            <a:custGeom>
              <a:avLst/>
              <a:gdLst>
                <a:gd name="T0" fmla="*/ 230 w 270"/>
                <a:gd name="T1" fmla="*/ 58 h 376"/>
                <a:gd name="T2" fmla="*/ 254 w 270"/>
                <a:gd name="T3" fmla="*/ 82 h 376"/>
                <a:gd name="T4" fmla="*/ 268 w 270"/>
                <a:gd name="T5" fmla="*/ 112 h 376"/>
                <a:gd name="T6" fmla="*/ 264 w 270"/>
                <a:gd name="T7" fmla="*/ 158 h 376"/>
                <a:gd name="T8" fmla="*/ 250 w 270"/>
                <a:gd name="T9" fmla="*/ 184 h 376"/>
                <a:gd name="T10" fmla="*/ 224 w 270"/>
                <a:gd name="T11" fmla="*/ 206 h 376"/>
                <a:gd name="T12" fmla="*/ 190 w 270"/>
                <a:gd name="T13" fmla="*/ 218 h 376"/>
                <a:gd name="T14" fmla="*/ 174 w 270"/>
                <a:gd name="T15" fmla="*/ 218 h 376"/>
                <a:gd name="T16" fmla="*/ 128 w 270"/>
                <a:gd name="T17" fmla="*/ 212 h 376"/>
                <a:gd name="T18" fmla="*/ 100 w 270"/>
                <a:gd name="T19" fmla="*/ 210 h 376"/>
                <a:gd name="T20" fmla="*/ 82 w 270"/>
                <a:gd name="T21" fmla="*/ 212 h 376"/>
                <a:gd name="T22" fmla="*/ 62 w 270"/>
                <a:gd name="T23" fmla="*/ 224 h 376"/>
                <a:gd name="T24" fmla="*/ 54 w 270"/>
                <a:gd name="T25" fmla="*/ 240 h 376"/>
                <a:gd name="T26" fmla="*/ 54 w 270"/>
                <a:gd name="T27" fmla="*/ 266 h 376"/>
                <a:gd name="T28" fmla="*/ 62 w 270"/>
                <a:gd name="T29" fmla="*/ 282 h 376"/>
                <a:gd name="T30" fmla="*/ 80 w 270"/>
                <a:gd name="T31" fmla="*/ 294 h 376"/>
                <a:gd name="T32" fmla="*/ 108 w 270"/>
                <a:gd name="T33" fmla="*/ 304 h 376"/>
                <a:gd name="T34" fmla="*/ 130 w 270"/>
                <a:gd name="T35" fmla="*/ 298 h 376"/>
                <a:gd name="T36" fmla="*/ 154 w 270"/>
                <a:gd name="T37" fmla="*/ 272 h 376"/>
                <a:gd name="T38" fmla="*/ 188 w 270"/>
                <a:gd name="T39" fmla="*/ 314 h 376"/>
                <a:gd name="T40" fmla="*/ 146 w 270"/>
                <a:gd name="T41" fmla="*/ 346 h 376"/>
                <a:gd name="T42" fmla="*/ 118 w 270"/>
                <a:gd name="T43" fmla="*/ 350 h 376"/>
                <a:gd name="T44" fmla="*/ 96 w 270"/>
                <a:gd name="T45" fmla="*/ 348 h 376"/>
                <a:gd name="T46" fmla="*/ 22 w 270"/>
                <a:gd name="T47" fmla="*/ 360 h 376"/>
                <a:gd name="T48" fmla="*/ 28 w 270"/>
                <a:gd name="T49" fmla="*/ 310 h 376"/>
                <a:gd name="T50" fmla="*/ 2 w 270"/>
                <a:gd name="T51" fmla="*/ 268 h 376"/>
                <a:gd name="T52" fmla="*/ 0 w 270"/>
                <a:gd name="T53" fmla="*/ 238 h 376"/>
                <a:gd name="T54" fmla="*/ 12 w 270"/>
                <a:gd name="T55" fmla="*/ 206 h 376"/>
                <a:gd name="T56" fmla="*/ 34 w 270"/>
                <a:gd name="T57" fmla="*/ 180 h 376"/>
                <a:gd name="T58" fmla="*/ 62 w 270"/>
                <a:gd name="T59" fmla="*/ 166 h 376"/>
                <a:gd name="T60" fmla="*/ 92 w 270"/>
                <a:gd name="T61" fmla="*/ 162 h 376"/>
                <a:gd name="T62" fmla="*/ 116 w 270"/>
                <a:gd name="T63" fmla="*/ 162 h 376"/>
                <a:gd name="T64" fmla="*/ 170 w 270"/>
                <a:gd name="T65" fmla="*/ 170 h 376"/>
                <a:gd name="T66" fmla="*/ 186 w 270"/>
                <a:gd name="T67" fmla="*/ 168 h 376"/>
                <a:gd name="T68" fmla="*/ 206 w 270"/>
                <a:gd name="T69" fmla="*/ 154 h 376"/>
                <a:gd name="T70" fmla="*/ 216 w 270"/>
                <a:gd name="T71" fmla="*/ 138 h 376"/>
                <a:gd name="T72" fmla="*/ 218 w 270"/>
                <a:gd name="T73" fmla="*/ 112 h 376"/>
                <a:gd name="T74" fmla="*/ 210 w 270"/>
                <a:gd name="T75" fmla="*/ 98 h 376"/>
                <a:gd name="T76" fmla="*/ 194 w 270"/>
                <a:gd name="T77" fmla="*/ 88 h 376"/>
                <a:gd name="T78" fmla="*/ 174 w 270"/>
                <a:gd name="T79" fmla="*/ 80 h 376"/>
                <a:gd name="T80" fmla="*/ 158 w 270"/>
                <a:gd name="T81" fmla="*/ 84 h 376"/>
                <a:gd name="T82" fmla="*/ 134 w 270"/>
                <a:gd name="T83" fmla="*/ 104 h 376"/>
                <a:gd name="T84" fmla="*/ 80 w 270"/>
                <a:gd name="T85" fmla="*/ 90 h 376"/>
                <a:gd name="T86" fmla="*/ 118 w 270"/>
                <a:gd name="T87" fmla="*/ 48 h 376"/>
                <a:gd name="T88" fmla="*/ 148 w 270"/>
                <a:gd name="T89" fmla="*/ 36 h 376"/>
                <a:gd name="T90" fmla="*/ 180 w 270"/>
                <a:gd name="T91" fmla="*/ 36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70" h="376">
                  <a:moveTo>
                    <a:pt x="222" y="0"/>
                  </a:moveTo>
                  <a:lnTo>
                    <a:pt x="252" y="16"/>
                  </a:lnTo>
                  <a:lnTo>
                    <a:pt x="230" y="58"/>
                  </a:lnTo>
                  <a:lnTo>
                    <a:pt x="230" y="58"/>
                  </a:lnTo>
                  <a:lnTo>
                    <a:pt x="244" y="70"/>
                  </a:lnTo>
                  <a:lnTo>
                    <a:pt x="254" y="82"/>
                  </a:lnTo>
                  <a:lnTo>
                    <a:pt x="262" y="96"/>
                  </a:lnTo>
                  <a:lnTo>
                    <a:pt x="268" y="112"/>
                  </a:lnTo>
                  <a:lnTo>
                    <a:pt x="268" y="112"/>
                  </a:lnTo>
                  <a:lnTo>
                    <a:pt x="270" y="126"/>
                  </a:lnTo>
                  <a:lnTo>
                    <a:pt x="268" y="142"/>
                  </a:lnTo>
                  <a:lnTo>
                    <a:pt x="264" y="158"/>
                  </a:lnTo>
                  <a:lnTo>
                    <a:pt x="256" y="174"/>
                  </a:lnTo>
                  <a:lnTo>
                    <a:pt x="256" y="174"/>
                  </a:lnTo>
                  <a:lnTo>
                    <a:pt x="250" y="184"/>
                  </a:lnTo>
                  <a:lnTo>
                    <a:pt x="242" y="192"/>
                  </a:lnTo>
                  <a:lnTo>
                    <a:pt x="234" y="200"/>
                  </a:lnTo>
                  <a:lnTo>
                    <a:pt x="224" y="206"/>
                  </a:lnTo>
                  <a:lnTo>
                    <a:pt x="214" y="212"/>
                  </a:lnTo>
                  <a:lnTo>
                    <a:pt x="202" y="214"/>
                  </a:lnTo>
                  <a:lnTo>
                    <a:pt x="190" y="218"/>
                  </a:lnTo>
                  <a:lnTo>
                    <a:pt x="176" y="218"/>
                  </a:lnTo>
                  <a:lnTo>
                    <a:pt x="176" y="218"/>
                  </a:lnTo>
                  <a:lnTo>
                    <a:pt x="174" y="218"/>
                  </a:lnTo>
                  <a:lnTo>
                    <a:pt x="174" y="218"/>
                  </a:lnTo>
                  <a:lnTo>
                    <a:pt x="154" y="216"/>
                  </a:lnTo>
                  <a:lnTo>
                    <a:pt x="128" y="212"/>
                  </a:lnTo>
                  <a:lnTo>
                    <a:pt x="128" y="212"/>
                  </a:lnTo>
                  <a:lnTo>
                    <a:pt x="100" y="210"/>
                  </a:lnTo>
                  <a:lnTo>
                    <a:pt x="100" y="210"/>
                  </a:lnTo>
                  <a:lnTo>
                    <a:pt x="92" y="210"/>
                  </a:lnTo>
                  <a:lnTo>
                    <a:pt x="82" y="212"/>
                  </a:lnTo>
                  <a:lnTo>
                    <a:pt x="82" y="212"/>
                  </a:lnTo>
                  <a:lnTo>
                    <a:pt x="76" y="214"/>
                  </a:lnTo>
                  <a:lnTo>
                    <a:pt x="68" y="220"/>
                  </a:lnTo>
                  <a:lnTo>
                    <a:pt x="62" y="224"/>
                  </a:lnTo>
                  <a:lnTo>
                    <a:pt x="58" y="232"/>
                  </a:lnTo>
                  <a:lnTo>
                    <a:pt x="58" y="232"/>
                  </a:lnTo>
                  <a:lnTo>
                    <a:pt x="54" y="240"/>
                  </a:lnTo>
                  <a:lnTo>
                    <a:pt x="52" y="250"/>
                  </a:lnTo>
                  <a:lnTo>
                    <a:pt x="52" y="258"/>
                  </a:lnTo>
                  <a:lnTo>
                    <a:pt x="54" y="266"/>
                  </a:lnTo>
                  <a:lnTo>
                    <a:pt x="54" y="266"/>
                  </a:lnTo>
                  <a:lnTo>
                    <a:pt x="56" y="274"/>
                  </a:lnTo>
                  <a:lnTo>
                    <a:pt x="62" y="282"/>
                  </a:lnTo>
                  <a:lnTo>
                    <a:pt x="70" y="288"/>
                  </a:lnTo>
                  <a:lnTo>
                    <a:pt x="80" y="294"/>
                  </a:lnTo>
                  <a:lnTo>
                    <a:pt x="80" y="294"/>
                  </a:lnTo>
                  <a:lnTo>
                    <a:pt x="94" y="302"/>
                  </a:lnTo>
                  <a:lnTo>
                    <a:pt x="108" y="304"/>
                  </a:lnTo>
                  <a:lnTo>
                    <a:pt x="108" y="304"/>
                  </a:lnTo>
                  <a:lnTo>
                    <a:pt x="122" y="302"/>
                  </a:lnTo>
                  <a:lnTo>
                    <a:pt x="122" y="302"/>
                  </a:lnTo>
                  <a:lnTo>
                    <a:pt x="130" y="298"/>
                  </a:lnTo>
                  <a:lnTo>
                    <a:pt x="138" y="290"/>
                  </a:lnTo>
                  <a:lnTo>
                    <a:pt x="146" y="282"/>
                  </a:lnTo>
                  <a:lnTo>
                    <a:pt x="154" y="272"/>
                  </a:lnTo>
                  <a:lnTo>
                    <a:pt x="200" y="298"/>
                  </a:lnTo>
                  <a:lnTo>
                    <a:pt x="200" y="298"/>
                  </a:lnTo>
                  <a:lnTo>
                    <a:pt x="188" y="314"/>
                  </a:lnTo>
                  <a:lnTo>
                    <a:pt x="176" y="328"/>
                  </a:lnTo>
                  <a:lnTo>
                    <a:pt x="162" y="338"/>
                  </a:lnTo>
                  <a:lnTo>
                    <a:pt x="146" y="346"/>
                  </a:lnTo>
                  <a:lnTo>
                    <a:pt x="146" y="346"/>
                  </a:lnTo>
                  <a:lnTo>
                    <a:pt x="132" y="350"/>
                  </a:lnTo>
                  <a:lnTo>
                    <a:pt x="118" y="350"/>
                  </a:lnTo>
                  <a:lnTo>
                    <a:pt x="118" y="350"/>
                  </a:lnTo>
                  <a:lnTo>
                    <a:pt x="108" y="350"/>
                  </a:lnTo>
                  <a:lnTo>
                    <a:pt x="96" y="348"/>
                  </a:lnTo>
                  <a:lnTo>
                    <a:pt x="72" y="340"/>
                  </a:lnTo>
                  <a:lnTo>
                    <a:pt x="52" y="376"/>
                  </a:lnTo>
                  <a:lnTo>
                    <a:pt x="22" y="360"/>
                  </a:lnTo>
                  <a:lnTo>
                    <a:pt x="44" y="322"/>
                  </a:lnTo>
                  <a:lnTo>
                    <a:pt x="44" y="322"/>
                  </a:lnTo>
                  <a:lnTo>
                    <a:pt x="28" y="310"/>
                  </a:lnTo>
                  <a:lnTo>
                    <a:pt x="16" y="298"/>
                  </a:lnTo>
                  <a:lnTo>
                    <a:pt x="8" y="284"/>
                  </a:lnTo>
                  <a:lnTo>
                    <a:pt x="2" y="268"/>
                  </a:lnTo>
                  <a:lnTo>
                    <a:pt x="2" y="268"/>
                  </a:lnTo>
                  <a:lnTo>
                    <a:pt x="0" y="252"/>
                  </a:lnTo>
                  <a:lnTo>
                    <a:pt x="0" y="238"/>
                  </a:lnTo>
                  <a:lnTo>
                    <a:pt x="4" y="222"/>
                  </a:lnTo>
                  <a:lnTo>
                    <a:pt x="12" y="206"/>
                  </a:lnTo>
                  <a:lnTo>
                    <a:pt x="12" y="206"/>
                  </a:lnTo>
                  <a:lnTo>
                    <a:pt x="22" y="190"/>
                  </a:lnTo>
                  <a:lnTo>
                    <a:pt x="34" y="180"/>
                  </a:lnTo>
                  <a:lnTo>
                    <a:pt x="34" y="180"/>
                  </a:lnTo>
                  <a:lnTo>
                    <a:pt x="48" y="170"/>
                  </a:lnTo>
                  <a:lnTo>
                    <a:pt x="62" y="166"/>
                  </a:lnTo>
                  <a:lnTo>
                    <a:pt x="62" y="166"/>
                  </a:lnTo>
                  <a:lnTo>
                    <a:pt x="76" y="162"/>
                  </a:lnTo>
                  <a:lnTo>
                    <a:pt x="92" y="162"/>
                  </a:lnTo>
                  <a:lnTo>
                    <a:pt x="92" y="162"/>
                  </a:lnTo>
                  <a:lnTo>
                    <a:pt x="94" y="162"/>
                  </a:lnTo>
                  <a:lnTo>
                    <a:pt x="94" y="162"/>
                  </a:lnTo>
                  <a:lnTo>
                    <a:pt x="116" y="162"/>
                  </a:lnTo>
                  <a:lnTo>
                    <a:pt x="142" y="166"/>
                  </a:lnTo>
                  <a:lnTo>
                    <a:pt x="142" y="166"/>
                  </a:lnTo>
                  <a:lnTo>
                    <a:pt x="170" y="170"/>
                  </a:lnTo>
                  <a:lnTo>
                    <a:pt x="170" y="170"/>
                  </a:lnTo>
                  <a:lnTo>
                    <a:pt x="186" y="168"/>
                  </a:lnTo>
                  <a:lnTo>
                    <a:pt x="186" y="168"/>
                  </a:lnTo>
                  <a:lnTo>
                    <a:pt x="194" y="164"/>
                  </a:lnTo>
                  <a:lnTo>
                    <a:pt x="200" y="160"/>
                  </a:lnTo>
                  <a:lnTo>
                    <a:pt x="206" y="154"/>
                  </a:lnTo>
                  <a:lnTo>
                    <a:pt x="212" y="146"/>
                  </a:lnTo>
                  <a:lnTo>
                    <a:pt x="212" y="146"/>
                  </a:lnTo>
                  <a:lnTo>
                    <a:pt x="216" y="138"/>
                  </a:lnTo>
                  <a:lnTo>
                    <a:pt x="218" y="130"/>
                  </a:lnTo>
                  <a:lnTo>
                    <a:pt x="218" y="120"/>
                  </a:lnTo>
                  <a:lnTo>
                    <a:pt x="218" y="112"/>
                  </a:lnTo>
                  <a:lnTo>
                    <a:pt x="218" y="112"/>
                  </a:lnTo>
                  <a:lnTo>
                    <a:pt x="214" y="106"/>
                  </a:lnTo>
                  <a:lnTo>
                    <a:pt x="210" y="98"/>
                  </a:lnTo>
                  <a:lnTo>
                    <a:pt x="202" y="92"/>
                  </a:lnTo>
                  <a:lnTo>
                    <a:pt x="194" y="88"/>
                  </a:lnTo>
                  <a:lnTo>
                    <a:pt x="194" y="88"/>
                  </a:lnTo>
                  <a:lnTo>
                    <a:pt x="184" y="82"/>
                  </a:lnTo>
                  <a:lnTo>
                    <a:pt x="174" y="80"/>
                  </a:lnTo>
                  <a:lnTo>
                    <a:pt x="174" y="80"/>
                  </a:lnTo>
                  <a:lnTo>
                    <a:pt x="166" y="82"/>
                  </a:lnTo>
                  <a:lnTo>
                    <a:pt x="158" y="84"/>
                  </a:lnTo>
                  <a:lnTo>
                    <a:pt x="158" y="84"/>
                  </a:lnTo>
                  <a:lnTo>
                    <a:pt x="150" y="88"/>
                  </a:lnTo>
                  <a:lnTo>
                    <a:pt x="140" y="96"/>
                  </a:lnTo>
                  <a:lnTo>
                    <a:pt x="134" y="104"/>
                  </a:lnTo>
                  <a:lnTo>
                    <a:pt x="126" y="116"/>
                  </a:lnTo>
                  <a:lnTo>
                    <a:pt x="80" y="90"/>
                  </a:lnTo>
                  <a:lnTo>
                    <a:pt x="80" y="90"/>
                  </a:lnTo>
                  <a:lnTo>
                    <a:pt x="92" y="72"/>
                  </a:lnTo>
                  <a:lnTo>
                    <a:pt x="104" y="58"/>
                  </a:lnTo>
                  <a:lnTo>
                    <a:pt x="118" y="48"/>
                  </a:lnTo>
                  <a:lnTo>
                    <a:pt x="132" y="40"/>
                  </a:lnTo>
                  <a:lnTo>
                    <a:pt x="132" y="40"/>
                  </a:lnTo>
                  <a:lnTo>
                    <a:pt x="148" y="36"/>
                  </a:lnTo>
                  <a:lnTo>
                    <a:pt x="164" y="34"/>
                  </a:lnTo>
                  <a:lnTo>
                    <a:pt x="164" y="34"/>
                  </a:lnTo>
                  <a:lnTo>
                    <a:pt x="180" y="36"/>
                  </a:lnTo>
                  <a:lnTo>
                    <a:pt x="200" y="40"/>
                  </a:lnTo>
                  <a:lnTo>
                    <a:pt x="2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03" name="Freeform 2393">
              <a:extLst>
                <a:ext uri="{FF2B5EF4-FFF2-40B4-BE49-F238E27FC236}">
                  <a16:creationId xmlns:a16="http://schemas.microsoft.com/office/drawing/2014/main" id="{BA6D3EC2-59D1-4869-BB82-83FAEC7995B3}"/>
                </a:ext>
              </a:extLst>
            </p:cNvPr>
            <p:cNvSpPr>
              <a:spLocks/>
            </p:cNvSpPr>
            <p:nvPr/>
          </p:nvSpPr>
          <p:spPr bwMode="auto">
            <a:xfrm>
              <a:off x="9393371" y="4215693"/>
              <a:ext cx="382350" cy="443098"/>
            </a:xfrm>
            <a:custGeom>
              <a:avLst/>
              <a:gdLst>
                <a:gd name="T0" fmla="*/ 170 w 214"/>
                <a:gd name="T1" fmla="*/ 178 h 248"/>
                <a:gd name="T2" fmla="*/ 170 w 214"/>
                <a:gd name="T3" fmla="*/ 178 h 248"/>
                <a:gd name="T4" fmla="*/ 158 w 214"/>
                <a:gd name="T5" fmla="*/ 190 h 248"/>
                <a:gd name="T6" fmla="*/ 146 w 214"/>
                <a:gd name="T7" fmla="*/ 200 h 248"/>
                <a:gd name="T8" fmla="*/ 132 w 214"/>
                <a:gd name="T9" fmla="*/ 210 h 248"/>
                <a:gd name="T10" fmla="*/ 118 w 214"/>
                <a:gd name="T11" fmla="*/ 218 h 248"/>
                <a:gd name="T12" fmla="*/ 92 w 214"/>
                <a:gd name="T13" fmla="*/ 230 h 248"/>
                <a:gd name="T14" fmla="*/ 64 w 214"/>
                <a:gd name="T15" fmla="*/ 238 h 248"/>
                <a:gd name="T16" fmla="*/ 40 w 214"/>
                <a:gd name="T17" fmla="*/ 244 h 248"/>
                <a:gd name="T18" fmla="*/ 20 w 214"/>
                <a:gd name="T19" fmla="*/ 246 h 248"/>
                <a:gd name="T20" fmla="*/ 2 w 214"/>
                <a:gd name="T21" fmla="*/ 248 h 248"/>
                <a:gd name="T22" fmla="*/ 2 w 214"/>
                <a:gd name="T23" fmla="*/ 248 h 248"/>
                <a:gd name="T24" fmla="*/ 0 w 214"/>
                <a:gd name="T25" fmla="*/ 230 h 248"/>
                <a:gd name="T26" fmla="*/ 0 w 214"/>
                <a:gd name="T27" fmla="*/ 210 h 248"/>
                <a:gd name="T28" fmla="*/ 2 w 214"/>
                <a:gd name="T29" fmla="*/ 184 h 248"/>
                <a:gd name="T30" fmla="*/ 6 w 214"/>
                <a:gd name="T31" fmla="*/ 156 h 248"/>
                <a:gd name="T32" fmla="*/ 14 w 214"/>
                <a:gd name="T33" fmla="*/ 128 h 248"/>
                <a:gd name="T34" fmla="*/ 20 w 214"/>
                <a:gd name="T35" fmla="*/ 112 h 248"/>
                <a:gd name="T36" fmla="*/ 26 w 214"/>
                <a:gd name="T37" fmla="*/ 98 h 248"/>
                <a:gd name="T38" fmla="*/ 34 w 214"/>
                <a:gd name="T39" fmla="*/ 84 h 248"/>
                <a:gd name="T40" fmla="*/ 44 w 214"/>
                <a:gd name="T41" fmla="*/ 70 h 248"/>
                <a:gd name="T42" fmla="*/ 44 w 214"/>
                <a:gd name="T43" fmla="*/ 70 h 248"/>
                <a:gd name="T44" fmla="*/ 56 w 214"/>
                <a:gd name="T45" fmla="*/ 58 h 248"/>
                <a:gd name="T46" fmla="*/ 68 w 214"/>
                <a:gd name="T47" fmla="*/ 48 h 248"/>
                <a:gd name="T48" fmla="*/ 82 w 214"/>
                <a:gd name="T49" fmla="*/ 40 h 248"/>
                <a:gd name="T50" fmla="*/ 96 w 214"/>
                <a:gd name="T51" fmla="*/ 32 h 248"/>
                <a:gd name="T52" fmla="*/ 124 w 214"/>
                <a:gd name="T53" fmla="*/ 18 h 248"/>
                <a:gd name="T54" fmla="*/ 150 w 214"/>
                <a:gd name="T55" fmla="*/ 10 h 248"/>
                <a:gd name="T56" fmla="*/ 174 w 214"/>
                <a:gd name="T57" fmla="*/ 6 h 248"/>
                <a:gd name="T58" fmla="*/ 194 w 214"/>
                <a:gd name="T59" fmla="*/ 2 h 248"/>
                <a:gd name="T60" fmla="*/ 212 w 214"/>
                <a:gd name="T61" fmla="*/ 0 h 248"/>
                <a:gd name="T62" fmla="*/ 212 w 214"/>
                <a:gd name="T63" fmla="*/ 0 h 248"/>
                <a:gd name="T64" fmla="*/ 214 w 214"/>
                <a:gd name="T65" fmla="*/ 18 h 248"/>
                <a:gd name="T66" fmla="*/ 214 w 214"/>
                <a:gd name="T67" fmla="*/ 38 h 248"/>
                <a:gd name="T68" fmla="*/ 212 w 214"/>
                <a:gd name="T69" fmla="*/ 64 h 248"/>
                <a:gd name="T70" fmla="*/ 208 w 214"/>
                <a:gd name="T71" fmla="*/ 92 h 248"/>
                <a:gd name="T72" fmla="*/ 200 w 214"/>
                <a:gd name="T73" fmla="*/ 122 h 248"/>
                <a:gd name="T74" fmla="*/ 196 w 214"/>
                <a:gd name="T75" fmla="*/ 136 h 248"/>
                <a:gd name="T76" fmla="*/ 188 w 214"/>
                <a:gd name="T77" fmla="*/ 150 h 248"/>
                <a:gd name="T78" fmla="*/ 180 w 214"/>
                <a:gd name="T79" fmla="*/ 164 h 248"/>
                <a:gd name="T80" fmla="*/ 170 w 214"/>
                <a:gd name="T81" fmla="*/ 178 h 248"/>
                <a:gd name="T82" fmla="*/ 170 w 214"/>
                <a:gd name="T83" fmla="*/ 178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248">
                  <a:moveTo>
                    <a:pt x="170" y="178"/>
                  </a:moveTo>
                  <a:lnTo>
                    <a:pt x="170" y="178"/>
                  </a:lnTo>
                  <a:lnTo>
                    <a:pt x="158" y="190"/>
                  </a:lnTo>
                  <a:lnTo>
                    <a:pt x="146" y="200"/>
                  </a:lnTo>
                  <a:lnTo>
                    <a:pt x="132" y="210"/>
                  </a:lnTo>
                  <a:lnTo>
                    <a:pt x="118" y="218"/>
                  </a:lnTo>
                  <a:lnTo>
                    <a:pt x="92" y="230"/>
                  </a:lnTo>
                  <a:lnTo>
                    <a:pt x="64" y="238"/>
                  </a:lnTo>
                  <a:lnTo>
                    <a:pt x="40" y="244"/>
                  </a:lnTo>
                  <a:lnTo>
                    <a:pt x="20" y="246"/>
                  </a:lnTo>
                  <a:lnTo>
                    <a:pt x="2" y="248"/>
                  </a:lnTo>
                  <a:lnTo>
                    <a:pt x="2" y="248"/>
                  </a:lnTo>
                  <a:lnTo>
                    <a:pt x="0" y="230"/>
                  </a:lnTo>
                  <a:lnTo>
                    <a:pt x="0" y="210"/>
                  </a:lnTo>
                  <a:lnTo>
                    <a:pt x="2" y="184"/>
                  </a:lnTo>
                  <a:lnTo>
                    <a:pt x="6" y="156"/>
                  </a:lnTo>
                  <a:lnTo>
                    <a:pt x="14" y="128"/>
                  </a:lnTo>
                  <a:lnTo>
                    <a:pt x="20" y="112"/>
                  </a:lnTo>
                  <a:lnTo>
                    <a:pt x="26" y="98"/>
                  </a:lnTo>
                  <a:lnTo>
                    <a:pt x="34" y="84"/>
                  </a:lnTo>
                  <a:lnTo>
                    <a:pt x="44" y="70"/>
                  </a:lnTo>
                  <a:lnTo>
                    <a:pt x="44" y="70"/>
                  </a:lnTo>
                  <a:lnTo>
                    <a:pt x="56" y="58"/>
                  </a:lnTo>
                  <a:lnTo>
                    <a:pt x="68" y="48"/>
                  </a:lnTo>
                  <a:lnTo>
                    <a:pt x="82" y="40"/>
                  </a:lnTo>
                  <a:lnTo>
                    <a:pt x="96" y="32"/>
                  </a:lnTo>
                  <a:lnTo>
                    <a:pt x="124" y="18"/>
                  </a:lnTo>
                  <a:lnTo>
                    <a:pt x="150" y="10"/>
                  </a:lnTo>
                  <a:lnTo>
                    <a:pt x="174" y="6"/>
                  </a:lnTo>
                  <a:lnTo>
                    <a:pt x="194" y="2"/>
                  </a:lnTo>
                  <a:lnTo>
                    <a:pt x="212" y="0"/>
                  </a:lnTo>
                  <a:lnTo>
                    <a:pt x="212" y="0"/>
                  </a:lnTo>
                  <a:lnTo>
                    <a:pt x="214" y="18"/>
                  </a:lnTo>
                  <a:lnTo>
                    <a:pt x="214" y="38"/>
                  </a:lnTo>
                  <a:lnTo>
                    <a:pt x="212" y="64"/>
                  </a:lnTo>
                  <a:lnTo>
                    <a:pt x="208" y="92"/>
                  </a:lnTo>
                  <a:lnTo>
                    <a:pt x="200" y="122"/>
                  </a:lnTo>
                  <a:lnTo>
                    <a:pt x="196" y="136"/>
                  </a:lnTo>
                  <a:lnTo>
                    <a:pt x="188" y="150"/>
                  </a:lnTo>
                  <a:lnTo>
                    <a:pt x="180" y="164"/>
                  </a:lnTo>
                  <a:lnTo>
                    <a:pt x="170" y="178"/>
                  </a:lnTo>
                  <a:lnTo>
                    <a:pt x="170" y="178"/>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04" name="Freeform 2395">
              <a:extLst>
                <a:ext uri="{FF2B5EF4-FFF2-40B4-BE49-F238E27FC236}">
                  <a16:creationId xmlns:a16="http://schemas.microsoft.com/office/drawing/2014/main" id="{EFA03151-F77C-4B7F-BC8E-31EC2DE28B9C}"/>
                </a:ext>
              </a:extLst>
            </p:cNvPr>
            <p:cNvSpPr>
              <a:spLocks/>
            </p:cNvSpPr>
            <p:nvPr/>
          </p:nvSpPr>
          <p:spPr bwMode="auto">
            <a:xfrm>
              <a:off x="9700681" y="4204973"/>
              <a:ext cx="293016" cy="575312"/>
            </a:xfrm>
            <a:custGeom>
              <a:avLst/>
              <a:gdLst>
                <a:gd name="T0" fmla="*/ 0 w 164"/>
                <a:gd name="T1" fmla="*/ 170 h 322"/>
                <a:gd name="T2" fmla="*/ 0 w 164"/>
                <a:gd name="T3" fmla="*/ 170 h 322"/>
                <a:gd name="T4" fmla="*/ 4 w 164"/>
                <a:gd name="T5" fmla="*/ 188 h 322"/>
                <a:gd name="T6" fmla="*/ 8 w 164"/>
                <a:gd name="T7" fmla="*/ 202 h 322"/>
                <a:gd name="T8" fmla="*/ 14 w 164"/>
                <a:gd name="T9" fmla="*/ 218 h 322"/>
                <a:gd name="T10" fmla="*/ 22 w 164"/>
                <a:gd name="T11" fmla="*/ 232 h 322"/>
                <a:gd name="T12" fmla="*/ 38 w 164"/>
                <a:gd name="T13" fmla="*/ 258 h 322"/>
                <a:gd name="T14" fmla="*/ 56 w 164"/>
                <a:gd name="T15" fmla="*/ 280 h 322"/>
                <a:gd name="T16" fmla="*/ 74 w 164"/>
                <a:gd name="T17" fmla="*/ 296 h 322"/>
                <a:gd name="T18" fmla="*/ 88 w 164"/>
                <a:gd name="T19" fmla="*/ 310 h 322"/>
                <a:gd name="T20" fmla="*/ 102 w 164"/>
                <a:gd name="T21" fmla="*/ 322 h 322"/>
                <a:gd name="T22" fmla="*/ 102 w 164"/>
                <a:gd name="T23" fmla="*/ 322 h 322"/>
                <a:gd name="T24" fmla="*/ 114 w 164"/>
                <a:gd name="T25" fmla="*/ 306 h 322"/>
                <a:gd name="T26" fmla="*/ 124 w 164"/>
                <a:gd name="T27" fmla="*/ 290 h 322"/>
                <a:gd name="T28" fmla="*/ 138 w 164"/>
                <a:gd name="T29" fmla="*/ 268 h 322"/>
                <a:gd name="T30" fmla="*/ 150 w 164"/>
                <a:gd name="T31" fmla="*/ 244 h 322"/>
                <a:gd name="T32" fmla="*/ 158 w 164"/>
                <a:gd name="T33" fmla="*/ 214 h 322"/>
                <a:gd name="T34" fmla="*/ 162 w 164"/>
                <a:gd name="T35" fmla="*/ 198 h 322"/>
                <a:gd name="T36" fmla="*/ 164 w 164"/>
                <a:gd name="T37" fmla="*/ 182 h 322"/>
                <a:gd name="T38" fmla="*/ 164 w 164"/>
                <a:gd name="T39" fmla="*/ 166 h 322"/>
                <a:gd name="T40" fmla="*/ 164 w 164"/>
                <a:gd name="T41" fmla="*/ 150 h 322"/>
                <a:gd name="T42" fmla="*/ 164 w 164"/>
                <a:gd name="T43" fmla="*/ 150 h 322"/>
                <a:gd name="T44" fmla="*/ 160 w 164"/>
                <a:gd name="T45" fmla="*/ 134 h 322"/>
                <a:gd name="T46" fmla="*/ 156 w 164"/>
                <a:gd name="T47" fmla="*/ 118 h 322"/>
                <a:gd name="T48" fmla="*/ 150 w 164"/>
                <a:gd name="T49" fmla="*/ 102 h 322"/>
                <a:gd name="T50" fmla="*/ 142 w 164"/>
                <a:gd name="T51" fmla="*/ 88 h 322"/>
                <a:gd name="T52" fmla="*/ 126 w 164"/>
                <a:gd name="T53" fmla="*/ 64 h 322"/>
                <a:gd name="T54" fmla="*/ 108 w 164"/>
                <a:gd name="T55" fmla="*/ 42 h 322"/>
                <a:gd name="T56" fmla="*/ 90 w 164"/>
                <a:gd name="T57" fmla="*/ 24 h 322"/>
                <a:gd name="T58" fmla="*/ 76 w 164"/>
                <a:gd name="T59" fmla="*/ 10 h 322"/>
                <a:gd name="T60" fmla="*/ 62 w 164"/>
                <a:gd name="T61" fmla="*/ 0 h 322"/>
                <a:gd name="T62" fmla="*/ 62 w 164"/>
                <a:gd name="T63" fmla="*/ 0 h 322"/>
                <a:gd name="T64" fmla="*/ 50 w 164"/>
                <a:gd name="T65" fmla="*/ 14 h 322"/>
                <a:gd name="T66" fmla="*/ 40 w 164"/>
                <a:gd name="T67" fmla="*/ 30 h 322"/>
                <a:gd name="T68" fmla="*/ 26 w 164"/>
                <a:gd name="T69" fmla="*/ 52 h 322"/>
                <a:gd name="T70" fmla="*/ 14 w 164"/>
                <a:gd name="T71" fmla="*/ 78 h 322"/>
                <a:gd name="T72" fmla="*/ 6 w 164"/>
                <a:gd name="T73" fmla="*/ 106 h 322"/>
                <a:gd name="T74" fmla="*/ 2 w 164"/>
                <a:gd name="T75" fmla="*/ 122 h 322"/>
                <a:gd name="T76" fmla="*/ 0 w 164"/>
                <a:gd name="T77" fmla="*/ 138 h 322"/>
                <a:gd name="T78" fmla="*/ 0 w 164"/>
                <a:gd name="T79" fmla="*/ 154 h 322"/>
                <a:gd name="T80" fmla="*/ 0 w 164"/>
                <a:gd name="T81" fmla="*/ 170 h 322"/>
                <a:gd name="T82" fmla="*/ 0 w 164"/>
                <a:gd name="T83" fmla="*/ 170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64" h="322">
                  <a:moveTo>
                    <a:pt x="0" y="170"/>
                  </a:moveTo>
                  <a:lnTo>
                    <a:pt x="0" y="170"/>
                  </a:lnTo>
                  <a:lnTo>
                    <a:pt x="4" y="188"/>
                  </a:lnTo>
                  <a:lnTo>
                    <a:pt x="8" y="202"/>
                  </a:lnTo>
                  <a:lnTo>
                    <a:pt x="14" y="218"/>
                  </a:lnTo>
                  <a:lnTo>
                    <a:pt x="22" y="232"/>
                  </a:lnTo>
                  <a:lnTo>
                    <a:pt x="38" y="258"/>
                  </a:lnTo>
                  <a:lnTo>
                    <a:pt x="56" y="280"/>
                  </a:lnTo>
                  <a:lnTo>
                    <a:pt x="74" y="296"/>
                  </a:lnTo>
                  <a:lnTo>
                    <a:pt x="88" y="310"/>
                  </a:lnTo>
                  <a:lnTo>
                    <a:pt x="102" y="322"/>
                  </a:lnTo>
                  <a:lnTo>
                    <a:pt x="102" y="322"/>
                  </a:lnTo>
                  <a:lnTo>
                    <a:pt x="114" y="306"/>
                  </a:lnTo>
                  <a:lnTo>
                    <a:pt x="124" y="290"/>
                  </a:lnTo>
                  <a:lnTo>
                    <a:pt x="138" y="268"/>
                  </a:lnTo>
                  <a:lnTo>
                    <a:pt x="150" y="244"/>
                  </a:lnTo>
                  <a:lnTo>
                    <a:pt x="158" y="214"/>
                  </a:lnTo>
                  <a:lnTo>
                    <a:pt x="162" y="198"/>
                  </a:lnTo>
                  <a:lnTo>
                    <a:pt x="164" y="182"/>
                  </a:lnTo>
                  <a:lnTo>
                    <a:pt x="164" y="166"/>
                  </a:lnTo>
                  <a:lnTo>
                    <a:pt x="164" y="150"/>
                  </a:lnTo>
                  <a:lnTo>
                    <a:pt x="164" y="150"/>
                  </a:lnTo>
                  <a:lnTo>
                    <a:pt x="160" y="134"/>
                  </a:lnTo>
                  <a:lnTo>
                    <a:pt x="156" y="118"/>
                  </a:lnTo>
                  <a:lnTo>
                    <a:pt x="150" y="102"/>
                  </a:lnTo>
                  <a:lnTo>
                    <a:pt x="142" y="88"/>
                  </a:lnTo>
                  <a:lnTo>
                    <a:pt x="126" y="64"/>
                  </a:lnTo>
                  <a:lnTo>
                    <a:pt x="108" y="42"/>
                  </a:lnTo>
                  <a:lnTo>
                    <a:pt x="90" y="24"/>
                  </a:lnTo>
                  <a:lnTo>
                    <a:pt x="76" y="10"/>
                  </a:lnTo>
                  <a:lnTo>
                    <a:pt x="62" y="0"/>
                  </a:lnTo>
                  <a:lnTo>
                    <a:pt x="62" y="0"/>
                  </a:lnTo>
                  <a:lnTo>
                    <a:pt x="50" y="14"/>
                  </a:lnTo>
                  <a:lnTo>
                    <a:pt x="40" y="30"/>
                  </a:lnTo>
                  <a:lnTo>
                    <a:pt x="26" y="52"/>
                  </a:lnTo>
                  <a:lnTo>
                    <a:pt x="14" y="78"/>
                  </a:lnTo>
                  <a:lnTo>
                    <a:pt x="6" y="106"/>
                  </a:lnTo>
                  <a:lnTo>
                    <a:pt x="2" y="122"/>
                  </a:lnTo>
                  <a:lnTo>
                    <a:pt x="0" y="138"/>
                  </a:lnTo>
                  <a:lnTo>
                    <a:pt x="0" y="154"/>
                  </a:lnTo>
                  <a:lnTo>
                    <a:pt x="0" y="170"/>
                  </a:lnTo>
                  <a:lnTo>
                    <a:pt x="0" y="17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05" name="Freeform 2083">
              <a:extLst>
                <a:ext uri="{FF2B5EF4-FFF2-40B4-BE49-F238E27FC236}">
                  <a16:creationId xmlns:a16="http://schemas.microsoft.com/office/drawing/2014/main" id="{0C31AECC-708A-4083-BB9D-9533D7F50212}"/>
                </a:ext>
              </a:extLst>
            </p:cNvPr>
            <p:cNvSpPr>
              <a:spLocks/>
            </p:cNvSpPr>
            <p:nvPr/>
          </p:nvSpPr>
          <p:spPr bwMode="auto">
            <a:xfrm>
              <a:off x="9203983" y="4862474"/>
              <a:ext cx="493125" cy="337683"/>
            </a:xfrm>
            <a:custGeom>
              <a:avLst/>
              <a:gdLst>
                <a:gd name="T0" fmla="*/ 94 w 276"/>
                <a:gd name="T1" fmla="*/ 26 h 189"/>
                <a:gd name="T2" fmla="*/ 94 w 276"/>
                <a:gd name="T3" fmla="*/ 26 h 189"/>
                <a:gd name="T4" fmla="*/ 110 w 276"/>
                <a:gd name="T5" fmla="*/ 18 h 189"/>
                <a:gd name="T6" fmla="*/ 124 w 276"/>
                <a:gd name="T7" fmla="*/ 12 h 189"/>
                <a:gd name="T8" fmla="*/ 140 w 276"/>
                <a:gd name="T9" fmla="*/ 6 h 189"/>
                <a:gd name="T10" fmla="*/ 156 w 276"/>
                <a:gd name="T11" fmla="*/ 4 h 189"/>
                <a:gd name="T12" fmla="*/ 186 w 276"/>
                <a:gd name="T13" fmla="*/ 0 h 189"/>
                <a:gd name="T14" fmla="*/ 214 w 276"/>
                <a:gd name="T15" fmla="*/ 0 h 189"/>
                <a:gd name="T16" fmla="*/ 238 w 276"/>
                <a:gd name="T17" fmla="*/ 2 h 189"/>
                <a:gd name="T18" fmla="*/ 258 w 276"/>
                <a:gd name="T19" fmla="*/ 6 h 189"/>
                <a:gd name="T20" fmla="*/ 276 w 276"/>
                <a:gd name="T21" fmla="*/ 10 h 189"/>
                <a:gd name="T22" fmla="*/ 276 w 276"/>
                <a:gd name="T23" fmla="*/ 10 h 189"/>
                <a:gd name="T24" fmla="*/ 272 w 276"/>
                <a:gd name="T25" fmla="*/ 28 h 189"/>
                <a:gd name="T26" fmla="*/ 266 w 276"/>
                <a:gd name="T27" fmla="*/ 46 h 189"/>
                <a:gd name="T28" fmla="*/ 256 w 276"/>
                <a:gd name="T29" fmla="*/ 70 h 189"/>
                <a:gd name="T30" fmla="*/ 244 w 276"/>
                <a:gd name="T31" fmla="*/ 96 h 189"/>
                <a:gd name="T32" fmla="*/ 228 w 276"/>
                <a:gd name="T33" fmla="*/ 120 h 189"/>
                <a:gd name="T34" fmla="*/ 218 w 276"/>
                <a:gd name="T35" fmla="*/ 133 h 189"/>
                <a:gd name="T36" fmla="*/ 206 w 276"/>
                <a:gd name="T37" fmla="*/ 143 h 189"/>
                <a:gd name="T38" fmla="*/ 194 w 276"/>
                <a:gd name="T39" fmla="*/ 155 h 189"/>
                <a:gd name="T40" fmla="*/ 180 w 276"/>
                <a:gd name="T41" fmla="*/ 165 h 189"/>
                <a:gd name="T42" fmla="*/ 180 w 276"/>
                <a:gd name="T43" fmla="*/ 165 h 189"/>
                <a:gd name="T44" fmla="*/ 166 w 276"/>
                <a:gd name="T45" fmla="*/ 171 h 189"/>
                <a:gd name="T46" fmla="*/ 152 w 276"/>
                <a:gd name="T47" fmla="*/ 179 h 189"/>
                <a:gd name="T48" fmla="*/ 136 w 276"/>
                <a:gd name="T49" fmla="*/ 183 h 189"/>
                <a:gd name="T50" fmla="*/ 120 w 276"/>
                <a:gd name="T51" fmla="*/ 187 h 189"/>
                <a:gd name="T52" fmla="*/ 90 w 276"/>
                <a:gd name="T53" fmla="*/ 189 h 189"/>
                <a:gd name="T54" fmla="*/ 62 w 276"/>
                <a:gd name="T55" fmla="*/ 189 h 189"/>
                <a:gd name="T56" fmla="*/ 36 w 276"/>
                <a:gd name="T57" fmla="*/ 187 h 189"/>
                <a:gd name="T58" fmla="*/ 18 w 276"/>
                <a:gd name="T59" fmla="*/ 183 h 189"/>
                <a:gd name="T60" fmla="*/ 0 w 276"/>
                <a:gd name="T61" fmla="*/ 179 h 189"/>
                <a:gd name="T62" fmla="*/ 0 w 276"/>
                <a:gd name="T63" fmla="*/ 179 h 189"/>
                <a:gd name="T64" fmla="*/ 4 w 276"/>
                <a:gd name="T65" fmla="*/ 161 h 189"/>
                <a:gd name="T66" fmla="*/ 10 w 276"/>
                <a:gd name="T67" fmla="*/ 143 h 189"/>
                <a:gd name="T68" fmla="*/ 18 w 276"/>
                <a:gd name="T69" fmla="*/ 120 h 189"/>
                <a:gd name="T70" fmla="*/ 32 w 276"/>
                <a:gd name="T71" fmla="*/ 96 h 189"/>
                <a:gd name="T72" fmla="*/ 48 w 276"/>
                <a:gd name="T73" fmla="*/ 70 h 189"/>
                <a:gd name="T74" fmla="*/ 58 w 276"/>
                <a:gd name="T75" fmla="*/ 58 h 189"/>
                <a:gd name="T76" fmla="*/ 68 w 276"/>
                <a:gd name="T77" fmla="*/ 46 h 189"/>
                <a:gd name="T78" fmla="*/ 82 w 276"/>
                <a:gd name="T79" fmla="*/ 34 h 189"/>
                <a:gd name="T80" fmla="*/ 94 w 276"/>
                <a:gd name="T81" fmla="*/ 26 h 189"/>
                <a:gd name="T82" fmla="*/ 94 w 276"/>
                <a:gd name="T83" fmla="*/ 26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76" h="189">
                  <a:moveTo>
                    <a:pt x="94" y="26"/>
                  </a:moveTo>
                  <a:lnTo>
                    <a:pt x="94" y="26"/>
                  </a:lnTo>
                  <a:lnTo>
                    <a:pt x="110" y="18"/>
                  </a:lnTo>
                  <a:lnTo>
                    <a:pt x="124" y="12"/>
                  </a:lnTo>
                  <a:lnTo>
                    <a:pt x="140" y="6"/>
                  </a:lnTo>
                  <a:lnTo>
                    <a:pt x="156" y="4"/>
                  </a:lnTo>
                  <a:lnTo>
                    <a:pt x="186" y="0"/>
                  </a:lnTo>
                  <a:lnTo>
                    <a:pt x="214" y="0"/>
                  </a:lnTo>
                  <a:lnTo>
                    <a:pt x="238" y="2"/>
                  </a:lnTo>
                  <a:lnTo>
                    <a:pt x="258" y="6"/>
                  </a:lnTo>
                  <a:lnTo>
                    <a:pt x="276" y="10"/>
                  </a:lnTo>
                  <a:lnTo>
                    <a:pt x="276" y="10"/>
                  </a:lnTo>
                  <a:lnTo>
                    <a:pt x="272" y="28"/>
                  </a:lnTo>
                  <a:lnTo>
                    <a:pt x="266" y="46"/>
                  </a:lnTo>
                  <a:lnTo>
                    <a:pt x="256" y="70"/>
                  </a:lnTo>
                  <a:lnTo>
                    <a:pt x="244" y="96"/>
                  </a:lnTo>
                  <a:lnTo>
                    <a:pt x="228" y="120"/>
                  </a:lnTo>
                  <a:lnTo>
                    <a:pt x="218" y="133"/>
                  </a:lnTo>
                  <a:lnTo>
                    <a:pt x="206" y="143"/>
                  </a:lnTo>
                  <a:lnTo>
                    <a:pt x="194" y="155"/>
                  </a:lnTo>
                  <a:lnTo>
                    <a:pt x="180" y="165"/>
                  </a:lnTo>
                  <a:lnTo>
                    <a:pt x="180" y="165"/>
                  </a:lnTo>
                  <a:lnTo>
                    <a:pt x="166" y="171"/>
                  </a:lnTo>
                  <a:lnTo>
                    <a:pt x="152" y="179"/>
                  </a:lnTo>
                  <a:lnTo>
                    <a:pt x="136" y="183"/>
                  </a:lnTo>
                  <a:lnTo>
                    <a:pt x="120" y="187"/>
                  </a:lnTo>
                  <a:lnTo>
                    <a:pt x="90" y="189"/>
                  </a:lnTo>
                  <a:lnTo>
                    <a:pt x="62" y="189"/>
                  </a:lnTo>
                  <a:lnTo>
                    <a:pt x="36" y="187"/>
                  </a:lnTo>
                  <a:lnTo>
                    <a:pt x="18" y="183"/>
                  </a:lnTo>
                  <a:lnTo>
                    <a:pt x="0" y="179"/>
                  </a:lnTo>
                  <a:lnTo>
                    <a:pt x="0" y="179"/>
                  </a:lnTo>
                  <a:lnTo>
                    <a:pt x="4" y="161"/>
                  </a:lnTo>
                  <a:lnTo>
                    <a:pt x="10" y="143"/>
                  </a:lnTo>
                  <a:lnTo>
                    <a:pt x="18" y="120"/>
                  </a:lnTo>
                  <a:lnTo>
                    <a:pt x="32" y="96"/>
                  </a:lnTo>
                  <a:lnTo>
                    <a:pt x="48" y="70"/>
                  </a:lnTo>
                  <a:lnTo>
                    <a:pt x="58" y="58"/>
                  </a:lnTo>
                  <a:lnTo>
                    <a:pt x="68" y="46"/>
                  </a:lnTo>
                  <a:lnTo>
                    <a:pt x="82" y="34"/>
                  </a:lnTo>
                  <a:lnTo>
                    <a:pt x="94" y="26"/>
                  </a:lnTo>
                  <a:lnTo>
                    <a:pt x="94" y="2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06" name="Freeform 2391">
              <a:extLst>
                <a:ext uri="{FF2B5EF4-FFF2-40B4-BE49-F238E27FC236}">
                  <a16:creationId xmlns:a16="http://schemas.microsoft.com/office/drawing/2014/main" id="{D21E20C9-10D1-44F7-A477-E9E76D33DCDE}"/>
                </a:ext>
              </a:extLst>
            </p:cNvPr>
            <p:cNvSpPr>
              <a:spLocks/>
            </p:cNvSpPr>
            <p:nvPr/>
          </p:nvSpPr>
          <p:spPr bwMode="auto">
            <a:xfrm>
              <a:off x="8986007" y="3468859"/>
              <a:ext cx="546725" cy="307310"/>
            </a:xfrm>
            <a:custGeom>
              <a:avLst/>
              <a:gdLst>
                <a:gd name="T0" fmla="*/ 180 w 306"/>
                <a:gd name="T1" fmla="*/ 8 h 172"/>
                <a:gd name="T2" fmla="*/ 180 w 306"/>
                <a:gd name="T3" fmla="*/ 8 h 172"/>
                <a:gd name="T4" fmla="*/ 196 w 306"/>
                <a:gd name="T5" fmla="*/ 14 h 172"/>
                <a:gd name="T6" fmla="*/ 210 w 306"/>
                <a:gd name="T7" fmla="*/ 22 h 172"/>
                <a:gd name="T8" fmla="*/ 222 w 306"/>
                <a:gd name="T9" fmla="*/ 32 h 172"/>
                <a:gd name="T10" fmla="*/ 236 w 306"/>
                <a:gd name="T11" fmla="*/ 42 h 172"/>
                <a:gd name="T12" fmla="*/ 256 w 306"/>
                <a:gd name="T13" fmla="*/ 62 h 172"/>
                <a:gd name="T14" fmla="*/ 274 w 306"/>
                <a:gd name="T15" fmla="*/ 86 h 172"/>
                <a:gd name="T16" fmla="*/ 288 w 306"/>
                <a:gd name="T17" fmla="*/ 106 h 172"/>
                <a:gd name="T18" fmla="*/ 298 w 306"/>
                <a:gd name="T19" fmla="*/ 124 h 172"/>
                <a:gd name="T20" fmla="*/ 306 w 306"/>
                <a:gd name="T21" fmla="*/ 140 h 172"/>
                <a:gd name="T22" fmla="*/ 306 w 306"/>
                <a:gd name="T23" fmla="*/ 140 h 172"/>
                <a:gd name="T24" fmla="*/ 290 w 306"/>
                <a:gd name="T25" fmla="*/ 148 h 172"/>
                <a:gd name="T26" fmla="*/ 272 w 306"/>
                <a:gd name="T27" fmla="*/ 154 h 172"/>
                <a:gd name="T28" fmla="*/ 248 w 306"/>
                <a:gd name="T29" fmla="*/ 162 h 172"/>
                <a:gd name="T30" fmla="*/ 220 w 306"/>
                <a:gd name="T31" fmla="*/ 168 h 172"/>
                <a:gd name="T32" fmla="*/ 190 w 306"/>
                <a:gd name="T33" fmla="*/ 172 h 172"/>
                <a:gd name="T34" fmla="*/ 174 w 306"/>
                <a:gd name="T35" fmla="*/ 172 h 172"/>
                <a:gd name="T36" fmla="*/ 158 w 306"/>
                <a:gd name="T37" fmla="*/ 170 h 172"/>
                <a:gd name="T38" fmla="*/ 142 w 306"/>
                <a:gd name="T39" fmla="*/ 168 h 172"/>
                <a:gd name="T40" fmla="*/ 126 w 306"/>
                <a:gd name="T41" fmla="*/ 164 h 172"/>
                <a:gd name="T42" fmla="*/ 126 w 306"/>
                <a:gd name="T43" fmla="*/ 164 h 172"/>
                <a:gd name="T44" fmla="*/ 110 w 306"/>
                <a:gd name="T45" fmla="*/ 156 h 172"/>
                <a:gd name="T46" fmla="*/ 96 w 306"/>
                <a:gd name="T47" fmla="*/ 150 h 172"/>
                <a:gd name="T48" fmla="*/ 82 w 306"/>
                <a:gd name="T49" fmla="*/ 140 h 172"/>
                <a:gd name="T50" fmla="*/ 70 w 306"/>
                <a:gd name="T51" fmla="*/ 130 h 172"/>
                <a:gd name="T52" fmla="*/ 48 w 306"/>
                <a:gd name="T53" fmla="*/ 108 h 172"/>
                <a:gd name="T54" fmla="*/ 30 w 306"/>
                <a:gd name="T55" fmla="*/ 86 h 172"/>
                <a:gd name="T56" fmla="*/ 18 w 306"/>
                <a:gd name="T57" fmla="*/ 66 h 172"/>
                <a:gd name="T58" fmla="*/ 8 w 306"/>
                <a:gd name="T59" fmla="*/ 48 h 172"/>
                <a:gd name="T60" fmla="*/ 0 w 306"/>
                <a:gd name="T61" fmla="*/ 32 h 172"/>
                <a:gd name="T62" fmla="*/ 0 w 306"/>
                <a:gd name="T63" fmla="*/ 32 h 172"/>
                <a:gd name="T64" fmla="*/ 16 w 306"/>
                <a:gd name="T65" fmla="*/ 24 h 172"/>
                <a:gd name="T66" fmla="*/ 34 w 306"/>
                <a:gd name="T67" fmla="*/ 16 h 172"/>
                <a:gd name="T68" fmla="*/ 58 w 306"/>
                <a:gd name="T69" fmla="*/ 10 h 172"/>
                <a:gd name="T70" fmla="*/ 86 w 306"/>
                <a:gd name="T71" fmla="*/ 2 h 172"/>
                <a:gd name="T72" fmla="*/ 116 w 306"/>
                <a:gd name="T73" fmla="*/ 0 h 172"/>
                <a:gd name="T74" fmla="*/ 132 w 306"/>
                <a:gd name="T75" fmla="*/ 0 h 172"/>
                <a:gd name="T76" fmla="*/ 148 w 306"/>
                <a:gd name="T77" fmla="*/ 0 h 172"/>
                <a:gd name="T78" fmla="*/ 164 w 306"/>
                <a:gd name="T79" fmla="*/ 4 h 172"/>
                <a:gd name="T80" fmla="*/ 180 w 306"/>
                <a:gd name="T81" fmla="*/ 8 h 172"/>
                <a:gd name="T82" fmla="*/ 180 w 306"/>
                <a:gd name="T83" fmla="*/ 8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06" h="172">
                  <a:moveTo>
                    <a:pt x="180" y="8"/>
                  </a:moveTo>
                  <a:lnTo>
                    <a:pt x="180" y="8"/>
                  </a:lnTo>
                  <a:lnTo>
                    <a:pt x="196" y="14"/>
                  </a:lnTo>
                  <a:lnTo>
                    <a:pt x="210" y="22"/>
                  </a:lnTo>
                  <a:lnTo>
                    <a:pt x="222" y="32"/>
                  </a:lnTo>
                  <a:lnTo>
                    <a:pt x="236" y="42"/>
                  </a:lnTo>
                  <a:lnTo>
                    <a:pt x="256" y="62"/>
                  </a:lnTo>
                  <a:lnTo>
                    <a:pt x="274" y="86"/>
                  </a:lnTo>
                  <a:lnTo>
                    <a:pt x="288" y="106"/>
                  </a:lnTo>
                  <a:lnTo>
                    <a:pt x="298" y="124"/>
                  </a:lnTo>
                  <a:lnTo>
                    <a:pt x="306" y="140"/>
                  </a:lnTo>
                  <a:lnTo>
                    <a:pt x="306" y="140"/>
                  </a:lnTo>
                  <a:lnTo>
                    <a:pt x="290" y="148"/>
                  </a:lnTo>
                  <a:lnTo>
                    <a:pt x="272" y="154"/>
                  </a:lnTo>
                  <a:lnTo>
                    <a:pt x="248" y="162"/>
                  </a:lnTo>
                  <a:lnTo>
                    <a:pt x="220" y="168"/>
                  </a:lnTo>
                  <a:lnTo>
                    <a:pt x="190" y="172"/>
                  </a:lnTo>
                  <a:lnTo>
                    <a:pt x="174" y="172"/>
                  </a:lnTo>
                  <a:lnTo>
                    <a:pt x="158" y="170"/>
                  </a:lnTo>
                  <a:lnTo>
                    <a:pt x="142" y="168"/>
                  </a:lnTo>
                  <a:lnTo>
                    <a:pt x="126" y="164"/>
                  </a:lnTo>
                  <a:lnTo>
                    <a:pt x="126" y="164"/>
                  </a:lnTo>
                  <a:lnTo>
                    <a:pt x="110" y="156"/>
                  </a:lnTo>
                  <a:lnTo>
                    <a:pt x="96" y="150"/>
                  </a:lnTo>
                  <a:lnTo>
                    <a:pt x="82" y="140"/>
                  </a:lnTo>
                  <a:lnTo>
                    <a:pt x="70" y="130"/>
                  </a:lnTo>
                  <a:lnTo>
                    <a:pt x="48" y="108"/>
                  </a:lnTo>
                  <a:lnTo>
                    <a:pt x="30" y="86"/>
                  </a:lnTo>
                  <a:lnTo>
                    <a:pt x="18" y="66"/>
                  </a:lnTo>
                  <a:lnTo>
                    <a:pt x="8" y="48"/>
                  </a:lnTo>
                  <a:lnTo>
                    <a:pt x="0" y="32"/>
                  </a:lnTo>
                  <a:lnTo>
                    <a:pt x="0" y="32"/>
                  </a:lnTo>
                  <a:lnTo>
                    <a:pt x="16" y="24"/>
                  </a:lnTo>
                  <a:lnTo>
                    <a:pt x="34" y="16"/>
                  </a:lnTo>
                  <a:lnTo>
                    <a:pt x="58" y="10"/>
                  </a:lnTo>
                  <a:lnTo>
                    <a:pt x="86" y="2"/>
                  </a:lnTo>
                  <a:lnTo>
                    <a:pt x="116" y="0"/>
                  </a:lnTo>
                  <a:lnTo>
                    <a:pt x="132" y="0"/>
                  </a:lnTo>
                  <a:lnTo>
                    <a:pt x="148" y="0"/>
                  </a:lnTo>
                  <a:lnTo>
                    <a:pt x="164" y="4"/>
                  </a:lnTo>
                  <a:lnTo>
                    <a:pt x="180" y="8"/>
                  </a:lnTo>
                  <a:lnTo>
                    <a:pt x="180" y="8"/>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07" name="Freeform 2367">
              <a:extLst>
                <a:ext uri="{FF2B5EF4-FFF2-40B4-BE49-F238E27FC236}">
                  <a16:creationId xmlns:a16="http://schemas.microsoft.com/office/drawing/2014/main" id="{4A9AAD08-8907-4547-96E1-D01CDAF1884A}"/>
                </a:ext>
              </a:extLst>
            </p:cNvPr>
            <p:cNvSpPr>
              <a:spLocks/>
            </p:cNvSpPr>
            <p:nvPr/>
          </p:nvSpPr>
          <p:spPr bwMode="auto">
            <a:xfrm>
              <a:off x="9196836" y="2854240"/>
              <a:ext cx="503845" cy="839742"/>
            </a:xfrm>
            <a:custGeom>
              <a:avLst/>
              <a:gdLst>
                <a:gd name="T0" fmla="*/ 142 w 282"/>
                <a:gd name="T1" fmla="*/ 424 h 470"/>
                <a:gd name="T2" fmla="*/ 112 w 282"/>
                <a:gd name="T3" fmla="*/ 422 h 470"/>
                <a:gd name="T4" fmla="*/ 86 w 282"/>
                <a:gd name="T5" fmla="*/ 410 h 470"/>
                <a:gd name="T6" fmla="*/ 50 w 282"/>
                <a:gd name="T7" fmla="*/ 368 h 470"/>
                <a:gd name="T8" fmla="*/ 38 w 282"/>
                <a:gd name="T9" fmla="*/ 328 h 470"/>
                <a:gd name="T10" fmla="*/ 42 w 282"/>
                <a:gd name="T11" fmla="*/ 290 h 470"/>
                <a:gd name="T12" fmla="*/ 62 w 282"/>
                <a:gd name="T13" fmla="*/ 256 h 470"/>
                <a:gd name="T14" fmla="*/ 92 w 282"/>
                <a:gd name="T15" fmla="*/ 226 h 470"/>
                <a:gd name="T16" fmla="*/ 138 w 282"/>
                <a:gd name="T17" fmla="*/ 192 h 470"/>
                <a:gd name="T18" fmla="*/ 150 w 282"/>
                <a:gd name="T19" fmla="*/ 176 h 470"/>
                <a:gd name="T20" fmla="*/ 156 w 282"/>
                <a:gd name="T21" fmla="*/ 156 h 470"/>
                <a:gd name="T22" fmla="*/ 150 w 282"/>
                <a:gd name="T23" fmla="*/ 138 h 470"/>
                <a:gd name="T24" fmla="*/ 136 w 282"/>
                <a:gd name="T25" fmla="*/ 120 h 470"/>
                <a:gd name="T26" fmla="*/ 118 w 282"/>
                <a:gd name="T27" fmla="*/ 116 h 470"/>
                <a:gd name="T28" fmla="*/ 104 w 282"/>
                <a:gd name="T29" fmla="*/ 118 h 470"/>
                <a:gd name="T30" fmla="*/ 82 w 282"/>
                <a:gd name="T31" fmla="*/ 132 h 470"/>
                <a:gd name="T32" fmla="*/ 76 w 282"/>
                <a:gd name="T33" fmla="*/ 150 h 470"/>
                <a:gd name="T34" fmla="*/ 78 w 282"/>
                <a:gd name="T35" fmla="*/ 184 h 470"/>
                <a:gd name="T36" fmla="*/ 6 w 282"/>
                <a:gd name="T37" fmla="*/ 204 h 470"/>
                <a:gd name="T38" fmla="*/ 0 w 282"/>
                <a:gd name="T39" fmla="*/ 158 h 470"/>
                <a:gd name="T40" fmla="*/ 8 w 282"/>
                <a:gd name="T41" fmla="*/ 118 h 470"/>
                <a:gd name="T42" fmla="*/ 42 w 282"/>
                <a:gd name="T43" fmla="*/ 76 h 470"/>
                <a:gd name="T44" fmla="*/ 98 w 282"/>
                <a:gd name="T45" fmla="*/ 0 h 470"/>
                <a:gd name="T46" fmla="*/ 126 w 282"/>
                <a:gd name="T47" fmla="*/ 52 h 470"/>
                <a:gd name="T48" fmla="*/ 156 w 282"/>
                <a:gd name="T49" fmla="*/ 56 h 470"/>
                <a:gd name="T50" fmla="*/ 182 w 282"/>
                <a:gd name="T51" fmla="*/ 66 h 470"/>
                <a:gd name="T52" fmla="*/ 218 w 282"/>
                <a:gd name="T53" fmla="*/ 110 h 470"/>
                <a:gd name="T54" fmla="*/ 228 w 282"/>
                <a:gd name="T55" fmla="*/ 144 h 470"/>
                <a:gd name="T56" fmla="*/ 226 w 282"/>
                <a:gd name="T57" fmla="*/ 186 h 470"/>
                <a:gd name="T58" fmla="*/ 204 w 282"/>
                <a:gd name="T59" fmla="*/ 224 h 470"/>
                <a:gd name="T60" fmla="*/ 174 w 282"/>
                <a:gd name="T61" fmla="*/ 252 h 470"/>
                <a:gd name="T62" fmla="*/ 130 w 282"/>
                <a:gd name="T63" fmla="*/ 284 h 470"/>
                <a:gd name="T64" fmla="*/ 118 w 282"/>
                <a:gd name="T65" fmla="*/ 300 h 470"/>
                <a:gd name="T66" fmla="*/ 112 w 282"/>
                <a:gd name="T67" fmla="*/ 322 h 470"/>
                <a:gd name="T68" fmla="*/ 118 w 282"/>
                <a:gd name="T69" fmla="*/ 338 h 470"/>
                <a:gd name="T70" fmla="*/ 134 w 282"/>
                <a:gd name="T71" fmla="*/ 356 h 470"/>
                <a:gd name="T72" fmla="*/ 152 w 282"/>
                <a:gd name="T73" fmla="*/ 360 h 470"/>
                <a:gd name="T74" fmla="*/ 162 w 282"/>
                <a:gd name="T75" fmla="*/ 358 h 470"/>
                <a:gd name="T76" fmla="*/ 182 w 282"/>
                <a:gd name="T77" fmla="*/ 352 h 470"/>
                <a:gd name="T78" fmla="*/ 204 w 282"/>
                <a:gd name="T79" fmla="*/ 334 h 470"/>
                <a:gd name="T80" fmla="*/ 208 w 282"/>
                <a:gd name="T81" fmla="*/ 314 h 470"/>
                <a:gd name="T82" fmla="*/ 204 w 282"/>
                <a:gd name="T83" fmla="*/ 282 h 470"/>
                <a:gd name="T84" fmla="*/ 278 w 282"/>
                <a:gd name="T85" fmla="*/ 272 h 470"/>
                <a:gd name="T86" fmla="*/ 278 w 282"/>
                <a:gd name="T87" fmla="*/ 338 h 470"/>
                <a:gd name="T88" fmla="*/ 262 w 282"/>
                <a:gd name="T89" fmla="*/ 374 h 470"/>
                <a:gd name="T90" fmla="*/ 212 w 282"/>
                <a:gd name="T91" fmla="*/ 410 h 470"/>
                <a:gd name="T92" fmla="*/ 160 w 282"/>
                <a:gd name="T93" fmla="*/ 424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2" h="470">
                  <a:moveTo>
                    <a:pt x="160" y="424"/>
                  </a:moveTo>
                  <a:lnTo>
                    <a:pt x="160" y="424"/>
                  </a:lnTo>
                  <a:lnTo>
                    <a:pt x="142" y="424"/>
                  </a:lnTo>
                  <a:lnTo>
                    <a:pt x="142" y="424"/>
                  </a:lnTo>
                  <a:lnTo>
                    <a:pt x="126" y="424"/>
                  </a:lnTo>
                  <a:lnTo>
                    <a:pt x="112" y="422"/>
                  </a:lnTo>
                  <a:lnTo>
                    <a:pt x="100" y="416"/>
                  </a:lnTo>
                  <a:lnTo>
                    <a:pt x="86" y="410"/>
                  </a:lnTo>
                  <a:lnTo>
                    <a:pt x="86" y="410"/>
                  </a:lnTo>
                  <a:lnTo>
                    <a:pt x="72" y="400"/>
                  </a:lnTo>
                  <a:lnTo>
                    <a:pt x="60" y="386"/>
                  </a:lnTo>
                  <a:lnTo>
                    <a:pt x="50" y="368"/>
                  </a:lnTo>
                  <a:lnTo>
                    <a:pt x="42" y="348"/>
                  </a:lnTo>
                  <a:lnTo>
                    <a:pt x="42" y="348"/>
                  </a:lnTo>
                  <a:lnTo>
                    <a:pt x="38" y="328"/>
                  </a:lnTo>
                  <a:lnTo>
                    <a:pt x="38" y="308"/>
                  </a:lnTo>
                  <a:lnTo>
                    <a:pt x="38" y="308"/>
                  </a:lnTo>
                  <a:lnTo>
                    <a:pt x="42" y="290"/>
                  </a:lnTo>
                  <a:lnTo>
                    <a:pt x="50" y="272"/>
                  </a:lnTo>
                  <a:lnTo>
                    <a:pt x="50" y="272"/>
                  </a:lnTo>
                  <a:lnTo>
                    <a:pt x="62" y="256"/>
                  </a:lnTo>
                  <a:lnTo>
                    <a:pt x="74" y="242"/>
                  </a:lnTo>
                  <a:lnTo>
                    <a:pt x="74" y="242"/>
                  </a:lnTo>
                  <a:lnTo>
                    <a:pt x="92" y="226"/>
                  </a:lnTo>
                  <a:lnTo>
                    <a:pt x="118" y="208"/>
                  </a:lnTo>
                  <a:lnTo>
                    <a:pt x="118" y="208"/>
                  </a:lnTo>
                  <a:lnTo>
                    <a:pt x="138" y="192"/>
                  </a:lnTo>
                  <a:lnTo>
                    <a:pt x="146" y="184"/>
                  </a:lnTo>
                  <a:lnTo>
                    <a:pt x="150" y="176"/>
                  </a:lnTo>
                  <a:lnTo>
                    <a:pt x="150" y="176"/>
                  </a:lnTo>
                  <a:lnTo>
                    <a:pt x="154" y="170"/>
                  </a:lnTo>
                  <a:lnTo>
                    <a:pt x="156" y="162"/>
                  </a:lnTo>
                  <a:lnTo>
                    <a:pt x="156" y="156"/>
                  </a:lnTo>
                  <a:lnTo>
                    <a:pt x="154" y="148"/>
                  </a:lnTo>
                  <a:lnTo>
                    <a:pt x="154" y="148"/>
                  </a:lnTo>
                  <a:lnTo>
                    <a:pt x="150" y="138"/>
                  </a:lnTo>
                  <a:lnTo>
                    <a:pt x="146" y="130"/>
                  </a:lnTo>
                  <a:lnTo>
                    <a:pt x="142" y="126"/>
                  </a:lnTo>
                  <a:lnTo>
                    <a:pt x="136" y="120"/>
                  </a:lnTo>
                  <a:lnTo>
                    <a:pt x="136" y="120"/>
                  </a:lnTo>
                  <a:lnTo>
                    <a:pt x="128" y="118"/>
                  </a:lnTo>
                  <a:lnTo>
                    <a:pt x="118" y="116"/>
                  </a:lnTo>
                  <a:lnTo>
                    <a:pt x="118" y="116"/>
                  </a:lnTo>
                  <a:lnTo>
                    <a:pt x="104" y="118"/>
                  </a:lnTo>
                  <a:lnTo>
                    <a:pt x="104" y="118"/>
                  </a:lnTo>
                  <a:lnTo>
                    <a:pt x="96" y="122"/>
                  </a:lnTo>
                  <a:lnTo>
                    <a:pt x="88" y="126"/>
                  </a:lnTo>
                  <a:lnTo>
                    <a:pt x="82" y="132"/>
                  </a:lnTo>
                  <a:lnTo>
                    <a:pt x="78" y="140"/>
                  </a:lnTo>
                  <a:lnTo>
                    <a:pt x="78" y="140"/>
                  </a:lnTo>
                  <a:lnTo>
                    <a:pt x="76" y="150"/>
                  </a:lnTo>
                  <a:lnTo>
                    <a:pt x="74" y="160"/>
                  </a:lnTo>
                  <a:lnTo>
                    <a:pt x="74" y="172"/>
                  </a:lnTo>
                  <a:lnTo>
                    <a:pt x="78" y="184"/>
                  </a:lnTo>
                  <a:lnTo>
                    <a:pt x="80" y="192"/>
                  </a:lnTo>
                  <a:lnTo>
                    <a:pt x="8" y="212"/>
                  </a:lnTo>
                  <a:lnTo>
                    <a:pt x="6" y="204"/>
                  </a:lnTo>
                  <a:lnTo>
                    <a:pt x="6" y="204"/>
                  </a:lnTo>
                  <a:lnTo>
                    <a:pt x="2" y="180"/>
                  </a:lnTo>
                  <a:lnTo>
                    <a:pt x="0" y="158"/>
                  </a:lnTo>
                  <a:lnTo>
                    <a:pt x="2" y="138"/>
                  </a:lnTo>
                  <a:lnTo>
                    <a:pt x="8" y="118"/>
                  </a:lnTo>
                  <a:lnTo>
                    <a:pt x="8" y="118"/>
                  </a:lnTo>
                  <a:lnTo>
                    <a:pt x="18" y="102"/>
                  </a:lnTo>
                  <a:lnTo>
                    <a:pt x="28" y="88"/>
                  </a:lnTo>
                  <a:lnTo>
                    <a:pt x="42" y="76"/>
                  </a:lnTo>
                  <a:lnTo>
                    <a:pt x="60" y="66"/>
                  </a:lnTo>
                  <a:lnTo>
                    <a:pt x="46" y="14"/>
                  </a:lnTo>
                  <a:lnTo>
                    <a:pt x="98" y="0"/>
                  </a:lnTo>
                  <a:lnTo>
                    <a:pt x="112" y="52"/>
                  </a:lnTo>
                  <a:lnTo>
                    <a:pt x="112" y="52"/>
                  </a:lnTo>
                  <a:lnTo>
                    <a:pt x="126" y="52"/>
                  </a:lnTo>
                  <a:lnTo>
                    <a:pt x="126" y="52"/>
                  </a:lnTo>
                  <a:lnTo>
                    <a:pt x="142" y="52"/>
                  </a:lnTo>
                  <a:lnTo>
                    <a:pt x="156" y="56"/>
                  </a:lnTo>
                  <a:lnTo>
                    <a:pt x="170" y="60"/>
                  </a:lnTo>
                  <a:lnTo>
                    <a:pt x="182" y="66"/>
                  </a:lnTo>
                  <a:lnTo>
                    <a:pt x="182" y="66"/>
                  </a:lnTo>
                  <a:lnTo>
                    <a:pt x="196" y="78"/>
                  </a:lnTo>
                  <a:lnTo>
                    <a:pt x="210" y="92"/>
                  </a:lnTo>
                  <a:lnTo>
                    <a:pt x="218" y="110"/>
                  </a:lnTo>
                  <a:lnTo>
                    <a:pt x="226" y="128"/>
                  </a:lnTo>
                  <a:lnTo>
                    <a:pt x="226" y="128"/>
                  </a:lnTo>
                  <a:lnTo>
                    <a:pt x="228" y="144"/>
                  </a:lnTo>
                  <a:lnTo>
                    <a:pt x="230" y="158"/>
                  </a:lnTo>
                  <a:lnTo>
                    <a:pt x="228" y="172"/>
                  </a:lnTo>
                  <a:lnTo>
                    <a:pt x="226" y="186"/>
                  </a:lnTo>
                  <a:lnTo>
                    <a:pt x="220" y="200"/>
                  </a:lnTo>
                  <a:lnTo>
                    <a:pt x="212" y="212"/>
                  </a:lnTo>
                  <a:lnTo>
                    <a:pt x="204" y="224"/>
                  </a:lnTo>
                  <a:lnTo>
                    <a:pt x="192" y="236"/>
                  </a:lnTo>
                  <a:lnTo>
                    <a:pt x="192" y="236"/>
                  </a:lnTo>
                  <a:lnTo>
                    <a:pt x="174" y="252"/>
                  </a:lnTo>
                  <a:lnTo>
                    <a:pt x="150" y="268"/>
                  </a:lnTo>
                  <a:lnTo>
                    <a:pt x="150" y="268"/>
                  </a:lnTo>
                  <a:lnTo>
                    <a:pt x="130" y="284"/>
                  </a:lnTo>
                  <a:lnTo>
                    <a:pt x="122" y="292"/>
                  </a:lnTo>
                  <a:lnTo>
                    <a:pt x="118" y="300"/>
                  </a:lnTo>
                  <a:lnTo>
                    <a:pt x="118" y="300"/>
                  </a:lnTo>
                  <a:lnTo>
                    <a:pt x="114" y="308"/>
                  </a:lnTo>
                  <a:lnTo>
                    <a:pt x="112" y="314"/>
                  </a:lnTo>
                  <a:lnTo>
                    <a:pt x="112" y="322"/>
                  </a:lnTo>
                  <a:lnTo>
                    <a:pt x="114" y="330"/>
                  </a:lnTo>
                  <a:lnTo>
                    <a:pt x="114" y="330"/>
                  </a:lnTo>
                  <a:lnTo>
                    <a:pt x="118" y="338"/>
                  </a:lnTo>
                  <a:lnTo>
                    <a:pt x="122" y="346"/>
                  </a:lnTo>
                  <a:lnTo>
                    <a:pt x="126" y="350"/>
                  </a:lnTo>
                  <a:lnTo>
                    <a:pt x="134" y="356"/>
                  </a:lnTo>
                  <a:lnTo>
                    <a:pt x="134" y="356"/>
                  </a:lnTo>
                  <a:lnTo>
                    <a:pt x="142" y="358"/>
                  </a:lnTo>
                  <a:lnTo>
                    <a:pt x="152" y="360"/>
                  </a:lnTo>
                  <a:lnTo>
                    <a:pt x="152" y="360"/>
                  </a:lnTo>
                  <a:lnTo>
                    <a:pt x="152" y="360"/>
                  </a:lnTo>
                  <a:lnTo>
                    <a:pt x="162" y="358"/>
                  </a:lnTo>
                  <a:lnTo>
                    <a:pt x="172" y="356"/>
                  </a:lnTo>
                  <a:lnTo>
                    <a:pt x="172" y="356"/>
                  </a:lnTo>
                  <a:lnTo>
                    <a:pt x="182" y="352"/>
                  </a:lnTo>
                  <a:lnTo>
                    <a:pt x="190" y="348"/>
                  </a:lnTo>
                  <a:lnTo>
                    <a:pt x="198" y="342"/>
                  </a:lnTo>
                  <a:lnTo>
                    <a:pt x="204" y="334"/>
                  </a:lnTo>
                  <a:lnTo>
                    <a:pt x="204" y="334"/>
                  </a:lnTo>
                  <a:lnTo>
                    <a:pt x="206" y="324"/>
                  </a:lnTo>
                  <a:lnTo>
                    <a:pt x="208" y="314"/>
                  </a:lnTo>
                  <a:lnTo>
                    <a:pt x="208" y="302"/>
                  </a:lnTo>
                  <a:lnTo>
                    <a:pt x="206" y="290"/>
                  </a:lnTo>
                  <a:lnTo>
                    <a:pt x="204" y="282"/>
                  </a:lnTo>
                  <a:lnTo>
                    <a:pt x="276" y="264"/>
                  </a:lnTo>
                  <a:lnTo>
                    <a:pt x="278" y="272"/>
                  </a:lnTo>
                  <a:lnTo>
                    <a:pt x="278" y="272"/>
                  </a:lnTo>
                  <a:lnTo>
                    <a:pt x="282" y="294"/>
                  </a:lnTo>
                  <a:lnTo>
                    <a:pt x="282" y="318"/>
                  </a:lnTo>
                  <a:lnTo>
                    <a:pt x="278" y="338"/>
                  </a:lnTo>
                  <a:lnTo>
                    <a:pt x="272" y="358"/>
                  </a:lnTo>
                  <a:lnTo>
                    <a:pt x="272" y="358"/>
                  </a:lnTo>
                  <a:lnTo>
                    <a:pt x="262" y="374"/>
                  </a:lnTo>
                  <a:lnTo>
                    <a:pt x="248" y="388"/>
                  </a:lnTo>
                  <a:lnTo>
                    <a:pt x="232" y="400"/>
                  </a:lnTo>
                  <a:lnTo>
                    <a:pt x="212" y="410"/>
                  </a:lnTo>
                  <a:lnTo>
                    <a:pt x="224" y="456"/>
                  </a:lnTo>
                  <a:lnTo>
                    <a:pt x="172" y="470"/>
                  </a:lnTo>
                  <a:lnTo>
                    <a:pt x="160" y="424"/>
                  </a:lnTo>
                  <a:close/>
                </a:path>
              </a:pathLst>
            </a:custGeom>
            <a:solidFill>
              <a:srgbClr val="FFD6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08" name="Freeform 2027">
              <a:extLst>
                <a:ext uri="{FF2B5EF4-FFF2-40B4-BE49-F238E27FC236}">
                  <a16:creationId xmlns:a16="http://schemas.microsoft.com/office/drawing/2014/main" id="{0E82BDB9-AAAB-4AC9-9131-C546026556AD}"/>
                </a:ext>
              </a:extLst>
            </p:cNvPr>
            <p:cNvSpPr>
              <a:spLocks/>
            </p:cNvSpPr>
            <p:nvPr/>
          </p:nvSpPr>
          <p:spPr bwMode="auto">
            <a:xfrm>
              <a:off x="9997271" y="3779743"/>
              <a:ext cx="450244" cy="375204"/>
            </a:xfrm>
            <a:custGeom>
              <a:avLst/>
              <a:gdLst>
                <a:gd name="T0" fmla="*/ 74 w 252"/>
                <a:gd name="T1" fmla="*/ 42 h 210"/>
                <a:gd name="T2" fmla="*/ 74 w 252"/>
                <a:gd name="T3" fmla="*/ 42 h 210"/>
                <a:gd name="T4" fmla="*/ 62 w 252"/>
                <a:gd name="T5" fmla="*/ 52 h 210"/>
                <a:gd name="T6" fmla="*/ 52 w 252"/>
                <a:gd name="T7" fmla="*/ 64 h 210"/>
                <a:gd name="T8" fmla="*/ 42 w 252"/>
                <a:gd name="T9" fmla="*/ 78 h 210"/>
                <a:gd name="T10" fmla="*/ 34 w 252"/>
                <a:gd name="T11" fmla="*/ 92 h 210"/>
                <a:gd name="T12" fmla="*/ 20 w 252"/>
                <a:gd name="T13" fmla="*/ 118 h 210"/>
                <a:gd name="T14" fmla="*/ 12 w 252"/>
                <a:gd name="T15" fmla="*/ 146 h 210"/>
                <a:gd name="T16" fmla="*/ 6 w 252"/>
                <a:gd name="T17" fmla="*/ 170 h 210"/>
                <a:gd name="T18" fmla="*/ 2 w 252"/>
                <a:gd name="T19" fmla="*/ 190 h 210"/>
                <a:gd name="T20" fmla="*/ 0 w 252"/>
                <a:gd name="T21" fmla="*/ 208 h 210"/>
                <a:gd name="T22" fmla="*/ 0 w 252"/>
                <a:gd name="T23" fmla="*/ 208 h 210"/>
                <a:gd name="T24" fmla="*/ 18 w 252"/>
                <a:gd name="T25" fmla="*/ 210 h 210"/>
                <a:gd name="T26" fmla="*/ 38 w 252"/>
                <a:gd name="T27" fmla="*/ 210 h 210"/>
                <a:gd name="T28" fmla="*/ 62 w 252"/>
                <a:gd name="T29" fmla="*/ 210 h 210"/>
                <a:gd name="T30" fmla="*/ 90 w 252"/>
                <a:gd name="T31" fmla="*/ 206 h 210"/>
                <a:gd name="T32" fmla="*/ 120 w 252"/>
                <a:gd name="T33" fmla="*/ 198 h 210"/>
                <a:gd name="T34" fmla="*/ 136 w 252"/>
                <a:gd name="T35" fmla="*/ 194 h 210"/>
                <a:gd name="T36" fmla="*/ 150 w 252"/>
                <a:gd name="T37" fmla="*/ 188 h 210"/>
                <a:gd name="T38" fmla="*/ 164 w 252"/>
                <a:gd name="T39" fmla="*/ 180 h 210"/>
                <a:gd name="T40" fmla="*/ 178 w 252"/>
                <a:gd name="T41" fmla="*/ 170 h 210"/>
                <a:gd name="T42" fmla="*/ 178 w 252"/>
                <a:gd name="T43" fmla="*/ 170 h 210"/>
                <a:gd name="T44" fmla="*/ 190 w 252"/>
                <a:gd name="T45" fmla="*/ 158 h 210"/>
                <a:gd name="T46" fmla="*/ 200 w 252"/>
                <a:gd name="T47" fmla="*/ 146 h 210"/>
                <a:gd name="T48" fmla="*/ 210 w 252"/>
                <a:gd name="T49" fmla="*/ 134 h 210"/>
                <a:gd name="T50" fmla="*/ 218 w 252"/>
                <a:gd name="T51" fmla="*/ 120 h 210"/>
                <a:gd name="T52" fmla="*/ 232 w 252"/>
                <a:gd name="T53" fmla="*/ 92 h 210"/>
                <a:gd name="T54" fmla="*/ 242 w 252"/>
                <a:gd name="T55" fmla="*/ 66 h 210"/>
                <a:gd name="T56" fmla="*/ 248 w 252"/>
                <a:gd name="T57" fmla="*/ 42 h 210"/>
                <a:gd name="T58" fmla="*/ 250 w 252"/>
                <a:gd name="T59" fmla="*/ 22 h 210"/>
                <a:gd name="T60" fmla="*/ 252 w 252"/>
                <a:gd name="T61" fmla="*/ 4 h 210"/>
                <a:gd name="T62" fmla="*/ 252 w 252"/>
                <a:gd name="T63" fmla="*/ 4 h 210"/>
                <a:gd name="T64" fmla="*/ 234 w 252"/>
                <a:gd name="T65" fmla="*/ 2 h 210"/>
                <a:gd name="T66" fmla="*/ 214 w 252"/>
                <a:gd name="T67" fmla="*/ 0 h 210"/>
                <a:gd name="T68" fmla="*/ 190 w 252"/>
                <a:gd name="T69" fmla="*/ 2 h 210"/>
                <a:gd name="T70" fmla="*/ 162 w 252"/>
                <a:gd name="T71" fmla="*/ 4 h 210"/>
                <a:gd name="T72" fmla="*/ 132 w 252"/>
                <a:gd name="T73" fmla="*/ 12 h 210"/>
                <a:gd name="T74" fmla="*/ 118 w 252"/>
                <a:gd name="T75" fmla="*/ 18 h 210"/>
                <a:gd name="T76" fmla="*/ 102 w 252"/>
                <a:gd name="T77" fmla="*/ 24 h 210"/>
                <a:gd name="T78" fmla="*/ 88 w 252"/>
                <a:gd name="T79" fmla="*/ 32 h 210"/>
                <a:gd name="T80" fmla="*/ 74 w 252"/>
                <a:gd name="T81" fmla="*/ 42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52" h="210">
                  <a:moveTo>
                    <a:pt x="74" y="42"/>
                  </a:moveTo>
                  <a:lnTo>
                    <a:pt x="74" y="42"/>
                  </a:lnTo>
                  <a:lnTo>
                    <a:pt x="62" y="52"/>
                  </a:lnTo>
                  <a:lnTo>
                    <a:pt x="52" y="64"/>
                  </a:lnTo>
                  <a:lnTo>
                    <a:pt x="42" y="78"/>
                  </a:lnTo>
                  <a:lnTo>
                    <a:pt x="34" y="92"/>
                  </a:lnTo>
                  <a:lnTo>
                    <a:pt x="20" y="118"/>
                  </a:lnTo>
                  <a:lnTo>
                    <a:pt x="12" y="146"/>
                  </a:lnTo>
                  <a:lnTo>
                    <a:pt x="6" y="170"/>
                  </a:lnTo>
                  <a:lnTo>
                    <a:pt x="2" y="190"/>
                  </a:lnTo>
                  <a:lnTo>
                    <a:pt x="0" y="208"/>
                  </a:lnTo>
                  <a:lnTo>
                    <a:pt x="0" y="208"/>
                  </a:lnTo>
                  <a:lnTo>
                    <a:pt x="18" y="210"/>
                  </a:lnTo>
                  <a:lnTo>
                    <a:pt x="38" y="210"/>
                  </a:lnTo>
                  <a:lnTo>
                    <a:pt x="62" y="210"/>
                  </a:lnTo>
                  <a:lnTo>
                    <a:pt x="90" y="206"/>
                  </a:lnTo>
                  <a:lnTo>
                    <a:pt x="120" y="198"/>
                  </a:lnTo>
                  <a:lnTo>
                    <a:pt x="136" y="194"/>
                  </a:lnTo>
                  <a:lnTo>
                    <a:pt x="150" y="188"/>
                  </a:lnTo>
                  <a:lnTo>
                    <a:pt x="164" y="180"/>
                  </a:lnTo>
                  <a:lnTo>
                    <a:pt x="178" y="170"/>
                  </a:lnTo>
                  <a:lnTo>
                    <a:pt x="178" y="170"/>
                  </a:lnTo>
                  <a:lnTo>
                    <a:pt x="190" y="158"/>
                  </a:lnTo>
                  <a:lnTo>
                    <a:pt x="200" y="146"/>
                  </a:lnTo>
                  <a:lnTo>
                    <a:pt x="210" y="134"/>
                  </a:lnTo>
                  <a:lnTo>
                    <a:pt x="218" y="120"/>
                  </a:lnTo>
                  <a:lnTo>
                    <a:pt x="232" y="92"/>
                  </a:lnTo>
                  <a:lnTo>
                    <a:pt x="242" y="66"/>
                  </a:lnTo>
                  <a:lnTo>
                    <a:pt x="248" y="42"/>
                  </a:lnTo>
                  <a:lnTo>
                    <a:pt x="250" y="22"/>
                  </a:lnTo>
                  <a:lnTo>
                    <a:pt x="252" y="4"/>
                  </a:lnTo>
                  <a:lnTo>
                    <a:pt x="252" y="4"/>
                  </a:lnTo>
                  <a:lnTo>
                    <a:pt x="234" y="2"/>
                  </a:lnTo>
                  <a:lnTo>
                    <a:pt x="214" y="0"/>
                  </a:lnTo>
                  <a:lnTo>
                    <a:pt x="190" y="2"/>
                  </a:lnTo>
                  <a:lnTo>
                    <a:pt x="162" y="4"/>
                  </a:lnTo>
                  <a:lnTo>
                    <a:pt x="132" y="12"/>
                  </a:lnTo>
                  <a:lnTo>
                    <a:pt x="118" y="18"/>
                  </a:lnTo>
                  <a:lnTo>
                    <a:pt x="102" y="24"/>
                  </a:lnTo>
                  <a:lnTo>
                    <a:pt x="88" y="32"/>
                  </a:lnTo>
                  <a:lnTo>
                    <a:pt x="74" y="42"/>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grpSp>
        <p:nvGrpSpPr>
          <p:cNvPr id="309" name="Group 309">
            <a:extLst>
              <a:ext uri="{FF2B5EF4-FFF2-40B4-BE49-F238E27FC236}">
                <a16:creationId xmlns:a16="http://schemas.microsoft.com/office/drawing/2014/main" id="{4826F966-57D4-4EE2-B7FD-B43AC59EBEB4}"/>
              </a:ext>
            </a:extLst>
          </p:cNvPr>
          <p:cNvGrpSpPr/>
          <p:nvPr/>
        </p:nvGrpSpPr>
        <p:grpSpPr>
          <a:xfrm>
            <a:off x="2076774" y="6077282"/>
            <a:ext cx="432378" cy="385432"/>
            <a:chOff x="2334111" y="6001082"/>
            <a:chExt cx="432378" cy="385432"/>
          </a:xfrm>
        </p:grpSpPr>
        <p:grpSp>
          <p:nvGrpSpPr>
            <p:cNvPr id="310" name="Group 310">
              <a:extLst>
                <a:ext uri="{FF2B5EF4-FFF2-40B4-BE49-F238E27FC236}">
                  <a16:creationId xmlns:a16="http://schemas.microsoft.com/office/drawing/2014/main" id="{91F8A976-8FBF-4210-A70A-D9C561BE1AA4}"/>
                </a:ext>
              </a:extLst>
            </p:cNvPr>
            <p:cNvGrpSpPr/>
            <p:nvPr/>
          </p:nvGrpSpPr>
          <p:grpSpPr>
            <a:xfrm>
              <a:off x="2411344" y="6001082"/>
              <a:ext cx="267767" cy="289444"/>
              <a:chOff x="4780152" y="4883913"/>
              <a:chExt cx="375204" cy="405578"/>
            </a:xfrm>
          </p:grpSpPr>
          <p:sp>
            <p:nvSpPr>
              <p:cNvPr id="312" name="Freeform 2302">
                <a:extLst>
                  <a:ext uri="{FF2B5EF4-FFF2-40B4-BE49-F238E27FC236}">
                    <a16:creationId xmlns:a16="http://schemas.microsoft.com/office/drawing/2014/main" id="{BDE9CBA5-53C5-4A5D-9D1B-AEFAA919C565}"/>
                  </a:ext>
                </a:extLst>
              </p:cNvPr>
              <p:cNvSpPr>
                <a:spLocks/>
              </p:cNvSpPr>
              <p:nvPr/>
            </p:nvSpPr>
            <p:spPr bwMode="auto">
              <a:xfrm>
                <a:off x="4858766" y="4891060"/>
                <a:ext cx="296590" cy="398431"/>
              </a:xfrm>
              <a:custGeom>
                <a:avLst/>
                <a:gdLst>
                  <a:gd name="T0" fmla="*/ 0 w 166"/>
                  <a:gd name="T1" fmla="*/ 203 h 223"/>
                  <a:gd name="T2" fmla="*/ 42 w 166"/>
                  <a:gd name="T3" fmla="*/ 219 h 223"/>
                  <a:gd name="T4" fmla="*/ 42 w 166"/>
                  <a:gd name="T5" fmla="*/ 219 h 223"/>
                  <a:gd name="T6" fmla="*/ 56 w 166"/>
                  <a:gd name="T7" fmla="*/ 223 h 223"/>
                  <a:gd name="T8" fmla="*/ 72 w 166"/>
                  <a:gd name="T9" fmla="*/ 223 h 223"/>
                  <a:gd name="T10" fmla="*/ 88 w 166"/>
                  <a:gd name="T11" fmla="*/ 219 h 223"/>
                  <a:gd name="T12" fmla="*/ 104 w 166"/>
                  <a:gd name="T13" fmla="*/ 211 h 223"/>
                  <a:gd name="T14" fmla="*/ 120 w 166"/>
                  <a:gd name="T15" fmla="*/ 201 h 223"/>
                  <a:gd name="T16" fmla="*/ 134 w 166"/>
                  <a:gd name="T17" fmla="*/ 185 h 223"/>
                  <a:gd name="T18" fmla="*/ 146 w 166"/>
                  <a:gd name="T19" fmla="*/ 169 h 223"/>
                  <a:gd name="T20" fmla="*/ 156 w 166"/>
                  <a:gd name="T21" fmla="*/ 149 h 223"/>
                  <a:gd name="T22" fmla="*/ 156 w 166"/>
                  <a:gd name="T23" fmla="*/ 149 h 223"/>
                  <a:gd name="T24" fmla="*/ 162 w 166"/>
                  <a:gd name="T25" fmla="*/ 127 h 223"/>
                  <a:gd name="T26" fmla="*/ 166 w 166"/>
                  <a:gd name="T27" fmla="*/ 107 h 223"/>
                  <a:gd name="T28" fmla="*/ 166 w 166"/>
                  <a:gd name="T29" fmla="*/ 88 h 223"/>
                  <a:gd name="T30" fmla="*/ 164 w 166"/>
                  <a:gd name="T31" fmla="*/ 68 h 223"/>
                  <a:gd name="T32" fmla="*/ 158 w 166"/>
                  <a:gd name="T33" fmla="*/ 52 h 223"/>
                  <a:gd name="T34" fmla="*/ 150 w 166"/>
                  <a:gd name="T35" fmla="*/ 38 h 223"/>
                  <a:gd name="T36" fmla="*/ 138 w 166"/>
                  <a:gd name="T37" fmla="*/ 26 h 223"/>
                  <a:gd name="T38" fmla="*/ 124 w 166"/>
                  <a:gd name="T39" fmla="*/ 18 h 223"/>
                  <a:gd name="T40" fmla="*/ 84 w 166"/>
                  <a:gd name="T41" fmla="*/ 0 h 223"/>
                  <a:gd name="T42" fmla="*/ 0 w 166"/>
                  <a:gd name="T43" fmla="*/ 203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66" h="223">
                    <a:moveTo>
                      <a:pt x="0" y="203"/>
                    </a:moveTo>
                    <a:lnTo>
                      <a:pt x="42" y="219"/>
                    </a:lnTo>
                    <a:lnTo>
                      <a:pt x="42" y="219"/>
                    </a:lnTo>
                    <a:lnTo>
                      <a:pt x="56" y="223"/>
                    </a:lnTo>
                    <a:lnTo>
                      <a:pt x="72" y="223"/>
                    </a:lnTo>
                    <a:lnTo>
                      <a:pt x="88" y="219"/>
                    </a:lnTo>
                    <a:lnTo>
                      <a:pt x="104" y="211"/>
                    </a:lnTo>
                    <a:lnTo>
                      <a:pt x="120" y="201"/>
                    </a:lnTo>
                    <a:lnTo>
                      <a:pt x="134" y="185"/>
                    </a:lnTo>
                    <a:lnTo>
                      <a:pt x="146" y="169"/>
                    </a:lnTo>
                    <a:lnTo>
                      <a:pt x="156" y="149"/>
                    </a:lnTo>
                    <a:lnTo>
                      <a:pt x="156" y="149"/>
                    </a:lnTo>
                    <a:lnTo>
                      <a:pt x="162" y="127"/>
                    </a:lnTo>
                    <a:lnTo>
                      <a:pt x="166" y="107"/>
                    </a:lnTo>
                    <a:lnTo>
                      <a:pt x="166" y="88"/>
                    </a:lnTo>
                    <a:lnTo>
                      <a:pt x="164" y="68"/>
                    </a:lnTo>
                    <a:lnTo>
                      <a:pt x="158" y="52"/>
                    </a:lnTo>
                    <a:lnTo>
                      <a:pt x="150" y="38"/>
                    </a:lnTo>
                    <a:lnTo>
                      <a:pt x="138" y="26"/>
                    </a:lnTo>
                    <a:lnTo>
                      <a:pt x="124" y="18"/>
                    </a:lnTo>
                    <a:lnTo>
                      <a:pt x="84" y="0"/>
                    </a:lnTo>
                    <a:lnTo>
                      <a:pt x="0" y="203"/>
                    </a:lnTo>
                    <a:close/>
                  </a:path>
                </a:pathLst>
              </a:custGeom>
              <a:solidFill>
                <a:srgbClr val="FF9F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13" name="Freeform 2304">
                <a:extLst>
                  <a:ext uri="{FF2B5EF4-FFF2-40B4-BE49-F238E27FC236}">
                    <a16:creationId xmlns:a16="http://schemas.microsoft.com/office/drawing/2014/main" id="{B859E62F-6AC5-4F25-B1B2-2906836C5D21}"/>
                  </a:ext>
                </a:extLst>
              </p:cNvPr>
              <p:cNvSpPr>
                <a:spLocks/>
              </p:cNvSpPr>
              <p:nvPr/>
            </p:nvSpPr>
            <p:spPr bwMode="auto">
              <a:xfrm>
                <a:off x="4780152" y="4883913"/>
                <a:ext cx="296590" cy="373418"/>
              </a:xfrm>
              <a:custGeom>
                <a:avLst/>
                <a:gdLst>
                  <a:gd name="T0" fmla="*/ 124 w 166"/>
                  <a:gd name="T1" fmla="*/ 4 h 209"/>
                  <a:gd name="T2" fmla="*/ 124 w 166"/>
                  <a:gd name="T3" fmla="*/ 4 h 209"/>
                  <a:gd name="T4" fmla="*/ 138 w 166"/>
                  <a:gd name="T5" fmla="*/ 12 h 209"/>
                  <a:gd name="T6" fmla="*/ 150 w 166"/>
                  <a:gd name="T7" fmla="*/ 22 h 209"/>
                  <a:gd name="T8" fmla="*/ 158 w 166"/>
                  <a:gd name="T9" fmla="*/ 38 h 209"/>
                  <a:gd name="T10" fmla="*/ 164 w 166"/>
                  <a:gd name="T11" fmla="*/ 54 h 209"/>
                  <a:gd name="T12" fmla="*/ 166 w 166"/>
                  <a:gd name="T13" fmla="*/ 74 h 209"/>
                  <a:gd name="T14" fmla="*/ 166 w 166"/>
                  <a:gd name="T15" fmla="*/ 94 h 209"/>
                  <a:gd name="T16" fmla="*/ 162 w 166"/>
                  <a:gd name="T17" fmla="*/ 113 h 209"/>
                  <a:gd name="T18" fmla="*/ 156 w 166"/>
                  <a:gd name="T19" fmla="*/ 133 h 209"/>
                  <a:gd name="T20" fmla="*/ 156 w 166"/>
                  <a:gd name="T21" fmla="*/ 133 h 209"/>
                  <a:gd name="T22" fmla="*/ 146 w 166"/>
                  <a:gd name="T23" fmla="*/ 153 h 209"/>
                  <a:gd name="T24" fmla="*/ 134 w 166"/>
                  <a:gd name="T25" fmla="*/ 171 h 209"/>
                  <a:gd name="T26" fmla="*/ 120 w 166"/>
                  <a:gd name="T27" fmla="*/ 185 h 209"/>
                  <a:gd name="T28" fmla="*/ 104 w 166"/>
                  <a:gd name="T29" fmla="*/ 197 h 209"/>
                  <a:gd name="T30" fmla="*/ 88 w 166"/>
                  <a:gd name="T31" fmla="*/ 205 h 209"/>
                  <a:gd name="T32" fmla="*/ 72 w 166"/>
                  <a:gd name="T33" fmla="*/ 209 h 209"/>
                  <a:gd name="T34" fmla="*/ 56 w 166"/>
                  <a:gd name="T35" fmla="*/ 209 h 209"/>
                  <a:gd name="T36" fmla="*/ 42 w 166"/>
                  <a:gd name="T37" fmla="*/ 205 h 209"/>
                  <a:gd name="T38" fmla="*/ 42 w 166"/>
                  <a:gd name="T39" fmla="*/ 205 h 209"/>
                  <a:gd name="T40" fmla="*/ 28 w 166"/>
                  <a:gd name="T41" fmla="*/ 197 h 209"/>
                  <a:gd name="T42" fmla="*/ 16 w 166"/>
                  <a:gd name="T43" fmla="*/ 185 h 209"/>
                  <a:gd name="T44" fmla="*/ 8 w 166"/>
                  <a:gd name="T45" fmla="*/ 171 h 209"/>
                  <a:gd name="T46" fmla="*/ 2 w 166"/>
                  <a:gd name="T47" fmla="*/ 153 h 209"/>
                  <a:gd name="T48" fmla="*/ 0 w 166"/>
                  <a:gd name="T49" fmla="*/ 135 h 209"/>
                  <a:gd name="T50" fmla="*/ 0 w 166"/>
                  <a:gd name="T51" fmla="*/ 115 h 209"/>
                  <a:gd name="T52" fmla="*/ 4 w 166"/>
                  <a:gd name="T53" fmla="*/ 96 h 209"/>
                  <a:gd name="T54" fmla="*/ 10 w 166"/>
                  <a:gd name="T55" fmla="*/ 74 h 209"/>
                  <a:gd name="T56" fmla="*/ 10 w 166"/>
                  <a:gd name="T57" fmla="*/ 74 h 209"/>
                  <a:gd name="T58" fmla="*/ 20 w 166"/>
                  <a:gd name="T59" fmla="*/ 54 h 209"/>
                  <a:gd name="T60" fmla="*/ 32 w 166"/>
                  <a:gd name="T61" fmla="*/ 38 h 209"/>
                  <a:gd name="T62" fmla="*/ 46 w 166"/>
                  <a:gd name="T63" fmla="*/ 22 h 209"/>
                  <a:gd name="T64" fmla="*/ 62 w 166"/>
                  <a:gd name="T65" fmla="*/ 12 h 209"/>
                  <a:gd name="T66" fmla="*/ 78 w 166"/>
                  <a:gd name="T67" fmla="*/ 4 h 209"/>
                  <a:gd name="T68" fmla="*/ 94 w 166"/>
                  <a:gd name="T69" fmla="*/ 0 h 209"/>
                  <a:gd name="T70" fmla="*/ 110 w 166"/>
                  <a:gd name="T71" fmla="*/ 0 h 209"/>
                  <a:gd name="T72" fmla="*/ 124 w 166"/>
                  <a:gd name="T73" fmla="*/ 4 h 209"/>
                  <a:gd name="T74" fmla="*/ 124 w 166"/>
                  <a:gd name="T75" fmla="*/ 4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66" h="209">
                    <a:moveTo>
                      <a:pt x="124" y="4"/>
                    </a:moveTo>
                    <a:lnTo>
                      <a:pt x="124" y="4"/>
                    </a:lnTo>
                    <a:lnTo>
                      <a:pt x="138" y="12"/>
                    </a:lnTo>
                    <a:lnTo>
                      <a:pt x="150" y="22"/>
                    </a:lnTo>
                    <a:lnTo>
                      <a:pt x="158" y="38"/>
                    </a:lnTo>
                    <a:lnTo>
                      <a:pt x="164" y="54"/>
                    </a:lnTo>
                    <a:lnTo>
                      <a:pt x="166" y="74"/>
                    </a:lnTo>
                    <a:lnTo>
                      <a:pt x="166" y="94"/>
                    </a:lnTo>
                    <a:lnTo>
                      <a:pt x="162" y="113"/>
                    </a:lnTo>
                    <a:lnTo>
                      <a:pt x="156" y="133"/>
                    </a:lnTo>
                    <a:lnTo>
                      <a:pt x="156" y="133"/>
                    </a:lnTo>
                    <a:lnTo>
                      <a:pt x="146" y="153"/>
                    </a:lnTo>
                    <a:lnTo>
                      <a:pt x="134" y="171"/>
                    </a:lnTo>
                    <a:lnTo>
                      <a:pt x="120" y="185"/>
                    </a:lnTo>
                    <a:lnTo>
                      <a:pt x="104" y="197"/>
                    </a:lnTo>
                    <a:lnTo>
                      <a:pt x="88" y="205"/>
                    </a:lnTo>
                    <a:lnTo>
                      <a:pt x="72" y="209"/>
                    </a:lnTo>
                    <a:lnTo>
                      <a:pt x="56" y="209"/>
                    </a:lnTo>
                    <a:lnTo>
                      <a:pt x="42" y="205"/>
                    </a:lnTo>
                    <a:lnTo>
                      <a:pt x="42" y="205"/>
                    </a:lnTo>
                    <a:lnTo>
                      <a:pt x="28" y="197"/>
                    </a:lnTo>
                    <a:lnTo>
                      <a:pt x="16" y="185"/>
                    </a:lnTo>
                    <a:lnTo>
                      <a:pt x="8" y="171"/>
                    </a:lnTo>
                    <a:lnTo>
                      <a:pt x="2" y="153"/>
                    </a:lnTo>
                    <a:lnTo>
                      <a:pt x="0" y="135"/>
                    </a:lnTo>
                    <a:lnTo>
                      <a:pt x="0" y="115"/>
                    </a:lnTo>
                    <a:lnTo>
                      <a:pt x="4" y="96"/>
                    </a:lnTo>
                    <a:lnTo>
                      <a:pt x="10" y="74"/>
                    </a:lnTo>
                    <a:lnTo>
                      <a:pt x="10" y="74"/>
                    </a:lnTo>
                    <a:lnTo>
                      <a:pt x="20" y="54"/>
                    </a:lnTo>
                    <a:lnTo>
                      <a:pt x="32" y="38"/>
                    </a:lnTo>
                    <a:lnTo>
                      <a:pt x="46" y="22"/>
                    </a:lnTo>
                    <a:lnTo>
                      <a:pt x="62" y="12"/>
                    </a:lnTo>
                    <a:lnTo>
                      <a:pt x="78" y="4"/>
                    </a:lnTo>
                    <a:lnTo>
                      <a:pt x="94" y="0"/>
                    </a:lnTo>
                    <a:lnTo>
                      <a:pt x="110" y="0"/>
                    </a:lnTo>
                    <a:lnTo>
                      <a:pt x="124" y="4"/>
                    </a:lnTo>
                    <a:lnTo>
                      <a:pt x="124" y="4"/>
                    </a:lnTo>
                    <a:close/>
                  </a:path>
                </a:pathLst>
              </a:custGeom>
              <a:solidFill>
                <a:srgbClr val="FFD6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sp>
          <p:nvSpPr>
            <p:cNvPr id="311" name="Freeform 1797">
              <a:extLst>
                <a:ext uri="{FF2B5EF4-FFF2-40B4-BE49-F238E27FC236}">
                  <a16:creationId xmlns:a16="http://schemas.microsoft.com/office/drawing/2014/main" id="{6C7053DC-26B3-4CB4-A3BA-4252686A91AA}"/>
                </a:ext>
              </a:extLst>
            </p:cNvPr>
            <p:cNvSpPr>
              <a:spLocks/>
            </p:cNvSpPr>
            <p:nvPr/>
          </p:nvSpPr>
          <p:spPr bwMode="auto">
            <a:xfrm>
              <a:off x="2334111" y="6218566"/>
              <a:ext cx="432378" cy="167948"/>
            </a:xfrm>
            <a:custGeom>
              <a:avLst/>
              <a:gdLst>
                <a:gd name="T0" fmla="*/ 0 w 242"/>
                <a:gd name="T1" fmla="*/ 94 h 94"/>
                <a:gd name="T2" fmla="*/ 242 w 242"/>
                <a:gd name="T3" fmla="*/ 94 h 94"/>
                <a:gd name="T4" fmla="*/ 242 w 242"/>
                <a:gd name="T5" fmla="*/ 94 h 94"/>
                <a:gd name="T6" fmla="*/ 240 w 242"/>
                <a:gd name="T7" fmla="*/ 74 h 94"/>
                <a:gd name="T8" fmla="*/ 234 w 242"/>
                <a:gd name="T9" fmla="*/ 56 h 94"/>
                <a:gd name="T10" fmla="*/ 226 w 242"/>
                <a:gd name="T11" fmla="*/ 42 h 94"/>
                <a:gd name="T12" fmla="*/ 214 w 242"/>
                <a:gd name="T13" fmla="*/ 28 h 94"/>
                <a:gd name="T14" fmla="*/ 202 w 242"/>
                <a:gd name="T15" fmla="*/ 16 h 94"/>
                <a:gd name="T16" fmla="*/ 186 w 242"/>
                <a:gd name="T17" fmla="*/ 8 h 94"/>
                <a:gd name="T18" fmla="*/ 168 w 242"/>
                <a:gd name="T19" fmla="*/ 2 h 94"/>
                <a:gd name="T20" fmla="*/ 150 w 242"/>
                <a:gd name="T21" fmla="*/ 0 h 94"/>
                <a:gd name="T22" fmla="*/ 92 w 242"/>
                <a:gd name="T23" fmla="*/ 0 h 94"/>
                <a:gd name="T24" fmla="*/ 92 w 242"/>
                <a:gd name="T25" fmla="*/ 0 h 94"/>
                <a:gd name="T26" fmla="*/ 74 w 242"/>
                <a:gd name="T27" fmla="*/ 2 h 94"/>
                <a:gd name="T28" fmla="*/ 56 w 242"/>
                <a:gd name="T29" fmla="*/ 8 h 94"/>
                <a:gd name="T30" fmla="*/ 40 w 242"/>
                <a:gd name="T31" fmla="*/ 16 h 94"/>
                <a:gd name="T32" fmla="*/ 26 w 242"/>
                <a:gd name="T33" fmla="*/ 28 h 94"/>
                <a:gd name="T34" fmla="*/ 14 w 242"/>
                <a:gd name="T35" fmla="*/ 42 h 94"/>
                <a:gd name="T36" fmla="*/ 6 w 242"/>
                <a:gd name="T37" fmla="*/ 56 h 94"/>
                <a:gd name="T38" fmla="*/ 0 w 242"/>
                <a:gd name="T39" fmla="*/ 74 h 94"/>
                <a:gd name="T40" fmla="*/ 0 w 242"/>
                <a:gd name="T41" fmla="*/ 94 h 94"/>
                <a:gd name="T42" fmla="*/ 0 w 242"/>
                <a:gd name="T43" fmla="*/ 94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2" h="94">
                  <a:moveTo>
                    <a:pt x="0" y="94"/>
                  </a:moveTo>
                  <a:lnTo>
                    <a:pt x="242" y="94"/>
                  </a:lnTo>
                  <a:lnTo>
                    <a:pt x="242" y="94"/>
                  </a:lnTo>
                  <a:lnTo>
                    <a:pt x="240" y="74"/>
                  </a:lnTo>
                  <a:lnTo>
                    <a:pt x="234" y="56"/>
                  </a:lnTo>
                  <a:lnTo>
                    <a:pt x="226" y="42"/>
                  </a:lnTo>
                  <a:lnTo>
                    <a:pt x="214" y="28"/>
                  </a:lnTo>
                  <a:lnTo>
                    <a:pt x="202" y="16"/>
                  </a:lnTo>
                  <a:lnTo>
                    <a:pt x="186" y="8"/>
                  </a:lnTo>
                  <a:lnTo>
                    <a:pt x="168" y="2"/>
                  </a:lnTo>
                  <a:lnTo>
                    <a:pt x="150" y="0"/>
                  </a:lnTo>
                  <a:lnTo>
                    <a:pt x="92" y="0"/>
                  </a:lnTo>
                  <a:lnTo>
                    <a:pt x="92" y="0"/>
                  </a:lnTo>
                  <a:lnTo>
                    <a:pt x="74" y="2"/>
                  </a:lnTo>
                  <a:lnTo>
                    <a:pt x="56" y="8"/>
                  </a:lnTo>
                  <a:lnTo>
                    <a:pt x="40" y="16"/>
                  </a:lnTo>
                  <a:lnTo>
                    <a:pt x="26" y="28"/>
                  </a:lnTo>
                  <a:lnTo>
                    <a:pt x="14" y="42"/>
                  </a:lnTo>
                  <a:lnTo>
                    <a:pt x="6" y="56"/>
                  </a:lnTo>
                  <a:lnTo>
                    <a:pt x="0" y="74"/>
                  </a:lnTo>
                  <a:lnTo>
                    <a:pt x="0" y="94"/>
                  </a:lnTo>
                  <a:lnTo>
                    <a:pt x="0" y="94"/>
                  </a:lnTo>
                  <a:close/>
                </a:path>
              </a:pathLst>
            </a:custGeom>
            <a:solidFill>
              <a:srgbClr val="764C24"/>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sp>
        <p:nvSpPr>
          <p:cNvPr id="314" name="Isosceles Triangle 314">
            <a:extLst>
              <a:ext uri="{FF2B5EF4-FFF2-40B4-BE49-F238E27FC236}">
                <a16:creationId xmlns:a16="http://schemas.microsoft.com/office/drawing/2014/main" id="{CC0D1932-5781-4448-8D93-D4F14920A66C}"/>
              </a:ext>
            </a:extLst>
          </p:cNvPr>
          <p:cNvSpPr/>
          <p:nvPr/>
        </p:nvSpPr>
        <p:spPr>
          <a:xfrm rot="18186282">
            <a:off x="2709926" y="3883920"/>
            <a:ext cx="1300522" cy="1271376"/>
          </a:xfrm>
          <a:prstGeom prst="triangle">
            <a:avLst/>
          </a:prstGeom>
          <a:gradFill>
            <a:gsLst>
              <a:gs pos="0">
                <a:schemeClr val="accent5">
                  <a:alpha val="40000"/>
                </a:schemeClr>
              </a:gs>
              <a:gs pos="100000">
                <a:schemeClr val="accent5">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等线" panose="020F0502020204030204"/>
              <a:ea typeface="+mn-ea"/>
              <a:cs typeface="+mn-cs"/>
            </a:endParaRPr>
          </a:p>
        </p:txBody>
      </p:sp>
      <p:grpSp>
        <p:nvGrpSpPr>
          <p:cNvPr id="315" name="Group 315">
            <a:extLst>
              <a:ext uri="{FF2B5EF4-FFF2-40B4-BE49-F238E27FC236}">
                <a16:creationId xmlns:a16="http://schemas.microsoft.com/office/drawing/2014/main" id="{7FDA93FC-2F2A-4E8D-9F37-98B66C4949B0}"/>
              </a:ext>
            </a:extLst>
          </p:cNvPr>
          <p:cNvGrpSpPr/>
          <p:nvPr/>
        </p:nvGrpSpPr>
        <p:grpSpPr>
          <a:xfrm>
            <a:off x="-768594" y="2490034"/>
            <a:ext cx="3533049" cy="3008537"/>
            <a:chOff x="-768594" y="2490034"/>
            <a:chExt cx="3533049" cy="3008537"/>
          </a:xfrm>
        </p:grpSpPr>
        <p:grpSp>
          <p:nvGrpSpPr>
            <p:cNvPr id="316" name="Group 316">
              <a:extLst>
                <a:ext uri="{FF2B5EF4-FFF2-40B4-BE49-F238E27FC236}">
                  <a16:creationId xmlns:a16="http://schemas.microsoft.com/office/drawing/2014/main" id="{ED72DE6A-9853-461E-9B29-8D1DCCEFC49B}"/>
                </a:ext>
              </a:extLst>
            </p:cNvPr>
            <p:cNvGrpSpPr/>
            <p:nvPr/>
          </p:nvGrpSpPr>
          <p:grpSpPr>
            <a:xfrm rot="20886282">
              <a:off x="970188" y="4209401"/>
              <a:ext cx="1249394" cy="1289170"/>
              <a:chOff x="5835420" y="2962363"/>
              <a:chExt cx="1249394" cy="1289170"/>
            </a:xfrm>
          </p:grpSpPr>
          <p:sp>
            <p:nvSpPr>
              <p:cNvPr id="340" name="Freeform 47">
                <a:extLst>
                  <a:ext uri="{FF2B5EF4-FFF2-40B4-BE49-F238E27FC236}">
                    <a16:creationId xmlns:a16="http://schemas.microsoft.com/office/drawing/2014/main" id="{95A22E4C-5687-4EB6-95DE-1E757A62DDAB}"/>
                  </a:ext>
                </a:extLst>
              </p:cNvPr>
              <p:cNvSpPr>
                <a:spLocks/>
              </p:cNvSpPr>
              <p:nvPr/>
            </p:nvSpPr>
            <p:spPr bwMode="auto">
              <a:xfrm>
                <a:off x="5835420" y="2962363"/>
                <a:ext cx="1249394" cy="1289170"/>
              </a:xfrm>
              <a:custGeom>
                <a:avLst/>
                <a:gdLst>
                  <a:gd name="T0" fmla="*/ 52 w 534"/>
                  <a:gd name="T1" fmla="*/ 244 h 551"/>
                  <a:gd name="T2" fmla="*/ 52 w 534"/>
                  <a:gd name="T3" fmla="*/ 244 h 551"/>
                  <a:gd name="T4" fmla="*/ 38 w 534"/>
                  <a:gd name="T5" fmla="*/ 262 h 551"/>
                  <a:gd name="T6" fmla="*/ 26 w 534"/>
                  <a:gd name="T7" fmla="*/ 280 h 551"/>
                  <a:gd name="T8" fmla="*/ 16 w 534"/>
                  <a:gd name="T9" fmla="*/ 298 h 551"/>
                  <a:gd name="T10" fmla="*/ 8 w 534"/>
                  <a:gd name="T11" fmla="*/ 318 h 551"/>
                  <a:gd name="T12" fmla="*/ 2 w 534"/>
                  <a:gd name="T13" fmla="*/ 340 h 551"/>
                  <a:gd name="T14" fmla="*/ 0 w 534"/>
                  <a:gd name="T15" fmla="*/ 360 h 551"/>
                  <a:gd name="T16" fmla="*/ 0 w 534"/>
                  <a:gd name="T17" fmla="*/ 382 h 551"/>
                  <a:gd name="T18" fmla="*/ 4 w 534"/>
                  <a:gd name="T19" fmla="*/ 402 h 551"/>
                  <a:gd name="T20" fmla="*/ 4 w 534"/>
                  <a:gd name="T21" fmla="*/ 402 h 551"/>
                  <a:gd name="T22" fmla="*/ 0 w 534"/>
                  <a:gd name="T23" fmla="*/ 408 h 551"/>
                  <a:gd name="T24" fmla="*/ 0 w 534"/>
                  <a:gd name="T25" fmla="*/ 416 h 551"/>
                  <a:gd name="T26" fmla="*/ 0 w 534"/>
                  <a:gd name="T27" fmla="*/ 422 h 551"/>
                  <a:gd name="T28" fmla="*/ 4 w 534"/>
                  <a:gd name="T29" fmla="*/ 428 h 551"/>
                  <a:gd name="T30" fmla="*/ 130 w 534"/>
                  <a:gd name="T31" fmla="*/ 545 h 551"/>
                  <a:gd name="T32" fmla="*/ 130 w 534"/>
                  <a:gd name="T33" fmla="*/ 545 h 551"/>
                  <a:gd name="T34" fmla="*/ 136 w 534"/>
                  <a:gd name="T35" fmla="*/ 549 h 551"/>
                  <a:gd name="T36" fmla="*/ 144 w 534"/>
                  <a:gd name="T37" fmla="*/ 551 h 551"/>
                  <a:gd name="T38" fmla="*/ 150 w 534"/>
                  <a:gd name="T39" fmla="*/ 549 h 551"/>
                  <a:gd name="T40" fmla="*/ 156 w 534"/>
                  <a:gd name="T41" fmla="*/ 545 h 551"/>
                  <a:gd name="T42" fmla="*/ 156 w 534"/>
                  <a:gd name="T43" fmla="*/ 545 h 551"/>
                  <a:gd name="T44" fmla="*/ 178 w 534"/>
                  <a:gd name="T45" fmla="*/ 547 h 551"/>
                  <a:gd name="T46" fmla="*/ 178 w 534"/>
                  <a:gd name="T47" fmla="*/ 547 h 551"/>
                  <a:gd name="T48" fmla="*/ 196 w 534"/>
                  <a:gd name="T49" fmla="*/ 547 h 551"/>
                  <a:gd name="T50" fmla="*/ 214 w 534"/>
                  <a:gd name="T51" fmla="*/ 543 h 551"/>
                  <a:gd name="T52" fmla="*/ 232 w 534"/>
                  <a:gd name="T53" fmla="*/ 539 h 551"/>
                  <a:gd name="T54" fmla="*/ 250 w 534"/>
                  <a:gd name="T55" fmla="*/ 533 h 551"/>
                  <a:gd name="T56" fmla="*/ 266 w 534"/>
                  <a:gd name="T57" fmla="*/ 523 h 551"/>
                  <a:gd name="T58" fmla="*/ 282 w 534"/>
                  <a:gd name="T59" fmla="*/ 514 h 551"/>
                  <a:gd name="T60" fmla="*/ 298 w 534"/>
                  <a:gd name="T61" fmla="*/ 502 h 551"/>
                  <a:gd name="T62" fmla="*/ 312 w 534"/>
                  <a:gd name="T63" fmla="*/ 488 h 551"/>
                  <a:gd name="T64" fmla="*/ 312 w 534"/>
                  <a:gd name="T65" fmla="*/ 488 h 551"/>
                  <a:gd name="T66" fmla="*/ 324 w 534"/>
                  <a:gd name="T67" fmla="*/ 474 h 551"/>
                  <a:gd name="T68" fmla="*/ 336 w 534"/>
                  <a:gd name="T69" fmla="*/ 454 h 551"/>
                  <a:gd name="T70" fmla="*/ 370 w 534"/>
                  <a:gd name="T71" fmla="*/ 402 h 551"/>
                  <a:gd name="T72" fmla="*/ 406 w 534"/>
                  <a:gd name="T73" fmla="*/ 336 h 551"/>
                  <a:gd name="T74" fmla="*/ 442 w 534"/>
                  <a:gd name="T75" fmla="*/ 268 h 551"/>
                  <a:gd name="T76" fmla="*/ 506 w 534"/>
                  <a:gd name="T77" fmla="*/ 144 h 551"/>
                  <a:gd name="T78" fmla="*/ 534 w 534"/>
                  <a:gd name="T79" fmla="*/ 88 h 551"/>
                  <a:gd name="T80" fmla="*/ 438 w 534"/>
                  <a:gd name="T81" fmla="*/ 0 h 551"/>
                  <a:gd name="T82" fmla="*/ 438 w 534"/>
                  <a:gd name="T83" fmla="*/ 0 h 551"/>
                  <a:gd name="T84" fmla="*/ 384 w 534"/>
                  <a:gd name="T85" fmla="*/ 32 h 551"/>
                  <a:gd name="T86" fmla="*/ 260 w 534"/>
                  <a:gd name="T87" fmla="*/ 108 h 551"/>
                  <a:gd name="T88" fmla="*/ 128 w 534"/>
                  <a:gd name="T89" fmla="*/ 190 h 551"/>
                  <a:gd name="T90" fmla="*/ 80 w 534"/>
                  <a:gd name="T91" fmla="*/ 222 h 551"/>
                  <a:gd name="T92" fmla="*/ 62 w 534"/>
                  <a:gd name="T93" fmla="*/ 234 h 551"/>
                  <a:gd name="T94" fmla="*/ 52 w 534"/>
                  <a:gd name="T95" fmla="*/ 244 h 5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34" h="551">
                    <a:moveTo>
                      <a:pt x="52" y="244"/>
                    </a:moveTo>
                    <a:lnTo>
                      <a:pt x="52" y="244"/>
                    </a:lnTo>
                    <a:lnTo>
                      <a:pt x="38" y="262"/>
                    </a:lnTo>
                    <a:lnTo>
                      <a:pt x="26" y="280"/>
                    </a:lnTo>
                    <a:lnTo>
                      <a:pt x="16" y="298"/>
                    </a:lnTo>
                    <a:lnTo>
                      <a:pt x="8" y="318"/>
                    </a:lnTo>
                    <a:lnTo>
                      <a:pt x="2" y="340"/>
                    </a:lnTo>
                    <a:lnTo>
                      <a:pt x="0" y="360"/>
                    </a:lnTo>
                    <a:lnTo>
                      <a:pt x="0" y="382"/>
                    </a:lnTo>
                    <a:lnTo>
                      <a:pt x="4" y="402"/>
                    </a:lnTo>
                    <a:lnTo>
                      <a:pt x="4" y="402"/>
                    </a:lnTo>
                    <a:lnTo>
                      <a:pt x="0" y="408"/>
                    </a:lnTo>
                    <a:lnTo>
                      <a:pt x="0" y="416"/>
                    </a:lnTo>
                    <a:lnTo>
                      <a:pt x="0" y="422"/>
                    </a:lnTo>
                    <a:lnTo>
                      <a:pt x="4" y="428"/>
                    </a:lnTo>
                    <a:lnTo>
                      <a:pt x="130" y="545"/>
                    </a:lnTo>
                    <a:lnTo>
                      <a:pt x="130" y="545"/>
                    </a:lnTo>
                    <a:lnTo>
                      <a:pt x="136" y="549"/>
                    </a:lnTo>
                    <a:lnTo>
                      <a:pt x="144" y="551"/>
                    </a:lnTo>
                    <a:lnTo>
                      <a:pt x="150" y="549"/>
                    </a:lnTo>
                    <a:lnTo>
                      <a:pt x="156" y="545"/>
                    </a:lnTo>
                    <a:lnTo>
                      <a:pt x="156" y="545"/>
                    </a:lnTo>
                    <a:lnTo>
                      <a:pt x="178" y="547"/>
                    </a:lnTo>
                    <a:lnTo>
                      <a:pt x="178" y="547"/>
                    </a:lnTo>
                    <a:lnTo>
                      <a:pt x="196" y="547"/>
                    </a:lnTo>
                    <a:lnTo>
                      <a:pt x="214" y="543"/>
                    </a:lnTo>
                    <a:lnTo>
                      <a:pt x="232" y="539"/>
                    </a:lnTo>
                    <a:lnTo>
                      <a:pt x="250" y="533"/>
                    </a:lnTo>
                    <a:lnTo>
                      <a:pt x="266" y="523"/>
                    </a:lnTo>
                    <a:lnTo>
                      <a:pt x="282" y="514"/>
                    </a:lnTo>
                    <a:lnTo>
                      <a:pt x="298" y="502"/>
                    </a:lnTo>
                    <a:lnTo>
                      <a:pt x="312" y="488"/>
                    </a:lnTo>
                    <a:lnTo>
                      <a:pt x="312" y="488"/>
                    </a:lnTo>
                    <a:lnTo>
                      <a:pt x="324" y="474"/>
                    </a:lnTo>
                    <a:lnTo>
                      <a:pt x="336" y="454"/>
                    </a:lnTo>
                    <a:lnTo>
                      <a:pt x="370" y="402"/>
                    </a:lnTo>
                    <a:lnTo>
                      <a:pt x="406" y="336"/>
                    </a:lnTo>
                    <a:lnTo>
                      <a:pt x="442" y="268"/>
                    </a:lnTo>
                    <a:lnTo>
                      <a:pt x="506" y="144"/>
                    </a:lnTo>
                    <a:lnTo>
                      <a:pt x="534" y="88"/>
                    </a:lnTo>
                    <a:lnTo>
                      <a:pt x="438" y="0"/>
                    </a:lnTo>
                    <a:lnTo>
                      <a:pt x="438" y="0"/>
                    </a:lnTo>
                    <a:lnTo>
                      <a:pt x="384" y="32"/>
                    </a:lnTo>
                    <a:lnTo>
                      <a:pt x="260" y="108"/>
                    </a:lnTo>
                    <a:lnTo>
                      <a:pt x="128" y="190"/>
                    </a:lnTo>
                    <a:lnTo>
                      <a:pt x="80" y="222"/>
                    </a:lnTo>
                    <a:lnTo>
                      <a:pt x="62" y="234"/>
                    </a:lnTo>
                    <a:lnTo>
                      <a:pt x="52" y="244"/>
                    </a:lnTo>
                    <a:close/>
                  </a:path>
                </a:pathLst>
              </a:custGeom>
              <a:solidFill>
                <a:srgbClr val="E2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nvGrpSpPr>
              <p:cNvPr id="341" name="Group 341">
                <a:extLst>
                  <a:ext uri="{FF2B5EF4-FFF2-40B4-BE49-F238E27FC236}">
                    <a16:creationId xmlns:a16="http://schemas.microsoft.com/office/drawing/2014/main" id="{5534C254-A454-4F15-A0EC-21C64ADFF389}"/>
                  </a:ext>
                </a:extLst>
              </p:cNvPr>
              <p:cNvGrpSpPr/>
              <p:nvPr/>
            </p:nvGrpSpPr>
            <p:grpSpPr>
              <a:xfrm>
                <a:off x="5835420" y="2962363"/>
                <a:ext cx="1080937" cy="1289170"/>
                <a:chOff x="3302000" y="3781426"/>
                <a:chExt cx="733425" cy="874713"/>
              </a:xfrm>
            </p:grpSpPr>
            <p:sp>
              <p:nvSpPr>
                <p:cNvPr id="342" name="Freeform 64">
                  <a:extLst>
                    <a:ext uri="{FF2B5EF4-FFF2-40B4-BE49-F238E27FC236}">
                      <a16:creationId xmlns:a16="http://schemas.microsoft.com/office/drawing/2014/main" id="{E6B16744-6A14-4B48-A6A4-05C1CD32B56C}"/>
                    </a:ext>
                  </a:extLst>
                </p:cNvPr>
                <p:cNvSpPr>
                  <a:spLocks/>
                </p:cNvSpPr>
                <p:nvPr/>
              </p:nvSpPr>
              <p:spPr bwMode="auto">
                <a:xfrm>
                  <a:off x="3314700" y="3797301"/>
                  <a:ext cx="720725" cy="846138"/>
                </a:xfrm>
                <a:custGeom>
                  <a:avLst/>
                  <a:gdLst>
                    <a:gd name="T0" fmla="*/ 430 w 454"/>
                    <a:gd name="T1" fmla="*/ 0 h 533"/>
                    <a:gd name="T2" fmla="*/ 428 w 454"/>
                    <a:gd name="T3" fmla="*/ 0 h 533"/>
                    <a:gd name="T4" fmla="*/ 406 w 454"/>
                    <a:gd name="T5" fmla="*/ 14 h 533"/>
                    <a:gd name="T6" fmla="*/ 334 w 454"/>
                    <a:gd name="T7" fmla="*/ 56 h 533"/>
                    <a:gd name="T8" fmla="*/ 146 w 454"/>
                    <a:gd name="T9" fmla="*/ 172 h 533"/>
                    <a:gd name="T10" fmla="*/ 96 w 454"/>
                    <a:gd name="T11" fmla="*/ 206 h 533"/>
                    <a:gd name="T12" fmla="*/ 60 w 454"/>
                    <a:gd name="T13" fmla="*/ 230 h 533"/>
                    <a:gd name="T14" fmla="*/ 50 w 454"/>
                    <a:gd name="T15" fmla="*/ 240 h 533"/>
                    <a:gd name="T16" fmla="*/ 38 w 454"/>
                    <a:gd name="T17" fmla="*/ 252 h 533"/>
                    <a:gd name="T18" fmla="*/ 20 w 454"/>
                    <a:gd name="T19" fmla="*/ 280 h 533"/>
                    <a:gd name="T20" fmla="*/ 8 w 454"/>
                    <a:gd name="T21" fmla="*/ 310 h 533"/>
                    <a:gd name="T22" fmla="*/ 0 w 454"/>
                    <a:gd name="T23" fmla="*/ 342 h 533"/>
                    <a:gd name="T24" fmla="*/ 0 w 454"/>
                    <a:gd name="T25" fmla="*/ 356 h 533"/>
                    <a:gd name="T26" fmla="*/ 4 w 454"/>
                    <a:gd name="T27" fmla="*/ 390 h 533"/>
                    <a:gd name="T28" fmla="*/ 2 w 454"/>
                    <a:gd name="T29" fmla="*/ 398 h 533"/>
                    <a:gd name="T30" fmla="*/ 0 w 454"/>
                    <a:gd name="T31" fmla="*/ 400 h 533"/>
                    <a:gd name="T32" fmla="*/ 0 w 454"/>
                    <a:gd name="T33" fmla="*/ 404 h 533"/>
                    <a:gd name="T34" fmla="*/ 2 w 454"/>
                    <a:gd name="T35" fmla="*/ 412 h 533"/>
                    <a:gd name="T36" fmla="*/ 128 w 454"/>
                    <a:gd name="T37" fmla="*/ 529 h 533"/>
                    <a:gd name="T38" fmla="*/ 134 w 454"/>
                    <a:gd name="T39" fmla="*/ 533 h 533"/>
                    <a:gd name="T40" fmla="*/ 138 w 454"/>
                    <a:gd name="T41" fmla="*/ 531 h 533"/>
                    <a:gd name="T42" fmla="*/ 146 w 454"/>
                    <a:gd name="T43" fmla="*/ 525 h 533"/>
                    <a:gd name="T44" fmla="*/ 150 w 454"/>
                    <a:gd name="T45" fmla="*/ 527 h 533"/>
                    <a:gd name="T46" fmla="*/ 132 w 454"/>
                    <a:gd name="T47" fmla="*/ 464 h 533"/>
                    <a:gd name="T48" fmla="*/ 124 w 454"/>
                    <a:gd name="T49" fmla="*/ 444 h 533"/>
                    <a:gd name="T50" fmla="*/ 112 w 454"/>
                    <a:gd name="T51" fmla="*/ 404 h 533"/>
                    <a:gd name="T52" fmla="*/ 108 w 454"/>
                    <a:gd name="T53" fmla="*/ 364 h 533"/>
                    <a:gd name="T54" fmla="*/ 112 w 454"/>
                    <a:gd name="T55" fmla="*/ 324 h 533"/>
                    <a:gd name="T56" fmla="*/ 122 w 454"/>
                    <a:gd name="T57" fmla="*/ 284 h 533"/>
                    <a:gd name="T58" fmla="*/ 140 w 454"/>
                    <a:gd name="T59" fmla="*/ 248 h 533"/>
                    <a:gd name="T60" fmla="*/ 164 w 454"/>
                    <a:gd name="T61" fmla="*/ 216 h 533"/>
                    <a:gd name="T62" fmla="*/ 194 w 454"/>
                    <a:gd name="T63" fmla="*/ 188 h 533"/>
                    <a:gd name="T64" fmla="*/ 454 w 454"/>
                    <a:gd name="T65" fmla="*/ 22 h 5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4" h="533">
                      <a:moveTo>
                        <a:pt x="430" y="0"/>
                      </a:moveTo>
                      <a:lnTo>
                        <a:pt x="430" y="0"/>
                      </a:lnTo>
                      <a:lnTo>
                        <a:pt x="428" y="0"/>
                      </a:lnTo>
                      <a:lnTo>
                        <a:pt x="428" y="0"/>
                      </a:lnTo>
                      <a:lnTo>
                        <a:pt x="406" y="14"/>
                      </a:lnTo>
                      <a:lnTo>
                        <a:pt x="406" y="14"/>
                      </a:lnTo>
                      <a:lnTo>
                        <a:pt x="334" y="56"/>
                      </a:lnTo>
                      <a:lnTo>
                        <a:pt x="334" y="56"/>
                      </a:lnTo>
                      <a:lnTo>
                        <a:pt x="240" y="114"/>
                      </a:lnTo>
                      <a:lnTo>
                        <a:pt x="146" y="172"/>
                      </a:lnTo>
                      <a:lnTo>
                        <a:pt x="146" y="172"/>
                      </a:lnTo>
                      <a:lnTo>
                        <a:pt x="96" y="206"/>
                      </a:lnTo>
                      <a:lnTo>
                        <a:pt x="60" y="230"/>
                      </a:lnTo>
                      <a:lnTo>
                        <a:pt x="60" y="230"/>
                      </a:lnTo>
                      <a:lnTo>
                        <a:pt x="50" y="240"/>
                      </a:lnTo>
                      <a:lnTo>
                        <a:pt x="50" y="240"/>
                      </a:lnTo>
                      <a:lnTo>
                        <a:pt x="50" y="240"/>
                      </a:lnTo>
                      <a:lnTo>
                        <a:pt x="38" y="252"/>
                      </a:lnTo>
                      <a:lnTo>
                        <a:pt x="28" y="266"/>
                      </a:lnTo>
                      <a:lnTo>
                        <a:pt x="20" y="280"/>
                      </a:lnTo>
                      <a:lnTo>
                        <a:pt x="14" y="296"/>
                      </a:lnTo>
                      <a:lnTo>
                        <a:pt x="8" y="310"/>
                      </a:lnTo>
                      <a:lnTo>
                        <a:pt x="4" y="326"/>
                      </a:lnTo>
                      <a:lnTo>
                        <a:pt x="0" y="342"/>
                      </a:lnTo>
                      <a:lnTo>
                        <a:pt x="0" y="356"/>
                      </a:lnTo>
                      <a:lnTo>
                        <a:pt x="0" y="356"/>
                      </a:lnTo>
                      <a:lnTo>
                        <a:pt x="2" y="374"/>
                      </a:lnTo>
                      <a:lnTo>
                        <a:pt x="4" y="390"/>
                      </a:lnTo>
                      <a:lnTo>
                        <a:pt x="4" y="394"/>
                      </a:lnTo>
                      <a:lnTo>
                        <a:pt x="2" y="398"/>
                      </a:lnTo>
                      <a:lnTo>
                        <a:pt x="2" y="398"/>
                      </a:lnTo>
                      <a:lnTo>
                        <a:pt x="0" y="400"/>
                      </a:lnTo>
                      <a:lnTo>
                        <a:pt x="0" y="404"/>
                      </a:lnTo>
                      <a:lnTo>
                        <a:pt x="0" y="404"/>
                      </a:lnTo>
                      <a:lnTo>
                        <a:pt x="0" y="408"/>
                      </a:lnTo>
                      <a:lnTo>
                        <a:pt x="2" y="412"/>
                      </a:lnTo>
                      <a:lnTo>
                        <a:pt x="128" y="529"/>
                      </a:lnTo>
                      <a:lnTo>
                        <a:pt x="128" y="529"/>
                      </a:lnTo>
                      <a:lnTo>
                        <a:pt x="132" y="531"/>
                      </a:lnTo>
                      <a:lnTo>
                        <a:pt x="134" y="533"/>
                      </a:lnTo>
                      <a:lnTo>
                        <a:pt x="134" y="533"/>
                      </a:lnTo>
                      <a:lnTo>
                        <a:pt x="138" y="531"/>
                      </a:lnTo>
                      <a:lnTo>
                        <a:pt x="142" y="529"/>
                      </a:lnTo>
                      <a:lnTo>
                        <a:pt x="146" y="525"/>
                      </a:lnTo>
                      <a:lnTo>
                        <a:pt x="150" y="527"/>
                      </a:lnTo>
                      <a:lnTo>
                        <a:pt x="150" y="527"/>
                      </a:lnTo>
                      <a:lnTo>
                        <a:pt x="166" y="529"/>
                      </a:lnTo>
                      <a:lnTo>
                        <a:pt x="132" y="464"/>
                      </a:lnTo>
                      <a:lnTo>
                        <a:pt x="132" y="464"/>
                      </a:lnTo>
                      <a:lnTo>
                        <a:pt x="124" y="444"/>
                      </a:lnTo>
                      <a:lnTo>
                        <a:pt x="118" y="424"/>
                      </a:lnTo>
                      <a:lnTo>
                        <a:pt x="112" y="404"/>
                      </a:lnTo>
                      <a:lnTo>
                        <a:pt x="110" y="384"/>
                      </a:lnTo>
                      <a:lnTo>
                        <a:pt x="108" y="364"/>
                      </a:lnTo>
                      <a:lnTo>
                        <a:pt x="110" y="344"/>
                      </a:lnTo>
                      <a:lnTo>
                        <a:pt x="112" y="324"/>
                      </a:lnTo>
                      <a:lnTo>
                        <a:pt x="116" y="304"/>
                      </a:lnTo>
                      <a:lnTo>
                        <a:pt x="122" y="284"/>
                      </a:lnTo>
                      <a:lnTo>
                        <a:pt x="130" y="266"/>
                      </a:lnTo>
                      <a:lnTo>
                        <a:pt x="140" y="248"/>
                      </a:lnTo>
                      <a:lnTo>
                        <a:pt x="152" y="232"/>
                      </a:lnTo>
                      <a:lnTo>
                        <a:pt x="164" y="216"/>
                      </a:lnTo>
                      <a:lnTo>
                        <a:pt x="178" y="200"/>
                      </a:lnTo>
                      <a:lnTo>
                        <a:pt x="194" y="188"/>
                      </a:lnTo>
                      <a:lnTo>
                        <a:pt x="212" y="176"/>
                      </a:lnTo>
                      <a:lnTo>
                        <a:pt x="454" y="22"/>
                      </a:lnTo>
                      <a:lnTo>
                        <a:pt x="430" y="0"/>
                      </a:lnTo>
                      <a:close/>
                    </a:path>
                  </a:pathLst>
                </a:custGeom>
                <a:solidFill>
                  <a:srgbClr val="C949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43" name="Freeform 66">
                  <a:extLst>
                    <a:ext uri="{FF2B5EF4-FFF2-40B4-BE49-F238E27FC236}">
                      <a16:creationId xmlns:a16="http://schemas.microsoft.com/office/drawing/2014/main" id="{99EB8B99-4DC6-4262-AC7F-8BFA1C781F47}"/>
                    </a:ext>
                  </a:extLst>
                </p:cNvPr>
                <p:cNvSpPr>
                  <a:spLocks/>
                </p:cNvSpPr>
                <p:nvPr/>
              </p:nvSpPr>
              <p:spPr bwMode="auto">
                <a:xfrm>
                  <a:off x="3302000" y="3781426"/>
                  <a:ext cx="698500" cy="874713"/>
                </a:xfrm>
                <a:custGeom>
                  <a:avLst/>
                  <a:gdLst>
                    <a:gd name="T0" fmla="*/ 434 w 440"/>
                    <a:gd name="T1" fmla="*/ 6 h 551"/>
                    <a:gd name="T2" fmla="*/ 432 w 440"/>
                    <a:gd name="T3" fmla="*/ 4 h 551"/>
                    <a:gd name="T4" fmla="*/ 236 w 440"/>
                    <a:gd name="T5" fmla="*/ 122 h 551"/>
                    <a:gd name="T6" fmla="*/ 76 w 440"/>
                    <a:gd name="T7" fmla="*/ 224 h 551"/>
                    <a:gd name="T8" fmla="*/ 52 w 440"/>
                    <a:gd name="T9" fmla="*/ 244 h 551"/>
                    <a:gd name="T10" fmla="*/ 38 w 440"/>
                    <a:gd name="T11" fmla="*/ 262 h 551"/>
                    <a:gd name="T12" fmla="*/ 16 w 440"/>
                    <a:gd name="T13" fmla="*/ 298 h 551"/>
                    <a:gd name="T14" fmla="*/ 2 w 440"/>
                    <a:gd name="T15" fmla="*/ 340 h 551"/>
                    <a:gd name="T16" fmla="*/ 0 w 440"/>
                    <a:gd name="T17" fmla="*/ 382 h 551"/>
                    <a:gd name="T18" fmla="*/ 4 w 440"/>
                    <a:gd name="T19" fmla="*/ 402 h 551"/>
                    <a:gd name="T20" fmla="*/ 0 w 440"/>
                    <a:gd name="T21" fmla="*/ 416 h 551"/>
                    <a:gd name="T22" fmla="*/ 4 w 440"/>
                    <a:gd name="T23" fmla="*/ 428 h 551"/>
                    <a:gd name="T24" fmla="*/ 130 w 440"/>
                    <a:gd name="T25" fmla="*/ 545 h 551"/>
                    <a:gd name="T26" fmla="*/ 142 w 440"/>
                    <a:gd name="T27" fmla="*/ 551 h 551"/>
                    <a:gd name="T28" fmla="*/ 150 w 440"/>
                    <a:gd name="T29" fmla="*/ 549 h 551"/>
                    <a:gd name="T30" fmla="*/ 156 w 440"/>
                    <a:gd name="T31" fmla="*/ 545 h 551"/>
                    <a:gd name="T32" fmla="*/ 174 w 440"/>
                    <a:gd name="T33" fmla="*/ 539 h 551"/>
                    <a:gd name="T34" fmla="*/ 158 w 440"/>
                    <a:gd name="T35" fmla="*/ 537 h 551"/>
                    <a:gd name="T36" fmla="*/ 150 w 440"/>
                    <a:gd name="T37" fmla="*/ 539 h 551"/>
                    <a:gd name="T38" fmla="*/ 146 w 440"/>
                    <a:gd name="T39" fmla="*/ 541 h 551"/>
                    <a:gd name="T40" fmla="*/ 142 w 440"/>
                    <a:gd name="T41" fmla="*/ 543 h 551"/>
                    <a:gd name="T42" fmla="*/ 136 w 440"/>
                    <a:gd name="T43" fmla="*/ 539 h 551"/>
                    <a:gd name="T44" fmla="*/ 10 w 440"/>
                    <a:gd name="T45" fmla="*/ 422 h 551"/>
                    <a:gd name="T46" fmla="*/ 8 w 440"/>
                    <a:gd name="T47" fmla="*/ 414 h 551"/>
                    <a:gd name="T48" fmla="*/ 8 w 440"/>
                    <a:gd name="T49" fmla="*/ 410 h 551"/>
                    <a:gd name="T50" fmla="*/ 12 w 440"/>
                    <a:gd name="T51" fmla="*/ 404 h 551"/>
                    <a:gd name="T52" fmla="*/ 12 w 440"/>
                    <a:gd name="T53" fmla="*/ 400 h 551"/>
                    <a:gd name="T54" fmla="*/ 8 w 440"/>
                    <a:gd name="T55" fmla="*/ 366 h 551"/>
                    <a:gd name="T56" fmla="*/ 8 w 440"/>
                    <a:gd name="T57" fmla="*/ 352 h 551"/>
                    <a:gd name="T58" fmla="*/ 16 w 440"/>
                    <a:gd name="T59" fmla="*/ 320 h 551"/>
                    <a:gd name="T60" fmla="*/ 28 w 440"/>
                    <a:gd name="T61" fmla="*/ 290 h 551"/>
                    <a:gd name="T62" fmla="*/ 46 w 440"/>
                    <a:gd name="T63" fmla="*/ 262 h 551"/>
                    <a:gd name="T64" fmla="*/ 58 w 440"/>
                    <a:gd name="T65" fmla="*/ 250 h 551"/>
                    <a:gd name="T66" fmla="*/ 68 w 440"/>
                    <a:gd name="T67" fmla="*/ 240 h 551"/>
                    <a:gd name="T68" fmla="*/ 104 w 440"/>
                    <a:gd name="T69" fmla="*/ 216 h 551"/>
                    <a:gd name="T70" fmla="*/ 154 w 440"/>
                    <a:gd name="T71" fmla="*/ 182 h 551"/>
                    <a:gd name="T72" fmla="*/ 342 w 440"/>
                    <a:gd name="T73" fmla="*/ 66 h 551"/>
                    <a:gd name="T74" fmla="*/ 414 w 440"/>
                    <a:gd name="T75" fmla="*/ 24 h 551"/>
                    <a:gd name="T76" fmla="*/ 436 w 440"/>
                    <a:gd name="T77" fmla="*/ 10 h 551"/>
                    <a:gd name="T78" fmla="*/ 438 w 440"/>
                    <a:gd name="T79" fmla="*/ 10 h 551"/>
                    <a:gd name="T80" fmla="*/ 440 w 440"/>
                    <a:gd name="T81" fmla="*/ 0 h 5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40" h="551">
                      <a:moveTo>
                        <a:pt x="440" y="0"/>
                      </a:moveTo>
                      <a:lnTo>
                        <a:pt x="434" y="6"/>
                      </a:lnTo>
                      <a:lnTo>
                        <a:pt x="432" y="4"/>
                      </a:lnTo>
                      <a:lnTo>
                        <a:pt x="432" y="4"/>
                      </a:lnTo>
                      <a:lnTo>
                        <a:pt x="356" y="48"/>
                      </a:lnTo>
                      <a:lnTo>
                        <a:pt x="236" y="122"/>
                      </a:lnTo>
                      <a:lnTo>
                        <a:pt x="118" y="196"/>
                      </a:lnTo>
                      <a:lnTo>
                        <a:pt x="76" y="224"/>
                      </a:lnTo>
                      <a:lnTo>
                        <a:pt x="62" y="236"/>
                      </a:lnTo>
                      <a:lnTo>
                        <a:pt x="52" y="244"/>
                      </a:lnTo>
                      <a:lnTo>
                        <a:pt x="52" y="244"/>
                      </a:lnTo>
                      <a:lnTo>
                        <a:pt x="38" y="262"/>
                      </a:lnTo>
                      <a:lnTo>
                        <a:pt x="26" y="280"/>
                      </a:lnTo>
                      <a:lnTo>
                        <a:pt x="16" y="298"/>
                      </a:lnTo>
                      <a:lnTo>
                        <a:pt x="8" y="318"/>
                      </a:lnTo>
                      <a:lnTo>
                        <a:pt x="2" y="340"/>
                      </a:lnTo>
                      <a:lnTo>
                        <a:pt x="0" y="360"/>
                      </a:lnTo>
                      <a:lnTo>
                        <a:pt x="0" y="382"/>
                      </a:lnTo>
                      <a:lnTo>
                        <a:pt x="4" y="402"/>
                      </a:lnTo>
                      <a:lnTo>
                        <a:pt x="4" y="402"/>
                      </a:lnTo>
                      <a:lnTo>
                        <a:pt x="0" y="408"/>
                      </a:lnTo>
                      <a:lnTo>
                        <a:pt x="0" y="416"/>
                      </a:lnTo>
                      <a:lnTo>
                        <a:pt x="0" y="422"/>
                      </a:lnTo>
                      <a:lnTo>
                        <a:pt x="4" y="428"/>
                      </a:lnTo>
                      <a:lnTo>
                        <a:pt x="130" y="545"/>
                      </a:lnTo>
                      <a:lnTo>
                        <a:pt x="130" y="545"/>
                      </a:lnTo>
                      <a:lnTo>
                        <a:pt x="136" y="549"/>
                      </a:lnTo>
                      <a:lnTo>
                        <a:pt x="142" y="551"/>
                      </a:lnTo>
                      <a:lnTo>
                        <a:pt x="142" y="551"/>
                      </a:lnTo>
                      <a:lnTo>
                        <a:pt x="150" y="549"/>
                      </a:lnTo>
                      <a:lnTo>
                        <a:pt x="156" y="545"/>
                      </a:lnTo>
                      <a:lnTo>
                        <a:pt x="156" y="545"/>
                      </a:lnTo>
                      <a:lnTo>
                        <a:pt x="178" y="547"/>
                      </a:lnTo>
                      <a:lnTo>
                        <a:pt x="174" y="539"/>
                      </a:lnTo>
                      <a:lnTo>
                        <a:pt x="174" y="539"/>
                      </a:lnTo>
                      <a:lnTo>
                        <a:pt x="158" y="537"/>
                      </a:lnTo>
                      <a:lnTo>
                        <a:pt x="154" y="535"/>
                      </a:lnTo>
                      <a:lnTo>
                        <a:pt x="150" y="539"/>
                      </a:lnTo>
                      <a:lnTo>
                        <a:pt x="150" y="539"/>
                      </a:lnTo>
                      <a:lnTo>
                        <a:pt x="146" y="541"/>
                      </a:lnTo>
                      <a:lnTo>
                        <a:pt x="142" y="543"/>
                      </a:lnTo>
                      <a:lnTo>
                        <a:pt x="142" y="543"/>
                      </a:lnTo>
                      <a:lnTo>
                        <a:pt x="140" y="541"/>
                      </a:lnTo>
                      <a:lnTo>
                        <a:pt x="136" y="539"/>
                      </a:lnTo>
                      <a:lnTo>
                        <a:pt x="10" y="422"/>
                      </a:lnTo>
                      <a:lnTo>
                        <a:pt x="10" y="422"/>
                      </a:lnTo>
                      <a:lnTo>
                        <a:pt x="8" y="418"/>
                      </a:lnTo>
                      <a:lnTo>
                        <a:pt x="8" y="414"/>
                      </a:lnTo>
                      <a:lnTo>
                        <a:pt x="8" y="414"/>
                      </a:lnTo>
                      <a:lnTo>
                        <a:pt x="8" y="410"/>
                      </a:lnTo>
                      <a:lnTo>
                        <a:pt x="10" y="408"/>
                      </a:lnTo>
                      <a:lnTo>
                        <a:pt x="12" y="404"/>
                      </a:lnTo>
                      <a:lnTo>
                        <a:pt x="12" y="400"/>
                      </a:lnTo>
                      <a:lnTo>
                        <a:pt x="12" y="400"/>
                      </a:lnTo>
                      <a:lnTo>
                        <a:pt x="10" y="384"/>
                      </a:lnTo>
                      <a:lnTo>
                        <a:pt x="8" y="366"/>
                      </a:lnTo>
                      <a:lnTo>
                        <a:pt x="8" y="366"/>
                      </a:lnTo>
                      <a:lnTo>
                        <a:pt x="8" y="352"/>
                      </a:lnTo>
                      <a:lnTo>
                        <a:pt x="12" y="336"/>
                      </a:lnTo>
                      <a:lnTo>
                        <a:pt x="16" y="320"/>
                      </a:lnTo>
                      <a:lnTo>
                        <a:pt x="22" y="306"/>
                      </a:lnTo>
                      <a:lnTo>
                        <a:pt x="28" y="290"/>
                      </a:lnTo>
                      <a:lnTo>
                        <a:pt x="36" y="276"/>
                      </a:lnTo>
                      <a:lnTo>
                        <a:pt x="46" y="262"/>
                      </a:lnTo>
                      <a:lnTo>
                        <a:pt x="58" y="250"/>
                      </a:lnTo>
                      <a:lnTo>
                        <a:pt x="58" y="250"/>
                      </a:lnTo>
                      <a:lnTo>
                        <a:pt x="58" y="250"/>
                      </a:lnTo>
                      <a:lnTo>
                        <a:pt x="68" y="240"/>
                      </a:lnTo>
                      <a:lnTo>
                        <a:pt x="68" y="240"/>
                      </a:lnTo>
                      <a:lnTo>
                        <a:pt x="104" y="216"/>
                      </a:lnTo>
                      <a:lnTo>
                        <a:pt x="154" y="182"/>
                      </a:lnTo>
                      <a:lnTo>
                        <a:pt x="154" y="182"/>
                      </a:lnTo>
                      <a:lnTo>
                        <a:pt x="248" y="124"/>
                      </a:lnTo>
                      <a:lnTo>
                        <a:pt x="342" y="66"/>
                      </a:lnTo>
                      <a:lnTo>
                        <a:pt x="342" y="66"/>
                      </a:lnTo>
                      <a:lnTo>
                        <a:pt x="414" y="24"/>
                      </a:lnTo>
                      <a:lnTo>
                        <a:pt x="414" y="24"/>
                      </a:lnTo>
                      <a:lnTo>
                        <a:pt x="436" y="10"/>
                      </a:lnTo>
                      <a:lnTo>
                        <a:pt x="436" y="10"/>
                      </a:lnTo>
                      <a:lnTo>
                        <a:pt x="438" y="10"/>
                      </a:lnTo>
                      <a:lnTo>
                        <a:pt x="434" y="6"/>
                      </a:lnTo>
                      <a:lnTo>
                        <a:pt x="440" y="0"/>
                      </a:lnTo>
                      <a:close/>
                    </a:path>
                  </a:pathLst>
                </a:custGeom>
                <a:solidFill>
                  <a:srgbClr val="C9494C"/>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grpSp>
        <p:grpSp>
          <p:nvGrpSpPr>
            <p:cNvPr id="317" name="Group 317">
              <a:extLst>
                <a:ext uri="{FF2B5EF4-FFF2-40B4-BE49-F238E27FC236}">
                  <a16:creationId xmlns:a16="http://schemas.microsoft.com/office/drawing/2014/main" id="{1948EFDE-4926-482C-B336-F3C41BE9329D}"/>
                </a:ext>
              </a:extLst>
            </p:cNvPr>
            <p:cNvGrpSpPr/>
            <p:nvPr/>
          </p:nvGrpSpPr>
          <p:grpSpPr>
            <a:xfrm rot="20886282">
              <a:off x="1823900" y="3575694"/>
              <a:ext cx="940555" cy="977990"/>
              <a:chOff x="6836808" y="2489746"/>
              <a:chExt cx="940555" cy="977990"/>
            </a:xfrm>
          </p:grpSpPr>
          <p:sp>
            <p:nvSpPr>
              <p:cNvPr id="325" name="Freeform 40">
                <a:extLst>
                  <a:ext uri="{FF2B5EF4-FFF2-40B4-BE49-F238E27FC236}">
                    <a16:creationId xmlns:a16="http://schemas.microsoft.com/office/drawing/2014/main" id="{155B798B-2D11-4724-AB73-537079F24B9F}"/>
                  </a:ext>
                </a:extLst>
              </p:cNvPr>
              <p:cNvSpPr>
                <a:spLocks/>
              </p:cNvSpPr>
              <p:nvPr/>
            </p:nvSpPr>
            <p:spPr bwMode="auto">
              <a:xfrm>
                <a:off x="7290707" y="2967042"/>
                <a:ext cx="112305" cy="219931"/>
              </a:xfrm>
              <a:custGeom>
                <a:avLst/>
                <a:gdLst>
                  <a:gd name="T0" fmla="*/ 48 w 48"/>
                  <a:gd name="T1" fmla="*/ 54 h 94"/>
                  <a:gd name="T2" fmla="*/ 40 w 48"/>
                  <a:gd name="T3" fmla="*/ 0 h 94"/>
                  <a:gd name="T4" fmla="*/ 0 w 48"/>
                  <a:gd name="T5" fmla="*/ 2 h 94"/>
                  <a:gd name="T6" fmla="*/ 18 w 48"/>
                  <a:gd name="T7" fmla="*/ 94 h 94"/>
                  <a:gd name="T8" fmla="*/ 48 w 48"/>
                  <a:gd name="T9" fmla="*/ 54 h 94"/>
                </a:gdLst>
                <a:ahLst/>
                <a:cxnLst>
                  <a:cxn ang="0">
                    <a:pos x="T0" y="T1"/>
                  </a:cxn>
                  <a:cxn ang="0">
                    <a:pos x="T2" y="T3"/>
                  </a:cxn>
                  <a:cxn ang="0">
                    <a:pos x="T4" y="T5"/>
                  </a:cxn>
                  <a:cxn ang="0">
                    <a:pos x="T6" y="T7"/>
                  </a:cxn>
                  <a:cxn ang="0">
                    <a:pos x="T8" y="T9"/>
                  </a:cxn>
                </a:cxnLst>
                <a:rect l="0" t="0" r="r" b="b"/>
                <a:pathLst>
                  <a:path w="48" h="94">
                    <a:moveTo>
                      <a:pt x="48" y="54"/>
                    </a:moveTo>
                    <a:lnTo>
                      <a:pt x="40" y="0"/>
                    </a:lnTo>
                    <a:lnTo>
                      <a:pt x="0" y="2"/>
                    </a:lnTo>
                    <a:lnTo>
                      <a:pt x="18" y="94"/>
                    </a:lnTo>
                    <a:lnTo>
                      <a:pt x="48" y="54"/>
                    </a:lnTo>
                    <a:close/>
                  </a:path>
                </a:pathLst>
              </a:custGeom>
              <a:solidFill>
                <a:srgbClr val="97BFBD"/>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26" name="Freeform 42">
                <a:extLst>
                  <a:ext uri="{FF2B5EF4-FFF2-40B4-BE49-F238E27FC236}">
                    <a16:creationId xmlns:a16="http://schemas.microsoft.com/office/drawing/2014/main" id="{33176FC1-882B-4625-B493-291FFE44A429}"/>
                  </a:ext>
                </a:extLst>
              </p:cNvPr>
              <p:cNvSpPr>
                <a:spLocks/>
              </p:cNvSpPr>
              <p:nvPr/>
            </p:nvSpPr>
            <p:spPr bwMode="auto">
              <a:xfrm>
                <a:off x="7075456" y="2971722"/>
                <a:ext cx="467938" cy="458579"/>
              </a:xfrm>
              <a:custGeom>
                <a:avLst/>
                <a:gdLst>
                  <a:gd name="T0" fmla="*/ 200 w 200"/>
                  <a:gd name="T1" fmla="*/ 38 h 196"/>
                  <a:gd name="T2" fmla="*/ 192 w 200"/>
                  <a:gd name="T3" fmla="*/ 58 h 196"/>
                  <a:gd name="T4" fmla="*/ 192 w 200"/>
                  <a:gd name="T5" fmla="*/ 58 h 196"/>
                  <a:gd name="T6" fmla="*/ 188 w 200"/>
                  <a:gd name="T7" fmla="*/ 62 h 196"/>
                  <a:gd name="T8" fmla="*/ 184 w 200"/>
                  <a:gd name="T9" fmla="*/ 66 h 196"/>
                  <a:gd name="T10" fmla="*/ 176 w 200"/>
                  <a:gd name="T11" fmla="*/ 72 h 196"/>
                  <a:gd name="T12" fmla="*/ 164 w 200"/>
                  <a:gd name="T13" fmla="*/ 74 h 196"/>
                  <a:gd name="T14" fmla="*/ 160 w 200"/>
                  <a:gd name="T15" fmla="*/ 72 h 196"/>
                  <a:gd name="T16" fmla="*/ 154 w 200"/>
                  <a:gd name="T17" fmla="*/ 70 h 196"/>
                  <a:gd name="T18" fmla="*/ 120 w 200"/>
                  <a:gd name="T19" fmla="*/ 92 h 196"/>
                  <a:gd name="T20" fmla="*/ 120 w 200"/>
                  <a:gd name="T21" fmla="*/ 92 h 196"/>
                  <a:gd name="T22" fmla="*/ 98 w 200"/>
                  <a:gd name="T23" fmla="*/ 108 h 196"/>
                  <a:gd name="T24" fmla="*/ 78 w 200"/>
                  <a:gd name="T25" fmla="*/ 126 h 196"/>
                  <a:gd name="T26" fmla="*/ 58 w 200"/>
                  <a:gd name="T27" fmla="*/ 144 h 196"/>
                  <a:gd name="T28" fmla="*/ 38 w 200"/>
                  <a:gd name="T29" fmla="*/ 162 h 196"/>
                  <a:gd name="T30" fmla="*/ 10 w 200"/>
                  <a:gd name="T31" fmla="*/ 194 h 196"/>
                  <a:gd name="T32" fmla="*/ 10 w 200"/>
                  <a:gd name="T33" fmla="*/ 194 h 196"/>
                  <a:gd name="T34" fmla="*/ 6 w 200"/>
                  <a:gd name="T35" fmla="*/ 196 h 196"/>
                  <a:gd name="T36" fmla="*/ 2 w 200"/>
                  <a:gd name="T37" fmla="*/ 196 h 196"/>
                  <a:gd name="T38" fmla="*/ 2 w 200"/>
                  <a:gd name="T39" fmla="*/ 196 h 196"/>
                  <a:gd name="T40" fmla="*/ 0 w 200"/>
                  <a:gd name="T41" fmla="*/ 192 h 196"/>
                  <a:gd name="T42" fmla="*/ 0 w 200"/>
                  <a:gd name="T43" fmla="*/ 188 h 196"/>
                  <a:gd name="T44" fmla="*/ 18 w 200"/>
                  <a:gd name="T45" fmla="*/ 148 h 196"/>
                  <a:gd name="T46" fmla="*/ 18 w 200"/>
                  <a:gd name="T47" fmla="*/ 148 h 196"/>
                  <a:gd name="T48" fmla="*/ 28 w 200"/>
                  <a:gd name="T49" fmla="*/ 126 h 196"/>
                  <a:gd name="T50" fmla="*/ 40 w 200"/>
                  <a:gd name="T51" fmla="*/ 104 h 196"/>
                  <a:gd name="T52" fmla="*/ 54 w 200"/>
                  <a:gd name="T53" fmla="*/ 84 h 196"/>
                  <a:gd name="T54" fmla="*/ 70 w 200"/>
                  <a:gd name="T55" fmla="*/ 64 h 196"/>
                  <a:gd name="T56" fmla="*/ 84 w 200"/>
                  <a:gd name="T57" fmla="*/ 46 h 196"/>
                  <a:gd name="T58" fmla="*/ 84 w 200"/>
                  <a:gd name="T59" fmla="*/ 46 h 196"/>
                  <a:gd name="T60" fmla="*/ 86 w 200"/>
                  <a:gd name="T61" fmla="*/ 40 h 196"/>
                  <a:gd name="T62" fmla="*/ 90 w 200"/>
                  <a:gd name="T63" fmla="*/ 36 h 196"/>
                  <a:gd name="T64" fmla="*/ 96 w 200"/>
                  <a:gd name="T65" fmla="*/ 32 h 196"/>
                  <a:gd name="T66" fmla="*/ 102 w 200"/>
                  <a:gd name="T67" fmla="*/ 30 h 196"/>
                  <a:gd name="T68" fmla="*/ 106 w 200"/>
                  <a:gd name="T69" fmla="*/ 28 h 196"/>
                  <a:gd name="T70" fmla="*/ 106 w 200"/>
                  <a:gd name="T71" fmla="*/ 28 h 196"/>
                  <a:gd name="T72" fmla="*/ 118 w 200"/>
                  <a:gd name="T73" fmla="*/ 26 h 196"/>
                  <a:gd name="T74" fmla="*/ 128 w 200"/>
                  <a:gd name="T75" fmla="*/ 20 h 196"/>
                  <a:gd name="T76" fmla="*/ 138 w 200"/>
                  <a:gd name="T77" fmla="*/ 12 h 196"/>
                  <a:gd name="T78" fmla="*/ 144 w 200"/>
                  <a:gd name="T79" fmla="*/ 2 h 196"/>
                  <a:gd name="T80" fmla="*/ 144 w 200"/>
                  <a:gd name="T81" fmla="*/ 0 h 196"/>
                  <a:gd name="T82" fmla="*/ 200 w 200"/>
                  <a:gd name="T83" fmla="*/ 38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00" h="196">
                    <a:moveTo>
                      <a:pt x="200" y="38"/>
                    </a:moveTo>
                    <a:lnTo>
                      <a:pt x="192" y="58"/>
                    </a:lnTo>
                    <a:lnTo>
                      <a:pt x="192" y="58"/>
                    </a:lnTo>
                    <a:lnTo>
                      <a:pt x="188" y="62"/>
                    </a:lnTo>
                    <a:lnTo>
                      <a:pt x="184" y="66"/>
                    </a:lnTo>
                    <a:lnTo>
                      <a:pt x="176" y="72"/>
                    </a:lnTo>
                    <a:lnTo>
                      <a:pt x="164" y="74"/>
                    </a:lnTo>
                    <a:lnTo>
                      <a:pt x="160" y="72"/>
                    </a:lnTo>
                    <a:lnTo>
                      <a:pt x="154" y="70"/>
                    </a:lnTo>
                    <a:lnTo>
                      <a:pt x="120" y="92"/>
                    </a:lnTo>
                    <a:lnTo>
                      <a:pt x="120" y="92"/>
                    </a:lnTo>
                    <a:lnTo>
                      <a:pt x="98" y="108"/>
                    </a:lnTo>
                    <a:lnTo>
                      <a:pt x="78" y="126"/>
                    </a:lnTo>
                    <a:lnTo>
                      <a:pt x="58" y="144"/>
                    </a:lnTo>
                    <a:lnTo>
                      <a:pt x="38" y="162"/>
                    </a:lnTo>
                    <a:lnTo>
                      <a:pt x="10" y="194"/>
                    </a:lnTo>
                    <a:lnTo>
                      <a:pt x="10" y="194"/>
                    </a:lnTo>
                    <a:lnTo>
                      <a:pt x="6" y="196"/>
                    </a:lnTo>
                    <a:lnTo>
                      <a:pt x="2" y="196"/>
                    </a:lnTo>
                    <a:lnTo>
                      <a:pt x="2" y="196"/>
                    </a:lnTo>
                    <a:lnTo>
                      <a:pt x="0" y="192"/>
                    </a:lnTo>
                    <a:lnTo>
                      <a:pt x="0" y="188"/>
                    </a:lnTo>
                    <a:lnTo>
                      <a:pt x="18" y="148"/>
                    </a:lnTo>
                    <a:lnTo>
                      <a:pt x="18" y="148"/>
                    </a:lnTo>
                    <a:lnTo>
                      <a:pt x="28" y="126"/>
                    </a:lnTo>
                    <a:lnTo>
                      <a:pt x="40" y="104"/>
                    </a:lnTo>
                    <a:lnTo>
                      <a:pt x="54" y="84"/>
                    </a:lnTo>
                    <a:lnTo>
                      <a:pt x="70" y="64"/>
                    </a:lnTo>
                    <a:lnTo>
                      <a:pt x="84" y="46"/>
                    </a:lnTo>
                    <a:lnTo>
                      <a:pt x="84" y="46"/>
                    </a:lnTo>
                    <a:lnTo>
                      <a:pt x="86" y="40"/>
                    </a:lnTo>
                    <a:lnTo>
                      <a:pt x="90" y="36"/>
                    </a:lnTo>
                    <a:lnTo>
                      <a:pt x="96" y="32"/>
                    </a:lnTo>
                    <a:lnTo>
                      <a:pt x="102" y="30"/>
                    </a:lnTo>
                    <a:lnTo>
                      <a:pt x="106" y="28"/>
                    </a:lnTo>
                    <a:lnTo>
                      <a:pt x="106" y="28"/>
                    </a:lnTo>
                    <a:lnTo>
                      <a:pt x="118" y="26"/>
                    </a:lnTo>
                    <a:lnTo>
                      <a:pt x="128" y="20"/>
                    </a:lnTo>
                    <a:lnTo>
                      <a:pt x="138" y="12"/>
                    </a:lnTo>
                    <a:lnTo>
                      <a:pt x="144" y="2"/>
                    </a:lnTo>
                    <a:lnTo>
                      <a:pt x="144" y="0"/>
                    </a:lnTo>
                    <a:lnTo>
                      <a:pt x="200" y="38"/>
                    </a:lnTo>
                    <a:close/>
                  </a:path>
                </a:pathLst>
              </a:custGeom>
              <a:solidFill>
                <a:srgbClr val="C1D9D8"/>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27" name="Freeform 43">
                <a:extLst>
                  <a:ext uri="{FF2B5EF4-FFF2-40B4-BE49-F238E27FC236}">
                    <a16:creationId xmlns:a16="http://schemas.microsoft.com/office/drawing/2014/main" id="{9A57BA08-C10C-4008-8FB4-38F0D6B4B047}"/>
                  </a:ext>
                </a:extLst>
              </p:cNvPr>
              <p:cNvSpPr>
                <a:spLocks/>
              </p:cNvSpPr>
              <p:nvPr/>
            </p:nvSpPr>
            <p:spPr bwMode="auto">
              <a:xfrm>
                <a:off x="7075456" y="2971722"/>
                <a:ext cx="467938" cy="458579"/>
              </a:xfrm>
              <a:custGeom>
                <a:avLst/>
                <a:gdLst>
                  <a:gd name="T0" fmla="*/ 200 w 200"/>
                  <a:gd name="T1" fmla="*/ 38 h 196"/>
                  <a:gd name="T2" fmla="*/ 192 w 200"/>
                  <a:gd name="T3" fmla="*/ 58 h 196"/>
                  <a:gd name="T4" fmla="*/ 192 w 200"/>
                  <a:gd name="T5" fmla="*/ 58 h 196"/>
                  <a:gd name="T6" fmla="*/ 188 w 200"/>
                  <a:gd name="T7" fmla="*/ 62 h 196"/>
                  <a:gd name="T8" fmla="*/ 184 w 200"/>
                  <a:gd name="T9" fmla="*/ 66 h 196"/>
                  <a:gd name="T10" fmla="*/ 176 w 200"/>
                  <a:gd name="T11" fmla="*/ 72 h 196"/>
                  <a:gd name="T12" fmla="*/ 164 w 200"/>
                  <a:gd name="T13" fmla="*/ 74 h 196"/>
                  <a:gd name="T14" fmla="*/ 160 w 200"/>
                  <a:gd name="T15" fmla="*/ 72 h 196"/>
                  <a:gd name="T16" fmla="*/ 154 w 200"/>
                  <a:gd name="T17" fmla="*/ 70 h 196"/>
                  <a:gd name="T18" fmla="*/ 120 w 200"/>
                  <a:gd name="T19" fmla="*/ 92 h 196"/>
                  <a:gd name="T20" fmla="*/ 120 w 200"/>
                  <a:gd name="T21" fmla="*/ 92 h 196"/>
                  <a:gd name="T22" fmla="*/ 98 w 200"/>
                  <a:gd name="T23" fmla="*/ 108 h 196"/>
                  <a:gd name="T24" fmla="*/ 78 w 200"/>
                  <a:gd name="T25" fmla="*/ 126 h 196"/>
                  <a:gd name="T26" fmla="*/ 58 w 200"/>
                  <a:gd name="T27" fmla="*/ 144 h 196"/>
                  <a:gd name="T28" fmla="*/ 38 w 200"/>
                  <a:gd name="T29" fmla="*/ 162 h 196"/>
                  <a:gd name="T30" fmla="*/ 10 w 200"/>
                  <a:gd name="T31" fmla="*/ 194 h 196"/>
                  <a:gd name="T32" fmla="*/ 10 w 200"/>
                  <a:gd name="T33" fmla="*/ 194 h 196"/>
                  <a:gd name="T34" fmla="*/ 6 w 200"/>
                  <a:gd name="T35" fmla="*/ 196 h 196"/>
                  <a:gd name="T36" fmla="*/ 2 w 200"/>
                  <a:gd name="T37" fmla="*/ 196 h 196"/>
                  <a:gd name="T38" fmla="*/ 2 w 200"/>
                  <a:gd name="T39" fmla="*/ 196 h 196"/>
                  <a:gd name="T40" fmla="*/ 0 w 200"/>
                  <a:gd name="T41" fmla="*/ 192 h 196"/>
                  <a:gd name="T42" fmla="*/ 0 w 200"/>
                  <a:gd name="T43" fmla="*/ 188 h 196"/>
                  <a:gd name="T44" fmla="*/ 18 w 200"/>
                  <a:gd name="T45" fmla="*/ 148 h 196"/>
                  <a:gd name="T46" fmla="*/ 18 w 200"/>
                  <a:gd name="T47" fmla="*/ 148 h 196"/>
                  <a:gd name="T48" fmla="*/ 28 w 200"/>
                  <a:gd name="T49" fmla="*/ 126 h 196"/>
                  <a:gd name="T50" fmla="*/ 40 w 200"/>
                  <a:gd name="T51" fmla="*/ 104 h 196"/>
                  <a:gd name="T52" fmla="*/ 54 w 200"/>
                  <a:gd name="T53" fmla="*/ 84 h 196"/>
                  <a:gd name="T54" fmla="*/ 70 w 200"/>
                  <a:gd name="T55" fmla="*/ 64 h 196"/>
                  <a:gd name="T56" fmla="*/ 84 w 200"/>
                  <a:gd name="T57" fmla="*/ 46 h 196"/>
                  <a:gd name="T58" fmla="*/ 84 w 200"/>
                  <a:gd name="T59" fmla="*/ 46 h 196"/>
                  <a:gd name="T60" fmla="*/ 86 w 200"/>
                  <a:gd name="T61" fmla="*/ 40 h 196"/>
                  <a:gd name="T62" fmla="*/ 90 w 200"/>
                  <a:gd name="T63" fmla="*/ 36 h 196"/>
                  <a:gd name="T64" fmla="*/ 96 w 200"/>
                  <a:gd name="T65" fmla="*/ 32 h 196"/>
                  <a:gd name="T66" fmla="*/ 102 w 200"/>
                  <a:gd name="T67" fmla="*/ 30 h 196"/>
                  <a:gd name="T68" fmla="*/ 106 w 200"/>
                  <a:gd name="T69" fmla="*/ 28 h 196"/>
                  <a:gd name="T70" fmla="*/ 106 w 200"/>
                  <a:gd name="T71" fmla="*/ 28 h 196"/>
                  <a:gd name="T72" fmla="*/ 118 w 200"/>
                  <a:gd name="T73" fmla="*/ 26 h 196"/>
                  <a:gd name="T74" fmla="*/ 128 w 200"/>
                  <a:gd name="T75" fmla="*/ 20 h 196"/>
                  <a:gd name="T76" fmla="*/ 138 w 200"/>
                  <a:gd name="T77" fmla="*/ 12 h 196"/>
                  <a:gd name="T78" fmla="*/ 144 w 200"/>
                  <a:gd name="T79" fmla="*/ 2 h 196"/>
                  <a:gd name="T80" fmla="*/ 144 w 200"/>
                  <a:gd name="T81" fmla="*/ 0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00" h="196">
                    <a:moveTo>
                      <a:pt x="200" y="38"/>
                    </a:moveTo>
                    <a:lnTo>
                      <a:pt x="192" y="58"/>
                    </a:lnTo>
                    <a:lnTo>
                      <a:pt x="192" y="58"/>
                    </a:lnTo>
                    <a:lnTo>
                      <a:pt x="188" y="62"/>
                    </a:lnTo>
                    <a:lnTo>
                      <a:pt x="184" y="66"/>
                    </a:lnTo>
                    <a:lnTo>
                      <a:pt x="176" y="72"/>
                    </a:lnTo>
                    <a:lnTo>
                      <a:pt x="164" y="74"/>
                    </a:lnTo>
                    <a:lnTo>
                      <a:pt x="160" y="72"/>
                    </a:lnTo>
                    <a:lnTo>
                      <a:pt x="154" y="70"/>
                    </a:lnTo>
                    <a:lnTo>
                      <a:pt x="120" y="92"/>
                    </a:lnTo>
                    <a:lnTo>
                      <a:pt x="120" y="92"/>
                    </a:lnTo>
                    <a:lnTo>
                      <a:pt x="98" y="108"/>
                    </a:lnTo>
                    <a:lnTo>
                      <a:pt x="78" y="126"/>
                    </a:lnTo>
                    <a:lnTo>
                      <a:pt x="58" y="144"/>
                    </a:lnTo>
                    <a:lnTo>
                      <a:pt x="38" y="162"/>
                    </a:lnTo>
                    <a:lnTo>
                      <a:pt x="10" y="194"/>
                    </a:lnTo>
                    <a:lnTo>
                      <a:pt x="10" y="194"/>
                    </a:lnTo>
                    <a:lnTo>
                      <a:pt x="6" y="196"/>
                    </a:lnTo>
                    <a:lnTo>
                      <a:pt x="2" y="196"/>
                    </a:lnTo>
                    <a:lnTo>
                      <a:pt x="2" y="196"/>
                    </a:lnTo>
                    <a:lnTo>
                      <a:pt x="0" y="192"/>
                    </a:lnTo>
                    <a:lnTo>
                      <a:pt x="0" y="188"/>
                    </a:lnTo>
                    <a:lnTo>
                      <a:pt x="18" y="148"/>
                    </a:lnTo>
                    <a:lnTo>
                      <a:pt x="18" y="148"/>
                    </a:lnTo>
                    <a:lnTo>
                      <a:pt x="28" y="126"/>
                    </a:lnTo>
                    <a:lnTo>
                      <a:pt x="40" y="104"/>
                    </a:lnTo>
                    <a:lnTo>
                      <a:pt x="54" y="84"/>
                    </a:lnTo>
                    <a:lnTo>
                      <a:pt x="70" y="64"/>
                    </a:lnTo>
                    <a:lnTo>
                      <a:pt x="84" y="46"/>
                    </a:lnTo>
                    <a:lnTo>
                      <a:pt x="84" y="46"/>
                    </a:lnTo>
                    <a:lnTo>
                      <a:pt x="86" y="40"/>
                    </a:lnTo>
                    <a:lnTo>
                      <a:pt x="90" y="36"/>
                    </a:lnTo>
                    <a:lnTo>
                      <a:pt x="96" y="32"/>
                    </a:lnTo>
                    <a:lnTo>
                      <a:pt x="102" y="30"/>
                    </a:lnTo>
                    <a:lnTo>
                      <a:pt x="106" y="28"/>
                    </a:lnTo>
                    <a:lnTo>
                      <a:pt x="106" y="28"/>
                    </a:lnTo>
                    <a:lnTo>
                      <a:pt x="118" y="26"/>
                    </a:lnTo>
                    <a:lnTo>
                      <a:pt x="128" y="20"/>
                    </a:lnTo>
                    <a:lnTo>
                      <a:pt x="138" y="12"/>
                    </a:lnTo>
                    <a:lnTo>
                      <a:pt x="144" y="2"/>
                    </a:lnTo>
                    <a:lnTo>
                      <a:pt x="14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28" name="Freeform 45">
                <a:extLst>
                  <a:ext uri="{FF2B5EF4-FFF2-40B4-BE49-F238E27FC236}">
                    <a16:creationId xmlns:a16="http://schemas.microsoft.com/office/drawing/2014/main" id="{98E4C88E-4BBB-41D3-9126-60031B4DBFBF}"/>
                  </a:ext>
                </a:extLst>
              </p:cNvPr>
              <p:cNvSpPr>
                <a:spLocks/>
              </p:cNvSpPr>
              <p:nvPr/>
            </p:nvSpPr>
            <p:spPr bwMode="auto">
              <a:xfrm>
                <a:off x="7576150" y="2953004"/>
                <a:ext cx="107626" cy="135702"/>
              </a:xfrm>
              <a:custGeom>
                <a:avLst/>
                <a:gdLst>
                  <a:gd name="T0" fmla="*/ 20 w 46"/>
                  <a:gd name="T1" fmla="*/ 0 h 58"/>
                  <a:gd name="T2" fmla="*/ 46 w 46"/>
                  <a:gd name="T3" fmla="*/ 22 h 58"/>
                  <a:gd name="T4" fmla="*/ 20 w 46"/>
                  <a:gd name="T5" fmla="*/ 58 h 58"/>
                  <a:gd name="T6" fmla="*/ 0 w 46"/>
                  <a:gd name="T7" fmla="*/ 42 h 58"/>
                  <a:gd name="T8" fmla="*/ 20 w 46"/>
                  <a:gd name="T9" fmla="*/ 0 h 58"/>
                </a:gdLst>
                <a:ahLst/>
                <a:cxnLst>
                  <a:cxn ang="0">
                    <a:pos x="T0" y="T1"/>
                  </a:cxn>
                  <a:cxn ang="0">
                    <a:pos x="T2" y="T3"/>
                  </a:cxn>
                  <a:cxn ang="0">
                    <a:pos x="T4" y="T5"/>
                  </a:cxn>
                  <a:cxn ang="0">
                    <a:pos x="T6" y="T7"/>
                  </a:cxn>
                  <a:cxn ang="0">
                    <a:pos x="T8" y="T9"/>
                  </a:cxn>
                </a:cxnLst>
                <a:rect l="0" t="0" r="r" b="b"/>
                <a:pathLst>
                  <a:path w="46" h="58">
                    <a:moveTo>
                      <a:pt x="20" y="0"/>
                    </a:moveTo>
                    <a:lnTo>
                      <a:pt x="46" y="22"/>
                    </a:lnTo>
                    <a:lnTo>
                      <a:pt x="20" y="58"/>
                    </a:lnTo>
                    <a:lnTo>
                      <a:pt x="0" y="42"/>
                    </a:lnTo>
                    <a:lnTo>
                      <a:pt x="20" y="0"/>
                    </a:lnTo>
                    <a:close/>
                  </a:path>
                </a:pathLst>
              </a:custGeom>
              <a:solidFill>
                <a:srgbClr val="97BFBD"/>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29" name="Freeform 51">
                <a:extLst>
                  <a:ext uri="{FF2B5EF4-FFF2-40B4-BE49-F238E27FC236}">
                    <a16:creationId xmlns:a16="http://schemas.microsoft.com/office/drawing/2014/main" id="{28851610-DE03-4988-83E8-1B98EEB6FEEF}"/>
                  </a:ext>
                </a:extLst>
              </p:cNvPr>
              <p:cNvSpPr>
                <a:spLocks/>
              </p:cNvSpPr>
              <p:nvPr/>
            </p:nvSpPr>
            <p:spPr bwMode="auto">
              <a:xfrm>
                <a:off x="6864884" y="2868775"/>
                <a:ext cx="304160" cy="299480"/>
              </a:xfrm>
              <a:custGeom>
                <a:avLst/>
                <a:gdLst>
                  <a:gd name="T0" fmla="*/ 0 w 130"/>
                  <a:gd name="T1" fmla="*/ 40 h 128"/>
                  <a:gd name="T2" fmla="*/ 92 w 130"/>
                  <a:gd name="T3" fmla="*/ 128 h 128"/>
                  <a:gd name="T4" fmla="*/ 130 w 130"/>
                  <a:gd name="T5" fmla="*/ 88 h 128"/>
                  <a:gd name="T6" fmla="*/ 38 w 130"/>
                  <a:gd name="T7" fmla="*/ 0 h 128"/>
                  <a:gd name="T8" fmla="*/ 0 w 130"/>
                  <a:gd name="T9" fmla="*/ 40 h 128"/>
                </a:gdLst>
                <a:ahLst/>
                <a:cxnLst>
                  <a:cxn ang="0">
                    <a:pos x="T0" y="T1"/>
                  </a:cxn>
                  <a:cxn ang="0">
                    <a:pos x="T2" y="T3"/>
                  </a:cxn>
                  <a:cxn ang="0">
                    <a:pos x="T4" y="T5"/>
                  </a:cxn>
                  <a:cxn ang="0">
                    <a:pos x="T6" y="T7"/>
                  </a:cxn>
                  <a:cxn ang="0">
                    <a:pos x="T8" y="T9"/>
                  </a:cxn>
                </a:cxnLst>
                <a:rect l="0" t="0" r="r" b="b"/>
                <a:pathLst>
                  <a:path w="130" h="128">
                    <a:moveTo>
                      <a:pt x="0" y="40"/>
                    </a:moveTo>
                    <a:lnTo>
                      <a:pt x="92" y="128"/>
                    </a:lnTo>
                    <a:lnTo>
                      <a:pt x="130" y="88"/>
                    </a:lnTo>
                    <a:lnTo>
                      <a:pt x="38" y="0"/>
                    </a:lnTo>
                    <a:lnTo>
                      <a:pt x="0" y="40"/>
                    </a:lnTo>
                    <a:close/>
                  </a:path>
                </a:pathLst>
              </a:custGeom>
              <a:solidFill>
                <a:srgbClr val="C1D9D8"/>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30" name="Freeform 52">
                <a:extLst>
                  <a:ext uri="{FF2B5EF4-FFF2-40B4-BE49-F238E27FC236}">
                    <a16:creationId xmlns:a16="http://schemas.microsoft.com/office/drawing/2014/main" id="{59DB0FB2-C68C-4B3F-B2AE-F444E31D43BC}"/>
                  </a:ext>
                </a:extLst>
              </p:cNvPr>
              <p:cNvSpPr>
                <a:spLocks/>
              </p:cNvSpPr>
              <p:nvPr/>
            </p:nvSpPr>
            <p:spPr bwMode="auto">
              <a:xfrm>
                <a:off x="6864884" y="2868775"/>
                <a:ext cx="304160" cy="299480"/>
              </a:xfrm>
              <a:custGeom>
                <a:avLst/>
                <a:gdLst>
                  <a:gd name="T0" fmla="*/ 0 w 130"/>
                  <a:gd name="T1" fmla="*/ 40 h 128"/>
                  <a:gd name="T2" fmla="*/ 92 w 130"/>
                  <a:gd name="T3" fmla="*/ 128 h 128"/>
                  <a:gd name="T4" fmla="*/ 130 w 130"/>
                  <a:gd name="T5" fmla="*/ 88 h 128"/>
                  <a:gd name="T6" fmla="*/ 38 w 130"/>
                  <a:gd name="T7" fmla="*/ 0 h 128"/>
                  <a:gd name="T8" fmla="*/ 0 w 130"/>
                  <a:gd name="T9" fmla="*/ 40 h 128"/>
                </a:gdLst>
                <a:ahLst/>
                <a:cxnLst>
                  <a:cxn ang="0">
                    <a:pos x="T0" y="T1"/>
                  </a:cxn>
                  <a:cxn ang="0">
                    <a:pos x="T2" y="T3"/>
                  </a:cxn>
                  <a:cxn ang="0">
                    <a:pos x="T4" y="T5"/>
                  </a:cxn>
                  <a:cxn ang="0">
                    <a:pos x="T6" y="T7"/>
                  </a:cxn>
                  <a:cxn ang="0">
                    <a:pos x="T8" y="T9"/>
                  </a:cxn>
                </a:cxnLst>
                <a:rect l="0" t="0" r="r" b="b"/>
                <a:pathLst>
                  <a:path w="130" h="128">
                    <a:moveTo>
                      <a:pt x="0" y="40"/>
                    </a:moveTo>
                    <a:lnTo>
                      <a:pt x="92" y="128"/>
                    </a:lnTo>
                    <a:lnTo>
                      <a:pt x="130" y="88"/>
                    </a:lnTo>
                    <a:lnTo>
                      <a:pt x="38" y="0"/>
                    </a:lnTo>
                    <a:lnTo>
                      <a:pt x="0" y="4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31" name="Freeform 54">
                <a:extLst>
                  <a:ext uri="{FF2B5EF4-FFF2-40B4-BE49-F238E27FC236}">
                    <a16:creationId xmlns:a16="http://schemas.microsoft.com/office/drawing/2014/main" id="{0E365C66-1048-4EED-ADAB-1003AEF2F1CA}"/>
                  </a:ext>
                </a:extLst>
              </p:cNvPr>
              <p:cNvSpPr>
                <a:spLocks/>
              </p:cNvSpPr>
              <p:nvPr/>
            </p:nvSpPr>
            <p:spPr bwMode="auto">
              <a:xfrm>
                <a:off x="6836808" y="2840699"/>
                <a:ext cx="360312" cy="350954"/>
              </a:xfrm>
              <a:custGeom>
                <a:avLst/>
                <a:gdLst>
                  <a:gd name="T0" fmla="*/ 12 w 154"/>
                  <a:gd name="T1" fmla="*/ 52 h 150"/>
                  <a:gd name="T2" fmla="*/ 6 w 154"/>
                  <a:gd name="T3" fmla="*/ 58 h 150"/>
                  <a:gd name="T4" fmla="*/ 104 w 154"/>
                  <a:gd name="T5" fmla="*/ 150 h 150"/>
                  <a:gd name="T6" fmla="*/ 154 w 154"/>
                  <a:gd name="T7" fmla="*/ 98 h 150"/>
                  <a:gd name="T8" fmla="*/ 50 w 154"/>
                  <a:gd name="T9" fmla="*/ 0 h 150"/>
                  <a:gd name="T10" fmla="*/ 0 w 154"/>
                  <a:gd name="T11" fmla="*/ 52 h 150"/>
                  <a:gd name="T12" fmla="*/ 6 w 154"/>
                  <a:gd name="T13" fmla="*/ 58 h 150"/>
                  <a:gd name="T14" fmla="*/ 12 w 154"/>
                  <a:gd name="T15" fmla="*/ 52 h 150"/>
                  <a:gd name="T16" fmla="*/ 18 w 154"/>
                  <a:gd name="T17" fmla="*/ 58 h 150"/>
                  <a:gd name="T18" fmla="*/ 50 w 154"/>
                  <a:gd name="T19" fmla="*/ 24 h 150"/>
                  <a:gd name="T20" fmla="*/ 132 w 154"/>
                  <a:gd name="T21" fmla="*/ 100 h 150"/>
                  <a:gd name="T22" fmla="*/ 104 w 154"/>
                  <a:gd name="T23" fmla="*/ 128 h 150"/>
                  <a:gd name="T24" fmla="*/ 18 w 154"/>
                  <a:gd name="T25" fmla="*/ 46 h 150"/>
                  <a:gd name="T26" fmla="*/ 12 w 154"/>
                  <a:gd name="T27" fmla="*/ 52 h 150"/>
                  <a:gd name="T28" fmla="*/ 18 w 154"/>
                  <a:gd name="T29" fmla="*/ 58 h 150"/>
                  <a:gd name="T30" fmla="*/ 12 w 154"/>
                  <a:gd name="T31" fmla="*/ 52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4" h="150">
                    <a:moveTo>
                      <a:pt x="12" y="52"/>
                    </a:moveTo>
                    <a:lnTo>
                      <a:pt x="6" y="58"/>
                    </a:lnTo>
                    <a:lnTo>
                      <a:pt x="104" y="150"/>
                    </a:lnTo>
                    <a:lnTo>
                      <a:pt x="154" y="98"/>
                    </a:lnTo>
                    <a:lnTo>
                      <a:pt x="50" y="0"/>
                    </a:lnTo>
                    <a:lnTo>
                      <a:pt x="0" y="52"/>
                    </a:lnTo>
                    <a:lnTo>
                      <a:pt x="6" y="58"/>
                    </a:lnTo>
                    <a:lnTo>
                      <a:pt x="12" y="52"/>
                    </a:lnTo>
                    <a:lnTo>
                      <a:pt x="18" y="58"/>
                    </a:lnTo>
                    <a:lnTo>
                      <a:pt x="50" y="24"/>
                    </a:lnTo>
                    <a:lnTo>
                      <a:pt x="132" y="100"/>
                    </a:lnTo>
                    <a:lnTo>
                      <a:pt x="104" y="128"/>
                    </a:lnTo>
                    <a:lnTo>
                      <a:pt x="18" y="46"/>
                    </a:lnTo>
                    <a:lnTo>
                      <a:pt x="12" y="52"/>
                    </a:lnTo>
                    <a:lnTo>
                      <a:pt x="18" y="58"/>
                    </a:lnTo>
                    <a:lnTo>
                      <a:pt x="12" y="5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32" name="Freeform 55">
                <a:extLst>
                  <a:ext uri="{FF2B5EF4-FFF2-40B4-BE49-F238E27FC236}">
                    <a16:creationId xmlns:a16="http://schemas.microsoft.com/office/drawing/2014/main" id="{C75C243B-B749-4F20-AB37-C7956C351E67}"/>
                  </a:ext>
                </a:extLst>
              </p:cNvPr>
              <p:cNvSpPr>
                <a:spLocks/>
              </p:cNvSpPr>
              <p:nvPr/>
            </p:nvSpPr>
            <p:spPr bwMode="auto">
              <a:xfrm>
                <a:off x="7052059" y="2489746"/>
                <a:ext cx="580243" cy="561526"/>
              </a:xfrm>
              <a:custGeom>
                <a:avLst/>
                <a:gdLst>
                  <a:gd name="T0" fmla="*/ 236 w 248"/>
                  <a:gd name="T1" fmla="*/ 226 h 240"/>
                  <a:gd name="T2" fmla="*/ 236 w 248"/>
                  <a:gd name="T3" fmla="*/ 226 h 240"/>
                  <a:gd name="T4" fmla="*/ 236 w 248"/>
                  <a:gd name="T5" fmla="*/ 226 h 240"/>
                  <a:gd name="T6" fmla="*/ 242 w 248"/>
                  <a:gd name="T7" fmla="*/ 218 h 240"/>
                  <a:gd name="T8" fmla="*/ 246 w 248"/>
                  <a:gd name="T9" fmla="*/ 210 h 240"/>
                  <a:gd name="T10" fmla="*/ 248 w 248"/>
                  <a:gd name="T11" fmla="*/ 200 h 240"/>
                  <a:gd name="T12" fmla="*/ 248 w 248"/>
                  <a:gd name="T13" fmla="*/ 190 h 240"/>
                  <a:gd name="T14" fmla="*/ 248 w 248"/>
                  <a:gd name="T15" fmla="*/ 182 h 240"/>
                  <a:gd name="T16" fmla="*/ 244 w 248"/>
                  <a:gd name="T17" fmla="*/ 172 h 240"/>
                  <a:gd name="T18" fmla="*/ 240 w 248"/>
                  <a:gd name="T19" fmla="*/ 164 h 240"/>
                  <a:gd name="T20" fmla="*/ 232 w 248"/>
                  <a:gd name="T21" fmla="*/ 156 h 240"/>
                  <a:gd name="T22" fmla="*/ 232 w 248"/>
                  <a:gd name="T23" fmla="*/ 156 h 240"/>
                  <a:gd name="T24" fmla="*/ 190 w 248"/>
                  <a:gd name="T25" fmla="*/ 120 h 240"/>
                  <a:gd name="T26" fmla="*/ 166 w 248"/>
                  <a:gd name="T27" fmla="*/ 102 h 240"/>
                  <a:gd name="T28" fmla="*/ 140 w 248"/>
                  <a:gd name="T29" fmla="*/ 88 h 240"/>
                  <a:gd name="T30" fmla="*/ 140 w 248"/>
                  <a:gd name="T31" fmla="*/ 88 h 240"/>
                  <a:gd name="T32" fmla="*/ 104 w 248"/>
                  <a:gd name="T33" fmla="*/ 68 h 240"/>
                  <a:gd name="T34" fmla="*/ 72 w 248"/>
                  <a:gd name="T35" fmla="*/ 54 h 240"/>
                  <a:gd name="T36" fmla="*/ 72 w 248"/>
                  <a:gd name="T37" fmla="*/ 54 h 240"/>
                  <a:gd name="T38" fmla="*/ 56 w 248"/>
                  <a:gd name="T39" fmla="*/ 44 h 240"/>
                  <a:gd name="T40" fmla="*/ 40 w 248"/>
                  <a:gd name="T41" fmla="*/ 32 h 240"/>
                  <a:gd name="T42" fmla="*/ 26 w 248"/>
                  <a:gd name="T43" fmla="*/ 20 h 240"/>
                  <a:gd name="T44" fmla="*/ 14 w 248"/>
                  <a:gd name="T45" fmla="*/ 4 h 240"/>
                  <a:gd name="T46" fmla="*/ 14 w 248"/>
                  <a:gd name="T47" fmla="*/ 4 h 240"/>
                  <a:gd name="T48" fmla="*/ 8 w 248"/>
                  <a:gd name="T49" fmla="*/ 0 h 240"/>
                  <a:gd name="T50" fmla="*/ 4 w 248"/>
                  <a:gd name="T51" fmla="*/ 0 h 240"/>
                  <a:gd name="T52" fmla="*/ 4 w 248"/>
                  <a:gd name="T53" fmla="*/ 0 h 240"/>
                  <a:gd name="T54" fmla="*/ 0 w 248"/>
                  <a:gd name="T55" fmla="*/ 6 h 240"/>
                  <a:gd name="T56" fmla="*/ 0 w 248"/>
                  <a:gd name="T57" fmla="*/ 10 h 240"/>
                  <a:gd name="T58" fmla="*/ 6 w 248"/>
                  <a:gd name="T59" fmla="*/ 20 h 240"/>
                  <a:gd name="T60" fmla="*/ 6 w 248"/>
                  <a:gd name="T61" fmla="*/ 20 h 240"/>
                  <a:gd name="T62" fmla="*/ 18 w 248"/>
                  <a:gd name="T63" fmla="*/ 42 h 240"/>
                  <a:gd name="T64" fmla="*/ 28 w 248"/>
                  <a:gd name="T65" fmla="*/ 64 h 240"/>
                  <a:gd name="T66" fmla="*/ 34 w 248"/>
                  <a:gd name="T67" fmla="*/ 88 h 240"/>
                  <a:gd name="T68" fmla="*/ 38 w 248"/>
                  <a:gd name="T69" fmla="*/ 112 h 240"/>
                  <a:gd name="T70" fmla="*/ 56 w 248"/>
                  <a:gd name="T71" fmla="*/ 108 h 240"/>
                  <a:gd name="T72" fmla="*/ 52 w 248"/>
                  <a:gd name="T73" fmla="*/ 90 h 240"/>
                  <a:gd name="T74" fmla="*/ 52 w 248"/>
                  <a:gd name="T75" fmla="*/ 90 h 240"/>
                  <a:gd name="T76" fmla="*/ 54 w 248"/>
                  <a:gd name="T77" fmla="*/ 86 h 240"/>
                  <a:gd name="T78" fmla="*/ 56 w 248"/>
                  <a:gd name="T79" fmla="*/ 84 h 240"/>
                  <a:gd name="T80" fmla="*/ 62 w 248"/>
                  <a:gd name="T81" fmla="*/ 84 h 240"/>
                  <a:gd name="T82" fmla="*/ 66 w 248"/>
                  <a:gd name="T83" fmla="*/ 86 h 240"/>
                  <a:gd name="T84" fmla="*/ 94 w 248"/>
                  <a:gd name="T85" fmla="*/ 118 h 240"/>
                  <a:gd name="T86" fmla="*/ 88 w 248"/>
                  <a:gd name="T87" fmla="*/ 190 h 240"/>
                  <a:gd name="T88" fmla="*/ 92 w 248"/>
                  <a:gd name="T89" fmla="*/ 194 h 240"/>
                  <a:gd name="T90" fmla="*/ 92 w 248"/>
                  <a:gd name="T91" fmla="*/ 194 h 240"/>
                  <a:gd name="T92" fmla="*/ 96 w 248"/>
                  <a:gd name="T93" fmla="*/ 202 h 240"/>
                  <a:gd name="T94" fmla="*/ 102 w 248"/>
                  <a:gd name="T95" fmla="*/ 208 h 240"/>
                  <a:gd name="T96" fmla="*/ 110 w 248"/>
                  <a:gd name="T97" fmla="*/ 212 h 240"/>
                  <a:gd name="T98" fmla="*/ 118 w 248"/>
                  <a:gd name="T99" fmla="*/ 216 h 240"/>
                  <a:gd name="T100" fmla="*/ 186 w 248"/>
                  <a:gd name="T101" fmla="*/ 238 h 240"/>
                  <a:gd name="T102" fmla="*/ 186 w 248"/>
                  <a:gd name="T103" fmla="*/ 238 h 240"/>
                  <a:gd name="T104" fmla="*/ 200 w 248"/>
                  <a:gd name="T105" fmla="*/ 240 h 240"/>
                  <a:gd name="T106" fmla="*/ 212 w 248"/>
                  <a:gd name="T107" fmla="*/ 238 h 240"/>
                  <a:gd name="T108" fmla="*/ 224 w 248"/>
                  <a:gd name="T109" fmla="*/ 234 h 240"/>
                  <a:gd name="T110" fmla="*/ 236 w 248"/>
                  <a:gd name="T111" fmla="*/ 226 h 240"/>
                  <a:gd name="T112" fmla="*/ 236 w 248"/>
                  <a:gd name="T113" fmla="*/ 226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48" h="240">
                    <a:moveTo>
                      <a:pt x="236" y="226"/>
                    </a:moveTo>
                    <a:lnTo>
                      <a:pt x="236" y="226"/>
                    </a:lnTo>
                    <a:lnTo>
                      <a:pt x="236" y="226"/>
                    </a:lnTo>
                    <a:lnTo>
                      <a:pt x="242" y="218"/>
                    </a:lnTo>
                    <a:lnTo>
                      <a:pt x="246" y="210"/>
                    </a:lnTo>
                    <a:lnTo>
                      <a:pt x="248" y="200"/>
                    </a:lnTo>
                    <a:lnTo>
                      <a:pt x="248" y="190"/>
                    </a:lnTo>
                    <a:lnTo>
                      <a:pt x="248" y="182"/>
                    </a:lnTo>
                    <a:lnTo>
                      <a:pt x="244" y="172"/>
                    </a:lnTo>
                    <a:lnTo>
                      <a:pt x="240" y="164"/>
                    </a:lnTo>
                    <a:lnTo>
                      <a:pt x="232" y="156"/>
                    </a:lnTo>
                    <a:lnTo>
                      <a:pt x="232" y="156"/>
                    </a:lnTo>
                    <a:lnTo>
                      <a:pt x="190" y="120"/>
                    </a:lnTo>
                    <a:lnTo>
                      <a:pt x="166" y="102"/>
                    </a:lnTo>
                    <a:lnTo>
                      <a:pt x="140" y="88"/>
                    </a:lnTo>
                    <a:lnTo>
                      <a:pt x="140" y="88"/>
                    </a:lnTo>
                    <a:lnTo>
                      <a:pt x="104" y="68"/>
                    </a:lnTo>
                    <a:lnTo>
                      <a:pt x="72" y="54"/>
                    </a:lnTo>
                    <a:lnTo>
                      <a:pt x="72" y="54"/>
                    </a:lnTo>
                    <a:lnTo>
                      <a:pt x="56" y="44"/>
                    </a:lnTo>
                    <a:lnTo>
                      <a:pt x="40" y="32"/>
                    </a:lnTo>
                    <a:lnTo>
                      <a:pt x="26" y="20"/>
                    </a:lnTo>
                    <a:lnTo>
                      <a:pt x="14" y="4"/>
                    </a:lnTo>
                    <a:lnTo>
                      <a:pt x="14" y="4"/>
                    </a:lnTo>
                    <a:lnTo>
                      <a:pt x="8" y="0"/>
                    </a:lnTo>
                    <a:lnTo>
                      <a:pt x="4" y="0"/>
                    </a:lnTo>
                    <a:lnTo>
                      <a:pt x="4" y="0"/>
                    </a:lnTo>
                    <a:lnTo>
                      <a:pt x="0" y="6"/>
                    </a:lnTo>
                    <a:lnTo>
                      <a:pt x="0" y="10"/>
                    </a:lnTo>
                    <a:lnTo>
                      <a:pt x="6" y="20"/>
                    </a:lnTo>
                    <a:lnTo>
                      <a:pt x="6" y="20"/>
                    </a:lnTo>
                    <a:lnTo>
                      <a:pt x="18" y="42"/>
                    </a:lnTo>
                    <a:lnTo>
                      <a:pt x="28" y="64"/>
                    </a:lnTo>
                    <a:lnTo>
                      <a:pt x="34" y="88"/>
                    </a:lnTo>
                    <a:lnTo>
                      <a:pt x="38" y="112"/>
                    </a:lnTo>
                    <a:lnTo>
                      <a:pt x="56" y="108"/>
                    </a:lnTo>
                    <a:lnTo>
                      <a:pt x="52" y="90"/>
                    </a:lnTo>
                    <a:lnTo>
                      <a:pt x="52" y="90"/>
                    </a:lnTo>
                    <a:lnTo>
                      <a:pt x="54" y="86"/>
                    </a:lnTo>
                    <a:lnTo>
                      <a:pt x="56" y="84"/>
                    </a:lnTo>
                    <a:lnTo>
                      <a:pt x="62" y="84"/>
                    </a:lnTo>
                    <a:lnTo>
                      <a:pt x="66" y="86"/>
                    </a:lnTo>
                    <a:lnTo>
                      <a:pt x="94" y="118"/>
                    </a:lnTo>
                    <a:lnTo>
                      <a:pt x="88" y="190"/>
                    </a:lnTo>
                    <a:lnTo>
                      <a:pt x="92" y="194"/>
                    </a:lnTo>
                    <a:lnTo>
                      <a:pt x="92" y="194"/>
                    </a:lnTo>
                    <a:lnTo>
                      <a:pt x="96" y="202"/>
                    </a:lnTo>
                    <a:lnTo>
                      <a:pt x="102" y="208"/>
                    </a:lnTo>
                    <a:lnTo>
                      <a:pt x="110" y="212"/>
                    </a:lnTo>
                    <a:lnTo>
                      <a:pt x="118" y="216"/>
                    </a:lnTo>
                    <a:lnTo>
                      <a:pt x="186" y="238"/>
                    </a:lnTo>
                    <a:lnTo>
                      <a:pt x="186" y="238"/>
                    </a:lnTo>
                    <a:lnTo>
                      <a:pt x="200" y="240"/>
                    </a:lnTo>
                    <a:lnTo>
                      <a:pt x="212" y="238"/>
                    </a:lnTo>
                    <a:lnTo>
                      <a:pt x="224" y="234"/>
                    </a:lnTo>
                    <a:lnTo>
                      <a:pt x="236" y="226"/>
                    </a:lnTo>
                    <a:lnTo>
                      <a:pt x="236" y="226"/>
                    </a:lnTo>
                    <a:close/>
                  </a:path>
                </a:pathLst>
              </a:custGeom>
              <a:solidFill>
                <a:srgbClr val="C1D9D8"/>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33" name="Freeform 57">
                <a:extLst>
                  <a:ext uri="{FF2B5EF4-FFF2-40B4-BE49-F238E27FC236}">
                    <a16:creationId xmlns:a16="http://schemas.microsoft.com/office/drawing/2014/main" id="{8AE43482-35CB-4882-8BB8-76811405D2D8}"/>
                  </a:ext>
                </a:extLst>
              </p:cNvPr>
              <p:cNvSpPr>
                <a:spLocks/>
              </p:cNvSpPr>
              <p:nvPr/>
            </p:nvSpPr>
            <p:spPr bwMode="auto">
              <a:xfrm>
                <a:off x="6972510" y="2840699"/>
                <a:ext cx="224610" cy="215251"/>
              </a:xfrm>
              <a:custGeom>
                <a:avLst/>
                <a:gdLst>
                  <a:gd name="T0" fmla="*/ 4 w 96"/>
                  <a:gd name="T1" fmla="*/ 24 h 92"/>
                  <a:gd name="T2" fmla="*/ 72 w 96"/>
                  <a:gd name="T3" fmla="*/ 88 h 92"/>
                  <a:gd name="T4" fmla="*/ 72 w 96"/>
                  <a:gd name="T5" fmla="*/ 88 h 92"/>
                  <a:gd name="T6" fmla="*/ 78 w 96"/>
                  <a:gd name="T7" fmla="*/ 90 h 92"/>
                  <a:gd name="T8" fmla="*/ 82 w 96"/>
                  <a:gd name="T9" fmla="*/ 92 h 92"/>
                  <a:gd name="T10" fmla="*/ 88 w 96"/>
                  <a:gd name="T11" fmla="*/ 90 h 92"/>
                  <a:gd name="T12" fmla="*/ 92 w 96"/>
                  <a:gd name="T13" fmla="*/ 86 h 92"/>
                  <a:gd name="T14" fmla="*/ 92 w 96"/>
                  <a:gd name="T15" fmla="*/ 86 h 92"/>
                  <a:gd name="T16" fmla="*/ 94 w 96"/>
                  <a:gd name="T17" fmla="*/ 82 h 92"/>
                  <a:gd name="T18" fmla="*/ 96 w 96"/>
                  <a:gd name="T19" fmla="*/ 78 h 92"/>
                  <a:gd name="T20" fmla="*/ 94 w 96"/>
                  <a:gd name="T21" fmla="*/ 72 h 92"/>
                  <a:gd name="T22" fmla="*/ 92 w 96"/>
                  <a:gd name="T23" fmla="*/ 68 h 92"/>
                  <a:gd name="T24" fmla="*/ 24 w 96"/>
                  <a:gd name="T25" fmla="*/ 4 h 92"/>
                  <a:gd name="T26" fmla="*/ 24 w 96"/>
                  <a:gd name="T27" fmla="*/ 4 h 92"/>
                  <a:gd name="T28" fmla="*/ 18 w 96"/>
                  <a:gd name="T29" fmla="*/ 0 h 92"/>
                  <a:gd name="T30" fmla="*/ 14 w 96"/>
                  <a:gd name="T31" fmla="*/ 0 h 92"/>
                  <a:gd name="T32" fmla="*/ 8 w 96"/>
                  <a:gd name="T33" fmla="*/ 0 h 92"/>
                  <a:gd name="T34" fmla="*/ 4 w 96"/>
                  <a:gd name="T35" fmla="*/ 4 h 92"/>
                  <a:gd name="T36" fmla="*/ 4 w 96"/>
                  <a:gd name="T37" fmla="*/ 4 h 92"/>
                  <a:gd name="T38" fmla="*/ 2 w 96"/>
                  <a:gd name="T39" fmla="*/ 8 h 92"/>
                  <a:gd name="T40" fmla="*/ 0 w 96"/>
                  <a:gd name="T41" fmla="*/ 14 h 92"/>
                  <a:gd name="T42" fmla="*/ 2 w 96"/>
                  <a:gd name="T43" fmla="*/ 18 h 92"/>
                  <a:gd name="T44" fmla="*/ 4 w 96"/>
                  <a:gd name="T45" fmla="*/ 24 h 92"/>
                  <a:gd name="T46" fmla="*/ 4 w 96"/>
                  <a:gd name="T47" fmla="*/ 24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6" h="92">
                    <a:moveTo>
                      <a:pt x="4" y="24"/>
                    </a:moveTo>
                    <a:lnTo>
                      <a:pt x="72" y="88"/>
                    </a:lnTo>
                    <a:lnTo>
                      <a:pt x="72" y="88"/>
                    </a:lnTo>
                    <a:lnTo>
                      <a:pt x="78" y="90"/>
                    </a:lnTo>
                    <a:lnTo>
                      <a:pt x="82" y="92"/>
                    </a:lnTo>
                    <a:lnTo>
                      <a:pt x="88" y="90"/>
                    </a:lnTo>
                    <a:lnTo>
                      <a:pt x="92" y="86"/>
                    </a:lnTo>
                    <a:lnTo>
                      <a:pt x="92" y="86"/>
                    </a:lnTo>
                    <a:lnTo>
                      <a:pt x="94" y="82"/>
                    </a:lnTo>
                    <a:lnTo>
                      <a:pt x="96" y="78"/>
                    </a:lnTo>
                    <a:lnTo>
                      <a:pt x="94" y="72"/>
                    </a:lnTo>
                    <a:lnTo>
                      <a:pt x="92" y="68"/>
                    </a:lnTo>
                    <a:lnTo>
                      <a:pt x="24" y="4"/>
                    </a:lnTo>
                    <a:lnTo>
                      <a:pt x="24" y="4"/>
                    </a:lnTo>
                    <a:lnTo>
                      <a:pt x="18" y="0"/>
                    </a:lnTo>
                    <a:lnTo>
                      <a:pt x="14" y="0"/>
                    </a:lnTo>
                    <a:lnTo>
                      <a:pt x="8" y="0"/>
                    </a:lnTo>
                    <a:lnTo>
                      <a:pt x="4" y="4"/>
                    </a:lnTo>
                    <a:lnTo>
                      <a:pt x="4" y="4"/>
                    </a:lnTo>
                    <a:lnTo>
                      <a:pt x="2" y="8"/>
                    </a:lnTo>
                    <a:lnTo>
                      <a:pt x="0" y="14"/>
                    </a:lnTo>
                    <a:lnTo>
                      <a:pt x="2" y="18"/>
                    </a:lnTo>
                    <a:lnTo>
                      <a:pt x="4" y="24"/>
                    </a:lnTo>
                    <a:lnTo>
                      <a:pt x="4" y="24"/>
                    </a:lnTo>
                    <a:close/>
                  </a:path>
                </a:pathLst>
              </a:custGeom>
              <a:solidFill>
                <a:srgbClr val="97BFBD"/>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34" name="Freeform 59">
                <a:extLst>
                  <a:ext uri="{FF2B5EF4-FFF2-40B4-BE49-F238E27FC236}">
                    <a16:creationId xmlns:a16="http://schemas.microsoft.com/office/drawing/2014/main" id="{F6030B0F-DED8-48E9-897B-90FA9AF042C6}"/>
                  </a:ext>
                </a:extLst>
              </p:cNvPr>
              <p:cNvSpPr>
                <a:spLocks/>
              </p:cNvSpPr>
              <p:nvPr/>
            </p:nvSpPr>
            <p:spPr bwMode="auto">
              <a:xfrm>
                <a:off x="7023983" y="2733073"/>
                <a:ext cx="271404" cy="271404"/>
              </a:xfrm>
              <a:custGeom>
                <a:avLst/>
                <a:gdLst>
                  <a:gd name="T0" fmla="*/ 0 w 116"/>
                  <a:gd name="T1" fmla="*/ 48 h 116"/>
                  <a:gd name="T2" fmla="*/ 72 w 116"/>
                  <a:gd name="T3" fmla="*/ 116 h 116"/>
                  <a:gd name="T4" fmla="*/ 102 w 116"/>
                  <a:gd name="T5" fmla="*/ 84 h 116"/>
                  <a:gd name="T6" fmla="*/ 102 w 116"/>
                  <a:gd name="T7" fmla="*/ 84 h 116"/>
                  <a:gd name="T8" fmla="*/ 108 w 116"/>
                  <a:gd name="T9" fmla="*/ 76 h 116"/>
                  <a:gd name="T10" fmla="*/ 112 w 116"/>
                  <a:gd name="T11" fmla="*/ 66 h 116"/>
                  <a:gd name="T12" fmla="*/ 114 w 116"/>
                  <a:gd name="T13" fmla="*/ 58 h 116"/>
                  <a:gd name="T14" fmla="*/ 116 w 116"/>
                  <a:gd name="T15" fmla="*/ 48 h 116"/>
                  <a:gd name="T16" fmla="*/ 114 w 116"/>
                  <a:gd name="T17" fmla="*/ 38 h 116"/>
                  <a:gd name="T18" fmla="*/ 112 w 116"/>
                  <a:gd name="T19" fmla="*/ 30 h 116"/>
                  <a:gd name="T20" fmla="*/ 106 w 116"/>
                  <a:gd name="T21" fmla="*/ 20 h 116"/>
                  <a:gd name="T22" fmla="*/ 100 w 116"/>
                  <a:gd name="T23" fmla="*/ 14 h 116"/>
                  <a:gd name="T24" fmla="*/ 100 w 116"/>
                  <a:gd name="T25" fmla="*/ 14 h 116"/>
                  <a:gd name="T26" fmla="*/ 92 w 116"/>
                  <a:gd name="T27" fmla="*/ 6 h 116"/>
                  <a:gd name="T28" fmla="*/ 84 w 116"/>
                  <a:gd name="T29" fmla="*/ 2 h 116"/>
                  <a:gd name="T30" fmla="*/ 74 w 116"/>
                  <a:gd name="T31" fmla="*/ 0 h 116"/>
                  <a:gd name="T32" fmla="*/ 64 w 116"/>
                  <a:gd name="T33" fmla="*/ 0 h 116"/>
                  <a:gd name="T34" fmla="*/ 54 w 116"/>
                  <a:gd name="T35" fmla="*/ 0 h 116"/>
                  <a:gd name="T36" fmla="*/ 46 w 116"/>
                  <a:gd name="T37" fmla="*/ 4 h 116"/>
                  <a:gd name="T38" fmla="*/ 38 w 116"/>
                  <a:gd name="T39" fmla="*/ 8 h 116"/>
                  <a:gd name="T40" fmla="*/ 30 w 116"/>
                  <a:gd name="T41" fmla="*/ 16 h 116"/>
                  <a:gd name="T42" fmla="*/ 0 w 116"/>
                  <a:gd name="T43" fmla="*/ 48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16" h="116">
                    <a:moveTo>
                      <a:pt x="0" y="48"/>
                    </a:moveTo>
                    <a:lnTo>
                      <a:pt x="72" y="116"/>
                    </a:lnTo>
                    <a:lnTo>
                      <a:pt x="102" y="84"/>
                    </a:lnTo>
                    <a:lnTo>
                      <a:pt x="102" y="84"/>
                    </a:lnTo>
                    <a:lnTo>
                      <a:pt x="108" y="76"/>
                    </a:lnTo>
                    <a:lnTo>
                      <a:pt x="112" y="66"/>
                    </a:lnTo>
                    <a:lnTo>
                      <a:pt x="114" y="58"/>
                    </a:lnTo>
                    <a:lnTo>
                      <a:pt x="116" y="48"/>
                    </a:lnTo>
                    <a:lnTo>
                      <a:pt x="114" y="38"/>
                    </a:lnTo>
                    <a:lnTo>
                      <a:pt x="112" y="30"/>
                    </a:lnTo>
                    <a:lnTo>
                      <a:pt x="106" y="20"/>
                    </a:lnTo>
                    <a:lnTo>
                      <a:pt x="100" y="14"/>
                    </a:lnTo>
                    <a:lnTo>
                      <a:pt x="100" y="14"/>
                    </a:lnTo>
                    <a:lnTo>
                      <a:pt x="92" y="6"/>
                    </a:lnTo>
                    <a:lnTo>
                      <a:pt x="84" y="2"/>
                    </a:lnTo>
                    <a:lnTo>
                      <a:pt x="74" y="0"/>
                    </a:lnTo>
                    <a:lnTo>
                      <a:pt x="64" y="0"/>
                    </a:lnTo>
                    <a:lnTo>
                      <a:pt x="54" y="0"/>
                    </a:lnTo>
                    <a:lnTo>
                      <a:pt x="46" y="4"/>
                    </a:lnTo>
                    <a:lnTo>
                      <a:pt x="38" y="8"/>
                    </a:lnTo>
                    <a:lnTo>
                      <a:pt x="30" y="16"/>
                    </a:lnTo>
                    <a:lnTo>
                      <a:pt x="0" y="48"/>
                    </a:lnTo>
                    <a:close/>
                  </a:path>
                </a:pathLst>
              </a:custGeom>
              <a:solidFill>
                <a:srgbClr val="C1D9D8"/>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35" name="Freeform 61">
                <a:extLst>
                  <a:ext uri="{FF2B5EF4-FFF2-40B4-BE49-F238E27FC236}">
                    <a16:creationId xmlns:a16="http://schemas.microsoft.com/office/drawing/2014/main" id="{4B6273D7-1F6D-4288-BEB7-6F45FBD0001F}"/>
                  </a:ext>
                </a:extLst>
              </p:cNvPr>
              <p:cNvSpPr>
                <a:spLocks/>
              </p:cNvSpPr>
              <p:nvPr/>
            </p:nvSpPr>
            <p:spPr bwMode="auto">
              <a:xfrm>
                <a:off x="7314104" y="2910890"/>
                <a:ext cx="46794" cy="46794"/>
              </a:xfrm>
              <a:custGeom>
                <a:avLst/>
                <a:gdLst>
                  <a:gd name="T0" fmla="*/ 4 w 20"/>
                  <a:gd name="T1" fmla="*/ 2 h 20"/>
                  <a:gd name="T2" fmla="*/ 4 w 20"/>
                  <a:gd name="T3" fmla="*/ 2 h 20"/>
                  <a:gd name="T4" fmla="*/ 2 w 20"/>
                  <a:gd name="T5" fmla="*/ 4 h 20"/>
                  <a:gd name="T6" fmla="*/ 0 w 20"/>
                  <a:gd name="T7" fmla="*/ 8 h 20"/>
                  <a:gd name="T8" fmla="*/ 0 w 20"/>
                  <a:gd name="T9" fmla="*/ 12 h 20"/>
                  <a:gd name="T10" fmla="*/ 2 w 20"/>
                  <a:gd name="T11" fmla="*/ 16 h 20"/>
                  <a:gd name="T12" fmla="*/ 2 w 20"/>
                  <a:gd name="T13" fmla="*/ 16 h 20"/>
                  <a:gd name="T14" fmla="*/ 4 w 20"/>
                  <a:gd name="T15" fmla="*/ 18 h 20"/>
                  <a:gd name="T16" fmla="*/ 8 w 20"/>
                  <a:gd name="T17" fmla="*/ 20 h 20"/>
                  <a:gd name="T18" fmla="*/ 12 w 20"/>
                  <a:gd name="T19" fmla="*/ 20 h 20"/>
                  <a:gd name="T20" fmla="*/ 14 w 20"/>
                  <a:gd name="T21" fmla="*/ 18 h 20"/>
                  <a:gd name="T22" fmla="*/ 14 w 20"/>
                  <a:gd name="T23" fmla="*/ 18 h 20"/>
                  <a:gd name="T24" fmla="*/ 18 w 20"/>
                  <a:gd name="T25" fmla="*/ 16 h 20"/>
                  <a:gd name="T26" fmla="*/ 20 w 20"/>
                  <a:gd name="T27" fmla="*/ 12 h 20"/>
                  <a:gd name="T28" fmla="*/ 20 w 20"/>
                  <a:gd name="T29" fmla="*/ 8 h 20"/>
                  <a:gd name="T30" fmla="*/ 18 w 20"/>
                  <a:gd name="T31" fmla="*/ 4 h 20"/>
                  <a:gd name="T32" fmla="*/ 18 w 20"/>
                  <a:gd name="T33" fmla="*/ 4 h 20"/>
                  <a:gd name="T34" fmla="*/ 16 w 20"/>
                  <a:gd name="T35" fmla="*/ 2 h 20"/>
                  <a:gd name="T36" fmla="*/ 12 w 20"/>
                  <a:gd name="T37" fmla="*/ 0 h 20"/>
                  <a:gd name="T38" fmla="*/ 8 w 20"/>
                  <a:gd name="T39" fmla="*/ 0 h 20"/>
                  <a:gd name="T40" fmla="*/ 4 w 20"/>
                  <a:gd name="T41" fmla="*/ 2 h 20"/>
                  <a:gd name="T42" fmla="*/ 4 w 20"/>
                  <a:gd name="T43"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0" h="20">
                    <a:moveTo>
                      <a:pt x="4" y="2"/>
                    </a:moveTo>
                    <a:lnTo>
                      <a:pt x="4" y="2"/>
                    </a:lnTo>
                    <a:lnTo>
                      <a:pt x="2" y="4"/>
                    </a:lnTo>
                    <a:lnTo>
                      <a:pt x="0" y="8"/>
                    </a:lnTo>
                    <a:lnTo>
                      <a:pt x="0" y="12"/>
                    </a:lnTo>
                    <a:lnTo>
                      <a:pt x="2" y="16"/>
                    </a:lnTo>
                    <a:lnTo>
                      <a:pt x="2" y="16"/>
                    </a:lnTo>
                    <a:lnTo>
                      <a:pt x="4" y="18"/>
                    </a:lnTo>
                    <a:lnTo>
                      <a:pt x="8" y="20"/>
                    </a:lnTo>
                    <a:lnTo>
                      <a:pt x="12" y="20"/>
                    </a:lnTo>
                    <a:lnTo>
                      <a:pt x="14" y="18"/>
                    </a:lnTo>
                    <a:lnTo>
                      <a:pt x="14" y="18"/>
                    </a:lnTo>
                    <a:lnTo>
                      <a:pt x="18" y="16"/>
                    </a:lnTo>
                    <a:lnTo>
                      <a:pt x="20" y="12"/>
                    </a:lnTo>
                    <a:lnTo>
                      <a:pt x="20" y="8"/>
                    </a:lnTo>
                    <a:lnTo>
                      <a:pt x="18" y="4"/>
                    </a:lnTo>
                    <a:lnTo>
                      <a:pt x="18" y="4"/>
                    </a:lnTo>
                    <a:lnTo>
                      <a:pt x="16" y="2"/>
                    </a:lnTo>
                    <a:lnTo>
                      <a:pt x="12" y="0"/>
                    </a:lnTo>
                    <a:lnTo>
                      <a:pt x="8" y="0"/>
                    </a:lnTo>
                    <a:lnTo>
                      <a:pt x="4" y="2"/>
                    </a:lnTo>
                    <a:lnTo>
                      <a:pt x="4" y="2"/>
                    </a:lnTo>
                    <a:close/>
                  </a:path>
                </a:pathLst>
              </a:custGeom>
              <a:solidFill>
                <a:srgbClr val="97BFBD"/>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36" name="Freeform 62">
                <a:extLst>
                  <a:ext uri="{FF2B5EF4-FFF2-40B4-BE49-F238E27FC236}">
                    <a16:creationId xmlns:a16="http://schemas.microsoft.com/office/drawing/2014/main" id="{3967439F-0142-442E-9C79-FF19E9D12F8E}"/>
                  </a:ext>
                </a:extLst>
              </p:cNvPr>
              <p:cNvSpPr>
                <a:spLocks/>
              </p:cNvSpPr>
              <p:nvPr/>
            </p:nvSpPr>
            <p:spPr bwMode="auto">
              <a:xfrm>
                <a:off x="7608905" y="2995119"/>
                <a:ext cx="168458" cy="168458"/>
              </a:xfrm>
              <a:custGeom>
                <a:avLst/>
                <a:gdLst>
                  <a:gd name="T0" fmla="*/ 2 w 72"/>
                  <a:gd name="T1" fmla="*/ 38 h 72"/>
                  <a:gd name="T2" fmla="*/ 28 w 72"/>
                  <a:gd name="T3" fmla="*/ 4 h 72"/>
                  <a:gd name="T4" fmla="*/ 28 w 72"/>
                  <a:gd name="T5" fmla="*/ 4 h 72"/>
                  <a:gd name="T6" fmla="*/ 32 w 72"/>
                  <a:gd name="T7" fmla="*/ 2 h 72"/>
                  <a:gd name="T8" fmla="*/ 36 w 72"/>
                  <a:gd name="T9" fmla="*/ 0 h 72"/>
                  <a:gd name="T10" fmla="*/ 40 w 72"/>
                  <a:gd name="T11" fmla="*/ 2 h 72"/>
                  <a:gd name="T12" fmla="*/ 44 w 72"/>
                  <a:gd name="T13" fmla="*/ 4 h 72"/>
                  <a:gd name="T14" fmla="*/ 64 w 72"/>
                  <a:gd name="T15" fmla="*/ 24 h 72"/>
                  <a:gd name="T16" fmla="*/ 64 w 72"/>
                  <a:gd name="T17" fmla="*/ 24 h 72"/>
                  <a:gd name="T18" fmla="*/ 70 w 72"/>
                  <a:gd name="T19" fmla="*/ 32 h 72"/>
                  <a:gd name="T20" fmla="*/ 72 w 72"/>
                  <a:gd name="T21" fmla="*/ 42 h 72"/>
                  <a:gd name="T22" fmla="*/ 70 w 72"/>
                  <a:gd name="T23" fmla="*/ 52 h 72"/>
                  <a:gd name="T24" fmla="*/ 66 w 72"/>
                  <a:gd name="T25" fmla="*/ 62 h 72"/>
                  <a:gd name="T26" fmla="*/ 66 w 72"/>
                  <a:gd name="T27" fmla="*/ 62 h 72"/>
                  <a:gd name="T28" fmla="*/ 58 w 72"/>
                  <a:gd name="T29" fmla="*/ 68 h 72"/>
                  <a:gd name="T30" fmla="*/ 48 w 72"/>
                  <a:gd name="T31" fmla="*/ 72 h 72"/>
                  <a:gd name="T32" fmla="*/ 38 w 72"/>
                  <a:gd name="T33" fmla="*/ 72 h 72"/>
                  <a:gd name="T34" fmla="*/ 28 w 72"/>
                  <a:gd name="T35" fmla="*/ 68 h 72"/>
                  <a:gd name="T36" fmla="*/ 6 w 72"/>
                  <a:gd name="T37" fmla="*/ 54 h 72"/>
                  <a:gd name="T38" fmla="*/ 6 w 72"/>
                  <a:gd name="T39" fmla="*/ 54 h 72"/>
                  <a:gd name="T40" fmla="*/ 2 w 72"/>
                  <a:gd name="T41" fmla="*/ 50 h 72"/>
                  <a:gd name="T42" fmla="*/ 0 w 72"/>
                  <a:gd name="T43" fmla="*/ 46 h 72"/>
                  <a:gd name="T44" fmla="*/ 0 w 72"/>
                  <a:gd name="T45" fmla="*/ 42 h 72"/>
                  <a:gd name="T46" fmla="*/ 2 w 72"/>
                  <a:gd name="T47" fmla="*/ 38 h 72"/>
                  <a:gd name="T48" fmla="*/ 2 w 72"/>
                  <a:gd name="T49" fmla="*/ 38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72" h="72">
                    <a:moveTo>
                      <a:pt x="2" y="38"/>
                    </a:moveTo>
                    <a:lnTo>
                      <a:pt x="28" y="4"/>
                    </a:lnTo>
                    <a:lnTo>
                      <a:pt x="28" y="4"/>
                    </a:lnTo>
                    <a:lnTo>
                      <a:pt x="32" y="2"/>
                    </a:lnTo>
                    <a:lnTo>
                      <a:pt x="36" y="0"/>
                    </a:lnTo>
                    <a:lnTo>
                      <a:pt x="40" y="2"/>
                    </a:lnTo>
                    <a:lnTo>
                      <a:pt x="44" y="4"/>
                    </a:lnTo>
                    <a:lnTo>
                      <a:pt x="64" y="24"/>
                    </a:lnTo>
                    <a:lnTo>
                      <a:pt x="64" y="24"/>
                    </a:lnTo>
                    <a:lnTo>
                      <a:pt x="70" y="32"/>
                    </a:lnTo>
                    <a:lnTo>
                      <a:pt x="72" y="42"/>
                    </a:lnTo>
                    <a:lnTo>
                      <a:pt x="70" y="52"/>
                    </a:lnTo>
                    <a:lnTo>
                      <a:pt x="66" y="62"/>
                    </a:lnTo>
                    <a:lnTo>
                      <a:pt x="66" y="62"/>
                    </a:lnTo>
                    <a:lnTo>
                      <a:pt x="58" y="68"/>
                    </a:lnTo>
                    <a:lnTo>
                      <a:pt x="48" y="72"/>
                    </a:lnTo>
                    <a:lnTo>
                      <a:pt x="38" y="72"/>
                    </a:lnTo>
                    <a:lnTo>
                      <a:pt x="28" y="68"/>
                    </a:lnTo>
                    <a:lnTo>
                      <a:pt x="6" y="54"/>
                    </a:lnTo>
                    <a:lnTo>
                      <a:pt x="6" y="54"/>
                    </a:lnTo>
                    <a:lnTo>
                      <a:pt x="2" y="50"/>
                    </a:lnTo>
                    <a:lnTo>
                      <a:pt x="0" y="46"/>
                    </a:lnTo>
                    <a:lnTo>
                      <a:pt x="0" y="42"/>
                    </a:lnTo>
                    <a:lnTo>
                      <a:pt x="2" y="38"/>
                    </a:lnTo>
                    <a:lnTo>
                      <a:pt x="2" y="38"/>
                    </a:lnTo>
                    <a:close/>
                  </a:path>
                </a:pathLst>
              </a:custGeom>
              <a:solidFill>
                <a:srgbClr val="C1D9D8"/>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37" name="Freeform 69">
                <a:extLst>
                  <a:ext uri="{FF2B5EF4-FFF2-40B4-BE49-F238E27FC236}">
                    <a16:creationId xmlns:a16="http://schemas.microsoft.com/office/drawing/2014/main" id="{F8C009E9-47CB-47BE-A28B-8255AE7CF795}"/>
                  </a:ext>
                </a:extLst>
              </p:cNvPr>
              <p:cNvSpPr>
                <a:spLocks/>
              </p:cNvSpPr>
              <p:nvPr/>
            </p:nvSpPr>
            <p:spPr bwMode="auto">
              <a:xfrm>
                <a:off x="6846166" y="2962363"/>
                <a:ext cx="88908" cy="74870"/>
              </a:xfrm>
              <a:custGeom>
                <a:avLst/>
                <a:gdLst>
                  <a:gd name="T0" fmla="*/ 6 w 38"/>
                  <a:gd name="T1" fmla="*/ 0 h 32"/>
                  <a:gd name="T2" fmla="*/ 6 w 38"/>
                  <a:gd name="T3" fmla="*/ 0 h 32"/>
                  <a:gd name="T4" fmla="*/ 0 w 38"/>
                  <a:gd name="T5" fmla="*/ 4 h 32"/>
                  <a:gd name="T6" fmla="*/ 2 w 38"/>
                  <a:gd name="T7" fmla="*/ 6 h 32"/>
                  <a:gd name="T8" fmla="*/ 8 w 38"/>
                  <a:gd name="T9" fmla="*/ 0 h 32"/>
                  <a:gd name="T10" fmla="*/ 2 w 38"/>
                  <a:gd name="T11" fmla="*/ 6 h 32"/>
                  <a:gd name="T12" fmla="*/ 6 w 38"/>
                  <a:gd name="T13" fmla="*/ 10 h 32"/>
                  <a:gd name="T14" fmla="*/ 30 w 38"/>
                  <a:gd name="T15" fmla="*/ 32 h 32"/>
                  <a:gd name="T16" fmla="*/ 38 w 38"/>
                  <a:gd name="T17" fmla="*/ 28 h 32"/>
                  <a:gd name="T18" fmla="*/ 6 w 38"/>
                  <a:gd name="T19"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 h="32">
                    <a:moveTo>
                      <a:pt x="6" y="0"/>
                    </a:moveTo>
                    <a:lnTo>
                      <a:pt x="6" y="0"/>
                    </a:lnTo>
                    <a:lnTo>
                      <a:pt x="0" y="4"/>
                    </a:lnTo>
                    <a:lnTo>
                      <a:pt x="2" y="6"/>
                    </a:lnTo>
                    <a:lnTo>
                      <a:pt x="8" y="0"/>
                    </a:lnTo>
                    <a:lnTo>
                      <a:pt x="2" y="6"/>
                    </a:lnTo>
                    <a:lnTo>
                      <a:pt x="6" y="10"/>
                    </a:lnTo>
                    <a:lnTo>
                      <a:pt x="30" y="32"/>
                    </a:lnTo>
                    <a:lnTo>
                      <a:pt x="38" y="2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38" name="Freeform 117">
                <a:extLst>
                  <a:ext uri="{FF2B5EF4-FFF2-40B4-BE49-F238E27FC236}">
                    <a16:creationId xmlns:a16="http://schemas.microsoft.com/office/drawing/2014/main" id="{AF49FDAE-877A-4CCA-BF95-9A1581BD456E}"/>
                  </a:ext>
                </a:extLst>
              </p:cNvPr>
              <p:cNvSpPr>
                <a:spLocks/>
              </p:cNvSpPr>
              <p:nvPr/>
            </p:nvSpPr>
            <p:spPr bwMode="auto">
              <a:xfrm>
                <a:off x="6888281" y="3280561"/>
                <a:ext cx="276083" cy="187175"/>
              </a:xfrm>
              <a:custGeom>
                <a:avLst/>
                <a:gdLst>
                  <a:gd name="T0" fmla="*/ 66 w 118"/>
                  <a:gd name="T1" fmla="*/ 0 h 80"/>
                  <a:gd name="T2" fmla="*/ 106 w 118"/>
                  <a:gd name="T3" fmla="*/ 28 h 80"/>
                  <a:gd name="T4" fmla="*/ 106 w 118"/>
                  <a:gd name="T5" fmla="*/ 28 h 80"/>
                  <a:gd name="T6" fmla="*/ 114 w 118"/>
                  <a:gd name="T7" fmla="*/ 36 h 80"/>
                  <a:gd name="T8" fmla="*/ 118 w 118"/>
                  <a:gd name="T9" fmla="*/ 46 h 80"/>
                  <a:gd name="T10" fmla="*/ 116 w 118"/>
                  <a:gd name="T11" fmla="*/ 58 h 80"/>
                  <a:gd name="T12" fmla="*/ 112 w 118"/>
                  <a:gd name="T13" fmla="*/ 68 h 80"/>
                  <a:gd name="T14" fmla="*/ 112 w 118"/>
                  <a:gd name="T15" fmla="*/ 68 h 80"/>
                  <a:gd name="T16" fmla="*/ 112 w 118"/>
                  <a:gd name="T17" fmla="*/ 68 h 80"/>
                  <a:gd name="T18" fmla="*/ 102 w 118"/>
                  <a:gd name="T19" fmla="*/ 76 h 80"/>
                  <a:gd name="T20" fmla="*/ 92 w 118"/>
                  <a:gd name="T21" fmla="*/ 80 h 80"/>
                  <a:gd name="T22" fmla="*/ 82 w 118"/>
                  <a:gd name="T23" fmla="*/ 80 h 80"/>
                  <a:gd name="T24" fmla="*/ 72 w 118"/>
                  <a:gd name="T25" fmla="*/ 76 h 80"/>
                  <a:gd name="T26" fmla="*/ 0 w 118"/>
                  <a:gd name="T27" fmla="*/ 24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8" h="80">
                    <a:moveTo>
                      <a:pt x="66" y="0"/>
                    </a:moveTo>
                    <a:lnTo>
                      <a:pt x="106" y="28"/>
                    </a:lnTo>
                    <a:lnTo>
                      <a:pt x="106" y="28"/>
                    </a:lnTo>
                    <a:lnTo>
                      <a:pt x="114" y="36"/>
                    </a:lnTo>
                    <a:lnTo>
                      <a:pt x="118" y="46"/>
                    </a:lnTo>
                    <a:lnTo>
                      <a:pt x="116" y="58"/>
                    </a:lnTo>
                    <a:lnTo>
                      <a:pt x="112" y="68"/>
                    </a:lnTo>
                    <a:lnTo>
                      <a:pt x="112" y="68"/>
                    </a:lnTo>
                    <a:lnTo>
                      <a:pt x="112" y="68"/>
                    </a:lnTo>
                    <a:lnTo>
                      <a:pt x="102" y="76"/>
                    </a:lnTo>
                    <a:lnTo>
                      <a:pt x="92" y="80"/>
                    </a:lnTo>
                    <a:lnTo>
                      <a:pt x="82" y="80"/>
                    </a:lnTo>
                    <a:lnTo>
                      <a:pt x="72" y="76"/>
                    </a:lnTo>
                    <a:lnTo>
                      <a:pt x="0" y="2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39" name="Freeform 114">
                <a:extLst>
                  <a:ext uri="{FF2B5EF4-FFF2-40B4-BE49-F238E27FC236}">
                    <a16:creationId xmlns:a16="http://schemas.microsoft.com/office/drawing/2014/main" id="{FC65B07C-0780-48E8-9A12-604226706F14}"/>
                  </a:ext>
                </a:extLst>
              </p:cNvPr>
              <p:cNvSpPr>
                <a:spLocks/>
              </p:cNvSpPr>
              <p:nvPr/>
            </p:nvSpPr>
            <p:spPr bwMode="auto">
              <a:xfrm>
                <a:off x="7042700" y="3196332"/>
                <a:ext cx="318198" cy="252687"/>
              </a:xfrm>
              <a:custGeom>
                <a:avLst/>
                <a:gdLst>
                  <a:gd name="T0" fmla="*/ 50 w 136"/>
                  <a:gd name="T1" fmla="*/ 0 h 108"/>
                  <a:gd name="T2" fmla="*/ 126 w 136"/>
                  <a:gd name="T3" fmla="*/ 56 h 108"/>
                  <a:gd name="T4" fmla="*/ 126 w 136"/>
                  <a:gd name="T5" fmla="*/ 56 h 108"/>
                  <a:gd name="T6" fmla="*/ 132 w 136"/>
                  <a:gd name="T7" fmla="*/ 64 h 108"/>
                  <a:gd name="T8" fmla="*/ 136 w 136"/>
                  <a:gd name="T9" fmla="*/ 74 h 108"/>
                  <a:gd name="T10" fmla="*/ 136 w 136"/>
                  <a:gd name="T11" fmla="*/ 84 h 108"/>
                  <a:gd name="T12" fmla="*/ 132 w 136"/>
                  <a:gd name="T13" fmla="*/ 94 h 108"/>
                  <a:gd name="T14" fmla="*/ 130 w 136"/>
                  <a:gd name="T15" fmla="*/ 96 h 108"/>
                  <a:gd name="T16" fmla="*/ 130 w 136"/>
                  <a:gd name="T17" fmla="*/ 96 h 108"/>
                  <a:gd name="T18" fmla="*/ 122 w 136"/>
                  <a:gd name="T19" fmla="*/ 104 h 108"/>
                  <a:gd name="T20" fmla="*/ 112 w 136"/>
                  <a:gd name="T21" fmla="*/ 108 h 108"/>
                  <a:gd name="T22" fmla="*/ 102 w 136"/>
                  <a:gd name="T23" fmla="*/ 106 h 108"/>
                  <a:gd name="T24" fmla="*/ 92 w 136"/>
                  <a:gd name="T25" fmla="*/ 102 h 108"/>
                  <a:gd name="T26" fmla="*/ 0 w 136"/>
                  <a:gd name="T27" fmla="*/ 36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6" h="108">
                    <a:moveTo>
                      <a:pt x="50" y="0"/>
                    </a:moveTo>
                    <a:lnTo>
                      <a:pt x="126" y="56"/>
                    </a:lnTo>
                    <a:lnTo>
                      <a:pt x="126" y="56"/>
                    </a:lnTo>
                    <a:lnTo>
                      <a:pt x="132" y="64"/>
                    </a:lnTo>
                    <a:lnTo>
                      <a:pt x="136" y="74"/>
                    </a:lnTo>
                    <a:lnTo>
                      <a:pt x="136" y="84"/>
                    </a:lnTo>
                    <a:lnTo>
                      <a:pt x="132" y="94"/>
                    </a:lnTo>
                    <a:lnTo>
                      <a:pt x="130" y="96"/>
                    </a:lnTo>
                    <a:lnTo>
                      <a:pt x="130" y="96"/>
                    </a:lnTo>
                    <a:lnTo>
                      <a:pt x="122" y="104"/>
                    </a:lnTo>
                    <a:lnTo>
                      <a:pt x="112" y="108"/>
                    </a:lnTo>
                    <a:lnTo>
                      <a:pt x="102" y="106"/>
                    </a:lnTo>
                    <a:lnTo>
                      <a:pt x="92" y="102"/>
                    </a:lnTo>
                    <a:lnTo>
                      <a:pt x="0" y="3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grpSp>
          <p:nvGrpSpPr>
            <p:cNvPr id="318" name="Group 318">
              <a:extLst>
                <a:ext uri="{FF2B5EF4-FFF2-40B4-BE49-F238E27FC236}">
                  <a16:creationId xmlns:a16="http://schemas.microsoft.com/office/drawing/2014/main" id="{AB4ADA1D-9ABF-47F2-8A23-5D029DB73A6F}"/>
                </a:ext>
              </a:extLst>
            </p:cNvPr>
            <p:cNvGrpSpPr/>
            <p:nvPr/>
          </p:nvGrpSpPr>
          <p:grpSpPr>
            <a:xfrm rot="20886282">
              <a:off x="-768594" y="2490034"/>
              <a:ext cx="3008841" cy="2428598"/>
              <a:chOff x="4352057" y="1090611"/>
              <a:chExt cx="3008841" cy="2428598"/>
            </a:xfrm>
          </p:grpSpPr>
          <p:grpSp>
            <p:nvGrpSpPr>
              <p:cNvPr id="319" name="Group 319">
                <a:extLst>
                  <a:ext uri="{FF2B5EF4-FFF2-40B4-BE49-F238E27FC236}">
                    <a16:creationId xmlns:a16="http://schemas.microsoft.com/office/drawing/2014/main" id="{CD55F1F1-C804-43FC-9CCB-92AEC7C3AE31}"/>
                  </a:ext>
                </a:extLst>
              </p:cNvPr>
              <p:cNvGrpSpPr/>
              <p:nvPr/>
            </p:nvGrpSpPr>
            <p:grpSpPr>
              <a:xfrm>
                <a:off x="6303358" y="2742432"/>
                <a:ext cx="1057540" cy="776777"/>
                <a:chOff x="3619500" y="3632201"/>
                <a:chExt cx="717550" cy="527050"/>
              </a:xfrm>
              <a:solidFill>
                <a:srgbClr val="F0BE8D"/>
              </a:solidFill>
            </p:grpSpPr>
            <p:sp>
              <p:nvSpPr>
                <p:cNvPr id="321" name="Freeform 113">
                  <a:extLst>
                    <a:ext uri="{FF2B5EF4-FFF2-40B4-BE49-F238E27FC236}">
                      <a16:creationId xmlns:a16="http://schemas.microsoft.com/office/drawing/2014/main" id="{E78C0FD8-EC57-4237-A093-5372605A5A75}"/>
                    </a:ext>
                  </a:extLst>
                </p:cNvPr>
                <p:cNvSpPr>
                  <a:spLocks/>
                </p:cNvSpPr>
                <p:nvPr/>
              </p:nvSpPr>
              <p:spPr bwMode="auto">
                <a:xfrm>
                  <a:off x="4121150" y="3940176"/>
                  <a:ext cx="215900" cy="171450"/>
                </a:xfrm>
                <a:custGeom>
                  <a:avLst/>
                  <a:gdLst>
                    <a:gd name="T0" fmla="*/ 50 w 136"/>
                    <a:gd name="T1" fmla="*/ 0 h 108"/>
                    <a:gd name="T2" fmla="*/ 126 w 136"/>
                    <a:gd name="T3" fmla="*/ 56 h 108"/>
                    <a:gd name="T4" fmla="*/ 126 w 136"/>
                    <a:gd name="T5" fmla="*/ 56 h 108"/>
                    <a:gd name="T6" fmla="*/ 132 w 136"/>
                    <a:gd name="T7" fmla="*/ 64 h 108"/>
                    <a:gd name="T8" fmla="*/ 136 w 136"/>
                    <a:gd name="T9" fmla="*/ 74 h 108"/>
                    <a:gd name="T10" fmla="*/ 136 w 136"/>
                    <a:gd name="T11" fmla="*/ 84 h 108"/>
                    <a:gd name="T12" fmla="*/ 132 w 136"/>
                    <a:gd name="T13" fmla="*/ 94 h 108"/>
                    <a:gd name="T14" fmla="*/ 130 w 136"/>
                    <a:gd name="T15" fmla="*/ 96 h 108"/>
                    <a:gd name="T16" fmla="*/ 130 w 136"/>
                    <a:gd name="T17" fmla="*/ 96 h 108"/>
                    <a:gd name="T18" fmla="*/ 122 w 136"/>
                    <a:gd name="T19" fmla="*/ 104 h 108"/>
                    <a:gd name="T20" fmla="*/ 112 w 136"/>
                    <a:gd name="T21" fmla="*/ 108 h 108"/>
                    <a:gd name="T22" fmla="*/ 102 w 136"/>
                    <a:gd name="T23" fmla="*/ 106 h 108"/>
                    <a:gd name="T24" fmla="*/ 92 w 136"/>
                    <a:gd name="T25" fmla="*/ 102 h 108"/>
                    <a:gd name="T26" fmla="*/ 0 w 136"/>
                    <a:gd name="T27" fmla="*/ 36 h 108"/>
                    <a:gd name="T28" fmla="*/ 50 w 136"/>
                    <a:gd name="T29" fmla="*/ 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6" h="108">
                      <a:moveTo>
                        <a:pt x="50" y="0"/>
                      </a:moveTo>
                      <a:lnTo>
                        <a:pt x="126" y="56"/>
                      </a:lnTo>
                      <a:lnTo>
                        <a:pt x="126" y="56"/>
                      </a:lnTo>
                      <a:lnTo>
                        <a:pt x="132" y="64"/>
                      </a:lnTo>
                      <a:lnTo>
                        <a:pt x="136" y="74"/>
                      </a:lnTo>
                      <a:lnTo>
                        <a:pt x="136" y="84"/>
                      </a:lnTo>
                      <a:lnTo>
                        <a:pt x="132" y="94"/>
                      </a:lnTo>
                      <a:lnTo>
                        <a:pt x="130" y="96"/>
                      </a:lnTo>
                      <a:lnTo>
                        <a:pt x="130" y="96"/>
                      </a:lnTo>
                      <a:lnTo>
                        <a:pt x="122" y="104"/>
                      </a:lnTo>
                      <a:lnTo>
                        <a:pt x="112" y="108"/>
                      </a:lnTo>
                      <a:lnTo>
                        <a:pt x="102" y="106"/>
                      </a:lnTo>
                      <a:lnTo>
                        <a:pt x="92" y="102"/>
                      </a:lnTo>
                      <a:lnTo>
                        <a:pt x="0" y="36"/>
                      </a:lnTo>
                      <a:lnTo>
                        <a:pt x="5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22" name="Freeform 110">
                  <a:extLst>
                    <a:ext uri="{FF2B5EF4-FFF2-40B4-BE49-F238E27FC236}">
                      <a16:creationId xmlns:a16="http://schemas.microsoft.com/office/drawing/2014/main" id="{BAD9B1DB-076A-4EAF-8E2E-D995A237371F}"/>
                    </a:ext>
                  </a:extLst>
                </p:cNvPr>
                <p:cNvSpPr>
                  <a:spLocks/>
                </p:cNvSpPr>
                <p:nvPr/>
              </p:nvSpPr>
              <p:spPr bwMode="auto">
                <a:xfrm>
                  <a:off x="3619500" y="3632201"/>
                  <a:ext cx="654050" cy="498475"/>
                </a:xfrm>
                <a:custGeom>
                  <a:avLst/>
                  <a:gdLst>
                    <a:gd name="T0" fmla="*/ 256 w 412"/>
                    <a:gd name="T1" fmla="*/ 274 h 314"/>
                    <a:gd name="T2" fmla="*/ 260 w 412"/>
                    <a:gd name="T3" fmla="*/ 278 h 314"/>
                    <a:gd name="T4" fmla="*/ 264 w 412"/>
                    <a:gd name="T5" fmla="*/ 286 h 314"/>
                    <a:gd name="T6" fmla="*/ 264 w 412"/>
                    <a:gd name="T7" fmla="*/ 298 h 314"/>
                    <a:gd name="T8" fmla="*/ 258 w 412"/>
                    <a:gd name="T9" fmla="*/ 306 h 314"/>
                    <a:gd name="T10" fmla="*/ 254 w 412"/>
                    <a:gd name="T11" fmla="*/ 310 h 314"/>
                    <a:gd name="T12" fmla="*/ 240 w 412"/>
                    <a:gd name="T13" fmla="*/ 314 h 314"/>
                    <a:gd name="T14" fmla="*/ 228 w 412"/>
                    <a:gd name="T15" fmla="*/ 308 h 314"/>
                    <a:gd name="T16" fmla="*/ 170 w 412"/>
                    <a:gd name="T17" fmla="*/ 266 h 314"/>
                    <a:gd name="T18" fmla="*/ 96 w 412"/>
                    <a:gd name="T19" fmla="*/ 210 h 314"/>
                    <a:gd name="T20" fmla="*/ 82 w 412"/>
                    <a:gd name="T21" fmla="*/ 198 h 314"/>
                    <a:gd name="T22" fmla="*/ 56 w 412"/>
                    <a:gd name="T23" fmla="*/ 166 h 314"/>
                    <a:gd name="T24" fmla="*/ 48 w 412"/>
                    <a:gd name="T25" fmla="*/ 150 h 314"/>
                    <a:gd name="T26" fmla="*/ 0 w 412"/>
                    <a:gd name="T27" fmla="*/ 114 h 314"/>
                    <a:gd name="T28" fmla="*/ 70 w 412"/>
                    <a:gd name="T29" fmla="*/ 0 h 314"/>
                    <a:gd name="T30" fmla="*/ 106 w 412"/>
                    <a:gd name="T31" fmla="*/ 24 h 314"/>
                    <a:gd name="T32" fmla="*/ 122 w 412"/>
                    <a:gd name="T33" fmla="*/ 30 h 314"/>
                    <a:gd name="T34" fmla="*/ 138 w 412"/>
                    <a:gd name="T35" fmla="*/ 28 h 314"/>
                    <a:gd name="T36" fmla="*/ 148 w 412"/>
                    <a:gd name="T37" fmla="*/ 22 h 314"/>
                    <a:gd name="T38" fmla="*/ 180 w 412"/>
                    <a:gd name="T39" fmla="*/ 16 h 314"/>
                    <a:gd name="T40" fmla="*/ 190 w 412"/>
                    <a:gd name="T41" fmla="*/ 16 h 314"/>
                    <a:gd name="T42" fmla="*/ 314 w 412"/>
                    <a:gd name="T43" fmla="*/ 36 h 314"/>
                    <a:gd name="T44" fmla="*/ 286 w 412"/>
                    <a:gd name="T45" fmla="*/ 50 h 314"/>
                    <a:gd name="T46" fmla="*/ 266 w 412"/>
                    <a:gd name="T47" fmla="*/ 66 h 314"/>
                    <a:gd name="T48" fmla="*/ 254 w 412"/>
                    <a:gd name="T49" fmla="*/ 88 h 314"/>
                    <a:gd name="T50" fmla="*/ 252 w 412"/>
                    <a:gd name="T51" fmla="*/ 92 h 314"/>
                    <a:gd name="T52" fmla="*/ 254 w 412"/>
                    <a:gd name="T53" fmla="*/ 104 h 314"/>
                    <a:gd name="T54" fmla="*/ 274 w 412"/>
                    <a:gd name="T55" fmla="*/ 124 h 314"/>
                    <a:gd name="T56" fmla="*/ 402 w 412"/>
                    <a:gd name="T57" fmla="*/ 220 h 314"/>
                    <a:gd name="T58" fmla="*/ 412 w 412"/>
                    <a:gd name="T59" fmla="*/ 236 h 314"/>
                    <a:gd name="T60" fmla="*/ 404 w 412"/>
                    <a:gd name="T61" fmla="*/ 254 h 314"/>
                    <a:gd name="T62" fmla="*/ 398 w 412"/>
                    <a:gd name="T63" fmla="*/ 258 h 314"/>
                    <a:gd name="T64" fmla="*/ 380 w 412"/>
                    <a:gd name="T65" fmla="*/ 256 h 314"/>
                    <a:gd name="T66" fmla="*/ 340 w 412"/>
                    <a:gd name="T67" fmla="*/ 230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12" h="314">
                      <a:moveTo>
                        <a:pt x="246" y="266"/>
                      </a:moveTo>
                      <a:lnTo>
                        <a:pt x="256" y="274"/>
                      </a:lnTo>
                      <a:lnTo>
                        <a:pt x="256" y="274"/>
                      </a:lnTo>
                      <a:lnTo>
                        <a:pt x="260" y="278"/>
                      </a:lnTo>
                      <a:lnTo>
                        <a:pt x="262" y="282"/>
                      </a:lnTo>
                      <a:lnTo>
                        <a:pt x="264" y="286"/>
                      </a:lnTo>
                      <a:lnTo>
                        <a:pt x="264" y="292"/>
                      </a:lnTo>
                      <a:lnTo>
                        <a:pt x="264" y="298"/>
                      </a:lnTo>
                      <a:lnTo>
                        <a:pt x="262" y="302"/>
                      </a:lnTo>
                      <a:lnTo>
                        <a:pt x="258" y="306"/>
                      </a:lnTo>
                      <a:lnTo>
                        <a:pt x="254" y="310"/>
                      </a:lnTo>
                      <a:lnTo>
                        <a:pt x="254" y="310"/>
                      </a:lnTo>
                      <a:lnTo>
                        <a:pt x="248" y="314"/>
                      </a:lnTo>
                      <a:lnTo>
                        <a:pt x="240" y="314"/>
                      </a:lnTo>
                      <a:lnTo>
                        <a:pt x="234" y="312"/>
                      </a:lnTo>
                      <a:lnTo>
                        <a:pt x="228" y="308"/>
                      </a:lnTo>
                      <a:lnTo>
                        <a:pt x="210" y="296"/>
                      </a:lnTo>
                      <a:lnTo>
                        <a:pt x="170" y="266"/>
                      </a:lnTo>
                      <a:lnTo>
                        <a:pt x="114" y="222"/>
                      </a:lnTo>
                      <a:lnTo>
                        <a:pt x="96" y="210"/>
                      </a:lnTo>
                      <a:lnTo>
                        <a:pt x="96" y="210"/>
                      </a:lnTo>
                      <a:lnTo>
                        <a:pt x="82" y="198"/>
                      </a:lnTo>
                      <a:lnTo>
                        <a:pt x="68" y="182"/>
                      </a:lnTo>
                      <a:lnTo>
                        <a:pt x="56" y="166"/>
                      </a:lnTo>
                      <a:lnTo>
                        <a:pt x="48" y="150"/>
                      </a:lnTo>
                      <a:lnTo>
                        <a:pt x="48" y="150"/>
                      </a:lnTo>
                      <a:lnTo>
                        <a:pt x="0" y="114"/>
                      </a:lnTo>
                      <a:lnTo>
                        <a:pt x="0" y="114"/>
                      </a:lnTo>
                      <a:lnTo>
                        <a:pt x="2" y="112"/>
                      </a:lnTo>
                      <a:lnTo>
                        <a:pt x="70" y="0"/>
                      </a:lnTo>
                      <a:lnTo>
                        <a:pt x="106" y="24"/>
                      </a:lnTo>
                      <a:lnTo>
                        <a:pt x="106" y="24"/>
                      </a:lnTo>
                      <a:lnTo>
                        <a:pt x="114" y="28"/>
                      </a:lnTo>
                      <a:lnTo>
                        <a:pt x="122" y="30"/>
                      </a:lnTo>
                      <a:lnTo>
                        <a:pt x="130" y="30"/>
                      </a:lnTo>
                      <a:lnTo>
                        <a:pt x="138" y="28"/>
                      </a:lnTo>
                      <a:lnTo>
                        <a:pt x="148" y="22"/>
                      </a:lnTo>
                      <a:lnTo>
                        <a:pt x="148" y="22"/>
                      </a:lnTo>
                      <a:lnTo>
                        <a:pt x="164" y="16"/>
                      </a:lnTo>
                      <a:lnTo>
                        <a:pt x="180" y="16"/>
                      </a:lnTo>
                      <a:lnTo>
                        <a:pt x="190" y="16"/>
                      </a:lnTo>
                      <a:lnTo>
                        <a:pt x="190" y="16"/>
                      </a:lnTo>
                      <a:lnTo>
                        <a:pt x="314" y="36"/>
                      </a:lnTo>
                      <a:lnTo>
                        <a:pt x="314" y="36"/>
                      </a:lnTo>
                      <a:lnTo>
                        <a:pt x="286" y="50"/>
                      </a:lnTo>
                      <a:lnTo>
                        <a:pt x="286" y="50"/>
                      </a:lnTo>
                      <a:lnTo>
                        <a:pt x="276" y="56"/>
                      </a:lnTo>
                      <a:lnTo>
                        <a:pt x="266" y="66"/>
                      </a:lnTo>
                      <a:lnTo>
                        <a:pt x="260" y="76"/>
                      </a:lnTo>
                      <a:lnTo>
                        <a:pt x="254" y="88"/>
                      </a:lnTo>
                      <a:lnTo>
                        <a:pt x="254" y="88"/>
                      </a:lnTo>
                      <a:lnTo>
                        <a:pt x="252" y="92"/>
                      </a:lnTo>
                      <a:lnTo>
                        <a:pt x="252" y="98"/>
                      </a:lnTo>
                      <a:lnTo>
                        <a:pt x="254" y="104"/>
                      </a:lnTo>
                      <a:lnTo>
                        <a:pt x="258" y="110"/>
                      </a:lnTo>
                      <a:lnTo>
                        <a:pt x="274" y="124"/>
                      </a:lnTo>
                      <a:lnTo>
                        <a:pt x="402" y="220"/>
                      </a:lnTo>
                      <a:lnTo>
                        <a:pt x="402" y="220"/>
                      </a:lnTo>
                      <a:lnTo>
                        <a:pt x="408" y="228"/>
                      </a:lnTo>
                      <a:lnTo>
                        <a:pt x="412" y="236"/>
                      </a:lnTo>
                      <a:lnTo>
                        <a:pt x="410" y="246"/>
                      </a:lnTo>
                      <a:lnTo>
                        <a:pt x="404" y="254"/>
                      </a:lnTo>
                      <a:lnTo>
                        <a:pt x="404" y="254"/>
                      </a:lnTo>
                      <a:lnTo>
                        <a:pt x="398" y="258"/>
                      </a:lnTo>
                      <a:lnTo>
                        <a:pt x="388" y="258"/>
                      </a:lnTo>
                      <a:lnTo>
                        <a:pt x="380" y="256"/>
                      </a:lnTo>
                      <a:lnTo>
                        <a:pt x="372" y="252"/>
                      </a:lnTo>
                      <a:lnTo>
                        <a:pt x="340" y="230"/>
                      </a:lnTo>
                      <a:lnTo>
                        <a:pt x="246" y="2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23" name="Freeform 116">
                  <a:extLst>
                    <a:ext uri="{FF2B5EF4-FFF2-40B4-BE49-F238E27FC236}">
                      <a16:creationId xmlns:a16="http://schemas.microsoft.com/office/drawing/2014/main" id="{A8D21E9C-A922-4FD0-A057-66F004CCE3BF}"/>
                    </a:ext>
                  </a:extLst>
                </p:cNvPr>
                <p:cNvSpPr>
                  <a:spLocks/>
                </p:cNvSpPr>
                <p:nvPr/>
              </p:nvSpPr>
              <p:spPr bwMode="auto">
                <a:xfrm>
                  <a:off x="4016375" y="3997326"/>
                  <a:ext cx="187325" cy="127000"/>
                </a:xfrm>
                <a:custGeom>
                  <a:avLst/>
                  <a:gdLst>
                    <a:gd name="T0" fmla="*/ 66 w 118"/>
                    <a:gd name="T1" fmla="*/ 0 h 80"/>
                    <a:gd name="T2" fmla="*/ 106 w 118"/>
                    <a:gd name="T3" fmla="*/ 28 h 80"/>
                    <a:gd name="T4" fmla="*/ 106 w 118"/>
                    <a:gd name="T5" fmla="*/ 28 h 80"/>
                    <a:gd name="T6" fmla="*/ 114 w 118"/>
                    <a:gd name="T7" fmla="*/ 36 h 80"/>
                    <a:gd name="T8" fmla="*/ 118 w 118"/>
                    <a:gd name="T9" fmla="*/ 46 h 80"/>
                    <a:gd name="T10" fmla="*/ 116 w 118"/>
                    <a:gd name="T11" fmla="*/ 58 h 80"/>
                    <a:gd name="T12" fmla="*/ 112 w 118"/>
                    <a:gd name="T13" fmla="*/ 68 h 80"/>
                    <a:gd name="T14" fmla="*/ 112 w 118"/>
                    <a:gd name="T15" fmla="*/ 68 h 80"/>
                    <a:gd name="T16" fmla="*/ 112 w 118"/>
                    <a:gd name="T17" fmla="*/ 68 h 80"/>
                    <a:gd name="T18" fmla="*/ 102 w 118"/>
                    <a:gd name="T19" fmla="*/ 76 h 80"/>
                    <a:gd name="T20" fmla="*/ 92 w 118"/>
                    <a:gd name="T21" fmla="*/ 80 h 80"/>
                    <a:gd name="T22" fmla="*/ 82 w 118"/>
                    <a:gd name="T23" fmla="*/ 80 h 80"/>
                    <a:gd name="T24" fmla="*/ 72 w 118"/>
                    <a:gd name="T25" fmla="*/ 76 h 80"/>
                    <a:gd name="T26" fmla="*/ 0 w 118"/>
                    <a:gd name="T27" fmla="*/ 24 h 80"/>
                    <a:gd name="T28" fmla="*/ 66 w 118"/>
                    <a:gd name="T29"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8" h="80">
                      <a:moveTo>
                        <a:pt x="66" y="0"/>
                      </a:moveTo>
                      <a:lnTo>
                        <a:pt x="106" y="28"/>
                      </a:lnTo>
                      <a:lnTo>
                        <a:pt x="106" y="28"/>
                      </a:lnTo>
                      <a:lnTo>
                        <a:pt x="114" y="36"/>
                      </a:lnTo>
                      <a:lnTo>
                        <a:pt x="118" y="46"/>
                      </a:lnTo>
                      <a:lnTo>
                        <a:pt x="116" y="58"/>
                      </a:lnTo>
                      <a:lnTo>
                        <a:pt x="112" y="68"/>
                      </a:lnTo>
                      <a:lnTo>
                        <a:pt x="112" y="68"/>
                      </a:lnTo>
                      <a:lnTo>
                        <a:pt x="112" y="68"/>
                      </a:lnTo>
                      <a:lnTo>
                        <a:pt x="102" y="76"/>
                      </a:lnTo>
                      <a:lnTo>
                        <a:pt x="92" y="80"/>
                      </a:lnTo>
                      <a:lnTo>
                        <a:pt x="82" y="80"/>
                      </a:lnTo>
                      <a:lnTo>
                        <a:pt x="72" y="76"/>
                      </a:lnTo>
                      <a:lnTo>
                        <a:pt x="0" y="24"/>
                      </a:lnTo>
                      <a:lnTo>
                        <a:pt x="6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24" name="Freeform 119">
                  <a:extLst>
                    <a:ext uri="{FF2B5EF4-FFF2-40B4-BE49-F238E27FC236}">
                      <a16:creationId xmlns:a16="http://schemas.microsoft.com/office/drawing/2014/main" id="{DE50ACD5-8AF6-41C1-8ACD-B1F6FAF16796}"/>
                    </a:ext>
                  </a:extLst>
                </p:cNvPr>
                <p:cNvSpPr>
                  <a:spLocks/>
                </p:cNvSpPr>
                <p:nvPr/>
              </p:nvSpPr>
              <p:spPr bwMode="auto">
                <a:xfrm>
                  <a:off x="3927475" y="4035426"/>
                  <a:ext cx="161925" cy="123825"/>
                </a:xfrm>
                <a:custGeom>
                  <a:avLst/>
                  <a:gdLst>
                    <a:gd name="T0" fmla="*/ 56 w 102"/>
                    <a:gd name="T1" fmla="*/ 0 h 78"/>
                    <a:gd name="T2" fmla="*/ 92 w 102"/>
                    <a:gd name="T3" fmla="*/ 26 h 78"/>
                    <a:gd name="T4" fmla="*/ 92 w 102"/>
                    <a:gd name="T5" fmla="*/ 26 h 78"/>
                    <a:gd name="T6" fmla="*/ 100 w 102"/>
                    <a:gd name="T7" fmla="*/ 34 h 78"/>
                    <a:gd name="T8" fmla="*/ 102 w 102"/>
                    <a:gd name="T9" fmla="*/ 44 h 78"/>
                    <a:gd name="T10" fmla="*/ 102 w 102"/>
                    <a:gd name="T11" fmla="*/ 54 h 78"/>
                    <a:gd name="T12" fmla="*/ 98 w 102"/>
                    <a:gd name="T13" fmla="*/ 64 h 78"/>
                    <a:gd name="T14" fmla="*/ 98 w 102"/>
                    <a:gd name="T15" fmla="*/ 66 h 78"/>
                    <a:gd name="T16" fmla="*/ 98 w 102"/>
                    <a:gd name="T17" fmla="*/ 66 h 78"/>
                    <a:gd name="T18" fmla="*/ 88 w 102"/>
                    <a:gd name="T19" fmla="*/ 74 h 78"/>
                    <a:gd name="T20" fmla="*/ 78 w 102"/>
                    <a:gd name="T21" fmla="*/ 78 h 78"/>
                    <a:gd name="T22" fmla="*/ 68 w 102"/>
                    <a:gd name="T23" fmla="*/ 76 h 78"/>
                    <a:gd name="T24" fmla="*/ 58 w 102"/>
                    <a:gd name="T25" fmla="*/ 72 h 78"/>
                    <a:gd name="T26" fmla="*/ 0 w 102"/>
                    <a:gd name="T27" fmla="*/ 30 h 78"/>
                    <a:gd name="T28" fmla="*/ 56 w 102"/>
                    <a:gd name="T29"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2" h="78">
                      <a:moveTo>
                        <a:pt x="56" y="0"/>
                      </a:moveTo>
                      <a:lnTo>
                        <a:pt x="92" y="26"/>
                      </a:lnTo>
                      <a:lnTo>
                        <a:pt x="92" y="26"/>
                      </a:lnTo>
                      <a:lnTo>
                        <a:pt x="100" y="34"/>
                      </a:lnTo>
                      <a:lnTo>
                        <a:pt x="102" y="44"/>
                      </a:lnTo>
                      <a:lnTo>
                        <a:pt x="102" y="54"/>
                      </a:lnTo>
                      <a:lnTo>
                        <a:pt x="98" y="64"/>
                      </a:lnTo>
                      <a:lnTo>
                        <a:pt x="98" y="66"/>
                      </a:lnTo>
                      <a:lnTo>
                        <a:pt x="98" y="66"/>
                      </a:lnTo>
                      <a:lnTo>
                        <a:pt x="88" y="74"/>
                      </a:lnTo>
                      <a:lnTo>
                        <a:pt x="78" y="78"/>
                      </a:lnTo>
                      <a:lnTo>
                        <a:pt x="68" y="76"/>
                      </a:lnTo>
                      <a:lnTo>
                        <a:pt x="58" y="72"/>
                      </a:lnTo>
                      <a:lnTo>
                        <a:pt x="0" y="30"/>
                      </a:lnTo>
                      <a:lnTo>
                        <a:pt x="5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sp>
            <p:nvSpPr>
              <p:cNvPr id="320" name="Freeform 122">
                <a:extLst>
                  <a:ext uri="{FF2B5EF4-FFF2-40B4-BE49-F238E27FC236}">
                    <a16:creationId xmlns:a16="http://schemas.microsoft.com/office/drawing/2014/main" id="{E62C05ED-B163-4669-8366-5E5C091829C6}"/>
                  </a:ext>
                </a:extLst>
              </p:cNvPr>
              <p:cNvSpPr>
                <a:spLocks/>
              </p:cNvSpPr>
              <p:nvPr/>
            </p:nvSpPr>
            <p:spPr bwMode="auto">
              <a:xfrm>
                <a:off x="4352057" y="1090611"/>
                <a:ext cx="2175912" cy="1979378"/>
              </a:xfrm>
              <a:custGeom>
                <a:avLst/>
                <a:gdLst>
                  <a:gd name="T0" fmla="*/ 0 w 930"/>
                  <a:gd name="T1" fmla="*/ 202 h 846"/>
                  <a:gd name="T2" fmla="*/ 804 w 930"/>
                  <a:gd name="T3" fmla="*/ 842 h 846"/>
                  <a:gd name="T4" fmla="*/ 804 w 930"/>
                  <a:gd name="T5" fmla="*/ 842 h 846"/>
                  <a:gd name="T6" fmla="*/ 812 w 930"/>
                  <a:gd name="T7" fmla="*/ 844 h 846"/>
                  <a:gd name="T8" fmla="*/ 820 w 930"/>
                  <a:gd name="T9" fmla="*/ 846 h 846"/>
                  <a:gd name="T10" fmla="*/ 826 w 930"/>
                  <a:gd name="T11" fmla="*/ 842 h 846"/>
                  <a:gd name="T12" fmla="*/ 832 w 930"/>
                  <a:gd name="T13" fmla="*/ 838 h 846"/>
                  <a:gd name="T14" fmla="*/ 926 w 930"/>
                  <a:gd name="T15" fmla="*/ 712 h 846"/>
                  <a:gd name="T16" fmla="*/ 926 w 930"/>
                  <a:gd name="T17" fmla="*/ 712 h 846"/>
                  <a:gd name="T18" fmla="*/ 930 w 930"/>
                  <a:gd name="T19" fmla="*/ 704 h 846"/>
                  <a:gd name="T20" fmla="*/ 930 w 930"/>
                  <a:gd name="T21" fmla="*/ 698 h 846"/>
                  <a:gd name="T22" fmla="*/ 928 w 930"/>
                  <a:gd name="T23" fmla="*/ 690 h 846"/>
                  <a:gd name="T24" fmla="*/ 924 w 930"/>
                  <a:gd name="T25" fmla="*/ 686 h 846"/>
                  <a:gd name="T26" fmla="*/ 70 w 930"/>
                  <a:gd name="T27" fmla="*/ 0 h 846"/>
                  <a:gd name="T28" fmla="*/ 0 w 930"/>
                  <a:gd name="T29" fmla="*/ 202 h 8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30" h="846">
                    <a:moveTo>
                      <a:pt x="0" y="202"/>
                    </a:moveTo>
                    <a:lnTo>
                      <a:pt x="804" y="842"/>
                    </a:lnTo>
                    <a:lnTo>
                      <a:pt x="804" y="842"/>
                    </a:lnTo>
                    <a:lnTo>
                      <a:pt x="812" y="844"/>
                    </a:lnTo>
                    <a:lnTo>
                      <a:pt x="820" y="846"/>
                    </a:lnTo>
                    <a:lnTo>
                      <a:pt x="826" y="842"/>
                    </a:lnTo>
                    <a:lnTo>
                      <a:pt x="832" y="838"/>
                    </a:lnTo>
                    <a:lnTo>
                      <a:pt x="926" y="712"/>
                    </a:lnTo>
                    <a:lnTo>
                      <a:pt x="926" y="712"/>
                    </a:lnTo>
                    <a:lnTo>
                      <a:pt x="930" y="704"/>
                    </a:lnTo>
                    <a:lnTo>
                      <a:pt x="930" y="698"/>
                    </a:lnTo>
                    <a:lnTo>
                      <a:pt x="928" y="690"/>
                    </a:lnTo>
                    <a:lnTo>
                      <a:pt x="924" y="686"/>
                    </a:lnTo>
                    <a:lnTo>
                      <a:pt x="70" y="0"/>
                    </a:lnTo>
                    <a:lnTo>
                      <a:pt x="0" y="202"/>
                    </a:ln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grpSp>
      <p:grpSp>
        <p:nvGrpSpPr>
          <p:cNvPr id="344" name="Group 352">
            <a:extLst>
              <a:ext uri="{FF2B5EF4-FFF2-40B4-BE49-F238E27FC236}">
                <a16:creationId xmlns:a16="http://schemas.microsoft.com/office/drawing/2014/main" id="{8B7099D8-ACD1-4458-9749-E0E0062CD8BC}"/>
              </a:ext>
            </a:extLst>
          </p:cNvPr>
          <p:cNvGrpSpPr/>
          <p:nvPr/>
        </p:nvGrpSpPr>
        <p:grpSpPr>
          <a:xfrm>
            <a:off x="4234516" y="5262063"/>
            <a:ext cx="189389" cy="789713"/>
            <a:chOff x="4234516" y="5262063"/>
            <a:chExt cx="189389" cy="789713"/>
          </a:xfrm>
        </p:grpSpPr>
        <p:sp>
          <p:nvSpPr>
            <p:cNvPr id="345" name="Freeform 1911">
              <a:extLst>
                <a:ext uri="{FF2B5EF4-FFF2-40B4-BE49-F238E27FC236}">
                  <a16:creationId xmlns:a16="http://schemas.microsoft.com/office/drawing/2014/main" id="{64EB9059-DD73-49FA-8D85-E6272256EAC6}"/>
                </a:ext>
              </a:extLst>
            </p:cNvPr>
            <p:cNvSpPr>
              <a:spLocks/>
            </p:cNvSpPr>
            <p:nvPr/>
          </p:nvSpPr>
          <p:spPr bwMode="auto">
            <a:xfrm>
              <a:off x="4234516" y="5487184"/>
              <a:ext cx="121495" cy="564592"/>
            </a:xfrm>
            <a:custGeom>
              <a:avLst/>
              <a:gdLst>
                <a:gd name="T0" fmla="*/ 68 w 68"/>
                <a:gd name="T1" fmla="*/ 316 h 316"/>
                <a:gd name="T2" fmla="*/ 68 w 68"/>
                <a:gd name="T3" fmla="*/ 316 h 316"/>
                <a:gd name="T4" fmla="*/ 64 w 68"/>
                <a:gd name="T5" fmla="*/ 296 h 316"/>
                <a:gd name="T6" fmla="*/ 60 w 68"/>
                <a:gd name="T7" fmla="*/ 278 h 316"/>
                <a:gd name="T8" fmla="*/ 58 w 68"/>
                <a:gd name="T9" fmla="*/ 260 h 316"/>
                <a:gd name="T10" fmla="*/ 58 w 68"/>
                <a:gd name="T11" fmla="*/ 244 h 316"/>
                <a:gd name="T12" fmla="*/ 62 w 68"/>
                <a:gd name="T13" fmla="*/ 178 h 316"/>
                <a:gd name="T14" fmla="*/ 60 w 68"/>
                <a:gd name="T15" fmla="*/ 160 h 316"/>
                <a:gd name="T16" fmla="*/ 60 w 68"/>
                <a:gd name="T17" fmla="*/ 142 h 316"/>
                <a:gd name="T18" fmla="*/ 56 w 68"/>
                <a:gd name="T19" fmla="*/ 122 h 316"/>
                <a:gd name="T20" fmla="*/ 50 w 68"/>
                <a:gd name="T21" fmla="*/ 102 h 316"/>
                <a:gd name="T22" fmla="*/ 42 w 68"/>
                <a:gd name="T23" fmla="*/ 80 h 316"/>
                <a:gd name="T24" fmla="*/ 32 w 68"/>
                <a:gd name="T25" fmla="*/ 56 h 316"/>
                <a:gd name="T26" fmla="*/ 18 w 68"/>
                <a:gd name="T27" fmla="*/ 30 h 316"/>
                <a:gd name="T28" fmla="*/ 0 w 68"/>
                <a:gd name="T29" fmla="*/ 0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8" h="316">
                  <a:moveTo>
                    <a:pt x="68" y="316"/>
                  </a:moveTo>
                  <a:lnTo>
                    <a:pt x="68" y="316"/>
                  </a:lnTo>
                  <a:lnTo>
                    <a:pt x="64" y="296"/>
                  </a:lnTo>
                  <a:lnTo>
                    <a:pt x="60" y="278"/>
                  </a:lnTo>
                  <a:lnTo>
                    <a:pt x="58" y="260"/>
                  </a:lnTo>
                  <a:lnTo>
                    <a:pt x="58" y="244"/>
                  </a:lnTo>
                  <a:lnTo>
                    <a:pt x="62" y="178"/>
                  </a:lnTo>
                  <a:lnTo>
                    <a:pt x="60" y="160"/>
                  </a:lnTo>
                  <a:lnTo>
                    <a:pt x="60" y="142"/>
                  </a:lnTo>
                  <a:lnTo>
                    <a:pt x="56" y="122"/>
                  </a:lnTo>
                  <a:lnTo>
                    <a:pt x="50" y="102"/>
                  </a:lnTo>
                  <a:lnTo>
                    <a:pt x="42" y="80"/>
                  </a:lnTo>
                  <a:lnTo>
                    <a:pt x="32" y="56"/>
                  </a:lnTo>
                  <a:lnTo>
                    <a:pt x="18" y="30"/>
                  </a:lnTo>
                  <a:lnTo>
                    <a:pt x="0" y="0"/>
                  </a:lnTo>
                </a:path>
              </a:pathLst>
            </a:custGeom>
            <a:noFill/>
            <a:ln w="25400">
              <a:solidFill>
                <a:srgbClr val="92D05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46" name="Freeform 2301">
              <a:extLst>
                <a:ext uri="{FF2B5EF4-FFF2-40B4-BE49-F238E27FC236}">
                  <a16:creationId xmlns:a16="http://schemas.microsoft.com/office/drawing/2014/main" id="{2B3D50FB-3009-4B77-B94A-7BDBC9E2C060}"/>
                </a:ext>
              </a:extLst>
            </p:cNvPr>
            <p:cNvSpPr>
              <a:spLocks/>
            </p:cNvSpPr>
            <p:nvPr/>
          </p:nvSpPr>
          <p:spPr bwMode="auto">
            <a:xfrm>
              <a:off x="4341718" y="5262063"/>
              <a:ext cx="82187" cy="514565"/>
            </a:xfrm>
            <a:custGeom>
              <a:avLst/>
              <a:gdLst>
                <a:gd name="T0" fmla="*/ 42 w 46"/>
                <a:gd name="T1" fmla="*/ 0 h 288"/>
                <a:gd name="T2" fmla="*/ 42 w 46"/>
                <a:gd name="T3" fmla="*/ 0 h 288"/>
                <a:gd name="T4" fmla="*/ 46 w 46"/>
                <a:gd name="T5" fmla="*/ 22 h 288"/>
                <a:gd name="T6" fmla="*/ 46 w 46"/>
                <a:gd name="T7" fmla="*/ 42 h 288"/>
                <a:gd name="T8" fmla="*/ 46 w 46"/>
                <a:gd name="T9" fmla="*/ 62 h 288"/>
                <a:gd name="T10" fmla="*/ 44 w 46"/>
                <a:gd name="T11" fmla="*/ 78 h 288"/>
                <a:gd name="T12" fmla="*/ 36 w 46"/>
                <a:gd name="T13" fmla="*/ 110 h 288"/>
                <a:gd name="T14" fmla="*/ 26 w 46"/>
                <a:gd name="T15" fmla="*/ 140 h 288"/>
                <a:gd name="T16" fmla="*/ 16 w 46"/>
                <a:gd name="T17" fmla="*/ 170 h 288"/>
                <a:gd name="T18" fmla="*/ 8 w 46"/>
                <a:gd name="T19" fmla="*/ 204 h 288"/>
                <a:gd name="T20" fmla="*/ 4 w 46"/>
                <a:gd name="T21" fmla="*/ 222 h 288"/>
                <a:gd name="T22" fmla="*/ 2 w 46"/>
                <a:gd name="T23" fmla="*/ 242 h 288"/>
                <a:gd name="T24" fmla="*/ 0 w 46"/>
                <a:gd name="T25" fmla="*/ 264 h 288"/>
                <a:gd name="T26" fmla="*/ 0 w 46"/>
                <a:gd name="T27" fmla="*/ 288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6" h="288">
                  <a:moveTo>
                    <a:pt x="42" y="0"/>
                  </a:moveTo>
                  <a:lnTo>
                    <a:pt x="42" y="0"/>
                  </a:lnTo>
                  <a:lnTo>
                    <a:pt x="46" y="22"/>
                  </a:lnTo>
                  <a:lnTo>
                    <a:pt x="46" y="42"/>
                  </a:lnTo>
                  <a:lnTo>
                    <a:pt x="46" y="62"/>
                  </a:lnTo>
                  <a:lnTo>
                    <a:pt x="44" y="78"/>
                  </a:lnTo>
                  <a:lnTo>
                    <a:pt x="36" y="110"/>
                  </a:lnTo>
                  <a:lnTo>
                    <a:pt x="26" y="140"/>
                  </a:lnTo>
                  <a:lnTo>
                    <a:pt x="16" y="170"/>
                  </a:lnTo>
                  <a:lnTo>
                    <a:pt x="8" y="204"/>
                  </a:lnTo>
                  <a:lnTo>
                    <a:pt x="4" y="222"/>
                  </a:lnTo>
                  <a:lnTo>
                    <a:pt x="2" y="242"/>
                  </a:lnTo>
                  <a:lnTo>
                    <a:pt x="0" y="264"/>
                  </a:lnTo>
                  <a:lnTo>
                    <a:pt x="0" y="288"/>
                  </a:lnTo>
                </a:path>
              </a:pathLst>
            </a:custGeom>
            <a:noFill/>
            <a:ln w="25400">
              <a:solidFill>
                <a:srgbClr val="92D05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grpSp>
        <p:nvGrpSpPr>
          <p:cNvPr id="347" name="Group 355">
            <a:extLst>
              <a:ext uri="{FF2B5EF4-FFF2-40B4-BE49-F238E27FC236}">
                <a16:creationId xmlns:a16="http://schemas.microsoft.com/office/drawing/2014/main" id="{3FFE29AF-ADFA-46F6-8079-DB48F58F9D19}"/>
              </a:ext>
            </a:extLst>
          </p:cNvPr>
          <p:cNvGrpSpPr/>
          <p:nvPr/>
        </p:nvGrpSpPr>
        <p:grpSpPr>
          <a:xfrm>
            <a:off x="3948647" y="4960113"/>
            <a:ext cx="875476" cy="1502601"/>
            <a:chOff x="4458549" y="4883913"/>
            <a:chExt cx="875476" cy="1502601"/>
          </a:xfrm>
        </p:grpSpPr>
        <p:sp>
          <p:nvSpPr>
            <p:cNvPr id="348" name="Freeform 1792">
              <a:extLst>
                <a:ext uri="{FF2B5EF4-FFF2-40B4-BE49-F238E27FC236}">
                  <a16:creationId xmlns:a16="http://schemas.microsoft.com/office/drawing/2014/main" id="{63C0E19D-EC4E-4193-A8A2-A8A5CACDD2B3}"/>
                </a:ext>
              </a:extLst>
            </p:cNvPr>
            <p:cNvSpPr>
              <a:spLocks/>
            </p:cNvSpPr>
            <p:nvPr/>
          </p:nvSpPr>
          <p:spPr bwMode="auto">
            <a:xfrm>
              <a:off x="4769432" y="5861229"/>
              <a:ext cx="125068" cy="232269"/>
            </a:xfrm>
            <a:custGeom>
              <a:avLst/>
              <a:gdLst>
                <a:gd name="T0" fmla="*/ 58 w 70"/>
                <a:gd name="T1" fmla="*/ 130 h 130"/>
                <a:gd name="T2" fmla="*/ 58 w 70"/>
                <a:gd name="T3" fmla="*/ 130 h 130"/>
                <a:gd name="T4" fmla="*/ 54 w 70"/>
                <a:gd name="T5" fmla="*/ 118 h 130"/>
                <a:gd name="T6" fmla="*/ 44 w 70"/>
                <a:gd name="T7" fmla="*/ 86 h 130"/>
                <a:gd name="T8" fmla="*/ 26 w 70"/>
                <a:gd name="T9" fmla="*/ 46 h 130"/>
                <a:gd name="T10" fmla="*/ 14 w 70"/>
                <a:gd name="T11" fmla="*/ 24 h 130"/>
                <a:gd name="T12" fmla="*/ 2 w 70"/>
                <a:gd name="T13" fmla="*/ 6 h 130"/>
                <a:gd name="T14" fmla="*/ 2 w 70"/>
                <a:gd name="T15" fmla="*/ 6 h 130"/>
                <a:gd name="T16" fmla="*/ 0 w 70"/>
                <a:gd name="T17" fmla="*/ 2 h 130"/>
                <a:gd name="T18" fmla="*/ 2 w 70"/>
                <a:gd name="T19" fmla="*/ 0 h 130"/>
                <a:gd name="T20" fmla="*/ 4 w 70"/>
                <a:gd name="T21" fmla="*/ 0 h 130"/>
                <a:gd name="T22" fmla="*/ 6 w 70"/>
                <a:gd name="T23" fmla="*/ 0 h 130"/>
                <a:gd name="T24" fmla="*/ 6 w 70"/>
                <a:gd name="T25" fmla="*/ 0 h 130"/>
                <a:gd name="T26" fmla="*/ 20 w 70"/>
                <a:gd name="T27" fmla="*/ 14 h 130"/>
                <a:gd name="T28" fmla="*/ 30 w 70"/>
                <a:gd name="T29" fmla="*/ 26 h 130"/>
                <a:gd name="T30" fmla="*/ 52 w 70"/>
                <a:gd name="T31" fmla="*/ 54 h 130"/>
                <a:gd name="T32" fmla="*/ 70 w 70"/>
                <a:gd name="T33" fmla="*/ 84 h 130"/>
                <a:gd name="T34" fmla="*/ 58 w 70"/>
                <a:gd name="T35" fmla="*/ 13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0" h="130">
                  <a:moveTo>
                    <a:pt x="58" y="130"/>
                  </a:moveTo>
                  <a:lnTo>
                    <a:pt x="58" y="130"/>
                  </a:lnTo>
                  <a:lnTo>
                    <a:pt x="54" y="118"/>
                  </a:lnTo>
                  <a:lnTo>
                    <a:pt x="44" y="86"/>
                  </a:lnTo>
                  <a:lnTo>
                    <a:pt x="26" y="46"/>
                  </a:lnTo>
                  <a:lnTo>
                    <a:pt x="14" y="24"/>
                  </a:lnTo>
                  <a:lnTo>
                    <a:pt x="2" y="6"/>
                  </a:lnTo>
                  <a:lnTo>
                    <a:pt x="2" y="6"/>
                  </a:lnTo>
                  <a:lnTo>
                    <a:pt x="0" y="2"/>
                  </a:lnTo>
                  <a:lnTo>
                    <a:pt x="2" y="0"/>
                  </a:lnTo>
                  <a:lnTo>
                    <a:pt x="4" y="0"/>
                  </a:lnTo>
                  <a:lnTo>
                    <a:pt x="6" y="0"/>
                  </a:lnTo>
                  <a:lnTo>
                    <a:pt x="6" y="0"/>
                  </a:lnTo>
                  <a:lnTo>
                    <a:pt x="20" y="14"/>
                  </a:lnTo>
                  <a:lnTo>
                    <a:pt x="30" y="26"/>
                  </a:lnTo>
                  <a:lnTo>
                    <a:pt x="52" y="54"/>
                  </a:lnTo>
                  <a:lnTo>
                    <a:pt x="70" y="84"/>
                  </a:lnTo>
                  <a:lnTo>
                    <a:pt x="58" y="130"/>
                  </a:lnTo>
                  <a:close/>
                </a:path>
              </a:pathLst>
            </a:custGeom>
            <a:solidFill>
              <a:srgbClr val="ADD15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49" name="Freeform 1793">
              <a:extLst>
                <a:ext uri="{FF2B5EF4-FFF2-40B4-BE49-F238E27FC236}">
                  <a16:creationId xmlns:a16="http://schemas.microsoft.com/office/drawing/2014/main" id="{85B0A2B1-F018-45E3-84C5-F79A36A91EE4}"/>
                </a:ext>
              </a:extLst>
            </p:cNvPr>
            <p:cNvSpPr>
              <a:spLocks/>
            </p:cNvSpPr>
            <p:nvPr/>
          </p:nvSpPr>
          <p:spPr bwMode="auto">
            <a:xfrm>
              <a:off x="4769432" y="5861229"/>
              <a:ext cx="125068" cy="232269"/>
            </a:xfrm>
            <a:custGeom>
              <a:avLst/>
              <a:gdLst>
                <a:gd name="T0" fmla="*/ 58 w 70"/>
                <a:gd name="T1" fmla="*/ 130 h 130"/>
                <a:gd name="T2" fmla="*/ 58 w 70"/>
                <a:gd name="T3" fmla="*/ 130 h 130"/>
                <a:gd name="T4" fmla="*/ 54 w 70"/>
                <a:gd name="T5" fmla="*/ 118 h 130"/>
                <a:gd name="T6" fmla="*/ 44 w 70"/>
                <a:gd name="T7" fmla="*/ 86 h 130"/>
                <a:gd name="T8" fmla="*/ 26 w 70"/>
                <a:gd name="T9" fmla="*/ 46 h 130"/>
                <a:gd name="T10" fmla="*/ 14 w 70"/>
                <a:gd name="T11" fmla="*/ 24 h 130"/>
                <a:gd name="T12" fmla="*/ 2 w 70"/>
                <a:gd name="T13" fmla="*/ 6 h 130"/>
                <a:gd name="T14" fmla="*/ 2 w 70"/>
                <a:gd name="T15" fmla="*/ 6 h 130"/>
                <a:gd name="T16" fmla="*/ 0 w 70"/>
                <a:gd name="T17" fmla="*/ 2 h 130"/>
                <a:gd name="T18" fmla="*/ 2 w 70"/>
                <a:gd name="T19" fmla="*/ 0 h 130"/>
                <a:gd name="T20" fmla="*/ 4 w 70"/>
                <a:gd name="T21" fmla="*/ 0 h 130"/>
                <a:gd name="T22" fmla="*/ 6 w 70"/>
                <a:gd name="T23" fmla="*/ 0 h 130"/>
                <a:gd name="T24" fmla="*/ 6 w 70"/>
                <a:gd name="T25" fmla="*/ 0 h 130"/>
                <a:gd name="T26" fmla="*/ 20 w 70"/>
                <a:gd name="T27" fmla="*/ 14 h 130"/>
                <a:gd name="T28" fmla="*/ 30 w 70"/>
                <a:gd name="T29" fmla="*/ 26 h 130"/>
                <a:gd name="T30" fmla="*/ 52 w 70"/>
                <a:gd name="T31" fmla="*/ 54 h 130"/>
                <a:gd name="T32" fmla="*/ 70 w 70"/>
                <a:gd name="T33" fmla="*/ 84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0" h="130">
                  <a:moveTo>
                    <a:pt x="58" y="130"/>
                  </a:moveTo>
                  <a:lnTo>
                    <a:pt x="58" y="130"/>
                  </a:lnTo>
                  <a:lnTo>
                    <a:pt x="54" y="118"/>
                  </a:lnTo>
                  <a:lnTo>
                    <a:pt x="44" y="86"/>
                  </a:lnTo>
                  <a:lnTo>
                    <a:pt x="26" y="46"/>
                  </a:lnTo>
                  <a:lnTo>
                    <a:pt x="14" y="24"/>
                  </a:lnTo>
                  <a:lnTo>
                    <a:pt x="2" y="6"/>
                  </a:lnTo>
                  <a:lnTo>
                    <a:pt x="2" y="6"/>
                  </a:lnTo>
                  <a:lnTo>
                    <a:pt x="0" y="2"/>
                  </a:lnTo>
                  <a:lnTo>
                    <a:pt x="2" y="0"/>
                  </a:lnTo>
                  <a:lnTo>
                    <a:pt x="4" y="0"/>
                  </a:lnTo>
                  <a:lnTo>
                    <a:pt x="6" y="0"/>
                  </a:lnTo>
                  <a:lnTo>
                    <a:pt x="6" y="0"/>
                  </a:lnTo>
                  <a:lnTo>
                    <a:pt x="20" y="14"/>
                  </a:lnTo>
                  <a:lnTo>
                    <a:pt x="30" y="26"/>
                  </a:lnTo>
                  <a:lnTo>
                    <a:pt x="52" y="54"/>
                  </a:lnTo>
                  <a:lnTo>
                    <a:pt x="70" y="84"/>
                  </a:lnTo>
                </a:path>
              </a:pathLst>
            </a:custGeom>
            <a:solidFill>
              <a:srgbClr val="92D05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50" name="Freeform 1795">
              <a:extLst>
                <a:ext uri="{FF2B5EF4-FFF2-40B4-BE49-F238E27FC236}">
                  <a16:creationId xmlns:a16="http://schemas.microsoft.com/office/drawing/2014/main" id="{E6876E2C-AAB9-444C-B09D-685C6EA94A07}"/>
                </a:ext>
              </a:extLst>
            </p:cNvPr>
            <p:cNvSpPr>
              <a:spLocks/>
            </p:cNvSpPr>
            <p:nvPr/>
          </p:nvSpPr>
          <p:spPr bwMode="auto">
            <a:xfrm>
              <a:off x="4858766" y="5668267"/>
              <a:ext cx="214402" cy="689660"/>
            </a:xfrm>
            <a:custGeom>
              <a:avLst/>
              <a:gdLst>
                <a:gd name="T0" fmla="*/ 116 w 120"/>
                <a:gd name="T1" fmla="*/ 2 h 386"/>
                <a:gd name="T2" fmla="*/ 90 w 120"/>
                <a:gd name="T3" fmla="*/ 14 h 386"/>
                <a:gd name="T4" fmla="*/ 66 w 120"/>
                <a:gd name="T5" fmla="*/ 32 h 386"/>
                <a:gd name="T6" fmla="*/ 52 w 120"/>
                <a:gd name="T7" fmla="*/ 44 h 386"/>
                <a:gd name="T8" fmla="*/ 30 w 120"/>
                <a:gd name="T9" fmla="*/ 76 h 386"/>
                <a:gd name="T10" fmla="*/ 18 w 120"/>
                <a:gd name="T11" fmla="*/ 94 h 386"/>
                <a:gd name="T12" fmla="*/ 14 w 120"/>
                <a:gd name="T13" fmla="*/ 104 h 386"/>
                <a:gd name="T14" fmla="*/ 10 w 120"/>
                <a:gd name="T15" fmla="*/ 114 h 386"/>
                <a:gd name="T16" fmla="*/ 2 w 120"/>
                <a:gd name="T17" fmla="*/ 142 h 386"/>
                <a:gd name="T18" fmla="*/ 2 w 120"/>
                <a:gd name="T19" fmla="*/ 144 h 386"/>
                <a:gd name="T20" fmla="*/ 2 w 120"/>
                <a:gd name="T21" fmla="*/ 146 h 386"/>
                <a:gd name="T22" fmla="*/ 2 w 120"/>
                <a:gd name="T23" fmla="*/ 148 h 386"/>
                <a:gd name="T24" fmla="*/ 0 w 120"/>
                <a:gd name="T25" fmla="*/ 160 h 386"/>
                <a:gd name="T26" fmla="*/ 0 w 120"/>
                <a:gd name="T27" fmla="*/ 172 h 386"/>
                <a:gd name="T28" fmla="*/ 2 w 120"/>
                <a:gd name="T29" fmla="*/ 186 h 386"/>
                <a:gd name="T30" fmla="*/ 8 w 120"/>
                <a:gd name="T31" fmla="*/ 234 h 386"/>
                <a:gd name="T32" fmla="*/ 18 w 120"/>
                <a:gd name="T33" fmla="*/ 284 h 386"/>
                <a:gd name="T34" fmla="*/ 28 w 120"/>
                <a:gd name="T35" fmla="*/ 360 h 386"/>
                <a:gd name="T36" fmla="*/ 74 w 120"/>
                <a:gd name="T37" fmla="*/ 382 h 386"/>
                <a:gd name="T38" fmla="*/ 70 w 120"/>
                <a:gd name="T39" fmla="*/ 354 h 386"/>
                <a:gd name="T40" fmla="*/ 52 w 120"/>
                <a:gd name="T41" fmla="*/ 276 h 386"/>
                <a:gd name="T42" fmla="*/ 38 w 120"/>
                <a:gd name="T43" fmla="*/ 228 h 386"/>
                <a:gd name="T44" fmla="*/ 26 w 120"/>
                <a:gd name="T45" fmla="*/ 182 h 386"/>
                <a:gd name="T46" fmla="*/ 24 w 120"/>
                <a:gd name="T47" fmla="*/ 172 h 386"/>
                <a:gd name="T48" fmla="*/ 24 w 120"/>
                <a:gd name="T49" fmla="*/ 160 h 386"/>
                <a:gd name="T50" fmla="*/ 24 w 120"/>
                <a:gd name="T51" fmla="*/ 150 h 386"/>
                <a:gd name="T52" fmla="*/ 24 w 120"/>
                <a:gd name="T53" fmla="*/ 148 h 386"/>
                <a:gd name="T54" fmla="*/ 24 w 120"/>
                <a:gd name="T55" fmla="*/ 148 h 386"/>
                <a:gd name="T56" fmla="*/ 24 w 120"/>
                <a:gd name="T57" fmla="*/ 146 h 386"/>
                <a:gd name="T58" fmla="*/ 24 w 120"/>
                <a:gd name="T59" fmla="*/ 140 h 386"/>
                <a:gd name="T60" fmla="*/ 28 w 120"/>
                <a:gd name="T61" fmla="*/ 120 h 386"/>
                <a:gd name="T62" fmla="*/ 32 w 120"/>
                <a:gd name="T63" fmla="*/ 110 h 386"/>
                <a:gd name="T64" fmla="*/ 34 w 120"/>
                <a:gd name="T65" fmla="*/ 100 h 386"/>
                <a:gd name="T66" fmla="*/ 52 w 120"/>
                <a:gd name="T67" fmla="*/ 66 h 386"/>
                <a:gd name="T68" fmla="*/ 72 w 120"/>
                <a:gd name="T69" fmla="*/ 40 h 386"/>
                <a:gd name="T70" fmla="*/ 84 w 120"/>
                <a:gd name="T71" fmla="*/ 28 h 386"/>
                <a:gd name="T72" fmla="*/ 106 w 120"/>
                <a:gd name="T73" fmla="*/ 12 h 386"/>
                <a:gd name="T74" fmla="*/ 118 w 120"/>
                <a:gd name="T75" fmla="*/ 6 h 386"/>
                <a:gd name="T76" fmla="*/ 118 w 120"/>
                <a:gd name="T77" fmla="*/ 2 h 386"/>
                <a:gd name="T78" fmla="*/ 116 w 120"/>
                <a:gd name="T79" fmla="*/ 2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20" h="386">
                  <a:moveTo>
                    <a:pt x="116" y="2"/>
                  </a:moveTo>
                  <a:lnTo>
                    <a:pt x="116" y="2"/>
                  </a:lnTo>
                  <a:lnTo>
                    <a:pt x="104" y="6"/>
                  </a:lnTo>
                  <a:lnTo>
                    <a:pt x="90" y="14"/>
                  </a:lnTo>
                  <a:lnTo>
                    <a:pt x="78" y="22"/>
                  </a:lnTo>
                  <a:lnTo>
                    <a:pt x="66" y="32"/>
                  </a:lnTo>
                  <a:lnTo>
                    <a:pt x="66" y="32"/>
                  </a:lnTo>
                  <a:lnTo>
                    <a:pt x="52" y="44"/>
                  </a:lnTo>
                  <a:lnTo>
                    <a:pt x="40" y="60"/>
                  </a:lnTo>
                  <a:lnTo>
                    <a:pt x="30" y="76"/>
                  </a:lnTo>
                  <a:lnTo>
                    <a:pt x="18" y="94"/>
                  </a:lnTo>
                  <a:lnTo>
                    <a:pt x="18" y="94"/>
                  </a:lnTo>
                  <a:lnTo>
                    <a:pt x="14" y="104"/>
                  </a:lnTo>
                  <a:lnTo>
                    <a:pt x="14" y="104"/>
                  </a:lnTo>
                  <a:lnTo>
                    <a:pt x="10" y="114"/>
                  </a:lnTo>
                  <a:lnTo>
                    <a:pt x="10" y="114"/>
                  </a:lnTo>
                  <a:lnTo>
                    <a:pt x="4" y="136"/>
                  </a:lnTo>
                  <a:lnTo>
                    <a:pt x="2" y="142"/>
                  </a:lnTo>
                  <a:lnTo>
                    <a:pt x="2" y="144"/>
                  </a:lnTo>
                  <a:lnTo>
                    <a:pt x="2" y="144"/>
                  </a:lnTo>
                  <a:lnTo>
                    <a:pt x="2" y="144"/>
                  </a:lnTo>
                  <a:lnTo>
                    <a:pt x="2" y="146"/>
                  </a:lnTo>
                  <a:lnTo>
                    <a:pt x="2" y="148"/>
                  </a:lnTo>
                  <a:lnTo>
                    <a:pt x="2" y="148"/>
                  </a:lnTo>
                  <a:lnTo>
                    <a:pt x="0" y="160"/>
                  </a:lnTo>
                  <a:lnTo>
                    <a:pt x="0" y="160"/>
                  </a:lnTo>
                  <a:lnTo>
                    <a:pt x="0" y="172"/>
                  </a:lnTo>
                  <a:lnTo>
                    <a:pt x="0" y="172"/>
                  </a:lnTo>
                  <a:lnTo>
                    <a:pt x="2" y="186"/>
                  </a:lnTo>
                  <a:lnTo>
                    <a:pt x="2" y="186"/>
                  </a:lnTo>
                  <a:lnTo>
                    <a:pt x="4" y="210"/>
                  </a:lnTo>
                  <a:lnTo>
                    <a:pt x="8" y="234"/>
                  </a:lnTo>
                  <a:lnTo>
                    <a:pt x="18" y="284"/>
                  </a:lnTo>
                  <a:lnTo>
                    <a:pt x="18" y="284"/>
                  </a:lnTo>
                  <a:lnTo>
                    <a:pt x="26" y="334"/>
                  </a:lnTo>
                  <a:lnTo>
                    <a:pt x="28" y="360"/>
                  </a:lnTo>
                  <a:lnTo>
                    <a:pt x="30" y="386"/>
                  </a:lnTo>
                  <a:lnTo>
                    <a:pt x="74" y="382"/>
                  </a:lnTo>
                  <a:lnTo>
                    <a:pt x="74" y="382"/>
                  </a:lnTo>
                  <a:lnTo>
                    <a:pt x="70" y="354"/>
                  </a:lnTo>
                  <a:lnTo>
                    <a:pt x="66" y="328"/>
                  </a:lnTo>
                  <a:lnTo>
                    <a:pt x="52" y="276"/>
                  </a:lnTo>
                  <a:lnTo>
                    <a:pt x="52" y="276"/>
                  </a:lnTo>
                  <a:lnTo>
                    <a:pt x="38" y="228"/>
                  </a:lnTo>
                  <a:lnTo>
                    <a:pt x="32" y="204"/>
                  </a:lnTo>
                  <a:lnTo>
                    <a:pt x="26" y="182"/>
                  </a:lnTo>
                  <a:lnTo>
                    <a:pt x="26" y="182"/>
                  </a:lnTo>
                  <a:lnTo>
                    <a:pt x="24" y="172"/>
                  </a:lnTo>
                  <a:lnTo>
                    <a:pt x="24" y="172"/>
                  </a:lnTo>
                  <a:lnTo>
                    <a:pt x="24" y="160"/>
                  </a:lnTo>
                  <a:lnTo>
                    <a:pt x="24" y="160"/>
                  </a:lnTo>
                  <a:lnTo>
                    <a:pt x="24" y="150"/>
                  </a:lnTo>
                  <a:lnTo>
                    <a:pt x="24" y="148"/>
                  </a:lnTo>
                  <a:lnTo>
                    <a:pt x="24" y="148"/>
                  </a:lnTo>
                  <a:lnTo>
                    <a:pt x="24" y="148"/>
                  </a:lnTo>
                  <a:lnTo>
                    <a:pt x="24" y="148"/>
                  </a:lnTo>
                  <a:lnTo>
                    <a:pt x="24" y="146"/>
                  </a:lnTo>
                  <a:lnTo>
                    <a:pt x="24" y="146"/>
                  </a:lnTo>
                  <a:lnTo>
                    <a:pt x="24" y="140"/>
                  </a:lnTo>
                  <a:lnTo>
                    <a:pt x="24" y="140"/>
                  </a:lnTo>
                  <a:lnTo>
                    <a:pt x="28" y="120"/>
                  </a:lnTo>
                  <a:lnTo>
                    <a:pt x="28" y="120"/>
                  </a:lnTo>
                  <a:lnTo>
                    <a:pt x="32" y="110"/>
                  </a:lnTo>
                  <a:lnTo>
                    <a:pt x="32" y="110"/>
                  </a:lnTo>
                  <a:lnTo>
                    <a:pt x="34" y="100"/>
                  </a:lnTo>
                  <a:lnTo>
                    <a:pt x="34" y="100"/>
                  </a:lnTo>
                  <a:lnTo>
                    <a:pt x="42" y="84"/>
                  </a:lnTo>
                  <a:lnTo>
                    <a:pt x="52" y="66"/>
                  </a:lnTo>
                  <a:lnTo>
                    <a:pt x="62" y="52"/>
                  </a:lnTo>
                  <a:lnTo>
                    <a:pt x="72" y="40"/>
                  </a:lnTo>
                  <a:lnTo>
                    <a:pt x="72" y="40"/>
                  </a:lnTo>
                  <a:lnTo>
                    <a:pt x="84" y="28"/>
                  </a:lnTo>
                  <a:lnTo>
                    <a:pt x="96" y="20"/>
                  </a:lnTo>
                  <a:lnTo>
                    <a:pt x="106" y="12"/>
                  </a:lnTo>
                  <a:lnTo>
                    <a:pt x="118" y="6"/>
                  </a:lnTo>
                  <a:lnTo>
                    <a:pt x="118" y="6"/>
                  </a:lnTo>
                  <a:lnTo>
                    <a:pt x="120" y="4"/>
                  </a:lnTo>
                  <a:lnTo>
                    <a:pt x="118" y="2"/>
                  </a:lnTo>
                  <a:lnTo>
                    <a:pt x="118" y="0"/>
                  </a:lnTo>
                  <a:lnTo>
                    <a:pt x="116" y="2"/>
                  </a:lnTo>
                  <a:lnTo>
                    <a:pt x="116" y="2"/>
                  </a:lnTo>
                  <a:close/>
                </a:path>
              </a:pathLst>
            </a:custGeom>
            <a:solidFill>
              <a:srgbClr val="92D05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51" name="Freeform 1799">
              <a:extLst>
                <a:ext uri="{FF2B5EF4-FFF2-40B4-BE49-F238E27FC236}">
                  <a16:creationId xmlns:a16="http://schemas.microsoft.com/office/drawing/2014/main" id="{2B8891F4-8A4F-4C12-9649-E5293FF71979}"/>
                </a:ext>
              </a:extLst>
            </p:cNvPr>
            <p:cNvSpPr>
              <a:spLocks/>
            </p:cNvSpPr>
            <p:nvPr/>
          </p:nvSpPr>
          <p:spPr bwMode="auto">
            <a:xfrm>
              <a:off x="4476416" y="5614666"/>
              <a:ext cx="339470" cy="303736"/>
            </a:xfrm>
            <a:custGeom>
              <a:avLst/>
              <a:gdLst>
                <a:gd name="T0" fmla="*/ 186 w 190"/>
                <a:gd name="T1" fmla="*/ 154 h 170"/>
                <a:gd name="T2" fmla="*/ 186 w 190"/>
                <a:gd name="T3" fmla="*/ 154 h 170"/>
                <a:gd name="T4" fmla="*/ 188 w 190"/>
                <a:gd name="T5" fmla="*/ 140 h 170"/>
                <a:gd name="T6" fmla="*/ 190 w 190"/>
                <a:gd name="T7" fmla="*/ 124 h 170"/>
                <a:gd name="T8" fmla="*/ 188 w 190"/>
                <a:gd name="T9" fmla="*/ 110 h 170"/>
                <a:gd name="T10" fmla="*/ 186 w 190"/>
                <a:gd name="T11" fmla="*/ 96 h 170"/>
                <a:gd name="T12" fmla="*/ 180 w 190"/>
                <a:gd name="T13" fmla="*/ 80 h 170"/>
                <a:gd name="T14" fmla="*/ 174 w 190"/>
                <a:gd name="T15" fmla="*/ 66 h 170"/>
                <a:gd name="T16" fmla="*/ 166 w 190"/>
                <a:gd name="T17" fmla="*/ 54 h 170"/>
                <a:gd name="T18" fmla="*/ 154 w 190"/>
                <a:gd name="T19" fmla="*/ 42 h 170"/>
                <a:gd name="T20" fmla="*/ 142 w 190"/>
                <a:gd name="T21" fmla="*/ 30 h 170"/>
                <a:gd name="T22" fmla="*/ 128 w 190"/>
                <a:gd name="T23" fmla="*/ 20 h 170"/>
                <a:gd name="T24" fmla="*/ 112 w 190"/>
                <a:gd name="T25" fmla="*/ 12 h 170"/>
                <a:gd name="T26" fmla="*/ 92 w 190"/>
                <a:gd name="T27" fmla="*/ 6 h 170"/>
                <a:gd name="T28" fmla="*/ 72 w 190"/>
                <a:gd name="T29" fmla="*/ 2 h 170"/>
                <a:gd name="T30" fmla="*/ 50 w 190"/>
                <a:gd name="T31" fmla="*/ 0 h 170"/>
                <a:gd name="T32" fmla="*/ 26 w 190"/>
                <a:gd name="T33" fmla="*/ 0 h 170"/>
                <a:gd name="T34" fmla="*/ 0 w 190"/>
                <a:gd name="T35" fmla="*/ 4 h 170"/>
                <a:gd name="T36" fmla="*/ 0 w 190"/>
                <a:gd name="T37" fmla="*/ 4 h 170"/>
                <a:gd name="T38" fmla="*/ 2 w 190"/>
                <a:gd name="T39" fmla="*/ 26 h 170"/>
                <a:gd name="T40" fmla="*/ 6 w 190"/>
                <a:gd name="T41" fmla="*/ 46 h 170"/>
                <a:gd name="T42" fmla="*/ 12 w 190"/>
                <a:gd name="T43" fmla="*/ 64 h 170"/>
                <a:gd name="T44" fmla="*/ 18 w 190"/>
                <a:gd name="T45" fmla="*/ 80 h 170"/>
                <a:gd name="T46" fmla="*/ 18 w 190"/>
                <a:gd name="T47" fmla="*/ 80 h 170"/>
                <a:gd name="T48" fmla="*/ 26 w 190"/>
                <a:gd name="T49" fmla="*/ 94 h 170"/>
                <a:gd name="T50" fmla="*/ 32 w 190"/>
                <a:gd name="T51" fmla="*/ 106 h 170"/>
                <a:gd name="T52" fmla="*/ 42 w 190"/>
                <a:gd name="T53" fmla="*/ 118 h 170"/>
                <a:gd name="T54" fmla="*/ 50 w 190"/>
                <a:gd name="T55" fmla="*/ 128 h 170"/>
                <a:gd name="T56" fmla="*/ 70 w 190"/>
                <a:gd name="T57" fmla="*/ 144 h 170"/>
                <a:gd name="T58" fmla="*/ 88 w 190"/>
                <a:gd name="T59" fmla="*/ 156 h 170"/>
                <a:gd name="T60" fmla="*/ 108 w 190"/>
                <a:gd name="T61" fmla="*/ 162 h 170"/>
                <a:gd name="T62" fmla="*/ 124 w 190"/>
                <a:gd name="T63" fmla="*/ 168 h 170"/>
                <a:gd name="T64" fmla="*/ 138 w 190"/>
                <a:gd name="T65" fmla="*/ 170 h 170"/>
                <a:gd name="T66" fmla="*/ 148 w 190"/>
                <a:gd name="T67" fmla="*/ 168 h 170"/>
                <a:gd name="T68" fmla="*/ 148 w 190"/>
                <a:gd name="T69" fmla="*/ 168 h 170"/>
                <a:gd name="T70" fmla="*/ 172 w 190"/>
                <a:gd name="T71" fmla="*/ 164 h 170"/>
                <a:gd name="T72" fmla="*/ 184 w 190"/>
                <a:gd name="T73" fmla="*/ 160 h 170"/>
                <a:gd name="T74" fmla="*/ 186 w 190"/>
                <a:gd name="T75" fmla="*/ 156 h 170"/>
                <a:gd name="T76" fmla="*/ 186 w 190"/>
                <a:gd name="T77" fmla="*/ 154 h 170"/>
                <a:gd name="T78" fmla="*/ 186 w 190"/>
                <a:gd name="T79" fmla="*/ 154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90" h="170">
                  <a:moveTo>
                    <a:pt x="186" y="154"/>
                  </a:moveTo>
                  <a:lnTo>
                    <a:pt x="186" y="154"/>
                  </a:lnTo>
                  <a:lnTo>
                    <a:pt x="188" y="140"/>
                  </a:lnTo>
                  <a:lnTo>
                    <a:pt x="190" y="124"/>
                  </a:lnTo>
                  <a:lnTo>
                    <a:pt x="188" y="110"/>
                  </a:lnTo>
                  <a:lnTo>
                    <a:pt x="186" y="96"/>
                  </a:lnTo>
                  <a:lnTo>
                    <a:pt x="180" y="80"/>
                  </a:lnTo>
                  <a:lnTo>
                    <a:pt x="174" y="66"/>
                  </a:lnTo>
                  <a:lnTo>
                    <a:pt x="166" y="54"/>
                  </a:lnTo>
                  <a:lnTo>
                    <a:pt x="154" y="42"/>
                  </a:lnTo>
                  <a:lnTo>
                    <a:pt x="142" y="30"/>
                  </a:lnTo>
                  <a:lnTo>
                    <a:pt x="128" y="20"/>
                  </a:lnTo>
                  <a:lnTo>
                    <a:pt x="112" y="12"/>
                  </a:lnTo>
                  <a:lnTo>
                    <a:pt x="92" y="6"/>
                  </a:lnTo>
                  <a:lnTo>
                    <a:pt x="72" y="2"/>
                  </a:lnTo>
                  <a:lnTo>
                    <a:pt x="50" y="0"/>
                  </a:lnTo>
                  <a:lnTo>
                    <a:pt x="26" y="0"/>
                  </a:lnTo>
                  <a:lnTo>
                    <a:pt x="0" y="4"/>
                  </a:lnTo>
                  <a:lnTo>
                    <a:pt x="0" y="4"/>
                  </a:lnTo>
                  <a:lnTo>
                    <a:pt x="2" y="26"/>
                  </a:lnTo>
                  <a:lnTo>
                    <a:pt x="6" y="46"/>
                  </a:lnTo>
                  <a:lnTo>
                    <a:pt x="12" y="64"/>
                  </a:lnTo>
                  <a:lnTo>
                    <a:pt x="18" y="80"/>
                  </a:lnTo>
                  <a:lnTo>
                    <a:pt x="18" y="80"/>
                  </a:lnTo>
                  <a:lnTo>
                    <a:pt x="26" y="94"/>
                  </a:lnTo>
                  <a:lnTo>
                    <a:pt x="32" y="106"/>
                  </a:lnTo>
                  <a:lnTo>
                    <a:pt x="42" y="118"/>
                  </a:lnTo>
                  <a:lnTo>
                    <a:pt x="50" y="128"/>
                  </a:lnTo>
                  <a:lnTo>
                    <a:pt x="70" y="144"/>
                  </a:lnTo>
                  <a:lnTo>
                    <a:pt x="88" y="156"/>
                  </a:lnTo>
                  <a:lnTo>
                    <a:pt x="108" y="162"/>
                  </a:lnTo>
                  <a:lnTo>
                    <a:pt x="124" y="168"/>
                  </a:lnTo>
                  <a:lnTo>
                    <a:pt x="138" y="170"/>
                  </a:lnTo>
                  <a:lnTo>
                    <a:pt x="148" y="168"/>
                  </a:lnTo>
                  <a:lnTo>
                    <a:pt x="148" y="168"/>
                  </a:lnTo>
                  <a:lnTo>
                    <a:pt x="172" y="164"/>
                  </a:lnTo>
                  <a:lnTo>
                    <a:pt x="184" y="160"/>
                  </a:lnTo>
                  <a:lnTo>
                    <a:pt x="186" y="156"/>
                  </a:lnTo>
                  <a:lnTo>
                    <a:pt x="186" y="154"/>
                  </a:lnTo>
                  <a:lnTo>
                    <a:pt x="186" y="154"/>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52" name="Freeform 1801">
              <a:extLst>
                <a:ext uri="{FF2B5EF4-FFF2-40B4-BE49-F238E27FC236}">
                  <a16:creationId xmlns:a16="http://schemas.microsoft.com/office/drawing/2014/main" id="{EFF2DC0E-A718-4603-8B2F-AB28D1C228C4}"/>
                </a:ext>
              </a:extLst>
            </p:cNvPr>
            <p:cNvSpPr>
              <a:spLocks/>
            </p:cNvSpPr>
            <p:nvPr/>
          </p:nvSpPr>
          <p:spPr bwMode="auto">
            <a:xfrm>
              <a:off x="4969541" y="5468158"/>
              <a:ext cx="364484" cy="282296"/>
            </a:xfrm>
            <a:custGeom>
              <a:avLst/>
              <a:gdLst>
                <a:gd name="T0" fmla="*/ 6 w 204"/>
                <a:gd name="T1" fmla="*/ 142 h 158"/>
                <a:gd name="T2" fmla="*/ 6 w 204"/>
                <a:gd name="T3" fmla="*/ 142 h 158"/>
                <a:gd name="T4" fmla="*/ 20 w 204"/>
                <a:gd name="T5" fmla="*/ 148 h 158"/>
                <a:gd name="T6" fmla="*/ 34 w 204"/>
                <a:gd name="T7" fmla="*/ 154 h 158"/>
                <a:gd name="T8" fmla="*/ 48 w 204"/>
                <a:gd name="T9" fmla="*/ 156 h 158"/>
                <a:gd name="T10" fmla="*/ 64 w 204"/>
                <a:gd name="T11" fmla="*/ 158 h 158"/>
                <a:gd name="T12" fmla="*/ 78 w 204"/>
                <a:gd name="T13" fmla="*/ 158 h 158"/>
                <a:gd name="T14" fmla="*/ 94 w 204"/>
                <a:gd name="T15" fmla="*/ 156 h 158"/>
                <a:gd name="T16" fmla="*/ 110 w 204"/>
                <a:gd name="T17" fmla="*/ 150 h 158"/>
                <a:gd name="T18" fmla="*/ 124 w 204"/>
                <a:gd name="T19" fmla="*/ 144 h 158"/>
                <a:gd name="T20" fmla="*/ 138 w 204"/>
                <a:gd name="T21" fmla="*/ 134 h 158"/>
                <a:gd name="T22" fmla="*/ 152 w 204"/>
                <a:gd name="T23" fmla="*/ 124 h 158"/>
                <a:gd name="T24" fmla="*/ 164 w 204"/>
                <a:gd name="T25" fmla="*/ 110 h 158"/>
                <a:gd name="T26" fmla="*/ 174 w 204"/>
                <a:gd name="T27" fmla="*/ 94 h 158"/>
                <a:gd name="T28" fmla="*/ 184 w 204"/>
                <a:gd name="T29" fmla="*/ 76 h 158"/>
                <a:gd name="T30" fmla="*/ 194 w 204"/>
                <a:gd name="T31" fmla="*/ 56 h 158"/>
                <a:gd name="T32" fmla="*/ 200 w 204"/>
                <a:gd name="T33" fmla="*/ 32 h 158"/>
                <a:gd name="T34" fmla="*/ 204 w 204"/>
                <a:gd name="T35" fmla="*/ 6 h 158"/>
                <a:gd name="T36" fmla="*/ 204 w 204"/>
                <a:gd name="T37" fmla="*/ 6 h 158"/>
                <a:gd name="T38" fmla="*/ 182 w 204"/>
                <a:gd name="T39" fmla="*/ 4 h 158"/>
                <a:gd name="T40" fmla="*/ 162 w 204"/>
                <a:gd name="T41" fmla="*/ 2 h 158"/>
                <a:gd name="T42" fmla="*/ 142 w 204"/>
                <a:gd name="T43" fmla="*/ 0 h 158"/>
                <a:gd name="T44" fmla="*/ 126 w 204"/>
                <a:gd name="T45" fmla="*/ 2 h 158"/>
                <a:gd name="T46" fmla="*/ 126 w 204"/>
                <a:gd name="T47" fmla="*/ 2 h 158"/>
                <a:gd name="T48" fmla="*/ 110 w 204"/>
                <a:gd name="T49" fmla="*/ 4 h 158"/>
                <a:gd name="T50" fmla="*/ 96 w 204"/>
                <a:gd name="T51" fmla="*/ 8 h 158"/>
                <a:gd name="T52" fmla="*/ 82 w 204"/>
                <a:gd name="T53" fmla="*/ 14 h 158"/>
                <a:gd name="T54" fmla="*/ 70 w 204"/>
                <a:gd name="T55" fmla="*/ 20 h 158"/>
                <a:gd name="T56" fmla="*/ 50 w 204"/>
                <a:gd name="T57" fmla="*/ 32 h 158"/>
                <a:gd name="T58" fmla="*/ 34 w 204"/>
                <a:gd name="T59" fmla="*/ 48 h 158"/>
                <a:gd name="T60" fmla="*/ 22 w 204"/>
                <a:gd name="T61" fmla="*/ 64 h 158"/>
                <a:gd name="T62" fmla="*/ 12 w 204"/>
                <a:gd name="T63" fmla="*/ 80 h 158"/>
                <a:gd name="T64" fmla="*/ 6 w 204"/>
                <a:gd name="T65" fmla="*/ 92 h 158"/>
                <a:gd name="T66" fmla="*/ 4 w 204"/>
                <a:gd name="T67" fmla="*/ 102 h 158"/>
                <a:gd name="T68" fmla="*/ 4 w 204"/>
                <a:gd name="T69" fmla="*/ 102 h 158"/>
                <a:gd name="T70" fmla="*/ 0 w 204"/>
                <a:gd name="T71" fmla="*/ 126 h 158"/>
                <a:gd name="T72" fmla="*/ 2 w 204"/>
                <a:gd name="T73" fmla="*/ 138 h 158"/>
                <a:gd name="T74" fmla="*/ 4 w 204"/>
                <a:gd name="T75" fmla="*/ 142 h 158"/>
                <a:gd name="T76" fmla="*/ 6 w 204"/>
                <a:gd name="T77" fmla="*/ 142 h 158"/>
                <a:gd name="T78" fmla="*/ 6 w 204"/>
                <a:gd name="T79" fmla="*/ 142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04" h="158">
                  <a:moveTo>
                    <a:pt x="6" y="142"/>
                  </a:moveTo>
                  <a:lnTo>
                    <a:pt x="6" y="142"/>
                  </a:lnTo>
                  <a:lnTo>
                    <a:pt x="20" y="148"/>
                  </a:lnTo>
                  <a:lnTo>
                    <a:pt x="34" y="154"/>
                  </a:lnTo>
                  <a:lnTo>
                    <a:pt x="48" y="156"/>
                  </a:lnTo>
                  <a:lnTo>
                    <a:pt x="64" y="158"/>
                  </a:lnTo>
                  <a:lnTo>
                    <a:pt x="78" y="158"/>
                  </a:lnTo>
                  <a:lnTo>
                    <a:pt x="94" y="156"/>
                  </a:lnTo>
                  <a:lnTo>
                    <a:pt x="110" y="150"/>
                  </a:lnTo>
                  <a:lnTo>
                    <a:pt x="124" y="144"/>
                  </a:lnTo>
                  <a:lnTo>
                    <a:pt x="138" y="134"/>
                  </a:lnTo>
                  <a:lnTo>
                    <a:pt x="152" y="124"/>
                  </a:lnTo>
                  <a:lnTo>
                    <a:pt x="164" y="110"/>
                  </a:lnTo>
                  <a:lnTo>
                    <a:pt x="174" y="94"/>
                  </a:lnTo>
                  <a:lnTo>
                    <a:pt x="184" y="76"/>
                  </a:lnTo>
                  <a:lnTo>
                    <a:pt x="194" y="56"/>
                  </a:lnTo>
                  <a:lnTo>
                    <a:pt x="200" y="32"/>
                  </a:lnTo>
                  <a:lnTo>
                    <a:pt x="204" y="6"/>
                  </a:lnTo>
                  <a:lnTo>
                    <a:pt x="204" y="6"/>
                  </a:lnTo>
                  <a:lnTo>
                    <a:pt x="182" y="4"/>
                  </a:lnTo>
                  <a:lnTo>
                    <a:pt x="162" y="2"/>
                  </a:lnTo>
                  <a:lnTo>
                    <a:pt x="142" y="0"/>
                  </a:lnTo>
                  <a:lnTo>
                    <a:pt x="126" y="2"/>
                  </a:lnTo>
                  <a:lnTo>
                    <a:pt x="126" y="2"/>
                  </a:lnTo>
                  <a:lnTo>
                    <a:pt x="110" y="4"/>
                  </a:lnTo>
                  <a:lnTo>
                    <a:pt x="96" y="8"/>
                  </a:lnTo>
                  <a:lnTo>
                    <a:pt x="82" y="14"/>
                  </a:lnTo>
                  <a:lnTo>
                    <a:pt x="70" y="20"/>
                  </a:lnTo>
                  <a:lnTo>
                    <a:pt x="50" y="32"/>
                  </a:lnTo>
                  <a:lnTo>
                    <a:pt x="34" y="48"/>
                  </a:lnTo>
                  <a:lnTo>
                    <a:pt x="22" y="64"/>
                  </a:lnTo>
                  <a:lnTo>
                    <a:pt x="12" y="80"/>
                  </a:lnTo>
                  <a:lnTo>
                    <a:pt x="6" y="92"/>
                  </a:lnTo>
                  <a:lnTo>
                    <a:pt x="4" y="102"/>
                  </a:lnTo>
                  <a:lnTo>
                    <a:pt x="4" y="102"/>
                  </a:lnTo>
                  <a:lnTo>
                    <a:pt x="0" y="126"/>
                  </a:lnTo>
                  <a:lnTo>
                    <a:pt x="2" y="138"/>
                  </a:lnTo>
                  <a:lnTo>
                    <a:pt x="4" y="142"/>
                  </a:lnTo>
                  <a:lnTo>
                    <a:pt x="6" y="142"/>
                  </a:lnTo>
                  <a:lnTo>
                    <a:pt x="6" y="142"/>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nvGrpSpPr>
            <p:cNvPr id="353" name="Group 361">
              <a:extLst>
                <a:ext uri="{FF2B5EF4-FFF2-40B4-BE49-F238E27FC236}">
                  <a16:creationId xmlns:a16="http://schemas.microsoft.com/office/drawing/2014/main" id="{A5966C22-67C8-4E27-A095-7BB83E277DA2}"/>
                </a:ext>
              </a:extLst>
            </p:cNvPr>
            <p:cNvGrpSpPr/>
            <p:nvPr/>
          </p:nvGrpSpPr>
          <p:grpSpPr>
            <a:xfrm>
              <a:off x="4780152" y="4883913"/>
              <a:ext cx="375204" cy="405578"/>
              <a:chOff x="4780152" y="4883913"/>
              <a:chExt cx="375204" cy="405578"/>
            </a:xfrm>
          </p:grpSpPr>
          <p:sp>
            <p:nvSpPr>
              <p:cNvPr id="358" name="Freeform 2302">
                <a:extLst>
                  <a:ext uri="{FF2B5EF4-FFF2-40B4-BE49-F238E27FC236}">
                    <a16:creationId xmlns:a16="http://schemas.microsoft.com/office/drawing/2014/main" id="{4E361EE1-E933-417C-8363-AB90E4D96FE8}"/>
                  </a:ext>
                </a:extLst>
              </p:cNvPr>
              <p:cNvSpPr>
                <a:spLocks/>
              </p:cNvSpPr>
              <p:nvPr/>
            </p:nvSpPr>
            <p:spPr bwMode="auto">
              <a:xfrm>
                <a:off x="4858766" y="4891060"/>
                <a:ext cx="296590" cy="398431"/>
              </a:xfrm>
              <a:custGeom>
                <a:avLst/>
                <a:gdLst>
                  <a:gd name="T0" fmla="*/ 0 w 166"/>
                  <a:gd name="T1" fmla="*/ 203 h 223"/>
                  <a:gd name="T2" fmla="*/ 42 w 166"/>
                  <a:gd name="T3" fmla="*/ 219 h 223"/>
                  <a:gd name="T4" fmla="*/ 42 w 166"/>
                  <a:gd name="T5" fmla="*/ 219 h 223"/>
                  <a:gd name="T6" fmla="*/ 56 w 166"/>
                  <a:gd name="T7" fmla="*/ 223 h 223"/>
                  <a:gd name="T8" fmla="*/ 72 w 166"/>
                  <a:gd name="T9" fmla="*/ 223 h 223"/>
                  <a:gd name="T10" fmla="*/ 88 w 166"/>
                  <a:gd name="T11" fmla="*/ 219 h 223"/>
                  <a:gd name="T12" fmla="*/ 104 w 166"/>
                  <a:gd name="T13" fmla="*/ 211 h 223"/>
                  <a:gd name="T14" fmla="*/ 120 w 166"/>
                  <a:gd name="T15" fmla="*/ 201 h 223"/>
                  <a:gd name="T16" fmla="*/ 134 w 166"/>
                  <a:gd name="T17" fmla="*/ 185 h 223"/>
                  <a:gd name="T18" fmla="*/ 146 w 166"/>
                  <a:gd name="T19" fmla="*/ 169 h 223"/>
                  <a:gd name="T20" fmla="*/ 156 w 166"/>
                  <a:gd name="T21" fmla="*/ 149 h 223"/>
                  <a:gd name="T22" fmla="*/ 156 w 166"/>
                  <a:gd name="T23" fmla="*/ 149 h 223"/>
                  <a:gd name="T24" fmla="*/ 162 w 166"/>
                  <a:gd name="T25" fmla="*/ 127 h 223"/>
                  <a:gd name="T26" fmla="*/ 166 w 166"/>
                  <a:gd name="T27" fmla="*/ 107 h 223"/>
                  <a:gd name="T28" fmla="*/ 166 w 166"/>
                  <a:gd name="T29" fmla="*/ 88 h 223"/>
                  <a:gd name="T30" fmla="*/ 164 w 166"/>
                  <a:gd name="T31" fmla="*/ 68 h 223"/>
                  <a:gd name="T32" fmla="*/ 158 w 166"/>
                  <a:gd name="T33" fmla="*/ 52 h 223"/>
                  <a:gd name="T34" fmla="*/ 150 w 166"/>
                  <a:gd name="T35" fmla="*/ 38 h 223"/>
                  <a:gd name="T36" fmla="*/ 138 w 166"/>
                  <a:gd name="T37" fmla="*/ 26 h 223"/>
                  <a:gd name="T38" fmla="*/ 124 w 166"/>
                  <a:gd name="T39" fmla="*/ 18 h 223"/>
                  <a:gd name="T40" fmla="*/ 84 w 166"/>
                  <a:gd name="T41" fmla="*/ 0 h 223"/>
                  <a:gd name="T42" fmla="*/ 0 w 166"/>
                  <a:gd name="T43" fmla="*/ 203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66" h="223">
                    <a:moveTo>
                      <a:pt x="0" y="203"/>
                    </a:moveTo>
                    <a:lnTo>
                      <a:pt x="42" y="219"/>
                    </a:lnTo>
                    <a:lnTo>
                      <a:pt x="42" y="219"/>
                    </a:lnTo>
                    <a:lnTo>
                      <a:pt x="56" y="223"/>
                    </a:lnTo>
                    <a:lnTo>
                      <a:pt x="72" y="223"/>
                    </a:lnTo>
                    <a:lnTo>
                      <a:pt x="88" y="219"/>
                    </a:lnTo>
                    <a:lnTo>
                      <a:pt x="104" y="211"/>
                    </a:lnTo>
                    <a:lnTo>
                      <a:pt x="120" y="201"/>
                    </a:lnTo>
                    <a:lnTo>
                      <a:pt x="134" y="185"/>
                    </a:lnTo>
                    <a:lnTo>
                      <a:pt x="146" y="169"/>
                    </a:lnTo>
                    <a:lnTo>
                      <a:pt x="156" y="149"/>
                    </a:lnTo>
                    <a:lnTo>
                      <a:pt x="156" y="149"/>
                    </a:lnTo>
                    <a:lnTo>
                      <a:pt x="162" y="127"/>
                    </a:lnTo>
                    <a:lnTo>
                      <a:pt x="166" y="107"/>
                    </a:lnTo>
                    <a:lnTo>
                      <a:pt x="166" y="88"/>
                    </a:lnTo>
                    <a:lnTo>
                      <a:pt x="164" y="68"/>
                    </a:lnTo>
                    <a:lnTo>
                      <a:pt x="158" y="52"/>
                    </a:lnTo>
                    <a:lnTo>
                      <a:pt x="150" y="38"/>
                    </a:lnTo>
                    <a:lnTo>
                      <a:pt x="138" y="26"/>
                    </a:lnTo>
                    <a:lnTo>
                      <a:pt x="124" y="18"/>
                    </a:lnTo>
                    <a:lnTo>
                      <a:pt x="84" y="0"/>
                    </a:lnTo>
                    <a:lnTo>
                      <a:pt x="0" y="203"/>
                    </a:lnTo>
                    <a:close/>
                  </a:path>
                </a:pathLst>
              </a:custGeom>
              <a:solidFill>
                <a:srgbClr val="FF9F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59" name="Freeform 2304">
                <a:extLst>
                  <a:ext uri="{FF2B5EF4-FFF2-40B4-BE49-F238E27FC236}">
                    <a16:creationId xmlns:a16="http://schemas.microsoft.com/office/drawing/2014/main" id="{580C5D7C-72D6-4DB3-A70B-4A38AE23376D}"/>
                  </a:ext>
                </a:extLst>
              </p:cNvPr>
              <p:cNvSpPr>
                <a:spLocks/>
              </p:cNvSpPr>
              <p:nvPr/>
            </p:nvSpPr>
            <p:spPr bwMode="auto">
              <a:xfrm>
                <a:off x="4780152" y="4883913"/>
                <a:ext cx="296590" cy="373418"/>
              </a:xfrm>
              <a:custGeom>
                <a:avLst/>
                <a:gdLst>
                  <a:gd name="T0" fmla="*/ 124 w 166"/>
                  <a:gd name="T1" fmla="*/ 4 h 209"/>
                  <a:gd name="T2" fmla="*/ 124 w 166"/>
                  <a:gd name="T3" fmla="*/ 4 h 209"/>
                  <a:gd name="T4" fmla="*/ 138 w 166"/>
                  <a:gd name="T5" fmla="*/ 12 h 209"/>
                  <a:gd name="T6" fmla="*/ 150 w 166"/>
                  <a:gd name="T7" fmla="*/ 22 h 209"/>
                  <a:gd name="T8" fmla="*/ 158 w 166"/>
                  <a:gd name="T9" fmla="*/ 38 h 209"/>
                  <a:gd name="T10" fmla="*/ 164 w 166"/>
                  <a:gd name="T11" fmla="*/ 54 h 209"/>
                  <a:gd name="T12" fmla="*/ 166 w 166"/>
                  <a:gd name="T13" fmla="*/ 74 h 209"/>
                  <a:gd name="T14" fmla="*/ 166 w 166"/>
                  <a:gd name="T15" fmla="*/ 94 h 209"/>
                  <a:gd name="T16" fmla="*/ 162 w 166"/>
                  <a:gd name="T17" fmla="*/ 113 h 209"/>
                  <a:gd name="T18" fmla="*/ 156 w 166"/>
                  <a:gd name="T19" fmla="*/ 133 h 209"/>
                  <a:gd name="T20" fmla="*/ 156 w 166"/>
                  <a:gd name="T21" fmla="*/ 133 h 209"/>
                  <a:gd name="T22" fmla="*/ 146 w 166"/>
                  <a:gd name="T23" fmla="*/ 153 h 209"/>
                  <a:gd name="T24" fmla="*/ 134 w 166"/>
                  <a:gd name="T25" fmla="*/ 171 h 209"/>
                  <a:gd name="T26" fmla="*/ 120 w 166"/>
                  <a:gd name="T27" fmla="*/ 185 h 209"/>
                  <a:gd name="T28" fmla="*/ 104 w 166"/>
                  <a:gd name="T29" fmla="*/ 197 h 209"/>
                  <a:gd name="T30" fmla="*/ 88 w 166"/>
                  <a:gd name="T31" fmla="*/ 205 h 209"/>
                  <a:gd name="T32" fmla="*/ 72 w 166"/>
                  <a:gd name="T33" fmla="*/ 209 h 209"/>
                  <a:gd name="T34" fmla="*/ 56 w 166"/>
                  <a:gd name="T35" fmla="*/ 209 h 209"/>
                  <a:gd name="T36" fmla="*/ 42 w 166"/>
                  <a:gd name="T37" fmla="*/ 205 h 209"/>
                  <a:gd name="T38" fmla="*/ 42 w 166"/>
                  <a:gd name="T39" fmla="*/ 205 h 209"/>
                  <a:gd name="T40" fmla="*/ 28 w 166"/>
                  <a:gd name="T41" fmla="*/ 197 h 209"/>
                  <a:gd name="T42" fmla="*/ 16 w 166"/>
                  <a:gd name="T43" fmla="*/ 185 h 209"/>
                  <a:gd name="T44" fmla="*/ 8 w 166"/>
                  <a:gd name="T45" fmla="*/ 171 h 209"/>
                  <a:gd name="T46" fmla="*/ 2 w 166"/>
                  <a:gd name="T47" fmla="*/ 153 h 209"/>
                  <a:gd name="T48" fmla="*/ 0 w 166"/>
                  <a:gd name="T49" fmla="*/ 135 h 209"/>
                  <a:gd name="T50" fmla="*/ 0 w 166"/>
                  <a:gd name="T51" fmla="*/ 115 h 209"/>
                  <a:gd name="T52" fmla="*/ 4 w 166"/>
                  <a:gd name="T53" fmla="*/ 96 h 209"/>
                  <a:gd name="T54" fmla="*/ 10 w 166"/>
                  <a:gd name="T55" fmla="*/ 74 h 209"/>
                  <a:gd name="T56" fmla="*/ 10 w 166"/>
                  <a:gd name="T57" fmla="*/ 74 h 209"/>
                  <a:gd name="T58" fmla="*/ 20 w 166"/>
                  <a:gd name="T59" fmla="*/ 54 h 209"/>
                  <a:gd name="T60" fmla="*/ 32 w 166"/>
                  <a:gd name="T61" fmla="*/ 38 h 209"/>
                  <a:gd name="T62" fmla="*/ 46 w 166"/>
                  <a:gd name="T63" fmla="*/ 22 h 209"/>
                  <a:gd name="T64" fmla="*/ 62 w 166"/>
                  <a:gd name="T65" fmla="*/ 12 h 209"/>
                  <a:gd name="T66" fmla="*/ 78 w 166"/>
                  <a:gd name="T67" fmla="*/ 4 h 209"/>
                  <a:gd name="T68" fmla="*/ 94 w 166"/>
                  <a:gd name="T69" fmla="*/ 0 h 209"/>
                  <a:gd name="T70" fmla="*/ 110 w 166"/>
                  <a:gd name="T71" fmla="*/ 0 h 209"/>
                  <a:gd name="T72" fmla="*/ 124 w 166"/>
                  <a:gd name="T73" fmla="*/ 4 h 209"/>
                  <a:gd name="T74" fmla="*/ 124 w 166"/>
                  <a:gd name="T75" fmla="*/ 4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66" h="209">
                    <a:moveTo>
                      <a:pt x="124" y="4"/>
                    </a:moveTo>
                    <a:lnTo>
                      <a:pt x="124" y="4"/>
                    </a:lnTo>
                    <a:lnTo>
                      <a:pt x="138" y="12"/>
                    </a:lnTo>
                    <a:lnTo>
                      <a:pt x="150" y="22"/>
                    </a:lnTo>
                    <a:lnTo>
                      <a:pt x="158" y="38"/>
                    </a:lnTo>
                    <a:lnTo>
                      <a:pt x="164" y="54"/>
                    </a:lnTo>
                    <a:lnTo>
                      <a:pt x="166" y="74"/>
                    </a:lnTo>
                    <a:lnTo>
                      <a:pt x="166" y="94"/>
                    </a:lnTo>
                    <a:lnTo>
                      <a:pt x="162" y="113"/>
                    </a:lnTo>
                    <a:lnTo>
                      <a:pt x="156" y="133"/>
                    </a:lnTo>
                    <a:lnTo>
                      <a:pt x="156" y="133"/>
                    </a:lnTo>
                    <a:lnTo>
                      <a:pt x="146" y="153"/>
                    </a:lnTo>
                    <a:lnTo>
                      <a:pt x="134" y="171"/>
                    </a:lnTo>
                    <a:lnTo>
                      <a:pt x="120" y="185"/>
                    </a:lnTo>
                    <a:lnTo>
                      <a:pt x="104" y="197"/>
                    </a:lnTo>
                    <a:lnTo>
                      <a:pt x="88" y="205"/>
                    </a:lnTo>
                    <a:lnTo>
                      <a:pt x="72" y="209"/>
                    </a:lnTo>
                    <a:lnTo>
                      <a:pt x="56" y="209"/>
                    </a:lnTo>
                    <a:lnTo>
                      <a:pt x="42" y="205"/>
                    </a:lnTo>
                    <a:lnTo>
                      <a:pt x="42" y="205"/>
                    </a:lnTo>
                    <a:lnTo>
                      <a:pt x="28" y="197"/>
                    </a:lnTo>
                    <a:lnTo>
                      <a:pt x="16" y="185"/>
                    </a:lnTo>
                    <a:lnTo>
                      <a:pt x="8" y="171"/>
                    </a:lnTo>
                    <a:lnTo>
                      <a:pt x="2" y="153"/>
                    </a:lnTo>
                    <a:lnTo>
                      <a:pt x="0" y="135"/>
                    </a:lnTo>
                    <a:lnTo>
                      <a:pt x="0" y="115"/>
                    </a:lnTo>
                    <a:lnTo>
                      <a:pt x="4" y="96"/>
                    </a:lnTo>
                    <a:lnTo>
                      <a:pt x="10" y="74"/>
                    </a:lnTo>
                    <a:lnTo>
                      <a:pt x="10" y="74"/>
                    </a:lnTo>
                    <a:lnTo>
                      <a:pt x="20" y="54"/>
                    </a:lnTo>
                    <a:lnTo>
                      <a:pt x="32" y="38"/>
                    </a:lnTo>
                    <a:lnTo>
                      <a:pt x="46" y="22"/>
                    </a:lnTo>
                    <a:lnTo>
                      <a:pt x="62" y="12"/>
                    </a:lnTo>
                    <a:lnTo>
                      <a:pt x="78" y="4"/>
                    </a:lnTo>
                    <a:lnTo>
                      <a:pt x="94" y="0"/>
                    </a:lnTo>
                    <a:lnTo>
                      <a:pt x="110" y="0"/>
                    </a:lnTo>
                    <a:lnTo>
                      <a:pt x="124" y="4"/>
                    </a:lnTo>
                    <a:lnTo>
                      <a:pt x="124" y="4"/>
                    </a:lnTo>
                    <a:close/>
                  </a:path>
                </a:pathLst>
              </a:custGeom>
              <a:solidFill>
                <a:srgbClr val="FFD6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grpSp>
          <p:nvGrpSpPr>
            <p:cNvPr id="354" name="Group 362">
              <a:extLst>
                <a:ext uri="{FF2B5EF4-FFF2-40B4-BE49-F238E27FC236}">
                  <a16:creationId xmlns:a16="http://schemas.microsoft.com/office/drawing/2014/main" id="{DF15FCA8-799F-4D4F-8326-DCE249F570E6}"/>
                </a:ext>
              </a:extLst>
            </p:cNvPr>
            <p:cNvGrpSpPr/>
            <p:nvPr/>
          </p:nvGrpSpPr>
          <p:grpSpPr>
            <a:xfrm>
              <a:off x="4458549" y="5146556"/>
              <a:ext cx="364483" cy="375204"/>
              <a:chOff x="4458549" y="5146556"/>
              <a:chExt cx="364483" cy="375204"/>
            </a:xfrm>
          </p:grpSpPr>
          <p:sp>
            <p:nvSpPr>
              <p:cNvPr id="356" name="Freeform 2306">
                <a:extLst>
                  <a:ext uri="{FF2B5EF4-FFF2-40B4-BE49-F238E27FC236}">
                    <a16:creationId xmlns:a16="http://schemas.microsoft.com/office/drawing/2014/main" id="{19D5A87D-09B8-4815-A12B-6F1C255CC1FD}"/>
                  </a:ext>
                </a:extLst>
              </p:cNvPr>
              <p:cNvSpPr>
                <a:spLocks/>
              </p:cNvSpPr>
              <p:nvPr/>
            </p:nvSpPr>
            <p:spPr bwMode="auto">
              <a:xfrm>
                <a:off x="4490709" y="5146556"/>
                <a:ext cx="332323" cy="346617"/>
              </a:xfrm>
              <a:custGeom>
                <a:avLst/>
                <a:gdLst>
                  <a:gd name="T0" fmla="*/ 148 w 186"/>
                  <a:gd name="T1" fmla="*/ 194 h 194"/>
                  <a:gd name="T2" fmla="*/ 176 w 186"/>
                  <a:gd name="T3" fmla="*/ 170 h 194"/>
                  <a:gd name="T4" fmla="*/ 176 w 186"/>
                  <a:gd name="T5" fmla="*/ 170 h 194"/>
                  <a:gd name="T6" fmla="*/ 182 w 186"/>
                  <a:gd name="T7" fmla="*/ 162 h 194"/>
                  <a:gd name="T8" fmla="*/ 186 w 186"/>
                  <a:gd name="T9" fmla="*/ 150 h 194"/>
                  <a:gd name="T10" fmla="*/ 186 w 186"/>
                  <a:gd name="T11" fmla="*/ 136 h 194"/>
                  <a:gd name="T12" fmla="*/ 182 w 186"/>
                  <a:gd name="T13" fmla="*/ 120 h 194"/>
                  <a:gd name="T14" fmla="*/ 176 w 186"/>
                  <a:gd name="T15" fmla="*/ 104 h 194"/>
                  <a:gd name="T16" fmla="*/ 168 w 186"/>
                  <a:gd name="T17" fmla="*/ 88 h 194"/>
                  <a:gd name="T18" fmla="*/ 156 w 186"/>
                  <a:gd name="T19" fmla="*/ 70 h 194"/>
                  <a:gd name="T20" fmla="*/ 142 w 186"/>
                  <a:gd name="T21" fmla="*/ 52 h 194"/>
                  <a:gd name="T22" fmla="*/ 142 w 186"/>
                  <a:gd name="T23" fmla="*/ 52 h 194"/>
                  <a:gd name="T24" fmla="*/ 128 w 186"/>
                  <a:gd name="T25" fmla="*/ 38 h 194"/>
                  <a:gd name="T26" fmla="*/ 112 w 186"/>
                  <a:gd name="T27" fmla="*/ 24 h 194"/>
                  <a:gd name="T28" fmla="*/ 94 w 186"/>
                  <a:gd name="T29" fmla="*/ 14 h 194"/>
                  <a:gd name="T30" fmla="*/ 80 w 186"/>
                  <a:gd name="T31" fmla="*/ 6 h 194"/>
                  <a:gd name="T32" fmla="*/ 64 w 186"/>
                  <a:gd name="T33" fmla="*/ 2 h 194"/>
                  <a:gd name="T34" fmla="*/ 50 w 186"/>
                  <a:gd name="T35" fmla="*/ 0 h 194"/>
                  <a:gd name="T36" fmla="*/ 38 w 186"/>
                  <a:gd name="T37" fmla="*/ 2 h 194"/>
                  <a:gd name="T38" fmla="*/ 28 w 186"/>
                  <a:gd name="T39" fmla="*/ 8 h 194"/>
                  <a:gd name="T40" fmla="*/ 0 w 186"/>
                  <a:gd name="T41" fmla="*/ 32 h 194"/>
                  <a:gd name="T42" fmla="*/ 148 w 186"/>
                  <a:gd name="T43" fmla="*/ 194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6" h="194">
                    <a:moveTo>
                      <a:pt x="148" y="194"/>
                    </a:moveTo>
                    <a:lnTo>
                      <a:pt x="176" y="170"/>
                    </a:lnTo>
                    <a:lnTo>
                      <a:pt x="176" y="170"/>
                    </a:lnTo>
                    <a:lnTo>
                      <a:pt x="182" y="162"/>
                    </a:lnTo>
                    <a:lnTo>
                      <a:pt x="186" y="150"/>
                    </a:lnTo>
                    <a:lnTo>
                      <a:pt x="186" y="136"/>
                    </a:lnTo>
                    <a:lnTo>
                      <a:pt x="182" y="120"/>
                    </a:lnTo>
                    <a:lnTo>
                      <a:pt x="176" y="104"/>
                    </a:lnTo>
                    <a:lnTo>
                      <a:pt x="168" y="88"/>
                    </a:lnTo>
                    <a:lnTo>
                      <a:pt x="156" y="70"/>
                    </a:lnTo>
                    <a:lnTo>
                      <a:pt x="142" y="52"/>
                    </a:lnTo>
                    <a:lnTo>
                      <a:pt x="142" y="52"/>
                    </a:lnTo>
                    <a:lnTo>
                      <a:pt x="128" y="38"/>
                    </a:lnTo>
                    <a:lnTo>
                      <a:pt x="112" y="24"/>
                    </a:lnTo>
                    <a:lnTo>
                      <a:pt x="94" y="14"/>
                    </a:lnTo>
                    <a:lnTo>
                      <a:pt x="80" y="6"/>
                    </a:lnTo>
                    <a:lnTo>
                      <a:pt x="64" y="2"/>
                    </a:lnTo>
                    <a:lnTo>
                      <a:pt x="50" y="0"/>
                    </a:lnTo>
                    <a:lnTo>
                      <a:pt x="38" y="2"/>
                    </a:lnTo>
                    <a:lnTo>
                      <a:pt x="28" y="8"/>
                    </a:lnTo>
                    <a:lnTo>
                      <a:pt x="0" y="32"/>
                    </a:lnTo>
                    <a:lnTo>
                      <a:pt x="148" y="194"/>
                    </a:lnTo>
                    <a:close/>
                  </a:path>
                </a:pathLst>
              </a:custGeom>
              <a:solidFill>
                <a:srgbClr val="FF9F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57" name="Freeform 2308">
                <a:extLst>
                  <a:ext uri="{FF2B5EF4-FFF2-40B4-BE49-F238E27FC236}">
                    <a16:creationId xmlns:a16="http://schemas.microsoft.com/office/drawing/2014/main" id="{E6E03B0C-2C98-46C4-B404-5498A706D835}"/>
                  </a:ext>
                </a:extLst>
              </p:cNvPr>
              <p:cNvSpPr>
                <a:spLocks/>
              </p:cNvSpPr>
              <p:nvPr/>
            </p:nvSpPr>
            <p:spPr bwMode="auto">
              <a:xfrm>
                <a:off x="4458549" y="5203730"/>
                <a:ext cx="300163" cy="318030"/>
              </a:xfrm>
              <a:custGeom>
                <a:avLst/>
                <a:gdLst>
                  <a:gd name="T0" fmla="*/ 10 w 168"/>
                  <a:gd name="T1" fmla="*/ 8 h 178"/>
                  <a:gd name="T2" fmla="*/ 10 w 168"/>
                  <a:gd name="T3" fmla="*/ 8 h 178"/>
                  <a:gd name="T4" fmla="*/ 20 w 168"/>
                  <a:gd name="T5" fmla="*/ 2 h 178"/>
                  <a:gd name="T6" fmla="*/ 32 w 168"/>
                  <a:gd name="T7" fmla="*/ 0 h 178"/>
                  <a:gd name="T8" fmla="*/ 46 w 168"/>
                  <a:gd name="T9" fmla="*/ 2 h 178"/>
                  <a:gd name="T10" fmla="*/ 60 w 168"/>
                  <a:gd name="T11" fmla="*/ 6 h 178"/>
                  <a:gd name="T12" fmla="*/ 76 w 168"/>
                  <a:gd name="T13" fmla="*/ 14 h 178"/>
                  <a:gd name="T14" fmla="*/ 92 w 168"/>
                  <a:gd name="T15" fmla="*/ 24 h 178"/>
                  <a:gd name="T16" fmla="*/ 108 w 168"/>
                  <a:gd name="T17" fmla="*/ 38 h 178"/>
                  <a:gd name="T18" fmla="*/ 124 w 168"/>
                  <a:gd name="T19" fmla="*/ 54 h 178"/>
                  <a:gd name="T20" fmla="*/ 124 w 168"/>
                  <a:gd name="T21" fmla="*/ 54 h 178"/>
                  <a:gd name="T22" fmla="*/ 138 w 168"/>
                  <a:gd name="T23" fmla="*/ 70 h 178"/>
                  <a:gd name="T24" fmla="*/ 150 w 168"/>
                  <a:gd name="T25" fmla="*/ 88 h 178"/>
                  <a:gd name="T26" fmla="*/ 158 w 168"/>
                  <a:gd name="T27" fmla="*/ 106 h 178"/>
                  <a:gd name="T28" fmla="*/ 164 w 168"/>
                  <a:gd name="T29" fmla="*/ 122 h 178"/>
                  <a:gd name="T30" fmla="*/ 168 w 168"/>
                  <a:gd name="T31" fmla="*/ 136 h 178"/>
                  <a:gd name="T32" fmla="*/ 168 w 168"/>
                  <a:gd name="T33" fmla="*/ 150 h 178"/>
                  <a:gd name="T34" fmla="*/ 164 w 168"/>
                  <a:gd name="T35" fmla="*/ 162 h 178"/>
                  <a:gd name="T36" fmla="*/ 158 w 168"/>
                  <a:gd name="T37" fmla="*/ 170 h 178"/>
                  <a:gd name="T38" fmla="*/ 158 w 168"/>
                  <a:gd name="T39" fmla="*/ 170 h 178"/>
                  <a:gd name="T40" fmla="*/ 148 w 168"/>
                  <a:gd name="T41" fmla="*/ 176 h 178"/>
                  <a:gd name="T42" fmla="*/ 136 w 168"/>
                  <a:gd name="T43" fmla="*/ 178 h 178"/>
                  <a:gd name="T44" fmla="*/ 122 w 168"/>
                  <a:gd name="T45" fmla="*/ 178 h 178"/>
                  <a:gd name="T46" fmla="*/ 108 w 168"/>
                  <a:gd name="T47" fmla="*/ 172 h 178"/>
                  <a:gd name="T48" fmla="*/ 92 w 168"/>
                  <a:gd name="T49" fmla="*/ 164 h 178"/>
                  <a:gd name="T50" fmla="*/ 76 w 168"/>
                  <a:gd name="T51" fmla="*/ 154 h 178"/>
                  <a:gd name="T52" fmla="*/ 58 w 168"/>
                  <a:gd name="T53" fmla="*/ 142 h 178"/>
                  <a:gd name="T54" fmla="*/ 44 w 168"/>
                  <a:gd name="T55" fmla="*/ 126 h 178"/>
                  <a:gd name="T56" fmla="*/ 44 w 168"/>
                  <a:gd name="T57" fmla="*/ 126 h 178"/>
                  <a:gd name="T58" fmla="*/ 30 w 168"/>
                  <a:gd name="T59" fmla="*/ 108 h 178"/>
                  <a:gd name="T60" fmla="*/ 18 w 168"/>
                  <a:gd name="T61" fmla="*/ 90 h 178"/>
                  <a:gd name="T62" fmla="*/ 10 w 168"/>
                  <a:gd name="T63" fmla="*/ 74 h 178"/>
                  <a:gd name="T64" fmla="*/ 4 w 168"/>
                  <a:gd name="T65" fmla="*/ 58 h 178"/>
                  <a:gd name="T66" fmla="*/ 0 w 168"/>
                  <a:gd name="T67" fmla="*/ 42 h 178"/>
                  <a:gd name="T68" fmla="*/ 0 w 168"/>
                  <a:gd name="T69" fmla="*/ 28 h 178"/>
                  <a:gd name="T70" fmla="*/ 4 w 168"/>
                  <a:gd name="T71" fmla="*/ 16 h 178"/>
                  <a:gd name="T72" fmla="*/ 10 w 168"/>
                  <a:gd name="T73" fmla="*/ 8 h 178"/>
                  <a:gd name="T74" fmla="*/ 10 w 168"/>
                  <a:gd name="T75" fmla="*/ 8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68" h="178">
                    <a:moveTo>
                      <a:pt x="10" y="8"/>
                    </a:moveTo>
                    <a:lnTo>
                      <a:pt x="10" y="8"/>
                    </a:lnTo>
                    <a:lnTo>
                      <a:pt x="20" y="2"/>
                    </a:lnTo>
                    <a:lnTo>
                      <a:pt x="32" y="0"/>
                    </a:lnTo>
                    <a:lnTo>
                      <a:pt x="46" y="2"/>
                    </a:lnTo>
                    <a:lnTo>
                      <a:pt x="60" y="6"/>
                    </a:lnTo>
                    <a:lnTo>
                      <a:pt x="76" y="14"/>
                    </a:lnTo>
                    <a:lnTo>
                      <a:pt x="92" y="24"/>
                    </a:lnTo>
                    <a:lnTo>
                      <a:pt x="108" y="38"/>
                    </a:lnTo>
                    <a:lnTo>
                      <a:pt x="124" y="54"/>
                    </a:lnTo>
                    <a:lnTo>
                      <a:pt x="124" y="54"/>
                    </a:lnTo>
                    <a:lnTo>
                      <a:pt x="138" y="70"/>
                    </a:lnTo>
                    <a:lnTo>
                      <a:pt x="150" y="88"/>
                    </a:lnTo>
                    <a:lnTo>
                      <a:pt x="158" y="106"/>
                    </a:lnTo>
                    <a:lnTo>
                      <a:pt x="164" y="122"/>
                    </a:lnTo>
                    <a:lnTo>
                      <a:pt x="168" y="136"/>
                    </a:lnTo>
                    <a:lnTo>
                      <a:pt x="168" y="150"/>
                    </a:lnTo>
                    <a:lnTo>
                      <a:pt x="164" y="162"/>
                    </a:lnTo>
                    <a:lnTo>
                      <a:pt x="158" y="170"/>
                    </a:lnTo>
                    <a:lnTo>
                      <a:pt x="158" y="170"/>
                    </a:lnTo>
                    <a:lnTo>
                      <a:pt x="148" y="176"/>
                    </a:lnTo>
                    <a:lnTo>
                      <a:pt x="136" y="178"/>
                    </a:lnTo>
                    <a:lnTo>
                      <a:pt x="122" y="178"/>
                    </a:lnTo>
                    <a:lnTo>
                      <a:pt x="108" y="172"/>
                    </a:lnTo>
                    <a:lnTo>
                      <a:pt x="92" y="164"/>
                    </a:lnTo>
                    <a:lnTo>
                      <a:pt x="76" y="154"/>
                    </a:lnTo>
                    <a:lnTo>
                      <a:pt x="58" y="142"/>
                    </a:lnTo>
                    <a:lnTo>
                      <a:pt x="44" y="126"/>
                    </a:lnTo>
                    <a:lnTo>
                      <a:pt x="44" y="126"/>
                    </a:lnTo>
                    <a:lnTo>
                      <a:pt x="30" y="108"/>
                    </a:lnTo>
                    <a:lnTo>
                      <a:pt x="18" y="90"/>
                    </a:lnTo>
                    <a:lnTo>
                      <a:pt x="10" y="74"/>
                    </a:lnTo>
                    <a:lnTo>
                      <a:pt x="4" y="58"/>
                    </a:lnTo>
                    <a:lnTo>
                      <a:pt x="0" y="42"/>
                    </a:lnTo>
                    <a:lnTo>
                      <a:pt x="0" y="28"/>
                    </a:lnTo>
                    <a:lnTo>
                      <a:pt x="4" y="16"/>
                    </a:lnTo>
                    <a:lnTo>
                      <a:pt x="10" y="8"/>
                    </a:lnTo>
                    <a:lnTo>
                      <a:pt x="10" y="8"/>
                    </a:lnTo>
                    <a:close/>
                  </a:path>
                </a:pathLst>
              </a:custGeom>
              <a:solidFill>
                <a:srgbClr val="FFD6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sp>
          <p:nvSpPr>
            <p:cNvPr id="355" name="Freeform 1797">
              <a:extLst>
                <a:ext uri="{FF2B5EF4-FFF2-40B4-BE49-F238E27FC236}">
                  <a16:creationId xmlns:a16="http://schemas.microsoft.com/office/drawing/2014/main" id="{76D1642F-B24E-49AB-BC45-0615AE4634D0}"/>
                </a:ext>
              </a:extLst>
            </p:cNvPr>
            <p:cNvSpPr>
              <a:spLocks/>
            </p:cNvSpPr>
            <p:nvPr/>
          </p:nvSpPr>
          <p:spPr bwMode="auto">
            <a:xfrm>
              <a:off x="4669378" y="6218566"/>
              <a:ext cx="432378" cy="167948"/>
            </a:xfrm>
            <a:custGeom>
              <a:avLst/>
              <a:gdLst>
                <a:gd name="T0" fmla="*/ 0 w 242"/>
                <a:gd name="T1" fmla="*/ 94 h 94"/>
                <a:gd name="T2" fmla="*/ 242 w 242"/>
                <a:gd name="T3" fmla="*/ 94 h 94"/>
                <a:gd name="T4" fmla="*/ 242 w 242"/>
                <a:gd name="T5" fmla="*/ 94 h 94"/>
                <a:gd name="T6" fmla="*/ 240 w 242"/>
                <a:gd name="T7" fmla="*/ 74 h 94"/>
                <a:gd name="T8" fmla="*/ 234 w 242"/>
                <a:gd name="T9" fmla="*/ 56 h 94"/>
                <a:gd name="T10" fmla="*/ 226 w 242"/>
                <a:gd name="T11" fmla="*/ 42 h 94"/>
                <a:gd name="T12" fmla="*/ 214 w 242"/>
                <a:gd name="T13" fmla="*/ 28 h 94"/>
                <a:gd name="T14" fmla="*/ 202 w 242"/>
                <a:gd name="T15" fmla="*/ 16 h 94"/>
                <a:gd name="T16" fmla="*/ 186 w 242"/>
                <a:gd name="T17" fmla="*/ 8 h 94"/>
                <a:gd name="T18" fmla="*/ 168 w 242"/>
                <a:gd name="T19" fmla="*/ 2 h 94"/>
                <a:gd name="T20" fmla="*/ 150 w 242"/>
                <a:gd name="T21" fmla="*/ 0 h 94"/>
                <a:gd name="T22" fmla="*/ 92 w 242"/>
                <a:gd name="T23" fmla="*/ 0 h 94"/>
                <a:gd name="T24" fmla="*/ 92 w 242"/>
                <a:gd name="T25" fmla="*/ 0 h 94"/>
                <a:gd name="T26" fmla="*/ 74 w 242"/>
                <a:gd name="T27" fmla="*/ 2 h 94"/>
                <a:gd name="T28" fmla="*/ 56 w 242"/>
                <a:gd name="T29" fmla="*/ 8 h 94"/>
                <a:gd name="T30" fmla="*/ 40 w 242"/>
                <a:gd name="T31" fmla="*/ 16 h 94"/>
                <a:gd name="T32" fmla="*/ 26 w 242"/>
                <a:gd name="T33" fmla="*/ 28 h 94"/>
                <a:gd name="T34" fmla="*/ 14 w 242"/>
                <a:gd name="T35" fmla="*/ 42 h 94"/>
                <a:gd name="T36" fmla="*/ 6 w 242"/>
                <a:gd name="T37" fmla="*/ 56 h 94"/>
                <a:gd name="T38" fmla="*/ 0 w 242"/>
                <a:gd name="T39" fmla="*/ 74 h 94"/>
                <a:gd name="T40" fmla="*/ 0 w 242"/>
                <a:gd name="T41" fmla="*/ 94 h 94"/>
                <a:gd name="T42" fmla="*/ 0 w 242"/>
                <a:gd name="T43" fmla="*/ 94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2" h="94">
                  <a:moveTo>
                    <a:pt x="0" y="94"/>
                  </a:moveTo>
                  <a:lnTo>
                    <a:pt x="242" y="94"/>
                  </a:lnTo>
                  <a:lnTo>
                    <a:pt x="242" y="94"/>
                  </a:lnTo>
                  <a:lnTo>
                    <a:pt x="240" y="74"/>
                  </a:lnTo>
                  <a:lnTo>
                    <a:pt x="234" y="56"/>
                  </a:lnTo>
                  <a:lnTo>
                    <a:pt x="226" y="42"/>
                  </a:lnTo>
                  <a:lnTo>
                    <a:pt x="214" y="28"/>
                  </a:lnTo>
                  <a:lnTo>
                    <a:pt x="202" y="16"/>
                  </a:lnTo>
                  <a:lnTo>
                    <a:pt x="186" y="8"/>
                  </a:lnTo>
                  <a:lnTo>
                    <a:pt x="168" y="2"/>
                  </a:lnTo>
                  <a:lnTo>
                    <a:pt x="150" y="0"/>
                  </a:lnTo>
                  <a:lnTo>
                    <a:pt x="92" y="0"/>
                  </a:lnTo>
                  <a:lnTo>
                    <a:pt x="92" y="0"/>
                  </a:lnTo>
                  <a:lnTo>
                    <a:pt x="74" y="2"/>
                  </a:lnTo>
                  <a:lnTo>
                    <a:pt x="56" y="8"/>
                  </a:lnTo>
                  <a:lnTo>
                    <a:pt x="40" y="16"/>
                  </a:lnTo>
                  <a:lnTo>
                    <a:pt x="26" y="28"/>
                  </a:lnTo>
                  <a:lnTo>
                    <a:pt x="14" y="42"/>
                  </a:lnTo>
                  <a:lnTo>
                    <a:pt x="6" y="56"/>
                  </a:lnTo>
                  <a:lnTo>
                    <a:pt x="0" y="74"/>
                  </a:lnTo>
                  <a:lnTo>
                    <a:pt x="0" y="94"/>
                  </a:lnTo>
                  <a:lnTo>
                    <a:pt x="0" y="94"/>
                  </a:lnTo>
                  <a:close/>
                </a:path>
              </a:pathLst>
            </a:custGeom>
            <a:solidFill>
              <a:srgbClr val="764C24"/>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sp>
        <p:nvSpPr>
          <p:cNvPr id="360" name="TextBox 369">
            <a:extLst>
              <a:ext uri="{FF2B5EF4-FFF2-40B4-BE49-F238E27FC236}">
                <a16:creationId xmlns:a16="http://schemas.microsoft.com/office/drawing/2014/main" id="{11994FFF-22DB-45D9-980D-E324F5E1CFC3}"/>
              </a:ext>
            </a:extLst>
          </p:cNvPr>
          <p:cNvSpPr txBox="1"/>
          <p:nvPr/>
        </p:nvSpPr>
        <p:spPr>
          <a:xfrm>
            <a:off x="985045" y="731073"/>
            <a:ext cx="10221911" cy="76944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400" b="1" i="0" u="none" strike="noStrike" kern="1200" cap="none" spc="0" normalizeH="0" baseline="0" noProof="0" dirty="0">
                <a:ln>
                  <a:noFill/>
                </a:ln>
                <a:solidFill>
                  <a:srgbClr val="000000">
                    <a:lumMod val="75000"/>
                    <a:lumOff val="25000"/>
                  </a:srgbClr>
                </a:solidFill>
                <a:effectLst/>
                <a:uLnTx/>
                <a:uFillTx/>
                <a:latin typeface="Segoe UI" panose="020B0502040204020203" pitchFamily="34" charset="0"/>
                <a:ea typeface="+mn-ea"/>
                <a:cs typeface="Segoe UI" panose="020B0502040204020203" pitchFamily="34" charset="0"/>
              </a:rPr>
              <a:t>4 Stage Financial Growth Diagram</a:t>
            </a:r>
            <a:endParaRPr kumimoji="0" lang="en-ID" sz="4400" b="0" i="0" u="none" strike="noStrike" kern="1200" cap="none" spc="0" normalizeH="0" baseline="0" noProof="0" dirty="0">
              <a:ln>
                <a:noFill/>
              </a:ln>
              <a:solidFill>
                <a:srgbClr val="000000">
                  <a:lumMod val="75000"/>
                  <a:lumOff val="25000"/>
                </a:srgbClr>
              </a:solidFill>
              <a:effectLst/>
              <a:uLnTx/>
              <a:uFillTx/>
              <a:latin typeface="等线" panose="020F0502020204030204"/>
              <a:ea typeface="+mn-ea"/>
              <a:cs typeface="+mn-cs"/>
            </a:endParaRPr>
          </a:p>
        </p:txBody>
      </p:sp>
      <p:grpSp>
        <p:nvGrpSpPr>
          <p:cNvPr id="361" name="Group 370">
            <a:extLst>
              <a:ext uri="{FF2B5EF4-FFF2-40B4-BE49-F238E27FC236}">
                <a16:creationId xmlns:a16="http://schemas.microsoft.com/office/drawing/2014/main" id="{61741B53-A23C-4C18-823B-58404B8F1829}"/>
              </a:ext>
            </a:extLst>
          </p:cNvPr>
          <p:cNvGrpSpPr/>
          <p:nvPr/>
        </p:nvGrpSpPr>
        <p:grpSpPr>
          <a:xfrm>
            <a:off x="1427368" y="1944035"/>
            <a:ext cx="1708517" cy="1380721"/>
            <a:chOff x="1337693" y="4504343"/>
            <a:chExt cx="1708517" cy="1380721"/>
          </a:xfrm>
        </p:grpSpPr>
        <p:sp>
          <p:nvSpPr>
            <p:cNvPr id="362" name="TextBox 371">
              <a:extLst>
                <a:ext uri="{FF2B5EF4-FFF2-40B4-BE49-F238E27FC236}">
                  <a16:creationId xmlns:a16="http://schemas.microsoft.com/office/drawing/2014/main" id="{C4492D09-C950-404B-A67A-01D83B76E9A8}"/>
                </a:ext>
              </a:extLst>
            </p:cNvPr>
            <p:cNvSpPr txBox="1"/>
            <p:nvPr/>
          </p:nvSpPr>
          <p:spPr>
            <a:xfrm>
              <a:off x="1337693" y="4915888"/>
              <a:ext cx="1708517" cy="969176"/>
            </a:xfrm>
            <a:prstGeom prst="rect">
              <a:avLst/>
            </a:prstGeom>
            <a:noFill/>
          </p:spPr>
          <p:txBody>
            <a:bodyPr wrap="square" rtlCol="0">
              <a:spAutoFit/>
            </a:bodyPr>
            <a:lstStyle/>
            <a:p>
              <a:pPr marL="0" marR="0" lvl="0" indent="0" algn="l" defTabSz="914400" rtl="0" eaLnBrk="1" fontAlgn="auto" latinLnBrk="0" hangingPunct="1">
                <a:lnSpc>
                  <a:spcPct val="14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lumMod val="65000"/>
                      <a:lumOff val="35000"/>
                    </a:srgbClr>
                  </a:solidFill>
                  <a:effectLst/>
                  <a:uLnTx/>
                  <a:uFillTx/>
                  <a:latin typeface="等线 Light" panose="020F0302020204030204"/>
                  <a:ea typeface="+mn-ea"/>
                  <a:cs typeface="+mn-cs"/>
                </a:rPr>
                <a:t>Lorem ipsum dolor sit </a:t>
              </a:r>
              <a:r>
                <a:rPr kumimoji="0" lang="en-US" sz="1400" b="0" i="0" u="none" strike="noStrike" kern="1200" cap="none" spc="0" normalizeH="0" baseline="0" noProof="0" dirty="0" err="1">
                  <a:ln>
                    <a:noFill/>
                  </a:ln>
                  <a:solidFill>
                    <a:srgbClr val="000000">
                      <a:lumMod val="65000"/>
                      <a:lumOff val="35000"/>
                    </a:srgbClr>
                  </a:solidFill>
                  <a:effectLst/>
                  <a:uLnTx/>
                  <a:uFillTx/>
                  <a:latin typeface="等线 Light" panose="020F0302020204030204"/>
                  <a:ea typeface="+mn-ea"/>
                  <a:cs typeface="+mn-cs"/>
                </a:rPr>
                <a:t>amet</a:t>
              </a:r>
              <a:r>
                <a:rPr kumimoji="0" lang="en-US" sz="1400" b="0" i="0" u="none" strike="noStrike" kern="1200" cap="none" spc="0" normalizeH="0" baseline="0" noProof="0" dirty="0">
                  <a:ln>
                    <a:noFill/>
                  </a:ln>
                  <a:solidFill>
                    <a:srgbClr val="000000">
                      <a:lumMod val="65000"/>
                      <a:lumOff val="35000"/>
                    </a:srgbClr>
                  </a:solidFill>
                  <a:effectLst/>
                  <a:uLnTx/>
                  <a:uFillTx/>
                  <a:latin typeface="等线 Light" panose="020F0302020204030204"/>
                  <a:ea typeface="+mn-ea"/>
                  <a:cs typeface="+mn-cs"/>
                </a:rPr>
                <a:t>, </a:t>
              </a:r>
              <a:r>
                <a:rPr kumimoji="0" lang="en-US" sz="1400" b="0" i="0" u="none" strike="noStrike" kern="1200" cap="none" spc="0" normalizeH="0" baseline="0" noProof="0" dirty="0" err="1">
                  <a:ln>
                    <a:noFill/>
                  </a:ln>
                  <a:solidFill>
                    <a:srgbClr val="000000">
                      <a:lumMod val="65000"/>
                      <a:lumOff val="35000"/>
                    </a:srgbClr>
                  </a:solidFill>
                  <a:effectLst/>
                  <a:uLnTx/>
                  <a:uFillTx/>
                  <a:latin typeface="等线 Light" panose="020F0302020204030204"/>
                  <a:ea typeface="+mn-ea"/>
                  <a:cs typeface="+mn-cs"/>
                </a:rPr>
                <a:t>consectetur</a:t>
              </a:r>
              <a:r>
                <a:rPr kumimoji="0" lang="en-US" sz="1400" b="0" i="0" u="none" strike="noStrike" kern="1200" cap="none" spc="0" normalizeH="0" baseline="0" noProof="0" dirty="0">
                  <a:ln>
                    <a:noFill/>
                  </a:ln>
                  <a:solidFill>
                    <a:srgbClr val="000000">
                      <a:lumMod val="65000"/>
                      <a:lumOff val="35000"/>
                    </a:srgbClr>
                  </a:solidFill>
                  <a:effectLst/>
                  <a:uLnTx/>
                  <a:uFillTx/>
                  <a:latin typeface="等线 Light" panose="020F0302020204030204"/>
                  <a:ea typeface="+mn-ea"/>
                  <a:cs typeface="+mn-cs"/>
                </a:rPr>
                <a:t> </a:t>
              </a:r>
              <a:r>
                <a:rPr kumimoji="0" lang="en-US" sz="1400" b="0" i="0" u="none" strike="noStrike" kern="1200" cap="none" spc="0" normalizeH="0" baseline="0" noProof="0" dirty="0" err="1">
                  <a:ln>
                    <a:noFill/>
                  </a:ln>
                  <a:solidFill>
                    <a:srgbClr val="000000">
                      <a:lumMod val="65000"/>
                      <a:lumOff val="35000"/>
                    </a:srgbClr>
                  </a:solidFill>
                  <a:effectLst/>
                  <a:uLnTx/>
                  <a:uFillTx/>
                  <a:latin typeface="等线 Light" panose="020F0302020204030204"/>
                  <a:ea typeface="+mn-ea"/>
                  <a:cs typeface="+mn-cs"/>
                </a:rPr>
                <a:t>adipiscing</a:t>
              </a:r>
              <a:r>
                <a:rPr kumimoji="0" lang="en-US" sz="1400" b="0" i="0" u="none" strike="noStrike" kern="1200" cap="none" spc="0" normalizeH="0" baseline="0" noProof="0" dirty="0">
                  <a:ln>
                    <a:noFill/>
                  </a:ln>
                  <a:solidFill>
                    <a:srgbClr val="000000">
                      <a:lumMod val="65000"/>
                      <a:lumOff val="35000"/>
                    </a:srgbClr>
                  </a:solidFill>
                  <a:effectLst/>
                  <a:uLnTx/>
                  <a:uFillTx/>
                  <a:latin typeface="等线 Light" panose="020F0302020204030204"/>
                  <a:ea typeface="+mn-ea"/>
                  <a:cs typeface="+mn-cs"/>
                </a:rPr>
                <a:t> </a:t>
              </a:r>
              <a:r>
                <a:rPr kumimoji="0" lang="en-US" sz="1400" b="0" i="0" u="none" strike="noStrike" kern="1200" cap="none" spc="0" normalizeH="0" baseline="0" noProof="0" dirty="0" err="1">
                  <a:ln>
                    <a:noFill/>
                  </a:ln>
                  <a:solidFill>
                    <a:srgbClr val="000000">
                      <a:lumMod val="65000"/>
                      <a:lumOff val="35000"/>
                    </a:srgbClr>
                  </a:solidFill>
                  <a:effectLst/>
                  <a:uLnTx/>
                  <a:uFillTx/>
                  <a:latin typeface="等线 Light" panose="020F0302020204030204"/>
                  <a:ea typeface="+mn-ea"/>
                  <a:cs typeface="+mn-cs"/>
                </a:rPr>
                <a:t>elit</a:t>
              </a:r>
              <a:r>
                <a:rPr kumimoji="0" lang="en-US" sz="1400" b="0" i="0" u="none" strike="noStrike" kern="1200" cap="none" spc="0" normalizeH="0" baseline="0" noProof="0" dirty="0">
                  <a:ln>
                    <a:noFill/>
                  </a:ln>
                  <a:solidFill>
                    <a:srgbClr val="000000">
                      <a:lumMod val="65000"/>
                      <a:lumOff val="35000"/>
                    </a:srgbClr>
                  </a:solidFill>
                  <a:effectLst/>
                  <a:uLnTx/>
                  <a:uFillTx/>
                  <a:latin typeface="等线 Light" panose="020F0302020204030204"/>
                  <a:ea typeface="+mn-ea"/>
                  <a:cs typeface="+mn-cs"/>
                </a:rPr>
                <a:t>, </a:t>
              </a:r>
            </a:p>
          </p:txBody>
        </p:sp>
        <p:sp>
          <p:nvSpPr>
            <p:cNvPr id="363" name="Rectangle: Rounded Corners 372">
              <a:extLst>
                <a:ext uri="{FF2B5EF4-FFF2-40B4-BE49-F238E27FC236}">
                  <a16:creationId xmlns:a16="http://schemas.microsoft.com/office/drawing/2014/main" id="{21D62081-3429-4E34-AB52-B0F1EF1DB1EB}"/>
                </a:ext>
              </a:extLst>
            </p:cNvPr>
            <p:cNvSpPr/>
            <p:nvPr/>
          </p:nvSpPr>
          <p:spPr>
            <a:xfrm>
              <a:off x="1337693" y="4504343"/>
              <a:ext cx="1292932" cy="392113"/>
            </a:xfrm>
            <a:prstGeom prst="roundRect">
              <a:avLst>
                <a:gd name="adj" fmla="val 5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等线" panose="020F0502020204030204"/>
                  <a:ea typeface="+mn-ea"/>
                  <a:cs typeface="+mn-cs"/>
                </a:rPr>
                <a:t>Options One</a:t>
              </a:r>
            </a:p>
          </p:txBody>
        </p:sp>
      </p:grpSp>
      <p:grpSp>
        <p:nvGrpSpPr>
          <p:cNvPr id="364" name="Group 373">
            <a:extLst>
              <a:ext uri="{FF2B5EF4-FFF2-40B4-BE49-F238E27FC236}">
                <a16:creationId xmlns:a16="http://schemas.microsoft.com/office/drawing/2014/main" id="{AE36F3F1-5CD5-486D-8AC1-BA93D6E0BB1F}"/>
              </a:ext>
            </a:extLst>
          </p:cNvPr>
          <p:cNvGrpSpPr/>
          <p:nvPr/>
        </p:nvGrpSpPr>
        <p:grpSpPr>
          <a:xfrm>
            <a:off x="5747680" y="2397135"/>
            <a:ext cx="1708517" cy="1380721"/>
            <a:chOff x="5179916" y="5194703"/>
            <a:chExt cx="1708517" cy="1380721"/>
          </a:xfrm>
        </p:grpSpPr>
        <p:sp>
          <p:nvSpPr>
            <p:cNvPr id="365" name="TextBox 374">
              <a:extLst>
                <a:ext uri="{FF2B5EF4-FFF2-40B4-BE49-F238E27FC236}">
                  <a16:creationId xmlns:a16="http://schemas.microsoft.com/office/drawing/2014/main" id="{B49345F8-4A3F-4C93-9611-C7666FC14A1B}"/>
                </a:ext>
              </a:extLst>
            </p:cNvPr>
            <p:cNvSpPr txBox="1"/>
            <p:nvPr/>
          </p:nvSpPr>
          <p:spPr>
            <a:xfrm>
              <a:off x="5179916" y="5606248"/>
              <a:ext cx="1708517" cy="969176"/>
            </a:xfrm>
            <a:prstGeom prst="rect">
              <a:avLst/>
            </a:prstGeom>
            <a:noFill/>
          </p:spPr>
          <p:txBody>
            <a:bodyPr wrap="square" rtlCol="0">
              <a:spAutoFit/>
            </a:bodyPr>
            <a:lstStyle/>
            <a:p>
              <a:pPr marL="0" marR="0" lvl="0" indent="0" algn="l" defTabSz="914400" rtl="0" eaLnBrk="1" fontAlgn="auto" latinLnBrk="0" hangingPunct="1">
                <a:lnSpc>
                  <a:spcPct val="14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lumMod val="65000"/>
                      <a:lumOff val="35000"/>
                    </a:srgbClr>
                  </a:solidFill>
                  <a:effectLst/>
                  <a:uLnTx/>
                  <a:uFillTx/>
                  <a:latin typeface="等线 Light" panose="020F0302020204030204"/>
                  <a:ea typeface="+mn-ea"/>
                  <a:cs typeface="+mn-cs"/>
                </a:rPr>
                <a:t>Lorem ipsum dolor sit </a:t>
              </a:r>
              <a:r>
                <a:rPr kumimoji="0" lang="en-US" sz="1400" b="0" i="0" u="none" strike="noStrike" kern="1200" cap="none" spc="0" normalizeH="0" baseline="0" noProof="0" dirty="0" err="1">
                  <a:ln>
                    <a:noFill/>
                  </a:ln>
                  <a:solidFill>
                    <a:srgbClr val="000000">
                      <a:lumMod val="65000"/>
                      <a:lumOff val="35000"/>
                    </a:srgbClr>
                  </a:solidFill>
                  <a:effectLst/>
                  <a:uLnTx/>
                  <a:uFillTx/>
                  <a:latin typeface="等线 Light" panose="020F0302020204030204"/>
                  <a:ea typeface="+mn-ea"/>
                  <a:cs typeface="+mn-cs"/>
                </a:rPr>
                <a:t>amet</a:t>
              </a:r>
              <a:r>
                <a:rPr kumimoji="0" lang="en-US" sz="1400" b="0" i="0" u="none" strike="noStrike" kern="1200" cap="none" spc="0" normalizeH="0" baseline="0" noProof="0" dirty="0">
                  <a:ln>
                    <a:noFill/>
                  </a:ln>
                  <a:solidFill>
                    <a:srgbClr val="000000">
                      <a:lumMod val="65000"/>
                      <a:lumOff val="35000"/>
                    </a:srgbClr>
                  </a:solidFill>
                  <a:effectLst/>
                  <a:uLnTx/>
                  <a:uFillTx/>
                  <a:latin typeface="等线 Light" panose="020F0302020204030204"/>
                  <a:ea typeface="+mn-ea"/>
                  <a:cs typeface="+mn-cs"/>
                </a:rPr>
                <a:t>, </a:t>
              </a:r>
              <a:r>
                <a:rPr kumimoji="0" lang="en-US" sz="1400" b="0" i="0" u="none" strike="noStrike" kern="1200" cap="none" spc="0" normalizeH="0" baseline="0" noProof="0" dirty="0" err="1">
                  <a:ln>
                    <a:noFill/>
                  </a:ln>
                  <a:solidFill>
                    <a:srgbClr val="000000">
                      <a:lumMod val="65000"/>
                      <a:lumOff val="35000"/>
                    </a:srgbClr>
                  </a:solidFill>
                  <a:effectLst/>
                  <a:uLnTx/>
                  <a:uFillTx/>
                  <a:latin typeface="等线 Light" panose="020F0302020204030204"/>
                  <a:ea typeface="+mn-ea"/>
                  <a:cs typeface="+mn-cs"/>
                </a:rPr>
                <a:t>consectetur</a:t>
              </a:r>
              <a:r>
                <a:rPr kumimoji="0" lang="en-US" sz="1400" b="0" i="0" u="none" strike="noStrike" kern="1200" cap="none" spc="0" normalizeH="0" baseline="0" noProof="0" dirty="0">
                  <a:ln>
                    <a:noFill/>
                  </a:ln>
                  <a:solidFill>
                    <a:srgbClr val="000000">
                      <a:lumMod val="65000"/>
                      <a:lumOff val="35000"/>
                    </a:srgbClr>
                  </a:solidFill>
                  <a:effectLst/>
                  <a:uLnTx/>
                  <a:uFillTx/>
                  <a:latin typeface="等线 Light" panose="020F0302020204030204"/>
                  <a:ea typeface="+mn-ea"/>
                  <a:cs typeface="+mn-cs"/>
                </a:rPr>
                <a:t> </a:t>
              </a:r>
              <a:r>
                <a:rPr kumimoji="0" lang="en-US" sz="1400" b="0" i="0" u="none" strike="noStrike" kern="1200" cap="none" spc="0" normalizeH="0" baseline="0" noProof="0" dirty="0" err="1">
                  <a:ln>
                    <a:noFill/>
                  </a:ln>
                  <a:solidFill>
                    <a:srgbClr val="000000">
                      <a:lumMod val="65000"/>
                      <a:lumOff val="35000"/>
                    </a:srgbClr>
                  </a:solidFill>
                  <a:effectLst/>
                  <a:uLnTx/>
                  <a:uFillTx/>
                  <a:latin typeface="等线 Light" panose="020F0302020204030204"/>
                  <a:ea typeface="+mn-ea"/>
                  <a:cs typeface="+mn-cs"/>
                </a:rPr>
                <a:t>adipiscing</a:t>
              </a:r>
              <a:r>
                <a:rPr kumimoji="0" lang="en-US" sz="1400" b="0" i="0" u="none" strike="noStrike" kern="1200" cap="none" spc="0" normalizeH="0" baseline="0" noProof="0" dirty="0">
                  <a:ln>
                    <a:noFill/>
                  </a:ln>
                  <a:solidFill>
                    <a:srgbClr val="000000">
                      <a:lumMod val="65000"/>
                      <a:lumOff val="35000"/>
                    </a:srgbClr>
                  </a:solidFill>
                  <a:effectLst/>
                  <a:uLnTx/>
                  <a:uFillTx/>
                  <a:latin typeface="等线 Light" panose="020F0302020204030204"/>
                  <a:ea typeface="+mn-ea"/>
                  <a:cs typeface="+mn-cs"/>
                </a:rPr>
                <a:t> </a:t>
              </a:r>
              <a:r>
                <a:rPr kumimoji="0" lang="en-US" sz="1400" b="0" i="0" u="none" strike="noStrike" kern="1200" cap="none" spc="0" normalizeH="0" baseline="0" noProof="0" dirty="0" err="1">
                  <a:ln>
                    <a:noFill/>
                  </a:ln>
                  <a:solidFill>
                    <a:srgbClr val="000000">
                      <a:lumMod val="65000"/>
                      <a:lumOff val="35000"/>
                    </a:srgbClr>
                  </a:solidFill>
                  <a:effectLst/>
                  <a:uLnTx/>
                  <a:uFillTx/>
                  <a:latin typeface="等线 Light" panose="020F0302020204030204"/>
                  <a:ea typeface="+mn-ea"/>
                  <a:cs typeface="+mn-cs"/>
                </a:rPr>
                <a:t>elit</a:t>
              </a:r>
              <a:r>
                <a:rPr kumimoji="0" lang="en-US" sz="1400" b="0" i="0" u="none" strike="noStrike" kern="1200" cap="none" spc="0" normalizeH="0" baseline="0" noProof="0" dirty="0">
                  <a:ln>
                    <a:noFill/>
                  </a:ln>
                  <a:solidFill>
                    <a:srgbClr val="000000">
                      <a:lumMod val="65000"/>
                      <a:lumOff val="35000"/>
                    </a:srgbClr>
                  </a:solidFill>
                  <a:effectLst/>
                  <a:uLnTx/>
                  <a:uFillTx/>
                  <a:latin typeface="等线 Light" panose="020F0302020204030204"/>
                  <a:ea typeface="+mn-ea"/>
                  <a:cs typeface="+mn-cs"/>
                </a:rPr>
                <a:t>, </a:t>
              </a:r>
            </a:p>
          </p:txBody>
        </p:sp>
        <p:sp>
          <p:nvSpPr>
            <p:cNvPr id="366" name="Rectangle: Rounded Corners 375">
              <a:extLst>
                <a:ext uri="{FF2B5EF4-FFF2-40B4-BE49-F238E27FC236}">
                  <a16:creationId xmlns:a16="http://schemas.microsoft.com/office/drawing/2014/main" id="{114BF9E6-154B-4A3C-9651-9E09A0556FC5}"/>
                </a:ext>
              </a:extLst>
            </p:cNvPr>
            <p:cNvSpPr/>
            <p:nvPr/>
          </p:nvSpPr>
          <p:spPr>
            <a:xfrm>
              <a:off x="5179916" y="5194703"/>
              <a:ext cx="1445472" cy="392113"/>
            </a:xfrm>
            <a:prstGeom prst="roundRect">
              <a:avLst>
                <a:gd name="adj" fmla="val 5000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等线" panose="020F0502020204030204"/>
                  <a:ea typeface="+mn-ea"/>
                  <a:cs typeface="+mn-cs"/>
                </a:rPr>
                <a:t>Options Three</a:t>
              </a:r>
            </a:p>
          </p:txBody>
        </p:sp>
      </p:grpSp>
      <p:grpSp>
        <p:nvGrpSpPr>
          <p:cNvPr id="367" name="Group 376">
            <a:extLst>
              <a:ext uri="{FF2B5EF4-FFF2-40B4-BE49-F238E27FC236}">
                <a16:creationId xmlns:a16="http://schemas.microsoft.com/office/drawing/2014/main" id="{9F9466A5-4054-4D04-BABB-8A5FE89D8EDD}"/>
              </a:ext>
            </a:extLst>
          </p:cNvPr>
          <p:cNvGrpSpPr/>
          <p:nvPr/>
        </p:nvGrpSpPr>
        <p:grpSpPr>
          <a:xfrm>
            <a:off x="3585030" y="2532396"/>
            <a:ext cx="1697495" cy="1380721"/>
            <a:chOff x="3219063" y="1994868"/>
            <a:chExt cx="1697495" cy="1380721"/>
          </a:xfrm>
        </p:grpSpPr>
        <p:sp>
          <p:nvSpPr>
            <p:cNvPr id="368" name="TextBox 377">
              <a:extLst>
                <a:ext uri="{FF2B5EF4-FFF2-40B4-BE49-F238E27FC236}">
                  <a16:creationId xmlns:a16="http://schemas.microsoft.com/office/drawing/2014/main" id="{537AEF70-A5E7-4F1A-A57A-B261D59B1E0D}"/>
                </a:ext>
              </a:extLst>
            </p:cNvPr>
            <p:cNvSpPr txBox="1"/>
            <p:nvPr/>
          </p:nvSpPr>
          <p:spPr>
            <a:xfrm>
              <a:off x="3219064" y="2406413"/>
              <a:ext cx="1697494" cy="969176"/>
            </a:xfrm>
            <a:prstGeom prst="rect">
              <a:avLst/>
            </a:prstGeom>
            <a:noFill/>
          </p:spPr>
          <p:txBody>
            <a:bodyPr wrap="square" rtlCol="0">
              <a:spAutoFit/>
            </a:bodyPr>
            <a:lstStyle/>
            <a:p>
              <a:pPr marL="0" marR="0" lvl="0" indent="0" algn="l" defTabSz="914400" rtl="0" eaLnBrk="1" fontAlgn="auto" latinLnBrk="0" hangingPunct="1">
                <a:lnSpc>
                  <a:spcPct val="14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lumMod val="65000"/>
                      <a:lumOff val="35000"/>
                    </a:srgbClr>
                  </a:solidFill>
                  <a:effectLst/>
                  <a:uLnTx/>
                  <a:uFillTx/>
                  <a:latin typeface="等线 Light" panose="020F0302020204030204"/>
                  <a:ea typeface="+mn-ea"/>
                  <a:cs typeface="+mn-cs"/>
                </a:rPr>
                <a:t>Lorem ipsum dolor sit </a:t>
              </a:r>
              <a:r>
                <a:rPr kumimoji="0" lang="en-US" sz="1400" b="0" i="0" u="none" strike="noStrike" kern="1200" cap="none" spc="0" normalizeH="0" baseline="0" noProof="0" dirty="0" err="1">
                  <a:ln>
                    <a:noFill/>
                  </a:ln>
                  <a:solidFill>
                    <a:srgbClr val="000000">
                      <a:lumMod val="65000"/>
                      <a:lumOff val="35000"/>
                    </a:srgbClr>
                  </a:solidFill>
                  <a:effectLst/>
                  <a:uLnTx/>
                  <a:uFillTx/>
                  <a:latin typeface="等线 Light" panose="020F0302020204030204"/>
                  <a:ea typeface="+mn-ea"/>
                  <a:cs typeface="+mn-cs"/>
                </a:rPr>
                <a:t>amet</a:t>
              </a:r>
              <a:r>
                <a:rPr kumimoji="0" lang="en-US" sz="1400" b="0" i="0" u="none" strike="noStrike" kern="1200" cap="none" spc="0" normalizeH="0" baseline="0" noProof="0" dirty="0">
                  <a:ln>
                    <a:noFill/>
                  </a:ln>
                  <a:solidFill>
                    <a:srgbClr val="000000">
                      <a:lumMod val="65000"/>
                      <a:lumOff val="35000"/>
                    </a:srgbClr>
                  </a:solidFill>
                  <a:effectLst/>
                  <a:uLnTx/>
                  <a:uFillTx/>
                  <a:latin typeface="等线 Light" panose="020F0302020204030204"/>
                  <a:ea typeface="+mn-ea"/>
                  <a:cs typeface="+mn-cs"/>
                </a:rPr>
                <a:t>, </a:t>
              </a:r>
              <a:r>
                <a:rPr kumimoji="0" lang="en-US" sz="1400" b="0" i="0" u="none" strike="noStrike" kern="1200" cap="none" spc="0" normalizeH="0" baseline="0" noProof="0" dirty="0" err="1">
                  <a:ln>
                    <a:noFill/>
                  </a:ln>
                  <a:solidFill>
                    <a:srgbClr val="000000">
                      <a:lumMod val="65000"/>
                      <a:lumOff val="35000"/>
                    </a:srgbClr>
                  </a:solidFill>
                  <a:effectLst/>
                  <a:uLnTx/>
                  <a:uFillTx/>
                  <a:latin typeface="等线 Light" panose="020F0302020204030204"/>
                  <a:ea typeface="+mn-ea"/>
                  <a:cs typeface="+mn-cs"/>
                </a:rPr>
                <a:t>consectetur</a:t>
              </a:r>
              <a:r>
                <a:rPr kumimoji="0" lang="en-US" sz="1400" b="0" i="0" u="none" strike="noStrike" kern="1200" cap="none" spc="0" normalizeH="0" baseline="0" noProof="0" dirty="0">
                  <a:ln>
                    <a:noFill/>
                  </a:ln>
                  <a:solidFill>
                    <a:srgbClr val="000000">
                      <a:lumMod val="65000"/>
                      <a:lumOff val="35000"/>
                    </a:srgbClr>
                  </a:solidFill>
                  <a:effectLst/>
                  <a:uLnTx/>
                  <a:uFillTx/>
                  <a:latin typeface="等线 Light" panose="020F0302020204030204"/>
                  <a:ea typeface="+mn-ea"/>
                  <a:cs typeface="+mn-cs"/>
                </a:rPr>
                <a:t> </a:t>
              </a:r>
              <a:r>
                <a:rPr kumimoji="0" lang="en-US" sz="1400" b="0" i="0" u="none" strike="noStrike" kern="1200" cap="none" spc="0" normalizeH="0" baseline="0" noProof="0" dirty="0" err="1">
                  <a:ln>
                    <a:noFill/>
                  </a:ln>
                  <a:solidFill>
                    <a:srgbClr val="000000">
                      <a:lumMod val="65000"/>
                      <a:lumOff val="35000"/>
                    </a:srgbClr>
                  </a:solidFill>
                  <a:effectLst/>
                  <a:uLnTx/>
                  <a:uFillTx/>
                  <a:latin typeface="等线 Light" panose="020F0302020204030204"/>
                  <a:ea typeface="+mn-ea"/>
                  <a:cs typeface="+mn-cs"/>
                </a:rPr>
                <a:t>adipiscing</a:t>
              </a:r>
              <a:r>
                <a:rPr kumimoji="0" lang="en-US" sz="1400" b="0" i="0" u="none" strike="noStrike" kern="1200" cap="none" spc="0" normalizeH="0" baseline="0" noProof="0" dirty="0">
                  <a:ln>
                    <a:noFill/>
                  </a:ln>
                  <a:solidFill>
                    <a:srgbClr val="000000">
                      <a:lumMod val="65000"/>
                      <a:lumOff val="35000"/>
                    </a:srgbClr>
                  </a:solidFill>
                  <a:effectLst/>
                  <a:uLnTx/>
                  <a:uFillTx/>
                  <a:latin typeface="等线 Light" panose="020F0302020204030204"/>
                  <a:ea typeface="+mn-ea"/>
                  <a:cs typeface="+mn-cs"/>
                </a:rPr>
                <a:t> </a:t>
              </a:r>
              <a:r>
                <a:rPr kumimoji="0" lang="en-US" sz="1400" b="0" i="0" u="none" strike="noStrike" kern="1200" cap="none" spc="0" normalizeH="0" baseline="0" noProof="0" dirty="0" err="1">
                  <a:ln>
                    <a:noFill/>
                  </a:ln>
                  <a:solidFill>
                    <a:srgbClr val="000000">
                      <a:lumMod val="65000"/>
                      <a:lumOff val="35000"/>
                    </a:srgbClr>
                  </a:solidFill>
                  <a:effectLst/>
                  <a:uLnTx/>
                  <a:uFillTx/>
                  <a:latin typeface="等线 Light" panose="020F0302020204030204"/>
                  <a:ea typeface="+mn-ea"/>
                  <a:cs typeface="+mn-cs"/>
                </a:rPr>
                <a:t>elit</a:t>
              </a:r>
              <a:r>
                <a:rPr kumimoji="0" lang="en-US" sz="1400" b="0" i="0" u="none" strike="noStrike" kern="1200" cap="none" spc="0" normalizeH="0" baseline="0" noProof="0" dirty="0">
                  <a:ln>
                    <a:noFill/>
                  </a:ln>
                  <a:solidFill>
                    <a:srgbClr val="000000">
                      <a:lumMod val="65000"/>
                      <a:lumOff val="35000"/>
                    </a:srgbClr>
                  </a:solidFill>
                  <a:effectLst/>
                  <a:uLnTx/>
                  <a:uFillTx/>
                  <a:latin typeface="等线 Light" panose="020F0302020204030204"/>
                  <a:ea typeface="+mn-ea"/>
                  <a:cs typeface="+mn-cs"/>
                </a:rPr>
                <a:t>, </a:t>
              </a:r>
            </a:p>
          </p:txBody>
        </p:sp>
        <p:sp>
          <p:nvSpPr>
            <p:cNvPr id="369" name="Rectangle: Rounded Corners 378">
              <a:extLst>
                <a:ext uri="{FF2B5EF4-FFF2-40B4-BE49-F238E27FC236}">
                  <a16:creationId xmlns:a16="http://schemas.microsoft.com/office/drawing/2014/main" id="{7E6EFF4F-6AD4-4CF5-895C-0976100774D6}"/>
                </a:ext>
              </a:extLst>
            </p:cNvPr>
            <p:cNvSpPr/>
            <p:nvPr/>
          </p:nvSpPr>
          <p:spPr>
            <a:xfrm>
              <a:off x="3219063" y="1994868"/>
              <a:ext cx="1292932" cy="392113"/>
            </a:xfrm>
            <a:prstGeom prst="roundRect">
              <a:avLst>
                <a:gd name="adj" fmla="val 5000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等线" panose="020F0502020204030204"/>
                  <a:ea typeface="+mn-ea"/>
                  <a:cs typeface="+mn-cs"/>
                </a:rPr>
                <a:t>Options Two</a:t>
              </a:r>
            </a:p>
          </p:txBody>
        </p:sp>
      </p:grpSp>
      <p:grpSp>
        <p:nvGrpSpPr>
          <p:cNvPr id="370" name="Group 379">
            <a:extLst>
              <a:ext uri="{FF2B5EF4-FFF2-40B4-BE49-F238E27FC236}">
                <a16:creationId xmlns:a16="http://schemas.microsoft.com/office/drawing/2014/main" id="{065A3539-ECE4-4ED0-A57F-68E31AF24B75}"/>
              </a:ext>
            </a:extLst>
          </p:cNvPr>
          <p:cNvGrpSpPr/>
          <p:nvPr/>
        </p:nvGrpSpPr>
        <p:grpSpPr>
          <a:xfrm>
            <a:off x="7845454" y="1897673"/>
            <a:ext cx="1708517" cy="1380721"/>
            <a:chOff x="6145839" y="1557954"/>
            <a:chExt cx="1708517" cy="1380721"/>
          </a:xfrm>
        </p:grpSpPr>
        <p:sp>
          <p:nvSpPr>
            <p:cNvPr id="371" name="TextBox 380">
              <a:extLst>
                <a:ext uri="{FF2B5EF4-FFF2-40B4-BE49-F238E27FC236}">
                  <a16:creationId xmlns:a16="http://schemas.microsoft.com/office/drawing/2014/main" id="{B8765CF1-0AB7-4D7A-8834-B4EAB077F419}"/>
                </a:ext>
              </a:extLst>
            </p:cNvPr>
            <p:cNvSpPr txBox="1"/>
            <p:nvPr/>
          </p:nvSpPr>
          <p:spPr>
            <a:xfrm>
              <a:off x="6145839" y="1969499"/>
              <a:ext cx="1708517" cy="969176"/>
            </a:xfrm>
            <a:prstGeom prst="rect">
              <a:avLst/>
            </a:prstGeom>
            <a:noFill/>
          </p:spPr>
          <p:txBody>
            <a:bodyPr wrap="square" rtlCol="0">
              <a:spAutoFit/>
            </a:bodyPr>
            <a:lstStyle/>
            <a:p>
              <a:pPr marL="0" marR="0" lvl="0" indent="0" algn="l" defTabSz="914400" rtl="0" eaLnBrk="1" fontAlgn="auto" latinLnBrk="0" hangingPunct="1">
                <a:lnSpc>
                  <a:spcPct val="14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lumMod val="65000"/>
                      <a:lumOff val="35000"/>
                    </a:srgbClr>
                  </a:solidFill>
                  <a:effectLst/>
                  <a:uLnTx/>
                  <a:uFillTx/>
                  <a:latin typeface="等线 Light" panose="020F0302020204030204"/>
                  <a:ea typeface="+mn-ea"/>
                  <a:cs typeface="+mn-cs"/>
                </a:rPr>
                <a:t>Lorem ipsum dolor sit </a:t>
              </a:r>
              <a:r>
                <a:rPr kumimoji="0" lang="en-US" sz="1400" b="0" i="0" u="none" strike="noStrike" kern="1200" cap="none" spc="0" normalizeH="0" baseline="0" noProof="0" dirty="0" err="1">
                  <a:ln>
                    <a:noFill/>
                  </a:ln>
                  <a:solidFill>
                    <a:srgbClr val="000000">
                      <a:lumMod val="65000"/>
                      <a:lumOff val="35000"/>
                    </a:srgbClr>
                  </a:solidFill>
                  <a:effectLst/>
                  <a:uLnTx/>
                  <a:uFillTx/>
                  <a:latin typeface="等线 Light" panose="020F0302020204030204"/>
                  <a:ea typeface="+mn-ea"/>
                  <a:cs typeface="+mn-cs"/>
                </a:rPr>
                <a:t>amet</a:t>
              </a:r>
              <a:r>
                <a:rPr kumimoji="0" lang="en-US" sz="1400" b="0" i="0" u="none" strike="noStrike" kern="1200" cap="none" spc="0" normalizeH="0" baseline="0" noProof="0" dirty="0">
                  <a:ln>
                    <a:noFill/>
                  </a:ln>
                  <a:solidFill>
                    <a:srgbClr val="000000">
                      <a:lumMod val="65000"/>
                      <a:lumOff val="35000"/>
                    </a:srgbClr>
                  </a:solidFill>
                  <a:effectLst/>
                  <a:uLnTx/>
                  <a:uFillTx/>
                  <a:latin typeface="等线 Light" panose="020F0302020204030204"/>
                  <a:ea typeface="+mn-ea"/>
                  <a:cs typeface="+mn-cs"/>
                </a:rPr>
                <a:t>, </a:t>
              </a:r>
              <a:r>
                <a:rPr kumimoji="0" lang="en-US" sz="1400" b="0" i="0" u="none" strike="noStrike" kern="1200" cap="none" spc="0" normalizeH="0" baseline="0" noProof="0" dirty="0" err="1">
                  <a:ln>
                    <a:noFill/>
                  </a:ln>
                  <a:solidFill>
                    <a:srgbClr val="000000">
                      <a:lumMod val="65000"/>
                      <a:lumOff val="35000"/>
                    </a:srgbClr>
                  </a:solidFill>
                  <a:effectLst/>
                  <a:uLnTx/>
                  <a:uFillTx/>
                  <a:latin typeface="等线 Light" panose="020F0302020204030204"/>
                  <a:ea typeface="+mn-ea"/>
                  <a:cs typeface="+mn-cs"/>
                </a:rPr>
                <a:t>consectetur</a:t>
              </a:r>
              <a:r>
                <a:rPr kumimoji="0" lang="en-US" sz="1400" b="0" i="0" u="none" strike="noStrike" kern="1200" cap="none" spc="0" normalizeH="0" baseline="0" noProof="0" dirty="0">
                  <a:ln>
                    <a:noFill/>
                  </a:ln>
                  <a:solidFill>
                    <a:srgbClr val="000000">
                      <a:lumMod val="65000"/>
                      <a:lumOff val="35000"/>
                    </a:srgbClr>
                  </a:solidFill>
                  <a:effectLst/>
                  <a:uLnTx/>
                  <a:uFillTx/>
                  <a:latin typeface="等线 Light" panose="020F0302020204030204"/>
                  <a:ea typeface="+mn-ea"/>
                  <a:cs typeface="+mn-cs"/>
                </a:rPr>
                <a:t> </a:t>
              </a:r>
              <a:r>
                <a:rPr kumimoji="0" lang="en-US" sz="1400" b="0" i="0" u="none" strike="noStrike" kern="1200" cap="none" spc="0" normalizeH="0" baseline="0" noProof="0" dirty="0" err="1">
                  <a:ln>
                    <a:noFill/>
                  </a:ln>
                  <a:solidFill>
                    <a:srgbClr val="000000">
                      <a:lumMod val="65000"/>
                      <a:lumOff val="35000"/>
                    </a:srgbClr>
                  </a:solidFill>
                  <a:effectLst/>
                  <a:uLnTx/>
                  <a:uFillTx/>
                  <a:latin typeface="等线 Light" panose="020F0302020204030204"/>
                  <a:ea typeface="+mn-ea"/>
                  <a:cs typeface="+mn-cs"/>
                </a:rPr>
                <a:t>adipiscing</a:t>
              </a:r>
              <a:r>
                <a:rPr kumimoji="0" lang="en-US" sz="1400" b="0" i="0" u="none" strike="noStrike" kern="1200" cap="none" spc="0" normalizeH="0" baseline="0" noProof="0" dirty="0">
                  <a:ln>
                    <a:noFill/>
                  </a:ln>
                  <a:solidFill>
                    <a:srgbClr val="000000">
                      <a:lumMod val="65000"/>
                      <a:lumOff val="35000"/>
                    </a:srgbClr>
                  </a:solidFill>
                  <a:effectLst/>
                  <a:uLnTx/>
                  <a:uFillTx/>
                  <a:latin typeface="等线 Light" panose="020F0302020204030204"/>
                  <a:ea typeface="+mn-ea"/>
                  <a:cs typeface="+mn-cs"/>
                </a:rPr>
                <a:t> </a:t>
              </a:r>
              <a:r>
                <a:rPr kumimoji="0" lang="en-US" sz="1400" b="0" i="0" u="none" strike="noStrike" kern="1200" cap="none" spc="0" normalizeH="0" baseline="0" noProof="0" dirty="0" err="1">
                  <a:ln>
                    <a:noFill/>
                  </a:ln>
                  <a:solidFill>
                    <a:srgbClr val="000000">
                      <a:lumMod val="65000"/>
                      <a:lumOff val="35000"/>
                    </a:srgbClr>
                  </a:solidFill>
                  <a:effectLst/>
                  <a:uLnTx/>
                  <a:uFillTx/>
                  <a:latin typeface="等线 Light" panose="020F0302020204030204"/>
                  <a:ea typeface="+mn-ea"/>
                  <a:cs typeface="+mn-cs"/>
                </a:rPr>
                <a:t>elit</a:t>
              </a:r>
              <a:r>
                <a:rPr kumimoji="0" lang="en-US" sz="1400" b="0" i="0" u="none" strike="noStrike" kern="1200" cap="none" spc="0" normalizeH="0" baseline="0" noProof="0" dirty="0">
                  <a:ln>
                    <a:noFill/>
                  </a:ln>
                  <a:solidFill>
                    <a:srgbClr val="000000">
                      <a:lumMod val="65000"/>
                      <a:lumOff val="35000"/>
                    </a:srgbClr>
                  </a:solidFill>
                  <a:effectLst/>
                  <a:uLnTx/>
                  <a:uFillTx/>
                  <a:latin typeface="等线 Light" panose="020F0302020204030204"/>
                  <a:ea typeface="+mn-ea"/>
                  <a:cs typeface="+mn-cs"/>
                </a:rPr>
                <a:t>, </a:t>
              </a:r>
            </a:p>
          </p:txBody>
        </p:sp>
        <p:sp>
          <p:nvSpPr>
            <p:cNvPr id="372" name="Rectangle: Rounded Corners 381">
              <a:extLst>
                <a:ext uri="{FF2B5EF4-FFF2-40B4-BE49-F238E27FC236}">
                  <a16:creationId xmlns:a16="http://schemas.microsoft.com/office/drawing/2014/main" id="{3C36A4A8-1F6C-4D9D-A7DE-CAD2AA2E17DB}"/>
                </a:ext>
              </a:extLst>
            </p:cNvPr>
            <p:cNvSpPr/>
            <p:nvPr/>
          </p:nvSpPr>
          <p:spPr>
            <a:xfrm>
              <a:off x="6145839" y="1557954"/>
              <a:ext cx="1292932" cy="39211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等线" panose="020F0502020204030204"/>
                  <a:ea typeface="+mn-ea"/>
                  <a:cs typeface="+mn-cs"/>
                </a:rPr>
                <a:t>Options Four</a:t>
              </a:r>
            </a:p>
          </p:txBody>
        </p:sp>
      </p:grpSp>
    </p:spTree>
    <p:extLst>
      <p:ext uri="{BB962C8B-B14F-4D97-AF65-F5344CB8AC3E}">
        <p14:creationId xmlns:p14="http://schemas.microsoft.com/office/powerpoint/2010/main" val="4198308430"/>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6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reeform 376">
            <a:extLst>
              <a:ext uri="{FF2B5EF4-FFF2-40B4-BE49-F238E27FC236}">
                <a16:creationId xmlns:a16="http://schemas.microsoft.com/office/drawing/2014/main" id="{AA9748F8-EE24-409E-8A5B-507DC74941BB}"/>
              </a:ext>
            </a:extLst>
          </p:cNvPr>
          <p:cNvSpPr>
            <a:spLocks/>
          </p:cNvSpPr>
          <p:nvPr/>
        </p:nvSpPr>
        <p:spPr bwMode="auto">
          <a:xfrm>
            <a:off x="-37858" y="5379520"/>
            <a:ext cx="148955" cy="580261"/>
          </a:xfrm>
          <a:custGeom>
            <a:avLst/>
            <a:gdLst>
              <a:gd name="T0" fmla="*/ 0 w 29"/>
              <a:gd name="T1" fmla="*/ 113 h 113"/>
              <a:gd name="T2" fmla="*/ 11 w 29"/>
              <a:gd name="T3" fmla="*/ 65 h 113"/>
              <a:gd name="T4" fmla="*/ 29 w 29"/>
              <a:gd name="T5" fmla="*/ 0 h 113"/>
              <a:gd name="T6" fmla="*/ 17 w 29"/>
              <a:gd name="T7" fmla="*/ 56 h 113"/>
              <a:gd name="T8" fmla="*/ 19 w 29"/>
              <a:gd name="T9" fmla="*/ 113 h 113"/>
              <a:gd name="T10" fmla="*/ 0 w 29"/>
              <a:gd name="T11" fmla="*/ 113 h 113"/>
            </a:gdLst>
            <a:ahLst/>
            <a:cxnLst>
              <a:cxn ang="0">
                <a:pos x="T0" y="T1"/>
              </a:cxn>
              <a:cxn ang="0">
                <a:pos x="T2" y="T3"/>
              </a:cxn>
              <a:cxn ang="0">
                <a:pos x="T4" y="T5"/>
              </a:cxn>
              <a:cxn ang="0">
                <a:pos x="T6" y="T7"/>
              </a:cxn>
              <a:cxn ang="0">
                <a:pos x="T8" y="T9"/>
              </a:cxn>
              <a:cxn ang="0">
                <a:pos x="T10" y="T11"/>
              </a:cxn>
            </a:cxnLst>
            <a:rect l="0" t="0" r="r" b="b"/>
            <a:pathLst>
              <a:path w="29" h="113">
                <a:moveTo>
                  <a:pt x="0" y="113"/>
                </a:moveTo>
                <a:cubicBezTo>
                  <a:pt x="0" y="113"/>
                  <a:pt x="18" y="94"/>
                  <a:pt x="11" y="65"/>
                </a:cubicBezTo>
                <a:cubicBezTo>
                  <a:pt x="3" y="35"/>
                  <a:pt x="16" y="11"/>
                  <a:pt x="29" y="0"/>
                </a:cubicBezTo>
                <a:cubicBezTo>
                  <a:pt x="29" y="0"/>
                  <a:pt x="11" y="32"/>
                  <a:pt x="17" y="56"/>
                </a:cubicBezTo>
                <a:cubicBezTo>
                  <a:pt x="23" y="81"/>
                  <a:pt x="26" y="97"/>
                  <a:pt x="19" y="113"/>
                </a:cubicBezTo>
                <a:lnTo>
                  <a:pt x="0" y="113"/>
                </a:lnTo>
                <a:close/>
              </a:path>
            </a:pathLst>
          </a:custGeom>
          <a:solidFill>
            <a:srgbClr val="8DC6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4" name="Freeform 377">
            <a:extLst>
              <a:ext uri="{FF2B5EF4-FFF2-40B4-BE49-F238E27FC236}">
                <a16:creationId xmlns:a16="http://schemas.microsoft.com/office/drawing/2014/main" id="{C34E27C4-A124-4165-B830-C9FBAD6DC213}"/>
              </a:ext>
            </a:extLst>
          </p:cNvPr>
          <p:cNvSpPr>
            <a:spLocks/>
          </p:cNvSpPr>
          <p:nvPr/>
        </p:nvSpPr>
        <p:spPr bwMode="auto">
          <a:xfrm>
            <a:off x="39955" y="5646306"/>
            <a:ext cx="177858" cy="191197"/>
          </a:xfrm>
          <a:custGeom>
            <a:avLst/>
            <a:gdLst>
              <a:gd name="T0" fmla="*/ 0 w 35"/>
              <a:gd name="T1" fmla="*/ 26 h 37"/>
              <a:gd name="T2" fmla="*/ 35 w 35"/>
              <a:gd name="T3" fmla="*/ 4 h 37"/>
              <a:gd name="T4" fmla="*/ 0 w 35"/>
              <a:gd name="T5" fmla="*/ 26 h 37"/>
            </a:gdLst>
            <a:ahLst/>
            <a:cxnLst>
              <a:cxn ang="0">
                <a:pos x="T0" y="T1"/>
              </a:cxn>
              <a:cxn ang="0">
                <a:pos x="T2" y="T3"/>
              </a:cxn>
              <a:cxn ang="0">
                <a:pos x="T4" y="T5"/>
              </a:cxn>
            </a:cxnLst>
            <a:rect l="0" t="0" r="r" b="b"/>
            <a:pathLst>
              <a:path w="35" h="37">
                <a:moveTo>
                  <a:pt x="0" y="26"/>
                </a:moveTo>
                <a:cubicBezTo>
                  <a:pt x="0" y="26"/>
                  <a:pt x="8" y="0"/>
                  <a:pt x="35" y="4"/>
                </a:cubicBezTo>
                <a:cubicBezTo>
                  <a:pt x="35" y="4"/>
                  <a:pt x="33" y="37"/>
                  <a:pt x="0" y="26"/>
                </a:cubicBezTo>
                <a:close/>
              </a:path>
            </a:pathLst>
          </a:custGeom>
          <a:solidFill>
            <a:srgbClr val="72A4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5" name="Freeform 378">
            <a:extLst>
              <a:ext uri="{FF2B5EF4-FFF2-40B4-BE49-F238E27FC236}">
                <a16:creationId xmlns:a16="http://schemas.microsoft.com/office/drawing/2014/main" id="{F87E964B-5758-4DE2-8EE6-CA243EC2376E}"/>
              </a:ext>
            </a:extLst>
          </p:cNvPr>
          <p:cNvSpPr>
            <a:spLocks/>
          </p:cNvSpPr>
          <p:nvPr/>
        </p:nvSpPr>
        <p:spPr bwMode="auto">
          <a:xfrm>
            <a:off x="39955" y="5426207"/>
            <a:ext cx="142286" cy="153403"/>
          </a:xfrm>
          <a:custGeom>
            <a:avLst/>
            <a:gdLst>
              <a:gd name="T0" fmla="*/ 0 w 28"/>
              <a:gd name="T1" fmla="*/ 19 h 30"/>
              <a:gd name="T2" fmla="*/ 28 w 28"/>
              <a:gd name="T3" fmla="*/ 7 h 30"/>
              <a:gd name="T4" fmla="*/ 0 w 28"/>
              <a:gd name="T5" fmla="*/ 19 h 30"/>
            </a:gdLst>
            <a:ahLst/>
            <a:cxnLst>
              <a:cxn ang="0">
                <a:pos x="T0" y="T1"/>
              </a:cxn>
              <a:cxn ang="0">
                <a:pos x="T2" y="T3"/>
              </a:cxn>
              <a:cxn ang="0">
                <a:pos x="T4" y="T5"/>
              </a:cxn>
            </a:cxnLst>
            <a:rect l="0" t="0" r="r" b="b"/>
            <a:pathLst>
              <a:path w="28" h="30">
                <a:moveTo>
                  <a:pt x="0" y="19"/>
                </a:moveTo>
                <a:cubicBezTo>
                  <a:pt x="0" y="19"/>
                  <a:pt x="9" y="0"/>
                  <a:pt x="28" y="7"/>
                </a:cubicBezTo>
                <a:cubicBezTo>
                  <a:pt x="28" y="7"/>
                  <a:pt x="23" y="30"/>
                  <a:pt x="0" y="19"/>
                </a:cubicBezTo>
                <a:close/>
              </a:path>
            </a:pathLst>
          </a:custGeom>
          <a:solidFill>
            <a:srgbClr val="72A4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6" name="Freeform 379">
            <a:extLst>
              <a:ext uri="{FF2B5EF4-FFF2-40B4-BE49-F238E27FC236}">
                <a16:creationId xmlns:a16="http://schemas.microsoft.com/office/drawing/2014/main" id="{04284ADB-248F-49C3-B6EB-3B474D16D1BD}"/>
              </a:ext>
            </a:extLst>
          </p:cNvPr>
          <p:cNvSpPr>
            <a:spLocks/>
          </p:cNvSpPr>
          <p:nvPr/>
        </p:nvSpPr>
        <p:spPr bwMode="auto">
          <a:xfrm>
            <a:off x="-144573" y="5564047"/>
            <a:ext cx="177858" cy="195643"/>
          </a:xfrm>
          <a:custGeom>
            <a:avLst/>
            <a:gdLst>
              <a:gd name="T0" fmla="*/ 35 w 35"/>
              <a:gd name="T1" fmla="*/ 24 h 38"/>
              <a:gd name="T2" fmla="*/ 0 w 35"/>
              <a:gd name="T3" fmla="*/ 6 h 38"/>
              <a:gd name="T4" fmla="*/ 35 w 35"/>
              <a:gd name="T5" fmla="*/ 24 h 38"/>
            </a:gdLst>
            <a:ahLst/>
            <a:cxnLst>
              <a:cxn ang="0">
                <a:pos x="T0" y="T1"/>
              </a:cxn>
              <a:cxn ang="0">
                <a:pos x="T2" y="T3"/>
              </a:cxn>
              <a:cxn ang="0">
                <a:pos x="T4" y="T5"/>
              </a:cxn>
            </a:cxnLst>
            <a:rect l="0" t="0" r="r" b="b"/>
            <a:pathLst>
              <a:path w="35" h="38">
                <a:moveTo>
                  <a:pt x="35" y="24"/>
                </a:moveTo>
                <a:cubicBezTo>
                  <a:pt x="35" y="24"/>
                  <a:pt x="22" y="0"/>
                  <a:pt x="0" y="6"/>
                </a:cubicBezTo>
                <a:cubicBezTo>
                  <a:pt x="0" y="6"/>
                  <a:pt x="7" y="38"/>
                  <a:pt x="35" y="24"/>
                </a:cubicBezTo>
                <a:close/>
              </a:path>
            </a:pathLst>
          </a:custGeom>
          <a:solidFill>
            <a:srgbClr val="72A4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7" name="Freeform 380">
            <a:extLst>
              <a:ext uri="{FF2B5EF4-FFF2-40B4-BE49-F238E27FC236}">
                <a16:creationId xmlns:a16="http://schemas.microsoft.com/office/drawing/2014/main" id="{4E87AF30-7B94-4166-8B3F-3F57D6AA1DC5}"/>
              </a:ext>
            </a:extLst>
          </p:cNvPr>
          <p:cNvSpPr>
            <a:spLocks/>
          </p:cNvSpPr>
          <p:nvPr/>
        </p:nvSpPr>
        <p:spPr bwMode="auto">
          <a:xfrm>
            <a:off x="-31188" y="5348395"/>
            <a:ext cx="106715" cy="113385"/>
          </a:xfrm>
          <a:custGeom>
            <a:avLst/>
            <a:gdLst>
              <a:gd name="T0" fmla="*/ 21 w 21"/>
              <a:gd name="T1" fmla="*/ 19 h 22"/>
              <a:gd name="T2" fmla="*/ 2 w 21"/>
              <a:gd name="T3" fmla="*/ 0 h 22"/>
              <a:gd name="T4" fmla="*/ 21 w 21"/>
              <a:gd name="T5" fmla="*/ 19 h 22"/>
            </a:gdLst>
            <a:ahLst/>
            <a:cxnLst>
              <a:cxn ang="0">
                <a:pos x="T0" y="T1"/>
              </a:cxn>
              <a:cxn ang="0">
                <a:pos x="T2" y="T3"/>
              </a:cxn>
              <a:cxn ang="0">
                <a:pos x="T4" y="T5"/>
              </a:cxn>
            </a:cxnLst>
            <a:rect l="0" t="0" r="r" b="b"/>
            <a:pathLst>
              <a:path w="21" h="22">
                <a:moveTo>
                  <a:pt x="21" y="19"/>
                </a:moveTo>
                <a:cubicBezTo>
                  <a:pt x="21" y="19"/>
                  <a:pt x="18" y="0"/>
                  <a:pt x="2" y="0"/>
                </a:cubicBezTo>
                <a:cubicBezTo>
                  <a:pt x="2" y="0"/>
                  <a:pt x="0" y="22"/>
                  <a:pt x="21" y="19"/>
                </a:cubicBezTo>
                <a:close/>
              </a:path>
            </a:pathLst>
          </a:custGeom>
          <a:solidFill>
            <a:srgbClr val="72A4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8" name="Freeform 381">
            <a:extLst>
              <a:ext uri="{FF2B5EF4-FFF2-40B4-BE49-F238E27FC236}">
                <a16:creationId xmlns:a16="http://schemas.microsoft.com/office/drawing/2014/main" id="{1A908842-4124-41A1-A26D-3C0426A928AE}"/>
              </a:ext>
            </a:extLst>
          </p:cNvPr>
          <p:cNvSpPr>
            <a:spLocks/>
          </p:cNvSpPr>
          <p:nvPr/>
        </p:nvSpPr>
        <p:spPr bwMode="auto">
          <a:xfrm>
            <a:off x="186688" y="5497350"/>
            <a:ext cx="411295" cy="442421"/>
          </a:xfrm>
          <a:custGeom>
            <a:avLst/>
            <a:gdLst>
              <a:gd name="T0" fmla="*/ 71 w 81"/>
              <a:gd name="T1" fmla="*/ 86 h 86"/>
              <a:gd name="T2" fmla="*/ 58 w 81"/>
              <a:gd name="T3" fmla="*/ 34 h 86"/>
              <a:gd name="T4" fmla="*/ 0 w 81"/>
              <a:gd name="T5" fmla="*/ 9 h 86"/>
              <a:gd name="T6" fmla="*/ 33 w 81"/>
              <a:gd name="T7" fmla="*/ 56 h 86"/>
              <a:gd name="T8" fmla="*/ 71 w 81"/>
              <a:gd name="T9" fmla="*/ 86 h 86"/>
            </a:gdLst>
            <a:ahLst/>
            <a:cxnLst>
              <a:cxn ang="0">
                <a:pos x="T0" y="T1"/>
              </a:cxn>
              <a:cxn ang="0">
                <a:pos x="T2" y="T3"/>
              </a:cxn>
              <a:cxn ang="0">
                <a:pos x="T4" y="T5"/>
              </a:cxn>
              <a:cxn ang="0">
                <a:pos x="T6" y="T7"/>
              </a:cxn>
              <a:cxn ang="0">
                <a:pos x="T8" y="T9"/>
              </a:cxn>
            </a:cxnLst>
            <a:rect l="0" t="0" r="r" b="b"/>
            <a:pathLst>
              <a:path w="81" h="86">
                <a:moveTo>
                  <a:pt x="71" y="86"/>
                </a:moveTo>
                <a:cubicBezTo>
                  <a:pt x="71" y="86"/>
                  <a:pt x="81" y="67"/>
                  <a:pt x="58" y="34"/>
                </a:cubicBezTo>
                <a:cubicBezTo>
                  <a:pt x="34" y="0"/>
                  <a:pt x="0" y="9"/>
                  <a:pt x="0" y="9"/>
                </a:cubicBezTo>
                <a:cubicBezTo>
                  <a:pt x="0" y="9"/>
                  <a:pt x="12" y="41"/>
                  <a:pt x="33" y="56"/>
                </a:cubicBezTo>
                <a:cubicBezTo>
                  <a:pt x="53" y="72"/>
                  <a:pt x="67" y="73"/>
                  <a:pt x="71" y="86"/>
                </a:cubicBezTo>
                <a:close/>
              </a:path>
            </a:pathLst>
          </a:custGeom>
          <a:solidFill>
            <a:srgbClr val="8DC6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9" name="Freeform 382">
            <a:extLst>
              <a:ext uri="{FF2B5EF4-FFF2-40B4-BE49-F238E27FC236}">
                <a16:creationId xmlns:a16="http://schemas.microsoft.com/office/drawing/2014/main" id="{99D038A3-354C-4F93-9853-952074BE1443}"/>
              </a:ext>
            </a:extLst>
          </p:cNvPr>
          <p:cNvSpPr>
            <a:spLocks/>
          </p:cNvSpPr>
          <p:nvPr/>
        </p:nvSpPr>
        <p:spPr bwMode="auto">
          <a:xfrm>
            <a:off x="517947" y="5564047"/>
            <a:ext cx="344598" cy="375725"/>
          </a:xfrm>
          <a:custGeom>
            <a:avLst/>
            <a:gdLst>
              <a:gd name="T0" fmla="*/ 8 w 68"/>
              <a:gd name="T1" fmla="*/ 73 h 73"/>
              <a:gd name="T2" fmla="*/ 20 w 68"/>
              <a:gd name="T3" fmla="*/ 29 h 73"/>
              <a:gd name="T4" fmla="*/ 68 w 68"/>
              <a:gd name="T5" fmla="*/ 8 h 73"/>
              <a:gd name="T6" fmla="*/ 41 w 68"/>
              <a:gd name="T7" fmla="*/ 48 h 73"/>
              <a:gd name="T8" fmla="*/ 8 w 68"/>
              <a:gd name="T9" fmla="*/ 73 h 73"/>
            </a:gdLst>
            <a:ahLst/>
            <a:cxnLst>
              <a:cxn ang="0">
                <a:pos x="T0" y="T1"/>
              </a:cxn>
              <a:cxn ang="0">
                <a:pos x="T2" y="T3"/>
              </a:cxn>
              <a:cxn ang="0">
                <a:pos x="T4" y="T5"/>
              </a:cxn>
              <a:cxn ang="0">
                <a:pos x="T6" y="T7"/>
              </a:cxn>
              <a:cxn ang="0">
                <a:pos x="T8" y="T9"/>
              </a:cxn>
            </a:cxnLst>
            <a:rect l="0" t="0" r="r" b="b"/>
            <a:pathLst>
              <a:path w="68" h="73">
                <a:moveTo>
                  <a:pt x="8" y="73"/>
                </a:moveTo>
                <a:cubicBezTo>
                  <a:pt x="8" y="73"/>
                  <a:pt x="0" y="57"/>
                  <a:pt x="20" y="29"/>
                </a:cubicBezTo>
                <a:cubicBezTo>
                  <a:pt x="39" y="0"/>
                  <a:pt x="68" y="8"/>
                  <a:pt x="68" y="8"/>
                </a:cubicBezTo>
                <a:cubicBezTo>
                  <a:pt x="68" y="8"/>
                  <a:pt x="58" y="35"/>
                  <a:pt x="41" y="48"/>
                </a:cubicBezTo>
                <a:cubicBezTo>
                  <a:pt x="23" y="61"/>
                  <a:pt x="12" y="62"/>
                  <a:pt x="8" y="73"/>
                </a:cubicBezTo>
                <a:close/>
              </a:path>
            </a:pathLst>
          </a:custGeom>
          <a:solidFill>
            <a:srgbClr val="72A4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nvGrpSpPr>
          <p:cNvPr id="10" name="Group 190">
            <a:extLst>
              <a:ext uri="{FF2B5EF4-FFF2-40B4-BE49-F238E27FC236}">
                <a16:creationId xmlns:a16="http://schemas.microsoft.com/office/drawing/2014/main" id="{AEA6A762-EAE8-4554-AB71-D57013654A7D}"/>
              </a:ext>
            </a:extLst>
          </p:cNvPr>
          <p:cNvGrpSpPr/>
          <p:nvPr/>
        </p:nvGrpSpPr>
        <p:grpSpPr>
          <a:xfrm>
            <a:off x="878107" y="3992880"/>
            <a:ext cx="1165839" cy="1966901"/>
            <a:chOff x="878108" y="5348395"/>
            <a:chExt cx="362386" cy="611386"/>
          </a:xfrm>
        </p:grpSpPr>
        <p:sp>
          <p:nvSpPr>
            <p:cNvPr id="11" name="Freeform 383">
              <a:extLst>
                <a:ext uri="{FF2B5EF4-FFF2-40B4-BE49-F238E27FC236}">
                  <a16:creationId xmlns:a16="http://schemas.microsoft.com/office/drawing/2014/main" id="{8AE17B36-1031-4BED-8ABB-87F936E92CB1}"/>
                </a:ext>
              </a:extLst>
            </p:cNvPr>
            <p:cNvSpPr>
              <a:spLocks/>
            </p:cNvSpPr>
            <p:nvPr/>
          </p:nvSpPr>
          <p:spPr bwMode="auto">
            <a:xfrm>
              <a:off x="984823" y="5379520"/>
              <a:ext cx="153401" cy="580261"/>
            </a:xfrm>
            <a:custGeom>
              <a:avLst/>
              <a:gdLst>
                <a:gd name="T0" fmla="*/ 0 w 30"/>
                <a:gd name="T1" fmla="*/ 113 h 113"/>
                <a:gd name="T2" fmla="*/ 11 w 30"/>
                <a:gd name="T3" fmla="*/ 65 h 113"/>
                <a:gd name="T4" fmla="*/ 30 w 30"/>
                <a:gd name="T5" fmla="*/ 0 h 113"/>
                <a:gd name="T6" fmla="*/ 17 w 30"/>
                <a:gd name="T7" fmla="*/ 56 h 113"/>
                <a:gd name="T8" fmla="*/ 19 w 30"/>
                <a:gd name="T9" fmla="*/ 113 h 113"/>
                <a:gd name="T10" fmla="*/ 0 w 30"/>
                <a:gd name="T11" fmla="*/ 113 h 113"/>
              </a:gdLst>
              <a:ahLst/>
              <a:cxnLst>
                <a:cxn ang="0">
                  <a:pos x="T0" y="T1"/>
                </a:cxn>
                <a:cxn ang="0">
                  <a:pos x="T2" y="T3"/>
                </a:cxn>
                <a:cxn ang="0">
                  <a:pos x="T4" y="T5"/>
                </a:cxn>
                <a:cxn ang="0">
                  <a:pos x="T6" y="T7"/>
                </a:cxn>
                <a:cxn ang="0">
                  <a:pos x="T8" y="T9"/>
                </a:cxn>
                <a:cxn ang="0">
                  <a:pos x="T10" y="T11"/>
                </a:cxn>
              </a:cxnLst>
              <a:rect l="0" t="0" r="r" b="b"/>
              <a:pathLst>
                <a:path w="30" h="113">
                  <a:moveTo>
                    <a:pt x="0" y="113"/>
                  </a:moveTo>
                  <a:cubicBezTo>
                    <a:pt x="0" y="113"/>
                    <a:pt x="18" y="94"/>
                    <a:pt x="11" y="65"/>
                  </a:cubicBezTo>
                  <a:cubicBezTo>
                    <a:pt x="3" y="35"/>
                    <a:pt x="16" y="11"/>
                    <a:pt x="30" y="0"/>
                  </a:cubicBezTo>
                  <a:cubicBezTo>
                    <a:pt x="30" y="0"/>
                    <a:pt x="11" y="32"/>
                    <a:pt x="17" y="56"/>
                  </a:cubicBezTo>
                  <a:cubicBezTo>
                    <a:pt x="23" y="81"/>
                    <a:pt x="26" y="97"/>
                    <a:pt x="19" y="113"/>
                  </a:cubicBezTo>
                  <a:lnTo>
                    <a:pt x="0" y="113"/>
                  </a:lnTo>
                  <a:close/>
                </a:path>
              </a:pathLst>
            </a:custGeom>
            <a:solidFill>
              <a:srgbClr val="8DC6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2" name="Freeform 384">
              <a:extLst>
                <a:ext uri="{FF2B5EF4-FFF2-40B4-BE49-F238E27FC236}">
                  <a16:creationId xmlns:a16="http://schemas.microsoft.com/office/drawing/2014/main" id="{C8B3B1D2-13EF-4B59-9F6E-03A177204004}"/>
                </a:ext>
              </a:extLst>
            </p:cNvPr>
            <p:cNvSpPr>
              <a:spLocks/>
            </p:cNvSpPr>
            <p:nvPr/>
          </p:nvSpPr>
          <p:spPr bwMode="auto">
            <a:xfrm>
              <a:off x="1062636" y="5646306"/>
              <a:ext cx="177858" cy="191197"/>
            </a:xfrm>
            <a:custGeom>
              <a:avLst/>
              <a:gdLst>
                <a:gd name="T0" fmla="*/ 0 w 35"/>
                <a:gd name="T1" fmla="*/ 26 h 37"/>
                <a:gd name="T2" fmla="*/ 35 w 35"/>
                <a:gd name="T3" fmla="*/ 4 h 37"/>
                <a:gd name="T4" fmla="*/ 0 w 35"/>
                <a:gd name="T5" fmla="*/ 26 h 37"/>
              </a:gdLst>
              <a:ahLst/>
              <a:cxnLst>
                <a:cxn ang="0">
                  <a:pos x="T0" y="T1"/>
                </a:cxn>
                <a:cxn ang="0">
                  <a:pos x="T2" y="T3"/>
                </a:cxn>
                <a:cxn ang="0">
                  <a:pos x="T4" y="T5"/>
                </a:cxn>
              </a:cxnLst>
              <a:rect l="0" t="0" r="r" b="b"/>
              <a:pathLst>
                <a:path w="35" h="37">
                  <a:moveTo>
                    <a:pt x="0" y="26"/>
                  </a:moveTo>
                  <a:cubicBezTo>
                    <a:pt x="0" y="26"/>
                    <a:pt x="8" y="0"/>
                    <a:pt x="35" y="4"/>
                  </a:cubicBezTo>
                  <a:cubicBezTo>
                    <a:pt x="35" y="4"/>
                    <a:pt x="34" y="37"/>
                    <a:pt x="0" y="26"/>
                  </a:cubicBezTo>
                  <a:close/>
                </a:path>
              </a:pathLst>
            </a:custGeom>
            <a:solidFill>
              <a:srgbClr val="72A4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3" name="Freeform 385">
              <a:extLst>
                <a:ext uri="{FF2B5EF4-FFF2-40B4-BE49-F238E27FC236}">
                  <a16:creationId xmlns:a16="http://schemas.microsoft.com/office/drawing/2014/main" id="{A80A5597-A6EC-4892-82B7-082F37DDAB1D}"/>
                </a:ext>
              </a:extLst>
            </p:cNvPr>
            <p:cNvSpPr>
              <a:spLocks/>
            </p:cNvSpPr>
            <p:nvPr/>
          </p:nvSpPr>
          <p:spPr bwMode="auto">
            <a:xfrm>
              <a:off x="1062636" y="5426207"/>
              <a:ext cx="142286" cy="153403"/>
            </a:xfrm>
            <a:custGeom>
              <a:avLst/>
              <a:gdLst>
                <a:gd name="T0" fmla="*/ 0 w 28"/>
                <a:gd name="T1" fmla="*/ 19 h 30"/>
                <a:gd name="T2" fmla="*/ 28 w 28"/>
                <a:gd name="T3" fmla="*/ 7 h 30"/>
                <a:gd name="T4" fmla="*/ 0 w 28"/>
                <a:gd name="T5" fmla="*/ 19 h 30"/>
              </a:gdLst>
              <a:ahLst/>
              <a:cxnLst>
                <a:cxn ang="0">
                  <a:pos x="T0" y="T1"/>
                </a:cxn>
                <a:cxn ang="0">
                  <a:pos x="T2" y="T3"/>
                </a:cxn>
                <a:cxn ang="0">
                  <a:pos x="T4" y="T5"/>
                </a:cxn>
              </a:cxnLst>
              <a:rect l="0" t="0" r="r" b="b"/>
              <a:pathLst>
                <a:path w="28" h="30">
                  <a:moveTo>
                    <a:pt x="0" y="19"/>
                  </a:moveTo>
                  <a:cubicBezTo>
                    <a:pt x="0" y="19"/>
                    <a:pt x="9" y="0"/>
                    <a:pt x="28" y="7"/>
                  </a:cubicBezTo>
                  <a:cubicBezTo>
                    <a:pt x="28" y="7"/>
                    <a:pt x="23" y="30"/>
                    <a:pt x="0" y="19"/>
                  </a:cubicBezTo>
                  <a:close/>
                </a:path>
              </a:pathLst>
            </a:custGeom>
            <a:solidFill>
              <a:srgbClr val="72A4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4" name="Freeform 386">
              <a:extLst>
                <a:ext uri="{FF2B5EF4-FFF2-40B4-BE49-F238E27FC236}">
                  <a16:creationId xmlns:a16="http://schemas.microsoft.com/office/drawing/2014/main" id="{4B2F0CC3-E05E-444E-8920-072E1B04D445}"/>
                </a:ext>
              </a:extLst>
            </p:cNvPr>
            <p:cNvSpPr>
              <a:spLocks/>
            </p:cNvSpPr>
            <p:nvPr/>
          </p:nvSpPr>
          <p:spPr bwMode="auto">
            <a:xfrm>
              <a:off x="878108" y="5564047"/>
              <a:ext cx="177858" cy="195643"/>
            </a:xfrm>
            <a:custGeom>
              <a:avLst/>
              <a:gdLst>
                <a:gd name="T0" fmla="*/ 35 w 35"/>
                <a:gd name="T1" fmla="*/ 24 h 38"/>
                <a:gd name="T2" fmla="*/ 0 w 35"/>
                <a:gd name="T3" fmla="*/ 6 h 38"/>
                <a:gd name="T4" fmla="*/ 35 w 35"/>
                <a:gd name="T5" fmla="*/ 24 h 38"/>
              </a:gdLst>
              <a:ahLst/>
              <a:cxnLst>
                <a:cxn ang="0">
                  <a:pos x="T0" y="T1"/>
                </a:cxn>
                <a:cxn ang="0">
                  <a:pos x="T2" y="T3"/>
                </a:cxn>
                <a:cxn ang="0">
                  <a:pos x="T4" y="T5"/>
                </a:cxn>
              </a:cxnLst>
              <a:rect l="0" t="0" r="r" b="b"/>
              <a:pathLst>
                <a:path w="35" h="38">
                  <a:moveTo>
                    <a:pt x="35" y="24"/>
                  </a:moveTo>
                  <a:cubicBezTo>
                    <a:pt x="35" y="24"/>
                    <a:pt x="22" y="0"/>
                    <a:pt x="0" y="6"/>
                  </a:cubicBezTo>
                  <a:cubicBezTo>
                    <a:pt x="0" y="6"/>
                    <a:pt x="8" y="38"/>
                    <a:pt x="35" y="24"/>
                  </a:cubicBezTo>
                  <a:close/>
                </a:path>
              </a:pathLst>
            </a:custGeom>
            <a:solidFill>
              <a:srgbClr val="72A4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5" name="Freeform 387">
              <a:extLst>
                <a:ext uri="{FF2B5EF4-FFF2-40B4-BE49-F238E27FC236}">
                  <a16:creationId xmlns:a16="http://schemas.microsoft.com/office/drawing/2014/main" id="{E54CF985-B7F9-4660-9738-29D70E915729}"/>
                </a:ext>
              </a:extLst>
            </p:cNvPr>
            <p:cNvSpPr>
              <a:spLocks/>
            </p:cNvSpPr>
            <p:nvPr/>
          </p:nvSpPr>
          <p:spPr bwMode="auto">
            <a:xfrm>
              <a:off x="991493" y="5348395"/>
              <a:ext cx="106715" cy="113385"/>
            </a:xfrm>
            <a:custGeom>
              <a:avLst/>
              <a:gdLst>
                <a:gd name="T0" fmla="*/ 21 w 21"/>
                <a:gd name="T1" fmla="*/ 19 h 22"/>
                <a:gd name="T2" fmla="*/ 2 w 21"/>
                <a:gd name="T3" fmla="*/ 0 h 22"/>
                <a:gd name="T4" fmla="*/ 21 w 21"/>
                <a:gd name="T5" fmla="*/ 19 h 22"/>
              </a:gdLst>
              <a:ahLst/>
              <a:cxnLst>
                <a:cxn ang="0">
                  <a:pos x="T0" y="T1"/>
                </a:cxn>
                <a:cxn ang="0">
                  <a:pos x="T2" y="T3"/>
                </a:cxn>
                <a:cxn ang="0">
                  <a:pos x="T4" y="T5"/>
                </a:cxn>
              </a:cxnLst>
              <a:rect l="0" t="0" r="r" b="b"/>
              <a:pathLst>
                <a:path w="21" h="22">
                  <a:moveTo>
                    <a:pt x="21" y="19"/>
                  </a:moveTo>
                  <a:cubicBezTo>
                    <a:pt x="21" y="19"/>
                    <a:pt x="18" y="0"/>
                    <a:pt x="2" y="0"/>
                  </a:cubicBezTo>
                  <a:cubicBezTo>
                    <a:pt x="2" y="0"/>
                    <a:pt x="0" y="22"/>
                    <a:pt x="21" y="19"/>
                  </a:cubicBezTo>
                  <a:close/>
                </a:path>
              </a:pathLst>
            </a:custGeom>
            <a:solidFill>
              <a:srgbClr val="72A4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grpSp>
        <p:nvGrpSpPr>
          <p:cNvPr id="16" name="Group 191">
            <a:extLst>
              <a:ext uri="{FF2B5EF4-FFF2-40B4-BE49-F238E27FC236}">
                <a16:creationId xmlns:a16="http://schemas.microsoft.com/office/drawing/2014/main" id="{ECEAFFB6-5C02-488A-9954-E94BD4392852}"/>
              </a:ext>
            </a:extLst>
          </p:cNvPr>
          <p:cNvGrpSpPr/>
          <p:nvPr/>
        </p:nvGrpSpPr>
        <p:grpSpPr>
          <a:xfrm>
            <a:off x="1703567" y="5619844"/>
            <a:ext cx="493555" cy="319928"/>
            <a:chOff x="1209368" y="5497350"/>
            <a:chExt cx="682528" cy="442422"/>
          </a:xfrm>
        </p:grpSpPr>
        <p:sp>
          <p:nvSpPr>
            <p:cNvPr id="17" name="Freeform 388">
              <a:extLst>
                <a:ext uri="{FF2B5EF4-FFF2-40B4-BE49-F238E27FC236}">
                  <a16:creationId xmlns:a16="http://schemas.microsoft.com/office/drawing/2014/main" id="{93F55D92-6E53-4C13-8EED-23351307E16A}"/>
                </a:ext>
              </a:extLst>
            </p:cNvPr>
            <p:cNvSpPr>
              <a:spLocks/>
            </p:cNvSpPr>
            <p:nvPr/>
          </p:nvSpPr>
          <p:spPr bwMode="auto">
            <a:xfrm>
              <a:off x="1209368" y="5497350"/>
              <a:ext cx="411295" cy="442421"/>
            </a:xfrm>
            <a:custGeom>
              <a:avLst/>
              <a:gdLst>
                <a:gd name="T0" fmla="*/ 72 w 81"/>
                <a:gd name="T1" fmla="*/ 86 h 86"/>
                <a:gd name="T2" fmla="*/ 58 w 81"/>
                <a:gd name="T3" fmla="*/ 34 h 86"/>
                <a:gd name="T4" fmla="*/ 0 w 81"/>
                <a:gd name="T5" fmla="*/ 9 h 86"/>
                <a:gd name="T6" fmla="*/ 33 w 81"/>
                <a:gd name="T7" fmla="*/ 56 h 86"/>
                <a:gd name="T8" fmla="*/ 72 w 81"/>
                <a:gd name="T9" fmla="*/ 86 h 86"/>
              </a:gdLst>
              <a:ahLst/>
              <a:cxnLst>
                <a:cxn ang="0">
                  <a:pos x="T0" y="T1"/>
                </a:cxn>
                <a:cxn ang="0">
                  <a:pos x="T2" y="T3"/>
                </a:cxn>
                <a:cxn ang="0">
                  <a:pos x="T4" y="T5"/>
                </a:cxn>
                <a:cxn ang="0">
                  <a:pos x="T6" y="T7"/>
                </a:cxn>
                <a:cxn ang="0">
                  <a:pos x="T8" y="T9"/>
                </a:cxn>
              </a:cxnLst>
              <a:rect l="0" t="0" r="r" b="b"/>
              <a:pathLst>
                <a:path w="81" h="86">
                  <a:moveTo>
                    <a:pt x="72" y="86"/>
                  </a:moveTo>
                  <a:cubicBezTo>
                    <a:pt x="72" y="86"/>
                    <a:pt x="81" y="67"/>
                    <a:pt x="58" y="34"/>
                  </a:cubicBezTo>
                  <a:cubicBezTo>
                    <a:pt x="35" y="0"/>
                    <a:pt x="0" y="9"/>
                    <a:pt x="0" y="9"/>
                  </a:cubicBezTo>
                  <a:cubicBezTo>
                    <a:pt x="0" y="9"/>
                    <a:pt x="12" y="41"/>
                    <a:pt x="33" y="56"/>
                  </a:cubicBezTo>
                  <a:cubicBezTo>
                    <a:pt x="54" y="72"/>
                    <a:pt x="67" y="73"/>
                    <a:pt x="72" y="86"/>
                  </a:cubicBezTo>
                  <a:close/>
                </a:path>
              </a:pathLst>
            </a:custGeom>
            <a:solidFill>
              <a:srgbClr val="8DC6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8" name="Freeform 389">
              <a:extLst>
                <a:ext uri="{FF2B5EF4-FFF2-40B4-BE49-F238E27FC236}">
                  <a16:creationId xmlns:a16="http://schemas.microsoft.com/office/drawing/2014/main" id="{E6551A98-DAE6-422E-B7C3-8041E8205DA7}"/>
                </a:ext>
              </a:extLst>
            </p:cNvPr>
            <p:cNvSpPr>
              <a:spLocks/>
            </p:cNvSpPr>
            <p:nvPr/>
          </p:nvSpPr>
          <p:spPr bwMode="auto">
            <a:xfrm>
              <a:off x="1540627" y="5564047"/>
              <a:ext cx="351269" cy="375725"/>
            </a:xfrm>
            <a:custGeom>
              <a:avLst/>
              <a:gdLst>
                <a:gd name="T0" fmla="*/ 8 w 69"/>
                <a:gd name="T1" fmla="*/ 73 h 73"/>
                <a:gd name="T2" fmla="*/ 20 w 69"/>
                <a:gd name="T3" fmla="*/ 29 h 73"/>
                <a:gd name="T4" fmla="*/ 69 w 69"/>
                <a:gd name="T5" fmla="*/ 8 h 73"/>
                <a:gd name="T6" fmla="*/ 41 w 69"/>
                <a:gd name="T7" fmla="*/ 48 h 73"/>
                <a:gd name="T8" fmla="*/ 8 w 69"/>
                <a:gd name="T9" fmla="*/ 73 h 73"/>
              </a:gdLst>
              <a:ahLst/>
              <a:cxnLst>
                <a:cxn ang="0">
                  <a:pos x="T0" y="T1"/>
                </a:cxn>
                <a:cxn ang="0">
                  <a:pos x="T2" y="T3"/>
                </a:cxn>
                <a:cxn ang="0">
                  <a:pos x="T4" y="T5"/>
                </a:cxn>
                <a:cxn ang="0">
                  <a:pos x="T6" y="T7"/>
                </a:cxn>
                <a:cxn ang="0">
                  <a:pos x="T8" y="T9"/>
                </a:cxn>
              </a:cxnLst>
              <a:rect l="0" t="0" r="r" b="b"/>
              <a:pathLst>
                <a:path w="69" h="73">
                  <a:moveTo>
                    <a:pt x="8" y="73"/>
                  </a:moveTo>
                  <a:cubicBezTo>
                    <a:pt x="8" y="73"/>
                    <a:pt x="0" y="57"/>
                    <a:pt x="20" y="29"/>
                  </a:cubicBezTo>
                  <a:cubicBezTo>
                    <a:pt x="39" y="0"/>
                    <a:pt x="69" y="8"/>
                    <a:pt x="69" y="8"/>
                  </a:cubicBezTo>
                  <a:cubicBezTo>
                    <a:pt x="69" y="8"/>
                    <a:pt x="58" y="35"/>
                    <a:pt x="41" y="48"/>
                  </a:cubicBezTo>
                  <a:cubicBezTo>
                    <a:pt x="23" y="61"/>
                    <a:pt x="12" y="62"/>
                    <a:pt x="8" y="73"/>
                  </a:cubicBezTo>
                  <a:close/>
                </a:path>
              </a:pathLst>
            </a:custGeom>
            <a:solidFill>
              <a:srgbClr val="72A4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sp>
        <p:nvSpPr>
          <p:cNvPr id="19" name="Freeform 390">
            <a:extLst>
              <a:ext uri="{FF2B5EF4-FFF2-40B4-BE49-F238E27FC236}">
                <a16:creationId xmlns:a16="http://schemas.microsoft.com/office/drawing/2014/main" id="{C1AB15F3-A2B9-41E5-980C-7CE48E6F439D}"/>
              </a:ext>
            </a:extLst>
          </p:cNvPr>
          <p:cNvSpPr>
            <a:spLocks/>
          </p:cNvSpPr>
          <p:nvPr/>
        </p:nvSpPr>
        <p:spPr bwMode="auto">
          <a:xfrm>
            <a:off x="2236496" y="5497350"/>
            <a:ext cx="406848" cy="442421"/>
          </a:xfrm>
          <a:custGeom>
            <a:avLst/>
            <a:gdLst>
              <a:gd name="T0" fmla="*/ 71 w 80"/>
              <a:gd name="T1" fmla="*/ 86 h 86"/>
              <a:gd name="T2" fmla="*/ 57 w 80"/>
              <a:gd name="T3" fmla="*/ 34 h 86"/>
              <a:gd name="T4" fmla="*/ 0 w 80"/>
              <a:gd name="T5" fmla="*/ 9 h 86"/>
              <a:gd name="T6" fmla="*/ 32 w 80"/>
              <a:gd name="T7" fmla="*/ 56 h 86"/>
              <a:gd name="T8" fmla="*/ 71 w 80"/>
              <a:gd name="T9" fmla="*/ 86 h 86"/>
            </a:gdLst>
            <a:ahLst/>
            <a:cxnLst>
              <a:cxn ang="0">
                <a:pos x="T0" y="T1"/>
              </a:cxn>
              <a:cxn ang="0">
                <a:pos x="T2" y="T3"/>
              </a:cxn>
              <a:cxn ang="0">
                <a:pos x="T4" y="T5"/>
              </a:cxn>
              <a:cxn ang="0">
                <a:pos x="T6" y="T7"/>
              </a:cxn>
              <a:cxn ang="0">
                <a:pos x="T8" y="T9"/>
              </a:cxn>
            </a:cxnLst>
            <a:rect l="0" t="0" r="r" b="b"/>
            <a:pathLst>
              <a:path w="80" h="86">
                <a:moveTo>
                  <a:pt x="71" y="86"/>
                </a:moveTo>
                <a:cubicBezTo>
                  <a:pt x="71" y="86"/>
                  <a:pt x="80" y="67"/>
                  <a:pt x="57" y="34"/>
                </a:cubicBezTo>
                <a:cubicBezTo>
                  <a:pt x="34" y="0"/>
                  <a:pt x="0" y="9"/>
                  <a:pt x="0" y="9"/>
                </a:cubicBezTo>
                <a:cubicBezTo>
                  <a:pt x="0" y="9"/>
                  <a:pt x="12" y="41"/>
                  <a:pt x="32" y="56"/>
                </a:cubicBezTo>
                <a:cubicBezTo>
                  <a:pt x="53" y="72"/>
                  <a:pt x="67" y="73"/>
                  <a:pt x="71" y="86"/>
                </a:cubicBezTo>
                <a:close/>
              </a:path>
            </a:pathLst>
          </a:custGeom>
          <a:solidFill>
            <a:srgbClr val="8DC6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0" name="Freeform 391">
            <a:extLst>
              <a:ext uri="{FF2B5EF4-FFF2-40B4-BE49-F238E27FC236}">
                <a16:creationId xmlns:a16="http://schemas.microsoft.com/office/drawing/2014/main" id="{28148719-01C3-4EE1-9F32-38EBA6E41128}"/>
              </a:ext>
            </a:extLst>
          </p:cNvPr>
          <p:cNvSpPr>
            <a:spLocks/>
          </p:cNvSpPr>
          <p:nvPr/>
        </p:nvSpPr>
        <p:spPr bwMode="auto">
          <a:xfrm>
            <a:off x="2567755" y="5564047"/>
            <a:ext cx="346822" cy="375725"/>
          </a:xfrm>
          <a:custGeom>
            <a:avLst/>
            <a:gdLst>
              <a:gd name="T0" fmla="*/ 8 w 68"/>
              <a:gd name="T1" fmla="*/ 73 h 73"/>
              <a:gd name="T2" fmla="*/ 19 w 68"/>
              <a:gd name="T3" fmla="*/ 29 h 73"/>
              <a:gd name="T4" fmla="*/ 68 w 68"/>
              <a:gd name="T5" fmla="*/ 8 h 73"/>
              <a:gd name="T6" fmla="*/ 40 w 68"/>
              <a:gd name="T7" fmla="*/ 48 h 73"/>
              <a:gd name="T8" fmla="*/ 8 w 68"/>
              <a:gd name="T9" fmla="*/ 73 h 73"/>
            </a:gdLst>
            <a:ahLst/>
            <a:cxnLst>
              <a:cxn ang="0">
                <a:pos x="T0" y="T1"/>
              </a:cxn>
              <a:cxn ang="0">
                <a:pos x="T2" y="T3"/>
              </a:cxn>
              <a:cxn ang="0">
                <a:pos x="T4" y="T5"/>
              </a:cxn>
              <a:cxn ang="0">
                <a:pos x="T6" y="T7"/>
              </a:cxn>
              <a:cxn ang="0">
                <a:pos x="T8" y="T9"/>
              </a:cxn>
            </a:cxnLst>
            <a:rect l="0" t="0" r="r" b="b"/>
            <a:pathLst>
              <a:path w="68" h="73">
                <a:moveTo>
                  <a:pt x="8" y="73"/>
                </a:moveTo>
                <a:cubicBezTo>
                  <a:pt x="8" y="73"/>
                  <a:pt x="0" y="57"/>
                  <a:pt x="19" y="29"/>
                </a:cubicBezTo>
                <a:cubicBezTo>
                  <a:pt x="39" y="0"/>
                  <a:pt x="68" y="8"/>
                  <a:pt x="68" y="8"/>
                </a:cubicBezTo>
                <a:cubicBezTo>
                  <a:pt x="68" y="8"/>
                  <a:pt x="58" y="35"/>
                  <a:pt x="40" y="48"/>
                </a:cubicBezTo>
                <a:cubicBezTo>
                  <a:pt x="23" y="61"/>
                  <a:pt x="11" y="62"/>
                  <a:pt x="8" y="73"/>
                </a:cubicBezTo>
                <a:close/>
              </a:path>
            </a:pathLst>
          </a:custGeom>
          <a:solidFill>
            <a:srgbClr val="72A4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1" name="Freeform 392">
            <a:extLst>
              <a:ext uri="{FF2B5EF4-FFF2-40B4-BE49-F238E27FC236}">
                <a16:creationId xmlns:a16="http://schemas.microsoft.com/office/drawing/2014/main" id="{2E5790AA-608A-4421-84AC-EA045CFEC7F4}"/>
              </a:ext>
            </a:extLst>
          </p:cNvPr>
          <p:cNvSpPr>
            <a:spLocks/>
          </p:cNvSpPr>
          <p:nvPr/>
        </p:nvSpPr>
        <p:spPr bwMode="auto">
          <a:xfrm>
            <a:off x="3034631" y="5379520"/>
            <a:ext cx="148955" cy="580261"/>
          </a:xfrm>
          <a:custGeom>
            <a:avLst/>
            <a:gdLst>
              <a:gd name="T0" fmla="*/ 0 w 29"/>
              <a:gd name="T1" fmla="*/ 113 h 113"/>
              <a:gd name="T2" fmla="*/ 11 w 29"/>
              <a:gd name="T3" fmla="*/ 65 h 113"/>
              <a:gd name="T4" fmla="*/ 29 w 29"/>
              <a:gd name="T5" fmla="*/ 0 h 113"/>
              <a:gd name="T6" fmla="*/ 17 w 29"/>
              <a:gd name="T7" fmla="*/ 56 h 113"/>
              <a:gd name="T8" fmla="*/ 19 w 29"/>
              <a:gd name="T9" fmla="*/ 113 h 113"/>
              <a:gd name="T10" fmla="*/ 0 w 29"/>
              <a:gd name="T11" fmla="*/ 113 h 113"/>
            </a:gdLst>
            <a:ahLst/>
            <a:cxnLst>
              <a:cxn ang="0">
                <a:pos x="T0" y="T1"/>
              </a:cxn>
              <a:cxn ang="0">
                <a:pos x="T2" y="T3"/>
              </a:cxn>
              <a:cxn ang="0">
                <a:pos x="T4" y="T5"/>
              </a:cxn>
              <a:cxn ang="0">
                <a:pos x="T6" y="T7"/>
              </a:cxn>
              <a:cxn ang="0">
                <a:pos x="T8" y="T9"/>
              </a:cxn>
              <a:cxn ang="0">
                <a:pos x="T10" y="T11"/>
              </a:cxn>
            </a:cxnLst>
            <a:rect l="0" t="0" r="r" b="b"/>
            <a:pathLst>
              <a:path w="29" h="113">
                <a:moveTo>
                  <a:pt x="0" y="113"/>
                </a:moveTo>
                <a:cubicBezTo>
                  <a:pt x="0" y="113"/>
                  <a:pt x="18" y="94"/>
                  <a:pt x="11" y="65"/>
                </a:cubicBezTo>
                <a:cubicBezTo>
                  <a:pt x="3" y="35"/>
                  <a:pt x="16" y="11"/>
                  <a:pt x="29" y="0"/>
                </a:cubicBezTo>
                <a:cubicBezTo>
                  <a:pt x="29" y="0"/>
                  <a:pt x="11" y="32"/>
                  <a:pt x="17" y="56"/>
                </a:cubicBezTo>
                <a:cubicBezTo>
                  <a:pt x="23" y="81"/>
                  <a:pt x="26" y="97"/>
                  <a:pt x="19" y="113"/>
                </a:cubicBezTo>
                <a:lnTo>
                  <a:pt x="0" y="113"/>
                </a:lnTo>
                <a:close/>
              </a:path>
            </a:pathLst>
          </a:custGeom>
          <a:solidFill>
            <a:srgbClr val="8DC6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2" name="Freeform 393">
            <a:extLst>
              <a:ext uri="{FF2B5EF4-FFF2-40B4-BE49-F238E27FC236}">
                <a16:creationId xmlns:a16="http://schemas.microsoft.com/office/drawing/2014/main" id="{2FD69A4B-2B04-4980-8D24-45B7867E830B}"/>
              </a:ext>
            </a:extLst>
          </p:cNvPr>
          <p:cNvSpPr>
            <a:spLocks/>
          </p:cNvSpPr>
          <p:nvPr/>
        </p:nvSpPr>
        <p:spPr bwMode="auto">
          <a:xfrm>
            <a:off x="3112444" y="5646306"/>
            <a:ext cx="177858" cy="191197"/>
          </a:xfrm>
          <a:custGeom>
            <a:avLst/>
            <a:gdLst>
              <a:gd name="T0" fmla="*/ 0 w 35"/>
              <a:gd name="T1" fmla="*/ 26 h 37"/>
              <a:gd name="T2" fmla="*/ 35 w 35"/>
              <a:gd name="T3" fmla="*/ 4 h 37"/>
              <a:gd name="T4" fmla="*/ 0 w 35"/>
              <a:gd name="T5" fmla="*/ 26 h 37"/>
            </a:gdLst>
            <a:ahLst/>
            <a:cxnLst>
              <a:cxn ang="0">
                <a:pos x="T0" y="T1"/>
              </a:cxn>
              <a:cxn ang="0">
                <a:pos x="T2" y="T3"/>
              </a:cxn>
              <a:cxn ang="0">
                <a:pos x="T4" y="T5"/>
              </a:cxn>
            </a:cxnLst>
            <a:rect l="0" t="0" r="r" b="b"/>
            <a:pathLst>
              <a:path w="35" h="37">
                <a:moveTo>
                  <a:pt x="0" y="26"/>
                </a:moveTo>
                <a:cubicBezTo>
                  <a:pt x="0" y="26"/>
                  <a:pt x="8" y="0"/>
                  <a:pt x="35" y="4"/>
                </a:cubicBezTo>
                <a:cubicBezTo>
                  <a:pt x="35" y="4"/>
                  <a:pt x="33" y="37"/>
                  <a:pt x="0" y="26"/>
                </a:cubicBezTo>
                <a:close/>
              </a:path>
            </a:pathLst>
          </a:custGeom>
          <a:solidFill>
            <a:srgbClr val="72A4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3" name="Freeform 394">
            <a:extLst>
              <a:ext uri="{FF2B5EF4-FFF2-40B4-BE49-F238E27FC236}">
                <a16:creationId xmlns:a16="http://schemas.microsoft.com/office/drawing/2014/main" id="{DD2D0D0A-CCAF-4DC2-8BFF-CBBFEF05A413}"/>
              </a:ext>
            </a:extLst>
          </p:cNvPr>
          <p:cNvSpPr>
            <a:spLocks/>
          </p:cNvSpPr>
          <p:nvPr/>
        </p:nvSpPr>
        <p:spPr bwMode="auto">
          <a:xfrm>
            <a:off x="3112444" y="5426207"/>
            <a:ext cx="142286" cy="153403"/>
          </a:xfrm>
          <a:custGeom>
            <a:avLst/>
            <a:gdLst>
              <a:gd name="T0" fmla="*/ 0 w 28"/>
              <a:gd name="T1" fmla="*/ 19 h 30"/>
              <a:gd name="T2" fmla="*/ 28 w 28"/>
              <a:gd name="T3" fmla="*/ 7 h 30"/>
              <a:gd name="T4" fmla="*/ 0 w 28"/>
              <a:gd name="T5" fmla="*/ 19 h 30"/>
            </a:gdLst>
            <a:ahLst/>
            <a:cxnLst>
              <a:cxn ang="0">
                <a:pos x="T0" y="T1"/>
              </a:cxn>
              <a:cxn ang="0">
                <a:pos x="T2" y="T3"/>
              </a:cxn>
              <a:cxn ang="0">
                <a:pos x="T4" y="T5"/>
              </a:cxn>
            </a:cxnLst>
            <a:rect l="0" t="0" r="r" b="b"/>
            <a:pathLst>
              <a:path w="28" h="30">
                <a:moveTo>
                  <a:pt x="0" y="19"/>
                </a:moveTo>
                <a:cubicBezTo>
                  <a:pt x="0" y="19"/>
                  <a:pt x="9" y="0"/>
                  <a:pt x="28" y="7"/>
                </a:cubicBezTo>
                <a:cubicBezTo>
                  <a:pt x="28" y="7"/>
                  <a:pt x="23" y="30"/>
                  <a:pt x="0" y="19"/>
                </a:cubicBezTo>
                <a:close/>
              </a:path>
            </a:pathLst>
          </a:custGeom>
          <a:solidFill>
            <a:srgbClr val="72A4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4" name="Freeform 395">
            <a:extLst>
              <a:ext uri="{FF2B5EF4-FFF2-40B4-BE49-F238E27FC236}">
                <a16:creationId xmlns:a16="http://schemas.microsoft.com/office/drawing/2014/main" id="{6F99757A-E3B5-484C-911B-05065F6C3B1B}"/>
              </a:ext>
            </a:extLst>
          </p:cNvPr>
          <p:cNvSpPr>
            <a:spLocks/>
          </p:cNvSpPr>
          <p:nvPr/>
        </p:nvSpPr>
        <p:spPr bwMode="auto">
          <a:xfrm>
            <a:off x="2927916" y="5564047"/>
            <a:ext cx="177858" cy="195643"/>
          </a:xfrm>
          <a:custGeom>
            <a:avLst/>
            <a:gdLst>
              <a:gd name="T0" fmla="*/ 35 w 35"/>
              <a:gd name="T1" fmla="*/ 24 h 38"/>
              <a:gd name="T2" fmla="*/ 0 w 35"/>
              <a:gd name="T3" fmla="*/ 6 h 38"/>
              <a:gd name="T4" fmla="*/ 35 w 35"/>
              <a:gd name="T5" fmla="*/ 24 h 38"/>
            </a:gdLst>
            <a:ahLst/>
            <a:cxnLst>
              <a:cxn ang="0">
                <a:pos x="T0" y="T1"/>
              </a:cxn>
              <a:cxn ang="0">
                <a:pos x="T2" y="T3"/>
              </a:cxn>
              <a:cxn ang="0">
                <a:pos x="T4" y="T5"/>
              </a:cxn>
            </a:cxnLst>
            <a:rect l="0" t="0" r="r" b="b"/>
            <a:pathLst>
              <a:path w="35" h="38">
                <a:moveTo>
                  <a:pt x="35" y="24"/>
                </a:moveTo>
                <a:cubicBezTo>
                  <a:pt x="35" y="24"/>
                  <a:pt x="22" y="0"/>
                  <a:pt x="0" y="6"/>
                </a:cubicBezTo>
                <a:cubicBezTo>
                  <a:pt x="0" y="6"/>
                  <a:pt x="7" y="38"/>
                  <a:pt x="35" y="24"/>
                </a:cubicBezTo>
                <a:close/>
              </a:path>
            </a:pathLst>
          </a:custGeom>
          <a:solidFill>
            <a:srgbClr val="72A4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5" name="Freeform 396">
            <a:extLst>
              <a:ext uri="{FF2B5EF4-FFF2-40B4-BE49-F238E27FC236}">
                <a16:creationId xmlns:a16="http://schemas.microsoft.com/office/drawing/2014/main" id="{95CA00E2-5200-4B4B-BDAB-CBF626A54170}"/>
              </a:ext>
            </a:extLst>
          </p:cNvPr>
          <p:cNvSpPr>
            <a:spLocks/>
          </p:cNvSpPr>
          <p:nvPr/>
        </p:nvSpPr>
        <p:spPr bwMode="auto">
          <a:xfrm>
            <a:off x="3041301" y="5348395"/>
            <a:ext cx="106715" cy="113385"/>
          </a:xfrm>
          <a:custGeom>
            <a:avLst/>
            <a:gdLst>
              <a:gd name="T0" fmla="*/ 21 w 21"/>
              <a:gd name="T1" fmla="*/ 19 h 22"/>
              <a:gd name="T2" fmla="*/ 2 w 21"/>
              <a:gd name="T3" fmla="*/ 0 h 22"/>
              <a:gd name="T4" fmla="*/ 21 w 21"/>
              <a:gd name="T5" fmla="*/ 19 h 22"/>
            </a:gdLst>
            <a:ahLst/>
            <a:cxnLst>
              <a:cxn ang="0">
                <a:pos x="T0" y="T1"/>
              </a:cxn>
              <a:cxn ang="0">
                <a:pos x="T2" y="T3"/>
              </a:cxn>
              <a:cxn ang="0">
                <a:pos x="T4" y="T5"/>
              </a:cxn>
            </a:cxnLst>
            <a:rect l="0" t="0" r="r" b="b"/>
            <a:pathLst>
              <a:path w="21" h="22">
                <a:moveTo>
                  <a:pt x="21" y="19"/>
                </a:moveTo>
                <a:cubicBezTo>
                  <a:pt x="21" y="19"/>
                  <a:pt x="18" y="0"/>
                  <a:pt x="2" y="0"/>
                </a:cubicBezTo>
                <a:cubicBezTo>
                  <a:pt x="2" y="0"/>
                  <a:pt x="0" y="22"/>
                  <a:pt x="21" y="19"/>
                </a:cubicBezTo>
                <a:close/>
              </a:path>
            </a:pathLst>
          </a:custGeom>
          <a:solidFill>
            <a:srgbClr val="72A4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6" name="Freeform 397">
            <a:extLst>
              <a:ext uri="{FF2B5EF4-FFF2-40B4-BE49-F238E27FC236}">
                <a16:creationId xmlns:a16="http://schemas.microsoft.com/office/drawing/2014/main" id="{4212C2F7-E7C6-4132-8C20-E766C0EC3AC3}"/>
              </a:ext>
            </a:extLst>
          </p:cNvPr>
          <p:cNvSpPr>
            <a:spLocks/>
          </p:cNvSpPr>
          <p:nvPr/>
        </p:nvSpPr>
        <p:spPr bwMode="auto">
          <a:xfrm>
            <a:off x="3259176" y="5497350"/>
            <a:ext cx="411295" cy="442421"/>
          </a:xfrm>
          <a:custGeom>
            <a:avLst/>
            <a:gdLst>
              <a:gd name="T0" fmla="*/ 71 w 81"/>
              <a:gd name="T1" fmla="*/ 86 h 86"/>
              <a:gd name="T2" fmla="*/ 58 w 81"/>
              <a:gd name="T3" fmla="*/ 34 h 86"/>
              <a:gd name="T4" fmla="*/ 0 w 81"/>
              <a:gd name="T5" fmla="*/ 9 h 86"/>
              <a:gd name="T6" fmla="*/ 33 w 81"/>
              <a:gd name="T7" fmla="*/ 56 h 86"/>
              <a:gd name="T8" fmla="*/ 71 w 81"/>
              <a:gd name="T9" fmla="*/ 86 h 86"/>
            </a:gdLst>
            <a:ahLst/>
            <a:cxnLst>
              <a:cxn ang="0">
                <a:pos x="T0" y="T1"/>
              </a:cxn>
              <a:cxn ang="0">
                <a:pos x="T2" y="T3"/>
              </a:cxn>
              <a:cxn ang="0">
                <a:pos x="T4" y="T5"/>
              </a:cxn>
              <a:cxn ang="0">
                <a:pos x="T6" y="T7"/>
              </a:cxn>
              <a:cxn ang="0">
                <a:pos x="T8" y="T9"/>
              </a:cxn>
            </a:cxnLst>
            <a:rect l="0" t="0" r="r" b="b"/>
            <a:pathLst>
              <a:path w="81" h="86">
                <a:moveTo>
                  <a:pt x="71" y="86"/>
                </a:moveTo>
                <a:cubicBezTo>
                  <a:pt x="71" y="86"/>
                  <a:pt x="81" y="67"/>
                  <a:pt x="58" y="34"/>
                </a:cubicBezTo>
                <a:cubicBezTo>
                  <a:pt x="34" y="0"/>
                  <a:pt x="0" y="9"/>
                  <a:pt x="0" y="9"/>
                </a:cubicBezTo>
                <a:cubicBezTo>
                  <a:pt x="0" y="9"/>
                  <a:pt x="12" y="41"/>
                  <a:pt x="33" y="56"/>
                </a:cubicBezTo>
                <a:cubicBezTo>
                  <a:pt x="53" y="72"/>
                  <a:pt x="67" y="73"/>
                  <a:pt x="71" y="86"/>
                </a:cubicBezTo>
                <a:close/>
              </a:path>
            </a:pathLst>
          </a:custGeom>
          <a:solidFill>
            <a:srgbClr val="8DC6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7" name="Freeform 398">
            <a:extLst>
              <a:ext uri="{FF2B5EF4-FFF2-40B4-BE49-F238E27FC236}">
                <a16:creationId xmlns:a16="http://schemas.microsoft.com/office/drawing/2014/main" id="{88FCB985-EDCF-4EA3-90CE-1E0DF9593282}"/>
              </a:ext>
            </a:extLst>
          </p:cNvPr>
          <p:cNvSpPr>
            <a:spLocks/>
          </p:cNvSpPr>
          <p:nvPr/>
        </p:nvSpPr>
        <p:spPr bwMode="auto">
          <a:xfrm>
            <a:off x="3590435" y="5564047"/>
            <a:ext cx="344598" cy="375725"/>
          </a:xfrm>
          <a:custGeom>
            <a:avLst/>
            <a:gdLst>
              <a:gd name="T0" fmla="*/ 8 w 68"/>
              <a:gd name="T1" fmla="*/ 73 h 73"/>
              <a:gd name="T2" fmla="*/ 20 w 68"/>
              <a:gd name="T3" fmla="*/ 29 h 73"/>
              <a:gd name="T4" fmla="*/ 68 w 68"/>
              <a:gd name="T5" fmla="*/ 8 h 73"/>
              <a:gd name="T6" fmla="*/ 41 w 68"/>
              <a:gd name="T7" fmla="*/ 48 h 73"/>
              <a:gd name="T8" fmla="*/ 8 w 68"/>
              <a:gd name="T9" fmla="*/ 73 h 73"/>
            </a:gdLst>
            <a:ahLst/>
            <a:cxnLst>
              <a:cxn ang="0">
                <a:pos x="T0" y="T1"/>
              </a:cxn>
              <a:cxn ang="0">
                <a:pos x="T2" y="T3"/>
              </a:cxn>
              <a:cxn ang="0">
                <a:pos x="T4" y="T5"/>
              </a:cxn>
              <a:cxn ang="0">
                <a:pos x="T6" y="T7"/>
              </a:cxn>
              <a:cxn ang="0">
                <a:pos x="T8" y="T9"/>
              </a:cxn>
            </a:cxnLst>
            <a:rect l="0" t="0" r="r" b="b"/>
            <a:pathLst>
              <a:path w="68" h="73">
                <a:moveTo>
                  <a:pt x="8" y="73"/>
                </a:moveTo>
                <a:cubicBezTo>
                  <a:pt x="8" y="73"/>
                  <a:pt x="0" y="57"/>
                  <a:pt x="20" y="29"/>
                </a:cubicBezTo>
                <a:cubicBezTo>
                  <a:pt x="39" y="0"/>
                  <a:pt x="68" y="8"/>
                  <a:pt x="68" y="8"/>
                </a:cubicBezTo>
                <a:cubicBezTo>
                  <a:pt x="68" y="8"/>
                  <a:pt x="58" y="35"/>
                  <a:pt x="41" y="48"/>
                </a:cubicBezTo>
                <a:cubicBezTo>
                  <a:pt x="23" y="61"/>
                  <a:pt x="12" y="62"/>
                  <a:pt x="8" y="73"/>
                </a:cubicBezTo>
                <a:close/>
              </a:path>
            </a:pathLst>
          </a:custGeom>
          <a:solidFill>
            <a:srgbClr val="72A4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nvGrpSpPr>
          <p:cNvPr id="28" name="Group 192">
            <a:extLst>
              <a:ext uri="{FF2B5EF4-FFF2-40B4-BE49-F238E27FC236}">
                <a16:creationId xmlns:a16="http://schemas.microsoft.com/office/drawing/2014/main" id="{8226EF22-6C5F-4261-B96F-BC18450531B2}"/>
              </a:ext>
            </a:extLst>
          </p:cNvPr>
          <p:cNvGrpSpPr/>
          <p:nvPr/>
        </p:nvGrpSpPr>
        <p:grpSpPr>
          <a:xfrm>
            <a:off x="3381725" y="2600960"/>
            <a:ext cx="1990869" cy="3358821"/>
            <a:chOff x="3950597" y="5348395"/>
            <a:chExt cx="362386" cy="611386"/>
          </a:xfrm>
        </p:grpSpPr>
        <p:sp>
          <p:nvSpPr>
            <p:cNvPr id="29" name="Freeform 399">
              <a:extLst>
                <a:ext uri="{FF2B5EF4-FFF2-40B4-BE49-F238E27FC236}">
                  <a16:creationId xmlns:a16="http://schemas.microsoft.com/office/drawing/2014/main" id="{34BF5A20-4E95-426A-B421-ACCFF8EF64C8}"/>
                </a:ext>
              </a:extLst>
            </p:cNvPr>
            <p:cNvSpPr>
              <a:spLocks/>
            </p:cNvSpPr>
            <p:nvPr/>
          </p:nvSpPr>
          <p:spPr bwMode="auto">
            <a:xfrm>
              <a:off x="4057311" y="5379520"/>
              <a:ext cx="153401" cy="580261"/>
            </a:xfrm>
            <a:custGeom>
              <a:avLst/>
              <a:gdLst>
                <a:gd name="T0" fmla="*/ 0 w 30"/>
                <a:gd name="T1" fmla="*/ 113 h 113"/>
                <a:gd name="T2" fmla="*/ 11 w 30"/>
                <a:gd name="T3" fmla="*/ 65 h 113"/>
                <a:gd name="T4" fmla="*/ 30 w 30"/>
                <a:gd name="T5" fmla="*/ 0 h 113"/>
                <a:gd name="T6" fmla="*/ 17 w 30"/>
                <a:gd name="T7" fmla="*/ 56 h 113"/>
                <a:gd name="T8" fmla="*/ 19 w 30"/>
                <a:gd name="T9" fmla="*/ 113 h 113"/>
                <a:gd name="T10" fmla="*/ 0 w 30"/>
                <a:gd name="T11" fmla="*/ 113 h 113"/>
              </a:gdLst>
              <a:ahLst/>
              <a:cxnLst>
                <a:cxn ang="0">
                  <a:pos x="T0" y="T1"/>
                </a:cxn>
                <a:cxn ang="0">
                  <a:pos x="T2" y="T3"/>
                </a:cxn>
                <a:cxn ang="0">
                  <a:pos x="T4" y="T5"/>
                </a:cxn>
                <a:cxn ang="0">
                  <a:pos x="T6" y="T7"/>
                </a:cxn>
                <a:cxn ang="0">
                  <a:pos x="T8" y="T9"/>
                </a:cxn>
                <a:cxn ang="0">
                  <a:pos x="T10" y="T11"/>
                </a:cxn>
              </a:cxnLst>
              <a:rect l="0" t="0" r="r" b="b"/>
              <a:pathLst>
                <a:path w="30" h="113">
                  <a:moveTo>
                    <a:pt x="0" y="113"/>
                  </a:moveTo>
                  <a:cubicBezTo>
                    <a:pt x="0" y="113"/>
                    <a:pt x="18" y="94"/>
                    <a:pt x="11" y="65"/>
                  </a:cubicBezTo>
                  <a:cubicBezTo>
                    <a:pt x="3" y="35"/>
                    <a:pt x="16" y="11"/>
                    <a:pt x="30" y="0"/>
                  </a:cubicBezTo>
                  <a:cubicBezTo>
                    <a:pt x="30" y="0"/>
                    <a:pt x="11" y="32"/>
                    <a:pt x="17" y="56"/>
                  </a:cubicBezTo>
                  <a:cubicBezTo>
                    <a:pt x="23" y="81"/>
                    <a:pt x="26" y="97"/>
                    <a:pt x="19" y="113"/>
                  </a:cubicBezTo>
                  <a:lnTo>
                    <a:pt x="0" y="113"/>
                  </a:lnTo>
                  <a:close/>
                </a:path>
              </a:pathLst>
            </a:custGeom>
            <a:solidFill>
              <a:srgbClr val="8DC6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0" name="Freeform 400">
              <a:extLst>
                <a:ext uri="{FF2B5EF4-FFF2-40B4-BE49-F238E27FC236}">
                  <a16:creationId xmlns:a16="http://schemas.microsoft.com/office/drawing/2014/main" id="{3491B906-BD91-4572-A1BD-55E8833E09CC}"/>
                </a:ext>
              </a:extLst>
            </p:cNvPr>
            <p:cNvSpPr>
              <a:spLocks/>
            </p:cNvSpPr>
            <p:nvPr/>
          </p:nvSpPr>
          <p:spPr bwMode="auto">
            <a:xfrm>
              <a:off x="4135125" y="5646306"/>
              <a:ext cx="177858" cy="191197"/>
            </a:xfrm>
            <a:custGeom>
              <a:avLst/>
              <a:gdLst>
                <a:gd name="T0" fmla="*/ 0 w 35"/>
                <a:gd name="T1" fmla="*/ 26 h 37"/>
                <a:gd name="T2" fmla="*/ 35 w 35"/>
                <a:gd name="T3" fmla="*/ 4 h 37"/>
                <a:gd name="T4" fmla="*/ 0 w 35"/>
                <a:gd name="T5" fmla="*/ 26 h 37"/>
              </a:gdLst>
              <a:ahLst/>
              <a:cxnLst>
                <a:cxn ang="0">
                  <a:pos x="T0" y="T1"/>
                </a:cxn>
                <a:cxn ang="0">
                  <a:pos x="T2" y="T3"/>
                </a:cxn>
                <a:cxn ang="0">
                  <a:pos x="T4" y="T5"/>
                </a:cxn>
              </a:cxnLst>
              <a:rect l="0" t="0" r="r" b="b"/>
              <a:pathLst>
                <a:path w="35" h="37">
                  <a:moveTo>
                    <a:pt x="0" y="26"/>
                  </a:moveTo>
                  <a:cubicBezTo>
                    <a:pt x="0" y="26"/>
                    <a:pt x="8" y="0"/>
                    <a:pt x="35" y="4"/>
                  </a:cubicBezTo>
                  <a:cubicBezTo>
                    <a:pt x="35" y="4"/>
                    <a:pt x="34" y="37"/>
                    <a:pt x="0" y="26"/>
                  </a:cubicBezTo>
                  <a:close/>
                </a:path>
              </a:pathLst>
            </a:custGeom>
            <a:solidFill>
              <a:srgbClr val="72A4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1" name="Freeform 401">
              <a:extLst>
                <a:ext uri="{FF2B5EF4-FFF2-40B4-BE49-F238E27FC236}">
                  <a16:creationId xmlns:a16="http://schemas.microsoft.com/office/drawing/2014/main" id="{41C3328E-9FDA-4130-A075-CE74A512401E}"/>
                </a:ext>
              </a:extLst>
            </p:cNvPr>
            <p:cNvSpPr>
              <a:spLocks/>
            </p:cNvSpPr>
            <p:nvPr/>
          </p:nvSpPr>
          <p:spPr bwMode="auto">
            <a:xfrm>
              <a:off x="4135125" y="5426207"/>
              <a:ext cx="142286" cy="153403"/>
            </a:xfrm>
            <a:custGeom>
              <a:avLst/>
              <a:gdLst>
                <a:gd name="T0" fmla="*/ 0 w 28"/>
                <a:gd name="T1" fmla="*/ 19 h 30"/>
                <a:gd name="T2" fmla="*/ 28 w 28"/>
                <a:gd name="T3" fmla="*/ 7 h 30"/>
                <a:gd name="T4" fmla="*/ 0 w 28"/>
                <a:gd name="T5" fmla="*/ 19 h 30"/>
              </a:gdLst>
              <a:ahLst/>
              <a:cxnLst>
                <a:cxn ang="0">
                  <a:pos x="T0" y="T1"/>
                </a:cxn>
                <a:cxn ang="0">
                  <a:pos x="T2" y="T3"/>
                </a:cxn>
                <a:cxn ang="0">
                  <a:pos x="T4" y="T5"/>
                </a:cxn>
              </a:cxnLst>
              <a:rect l="0" t="0" r="r" b="b"/>
              <a:pathLst>
                <a:path w="28" h="30">
                  <a:moveTo>
                    <a:pt x="0" y="19"/>
                  </a:moveTo>
                  <a:cubicBezTo>
                    <a:pt x="0" y="19"/>
                    <a:pt x="9" y="0"/>
                    <a:pt x="28" y="7"/>
                  </a:cubicBezTo>
                  <a:cubicBezTo>
                    <a:pt x="28" y="7"/>
                    <a:pt x="23" y="30"/>
                    <a:pt x="0" y="19"/>
                  </a:cubicBezTo>
                  <a:close/>
                </a:path>
              </a:pathLst>
            </a:custGeom>
            <a:solidFill>
              <a:srgbClr val="72A4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2" name="Freeform 402">
              <a:extLst>
                <a:ext uri="{FF2B5EF4-FFF2-40B4-BE49-F238E27FC236}">
                  <a16:creationId xmlns:a16="http://schemas.microsoft.com/office/drawing/2014/main" id="{61C5A8A8-E3A6-42AE-869C-3F4EB7042BD0}"/>
                </a:ext>
              </a:extLst>
            </p:cNvPr>
            <p:cNvSpPr>
              <a:spLocks/>
            </p:cNvSpPr>
            <p:nvPr/>
          </p:nvSpPr>
          <p:spPr bwMode="auto">
            <a:xfrm>
              <a:off x="3950597" y="5564047"/>
              <a:ext cx="177858" cy="195643"/>
            </a:xfrm>
            <a:custGeom>
              <a:avLst/>
              <a:gdLst>
                <a:gd name="T0" fmla="*/ 35 w 35"/>
                <a:gd name="T1" fmla="*/ 24 h 38"/>
                <a:gd name="T2" fmla="*/ 0 w 35"/>
                <a:gd name="T3" fmla="*/ 6 h 38"/>
                <a:gd name="T4" fmla="*/ 35 w 35"/>
                <a:gd name="T5" fmla="*/ 24 h 38"/>
              </a:gdLst>
              <a:ahLst/>
              <a:cxnLst>
                <a:cxn ang="0">
                  <a:pos x="T0" y="T1"/>
                </a:cxn>
                <a:cxn ang="0">
                  <a:pos x="T2" y="T3"/>
                </a:cxn>
                <a:cxn ang="0">
                  <a:pos x="T4" y="T5"/>
                </a:cxn>
              </a:cxnLst>
              <a:rect l="0" t="0" r="r" b="b"/>
              <a:pathLst>
                <a:path w="35" h="38">
                  <a:moveTo>
                    <a:pt x="35" y="24"/>
                  </a:moveTo>
                  <a:cubicBezTo>
                    <a:pt x="35" y="24"/>
                    <a:pt x="22" y="0"/>
                    <a:pt x="0" y="6"/>
                  </a:cubicBezTo>
                  <a:cubicBezTo>
                    <a:pt x="0" y="6"/>
                    <a:pt x="8" y="38"/>
                    <a:pt x="35" y="24"/>
                  </a:cubicBezTo>
                  <a:close/>
                </a:path>
              </a:pathLst>
            </a:custGeom>
            <a:solidFill>
              <a:srgbClr val="72A4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3" name="Freeform 403">
              <a:extLst>
                <a:ext uri="{FF2B5EF4-FFF2-40B4-BE49-F238E27FC236}">
                  <a16:creationId xmlns:a16="http://schemas.microsoft.com/office/drawing/2014/main" id="{37B0470D-DA7F-41DA-8F55-F195B48715C0}"/>
                </a:ext>
              </a:extLst>
            </p:cNvPr>
            <p:cNvSpPr>
              <a:spLocks/>
            </p:cNvSpPr>
            <p:nvPr/>
          </p:nvSpPr>
          <p:spPr bwMode="auto">
            <a:xfrm>
              <a:off x="4063982" y="5348395"/>
              <a:ext cx="106715" cy="113385"/>
            </a:xfrm>
            <a:custGeom>
              <a:avLst/>
              <a:gdLst>
                <a:gd name="T0" fmla="*/ 21 w 21"/>
                <a:gd name="T1" fmla="*/ 19 h 22"/>
                <a:gd name="T2" fmla="*/ 2 w 21"/>
                <a:gd name="T3" fmla="*/ 0 h 22"/>
                <a:gd name="T4" fmla="*/ 21 w 21"/>
                <a:gd name="T5" fmla="*/ 19 h 22"/>
              </a:gdLst>
              <a:ahLst/>
              <a:cxnLst>
                <a:cxn ang="0">
                  <a:pos x="T0" y="T1"/>
                </a:cxn>
                <a:cxn ang="0">
                  <a:pos x="T2" y="T3"/>
                </a:cxn>
                <a:cxn ang="0">
                  <a:pos x="T4" y="T5"/>
                </a:cxn>
              </a:cxnLst>
              <a:rect l="0" t="0" r="r" b="b"/>
              <a:pathLst>
                <a:path w="21" h="22">
                  <a:moveTo>
                    <a:pt x="21" y="19"/>
                  </a:moveTo>
                  <a:cubicBezTo>
                    <a:pt x="21" y="19"/>
                    <a:pt x="18" y="0"/>
                    <a:pt x="2" y="0"/>
                  </a:cubicBezTo>
                  <a:cubicBezTo>
                    <a:pt x="2" y="0"/>
                    <a:pt x="0" y="22"/>
                    <a:pt x="21" y="19"/>
                  </a:cubicBezTo>
                  <a:close/>
                </a:path>
              </a:pathLst>
            </a:custGeom>
            <a:solidFill>
              <a:srgbClr val="72A4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sp>
        <p:nvSpPr>
          <p:cNvPr id="34" name="Freeform 404">
            <a:extLst>
              <a:ext uri="{FF2B5EF4-FFF2-40B4-BE49-F238E27FC236}">
                <a16:creationId xmlns:a16="http://schemas.microsoft.com/office/drawing/2014/main" id="{4A62B788-F8E1-44C2-9F43-D3C7979DAA15}"/>
              </a:ext>
            </a:extLst>
          </p:cNvPr>
          <p:cNvSpPr>
            <a:spLocks/>
          </p:cNvSpPr>
          <p:nvPr/>
        </p:nvSpPr>
        <p:spPr bwMode="auto">
          <a:xfrm>
            <a:off x="4281857" y="5497350"/>
            <a:ext cx="411295" cy="442421"/>
          </a:xfrm>
          <a:custGeom>
            <a:avLst/>
            <a:gdLst>
              <a:gd name="T0" fmla="*/ 72 w 81"/>
              <a:gd name="T1" fmla="*/ 86 h 86"/>
              <a:gd name="T2" fmla="*/ 58 w 81"/>
              <a:gd name="T3" fmla="*/ 34 h 86"/>
              <a:gd name="T4" fmla="*/ 0 w 81"/>
              <a:gd name="T5" fmla="*/ 9 h 86"/>
              <a:gd name="T6" fmla="*/ 33 w 81"/>
              <a:gd name="T7" fmla="*/ 56 h 86"/>
              <a:gd name="T8" fmla="*/ 72 w 81"/>
              <a:gd name="T9" fmla="*/ 86 h 86"/>
            </a:gdLst>
            <a:ahLst/>
            <a:cxnLst>
              <a:cxn ang="0">
                <a:pos x="T0" y="T1"/>
              </a:cxn>
              <a:cxn ang="0">
                <a:pos x="T2" y="T3"/>
              </a:cxn>
              <a:cxn ang="0">
                <a:pos x="T4" y="T5"/>
              </a:cxn>
              <a:cxn ang="0">
                <a:pos x="T6" y="T7"/>
              </a:cxn>
              <a:cxn ang="0">
                <a:pos x="T8" y="T9"/>
              </a:cxn>
            </a:cxnLst>
            <a:rect l="0" t="0" r="r" b="b"/>
            <a:pathLst>
              <a:path w="81" h="86">
                <a:moveTo>
                  <a:pt x="72" y="86"/>
                </a:moveTo>
                <a:cubicBezTo>
                  <a:pt x="72" y="86"/>
                  <a:pt x="81" y="67"/>
                  <a:pt x="58" y="34"/>
                </a:cubicBezTo>
                <a:cubicBezTo>
                  <a:pt x="35" y="0"/>
                  <a:pt x="0" y="9"/>
                  <a:pt x="0" y="9"/>
                </a:cubicBezTo>
                <a:cubicBezTo>
                  <a:pt x="0" y="9"/>
                  <a:pt x="12" y="41"/>
                  <a:pt x="33" y="56"/>
                </a:cubicBezTo>
                <a:cubicBezTo>
                  <a:pt x="54" y="72"/>
                  <a:pt x="67" y="73"/>
                  <a:pt x="72" y="86"/>
                </a:cubicBezTo>
                <a:close/>
              </a:path>
            </a:pathLst>
          </a:custGeom>
          <a:solidFill>
            <a:srgbClr val="8DC6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5" name="Freeform 405">
            <a:extLst>
              <a:ext uri="{FF2B5EF4-FFF2-40B4-BE49-F238E27FC236}">
                <a16:creationId xmlns:a16="http://schemas.microsoft.com/office/drawing/2014/main" id="{A82E1EEE-43BA-4EDD-B9AC-F14A83D7104F}"/>
              </a:ext>
            </a:extLst>
          </p:cNvPr>
          <p:cNvSpPr>
            <a:spLocks/>
          </p:cNvSpPr>
          <p:nvPr/>
        </p:nvSpPr>
        <p:spPr bwMode="auto">
          <a:xfrm>
            <a:off x="4613116" y="5564047"/>
            <a:ext cx="351269" cy="375725"/>
          </a:xfrm>
          <a:custGeom>
            <a:avLst/>
            <a:gdLst>
              <a:gd name="T0" fmla="*/ 8 w 69"/>
              <a:gd name="T1" fmla="*/ 73 h 73"/>
              <a:gd name="T2" fmla="*/ 20 w 69"/>
              <a:gd name="T3" fmla="*/ 29 h 73"/>
              <a:gd name="T4" fmla="*/ 69 w 69"/>
              <a:gd name="T5" fmla="*/ 8 h 73"/>
              <a:gd name="T6" fmla="*/ 41 w 69"/>
              <a:gd name="T7" fmla="*/ 48 h 73"/>
              <a:gd name="T8" fmla="*/ 8 w 69"/>
              <a:gd name="T9" fmla="*/ 73 h 73"/>
            </a:gdLst>
            <a:ahLst/>
            <a:cxnLst>
              <a:cxn ang="0">
                <a:pos x="T0" y="T1"/>
              </a:cxn>
              <a:cxn ang="0">
                <a:pos x="T2" y="T3"/>
              </a:cxn>
              <a:cxn ang="0">
                <a:pos x="T4" y="T5"/>
              </a:cxn>
              <a:cxn ang="0">
                <a:pos x="T6" y="T7"/>
              </a:cxn>
              <a:cxn ang="0">
                <a:pos x="T8" y="T9"/>
              </a:cxn>
            </a:cxnLst>
            <a:rect l="0" t="0" r="r" b="b"/>
            <a:pathLst>
              <a:path w="69" h="73">
                <a:moveTo>
                  <a:pt x="8" y="73"/>
                </a:moveTo>
                <a:cubicBezTo>
                  <a:pt x="8" y="73"/>
                  <a:pt x="0" y="57"/>
                  <a:pt x="20" y="29"/>
                </a:cubicBezTo>
                <a:cubicBezTo>
                  <a:pt x="39" y="0"/>
                  <a:pt x="69" y="8"/>
                  <a:pt x="69" y="8"/>
                </a:cubicBezTo>
                <a:cubicBezTo>
                  <a:pt x="69" y="8"/>
                  <a:pt x="58" y="35"/>
                  <a:pt x="41" y="48"/>
                </a:cubicBezTo>
                <a:cubicBezTo>
                  <a:pt x="23" y="61"/>
                  <a:pt x="12" y="62"/>
                  <a:pt x="8" y="73"/>
                </a:cubicBezTo>
                <a:close/>
              </a:path>
            </a:pathLst>
          </a:custGeom>
          <a:solidFill>
            <a:srgbClr val="72A4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6" name="Freeform 406">
            <a:extLst>
              <a:ext uri="{FF2B5EF4-FFF2-40B4-BE49-F238E27FC236}">
                <a16:creationId xmlns:a16="http://schemas.microsoft.com/office/drawing/2014/main" id="{A356E52D-7D29-4392-911A-D821FF381DA8}"/>
              </a:ext>
            </a:extLst>
          </p:cNvPr>
          <p:cNvSpPr>
            <a:spLocks/>
          </p:cNvSpPr>
          <p:nvPr/>
        </p:nvSpPr>
        <p:spPr bwMode="auto">
          <a:xfrm>
            <a:off x="5086662" y="5379520"/>
            <a:ext cx="146732" cy="580261"/>
          </a:xfrm>
          <a:custGeom>
            <a:avLst/>
            <a:gdLst>
              <a:gd name="T0" fmla="*/ 0 w 29"/>
              <a:gd name="T1" fmla="*/ 113 h 113"/>
              <a:gd name="T2" fmla="*/ 10 w 29"/>
              <a:gd name="T3" fmla="*/ 65 h 113"/>
              <a:gd name="T4" fmla="*/ 29 w 29"/>
              <a:gd name="T5" fmla="*/ 0 h 113"/>
              <a:gd name="T6" fmla="*/ 17 w 29"/>
              <a:gd name="T7" fmla="*/ 56 h 113"/>
              <a:gd name="T8" fmla="*/ 18 w 29"/>
              <a:gd name="T9" fmla="*/ 113 h 113"/>
              <a:gd name="T10" fmla="*/ 0 w 29"/>
              <a:gd name="T11" fmla="*/ 113 h 113"/>
            </a:gdLst>
            <a:ahLst/>
            <a:cxnLst>
              <a:cxn ang="0">
                <a:pos x="T0" y="T1"/>
              </a:cxn>
              <a:cxn ang="0">
                <a:pos x="T2" y="T3"/>
              </a:cxn>
              <a:cxn ang="0">
                <a:pos x="T4" y="T5"/>
              </a:cxn>
              <a:cxn ang="0">
                <a:pos x="T6" y="T7"/>
              </a:cxn>
              <a:cxn ang="0">
                <a:pos x="T8" y="T9"/>
              </a:cxn>
              <a:cxn ang="0">
                <a:pos x="T10" y="T11"/>
              </a:cxn>
            </a:cxnLst>
            <a:rect l="0" t="0" r="r" b="b"/>
            <a:pathLst>
              <a:path w="29" h="113">
                <a:moveTo>
                  <a:pt x="0" y="113"/>
                </a:moveTo>
                <a:cubicBezTo>
                  <a:pt x="0" y="113"/>
                  <a:pt x="18" y="94"/>
                  <a:pt x="10" y="65"/>
                </a:cubicBezTo>
                <a:cubicBezTo>
                  <a:pt x="3" y="35"/>
                  <a:pt x="16" y="11"/>
                  <a:pt x="29" y="0"/>
                </a:cubicBezTo>
                <a:cubicBezTo>
                  <a:pt x="29" y="0"/>
                  <a:pt x="11" y="32"/>
                  <a:pt x="17" y="56"/>
                </a:cubicBezTo>
                <a:cubicBezTo>
                  <a:pt x="23" y="81"/>
                  <a:pt x="26" y="97"/>
                  <a:pt x="18" y="113"/>
                </a:cubicBezTo>
                <a:lnTo>
                  <a:pt x="0" y="113"/>
                </a:lnTo>
                <a:close/>
              </a:path>
            </a:pathLst>
          </a:custGeom>
          <a:solidFill>
            <a:srgbClr val="8DC6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7" name="Freeform 407">
            <a:extLst>
              <a:ext uri="{FF2B5EF4-FFF2-40B4-BE49-F238E27FC236}">
                <a16:creationId xmlns:a16="http://schemas.microsoft.com/office/drawing/2014/main" id="{B8144D60-9B6F-4FBE-AF3D-BFCFD23DBA74}"/>
              </a:ext>
            </a:extLst>
          </p:cNvPr>
          <p:cNvSpPr>
            <a:spLocks/>
          </p:cNvSpPr>
          <p:nvPr/>
        </p:nvSpPr>
        <p:spPr bwMode="auto">
          <a:xfrm>
            <a:off x="5162252" y="5646306"/>
            <a:ext cx="177858" cy="191197"/>
          </a:xfrm>
          <a:custGeom>
            <a:avLst/>
            <a:gdLst>
              <a:gd name="T0" fmla="*/ 0 w 35"/>
              <a:gd name="T1" fmla="*/ 26 h 37"/>
              <a:gd name="T2" fmla="*/ 35 w 35"/>
              <a:gd name="T3" fmla="*/ 4 h 37"/>
              <a:gd name="T4" fmla="*/ 0 w 35"/>
              <a:gd name="T5" fmla="*/ 26 h 37"/>
            </a:gdLst>
            <a:ahLst/>
            <a:cxnLst>
              <a:cxn ang="0">
                <a:pos x="T0" y="T1"/>
              </a:cxn>
              <a:cxn ang="0">
                <a:pos x="T2" y="T3"/>
              </a:cxn>
              <a:cxn ang="0">
                <a:pos x="T4" y="T5"/>
              </a:cxn>
            </a:cxnLst>
            <a:rect l="0" t="0" r="r" b="b"/>
            <a:pathLst>
              <a:path w="35" h="37">
                <a:moveTo>
                  <a:pt x="0" y="26"/>
                </a:moveTo>
                <a:cubicBezTo>
                  <a:pt x="0" y="26"/>
                  <a:pt x="7" y="0"/>
                  <a:pt x="35" y="4"/>
                </a:cubicBezTo>
                <a:cubicBezTo>
                  <a:pt x="35" y="4"/>
                  <a:pt x="33" y="37"/>
                  <a:pt x="0" y="26"/>
                </a:cubicBezTo>
                <a:close/>
              </a:path>
            </a:pathLst>
          </a:custGeom>
          <a:solidFill>
            <a:srgbClr val="72A4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8" name="Freeform 408">
            <a:extLst>
              <a:ext uri="{FF2B5EF4-FFF2-40B4-BE49-F238E27FC236}">
                <a16:creationId xmlns:a16="http://schemas.microsoft.com/office/drawing/2014/main" id="{8D19BB94-A987-42CB-AA9F-F2B6C470D559}"/>
              </a:ext>
            </a:extLst>
          </p:cNvPr>
          <p:cNvSpPr>
            <a:spLocks/>
          </p:cNvSpPr>
          <p:nvPr/>
        </p:nvSpPr>
        <p:spPr bwMode="auto">
          <a:xfrm>
            <a:off x="5162252" y="5426207"/>
            <a:ext cx="142286" cy="153403"/>
          </a:xfrm>
          <a:custGeom>
            <a:avLst/>
            <a:gdLst>
              <a:gd name="T0" fmla="*/ 0 w 28"/>
              <a:gd name="T1" fmla="*/ 19 h 30"/>
              <a:gd name="T2" fmla="*/ 28 w 28"/>
              <a:gd name="T3" fmla="*/ 7 h 30"/>
              <a:gd name="T4" fmla="*/ 0 w 28"/>
              <a:gd name="T5" fmla="*/ 19 h 30"/>
            </a:gdLst>
            <a:ahLst/>
            <a:cxnLst>
              <a:cxn ang="0">
                <a:pos x="T0" y="T1"/>
              </a:cxn>
              <a:cxn ang="0">
                <a:pos x="T2" y="T3"/>
              </a:cxn>
              <a:cxn ang="0">
                <a:pos x="T4" y="T5"/>
              </a:cxn>
            </a:cxnLst>
            <a:rect l="0" t="0" r="r" b="b"/>
            <a:pathLst>
              <a:path w="28" h="30">
                <a:moveTo>
                  <a:pt x="0" y="19"/>
                </a:moveTo>
                <a:cubicBezTo>
                  <a:pt x="0" y="19"/>
                  <a:pt x="8" y="0"/>
                  <a:pt x="28" y="7"/>
                </a:cubicBezTo>
                <a:cubicBezTo>
                  <a:pt x="28" y="7"/>
                  <a:pt x="23" y="30"/>
                  <a:pt x="0" y="19"/>
                </a:cubicBezTo>
                <a:close/>
              </a:path>
            </a:pathLst>
          </a:custGeom>
          <a:solidFill>
            <a:srgbClr val="72A4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9" name="Freeform 409">
            <a:extLst>
              <a:ext uri="{FF2B5EF4-FFF2-40B4-BE49-F238E27FC236}">
                <a16:creationId xmlns:a16="http://schemas.microsoft.com/office/drawing/2014/main" id="{799A051D-72AB-418A-92EC-0BB39E6E6B6F}"/>
              </a:ext>
            </a:extLst>
          </p:cNvPr>
          <p:cNvSpPr>
            <a:spLocks/>
          </p:cNvSpPr>
          <p:nvPr/>
        </p:nvSpPr>
        <p:spPr bwMode="auto">
          <a:xfrm>
            <a:off x="4973278" y="5564047"/>
            <a:ext cx="177858" cy="195643"/>
          </a:xfrm>
          <a:custGeom>
            <a:avLst/>
            <a:gdLst>
              <a:gd name="T0" fmla="*/ 35 w 35"/>
              <a:gd name="T1" fmla="*/ 24 h 38"/>
              <a:gd name="T2" fmla="*/ 0 w 35"/>
              <a:gd name="T3" fmla="*/ 6 h 38"/>
              <a:gd name="T4" fmla="*/ 35 w 35"/>
              <a:gd name="T5" fmla="*/ 24 h 38"/>
            </a:gdLst>
            <a:ahLst/>
            <a:cxnLst>
              <a:cxn ang="0">
                <a:pos x="T0" y="T1"/>
              </a:cxn>
              <a:cxn ang="0">
                <a:pos x="T2" y="T3"/>
              </a:cxn>
              <a:cxn ang="0">
                <a:pos x="T4" y="T5"/>
              </a:cxn>
            </a:cxnLst>
            <a:rect l="0" t="0" r="r" b="b"/>
            <a:pathLst>
              <a:path w="35" h="38">
                <a:moveTo>
                  <a:pt x="35" y="24"/>
                </a:moveTo>
                <a:cubicBezTo>
                  <a:pt x="35" y="24"/>
                  <a:pt x="23" y="0"/>
                  <a:pt x="0" y="6"/>
                </a:cubicBezTo>
                <a:cubicBezTo>
                  <a:pt x="0" y="6"/>
                  <a:pt x="8" y="38"/>
                  <a:pt x="35" y="24"/>
                </a:cubicBezTo>
                <a:close/>
              </a:path>
            </a:pathLst>
          </a:custGeom>
          <a:solidFill>
            <a:srgbClr val="72A4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40" name="Freeform 410">
            <a:extLst>
              <a:ext uri="{FF2B5EF4-FFF2-40B4-BE49-F238E27FC236}">
                <a16:creationId xmlns:a16="http://schemas.microsoft.com/office/drawing/2014/main" id="{9FBD4D9E-C7D6-4A30-ABC7-F1E6A7E53F39}"/>
              </a:ext>
            </a:extLst>
          </p:cNvPr>
          <p:cNvSpPr>
            <a:spLocks/>
          </p:cNvSpPr>
          <p:nvPr/>
        </p:nvSpPr>
        <p:spPr bwMode="auto">
          <a:xfrm>
            <a:off x="5091109" y="5348395"/>
            <a:ext cx="102268" cy="113385"/>
          </a:xfrm>
          <a:custGeom>
            <a:avLst/>
            <a:gdLst>
              <a:gd name="T0" fmla="*/ 20 w 20"/>
              <a:gd name="T1" fmla="*/ 19 h 22"/>
              <a:gd name="T2" fmla="*/ 1 w 20"/>
              <a:gd name="T3" fmla="*/ 0 h 22"/>
              <a:gd name="T4" fmla="*/ 20 w 20"/>
              <a:gd name="T5" fmla="*/ 19 h 22"/>
            </a:gdLst>
            <a:ahLst/>
            <a:cxnLst>
              <a:cxn ang="0">
                <a:pos x="T0" y="T1"/>
              </a:cxn>
              <a:cxn ang="0">
                <a:pos x="T2" y="T3"/>
              </a:cxn>
              <a:cxn ang="0">
                <a:pos x="T4" y="T5"/>
              </a:cxn>
            </a:cxnLst>
            <a:rect l="0" t="0" r="r" b="b"/>
            <a:pathLst>
              <a:path w="20" h="22">
                <a:moveTo>
                  <a:pt x="20" y="19"/>
                </a:moveTo>
                <a:cubicBezTo>
                  <a:pt x="20" y="19"/>
                  <a:pt x="17" y="0"/>
                  <a:pt x="1" y="0"/>
                </a:cubicBezTo>
                <a:cubicBezTo>
                  <a:pt x="1" y="0"/>
                  <a:pt x="0" y="22"/>
                  <a:pt x="20" y="19"/>
                </a:cubicBezTo>
                <a:close/>
              </a:path>
            </a:pathLst>
          </a:custGeom>
          <a:solidFill>
            <a:srgbClr val="72A4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41" name="Freeform 411">
            <a:extLst>
              <a:ext uri="{FF2B5EF4-FFF2-40B4-BE49-F238E27FC236}">
                <a16:creationId xmlns:a16="http://schemas.microsoft.com/office/drawing/2014/main" id="{5DCAE85A-B17F-48F6-B8CD-98B5B71F9795}"/>
              </a:ext>
            </a:extLst>
          </p:cNvPr>
          <p:cNvSpPr>
            <a:spLocks/>
          </p:cNvSpPr>
          <p:nvPr/>
        </p:nvSpPr>
        <p:spPr bwMode="auto">
          <a:xfrm>
            <a:off x="5324546" y="5497350"/>
            <a:ext cx="411295" cy="442421"/>
          </a:xfrm>
          <a:custGeom>
            <a:avLst/>
            <a:gdLst>
              <a:gd name="T0" fmla="*/ 71 w 81"/>
              <a:gd name="T1" fmla="*/ 86 h 86"/>
              <a:gd name="T2" fmla="*/ 58 w 81"/>
              <a:gd name="T3" fmla="*/ 34 h 86"/>
              <a:gd name="T4" fmla="*/ 0 w 81"/>
              <a:gd name="T5" fmla="*/ 9 h 86"/>
              <a:gd name="T6" fmla="*/ 33 w 81"/>
              <a:gd name="T7" fmla="*/ 56 h 86"/>
              <a:gd name="T8" fmla="*/ 71 w 81"/>
              <a:gd name="T9" fmla="*/ 86 h 86"/>
            </a:gdLst>
            <a:ahLst/>
            <a:cxnLst>
              <a:cxn ang="0">
                <a:pos x="T0" y="T1"/>
              </a:cxn>
              <a:cxn ang="0">
                <a:pos x="T2" y="T3"/>
              </a:cxn>
              <a:cxn ang="0">
                <a:pos x="T4" y="T5"/>
              </a:cxn>
              <a:cxn ang="0">
                <a:pos x="T6" y="T7"/>
              </a:cxn>
              <a:cxn ang="0">
                <a:pos x="T8" y="T9"/>
              </a:cxn>
            </a:cxnLst>
            <a:rect l="0" t="0" r="r" b="b"/>
            <a:pathLst>
              <a:path w="81" h="86">
                <a:moveTo>
                  <a:pt x="71" y="86"/>
                </a:moveTo>
                <a:cubicBezTo>
                  <a:pt x="71" y="86"/>
                  <a:pt x="81" y="67"/>
                  <a:pt x="58" y="34"/>
                </a:cubicBezTo>
                <a:cubicBezTo>
                  <a:pt x="34" y="0"/>
                  <a:pt x="0" y="9"/>
                  <a:pt x="0" y="9"/>
                </a:cubicBezTo>
                <a:cubicBezTo>
                  <a:pt x="0" y="9"/>
                  <a:pt x="12" y="41"/>
                  <a:pt x="33" y="56"/>
                </a:cubicBezTo>
                <a:cubicBezTo>
                  <a:pt x="53" y="72"/>
                  <a:pt x="67" y="73"/>
                  <a:pt x="71" y="86"/>
                </a:cubicBezTo>
                <a:close/>
              </a:path>
            </a:pathLst>
          </a:custGeom>
          <a:solidFill>
            <a:srgbClr val="8DC6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42" name="Freeform 412">
            <a:extLst>
              <a:ext uri="{FF2B5EF4-FFF2-40B4-BE49-F238E27FC236}">
                <a16:creationId xmlns:a16="http://schemas.microsoft.com/office/drawing/2014/main" id="{CEAB6A0B-C818-4101-AE36-B4CB6DC531F2}"/>
              </a:ext>
            </a:extLst>
          </p:cNvPr>
          <p:cNvSpPr>
            <a:spLocks/>
          </p:cNvSpPr>
          <p:nvPr/>
        </p:nvSpPr>
        <p:spPr bwMode="auto">
          <a:xfrm>
            <a:off x="5655806" y="5564047"/>
            <a:ext cx="344598" cy="375725"/>
          </a:xfrm>
          <a:custGeom>
            <a:avLst/>
            <a:gdLst>
              <a:gd name="T0" fmla="*/ 8 w 68"/>
              <a:gd name="T1" fmla="*/ 73 h 73"/>
              <a:gd name="T2" fmla="*/ 20 w 68"/>
              <a:gd name="T3" fmla="*/ 29 h 73"/>
              <a:gd name="T4" fmla="*/ 68 w 68"/>
              <a:gd name="T5" fmla="*/ 8 h 73"/>
              <a:gd name="T6" fmla="*/ 41 w 68"/>
              <a:gd name="T7" fmla="*/ 48 h 73"/>
              <a:gd name="T8" fmla="*/ 8 w 68"/>
              <a:gd name="T9" fmla="*/ 73 h 73"/>
            </a:gdLst>
            <a:ahLst/>
            <a:cxnLst>
              <a:cxn ang="0">
                <a:pos x="T0" y="T1"/>
              </a:cxn>
              <a:cxn ang="0">
                <a:pos x="T2" y="T3"/>
              </a:cxn>
              <a:cxn ang="0">
                <a:pos x="T4" y="T5"/>
              </a:cxn>
              <a:cxn ang="0">
                <a:pos x="T6" y="T7"/>
              </a:cxn>
              <a:cxn ang="0">
                <a:pos x="T8" y="T9"/>
              </a:cxn>
            </a:cxnLst>
            <a:rect l="0" t="0" r="r" b="b"/>
            <a:pathLst>
              <a:path w="68" h="73">
                <a:moveTo>
                  <a:pt x="8" y="73"/>
                </a:moveTo>
                <a:cubicBezTo>
                  <a:pt x="8" y="73"/>
                  <a:pt x="0" y="57"/>
                  <a:pt x="20" y="29"/>
                </a:cubicBezTo>
                <a:cubicBezTo>
                  <a:pt x="39" y="0"/>
                  <a:pt x="68" y="8"/>
                  <a:pt x="68" y="8"/>
                </a:cubicBezTo>
                <a:cubicBezTo>
                  <a:pt x="68" y="8"/>
                  <a:pt x="58" y="35"/>
                  <a:pt x="41" y="48"/>
                </a:cubicBezTo>
                <a:cubicBezTo>
                  <a:pt x="23" y="61"/>
                  <a:pt x="12" y="62"/>
                  <a:pt x="8" y="73"/>
                </a:cubicBezTo>
                <a:close/>
              </a:path>
            </a:pathLst>
          </a:custGeom>
          <a:solidFill>
            <a:srgbClr val="72A4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43" name="Freeform 413">
            <a:extLst>
              <a:ext uri="{FF2B5EF4-FFF2-40B4-BE49-F238E27FC236}">
                <a16:creationId xmlns:a16="http://schemas.microsoft.com/office/drawing/2014/main" id="{85893536-3C6E-4B1E-8C32-A457275BAB53}"/>
              </a:ext>
            </a:extLst>
          </p:cNvPr>
          <p:cNvSpPr>
            <a:spLocks/>
          </p:cNvSpPr>
          <p:nvPr/>
        </p:nvSpPr>
        <p:spPr bwMode="auto">
          <a:xfrm>
            <a:off x="6371683" y="5497350"/>
            <a:ext cx="413519" cy="442421"/>
          </a:xfrm>
          <a:custGeom>
            <a:avLst/>
            <a:gdLst>
              <a:gd name="T0" fmla="*/ 71 w 81"/>
              <a:gd name="T1" fmla="*/ 86 h 86"/>
              <a:gd name="T2" fmla="*/ 58 w 81"/>
              <a:gd name="T3" fmla="*/ 34 h 86"/>
              <a:gd name="T4" fmla="*/ 0 w 81"/>
              <a:gd name="T5" fmla="*/ 9 h 86"/>
              <a:gd name="T6" fmla="*/ 33 w 81"/>
              <a:gd name="T7" fmla="*/ 56 h 86"/>
              <a:gd name="T8" fmla="*/ 71 w 81"/>
              <a:gd name="T9" fmla="*/ 86 h 86"/>
            </a:gdLst>
            <a:ahLst/>
            <a:cxnLst>
              <a:cxn ang="0">
                <a:pos x="T0" y="T1"/>
              </a:cxn>
              <a:cxn ang="0">
                <a:pos x="T2" y="T3"/>
              </a:cxn>
              <a:cxn ang="0">
                <a:pos x="T4" y="T5"/>
              </a:cxn>
              <a:cxn ang="0">
                <a:pos x="T6" y="T7"/>
              </a:cxn>
              <a:cxn ang="0">
                <a:pos x="T8" y="T9"/>
              </a:cxn>
            </a:cxnLst>
            <a:rect l="0" t="0" r="r" b="b"/>
            <a:pathLst>
              <a:path w="81" h="86">
                <a:moveTo>
                  <a:pt x="71" y="86"/>
                </a:moveTo>
                <a:cubicBezTo>
                  <a:pt x="71" y="86"/>
                  <a:pt x="81" y="67"/>
                  <a:pt x="58" y="34"/>
                </a:cubicBezTo>
                <a:cubicBezTo>
                  <a:pt x="34" y="0"/>
                  <a:pt x="0" y="9"/>
                  <a:pt x="0" y="9"/>
                </a:cubicBezTo>
                <a:cubicBezTo>
                  <a:pt x="0" y="9"/>
                  <a:pt x="12" y="41"/>
                  <a:pt x="33" y="56"/>
                </a:cubicBezTo>
                <a:cubicBezTo>
                  <a:pt x="53" y="72"/>
                  <a:pt x="67" y="73"/>
                  <a:pt x="71" y="86"/>
                </a:cubicBezTo>
                <a:close/>
              </a:path>
            </a:pathLst>
          </a:custGeom>
          <a:solidFill>
            <a:srgbClr val="8DC6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44" name="Freeform 414">
            <a:extLst>
              <a:ext uri="{FF2B5EF4-FFF2-40B4-BE49-F238E27FC236}">
                <a16:creationId xmlns:a16="http://schemas.microsoft.com/office/drawing/2014/main" id="{88F49F47-85E1-44DB-9644-803AF625DC7A}"/>
              </a:ext>
            </a:extLst>
          </p:cNvPr>
          <p:cNvSpPr>
            <a:spLocks/>
          </p:cNvSpPr>
          <p:nvPr/>
        </p:nvSpPr>
        <p:spPr bwMode="auto">
          <a:xfrm>
            <a:off x="6702942" y="5564047"/>
            <a:ext cx="346822" cy="375725"/>
          </a:xfrm>
          <a:custGeom>
            <a:avLst/>
            <a:gdLst>
              <a:gd name="T0" fmla="*/ 8 w 68"/>
              <a:gd name="T1" fmla="*/ 73 h 73"/>
              <a:gd name="T2" fmla="*/ 20 w 68"/>
              <a:gd name="T3" fmla="*/ 29 h 73"/>
              <a:gd name="T4" fmla="*/ 68 w 68"/>
              <a:gd name="T5" fmla="*/ 8 h 73"/>
              <a:gd name="T6" fmla="*/ 41 w 68"/>
              <a:gd name="T7" fmla="*/ 48 h 73"/>
              <a:gd name="T8" fmla="*/ 8 w 68"/>
              <a:gd name="T9" fmla="*/ 73 h 73"/>
            </a:gdLst>
            <a:ahLst/>
            <a:cxnLst>
              <a:cxn ang="0">
                <a:pos x="T0" y="T1"/>
              </a:cxn>
              <a:cxn ang="0">
                <a:pos x="T2" y="T3"/>
              </a:cxn>
              <a:cxn ang="0">
                <a:pos x="T4" y="T5"/>
              </a:cxn>
              <a:cxn ang="0">
                <a:pos x="T6" y="T7"/>
              </a:cxn>
              <a:cxn ang="0">
                <a:pos x="T8" y="T9"/>
              </a:cxn>
            </a:cxnLst>
            <a:rect l="0" t="0" r="r" b="b"/>
            <a:pathLst>
              <a:path w="68" h="73">
                <a:moveTo>
                  <a:pt x="8" y="73"/>
                </a:moveTo>
                <a:cubicBezTo>
                  <a:pt x="8" y="73"/>
                  <a:pt x="0" y="57"/>
                  <a:pt x="20" y="29"/>
                </a:cubicBezTo>
                <a:cubicBezTo>
                  <a:pt x="39" y="0"/>
                  <a:pt x="68" y="8"/>
                  <a:pt x="68" y="8"/>
                </a:cubicBezTo>
                <a:cubicBezTo>
                  <a:pt x="68" y="8"/>
                  <a:pt x="58" y="35"/>
                  <a:pt x="41" y="48"/>
                </a:cubicBezTo>
                <a:cubicBezTo>
                  <a:pt x="23" y="61"/>
                  <a:pt x="12" y="62"/>
                  <a:pt x="8" y="73"/>
                </a:cubicBezTo>
                <a:close/>
              </a:path>
            </a:pathLst>
          </a:custGeom>
          <a:solidFill>
            <a:srgbClr val="72A4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45" name="Freeform 420">
            <a:extLst>
              <a:ext uri="{FF2B5EF4-FFF2-40B4-BE49-F238E27FC236}">
                <a16:creationId xmlns:a16="http://schemas.microsoft.com/office/drawing/2014/main" id="{78BF4722-11EC-4783-A6C4-1C2104D7A6A9}"/>
              </a:ext>
            </a:extLst>
          </p:cNvPr>
          <p:cNvSpPr>
            <a:spLocks/>
          </p:cNvSpPr>
          <p:nvPr/>
        </p:nvSpPr>
        <p:spPr bwMode="auto">
          <a:xfrm>
            <a:off x="7405479" y="5497350"/>
            <a:ext cx="406848" cy="442421"/>
          </a:xfrm>
          <a:custGeom>
            <a:avLst/>
            <a:gdLst>
              <a:gd name="T0" fmla="*/ 71 w 80"/>
              <a:gd name="T1" fmla="*/ 86 h 86"/>
              <a:gd name="T2" fmla="*/ 57 w 80"/>
              <a:gd name="T3" fmla="*/ 34 h 86"/>
              <a:gd name="T4" fmla="*/ 0 w 80"/>
              <a:gd name="T5" fmla="*/ 9 h 86"/>
              <a:gd name="T6" fmla="*/ 32 w 80"/>
              <a:gd name="T7" fmla="*/ 56 h 86"/>
              <a:gd name="T8" fmla="*/ 71 w 80"/>
              <a:gd name="T9" fmla="*/ 86 h 86"/>
            </a:gdLst>
            <a:ahLst/>
            <a:cxnLst>
              <a:cxn ang="0">
                <a:pos x="T0" y="T1"/>
              </a:cxn>
              <a:cxn ang="0">
                <a:pos x="T2" y="T3"/>
              </a:cxn>
              <a:cxn ang="0">
                <a:pos x="T4" y="T5"/>
              </a:cxn>
              <a:cxn ang="0">
                <a:pos x="T6" y="T7"/>
              </a:cxn>
              <a:cxn ang="0">
                <a:pos x="T8" y="T9"/>
              </a:cxn>
            </a:cxnLst>
            <a:rect l="0" t="0" r="r" b="b"/>
            <a:pathLst>
              <a:path w="80" h="86">
                <a:moveTo>
                  <a:pt x="71" y="86"/>
                </a:moveTo>
                <a:cubicBezTo>
                  <a:pt x="71" y="86"/>
                  <a:pt x="80" y="67"/>
                  <a:pt x="57" y="34"/>
                </a:cubicBezTo>
                <a:cubicBezTo>
                  <a:pt x="34" y="0"/>
                  <a:pt x="0" y="9"/>
                  <a:pt x="0" y="9"/>
                </a:cubicBezTo>
                <a:cubicBezTo>
                  <a:pt x="0" y="9"/>
                  <a:pt x="12" y="41"/>
                  <a:pt x="32" y="56"/>
                </a:cubicBezTo>
                <a:cubicBezTo>
                  <a:pt x="53" y="72"/>
                  <a:pt x="67" y="73"/>
                  <a:pt x="71" y="86"/>
                </a:cubicBezTo>
                <a:close/>
              </a:path>
            </a:pathLst>
          </a:custGeom>
          <a:solidFill>
            <a:srgbClr val="8DC6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46" name="Freeform 421">
            <a:extLst>
              <a:ext uri="{FF2B5EF4-FFF2-40B4-BE49-F238E27FC236}">
                <a16:creationId xmlns:a16="http://schemas.microsoft.com/office/drawing/2014/main" id="{1D02B84F-32FB-4AC9-B068-B3A05C82DE63}"/>
              </a:ext>
            </a:extLst>
          </p:cNvPr>
          <p:cNvSpPr>
            <a:spLocks/>
          </p:cNvSpPr>
          <p:nvPr/>
        </p:nvSpPr>
        <p:spPr bwMode="auto">
          <a:xfrm>
            <a:off x="7736739" y="5564047"/>
            <a:ext cx="344598" cy="375725"/>
          </a:xfrm>
          <a:custGeom>
            <a:avLst/>
            <a:gdLst>
              <a:gd name="T0" fmla="*/ 8 w 68"/>
              <a:gd name="T1" fmla="*/ 73 h 73"/>
              <a:gd name="T2" fmla="*/ 19 w 68"/>
              <a:gd name="T3" fmla="*/ 29 h 73"/>
              <a:gd name="T4" fmla="*/ 68 w 68"/>
              <a:gd name="T5" fmla="*/ 8 h 73"/>
              <a:gd name="T6" fmla="*/ 40 w 68"/>
              <a:gd name="T7" fmla="*/ 48 h 73"/>
              <a:gd name="T8" fmla="*/ 8 w 68"/>
              <a:gd name="T9" fmla="*/ 73 h 73"/>
            </a:gdLst>
            <a:ahLst/>
            <a:cxnLst>
              <a:cxn ang="0">
                <a:pos x="T0" y="T1"/>
              </a:cxn>
              <a:cxn ang="0">
                <a:pos x="T2" y="T3"/>
              </a:cxn>
              <a:cxn ang="0">
                <a:pos x="T4" y="T5"/>
              </a:cxn>
              <a:cxn ang="0">
                <a:pos x="T6" y="T7"/>
              </a:cxn>
              <a:cxn ang="0">
                <a:pos x="T8" y="T9"/>
              </a:cxn>
            </a:cxnLst>
            <a:rect l="0" t="0" r="r" b="b"/>
            <a:pathLst>
              <a:path w="68" h="73">
                <a:moveTo>
                  <a:pt x="8" y="73"/>
                </a:moveTo>
                <a:cubicBezTo>
                  <a:pt x="8" y="73"/>
                  <a:pt x="0" y="57"/>
                  <a:pt x="19" y="29"/>
                </a:cubicBezTo>
                <a:cubicBezTo>
                  <a:pt x="39" y="0"/>
                  <a:pt x="68" y="8"/>
                  <a:pt x="68" y="8"/>
                </a:cubicBezTo>
                <a:cubicBezTo>
                  <a:pt x="68" y="8"/>
                  <a:pt x="58" y="35"/>
                  <a:pt x="40" y="48"/>
                </a:cubicBezTo>
                <a:cubicBezTo>
                  <a:pt x="23" y="61"/>
                  <a:pt x="11" y="62"/>
                  <a:pt x="8" y="73"/>
                </a:cubicBezTo>
                <a:close/>
              </a:path>
            </a:pathLst>
          </a:custGeom>
          <a:solidFill>
            <a:srgbClr val="72A4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47" name="Freeform 422">
            <a:extLst>
              <a:ext uri="{FF2B5EF4-FFF2-40B4-BE49-F238E27FC236}">
                <a16:creationId xmlns:a16="http://schemas.microsoft.com/office/drawing/2014/main" id="{B2A5F592-B919-4341-95DD-42B12795FE6D}"/>
              </a:ext>
            </a:extLst>
          </p:cNvPr>
          <p:cNvSpPr>
            <a:spLocks/>
          </p:cNvSpPr>
          <p:nvPr/>
        </p:nvSpPr>
        <p:spPr bwMode="auto">
          <a:xfrm>
            <a:off x="8219177" y="5379520"/>
            <a:ext cx="153401" cy="580261"/>
          </a:xfrm>
          <a:custGeom>
            <a:avLst/>
            <a:gdLst>
              <a:gd name="T0" fmla="*/ 0 w 30"/>
              <a:gd name="T1" fmla="*/ 113 h 113"/>
              <a:gd name="T2" fmla="*/ 11 w 30"/>
              <a:gd name="T3" fmla="*/ 65 h 113"/>
              <a:gd name="T4" fmla="*/ 30 w 30"/>
              <a:gd name="T5" fmla="*/ 0 h 113"/>
              <a:gd name="T6" fmla="*/ 17 w 30"/>
              <a:gd name="T7" fmla="*/ 56 h 113"/>
              <a:gd name="T8" fmla="*/ 19 w 30"/>
              <a:gd name="T9" fmla="*/ 113 h 113"/>
              <a:gd name="T10" fmla="*/ 0 w 30"/>
              <a:gd name="T11" fmla="*/ 113 h 113"/>
            </a:gdLst>
            <a:ahLst/>
            <a:cxnLst>
              <a:cxn ang="0">
                <a:pos x="T0" y="T1"/>
              </a:cxn>
              <a:cxn ang="0">
                <a:pos x="T2" y="T3"/>
              </a:cxn>
              <a:cxn ang="0">
                <a:pos x="T4" y="T5"/>
              </a:cxn>
              <a:cxn ang="0">
                <a:pos x="T6" y="T7"/>
              </a:cxn>
              <a:cxn ang="0">
                <a:pos x="T8" y="T9"/>
              </a:cxn>
              <a:cxn ang="0">
                <a:pos x="T10" y="T11"/>
              </a:cxn>
            </a:cxnLst>
            <a:rect l="0" t="0" r="r" b="b"/>
            <a:pathLst>
              <a:path w="30" h="113">
                <a:moveTo>
                  <a:pt x="0" y="113"/>
                </a:moveTo>
                <a:cubicBezTo>
                  <a:pt x="0" y="113"/>
                  <a:pt x="18" y="94"/>
                  <a:pt x="11" y="65"/>
                </a:cubicBezTo>
                <a:cubicBezTo>
                  <a:pt x="3" y="35"/>
                  <a:pt x="16" y="11"/>
                  <a:pt x="30" y="0"/>
                </a:cubicBezTo>
                <a:cubicBezTo>
                  <a:pt x="30" y="0"/>
                  <a:pt x="11" y="32"/>
                  <a:pt x="17" y="56"/>
                </a:cubicBezTo>
                <a:cubicBezTo>
                  <a:pt x="23" y="81"/>
                  <a:pt x="26" y="97"/>
                  <a:pt x="19" y="113"/>
                </a:cubicBezTo>
                <a:lnTo>
                  <a:pt x="0" y="113"/>
                </a:lnTo>
                <a:close/>
              </a:path>
            </a:pathLst>
          </a:custGeom>
          <a:solidFill>
            <a:srgbClr val="8DC6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48" name="Freeform 423">
            <a:extLst>
              <a:ext uri="{FF2B5EF4-FFF2-40B4-BE49-F238E27FC236}">
                <a16:creationId xmlns:a16="http://schemas.microsoft.com/office/drawing/2014/main" id="{F19CC633-9493-430F-82DC-4F990DBB2B49}"/>
              </a:ext>
            </a:extLst>
          </p:cNvPr>
          <p:cNvSpPr>
            <a:spLocks/>
          </p:cNvSpPr>
          <p:nvPr/>
        </p:nvSpPr>
        <p:spPr bwMode="auto">
          <a:xfrm>
            <a:off x="8294767" y="5646306"/>
            <a:ext cx="177858" cy="191197"/>
          </a:xfrm>
          <a:custGeom>
            <a:avLst/>
            <a:gdLst>
              <a:gd name="T0" fmla="*/ 0 w 35"/>
              <a:gd name="T1" fmla="*/ 26 h 37"/>
              <a:gd name="T2" fmla="*/ 35 w 35"/>
              <a:gd name="T3" fmla="*/ 4 h 37"/>
              <a:gd name="T4" fmla="*/ 0 w 35"/>
              <a:gd name="T5" fmla="*/ 26 h 37"/>
            </a:gdLst>
            <a:ahLst/>
            <a:cxnLst>
              <a:cxn ang="0">
                <a:pos x="T0" y="T1"/>
              </a:cxn>
              <a:cxn ang="0">
                <a:pos x="T2" y="T3"/>
              </a:cxn>
              <a:cxn ang="0">
                <a:pos x="T4" y="T5"/>
              </a:cxn>
            </a:cxnLst>
            <a:rect l="0" t="0" r="r" b="b"/>
            <a:pathLst>
              <a:path w="35" h="37">
                <a:moveTo>
                  <a:pt x="0" y="26"/>
                </a:moveTo>
                <a:cubicBezTo>
                  <a:pt x="0" y="26"/>
                  <a:pt x="8" y="0"/>
                  <a:pt x="35" y="4"/>
                </a:cubicBezTo>
                <a:cubicBezTo>
                  <a:pt x="35" y="4"/>
                  <a:pt x="34" y="37"/>
                  <a:pt x="0" y="26"/>
                </a:cubicBezTo>
                <a:close/>
              </a:path>
            </a:pathLst>
          </a:custGeom>
          <a:solidFill>
            <a:srgbClr val="72A4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49" name="Freeform 424">
            <a:extLst>
              <a:ext uri="{FF2B5EF4-FFF2-40B4-BE49-F238E27FC236}">
                <a16:creationId xmlns:a16="http://schemas.microsoft.com/office/drawing/2014/main" id="{74770522-3528-465D-8EDD-69A7E0A56F7D}"/>
              </a:ext>
            </a:extLst>
          </p:cNvPr>
          <p:cNvSpPr>
            <a:spLocks/>
          </p:cNvSpPr>
          <p:nvPr/>
        </p:nvSpPr>
        <p:spPr bwMode="auto">
          <a:xfrm>
            <a:off x="8294767" y="5426207"/>
            <a:ext cx="142286" cy="153403"/>
          </a:xfrm>
          <a:custGeom>
            <a:avLst/>
            <a:gdLst>
              <a:gd name="T0" fmla="*/ 0 w 28"/>
              <a:gd name="T1" fmla="*/ 19 h 30"/>
              <a:gd name="T2" fmla="*/ 28 w 28"/>
              <a:gd name="T3" fmla="*/ 7 h 30"/>
              <a:gd name="T4" fmla="*/ 0 w 28"/>
              <a:gd name="T5" fmla="*/ 19 h 30"/>
            </a:gdLst>
            <a:ahLst/>
            <a:cxnLst>
              <a:cxn ang="0">
                <a:pos x="T0" y="T1"/>
              </a:cxn>
              <a:cxn ang="0">
                <a:pos x="T2" y="T3"/>
              </a:cxn>
              <a:cxn ang="0">
                <a:pos x="T4" y="T5"/>
              </a:cxn>
            </a:cxnLst>
            <a:rect l="0" t="0" r="r" b="b"/>
            <a:pathLst>
              <a:path w="28" h="30">
                <a:moveTo>
                  <a:pt x="0" y="19"/>
                </a:moveTo>
                <a:cubicBezTo>
                  <a:pt x="0" y="19"/>
                  <a:pt x="9" y="0"/>
                  <a:pt x="28" y="7"/>
                </a:cubicBezTo>
                <a:cubicBezTo>
                  <a:pt x="28" y="7"/>
                  <a:pt x="23" y="30"/>
                  <a:pt x="0" y="19"/>
                </a:cubicBezTo>
                <a:close/>
              </a:path>
            </a:pathLst>
          </a:custGeom>
          <a:solidFill>
            <a:srgbClr val="72A4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50" name="Freeform 425">
            <a:extLst>
              <a:ext uri="{FF2B5EF4-FFF2-40B4-BE49-F238E27FC236}">
                <a16:creationId xmlns:a16="http://schemas.microsoft.com/office/drawing/2014/main" id="{54C8BC70-3CBF-46BF-AAFE-84D58794E22F}"/>
              </a:ext>
            </a:extLst>
          </p:cNvPr>
          <p:cNvSpPr>
            <a:spLocks/>
          </p:cNvSpPr>
          <p:nvPr/>
        </p:nvSpPr>
        <p:spPr bwMode="auto">
          <a:xfrm>
            <a:off x="8112463" y="5564047"/>
            <a:ext cx="177858" cy="195643"/>
          </a:xfrm>
          <a:custGeom>
            <a:avLst/>
            <a:gdLst>
              <a:gd name="T0" fmla="*/ 35 w 35"/>
              <a:gd name="T1" fmla="*/ 24 h 38"/>
              <a:gd name="T2" fmla="*/ 0 w 35"/>
              <a:gd name="T3" fmla="*/ 6 h 38"/>
              <a:gd name="T4" fmla="*/ 35 w 35"/>
              <a:gd name="T5" fmla="*/ 24 h 38"/>
            </a:gdLst>
            <a:ahLst/>
            <a:cxnLst>
              <a:cxn ang="0">
                <a:pos x="T0" y="T1"/>
              </a:cxn>
              <a:cxn ang="0">
                <a:pos x="T2" y="T3"/>
              </a:cxn>
              <a:cxn ang="0">
                <a:pos x="T4" y="T5"/>
              </a:cxn>
            </a:cxnLst>
            <a:rect l="0" t="0" r="r" b="b"/>
            <a:pathLst>
              <a:path w="35" h="38">
                <a:moveTo>
                  <a:pt x="35" y="24"/>
                </a:moveTo>
                <a:cubicBezTo>
                  <a:pt x="35" y="24"/>
                  <a:pt x="22" y="0"/>
                  <a:pt x="0" y="6"/>
                </a:cubicBezTo>
                <a:cubicBezTo>
                  <a:pt x="0" y="6"/>
                  <a:pt x="8" y="38"/>
                  <a:pt x="35" y="24"/>
                </a:cubicBezTo>
                <a:close/>
              </a:path>
            </a:pathLst>
          </a:custGeom>
          <a:solidFill>
            <a:srgbClr val="72A4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51" name="Freeform 426">
            <a:extLst>
              <a:ext uri="{FF2B5EF4-FFF2-40B4-BE49-F238E27FC236}">
                <a16:creationId xmlns:a16="http://schemas.microsoft.com/office/drawing/2014/main" id="{1FF01710-11DB-4570-B698-1F39E7AC6B4E}"/>
              </a:ext>
            </a:extLst>
          </p:cNvPr>
          <p:cNvSpPr>
            <a:spLocks/>
          </p:cNvSpPr>
          <p:nvPr/>
        </p:nvSpPr>
        <p:spPr bwMode="auto">
          <a:xfrm>
            <a:off x="8223624" y="5348395"/>
            <a:ext cx="106715" cy="113385"/>
          </a:xfrm>
          <a:custGeom>
            <a:avLst/>
            <a:gdLst>
              <a:gd name="T0" fmla="*/ 21 w 21"/>
              <a:gd name="T1" fmla="*/ 19 h 22"/>
              <a:gd name="T2" fmla="*/ 2 w 21"/>
              <a:gd name="T3" fmla="*/ 0 h 22"/>
              <a:gd name="T4" fmla="*/ 21 w 21"/>
              <a:gd name="T5" fmla="*/ 19 h 22"/>
            </a:gdLst>
            <a:ahLst/>
            <a:cxnLst>
              <a:cxn ang="0">
                <a:pos x="T0" y="T1"/>
              </a:cxn>
              <a:cxn ang="0">
                <a:pos x="T2" y="T3"/>
              </a:cxn>
              <a:cxn ang="0">
                <a:pos x="T4" y="T5"/>
              </a:cxn>
            </a:cxnLst>
            <a:rect l="0" t="0" r="r" b="b"/>
            <a:pathLst>
              <a:path w="21" h="22">
                <a:moveTo>
                  <a:pt x="21" y="19"/>
                </a:moveTo>
                <a:cubicBezTo>
                  <a:pt x="21" y="19"/>
                  <a:pt x="18" y="0"/>
                  <a:pt x="2" y="0"/>
                </a:cubicBezTo>
                <a:cubicBezTo>
                  <a:pt x="2" y="0"/>
                  <a:pt x="0" y="22"/>
                  <a:pt x="21" y="19"/>
                </a:cubicBezTo>
                <a:close/>
              </a:path>
            </a:pathLst>
          </a:custGeom>
          <a:solidFill>
            <a:srgbClr val="72A4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52" name="Freeform 427">
            <a:extLst>
              <a:ext uri="{FF2B5EF4-FFF2-40B4-BE49-F238E27FC236}">
                <a16:creationId xmlns:a16="http://schemas.microsoft.com/office/drawing/2014/main" id="{C6AD7C31-956A-42AB-9D0A-00C9A69220BD}"/>
              </a:ext>
            </a:extLst>
          </p:cNvPr>
          <p:cNvSpPr>
            <a:spLocks/>
          </p:cNvSpPr>
          <p:nvPr/>
        </p:nvSpPr>
        <p:spPr bwMode="auto">
          <a:xfrm>
            <a:off x="8443723" y="5497350"/>
            <a:ext cx="411295" cy="442421"/>
          </a:xfrm>
          <a:custGeom>
            <a:avLst/>
            <a:gdLst>
              <a:gd name="T0" fmla="*/ 72 w 81"/>
              <a:gd name="T1" fmla="*/ 86 h 86"/>
              <a:gd name="T2" fmla="*/ 58 w 81"/>
              <a:gd name="T3" fmla="*/ 34 h 86"/>
              <a:gd name="T4" fmla="*/ 0 w 81"/>
              <a:gd name="T5" fmla="*/ 9 h 86"/>
              <a:gd name="T6" fmla="*/ 33 w 81"/>
              <a:gd name="T7" fmla="*/ 56 h 86"/>
              <a:gd name="T8" fmla="*/ 72 w 81"/>
              <a:gd name="T9" fmla="*/ 86 h 86"/>
            </a:gdLst>
            <a:ahLst/>
            <a:cxnLst>
              <a:cxn ang="0">
                <a:pos x="T0" y="T1"/>
              </a:cxn>
              <a:cxn ang="0">
                <a:pos x="T2" y="T3"/>
              </a:cxn>
              <a:cxn ang="0">
                <a:pos x="T4" y="T5"/>
              </a:cxn>
              <a:cxn ang="0">
                <a:pos x="T6" y="T7"/>
              </a:cxn>
              <a:cxn ang="0">
                <a:pos x="T8" y="T9"/>
              </a:cxn>
            </a:cxnLst>
            <a:rect l="0" t="0" r="r" b="b"/>
            <a:pathLst>
              <a:path w="81" h="86">
                <a:moveTo>
                  <a:pt x="72" y="86"/>
                </a:moveTo>
                <a:cubicBezTo>
                  <a:pt x="72" y="86"/>
                  <a:pt x="81" y="67"/>
                  <a:pt x="58" y="34"/>
                </a:cubicBezTo>
                <a:cubicBezTo>
                  <a:pt x="35" y="0"/>
                  <a:pt x="0" y="9"/>
                  <a:pt x="0" y="9"/>
                </a:cubicBezTo>
                <a:cubicBezTo>
                  <a:pt x="0" y="9"/>
                  <a:pt x="12" y="41"/>
                  <a:pt x="33" y="56"/>
                </a:cubicBezTo>
                <a:cubicBezTo>
                  <a:pt x="54" y="72"/>
                  <a:pt x="67" y="73"/>
                  <a:pt x="72" y="86"/>
                </a:cubicBezTo>
                <a:close/>
              </a:path>
            </a:pathLst>
          </a:custGeom>
          <a:solidFill>
            <a:srgbClr val="8DC6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53" name="Freeform 428">
            <a:extLst>
              <a:ext uri="{FF2B5EF4-FFF2-40B4-BE49-F238E27FC236}">
                <a16:creationId xmlns:a16="http://schemas.microsoft.com/office/drawing/2014/main" id="{106FA328-7FCA-4825-99D4-5CD3A2374D8E}"/>
              </a:ext>
            </a:extLst>
          </p:cNvPr>
          <p:cNvSpPr>
            <a:spLocks/>
          </p:cNvSpPr>
          <p:nvPr/>
        </p:nvSpPr>
        <p:spPr bwMode="auto">
          <a:xfrm>
            <a:off x="8772760" y="5564047"/>
            <a:ext cx="351269" cy="375725"/>
          </a:xfrm>
          <a:custGeom>
            <a:avLst/>
            <a:gdLst>
              <a:gd name="T0" fmla="*/ 8 w 69"/>
              <a:gd name="T1" fmla="*/ 73 h 73"/>
              <a:gd name="T2" fmla="*/ 20 w 69"/>
              <a:gd name="T3" fmla="*/ 29 h 73"/>
              <a:gd name="T4" fmla="*/ 69 w 69"/>
              <a:gd name="T5" fmla="*/ 8 h 73"/>
              <a:gd name="T6" fmla="*/ 41 w 69"/>
              <a:gd name="T7" fmla="*/ 48 h 73"/>
              <a:gd name="T8" fmla="*/ 8 w 69"/>
              <a:gd name="T9" fmla="*/ 73 h 73"/>
            </a:gdLst>
            <a:ahLst/>
            <a:cxnLst>
              <a:cxn ang="0">
                <a:pos x="T0" y="T1"/>
              </a:cxn>
              <a:cxn ang="0">
                <a:pos x="T2" y="T3"/>
              </a:cxn>
              <a:cxn ang="0">
                <a:pos x="T4" y="T5"/>
              </a:cxn>
              <a:cxn ang="0">
                <a:pos x="T6" y="T7"/>
              </a:cxn>
              <a:cxn ang="0">
                <a:pos x="T8" y="T9"/>
              </a:cxn>
            </a:cxnLst>
            <a:rect l="0" t="0" r="r" b="b"/>
            <a:pathLst>
              <a:path w="69" h="73">
                <a:moveTo>
                  <a:pt x="8" y="73"/>
                </a:moveTo>
                <a:cubicBezTo>
                  <a:pt x="8" y="73"/>
                  <a:pt x="0" y="57"/>
                  <a:pt x="20" y="29"/>
                </a:cubicBezTo>
                <a:cubicBezTo>
                  <a:pt x="39" y="0"/>
                  <a:pt x="69" y="8"/>
                  <a:pt x="69" y="8"/>
                </a:cubicBezTo>
                <a:cubicBezTo>
                  <a:pt x="69" y="8"/>
                  <a:pt x="58" y="35"/>
                  <a:pt x="41" y="48"/>
                </a:cubicBezTo>
                <a:cubicBezTo>
                  <a:pt x="23" y="61"/>
                  <a:pt x="12" y="62"/>
                  <a:pt x="8" y="73"/>
                </a:cubicBezTo>
                <a:close/>
              </a:path>
            </a:pathLst>
          </a:custGeom>
          <a:solidFill>
            <a:srgbClr val="72A4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54" name="Freeform 429">
            <a:extLst>
              <a:ext uri="{FF2B5EF4-FFF2-40B4-BE49-F238E27FC236}">
                <a16:creationId xmlns:a16="http://schemas.microsoft.com/office/drawing/2014/main" id="{83F18A39-0CF4-40C5-924F-4022197D9EA9}"/>
              </a:ext>
            </a:extLst>
          </p:cNvPr>
          <p:cNvSpPr>
            <a:spLocks/>
          </p:cNvSpPr>
          <p:nvPr/>
        </p:nvSpPr>
        <p:spPr bwMode="auto">
          <a:xfrm>
            <a:off x="9246305" y="5379520"/>
            <a:ext cx="153401" cy="580261"/>
          </a:xfrm>
          <a:custGeom>
            <a:avLst/>
            <a:gdLst>
              <a:gd name="T0" fmla="*/ 0 w 30"/>
              <a:gd name="T1" fmla="*/ 113 h 113"/>
              <a:gd name="T2" fmla="*/ 11 w 30"/>
              <a:gd name="T3" fmla="*/ 65 h 113"/>
              <a:gd name="T4" fmla="*/ 30 w 30"/>
              <a:gd name="T5" fmla="*/ 0 h 113"/>
              <a:gd name="T6" fmla="*/ 17 w 30"/>
              <a:gd name="T7" fmla="*/ 56 h 113"/>
              <a:gd name="T8" fmla="*/ 19 w 30"/>
              <a:gd name="T9" fmla="*/ 113 h 113"/>
              <a:gd name="T10" fmla="*/ 0 w 30"/>
              <a:gd name="T11" fmla="*/ 113 h 113"/>
            </a:gdLst>
            <a:ahLst/>
            <a:cxnLst>
              <a:cxn ang="0">
                <a:pos x="T0" y="T1"/>
              </a:cxn>
              <a:cxn ang="0">
                <a:pos x="T2" y="T3"/>
              </a:cxn>
              <a:cxn ang="0">
                <a:pos x="T4" y="T5"/>
              </a:cxn>
              <a:cxn ang="0">
                <a:pos x="T6" y="T7"/>
              </a:cxn>
              <a:cxn ang="0">
                <a:pos x="T8" y="T9"/>
              </a:cxn>
              <a:cxn ang="0">
                <a:pos x="T10" y="T11"/>
              </a:cxn>
            </a:cxnLst>
            <a:rect l="0" t="0" r="r" b="b"/>
            <a:pathLst>
              <a:path w="30" h="113">
                <a:moveTo>
                  <a:pt x="0" y="113"/>
                </a:moveTo>
                <a:cubicBezTo>
                  <a:pt x="0" y="113"/>
                  <a:pt x="18" y="94"/>
                  <a:pt x="11" y="65"/>
                </a:cubicBezTo>
                <a:cubicBezTo>
                  <a:pt x="3" y="35"/>
                  <a:pt x="16" y="11"/>
                  <a:pt x="30" y="0"/>
                </a:cubicBezTo>
                <a:cubicBezTo>
                  <a:pt x="30" y="0"/>
                  <a:pt x="11" y="32"/>
                  <a:pt x="17" y="56"/>
                </a:cubicBezTo>
                <a:cubicBezTo>
                  <a:pt x="23" y="81"/>
                  <a:pt x="26" y="97"/>
                  <a:pt x="19" y="113"/>
                </a:cubicBezTo>
                <a:lnTo>
                  <a:pt x="0" y="113"/>
                </a:lnTo>
                <a:close/>
              </a:path>
            </a:pathLst>
          </a:custGeom>
          <a:solidFill>
            <a:srgbClr val="8DC6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55" name="Freeform 430">
            <a:extLst>
              <a:ext uri="{FF2B5EF4-FFF2-40B4-BE49-F238E27FC236}">
                <a16:creationId xmlns:a16="http://schemas.microsoft.com/office/drawing/2014/main" id="{887B4D55-FFB9-40A5-9886-A1104AE16485}"/>
              </a:ext>
            </a:extLst>
          </p:cNvPr>
          <p:cNvSpPr>
            <a:spLocks/>
          </p:cNvSpPr>
          <p:nvPr/>
        </p:nvSpPr>
        <p:spPr bwMode="auto">
          <a:xfrm>
            <a:off x="9321894" y="5646306"/>
            <a:ext cx="180080" cy="191197"/>
          </a:xfrm>
          <a:custGeom>
            <a:avLst/>
            <a:gdLst>
              <a:gd name="T0" fmla="*/ 0 w 35"/>
              <a:gd name="T1" fmla="*/ 26 h 37"/>
              <a:gd name="T2" fmla="*/ 35 w 35"/>
              <a:gd name="T3" fmla="*/ 4 h 37"/>
              <a:gd name="T4" fmla="*/ 0 w 35"/>
              <a:gd name="T5" fmla="*/ 26 h 37"/>
            </a:gdLst>
            <a:ahLst/>
            <a:cxnLst>
              <a:cxn ang="0">
                <a:pos x="T0" y="T1"/>
              </a:cxn>
              <a:cxn ang="0">
                <a:pos x="T2" y="T3"/>
              </a:cxn>
              <a:cxn ang="0">
                <a:pos x="T4" y="T5"/>
              </a:cxn>
            </a:cxnLst>
            <a:rect l="0" t="0" r="r" b="b"/>
            <a:pathLst>
              <a:path w="35" h="37">
                <a:moveTo>
                  <a:pt x="0" y="26"/>
                </a:moveTo>
                <a:cubicBezTo>
                  <a:pt x="0" y="26"/>
                  <a:pt x="8" y="0"/>
                  <a:pt x="35" y="4"/>
                </a:cubicBezTo>
                <a:cubicBezTo>
                  <a:pt x="35" y="4"/>
                  <a:pt x="34" y="37"/>
                  <a:pt x="0" y="26"/>
                </a:cubicBezTo>
                <a:close/>
              </a:path>
            </a:pathLst>
          </a:custGeom>
          <a:solidFill>
            <a:srgbClr val="72A4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56" name="Freeform 431">
            <a:extLst>
              <a:ext uri="{FF2B5EF4-FFF2-40B4-BE49-F238E27FC236}">
                <a16:creationId xmlns:a16="http://schemas.microsoft.com/office/drawing/2014/main" id="{24C4548A-4204-4A43-8414-59E1856128E5}"/>
              </a:ext>
            </a:extLst>
          </p:cNvPr>
          <p:cNvSpPr>
            <a:spLocks/>
          </p:cNvSpPr>
          <p:nvPr/>
        </p:nvSpPr>
        <p:spPr bwMode="auto">
          <a:xfrm>
            <a:off x="9321894" y="5426207"/>
            <a:ext cx="144509" cy="153403"/>
          </a:xfrm>
          <a:custGeom>
            <a:avLst/>
            <a:gdLst>
              <a:gd name="T0" fmla="*/ 0 w 28"/>
              <a:gd name="T1" fmla="*/ 19 h 30"/>
              <a:gd name="T2" fmla="*/ 28 w 28"/>
              <a:gd name="T3" fmla="*/ 7 h 30"/>
              <a:gd name="T4" fmla="*/ 0 w 28"/>
              <a:gd name="T5" fmla="*/ 19 h 30"/>
            </a:gdLst>
            <a:ahLst/>
            <a:cxnLst>
              <a:cxn ang="0">
                <a:pos x="T0" y="T1"/>
              </a:cxn>
              <a:cxn ang="0">
                <a:pos x="T2" y="T3"/>
              </a:cxn>
              <a:cxn ang="0">
                <a:pos x="T4" y="T5"/>
              </a:cxn>
            </a:cxnLst>
            <a:rect l="0" t="0" r="r" b="b"/>
            <a:pathLst>
              <a:path w="28" h="30">
                <a:moveTo>
                  <a:pt x="0" y="19"/>
                </a:moveTo>
                <a:cubicBezTo>
                  <a:pt x="0" y="19"/>
                  <a:pt x="9" y="0"/>
                  <a:pt x="28" y="7"/>
                </a:cubicBezTo>
                <a:cubicBezTo>
                  <a:pt x="28" y="7"/>
                  <a:pt x="23" y="30"/>
                  <a:pt x="0" y="19"/>
                </a:cubicBezTo>
                <a:close/>
              </a:path>
            </a:pathLst>
          </a:custGeom>
          <a:solidFill>
            <a:srgbClr val="72A4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57" name="Freeform 432">
            <a:extLst>
              <a:ext uri="{FF2B5EF4-FFF2-40B4-BE49-F238E27FC236}">
                <a16:creationId xmlns:a16="http://schemas.microsoft.com/office/drawing/2014/main" id="{B3AB3724-0525-4B6E-A4C2-E084454DC29E}"/>
              </a:ext>
            </a:extLst>
          </p:cNvPr>
          <p:cNvSpPr>
            <a:spLocks/>
          </p:cNvSpPr>
          <p:nvPr/>
        </p:nvSpPr>
        <p:spPr bwMode="auto">
          <a:xfrm>
            <a:off x="9139590" y="5564047"/>
            <a:ext cx="177858" cy="195643"/>
          </a:xfrm>
          <a:custGeom>
            <a:avLst/>
            <a:gdLst>
              <a:gd name="T0" fmla="*/ 35 w 35"/>
              <a:gd name="T1" fmla="*/ 24 h 38"/>
              <a:gd name="T2" fmla="*/ 0 w 35"/>
              <a:gd name="T3" fmla="*/ 6 h 38"/>
              <a:gd name="T4" fmla="*/ 35 w 35"/>
              <a:gd name="T5" fmla="*/ 24 h 38"/>
            </a:gdLst>
            <a:ahLst/>
            <a:cxnLst>
              <a:cxn ang="0">
                <a:pos x="T0" y="T1"/>
              </a:cxn>
              <a:cxn ang="0">
                <a:pos x="T2" y="T3"/>
              </a:cxn>
              <a:cxn ang="0">
                <a:pos x="T4" y="T5"/>
              </a:cxn>
            </a:cxnLst>
            <a:rect l="0" t="0" r="r" b="b"/>
            <a:pathLst>
              <a:path w="35" h="38">
                <a:moveTo>
                  <a:pt x="35" y="24"/>
                </a:moveTo>
                <a:cubicBezTo>
                  <a:pt x="35" y="24"/>
                  <a:pt x="22" y="0"/>
                  <a:pt x="0" y="6"/>
                </a:cubicBezTo>
                <a:cubicBezTo>
                  <a:pt x="0" y="6"/>
                  <a:pt x="8" y="38"/>
                  <a:pt x="35" y="24"/>
                </a:cubicBezTo>
                <a:close/>
              </a:path>
            </a:pathLst>
          </a:custGeom>
          <a:solidFill>
            <a:srgbClr val="72A4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58" name="Freeform 433">
            <a:extLst>
              <a:ext uri="{FF2B5EF4-FFF2-40B4-BE49-F238E27FC236}">
                <a16:creationId xmlns:a16="http://schemas.microsoft.com/office/drawing/2014/main" id="{B1BFB268-EAC3-4A01-BFC7-A04C4AD329FD}"/>
              </a:ext>
            </a:extLst>
          </p:cNvPr>
          <p:cNvSpPr>
            <a:spLocks/>
          </p:cNvSpPr>
          <p:nvPr/>
        </p:nvSpPr>
        <p:spPr bwMode="auto">
          <a:xfrm>
            <a:off x="9250751" y="5348395"/>
            <a:ext cx="106715" cy="113385"/>
          </a:xfrm>
          <a:custGeom>
            <a:avLst/>
            <a:gdLst>
              <a:gd name="T0" fmla="*/ 21 w 21"/>
              <a:gd name="T1" fmla="*/ 19 h 22"/>
              <a:gd name="T2" fmla="*/ 2 w 21"/>
              <a:gd name="T3" fmla="*/ 0 h 22"/>
              <a:gd name="T4" fmla="*/ 21 w 21"/>
              <a:gd name="T5" fmla="*/ 19 h 22"/>
            </a:gdLst>
            <a:ahLst/>
            <a:cxnLst>
              <a:cxn ang="0">
                <a:pos x="T0" y="T1"/>
              </a:cxn>
              <a:cxn ang="0">
                <a:pos x="T2" y="T3"/>
              </a:cxn>
              <a:cxn ang="0">
                <a:pos x="T4" y="T5"/>
              </a:cxn>
            </a:cxnLst>
            <a:rect l="0" t="0" r="r" b="b"/>
            <a:pathLst>
              <a:path w="21" h="22">
                <a:moveTo>
                  <a:pt x="21" y="19"/>
                </a:moveTo>
                <a:cubicBezTo>
                  <a:pt x="21" y="19"/>
                  <a:pt x="18" y="0"/>
                  <a:pt x="2" y="0"/>
                </a:cubicBezTo>
                <a:cubicBezTo>
                  <a:pt x="2" y="0"/>
                  <a:pt x="0" y="22"/>
                  <a:pt x="21" y="19"/>
                </a:cubicBezTo>
                <a:close/>
              </a:path>
            </a:pathLst>
          </a:custGeom>
          <a:solidFill>
            <a:srgbClr val="72A4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59" name="Freeform 434">
            <a:extLst>
              <a:ext uri="{FF2B5EF4-FFF2-40B4-BE49-F238E27FC236}">
                <a16:creationId xmlns:a16="http://schemas.microsoft.com/office/drawing/2014/main" id="{31A160E7-99AB-42C9-AB99-039F6F927993}"/>
              </a:ext>
            </a:extLst>
          </p:cNvPr>
          <p:cNvSpPr>
            <a:spLocks/>
          </p:cNvSpPr>
          <p:nvPr/>
        </p:nvSpPr>
        <p:spPr bwMode="auto">
          <a:xfrm>
            <a:off x="9470850" y="5497350"/>
            <a:ext cx="411295" cy="442421"/>
          </a:xfrm>
          <a:custGeom>
            <a:avLst/>
            <a:gdLst>
              <a:gd name="T0" fmla="*/ 72 w 81"/>
              <a:gd name="T1" fmla="*/ 86 h 86"/>
              <a:gd name="T2" fmla="*/ 58 w 81"/>
              <a:gd name="T3" fmla="*/ 34 h 86"/>
              <a:gd name="T4" fmla="*/ 0 w 81"/>
              <a:gd name="T5" fmla="*/ 9 h 86"/>
              <a:gd name="T6" fmla="*/ 33 w 81"/>
              <a:gd name="T7" fmla="*/ 56 h 86"/>
              <a:gd name="T8" fmla="*/ 72 w 81"/>
              <a:gd name="T9" fmla="*/ 86 h 86"/>
            </a:gdLst>
            <a:ahLst/>
            <a:cxnLst>
              <a:cxn ang="0">
                <a:pos x="T0" y="T1"/>
              </a:cxn>
              <a:cxn ang="0">
                <a:pos x="T2" y="T3"/>
              </a:cxn>
              <a:cxn ang="0">
                <a:pos x="T4" y="T5"/>
              </a:cxn>
              <a:cxn ang="0">
                <a:pos x="T6" y="T7"/>
              </a:cxn>
              <a:cxn ang="0">
                <a:pos x="T8" y="T9"/>
              </a:cxn>
            </a:cxnLst>
            <a:rect l="0" t="0" r="r" b="b"/>
            <a:pathLst>
              <a:path w="81" h="86">
                <a:moveTo>
                  <a:pt x="72" y="86"/>
                </a:moveTo>
                <a:cubicBezTo>
                  <a:pt x="72" y="86"/>
                  <a:pt x="81" y="67"/>
                  <a:pt x="58" y="34"/>
                </a:cubicBezTo>
                <a:cubicBezTo>
                  <a:pt x="35" y="0"/>
                  <a:pt x="0" y="9"/>
                  <a:pt x="0" y="9"/>
                </a:cubicBezTo>
                <a:cubicBezTo>
                  <a:pt x="0" y="9"/>
                  <a:pt x="12" y="41"/>
                  <a:pt x="33" y="56"/>
                </a:cubicBezTo>
                <a:cubicBezTo>
                  <a:pt x="54" y="72"/>
                  <a:pt x="67" y="73"/>
                  <a:pt x="72" y="86"/>
                </a:cubicBezTo>
                <a:close/>
              </a:path>
            </a:pathLst>
          </a:custGeom>
          <a:solidFill>
            <a:srgbClr val="8DC6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60" name="Freeform 435">
            <a:extLst>
              <a:ext uri="{FF2B5EF4-FFF2-40B4-BE49-F238E27FC236}">
                <a16:creationId xmlns:a16="http://schemas.microsoft.com/office/drawing/2014/main" id="{F86900B8-EF8B-4567-B203-A08FCA19226B}"/>
              </a:ext>
            </a:extLst>
          </p:cNvPr>
          <p:cNvSpPr>
            <a:spLocks/>
          </p:cNvSpPr>
          <p:nvPr/>
        </p:nvSpPr>
        <p:spPr bwMode="auto">
          <a:xfrm>
            <a:off x="9802109" y="5564047"/>
            <a:ext cx="349045" cy="375725"/>
          </a:xfrm>
          <a:custGeom>
            <a:avLst/>
            <a:gdLst>
              <a:gd name="T0" fmla="*/ 8 w 69"/>
              <a:gd name="T1" fmla="*/ 73 h 73"/>
              <a:gd name="T2" fmla="*/ 20 w 69"/>
              <a:gd name="T3" fmla="*/ 29 h 73"/>
              <a:gd name="T4" fmla="*/ 69 w 69"/>
              <a:gd name="T5" fmla="*/ 8 h 73"/>
              <a:gd name="T6" fmla="*/ 41 w 69"/>
              <a:gd name="T7" fmla="*/ 48 h 73"/>
              <a:gd name="T8" fmla="*/ 8 w 69"/>
              <a:gd name="T9" fmla="*/ 73 h 73"/>
            </a:gdLst>
            <a:ahLst/>
            <a:cxnLst>
              <a:cxn ang="0">
                <a:pos x="T0" y="T1"/>
              </a:cxn>
              <a:cxn ang="0">
                <a:pos x="T2" y="T3"/>
              </a:cxn>
              <a:cxn ang="0">
                <a:pos x="T4" y="T5"/>
              </a:cxn>
              <a:cxn ang="0">
                <a:pos x="T6" y="T7"/>
              </a:cxn>
              <a:cxn ang="0">
                <a:pos x="T8" y="T9"/>
              </a:cxn>
            </a:cxnLst>
            <a:rect l="0" t="0" r="r" b="b"/>
            <a:pathLst>
              <a:path w="69" h="73">
                <a:moveTo>
                  <a:pt x="8" y="73"/>
                </a:moveTo>
                <a:cubicBezTo>
                  <a:pt x="8" y="73"/>
                  <a:pt x="0" y="57"/>
                  <a:pt x="20" y="29"/>
                </a:cubicBezTo>
                <a:cubicBezTo>
                  <a:pt x="39" y="0"/>
                  <a:pt x="69" y="8"/>
                  <a:pt x="69" y="8"/>
                </a:cubicBezTo>
                <a:cubicBezTo>
                  <a:pt x="69" y="8"/>
                  <a:pt x="58" y="35"/>
                  <a:pt x="41" y="48"/>
                </a:cubicBezTo>
                <a:cubicBezTo>
                  <a:pt x="23" y="61"/>
                  <a:pt x="12" y="62"/>
                  <a:pt x="8" y="73"/>
                </a:cubicBezTo>
                <a:close/>
              </a:path>
            </a:pathLst>
          </a:custGeom>
          <a:solidFill>
            <a:srgbClr val="72A4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61" name="Freeform 436">
            <a:extLst>
              <a:ext uri="{FF2B5EF4-FFF2-40B4-BE49-F238E27FC236}">
                <a16:creationId xmlns:a16="http://schemas.microsoft.com/office/drawing/2014/main" id="{EF1A440D-3CCB-4E75-9965-A58D568891F3}"/>
              </a:ext>
            </a:extLst>
          </p:cNvPr>
          <p:cNvSpPr>
            <a:spLocks/>
          </p:cNvSpPr>
          <p:nvPr/>
        </p:nvSpPr>
        <p:spPr bwMode="auto">
          <a:xfrm>
            <a:off x="10509093" y="5497350"/>
            <a:ext cx="411295" cy="442421"/>
          </a:xfrm>
          <a:custGeom>
            <a:avLst/>
            <a:gdLst>
              <a:gd name="T0" fmla="*/ 72 w 81"/>
              <a:gd name="T1" fmla="*/ 86 h 86"/>
              <a:gd name="T2" fmla="*/ 58 w 81"/>
              <a:gd name="T3" fmla="*/ 34 h 86"/>
              <a:gd name="T4" fmla="*/ 0 w 81"/>
              <a:gd name="T5" fmla="*/ 9 h 86"/>
              <a:gd name="T6" fmla="*/ 33 w 81"/>
              <a:gd name="T7" fmla="*/ 56 h 86"/>
              <a:gd name="T8" fmla="*/ 72 w 81"/>
              <a:gd name="T9" fmla="*/ 86 h 86"/>
            </a:gdLst>
            <a:ahLst/>
            <a:cxnLst>
              <a:cxn ang="0">
                <a:pos x="T0" y="T1"/>
              </a:cxn>
              <a:cxn ang="0">
                <a:pos x="T2" y="T3"/>
              </a:cxn>
              <a:cxn ang="0">
                <a:pos x="T4" y="T5"/>
              </a:cxn>
              <a:cxn ang="0">
                <a:pos x="T6" y="T7"/>
              </a:cxn>
              <a:cxn ang="0">
                <a:pos x="T8" y="T9"/>
              </a:cxn>
            </a:cxnLst>
            <a:rect l="0" t="0" r="r" b="b"/>
            <a:pathLst>
              <a:path w="81" h="86">
                <a:moveTo>
                  <a:pt x="72" y="86"/>
                </a:moveTo>
                <a:cubicBezTo>
                  <a:pt x="72" y="86"/>
                  <a:pt x="81" y="67"/>
                  <a:pt x="58" y="34"/>
                </a:cubicBezTo>
                <a:cubicBezTo>
                  <a:pt x="35" y="0"/>
                  <a:pt x="0" y="9"/>
                  <a:pt x="0" y="9"/>
                </a:cubicBezTo>
                <a:cubicBezTo>
                  <a:pt x="0" y="9"/>
                  <a:pt x="12" y="41"/>
                  <a:pt x="33" y="56"/>
                </a:cubicBezTo>
                <a:cubicBezTo>
                  <a:pt x="54" y="72"/>
                  <a:pt x="67" y="73"/>
                  <a:pt x="72" y="86"/>
                </a:cubicBezTo>
                <a:close/>
              </a:path>
            </a:pathLst>
          </a:custGeom>
          <a:solidFill>
            <a:srgbClr val="8DC6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62" name="Freeform 437">
            <a:extLst>
              <a:ext uri="{FF2B5EF4-FFF2-40B4-BE49-F238E27FC236}">
                <a16:creationId xmlns:a16="http://schemas.microsoft.com/office/drawing/2014/main" id="{0D235322-228F-4D28-B573-584E234F2637}"/>
              </a:ext>
            </a:extLst>
          </p:cNvPr>
          <p:cNvSpPr>
            <a:spLocks/>
          </p:cNvSpPr>
          <p:nvPr/>
        </p:nvSpPr>
        <p:spPr bwMode="auto">
          <a:xfrm>
            <a:off x="10838129" y="5564047"/>
            <a:ext cx="351269" cy="375725"/>
          </a:xfrm>
          <a:custGeom>
            <a:avLst/>
            <a:gdLst>
              <a:gd name="T0" fmla="*/ 8 w 69"/>
              <a:gd name="T1" fmla="*/ 73 h 73"/>
              <a:gd name="T2" fmla="*/ 20 w 69"/>
              <a:gd name="T3" fmla="*/ 29 h 73"/>
              <a:gd name="T4" fmla="*/ 69 w 69"/>
              <a:gd name="T5" fmla="*/ 8 h 73"/>
              <a:gd name="T6" fmla="*/ 41 w 69"/>
              <a:gd name="T7" fmla="*/ 48 h 73"/>
              <a:gd name="T8" fmla="*/ 8 w 69"/>
              <a:gd name="T9" fmla="*/ 73 h 73"/>
            </a:gdLst>
            <a:ahLst/>
            <a:cxnLst>
              <a:cxn ang="0">
                <a:pos x="T0" y="T1"/>
              </a:cxn>
              <a:cxn ang="0">
                <a:pos x="T2" y="T3"/>
              </a:cxn>
              <a:cxn ang="0">
                <a:pos x="T4" y="T5"/>
              </a:cxn>
              <a:cxn ang="0">
                <a:pos x="T6" y="T7"/>
              </a:cxn>
              <a:cxn ang="0">
                <a:pos x="T8" y="T9"/>
              </a:cxn>
            </a:cxnLst>
            <a:rect l="0" t="0" r="r" b="b"/>
            <a:pathLst>
              <a:path w="69" h="73">
                <a:moveTo>
                  <a:pt x="8" y="73"/>
                </a:moveTo>
                <a:cubicBezTo>
                  <a:pt x="8" y="73"/>
                  <a:pt x="0" y="57"/>
                  <a:pt x="20" y="29"/>
                </a:cubicBezTo>
                <a:cubicBezTo>
                  <a:pt x="39" y="0"/>
                  <a:pt x="69" y="8"/>
                  <a:pt x="69" y="8"/>
                </a:cubicBezTo>
                <a:cubicBezTo>
                  <a:pt x="69" y="8"/>
                  <a:pt x="58" y="35"/>
                  <a:pt x="41" y="48"/>
                </a:cubicBezTo>
                <a:cubicBezTo>
                  <a:pt x="23" y="61"/>
                  <a:pt x="12" y="62"/>
                  <a:pt x="8" y="73"/>
                </a:cubicBezTo>
                <a:close/>
              </a:path>
            </a:pathLst>
          </a:custGeom>
          <a:solidFill>
            <a:srgbClr val="72A4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63" name="Freeform 438">
            <a:extLst>
              <a:ext uri="{FF2B5EF4-FFF2-40B4-BE49-F238E27FC236}">
                <a16:creationId xmlns:a16="http://schemas.microsoft.com/office/drawing/2014/main" id="{78488F7E-A1CD-4B50-9EDB-FA7DED97A326}"/>
              </a:ext>
            </a:extLst>
          </p:cNvPr>
          <p:cNvSpPr>
            <a:spLocks/>
          </p:cNvSpPr>
          <p:nvPr/>
        </p:nvSpPr>
        <p:spPr bwMode="auto">
          <a:xfrm>
            <a:off x="11280551" y="5379520"/>
            <a:ext cx="153401" cy="580261"/>
          </a:xfrm>
          <a:custGeom>
            <a:avLst/>
            <a:gdLst>
              <a:gd name="T0" fmla="*/ 0 w 30"/>
              <a:gd name="T1" fmla="*/ 113 h 113"/>
              <a:gd name="T2" fmla="*/ 11 w 30"/>
              <a:gd name="T3" fmla="*/ 65 h 113"/>
              <a:gd name="T4" fmla="*/ 30 w 30"/>
              <a:gd name="T5" fmla="*/ 0 h 113"/>
              <a:gd name="T6" fmla="*/ 17 w 30"/>
              <a:gd name="T7" fmla="*/ 56 h 113"/>
              <a:gd name="T8" fmla="*/ 19 w 30"/>
              <a:gd name="T9" fmla="*/ 113 h 113"/>
              <a:gd name="T10" fmla="*/ 0 w 30"/>
              <a:gd name="T11" fmla="*/ 113 h 113"/>
            </a:gdLst>
            <a:ahLst/>
            <a:cxnLst>
              <a:cxn ang="0">
                <a:pos x="T0" y="T1"/>
              </a:cxn>
              <a:cxn ang="0">
                <a:pos x="T2" y="T3"/>
              </a:cxn>
              <a:cxn ang="0">
                <a:pos x="T4" y="T5"/>
              </a:cxn>
              <a:cxn ang="0">
                <a:pos x="T6" y="T7"/>
              </a:cxn>
              <a:cxn ang="0">
                <a:pos x="T8" y="T9"/>
              </a:cxn>
              <a:cxn ang="0">
                <a:pos x="T10" y="T11"/>
              </a:cxn>
            </a:cxnLst>
            <a:rect l="0" t="0" r="r" b="b"/>
            <a:pathLst>
              <a:path w="30" h="113">
                <a:moveTo>
                  <a:pt x="0" y="113"/>
                </a:moveTo>
                <a:cubicBezTo>
                  <a:pt x="0" y="113"/>
                  <a:pt x="18" y="94"/>
                  <a:pt x="11" y="65"/>
                </a:cubicBezTo>
                <a:cubicBezTo>
                  <a:pt x="3" y="35"/>
                  <a:pt x="16" y="11"/>
                  <a:pt x="30" y="0"/>
                </a:cubicBezTo>
                <a:cubicBezTo>
                  <a:pt x="30" y="0"/>
                  <a:pt x="11" y="32"/>
                  <a:pt x="17" y="56"/>
                </a:cubicBezTo>
                <a:cubicBezTo>
                  <a:pt x="23" y="81"/>
                  <a:pt x="26" y="97"/>
                  <a:pt x="19" y="113"/>
                </a:cubicBezTo>
                <a:lnTo>
                  <a:pt x="0" y="113"/>
                </a:lnTo>
                <a:close/>
              </a:path>
            </a:pathLst>
          </a:custGeom>
          <a:solidFill>
            <a:srgbClr val="8DC6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64" name="Freeform 439">
            <a:extLst>
              <a:ext uri="{FF2B5EF4-FFF2-40B4-BE49-F238E27FC236}">
                <a16:creationId xmlns:a16="http://schemas.microsoft.com/office/drawing/2014/main" id="{8D3B8EA5-68AE-413B-9D91-95BFBC326A92}"/>
              </a:ext>
            </a:extLst>
          </p:cNvPr>
          <p:cNvSpPr>
            <a:spLocks/>
          </p:cNvSpPr>
          <p:nvPr/>
        </p:nvSpPr>
        <p:spPr bwMode="auto">
          <a:xfrm>
            <a:off x="11358363" y="5646306"/>
            <a:ext cx="177858" cy="191197"/>
          </a:xfrm>
          <a:custGeom>
            <a:avLst/>
            <a:gdLst>
              <a:gd name="T0" fmla="*/ 0 w 35"/>
              <a:gd name="T1" fmla="*/ 26 h 37"/>
              <a:gd name="T2" fmla="*/ 35 w 35"/>
              <a:gd name="T3" fmla="*/ 4 h 37"/>
              <a:gd name="T4" fmla="*/ 0 w 35"/>
              <a:gd name="T5" fmla="*/ 26 h 37"/>
            </a:gdLst>
            <a:ahLst/>
            <a:cxnLst>
              <a:cxn ang="0">
                <a:pos x="T0" y="T1"/>
              </a:cxn>
              <a:cxn ang="0">
                <a:pos x="T2" y="T3"/>
              </a:cxn>
              <a:cxn ang="0">
                <a:pos x="T4" y="T5"/>
              </a:cxn>
            </a:cxnLst>
            <a:rect l="0" t="0" r="r" b="b"/>
            <a:pathLst>
              <a:path w="35" h="37">
                <a:moveTo>
                  <a:pt x="0" y="26"/>
                </a:moveTo>
                <a:cubicBezTo>
                  <a:pt x="0" y="26"/>
                  <a:pt x="8" y="0"/>
                  <a:pt x="35" y="4"/>
                </a:cubicBezTo>
                <a:cubicBezTo>
                  <a:pt x="35" y="4"/>
                  <a:pt x="34" y="37"/>
                  <a:pt x="0" y="26"/>
                </a:cubicBezTo>
                <a:close/>
              </a:path>
            </a:pathLst>
          </a:custGeom>
          <a:solidFill>
            <a:srgbClr val="72A4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65" name="Freeform 440">
            <a:extLst>
              <a:ext uri="{FF2B5EF4-FFF2-40B4-BE49-F238E27FC236}">
                <a16:creationId xmlns:a16="http://schemas.microsoft.com/office/drawing/2014/main" id="{32DF690D-1A95-4C5D-9CD1-2005CD9F55AC}"/>
              </a:ext>
            </a:extLst>
          </p:cNvPr>
          <p:cNvSpPr>
            <a:spLocks/>
          </p:cNvSpPr>
          <p:nvPr/>
        </p:nvSpPr>
        <p:spPr bwMode="auto">
          <a:xfrm>
            <a:off x="11358363" y="5426207"/>
            <a:ext cx="142286" cy="153403"/>
          </a:xfrm>
          <a:custGeom>
            <a:avLst/>
            <a:gdLst>
              <a:gd name="T0" fmla="*/ 0 w 28"/>
              <a:gd name="T1" fmla="*/ 19 h 30"/>
              <a:gd name="T2" fmla="*/ 28 w 28"/>
              <a:gd name="T3" fmla="*/ 7 h 30"/>
              <a:gd name="T4" fmla="*/ 0 w 28"/>
              <a:gd name="T5" fmla="*/ 19 h 30"/>
            </a:gdLst>
            <a:ahLst/>
            <a:cxnLst>
              <a:cxn ang="0">
                <a:pos x="T0" y="T1"/>
              </a:cxn>
              <a:cxn ang="0">
                <a:pos x="T2" y="T3"/>
              </a:cxn>
              <a:cxn ang="0">
                <a:pos x="T4" y="T5"/>
              </a:cxn>
            </a:cxnLst>
            <a:rect l="0" t="0" r="r" b="b"/>
            <a:pathLst>
              <a:path w="28" h="30">
                <a:moveTo>
                  <a:pt x="0" y="19"/>
                </a:moveTo>
                <a:cubicBezTo>
                  <a:pt x="0" y="19"/>
                  <a:pt x="9" y="0"/>
                  <a:pt x="28" y="7"/>
                </a:cubicBezTo>
                <a:cubicBezTo>
                  <a:pt x="28" y="7"/>
                  <a:pt x="23" y="30"/>
                  <a:pt x="0" y="19"/>
                </a:cubicBezTo>
                <a:close/>
              </a:path>
            </a:pathLst>
          </a:custGeom>
          <a:solidFill>
            <a:srgbClr val="72A4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66" name="Freeform 441">
            <a:extLst>
              <a:ext uri="{FF2B5EF4-FFF2-40B4-BE49-F238E27FC236}">
                <a16:creationId xmlns:a16="http://schemas.microsoft.com/office/drawing/2014/main" id="{926F0EA3-CE1D-4FAC-82DD-4302120B1D96}"/>
              </a:ext>
            </a:extLst>
          </p:cNvPr>
          <p:cNvSpPr>
            <a:spLocks/>
          </p:cNvSpPr>
          <p:nvPr/>
        </p:nvSpPr>
        <p:spPr bwMode="auto">
          <a:xfrm>
            <a:off x="11173836" y="5564047"/>
            <a:ext cx="177858" cy="195643"/>
          </a:xfrm>
          <a:custGeom>
            <a:avLst/>
            <a:gdLst>
              <a:gd name="T0" fmla="*/ 35 w 35"/>
              <a:gd name="T1" fmla="*/ 24 h 38"/>
              <a:gd name="T2" fmla="*/ 0 w 35"/>
              <a:gd name="T3" fmla="*/ 6 h 38"/>
              <a:gd name="T4" fmla="*/ 35 w 35"/>
              <a:gd name="T5" fmla="*/ 24 h 38"/>
            </a:gdLst>
            <a:ahLst/>
            <a:cxnLst>
              <a:cxn ang="0">
                <a:pos x="T0" y="T1"/>
              </a:cxn>
              <a:cxn ang="0">
                <a:pos x="T2" y="T3"/>
              </a:cxn>
              <a:cxn ang="0">
                <a:pos x="T4" y="T5"/>
              </a:cxn>
            </a:cxnLst>
            <a:rect l="0" t="0" r="r" b="b"/>
            <a:pathLst>
              <a:path w="35" h="38">
                <a:moveTo>
                  <a:pt x="35" y="24"/>
                </a:moveTo>
                <a:cubicBezTo>
                  <a:pt x="35" y="24"/>
                  <a:pt x="22" y="0"/>
                  <a:pt x="0" y="6"/>
                </a:cubicBezTo>
                <a:cubicBezTo>
                  <a:pt x="0" y="6"/>
                  <a:pt x="8" y="38"/>
                  <a:pt x="35" y="24"/>
                </a:cubicBezTo>
                <a:close/>
              </a:path>
            </a:pathLst>
          </a:custGeom>
          <a:solidFill>
            <a:srgbClr val="72A4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67" name="Freeform 442">
            <a:extLst>
              <a:ext uri="{FF2B5EF4-FFF2-40B4-BE49-F238E27FC236}">
                <a16:creationId xmlns:a16="http://schemas.microsoft.com/office/drawing/2014/main" id="{E1736B55-36B3-4FBA-971E-98E16BF03440}"/>
              </a:ext>
            </a:extLst>
          </p:cNvPr>
          <p:cNvSpPr>
            <a:spLocks/>
          </p:cNvSpPr>
          <p:nvPr/>
        </p:nvSpPr>
        <p:spPr bwMode="auto">
          <a:xfrm>
            <a:off x="11287220" y="5348395"/>
            <a:ext cx="106715" cy="113385"/>
          </a:xfrm>
          <a:custGeom>
            <a:avLst/>
            <a:gdLst>
              <a:gd name="T0" fmla="*/ 21 w 21"/>
              <a:gd name="T1" fmla="*/ 19 h 22"/>
              <a:gd name="T2" fmla="*/ 2 w 21"/>
              <a:gd name="T3" fmla="*/ 0 h 22"/>
              <a:gd name="T4" fmla="*/ 21 w 21"/>
              <a:gd name="T5" fmla="*/ 19 h 22"/>
            </a:gdLst>
            <a:ahLst/>
            <a:cxnLst>
              <a:cxn ang="0">
                <a:pos x="T0" y="T1"/>
              </a:cxn>
              <a:cxn ang="0">
                <a:pos x="T2" y="T3"/>
              </a:cxn>
              <a:cxn ang="0">
                <a:pos x="T4" y="T5"/>
              </a:cxn>
            </a:cxnLst>
            <a:rect l="0" t="0" r="r" b="b"/>
            <a:pathLst>
              <a:path w="21" h="22">
                <a:moveTo>
                  <a:pt x="21" y="19"/>
                </a:moveTo>
                <a:cubicBezTo>
                  <a:pt x="21" y="19"/>
                  <a:pt x="18" y="0"/>
                  <a:pt x="2" y="0"/>
                </a:cubicBezTo>
                <a:cubicBezTo>
                  <a:pt x="2" y="0"/>
                  <a:pt x="0" y="22"/>
                  <a:pt x="21" y="19"/>
                </a:cubicBezTo>
                <a:close/>
              </a:path>
            </a:pathLst>
          </a:custGeom>
          <a:solidFill>
            <a:srgbClr val="72A4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68" name="Freeform 443">
            <a:extLst>
              <a:ext uri="{FF2B5EF4-FFF2-40B4-BE49-F238E27FC236}">
                <a16:creationId xmlns:a16="http://schemas.microsoft.com/office/drawing/2014/main" id="{117E120D-BA28-4AE6-A9E7-75B5132C2E30}"/>
              </a:ext>
            </a:extLst>
          </p:cNvPr>
          <p:cNvSpPr>
            <a:spLocks/>
          </p:cNvSpPr>
          <p:nvPr/>
        </p:nvSpPr>
        <p:spPr bwMode="auto">
          <a:xfrm>
            <a:off x="10288995" y="5379520"/>
            <a:ext cx="153401" cy="580261"/>
          </a:xfrm>
          <a:custGeom>
            <a:avLst/>
            <a:gdLst>
              <a:gd name="T0" fmla="*/ 0 w 30"/>
              <a:gd name="T1" fmla="*/ 113 h 113"/>
              <a:gd name="T2" fmla="*/ 11 w 30"/>
              <a:gd name="T3" fmla="*/ 65 h 113"/>
              <a:gd name="T4" fmla="*/ 30 w 30"/>
              <a:gd name="T5" fmla="*/ 0 h 113"/>
              <a:gd name="T6" fmla="*/ 17 w 30"/>
              <a:gd name="T7" fmla="*/ 56 h 113"/>
              <a:gd name="T8" fmla="*/ 19 w 30"/>
              <a:gd name="T9" fmla="*/ 113 h 113"/>
              <a:gd name="T10" fmla="*/ 0 w 30"/>
              <a:gd name="T11" fmla="*/ 113 h 113"/>
            </a:gdLst>
            <a:ahLst/>
            <a:cxnLst>
              <a:cxn ang="0">
                <a:pos x="T0" y="T1"/>
              </a:cxn>
              <a:cxn ang="0">
                <a:pos x="T2" y="T3"/>
              </a:cxn>
              <a:cxn ang="0">
                <a:pos x="T4" y="T5"/>
              </a:cxn>
              <a:cxn ang="0">
                <a:pos x="T6" y="T7"/>
              </a:cxn>
              <a:cxn ang="0">
                <a:pos x="T8" y="T9"/>
              </a:cxn>
              <a:cxn ang="0">
                <a:pos x="T10" y="T11"/>
              </a:cxn>
            </a:cxnLst>
            <a:rect l="0" t="0" r="r" b="b"/>
            <a:pathLst>
              <a:path w="30" h="113">
                <a:moveTo>
                  <a:pt x="0" y="113"/>
                </a:moveTo>
                <a:cubicBezTo>
                  <a:pt x="0" y="113"/>
                  <a:pt x="18" y="94"/>
                  <a:pt x="11" y="65"/>
                </a:cubicBezTo>
                <a:cubicBezTo>
                  <a:pt x="3" y="35"/>
                  <a:pt x="16" y="11"/>
                  <a:pt x="30" y="0"/>
                </a:cubicBezTo>
                <a:cubicBezTo>
                  <a:pt x="30" y="0"/>
                  <a:pt x="11" y="32"/>
                  <a:pt x="17" y="56"/>
                </a:cubicBezTo>
                <a:cubicBezTo>
                  <a:pt x="23" y="81"/>
                  <a:pt x="26" y="97"/>
                  <a:pt x="19" y="113"/>
                </a:cubicBezTo>
                <a:lnTo>
                  <a:pt x="0" y="113"/>
                </a:lnTo>
                <a:close/>
              </a:path>
            </a:pathLst>
          </a:custGeom>
          <a:solidFill>
            <a:srgbClr val="8DC6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69" name="Freeform 444">
            <a:extLst>
              <a:ext uri="{FF2B5EF4-FFF2-40B4-BE49-F238E27FC236}">
                <a16:creationId xmlns:a16="http://schemas.microsoft.com/office/drawing/2014/main" id="{850F25C8-E5F3-435B-8E6D-7F0C82E20309}"/>
              </a:ext>
            </a:extLst>
          </p:cNvPr>
          <p:cNvSpPr>
            <a:spLocks/>
          </p:cNvSpPr>
          <p:nvPr/>
        </p:nvSpPr>
        <p:spPr bwMode="auto">
          <a:xfrm>
            <a:off x="10364584" y="5646306"/>
            <a:ext cx="180080" cy="191197"/>
          </a:xfrm>
          <a:custGeom>
            <a:avLst/>
            <a:gdLst>
              <a:gd name="T0" fmla="*/ 0 w 35"/>
              <a:gd name="T1" fmla="*/ 26 h 37"/>
              <a:gd name="T2" fmla="*/ 35 w 35"/>
              <a:gd name="T3" fmla="*/ 4 h 37"/>
              <a:gd name="T4" fmla="*/ 0 w 35"/>
              <a:gd name="T5" fmla="*/ 26 h 37"/>
            </a:gdLst>
            <a:ahLst/>
            <a:cxnLst>
              <a:cxn ang="0">
                <a:pos x="T0" y="T1"/>
              </a:cxn>
              <a:cxn ang="0">
                <a:pos x="T2" y="T3"/>
              </a:cxn>
              <a:cxn ang="0">
                <a:pos x="T4" y="T5"/>
              </a:cxn>
            </a:cxnLst>
            <a:rect l="0" t="0" r="r" b="b"/>
            <a:pathLst>
              <a:path w="35" h="37">
                <a:moveTo>
                  <a:pt x="0" y="26"/>
                </a:moveTo>
                <a:cubicBezTo>
                  <a:pt x="0" y="26"/>
                  <a:pt x="8" y="0"/>
                  <a:pt x="35" y="4"/>
                </a:cubicBezTo>
                <a:cubicBezTo>
                  <a:pt x="35" y="4"/>
                  <a:pt x="34" y="37"/>
                  <a:pt x="0" y="26"/>
                </a:cubicBezTo>
                <a:close/>
              </a:path>
            </a:pathLst>
          </a:custGeom>
          <a:solidFill>
            <a:srgbClr val="72A4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70" name="Freeform 445">
            <a:extLst>
              <a:ext uri="{FF2B5EF4-FFF2-40B4-BE49-F238E27FC236}">
                <a16:creationId xmlns:a16="http://schemas.microsoft.com/office/drawing/2014/main" id="{D1C386D4-BCCE-4355-A5FF-BD7DBDCC3F4B}"/>
              </a:ext>
            </a:extLst>
          </p:cNvPr>
          <p:cNvSpPr>
            <a:spLocks/>
          </p:cNvSpPr>
          <p:nvPr/>
        </p:nvSpPr>
        <p:spPr bwMode="auto">
          <a:xfrm>
            <a:off x="10364584" y="5426207"/>
            <a:ext cx="144509" cy="153403"/>
          </a:xfrm>
          <a:custGeom>
            <a:avLst/>
            <a:gdLst>
              <a:gd name="T0" fmla="*/ 0 w 28"/>
              <a:gd name="T1" fmla="*/ 19 h 30"/>
              <a:gd name="T2" fmla="*/ 28 w 28"/>
              <a:gd name="T3" fmla="*/ 7 h 30"/>
              <a:gd name="T4" fmla="*/ 0 w 28"/>
              <a:gd name="T5" fmla="*/ 19 h 30"/>
            </a:gdLst>
            <a:ahLst/>
            <a:cxnLst>
              <a:cxn ang="0">
                <a:pos x="T0" y="T1"/>
              </a:cxn>
              <a:cxn ang="0">
                <a:pos x="T2" y="T3"/>
              </a:cxn>
              <a:cxn ang="0">
                <a:pos x="T4" y="T5"/>
              </a:cxn>
            </a:cxnLst>
            <a:rect l="0" t="0" r="r" b="b"/>
            <a:pathLst>
              <a:path w="28" h="30">
                <a:moveTo>
                  <a:pt x="0" y="19"/>
                </a:moveTo>
                <a:cubicBezTo>
                  <a:pt x="0" y="19"/>
                  <a:pt x="9" y="0"/>
                  <a:pt x="28" y="7"/>
                </a:cubicBezTo>
                <a:cubicBezTo>
                  <a:pt x="28" y="7"/>
                  <a:pt x="23" y="30"/>
                  <a:pt x="0" y="19"/>
                </a:cubicBezTo>
                <a:close/>
              </a:path>
            </a:pathLst>
          </a:custGeom>
          <a:solidFill>
            <a:srgbClr val="72A4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71" name="Freeform 446">
            <a:extLst>
              <a:ext uri="{FF2B5EF4-FFF2-40B4-BE49-F238E27FC236}">
                <a16:creationId xmlns:a16="http://schemas.microsoft.com/office/drawing/2014/main" id="{6CE0DE8A-BB41-4F7A-AA61-F20E1DABEEC6}"/>
              </a:ext>
            </a:extLst>
          </p:cNvPr>
          <p:cNvSpPr>
            <a:spLocks/>
          </p:cNvSpPr>
          <p:nvPr/>
        </p:nvSpPr>
        <p:spPr bwMode="auto">
          <a:xfrm>
            <a:off x="10182280" y="5564047"/>
            <a:ext cx="177858" cy="195643"/>
          </a:xfrm>
          <a:custGeom>
            <a:avLst/>
            <a:gdLst>
              <a:gd name="T0" fmla="*/ 35 w 35"/>
              <a:gd name="T1" fmla="*/ 24 h 38"/>
              <a:gd name="T2" fmla="*/ 0 w 35"/>
              <a:gd name="T3" fmla="*/ 6 h 38"/>
              <a:gd name="T4" fmla="*/ 35 w 35"/>
              <a:gd name="T5" fmla="*/ 24 h 38"/>
            </a:gdLst>
            <a:ahLst/>
            <a:cxnLst>
              <a:cxn ang="0">
                <a:pos x="T0" y="T1"/>
              </a:cxn>
              <a:cxn ang="0">
                <a:pos x="T2" y="T3"/>
              </a:cxn>
              <a:cxn ang="0">
                <a:pos x="T4" y="T5"/>
              </a:cxn>
            </a:cxnLst>
            <a:rect l="0" t="0" r="r" b="b"/>
            <a:pathLst>
              <a:path w="35" h="38">
                <a:moveTo>
                  <a:pt x="35" y="24"/>
                </a:moveTo>
                <a:cubicBezTo>
                  <a:pt x="35" y="24"/>
                  <a:pt x="22" y="0"/>
                  <a:pt x="0" y="6"/>
                </a:cubicBezTo>
                <a:cubicBezTo>
                  <a:pt x="0" y="6"/>
                  <a:pt x="8" y="38"/>
                  <a:pt x="35" y="24"/>
                </a:cubicBezTo>
                <a:close/>
              </a:path>
            </a:pathLst>
          </a:custGeom>
          <a:solidFill>
            <a:srgbClr val="72A4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72" name="Freeform 447">
            <a:extLst>
              <a:ext uri="{FF2B5EF4-FFF2-40B4-BE49-F238E27FC236}">
                <a16:creationId xmlns:a16="http://schemas.microsoft.com/office/drawing/2014/main" id="{500CA4DC-95B1-434C-A527-5DE6249FBB17}"/>
              </a:ext>
            </a:extLst>
          </p:cNvPr>
          <p:cNvSpPr>
            <a:spLocks/>
          </p:cNvSpPr>
          <p:nvPr/>
        </p:nvSpPr>
        <p:spPr bwMode="auto">
          <a:xfrm>
            <a:off x="10293441" y="5348395"/>
            <a:ext cx="108937" cy="113385"/>
          </a:xfrm>
          <a:custGeom>
            <a:avLst/>
            <a:gdLst>
              <a:gd name="T0" fmla="*/ 21 w 21"/>
              <a:gd name="T1" fmla="*/ 19 h 22"/>
              <a:gd name="T2" fmla="*/ 2 w 21"/>
              <a:gd name="T3" fmla="*/ 0 h 22"/>
              <a:gd name="T4" fmla="*/ 21 w 21"/>
              <a:gd name="T5" fmla="*/ 19 h 22"/>
            </a:gdLst>
            <a:ahLst/>
            <a:cxnLst>
              <a:cxn ang="0">
                <a:pos x="T0" y="T1"/>
              </a:cxn>
              <a:cxn ang="0">
                <a:pos x="T2" y="T3"/>
              </a:cxn>
              <a:cxn ang="0">
                <a:pos x="T4" y="T5"/>
              </a:cxn>
            </a:cxnLst>
            <a:rect l="0" t="0" r="r" b="b"/>
            <a:pathLst>
              <a:path w="21" h="22">
                <a:moveTo>
                  <a:pt x="21" y="19"/>
                </a:moveTo>
                <a:cubicBezTo>
                  <a:pt x="21" y="19"/>
                  <a:pt x="18" y="0"/>
                  <a:pt x="2" y="0"/>
                </a:cubicBezTo>
                <a:cubicBezTo>
                  <a:pt x="2" y="0"/>
                  <a:pt x="0" y="22"/>
                  <a:pt x="21" y="19"/>
                </a:cubicBezTo>
                <a:close/>
              </a:path>
            </a:pathLst>
          </a:custGeom>
          <a:solidFill>
            <a:srgbClr val="72A4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73" name="Freeform 448">
            <a:extLst>
              <a:ext uri="{FF2B5EF4-FFF2-40B4-BE49-F238E27FC236}">
                <a16:creationId xmlns:a16="http://schemas.microsoft.com/office/drawing/2014/main" id="{E0FD17AD-E388-4BBD-99C6-6929C2D46D44}"/>
              </a:ext>
            </a:extLst>
          </p:cNvPr>
          <p:cNvSpPr>
            <a:spLocks/>
          </p:cNvSpPr>
          <p:nvPr/>
        </p:nvSpPr>
        <p:spPr bwMode="auto">
          <a:xfrm>
            <a:off x="11525105" y="5497350"/>
            <a:ext cx="406848" cy="442421"/>
          </a:xfrm>
          <a:custGeom>
            <a:avLst/>
            <a:gdLst>
              <a:gd name="T0" fmla="*/ 71 w 80"/>
              <a:gd name="T1" fmla="*/ 86 h 86"/>
              <a:gd name="T2" fmla="*/ 57 w 80"/>
              <a:gd name="T3" fmla="*/ 34 h 86"/>
              <a:gd name="T4" fmla="*/ 0 w 80"/>
              <a:gd name="T5" fmla="*/ 9 h 86"/>
              <a:gd name="T6" fmla="*/ 32 w 80"/>
              <a:gd name="T7" fmla="*/ 56 h 86"/>
              <a:gd name="T8" fmla="*/ 71 w 80"/>
              <a:gd name="T9" fmla="*/ 86 h 86"/>
            </a:gdLst>
            <a:ahLst/>
            <a:cxnLst>
              <a:cxn ang="0">
                <a:pos x="T0" y="T1"/>
              </a:cxn>
              <a:cxn ang="0">
                <a:pos x="T2" y="T3"/>
              </a:cxn>
              <a:cxn ang="0">
                <a:pos x="T4" y="T5"/>
              </a:cxn>
              <a:cxn ang="0">
                <a:pos x="T6" y="T7"/>
              </a:cxn>
              <a:cxn ang="0">
                <a:pos x="T8" y="T9"/>
              </a:cxn>
            </a:cxnLst>
            <a:rect l="0" t="0" r="r" b="b"/>
            <a:pathLst>
              <a:path w="80" h="86">
                <a:moveTo>
                  <a:pt x="71" y="86"/>
                </a:moveTo>
                <a:cubicBezTo>
                  <a:pt x="71" y="86"/>
                  <a:pt x="80" y="67"/>
                  <a:pt x="57" y="34"/>
                </a:cubicBezTo>
                <a:cubicBezTo>
                  <a:pt x="34" y="0"/>
                  <a:pt x="0" y="9"/>
                  <a:pt x="0" y="9"/>
                </a:cubicBezTo>
                <a:cubicBezTo>
                  <a:pt x="0" y="9"/>
                  <a:pt x="12" y="41"/>
                  <a:pt x="32" y="56"/>
                </a:cubicBezTo>
                <a:cubicBezTo>
                  <a:pt x="53" y="72"/>
                  <a:pt x="67" y="73"/>
                  <a:pt x="71" y="86"/>
                </a:cubicBezTo>
                <a:close/>
              </a:path>
            </a:pathLst>
          </a:custGeom>
          <a:solidFill>
            <a:srgbClr val="8DC6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74" name="Freeform 449">
            <a:extLst>
              <a:ext uri="{FF2B5EF4-FFF2-40B4-BE49-F238E27FC236}">
                <a16:creationId xmlns:a16="http://schemas.microsoft.com/office/drawing/2014/main" id="{F8161461-6A89-4588-9231-000A40449640}"/>
              </a:ext>
            </a:extLst>
          </p:cNvPr>
          <p:cNvSpPr>
            <a:spLocks/>
          </p:cNvSpPr>
          <p:nvPr/>
        </p:nvSpPr>
        <p:spPr bwMode="auto">
          <a:xfrm>
            <a:off x="11856364" y="5564047"/>
            <a:ext cx="344598" cy="375725"/>
          </a:xfrm>
          <a:custGeom>
            <a:avLst/>
            <a:gdLst>
              <a:gd name="T0" fmla="*/ 8 w 68"/>
              <a:gd name="T1" fmla="*/ 73 h 73"/>
              <a:gd name="T2" fmla="*/ 19 w 68"/>
              <a:gd name="T3" fmla="*/ 29 h 73"/>
              <a:gd name="T4" fmla="*/ 68 w 68"/>
              <a:gd name="T5" fmla="*/ 8 h 73"/>
              <a:gd name="T6" fmla="*/ 40 w 68"/>
              <a:gd name="T7" fmla="*/ 48 h 73"/>
              <a:gd name="T8" fmla="*/ 8 w 68"/>
              <a:gd name="T9" fmla="*/ 73 h 73"/>
            </a:gdLst>
            <a:ahLst/>
            <a:cxnLst>
              <a:cxn ang="0">
                <a:pos x="T0" y="T1"/>
              </a:cxn>
              <a:cxn ang="0">
                <a:pos x="T2" y="T3"/>
              </a:cxn>
              <a:cxn ang="0">
                <a:pos x="T4" y="T5"/>
              </a:cxn>
              <a:cxn ang="0">
                <a:pos x="T6" y="T7"/>
              </a:cxn>
              <a:cxn ang="0">
                <a:pos x="T8" y="T9"/>
              </a:cxn>
            </a:cxnLst>
            <a:rect l="0" t="0" r="r" b="b"/>
            <a:pathLst>
              <a:path w="68" h="73">
                <a:moveTo>
                  <a:pt x="8" y="73"/>
                </a:moveTo>
                <a:cubicBezTo>
                  <a:pt x="8" y="73"/>
                  <a:pt x="0" y="57"/>
                  <a:pt x="19" y="29"/>
                </a:cubicBezTo>
                <a:cubicBezTo>
                  <a:pt x="39" y="0"/>
                  <a:pt x="68" y="8"/>
                  <a:pt x="68" y="8"/>
                </a:cubicBezTo>
                <a:cubicBezTo>
                  <a:pt x="68" y="8"/>
                  <a:pt x="58" y="35"/>
                  <a:pt x="40" y="48"/>
                </a:cubicBezTo>
                <a:cubicBezTo>
                  <a:pt x="23" y="61"/>
                  <a:pt x="11" y="62"/>
                  <a:pt x="8" y="73"/>
                </a:cubicBezTo>
                <a:close/>
              </a:path>
            </a:pathLst>
          </a:custGeom>
          <a:solidFill>
            <a:srgbClr val="72A4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82" name="Freeform 457">
            <a:extLst>
              <a:ext uri="{FF2B5EF4-FFF2-40B4-BE49-F238E27FC236}">
                <a16:creationId xmlns:a16="http://schemas.microsoft.com/office/drawing/2014/main" id="{59A2CF9D-A438-4239-B156-6EDCC8B06D48}"/>
              </a:ext>
            </a:extLst>
          </p:cNvPr>
          <p:cNvSpPr>
            <a:spLocks/>
          </p:cNvSpPr>
          <p:nvPr/>
        </p:nvSpPr>
        <p:spPr bwMode="auto">
          <a:xfrm>
            <a:off x="-947154" y="5997575"/>
            <a:ext cx="14248610" cy="529126"/>
          </a:xfrm>
          <a:custGeom>
            <a:avLst/>
            <a:gdLst>
              <a:gd name="T0" fmla="*/ 51 w 2801"/>
              <a:gd name="T1" fmla="*/ 0 h 103"/>
              <a:gd name="T2" fmla="*/ 2750 w 2801"/>
              <a:gd name="T3" fmla="*/ 0 h 103"/>
              <a:gd name="T4" fmla="*/ 2801 w 2801"/>
              <a:gd name="T5" fmla="*/ 51 h 103"/>
              <a:gd name="T6" fmla="*/ 2801 w 2801"/>
              <a:gd name="T7" fmla="*/ 51 h 103"/>
              <a:gd name="T8" fmla="*/ 2750 w 2801"/>
              <a:gd name="T9" fmla="*/ 103 h 103"/>
              <a:gd name="T10" fmla="*/ 51 w 2801"/>
              <a:gd name="T11" fmla="*/ 103 h 103"/>
              <a:gd name="T12" fmla="*/ 0 w 2801"/>
              <a:gd name="T13" fmla="*/ 51 h 103"/>
              <a:gd name="T14" fmla="*/ 0 w 2801"/>
              <a:gd name="T15" fmla="*/ 51 h 103"/>
              <a:gd name="T16" fmla="*/ 51 w 2801"/>
              <a:gd name="T17"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01" h="103">
                <a:moveTo>
                  <a:pt x="51" y="0"/>
                </a:moveTo>
                <a:cubicBezTo>
                  <a:pt x="2750" y="0"/>
                  <a:pt x="2750" y="0"/>
                  <a:pt x="2750" y="0"/>
                </a:cubicBezTo>
                <a:cubicBezTo>
                  <a:pt x="2778" y="0"/>
                  <a:pt x="2801" y="23"/>
                  <a:pt x="2801" y="51"/>
                </a:cubicBezTo>
                <a:cubicBezTo>
                  <a:pt x="2801" y="51"/>
                  <a:pt x="2801" y="51"/>
                  <a:pt x="2801" y="51"/>
                </a:cubicBezTo>
                <a:cubicBezTo>
                  <a:pt x="2801" y="80"/>
                  <a:pt x="2778" y="103"/>
                  <a:pt x="2750" y="103"/>
                </a:cubicBezTo>
                <a:cubicBezTo>
                  <a:pt x="51" y="103"/>
                  <a:pt x="51" y="103"/>
                  <a:pt x="51" y="103"/>
                </a:cubicBezTo>
                <a:cubicBezTo>
                  <a:pt x="23" y="103"/>
                  <a:pt x="0" y="80"/>
                  <a:pt x="0" y="51"/>
                </a:cubicBezTo>
                <a:cubicBezTo>
                  <a:pt x="0" y="51"/>
                  <a:pt x="0" y="51"/>
                  <a:pt x="0" y="51"/>
                </a:cubicBezTo>
                <a:cubicBezTo>
                  <a:pt x="0" y="23"/>
                  <a:pt x="23" y="0"/>
                  <a:pt x="51" y="0"/>
                </a:cubicBezTo>
                <a:close/>
              </a:path>
            </a:pathLst>
          </a:custGeom>
          <a:solidFill>
            <a:srgbClr val="966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83" name="Freeform 458">
            <a:extLst>
              <a:ext uri="{FF2B5EF4-FFF2-40B4-BE49-F238E27FC236}">
                <a16:creationId xmlns:a16="http://schemas.microsoft.com/office/drawing/2014/main" id="{555A9163-7E62-411A-A944-1FDE8DDD924C}"/>
              </a:ext>
            </a:extLst>
          </p:cNvPr>
          <p:cNvSpPr>
            <a:spLocks/>
          </p:cNvSpPr>
          <p:nvPr/>
        </p:nvSpPr>
        <p:spPr bwMode="auto">
          <a:xfrm>
            <a:off x="-200152" y="6526701"/>
            <a:ext cx="12752384" cy="391287"/>
          </a:xfrm>
          <a:custGeom>
            <a:avLst/>
            <a:gdLst>
              <a:gd name="T0" fmla="*/ 38 w 2507"/>
              <a:gd name="T1" fmla="*/ 0 h 76"/>
              <a:gd name="T2" fmla="*/ 2469 w 2507"/>
              <a:gd name="T3" fmla="*/ 0 h 76"/>
              <a:gd name="T4" fmla="*/ 2507 w 2507"/>
              <a:gd name="T5" fmla="*/ 38 h 76"/>
              <a:gd name="T6" fmla="*/ 2507 w 2507"/>
              <a:gd name="T7" fmla="*/ 38 h 76"/>
              <a:gd name="T8" fmla="*/ 2469 w 2507"/>
              <a:gd name="T9" fmla="*/ 76 h 76"/>
              <a:gd name="T10" fmla="*/ 38 w 2507"/>
              <a:gd name="T11" fmla="*/ 76 h 76"/>
              <a:gd name="T12" fmla="*/ 0 w 2507"/>
              <a:gd name="T13" fmla="*/ 38 h 76"/>
              <a:gd name="T14" fmla="*/ 0 w 2507"/>
              <a:gd name="T15" fmla="*/ 38 h 76"/>
              <a:gd name="T16" fmla="*/ 38 w 2507"/>
              <a:gd name="T17"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7" h="76">
                <a:moveTo>
                  <a:pt x="38" y="0"/>
                </a:moveTo>
                <a:cubicBezTo>
                  <a:pt x="2469" y="0"/>
                  <a:pt x="2469" y="0"/>
                  <a:pt x="2469" y="0"/>
                </a:cubicBezTo>
                <a:cubicBezTo>
                  <a:pt x="2490" y="0"/>
                  <a:pt x="2507" y="17"/>
                  <a:pt x="2507" y="38"/>
                </a:cubicBezTo>
                <a:cubicBezTo>
                  <a:pt x="2507" y="38"/>
                  <a:pt x="2507" y="38"/>
                  <a:pt x="2507" y="38"/>
                </a:cubicBezTo>
                <a:cubicBezTo>
                  <a:pt x="2507" y="59"/>
                  <a:pt x="2490" y="76"/>
                  <a:pt x="2469" y="76"/>
                </a:cubicBezTo>
                <a:cubicBezTo>
                  <a:pt x="38" y="76"/>
                  <a:pt x="38" y="76"/>
                  <a:pt x="38" y="76"/>
                </a:cubicBezTo>
                <a:cubicBezTo>
                  <a:pt x="17" y="76"/>
                  <a:pt x="0" y="59"/>
                  <a:pt x="0" y="38"/>
                </a:cubicBezTo>
                <a:cubicBezTo>
                  <a:pt x="0" y="38"/>
                  <a:pt x="0" y="38"/>
                  <a:pt x="0" y="38"/>
                </a:cubicBezTo>
                <a:cubicBezTo>
                  <a:pt x="0" y="17"/>
                  <a:pt x="17" y="0"/>
                  <a:pt x="38" y="0"/>
                </a:cubicBezTo>
                <a:close/>
              </a:path>
            </a:pathLst>
          </a:custGeom>
          <a:solidFill>
            <a:srgbClr val="794E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84" name="Freeform 459">
            <a:extLst>
              <a:ext uri="{FF2B5EF4-FFF2-40B4-BE49-F238E27FC236}">
                <a16:creationId xmlns:a16="http://schemas.microsoft.com/office/drawing/2014/main" id="{B0BCF680-2998-4CD5-B99F-4663FAC0F363}"/>
              </a:ext>
            </a:extLst>
          </p:cNvPr>
          <p:cNvSpPr>
            <a:spLocks/>
          </p:cNvSpPr>
          <p:nvPr/>
        </p:nvSpPr>
        <p:spPr bwMode="auto">
          <a:xfrm>
            <a:off x="10106691" y="5904200"/>
            <a:ext cx="513563" cy="324590"/>
          </a:xfrm>
          <a:custGeom>
            <a:avLst/>
            <a:gdLst>
              <a:gd name="T0" fmla="*/ 69 w 101"/>
              <a:gd name="T1" fmla="*/ 63 h 63"/>
              <a:gd name="T2" fmla="*/ 31 w 101"/>
              <a:gd name="T3" fmla="*/ 63 h 63"/>
              <a:gd name="T4" fmla="*/ 0 w 101"/>
              <a:gd name="T5" fmla="*/ 31 h 63"/>
              <a:gd name="T6" fmla="*/ 0 w 101"/>
              <a:gd name="T7" fmla="*/ 31 h 63"/>
              <a:gd name="T8" fmla="*/ 31 w 101"/>
              <a:gd name="T9" fmla="*/ 0 h 63"/>
              <a:gd name="T10" fmla="*/ 69 w 101"/>
              <a:gd name="T11" fmla="*/ 0 h 63"/>
              <a:gd name="T12" fmla="*/ 101 w 101"/>
              <a:gd name="T13" fmla="*/ 31 h 63"/>
              <a:gd name="T14" fmla="*/ 101 w 101"/>
              <a:gd name="T15" fmla="*/ 31 h 63"/>
              <a:gd name="T16" fmla="*/ 69 w 101"/>
              <a:gd name="T17"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63">
                <a:moveTo>
                  <a:pt x="69" y="63"/>
                </a:moveTo>
                <a:cubicBezTo>
                  <a:pt x="31" y="63"/>
                  <a:pt x="31" y="63"/>
                  <a:pt x="31" y="63"/>
                </a:cubicBezTo>
                <a:cubicBezTo>
                  <a:pt x="14" y="63"/>
                  <a:pt x="0" y="49"/>
                  <a:pt x="0" y="31"/>
                </a:cubicBezTo>
                <a:cubicBezTo>
                  <a:pt x="0" y="31"/>
                  <a:pt x="0" y="31"/>
                  <a:pt x="0" y="31"/>
                </a:cubicBezTo>
                <a:cubicBezTo>
                  <a:pt x="0" y="14"/>
                  <a:pt x="14" y="0"/>
                  <a:pt x="31" y="0"/>
                </a:cubicBezTo>
                <a:cubicBezTo>
                  <a:pt x="69" y="0"/>
                  <a:pt x="69" y="0"/>
                  <a:pt x="69" y="0"/>
                </a:cubicBezTo>
                <a:cubicBezTo>
                  <a:pt x="87" y="0"/>
                  <a:pt x="101" y="14"/>
                  <a:pt x="101" y="31"/>
                </a:cubicBezTo>
                <a:cubicBezTo>
                  <a:pt x="101" y="31"/>
                  <a:pt x="101" y="31"/>
                  <a:pt x="101" y="31"/>
                </a:cubicBezTo>
                <a:cubicBezTo>
                  <a:pt x="101" y="49"/>
                  <a:pt x="87" y="63"/>
                  <a:pt x="69" y="63"/>
                </a:cubicBezTo>
                <a:close/>
              </a:path>
            </a:pathLst>
          </a:custGeom>
          <a:solidFill>
            <a:srgbClr val="966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85" name="Freeform 460">
            <a:extLst>
              <a:ext uri="{FF2B5EF4-FFF2-40B4-BE49-F238E27FC236}">
                <a16:creationId xmlns:a16="http://schemas.microsoft.com/office/drawing/2014/main" id="{E3EAAE1A-DC14-4C4F-8A7F-4F83B16C23F5}"/>
              </a:ext>
            </a:extLst>
          </p:cNvPr>
          <p:cNvSpPr>
            <a:spLocks/>
          </p:cNvSpPr>
          <p:nvPr/>
        </p:nvSpPr>
        <p:spPr bwMode="auto">
          <a:xfrm>
            <a:off x="10620254" y="5904200"/>
            <a:ext cx="518009" cy="324590"/>
          </a:xfrm>
          <a:custGeom>
            <a:avLst/>
            <a:gdLst>
              <a:gd name="T0" fmla="*/ 70 w 102"/>
              <a:gd name="T1" fmla="*/ 63 h 63"/>
              <a:gd name="T2" fmla="*/ 32 w 102"/>
              <a:gd name="T3" fmla="*/ 63 h 63"/>
              <a:gd name="T4" fmla="*/ 0 w 102"/>
              <a:gd name="T5" fmla="*/ 31 h 63"/>
              <a:gd name="T6" fmla="*/ 0 w 102"/>
              <a:gd name="T7" fmla="*/ 31 h 63"/>
              <a:gd name="T8" fmla="*/ 32 w 102"/>
              <a:gd name="T9" fmla="*/ 0 h 63"/>
              <a:gd name="T10" fmla="*/ 70 w 102"/>
              <a:gd name="T11" fmla="*/ 0 h 63"/>
              <a:gd name="T12" fmla="*/ 102 w 102"/>
              <a:gd name="T13" fmla="*/ 31 h 63"/>
              <a:gd name="T14" fmla="*/ 102 w 102"/>
              <a:gd name="T15" fmla="*/ 31 h 63"/>
              <a:gd name="T16" fmla="*/ 70 w 102"/>
              <a:gd name="T17"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2" h="63">
                <a:moveTo>
                  <a:pt x="70" y="63"/>
                </a:moveTo>
                <a:cubicBezTo>
                  <a:pt x="32" y="63"/>
                  <a:pt x="32" y="63"/>
                  <a:pt x="32" y="63"/>
                </a:cubicBezTo>
                <a:cubicBezTo>
                  <a:pt x="14" y="63"/>
                  <a:pt x="0" y="49"/>
                  <a:pt x="0" y="31"/>
                </a:cubicBezTo>
                <a:cubicBezTo>
                  <a:pt x="0" y="31"/>
                  <a:pt x="0" y="31"/>
                  <a:pt x="0" y="31"/>
                </a:cubicBezTo>
                <a:cubicBezTo>
                  <a:pt x="0" y="14"/>
                  <a:pt x="14" y="0"/>
                  <a:pt x="32" y="0"/>
                </a:cubicBezTo>
                <a:cubicBezTo>
                  <a:pt x="70" y="0"/>
                  <a:pt x="70" y="0"/>
                  <a:pt x="70" y="0"/>
                </a:cubicBezTo>
                <a:cubicBezTo>
                  <a:pt x="87" y="0"/>
                  <a:pt x="102" y="14"/>
                  <a:pt x="102" y="31"/>
                </a:cubicBezTo>
                <a:cubicBezTo>
                  <a:pt x="102" y="31"/>
                  <a:pt x="102" y="31"/>
                  <a:pt x="102" y="31"/>
                </a:cubicBezTo>
                <a:cubicBezTo>
                  <a:pt x="102" y="49"/>
                  <a:pt x="87" y="63"/>
                  <a:pt x="70" y="63"/>
                </a:cubicBezTo>
                <a:close/>
              </a:path>
            </a:pathLst>
          </a:custGeom>
          <a:solidFill>
            <a:srgbClr val="966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86" name="Freeform 461">
            <a:extLst>
              <a:ext uri="{FF2B5EF4-FFF2-40B4-BE49-F238E27FC236}">
                <a16:creationId xmlns:a16="http://schemas.microsoft.com/office/drawing/2014/main" id="{0E37F245-1A22-4C3E-829D-F4BFCDD5CB86}"/>
              </a:ext>
            </a:extLst>
          </p:cNvPr>
          <p:cNvSpPr>
            <a:spLocks/>
          </p:cNvSpPr>
          <p:nvPr/>
        </p:nvSpPr>
        <p:spPr bwMode="auto">
          <a:xfrm>
            <a:off x="11138265" y="5904200"/>
            <a:ext cx="513563" cy="324590"/>
          </a:xfrm>
          <a:custGeom>
            <a:avLst/>
            <a:gdLst>
              <a:gd name="T0" fmla="*/ 69 w 101"/>
              <a:gd name="T1" fmla="*/ 63 h 63"/>
              <a:gd name="T2" fmla="*/ 31 w 101"/>
              <a:gd name="T3" fmla="*/ 63 h 63"/>
              <a:gd name="T4" fmla="*/ 0 w 101"/>
              <a:gd name="T5" fmla="*/ 31 h 63"/>
              <a:gd name="T6" fmla="*/ 0 w 101"/>
              <a:gd name="T7" fmla="*/ 31 h 63"/>
              <a:gd name="T8" fmla="*/ 31 w 101"/>
              <a:gd name="T9" fmla="*/ 0 h 63"/>
              <a:gd name="T10" fmla="*/ 69 w 101"/>
              <a:gd name="T11" fmla="*/ 0 h 63"/>
              <a:gd name="T12" fmla="*/ 101 w 101"/>
              <a:gd name="T13" fmla="*/ 31 h 63"/>
              <a:gd name="T14" fmla="*/ 101 w 101"/>
              <a:gd name="T15" fmla="*/ 31 h 63"/>
              <a:gd name="T16" fmla="*/ 69 w 101"/>
              <a:gd name="T17"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63">
                <a:moveTo>
                  <a:pt x="69" y="63"/>
                </a:moveTo>
                <a:cubicBezTo>
                  <a:pt x="31" y="63"/>
                  <a:pt x="31" y="63"/>
                  <a:pt x="31" y="63"/>
                </a:cubicBezTo>
                <a:cubicBezTo>
                  <a:pt x="14" y="63"/>
                  <a:pt x="0" y="49"/>
                  <a:pt x="0" y="31"/>
                </a:cubicBezTo>
                <a:cubicBezTo>
                  <a:pt x="0" y="31"/>
                  <a:pt x="0" y="31"/>
                  <a:pt x="0" y="31"/>
                </a:cubicBezTo>
                <a:cubicBezTo>
                  <a:pt x="0" y="14"/>
                  <a:pt x="14" y="0"/>
                  <a:pt x="31" y="0"/>
                </a:cubicBezTo>
                <a:cubicBezTo>
                  <a:pt x="69" y="0"/>
                  <a:pt x="69" y="0"/>
                  <a:pt x="69" y="0"/>
                </a:cubicBezTo>
                <a:cubicBezTo>
                  <a:pt x="87" y="0"/>
                  <a:pt x="101" y="14"/>
                  <a:pt x="101" y="31"/>
                </a:cubicBezTo>
                <a:cubicBezTo>
                  <a:pt x="101" y="31"/>
                  <a:pt x="101" y="31"/>
                  <a:pt x="101" y="31"/>
                </a:cubicBezTo>
                <a:cubicBezTo>
                  <a:pt x="101" y="49"/>
                  <a:pt x="87" y="63"/>
                  <a:pt x="69" y="63"/>
                </a:cubicBezTo>
                <a:close/>
              </a:path>
            </a:pathLst>
          </a:custGeom>
          <a:solidFill>
            <a:srgbClr val="966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87" name="Freeform 462">
            <a:extLst>
              <a:ext uri="{FF2B5EF4-FFF2-40B4-BE49-F238E27FC236}">
                <a16:creationId xmlns:a16="http://schemas.microsoft.com/office/drawing/2014/main" id="{0592C5BA-F740-4DE6-9D9A-E1F1C3095813}"/>
              </a:ext>
            </a:extLst>
          </p:cNvPr>
          <p:cNvSpPr>
            <a:spLocks/>
          </p:cNvSpPr>
          <p:nvPr/>
        </p:nvSpPr>
        <p:spPr bwMode="auto">
          <a:xfrm>
            <a:off x="11651827" y="5904200"/>
            <a:ext cx="513563" cy="324590"/>
          </a:xfrm>
          <a:custGeom>
            <a:avLst/>
            <a:gdLst>
              <a:gd name="T0" fmla="*/ 70 w 101"/>
              <a:gd name="T1" fmla="*/ 63 h 63"/>
              <a:gd name="T2" fmla="*/ 32 w 101"/>
              <a:gd name="T3" fmla="*/ 63 h 63"/>
              <a:gd name="T4" fmla="*/ 0 w 101"/>
              <a:gd name="T5" fmla="*/ 31 h 63"/>
              <a:gd name="T6" fmla="*/ 0 w 101"/>
              <a:gd name="T7" fmla="*/ 31 h 63"/>
              <a:gd name="T8" fmla="*/ 32 w 101"/>
              <a:gd name="T9" fmla="*/ 0 h 63"/>
              <a:gd name="T10" fmla="*/ 70 w 101"/>
              <a:gd name="T11" fmla="*/ 0 h 63"/>
              <a:gd name="T12" fmla="*/ 101 w 101"/>
              <a:gd name="T13" fmla="*/ 31 h 63"/>
              <a:gd name="T14" fmla="*/ 101 w 101"/>
              <a:gd name="T15" fmla="*/ 31 h 63"/>
              <a:gd name="T16" fmla="*/ 70 w 101"/>
              <a:gd name="T17"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63">
                <a:moveTo>
                  <a:pt x="70" y="63"/>
                </a:moveTo>
                <a:cubicBezTo>
                  <a:pt x="32" y="63"/>
                  <a:pt x="32" y="63"/>
                  <a:pt x="32" y="63"/>
                </a:cubicBezTo>
                <a:cubicBezTo>
                  <a:pt x="14" y="63"/>
                  <a:pt x="0" y="49"/>
                  <a:pt x="0" y="31"/>
                </a:cubicBezTo>
                <a:cubicBezTo>
                  <a:pt x="0" y="31"/>
                  <a:pt x="0" y="31"/>
                  <a:pt x="0" y="31"/>
                </a:cubicBezTo>
                <a:cubicBezTo>
                  <a:pt x="0" y="14"/>
                  <a:pt x="14" y="0"/>
                  <a:pt x="32" y="0"/>
                </a:cubicBezTo>
                <a:cubicBezTo>
                  <a:pt x="70" y="0"/>
                  <a:pt x="70" y="0"/>
                  <a:pt x="70" y="0"/>
                </a:cubicBezTo>
                <a:cubicBezTo>
                  <a:pt x="87" y="0"/>
                  <a:pt x="101" y="14"/>
                  <a:pt x="101" y="31"/>
                </a:cubicBezTo>
                <a:cubicBezTo>
                  <a:pt x="101" y="31"/>
                  <a:pt x="101" y="31"/>
                  <a:pt x="101" y="31"/>
                </a:cubicBezTo>
                <a:cubicBezTo>
                  <a:pt x="101" y="49"/>
                  <a:pt x="87" y="63"/>
                  <a:pt x="70" y="63"/>
                </a:cubicBezTo>
                <a:close/>
              </a:path>
            </a:pathLst>
          </a:custGeom>
          <a:solidFill>
            <a:srgbClr val="966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88" name="Freeform 463">
            <a:extLst>
              <a:ext uri="{FF2B5EF4-FFF2-40B4-BE49-F238E27FC236}">
                <a16:creationId xmlns:a16="http://schemas.microsoft.com/office/drawing/2014/main" id="{5CC5EC1B-9CE4-4905-8347-BD2F624A8C7C}"/>
              </a:ext>
            </a:extLst>
          </p:cNvPr>
          <p:cNvSpPr>
            <a:spLocks/>
          </p:cNvSpPr>
          <p:nvPr/>
        </p:nvSpPr>
        <p:spPr bwMode="auto">
          <a:xfrm>
            <a:off x="12165392" y="5904200"/>
            <a:ext cx="520233" cy="324590"/>
          </a:xfrm>
          <a:custGeom>
            <a:avLst/>
            <a:gdLst>
              <a:gd name="T0" fmla="*/ 70 w 102"/>
              <a:gd name="T1" fmla="*/ 63 h 63"/>
              <a:gd name="T2" fmla="*/ 32 w 102"/>
              <a:gd name="T3" fmla="*/ 63 h 63"/>
              <a:gd name="T4" fmla="*/ 0 w 102"/>
              <a:gd name="T5" fmla="*/ 31 h 63"/>
              <a:gd name="T6" fmla="*/ 0 w 102"/>
              <a:gd name="T7" fmla="*/ 31 h 63"/>
              <a:gd name="T8" fmla="*/ 32 w 102"/>
              <a:gd name="T9" fmla="*/ 0 h 63"/>
              <a:gd name="T10" fmla="*/ 70 w 102"/>
              <a:gd name="T11" fmla="*/ 0 h 63"/>
              <a:gd name="T12" fmla="*/ 102 w 102"/>
              <a:gd name="T13" fmla="*/ 31 h 63"/>
              <a:gd name="T14" fmla="*/ 102 w 102"/>
              <a:gd name="T15" fmla="*/ 31 h 63"/>
              <a:gd name="T16" fmla="*/ 70 w 102"/>
              <a:gd name="T17"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2" h="63">
                <a:moveTo>
                  <a:pt x="70" y="63"/>
                </a:moveTo>
                <a:cubicBezTo>
                  <a:pt x="32" y="63"/>
                  <a:pt x="32" y="63"/>
                  <a:pt x="32" y="63"/>
                </a:cubicBezTo>
                <a:cubicBezTo>
                  <a:pt x="15" y="63"/>
                  <a:pt x="0" y="49"/>
                  <a:pt x="0" y="31"/>
                </a:cubicBezTo>
                <a:cubicBezTo>
                  <a:pt x="0" y="31"/>
                  <a:pt x="0" y="31"/>
                  <a:pt x="0" y="31"/>
                </a:cubicBezTo>
                <a:cubicBezTo>
                  <a:pt x="0" y="14"/>
                  <a:pt x="15" y="0"/>
                  <a:pt x="32" y="0"/>
                </a:cubicBezTo>
                <a:cubicBezTo>
                  <a:pt x="70" y="0"/>
                  <a:pt x="70" y="0"/>
                  <a:pt x="70" y="0"/>
                </a:cubicBezTo>
                <a:cubicBezTo>
                  <a:pt x="88" y="0"/>
                  <a:pt x="102" y="14"/>
                  <a:pt x="102" y="31"/>
                </a:cubicBezTo>
                <a:cubicBezTo>
                  <a:pt x="102" y="31"/>
                  <a:pt x="102" y="31"/>
                  <a:pt x="102" y="31"/>
                </a:cubicBezTo>
                <a:cubicBezTo>
                  <a:pt x="102" y="49"/>
                  <a:pt x="88" y="63"/>
                  <a:pt x="70" y="63"/>
                </a:cubicBezTo>
                <a:close/>
              </a:path>
            </a:pathLst>
          </a:custGeom>
          <a:solidFill>
            <a:srgbClr val="966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90" name="Freeform 465">
            <a:extLst>
              <a:ext uri="{FF2B5EF4-FFF2-40B4-BE49-F238E27FC236}">
                <a16:creationId xmlns:a16="http://schemas.microsoft.com/office/drawing/2014/main" id="{5F7951A2-D7FA-4AA4-BCDC-F84346C36196}"/>
              </a:ext>
            </a:extLst>
          </p:cNvPr>
          <p:cNvSpPr>
            <a:spLocks/>
          </p:cNvSpPr>
          <p:nvPr/>
        </p:nvSpPr>
        <p:spPr bwMode="auto">
          <a:xfrm>
            <a:off x="7007524" y="5904200"/>
            <a:ext cx="520233" cy="324590"/>
          </a:xfrm>
          <a:custGeom>
            <a:avLst/>
            <a:gdLst>
              <a:gd name="T0" fmla="*/ 70 w 102"/>
              <a:gd name="T1" fmla="*/ 63 h 63"/>
              <a:gd name="T2" fmla="*/ 32 w 102"/>
              <a:gd name="T3" fmla="*/ 63 h 63"/>
              <a:gd name="T4" fmla="*/ 0 w 102"/>
              <a:gd name="T5" fmla="*/ 31 h 63"/>
              <a:gd name="T6" fmla="*/ 0 w 102"/>
              <a:gd name="T7" fmla="*/ 31 h 63"/>
              <a:gd name="T8" fmla="*/ 32 w 102"/>
              <a:gd name="T9" fmla="*/ 0 h 63"/>
              <a:gd name="T10" fmla="*/ 70 w 102"/>
              <a:gd name="T11" fmla="*/ 0 h 63"/>
              <a:gd name="T12" fmla="*/ 102 w 102"/>
              <a:gd name="T13" fmla="*/ 31 h 63"/>
              <a:gd name="T14" fmla="*/ 102 w 102"/>
              <a:gd name="T15" fmla="*/ 31 h 63"/>
              <a:gd name="T16" fmla="*/ 70 w 102"/>
              <a:gd name="T17"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2" h="63">
                <a:moveTo>
                  <a:pt x="70" y="63"/>
                </a:moveTo>
                <a:cubicBezTo>
                  <a:pt x="32" y="63"/>
                  <a:pt x="32" y="63"/>
                  <a:pt x="32" y="63"/>
                </a:cubicBezTo>
                <a:cubicBezTo>
                  <a:pt x="14" y="63"/>
                  <a:pt x="0" y="49"/>
                  <a:pt x="0" y="31"/>
                </a:cubicBezTo>
                <a:cubicBezTo>
                  <a:pt x="0" y="31"/>
                  <a:pt x="0" y="31"/>
                  <a:pt x="0" y="31"/>
                </a:cubicBezTo>
                <a:cubicBezTo>
                  <a:pt x="0" y="14"/>
                  <a:pt x="14" y="0"/>
                  <a:pt x="32" y="0"/>
                </a:cubicBezTo>
                <a:cubicBezTo>
                  <a:pt x="70" y="0"/>
                  <a:pt x="70" y="0"/>
                  <a:pt x="70" y="0"/>
                </a:cubicBezTo>
                <a:cubicBezTo>
                  <a:pt x="87" y="0"/>
                  <a:pt x="102" y="14"/>
                  <a:pt x="102" y="31"/>
                </a:cubicBezTo>
                <a:cubicBezTo>
                  <a:pt x="102" y="31"/>
                  <a:pt x="102" y="31"/>
                  <a:pt x="102" y="31"/>
                </a:cubicBezTo>
                <a:cubicBezTo>
                  <a:pt x="102" y="49"/>
                  <a:pt x="87" y="63"/>
                  <a:pt x="70" y="63"/>
                </a:cubicBezTo>
                <a:close/>
              </a:path>
            </a:pathLst>
          </a:custGeom>
          <a:solidFill>
            <a:srgbClr val="966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91" name="Freeform 466">
            <a:extLst>
              <a:ext uri="{FF2B5EF4-FFF2-40B4-BE49-F238E27FC236}">
                <a16:creationId xmlns:a16="http://schemas.microsoft.com/office/drawing/2014/main" id="{00665AFE-E5AD-49A9-AAE9-9023885B2703}"/>
              </a:ext>
            </a:extLst>
          </p:cNvPr>
          <p:cNvSpPr>
            <a:spLocks/>
          </p:cNvSpPr>
          <p:nvPr/>
        </p:nvSpPr>
        <p:spPr bwMode="auto">
          <a:xfrm>
            <a:off x="7527757" y="5904200"/>
            <a:ext cx="513563" cy="324590"/>
          </a:xfrm>
          <a:custGeom>
            <a:avLst/>
            <a:gdLst>
              <a:gd name="T0" fmla="*/ 69 w 101"/>
              <a:gd name="T1" fmla="*/ 63 h 63"/>
              <a:gd name="T2" fmla="*/ 31 w 101"/>
              <a:gd name="T3" fmla="*/ 63 h 63"/>
              <a:gd name="T4" fmla="*/ 0 w 101"/>
              <a:gd name="T5" fmla="*/ 31 h 63"/>
              <a:gd name="T6" fmla="*/ 0 w 101"/>
              <a:gd name="T7" fmla="*/ 31 h 63"/>
              <a:gd name="T8" fmla="*/ 31 w 101"/>
              <a:gd name="T9" fmla="*/ 0 h 63"/>
              <a:gd name="T10" fmla="*/ 69 w 101"/>
              <a:gd name="T11" fmla="*/ 0 h 63"/>
              <a:gd name="T12" fmla="*/ 101 w 101"/>
              <a:gd name="T13" fmla="*/ 31 h 63"/>
              <a:gd name="T14" fmla="*/ 101 w 101"/>
              <a:gd name="T15" fmla="*/ 31 h 63"/>
              <a:gd name="T16" fmla="*/ 69 w 101"/>
              <a:gd name="T17"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63">
                <a:moveTo>
                  <a:pt x="69" y="63"/>
                </a:moveTo>
                <a:cubicBezTo>
                  <a:pt x="31" y="63"/>
                  <a:pt x="31" y="63"/>
                  <a:pt x="31" y="63"/>
                </a:cubicBezTo>
                <a:cubicBezTo>
                  <a:pt x="14" y="63"/>
                  <a:pt x="0" y="49"/>
                  <a:pt x="0" y="31"/>
                </a:cubicBezTo>
                <a:cubicBezTo>
                  <a:pt x="0" y="31"/>
                  <a:pt x="0" y="31"/>
                  <a:pt x="0" y="31"/>
                </a:cubicBezTo>
                <a:cubicBezTo>
                  <a:pt x="0" y="14"/>
                  <a:pt x="14" y="0"/>
                  <a:pt x="31" y="0"/>
                </a:cubicBezTo>
                <a:cubicBezTo>
                  <a:pt x="69" y="0"/>
                  <a:pt x="69" y="0"/>
                  <a:pt x="69" y="0"/>
                </a:cubicBezTo>
                <a:cubicBezTo>
                  <a:pt x="87" y="0"/>
                  <a:pt x="101" y="14"/>
                  <a:pt x="101" y="31"/>
                </a:cubicBezTo>
                <a:cubicBezTo>
                  <a:pt x="101" y="31"/>
                  <a:pt x="101" y="31"/>
                  <a:pt x="101" y="31"/>
                </a:cubicBezTo>
                <a:cubicBezTo>
                  <a:pt x="101" y="49"/>
                  <a:pt x="87" y="63"/>
                  <a:pt x="69" y="63"/>
                </a:cubicBezTo>
                <a:close/>
              </a:path>
            </a:pathLst>
          </a:custGeom>
          <a:solidFill>
            <a:srgbClr val="966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92" name="Freeform 467">
            <a:extLst>
              <a:ext uri="{FF2B5EF4-FFF2-40B4-BE49-F238E27FC236}">
                <a16:creationId xmlns:a16="http://schemas.microsoft.com/office/drawing/2014/main" id="{B344054D-0E66-46BE-B3A1-A4DAD1BD94C8}"/>
              </a:ext>
            </a:extLst>
          </p:cNvPr>
          <p:cNvSpPr>
            <a:spLocks/>
          </p:cNvSpPr>
          <p:nvPr/>
        </p:nvSpPr>
        <p:spPr bwMode="auto">
          <a:xfrm>
            <a:off x="8041320" y="5904200"/>
            <a:ext cx="513563" cy="324590"/>
          </a:xfrm>
          <a:custGeom>
            <a:avLst/>
            <a:gdLst>
              <a:gd name="T0" fmla="*/ 70 w 101"/>
              <a:gd name="T1" fmla="*/ 63 h 63"/>
              <a:gd name="T2" fmla="*/ 32 w 101"/>
              <a:gd name="T3" fmla="*/ 63 h 63"/>
              <a:gd name="T4" fmla="*/ 0 w 101"/>
              <a:gd name="T5" fmla="*/ 31 h 63"/>
              <a:gd name="T6" fmla="*/ 0 w 101"/>
              <a:gd name="T7" fmla="*/ 31 h 63"/>
              <a:gd name="T8" fmla="*/ 32 w 101"/>
              <a:gd name="T9" fmla="*/ 0 h 63"/>
              <a:gd name="T10" fmla="*/ 70 w 101"/>
              <a:gd name="T11" fmla="*/ 0 h 63"/>
              <a:gd name="T12" fmla="*/ 101 w 101"/>
              <a:gd name="T13" fmla="*/ 31 h 63"/>
              <a:gd name="T14" fmla="*/ 101 w 101"/>
              <a:gd name="T15" fmla="*/ 31 h 63"/>
              <a:gd name="T16" fmla="*/ 70 w 101"/>
              <a:gd name="T17"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63">
                <a:moveTo>
                  <a:pt x="70" y="63"/>
                </a:moveTo>
                <a:cubicBezTo>
                  <a:pt x="32" y="63"/>
                  <a:pt x="32" y="63"/>
                  <a:pt x="32" y="63"/>
                </a:cubicBezTo>
                <a:cubicBezTo>
                  <a:pt x="14" y="63"/>
                  <a:pt x="0" y="49"/>
                  <a:pt x="0" y="31"/>
                </a:cubicBezTo>
                <a:cubicBezTo>
                  <a:pt x="0" y="31"/>
                  <a:pt x="0" y="31"/>
                  <a:pt x="0" y="31"/>
                </a:cubicBezTo>
                <a:cubicBezTo>
                  <a:pt x="0" y="14"/>
                  <a:pt x="14" y="0"/>
                  <a:pt x="32" y="0"/>
                </a:cubicBezTo>
                <a:cubicBezTo>
                  <a:pt x="70" y="0"/>
                  <a:pt x="70" y="0"/>
                  <a:pt x="70" y="0"/>
                </a:cubicBezTo>
                <a:cubicBezTo>
                  <a:pt x="87" y="0"/>
                  <a:pt x="101" y="14"/>
                  <a:pt x="101" y="31"/>
                </a:cubicBezTo>
                <a:cubicBezTo>
                  <a:pt x="101" y="31"/>
                  <a:pt x="101" y="31"/>
                  <a:pt x="101" y="31"/>
                </a:cubicBezTo>
                <a:cubicBezTo>
                  <a:pt x="101" y="49"/>
                  <a:pt x="87" y="63"/>
                  <a:pt x="70" y="63"/>
                </a:cubicBezTo>
                <a:close/>
              </a:path>
            </a:pathLst>
          </a:custGeom>
          <a:solidFill>
            <a:srgbClr val="966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93" name="Freeform 468">
            <a:extLst>
              <a:ext uri="{FF2B5EF4-FFF2-40B4-BE49-F238E27FC236}">
                <a16:creationId xmlns:a16="http://schemas.microsoft.com/office/drawing/2014/main" id="{59EF9637-D1EE-4120-B7CE-4181F907637F}"/>
              </a:ext>
            </a:extLst>
          </p:cNvPr>
          <p:cNvSpPr>
            <a:spLocks/>
          </p:cNvSpPr>
          <p:nvPr/>
        </p:nvSpPr>
        <p:spPr bwMode="auto">
          <a:xfrm>
            <a:off x="8554884" y="5904200"/>
            <a:ext cx="518009" cy="324590"/>
          </a:xfrm>
          <a:custGeom>
            <a:avLst/>
            <a:gdLst>
              <a:gd name="T0" fmla="*/ 70 w 102"/>
              <a:gd name="T1" fmla="*/ 63 h 63"/>
              <a:gd name="T2" fmla="*/ 32 w 102"/>
              <a:gd name="T3" fmla="*/ 63 h 63"/>
              <a:gd name="T4" fmla="*/ 0 w 102"/>
              <a:gd name="T5" fmla="*/ 31 h 63"/>
              <a:gd name="T6" fmla="*/ 0 w 102"/>
              <a:gd name="T7" fmla="*/ 31 h 63"/>
              <a:gd name="T8" fmla="*/ 32 w 102"/>
              <a:gd name="T9" fmla="*/ 0 h 63"/>
              <a:gd name="T10" fmla="*/ 70 w 102"/>
              <a:gd name="T11" fmla="*/ 0 h 63"/>
              <a:gd name="T12" fmla="*/ 102 w 102"/>
              <a:gd name="T13" fmla="*/ 31 h 63"/>
              <a:gd name="T14" fmla="*/ 102 w 102"/>
              <a:gd name="T15" fmla="*/ 31 h 63"/>
              <a:gd name="T16" fmla="*/ 70 w 102"/>
              <a:gd name="T17"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2" h="63">
                <a:moveTo>
                  <a:pt x="70" y="63"/>
                </a:moveTo>
                <a:cubicBezTo>
                  <a:pt x="32" y="63"/>
                  <a:pt x="32" y="63"/>
                  <a:pt x="32" y="63"/>
                </a:cubicBezTo>
                <a:cubicBezTo>
                  <a:pt x="15" y="63"/>
                  <a:pt x="0" y="49"/>
                  <a:pt x="0" y="31"/>
                </a:cubicBezTo>
                <a:cubicBezTo>
                  <a:pt x="0" y="31"/>
                  <a:pt x="0" y="31"/>
                  <a:pt x="0" y="31"/>
                </a:cubicBezTo>
                <a:cubicBezTo>
                  <a:pt x="0" y="14"/>
                  <a:pt x="15" y="0"/>
                  <a:pt x="32" y="0"/>
                </a:cubicBezTo>
                <a:cubicBezTo>
                  <a:pt x="70" y="0"/>
                  <a:pt x="70" y="0"/>
                  <a:pt x="70" y="0"/>
                </a:cubicBezTo>
                <a:cubicBezTo>
                  <a:pt x="88" y="0"/>
                  <a:pt x="102" y="14"/>
                  <a:pt x="102" y="31"/>
                </a:cubicBezTo>
                <a:cubicBezTo>
                  <a:pt x="102" y="31"/>
                  <a:pt x="102" y="31"/>
                  <a:pt x="102" y="31"/>
                </a:cubicBezTo>
                <a:cubicBezTo>
                  <a:pt x="102" y="49"/>
                  <a:pt x="88" y="63"/>
                  <a:pt x="70" y="63"/>
                </a:cubicBezTo>
                <a:close/>
              </a:path>
            </a:pathLst>
          </a:custGeom>
          <a:solidFill>
            <a:srgbClr val="966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94" name="Freeform 469">
            <a:extLst>
              <a:ext uri="{FF2B5EF4-FFF2-40B4-BE49-F238E27FC236}">
                <a16:creationId xmlns:a16="http://schemas.microsoft.com/office/drawing/2014/main" id="{A023E28F-3C7A-4F9A-A87C-9FEE065A7353}"/>
              </a:ext>
            </a:extLst>
          </p:cNvPr>
          <p:cNvSpPr>
            <a:spLocks/>
          </p:cNvSpPr>
          <p:nvPr/>
        </p:nvSpPr>
        <p:spPr bwMode="auto">
          <a:xfrm>
            <a:off x="9072893" y="5904200"/>
            <a:ext cx="513563" cy="324590"/>
          </a:xfrm>
          <a:custGeom>
            <a:avLst/>
            <a:gdLst>
              <a:gd name="T0" fmla="*/ 70 w 101"/>
              <a:gd name="T1" fmla="*/ 63 h 63"/>
              <a:gd name="T2" fmla="*/ 32 w 101"/>
              <a:gd name="T3" fmla="*/ 63 h 63"/>
              <a:gd name="T4" fmla="*/ 0 w 101"/>
              <a:gd name="T5" fmla="*/ 31 h 63"/>
              <a:gd name="T6" fmla="*/ 0 w 101"/>
              <a:gd name="T7" fmla="*/ 31 h 63"/>
              <a:gd name="T8" fmla="*/ 32 w 101"/>
              <a:gd name="T9" fmla="*/ 0 h 63"/>
              <a:gd name="T10" fmla="*/ 70 w 101"/>
              <a:gd name="T11" fmla="*/ 0 h 63"/>
              <a:gd name="T12" fmla="*/ 101 w 101"/>
              <a:gd name="T13" fmla="*/ 31 h 63"/>
              <a:gd name="T14" fmla="*/ 101 w 101"/>
              <a:gd name="T15" fmla="*/ 31 h 63"/>
              <a:gd name="T16" fmla="*/ 70 w 101"/>
              <a:gd name="T17"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63">
                <a:moveTo>
                  <a:pt x="70" y="63"/>
                </a:moveTo>
                <a:cubicBezTo>
                  <a:pt x="32" y="63"/>
                  <a:pt x="32" y="63"/>
                  <a:pt x="32" y="63"/>
                </a:cubicBezTo>
                <a:cubicBezTo>
                  <a:pt x="14" y="63"/>
                  <a:pt x="0" y="49"/>
                  <a:pt x="0" y="31"/>
                </a:cubicBezTo>
                <a:cubicBezTo>
                  <a:pt x="0" y="31"/>
                  <a:pt x="0" y="31"/>
                  <a:pt x="0" y="31"/>
                </a:cubicBezTo>
                <a:cubicBezTo>
                  <a:pt x="0" y="14"/>
                  <a:pt x="14" y="0"/>
                  <a:pt x="32" y="0"/>
                </a:cubicBezTo>
                <a:cubicBezTo>
                  <a:pt x="70" y="0"/>
                  <a:pt x="70" y="0"/>
                  <a:pt x="70" y="0"/>
                </a:cubicBezTo>
                <a:cubicBezTo>
                  <a:pt x="87" y="0"/>
                  <a:pt x="101" y="14"/>
                  <a:pt x="101" y="31"/>
                </a:cubicBezTo>
                <a:cubicBezTo>
                  <a:pt x="101" y="31"/>
                  <a:pt x="101" y="31"/>
                  <a:pt x="101" y="31"/>
                </a:cubicBezTo>
                <a:cubicBezTo>
                  <a:pt x="101" y="49"/>
                  <a:pt x="87" y="63"/>
                  <a:pt x="70" y="63"/>
                </a:cubicBezTo>
                <a:close/>
              </a:path>
            </a:pathLst>
          </a:custGeom>
          <a:solidFill>
            <a:srgbClr val="966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95" name="Freeform 470">
            <a:extLst>
              <a:ext uri="{FF2B5EF4-FFF2-40B4-BE49-F238E27FC236}">
                <a16:creationId xmlns:a16="http://schemas.microsoft.com/office/drawing/2014/main" id="{F356D960-7009-4FC1-88BF-50C573A4818D}"/>
              </a:ext>
            </a:extLst>
          </p:cNvPr>
          <p:cNvSpPr>
            <a:spLocks/>
          </p:cNvSpPr>
          <p:nvPr/>
        </p:nvSpPr>
        <p:spPr bwMode="auto">
          <a:xfrm>
            <a:off x="9586458" y="5904200"/>
            <a:ext cx="520233" cy="324590"/>
          </a:xfrm>
          <a:custGeom>
            <a:avLst/>
            <a:gdLst>
              <a:gd name="T0" fmla="*/ 70 w 102"/>
              <a:gd name="T1" fmla="*/ 63 h 63"/>
              <a:gd name="T2" fmla="*/ 32 w 102"/>
              <a:gd name="T3" fmla="*/ 63 h 63"/>
              <a:gd name="T4" fmla="*/ 0 w 102"/>
              <a:gd name="T5" fmla="*/ 31 h 63"/>
              <a:gd name="T6" fmla="*/ 0 w 102"/>
              <a:gd name="T7" fmla="*/ 31 h 63"/>
              <a:gd name="T8" fmla="*/ 32 w 102"/>
              <a:gd name="T9" fmla="*/ 0 h 63"/>
              <a:gd name="T10" fmla="*/ 70 w 102"/>
              <a:gd name="T11" fmla="*/ 0 h 63"/>
              <a:gd name="T12" fmla="*/ 102 w 102"/>
              <a:gd name="T13" fmla="*/ 31 h 63"/>
              <a:gd name="T14" fmla="*/ 102 w 102"/>
              <a:gd name="T15" fmla="*/ 31 h 63"/>
              <a:gd name="T16" fmla="*/ 70 w 102"/>
              <a:gd name="T17"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2" h="63">
                <a:moveTo>
                  <a:pt x="70" y="63"/>
                </a:moveTo>
                <a:cubicBezTo>
                  <a:pt x="32" y="63"/>
                  <a:pt x="32" y="63"/>
                  <a:pt x="32" y="63"/>
                </a:cubicBezTo>
                <a:cubicBezTo>
                  <a:pt x="15" y="63"/>
                  <a:pt x="0" y="49"/>
                  <a:pt x="0" y="31"/>
                </a:cubicBezTo>
                <a:cubicBezTo>
                  <a:pt x="0" y="31"/>
                  <a:pt x="0" y="31"/>
                  <a:pt x="0" y="31"/>
                </a:cubicBezTo>
                <a:cubicBezTo>
                  <a:pt x="0" y="14"/>
                  <a:pt x="15" y="0"/>
                  <a:pt x="32" y="0"/>
                </a:cubicBezTo>
                <a:cubicBezTo>
                  <a:pt x="70" y="0"/>
                  <a:pt x="70" y="0"/>
                  <a:pt x="70" y="0"/>
                </a:cubicBezTo>
                <a:cubicBezTo>
                  <a:pt x="87" y="0"/>
                  <a:pt x="102" y="14"/>
                  <a:pt x="102" y="31"/>
                </a:cubicBezTo>
                <a:cubicBezTo>
                  <a:pt x="102" y="31"/>
                  <a:pt x="102" y="31"/>
                  <a:pt x="102" y="31"/>
                </a:cubicBezTo>
                <a:cubicBezTo>
                  <a:pt x="102" y="49"/>
                  <a:pt x="87" y="63"/>
                  <a:pt x="70" y="63"/>
                </a:cubicBezTo>
                <a:close/>
              </a:path>
            </a:pathLst>
          </a:custGeom>
          <a:solidFill>
            <a:srgbClr val="966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96" name="Freeform 471">
            <a:extLst>
              <a:ext uri="{FF2B5EF4-FFF2-40B4-BE49-F238E27FC236}">
                <a16:creationId xmlns:a16="http://schemas.microsoft.com/office/drawing/2014/main" id="{E26AFEC7-23FD-42FD-8FD2-A332EF7A724D}"/>
              </a:ext>
            </a:extLst>
          </p:cNvPr>
          <p:cNvSpPr>
            <a:spLocks/>
          </p:cNvSpPr>
          <p:nvPr/>
        </p:nvSpPr>
        <p:spPr bwMode="auto">
          <a:xfrm>
            <a:off x="3915025" y="5904200"/>
            <a:ext cx="513563" cy="324590"/>
          </a:xfrm>
          <a:custGeom>
            <a:avLst/>
            <a:gdLst>
              <a:gd name="T0" fmla="*/ 69 w 101"/>
              <a:gd name="T1" fmla="*/ 63 h 63"/>
              <a:gd name="T2" fmla="*/ 31 w 101"/>
              <a:gd name="T3" fmla="*/ 63 h 63"/>
              <a:gd name="T4" fmla="*/ 0 w 101"/>
              <a:gd name="T5" fmla="*/ 31 h 63"/>
              <a:gd name="T6" fmla="*/ 0 w 101"/>
              <a:gd name="T7" fmla="*/ 31 h 63"/>
              <a:gd name="T8" fmla="*/ 31 w 101"/>
              <a:gd name="T9" fmla="*/ 0 h 63"/>
              <a:gd name="T10" fmla="*/ 69 w 101"/>
              <a:gd name="T11" fmla="*/ 0 h 63"/>
              <a:gd name="T12" fmla="*/ 101 w 101"/>
              <a:gd name="T13" fmla="*/ 31 h 63"/>
              <a:gd name="T14" fmla="*/ 101 w 101"/>
              <a:gd name="T15" fmla="*/ 31 h 63"/>
              <a:gd name="T16" fmla="*/ 69 w 101"/>
              <a:gd name="T17"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63">
                <a:moveTo>
                  <a:pt x="69" y="63"/>
                </a:moveTo>
                <a:cubicBezTo>
                  <a:pt x="31" y="63"/>
                  <a:pt x="31" y="63"/>
                  <a:pt x="31" y="63"/>
                </a:cubicBezTo>
                <a:cubicBezTo>
                  <a:pt x="14" y="63"/>
                  <a:pt x="0" y="49"/>
                  <a:pt x="0" y="31"/>
                </a:cubicBezTo>
                <a:cubicBezTo>
                  <a:pt x="0" y="31"/>
                  <a:pt x="0" y="31"/>
                  <a:pt x="0" y="31"/>
                </a:cubicBezTo>
                <a:cubicBezTo>
                  <a:pt x="0" y="14"/>
                  <a:pt x="14" y="0"/>
                  <a:pt x="31" y="0"/>
                </a:cubicBezTo>
                <a:cubicBezTo>
                  <a:pt x="69" y="0"/>
                  <a:pt x="69" y="0"/>
                  <a:pt x="69" y="0"/>
                </a:cubicBezTo>
                <a:cubicBezTo>
                  <a:pt x="87" y="0"/>
                  <a:pt x="101" y="14"/>
                  <a:pt x="101" y="31"/>
                </a:cubicBezTo>
                <a:cubicBezTo>
                  <a:pt x="101" y="31"/>
                  <a:pt x="101" y="31"/>
                  <a:pt x="101" y="31"/>
                </a:cubicBezTo>
                <a:cubicBezTo>
                  <a:pt x="101" y="49"/>
                  <a:pt x="87" y="63"/>
                  <a:pt x="69" y="63"/>
                </a:cubicBezTo>
                <a:close/>
              </a:path>
            </a:pathLst>
          </a:custGeom>
          <a:solidFill>
            <a:srgbClr val="966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97" name="Freeform 472">
            <a:extLst>
              <a:ext uri="{FF2B5EF4-FFF2-40B4-BE49-F238E27FC236}">
                <a16:creationId xmlns:a16="http://schemas.microsoft.com/office/drawing/2014/main" id="{BF99E48B-A415-4049-BC8B-2BDCFF730DA8}"/>
              </a:ext>
            </a:extLst>
          </p:cNvPr>
          <p:cNvSpPr>
            <a:spLocks/>
          </p:cNvSpPr>
          <p:nvPr/>
        </p:nvSpPr>
        <p:spPr bwMode="auto">
          <a:xfrm>
            <a:off x="4428590" y="5904200"/>
            <a:ext cx="520233" cy="324590"/>
          </a:xfrm>
          <a:custGeom>
            <a:avLst/>
            <a:gdLst>
              <a:gd name="T0" fmla="*/ 70 w 102"/>
              <a:gd name="T1" fmla="*/ 63 h 63"/>
              <a:gd name="T2" fmla="*/ 32 w 102"/>
              <a:gd name="T3" fmla="*/ 63 h 63"/>
              <a:gd name="T4" fmla="*/ 0 w 102"/>
              <a:gd name="T5" fmla="*/ 31 h 63"/>
              <a:gd name="T6" fmla="*/ 0 w 102"/>
              <a:gd name="T7" fmla="*/ 31 h 63"/>
              <a:gd name="T8" fmla="*/ 32 w 102"/>
              <a:gd name="T9" fmla="*/ 0 h 63"/>
              <a:gd name="T10" fmla="*/ 70 w 102"/>
              <a:gd name="T11" fmla="*/ 0 h 63"/>
              <a:gd name="T12" fmla="*/ 102 w 102"/>
              <a:gd name="T13" fmla="*/ 31 h 63"/>
              <a:gd name="T14" fmla="*/ 102 w 102"/>
              <a:gd name="T15" fmla="*/ 31 h 63"/>
              <a:gd name="T16" fmla="*/ 70 w 102"/>
              <a:gd name="T17"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2" h="63">
                <a:moveTo>
                  <a:pt x="70" y="63"/>
                </a:moveTo>
                <a:cubicBezTo>
                  <a:pt x="32" y="63"/>
                  <a:pt x="32" y="63"/>
                  <a:pt x="32" y="63"/>
                </a:cubicBezTo>
                <a:cubicBezTo>
                  <a:pt x="14" y="63"/>
                  <a:pt x="0" y="49"/>
                  <a:pt x="0" y="31"/>
                </a:cubicBezTo>
                <a:cubicBezTo>
                  <a:pt x="0" y="31"/>
                  <a:pt x="0" y="31"/>
                  <a:pt x="0" y="31"/>
                </a:cubicBezTo>
                <a:cubicBezTo>
                  <a:pt x="0" y="14"/>
                  <a:pt x="14" y="0"/>
                  <a:pt x="32" y="0"/>
                </a:cubicBezTo>
                <a:cubicBezTo>
                  <a:pt x="70" y="0"/>
                  <a:pt x="70" y="0"/>
                  <a:pt x="70" y="0"/>
                </a:cubicBezTo>
                <a:cubicBezTo>
                  <a:pt x="87" y="0"/>
                  <a:pt x="102" y="14"/>
                  <a:pt x="102" y="31"/>
                </a:cubicBezTo>
                <a:cubicBezTo>
                  <a:pt x="102" y="31"/>
                  <a:pt x="102" y="31"/>
                  <a:pt x="102" y="31"/>
                </a:cubicBezTo>
                <a:cubicBezTo>
                  <a:pt x="102" y="49"/>
                  <a:pt x="87" y="63"/>
                  <a:pt x="70" y="63"/>
                </a:cubicBezTo>
                <a:close/>
              </a:path>
            </a:pathLst>
          </a:custGeom>
          <a:solidFill>
            <a:srgbClr val="966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98" name="Freeform 473">
            <a:extLst>
              <a:ext uri="{FF2B5EF4-FFF2-40B4-BE49-F238E27FC236}">
                <a16:creationId xmlns:a16="http://schemas.microsoft.com/office/drawing/2014/main" id="{D96B95A6-514B-4D0E-9361-F977DE0E8F7B}"/>
              </a:ext>
            </a:extLst>
          </p:cNvPr>
          <p:cNvSpPr>
            <a:spLocks/>
          </p:cNvSpPr>
          <p:nvPr/>
        </p:nvSpPr>
        <p:spPr bwMode="auto">
          <a:xfrm>
            <a:off x="4948823" y="5904200"/>
            <a:ext cx="513563" cy="324590"/>
          </a:xfrm>
          <a:custGeom>
            <a:avLst/>
            <a:gdLst>
              <a:gd name="T0" fmla="*/ 69 w 101"/>
              <a:gd name="T1" fmla="*/ 63 h 63"/>
              <a:gd name="T2" fmla="*/ 31 w 101"/>
              <a:gd name="T3" fmla="*/ 63 h 63"/>
              <a:gd name="T4" fmla="*/ 0 w 101"/>
              <a:gd name="T5" fmla="*/ 31 h 63"/>
              <a:gd name="T6" fmla="*/ 0 w 101"/>
              <a:gd name="T7" fmla="*/ 31 h 63"/>
              <a:gd name="T8" fmla="*/ 31 w 101"/>
              <a:gd name="T9" fmla="*/ 0 h 63"/>
              <a:gd name="T10" fmla="*/ 69 w 101"/>
              <a:gd name="T11" fmla="*/ 0 h 63"/>
              <a:gd name="T12" fmla="*/ 101 w 101"/>
              <a:gd name="T13" fmla="*/ 31 h 63"/>
              <a:gd name="T14" fmla="*/ 101 w 101"/>
              <a:gd name="T15" fmla="*/ 31 h 63"/>
              <a:gd name="T16" fmla="*/ 69 w 101"/>
              <a:gd name="T17"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63">
                <a:moveTo>
                  <a:pt x="69" y="63"/>
                </a:moveTo>
                <a:cubicBezTo>
                  <a:pt x="31" y="63"/>
                  <a:pt x="31" y="63"/>
                  <a:pt x="31" y="63"/>
                </a:cubicBezTo>
                <a:cubicBezTo>
                  <a:pt x="14" y="63"/>
                  <a:pt x="0" y="49"/>
                  <a:pt x="0" y="31"/>
                </a:cubicBezTo>
                <a:cubicBezTo>
                  <a:pt x="0" y="31"/>
                  <a:pt x="0" y="31"/>
                  <a:pt x="0" y="31"/>
                </a:cubicBezTo>
                <a:cubicBezTo>
                  <a:pt x="0" y="14"/>
                  <a:pt x="14" y="0"/>
                  <a:pt x="31" y="0"/>
                </a:cubicBezTo>
                <a:cubicBezTo>
                  <a:pt x="69" y="0"/>
                  <a:pt x="69" y="0"/>
                  <a:pt x="69" y="0"/>
                </a:cubicBezTo>
                <a:cubicBezTo>
                  <a:pt x="87" y="0"/>
                  <a:pt x="101" y="14"/>
                  <a:pt x="101" y="31"/>
                </a:cubicBezTo>
                <a:cubicBezTo>
                  <a:pt x="101" y="31"/>
                  <a:pt x="101" y="31"/>
                  <a:pt x="101" y="31"/>
                </a:cubicBezTo>
                <a:cubicBezTo>
                  <a:pt x="101" y="49"/>
                  <a:pt x="87" y="63"/>
                  <a:pt x="69" y="63"/>
                </a:cubicBezTo>
                <a:close/>
              </a:path>
            </a:pathLst>
          </a:custGeom>
          <a:solidFill>
            <a:srgbClr val="966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99" name="Freeform 474">
            <a:extLst>
              <a:ext uri="{FF2B5EF4-FFF2-40B4-BE49-F238E27FC236}">
                <a16:creationId xmlns:a16="http://schemas.microsoft.com/office/drawing/2014/main" id="{FDEA0420-7C27-435B-A7F1-585F276B4E12}"/>
              </a:ext>
            </a:extLst>
          </p:cNvPr>
          <p:cNvSpPr>
            <a:spLocks/>
          </p:cNvSpPr>
          <p:nvPr/>
        </p:nvSpPr>
        <p:spPr bwMode="auto">
          <a:xfrm>
            <a:off x="5462386" y="5904200"/>
            <a:ext cx="513563" cy="324590"/>
          </a:xfrm>
          <a:custGeom>
            <a:avLst/>
            <a:gdLst>
              <a:gd name="T0" fmla="*/ 70 w 101"/>
              <a:gd name="T1" fmla="*/ 63 h 63"/>
              <a:gd name="T2" fmla="*/ 32 w 101"/>
              <a:gd name="T3" fmla="*/ 63 h 63"/>
              <a:gd name="T4" fmla="*/ 0 w 101"/>
              <a:gd name="T5" fmla="*/ 31 h 63"/>
              <a:gd name="T6" fmla="*/ 0 w 101"/>
              <a:gd name="T7" fmla="*/ 31 h 63"/>
              <a:gd name="T8" fmla="*/ 32 w 101"/>
              <a:gd name="T9" fmla="*/ 0 h 63"/>
              <a:gd name="T10" fmla="*/ 70 w 101"/>
              <a:gd name="T11" fmla="*/ 0 h 63"/>
              <a:gd name="T12" fmla="*/ 101 w 101"/>
              <a:gd name="T13" fmla="*/ 31 h 63"/>
              <a:gd name="T14" fmla="*/ 101 w 101"/>
              <a:gd name="T15" fmla="*/ 31 h 63"/>
              <a:gd name="T16" fmla="*/ 70 w 101"/>
              <a:gd name="T17"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63">
                <a:moveTo>
                  <a:pt x="70" y="63"/>
                </a:moveTo>
                <a:cubicBezTo>
                  <a:pt x="32" y="63"/>
                  <a:pt x="32" y="63"/>
                  <a:pt x="32" y="63"/>
                </a:cubicBezTo>
                <a:cubicBezTo>
                  <a:pt x="14" y="63"/>
                  <a:pt x="0" y="49"/>
                  <a:pt x="0" y="31"/>
                </a:cubicBezTo>
                <a:cubicBezTo>
                  <a:pt x="0" y="31"/>
                  <a:pt x="0" y="31"/>
                  <a:pt x="0" y="31"/>
                </a:cubicBezTo>
                <a:cubicBezTo>
                  <a:pt x="0" y="14"/>
                  <a:pt x="14" y="0"/>
                  <a:pt x="32" y="0"/>
                </a:cubicBezTo>
                <a:cubicBezTo>
                  <a:pt x="70" y="0"/>
                  <a:pt x="70" y="0"/>
                  <a:pt x="70" y="0"/>
                </a:cubicBezTo>
                <a:cubicBezTo>
                  <a:pt x="87" y="0"/>
                  <a:pt x="101" y="14"/>
                  <a:pt x="101" y="31"/>
                </a:cubicBezTo>
                <a:cubicBezTo>
                  <a:pt x="101" y="31"/>
                  <a:pt x="101" y="31"/>
                  <a:pt x="101" y="31"/>
                </a:cubicBezTo>
                <a:cubicBezTo>
                  <a:pt x="101" y="49"/>
                  <a:pt x="87" y="63"/>
                  <a:pt x="70" y="63"/>
                </a:cubicBezTo>
                <a:close/>
              </a:path>
            </a:pathLst>
          </a:custGeom>
          <a:solidFill>
            <a:srgbClr val="966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00" name="Freeform 475">
            <a:extLst>
              <a:ext uri="{FF2B5EF4-FFF2-40B4-BE49-F238E27FC236}">
                <a16:creationId xmlns:a16="http://schemas.microsoft.com/office/drawing/2014/main" id="{0358419D-8377-4C56-8F36-27CC83BF5217}"/>
              </a:ext>
            </a:extLst>
          </p:cNvPr>
          <p:cNvSpPr>
            <a:spLocks/>
          </p:cNvSpPr>
          <p:nvPr/>
        </p:nvSpPr>
        <p:spPr bwMode="auto">
          <a:xfrm>
            <a:off x="5975950" y="5904200"/>
            <a:ext cx="518009" cy="324590"/>
          </a:xfrm>
          <a:custGeom>
            <a:avLst/>
            <a:gdLst>
              <a:gd name="T0" fmla="*/ 70 w 102"/>
              <a:gd name="T1" fmla="*/ 63 h 63"/>
              <a:gd name="T2" fmla="*/ 32 w 102"/>
              <a:gd name="T3" fmla="*/ 63 h 63"/>
              <a:gd name="T4" fmla="*/ 0 w 102"/>
              <a:gd name="T5" fmla="*/ 31 h 63"/>
              <a:gd name="T6" fmla="*/ 0 w 102"/>
              <a:gd name="T7" fmla="*/ 31 h 63"/>
              <a:gd name="T8" fmla="*/ 32 w 102"/>
              <a:gd name="T9" fmla="*/ 0 h 63"/>
              <a:gd name="T10" fmla="*/ 70 w 102"/>
              <a:gd name="T11" fmla="*/ 0 h 63"/>
              <a:gd name="T12" fmla="*/ 102 w 102"/>
              <a:gd name="T13" fmla="*/ 31 h 63"/>
              <a:gd name="T14" fmla="*/ 102 w 102"/>
              <a:gd name="T15" fmla="*/ 31 h 63"/>
              <a:gd name="T16" fmla="*/ 70 w 102"/>
              <a:gd name="T17"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2" h="63">
                <a:moveTo>
                  <a:pt x="70" y="63"/>
                </a:moveTo>
                <a:cubicBezTo>
                  <a:pt x="32" y="63"/>
                  <a:pt x="32" y="63"/>
                  <a:pt x="32" y="63"/>
                </a:cubicBezTo>
                <a:cubicBezTo>
                  <a:pt x="15" y="63"/>
                  <a:pt x="0" y="49"/>
                  <a:pt x="0" y="31"/>
                </a:cubicBezTo>
                <a:cubicBezTo>
                  <a:pt x="0" y="31"/>
                  <a:pt x="0" y="31"/>
                  <a:pt x="0" y="31"/>
                </a:cubicBezTo>
                <a:cubicBezTo>
                  <a:pt x="0" y="14"/>
                  <a:pt x="15" y="0"/>
                  <a:pt x="32" y="0"/>
                </a:cubicBezTo>
                <a:cubicBezTo>
                  <a:pt x="70" y="0"/>
                  <a:pt x="70" y="0"/>
                  <a:pt x="70" y="0"/>
                </a:cubicBezTo>
                <a:cubicBezTo>
                  <a:pt x="88" y="0"/>
                  <a:pt x="102" y="14"/>
                  <a:pt x="102" y="31"/>
                </a:cubicBezTo>
                <a:cubicBezTo>
                  <a:pt x="102" y="31"/>
                  <a:pt x="102" y="31"/>
                  <a:pt x="102" y="31"/>
                </a:cubicBezTo>
                <a:cubicBezTo>
                  <a:pt x="102" y="49"/>
                  <a:pt x="88" y="63"/>
                  <a:pt x="70" y="63"/>
                </a:cubicBezTo>
                <a:close/>
              </a:path>
            </a:pathLst>
          </a:custGeom>
          <a:solidFill>
            <a:srgbClr val="966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01" name="Freeform 476">
            <a:extLst>
              <a:ext uri="{FF2B5EF4-FFF2-40B4-BE49-F238E27FC236}">
                <a16:creationId xmlns:a16="http://schemas.microsoft.com/office/drawing/2014/main" id="{174106C9-B868-4181-B78A-39ACF0099271}"/>
              </a:ext>
            </a:extLst>
          </p:cNvPr>
          <p:cNvSpPr>
            <a:spLocks/>
          </p:cNvSpPr>
          <p:nvPr/>
        </p:nvSpPr>
        <p:spPr bwMode="auto">
          <a:xfrm>
            <a:off x="6493959" y="5904200"/>
            <a:ext cx="513563" cy="324590"/>
          </a:xfrm>
          <a:custGeom>
            <a:avLst/>
            <a:gdLst>
              <a:gd name="T0" fmla="*/ 70 w 101"/>
              <a:gd name="T1" fmla="*/ 63 h 63"/>
              <a:gd name="T2" fmla="*/ 32 w 101"/>
              <a:gd name="T3" fmla="*/ 63 h 63"/>
              <a:gd name="T4" fmla="*/ 0 w 101"/>
              <a:gd name="T5" fmla="*/ 31 h 63"/>
              <a:gd name="T6" fmla="*/ 0 w 101"/>
              <a:gd name="T7" fmla="*/ 31 h 63"/>
              <a:gd name="T8" fmla="*/ 32 w 101"/>
              <a:gd name="T9" fmla="*/ 0 h 63"/>
              <a:gd name="T10" fmla="*/ 70 w 101"/>
              <a:gd name="T11" fmla="*/ 0 h 63"/>
              <a:gd name="T12" fmla="*/ 101 w 101"/>
              <a:gd name="T13" fmla="*/ 31 h 63"/>
              <a:gd name="T14" fmla="*/ 101 w 101"/>
              <a:gd name="T15" fmla="*/ 31 h 63"/>
              <a:gd name="T16" fmla="*/ 70 w 101"/>
              <a:gd name="T17"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63">
                <a:moveTo>
                  <a:pt x="70" y="63"/>
                </a:moveTo>
                <a:cubicBezTo>
                  <a:pt x="32" y="63"/>
                  <a:pt x="32" y="63"/>
                  <a:pt x="32" y="63"/>
                </a:cubicBezTo>
                <a:cubicBezTo>
                  <a:pt x="14" y="63"/>
                  <a:pt x="0" y="49"/>
                  <a:pt x="0" y="31"/>
                </a:cubicBezTo>
                <a:cubicBezTo>
                  <a:pt x="0" y="31"/>
                  <a:pt x="0" y="31"/>
                  <a:pt x="0" y="31"/>
                </a:cubicBezTo>
                <a:cubicBezTo>
                  <a:pt x="0" y="14"/>
                  <a:pt x="14" y="0"/>
                  <a:pt x="32" y="0"/>
                </a:cubicBezTo>
                <a:cubicBezTo>
                  <a:pt x="70" y="0"/>
                  <a:pt x="70" y="0"/>
                  <a:pt x="70" y="0"/>
                </a:cubicBezTo>
                <a:cubicBezTo>
                  <a:pt x="87" y="0"/>
                  <a:pt x="101" y="14"/>
                  <a:pt x="101" y="31"/>
                </a:cubicBezTo>
                <a:cubicBezTo>
                  <a:pt x="101" y="31"/>
                  <a:pt x="101" y="31"/>
                  <a:pt x="101" y="31"/>
                </a:cubicBezTo>
                <a:cubicBezTo>
                  <a:pt x="101" y="49"/>
                  <a:pt x="87" y="63"/>
                  <a:pt x="70" y="63"/>
                </a:cubicBezTo>
                <a:close/>
              </a:path>
            </a:pathLst>
          </a:custGeom>
          <a:solidFill>
            <a:srgbClr val="966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02" name="Freeform 477">
            <a:extLst>
              <a:ext uri="{FF2B5EF4-FFF2-40B4-BE49-F238E27FC236}">
                <a16:creationId xmlns:a16="http://schemas.microsoft.com/office/drawing/2014/main" id="{7D219065-11AF-46B0-8E78-5EF9FD79F5F0}"/>
              </a:ext>
            </a:extLst>
          </p:cNvPr>
          <p:cNvSpPr>
            <a:spLocks/>
          </p:cNvSpPr>
          <p:nvPr/>
        </p:nvSpPr>
        <p:spPr bwMode="auto">
          <a:xfrm>
            <a:off x="818082" y="5904200"/>
            <a:ext cx="518009" cy="324590"/>
          </a:xfrm>
          <a:custGeom>
            <a:avLst/>
            <a:gdLst>
              <a:gd name="T0" fmla="*/ 70 w 102"/>
              <a:gd name="T1" fmla="*/ 63 h 63"/>
              <a:gd name="T2" fmla="*/ 32 w 102"/>
              <a:gd name="T3" fmla="*/ 63 h 63"/>
              <a:gd name="T4" fmla="*/ 0 w 102"/>
              <a:gd name="T5" fmla="*/ 31 h 63"/>
              <a:gd name="T6" fmla="*/ 0 w 102"/>
              <a:gd name="T7" fmla="*/ 31 h 63"/>
              <a:gd name="T8" fmla="*/ 32 w 102"/>
              <a:gd name="T9" fmla="*/ 0 h 63"/>
              <a:gd name="T10" fmla="*/ 70 w 102"/>
              <a:gd name="T11" fmla="*/ 0 h 63"/>
              <a:gd name="T12" fmla="*/ 102 w 102"/>
              <a:gd name="T13" fmla="*/ 31 h 63"/>
              <a:gd name="T14" fmla="*/ 102 w 102"/>
              <a:gd name="T15" fmla="*/ 31 h 63"/>
              <a:gd name="T16" fmla="*/ 70 w 102"/>
              <a:gd name="T17"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2" h="63">
                <a:moveTo>
                  <a:pt x="70" y="63"/>
                </a:moveTo>
                <a:cubicBezTo>
                  <a:pt x="32" y="63"/>
                  <a:pt x="32" y="63"/>
                  <a:pt x="32" y="63"/>
                </a:cubicBezTo>
                <a:cubicBezTo>
                  <a:pt x="15" y="63"/>
                  <a:pt x="0" y="49"/>
                  <a:pt x="0" y="31"/>
                </a:cubicBezTo>
                <a:cubicBezTo>
                  <a:pt x="0" y="31"/>
                  <a:pt x="0" y="31"/>
                  <a:pt x="0" y="31"/>
                </a:cubicBezTo>
                <a:cubicBezTo>
                  <a:pt x="0" y="14"/>
                  <a:pt x="15" y="0"/>
                  <a:pt x="32" y="0"/>
                </a:cubicBezTo>
                <a:cubicBezTo>
                  <a:pt x="70" y="0"/>
                  <a:pt x="70" y="0"/>
                  <a:pt x="70" y="0"/>
                </a:cubicBezTo>
                <a:cubicBezTo>
                  <a:pt x="87" y="0"/>
                  <a:pt x="102" y="14"/>
                  <a:pt x="102" y="31"/>
                </a:cubicBezTo>
                <a:cubicBezTo>
                  <a:pt x="102" y="31"/>
                  <a:pt x="102" y="31"/>
                  <a:pt x="102" y="31"/>
                </a:cubicBezTo>
                <a:cubicBezTo>
                  <a:pt x="102" y="49"/>
                  <a:pt x="87" y="63"/>
                  <a:pt x="70" y="63"/>
                </a:cubicBezTo>
                <a:close/>
              </a:path>
            </a:pathLst>
          </a:custGeom>
          <a:solidFill>
            <a:srgbClr val="966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03" name="Freeform 478">
            <a:extLst>
              <a:ext uri="{FF2B5EF4-FFF2-40B4-BE49-F238E27FC236}">
                <a16:creationId xmlns:a16="http://schemas.microsoft.com/office/drawing/2014/main" id="{BB943E53-065D-48E1-B202-169C8EFFAD94}"/>
              </a:ext>
            </a:extLst>
          </p:cNvPr>
          <p:cNvSpPr>
            <a:spLocks/>
          </p:cNvSpPr>
          <p:nvPr/>
        </p:nvSpPr>
        <p:spPr bwMode="auto">
          <a:xfrm>
            <a:off x="1336091" y="5904200"/>
            <a:ext cx="513563" cy="324590"/>
          </a:xfrm>
          <a:custGeom>
            <a:avLst/>
            <a:gdLst>
              <a:gd name="T0" fmla="*/ 69 w 101"/>
              <a:gd name="T1" fmla="*/ 63 h 63"/>
              <a:gd name="T2" fmla="*/ 31 w 101"/>
              <a:gd name="T3" fmla="*/ 63 h 63"/>
              <a:gd name="T4" fmla="*/ 0 w 101"/>
              <a:gd name="T5" fmla="*/ 31 h 63"/>
              <a:gd name="T6" fmla="*/ 0 w 101"/>
              <a:gd name="T7" fmla="*/ 31 h 63"/>
              <a:gd name="T8" fmla="*/ 31 w 101"/>
              <a:gd name="T9" fmla="*/ 0 h 63"/>
              <a:gd name="T10" fmla="*/ 69 w 101"/>
              <a:gd name="T11" fmla="*/ 0 h 63"/>
              <a:gd name="T12" fmla="*/ 101 w 101"/>
              <a:gd name="T13" fmla="*/ 31 h 63"/>
              <a:gd name="T14" fmla="*/ 101 w 101"/>
              <a:gd name="T15" fmla="*/ 31 h 63"/>
              <a:gd name="T16" fmla="*/ 69 w 101"/>
              <a:gd name="T17"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63">
                <a:moveTo>
                  <a:pt x="69" y="63"/>
                </a:moveTo>
                <a:cubicBezTo>
                  <a:pt x="31" y="63"/>
                  <a:pt x="31" y="63"/>
                  <a:pt x="31" y="63"/>
                </a:cubicBezTo>
                <a:cubicBezTo>
                  <a:pt x="14" y="63"/>
                  <a:pt x="0" y="49"/>
                  <a:pt x="0" y="31"/>
                </a:cubicBezTo>
                <a:cubicBezTo>
                  <a:pt x="0" y="31"/>
                  <a:pt x="0" y="31"/>
                  <a:pt x="0" y="31"/>
                </a:cubicBezTo>
                <a:cubicBezTo>
                  <a:pt x="0" y="14"/>
                  <a:pt x="14" y="0"/>
                  <a:pt x="31" y="0"/>
                </a:cubicBezTo>
                <a:cubicBezTo>
                  <a:pt x="69" y="0"/>
                  <a:pt x="69" y="0"/>
                  <a:pt x="69" y="0"/>
                </a:cubicBezTo>
                <a:cubicBezTo>
                  <a:pt x="87" y="0"/>
                  <a:pt x="101" y="14"/>
                  <a:pt x="101" y="31"/>
                </a:cubicBezTo>
                <a:cubicBezTo>
                  <a:pt x="101" y="31"/>
                  <a:pt x="101" y="31"/>
                  <a:pt x="101" y="31"/>
                </a:cubicBezTo>
                <a:cubicBezTo>
                  <a:pt x="101" y="49"/>
                  <a:pt x="87" y="63"/>
                  <a:pt x="69" y="63"/>
                </a:cubicBezTo>
                <a:close/>
              </a:path>
            </a:pathLst>
          </a:custGeom>
          <a:solidFill>
            <a:srgbClr val="966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04" name="Freeform 479">
            <a:extLst>
              <a:ext uri="{FF2B5EF4-FFF2-40B4-BE49-F238E27FC236}">
                <a16:creationId xmlns:a16="http://schemas.microsoft.com/office/drawing/2014/main" id="{19D2E3E3-0294-43B3-AC6B-F5903C8C0418}"/>
              </a:ext>
            </a:extLst>
          </p:cNvPr>
          <p:cNvSpPr>
            <a:spLocks/>
          </p:cNvSpPr>
          <p:nvPr/>
        </p:nvSpPr>
        <p:spPr bwMode="auto">
          <a:xfrm>
            <a:off x="1849656" y="5904200"/>
            <a:ext cx="513563" cy="324590"/>
          </a:xfrm>
          <a:custGeom>
            <a:avLst/>
            <a:gdLst>
              <a:gd name="T0" fmla="*/ 70 w 101"/>
              <a:gd name="T1" fmla="*/ 63 h 63"/>
              <a:gd name="T2" fmla="*/ 32 w 101"/>
              <a:gd name="T3" fmla="*/ 63 h 63"/>
              <a:gd name="T4" fmla="*/ 0 w 101"/>
              <a:gd name="T5" fmla="*/ 31 h 63"/>
              <a:gd name="T6" fmla="*/ 0 w 101"/>
              <a:gd name="T7" fmla="*/ 31 h 63"/>
              <a:gd name="T8" fmla="*/ 32 w 101"/>
              <a:gd name="T9" fmla="*/ 0 h 63"/>
              <a:gd name="T10" fmla="*/ 70 w 101"/>
              <a:gd name="T11" fmla="*/ 0 h 63"/>
              <a:gd name="T12" fmla="*/ 101 w 101"/>
              <a:gd name="T13" fmla="*/ 31 h 63"/>
              <a:gd name="T14" fmla="*/ 101 w 101"/>
              <a:gd name="T15" fmla="*/ 31 h 63"/>
              <a:gd name="T16" fmla="*/ 70 w 101"/>
              <a:gd name="T17"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63">
                <a:moveTo>
                  <a:pt x="70" y="63"/>
                </a:moveTo>
                <a:cubicBezTo>
                  <a:pt x="32" y="63"/>
                  <a:pt x="32" y="63"/>
                  <a:pt x="32" y="63"/>
                </a:cubicBezTo>
                <a:cubicBezTo>
                  <a:pt x="14" y="63"/>
                  <a:pt x="0" y="49"/>
                  <a:pt x="0" y="31"/>
                </a:cubicBezTo>
                <a:cubicBezTo>
                  <a:pt x="0" y="31"/>
                  <a:pt x="0" y="31"/>
                  <a:pt x="0" y="31"/>
                </a:cubicBezTo>
                <a:cubicBezTo>
                  <a:pt x="0" y="14"/>
                  <a:pt x="14" y="0"/>
                  <a:pt x="32" y="0"/>
                </a:cubicBezTo>
                <a:cubicBezTo>
                  <a:pt x="70" y="0"/>
                  <a:pt x="70" y="0"/>
                  <a:pt x="70" y="0"/>
                </a:cubicBezTo>
                <a:cubicBezTo>
                  <a:pt x="87" y="0"/>
                  <a:pt x="101" y="14"/>
                  <a:pt x="101" y="31"/>
                </a:cubicBezTo>
                <a:cubicBezTo>
                  <a:pt x="101" y="31"/>
                  <a:pt x="101" y="31"/>
                  <a:pt x="101" y="31"/>
                </a:cubicBezTo>
                <a:cubicBezTo>
                  <a:pt x="101" y="49"/>
                  <a:pt x="87" y="63"/>
                  <a:pt x="70" y="63"/>
                </a:cubicBezTo>
                <a:close/>
              </a:path>
            </a:pathLst>
          </a:custGeom>
          <a:solidFill>
            <a:srgbClr val="966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05" name="Freeform 480">
            <a:extLst>
              <a:ext uri="{FF2B5EF4-FFF2-40B4-BE49-F238E27FC236}">
                <a16:creationId xmlns:a16="http://schemas.microsoft.com/office/drawing/2014/main" id="{6292BF22-9B72-4E2F-88CF-21A4C5F880BA}"/>
              </a:ext>
            </a:extLst>
          </p:cNvPr>
          <p:cNvSpPr>
            <a:spLocks/>
          </p:cNvSpPr>
          <p:nvPr/>
        </p:nvSpPr>
        <p:spPr bwMode="auto">
          <a:xfrm>
            <a:off x="2363218" y="5904200"/>
            <a:ext cx="520233" cy="324590"/>
          </a:xfrm>
          <a:custGeom>
            <a:avLst/>
            <a:gdLst>
              <a:gd name="T0" fmla="*/ 70 w 102"/>
              <a:gd name="T1" fmla="*/ 63 h 63"/>
              <a:gd name="T2" fmla="*/ 32 w 102"/>
              <a:gd name="T3" fmla="*/ 63 h 63"/>
              <a:gd name="T4" fmla="*/ 0 w 102"/>
              <a:gd name="T5" fmla="*/ 31 h 63"/>
              <a:gd name="T6" fmla="*/ 0 w 102"/>
              <a:gd name="T7" fmla="*/ 31 h 63"/>
              <a:gd name="T8" fmla="*/ 32 w 102"/>
              <a:gd name="T9" fmla="*/ 0 h 63"/>
              <a:gd name="T10" fmla="*/ 70 w 102"/>
              <a:gd name="T11" fmla="*/ 0 h 63"/>
              <a:gd name="T12" fmla="*/ 102 w 102"/>
              <a:gd name="T13" fmla="*/ 31 h 63"/>
              <a:gd name="T14" fmla="*/ 102 w 102"/>
              <a:gd name="T15" fmla="*/ 31 h 63"/>
              <a:gd name="T16" fmla="*/ 70 w 102"/>
              <a:gd name="T17"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2" h="63">
                <a:moveTo>
                  <a:pt x="70" y="63"/>
                </a:moveTo>
                <a:cubicBezTo>
                  <a:pt x="32" y="63"/>
                  <a:pt x="32" y="63"/>
                  <a:pt x="32" y="63"/>
                </a:cubicBezTo>
                <a:cubicBezTo>
                  <a:pt x="15" y="63"/>
                  <a:pt x="0" y="49"/>
                  <a:pt x="0" y="31"/>
                </a:cubicBezTo>
                <a:cubicBezTo>
                  <a:pt x="0" y="31"/>
                  <a:pt x="0" y="31"/>
                  <a:pt x="0" y="31"/>
                </a:cubicBezTo>
                <a:cubicBezTo>
                  <a:pt x="0" y="14"/>
                  <a:pt x="15" y="0"/>
                  <a:pt x="32" y="0"/>
                </a:cubicBezTo>
                <a:cubicBezTo>
                  <a:pt x="70" y="0"/>
                  <a:pt x="70" y="0"/>
                  <a:pt x="70" y="0"/>
                </a:cubicBezTo>
                <a:cubicBezTo>
                  <a:pt x="88" y="0"/>
                  <a:pt x="102" y="14"/>
                  <a:pt x="102" y="31"/>
                </a:cubicBezTo>
                <a:cubicBezTo>
                  <a:pt x="102" y="31"/>
                  <a:pt x="102" y="31"/>
                  <a:pt x="102" y="31"/>
                </a:cubicBezTo>
                <a:cubicBezTo>
                  <a:pt x="102" y="49"/>
                  <a:pt x="88" y="63"/>
                  <a:pt x="70" y="63"/>
                </a:cubicBezTo>
                <a:close/>
              </a:path>
            </a:pathLst>
          </a:custGeom>
          <a:solidFill>
            <a:srgbClr val="966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06" name="Freeform 481">
            <a:extLst>
              <a:ext uri="{FF2B5EF4-FFF2-40B4-BE49-F238E27FC236}">
                <a16:creationId xmlns:a16="http://schemas.microsoft.com/office/drawing/2014/main" id="{33EAC009-44A2-4426-B9D4-9B606EA14105}"/>
              </a:ext>
            </a:extLst>
          </p:cNvPr>
          <p:cNvSpPr>
            <a:spLocks/>
          </p:cNvSpPr>
          <p:nvPr/>
        </p:nvSpPr>
        <p:spPr bwMode="auto">
          <a:xfrm>
            <a:off x="2883452" y="5904200"/>
            <a:ext cx="513563" cy="324590"/>
          </a:xfrm>
          <a:custGeom>
            <a:avLst/>
            <a:gdLst>
              <a:gd name="T0" fmla="*/ 70 w 101"/>
              <a:gd name="T1" fmla="*/ 63 h 63"/>
              <a:gd name="T2" fmla="*/ 32 w 101"/>
              <a:gd name="T3" fmla="*/ 63 h 63"/>
              <a:gd name="T4" fmla="*/ 0 w 101"/>
              <a:gd name="T5" fmla="*/ 31 h 63"/>
              <a:gd name="T6" fmla="*/ 0 w 101"/>
              <a:gd name="T7" fmla="*/ 31 h 63"/>
              <a:gd name="T8" fmla="*/ 32 w 101"/>
              <a:gd name="T9" fmla="*/ 0 h 63"/>
              <a:gd name="T10" fmla="*/ 70 w 101"/>
              <a:gd name="T11" fmla="*/ 0 h 63"/>
              <a:gd name="T12" fmla="*/ 101 w 101"/>
              <a:gd name="T13" fmla="*/ 31 h 63"/>
              <a:gd name="T14" fmla="*/ 101 w 101"/>
              <a:gd name="T15" fmla="*/ 31 h 63"/>
              <a:gd name="T16" fmla="*/ 70 w 101"/>
              <a:gd name="T17"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63">
                <a:moveTo>
                  <a:pt x="70" y="63"/>
                </a:moveTo>
                <a:cubicBezTo>
                  <a:pt x="32" y="63"/>
                  <a:pt x="32" y="63"/>
                  <a:pt x="32" y="63"/>
                </a:cubicBezTo>
                <a:cubicBezTo>
                  <a:pt x="14" y="63"/>
                  <a:pt x="0" y="49"/>
                  <a:pt x="0" y="31"/>
                </a:cubicBezTo>
                <a:cubicBezTo>
                  <a:pt x="0" y="31"/>
                  <a:pt x="0" y="31"/>
                  <a:pt x="0" y="31"/>
                </a:cubicBezTo>
                <a:cubicBezTo>
                  <a:pt x="0" y="14"/>
                  <a:pt x="14" y="0"/>
                  <a:pt x="32" y="0"/>
                </a:cubicBezTo>
                <a:cubicBezTo>
                  <a:pt x="70" y="0"/>
                  <a:pt x="70" y="0"/>
                  <a:pt x="70" y="0"/>
                </a:cubicBezTo>
                <a:cubicBezTo>
                  <a:pt x="87" y="0"/>
                  <a:pt x="101" y="14"/>
                  <a:pt x="101" y="31"/>
                </a:cubicBezTo>
                <a:cubicBezTo>
                  <a:pt x="101" y="31"/>
                  <a:pt x="101" y="31"/>
                  <a:pt x="101" y="31"/>
                </a:cubicBezTo>
                <a:cubicBezTo>
                  <a:pt x="101" y="49"/>
                  <a:pt x="87" y="63"/>
                  <a:pt x="70" y="63"/>
                </a:cubicBezTo>
                <a:close/>
              </a:path>
            </a:pathLst>
          </a:custGeom>
          <a:solidFill>
            <a:srgbClr val="966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07" name="Freeform 482">
            <a:extLst>
              <a:ext uri="{FF2B5EF4-FFF2-40B4-BE49-F238E27FC236}">
                <a16:creationId xmlns:a16="http://schemas.microsoft.com/office/drawing/2014/main" id="{80615B62-597A-45EC-A859-6A842DED33E6}"/>
              </a:ext>
            </a:extLst>
          </p:cNvPr>
          <p:cNvSpPr>
            <a:spLocks/>
          </p:cNvSpPr>
          <p:nvPr/>
        </p:nvSpPr>
        <p:spPr bwMode="auto">
          <a:xfrm>
            <a:off x="3397016" y="5904200"/>
            <a:ext cx="518009" cy="324590"/>
          </a:xfrm>
          <a:custGeom>
            <a:avLst/>
            <a:gdLst>
              <a:gd name="T0" fmla="*/ 70 w 102"/>
              <a:gd name="T1" fmla="*/ 63 h 63"/>
              <a:gd name="T2" fmla="*/ 32 w 102"/>
              <a:gd name="T3" fmla="*/ 63 h 63"/>
              <a:gd name="T4" fmla="*/ 0 w 102"/>
              <a:gd name="T5" fmla="*/ 31 h 63"/>
              <a:gd name="T6" fmla="*/ 0 w 102"/>
              <a:gd name="T7" fmla="*/ 31 h 63"/>
              <a:gd name="T8" fmla="*/ 32 w 102"/>
              <a:gd name="T9" fmla="*/ 0 h 63"/>
              <a:gd name="T10" fmla="*/ 70 w 102"/>
              <a:gd name="T11" fmla="*/ 0 h 63"/>
              <a:gd name="T12" fmla="*/ 102 w 102"/>
              <a:gd name="T13" fmla="*/ 31 h 63"/>
              <a:gd name="T14" fmla="*/ 102 w 102"/>
              <a:gd name="T15" fmla="*/ 31 h 63"/>
              <a:gd name="T16" fmla="*/ 70 w 102"/>
              <a:gd name="T17"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2" h="63">
                <a:moveTo>
                  <a:pt x="70" y="63"/>
                </a:moveTo>
                <a:cubicBezTo>
                  <a:pt x="32" y="63"/>
                  <a:pt x="32" y="63"/>
                  <a:pt x="32" y="63"/>
                </a:cubicBezTo>
                <a:cubicBezTo>
                  <a:pt x="15" y="63"/>
                  <a:pt x="0" y="49"/>
                  <a:pt x="0" y="31"/>
                </a:cubicBezTo>
                <a:cubicBezTo>
                  <a:pt x="0" y="31"/>
                  <a:pt x="0" y="31"/>
                  <a:pt x="0" y="31"/>
                </a:cubicBezTo>
                <a:cubicBezTo>
                  <a:pt x="0" y="14"/>
                  <a:pt x="15" y="0"/>
                  <a:pt x="32" y="0"/>
                </a:cubicBezTo>
                <a:cubicBezTo>
                  <a:pt x="70" y="0"/>
                  <a:pt x="70" y="0"/>
                  <a:pt x="70" y="0"/>
                </a:cubicBezTo>
                <a:cubicBezTo>
                  <a:pt x="87" y="0"/>
                  <a:pt x="102" y="14"/>
                  <a:pt x="102" y="31"/>
                </a:cubicBezTo>
                <a:cubicBezTo>
                  <a:pt x="102" y="31"/>
                  <a:pt x="102" y="31"/>
                  <a:pt x="102" y="31"/>
                </a:cubicBezTo>
                <a:cubicBezTo>
                  <a:pt x="102" y="49"/>
                  <a:pt x="87" y="63"/>
                  <a:pt x="70" y="63"/>
                </a:cubicBezTo>
                <a:close/>
              </a:path>
            </a:pathLst>
          </a:custGeom>
          <a:solidFill>
            <a:srgbClr val="966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08" name="Freeform 483">
            <a:extLst>
              <a:ext uri="{FF2B5EF4-FFF2-40B4-BE49-F238E27FC236}">
                <a16:creationId xmlns:a16="http://schemas.microsoft.com/office/drawing/2014/main" id="{FC02B71A-82C8-4F26-9712-07E68405AD89}"/>
              </a:ext>
            </a:extLst>
          </p:cNvPr>
          <p:cNvSpPr>
            <a:spLocks/>
          </p:cNvSpPr>
          <p:nvPr/>
        </p:nvSpPr>
        <p:spPr bwMode="auto">
          <a:xfrm>
            <a:off x="-215716" y="5904200"/>
            <a:ext cx="520233" cy="324590"/>
          </a:xfrm>
          <a:custGeom>
            <a:avLst/>
            <a:gdLst>
              <a:gd name="T0" fmla="*/ 70 w 102"/>
              <a:gd name="T1" fmla="*/ 63 h 63"/>
              <a:gd name="T2" fmla="*/ 32 w 102"/>
              <a:gd name="T3" fmla="*/ 63 h 63"/>
              <a:gd name="T4" fmla="*/ 0 w 102"/>
              <a:gd name="T5" fmla="*/ 31 h 63"/>
              <a:gd name="T6" fmla="*/ 0 w 102"/>
              <a:gd name="T7" fmla="*/ 31 h 63"/>
              <a:gd name="T8" fmla="*/ 32 w 102"/>
              <a:gd name="T9" fmla="*/ 0 h 63"/>
              <a:gd name="T10" fmla="*/ 70 w 102"/>
              <a:gd name="T11" fmla="*/ 0 h 63"/>
              <a:gd name="T12" fmla="*/ 102 w 102"/>
              <a:gd name="T13" fmla="*/ 31 h 63"/>
              <a:gd name="T14" fmla="*/ 102 w 102"/>
              <a:gd name="T15" fmla="*/ 31 h 63"/>
              <a:gd name="T16" fmla="*/ 70 w 102"/>
              <a:gd name="T17"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2" h="63">
                <a:moveTo>
                  <a:pt x="70" y="63"/>
                </a:moveTo>
                <a:cubicBezTo>
                  <a:pt x="32" y="63"/>
                  <a:pt x="32" y="63"/>
                  <a:pt x="32" y="63"/>
                </a:cubicBezTo>
                <a:cubicBezTo>
                  <a:pt x="15" y="63"/>
                  <a:pt x="0" y="49"/>
                  <a:pt x="0" y="31"/>
                </a:cubicBezTo>
                <a:cubicBezTo>
                  <a:pt x="0" y="31"/>
                  <a:pt x="0" y="31"/>
                  <a:pt x="0" y="31"/>
                </a:cubicBezTo>
                <a:cubicBezTo>
                  <a:pt x="0" y="14"/>
                  <a:pt x="15" y="0"/>
                  <a:pt x="32" y="0"/>
                </a:cubicBezTo>
                <a:cubicBezTo>
                  <a:pt x="70" y="0"/>
                  <a:pt x="70" y="0"/>
                  <a:pt x="70" y="0"/>
                </a:cubicBezTo>
                <a:cubicBezTo>
                  <a:pt x="88" y="0"/>
                  <a:pt x="102" y="14"/>
                  <a:pt x="102" y="31"/>
                </a:cubicBezTo>
                <a:cubicBezTo>
                  <a:pt x="102" y="31"/>
                  <a:pt x="102" y="31"/>
                  <a:pt x="102" y="31"/>
                </a:cubicBezTo>
                <a:cubicBezTo>
                  <a:pt x="102" y="49"/>
                  <a:pt x="88" y="63"/>
                  <a:pt x="70" y="63"/>
                </a:cubicBezTo>
                <a:close/>
              </a:path>
            </a:pathLst>
          </a:custGeom>
          <a:solidFill>
            <a:srgbClr val="966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09" name="Freeform 484">
            <a:extLst>
              <a:ext uri="{FF2B5EF4-FFF2-40B4-BE49-F238E27FC236}">
                <a16:creationId xmlns:a16="http://schemas.microsoft.com/office/drawing/2014/main" id="{EB39652B-6CFE-4202-B3F6-31EA0E395451}"/>
              </a:ext>
            </a:extLst>
          </p:cNvPr>
          <p:cNvSpPr>
            <a:spLocks/>
          </p:cNvSpPr>
          <p:nvPr/>
        </p:nvSpPr>
        <p:spPr bwMode="auto">
          <a:xfrm>
            <a:off x="304518" y="5904200"/>
            <a:ext cx="513563" cy="324590"/>
          </a:xfrm>
          <a:custGeom>
            <a:avLst/>
            <a:gdLst>
              <a:gd name="T0" fmla="*/ 70 w 101"/>
              <a:gd name="T1" fmla="*/ 63 h 63"/>
              <a:gd name="T2" fmla="*/ 32 w 101"/>
              <a:gd name="T3" fmla="*/ 63 h 63"/>
              <a:gd name="T4" fmla="*/ 0 w 101"/>
              <a:gd name="T5" fmla="*/ 31 h 63"/>
              <a:gd name="T6" fmla="*/ 0 w 101"/>
              <a:gd name="T7" fmla="*/ 31 h 63"/>
              <a:gd name="T8" fmla="*/ 32 w 101"/>
              <a:gd name="T9" fmla="*/ 0 h 63"/>
              <a:gd name="T10" fmla="*/ 70 w 101"/>
              <a:gd name="T11" fmla="*/ 0 h 63"/>
              <a:gd name="T12" fmla="*/ 101 w 101"/>
              <a:gd name="T13" fmla="*/ 31 h 63"/>
              <a:gd name="T14" fmla="*/ 101 w 101"/>
              <a:gd name="T15" fmla="*/ 31 h 63"/>
              <a:gd name="T16" fmla="*/ 70 w 101"/>
              <a:gd name="T17"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63">
                <a:moveTo>
                  <a:pt x="70" y="63"/>
                </a:moveTo>
                <a:cubicBezTo>
                  <a:pt x="32" y="63"/>
                  <a:pt x="32" y="63"/>
                  <a:pt x="32" y="63"/>
                </a:cubicBezTo>
                <a:cubicBezTo>
                  <a:pt x="14" y="63"/>
                  <a:pt x="0" y="49"/>
                  <a:pt x="0" y="31"/>
                </a:cubicBezTo>
                <a:cubicBezTo>
                  <a:pt x="0" y="31"/>
                  <a:pt x="0" y="31"/>
                  <a:pt x="0" y="31"/>
                </a:cubicBezTo>
                <a:cubicBezTo>
                  <a:pt x="0" y="14"/>
                  <a:pt x="14" y="0"/>
                  <a:pt x="32" y="0"/>
                </a:cubicBezTo>
                <a:cubicBezTo>
                  <a:pt x="70" y="0"/>
                  <a:pt x="70" y="0"/>
                  <a:pt x="70" y="0"/>
                </a:cubicBezTo>
                <a:cubicBezTo>
                  <a:pt x="87" y="0"/>
                  <a:pt x="101" y="14"/>
                  <a:pt x="101" y="31"/>
                </a:cubicBezTo>
                <a:cubicBezTo>
                  <a:pt x="101" y="31"/>
                  <a:pt x="101" y="31"/>
                  <a:pt x="101" y="31"/>
                </a:cubicBezTo>
                <a:cubicBezTo>
                  <a:pt x="101" y="49"/>
                  <a:pt x="87" y="63"/>
                  <a:pt x="70" y="63"/>
                </a:cubicBezTo>
                <a:close/>
              </a:path>
            </a:pathLst>
          </a:custGeom>
          <a:solidFill>
            <a:srgbClr val="966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10" name="Oval 485">
            <a:extLst>
              <a:ext uri="{FF2B5EF4-FFF2-40B4-BE49-F238E27FC236}">
                <a16:creationId xmlns:a16="http://schemas.microsoft.com/office/drawing/2014/main" id="{3662BAAD-C9F3-4921-A780-1D605AB41D7A}"/>
              </a:ext>
            </a:extLst>
          </p:cNvPr>
          <p:cNvSpPr>
            <a:spLocks noChangeArrowheads="1"/>
          </p:cNvSpPr>
          <p:nvPr/>
        </p:nvSpPr>
        <p:spPr bwMode="auto">
          <a:xfrm>
            <a:off x="3803864" y="6326612"/>
            <a:ext cx="111161" cy="111161"/>
          </a:xfrm>
          <a:prstGeom prst="ellipse">
            <a:avLst/>
          </a:prstGeom>
          <a:solidFill>
            <a:srgbClr val="794E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11" name="Oval 486">
            <a:extLst>
              <a:ext uri="{FF2B5EF4-FFF2-40B4-BE49-F238E27FC236}">
                <a16:creationId xmlns:a16="http://schemas.microsoft.com/office/drawing/2014/main" id="{FA5B82B5-3CA7-49EB-9FCB-7177DC5356B8}"/>
              </a:ext>
            </a:extLst>
          </p:cNvPr>
          <p:cNvSpPr>
            <a:spLocks noChangeArrowheads="1"/>
          </p:cNvSpPr>
          <p:nvPr/>
        </p:nvSpPr>
        <p:spPr bwMode="auto">
          <a:xfrm>
            <a:off x="2541076" y="6130968"/>
            <a:ext cx="108937" cy="113385"/>
          </a:xfrm>
          <a:prstGeom prst="ellipse">
            <a:avLst/>
          </a:prstGeom>
          <a:solidFill>
            <a:srgbClr val="794E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12" name="Oval 487">
            <a:extLst>
              <a:ext uri="{FF2B5EF4-FFF2-40B4-BE49-F238E27FC236}">
                <a16:creationId xmlns:a16="http://schemas.microsoft.com/office/drawing/2014/main" id="{7404585B-6FB1-44A6-BC19-EA3554501A03}"/>
              </a:ext>
            </a:extLst>
          </p:cNvPr>
          <p:cNvSpPr>
            <a:spLocks noChangeArrowheads="1"/>
          </p:cNvSpPr>
          <p:nvPr/>
        </p:nvSpPr>
        <p:spPr bwMode="auto">
          <a:xfrm>
            <a:off x="4226276" y="6084280"/>
            <a:ext cx="186750" cy="184528"/>
          </a:xfrm>
          <a:prstGeom prst="ellipse">
            <a:avLst/>
          </a:prstGeom>
          <a:solidFill>
            <a:srgbClr val="794E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13" name="Oval 488">
            <a:extLst>
              <a:ext uri="{FF2B5EF4-FFF2-40B4-BE49-F238E27FC236}">
                <a16:creationId xmlns:a16="http://schemas.microsoft.com/office/drawing/2014/main" id="{3351F6A2-D004-407A-88A6-9F7AAA4ECC3B}"/>
              </a:ext>
            </a:extLst>
          </p:cNvPr>
          <p:cNvSpPr>
            <a:spLocks noChangeArrowheads="1"/>
          </p:cNvSpPr>
          <p:nvPr/>
        </p:nvSpPr>
        <p:spPr bwMode="auto">
          <a:xfrm>
            <a:off x="5177814" y="6304379"/>
            <a:ext cx="146732" cy="148956"/>
          </a:xfrm>
          <a:prstGeom prst="ellipse">
            <a:avLst/>
          </a:prstGeom>
          <a:solidFill>
            <a:srgbClr val="794E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14" name="Oval 489">
            <a:extLst>
              <a:ext uri="{FF2B5EF4-FFF2-40B4-BE49-F238E27FC236}">
                <a16:creationId xmlns:a16="http://schemas.microsoft.com/office/drawing/2014/main" id="{5B966013-CAF8-4C83-B114-3460769E910A}"/>
              </a:ext>
            </a:extLst>
          </p:cNvPr>
          <p:cNvSpPr>
            <a:spLocks noChangeArrowheads="1"/>
          </p:cNvSpPr>
          <p:nvPr/>
        </p:nvSpPr>
        <p:spPr bwMode="auto">
          <a:xfrm>
            <a:off x="5766967" y="6155423"/>
            <a:ext cx="126723" cy="133393"/>
          </a:xfrm>
          <a:prstGeom prst="ellipse">
            <a:avLst/>
          </a:prstGeom>
          <a:solidFill>
            <a:srgbClr val="794E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15" name="Oval 490">
            <a:extLst>
              <a:ext uri="{FF2B5EF4-FFF2-40B4-BE49-F238E27FC236}">
                <a16:creationId xmlns:a16="http://schemas.microsoft.com/office/drawing/2014/main" id="{B96DB2FD-5CF8-4984-A844-11D93A2535A0}"/>
              </a:ext>
            </a:extLst>
          </p:cNvPr>
          <p:cNvSpPr>
            <a:spLocks noChangeArrowheads="1"/>
          </p:cNvSpPr>
          <p:nvPr/>
        </p:nvSpPr>
        <p:spPr bwMode="auto">
          <a:xfrm>
            <a:off x="6556209" y="6186548"/>
            <a:ext cx="269009" cy="266786"/>
          </a:xfrm>
          <a:prstGeom prst="ellipse">
            <a:avLst/>
          </a:prstGeom>
          <a:solidFill>
            <a:srgbClr val="794E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16" name="Freeform 416">
            <a:extLst>
              <a:ext uri="{FF2B5EF4-FFF2-40B4-BE49-F238E27FC236}">
                <a16:creationId xmlns:a16="http://schemas.microsoft.com/office/drawing/2014/main" id="{B852794D-10FF-47D0-84A1-D0FEE6AEFED6}"/>
              </a:ext>
            </a:extLst>
          </p:cNvPr>
          <p:cNvSpPr>
            <a:spLocks/>
          </p:cNvSpPr>
          <p:nvPr/>
        </p:nvSpPr>
        <p:spPr bwMode="auto">
          <a:xfrm>
            <a:off x="7252078" y="5646306"/>
            <a:ext cx="177858" cy="191197"/>
          </a:xfrm>
          <a:custGeom>
            <a:avLst/>
            <a:gdLst>
              <a:gd name="T0" fmla="*/ 0 w 35"/>
              <a:gd name="T1" fmla="*/ 26 h 37"/>
              <a:gd name="T2" fmla="*/ 35 w 35"/>
              <a:gd name="T3" fmla="*/ 4 h 37"/>
              <a:gd name="T4" fmla="*/ 0 w 35"/>
              <a:gd name="T5" fmla="*/ 26 h 37"/>
            </a:gdLst>
            <a:ahLst/>
            <a:cxnLst>
              <a:cxn ang="0">
                <a:pos x="T0" y="T1"/>
              </a:cxn>
              <a:cxn ang="0">
                <a:pos x="T2" y="T3"/>
              </a:cxn>
              <a:cxn ang="0">
                <a:pos x="T4" y="T5"/>
              </a:cxn>
            </a:cxnLst>
            <a:rect l="0" t="0" r="r" b="b"/>
            <a:pathLst>
              <a:path w="35" h="37">
                <a:moveTo>
                  <a:pt x="0" y="26"/>
                </a:moveTo>
                <a:cubicBezTo>
                  <a:pt x="0" y="26"/>
                  <a:pt x="8" y="0"/>
                  <a:pt x="35" y="4"/>
                </a:cubicBezTo>
                <a:cubicBezTo>
                  <a:pt x="35" y="4"/>
                  <a:pt x="33" y="37"/>
                  <a:pt x="0" y="26"/>
                </a:cubicBezTo>
                <a:close/>
              </a:path>
            </a:pathLst>
          </a:custGeom>
          <a:solidFill>
            <a:srgbClr val="72A4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nvGrpSpPr>
          <p:cNvPr id="117" name="Group 194">
            <a:extLst>
              <a:ext uri="{FF2B5EF4-FFF2-40B4-BE49-F238E27FC236}">
                <a16:creationId xmlns:a16="http://schemas.microsoft.com/office/drawing/2014/main" id="{2DB5691D-1608-4827-8C13-E47F371A2720}"/>
              </a:ext>
            </a:extLst>
          </p:cNvPr>
          <p:cNvGrpSpPr/>
          <p:nvPr/>
        </p:nvGrpSpPr>
        <p:grpSpPr>
          <a:xfrm>
            <a:off x="6929677" y="3566160"/>
            <a:ext cx="1270794" cy="2393621"/>
            <a:chOff x="7069774" y="5348395"/>
            <a:chExt cx="324590" cy="611386"/>
          </a:xfrm>
        </p:grpSpPr>
        <p:sp>
          <p:nvSpPr>
            <p:cNvPr id="118" name="Freeform 415">
              <a:extLst>
                <a:ext uri="{FF2B5EF4-FFF2-40B4-BE49-F238E27FC236}">
                  <a16:creationId xmlns:a16="http://schemas.microsoft.com/office/drawing/2014/main" id="{3714664A-EED7-4D8C-80AD-CC3D26D89465}"/>
                </a:ext>
              </a:extLst>
            </p:cNvPr>
            <p:cNvSpPr>
              <a:spLocks/>
            </p:cNvSpPr>
            <p:nvPr/>
          </p:nvSpPr>
          <p:spPr bwMode="auto">
            <a:xfrm>
              <a:off x="7176488" y="5379520"/>
              <a:ext cx="146732" cy="580261"/>
            </a:xfrm>
            <a:custGeom>
              <a:avLst/>
              <a:gdLst>
                <a:gd name="T0" fmla="*/ 0 w 29"/>
                <a:gd name="T1" fmla="*/ 113 h 113"/>
                <a:gd name="T2" fmla="*/ 11 w 29"/>
                <a:gd name="T3" fmla="*/ 65 h 113"/>
                <a:gd name="T4" fmla="*/ 29 w 29"/>
                <a:gd name="T5" fmla="*/ 0 h 113"/>
                <a:gd name="T6" fmla="*/ 17 w 29"/>
                <a:gd name="T7" fmla="*/ 56 h 113"/>
                <a:gd name="T8" fmla="*/ 19 w 29"/>
                <a:gd name="T9" fmla="*/ 113 h 113"/>
                <a:gd name="T10" fmla="*/ 0 w 29"/>
                <a:gd name="T11" fmla="*/ 113 h 113"/>
              </a:gdLst>
              <a:ahLst/>
              <a:cxnLst>
                <a:cxn ang="0">
                  <a:pos x="T0" y="T1"/>
                </a:cxn>
                <a:cxn ang="0">
                  <a:pos x="T2" y="T3"/>
                </a:cxn>
                <a:cxn ang="0">
                  <a:pos x="T4" y="T5"/>
                </a:cxn>
                <a:cxn ang="0">
                  <a:pos x="T6" y="T7"/>
                </a:cxn>
                <a:cxn ang="0">
                  <a:pos x="T8" y="T9"/>
                </a:cxn>
                <a:cxn ang="0">
                  <a:pos x="T10" y="T11"/>
                </a:cxn>
              </a:cxnLst>
              <a:rect l="0" t="0" r="r" b="b"/>
              <a:pathLst>
                <a:path w="29" h="113">
                  <a:moveTo>
                    <a:pt x="0" y="113"/>
                  </a:moveTo>
                  <a:cubicBezTo>
                    <a:pt x="0" y="113"/>
                    <a:pt x="18" y="94"/>
                    <a:pt x="11" y="65"/>
                  </a:cubicBezTo>
                  <a:cubicBezTo>
                    <a:pt x="3" y="35"/>
                    <a:pt x="16" y="11"/>
                    <a:pt x="29" y="0"/>
                  </a:cubicBezTo>
                  <a:cubicBezTo>
                    <a:pt x="29" y="0"/>
                    <a:pt x="11" y="32"/>
                    <a:pt x="17" y="56"/>
                  </a:cubicBezTo>
                  <a:cubicBezTo>
                    <a:pt x="23" y="81"/>
                    <a:pt x="26" y="97"/>
                    <a:pt x="19" y="113"/>
                  </a:cubicBezTo>
                  <a:lnTo>
                    <a:pt x="0" y="113"/>
                  </a:lnTo>
                  <a:close/>
                </a:path>
              </a:pathLst>
            </a:custGeom>
            <a:solidFill>
              <a:srgbClr val="8DC6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19" name="Freeform 417">
              <a:extLst>
                <a:ext uri="{FF2B5EF4-FFF2-40B4-BE49-F238E27FC236}">
                  <a16:creationId xmlns:a16="http://schemas.microsoft.com/office/drawing/2014/main" id="{81B34A55-CF43-4EC3-9ACB-5C0A216CB4CD}"/>
                </a:ext>
              </a:extLst>
            </p:cNvPr>
            <p:cNvSpPr>
              <a:spLocks/>
            </p:cNvSpPr>
            <p:nvPr/>
          </p:nvSpPr>
          <p:spPr bwMode="auto">
            <a:xfrm>
              <a:off x="7252078" y="5426207"/>
              <a:ext cx="142286" cy="153403"/>
            </a:xfrm>
            <a:custGeom>
              <a:avLst/>
              <a:gdLst>
                <a:gd name="T0" fmla="*/ 0 w 28"/>
                <a:gd name="T1" fmla="*/ 19 h 30"/>
                <a:gd name="T2" fmla="*/ 28 w 28"/>
                <a:gd name="T3" fmla="*/ 7 h 30"/>
                <a:gd name="T4" fmla="*/ 0 w 28"/>
                <a:gd name="T5" fmla="*/ 19 h 30"/>
              </a:gdLst>
              <a:ahLst/>
              <a:cxnLst>
                <a:cxn ang="0">
                  <a:pos x="T0" y="T1"/>
                </a:cxn>
                <a:cxn ang="0">
                  <a:pos x="T2" y="T3"/>
                </a:cxn>
                <a:cxn ang="0">
                  <a:pos x="T4" y="T5"/>
                </a:cxn>
              </a:cxnLst>
              <a:rect l="0" t="0" r="r" b="b"/>
              <a:pathLst>
                <a:path w="28" h="30">
                  <a:moveTo>
                    <a:pt x="0" y="19"/>
                  </a:moveTo>
                  <a:cubicBezTo>
                    <a:pt x="0" y="19"/>
                    <a:pt x="9" y="0"/>
                    <a:pt x="28" y="7"/>
                  </a:cubicBezTo>
                  <a:cubicBezTo>
                    <a:pt x="28" y="7"/>
                    <a:pt x="23" y="30"/>
                    <a:pt x="0" y="19"/>
                  </a:cubicBezTo>
                  <a:close/>
                </a:path>
              </a:pathLst>
            </a:custGeom>
            <a:solidFill>
              <a:srgbClr val="72A4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20" name="Freeform 418">
              <a:extLst>
                <a:ext uri="{FF2B5EF4-FFF2-40B4-BE49-F238E27FC236}">
                  <a16:creationId xmlns:a16="http://schemas.microsoft.com/office/drawing/2014/main" id="{9A375433-15C6-4E25-A46D-8AC839EE4C84}"/>
                </a:ext>
              </a:extLst>
            </p:cNvPr>
            <p:cNvSpPr>
              <a:spLocks/>
            </p:cNvSpPr>
            <p:nvPr/>
          </p:nvSpPr>
          <p:spPr bwMode="auto">
            <a:xfrm>
              <a:off x="7069774" y="5564047"/>
              <a:ext cx="177858" cy="195643"/>
            </a:xfrm>
            <a:custGeom>
              <a:avLst/>
              <a:gdLst>
                <a:gd name="T0" fmla="*/ 35 w 35"/>
                <a:gd name="T1" fmla="*/ 24 h 38"/>
                <a:gd name="T2" fmla="*/ 0 w 35"/>
                <a:gd name="T3" fmla="*/ 6 h 38"/>
                <a:gd name="T4" fmla="*/ 35 w 35"/>
                <a:gd name="T5" fmla="*/ 24 h 38"/>
              </a:gdLst>
              <a:ahLst/>
              <a:cxnLst>
                <a:cxn ang="0">
                  <a:pos x="T0" y="T1"/>
                </a:cxn>
                <a:cxn ang="0">
                  <a:pos x="T2" y="T3"/>
                </a:cxn>
                <a:cxn ang="0">
                  <a:pos x="T4" y="T5"/>
                </a:cxn>
              </a:cxnLst>
              <a:rect l="0" t="0" r="r" b="b"/>
              <a:pathLst>
                <a:path w="35" h="38">
                  <a:moveTo>
                    <a:pt x="35" y="24"/>
                  </a:moveTo>
                  <a:cubicBezTo>
                    <a:pt x="35" y="24"/>
                    <a:pt x="22" y="0"/>
                    <a:pt x="0" y="6"/>
                  </a:cubicBezTo>
                  <a:cubicBezTo>
                    <a:pt x="0" y="6"/>
                    <a:pt x="7" y="38"/>
                    <a:pt x="35" y="24"/>
                  </a:cubicBezTo>
                  <a:close/>
                </a:path>
              </a:pathLst>
            </a:custGeom>
            <a:solidFill>
              <a:srgbClr val="72A4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21" name="Freeform 419">
              <a:extLst>
                <a:ext uri="{FF2B5EF4-FFF2-40B4-BE49-F238E27FC236}">
                  <a16:creationId xmlns:a16="http://schemas.microsoft.com/office/drawing/2014/main" id="{F8C900D8-C749-4498-BA7F-94678E51F94D}"/>
                </a:ext>
              </a:extLst>
            </p:cNvPr>
            <p:cNvSpPr>
              <a:spLocks/>
            </p:cNvSpPr>
            <p:nvPr/>
          </p:nvSpPr>
          <p:spPr bwMode="auto">
            <a:xfrm>
              <a:off x="7180935" y="5348395"/>
              <a:ext cx="106715" cy="113385"/>
            </a:xfrm>
            <a:custGeom>
              <a:avLst/>
              <a:gdLst>
                <a:gd name="T0" fmla="*/ 21 w 21"/>
                <a:gd name="T1" fmla="*/ 19 h 22"/>
                <a:gd name="T2" fmla="*/ 2 w 21"/>
                <a:gd name="T3" fmla="*/ 0 h 22"/>
                <a:gd name="T4" fmla="*/ 21 w 21"/>
                <a:gd name="T5" fmla="*/ 19 h 22"/>
              </a:gdLst>
              <a:ahLst/>
              <a:cxnLst>
                <a:cxn ang="0">
                  <a:pos x="T0" y="T1"/>
                </a:cxn>
                <a:cxn ang="0">
                  <a:pos x="T2" y="T3"/>
                </a:cxn>
                <a:cxn ang="0">
                  <a:pos x="T4" y="T5"/>
                </a:cxn>
              </a:cxnLst>
              <a:rect l="0" t="0" r="r" b="b"/>
              <a:pathLst>
                <a:path w="21" h="22">
                  <a:moveTo>
                    <a:pt x="21" y="19"/>
                  </a:moveTo>
                  <a:cubicBezTo>
                    <a:pt x="21" y="19"/>
                    <a:pt x="18" y="0"/>
                    <a:pt x="2" y="0"/>
                  </a:cubicBezTo>
                  <a:cubicBezTo>
                    <a:pt x="2" y="0"/>
                    <a:pt x="0" y="22"/>
                    <a:pt x="21" y="19"/>
                  </a:cubicBezTo>
                  <a:close/>
                </a:path>
              </a:pathLst>
            </a:custGeom>
            <a:solidFill>
              <a:srgbClr val="72A4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sp>
        <p:nvSpPr>
          <p:cNvPr id="122" name="Oval 491">
            <a:extLst>
              <a:ext uri="{FF2B5EF4-FFF2-40B4-BE49-F238E27FC236}">
                <a16:creationId xmlns:a16="http://schemas.microsoft.com/office/drawing/2014/main" id="{B2B7E328-E2C2-4A31-923A-2D3347F53F33}"/>
              </a:ext>
            </a:extLst>
          </p:cNvPr>
          <p:cNvSpPr>
            <a:spLocks noChangeArrowheads="1"/>
          </p:cNvSpPr>
          <p:nvPr/>
        </p:nvSpPr>
        <p:spPr bwMode="auto">
          <a:xfrm>
            <a:off x="7287649" y="6130968"/>
            <a:ext cx="106715" cy="113385"/>
          </a:xfrm>
          <a:prstGeom prst="ellipse">
            <a:avLst/>
          </a:prstGeom>
          <a:solidFill>
            <a:srgbClr val="794E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23" name="Oval 492">
            <a:extLst>
              <a:ext uri="{FF2B5EF4-FFF2-40B4-BE49-F238E27FC236}">
                <a16:creationId xmlns:a16="http://schemas.microsoft.com/office/drawing/2014/main" id="{50E3101E-EABF-4CD0-9CB4-06FD596C2CEE}"/>
              </a:ext>
            </a:extLst>
          </p:cNvPr>
          <p:cNvSpPr>
            <a:spLocks noChangeArrowheads="1"/>
          </p:cNvSpPr>
          <p:nvPr/>
        </p:nvSpPr>
        <p:spPr bwMode="auto">
          <a:xfrm>
            <a:off x="8061329" y="6244352"/>
            <a:ext cx="146732" cy="148956"/>
          </a:xfrm>
          <a:prstGeom prst="ellipse">
            <a:avLst/>
          </a:prstGeom>
          <a:solidFill>
            <a:srgbClr val="794E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24" name="Oval 493">
            <a:extLst>
              <a:ext uri="{FF2B5EF4-FFF2-40B4-BE49-F238E27FC236}">
                <a16:creationId xmlns:a16="http://schemas.microsoft.com/office/drawing/2014/main" id="{2378D708-F0BB-4ABD-86B9-71EF18179267}"/>
              </a:ext>
            </a:extLst>
          </p:cNvPr>
          <p:cNvSpPr>
            <a:spLocks noChangeArrowheads="1"/>
          </p:cNvSpPr>
          <p:nvPr/>
        </p:nvSpPr>
        <p:spPr bwMode="auto">
          <a:xfrm>
            <a:off x="8779429" y="6073165"/>
            <a:ext cx="146732" cy="148956"/>
          </a:xfrm>
          <a:prstGeom prst="ellipse">
            <a:avLst/>
          </a:prstGeom>
          <a:solidFill>
            <a:srgbClr val="794E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25" name="Oval 494">
            <a:extLst>
              <a:ext uri="{FF2B5EF4-FFF2-40B4-BE49-F238E27FC236}">
                <a16:creationId xmlns:a16="http://schemas.microsoft.com/office/drawing/2014/main" id="{E2077603-7056-4D87-BE33-03E8030D5927}"/>
              </a:ext>
            </a:extLst>
          </p:cNvPr>
          <p:cNvSpPr>
            <a:spLocks noChangeArrowheads="1"/>
          </p:cNvSpPr>
          <p:nvPr/>
        </p:nvSpPr>
        <p:spPr bwMode="auto">
          <a:xfrm>
            <a:off x="9166269" y="6288816"/>
            <a:ext cx="182304" cy="186750"/>
          </a:xfrm>
          <a:prstGeom prst="ellipse">
            <a:avLst/>
          </a:prstGeom>
          <a:solidFill>
            <a:srgbClr val="794E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26" name="Oval 495">
            <a:extLst>
              <a:ext uri="{FF2B5EF4-FFF2-40B4-BE49-F238E27FC236}">
                <a16:creationId xmlns:a16="http://schemas.microsoft.com/office/drawing/2014/main" id="{0EF6BC53-CE8C-4289-8B2D-966D522F8F7E}"/>
              </a:ext>
            </a:extLst>
          </p:cNvPr>
          <p:cNvSpPr>
            <a:spLocks noChangeArrowheads="1"/>
          </p:cNvSpPr>
          <p:nvPr/>
        </p:nvSpPr>
        <p:spPr bwMode="auto">
          <a:xfrm>
            <a:off x="10151155" y="6186548"/>
            <a:ext cx="117830" cy="117831"/>
          </a:xfrm>
          <a:prstGeom prst="ellipse">
            <a:avLst/>
          </a:prstGeom>
          <a:solidFill>
            <a:srgbClr val="794E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27" name="Oval 496">
            <a:extLst>
              <a:ext uri="{FF2B5EF4-FFF2-40B4-BE49-F238E27FC236}">
                <a16:creationId xmlns:a16="http://schemas.microsoft.com/office/drawing/2014/main" id="{6067E161-841F-4C8F-B5F9-045A6B28F478}"/>
              </a:ext>
            </a:extLst>
          </p:cNvPr>
          <p:cNvSpPr>
            <a:spLocks noChangeArrowheads="1"/>
          </p:cNvSpPr>
          <p:nvPr/>
        </p:nvSpPr>
        <p:spPr bwMode="auto">
          <a:xfrm>
            <a:off x="10844800" y="6268808"/>
            <a:ext cx="182304" cy="184528"/>
          </a:xfrm>
          <a:prstGeom prst="ellipse">
            <a:avLst/>
          </a:prstGeom>
          <a:solidFill>
            <a:srgbClr val="794E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28" name="Oval 497">
            <a:extLst>
              <a:ext uri="{FF2B5EF4-FFF2-40B4-BE49-F238E27FC236}">
                <a16:creationId xmlns:a16="http://schemas.microsoft.com/office/drawing/2014/main" id="{87741984-F1F1-468D-9460-8BC4DDEA31A9}"/>
              </a:ext>
            </a:extLst>
          </p:cNvPr>
          <p:cNvSpPr>
            <a:spLocks noChangeArrowheads="1"/>
          </p:cNvSpPr>
          <p:nvPr/>
        </p:nvSpPr>
        <p:spPr bwMode="auto">
          <a:xfrm>
            <a:off x="11493980" y="6130968"/>
            <a:ext cx="133393" cy="128947"/>
          </a:xfrm>
          <a:prstGeom prst="ellipse">
            <a:avLst/>
          </a:prstGeom>
          <a:solidFill>
            <a:srgbClr val="794E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29" name="Oval 498">
            <a:extLst>
              <a:ext uri="{FF2B5EF4-FFF2-40B4-BE49-F238E27FC236}">
                <a16:creationId xmlns:a16="http://schemas.microsoft.com/office/drawing/2014/main" id="{78D07EC3-52BA-432B-BACA-8EB92E08F749}"/>
              </a:ext>
            </a:extLst>
          </p:cNvPr>
          <p:cNvSpPr>
            <a:spLocks noChangeArrowheads="1"/>
          </p:cNvSpPr>
          <p:nvPr/>
        </p:nvSpPr>
        <p:spPr bwMode="auto">
          <a:xfrm>
            <a:off x="12065346" y="6244352"/>
            <a:ext cx="222322" cy="220099"/>
          </a:xfrm>
          <a:prstGeom prst="ellipse">
            <a:avLst/>
          </a:prstGeom>
          <a:solidFill>
            <a:srgbClr val="794E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33" name="Oval 502">
            <a:extLst>
              <a:ext uri="{FF2B5EF4-FFF2-40B4-BE49-F238E27FC236}">
                <a16:creationId xmlns:a16="http://schemas.microsoft.com/office/drawing/2014/main" id="{37BD0EFA-8AAF-4461-B31D-4BD2044C59D7}"/>
              </a:ext>
            </a:extLst>
          </p:cNvPr>
          <p:cNvSpPr>
            <a:spLocks noChangeArrowheads="1"/>
          </p:cNvSpPr>
          <p:nvPr/>
        </p:nvSpPr>
        <p:spPr bwMode="auto">
          <a:xfrm>
            <a:off x="11734087" y="6644531"/>
            <a:ext cx="182304" cy="184528"/>
          </a:xfrm>
          <a:prstGeom prst="ellipse">
            <a:avLst/>
          </a:prstGeom>
          <a:solidFill>
            <a:srgbClr val="966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34" name="Oval 503">
            <a:extLst>
              <a:ext uri="{FF2B5EF4-FFF2-40B4-BE49-F238E27FC236}">
                <a16:creationId xmlns:a16="http://schemas.microsoft.com/office/drawing/2014/main" id="{8345CF27-C1B5-4638-9F73-CE8DDC059002}"/>
              </a:ext>
            </a:extLst>
          </p:cNvPr>
          <p:cNvSpPr>
            <a:spLocks noChangeArrowheads="1"/>
          </p:cNvSpPr>
          <p:nvPr/>
        </p:nvSpPr>
        <p:spPr bwMode="auto">
          <a:xfrm>
            <a:off x="10473521" y="6695666"/>
            <a:ext cx="131169" cy="133393"/>
          </a:xfrm>
          <a:prstGeom prst="ellipse">
            <a:avLst/>
          </a:prstGeom>
          <a:solidFill>
            <a:srgbClr val="966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35" name="Oval 504">
            <a:extLst>
              <a:ext uri="{FF2B5EF4-FFF2-40B4-BE49-F238E27FC236}">
                <a16:creationId xmlns:a16="http://schemas.microsoft.com/office/drawing/2014/main" id="{B89FB2D5-37A5-492F-B7FB-AD116E75358F}"/>
              </a:ext>
            </a:extLst>
          </p:cNvPr>
          <p:cNvSpPr>
            <a:spLocks noChangeArrowheads="1"/>
          </p:cNvSpPr>
          <p:nvPr/>
        </p:nvSpPr>
        <p:spPr bwMode="auto">
          <a:xfrm>
            <a:off x="9450841" y="6624523"/>
            <a:ext cx="111161" cy="113385"/>
          </a:xfrm>
          <a:prstGeom prst="ellipse">
            <a:avLst/>
          </a:prstGeom>
          <a:solidFill>
            <a:srgbClr val="966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36" name="Oval 505">
            <a:extLst>
              <a:ext uri="{FF2B5EF4-FFF2-40B4-BE49-F238E27FC236}">
                <a16:creationId xmlns:a16="http://schemas.microsoft.com/office/drawing/2014/main" id="{9D414ED6-9270-426A-8239-55454E208369}"/>
              </a:ext>
            </a:extLst>
          </p:cNvPr>
          <p:cNvSpPr>
            <a:spLocks noChangeArrowheads="1"/>
          </p:cNvSpPr>
          <p:nvPr/>
        </p:nvSpPr>
        <p:spPr bwMode="auto">
          <a:xfrm>
            <a:off x="8701617" y="6715674"/>
            <a:ext cx="113383" cy="113385"/>
          </a:xfrm>
          <a:prstGeom prst="ellipse">
            <a:avLst/>
          </a:prstGeom>
          <a:solidFill>
            <a:srgbClr val="966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37" name="Oval 506">
            <a:extLst>
              <a:ext uri="{FF2B5EF4-FFF2-40B4-BE49-F238E27FC236}">
                <a16:creationId xmlns:a16="http://schemas.microsoft.com/office/drawing/2014/main" id="{72631C63-9C67-414F-84DF-ED7958FD1050}"/>
              </a:ext>
            </a:extLst>
          </p:cNvPr>
          <p:cNvSpPr>
            <a:spLocks noChangeArrowheads="1"/>
          </p:cNvSpPr>
          <p:nvPr/>
        </p:nvSpPr>
        <p:spPr bwMode="auto">
          <a:xfrm>
            <a:off x="7721176" y="6593398"/>
            <a:ext cx="162294" cy="168965"/>
          </a:xfrm>
          <a:prstGeom prst="ellipse">
            <a:avLst/>
          </a:prstGeom>
          <a:solidFill>
            <a:srgbClr val="966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38" name="Oval 507">
            <a:extLst>
              <a:ext uri="{FF2B5EF4-FFF2-40B4-BE49-F238E27FC236}">
                <a16:creationId xmlns:a16="http://schemas.microsoft.com/office/drawing/2014/main" id="{55DF053E-9F07-455C-9987-1D44E4655EE1}"/>
              </a:ext>
            </a:extLst>
          </p:cNvPr>
          <p:cNvSpPr>
            <a:spLocks noChangeArrowheads="1"/>
          </p:cNvSpPr>
          <p:nvPr/>
        </p:nvSpPr>
        <p:spPr bwMode="auto">
          <a:xfrm>
            <a:off x="7120907" y="6753470"/>
            <a:ext cx="71143" cy="75589"/>
          </a:xfrm>
          <a:prstGeom prst="ellipse">
            <a:avLst/>
          </a:prstGeom>
          <a:solidFill>
            <a:srgbClr val="966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39" name="Oval 508">
            <a:extLst>
              <a:ext uri="{FF2B5EF4-FFF2-40B4-BE49-F238E27FC236}">
                <a16:creationId xmlns:a16="http://schemas.microsoft.com/office/drawing/2014/main" id="{87A2E445-91FD-43C8-B59D-8A36CAFDDD21}"/>
              </a:ext>
            </a:extLst>
          </p:cNvPr>
          <p:cNvSpPr>
            <a:spLocks noChangeArrowheads="1"/>
          </p:cNvSpPr>
          <p:nvPr/>
        </p:nvSpPr>
        <p:spPr bwMode="auto">
          <a:xfrm>
            <a:off x="6347227" y="6566719"/>
            <a:ext cx="202312" cy="206760"/>
          </a:xfrm>
          <a:prstGeom prst="ellipse">
            <a:avLst/>
          </a:prstGeom>
          <a:solidFill>
            <a:srgbClr val="966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40" name="Oval 509">
            <a:extLst>
              <a:ext uri="{FF2B5EF4-FFF2-40B4-BE49-F238E27FC236}">
                <a16:creationId xmlns:a16="http://schemas.microsoft.com/office/drawing/2014/main" id="{E49788AC-1B88-4BEE-AD47-EFEE56A82877}"/>
              </a:ext>
            </a:extLst>
          </p:cNvPr>
          <p:cNvSpPr>
            <a:spLocks noChangeArrowheads="1"/>
          </p:cNvSpPr>
          <p:nvPr/>
        </p:nvSpPr>
        <p:spPr bwMode="auto">
          <a:xfrm>
            <a:off x="5533529" y="6706781"/>
            <a:ext cx="95598" cy="91153"/>
          </a:xfrm>
          <a:prstGeom prst="ellipse">
            <a:avLst/>
          </a:prstGeom>
          <a:solidFill>
            <a:srgbClr val="966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41" name="Oval 510">
            <a:extLst>
              <a:ext uri="{FF2B5EF4-FFF2-40B4-BE49-F238E27FC236}">
                <a16:creationId xmlns:a16="http://schemas.microsoft.com/office/drawing/2014/main" id="{0F2B626F-6D93-456F-99F2-9EE82E428E27}"/>
              </a:ext>
            </a:extLst>
          </p:cNvPr>
          <p:cNvSpPr>
            <a:spLocks noChangeArrowheads="1"/>
          </p:cNvSpPr>
          <p:nvPr/>
        </p:nvSpPr>
        <p:spPr bwMode="auto">
          <a:xfrm>
            <a:off x="4622009" y="6648978"/>
            <a:ext cx="204536" cy="206760"/>
          </a:xfrm>
          <a:prstGeom prst="ellipse">
            <a:avLst/>
          </a:prstGeom>
          <a:solidFill>
            <a:srgbClr val="966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42" name="Oval 511">
            <a:extLst>
              <a:ext uri="{FF2B5EF4-FFF2-40B4-BE49-F238E27FC236}">
                <a16:creationId xmlns:a16="http://schemas.microsoft.com/office/drawing/2014/main" id="{30752FA5-4F44-4832-8002-1962D7A390D5}"/>
              </a:ext>
            </a:extLst>
          </p:cNvPr>
          <p:cNvSpPr>
            <a:spLocks noChangeArrowheads="1"/>
          </p:cNvSpPr>
          <p:nvPr/>
        </p:nvSpPr>
        <p:spPr bwMode="auto">
          <a:xfrm>
            <a:off x="4164026" y="6613406"/>
            <a:ext cx="128947" cy="128947"/>
          </a:xfrm>
          <a:prstGeom prst="ellipse">
            <a:avLst/>
          </a:prstGeom>
          <a:solidFill>
            <a:srgbClr val="966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43" name="Oval 512">
            <a:extLst>
              <a:ext uri="{FF2B5EF4-FFF2-40B4-BE49-F238E27FC236}">
                <a16:creationId xmlns:a16="http://schemas.microsoft.com/office/drawing/2014/main" id="{69D30EA6-4B95-4404-B035-66A65B1BDA59}"/>
              </a:ext>
            </a:extLst>
          </p:cNvPr>
          <p:cNvSpPr>
            <a:spLocks noChangeArrowheads="1"/>
          </p:cNvSpPr>
          <p:nvPr/>
        </p:nvSpPr>
        <p:spPr bwMode="auto">
          <a:xfrm>
            <a:off x="3259176" y="6037593"/>
            <a:ext cx="244554" cy="246778"/>
          </a:xfrm>
          <a:prstGeom prst="ellipse">
            <a:avLst/>
          </a:prstGeom>
          <a:solidFill>
            <a:srgbClr val="794E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44" name="Oval 513">
            <a:extLst>
              <a:ext uri="{FF2B5EF4-FFF2-40B4-BE49-F238E27FC236}">
                <a16:creationId xmlns:a16="http://schemas.microsoft.com/office/drawing/2014/main" id="{8C6B090D-19AA-4D44-8CA9-F14291C130DE}"/>
              </a:ext>
            </a:extLst>
          </p:cNvPr>
          <p:cNvSpPr>
            <a:spLocks noChangeArrowheads="1"/>
          </p:cNvSpPr>
          <p:nvPr/>
        </p:nvSpPr>
        <p:spPr bwMode="auto">
          <a:xfrm>
            <a:off x="2185361" y="6295487"/>
            <a:ext cx="82258" cy="82260"/>
          </a:xfrm>
          <a:prstGeom prst="ellipse">
            <a:avLst/>
          </a:prstGeom>
          <a:solidFill>
            <a:srgbClr val="794E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45" name="Oval 514">
            <a:extLst>
              <a:ext uri="{FF2B5EF4-FFF2-40B4-BE49-F238E27FC236}">
                <a16:creationId xmlns:a16="http://schemas.microsoft.com/office/drawing/2014/main" id="{74F68780-FEB1-409E-8C9A-D6FE7EA637C9}"/>
              </a:ext>
            </a:extLst>
          </p:cNvPr>
          <p:cNvSpPr>
            <a:spLocks noChangeArrowheads="1"/>
          </p:cNvSpPr>
          <p:nvPr/>
        </p:nvSpPr>
        <p:spPr bwMode="auto">
          <a:xfrm>
            <a:off x="304518" y="6088726"/>
            <a:ext cx="213429" cy="222322"/>
          </a:xfrm>
          <a:prstGeom prst="ellipse">
            <a:avLst/>
          </a:prstGeom>
          <a:solidFill>
            <a:srgbClr val="794E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46" name="Oval 515">
            <a:extLst>
              <a:ext uri="{FF2B5EF4-FFF2-40B4-BE49-F238E27FC236}">
                <a16:creationId xmlns:a16="http://schemas.microsoft.com/office/drawing/2014/main" id="{BE09BEE5-F8A5-4628-9F1B-D4495A096C3E}"/>
              </a:ext>
            </a:extLst>
          </p:cNvPr>
          <p:cNvSpPr>
            <a:spLocks noChangeArrowheads="1"/>
          </p:cNvSpPr>
          <p:nvPr/>
        </p:nvSpPr>
        <p:spPr bwMode="auto">
          <a:xfrm>
            <a:off x="1142672" y="6213227"/>
            <a:ext cx="220098" cy="220099"/>
          </a:xfrm>
          <a:prstGeom prst="ellipse">
            <a:avLst/>
          </a:prstGeom>
          <a:solidFill>
            <a:srgbClr val="794E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47" name="Oval 516">
            <a:extLst>
              <a:ext uri="{FF2B5EF4-FFF2-40B4-BE49-F238E27FC236}">
                <a16:creationId xmlns:a16="http://schemas.microsoft.com/office/drawing/2014/main" id="{D836DC59-2835-41A5-88EF-57EA950D6BFA}"/>
              </a:ext>
            </a:extLst>
          </p:cNvPr>
          <p:cNvSpPr>
            <a:spLocks noChangeArrowheads="1"/>
          </p:cNvSpPr>
          <p:nvPr/>
        </p:nvSpPr>
        <p:spPr bwMode="auto">
          <a:xfrm>
            <a:off x="1169351" y="6655648"/>
            <a:ext cx="111161" cy="106715"/>
          </a:xfrm>
          <a:prstGeom prst="ellipse">
            <a:avLst/>
          </a:prstGeom>
          <a:solidFill>
            <a:srgbClr val="966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48" name="Oval 517">
            <a:extLst>
              <a:ext uri="{FF2B5EF4-FFF2-40B4-BE49-F238E27FC236}">
                <a16:creationId xmlns:a16="http://schemas.microsoft.com/office/drawing/2014/main" id="{8E455FF2-40C1-4D70-9F14-849A65A40713}"/>
              </a:ext>
            </a:extLst>
          </p:cNvPr>
          <p:cNvSpPr>
            <a:spLocks noChangeArrowheads="1"/>
          </p:cNvSpPr>
          <p:nvPr/>
        </p:nvSpPr>
        <p:spPr bwMode="auto">
          <a:xfrm>
            <a:off x="151116" y="6664541"/>
            <a:ext cx="137840" cy="140064"/>
          </a:xfrm>
          <a:prstGeom prst="ellipse">
            <a:avLst/>
          </a:prstGeom>
          <a:solidFill>
            <a:srgbClr val="966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49" name="Oval 518">
            <a:extLst>
              <a:ext uri="{FF2B5EF4-FFF2-40B4-BE49-F238E27FC236}">
                <a16:creationId xmlns:a16="http://schemas.microsoft.com/office/drawing/2014/main" id="{4D1B323B-EFA1-441D-AA81-18074624CBDD}"/>
              </a:ext>
            </a:extLst>
          </p:cNvPr>
          <p:cNvSpPr>
            <a:spLocks noChangeArrowheads="1"/>
          </p:cNvSpPr>
          <p:nvPr/>
        </p:nvSpPr>
        <p:spPr bwMode="auto">
          <a:xfrm>
            <a:off x="1820753" y="6664541"/>
            <a:ext cx="193419" cy="195643"/>
          </a:xfrm>
          <a:prstGeom prst="ellipse">
            <a:avLst/>
          </a:prstGeom>
          <a:solidFill>
            <a:srgbClr val="966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50" name="Oval 519">
            <a:extLst>
              <a:ext uri="{FF2B5EF4-FFF2-40B4-BE49-F238E27FC236}">
                <a16:creationId xmlns:a16="http://schemas.microsoft.com/office/drawing/2014/main" id="{CA25288B-2BE1-4C09-B868-A590FE9C7467}"/>
              </a:ext>
            </a:extLst>
          </p:cNvPr>
          <p:cNvSpPr>
            <a:spLocks noChangeArrowheads="1"/>
          </p:cNvSpPr>
          <p:nvPr/>
        </p:nvSpPr>
        <p:spPr bwMode="auto">
          <a:xfrm>
            <a:off x="2756729" y="6624523"/>
            <a:ext cx="202312" cy="204536"/>
          </a:xfrm>
          <a:prstGeom prst="ellipse">
            <a:avLst/>
          </a:prstGeom>
          <a:solidFill>
            <a:srgbClr val="966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51" name="Oval 520">
            <a:extLst>
              <a:ext uri="{FF2B5EF4-FFF2-40B4-BE49-F238E27FC236}">
                <a16:creationId xmlns:a16="http://schemas.microsoft.com/office/drawing/2014/main" id="{16CBBCF5-AFF5-4B78-BCD5-A2FD6287B19F}"/>
              </a:ext>
            </a:extLst>
          </p:cNvPr>
          <p:cNvSpPr>
            <a:spLocks noChangeArrowheads="1"/>
          </p:cNvSpPr>
          <p:nvPr/>
        </p:nvSpPr>
        <p:spPr bwMode="auto">
          <a:xfrm>
            <a:off x="3681588" y="6624523"/>
            <a:ext cx="106715" cy="113385"/>
          </a:xfrm>
          <a:prstGeom prst="ellipse">
            <a:avLst/>
          </a:prstGeom>
          <a:solidFill>
            <a:srgbClr val="9662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nvGrpSpPr>
          <p:cNvPr id="152" name="Group 195">
            <a:extLst>
              <a:ext uri="{FF2B5EF4-FFF2-40B4-BE49-F238E27FC236}">
                <a16:creationId xmlns:a16="http://schemas.microsoft.com/office/drawing/2014/main" id="{96A84DC7-D56B-47FD-9606-876C670B64E9}"/>
              </a:ext>
            </a:extLst>
          </p:cNvPr>
          <p:cNvGrpSpPr/>
          <p:nvPr/>
        </p:nvGrpSpPr>
        <p:grpSpPr>
          <a:xfrm>
            <a:off x="10043800" y="3992880"/>
            <a:ext cx="1165839" cy="1966901"/>
            <a:chOff x="878108" y="5348395"/>
            <a:chExt cx="362386" cy="611386"/>
          </a:xfrm>
        </p:grpSpPr>
        <p:sp>
          <p:nvSpPr>
            <p:cNvPr id="153" name="Freeform 383">
              <a:extLst>
                <a:ext uri="{FF2B5EF4-FFF2-40B4-BE49-F238E27FC236}">
                  <a16:creationId xmlns:a16="http://schemas.microsoft.com/office/drawing/2014/main" id="{1A4FF210-C2B4-4E37-A799-D1A1DC0CC9B3}"/>
                </a:ext>
              </a:extLst>
            </p:cNvPr>
            <p:cNvSpPr>
              <a:spLocks/>
            </p:cNvSpPr>
            <p:nvPr/>
          </p:nvSpPr>
          <p:spPr bwMode="auto">
            <a:xfrm>
              <a:off x="984823" y="5379520"/>
              <a:ext cx="153401" cy="580261"/>
            </a:xfrm>
            <a:custGeom>
              <a:avLst/>
              <a:gdLst>
                <a:gd name="T0" fmla="*/ 0 w 30"/>
                <a:gd name="T1" fmla="*/ 113 h 113"/>
                <a:gd name="T2" fmla="*/ 11 w 30"/>
                <a:gd name="T3" fmla="*/ 65 h 113"/>
                <a:gd name="T4" fmla="*/ 30 w 30"/>
                <a:gd name="T5" fmla="*/ 0 h 113"/>
                <a:gd name="T6" fmla="*/ 17 w 30"/>
                <a:gd name="T7" fmla="*/ 56 h 113"/>
                <a:gd name="T8" fmla="*/ 19 w 30"/>
                <a:gd name="T9" fmla="*/ 113 h 113"/>
                <a:gd name="T10" fmla="*/ 0 w 30"/>
                <a:gd name="T11" fmla="*/ 113 h 113"/>
              </a:gdLst>
              <a:ahLst/>
              <a:cxnLst>
                <a:cxn ang="0">
                  <a:pos x="T0" y="T1"/>
                </a:cxn>
                <a:cxn ang="0">
                  <a:pos x="T2" y="T3"/>
                </a:cxn>
                <a:cxn ang="0">
                  <a:pos x="T4" y="T5"/>
                </a:cxn>
                <a:cxn ang="0">
                  <a:pos x="T6" y="T7"/>
                </a:cxn>
                <a:cxn ang="0">
                  <a:pos x="T8" y="T9"/>
                </a:cxn>
                <a:cxn ang="0">
                  <a:pos x="T10" y="T11"/>
                </a:cxn>
              </a:cxnLst>
              <a:rect l="0" t="0" r="r" b="b"/>
              <a:pathLst>
                <a:path w="30" h="113">
                  <a:moveTo>
                    <a:pt x="0" y="113"/>
                  </a:moveTo>
                  <a:cubicBezTo>
                    <a:pt x="0" y="113"/>
                    <a:pt x="18" y="94"/>
                    <a:pt x="11" y="65"/>
                  </a:cubicBezTo>
                  <a:cubicBezTo>
                    <a:pt x="3" y="35"/>
                    <a:pt x="16" y="11"/>
                    <a:pt x="30" y="0"/>
                  </a:cubicBezTo>
                  <a:cubicBezTo>
                    <a:pt x="30" y="0"/>
                    <a:pt x="11" y="32"/>
                    <a:pt x="17" y="56"/>
                  </a:cubicBezTo>
                  <a:cubicBezTo>
                    <a:pt x="23" y="81"/>
                    <a:pt x="26" y="97"/>
                    <a:pt x="19" y="113"/>
                  </a:cubicBezTo>
                  <a:lnTo>
                    <a:pt x="0" y="113"/>
                  </a:lnTo>
                  <a:close/>
                </a:path>
              </a:pathLst>
            </a:custGeom>
            <a:solidFill>
              <a:srgbClr val="8DC6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54" name="Freeform 384">
              <a:extLst>
                <a:ext uri="{FF2B5EF4-FFF2-40B4-BE49-F238E27FC236}">
                  <a16:creationId xmlns:a16="http://schemas.microsoft.com/office/drawing/2014/main" id="{1FDF9467-5107-4CC5-BE4D-204A514476C8}"/>
                </a:ext>
              </a:extLst>
            </p:cNvPr>
            <p:cNvSpPr>
              <a:spLocks/>
            </p:cNvSpPr>
            <p:nvPr/>
          </p:nvSpPr>
          <p:spPr bwMode="auto">
            <a:xfrm>
              <a:off x="1062636" y="5646306"/>
              <a:ext cx="177858" cy="191197"/>
            </a:xfrm>
            <a:custGeom>
              <a:avLst/>
              <a:gdLst>
                <a:gd name="T0" fmla="*/ 0 w 35"/>
                <a:gd name="T1" fmla="*/ 26 h 37"/>
                <a:gd name="T2" fmla="*/ 35 w 35"/>
                <a:gd name="T3" fmla="*/ 4 h 37"/>
                <a:gd name="T4" fmla="*/ 0 w 35"/>
                <a:gd name="T5" fmla="*/ 26 h 37"/>
              </a:gdLst>
              <a:ahLst/>
              <a:cxnLst>
                <a:cxn ang="0">
                  <a:pos x="T0" y="T1"/>
                </a:cxn>
                <a:cxn ang="0">
                  <a:pos x="T2" y="T3"/>
                </a:cxn>
                <a:cxn ang="0">
                  <a:pos x="T4" y="T5"/>
                </a:cxn>
              </a:cxnLst>
              <a:rect l="0" t="0" r="r" b="b"/>
              <a:pathLst>
                <a:path w="35" h="37">
                  <a:moveTo>
                    <a:pt x="0" y="26"/>
                  </a:moveTo>
                  <a:cubicBezTo>
                    <a:pt x="0" y="26"/>
                    <a:pt x="8" y="0"/>
                    <a:pt x="35" y="4"/>
                  </a:cubicBezTo>
                  <a:cubicBezTo>
                    <a:pt x="35" y="4"/>
                    <a:pt x="34" y="37"/>
                    <a:pt x="0" y="26"/>
                  </a:cubicBezTo>
                  <a:close/>
                </a:path>
              </a:pathLst>
            </a:custGeom>
            <a:solidFill>
              <a:srgbClr val="72A4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55" name="Freeform 385">
              <a:extLst>
                <a:ext uri="{FF2B5EF4-FFF2-40B4-BE49-F238E27FC236}">
                  <a16:creationId xmlns:a16="http://schemas.microsoft.com/office/drawing/2014/main" id="{E71E6CEF-4C78-4D93-9626-B13A7A3FDB17}"/>
                </a:ext>
              </a:extLst>
            </p:cNvPr>
            <p:cNvSpPr>
              <a:spLocks/>
            </p:cNvSpPr>
            <p:nvPr/>
          </p:nvSpPr>
          <p:spPr bwMode="auto">
            <a:xfrm>
              <a:off x="1062636" y="5426207"/>
              <a:ext cx="142286" cy="153403"/>
            </a:xfrm>
            <a:custGeom>
              <a:avLst/>
              <a:gdLst>
                <a:gd name="T0" fmla="*/ 0 w 28"/>
                <a:gd name="T1" fmla="*/ 19 h 30"/>
                <a:gd name="T2" fmla="*/ 28 w 28"/>
                <a:gd name="T3" fmla="*/ 7 h 30"/>
                <a:gd name="T4" fmla="*/ 0 w 28"/>
                <a:gd name="T5" fmla="*/ 19 h 30"/>
              </a:gdLst>
              <a:ahLst/>
              <a:cxnLst>
                <a:cxn ang="0">
                  <a:pos x="T0" y="T1"/>
                </a:cxn>
                <a:cxn ang="0">
                  <a:pos x="T2" y="T3"/>
                </a:cxn>
                <a:cxn ang="0">
                  <a:pos x="T4" y="T5"/>
                </a:cxn>
              </a:cxnLst>
              <a:rect l="0" t="0" r="r" b="b"/>
              <a:pathLst>
                <a:path w="28" h="30">
                  <a:moveTo>
                    <a:pt x="0" y="19"/>
                  </a:moveTo>
                  <a:cubicBezTo>
                    <a:pt x="0" y="19"/>
                    <a:pt x="9" y="0"/>
                    <a:pt x="28" y="7"/>
                  </a:cubicBezTo>
                  <a:cubicBezTo>
                    <a:pt x="28" y="7"/>
                    <a:pt x="23" y="30"/>
                    <a:pt x="0" y="19"/>
                  </a:cubicBezTo>
                  <a:close/>
                </a:path>
              </a:pathLst>
            </a:custGeom>
            <a:solidFill>
              <a:srgbClr val="72A4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56" name="Freeform 386">
              <a:extLst>
                <a:ext uri="{FF2B5EF4-FFF2-40B4-BE49-F238E27FC236}">
                  <a16:creationId xmlns:a16="http://schemas.microsoft.com/office/drawing/2014/main" id="{B916E713-9276-4428-91D6-D3B558DB19A6}"/>
                </a:ext>
              </a:extLst>
            </p:cNvPr>
            <p:cNvSpPr>
              <a:spLocks/>
            </p:cNvSpPr>
            <p:nvPr/>
          </p:nvSpPr>
          <p:spPr bwMode="auto">
            <a:xfrm>
              <a:off x="878108" y="5564047"/>
              <a:ext cx="177858" cy="195643"/>
            </a:xfrm>
            <a:custGeom>
              <a:avLst/>
              <a:gdLst>
                <a:gd name="T0" fmla="*/ 35 w 35"/>
                <a:gd name="T1" fmla="*/ 24 h 38"/>
                <a:gd name="T2" fmla="*/ 0 w 35"/>
                <a:gd name="T3" fmla="*/ 6 h 38"/>
                <a:gd name="T4" fmla="*/ 35 w 35"/>
                <a:gd name="T5" fmla="*/ 24 h 38"/>
              </a:gdLst>
              <a:ahLst/>
              <a:cxnLst>
                <a:cxn ang="0">
                  <a:pos x="T0" y="T1"/>
                </a:cxn>
                <a:cxn ang="0">
                  <a:pos x="T2" y="T3"/>
                </a:cxn>
                <a:cxn ang="0">
                  <a:pos x="T4" y="T5"/>
                </a:cxn>
              </a:cxnLst>
              <a:rect l="0" t="0" r="r" b="b"/>
              <a:pathLst>
                <a:path w="35" h="38">
                  <a:moveTo>
                    <a:pt x="35" y="24"/>
                  </a:moveTo>
                  <a:cubicBezTo>
                    <a:pt x="35" y="24"/>
                    <a:pt x="22" y="0"/>
                    <a:pt x="0" y="6"/>
                  </a:cubicBezTo>
                  <a:cubicBezTo>
                    <a:pt x="0" y="6"/>
                    <a:pt x="8" y="38"/>
                    <a:pt x="35" y="24"/>
                  </a:cubicBezTo>
                  <a:close/>
                </a:path>
              </a:pathLst>
            </a:custGeom>
            <a:solidFill>
              <a:srgbClr val="72A4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57" name="Freeform 387">
              <a:extLst>
                <a:ext uri="{FF2B5EF4-FFF2-40B4-BE49-F238E27FC236}">
                  <a16:creationId xmlns:a16="http://schemas.microsoft.com/office/drawing/2014/main" id="{DCC24387-9AC7-40E7-B04F-B314EC3FA151}"/>
                </a:ext>
              </a:extLst>
            </p:cNvPr>
            <p:cNvSpPr>
              <a:spLocks/>
            </p:cNvSpPr>
            <p:nvPr/>
          </p:nvSpPr>
          <p:spPr bwMode="auto">
            <a:xfrm>
              <a:off x="991493" y="5348395"/>
              <a:ext cx="106715" cy="113385"/>
            </a:xfrm>
            <a:custGeom>
              <a:avLst/>
              <a:gdLst>
                <a:gd name="T0" fmla="*/ 21 w 21"/>
                <a:gd name="T1" fmla="*/ 19 h 22"/>
                <a:gd name="T2" fmla="*/ 2 w 21"/>
                <a:gd name="T3" fmla="*/ 0 h 22"/>
                <a:gd name="T4" fmla="*/ 21 w 21"/>
                <a:gd name="T5" fmla="*/ 19 h 22"/>
              </a:gdLst>
              <a:ahLst/>
              <a:cxnLst>
                <a:cxn ang="0">
                  <a:pos x="T0" y="T1"/>
                </a:cxn>
                <a:cxn ang="0">
                  <a:pos x="T2" y="T3"/>
                </a:cxn>
                <a:cxn ang="0">
                  <a:pos x="T4" y="T5"/>
                </a:cxn>
              </a:cxnLst>
              <a:rect l="0" t="0" r="r" b="b"/>
              <a:pathLst>
                <a:path w="21" h="22">
                  <a:moveTo>
                    <a:pt x="21" y="19"/>
                  </a:moveTo>
                  <a:cubicBezTo>
                    <a:pt x="21" y="19"/>
                    <a:pt x="18" y="0"/>
                    <a:pt x="2" y="0"/>
                  </a:cubicBezTo>
                  <a:cubicBezTo>
                    <a:pt x="2" y="0"/>
                    <a:pt x="0" y="22"/>
                    <a:pt x="21" y="19"/>
                  </a:cubicBezTo>
                  <a:close/>
                </a:path>
              </a:pathLst>
            </a:custGeom>
            <a:solidFill>
              <a:srgbClr val="72A4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sp>
        <p:nvSpPr>
          <p:cNvPr id="158" name="Rectangle: Rounded Corners 165">
            <a:extLst>
              <a:ext uri="{FF2B5EF4-FFF2-40B4-BE49-F238E27FC236}">
                <a16:creationId xmlns:a16="http://schemas.microsoft.com/office/drawing/2014/main" id="{4DD13537-2C63-45DD-89A9-BF8629D8B960}"/>
              </a:ext>
            </a:extLst>
          </p:cNvPr>
          <p:cNvSpPr/>
          <p:nvPr/>
        </p:nvSpPr>
        <p:spPr>
          <a:xfrm>
            <a:off x="980390" y="2510598"/>
            <a:ext cx="1262495" cy="1262495"/>
          </a:xfrm>
          <a:prstGeom prst="roundRect">
            <a:avLst/>
          </a:prstGeom>
          <a:gradFill>
            <a:gsLst>
              <a:gs pos="0">
                <a:schemeClr val="accent1"/>
              </a:gs>
              <a:gs pos="74000">
                <a:schemeClr val="accent2"/>
              </a:gs>
              <a:gs pos="100000">
                <a:schemeClr val="accent3"/>
              </a:gs>
            </a:gsLst>
            <a:lin ang="3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FFFFFF"/>
              </a:solidFill>
              <a:effectLst/>
              <a:uLnTx/>
              <a:uFillTx/>
              <a:latin typeface="等线" panose="020F0502020204030204"/>
              <a:ea typeface="+mn-ea"/>
              <a:cs typeface="+mn-cs"/>
            </a:endParaRPr>
          </a:p>
        </p:txBody>
      </p:sp>
      <p:sp>
        <p:nvSpPr>
          <p:cNvPr id="159" name="Rectangle: Rounded Corners 166">
            <a:extLst>
              <a:ext uri="{FF2B5EF4-FFF2-40B4-BE49-F238E27FC236}">
                <a16:creationId xmlns:a16="http://schemas.microsoft.com/office/drawing/2014/main" id="{B28CF6B9-41E6-4FDF-801C-084DA54495E3}"/>
              </a:ext>
            </a:extLst>
          </p:cNvPr>
          <p:cNvSpPr/>
          <p:nvPr/>
        </p:nvSpPr>
        <p:spPr>
          <a:xfrm>
            <a:off x="4786325" y="1349294"/>
            <a:ext cx="1262495" cy="1262495"/>
          </a:xfrm>
          <a:prstGeom prst="roundRect">
            <a:avLst/>
          </a:prstGeom>
          <a:gradFill>
            <a:gsLst>
              <a:gs pos="0">
                <a:schemeClr val="accent1"/>
              </a:gs>
              <a:gs pos="74000">
                <a:schemeClr val="accent2"/>
              </a:gs>
              <a:gs pos="100000">
                <a:schemeClr val="accent3"/>
              </a:gs>
            </a:gsLst>
            <a:lin ang="3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FFFFFF"/>
              </a:solidFill>
              <a:effectLst/>
              <a:uLnTx/>
              <a:uFillTx/>
              <a:latin typeface="等线" panose="020F0502020204030204"/>
              <a:ea typeface="+mn-ea"/>
              <a:cs typeface="+mn-cs"/>
            </a:endParaRPr>
          </a:p>
        </p:txBody>
      </p:sp>
      <p:sp>
        <p:nvSpPr>
          <p:cNvPr id="160" name="Rectangle: Rounded Corners 167">
            <a:extLst>
              <a:ext uri="{FF2B5EF4-FFF2-40B4-BE49-F238E27FC236}">
                <a16:creationId xmlns:a16="http://schemas.microsoft.com/office/drawing/2014/main" id="{101E2FA4-F2DF-454E-9448-86D7190A8D98}"/>
              </a:ext>
            </a:extLst>
          </p:cNvPr>
          <p:cNvSpPr/>
          <p:nvPr/>
        </p:nvSpPr>
        <p:spPr>
          <a:xfrm>
            <a:off x="7961012" y="2300829"/>
            <a:ext cx="1262495" cy="1262495"/>
          </a:xfrm>
          <a:prstGeom prst="roundRect">
            <a:avLst/>
          </a:prstGeom>
          <a:gradFill>
            <a:gsLst>
              <a:gs pos="0">
                <a:schemeClr val="accent1"/>
              </a:gs>
              <a:gs pos="74000">
                <a:schemeClr val="accent2"/>
              </a:gs>
              <a:gs pos="100000">
                <a:schemeClr val="accent3"/>
              </a:gs>
            </a:gsLst>
            <a:lin ang="3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FFFFFF"/>
              </a:solidFill>
              <a:effectLst/>
              <a:uLnTx/>
              <a:uFillTx/>
              <a:latin typeface="等线" panose="020F0502020204030204"/>
              <a:ea typeface="+mn-ea"/>
              <a:cs typeface="+mn-cs"/>
            </a:endParaRPr>
          </a:p>
        </p:txBody>
      </p:sp>
      <p:sp>
        <p:nvSpPr>
          <p:cNvPr id="161" name="Rectangle: Rounded Corners 168">
            <a:extLst>
              <a:ext uri="{FF2B5EF4-FFF2-40B4-BE49-F238E27FC236}">
                <a16:creationId xmlns:a16="http://schemas.microsoft.com/office/drawing/2014/main" id="{C2E57ADA-6726-4403-B309-8A860D40714A}"/>
              </a:ext>
            </a:extLst>
          </p:cNvPr>
          <p:cNvSpPr/>
          <p:nvPr/>
        </p:nvSpPr>
        <p:spPr>
          <a:xfrm>
            <a:off x="10751888" y="2510598"/>
            <a:ext cx="1262495" cy="1262495"/>
          </a:xfrm>
          <a:prstGeom prst="roundRect">
            <a:avLst/>
          </a:prstGeom>
          <a:gradFill>
            <a:gsLst>
              <a:gs pos="0">
                <a:schemeClr val="accent1"/>
              </a:gs>
              <a:gs pos="74000">
                <a:schemeClr val="accent2"/>
              </a:gs>
              <a:gs pos="100000">
                <a:schemeClr val="accent3"/>
              </a:gs>
            </a:gsLst>
            <a:lin ang="3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FFFFFF"/>
              </a:solidFill>
              <a:effectLst/>
              <a:uLnTx/>
              <a:uFillTx/>
              <a:latin typeface="等线" panose="020F0502020204030204"/>
              <a:ea typeface="+mn-ea"/>
              <a:cs typeface="+mn-cs"/>
            </a:endParaRPr>
          </a:p>
        </p:txBody>
      </p:sp>
      <p:sp>
        <p:nvSpPr>
          <p:cNvPr id="162" name="TextBox 169">
            <a:extLst>
              <a:ext uri="{FF2B5EF4-FFF2-40B4-BE49-F238E27FC236}">
                <a16:creationId xmlns:a16="http://schemas.microsoft.com/office/drawing/2014/main" id="{44C8458C-BECC-4BB6-8426-10E5B4130E0C}"/>
              </a:ext>
            </a:extLst>
          </p:cNvPr>
          <p:cNvSpPr txBox="1"/>
          <p:nvPr/>
        </p:nvSpPr>
        <p:spPr>
          <a:xfrm>
            <a:off x="1398142" y="2917769"/>
            <a:ext cx="764268"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0F0F0"/>
                </a:solidFill>
                <a:effectLst/>
                <a:uLnTx/>
                <a:uFillTx/>
                <a:latin typeface="等线" panose="020F0502020204030204"/>
                <a:ea typeface="+mn-ea"/>
                <a:cs typeface="+mn-cs"/>
              </a:rPr>
              <a:t>Day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0F0F0"/>
                </a:solidFill>
                <a:effectLst/>
                <a:uLnTx/>
                <a:uFillTx/>
                <a:latin typeface="等线" panose="020F0502020204030204"/>
                <a:ea typeface="+mn-ea"/>
                <a:cs typeface="+mn-cs"/>
              </a:rPr>
              <a:t>Growth</a:t>
            </a:r>
            <a:endParaRPr kumimoji="0" lang="en-US" sz="1200" b="0" i="0" u="none" strike="noStrike" kern="1200" cap="none" spc="0" normalizeH="0" baseline="0" noProof="0" dirty="0">
              <a:ln>
                <a:noFill/>
              </a:ln>
              <a:solidFill>
                <a:srgbClr val="F0F0F0"/>
              </a:solidFill>
              <a:effectLst/>
              <a:uLnTx/>
              <a:uFillTx/>
              <a:latin typeface="等线" panose="020F0502020204030204"/>
              <a:ea typeface="+mn-ea"/>
              <a:cs typeface="+mn-cs"/>
            </a:endParaRPr>
          </a:p>
        </p:txBody>
      </p:sp>
      <p:sp>
        <p:nvSpPr>
          <p:cNvPr id="163" name="TextBox 170">
            <a:extLst>
              <a:ext uri="{FF2B5EF4-FFF2-40B4-BE49-F238E27FC236}">
                <a16:creationId xmlns:a16="http://schemas.microsoft.com/office/drawing/2014/main" id="{D74482F6-ABEC-49FF-9C26-3887A6DD0738}"/>
              </a:ext>
            </a:extLst>
          </p:cNvPr>
          <p:cNvSpPr txBox="1"/>
          <p:nvPr/>
        </p:nvSpPr>
        <p:spPr>
          <a:xfrm>
            <a:off x="1068950" y="2850000"/>
            <a:ext cx="735344"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a:ln>
                  <a:noFill/>
                </a:ln>
                <a:solidFill>
                  <a:srgbClr val="F0F0F0"/>
                </a:solidFill>
                <a:effectLst/>
                <a:uLnTx/>
                <a:uFillTx/>
                <a:latin typeface="等线" panose="020F0502020204030204"/>
                <a:ea typeface="+mn-ea"/>
                <a:cs typeface="+mn-cs"/>
              </a:rPr>
              <a:t>3</a:t>
            </a:r>
            <a:endParaRPr kumimoji="0" lang="en-ID" sz="3200" b="1" i="0" u="none" strike="noStrike" kern="1200" cap="none" spc="0" normalizeH="0" baseline="0" noProof="0" dirty="0">
              <a:ln>
                <a:noFill/>
              </a:ln>
              <a:solidFill>
                <a:srgbClr val="F0F0F0"/>
              </a:solidFill>
              <a:effectLst/>
              <a:uLnTx/>
              <a:uFillTx/>
              <a:latin typeface="等线" panose="020F0502020204030204"/>
              <a:ea typeface="+mn-ea"/>
              <a:cs typeface="+mn-cs"/>
            </a:endParaRPr>
          </a:p>
        </p:txBody>
      </p:sp>
      <p:sp>
        <p:nvSpPr>
          <p:cNvPr id="164" name="TextBox 173">
            <a:extLst>
              <a:ext uri="{FF2B5EF4-FFF2-40B4-BE49-F238E27FC236}">
                <a16:creationId xmlns:a16="http://schemas.microsoft.com/office/drawing/2014/main" id="{EF5C29E4-FEA0-414B-A605-D6B90C1F3AB7}"/>
              </a:ext>
            </a:extLst>
          </p:cNvPr>
          <p:cNvSpPr txBox="1"/>
          <p:nvPr/>
        </p:nvSpPr>
        <p:spPr>
          <a:xfrm>
            <a:off x="5203496" y="1775362"/>
            <a:ext cx="764268"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0F0F0"/>
                </a:solidFill>
                <a:effectLst/>
                <a:uLnTx/>
                <a:uFillTx/>
                <a:latin typeface="等线" panose="020F0502020204030204"/>
                <a:ea typeface="+mn-ea"/>
                <a:cs typeface="+mn-cs"/>
              </a:rPr>
              <a:t>Day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0F0F0"/>
                </a:solidFill>
                <a:effectLst/>
                <a:uLnTx/>
                <a:uFillTx/>
                <a:latin typeface="等线" panose="020F0502020204030204"/>
                <a:ea typeface="+mn-ea"/>
                <a:cs typeface="+mn-cs"/>
              </a:rPr>
              <a:t>Growth</a:t>
            </a:r>
            <a:endParaRPr kumimoji="0" lang="en-US" sz="1200" b="0" i="0" u="none" strike="noStrike" kern="1200" cap="none" spc="0" normalizeH="0" baseline="0" noProof="0" dirty="0">
              <a:ln>
                <a:noFill/>
              </a:ln>
              <a:solidFill>
                <a:srgbClr val="F0F0F0"/>
              </a:solidFill>
              <a:effectLst/>
              <a:uLnTx/>
              <a:uFillTx/>
              <a:latin typeface="等线" panose="020F0502020204030204"/>
              <a:ea typeface="+mn-ea"/>
              <a:cs typeface="+mn-cs"/>
            </a:endParaRPr>
          </a:p>
        </p:txBody>
      </p:sp>
      <p:sp>
        <p:nvSpPr>
          <p:cNvPr id="165" name="TextBox 174">
            <a:extLst>
              <a:ext uri="{FF2B5EF4-FFF2-40B4-BE49-F238E27FC236}">
                <a16:creationId xmlns:a16="http://schemas.microsoft.com/office/drawing/2014/main" id="{26C3971A-196A-4BA2-8B43-5D2C30F7AD3E}"/>
              </a:ext>
            </a:extLst>
          </p:cNvPr>
          <p:cNvSpPr txBox="1"/>
          <p:nvPr/>
        </p:nvSpPr>
        <p:spPr>
          <a:xfrm>
            <a:off x="4874304" y="1707593"/>
            <a:ext cx="735344"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a:ln>
                  <a:noFill/>
                </a:ln>
                <a:solidFill>
                  <a:srgbClr val="F0F0F0"/>
                </a:solidFill>
                <a:effectLst/>
                <a:uLnTx/>
                <a:uFillTx/>
                <a:latin typeface="等线" panose="020F0502020204030204"/>
                <a:ea typeface="+mn-ea"/>
                <a:cs typeface="+mn-cs"/>
              </a:rPr>
              <a:t>9</a:t>
            </a:r>
            <a:endParaRPr kumimoji="0" lang="en-ID" sz="3200" b="1" i="0" u="none" strike="noStrike" kern="1200" cap="none" spc="0" normalizeH="0" baseline="0" noProof="0" dirty="0">
              <a:ln>
                <a:noFill/>
              </a:ln>
              <a:solidFill>
                <a:srgbClr val="F0F0F0"/>
              </a:solidFill>
              <a:effectLst/>
              <a:uLnTx/>
              <a:uFillTx/>
              <a:latin typeface="等线" panose="020F0502020204030204"/>
              <a:ea typeface="+mn-ea"/>
              <a:cs typeface="+mn-cs"/>
            </a:endParaRPr>
          </a:p>
        </p:txBody>
      </p:sp>
      <p:sp>
        <p:nvSpPr>
          <p:cNvPr id="166" name="TextBox 176">
            <a:extLst>
              <a:ext uri="{FF2B5EF4-FFF2-40B4-BE49-F238E27FC236}">
                <a16:creationId xmlns:a16="http://schemas.microsoft.com/office/drawing/2014/main" id="{54C1FD4C-B865-4E4D-8A9D-76657AF370AB}"/>
              </a:ext>
            </a:extLst>
          </p:cNvPr>
          <p:cNvSpPr txBox="1"/>
          <p:nvPr/>
        </p:nvSpPr>
        <p:spPr>
          <a:xfrm>
            <a:off x="8377602" y="2708000"/>
            <a:ext cx="764268"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0F0F0"/>
                </a:solidFill>
                <a:effectLst/>
                <a:uLnTx/>
                <a:uFillTx/>
                <a:latin typeface="等线" panose="020F0502020204030204"/>
                <a:ea typeface="+mn-ea"/>
                <a:cs typeface="+mn-cs"/>
              </a:rPr>
              <a:t>Day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0F0F0"/>
                </a:solidFill>
                <a:effectLst/>
                <a:uLnTx/>
                <a:uFillTx/>
                <a:latin typeface="等线" panose="020F0502020204030204"/>
                <a:ea typeface="+mn-ea"/>
                <a:cs typeface="+mn-cs"/>
              </a:rPr>
              <a:t>Growth</a:t>
            </a:r>
            <a:endParaRPr kumimoji="0" lang="en-US" sz="1200" b="0" i="0" u="none" strike="noStrike" kern="1200" cap="none" spc="0" normalizeH="0" baseline="0" noProof="0" dirty="0">
              <a:ln>
                <a:noFill/>
              </a:ln>
              <a:solidFill>
                <a:srgbClr val="F0F0F0"/>
              </a:solidFill>
              <a:effectLst/>
              <a:uLnTx/>
              <a:uFillTx/>
              <a:latin typeface="等线" panose="020F0502020204030204"/>
              <a:ea typeface="+mn-ea"/>
              <a:cs typeface="+mn-cs"/>
            </a:endParaRPr>
          </a:p>
        </p:txBody>
      </p:sp>
      <p:sp>
        <p:nvSpPr>
          <p:cNvPr id="167" name="TextBox 177">
            <a:extLst>
              <a:ext uri="{FF2B5EF4-FFF2-40B4-BE49-F238E27FC236}">
                <a16:creationId xmlns:a16="http://schemas.microsoft.com/office/drawing/2014/main" id="{B8B98693-30CC-4E88-8DCA-37BFA71BD3FA}"/>
              </a:ext>
            </a:extLst>
          </p:cNvPr>
          <p:cNvSpPr txBox="1"/>
          <p:nvPr/>
        </p:nvSpPr>
        <p:spPr>
          <a:xfrm>
            <a:off x="8048410" y="2640231"/>
            <a:ext cx="735344"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a:ln>
                  <a:noFill/>
                </a:ln>
                <a:solidFill>
                  <a:srgbClr val="F0F0F0"/>
                </a:solidFill>
                <a:effectLst/>
                <a:uLnTx/>
                <a:uFillTx/>
                <a:latin typeface="等线" panose="020F0502020204030204"/>
                <a:ea typeface="+mn-ea"/>
                <a:cs typeface="+mn-cs"/>
              </a:rPr>
              <a:t>5</a:t>
            </a:r>
            <a:endParaRPr kumimoji="0" lang="en-ID" sz="3200" b="1" i="0" u="none" strike="noStrike" kern="1200" cap="none" spc="0" normalizeH="0" baseline="0" noProof="0" dirty="0">
              <a:ln>
                <a:noFill/>
              </a:ln>
              <a:solidFill>
                <a:srgbClr val="F0F0F0"/>
              </a:solidFill>
              <a:effectLst/>
              <a:uLnTx/>
              <a:uFillTx/>
              <a:latin typeface="等线" panose="020F0502020204030204"/>
              <a:ea typeface="+mn-ea"/>
              <a:cs typeface="+mn-cs"/>
            </a:endParaRPr>
          </a:p>
        </p:txBody>
      </p:sp>
      <p:sp>
        <p:nvSpPr>
          <p:cNvPr id="168" name="TextBox 179">
            <a:extLst>
              <a:ext uri="{FF2B5EF4-FFF2-40B4-BE49-F238E27FC236}">
                <a16:creationId xmlns:a16="http://schemas.microsoft.com/office/drawing/2014/main" id="{D83D2B5C-860B-46B2-B560-38415DE658E2}"/>
              </a:ext>
            </a:extLst>
          </p:cNvPr>
          <p:cNvSpPr txBox="1"/>
          <p:nvPr/>
        </p:nvSpPr>
        <p:spPr>
          <a:xfrm>
            <a:off x="11165956" y="2917769"/>
            <a:ext cx="764268"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0F0F0"/>
                </a:solidFill>
                <a:effectLst/>
                <a:uLnTx/>
                <a:uFillTx/>
                <a:latin typeface="等线" panose="020F0502020204030204"/>
                <a:ea typeface="+mn-ea"/>
                <a:cs typeface="+mn-cs"/>
              </a:rPr>
              <a:t>Day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0F0F0"/>
                </a:solidFill>
                <a:effectLst/>
                <a:uLnTx/>
                <a:uFillTx/>
                <a:latin typeface="等线" panose="020F0502020204030204"/>
                <a:ea typeface="+mn-ea"/>
                <a:cs typeface="+mn-cs"/>
              </a:rPr>
              <a:t>Growth</a:t>
            </a:r>
            <a:endParaRPr kumimoji="0" lang="en-US" sz="1200" b="0" i="0" u="none" strike="noStrike" kern="1200" cap="none" spc="0" normalizeH="0" baseline="0" noProof="0" dirty="0">
              <a:ln>
                <a:noFill/>
              </a:ln>
              <a:solidFill>
                <a:srgbClr val="F0F0F0"/>
              </a:solidFill>
              <a:effectLst/>
              <a:uLnTx/>
              <a:uFillTx/>
              <a:latin typeface="等线" panose="020F0502020204030204"/>
              <a:ea typeface="+mn-ea"/>
              <a:cs typeface="+mn-cs"/>
            </a:endParaRPr>
          </a:p>
        </p:txBody>
      </p:sp>
      <p:sp>
        <p:nvSpPr>
          <p:cNvPr id="169" name="TextBox 180">
            <a:extLst>
              <a:ext uri="{FF2B5EF4-FFF2-40B4-BE49-F238E27FC236}">
                <a16:creationId xmlns:a16="http://schemas.microsoft.com/office/drawing/2014/main" id="{232BD18C-8C24-4D56-A32B-7A3119A90A6B}"/>
              </a:ext>
            </a:extLst>
          </p:cNvPr>
          <p:cNvSpPr txBox="1"/>
          <p:nvPr/>
        </p:nvSpPr>
        <p:spPr>
          <a:xfrm>
            <a:off x="10836764" y="2850000"/>
            <a:ext cx="735344"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a:ln>
                  <a:noFill/>
                </a:ln>
                <a:solidFill>
                  <a:srgbClr val="F0F0F0"/>
                </a:solidFill>
                <a:effectLst/>
                <a:uLnTx/>
                <a:uFillTx/>
                <a:latin typeface="等线" panose="020F0502020204030204"/>
                <a:ea typeface="+mn-ea"/>
                <a:cs typeface="+mn-cs"/>
              </a:rPr>
              <a:t>1</a:t>
            </a:r>
            <a:endParaRPr kumimoji="0" lang="en-ID" sz="3200" b="1" i="0" u="none" strike="noStrike" kern="1200" cap="none" spc="0" normalizeH="0" baseline="0" noProof="0" dirty="0">
              <a:ln>
                <a:noFill/>
              </a:ln>
              <a:solidFill>
                <a:srgbClr val="F0F0F0"/>
              </a:solidFill>
              <a:effectLst/>
              <a:uLnTx/>
              <a:uFillTx/>
              <a:latin typeface="等线" panose="020F0502020204030204"/>
              <a:ea typeface="+mn-ea"/>
              <a:cs typeface="+mn-cs"/>
            </a:endParaRPr>
          </a:p>
        </p:txBody>
      </p:sp>
      <p:sp>
        <p:nvSpPr>
          <p:cNvPr id="170" name="Graphic 208" descr="Line arrow: Straight">
            <a:extLst>
              <a:ext uri="{FF2B5EF4-FFF2-40B4-BE49-F238E27FC236}">
                <a16:creationId xmlns:a16="http://schemas.microsoft.com/office/drawing/2014/main" id="{CE35113C-B073-4D01-9C73-FD244D760B82}"/>
              </a:ext>
            </a:extLst>
          </p:cNvPr>
          <p:cNvSpPr/>
          <p:nvPr/>
        </p:nvSpPr>
        <p:spPr>
          <a:xfrm rot="10800000">
            <a:off x="11458972" y="490602"/>
            <a:ext cx="215801" cy="81855"/>
          </a:xfrm>
          <a:custGeom>
            <a:avLst/>
            <a:gdLst>
              <a:gd name="connsiteX0" fmla="*/ 210840 w 215800"/>
              <a:gd name="connsiteY0" fmla="*/ 34727 h 81855"/>
              <a:gd name="connsiteX1" fmla="*/ 25301 w 215800"/>
              <a:gd name="connsiteY1" fmla="*/ 34727 h 81855"/>
              <a:gd name="connsiteX2" fmla="*/ 47377 w 215800"/>
              <a:gd name="connsiteY2" fmla="*/ 12650 h 81855"/>
              <a:gd name="connsiteX3" fmla="*/ 47377 w 215800"/>
              <a:gd name="connsiteY3" fmla="*/ 2232 h 81855"/>
              <a:gd name="connsiteX4" fmla="*/ 36959 w 215800"/>
              <a:gd name="connsiteY4" fmla="*/ 2232 h 81855"/>
              <a:gd name="connsiteX5" fmla="*/ 2232 w 215800"/>
              <a:gd name="connsiteY5" fmla="*/ 36959 h 81855"/>
              <a:gd name="connsiteX6" fmla="*/ 2232 w 215800"/>
              <a:gd name="connsiteY6" fmla="*/ 47377 h 81855"/>
              <a:gd name="connsiteX7" fmla="*/ 36959 w 215800"/>
              <a:gd name="connsiteY7" fmla="*/ 82104 h 81855"/>
              <a:gd name="connsiteX8" fmla="*/ 42168 w 215800"/>
              <a:gd name="connsiteY8" fmla="*/ 84336 h 81855"/>
              <a:gd name="connsiteX9" fmla="*/ 47377 w 215800"/>
              <a:gd name="connsiteY9" fmla="*/ 82104 h 81855"/>
              <a:gd name="connsiteX10" fmla="*/ 47377 w 215800"/>
              <a:gd name="connsiteY10" fmla="*/ 71686 h 81855"/>
              <a:gd name="connsiteX11" fmla="*/ 25301 w 215800"/>
              <a:gd name="connsiteY11" fmla="*/ 49609 h 81855"/>
              <a:gd name="connsiteX12" fmla="*/ 210840 w 215800"/>
              <a:gd name="connsiteY12" fmla="*/ 49609 h 81855"/>
              <a:gd name="connsiteX13" fmla="*/ 218281 w 215800"/>
              <a:gd name="connsiteY13" fmla="*/ 42168 h 81855"/>
              <a:gd name="connsiteX14" fmla="*/ 210840 w 215800"/>
              <a:gd name="connsiteY14" fmla="*/ 34727 h 81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15800" h="81855">
                <a:moveTo>
                  <a:pt x="210840" y="34727"/>
                </a:moveTo>
                <a:lnTo>
                  <a:pt x="25301" y="34727"/>
                </a:lnTo>
                <a:lnTo>
                  <a:pt x="47377" y="12650"/>
                </a:lnTo>
                <a:cubicBezTo>
                  <a:pt x="50354" y="9674"/>
                  <a:pt x="50354" y="4961"/>
                  <a:pt x="47377" y="2232"/>
                </a:cubicBezTo>
                <a:cubicBezTo>
                  <a:pt x="44400" y="-744"/>
                  <a:pt x="39688" y="-744"/>
                  <a:pt x="36959" y="2232"/>
                </a:cubicBezTo>
                <a:lnTo>
                  <a:pt x="2232" y="36959"/>
                </a:lnTo>
                <a:cubicBezTo>
                  <a:pt x="-744" y="39936"/>
                  <a:pt x="-744" y="44648"/>
                  <a:pt x="2232" y="47377"/>
                </a:cubicBezTo>
                <a:lnTo>
                  <a:pt x="36959" y="82104"/>
                </a:lnTo>
                <a:cubicBezTo>
                  <a:pt x="38447" y="83592"/>
                  <a:pt x="40432" y="84336"/>
                  <a:pt x="42168" y="84336"/>
                </a:cubicBezTo>
                <a:cubicBezTo>
                  <a:pt x="43904" y="84336"/>
                  <a:pt x="45889" y="83592"/>
                  <a:pt x="47377" y="82104"/>
                </a:cubicBezTo>
                <a:cubicBezTo>
                  <a:pt x="50354" y="79127"/>
                  <a:pt x="50354" y="74414"/>
                  <a:pt x="47377" y="71686"/>
                </a:cubicBezTo>
                <a:lnTo>
                  <a:pt x="25301" y="49609"/>
                </a:lnTo>
                <a:lnTo>
                  <a:pt x="210840" y="49609"/>
                </a:lnTo>
                <a:cubicBezTo>
                  <a:pt x="215057" y="49609"/>
                  <a:pt x="218281" y="46385"/>
                  <a:pt x="218281" y="42168"/>
                </a:cubicBezTo>
                <a:cubicBezTo>
                  <a:pt x="218281" y="37951"/>
                  <a:pt x="215057" y="34727"/>
                  <a:pt x="210840" y="34727"/>
                </a:cubicBezTo>
                <a:close/>
              </a:path>
            </a:pathLst>
          </a:custGeom>
          <a:solidFill>
            <a:schemeClr val="accent1"/>
          </a:solidFill>
          <a:ln w="248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Tree>
    <p:extLst>
      <p:ext uri="{BB962C8B-B14F-4D97-AF65-F5344CB8AC3E}">
        <p14:creationId xmlns:p14="http://schemas.microsoft.com/office/powerpoint/2010/main" val="1510536135"/>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accel="40000" decel="4000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1000" fill="hold"/>
                                        <p:tgtEl>
                                          <p:spTgt spid="3"/>
                                        </p:tgtEl>
                                        <p:attrNameLst>
                                          <p:attrName>ppt_x</p:attrName>
                                        </p:attrNameLst>
                                      </p:cBhvr>
                                      <p:tavLst>
                                        <p:tav tm="0">
                                          <p:val>
                                            <p:strVal val="#ppt_x"/>
                                          </p:val>
                                        </p:tav>
                                        <p:tav tm="100000">
                                          <p:val>
                                            <p:strVal val="#ppt_x"/>
                                          </p:val>
                                        </p:tav>
                                      </p:tavLst>
                                    </p:anim>
                                    <p:anim calcmode="lin" valueType="num">
                                      <p:cBhvr additive="base">
                                        <p:cTn id="8" dur="1000" fill="hold"/>
                                        <p:tgtEl>
                                          <p:spTgt spid="3"/>
                                        </p:tgtEl>
                                        <p:attrNameLst>
                                          <p:attrName>ppt_y</p:attrName>
                                        </p:attrNameLst>
                                      </p:cBhvr>
                                      <p:tavLst>
                                        <p:tav tm="0">
                                          <p:val>
                                            <p:strVal val="1+#ppt_h/2"/>
                                          </p:val>
                                        </p:tav>
                                        <p:tav tm="100000">
                                          <p:val>
                                            <p:strVal val="#ppt_y"/>
                                          </p:val>
                                        </p:tav>
                                      </p:tavLst>
                                    </p:anim>
                                  </p:childTnLst>
                                </p:cTn>
                              </p:par>
                              <p:par>
                                <p:cTn id="9" presetID="2" presetClass="entr" presetSubtype="4" accel="40000" decel="40000" fill="hold" grpId="0" nodeType="withEffect">
                                  <p:stCondLst>
                                    <p:cond delay="0"/>
                                  </p:stCondLst>
                                  <p:childTnLst>
                                    <p:set>
                                      <p:cBhvr>
                                        <p:cTn id="10" dur="1" fill="hold">
                                          <p:stCondLst>
                                            <p:cond delay="0"/>
                                          </p:stCondLst>
                                        </p:cTn>
                                        <p:tgtEl>
                                          <p:spTgt spid="4"/>
                                        </p:tgtEl>
                                        <p:attrNameLst>
                                          <p:attrName>style.visibility</p:attrName>
                                        </p:attrNameLst>
                                      </p:cBhvr>
                                      <p:to>
                                        <p:strVal val="visible"/>
                                      </p:to>
                                    </p:set>
                                    <p:anim calcmode="lin" valueType="num">
                                      <p:cBhvr additive="base">
                                        <p:cTn id="11" dur="1000" fill="hold"/>
                                        <p:tgtEl>
                                          <p:spTgt spid="4"/>
                                        </p:tgtEl>
                                        <p:attrNameLst>
                                          <p:attrName>ppt_x</p:attrName>
                                        </p:attrNameLst>
                                      </p:cBhvr>
                                      <p:tavLst>
                                        <p:tav tm="0">
                                          <p:val>
                                            <p:strVal val="#ppt_x"/>
                                          </p:val>
                                        </p:tav>
                                        <p:tav tm="100000">
                                          <p:val>
                                            <p:strVal val="#ppt_x"/>
                                          </p:val>
                                        </p:tav>
                                      </p:tavLst>
                                    </p:anim>
                                    <p:anim calcmode="lin" valueType="num">
                                      <p:cBhvr additive="base">
                                        <p:cTn id="12" dur="1000" fill="hold"/>
                                        <p:tgtEl>
                                          <p:spTgt spid="4"/>
                                        </p:tgtEl>
                                        <p:attrNameLst>
                                          <p:attrName>ppt_y</p:attrName>
                                        </p:attrNameLst>
                                      </p:cBhvr>
                                      <p:tavLst>
                                        <p:tav tm="0">
                                          <p:val>
                                            <p:strVal val="1+#ppt_h/2"/>
                                          </p:val>
                                        </p:tav>
                                        <p:tav tm="100000">
                                          <p:val>
                                            <p:strVal val="#ppt_y"/>
                                          </p:val>
                                        </p:tav>
                                      </p:tavLst>
                                    </p:anim>
                                  </p:childTnLst>
                                </p:cTn>
                              </p:par>
                              <p:par>
                                <p:cTn id="13" presetID="2" presetClass="entr" presetSubtype="4" accel="40000" decel="40000" fill="hold" grpId="0" nodeType="withEffect">
                                  <p:stCondLst>
                                    <p:cond delay="0"/>
                                  </p:stCondLst>
                                  <p:childTnLst>
                                    <p:set>
                                      <p:cBhvr>
                                        <p:cTn id="14" dur="1" fill="hold">
                                          <p:stCondLst>
                                            <p:cond delay="0"/>
                                          </p:stCondLst>
                                        </p:cTn>
                                        <p:tgtEl>
                                          <p:spTgt spid="5"/>
                                        </p:tgtEl>
                                        <p:attrNameLst>
                                          <p:attrName>style.visibility</p:attrName>
                                        </p:attrNameLst>
                                      </p:cBhvr>
                                      <p:to>
                                        <p:strVal val="visible"/>
                                      </p:to>
                                    </p:set>
                                    <p:anim calcmode="lin" valueType="num">
                                      <p:cBhvr additive="base">
                                        <p:cTn id="15" dur="1000" fill="hold"/>
                                        <p:tgtEl>
                                          <p:spTgt spid="5"/>
                                        </p:tgtEl>
                                        <p:attrNameLst>
                                          <p:attrName>ppt_x</p:attrName>
                                        </p:attrNameLst>
                                      </p:cBhvr>
                                      <p:tavLst>
                                        <p:tav tm="0">
                                          <p:val>
                                            <p:strVal val="#ppt_x"/>
                                          </p:val>
                                        </p:tav>
                                        <p:tav tm="100000">
                                          <p:val>
                                            <p:strVal val="#ppt_x"/>
                                          </p:val>
                                        </p:tav>
                                      </p:tavLst>
                                    </p:anim>
                                    <p:anim calcmode="lin" valueType="num">
                                      <p:cBhvr additive="base">
                                        <p:cTn id="16" dur="1000" fill="hold"/>
                                        <p:tgtEl>
                                          <p:spTgt spid="5"/>
                                        </p:tgtEl>
                                        <p:attrNameLst>
                                          <p:attrName>ppt_y</p:attrName>
                                        </p:attrNameLst>
                                      </p:cBhvr>
                                      <p:tavLst>
                                        <p:tav tm="0">
                                          <p:val>
                                            <p:strVal val="1+#ppt_h/2"/>
                                          </p:val>
                                        </p:tav>
                                        <p:tav tm="100000">
                                          <p:val>
                                            <p:strVal val="#ppt_y"/>
                                          </p:val>
                                        </p:tav>
                                      </p:tavLst>
                                    </p:anim>
                                  </p:childTnLst>
                                </p:cTn>
                              </p:par>
                              <p:par>
                                <p:cTn id="17" presetID="2" presetClass="entr" presetSubtype="4" accel="40000" decel="40000" fill="hold" grpId="0" nodeType="withEffect">
                                  <p:stCondLst>
                                    <p:cond delay="0"/>
                                  </p:stCondLst>
                                  <p:childTnLst>
                                    <p:set>
                                      <p:cBhvr>
                                        <p:cTn id="18" dur="1" fill="hold">
                                          <p:stCondLst>
                                            <p:cond delay="0"/>
                                          </p:stCondLst>
                                        </p:cTn>
                                        <p:tgtEl>
                                          <p:spTgt spid="6"/>
                                        </p:tgtEl>
                                        <p:attrNameLst>
                                          <p:attrName>style.visibility</p:attrName>
                                        </p:attrNameLst>
                                      </p:cBhvr>
                                      <p:to>
                                        <p:strVal val="visible"/>
                                      </p:to>
                                    </p:set>
                                    <p:anim calcmode="lin" valueType="num">
                                      <p:cBhvr additive="base">
                                        <p:cTn id="19" dur="1000" fill="hold"/>
                                        <p:tgtEl>
                                          <p:spTgt spid="6"/>
                                        </p:tgtEl>
                                        <p:attrNameLst>
                                          <p:attrName>ppt_x</p:attrName>
                                        </p:attrNameLst>
                                      </p:cBhvr>
                                      <p:tavLst>
                                        <p:tav tm="0">
                                          <p:val>
                                            <p:strVal val="#ppt_x"/>
                                          </p:val>
                                        </p:tav>
                                        <p:tav tm="100000">
                                          <p:val>
                                            <p:strVal val="#ppt_x"/>
                                          </p:val>
                                        </p:tav>
                                      </p:tavLst>
                                    </p:anim>
                                    <p:anim calcmode="lin" valueType="num">
                                      <p:cBhvr additive="base">
                                        <p:cTn id="20" dur="1000" fill="hold"/>
                                        <p:tgtEl>
                                          <p:spTgt spid="6"/>
                                        </p:tgtEl>
                                        <p:attrNameLst>
                                          <p:attrName>ppt_y</p:attrName>
                                        </p:attrNameLst>
                                      </p:cBhvr>
                                      <p:tavLst>
                                        <p:tav tm="0">
                                          <p:val>
                                            <p:strVal val="1+#ppt_h/2"/>
                                          </p:val>
                                        </p:tav>
                                        <p:tav tm="100000">
                                          <p:val>
                                            <p:strVal val="#ppt_y"/>
                                          </p:val>
                                        </p:tav>
                                      </p:tavLst>
                                    </p:anim>
                                  </p:childTnLst>
                                </p:cTn>
                              </p:par>
                              <p:par>
                                <p:cTn id="21" presetID="2" presetClass="entr" presetSubtype="4" accel="40000" decel="40000" fill="hold" grpId="0" nodeType="withEffect">
                                  <p:stCondLst>
                                    <p:cond delay="0"/>
                                  </p:stCondLst>
                                  <p:childTnLst>
                                    <p:set>
                                      <p:cBhvr>
                                        <p:cTn id="22" dur="1" fill="hold">
                                          <p:stCondLst>
                                            <p:cond delay="0"/>
                                          </p:stCondLst>
                                        </p:cTn>
                                        <p:tgtEl>
                                          <p:spTgt spid="7"/>
                                        </p:tgtEl>
                                        <p:attrNameLst>
                                          <p:attrName>style.visibility</p:attrName>
                                        </p:attrNameLst>
                                      </p:cBhvr>
                                      <p:to>
                                        <p:strVal val="visible"/>
                                      </p:to>
                                    </p:set>
                                    <p:anim calcmode="lin" valueType="num">
                                      <p:cBhvr additive="base">
                                        <p:cTn id="23" dur="1000" fill="hold"/>
                                        <p:tgtEl>
                                          <p:spTgt spid="7"/>
                                        </p:tgtEl>
                                        <p:attrNameLst>
                                          <p:attrName>ppt_x</p:attrName>
                                        </p:attrNameLst>
                                      </p:cBhvr>
                                      <p:tavLst>
                                        <p:tav tm="0">
                                          <p:val>
                                            <p:strVal val="#ppt_x"/>
                                          </p:val>
                                        </p:tav>
                                        <p:tav tm="100000">
                                          <p:val>
                                            <p:strVal val="#ppt_x"/>
                                          </p:val>
                                        </p:tav>
                                      </p:tavLst>
                                    </p:anim>
                                    <p:anim calcmode="lin" valueType="num">
                                      <p:cBhvr additive="base">
                                        <p:cTn id="24" dur="1000" fill="hold"/>
                                        <p:tgtEl>
                                          <p:spTgt spid="7"/>
                                        </p:tgtEl>
                                        <p:attrNameLst>
                                          <p:attrName>ppt_y</p:attrName>
                                        </p:attrNameLst>
                                      </p:cBhvr>
                                      <p:tavLst>
                                        <p:tav tm="0">
                                          <p:val>
                                            <p:strVal val="1+#ppt_h/2"/>
                                          </p:val>
                                        </p:tav>
                                        <p:tav tm="100000">
                                          <p:val>
                                            <p:strVal val="#ppt_y"/>
                                          </p:val>
                                        </p:tav>
                                      </p:tavLst>
                                    </p:anim>
                                  </p:childTnLst>
                                </p:cTn>
                              </p:par>
                              <p:par>
                                <p:cTn id="25" presetID="2" presetClass="entr" presetSubtype="4" accel="40000" decel="40000" fill="hold" grpId="0" nodeType="withEffect">
                                  <p:stCondLst>
                                    <p:cond delay="0"/>
                                  </p:stCondLst>
                                  <p:childTnLst>
                                    <p:set>
                                      <p:cBhvr>
                                        <p:cTn id="26" dur="1" fill="hold">
                                          <p:stCondLst>
                                            <p:cond delay="0"/>
                                          </p:stCondLst>
                                        </p:cTn>
                                        <p:tgtEl>
                                          <p:spTgt spid="8"/>
                                        </p:tgtEl>
                                        <p:attrNameLst>
                                          <p:attrName>style.visibility</p:attrName>
                                        </p:attrNameLst>
                                      </p:cBhvr>
                                      <p:to>
                                        <p:strVal val="visible"/>
                                      </p:to>
                                    </p:set>
                                    <p:anim calcmode="lin" valueType="num">
                                      <p:cBhvr additive="base">
                                        <p:cTn id="27" dur="1000" fill="hold"/>
                                        <p:tgtEl>
                                          <p:spTgt spid="8"/>
                                        </p:tgtEl>
                                        <p:attrNameLst>
                                          <p:attrName>ppt_x</p:attrName>
                                        </p:attrNameLst>
                                      </p:cBhvr>
                                      <p:tavLst>
                                        <p:tav tm="0">
                                          <p:val>
                                            <p:strVal val="#ppt_x"/>
                                          </p:val>
                                        </p:tav>
                                        <p:tav tm="100000">
                                          <p:val>
                                            <p:strVal val="#ppt_x"/>
                                          </p:val>
                                        </p:tav>
                                      </p:tavLst>
                                    </p:anim>
                                    <p:anim calcmode="lin" valueType="num">
                                      <p:cBhvr additive="base">
                                        <p:cTn id="28" dur="1000" fill="hold"/>
                                        <p:tgtEl>
                                          <p:spTgt spid="8"/>
                                        </p:tgtEl>
                                        <p:attrNameLst>
                                          <p:attrName>ppt_y</p:attrName>
                                        </p:attrNameLst>
                                      </p:cBhvr>
                                      <p:tavLst>
                                        <p:tav tm="0">
                                          <p:val>
                                            <p:strVal val="1+#ppt_h/2"/>
                                          </p:val>
                                        </p:tav>
                                        <p:tav tm="100000">
                                          <p:val>
                                            <p:strVal val="#ppt_y"/>
                                          </p:val>
                                        </p:tav>
                                      </p:tavLst>
                                    </p:anim>
                                  </p:childTnLst>
                                </p:cTn>
                              </p:par>
                              <p:par>
                                <p:cTn id="29" presetID="2" presetClass="entr" presetSubtype="4" accel="40000" decel="40000" fill="hold" grpId="0" nodeType="withEffect">
                                  <p:stCondLst>
                                    <p:cond delay="0"/>
                                  </p:stCondLst>
                                  <p:childTnLst>
                                    <p:set>
                                      <p:cBhvr>
                                        <p:cTn id="30" dur="1" fill="hold">
                                          <p:stCondLst>
                                            <p:cond delay="0"/>
                                          </p:stCondLst>
                                        </p:cTn>
                                        <p:tgtEl>
                                          <p:spTgt spid="9"/>
                                        </p:tgtEl>
                                        <p:attrNameLst>
                                          <p:attrName>style.visibility</p:attrName>
                                        </p:attrNameLst>
                                      </p:cBhvr>
                                      <p:to>
                                        <p:strVal val="visible"/>
                                      </p:to>
                                    </p:set>
                                    <p:anim calcmode="lin" valueType="num">
                                      <p:cBhvr additive="base">
                                        <p:cTn id="31" dur="1000" fill="hold"/>
                                        <p:tgtEl>
                                          <p:spTgt spid="9"/>
                                        </p:tgtEl>
                                        <p:attrNameLst>
                                          <p:attrName>ppt_x</p:attrName>
                                        </p:attrNameLst>
                                      </p:cBhvr>
                                      <p:tavLst>
                                        <p:tav tm="0">
                                          <p:val>
                                            <p:strVal val="#ppt_x"/>
                                          </p:val>
                                        </p:tav>
                                        <p:tav tm="100000">
                                          <p:val>
                                            <p:strVal val="#ppt_x"/>
                                          </p:val>
                                        </p:tav>
                                      </p:tavLst>
                                    </p:anim>
                                    <p:anim calcmode="lin" valueType="num">
                                      <p:cBhvr additive="base">
                                        <p:cTn id="32" dur="1000" fill="hold"/>
                                        <p:tgtEl>
                                          <p:spTgt spid="9"/>
                                        </p:tgtEl>
                                        <p:attrNameLst>
                                          <p:attrName>ppt_y</p:attrName>
                                        </p:attrNameLst>
                                      </p:cBhvr>
                                      <p:tavLst>
                                        <p:tav tm="0">
                                          <p:val>
                                            <p:strVal val="1+#ppt_h/2"/>
                                          </p:val>
                                        </p:tav>
                                        <p:tav tm="100000">
                                          <p:val>
                                            <p:strVal val="#ppt_y"/>
                                          </p:val>
                                        </p:tav>
                                      </p:tavLst>
                                    </p:anim>
                                  </p:childTnLst>
                                </p:cTn>
                              </p:par>
                              <p:par>
                                <p:cTn id="33" presetID="2" presetClass="entr" presetSubtype="4" accel="40000" decel="40000" fill="hold" nodeType="withEffect">
                                  <p:stCondLst>
                                    <p:cond delay="0"/>
                                  </p:stCondLst>
                                  <p:childTnLst>
                                    <p:set>
                                      <p:cBhvr>
                                        <p:cTn id="34" dur="1" fill="hold">
                                          <p:stCondLst>
                                            <p:cond delay="0"/>
                                          </p:stCondLst>
                                        </p:cTn>
                                        <p:tgtEl>
                                          <p:spTgt spid="10"/>
                                        </p:tgtEl>
                                        <p:attrNameLst>
                                          <p:attrName>style.visibility</p:attrName>
                                        </p:attrNameLst>
                                      </p:cBhvr>
                                      <p:to>
                                        <p:strVal val="visible"/>
                                      </p:to>
                                    </p:set>
                                    <p:anim calcmode="lin" valueType="num">
                                      <p:cBhvr additive="base">
                                        <p:cTn id="35" dur="1000" fill="hold"/>
                                        <p:tgtEl>
                                          <p:spTgt spid="10"/>
                                        </p:tgtEl>
                                        <p:attrNameLst>
                                          <p:attrName>ppt_x</p:attrName>
                                        </p:attrNameLst>
                                      </p:cBhvr>
                                      <p:tavLst>
                                        <p:tav tm="0">
                                          <p:val>
                                            <p:strVal val="#ppt_x"/>
                                          </p:val>
                                        </p:tav>
                                        <p:tav tm="100000">
                                          <p:val>
                                            <p:strVal val="#ppt_x"/>
                                          </p:val>
                                        </p:tav>
                                      </p:tavLst>
                                    </p:anim>
                                    <p:anim calcmode="lin" valueType="num">
                                      <p:cBhvr additive="base">
                                        <p:cTn id="36" dur="1000" fill="hold"/>
                                        <p:tgtEl>
                                          <p:spTgt spid="10"/>
                                        </p:tgtEl>
                                        <p:attrNameLst>
                                          <p:attrName>ppt_y</p:attrName>
                                        </p:attrNameLst>
                                      </p:cBhvr>
                                      <p:tavLst>
                                        <p:tav tm="0">
                                          <p:val>
                                            <p:strVal val="1+#ppt_h/2"/>
                                          </p:val>
                                        </p:tav>
                                        <p:tav tm="100000">
                                          <p:val>
                                            <p:strVal val="#ppt_y"/>
                                          </p:val>
                                        </p:tav>
                                      </p:tavLst>
                                    </p:anim>
                                  </p:childTnLst>
                                </p:cTn>
                              </p:par>
                              <p:par>
                                <p:cTn id="37" presetID="2" presetClass="entr" presetSubtype="4" accel="40000" decel="40000" fill="hold" nodeType="withEffect">
                                  <p:stCondLst>
                                    <p:cond delay="0"/>
                                  </p:stCondLst>
                                  <p:childTnLst>
                                    <p:set>
                                      <p:cBhvr>
                                        <p:cTn id="38" dur="1" fill="hold">
                                          <p:stCondLst>
                                            <p:cond delay="0"/>
                                          </p:stCondLst>
                                        </p:cTn>
                                        <p:tgtEl>
                                          <p:spTgt spid="16"/>
                                        </p:tgtEl>
                                        <p:attrNameLst>
                                          <p:attrName>style.visibility</p:attrName>
                                        </p:attrNameLst>
                                      </p:cBhvr>
                                      <p:to>
                                        <p:strVal val="visible"/>
                                      </p:to>
                                    </p:set>
                                    <p:anim calcmode="lin" valueType="num">
                                      <p:cBhvr additive="base">
                                        <p:cTn id="39" dur="1000" fill="hold"/>
                                        <p:tgtEl>
                                          <p:spTgt spid="16"/>
                                        </p:tgtEl>
                                        <p:attrNameLst>
                                          <p:attrName>ppt_x</p:attrName>
                                        </p:attrNameLst>
                                      </p:cBhvr>
                                      <p:tavLst>
                                        <p:tav tm="0">
                                          <p:val>
                                            <p:strVal val="#ppt_x"/>
                                          </p:val>
                                        </p:tav>
                                        <p:tav tm="100000">
                                          <p:val>
                                            <p:strVal val="#ppt_x"/>
                                          </p:val>
                                        </p:tav>
                                      </p:tavLst>
                                    </p:anim>
                                    <p:anim calcmode="lin" valueType="num">
                                      <p:cBhvr additive="base">
                                        <p:cTn id="40" dur="1000" fill="hold"/>
                                        <p:tgtEl>
                                          <p:spTgt spid="16"/>
                                        </p:tgtEl>
                                        <p:attrNameLst>
                                          <p:attrName>ppt_y</p:attrName>
                                        </p:attrNameLst>
                                      </p:cBhvr>
                                      <p:tavLst>
                                        <p:tav tm="0">
                                          <p:val>
                                            <p:strVal val="1+#ppt_h/2"/>
                                          </p:val>
                                        </p:tav>
                                        <p:tav tm="100000">
                                          <p:val>
                                            <p:strVal val="#ppt_y"/>
                                          </p:val>
                                        </p:tav>
                                      </p:tavLst>
                                    </p:anim>
                                  </p:childTnLst>
                                </p:cTn>
                              </p:par>
                              <p:par>
                                <p:cTn id="41" presetID="2" presetClass="entr" presetSubtype="4" accel="40000" decel="40000" fill="hold" grpId="0" nodeType="withEffect">
                                  <p:stCondLst>
                                    <p:cond delay="0"/>
                                  </p:stCondLst>
                                  <p:childTnLst>
                                    <p:set>
                                      <p:cBhvr>
                                        <p:cTn id="42" dur="1" fill="hold">
                                          <p:stCondLst>
                                            <p:cond delay="0"/>
                                          </p:stCondLst>
                                        </p:cTn>
                                        <p:tgtEl>
                                          <p:spTgt spid="19"/>
                                        </p:tgtEl>
                                        <p:attrNameLst>
                                          <p:attrName>style.visibility</p:attrName>
                                        </p:attrNameLst>
                                      </p:cBhvr>
                                      <p:to>
                                        <p:strVal val="visible"/>
                                      </p:to>
                                    </p:set>
                                    <p:anim calcmode="lin" valueType="num">
                                      <p:cBhvr additive="base">
                                        <p:cTn id="43" dur="1000" fill="hold"/>
                                        <p:tgtEl>
                                          <p:spTgt spid="19"/>
                                        </p:tgtEl>
                                        <p:attrNameLst>
                                          <p:attrName>ppt_x</p:attrName>
                                        </p:attrNameLst>
                                      </p:cBhvr>
                                      <p:tavLst>
                                        <p:tav tm="0">
                                          <p:val>
                                            <p:strVal val="#ppt_x"/>
                                          </p:val>
                                        </p:tav>
                                        <p:tav tm="100000">
                                          <p:val>
                                            <p:strVal val="#ppt_x"/>
                                          </p:val>
                                        </p:tav>
                                      </p:tavLst>
                                    </p:anim>
                                    <p:anim calcmode="lin" valueType="num">
                                      <p:cBhvr additive="base">
                                        <p:cTn id="44" dur="1000" fill="hold"/>
                                        <p:tgtEl>
                                          <p:spTgt spid="19"/>
                                        </p:tgtEl>
                                        <p:attrNameLst>
                                          <p:attrName>ppt_y</p:attrName>
                                        </p:attrNameLst>
                                      </p:cBhvr>
                                      <p:tavLst>
                                        <p:tav tm="0">
                                          <p:val>
                                            <p:strVal val="1+#ppt_h/2"/>
                                          </p:val>
                                        </p:tav>
                                        <p:tav tm="100000">
                                          <p:val>
                                            <p:strVal val="#ppt_y"/>
                                          </p:val>
                                        </p:tav>
                                      </p:tavLst>
                                    </p:anim>
                                  </p:childTnLst>
                                </p:cTn>
                              </p:par>
                              <p:par>
                                <p:cTn id="45" presetID="2" presetClass="entr" presetSubtype="4" accel="40000" decel="40000" fill="hold" grpId="0" nodeType="withEffect">
                                  <p:stCondLst>
                                    <p:cond delay="0"/>
                                  </p:stCondLst>
                                  <p:childTnLst>
                                    <p:set>
                                      <p:cBhvr>
                                        <p:cTn id="46" dur="1" fill="hold">
                                          <p:stCondLst>
                                            <p:cond delay="0"/>
                                          </p:stCondLst>
                                        </p:cTn>
                                        <p:tgtEl>
                                          <p:spTgt spid="20"/>
                                        </p:tgtEl>
                                        <p:attrNameLst>
                                          <p:attrName>style.visibility</p:attrName>
                                        </p:attrNameLst>
                                      </p:cBhvr>
                                      <p:to>
                                        <p:strVal val="visible"/>
                                      </p:to>
                                    </p:set>
                                    <p:anim calcmode="lin" valueType="num">
                                      <p:cBhvr additive="base">
                                        <p:cTn id="47" dur="1000" fill="hold"/>
                                        <p:tgtEl>
                                          <p:spTgt spid="20"/>
                                        </p:tgtEl>
                                        <p:attrNameLst>
                                          <p:attrName>ppt_x</p:attrName>
                                        </p:attrNameLst>
                                      </p:cBhvr>
                                      <p:tavLst>
                                        <p:tav tm="0">
                                          <p:val>
                                            <p:strVal val="#ppt_x"/>
                                          </p:val>
                                        </p:tav>
                                        <p:tav tm="100000">
                                          <p:val>
                                            <p:strVal val="#ppt_x"/>
                                          </p:val>
                                        </p:tav>
                                      </p:tavLst>
                                    </p:anim>
                                    <p:anim calcmode="lin" valueType="num">
                                      <p:cBhvr additive="base">
                                        <p:cTn id="48" dur="1000" fill="hold"/>
                                        <p:tgtEl>
                                          <p:spTgt spid="20"/>
                                        </p:tgtEl>
                                        <p:attrNameLst>
                                          <p:attrName>ppt_y</p:attrName>
                                        </p:attrNameLst>
                                      </p:cBhvr>
                                      <p:tavLst>
                                        <p:tav tm="0">
                                          <p:val>
                                            <p:strVal val="1+#ppt_h/2"/>
                                          </p:val>
                                        </p:tav>
                                        <p:tav tm="100000">
                                          <p:val>
                                            <p:strVal val="#ppt_y"/>
                                          </p:val>
                                        </p:tav>
                                      </p:tavLst>
                                    </p:anim>
                                  </p:childTnLst>
                                </p:cTn>
                              </p:par>
                              <p:par>
                                <p:cTn id="49" presetID="2" presetClass="entr" presetSubtype="4" accel="40000" decel="40000" fill="hold" grpId="0" nodeType="withEffect">
                                  <p:stCondLst>
                                    <p:cond delay="0"/>
                                  </p:stCondLst>
                                  <p:childTnLst>
                                    <p:set>
                                      <p:cBhvr>
                                        <p:cTn id="50" dur="1" fill="hold">
                                          <p:stCondLst>
                                            <p:cond delay="0"/>
                                          </p:stCondLst>
                                        </p:cTn>
                                        <p:tgtEl>
                                          <p:spTgt spid="21"/>
                                        </p:tgtEl>
                                        <p:attrNameLst>
                                          <p:attrName>style.visibility</p:attrName>
                                        </p:attrNameLst>
                                      </p:cBhvr>
                                      <p:to>
                                        <p:strVal val="visible"/>
                                      </p:to>
                                    </p:set>
                                    <p:anim calcmode="lin" valueType="num">
                                      <p:cBhvr additive="base">
                                        <p:cTn id="51" dur="1000" fill="hold"/>
                                        <p:tgtEl>
                                          <p:spTgt spid="21"/>
                                        </p:tgtEl>
                                        <p:attrNameLst>
                                          <p:attrName>ppt_x</p:attrName>
                                        </p:attrNameLst>
                                      </p:cBhvr>
                                      <p:tavLst>
                                        <p:tav tm="0">
                                          <p:val>
                                            <p:strVal val="#ppt_x"/>
                                          </p:val>
                                        </p:tav>
                                        <p:tav tm="100000">
                                          <p:val>
                                            <p:strVal val="#ppt_x"/>
                                          </p:val>
                                        </p:tav>
                                      </p:tavLst>
                                    </p:anim>
                                    <p:anim calcmode="lin" valueType="num">
                                      <p:cBhvr additive="base">
                                        <p:cTn id="52" dur="1000" fill="hold"/>
                                        <p:tgtEl>
                                          <p:spTgt spid="21"/>
                                        </p:tgtEl>
                                        <p:attrNameLst>
                                          <p:attrName>ppt_y</p:attrName>
                                        </p:attrNameLst>
                                      </p:cBhvr>
                                      <p:tavLst>
                                        <p:tav tm="0">
                                          <p:val>
                                            <p:strVal val="1+#ppt_h/2"/>
                                          </p:val>
                                        </p:tav>
                                        <p:tav tm="100000">
                                          <p:val>
                                            <p:strVal val="#ppt_y"/>
                                          </p:val>
                                        </p:tav>
                                      </p:tavLst>
                                    </p:anim>
                                  </p:childTnLst>
                                </p:cTn>
                              </p:par>
                              <p:par>
                                <p:cTn id="53" presetID="2" presetClass="entr" presetSubtype="4" accel="40000" decel="40000" fill="hold" grpId="0" nodeType="withEffect">
                                  <p:stCondLst>
                                    <p:cond delay="0"/>
                                  </p:stCondLst>
                                  <p:childTnLst>
                                    <p:set>
                                      <p:cBhvr>
                                        <p:cTn id="54" dur="1" fill="hold">
                                          <p:stCondLst>
                                            <p:cond delay="0"/>
                                          </p:stCondLst>
                                        </p:cTn>
                                        <p:tgtEl>
                                          <p:spTgt spid="22"/>
                                        </p:tgtEl>
                                        <p:attrNameLst>
                                          <p:attrName>style.visibility</p:attrName>
                                        </p:attrNameLst>
                                      </p:cBhvr>
                                      <p:to>
                                        <p:strVal val="visible"/>
                                      </p:to>
                                    </p:set>
                                    <p:anim calcmode="lin" valueType="num">
                                      <p:cBhvr additive="base">
                                        <p:cTn id="55" dur="1000" fill="hold"/>
                                        <p:tgtEl>
                                          <p:spTgt spid="22"/>
                                        </p:tgtEl>
                                        <p:attrNameLst>
                                          <p:attrName>ppt_x</p:attrName>
                                        </p:attrNameLst>
                                      </p:cBhvr>
                                      <p:tavLst>
                                        <p:tav tm="0">
                                          <p:val>
                                            <p:strVal val="#ppt_x"/>
                                          </p:val>
                                        </p:tav>
                                        <p:tav tm="100000">
                                          <p:val>
                                            <p:strVal val="#ppt_x"/>
                                          </p:val>
                                        </p:tav>
                                      </p:tavLst>
                                    </p:anim>
                                    <p:anim calcmode="lin" valueType="num">
                                      <p:cBhvr additive="base">
                                        <p:cTn id="56" dur="1000" fill="hold"/>
                                        <p:tgtEl>
                                          <p:spTgt spid="22"/>
                                        </p:tgtEl>
                                        <p:attrNameLst>
                                          <p:attrName>ppt_y</p:attrName>
                                        </p:attrNameLst>
                                      </p:cBhvr>
                                      <p:tavLst>
                                        <p:tav tm="0">
                                          <p:val>
                                            <p:strVal val="1+#ppt_h/2"/>
                                          </p:val>
                                        </p:tav>
                                        <p:tav tm="100000">
                                          <p:val>
                                            <p:strVal val="#ppt_y"/>
                                          </p:val>
                                        </p:tav>
                                      </p:tavLst>
                                    </p:anim>
                                  </p:childTnLst>
                                </p:cTn>
                              </p:par>
                              <p:par>
                                <p:cTn id="57" presetID="2" presetClass="entr" presetSubtype="4" accel="40000" decel="40000" fill="hold" grpId="0" nodeType="withEffect">
                                  <p:stCondLst>
                                    <p:cond delay="0"/>
                                  </p:stCondLst>
                                  <p:childTnLst>
                                    <p:set>
                                      <p:cBhvr>
                                        <p:cTn id="58" dur="1" fill="hold">
                                          <p:stCondLst>
                                            <p:cond delay="0"/>
                                          </p:stCondLst>
                                        </p:cTn>
                                        <p:tgtEl>
                                          <p:spTgt spid="23"/>
                                        </p:tgtEl>
                                        <p:attrNameLst>
                                          <p:attrName>style.visibility</p:attrName>
                                        </p:attrNameLst>
                                      </p:cBhvr>
                                      <p:to>
                                        <p:strVal val="visible"/>
                                      </p:to>
                                    </p:set>
                                    <p:anim calcmode="lin" valueType="num">
                                      <p:cBhvr additive="base">
                                        <p:cTn id="59" dur="1000" fill="hold"/>
                                        <p:tgtEl>
                                          <p:spTgt spid="23"/>
                                        </p:tgtEl>
                                        <p:attrNameLst>
                                          <p:attrName>ppt_x</p:attrName>
                                        </p:attrNameLst>
                                      </p:cBhvr>
                                      <p:tavLst>
                                        <p:tav tm="0">
                                          <p:val>
                                            <p:strVal val="#ppt_x"/>
                                          </p:val>
                                        </p:tav>
                                        <p:tav tm="100000">
                                          <p:val>
                                            <p:strVal val="#ppt_x"/>
                                          </p:val>
                                        </p:tav>
                                      </p:tavLst>
                                    </p:anim>
                                    <p:anim calcmode="lin" valueType="num">
                                      <p:cBhvr additive="base">
                                        <p:cTn id="60" dur="1000" fill="hold"/>
                                        <p:tgtEl>
                                          <p:spTgt spid="23"/>
                                        </p:tgtEl>
                                        <p:attrNameLst>
                                          <p:attrName>ppt_y</p:attrName>
                                        </p:attrNameLst>
                                      </p:cBhvr>
                                      <p:tavLst>
                                        <p:tav tm="0">
                                          <p:val>
                                            <p:strVal val="1+#ppt_h/2"/>
                                          </p:val>
                                        </p:tav>
                                        <p:tav tm="100000">
                                          <p:val>
                                            <p:strVal val="#ppt_y"/>
                                          </p:val>
                                        </p:tav>
                                      </p:tavLst>
                                    </p:anim>
                                  </p:childTnLst>
                                </p:cTn>
                              </p:par>
                              <p:par>
                                <p:cTn id="61" presetID="2" presetClass="entr" presetSubtype="4" accel="40000" decel="40000" fill="hold" grpId="0" nodeType="withEffect">
                                  <p:stCondLst>
                                    <p:cond delay="0"/>
                                  </p:stCondLst>
                                  <p:childTnLst>
                                    <p:set>
                                      <p:cBhvr>
                                        <p:cTn id="62" dur="1" fill="hold">
                                          <p:stCondLst>
                                            <p:cond delay="0"/>
                                          </p:stCondLst>
                                        </p:cTn>
                                        <p:tgtEl>
                                          <p:spTgt spid="24"/>
                                        </p:tgtEl>
                                        <p:attrNameLst>
                                          <p:attrName>style.visibility</p:attrName>
                                        </p:attrNameLst>
                                      </p:cBhvr>
                                      <p:to>
                                        <p:strVal val="visible"/>
                                      </p:to>
                                    </p:set>
                                    <p:anim calcmode="lin" valueType="num">
                                      <p:cBhvr additive="base">
                                        <p:cTn id="63" dur="1000" fill="hold"/>
                                        <p:tgtEl>
                                          <p:spTgt spid="24"/>
                                        </p:tgtEl>
                                        <p:attrNameLst>
                                          <p:attrName>ppt_x</p:attrName>
                                        </p:attrNameLst>
                                      </p:cBhvr>
                                      <p:tavLst>
                                        <p:tav tm="0">
                                          <p:val>
                                            <p:strVal val="#ppt_x"/>
                                          </p:val>
                                        </p:tav>
                                        <p:tav tm="100000">
                                          <p:val>
                                            <p:strVal val="#ppt_x"/>
                                          </p:val>
                                        </p:tav>
                                      </p:tavLst>
                                    </p:anim>
                                    <p:anim calcmode="lin" valueType="num">
                                      <p:cBhvr additive="base">
                                        <p:cTn id="64" dur="1000" fill="hold"/>
                                        <p:tgtEl>
                                          <p:spTgt spid="24"/>
                                        </p:tgtEl>
                                        <p:attrNameLst>
                                          <p:attrName>ppt_y</p:attrName>
                                        </p:attrNameLst>
                                      </p:cBhvr>
                                      <p:tavLst>
                                        <p:tav tm="0">
                                          <p:val>
                                            <p:strVal val="1+#ppt_h/2"/>
                                          </p:val>
                                        </p:tav>
                                        <p:tav tm="100000">
                                          <p:val>
                                            <p:strVal val="#ppt_y"/>
                                          </p:val>
                                        </p:tav>
                                      </p:tavLst>
                                    </p:anim>
                                  </p:childTnLst>
                                </p:cTn>
                              </p:par>
                              <p:par>
                                <p:cTn id="65" presetID="2" presetClass="entr" presetSubtype="4" accel="40000" decel="40000" fill="hold" grpId="0" nodeType="withEffect">
                                  <p:stCondLst>
                                    <p:cond delay="0"/>
                                  </p:stCondLst>
                                  <p:childTnLst>
                                    <p:set>
                                      <p:cBhvr>
                                        <p:cTn id="66" dur="1" fill="hold">
                                          <p:stCondLst>
                                            <p:cond delay="0"/>
                                          </p:stCondLst>
                                        </p:cTn>
                                        <p:tgtEl>
                                          <p:spTgt spid="25"/>
                                        </p:tgtEl>
                                        <p:attrNameLst>
                                          <p:attrName>style.visibility</p:attrName>
                                        </p:attrNameLst>
                                      </p:cBhvr>
                                      <p:to>
                                        <p:strVal val="visible"/>
                                      </p:to>
                                    </p:set>
                                    <p:anim calcmode="lin" valueType="num">
                                      <p:cBhvr additive="base">
                                        <p:cTn id="67" dur="1000" fill="hold"/>
                                        <p:tgtEl>
                                          <p:spTgt spid="25"/>
                                        </p:tgtEl>
                                        <p:attrNameLst>
                                          <p:attrName>ppt_x</p:attrName>
                                        </p:attrNameLst>
                                      </p:cBhvr>
                                      <p:tavLst>
                                        <p:tav tm="0">
                                          <p:val>
                                            <p:strVal val="#ppt_x"/>
                                          </p:val>
                                        </p:tav>
                                        <p:tav tm="100000">
                                          <p:val>
                                            <p:strVal val="#ppt_x"/>
                                          </p:val>
                                        </p:tav>
                                      </p:tavLst>
                                    </p:anim>
                                    <p:anim calcmode="lin" valueType="num">
                                      <p:cBhvr additive="base">
                                        <p:cTn id="68" dur="1000" fill="hold"/>
                                        <p:tgtEl>
                                          <p:spTgt spid="25"/>
                                        </p:tgtEl>
                                        <p:attrNameLst>
                                          <p:attrName>ppt_y</p:attrName>
                                        </p:attrNameLst>
                                      </p:cBhvr>
                                      <p:tavLst>
                                        <p:tav tm="0">
                                          <p:val>
                                            <p:strVal val="1+#ppt_h/2"/>
                                          </p:val>
                                        </p:tav>
                                        <p:tav tm="100000">
                                          <p:val>
                                            <p:strVal val="#ppt_y"/>
                                          </p:val>
                                        </p:tav>
                                      </p:tavLst>
                                    </p:anim>
                                  </p:childTnLst>
                                </p:cTn>
                              </p:par>
                              <p:par>
                                <p:cTn id="69" presetID="2" presetClass="entr" presetSubtype="4" accel="40000" decel="40000" fill="hold" grpId="0" nodeType="withEffect">
                                  <p:stCondLst>
                                    <p:cond delay="0"/>
                                  </p:stCondLst>
                                  <p:childTnLst>
                                    <p:set>
                                      <p:cBhvr>
                                        <p:cTn id="70" dur="1" fill="hold">
                                          <p:stCondLst>
                                            <p:cond delay="0"/>
                                          </p:stCondLst>
                                        </p:cTn>
                                        <p:tgtEl>
                                          <p:spTgt spid="26"/>
                                        </p:tgtEl>
                                        <p:attrNameLst>
                                          <p:attrName>style.visibility</p:attrName>
                                        </p:attrNameLst>
                                      </p:cBhvr>
                                      <p:to>
                                        <p:strVal val="visible"/>
                                      </p:to>
                                    </p:set>
                                    <p:anim calcmode="lin" valueType="num">
                                      <p:cBhvr additive="base">
                                        <p:cTn id="71" dur="1000" fill="hold"/>
                                        <p:tgtEl>
                                          <p:spTgt spid="26"/>
                                        </p:tgtEl>
                                        <p:attrNameLst>
                                          <p:attrName>ppt_x</p:attrName>
                                        </p:attrNameLst>
                                      </p:cBhvr>
                                      <p:tavLst>
                                        <p:tav tm="0">
                                          <p:val>
                                            <p:strVal val="#ppt_x"/>
                                          </p:val>
                                        </p:tav>
                                        <p:tav tm="100000">
                                          <p:val>
                                            <p:strVal val="#ppt_x"/>
                                          </p:val>
                                        </p:tav>
                                      </p:tavLst>
                                    </p:anim>
                                    <p:anim calcmode="lin" valueType="num">
                                      <p:cBhvr additive="base">
                                        <p:cTn id="72" dur="1000" fill="hold"/>
                                        <p:tgtEl>
                                          <p:spTgt spid="26"/>
                                        </p:tgtEl>
                                        <p:attrNameLst>
                                          <p:attrName>ppt_y</p:attrName>
                                        </p:attrNameLst>
                                      </p:cBhvr>
                                      <p:tavLst>
                                        <p:tav tm="0">
                                          <p:val>
                                            <p:strVal val="1+#ppt_h/2"/>
                                          </p:val>
                                        </p:tav>
                                        <p:tav tm="100000">
                                          <p:val>
                                            <p:strVal val="#ppt_y"/>
                                          </p:val>
                                        </p:tav>
                                      </p:tavLst>
                                    </p:anim>
                                  </p:childTnLst>
                                </p:cTn>
                              </p:par>
                              <p:par>
                                <p:cTn id="73" presetID="2" presetClass="entr" presetSubtype="4" accel="40000" decel="40000" fill="hold" grpId="0" nodeType="withEffect">
                                  <p:stCondLst>
                                    <p:cond delay="0"/>
                                  </p:stCondLst>
                                  <p:childTnLst>
                                    <p:set>
                                      <p:cBhvr>
                                        <p:cTn id="74" dur="1" fill="hold">
                                          <p:stCondLst>
                                            <p:cond delay="0"/>
                                          </p:stCondLst>
                                        </p:cTn>
                                        <p:tgtEl>
                                          <p:spTgt spid="27"/>
                                        </p:tgtEl>
                                        <p:attrNameLst>
                                          <p:attrName>style.visibility</p:attrName>
                                        </p:attrNameLst>
                                      </p:cBhvr>
                                      <p:to>
                                        <p:strVal val="visible"/>
                                      </p:to>
                                    </p:set>
                                    <p:anim calcmode="lin" valueType="num">
                                      <p:cBhvr additive="base">
                                        <p:cTn id="75" dur="1000" fill="hold"/>
                                        <p:tgtEl>
                                          <p:spTgt spid="27"/>
                                        </p:tgtEl>
                                        <p:attrNameLst>
                                          <p:attrName>ppt_x</p:attrName>
                                        </p:attrNameLst>
                                      </p:cBhvr>
                                      <p:tavLst>
                                        <p:tav tm="0">
                                          <p:val>
                                            <p:strVal val="#ppt_x"/>
                                          </p:val>
                                        </p:tav>
                                        <p:tav tm="100000">
                                          <p:val>
                                            <p:strVal val="#ppt_x"/>
                                          </p:val>
                                        </p:tav>
                                      </p:tavLst>
                                    </p:anim>
                                    <p:anim calcmode="lin" valueType="num">
                                      <p:cBhvr additive="base">
                                        <p:cTn id="76" dur="1000" fill="hold"/>
                                        <p:tgtEl>
                                          <p:spTgt spid="27"/>
                                        </p:tgtEl>
                                        <p:attrNameLst>
                                          <p:attrName>ppt_y</p:attrName>
                                        </p:attrNameLst>
                                      </p:cBhvr>
                                      <p:tavLst>
                                        <p:tav tm="0">
                                          <p:val>
                                            <p:strVal val="1+#ppt_h/2"/>
                                          </p:val>
                                        </p:tav>
                                        <p:tav tm="100000">
                                          <p:val>
                                            <p:strVal val="#ppt_y"/>
                                          </p:val>
                                        </p:tav>
                                      </p:tavLst>
                                    </p:anim>
                                  </p:childTnLst>
                                </p:cTn>
                              </p:par>
                              <p:par>
                                <p:cTn id="77" presetID="2" presetClass="entr" presetSubtype="4" accel="40000" decel="40000" fill="hold" nodeType="withEffect">
                                  <p:stCondLst>
                                    <p:cond delay="0"/>
                                  </p:stCondLst>
                                  <p:childTnLst>
                                    <p:set>
                                      <p:cBhvr>
                                        <p:cTn id="78" dur="1" fill="hold">
                                          <p:stCondLst>
                                            <p:cond delay="0"/>
                                          </p:stCondLst>
                                        </p:cTn>
                                        <p:tgtEl>
                                          <p:spTgt spid="28"/>
                                        </p:tgtEl>
                                        <p:attrNameLst>
                                          <p:attrName>style.visibility</p:attrName>
                                        </p:attrNameLst>
                                      </p:cBhvr>
                                      <p:to>
                                        <p:strVal val="visible"/>
                                      </p:to>
                                    </p:set>
                                    <p:anim calcmode="lin" valueType="num">
                                      <p:cBhvr additive="base">
                                        <p:cTn id="79" dur="1000" fill="hold"/>
                                        <p:tgtEl>
                                          <p:spTgt spid="28"/>
                                        </p:tgtEl>
                                        <p:attrNameLst>
                                          <p:attrName>ppt_x</p:attrName>
                                        </p:attrNameLst>
                                      </p:cBhvr>
                                      <p:tavLst>
                                        <p:tav tm="0">
                                          <p:val>
                                            <p:strVal val="#ppt_x"/>
                                          </p:val>
                                        </p:tav>
                                        <p:tav tm="100000">
                                          <p:val>
                                            <p:strVal val="#ppt_x"/>
                                          </p:val>
                                        </p:tav>
                                      </p:tavLst>
                                    </p:anim>
                                    <p:anim calcmode="lin" valueType="num">
                                      <p:cBhvr additive="base">
                                        <p:cTn id="80" dur="1000" fill="hold"/>
                                        <p:tgtEl>
                                          <p:spTgt spid="28"/>
                                        </p:tgtEl>
                                        <p:attrNameLst>
                                          <p:attrName>ppt_y</p:attrName>
                                        </p:attrNameLst>
                                      </p:cBhvr>
                                      <p:tavLst>
                                        <p:tav tm="0">
                                          <p:val>
                                            <p:strVal val="1+#ppt_h/2"/>
                                          </p:val>
                                        </p:tav>
                                        <p:tav tm="100000">
                                          <p:val>
                                            <p:strVal val="#ppt_y"/>
                                          </p:val>
                                        </p:tav>
                                      </p:tavLst>
                                    </p:anim>
                                  </p:childTnLst>
                                </p:cTn>
                              </p:par>
                              <p:par>
                                <p:cTn id="81" presetID="2" presetClass="entr" presetSubtype="4" accel="40000" decel="40000" fill="hold" grpId="0" nodeType="withEffect">
                                  <p:stCondLst>
                                    <p:cond delay="0"/>
                                  </p:stCondLst>
                                  <p:childTnLst>
                                    <p:set>
                                      <p:cBhvr>
                                        <p:cTn id="82" dur="1" fill="hold">
                                          <p:stCondLst>
                                            <p:cond delay="0"/>
                                          </p:stCondLst>
                                        </p:cTn>
                                        <p:tgtEl>
                                          <p:spTgt spid="34"/>
                                        </p:tgtEl>
                                        <p:attrNameLst>
                                          <p:attrName>style.visibility</p:attrName>
                                        </p:attrNameLst>
                                      </p:cBhvr>
                                      <p:to>
                                        <p:strVal val="visible"/>
                                      </p:to>
                                    </p:set>
                                    <p:anim calcmode="lin" valueType="num">
                                      <p:cBhvr additive="base">
                                        <p:cTn id="83" dur="1000" fill="hold"/>
                                        <p:tgtEl>
                                          <p:spTgt spid="34"/>
                                        </p:tgtEl>
                                        <p:attrNameLst>
                                          <p:attrName>ppt_x</p:attrName>
                                        </p:attrNameLst>
                                      </p:cBhvr>
                                      <p:tavLst>
                                        <p:tav tm="0">
                                          <p:val>
                                            <p:strVal val="#ppt_x"/>
                                          </p:val>
                                        </p:tav>
                                        <p:tav tm="100000">
                                          <p:val>
                                            <p:strVal val="#ppt_x"/>
                                          </p:val>
                                        </p:tav>
                                      </p:tavLst>
                                    </p:anim>
                                    <p:anim calcmode="lin" valueType="num">
                                      <p:cBhvr additive="base">
                                        <p:cTn id="84" dur="1000" fill="hold"/>
                                        <p:tgtEl>
                                          <p:spTgt spid="34"/>
                                        </p:tgtEl>
                                        <p:attrNameLst>
                                          <p:attrName>ppt_y</p:attrName>
                                        </p:attrNameLst>
                                      </p:cBhvr>
                                      <p:tavLst>
                                        <p:tav tm="0">
                                          <p:val>
                                            <p:strVal val="1+#ppt_h/2"/>
                                          </p:val>
                                        </p:tav>
                                        <p:tav tm="100000">
                                          <p:val>
                                            <p:strVal val="#ppt_y"/>
                                          </p:val>
                                        </p:tav>
                                      </p:tavLst>
                                    </p:anim>
                                  </p:childTnLst>
                                </p:cTn>
                              </p:par>
                              <p:par>
                                <p:cTn id="85" presetID="2" presetClass="entr" presetSubtype="4" accel="40000" decel="40000" fill="hold" grpId="0" nodeType="withEffect">
                                  <p:stCondLst>
                                    <p:cond delay="0"/>
                                  </p:stCondLst>
                                  <p:childTnLst>
                                    <p:set>
                                      <p:cBhvr>
                                        <p:cTn id="86" dur="1" fill="hold">
                                          <p:stCondLst>
                                            <p:cond delay="0"/>
                                          </p:stCondLst>
                                        </p:cTn>
                                        <p:tgtEl>
                                          <p:spTgt spid="35"/>
                                        </p:tgtEl>
                                        <p:attrNameLst>
                                          <p:attrName>style.visibility</p:attrName>
                                        </p:attrNameLst>
                                      </p:cBhvr>
                                      <p:to>
                                        <p:strVal val="visible"/>
                                      </p:to>
                                    </p:set>
                                    <p:anim calcmode="lin" valueType="num">
                                      <p:cBhvr additive="base">
                                        <p:cTn id="87" dur="1000" fill="hold"/>
                                        <p:tgtEl>
                                          <p:spTgt spid="35"/>
                                        </p:tgtEl>
                                        <p:attrNameLst>
                                          <p:attrName>ppt_x</p:attrName>
                                        </p:attrNameLst>
                                      </p:cBhvr>
                                      <p:tavLst>
                                        <p:tav tm="0">
                                          <p:val>
                                            <p:strVal val="#ppt_x"/>
                                          </p:val>
                                        </p:tav>
                                        <p:tav tm="100000">
                                          <p:val>
                                            <p:strVal val="#ppt_x"/>
                                          </p:val>
                                        </p:tav>
                                      </p:tavLst>
                                    </p:anim>
                                    <p:anim calcmode="lin" valueType="num">
                                      <p:cBhvr additive="base">
                                        <p:cTn id="88" dur="1000" fill="hold"/>
                                        <p:tgtEl>
                                          <p:spTgt spid="35"/>
                                        </p:tgtEl>
                                        <p:attrNameLst>
                                          <p:attrName>ppt_y</p:attrName>
                                        </p:attrNameLst>
                                      </p:cBhvr>
                                      <p:tavLst>
                                        <p:tav tm="0">
                                          <p:val>
                                            <p:strVal val="1+#ppt_h/2"/>
                                          </p:val>
                                        </p:tav>
                                        <p:tav tm="100000">
                                          <p:val>
                                            <p:strVal val="#ppt_y"/>
                                          </p:val>
                                        </p:tav>
                                      </p:tavLst>
                                    </p:anim>
                                  </p:childTnLst>
                                </p:cTn>
                              </p:par>
                              <p:par>
                                <p:cTn id="89" presetID="2" presetClass="entr" presetSubtype="4" accel="40000" decel="40000" fill="hold" grpId="0" nodeType="withEffect">
                                  <p:stCondLst>
                                    <p:cond delay="0"/>
                                  </p:stCondLst>
                                  <p:childTnLst>
                                    <p:set>
                                      <p:cBhvr>
                                        <p:cTn id="90" dur="1" fill="hold">
                                          <p:stCondLst>
                                            <p:cond delay="0"/>
                                          </p:stCondLst>
                                        </p:cTn>
                                        <p:tgtEl>
                                          <p:spTgt spid="36"/>
                                        </p:tgtEl>
                                        <p:attrNameLst>
                                          <p:attrName>style.visibility</p:attrName>
                                        </p:attrNameLst>
                                      </p:cBhvr>
                                      <p:to>
                                        <p:strVal val="visible"/>
                                      </p:to>
                                    </p:set>
                                    <p:anim calcmode="lin" valueType="num">
                                      <p:cBhvr additive="base">
                                        <p:cTn id="91" dur="1000" fill="hold"/>
                                        <p:tgtEl>
                                          <p:spTgt spid="36"/>
                                        </p:tgtEl>
                                        <p:attrNameLst>
                                          <p:attrName>ppt_x</p:attrName>
                                        </p:attrNameLst>
                                      </p:cBhvr>
                                      <p:tavLst>
                                        <p:tav tm="0">
                                          <p:val>
                                            <p:strVal val="#ppt_x"/>
                                          </p:val>
                                        </p:tav>
                                        <p:tav tm="100000">
                                          <p:val>
                                            <p:strVal val="#ppt_x"/>
                                          </p:val>
                                        </p:tav>
                                      </p:tavLst>
                                    </p:anim>
                                    <p:anim calcmode="lin" valueType="num">
                                      <p:cBhvr additive="base">
                                        <p:cTn id="92" dur="1000" fill="hold"/>
                                        <p:tgtEl>
                                          <p:spTgt spid="36"/>
                                        </p:tgtEl>
                                        <p:attrNameLst>
                                          <p:attrName>ppt_y</p:attrName>
                                        </p:attrNameLst>
                                      </p:cBhvr>
                                      <p:tavLst>
                                        <p:tav tm="0">
                                          <p:val>
                                            <p:strVal val="1+#ppt_h/2"/>
                                          </p:val>
                                        </p:tav>
                                        <p:tav tm="100000">
                                          <p:val>
                                            <p:strVal val="#ppt_y"/>
                                          </p:val>
                                        </p:tav>
                                      </p:tavLst>
                                    </p:anim>
                                  </p:childTnLst>
                                </p:cTn>
                              </p:par>
                              <p:par>
                                <p:cTn id="93" presetID="2" presetClass="entr" presetSubtype="4" accel="40000" decel="40000" fill="hold" grpId="0" nodeType="withEffect">
                                  <p:stCondLst>
                                    <p:cond delay="0"/>
                                  </p:stCondLst>
                                  <p:childTnLst>
                                    <p:set>
                                      <p:cBhvr>
                                        <p:cTn id="94" dur="1" fill="hold">
                                          <p:stCondLst>
                                            <p:cond delay="0"/>
                                          </p:stCondLst>
                                        </p:cTn>
                                        <p:tgtEl>
                                          <p:spTgt spid="37"/>
                                        </p:tgtEl>
                                        <p:attrNameLst>
                                          <p:attrName>style.visibility</p:attrName>
                                        </p:attrNameLst>
                                      </p:cBhvr>
                                      <p:to>
                                        <p:strVal val="visible"/>
                                      </p:to>
                                    </p:set>
                                    <p:anim calcmode="lin" valueType="num">
                                      <p:cBhvr additive="base">
                                        <p:cTn id="95" dur="1000" fill="hold"/>
                                        <p:tgtEl>
                                          <p:spTgt spid="37"/>
                                        </p:tgtEl>
                                        <p:attrNameLst>
                                          <p:attrName>ppt_x</p:attrName>
                                        </p:attrNameLst>
                                      </p:cBhvr>
                                      <p:tavLst>
                                        <p:tav tm="0">
                                          <p:val>
                                            <p:strVal val="#ppt_x"/>
                                          </p:val>
                                        </p:tav>
                                        <p:tav tm="100000">
                                          <p:val>
                                            <p:strVal val="#ppt_x"/>
                                          </p:val>
                                        </p:tav>
                                      </p:tavLst>
                                    </p:anim>
                                    <p:anim calcmode="lin" valueType="num">
                                      <p:cBhvr additive="base">
                                        <p:cTn id="96" dur="1000" fill="hold"/>
                                        <p:tgtEl>
                                          <p:spTgt spid="37"/>
                                        </p:tgtEl>
                                        <p:attrNameLst>
                                          <p:attrName>ppt_y</p:attrName>
                                        </p:attrNameLst>
                                      </p:cBhvr>
                                      <p:tavLst>
                                        <p:tav tm="0">
                                          <p:val>
                                            <p:strVal val="1+#ppt_h/2"/>
                                          </p:val>
                                        </p:tav>
                                        <p:tav tm="100000">
                                          <p:val>
                                            <p:strVal val="#ppt_y"/>
                                          </p:val>
                                        </p:tav>
                                      </p:tavLst>
                                    </p:anim>
                                  </p:childTnLst>
                                </p:cTn>
                              </p:par>
                              <p:par>
                                <p:cTn id="97" presetID="2" presetClass="entr" presetSubtype="4" accel="40000" decel="40000" fill="hold" grpId="0" nodeType="withEffect">
                                  <p:stCondLst>
                                    <p:cond delay="0"/>
                                  </p:stCondLst>
                                  <p:childTnLst>
                                    <p:set>
                                      <p:cBhvr>
                                        <p:cTn id="98" dur="1" fill="hold">
                                          <p:stCondLst>
                                            <p:cond delay="0"/>
                                          </p:stCondLst>
                                        </p:cTn>
                                        <p:tgtEl>
                                          <p:spTgt spid="38"/>
                                        </p:tgtEl>
                                        <p:attrNameLst>
                                          <p:attrName>style.visibility</p:attrName>
                                        </p:attrNameLst>
                                      </p:cBhvr>
                                      <p:to>
                                        <p:strVal val="visible"/>
                                      </p:to>
                                    </p:set>
                                    <p:anim calcmode="lin" valueType="num">
                                      <p:cBhvr additive="base">
                                        <p:cTn id="99" dur="1000" fill="hold"/>
                                        <p:tgtEl>
                                          <p:spTgt spid="38"/>
                                        </p:tgtEl>
                                        <p:attrNameLst>
                                          <p:attrName>ppt_x</p:attrName>
                                        </p:attrNameLst>
                                      </p:cBhvr>
                                      <p:tavLst>
                                        <p:tav tm="0">
                                          <p:val>
                                            <p:strVal val="#ppt_x"/>
                                          </p:val>
                                        </p:tav>
                                        <p:tav tm="100000">
                                          <p:val>
                                            <p:strVal val="#ppt_x"/>
                                          </p:val>
                                        </p:tav>
                                      </p:tavLst>
                                    </p:anim>
                                    <p:anim calcmode="lin" valueType="num">
                                      <p:cBhvr additive="base">
                                        <p:cTn id="100" dur="1000" fill="hold"/>
                                        <p:tgtEl>
                                          <p:spTgt spid="38"/>
                                        </p:tgtEl>
                                        <p:attrNameLst>
                                          <p:attrName>ppt_y</p:attrName>
                                        </p:attrNameLst>
                                      </p:cBhvr>
                                      <p:tavLst>
                                        <p:tav tm="0">
                                          <p:val>
                                            <p:strVal val="1+#ppt_h/2"/>
                                          </p:val>
                                        </p:tav>
                                        <p:tav tm="100000">
                                          <p:val>
                                            <p:strVal val="#ppt_y"/>
                                          </p:val>
                                        </p:tav>
                                      </p:tavLst>
                                    </p:anim>
                                  </p:childTnLst>
                                </p:cTn>
                              </p:par>
                              <p:par>
                                <p:cTn id="101" presetID="2" presetClass="entr" presetSubtype="4" accel="40000" decel="40000" fill="hold" grpId="0" nodeType="withEffect">
                                  <p:stCondLst>
                                    <p:cond delay="0"/>
                                  </p:stCondLst>
                                  <p:childTnLst>
                                    <p:set>
                                      <p:cBhvr>
                                        <p:cTn id="102" dur="1" fill="hold">
                                          <p:stCondLst>
                                            <p:cond delay="0"/>
                                          </p:stCondLst>
                                        </p:cTn>
                                        <p:tgtEl>
                                          <p:spTgt spid="39"/>
                                        </p:tgtEl>
                                        <p:attrNameLst>
                                          <p:attrName>style.visibility</p:attrName>
                                        </p:attrNameLst>
                                      </p:cBhvr>
                                      <p:to>
                                        <p:strVal val="visible"/>
                                      </p:to>
                                    </p:set>
                                    <p:anim calcmode="lin" valueType="num">
                                      <p:cBhvr additive="base">
                                        <p:cTn id="103" dur="1000" fill="hold"/>
                                        <p:tgtEl>
                                          <p:spTgt spid="39"/>
                                        </p:tgtEl>
                                        <p:attrNameLst>
                                          <p:attrName>ppt_x</p:attrName>
                                        </p:attrNameLst>
                                      </p:cBhvr>
                                      <p:tavLst>
                                        <p:tav tm="0">
                                          <p:val>
                                            <p:strVal val="#ppt_x"/>
                                          </p:val>
                                        </p:tav>
                                        <p:tav tm="100000">
                                          <p:val>
                                            <p:strVal val="#ppt_x"/>
                                          </p:val>
                                        </p:tav>
                                      </p:tavLst>
                                    </p:anim>
                                    <p:anim calcmode="lin" valueType="num">
                                      <p:cBhvr additive="base">
                                        <p:cTn id="104" dur="1000" fill="hold"/>
                                        <p:tgtEl>
                                          <p:spTgt spid="39"/>
                                        </p:tgtEl>
                                        <p:attrNameLst>
                                          <p:attrName>ppt_y</p:attrName>
                                        </p:attrNameLst>
                                      </p:cBhvr>
                                      <p:tavLst>
                                        <p:tav tm="0">
                                          <p:val>
                                            <p:strVal val="1+#ppt_h/2"/>
                                          </p:val>
                                        </p:tav>
                                        <p:tav tm="100000">
                                          <p:val>
                                            <p:strVal val="#ppt_y"/>
                                          </p:val>
                                        </p:tav>
                                      </p:tavLst>
                                    </p:anim>
                                  </p:childTnLst>
                                </p:cTn>
                              </p:par>
                              <p:par>
                                <p:cTn id="105" presetID="2" presetClass="entr" presetSubtype="4" accel="40000" decel="40000" fill="hold" grpId="0" nodeType="withEffect">
                                  <p:stCondLst>
                                    <p:cond delay="0"/>
                                  </p:stCondLst>
                                  <p:childTnLst>
                                    <p:set>
                                      <p:cBhvr>
                                        <p:cTn id="106" dur="1" fill="hold">
                                          <p:stCondLst>
                                            <p:cond delay="0"/>
                                          </p:stCondLst>
                                        </p:cTn>
                                        <p:tgtEl>
                                          <p:spTgt spid="40"/>
                                        </p:tgtEl>
                                        <p:attrNameLst>
                                          <p:attrName>style.visibility</p:attrName>
                                        </p:attrNameLst>
                                      </p:cBhvr>
                                      <p:to>
                                        <p:strVal val="visible"/>
                                      </p:to>
                                    </p:set>
                                    <p:anim calcmode="lin" valueType="num">
                                      <p:cBhvr additive="base">
                                        <p:cTn id="107" dur="1000" fill="hold"/>
                                        <p:tgtEl>
                                          <p:spTgt spid="40"/>
                                        </p:tgtEl>
                                        <p:attrNameLst>
                                          <p:attrName>ppt_x</p:attrName>
                                        </p:attrNameLst>
                                      </p:cBhvr>
                                      <p:tavLst>
                                        <p:tav tm="0">
                                          <p:val>
                                            <p:strVal val="#ppt_x"/>
                                          </p:val>
                                        </p:tav>
                                        <p:tav tm="100000">
                                          <p:val>
                                            <p:strVal val="#ppt_x"/>
                                          </p:val>
                                        </p:tav>
                                      </p:tavLst>
                                    </p:anim>
                                    <p:anim calcmode="lin" valueType="num">
                                      <p:cBhvr additive="base">
                                        <p:cTn id="108" dur="1000" fill="hold"/>
                                        <p:tgtEl>
                                          <p:spTgt spid="40"/>
                                        </p:tgtEl>
                                        <p:attrNameLst>
                                          <p:attrName>ppt_y</p:attrName>
                                        </p:attrNameLst>
                                      </p:cBhvr>
                                      <p:tavLst>
                                        <p:tav tm="0">
                                          <p:val>
                                            <p:strVal val="1+#ppt_h/2"/>
                                          </p:val>
                                        </p:tav>
                                        <p:tav tm="100000">
                                          <p:val>
                                            <p:strVal val="#ppt_y"/>
                                          </p:val>
                                        </p:tav>
                                      </p:tavLst>
                                    </p:anim>
                                  </p:childTnLst>
                                </p:cTn>
                              </p:par>
                              <p:par>
                                <p:cTn id="109" presetID="2" presetClass="entr" presetSubtype="4" accel="40000" decel="40000" fill="hold" grpId="0" nodeType="withEffect">
                                  <p:stCondLst>
                                    <p:cond delay="0"/>
                                  </p:stCondLst>
                                  <p:childTnLst>
                                    <p:set>
                                      <p:cBhvr>
                                        <p:cTn id="110" dur="1" fill="hold">
                                          <p:stCondLst>
                                            <p:cond delay="0"/>
                                          </p:stCondLst>
                                        </p:cTn>
                                        <p:tgtEl>
                                          <p:spTgt spid="41"/>
                                        </p:tgtEl>
                                        <p:attrNameLst>
                                          <p:attrName>style.visibility</p:attrName>
                                        </p:attrNameLst>
                                      </p:cBhvr>
                                      <p:to>
                                        <p:strVal val="visible"/>
                                      </p:to>
                                    </p:set>
                                    <p:anim calcmode="lin" valueType="num">
                                      <p:cBhvr additive="base">
                                        <p:cTn id="111" dur="1000" fill="hold"/>
                                        <p:tgtEl>
                                          <p:spTgt spid="41"/>
                                        </p:tgtEl>
                                        <p:attrNameLst>
                                          <p:attrName>ppt_x</p:attrName>
                                        </p:attrNameLst>
                                      </p:cBhvr>
                                      <p:tavLst>
                                        <p:tav tm="0">
                                          <p:val>
                                            <p:strVal val="#ppt_x"/>
                                          </p:val>
                                        </p:tav>
                                        <p:tav tm="100000">
                                          <p:val>
                                            <p:strVal val="#ppt_x"/>
                                          </p:val>
                                        </p:tav>
                                      </p:tavLst>
                                    </p:anim>
                                    <p:anim calcmode="lin" valueType="num">
                                      <p:cBhvr additive="base">
                                        <p:cTn id="112" dur="1000" fill="hold"/>
                                        <p:tgtEl>
                                          <p:spTgt spid="41"/>
                                        </p:tgtEl>
                                        <p:attrNameLst>
                                          <p:attrName>ppt_y</p:attrName>
                                        </p:attrNameLst>
                                      </p:cBhvr>
                                      <p:tavLst>
                                        <p:tav tm="0">
                                          <p:val>
                                            <p:strVal val="1+#ppt_h/2"/>
                                          </p:val>
                                        </p:tav>
                                        <p:tav tm="100000">
                                          <p:val>
                                            <p:strVal val="#ppt_y"/>
                                          </p:val>
                                        </p:tav>
                                      </p:tavLst>
                                    </p:anim>
                                  </p:childTnLst>
                                </p:cTn>
                              </p:par>
                              <p:par>
                                <p:cTn id="113" presetID="2" presetClass="entr" presetSubtype="4" accel="40000" decel="40000" fill="hold" grpId="0" nodeType="withEffect">
                                  <p:stCondLst>
                                    <p:cond delay="0"/>
                                  </p:stCondLst>
                                  <p:childTnLst>
                                    <p:set>
                                      <p:cBhvr>
                                        <p:cTn id="114" dur="1" fill="hold">
                                          <p:stCondLst>
                                            <p:cond delay="0"/>
                                          </p:stCondLst>
                                        </p:cTn>
                                        <p:tgtEl>
                                          <p:spTgt spid="42"/>
                                        </p:tgtEl>
                                        <p:attrNameLst>
                                          <p:attrName>style.visibility</p:attrName>
                                        </p:attrNameLst>
                                      </p:cBhvr>
                                      <p:to>
                                        <p:strVal val="visible"/>
                                      </p:to>
                                    </p:set>
                                    <p:anim calcmode="lin" valueType="num">
                                      <p:cBhvr additive="base">
                                        <p:cTn id="115" dur="1000" fill="hold"/>
                                        <p:tgtEl>
                                          <p:spTgt spid="42"/>
                                        </p:tgtEl>
                                        <p:attrNameLst>
                                          <p:attrName>ppt_x</p:attrName>
                                        </p:attrNameLst>
                                      </p:cBhvr>
                                      <p:tavLst>
                                        <p:tav tm="0">
                                          <p:val>
                                            <p:strVal val="#ppt_x"/>
                                          </p:val>
                                        </p:tav>
                                        <p:tav tm="100000">
                                          <p:val>
                                            <p:strVal val="#ppt_x"/>
                                          </p:val>
                                        </p:tav>
                                      </p:tavLst>
                                    </p:anim>
                                    <p:anim calcmode="lin" valueType="num">
                                      <p:cBhvr additive="base">
                                        <p:cTn id="116" dur="1000" fill="hold"/>
                                        <p:tgtEl>
                                          <p:spTgt spid="42"/>
                                        </p:tgtEl>
                                        <p:attrNameLst>
                                          <p:attrName>ppt_y</p:attrName>
                                        </p:attrNameLst>
                                      </p:cBhvr>
                                      <p:tavLst>
                                        <p:tav tm="0">
                                          <p:val>
                                            <p:strVal val="1+#ppt_h/2"/>
                                          </p:val>
                                        </p:tav>
                                        <p:tav tm="100000">
                                          <p:val>
                                            <p:strVal val="#ppt_y"/>
                                          </p:val>
                                        </p:tav>
                                      </p:tavLst>
                                    </p:anim>
                                  </p:childTnLst>
                                </p:cTn>
                              </p:par>
                              <p:par>
                                <p:cTn id="117" presetID="2" presetClass="entr" presetSubtype="4" accel="40000" decel="40000" fill="hold" grpId="0" nodeType="withEffect">
                                  <p:stCondLst>
                                    <p:cond delay="0"/>
                                  </p:stCondLst>
                                  <p:childTnLst>
                                    <p:set>
                                      <p:cBhvr>
                                        <p:cTn id="118" dur="1" fill="hold">
                                          <p:stCondLst>
                                            <p:cond delay="0"/>
                                          </p:stCondLst>
                                        </p:cTn>
                                        <p:tgtEl>
                                          <p:spTgt spid="43"/>
                                        </p:tgtEl>
                                        <p:attrNameLst>
                                          <p:attrName>style.visibility</p:attrName>
                                        </p:attrNameLst>
                                      </p:cBhvr>
                                      <p:to>
                                        <p:strVal val="visible"/>
                                      </p:to>
                                    </p:set>
                                    <p:anim calcmode="lin" valueType="num">
                                      <p:cBhvr additive="base">
                                        <p:cTn id="119" dur="1000" fill="hold"/>
                                        <p:tgtEl>
                                          <p:spTgt spid="43"/>
                                        </p:tgtEl>
                                        <p:attrNameLst>
                                          <p:attrName>ppt_x</p:attrName>
                                        </p:attrNameLst>
                                      </p:cBhvr>
                                      <p:tavLst>
                                        <p:tav tm="0">
                                          <p:val>
                                            <p:strVal val="#ppt_x"/>
                                          </p:val>
                                        </p:tav>
                                        <p:tav tm="100000">
                                          <p:val>
                                            <p:strVal val="#ppt_x"/>
                                          </p:val>
                                        </p:tav>
                                      </p:tavLst>
                                    </p:anim>
                                    <p:anim calcmode="lin" valueType="num">
                                      <p:cBhvr additive="base">
                                        <p:cTn id="120" dur="1000" fill="hold"/>
                                        <p:tgtEl>
                                          <p:spTgt spid="43"/>
                                        </p:tgtEl>
                                        <p:attrNameLst>
                                          <p:attrName>ppt_y</p:attrName>
                                        </p:attrNameLst>
                                      </p:cBhvr>
                                      <p:tavLst>
                                        <p:tav tm="0">
                                          <p:val>
                                            <p:strVal val="1+#ppt_h/2"/>
                                          </p:val>
                                        </p:tav>
                                        <p:tav tm="100000">
                                          <p:val>
                                            <p:strVal val="#ppt_y"/>
                                          </p:val>
                                        </p:tav>
                                      </p:tavLst>
                                    </p:anim>
                                  </p:childTnLst>
                                </p:cTn>
                              </p:par>
                              <p:par>
                                <p:cTn id="121" presetID="2" presetClass="entr" presetSubtype="4" accel="40000" decel="40000" fill="hold" grpId="0" nodeType="withEffect">
                                  <p:stCondLst>
                                    <p:cond delay="0"/>
                                  </p:stCondLst>
                                  <p:childTnLst>
                                    <p:set>
                                      <p:cBhvr>
                                        <p:cTn id="122" dur="1" fill="hold">
                                          <p:stCondLst>
                                            <p:cond delay="0"/>
                                          </p:stCondLst>
                                        </p:cTn>
                                        <p:tgtEl>
                                          <p:spTgt spid="44"/>
                                        </p:tgtEl>
                                        <p:attrNameLst>
                                          <p:attrName>style.visibility</p:attrName>
                                        </p:attrNameLst>
                                      </p:cBhvr>
                                      <p:to>
                                        <p:strVal val="visible"/>
                                      </p:to>
                                    </p:set>
                                    <p:anim calcmode="lin" valueType="num">
                                      <p:cBhvr additive="base">
                                        <p:cTn id="123" dur="1000" fill="hold"/>
                                        <p:tgtEl>
                                          <p:spTgt spid="44"/>
                                        </p:tgtEl>
                                        <p:attrNameLst>
                                          <p:attrName>ppt_x</p:attrName>
                                        </p:attrNameLst>
                                      </p:cBhvr>
                                      <p:tavLst>
                                        <p:tav tm="0">
                                          <p:val>
                                            <p:strVal val="#ppt_x"/>
                                          </p:val>
                                        </p:tav>
                                        <p:tav tm="100000">
                                          <p:val>
                                            <p:strVal val="#ppt_x"/>
                                          </p:val>
                                        </p:tav>
                                      </p:tavLst>
                                    </p:anim>
                                    <p:anim calcmode="lin" valueType="num">
                                      <p:cBhvr additive="base">
                                        <p:cTn id="124" dur="1000" fill="hold"/>
                                        <p:tgtEl>
                                          <p:spTgt spid="44"/>
                                        </p:tgtEl>
                                        <p:attrNameLst>
                                          <p:attrName>ppt_y</p:attrName>
                                        </p:attrNameLst>
                                      </p:cBhvr>
                                      <p:tavLst>
                                        <p:tav tm="0">
                                          <p:val>
                                            <p:strVal val="1+#ppt_h/2"/>
                                          </p:val>
                                        </p:tav>
                                        <p:tav tm="100000">
                                          <p:val>
                                            <p:strVal val="#ppt_y"/>
                                          </p:val>
                                        </p:tav>
                                      </p:tavLst>
                                    </p:anim>
                                  </p:childTnLst>
                                </p:cTn>
                              </p:par>
                              <p:par>
                                <p:cTn id="125" presetID="2" presetClass="entr" presetSubtype="4" accel="40000" decel="40000" fill="hold" grpId="0" nodeType="withEffect">
                                  <p:stCondLst>
                                    <p:cond delay="0"/>
                                  </p:stCondLst>
                                  <p:childTnLst>
                                    <p:set>
                                      <p:cBhvr>
                                        <p:cTn id="126" dur="1" fill="hold">
                                          <p:stCondLst>
                                            <p:cond delay="0"/>
                                          </p:stCondLst>
                                        </p:cTn>
                                        <p:tgtEl>
                                          <p:spTgt spid="45"/>
                                        </p:tgtEl>
                                        <p:attrNameLst>
                                          <p:attrName>style.visibility</p:attrName>
                                        </p:attrNameLst>
                                      </p:cBhvr>
                                      <p:to>
                                        <p:strVal val="visible"/>
                                      </p:to>
                                    </p:set>
                                    <p:anim calcmode="lin" valueType="num">
                                      <p:cBhvr additive="base">
                                        <p:cTn id="127" dur="1000" fill="hold"/>
                                        <p:tgtEl>
                                          <p:spTgt spid="45"/>
                                        </p:tgtEl>
                                        <p:attrNameLst>
                                          <p:attrName>ppt_x</p:attrName>
                                        </p:attrNameLst>
                                      </p:cBhvr>
                                      <p:tavLst>
                                        <p:tav tm="0">
                                          <p:val>
                                            <p:strVal val="#ppt_x"/>
                                          </p:val>
                                        </p:tav>
                                        <p:tav tm="100000">
                                          <p:val>
                                            <p:strVal val="#ppt_x"/>
                                          </p:val>
                                        </p:tav>
                                      </p:tavLst>
                                    </p:anim>
                                    <p:anim calcmode="lin" valueType="num">
                                      <p:cBhvr additive="base">
                                        <p:cTn id="128" dur="1000" fill="hold"/>
                                        <p:tgtEl>
                                          <p:spTgt spid="45"/>
                                        </p:tgtEl>
                                        <p:attrNameLst>
                                          <p:attrName>ppt_y</p:attrName>
                                        </p:attrNameLst>
                                      </p:cBhvr>
                                      <p:tavLst>
                                        <p:tav tm="0">
                                          <p:val>
                                            <p:strVal val="1+#ppt_h/2"/>
                                          </p:val>
                                        </p:tav>
                                        <p:tav tm="100000">
                                          <p:val>
                                            <p:strVal val="#ppt_y"/>
                                          </p:val>
                                        </p:tav>
                                      </p:tavLst>
                                    </p:anim>
                                  </p:childTnLst>
                                </p:cTn>
                              </p:par>
                              <p:par>
                                <p:cTn id="129" presetID="2" presetClass="entr" presetSubtype="4" accel="40000" decel="40000" fill="hold" grpId="0" nodeType="withEffect">
                                  <p:stCondLst>
                                    <p:cond delay="0"/>
                                  </p:stCondLst>
                                  <p:childTnLst>
                                    <p:set>
                                      <p:cBhvr>
                                        <p:cTn id="130" dur="1" fill="hold">
                                          <p:stCondLst>
                                            <p:cond delay="0"/>
                                          </p:stCondLst>
                                        </p:cTn>
                                        <p:tgtEl>
                                          <p:spTgt spid="46"/>
                                        </p:tgtEl>
                                        <p:attrNameLst>
                                          <p:attrName>style.visibility</p:attrName>
                                        </p:attrNameLst>
                                      </p:cBhvr>
                                      <p:to>
                                        <p:strVal val="visible"/>
                                      </p:to>
                                    </p:set>
                                    <p:anim calcmode="lin" valueType="num">
                                      <p:cBhvr additive="base">
                                        <p:cTn id="131" dur="1000" fill="hold"/>
                                        <p:tgtEl>
                                          <p:spTgt spid="46"/>
                                        </p:tgtEl>
                                        <p:attrNameLst>
                                          <p:attrName>ppt_x</p:attrName>
                                        </p:attrNameLst>
                                      </p:cBhvr>
                                      <p:tavLst>
                                        <p:tav tm="0">
                                          <p:val>
                                            <p:strVal val="#ppt_x"/>
                                          </p:val>
                                        </p:tav>
                                        <p:tav tm="100000">
                                          <p:val>
                                            <p:strVal val="#ppt_x"/>
                                          </p:val>
                                        </p:tav>
                                      </p:tavLst>
                                    </p:anim>
                                    <p:anim calcmode="lin" valueType="num">
                                      <p:cBhvr additive="base">
                                        <p:cTn id="132" dur="1000" fill="hold"/>
                                        <p:tgtEl>
                                          <p:spTgt spid="46"/>
                                        </p:tgtEl>
                                        <p:attrNameLst>
                                          <p:attrName>ppt_y</p:attrName>
                                        </p:attrNameLst>
                                      </p:cBhvr>
                                      <p:tavLst>
                                        <p:tav tm="0">
                                          <p:val>
                                            <p:strVal val="1+#ppt_h/2"/>
                                          </p:val>
                                        </p:tav>
                                        <p:tav tm="100000">
                                          <p:val>
                                            <p:strVal val="#ppt_y"/>
                                          </p:val>
                                        </p:tav>
                                      </p:tavLst>
                                    </p:anim>
                                  </p:childTnLst>
                                </p:cTn>
                              </p:par>
                              <p:par>
                                <p:cTn id="133" presetID="2" presetClass="entr" presetSubtype="4" accel="40000" decel="40000" fill="hold" grpId="0" nodeType="withEffect">
                                  <p:stCondLst>
                                    <p:cond delay="0"/>
                                  </p:stCondLst>
                                  <p:childTnLst>
                                    <p:set>
                                      <p:cBhvr>
                                        <p:cTn id="134" dur="1" fill="hold">
                                          <p:stCondLst>
                                            <p:cond delay="0"/>
                                          </p:stCondLst>
                                        </p:cTn>
                                        <p:tgtEl>
                                          <p:spTgt spid="47"/>
                                        </p:tgtEl>
                                        <p:attrNameLst>
                                          <p:attrName>style.visibility</p:attrName>
                                        </p:attrNameLst>
                                      </p:cBhvr>
                                      <p:to>
                                        <p:strVal val="visible"/>
                                      </p:to>
                                    </p:set>
                                    <p:anim calcmode="lin" valueType="num">
                                      <p:cBhvr additive="base">
                                        <p:cTn id="135" dur="1000" fill="hold"/>
                                        <p:tgtEl>
                                          <p:spTgt spid="47"/>
                                        </p:tgtEl>
                                        <p:attrNameLst>
                                          <p:attrName>ppt_x</p:attrName>
                                        </p:attrNameLst>
                                      </p:cBhvr>
                                      <p:tavLst>
                                        <p:tav tm="0">
                                          <p:val>
                                            <p:strVal val="#ppt_x"/>
                                          </p:val>
                                        </p:tav>
                                        <p:tav tm="100000">
                                          <p:val>
                                            <p:strVal val="#ppt_x"/>
                                          </p:val>
                                        </p:tav>
                                      </p:tavLst>
                                    </p:anim>
                                    <p:anim calcmode="lin" valueType="num">
                                      <p:cBhvr additive="base">
                                        <p:cTn id="136" dur="1000" fill="hold"/>
                                        <p:tgtEl>
                                          <p:spTgt spid="47"/>
                                        </p:tgtEl>
                                        <p:attrNameLst>
                                          <p:attrName>ppt_y</p:attrName>
                                        </p:attrNameLst>
                                      </p:cBhvr>
                                      <p:tavLst>
                                        <p:tav tm="0">
                                          <p:val>
                                            <p:strVal val="1+#ppt_h/2"/>
                                          </p:val>
                                        </p:tav>
                                        <p:tav tm="100000">
                                          <p:val>
                                            <p:strVal val="#ppt_y"/>
                                          </p:val>
                                        </p:tav>
                                      </p:tavLst>
                                    </p:anim>
                                  </p:childTnLst>
                                </p:cTn>
                              </p:par>
                              <p:par>
                                <p:cTn id="137" presetID="2" presetClass="entr" presetSubtype="4" accel="40000" decel="40000" fill="hold" grpId="0" nodeType="withEffect">
                                  <p:stCondLst>
                                    <p:cond delay="0"/>
                                  </p:stCondLst>
                                  <p:childTnLst>
                                    <p:set>
                                      <p:cBhvr>
                                        <p:cTn id="138" dur="1" fill="hold">
                                          <p:stCondLst>
                                            <p:cond delay="0"/>
                                          </p:stCondLst>
                                        </p:cTn>
                                        <p:tgtEl>
                                          <p:spTgt spid="48"/>
                                        </p:tgtEl>
                                        <p:attrNameLst>
                                          <p:attrName>style.visibility</p:attrName>
                                        </p:attrNameLst>
                                      </p:cBhvr>
                                      <p:to>
                                        <p:strVal val="visible"/>
                                      </p:to>
                                    </p:set>
                                    <p:anim calcmode="lin" valueType="num">
                                      <p:cBhvr additive="base">
                                        <p:cTn id="139" dur="1000" fill="hold"/>
                                        <p:tgtEl>
                                          <p:spTgt spid="48"/>
                                        </p:tgtEl>
                                        <p:attrNameLst>
                                          <p:attrName>ppt_x</p:attrName>
                                        </p:attrNameLst>
                                      </p:cBhvr>
                                      <p:tavLst>
                                        <p:tav tm="0">
                                          <p:val>
                                            <p:strVal val="#ppt_x"/>
                                          </p:val>
                                        </p:tav>
                                        <p:tav tm="100000">
                                          <p:val>
                                            <p:strVal val="#ppt_x"/>
                                          </p:val>
                                        </p:tav>
                                      </p:tavLst>
                                    </p:anim>
                                    <p:anim calcmode="lin" valueType="num">
                                      <p:cBhvr additive="base">
                                        <p:cTn id="140" dur="1000" fill="hold"/>
                                        <p:tgtEl>
                                          <p:spTgt spid="48"/>
                                        </p:tgtEl>
                                        <p:attrNameLst>
                                          <p:attrName>ppt_y</p:attrName>
                                        </p:attrNameLst>
                                      </p:cBhvr>
                                      <p:tavLst>
                                        <p:tav tm="0">
                                          <p:val>
                                            <p:strVal val="1+#ppt_h/2"/>
                                          </p:val>
                                        </p:tav>
                                        <p:tav tm="100000">
                                          <p:val>
                                            <p:strVal val="#ppt_y"/>
                                          </p:val>
                                        </p:tav>
                                      </p:tavLst>
                                    </p:anim>
                                  </p:childTnLst>
                                </p:cTn>
                              </p:par>
                              <p:par>
                                <p:cTn id="141" presetID="2" presetClass="entr" presetSubtype="4" accel="40000" decel="40000" fill="hold" grpId="0" nodeType="withEffect">
                                  <p:stCondLst>
                                    <p:cond delay="0"/>
                                  </p:stCondLst>
                                  <p:childTnLst>
                                    <p:set>
                                      <p:cBhvr>
                                        <p:cTn id="142" dur="1" fill="hold">
                                          <p:stCondLst>
                                            <p:cond delay="0"/>
                                          </p:stCondLst>
                                        </p:cTn>
                                        <p:tgtEl>
                                          <p:spTgt spid="49"/>
                                        </p:tgtEl>
                                        <p:attrNameLst>
                                          <p:attrName>style.visibility</p:attrName>
                                        </p:attrNameLst>
                                      </p:cBhvr>
                                      <p:to>
                                        <p:strVal val="visible"/>
                                      </p:to>
                                    </p:set>
                                    <p:anim calcmode="lin" valueType="num">
                                      <p:cBhvr additive="base">
                                        <p:cTn id="143" dur="1000" fill="hold"/>
                                        <p:tgtEl>
                                          <p:spTgt spid="49"/>
                                        </p:tgtEl>
                                        <p:attrNameLst>
                                          <p:attrName>ppt_x</p:attrName>
                                        </p:attrNameLst>
                                      </p:cBhvr>
                                      <p:tavLst>
                                        <p:tav tm="0">
                                          <p:val>
                                            <p:strVal val="#ppt_x"/>
                                          </p:val>
                                        </p:tav>
                                        <p:tav tm="100000">
                                          <p:val>
                                            <p:strVal val="#ppt_x"/>
                                          </p:val>
                                        </p:tav>
                                      </p:tavLst>
                                    </p:anim>
                                    <p:anim calcmode="lin" valueType="num">
                                      <p:cBhvr additive="base">
                                        <p:cTn id="144" dur="1000" fill="hold"/>
                                        <p:tgtEl>
                                          <p:spTgt spid="49"/>
                                        </p:tgtEl>
                                        <p:attrNameLst>
                                          <p:attrName>ppt_y</p:attrName>
                                        </p:attrNameLst>
                                      </p:cBhvr>
                                      <p:tavLst>
                                        <p:tav tm="0">
                                          <p:val>
                                            <p:strVal val="1+#ppt_h/2"/>
                                          </p:val>
                                        </p:tav>
                                        <p:tav tm="100000">
                                          <p:val>
                                            <p:strVal val="#ppt_y"/>
                                          </p:val>
                                        </p:tav>
                                      </p:tavLst>
                                    </p:anim>
                                  </p:childTnLst>
                                </p:cTn>
                              </p:par>
                              <p:par>
                                <p:cTn id="145" presetID="2" presetClass="entr" presetSubtype="4" accel="40000" decel="40000" fill="hold" grpId="0" nodeType="withEffect">
                                  <p:stCondLst>
                                    <p:cond delay="0"/>
                                  </p:stCondLst>
                                  <p:childTnLst>
                                    <p:set>
                                      <p:cBhvr>
                                        <p:cTn id="146" dur="1" fill="hold">
                                          <p:stCondLst>
                                            <p:cond delay="0"/>
                                          </p:stCondLst>
                                        </p:cTn>
                                        <p:tgtEl>
                                          <p:spTgt spid="50"/>
                                        </p:tgtEl>
                                        <p:attrNameLst>
                                          <p:attrName>style.visibility</p:attrName>
                                        </p:attrNameLst>
                                      </p:cBhvr>
                                      <p:to>
                                        <p:strVal val="visible"/>
                                      </p:to>
                                    </p:set>
                                    <p:anim calcmode="lin" valueType="num">
                                      <p:cBhvr additive="base">
                                        <p:cTn id="147" dur="1000" fill="hold"/>
                                        <p:tgtEl>
                                          <p:spTgt spid="50"/>
                                        </p:tgtEl>
                                        <p:attrNameLst>
                                          <p:attrName>ppt_x</p:attrName>
                                        </p:attrNameLst>
                                      </p:cBhvr>
                                      <p:tavLst>
                                        <p:tav tm="0">
                                          <p:val>
                                            <p:strVal val="#ppt_x"/>
                                          </p:val>
                                        </p:tav>
                                        <p:tav tm="100000">
                                          <p:val>
                                            <p:strVal val="#ppt_x"/>
                                          </p:val>
                                        </p:tav>
                                      </p:tavLst>
                                    </p:anim>
                                    <p:anim calcmode="lin" valueType="num">
                                      <p:cBhvr additive="base">
                                        <p:cTn id="148" dur="1000" fill="hold"/>
                                        <p:tgtEl>
                                          <p:spTgt spid="50"/>
                                        </p:tgtEl>
                                        <p:attrNameLst>
                                          <p:attrName>ppt_y</p:attrName>
                                        </p:attrNameLst>
                                      </p:cBhvr>
                                      <p:tavLst>
                                        <p:tav tm="0">
                                          <p:val>
                                            <p:strVal val="1+#ppt_h/2"/>
                                          </p:val>
                                        </p:tav>
                                        <p:tav tm="100000">
                                          <p:val>
                                            <p:strVal val="#ppt_y"/>
                                          </p:val>
                                        </p:tav>
                                      </p:tavLst>
                                    </p:anim>
                                  </p:childTnLst>
                                </p:cTn>
                              </p:par>
                              <p:par>
                                <p:cTn id="149" presetID="2" presetClass="entr" presetSubtype="4" accel="40000" decel="40000" fill="hold" grpId="0" nodeType="withEffect">
                                  <p:stCondLst>
                                    <p:cond delay="0"/>
                                  </p:stCondLst>
                                  <p:childTnLst>
                                    <p:set>
                                      <p:cBhvr>
                                        <p:cTn id="150" dur="1" fill="hold">
                                          <p:stCondLst>
                                            <p:cond delay="0"/>
                                          </p:stCondLst>
                                        </p:cTn>
                                        <p:tgtEl>
                                          <p:spTgt spid="51"/>
                                        </p:tgtEl>
                                        <p:attrNameLst>
                                          <p:attrName>style.visibility</p:attrName>
                                        </p:attrNameLst>
                                      </p:cBhvr>
                                      <p:to>
                                        <p:strVal val="visible"/>
                                      </p:to>
                                    </p:set>
                                    <p:anim calcmode="lin" valueType="num">
                                      <p:cBhvr additive="base">
                                        <p:cTn id="151" dur="1000" fill="hold"/>
                                        <p:tgtEl>
                                          <p:spTgt spid="51"/>
                                        </p:tgtEl>
                                        <p:attrNameLst>
                                          <p:attrName>ppt_x</p:attrName>
                                        </p:attrNameLst>
                                      </p:cBhvr>
                                      <p:tavLst>
                                        <p:tav tm="0">
                                          <p:val>
                                            <p:strVal val="#ppt_x"/>
                                          </p:val>
                                        </p:tav>
                                        <p:tav tm="100000">
                                          <p:val>
                                            <p:strVal val="#ppt_x"/>
                                          </p:val>
                                        </p:tav>
                                      </p:tavLst>
                                    </p:anim>
                                    <p:anim calcmode="lin" valueType="num">
                                      <p:cBhvr additive="base">
                                        <p:cTn id="152" dur="1000" fill="hold"/>
                                        <p:tgtEl>
                                          <p:spTgt spid="51"/>
                                        </p:tgtEl>
                                        <p:attrNameLst>
                                          <p:attrName>ppt_y</p:attrName>
                                        </p:attrNameLst>
                                      </p:cBhvr>
                                      <p:tavLst>
                                        <p:tav tm="0">
                                          <p:val>
                                            <p:strVal val="1+#ppt_h/2"/>
                                          </p:val>
                                        </p:tav>
                                        <p:tav tm="100000">
                                          <p:val>
                                            <p:strVal val="#ppt_y"/>
                                          </p:val>
                                        </p:tav>
                                      </p:tavLst>
                                    </p:anim>
                                  </p:childTnLst>
                                </p:cTn>
                              </p:par>
                              <p:par>
                                <p:cTn id="153" presetID="2" presetClass="entr" presetSubtype="4" accel="40000" decel="40000" fill="hold" grpId="0" nodeType="withEffect">
                                  <p:stCondLst>
                                    <p:cond delay="0"/>
                                  </p:stCondLst>
                                  <p:childTnLst>
                                    <p:set>
                                      <p:cBhvr>
                                        <p:cTn id="154" dur="1" fill="hold">
                                          <p:stCondLst>
                                            <p:cond delay="0"/>
                                          </p:stCondLst>
                                        </p:cTn>
                                        <p:tgtEl>
                                          <p:spTgt spid="52"/>
                                        </p:tgtEl>
                                        <p:attrNameLst>
                                          <p:attrName>style.visibility</p:attrName>
                                        </p:attrNameLst>
                                      </p:cBhvr>
                                      <p:to>
                                        <p:strVal val="visible"/>
                                      </p:to>
                                    </p:set>
                                    <p:anim calcmode="lin" valueType="num">
                                      <p:cBhvr additive="base">
                                        <p:cTn id="155" dur="1000" fill="hold"/>
                                        <p:tgtEl>
                                          <p:spTgt spid="52"/>
                                        </p:tgtEl>
                                        <p:attrNameLst>
                                          <p:attrName>ppt_x</p:attrName>
                                        </p:attrNameLst>
                                      </p:cBhvr>
                                      <p:tavLst>
                                        <p:tav tm="0">
                                          <p:val>
                                            <p:strVal val="#ppt_x"/>
                                          </p:val>
                                        </p:tav>
                                        <p:tav tm="100000">
                                          <p:val>
                                            <p:strVal val="#ppt_x"/>
                                          </p:val>
                                        </p:tav>
                                      </p:tavLst>
                                    </p:anim>
                                    <p:anim calcmode="lin" valueType="num">
                                      <p:cBhvr additive="base">
                                        <p:cTn id="156" dur="1000" fill="hold"/>
                                        <p:tgtEl>
                                          <p:spTgt spid="52"/>
                                        </p:tgtEl>
                                        <p:attrNameLst>
                                          <p:attrName>ppt_y</p:attrName>
                                        </p:attrNameLst>
                                      </p:cBhvr>
                                      <p:tavLst>
                                        <p:tav tm="0">
                                          <p:val>
                                            <p:strVal val="1+#ppt_h/2"/>
                                          </p:val>
                                        </p:tav>
                                        <p:tav tm="100000">
                                          <p:val>
                                            <p:strVal val="#ppt_y"/>
                                          </p:val>
                                        </p:tav>
                                      </p:tavLst>
                                    </p:anim>
                                  </p:childTnLst>
                                </p:cTn>
                              </p:par>
                              <p:par>
                                <p:cTn id="157" presetID="2" presetClass="entr" presetSubtype="4" accel="40000" decel="40000" fill="hold" grpId="0" nodeType="withEffect">
                                  <p:stCondLst>
                                    <p:cond delay="0"/>
                                  </p:stCondLst>
                                  <p:childTnLst>
                                    <p:set>
                                      <p:cBhvr>
                                        <p:cTn id="158" dur="1" fill="hold">
                                          <p:stCondLst>
                                            <p:cond delay="0"/>
                                          </p:stCondLst>
                                        </p:cTn>
                                        <p:tgtEl>
                                          <p:spTgt spid="53"/>
                                        </p:tgtEl>
                                        <p:attrNameLst>
                                          <p:attrName>style.visibility</p:attrName>
                                        </p:attrNameLst>
                                      </p:cBhvr>
                                      <p:to>
                                        <p:strVal val="visible"/>
                                      </p:to>
                                    </p:set>
                                    <p:anim calcmode="lin" valueType="num">
                                      <p:cBhvr additive="base">
                                        <p:cTn id="159" dur="1000" fill="hold"/>
                                        <p:tgtEl>
                                          <p:spTgt spid="53"/>
                                        </p:tgtEl>
                                        <p:attrNameLst>
                                          <p:attrName>ppt_x</p:attrName>
                                        </p:attrNameLst>
                                      </p:cBhvr>
                                      <p:tavLst>
                                        <p:tav tm="0">
                                          <p:val>
                                            <p:strVal val="#ppt_x"/>
                                          </p:val>
                                        </p:tav>
                                        <p:tav tm="100000">
                                          <p:val>
                                            <p:strVal val="#ppt_x"/>
                                          </p:val>
                                        </p:tav>
                                      </p:tavLst>
                                    </p:anim>
                                    <p:anim calcmode="lin" valueType="num">
                                      <p:cBhvr additive="base">
                                        <p:cTn id="160" dur="1000" fill="hold"/>
                                        <p:tgtEl>
                                          <p:spTgt spid="53"/>
                                        </p:tgtEl>
                                        <p:attrNameLst>
                                          <p:attrName>ppt_y</p:attrName>
                                        </p:attrNameLst>
                                      </p:cBhvr>
                                      <p:tavLst>
                                        <p:tav tm="0">
                                          <p:val>
                                            <p:strVal val="1+#ppt_h/2"/>
                                          </p:val>
                                        </p:tav>
                                        <p:tav tm="100000">
                                          <p:val>
                                            <p:strVal val="#ppt_y"/>
                                          </p:val>
                                        </p:tav>
                                      </p:tavLst>
                                    </p:anim>
                                  </p:childTnLst>
                                </p:cTn>
                              </p:par>
                              <p:par>
                                <p:cTn id="161" presetID="2" presetClass="entr" presetSubtype="4" accel="40000" decel="40000" fill="hold" grpId="0" nodeType="withEffect">
                                  <p:stCondLst>
                                    <p:cond delay="0"/>
                                  </p:stCondLst>
                                  <p:childTnLst>
                                    <p:set>
                                      <p:cBhvr>
                                        <p:cTn id="162" dur="1" fill="hold">
                                          <p:stCondLst>
                                            <p:cond delay="0"/>
                                          </p:stCondLst>
                                        </p:cTn>
                                        <p:tgtEl>
                                          <p:spTgt spid="54"/>
                                        </p:tgtEl>
                                        <p:attrNameLst>
                                          <p:attrName>style.visibility</p:attrName>
                                        </p:attrNameLst>
                                      </p:cBhvr>
                                      <p:to>
                                        <p:strVal val="visible"/>
                                      </p:to>
                                    </p:set>
                                    <p:anim calcmode="lin" valueType="num">
                                      <p:cBhvr additive="base">
                                        <p:cTn id="163" dur="1000" fill="hold"/>
                                        <p:tgtEl>
                                          <p:spTgt spid="54"/>
                                        </p:tgtEl>
                                        <p:attrNameLst>
                                          <p:attrName>ppt_x</p:attrName>
                                        </p:attrNameLst>
                                      </p:cBhvr>
                                      <p:tavLst>
                                        <p:tav tm="0">
                                          <p:val>
                                            <p:strVal val="#ppt_x"/>
                                          </p:val>
                                        </p:tav>
                                        <p:tav tm="100000">
                                          <p:val>
                                            <p:strVal val="#ppt_x"/>
                                          </p:val>
                                        </p:tav>
                                      </p:tavLst>
                                    </p:anim>
                                    <p:anim calcmode="lin" valueType="num">
                                      <p:cBhvr additive="base">
                                        <p:cTn id="164" dur="1000" fill="hold"/>
                                        <p:tgtEl>
                                          <p:spTgt spid="54"/>
                                        </p:tgtEl>
                                        <p:attrNameLst>
                                          <p:attrName>ppt_y</p:attrName>
                                        </p:attrNameLst>
                                      </p:cBhvr>
                                      <p:tavLst>
                                        <p:tav tm="0">
                                          <p:val>
                                            <p:strVal val="1+#ppt_h/2"/>
                                          </p:val>
                                        </p:tav>
                                        <p:tav tm="100000">
                                          <p:val>
                                            <p:strVal val="#ppt_y"/>
                                          </p:val>
                                        </p:tav>
                                      </p:tavLst>
                                    </p:anim>
                                  </p:childTnLst>
                                </p:cTn>
                              </p:par>
                              <p:par>
                                <p:cTn id="165" presetID="2" presetClass="entr" presetSubtype="4" accel="40000" decel="40000" fill="hold" grpId="0" nodeType="withEffect">
                                  <p:stCondLst>
                                    <p:cond delay="0"/>
                                  </p:stCondLst>
                                  <p:childTnLst>
                                    <p:set>
                                      <p:cBhvr>
                                        <p:cTn id="166" dur="1" fill="hold">
                                          <p:stCondLst>
                                            <p:cond delay="0"/>
                                          </p:stCondLst>
                                        </p:cTn>
                                        <p:tgtEl>
                                          <p:spTgt spid="55"/>
                                        </p:tgtEl>
                                        <p:attrNameLst>
                                          <p:attrName>style.visibility</p:attrName>
                                        </p:attrNameLst>
                                      </p:cBhvr>
                                      <p:to>
                                        <p:strVal val="visible"/>
                                      </p:to>
                                    </p:set>
                                    <p:anim calcmode="lin" valueType="num">
                                      <p:cBhvr additive="base">
                                        <p:cTn id="167" dur="1000" fill="hold"/>
                                        <p:tgtEl>
                                          <p:spTgt spid="55"/>
                                        </p:tgtEl>
                                        <p:attrNameLst>
                                          <p:attrName>ppt_x</p:attrName>
                                        </p:attrNameLst>
                                      </p:cBhvr>
                                      <p:tavLst>
                                        <p:tav tm="0">
                                          <p:val>
                                            <p:strVal val="#ppt_x"/>
                                          </p:val>
                                        </p:tav>
                                        <p:tav tm="100000">
                                          <p:val>
                                            <p:strVal val="#ppt_x"/>
                                          </p:val>
                                        </p:tav>
                                      </p:tavLst>
                                    </p:anim>
                                    <p:anim calcmode="lin" valueType="num">
                                      <p:cBhvr additive="base">
                                        <p:cTn id="168" dur="1000" fill="hold"/>
                                        <p:tgtEl>
                                          <p:spTgt spid="55"/>
                                        </p:tgtEl>
                                        <p:attrNameLst>
                                          <p:attrName>ppt_y</p:attrName>
                                        </p:attrNameLst>
                                      </p:cBhvr>
                                      <p:tavLst>
                                        <p:tav tm="0">
                                          <p:val>
                                            <p:strVal val="1+#ppt_h/2"/>
                                          </p:val>
                                        </p:tav>
                                        <p:tav tm="100000">
                                          <p:val>
                                            <p:strVal val="#ppt_y"/>
                                          </p:val>
                                        </p:tav>
                                      </p:tavLst>
                                    </p:anim>
                                  </p:childTnLst>
                                </p:cTn>
                              </p:par>
                              <p:par>
                                <p:cTn id="169" presetID="2" presetClass="entr" presetSubtype="4" accel="40000" decel="40000" fill="hold" grpId="0" nodeType="withEffect">
                                  <p:stCondLst>
                                    <p:cond delay="0"/>
                                  </p:stCondLst>
                                  <p:childTnLst>
                                    <p:set>
                                      <p:cBhvr>
                                        <p:cTn id="170" dur="1" fill="hold">
                                          <p:stCondLst>
                                            <p:cond delay="0"/>
                                          </p:stCondLst>
                                        </p:cTn>
                                        <p:tgtEl>
                                          <p:spTgt spid="56"/>
                                        </p:tgtEl>
                                        <p:attrNameLst>
                                          <p:attrName>style.visibility</p:attrName>
                                        </p:attrNameLst>
                                      </p:cBhvr>
                                      <p:to>
                                        <p:strVal val="visible"/>
                                      </p:to>
                                    </p:set>
                                    <p:anim calcmode="lin" valueType="num">
                                      <p:cBhvr additive="base">
                                        <p:cTn id="171" dur="1000" fill="hold"/>
                                        <p:tgtEl>
                                          <p:spTgt spid="56"/>
                                        </p:tgtEl>
                                        <p:attrNameLst>
                                          <p:attrName>ppt_x</p:attrName>
                                        </p:attrNameLst>
                                      </p:cBhvr>
                                      <p:tavLst>
                                        <p:tav tm="0">
                                          <p:val>
                                            <p:strVal val="#ppt_x"/>
                                          </p:val>
                                        </p:tav>
                                        <p:tav tm="100000">
                                          <p:val>
                                            <p:strVal val="#ppt_x"/>
                                          </p:val>
                                        </p:tav>
                                      </p:tavLst>
                                    </p:anim>
                                    <p:anim calcmode="lin" valueType="num">
                                      <p:cBhvr additive="base">
                                        <p:cTn id="172" dur="1000" fill="hold"/>
                                        <p:tgtEl>
                                          <p:spTgt spid="56"/>
                                        </p:tgtEl>
                                        <p:attrNameLst>
                                          <p:attrName>ppt_y</p:attrName>
                                        </p:attrNameLst>
                                      </p:cBhvr>
                                      <p:tavLst>
                                        <p:tav tm="0">
                                          <p:val>
                                            <p:strVal val="1+#ppt_h/2"/>
                                          </p:val>
                                        </p:tav>
                                        <p:tav tm="100000">
                                          <p:val>
                                            <p:strVal val="#ppt_y"/>
                                          </p:val>
                                        </p:tav>
                                      </p:tavLst>
                                    </p:anim>
                                  </p:childTnLst>
                                </p:cTn>
                              </p:par>
                              <p:par>
                                <p:cTn id="173" presetID="2" presetClass="entr" presetSubtype="4" accel="40000" decel="40000" fill="hold" grpId="0" nodeType="withEffect">
                                  <p:stCondLst>
                                    <p:cond delay="0"/>
                                  </p:stCondLst>
                                  <p:childTnLst>
                                    <p:set>
                                      <p:cBhvr>
                                        <p:cTn id="174" dur="1" fill="hold">
                                          <p:stCondLst>
                                            <p:cond delay="0"/>
                                          </p:stCondLst>
                                        </p:cTn>
                                        <p:tgtEl>
                                          <p:spTgt spid="57"/>
                                        </p:tgtEl>
                                        <p:attrNameLst>
                                          <p:attrName>style.visibility</p:attrName>
                                        </p:attrNameLst>
                                      </p:cBhvr>
                                      <p:to>
                                        <p:strVal val="visible"/>
                                      </p:to>
                                    </p:set>
                                    <p:anim calcmode="lin" valueType="num">
                                      <p:cBhvr additive="base">
                                        <p:cTn id="175" dur="1000" fill="hold"/>
                                        <p:tgtEl>
                                          <p:spTgt spid="57"/>
                                        </p:tgtEl>
                                        <p:attrNameLst>
                                          <p:attrName>ppt_x</p:attrName>
                                        </p:attrNameLst>
                                      </p:cBhvr>
                                      <p:tavLst>
                                        <p:tav tm="0">
                                          <p:val>
                                            <p:strVal val="#ppt_x"/>
                                          </p:val>
                                        </p:tav>
                                        <p:tav tm="100000">
                                          <p:val>
                                            <p:strVal val="#ppt_x"/>
                                          </p:val>
                                        </p:tav>
                                      </p:tavLst>
                                    </p:anim>
                                    <p:anim calcmode="lin" valueType="num">
                                      <p:cBhvr additive="base">
                                        <p:cTn id="176" dur="1000" fill="hold"/>
                                        <p:tgtEl>
                                          <p:spTgt spid="57"/>
                                        </p:tgtEl>
                                        <p:attrNameLst>
                                          <p:attrName>ppt_y</p:attrName>
                                        </p:attrNameLst>
                                      </p:cBhvr>
                                      <p:tavLst>
                                        <p:tav tm="0">
                                          <p:val>
                                            <p:strVal val="1+#ppt_h/2"/>
                                          </p:val>
                                        </p:tav>
                                        <p:tav tm="100000">
                                          <p:val>
                                            <p:strVal val="#ppt_y"/>
                                          </p:val>
                                        </p:tav>
                                      </p:tavLst>
                                    </p:anim>
                                  </p:childTnLst>
                                </p:cTn>
                              </p:par>
                              <p:par>
                                <p:cTn id="177" presetID="2" presetClass="entr" presetSubtype="4" accel="40000" decel="40000" fill="hold" grpId="0" nodeType="withEffect">
                                  <p:stCondLst>
                                    <p:cond delay="0"/>
                                  </p:stCondLst>
                                  <p:childTnLst>
                                    <p:set>
                                      <p:cBhvr>
                                        <p:cTn id="178" dur="1" fill="hold">
                                          <p:stCondLst>
                                            <p:cond delay="0"/>
                                          </p:stCondLst>
                                        </p:cTn>
                                        <p:tgtEl>
                                          <p:spTgt spid="58"/>
                                        </p:tgtEl>
                                        <p:attrNameLst>
                                          <p:attrName>style.visibility</p:attrName>
                                        </p:attrNameLst>
                                      </p:cBhvr>
                                      <p:to>
                                        <p:strVal val="visible"/>
                                      </p:to>
                                    </p:set>
                                    <p:anim calcmode="lin" valueType="num">
                                      <p:cBhvr additive="base">
                                        <p:cTn id="179" dur="1000" fill="hold"/>
                                        <p:tgtEl>
                                          <p:spTgt spid="58"/>
                                        </p:tgtEl>
                                        <p:attrNameLst>
                                          <p:attrName>ppt_x</p:attrName>
                                        </p:attrNameLst>
                                      </p:cBhvr>
                                      <p:tavLst>
                                        <p:tav tm="0">
                                          <p:val>
                                            <p:strVal val="#ppt_x"/>
                                          </p:val>
                                        </p:tav>
                                        <p:tav tm="100000">
                                          <p:val>
                                            <p:strVal val="#ppt_x"/>
                                          </p:val>
                                        </p:tav>
                                      </p:tavLst>
                                    </p:anim>
                                    <p:anim calcmode="lin" valueType="num">
                                      <p:cBhvr additive="base">
                                        <p:cTn id="180" dur="1000" fill="hold"/>
                                        <p:tgtEl>
                                          <p:spTgt spid="58"/>
                                        </p:tgtEl>
                                        <p:attrNameLst>
                                          <p:attrName>ppt_y</p:attrName>
                                        </p:attrNameLst>
                                      </p:cBhvr>
                                      <p:tavLst>
                                        <p:tav tm="0">
                                          <p:val>
                                            <p:strVal val="1+#ppt_h/2"/>
                                          </p:val>
                                        </p:tav>
                                        <p:tav tm="100000">
                                          <p:val>
                                            <p:strVal val="#ppt_y"/>
                                          </p:val>
                                        </p:tav>
                                      </p:tavLst>
                                    </p:anim>
                                  </p:childTnLst>
                                </p:cTn>
                              </p:par>
                              <p:par>
                                <p:cTn id="181" presetID="2" presetClass="entr" presetSubtype="4" accel="40000" decel="40000" fill="hold" grpId="0" nodeType="withEffect">
                                  <p:stCondLst>
                                    <p:cond delay="0"/>
                                  </p:stCondLst>
                                  <p:childTnLst>
                                    <p:set>
                                      <p:cBhvr>
                                        <p:cTn id="182" dur="1" fill="hold">
                                          <p:stCondLst>
                                            <p:cond delay="0"/>
                                          </p:stCondLst>
                                        </p:cTn>
                                        <p:tgtEl>
                                          <p:spTgt spid="59"/>
                                        </p:tgtEl>
                                        <p:attrNameLst>
                                          <p:attrName>style.visibility</p:attrName>
                                        </p:attrNameLst>
                                      </p:cBhvr>
                                      <p:to>
                                        <p:strVal val="visible"/>
                                      </p:to>
                                    </p:set>
                                    <p:anim calcmode="lin" valueType="num">
                                      <p:cBhvr additive="base">
                                        <p:cTn id="183" dur="1000" fill="hold"/>
                                        <p:tgtEl>
                                          <p:spTgt spid="59"/>
                                        </p:tgtEl>
                                        <p:attrNameLst>
                                          <p:attrName>ppt_x</p:attrName>
                                        </p:attrNameLst>
                                      </p:cBhvr>
                                      <p:tavLst>
                                        <p:tav tm="0">
                                          <p:val>
                                            <p:strVal val="#ppt_x"/>
                                          </p:val>
                                        </p:tav>
                                        <p:tav tm="100000">
                                          <p:val>
                                            <p:strVal val="#ppt_x"/>
                                          </p:val>
                                        </p:tav>
                                      </p:tavLst>
                                    </p:anim>
                                    <p:anim calcmode="lin" valueType="num">
                                      <p:cBhvr additive="base">
                                        <p:cTn id="184" dur="1000" fill="hold"/>
                                        <p:tgtEl>
                                          <p:spTgt spid="59"/>
                                        </p:tgtEl>
                                        <p:attrNameLst>
                                          <p:attrName>ppt_y</p:attrName>
                                        </p:attrNameLst>
                                      </p:cBhvr>
                                      <p:tavLst>
                                        <p:tav tm="0">
                                          <p:val>
                                            <p:strVal val="1+#ppt_h/2"/>
                                          </p:val>
                                        </p:tav>
                                        <p:tav tm="100000">
                                          <p:val>
                                            <p:strVal val="#ppt_y"/>
                                          </p:val>
                                        </p:tav>
                                      </p:tavLst>
                                    </p:anim>
                                  </p:childTnLst>
                                </p:cTn>
                              </p:par>
                              <p:par>
                                <p:cTn id="185" presetID="2" presetClass="entr" presetSubtype="4" accel="40000" decel="40000" fill="hold" grpId="0" nodeType="withEffect">
                                  <p:stCondLst>
                                    <p:cond delay="0"/>
                                  </p:stCondLst>
                                  <p:childTnLst>
                                    <p:set>
                                      <p:cBhvr>
                                        <p:cTn id="186" dur="1" fill="hold">
                                          <p:stCondLst>
                                            <p:cond delay="0"/>
                                          </p:stCondLst>
                                        </p:cTn>
                                        <p:tgtEl>
                                          <p:spTgt spid="60"/>
                                        </p:tgtEl>
                                        <p:attrNameLst>
                                          <p:attrName>style.visibility</p:attrName>
                                        </p:attrNameLst>
                                      </p:cBhvr>
                                      <p:to>
                                        <p:strVal val="visible"/>
                                      </p:to>
                                    </p:set>
                                    <p:anim calcmode="lin" valueType="num">
                                      <p:cBhvr additive="base">
                                        <p:cTn id="187" dur="1000" fill="hold"/>
                                        <p:tgtEl>
                                          <p:spTgt spid="60"/>
                                        </p:tgtEl>
                                        <p:attrNameLst>
                                          <p:attrName>ppt_x</p:attrName>
                                        </p:attrNameLst>
                                      </p:cBhvr>
                                      <p:tavLst>
                                        <p:tav tm="0">
                                          <p:val>
                                            <p:strVal val="#ppt_x"/>
                                          </p:val>
                                        </p:tav>
                                        <p:tav tm="100000">
                                          <p:val>
                                            <p:strVal val="#ppt_x"/>
                                          </p:val>
                                        </p:tav>
                                      </p:tavLst>
                                    </p:anim>
                                    <p:anim calcmode="lin" valueType="num">
                                      <p:cBhvr additive="base">
                                        <p:cTn id="188" dur="1000" fill="hold"/>
                                        <p:tgtEl>
                                          <p:spTgt spid="60"/>
                                        </p:tgtEl>
                                        <p:attrNameLst>
                                          <p:attrName>ppt_y</p:attrName>
                                        </p:attrNameLst>
                                      </p:cBhvr>
                                      <p:tavLst>
                                        <p:tav tm="0">
                                          <p:val>
                                            <p:strVal val="1+#ppt_h/2"/>
                                          </p:val>
                                        </p:tav>
                                        <p:tav tm="100000">
                                          <p:val>
                                            <p:strVal val="#ppt_y"/>
                                          </p:val>
                                        </p:tav>
                                      </p:tavLst>
                                    </p:anim>
                                  </p:childTnLst>
                                </p:cTn>
                              </p:par>
                              <p:par>
                                <p:cTn id="189" presetID="2" presetClass="entr" presetSubtype="4" accel="40000" decel="40000" fill="hold" grpId="0" nodeType="withEffect">
                                  <p:stCondLst>
                                    <p:cond delay="0"/>
                                  </p:stCondLst>
                                  <p:childTnLst>
                                    <p:set>
                                      <p:cBhvr>
                                        <p:cTn id="190" dur="1" fill="hold">
                                          <p:stCondLst>
                                            <p:cond delay="0"/>
                                          </p:stCondLst>
                                        </p:cTn>
                                        <p:tgtEl>
                                          <p:spTgt spid="61"/>
                                        </p:tgtEl>
                                        <p:attrNameLst>
                                          <p:attrName>style.visibility</p:attrName>
                                        </p:attrNameLst>
                                      </p:cBhvr>
                                      <p:to>
                                        <p:strVal val="visible"/>
                                      </p:to>
                                    </p:set>
                                    <p:anim calcmode="lin" valueType="num">
                                      <p:cBhvr additive="base">
                                        <p:cTn id="191" dur="1000" fill="hold"/>
                                        <p:tgtEl>
                                          <p:spTgt spid="61"/>
                                        </p:tgtEl>
                                        <p:attrNameLst>
                                          <p:attrName>ppt_x</p:attrName>
                                        </p:attrNameLst>
                                      </p:cBhvr>
                                      <p:tavLst>
                                        <p:tav tm="0">
                                          <p:val>
                                            <p:strVal val="#ppt_x"/>
                                          </p:val>
                                        </p:tav>
                                        <p:tav tm="100000">
                                          <p:val>
                                            <p:strVal val="#ppt_x"/>
                                          </p:val>
                                        </p:tav>
                                      </p:tavLst>
                                    </p:anim>
                                    <p:anim calcmode="lin" valueType="num">
                                      <p:cBhvr additive="base">
                                        <p:cTn id="192" dur="1000" fill="hold"/>
                                        <p:tgtEl>
                                          <p:spTgt spid="61"/>
                                        </p:tgtEl>
                                        <p:attrNameLst>
                                          <p:attrName>ppt_y</p:attrName>
                                        </p:attrNameLst>
                                      </p:cBhvr>
                                      <p:tavLst>
                                        <p:tav tm="0">
                                          <p:val>
                                            <p:strVal val="1+#ppt_h/2"/>
                                          </p:val>
                                        </p:tav>
                                        <p:tav tm="100000">
                                          <p:val>
                                            <p:strVal val="#ppt_y"/>
                                          </p:val>
                                        </p:tav>
                                      </p:tavLst>
                                    </p:anim>
                                  </p:childTnLst>
                                </p:cTn>
                              </p:par>
                              <p:par>
                                <p:cTn id="193" presetID="2" presetClass="entr" presetSubtype="4" accel="40000" decel="40000" fill="hold" grpId="0" nodeType="withEffect">
                                  <p:stCondLst>
                                    <p:cond delay="0"/>
                                  </p:stCondLst>
                                  <p:childTnLst>
                                    <p:set>
                                      <p:cBhvr>
                                        <p:cTn id="194" dur="1" fill="hold">
                                          <p:stCondLst>
                                            <p:cond delay="0"/>
                                          </p:stCondLst>
                                        </p:cTn>
                                        <p:tgtEl>
                                          <p:spTgt spid="62"/>
                                        </p:tgtEl>
                                        <p:attrNameLst>
                                          <p:attrName>style.visibility</p:attrName>
                                        </p:attrNameLst>
                                      </p:cBhvr>
                                      <p:to>
                                        <p:strVal val="visible"/>
                                      </p:to>
                                    </p:set>
                                    <p:anim calcmode="lin" valueType="num">
                                      <p:cBhvr additive="base">
                                        <p:cTn id="195" dur="1000" fill="hold"/>
                                        <p:tgtEl>
                                          <p:spTgt spid="62"/>
                                        </p:tgtEl>
                                        <p:attrNameLst>
                                          <p:attrName>ppt_x</p:attrName>
                                        </p:attrNameLst>
                                      </p:cBhvr>
                                      <p:tavLst>
                                        <p:tav tm="0">
                                          <p:val>
                                            <p:strVal val="#ppt_x"/>
                                          </p:val>
                                        </p:tav>
                                        <p:tav tm="100000">
                                          <p:val>
                                            <p:strVal val="#ppt_x"/>
                                          </p:val>
                                        </p:tav>
                                      </p:tavLst>
                                    </p:anim>
                                    <p:anim calcmode="lin" valueType="num">
                                      <p:cBhvr additive="base">
                                        <p:cTn id="196" dur="1000" fill="hold"/>
                                        <p:tgtEl>
                                          <p:spTgt spid="62"/>
                                        </p:tgtEl>
                                        <p:attrNameLst>
                                          <p:attrName>ppt_y</p:attrName>
                                        </p:attrNameLst>
                                      </p:cBhvr>
                                      <p:tavLst>
                                        <p:tav tm="0">
                                          <p:val>
                                            <p:strVal val="1+#ppt_h/2"/>
                                          </p:val>
                                        </p:tav>
                                        <p:tav tm="100000">
                                          <p:val>
                                            <p:strVal val="#ppt_y"/>
                                          </p:val>
                                        </p:tav>
                                      </p:tavLst>
                                    </p:anim>
                                  </p:childTnLst>
                                </p:cTn>
                              </p:par>
                              <p:par>
                                <p:cTn id="197" presetID="2" presetClass="entr" presetSubtype="4" accel="40000" decel="40000" fill="hold" grpId="0" nodeType="withEffect">
                                  <p:stCondLst>
                                    <p:cond delay="0"/>
                                  </p:stCondLst>
                                  <p:childTnLst>
                                    <p:set>
                                      <p:cBhvr>
                                        <p:cTn id="198" dur="1" fill="hold">
                                          <p:stCondLst>
                                            <p:cond delay="0"/>
                                          </p:stCondLst>
                                        </p:cTn>
                                        <p:tgtEl>
                                          <p:spTgt spid="63"/>
                                        </p:tgtEl>
                                        <p:attrNameLst>
                                          <p:attrName>style.visibility</p:attrName>
                                        </p:attrNameLst>
                                      </p:cBhvr>
                                      <p:to>
                                        <p:strVal val="visible"/>
                                      </p:to>
                                    </p:set>
                                    <p:anim calcmode="lin" valueType="num">
                                      <p:cBhvr additive="base">
                                        <p:cTn id="199" dur="1000" fill="hold"/>
                                        <p:tgtEl>
                                          <p:spTgt spid="63"/>
                                        </p:tgtEl>
                                        <p:attrNameLst>
                                          <p:attrName>ppt_x</p:attrName>
                                        </p:attrNameLst>
                                      </p:cBhvr>
                                      <p:tavLst>
                                        <p:tav tm="0">
                                          <p:val>
                                            <p:strVal val="#ppt_x"/>
                                          </p:val>
                                        </p:tav>
                                        <p:tav tm="100000">
                                          <p:val>
                                            <p:strVal val="#ppt_x"/>
                                          </p:val>
                                        </p:tav>
                                      </p:tavLst>
                                    </p:anim>
                                    <p:anim calcmode="lin" valueType="num">
                                      <p:cBhvr additive="base">
                                        <p:cTn id="200" dur="1000" fill="hold"/>
                                        <p:tgtEl>
                                          <p:spTgt spid="63"/>
                                        </p:tgtEl>
                                        <p:attrNameLst>
                                          <p:attrName>ppt_y</p:attrName>
                                        </p:attrNameLst>
                                      </p:cBhvr>
                                      <p:tavLst>
                                        <p:tav tm="0">
                                          <p:val>
                                            <p:strVal val="1+#ppt_h/2"/>
                                          </p:val>
                                        </p:tav>
                                        <p:tav tm="100000">
                                          <p:val>
                                            <p:strVal val="#ppt_y"/>
                                          </p:val>
                                        </p:tav>
                                      </p:tavLst>
                                    </p:anim>
                                  </p:childTnLst>
                                </p:cTn>
                              </p:par>
                              <p:par>
                                <p:cTn id="201" presetID="2" presetClass="entr" presetSubtype="4" accel="40000" decel="40000" fill="hold" grpId="0" nodeType="withEffect">
                                  <p:stCondLst>
                                    <p:cond delay="0"/>
                                  </p:stCondLst>
                                  <p:childTnLst>
                                    <p:set>
                                      <p:cBhvr>
                                        <p:cTn id="202" dur="1" fill="hold">
                                          <p:stCondLst>
                                            <p:cond delay="0"/>
                                          </p:stCondLst>
                                        </p:cTn>
                                        <p:tgtEl>
                                          <p:spTgt spid="64"/>
                                        </p:tgtEl>
                                        <p:attrNameLst>
                                          <p:attrName>style.visibility</p:attrName>
                                        </p:attrNameLst>
                                      </p:cBhvr>
                                      <p:to>
                                        <p:strVal val="visible"/>
                                      </p:to>
                                    </p:set>
                                    <p:anim calcmode="lin" valueType="num">
                                      <p:cBhvr additive="base">
                                        <p:cTn id="203" dur="1000" fill="hold"/>
                                        <p:tgtEl>
                                          <p:spTgt spid="64"/>
                                        </p:tgtEl>
                                        <p:attrNameLst>
                                          <p:attrName>ppt_x</p:attrName>
                                        </p:attrNameLst>
                                      </p:cBhvr>
                                      <p:tavLst>
                                        <p:tav tm="0">
                                          <p:val>
                                            <p:strVal val="#ppt_x"/>
                                          </p:val>
                                        </p:tav>
                                        <p:tav tm="100000">
                                          <p:val>
                                            <p:strVal val="#ppt_x"/>
                                          </p:val>
                                        </p:tav>
                                      </p:tavLst>
                                    </p:anim>
                                    <p:anim calcmode="lin" valueType="num">
                                      <p:cBhvr additive="base">
                                        <p:cTn id="204" dur="1000" fill="hold"/>
                                        <p:tgtEl>
                                          <p:spTgt spid="64"/>
                                        </p:tgtEl>
                                        <p:attrNameLst>
                                          <p:attrName>ppt_y</p:attrName>
                                        </p:attrNameLst>
                                      </p:cBhvr>
                                      <p:tavLst>
                                        <p:tav tm="0">
                                          <p:val>
                                            <p:strVal val="1+#ppt_h/2"/>
                                          </p:val>
                                        </p:tav>
                                        <p:tav tm="100000">
                                          <p:val>
                                            <p:strVal val="#ppt_y"/>
                                          </p:val>
                                        </p:tav>
                                      </p:tavLst>
                                    </p:anim>
                                  </p:childTnLst>
                                </p:cTn>
                              </p:par>
                              <p:par>
                                <p:cTn id="205" presetID="2" presetClass="entr" presetSubtype="4" accel="40000" decel="40000" fill="hold" grpId="0" nodeType="withEffect">
                                  <p:stCondLst>
                                    <p:cond delay="0"/>
                                  </p:stCondLst>
                                  <p:childTnLst>
                                    <p:set>
                                      <p:cBhvr>
                                        <p:cTn id="206" dur="1" fill="hold">
                                          <p:stCondLst>
                                            <p:cond delay="0"/>
                                          </p:stCondLst>
                                        </p:cTn>
                                        <p:tgtEl>
                                          <p:spTgt spid="65"/>
                                        </p:tgtEl>
                                        <p:attrNameLst>
                                          <p:attrName>style.visibility</p:attrName>
                                        </p:attrNameLst>
                                      </p:cBhvr>
                                      <p:to>
                                        <p:strVal val="visible"/>
                                      </p:to>
                                    </p:set>
                                    <p:anim calcmode="lin" valueType="num">
                                      <p:cBhvr additive="base">
                                        <p:cTn id="207" dur="1000" fill="hold"/>
                                        <p:tgtEl>
                                          <p:spTgt spid="65"/>
                                        </p:tgtEl>
                                        <p:attrNameLst>
                                          <p:attrName>ppt_x</p:attrName>
                                        </p:attrNameLst>
                                      </p:cBhvr>
                                      <p:tavLst>
                                        <p:tav tm="0">
                                          <p:val>
                                            <p:strVal val="#ppt_x"/>
                                          </p:val>
                                        </p:tav>
                                        <p:tav tm="100000">
                                          <p:val>
                                            <p:strVal val="#ppt_x"/>
                                          </p:val>
                                        </p:tav>
                                      </p:tavLst>
                                    </p:anim>
                                    <p:anim calcmode="lin" valueType="num">
                                      <p:cBhvr additive="base">
                                        <p:cTn id="208" dur="1000" fill="hold"/>
                                        <p:tgtEl>
                                          <p:spTgt spid="65"/>
                                        </p:tgtEl>
                                        <p:attrNameLst>
                                          <p:attrName>ppt_y</p:attrName>
                                        </p:attrNameLst>
                                      </p:cBhvr>
                                      <p:tavLst>
                                        <p:tav tm="0">
                                          <p:val>
                                            <p:strVal val="1+#ppt_h/2"/>
                                          </p:val>
                                        </p:tav>
                                        <p:tav tm="100000">
                                          <p:val>
                                            <p:strVal val="#ppt_y"/>
                                          </p:val>
                                        </p:tav>
                                      </p:tavLst>
                                    </p:anim>
                                  </p:childTnLst>
                                </p:cTn>
                              </p:par>
                              <p:par>
                                <p:cTn id="209" presetID="2" presetClass="entr" presetSubtype="4" accel="40000" decel="40000" fill="hold" grpId="0" nodeType="withEffect">
                                  <p:stCondLst>
                                    <p:cond delay="0"/>
                                  </p:stCondLst>
                                  <p:childTnLst>
                                    <p:set>
                                      <p:cBhvr>
                                        <p:cTn id="210" dur="1" fill="hold">
                                          <p:stCondLst>
                                            <p:cond delay="0"/>
                                          </p:stCondLst>
                                        </p:cTn>
                                        <p:tgtEl>
                                          <p:spTgt spid="66"/>
                                        </p:tgtEl>
                                        <p:attrNameLst>
                                          <p:attrName>style.visibility</p:attrName>
                                        </p:attrNameLst>
                                      </p:cBhvr>
                                      <p:to>
                                        <p:strVal val="visible"/>
                                      </p:to>
                                    </p:set>
                                    <p:anim calcmode="lin" valueType="num">
                                      <p:cBhvr additive="base">
                                        <p:cTn id="211" dur="1000" fill="hold"/>
                                        <p:tgtEl>
                                          <p:spTgt spid="66"/>
                                        </p:tgtEl>
                                        <p:attrNameLst>
                                          <p:attrName>ppt_x</p:attrName>
                                        </p:attrNameLst>
                                      </p:cBhvr>
                                      <p:tavLst>
                                        <p:tav tm="0">
                                          <p:val>
                                            <p:strVal val="#ppt_x"/>
                                          </p:val>
                                        </p:tav>
                                        <p:tav tm="100000">
                                          <p:val>
                                            <p:strVal val="#ppt_x"/>
                                          </p:val>
                                        </p:tav>
                                      </p:tavLst>
                                    </p:anim>
                                    <p:anim calcmode="lin" valueType="num">
                                      <p:cBhvr additive="base">
                                        <p:cTn id="212" dur="1000" fill="hold"/>
                                        <p:tgtEl>
                                          <p:spTgt spid="66"/>
                                        </p:tgtEl>
                                        <p:attrNameLst>
                                          <p:attrName>ppt_y</p:attrName>
                                        </p:attrNameLst>
                                      </p:cBhvr>
                                      <p:tavLst>
                                        <p:tav tm="0">
                                          <p:val>
                                            <p:strVal val="1+#ppt_h/2"/>
                                          </p:val>
                                        </p:tav>
                                        <p:tav tm="100000">
                                          <p:val>
                                            <p:strVal val="#ppt_y"/>
                                          </p:val>
                                        </p:tav>
                                      </p:tavLst>
                                    </p:anim>
                                  </p:childTnLst>
                                </p:cTn>
                              </p:par>
                              <p:par>
                                <p:cTn id="213" presetID="2" presetClass="entr" presetSubtype="4" accel="40000" decel="40000" fill="hold" grpId="0" nodeType="withEffect">
                                  <p:stCondLst>
                                    <p:cond delay="0"/>
                                  </p:stCondLst>
                                  <p:childTnLst>
                                    <p:set>
                                      <p:cBhvr>
                                        <p:cTn id="214" dur="1" fill="hold">
                                          <p:stCondLst>
                                            <p:cond delay="0"/>
                                          </p:stCondLst>
                                        </p:cTn>
                                        <p:tgtEl>
                                          <p:spTgt spid="67"/>
                                        </p:tgtEl>
                                        <p:attrNameLst>
                                          <p:attrName>style.visibility</p:attrName>
                                        </p:attrNameLst>
                                      </p:cBhvr>
                                      <p:to>
                                        <p:strVal val="visible"/>
                                      </p:to>
                                    </p:set>
                                    <p:anim calcmode="lin" valueType="num">
                                      <p:cBhvr additive="base">
                                        <p:cTn id="215" dur="1000" fill="hold"/>
                                        <p:tgtEl>
                                          <p:spTgt spid="67"/>
                                        </p:tgtEl>
                                        <p:attrNameLst>
                                          <p:attrName>ppt_x</p:attrName>
                                        </p:attrNameLst>
                                      </p:cBhvr>
                                      <p:tavLst>
                                        <p:tav tm="0">
                                          <p:val>
                                            <p:strVal val="#ppt_x"/>
                                          </p:val>
                                        </p:tav>
                                        <p:tav tm="100000">
                                          <p:val>
                                            <p:strVal val="#ppt_x"/>
                                          </p:val>
                                        </p:tav>
                                      </p:tavLst>
                                    </p:anim>
                                    <p:anim calcmode="lin" valueType="num">
                                      <p:cBhvr additive="base">
                                        <p:cTn id="216" dur="1000" fill="hold"/>
                                        <p:tgtEl>
                                          <p:spTgt spid="67"/>
                                        </p:tgtEl>
                                        <p:attrNameLst>
                                          <p:attrName>ppt_y</p:attrName>
                                        </p:attrNameLst>
                                      </p:cBhvr>
                                      <p:tavLst>
                                        <p:tav tm="0">
                                          <p:val>
                                            <p:strVal val="1+#ppt_h/2"/>
                                          </p:val>
                                        </p:tav>
                                        <p:tav tm="100000">
                                          <p:val>
                                            <p:strVal val="#ppt_y"/>
                                          </p:val>
                                        </p:tav>
                                      </p:tavLst>
                                    </p:anim>
                                  </p:childTnLst>
                                </p:cTn>
                              </p:par>
                              <p:par>
                                <p:cTn id="217" presetID="2" presetClass="entr" presetSubtype="4" accel="40000" decel="40000" fill="hold" grpId="0" nodeType="withEffect">
                                  <p:stCondLst>
                                    <p:cond delay="0"/>
                                  </p:stCondLst>
                                  <p:childTnLst>
                                    <p:set>
                                      <p:cBhvr>
                                        <p:cTn id="218" dur="1" fill="hold">
                                          <p:stCondLst>
                                            <p:cond delay="0"/>
                                          </p:stCondLst>
                                        </p:cTn>
                                        <p:tgtEl>
                                          <p:spTgt spid="68"/>
                                        </p:tgtEl>
                                        <p:attrNameLst>
                                          <p:attrName>style.visibility</p:attrName>
                                        </p:attrNameLst>
                                      </p:cBhvr>
                                      <p:to>
                                        <p:strVal val="visible"/>
                                      </p:to>
                                    </p:set>
                                    <p:anim calcmode="lin" valueType="num">
                                      <p:cBhvr additive="base">
                                        <p:cTn id="219" dur="1000" fill="hold"/>
                                        <p:tgtEl>
                                          <p:spTgt spid="68"/>
                                        </p:tgtEl>
                                        <p:attrNameLst>
                                          <p:attrName>ppt_x</p:attrName>
                                        </p:attrNameLst>
                                      </p:cBhvr>
                                      <p:tavLst>
                                        <p:tav tm="0">
                                          <p:val>
                                            <p:strVal val="#ppt_x"/>
                                          </p:val>
                                        </p:tav>
                                        <p:tav tm="100000">
                                          <p:val>
                                            <p:strVal val="#ppt_x"/>
                                          </p:val>
                                        </p:tav>
                                      </p:tavLst>
                                    </p:anim>
                                    <p:anim calcmode="lin" valueType="num">
                                      <p:cBhvr additive="base">
                                        <p:cTn id="220" dur="1000" fill="hold"/>
                                        <p:tgtEl>
                                          <p:spTgt spid="68"/>
                                        </p:tgtEl>
                                        <p:attrNameLst>
                                          <p:attrName>ppt_y</p:attrName>
                                        </p:attrNameLst>
                                      </p:cBhvr>
                                      <p:tavLst>
                                        <p:tav tm="0">
                                          <p:val>
                                            <p:strVal val="1+#ppt_h/2"/>
                                          </p:val>
                                        </p:tav>
                                        <p:tav tm="100000">
                                          <p:val>
                                            <p:strVal val="#ppt_y"/>
                                          </p:val>
                                        </p:tav>
                                      </p:tavLst>
                                    </p:anim>
                                  </p:childTnLst>
                                </p:cTn>
                              </p:par>
                              <p:par>
                                <p:cTn id="221" presetID="2" presetClass="entr" presetSubtype="4" accel="40000" decel="40000" fill="hold" grpId="0" nodeType="withEffect">
                                  <p:stCondLst>
                                    <p:cond delay="0"/>
                                  </p:stCondLst>
                                  <p:childTnLst>
                                    <p:set>
                                      <p:cBhvr>
                                        <p:cTn id="222" dur="1" fill="hold">
                                          <p:stCondLst>
                                            <p:cond delay="0"/>
                                          </p:stCondLst>
                                        </p:cTn>
                                        <p:tgtEl>
                                          <p:spTgt spid="69"/>
                                        </p:tgtEl>
                                        <p:attrNameLst>
                                          <p:attrName>style.visibility</p:attrName>
                                        </p:attrNameLst>
                                      </p:cBhvr>
                                      <p:to>
                                        <p:strVal val="visible"/>
                                      </p:to>
                                    </p:set>
                                    <p:anim calcmode="lin" valueType="num">
                                      <p:cBhvr additive="base">
                                        <p:cTn id="223" dur="1000" fill="hold"/>
                                        <p:tgtEl>
                                          <p:spTgt spid="69"/>
                                        </p:tgtEl>
                                        <p:attrNameLst>
                                          <p:attrName>ppt_x</p:attrName>
                                        </p:attrNameLst>
                                      </p:cBhvr>
                                      <p:tavLst>
                                        <p:tav tm="0">
                                          <p:val>
                                            <p:strVal val="#ppt_x"/>
                                          </p:val>
                                        </p:tav>
                                        <p:tav tm="100000">
                                          <p:val>
                                            <p:strVal val="#ppt_x"/>
                                          </p:val>
                                        </p:tav>
                                      </p:tavLst>
                                    </p:anim>
                                    <p:anim calcmode="lin" valueType="num">
                                      <p:cBhvr additive="base">
                                        <p:cTn id="224" dur="1000" fill="hold"/>
                                        <p:tgtEl>
                                          <p:spTgt spid="69"/>
                                        </p:tgtEl>
                                        <p:attrNameLst>
                                          <p:attrName>ppt_y</p:attrName>
                                        </p:attrNameLst>
                                      </p:cBhvr>
                                      <p:tavLst>
                                        <p:tav tm="0">
                                          <p:val>
                                            <p:strVal val="1+#ppt_h/2"/>
                                          </p:val>
                                        </p:tav>
                                        <p:tav tm="100000">
                                          <p:val>
                                            <p:strVal val="#ppt_y"/>
                                          </p:val>
                                        </p:tav>
                                      </p:tavLst>
                                    </p:anim>
                                  </p:childTnLst>
                                </p:cTn>
                              </p:par>
                              <p:par>
                                <p:cTn id="225" presetID="2" presetClass="entr" presetSubtype="4" accel="40000" decel="40000" fill="hold" grpId="0" nodeType="withEffect">
                                  <p:stCondLst>
                                    <p:cond delay="0"/>
                                  </p:stCondLst>
                                  <p:childTnLst>
                                    <p:set>
                                      <p:cBhvr>
                                        <p:cTn id="226" dur="1" fill="hold">
                                          <p:stCondLst>
                                            <p:cond delay="0"/>
                                          </p:stCondLst>
                                        </p:cTn>
                                        <p:tgtEl>
                                          <p:spTgt spid="70"/>
                                        </p:tgtEl>
                                        <p:attrNameLst>
                                          <p:attrName>style.visibility</p:attrName>
                                        </p:attrNameLst>
                                      </p:cBhvr>
                                      <p:to>
                                        <p:strVal val="visible"/>
                                      </p:to>
                                    </p:set>
                                    <p:anim calcmode="lin" valueType="num">
                                      <p:cBhvr additive="base">
                                        <p:cTn id="227" dur="1000" fill="hold"/>
                                        <p:tgtEl>
                                          <p:spTgt spid="70"/>
                                        </p:tgtEl>
                                        <p:attrNameLst>
                                          <p:attrName>ppt_x</p:attrName>
                                        </p:attrNameLst>
                                      </p:cBhvr>
                                      <p:tavLst>
                                        <p:tav tm="0">
                                          <p:val>
                                            <p:strVal val="#ppt_x"/>
                                          </p:val>
                                        </p:tav>
                                        <p:tav tm="100000">
                                          <p:val>
                                            <p:strVal val="#ppt_x"/>
                                          </p:val>
                                        </p:tav>
                                      </p:tavLst>
                                    </p:anim>
                                    <p:anim calcmode="lin" valueType="num">
                                      <p:cBhvr additive="base">
                                        <p:cTn id="228" dur="1000" fill="hold"/>
                                        <p:tgtEl>
                                          <p:spTgt spid="70"/>
                                        </p:tgtEl>
                                        <p:attrNameLst>
                                          <p:attrName>ppt_y</p:attrName>
                                        </p:attrNameLst>
                                      </p:cBhvr>
                                      <p:tavLst>
                                        <p:tav tm="0">
                                          <p:val>
                                            <p:strVal val="1+#ppt_h/2"/>
                                          </p:val>
                                        </p:tav>
                                        <p:tav tm="100000">
                                          <p:val>
                                            <p:strVal val="#ppt_y"/>
                                          </p:val>
                                        </p:tav>
                                      </p:tavLst>
                                    </p:anim>
                                  </p:childTnLst>
                                </p:cTn>
                              </p:par>
                              <p:par>
                                <p:cTn id="229" presetID="2" presetClass="entr" presetSubtype="4" accel="40000" decel="40000" fill="hold" grpId="0" nodeType="withEffect">
                                  <p:stCondLst>
                                    <p:cond delay="0"/>
                                  </p:stCondLst>
                                  <p:childTnLst>
                                    <p:set>
                                      <p:cBhvr>
                                        <p:cTn id="230" dur="1" fill="hold">
                                          <p:stCondLst>
                                            <p:cond delay="0"/>
                                          </p:stCondLst>
                                        </p:cTn>
                                        <p:tgtEl>
                                          <p:spTgt spid="71"/>
                                        </p:tgtEl>
                                        <p:attrNameLst>
                                          <p:attrName>style.visibility</p:attrName>
                                        </p:attrNameLst>
                                      </p:cBhvr>
                                      <p:to>
                                        <p:strVal val="visible"/>
                                      </p:to>
                                    </p:set>
                                    <p:anim calcmode="lin" valueType="num">
                                      <p:cBhvr additive="base">
                                        <p:cTn id="231" dur="1000" fill="hold"/>
                                        <p:tgtEl>
                                          <p:spTgt spid="71"/>
                                        </p:tgtEl>
                                        <p:attrNameLst>
                                          <p:attrName>ppt_x</p:attrName>
                                        </p:attrNameLst>
                                      </p:cBhvr>
                                      <p:tavLst>
                                        <p:tav tm="0">
                                          <p:val>
                                            <p:strVal val="#ppt_x"/>
                                          </p:val>
                                        </p:tav>
                                        <p:tav tm="100000">
                                          <p:val>
                                            <p:strVal val="#ppt_x"/>
                                          </p:val>
                                        </p:tav>
                                      </p:tavLst>
                                    </p:anim>
                                    <p:anim calcmode="lin" valueType="num">
                                      <p:cBhvr additive="base">
                                        <p:cTn id="232" dur="1000" fill="hold"/>
                                        <p:tgtEl>
                                          <p:spTgt spid="71"/>
                                        </p:tgtEl>
                                        <p:attrNameLst>
                                          <p:attrName>ppt_y</p:attrName>
                                        </p:attrNameLst>
                                      </p:cBhvr>
                                      <p:tavLst>
                                        <p:tav tm="0">
                                          <p:val>
                                            <p:strVal val="1+#ppt_h/2"/>
                                          </p:val>
                                        </p:tav>
                                        <p:tav tm="100000">
                                          <p:val>
                                            <p:strVal val="#ppt_y"/>
                                          </p:val>
                                        </p:tav>
                                      </p:tavLst>
                                    </p:anim>
                                  </p:childTnLst>
                                </p:cTn>
                              </p:par>
                              <p:par>
                                <p:cTn id="233" presetID="2" presetClass="entr" presetSubtype="4" accel="40000" decel="40000" fill="hold" grpId="0" nodeType="withEffect">
                                  <p:stCondLst>
                                    <p:cond delay="0"/>
                                  </p:stCondLst>
                                  <p:childTnLst>
                                    <p:set>
                                      <p:cBhvr>
                                        <p:cTn id="234" dur="1" fill="hold">
                                          <p:stCondLst>
                                            <p:cond delay="0"/>
                                          </p:stCondLst>
                                        </p:cTn>
                                        <p:tgtEl>
                                          <p:spTgt spid="72"/>
                                        </p:tgtEl>
                                        <p:attrNameLst>
                                          <p:attrName>style.visibility</p:attrName>
                                        </p:attrNameLst>
                                      </p:cBhvr>
                                      <p:to>
                                        <p:strVal val="visible"/>
                                      </p:to>
                                    </p:set>
                                    <p:anim calcmode="lin" valueType="num">
                                      <p:cBhvr additive="base">
                                        <p:cTn id="235" dur="1000" fill="hold"/>
                                        <p:tgtEl>
                                          <p:spTgt spid="72"/>
                                        </p:tgtEl>
                                        <p:attrNameLst>
                                          <p:attrName>ppt_x</p:attrName>
                                        </p:attrNameLst>
                                      </p:cBhvr>
                                      <p:tavLst>
                                        <p:tav tm="0">
                                          <p:val>
                                            <p:strVal val="#ppt_x"/>
                                          </p:val>
                                        </p:tav>
                                        <p:tav tm="100000">
                                          <p:val>
                                            <p:strVal val="#ppt_x"/>
                                          </p:val>
                                        </p:tav>
                                      </p:tavLst>
                                    </p:anim>
                                    <p:anim calcmode="lin" valueType="num">
                                      <p:cBhvr additive="base">
                                        <p:cTn id="236" dur="1000" fill="hold"/>
                                        <p:tgtEl>
                                          <p:spTgt spid="72"/>
                                        </p:tgtEl>
                                        <p:attrNameLst>
                                          <p:attrName>ppt_y</p:attrName>
                                        </p:attrNameLst>
                                      </p:cBhvr>
                                      <p:tavLst>
                                        <p:tav tm="0">
                                          <p:val>
                                            <p:strVal val="1+#ppt_h/2"/>
                                          </p:val>
                                        </p:tav>
                                        <p:tav tm="100000">
                                          <p:val>
                                            <p:strVal val="#ppt_y"/>
                                          </p:val>
                                        </p:tav>
                                      </p:tavLst>
                                    </p:anim>
                                  </p:childTnLst>
                                </p:cTn>
                              </p:par>
                              <p:par>
                                <p:cTn id="237" presetID="2" presetClass="entr" presetSubtype="4" accel="40000" decel="40000" fill="hold" grpId="0" nodeType="withEffect">
                                  <p:stCondLst>
                                    <p:cond delay="0"/>
                                  </p:stCondLst>
                                  <p:childTnLst>
                                    <p:set>
                                      <p:cBhvr>
                                        <p:cTn id="238" dur="1" fill="hold">
                                          <p:stCondLst>
                                            <p:cond delay="0"/>
                                          </p:stCondLst>
                                        </p:cTn>
                                        <p:tgtEl>
                                          <p:spTgt spid="73"/>
                                        </p:tgtEl>
                                        <p:attrNameLst>
                                          <p:attrName>style.visibility</p:attrName>
                                        </p:attrNameLst>
                                      </p:cBhvr>
                                      <p:to>
                                        <p:strVal val="visible"/>
                                      </p:to>
                                    </p:set>
                                    <p:anim calcmode="lin" valueType="num">
                                      <p:cBhvr additive="base">
                                        <p:cTn id="239" dur="1000" fill="hold"/>
                                        <p:tgtEl>
                                          <p:spTgt spid="73"/>
                                        </p:tgtEl>
                                        <p:attrNameLst>
                                          <p:attrName>ppt_x</p:attrName>
                                        </p:attrNameLst>
                                      </p:cBhvr>
                                      <p:tavLst>
                                        <p:tav tm="0">
                                          <p:val>
                                            <p:strVal val="#ppt_x"/>
                                          </p:val>
                                        </p:tav>
                                        <p:tav tm="100000">
                                          <p:val>
                                            <p:strVal val="#ppt_x"/>
                                          </p:val>
                                        </p:tav>
                                      </p:tavLst>
                                    </p:anim>
                                    <p:anim calcmode="lin" valueType="num">
                                      <p:cBhvr additive="base">
                                        <p:cTn id="240" dur="1000" fill="hold"/>
                                        <p:tgtEl>
                                          <p:spTgt spid="73"/>
                                        </p:tgtEl>
                                        <p:attrNameLst>
                                          <p:attrName>ppt_y</p:attrName>
                                        </p:attrNameLst>
                                      </p:cBhvr>
                                      <p:tavLst>
                                        <p:tav tm="0">
                                          <p:val>
                                            <p:strVal val="1+#ppt_h/2"/>
                                          </p:val>
                                        </p:tav>
                                        <p:tav tm="100000">
                                          <p:val>
                                            <p:strVal val="#ppt_y"/>
                                          </p:val>
                                        </p:tav>
                                      </p:tavLst>
                                    </p:anim>
                                  </p:childTnLst>
                                </p:cTn>
                              </p:par>
                              <p:par>
                                <p:cTn id="241" presetID="2" presetClass="entr" presetSubtype="4" accel="40000" decel="40000" fill="hold" grpId="0" nodeType="withEffect">
                                  <p:stCondLst>
                                    <p:cond delay="0"/>
                                  </p:stCondLst>
                                  <p:childTnLst>
                                    <p:set>
                                      <p:cBhvr>
                                        <p:cTn id="242" dur="1" fill="hold">
                                          <p:stCondLst>
                                            <p:cond delay="0"/>
                                          </p:stCondLst>
                                        </p:cTn>
                                        <p:tgtEl>
                                          <p:spTgt spid="74"/>
                                        </p:tgtEl>
                                        <p:attrNameLst>
                                          <p:attrName>style.visibility</p:attrName>
                                        </p:attrNameLst>
                                      </p:cBhvr>
                                      <p:to>
                                        <p:strVal val="visible"/>
                                      </p:to>
                                    </p:set>
                                    <p:anim calcmode="lin" valueType="num">
                                      <p:cBhvr additive="base">
                                        <p:cTn id="243" dur="1000" fill="hold"/>
                                        <p:tgtEl>
                                          <p:spTgt spid="74"/>
                                        </p:tgtEl>
                                        <p:attrNameLst>
                                          <p:attrName>ppt_x</p:attrName>
                                        </p:attrNameLst>
                                      </p:cBhvr>
                                      <p:tavLst>
                                        <p:tav tm="0">
                                          <p:val>
                                            <p:strVal val="#ppt_x"/>
                                          </p:val>
                                        </p:tav>
                                        <p:tav tm="100000">
                                          <p:val>
                                            <p:strVal val="#ppt_x"/>
                                          </p:val>
                                        </p:tav>
                                      </p:tavLst>
                                    </p:anim>
                                    <p:anim calcmode="lin" valueType="num">
                                      <p:cBhvr additive="base">
                                        <p:cTn id="244" dur="1000" fill="hold"/>
                                        <p:tgtEl>
                                          <p:spTgt spid="74"/>
                                        </p:tgtEl>
                                        <p:attrNameLst>
                                          <p:attrName>ppt_y</p:attrName>
                                        </p:attrNameLst>
                                      </p:cBhvr>
                                      <p:tavLst>
                                        <p:tav tm="0">
                                          <p:val>
                                            <p:strVal val="1+#ppt_h/2"/>
                                          </p:val>
                                        </p:tav>
                                        <p:tav tm="100000">
                                          <p:val>
                                            <p:strVal val="#ppt_y"/>
                                          </p:val>
                                        </p:tav>
                                      </p:tavLst>
                                    </p:anim>
                                  </p:childTnLst>
                                </p:cTn>
                              </p:par>
                              <p:par>
                                <p:cTn id="245" presetID="2" presetClass="entr" presetSubtype="4" accel="40000" decel="40000" fill="hold" grpId="0" nodeType="withEffect">
                                  <p:stCondLst>
                                    <p:cond delay="0"/>
                                  </p:stCondLst>
                                  <p:childTnLst>
                                    <p:set>
                                      <p:cBhvr>
                                        <p:cTn id="246" dur="1" fill="hold">
                                          <p:stCondLst>
                                            <p:cond delay="0"/>
                                          </p:stCondLst>
                                        </p:cTn>
                                        <p:tgtEl>
                                          <p:spTgt spid="82"/>
                                        </p:tgtEl>
                                        <p:attrNameLst>
                                          <p:attrName>style.visibility</p:attrName>
                                        </p:attrNameLst>
                                      </p:cBhvr>
                                      <p:to>
                                        <p:strVal val="visible"/>
                                      </p:to>
                                    </p:set>
                                    <p:anim calcmode="lin" valueType="num">
                                      <p:cBhvr additive="base">
                                        <p:cTn id="247" dur="1000" fill="hold"/>
                                        <p:tgtEl>
                                          <p:spTgt spid="82"/>
                                        </p:tgtEl>
                                        <p:attrNameLst>
                                          <p:attrName>ppt_x</p:attrName>
                                        </p:attrNameLst>
                                      </p:cBhvr>
                                      <p:tavLst>
                                        <p:tav tm="0">
                                          <p:val>
                                            <p:strVal val="#ppt_x"/>
                                          </p:val>
                                        </p:tav>
                                        <p:tav tm="100000">
                                          <p:val>
                                            <p:strVal val="#ppt_x"/>
                                          </p:val>
                                        </p:tav>
                                      </p:tavLst>
                                    </p:anim>
                                    <p:anim calcmode="lin" valueType="num">
                                      <p:cBhvr additive="base">
                                        <p:cTn id="248" dur="1000" fill="hold"/>
                                        <p:tgtEl>
                                          <p:spTgt spid="82"/>
                                        </p:tgtEl>
                                        <p:attrNameLst>
                                          <p:attrName>ppt_y</p:attrName>
                                        </p:attrNameLst>
                                      </p:cBhvr>
                                      <p:tavLst>
                                        <p:tav tm="0">
                                          <p:val>
                                            <p:strVal val="1+#ppt_h/2"/>
                                          </p:val>
                                        </p:tav>
                                        <p:tav tm="100000">
                                          <p:val>
                                            <p:strVal val="#ppt_y"/>
                                          </p:val>
                                        </p:tav>
                                      </p:tavLst>
                                    </p:anim>
                                  </p:childTnLst>
                                </p:cTn>
                              </p:par>
                              <p:par>
                                <p:cTn id="249" presetID="2" presetClass="entr" presetSubtype="4" accel="40000" decel="40000" fill="hold" grpId="0" nodeType="withEffect">
                                  <p:stCondLst>
                                    <p:cond delay="0"/>
                                  </p:stCondLst>
                                  <p:childTnLst>
                                    <p:set>
                                      <p:cBhvr>
                                        <p:cTn id="250" dur="1" fill="hold">
                                          <p:stCondLst>
                                            <p:cond delay="0"/>
                                          </p:stCondLst>
                                        </p:cTn>
                                        <p:tgtEl>
                                          <p:spTgt spid="83"/>
                                        </p:tgtEl>
                                        <p:attrNameLst>
                                          <p:attrName>style.visibility</p:attrName>
                                        </p:attrNameLst>
                                      </p:cBhvr>
                                      <p:to>
                                        <p:strVal val="visible"/>
                                      </p:to>
                                    </p:set>
                                    <p:anim calcmode="lin" valueType="num">
                                      <p:cBhvr additive="base">
                                        <p:cTn id="251" dur="1000" fill="hold"/>
                                        <p:tgtEl>
                                          <p:spTgt spid="83"/>
                                        </p:tgtEl>
                                        <p:attrNameLst>
                                          <p:attrName>ppt_x</p:attrName>
                                        </p:attrNameLst>
                                      </p:cBhvr>
                                      <p:tavLst>
                                        <p:tav tm="0">
                                          <p:val>
                                            <p:strVal val="#ppt_x"/>
                                          </p:val>
                                        </p:tav>
                                        <p:tav tm="100000">
                                          <p:val>
                                            <p:strVal val="#ppt_x"/>
                                          </p:val>
                                        </p:tav>
                                      </p:tavLst>
                                    </p:anim>
                                    <p:anim calcmode="lin" valueType="num">
                                      <p:cBhvr additive="base">
                                        <p:cTn id="252" dur="1000" fill="hold"/>
                                        <p:tgtEl>
                                          <p:spTgt spid="83"/>
                                        </p:tgtEl>
                                        <p:attrNameLst>
                                          <p:attrName>ppt_y</p:attrName>
                                        </p:attrNameLst>
                                      </p:cBhvr>
                                      <p:tavLst>
                                        <p:tav tm="0">
                                          <p:val>
                                            <p:strVal val="1+#ppt_h/2"/>
                                          </p:val>
                                        </p:tav>
                                        <p:tav tm="100000">
                                          <p:val>
                                            <p:strVal val="#ppt_y"/>
                                          </p:val>
                                        </p:tav>
                                      </p:tavLst>
                                    </p:anim>
                                  </p:childTnLst>
                                </p:cTn>
                              </p:par>
                              <p:par>
                                <p:cTn id="253" presetID="2" presetClass="entr" presetSubtype="4" accel="40000" decel="40000" fill="hold" grpId="0" nodeType="withEffect">
                                  <p:stCondLst>
                                    <p:cond delay="0"/>
                                  </p:stCondLst>
                                  <p:childTnLst>
                                    <p:set>
                                      <p:cBhvr>
                                        <p:cTn id="254" dur="1" fill="hold">
                                          <p:stCondLst>
                                            <p:cond delay="0"/>
                                          </p:stCondLst>
                                        </p:cTn>
                                        <p:tgtEl>
                                          <p:spTgt spid="84"/>
                                        </p:tgtEl>
                                        <p:attrNameLst>
                                          <p:attrName>style.visibility</p:attrName>
                                        </p:attrNameLst>
                                      </p:cBhvr>
                                      <p:to>
                                        <p:strVal val="visible"/>
                                      </p:to>
                                    </p:set>
                                    <p:anim calcmode="lin" valueType="num">
                                      <p:cBhvr additive="base">
                                        <p:cTn id="255" dur="1000" fill="hold"/>
                                        <p:tgtEl>
                                          <p:spTgt spid="84"/>
                                        </p:tgtEl>
                                        <p:attrNameLst>
                                          <p:attrName>ppt_x</p:attrName>
                                        </p:attrNameLst>
                                      </p:cBhvr>
                                      <p:tavLst>
                                        <p:tav tm="0">
                                          <p:val>
                                            <p:strVal val="#ppt_x"/>
                                          </p:val>
                                        </p:tav>
                                        <p:tav tm="100000">
                                          <p:val>
                                            <p:strVal val="#ppt_x"/>
                                          </p:val>
                                        </p:tav>
                                      </p:tavLst>
                                    </p:anim>
                                    <p:anim calcmode="lin" valueType="num">
                                      <p:cBhvr additive="base">
                                        <p:cTn id="256" dur="1000" fill="hold"/>
                                        <p:tgtEl>
                                          <p:spTgt spid="84"/>
                                        </p:tgtEl>
                                        <p:attrNameLst>
                                          <p:attrName>ppt_y</p:attrName>
                                        </p:attrNameLst>
                                      </p:cBhvr>
                                      <p:tavLst>
                                        <p:tav tm="0">
                                          <p:val>
                                            <p:strVal val="1+#ppt_h/2"/>
                                          </p:val>
                                        </p:tav>
                                        <p:tav tm="100000">
                                          <p:val>
                                            <p:strVal val="#ppt_y"/>
                                          </p:val>
                                        </p:tav>
                                      </p:tavLst>
                                    </p:anim>
                                  </p:childTnLst>
                                </p:cTn>
                              </p:par>
                              <p:par>
                                <p:cTn id="257" presetID="2" presetClass="entr" presetSubtype="4" accel="40000" decel="40000" fill="hold" grpId="0" nodeType="withEffect">
                                  <p:stCondLst>
                                    <p:cond delay="0"/>
                                  </p:stCondLst>
                                  <p:childTnLst>
                                    <p:set>
                                      <p:cBhvr>
                                        <p:cTn id="258" dur="1" fill="hold">
                                          <p:stCondLst>
                                            <p:cond delay="0"/>
                                          </p:stCondLst>
                                        </p:cTn>
                                        <p:tgtEl>
                                          <p:spTgt spid="85"/>
                                        </p:tgtEl>
                                        <p:attrNameLst>
                                          <p:attrName>style.visibility</p:attrName>
                                        </p:attrNameLst>
                                      </p:cBhvr>
                                      <p:to>
                                        <p:strVal val="visible"/>
                                      </p:to>
                                    </p:set>
                                    <p:anim calcmode="lin" valueType="num">
                                      <p:cBhvr additive="base">
                                        <p:cTn id="259" dur="1000" fill="hold"/>
                                        <p:tgtEl>
                                          <p:spTgt spid="85"/>
                                        </p:tgtEl>
                                        <p:attrNameLst>
                                          <p:attrName>ppt_x</p:attrName>
                                        </p:attrNameLst>
                                      </p:cBhvr>
                                      <p:tavLst>
                                        <p:tav tm="0">
                                          <p:val>
                                            <p:strVal val="#ppt_x"/>
                                          </p:val>
                                        </p:tav>
                                        <p:tav tm="100000">
                                          <p:val>
                                            <p:strVal val="#ppt_x"/>
                                          </p:val>
                                        </p:tav>
                                      </p:tavLst>
                                    </p:anim>
                                    <p:anim calcmode="lin" valueType="num">
                                      <p:cBhvr additive="base">
                                        <p:cTn id="260" dur="1000" fill="hold"/>
                                        <p:tgtEl>
                                          <p:spTgt spid="85"/>
                                        </p:tgtEl>
                                        <p:attrNameLst>
                                          <p:attrName>ppt_y</p:attrName>
                                        </p:attrNameLst>
                                      </p:cBhvr>
                                      <p:tavLst>
                                        <p:tav tm="0">
                                          <p:val>
                                            <p:strVal val="1+#ppt_h/2"/>
                                          </p:val>
                                        </p:tav>
                                        <p:tav tm="100000">
                                          <p:val>
                                            <p:strVal val="#ppt_y"/>
                                          </p:val>
                                        </p:tav>
                                      </p:tavLst>
                                    </p:anim>
                                  </p:childTnLst>
                                </p:cTn>
                              </p:par>
                              <p:par>
                                <p:cTn id="261" presetID="2" presetClass="entr" presetSubtype="4" accel="40000" decel="40000" fill="hold" grpId="0" nodeType="withEffect">
                                  <p:stCondLst>
                                    <p:cond delay="0"/>
                                  </p:stCondLst>
                                  <p:childTnLst>
                                    <p:set>
                                      <p:cBhvr>
                                        <p:cTn id="262" dur="1" fill="hold">
                                          <p:stCondLst>
                                            <p:cond delay="0"/>
                                          </p:stCondLst>
                                        </p:cTn>
                                        <p:tgtEl>
                                          <p:spTgt spid="86"/>
                                        </p:tgtEl>
                                        <p:attrNameLst>
                                          <p:attrName>style.visibility</p:attrName>
                                        </p:attrNameLst>
                                      </p:cBhvr>
                                      <p:to>
                                        <p:strVal val="visible"/>
                                      </p:to>
                                    </p:set>
                                    <p:anim calcmode="lin" valueType="num">
                                      <p:cBhvr additive="base">
                                        <p:cTn id="263" dur="1000" fill="hold"/>
                                        <p:tgtEl>
                                          <p:spTgt spid="86"/>
                                        </p:tgtEl>
                                        <p:attrNameLst>
                                          <p:attrName>ppt_x</p:attrName>
                                        </p:attrNameLst>
                                      </p:cBhvr>
                                      <p:tavLst>
                                        <p:tav tm="0">
                                          <p:val>
                                            <p:strVal val="#ppt_x"/>
                                          </p:val>
                                        </p:tav>
                                        <p:tav tm="100000">
                                          <p:val>
                                            <p:strVal val="#ppt_x"/>
                                          </p:val>
                                        </p:tav>
                                      </p:tavLst>
                                    </p:anim>
                                    <p:anim calcmode="lin" valueType="num">
                                      <p:cBhvr additive="base">
                                        <p:cTn id="264" dur="1000" fill="hold"/>
                                        <p:tgtEl>
                                          <p:spTgt spid="86"/>
                                        </p:tgtEl>
                                        <p:attrNameLst>
                                          <p:attrName>ppt_y</p:attrName>
                                        </p:attrNameLst>
                                      </p:cBhvr>
                                      <p:tavLst>
                                        <p:tav tm="0">
                                          <p:val>
                                            <p:strVal val="1+#ppt_h/2"/>
                                          </p:val>
                                        </p:tav>
                                        <p:tav tm="100000">
                                          <p:val>
                                            <p:strVal val="#ppt_y"/>
                                          </p:val>
                                        </p:tav>
                                      </p:tavLst>
                                    </p:anim>
                                  </p:childTnLst>
                                </p:cTn>
                              </p:par>
                              <p:par>
                                <p:cTn id="265" presetID="2" presetClass="entr" presetSubtype="4" accel="40000" decel="40000" fill="hold" grpId="0" nodeType="withEffect">
                                  <p:stCondLst>
                                    <p:cond delay="0"/>
                                  </p:stCondLst>
                                  <p:childTnLst>
                                    <p:set>
                                      <p:cBhvr>
                                        <p:cTn id="266" dur="1" fill="hold">
                                          <p:stCondLst>
                                            <p:cond delay="0"/>
                                          </p:stCondLst>
                                        </p:cTn>
                                        <p:tgtEl>
                                          <p:spTgt spid="87"/>
                                        </p:tgtEl>
                                        <p:attrNameLst>
                                          <p:attrName>style.visibility</p:attrName>
                                        </p:attrNameLst>
                                      </p:cBhvr>
                                      <p:to>
                                        <p:strVal val="visible"/>
                                      </p:to>
                                    </p:set>
                                    <p:anim calcmode="lin" valueType="num">
                                      <p:cBhvr additive="base">
                                        <p:cTn id="267" dur="1000" fill="hold"/>
                                        <p:tgtEl>
                                          <p:spTgt spid="87"/>
                                        </p:tgtEl>
                                        <p:attrNameLst>
                                          <p:attrName>ppt_x</p:attrName>
                                        </p:attrNameLst>
                                      </p:cBhvr>
                                      <p:tavLst>
                                        <p:tav tm="0">
                                          <p:val>
                                            <p:strVal val="#ppt_x"/>
                                          </p:val>
                                        </p:tav>
                                        <p:tav tm="100000">
                                          <p:val>
                                            <p:strVal val="#ppt_x"/>
                                          </p:val>
                                        </p:tav>
                                      </p:tavLst>
                                    </p:anim>
                                    <p:anim calcmode="lin" valueType="num">
                                      <p:cBhvr additive="base">
                                        <p:cTn id="268" dur="1000" fill="hold"/>
                                        <p:tgtEl>
                                          <p:spTgt spid="87"/>
                                        </p:tgtEl>
                                        <p:attrNameLst>
                                          <p:attrName>ppt_y</p:attrName>
                                        </p:attrNameLst>
                                      </p:cBhvr>
                                      <p:tavLst>
                                        <p:tav tm="0">
                                          <p:val>
                                            <p:strVal val="1+#ppt_h/2"/>
                                          </p:val>
                                        </p:tav>
                                        <p:tav tm="100000">
                                          <p:val>
                                            <p:strVal val="#ppt_y"/>
                                          </p:val>
                                        </p:tav>
                                      </p:tavLst>
                                    </p:anim>
                                  </p:childTnLst>
                                </p:cTn>
                              </p:par>
                              <p:par>
                                <p:cTn id="269" presetID="2" presetClass="entr" presetSubtype="4" accel="40000" decel="40000" fill="hold" grpId="0" nodeType="withEffect">
                                  <p:stCondLst>
                                    <p:cond delay="0"/>
                                  </p:stCondLst>
                                  <p:childTnLst>
                                    <p:set>
                                      <p:cBhvr>
                                        <p:cTn id="270" dur="1" fill="hold">
                                          <p:stCondLst>
                                            <p:cond delay="0"/>
                                          </p:stCondLst>
                                        </p:cTn>
                                        <p:tgtEl>
                                          <p:spTgt spid="88"/>
                                        </p:tgtEl>
                                        <p:attrNameLst>
                                          <p:attrName>style.visibility</p:attrName>
                                        </p:attrNameLst>
                                      </p:cBhvr>
                                      <p:to>
                                        <p:strVal val="visible"/>
                                      </p:to>
                                    </p:set>
                                    <p:anim calcmode="lin" valueType="num">
                                      <p:cBhvr additive="base">
                                        <p:cTn id="271" dur="1000" fill="hold"/>
                                        <p:tgtEl>
                                          <p:spTgt spid="88"/>
                                        </p:tgtEl>
                                        <p:attrNameLst>
                                          <p:attrName>ppt_x</p:attrName>
                                        </p:attrNameLst>
                                      </p:cBhvr>
                                      <p:tavLst>
                                        <p:tav tm="0">
                                          <p:val>
                                            <p:strVal val="#ppt_x"/>
                                          </p:val>
                                        </p:tav>
                                        <p:tav tm="100000">
                                          <p:val>
                                            <p:strVal val="#ppt_x"/>
                                          </p:val>
                                        </p:tav>
                                      </p:tavLst>
                                    </p:anim>
                                    <p:anim calcmode="lin" valueType="num">
                                      <p:cBhvr additive="base">
                                        <p:cTn id="272" dur="1000" fill="hold"/>
                                        <p:tgtEl>
                                          <p:spTgt spid="88"/>
                                        </p:tgtEl>
                                        <p:attrNameLst>
                                          <p:attrName>ppt_y</p:attrName>
                                        </p:attrNameLst>
                                      </p:cBhvr>
                                      <p:tavLst>
                                        <p:tav tm="0">
                                          <p:val>
                                            <p:strVal val="1+#ppt_h/2"/>
                                          </p:val>
                                        </p:tav>
                                        <p:tav tm="100000">
                                          <p:val>
                                            <p:strVal val="#ppt_y"/>
                                          </p:val>
                                        </p:tav>
                                      </p:tavLst>
                                    </p:anim>
                                  </p:childTnLst>
                                </p:cTn>
                              </p:par>
                              <p:par>
                                <p:cTn id="273" presetID="2" presetClass="entr" presetSubtype="4" accel="40000" decel="40000" fill="hold" grpId="0" nodeType="withEffect">
                                  <p:stCondLst>
                                    <p:cond delay="0"/>
                                  </p:stCondLst>
                                  <p:childTnLst>
                                    <p:set>
                                      <p:cBhvr>
                                        <p:cTn id="274" dur="1" fill="hold">
                                          <p:stCondLst>
                                            <p:cond delay="0"/>
                                          </p:stCondLst>
                                        </p:cTn>
                                        <p:tgtEl>
                                          <p:spTgt spid="90"/>
                                        </p:tgtEl>
                                        <p:attrNameLst>
                                          <p:attrName>style.visibility</p:attrName>
                                        </p:attrNameLst>
                                      </p:cBhvr>
                                      <p:to>
                                        <p:strVal val="visible"/>
                                      </p:to>
                                    </p:set>
                                    <p:anim calcmode="lin" valueType="num">
                                      <p:cBhvr additive="base">
                                        <p:cTn id="275" dur="1000" fill="hold"/>
                                        <p:tgtEl>
                                          <p:spTgt spid="90"/>
                                        </p:tgtEl>
                                        <p:attrNameLst>
                                          <p:attrName>ppt_x</p:attrName>
                                        </p:attrNameLst>
                                      </p:cBhvr>
                                      <p:tavLst>
                                        <p:tav tm="0">
                                          <p:val>
                                            <p:strVal val="#ppt_x"/>
                                          </p:val>
                                        </p:tav>
                                        <p:tav tm="100000">
                                          <p:val>
                                            <p:strVal val="#ppt_x"/>
                                          </p:val>
                                        </p:tav>
                                      </p:tavLst>
                                    </p:anim>
                                    <p:anim calcmode="lin" valueType="num">
                                      <p:cBhvr additive="base">
                                        <p:cTn id="276" dur="1000" fill="hold"/>
                                        <p:tgtEl>
                                          <p:spTgt spid="90"/>
                                        </p:tgtEl>
                                        <p:attrNameLst>
                                          <p:attrName>ppt_y</p:attrName>
                                        </p:attrNameLst>
                                      </p:cBhvr>
                                      <p:tavLst>
                                        <p:tav tm="0">
                                          <p:val>
                                            <p:strVal val="1+#ppt_h/2"/>
                                          </p:val>
                                        </p:tav>
                                        <p:tav tm="100000">
                                          <p:val>
                                            <p:strVal val="#ppt_y"/>
                                          </p:val>
                                        </p:tav>
                                      </p:tavLst>
                                    </p:anim>
                                  </p:childTnLst>
                                </p:cTn>
                              </p:par>
                              <p:par>
                                <p:cTn id="277" presetID="2" presetClass="entr" presetSubtype="4" accel="40000" decel="40000" fill="hold" grpId="0" nodeType="withEffect">
                                  <p:stCondLst>
                                    <p:cond delay="0"/>
                                  </p:stCondLst>
                                  <p:childTnLst>
                                    <p:set>
                                      <p:cBhvr>
                                        <p:cTn id="278" dur="1" fill="hold">
                                          <p:stCondLst>
                                            <p:cond delay="0"/>
                                          </p:stCondLst>
                                        </p:cTn>
                                        <p:tgtEl>
                                          <p:spTgt spid="91"/>
                                        </p:tgtEl>
                                        <p:attrNameLst>
                                          <p:attrName>style.visibility</p:attrName>
                                        </p:attrNameLst>
                                      </p:cBhvr>
                                      <p:to>
                                        <p:strVal val="visible"/>
                                      </p:to>
                                    </p:set>
                                    <p:anim calcmode="lin" valueType="num">
                                      <p:cBhvr additive="base">
                                        <p:cTn id="279" dur="1000" fill="hold"/>
                                        <p:tgtEl>
                                          <p:spTgt spid="91"/>
                                        </p:tgtEl>
                                        <p:attrNameLst>
                                          <p:attrName>ppt_x</p:attrName>
                                        </p:attrNameLst>
                                      </p:cBhvr>
                                      <p:tavLst>
                                        <p:tav tm="0">
                                          <p:val>
                                            <p:strVal val="#ppt_x"/>
                                          </p:val>
                                        </p:tav>
                                        <p:tav tm="100000">
                                          <p:val>
                                            <p:strVal val="#ppt_x"/>
                                          </p:val>
                                        </p:tav>
                                      </p:tavLst>
                                    </p:anim>
                                    <p:anim calcmode="lin" valueType="num">
                                      <p:cBhvr additive="base">
                                        <p:cTn id="280" dur="1000" fill="hold"/>
                                        <p:tgtEl>
                                          <p:spTgt spid="91"/>
                                        </p:tgtEl>
                                        <p:attrNameLst>
                                          <p:attrName>ppt_y</p:attrName>
                                        </p:attrNameLst>
                                      </p:cBhvr>
                                      <p:tavLst>
                                        <p:tav tm="0">
                                          <p:val>
                                            <p:strVal val="1+#ppt_h/2"/>
                                          </p:val>
                                        </p:tav>
                                        <p:tav tm="100000">
                                          <p:val>
                                            <p:strVal val="#ppt_y"/>
                                          </p:val>
                                        </p:tav>
                                      </p:tavLst>
                                    </p:anim>
                                  </p:childTnLst>
                                </p:cTn>
                              </p:par>
                              <p:par>
                                <p:cTn id="281" presetID="2" presetClass="entr" presetSubtype="4" accel="40000" decel="40000" fill="hold" grpId="0" nodeType="withEffect">
                                  <p:stCondLst>
                                    <p:cond delay="0"/>
                                  </p:stCondLst>
                                  <p:childTnLst>
                                    <p:set>
                                      <p:cBhvr>
                                        <p:cTn id="282" dur="1" fill="hold">
                                          <p:stCondLst>
                                            <p:cond delay="0"/>
                                          </p:stCondLst>
                                        </p:cTn>
                                        <p:tgtEl>
                                          <p:spTgt spid="92"/>
                                        </p:tgtEl>
                                        <p:attrNameLst>
                                          <p:attrName>style.visibility</p:attrName>
                                        </p:attrNameLst>
                                      </p:cBhvr>
                                      <p:to>
                                        <p:strVal val="visible"/>
                                      </p:to>
                                    </p:set>
                                    <p:anim calcmode="lin" valueType="num">
                                      <p:cBhvr additive="base">
                                        <p:cTn id="283" dur="1000" fill="hold"/>
                                        <p:tgtEl>
                                          <p:spTgt spid="92"/>
                                        </p:tgtEl>
                                        <p:attrNameLst>
                                          <p:attrName>ppt_x</p:attrName>
                                        </p:attrNameLst>
                                      </p:cBhvr>
                                      <p:tavLst>
                                        <p:tav tm="0">
                                          <p:val>
                                            <p:strVal val="#ppt_x"/>
                                          </p:val>
                                        </p:tav>
                                        <p:tav tm="100000">
                                          <p:val>
                                            <p:strVal val="#ppt_x"/>
                                          </p:val>
                                        </p:tav>
                                      </p:tavLst>
                                    </p:anim>
                                    <p:anim calcmode="lin" valueType="num">
                                      <p:cBhvr additive="base">
                                        <p:cTn id="284" dur="1000" fill="hold"/>
                                        <p:tgtEl>
                                          <p:spTgt spid="92"/>
                                        </p:tgtEl>
                                        <p:attrNameLst>
                                          <p:attrName>ppt_y</p:attrName>
                                        </p:attrNameLst>
                                      </p:cBhvr>
                                      <p:tavLst>
                                        <p:tav tm="0">
                                          <p:val>
                                            <p:strVal val="1+#ppt_h/2"/>
                                          </p:val>
                                        </p:tav>
                                        <p:tav tm="100000">
                                          <p:val>
                                            <p:strVal val="#ppt_y"/>
                                          </p:val>
                                        </p:tav>
                                      </p:tavLst>
                                    </p:anim>
                                  </p:childTnLst>
                                </p:cTn>
                              </p:par>
                              <p:par>
                                <p:cTn id="285" presetID="2" presetClass="entr" presetSubtype="4" accel="40000" decel="40000" fill="hold" grpId="0" nodeType="withEffect">
                                  <p:stCondLst>
                                    <p:cond delay="0"/>
                                  </p:stCondLst>
                                  <p:childTnLst>
                                    <p:set>
                                      <p:cBhvr>
                                        <p:cTn id="286" dur="1" fill="hold">
                                          <p:stCondLst>
                                            <p:cond delay="0"/>
                                          </p:stCondLst>
                                        </p:cTn>
                                        <p:tgtEl>
                                          <p:spTgt spid="93"/>
                                        </p:tgtEl>
                                        <p:attrNameLst>
                                          <p:attrName>style.visibility</p:attrName>
                                        </p:attrNameLst>
                                      </p:cBhvr>
                                      <p:to>
                                        <p:strVal val="visible"/>
                                      </p:to>
                                    </p:set>
                                    <p:anim calcmode="lin" valueType="num">
                                      <p:cBhvr additive="base">
                                        <p:cTn id="287" dur="1000" fill="hold"/>
                                        <p:tgtEl>
                                          <p:spTgt spid="93"/>
                                        </p:tgtEl>
                                        <p:attrNameLst>
                                          <p:attrName>ppt_x</p:attrName>
                                        </p:attrNameLst>
                                      </p:cBhvr>
                                      <p:tavLst>
                                        <p:tav tm="0">
                                          <p:val>
                                            <p:strVal val="#ppt_x"/>
                                          </p:val>
                                        </p:tav>
                                        <p:tav tm="100000">
                                          <p:val>
                                            <p:strVal val="#ppt_x"/>
                                          </p:val>
                                        </p:tav>
                                      </p:tavLst>
                                    </p:anim>
                                    <p:anim calcmode="lin" valueType="num">
                                      <p:cBhvr additive="base">
                                        <p:cTn id="288" dur="1000" fill="hold"/>
                                        <p:tgtEl>
                                          <p:spTgt spid="93"/>
                                        </p:tgtEl>
                                        <p:attrNameLst>
                                          <p:attrName>ppt_y</p:attrName>
                                        </p:attrNameLst>
                                      </p:cBhvr>
                                      <p:tavLst>
                                        <p:tav tm="0">
                                          <p:val>
                                            <p:strVal val="1+#ppt_h/2"/>
                                          </p:val>
                                        </p:tav>
                                        <p:tav tm="100000">
                                          <p:val>
                                            <p:strVal val="#ppt_y"/>
                                          </p:val>
                                        </p:tav>
                                      </p:tavLst>
                                    </p:anim>
                                  </p:childTnLst>
                                </p:cTn>
                              </p:par>
                              <p:par>
                                <p:cTn id="289" presetID="2" presetClass="entr" presetSubtype="4" accel="40000" decel="40000" fill="hold" grpId="0" nodeType="withEffect">
                                  <p:stCondLst>
                                    <p:cond delay="0"/>
                                  </p:stCondLst>
                                  <p:childTnLst>
                                    <p:set>
                                      <p:cBhvr>
                                        <p:cTn id="290" dur="1" fill="hold">
                                          <p:stCondLst>
                                            <p:cond delay="0"/>
                                          </p:stCondLst>
                                        </p:cTn>
                                        <p:tgtEl>
                                          <p:spTgt spid="94"/>
                                        </p:tgtEl>
                                        <p:attrNameLst>
                                          <p:attrName>style.visibility</p:attrName>
                                        </p:attrNameLst>
                                      </p:cBhvr>
                                      <p:to>
                                        <p:strVal val="visible"/>
                                      </p:to>
                                    </p:set>
                                    <p:anim calcmode="lin" valueType="num">
                                      <p:cBhvr additive="base">
                                        <p:cTn id="291" dur="1000" fill="hold"/>
                                        <p:tgtEl>
                                          <p:spTgt spid="94"/>
                                        </p:tgtEl>
                                        <p:attrNameLst>
                                          <p:attrName>ppt_x</p:attrName>
                                        </p:attrNameLst>
                                      </p:cBhvr>
                                      <p:tavLst>
                                        <p:tav tm="0">
                                          <p:val>
                                            <p:strVal val="#ppt_x"/>
                                          </p:val>
                                        </p:tav>
                                        <p:tav tm="100000">
                                          <p:val>
                                            <p:strVal val="#ppt_x"/>
                                          </p:val>
                                        </p:tav>
                                      </p:tavLst>
                                    </p:anim>
                                    <p:anim calcmode="lin" valueType="num">
                                      <p:cBhvr additive="base">
                                        <p:cTn id="292" dur="1000" fill="hold"/>
                                        <p:tgtEl>
                                          <p:spTgt spid="94"/>
                                        </p:tgtEl>
                                        <p:attrNameLst>
                                          <p:attrName>ppt_y</p:attrName>
                                        </p:attrNameLst>
                                      </p:cBhvr>
                                      <p:tavLst>
                                        <p:tav tm="0">
                                          <p:val>
                                            <p:strVal val="1+#ppt_h/2"/>
                                          </p:val>
                                        </p:tav>
                                        <p:tav tm="100000">
                                          <p:val>
                                            <p:strVal val="#ppt_y"/>
                                          </p:val>
                                        </p:tav>
                                      </p:tavLst>
                                    </p:anim>
                                  </p:childTnLst>
                                </p:cTn>
                              </p:par>
                              <p:par>
                                <p:cTn id="293" presetID="2" presetClass="entr" presetSubtype="4" accel="40000" decel="40000" fill="hold" grpId="0" nodeType="withEffect">
                                  <p:stCondLst>
                                    <p:cond delay="0"/>
                                  </p:stCondLst>
                                  <p:childTnLst>
                                    <p:set>
                                      <p:cBhvr>
                                        <p:cTn id="294" dur="1" fill="hold">
                                          <p:stCondLst>
                                            <p:cond delay="0"/>
                                          </p:stCondLst>
                                        </p:cTn>
                                        <p:tgtEl>
                                          <p:spTgt spid="95"/>
                                        </p:tgtEl>
                                        <p:attrNameLst>
                                          <p:attrName>style.visibility</p:attrName>
                                        </p:attrNameLst>
                                      </p:cBhvr>
                                      <p:to>
                                        <p:strVal val="visible"/>
                                      </p:to>
                                    </p:set>
                                    <p:anim calcmode="lin" valueType="num">
                                      <p:cBhvr additive="base">
                                        <p:cTn id="295" dur="1000" fill="hold"/>
                                        <p:tgtEl>
                                          <p:spTgt spid="95"/>
                                        </p:tgtEl>
                                        <p:attrNameLst>
                                          <p:attrName>ppt_x</p:attrName>
                                        </p:attrNameLst>
                                      </p:cBhvr>
                                      <p:tavLst>
                                        <p:tav tm="0">
                                          <p:val>
                                            <p:strVal val="#ppt_x"/>
                                          </p:val>
                                        </p:tav>
                                        <p:tav tm="100000">
                                          <p:val>
                                            <p:strVal val="#ppt_x"/>
                                          </p:val>
                                        </p:tav>
                                      </p:tavLst>
                                    </p:anim>
                                    <p:anim calcmode="lin" valueType="num">
                                      <p:cBhvr additive="base">
                                        <p:cTn id="296" dur="1000" fill="hold"/>
                                        <p:tgtEl>
                                          <p:spTgt spid="95"/>
                                        </p:tgtEl>
                                        <p:attrNameLst>
                                          <p:attrName>ppt_y</p:attrName>
                                        </p:attrNameLst>
                                      </p:cBhvr>
                                      <p:tavLst>
                                        <p:tav tm="0">
                                          <p:val>
                                            <p:strVal val="1+#ppt_h/2"/>
                                          </p:val>
                                        </p:tav>
                                        <p:tav tm="100000">
                                          <p:val>
                                            <p:strVal val="#ppt_y"/>
                                          </p:val>
                                        </p:tav>
                                      </p:tavLst>
                                    </p:anim>
                                  </p:childTnLst>
                                </p:cTn>
                              </p:par>
                              <p:par>
                                <p:cTn id="297" presetID="2" presetClass="entr" presetSubtype="4" accel="40000" decel="40000" fill="hold" grpId="0" nodeType="withEffect">
                                  <p:stCondLst>
                                    <p:cond delay="0"/>
                                  </p:stCondLst>
                                  <p:childTnLst>
                                    <p:set>
                                      <p:cBhvr>
                                        <p:cTn id="298" dur="1" fill="hold">
                                          <p:stCondLst>
                                            <p:cond delay="0"/>
                                          </p:stCondLst>
                                        </p:cTn>
                                        <p:tgtEl>
                                          <p:spTgt spid="96"/>
                                        </p:tgtEl>
                                        <p:attrNameLst>
                                          <p:attrName>style.visibility</p:attrName>
                                        </p:attrNameLst>
                                      </p:cBhvr>
                                      <p:to>
                                        <p:strVal val="visible"/>
                                      </p:to>
                                    </p:set>
                                    <p:anim calcmode="lin" valueType="num">
                                      <p:cBhvr additive="base">
                                        <p:cTn id="299" dur="1000" fill="hold"/>
                                        <p:tgtEl>
                                          <p:spTgt spid="96"/>
                                        </p:tgtEl>
                                        <p:attrNameLst>
                                          <p:attrName>ppt_x</p:attrName>
                                        </p:attrNameLst>
                                      </p:cBhvr>
                                      <p:tavLst>
                                        <p:tav tm="0">
                                          <p:val>
                                            <p:strVal val="#ppt_x"/>
                                          </p:val>
                                        </p:tav>
                                        <p:tav tm="100000">
                                          <p:val>
                                            <p:strVal val="#ppt_x"/>
                                          </p:val>
                                        </p:tav>
                                      </p:tavLst>
                                    </p:anim>
                                    <p:anim calcmode="lin" valueType="num">
                                      <p:cBhvr additive="base">
                                        <p:cTn id="300" dur="1000" fill="hold"/>
                                        <p:tgtEl>
                                          <p:spTgt spid="96"/>
                                        </p:tgtEl>
                                        <p:attrNameLst>
                                          <p:attrName>ppt_y</p:attrName>
                                        </p:attrNameLst>
                                      </p:cBhvr>
                                      <p:tavLst>
                                        <p:tav tm="0">
                                          <p:val>
                                            <p:strVal val="1+#ppt_h/2"/>
                                          </p:val>
                                        </p:tav>
                                        <p:tav tm="100000">
                                          <p:val>
                                            <p:strVal val="#ppt_y"/>
                                          </p:val>
                                        </p:tav>
                                      </p:tavLst>
                                    </p:anim>
                                  </p:childTnLst>
                                </p:cTn>
                              </p:par>
                              <p:par>
                                <p:cTn id="301" presetID="2" presetClass="entr" presetSubtype="4" accel="40000" decel="40000" fill="hold" grpId="0" nodeType="withEffect">
                                  <p:stCondLst>
                                    <p:cond delay="0"/>
                                  </p:stCondLst>
                                  <p:childTnLst>
                                    <p:set>
                                      <p:cBhvr>
                                        <p:cTn id="302" dur="1" fill="hold">
                                          <p:stCondLst>
                                            <p:cond delay="0"/>
                                          </p:stCondLst>
                                        </p:cTn>
                                        <p:tgtEl>
                                          <p:spTgt spid="97"/>
                                        </p:tgtEl>
                                        <p:attrNameLst>
                                          <p:attrName>style.visibility</p:attrName>
                                        </p:attrNameLst>
                                      </p:cBhvr>
                                      <p:to>
                                        <p:strVal val="visible"/>
                                      </p:to>
                                    </p:set>
                                    <p:anim calcmode="lin" valueType="num">
                                      <p:cBhvr additive="base">
                                        <p:cTn id="303" dur="1000" fill="hold"/>
                                        <p:tgtEl>
                                          <p:spTgt spid="97"/>
                                        </p:tgtEl>
                                        <p:attrNameLst>
                                          <p:attrName>ppt_x</p:attrName>
                                        </p:attrNameLst>
                                      </p:cBhvr>
                                      <p:tavLst>
                                        <p:tav tm="0">
                                          <p:val>
                                            <p:strVal val="#ppt_x"/>
                                          </p:val>
                                        </p:tav>
                                        <p:tav tm="100000">
                                          <p:val>
                                            <p:strVal val="#ppt_x"/>
                                          </p:val>
                                        </p:tav>
                                      </p:tavLst>
                                    </p:anim>
                                    <p:anim calcmode="lin" valueType="num">
                                      <p:cBhvr additive="base">
                                        <p:cTn id="304" dur="1000" fill="hold"/>
                                        <p:tgtEl>
                                          <p:spTgt spid="97"/>
                                        </p:tgtEl>
                                        <p:attrNameLst>
                                          <p:attrName>ppt_y</p:attrName>
                                        </p:attrNameLst>
                                      </p:cBhvr>
                                      <p:tavLst>
                                        <p:tav tm="0">
                                          <p:val>
                                            <p:strVal val="1+#ppt_h/2"/>
                                          </p:val>
                                        </p:tav>
                                        <p:tav tm="100000">
                                          <p:val>
                                            <p:strVal val="#ppt_y"/>
                                          </p:val>
                                        </p:tav>
                                      </p:tavLst>
                                    </p:anim>
                                  </p:childTnLst>
                                </p:cTn>
                              </p:par>
                              <p:par>
                                <p:cTn id="305" presetID="2" presetClass="entr" presetSubtype="4" accel="40000" decel="40000" fill="hold" grpId="0" nodeType="withEffect">
                                  <p:stCondLst>
                                    <p:cond delay="0"/>
                                  </p:stCondLst>
                                  <p:childTnLst>
                                    <p:set>
                                      <p:cBhvr>
                                        <p:cTn id="306" dur="1" fill="hold">
                                          <p:stCondLst>
                                            <p:cond delay="0"/>
                                          </p:stCondLst>
                                        </p:cTn>
                                        <p:tgtEl>
                                          <p:spTgt spid="98"/>
                                        </p:tgtEl>
                                        <p:attrNameLst>
                                          <p:attrName>style.visibility</p:attrName>
                                        </p:attrNameLst>
                                      </p:cBhvr>
                                      <p:to>
                                        <p:strVal val="visible"/>
                                      </p:to>
                                    </p:set>
                                    <p:anim calcmode="lin" valueType="num">
                                      <p:cBhvr additive="base">
                                        <p:cTn id="307" dur="1000" fill="hold"/>
                                        <p:tgtEl>
                                          <p:spTgt spid="98"/>
                                        </p:tgtEl>
                                        <p:attrNameLst>
                                          <p:attrName>ppt_x</p:attrName>
                                        </p:attrNameLst>
                                      </p:cBhvr>
                                      <p:tavLst>
                                        <p:tav tm="0">
                                          <p:val>
                                            <p:strVal val="#ppt_x"/>
                                          </p:val>
                                        </p:tav>
                                        <p:tav tm="100000">
                                          <p:val>
                                            <p:strVal val="#ppt_x"/>
                                          </p:val>
                                        </p:tav>
                                      </p:tavLst>
                                    </p:anim>
                                    <p:anim calcmode="lin" valueType="num">
                                      <p:cBhvr additive="base">
                                        <p:cTn id="308" dur="1000" fill="hold"/>
                                        <p:tgtEl>
                                          <p:spTgt spid="98"/>
                                        </p:tgtEl>
                                        <p:attrNameLst>
                                          <p:attrName>ppt_y</p:attrName>
                                        </p:attrNameLst>
                                      </p:cBhvr>
                                      <p:tavLst>
                                        <p:tav tm="0">
                                          <p:val>
                                            <p:strVal val="1+#ppt_h/2"/>
                                          </p:val>
                                        </p:tav>
                                        <p:tav tm="100000">
                                          <p:val>
                                            <p:strVal val="#ppt_y"/>
                                          </p:val>
                                        </p:tav>
                                      </p:tavLst>
                                    </p:anim>
                                  </p:childTnLst>
                                </p:cTn>
                              </p:par>
                              <p:par>
                                <p:cTn id="309" presetID="2" presetClass="entr" presetSubtype="4" accel="40000" decel="40000" fill="hold" grpId="0" nodeType="withEffect">
                                  <p:stCondLst>
                                    <p:cond delay="0"/>
                                  </p:stCondLst>
                                  <p:childTnLst>
                                    <p:set>
                                      <p:cBhvr>
                                        <p:cTn id="310" dur="1" fill="hold">
                                          <p:stCondLst>
                                            <p:cond delay="0"/>
                                          </p:stCondLst>
                                        </p:cTn>
                                        <p:tgtEl>
                                          <p:spTgt spid="99"/>
                                        </p:tgtEl>
                                        <p:attrNameLst>
                                          <p:attrName>style.visibility</p:attrName>
                                        </p:attrNameLst>
                                      </p:cBhvr>
                                      <p:to>
                                        <p:strVal val="visible"/>
                                      </p:to>
                                    </p:set>
                                    <p:anim calcmode="lin" valueType="num">
                                      <p:cBhvr additive="base">
                                        <p:cTn id="311" dur="1000" fill="hold"/>
                                        <p:tgtEl>
                                          <p:spTgt spid="99"/>
                                        </p:tgtEl>
                                        <p:attrNameLst>
                                          <p:attrName>ppt_x</p:attrName>
                                        </p:attrNameLst>
                                      </p:cBhvr>
                                      <p:tavLst>
                                        <p:tav tm="0">
                                          <p:val>
                                            <p:strVal val="#ppt_x"/>
                                          </p:val>
                                        </p:tav>
                                        <p:tav tm="100000">
                                          <p:val>
                                            <p:strVal val="#ppt_x"/>
                                          </p:val>
                                        </p:tav>
                                      </p:tavLst>
                                    </p:anim>
                                    <p:anim calcmode="lin" valueType="num">
                                      <p:cBhvr additive="base">
                                        <p:cTn id="312" dur="1000" fill="hold"/>
                                        <p:tgtEl>
                                          <p:spTgt spid="99"/>
                                        </p:tgtEl>
                                        <p:attrNameLst>
                                          <p:attrName>ppt_y</p:attrName>
                                        </p:attrNameLst>
                                      </p:cBhvr>
                                      <p:tavLst>
                                        <p:tav tm="0">
                                          <p:val>
                                            <p:strVal val="1+#ppt_h/2"/>
                                          </p:val>
                                        </p:tav>
                                        <p:tav tm="100000">
                                          <p:val>
                                            <p:strVal val="#ppt_y"/>
                                          </p:val>
                                        </p:tav>
                                      </p:tavLst>
                                    </p:anim>
                                  </p:childTnLst>
                                </p:cTn>
                              </p:par>
                              <p:par>
                                <p:cTn id="313" presetID="2" presetClass="entr" presetSubtype="4" accel="40000" decel="40000" fill="hold" grpId="0" nodeType="withEffect">
                                  <p:stCondLst>
                                    <p:cond delay="0"/>
                                  </p:stCondLst>
                                  <p:childTnLst>
                                    <p:set>
                                      <p:cBhvr>
                                        <p:cTn id="314" dur="1" fill="hold">
                                          <p:stCondLst>
                                            <p:cond delay="0"/>
                                          </p:stCondLst>
                                        </p:cTn>
                                        <p:tgtEl>
                                          <p:spTgt spid="100"/>
                                        </p:tgtEl>
                                        <p:attrNameLst>
                                          <p:attrName>style.visibility</p:attrName>
                                        </p:attrNameLst>
                                      </p:cBhvr>
                                      <p:to>
                                        <p:strVal val="visible"/>
                                      </p:to>
                                    </p:set>
                                    <p:anim calcmode="lin" valueType="num">
                                      <p:cBhvr additive="base">
                                        <p:cTn id="315" dur="1000" fill="hold"/>
                                        <p:tgtEl>
                                          <p:spTgt spid="100"/>
                                        </p:tgtEl>
                                        <p:attrNameLst>
                                          <p:attrName>ppt_x</p:attrName>
                                        </p:attrNameLst>
                                      </p:cBhvr>
                                      <p:tavLst>
                                        <p:tav tm="0">
                                          <p:val>
                                            <p:strVal val="#ppt_x"/>
                                          </p:val>
                                        </p:tav>
                                        <p:tav tm="100000">
                                          <p:val>
                                            <p:strVal val="#ppt_x"/>
                                          </p:val>
                                        </p:tav>
                                      </p:tavLst>
                                    </p:anim>
                                    <p:anim calcmode="lin" valueType="num">
                                      <p:cBhvr additive="base">
                                        <p:cTn id="316" dur="1000" fill="hold"/>
                                        <p:tgtEl>
                                          <p:spTgt spid="100"/>
                                        </p:tgtEl>
                                        <p:attrNameLst>
                                          <p:attrName>ppt_y</p:attrName>
                                        </p:attrNameLst>
                                      </p:cBhvr>
                                      <p:tavLst>
                                        <p:tav tm="0">
                                          <p:val>
                                            <p:strVal val="1+#ppt_h/2"/>
                                          </p:val>
                                        </p:tav>
                                        <p:tav tm="100000">
                                          <p:val>
                                            <p:strVal val="#ppt_y"/>
                                          </p:val>
                                        </p:tav>
                                      </p:tavLst>
                                    </p:anim>
                                  </p:childTnLst>
                                </p:cTn>
                              </p:par>
                              <p:par>
                                <p:cTn id="317" presetID="2" presetClass="entr" presetSubtype="4" accel="40000" decel="40000" fill="hold" grpId="0" nodeType="withEffect">
                                  <p:stCondLst>
                                    <p:cond delay="0"/>
                                  </p:stCondLst>
                                  <p:childTnLst>
                                    <p:set>
                                      <p:cBhvr>
                                        <p:cTn id="318" dur="1" fill="hold">
                                          <p:stCondLst>
                                            <p:cond delay="0"/>
                                          </p:stCondLst>
                                        </p:cTn>
                                        <p:tgtEl>
                                          <p:spTgt spid="101"/>
                                        </p:tgtEl>
                                        <p:attrNameLst>
                                          <p:attrName>style.visibility</p:attrName>
                                        </p:attrNameLst>
                                      </p:cBhvr>
                                      <p:to>
                                        <p:strVal val="visible"/>
                                      </p:to>
                                    </p:set>
                                    <p:anim calcmode="lin" valueType="num">
                                      <p:cBhvr additive="base">
                                        <p:cTn id="319" dur="1000" fill="hold"/>
                                        <p:tgtEl>
                                          <p:spTgt spid="101"/>
                                        </p:tgtEl>
                                        <p:attrNameLst>
                                          <p:attrName>ppt_x</p:attrName>
                                        </p:attrNameLst>
                                      </p:cBhvr>
                                      <p:tavLst>
                                        <p:tav tm="0">
                                          <p:val>
                                            <p:strVal val="#ppt_x"/>
                                          </p:val>
                                        </p:tav>
                                        <p:tav tm="100000">
                                          <p:val>
                                            <p:strVal val="#ppt_x"/>
                                          </p:val>
                                        </p:tav>
                                      </p:tavLst>
                                    </p:anim>
                                    <p:anim calcmode="lin" valueType="num">
                                      <p:cBhvr additive="base">
                                        <p:cTn id="320" dur="1000" fill="hold"/>
                                        <p:tgtEl>
                                          <p:spTgt spid="101"/>
                                        </p:tgtEl>
                                        <p:attrNameLst>
                                          <p:attrName>ppt_y</p:attrName>
                                        </p:attrNameLst>
                                      </p:cBhvr>
                                      <p:tavLst>
                                        <p:tav tm="0">
                                          <p:val>
                                            <p:strVal val="1+#ppt_h/2"/>
                                          </p:val>
                                        </p:tav>
                                        <p:tav tm="100000">
                                          <p:val>
                                            <p:strVal val="#ppt_y"/>
                                          </p:val>
                                        </p:tav>
                                      </p:tavLst>
                                    </p:anim>
                                  </p:childTnLst>
                                </p:cTn>
                              </p:par>
                              <p:par>
                                <p:cTn id="321" presetID="2" presetClass="entr" presetSubtype="4" accel="40000" decel="40000" fill="hold" grpId="0" nodeType="withEffect">
                                  <p:stCondLst>
                                    <p:cond delay="0"/>
                                  </p:stCondLst>
                                  <p:childTnLst>
                                    <p:set>
                                      <p:cBhvr>
                                        <p:cTn id="322" dur="1" fill="hold">
                                          <p:stCondLst>
                                            <p:cond delay="0"/>
                                          </p:stCondLst>
                                        </p:cTn>
                                        <p:tgtEl>
                                          <p:spTgt spid="102"/>
                                        </p:tgtEl>
                                        <p:attrNameLst>
                                          <p:attrName>style.visibility</p:attrName>
                                        </p:attrNameLst>
                                      </p:cBhvr>
                                      <p:to>
                                        <p:strVal val="visible"/>
                                      </p:to>
                                    </p:set>
                                    <p:anim calcmode="lin" valueType="num">
                                      <p:cBhvr additive="base">
                                        <p:cTn id="323" dur="1000" fill="hold"/>
                                        <p:tgtEl>
                                          <p:spTgt spid="102"/>
                                        </p:tgtEl>
                                        <p:attrNameLst>
                                          <p:attrName>ppt_x</p:attrName>
                                        </p:attrNameLst>
                                      </p:cBhvr>
                                      <p:tavLst>
                                        <p:tav tm="0">
                                          <p:val>
                                            <p:strVal val="#ppt_x"/>
                                          </p:val>
                                        </p:tav>
                                        <p:tav tm="100000">
                                          <p:val>
                                            <p:strVal val="#ppt_x"/>
                                          </p:val>
                                        </p:tav>
                                      </p:tavLst>
                                    </p:anim>
                                    <p:anim calcmode="lin" valueType="num">
                                      <p:cBhvr additive="base">
                                        <p:cTn id="324" dur="1000" fill="hold"/>
                                        <p:tgtEl>
                                          <p:spTgt spid="102"/>
                                        </p:tgtEl>
                                        <p:attrNameLst>
                                          <p:attrName>ppt_y</p:attrName>
                                        </p:attrNameLst>
                                      </p:cBhvr>
                                      <p:tavLst>
                                        <p:tav tm="0">
                                          <p:val>
                                            <p:strVal val="1+#ppt_h/2"/>
                                          </p:val>
                                        </p:tav>
                                        <p:tav tm="100000">
                                          <p:val>
                                            <p:strVal val="#ppt_y"/>
                                          </p:val>
                                        </p:tav>
                                      </p:tavLst>
                                    </p:anim>
                                  </p:childTnLst>
                                </p:cTn>
                              </p:par>
                              <p:par>
                                <p:cTn id="325" presetID="2" presetClass="entr" presetSubtype="4" accel="40000" decel="40000" fill="hold" grpId="0" nodeType="withEffect">
                                  <p:stCondLst>
                                    <p:cond delay="0"/>
                                  </p:stCondLst>
                                  <p:childTnLst>
                                    <p:set>
                                      <p:cBhvr>
                                        <p:cTn id="326" dur="1" fill="hold">
                                          <p:stCondLst>
                                            <p:cond delay="0"/>
                                          </p:stCondLst>
                                        </p:cTn>
                                        <p:tgtEl>
                                          <p:spTgt spid="103"/>
                                        </p:tgtEl>
                                        <p:attrNameLst>
                                          <p:attrName>style.visibility</p:attrName>
                                        </p:attrNameLst>
                                      </p:cBhvr>
                                      <p:to>
                                        <p:strVal val="visible"/>
                                      </p:to>
                                    </p:set>
                                    <p:anim calcmode="lin" valueType="num">
                                      <p:cBhvr additive="base">
                                        <p:cTn id="327" dur="1000" fill="hold"/>
                                        <p:tgtEl>
                                          <p:spTgt spid="103"/>
                                        </p:tgtEl>
                                        <p:attrNameLst>
                                          <p:attrName>ppt_x</p:attrName>
                                        </p:attrNameLst>
                                      </p:cBhvr>
                                      <p:tavLst>
                                        <p:tav tm="0">
                                          <p:val>
                                            <p:strVal val="#ppt_x"/>
                                          </p:val>
                                        </p:tav>
                                        <p:tav tm="100000">
                                          <p:val>
                                            <p:strVal val="#ppt_x"/>
                                          </p:val>
                                        </p:tav>
                                      </p:tavLst>
                                    </p:anim>
                                    <p:anim calcmode="lin" valueType="num">
                                      <p:cBhvr additive="base">
                                        <p:cTn id="328" dur="1000" fill="hold"/>
                                        <p:tgtEl>
                                          <p:spTgt spid="103"/>
                                        </p:tgtEl>
                                        <p:attrNameLst>
                                          <p:attrName>ppt_y</p:attrName>
                                        </p:attrNameLst>
                                      </p:cBhvr>
                                      <p:tavLst>
                                        <p:tav tm="0">
                                          <p:val>
                                            <p:strVal val="1+#ppt_h/2"/>
                                          </p:val>
                                        </p:tav>
                                        <p:tav tm="100000">
                                          <p:val>
                                            <p:strVal val="#ppt_y"/>
                                          </p:val>
                                        </p:tav>
                                      </p:tavLst>
                                    </p:anim>
                                  </p:childTnLst>
                                </p:cTn>
                              </p:par>
                              <p:par>
                                <p:cTn id="329" presetID="2" presetClass="entr" presetSubtype="4" accel="40000" decel="40000" fill="hold" grpId="0" nodeType="withEffect">
                                  <p:stCondLst>
                                    <p:cond delay="0"/>
                                  </p:stCondLst>
                                  <p:childTnLst>
                                    <p:set>
                                      <p:cBhvr>
                                        <p:cTn id="330" dur="1" fill="hold">
                                          <p:stCondLst>
                                            <p:cond delay="0"/>
                                          </p:stCondLst>
                                        </p:cTn>
                                        <p:tgtEl>
                                          <p:spTgt spid="104"/>
                                        </p:tgtEl>
                                        <p:attrNameLst>
                                          <p:attrName>style.visibility</p:attrName>
                                        </p:attrNameLst>
                                      </p:cBhvr>
                                      <p:to>
                                        <p:strVal val="visible"/>
                                      </p:to>
                                    </p:set>
                                    <p:anim calcmode="lin" valueType="num">
                                      <p:cBhvr additive="base">
                                        <p:cTn id="331" dur="1000" fill="hold"/>
                                        <p:tgtEl>
                                          <p:spTgt spid="104"/>
                                        </p:tgtEl>
                                        <p:attrNameLst>
                                          <p:attrName>ppt_x</p:attrName>
                                        </p:attrNameLst>
                                      </p:cBhvr>
                                      <p:tavLst>
                                        <p:tav tm="0">
                                          <p:val>
                                            <p:strVal val="#ppt_x"/>
                                          </p:val>
                                        </p:tav>
                                        <p:tav tm="100000">
                                          <p:val>
                                            <p:strVal val="#ppt_x"/>
                                          </p:val>
                                        </p:tav>
                                      </p:tavLst>
                                    </p:anim>
                                    <p:anim calcmode="lin" valueType="num">
                                      <p:cBhvr additive="base">
                                        <p:cTn id="332" dur="1000" fill="hold"/>
                                        <p:tgtEl>
                                          <p:spTgt spid="104"/>
                                        </p:tgtEl>
                                        <p:attrNameLst>
                                          <p:attrName>ppt_y</p:attrName>
                                        </p:attrNameLst>
                                      </p:cBhvr>
                                      <p:tavLst>
                                        <p:tav tm="0">
                                          <p:val>
                                            <p:strVal val="1+#ppt_h/2"/>
                                          </p:val>
                                        </p:tav>
                                        <p:tav tm="100000">
                                          <p:val>
                                            <p:strVal val="#ppt_y"/>
                                          </p:val>
                                        </p:tav>
                                      </p:tavLst>
                                    </p:anim>
                                  </p:childTnLst>
                                </p:cTn>
                              </p:par>
                              <p:par>
                                <p:cTn id="333" presetID="2" presetClass="entr" presetSubtype="4" accel="40000" decel="40000" fill="hold" grpId="0" nodeType="withEffect">
                                  <p:stCondLst>
                                    <p:cond delay="0"/>
                                  </p:stCondLst>
                                  <p:childTnLst>
                                    <p:set>
                                      <p:cBhvr>
                                        <p:cTn id="334" dur="1" fill="hold">
                                          <p:stCondLst>
                                            <p:cond delay="0"/>
                                          </p:stCondLst>
                                        </p:cTn>
                                        <p:tgtEl>
                                          <p:spTgt spid="105"/>
                                        </p:tgtEl>
                                        <p:attrNameLst>
                                          <p:attrName>style.visibility</p:attrName>
                                        </p:attrNameLst>
                                      </p:cBhvr>
                                      <p:to>
                                        <p:strVal val="visible"/>
                                      </p:to>
                                    </p:set>
                                    <p:anim calcmode="lin" valueType="num">
                                      <p:cBhvr additive="base">
                                        <p:cTn id="335" dur="1000" fill="hold"/>
                                        <p:tgtEl>
                                          <p:spTgt spid="105"/>
                                        </p:tgtEl>
                                        <p:attrNameLst>
                                          <p:attrName>ppt_x</p:attrName>
                                        </p:attrNameLst>
                                      </p:cBhvr>
                                      <p:tavLst>
                                        <p:tav tm="0">
                                          <p:val>
                                            <p:strVal val="#ppt_x"/>
                                          </p:val>
                                        </p:tav>
                                        <p:tav tm="100000">
                                          <p:val>
                                            <p:strVal val="#ppt_x"/>
                                          </p:val>
                                        </p:tav>
                                      </p:tavLst>
                                    </p:anim>
                                    <p:anim calcmode="lin" valueType="num">
                                      <p:cBhvr additive="base">
                                        <p:cTn id="336" dur="1000" fill="hold"/>
                                        <p:tgtEl>
                                          <p:spTgt spid="105"/>
                                        </p:tgtEl>
                                        <p:attrNameLst>
                                          <p:attrName>ppt_y</p:attrName>
                                        </p:attrNameLst>
                                      </p:cBhvr>
                                      <p:tavLst>
                                        <p:tav tm="0">
                                          <p:val>
                                            <p:strVal val="1+#ppt_h/2"/>
                                          </p:val>
                                        </p:tav>
                                        <p:tav tm="100000">
                                          <p:val>
                                            <p:strVal val="#ppt_y"/>
                                          </p:val>
                                        </p:tav>
                                      </p:tavLst>
                                    </p:anim>
                                  </p:childTnLst>
                                </p:cTn>
                              </p:par>
                              <p:par>
                                <p:cTn id="337" presetID="2" presetClass="entr" presetSubtype="4" accel="40000" decel="40000" fill="hold" grpId="0" nodeType="withEffect">
                                  <p:stCondLst>
                                    <p:cond delay="0"/>
                                  </p:stCondLst>
                                  <p:childTnLst>
                                    <p:set>
                                      <p:cBhvr>
                                        <p:cTn id="338" dur="1" fill="hold">
                                          <p:stCondLst>
                                            <p:cond delay="0"/>
                                          </p:stCondLst>
                                        </p:cTn>
                                        <p:tgtEl>
                                          <p:spTgt spid="106"/>
                                        </p:tgtEl>
                                        <p:attrNameLst>
                                          <p:attrName>style.visibility</p:attrName>
                                        </p:attrNameLst>
                                      </p:cBhvr>
                                      <p:to>
                                        <p:strVal val="visible"/>
                                      </p:to>
                                    </p:set>
                                    <p:anim calcmode="lin" valueType="num">
                                      <p:cBhvr additive="base">
                                        <p:cTn id="339" dur="1000" fill="hold"/>
                                        <p:tgtEl>
                                          <p:spTgt spid="106"/>
                                        </p:tgtEl>
                                        <p:attrNameLst>
                                          <p:attrName>ppt_x</p:attrName>
                                        </p:attrNameLst>
                                      </p:cBhvr>
                                      <p:tavLst>
                                        <p:tav tm="0">
                                          <p:val>
                                            <p:strVal val="#ppt_x"/>
                                          </p:val>
                                        </p:tav>
                                        <p:tav tm="100000">
                                          <p:val>
                                            <p:strVal val="#ppt_x"/>
                                          </p:val>
                                        </p:tav>
                                      </p:tavLst>
                                    </p:anim>
                                    <p:anim calcmode="lin" valueType="num">
                                      <p:cBhvr additive="base">
                                        <p:cTn id="340" dur="1000" fill="hold"/>
                                        <p:tgtEl>
                                          <p:spTgt spid="106"/>
                                        </p:tgtEl>
                                        <p:attrNameLst>
                                          <p:attrName>ppt_y</p:attrName>
                                        </p:attrNameLst>
                                      </p:cBhvr>
                                      <p:tavLst>
                                        <p:tav tm="0">
                                          <p:val>
                                            <p:strVal val="1+#ppt_h/2"/>
                                          </p:val>
                                        </p:tav>
                                        <p:tav tm="100000">
                                          <p:val>
                                            <p:strVal val="#ppt_y"/>
                                          </p:val>
                                        </p:tav>
                                      </p:tavLst>
                                    </p:anim>
                                  </p:childTnLst>
                                </p:cTn>
                              </p:par>
                              <p:par>
                                <p:cTn id="341" presetID="2" presetClass="entr" presetSubtype="4" accel="40000" decel="40000" fill="hold" grpId="0" nodeType="withEffect">
                                  <p:stCondLst>
                                    <p:cond delay="0"/>
                                  </p:stCondLst>
                                  <p:childTnLst>
                                    <p:set>
                                      <p:cBhvr>
                                        <p:cTn id="342" dur="1" fill="hold">
                                          <p:stCondLst>
                                            <p:cond delay="0"/>
                                          </p:stCondLst>
                                        </p:cTn>
                                        <p:tgtEl>
                                          <p:spTgt spid="107"/>
                                        </p:tgtEl>
                                        <p:attrNameLst>
                                          <p:attrName>style.visibility</p:attrName>
                                        </p:attrNameLst>
                                      </p:cBhvr>
                                      <p:to>
                                        <p:strVal val="visible"/>
                                      </p:to>
                                    </p:set>
                                    <p:anim calcmode="lin" valueType="num">
                                      <p:cBhvr additive="base">
                                        <p:cTn id="343" dur="1000" fill="hold"/>
                                        <p:tgtEl>
                                          <p:spTgt spid="107"/>
                                        </p:tgtEl>
                                        <p:attrNameLst>
                                          <p:attrName>ppt_x</p:attrName>
                                        </p:attrNameLst>
                                      </p:cBhvr>
                                      <p:tavLst>
                                        <p:tav tm="0">
                                          <p:val>
                                            <p:strVal val="#ppt_x"/>
                                          </p:val>
                                        </p:tav>
                                        <p:tav tm="100000">
                                          <p:val>
                                            <p:strVal val="#ppt_x"/>
                                          </p:val>
                                        </p:tav>
                                      </p:tavLst>
                                    </p:anim>
                                    <p:anim calcmode="lin" valueType="num">
                                      <p:cBhvr additive="base">
                                        <p:cTn id="344" dur="1000" fill="hold"/>
                                        <p:tgtEl>
                                          <p:spTgt spid="107"/>
                                        </p:tgtEl>
                                        <p:attrNameLst>
                                          <p:attrName>ppt_y</p:attrName>
                                        </p:attrNameLst>
                                      </p:cBhvr>
                                      <p:tavLst>
                                        <p:tav tm="0">
                                          <p:val>
                                            <p:strVal val="1+#ppt_h/2"/>
                                          </p:val>
                                        </p:tav>
                                        <p:tav tm="100000">
                                          <p:val>
                                            <p:strVal val="#ppt_y"/>
                                          </p:val>
                                        </p:tav>
                                      </p:tavLst>
                                    </p:anim>
                                  </p:childTnLst>
                                </p:cTn>
                              </p:par>
                              <p:par>
                                <p:cTn id="345" presetID="2" presetClass="entr" presetSubtype="4" accel="40000" decel="40000" fill="hold" grpId="0" nodeType="withEffect">
                                  <p:stCondLst>
                                    <p:cond delay="0"/>
                                  </p:stCondLst>
                                  <p:childTnLst>
                                    <p:set>
                                      <p:cBhvr>
                                        <p:cTn id="346" dur="1" fill="hold">
                                          <p:stCondLst>
                                            <p:cond delay="0"/>
                                          </p:stCondLst>
                                        </p:cTn>
                                        <p:tgtEl>
                                          <p:spTgt spid="108"/>
                                        </p:tgtEl>
                                        <p:attrNameLst>
                                          <p:attrName>style.visibility</p:attrName>
                                        </p:attrNameLst>
                                      </p:cBhvr>
                                      <p:to>
                                        <p:strVal val="visible"/>
                                      </p:to>
                                    </p:set>
                                    <p:anim calcmode="lin" valueType="num">
                                      <p:cBhvr additive="base">
                                        <p:cTn id="347" dur="1000" fill="hold"/>
                                        <p:tgtEl>
                                          <p:spTgt spid="108"/>
                                        </p:tgtEl>
                                        <p:attrNameLst>
                                          <p:attrName>ppt_x</p:attrName>
                                        </p:attrNameLst>
                                      </p:cBhvr>
                                      <p:tavLst>
                                        <p:tav tm="0">
                                          <p:val>
                                            <p:strVal val="#ppt_x"/>
                                          </p:val>
                                        </p:tav>
                                        <p:tav tm="100000">
                                          <p:val>
                                            <p:strVal val="#ppt_x"/>
                                          </p:val>
                                        </p:tav>
                                      </p:tavLst>
                                    </p:anim>
                                    <p:anim calcmode="lin" valueType="num">
                                      <p:cBhvr additive="base">
                                        <p:cTn id="348" dur="1000" fill="hold"/>
                                        <p:tgtEl>
                                          <p:spTgt spid="108"/>
                                        </p:tgtEl>
                                        <p:attrNameLst>
                                          <p:attrName>ppt_y</p:attrName>
                                        </p:attrNameLst>
                                      </p:cBhvr>
                                      <p:tavLst>
                                        <p:tav tm="0">
                                          <p:val>
                                            <p:strVal val="1+#ppt_h/2"/>
                                          </p:val>
                                        </p:tav>
                                        <p:tav tm="100000">
                                          <p:val>
                                            <p:strVal val="#ppt_y"/>
                                          </p:val>
                                        </p:tav>
                                      </p:tavLst>
                                    </p:anim>
                                  </p:childTnLst>
                                </p:cTn>
                              </p:par>
                              <p:par>
                                <p:cTn id="349" presetID="2" presetClass="entr" presetSubtype="4" accel="40000" decel="40000" fill="hold" grpId="0" nodeType="withEffect">
                                  <p:stCondLst>
                                    <p:cond delay="0"/>
                                  </p:stCondLst>
                                  <p:childTnLst>
                                    <p:set>
                                      <p:cBhvr>
                                        <p:cTn id="350" dur="1" fill="hold">
                                          <p:stCondLst>
                                            <p:cond delay="0"/>
                                          </p:stCondLst>
                                        </p:cTn>
                                        <p:tgtEl>
                                          <p:spTgt spid="109"/>
                                        </p:tgtEl>
                                        <p:attrNameLst>
                                          <p:attrName>style.visibility</p:attrName>
                                        </p:attrNameLst>
                                      </p:cBhvr>
                                      <p:to>
                                        <p:strVal val="visible"/>
                                      </p:to>
                                    </p:set>
                                    <p:anim calcmode="lin" valueType="num">
                                      <p:cBhvr additive="base">
                                        <p:cTn id="351" dur="1000" fill="hold"/>
                                        <p:tgtEl>
                                          <p:spTgt spid="109"/>
                                        </p:tgtEl>
                                        <p:attrNameLst>
                                          <p:attrName>ppt_x</p:attrName>
                                        </p:attrNameLst>
                                      </p:cBhvr>
                                      <p:tavLst>
                                        <p:tav tm="0">
                                          <p:val>
                                            <p:strVal val="#ppt_x"/>
                                          </p:val>
                                        </p:tav>
                                        <p:tav tm="100000">
                                          <p:val>
                                            <p:strVal val="#ppt_x"/>
                                          </p:val>
                                        </p:tav>
                                      </p:tavLst>
                                    </p:anim>
                                    <p:anim calcmode="lin" valueType="num">
                                      <p:cBhvr additive="base">
                                        <p:cTn id="352" dur="1000" fill="hold"/>
                                        <p:tgtEl>
                                          <p:spTgt spid="109"/>
                                        </p:tgtEl>
                                        <p:attrNameLst>
                                          <p:attrName>ppt_y</p:attrName>
                                        </p:attrNameLst>
                                      </p:cBhvr>
                                      <p:tavLst>
                                        <p:tav tm="0">
                                          <p:val>
                                            <p:strVal val="1+#ppt_h/2"/>
                                          </p:val>
                                        </p:tav>
                                        <p:tav tm="100000">
                                          <p:val>
                                            <p:strVal val="#ppt_y"/>
                                          </p:val>
                                        </p:tav>
                                      </p:tavLst>
                                    </p:anim>
                                  </p:childTnLst>
                                </p:cTn>
                              </p:par>
                              <p:par>
                                <p:cTn id="353" presetID="2" presetClass="entr" presetSubtype="4" accel="40000" decel="40000" fill="hold" grpId="0" nodeType="withEffect">
                                  <p:stCondLst>
                                    <p:cond delay="0"/>
                                  </p:stCondLst>
                                  <p:childTnLst>
                                    <p:set>
                                      <p:cBhvr>
                                        <p:cTn id="354" dur="1" fill="hold">
                                          <p:stCondLst>
                                            <p:cond delay="0"/>
                                          </p:stCondLst>
                                        </p:cTn>
                                        <p:tgtEl>
                                          <p:spTgt spid="110"/>
                                        </p:tgtEl>
                                        <p:attrNameLst>
                                          <p:attrName>style.visibility</p:attrName>
                                        </p:attrNameLst>
                                      </p:cBhvr>
                                      <p:to>
                                        <p:strVal val="visible"/>
                                      </p:to>
                                    </p:set>
                                    <p:anim calcmode="lin" valueType="num">
                                      <p:cBhvr additive="base">
                                        <p:cTn id="355" dur="1000" fill="hold"/>
                                        <p:tgtEl>
                                          <p:spTgt spid="110"/>
                                        </p:tgtEl>
                                        <p:attrNameLst>
                                          <p:attrName>ppt_x</p:attrName>
                                        </p:attrNameLst>
                                      </p:cBhvr>
                                      <p:tavLst>
                                        <p:tav tm="0">
                                          <p:val>
                                            <p:strVal val="#ppt_x"/>
                                          </p:val>
                                        </p:tav>
                                        <p:tav tm="100000">
                                          <p:val>
                                            <p:strVal val="#ppt_x"/>
                                          </p:val>
                                        </p:tav>
                                      </p:tavLst>
                                    </p:anim>
                                    <p:anim calcmode="lin" valueType="num">
                                      <p:cBhvr additive="base">
                                        <p:cTn id="356" dur="1000" fill="hold"/>
                                        <p:tgtEl>
                                          <p:spTgt spid="110"/>
                                        </p:tgtEl>
                                        <p:attrNameLst>
                                          <p:attrName>ppt_y</p:attrName>
                                        </p:attrNameLst>
                                      </p:cBhvr>
                                      <p:tavLst>
                                        <p:tav tm="0">
                                          <p:val>
                                            <p:strVal val="1+#ppt_h/2"/>
                                          </p:val>
                                        </p:tav>
                                        <p:tav tm="100000">
                                          <p:val>
                                            <p:strVal val="#ppt_y"/>
                                          </p:val>
                                        </p:tav>
                                      </p:tavLst>
                                    </p:anim>
                                  </p:childTnLst>
                                </p:cTn>
                              </p:par>
                              <p:par>
                                <p:cTn id="357" presetID="2" presetClass="entr" presetSubtype="4" accel="40000" decel="40000" fill="hold" grpId="0" nodeType="withEffect">
                                  <p:stCondLst>
                                    <p:cond delay="0"/>
                                  </p:stCondLst>
                                  <p:childTnLst>
                                    <p:set>
                                      <p:cBhvr>
                                        <p:cTn id="358" dur="1" fill="hold">
                                          <p:stCondLst>
                                            <p:cond delay="0"/>
                                          </p:stCondLst>
                                        </p:cTn>
                                        <p:tgtEl>
                                          <p:spTgt spid="111"/>
                                        </p:tgtEl>
                                        <p:attrNameLst>
                                          <p:attrName>style.visibility</p:attrName>
                                        </p:attrNameLst>
                                      </p:cBhvr>
                                      <p:to>
                                        <p:strVal val="visible"/>
                                      </p:to>
                                    </p:set>
                                    <p:anim calcmode="lin" valueType="num">
                                      <p:cBhvr additive="base">
                                        <p:cTn id="359" dur="1000" fill="hold"/>
                                        <p:tgtEl>
                                          <p:spTgt spid="111"/>
                                        </p:tgtEl>
                                        <p:attrNameLst>
                                          <p:attrName>ppt_x</p:attrName>
                                        </p:attrNameLst>
                                      </p:cBhvr>
                                      <p:tavLst>
                                        <p:tav tm="0">
                                          <p:val>
                                            <p:strVal val="#ppt_x"/>
                                          </p:val>
                                        </p:tav>
                                        <p:tav tm="100000">
                                          <p:val>
                                            <p:strVal val="#ppt_x"/>
                                          </p:val>
                                        </p:tav>
                                      </p:tavLst>
                                    </p:anim>
                                    <p:anim calcmode="lin" valueType="num">
                                      <p:cBhvr additive="base">
                                        <p:cTn id="360" dur="1000" fill="hold"/>
                                        <p:tgtEl>
                                          <p:spTgt spid="111"/>
                                        </p:tgtEl>
                                        <p:attrNameLst>
                                          <p:attrName>ppt_y</p:attrName>
                                        </p:attrNameLst>
                                      </p:cBhvr>
                                      <p:tavLst>
                                        <p:tav tm="0">
                                          <p:val>
                                            <p:strVal val="1+#ppt_h/2"/>
                                          </p:val>
                                        </p:tav>
                                        <p:tav tm="100000">
                                          <p:val>
                                            <p:strVal val="#ppt_y"/>
                                          </p:val>
                                        </p:tav>
                                      </p:tavLst>
                                    </p:anim>
                                  </p:childTnLst>
                                </p:cTn>
                              </p:par>
                              <p:par>
                                <p:cTn id="361" presetID="2" presetClass="entr" presetSubtype="4" accel="40000" decel="40000" fill="hold" grpId="0" nodeType="withEffect">
                                  <p:stCondLst>
                                    <p:cond delay="0"/>
                                  </p:stCondLst>
                                  <p:childTnLst>
                                    <p:set>
                                      <p:cBhvr>
                                        <p:cTn id="362" dur="1" fill="hold">
                                          <p:stCondLst>
                                            <p:cond delay="0"/>
                                          </p:stCondLst>
                                        </p:cTn>
                                        <p:tgtEl>
                                          <p:spTgt spid="112"/>
                                        </p:tgtEl>
                                        <p:attrNameLst>
                                          <p:attrName>style.visibility</p:attrName>
                                        </p:attrNameLst>
                                      </p:cBhvr>
                                      <p:to>
                                        <p:strVal val="visible"/>
                                      </p:to>
                                    </p:set>
                                    <p:anim calcmode="lin" valueType="num">
                                      <p:cBhvr additive="base">
                                        <p:cTn id="363" dur="1000" fill="hold"/>
                                        <p:tgtEl>
                                          <p:spTgt spid="112"/>
                                        </p:tgtEl>
                                        <p:attrNameLst>
                                          <p:attrName>ppt_x</p:attrName>
                                        </p:attrNameLst>
                                      </p:cBhvr>
                                      <p:tavLst>
                                        <p:tav tm="0">
                                          <p:val>
                                            <p:strVal val="#ppt_x"/>
                                          </p:val>
                                        </p:tav>
                                        <p:tav tm="100000">
                                          <p:val>
                                            <p:strVal val="#ppt_x"/>
                                          </p:val>
                                        </p:tav>
                                      </p:tavLst>
                                    </p:anim>
                                    <p:anim calcmode="lin" valueType="num">
                                      <p:cBhvr additive="base">
                                        <p:cTn id="364" dur="1000" fill="hold"/>
                                        <p:tgtEl>
                                          <p:spTgt spid="112"/>
                                        </p:tgtEl>
                                        <p:attrNameLst>
                                          <p:attrName>ppt_y</p:attrName>
                                        </p:attrNameLst>
                                      </p:cBhvr>
                                      <p:tavLst>
                                        <p:tav tm="0">
                                          <p:val>
                                            <p:strVal val="1+#ppt_h/2"/>
                                          </p:val>
                                        </p:tav>
                                        <p:tav tm="100000">
                                          <p:val>
                                            <p:strVal val="#ppt_y"/>
                                          </p:val>
                                        </p:tav>
                                      </p:tavLst>
                                    </p:anim>
                                  </p:childTnLst>
                                </p:cTn>
                              </p:par>
                              <p:par>
                                <p:cTn id="365" presetID="2" presetClass="entr" presetSubtype="4" accel="40000" decel="40000" fill="hold" grpId="0" nodeType="withEffect">
                                  <p:stCondLst>
                                    <p:cond delay="0"/>
                                  </p:stCondLst>
                                  <p:childTnLst>
                                    <p:set>
                                      <p:cBhvr>
                                        <p:cTn id="366" dur="1" fill="hold">
                                          <p:stCondLst>
                                            <p:cond delay="0"/>
                                          </p:stCondLst>
                                        </p:cTn>
                                        <p:tgtEl>
                                          <p:spTgt spid="113"/>
                                        </p:tgtEl>
                                        <p:attrNameLst>
                                          <p:attrName>style.visibility</p:attrName>
                                        </p:attrNameLst>
                                      </p:cBhvr>
                                      <p:to>
                                        <p:strVal val="visible"/>
                                      </p:to>
                                    </p:set>
                                    <p:anim calcmode="lin" valueType="num">
                                      <p:cBhvr additive="base">
                                        <p:cTn id="367" dur="1000" fill="hold"/>
                                        <p:tgtEl>
                                          <p:spTgt spid="113"/>
                                        </p:tgtEl>
                                        <p:attrNameLst>
                                          <p:attrName>ppt_x</p:attrName>
                                        </p:attrNameLst>
                                      </p:cBhvr>
                                      <p:tavLst>
                                        <p:tav tm="0">
                                          <p:val>
                                            <p:strVal val="#ppt_x"/>
                                          </p:val>
                                        </p:tav>
                                        <p:tav tm="100000">
                                          <p:val>
                                            <p:strVal val="#ppt_x"/>
                                          </p:val>
                                        </p:tav>
                                      </p:tavLst>
                                    </p:anim>
                                    <p:anim calcmode="lin" valueType="num">
                                      <p:cBhvr additive="base">
                                        <p:cTn id="368" dur="1000" fill="hold"/>
                                        <p:tgtEl>
                                          <p:spTgt spid="113"/>
                                        </p:tgtEl>
                                        <p:attrNameLst>
                                          <p:attrName>ppt_y</p:attrName>
                                        </p:attrNameLst>
                                      </p:cBhvr>
                                      <p:tavLst>
                                        <p:tav tm="0">
                                          <p:val>
                                            <p:strVal val="1+#ppt_h/2"/>
                                          </p:val>
                                        </p:tav>
                                        <p:tav tm="100000">
                                          <p:val>
                                            <p:strVal val="#ppt_y"/>
                                          </p:val>
                                        </p:tav>
                                      </p:tavLst>
                                    </p:anim>
                                  </p:childTnLst>
                                </p:cTn>
                              </p:par>
                              <p:par>
                                <p:cTn id="369" presetID="2" presetClass="entr" presetSubtype="4" accel="40000" decel="40000" fill="hold" grpId="0" nodeType="withEffect">
                                  <p:stCondLst>
                                    <p:cond delay="0"/>
                                  </p:stCondLst>
                                  <p:childTnLst>
                                    <p:set>
                                      <p:cBhvr>
                                        <p:cTn id="370" dur="1" fill="hold">
                                          <p:stCondLst>
                                            <p:cond delay="0"/>
                                          </p:stCondLst>
                                        </p:cTn>
                                        <p:tgtEl>
                                          <p:spTgt spid="114"/>
                                        </p:tgtEl>
                                        <p:attrNameLst>
                                          <p:attrName>style.visibility</p:attrName>
                                        </p:attrNameLst>
                                      </p:cBhvr>
                                      <p:to>
                                        <p:strVal val="visible"/>
                                      </p:to>
                                    </p:set>
                                    <p:anim calcmode="lin" valueType="num">
                                      <p:cBhvr additive="base">
                                        <p:cTn id="371" dur="1000" fill="hold"/>
                                        <p:tgtEl>
                                          <p:spTgt spid="114"/>
                                        </p:tgtEl>
                                        <p:attrNameLst>
                                          <p:attrName>ppt_x</p:attrName>
                                        </p:attrNameLst>
                                      </p:cBhvr>
                                      <p:tavLst>
                                        <p:tav tm="0">
                                          <p:val>
                                            <p:strVal val="#ppt_x"/>
                                          </p:val>
                                        </p:tav>
                                        <p:tav tm="100000">
                                          <p:val>
                                            <p:strVal val="#ppt_x"/>
                                          </p:val>
                                        </p:tav>
                                      </p:tavLst>
                                    </p:anim>
                                    <p:anim calcmode="lin" valueType="num">
                                      <p:cBhvr additive="base">
                                        <p:cTn id="372" dur="1000" fill="hold"/>
                                        <p:tgtEl>
                                          <p:spTgt spid="114"/>
                                        </p:tgtEl>
                                        <p:attrNameLst>
                                          <p:attrName>ppt_y</p:attrName>
                                        </p:attrNameLst>
                                      </p:cBhvr>
                                      <p:tavLst>
                                        <p:tav tm="0">
                                          <p:val>
                                            <p:strVal val="1+#ppt_h/2"/>
                                          </p:val>
                                        </p:tav>
                                        <p:tav tm="100000">
                                          <p:val>
                                            <p:strVal val="#ppt_y"/>
                                          </p:val>
                                        </p:tav>
                                      </p:tavLst>
                                    </p:anim>
                                  </p:childTnLst>
                                </p:cTn>
                              </p:par>
                              <p:par>
                                <p:cTn id="373" presetID="2" presetClass="entr" presetSubtype="4" accel="40000" decel="40000" fill="hold" grpId="0" nodeType="withEffect">
                                  <p:stCondLst>
                                    <p:cond delay="0"/>
                                  </p:stCondLst>
                                  <p:childTnLst>
                                    <p:set>
                                      <p:cBhvr>
                                        <p:cTn id="374" dur="1" fill="hold">
                                          <p:stCondLst>
                                            <p:cond delay="0"/>
                                          </p:stCondLst>
                                        </p:cTn>
                                        <p:tgtEl>
                                          <p:spTgt spid="115"/>
                                        </p:tgtEl>
                                        <p:attrNameLst>
                                          <p:attrName>style.visibility</p:attrName>
                                        </p:attrNameLst>
                                      </p:cBhvr>
                                      <p:to>
                                        <p:strVal val="visible"/>
                                      </p:to>
                                    </p:set>
                                    <p:anim calcmode="lin" valueType="num">
                                      <p:cBhvr additive="base">
                                        <p:cTn id="375" dur="1000" fill="hold"/>
                                        <p:tgtEl>
                                          <p:spTgt spid="115"/>
                                        </p:tgtEl>
                                        <p:attrNameLst>
                                          <p:attrName>ppt_x</p:attrName>
                                        </p:attrNameLst>
                                      </p:cBhvr>
                                      <p:tavLst>
                                        <p:tav tm="0">
                                          <p:val>
                                            <p:strVal val="#ppt_x"/>
                                          </p:val>
                                        </p:tav>
                                        <p:tav tm="100000">
                                          <p:val>
                                            <p:strVal val="#ppt_x"/>
                                          </p:val>
                                        </p:tav>
                                      </p:tavLst>
                                    </p:anim>
                                    <p:anim calcmode="lin" valueType="num">
                                      <p:cBhvr additive="base">
                                        <p:cTn id="376" dur="1000" fill="hold"/>
                                        <p:tgtEl>
                                          <p:spTgt spid="115"/>
                                        </p:tgtEl>
                                        <p:attrNameLst>
                                          <p:attrName>ppt_y</p:attrName>
                                        </p:attrNameLst>
                                      </p:cBhvr>
                                      <p:tavLst>
                                        <p:tav tm="0">
                                          <p:val>
                                            <p:strVal val="1+#ppt_h/2"/>
                                          </p:val>
                                        </p:tav>
                                        <p:tav tm="100000">
                                          <p:val>
                                            <p:strVal val="#ppt_y"/>
                                          </p:val>
                                        </p:tav>
                                      </p:tavLst>
                                    </p:anim>
                                  </p:childTnLst>
                                </p:cTn>
                              </p:par>
                              <p:par>
                                <p:cTn id="377" presetID="2" presetClass="entr" presetSubtype="4" accel="40000" decel="40000" fill="hold" grpId="0" nodeType="withEffect">
                                  <p:stCondLst>
                                    <p:cond delay="0"/>
                                  </p:stCondLst>
                                  <p:childTnLst>
                                    <p:set>
                                      <p:cBhvr>
                                        <p:cTn id="378" dur="1" fill="hold">
                                          <p:stCondLst>
                                            <p:cond delay="0"/>
                                          </p:stCondLst>
                                        </p:cTn>
                                        <p:tgtEl>
                                          <p:spTgt spid="116"/>
                                        </p:tgtEl>
                                        <p:attrNameLst>
                                          <p:attrName>style.visibility</p:attrName>
                                        </p:attrNameLst>
                                      </p:cBhvr>
                                      <p:to>
                                        <p:strVal val="visible"/>
                                      </p:to>
                                    </p:set>
                                    <p:anim calcmode="lin" valueType="num">
                                      <p:cBhvr additive="base">
                                        <p:cTn id="379" dur="1000" fill="hold"/>
                                        <p:tgtEl>
                                          <p:spTgt spid="116"/>
                                        </p:tgtEl>
                                        <p:attrNameLst>
                                          <p:attrName>ppt_x</p:attrName>
                                        </p:attrNameLst>
                                      </p:cBhvr>
                                      <p:tavLst>
                                        <p:tav tm="0">
                                          <p:val>
                                            <p:strVal val="#ppt_x"/>
                                          </p:val>
                                        </p:tav>
                                        <p:tav tm="100000">
                                          <p:val>
                                            <p:strVal val="#ppt_x"/>
                                          </p:val>
                                        </p:tav>
                                      </p:tavLst>
                                    </p:anim>
                                    <p:anim calcmode="lin" valueType="num">
                                      <p:cBhvr additive="base">
                                        <p:cTn id="380" dur="1000" fill="hold"/>
                                        <p:tgtEl>
                                          <p:spTgt spid="116"/>
                                        </p:tgtEl>
                                        <p:attrNameLst>
                                          <p:attrName>ppt_y</p:attrName>
                                        </p:attrNameLst>
                                      </p:cBhvr>
                                      <p:tavLst>
                                        <p:tav tm="0">
                                          <p:val>
                                            <p:strVal val="1+#ppt_h/2"/>
                                          </p:val>
                                        </p:tav>
                                        <p:tav tm="100000">
                                          <p:val>
                                            <p:strVal val="#ppt_y"/>
                                          </p:val>
                                        </p:tav>
                                      </p:tavLst>
                                    </p:anim>
                                  </p:childTnLst>
                                </p:cTn>
                              </p:par>
                              <p:par>
                                <p:cTn id="381" presetID="2" presetClass="entr" presetSubtype="4" accel="40000" decel="40000" fill="hold" nodeType="withEffect">
                                  <p:stCondLst>
                                    <p:cond delay="0"/>
                                  </p:stCondLst>
                                  <p:childTnLst>
                                    <p:set>
                                      <p:cBhvr>
                                        <p:cTn id="382" dur="1" fill="hold">
                                          <p:stCondLst>
                                            <p:cond delay="0"/>
                                          </p:stCondLst>
                                        </p:cTn>
                                        <p:tgtEl>
                                          <p:spTgt spid="117"/>
                                        </p:tgtEl>
                                        <p:attrNameLst>
                                          <p:attrName>style.visibility</p:attrName>
                                        </p:attrNameLst>
                                      </p:cBhvr>
                                      <p:to>
                                        <p:strVal val="visible"/>
                                      </p:to>
                                    </p:set>
                                    <p:anim calcmode="lin" valueType="num">
                                      <p:cBhvr additive="base">
                                        <p:cTn id="383" dur="1000" fill="hold"/>
                                        <p:tgtEl>
                                          <p:spTgt spid="117"/>
                                        </p:tgtEl>
                                        <p:attrNameLst>
                                          <p:attrName>ppt_x</p:attrName>
                                        </p:attrNameLst>
                                      </p:cBhvr>
                                      <p:tavLst>
                                        <p:tav tm="0">
                                          <p:val>
                                            <p:strVal val="#ppt_x"/>
                                          </p:val>
                                        </p:tav>
                                        <p:tav tm="100000">
                                          <p:val>
                                            <p:strVal val="#ppt_x"/>
                                          </p:val>
                                        </p:tav>
                                      </p:tavLst>
                                    </p:anim>
                                    <p:anim calcmode="lin" valueType="num">
                                      <p:cBhvr additive="base">
                                        <p:cTn id="384" dur="1000" fill="hold"/>
                                        <p:tgtEl>
                                          <p:spTgt spid="117"/>
                                        </p:tgtEl>
                                        <p:attrNameLst>
                                          <p:attrName>ppt_y</p:attrName>
                                        </p:attrNameLst>
                                      </p:cBhvr>
                                      <p:tavLst>
                                        <p:tav tm="0">
                                          <p:val>
                                            <p:strVal val="1+#ppt_h/2"/>
                                          </p:val>
                                        </p:tav>
                                        <p:tav tm="100000">
                                          <p:val>
                                            <p:strVal val="#ppt_y"/>
                                          </p:val>
                                        </p:tav>
                                      </p:tavLst>
                                    </p:anim>
                                  </p:childTnLst>
                                </p:cTn>
                              </p:par>
                              <p:par>
                                <p:cTn id="385" presetID="2" presetClass="entr" presetSubtype="4" accel="40000" decel="40000" fill="hold" grpId="0" nodeType="withEffect">
                                  <p:stCondLst>
                                    <p:cond delay="0"/>
                                  </p:stCondLst>
                                  <p:childTnLst>
                                    <p:set>
                                      <p:cBhvr>
                                        <p:cTn id="386" dur="1" fill="hold">
                                          <p:stCondLst>
                                            <p:cond delay="0"/>
                                          </p:stCondLst>
                                        </p:cTn>
                                        <p:tgtEl>
                                          <p:spTgt spid="122"/>
                                        </p:tgtEl>
                                        <p:attrNameLst>
                                          <p:attrName>style.visibility</p:attrName>
                                        </p:attrNameLst>
                                      </p:cBhvr>
                                      <p:to>
                                        <p:strVal val="visible"/>
                                      </p:to>
                                    </p:set>
                                    <p:anim calcmode="lin" valueType="num">
                                      <p:cBhvr additive="base">
                                        <p:cTn id="387" dur="1000" fill="hold"/>
                                        <p:tgtEl>
                                          <p:spTgt spid="122"/>
                                        </p:tgtEl>
                                        <p:attrNameLst>
                                          <p:attrName>ppt_x</p:attrName>
                                        </p:attrNameLst>
                                      </p:cBhvr>
                                      <p:tavLst>
                                        <p:tav tm="0">
                                          <p:val>
                                            <p:strVal val="#ppt_x"/>
                                          </p:val>
                                        </p:tav>
                                        <p:tav tm="100000">
                                          <p:val>
                                            <p:strVal val="#ppt_x"/>
                                          </p:val>
                                        </p:tav>
                                      </p:tavLst>
                                    </p:anim>
                                    <p:anim calcmode="lin" valueType="num">
                                      <p:cBhvr additive="base">
                                        <p:cTn id="388" dur="1000" fill="hold"/>
                                        <p:tgtEl>
                                          <p:spTgt spid="122"/>
                                        </p:tgtEl>
                                        <p:attrNameLst>
                                          <p:attrName>ppt_y</p:attrName>
                                        </p:attrNameLst>
                                      </p:cBhvr>
                                      <p:tavLst>
                                        <p:tav tm="0">
                                          <p:val>
                                            <p:strVal val="1+#ppt_h/2"/>
                                          </p:val>
                                        </p:tav>
                                        <p:tav tm="100000">
                                          <p:val>
                                            <p:strVal val="#ppt_y"/>
                                          </p:val>
                                        </p:tav>
                                      </p:tavLst>
                                    </p:anim>
                                  </p:childTnLst>
                                </p:cTn>
                              </p:par>
                              <p:par>
                                <p:cTn id="389" presetID="2" presetClass="entr" presetSubtype="4" accel="40000" decel="40000" fill="hold" grpId="0" nodeType="withEffect">
                                  <p:stCondLst>
                                    <p:cond delay="0"/>
                                  </p:stCondLst>
                                  <p:childTnLst>
                                    <p:set>
                                      <p:cBhvr>
                                        <p:cTn id="390" dur="1" fill="hold">
                                          <p:stCondLst>
                                            <p:cond delay="0"/>
                                          </p:stCondLst>
                                        </p:cTn>
                                        <p:tgtEl>
                                          <p:spTgt spid="123"/>
                                        </p:tgtEl>
                                        <p:attrNameLst>
                                          <p:attrName>style.visibility</p:attrName>
                                        </p:attrNameLst>
                                      </p:cBhvr>
                                      <p:to>
                                        <p:strVal val="visible"/>
                                      </p:to>
                                    </p:set>
                                    <p:anim calcmode="lin" valueType="num">
                                      <p:cBhvr additive="base">
                                        <p:cTn id="391" dur="1000" fill="hold"/>
                                        <p:tgtEl>
                                          <p:spTgt spid="123"/>
                                        </p:tgtEl>
                                        <p:attrNameLst>
                                          <p:attrName>ppt_x</p:attrName>
                                        </p:attrNameLst>
                                      </p:cBhvr>
                                      <p:tavLst>
                                        <p:tav tm="0">
                                          <p:val>
                                            <p:strVal val="#ppt_x"/>
                                          </p:val>
                                        </p:tav>
                                        <p:tav tm="100000">
                                          <p:val>
                                            <p:strVal val="#ppt_x"/>
                                          </p:val>
                                        </p:tav>
                                      </p:tavLst>
                                    </p:anim>
                                    <p:anim calcmode="lin" valueType="num">
                                      <p:cBhvr additive="base">
                                        <p:cTn id="392" dur="1000" fill="hold"/>
                                        <p:tgtEl>
                                          <p:spTgt spid="123"/>
                                        </p:tgtEl>
                                        <p:attrNameLst>
                                          <p:attrName>ppt_y</p:attrName>
                                        </p:attrNameLst>
                                      </p:cBhvr>
                                      <p:tavLst>
                                        <p:tav tm="0">
                                          <p:val>
                                            <p:strVal val="1+#ppt_h/2"/>
                                          </p:val>
                                        </p:tav>
                                        <p:tav tm="100000">
                                          <p:val>
                                            <p:strVal val="#ppt_y"/>
                                          </p:val>
                                        </p:tav>
                                      </p:tavLst>
                                    </p:anim>
                                  </p:childTnLst>
                                </p:cTn>
                              </p:par>
                              <p:par>
                                <p:cTn id="393" presetID="2" presetClass="entr" presetSubtype="4" accel="40000" decel="40000" fill="hold" grpId="0" nodeType="withEffect">
                                  <p:stCondLst>
                                    <p:cond delay="0"/>
                                  </p:stCondLst>
                                  <p:childTnLst>
                                    <p:set>
                                      <p:cBhvr>
                                        <p:cTn id="394" dur="1" fill="hold">
                                          <p:stCondLst>
                                            <p:cond delay="0"/>
                                          </p:stCondLst>
                                        </p:cTn>
                                        <p:tgtEl>
                                          <p:spTgt spid="124"/>
                                        </p:tgtEl>
                                        <p:attrNameLst>
                                          <p:attrName>style.visibility</p:attrName>
                                        </p:attrNameLst>
                                      </p:cBhvr>
                                      <p:to>
                                        <p:strVal val="visible"/>
                                      </p:to>
                                    </p:set>
                                    <p:anim calcmode="lin" valueType="num">
                                      <p:cBhvr additive="base">
                                        <p:cTn id="395" dur="1000" fill="hold"/>
                                        <p:tgtEl>
                                          <p:spTgt spid="124"/>
                                        </p:tgtEl>
                                        <p:attrNameLst>
                                          <p:attrName>ppt_x</p:attrName>
                                        </p:attrNameLst>
                                      </p:cBhvr>
                                      <p:tavLst>
                                        <p:tav tm="0">
                                          <p:val>
                                            <p:strVal val="#ppt_x"/>
                                          </p:val>
                                        </p:tav>
                                        <p:tav tm="100000">
                                          <p:val>
                                            <p:strVal val="#ppt_x"/>
                                          </p:val>
                                        </p:tav>
                                      </p:tavLst>
                                    </p:anim>
                                    <p:anim calcmode="lin" valueType="num">
                                      <p:cBhvr additive="base">
                                        <p:cTn id="396" dur="1000" fill="hold"/>
                                        <p:tgtEl>
                                          <p:spTgt spid="124"/>
                                        </p:tgtEl>
                                        <p:attrNameLst>
                                          <p:attrName>ppt_y</p:attrName>
                                        </p:attrNameLst>
                                      </p:cBhvr>
                                      <p:tavLst>
                                        <p:tav tm="0">
                                          <p:val>
                                            <p:strVal val="1+#ppt_h/2"/>
                                          </p:val>
                                        </p:tav>
                                        <p:tav tm="100000">
                                          <p:val>
                                            <p:strVal val="#ppt_y"/>
                                          </p:val>
                                        </p:tav>
                                      </p:tavLst>
                                    </p:anim>
                                  </p:childTnLst>
                                </p:cTn>
                              </p:par>
                              <p:par>
                                <p:cTn id="397" presetID="2" presetClass="entr" presetSubtype="4" accel="40000" decel="40000" fill="hold" grpId="0" nodeType="withEffect">
                                  <p:stCondLst>
                                    <p:cond delay="0"/>
                                  </p:stCondLst>
                                  <p:childTnLst>
                                    <p:set>
                                      <p:cBhvr>
                                        <p:cTn id="398" dur="1" fill="hold">
                                          <p:stCondLst>
                                            <p:cond delay="0"/>
                                          </p:stCondLst>
                                        </p:cTn>
                                        <p:tgtEl>
                                          <p:spTgt spid="125"/>
                                        </p:tgtEl>
                                        <p:attrNameLst>
                                          <p:attrName>style.visibility</p:attrName>
                                        </p:attrNameLst>
                                      </p:cBhvr>
                                      <p:to>
                                        <p:strVal val="visible"/>
                                      </p:to>
                                    </p:set>
                                    <p:anim calcmode="lin" valueType="num">
                                      <p:cBhvr additive="base">
                                        <p:cTn id="399" dur="1000" fill="hold"/>
                                        <p:tgtEl>
                                          <p:spTgt spid="125"/>
                                        </p:tgtEl>
                                        <p:attrNameLst>
                                          <p:attrName>ppt_x</p:attrName>
                                        </p:attrNameLst>
                                      </p:cBhvr>
                                      <p:tavLst>
                                        <p:tav tm="0">
                                          <p:val>
                                            <p:strVal val="#ppt_x"/>
                                          </p:val>
                                        </p:tav>
                                        <p:tav tm="100000">
                                          <p:val>
                                            <p:strVal val="#ppt_x"/>
                                          </p:val>
                                        </p:tav>
                                      </p:tavLst>
                                    </p:anim>
                                    <p:anim calcmode="lin" valueType="num">
                                      <p:cBhvr additive="base">
                                        <p:cTn id="400" dur="1000" fill="hold"/>
                                        <p:tgtEl>
                                          <p:spTgt spid="125"/>
                                        </p:tgtEl>
                                        <p:attrNameLst>
                                          <p:attrName>ppt_y</p:attrName>
                                        </p:attrNameLst>
                                      </p:cBhvr>
                                      <p:tavLst>
                                        <p:tav tm="0">
                                          <p:val>
                                            <p:strVal val="1+#ppt_h/2"/>
                                          </p:val>
                                        </p:tav>
                                        <p:tav tm="100000">
                                          <p:val>
                                            <p:strVal val="#ppt_y"/>
                                          </p:val>
                                        </p:tav>
                                      </p:tavLst>
                                    </p:anim>
                                  </p:childTnLst>
                                </p:cTn>
                              </p:par>
                              <p:par>
                                <p:cTn id="401" presetID="2" presetClass="entr" presetSubtype="4" accel="40000" decel="40000" fill="hold" grpId="0" nodeType="withEffect">
                                  <p:stCondLst>
                                    <p:cond delay="0"/>
                                  </p:stCondLst>
                                  <p:childTnLst>
                                    <p:set>
                                      <p:cBhvr>
                                        <p:cTn id="402" dur="1" fill="hold">
                                          <p:stCondLst>
                                            <p:cond delay="0"/>
                                          </p:stCondLst>
                                        </p:cTn>
                                        <p:tgtEl>
                                          <p:spTgt spid="126"/>
                                        </p:tgtEl>
                                        <p:attrNameLst>
                                          <p:attrName>style.visibility</p:attrName>
                                        </p:attrNameLst>
                                      </p:cBhvr>
                                      <p:to>
                                        <p:strVal val="visible"/>
                                      </p:to>
                                    </p:set>
                                    <p:anim calcmode="lin" valueType="num">
                                      <p:cBhvr additive="base">
                                        <p:cTn id="403" dur="1000" fill="hold"/>
                                        <p:tgtEl>
                                          <p:spTgt spid="126"/>
                                        </p:tgtEl>
                                        <p:attrNameLst>
                                          <p:attrName>ppt_x</p:attrName>
                                        </p:attrNameLst>
                                      </p:cBhvr>
                                      <p:tavLst>
                                        <p:tav tm="0">
                                          <p:val>
                                            <p:strVal val="#ppt_x"/>
                                          </p:val>
                                        </p:tav>
                                        <p:tav tm="100000">
                                          <p:val>
                                            <p:strVal val="#ppt_x"/>
                                          </p:val>
                                        </p:tav>
                                      </p:tavLst>
                                    </p:anim>
                                    <p:anim calcmode="lin" valueType="num">
                                      <p:cBhvr additive="base">
                                        <p:cTn id="404" dur="1000" fill="hold"/>
                                        <p:tgtEl>
                                          <p:spTgt spid="126"/>
                                        </p:tgtEl>
                                        <p:attrNameLst>
                                          <p:attrName>ppt_y</p:attrName>
                                        </p:attrNameLst>
                                      </p:cBhvr>
                                      <p:tavLst>
                                        <p:tav tm="0">
                                          <p:val>
                                            <p:strVal val="1+#ppt_h/2"/>
                                          </p:val>
                                        </p:tav>
                                        <p:tav tm="100000">
                                          <p:val>
                                            <p:strVal val="#ppt_y"/>
                                          </p:val>
                                        </p:tav>
                                      </p:tavLst>
                                    </p:anim>
                                  </p:childTnLst>
                                </p:cTn>
                              </p:par>
                              <p:par>
                                <p:cTn id="405" presetID="2" presetClass="entr" presetSubtype="4" accel="40000" decel="40000" fill="hold" grpId="0" nodeType="withEffect">
                                  <p:stCondLst>
                                    <p:cond delay="0"/>
                                  </p:stCondLst>
                                  <p:childTnLst>
                                    <p:set>
                                      <p:cBhvr>
                                        <p:cTn id="406" dur="1" fill="hold">
                                          <p:stCondLst>
                                            <p:cond delay="0"/>
                                          </p:stCondLst>
                                        </p:cTn>
                                        <p:tgtEl>
                                          <p:spTgt spid="127"/>
                                        </p:tgtEl>
                                        <p:attrNameLst>
                                          <p:attrName>style.visibility</p:attrName>
                                        </p:attrNameLst>
                                      </p:cBhvr>
                                      <p:to>
                                        <p:strVal val="visible"/>
                                      </p:to>
                                    </p:set>
                                    <p:anim calcmode="lin" valueType="num">
                                      <p:cBhvr additive="base">
                                        <p:cTn id="407" dur="1000" fill="hold"/>
                                        <p:tgtEl>
                                          <p:spTgt spid="127"/>
                                        </p:tgtEl>
                                        <p:attrNameLst>
                                          <p:attrName>ppt_x</p:attrName>
                                        </p:attrNameLst>
                                      </p:cBhvr>
                                      <p:tavLst>
                                        <p:tav tm="0">
                                          <p:val>
                                            <p:strVal val="#ppt_x"/>
                                          </p:val>
                                        </p:tav>
                                        <p:tav tm="100000">
                                          <p:val>
                                            <p:strVal val="#ppt_x"/>
                                          </p:val>
                                        </p:tav>
                                      </p:tavLst>
                                    </p:anim>
                                    <p:anim calcmode="lin" valueType="num">
                                      <p:cBhvr additive="base">
                                        <p:cTn id="408" dur="1000" fill="hold"/>
                                        <p:tgtEl>
                                          <p:spTgt spid="127"/>
                                        </p:tgtEl>
                                        <p:attrNameLst>
                                          <p:attrName>ppt_y</p:attrName>
                                        </p:attrNameLst>
                                      </p:cBhvr>
                                      <p:tavLst>
                                        <p:tav tm="0">
                                          <p:val>
                                            <p:strVal val="1+#ppt_h/2"/>
                                          </p:val>
                                        </p:tav>
                                        <p:tav tm="100000">
                                          <p:val>
                                            <p:strVal val="#ppt_y"/>
                                          </p:val>
                                        </p:tav>
                                      </p:tavLst>
                                    </p:anim>
                                  </p:childTnLst>
                                </p:cTn>
                              </p:par>
                              <p:par>
                                <p:cTn id="409" presetID="2" presetClass="entr" presetSubtype="4" accel="40000" decel="40000" fill="hold" grpId="0" nodeType="withEffect">
                                  <p:stCondLst>
                                    <p:cond delay="0"/>
                                  </p:stCondLst>
                                  <p:childTnLst>
                                    <p:set>
                                      <p:cBhvr>
                                        <p:cTn id="410" dur="1" fill="hold">
                                          <p:stCondLst>
                                            <p:cond delay="0"/>
                                          </p:stCondLst>
                                        </p:cTn>
                                        <p:tgtEl>
                                          <p:spTgt spid="128"/>
                                        </p:tgtEl>
                                        <p:attrNameLst>
                                          <p:attrName>style.visibility</p:attrName>
                                        </p:attrNameLst>
                                      </p:cBhvr>
                                      <p:to>
                                        <p:strVal val="visible"/>
                                      </p:to>
                                    </p:set>
                                    <p:anim calcmode="lin" valueType="num">
                                      <p:cBhvr additive="base">
                                        <p:cTn id="411" dur="1000" fill="hold"/>
                                        <p:tgtEl>
                                          <p:spTgt spid="128"/>
                                        </p:tgtEl>
                                        <p:attrNameLst>
                                          <p:attrName>ppt_x</p:attrName>
                                        </p:attrNameLst>
                                      </p:cBhvr>
                                      <p:tavLst>
                                        <p:tav tm="0">
                                          <p:val>
                                            <p:strVal val="#ppt_x"/>
                                          </p:val>
                                        </p:tav>
                                        <p:tav tm="100000">
                                          <p:val>
                                            <p:strVal val="#ppt_x"/>
                                          </p:val>
                                        </p:tav>
                                      </p:tavLst>
                                    </p:anim>
                                    <p:anim calcmode="lin" valueType="num">
                                      <p:cBhvr additive="base">
                                        <p:cTn id="412" dur="1000" fill="hold"/>
                                        <p:tgtEl>
                                          <p:spTgt spid="128"/>
                                        </p:tgtEl>
                                        <p:attrNameLst>
                                          <p:attrName>ppt_y</p:attrName>
                                        </p:attrNameLst>
                                      </p:cBhvr>
                                      <p:tavLst>
                                        <p:tav tm="0">
                                          <p:val>
                                            <p:strVal val="1+#ppt_h/2"/>
                                          </p:val>
                                        </p:tav>
                                        <p:tav tm="100000">
                                          <p:val>
                                            <p:strVal val="#ppt_y"/>
                                          </p:val>
                                        </p:tav>
                                      </p:tavLst>
                                    </p:anim>
                                  </p:childTnLst>
                                </p:cTn>
                              </p:par>
                              <p:par>
                                <p:cTn id="413" presetID="2" presetClass="entr" presetSubtype="4" accel="40000" decel="40000" fill="hold" grpId="0" nodeType="withEffect">
                                  <p:stCondLst>
                                    <p:cond delay="0"/>
                                  </p:stCondLst>
                                  <p:childTnLst>
                                    <p:set>
                                      <p:cBhvr>
                                        <p:cTn id="414" dur="1" fill="hold">
                                          <p:stCondLst>
                                            <p:cond delay="0"/>
                                          </p:stCondLst>
                                        </p:cTn>
                                        <p:tgtEl>
                                          <p:spTgt spid="129"/>
                                        </p:tgtEl>
                                        <p:attrNameLst>
                                          <p:attrName>style.visibility</p:attrName>
                                        </p:attrNameLst>
                                      </p:cBhvr>
                                      <p:to>
                                        <p:strVal val="visible"/>
                                      </p:to>
                                    </p:set>
                                    <p:anim calcmode="lin" valueType="num">
                                      <p:cBhvr additive="base">
                                        <p:cTn id="415" dur="1000" fill="hold"/>
                                        <p:tgtEl>
                                          <p:spTgt spid="129"/>
                                        </p:tgtEl>
                                        <p:attrNameLst>
                                          <p:attrName>ppt_x</p:attrName>
                                        </p:attrNameLst>
                                      </p:cBhvr>
                                      <p:tavLst>
                                        <p:tav tm="0">
                                          <p:val>
                                            <p:strVal val="#ppt_x"/>
                                          </p:val>
                                        </p:tav>
                                        <p:tav tm="100000">
                                          <p:val>
                                            <p:strVal val="#ppt_x"/>
                                          </p:val>
                                        </p:tav>
                                      </p:tavLst>
                                    </p:anim>
                                    <p:anim calcmode="lin" valueType="num">
                                      <p:cBhvr additive="base">
                                        <p:cTn id="416" dur="1000" fill="hold"/>
                                        <p:tgtEl>
                                          <p:spTgt spid="129"/>
                                        </p:tgtEl>
                                        <p:attrNameLst>
                                          <p:attrName>ppt_y</p:attrName>
                                        </p:attrNameLst>
                                      </p:cBhvr>
                                      <p:tavLst>
                                        <p:tav tm="0">
                                          <p:val>
                                            <p:strVal val="1+#ppt_h/2"/>
                                          </p:val>
                                        </p:tav>
                                        <p:tav tm="100000">
                                          <p:val>
                                            <p:strVal val="#ppt_y"/>
                                          </p:val>
                                        </p:tav>
                                      </p:tavLst>
                                    </p:anim>
                                  </p:childTnLst>
                                </p:cTn>
                              </p:par>
                              <p:par>
                                <p:cTn id="417" presetID="2" presetClass="entr" presetSubtype="4" accel="40000" decel="40000" fill="hold" grpId="0" nodeType="withEffect">
                                  <p:stCondLst>
                                    <p:cond delay="0"/>
                                  </p:stCondLst>
                                  <p:childTnLst>
                                    <p:set>
                                      <p:cBhvr>
                                        <p:cTn id="418" dur="1" fill="hold">
                                          <p:stCondLst>
                                            <p:cond delay="0"/>
                                          </p:stCondLst>
                                        </p:cTn>
                                        <p:tgtEl>
                                          <p:spTgt spid="133"/>
                                        </p:tgtEl>
                                        <p:attrNameLst>
                                          <p:attrName>style.visibility</p:attrName>
                                        </p:attrNameLst>
                                      </p:cBhvr>
                                      <p:to>
                                        <p:strVal val="visible"/>
                                      </p:to>
                                    </p:set>
                                    <p:anim calcmode="lin" valueType="num">
                                      <p:cBhvr additive="base">
                                        <p:cTn id="419" dur="1000" fill="hold"/>
                                        <p:tgtEl>
                                          <p:spTgt spid="133"/>
                                        </p:tgtEl>
                                        <p:attrNameLst>
                                          <p:attrName>ppt_x</p:attrName>
                                        </p:attrNameLst>
                                      </p:cBhvr>
                                      <p:tavLst>
                                        <p:tav tm="0">
                                          <p:val>
                                            <p:strVal val="#ppt_x"/>
                                          </p:val>
                                        </p:tav>
                                        <p:tav tm="100000">
                                          <p:val>
                                            <p:strVal val="#ppt_x"/>
                                          </p:val>
                                        </p:tav>
                                      </p:tavLst>
                                    </p:anim>
                                    <p:anim calcmode="lin" valueType="num">
                                      <p:cBhvr additive="base">
                                        <p:cTn id="420" dur="1000" fill="hold"/>
                                        <p:tgtEl>
                                          <p:spTgt spid="133"/>
                                        </p:tgtEl>
                                        <p:attrNameLst>
                                          <p:attrName>ppt_y</p:attrName>
                                        </p:attrNameLst>
                                      </p:cBhvr>
                                      <p:tavLst>
                                        <p:tav tm="0">
                                          <p:val>
                                            <p:strVal val="1+#ppt_h/2"/>
                                          </p:val>
                                        </p:tav>
                                        <p:tav tm="100000">
                                          <p:val>
                                            <p:strVal val="#ppt_y"/>
                                          </p:val>
                                        </p:tav>
                                      </p:tavLst>
                                    </p:anim>
                                  </p:childTnLst>
                                </p:cTn>
                              </p:par>
                              <p:par>
                                <p:cTn id="421" presetID="2" presetClass="entr" presetSubtype="4" accel="40000" decel="40000" fill="hold" grpId="0" nodeType="withEffect">
                                  <p:stCondLst>
                                    <p:cond delay="0"/>
                                  </p:stCondLst>
                                  <p:childTnLst>
                                    <p:set>
                                      <p:cBhvr>
                                        <p:cTn id="422" dur="1" fill="hold">
                                          <p:stCondLst>
                                            <p:cond delay="0"/>
                                          </p:stCondLst>
                                        </p:cTn>
                                        <p:tgtEl>
                                          <p:spTgt spid="134"/>
                                        </p:tgtEl>
                                        <p:attrNameLst>
                                          <p:attrName>style.visibility</p:attrName>
                                        </p:attrNameLst>
                                      </p:cBhvr>
                                      <p:to>
                                        <p:strVal val="visible"/>
                                      </p:to>
                                    </p:set>
                                    <p:anim calcmode="lin" valueType="num">
                                      <p:cBhvr additive="base">
                                        <p:cTn id="423" dur="1000" fill="hold"/>
                                        <p:tgtEl>
                                          <p:spTgt spid="134"/>
                                        </p:tgtEl>
                                        <p:attrNameLst>
                                          <p:attrName>ppt_x</p:attrName>
                                        </p:attrNameLst>
                                      </p:cBhvr>
                                      <p:tavLst>
                                        <p:tav tm="0">
                                          <p:val>
                                            <p:strVal val="#ppt_x"/>
                                          </p:val>
                                        </p:tav>
                                        <p:tav tm="100000">
                                          <p:val>
                                            <p:strVal val="#ppt_x"/>
                                          </p:val>
                                        </p:tav>
                                      </p:tavLst>
                                    </p:anim>
                                    <p:anim calcmode="lin" valueType="num">
                                      <p:cBhvr additive="base">
                                        <p:cTn id="424" dur="1000" fill="hold"/>
                                        <p:tgtEl>
                                          <p:spTgt spid="134"/>
                                        </p:tgtEl>
                                        <p:attrNameLst>
                                          <p:attrName>ppt_y</p:attrName>
                                        </p:attrNameLst>
                                      </p:cBhvr>
                                      <p:tavLst>
                                        <p:tav tm="0">
                                          <p:val>
                                            <p:strVal val="1+#ppt_h/2"/>
                                          </p:val>
                                        </p:tav>
                                        <p:tav tm="100000">
                                          <p:val>
                                            <p:strVal val="#ppt_y"/>
                                          </p:val>
                                        </p:tav>
                                      </p:tavLst>
                                    </p:anim>
                                  </p:childTnLst>
                                </p:cTn>
                              </p:par>
                              <p:par>
                                <p:cTn id="425" presetID="2" presetClass="entr" presetSubtype="4" accel="40000" decel="40000" fill="hold" grpId="0" nodeType="withEffect">
                                  <p:stCondLst>
                                    <p:cond delay="0"/>
                                  </p:stCondLst>
                                  <p:childTnLst>
                                    <p:set>
                                      <p:cBhvr>
                                        <p:cTn id="426" dur="1" fill="hold">
                                          <p:stCondLst>
                                            <p:cond delay="0"/>
                                          </p:stCondLst>
                                        </p:cTn>
                                        <p:tgtEl>
                                          <p:spTgt spid="135"/>
                                        </p:tgtEl>
                                        <p:attrNameLst>
                                          <p:attrName>style.visibility</p:attrName>
                                        </p:attrNameLst>
                                      </p:cBhvr>
                                      <p:to>
                                        <p:strVal val="visible"/>
                                      </p:to>
                                    </p:set>
                                    <p:anim calcmode="lin" valueType="num">
                                      <p:cBhvr additive="base">
                                        <p:cTn id="427" dur="1000" fill="hold"/>
                                        <p:tgtEl>
                                          <p:spTgt spid="135"/>
                                        </p:tgtEl>
                                        <p:attrNameLst>
                                          <p:attrName>ppt_x</p:attrName>
                                        </p:attrNameLst>
                                      </p:cBhvr>
                                      <p:tavLst>
                                        <p:tav tm="0">
                                          <p:val>
                                            <p:strVal val="#ppt_x"/>
                                          </p:val>
                                        </p:tav>
                                        <p:tav tm="100000">
                                          <p:val>
                                            <p:strVal val="#ppt_x"/>
                                          </p:val>
                                        </p:tav>
                                      </p:tavLst>
                                    </p:anim>
                                    <p:anim calcmode="lin" valueType="num">
                                      <p:cBhvr additive="base">
                                        <p:cTn id="428" dur="1000" fill="hold"/>
                                        <p:tgtEl>
                                          <p:spTgt spid="135"/>
                                        </p:tgtEl>
                                        <p:attrNameLst>
                                          <p:attrName>ppt_y</p:attrName>
                                        </p:attrNameLst>
                                      </p:cBhvr>
                                      <p:tavLst>
                                        <p:tav tm="0">
                                          <p:val>
                                            <p:strVal val="1+#ppt_h/2"/>
                                          </p:val>
                                        </p:tav>
                                        <p:tav tm="100000">
                                          <p:val>
                                            <p:strVal val="#ppt_y"/>
                                          </p:val>
                                        </p:tav>
                                      </p:tavLst>
                                    </p:anim>
                                  </p:childTnLst>
                                </p:cTn>
                              </p:par>
                              <p:par>
                                <p:cTn id="429" presetID="2" presetClass="entr" presetSubtype="4" accel="40000" decel="40000" fill="hold" grpId="0" nodeType="withEffect">
                                  <p:stCondLst>
                                    <p:cond delay="0"/>
                                  </p:stCondLst>
                                  <p:childTnLst>
                                    <p:set>
                                      <p:cBhvr>
                                        <p:cTn id="430" dur="1" fill="hold">
                                          <p:stCondLst>
                                            <p:cond delay="0"/>
                                          </p:stCondLst>
                                        </p:cTn>
                                        <p:tgtEl>
                                          <p:spTgt spid="136"/>
                                        </p:tgtEl>
                                        <p:attrNameLst>
                                          <p:attrName>style.visibility</p:attrName>
                                        </p:attrNameLst>
                                      </p:cBhvr>
                                      <p:to>
                                        <p:strVal val="visible"/>
                                      </p:to>
                                    </p:set>
                                    <p:anim calcmode="lin" valueType="num">
                                      <p:cBhvr additive="base">
                                        <p:cTn id="431" dur="1000" fill="hold"/>
                                        <p:tgtEl>
                                          <p:spTgt spid="136"/>
                                        </p:tgtEl>
                                        <p:attrNameLst>
                                          <p:attrName>ppt_x</p:attrName>
                                        </p:attrNameLst>
                                      </p:cBhvr>
                                      <p:tavLst>
                                        <p:tav tm="0">
                                          <p:val>
                                            <p:strVal val="#ppt_x"/>
                                          </p:val>
                                        </p:tav>
                                        <p:tav tm="100000">
                                          <p:val>
                                            <p:strVal val="#ppt_x"/>
                                          </p:val>
                                        </p:tav>
                                      </p:tavLst>
                                    </p:anim>
                                    <p:anim calcmode="lin" valueType="num">
                                      <p:cBhvr additive="base">
                                        <p:cTn id="432" dur="1000" fill="hold"/>
                                        <p:tgtEl>
                                          <p:spTgt spid="136"/>
                                        </p:tgtEl>
                                        <p:attrNameLst>
                                          <p:attrName>ppt_y</p:attrName>
                                        </p:attrNameLst>
                                      </p:cBhvr>
                                      <p:tavLst>
                                        <p:tav tm="0">
                                          <p:val>
                                            <p:strVal val="1+#ppt_h/2"/>
                                          </p:val>
                                        </p:tav>
                                        <p:tav tm="100000">
                                          <p:val>
                                            <p:strVal val="#ppt_y"/>
                                          </p:val>
                                        </p:tav>
                                      </p:tavLst>
                                    </p:anim>
                                  </p:childTnLst>
                                </p:cTn>
                              </p:par>
                              <p:par>
                                <p:cTn id="433" presetID="2" presetClass="entr" presetSubtype="4" accel="40000" decel="40000" fill="hold" grpId="0" nodeType="withEffect">
                                  <p:stCondLst>
                                    <p:cond delay="0"/>
                                  </p:stCondLst>
                                  <p:childTnLst>
                                    <p:set>
                                      <p:cBhvr>
                                        <p:cTn id="434" dur="1" fill="hold">
                                          <p:stCondLst>
                                            <p:cond delay="0"/>
                                          </p:stCondLst>
                                        </p:cTn>
                                        <p:tgtEl>
                                          <p:spTgt spid="137"/>
                                        </p:tgtEl>
                                        <p:attrNameLst>
                                          <p:attrName>style.visibility</p:attrName>
                                        </p:attrNameLst>
                                      </p:cBhvr>
                                      <p:to>
                                        <p:strVal val="visible"/>
                                      </p:to>
                                    </p:set>
                                    <p:anim calcmode="lin" valueType="num">
                                      <p:cBhvr additive="base">
                                        <p:cTn id="435" dur="1000" fill="hold"/>
                                        <p:tgtEl>
                                          <p:spTgt spid="137"/>
                                        </p:tgtEl>
                                        <p:attrNameLst>
                                          <p:attrName>ppt_x</p:attrName>
                                        </p:attrNameLst>
                                      </p:cBhvr>
                                      <p:tavLst>
                                        <p:tav tm="0">
                                          <p:val>
                                            <p:strVal val="#ppt_x"/>
                                          </p:val>
                                        </p:tav>
                                        <p:tav tm="100000">
                                          <p:val>
                                            <p:strVal val="#ppt_x"/>
                                          </p:val>
                                        </p:tav>
                                      </p:tavLst>
                                    </p:anim>
                                    <p:anim calcmode="lin" valueType="num">
                                      <p:cBhvr additive="base">
                                        <p:cTn id="436" dur="1000" fill="hold"/>
                                        <p:tgtEl>
                                          <p:spTgt spid="137"/>
                                        </p:tgtEl>
                                        <p:attrNameLst>
                                          <p:attrName>ppt_y</p:attrName>
                                        </p:attrNameLst>
                                      </p:cBhvr>
                                      <p:tavLst>
                                        <p:tav tm="0">
                                          <p:val>
                                            <p:strVal val="1+#ppt_h/2"/>
                                          </p:val>
                                        </p:tav>
                                        <p:tav tm="100000">
                                          <p:val>
                                            <p:strVal val="#ppt_y"/>
                                          </p:val>
                                        </p:tav>
                                      </p:tavLst>
                                    </p:anim>
                                  </p:childTnLst>
                                </p:cTn>
                              </p:par>
                              <p:par>
                                <p:cTn id="437" presetID="2" presetClass="entr" presetSubtype="4" accel="40000" decel="40000" fill="hold" grpId="0" nodeType="withEffect">
                                  <p:stCondLst>
                                    <p:cond delay="0"/>
                                  </p:stCondLst>
                                  <p:childTnLst>
                                    <p:set>
                                      <p:cBhvr>
                                        <p:cTn id="438" dur="1" fill="hold">
                                          <p:stCondLst>
                                            <p:cond delay="0"/>
                                          </p:stCondLst>
                                        </p:cTn>
                                        <p:tgtEl>
                                          <p:spTgt spid="138"/>
                                        </p:tgtEl>
                                        <p:attrNameLst>
                                          <p:attrName>style.visibility</p:attrName>
                                        </p:attrNameLst>
                                      </p:cBhvr>
                                      <p:to>
                                        <p:strVal val="visible"/>
                                      </p:to>
                                    </p:set>
                                    <p:anim calcmode="lin" valueType="num">
                                      <p:cBhvr additive="base">
                                        <p:cTn id="439" dur="1000" fill="hold"/>
                                        <p:tgtEl>
                                          <p:spTgt spid="138"/>
                                        </p:tgtEl>
                                        <p:attrNameLst>
                                          <p:attrName>ppt_x</p:attrName>
                                        </p:attrNameLst>
                                      </p:cBhvr>
                                      <p:tavLst>
                                        <p:tav tm="0">
                                          <p:val>
                                            <p:strVal val="#ppt_x"/>
                                          </p:val>
                                        </p:tav>
                                        <p:tav tm="100000">
                                          <p:val>
                                            <p:strVal val="#ppt_x"/>
                                          </p:val>
                                        </p:tav>
                                      </p:tavLst>
                                    </p:anim>
                                    <p:anim calcmode="lin" valueType="num">
                                      <p:cBhvr additive="base">
                                        <p:cTn id="440" dur="1000" fill="hold"/>
                                        <p:tgtEl>
                                          <p:spTgt spid="138"/>
                                        </p:tgtEl>
                                        <p:attrNameLst>
                                          <p:attrName>ppt_y</p:attrName>
                                        </p:attrNameLst>
                                      </p:cBhvr>
                                      <p:tavLst>
                                        <p:tav tm="0">
                                          <p:val>
                                            <p:strVal val="1+#ppt_h/2"/>
                                          </p:val>
                                        </p:tav>
                                        <p:tav tm="100000">
                                          <p:val>
                                            <p:strVal val="#ppt_y"/>
                                          </p:val>
                                        </p:tav>
                                      </p:tavLst>
                                    </p:anim>
                                  </p:childTnLst>
                                </p:cTn>
                              </p:par>
                              <p:par>
                                <p:cTn id="441" presetID="2" presetClass="entr" presetSubtype="4" accel="40000" decel="40000" fill="hold" grpId="0" nodeType="withEffect">
                                  <p:stCondLst>
                                    <p:cond delay="0"/>
                                  </p:stCondLst>
                                  <p:childTnLst>
                                    <p:set>
                                      <p:cBhvr>
                                        <p:cTn id="442" dur="1" fill="hold">
                                          <p:stCondLst>
                                            <p:cond delay="0"/>
                                          </p:stCondLst>
                                        </p:cTn>
                                        <p:tgtEl>
                                          <p:spTgt spid="139"/>
                                        </p:tgtEl>
                                        <p:attrNameLst>
                                          <p:attrName>style.visibility</p:attrName>
                                        </p:attrNameLst>
                                      </p:cBhvr>
                                      <p:to>
                                        <p:strVal val="visible"/>
                                      </p:to>
                                    </p:set>
                                    <p:anim calcmode="lin" valueType="num">
                                      <p:cBhvr additive="base">
                                        <p:cTn id="443" dur="1000" fill="hold"/>
                                        <p:tgtEl>
                                          <p:spTgt spid="139"/>
                                        </p:tgtEl>
                                        <p:attrNameLst>
                                          <p:attrName>ppt_x</p:attrName>
                                        </p:attrNameLst>
                                      </p:cBhvr>
                                      <p:tavLst>
                                        <p:tav tm="0">
                                          <p:val>
                                            <p:strVal val="#ppt_x"/>
                                          </p:val>
                                        </p:tav>
                                        <p:tav tm="100000">
                                          <p:val>
                                            <p:strVal val="#ppt_x"/>
                                          </p:val>
                                        </p:tav>
                                      </p:tavLst>
                                    </p:anim>
                                    <p:anim calcmode="lin" valueType="num">
                                      <p:cBhvr additive="base">
                                        <p:cTn id="444" dur="1000" fill="hold"/>
                                        <p:tgtEl>
                                          <p:spTgt spid="139"/>
                                        </p:tgtEl>
                                        <p:attrNameLst>
                                          <p:attrName>ppt_y</p:attrName>
                                        </p:attrNameLst>
                                      </p:cBhvr>
                                      <p:tavLst>
                                        <p:tav tm="0">
                                          <p:val>
                                            <p:strVal val="1+#ppt_h/2"/>
                                          </p:val>
                                        </p:tav>
                                        <p:tav tm="100000">
                                          <p:val>
                                            <p:strVal val="#ppt_y"/>
                                          </p:val>
                                        </p:tav>
                                      </p:tavLst>
                                    </p:anim>
                                  </p:childTnLst>
                                </p:cTn>
                              </p:par>
                              <p:par>
                                <p:cTn id="445" presetID="2" presetClass="entr" presetSubtype="4" accel="40000" decel="40000" fill="hold" grpId="0" nodeType="withEffect">
                                  <p:stCondLst>
                                    <p:cond delay="0"/>
                                  </p:stCondLst>
                                  <p:childTnLst>
                                    <p:set>
                                      <p:cBhvr>
                                        <p:cTn id="446" dur="1" fill="hold">
                                          <p:stCondLst>
                                            <p:cond delay="0"/>
                                          </p:stCondLst>
                                        </p:cTn>
                                        <p:tgtEl>
                                          <p:spTgt spid="140"/>
                                        </p:tgtEl>
                                        <p:attrNameLst>
                                          <p:attrName>style.visibility</p:attrName>
                                        </p:attrNameLst>
                                      </p:cBhvr>
                                      <p:to>
                                        <p:strVal val="visible"/>
                                      </p:to>
                                    </p:set>
                                    <p:anim calcmode="lin" valueType="num">
                                      <p:cBhvr additive="base">
                                        <p:cTn id="447" dur="1000" fill="hold"/>
                                        <p:tgtEl>
                                          <p:spTgt spid="140"/>
                                        </p:tgtEl>
                                        <p:attrNameLst>
                                          <p:attrName>ppt_x</p:attrName>
                                        </p:attrNameLst>
                                      </p:cBhvr>
                                      <p:tavLst>
                                        <p:tav tm="0">
                                          <p:val>
                                            <p:strVal val="#ppt_x"/>
                                          </p:val>
                                        </p:tav>
                                        <p:tav tm="100000">
                                          <p:val>
                                            <p:strVal val="#ppt_x"/>
                                          </p:val>
                                        </p:tav>
                                      </p:tavLst>
                                    </p:anim>
                                    <p:anim calcmode="lin" valueType="num">
                                      <p:cBhvr additive="base">
                                        <p:cTn id="448" dur="1000" fill="hold"/>
                                        <p:tgtEl>
                                          <p:spTgt spid="140"/>
                                        </p:tgtEl>
                                        <p:attrNameLst>
                                          <p:attrName>ppt_y</p:attrName>
                                        </p:attrNameLst>
                                      </p:cBhvr>
                                      <p:tavLst>
                                        <p:tav tm="0">
                                          <p:val>
                                            <p:strVal val="1+#ppt_h/2"/>
                                          </p:val>
                                        </p:tav>
                                        <p:tav tm="100000">
                                          <p:val>
                                            <p:strVal val="#ppt_y"/>
                                          </p:val>
                                        </p:tav>
                                      </p:tavLst>
                                    </p:anim>
                                  </p:childTnLst>
                                </p:cTn>
                              </p:par>
                              <p:par>
                                <p:cTn id="449" presetID="2" presetClass="entr" presetSubtype="4" accel="40000" decel="40000" fill="hold" grpId="0" nodeType="withEffect">
                                  <p:stCondLst>
                                    <p:cond delay="0"/>
                                  </p:stCondLst>
                                  <p:childTnLst>
                                    <p:set>
                                      <p:cBhvr>
                                        <p:cTn id="450" dur="1" fill="hold">
                                          <p:stCondLst>
                                            <p:cond delay="0"/>
                                          </p:stCondLst>
                                        </p:cTn>
                                        <p:tgtEl>
                                          <p:spTgt spid="141"/>
                                        </p:tgtEl>
                                        <p:attrNameLst>
                                          <p:attrName>style.visibility</p:attrName>
                                        </p:attrNameLst>
                                      </p:cBhvr>
                                      <p:to>
                                        <p:strVal val="visible"/>
                                      </p:to>
                                    </p:set>
                                    <p:anim calcmode="lin" valueType="num">
                                      <p:cBhvr additive="base">
                                        <p:cTn id="451" dur="1000" fill="hold"/>
                                        <p:tgtEl>
                                          <p:spTgt spid="141"/>
                                        </p:tgtEl>
                                        <p:attrNameLst>
                                          <p:attrName>ppt_x</p:attrName>
                                        </p:attrNameLst>
                                      </p:cBhvr>
                                      <p:tavLst>
                                        <p:tav tm="0">
                                          <p:val>
                                            <p:strVal val="#ppt_x"/>
                                          </p:val>
                                        </p:tav>
                                        <p:tav tm="100000">
                                          <p:val>
                                            <p:strVal val="#ppt_x"/>
                                          </p:val>
                                        </p:tav>
                                      </p:tavLst>
                                    </p:anim>
                                    <p:anim calcmode="lin" valueType="num">
                                      <p:cBhvr additive="base">
                                        <p:cTn id="452" dur="1000" fill="hold"/>
                                        <p:tgtEl>
                                          <p:spTgt spid="141"/>
                                        </p:tgtEl>
                                        <p:attrNameLst>
                                          <p:attrName>ppt_y</p:attrName>
                                        </p:attrNameLst>
                                      </p:cBhvr>
                                      <p:tavLst>
                                        <p:tav tm="0">
                                          <p:val>
                                            <p:strVal val="1+#ppt_h/2"/>
                                          </p:val>
                                        </p:tav>
                                        <p:tav tm="100000">
                                          <p:val>
                                            <p:strVal val="#ppt_y"/>
                                          </p:val>
                                        </p:tav>
                                      </p:tavLst>
                                    </p:anim>
                                  </p:childTnLst>
                                </p:cTn>
                              </p:par>
                              <p:par>
                                <p:cTn id="453" presetID="2" presetClass="entr" presetSubtype="4" accel="40000" decel="40000" fill="hold" grpId="0" nodeType="withEffect">
                                  <p:stCondLst>
                                    <p:cond delay="0"/>
                                  </p:stCondLst>
                                  <p:childTnLst>
                                    <p:set>
                                      <p:cBhvr>
                                        <p:cTn id="454" dur="1" fill="hold">
                                          <p:stCondLst>
                                            <p:cond delay="0"/>
                                          </p:stCondLst>
                                        </p:cTn>
                                        <p:tgtEl>
                                          <p:spTgt spid="142"/>
                                        </p:tgtEl>
                                        <p:attrNameLst>
                                          <p:attrName>style.visibility</p:attrName>
                                        </p:attrNameLst>
                                      </p:cBhvr>
                                      <p:to>
                                        <p:strVal val="visible"/>
                                      </p:to>
                                    </p:set>
                                    <p:anim calcmode="lin" valueType="num">
                                      <p:cBhvr additive="base">
                                        <p:cTn id="455" dur="1000" fill="hold"/>
                                        <p:tgtEl>
                                          <p:spTgt spid="142"/>
                                        </p:tgtEl>
                                        <p:attrNameLst>
                                          <p:attrName>ppt_x</p:attrName>
                                        </p:attrNameLst>
                                      </p:cBhvr>
                                      <p:tavLst>
                                        <p:tav tm="0">
                                          <p:val>
                                            <p:strVal val="#ppt_x"/>
                                          </p:val>
                                        </p:tav>
                                        <p:tav tm="100000">
                                          <p:val>
                                            <p:strVal val="#ppt_x"/>
                                          </p:val>
                                        </p:tav>
                                      </p:tavLst>
                                    </p:anim>
                                    <p:anim calcmode="lin" valueType="num">
                                      <p:cBhvr additive="base">
                                        <p:cTn id="456" dur="1000" fill="hold"/>
                                        <p:tgtEl>
                                          <p:spTgt spid="142"/>
                                        </p:tgtEl>
                                        <p:attrNameLst>
                                          <p:attrName>ppt_y</p:attrName>
                                        </p:attrNameLst>
                                      </p:cBhvr>
                                      <p:tavLst>
                                        <p:tav tm="0">
                                          <p:val>
                                            <p:strVal val="1+#ppt_h/2"/>
                                          </p:val>
                                        </p:tav>
                                        <p:tav tm="100000">
                                          <p:val>
                                            <p:strVal val="#ppt_y"/>
                                          </p:val>
                                        </p:tav>
                                      </p:tavLst>
                                    </p:anim>
                                  </p:childTnLst>
                                </p:cTn>
                              </p:par>
                              <p:par>
                                <p:cTn id="457" presetID="2" presetClass="entr" presetSubtype="4" accel="40000" decel="40000" fill="hold" grpId="0" nodeType="withEffect">
                                  <p:stCondLst>
                                    <p:cond delay="0"/>
                                  </p:stCondLst>
                                  <p:childTnLst>
                                    <p:set>
                                      <p:cBhvr>
                                        <p:cTn id="458" dur="1" fill="hold">
                                          <p:stCondLst>
                                            <p:cond delay="0"/>
                                          </p:stCondLst>
                                        </p:cTn>
                                        <p:tgtEl>
                                          <p:spTgt spid="143"/>
                                        </p:tgtEl>
                                        <p:attrNameLst>
                                          <p:attrName>style.visibility</p:attrName>
                                        </p:attrNameLst>
                                      </p:cBhvr>
                                      <p:to>
                                        <p:strVal val="visible"/>
                                      </p:to>
                                    </p:set>
                                    <p:anim calcmode="lin" valueType="num">
                                      <p:cBhvr additive="base">
                                        <p:cTn id="459" dur="1000" fill="hold"/>
                                        <p:tgtEl>
                                          <p:spTgt spid="143"/>
                                        </p:tgtEl>
                                        <p:attrNameLst>
                                          <p:attrName>ppt_x</p:attrName>
                                        </p:attrNameLst>
                                      </p:cBhvr>
                                      <p:tavLst>
                                        <p:tav tm="0">
                                          <p:val>
                                            <p:strVal val="#ppt_x"/>
                                          </p:val>
                                        </p:tav>
                                        <p:tav tm="100000">
                                          <p:val>
                                            <p:strVal val="#ppt_x"/>
                                          </p:val>
                                        </p:tav>
                                      </p:tavLst>
                                    </p:anim>
                                    <p:anim calcmode="lin" valueType="num">
                                      <p:cBhvr additive="base">
                                        <p:cTn id="460" dur="1000" fill="hold"/>
                                        <p:tgtEl>
                                          <p:spTgt spid="143"/>
                                        </p:tgtEl>
                                        <p:attrNameLst>
                                          <p:attrName>ppt_y</p:attrName>
                                        </p:attrNameLst>
                                      </p:cBhvr>
                                      <p:tavLst>
                                        <p:tav tm="0">
                                          <p:val>
                                            <p:strVal val="1+#ppt_h/2"/>
                                          </p:val>
                                        </p:tav>
                                        <p:tav tm="100000">
                                          <p:val>
                                            <p:strVal val="#ppt_y"/>
                                          </p:val>
                                        </p:tav>
                                      </p:tavLst>
                                    </p:anim>
                                  </p:childTnLst>
                                </p:cTn>
                              </p:par>
                              <p:par>
                                <p:cTn id="461" presetID="2" presetClass="entr" presetSubtype="4" accel="40000" decel="40000" fill="hold" grpId="0" nodeType="withEffect">
                                  <p:stCondLst>
                                    <p:cond delay="0"/>
                                  </p:stCondLst>
                                  <p:childTnLst>
                                    <p:set>
                                      <p:cBhvr>
                                        <p:cTn id="462" dur="1" fill="hold">
                                          <p:stCondLst>
                                            <p:cond delay="0"/>
                                          </p:stCondLst>
                                        </p:cTn>
                                        <p:tgtEl>
                                          <p:spTgt spid="144"/>
                                        </p:tgtEl>
                                        <p:attrNameLst>
                                          <p:attrName>style.visibility</p:attrName>
                                        </p:attrNameLst>
                                      </p:cBhvr>
                                      <p:to>
                                        <p:strVal val="visible"/>
                                      </p:to>
                                    </p:set>
                                    <p:anim calcmode="lin" valueType="num">
                                      <p:cBhvr additive="base">
                                        <p:cTn id="463" dur="1000" fill="hold"/>
                                        <p:tgtEl>
                                          <p:spTgt spid="144"/>
                                        </p:tgtEl>
                                        <p:attrNameLst>
                                          <p:attrName>ppt_x</p:attrName>
                                        </p:attrNameLst>
                                      </p:cBhvr>
                                      <p:tavLst>
                                        <p:tav tm="0">
                                          <p:val>
                                            <p:strVal val="#ppt_x"/>
                                          </p:val>
                                        </p:tav>
                                        <p:tav tm="100000">
                                          <p:val>
                                            <p:strVal val="#ppt_x"/>
                                          </p:val>
                                        </p:tav>
                                      </p:tavLst>
                                    </p:anim>
                                    <p:anim calcmode="lin" valueType="num">
                                      <p:cBhvr additive="base">
                                        <p:cTn id="464" dur="1000" fill="hold"/>
                                        <p:tgtEl>
                                          <p:spTgt spid="144"/>
                                        </p:tgtEl>
                                        <p:attrNameLst>
                                          <p:attrName>ppt_y</p:attrName>
                                        </p:attrNameLst>
                                      </p:cBhvr>
                                      <p:tavLst>
                                        <p:tav tm="0">
                                          <p:val>
                                            <p:strVal val="1+#ppt_h/2"/>
                                          </p:val>
                                        </p:tav>
                                        <p:tav tm="100000">
                                          <p:val>
                                            <p:strVal val="#ppt_y"/>
                                          </p:val>
                                        </p:tav>
                                      </p:tavLst>
                                    </p:anim>
                                  </p:childTnLst>
                                </p:cTn>
                              </p:par>
                              <p:par>
                                <p:cTn id="465" presetID="2" presetClass="entr" presetSubtype="4" accel="40000" decel="40000" fill="hold" grpId="0" nodeType="withEffect">
                                  <p:stCondLst>
                                    <p:cond delay="0"/>
                                  </p:stCondLst>
                                  <p:childTnLst>
                                    <p:set>
                                      <p:cBhvr>
                                        <p:cTn id="466" dur="1" fill="hold">
                                          <p:stCondLst>
                                            <p:cond delay="0"/>
                                          </p:stCondLst>
                                        </p:cTn>
                                        <p:tgtEl>
                                          <p:spTgt spid="145"/>
                                        </p:tgtEl>
                                        <p:attrNameLst>
                                          <p:attrName>style.visibility</p:attrName>
                                        </p:attrNameLst>
                                      </p:cBhvr>
                                      <p:to>
                                        <p:strVal val="visible"/>
                                      </p:to>
                                    </p:set>
                                    <p:anim calcmode="lin" valueType="num">
                                      <p:cBhvr additive="base">
                                        <p:cTn id="467" dur="1000" fill="hold"/>
                                        <p:tgtEl>
                                          <p:spTgt spid="145"/>
                                        </p:tgtEl>
                                        <p:attrNameLst>
                                          <p:attrName>ppt_x</p:attrName>
                                        </p:attrNameLst>
                                      </p:cBhvr>
                                      <p:tavLst>
                                        <p:tav tm="0">
                                          <p:val>
                                            <p:strVal val="#ppt_x"/>
                                          </p:val>
                                        </p:tav>
                                        <p:tav tm="100000">
                                          <p:val>
                                            <p:strVal val="#ppt_x"/>
                                          </p:val>
                                        </p:tav>
                                      </p:tavLst>
                                    </p:anim>
                                    <p:anim calcmode="lin" valueType="num">
                                      <p:cBhvr additive="base">
                                        <p:cTn id="468" dur="1000" fill="hold"/>
                                        <p:tgtEl>
                                          <p:spTgt spid="145"/>
                                        </p:tgtEl>
                                        <p:attrNameLst>
                                          <p:attrName>ppt_y</p:attrName>
                                        </p:attrNameLst>
                                      </p:cBhvr>
                                      <p:tavLst>
                                        <p:tav tm="0">
                                          <p:val>
                                            <p:strVal val="1+#ppt_h/2"/>
                                          </p:val>
                                        </p:tav>
                                        <p:tav tm="100000">
                                          <p:val>
                                            <p:strVal val="#ppt_y"/>
                                          </p:val>
                                        </p:tav>
                                      </p:tavLst>
                                    </p:anim>
                                  </p:childTnLst>
                                </p:cTn>
                              </p:par>
                              <p:par>
                                <p:cTn id="469" presetID="2" presetClass="entr" presetSubtype="4" accel="40000" decel="40000" fill="hold" grpId="0" nodeType="withEffect">
                                  <p:stCondLst>
                                    <p:cond delay="0"/>
                                  </p:stCondLst>
                                  <p:childTnLst>
                                    <p:set>
                                      <p:cBhvr>
                                        <p:cTn id="470" dur="1" fill="hold">
                                          <p:stCondLst>
                                            <p:cond delay="0"/>
                                          </p:stCondLst>
                                        </p:cTn>
                                        <p:tgtEl>
                                          <p:spTgt spid="146"/>
                                        </p:tgtEl>
                                        <p:attrNameLst>
                                          <p:attrName>style.visibility</p:attrName>
                                        </p:attrNameLst>
                                      </p:cBhvr>
                                      <p:to>
                                        <p:strVal val="visible"/>
                                      </p:to>
                                    </p:set>
                                    <p:anim calcmode="lin" valueType="num">
                                      <p:cBhvr additive="base">
                                        <p:cTn id="471" dur="1000" fill="hold"/>
                                        <p:tgtEl>
                                          <p:spTgt spid="146"/>
                                        </p:tgtEl>
                                        <p:attrNameLst>
                                          <p:attrName>ppt_x</p:attrName>
                                        </p:attrNameLst>
                                      </p:cBhvr>
                                      <p:tavLst>
                                        <p:tav tm="0">
                                          <p:val>
                                            <p:strVal val="#ppt_x"/>
                                          </p:val>
                                        </p:tav>
                                        <p:tav tm="100000">
                                          <p:val>
                                            <p:strVal val="#ppt_x"/>
                                          </p:val>
                                        </p:tav>
                                      </p:tavLst>
                                    </p:anim>
                                    <p:anim calcmode="lin" valueType="num">
                                      <p:cBhvr additive="base">
                                        <p:cTn id="472" dur="1000" fill="hold"/>
                                        <p:tgtEl>
                                          <p:spTgt spid="146"/>
                                        </p:tgtEl>
                                        <p:attrNameLst>
                                          <p:attrName>ppt_y</p:attrName>
                                        </p:attrNameLst>
                                      </p:cBhvr>
                                      <p:tavLst>
                                        <p:tav tm="0">
                                          <p:val>
                                            <p:strVal val="1+#ppt_h/2"/>
                                          </p:val>
                                        </p:tav>
                                        <p:tav tm="100000">
                                          <p:val>
                                            <p:strVal val="#ppt_y"/>
                                          </p:val>
                                        </p:tav>
                                      </p:tavLst>
                                    </p:anim>
                                  </p:childTnLst>
                                </p:cTn>
                              </p:par>
                              <p:par>
                                <p:cTn id="473" presetID="2" presetClass="entr" presetSubtype="4" accel="40000" decel="40000" fill="hold" grpId="0" nodeType="withEffect">
                                  <p:stCondLst>
                                    <p:cond delay="0"/>
                                  </p:stCondLst>
                                  <p:childTnLst>
                                    <p:set>
                                      <p:cBhvr>
                                        <p:cTn id="474" dur="1" fill="hold">
                                          <p:stCondLst>
                                            <p:cond delay="0"/>
                                          </p:stCondLst>
                                        </p:cTn>
                                        <p:tgtEl>
                                          <p:spTgt spid="147"/>
                                        </p:tgtEl>
                                        <p:attrNameLst>
                                          <p:attrName>style.visibility</p:attrName>
                                        </p:attrNameLst>
                                      </p:cBhvr>
                                      <p:to>
                                        <p:strVal val="visible"/>
                                      </p:to>
                                    </p:set>
                                    <p:anim calcmode="lin" valueType="num">
                                      <p:cBhvr additive="base">
                                        <p:cTn id="475" dur="1000" fill="hold"/>
                                        <p:tgtEl>
                                          <p:spTgt spid="147"/>
                                        </p:tgtEl>
                                        <p:attrNameLst>
                                          <p:attrName>ppt_x</p:attrName>
                                        </p:attrNameLst>
                                      </p:cBhvr>
                                      <p:tavLst>
                                        <p:tav tm="0">
                                          <p:val>
                                            <p:strVal val="#ppt_x"/>
                                          </p:val>
                                        </p:tav>
                                        <p:tav tm="100000">
                                          <p:val>
                                            <p:strVal val="#ppt_x"/>
                                          </p:val>
                                        </p:tav>
                                      </p:tavLst>
                                    </p:anim>
                                    <p:anim calcmode="lin" valueType="num">
                                      <p:cBhvr additive="base">
                                        <p:cTn id="476" dur="1000" fill="hold"/>
                                        <p:tgtEl>
                                          <p:spTgt spid="147"/>
                                        </p:tgtEl>
                                        <p:attrNameLst>
                                          <p:attrName>ppt_y</p:attrName>
                                        </p:attrNameLst>
                                      </p:cBhvr>
                                      <p:tavLst>
                                        <p:tav tm="0">
                                          <p:val>
                                            <p:strVal val="1+#ppt_h/2"/>
                                          </p:val>
                                        </p:tav>
                                        <p:tav tm="100000">
                                          <p:val>
                                            <p:strVal val="#ppt_y"/>
                                          </p:val>
                                        </p:tav>
                                      </p:tavLst>
                                    </p:anim>
                                  </p:childTnLst>
                                </p:cTn>
                              </p:par>
                              <p:par>
                                <p:cTn id="477" presetID="2" presetClass="entr" presetSubtype="4" accel="40000" decel="40000" fill="hold" grpId="0" nodeType="withEffect">
                                  <p:stCondLst>
                                    <p:cond delay="0"/>
                                  </p:stCondLst>
                                  <p:childTnLst>
                                    <p:set>
                                      <p:cBhvr>
                                        <p:cTn id="478" dur="1" fill="hold">
                                          <p:stCondLst>
                                            <p:cond delay="0"/>
                                          </p:stCondLst>
                                        </p:cTn>
                                        <p:tgtEl>
                                          <p:spTgt spid="148"/>
                                        </p:tgtEl>
                                        <p:attrNameLst>
                                          <p:attrName>style.visibility</p:attrName>
                                        </p:attrNameLst>
                                      </p:cBhvr>
                                      <p:to>
                                        <p:strVal val="visible"/>
                                      </p:to>
                                    </p:set>
                                    <p:anim calcmode="lin" valueType="num">
                                      <p:cBhvr additive="base">
                                        <p:cTn id="479" dur="1000" fill="hold"/>
                                        <p:tgtEl>
                                          <p:spTgt spid="148"/>
                                        </p:tgtEl>
                                        <p:attrNameLst>
                                          <p:attrName>ppt_x</p:attrName>
                                        </p:attrNameLst>
                                      </p:cBhvr>
                                      <p:tavLst>
                                        <p:tav tm="0">
                                          <p:val>
                                            <p:strVal val="#ppt_x"/>
                                          </p:val>
                                        </p:tav>
                                        <p:tav tm="100000">
                                          <p:val>
                                            <p:strVal val="#ppt_x"/>
                                          </p:val>
                                        </p:tav>
                                      </p:tavLst>
                                    </p:anim>
                                    <p:anim calcmode="lin" valueType="num">
                                      <p:cBhvr additive="base">
                                        <p:cTn id="480" dur="1000" fill="hold"/>
                                        <p:tgtEl>
                                          <p:spTgt spid="148"/>
                                        </p:tgtEl>
                                        <p:attrNameLst>
                                          <p:attrName>ppt_y</p:attrName>
                                        </p:attrNameLst>
                                      </p:cBhvr>
                                      <p:tavLst>
                                        <p:tav tm="0">
                                          <p:val>
                                            <p:strVal val="1+#ppt_h/2"/>
                                          </p:val>
                                        </p:tav>
                                        <p:tav tm="100000">
                                          <p:val>
                                            <p:strVal val="#ppt_y"/>
                                          </p:val>
                                        </p:tav>
                                      </p:tavLst>
                                    </p:anim>
                                  </p:childTnLst>
                                </p:cTn>
                              </p:par>
                              <p:par>
                                <p:cTn id="481" presetID="2" presetClass="entr" presetSubtype="4" accel="40000" decel="40000" fill="hold" grpId="0" nodeType="withEffect">
                                  <p:stCondLst>
                                    <p:cond delay="0"/>
                                  </p:stCondLst>
                                  <p:childTnLst>
                                    <p:set>
                                      <p:cBhvr>
                                        <p:cTn id="482" dur="1" fill="hold">
                                          <p:stCondLst>
                                            <p:cond delay="0"/>
                                          </p:stCondLst>
                                        </p:cTn>
                                        <p:tgtEl>
                                          <p:spTgt spid="149"/>
                                        </p:tgtEl>
                                        <p:attrNameLst>
                                          <p:attrName>style.visibility</p:attrName>
                                        </p:attrNameLst>
                                      </p:cBhvr>
                                      <p:to>
                                        <p:strVal val="visible"/>
                                      </p:to>
                                    </p:set>
                                    <p:anim calcmode="lin" valueType="num">
                                      <p:cBhvr additive="base">
                                        <p:cTn id="483" dur="1000" fill="hold"/>
                                        <p:tgtEl>
                                          <p:spTgt spid="149"/>
                                        </p:tgtEl>
                                        <p:attrNameLst>
                                          <p:attrName>ppt_x</p:attrName>
                                        </p:attrNameLst>
                                      </p:cBhvr>
                                      <p:tavLst>
                                        <p:tav tm="0">
                                          <p:val>
                                            <p:strVal val="#ppt_x"/>
                                          </p:val>
                                        </p:tav>
                                        <p:tav tm="100000">
                                          <p:val>
                                            <p:strVal val="#ppt_x"/>
                                          </p:val>
                                        </p:tav>
                                      </p:tavLst>
                                    </p:anim>
                                    <p:anim calcmode="lin" valueType="num">
                                      <p:cBhvr additive="base">
                                        <p:cTn id="484" dur="1000" fill="hold"/>
                                        <p:tgtEl>
                                          <p:spTgt spid="149"/>
                                        </p:tgtEl>
                                        <p:attrNameLst>
                                          <p:attrName>ppt_y</p:attrName>
                                        </p:attrNameLst>
                                      </p:cBhvr>
                                      <p:tavLst>
                                        <p:tav tm="0">
                                          <p:val>
                                            <p:strVal val="1+#ppt_h/2"/>
                                          </p:val>
                                        </p:tav>
                                        <p:tav tm="100000">
                                          <p:val>
                                            <p:strVal val="#ppt_y"/>
                                          </p:val>
                                        </p:tav>
                                      </p:tavLst>
                                    </p:anim>
                                  </p:childTnLst>
                                </p:cTn>
                              </p:par>
                              <p:par>
                                <p:cTn id="485" presetID="2" presetClass="entr" presetSubtype="4" accel="40000" decel="40000" fill="hold" grpId="0" nodeType="withEffect">
                                  <p:stCondLst>
                                    <p:cond delay="0"/>
                                  </p:stCondLst>
                                  <p:childTnLst>
                                    <p:set>
                                      <p:cBhvr>
                                        <p:cTn id="486" dur="1" fill="hold">
                                          <p:stCondLst>
                                            <p:cond delay="0"/>
                                          </p:stCondLst>
                                        </p:cTn>
                                        <p:tgtEl>
                                          <p:spTgt spid="150"/>
                                        </p:tgtEl>
                                        <p:attrNameLst>
                                          <p:attrName>style.visibility</p:attrName>
                                        </p:attrNameLst>
                                      </p:cBhvr>
                                      <p:to>
                                        <p:strVal val="visible"/>
                                      </p:to>
                                    </p:set>
                                    <p:anim calcmode="lin" valueType="num">
                                      <p:cBhvr additive="base">
                                        <p:cTn id="487" dur="1000" fill="hold"/>
                                        <p:tgtEl>
                                          <p:spTgt spid="150"/>
                                        </p:tgtEl>
                                        <p:attrNameLst>
                                          <p:attrName>ppt_x</p:attrName>
                                        </p:attrNameLst>
                                      </p:cBhvr>
                                      <p:tavLst>
                                        <p:tav tm="0">
                                          <p:val>
                                            <p:strVal val="#ppt_x"/>
                                          </p:val>
                                        </p:tav>
                                        <p:tav tm="100000">
                                          <p:val>
                                            <p:strVal val="#ppt_x"/>
                                          </p:val>
                                        </p:tav>
                                      </p:tavLst>
                                    </p:anim>
                                    <p:anim calcmode="lin" valueType="num">
                                      <p:cBhvr additive="base">
                                        <p:cTn id="488" dur="1000" fill="hold"/>
                                        <p:tgtEl>
                                          <p:spTgt spid="150"/>
                                        </p:tgtEl>
                                        <p:attrNameLst>
                                          <p:attrName>ppt_y</p:attrName>
                                        </p:attrNameLst>
                                      </p:cBhvr>
                                      <p:tavLst>
                                        <p:tav tm="0">
                                          <p:val>
                                            <p:strVal val="1+#ppt_h/2"/>
                                          </p:val>
                                        </p:tav>
                                        <p:tav tm="100000">
                                          <p:val>
                                            <p:strVal val="#ppt_y"/>
                                          </p:val>
                                        </p:tav>
                                      </p:tavLst>
                                    </p:anim>
                                  </p:childTnLst>
                                </p:cTn>
                              </p:par>
                              <p:par>
                                <p:cTn id="489" presetID="2" presetClass="entr" presetSubtype="4" accel="40000" decel="40000" fill="hold" grpId="0" nodeType="withEffect">
                                  <p:stCondLst>
                                    <p:cond delay="0"/>
                                  </p:stCondLst>
                                  <p:childTnLst>
                                    <p:set>
                                      <p:cBhvr>
                                        <p:cTn id="490" dur="1" fill="hold">
                                          <p:stCondLst>
                                            <p:cond delay="0"/>
                                          </p:stCondLst>
                                        </p:cTn>
                                        <p:tgtEl>
                                          <p:spTgt spid="151"/>
                                        </p:tgtEl>
                                        <p:attrNameLst>
                                          <p:attrName>style.visibility</p:attrName>
                                        </p:attrNameLst>
                                      </p:cBhvr>
                                      <p:to>
                                        <p:strVal val="visible"/>
                                      </p:to>
                                    </p:set>
                                    <p:anim calcmode="lin" valueType="num">
                                      <p:cBhvr additive="base">
                                        <p:cTn id="491" dur="1000" fill="hold"/>
                                        <p:tgtEl>
                                          <p:spTgt spid="151"/>
                                        </p:tgtEl>
                                        <p:attrNameLst>
                                          <p:attrName>ppt_x</p:attrName>
                                        </p:attrNameLst>
                                      </p:cBhvr>
                                      <p:tavLst>
                                        <p:tav tm="0">
                                          <p:val>
                                            <p:strVal val="#ppt_x"/>
                                          </p:val>
                                        </p:tav>
                                        <p:tav tm="100000">
                                          <p:val>
                                            <p:strVal val="#ppt_x"/>
                                          </p:val>
                                        </p:tav>
                                      </p:tavLst>
                                    </p:anim>
                                    <p:anim calcmode="lin" valueType="num">
                                      <p:cBhvr additive="base">
                                        <p:cTn id="492" dur="1000" fill="hold"/>
                                        <p:tgtEl>
                                          <p:spTgt spid="151"/>
                                        </p:tgtEl>
                                        <p:attrNameLst>
                                          <p:attrName>ppt_y</p:attrName>
                                        </p:attrNameLst>
                                      </p:cBhvr>
                                      <p:tavLst>
                                        <p:tav tm="0">
                                          <p:val>
                                            <p:strVal val="1+#ppt_h/2"/>
                                          </p:val>
                                        </p:tav>
                                        <p:tav tm="100000">
                                          <p:val>
                                            <p:strVal val="#ppt_y"/>
                                          </p:val>
                                        </p:tav>
                                      </p:tavLst>
                                    </p:anim>
                                  </p:childTnLst>
                                </p:cTn>
                              </p:par>
                              <p:par>
                                <p:cTn id="493" presetID="2" presetClass="entr" presetSubtype="4" accel="40000" decel="40000" fill="hold" nodeType="withEffect">
                                  <p:stCondLst>
                                    <p:cond delay="0"/>
                                  </p:stCondLst>
                                  <p:childTnLst>
                                    <p:set>
                                      <p:cBhvr>
                                        <p:cTn id="494" dur="1" fill="hold">
                                          <p:stCondLst>
                                            <p:cond delay="0"/>
                                          </p:stCondLst>
                                        </p:cTn>
                                        <p:tgtEl>
                                          <p:spTgt spid="152"/>
                                        </p:tgtEl>
                                        <p:attrNameLst>
                                          <p:attrName>style.visibility</p:attrName>
                                        </p:attrNameLst>
                                      </p:cBhvr>
                                      <p:to>
                                        <p:strVal val="visible"/>
                                      </p:to>
                                    </p:set>
                                    <p:anim calcmode="lin" valueType="num">
                                      <p:cBhvr additive="base">
                                        <p:cTn id="495" dur="1000" fill="hold"/>
                                        <p:tgtEl>
                                          <p:spTgt spid="152"/>
                                        </p:tgtEl>
                                        <p:attrNameLst>
                                          <p:attrName>ppt_x</p:attrName>
                                        </p:attrNameLst>
                                      </p:cBhvr>
                                      <p:tavLst>
                                        <p:tav tm="0">
                                          <p:val>
                                            <p:strVal val="#ppt_x"/>
                                          </p:val>
                                        </p:tav>
                                        <p:tav tm="100000">
                                          <p:val>
                                            <p:strVal val="#ppt_x"/>
                                          </p:val>
                                        </p:tav>
                                      </p:tavLst>
                                    </p:anim>
                                    <p:anim calcmode="lin" valueType="num">
                                      <p:cBhvr additive="base">
                                        <p:cTn id="496" dur="1000" fill="hold"/>
                                        <p:tgtEl>
                                          <p:spTgt spid="152"/>
                                        </p:tgtEl>
                                        <p:attrNameLst>
                                          <p:attrName>ppt_y</p:attrName>
                                        </p:attrNameLst>
                                      </p:cBhvr>
                                      <p:tavLst>
                                        <p:tav tm="0">
                                          <p:val>
                                            <p:strVal val="1+#ppt_h/2"/>
                                          </p:val>
                                        </p:tav>
                                        <p:tav tm="100000">
                                          <p:val>
                                            <p:strVal val="#ppt_y"/>
                                          </p:val>
                                        </p:tav>
                                      </p:tavLst>
                                    </p:anim>
                                  </p:childTnLst>
                                </p:cTn>
                              </p:par>
                              <p:par>
                                <p:cTn id="497" presetID="2" presetClass="entr" presetSubtype="4" accel="40000" decel="40000" fill="hold" grpId="0" nodeType="withEffect">
                                  <p:stCondLst>
                                    <p:cond delay="0"/>
                                  </p:stCondLst>
                                  <p:childTnLst>
                                    <p:set>
                                      <p:cBhvr>
                                        <p:cTn id="498" dur="1" fill="hold">
                                          <p:stCondLst>
                                            <p:cond delay="0"/>
                                          </p:stCondLst>
                                        </p:cTn>
                                        <p:tgtEl>
                                          <p:spTgt spid="158"/>
                                        </p:tgtEl>
                                        <p:attrNameLst>
                                          <p:attrName>style.visibility</p:attrName>
                                        </p:attrNameLst>
                                      </p:cBhvr>
                                      <p:to>
                                        <p:strVal val="visible"/>
                                      </p:to>
                                    </p:set>
                                    <p:anim calcmode="lin" valueType="num">
                                      <p:cBhvr additive="base">
                                        <p:cTn id="499" dur="1000" fill="hold"/>
                                        <p:tgtEl>
                                          <p:spTgt spid="158"/>
                                        </p:tgtEl>
                                        <p:attrNameLst>
                                          <p:attrName>ppt_x</p:attrName>
                                        </p:attrNameLst>
                                      </p:cBhvr>
                                      <p:tavLst>
                                        <p:tav tm="0">
                                          <p:val>
                                            <p:strVal val="#ppt_x"/>
                                          </p:val>
                                        </p:tav>
                                        <p:tav tm="100000">
                                          <p:val>
                                            <p:strVal val="#ppt_x"/>
                                          </p:val>
                                        </p:tav>
                                      </p:tavLst>
                                    </p:anim>
                                    <p:anim calcmode="lin" valueType="num">
                                      <p:cBhvr additive="base">
                                        <p:cTn id="500" dur="1000" fill="hold"/>
                                        <p:tgtEl>
                                          <p:spTgt spid="158"/>
                                        </p:tgtEl>
                                        <p:attrNameLst>
                                          <p:attrName>ppt_y</p:attrName>
                                        </p:attrNameLst>
                                      </p:cBhvr>
                                      <p:tavLst>
                                        <p:tav tm="0">
                                          <p:val>
                                            <p:strVal val="1+#ppt_h/2"/>
                                          </p:val>
                                        </p:tav>
                                        <p:tav tm="100000">
                                          <p:val>
                                            <p:strVal val="#ppt_y"/>
                                          </p:val>
                                        </p:tav>
                                      </p:tavLst>
                                    </p:anim>
                                  </p:childTnLst>
                                </p:cTn>
                              </p:par>
                              <p:par>
                                <p:cTn id="501" presetID="2" presetClass="entr" presetSubtype="4" accel="40000" decel="40000" fill="hold" grpId="0" nodeType="withEffect">
                                  <p:stCondLst>
                                    <p:cond delay="0"/>
                                  </p:stCondLst>
                                  <p:childTnLst>
                                    <p:set>
                                      <p:cBhvr>
                                        <p:cTn id="502" dur="1" fill="hold">
                                          <p:stCondLst>
                                            <p:cond delay="0"/>
                                          </p:stCondLst>
                                        </p:cTn>
                                        <p:tgtEl>
                                          <p:spTgt spid="159"/>
                                        </p:tgtEl>
                                        <p:attrNameLst>
                                          <p:attrName>style.visibility</p:attrName>
                                        </p:attrNameLst>
                                      </p:cBhvr>
                                      <p:to>
                                        <p:strVal val="visible"/>
                                      </p:to>
                                    </p:set>
                                    <p:anim calcmode="lin" valueType="num">
                                      <p:cBhvr additive="base">
                                        <p:cTn id="503" dur="1000" fill="hold"/>
                                        <p:tgtEl>
                                          <p:spTgt spid="159"/>
                                        </p:tgtEl>
                                        <p:attrNameLst>
                                          <p:attrName>ppt_x</p:attrName>
                                        </p:attrNameLst>
                                      </p:cBhvr>
                                      <p:tavLst>
                                        <p:tav tm="0">
                                          <p:val>
                                            <p:strVal val="#ppt_x"/>
                                          </p:val>
                                        </p:tav>
                                        <p:tav tm="100000">
                                          <p:val>
                                            <p:strVal val="#ppt_x"/>
                                          </p:val>
                                        </p:tav>
                                      </p:tavLst>
                                    </p:anim>
                                    <p:anim calcmode="lin" valueType="num">
                                      <p:cBhvr additive="base">
                                        <p:cTn id="504" dur="1000" fill="hold"/>
                                        <p:tgtEl>
                                          <p:spTgt spid="159"/>
                                        </p:tgtEl>
                                        <p:attrNameLst>
                                          <p:attrName>ppt_y</p:attrName>
                                        </p:attrNameLst>
                                      </p:cBhvr>
                                      <p:tavLst>
                                        <p:tav tm="0">
                                          <p:val>
                                            <p:strVal val="1+#ppt_h/2"/>
                                          </p:val>
                                        </p:tav>
                                        <p:tav tm="100000">
                                          <p:val>
                                            <p:strVal val="#ppt_y"/>
                                          </p:val>
                                        </p:tav>
                                      </p:tavLst>
                                    </p:anim>
                                  </p:childTnLst>
                                </p:cTn>
                              </p:par>
                              <p:par>
                                <p:cTn id="505" presetID="2" presetClass="entr" presetSubtype="4" accel="40000" decel="40000" fill="hold" grpId="0" nodeType="withEffect">
                                  <p:stCondLst>
                                    <p:cond delay="0"/>
                                  </p:stCondLst>
                                  <p:childTnLst>
                                    <p:set>
                                      <p:cBhvr>
                                        <p:cTn id="506" dur="1" fill="hold">
                                          <p:stCondLst>
                                            <p:cond delay="0"/>
                                          </p:stCondLst>
                                        </p:cTn>
                                        <p:tgtEl>
                                          <p:spTgt spid="160"/>
                                        </p:tgtEl>
                                        <p:attrNameLst>
                                          <p:attrName>style.visibility</p:attrName>
                                        </p:attrNameLst>
                                      </p:cBhvr>
                                      <p:to>
                                        <p:strVal val="visible"/>
                                      </p:to>
                                    </p:set>
                                    <p:anim calcmode="lin" valueType="num">
                                      <p:cBhvr additive="base">
                                        <p:cTn id="507" dur="1000" fill="hold"/>
                                        <p:tgtEl>
                                          <p:spTgt spid="160"/>
                                        </p:tgtEl>
                                        <p:attrNameLst>
                                          <p:attrName>ppt_x</p:attrName>
                                        </p:attrNameLst>
                                      </p:cBhvr>
                                      <p:tavLst>
                                        <p:tav tm="0">
                                          <p:val>
                                            <p:strVal val="#ppt_x"/>
                                          </p:val>
                                        </p:tav>
                                        <p:tav tm="100000">
                                          <p:val>
                                            <p:strVal val="#ppt_x"/>
                                          </p:val>
                                        </p:tav>
                                      </p:tavLst>
                                    </p:anim>
                                    <p:anim calcmode="lin" valueType="num">
                                      <p:cBhvr additive="base">
                                        <p:cTn id="508" dur="1000" fill="hold"/>
                                        <p:tgtEl>
                                          <p:spTgt spid="160"/>
                                        </p:tgtEl>
                                        <p:attrNameLst>
                                          <p:attrName>ppt_y</p:attrName>
                                        </p:attrNameLst>
                                      </p:cBhvr>
                                      <p:tavLst>
                                        <p:tav tm="0">
                                          <p:val>
                                            <p:strVal val="1+#ppt_h/2"/>
                                          </p:val>
                                        </p:tav>
                                        <p:tav tm="100000">
                                          <p:val>
                                            <p:strVal val="#ppt_y"/>
                                          </p:val>
                                        </p:tav>
                                      </p:tavLst>
                                    </p:anim>
                                  </p:childTnLst>
                                </p:cTn>
                              </p:par>
                              <p:par>
                                <p:cTn id="509" presetID="2" presetClass="entr" presetSubtype="4" accel="40000" decel="40000" fill="hold" grpId="0" nodeType="withEffect">
                                  <p:stCondLst>
                                    <p:cond delay="0"/>
                                  </p:stCondLst>
                                  <p:childTnLst>
                                    <p:set>
                                      <p:cBhvr>
                                        <p:cTn id="510" dur="1" fill="hold">
                                          <p:stCondLst>
                                            <p:cond delay="0"/>
                                          </p:stCondLst>
                                        </p:cTn>
                                        <p:tgtEl>
                                          <p:spTgt spid="161"/>
                                        </p:tgtEl>
                                        <p:attrNameLst>
                                          <p:attrName>style.visibility</p:attrName>
                                        </p:attrNameLst>
                                      </p:cBhvr>
                                      <p:to>
                                        <p:strVal val="visible"/>
                                      </p:to>
                                    </p:set>
                                    <p:anim calcmode="lin" valueType="num">
                                      <p:cBhvr additive="base">
                                        <p:cTn id="511" dur="1000" fill="hold"/>
                                        <p:tgtEl>
                                          <p:spTgt spid="161"/>
                                        </p:tgtEl>
                                        <p:attrNameLst>
                                          <p:attrName>ppt_x</p:attrName>
                                        </p:attrNameLst>
                                      </p:cBhvr>
                                      <p:tavLst>
                                        <p:tav tm="0">
                                          <p:val>
                                            <p:strVal val="#ppt_x"/>
                                          </p:val>
                                        </p:tav>
                                        <p:tav tm="100000">
                                          <p:val>
                                            <p:strVal val="#ppt_x"/>
                                          </p:val>
                                        </p:tav>
                                      </p:tavLst>
                                    </p:anim>
                                    <p:anim calcmode="lin" valueType="num">
                                      <p:cBhvr additive="base">
                                        <p:cTn id="512" dur="1000" fill="hold"/>
                                        <p:tgtEl>
                                          <p:spTgt spid="161"/>
                                        </p:tgtEl>
                                        <p:attrNameLst>
                                          <p:attrName>ppt_y</p:attrName>
                                        </p:attrNameLst>
                                      </p:cBhvr>
                                      <p:tavLst>
                                        <p:tav tm="0">
                                          <p:val>
                                            <p:strVal val="1+#ppt_h/2"/>
                                          </p:val>
                                        </p:tav>
                                        <p:tav tm="100000">
                                          <p:val>
                                            <p:strVal val="#ppt_y"/>
                                          </p:val>
                                        </p:tav>
                                      </p:tavLst>
                                    </p:anim>
                                  </p:childTnLst>
                                </p:cTn>
                              </p:par>
                              <p:par>
                                <p:cTn id="513" presetID="2" presetClass="entr" presetSubtype="4" accel="40000" decel="40000" fill="hold" grpId="0" nodeType="withEffect">
                                  <p:stCondLst>
                                    <p:cond delay="0"/>
                                  </p:stCondLst>
                                  <p:childTnLst>
                                    <p:set>
                                      <p:cBhvr>
                                        <p:cTn id="514" dur="1" fill="hold">
                                          <p:stCondLst>
                                            <p:cond delay="0"/>
                                          </p:stCondLst>
                                        </p:cTn>
                                        <p:tgtEl>
                                          <p:spTgt spid="162"/>
                                        </p:tgtEl>
                                        <p:attrNameLst>
                                          <p:attrName>style.visibility</p:attrName>
                                        </p:attrNameLst>
                                      </p:cBhvr>
                                      <p:to>
                                        <p:strVal val="visible"/>
                                      </p:to>
                                    </p:set>
                                    <p:anim calcmode="lin" valueType="num">
                                      <p:cBhvr additive="base">
                                        <p:cTn id="515" dur="1000" fill="hold"/>
                                        <p:tgtEl>
                                          <p:spTgt spid="162"/>
                                        </p:tgtEl>
                                        <p:attrNameLst>
                                          <p:attrName>ppt_x</p:attrName>
                                        </p:attrNameLst>
                                      </p:cBhvr>
                                      <p:tavLst>
                                        <p:tav tm="0">
                                          <p:val>
                                            <p:strVal val="#ppt_x"/>
                                          </p:val>
                                        </p:tav>
                                        <p:tav tm="100000">
                                          <p:val>
                                            <p:strVal val="#ppt_x"/>
                                          </p:val>
                                        </p:tav>
                                      </p:tavLst>
                                    </p:anim>
                                    <p:anim calcmode="lin" valueType="num">
                                      <p:cBhvr additive="base">
                                        <p:cTn id="516" dur="1000" fill="hold"/>
                                        <p:tgtEl>
                                          <p:spTgt spid="162"/>
                                        </p:tgtEl>
                                        <p:attrNameLst>
                                          <p:attrName>ppt_y</p:attrName>
                                        </p:attrNameLst>
                                      </p:cBhvr>
                                      <p:tavLst>
                                        <p:tav tm="0">
                                          <p:val>
                                            <p:strVal val="1+#ppt_h/2"/>
                                          </p:val>
                                        </p:tav>
                                        <p:tav tm="100000">
                                          <p:val>
                                            <p:strVal val="#ppt_y"/>
                                          </p:val>
                                        </p:tav>
                                      </p:tavLst>
                                    </p:anim>
                                  </p:childTnLst>
                                </p:cTn>
                              </p:par>
                              <p:par>
                                <p:cTn id="517" presetID="2" presetClass="entr" presetSubtype="4" accel="40000" decel="40000" fill="hold" grpId="0" nodeType="withEffect">
                                  <p:stCondLst>
                                    <p:cond delay="0"/>
                                  </p:stCondLst>
                                  <p:childTnLst>
                                    <p:set>
                                      <p:cBhvr>
                                        <p:cTn id="518" dur="1" fill="hold">
                                          <p:stCondLst>
                                            <p:cond delay="0"/>
                                          </p:stCondLst>
                                        </p:cTn>
                                        <p:tgtEl>
                                          <p:spTgt spid="163"/>
                                        </p:tgtEl>
                                        <p:attrNameLst>
                                          <p:attrName>style.visibility</p:attrName>
                                        </p:attrNameLst>
                                      </p:cBhvr>
                                      <p:to>
                                        <p:strVal val="visible"/>
                                      </p:to>
                                    </p:set>
                                    <p:anim calcmode="lin" valueType="num">
                                      <p:cBhvr additive="base">
                                        <p:cTn id="519" dur="1000" fill="hold"/>
                                        <p:tgtEl>
                                          <p:spTgt spid="163"/>
                                        </p:tgtEl>
                                        <p:attrNameLst>
                                          <p:attrName>ppt_x</p:attrName>
                                        </p:attrNameLst>
                                      </p:cBhvr>
                                      <p:tavLst>
                                        <p:tav tm="0">
                                          <p:val>
                                            <p:strVal val="#ppt_x"/>
                                          </p:val>
                                        </p:tav>
                                        <p:tav tm="100000">
                                          <p:val>
                                            <p:strVal val="#ppt_x"/>
                                          </p:val>
                                        </p:tav>
                                      </p:tavLst>
                                    </p:anim>
                                    <p:anim calcmode="lin" valueType="num">
                                      <p:cBhvr additive="base">
                                        <p:cTn id="520" dur="1000" fill="hold"/>
                                        <p:tgtEl>
                                          <p:spTgt spid="163"/>
                                        </p:tgtEl>
                                        <p:attrNameLst>
                                          <p:attrName>ppt_y</p:attrName>
                                        </p:attrNameLst>
                                      </p:cBhvr>
                                      <p:tavLst>
                                        <p:tav tm="0">
                                          <p:val>
                                            <p:strVal val="1+#ppt_h/2"/>
                                          </p:val>
                                        </p:tav>
                                        <p:tav tm="100000">
                                          <p:val>
                                            <p:strVal val="#ppt_y"/>
                                          </p:val>
                                        </p:tav>
                                      </p:tavLst>
                                    </p:anim>
                                  </p:childTnLst>
                                </p:cTn>
                              </p:par>
                              <p:par>
                                <p:cTn id="521" presetID="2" presetClass="entr" presetSubtype="4" accel="40000" decel="40000" fill="hold" grpId="0" nodeType="withEffect">
                                  <p:stCondLst>
                                    <p:cond delay="0"/>
                                  </p:stCondLst>
                                  <p:childTnLst>
                                    <p:set>
                                      <p:cBhvr>
                                        <p:cTn id="522" dur="1" fill="hold">
                                          <p:stCondLst>
                                            <p:cond delay="0"/>
                                          </p:stCondLst>
                                        </p:cTn>
                                        <p:tgtEl>
                                          <p:spTgt spid="164"/>
                                        </p:tgtEl>
                                        <p:attrNameLst>
                                          <p:attrName>style.visibility</p:attrName>
                                        </p:attrNameLst>
                                      </p:cBhvr>
                                      <p:to>
                                        <p:strVal val="visible"/>
                                      </p:to>
                                    </p:set>
                                    <p:anim calcmode="lin" valueType="num">
                                      <p:cBhvr additive="base">
                                        <p:cTn id="523" dur="1000" fill="hold"/>
                                        <p:tgtEl>
                                          <p:spTgt spid="164"/>
                                        </p:tgtEl>
                                        <p:attrNameLst>
                                          <p:attrName>ppt_x</p:attrName>
                                        </p:attrNameLst>
                                      </p:cBhvr>
                                      <p:tavLst>
                                        <p:tav tm="0">
                                          <p:val>
                                            <p:strVal val="#ppt_x"/>
                                          </p:val>
                                        </p:tav>
                                        <p:tav tm="100000">
                                          <p:val>
                                            <p:strVal val="#ppt_x"/>
                                          </p:val>
                                        </p:tav>
                                      </p:tavLst>
                                    </p:anim>
                                    <p:anim calcmode="lin" valueType="num">
                                      <p:cBhvr additive="base">
                                        <p:cTn id="524" dur="1000" fill="hold"/>
                                        <p:tgtEl>
                                          <p:spTgt spid="164"/>
                                        </p:tgtEl>
                                        <p:attrNameLst>
                                          <p:attrName>ppt_y</p:attrName>
                                        </p:attrNameLst>
                                      </p:cBhvr>
                                      <p:tavLst>
                                        <p:tav tm="0">
                                          <p:val>
                                            <p:strVal val="1+#ppt_h/2"/>
                                          </p:val>
                                        </p:tav>
                                        <p:tav tm="100000">
                                          <p:val>
                                            <p:strVal val="#ppt_y"/>
                                          </p:val>
                                        </p:tav>
                                      </p:tavLst>
                                    </p:anim>
                                  </p:childTnLst>
                                </p:cTn>
                              </p:par>
                              <p:par>
                                <p:cTn id="525" presetID="2" presetClass="entr" presetSubtype="4" accel="40000" decel="40000" fill="hold" grpId="0" nodeType="withEffect">
                                  <p:stCondLst>
                                    <p:cond delay="0"/>
                                  </p:stCondLst>
                                  <p:childTnLst>
                                    <p:set>
                                      <p:cBhvr>
                                        <p:cTn id="526" dur="1" fill="hold">
                                          <p:stCondLst>
                                            <p:cond delay="0"/>
                                          </p:stCondLst>
                                        </p:cTn>
                                        <p:tgtEl>
                                          <p:spTgt spid="165"/>
                                        </p:tgtEl>
                                        <p:attrNameLst>
                                          <p:attrName>style.visibility</p:attrName>
                                        </p:attrNameLst>
                                      </p:cBhvr>
                                      <p:to>
                                        <p:strVal val="visible"/>
                                      </p:to>
                                    </p:set>
                                    <p:anim calcmode="lin" valueType="num">
                                      <p:cBhvr additive="base">
                                        <p:cTn id="527" dur="1000" fill="hold"/>
                                        <p:tgtEl>
                                          <p:spTgt spid="165"/>
                                        </p:tgtEl>
                                        <p:attrNameLst>
                                          <p:attrName>ppt_x</p:attrName>
                                        </p:attrNameLst>
                                      </p:cBhvr>
                                      <p:tavLst>
                                        <p:tav tm="0">
                                          <p:val>
                                            <p:strVal val="#ppt_x"/>
                                          </p:val>
                                        </p:tav>
                                        <p:tav tm="100000">
                                          <p:val>
                                            <p:strVal val="#ppt_x"/>
                                          </p:val>
                                        </p:tav>
                                      </p:tavLst>
                                    </p:anim>
                                    <p:anim calcmode="lin" valueType="num">
                                      <p:cBhvr additive="base">
                                        <p:cTn id="528" dur="1000" fill="hold"/>
                                        <p:tgtEl>
                                          <p:spTgt spid="165"/>
                                        </p:tgtEl>
                                        <p:attrNameLst>
                                          <p:attrName>ppt_y</p:attrName>
                                        </p:attrNameLst>
                                      </p:cBhvr>
                                      <p:tavLst>
                                        <p:tav tm="0">
                                          <p:val>
                                            <p:strVal val="1+#ppt_h/2"/>
                                          </p:val>
                                        </p:tav>
                                        <p:tav tm="100000">
                                          <p:val>
                                            <p:strVal val="#ppt_y"/>
                                          </p:val>
                                        </p:tav>
                                      </p:tavLst>
                                    </p:anim>
                                  </p:childTnLst>
                                </p:cTn>
                              </p:par>
                              <p:par>
                                <p:cTn id="529" presetID="2" presetClass="entr" presetSubtype="4" accel="40000" decel="40000" fill="hold" grpId="0" nodeType="withEffect">
                                  <p:stCondLst>
                                    <p:cond delay="0"/>
                                  </p:stCondLst>
                                  <p:childTnLst>
                                    <p:set>
                                      <p:cBhvr>
                                        <p:cTn id="530" dur="1" fill="hold">
                                          <p:stCondLst>
                                            <p:cond delay="0"/>
                                          </p:stCondLst>
                                        </p:cTn>
                                        <p:tgtEl>
                                          <p:spTgt spid="166"/>
                                        </p:tgtEl>
                                        <p:attrNameLst>
                                          <p:attrName>style.visibility</p:attrName>
                                        </p:attrNameLst>
                                      </p:cBhvr>
                                      <p:to>
                                        <p:strVal val="visible"/>
                                      </p:to>
                                    </p:set>
                                    <p:anim calcmode="lin" valueType="num">
                                      <p:cBhvr additive="base">
                                        <p:cTn id="531" dur="1000" fill="hold"/>
                                        <p:tgtEl>
                                          <p:spTgt spid="166"/>
                                        </p:tgtEl>
                                        <p:attrNameLst>
                                          <p:attrName>ppt_x</p:attrName>
                                        </p:attrNameLst>
                                      </p:cBhvr>
                                      <p:tavLst>
                                        <p:tav tm="0">
                                          <p:val>
                                            <p:strVal val="#ppt_x"/>
                                          </p:val>
                                        </p:tav>
                                        <p:tav tm="100000">
                                          <p:val>
                                            <p:strVal val="#ppt_x"/>
                                          </p:val>
                                        </p:tav>
                                      </p:tavLst>
                                    </p:anim>
                                    <p:anim calcmode="lin" valueType="num">
                                      <p:cBhvr additive="base">
                                        <p:cTn id="532" dur="1000" fill="hold"/>
                                        <p:tgtEl>
                                          <p:spTgt spid="166"/>
                                        </p:tgtEl>
                                        <p:attrNameLst>
                                          <p:attrName>ppt_y</p:attrName>
                                        </p:attrNameLst>
                                      </p:cBhvr>
                                      <p:tavLst>
                                        <p:tav tm="0">
                                          <p:val>
                                            <p:strVal val="1+#ppt_h/2"/>
                                          </p:val>
                                        </p:tav>
                                        <p:tav tm="100000">
                                          <p:val>
                                            <p:strVal val="#ppt_y"/>
                                          </p:val>
                                        </p:tav>
                                      </p:tavLst>
                                    </p:anim>
                                  </p:childTnLst>
                                </p:cTn>
                              </p:par>
                              <p:par>
                                <p:cTn id="533" presetID="2" presetClass="entr" presetSubtype="4" accel="40000" decel="40000" fill="hold" grpId="0" nodeType="withEffect">
                                  <p:stCondLst>
                                    <p:cond delay="0"/>
                                  </p:stCondLst>
                                  <p:childTnLst>
                                    <p:set>
                                      <p:cBhvr>
                                        <p:cTn id="534" dur="1" fill="hold">
                                          <p:stCondLst>
                                            <p:cond delay="0"/>
                                          </p:stCondLst>
                                        </p:cTn>
                                        <p:tgtEl>
                                          <p:spTgt spid="167"/>
                                        </p:tgtEl>
                                        <p:attrNameLst>
                                          <p:attrName>style.visibility</p:attrName>
                                        </p:attrNameLst>
                                      </p:cBhvr>
                                      <p:to>
                                        <p:strVal val="visible"/>
                                      </p:to>
                                    </p:set>
                                    <p:anim calcmode="lin" valueType="num">
                                      <p:cBhvr additive="base">
                                        <p:cTn id="535" dur="1000" fill="hold"/>
                                        <p:tgtEl>
                                          <p:spTgt spid="167"/>
                                        </p:tgtEl>
                                        <p:attrNameLst>
                                          <p:attrName>ppt_x</p:attrName>
                                        </p:attrNameLst>
                                      </p:cBhvr>
                                      <p:tavLst>
                                        <p:tav tm="0">
                                          <p:val>
                                            <p:strVal val="#ppt_x"/>
                                          </p:val>
                                        </p:tav>
                                        <p:tav tm="100000">
                                          <p:val>
                                            <p:strVal val="#ppt_x"/>
                                          </p:val>
                                        </p:tav>
                                      </p:tavLst>
                                    </p:anim>
                                    <p:anim calcmode="lin" valueType="num">
                                      <p:cBhvr additive="base">
                                        <p:cTn id="536" dur="1000" fill="hold"/>
                                        <p:tgtEl>
                                          <p:spTgt spid="167"/>
                                        </p:tgtEl>
                                        <p:attrNameLst>
                                          <p:attrName>ppt_y</p:attrName>
                                        </p:attrNameLst>
                                      </p:cBhvr>
                                      <p:tavLst>
                                        <p:tav tm="0">
                                          <p:val>
                                            <p:strVal val="1+#ppt_h/2"/>
                                          </p:val>
                                        </p:tav>
                                        <p:tav tm="100000">
                                          <p:val>
                                            <p:strVal val="#ppt_y"/>
                                          </p:val>
                                        </p:tav>
                                      </p:tavLst>
                                    </p:anim>
                                  </p:childTnLst>
                                </p:cTn>
                              </p:par>
                              <p:par>
                                <p:cTn id="537" presetID="2" presetClass="entr" presetSubtype="4" accel="40000" decel="40000" fill="hold" grpId="0" nodeType="withEffect">
                                  <p:stCondLst>
                                    <p:cond delay="0"/>
                                  </p:stCondLst>
                                  <p:childTnLst>
                                    <p:set>
                                      <p:cBhvr>
                                        <p:cTn id="538" dur="1" fill="hold">
                                          <p:stCondLst>
                                            <p:cond delay="0"/>
                                          </p:stCondLst>
                                        </p:cTn>
                                        <p:tgtEl>
                                          <p:spTgt spid="168"/>
                                        </p:tgtEl>
                                        <p:attrNameLst>
                                          <p:attrName>style.visibility</p:attrName>
                                        </p:attrNameLst>
                                      </p:cBhvr>
                                      <p:to>
                                        <p:strVal val="visible"/>
                                      </p:to>
                                    </p:set>
                                    <p:anim calcmode="lin" valueType="num">
                                      <p:cBhvr additive="base">
                                        <p:cTn id="539" dur="1000" fill="hold"/>
                                        <p:tgtEl>
                                          <p:spTgt spid="168"/>
                                        </p:tgtEl>
                                        <p:attrNameLst>
                                          <p:attrName>ppt_x</p:attrName>
                                        </p:attrNameLst>
                                      </p:cBhvr>
                                      <p:tavLst>
                                        <p:tav tm="0">
                                          <p:val>
                                            <p:strVal val="#ppt_x"/>
                                          </p:val>
                                        </p:tav>
                                        <p:tav tm="100000">
                                          <p:val>
                                            <p:strVal val="#ppt_x"/>
                                          </p:val>
                                        </p:tav>
                                      </p:tavLst>
                                    </p:anim>
                                    <p:anim calcmode="lin" valueType="num">
                                      <p:cBhvr additive="base">
                                        <p:cTn id="540" dur="1000" fill="hold"/>
                                        <p:tgtEl>
                                          <p:spTgt spid="168"/>
                                        </p:tgtEl>
                                        <p:attrNameLst>
                                          <p:attrName>ppt_y</p:attrName>
                                        </p:attrNameLst>
                                      </p:cBhvr>
                                      <p:tavLst>
                                        <p:tav tm="0">
                                          <p:val>
                                            <p:strVal val="1+#ppt_h/2"/>
                                          </p:val>
                                        </p:tav>
                                        <p:tav tm="100000">
                                          <p:val>
                                            <p:strVal val="#ppt_y"/>
                                          </p:val>
                                        </p:tav>
                                      </p:tavLst>
                                    </p:anim>
                                  </p:childTnLst>
                                </p:cTn>
                              </p:par>
                              <p:par>
                                <p:cTn id="541" presetID="2" presetClass="entr" presetSubtype="4" accel="40000" decel="40000" fill="hold" grpId="0" nodeType="withEffect">
                                  <p:stCondLst>
                                    <p:cond delay="0"/>
                                  </p:stCondLst>
                                  <p:childTnLst>
                                    <p:set>
                                      <p:cBhvr>
                                        <p:cTn id="542" dur="1" fill="hold">
                                          <p:stCondLst>
                                            <p:cond delay="0"/>
                                          </p:stCondLst>
                                        </p:cTn>
                                        <p:tgtEl>
                                          <p:spTgt spid="169"/>
                                        </p:tgtEl>
                                        <p:attrNameLst>
                                          <p:attrName>style.visibility</p:attrName>
                                        </p:attrNameLst>
                                      </p:cBhvr>
                                      <p:to>
                                        <p:strVal val="visible"/>
                                      </p:to>
                                    </p:set>
                                    <p:anim calcmode="lin" valueType="num">
                                      <p:cBhvr additive="base">
                                        <p:cTn id="543" dur="1000" fill="hold"/>
                                        <p:tgtEl>
                                          <p:spTgt spid="169"/>
                                        </p:tgtEl>
                                        <p:attrNameLst>
                                          <p:attrName>ppt_x</p:attrName>
                                        </p:attrNameLst>
                                      </p:cBhvr>
                                      <p:tavLst>
                                        <p:tav tm="0">
                                          <p:val>
                                            <p:strVal val="#ppt_x"/>
                                          </p:val>
                                        </p:tav>
                                        <p:tav tm="100000">
                                          <p:val>
                                            <p:strVal val="#ppt_x"/>
                                          </p:val>
                                        </p:tav>
                                      </p:tavLst>
                                    </p:anim>
                                    <p:anim calcmode="lin" valueType="num">
                                      <p:cBhvr additive="base">
                                        <p:cTn id="544" dur="1000" fill="hold"/>
                                        <p:tgtEl>
                                          <p:spTgt spid="169"/>
                                        </p:tgtEl>
                                        <p:attrNameLst>
                                          <p:attrName>ppt_y</p:attrName>
                                        </p:attrNameLst>
                                      </p:cBhvr>
                                      <p:tavLst>
                                        <p:tav tm="0">
                                          <p:val>
                                            <p:strVal val="1+#ppt_h/2"/>
                                          </p:val>
                                        </p:tav>
                                        <p:tav tm="100000">
                                          <p:val>
                                            <p:strVal val="#ppt_y"/>
                                          </p:val>
                                        </p:tav>
                                      </p:tavLst>
                                    </p:anim>
                                  </p:childTnLst>
                                </p:cTn>
                              </p:par>
                              <p:par>
                                <p:cTn id="545" presetID="2" presetClass="entr" presetSubtype="4" accel="40000" decel="40000" fill="hold" grpId="0" nodeType="withEffect">
                                  <p:stCondLst>
                                    <p:cond delay="0"/>
                                  </p:stCondLst>
                                  <p:childTnLst>
                                    <p:set>
                                      <p:cBhvr>
                                        <p:cTn id="546" dur="1" fill="hold">
                                          <p:stCondLst>
                                            <p:cond delay="0"/>
                                          </p:stCondLst>
                                        </p:cTn>
                                        <p:tgtEl>
                                          <p:spTgt spid="170"/>
                                        </p:tgtEl>
                                        <p:attrNameLst>
                                          <p:attrName>style.visibility</p:attrName>
                                        </p:attrNameLst>
                                      </p:cBhvr>
                                      <p:to>
                                        <p:strVal val="visible"/>
                                      </p:to>
                                    </p:set>
                                    <p:anim calcmode="lin" valueType="num">
                                      <p:cBhvr additive="base">
                                        <p:cTn id="547" dur="1000" fill="hold"/>
                                        <p:tgtEl>
                                          <p:spTgt spid="170"/>
                                        </p:tgtEl>
                                        <p:attrNameLst>
                                          <p:attrName>ppt_x</p:attrName>
                                        </p:attrNameLst>
                                      </p:cBhvr>
                                      <p:tavLst>
                                        <p:tav tm="0">
                                          <p:val>
                                            <p:strVal val="#ppt_x"/>
                                          </p:val>
                                        </p:tav>
                                        <p:tav tm="100000">
                                          <p:val>
                                            <p:strVal val="#ppt_x"/>
                                          </p:val>
                                        </p:tav>
                                      </p:tavLst>
                                    </p:anim>
                                    <p:anim calcmode="lin" valueType="num">
                                      <p:cBhvr additive="base">
                                        <p:cTn id="548" dur="1000" fill="hold"/>
                                        <p:tgtEl>
                                          <p:spTgt spid="17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5" grpId="0" animBg="1"/>
      <p:bldP spid="6" grpId="0" animBg="1"/>
      <p:bldP spid="7" grpId="0" animBg="1"/>
      <p:bldP spid="8" grpId="0" animBg="1"/>
      <p:bldP spid="9" grpId="0" animBg="1"/>
      <p:bldP spid="19" grpId="0" animBg="1"/>
      <p:bldP spid="20" grpId="0" animBg="1"/>
      <p:bldP spid="21" grpId="0" animBg="1"/>
      <p:bldP spid="22" grpId="0" animBg="1"/>
      <p:bldP spid="23" grpId="0" animBg="1"/>
      <p:bldP spid="24" grpId="0" animBg="1"/>
      <p:bldP spid="25" grpId="0" animBg="1"/>
      <p:bldP spid="26" grpId="0" animBg="1"/>
      <p:bldP spid="27" grpId="0" animBg="1"/>
      <p:bldP spid="34" grpId="0" animBg="1"/>
      <p:bldP spid="35" grpId="0" animBg="1"/>
      <p:bldP spid="36" grpId="0" animBg="1"/>
      <p:bldP spid="37" grpId="0" animBg="1"/>
      <p:bldP spid="38" grpId="0" animBg="1"/>
      <p:bldP spid="39" grpId="0" animBg="1"/>
      <p:bldP spid="40" grpId="0" animBg="1"/>
      <p:bldP spid="41" grpId="0" animBg="1"/>
      <p:bldP spid="42" grpId="0" animBg="1"/>
      <p:bldP spid="43" grpId="0" animBg="1"/>
      <p:bldP spid="44" grpId="0" animBg="1"/>
      <p:bldP spid="45" grpId="0" animBg="1"/>
      <p:bldP spid="46" grpId="0" animBg="1"/>
      <p:bldP spid="47" grpId="0" animBg="1"/>
      <p:bldP spid="48" grpId="0" animBg="1"/>
      <p:bldP spid="49" grpId="0" animBg="1"/>
      <p:bldP spid="50" grpId="0" animBg="1"/>
      <p:bldP spid="51" grpId="0" animBg="1"/>
      <p:bldP spid="52" grpId="0" animBg="1"/>
      <p:bldP spid="53" grpId="0" animBg="1"/>
      <p:bldP spid="54" grpId="0" animBg="1"/>
      <p:bldP spid="55" grpId="0" animBg="1"/>
      <p:bldP spid="56" grpId="0" animBg="1"/>
      <p:bldP spid="57" grpId="0" animBg="1"/>
      <p:bldP spid="58" grpId="0" animBg="1"/>
      <p:bldP spid="59" grpId="0" animBg="1"/>
      <p:bldP spid="60" grpId="0" animBg="1"/>
      <p:bldP spid="61" grpId="0" animBg="1"/>
      <p:bldP spid="62" grpId="0" animBg="1"/>
      <p:bldP spid="63" grpId="0" animBg="1"/>
      <p:bldP spid="64" grpId="0" animBg="1"/>
      <p:bldP spid="65" grpId="0" animBg="1"/>
      <p:bldP spid="66" grpId="0" animBg="1"/>
      <p:bldP spid="67" grpId="0" animBg="1"/>
      <p:bldP spid="68" grpId="0" animBg="1"/>
      <p:bldP spid="69" grpId="0" animBg="1"/>
      <p:bldP spid="70" grpId="0" animBg="1"/>
      <p:bldP spid="71" grpId="0" animBg="1"/>
      <p:bldP spid="72" grpId="0" animBg="1"/>
      <p:bldP spid="73" grpId="0" animBg="1"/>
      <p:bldP spid="74" grpId="0" animBg="1"/>
      <p:bldP spid="82" grpId="0" animBg="1"/>
      <p:bldP spid="83" grpId="0" animBg="1"/>
      <p:bldP spid="84" grpId="0" animBg="1"/>
      <p:bldP spid="85" grpId="0" animBg="1"/>
      <p:bldP spid="86" grpId="0" animBg="1"/>
      <p:bldP spid="87" grpId="0" animBg="1"/>
      <p:bldP spid="88" grpId="0" animBg="1"/>
      <p:bldP spid="90" grpId="0" animBg="1"/>
      <p:bldP spid="91" grpId="0" animBg="1"/>
      <p:bldP spid="92" grpId="0" animBg="1"/>
      <p:bldP spid="93" grpId="0" animBg="1"/>
      <p:bldP spid="94" grpId="0" animBg="1"/>
      <p:bldP spid="95" grpId="0" animBg="1"/>
      <p:bldP spid="96" grpId="0" animBg="1"/>
      <p:bldP spid="97" grpId="0" animBg="1"/>
      <p:bldP spid="98" grpId="0" animBg="1"/>
      <p:bldP spid="99" grpId="0" animBg="1"/>
      <p:bldP spid="100" grpId="0" animBg="1"/>
      <p:bldP spid="101" grpId="0" animBg="1"/>
      <p:bldP spid="102" grpId="0" animBg="1"/>
      <p:bldP spid="103" grpId="0" animBg="1"/>
      <p:bldP spid="104" grpId="0" animBg="1"/>
      <p:bldP spid="105" grpId="0" animBg="1"/>
      <p:bldP spid="106" grpId="0" animBg="1"/>
      <p:bldP spid="107" grpId="0" animBg="1"/>
      <p:bldP spid="108" grpId="0" animBg="1"/>
      <p:bldP spid="109" grpId="0" animBg="1"/>
      <p:bldP spid="110" grpId="0" animBg="1"/>
      <p:bldP spid="111" grpId="0" animBg="1"/>
      <p:bldP spid="112" grpId="0" animBg="1"/>
      <p:bldP spid="113" grpId="0" animBg="1"/>
      <p:bldP spid="114" grpId="0" animBg="1"/>
      <p:bldP spid="115" grpId="0" animBg="1"/>
      <p:bldP spid="116" grpId="0" animBg="1"/>
      <p:bldP spid="122" grpId="0" animBg="1"/>
      <p:bldP spid="123" grpId="0" animBg="1"/>
      <p:bldP spid="124" grpId="0" animBg="1"/>
      <p:bldP spid="125" grpId="0" animBg="1"/>
      <p:bldP spid="126" grpId="0" animBg="1"/>
      <p:bldP spid="127" grpId="0" animBg="1"/>
      <p:bldP spid="128" grpId="0" animBg="1"/>
      <p:bldP spid="129" grpId="0" animBg="1"/>
      <p:bldP spid="133" grpId="0" animBg="1"/>
      <p:bldP spid="134" grpId="0" animBg="1"/>
      <p:bldP spid="135" grpId="0" animBg="1"/>
      <p:bldP spid="136" grpId="0" animBg="1"/>
      <p:bldP spid="137" grpId="0" animBg="1"/>
      <p:bldP spid="138" grpId="0" animBg="1"/>
      <p:bldP spid="139" grpId="0" animBg="1"/>
      <p:bldP spid="140" grpId="0" animBg="1"/>
      <p:bldP spid="141" grpId="0" animBg="1"/>
      <p:bldP spid="142" grpId="0" animBg="1"/>
      <p:bldP spid="143" grpId="0" animBg="1"/>
      <p:bldP spid="144" grpId="0" animBg="1"/>
      <p:bldP spid="145" grpId="0" animBg="1"/>
      <p:bldP spid="146" grpId="0" animBg="1"/>
      <p:bldP spid="147" grpId="0" animBg="1"/>
      <p:bldP spid="148" grpId="0" animBg="1"/>
      <p:bldP spid="149" grpId="0" animBg="1"/>
      <p:bldP spid="150" grpId="0" animBg="1"/>
      <p:bldP spid="151" grpId="0" animBg="1"/>
      <p:bldP spid="158" grpId="0" animBg="1"/>
      <p:bldP spid="159" grpId="0" animBg="1"/>
      <p:bldP spid="160" grpId="0" animBg="1"/>
      <p:bldP spid="161" grpId="0" animBg="1"/>
      <p:bldP spid="162" grpId="0"/>
      <p:bldP spid="163" grpId="0"/>
      <p:bldP spid="164" grpId="0"/>
      <p:bldP spid="165" grpId="0"/>
      <p:bldP spid="166" grpId="0"/>
      <p:bldP spid="167" grpId="0"/>
      <p:bldP spid="168" grpId="0"/>
      <p:bldP spid="169" grpId="0"/>
      <p:bldP spid="170" grpId="0" animBg="1"/>
    </p:bld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直接连接符 2">
            <a:extLst>
              <a:ext uri="{FF2B5EF4-FFF2-40B4-BE49-F238E27FC236}">
                <a16:creationId xmlns:a16="http://schemas.microsoft.com/office/drawing/2014/main" id="{CDBB8B17-0372-4C3D-AA5B-EC1C19E1F814}"/>
              </a:ext>
            </a:extLst>
          </p:cNvPr>
          <p:cNvCxnSpPr>
            <a:cxnSpLocks/>
          </p:cNvCxnSpPr>
          <p:nvPr/>
        </p:nvCxnSpPr>
        <p:spPr>
          <a:xfrm>
            <a:off x="0" y="3429000"/>
            <a:ext cx="1984248" cy="0"/>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4" name="矩形 3">
            <a:extLst>
              <a:ext uri="{FF2B5EF4-FFF2-40B4-BE49-F238E27FC236}">
                <a16:creationId xmlns:a16="http://schemas.microsoft.com/office/drawing/2014/main" id="{BB18BBDC-9A6B-4767-902B-FDA55CB53DC0}"/>
              </a:ext>
            </a:extLst>
          </p:cNvPr>
          <p:cNvSpPr/>
          <p:nvPr/>
        </p:nvSpPr>
        <p:spPr>
          <a:xfrm>
            <a:off x="2454147" y="3297237"/>
            <a:ext cx="263525" cy="263525"/>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p>
        </p:txBody>
      </p:sp>
      <p:sp>
        <p:nvSpPr>
          <p:cNvPr id="5" name="矩形 4">
            <a:extLst>
              <a:ext uri="{FF2B5EF4-FFF2-40B4-BE49-F238E27FC236}">
                <a16:creationId xmlns:a16="http://schemas.microsoft.com/office/drawing/2014/main" id="{C6AF6874-1341-477D-A9D3-8C20CE588DD0}"/>
              </a:ext>
            </a:extLst>
          </p:cNvPr>
          <p:cNvSpPr/>
          <p:nvPr/>
        </p:nvSpPr>
        <p:spPr>
          <a:xfrm>
            <a:off x="2733548" y="3201193"/>
            <a:ext cx="96044" cy="96044"/>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p>
        </p:txBody>
      </p:sp>
      <p:sp>
        <p:nvSpPr>
          <p:cNvPr id="6" name="矩形 5">
            <a:extLst>
              <a:ext uri="{FF2B5EF4-FFF2-40B4-BE49-F238E27FC236}">
                <a16:creationId xmlns:a16="http://schemas.microsoft.com/office/drawing/2014/main" id="{B84CC6BF-7DA0-4ED7-B8CF-158C6E531B63}"/>
              </a:ext>
            </a:extLst>
          </p:cNvPr>
          <p:cNvSpPr/>
          <p:nvPr/>
        </p:nvSpPr>
        <p:spPr>
          <a:xfrm>
            <a:off x="2288254" y="3464718"/>
            <a:ext cx="96044" cy="96044"/>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p>
        </p:txBody>
      </p:sp>
      <p:sp>
        <p:nvSpPr>
          <p:cNvPr id="7" name="文本框 6">
            <a:extLst>
              <a:ext uri="{FF2B5EF4-FFF2-40B4-BE49-F238E27FC236}">
                <a16:creationId xmlns:a16="http://schemas.microsoft.com/office/drawing/2014/main" id="{4DAE8F56-914D-42A4-AED7-00197865E32F}"/>
              </a:ext>
            </a:extLst>
          </p:cNvPr>
          <p:cNvSpPr txBox="1"/>
          <p:nvPr/>
        </p:nvSpPr>
        <p:spPr>
          <a:xfrm>
            <a:off x="3073323" y="2412379"/>
            <a:ext cx="2949525" cy="1769715"/>
          </a:xfrm>
          <a:prstGeom prst="rect">
            <a:avLst/>
          </a:prstGeom>
          <a:noFill/>
        </p:spPr>
        <p:txBody>
          <a:bodyPr wrap="none" lIns="0" tIns="0" rIns="0" bIns="0" rtlCol="0" anchor="t">
            <a:spAutoFit/>
          </a:bodyPr>
          <a:lstStyle/>
          <a:p>
            <a:pPr algn="l"/>
            <a:r>
              <a:rPr lang="zh-CN" altLang="en-US" sz="11500" dirty="0">
                <a:solidFill>
                  <a:schemeClr val="accent1"/>
                </a:solidFill>
                <a:latin typeface="+mj-ea"/>
                <a:ea typeface="+mj-ea"/>
              </a:rPr>
              <a:t>目录</a:t>
            </a:r>
          </a:p>
        </p:txBody>
      </p:sp>
      <p:sp>
        <p:nvSpPr>
          <p:cNvPr id="8" name="文本框 7">
            <a:extLst>
              <a:ext uri="{FF2B5EF4-FFF2-40B4-BE49-F238E27FC236}">
                <a16:creationId xmlns:a16="http://schemas.microsoft.com/office/drawing/2014/main" id="{616A5C0D-BE99-4E43-A172-ECA83BC531CA}"/>
              </a:ext>
            </a:extLst>
          </p:cNvPr>
          <p:cNvSpPr txBox="1"/>
          <p:nvPr/>
        </p:nvSpPr>
        <p:spPr>
          <a:xfrm>
            <a:off x="3274783" y="4101573"/>
            <a:ext cx="2699839" cy="430887"/>
          </a:xfrm>
          <a:prstGeom prst="rect">
            <a:avLst/>
          </a:prstGeom>
          <a:noFill/>
        </p:spPr>
        <p:txBody>
          <a:bodyPr wrap="square" lIns="0" tIns="0" rIns="0" bIns="0" rtlCol="0" anchor="t">
            <a:spAutoFit/>
          </a:bodyPr>
          <a:lstStyle/>
          <a:p>
            <a:pPr algn="dist"/>
            <a:r>
              <a:rPr lang="en-US" altLang="zh-CN" sz="2800" dirty="0">
                <a:solidFill>
                  <a:schemeClr val="accent1"/>
                </a:solidFill>
              </a:rPr>
              <a:t>CONTENTS</a:t>
            </a:r>
            <a:endParaRPr lang="zh-CN" altLang="en-US" sz="2800" dirty="0">
              <a:solidFill>
                <a:schemeClr val="accent1"/>
              </a:solidFill>
            </a:endParaRPr>
          </a:p>
        </p:txBody>
      </p:sp>
      <p:sp>
        <p:nvSpPr>
          <p:cNvPr id="11" name="文本框 10">
            <a:extLst>
              <a:ext uri="{FF2B5EF4-FFF2-40B4-BE49-F238E27FC236}">
                <a16:creationId xmlns:a16="http://schemas.microsoft.com/office/drawing/2014/main" id="{F7CDEDA4-BD43-4268-A02F-8DB86F4C833C}"/>
              </a:ext>
            </a:extLst>
          </p:cNvPr>
          <p:cNvSpPr txBox="1"/>
          <p:nvPr/>
        </p:nvSpPr>
        <p:spPr>
          <a:xfrm>
            <a:off x="6904495" y="1319862"/>
            <a:ext cx="3385542" cy="430887"/>
          </a:xfrm>
          <a:prstGeom prst="rect">
            <a:avLst/>
          </a:prstGeom>
          <a:noFill/>
        </p:spPr>
        <p:txBody>
          <a:bodyPr wrap="none" lIns="0" tIns="0" rIns="0" bIns="0" rtlCol="0" anchor="t">
            <a:spAutoFit/>
          </a:bodyPr>
          <a:lstStyle/>
          <a:p>
            <a:pPr algn="l"/>
            <a:r>
              <a:rPr lang="en-US" altLang="zh-CN" sz="2800" dirty="0">
                <a:solidFill>
                  <a:schemeClr val="accent1"/>
                </a:solidFill>
                <a:latin typeface="+mj-ea"/>
                <a:ea typeface="+mj-ea"/>
              </a:rPr>
              <a:t>01 </a:t>
            </a:r>
            <a:r>
              <a:rPr lang="zh-CN" altLang="en-US" sz="2800" dirty="0">
                <a:solidFill>
                  <a:schemeClr val="accent1"/>
                </a:solidFill>
                <a:latin typeface="+mj-ea"/>
                <a:ea typeface="+mj-ea"/>
              </a:rPr>
              <a:t>输入你的目录标题</a:t>
            </a:r>
          </a:p>
        </p:txBody>
      </p:sp>
      <p:sp>
        <p:nvSpPr>
          <p:cNvPr id="13" name="文本框 12">
            <a:extLst>
              <a:ext uri="{FF2B5EF4-FFF2-40B4-BE49-F238E27FC236}">
                <a16:creationId xmlns:a16="http://schemas.microsoft.com/office/drawing/2014/main" id="{F64FB992-51B3-43EB-B278-1EE56E02996E}"/>
              </a:ext>
            </a:extLst>
          </p:cNvPr>
          <p:cNvSpPr txBox="1"/>
          <p:nvPr/>
        </p:nvSpPr>
        <p:spPr>
          <a:xfrm>
            <a:off x="6904495" y="2582325"/>
            <a:ext cx="3449662" cy="430887"/>
          </a:xfrm>
          <a:prstGeom prst="rect">
            <a:avLst/>
          </a:prstGeom>
          <a:noFill/>
        </p:spPr>
        <p:txBody>
          <a:bodyPr wrap="none" lIns="0" tIns="0" rIns="0" bIns="0" rtlCol="0" anchor="t">
            <a:spAutoFit/>
          </a:bodyPr>
          <a:lstStyle/>
          <a:p>
            <a:pPr algn="l"/>
            <a:r>
              <a:rPr lang="en-US" altLang="zh-CN" sz="2800" dirty="0">
                <a:solidFill>
                  <a:schemeClr val="accent1"/>
                </a:solidFill>
                <a:latin typeface="+mj-ea"/>
                <a:ea typeface="+mj-ea"/>
              </a:rPr>
              <a:t>02 </a:t>
            </a:r>
            <a:r>
              <a:rPr lang="zh-CN" altLang="en-US" sz="2800" dirty="0">
                <a:solidFill>
                  <a:schemeClr val="accent1"/>
                </a:solidFill>
                <a:latin typeface="+mj-ea"/>
                <a:ea typeface="+mj-ea"/>
              </a:rPr>
              <a:t>输入你的目录标题</a:t>
            </a:r>
          </a:p>
        </p:txBody>
      </p:sp>
      <p:sp>
        <p:nvSpPr>
          <p:cNvPr id="15" name="文本框 14">
            <a:extLst>
              <a:ext uri="{FF2B5EF4-FFF2-40B4-BE49-F238E27FC236}">
                <a16:creationId xmlns:a16="http://schemas.microsoft.com/office/drawing/2014/main" id="{DD4BAA5A-24FB-4EBE-979D-27FD45C0E27B}"/>
              </a:ext>
            </a:extLst>
          </p:cNvPr>
          <p:cNvSpPr txBox="1"/>
          <p:nvPr/>
        </p:nvSpPr>
        <p:spPr>
          <a:xfrm>
            <a:off x="6904495" y="3844788"/>
            <a:ext cx="3449662" cy="430887"/>
          </a:xfrm>
          <a:prstGeom prst="rect">
            <a:avLst/>
          </a:prstGeom>
          <a:noFill/>
        </p:spPr>
        <p:txBody>
          <a:bodyPr wrap="none" lIns="0" tIns="0" rIns="0" bIns="0" rtlCol="0" anchor="t">
            <a:spAutoFit/>
          </a:bodyPr>
          <a:lstStyle/>
          <a:p>
            <a:pPr algn="l"/>
            <a:r>
              <a:rPr lang="en-US" altLang="zh-CN" sz="2800" dirty="0">
                <a:solidFill>
                  <a:schemeClr val="accent1"/>
                </a:solidFill>
                <a:latin typeface="+mj-ea"/>
                <a:ea typeface="+mj-ea"/>
              </a:rPr>
              <a:t>03 </a:t>
            </a:r>
            <a:r>
              <a:rPr lang="zh-CN" altLang="en-US" sz="2800" dirty="0">
                <a:solidFill>
                  <a:schemeClr val="accent1"/>
                </a:solidFill>
                <a:latin typeface="+mj-ea"/>
                <a:ea typeface="+mj-ea"/>
              </a:rPr>
              <a:t>输入你的目录标题</a:t>
            </a:r>
          </a:p>
        </p:txBody>
      </p:sp>
      <p:sp>
        <p:nvSpPr>
          <p:cNvPr id="17" name="文本框 16">
            <a:extLst>
              <a:ext uri="{FF2B5EF4-FFF2-40B4-BE49-F238E27FC236}">
                <a16:creationId xmlns:a16="http://schemas.microsoft.com/office/drawing/2014/main" id="{53D56C99-D0D2-4294-A05D-FECB4E790673}"/>
              </a:ext>
            </a:extLst>
          </p:cNvPr>
          <p:cNvSpPr txBox="1"/>
          <p:nvPr/>
        </p:nvSpPr>
        <p:spPr>
          <a:xfrm>
            <a:off x="6904495" y="5107251"/>
            <a:ext cx="3449662" cy="430887"/>
          </a:xfrm>
          <a:prstGeom prst="rect">
            <a:avLst/>
          </a:prstGeom>
          <a:noFill/>
        </p:spPr>
        <p:txBody>
          <a:bodyPr wrap="none" lIns="0" tIns="0" rIns="0" bIns="0" rtlCol="0" anchor="t">
            <a:spAutoFit/>
          </a:bodyPr>
          <a:lstStyle/>
          <a:p>
            <a:pPr algn="l"/>
            <a:r>
              <a:rPr lang="en-US" altLang="zh-CN" sz="2800" dirty="0">
                <a:solidFill>
                  <a:schemeClr val="accent1"/>
                </a:solidFill>
                <a:latin typeface="+mj-ea"/>
                <a:ea typeface="+mj-ea"/>
              </a:rPr>
              <a:t>04 </a:t>
            </a:r>
            <a:r>
              <a:rPr lang="zh-CN" altLang="en-US" sz="2800" dirty="0">
                <a:solidFill>
                  <a:schemeClr val="accent1"/>
                </a:solidFill>
                <a:latin typeface="+mj-ea"/>
                <a:ea typeface="+mj-ea"/>
              </a:rPr>
              <a:t>输入你的目录标题</a:t>
            </a:r>
          </a:p>
        </p:txBody>
      </p:sp>
      <p:grpSp>
        <p:nvGrpSpPr>
          <p:cNvPr id="21" name="组合 20">
            <a:extLst>
              <a:ext uri="{FF2B5EF4-FFF2-40B4-BE49-F238E27FC236}">
                <a16:creationId xmlns:a16="http://schemas.microsoft.com/office/drawing/2014/main" id="{15274EED-4409-486B-9218-446375BEDC47}"/>
              </a:ext>
            </a:extLst>
          </p:cNvPr>
          <p:cNvGrpSpPr/>
          <p:nvPr/>
        </p:nvGrpSpPr>
        <p:grpSpPr>
          <a:xfrm>
            <a:off x="6904495" y="2114550"/>
            <a:ext cx="3449662" cy="2609850"/>
            <a:chOff x="6904495" y="2114550"/>
            <a:chExt cx="3569036" cy="2609850"/>
          </a:xfrm>
        </p:grpSpPr>
        <p:cxnSp>
          <p:nvCxnSpPr>
            <p:cNvPr id="18" name="直接连接符 17">
              <a:extLst>
                <a:ext uri="{FF2B5EF4-FFF2-40B4-BE49-F238E27FC236}">
                  <a16:creationId xmlns:a16="http://schemas.microsoft.com/office/drawing/2014/main" id="{B4EA5E7E-51CD-4574-BBB1-E45414D73C4C}"/>
                </a:ext>
              </a:extLst>
            </p:cNvPr>
            <p:cNvCxnSpPr>
              <a:cxnSpLocks/>
            </p:cNvCxnSpPr>
            <p:nvPr/>
          </p:nvCxnSpPr>
          <p:spPr>
            <a:xfrm>
              <a:off x="6904495" y="2114550"/>
              <a:ext cx="3569036" cy="0"/>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19" name="直接连接符 18">
              <a:extLst>
                <a:ext uri="{FF2B5EF4-FFF2-40B4-BE49-F238E27FC236}">
                  <a16:creationId xmlns:a16="http://schemas.microsoft.com/office/drawing/2014/main" id="{A36AE0E4-D407-4241-87B8-3B4489181A9E}"/>
                </a:ext>
              </a:extLst>
            </p:cNvPr>
            <p:cNvCxnSpPr>
              <a:cxnSpLocks/>
            </p:cNvCxnSpPr>
            <p:nvPr/>
          </p:nvCxnSpPr>
          <p:spPr>
            <a:xfrm>
              <a:off x="6904495" y="3429000"/>
              <a:ext cx="3569036" cy="0"/>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20" name="直接连接符 19">
              <a:extLst>
                <a:ext uri="{FF2B5EF4-FFF2-40B4-BE49-F238E27FC236}">
                  <a16:creationId xmlns:a16="http://schemas.microsoft.com/office/drawing/2014/main" id="{2EB915A6-3B8D-4A3C-90F9-33AD3BA01632}"/>
                </a:ext>
              </a:extLst>
            </p:cNvPr>
            <p:cNvCxnSpPr>
              <a:cxnSpLocks/>
            </p:cNvCxnSpPr>
            <p:nvPr/>
          </p:nvCxnSpPr>
          <p:spPr>
            <a:xfrm>
              <a:off x="6904495" y="4724400"/>
              <a:ext cx="3569036" cy="0"/>
            </a:xfrm>
            <a:prstGeom prst="line">
              <a:avLst/>
            </a:prstGeom>
            <a:ln w="12700"/>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132480048"/>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6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3">
            <a:extLst>
              <a:ext uri="{FF2B5EF4-FFF2-40B4-BE49-F238E27FC236}">
                <a16:creationId xmlns:a16="http://schemas.microsoft.com/office/drawing/2014/main" id="{A3D4E46C-20D4-45A3-BC60-14A4F65E9814}"/>
              </a:ext>
            </a:extLst>
          </p:cNvPr>
          <p:cNvSpPr/>
          <p:nvPr/>
        </p:nvSpPr>
        <p:spPr>
          <a:xfrm>
            <a:off x="0" y="6096000"/>
            <a:ext cx="12192000" cy="76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FFFFFF"/>
              </a:solidFill>
              <a:effectLst/>
              <a:uLnTx/>
              <a:uFillTx/>
              <a:latin typeface="等线" panose="020F0502020204030204"/>
              <a:ea typeface="+mn-ea"/>
              <a:cs typeface="+mn-cs"/>
            </a:endParaRPr>
          </a:p>
        </p:txBody>
      </p:sp>
      <p:sp>
        <p:nvSpPr>
          <p:cNvPr id="3" name="Title 1">
            <a:extLst>
              <a:ext uri="{FF2B5EF4-FFF2-40B4-BE49-F238E27FC236}">
                <a16:creationId xmlns:a16="http://schemas.microsoft.com/office/drawing/2014/main" id="{8B311347-A844-40AE-8764-7D35FEA90A47}"/>
              </a:ext>
            </a:extLst>
          </p:cNvPr>
          <p:cNvSpPr txBox="1">
            <a:spLocks/>
          </p:cNvSpPr>
          <p:nvPr/>
        </p:nvSpPr>
        <p:spPr>
          <a:xfrm>
            <a:off x="2043113" y="304800"/>
            <a:ext cx="8105775" cy="1105808"/>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ID" sz="4400" b="0" i="0" u="none" strike="noStrike" kern="1200" cap="none" spc="0" normalizeH="0" baseline="0" noProof="0">
                <a:ln>
                  <a:noFill/>
                </a:ln>
                <a:solidFill>
                  <a:srgbClr val="000000"/>
                </a:solidFill>
                <a:effectLst/>
                <a:uLnTx/>
                <a:uFillTx/>
                <a:latin typeface="等线 Light" panose="020F0302020204030204"/>
                <a:ea typeface="+mj-ea"/>
                <a:cs typeface="+mj-cs"/>
              </a:rPr>
              <a:t>Tree Infographic</a:t>
            </a:r>
          </a:p>
        </p:txBody>
      </p:sp>
      <p:grpSp>
        <p:nvGrpSpPr>
          <p:cNvPr id="4" name="Group 41">
            <a:extLst>
              <a:ext uri="{FF2B5EF4-FFF2-40B4-BE49-F238E27FC236}">
                <a16:creationId xmlns:a16="http://schemas.microsoft.com/office/drawing/2014/main" id="{68BEF8CA-475F-4B9B-BA1F-3268B85049E8}"/>
              </a:ext>
            </a:extLst>
          </p:cNvPr>
          <p:cNvGrpSpPr/>
          <p:nvPr/>
        </p:nvGrpSpPr>
        <p:grpSpPr>
          <a:xfrm>
            <a:off x="1042802" y="5128627"/>
            <a:ext cx="1156442" cy="1034462"/>
            <a:chOff x="1097769" y="4578289"/>
            <a:chExt cx="1316368" cy="1177521"/>
          </a:xfrm>
        </p:grpSpPr>
        <p:sp>
          <p:nvSpPr>
            <p:cNvPr id="5" name="Freeform: Shape 42">
              <a:extLst>
                <a:ext uri="{FF2B5EF4-FFF2-40B4-BE49-F238E27FC236}">
                  <a16:creationId xmlns:a16="http://schemas.microsoft.com/office/drawing/2014/main" id="{103438FD-EF67-4D3B-A3D7-14DB6387E627}"/>
                </a:ext>
              </a:extLst>
            </p:cNvPr>
            <p:cNvSpPr/>
            <p:nvPr/>
          </p:nvSpPr>
          <p:spPr>
            <a:xfrm>
              <a:off x="1493896" y="4578289"/>
              <a:ext cx="266755" cy="973740"/>
            </a:xfrm>
            <a:custGeom>
              <a:avLst/>
              <a:gdLst>
                <a:gd name="connsiteX0" fmla="*/ 148629 w 198539"/>
                <a:gd name="connsiteY0" fmla="*/ 188473 h 724730"/>
                <a:gd name="connsiteX1" fmla="*/ 135294 w 198539"/>
                <a:gd name="connsiteY1" fmla="*/ 91318 h 724730"/>
                <a:gd name="connsiteX2" fmla="*/ 126721 w 198539"/>
                <a:gd name="connsiteY2" fmla="*/ 72268 h 724730"/>
                <a:gd name="connsiteX3" fmla="*/ 121006 w 198539"/>
                <a:gd name="connsiteY3" fmla="*/ 63696 h 724730"/>
                <a:gd name="connsiteX4" fmla="*/ 121006 w 198539"/>
                <a:gd name="connsiteY4" fmla="*/ 62743 h 724730"/>
                <a:gd name="connsiteX5" fmla="*/ 121006 w 198539"/>
                <a:gd name="connsiteY5" fmla="*/ 62743 h 724730"/>
                <a:gd name="connsiteX6" fmla="*/ 123864 w 198539"/>
                <a:gd name="connsiteY6" fmla="*/ 59886 h 724730"/>
                <a:gd name="connsiteX7" fmla="*/ 122911 w 198539"/>
                <a:gd name="connsiteY7" fmla="*/ 60838 h 724730"/>
                <a:gd name="connsiteX8" fmla="*/ 121959 w 198539"/>
                <a:gd name="connsiteY8" fmla="*/ 61791 h 724730"/>
                <a:gd name="connsiteX9" fmla="*/ 121959 w 198539"/>
                <a:gd name="connsiteY9" fmla="*/ 61791 h 724730"/>
                <a:gd name="connsiteX10" fmla="*/ 121959 w 198539"/>
                <a:gd name="connsiteY10" fmla="*/ 61791 h 724730"/>
                <a:gd name="connsiteX11" fmla="*/ 121959 w 198539"/>
                <a:gd name="connsiteY11" fmla="*/ 61791 h 724730"/>
                <a:gd name="connsiteX12" fmla="*/ 121006 w 198539"/>
                <a:gd name="connsiteY12" fmla="*/ 60838 h 724730"/>
                <a:gd name="connsiteX13" fmla="*/ 118149 w 198539"/>
                <a:gd name="connsiteY13" fmla="*/ 57981 h 724730"/>
                <a:gd name="connsiteX14" fmla="*/ 86716 w 198539"/>
                <a:gd name="connsiteY14" fmla="*/ 39883 h 724730"/>
                <a:gd name="connsiteX15" fmla="*/ 59094 w 198539"/>
                <a:gd name="connsiteY15" fmla="*/ 41788 h 724730"/>
                <a:gd name="connsiteX16" fmla="*/ 47664 w 198539"/>
                <a:gd name="connsiteY16" fmla="*/ 51313 h 724730"/>
                <a:gd name="connsiteX17" fmla="*/ 39091 w 198539"/>
                <a:gd name="connsiteY17" fmla="*/ 66553 h 724730"/>
                <a:gd name="connsiteX18" fmla="*/ 20041 w 198539"/>
                <a:gd name="connsiteY18" fmla="*/ 137991 h 724730"/>
                <a:gd name="connsiteX19" fmla="*/ 15279 w 198539"/>
                <a:gd name="connsiteY19" fmla="*/ 201808 h 724730"/>
                <a:gd name="connsiteX20" fmla="*/ 13374 w 198539"/>
                <a:gd name="connsiteY20" fmla="*/ 252291 h 724730"/>
                <a:gd name="connsiteX21" fmla="*/ 7659 w 198539"/>
                <a:gd name="connsiteY21" fmla="*/ 283723 h 724730"/>
                <a:gd name="connsiteX22" fmla="*/ 4801 w 198539"/>
                <a:gd name="connsiteY22" fmla="*/ 294201 h 724730"/>
                <a:gd name="connsiteX23" fmla="*/ 6706 w 198539"/>
                <a:gd name="connsiteY23" fmla="*/ 283723 h 724730"/>
                <a:gd name="connsiteX24" fmla="*/ 7659 w 198539"/>
                <a:gd name="connsiteY24" fmla="*/ 252291 h 724730"/>
                <a:gd name="connsiteX25" fmla="*/ 2896 w 198539"/>
                <a:gd name="connsiteY25" fmla="*/ 203713 h 724730"/>
                <a:gd name="connsiteX26" fmla="*/ 991 w 198539"/>
                <a:gd name="connsiteY26" fmla="*/ 136086 h 724730"/>
                <a:gd name="connsiteX27" fmla="*/ 5754 w 198539"/>
                <a:gd name="connsiteY27" fmla="*/ 97033 h 724730"/>
                <a:gd name="connsiteX28" fmla="*/ 9564 w 198539"/>
                <a:gd name="connsiteY28" fmla="*/ 76078 h 724730"/>
                <a:gd name="connsiteX29" fmla="*/ 12421 w 198539"/>
                <a:gd name="connsiteY29" fmla="*/ 64648 h 724730"/>
                <a:gd name="connsiteX30" fmla="*/ 16231 w 198539"/>
                <a:gd name="connsiteY30" fmla="*/ 53218 h 724730"/>
                <a:gd name="connsiteX31" fmla="*/ 26709 w 198539"/>
                <a:gd name="connsiteY31" fmla="*/ 30358 h 724730"/>
                <a:gd name="connsiteX32" fmla="*/ 44806 w 198539"/>
                <a:gd name="connsiteY32" fmla="*/ 11308 h 724730"/>
                <a:gd name="connsiteX33" fmla="*/ 95289 w 198539"/>
                <a:gd name="connsiteY33" fmla="*/ 1783 h 724730"/>
                <a:gd name="connsiteX34" fmla="*/ 141009 w 198539"/>
                <a:gd name="connsiteY34" fmla="*/ 23691 h 724730"/>
                <a:gd name="connsiteX35" fmla="*/ 146724 w 198539"/>
                <a:gd name="connsiteY35" fmla="*/ 28453 h 724730"/>
                <a:gd name="connsiteX36" fmla="*/ 152439 w 198539"/>
                <a:gd name="connsiteY36" fmla="*/ 35121 h 724730"/>
                <a:gd name="connsiteX37" fmla="*/ 161011 w 198539"/>
                <a:gd name="connsiteY37" fmla="*/ 46551 h 724730"/>
                <a:gd name="connsiteX38" fmla="*/ 174346 w 198539"/>
                <a:gd name="connsiteY38" fmla="*/ 72268 h 724730"/>
                <a:gd name="connsiteX39" fmla="*/ 192444 w 198539"/>
                <a:gd name="connsiteY39" fmla="*/ 187521 h 724730"/>
                <a:gd name="connsiteX40" fmla="*/ 197206 w 198539"/>
                <a:gd name="connsiteY40" fmla="*/ 598048 h 724730"/>
                <a:gd name="connsiteX41" fmla="*/ 165774 w 198539"/>
                <a:gd name="connsiteY41" fmla="*/ 724731 h 724730"/>
                <a:gd name="connsiteX42" fmla="*/ 153391 w 198539"/>
                <a:gd name="connsiteY42" fmla="*/ 594238 h 724730"/>
                <a:gd name="connsiteX43" fmla="*/ 148629 w 198539"/>
                <a:gd name="connsiteY43" fmla="*/ 188473 h 724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198539" h="724730">
                  <a:moveTo>
                    <a:pt x="148629" y="188473"/>
                  </a:moveTo>
                  <a:cubicBezTo>
                    <a:pt x="148629" y="152278"/>
                    <a:pt x="145771" y="118941"/>
                    <a:pt x="135294" y="91318"/>
                  </a:cubicBezTo>
                  <a:cubicBezTo>
                    <a:pt x="133389" y="84651"/>
                    <a:pt x="129579" y="77983"/>
                    <a:pt x="126721" y="72268"/>
                  </a:cubicBezTo>
                  <a:lnTo>
                    <a:pt x="121006" y="63696"/>
                  </a:lnTo>
                  <a:lnTo>
                    <a:pt x="121006" y="62743"/>
                  </a:lnTo>
                  <a:lnTo>
                    <a:pt x="121006" y="62743"/>
                  </a:lnTo>
                  <a:cubicBezTo>
                    <a:pt x="118149" y="65601"/>
                    <a:pt x="124816" y="57981"/>
                    <a:pt x="123864" y="59886"/>
                  </a:cubicBezTo>
                  <a:lnTo>
                    <a:pt x="122911" y="60838"/>
                  </a:lnTo>
                  <a:lnTo>
                    <a:pt x="121959" y="61791"/>
                  </a:lnTo>
                  <a:cubicBezTo>
                    <a:pt x="121959" y="61791"/>
                    <a:pt x="121959" y="61791"/>
                    <a:pt x="121959" y="61791"/>
                  </a:cubicBezTo>
                  <a:lnTo>
                    <a:pt x="121959" y="61791"/>
                  </a:lnTo>
                  <a:lnTo>
                    <a:pt x="121959" y="61791"/>
                  </a:lnTo>
                  <a:cubicBezTo>
                    <a:pt x="121959" y="61791"/>
                    <a:pt x="121959" y="61791"/>
                    <a:pt x="121006" y="60838"/>
                  </a:cubicBezTo>
                  <a:cubicBezTo>
                    <a:pt x="120054" y="59886"/>
                    <a:pt x="119101" y="58933"/>
                    <a:pt x="118149" y="57981"/>
                  </a:cubicBezTo>
                  <a:cubicBezTo>
                    <a:pt x="108624" y="49408"/>
                    <a:pt x="97194" y="42741"/>
                    <a:pt x="86716" y="39883"/>
                  </a:cubicBezTo>
                  <a:cubicBezTo>
                    <a:pt x="76239" y="37026"/>
                    <a:pt x="66714" y="37026"/>
                    <a:pt x="59094" y="41788"/>
                  </a:cubicBezTo>
                  <a:cubicBezTo>
                    <a:pt x="55284" y="43693"/>
                    <a:pt x="51474" y="47503"/>
                    <a:pt x="47664" y="51313"/>
                  </a:cubicBezTo>
                  <a:cubicBezTo>
                    <a:pt x="44806" y="56076"/>
                    <a:pt x="40996" y="60838"/>
                    <a:pt x="39091" y="66553"/>
                  </a:cubicBezTo>
                  <a:cubicBezTo>
                    <a:pt x="29566" y="88461"/>
                    <a:pt x="23851" y="116083"/>
                    <a:pt x="20041" y="137991"/>
                  </a:cubicBezTo>
                  <a:cubicBezTo>
                    <a:pt x="16231" y="160851"/>
                    <a:pt x="14326" y="181806"/>
                    <a:pt x="15279" y="201808"/>
                  </a:cubicBezTo>
                  <a:cubicBezTo>
                    <a:pt x="15279" y="220858"/>
                    <a:pt x="15279" y="238003"/>
                    <a:pt x="13374" y="252291"/>
                  </a:cubicBezTo>
                  <a:cubicBezTo>
                    <a:pt x="12421" y="265626"/>
                    <a:pt x="9564" y="276103"/>
                    <a:pt x="7659" y="283723"/>
                  </a:cubicBezTo>
                  <a:cubicBezTo>
                    <a:pt x="5754" y="290391"/>
                    <a:pt x="4801" y="294201"/>
                    <a:pt x="4801" y="294201"/>
                  </a:cubicBezTo>
                  <a:cubicBezTo>
                    <a:pt x="4801" y="294201"/>
                    <a:pt x="5754" y="290391"/>
                    <a:pt x="6706" y="283723"/>
                  </a:cubicBezTo>
                  <a:cubicBezTo>
                    <a:pt x="7659" y="277056"/>
                    <a:pt x="7659" y="266578"/>
                    <a:pt x="7659" y="252291"/>
                  </a:cubicBezTo>
                  <a:cubicBezTo>
                    <a:pt x="6706" y="238956"/>
                    <a:pt x="5754" y="222763"/>
                    <a:pt x="2896" y="203713"/>
                  </a:cubicBezTo>
                  <a:cubicBezTo>
                    <a:pt x="39" y="184663"/>
                    <a:pt x="-914" y="160851"/>
                    <a:pt x="991" y="136086"/>
                  </a:cubicBezTo>
                  <a:cubicBezTo>
                    <a:pt x="1944" y="123703"/>
                    <a:pt x="3849" y="110368"/>
                    <a:pt x="5754" y="97033"/>
                  </a:cubicBezTo>
                  <a:cubicBezTo>
                    <a:pt x="6706" y="90366"/>
                    <a:pt x="7659" y="83698"/>
                    <a:pt x="9564" y="76078"/>
                  </a:cubicBezTo>
                  <a:cubicBezTo>
                    <a:pt x="10516" y="72268"/>
                    <a:pt x="11469" y="68458"/>
                    <a:pt x="12421" y="64648"/>
                  </a:cubicBezTo>
                  <a:cubicBezTo>
                    <a:pt x="13374" y="60838"/>
                    <a:pt x="15279" y="57028"/>
                    <a:pt x="16231" y="53218"/>
                  </a:cubicBezTo>
                  <a:cubicBezTo>
                    <a:pt x="18136" y="45598"/>
                    <a:pt x="22899" y="37978"/>
                    <a:pt x="26709" y="30358"/>
                  </a:cubicBezTo>
                  <a:cubicBezTo>
                    <a:pt x="31471" y="23691"/>
                    <a:pt x="37186" y="16071"/>
                    <a:pt x="44806" y="11308"/>
                  </a:cubicBezTo>
                  <a:cubicBezTo>
                    <a:pt x="59094" y="-122"/>
                    <a:pt x="79096" y="-2027"/>
                    <a:pt x="95289" y="1783"/>
                  </a:cubicBezTo>
                  <a:cubicBezTo>
                    <a:pt x="111481" y="5593"/>
                    <a:pt x="126721" y="13213"/>
                    <a:pt x="141009" y="23691"/>
                  </a:cubicBezTo>
                  <a:cubicBezTo>
                    <a:pt x="142914" y="24643"/>
                    <a:pt x="144819" y="26548"/>
                    <a:pt x="146724" y="28453"/>
                  </a:cubicBezTo>
                  <a:cubicBezTo>
                    <a:pt x="148629" y="30358"/>
                    <a:pt x="151486" y="33216"/>
                    <a:pt x="152439" y="35121"/>
                  </a:cubicBezTo>
                  <a:lnTo>
                    <a:pt x="161011" y="46551"/>
                  </a:lnTo>
                  <a:cubicBezTo>
                    <a:pt x="165774" y="55123"/>
                    <a:pt x="170536" y="63696"/>
                    <a:pt x="174346" y="72268"/>
                  </a:cubicBezTo>
                  <a:cubicBezTo>
                    <a:pt x="189586" y="109416"/>
                    <a:pt x="192444" y="149421"/>
                    <a:pt x="192444" y="187521"/>
                  </a:cubicBezTo>
                  <a:cubicBezTo>
                    <a:pt x="192444" y="225621"/>
                    <a:pt x="201969" y="549471"/>
                    <a:pt x="197206" y="598048"/>
                  </a:cubicBezTo>
                  <a:cubicBezTo>
                    <a:pt x="188634" y="695203"/>
                    <a:pt x="165774" y="724731"/>
                    <a:pt x="165774" y="724731"/>
                  </a:cubicBezTo>
                  <a:cubicBezTo>
                    <a:pt x="165774" y="724731"/>
                    <a:pt x="155296" y="692346"/>
                    <a:pt x="153391" y="594238"/>
                  </a:cubicBezTo>
                  <a:cubicBezTo>
                    <a:pt x="149581" y="546613"/>
                    <a:pt x="149581" y="224668"/>
                    <a:pt x="148629" y="188473"/>
                  </a:cubicBezTo>
                  <a:close/>
                </a:path>
              </a:pathLst>
            </a:custGeom>
            <a:solidFill>
              <a:srgbClr val="754C2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6" name="Freeform: Shape 43">
              <a:extLst>
                <a:ext uri="{FF2B5EF4-FFF2-40B4-BE49-F238E27FC236}">
                  <a16:creationId xmlns:a16="http://schemas.microsoft.com/office/drawing/2014/main" id="{CEE4AE69-5D8F-40ED-87EC-B7BE3C563263}"/>
                </a:ext>
              </a:extLst>
            </p:cNvPr>
            <p:cNvSpPr/>
            <p:nvPr/>
          </p:nvSpPr>
          <p:spPr>
            <a:xfrm>
              <a:off x="1097769" y="5234597"/>
              <a:ext cx="1316368" cy="521213"/>
            </a:xfrm>
            <a:custGeom>
              <a:avLst/>
              <a:gdLst>
                <a:gd name="connsiteX0" fmla="*/ 202473 w 979739"/>
                <a:gd name="connsiteY0" fmla="*/ 188631 h 387926"/>
                <a:gd name="connsiteX1" fmla="*/ 392021 w 979739"/>
                <a:gd name="connsiteY1" fmla="*/ 34326 h 387926"/>
                <a:gd name="connsiteX2" fmla="*/ 483461 w 979739"/>
                <a:gd name="connsiteY2" fmla="*/ 36 h 387926"/>
                <a:gd name="connsiteX3" fmla="*/ 561566 w 979739"/>
                <a:gd name="connsiteY3" fmla="*/ 26706 h 387926"/>
                <a:gd name="connsiteX4" fmla="*/ 749208 w 979739"/>
                <a:gd name="connsiteY4" fmla="*/ 126718 h 387926"/>
                <a:gd name="connsiteX5" fmla="*/ 840648 w 979739"/>
                <a:gd name="connsiteY5" fmla="*/ 190536 h 387926"/>
                <a:gd name="connsiteX6" fmla="*/ 893988 w 979739"/>
                <a:gd name="connsiteY6" fmla="*/ 255306 h 387926"/>
                <a:gd name="connsiteX7" fmla="*/ 957806 w 979739"/>
                <a:gd name="connsiteY7" fmla="*/ 297216 h 387926"/>
                <a:gd name="connsiteX8" fmla="*/ 966378 w 979739"/>
                <a:gd name="connsiteY8" fmla="*/ 357224 h 387926"/>
                <a:gd name="connsiteX9" fmla="*/ 653958 w 979739"/>
                <a:gd name="connsiteY9" fmla="*/ 361986 h 387926"/>
                <a:gd name="connsiteX10" fmla="*/ 302486 w 979739"/>
                <a:gd name="connsiteY10" fmla="*/ 374368 h 387926"/>
                <a:gd name="connsiteX11" fmla="*/ 15783 w 979739"/>
                <a:gd name="connsiteY11" fmla="*/ 372464 h 387926"/>
                <a:gd name="connsiteX12" fmla="*/ 202473 w 979739"/>
                <a:gd name="connsiteY12" fmla="*/ 188631 h 387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79739" h="387926">
                  <a:moveTo>
                    <a:pt x="202473" y="188631"/>
                  </a:moveTo>
                  <a:cubicBezTo>
                    <a:pt x="263433" y="151483"/>
                    <a:pt x="331061" y="71474"/>
                    <a:pt x="392021" y="34326"/>
                  </a:cubicBezTo>
                  <a:cubicBezTo>
                    <a:pt x="419643" y="17181"/>
                    <a:pt x="450123" y="-917"/>
                    <a:pt x="483461" y="36"/>
                  </a:cubicBezTo>
                  <a:cubicBezTo>
                    <a:pt x="511083" y="36"/>
                    <a:pt x="536801" y="13371"/>
                    <a:pt x="561566" y="26706"/>
                  </a:cubicBezTo>
                  <a:cubicBezTo>
                    <a:pt x="624431" y="60043"/>
                    <a:pt x="686343" y="93381"/>
                    <a:pt x="749208" y="126718"/>
                  </a:cubicBezTo>
                  <a:cubicBezTo>
                    <a:pt x="782546" y="143864"/>
                    <a:pt x="815883" y="162914"/>
                    <a:pt x="840648" y="190536"/>
                  </a:cubicBezTo>
                  <a:cubicBezTo>
                    <a:pt x="859698" y="211491"/>
                    <a:pt x="872081" y="238161"/>
                    <a:pt x="893988" y="255306"/>
                  </a:cubicBezTo>
                  <a:cubicBezTo>
                    <a:pt x="913991" y="271499"/>
                    <a:pt x="939708" y="279118"/>
                    <a:pt x="957806" y="297216"/>
                  </a:cubicBezTo>
                  <a:cubicBezTo>
                    <a:pt x="975903" y="315314"/>
                    <a:pt x="992096" y="354366"/>
                    <a:pt x="966378" y="357224"/>
                  </a:cubicBezTo>
                  <a:cubicBezTo>
                    <a:pt x="746351" y="383893"/>
                    <a:pt x="663483" y="361986"/>
                    <a:pt x="653958" y="361986"/>
                  </a:cubicBezTo>
                  <a:cubicBezTo>
                    <a:pt x="512036" y="362939"/>
                    <a:pt x="467268" y="410564"/>
                    <a:pt x="302486" y="374368"/>
                  </a:cubicBezTo>
                  <a:cubicBezTo>
                    <a:pt x="227238" y="358176"/>
                    <a:pt x="98651" y="382941"/>
                    <a:pt x="15783" y="372464"/>
                  </a:cubicBezTo>
                  <a:cubicBezTo>
                    <a:pt x="-57559" y="362939"/>
                    <a:pt x="145323" y="223874"/>
                    <a:pt x="202473" y="188631"/>
                  </a:cubicBezTo>
                  <a:close/>
                </a:path>
              </a:pathLst>
            </a:custGeom>
            <a:solidFill>
              <a:srgbClr val="322B27"/>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7" name="Freeform: Shape 44">
              <a:extLst>
                <a:ext uri="{FF2B5EF4-FFF2-40B4-BE49-F238E27FC236}">
                  <a16:creationId xmlns:a16="http://schemas.microsoft.com/office/drawing/2014/main" id="{72243A1D-E9F1-4FA8-9004-CC3F1C3D9DCE}"/>
                </a:ext>
              </a:extLst>
            </p:cNvPr>
            <p:cNvSpPr/>
            <p:nvPr/>
          </p:nvSpPr>
          <p:spPr>
            <a:xfrm>
              <a:off x="1386321" y="4828384"/>
              <a:ext cx="238251" cy="335873"/>
            </a:xfrm>
            <a:custGeom>
              <a:avLst/>
              <a:gdLst>
                <a:gd name="connsiteX0" fmla="*/ 41052 w 177324"/>
                <a:gd name="connsiteY0" fmla="*/ 1380 h 249982"/>
                <a:gd name="connsiteX1" fmla="*/ 8667 w 177324"/>
                <a:gd name="connsiteY1" fmla="*/ 27098 h 249982"/>
                <a:gd name="connsiteX2" fmla="*/ 34384 w 177324"/>
                <a:gd name="connsiteY2" fmla="*/ 249983 h 249982"/>
                <a:gd name="connsiteX3" fmla="*/ 177259 w 177324"/>
                <a:gd name="connsiteY3" fmla="*/ 37576 h 249982"/>
                <a:gd name="connsiteX4" fmla="*/ 157257 w 177324"/>
                <a:gd name="connsiteY4" fmla="*/ 8048 h 249982"/>
                <a:gd name="connsiteX5" fmla="*/ 109632 w 177324"/>
                <a:gd name="connsiteY5" fmla="*/ 17573 h 249982"/>
                <a:gd name="connsiteX6" fmla="*/ 83914 w 177324"/>
                <a:gd name="connsiteY6" fmla="*/ 61388 h 249982"/>
                <a:gd name="connsiteX7" fmla="*/ 41052 w 177324"/>
                <a:gd name="connsiteY7" fmla="*/ 1380 h 249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7324" h="249982">
                  <a:moveTo>
                    <a:pt x="41052" y="1380"/>
                  </a:moveTo>
                  <a:cubicBezTo>
                    <a:pt x="27717" y="4238"/>
                    <a:pt x="16287" y="15668"/>
                    <a:pt x="8667" y="27098"/>
                  </a:cubicBezTo>
                  <a:cubicBezTo>
                    <a:pt x="-21813" y="72818"/>
                    <a:pt x="38194" y="218551"/>
                    <a:pt x="34384" y="249983"/>
                  </a:cubicBezTo>
                  <a:cubicBezTo>
                    <a:pt x="74389" y="214740"/>
                    <a:pt x="172497" y="112823"/>
                    <a:pt x="177259" y="37576"/>
                  </a:cubicBezTo>
                  <a:cubicBezTo>
                    <a:pt x="178212" y="25193"/>
                    <a:pt x="168687" y="13763"/>
                    <a:pt x="157257" y="8048"/>
                  </a:cubicBezTo>
                  <a:cubicBezTo>
                    <a:pt x="142017" y="-524"/>
                    <a:pt x="122967" y="6143"/>
                    <a:pt x="109632" y="17573"/>
                  </a:cubicBezTo>
                  <a:cubicBezTo>
                    <a:pt x="97249" y="29003"/>
                    <a:pt x="90582" y="45195"/>
                    <a:pt x="83914" y="61388"/>
                  </a:cubicBezTo>
                  <a:cubicBezTo>
                    <a:pt x="84867" y="33765"/>
                    <a:pt x="82962" y="-8145"/>
                    <a:pt x="41052" y="1380"/>
                  </a:cubicBezTo>
                  <a:close/>
                </a:path>
              </a:pathLst>
            </a:custGeom>
            <a:solidFill>
              <a:schemeClr val="accent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grpSp>
        <p:nvGrpSpPr>
          <p:cNvPr id="8" name="Group 45">
            <a:extLst>
              <a:ext uri="{FF2B5EF4-FFF2-40B4-BE49-F238E27FC236}">
                <a16:creationId xmlns:a16="http://schemas.microsoft.com/office/drawing/2014/main" id="{0E90AEDD-FE88-4570-BD3E-C2974167A2DE}"/>
              </a:ext>
            </a:extLst>
          </p:cNvPr>
          <p:cNvGrpSpPr/>
          <p:nvPr/>
        </p:nvGrpSpPr>
        <p:grpSpPr>
          <a:xfrm>
            <a:off x="3029038" y="4630421"/>
            <a:ext cx="1156376" cy="1532668"/>
            <a:chOff x="2934312" y="4011186"/>
            <a:chExt cx="1316294" cy="1744624"/>
          </a:xfrm>
        </p:grpSpPr>
        <p:sp>
          <p:nvSpPr>
            <p:cNvPr id="9" name="Freeform: Shape 46">
              <a:extLst>
                <a:ext uri="{FF2B5EF4-FFF2-40B4-BE49-F238E27FC236}">
                  <a16:creationId xmlns:a16="http://schemas.microsoft.com/office/drawing/2014/main" id="{3343315B-85C7-4E1C-81A4-05B27C3C164E}"/>
                </a:ext>
              </a:extLst>
            </p:cNvPr>
            <p:cNvSpPr/>
            <p:nvPr/>
          </p:nvSpPr>
          <p:spPr>
            <a:xfrm>
              <a:off x="3173716" y="4177556"/>
              <a:ext cx="477922" cy="1314322"/>
            </a:xfrm>
            <a:custGeom>
              <a:avLst/>
              <a:gdLst>
                <a:gd name="connsiteX0" fmla="*/ 348086 w 355705"/>
                <a:gd name="connsiteY0" fmla="*/ 953 h 978217"/>
                <a:gd name="connsiteX1" fmla="*/ 332846 w 355705"/>
                <a:gd name="connsiteY1" fmla="*/ 7620 h 978217"/>
                <a:gd name="connsiteX2" fmla="*/ 289031 w 355705"/>
                <a:gd name="connsiteY2" fmla="*/ 51435 h 978217"/>
                <a:gd name="connsiteX3" fmla="*/ 262361 w 355705"/>
                <a:gd name="connsiteY3" fmla="*/ 130493 h 978217"/>
                <a:gd name="connsiteX4" fmla="*/ 207116 w 355705"/>
                <a:gd name="connsiteY4" fmla="*/ 96203 h 978217"/>
                <a:gd name="connsiteX5" fmla="*/ 143298 w 355705"/>
                <a:gd name="connsiteY5" fmla="*/ 92393 h 978217"/>
                <a:gd name="connsiteX6" fmla="*/ 90911 w 355705"/>
                <a:gd name="connsiteY6" fmla="*/ 114300 h 978217"/>
                <a:gd name="connsiteX7" fmla="*/ 27093 w 355705"/>
                <a:gd name="connsiteY7" fmla="*/ 186690 h 978217"/>
                <a:gd name="connsiteX8" fmla="*/ 5186 w 355705"/>
                <a:gd name="connsiteY8" fmla="*/ 259080 h 978217"/>
                <a:gd name="connsiteX9" fmla="*/ 423 w 355705"/>
                <a:gd name="connsiteY9" fmla="*/ 314325 h 978217"/>
                <a:gd name="connsiteX10" fmla="*/ 423 w 355705"/>
                <a:gd name="connsiteY10" fmla="*/ 360997 h 978217"/>
                <a:gd name="connsiteX11" fmla="*/ 10901 w 355705"/>
                <a:gd name="connsiteY11" fmla="*/ 315278 h 978217"/>
                <a:gd name="connsiteX12" fmla="*/ 55668 w 355705"/>
                <a:gd name="connsiteY12" fmla="*/ 201930 h 978217"/>
                <a:gd name="connsiteX13" fmla="*/ 113771 w 355705"/>
                <a:gd name="connsiteY13" fmla="*/ 151447 h 978217"/>
                <a:gd name="connsiteX14" fmla="*/ 190923 w 355705"/>
                <a:gd name="connsiteY14" fmla="*/ 146685 h 978217"/>
                <a:gd name="connsiteX15" fmla="*/ 249026 w 355705"/>
                <a:gd name="connsiteY15" fmla="*/ 210503 h 978217"/>
                <a:gd name="connsiteX16" fmla="*/ 258551 w 355705"/>
                <a:gd name="connsiteY16" fmla="*/ 240030 h 978217"/>
                <a:gd name="connsiteX17" fmla="*/ 258551 w 355705"/>
                <a:gd name="connsiteY17" fmla="*/ 245745 h 978217"/>
                <a:gd name="connsiteX18" fmla="*/ 271886 w 355705"/>
                <a:gd name="connsiteY18" fmla="*/ 518160 h 978217"/>
                <a:gd name="connsiteX19" fmla="*/ 270933 w 355705"/>
                <a:gd name="connsiteY19" fmla="*/ 564833 h 978217"/>
                <a:gd name="connsiteX20" fmla="*/ 264266 w 355705"/>
                <a:gd name="connsiteY20" fmla="*/ 724853 h 978217"/>
                <a:gd name="connsiteX21" fmla="*/ 253788 w 355705"/>
                <a:gd name="connsiteY21" fmla="*/ 856297 h 978217"/>
                <a:gd name="connsiteX22" fmla="*/ 249026 w 355705"/>
                <a:gd name="connsiteY22" fmla="*/ 906780 h 978217"/>
                <a:gd name="connsiteX23" fmla="*/ 245216 w 355705"/>
                <a:gd name="connsiteY23" fmla="*/ 944880 h 978217"/>
                <a:gd name="connsiteX24" fmla="*/ 241406 w 355705"/>
                <a:gd name="connsiteY24" fmla="*/ 978218 h 978217"/>
                <a:gd name="connsiteX25" fmla="*/ 254741 w 355705"/>
                <a:gd name="connsiteY25" fmla="*/ 947738 h 978217"/>
                <a:gd name="connsiteX26" fmla="*/ 269028 w 355705"/>
                <a:gd name="connsiteY26" fmla="*/ 911543 h 978217"/>
                <a:gd name="connsiteX27" fmla="*/ 285221 w 355705"/>
                <a:gd name="connsiteY27" fmla="*/ 862965 h 978217"/>
                <a:gd name="connsiteX28" fmla="*/ 294746 w 355705"/>
                <a:gd name="connsiteY28" fmla="*/ 831533 h 978217"/>
                <a:gd name="connsiteX29" fmla="*/ 302366 w 355705"/>
                <a:gd name="connsiteY29" fmla="*/ 905828 h 978217"/>
                <a:gd name="connsiteX30" fmla="*/ 316653 w 355705"/>
                <a:gd name="connsiteY30" fmla="*/ 733425 h 978217"/>
                <a:gd name="connsiteX31" fmla="*/ 316653 w 355705"/>
                <a:gd name="connsiteY31" fmla="*/ 732472 h 978217"/>
                <a:gd name="connsiteX32" fmla="*/ 315701 w 355705"/>
                <a:gd name="connsiteY32" fmla="*/ 143828 h 978217"/>
                <a:gd name="connsiteX33" fmla="*/ 319511 w 355705"/>
                <a:gd name="connsiteY33" fmla="*/ 65722 h 978217"/>
                <a:gd name="connsiteX34" fmla="*/ 341418 w 355705"/>
                <a:gd name="connsiteY34" fmla="*/ 16193 h 978217"/>
                <a:gd name="connsiteX35" fmla="*/ 351896 w 355705"/>
                <a:gd name="connsiteY35" fmla="*/ 3810 h 978217"/>
                <a:gd name="connsiteX36" fmla="*/ 355706 w 355705"/>
                <a:gd name="connsiteY36" fmla="*/ 0 h 978217"/>
                <a:gd name="connsiteX37" fmla="*/ 348086 w 355705"/>
                <a:gd name="connsiteY37" fmla="*/ 953 h 978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55705" h="978217">
                  <a:moveTo>
                    <a:pt x="348086" y="953"/>
                  </a:moveTo>
                  <a:cubicBezTo>
                    <a:pt x="344276" y="1905"/>
                    <a:pt x="339513" y="3810"/>
                    <a:pt x="332846" y="7620"/>
                  </a:cubicBezTo>
                  <a:cubicBezTo>
                    <a:pt x="320463" y="14288"/>
                    <a:pt x="303318" y="28575"/>
                    <a:pt x="289031" y="51435"/>
                  </a:cubicBezTo>
                  <a:cubicBezTo>
                    <a:pt x="275696" y="72390"/>
                    <a:pt x="267123" y="100965"/>
                    <a:pt x="262361" y="130493"/>
                  </a:cubicBezTo>
                  <a:cubicBezTo>
                    <a:pt x="246168" y="115253"/>
                    <a:pt x="228071" y="102870"/>
                    <a:pt x="207116" y="96203"/>
                  </a:cubicBezTo>
                  <a:cubicBezTo>
                    <a:pt x="186161" y="88583"/>
                    <a:pt x="163301" y="88583"/>
                    <a:pt x="143298" y="92393"/>
                  </a:cubicBezTo>
                  <a:cubicBezTo>
                    <a:pt x="123296" y="96203"/>
                    <a:pt x="105198" y="103822"/>
                    <a:pt x="90911" y="114300"/>
                  </a:cubicBezTo>
                  <a:cubicBezTo>
                    <a:pt x="60431" y="134303"/>
                    <a:pt x="40428" y="160020"/>
                    <a:pt x="27093" y="186690"/>
                  </a:cubicBezTo>
                  <a:cubicBezTo>
                    <a:pt x="14711" y="212408"/>
                    <a:pt x="8996" y="237172"/>
                    <a:pt x="5186" y="259080"/>
                  </a:cubicBezTo>
                  <a:cubicBezTo>
                    <a:pt x="1376" y="280988"/>
                    <a:pt x="423" y="299085"/>
                    <a:pt x="423" y="314325"/>
                  </a:cubicBezTo>
                  <a:cubicBezTo>
                    <a:pt x="-529" y="344805"/>
                    <a:pt x="423" y="360997"/>
                    <a:pt x="423" y="360997"/>
                  </a:cubicBezTo>
                  <a:cubicBezTo>
                    <a:pt x="423" y="360997"/>
                    <a:pt x="4233" y="344805"/>
                    <a:pt x="10901" y="315278"/>
                  </a:cubicBezTo>
                  <a:cubicBezTo>
                    <a:pt x="18521" y="286703"/>
                    <a:pt x="28046" y="242888"/>
                    <a:pt x="55668" y="201930"/>
                  </a:cubicBezTo>
                  <a:cubicBezTo>
                    <a:pt x="69003" y="181928"/>
                    <a:pt x="89006" y="162878"/>
                    <a:pt x="113771" y="151447"/>
                  </a:cubicBezTo>
                  <a:cubicBezTo>
                    <a:pt x="137583" y="139065"/>
                    <a:pt x="166158" y="135255"/>
                    <a:pt x="190923" y="146685"/>
                  </a:cubicBezTo>
                  <a:cubicBezTo>
                    <a:pt x="215688" y="157163"/>
                    <a:pt x="236643" y="180975"/>
                    <a:pt x="249026" y="210503"/>
                  </a:cubicBezTo>
                  <a:cubicBezTo>
                    <a:pt x="252836" y="220028"/>
                    <a:pt x="255693" y="229553"/>
                    <a:pt x="258551" y="240030"/>
                  </a:cubicBezTo>
                  <a:cubicBezTo>
                    <a:pt x="258551" y="241935"/>
                    <a:pt x="258551" y="243840"/>
                    <a:pt x="258551" y="245745"/>
                  </a:cubicBezTo>
                  <a:cubicBezTo>
                    <a:pt x="258551" y="297180"/>
                    <a:pt x="269981" y="476250"/>
                    <a:pt x="271886" y="518160"/>
                  </a:cubicBezTo>
                  <a:cubicBezTo>
                    <a:pt x="271886" y="533400"/>
                    <a:pt x="270933" y="548640"/>
                    <a:pt x="270933" y="564833"/>
                  </a:cubicBezTo>
                  <a:cubicBezTo>
                    <a:pt x="269028" y="621030"/>
                    <a:pt x="267123" y="675322"/>
                    <a:pt x="264266" y="724853"/>
                  </a:cubicBezTo>
                  <a:cubicBezTo>
                    <a:pt x="261408" y="774383"/>
                    <a:pt x="257598" y="818197"/>
                    <a:pt x="253788" y="856297"/>
                  </a:cubicBezTo>
                  <a:cubicBezTo>
                    <a:pt x="252836" y="875347"/>
                    <a:pt x="249978" y="891540"/>
                    <a:pt x="249026" y="906780"/>
                  </a:cubicBezTo>
                  <a:cubicBezTo>
                    <a:pt x="248073" y="922020"/>
                    <a:pt x="246168" y="934403"/>
                    <a:pt x="245216" y="944880"/>
                  </a:cubicBezTo>
                  <a:cubicBezTo>
                    <a:pt x="243311" y="965835"/>
                    <a:pt x="241406" y="978218"/>
                    <a:pt x="241406" y="978218"/>
                  </a:cubicBezTo>
                  <a:cubicBezTo>
                    <a:pt x="241406" y="978218"/>
                    <a:pt x="246168" y="967740"/>
                    <a:pt x="254741" y="947738"/>
                  </a:cubicBezTo>
                  <a:cubicBezTo>
                    <a:pt x="258551" y="938213"/>
                    <a:pt x="263313" y="925830"/>
                    <a:pt x="269028" y="911543"/>
                  </a:cubicBezTo>
                  <a:cubicBezTo>
                    <a:pt x="273791" y="897255"/>
                    <a:pt x="280458" y="881063"/>
                    <a:pt x="285221" y="862965"/>
                  </a:cubicBezTo>
                  <a:cubicBezTo>
                    <a:pt x="288078" y="853440"/>
                    <a:pt x="290936" y="842963"/>
                    <a:pt x="294746" y="831533"/>
                  </a:cubicBezTo>
                  <a:cubicBezTo>
                    <a:pt x="299508" y="879158"/>
                    <a:pt x="302366" y="905828"/>
                    <a:pt x="302366" y="905828"/>
                  </a:cubicBezTo>
                  <a:cubicBezTo>
                    <a:pt x="302366" y="905828"/>
                    <a:pt x="309986" y="840105"/>
                    <a:pt x="316653" y="733425"/>
                  </a:cubicBezTo>
                  <a:cubicBezTo>
                    <a:pt x="316653" y="733425"/>
                    <a:pt x="316653" y="732472"/>
                    <a:pt x="316653" y="732472"/>
                  </a:cubicBezTo>
                  <a:cubicBezTo>
                    <a:pt x="325226" y="682943"/>
                    <a:pt x="317606" y="171450"/>
                    <a:pt x="315701" y="143828"/>
                  </a:cubicBezTo>
                  <a:cubicBezTo>
                    <a:pt x="313796" y="113347"/>
                    <a:pt x="314748" y="87630"/>
                    <a:pt x="319511" y="65722"/>
                  </a:cubicBezTo>
                  <a:cubicBezTo>
                    <a:pt x="324273" y="43815"/>
                    <a:pt x="333798" y="26670"/>
                    <a:pt x="341418" y="16193"/>
                  </a:cubicBezTo>
                  <a:cubicBezTo>
                    <a:pt x="345228" y="10478"/>
                    <a:pt x="349038" y="6668"/>
                    <a:pt x="351896" y="3810"/>
                  </a:cubicBezTo>
                  <a:cubicBezTo>
                    <a:pt x="354753" y="953"/>
                    <a:pt x="355706" y="0"/>
                    <a:pt x="355706" y="0"/>
                  </a:cubicBezTo>
                  <a:cubicBezTo>
                    <a:pt x="355706" y="0"/>
                    <a:pt x="351896" y="0"/>
                    <a:pt x="348086" y="953"/>
                  </a:cubicBezTo>
                  <a:close/>
                </a:path>
              </a:pathLst>
            </a:custGeom>
            <a:solidFill>
              <a:srgbClr val="754C2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0" name="Freeform: Shape 47">
              <a:extLst>
                <a:ext uri="{FF2B5EF4-FFF2-40B4-BE49-F238E27FC236}">
                  <a16:creationId xmlns:a16="http://schemas.microsoft.com/office/drawing/2014/main" id="{FA610A89-186E-4929-B7B0-22868A451618}"/>
                </a:ext>
              </a:extLst>
            </p:cNvPr>
            <p:cNvSpPr/>
            <p:nvPr/>
          </p:nvSpPr>
          <p:spPr>
            <a:xfrm>
              <a:off x="3062819" y="4540081"/>
              <a:ext cx="238251" cy="336229"/>
            </a:xfrm>
            <a:custGeom>
              <a:avLst/>
              <a:gdLst>
                <a:gd name="connsiteX0" fmla="*/ 41052 w 177324"/>
                <a:gd name="connsiteY0" fmla="*/ 1644 h 250247"/>
                <a:gd name="connsiteX1" fmla="*/ 8667 w 177324"/>
                <a:gd name="connsiteY1" fmla="*/ 27362 h 250247"/>
                <a:gd name="connsiteX2" fmla="*/ 34384 w 177324"/>
                <a:gd name="connsiteY2" fmla="*/ 250247 h 250247"/>
                <a:gd name="connsiteX3" fmla="*/ 177259 w 177324"/>
                <a:gd name="connsiteY3" fmla="*/ 37840 h 250247"/>
                <a:gd name="connsiteX4" fmla="*/ 157257 w 177324"/>
                <a:gd name="connsiteY4" fmla="*/ 8312 h 250247"/>
                <a:gd name="connsiteX5" fmla="*/ 109632 w 177324"/>
                <a:gd name="connsiteY5" fmla="*/ 17837 h 250247"/>
                <a:gd name="connsiteX6" fmla="*/ 83914 w 177324"/>
                <a:gd name="connsiteY6" fmla="*/ 61652 h 250247"/>
                <a:gd name="connsiteX7" fmla="*/ 41052 w 177324"/>
                <a:gd name="connsiteY7" fmla="*/ 1644 h 2502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7324" h="250247">
                  <a:moveTo>
                    <a:pt x="41052" y="1644"/>
                  </a:moveTo>
                  <a:cubicBezTo>
                    <a:pt x="27717" y="4502"/>
                    <a:pt x="16287" y="15932"/>
                    <a:pt x="8667" y="27362"/>
                  </a:cubicBezTo>
                  <a:cubicBezTo>
                    <a:pt x="-21813" y="73082"/>
                    <a:pt x="38194" y="218815"/>
                    <a:pt x="34384" y="250247"/>
                  </a:cubicBezTo>
                  <a:cubicBezTo>
                    <a:pt x="74389" y="215004"/>
                    <a:pt x="172497" y="113087"/>
                    <a:pt x="177259" y="37840"/>
                  </a:cubicBezTo>
                  <a:cubicBezTo>
                    <a:pt x="178212" y="25457"/>
                    <a:pt x="168687" y="14027"/>
                    <a:pt x="157257" y="8312"/>
                  </a:cubicBezTo>
                  <a:cubicBezTo>
                    <a:pt x="142017" y="-260"/>
                    <a:pt x="122967" y="6407"/>
                    <a:pt x="109632" y="17837"/>
                  </a:cubicBezTo>
                  <a:cubicBezTo>
                    <a:pt x="97249" y="29267"/>
                    <a:pt x="90582" y="45460"/>
                    <a:pt x="83914" y="61652"/>
                  </a:cubicBezTo>
                  <a:cubicBezTo>
                    <a:pt x="84867" y="33077"/>
                    <a:pt x="82962" y="-8833"/>
                    <a:pt x="41052" y="1644"/>
                  </a:cubicBezTo>
                  <a:close/>
                </a:path>
              </a:pathLst>
            </a:custGeom>
            <a:solidFill>
              <a:schemeClr val="accent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1" name="Freeform: Shape 48">
              <a:extLst>
                <a:ext uri="{FF2B5EF4-FFF2-40B4-BE49-F238E27FC236}">
                  <a16:creationId xmlns:a16="http://schemas.microsoft.com/office/drawing/2014/main" id="{3DC8EC9D-C567-4310-A2FF-D434A5793974}"/>
                </a:ext>
              </a:extLst>
            </p:cNvPr>
            <p:cNvSpPr/>
            <p:nvPr/>
          </p:nvSpPr>
          <p:spPr>
            <a:xfrm>
              <a:off x="3491689" y="4011186"/>
              <a:ext cx="310963" cy="288701"/>
            </a:xfrm>
            <a:custGeom>
              <a:avLst/>
              <a:gdLst>
                <a:gd name="connsiteX0" fmla="*/ 104760 w 231442"/>
                <a:gd name="connsiteY0" fmla="*/ 213360 h 214873"/>
                <a:gd name="connsiteX1" fmla="*/ 145717 w 231442"/>
                <a:gd name="connsiteY1" fmla="*/ 206693 h 214873"/>
                <a:gd name="connsiteX2" fmla="*/ 231442 w 231442"/>
                <a:gd name="connsiteY2" fmla="*/ 0 h 214873"/>
                <a:gd name="connsiteX3" fmla="*/ 3795 w 231442"/>
                <a:gd name="connsiteY3" fmla="*/ 115253 h 214873"/>
                <a:gd name="connsiteX4" fmla="*/ 6652 w 231442"/>
                <a:gd name="connsiteY4" fmla="*/ 150495 h 214873"/>
                <a:gd name="connsiteX5" fmla="*/ 52372 w 231442"/>
                <a:gd name="connsiteY5" fmla="*/ 164783 h 214873"/>
                <a:gd name="connsiteX6" fmla="*/ 96187 w 231442"/>
                <a:gd name="connsiteY6" fmla="*/ 139065 h 214873"/>
                <a:gd name="connsiteX7" fmla="*/ 104760 w 231442"/>
                <a:gd name="connsiteY7" fmla="*/ 213360 h 214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1442" h="214873">
                  <a:moveTo>
                    <a:pt x="104760" y="213360"/>
                  </a:moveTo>
                  <a:cubicBezTo>
                    <a:pt x="118095" y="217170"/>
                    <a:pt x="133335" y="213360"/>
                    <a:pt x="145717" y="206693"/>
                  </a:cubicBezTo>
                  <a:cubicBezTo>
                    <a:pt x="194295" y="181928"/>
                    <a:pt x="213345" y="24765"/>
                    <a:pt x="231442" y="0"/>
                  </a:cubicBezTo>
                  <a:cubicBezTo>
                    <a:pt x="179055" y="11430"/>
                    <a:pt x="43800" y="52388"/>
                    <a:pt x="3795" y="115253"/>
                  </a:cubicBezTo>
                  <a:cubicBezTo>
                    <a:pt x="-2873" y="125730"/>
                    <a:pt x="-15" y="140018"/>
                    <a:pt x="6652" y="150495"/>
                  </a:cubicBezTo>
                  <a:cubicBezTo>
                    <a:pt x="16177" y="164783"/>
                    <a:pt x="36180" y="169545"/>
                    <a:pt x="52372" y="164783"/>
                  </a:cubicBezTo>
                  <a:cubicBezTo>
                    <a:pt x="68565" y="160972"/>
                    <a:pt x="82852" y="149543"/>
                    <a:pt x="96187" y="139065"/>
                  </a:cubicBezTo>
                  <a:cubicBezTo>
                    <a:pt x="82852" y="163830"/>
                    <a:pt x="63802" y="200978"/>
                    <a:pt x="104760" y="213360"/>
                  </a:cubicBezTo>
                  <a:close/>
                </a:path>
              </a:pathLst>
            </a:custGeom>
            <a:solidFill>
              <a:schemeClr val="accent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2" name="Freeform: Shape 49">
              <a:extLst>
                <a:ext uri="{FF2B5EF4-FFF2-40B4-BE49-F238E27FC236}">
                  <a16:creationId xmlns:a16="http://schemas.microsoft.com/office/drawing/2014/main" id="{F8046223-FCA8-4788-BAB5-CAB7E9413D0B}"/>
                </a:ext>
              </a:extLst>
            </p:cNvPr>
            <p:cNvSpPr/>
            <p:nvPr/>
          </p:nvSpPr>
          <p:spPr>
            <a:xfrm>
              <a:off x="2934312" y="5234597"/>
              <a:ext cx="1316294" cy="521213"/>
            </a:xfrm>
            <a:custGeom>
              <a:avLst/>
              <a:gdLst>
                <a:gd name="connsiteX0" fmla="*/ 202419 w 979684"/>
                <a:gd name="connsiteY0" fmla="*/ 188631 h 387926"/>
                <a:gd name="connsiteX1" fmla="*/ 391966 w 979684"/>
                <a:gd name="connsiteY1" fmla="*/ 34326 h 387926"/>
                <a:gd name="connsiteX2" fmla="*/ 483406 w 979684"/>
                <a:gd name="connsiteY2" fmla="*/ 36 h 387926"/>
                <a:gd name="connsiteX3" fmla="*/ 561511 w 979684"/>
                <a:gd name="connsiteY3" fmla="*/ 26706 h 387926"/>
                <a:gd name="connsiteX4" fmla="*/ 749154 w 979684"/>
                <a:gd name="connsiteY4" fmla="*/ 126718 h 387926"/>
                <a:gd name="connsiteX5" fmla="*/ 840594 w 979684"/>
                <a:gd name="connsiteY5" fmla="*/ 190536 h 387926"/>
                <a:gd name="connsiteX6" fmla="*/ 893934 w 979684"/>
                <a:gd name="connsiteY6" fmla="*/ 255306 h 387926"/>
                <a:gd name="connsiteX7" fmla="*/ 957751 w 979684"/>
                <a:gd name="connsiteY7" fmla="*/ 297216 h 387926"/>
                <a:gd name="connsiteX8" fmla="*/ 966324 w 979684"/>
                <a:gd name="connsiteY8" fmla="*/ 357224 h 387926"/>
                <a:gd name="connsiteX9" fmla="*/ 653904 w 979684"/>
                <a:gd name="connsiteY9" fmla="*/ 361986 h 387926"/>
                <a:gd name="connsiteX10" fmla="*/ 302431 w 979684"/>
                <a:gd name="connsiteY10" fmla="*/ 374368 h 387926"/>
                <a:gd name="connsiteX11" fmla="*/ 15729 w 979684"/>
                <a:gd name="connsiteY11" fmla="*/ 372464 h 387926"/>
                <a:gd name="connsiteX12" fmla="*/ 202419 w 979684"/>
                <a:gd name="connsiteY12" fmla="*/ 188631 h 387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79684" h="387926">
                  <a:moveTo>
                    <a:pt x="202419" y="188631"/>
                  </a:moveTo>
                  <a:cubicBezTo>
                    <a:pt x="263379" y="151483"/>
                    <a:pt x="331006" y="71474"/>
                    <a:pt x="391966" y="34326"/>
                  </a:cubicBezTo>
                  <a:cubicBezTo>
                    <a:pt x="419589" y="17181"/>
                    <a:pt x="450069" y="-917"/>
                    <a:pt x="483406" y="36"/>
                  </a:cubicBezTo>
                  <a:cubicBezTo>
                    <a:pt x="511029" y="36"/>
                    <a:pt x="536746" y="13371"/>
                    <a:pt x="561511" y="26706"/>
                  </a:cubicBezTo>
                  <a:cubicBezTo>
                    <a:pt x="624376" y="60043"/>
                    <a:pt x="686289" y="93381"/>
                    <a:pt x="749154" y="126718"/>
                  </a:cubicBezTo>
                  <a:cubicBezTo>
                    <a:pt x="782491" y="143864"/>
                    <a:pt x="815829" y="162914"/>
                    <a:pt x="840594" y="190536"/>
                  </a:cubicBezTo>
                  <a:cubicBezTo>
                    <a:pt x="859644" y="211491"/>
                    <a:pt x="872026" y="238161"/>
                    <a:pt x="893934" y="255306"/>
                  </a:cubicBezTo>
                  <a:cubicBezTo>
                    <a:pt x="913936" y="271499"/>
                    <a:pt x="939654" y="279118"/>
                    <a:pt x="957751" y="297216"/>
                  </a:cubicBezTo>
                  <a:cubicBezTo>
                    <a:pt x="975849" y="315314"/>
                    <a:pt x="992041" y="354366"/>
                    <a:pt x="966324" y="357224"/>
                  </a:cubicBezTo>
                  <a:cubicBezTo>
                    <a:pt x="746296" y="383893"/>
                    <a:pt x="663429" y="361986"/>
                    <a:pt x="653904" y="361986"/>
                  </a:cubicBezTo>
                  <a:cubicBezTo>
                    <a:pt x="511981" y="362939"/>
                    <a:pt x="467214" y="410564"/>
                    <a:pt x="302431" y="374368"/>
                  </a:cubicBezTo>
                  <a:cubicBezTo>
                    <a:pt x="227184" y="358176"/>
                    <a:pt x="98596" y="382941"/>
                    <a:pt x="15729" y="372464"/>
                  </a:cubicBezTo>
                  <a:cubicBezTo>
                    <a:pt x="-57614" y="362939"/>
                    <a:pt x="146221" y="223874"/>
                    <a:pt x="202419" y="188631"/>
                  </a:cubicBezTo>
                  <a:close/>
                </a:path>
              </a:pathLst>
            </a:custGeom>
            <a:solidFill>
              <a:srgbClr val="322B27"/>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grpSp>
        <p:nvGrpSpPr>
          <p:cNvPr id="13" name="Group 50">
            <a:extLst>
              <a:ext uri="{FF2B5EF4-FFF2-40B4-BE49-F238E27FC236}">
                <a16:creationId xmlns:a16="http://schemas.microsoft.com/office/drawing/2014/main" id="{7F29125D-9DC3-490C-9B3A-85E81B305BF5}"/>
              </a:ext>
            </a:extLst>
          </p:cNvPr>
          <p:cNvGrpSpPr/>
          <p:nvPr/>
        </p:nvGrpSpPr>
        <p:grpSpPr>
          <a:xfrm>
            <a:off x="4923551" y="4467907"/>
            <a:ext cx="1422142" cy="1695182"/>
            <a:chOff x="4594830" y="3827476"/>
            <a:chExt cx="1618813" cy="1929615"/>
          </a:xfrm>
        </p:grpSpPr>
        <p:sp>
          <p:nvSpPr>
            <p:cNvPr id="14" name="Freeform: Shape 51">
              <a:extLst>
                <a:ext uri="{FF2B5EF4-FFF2-40B4-BE49-F238E27FC236}">
                  <a16:creationId xmlns:a16="http://schemas.microsoft.com/office/drawing/2014/main" id="{C79F9F0F-E77B-49C3-9DF8-1792BCF6243D}"/>
                </a:ext>
              </a:extLst>
            </p:cNvPr>
            <p:cNvSpPr/>
            <p:nvPr/>
          </p:nvSpPr>
          <p:spPr>
            <a:xfrm>
              <a:off x="5014467" y="4551954"/>
              <a:ext cx="238251" cy="335873"/>
            </a:xfrm>
            <a:custGeom>
              <a:avLst/>
              <a:gdLst>
                <a:gd name="connsiteX0" fmla="*/ 41051 w 177324"/>
                <a:gd name="connsiteY0" fmla="*/ 1380 h 249982"/>
                <a:gd name="connsiteX1" fmla="*/ 8667 w 177324"/>
                <a:gd name="connsiteY1" fmla="*/ 27098 h 249982"/>
                <a:gd name="connsiteX2" fmla="*/ 34384 w 177324"/>
                <a:gd name="connsiteY2" fmla="*/ 249983 h 249982"/>
                <a:gd name="connsiteX3" fmla="*/ 177259 w 177324"/>
                <a:gd name="connsiteY3" fmla="*/ 37576 h 249982"/>
                <a:gd name="connsiteX4" fmla="*/ 157257 w 177324"/>
                <a:gd name="connsiteY4" fmla="*/ 8048 h 249982"/>
                <a:gd name="connsiteX5" fmla="*/ 109632 w 177324"/>
                <a:gd name="connsiteY5" fmla="*/ 17573 h 249982"/>
                <a:gd name="connsiteX6" fmla="*/ 83914 w 177324"/>
                <a:gd name="connsiteY6" fmla="*/ 61388 h 249982"/>
                <a:gd name="connsiteX7" fmla="*/ 41051 w 177324"/>
                <a:gd name="connsiteY7" fmla="*/ 1380 h 249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7324" h="249982">
                  <a:moveTo>
                    <a:pt x="41051" y="1380"/>
                  </a:moveTo>
                  <a:cubicBezTo>
                    <a:pt x="27717" y="4238"/>
                    <a:pt x="16287" y="15668"/>
                    <a:pt x="8667" y="27098"/>
                  </a:cubicBezTo>
                  <a:cubicBezTo>
                    <a:pt x="-21813" y="72818"/>
                    <a:pt x="38194" y="218551"/>
                    <a:pt x="34384" y="249983"/>
                  </a:cubicBezTo>
                  <a:cubicBezTo>
                    <a:pt x="74389" y="214741"/>
                    <a:pt x="172497" y="112823"/>
                    <a:pt x="177259" y="37576"/>
                  </a:cubicBezTo>
                  <a:cubicBezTo>
                    <a:pt x="178212" y="25193"/>
                    <a:pt x="168687" y="13763"/>
                    <a:pt x="157257" y="8048"/>
                  </a:cubicBezTo>
                  <a:cubicBezTo>
                    <a:pt x="142017" y="-524"/>
                    <a:pt x="122967" y="6143"/>
                    <a:pt x="109632" y="17573"/>
                  </a:cubicBezTo>
                  <a:cubicBezTo>
                    <a:pt x="97249" y="29003"/>
                    <a:pt x="90582" y="45195"/>
                    <a:pt x="83914" y="61388"/>
                  </a:cubicBezTo>
                  <a:cubicBezTo>
                    <a:pt x="84867" y="33766"/>
                    <a:pt x="83914" y="-8145"/>
                    <a:pt x="41051" y="1380"/>
                  </a:cubicBezTo>
                  <a:close/>
                </a:path>
              </a:pathLst>
            </a:custGeom>
            <a:solidFill>
              <a:schemeClr val="accent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5" name="Freeform: Shape 52">
              <a:extLst>
                <a:ext uri="{FF2B5EF4-FFF2-40B4-BE49-F238E27FC236}">
                  <a16:creationId xmlns:a16="http://schemas.microsoft.com/office/drawing/2014/main" id="{60013034-A2AF-4313-8B2D-7A696D662B9D}"/>
                </a:ext>
              </a:extLst>
            </p:cNvPr>
            <p:cNvSpPr/>
            <p:nvPr/>
          </p:nvSpPr>
          <p:spPr>
            <a:xfrm>
              <a:off x="4594830" y="3951911"/>
              <a:ext cx="467225" cy="477760"/>
            </a:xfrm>
            <a:custGeom>
              <a:avLst/>
              <a:gdLst>
                <a:gd name="connsiteX0" fmla="*/ 170497 w 347744"/>
                <a:gd name="connsiteY0" fmla="*/ 1255 h 355585"/>
                <a:gd name="connsiteX1" fmla="*/ 107632 w 347744"/>
                <a:gd name="connsiteY1" fmla="*/ 17448 h 355585"/>
                <a:gd name="connsiteX2" fmla="*/ 0 w 347744"/>
                <a:gd name="connsiteY2" fmla="*/ 355585 h 355585"/>
                <a:gd name="connsiteX3" fmla="*/ 343852 w 347744"/>
                <a:gd name="connsiteY3" fmla="*/ 142225 h 355585"/>
                <a:gd name="connsiteX4" fmla="*/ 334327 w 347744"/>
                <a:gd name="connsiteY4" fmla="*/ 86980 h 355585"/>
                <a:gd name="connsiteX5" fmla="*/ 260032 w 347744"/>
                <a:gd name="connsiteY5" fmla="*/ 69835 h 355585"/>
                <a:gd name="connsiteX6" fmla="*/ 193357 w 347744"/>
                <a:gd name="connsiteY6" fmla="*/ 115555 h 355585"/>
                <a:gd name="connsiteX7" fmla="*/ 170497 w 347744"/>
                <a:gd name="connsiteY7" fmla="*/ 1255 h 3555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7744" h="355585">
                  <a:moveTo>
                    <a:pt x="170497" y="1255"/>
                  </a:moveTo>
                  <a:cubicBezTo>
                    <a:pt x="148590" y="-3507"/>
                    <a:pt x="126682" y="6018"/>
                    <a:pt x="107632" y="17448"/>
                  </a:cubicBezTo>
                  <a:cubicBezTo>
                    <a:pt x="34290" y="63168"/>
                    <a:pt x="25717" y="312723"/>
                    <a:pt x="0" y="355585"/>
                  </a:cubicBezTo>
                  <a:cubicBezTo>
                    <a:pt x="80963" y="330820"/>
                    <a:pt x="288607" y="247953"/>
                    <a:pt x="343852" y="142225"/>
                  </a:cubicBezTo>
                  <a:cubicBezTo>
                    <a:pt x="352425" y="125080"/>
                    <a:pt x="345757" y="102220"/>
                    <a:pt x="334327" y="86980"/>
                  </a:cubicBezTo>
                  <a:cubicBezTo>
                    <a:pt x="318135" y="65073"/>
                    <a:pt x="285750" y="61263"/>
                    <a:pt x="260032" y="69835"/>
                  </a:cubicBezTo>
                  <a:cubicBezTo>
                    <a:pt x="234315" y="78408"/>
                    <a:pt x="213360" y="97458"/>
                    <a:pt x="193357" y="115555"/>
                  </a:cubicBezTo>
                  <a:cubicBezTo>
                    <a:pt x="213360" y="75550"/>
                    <a:pt x="237172" y="14590"/>
                    <a:pt x="170497" y="1255"/>
                  </a:cubicBezTo>
                  <a:close/>
                </a:path>
              </a:pathLst>
            </a:custGeom>
            <a:solidFill>
              <a:schemeClr val="accent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6" name="Freeform: Shape 53">
              <a:extLst>
                <a:ext uri="{FF2B5EF4-FFF2-40B4-BE49-F238E27FC236}">
                  <a16:creationId xmlns:a16="http://schemas.microsoft.com/office/drawing/2014/main" id="{0F8EEE3D-A411-40AC-BA6A-87C144BAE0CD}"/>
                </a:ext>
              </a:extLst>
            </p:cNvPr>
            <p:cNvSpPr/>
            <p:nvPr/>
          </p:nvSpPr>
          <p:spPr>
            <a:xfrm>
              <a:off x="5518062" y="4073969"/>
              <a:ext cx="261833" cy="180624"/>
            </a:xfrm>
            <a:custGeom>
              <a:avLst/>
              <a:gdLst>
                <a:gd name="connsiteX0" fmla="*/ 59621 w 194876"/>
                <a:gd name="connsiteY0" fmla="*/ 129485 h 134434"/>
                <a:gd name="connsiteX1" fmla="*/ 90101 w 194876"/>
                <a:gd name="connsiteY1" fmla="*/ 133295 h 134434"/>
                <a:gd name="connsiteX2" fmla="*/ 194876 w 194876"/>
                <a:gd name="connsiteY2" fmla="*/ 898 h 134434"/>
                <a:gd name="connsiteX3" fmla="*/ 6281 w 194876"/>
                <a:gd name="connsiteY3" fmla="*/ 38045 h 134434"/>
                <a:gd name="connsiteX4" fmla="*/ 1519 w 194876"/>
                <a:gd name="connsiteY4" fmla="*/ 63763 h 134434"/>
                <a:gd name="connsiteX5" fmla="*/ 31999 w 194876"/>
                <a:gd name="connsiteY5" fmla="*/ 83766 h 134434"/>
                <a:gd name="connsiteX6" fmla="*/ 69146 w 194876"/>
                <a:gd name="connsiteY6" fmla="*/ 74241 h 134434"/>
                <a:gd name="connsiteX7" fmla="*/ 59621 w 194876"/>
                <a:gd name="connsiteY7" fmla="*/ 129485 h 134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4876" h="134434">
                  <a:moveTo>
                    <a:pt x="59621" y="129485"/>
                  </a:moveTo>
                  <a:cubicBezTo>
                    <a:pt x="68194" y="135200"/>
                    <a:pt x="79624" y="135200"/>
                    <a:pt x="90101" y="133295"/>
                  </a:cubicBezTo>
                  <a:cubicBezTo>
                    <a:pt x="130106" y="124723"/>
                    <a:pt x="176779" y="15185"/>
                    <a:pt x="194876" y="898"/>
                  </a:cubicBezTo>
                  <a:cubicBezTo>
                    <a:pt x="154871" y="-1959"/>
                    <a:pt x="48191" y="-55"/>
                    <a:pt x="6281" y="38045"/>
                  </a:cubicBezTo>
                  <a:cubicBezTo>
                    <a:pt x="-386" y="43760"/>
                    <a:pt x="-1339" y="55191"/>
                    <a:pt x="1519" y="63763"/>
                  </a:cubicBezTo>
                  <a:cubicBezTo>
                    <a:pt x="5329" y="76145"/>
                    <a:pt x="18664" y="83766"/>
                    <a:pt x="31999" y="83766"/>
                  </a:cubicBezTo>
                  <a:cubicBezTo>
                    <a:pt x="45334" y="83766"/>
                    <a:pt x="57716" y="79003"/>
                    <a:pt x="69146" y="74241"/>
                  </a:cubicBezTo>
                  <a:cubicBezTo>
                    <a:pt x="53906" y="89481"/>
                    <a:pt x="31999" y="112341"/>
                    <a:pt x="59621" y="129485"/>
                  </a:cubicBezTo>
                  <a:close/>
                </a:path>
              </a:pathLst>
            </a:custGeom>
            <a:solidFill>
              <a:schemeClr val="accent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7" name="Freeform: Shape 54">
              <a:extLst>
                <a:ext uri="{FF2B5EF4-FFF2-40B4-BE49-F238E27FC236}">
                  <a16:creationId xmlns:a16="http://schemas.microsoft.com/office/drawing/2014/main" id="{BC867888-213F-44DB-827D-10841A825730}"/>
                </a:ext>
              </a:extLst>
            </p:cNvPr>
            <p:cNvSpPr/>
            <p:nvPr/>
          </p:nvSpPr>
          <p:spPr>
            <a:xfrm>
              <a:off x="4814949" y="3827476"/>
              <a:ext cx="794736" cy="1421248"/>
            </a:xfrm>
            <a:custGeom>
              <a:avLst/>
              <a:gdLst>
                <a:gd name="connsiteX0" fmla="*/ 591503 w 591502"/>
                <a:gd name="connsiteY0" fmla="*/ 259604 h 1057799"/>
                <a:gd name="connsiteX1" fmla="*/ 587693 w 591502"/>
                <a:gd name="connsiteY1" fmla="*/ 263415 h 1057799"/>
                <a:gd name="connsiteX2" fmla="*/ 578168 w 591502"/>
                <a:gd name="connsiteY2" fmla="*/ 275797 h 1057799"/>
                <a:gd name="connsiteX3" fmla="*/ 556260 w 591502"/>
                <a:gd name="connsiteY3" fmla="*/ 325327 h 1057799"/>
                <a:gd name="connsiteX4" fmla="*/ 552450 w 591502"/>
                <a:gd name="connsiteY4" fmla="*/ 403432 h 1057799"/>
                <a:gd name="connsiteX5" fmla="*/ 554355 w 591502"/>
                <a:gd name="connsiteY5" fmla="*/ 461534 h 1057799"/>
                <a:gd name="connsiteX6" fmla="*/ 559118 w 591502"/>
                <a:gd name="connsiteY6" fmla="*/ 528209 h 1057799"/>
                <a:gd name="connsiteX7" fmla="*/ 557213 w 591502"/>
                <a:gd name="connsiteY7" fmla="*/ 671084 h 1057799"/>
                <a:gd name="connsiteX8" fmla="*/ 553403 w 591502"/>
                <a:gd name="connsiteY8" fmla="*/ 992077 h 1057799"/>
                <a:gd name="connsiteX9" fmla="*/ 553403 w 591502"/>
                <a:gd name="connsiteY9" fmla="*/ 993029 h 1057799"/>
                <a:gd name="connsiteX10" fmla="*/ 549593 w 591502"/>
                <a:gd name="connsiteY10" fmla="*/ 1046369 h 1057799"/>
                <a:gd name="connsiteX11" fmla="*/ 544830 w 591502"/>
                <a:gd name="connsiteY11" fmla="*/ 1046369 h 1057799"/>
                <a:gd name="connsiteX12" fmla="*/ 496253 w 591502"/>
                <a:gd name="connsiteY12" fmla="*/ 1057799 h 1057799"/>
                <a:gd name="connsiteX13" fmla="*/ 501015 w 591502"/>
                <a:gd name="connsiteY13" fmla="*/ 985409 h 1057799"/>
                <a:gd name="connsiteX14" fmla="*/ 505778 w 591502"/>
                <a:gd name="connsiteY14" fmla="*/ 877777 h 1057799"/>
                <a:gd name="connsiteX15" fmla="*/ 502920 w 591502"/>
                <a:gd name="connsiteY15" fmla="*/ 827294 h 1057799"/>
                <a:gd name="connsiteX16" fmla="*/ 501968 w 591502"/>
                <a:gd name="connsiteY16" fmla="*/ 684419 h 1057799"/>
                <a:gd name="connsiteX17" fmla="*/ 501968 w 591502"/>
                <a:gd name="connsiteY17" fmla="*/ 679657 h 1057799"/>
                <a:gd name="connsiteX18" fmla="*/ 494347 w 591502"/>
                <a:gd name="connsiteY18" fmla="*/ 506302 h 1057799"/>
                <a:gd name="connsiteX19" fmla="*/ 494347 w 591502"/>
                <a:gd name="connsiteY19" fmla="*/ 500587 h 1057799"/>
                <a:gd name="connsiteX20" fmla="*/ 484822 w 591502"/>
                <a:gd name="connsiteY20" fmla="*/ 471059 h 1057799"/>
                <a:gd name="connsiteX21" fmla="*/ 426720 w 591502"/>
                <a:gd name="connsiteY21" fmla="*/ 407242 h 1057799"/>
                <a:gd name="connsiteX22" fmla="*/ 350520 w 591502"/>
                <a:gd name="connsiteY22" fmla="*/ 412004 h 1057799"/>
                <a:gd name="connsiteX23" fmla="*/ 292418 w 591502"/>
                <a:gd name="connsiteY23" fmla="*/ 463440 h 1057799"/>
                <a:gd name="connsiteX24" fmla="*/ 247650 w 591502"/>
                <a:gd name="connsiteY24" fmla="*/ 576787 h 1057799"/>
                <a:gd name="connsiteX25" fmla="*/ 237172 w 591502"/>
                <a:gd name="connsiteY25" fmla="*/ 622507 h 1057799"/>
                <a:gd name="connsiteX26" fmla="*/ 237172 w 591502"/>
                <a:gd name="connsiteY26" fmla="*/ 575834 h 1057799"/>
                <a:gd name="connsiteX27" fmla="*/ 241935 w 591502"/>
                <a:gd name="connsiteY27" fmla="*/ 520590 h 1057799"/>
                <a:gd name="connsiteX28" fmla="*/ 263843 w 591502"/>
                <a:gd name="connsiteY28" fmla="*/ 448199 h 1057799"/>
                <a:gd name="connsiteX29" fmla="*/ 327660 w 591502"/>
                <a:gd name="connsiteY29" fmla="*/ 375809 h 1057799"/>
                <a:gd name="connsiteX30" fmla="*/ 380047 w 591502"/>
                <a:gd name="connsiteY30" fmla="*/ 353902 h 1057799"/>
                <a:gd name="connsiteX31" fmla="*/ 443865 w 591502"/>
                <a:gd name="connsiteY31" fmla="*/ 357712 h 1057799"/>
                <a:gd name="connsiteX32" fmla="*/ 476250 w 591502"/>
                <a:gd name="connsiteY32" fmla="*/ 373904 h 1057799"/>
                <a:gd name="connsiteX33" fmla="*/ 475297 w 591502"/>
                <a:gd name="connsiteY33" fmla="*/ 369142 h 1057799"/>
                <a:gd name="connsiteX34" fmla="*/ 429578 w 591502"/>
                <a:gd name="connsiteY34" fmla="*/ 213884 h 1057799"/>
                <a:gd name="connsiteX35" fmla="*/ 353378 w 591502"/>
                <a:gd name="connsiteY35" fmla="*/ 90059 h 1057799"/>
                <a:gd name="connsiteX36" fmla="*/ 301943 w 591502"/>
                <a:gd name="connsiteY36" fmla="*/ 52912 h 1057799"/>
                <a:gd name="connsiteX37" fmla="*/ 245745 w 591502"/>
                <a:gd name="connsiteY37" fmla="*/ 42434 h 1057799"/>
                <a:gd name="connsiteX38" fmla="*/ 145733 w 591502"/>
                <a:gd name="connsiteY38" fmla="*/ 88154 h 1057799"/>
                <a:gd name="connsiteX39" fmla="*/ 107633 w 591502"/>
                <a:gd name="connsiteY39" fmla="*/ 123397 h 1057799"/>
                <a:gd name="connsiteX40" fmla="*/ 77153 w 591502"/>
                <a:gd name="connsiteY40" fmla="*/ 159592 h 1057799"/>
                <a:gd name="connsiteX41" fmla="*/ 52388 w 591502"/>
                <a:gd name="connsiteY41" fmla="*/ 192929 h 1057799"/>
                <a:gd name="connsiteX42" fmla="*/ 33338 w 591502"/>
                <a:gd name="connsiteY42" fmla="*/ 222457 h 1057799"/>
                <a:gd name="connsiteX43" fmla="*/ 8572 w 591502"/>
                <a:gd name="connsiteY43" fmla="*/ 264367 h 1057799"/>
                <a:gd name="connsiteX44" fmla="*/ 0 w 591502"/>
                <a:gd name="connsiteY44" fmla="*/ 278654 h 1057799"/>
                <a:gd name="connsiteX45" fmla="*/ 6668 w 591502"/>
                <a:gd name="connsiteY45" fmla="*/ 263415 h 1057799"/>
                <a:gd name="connsiteX46" fmla="*/ 25718 w 591502"/>
                <a:gd name="connsiteY46" fmla="*/ 218647 h 1057799"/>
                <a:gd name="connsiteX47" fmla="*/ 40958 w 591502"/>
                <a:gd name="connsiteY47" fmla="*/ 186262 h 1057799"/>
                <a:gd name="connsiteX48" fmla="*/ 61913 w 591502"/>
                <a:gd name="connsiteY48" fmla="*/ 149114 h 1057799"/>
                <a:gd name="connsiteX49" fmla="*/ 125730 w 591502"/>
                <a:gd name="connsiteY49" fmla="*/ 66247 h 1057799"/>
                <a:gd name="connsiteX50" fmla="*/ 148590 w 591502"/>
                <a:gd name="connsiteY50" fmla="*/ 45292 h 1057799"/>
                <a:gd name="connsiteX51" fmla="*/ 160972 w 591502"/>
                <a:gd name="connsiteY51" fmla="*/ 35767 h 1057799"/>
                <a:gd name="connsiteX52" fmla="*/ 175260 w 591502"/>
                <a:gd name="connsiteY52" fmla="*/ 27194 h 1057799"/>
                <a:gd name="connsiteX53" fmla="*/ 241935 w 591502"/>
                <a:gd name="connsiteY53" fmla="*/ 1477 h 1057799"/>
                <a:gd name="connsiteX54" fmla="*/ 320993 w 591502"/>
                <a:gd name="connsiteY54" fmla="*/ 10049 h 1057799"/>
                <a:gd name="connsiteX55" fmla="*/ 390525 w 591502"/>
                <a:gd name="connsiteY55" fmla="*/ 53864 h 1057799"/>
                <a:gd name="connsiteX56" fmla="*/ 484822 w 591502"/>
                <a:gd name="connsiteY56" fmla="*/ 191977 h 1057799"/>
                <a:gd name="connsiteX57" fmla="*/ 526733 w 591502"/>
                <a:gd name="connsiteY57" fmla="*/ 313897 h 1057799"/>
                <a:gd name="connsiteX58" fmla="*/ 570547 w 591502"/>
                <a:gd name="connsiteY58" fmla="*/ 270082 h 1057799"/>
                <a:gd name="connsiteX59" fmla="*/ 585788 w 591502"/>
                <a:gd name="connsiteY59" fmla="*/ 263415 h 1057799"/>
                <a:gd name="connsiteX60" fmla="*/ 591503 w 591502"/>
                <a:gd name="connsiteY60" fmla="*/ 259604 h 1057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591502" h="1057799">
                  <a:moveTo>
                    <a:pt x="591503" y="259604"/>
                  </a:moveTo>
                  <a:cubicBezTo>
                    <a:pt x="591503" y="259604"/>
                    <a:pt x="590550" y="260557"/>
                    <a:pt x="587693" y="263415"/>
                  </a:cubicBezTo>
                  <a:cubicBezTo>
                    <a:pt x="584835" y="266272"/>
                    <a:pt x="581978" y="270082"/>
                    <a:pt x="578168" y="275797"/>
                  </a:cubicBezTo>
                  <a:cubicBezTo>
                    <a:pt x="570547" y="286274"/>
                    <a:pt x="561022" y="303419"/>
                    <a:pt x="556260" y="325327"/>
                  </a:cubicBezTo>
                  <a:cubicBezTo>
                    <a:pt x="550545" y="347234"/>
                    <a:pt x="550545" y="372952"/>
                    <a:pt x="552450" y="403432"/>
                  </a:cubicBezTo>
                  <a:cubicBezTo>
                    <a:pt x="552450" y="408194"/>
                    <a:pt x="553403" y="430102"/>
                    <a:pt x="554355" y="461534"/>
                  </a:cubicBezTo>
                  <a:cubicBezTo>
                    <a:pt x="556260" y="483442"/>
                    <a:pt x="558165" y="506302"/>
                    <a:pt x="559118" y="528209"/>
                  </a:cubicBezTo>
                  <a:cubicBezTo>
                    <a:pt x="561022" y="577740"/>
                    <a:pt x="560070" y="625365"/>
                    <a:pt x="557213" y="671084"/>
                  </a:cubicBezTo>
                  <a:cubicBezTo>
                    <a:pt x="558165" y="813959"/>
                    <a:pt x="558165" y="966359"/>
                    <a:pt x="553403" y="992077"/>
                  </a:cubicBezTo>
                  <a:cubicBezTo>
                    <a:pt x="553403" y="992077"/>
                    <a:pt x="553403" y="993029"/>
                    <a:pt x="553403" y="993029"/>
                  </a:cubicBezTo>
                  <a:cubicBezTo>
                    <a:pt x="552450" y="1012079"/>
                    <a:pt x="550545" y="1030177"/>
                    <a:pt x="549593" y="1046369"/>
                  </a:cubicBezTo>
                  <a:cubicBezTo>
                    <a:pt x="547688" y="1046369"/>
                    <a:pt x="546735" y="1046369"/>
                    <a:pt x="544830" y="1046369"/>
                  </a:cubicBezTo>
                  <a:cubicBezTo>
                    <a:pt x="527685" y="1046369"/>
                    <a:pt x="511493" y="1051132"/>
                    <a:pt x="496253" y="1057799"/>
                  </a:cubicBezTo>
                  <a:cubicBezTo>
                    <a:pt x="498158" y="1034940"/>
                    <a:pt x="499110" y="1011127"/>
                    <a:pt x="501015" y="985409"/>
                  </a:cubicBezTo>
                  <a:cubicBezTo>
                    <a:pt x="502920" y="951119"/>
                    <a:pt x="504825" y="914924"/>
                    <a:pt x="505778" y="877777"/>
                  </a:cubicBezTo>
                  <a:cubicBezTo>
                    <a:pt x="504825" y="861584"/>
                    <a:pt x="503872" y="845392"/>
                    <a:pt x="502920" y="827294"/>
                  </a:cubicBezTo>
                  <a:cubicBezTo>
                    <a:pt x="501015" y="782527"/>
                    <a:pt x="501015" y="733949"/>
                    <a:pt x="501968" y="684419"/>
                  </a:cubicBezTo>
                  <a:cubicBezTo>
                    <a:pt x="501968" y="682515"/>
                    <a:pt x="501968" y="681562"/>
                    <a:pt x="501968" y="679657"/>
                  </a:cubicBezTo>
                  <a:cubicBezTo>
                    <a:pt x="498158" y="613934"/>
                    <a:pt x="494347" y="537734"/>
                    <a:pt x="494347" y="506302"/>
                  </a:cubicBezTo>
                  <a:lnTo>
                    <a:pt x="494347" y="500587"/>
                  </a:lnTo>
                  <a:cubicBezTo>
                    <a:pt x="492443" y="490109"/>
                    <a:pt x="488633" y="479632"/>
                    <a:pt x="484822" y="471059"/>
                  </a:cubicBezTo>
                  <a:cubicBezTo>
                    <a:pt x="472440" y="441532"/>
                    <a:pt x="451485" y="417719"/>
                    <a:pt x="426720" y="407242"/>
                  </a:cubicBezTo>
                  <a:cubicBezTo>
                    <a:pt x="402908" y="396765"/>
                    <a:pt x="374333" y="400574"/>
                    <a:pt x="350520" y="412004"/>
                  </a:cubicBezTo>
                  <a:cubicBezTo>
                    <a:pt x="326708" y="424387"/>
                    <a:pt x="306705" y="443437"/>
                    <a:pt x="292418" y="463440"/>
                  </a:cubicBezTo>
                  <a:cubicBezTo>
                    <a:pt x="264795" y="505349"/>
                    <a:pt x="255270" y="548212"/>
                    <a:pt x="247650" y="576787"/>
                  </a:cubicBezTo>
                  <a:cubicBezTo>
                    <a:pt x="240983" y="606315"/>
                    <a:pt x="237172" y="622507"/>
                    <a:pt x="237172" y="622507"/>
                  </a:cubicBezTo>
                  <a:cubicBezTo>
                    <a:pt x="237172" y="622507"/>
                    <a:pt x="236220" y="606315"/>
                    <a:pt x="237172" y="575834"/>
                  </a:cubicBezTo>
                  <a:cubicBezTo>
                    <a:pt x="238125" y="560594"/>
                    <a:pt x="239078" y="542497"/>
                    <a:pt x="241935" y="520590"/>
                  </a:cubicBezTo>
                  <a:cubicBezTo>
                    <a:pt x="245745" y="498682"/>
                    <a:pt x="251460" y="473917"/>
                    <a:pt x="263843" y="448199"/>
                  </a:cubicBezTo>
                  <a:cubicBezTo>
                    <a:pt x="277178" y="421529"/>
                    <a:pt x="297180" y="395812"/>
                    <a:pt x="327660" y="375809"/>
                  </a:cubicBezTo>
                  <a:cubicBezTo>
                    <a:pt x="342900" y="366284"/>
                    <a:pt x="360045" y="357712"/>
                    <a:pt x="380047" y="353902"/>
                  </a:cubicBezTo>
                  <a:cubicBezTo>
                    <a:pt x="400050" y="350092"/>
                    <a:pt x="422910" y="351044"/>
                    <a:pt x="443865" y="357712"/>
                  </a:cubicBezTo>
                  <a:cubicBezTo>
                    <a:pt x="455295" y="361522"/>
                    <a:pt x="465772" y="367237"/>
                    <a:pt x="476250" y="373904"/>
                  </a:cubicBezTo>
                  <a:cubicBezTo>
                    <a:pt x="476250" y="371999"/>
                    <a:pt x="476250" y="371047"/>
                    <a:pt x="475297" y="369142"/>
                  </a:cubicBezTo>
                  <a:cubicBezTo>
                    <a:pt x="463868" y="314849"/>
                    <a:pt x="449580" y="262462"/>
                    <a:pt x="429578" y="213884"/>
                  </a:cubicBezTo>
                  <a:cubicBezTo>
                    <a:pt x="409575" y="166259"/>
                    <a:pt x="384810" y="123397"/>
                    <a:pt x="353378" y="90059"/>
                  </a:cubicBezTo>
                  <a:cubicBezTo>
                    <a:pt x="337185" y="74819"/>
                    <a:pt x="320993" y="61484"/>
                    <a:pt x="301943" y="52912"/>
                  </a:cubicBezTo>
                  <a:cubicBezTo>
                    <a:pt x="283845" y="45292"/>
                    <a:pt x="264795" y="40529"/>
                    <a:pt x="245745" y="42434"/>
                  </a:cubicBezTo>
                  <a:cubicBezTo>
                    <a:pt x="207645" y="45292"/>
                    <a:pt x="173355" y="65294"/>
                    <a:pt x="145733" y="88154"/>
                  </a:cubicBezTo>
                  <a:cubicBezTo>
                    <a:pt x="131445" y="98632"/>
                    <a:pt x="119063" y="111967"/>
                    <a:pt x="107633" y="123397"/>
                  </a:cubicBezTo>
                  <a:cubicBezTo>
                    <a:pt x="96203" y="135779"/>
                    <a:pt x="86678" y="148162"/>
                    <a:pt x="77153" y="159592"/>
                  </a:cubicBezTo>
                  <a:cubicBezTo>
                    <a:pt x="68580" y="171974"/>
                    <a:pt x="60008" y="182452"/>
                    <a:pt x="52388" y="192929"/>
                  </a:cubicBezTo>
                  <a:cubicBezTo>
                    <a:pt x="45720" y="203407"/>
                    <a:pt x="39053" y="213884"/>
                    <a:pt x="33338" y="222457"/>
                  </a:cubicBezTo>
                  <a:cubicBezTo>
                    <a:pt x="21908" y="239602"/>
                    <a:pt x="14288" y="254842"/>
                    <a:pt x="8572" y="264367"/>
                  </a:cubicBezTo>
                  <a:cubicBezTo>
                    <a:pt x="3810" y="272940"/>
                    <a:pt x="953" y="277702"/>
                    <a:pt x="0" y="278654"/>
                  </a:cubicBezTo>
                  <a:cubicBezTo>
                    <a:pt x="0" y="277702"/>
                    <a:pt x="2858" y="271987"/>
                    <a:pt x="6668" y="263415"/>
                  </a:cubicBezTo>
                  <a:cubicBezTo>
                    <a:pt x="11430" y="252937"/>
                    <a:pt x="16193" y="237697"/>
                    <a:pt x="25718" y="218647"/>
                  </a:cubicBezTo>
                  <a:cubicBezTo>
                    <a:pt x="30480" y="209122"/>
                    <a:pt x="35243" y="198644"/>
                    <a:pt x="40958" y="186262"/>
                  </a:cubicBezTo>
                  <a:cubicBezTo>
                    <a:pt x="47625" y="174832"/>
                    <a:pt x="54293" y="162449"/>
                    <a:pt x="61913" y="149114"/>
                  </a:cubicBezTo>
                  <a:cubicBezTo>
                    <a:pt x="78105" y="123397"/>
                    <a:pt x="97155" y="93869"/>
                    <a:pt x="125730" y="66247"/>
                  </a:cubicBezTo>
                  <a:cubicBezTo>
                    <a:pt x="132397" y="58627"/>
                    <a:pt x="140018" y="51959"/>
                    <a:pt x="148590" y="45292"/>
                  </a:cubicBezTo>
                  <a:cubicBezTo>
                    <a:pt x="152400" y="42434"/>
                    <a:pt x="156210" y="38624"/>
                    <a:pt x="160972" y="35767"/>
                  </a:cubicBezTo>
                  <a:cubicBezTo>
                    <a:pt x="165735" y="32909"/>
                    <a:pt x="170497" y="30052"/>
                    <a:pt x="175260" y="27194"/>
                  </a:cubicBezTo>
                  <a:cubicBezTo>
                    <a:pt x="194310" y="14812"/>
                    <a:pt x="217170" y="6239"/>
                    <a:pt x="241935" y="1477"/>
                  </a:cubicBezTo>
                  <a:cubicBezTo>
                    <a:pt x="267653" y="-2333"/>
                    <a:pt x="295275" y="1477"/>
                    <a:pt x="320993" y="10049"/>
                  </a:cubicBezTo>
                  <a:cubicBezTo>
                    <a:pt x="346710" y="19574"/>
                    <a:pt x="369570" y="35767"/>
                    <a:pt x="390525" y="53864"/>
                  </a:cubicBezTo>
                  <a:cubicBezTo>
                    <a:pt x="430530" y="91964"/>
                    <a:pt x="461010" y="139589"/>
                    <a:pt x="484822" y="191977"/>
                  </a:cubicBezTo>
                  <a:cubicBezTo>
                    <a:pt x="501968" y="231029"/>
                    <a:pt x="516255" y="271987"/>
                    <a:pt x="526733" y="313897"/>
                  </a:cubicBezTo>
                  <a:cubicBezTo>
                    <a:pt x="541020" y="291037"/>
                    <a:pt x="558165" y="276749"/>
                    <a:pt x="570547" y="270082"/>
                  </a:cubicBezTo>
                  <a:cubicBezTo>
                    <a:pt x="577215" y="266272"/>
                    <a:pt x="581978" y="264367"/>
                    <a:pt x="585788" y="263415"/>
                  </a:cubicBezTo>
                  <a:cubicBezTo>
                    <a:pt x="589597" y="260557"/>
                    <a:pt x="591503" y="259604"/>
                    <a:pt x="591503" y="259604"/>
                  </a:cubicBezTo>
                  <a:close/>
                </a:path>
              </a:pathLst>
            </a:custGeom>
            <a:solidFill>
              <a:srgbClr val="754C2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18" name="Freeform: Shape 55">
              <a:extLst>
                <a:ext uri="{FF2B5EF4-FFF2-40B4-BE49-F238E27FC236}">
                  <a16:creationId xmlns:a16="http://schemas.microsoft.com/office/drawing/2014/main" id="{435E38F6-DE45-4467-84F7-A11421E95AA3}"/>
                </a:ext>
              </a:extLst>
            </p:cNvPr>
            <p:cNvSpPr/>
            <p:nvPr/>
          </p:nvSpPr>
          <p:spPr>
            <a:xfrm>
              <a:off x="4896910" y="5235926"/>
              <a:ext cx="1316733" cy="521165"/>
            </a:xfrm>
            <a:custGeom>
              <a:avLst/>
              <a:gdLst>
                <a:gd name="connsiteX0" fmla="*/ 966747 w 980011"/>
                <a:gd name="connsiteY0" fmla="*/ 357188 h 387890"/>
                <a:gd name="connsiteX1" fmla="*/ 654327 w 980011"/>
                <a:gd name="connsiteY1" fmla="*/ 361950 h 387890"/>
                <a:gd name="connsiteX2" fmla="*/ 302855 w 980011"/>
                <a:gd name="connsiteY2" fmla="*/ 374332 h 387890"/>
                <a:gd name="connsiteX3" fmla="*/ 16152 w 980011"/>
                <a:gd name="connsiteY3" fmla="*/ 372428 h 387890"/>
                <a:gd name="connsiteX4" fmla="*/ 201890 w 980011"/>
                <a:gd name="connsiteY4" fmla="*/ 188595 h 387890"/>
                <a:gd name="connsiteX5" fmla="*/ 391437 w 980011"/>
                <a:gd name="connsiteY5" fmla="*/ 34290 h 387890"/>
                <a:gd name="connsiteX6" fmla="*/ 433347 w 980011"/>
                <a:gd name="connsiteY6" fmla="*/ 11430 h 387890"/>
                <a:gd name="connsiteX7" fmla="*/ 481925 w 980011"/>
                <a:gd name="connsiteY7" fmla="*/ 0 h 387890"/>
                <a:gd name="connsiteX8" fmla="*/ 486687 w 980011"/>
                <a:gd name="connsiteY8" fmla="*/ 0 h 387890"/>
                <a:gd name="connsiteX9" fmla="*/ 560030 w 980011"/>
                <a:gd name="connsiteY9" fmla="*/ 26670 h 387890"/>
                <a:gd name="connsiteX10" fmla="*/ 747672 w 980011"/>
                <a:gd name="connsiteY10" fmla="*/ 126682 h 387890"/>
                <a:gd name="connsiteX11" fmla="*/ 839112 w 980011"/>
                <a:gd name="connsiteY11" fmla="*/ 190500 h 387890"/>
                <a:gd name="connsiteX12" fmla="*/ 892452 w 980011"/>
                <a:gd name="connsiteY12" fmla="*/ 255270 h 387890"/>
                <a:gd name="connsiteX13" fmla="*/ 956270 w 980011"/>
                <a:gd name="connsiteY13" fmla="*/ 297180 h 387890"/>
                <a:gd name="connsiteX14" fmla="*/ 966747 w 980011"/>
                <a:gd name="connsiteY14" fmla="*/ 357188 h 387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80011" h="387890">
                  <a:moveTo>
                    <a:pt x="966747" y="357188"/>
                  </a:moveTo>
                  <a:cubicBezTo>
                    <a:pt x="746720" y="383857"/>
                    <a:pt x="663852" y="361950"/>
                    <a:pt x="654327" y="361950"/>
                  </a:cubicBezTo>
                  <a:cubicBezTo>
                    <a:pt x="512405" y="362903"/>
                    <a:pt x="467637" y="410528"/>
                    <a:pt x="302855" y="374332"/>
                  </a:cubicBezTo>
                  <a:cubicBezTo>
                    <a:pt x="227607" y="358140"/>
                    <a:pt x="99020" y="382905"/>
                    <a:pt x="16152" y="372428"/>
                  </a:cubicBezTo>
                  <a:cubicBezTo>
                    <a:pt x="-58143" y="362903"/>
                    <a:pt x="144740" y="223838"/>
                    <a:pt x="201890" y="188595"/>
                  </a:cubicBezTo>
                  <a:cubicBezTo>
                    <a:pt x="262850" y="151447"/>
                    <a:pt x="330477" y="71438"/>
                    <a:pt x="391437" y="34290"/>
                  </a:cubicBezTo>
                  <a:cubicBezTo>
                    <a:pt x="404772" y="25717"/>
                    <a:pt x="419059" y="17145"/>
                    <a:pt x="433347" y="11430"/>
                  </a:cubicBezTo>
                  <a:cubicBezTo>
                    <a:pt x="448587" y="4763"/>
                    <a:pt x="464780" y="0"/>
                    <a:pt x="481925" y="0"/>
                  </a:cubicBezTo>
                  <a:cubicBezTo>
                    <a:pt x="483830" y="0"/>
                    <a:pt x="484782" y="0"/>
                    <a:pt x="486687" y="0"/>
                  </a:cubicBezTo>
                  <a:cubicBezTo>
                    <a:pt x="512405" y="1905"/>
                    <a:pt x="537170" y="14288"/>
                    <a:pt x="560030" y="26670"/>
                  </a:cubicBezTo>
                  <a:cubicBezTo>
                    <a:pt x="622895" y="60007"/>
                    <a:pt x="684807" y="93345"/>
                    <a:pt x="747672" y="126682"/>
                  </a:cubicBezTo>
                  <a:cubicBezTo>
                    <a:pt x="781009" y="143828"/>
                    <a:pt x="814347" y="162878"/>
                    <a:pt x="839112" y="190500"/>
                  </a:cubicBezTo>
                  <a:cubicBezTo>
                    <a:pt x="858162" y="211455"/>
                    <a:pt x="870545" y="237172"/>
                    <a:pt x="892452" y="255270"/>
                  </a:cubicBezTo>
                  <a:cubicBezTo>
                    <a:pt x="912455" y="271463"/>
                    <a:pt x="938172" y="279082"/>
                    <a:pt x="956270" y="297180"/>
                  </a:cubicBezTo>
                  <a:cubicBezTo>
                    <a:pt x="976272" y="314325"/>
                    <a:pt x="992465" y="354330"/>
                    <a:pt x="966747" y="357188"/>
                  </a:cubicBezTo>
                  <a:close/>
                </a:path>
              </a:pathLst>
            </a:custGeom>
            <a:solidFill>
              <a:srgbClr val="322B27"/>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grpSp>
        <p:nvGrpSpPr>
          <p:cNvPr id="19" name="Group 56">
            <a:extLst>
              <a:ext uri="{FF2B5EF4-FFF2-40B4-BE49-F238E27FC236}">
                <a16:creationId xmlns:a16="http://schemas.microsoft.com/office/drawing/2014/main" id="{881344D5-35A1-4912-85E3-1525F217D702}"/>
              </a:ext>
            </a:extLst>
          </p:cNvPr>
          <p:cNvGrpSpPr/>
          <p:nvPr/>
        </p:nvGrpSpPr>
        <p:grpSpPr>
          <a:xfrm>
            <a:off x="7144747" y="3883895"/>
            <a:ext cx="1490722" cy="2279194"/>
            <a:chOff x="6496567" y="3181897"/>
            <a:chExt cx="1696878" cy="2594391"/>
          </a:xfrm>
        </p:grpSpPr>
        <p:sp>
          <p:nvSpPr>
            <p:cNvPr id="20" name="Freeform: Shape 57">
              <a:extLst>
                <a:ext uri="{FF2B5EF4-FFF2-40B4-BE49-F238E27FC236}">
                  <a16:creationId xmlns:a16="http://schemas.microsoft.com/office/drawing/2014/main" id="{1437F21D-2E77-4580-AC69-D6EA48C85C52}"/>
                </a:ext>
              </a:extLst>
            </p:cNvPr>
            <p:cNvSpPr/>
            <p:nvPr/>
          </p:nvSpPr>
          <p:spPr>
            <a:xfrm>
              <a:off x="6496567" y="3186570"/>
              <a:ext cx="640109" cy="448364"/>
            </a:xfrm>
            <a:custGeom>
              <a:avLst/>
              <a:gdLst>
                <a:gd name="connsiteX0" fmla="*/ 472440 w 476417"/>
                <a:gd name="connsiteY0" fmla="*/ 71769 h 333706"/>
                <a:gd name="connsiteX1" fmla="*/ 420053 w 476417"/>
                <a:gd name="connsiteY1" fmla="*/ 12714 h 333706"/>
                <a:gd name="connsiteX2" fmla="*/ 0 w 476417"/>
                <a:gd name="connsiteY2" fmla="*/ 83199 h 333706"/>
                <a:gd name="connsiteX3" fmla="*/ 416243 w 476417"/>
                <a:gd name="connsiteY3" fmla="*/ 333707 h 333706"/>
                <a:gd name="connsiteX4" fmla="*/ 470535 w 476417"/>
                <a:gd name="connsiteY4" fmla="*/ 293702 h 333706"/>
                <a:gd name="connsiteX5" fmla="*/ 447675 w 476417"/>
                <a:gd name="connsiteY5" fmla="*/ 205119 h 333706"/>
                <a:gd name="connsiteX6" fmla="*/ 361950 w 476417"/>
                <a:gd name="connsiteY6" fmla="*/ 159399 h 333706"/>
                <a:gd name="connsiteX7" fmla="*/ 472440 w 476417"/>
                <a:gd name="connsiteY7" fmla="*/ 71769 h 333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76417" h="333706">
                  <a:moveTo>
                    <a:pt x="472440" y="71769"/>
                  </a:moveTo>
                  <a:cubicBezTo>
                    <a:pt x="464820" y="46052"/>
                    <a:pt x="443865" y="27002"/>
                    <a:pt x="420053" y="12714"/>
                  </a:cubicBezTo>
                  <a:cubicBezTo>
                    <a:pt x="330518" y="-39673"/>
                    <a:pt x="59055" y="87009"/>
                    <a:pt x="0" y="83199"/>
                  </a:cubicBezTo>
                  <a:cubicBezTo>
                    <a:pt x="71438" y="156542"/>
                    <a:pt x="273368" y="333707"/>
                    <a:pt x="416243" y="333707"/>
                  </a:cubicBezTo>
                  <a:cubicBezTo>
                    <a:pt x="439103" y="333707"/>
                    <a:pt x="460058" y="314657"/>
                    <a:pt x="470535" y="293702"/>
                  </a:cubicBezTo>
                  <a:cubicBezTo>
                    <a:pt x="484823" y="264174"/>
                    <a:pt x="471488" y="227979"/>
                    <a:pt x="447675" y="205119"/>
                  </a:cubicBezTo>
                  <a:cubicBezTo>
                    <a:pt x="423863" y="182259"/>
                    <a:pt x="392430" y="170829"/>
                    <a:pt x="361950" y="159399"/>
                  </a:cubicBezTo>
                  <a:cubicBezTo>
                    <a:pt x="415290" y="158447"/>
                    <a:pt x="494348" y="151779"/>
                    <a:pt x="472440" y="71769"/>
                  </a:cubicBezTo>
                  <a:close/>
                </a:path>
              </a:pathLst>
            </a:custGeom>
            <a:solidFill>
              <a:schemeClr val="accent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1" name="Freeform: Shape 58">
              <a:extLst>
                <a:ext uri="{FF2B5EF4-FFF2-40B4-BE49-F238E27FC236}">
                  <a16:creationId xmlns:a16="http://schemas.microsoft.com/office/drawing/2014/main" id="{9722004E-3413-465B-9AB5-AC2EB602C085}"/>
                </a:ext>
              </a:extLst>
            </p:cNvPr>
            <p:cNvSpPr/>
            <p:nvPr/>
          </p:nvSpPr>
          <p:spPr>
            <a:xfrm>
              <a:off x="7464981" y="3181897"/>
              <a:ext cx="422696" cy="501930"/>
            </a:xfrm>
            <a:custGeom>
              <a:avLst/>
              <a:gdLst>
                <a:gd name="connsiteX0" fmla="*/ 191730 w 314602"/>
                <a:gd name="connsiteY0" fmla="*/ 373380 h 373574"/>
                <a:gd name="connsiteX1" fmla="*/ 252690 w 314602"/>
                <a:gd name="connsiteY1" fmla="*/ 348615 h 373574"/>
                <a:gd name="connsiteX2" fmla="*/ 314602 w 314602"/>
                <a:gd name="connsiteY2" fmla="*/ 0 h 373574"/>
                <a:gd name="connsiteX3" fmla="*/ 2182 w 314602"/>
                <a:gd name="connsiteY3" fmla="*/ 256222 h 373574"/>
                <a:gd name="connsiteX4" fmla="*/ 18375 w 314602"/>
                <a:gd name="connsiteY4" fmla="*/ 309563 h 373574"/>
                <a:gd name="connsiteX5" fmla="*/ 94575 w 314602"/>
                <a:gd name="connsiteY5" fmla="*/ 317182 h 373574"/>
                <a:gd name="connsiteX6" fmla="*/ 154582 w 314602"/>
                <a:gd name="connsiteY6" fmla="*/ 262890 h 373574"/>
                <a:gd name="connsiteX7" fmla="*/ 191730 w 314602"/>
                <a:gd name="connsiteY7" fmla="*/ 373380 h 3735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602" h="373574">
                  <a:moveTo>
                    <a:pt x="191730" y="373380"/>
                  </a:moveTo>
                  <a:cubicBezTo>
                    <a:pt x="213638" y="375285"/>
                    <a:pt x="234592" y="362902"/>
                    <a:pt x="252690" y="348615"/>
                  </a:cubicBezTo>
                  <a:cubicBezTo>
                    <a:pt x="319365" y="293370"/>
                    <a:pt x="295552" y="44767"/>
                    <a:pt x="314602" y="0"/>
                  </a:cubicBezTo>
                  <a:cubicBezTo>
                    <a:pt x="237450" y="35242"/>
                    <a:pt x="42187" y="144780"/>
                    <a:pt x="2182" y="256222"/>
                  </a:cubicBezTo>
                  <a:cubicBezTo>
                    <a:pt x="-4485" y="274320"/>
                    <a:pt x="5040" y="296227"/>
                    <a:pt x="18375" y="309563"/>
                  </a:cubicBezTo>
                  <a:cubicBezTo>
                    <a:pt x="37425" y="328613"/>
                    <a:pt x="69810" y="328613"/>
                    <a:pt x="94575" y="317182"/>
                  </a:cubicBezTo>
                  <a:cubicBezTo>
                    <a:pt x="119340" y="304800"/>
                    <a:pt x="136485" y="283845"/>
                    <a:pt x="154582" y="262890"/>
                  </a:cubicBezTo>
                  <a:cubicBezTo>
                    <a:pt x="140295" y="304800"/>
                    <a:pt x="123150" y="368617"/>
                    <a:pt x="191730" y="373380"/>
                  </a:cubicBezTo>
                  <a:close/>
                </a:path>
              </a:pathLst>
            </a:custGeom>
            <a:solidFill>
              <a:schemeClr val="accent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2" name="Freeform: Shape 59">
              <a:extLst>
                <a:ext uri="{FF2B5EF4-FFF2-40B4-BE49-F238E27FC236}">
                  <a16:creationId xmlns:a16="http://schemas.microsoft.com/office/drawing/2014/main" id="{648BC7A6-82F9-4A40-BA36-C58A669B340D}"/>
                </a:ext>
              </a:extLst>
            </p:cNvPr>
            <p:cNvSpPr/>
            <p:nvPr/>
          </p:nvSpPr>
          <p:spPr>
            <a:xfrm>
              <a:off x="7588736" y="4482143"/>
              <a:ext cx="229832" cy="250053"/>
            </a:xfrm>
            <a:custGeom>
              <a:avLst/>
              <a:gdLst>
                <a:gd name="connsiteX0" fmla="*/ 93906 w 171058"/>
                <a:gd name="connsiteY0" fmla="*/ 185738 h 186108"/>
                <a:gd name="connsiteX1" fmla="*/ 125339 w 171058"/>
                <a:gd name="connsiteY1" fmla="*/ 175260 h 186108"/>
                <a:gd name="connsiteX2" fmla="*/ 171058 w 171058"/>
                <a:gd name="connsiteY2" fmla="*/ 0 h 186108"/>
                <a:gd name="connsiteX3" fmla="*/ 1514 w 171058"/>
                <a:gd name="connsiteY3" fmla="*/ 118110 h 186108"/>
                <a:gd name="connsiteX4" fmla="*/ 8181 w 171058"/>
                <a:gd name="connsiteY4" fmla="*/ 145732 h 186108"/>
                <a:gd name="connsiteX5" fmla="*/ 46281 w 171058"/>
                <a:gd name="connsiteY5" fmla="*/ 152400 h 186108"/>
                <a:gd name="connsiteX6" fmla="*/ 78666 w 171058"/>
                <a:gd name="connsiteY6" fmla="*/ 126682 h 186108"/>
                <a:gd name="connsiteX7" fmla="*/ 93906 w 171058"/>
                <a:gd name="connsiteY7" fmla="*/ 185738 h 1861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058" h="186108">
                  <a:moveTo>
                    <a:pt x="93906" y="185738"/>
                  </a:moveTo>
                  <a:cubicBezTo>
                    <a:pt x="105336" y="187642"/>
                    <a:pt x="116766" y="181927"/>
                    <a:pt x="125339" y="175260"/>
                  </a:cubicBezTo>
                  <a:cubicBezTo>
                    <a:pt x="161533" y="149542"/>
                    <a:pt x="158676" y="21907"/>
                    <a:pt x="171058" y="0"/>
                  </a:cubicBezTo>
                  <a:cubicBezTo>
                    <a:pt x="130101" y="15240"/>
                    <a:pt x="26279" y="62865"/>
                    <a:pt x="1514" y="118110"/>
                  </a:cubicBezTo>
                  <a:cubicBezTo>
                    <a:pt x="-2296" y="126682"/>
                    <a:pt x="1514" y="138113"/>
                    <a:pt x="8181" y="145732"/>
                  </a:cubicBezTo>
                  <a:cubicBezTo>
                    <a:pt x="16754" y="156210"/>
                    <a:pt x="33899" y="157163"/>
                    <a:pt x="46281" y="152400"/>
                  </a:cubicBezTo>
                  <a:cubicBezTo>
                    <a:pt x="58664" y="147638"/>
                    <a:pt x="69141" y="137160"/>
                    <a:pt x="78666" y="126682"/>
                  </a:cubicBezTo>
                  <a:cubicBezTo>
                    <a:pt x="70094" y="148590"/>
                    <a:pt x="59616" y="180022"/>
                    <a:pt x="93906" y="185738"/>
                  </a:cubicBezTo>
                  <a:close/>
                </a:path>
              </a:pathLst>
            </a:custGeom>
            <a:solidFill>
              <a:schemeClr val="accent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3" name="Freeform: Shape 60">
              <a:extLst>
                <a:ext uri="{FF2B5EF4-FFF2-40B4-BE49-F238E27FC236}">
                  <a16:creationId xmlns:a16="http://schemas.microsoft.com/office/drawing/2014/main" id="{0B18D6E3-5C1A-40D5-8AC3-8935637E9171}"/>
                </a:ext>
              </a:extLst>
            </p:cNvPr>
            <p:cNvSpPr/>
            <p:nvPr/>
          </p:nvSpPr>
          <p:spPr>
            <a:xfrm>
              <a:off x="7104458" y="4201872"/>
              <a:ext cx="245107" cy="241744"/>
            </a:xfrm>
            <a:custGeom>
              <a:avLst/>
              <a:gdLst>
                <a:gd name="connsiteX0" fmla="*/ 93345 w 182427"/>
                <a:gd name="connsiteY0" fmla="*/ 179070 h 179924"/>
                <a:gd name="connsiteX1" fmla="*/ 60960 w 182427"/>
                <a:gd name="connsiteY1" fmla="*/ 171450 h 179924"/>
                <a:gd name="connsiteX2" fmla="*/ 0 w 182427"/>
                <a:gd name="connsiteY2" fmla="*/ 0 h 179924"/>
                <a:gd name="connsiteX3" fmla="*/ 180023 w 182427"/>
                <a:gd name="connsiteY3" fmla="*/ 102870 h 179924"/>
                <a:gd name="connsiteX4" fmla="*/ 176213 w 182427"/>
                <a:gd name="connsiteY4" fmla="*/ 131445 h 179924"/>
                <a:gd name="connsiteX5" fmla="*/ 138113 w 182427"/>
                <a:gd name="connsiteY5" fmla="*/ 140970 h 179924"/>
                <a:gd name="connsiteX6" fmla="*/ 103823 w 182427"/>
                <a:gd name="connsiteY6" fmla="*/ 118110 h 179924"/>
                <a:gd name="connsiteX7" fmla="*/ 93345 w 182427"/>
                <a:gd name="connsiteY7" fmla="*/ 179070 h 1799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2427" h="179924">
                  <a:moveTo>
                    <a:pt x="93345" y="179070"/>
                  </a:moveTo>
                  <a:cubicBezTo>
                    <a:pt x="81915" y="181928"/>
                    <a:pt x="70485" y="177165"/>
                    <a:pt x="60960" y="171450"/>
                  </a:cubicBezTo>
                  <a:cubicBezTo>
                    <a:pt x="22860" y="149543"/>
                    <a:pt x="14288" y="21908"/>
                    <a:pt x="0" y="0"/>
                  </a:cubicBezTo>
                  <a:cubicBezTo>
                    <a:pt x="41910" y="11430"/>
                    <a:pt x="149543" y="50483"/>
                    <a:pt x="180023" y="102870"/>
                  </a:cubicBezTo>
                  <a:cubicBezTo>
                    <a:pt x="184785" y="111443"/>
                    <a:pt x="181928" y="122873"/>
                    <a:pt x="176213" y="131445"/>
                  </a:cubicBezTo>
                  <a:cubicBezTo>
                    <a:pt x="168593" y="142875"/>
                    <a:pt x="151448" y="145733"/>
                    <a:pt x="138113" y="140970"/>
                  </a:cubicBezTo>
                  <a:cubicBezTo>
                    <a:pt x="124778" y="136208"/>
                    <a:pt x="114300" y="127635"/>
                    <a:pt x="103823" y="118110"/>
                  </a:cubicBezTo>
                  <a:cubicBezTo>
                    <a:pt x="114300" y="140018"/>
                    <a:pt x="127635" y="171450"/>
                    <a:pt x="93345" y="179070"/>
                  </a:cubicBezTo>
                  <a:close/>
                </a:path>
              </a:pathLst>
            </a:custGeom>
            <a:solidFill>
              <a:schemeClr val="accent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4" name="Freeform: Shape 61">
              <a:extLst>
                <a:ext uri="{FF2B5EF4-FFF2-40B4-BE49-F238E27FC236}">
                  <a16:creationId xmlns:a16="http://schemas.microsoft.com/office/drawing/2014/main" id="{0A88D500-488F-4709-BC80-AFBDD7E27B34}"/>
                </a:ext>
              </a:extLst>
            </p:cNvPr>
            <p:cNvSpPr/>
            <p:nvPr/>
          </p:nvSpPr>
          <p:spPr>
            <a:xfrm>
              <a:off x="6856182" y="3381540"/>
              <a:ext cx="843367" cy="2254952"/>
            </a:xfrm>
            <a:custGeom>
              <a:avLst/>
              <a:gdLst>
                <a:gd name="connsiteX0" fmla="*/ 613410 w 627697"/>
                <a:gd name="connsiteY0" fmla="*/ 954405 h 1678304"/>
                <a:gd name="connsiteX1" fmla="*/ 598170 w 627697"/>
                <a:gd name="connsiteY1" fmla="*/ 968693 h 1678304"/>
                <a:gd name="connsiteX2" fmla="*/ 580072 w 627697"/>
                <a:gd name="connsiteY2" fmla="*/ 989648 h 1678304"/>
                <a:gd name="connsiteX3" fmla="*/ 546735 w 627697"/>
                <a:gd name="connsiteY3" fmla="*/ 1038225 h 1678304"/>
                <a:gd name="connsiteX4" fmla="*/ 516255 w 627697"/>
                <a:gd name="connsiteY4" fmla="*/ 730568 h 1678304"/>
                <a:gd name="connsiteX5" fmla="*/ 514350 w 627697"/>
                <a:gd name="connsiteY5" fmla="*/ 705802 h 1678304"/>
                <a:gd name="connsiteX6" fmla="*/ 513397 w 627697"/>
                <a:gd name="connsiteY6" fmla="*/ 688658 h 1678304"/>
                <a:gd name="connsiteX7" fmla="*/ 535305 w 627697"/>
                <a:gd name="connsiteY7" fmla="*/ 477203 h 1678304"/>
                <a:gd name="connsiteX8" fmla="*/ 549593 w 627697"/>
                <a:gd name="connsiteY8" fmla="*/ 376238 h 1678304"/>
                <a:gd name="connsiteX9" fmla="*/ 564833 w 627697"/>
                <a:gd name="connsiteY9" fmla="*/ 288608 h 1678304"/>
                <a:gd name="connsiteX10" fmla="*/ 579120 w 627697"/>
                <a:gd name="connsiteY10" fmla="*/ 216217 h 1678304"/>
                <a:gd name="connsiteX11" fmla="*/ 590550 w 627697"/>
                <a:gd name="connsiteY11" fmla="*/ 161925 h 1678304"/>
                <a:gd name="connsiteX12" fmla="*/ 600075 w 627697"/>
                <a:gd name="connsiteY12" fmla="*/ 115253 h 1678304"/>
                <a:gd name="connsiteX13" fmla="*/ 583883 w 627697"/>
                <a:gd name="connsiteY13" fmla="*/ 160020 h 1678304"/>
                <a:gd name="connsiteX14" fmla="*/ 566738 w 627697"/>
                <a:gd name="connsiteY14" fmla="*/ 213360 h 1678304"/>
                <a:gd name="connsiteX15" fmla="*/ 545783 w 627697"/>
                <a:gd name="connsiteY15" fmla="*/ 284798 h 1678304"/>
                <a:gd name="connsiteX16" fmla="*/ 523875 w 627697"/>
                <a:gd name="connsiteY16" fmla="*/ 372428 h 1678304"/>
                <a:gd name="connsiteX17" fmla="*/ 502920 w 627697"/>
                <a:gd name="connsiteY17" fmla="*/ 473392 h 1678304"/>
                <a:gd name="connsiteX18" fmla="*/ 496253 w 627697"/>
                <a:gd name="connsiteY18" fmla="*/ 514350 h 1678304"/>
                <a:gd name="connsiteX19" fmla="*/ 496253 w 627697"/>
                <a:gd name="connsiteY19" fmla="*/ 511492 h 1678304"/>
                <a:gd name="connsiteX20" fmla="*/ 466725 w 627697"/>
                <a:gd name="connsiteY20" fmla="*/ 366713 h 1678304"/>
                <a:gd name="connsiteX21" fmla="*/ 465772 w 627697"/>
                <a:gd name="connsiteY21" fmla="*/ 360998 h 1678304"/>
                <a:gd name="connsiteX22" fmla="*/ 461963 w 627697"/>
                <a:gd name="connsiteY22" fmla="*/ 352425 h 1678304"/>
                <a:gd name="connsiteX23" fmla="*/ 455295 w 627697"/>
                <a:gd name="connsiteY23" fmla="*/ 330517 h 1678304"/>
                <a:gd name="connsiteX24" fmla="*/ 380047 w 627697"/>
                <a:gd name="connsiteY24" fmla="*/ 177165 h 1678304"/>
                <a:gd name="connsiteX25" fmla="*/ 275272 w 627697"/>
                <a:gd name="connsiteY25" fmla="*/ 70485 h 1678304"/>
                <a:gd name="connsiteX26" fmla="*/ 166688 w 627697"/>
                <a:gd name="connsiteY26" fmla="*/ 15240 h 1678304"/>
                <a:gd name="connsiteX27" fmla="*/ 76200 w 627697"/>
                <a:gd name="connsiteY27" fmla="*/ 0 h 1678304"/>
                <a:gd name="connsiteX28" fmla="*/ 58103 w 627697"/>
                <a:gd name="connsiteY28" fmla="*/ 0 h 1678304"/>
                <a:gd name="connsiteX29" fmla="*/ 42863 w 627697"/>
                <a:gd name="connsiteY29" fmla="*/ 1905 h 1678304"/>
                <a:gd name="connsiteX30" fmla="*/ 19050 w 627697"/>
                <a:gd name="connsiteY30" fmla="*/ 5715 h 1678304"/>
                <a:gd name="connsiteX31" fmla="*/ 0 w 627697"/>
                <a:gd name="connsiteY31" fmla="*/ 10478 h 1678304"/>
                <a:gd name="connsiteX32" fmla="*/ 20003 w 627697"/>
                <a:gd name="connsiteY32" fmla="*/ 8573 h 1678304"/>
                <a:gd name="connsiteX33" fmla="*/ 43815 w 627697"/>
                <a:gd name="connsiteY33" fmla="*/ 7620 h 1678304"/>
                <a:gd name="connsiteX34" fmla="*/ 59055 w 627697"/>
                <a:gd name="connsiteY34" fmla="*/ 7620 h 1678304"/>
                <a:gd name="connsiteX35" fmla="*/ 76200 w 627697"/>
                <a:gd name="connsiteY35" fmla="*/ 9525 h 1678304"/>
                <a:gd name="connsiteX36" fmla="*/ 160020 w 627697"/>
                <a:gd name="connsiteY36" fmla="*/ 33338 h 1678304"/>
                <a:gd name="connsiteX37" fmla="*/ 256222 w 627697"/>
                <a:gd name="connsiteY37" fmla="*/ 95250 h 1678304"/>
                <a:gd name="connsiteX38" fmla="*/ 343853 w 627697"/>
                <a:gd name="connsiteY38" fmla="*/ 200025 h 1678304"/>
                <a:gd name="connsiteX39" fmla="*/ 403860 w 627697"/>
                <a:gd name="connsiteY39" fmla="*/ 345758 h 1678304"/>
                <a:gd name="connsiteX40" fmla="*/ 451485 w 627697"/>
                <a:gd name="connsiteY40" fmla="*/ 713423 h 1678304"/>
                <a:gd name="connsiteX41" fmla="*/ 464820 w 627697"/>
                <a:gd name="connsiteY41" fmla="*/ 951548 h 1678304"/>
                <a:gd name="connsiteX42" fmla="*/ 442913 w 627697"/>
                <a:gd name="connsiteY42" fmla="*/ 898208 h 1678304"/>
                <a:gd name="connsiteX43" fmla="*/ 394335 w 627697"/>
                <a:gd name="connsiteY43" fmla="*/ 823913 h 1678304"/>
                <a:gd name="connsiteX44" fmla="*/ 343853 w 627697"/>
                <a:gd name="connsiteY44" fmla="*/ 772477 h 1678304"/>
                <a:gd name="connsiteX45" fmla="*/ 305753 w 627697"/>
                <a:gd name="connsiteY45" fmla="*/ 742950 h 1678304"/>
                <a:gd name="connsiteX46" fmla="*/ 290513 w 627697"/>
                <a:gd name="connsiteY46" fmla="*/ 733425 h 1678304"/>
                <a:gd name="connsiteX47" fmla="*/ 300990 w 627697"/>
                <a:gd name="connsiteY47" fmla="*/ 747713 h 1678304"/>
                <a:gd name="connsiteX48" fmla="*/ 329565 w 627697"/>
                <a:gd name="connsiteY48" fmla="*/ 785813 h 1678304"/>
                <a:gd name="connsiteX49" fmla="*/ 367665 w 627697"/>
                <a:gd name="connsiteY49" fmla="*/ 842963 h 1678304"/>
                <a:gd name="connsiteX50" fmla="*/ 408622 w 627697"/>
                <a:gd name="connsiteY50" fmla="*/ 915352 h 1678304"/>
                <a:gd name="connsiteX51" fmla="*/ 443865 w 627697"/>
                <a:gd name="connsiteY51" fmla="*/ 990600 h 1678304"/>
                <a:gd name="connsiteX52" fmla="*/ 468630 w 627697"/>
                <a:gd name="connsiteY52" fmla="*/ 1055370 h 1678304"/>
                <a:gd name="connsiteX53" fmla="*/ 469583 w 627697"/>
                <a:gd name="connsiteY53" fmla="*/ 1057275 h 1678304"/>
                <a:gd name="connsiteX54" fmla="*/ 474345 w 627697"/>
                <a:gd name="connsiteY54" fmla="*/ 1394460 h 1678304"/>
                <a:gd name="connsiteX55" fmla="*/ 476250 w 627697"/>
                <a:gd name="connsiteY55" fmla="*/ 1602105 h 1678304"/>
                <a:gd name="connsiteX56" fmla="*/ 477203 w 627697"/>
                <a:gd name="connsiteY56" fmla="*/ 1678305 h 1678304"/>
                <a:gd name="connsiteX57" fmla="*/ 485775 w 627697"/>
                <a:gd name="connsiteY57" fmla="*/ 1602105 h 1678304"/>
                <a:gd name="connsiteX58" fmla="*/ 496253 w 627697"/>
                <a:gd name="connsiteY58" fmla="*/ 1503998 h 1678304"/>
                <a:gd name="connsiteX59" fmla="*/ 501015 w 627697"/>
                <a:gd name="connsiteY59" fmla="*/ 1559243 h 1678304"/>
                <a:gd name="connsiteX60" fmla="*/ 535305 w 627697"/>
                <a:gd name="connsiteY60" fmla="*/ 1576388 h 1678304"/>
                <a:gd name="connsiteX61" fmla="*/ 535305 w 627697"/>
                <a:gd name="connsiteY61" fmla="*/ 1588770 h 1678304"/>
                <a:gd name="connsiteX62" fmla="*/ 577215 w 627697"/>
                <a:gd name="connsiteY62" fmla="*/ 1588770 h 1678304"/>
                <a:gd name="connsiteX63" fmla="*/ 554355 w 627697"/>
                <a:gd name="connsiteY63" fmla="*/ 1117283 h 1678304"/>
                <a:gd name="connsiteX64" fmla="*/ 571500 w 627697"/>
                <a:gd name="connsiteY64" fmla="*/ 1063943 h 1678304"/>
                <a:gd name="connsiteX65" fmla="*/ 598170 w 627697"/>
                <a:gd name="connsiteY65" fmla="*/ 1001077 h 1678304"/>
                <a:gd name="connsiteX66" fmla="*/ 609600 w 627697"/>
                <a:gd name="connsiteY66" fmla="*/ 977265 h 1678304"/>
                <a:gd name="connsiteX67" fmla="*/ 619125 w 627697"/>
                <a:gd name="connsiteY67" fmla="*/ 959168 h 1678304"/>
                <a:gd name="connsiteX68" fmla="*/ 627697 w 627697"/>
                <a:gd name="connsiteY68" fmla="*/ 943927 h 1678304"/>
                <a:gd name="connsiteX69" fmla="*/ 613410 w 627697"/>
                <a:gd name="connsiteY69" fmla="*/ 954405 h 1678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627697" h="1678304">
                  <a:moveTo>
                    <a:pt x="613410" y="954405"/>
                  </a:moveTo>
                  <a:cubicBezTo>
                    <a:pt x="609600" y="958215"/>
                    <a:pt x="603885" y="962977"/>
                    <a:pt x="598170" y="968693"/>
                  </a:cubicBezTo>
                  <a:cubicBezTo>
                    <a:pt x="592455" y="974408"/>
                    <a:pt x="585788" y="981075"/>
                    <a:pt x="580072" y="989648"/>
                  </a:cubicBezTo>
                  <a:cubicBezTo>
                    <a:pt x="569595" y="1002983"/>
                    <a:pt x="558165" y="1019175"/>
                    <a:pt x="546735" y="1038225"/>
                  </a:cubicBezTo>
                  <a:cubicBezTo>
                    <a:pt x="538163" y="935355"/>
                    <a:pt x="527685" y="833438"/>
                    <a:pt x="516255" y="730568"/>
                  </a:cubicBezTo>
                  <a:cubicBezTo>
                    <a:pt x="515303" y="721995"/>
                    <a:pt x="515303" y="714375"/>
                    <a:pt x="514350" y="705802"/>
                  </a:cubicBezTo>
                  <a:cubicBezTo>
                    <a:pt x="514350" y="700088"/>
                    <a:pt x="513397" y="694373"/>
                    <a:pt x="513397" y="688658"/>
                  </a:cubicBezTo>
                  <a:cubicBezTo>
                    <a:pt x="519113" y="613410"/>
                    <a:pt x="526733" y="541973"/>
                    <a:pt x="535305" y="477203"/>
                  </a:cubicBezTo>
                  <a:cubicBezTo>
                    <a:pt x="540068" y="441960"/>
                    <a:pt x="544830" y="407670"/>
                    <a:pt x="549593" y="376238"/>
                  </a:cubicBezTo>
                  <a:cubicBezTo>
                    <a:pt x="554355" y="344805"/>
                    <a:pt x="559118" y="315278"/>
                    <a:pt x="564833" y="288608"/>
                  </a:cubicBezTo>
                  <a:cubicBezTo>
                    <a:pt x="569595" y="261938"/>
                    <a:pt x="574358" y="237173"/>
                    <a:pt x="579120" y="216217"/>
                  </a:cubicBezTo>
                  <a:cubicBezTo>
                    <a:pt x="582930" y="195263"/>
                    <a:pt x="586740" y="176213"/>
                    <a:pt x="590550" y="161925"/>
                  </a:cubicBezTo>
                  <a:cubicBezTo>
                    <a:pt x="597217" y="131445"/>
                    <a:pt x="600075" y="115253"/>
                    <a:pt x="600075" y="115253"/>
                  </a:cubicBezTo>
                  <a:cubicBezTo>
                    <a:pt x="600075" y="115253"/>
                    <a:pt x="594360" y="131445"/>
                    <a:pt x="583883" y="160020"/>
                  </a:cubicBezTo>
                  <a:cubicBezTo>
                    <a:pt x="579120" y="174308"/>
                    <a:pt x="572453" y="192405"/>
                    <a:pt x="566738" y="213360"/>
                  </a:cubicBezTo>
                  <a:cubicBezTo>
                    <a:pt x="560070" y="234315"/>
                    <a:pt x="552450" y="258128"/>
                    <a:pt x="545783" y="284798"/>
                  </a:cubicBezTo>
                  <a:cubicBezTo>
                    <a:pt x="538163" y="311467"/>
                    <a:pt x="530543" y="340995"/>
                    <a:pt x="523875" y="372428"/>
                  </a:cubicBezTo>
                  <a:cubicBezTo>
                    <a:pt x="516255" y="403860"/>
                    <a:pt x="509588" y="438150"/>
                    <a:pt x="502920" y="473392"/>
                  </a:cubicBezTo>
                  <a:cubicBezTo>
                    <a:pt x="501015" y="486728"/>
                    <a:pt x="498158" y="500063"/>
                    <a:pt x="496253" y="514350"/>
                  </a:cubicBezTo>
                  <a:cubicBezTo>
                    <a:pt x="496253" y="513398"/>
                    <a:pt x="496253" y="512445"/>
                    <a:pt x="496253" y="511492"/>
                  </a:cubicBezTo>
                  <a:cubicBezTo>
                    <a:pt x="489585" y="461010"/>
                    <a:pt x="480060" y="412433"/>
                    <a:pt x="466725" y="366713"/>
                  </a:cubicBezTo>
                  <a:cubicBezTo>
                    <a:pt x="466725" y="364808"/>
                    <a:pt x="465772" y="362903"/>
                    <a:pt x="465772" y="360998"/>
                  </a:cubicBezTo>
                  <a:cubicBezTo>
                    <a:pt x="464820" y="357188"/>
                    <a:pt x="463868" y="354330"/>
                    <a:pt x="461963" y="352425"/>
                  </a:cubicBezTo>
                  <a:cubicBezTo>
                    <a:pt x="460058" y="344805"/>
                    <a:pt x="458153" y="337185"/>
                    <a:pt x="455295" y="330517"/>
                  </a:cubicBezTo>
                  <a:cubicBezTo>
                    <a:pt x="436245" y="273367"/>
                    <a:pt x="411480" y="220980"/>
                    <a:pt x="380047" y="177165"/>
                  </a:cubicBezTo>
                  <a:cubicBezTo>
                    <a:pt x="348615" y="133350"/>
                    <a:pt x="312420" y="98108"/>
                    <a:pt x="275272" y="70485"/>
                  </a:cubicBezTo>
                  <a:cubicBezTo>
                    <a:pt x="238125" y="43815"/>
                    <a:pt x="200978" y="25717"/>
                    <a:pt x="166688" y="15240"/>
                  </a:cubicBezTo>
                  <a:cubicBezTo>
                    <a:pt x="132397" y="3810"/>
                    <a:pt x="100965" y="953"/>
                    <a:pt x="76200" y="0"/>
                  </a:cubicBezTo>
                  <a:cubicBezTo>
                    <a:pt x="69533" y="0"/>
                    <a:pt x="63818" y="0"/>
                    <a:pt x="58103" y="0"/>
                  </a:cubicBezTo>
                  <a:cubicBezTo>
                    <a:pt x="52388" y="0"/>
                    <a:pt x="47625" y="953"/>
                    <a:pt x="42863" y="1905"/>
                  </a:cubicBezTo>
                  <a:cubicBezTo>
                    <a:pt x="33338" y="2858"/>
                    <a:pt x="25718" y="3810"/>
                    <a:pt x="19050" y="5715"/>
                  </a:cubicBezTo>
                  <a:cubicBezTo>
                    <a:pt x="6668" y="8573"/>
                    <a:pt x="0" y="10478"/>
                    <a:pt x="0" y="10478"/>
                  </a:cubicBezTo>
                  <a:cubicBezTo>
                    <a:pt x="0" y="10478"/>
                    <a:pt x="6668" y="9525"/>
                    <a:pt x="20003" y="8573"/>
                  </a:cubicBezTo>
                  <a:cubicBezTo>
                    <a:pt x="26670" y="7620"/>
                    <a:pt x="34290" y="7620"/>
                    <a:pt x="43815" y="7620"/>
                  </a:cubicBezTo>
                  <a:cubicBezTo>
                    <a:pt x="48578" y="7620"/>
                    <a:pt x="53340" y="7620"/>
                    <a:pt x="59055" y="7620"/>
                  </a:cubicBezTo>
                  <a:cubicBezTo>
                    <a:pt x="64770" y="8573"/>
                    <a:pt x="70485" y="8573"/>
                    <a:pt x="76200" y="9525"/>
                  </a:cubicBezTo>
                  <a:cubicBezTo>
                    <a:pt x="100013" y="13335"/>
                    <a:pt x="128588" y="19050"/>
                    <a:pt x="160020" y="33338"/>
                  </a:cubicBezTo>
                  <a:cubicBezTo>
                    <a:pt x="190500" y="46673"/>
                    <a:pt x="223838" y="67628"/>
                    <a:pt x="256222" y="95250"/>
                  </a:cubicBezTo>
                  <a:cubicBezTo>
                    <a:pt x="287655" y="122873"/>
                    <a:pt x="318135" y="158115"/>
                    <a:pt x="343853" y="200025"/>
                  </a:cubicBezTo>
                  <a:cubicBezTo>
                    <a:pt x="368618" y="241935"/>
                    <a:pt x="389572" y="291465"/>
                    <a:pt x="403860" y="345758"/>
                  </a:cubicBezTo>
                  <a:cubicBezTo>
                    <a:pt x="434340" y="453390"/>
                    <a:pt x="441960" y="580073"/>
                    <a:pt x="451485" y="713423"/>
                  </a:cubicBezTo>
                  <a:cubicBezTo>
                    <a:pt x="457200" y="795338"/>
                    <a:pt x="461963" y="875348"/>
                    <a:pt x="464820" y="951548"/>
                  </a:cubicBezTo>
                  <a:cubicBezTo>
                    <a:pt x="459105" y="934402"/>
                    <a:pt x="451485" y="916305"/>
                    <a:pt x="442913" y="898208"/>
                  </a:cubicBezTo>
                  <a:cubicBezTo>
                    <a:pt x="428625" y="870585"/>
                    <a:pt x="411480" y="844868"/>
                    <a:pt x="394335" y="823913"/>
                  </a:cubicBezTo>
                  <a:cubicBezTo>
                    <a:pt x="377190" y="802958"/>
                    <a:pt x="360045" y="785813"/>
                    <a:pt x="343853" y="772477"/>
                  </a:cubicBezTo>
                  <a:cubicBezTo>
                    <a:pt x="328613" y="759143"/>
                    <a:pt x="315278" y="749618"/>
                    <a:pt x="305753" y="742950"/>
                  </a:cubicBezTo>
                  <a:cubicBezTo>
                    <a:pt x="296228" y="737235"/>
                    <a:pt x="290513" y="733425"/>
                    <a:pt x="290513" y="733425"/>
                  </a:cubicBezTo>
                  <a:cubicBezTo>
                    <a:pt x="290513" y="733425"/>
                    <a:pt x="294322" y="738188"/>
                    <a:pt x="300990" y="747713"/>
                  </a:cubicBezTo>
                  <a:cubicBezTo>
                    <a:pt x="307658" y="756285"/>
                    <a:pt x="318135" y="769620"/>
                    <a:pt x="329565" y="785813"/>
                  </a:cubicBezTo>
                  <a:cubicBezTo>
                    <a:pt x="340995" y="802005"/>
                    <a:pt x="354330" y="821055"/>
                    <a:pt x="367665" y="842963"/>
                  </a:cubicBezTo>
                  <a:cubicBezTo>
                    <a:pt x="381000" y="864870"/>
                    <a:pt x="395288" y="889635"/>
                    <a:pt x="408622" y="915352"/>
                  </a:cubicBezTo>
                  <a:cubicBezTo>
                    <a:pt x="421958" y="942023"/>
                    <a:pt x="433388" y="966788"/>
                    <a:pt x="443865" y="990600"/>
                  </a:cubicBezTo>
                  <a:cubicBezTo>
                    <a:pt x="453390" y="1014413"/>
                    <a:pt x="461963" y="1036320"/>
                    <a:pt x="468630" y="1055370"/>
                  </a:cubicBezTo>
                  <a:cubicBezTo>
                    <a:pt x="468630" y="1056323"/>
                    <a:pt x="468630" y="1056323"/>
                    <a:pt x="469583" y="1057275"/>
                  </a:cubicBezTo>
                  <a:cubicBezTo>
                    <a:pt x="473393" y="1184910"/>
                    <a:pt x="473393" y="1299210"/>
                    <a:pt x="474345" y="1394460"/>
                  </a:cubicBezTo>
                  <a:cubicBezTo>
                    <a:pt x="475297" y="1482090"/>
                    <a:pt x="475297" y="1553527"/>
                    <a:pt x="476250" y="1602105"/>
                  </a:cubicBezTo>
                  <a:cubicBezTo>
                    <a:pt x="477203" y="1651635"/>
                    <a:pt x="477203" y="1678305"/>
                    <a:pt x="477203" y="1678305"/>
                  </a:cubicBezTo>
                  <a:cubicBezTo>
                    <a:pt x="477203" y="1678305"/>
                    <a:pt x="480060" y="1651635"/>
                    <a:pt x="485775" y="1602105"/>
                  </a:cubicBezTo>
                  <a:cubicBezTo>
                    <a:pt x="488633" y="1575435"/>
                    <a:pt x="492443" y="1543050"/>
                    <a:pt x="496253" y="1503998"/>
                  </a:cubicBezTo>
                  <a:cubicBezTo>
                    <a:pt x="497205" y="1522095"/>
                    <a:pt x="499110" y="1540193"/>
                    <a:pt x="501015" y="1559243"/>
                  </a:cubicBezTo>
                  <a:cubicBezTo>
                    <a:pt x="502920" y="1577340"/>
                    <a:pt x="523875" y="1584008"/>
                    <a:pt x="535305" y="1576388"/>
                  </a:cubicBezTo>
                  <a:cubicBezTo>
                    <a:pt x="535305" y="1580198"/>
                    <a:pt x="535305" y="1584960"/>
                    <a:pt x="535305" y="1588770"/>
                  </a:cubicBezTo>
                  <a:cubicBezTo>
                    <a:pt x="536258" y="1615440"/>
                    <a:pt x="578168" y="1616393"/>
                    <a:pt x="577215" y="1588770"/>
                  </a:cubicBezTo>
                  <a:cubicBezTo>
                    <a:pt x="573405" y="1431608"/>
                    <a:pt x="565785" y="1274445"/>
                    <a:pt x="554355" y="1117283"/>
                  </a:cubicBezTo>
                  <a:cubicBezTo>
                    <a:pt x="560070" y="1098233"/>
                    <a:pt x="565785" y="1081088"/>
                    <a:pt x="571500" y="1063943"/>
                  </a:cubicBezTo>
                  <a:cubicBezTo>
                    <a:pt x="580072" y="1040130"/>
                    <a:pt x="589597" y="1018223"/>
                    <a:pt x="598170" y="1001077"/>
                  </a:cubicBezTo>
                  <a:cubicBezTo>
                    <a:pt x="601980" y="991552"/>
                    <a:pt x="606742" y="983933"/>
                    <a:pt x="609600" y="977265"/>
                  </a:cubicBezTo>
                  <a:cubicBezTo>
                    <a:pt x="613410" y="970598"/>
                    <a:pt x="616267" y="963930"/>
                    <a:pt x="619125" y="959168"/>
                  </a:cubicBezTo>
                  <a:cubicBezTo>
                    <a:pt x="624840" y="949643"/>
                    <a:pt x="627697" y="943927"/>
                    <a:pt x="627697" y="943927"/>
                  </a:cubicBezTo>
                  <a:cubicBezTo>
                    <a:pt x="627697" y="943927"/>
                    <a:pt x="621030" y="947738"/>
                    <a:pt x="613410" y="954405"/>
                  </a:cubicBezTo>
                  <a:close/>
                </a:path>
              </a:pathLst>
            </a:custGeom>
            <a:solidFill>
              <a:srgbClr val="754C2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5" name="Freeform: Shape 62">
              <a:extLst>
                <a:ext uri="{FF2B5EF4-FFF2-40B4-BE49-F238E27FC236}">
                  <a16:creationId xmlns:a16="http://schemas.microsoft.com/office/drawing/2014/main" id="{D6EBF246-CEB5-4774-AD90-3EB87ADB9B52}"/>
                </a:ext>
              </a:extLst>
            </p:cNvPr>
            <p:cNvSpPr/>
            <p:nvPr/>
          </p:nvSpPr>
          <p:spPr>
            <a:xfrm>
              <a:off x="6876712" y="5255123"/>
              <a:ext cx="1316733" cy="521165"/>
            </a:xfrm>
            <a:custGeom>
              <a:avLst/>
              <a:gdLst>
                <a:gd name="connsiteX0" fmla="*/ 966747 w 980011"/>
                <a:gd name="connsiteY0" fmla="*/ 357188 h 387890"/>
                <a:gd name="connsiteX1" fmla="*/ 654327 w 980011"/>
                <a:gd name="connsiteY1" fmla="*/ 361950 h 387890"/>
                <a:gd name="connsiteX2" fmla="*/ 302854 w 980011"/>
                <a:gd name="connsiteY2" fmla="*/ 374332 h 387890"/>
                <a:gd name="connsiteX3" fmla="*/ 16152 w 980011"/>
                <a:gd name="connsiteY3" fmla="*/ 372428 h 387890"/>
                <a:gd name="connsiteX4" fmla="*/ 201890 w 980011"/>
                <a:gd name="connsiteY4" fmla="*/ 188595 h 387890"/>
                <a:gd name="connsiteX5" fmla="*/ 391437 w 980011"/>
                <a:gd name="connsiteY5" fmla="*/ 34290 h 387890"/>
                <a:gd name="connsiteX6" fmla="*/ 433347 w 980011"/>
                <a:gd name="connsiteY6" fmla="*/ 11430 h 387890"/>
                <a:gd name="connsiteX7" fmla="*/ 481925 w 980011"/>
                <a:gd name="connsiteY7" fmla="*/ 0 h 387890"/>
                <a:gd name="connsiteX8" fmla="*/ 486687 w 980011"/>
                <a:gd name="connsiteY8" fmla="*/ 0 h 387890"/>
                <a:gd name="connsiteX9" fmla="*/ 560029 w 980011"/>
                <a:gd name="connsiteY9" fmla="*/ 26670 h 387890"/>
                <a:gd name="connsiteX10" fmla="*/ 747672 w 980011"/>
                <a:gd name="connsiteY10" fmla="*/ 126682 h 387890"/>
                <a:gd name="connsiteX11" fmla="*/ 839112 w 980011"/>
                <a:gd name="connsiteY11" fmla="*/ 190500 h 387890"/>
                <a:gd name="connsiteX12" fmla="*/ 892452 w 980011"/>
                <a:gd name="connsiteY12" fmla="*/ 255270 h 387890"/>
                <a:gd name="connsiteX13" fmla="*/ 956270 w 980011"/>
                <a:gd name="connsiteY13" fmla="*/ 297180 h 387890"/>
                <a:gd name="connsiteX14" fmla="*/ 966747 w 980011"/>
                <a:gd name="connsiteY14" fmla="*/ 357188 h 387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80011" h="387890">
                  <a:moveTo>
                    <a:pt x="966747" y="357188"/>
                  </a:moveTo>
                  <a:cubicBezTo>
                    <a:pt x="746720" y="383857"/>
                    <a:pt x="663852" y="361950"/>
                    <a:pt x="654327" y="361950"/>
                  </a:cubicBezTo>
                  <a:cubicBezTo>
                    <a:pt x="512404" y="362903"/>
                    <a:pt x="467637" y="410528"/>
                    <a:pt x="302854" y="374332"/>
                  </a:cubicBezTo>
                  <a:cubicBezTo>
                    <a:pt x="227607" y="358140"/>
                    <a:pt x="99019" y="382905"/>
                    <a:pt x="16152" y="372428"/>
                  </a:cubicBezTo>
                  <a:cubicBezTo>
                    <a:pt x="-58143" y="362903"/>
                    <a:pt x="144740" y="223838"/>
                    <a:pt x="201890" y="188595"/>
                  </a:cubicBezTo>
                  <a:cubicBezTo>
                    <a:pt x="262850" y="151447"/>
                    <a:pt x="330477" y="71438"/>
                    <a:pt x="391437" y="34290"/>
                  </a:cubicBezTo>
                  <a:cubicBezTo>
                    <a:pt x="404772" y="25717"/>
                    <a:pt x="419060" y="17145"/>
                    <a:pt x="433347" y="11430"/>
                  </a:cubicBezTo>
                  <a:cubicBezTo>
                    <a:pt x="448587" y="4763"/>
                    <a:pt x="464779" y="0"/>
                    <a:pt x="481925" y="0"/>
                  </a:cubicBezTo>
                  <a:cubicBezTo>
                    <a:pt x="483829" y="0"/>
                    <a:pt x="484782" y="0"/>
                    <a:pt x="486687" y="0"/>
                  </a:cubicBezTo>
                  <a:cubicBezTo>
                    <a:pt x="512404" y="1905"/>
                    <a:pt x="537170" y="14288"/>
                    <a:pt x="560029" y="26670"/>
                  </a:cubicBezTo>
                  <a:cubicBezTo>
                    <a:pt x="622895" y="60007"/>
                    <a:pt x="684807" y="93345"/>
                    <a:pt x="747672" y="126682"/>
                  </a:cubicBezTo>
                  <a:cubicBezTo>
                    <a:pt x="781010" y="143828"/>
                    <a:pt x="814347" y="162878"/>
                    <a:pt x="839112" y="190500"/>
                  </a:cubicBezTo>
                  <a:cubicBezTo>
                    <a:pt x="858162" y="211455"/>
                    <a:pt x="870545" y="237172"/>
                    <a:pt x="892452" y="255270"/>
                  </a:cubicBezTo>
                  <a:cubicBezTo>
                    <a:pt x="912454" y="271463"/>
                    <a:pt x="938172" y="279082"/>
                    <a:pt x="956270" y="297180"/>
                  </a:cubicBezTo>
                  <a:cubicBezTo>
                    <a:pt x="976272" y="314325"/>
                    <a:pt x="992465" y="354330"/>
                    <a:pt x="966747" y="357188"/>
                  </a:cubicBezTo>
                  <a:close/>
                </a:path>
              </a:pathLst>
            </a:custGeom>
            <a:solidFill>
              <a:srgbClr val="322B27"/>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grpSp>
        <p:nvGrpSpPr>
          <p:cNvPr id="26" name="Group 2">
            <a:extLst>
              <a:ext uri="{FF2B5EF4-FFF2-40B4-BE49-F238E27FC236}">
                <a16:creationId xmlns:a16="http://schemas.microsoft.com/office/drawing/2014/main" id="{54D5A9DB-3D31-4D7B-B581-B46A774B82FF}"/>
              </a:ext>
            </a:extLst>
          </p:cNvPr>
          <p:cNvGrpSpPr/>
          <p:nvPr/>
        </p:nvGrpSpPr>
        <p:grpSpPr>
          <a:xfrm>
            <a:off x="9183072" y="2939675"/>
            <a:ext cx="2299168" cy="3223414"/>
            <a:chOff x="8750617" y="2939675"/>
            <a:chExt cx="2299168" cy="3223414"/>
          </a:xfrm>
        </p:grpSpPr>
        <p:sp>
          <p:nvSpPr>
            <p:cNvPr id="27" name="Freeform: Shape 64">
              <a:extLst>
                <a:ext uri="{FF2B5EF4-FFF2-40B4-BE49-F238E27FC236}">
                  <a16:creationId xmlns:a16="http://schemas.microsoft.com/office/drawing/2014/main" id="{FA09FA26-7039-4B9C-8D36-1FE279735ABF}"/>
                </a:ext>
              </a:extLst>
            </p:cNvPr>
            <p:cNvSpPr/>
            <p:nvPr/>
          </p:nvSpPr>
          <p:spPr>
            <a:xfrm>
              <a:off x="10494739" y="3410273"/>
              <a:ext cx="312687" cy="191782"/>
            </a:xfrm>
            <a:custGeom>
              <a:avLst/>
              <a:gdLst>
                <a:gd name="connsiteX0" fmla="*/ 48577 w 275272"/>
                <a:gd name="connsiteY0" fmla="*/ 151495 h 168834"/>
                <a:gd name="connsiteX1" fmla="*/ 86677 w 275272"/>
                <a:gd name="connsiteY1" fmla="*/ 168640 h 168834"/>
                <a:gd name="connsiteX2" fmla="*/ 275272 w 275272"/>
                <a:gd name="connsiteY2" fmla="*/ 41005 h 168834"/>
                <a:gd name="connsiteX3" fmla="*/ 17145 w 275272"/>
                <a:gd name="connsiteY3" fmla="*/ 11477 h 168834"/>
                <a:gd name="connsiteX4" fmla="*/ 0 w 275272"/>
                <a:gd name="connsiteY4" fmla="*/ 42910 h 168834"/>
                <a:gd name="connsiteX5" fmla="*/ 30480 w 275272"/>
                <a:gd name="connsiteY5" fmla="*/ 81010 h 168834"/>
                <a:gd name="connsiteX6" fmla="*/ 81915 w 275272"/>
                <a:gd name="connsiteY6" fmla="*/ 83867 h 168834"/>
                <a:gd name="connsiteX7" fmla="*/ 48577 w 275272"/>
                <a:gd name="connsiteY7" fmla="*/ 151495 h 168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5272" h="168834">
                  <a:moveTo>
                    <a:pt x="48577" y="151495"/>
                  </a:moveTo>
                  <a:cubicBezTo>
                    <a:pt x="58102" y="161972"/>
                    <a:pt x="72390" y="166735"/>
                    <a:pt x="86677" y="168640"/>
                  </a:cubicBezTo>
                  <a:cubicBezTo>
                    <a:pt x="141922" y="174355"/>
                    <a:pt x="245745" y="52435"/>
                    <a:pt x="275272" y="41005"/>
                  </a:cubicBezTo>
                  <a:cubicBezTo>
                    <a:pt x="224790" y="21002"/>
                    <a:pt x="86677" y="-19955"/>
                    <a:pt x="17145" y="11477"/>
                  </a:cubicBezTo>
                  <a:cubicBezTo>
                    <a:pt x="5715" y="16240"/>
                    <a:pt x="0" y="30527"/>
                    <a:pt x="0" y="42910"/>
                  </a:cubicBezTo>
                  <a:cubicBezTo>
                    <a:pt x="0" y="60055"/>
                    <a:pt x="14288" y="75295"/>
                    <a:pt x="30480" y="81010"/>
                  </a:cubicBezTo>
                  <a:cubicBezTo>
                    <a:pt x="46672" y="86725"/>
                    <a:pt x="64770" y="85772"/>
                    <a:pt x="81915" y="83867"/>
                  </a:cubicBezTo>
                  <a:cubicBezTo>
                    <a:pt x="57150" y="97202"/>
                    <a:pt x="20002" y="118157"/>
                    <a:pt x="48577" y="151495"/>
                  </a:cubicBezTo>
                  <a:close/>
                </a:path>
              </a:pathLst>
            </a:custGeom>
            <a:solidFill>
              <a:schemeClr val="accent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8" name="Freeform: Shape 65">
              <a:extLst>
                <a:ext uri="{FF2B5EF4-FFF2-40B4-BE49-F238E27FC236}">
                  <a16:creationId xmlns:a16="http://schemas.microsoft.com/office/drawing/2014/main" id="{D1BBB66C-C2EE-46DE-846D-6CFF218930D9}"/>
                </a:ext>
              </a:extLst>
            </p:cNvPr>
            <p:cNvSpPr/>
            <p:nvPr/>
          </p:nvSpPr>
          <p:spPr>
            <a:xfrm>
              <a:off x="9813482" y="3055444"/>
              <a:ext cx="366406" cy="357743"/>
            </a:xfrm>
            <a:custGeom>
              <a:avLst/>
              <a:gdLst>
                <a:gd name="connsiteX0" fmla="*/ 154924 w 322564"/>
                <a:gd name="connsiteY0" fmla="*/ 313373 h 314938"/>
                <a:gd name="connsiteX1" fmla="*/ 213027 w 322564"/>
                <a:gd name="connsiteY1" fmla="*/ 300990 h 314938"/>
                <a:gd name="connsiteX2" fmla="*/ 322564 w 322564"/>
                <a:gd name="connsiteY2" fmla="*/ 0 h 314938"/>
                <a:gd name="connsiteX3" fmla="*/ 4429 w 322564"/>
                <a:gd name="connsiteY3" fmla="*/ 179070 h 314938"/>
                <a:gd name="connsiteX4" fmla="*/ 11097 w 322564"/>
                <a:gd name="connsiteY4" fmla="*/ 229552 h 314938"/>
                <a:gd name="connsiteX5" fmla="*/ 77772 w 322564"/>
                <a:gd name="connsiteY5" fmla="*/ 247650 h 314938"/>
                <a:gd name="connsiteX6" fmla="*/ 139685 w 322564"/>
                <a:gd name="connsiteY6" fmla="*/ 208598 h 314938"/>
                <a:gd name="connsiteX7" fmla="*/ 154924 w 322564"/>
                <a:gd name="connsiteY7" fmla="*/ 313373 h 31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2564" h="314938">
                  <a:moveTo>
                    <a:pt x="154924" y="313373"/>
                  </a:moveTo>
                  <a:cubicBezTo>
                    <a:pt x="174927" y="318135"/>
                    <a:pt x="194929" y="311468"/>
                    <a:pt x="213027" y="300990"/>
                  </a:cubicBezTo>
                  <a:cubicBezTo>
                    <a:pt x="280654" y="261938"/>
                    <a:pt x="297799" y="37148"/>
                    <a:pt x="322564" y="0"/>
                  </a:cubicBezTo>
                  <a:cubicBezTo>
                    <a:pt x="248269" y="19050"/>
                    <a:pt x="57769" y="85725"/>
                    <a:pt x="4429" y="179070"/>
                  </a:cubicBezTo>
                  <a:cubicBezTo>
                    <a:pt x="-4143" y="194310"/>
                    <a:pt x="619" y="215265"/>
                    <a:pt x="11097" y="229552"/>
                  </a:cubicBezTo>
                  <a:cubicBezTo>
                    <a:pt x="25385" y="249555"/>
                    <a:pt x="53960" y="254318"/>
                    <a:pt x="77772" y="247650"/>
                  </a:cubicBezTo>
                  <a:cubicBezTo>
                    <a:pt x="101585" y="240983"/>
                    <a:pt x="120635" y="224790"/>
                    <a:pt x="139685" y="208598"/>
                  </a:cubicBezTo>
                  <a:cubicBezTo>
                    <a:pt x="119682" y="243840"/>
                    <a:pt x="94917" y="298132"/>
                    <a:pt x="154924" y="313373"/>
                  </a:cubicBezTo>
                  <a:close/>
                </a:path>
              </a:pathLst>
            </a:custGeom>
            <a:solidFill>
              <a:schemeClr val="accent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9" name="Freeform: Shape 66">
              <a:extLst>
                <a:ext uri="{FF2B5EF4-FFF2-40B4-BE49-F238E27FC236}">
                  <a16:creationId xmlns:a16="http://schemas.microsoft.com/office/drawing/2014/main" id="{E46DF116-CD79-479D-99E0-DB036220177C}"/>
                </a:ext>
              </a:extLst>
            </p:cNvPr>
            <p:cNvSpPr/>
            <p:nvPr/>
          </p:nvSpPr>
          <p:spPr>
            <a:xfrm>
              <a:off x="8750617" y="3547412"/>
              <a:ext cx="404105" cy="289415"/>
            </a:xfrm>
            <a:custGeom>
              <a:avLst/>
              <a:gdLst>
                <a:gd name="connsiteX0" fmla="*/ 354330 w 355752"/>
                <a:gd name="connsiteY0" fmla="*/ 62199 h 254785"/>
                <a:gd name="connsiteX1" fmla="*/ 319088 w 355752"/>
                <a:gd name="connsiteY1" fmla="*/ 14574 h 254785"/>
                <a:gd name="connsiteX2" fmla="*/ 0 w 355752"/>
                <a:gd name="connsiteY2" fmla="*/ 38386 h 254785"/>
                <a:gd name="connsiteX3" fmla="*/ 294323 w 355752"/>
                <a:gd name="connsiteY3" fmla="*/ 254604 h 254785"/>
                <a:gd name="connsiteX4" fmla="*/ 337185 w 355752"/>
                <a:gd name="connsiteY4" fmla="*/ 227934 h 254785"/>
                <a:gd name="connsiteX5" fmla="*/ 326707 w 355752"/>
                <a:gd name="connsiteY5" fmla="*/ 160306 h 254785"/>
                <a:gd name="connsiteX6" fmla="*/ 265748 w 355752"/>
                <a:gd name="connsiteY6" fmla="*/ 120301 h 254785"/>
                <a:gd name="connsiteX7" fmla="*/ 354330 w 355752"/>
                <a:gd name="connsiteY7" fmla="*/ 62199 h 2547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5752" h="254785">
                  <a:moveTo>
                    <a:pt x="354330" y="62199"/>
                  </a:moveTo>
                  <a:cubicBezTo>
                    <a:pt x="350520" y="42196"/>
                    <a:pt x="335280" y="26956"/>
                    <a:pt x="319088" y="14574"/>
                  </a:cubicBezTo>
                  <a:cubicBezTo>
                    <a:pt x="256223" y="-31146"/>
                    <a:pt x="43815" y="46006"/>
                    <a:pt x="0" y="38386"/>
                  </a:cubicBezTo>
                  <a:cubicBezTo>
                    <a:pt x="48577" y="98394"/>
                    <a:pt x="187643" y="244126"/>
                    <a:pt x="294323" y="254604"/>
                  </a:cubicBezTo>
                  <a:cubicBezTo>
                    <a:pt x="311468" y="256509"/>
                    <a:pt x="328613" y="243174"/>
                    <a:pt x="337185" y="227934"/>
                  </a:cubicBezTo>
                  <a:cubicBezTo>
                    <a:pt x="349568" y="206979"/>
                    <a:pt x="342900" y="178404"/>
                    <a:pt x="326707" y="160306"/>
                  </a:cubicBezTo>
                  <a:cubicBezTo>
                    <a:pt x="310515" y="142209"/>
                    <a:pt x="287655" y="130779"/>
                    <a:pt x="265748" y="120301"/>
                  </a:cubicBezTo>
                  <a:cubicBezTo>
                    <a:pt x="305752" y="123159"/>
                    <a:pt x="365760" y="123159"/>
                    <a:pt x="354330" y="62199"/>
                  </a:cubicBezTo>
                  <a:close/>
                </a:path>
              </a:pathLst>
            </a:custGeom>
            <a:solidFill>
              <a:schemeClr val="accent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0" name="Freeform: Shape 67">
              <a:extLst>
                <a:ext uri="{FF2B5EF4-FFF2-40B4-BE49-F238E27FC236}">
                  <a16:creationId xmlns:a16="http://schemas.microsoft.com/office/drawing/2014/main" id="{3A570507-15C5-44D1-B850-E60A9B34EBCB}"/>
                </a:ext>
              </a:extLst>
            </p:cNvPr>
            <p:cNvSpPr/>
            <p:nvPr/>
          </p:nvSpPr>
          <p:spPr>
            <a:xfrm>
              <a:off x="9660546" y="3299967"/>
              <a:ext cx="220298" cy="243033"/>
            </a:xfrm>
            <a:custGeom>
              <a:avLst/>
              <a:gdLst>
                <a:gd name="connsiteX0" fmla="*/ 192405 w 193938"/>
                <a:gd name="connsiteY0" fmla="*/ 120015 h 213953"/>
                <a:gd name="connsiteX1" fmla="*/ 186690 w 193938"/>
                <a:gd name="connsiteY1" fmla="*/ 82867 h 213953"/>
                <a:gd name="connsiteX2" fmla="*/ 0 w 193938"/>
                <a:gd name="connsiteY2" fmla="*/ 0 h 213953"/>
                <a:gd name="connsiteX3" fmla="*/ 100013 w 193938"/>
                <a:gd name="connsiteY3" fmla="*/ 210503 h 213953"/>
                <a:gd name="connsiteX4" fmla="*/ 132398 w 193938"/>
                <a:gd name="connsiteY4" fmla="*/ 208598 h 213953"/>
                <a:gd name="connsiteX5" fmla="*/ 146685 w 193938"/>
                <a:gd name="connsiteY5" fmla="*/ 166688 h 213953"/>
                <a:gd name="connsiteX6" fmla="*/ 124778 w 193938"/>
                <a:gd name="connsiteY6" fmla="*/ 125730 h 213953"/>
                <a:gd name="connsiteX7" fmla="*/ 192405 w 193938"/>
                <a:gd name="connsiteY7" fmla="*/ 120015 h 2139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3938" h="213953">
                  <a:moveTo>
                    <a:pt x="192405" y="120015"/>
                  </a:moveTo>
                  <a:cubicBezTo>
                    <a:pt x="196215" y="107633"/>
                    <a:pt x="192405" y="94298"/>
                    <a:pt x="186690" y="82867"/>
                  </a:cubicBezTo>
                  <a:cubicBezTo>
                    <a:pt x="164783" y="38100"/>
                    <a:pt x="21908" y="17145"/>
                    <a:pt x="0" y="0"/>
                  </a:cubicBezTo>
                  <a:cubicBezTo>
                    <a:pt x="8573" y="48578"/>
                    <a:pt x="43815" y="172403"/>
                    <a:pt x="100013" y="210503"/>
                  </a:cubicBezTo>
                  <a:cubicBezTo>
                    <a:pt x="109538" y="216217"/>
                    <a:pt x="122873" y="214313"/>
                    <a:pt x="132398" y="208598"/>
                  </a:cubicBezTo>
                  <a:cubicBezTo>
                    <a:pt x="145733" y="200978"/>
                    <a:pt x="150495" y="181928"/>
                    <a:pt x="146685" y="166688"/>
                  </a:cubicBezTo>
                  <a:cubicBezTo>
                    <a:pt x="142875" y="151448"/>
                    <a:pt x="133350" y="138113"/>
                    <a:pt x="124778" y="125730"/>
                  </a:cubicBezTo>
                  <a:cubicBezTo>
                    <a:pt x="146685" y="140017"/>
                    <a:pt x="180023" y="158115"/>
                    <a:pt x="192405" y="120015"/>
                  </a:cubicBezTo>
                  <a:close/>
                </a:path>
              </a:pathLst>
            </a:custGeom>
            <a:solidFill>
              <a:schemeClr val="accent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1" name="Freeform: Shape 68">
              <a:extLst>
                <a:ext uri="{FF2B5EF4-FFF2-40B4-BE49-F238E27FC236}">
                  <a16:creationId xmlns:a16="http://schemas.microsoft.com/office/drawing/2014/main" id="{7B60E3E1-F902-4B14-9AE6-B3B1B36066FE}"/>
                </a:ext>
              </a:extLst>
            </p:cNvPr>
            <p:cNvSpPr/>
            <p:nvPr/>
          </p:nvSpPr>
          <p:spPr>
            <a:xfrm>
              <a:off x="9169336" y="3436295"/>
              <a:ext cx="220298" cy="243033"/>
            </a:xfrm>
            <a:custGeom>
              <a:avLst/>
              <a:gdLst>
                <a:gd name="connsiteX0" fmla="*/ 192405 w 193938"/>
                <a:gd name="connsiteY0" fmla="*/ 120015 h 213953"/>
                <a:gd name="connsiteX1" fmla="*/ 186690 w 193938"/>
                <a:gd name="connsiteY1" fmla="*/ 82867 h 213953"/>
                <a:gd name="connsiteX2" fmla="*/ 0 w 193938"/>
                <a:gd name="connsiteY2" fmla="*/ 0 h 213953"/>
                <a:gd name="connsiteX3" fmla="*/ 100013 w 193938"/>
                <a:gd name="connsiteY3" fmla="*/ 210502 h 213953"/>
                <a:gd name="connsiteX4" fmla="*/ 132397 w 193938"/>
                <a:gd name="connsiteY4" fmla="*/ 208597 h 213953"/>
                <a:gd name="connsiteX5" fmla="*/ 146685 w 193938"/>
                <a:gd name="connsiteY5" fmla="*/ 166688 h 213953"/>
                <a:gd name="connsiteX6" fmla="*/ 124777 w 193938"/>
                <a:gd name="connsiteY6" fmla="*/ 125730 h 213953"/>
                <a:gd name="connsiteX7" fmla="*/ 192405 w 193938"/>
                <a:gd name="connsiteY7" fmla="*/ 120015 h 2139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3938" h="213953">
                  <a:moveTo>
                    <a:pt x="192405" y="120015"/>
                  </a:moveTo>
                  <a:cubicBezTo>
                    <a:pt x="196215" y="107633"/>
                    <a:pt x="192405" y="94297"/>
                    <a:pt x="186690" y="82867"/>
                  </a:cubicBezTo>
                  <a:cubicBezTo>
                    <a:pt x="164782" y="38100"/>
                    <a:pt x="21907" y="17145"/>
                    <a:pt x="0" y="0"/>
                  </a:cubicBezTo>
                  <a:cubicBezTo>
                    <a:pt x="9525" y="48577"/>
                    <a:pt x="43815" y="172402"/>
                    <a:pt x="100013" y="210502"/>
                  </a:cubicBezTo>
                  <a:cubicBezTo>
                    <a:pt x="109538" y="216217"/>
                    <a:pt x="122872" y="214313"/>
                    <a:pt x="132397" y="208597"/>
                  </a:cubicBezTo>
                  <a:cubicBezTo>
                    <a:pt x="145732" y="200977"/>
                    <a:pt x="150495" y="181927"/>
                    <a:pt x="146685" y="166688"/>
                  </a:cubicBezTo>
                  <a:cubicBezTo>
                    <a:pt x="142875" y="151447"/>
                    <a:pt x="133350" y="138113"/>
                    <a:pt x="124777" y="125730"/>
                  </a:cubicBezTo>
                  <a:cubicBezTo>
                    <a:pt x="147638" y="140017"/>
                    <a:pt x="180975" y="158115"/>
                    <a:pt x="192405" y="120015"/>
                  </a:cubicBezTo>
                  <a:close/>
                </a:path>
              </a:pathLst>
            </a:custGeom>
            <a:solidFill>
              <a:schemeClr val="accent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2" name="Freeform: Shape 69">
              <a:extLst>
                <a:ext uri="{FF2B5EF4-FFF2-40B4-BE49-F238E27FC236}">
                  <a16:creationId xmlns:a16="http://schemas.microsoft.com/office/drawing/2014/main" id="{81AC311A-2379-4B2A-A002-4BB96B0C64D7}"/>
                </a:ext>
              </a:extLst>
            </p:cNvPr>
            <p:cNvSpPr/>
            <p:nvPr/>
          </p:nvSpPr>
          <p:spPr>
            <a:xfrm>
              <a:off x="9033008" y="3160394"/>
              <a:ext cx="220298" cy="243033"/>
            </a:xfrm>
            <a:custGeom>
              <a:avLst/>
              <a:gdLst>
                <a:gd name="connsiteX0" fmla="*/ 192405 w 193938"/>
                <a:gd name="connsiteY0" fmla="*/ 120015 h 213953"/>
                <a:gd name="connsiteX1" fmla="*/ 186690 w 193938"/>
                <a:gd name="connsiteY1" fmla="*/ 82867 h 213953"/>
                <a:gd name="connsiteX2" fmla="*/ 0 w 193938"/>
                <a:gd name="connsiteY2" fmla="*/ 0 h 213953"/>
                <a:gd name="connsiteX3" fmla="*/ 100013 w 193938"/>
                <a:gd name="connsiteY3" fmla="*/ 210502 h 213953"/>
                <a:gd name="connsiteX4" fmla="*/ 132398 w 193938"/>
                <a:gd name="connsiteY4" fmla="*/ 208597 h 213953"/>
                <a:gd name="connsiteX5" fmla="*/ 146685 w 193938"/>
                <a:gd name="connsiteY5" fmla="*/ 166688 h 213953"/>
                <a:gd name="connsiteX6" fmla="*/ 124778 w 193938"/>
                <a:gd name="connsiteY6" fmla="*/ 125730 h 213953"/>
                <a:gd name="connsiteX7" fmla="*/ 192405 w 193938"/>
                <a:gd name="connsiteY7" fmla="*/ 120015 h 2139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3938" h="213953">
                  <a:moveTo>
                    <a:pt x="192405" y="120015"/>
                  </a:moveTo>
                  <a:cubicBezTo>
                    <a:pt x="196215" y="107632"/>
                    <a:pt x="192405" y="94297"/>
                    <a:pt x="186690" y="82867"/>
                  </a:cubicBezTo>
                  <a:cubicBezTo>
                    <a:pt x="164783" y="38100"/>
                    <a:pt x="21908" y="17145"/>
                    <a:pt x="0" y="0"/>
                  </a:cubicBezTo>
                  <a:cubicBezTo>
                    <a:pt x="9525" y="48577"/>
                    <a:pt x="43815" y="172402"/>
                    <a:pt x="100013" y="210502"/>
                  </a:cubicBezTo>
                  <a:cubicBezTo>
                    <a:pt x="109538" y="216217"/>
                    <a:pt x="122873" y="214313"/>
                    <a:pt x="132398" y="208597"/>
                  </a:cubicBezTo>
                  <a:cubicBezTo>
                    <a:pt x="145733" y="200977"/>
                    <a:pt x="150495" y="181927"/>
                    <a:pt x="146685" y="166688"/>
                  </a:cubicBezTo>
                  <a:cubicBezTo>
                    <a:pt x="142875" y="151447"/>
                    <a:pt x="133350" y="138113"/>
                    <a:pt x="124778" y="125730"/>
                  </a:cubicBezTo>
                  <a:cubicBezTo>
                    <a:pt x="146685" y="140017"/>
                    <a:pt x="180975" y="158115"/>
                    <a:pt x="192405" y="120015"/>
                  </a:cubicBezTo>
                  <a:close/>
                </a:path>
              </a:pathLst>
            </a:custGeom>
            <a:solidFill>
              <a:schemeClr val="accent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3" name="Freeform: Shape 70">
              <a:extLst>
                <a:ext uri="{FF2B5EF4-FFF2-40B4-BE49-F238E27FC236}">
                  <a16:creationId xmlns:a16="http://schemas.microsoft.com/office/drawing/2014/main" id="{07A968EE-ED23-488A-BC18-7505472E1133}"/>
                </a:ext>
              </a:extLst>
            </p:cNvPr>
            <p:cNvSpPr/>
            <p:nvPr/>
          </p:nvSpPr>
          <p:spPr>
            <a:xfrm>
              <a:off x="8964844" y="3390853"/>
              <a:ext cx="178523" cy="147035"/>
            </a:xfrm>
            <a:custGeom>
              <a:avLst/>
              <a:gdLst>
                <a:gd name="connsiteX0" fmla="*/ 157163 w 157162"/>
                <a:gd name="connsiteY0" fmla="*/ 47625 h 129441"/>
                <a:gd name="connsiteX1" fmla="*/ 146685 w 157162"/>
                <a:gd name="connsiteY1" fmla="*/ 22860 h 129441"/>
                <a:gd name="connsiteX2" fmla="*/ 0 w 157162"/>
                <a:gd name="connsiteY2" fmla="*/ 0 h 129441"/>
                <a:gd name="connsiteX3" fmla="*/ 110490 w 157162"/>
                <a:gd name="connsiteY3" fmla="*/ 128588 h 129441"/>
                <a:gd name="connsiteX4" fmla="*/ 132398 w 157162"/>
                <a:gd name="connsiteY4" fmla="*/ 120967 h 129441"/>
                <a:gd name="connsiteX5" fmla="*/ 134303 w 157162"/>
                <a:gd name="connsiteY5" fmla="*/ 89535 h 129441"/>
                <a:gd name="connsiteX6" fmla="*/ 111443 w 157162"/>
                <a:gd name="connsiteY6" fmla="*/ 64770 h 129441"/>
                <a:gd name="connsiteX7" fmla="*/ 157163 w 157162"/>
                <a:gd name="connsiteY7" fmla="*/ 47625 h 129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7162" h="129441">
                  <a:moveTo>
                    <a:pt x="157163" y="47625"/>
                  </a:moveTo>
                  <a:cubicBezTo>
                    <a:pt x="157163" y="38100"/>
                    <a:pt x="152400" y="29527"/>
                    <a:pt x="146685" y="22860"/>
                  </a:cubicBezTo>
                  <a:cubicBezTo>
                    <a:pt x="122873" y="-4763"/>
                    <a:pt x="19050" y="7620"/>
                    <a:pt x="0" y="0"/>
                  </a:cubicBezTo>
                  <a:cubicBezTo>
                    <a:pt x="15240" y="32385"/>
                    <a:pt x="62865" y="112395"/>
                    <a:pt x="110490" y="128588"/>
                  </a:cubicBezTo>
                  <a:cubicBezTo>
                    <a:pt x="118110" y="131445"/>
                    <a:pt x="126682" y="126682"/>
                    <a:pt x="132398" y="120967"/>
                  </a:cubicBezTo>
                  <a:cubicBezTo>
                    <a:pt x="140018" y="112395"/>
                    <a:pt x="140018" y="99060"/>
                    <a:pt x="134303" y="89535"/>
                  </a:cubicBezTo>
                  <a:cubicBezTo>
                    <a:pt x="128588" y="80010"/>
                    <a:pt x="120015" y="72390"/>
                    <a:pt x="111443" y="64770"/>
                  </a:cubicBezTo>
                  <a:cubicBezTo>
                    <a:pt x="128588" y="70485"/>
                    <a:pt x="156210" y="76200"/>
                    <a:pt x="157163" y="47625"/>
                  </a:cubicBezTo>
                  <a:close/>
                </a:path>
              </a:pathLst>
            </a:custGeom>
            <a:solidFill>
              <a:schemeClr val="accent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4" name="Freeform: Shape 71">
              <a:extLst>
                <a:ext uri="{FF2B5EF4-FFF2-40B4-BE49-F238E27FC236}">
                  <a16:creationId xmlns:a16="http://schemas.microsoft.com/office/drawing/2014/main" id="{C4262E79-DD20-4B69-9FA9-1DDDDC708E01}"/>
                </a:ext>
              </a:extLst>
            </p:cNvPr>
            <p:cNvSpPr/>
            <p:nvPr/>
          </p:nvSpPr>
          <p:spPr>
            <a:xfrm>
              <a:off x="9239663" y="3376787"/>
              <a:ext cx="99541" cy="81428"/>
            </a:xfrm>
            <a:custGeom>
              <a:avLst/>
              <a:gdLst>
                <a:gd name="connsiteX0" fmla="*/ 87630 w 87630"/>
                <a:gd name="connsiteY0" fmla="*/ 26670 h 71685"/>
                <a:gd name="connsiteX1" fmla="*/ 81915 w 87630"/>
                <a:gd name="connsiteY1" fmla="*/ 12383 h 71685"/>
                <a:gd name="connsiteX2" fmla="*/ 0 w 87630"/>
                <a:gd name="connsiteY2" fmla="*/ 0 h 71685"/>
                <a:gd name="connsiteX3" fmla="*/ 60960 w 87630"/>
                <a:gd name="connsiteY3" fmla="*/ 71438 h 71685"/>
                <a:gd name="connsiteX4" fmla="*/ 73343 w 87630"/>
                <a:gd name="connsiteY4" fmla="*/ 67627 h 71685"/>
                <a:gd name="connsiteX5" fmla="*/ 74295 w 87630"/>
                <a:gd name="connsiteY5" fmla="*/ 49530 h 71685"/>
                <a:gd name="connsiteX6" fmla="*/ 60960 w 87630"/>
                <a:gd name="connsiteY6" fmla="*/ 36195 h 71685"/>
                <a:gd name="connsiteX7" fmla="*/ 87630 w 87630"/>
                <a:gd name="connsiteY7" fmla="*/ 26670 h 716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630" h="71685">
                  <a:moveTo>
                    <a:pt x="87630" y="26670"/>
                  </a:moveTo>
                  <a:cubicBezTo>
                    <a:pt x="87630" y="21908"/>
                    <a:pt x="84772" y="16192"/>
                    <a:pt x="81915" y="12383"/>
                  </a:cubicBezTo>
                  <a:cubicBezTo>
                    <a:pt x="68580" y="-2858"/>
                    <a:pt x="11430" y="3810"/>
                    <a:pt x="0" y="0"/>
                  </a:cubicBezTo>
                  <a:cubicBezTo>
                    <a:pt x="8572" y="18097"/>
                    <a:pt x="35243" y="62865"/>
                    <a:pt x="60960" y="71438"/>
                  </a:cubicBezTo>
                  <a:cubicBezTo>
                    <a:pt x="64770" y="72390"/>
                    <a:pt x="70485" y="70485"/>
                    <a:pt x="73343" y="67627"/>
                  </a:cubicBezTo>
                  <a:cubicBezTo>
                    <a:pt x="78105" y="62865"/>
                    <a:pt x="77152" y="55245"/>
                    <a:pt x="74295" y="49530"/>
                  </a:cubicBezTo>
                  <a:cubicBezTo>
                    <a:pt x="71438" y="43815"/>
                    <a:pt x="66675" y="40005"/>
                    <a:pt x="60960" y="36195"/>
                  </a:cubicBezTo>
                  <a:cubicBezTo>
                    <a:pt x="71438" y="39052"/>
                    <a:pt x="86677" y="42863"/>
                    <a:pt x="87630" y="26670"/>
                  </a:cubicBezTo>
                  <a:close/>
                </a:path>
              </a:pathLst>
            </a:custGeom>
            <a:solidFill>
              <a:schemeClr val="accent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5" name="Freeform: Shape 72">
              <a:extLst>
                <a:ext uri="{FF2B5EF4-FFF2-40B4-BE49-F238E27FC236}">
                  <a16:creationId xmlns:a16="http://schemas.microsoft.com/office/drawing/2014/main" id="{C221DB19-BF40-4369-BCB6-2CD0C175681E}"/>
                </a:ext>
              </a:extLst>
            </p:cNvPr>
            <p:cNvSpPr/>
            <p:nvPr/>
          </p:nvSpPr>
          <p:spPr>
            <a:xfrm>
              <a:off x="9342449" y="3306460"/>
              <a:ext cx="99541" cy="81428"/>
            </a:xfrm>
            <a:custGeom>
              <a:avLst/>
              <a:gdLst>
                <a:gd name="connsiteX0" fmla="*/ 87630 w 87630"/>
                <a:gd name="connsiteY0" fmla="*/ 26670 h 71685"/>
                <a:gd name="connsiteX1" fmla="*/ 81915 w 87630"/>
                <a:gd name="connsiteY1" fmla="*/ 12382 h 71685"/>
                <a:gd name="connsiteX2" fmla="*/ 0 w 87630"/>
                <a:gd name="connsiteY2" fmla="*/ 0 h 71685"/>
                <a:gd name="connsiteX3" fmla="*/ 60960 w 87630"/>
                <a:gd name="connsiteY3" fmla="*/ 71438 h 71685"/>
                <a:gd name="connsiteX4" fmla="*/ 73343 w 87630"/>
                <a:gd name="connsiteY4" fmla="*/ 67627 h 71685"/>
                <a:gd name="connsiteX5" fmla="*/ 74295 w 87630"/>
                <a:gd name="connsiteY5" fmla="*/ 49530 h 71685"/>
                <a:gd name="connsiteX6" fmla="*/ 60960 w 87630"/>
                <a:gd name="connsiteY6" fmla="*/ 36195 h 71685"/>
                <a:gd name="connsiteX7" fmla="*/ 87630 w 87630"/>
                <a:gd name="connsiteY7" fmla="*/ 26670 h 716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630" h="71685">
                  <a:moveTo>
                    <a:pt x="87630" y="26670"/>
                  </a:moveTo>
                  <a:cubicBezTo>
                    <a:pt x="87630" y="21907"/>
                    <a:pt x="84772" y="16192"/>
                    <a:pt x="81915" y="12382"/>
                  </a:cubicBezTo>
                  <a:cubicBezTo>
                    <a:pt x="68580" y="-2858"/>
                    <a:pt x="11430" y="3810"/>
                    <a:pt x="0" y="0"/>
                  </a:cubicBezTo>
                  <a:cubicBezTo>
                    <a:pt x="8572" y="18097"/>
                    <a:pt x="35243" y="62865"/>
                    <a:pt x="60960" y="71438"/>
                  </a:cubicBezTo>
                  <a:cubicBezTo>
                    <a:pt x="64770" y="72390"/>
                    <a:pt x="70485" y="70485"/>
                    <a:pt x="73343" y="67627"/>
                  </a:cubicBezTo>
                  <a:cubicBezTo>
                    <a:pt x="78105" y="62865"/>
                    <a:pt x="77152" y="55245"/>
                    <a:pt x="74295" y="49530"/>
                  </a:cubicBezTo>
                  <a:cubicBezTo>
                    <a:pt x="71438" y="43815"/>
                    <a:pt x="66675" y="40005"/>
                    <a:pt x="60960" y="36195"/>
                  </a:cubicBezTo>
                  <a:cubicBezTo>
                    <a:pt x="71438" y="39052"/>
                    <a:pt x="86677" y="42863"/>
                    <a:pt x="87630" y="26670"/>
                  </a:cubicBezTo>
                  <a:close/>
                </a:path>
              </a:pathLst>
            </a:custGeom>
            <a:solidFill>
              <a:schemeClr val="accent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6" name="Freeform: Shape 73">
              <a:extLst>
                <a:ext uri="{FF2B5EF4-FFF2-40B4-BE49-F238E27FC236}">
                  <a16:creationId xmlns:a16="http://schemas.microsoft.com/office/drawing/2014/main" id="{2376FB77-9373-4D1B-8D5E-DB3A68D82EF8}"/>
                </a:ext>
              </a:extLst>
            </p:cNvPr>
            <p:cNvSpPr/>
            <p:nvPr/>
          </p:nvSpPr>
          <p:spPr>
            <a:xfrm>
              <a:off x="9531793" y="3671081"/>
              <a:ext cx="137645" cy="152065"/>
            </a:xfrm>
            <a:custGeom>
              <a:avLst/>
              <a:gdLst>
                <a:gd name="connsiteX0" fmla="*/ 120015 w 121175"/>
                <a:gd name="connsiteY0" fmla="*/ 74295 h 133870"/>
                <a:gd name="connsiteX1" fmla="*/ 116205 w 121175"/>
                <a:gd name="connsiteY1" fmla="*/ 51435 h 133870"/>
                <a:gd name="connsiteX2" fmla="*/ 0 w 121175"/>
                <a:gd name="connsiteY2" fmla="*/ 0 h 133870"/>
                <a:gd name="connsiteX3" fmla="*/ 62865 w 121175"/>
                <a:gd name="connsiteY3" fmla="*/ 131445 h 133870"/>
                <a:gd name="connsiteX4" fmla="*/ 82868 w 121175"/>
                <a:gd name="connsiteY4" fmla="*/ 130492 h 133870"/>
                <a:gd name="connsiteX5" fmla="*/ 91440 w 121175"/>
                <a:gd name="connsiteY5" fmla="*/ 104775 h 133870"/>
                <a:gd name="connsiteX6" fmla="*/ 77152 w 121175"/>
                <a:gd name="connsiteY6" fmla="*/ 79058 h 133870"/>
                <a:gd name="connsiteX7" fmla="*/ 120015 w 121175"/>
                <a:gd name="connsiteY7" fmla="*/ 74295 h 1338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175" h="133870">
                  <a:moveTo>
                    <a:pt x="120015" y="74295"/>
                  </a:moveTo>
                  <a:cubicBezTo>
                    <a:pt x="122872" y="66675"/>
                    <a:pt x="120015" y="58103"/>
                    <a:pt x="116205" y="51435"/>
                  </a:cubicBezTo>
                  <a:cubicBezTo>
                    <a:pt x="102870" y="23813"/>
                    <a:pt x="13335" y="10478"/>
                    <a:pt x="0" y="0"/>
                  </a:cubicBezTo>
                  <a:cubicBezTo>
                    <a:pt x="5715" y="30480"/>
                    <a:pt x="26670" y="107633"/>
                    <a:pt x="62865" y="131445"/>
                  </a:cubicBezTo>
                  <a:cubicBezTo>
                    <a:pt x="68580" y="135255"/>
                    <a:pt x="77152" y="134303"/>
                    <a:pt x="82868" y="130492"/>
                  </a:cubicBezTo>
                  <a:cubicBezTo>
                    <a:pt x="91440" y="125730"/>
                    <a:pt x="94297" y="114300"/>
                    <a:pt x="91440" y="104775"/>
                  </a:cubicBezTo>
                  <a:cubicBezTo>
                    <a:pt x="88582" y="95250"/>
                    <a:pt x="83820" y="86678"/>
                    <a:pt x="77152" y="79058"/>
                  </a:cubicBezTo>
                  <a:cubicBezTo>
                    <a:pt x="92393" y="86678"/>
                    <a:pt x="112395" y="98108"/>
                    <a:pt x="120015" y="74295"/>
                  </a:cubicBezTo>
                  <a:close/>
                </a:path>
              </a:pathLst>
            </a:custGeom>
            <a:solidFill>
              <a:schemeClr val="accent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7" name="Freeform: Shape 74">
              <a:extLst>
                <a:ext uri="{FF2B5EF4-FFF2-40B4-BE49-F238E27FC236}">
                  <a16:creationId xmlns:a16="http://schemas.microsoft.com/office/drawing/2014/main" id="{5DB30A7E-9258-4861-A6BA-1A46DC63054D}"/>
                </a:ext>
              </a:extLst>
            </p:cNvPr>
            <p:cNvSpPr/>
            <p:nvPr/>
          </p:nvSpPr>
          <p:spPr>
            <a:xfrm>
              <a:off x="9429006" y="3539932"/>
              <a:ext cx="161849" cy="113836"/>
            </a:xfrm>
            <a:custGeom>
              <a:avLst/>
              <a:gdLst>
                <a:gd name="connsiteX0" fmla="*/ 140970 w 142483"/>
                <a:gd name="connsiteY0" fmla="*/ 21158 h 100215"/>
                <a:gd name="connsiteX1" fmla="*/ 125730 w 142483"/>
                <a:gd name="connsiteY1" fmla="*/ 4013 h 100215"/>
                <a:gd name="connsiteX2" fmla="*/ 0 w 142483"/>
                <a:gd name="connsiteY2" fmla="*/ 24968 h 100215"/>
                <a:gd name="connsiteX3" fmla="*/ 124777 w 142483"/>
                <a:gd name="connsiteY3" fmla="*/ 100216 h 100215"/>
                <a:gd name="connsiteX4" fmla="*/ 140970 w 142483"/>
                <a:gd name="connsiteY4" fmla="*/ 87833 h 100215"/>
                <a:gd name="connsiteX5" fmla="*/ 134302 w 142483"/>
                <a:gd name="connsiteY5" fmla="*/ 61163 h 100215"/>
                <a:gd name="connsiteX6" fmla="*/ 108585 w 142483"/>
                <a:gd name="connsiteY6" fmla="*/ 47828 h 100215"/>
                <a:gd name="connsiteX7" fmla="*/ 140970 w 142483"/>
                <a:gd name="connsiteY7" fmla="*/ 21158 h 100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2483" h="100215">
                  <a:moveTo>
                    <a:pt x="140970" y="21158"/>
                  </a:moveTo>
                  <a:cubicBezTo>
                    <a:pt x="139065" y="13538"/>
                    <a:pt x="132397" y="7823"/>
                    <a:pt x="125730" y="4013"/>
                  </a:cubicBezTo>
                  <a:cubicBezTo>
                    <a:pt x="99060" y="-12179"/>
                    <a:pt x="18097" y="25921"/>
                    <a:pt x="0" y="24968"/>
                  </a:cubicBezTo>
                  <a:cubicBezTo>
                    <a:pt x="20955" y="46876"/>
                    <a:pt x="81915" y="100216"/>
                    <a:pt x="124777" y="100216"/>
                  </a:cubicBezTo>
                  <a:cubicBezTo>
                    <a:pt x="131445" y="100216"/>
                    <a:pt x="138113" y="94501"/>
                    <a:pt x="140970" y="87833"/>
                  </a:cubicBezTo>
                  <a:cubicBezTo>
                    <a:pt x="144780" y="79261"/>
                    <a:pt x="140970" y="67831"/>
                    <a:pt x="134302" y="61163"/>
                  </a:cubicBezTo>
                  <a:cubicBezTo>
                    <a:pt x="127635" y="54496"/>
                    <a:pt x="118110" y="50686"/>
                    <a:pt x="108585" y="47828"/>
                  </a:cubicBezTo>
                  <a:cubicBezTo>
                    <a:pt x="123825" y="46876"/>
                    <a:pt x="147638" y="44971"/>
                    <a:pt x="140970" y="21158"/>
                  </a:cubicBezTo>
                  <a:close/>
                </a:path>
              </a:pathLst>
            </a:custGeom>
            <a:solidFill>
              <a:schemeClr val="accent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8" name="Freeform: Shape 75">
              <a:extLst>
                <a:ext uri="{FF2B5EF4-FFF2-40B4-BE49-F238E27FC236}">
                  <a16:creationId xmlns:a16="http://schemas.microsoft.com/office/drawing/2014/main" id="{DF62B2BF-2C44-409B-9D2D-400B9DD9B4B3}"/>
                </a:ext>
              </a:extLst>
            </p:cNvPr>
            <p:cNvSpPr/>
            <p:nvPr/>
          </p:nvSpPr>
          <p:spPr>
            <a:xfrm>
              <a:off x="8752780" y="4073244"/>
              <a:ext cx="404105" cy="289415"/>
            </a:xfrm>
            <a:custGeom>
              <a:avLst/>
              <a:gdLst>
                <a:gd name="connsiteX0" fmla="*/ 354330 w 355752"/>
                <a:gd name="connsiteY0" fmla="*/ 62199 h 254785"/>
                <a:gd name="connsiteX1" fmla="*/ 319088 w 355752"/>
                <a:gd name="connsiteY1" fmla="*/ 14574 h 254785"/>
                <a:gd name="connsiteX2" fmla="*/ 0 w 355752"/>
                <a:gd name="connsiteY2" fmla="*/ 38386 h 254785"/>
                <a:gd name="connsiteX3" fmla="*/ 294322 w 355752"/>
                <a:gd name="connsiteY3" fmla="*/ 254604 h 254785"/>
                <a:gd name="connsiteX4" fmla="*/ 337185 w 355752"/>
                <a:gd name="connsiteY4" fmla="*/ 227934 h 254785"/>
                <a:gd name="connsiteX5" fmla="*/ 326707 w 355752"/>
                <a:gd name="connsiteY5" fmla="*/ 160306 h 254785"/>
                <a:gd name="connsiteX6" fmla="*/ 265747 w 355752"/>
                <a:gd name="connsiteY6" fmla="*/ 120301 h 254785"/>
                <a:gd name="connsiteX7" fmla="*/ 354330 w 355752"/>
                <a:gd name="connsiteY7" fmla="*/ 62199 h 2547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5752" h="254785">
                  <a:moveTo>
                    <a:pt x="354330" y="62199"/>
                  </a:moveTo>
                  <a:cubicBezTo>
                    <a:pt x="350520" y="42196"/>
                    <a:pt x="335280" y="26956"/>
                    <a:pt x="319088" y="14574"/>
                  </a:cubicBezTo>
                  <a:cubicBezTo>
                    <a:pt x="256222" y="-31146"/>
                    <a:pt x="43815" y="46006"/>
                    <a:pt x="0" y="38386"/>
                  </a:cubicBezTo>
                  <a:cubicBezTo>
                    <a:pt x="48577" y="98394"/>
                    <a:pt x="187643" y="244126"/>
                    <a:pt x="294322" y="254604"/>
                  </a:cubicBezTo>
                  <a:cubicBezTo>
                    <a:pt x="311468" y="256509"/>
                    <a:pt x="328613" y="243174"/>
                    <a:pt x="337185" y="227934"/>
                  </a:cubicBezTo>
                  <a:cubicBezTo>
                    <a:pt x="349568" y="206979"/>
                    <a:pt x="342900" y="178404"/>
                    <a:pt x="326707" y="160306"/>
                  </a:cubicBezTo>
                  <a:cubicBezTo>
                    <a:pt x="310515" y="142209"/>
                    <a:pt x="287655" y="130779"/>
                    <a:pt x="265747" y="120301"/>
                  </a:cubicBezTo>
                  <a:cubicBezTo>
                    <a:pt x="305752" y="123159"/>
                    <a:pt x="365760" y="123159"/>
                    <a:pt x="354330" y="62199"/>
                  </a:cubicBezTo>
                  <a:close/>
                </a:path>
              </a:pathLst>
            </a:custGeom>
            <a:solidFill>
              <a:schemeClr val="accent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9" name="Freeform: Shape 76">
              <a:extLst>
                <a:ext uri="{FF2B5EF4-FFF2-40B4-BE49-F238E27FC236}">
                  <a16:creationId xmlns:a16="http://schemas.microsoft.com/office/drawing/2014/main" id="{F48599E9-F285-4378-BC06-A109DA892734}"/>
                </a:ext>
              </a:extLst>
            </p:cNvPr>
            <p:cNvSpPr/>
            <p:nvPr/>
          </p:nvSpPr>
          <p:spPr>
            <a:xfrm>
              <a:off x="10785369" y="4406811"/>
              <a:ext cx="264416" cy="245607"/>
            </a:xfrm>
            <a:custGeom>
              <a:avLst/>
              <a:gdLst>
                <a:gd name="connsiteX0" fmla="*/ 367 w 232777"/>
                <a:gd name="connsiteY0" fmla="*/ 116207 h 216219"/>
                <a:gd name="connsiteX1" fmla="*/ 12750 w 232777"/>
                <a:gd name="connsiteY1" fmla="*/ 156212 h 216219"/>
                <a:gd name="connsiteX2" fmla="*/ 232777 w 232777"/>
                <a:gd name="connsiteY2" fmla="*/ 216219 h 216219"/>
                <a:gd name="connsiteX3" fmla="*/ 87045 w 232777"/>
                <a:gd name="connsiteY3" fmla="*/ 1907 h 216219"/>
                <a:gd name="connsiteX4" fmla="*/ 51802 w 232777"/>
                <a:gd name="connsiteY4" fmla="*/ 9527 h 216219"/>
                <a:gd name="connsiteX5" fmla="*/ 43229 w 232777"/>
                <a:gd name="connsiteY5" fmla="*/ 57152 h 216219"/>
                <a:gd name="connsiteX6" fmla="*/ 74662 w 232777"/>
                <a:gd name="connsiteY6" fmla="*/ 98109 h 216219"/>
                <a:gd name="connsiteX7" fmla="*/ 367 w 232777"/>
                <a:gd name="connsiteY7" fmla="*/ 116207 h 2162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2777" h="216219">
                  <a:moveTo>
                    <a:pt x="367" y="116207"/>
                  </a:moveTo>
                  <a:cubicBezTo>
                    <a:pt x="-1538" y="130494"/>
                    <a:pt x="4177" y="144782"/>
                    <a:pt x="12750" y="156212"/>
                  </a:cubicBezTo>
                  <a:cubicBezTo>
                    <a:pt x="44182" y="201932"/>
                    <a:pt x="204202" y="200979"/>
                    <a:pt x="232777" y="216219"/>
                  </a:cubicBezTo>
                  <a:cubicBezTo>
                    <a:pt x="214679" y="164784"/>
                    <a:pt x="155625" y="34292"/>
                    <a:pt x="87045" y="1907"/>
                  </a:cubicBezTo>
                  <a:cubicBezTo>
                    <a:pt x="75615" y="-2856"/>
                    <a:pt x="61327" y="1907"/>
                    <a:pt x="51802" y="9527"/>
                  </a:cubicBezTo>
                  <a:cubicBezTo>
                    <a:pt x="38467" y="20957"/>
                    <a:pt x="36562" y="40959"/>
                    <a:pt x="43229" y="57152"/>
                  </a:cubicBezTo>
                  <a:cubicBezTo>
                    <a:pt x="49897" y="73344"/>
                    <a:pt x="62279" y="85727"/>
                    <a:pt x="74662" y="98109"/>
                  </a:cubicBezTo>
                  <a:cubicBezTo>
                    <a:pt x="47040" y="86679"/>
                    <a:pt x="7035" y="72392"/>
                    <a:pt x="367" y="116207"/>
                  </a:cubicBezTo>
                  <a:close/>
                </a:path>
              </a:pathLst>
            </a:custGeom>
            <a:solidFill>
              <a:schemeClr val="accent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40" name="Freeform: Shape 77">
              <a:extLst>
                <a:ext uri="{FF2B5EF4-FFF2-40B4-BE49-F238E27FC236}">
                  <a16:creationId xmlns:a16="http://schemas.microsoft.com/office/drawing/2014/main" id="{1AE2B037-3F16-4747-9589-A40DBAC17EB9}"/>
                </a:ext>
              </a:extLst>
            </p:cNvPr>
            <p:cNvSpPr/>
            <p:nvPr/>
          </p:nvSpPr>
          <p:spPr>
            <a:xfrm>
              <a:off x="10037148" y="3319443"/>
              <a:ext cx="258510" cy="255212"/>
            </a:xfrm>
            <a:custGeom>
              <a:avLst/>
              <a:gdLst>
                <a:gd name="connsiteX0" fmla="*/ 110421 w 227578"/>
                <a:gd name="connsiteY0" fmla="*/ 223838 h 224675"/>
                <a:gd name="connsiteX1" fmla="*/ 151378 w 227578"/>
                <a:gd name="connsiteY1" fmla="*/ 214313 h 224675"/>
                <a:gd name="connsiteX2" fmla="*/ 227578 w 227578"/>
                <a:gd name="connsiteY2" fmla="*/ 0 h 224675"/>
                <a:gd name="connsiteX3" fmla="*/ 2788 w 227578"/>
                <a:gd name="connsiteY3" fmla="*/ 129540 h 224675"/>
                <a:gd name="connsiteX4" fmla="*/ 7551 w 227578"/>
                <a:gd name="connsiteY4" fmla="*/ 164783 h 224675"/>
                <a:gd name="connsiteX5" fmla="*/ 55176 w 227578"/>
                <a:gd name="connsiteY5" fmla="*/ 177165 h 224675"/>
                <a:gd name="connsiteX6" fmla="*/ 98991 w 227578"/>
                <a:gd name="connsiteY6" fmla="*/ 148590 h 224675"/>
                <a:gd name="connsiteX7" fmla="*/ 110421 w 227578"/>
                <a:gd name="connsiteY7" fmla="*/ 223838 h 224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7578" h="224675">
                  <a:moveTo>
                    <a:pt x="110421" y="223838"/>
                  </a:moveTo>
                  <a:cubicBezTo>
                    <a:pt x="124708" y="226695"/>
                    <a:pt x="138996" y="221933"/>
                    <a:pt x="151378" y="214313"/>
                  </a:cubicBezTo>
                  <a:cubicBezTo>
                    <a:pt x="199003" y="186690"/>
                    <a:pt x="210433" y="26670"/>
                    <a:pt x="227578" y="0"/>
                  </a:cubicBezTo>
                  <a:cubicBezTo>
                    <a:pt x="175191" y="14288"/>
                    <a:pt x="39935" y="62865"/>
                    <a:pt x="2788" y="129540"/>
                  </a:cubicBezTo>
                  <a:cubicBezTo>
                    <a:pt x="-2927" y="140017"/>
                    <a:pt x="883" y="155258"/>
                    <a:pt x="7551" y="164783"/>
                  </a:cubicBezTo>
                  <a:cubicBezTo>
                    <a:pt x="18028" y="179070"/>
                    <a:pt x="38031" y="181928"/>
                    <a:pt x="55176" y="177165"/>
                  </a:cubicBezTo>
                  <a:cubicBezTo>
                    <a:pt x="72321" y="172403"/>
                    <a:pt x="85656" y="160020"/>
                    <a:pt x="98991" y="148590"/>
                  </a:cubicBezTo>
                  <a:cubicBezTo>
                    <a:pt x="84703" y="174308"/>
                    <a:pt x="67558" y="213360"/>
                    <a:pt x="110421" y="223838"/>
                  </a:cubicBezTo>
                  <a:close/>
                </a:path>
              </a:pathLst>
            </a:custGeom>
            <a:solidFill>
              <a:schemeClr val="accent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41" name="Freeform: Shape 78">
              <a:extLst>
                <a:ext uri="{FF2B5EF4-FFF2-40B4-BE49-F238E27FC236}">
                  <a16:creationId xmlns:a16="http://schemas.microsoft.com/office/drawing/2014/main" id="{5CB54A03-F9E6-48A5-8B19-486829AB6AE7}"/>
                </a:ext>
              </a:extLst>
            </p:cNvPr>
            <p:cNvSpPr/>
            <p:nvPr/>
          </p:nvSpPr>
          <p:spPr>
            <a:xfrm>
              <a:off x="10416968" y="3580824"/>
              <a:ext cx="152427" cy="99667"/>
            </a:xfrm>
            <a:custGeom>
              <a:avLst/>
              <a:gdLst>
                <a:gd name="connsiteX0" fmla="*/ 8459 w 134188"/>
                <a:gd name="connsiteY0" fmla="*/ 72790 h 87742"/>
                <a:gd name="connsiteX1" fmla="*/ 24651 w 134188"/>
                <a:gd name="connsiteY1" fmla="*/ 86125 h 87742"/>
                <a:gd name="connsiteX2" fmla="*/ 134188 w 134188"/>
                <a:gd name="connsiteY2" fmla="*/ 51835 h 87742"/>
                <a:gd name="connsiteX3" fmla="*/ 14173 w 134188"/>
                <a:gd name="connsiteY3" fmla="*/ 400 h 87742"/>
                <a:gd name="connsiteX4" fmla="*/ 838 w 134188"/>
                <a:gd name="connsiteY4" fmla="*/ 12782 h 87742"/>
                <a:gd name="connsiteX5" fmla="*/ 10363 w 134188"/>
                <a:gd name="connsiteY5" fmla="*/ 35642 h 87742"/>
                <a:gd name="connsiteX6" fmla="*/ 35128 w 134188"/>
                <a:gd name="connsiteY6" fmla="*/ 44215 h 87742"/>
                <a:gd name="connsiteX7" fmla="*/ 8459 w 134188"/>
                <a:gd name="connsiteY7" fmla="*/ 72790 h 877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4188" h="87742">
                  <a:moveTo>
                    <a:pt x="8459" y="72790"/>
                  </a:moveTo>
                  <a:cubicBezTo>
                    <a:pt x="11316" y="79457"/>
                    <a:pt x="17984" y="83267"/>
                    <a:pt x="24651" y="86125"/>
                  </a:cubicBezTo>
                  <a:cubicBezTo>
                    <a:pt x="50368" y="96602"/>
                    <a:pt x="117996" y="52787"/>
                    <a:pt x="134188" y="51835"/>
                  </a:cubicBezTo>
                  <a:cubicBezTo>
                    <a:pt x="112281" y="34690"/>
                    <a:pt x="52273" y="-4363"/>
                    <a:pt x="14173" y="400"/>
                  </a:cubicBezTo>
                  <a:cubicBezTo>
                    <a:pt x="8459" y="1352"/>
                    <a:pt x="2743" y="7067"/>
                    <a:pt x="838" y="12782"/>
                  </a:cubicBezTo>
                  <a:cubicBezTo>
                    <a:pt x="-2019" y="21354"/>
                    <a:pt x="2743" y="30879"/>
                    <a:pt x="10363" y="35642"/>
                  </a:cubicBezTo>
                  <a:cubicBezTo>
                    <a:pt x="17984" y="40404"/>
                    <a:pt x="26556" y="43262"/>
                    <a:pt x="35128" y="44215"/>
                  </a:cubicBezTo>
                  <a:cubicBezTo>
                    <a:pt x="19888" y="48025"/>
                    <a:pt x="-1066" y="52787"/>
                    <a:pt x="8459" y="72790"/>
                  </a:cubicBezTo>
                  <a:close/>
                </a:path>
              </a:pathLst>
            </a:custGeom>
            <a:solidFill>
              <a:schemeClr val="accent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42" name="Freeform: Shape 79">
              <a:extLst>
                <a:ext uri="{FF2B5EF4-FFF2-40B4-BE49-F238E27FC236}">
                  <a16:creationId xmlns:a16="http://schemas.microsoft.com/office/drawing/2014/main" id="{A7049C66-C25B-4864-ABFA-4ED98A0C534B}"/>
                </a:ext>
              </a:extLst>
            </p:cNvPr>
            <p:cNvSpPr/>
            <p:nvPr/>
          </p:nvSpPr>
          <p:spPr>
            <a:xfrm>
              <a:off x="10714903" y="4215873"/>
              <a:ext cx="250488" cy="166518"/>
            </a:xfrm>
            <a:custGeom>
              <a:avLst/>
              <a:gdLst>
                <a:gd name="connsiteX0" fmla="*/ 11919 w 220516"/>
                <a:gd name="connsiteY0" fmla="*/ 119516 h 146593"/>
                <a:gd name="connsiteX1" fmla="*/ 37637 w 220516"/>
                <a:gd name="connsiteY1" fmla="*/ 143329 h 146593"/>
                <a:gd name="connsiteX2" fmla="*/ 220517 w 220516"/>
                <a:gd name="connsiteY2" fmla="*/ 90941 h 146593"/>
                <a:gd name="connsiteX3" fmla="*/ 23349 w 220516"/>
                <a:gd name="connsiteY3" fmla="*/ 454 h 146593"/>
                <a:gd name="connsiteX4" fmla="*/ 1442 w 220516"/>
                <a:gd name="connsiteY4" fmla="*/ 21409 h 146593"/>
                <a:gd name="connsiteX5" fmla="*/ 15729 w 220516"/>
                <a:gd name="connsiteY5" fmla="*/ 59509 h 146593"/>
                <a:gd name="connsiteX6" fmla="*/ 55734 w 220516"/>
                <a:gd name="connsiteY6" fmla="*/ 75701 h 146593"/>
                <a:gd name="connsiteX7" fmla="*/ 11919 w 220516"/>
                <a:gd name="connsiteY7" fmla="*/ 119516 h 1465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0516" h="146593">
                  <a:moveTo>
                    <a:pt x="11919" y="119516"/>
                  </a:moveTo>
                  <a:cubicBezTo>
                    <a:pt x="16682" y="130946"/>
                    <a:pt x="27159" y="137614"/>
                    <a:pt x="37637" y="143329"/>
                  </a:cubicBezTo>
                  <a:cubicBezTo>
                    <a:pt x="79547" y="162379"/>
                    <a:pt x="193847" y="91894"/>
                    <a:pt x="220517" y="90941"/>
                  </a:cubicBezTo>
                  <a:cubicBezTo>
                    <a:pt x="185274" y="62366"/>
                    <a:pt x="86214" y="-6214"/>
                    <a:pt x="23349" y="454"/>
                  </a:cubicBezTo>
                  <a:cubicBezTo>
                    <a:pt x="12872" y="1406"/>
                    <a:pt x="5251" y="10931"/>
                    <a:pt x="1442" y="21409"/>
                  </a:cubicBezTo>
                  <a:cubicBezTo>
                    <a:pt x="-3321" y="34744"/>
                    <a:pt x="4299" y="50936"/>
                    <a:pt x="15729" y="59509"/>
                  </a:cubicBezTo>
                  <a:cubicBezTo>
                    <a:pt x="27159" y="68081"/>
                    <a:pt x="41447" y="71891"/>
                    <a:pt x="55734" y="75701"/>
                  </a:cubicBezTo>
                  <a:cubicBezTo>
                    <a:pt x="32874" y="78559"/>
                    <a:pt x="-2368" y="86179"/>
                    <a:pt x="11919" y="119516"/>
                  </a:cubicBezTo>
                  <a:close/>
                </a:path>
              </a:pathLst>
            </a:custGeom>
            <a:solidFill>
              <a:schemeClr val="accent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43" name="Freeform: Shape 80">
              <a:extLst>
                <a:ext uri="{FF2B5EF4-FFF2-40B4-BE49-F238E27FC236}">
                  <a16:creationId xmlns:a16="http://schemas.microsoft.com/office/drawing/2014/main" id="{D8463C1A-F1AD-4E88-9ED9-2A3760F81B2A}"/>
                </a:ext>
              </a:extLst>
            </p:cNvPr>
            <p:cNvSpPr/>
            <p:nvPr/>
          </p:nvSpPr>
          <p:spPr>
            <a:xfrm>
              <a:off x="10461189" y="3904784"/>
              <a:ext cx="332171" cy="325297"/>
            </a:xfrm>
            <a:custGeom>
              <a:avLst/>
              <a:gdLst>
                <a:gd name="connsiteX0" fmla="*/ 140978 w 292425"/>
                <a:gd name="connsiteY0" fmla="*/ 284797 h 286374"/>
                <a:gd name="connsiteX1" fmla="*/ 193366 w 292425"/>
                <a:gd name="connsiteY1" fmla="*/ 273367 h 286374"/>
                <a:gd name="connsiteX2" fmla="*/ 292425 w 292425"/>
                <a:gd name="connsiteY2" fmla="*/ 0 h 286374"/>
                <a:gd name="connsiteX3" fmla="*/ 3818 w 292425"/>
                <a:gd name="connsiteY3" fmla="*/ 162877 h 286374"/>
                <a:gd name="connsiteX4" fmla="*/ 9533 w 292425"/>
                <a:gd name="connsiteY4" fmla="*/ 208597 h 286374"/>
                <a:gd name="connsiteX5" fmla="*/ 69541 w 292425"/>
                <a:gd name="connsiteY5" fmla="*/ 224790 h 286374"/>
                <a:gd name="connsiteX6" fmla="*/ 125738 w 292425"/>
                <a:gd name="connsiteY6" fmla="*/ 189547 h 286374"/>
                <a:gd name="connsiteX7" fmla="*/ 140978 w 292425"/>
                <a:gd name="connsiteY7" fmla="*/ 284797 h 286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2425" h="286374">
                  <a:moveTo>
                    <a:pt x="140978" y="284797"/>
                  </a:moveTo>
                  <a:cubicBezTo>
                    <a:pt x="159075" y="289560"/>
                    <a:pt x="177173" y="282892"/>
                    <a:pt x="193366" y="273367"/>
                  </a:cubicBezTo>
                  <a:cubicBezTo>
                    <a:pt x="254325" y="238125"/>
                    <a:pt x="270518" y="34290"/>
                    <a:pt x="292425" y="0"/>
                  </a:cubicBezTo>
                  <a:cubicBezTo>
                    <a:pt x="224798" y="17145"/>
                    <a:pt x="52395" y="78105"/>
                    <a:pt x="3818" y="162877"/>
                  </a:cubicBezTo>
                  <a:cubicBezTo>
                    <a:pt x="-3802" y="176213"/>
                    <a:pt x="961" y="195263"/>
                    <a:pt x="9533" y="208597"/>
                  </a:cubicBezTo>
                  <a:cubicBezTo>
                    <a:pt x="21916" y="226695"/>
                    <a:pt x="48586" y="231457"/>
                    <a:pt x="69541" y="224790"/>
                  </a:cubicBezTo>
                  <a:cubicBezTo>
                    <a:pt x="90495" y="218122"/>
                    <a:pt x="108593" y="203835"/>
                    <a:pt x="125738" y="189547"/>
                  </a:cubicBezTo>
                  <a:cubicBezTo>
                    <a:pt x="109545" y="222885"/>
                    <a:pt x="86686" y="271463"/>
                    <a:pt x="140978" y="284797"/>
                  </a:cubicBezTo>
                  <a:close/>
                </a:path>
              </a:pathLst>
            </a:custGeom>
            <a:solidFill>
              <a:schemeClr val="accent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44" name="Freeform: Shape 81">
              <a:extLst>
                <a:ext uri="{FF2B5EF4-FFF2-40B4-BE49-F238E27FC236}">
                  <a16:creationId xmlns:a16="http://schemas.microsoft.com/office/drawing/2014/main" id="{3EE7A0D3-DE64-4F4C-BC7A-DB74F5111BCE}"/>
                </a:ext>
              </a:extLst>
            </p:cNvPr>
            <p:cNvSpPr/>
            <p:nvPr/>
          </p:nvSpPr>
          <p:spPr>
            <a:xfrm>
              <a:off x="10593233" y="4468340"/>
              <a:ext cx="189306" cy="239257"/>
            </a:xfrm>
            <a:custGeom>
              <a:avLst/>
              <a:gdLst>
                <a:gd name="connsiteX0" fmla="*/ 2825 w 166655"/>
                <a:gd name="connsiteY0" fmla="*/ 78232 h 210629"/>
                <a:gd name="connsiteX1" fmla="*/ 3778 w 166655"/>
                <a:gd name="connsiteY1" fmla="*/ 113475 h 210629"/>
                <a:gd name="connsiteX2" fmla="*/ 166655 w 166655"/>
                <a:gd name="connsiteY2" fmla="*/ 210630 h 210629"/>
                <a:gd name="connsiteX3" fmla="*/ 97123 w 166655"/>
                <a:gd name="connsiteY3" fmla="*/ 4890 h 210629"/>
                <a:gd name="connsiteX4" fmla="*/ 67596 w 166655"/>
                <a:gd name="connsiteY4" fmla="*/ 2985 h 210629"/>
                <a:gd name="connsiteX5" fmla="*/ 49498 w 166655"/>
                <a:gd name="connsiteY5" fmla="*/ 39180 h 210629"/>
                <a:gd name="connsiteX6" fmla="*/ 65690 w 166655"/>
                <a:gd name="connsiteY6" fmla="*/ 79185 h 210629"/>
                <a:gd name="connsiteX7" fmla="*/ 2825 w 166655"/>
                <a:gd name="connsiteY7" fmla="*/ 78232 h 2106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6655" h="210629">
                  <a:moveTo>
                    <a:pt x="2825" y="78232"/>
                  </a:moveTo>
                  <a:cubicBezTo>
                    <a:pt x="-1937" y="88710"/>
                    <a:pt x="-32" y="102045"/>
                    <a:pt x="3778" y="113475"/>
                  </a:cubicBezTo>
                  <a:cubicBezTo>
                    <a:pt x="19018" y="157290"/>
                    <a:pt x="148558" y="192532"/>
                    <a:pt x="166655" y="210630"/>
                  </a:cubicBezTo>
                  <a:cubicBezTo>
                    <a:pt x="163798" y="164910"/>
                    <a:pt x="145700" y="46800"/>
                    <a:pt x="97123" y="4890"/>
                  </a:cubicBezTo>
                  <a:cubicBezTo>
                    <a:pt x="89503" y="-1778"/>
                    <a:pt x="77121" y="-825"/>
                    <a:pt x="67596" y="2985"/>
                  </a:cubicBezTo>
                  <a:cubicBezTo>
                    <a:pt x="54260" y="8700"/>
                    <a:pt x="48546" y="24892"/>
                    <a:pt x="49498" y="39180"/>
                  </a:cubicBezTo>
                  <a:cubicBezTo>
                    <a:pt x="50450" y="53467"/>
                    <a:pt x="58071" y="66802"/>
                    <a:pt x="65690" y="79185"/>
                  </a:cubicBezTo>
                  <a:cubicBezTo>
                    <a:pt x="46640" y="64897"/>
                    <a:pt x="18065" y="44895"/>
                    <a:pt x="2825" y="78232"/>
                  </a:cubicBezTo>
                  <a:close/>
                </a:path>
              </a:pathLst>
            </a:custGeom>
            <a:solidFill>
              <a:schemeClr val="accent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45" name="Freeform: Shape 82">
              <a:extLst>
                <a:ext uri="{FF2B5EF4-FFF2-40B4-BE49-F238E27FC236}">
                  <a16:creationId xmlns:a16="http://schemas.microsoft.com/office/drawing/2014/main" id="{C3334B2E-BC46-45C7-9797-452F1CC7B91C}"/>
                </a:ext>
              </a:extLst>
            </p:cNvPr>
            <p:cNvSpPr/>
            <p:nvPr/>
          </p:nvSpPr>
          <p:spPr>
            <a:xfrm>
              <a:off x="10335735" y="4405188"/>
              <a:ext cx="255298" cy="163992"/>
            </a:xfrm>
            <a:custGeom>
              <a:avLst/>
              <a:gdLst>
                <a:gd name="connsiteX0" fmla="*/ 19011 w 224750"/>
                <a:gd name="connsiteY0" fmla="*/ 121446 h 144370"/>
                <a:gd name="connsiteX1" fmla="*/ 46634 w 224750"/>
                <a:gd name="connsiteY1" fmla="*/ 142401 h 144370"/>
                <a:gd name="connsiteX2" fmla="*/ 224751 w 224750"/>
                <a:gd name="connsiteY2" fmla="*/ 76678 h 144370"/>
                <a:gd name="connsiteX3" fmla="*/ 20916 w 224750"/>
                <a:gd name="connsiteY3" fmla="*/ 1431 h 144370"/>
                <a:gd name="connsiteX4" fmla="*/ 913 w 224750"/>
                <a:gd name="connsiteY4" fmla="*/ 23338 h 144370"/>
                <a:gd name="connsiteX5" fmla="*/ 18059 w 224750"/>
                <a:gd name="connsiteY5" fmla="*/ 60486 h 144370"/>
                <a:gd name="connsiteX6" fmla="*/ 59016 w 224750"/>
                <a:gd name="connsiteY6" fmla="*/ 72868 h 144370"/>
                <a:gd name="connsiteX7" fmla="*/ 19011 w 224750"/>
                <a:gd name="connsiteY7" fmla="*/ 121446 h 144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4750" h="144370">
                  <a:moveTo>
                    <a:pt x="19011" y="121446"/>
                  </a:moveTo>
                  <a:cubicBezTo>
                    <a:pt x="24726" y="131923"/>
                    <a:pt x="35203" y="138591"/>
                    <a:pt x="46634" y="142401"/>
                  </a:cubicBezTo>
                  <a:cubicBezTo>
                    <a:pt x="90448" y="157641"/>
                    <a:pt x="199034" y="79536"/>
                    <a:pt x="224751" y="76678"/>
                  </a:cubicBezTo>
                  <a:cubicBezTo>
                    <a:pt x="187603" y="50008"/>
                    <a:pt x="83781" y="-9999"/>
                    <a:pt x="20916" y="1431"/>
                  </a:cubicBezTo>
                  <a:cubicBezTo>
                    <a:pt x="10438" y="3336"/>
                    <a:pt x="3771" y="13813"/>
                    <a:pt x="913" y="23338"/>
                  </a:cubicBezTo>
                  <a:cubicBezTo>
                    <a:pt x="-2897" y="37626"/>
                    <a:pt x="5676" y="51913"/>
                    <a:pt x="18059" y="60486"/>
                  </a:cubicBezTo>
                  <a:cubicBezTo>
                    <a:pt x="30441" y="68106"/>
                    <a:pt x="44728" y="70963"/>
                    <a:pt x="59016" y="72868"/>
                  </a:cubicBezTo>
                  <a:cubicBezTo>
                    <a:pt x="37109" y="78583"/>
                    <a:pt x="2818" y="88108"/>
                    <a:pt x="19011" y="121446"/>
                  </a:cubicBezTo>
                  <a:close/>
                </a:path>
              </a:pathLst>
            </a:custGeom>
            <a:solidFill>
              <a:schemeClr val="accent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46" name="Freeform: Shape 83">
              <a:extLst>
                <a:ext uri="{FF2B5EF4-FFF2-40B4-BE49-F238E27FC236}">
                  <a16:creationId xmlns:a16="http://schemas.microsoft.com/office/drawing/2014/main" id="{9F4EBB65-D0A0-4A36-AD13-0CAE14E7B458}"/>
                </a:ext>
              </a:extLst>
            </p:cNvPr>
            <p:cNvSpPr/>
            <p:nvPr/>
          </p:nvSpPr>
          <p:spPr>
            <a:xfrm>
              <a:off x="10093940" y="4144979"/>
              <a:ext cx="173586" cy="197055"/>
            </a:xfrm>
            <a:custGeom>
              <a:avLst/>
              <a:gdLst>
                <a:gd name="connsiteX0" fmla="*/ 88999 w 152816"/>
                <a:gd name="connsiteY0" fmla="*/ 173355 h 173476"/>
                <a:gd name="connsiteX1" fmla="*/ 117574 w 152816"/>
                <a:gd name="connsiteY1" fmla="*/ 162877 h 173476"/>
                <a:gd name="connsiteX2" fmla="*/ 152817 w 152816"/>
                <a:gd name="connsiteY2" fmla="*/ 0 h 173476"/>
                <a:gd name="connsiteX3" fmla="*/ 1369 w 152816"/>
                <a:gd name="connsiteY3" fmla="*/ 115252 h 173476"/>
                <a:gd name="connsiteX4" fmla="*/ 8037 w 152816"/>
                <a:gd name="connsiteY4" fmla="*/ 140970 h 173476"/>
                <a:gd name="connsiteX5" fmla="*/ 43279 w 152816"/>
                <a:gd name="connsiteY5" fmla="*/ 145733 h 173476"/>
                <a:gd name="connsiteX6" fmla="*/ 72807 w 152816"/>
                <a:gd name="connsiteY6" fmla="*/ 120967 h 173476"/>
                <a:gd name="connsiteX7" fmla="*/ 88999 w 152816"/>
                <a:gd name="connsiteY7" fmla="*/ 173355 h 173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2816" h="173476">
                  <a:moveTo>
                    <a:pt x="88999" y="173355"/>
                  </a:moveTo>
                  <a:cubicBezTo>
                    <a:pt x="99476" y="174308"/>
                    <a:pt x="109954" y="169545"/>
                    <a:pt x="117574" y="162877"/>
                  </a:cubicBezTo>
                  <a:cubicBezTo>
                    <a:pt x="149959" y="138113"/>
                    <a:pt x="143292" y="20955"/>
                    <a:pt x="152817" y="0"/>
                  </a:cubicBezTo>
                  <a:cubicBezTo>
                    <a:pt x="115669" y="15240"/>
                    <a:pt x="22324" y="63817"/>
                    <a:pt x="1369" y="115252"/>
                  </a:cubicBezTo>
                  <a:cubicBezTo>
                    <a:pt x="-2441" y="123825"/>
                    <a:pt x="2322" y="134302"/>
                    <a:pt x="8037" y="140970"/>
                  </a:cubicBezTo>
                  <a:cubicBezTo>
                    <a:pt x="16609" y="150495"/>
                    <a:pt x="31849" y="150495"/>
                    <a:pt x="43279" y="145733"/>
                  </a:cubicBezTo>
                  <a:cubicBezTo>
                    <a:pt x="54709" y="140017"/>
                    <a:pt x="64234" y="130492"/>
                    <a:pt x="72807" y="120967"/>
                  </a:cubicBezTo>
                  <a:cubicBezTo>
                    <a:pt x="65187" y="140017"/>
                    <a:pt x="56614" y="170497"/>
                    <a:pt x="88999" y="173355"/>
                  </a:cubicBezTo>
                  <a:close/>
                </a:path>
              </a:pathLst>
            </a:custGeom>
            <a:solidFill>
              <a:schemeClr val="accent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47" name="Freeform: Shape 84">
              <a:extLst>
                <a:ext uri="{FF2B5EF4-FFF2-40B4-BE49-F238E27FC236}">
                  <a16:creationId xmlns:a16="http://schemas.microsoft.com/office/drawing/2014/main" id="{525D1D68-1F04-461F-A224-485F84BECEA2}"/>
                </a:ext>
              </a:extLst>
            </p:cNvPr>
            <p:cNvSpPr/>
            <p:nvPr/>
          </p:nvSpPr>
          <p:spPr>
            <a:xfrm>
              <a:off x="10228103" y="3680817"/>
              <a:ext cx="173586" cy="197055"/>
            </a:xfrm>
            <a:custGeom>
              <a:avLst/>
              <a:gdLst>
                <a:gd name="connsiteX0" fmla="*/ 88999 w 152816"/>
                <a:gd name="connsiteY0" fmla="*/ 173355 h 173476"/>
                <a:gd name="connsiteX1" fmla="*/ 117574 w 152816"/>
                <a:gd name="connsiteY1" fmla="*/ 162878 h 173476"/>
                <a:gd name="connsiteX2" fmla="*/ 152817 w 152816"/>
                <a:gd name="connsiteY2" fmla="*/ 0 h 173476"/>
                <a:gd name="connsiteX3" fmla="*/ 1369 w 152816"/>
                <a:gd name="connsiteY3" fmla="*/ 115253 h 173476"/>
                <a:gd name="connsiteX4" fmla="*/ 8037 w 152816"/>
                <a:gd name="connsiteY4" fmla="*/ 140970 h 173476"/>
                <a:gd name="connsiteX5" fmla="*/ 43279 w 152816"/>
                <a:gd name="connsiteY5" fmla="*/ 145733 h 173476"/>
                <a:gd name="connsiteX6" fmla="*/ 72807 w 152816"/>
                <a:gd name="connsiteY6" fmla="*/ 120968 h 173476"/>
                <a:gd name="connsiteX7" fmla="*/ 88999 w 152816"/>
                <a:gd name="connsiteY7" fmla="*/ 173355 h 173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2816" h="173476">
                  <a:moveTo>
                    <a:pt x="88999" y="173355"/>
                  </a:moveTo>
                  <a:cubicBezTo>
                    <a:pt x="99477" y="174308"/>
                    <a:pt x="109954" y="169545"/>
                    <a:pt x="117574" y="162878"/>
                  </a:cubicBezTo>
                  <a:cubicBezTo>
                    <a:pt x="149959" y="138113"/>
                    <a:pt x="143292" y="20955"/>
                    <a:pt x="152817" y="0"/>
                  </a:cubicBezTo>
                  <a:cubicBezTo>
                    <a:pt x="115669" y="15240"/>
                    <a:pt x="22324" y="63818"/>
                    <a:pt x="1369" y="115253"/>
                  </a:cubicBezTo>
                  <a:cubicBezTo>
                    <a:pt x="-2441" y="123825"/>
                    <a:pt x="2322" y="134303"/>
                    <a:pt x="8037" y="140970"/>
                  </a:cubicBezTo>
                  <a:cubicBezTo>
                    <a:pt x="16609" y="150495"/>
                    <a:pt x="31849" y="150495"/>
                    <a:pt x="43279" y="145733"/>
                  </a:cubicBezTo>
                  <a:cubicBezTo>
                    <a:pt x="54709" y="140018"/>
                    <a:pt x="64234" y="130493"/>
                    <a:pt x="72807" y="120968"/>
                  </a:cubicBezTo>
                  <a:cubicBezTo>
                    <a:pt x="66139" y="140970"/>
                    <a:pt x="56614" y="170498"/>
                    <a:pt x="88999" y="173355"/>
                  </a:cubicBezTo>
                  <a:close/>
                </a:path>
              </a:pathLst>
            </a:custGeom>
            <a:solidFill>
              <a:schemeClr val="accent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48" name="Freeform: Shape 85">
              <a:extLst>
                <a:ext uri="{FF2B5EF4-FFF2-40B4-BE49-F238E27FC236}">
                  <a16:creationId xmlns:a16="http://schemas.microsoft.com/office/drawing/2014/main" id="{51C82847-7FF0-4433-9888-06B0443AD5D1}"/>
                </a:ext>
              </a:extLst>
            </p:cNvPr>
            <p:cNvSpPr/>
            <p:nvPr/>
          </p:nvSpPr>
          <p:spPr>
            <a:xfrm>
              <a:off x="10320069" y="3230723"/>
              <a:ext cx="173586" cy="197055"/>
            </a:xfrm>
            <a:custGeom>
              <a:avLst/>
              <a:gdLst>
                <a:gd name="connsiteX0" fmla="*/ 88999 w 152816"/>
                <a:gd name="connsiteY0" fmla="*/ 173355 h 173476"/>
                <a:gd name="connsiteX1" fmla="*/ 117574 w 152816"/>
                <a:gd name="connsiteY1" fmla="*/ 162877 h 173476"/>
                <a:gd name="connsiteX2" fmla="*/ 152817 w 152816"/>
                <a:gd name="connsiteY2" fmla="*/ 0 h 173476"/>
                <a:gd name="connsiteX3" fmla="*/ 1369 w 152816"/>
                <a:gd name="connsiteY3" fmla="*/ 115252 h 173476"/>
                <a:gd name="connsiteX4" fmla="*/ 8037 w 152816"/>
                <a:gd name="connsiteY4" fmla="*/ 140970 h 173476"/>
                <a:gd name="connsiteX5" fmla="*/ 43279 w 152816"/>
                <a:gd name="connsiteY5" fmla="*/ 145733 h 173476"/>
                <a:gd name="connsiteX6" fmla="*/ 72807 w 152816"/>
                <a:gd name="connsiteY6" fmla="*/ 120967 h 173476"/>
                <a:gd name="connsiteX7" fmla="*/ 88999 w 152816"/>
                <a:gd name="connsiteY7" fmla="*/ 173355 h 173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2816" h="173476">
                  <a:moveTo>
                    <a:pt x="88999" y="173355"/>
                  </a:moveTo>
                  <a:cubicBezTo>
                    <a:pt x="99477" y="174308"/>
                    <a:pt x="109954" y="169545"/>
                    <a:pt x="117574" y="162877"/>
                  </a:cubicBezTo>
                  <a:cubicBezTo>
                    <a:pt x="149959" y="138113"/>
                    <a:pt x="143292" y="20955"/>
                    <a:pt x="152817" y="0"/>
                  </a:cubicBezTo>
                  <a:cubicBezTo>
                    <a:pt x="115669" y="15240"/>
                    <a:pt x="22324" y="63817"/>
                    <a:pt x="1369" y="115252"/>
                  </a:cubicBezTo>
                  <a:cubicBezTo>
                    <a:pt x="-2441" y="123825"/>
                    <a:pt x="2322" y="134302"/>
                    <a:pt x="8037" y="140970"/>
                  </a:cubicBezTo>
                  <a:cubicBezTo>
                    <a:pt x="16609" y="150495"/>
                    <a:pt x="31849" y="150495"/>
                    <a:pt x="43279" y="145733"/>
                  </a:cubicBezTo>
                  <a:cubicBezTo>
                    <a:pt x="54709" y="140017"/>
                    <a:pt x="64234" y="130492"/>
                    <a:pt x="72807" y="120967"/>
                  </a:cubicBezTo>
                  <a:cubicBezTo>
                    <a:pt x="66139" y="140017"/>
                    <a:pt x="57567" y="170497"/>
                    <a:pt x="88999" y="173355"/>
                  </a:cubicBezTo>
                  <a:close/>
                </a:path>
              </a:pathLst>
            </a:custGeom>
            <a:solidFill>
              <a:schemeClr val="accent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49" name="Freeform: Shape 86">
              <a:extLst>
                <a:ext uri="{FF2B5EF4-FFF2-40B4-BE49-F238E27FC236}">
                  <a16:creationId xmlns:a16="http://schemas.microsoft.com/office/drawing/2014/main" id="{B3D63E49-F01A-4F41-8A0C-F0D2F2DB65B7}"/>
                </a:ext>
              </a:extLst>
            </p:cNvPr>
            <p:cNvSpPr/>
            <p:nvPr/>
          </p:nvSpPr>
          <p:spPr>
            <a:xfrm>
              <a:off x="10252416" y="4053563"/>
              <a:ext cx="160093" cy="112313"/>
            </a:xfrm>
            <a:custGeom>
              <a:avLst/>
              <a:gdLst>
                <a:gd name="connsiteX0" fmla="*/ 44735 w 140937"/>
                <a:gd name="connsiteY0" fmla="*/ 95718 h 98874"/>
                <a:gd name="connsiteX1" fmla="*/ 66642 w 140937"/>
                <a:gd name="connsiteY1" fmla="*/ 97623 h 98874"/>
                <a:gd name="connsiteX2" fmla="*/ 140937 w 140937"/>
                <a:gd name="connsiteY2" fmla="*/ 468 h 98874"/>
                <a:gd name="connsiteX3" fmla="*/ 4730 w 140937"/>
                <a:gd name="connsiteY3" fmla="*/ 29043 h 98874"/>
                <a:gd name="connsiteX4" fmla="*/ 920 w 140937"/>
                <a:gd name="connsiteY4" fmla="*/ 48093 h 98874"/>
                <a:gd name="connsiteX5" fmla="*/ 22827 w 140937"/>
                <a:gd name="connsiteY5" fmla="*/ 62381 h 98874"/>
                <a:gd name="connsiteX6" fmla="*/ 49497 w 140937"/>
                <a:gd name="connsiteY6" fmla="*/ 54761 h 98874"/>
                <a:gd name="connsiteX7" fmla="*/ 44735 w 140937"/>
                <a:gd name="connsiteY7" fmla="*/ 95718 h 98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0937" h="98874">
                  <a:moveTo>
                    <a:pt x="44735" y="95718"/>
                  </a:moveTo>
                  <a:cubicBezTo>
                    <a:pt x="51402" y="99528"/>
                    <a:pt x="59975" y="99528"/>
                    <a:pt x="66642" y="97623"/>
                  </a:cubicBezTo>
                  <a:cubicBezTo>
                    <a:pt x="95217" y="90956"/>
                    <a:pt x="127602" y="11898"/>
                    <a:pt x="140937" y="468"/>
                  </a:cubicBezTo>
                  <a:cubicBezTo>
                    <a:pt x="111410" y="-1437"/>
                    <a:pt x="35210" y="1421"/>
                    <a:pt x="4730" y="29043"/>
                  </a:cubicBezTo>
                  <a:cubicBezTo>
                    <a:pt x="-33" y="33806"/>
                    <a:pt x="-985" y="41426"/>
                    <a:pt x="920" y="48093"/>
                  </a:cubicBezTo>
                  <a:cubicBezTo>
                    <a:pt x="3777" y="56666"/>
                    <a:pt x="13302" y="62381"/>
                    <a:pt x="22827" y="62381"/>
                  </a:cubicBezTo>
                  <a:cubicBezTo>
                    <a:pt x="32352" y="62381"/>
                    <a:pt x="40925" y="58571"/>
                    <a:pt x="49497" y="54761"/>
                  </a:cubicBezTo>
                  <a:cubicBezTo>
                    <a:pt x="39972" y="67143"/>
                    <a:pt x="24733" y="84288"/>
                    <a:pt x="44735" y="95718"/>
                  </a:cubicBezTo>
                  <a:close/>
                </a:path>
              </a:pathLst>
            </a:custGeom>
            <a:solidFill>
              <a:schemeClr val="accent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50" name="Freeform: Shape 87">
              <a:extLst>
                <a:ext uri="{FF2B5EF4-FFF2-40B4-BE49-F238E27FC236}">
                  <a16:creationId xmlns:a16="http://schemas.microsoft.com/office/drawing/2014/main" id="{885630E6-5935-4F9A-BC46-30F63D900701}"/>
                </a:ext>
              </a:extLst>
            </p:cNvPr>
            <p:cNvSpPr/>
            <p:nvPr/>
          </p:nvSpPr>
          <p:spPr>
            <a:xfrm>
              <a:off x="10414710" y="3688941"/>
              <a:ext cx="160093" cy="112313"/>
            </a:xfrm>
            <a:custGeom>
              <a:avLst/>
              <a:gdLst>
                <a:gd name="connsiteX0" fmla="*/ 44735 w 140937"/>
                <a:gd name="connsiteY0" fmla="*/ 95718 h 98874"/>
                <a:gd name="connsiteX1" fmla="*/ 66642 w 140937"/>
                <a:gd name="connsiteY1" fmla="*/ 97623 h 98874"/>
                <a:gd name="connsiteX2" fmla="*/ 140937 w 140937"/>
                <a:gd name="connsiteY2" fmla="*/ 468 h 98874"/>
                <a:gd name="connsiteX3" fmla="*/ 4730 w 140937"/>
                <a:gd name="connsiteY3" fmla="*/ 29043 h 98874"/>
                <a:gd name="connsiteX4" fmla="*/ 920 w 140937"/>
                <a:gd name="connsiteY4" fmla="*/ 48093 h 98874"/>
                <a:gd name="connsiteX5" fmla="*/ 22827 w 140937"/>
                <a:gd name="connsiteY5" fmla="*/ 62381 h 98874"/>
                <a:gd name="connsiteX6" fmla="*/ 49497 w 140937"/>
                <a:gd name="connsiteY6" fmla="*/ 54761 h 98874"/>
                <a:gd name="connsiteX7" fmla="*/ 44735 w 140937"/>
                <a:gd name="connsiteY7" fmla="*/ 95718 h 98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0937" h="98874">
                  <a:moveTo>
                    <a:pt x="44735" y="95718"/>
                  </a:moveTo>
                  <a:cubicBezTo>
                    <a:pt x="51402" y="99528"/>
                    <a:pt x="59975" y="99528"/>
                    <a:pt x="66642" y="97623"/>
                  </a:cubicBezTo>
                  <a:cubicBezTo>
                    <a:pt x="95217" y="90956"/>
                    <a:pt x="127602" y="11898"/>
                    <a:pt x="140937" y="468"/>
                  </a:cubicBezTo>
                  <a:cubicBezTo>
                    <a:pt x="111410" y="-1437"/>
                    <a:pt x="35210" y="1421"/>
                    <a:pt x="4730" y="29043"/>
                  </a:cubicBezTo>
                  <a:cubicBezTo>
                    <a:pt x="-33" y="33806"/>
                    <a:pt x="-985" y="41426"/>
                    <a:pt x="920" y="48093"/>
                  </a:cubicBezTo>
                  <a:cubicBezTo>
                    <a:pt x="3777" y="56666"/>
                    <a:pt x="13302" y="62381"/>
                    <a:pt x="22827" y="62381"/>
                  </a:cubicBezTo>
                  <a:cubicBezTo>
                    <a:pt x="32352" y="62381"/>
                    <a:pt x="40925" y="58571"/>
                    <a:pt x="49497" y="54761"/>
                  </a:cubicBezTo>
                  <a:cubicBezTo>
                    <a:pt x="39972" y="66191"/>
                    <a:pt x="24733" y="83336"/>
                    <a:pt x="44735" y="95718"/>
                  </a:cubicBezTo>
                  <a:close/>
                </a:path>
              </a:pathLst>
            </a:custGeom>
            <a:solidFill>
              <a:schemeClr val="accent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51" name="Freeform: Shape 88">
              <a:extLst>
                <a:ext uri="{FF2B5EF4-FFF2-40B4-BE49-F238E27FC236}">
                  <a16:creationId xmlns:a16="http://schemas.microsoft.com/office/drawing/2014/main" id="{D0E654F1-121A-4088-A707-69DBD6FCDFF3}"/>
                </a:ext>
              </a:extLst>
            </p:cNvPr>
            <p:cNvSpPr/>
            <p:nvPr/>
          </p:nvSpPr>
          <p:spPr>
            <a:xfrm>
              <a:off x="8904255" y="4441280"/>
              <a:ext cx="290048" cy="237105"/>
            </a:xfrm>
            <a:custGeom>
              <a:avLst/>
              <a:gdLst>
                <a:gd name="connsiteX0" fmla="*/ 255270 w 255342"/>
                <a:gd name="connsiteY0" fmla="*/ 131583 h 208735"/>
                <a:gd name="connsiteX1" fmla="*/ 237172 w 255342"/>
                <a:gd name="connsiteY1" fmla="*/ 172540 h 208735"/>
                <a:gd name="connsiteX2" fmla="*/ 0 w 255342"/>
                <a:gd name="connsiteY2" fmla="*/ 208735 h 208735"/>
                <a:gd name="connsiteX3" fmla="*/ 179070 w 255342"/>
                <a:gd name="connsiteY3" fmla="*/ 1090 h 208735"/>
                <a:gd name="connsiteX4" fmla="*/ 215265 w 255342"/>
                <a:gd name="connsiteY4" fmla="*/ 13473 h 208735"/>
                <a:gd name="connsiteX5" fmla="*/ 219075 w 255342"/>
                <a:gd name="connsiteY5" fmla="*/ 64908 h 208735"/>
                <a:gd name="connsiteX6" fmla="*/ 180975 w 255342"/>
                <a:gd name="connsiteY6" fmla="*/ 104913 h 208735"/>
                <a:gd name="connsiteX7" fmla="*/ 255270 w 255342"/>
                <a:gd name="connsiteY7" fmla="*/ 131583 h 208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5342" h="208735">
                  <a:moveTo>
                    <a:pt x="255270" y="131583"/>
                  </a:moveTo>
                  <a:cubicBezTo>
                    <a:pt x="256222" y="146823"/>
                    <a:pt x="247650" y="161110"/>
                    <a:pt x="237172" y="172540"/>
                  </a:cubicBezTo>
                  <a:cubicBezTo>
                    <a:pt x="199072" y="216355"/>
                    <a:pt x="30480" y="196353"/>
                    <a:pt x="0" y="208735"/>
                  </a:cubicBezTo>
                  <a:cubicBezTo>
                    <a:pt x="24765" y="156348"/>
                    <a:pt x="102870" y="26808"/>
                    <a:pt x="179070" y="1090"/>
                  </a:cubicBezTo>
                  <a:cubicBezTo>
                    <a:pt x="191452" y="-2720"/>
                    <a:pt x="205740" y="3948"/>
                    <a:pt x="215265" y="13473"/>
                  </a:cubicBezTo>
                  <a:cubicBezTo>
                    <a:pt x="227647" y="26808"/>
                    <a:pt x="227647" y="48715"/>
                    <a:pt x="219075" y="64908"/>
                  </a:cubicBezTo>
                  <a:cubicBezTo>
                    <a:pt x="210502" y="81100"/>
                    <a:pt x="195263" y="93483"/>
                    <a:pt x="180975" y="104913"/>
                  </a:cubicBezTo>
                  <a:cubicBezTo>
                    <a:pt x="209550" y="95388"/>
                    <a:pt x="253365" y="84910"/>
                    <a:pt x="255270" y="131583"/>
                  </a:cubicBezTo>
                  <a:close/>
                </a:path>
              </a:pathLst>
            </a:custGeom>
            <a:solidFill>
              <a:schemeClr val="accent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52" name="Freeform: Shape 89">
              <a:extLst>
                <a:ext uri="{FF2B5EF4-FFF2-40B4-BE49-F238E27FC236}">
                  <a16:creationId xmlns:a16="http://schemas.microsoft.com/office/drawing/2014/main" id="{1D980822-6762-4616-AF57-C931BD027BD0}"/>
                </a:ext>
              </a:extLst>
            </p:cNvPr>
            <p:cNvSpPr/>
            <p:nvPr/>
          </p:nvSpPr>
          <p:spPr>
            <a:xfrm>
              <a:off x="9888595" y="3733834"/>
              <a:ext cx="116481" cy="174491"/>
            </a:xfrm>
            <a:custGeom>
              <a:avLst/>
              <a:gdLst>
                <a:gd name="connsiteX0" fmla="*/ 84036 w 102543"/>
                <a:gd name="connsiteY0" fmla="*/ 145733 h 153612"/>
                <a:gd name="connsiteX1" fmla="*/ 100228 w 102543"/>
                <a:gd name="connsiteY1" fmla="*/ 127635 h 153612"/>
                <a:gd name="connsiteX2" fmla="*/ 64034 w 102543"/>
                <a:gd name="connsiteY2" fmla="*/ 0 h 153612"/>
                <a:gd name="connsiteX3" fmla="*/ 216 w 102543"/>
                <a:gd name="connsiteY3" fmla="*/ 137160 h 153612"/>
                <a:gd name="connsiteX4" fmla="*/ 14503 w 102543"/>
                <a:gd name="connsiteY4" fmla="*/ 152400 h 153612"/>
                <a:gd name="connsiteX5" fmla="*/ 41173 w 102543"/>
                <a:gd name="connsiteY5" fmla="*/ 142875 h 153612"/>
                <a:gd name="connsiteX6" fmla="*/ 52603 w 102543"/>
                <a:gd name="connsiteY6" fmla="*/ 115252 h 153612"/>
                <a:gd name="connsiteX7" fmla="*/ 84036 w 102543"/>
                <a:gd name="connsiteY7" fmla="*/ 145733 h 1536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2543" h="153612">
                  <a:moveTo>
                    <a:pt x="84036" y="145733"/>
                  </a:moveTo>
                  <a:cubicBezTo>
                    <a:pt x="91656" y="142875"/>
                    <a:pt x="97371" y="135255"/>
                    <a:pt x="100228" y="127635"/>
                  </a:cubicBezTo>
                  <a:cubicBezTo>
                    <a:pt x="113563" y="98108"/>
                    <a:pt x="64986" y="18097"/>
                    <a:pt x="64034" y="0"/>
                  </a:cubicBezTo>
                  <a:cubicBezTo>
                    <a:pt x="44031" y="24765"/>
                    <a:pt x="-3594" y="93345"/>
                    <a:pt x="216" y="137160"/>
                  </a:cubicBezTo>
                  <a:cubicBezTo>
                    <a:pt x="1168" y="143827"/>
                    <a:pt x="7836" y="150495"/>
                    <a:pt x="14503" y="152400"/>
                  </a:cubicBezTo>
                  <a:cubicBezTo>
                    <a:pt x="24028" y="156210"/>
                    <a:pt x="34506" y="150495"/>
                    <a:pt x="41173" y="142875"/>
                  </a:cubicBezTo>
                  <a:cubicBezTo>
                    <a:pt x="47841" y="135255"/>
                    <a:pt x="49746" y="124777"/>
                    <a:pt x="52603" y="115252"/>
                  </a:cubicBezTo>
                  <a:cubicBezTo>
                    <a:pt x="55461" y="131445"/>
                    <a:pt x="60223" y="155258"/>
                    <a:pt x="84036" y="145733"/>
                  </a:cubicBezTo>
                  <a:close/>
                </a:path>
              </a:pathLst>
            </a:custGeom>
            <a:solidFill>
              <a:schemeClr val="accent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53" name="Freeform: Shape 90">
              <a:extLst>
                <a:ext uri="{FF2B5EF4-FFF2-40B4-BE49-F238E27FC236}">
                  <a16:creationId xmlns:a16="http://schemas.microsoft.com/office/drawing/2014/main" id="{D12AB576-3F4D-44DA-8097-0D27BAEEB25D}"/>
                </a:ext>
              </a:extLst>
            </p:cNvPr>
            <p:cNvSpPr/>
            <p:nvPr/>
          </p:nvSpPr>
          <p:spPr>
            <a:xfrm>
              <a:off x="10152823" y="4506354"/>
              <a:ext cx="140669" cy="99353"/>
            </a:xfrm>
            <a:custGeom>
              <a:avLst/>
              <a:gdLst>
                <a:gd name="connsiteX0" fmla="*/ 966 w 123837"/>
                <a:gd name="connsiteY0" fmla="*/ 68580 h 87465"/>
                <a:gd name="connsiteX1" fmla="*/ 14300 w 123837"/>
                <a:gd name="connsiteY1" fmla="*/ 83820 h 87465"/>
                <a:gd name="connsiteX2" fmla="*/ 123838 w 123837"/>
                <a:gd name="connsiteY2" fmla="*/ 66675 h 87465"/>
                <a:gd name="connsiteX3" fmla="*/ 16206 w 123837"/>
                <a:gd name="connsiteY3" fmla="*/ 0 h 87465"/>
                <a:gd name="connsiteX4" fmla="*/ 1918 w 123837"/>
                <a:gd name="connsiteY4" fmla="*/ 10478 h 87465"/>
                <a:gd name="connsiteX5" fmla="*/ 7633 w 123837"/>
                <a:gd name="connsiteY5" fmla="*/ 33338 h 87465"/>
                <a:gd name="connsiteX6" fmla="*/ 29541 w 123837"/>
                <a:gd name="connsiteY6" fmla="*/ 45720 h 87465"/>
                <a:gd name="connsiteX7" fmla="*/ 966 w 123837"/>
                <a:gd name="connsiteY7" fmla="*/ 68580 h 87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3837" h="87465">
                  <a:moveTo>
                    <a:pt x="966" y="68580"/>
                  </a:moveTo>
                  <a:cubicBezTo>
                    <a:pt x="2871" y="75248"/>
                    <a:pt x="8586" y="80010"/>
                    <a:pt x="14300" y="83820"/>
                  </a:cubicBezTo>
                  <a:cubicBezTo>
                    <a:pt x="37161" y="98108"/>
                    <a:pt x="108598" y="65723"/>
                    <a:pt x="123838" y="66675"/>
                  </a:cubicBezTo>
                  <a:cubicBezTo>
                    <a:pt x="105741" y="47625"/>
                    <a:pt x="53353" y="953"/>
                    <a:pt x="16206" y="0"/>
                  </a:cubicBezTo>
                  <a:cubicBezTo>
                    <a:pt x="10491" y="0"/>
                    <a:pt x="4775" y="4763"/>
                    <a:pt x="1918" y="10478"/>
                  </a:cubicBezTo>
                  <a:cubicBezTo>
                    <a:pt x="-1892" y="18098"/>
                    <a:pt x="966" y="27623"/>
                    <a:pt x="7633" y="33338"/>
                  </a:cubicBezTo>
                  <a:cubicBezTo>
                    <a:pt x="13348" y="39053"/>
                    <a:pt x="21921" y="42863"/>
                    <a:pt x="29541" y="45720"/>
                  </a:cubicBezTo>
                  <a:cubicBezTo>
                    <a:pt x="16206" y="45720"/>
                    <a:pt x="-4750" y="47625"/>
                    <a:pt x="966" y="68580"/>
                  </a:cubicBezTo>
                  <a:close/>
                </a:path>
              </a:pathLst>
            </a:custGeom>
            <a:solidFill>
              <a:schemeClr val="accent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54" name="Freeform: Shape 91">
              <a:extLst>
                <a:ext uri="{FF2B5EF4-FFF2-40B4-BE49-F238E27FC236}">
                  <a16:creationId xmlns:a16="http://schemas.microsoft.com/office/drawing/2014/main" id="{02B1C6F4-8863-4041-A3F8-D1856AB40184}"/>
                </a:ext>
              </a:extLst>
            </p:cNvPr>
            <p:cNvSpPr/>
            <p:nvPr/>
          </p:nvSpPr>
          <p:spPr>
            <a:xfrm>
              <a:off x="10360410" y="4112520"/>
              <a:ext cx="97709" cy="145942"/>
            </a:xfrm>
            <a:custGeom>
              <a:avLst/>
              <a:gdLst>
                <a:gd name="connsiteX0" fmla="*/ 70631 w 86017"/>
                <a:gd name="connsiteY0" fmla="*/ 121920 h 128480"/>
                <a:gd name="connsiteX1" fmla="*/ 83965 w 86017"/>
                <a:gd name="connsiteY1" fmla="*/ 106680 h 128480"/>
                <a:gd name="connsiteX2" fmla="*/ 54438 w 86017"/>
                <a:gd name="connsiteY2" fmla="*/ 0 h 128480"/>
                <a:gd name="connsiteX3" fmla="*/ 145 w 86017"/>
                <a:gd name="connsiteY3" fmla="*/ 114300 h 128480"/>
                <a:gd name="connsiteX4" fmla="*/ 11576 w 86017"/>
                <a:gd name="connsiteY4" fmla="*/ 127635 h 128480"/>
                <a:gd name="connsiteX5" fmla="*/ 33483 w 86017"/>
                <a:gd name="connsiteY5" fmla="*/ 119063 h 128480"/>
                <a:gd name="connsiteX6" fmla="*/ 43008 w 86017"/>
                <a:gd name="connsiteY6" fmla="*/ 95250 h 128480"/>
                <a:gd name="connsiteX7" fmla="*/ 70631 w 86017"/>
                <a:gd name="connsiteY7" fmla="*/ 121920 h 128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6017" h="128480">
                  <a:moveTo>
                    <a:pt x="70631" y="121920"/>
                  </a:moveTo>
                  <a:cubicBezTo>
                    <a:pt x="77298" y="119063"/>
                    <a:pt x="81108" y="113347"/>
                    <a:pt x="83965" y="106680"/>
                  </a:cubicBezTo>
                  <a:cubicBezTo>
                    <a:pt x="95395" y="81915"/>
                    <a:pt x="55390" y="15240"/>
                    <a:pt x="54438" y="0"/>
                  </a:cubicBezTo>
                  <a:cubicBezTo>
                    <a:pt x="37293" y="20002"/>
                    <a:pt x="-2712" y="77152"/>
                    <a:pt x="145" y="114300"/>
                  </a:cubicBezTo>
                  <a:cubicBezTo>
                    <a:pt x="1098" y="120015"/>
                    <a:pt x="5861" y="124777"/>
                    <a:pt x="11576" y="127635"/>
                  </a:cubicBezTo>
                  <a:cubicBezTo>
                    <a:pt x="19195" y="130492"/>
                    <a:pt x="28720" y="125730"/>
                    <a:pt x="33483" y="119063"/>
                  </a:cubicBezTo>
                  <a:cubicBezTo>
                    <a:pt x="39198" y="112395"/>
                    <a:pt x="41103" y="103822"/>
                    <a:pt x="43008" y="95250"/>
                  </a:cubicBezTo>
                  <a:cubicBezTo>
                    <a:pt x="46818" y="109538"/>
                    <a:pt x="50628" y="129540"/>
                    <a:pt x="70631" y="121920"/>
                  </a:cubicBezTo>
                  <a:close/>
                </a:path>
              </a:pathLst>
            </a:custGeom>
            <a:solidFill>
              <a:schemeClr val="accent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55" name="Freeform: Shape 92">
              <a:extLst>
                <a:ext uri="{FF2B5EF4-FFF2-40B4-BE49-F238E27FC236}">
                  <a16:creationId xmlns:a16="http://schemas.microsoft.com/office/drawing/2014/main" id="{219E5AB5-D455-46C7-BA9E-E2E39254006E}"/>
                </a:ext>
              </a:extLst>
            </p:cNvPr>
            <p:cNvSpPr/>
            <p:nvPr/>
          </p:nvSpPr>
          <p:spPr>
            <a:xfrm>
              <a:off x="10734769" y="4058422"/>
              <a:ext cx="97709" cy="145942"/>
            </a:xfrm>
            <a:custGeom>
              <a:avLst/>
              <a:gdLst>
                <a:gd name="connsiteX0" fmla="*/ 70630 w 86017"/>
                <a:gd name="connsiteY0" fmla="*/ 121920 h 128480"/>
                <a:gd name="connsiteX1" fmla="*/ 83965 w 86017"/>
                <a:gd name="connsiteY1" fmla="*/ 106680 h 128480"/>
                <a:gd name="connsiteX2" fmla="*/ 54437 w 86017"/>
                <a:gd name="connsiteY2" fmla="*/ 0 h 128480"/>
                <a:gd name="connsiteX3" fmla="*/ 145 w 86017"/>
                <a:gd name="connsiteY3" fmla="*/ 114300 h 128480"/>
                <a:gd name="connsiteX4" fmla="*/ 11575 w 86017"/>
                <a:gd name="connsiteY4" fmla="*/ 127635 h 128480"/>
                <a:gd name="connsiteX5" fmla="*/ 33483 w 86017"/>
                <a:gd name="connsiteY5" fmla="*/ 119063 h 128480"/>
                <a:gd name="connsiteX6" fmla="*/ 43008 w 86017"/>
                <a:gd name="connsiteY6" fmla="*/ 95250 h 128480"/>
                <a:gd name="connsiteX7" fmla="*/ 70630 w 86017"/>
                <a:gd name="connsiteY7" fmla="*/ 121920 h 128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6017" h="128480">
                  <a:moveTo>
                    <a:pt x="70630" y="121920"/>
                  </a:moveTo>
                  <a:cubicBezTo>
                    <a:pt x="77298" y="119063"/>
                    <a:pt x="81108" y="113347"/>
                    <a:pt x="83965" y="106680"/>
                  </a:cubicBezTo>
                  <a:cubicBezTo>
                    <a:pt x="95395" y="81915"/>
                    <a:pt x="55390" y="15240"/>
                    <a:pt x="54437" y="0"/>
                  </a:cubicBezTo>
                  <a:cubicBezTo>
                    <a:pt x="37293" y="20002"/>
                    <a:pt x="-2713" y="77152"/>
                    <a:pt x="145" y="114300"/>
                  </a:cubicBezTo>
                  <a:cubicBezTo>
                    <a:pt x="1098" y="120015"/>
                    <a:pt x="5860" y="124777"/>
                    <a:pt x="11575" y="127635"/>
                  </a:cubicBezTo>
                  <a:cubicBezTo>
                    <a:pt x="19195" y="130492"/>
                    <a:pt x="28720" y="125730"/>
                    <a:pt x="33483" y="119063"/>
                  </a:cubicBezTo>
                  <a:cubicBezTo>
                    <a:pt x="38245" y="112395"/>
                    <a:pt x="41103" y="103822"/>
                    <a:pt x="43008" y="95250"/>
                  </a:cubicBezTo>
                  <a:cubicBezTo>
                    <a:pt x="46818" y="109538"/>
                    <a:pt x="50628" y="130492"/>
                    <a:pt x="70630" y="121920"/>
                  </a:cubicBezTo>
                  <a:close/>
                </a:path>
              </a:pathLst>
            </a:custGeom>
            <a:solidFill>
              <a:schemeClr val="accent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56" name="Freeform: Shape 93">
              <a:extLst>
                <a:ext uri="{FF2B5EF4-FFF2-40B4-BE49-F238E27FC236}">
                  <a16:creationId xmlns:a16="http://schemas.microsoft.com/office/drawing/2014/main" id="{6ACCF6AA-C582-4BAF-BBD6-EEF720023290}"/>
                </a:ext>
              </a:extLst>
            </p:cNvPr>
            <p:cNvSpPr/>
            <p:nvPr/>
          </p:nvSpPr>
          <p:spPr>
            <a:xfrm>
              <a:off x="10270559" y="4190422"/>
              <a:ext cx="72312" cy="107792"/>
            </a:xfrm>
            <a:custGeom>
              <a:avLst/>
              <a:gdLst>
                <a:gd name="connsiteX0" fmla="*/ 51623 w 63659"/>
                <a:gd name="connsiteY0" fmla="*/ 90488 h 94894"/>
                <a:gd name="connsiteX1" fmla="*/ 62100 w 63659"/>
                <a:gd name="connsiteY1" fmla="*/ 79058 h 94894"/>
                <a:gd name="connsiteX2" fmla="*/ 40193 w 63659"/>
                <a:gd name="connsiteY2" fmla="*/ 0 h 94894"/>
                <a:gd name="connsiteX3" fmla="*/ 188 w 63659"/>
                <a:gd name="connsiteY3" fmla="*/ 84772 h 94894"/>
                <a:gd name="connsiteX4" fmla="*/ 8761 w 63659"/>
                <a:gd name="connsiteY4" fmla="*/ 94297 h 94894"/>
                <a:gd name="connsiteX5" fmla="*/ 24953 w 63659"/>
                <a:gd name="connsiteY5" fmla="*/ 88583 h 94894"/>
                <a:gd name="connsiteX6" fmla="*/ 31620 w 63659"/>
                <a:gd name="connsiteY6" fmla="*/ 71438 h 94894"/>
                <a:gd name="connsiteX7" fmla="*/ 51623 w 63659"/>
                <a:gd name="connsiteY7" fmla="*/ 90488 h 94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659" h="94894">
                  <a:moveTo>
                    <a:pt x="51623" y="90488"/>
                  </a:moveTo>
                  <a:cubicBezTo>
                    <a:pt x="56386" y="88583"/>
                    <a:pt x="59243" y="83820"/>
                    <a:pt x="62100" y="79058"/>
                  </a:cubicBezTo>
                  <a:cubicBezTo>
                    <a:pt x="70673" y="60960"/>
                    <a:pt x="41145" y="11430"/>
                    <a:pt x="40193" y="0"/>
                  </a:cubicBezTo>
                  <a:cubicBezTo>
                    <a:pt x="27811" y="15240"/>
                    <a:pt x="-2669" y="57150"/>
                    <a:pt x="188" y="84772"/>
                  </a:cubicBezTo>
                  <a:cubicBezTo>
                    <a:pt x="188" y="89535"/>
                    <a:pt x="4950" y="92392"/>
                    <a:pt x="8761" y="94297"/>
                  </a:cubicBezTo>
                  <a:cubicBezTo>
                    <a:pt x="14475" y="96203"/>
                    <a:pt x="21143" y="93345"/>
                    <a:pt x="24953" y="88583"/>
                  </a:cubicBezTo>
                  <a:cubicBezTo>
                    <a:pt x="28763" y="83820"/>
                    <a:pt x="30668" y="77153"/>
                    <a:pt x="31620" y="71438"/>
                  </a:cubicBezTo>
                  <a:cubicBezTo>
                    <a:pt x="34478" y="81915"/>
                    <a:pt x="37336" y="97155"/>
                    <a:pt x="51623" y="90488"/>
                  </a:cubicBezTo>
                  <a:close/>
                </a:path>
              </a:pathLst>
            </a:custGeom>
            <a:solidFill>
              <a:schemeClr val="accent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57" name="Freeform: Shape 94">
              <a:extLst>
                <a:ext uri="{FF2B5EF4-FFF2-40B4-BE49-F238E27FC236}">
                  <a16:creationId xmlns:a16="http://schemas.microsoft.com/office/drawing/2014/main" id="{16746A05-3F46-4E44-98D3-66175D64E27F}"/>
                </a:ext>
              </a:extLst>
            </p:cNvPr>
            <p:cNvSpPr/>
            <p:nvPr/>
          </p:nvSpPr>
          <p:spPr>
            <a:xfrm>
              <a:off x="10223166" y="3565083"/>
              <a:ext cx="109278" cy="71374"/>
            </a:xfrm>
            <a:custGeom>
              <a:avLst/>
              <a:gdLst>
                <a:gd name="connsiteX0" fmla="*/ 25717 w 96202"/>
                <a:gd name="connsiteY0" fmla="*/ 59977 h 62834"/>
                <a:gd name="connsiteX1" fmla="*/ 40958 w 96202"/>
                <a:gd name="connsiteY1" fmla="*/ 62835 h 62834"/>
                <a:gd name="connsiteX2" fmla="*/ 96203 w 96202"/>
                <a:gd name="connsiteY2" fmla="*/ 1874 h 62834"/>
                <a:gd name="connsiteX3" fmla="*/ 3810 w 96202"/>
                <a:gd name="connsiteY3" fmla="*/ 14257 h 62834"/>
                <a:gd name="connsiteX4" fmla="*/ 953 w 96202"/>
                <a:gd name="connsiteY4" fmla="*/ 26639 h 62834"/>
                <a:gd name="connsiteX5" fmla="*/ 15240 w 96202"/>
                <a:gd name="connsiteY5" fmla="*/ 37117 h 62834"/>
                <a:gd name="connsiteX6" fmla="*/ 33337 w 96202"/>
                <a:gd name="connsiteY6" fmla="*/ 33307 h 62834"/>
                <a:gd name="connsiteX7" fmla="*/ 25717 w 96202"/>
                <a:gd name="connsiteY7" fmla="*/ 59977 h 62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6202" h="62834">
                  <a:moveTo>
                    <a:pt x="25717" y="59977"/>
                  </a:moveTo>
                  <a:cubicBezTo>
                    <a:pt x="29528" y="62835"/>
                    <a:pt x="35242" y="62835"/>
                    <a:pt x="40958" y="62835"/>
                  </a:cubicBezTo>
                  <a:cubicBezTo>
                    <a:pt x="60960" y="59977"/>
                    <a:pt x="86678" y="8542"/>
                    <a:pt x="96203" y="1874"/>
                  </a:cubicBezTo>
                  <a:cubicBezTo>
                    <a:pt x="77153" y="-983"/>
                    <a:pt x="24765" y="-2888"/>
                    <a:pt x="3810" y="14257"/>
                  </a:cubicBezTo>
                  <a:cubicBezTo>
                    <a:pt x="0" y="17114"/>
                    <a:pt x="-952" y="22830"/>
                    <a:pt x="953" y="26639"/>
                  </a:cubicBezTo>
                  <a:cubicBezTo>
                    <a:pt x="1905" y="32355"/>
                    <a:pt x="8573" y="37117"/>
                    <a:pt x="15240" y="37117"/>
                  </a:cubicBezTo>
                  <a:cubicBezTo>
                    <a:pt x="21908" y="38069"/>
                    <a:pt x="27623" y="36164"/>
                    <a:pt x="33337" y="33307"/>
                  </a:cubicBezTo>
                  <a:cubicBezTo>
                    <a:pt x="24765" y="39974"/>
                    <a:pt x="13335" y="50452"/>
                    <a:pt x="25717" y="59977"/>
                  </a:cubicBezTo>
                  <a:close/>
                </a:path>
              </a:pathLst>
            </a:custGeom>
            <a:solidFill>
              <a:schemeClr val="accent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58" name="Freeform: Shape 95">
              <a:extLst>
                <a:ext uri="{FF2B5EF4-FFF2-40B4-BE49-F238E27FC236}">
                  <a16:creationId xmlns:a16="http://schemas.microsoft.com/office/drawing/2014/main" id="{84DB2A87-B575-467E-83B9-D841D2B981DF}"/>
                </a:ext>
              </a:extLst>
            </p:cNvPr>
            <p:cNvSpPr/>
            <p:nvPr/>
          </p:nvSpPr>
          <p:spPr>
            <a:xfrm>
              <a:off x="9921255" y="3456852"/>
              <a:ext cx="92010" cy="93329"/>
            </a:xfrm>
            <a:custGeom>
              <a:avLst/>
              <a:gdLst>
                <a:gd name="connsiteX0" fmla="*/ 40996 w 81001"/>
                <a:gd name="connsiteY0" fmla="*/ 81915 h 82162"/>
                <a:gd name="connsiteX1" fmla="*/ 55284 w 81001"/>
                <a:gd name="connsiteY1" fmla="*/ 78105 h 82162"/>
                <a:gd name="connsiteX2" fmla="*/ 81001 w 81001"/>
                <a:gd name="connsiteY2" fmla="*/ 0 h 82162"/>
                <a:gd name="connsiteX3" fmla="*/ 991 w 81001"/>
                <a:gd name="connsiteY3" fmla="*/ 48578 h 82162"/>
                <a:gd name="connsiteX4" fmla="*/ 2896 w 81001"/>
                <a:gd name="connsiteY4" fmla="*/ 60960 h 82162"/>
                <a:gd name="connsiteX5" fmla="*/ 20041 w 81001"/>
                <a:gd name="connsiteY5" fmla="*/ 64770 h 82162"/>
                <a:gd name="connsiteX6" fmla="*/ 35281 w 81001"/>
                <a:gd name="connsiteY6" fmla="*/ 54292 h 82162"/>
                <a:gd name="connsiteX7" fmla="*/ 40996 w 81001"/>
                <a:gd name="connsiteY7" fmla="*/ 81915 h 821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001" h="82162">
                  <a:moveTo>
                    <a:pt x="40996" y="81915"/>
                  </a:moveTo>
                  <a:cubicBezTo>
                    <a:pt x="45759" y="82867"/>
                    <a:pt x="51473" y="80963"/>
                    <a:pt x="55284" y="78105"/>
                  </a:cubicBezTo>
                  <a:cubicBezTo>
                    <a:pt x="72429" y="67628"/>
                    <a:pt x="75286" y="10478"/>
                    <a:pt x="81001" y="0"/>
                  </a:cubicBezTo>
                  <a:cubicBezTo>
                    <a:pt x="61951" y="5715"/>
                    <a:pt x="14326" y="23813"/>
                    <a:pt x="991" y="48578"/>
                  </a:cubicBezTo>
                  <a:cubicBezTo>
                    <a:pt x="-914" y="52388"/>
                    <a:pt x="39" y="58103"/>
                    <a:pt x="2896" y="60960"/>
                  </a:cubicBezTo>
                  <a:cubicBezTo>
                    <a:pt x="6706" y="65723"/>
                    <a:pt x="14326" y="66675"/>
                    <a:pt x="20041" y="64770"/>
                  </a:cubicBezTo>
                  <a:cubicBezTo>
                    <a:pt x="25756" y="62865"/>
                    <a:pt x="30519" y="58103"/>
                    <a:pt x="35281" y="54292"/>
                  </a:cubicBezTo>
                  <a:cubicBezTo>
                    <a:pt x="31471" y="64770"/>
                    <a:pt x="25756" y="79058"/>
                    <a:pt x="40996" y="81915"/>
                  </a:cubicBezTo>
                  <a:close/>
                </a:path>
              </a:pathLst>
            </a:custGeom>
            <a:solidFill>
              <a:schemeClr val="accent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59" name="Freeform: Shape 96">
              <a:extLst>
                <a:ext uri="{FF2B5EF4-FFF2-40B4-BE49-F238E27FC236}">
                  <a16:creationId xmlns:a16="http://schemas.microsoft.com/office/drawing/2014/main" id="{92B13764-3B7C-401A-ACA3-6BE1D5EDBDD9}"/>
                </a:ext>
              </a:extLst>
            </p:cNvPr>
            <p:cNvSpPr/>
            <p:nvPr/>
          </p:nvSpPr>
          <p:spPr>
            <a:xfrm>
              <a:off x="10497781" y="4261213"/>
              <a:ext cx="205775" cy="127207"/>
            </a:xfrm>
            <a:custGeom>
              <a:avLst/>
              <a:gdLst>
                <a:gd name="connsiteX0" fmla="*/ 43041 w 181153"/>
                <a:gd name="connsiteY0" fmla="*/ 104366 h 111986"/>
                <a:gd name="connsiteX1" fmla="*/ 69711 w 181153"/>
                <a:gd name="connsiteY1" fmla="*/ 111986 h 111986"/>
                <a:gd name="connsiteX2" fmla="*/ 181154 w 181153"/>
                <a:gd name="connsiteY2" fmla="*/ 11021 h 111986"/>
                <a:gd name="connsiteX3" fmla="*/ 8751 w 181153"/>
                <a:gd name="connsiteY3" fmla="*/ 15784 h 111986"/>
                <a:gd name="connsiteX4" fmla="*/ 179 w 181153"/>
                <a:gd name="connsiteY4" fmla="*/ 37691 h 111986"/>
                <a:gd name="connsiteX5" fmla="*/ 23991 w 181153"/>
                <a:gd name="connsiteY5" fmla="*/ 59599 h 111986"/>
                <a:gd name="connsiteX6" fmla="*/ 58281 w 181153"/>
                <a:gd name="connsiteY6" fmla="*/ 56741 h 111986"/>
                <a:gd name="connsiteX7" fmla="*/ 43041 w 181153"/>
                <a:gd name="connsiteY7" fmla="*/ 104366 h 1119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1153" h="111986">
                  <a:moveTo>
                    <a:pt x="43041" y="104366"/>
                  </a:moveTo>
                  <a:cubicBezTo>
                    <a:pt x="49709" y="111034"/>
                    <a:pt x="60186" y="111986"/>
                    <a:pt x="69711" y="111986"/>
                  </a:cubicBezTo>
                  <a:cubicBezTo>
                    <a:pt x="106859" y="111034"/>
                    <a:pt x="163056" y="20546"/>
                    <a:pt x="181154" y="11021"/>
                  </a:cubicBezTo>
                  <a:cubicBezTo>
                    <a:pt x="145911" y="2449"/>
                    <a:pt x="51614" y="-10886"/>
                    <a:pt x="8751" y="15784"/>
                  </a:cubicBezTo>
                  <a:cubicBezTo>
                    <a:pt x="2084" y="20546"/>
                    <a:pt x="-774" y="30071"/>
                    <a:pt x="179" y="37691"/>
                  </a:cubicBezTo>
                  <a:cubicBezTo>
                    <a:pt x="1131" y="49121"/>
                    <a:pt x="12561" y="57694"/>
                    <a:pt x="23991" y="59599"/>
                  </a:cubicBezTo>
                  <a:cubicBezTo>
                    <a:pt x="35421" y="61504"/>
                    <a:pt x="46851" y="59599"/>
                    <a:pt x="58281" y="56741"/>
                  </a:cubicBezTo>
                  <a:cubicBezTo>
                    <a:pt x="43993" y="67219"/>
                    <a:pt x="21134" y="85316"/>
                    <a:pt x="43041" y="104366"/>
                  </a:cubicBezTo>
                  <a:close/>
                </a:path>
              </a:pathLst>
            </a:custGeom>
            <a:solidFill>
              <a:schemeClr val="accent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60" name="Freeform: Shape 97">
              <a:extLst>
                <a:ext uri="{FF2B5EF4-FFF2-40B4-BE49-F238E27FC236}">
                  <a16:creationId xmlns:a16="http://schemas.microsoft.com/office/drawing/2014/main" id="{AFD91F2A-BDD2-4495-916E-60E3B8013C72}"/>
                </a:ext>
              </a:extLst>
            </p:cNvPr>
            <p:cNvSpPr/>
            <p:nvPr/>
          </p:nvSpPr>
          <p:spPr>
            <a:xfrm>
              <a:off x="9210450" y="4377510"/>
              <a:ext cx="152556" cy="93253"/>
            </a:xfrm>
            <a:custGeom>
              <a:avLst/>
              <a:gdLst>
                <a:gd name="connsiteX0" fmla="*/ 111443 w 134302"/>
                <a:gd name="connsiteY0" fmla="*/ 73422 h 82095"/>
                <a:gd name="connsiteX1" fmla="*/ 92393 w 134302"/>
                <a:gd name="connsiteY1" fmla="*/ 81995 h 82095"/>
                <a:gd name="connsiteX2" fmla="*/ 0 w 134302"/>
                <a:gd name="connsiteY2" fmla="*/ 21035 h 82095"/>
                <a:gd name="connsiteX3" fmla="*/ 125730 w 134302"/>
                <a:gd name="connsiteY3" fmla="*/ 4842 h 82095"/>
                <a:gd name="connsiteX4" fmla="*/ 134302 w 134302"/>
                <a:gd name="connsiteY4" fmla="*/ 20082 h 82095"/>
                <a:gd name="connsiteX5" fmla="*/ 120015 w 134302"/>
                <a:gd name="connsiteY5" fmla="*/ 39132 h 82095"/>
                <a:gd name="connsiteX6" fmla="*/ 95250 w 134302"/>
                <a:gd name="connsiteY6" fmla="*/ 41037 h 82095"/>
                <a:gd name="connsiteX7" fmla="*/ 111443 w 134302"/>
                <a:gd name="connsiteY7" fmla="*/ 73422 h 82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4302" h="82095">
                  <a:moveTo>
                    <a:pt x="111443" y="73422"/>
                  </a:moveTo>
                  <a:cubicBezTo>
                    <a:pt x="106680" y="79137"/>
                    <a:pt x="100013" y="81042"/>
                    <a:pt x="92393" y="81995"/>
                  </a:cubicBezTo>
                  <a:cubicBezTo>
                    <a:pt x="65723" y="84852"/>
                    <a:pt x="14288" y="25797"/>
                    <a:pt x="0" y="21035"/>
                  </a:cubicBezTo>
                  <a:cubicBezTo>
                    <a:pt x="24765" y="11510"/>
                    <a:pt x="91440" y="-9445"/>
                    <a:pt x="125730" y="4842"/>
                  </a:cubicBezTo>
                  <a:cubicBezTo>
                    <a:pt x="131445" y="7700"/>
                    <a:pt x="134302" y="14367"/>
                    <a:pt x="134302" y="20082"/>
                  </a:cubicBezTo>
                  <a:cubicBezTo>
                    <a:pt x="134302" y="28655"/>
                    <a:pt x="127635" y="36275"/>
                    <a:pt x="120015" y="39132"/>
                  </a:cubicBezTo>
                  <a:cubicBezTo>
                    <a:pt x="112395" y="41990"/>
                    <a:pt x="102870" y="41990"/>
                    <a:pt x="95250" y="41037"/>
                  </a:cubicBezTo>
                  <a:cubicBezTo>
                    <a:pt x="106680" y="46752"/>
                    <a:pt x="124777" y="56277"/>
                    <a:pt x="111443" y="73422"/>
                  </a:cubicBezTo>
                  <a:close/>
                </a:path>
              </a:pathLst>
            </a:custGeom>
            <a:solidFill>
              <a:schemeClr val="accent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61" name="Freeform: Shape 98">
              <a:extLst>
                <a:ext uri="{FF2B5EF4-FFF2-40B4-BE49-F238E27FC236}">
                  <a16:creationId xmlns:a16="http://schemas.microsoft.com/office/drawing/2014/main" id="{BB5177B0-89AE-4078-8DBC-7E42A522580F}"/>
                </a:ext>
              </a:extLst>
            </p:cNvPr>
            <p:cNvSpPr/>
            <p:nvPr/>
          </p:nvSpPr>
          <p:spPr>
            <a:xfrm>
              <a:off x="9228844" y="4560845"/>
              <a:ext cx="133081" cy="112130"/>
            </a:xfrm>
            <a:custGeom>
              <a:avLst/>
              <a:gdLst>
                <a:gd name="connsiteX0" fmla="*/ 117157 w 117157"/>
                <a:gd name="connsiteY0" fmla="*/ 59661 h 98713"/>
                <a:gd name="connsiteX1" fmla="*/ 109538 w 117157"/>
                <a:gd name="connsiteY1" fmla="*/ 78711 h 98713"/>
                <a:gd name="connsiteX2" fmla="*/ 0 w 117157"/>
                <a:gd name="connsiteY2" fmla="*/ 98714 h 98713"/>
                <a:gd name="connsiteX3" fmla="*/ 80010 w 117157"/>
                <a:gd name="connsiteY3" fmla="*/ 606 h 98713"/>
                <a:gd name="connsiteX4" fmla="*/ 97155 w 117157"/>
                <a:gd name="connsiteY4" fmla="*/ 5369 h 98713"/>
                <a:gd name="connsiteX5" fmla="*/ 99060 w 117157"/>
                <a:gd name="connsiteY5" fmla="*/ 29181 h 98713"/>
                <a:gd name="connsiteX6" fmla="*/ 81915 w 117157"/>
                <a:gd name="connsiteY6" fmla="*/ 48231 h 98713"/>
                <a:gd name="connsiteX7" fmla="*/ 117157 w 117157"/>
                <a:gd name="connsiteY7" fmla="*/ 59661 h 98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157" h="98713">
                  <a:moveTo>
                    <a:pt x="117157" y="59661"/>
                  </a:moveTo>
                  <a:cubicBezTo>
                    <a:pt x="117157" y="66329"/>
                    <a:pt x="114300" y="72996"/>
                    <a:pt x="109538" y="78711"/>
                  </a:cubicBezTo>
                  <a:cubicBezTo>
                    <a:pt x="92393" y="99666"/>
                    <a:pt x="14288" y="92046"/>
                    <a:pt x="0" y="98714"/>
                  </a:cubicBezTo>
                  <a:cubicBezTo>
                    <a:pt x="11430" y="74901"/>
                    <a:pt x="44768" y="13941"/>
                    <a:pt x="80010" y="606"/>
                  </a:cubicBezTo>
                  <a:cubicBezTo>
                    <a:pt x="85725" y="-1299"/>
                    <a:pt x="92393" y="1559"/>
                    <a:pt x="97155" y="5369"/>
                  </a:cubicBezTo>
                  <a:cubicBezTo>
                    <a:pt x="102870" y="11084"/>
                    <a:pt x="102870" y="21561"/>
                    <a:pt x="99060" y="29181"/>
                  </a:cubicBezTo>
                  <a:cubicBezTo>
                    <a:pt x="95250" y="36801"/>
                    <a:pt x="88582" y="42516"/>
                    <a:pt x="81915" y="48231"/>
                  </a:cubicBezTo>
                  <a:cubicBezTo>
                    <a:pt x="95250" y="43469"/>
                    <a:pt x="115252" y="37754"/>
                    <a:pt x="117157" y="59661"/>
                  </a:cubicBezTo>
                  <a:close/>
                </a:path>
              </a:pathLst>
            </a:custGeom>
            <a:solidFill>
              <a:schemeClr val="accent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62" name="Freeform: Shape 99">
              <a:extLst>
                <a:ext uri="{FF2B5EF4-FFF2-40B4-BE49-F238E27FC236}">
                  <a16:creationId xmlns:a16="http://schemas.microsoft.com/office/drawing/2014/main" id="{16095F31-61C1-4CCB-832C-BAA5B12351E6}"/>
                </a:ext>
              </a:extLst>
            </p:cNvPr>
            <p:cNvSpPr/>
            <p:nvPr/>
          </p:nvSpPr>
          <p:spPr>
            <a:xfrm>
              <a:off x="10080180" y="3616982"/>
              <a:ext cx="100986" cy="137709"/>
            </a:xfrm>
            <a:custGeom>
              <a:avLst/>
              <a:gdLst>
                <a:gd name="connsiteX0" fmla="*/ 64917 w 88902"/>
                <a:gd name="connsiteY0" fmla="*/ 120967 h 121231"/>
                <a:gd name="connsiteX1" fmla="*/ 82062 w 88902"/>
                <a:gd name="connsiteY1" fmla="*/ 110490 h 121231"/>
                <a:gd name="connsiteX2" fmla="*/ 82062 w 88902"/>
                <a:gd name="connsiteY2" fmla="*/ 0 h 121231"/>
                <a:gd name="connsiteX3" fmla="*/ 147 w 88902"/>
                <a:gd name="connsiteY3" fmla="*/ 96203 h 121231"/>
                <a:gd name="connsiteX4" fmla="*/ 7767 w 88902"/>
                <a:gd name="connsiteY4" fmla="*/ 111442 h 121231"/>
                <a:gd name="connsiteX5" fmla="*/ 31579 w 88902"/>
                <a:gd name="connsiteY5" fmla="*/ 109538 h 121231"/>
                <a:gd name="connsiteX6" fmla="*/ 46819 w 88902"/>
                <a:gd name="connsiteY6" fmla="*/ 89535 h 121231"/>
                <a:gd name="connsiteX7" fmla="*/ 64917 w 88902"/>
                <a:gd name="connsiteY7" fmla="*/ 120967 h 1212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902" h="121231">
                  <a:moveTo>
                    <a:pt x="64917" y="120967"/>
                  </a:moveTo>
                  <a:cubicBezTo>
                    <a:pt x="71585" y="120015"/>
                    <a:pt x="77299" y="115253"/>
                    <a:pt x="82062" y="110490"/>
                  </a:cubicBezTo>
                  <a:cubicBezTo>
                    <a:pt x="99207" y="89535"/>
                    <a:pt x="78252" y="14288"/>
                    <a:pt x="82062" y="0"/>
                  </a:cubicBezTo>
                  <a:cubicBezTo>
                    <a:pt x="60154" y="15240"/>
                    <a:pt x="5862" y="60008"/>
                    <a:pt x="147" y="96203"/>
                  </a:cubicBezTo>
                  <a:cubicBezTo>
                    <a:pt x="-806" y="101917"/>
                    <a:pt x="3004" y="108585"/>
                    <a:pt x="7767" y="111442"/>
                  </a:cubicBezTo>
                  <a:cubicBezTo>
                    <a:pt x="14435" y="116205"/>
                    <a:pt x="24912" y="114300"/>
                    <a:pt x="31579" y="109538"/>
                  </a:cubicBezTo>
                  <a:cubicBezTo>
                    <a:pt x="38247" y="104775"/>
                    <a:pt x="43010" y="97155"/>
                    <a:pt x="46819" y="89535"/>
                  </a:cubicBezTo>
                  <a:cubicBezTo>
                    <a:pt x="44914" y="102870"/>
                    <a:pt x="43962" y="123825"/>
                    <a:pt x="64917" y="120967"/>
                  </a:cubicBezTo>
                  <a:close/>
                </a:path>
              </a:pathLst>
            </a:custGeom>
            <a:solidFill>
              <a:schemeClr val="accent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63" name="Freeform: Shape 100">
              <a:extLst>
                <a:ext uri="{FF2B5EF4-FFF2-40B4-BE49-F238E27FC236}">
                  <a16:creationId xmlns:a16="http://schemas.microsoft.com/office/drawing/2014/main" id="{1B3AEB46-2223-4BED-A9F6-52BF56F143D5}"/>
                </a:ext>
              </a:extLst>
            </p:cNvPr>
            <p:cNvSpPr/>
            <p:nvPr/>
          </p:nvSpPr>
          <p:spPr>
            <a:xfrm>
              <a:off x="9920050" y="3549900"/>
              <a:ext cx="100986" cy="137709"/>
            </a:xfrm>
            <a:custGeom>
              <a:avLst/>
              <a:gdLst>
                <a:gd name="connsiteX0" fmla="*/ 64917 w 88903"/>
                <a:gd name="connsiteY0" fmla="*/ 120967 h 121231"/>
                <a:gd name="connsiteX1" fmla="*/ 82062 w 88903"/>
                <a:gd name="connsiteY1" fmla="*/ 110490 h 121231"/>
                <a:gd name="connsiteX2" fmla="*/ 82062 w 88903"/>
                <a:gd name="connsiteY2" fmla="*/ 0 h 121231"/>
                <a:gd name="connsiteX3" fmla="*/ 147 w 88903"/>
                <a:gd name="connsiteY3" fmla="*/ 96202 h 121231"/>
                <a:gd name="connsiteX4" fmla="*/ 7767 w 88903"/>
                <a:gd name="connsiteY4" fmla="*/ 111442 h 121231"/>
                <a:gd name="connsiteX5" fmla="*/ 31580 w 88903"/>
                <a:gd name="connsiteY5" fmla="*/ 109538 h 121231"/>
                <a:gd name="connsiteX6" fmla="*/ 46820 w 88903"/>
                <a:gd name="connsiteY6" fmla="*/ 89535 h 121231"/>
                <a:gd name="connsiteX7" fmla="*/ 64917 w 88903"/>
                <a:gd name="connsiteY7" fmla="*/ 120967 h 1212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903" h="121231">
                  <a:moveTo>
                    <a:pt x="64917" y="120967"/>
                  </a:moveTo>
                  <a:cubicBezTo>
                    <a:pt x="71584" y="120015"/>
                    <a:pt x="77300" y="115252"/>
                    <a:pt x="82062" y="110490"/>
                  </a:cubicBezTo>
                  <a:cubicBezTo>
                    <a:pt x="99207" y="89535"/>
                    <a:pt x="78252" y="14288"/>
                    <a:pt x="82062" y="0"/>
                  </a:cubicBezTo>
                  <a:cubicBezTo>
                    <a:pt x="60155" y="15240"/>
                    <a:pt x="5862" y="60008"/>
                    <a:pt x="147" y="96202"/>
                  </a:cubicBezTo>
                  <a:cubicBezTo>
                    <a:pt x="-805" y="101917"/>
                    <a:pt x="3005" y="108585"/>
                    <a:pt x="7767" y="111442"/>
                  </a:cubicBezTo>
                  <a:cubicBezTo>
                    <a:pt x="14434" y="116205"/>
                    <a:pt x="24912" y="114300"/>
                    <a:pt x="31580" y="109538"/>
                  </a:cubicBezTo>
                  <a:cubicBezTo>
                    <a:pt x="38247" y="104775"/>
                    <a:pt x="43009" y="97155"/>
                    <a:pt x="46820" y="89535"/>
                  </a:cubicBezTo>
                  <a:cubicBezTo>
                    <a:pt x="44914" y="102870"/>
                    <a:pt x="43009" y="123825"/>
                    <a:pt x="64917" y="120967"/>
                  </a:cubicBezTo>
                  <a:close/>
                </a:path>
              </a:pathLst>
            </a:custGeom>
            <a:solidFill>
              <a:schemeClr val="accent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64" name="Freeform: Shape 101">
              <a:extLst>
                <a:ext uri="{FF2B5EF4-FFF2-40B4-BE49-F238E27FC236}">
                  <a16:creationId xmlns:a16="http://schemas.microsoft.com/office/drawing/2014/main" id="{CB60B8F4-E74A-47D4-AA9B-C2284D902B61}"/>
                </a:ext>
              </a:extLst>
            </p:cNvPr>
            <p:cNvSpPr/>
            <p:nvPr/>
          </p:nvSpPr>
          <p:spPr>
            <a:xfrm>
              <a:off x="10334349" y="3429802"/>
              <a:ext cx="137667" cy="123132"/>
            </a:xfrm>
            <a:custGeom>
              <a:avLst/>
              <a:gdLst>
                <a:gd name="connsiteX0" fmla="*/ 52616 w 121195"/>
                <a:gd name="connsiteY0" fmla="*/ 107633 h 108399"/>
                <a:gd name="connsiteX1" fmla="*/ 73571 w 121195"/>
                <a:gd name="connsiteY1" fmla="*/ 104775 h 108399"/>
                <a:gd name="connsiteX2" fmla="*/ 121196 w 121195"/>
                <a:gd name="connsiteY2" fmla="*/ 0 h 108399"/>
                <a:gd name="connsiteX3" fmla="*/ 2133 w 121195"/>
                <a:gd name="connsiteY3" fmla="*/ 55245 h 108399"/>
                <a:gd name="connsiteX4" fmla="*/ 3086 w 121195"/>
                <a:gd name="connsiteY4" fmla="*/ 73342 h 108399"/>
                <a:gd name="connsiteX5" fmla="*/ 25946 w 121195"/>
                <a:gd name="connsiteY5" fmla="*/ 81915 h 108399"/>
                <a:gd name="connsiteX6" fmla="*/ 48806 w 121195"/>
                <a:gd name="connsiteY6" fmla="*/ 69533 h 108399"/>
                <a:gd name="connsiteX7" fmla="*/ 52616 w 121195"/>
                <a:gd name="connsiteY7" fmla="*/ 107633 h 108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195" h="108399">
                  <a:moveTo>
                    <a:pt x="52616" y="107633"/>
                  </a:moveTo>
                  <a:cubicBezTo>
                    <a:pt x="59283" y="109538"/>
                    <a:pt x="66904" y="107633"/>
                    <a:pt x="73571" y="104775"/>
                  </a:cubicBezTo>
                  <a:cubicBezTo>
                    <a:pt x="99288" y="92392"/>
                    <a:pt x="111671" y="12383"/>
                    <a:pt x="121196" y="0"/>
                  </a:cubicBezTo>
                  <a:cubicBezTo>
                    <a:pt x="93574" y="4763"/>
                    <a:pt x="24041" y="23813"/>
                    <a:pt x="2133" y="55245"/>
                  </a:cubicBezTo>
                  <a:cubicBezTo>
                    <a:pt x="-1676" y="60008"/>
                    <a:pt x="229" y="67628"/>
                    <a:pt x="3086" y="73342"/>
                  </a:cubicBezTo>
                  <a:cubicBezTo>
                    <a:pt x="7849" y="80963"/>
                    <a:pt x="17374" y="83820"/>
                    <a:pt x="25946" y="81915"/>
                  </a:cubicBezTo>
                  <a:cubicBezTo>
                    <a:pt x="34519" y="80010"/>
                    <a:pt x="42138" y="75248"/>
                    <a:pt x="48806" y="69533"/>
                  </a:cubicBezTo>
                  <a:cubicBezTo>
                    <a:pt x="41186" y="81915"/>
                    <a:pt x="30708" y="100013"/>
                    <a:pt x="52616" y="107633"/>
                  </a:cubicBezTo>
                  <a:close/>
                </a:path>
              </a:pathLst>
            </a:custGeom>
            <a:solidFill>
              <a:schemeClr val="accent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65" name="Freeform: Shape 102">
              <a:extLst>
                <a:ext uri="{FF2B5EF4-FFF2-40B4-BE49-F238E27FC236}">
                  <a16:creationId xmlns:a16="http://schemas.microsoft.com/office/drawing/2014/main" id="{6497F44F-EC3C-4456-AE20-863296594F48}"/>
                </a:ext>
              </a:extLst>
            </p:cNvPr>
            <p:cNvSpPr/>
            <p:nvPr/>
          </p:nvSpPr>
          <p:spPr>
            <a:xfrm>
              <a:off x="9383564" y="3609409"/>
              <a:ext cx="122261" cy="139082"/>
            </a:xfrm>
            <a:custGeom>
              <a:avLst/>
              <a:gdLst>
                <a:gd name="connsiteX0" fmla="*/ 106680 w 107632"/>
                <a:gd name="connsiteY0" fmla="*/ 70485 h 122440"/>
                <a:gd name="connsiteX1" fmla="*/ 103823 w 107632"/>
                <a:gd name="connsiteY1" fmla="*/ 49530 h 122440"/>
                <a:gd name="connsiteX2" fmla="*/ 0 w 107632"/>
                <a:gd name="connsiteY2" fmla="*/ 0 h 122440"/>
                <a:gd name="connsiteX3" fmla="*/ 53340 w 107632"/>
                <a:gd name="connsiteY3" fmla="*/ 120015 h 122440"/>
                <a:gd name="connsiteX4" fmla="*/ 71438 w 107632"/>
                <a:gd name="connsiteY4" fmla="*/ 119063 h 122440"/>
                <a:gd name="connsiteX5" fmla="*/ 80010 w 107632"/>
                <a:gd name="connsiteY5" fmla="*/ 96202 h 122440"/>
                <a:gd name="connsiteX6" fmla="*/ 67627 w 107632"/>
                <a:gd name="connsiteY6" fmla="*/ 73342 h 122440"/>
                <a:gd name="connsiteX7" fmla="*/ 106680 w 107632"/>
                <a:gd name="connsiteY7" fmla="*/ 70485 h 122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7632" h="122440">
                  <a:moveTo>
                    <a:pt x="106680" y="70485"/>
                  </a:moveTo>
                  <a:cubicBezTo>
                    <a:pt x="108585" y="63817"/>
                    <a:pt x="107632" y="56197"/>
                    <a:pt x="103823" y="49530"/>
                  </a:cubicBezTo>
                  <a:cubicBezTo>
                    <a:pt x="92393" y="23813"/>
                    <a:pt x="12382" y="10477"/>
                    <a:pt x="0" y="0"/>
                  </a:cubicBezTo>
                  <a:cubicBezTo>
                    <a:pt x="4763" y="27622"/>
                    <a:pt x="21907" y="97155"/>
                    <a:pt x="53340" y="120015"/>
                  </a:cubicBezTo>
                  <a:cubicBezTo>
                    <a:pt x="58102" y="123825"/>
                    <a:pt x="65723" y="122872"/>
                    <a:pt x="71438" y="119063"/>
                  </a:cubicBezTo>
                  <a:cubicBezTo>
                    <a:pt x="79057" y="114300"/>
                    <a:pt x="81915" y="104775"/>
                    <a:pt x="80010" y="96202"/>
                  </a:cubicBezTo>
                  <a:cubicBezTo>
                    <a:pt x="78105" y="87630"/>
                    <a:pt x="73343" y="80010"/>
                    <a:pt x="67627" y="73342"/>
                  </a:cubicBezTo>
                  <a:cubicBezTo>
                    <a:pt x="80010" y="80963"/>
                    <a:pt x="99060" y="91440"/>
                    <a:pt x="106680" y="70485"/>
                  </a:cubicBezTo>
                  <a:close/>
                </a:path>
              </a:pathLst>
            </a:custGeom>
            <a:solidFill>
              <a:schemeClr val="accent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66" name="Freeform: Shape 103">
              <a:extLst>
                <a:ext uri="{FF2B5EF4-FFF2-40B4-BE49-F238E27FC236}">
                  <a16:creationId xmlns:a16="http://schemas.microsoft.com/office/drawing/2014/main" id="{A1983CE4-AD54-42BB-9DF0-0A6B71244526}"/>
                </a:ext>
              </a:extLst>
            </p:cNvPr>
            <p:cNvSpPr/>
            <p:nvPr/>
          </p:nvSpPr>
          <p:spPr>
            <a:xfrm>
              <a:off x="9147696" y="3750016"/>
              <a:ext cx="158171" cy="96753"/>
            </a:xfrm>
            <a:custGeom>
              <a:avLst/>
              <a:gdLst>
                <a:gd name="connsiteX0" fmla="*/ 112395 w 139245"/>
                <a:gd name="connsiteY0" fmla="*/ 7661 h 85176"/>
                <a:gd name="connsiteX1" fmla="*/ 92393 w 139245"/>
                <a:gd name="connsiteY1" fmla="*/ 41 h 85176"/>
                <a:gd name="connsiteX2" fmla="*/ 0 w 139245"/>
                <a:gd name="connsiteY2" fmla="*/ 69574 h 85176"/>
                <a:gd name="connsiteX3" fmla="*/ 131445 w 139245"/>
                <a:gd name="connsiteY3" fmla="*/ 77194 h 85176"/>
                <a:gd name="connsiteX4" fmla="*/ 139065 w 139245"/>
                <a:gd name="connsiteY4" fmla="*/ 61001 h 85176"/>
                <a:gd name="connsiteX5" fmla="*/ 122872 w 139245"/>
                <a:gd name="connsiteY5" fmla="*/ 42904 h 85176"/>
                <a:gd name="connsiteX6" fmla="*/ 96202 w 139245"/>
                <a:gd name="connsiteY6" fmla="*/ 42904 h 85176"/>
                <a:gd name="connsiteX7" fmla="*/ 112395 w 139245"/>
                <a:gd name="connsiteY7" fmla="*/ 7661 h 85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9245" h="85176">
                  <a:moveTo>
                    <a:pt x="112395" y="7661"/>
                  </a:moveTo>
                  <a:cubicBezTo>
                    <a:pt x="107632" y="1946"/>
                    <a:pt x="100013" y="994"/>
                    <a:pt x="92393" y="41"/>
                  </a:cubicBezTo>
                  <a:cubicBezTo>
                    <a:pt x="64770" y="-1864"/>
                    <a:pt x="15240" y="62906"/>
                    <a:pt x="0" y="69574"/>
                  </a:cubicBezTo>
                  <a:cubicBezTo>
                    <a:pt x="26670" y="78146"/>
                    <a:pt x="97155" y="95291"/>
                    <a:pt x="131445" y="77194"/>
                  </a:cubicBezTo>
                  <a:cubicBezTo>
                    <a:pt x="137160" y="74336"/>
                    <a:pt x="140018" y="66716"/>
                    <a:pt x="139065" y="61001"/>
                  </a:cubicBezTo>
                  <a:cubicBezTo>
                    <a:pt x="139065" y="52429"/>
                    <a:pt x="131445" y="44809"/>
                    <a:pt x="122872" y="42904"/>
                  </a:cubicBezTo>
                  <a:cubicBezTo>
                    <a:pt x="114300" y="40999"/>
                    <a:pt x="105727" y="41951"/>
                    <a:pt x="96202" y="42904"/>
                  </a:cubicBezTo>
                  <a:cubicBezTo>
                    <a:pt x="109538" y="35284"/>
                    <a:pt x="127635" y="23854"/>
                    <a:pt x="112395" y="7661"/>
                  </a:cubicBezTo>
                  <a:close/>
                </a:path>
              </a:pathLst>
            </a:custGeom>
            <a:solidFill>
              <a:schemeClr val="accent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67" name="Freeform: Shape 104">
              <a:extLst>
                <a:ext uri="{FF2B5EF4-FFF2-40B4-BE49-F238E27FC236}">
                  <a16:creationId xmlns:a16="http://schemas.microsoft.com/office/drawing/2014/main" id="{28CDD169-2184-4FDD-9880-3345DFF654C8}"/>
                </a:ext>
              </a:extLst>
            </p:cNvPr>
            <p:cNvSpPr/>
            <p:nvPr/>
          </p:nvSpPr>
          <p:spPr>
            <a:xfrm>
              <a:off x="9075205" y="2939675"/>
              <a:ext cx="370659" cy="347764"/>
            </a:xfrm>
            <a:custGeom>
              <a:avLst/>
              <a:gdLst>
                <a:gd name="connsiteX0" fmla="*/ 325755 w 326308"/>
                <a:gd name="connsiteY0" fmla="*/ 140970 h 306153"/>
                <a:gd name="connsiteX1" fmla="*/ 308610 w 326308"/>
                <a:gd name="connsiteY1" fmla="*/ 84773 h 306153"/>
                <a:gd name="connsiteX2" fmla="*/ 0 w 326308"/>
                <a:gd name="connsiteY2" fmla="*/ 0 h 306153"/>
                <a:gd name="connsiteX3" fmla="*/ 204788 w 326308"/>
                <a:gd name="connsiteY3" fmla="*/ 302895 h 306153"/>
                <a:gd name="connsiteX4" fmla="*/ 254318 w 326308"/>
                <a:gd name="connsiteY4" fmla="*/ 292417 h 306153"/>
                <a:gd name="connsiteX5" fmla="*/ 266700 w 326308"/>
                <a:gd name="connsiteY5" fmla="*/ 224790 h 306153"/>
                <a:gd name="connsiteX6" fmla="*/ 222885 w 326308"/>
                <a:gd name="connsiteY6" fmla="*/ 166688 h 306153"/>
                <a:gd name="connsiteX7" fmla="*/ 325755 w 326308"/>
                <a:gd name="connsiteY7" fmla="*/ 140970 h 3061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308" h="306153">
                  <a:moveTo>
                    <a:pt x="325755" y="140970"/>
                  </a:moveTo>
                  <a:cubicBezTo>
                    <a:pt x="328613" y="120967"/>
                    <a:pt x="320040" y="100965"/>
                    <a:pt x="308610" y="84773"/>
                  </a:cubicBezTo>
                  <a:cubicBezTo>
                    <a:pt x="264795" y="20955"/>
                    <a:pt x="39052" y="20955"/>
                    <a:pt x="0" y="0"/>
                  </a:cubicBezTo>
                  <a:cubicBezTo>
                    <a:pt x="25718" y="72390"/>
                    <a:pt x="107632" y="257175"/>
                    <a:pt x="204788" y="302895"/>
                  </a:cubicBezTo>
                  <a:cubicBezTo>
                    <a:pt x="220027" y="310515"/>
                    <a:pt x="240982" y="303848"/>
                    <a:pt x="254318" y="292417"/>
                  </a:cubicBezTo>
                  <a:cubicBezTo>
                    <a:pt x="273368" y="277178"/>
                    <a:pt x="276225" y="247650"/>
                    <a:pt x="266700" y="224790"/>
                  </a:cubicBezTo>
                  <a:cubicBezTo>
                    <a:pt x="258127" y="201930"/>
                    <a:pt x="240030" y="183832"/>
                    <a:pt x="222885" y="166688"/>
                  </a:cubicBezTo>
                  <a:cubicBezTo>
                    <a:pt x="260032" y="181927"/>
                    <a:pt x="316230" y="201930"/>
                    <a:pt x="325755" y="140970"/>
                  </a:cubicBezTo>
                  <a:close/>
                </a:path>
              </a:pathLst>
            </a:custGeom>
            <a:solidFill>
              <a:schemeClr val="accent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68" name="Freeform: Shape 105">
              <a:extLst>
                <a:ext uri="{FF2B5EF4-FFF2-40B4-BE49-F238E27FC236}">
                  <a16:creationId xmlns:a16="http://schemas.microsoft.com/office/drawing/2014/main" id="{33722B20-63BA-4ACE-9F73-B8D4D6916F3B}"/>
                </a:ext>
              </a:extLst>
            </p:cNvPr>
            <p:cNvSpPr/>
            <p:nvPr/>
          </p:nvSpPr>
          <p:spPr>
            <a:xfrm>
              <a:off x="9498487" y="3123608"/>
              <a:ext cx="96260" cy="158057"/>
            </a:xfrm>
            <a:custGeom>
              <a:avLst/>
              <a:gdLst>
                <a:gd name="connsiteX0" fmla="*/ 75041 w 84742"/>
                <a:gd name="connsiteY0" fmla="*/ 117157 h 139145"/>
                <a:gd name="connsiteX1" fmla="*/ 84566 w 84742"/>
                <a:gd name="connsiteY1" fmla="*/ 98107 h 139145"/>
                <a:gd name="connsiteX2" fmla="*/ 24558 w 84742"/>
                <a:gd name="connsiteY2" fmla="*/ 0 h 139145"/>
                <a:gd name="connsiteX3" fmla="*/ 4556 w 84742"/>
                <a:gd name="connsiteY3" fmla="*/ 129540 h 139145"/>
                <a:gd name="connsiteX4" fmla="*/ 19796 w 84742"/>
                <a:gd name="connsiteY4" fmla="*/ 139065 h 139145"/>
                <a:gd name="connsiteX5" fmla="*/ 39798 w 84742"/>
                <a:gd name="connsiteY5" fmla="*/ 124777 h 139145"/>
                <a:gd name="connsiteX6" fmla="*/ 42656 w 84742"/>
                <a:gd name="connsiteY6" fmla="*/ 99060 h 139145"/>
                <a:gd name="connsiteX7" fmla="*/ 75041 w 84742"/>
                <a:gd name="connsiteY7" fmla="*/ 117157 h 139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4742" h="139145">
                  <a:moveTo>
                    <a:pt x="75041" y="117157"/>
                  </a:moveTo>
                  <a:cubicBezTo>
                    <a:pt x="80756" y="112395"/>
                    <a:pt x="83614" y="105727"/>
                    <a:pt x="84566" y="98107"/>
                  </a:cubicBezTo>
                  <a:cubicBezTo>
                    <a:pt x="88376" y="70485"/>
                    <a:pt x="29321" y="15240"/>
                    <a:pt x="24558" y="0"/>
                  </a:cubicBezTo>
                  <a:cubicBezTo>
                    <a:pt x="13128" y="25717"/>
                    <a:pt x="-9732" y="93345"/>
                    <a:pt x="4556" y="129540"/>
                  </a:cubicBezTo>
                  <a:cubicBezTo>
                    <a:pt x="6461" y="135255"/>
                    <a:pt x="14081" y="138113"/>
                    <a:pt x="19796" y="139065"/>
                  </a:cubicBezTo>
                  <a:cubicBezTo>
                    <a:pt x="28368" y="140017"/>
                    <a:pt x="35989" y="132398"/>
                    <a:pt x="39798" y="124777"/>
                  </a:cubicBezTo>
                  <a:cubicBezTo>
                    <a:pt x="42656" y="116205"/>
                    <a:pt x="42656" y="107632"/>
                    <a:pt x="42656" y="99060"/>
                  </a:cubicBezTo>
                  <a:cubicBezTo>
                    <a:pt x="47418" y="111442"/>
                    <a:pt x="57896" y="130492"/>
                    <a:pt x="75041" y="117157"/>
                  </a:cubicBezTo>
                  <a:close/>
                </a:path>
              </a:pathLst>
            </a:custGeom>
            <a:solidFill>
              <a:schemeClr val="accent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69" name="Freeform: Shape 106">
              <a:extLst>
                <a:ext uri="{FF2B5EF4-FFF2-40B4-BE49-F238E27FC236}">
                  <a16:creationId xmlns:a16="http://schemas.microsoft.com/office/drawing/2014/main" id="{4BE19302-D830-4C09-A9D7-210EC1267855}"/>
                </a:ext>
              </a:extLst>
            </p:cNvPr>
            <p:cNvSpPr/>
            <p:nvPr/>
          </p:nvSpPr>
          <p:spPr>
            <a:xfrm>
              <a:off x="9365170" y="3403291"/>
              <a:ext cx="145737" cy="104550"/>
            </a:xfrm>
            <a:custGeom>
              <a:avLst/>
              <a:gdLst>
                <a:gd name="connsiteX0" fmla="*/ 127635 w 128299"/>
                <a:gd name="connsiteY0" fmla="*/ 22387 h 92040"/>
                <a:gd name="connsiteX1" fmla="*/ 115253 w 128299"/>
                <a:gd name="connsiteY1" fmla="*/ 5242 h 92040"/>
                <a:gd name="connsiteX2" fmla="*/ 0 w 128299"/>
                <a:gd name="connsiteY2" fmla="*/ 13814 h 92040"/>
                <a:gd name="connsiteX3" fmla="*/ 105728 w 128299"/>
                <a:gd name="connsiteY3" fmla="*/ 91919 h 92040"/>
                <a:gd name="connsiteX4" fmla="*/ 120968 w 128299"/>
                <a:gd name="connsiteY4" fmla="*/ 82394 h 92040"/>
                <a:gd name="connsiteX5" fmla="*/ 117157 w 128299"/>
                <a:gd name="connsiteY5" fmla="*/ 57629 h 92040"/>
                <a:gd name="connsiteX6" fmla="*/ 95250 w 128299"/>
                <a:gd name="connsiteY6" fmla="*/ 43342 h 92040"/>
                <a:gd name="connsiteX7" fmla="*/ 127635 w 128299"/>
                <a:gd name="connsiteY7" fmla="*/ 22387 h 92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8299" h="92040">
                  <a:moveTo>
                    <a:pt x="127635" y="22387"/>
                  </a:moveTo>
                  <a:cubicBezTo>
                    <a:pt x="126682" y="14767"/>
                    <a:pt x="120968" y="10004"/>
                    <a:pt x="115253" y="5242"/>
                  </a:cubicBezTo>
                  <a:cubicBezTo>
                    <a:pt x="92393" y="-10951"/>
                    <a:pt x="16193" y="15719"/>
                    <a:pt x="0" y="13814"/>
                  </a:cubicBezTo>
                  <a:cubicBezTo>
                    <a:pt x="17145" y="35722"/>
                    <a:pt x="67628" y="88109"/>
                    <a:pt x="105728" y="91919"/>
                  </a:cubicBezTo>
                  <a:cubicBezTo>
                    <a:pt x="112395" y="92872"/>
                    <a:pt x="118110" y="88109"/>
                    <a:pt x="120968" y="82394"/>
                  </a:cubicBezTo>
                  <a:cubicBezTo>
                    <a:pt x="125730" y="74774"/>
                    <a:pt x="122873" y="64297"/>
                    <a:pt x="117157" y="57629"/>
                  </a:cubicBezTo>
                  <a:cubicBezTo>
                    <a:pt x="111443" y="50962"/>
                    <a:pt x="102870" y="47152"/>
                    <a:pt x="95250" y="43342"/>
                  </a:cubicBezTo>
                  <a:cubicBezTo>
                    <a:pt x="110490" y="44294"/>
                    <a:pt x="132398" y="44294"/>
                    <a:pt x="127635" y="22387"/>
                  </a:cubicBezTo>
                  <a:close/>
                </a:path>
              </a:pathLst>
            </a:custGeom>
            <a:solidFill>
              <a:schemeClr val="accent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70" name="Freeform: Shape 107">
              <a:extLst>
                <a:ext uri="{FF2B5EF4-FFF2-40B4-BE49-F238E27FC236}">
                  <a16:creationId xmlns:a16="http://schemas.microsoft.com/office/drawing/2014/main" id="{A61D3851-F39A-4B2C-8B60-6D0B348A8066}"/>
                </a:ext>
              </a:extLst>
            </p:cNvPr>
            <p:cNvSpPr/>
            <p:nvPr/>
          </p:nvSpPr>
          <p:spPr>
            <a:xfrm>
              <a:off x="9185565" y="4031373"/>
              <a:ext cx="220298" cy="243033"/>
            </a:xfrm>
            <a:custGeom>
              <a:avLst/>
              <a:gdLst>
                <a:gd name="connsiteX0" fmla="*/ 192405 w 193938"/>
                <a:gd name="connsiteY0" fmla="*/ 120015 h 213953"/>
                <a:gd name="connsiteX1" fmla="*/ 186690 w 193938"/>
                <a:gd name="connsiteY1" fmla="*/ 82867 h 213953"/>
                <a:gd name="connsiteX2" fmla="*/ 0 w 193938"/>
                <a:gd name="connsiteY2" fmla="*/ 0 h 213953"/>
                <a:gd name="connsiteX3" fmla="*/ 100013 w 193938"/>
                <a:gd name="connsiteY3" fmla="*/ 210502 h 213953"/>
                <a:gd name="connsiteX4" fmla="*/ 132397 w 193938"/>
                <a:gd name="connsiteY4" fmla="*/ 208597 h 213953"/>
                <a:gd name="connsiteX5" fmla="*/ 146685 w 193938"/>
                <a:gd name="connsiteY5" fmla="*/ 166688 h 213953"/>
                <a:gd name="connsiteX6" fmla="*/ 124777 w 193938"/>
                <a:gd name="connsiteY6" fmla="*/ 125730 h 213953"/>
                <a:gd name="connsiteX7" fmla="*/ 192405 w 193938"/>
                <a:gd name="connsiteY7" fmla="*/ 120015 h 2139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3938" h="213953">
                  <a:moveTo>
                    <a:pt x="192405" y="120015"/>
                  </a:moveTo>
                  <a:cubicBezTo>
                    <a:pt x="196215" y="107633"/>
                    <a:pt x="192405" y="94297"/>
                    <a:pt x="186690" y="82867"/>
                  </a:cubicBezTo>
                  <a:cubicBezTo>
                    <a:pt x="164782" y="38100"/>
                    <a:pt x="21907" y="17145"/>
                    <a:pt x="0" y="0"/>
                  </a:cubicBezTo>
                  <a:cubicBezTo>
                    <a:pt x="9525" y="48577"/>
                    <a:pt x="43815" y="172402"/>
                    <a:pt x="100013" y="210502"/>
                  </a:cubicBezTo>
                  <a:cubicBezTo>
                    <a:pt x="109538" y="216217"/>
                    <a:pt x="122872" y="214313"/>
                    <a:pt x="132397" y="208597"/>
                  </a:cubicBezTo>
                  <a:cubicBezTo>
                    <a:pt x="145732" y="200977"/>
                    <a:pt x="150495" y="181927"/>
                    <a:pt x="146685" y="166688"/>
                  </a:cubicBezTo>
                  <a:cubicBezTo>
                    <a:pt x="142875" y="151447"/>
                    <a:pt x="133350" y="138113"/>
                    <a:pt x="124777" y="125730"/>
                  </a:cubicBezTo>
                  <a:cubicBezTo>
                    <a:pt x="146685" y="139065"/>
                    <a:pt x="180022" y="157163"/>
                    <a:pt x="192405" y="120015"/>
                  </a:cubicBezTo>
                  <a:close/>
                </a:path>
              </a:pathLst>
            </a:custGeom>
            <a:solidFill>
              <a:schemeClr val="accent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71" name="Freeform: Shape 108">
              <a:extLst>
                <a:ext uri="{FF2B5EF4-FFF2-40B4-BE49-F238E27FC236}">
                  <a16:creationId xmlns:a16="http://schemas.microsoft.com/office/drawing/2014/main" id="{DAEEC9D9-9FE5-43C8-820D-F91E6874AB5C}"/>
                </a:ext>
              </a:extLst>
            </p:cNvPr>
            <p:cNvSpPr/>
            <p:nvPr/>
          </p:nvSpPr>
          <p:spPr>
            <a:xfrm>
              <a:off x="9701660" y="4310520"/>
              <a:ext cx="99539" cy="81428"/>
            </a:xfrm>
            <a:custGeom>
              <a:avLst/>
              <a:gdLst>
                <a:gd name="connsiteX0" fmla="*/ 87630 w 87629"/>
                <a:gd name="connsiteY0" fmla="*/ 26670 h 71685"/>
                <a:gd name="connsiteX1" fmla="*/ 81915 w 87629"/>
                <a:gd name="connsiteY1" fmla="*/ 12382 h 71685"/>
                <a:gd name="connsiteX2" fmla="*/ 0 w 87629"/>
                <a:gd name="connsiteY2" fmla="*/ 0 h 71685"/>
                <a:gd name="connsiteX3" fmla="*/ 60960 w 87629"/>
                <a:gd name="connsiteY3" fmla="*/ 71438 h 71685"/>
                <a:gd name="connsiteX4" fmla="*/ 73342 w 87629"/>
                <a:gd name="connsiteY4" fmla="*/ 67627 h 71685"/>
                <a:gd name="connsiteX5" fmla="*/ 74295 w 87629"/>
                <a:gd name="connsiteY5" fmla="*/ 49530 h 71685"/>
                <a:gd name="connsiteX6" fmla="*/ 60960 w 87629"/>
                <a:gd name="connsiteY6" fmla="*/ 36195 h 71685"/>
                <a:gd name="connsiteX7" fmla="*/ 87630 w 87629"/>
                <a:gd name="connsiteY7" fmla="*/ 26670 h 716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629" h="71685">
                  <a:moveTo>
                    <a:pt x="87630" y="26670"/>
                  </a:moveTo>
                  <a:cubicBezTo>
                    <a:pt x="87630" y="21907"/>
                    <a:pt x="84772" y="16192"/>
                    <a:pt x="81915" y="12382"/>
                  </a:cubicBezTo>
                  <a:cubicBezTo>
                    <a:pt x="68580" y="-2858"/>
                    <a:pt x="11430" y="3810"/>
                    <a:pt x="0" y="0"/>
                  </a:cubicBezTo>
                  <a:cubicBezTo>
                    <a:pt x="8572" y="18097"/>
                    <a:pt x="35242" y="62865"/>
                    <a:pt x="60960" y="71438"/>
                  </a:cubicBezTo>
                  <a:cubicBezTo>
                    <a:pt x="64770" y="72390"/>
                    <a:pt x="70485" y="70485"/>
                    <a:pt x="73342" y="67627"/>
                  </a:cubicBezTo>
                  <a:cubicBezTo>
                    <a:pt x="78105" y="62865"/>
                    <a:pt x="77152" y="55245"/>
                    <a:pt x="74295" y="49530"/>
                  </a:cubicBezTo>
                  <a:cubicBezTo>
                    <a:pt x="71438" y="43815"/>
                    <a:pt x="66675" y="40005"/>
                    <a:pt x="60960" y="36195"/>
                  </a:cubicBezTo>
                  <a:cubicBezTo>
                    <a:pt x="72390" y="39052"/>
                    <a:pt x="86677" y="41910"/>
                    <a:pt x="87630" y="26670"/>
                  </a:cubicBezTo>
                  <a:close/>
                </a:path>
              </a:pathLst>
            </a:custGeom>
            <a:solidFill>
              <a:schemeClr val="accent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72" name="Freeform: Shape 109">
              <a:extLst>
                <a:ext uri="{FF2B5EF4-FFF2-40B4-BE49-F238E27FC236}">
                  <a16:creationId xmlns:a16="http://schemas.microsoft.com/office/drawing/2014/main" id="{F123EB38-EBF9-41C3-9CE7-FC8840868BE3}"/>
                </a:ext>
              </a:extLst>
            </p:cNvPr>
            <p:cNvSpPr/>
            <p:nvPr/>
          </p:nvSpPr>
          <p:spPr>
            <a:xfrm>
              <a:off x="9153107" y="4305109"/>
              <a:ext cx="99541" cy="81428"/>
            </a:xfrm>
            <a:custGeom>
              <a:avLst/>
              <a:gdLst>
                <a:gd name="connsiteX0" fmla="*/ 87630 w 87630"/>
                <a:gd name="connsiteY0" fmla="*/ 26670 h 71685"/>
                <a:gd name="connsiteX1" fmla="*/ 81915 w 87630"/>
                <a:gd name="connsiteY1" fmla="*/ 12382 h 71685"/>
                <a:gd name="connsiteX2" fmla="*/ 0 w 87630"/>
                <a:gd name="connsiteY2" fmla="*/ 0 h 71685"/>
                <a:gd name="connsiteX3" fmla="*/ 60960 w 87630"/>
                <a:gd name="connsiteY3" fmla="*/ 71438 h 71685"/>
                <a:gd name="connsiteX4" fmla="*/ 73343 w 87630"/>
                <a:gd name="connsiteY4" fmla="*/ 67627 h 71685"/>
                <a:gd name="connsiteX5" fmla="*/ 74295 w 87630"/>
                <a:gd name="connsiteY5" fmla="*/ 49530 h 71685"/>
                <a:gd name="connsiteX6" fmla="*/ 60960 w 87630"/>
                <a:gd name="connsiteY6" fmla="*/ 36195 h 71685"/>
                <a:gd name="connsiteX7" fmla="*/ 87630 w 87630"/>
                <a:gd name="connsiteY7" fmla="*/ 26670 h 716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630" h="71685">
                  <a:moveTo>
                    <a:pt x="87630" y="26670"/>
                  </a:moveTo>
                  <a:cubicBezTo>
                    <a:pt x="87630" y="21907"/>
                    <a:pt x="84772" y="16192"/>
                    <a:pt x="81915" y="12382"/>
                  </a:cubicBezTo>
                  <a:cubicBezTo>
                    <a:pt x="68580" y="-2858"/>
                    <a:pt x="11430" y="3810"/>
                    <a:pt x="0" y="0"/>
                  </a:cubicBezTo>
                  <a:cubicBezTo>
                    <a:pt x="8572" y="18097"/>
                    <a:pt x="35243" y="62865"/>
                    <a:pt x="60960" y="71438"/>
                  </a:cubicBezTo>
                  <a:cubicBezTo>
                    <a:pt x="64770" y="72390"/>
                    <a:pt x="70485" y="70485"/>
                    <a:pt x="73343" y="67627"/>
                  </a:cubicBezTo>
                  <a:cubicBezTo>
                    <a:pt x="78105" y="62865"/>
                    <a:pt x="77152" y="55245"/>
                    <a:pt x="74295" y="49530"/>
                  </a:cubicBezTo>
                  <a:cubicBezTo>
                    <a:pt x="71438" y="43815"/>
                    <a:pt x="66675" y="40005"/>
                    <a:pt x="60960" y="36195"/>
                  </a:cubicBezTo>
                  <a:cubicBezTo>
                    <a:pt x="72390" y="39052"/>
                    <a:pt x="87630" y="41910"/>
                    <a:pt x="87630" y="26670"/>
                  </a:cubicBezTo>
                  <a:close/>
                </a:path>
              </a:pathLst>
            </a:custGeom>
            <a:solidFill>
              <a:schemeClr val="accent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73" name="Freeform: Shape 110">
              <a:extLst>
                <a:ext uri="{FF2B5EF4-FFF2-40B4-BE49-F238E27FC236}">
                  <a16:creationId xmlns:a16="http://schemas.microsoft.com/office/drawing/2014/main" id="{874A91C5-3DB4-4024-A875-782BD86D51A3}"/>
                </a:ext>
              </a:extLst>
            </p:cNvPr>
            <p:cNvSpPr/>
            <p:nvPr/>
          </p:nvSpPr>
          <p:spPr>
            <a:xfrm>
              <a:off x="9659465" y="4438190"/>
              <a:ext cx="137645" cy="152065"/>
            </a:xfrm>
            <a:custGeom>
              <a:avLst/>
              <a:gdLst>
                <a:gd name="connsiteX0" fmla="*/ 120015 w 121175"/>
                <a:gd name="connsiteY0" fmla="*/ 74295 h 133870"/>
                <a:gd name="connsiteX1" fmla="*/ 116205 w 121175"/>
                <a:gd name="connsiteY1" fmla="*/ 51435 h 133870"/>
                <a:gd name="connsiteX2" fmla="*/ 0 w 121175"/>
                <a:gd name="connsiteY2" fmla="*/ 0 h 133870"/>
                <a:gd name="connsiteX3" fmla="*/ 62865 w 121175"/>
                <a:gd name="connsiteY3" fmla="*/ 131445 h 133870"/>
                <a:gd name="connsiteX4" fmla="*/ 82868 w 121175"/>
                <a:gd name="connsiteY4" fmla="*/ 130493 h 133870"/>
                <a:gd name="connsiteX5" fmla="*/ 91440 w 121175"/>
                <a:gd name="connsiteY5" fmla="*/ 104775 h 133870"/>
                <a:gd name="connsiteX6" fmla="*/ 77152 w 121175"/>
                <a:gd name="connsiteY6" fmla="*/ 79058 h 133870"/>
                <a:gd name="connsiteX7" fmla="*/ 120015 w 121175"/>
                <a:gd name="connsiteY7" fmla="*/ 74295 h 1338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175" h="133870">
                  <a:moveTo>
                    <a:pt x="120015" y="74295"/>
                  </a:moveTo>
                  <a:cubicBezTo>
                    <a:pt x="122873" y="66675"/>
                    <a:pt x="120015" y="58103"/>
                    <a:pt x="116205" y="51435"/>
                  </a:cubicBezTo>
                  <a:cubicBezTo>
                    <a:pt x="102870" y="23813"/>
                    <a:pt x="13335" y="10478"/>
                    <a:pt x="0" y="0"/>
                  </a:cubicBezTo>
                  <a:cubicBezTo>
                    <a:pt x="5715" y="30480"/>
                    <a:pt x="26670" y="107633"/>
                    <a:pt x="62865" y="131445"/>
                  </a:cubicBezTo>
                  <a:cubicBezTo>
                    <a:pt x="68580" y="135255"/>
                    <a:pt x="77152" y="134303"/>
                    <a:pt x="82868" y="130493"/>
                  </a:cubicBezTo>
                  <a:cubicBezTo>
                    <a:pt x="91440" y="125730"/>
                    <a:pt x="94298" y="114300"/>
                    <a:pt x="91440" y="104775"/>
                  </a:cubicBezTo>
                  <a:cubicBezTo>
                    <a:pt x="89535" y="95250"/>
                    <a:pt x="83820" y="86678"/>
                    <a:pt x="77152" y="79058"/>
                  </a:cubicBezTo>
                  <a:cubicBezTo>
                    <a:pt x="92393" y="86678"/>
                    <a:pt x="113348" y="98108"/>
                    <a:pt x="120015" y="74295"/>
                  </a:cubicBezTo>
                  <a:close/>
                </a:path>
              </a:pathLst>
            </a:custGeom>
            <a:solidFill>
              <a:schemeClr val="accent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74" name="Freeform: Shape 111">
              <a:extLst>
                <a:ext uri="{FF2B5EF4-FFF2-40B4-BE49-F238E27FC236}">
                  <a16:creationId xmlns:a16="http://schemas.microsoft.com/office/drawing/2014/main" id="{8D66A14C-058D-437F-BEB8-774843DD0B7B}"/>
                </a:ext>
              </a:extLst>
            </p:cNvPr>
            <p:cNvSpPr/>
            <p:nvPr/>
          </p:nvSpPr>
          <p:spPr>
            <a:xfrm>
              <a:off x="9395465" y="4582942"/>
              <a:ext cx="161849" cy="113836"/>
            </a:xfrm>
            <a:custGeom>
              <a:avLst/>
              <a:gdLst>
                <a:gd name="connsiteX0" fmla="*/ 140970 w 142483"/>
                <a:gd name="connsiteY0" fmla="*/ 21158 h 100215"/>
                <a:gd name="connsiteX1" fmla="*/ 125730 w 142483"/>
                <a:gd name="connsiteY1" fmla="*/ 4013 h 100215"/>
                <a:gd name="connsiteX2" fmla="*/ 0 w 142483"/>
                <a:gd name="connsiteY2" fmla="*/ 24968 h 100215"/>
                <a:gd name="connsiteX3" fmla="*/ 124778 w 142483"/>
                <a:gd name="connsiteY3" fmla="*/ 100216 h 100215"/>
                <a:gd name="connsiteX4" fmla="*/ 140970 w 142483"/>
                <a:gd name="connsiteY4" fmla="*/ 87833 h 100215"/>
                <a:gd name="connsiteX5" fmla="*/ 134303 w 142483"/>
                <a:gd name="connsiteY5" fmla="*/ 61163 h 100215"/>
                <a:gd name="connsiteX6" fmla="*/ 108585 w 142483"/>
                <a:gd name="connsiteY6" fmla="*/ 47828 h 100215"/>
                <a:gd name="connsiteX7" fmla="*/ 140970 w 142483"/>
                <a:gd name="connsiteY7" fmla="*/ 21158 h 100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2483" h="100215">
                  <a:moveTo>
                    <a:pt x="140970" y="21158"/>
                  </a:moveTo>
                  <a:cubicBezTo>
                    <a:pt x="139065" y="13538"/>
                    <a:pt x="132398" y="7823"/>
                    <a:pt x="125730" y="4013"/>
                  </a:cubicBezTo>
                  <a:cubicBezTo>
                    <a:pt x="99060" y="-12179"/>
                    <a:pt x="18098" y="25921"/>
                    <a:pt x="0" y="24968"/>
                  </a:cubicBezTo>
                  <a:cubicBezTo>
                    <a:pt x="20955" y="46876"/>
                    <a:pt x="81915" y="100216"/>
                    <a:pt x="124778" y="100216"/>
                  </a:cubicBezTo>
                  <a:cubicBezTo>
                    <a:pt x="131445" y="100216"/>
                    <a:pt x="138113" y="94501"/>
                    <a:pt x="140970" y="87833"/>
                  </a:cubicBezTo>
                  <a:cubicBezTo>
                    <a:pt x="144780" y="79261"/>
                    <a:pt x="140970" y="67831"/>
                    <a:pt x="134303" y="61163"/>
                  </a:cubicBezTo>
                  <a:cubicBezTo>
                    <a:pt x="127635" y="54496"/>
                    <a:pt x="118110" y="50686"/>
                    <a:pt x="108585" y="47828"/>
                  </a:cubicBezTo>
                  <a:cubicBezTo>
                    <a:pt x="123825" y="46876"/>
                    <a:pt x="147638" y="44971"/>
                    <a:pt x="140970" y="21158"/>
                  </a:cubicBezTo>
                  <a:close/>
                </a:path>
              </a:pathLst>
            </a:custGeom>
            <a:solidFill>
              <a:schemeClr val="accent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75" name="Freeform: Shape 112">
              <a:extLst>
                <a:ext uri="{FF2B5EF4-FFF2-40B4-BE49-F238E27FC236}">
                  <a16:creationId xmlns:a16="http://schemas.microsoft.com/office/drawing/2014/main" id="{99C7636A-90F6-4A7A-853C-B7B46BD1622E}"/>
                </a:ext>
              </a:extLst>
            </p:cNvPr>
            <p:cNvSpPr/>
            <p:nvPr/>
          </p:nvSpPr>
          <p:spPr>
            <a:xfrm>
              <a:off x="9538283" y="4327830"/>
              <a:ext cx="122261" cy="139082"/>
            </a:xfrm>
            <a:custGeom>
              <a:avLst/>
              <a:gdLst>
                <a:gd name="connsiteX0" fmla="*/ 106680 w 107632"/>
                <a:gd name="connsiteY0" fmla="*/ 70485 h 122440"/>
                <a:gd name="connsiteX1" fmla="*/ 103823 w 107632"/>
                <a:gd name="connsiteY1" fmla="*/ 49530 h 122440"/>
                <a:gd name="connsiteX2" fmla="*/ 0 w 107632"/>
                <a:gd name="connsiteY2" fmla="*/ 0 h 122440"/>
                <a:gd name="connsiteX3" fmla="*/ 53340 w 107632"/>
                <a:gd name="connsiteY3" fmla="*/ 120015 h 122440"/>
                <a:gd name="connsiteX4" fmla="*/ 71438 w 107632"/>
                <a:gd name="connsiteY4" fmla="*/ 119063 h 122440"/>
                <a:gd name="connsiteX5" fmla="*/ 80010 w 107632"/>
                <a:gd name="connsiteY5" fmla="*/ 96203 h 122440"/>
                <a:gd name="connsiteX6" fmla="*/ 67628 w 107632"/>
                <a:gd name="connsiteY6" fmla="*/ 73342 h 122440"/>
                <a:gd name="connsiteX7" fmla="*/ 106680 w 107632"/>
                <a:gd name="connsiteY7" fmla="*/ 70485 h 122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7632" h="122440">
                  <a:moveTo>
                    <a:pt x="106680" y="70485"/>
                  </a:moveTo>
                  <a:cubicBezTo>
                    <a:pt x="108585" y="63817"/>
                    <a:pt x="107632" y="56198"/>
                    <a:pt x="103823" y="49530"/>
                  </a:cubicBezTo>
                  <a:cubicBezTo>
                    <a:pt x="92393" y="23813"/>
                    <a:pt x="12382" y="10478"/>
                    <a:pt x="0" y="0"/>
                  </a:cubicBezTo>
                  <a:cubicBezTo>
                    <a:pt x="4763" y="27623"/>
                    <a:pt x="21907" y="97155"/>
                    <a:pt x="53340" y="120015"/>
                  </a:cubicBezTo>
                  <a:cubicBezTo>
                    <a:pt x="58103" y="123825"/>
                    <a:pt x="65723" y="122873"/>
                    <a:pt x="71438" y="119063"/>
                  </a:cubicBezTo>
                  <a:cubicBezTo>
                    <a:pt x="79057" y="114300"/>
                    <a:pt x="81915" y="104775"/>
                    <a:pt x="80010" y="96203"/>
                  </a:cubicBezTo>
                  <a:cubicBezTo>
                    <a:pt x="78105" y="87630"/>
                    <a:pt x="73343" y="80010"/>
                    <a:pt x="67628" y="73342"/>
                  </a:cubicBezTo>
                  <a:cubicBezTo>
                    <a:pt x="80963" y="80963"/>
                    <a:pt x="100013" y="91440"/>
                    <a:pt x="106680" y="70485"/>
                  </a:cubicBezTo>
                  <a:close/>
                </a:path>
              </a:pathLst>
            </a:custGeom>
            <a:solidFill>
              <a:schemeClr val="accent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76" name="Freeform: Shape 113">
              <a:extLst>
                <a:ext uri="{FF2B5EF4-FFF2-40B4-BE49-F238E27FC236}">
                  <a16:creationId xmlns:a16="http://schemas.microsoft.com/office/drawing/2014/main" id="{C741C2EF-305C-421B-B987-FF4B05CD3C9D}"/>
                </a:ext>
              </a:extLst>
            </p:cNvPr>
            <p:cNvSpPr/>
            <p:nvPr/>
          </p:nvSpPr>
          <p:spPr>
            <a:xfrm>
              <a:off x="9418187" y="4177438"/>
              <a:ext cx="126356" cy="136586"/>
            </a:xfrm>
            <a:custGeom>
              <a:avLst/>
              <a:gdLst>
                <a:gd name="connsiteX0" fmla="*/ 110490 w 111237"/>
                <a:gd name="connsiteY0" fmla="*/ 65722 h 120243"/>
                <a:gd name="connsiteX1" fmla="*/ 106680 w 111237"/>
                <a:gd name="connsiteY1" fmla="*/ 44767 h 120243"/>
                <a:gd name="connsiteX2" fmla="*/ 0 w 111237"/>
                <a:gd name="connsiteY2" fmla="*/ 0 h 120243"/>
                <a:gd name="connsiteX3" fmla="*/ 59055 w 111237"/>
                <a:gd name="connsiteY3" fmla="*/ 118110 h 120243"/>
                <a:gd name="connsiteX4" fmla="*/ 77152 w 111237"/>
                <a:gd name="connsiteY4" fmla="*/ 117158 h 120243"/>
                <a:gd name="connsiteX5" fmla="*/ 84772 w 111237"/>
                <a:gd name="connsiteY5" fmla="*/ 93345 h 120243"/>
                <a:gd name="connsiteX6" fmla="*/ 71438 w 111237"/>
                <a:gd name="connsiteY6" fmla="*/ 70485 h 120243"/>
                <a:gd name="connsiteX7" fmla="*/ 110490 w 111237"/>
                <a:gd name="connsiteY7" fmla="*/ 65722 h 120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1237" h="120243">
                  <a:moveTo>
                    <a:pt x="110490" y="65722"/>
                  </a:moveTo>
                  <a:cubicBezTo>
                    <a:pt x="112395" y="59055"/>
                    <a:pt x="110490" y="51435"/>
                    <a:pt x="106680" y="44767"/>
                  </a:cubicBezTo>
                  <a:cubicBezTo>
                    <a:pt x="94297" y="20002"/>
                    <a:pt x="13335" y="9525"/>
                    <a:pt x="0" y="0"/>
                  </a:cubicBezTo>
                  <a:cubicBezTo>
                    <a:pt x="5715" y="26670"/>
                    <a:pt x="26670" y="97155"/>
                    <a:pt x="59055" y="118110"/>
                  </a:cubicBezTo>
                  <a:cubicBezTo>
                    <a:pt x="64770" y="121920"/>
                    <a:pt x="71438" y="120015"/>
                    <a:pt x="77152" y="117158"/>
                  </a:cubicBezTo>
                  <a:cubicBezTo>
                    <a:pt x="84772" y="112395"/>
                    <a:pt x="86677" y="101917"/>
                    <a:pt x="84772" y="93345"/>
                  </a:cubicBezTo>
                  <a:cubicBezTo>
                    <a:pt x="82868" y="84772"/>
                    <a:pt x="77152" y="77152"/>
                    <a:pt x="71438" y="70485"/>
                  </a:cubicBezTo>
                  <a:cubicBezTo>
                    <a:pt x="84772" y="77152"/>
                    <a:pt x="103822" y="86677"/>
                    <a:pt x="110490" y="65722"/>
                  </a:cubicBezTo>
                  <a:close/>
                </a:path>
              </a:pathLst>
            </a:custGeom>
            <a:solidFill>
              <a:schemeClr val="accent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77" name="Freeform: Shape 114">
              <a:extLst>
                <a:ext uri="{FF2B5EF4-FFF2-40B4-BE49-F238E27FC236}">
                  <a16:creationId xmlns:a16="http://schemas.microsoft.com/office/drawing/2014/main" id="{1A3C1771-E1B6-4F59-90F4-7923CC815DAF}"/>
                </a:ext>
              </a:extLst>
            </p:cNvPr>
            <p:cNvSpPr/>
            <p:nvPr/>
          </p:nvSpPr>
          <p:spPr>
            <a:xfrm>
              <a:off x="8992976" y="3035970"/>
              <a:ext cx="1858810" cy="3043555"/>
            </a:xfrm>
            <a:custGeom>
              <a:avLst/>
              <a:gdLst>
                <a:gd name="connsiteX0" fmla="*/ 1598295 w 1636394"/>
                <a:gd name="connsiteY0" fmla="*/ 1265873 h 2679382"/>
                <a:gd name="connsiteX1" fmla="*/ 1477327 w 1636394"/>
                <a:gd name="connsiteY1" fmla="*/ 1200150 h 2679382"/>
                <a:gd name="connsiteX2" fmla="*/ 1276350 w 1636394"/>
                <a:gd name="connsiteY2" fmla="*/ 1150620 h 2679382"/>
                <a:gd name="connsiteX3" fmla="*/ 1199197 w 1636394"/>
                <a:gd name="connsiteY3" fmla="*/ 1153477 h 2679382"/>
                <a:gd name="connsiteX4" fmla="*/ 1216342 w 1636394"/>
                <a:gd name="connsiteY4" fmla="*/ 1146810 h 2679382"/>
                <a:gd name="connsiteX5" fmla="*/ 1303972 w 1636394"/>
                <a:gd name="connsiteY5" fmla="*/ 1095375 h 2679382"/>
                <a:gd name="connsiteX6" fmla="*/ 1400175 w 1636394"/>
                <a:gd name="connsiteY6" fmla="*/ 987743 h 2679382"/>
                <a:gd name="connsiteX7" fmla="*/ 1418272 w 1636394"/>
                <a:gd name="connsiteY7" fmla="*/ 953452 h 2679382"/>
                <a:gd name="connsiteX8" fmla="*/ 1423988 w 1636394"/>
                <a:gd name="connsiteY8" fmla="*/ 941070 h 2679382"/>
                <a:gd name="connsiteX9" fmla="*/ 1416367 w 1636394"/>
                <a:gd name="connsiteY9" fmla="*/ 952500 h 2679382"/>
                <a:gd name="connsiteX10" fmla="*/ 1393507 w 1636394"/>
                <a:gd name="connsiteY10" fmla="*/ 982980 h 2679382"/>
                <a:gd name="connsiteX11" fmla="*/ 1289685 w 1636394"/>
                <a:gd name="connsiteY11" fmla="*/ 1074420 h 2679382"/>
                <a:gd name="connsiteX12" fmla="*/ 1203960 w 1636394"/>
                <a:gd name="connsiteY12" fmla="*/ 1114425 h 2679382"/>
                <a:gd name="connsiteX13" fmla="*/ 1096327 w 1636394"/>
                <a:gd name="connsiteY13" fmla="*/ 1148715 h 2679382"/>
                <a:gd name="connsiteX14" fmla="*/ 1037272 w 1636394"/>
                <a:gd name="connsiteY14" fmla="*/ 1175385 h 2679382"/>
                <a:gd name="connsiteX15" fmla="*/ 982027 w 1636394"/>
                <a:gd name="connsiteY15" fmla="*/ 1215390 h 2679382"/>
                <a:gd name="connsiteX16" fmla="*/ 895350 w 1636394"/>
                <a:gd name="connsiteY16" fmla="*/ 1326833 h 2679382"/>
                <a:gd name="connsiteX17" fmla="*/ 842963 w 1636394"/>
                <a:gd name="connsiteY17" fmla="*/ 1455420 h 2679382"/>
                <a:gd name="connsiteX18" fmla="*/ 839152 w 1636394"/>
                <a:gd name="connsiteY18" fmla="*/ 1469708 h 2679382"/>
                <a:gd name="connsiteX19" fmla="*/ 872490 w 1636394"/>
                <a:gd name="connsiteY19" fmla="*/ 1102043 h 2679382"/>
                <a:gd name="connsiteX20" fmla="*/ 884872 w 1636394"/>
                <a:gd name="connsiteY20" fmla="*/ 1025843 h 2679382"/>
                <a:gd name="connsiteX21" fmla="*/ 903922 w 1636394"/>
                <a:gd name="connsiteY21" fmla="*/ 968693 h 2679382"/>
                <a:gd name="connsiteX22" fmla="*/ 1209675 w 1636394"/>
                <a:gd name="connsiteY22" fmla="*/ 528638 h 2679382"/>
                <a:gd name="connsiteX23" fmla="*/ 1352550 w 1636394"/>
                <a:gd name="connsiteY23" fmla="*/ 437197 h 2679382"/>
                <a:gd name="connsiteX24" fmla="*/ 1396365 w 1636394"/>
                <a:gd name="connsiteY24" fmla="*/ 421005 h 2679382"/>
                <a:gd name="connsiteX25" fmla="*/ 1412557 w 1636394"/>
                <a:gd name="connsiteY25" fmla="*/ 416242 h 2679382"/>
                <a:gd name="connsiteX26" fmla="*/ 1396365 w 1636394"/>
                <a:gd name="connsiteY26" fmla="*/ 419100 h 2679382"/>
                <a:gd name="connsiteX27" fmla="*/ 1350645 w 1636394"/>
                <a:gd name="connsiteY27" fmla="*/ 429577 h 2679382"/>
                <a:gd name="connsiteX28" fmla="*/ 1194435 w 1636394"/>
                <a:gd name="connsiteY28" fmla="*/ 508635 h 2679382"/>
                <a:gd name="connsiteX29" fmla="*/ 1007745 w 1636394"/>
                <a:gd name="connsiteY29" fmla="*/ 690563 h 2679382"/>
                <a:gd name="connsiteX30" fmla="*/ 942022 w 1636394"/>
                <a:gd name="connsiteY30" fmla="*/ 783908 h 2679382"/>
                <a:gd name="connsiteX31" fmla="*/ 951547 w 1636394"/>
                <a:gd name="connsiteY31" fmla="*/ 633413 h 2679382"/>
                <a:gd name="connsiteX32" fmla="*/ 965835 w 1636394"/>
                <a:gd name="connsiteY32" fmla="*/ 513397 h 2679382"/>
                <a:gd name="connsiteX33" fmla="*/ 994410 w 1636394"/>
                <a:gd name="connsiteY33" fmla="*/ 436245 h 2679382"/>
                <a:gd name="connsiteX34" fmla="*/ 1005840 w 1636394"/>
                <a:gd name="connsiteY34" fmla="*/ 416242 h 2679382"/>
                <a:gd name="connsiteX35" fmla="*/ 1009650 w 1636394"/>
                <a:gd name="connsiteY35" fmla="*/ 409575 h 2679382"/>
                <a:gd name="connsiteX36" fmla="*/ 1003935 w 1636394"/>
                <a:gd name="connsiteY36" fmla="*/ 415290 h 2679382"/>
                <a:gd name="connsiteX37" fmla="*/ 987742 w 1636394"/>
                <a:gd name="connsiteY37" fmla="*/ 431483 h 2679382"/>
                <a:gd name="connsiteX38" fmla="*/ 942022 w 1636394"/>
                <a:gd name="connsiteY38" fmla="*/ 504825 h 2679382"/>
                <a:gd name="connsiteX39" fmla="*/ 908685 w 1636394"/>
                <a:gd name="connsiteY39" fmla="*/ 628650 h 2679382"/>
                <a:gd name="connsiteX40" fmla="*/ 891540 w 1636394"/>
                <a:gd name="connsiteY40" fmla="*/ 780097 h 2679382"/>
                <a:gd name="connsiteX41" fmla="*/ 873442 w 1636394"/>
                <a:gd name="connsiteY41" fmla="*/ 911543 h 2679382"/>
                <a:gd name="connsiteX42" fmla="*/ 849630 w 1636394"/>
                <a:gd name="connsiteY42" fmla="*/ 967740 h 2679382"/>
                <a:gd name="connsiteX43" fmla="*/ 809625 w 1636394"/>
                <a:gd name="connsiteY43" fmla="*/ 1088708 h 2679382"/>
                <a:gd name="connsiteX44" fmla="*/ 807720 w 1636394"/>
                <a:gd name="connsiteY44" fmla="*/ 1072515 h 2679382"/>
                <a:gd name="connsiteX45" fmla="*/ 780097 w 1636394"/>
                <a:gd name="connsiteY45" fmla="*/ 715327 h 2679382"/>
                <a:gd name="connsiteX46" fmla="*/ 799147 w 1636394"/>
                <a:gd name="connsiteY46" fmla="*/ 426720 h 2679382"/>
                <a:gd name="connsiteX47" fmla="*/ 856297 w 1636394"/>
                <a:gd name="connsiteY47" fmla="*/ 239077 h 2679382"/>
                <a:gd name="connsiteX48" fmla="*/ 869632 w 1636394"/>
                <a:gd name="connsiteY48" fmla="*/ 210502 h 2679382"/>
                <a:gd name="connsiteX49" fmla="*/ 880110 w 1636394"/>
                <a:gd name="connsiteY49" fmla="*/ 190500 h 2679382"/>
                <a:gd name="connsiteX50" fmla="*/ 888682 w 1636394"/>
                <a:gd name="connsiteY50" fmla="*/ 174307 h 2679382"/>
                <a:gd name="connsiteX51" fmla="*/ 878205 w 1636394"/>
                <a:gd name="connsiteY51" fmla="*/ 189547 h 2679382"/>
                <a:gd name="connsiteX52" fmla="*/ 865822 w 1636394"/>
                <a:gd name="connsiteY52" fmla="*/ 208597 h 2679382"/>
                <a:gd name="connsiteX53" fmla="*/ 849630 w 1636394"/>
                <a:gd name="connsiteY53" fmla="*/ 235267 h 2679382"/>
                <a:gd name="connsiteX54" fmla="*/ 775335 w 1636394"/>
                <a:gd name="connsiteY54" fmla="*/ 421005 h 2679382"/>
                <a:gd name="connsiteX55" fmla="*/ 737235 w 1636394"/>
                <a:gd name="connsiteY55" fmla="*/ 715327 h 2679382"/>
                <a:gd name="connsiteX56" fmla="*/ 739140 w 1636394"/>
                <a:gd name="connsiteY56" fmla="*/ 836295 h 2679382"/>
                <a:gd name="connsiteX57" fmla="*/ 692467 w 1636394"/>
                <a:gd name="connsiteY57" fmla="*/ 676275 h 2679382"/>
                <a:gd name="connsiteX58" fmla="*/ 551497 w 1636394"/>
                <a:gd name="connsiteY58" fmla="*/ 373380 h 2679382"/>
                <a:gd name="connsiteX59" fmla="*/ 468630 w 1636394"/>
                <a:gd name="connsiteY59" fmla="*/ 253365 h 2679382"/>
                <a:gd name="connsiteX60" fmla="*/ 426720 w 1636394"/>
                <a:gd name="connsiteY60" fmla="*/ 201930 h 2679382"/>
                <a:gd name="connsiteX61" fmla="*/ 385763 w 1636394"/>
                <a:gd name="connsiteY61" fmla="*/ 157163 h 2679382"/>
                <a:gd name="connsiteX62" fmla="*/ 247650 w 1636394"/>
                <a:gd name="connsiteY62" fmla="*/ 37147 h 2679382"/>
                <a:gd name="connsiteX63" fmla="*/ 223838 w 1636394"/>
                <a:gd name="connsiteY63" fmla="*/ 20955 h 2679382"/>
                <a:gd name="connsiteX64" fmla="*/ 206692 w 1636394"/>
                <a:gd name="connsiteY64" fmla="*/ 9525 h 2679382"/>
                <a:gd name="connsiteX65" fmla="*/ 192405 w 1636394"/>
                <a:gd name="connsiteY65" fmla="*/ 0 h 2679382"/>
                <a:gd name="connsiteX66" fmla="*/ 205740 w 1636394"/>
                <a:gd name="connsiteY66" fmla="*/ 11430 h 2679382"/>
                <a:gd name="connsiteX67" fmla="*/ 221932 w 1636394"/>
                <a:gd name="connsiteY67" fmla="*/ 24765 h 2679382"/>
                <a:gd name="connsiteX68" fmla="*/ 242888 w 1636394"/>
                <a:gd name="connsiteY68" fmla="*/ 43815 h 2679382"/>
                <a:gd name="connsiteX69" fmla="*/ 366713 w 1636394"/>
                <a:gd name="connsiteY69" fmla="*/ 175260 h 2679382"/>
                <a:gd name="connsiteX70" fmla="*/ 402907 w 1636394"/>
                <a:gd name="connsiteY70" fmla="*/ 221932 h 2679382"/>
                <a:gd name="connsiteX71" fmla="*/ 440055 w 1636394"/>
                <a:gd name="connsiteY71" fmla="*/ 274320 h 2679382"/>
                <a:gd name="connsiteX72" fmla="*/ 513397 w 1636394"/>
                <a:gd name="connsiteY72" fmla="*/ 396240 h 2679382"/>
                <a:gd name="connsiteX73" fmla="*/ 642938 w 1636394"/>
                <a:gd name="connsiteY73" fmla="*/ 694372 h 2679382"/>
                <a:gd name="connsiteX74" fmla="*/ 699135 w 1636394"/>
                <a:gd name="connsiteY74" fmla="*/ 882968 h 2679382"/>
                <a:gd name="connsiteX75" fmla="*/ 671513 w 1636394"/>
                <a:gd name="connsiteY75" fmla="*/ 842010 h 2679382"/>
                <a:gd name="connsiteX76" fmla="*/ 590550 w 1636394"/>
                <a:gd name="connsiteY76" fmla="*/ 759143 h 2679382"/>
                <a:gd name="connsiteX77" fmla="*/ 497205 w 1636394"/>
                <a:gd name="connsiteY77" fmla="*/ 692468 h 2679382"/>
                <a:gd name="connsiteX78" fmla="*/ 401955 w 1636394"/>
                <a:gd name="connsiteY78" fmla="*/ 643890 h 2679382"/>
                <a:gd name="connsiteX79" fmla="*/ 311467 w 1636394"/>
                <a:gd name="connsiteY79" fmla="*/ 612458 h 2679382"/>
                <a:gd name="connsiteX80" fmla="*/ 230505 w 1636394"/>
                <a:gd name="connsiteY80" fmla="*/ 593408 h 2679382"/>
                <a:gd name="connsiteX81" fmla="*/ 111442 w 1636394"/>
                <a:gd name="connsiteY81" fmla="*/ 579120 h 2679382"/>
                <a:gd name="connsiteX82" fmla="*/ 67627 w 1636394"/>
                <a:gd name="connsiteY82" fmla="*/ 577215 h 2679382"/>
                <a:gd name="connsiteX83" fmla="*/ 110490 w 1636394"/>
                <a:gd name="connsiteY83" fmla="*/ 586740 h 2679382"/>
                <a:gd name="connsiteX84" fmla="*/ 224790 w 1636394"/>
                <a:gd name="connsiteY84" fmla="*/ 617220 h 2679382"/>
                <a:gd name="connsiteX85" fmla="*/ 300990 w 1636394"/>
                <a:gd name="connsiteY85" fmla="*/ 643890 h 2679382"/>
                <a:gd name="connsiteX86" fmla="*/ 385763 w 1636394"/>
                <a:gd name="connsiteY86" fmla="*/ 681038 h 2679382"/>
                <a:gd name="connsiteX87" fmla="*/ 439102 w 1636394"/>
                <a:gd name="connsiteY87" fmla="*/ 710565 h 2679382"/>
                <a:gd name="connsiteX88" fmla="*/ 418147 w 1636394"/>
                <a:gd name="connsiteY88" fmla="*/ 705802 h 2679382"/>
                <a:gd name="connsiteX89" fmla="*/ 291465 w 1636394"/>
                <a:gd name="connsiteY89" fmla="*/ 715327 h 2679382"/>
                <a:gd name="connsiteX90" fmla="*/ 178117 w 1636394"/>
                <a:gd name="connsiteY90" fmla="*/ 755333 h 2679382"/>
                <a:gd name="connsiteX91" fmla="*/ 88582 w 1636394"/>
                <a:gd name="connsiteY91" fmla="*/ 783908 h 2679382"/>
                <a:gd name="connsiteX92" fmla="*/ 24765 w 1636394"/>
                <a:gd name="connsiteY92" fmla="*/ 790575 h 2679382"/>
                <a:gd name="connsiteX93" fmla="*/ 6667 w 1636394"/>
                <a:gd name="connsiteY93" fmla="*/ 789622 h 2679382"/>
                <a:gd name="connsiteX94" fmla="*/ 0 w 1636394"/>
                <a:gd name="connsiteY94" fmla="*/ 788670 h 2679382"/>
                <a:gd name="connsiteX95" fmla="*/ 5715 w 1636394"/>
                <a:gd name="connsiteY95" fmla="*/ 791527 h 2679382"/>
                <a:gd name="connsiteX96" fmla="*/ 22860 w 1636394"/>
                <a:gd name="connsiteY96" fmla="*/ 798195 h 2679382"/>
                <a:gd name="connsiteX97" fmla="*/ 90488 w 1636394"/>
                <a:gd name="connsiteY97" fmla="*/ 808672 h 2679382"/>
                <a:gd name="connsiteX98" fmla="*/ 190500 w 1636394"/>
                <a:gd name="connsiteY98" fmla="*/ 796290 h 2679382"/>
                <a:gd name="connsiteX99" fmla="*/ 303847 w 1636394"/>
                <a:gd name="connsiteY99" fmla="*/ 764858 h 2679382"/>
                <a:gd name="connsiteX100" fmla="*/ 412432 w 1636394"/>
                <a:gd name="connsiteY100" fmla="*/ 748665 h 2679382"/>
                <a:gd name="connsiteX101" fmla="*/ 501015 w 1636394"/>
                <a:gd name="connsiteY101" fmla="*/ 766763 h 2679382"/>
                <a:gd name="connsiteX102" fmla="*/ 542925 w 1636394"/>
                <a:gd name="connsiteY102" fmla="*/ 787718 h 2679382"/>
                <a:gd name="connsiteX103" fmla="*/ 621982 w 1636394"/>
                <a:gd name="connsiteY103" fmla="*/ 888683 h 2679382"/>
                <a:gd name="connsiteX104" fmla="*/ 694372 w 1636394"/>
                <a:gd name="connsiteY104" fmla="*/ 1063943 h 2679382"/>
                <a:gd name="connsiteX105" fmla="*/ 718185 w 1636394"/>
                <a:gd name="connsiteY105" fmla="*/ 1427798 h 2679382"/>
                <a:gd name="connsiteX106" fmla="*/ 620077 w 1636394"/>
                <a:gd name="connsiteY106" fmla="*/ 1370648 h 2679382"/>
                <a:gd name="connsiteX107" fmla="*/ 426720 w 1636394"/>
                <a:gd name="connsiteY107" fmla="*/ 1192530 h 2679382"/>
                <a:gd name="connsiteX108" fmla="*/ 328613 w 1636394"/>
                <a:gd name="connsiteY108" fmla="*/ 1132523 h 2679382"/>
                <a:gd name="connsiteX109" fmla="*/ 238125 w 1636394"/>
                <a:gd name="connsiteY109" fmla="*/ 1090613 h 2679382"/>
                <a:gd name="connsiteX110" fmla="*/ 101917 w 1636394"/>
                <a:gd name="connsiteY110" fmla="*/ 1046797 h 2679382"/>
                <a:gd name="connsiteX111" fmla="*/ 63817 w 1636394"/>
                <a:gd name="connsiteY111" fmla="*/ 1039177 h 2679382"/>
                <a:gd name="connsiteX112" fmla="*/ 50482 w 1636394"/>
                <a:gd name="connsiteY112" fmla="*/ 1036320 h 2679382"/>
                <a:gd name="connsiteX113" fmla="*/ 62865 w 1636394"/>
                <a:gd name="connsiteY113" fmla="*/ 1041083 h 2679382"/>
                <a:gd name="connsiteX114" fmla="*/ 99060 w 1636394"/>
                <a:gd name="connsiteY114" fmla="*/ 1054418 h 2679382"/>
                <a:gd name="connsiteX115" fmla="*/ 226695 w 1636394"/>
                <a:gd name="connsiteY115" fmla="*/ 1113473 h 2679382"/>
                <a:gd name="connsiteX116" fmla="*/ 504825 w 1636394"/>
                <a:gd name="connsiteY116" fmla="*/ 1321118 h 2679382"/>
                <a:gd name="connsiteX117" fmla="*/ 401955 w 1636394"/>
                <a:gd name="connsiteY117" fmla="*/ 1283018 h 2679382"/>
                <a:gd name="connsiteX118" fmla="*/ 280035 w 1636394"/>
                <a:gd name="connsiteY118" fmla="*/ 1277302 h 2679382"/>
                <a:gd name="connsiteX119" fmla="*/ 183832 w 1636394"/>
                <a:gd name="connsiteY119" fmla="*/ 1300163 h 2679382"/>
                <a:gd name="connsiteX120" fmla="*/ 124777 w 1636394"/>
                <a:gd name="connsiteY120" fmla="*/ 1328738 h 2679382"/>
                <a:gd name="connsiteX121" fmla="*/ 104775 w 1636394"/>
                <a:gd name="connsiteY121" fmla="*/ 1342073 h 2679382"/>
                <a:gd name="connsiteX122" fmla="*/ 127635 w 1636394"/>
                <a:gd name="connsiteY122" fmla="*/ 1336358 h 2679382"/>
                <a:gd name="connsiteX123" fmla="*/ 190500 w 1636394"/>
                <a:gd name="connsiteY123" fmla="*/ 1324927 h 2679382"/>
                <a:gd name="connsiteX124" fmla="*/ 391477 w 1636394"/>
                <a:gd name="connsiteY124" fmla="*/ 1333500 h 2679382"/>
                <a:gd name="connsiteX125" fmla="*/ 579120 w 1636394"/>
                <a:gd name="connsiteY125" fmla="*/ 1406843 h 2679382"/>
                <a:gd name="connsiteX126" fmla="*/ 584835 w 1636394"/>
                <a:gd name="connsiteY126" fmla="*/ 1410652 h 2679382"/>
                <a:gd name="connsiteX127" fmla="*/ 682942 w 1636394"/>
                <a:gd name="connsiteY127" fmla="*/ 1554480 h 2679382"/>
                <a:gd name="connsiteX128" fmla="*/ 731520 w 1636394"/>
                <a:gd name="connsiteY128" fmla="*/ 1735455 h 2679382"/>
                <a:gd name="connsiteX129" fmla="*/ 731520 w 1636394"/>
                <a:gd name="connsiteY129" fmla="*/ 2337435 h 2679382"/>
                <a:gd name="connsiteX130" fmla="*/ 733425 w 1636394"/>
                <a:gd name="connsiteY130" fmla="*/ 2587943 h 2679382"/>
                <a:gd name="connsiteX131" fmla="*/ 734377 w 1636394"/>
                <a:gd name="connsiteY131" fmla="*/ 2679383 h 2679382"/>
                <a:gd name="connsiteX132" fmla="*/ 744855 w 1636394"/>
                <a:gd name="connsiteY132" fmla="*/ 2587943 h 2679382"/>
                <a:gd name="connsiteX133" fmla="*/ 803910 w 1636394"/>
                <a:gd name="connsiteY133" fmla="*/ 2458403 h 2679382"/>
                <a:gd name="connsiteX134" fmla="*/ 809625 w 1636394"/>
                <a:gd name="connsiteY134" fmla="*/ 2524125 h 2679382"/>
                <a:gd name="connsiteX135" fmla="*/ 850582 w 1636394"/>
                <a:gd name="connsiteY135" fmla="*/ 2545080 h 2679382"/>
                <a:gd name="connsiteX136" fmla="*/ 850582 w 1636394"/>
                <a:gd name="connsiteY136" fmla="*/ 2560320 h 2679382"/>
                <a:gd name="connsiteX137" fmla="*/ 901065 w 1636394"/>
                <a:gd name="connsiteY137" fmla="*/ 2560320 h 2679382"/>
                <a:gd name="connsiteX138" fmla="*/ 881063 w 1636394"/>
                <a:gd name="connsiteY138" fmla="*/ 1749743 h 2679382"/>
                <a:gd name="connsiteX139" fmla="*/ 906780 w 1636394"/>
                <a:gd name="connsiteY139" fmla="*/ 1513523 h 2679382"/>
                <a:gd name="connsiteX140" fmla="*/ 956310 w 1636394"/>
                <a:gd name="connsiteY140" fmla="*/ 1361123 h 2679382"/>
                <a:gd name="connsiteX141" fmla="*/ 1054417 w 1636394"/>
                <a:gd name="connsiteY141" fmla="*/ 1263015 h 2679382"/>
                <a:gd name="connsiteX142" fmla="*/ 1272540 w 1636394"/>
                <a:gd name="connsiteY142" fmla="*/ 1197293 h 2679382"/>
                <a:gd name="connsiteX143" fmla="*/ 1464945 w 1636394"/>
                <a:gd name="connsiteY143" fmla="*/ 1227773 h 2679382"/>
                <a:gd name="connsiteX144" fmla="*/ 1590675 w 1636394"/>
                <a:gd name="connsiteY144" fmla="*/ 1276350 h 2679382"/>
                <a:gd name="connsiteX145" fmla="*/ 1636395 w 1636394"/>
                <a:gd name="connsiteY145" fmla="*/ 1297305 h 2679382"/>
                <a:gd name="connsiteX146" fmla="*/ 1598295 w 1636394"/>
                <a:gd name="connsiteY146" fmla="*/ 1265873 h 26793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Lst>
              <a:rect l="l" t="t" r="r" b="b"/>
              <a:pathLst>
                <a:path w="1636394" h="2679382">
                  <a:moveTo>
                    <a:pt x="1598295" y="1265873"/>
                  </a:moveTo>
                  <a:cubicBezTo>
                    <a:pt x="1570672" y="1248727"/>
                    <a:pt x="1530667" y="1223963"/>
                    <a:pt x="1477327" y="1200150"/>
                  </a:cubicBezTo>
                  <a:cubicBezTo>
                    <a:pt x="1423988" y="1177290"/>
                    <a:pt x="1356360" y="1154430"/>
                    <a:pt x="1276350" y="1150620"/>
                  </a:cubicBezTo>
                  <a:cubicBezTo>
                    <a:pt x="1251585" y="1149668"/>
                    <a:pt x="1225867" y="1149668"/>
                    <a:pt x="1199197" y="1153477"/>
                  </a:cubicBezTo>
                  <a:cubicBezTo>
                    <a:pt x="1204913" y="1151573"/>
                    <a:pt x="1210627" y="1148715"/>
                    <a:pt x="1216342" y="1146810"/>
                  </a:cubicBezTo>
                  <a:cubicBezTo>
                    <a:pt x="1249680" y="1132523"/>
                    <a:pt x="1279207" y="1114425"/>
                    <a:pt x="1303972" y="1095375"/>
                  </a:cubicBezTo>
                  <a:cubicBezTo>
                    <a:pt x="1352550" y="1057275"/>
                    <a:pt x="1383030" y="1016318"/>
                    <a:pt x="1400175" y="987743"/>
                  </a:cubicBezTo>
                  <a:cubicBezTo>
                    <a:pt x="1408747" y="973455"/>
                    <a:pt x="1414463" y="961072"/>
                    <a:pt x="1418272" y="953452"/>
                  </a:cubicBezTo>
                  <a:cubicBezTo>
                    <a:pt x="1422082" y="945833"/>
                    <a:pt x="1423988" y="941070"/>
                    <a:pt x="1423988" y="941070"/>
                  </a:cubicBezTo>
                  <a:cubicBezTo>
                    <a:pt x="1423988" y="941070"/>
                    <a:pt x="1421130" y="944880"/>
                    <a:pt x="1416367" y="952500"/>
                  </a:cubicBezTo>
                  <a:cubicBezTo>
                    <a:pt x="1411605" y="960120"/>
                    <a:pt x="1403985" y="970597"/>
                    <a:pt x="1393507" y="982980"/>
                  </a:cubicBezTo>
                  <a:cubicBezTo>
                    <a:pt x="1372552" y="1008697"/>
                    <a:pt x="1339215" y="1043940"/>
                    <a:pt x="1289685" y="1074420"/>
                  </a:cubicBezTo>
                  <a:cubicBezTo>
                    <a:pt x="1264920" y="1089660"/>
                    <a:pt x="1236345" y="1102995"/>
                    <a:pt x="1203960" y="1114425"/>
                  </a:cubicBezTo>
                  <a:cubicBezTo>
                    <a:pt x="1171575" y="1125855"/>
                    <a:pt x="1135380" y="1135380"/>
                    <a:pt x="1096327" y="1148715"/>
                  </a:cubicBezTo>
                  <a:cubicBezTo>
                    <a:pt x="1077277" y="1155383"/>
                    <a:pt x="1057275" y="1163955"/>
                    <a:pt x="1037272" y="1175385"/>
                  </a:cubicBezTo>
                  <a:cubicBezTo>
                    <a:pt x="1018222" y="1186815"/>
                    <a:pt x="999172" y="1200150"/>
                    <a:pt x="982027" y="1215390"/>
                  </a:cubicBezTo>
                  <a:cubicBezTo>
                    <a:pt x="946785" y="1245870"/>
                    <a:pt x="918210" y="1284923"/>
                    <a:pt x="895350" y="1326833"/>
                  </a:cubicBezTo>
                  <a:cubicBezTo>
                    <a:pt x="872490" y="1368743"/>
                    <a:pt x="855345" y="1412558"/>
                    <a:pt x="842963" y="1455420"/>
                  </a:cubicBezTo>
                  <a:cubicBezTo>
                    <a:pt x="842010" y="1460183"/>
                    <a:pt x="840105" y="1464945"/>
                    <a:pt x="839152" y="1469708"/>
                  </a:cubicBezTo>
                  <a:cubicBezTo>
                    <a:pt x="838200" y="1450658"/>
                    <a:pt x="865822" y="1140143"/>
                    <a:pt x="872490" y="1102043"/>
                  </a:cubicBezTo>
                  <a:cubicBezTo>
                    <a:pt x="876300" y="1075373"/>
                    <a:pt x="881063" y="1049655"/>
                    <a:pt x="884872" y="1025843"/>
                  </a:cubicBezTo>
                  <a:cubicBezTo>
                    <a:pt x="891540" y="1008697"/>
                    <a:pt x="897255" y="989647"/>
                    <a:pt x="903922" y="968693"/>
                  </a:cubicBezTo>
                  <a:cubicBezTo>
                    <a:pt x="982980" y="773430"/>
                    <a:pt x="1103947" y="619125"/>
                    <a:pt x="1209675" y="528638"/>
                  </a:cubicBezTo>
                  <a:cubicBezTo>
                    <a:pt x="1263967" y="481965"/>
                    <a:pt x="1315402" y="453390"/>
                    <a:pt x="1352550" y="437197"/>
                  </a:cubicBezTo>
                  <a:cubicBezTo>
                    <a:pt x="1371600" y="429577"/>
                    <a:pt x="1385888" y="423863"/>
                    <a:pt x="1396365" y="421005"/>
                  </a:cubicBezTo>
                  <a:cubicBezTo>
                    <a:pt x="1406842" y="418147"/>
                    <a:pt x="1412557" y="416242"/>
                    <a:pt x="1412557" y="416242"/>
                  </a:cubicBezTo>
                  <a:cubicBezTo>
                    <a:pt x="1412557" y="416242"/>
                    <a:pt x="1406842" y="417195"/>
                    <a:pt x="1396365" y="419100"/>
                  </a:cubicBezTo>
                  <a:cubicBezTo>
                    <a:pt x="1385888" y="421005"/>
                    <a:pt x="1369695" y="423863"/>
                    <a:pt x="1350645" y="429577"/>
                  </a:cubicBezTo>
                  <a:cubicBezTo>
                    <a:pt x="1311592" y="441008"/>
                    <a:pt x="1255395" y="464820"/>
                    <a:pt x="1194435" y="508635"/>
                  </a:cubicBezTo>
                  <a:cubicBezTo>
                    <a:pt x="1133475" y="551497"/>
                    <a:pt x="1068705" y="613410"/>
                    <a:pt x="1007745" y="690563"/>
                  </a:cubicBezTo>
                  <a:cubicBezTo>
                    <a:pt x="984885" y="719138"/>
                    <a:pt x="962977" y="750570"/>
                    <a:pt x="942022" y="783908"/>
                  </a:cubicBezTo>
                  <a:cubicBezTo>
                    <a:pt x="947738" y="729615"/>
                    <a:pt x="948690" y="679133"/>
                    <a:pt x="951547" y="633413"/>
                  </a:cubicBezTo>
                  <a:cubicBezTo>
                    <a:pt x="954405" y="587693"/>
                    <a:pt x="958215" y="546735"/>
                    <a:pt x="965835" y="513397"/>
                  </a:cubicBezTo>
                  <a:cubicBezTo>
                    <a:pt x="973455" y="480060"/>
                    <a:pt x="984885" y="453390"/>
                    <a:pt x="994410" y="436245"/>
                  </a:cubicBezTo>
                  <a:cubicBezTo>
                    <a:pt x="999172" y="427672"/>
                    <a:pt x="1002982" y="421005"/>
                    <a:pt x="1005840" y="416242"/>
                  </a:cubicBezTo>
                  <a:cubicBezTo>
                    <a:pt x="1008697" y="411480"/>
                    <a:pt x="1009650" y="409575"/>
                    <a:pt x="1009650" y="409575"/>
                  </a:cubicBezTo>
                  <a:cubicBezTo>
                    <a:pt x="1009650" y="409575"/>
                    <a:pt x="1007745" y="411480"/>
                    <a:pt x="1003935" y="415290"/>
                  </a:cubicBezTo>
                  <a:cubicBezTo>
                    <a:pt x="1000125" y="419100"/>
                    <a:pt x="994410" y="423863"/>
                    <a:pt x="987742" y="431483"/>
                  </a:cubicBezTo>
                  <a:cubicBezTo>
                    <a:pt x="974407" y="446722"/>
                    <a:pt x="956310" y="470535"/>
                    <a:pt x="942022" y="504825"/>
                  </a:cubicBezTo>
                  <a:cubicBezTo>
                    <a:pt x="926782" y="539115"/>
                    <a:pt x="916305" y="581025"/>
                    <a:pt x="908685" y="628650"/>
                  </a:cubicBezTo>
                  <a:cubicBezTo>
                    <a:pt x="901065" y="676275"/>
                    <a:pt x="897255" y="727710"/>
                    <a:pt x="891540" y="780097"/>
                  </a:cubicBezTo>
                  <a:cubicBezTo>
                    <a:pt x="886777" y="826770"/>
                    <a:pt x="880110" y="870585"/>
                    <a:pt x="873442" y="911543"/>
                  </a:cubicBezTo>
                  <a:cubicBezTo>
                    <a:pt x="864870" y="929640"/>
                    <a:pt x="857250" y="948690"/>
                    <a:pt x="849630" y="967740"/>
                  </a:cubicBezTo>
                  <a:cubicBezTo>
                    <a:pt x="833438" y="1008697"/>
                    <a:pt x="820102" y="1048702"/>
                    <a:pt x="809625" y="1088708"/>
                  </a:cubicBezTo>
                  <a:cubicBezTo>
                    <a:pt x="808672" y="1082993"/>
                    <a:pt x="808672" y="1078230"/>
                    <a:pt x="807720" y="1072515"/>
                  </a:cubicBezTo>
                  <a:cubicBezTo>
                    <a:pt x="796290" y="944880"/>
                    <a:pt x="782955" y="824865"/>
                    <a:pt x="780097" y="715327"/>
                  </a:cubicBezTo>
                  <a:cubicBezTo>
                    <a:pt x="776288" y="605790"/>
                    <a:pt x="783907" y="507683"/>
                    <a:pt x="799147" y="426720"/>
                  </a:cubicBezTo>
                  <a:cubicBezTo>
                    <a:pt x="814388" y="345758"/>
                    <a:pt x="837247" y="281940"/>
                    <a:pt x="856297" y="239077"/>
                  </a:cubicBezTo>
                  <a:cubicBezTo>
                    <a:pt x="861060" y="228600"/>
                    <a:pt x="864870" y="219075"/>
                    <a:pt x="869632" y="210502"/>
                  </a:cubicBezTo>
                  <a:cubicBezTo>
                    <a:pt x="873442" y="201930"/>
                    <a:pt x="877252" y="195263"/>
                    <a:pt x="880110" y="190500"/>
                  </a:cubicBezTo>
                  <a:cubicBezTo>
                    <a:pt x="885825" y="180022"/>
                    <a:pt x="888682" y="174307"/>
                    <a:pt x="888682" y="174307"/>
                  </a:cubicBezTo>
                  <a:cubicBezTo>
                    <a:pt x="888682" y="174307"/>
                    <a:pt x="884872" y="180022"/>
                    <a:pt x="878205" y="189547"/>
                  </a:cubicBezTo>
                  <a:cubicBezTo>
                    <a:pt x="874395" y="194310"/>
                    <a:pt x="870585" y="200977"/>
                    <a:pt x="865822" y="208597"/>
                  </a:cubicBezTo>
                  <a:cubicBezTo>
                    <a:pt x="861060" y="216217"/>
                    <a:pt x="855345" y="224790"/>
                    <a:pt x="849630" y="235267"/>
                  </a:cubicBezTo>
                  <a:cubicBezTo>
                    <a:pt x="825817" y="276225"/>
                    <a:pt x="797242" y="338138"/>
                    <a:pt x="775335" y="421005"/>
                  </a:cubicBezTo>
                  <a:cubicBezTo>
                    <a:pt x="753427" y="502920"/>
                    <a:pt x="739140" y="603885"/>
                    <a:pt x="737235" y="715327"/>
                  </a:cubicBezTo>
                  <a:cubicBezTo>
                    <a:pt x="736282" y="754380"/>
                    <a:pt x="737235" y="794385"/>
                    <a:pt x="739140" y="836295"/>
                  </a:cubicBezTo>
                  <a:cubicBezTo>
                    <a:pt x="725805" y="783908"/>
                    <a:pt x="710565" y="730568"/>
                    <a:pt x="692467" y="676275"/>
                  </a:cubicBezTo>
                  <a:cubicBezTo>
                    <a:pt x="653415" y="563880"/>
                    <a:pt x="605790" y="461010"/>
                    <a:pt x="551497" y="373380"/>
                  </a:cubicBezTo>
                  <a:cubicBezTo>
                    <a:pt x="524827" y="329565"/>
                    <a:pt x="496252" y="289560"/>
                    <a:pt x="468630" y="253365"/>
                  </a:cubicBezTo>
                  <a:cubicBezTo>
                    <a:pt x="454342" y="235267"/>
                    <a:pt x="441007" y="218122"/>
                    <a:pt x="426720" y="201930"/>
                  </a:cubicBezTo>
                  <a:cubicBezTo>
                    <a:pt x="412432" y="186690"/>
                    <a:pt x="399097" y="170497"/>
                    <a:pt x="385763" y="157163"/>
                  </a:cubicBezTo>
                  <a:cubicBezTo>
                    <a:pt x="331470" y="100965"/>
                    <a:pt x="282892" y="61913"/>
                    <a:pt x="247650" y="37147"/>
                  </a:cubicBezTo>
                  <a:cubicBezTo>
                    <a:pt x="239077" y="30480"/>
                    <a:pt x="231457" y="24765"/>
                    <a:pt x="223838" y="20955"/>
                  </a:cubicBezTo>
                  <a:cubicBezTo>
                    <a:pt x="217170" y="16192"/>
                    <a:pt x="211455" y="12382"/>
                    <a:pt x="206692" y="9525"/>
                  </a:cubicBezTo>
                  <a:cubicBezTo>
                    <a:pt x="197167" y="2857"/>
                    <a:pt x="192405" y="0"/>
                    <a:pt x="192405" y="0"/>
                  </a:cubicBezTo>
                  <a:cubicBezTo>
                    <a:pt x="192405" y="0"/>
                    <a:pt x="197167" y="3810"/>
                    <a:pt x="205740" y="11430"/>
                  </a:cubicBezTo>
                  <a:cubicBezTo>
                    <a:pt x="210502" y="15240"/>
                    <a:pt x="215265" y="20002"/>
                    <a:pt x="221932" y="24765"/>
                  </a:cubicBezTo>
                  <a:cubicBezTo>
                    <a:pt x="228600" y="30480"/>
                    <a:pt x="235267" y="36195"/>
                    <a:pt x="242888" y="43815"/>
                  </a:cubicBezTo>
                  <a:cubicBezTo>
                    <a:pt x="275272" y="72390"/>
                    <a:pt x="318135" y="116205"/>
                    <a:pt x="366713" y="175260"/>
                  </a:cubicBezTo>
                  <a:cubicBezTo>
                    <a:pt x="379095" y="189547"/>
                    <a:pt x="390525" y="205740"/>
                    <a:pt x="402907" y="221932"/>
                  </a:cubicBezTo>
                  <a:cubicBezTo>
                    <a:pt x="415290" y="238125"/>
                    <a:pt x="427672" y="256222"/>
                    <a:pt x="440055" y="274320"/>
                  </a:cubicBezTo>
                  <a:cubicBezTo>
                    <a:pt x="464820" y="311467"/>
                    <a:pt x="489585" y="351472"/>
                    <a:pt x="513397" y="396240"/>
                  </a:cubicBezTo>
                  <a:cubicBezTo>
                    <a:pt x="561022" y="483870"/>
                    <a:pt x="605790" y="584835"/>
                    <a:pt x="642938" y="694372"/>
                  </a:cubicBezTo>
                  <a:cubicBezTo>
                    <a:pt x="664845" y="758190"/>
                    <a:pt x="682942" y="822008"/>
                    <a:pt x="699135" y="882968"/>
                  </a:cubicBezTo>
                  <a:cubicBezTo>
                    <a:pt x="690563" y="868680"/>
                    <a:pt x="681990" y="855345"/>
                    <a:pt x="671513" y="842010"/>
                  </a:cubicBezTo>
                  <a:cubicBezTo>
                    <a:pt x="648652" y="811530"/>
                    <a:pt x="621030" y="783908"/>
                    <a:pt x="590550" y="759143"/>
                  </a:cubicBezTo>
                  <a:cubicBezTo>
                    <a:pt x="560070" y="734377"/>
                    <a:pt x="528638" y="712470"/>
                    <a:pt x="497205" y="692468"/>
                  </a:cubicBezTo>
                  <a:cubicBezTo>
                    <a:pt x="465772" y="673418"/>
                    <a:pt x="433388" y="657225"/>
                    <a:pt x="401955" y="643890"/>
                  </a:cubicBezTo>
                  <a:cubicBezTo>
                    <a:pt x="370522" y="630555"/>
                    <a:pt x="340042" y="621030"/>
                    <a:pt x="311467" y="612458"/>
                  </a:cubicBezTo>
                  <a:cubicBezTo>
                    <a:pt x="282892" y="604838"/>
                    <a:pt x="255270" y="598170"/>
                    <a:pt x="230505" y="593408"/>
                  </a:cubicBezTo>
                  <a:cubicBezTo>
                    <a:pt x="180975" y="583883"/>
                    <a:pt x="140017" y="581025"/>
                    <a:pt x="111442" y="579120"/>
                  </a:cubicBezTo>
                  <a:cubicBezTo>
                    <a:pt x="82867" y="578168"/>
                    <a:pt x="67627" y="577215"/>
                    <a:pt x="67627" y="577215"/>
                  </a:cubicBezTo>
                  <a:cubicBezTo>
                    <a:pt x="67627" y="577215"/>
                    <a:pt x="82867" y="580072"/>
                    <a:pt x="110490" y="586740"/>
                  </a:cubicBezTo>
                  <a:cubicBezTo>
                    <a:pt x="138113" y="593408"/>
                    <a:pt x="177165" y="601980"/>
                    <a:pt x="224790" y="617220"/>
                  </a:cubicBezTo>
                  <a:cubicBezTo>
                    <a:pt x="248602" y="624840"/>
                    <a:pt x="274320" y="633413"/>
                    <a:pt x="300990" y="643890"/>
                  </a:cubicBezTo>
                  <a:cubicBezTo>
                    <a:pt x="327660" y="654368"/>
                    <a:pt x="356235" y="666750"/>
                    <a:pt x="385763" y="681038"/>
                  </a:cubicBezTo>
                  <a:cubicBezTo>
                    <a:pt x="403860" y="689610"/>
                    <a:pt x="421005" y="700088"/>
                    <a:pt x="439102" y="710565"/>
                  </a:cubicBezTo>
                  <a:cubicBezTo>
                    <a:pt x="432435" y="708660"/>
                    <a:pt x="425767" y="707708"/>
                    <a:pt x="418147" y="705802"/>
                  </a:cubicBezTo>
                  <a:cubicBezTo>
                    <a:pt x="378142" y="699135"/>
                    <a:pt x="334327" y="703897"/>
                    <a:pt x="291465" y="715327"/>
                  </a:cubicBezTo>
                  <a:cubicBezTo>
                    <a:pt x="248602" y="726758"/>
                    <a:pt x="211455" y="742950"/>
                    <a:pt x="178117" y="755333"/>
                  </a:cubicBezTo>
                  <a:cubicBezTo>
                    <a:pt x="144780" y="767715"/>
                    <a:pt x="114300" y="778193"/>
                    <a:pt x="88582" y="783908"/>
                  </a:cubicBezTo>
                  <a:cubicBezTo>
                    <a:pt x="62865" y="789622"/>
                    <a:pt x="40957" y="791527"/>
                    <a:pt x="24765" y="790575"/>
                  </a:cubicBezTo>
                  <a:cubicBezTo>
                    <a:pt x="17145" y="790575"/>
                    <a:pt x="11430" y="790575"/>
                    <a:pt x="6667" y="789622"/>
                  </a:cubicBezTo>
                  <a:cubicBezTo>
                    <a:pt x="2857" y="789622"/>
                    <a:pt x="0" y="788670"/>
                    <a:pt x="0" y="788670"/>
                  </a:cubicBezTo>
                  <a:cubicBezTo>
                    <a:pt x="0" y="788670"/>
                    <a:pt x="1905" y="789622"/>
                    <a:pt x="5715" y="791527"/>
                  </a:cubicBezTo>
                  <a:cubicBezTo>
                    <a:pt x="9525" y="793433"/>
                    <a:pt x="15240" y="795338"/>
                    <a:pt x="22860" y="798195"/>
                  </a:cubicBezTo>
                  <a:cubicBezTo>
                    <a:pt x="38100" y="802958"/>
                    <a:pt x="60960" y="808672"/>
                    <a:pt x="90488" y="808672"/>
                  </a:cubicBezTo>
                  <a:cubicBezTo>
                    <a:pt x="119063" y="809625"/>
                    <a:pt x="154305" y="804863"/>
                    <a:pt x="190500" y="796290"/>
                  </a:cubicBezTo>
                  <a:cubicBezTo>
                    <a:pt x="226695" y="787718"/>
                    <a:pt x="264795" y="775335"/>
                    <a:pt x="303847" y="764858"/>
                  </a:cubicBezTo>
                  <a:cubicBezTo>
                    <a:pt x="342900" y="754380"/>
                    <a:pt x="379095" y="747713"/>
                    <a:pt x="412432" y="748665"/>
                  </a:cubicBezTo>
                  <a:cubicBezTo>
                    <a:pt x="445770" y="749618"/>
                    <a:pt x="476250" y="757238"/>
                    <a:pt x="501015" y="766763"/>
                  </a:cubicBezTo>
                  <a:cubicBezTo>
                    <a:pt x="518160" y="773430"/>
                    <a:pt x="531495" y="781050"/>
                    <a:pt x="542925" y="787718"/>
                  </a:cubicBezTo>
                  <a:cubicBezTo>
                    <a:pt x="571500" y="816293"/>
                    <a:pt x="598170" y="850583"/>
                    <a:pt x="621982" y="888683"/>
                  </a:cubicBezTo>
                  <a:cubicBezTo>
                    <a:pt x="651510" y="939165"/>
                    <a:pt x="676275" y="999172"/>
                    <a:pt x="694372" y="1063943"/>
                  </a:cubicBezTo>
                  <a:cubicBezTo>
                    <a:pt x="730567" y="1193483"/>
                    <a:pt x="705802" y="1267777"/>
                    <a:pt x="718185" y="1427798"/>
                  </a:cubicBezTo>
                  <a:cubicBezTo>
                    <a:pt x="719138" y="1444943"/>
                    <a:pt x="657225" y="1424940"/>
                    <a:pt x="620077" y="1370648"/>
                  </a:cubicBezTo>
                  <a:cubicBezTo>
                    <a:pt x="566738" y="1293495"/>
                    <a:pt x="493395" y="1238250"/>
                    <a:pt x="426720" y="1192530"/>
                  </a:cubicBezTo>
                  <a:cubicBezTo>
                    <a:pt x="393382" y="1169670"/>
                    <a:pt x="360045" y="1149668"/>
                    <a:pt x="328613" y="1132523"/>
                  </a:cubicBezTo>
                  <a:cubicBezTo>
                    <a:pt x="297180" y="1116330"/>
                    <a:pt x="266700" y="1102043"/>
                    <a:pt x="238125" y="1090613"/>
                  </a:cubicBezTo>
                  <a:cubicBezTo>
                    <a:pt x="181927" y="1067752"/>
                    <a:pt x="134302" y="1054418"/>
                    <a:pt x="101917" y="1046797"/>
                  </a:cubicBezTo>
                  <a:cubicBezTo>
                    <a:pt x="85725" y="1042988"/>
                    <a:pt x="72390" y="1041083"/>
                    <a:pt x="63817" y="1039177"/>
                  </a:cubicBezTo>
                  <a:cubicBezTo>
                    <a:pt x="55245" y="1037272"/>
                    <a:pt x="50482" y="1036320"/>
                    <a:pt x="50482" y="1036320"/>
                  </a:cubicBezTo>
                  <a:cubicBezTo>
                    <a:pt x="50482" y="1036320"/>
                    <a:pt x="55245" y="1038225"/>
                    <a:pt x="62865" y="1041083"/>
                  </a:cubicBezTo>
                  <a:cubicBezTo>
                    <a:pt x="71438" y="1043940"/>
                    <a:pt x="83820" y="1047750"/>
                    <a:pt x="99060" y="1054418"/>
                  </a:cubicBezTo>
                  <a:cubicBezTo>
                    <a:pt x="130492" y="1066800"/>
                    <a:pt x="174307" y="1085850"/>
                    <a:pt x="226695" y="1113473"/>
                  </a:cubicBezTo>
                  <a:cubicBezTo>
                    <a:pt x="308610" y="1157288"/>
                    <a:pt x="410527" y="1225868"/>
                    <a:pt x="504825" y="1321118"/>
                  </a:cubicBezTo>
                  <a:cubicBezTo>
                    <a:pt x="474345" y="1304925"/>
                    <a:pt x="440055" y="1291590"/>
                    <a:pt x="401955" y="1283018"/>
                  </a:cubicBezTo>
                  <a:cubicBezTo>
                    <a:pt x="359092" y="1274445"/>
                    <a:pt x="317182" y="1273493"/>
                    <a:pt x="280035" y="1277302"/>
                  </a:cubicBezTo>
                  <a:cubicBezTo>
                    <a:pt x="242888" y="1281113"/>
                    <a:pt x="210502" y="1289685"/>
                    <a:pt x="183832" y="1300163"/>
                  </a:cubicBezTo>
                  <a:cubicBezTo>
                    <a:pt x="157163" y="1309688"/>
                    <a:pt x="138113" y="1320165"/>
                    <a:pt x="124777" y="1328738"/>
                  </a:cubicBezTo>
                  <a:cubicBezTo>
                    <a:pt x="111442" y="1336358"/>
                    <a:pt x="104775" y="1342073"/>
                    <a:pt x="104775" y="1342073"/>
                  </a:cubicBezTo>
                  <a:cubicBezTo>
                    <a:pt x="104775" y="1342073"/>
                    <a:pt x="113347" y="1340168"/>
                    <a:pt x="127635" y="1336358"/>
                  </a:cubicBezTo>
                  <a:cubicBezTo>
                    <a:pt x="142875" y="1332548"/>
                    <a:pt x="163830" y="1328738"/>
                    <a:pt x="190500" y="1324927"/>
                  </a:cubicBezTo>
                  <a:cubicBezTo>
                    <a:pt x="242888" y="1318260"/>
                    <a:pt x="315277" y="1317308"/>
                    <a:pt x="391477" y="1333500"/>
                  </a:cubicBezTo>
                  <a:cubicBezTo>
                    <a:pt x="467677" y="1349693"/>
                    <a:pt x="533400" y="1379220"/>
                    <a:pt x="579120" y="1406843"/>
                  </a:cubicBezTo>
                  <a:cubicBezTo>
                    <a:pt x="581025" y="1407795"/>
                    <a:pt x="582930" y="1408748"/>
                    <a:pt x="584835" y="1410652"/>
                  </a:cubicBezTo>
                  <a:cubicBezTo>
                    <a:pt x="622935" y="1457325"/>
                    <a:pt x="655320" y="1505902"/>
                    <a:pt x="682942" y="1554480"/>
                  </a:cubicBezTo>
                  <a:cubicBezTo>
                    <a:pt x="703897" y="1607820"/>
                    <a:pt x="719138" y="1669733"/>
                    <a:pt x="731520" y="1735455"/>
                  </a:cubicBezTo>
                  <a:cubicBezTo>
                    <a:pt x="743902" y="1802130"/>
                    <a:pt x="730567" y="2294573"/>
                    <a:pt x="731520" y="2337435"/>
                  </a:cubicBezTo>
                  <a:cubicBezTo>
                    <a:pt x="732472" y="2443162"/>
                    <a:pt x="732472" y="2528887"/>
                    <a:pt x="733425" y="2587943"/>
                  </a:cubicBezTo>
                  <a:cubicBezTo>
                    <a:pt x="734377" y="2646998"/>
                    <a:pt x="734377" y="2679383"/>
                    <a:pt x="734377" y="2679383"/>
                  </a:cubicBezTo>
                  <a:cubicBezTo>
                    <a:pt x="734377" y="2679383"/>
                    <a:pt x="738188" y="2646998"/>
                    <a:pt x="744855" y="2587943"/>
                  </a:cubicBezTo>
                  <a:cubicBezTo>
                    <a:pt x="748665" y="2556510"/>
                    <a:pt x="799147" y="2505075"/>
                    <a:pt x="803910" y="2458403"/>
                  </a:cubicBezTo>
                  <a:cubicBezTo>
                    <a:pt x="805815" y="2480310"/>
                    <a:pt x="806767" y="2502218"/>
                    <a:pt x="809625" y="2524125"/>
                  </a:cubicBezTo>
                  <a:cubicBezTo>
                    <a:pt x="811530" y="2546033"/>
                    <a:pt x="837247" y="2553653"/>
                    <a:pt x="850582" y="2545080"/>
                  </a:cubicBezTo>
                  <a:cubicBezTo>
                    <a:pt x="850582" y="2549843"/>
                    <a:pt x="850582" y="2555558"/>
                    <a:pt x="850582" y="2560320"/>
                  </a:cubicBezTo>
                  <a:cubicBezTo>
                    <a:pt x="851535" y="2592705"/>
                    <a:pt x="902017" y="2592705"/>
                    <a:pt x="901065" y="2560320"/>
                  </a:cubicBezTo>
                  <a:cubicBezTo>
                    <a:pt x="899160" y="2465070"/>
                    <a:pt x="875347" y="1844040"/>
                    <a:pt x="881063" y="1749743"/>
                  </a:cubicBezTo>
                  <a:cubicBezTo>
                    <a:pt x="885825" y="1664018"/>
                    <a:pt x="892492" y="1584008"/>
                    <a:pt x="906780" y="1513523"/>
                  </a:cubicBezTo>
                  <a:cubicBezTo>
                    <a:pt x="918210" y="1455420"/>
                    <a:pt x="935355" y="1403985"/>
                    <a:pt x="956310" y="1361123"/>
                  </a:cubicBezTo>
                  <a:cubicBezTo>
                    <a:pt x="982980" y="1324927"/>
                    <a:pt x="1015365" y="1290638"/>
                    <a:pt x="1054417" y="1263015"/>
                  </a:cubicBezTo>
                  <a:cubicBezTo>
                    <a:pt x="1121092" y="1215390"/>
                    <a:pt x="1200150" y="1198245"/>
                    <a:pt x="1272540" y="1197293"/>
                  </a:cubicBezTo>
                  <a:cubicBezTo>
                    <a:pt x="1344930" y="1196340"/>
                    <a:pt x="1410652" y="1211580"/>
                    <a:pt x="1464945" y="1227773"/>
                  </a:cubicBezTo>
                  <a:cubicBezTo>
                    <a:pt x="1519238" y="1244918"/>
                    <a:pt x="1561147" y="1263015"/>
                    <a:pt x="1590675" y="1276350"/>
                  </a:cubicBezTo>
                  <a:cubicBezTo>
                    <a:pt x="1620202" y="1289685"/>
                    <a:pt x="1636395" y="1297305"/>
                    <a:pt x="1636395" y="1297305"/>
                  </a:cubicBezTo>
                  <a:cubicBezTo>
                    <a:pt x="1636395" y="1297305"/>
                    <a:pt x="1625917" y="1283970"/>
                    <a:pt x="1598295" y="1265873"/>
                  </a:cubicBezTo>
                  <a:close/>
                </a:path>
              </a:pathLst>
            </a:custGeom>
            <a:solidFill>
              <a:srgbClr val="754C29"/>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78" name="Freeform: Shape 115">
              <a:extLst>
                <a:ext uri="{FF2B5EF4-FFF2-40B4-BE49-F238E27FC236}">
                  <a16:creationId xmlns:a16="http://schemas.microsoft.com/office/drawing/2014/main" id="{235B25DE-9626-4C0E-8BCF-12528BE8C826}"/>
                </a:ext>
              </a:extLst>
            </p:cNvPr>
            <p:cNvSpPr/>
            <p:nvPr/>
          </p:nvSpPr>
          <p:spPr>
            <a:xfrm>
              <a:off x="9364134" y="5722478"/>
              <a:ext cx="1112458" cy="440611"/>
            </a:xfrm>
            <a:custGeom>
              <a:avLst/>
              <a:gdLst>
                <a:gd name="connsiteX0" fmla="*/ 966747 w 979347"/>
                <a:gd name="connsiteY0" fmla="*/ 357188 h 387890"/>
                <a:gd name="connsiteX1" fmla="*/ 654327 w 979347"/>
                <a:gd name="connsiteY1" fmla="*/ 361950 h 387890"/>
                <a:gd name="connsiteX2" fmla="*/ 302855 w 979347"/>
                <a:gd name="connsiteY2" fmla="*/ 374332 h 387890"/>
                <a:gd name="connsiteX3" fmla="*/ 16152 w 979347"/>
                <a:gd name="connsiteY3" fmla="*/ 372428 h 387890"/>
                <a:gd name="connsiteX4" fmla="*/ 201890 w 979347"/>
                <a:gd name="connsiteY4" fmla="*/ 188595 h 387890"/>
                <a:gd name="connsiteX5" fmla="*/ 391437 w 979347"/>
                <a:gd name="connsiteY5" fmla="*/ 34290 h 387890"/>
                <a:gd name="connsiteX6" fmla="*/ 433347 w 979347"/>
                <a:gd name="connsiteY6" fmla="*/ 11430 h 387890"/>
                <a:gd name="connsiteX7" fmla="*/ 481924 w 979347"/>
                <a:gd name="connsiteY7" fmla="*/ 0 h 387890"/>
                <a:gd name="connsiteX8" fmla="*/ 486687 w 979347"/>
                <a:gd name="connsiteY8" fmla="*/ 0 h 387890"/>
                <a:gd name="connsiteX9" fmla="*/ 560030 w 979347"/>
                <a:gd name="connsiteY9" fmla="*/ 26670 h 387890"/>
                <a:gd name="connsiteX10" fmla="*/ 747672 w 979347"/>
                <a:gd name="connsiteY10" fmla="*/ 126682 h 387890"/>
                <a:gd name="connsiteX11" fmla="*/ 839112 w 979347"/>
                <a:gd name="connsiteY11" fmla="*/ 190500 h 387890"/>
                <a:gd name="connsiteX12" fmla="*/ 892452 w 979347"/>
                <a:gd name="connsiteY12" fmla="*/ 255270 h 387890"/>
                <a:gd name="connsiteX13" fmla="*/ 956269 w 979347"/>
                <a:gd name="connsiteY13" fmla="*/ 297180 h 387890"/>
                <a:gd name="connsiteX14" fmla="*/ 966747 w 979347"/>
                <a:gd name="connsiteY14" fmla="*/ 357188 h 387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79347" h="387890">
                  <a:moveTo>
                    <a:pt x="966747" y="357188"/>
                  </a:moveTo>
                  <a:cubicBezTo>
                    <a:pt x="746719" y="383857"/>
                    <a:pt x="663852" y="361950"/>
                    <a:pt x="654327" y="361950"/>
                  </a:cubicBezTo>
                  <a:cubicBezTo>
                    <a:pt x="512405" y="362903"/>
                    <a:pt x="467637" y="410528"/>
                    <a:pt x="302855" y="374332"/>
                  </a:cubicBezTo>
                  <a:cubicBezTo>
                    <a:pt x="227607" y="358140"/>
                    <a:pt x="99019" y="382905"/>
                    <a:pt x="16152" y="372428"/>
                  </a:cubicBezTo>
                  <a:cubicBezTo>
                    <a:pt x="-58143" y="362903"/>
                    <a:pt x="144740" y="223838"/>
                    <a:pt x="201890" y="188595"/>
                  </a:cubicBezTo>
                  <a:cubicBezTo>
                    <a:pt x="262849" y="151447"/>
                    <a:pt x="330477" y="71438"/>
                    <a:pt x="391437" y="34290"/>
                  </a:cubicBezTo>
                  <a:cubicBezTo>
                    <a:pt x="404772" y="25717"/>
                    <a:pt x="419060" y="17145"/>
                    <a:pt x="433347" y="11430"/>
                  </a:cubicBezTo>
                  <a:cubicBezTo>
                    <a:pt x="448587" y="4763"/>
                    <a:pt x="464780" y="0"/>
                    <a:pt x="481924" y="0"/>
                  </a:cubicBezTo>
                  <a:cubicBezTo>
                    <a:pt x="483830" y="0"/>
                    <a:pt x="484782" y="0"/>
                    <a:pt x="486687" y="0"/>
                  </a:cubicBezTo>
                  <a:cubicBezTo>
                    <a:pt x="512405" y="1905"/>
                    <a:pt x="537169" y="14288"/>
                    <a:pt x="560030" y="26670"/>
                  </a:cubicBezTo>
                  <a:cubicBezTo>
                    <a:pt x="622894" y="60007"/>
                    <a:pt x="684807" y="93345"/>
                    <a:pt x="747672" y="126682"/>
                  </a:cubicBezTo>
                  <a:cubicBezTo>
                    <a:pt x="781010" y="143828"/>
                    <a:pt x="814347" y="162878"/>
                    <a:pt x="839112" y="190500"/>
                  </a:cubicBezTo>
                  <a:cubicBezTo>
                    <a:pt x="858162" y="211455"/>
                    <a:pt x="870544" y="237172"/>
                    <a:pt x="892452" y="255270"/>
                  </a:cubicBezTo>
                  <a:cubicBezTo>
                    <a:pt x="912455" y="271463"/>
                    <a:pt x="938172" y="279082"/>
                    <a:pt x="956269" y="297180"/>
                  </a:cubicBezTo>
                  <a:cubicBezTo>
                    <a:pt x="975319" y="314325"/>
                    <a:pt x="991512" y="354330"/>
                    <a:pt x="966747" y="357188"/>
                  </a:cubicBezTo>
                  <a:close/>
                </a:path>
              </a:pathLst>
            </a:custGeom>
            <a:solidFill>
              <a:srgbClr val="322B27"/>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sp>
        <p:nvSpPr>
          <p:cNvPr id="79" name="TextBox 116">
            <a:extLst>
              <a:ext uri="{FF2B5EF4-FFF2-40B4-BE49-F238E27FC236}">
                <a16:creationId xmlns:a16="http://schemas.microsoft.com/office/drawing/2014/main" id="{AC0557D6-E606-404C-BF80-5CBEBBBC443A}"/>
              </a:ext>
            </a:extLst>
          </p:cNvPr>
          <p:cNvSpPr txBox="1"/>
          <p:nvPr/>
        </p:nvSpPr>
        <p:spPr>
          <a:xfrm>
            <a:off x="452461" y="4264829"/>
            <a:ext cx="2326088" cy="617157"/>
          </a:xfrm>
          <a:prstGeom prst="rect">
            <a:avLst/>
          </a:prstGeom>
          <a:noFill/>
        </p:spPr>
        <p:txBody>
          <a:bodyPr wrap="square" rtlCol="0">
            <a:sp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等线" panose="020F0502020204030204"/>
                <a:ea typeface="Times New Roman" panose="02020603050405020304" pitchFamily="18" charset="0"/>
                <a:cs typeface="Raleway" panose="020B0503030101060003" pitchFamily="34" charset="0"/>
              </a:rPr>
              <a:t>Lorem ipsum dolor sit amet, consectetur adipiscing elit. </a:t>
            </a:r>
            <a:endPar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80" name="TextBox 117">
            <a:extLst>
              <a:ext uri="{FF2B5EF4-FFF2-40B4-BE49-F238E27FC236}">
                <a16:creationId xmlns:a16="http://schemas.microsoft.com/office/drawing/2014/main" id="{0DE589EB-30B1-4BD0-921D-B5B808E887DE}"/>
              </a:ext>
            </a:extLst>
          </p:cNvPr>
          <p:cNvSpPr txBox="1"/>
          <p:nvPr/>
        </p:nvSpPr>
        <p:spPr>
          <a:xfrm>
            <a:off x="802550" y="4002693"/>
            <a:ext cx="1625910" cy="33855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等线 Light" panose="020F0302020204030204"/>
                <a:ea typeface="+mn-ea"/>
                <a:cs typeface="+mn-cs"/>
              </a:rPr>
              <a:t>Description</a:t>
            </a:r>
          </a:p>
        </p:txBody>
      </p:sp>
      <p:sp>
        <p:nvSpPr>
          <p:cNvPr id="81" name="TextBox 118">
            <a:extLst>
              <a:ext uri="{FF2B5EF4-FFF2-40B4-BE49-F238E27FC236}">
                <a16:creationId xmlns:a16="http://schemas.microsoft.com/office/drawing/2014/main" id="{5F028114-9A42-4D2B-BF34-A26B5FDF0B6C}"/>
              </a:ext>
            </a:extLst>
          </p:cNvPr>
          <p:cNvSpPr txBox="1"/>
          <p:nvPr/>
        </p:nvSpPr>
        <p:spPr>
          <a:xfrm>
            <a:off x="1095926" y="3527017"/>
            <a:ext cx="1039156" cy="46166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000000"/>
                </a:solidFill>
                <a:effectLst/>
                <a:uLnTx/>
                <a:uFillTx/>
                <a:latin typeface="等线 Light" panose="020F0302020204030204"/>
                <a:ea typeface="+mn-ea"/>
                <a:cs typeface="+mn-cs"/>
              </a:rPr>
              <a:t>1999</a:t>
            </a:r>
          </a:p>
        </p:txBody>
      </p:sp>
      <p:sp>
        <p:nvSpPr>
          <p:cNvPr id="82" name="TextBox 122">
            <a:extLst>
              <a:ext uri="{FF2B5EF4-FFF2-40B4-BE49-F238E27FC236}">
                <a16:creationId xmlns:a16="http://schemas.microsoft.com/office/drawing/2014/main" id="{225F766C-5B4F-4889-854B-297339DC28B3}"/>
              </a:ext>
            </a:extLst>
          </p:cNvPr>
          <p:cNvSpPr txBox="1"/>
          <p:nvPr/>
        </p:nvSpPr>
        <p:spPr>
          <a:xfrm>
            <a:off x="2485081" y="3814067"/>
            <a:ext cx="2326088" cy="617157"/>
          </a:xfrm>
          <a:prstGeom prst="rect">
            <a:avLst/>
          </a:prstGeom>
          <a:noFill/>
        </p:spPr>
        <p:txBody>
          <a:bodyPr wrap="square" rtlCol="0">
            <a:sp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等线" panose="020F0502020204030204"/>
                <a:ea typeface="Times New Roman" panose="02020603050405020304" pitchFamily="18" charset="0"/>
                <a:cs typeface="Raleway" panose="020B0503030101060003" pitchFamily="34" charset="0"/>
              </a:rPr>
              <a:t>Lorem ipsum dolor sit amet, consectetur adipiscing elit. </a:t>
            </a:r>
            <a:endPar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83" name="TextBox 123">
            <a:extLst>
              <a:ext uri="{FF2B5EF4-FFF2-40B4-BE49-F238E27FC236}">
                <a16:creationId xmlns:a16="http://schemas.microsoft.com/office/drawing/2014/main" id="{48341444-D8A8-498D-98FE-E21C73CEF040}"/>
              </a:ext>
            </a:extLst>
          </p:cNvPr>
          <p:cNvSpPr txBox="1"/>
          <p:nvPr/>
        </p:nvSpPr>
        <p:spPr>
          <a:xfrm>
            <a:off x="2835170" y="3551931"/>
            <a:ext cx="1625910" cy="33855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等线 Light" panose="020F0302020204030204"/>
                <a:ea typeface="+mn-ea"/>
                <a:cs typeface="+mn-cs"/>
              </a:rPr>
              <a:t>Description</a:t>
            </a:r>
          </a:p>
        </p:txBody>
      </p:sp>
      <p:sp>
        <p:nvSpPr>
          <p:cNvPr id="84" name="TextBox 124">
            <a:extLst>
              <a:ext uri="{FF2B5EF4-FFF2-40B4-BE49-F238E27FC236}">
                <a16:creationId xmlns:a16="http://schemas.microsoft.com/office/drawing/2014/main" id="{E36CC2BA-1E51-4DAB-9451-DE4F0FED53A4}"/>
              </a:ext>
            </a:extLst>
          </p:cNvPr>
          <p:cNvSpPr txBox="1"/>
          <p:nvPr/>
        </p:nvSpPr>
        <p:spPr>
          <a:xfrm>
            <a:off x="3128546" y="3076255"/>
            <a:ext cx="1039156" cy="46166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000000"/>
                </a:solidFill>
                <a:effectLst/>
                <a:uLnTx/>
                <a:uFillTx/>
                <a:latin typeface="等线 Light" panose="020F0302020204030204"/>
                <a:ea typeface="+mn-ea"/>
                <a:cs typeface="+mn-cs"/>
              </a:rPr>
              <a:t>2000</a:t>
            </a:r>
          </a:p>
        </p:txBody>
      </p:sp>
      <p:sp>
        <p:nvSpPr>
          <p:cNvPr id="85" name="TextBox 125">
            <a:extLst>
              <a:ext uri="{FF2B5EF4-FFF2-40B4-BE49-F238E27FC236}">
                <a16:creationId xmlns:a16="http://schemas.microsoft.com/office/drawing/2014/main" id="{A15A249D-3895-479C-91AA-65C6866BB169}"/>
              </a:ext>
            </a:extLst>
          </p:cNvPr>
          <p:cNvSpPr txBox="1"/>
          <p:nvPr/>
        </p:nvSpPr>
        <p:spPr>
          <a:xfrm>
            <a:off x="4537128" y="3536921"/>
            <a:ext cx="2326088" cy="617157"/>
          </a:xfrm>
          <a:prstGeom prst="rect">
            <a:avLst/>
          </a:prstGeom>
          <a:noFill/>
        </p:spPr>
        <p:txBody>
          <a:bodyPr wrap="square" rtlCol="0">
            <a:sp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等线" panose="020F0502020204030204"/>
                <a:ea typeface="Times New Roman" panose="02020603050405020304" pitchFamily="18" charset="0"/>
                <a:cs typeface="Raleway" panose="020B0503030101060003" pitchFamily="34" charset="0"/>
              </a:rPr>
              <a:t>Lorem ipsum dolor sit amet, consectetur adipiscing elit. </a:t>
            </a:r>
            <a:endPar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86" name="TextBox 126">
            <a:extLst>
              <a:ext uri="{FF2B5EF4-FFF2-40B4-BE49-F238E27FC236}">
                <a16:creationId xmlns:a16="http://schemas.microsoft.com/office/drawing/2014/main" id="{63B04991-47A5-45BA-94B5-BED4D87587A1}"/>
              </a:ext>
            </a:extLst>
          </p:cNvPr>
          <p:cNvSpPr txBox="1"/>
          <p:nvPr/>
        </p:nvSpPr>
        <p:spPr>
          <a:xfrm>
            <a:off x="4887217" y="3274785"/>
            <a:ext cx="1625910" cy="33855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等线 Light" panose="020F0302020204030204"/>
                <a:ea typeface="+mn-ea"/>
                <a:cs typeface="+mn-cs"/>
              </a:rPr>
              <a:t>Description</a:t>
            </a:r>
          </a:p>
        </p:txBody>
      </p:sp>
      <p:sp>
        <p:nvSpPr>
          <p:cNvPr id="87" name="TextBox 127">
            <a:extLst>
              <a:ext uri="{FF2B5EF4-FFF2-40B4-BE49-F238E27FC236}">
                <a16:creationId xmlns:a16="http://schemas.microsoft.com/office/drawing/2014/main" id="{FDAFFAC0-AF56-4A9F-8754-DA91FE84E58C}"/>
              </a:ext>
            </a:extLst>
          </p:cNvPr>
          <p:cNvSpPr txBox="1"/>
          <p:nvPr/>
        </p:nvSpPr>
        <p:spPr>
          <a:xfrm>
            <a:off x="5180593" y="2799109"/>
            <a:ext cx="1039156" cy="46166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000000"/>
                </a:solidFill>
                <a:effectLst/>
                <a:uLnTx/>
                <a:uFillTx/>
                <a:latin typeface="等线 Light" panose="020F0302020204030204"/>
                <a:ea typeface="+mn-ea"/>
                <a:cs typeface="+mn-cs"/>
              </a:rPr>
              <a:t>2005</a:t>
            </a:r>
          </a:p>
        </p:txBody>
      </p:sp>
      <p:sp>
        <p:nvSpPr>
          <p:cNvPr id="88" name="TextBox 128">
            <a:extLst>
              <a:ext uri="{FF2B5EF4-FFF2-40B4-BE49-F238E27FC236}">
                <a16:creationId xmlns:a16="http://schemas.microsoft.com/office/drawing/2014/main" id="{EC856796-2255-4EA5-8BFB-88261DEF5062}"/>
              </a:ext>
            </a:extLst>
          </p:cNvPr>
          <p:cNvSpPr txBox="1"/>
          <p:nvPr/>
        </p:nvSpPr>
        <p:spPr>
          <a:xfrm>
            <a:off x="6729992" y="3111656"/>
            <a:ext cx="2326088" cy="617157"/>
          </a:xfrm>
          <a:prstGeom prst="rect">
            <a:avLst/>
          </a:prstGeom>
          <a:noFill/>
        </p:spPr>
        <p:txBody>
          <a:bodyPr wrap="square" rtlCol="0">
            <a:sp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等线" panose="020F0502020204030204"/>
                <a:ea typeface="Times New Roman" panose="02020603050405020304" pitchFamily="18" charset="0"/>
                <a:cs typeface="Raleway" panose="020B0503030101060003" pitchFamily="34" charset="0"/>
              </a:rPr>
              <a:t>Lorem ipsum dolor sit amet, consectetur adipiscing elit. </a:t>
            </a:r>
            <a:endPar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89" name="TextBox 129">
            <a:extLst>
              <a:ext uri="{FF2B5EF4-FFF2-40B4-BE49-F238E27FC236}">
                <a16:creationId xmlns:a16="http://schemas.microsoft.com/office/drawing/2014/main" id="{2DD462E3-FD80-454B-AF23-1BCE5DBD2308}"/>
              </a:ext>
            </a:extLst>
          </p:cNvPr>
          <p:cNvSpPr txBox="1"/>
          <p:nvPr/>
        </p:nvSpPr>
        <p:spPr>
          <a:xfrm>
            <a:off x="7080081" y="2849520"/>
            <a:ext cx="1625910" cy="33855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等线 Light" panose="020F0302020204030204"/>
                <a:ea typeface="+mn-ea"/>
                <a:cs typeface="+mn-cs"/>
              </a:rPr>
              <a:t>Description</a:t>
            </a:r>
          </a:p>
        </p:txBody>
      </p:sp>
      <p:sp>
        <p:nvSpPr>
          <p:cNvPr id="90" name="TextBox 130">
            <a:extLst>
              <a:ext uri="{FF2B5EF4-FFF2-40B4-BE49-F238E27FC236}">
                <a16:creationId xmlns:a16="http://schemas.microsoft.com/office/drawing/2014/main" id="{94066840-E194-465D-8216-200CB759D5F1}"/>
              </a:ext>
            </a:extLst>
          </p:cNvPr>
          <p:cNvSpPr txBox="1"/>
          <p:nvPr/>
        </p:nvSpPr>
        <p:spPr>
          <a:xfrm>
            <a:off x="7373457" y="2373844"/>
            <a:ext cx="1039156" cy="46166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000000"/>
                </a:solidFill>
                <a:effectLst/>
                <a:uLnTx/>
                <a:uFillTx/>
                <a:latin typeface="等线 Light" panose="020F0302020204030204"/>
                <a:ea typeface="+mn-ea"/>
                <a:cs typeface="+mn-cs"/>
              </a:rPr>
              <a:t>2010</a:t>
            </a:r>
          </a:p>
        </p:txBody>
      </p:sp>
      <p:sp>
        <p:nvSpPr>
          <p:cNvPr id="91" name="TextBox 131">
            <a:extLst>
              <a:ext uri="{FF2B5EF4-FFF2-40B4-BE49-F238E27FC236}">
                <a16:creationId xmlns:a16="http://schemas.microsoft.com/office/drawing/2014/main" id="{43CEEF99-5F05-4A9C-8DBB-99FBF08AE8F7}"/>
              </a:ext>
            </a:extLst>
          </p:cNvPr>
          <p:cNvSpPr txBox="1"/>
          <p:nvPr/>
        </p:nvSpPr>
        <p:spPr>
          <a:xfrm>
            <a:off x="9169612" y="2202850"/>
            <a:ext cx="2326088" cy="617157"/>
          </a:xfrm>
          <a:prstGeom prst="rect">
            <a:avLst/>
          </a:prstGeom>
          <a:noFill/>
        </p:spPr>
        <p:txBody>
          <a:bodyPr wrap="square" rtlCol="0">
            <a:sp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等线" panose="020F0502020204030204"/>
                <a:ea typeface="Times New Roman" panose="02020603050405020304" pitchFamily="18" charset="0"/>
                <a:cs typeface="Raleway" panose="020B0503030101060003" pitchFamily="34" charset="0"/>
              </a:rPr>
              <a:t>Lorem ipsum dolor sit amet, consectetur adipiscing elit. </a:t>
            </a:r>
            <a:endParaRPr kumimoji="0" lang="en-US" sz="1200"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92" name="TextBox 132">
            <a:extLst>
              <a:ext uri="{FF2B5EF4-FFF2-40B4-BE49-F238E27FC236}">
                <a16:creationId xmlns:a16="http://schemas.microsoft.com/office/drawing/2014/main" id="{1FC2F314-6598-404B-BE49-944AA7513E00}"/>
              </a:ext>
            </a:extLst>
          </p:cNvPr>
          <p:cNvSpPr txBox="1"/>
          <p:nvPr/>
        </p:nvSpPr>
        <p:spPr>
          <a:xfrm>
            <a:off x="9519702" y="1940714"/>
            <a:ext cx="1625910" cy="33855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等线 Light" panose="020F0302020204030204"/>
                <a:ea typeface="+mn-ea"/>
                <a:cs typeface="+mn-cs"/>
              </a:rPr>
              <a:t>Description</a:t>
            </a:r>
          </a:p>
        </p:txBody>
      </p:sp>
      <p:sp>
        <p:nvSpPr>
          <p:cNvPr id="93" name="TextBox 133">
            <a:extLst>
              <a:ext uri="{FF2B5EF4-FFF2-40B4-BE49-F238E27FC236}">
                <a16:creationId xmlns:a16="http://schemas.microsoft.com/office/drawing/2014/main" id="{C897F046-99C1-4463-A5AC-2700AE038500}"/>
              </a:ext>
            </a:extLst>
          </p:cNvPr>
          <p:cNvSpPr txBox="1"/>
          <p:nvPr/>
        </p:nvSpPr>
        <p:spPr>
          <a:xfrm>
            <a:off x="9813078" y="1465038"/>
            <a:ext cx="1039156" cy="46166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000000"/>
                </a:solidFill>
                <a:effectLst/>
                <a:uLnTx/>
                <a:uFillTx/>
                <a:latin typeface="等线 Light" panose="020F0302020204030204"/>
                <a:ea typeface="+mn-ea"/>
                <a:cs typeface="+mn-cs"/>
              </a:rPr>
              <a:t>2020</a:t>
            </a:r>
          </a:p>
        </p:txBody>
      </p:sp>
    </p:spTree>
    <p:extLst>
      <p:ext uri="{BB962C8B-B14F-4D97-AF65-F5344CB8AC3E}">
        <p14:creationId xmlns:p14="http://schemas.microsoft.com/office/powerpoint/2010/main" val="7931177"/>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
                                        </p:tgtEl>
                                        <p:attrNameLst>
                                          <p:attrName>style.visibility</p:attrName>
                                        </p:attrNameLst>
                                      </p:cBhvr>
                                      <p:to>
                                        <p:strVal val="visible"/>
                                      </p:to>
                                    </p:set>
                                    <p:animEffect transition="in" filter="fade">
                                      <p:cBhvr>
                                        <p:cTn id="10" dur="500"/>
                                        <p:tgtEl>
                                          <p:spTgt spid="3"/>
                                        </p:tgtEl>
                                      </p:cBhvr>
                                    </p:animEffect>
                                  </p:childTnLst>
                                </p:cTn>
                              </p:par>
                            </p:childTnLst>
                          </p:cTn>
                        </p:par>
                        <p:par>
                          <p:cTn id="11" fill="hold">
                            <p:stCondLst>
                              <p:cond delay="500"/>
                            </p:stCondLst>
                            <p:childTnLst>
                              <p:par>
                                <p:cTn id="12" presetID="22" presetClass="entr" presetSubtype="4" fill="hold" nodeType="afterEffect">
                                  <p:stCondLst>
                                    <p:cond delay="0"/>
                                  </p:stCondLst>
                                  <p:childTnLst>
                                    <p:set>
                                      <p:cBhvr>
                                        <p:cTn id="13" dur="1" fill="hold">
                                          <p:stCondLst>
                                            <p:cond delay="0"/>
                                          </p:stCondLst>
                                        </p:cTn>
                                        <p:tgtEl>
                                          <p:spTgt spid="4"/>
                                        </p:tgtEl>
                                        <p:attrNameLst>
                                          <p:attrName>style.visibility</p:attrName>
                                        </p:attrNameLst>
                                      </p:cBhvr>
                                      <p:to>
                                        <p:strVal val="visible"/>
                                      </p:to>
                                    </p:set>
                                    <p:animEffect transition="in" filter="wipe(down)">
                                      <p:cBhvr>
                                        <p:cTn id="14" dur="500"/>
                                        <p:tgtEl>
                                          <p:spTgt spid="4"/>
                                        </p:tgtEl>
                                      </p:cBhvr>
                                    </p:animEffect>
                                  </p:childTnLst>
                                </p:cTn>
                              </p:par>
                            </p:childTnLst>
                          </p:cTn>
                        </p:par>
                        <p:par>
                          <p:cTn id="15" fill="hold">
                            <p:stCondLst>
                              <p:cond delay="1000"/>
                            </p:stCondLst>
                            <p:childTnLst>
                              <p:par>
                                <p:cTn id="16" presetID="10" presetClass="entr" presetSubtype="0" fill="hold" grpId="0" nodeType="afterEffect">
                                  <p:stCondLst>
                                    <p:cond delay="0"/>
                                  </p:stCondLst>
                                  <p:childTnLst>
                                    <p:set>
                                      <p:cBhvr>
                                        <p:cTn id="17" dur="1" fill="hold">
                                          <p:stCondLst>
                                            <p:cond delay="0"/>
                                          </p:stCondLst>
                                        </p:cTn>
                                        <p:tgtEl>
                                          <p:spTgt spid="81"/>
                                        </p:tgtEl>
                                        <p:attrNameLst>
                                          <p:attrName>style.visibility</p:attrName>
                                        </p:attrNameLst>
                                      </p:cBhvr>
                                      <p:to>
                                        <p:strVal val="visible"/>
                                      </p:to>
                                    </p:set>
                                    <p:animEffect transition="in" filter="fade">
                                      <p:cBhvr>
                                        <p:cTn id="18" dur="500"/>
                                        <p:tgtEl>
                                          <p:spTgt spid="81"/>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80"/>
                                        </p:tgtEl>
                                        <p:attrNameLst>
                                          <p:attrName>style.visibility</p:attrName>
                                        </p:attrNameLst>
                                      </p:cBhvr>
                                      <p:to>
                                        <p:strVal val="visible"/>
                                      </p:to>
                                    </p:set>
                                    <p:animEffect transition="in" filter="fade">
                                      <p:cBhvr>
                                        <p:cTn id="21" dur="500"/>
                                        <p:tgtEl>
                                          <p:spTgt spid="80"/>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79"/>
                                        </p:tgtEl>
                                        <p:attrNameLst>
                                          <p:attrName>style.visibility</p:attrName>
                                        </p:attrNameLst>
                                      </p:cBhvr>
                                      <p:to>
                                        <p:strVal val="visible"/>
                                      </p:to>
                                    </p:set>
                                    <p:animEffect transition="in" filter="fade">
                                      <p:cBhvr>
                                        <p:cTn id="24" dur="500"/>
                                        <p:tgtEl>
                                          <p:spTgt spid="79"/>
                                        </p:tgtEl>
                                      </p:cBhvr>
                                    </p:animEffect>
                                  </p:childTnLst>
                                </p:cTn>
                              </p:par>
                            </p:childTnLst>
                          </p:cTn>
                        </p:par>
                        <p:par>
                          <p:cTn id="25" fill="hold">
                            <p:stCondLst>
                              <p:cond delay="1500"/>
                            </p:stCondLst>
                            <p:childTnLst>
                              <p:par>
                                <p:cTn id="26" presetID="22" presetClass="entr" presetSubtype="4" fill="hold" nodeType="afterEffect">
                                  <p:stCondLst>
                                    <p:cond delay="0"/>
                                  </p:stCondLst>
                                  <p:childTnLst>
                                    <p:set>
                                      <p:cBhvr>
                                        <p:cTn id="27" dur="1" fill="hold">
                                          <p:stCondLst>
                                            <p:cond delay="0"/>
                                          </p:stCondLst>
                                        </p:cTn>
                                        <p:tgtEl>
                                          <p:spTgt spid="8"/>
                                        </p:tgtEl>
                                        <p:attrNameLst>
                                          <p:attrName>style.visibility</p:attrName>
                                        </p:attrNameLst>
                                      </p:cBhvr>
                                      <p:to>
                                        <p:strVal val="visible"/>
                                      </p:to>
                                    </p:set>
                                    <p:animEffect transition="in" filter="wipe(down)">
                                      <p:cBhvr>
                                        <p:cTn id="28" dur="500"/>
                                        <p:tgtEl>
                                          <p:spTgt spid="8"/>
                                        </p:tgtEl>
                                      </p:cBhvr>
                                    </p:animEffect>
                                  </p:childTnLst>
                                </p:cTn>
                              </p:par>
                            </p:childTnLst>
                          </p:cTn>
                        </p:par>
                        <p:par>
                          <p:cTn id="29" fill="hold">
                            <p:stCondLst>
                              <p:cond delay="2000"/>
                            </p:stCondLst>
                            <p:childTnLst>
                              <p:par>
                                <p:cTn id="30" presetID="10" presetClass="entr" presetSubtype="0" fill="hold" grpId="0" nodeType="afterEffect">
                                  <p:stCondLst>
                                    <p:cond delay="0"/>
                                  </p:stCondLst>
                                  <p:childTnLst>
                                    <p:set>
                                      <p:cBhvr>
                                        <p:cTn id="31" dur="1" fill="hold">
                                          <p:stCondLst>
                                            <p:cond delay="0"/>
                                          </p:stCondLst>
                                        </p:cTn>
                                        <p:tgtEl>
                                          <p:spTgt spid="82"/>
                                        </p:tgtEl>
                                        <p:attrNameLst>
                                          <p:attrName>style.visibility</p:attrName>
                                        </p:attrNameLst>
                                      </p:cBhvr>
                                      <p:to>
                                        <p:strVal val="visible"/>
                                      </p:to>
                                    </p:set>
                                    <p:animEffect transition="in" filter="fade">
                                      <p:cBhvr>
                                        <p:cTn id="32" dur="500"/>
                                        <p:tgtEl>
                                          <p:spTgt spid="82"/>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83"/>
                                        </p:tgtEl>
                                        <p:attrNameLst>
                                          <p:attrName>style.visibility</p:attrName>
                                        </p:attrNameLst>
                                      </p:cBhvr>
                                      <p:to>
                                        <p:strVal val="visible"/>
                                      </p:to>
                                    </p:set>
                                    <p:animEffect transition="in" filter="fade">
                                      <p:cBhvr>
                                        <p:cTn id="35" dur="500"/>
                                        <p:tgtEl>
                                          <p:spTgt spid="83"/>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84"/>
                                        </p:tgtEl>
                                        <p:attrNameLst>
                                          <p:attrName>style.visibility</p:attrName>
                                        </p:attrNameLst>
                                      </p:cBhvr>
                                      <p:to>
                                        <p:strVal val="visible"/>
                                      </p:to>
                                    </p:set>
                                    <p:animEffect transition="in" filter="fade">
                                      <p:cBhvr>
                                        <p:cTn id="38" dur="500"/>
                                        <p:tgtEl>
                                          <p:spTgt spid="84"/>
                                        </p:tgtEl>
                                      </p:cBhvr>
                                    </p:animEffect>
                                  </p:childTnLst>
                                </p:cTn>
                              </p:par>
                            </p:childTnLst>
                          </p:cTn>
                        </p:par>
                        <p:par>
                          <p:cTn id="39" fill="hold">
                            <p:stCondLst>
                              <p:cond delay="2500"/>
                            </p:stCondLst>
                            <p:childTnLst>
                              <p:par>
                                <p:cTn id="40" presetID="22" presetClass="entr" presetSubtype="4" fill="hold" nodeType="afterEffect">
                                  <p:stCondLst>
                                    <p:cond delay="0"/>
                                  </p:stCondLst>
                                  <p:childTnLst>
                                    <p:set>
                                      <p:cBhvr>
                                        <p:cTn id="41" dur="1" fill="hold">
                                          <p:stCondLst>
                                            <p:cond delay="0"/>
                                          </p:stCondLst>
                                        </p:cTn>
                                        <p:tgtEl>
                                          <p:spTgt spid="13"/>
                                        </p:tgtEl>
                                        <p:attrNameLst>
                                          <p:attrName>style.visibility</p:attrName>
                                        </p:attrNameLst>
                                      </p:cBhvr>
                                      <p:to>
                                        <p:strVal val="visible"/>
                                      </p:to>
                                    </p:set>
                                    <p:animEffect transition="in" filter="wipe(down)">
                                      <p:cBhvr>
                                        <p:cTn id="42" dur="500"/>
                                        <p:tgtEl>
                                          <p:spTgt spid="13"/>
                                        </p:tgtEl>
                                      </p:cBhvr>
                                    </p:animEffect>
                                  </p:childTnLst>
                                </p:cTn>
                              </p:par>
                            </p:childTnLst>
                          </p:cTn>
                        </p:par>
                        <p:par>
                          <p:cTn id="43" fill="hold">
                            <p:stCondLst>
                              <p:cond delay="3000"/>
                            </p:stCondLst>
                            <p:childTnLst>
                              <p:par>
                                <p:cTn id="44" presetID="10" presetClass="entr" presetSubtype="0" fill="hold" grpId="0" nodeType="afterEffect">
                                  <p:stCondLst>
                                    <p:cond delay="0"/>
                                  </p:stCondLst>
                                  <p:childTnLst>
                                    <p:set>
                                      <p:cBhvr>
                                        <p:cTn id="45" dur="1" fill="hold">
                                          <p:stCondLst>
                                            <p:cond delay="0"/>
                                          </p:stCondLst>
                                        </p:cTn>
                                        <p:tgtEl>
                                          <p:spTgt spid="85"/>
                                        </p:tgtEl>
                                        <p:attrNameLst>
                                          <p:attrName>style.visibility</p:attrName>
                                        </p:attrNameLst>
                                      </p:cBhvr>
                                      <p:to>
                                        <p:strVal val="visible"/>
                                      </p:to>
                                    </p:set>
                                    <p:animEffect transition="in" filter="fade">
                                      <p:cBhvr>
                                        <p:cTn id="46" dur="500"/>
                                        <p:tgtEl>
                                          <p:spTgt spid="85"/>
                                        </p:tgtEl>
                                      </p:cBhvr>
                                    </p:animEffect>
                                  </p:childTnLst>
                                </p:cTn>
                              </p:par>
                              <p:par>
                                <p:cTn id="47" presetID="10" presetClass="entr" presetSubtype="0" fill="hold" grpId="0" nodeType="withEffect">
                                  <p:stCondLst>
                                    <p:cond delay="0"/>
                                  </p:stCondLst>
                                  <p:childTnLst>
                                    <p:set>
                                      <p:cBhvr>
                                        <p:cTn id="48" dur="1" fill="hold">
                                          <p:stCondLst>
                                            <p:cond delay="0"/>
                                          </p:stCondLst>
                                        </p:cTn>
                                        <p:tgtEl>
                                          <p:spTgt spid="86"/>
                                        </p:tgtEl>
                                        <p:attrNameLst>
                                          <p:attrName>style.visibility</p:attrName>
                                        </p:attrNameLst>
                                      </p:cBhvr>
                                      <p:to>
                                        <p:strVal val="visible"/>
                                      </p:to>
                                    </p:set>
                                    <p:animEffect transition="in" filter="fade">
                                      <p:cBhvr>
                                        <p:cTn id="49" dur="500"/>
                                        <p:tgtEl>
                                          <p:spTgt spid="86"/>
                                        </p:tgtEl>
                                      </p:cBhvr>
                                    </p:animEffect>
                                  </p:childTnLst>
                                </p:cTn>
                              </p:par>
                              <p:par>
                                <p:cTn id="50" presetID="10" presetClass="entr" presetSubtype="0" fill="hold" grpId="0" nodeType="withEffect">
                                  <p:stCondLst>
                                    <p:cond delay="0"/>
                                  </p:stCondLst>
                                  <p:childTnLst>
                                    <p:set>
                                      <p:cBhvr>
                                        <p:cTn id="51" dur="1" fill="hold">
                                          <p:stCondLst>
                                            <p:cond delay="0"/>
                                          </p:stCondLst>
                                        </p:cTn>
                                        <p:tgtEl>
                                          <p:spTgt spid="87"/>
                                        </p:tgtEl>
                                        <p:attrNameLst>
                                          <p:attrName>style.visibility</p:attrName>
                                        </p:attrNameLst>
                                      </p:cBhvr>
                                      <p:to>
                                        <p:strVal val="visible"/>
                                      </p:to>
                                    </p:set>
                                    <p:animEffect transition="in" filter="fade">
                                      <p:cBhvr>
                                        <p:cTn id="52" dur="500"/>
                                        <p:tgtEl>
                                          <p:spTgt spid="87"/>
                                        </p:tgtEl>
                                      </p:cBhvr>
                                    </p:animEffect>
                                  </p:childTnLst>
                                </p:cTn>
                              </p:par>
                            </p:childTnLst>
                          </p:cTn>
                        </p:par>
                        <p:par>
                          <p:cTn id="53" fill="hold">
                            <p:stCondLst>
                              <p:cond delay="3500"/>
                            </p:stCondLst>
                            <p:childTnLst>
                              <p:par>
                                <p:cTn id="54" presetID="22" presetClass="entr" presetSubtype="4" fill="hold" nodeType="afterEffect">
                                  <p:stCondLst>
                                    <p:cond delay="0"/>
                                  </p:stCondLst>
                                  <p:childTnLst>
                                    <p:set>
                                      <p:cBhvr>
                                        <p:cTn id="55" dur="1" fill="hold">
                                          <p:stCondLst>
                                            <p:cond delay="0"/>
                                          </p:stCondLst>
                                        </p:cTn>
                                        <p:tgtEl>
                                          <p:spTgt spid="19"/>
                                        </p:tgtEl>
                                        <p:attrNameLst>
                                          <p:attrName>style.visibility</p:attrName>
                                        </p:attrNameLst>
                                      </p:cBhvr>
                                      <p:to>
                                        <p:strVal val="visible"/>
                                      </p:to>
                                    </p:set>
                                    <p:animEffect transition="in" filter="wipe(down)">
                                      <p:cBhvr>
                                        <p:cTn id="56" dur="500"/>
                                        <p:tgtEl>
                                          <p:spTgt spid="19"/>
                                        </p:tgtEl>
                                      </p:cBhvr>
                                    </p:animEffect>
                                  </p:childTnLst>
                                </p:cTn>
                              </p:par>
                            </p:childTnLst>
                          </p:cTn>
                        </p:par>
                        <p:par>
                          <p:cTn id="57" fill="hold">
                            <p:stCondLst>
                              <p:cond delay="4000"/>
                            </p:stCondLst>
                            <p:childTnLst>
                              <p:par>
                                <p:cTn id="58" presetID="10" presetClass="entr" presetSubtype="0" fill="hold" grpId="0" nodeType="afterEffect">
                                  <p:stCondLst>
                                    <p:cond delay="0"/>
                                  </p:stCondLst>
                                  <p:childTnLst>
                                    <p:set>
                                      <p:cBhvr>
                                        <p:cTn id="59" dur="1" fill="hold">
                                          <p:stCondLst>
                                            <p:cond delay="0"/>
                                          </p:stCondLst>
                                        </p:cTn>
                                        <p:tgtEl>
                                          <p:spTgt spid="88"/>
                                        </p:tgtEl>
                                        <p:attrNameLst>
                                          <p:attrName>style.visibility</p:attrName>
                                        </p:attrNameLst>
                                      </p:cBhvr>
                                      <p:to>
                                        <p:strVal val="visible"/>
                                      </p:to>
                                    </p:set>
                                    <p:animEffect transition="in" filter="fade">
                                      <p:cBhvr>
                                        <p:cTn id="60" dur="500"/>
                                        <p:tgtEl>
                                          <p:spTgt spid="88"/>
                                        </p:tgtEl>
                                      </p:cBhvr>
                                    </p:animEffect>
                                  </p:childTnLst>
                                </p:cTn>
                              </p:par>
                              <p:par>
                                <p:cTn id="61" presetID="10" presetClass="entr" presetSubtype="0" fill="hold" grpId="0" nodeType="withEffect">
                                  <p:stCondLst>
                                    <p:cond delay="0"/>
                                  </p:stCondLst>
                                  <p:childTnLst>
                                    <p:set>
                                      <p:cBhvr>
                                        <p:cTn id="62" dur="1" fill="hold">
                                          <p:stCondLst>
                                            <p:cond delay="0"/>
                                          </p:stCondLst>
                                        </p:cTn>
                                        <p:tgtEl>
                                          <p:spTgt spid="89"/>
                                        </p:tgtEl>
                                        <p:attrNameLst>
                                          <p:attrName>style.visibility</p:attrName>
                                        </p:attrNameLst>
                                      </p:cBhvr>
                                      <p:to>
                                        <p:strVal val="visible"/>
                                      </p:to>
                                    </p:set>
                                    <p:animEffect transition="in" filter="fade">
                                      <p:cBhvr>
                                        <p:cTn id="63" dur="500"/>
                                        <p:tgtEl>
                                          <p:spTgt spid="89"/>
                                        </p:tgtEl>
                                      </p:cBhvr>
                                    </p:animEffect>
                                  </p:childTnLst>
                                </p:cTn>
                              </p:par>
                              <p:par>
                                <p:cTn id="64" presetID="10" presetClass="entr" presetSubtype="0" fill="hold" grpId="0" nodeType="withEffect">
                                  <p:stCondLst>
                                    <p:cond delay="0"/>
                                  </p:stCondLst>
                                  <p:childTnLst>
                                    <p:set>
                                      <p:cBhvr>
                                        <p:cTn id="65" dur="1" fill="hold">
                                          <p:stCondLst>
                                            <p:cond delay="0"/>
                                          </p:stCondLst>
                                        </p:cTn>
                                        <p:tgtEl>
                                          <p:spTgt spid="90"/>
                                        </p:tgtEl>
                                        <p:attrNameLst>
                                          <p:attrName>style.visibility</p:attrName>
                                        </p:attrNameLst>
                                      </p:cBhvr>
                                      <p:to>
                                        <p:strVal val="visible"/>
                                      </p:to>
                                    </p:set>
                                    <p:animEffect transition="in" filter="fade">
                                      <p:cBhvr>
                                        <p:cTn id="66" dur="500"/>
                                        <p:tgtEl>
                                          <p:spTgt spid="90"/>
                                        </p:tgtEl>
                                      </p:cBhvr>
                                    </p:animEffect>
                                  </p:childTnLst>
                                </p:cTn>
                              </p:par>
                            </p:childTnLst>
                          </p:cTn>
                        </p:par>
                        <p:par>
                          <p:cTn id="67" fill="hold">
                            <p:stCondLst>
                              <p:cond delay="4500"/>
                            </p:stCondLst>
                            <p:childTnLst>
                              <p:par>
                                <p:cTn id="68" presetID="22" presetClass="entr" presetSubtype="4" fill="hold" nodeType="afterEffect">
                                  <p:stCondLst>
                                    <p:cond delay="0"/>
                                  </p:stCondLst>
                                  <p:childTnLst>
                                    <p:set>
                                      <p:cBhvr>
                                        <p:cTn id="69" dur="1" fill="hold">
                                          <p:stCondLst>
                                            <p:cond delay="0"/>
                                          </p:stCondLst>
                                        </p:cTn>
                                        <p:tgtEl>
                                          <p:spTgt spid="26"/>
                                        </p:tgtEl>
                                        <p:attrNameLst>
                                          <p:attrName>style.visibility</p:attrName>
                                        </p:attrNameLst>
                                      </p:cBhvr>
                                      <p:to>
                                        <p:strVal val="visible"/>
                                      </p:to>
                                    </p:set>
                                    <p:animEffect transition="in" filter="wipe(down)">
                                      <p:cBhvr>
                                        <p:cTn id="70" dur="500"/>
                                        <p:tgtEl>
                                          <p:spTgt spid="26"/>
                                        </p:tgtEl>
                                      </p:cBhvr>
                                    </p:animEffect>
                                  </p:childTnLst>
                                </p:cTn>
                              </p:par>
                            </p:childTnLst>
                          </p:cTn>
                        </p:par>
                        <p:par>
                          <p:cTn id="71" fill="hold">
                            <p:stCondLst>
                              <p:cond delay="5000"/>
                            </p:stCondLst>
                            <p:childTnLst>
                              <p:par>
                                <p:cTn id="72" presetID="10" presetClass="entr" presetSubtype="0" fill="hold" grpId="0" nodeType="afterEffect">
                                  <p:stCondLst>
                                    <p:cond delay="0"/>
                                  </p:stCondLst>
                                  <p:childTnLst>
                                    <p:set>
                                      <p:cBhvr>
                                        <p:cTn id="73" dur="1" fill="hold">
                                          <p:stCondLst>
                                            <p:cond delay="0"/>
                                          </p:stCondLst>
                                        </p:cTn>
                                        <p:tgtEl>
                                          <p:spTgt spid="91"/>
                                        </p:tgtEl>
                                        <p:attrNameLst>
                                          <p:attrName>style.visibility</p:attrName>
                                        </p:attrNameLst>
                                      </p:cBhvr>
                                      <p:to>
                                        <p:strVal val="visible"/>
                                      </p:to>
                                    </p:set>
                                    <p:animEffect transition="in" filter="fade">
                                      <p:cBhvr>
                                        <p:cTn id="74" dur="500"/>
                                        <p:tgtEl>
                                          <p:spTgt spid="91"/>
                                        </p:tgtEl>
                                      </p:cBhvr>
                                    </p:animEffect>
                                  </p:childTnLst>
                                </p:cTn>
                              </p:par>
                              <p:par>
                                <p:cTn id="75" presetID="10" presetClass="entr" presetSubtype="0" fill="hold" grpId="0" nodeType="withEffect">
                                  <p:stCondLst>
                                    <p:cond delay="0"/>
                                  </p:stCondLst>
                                  <p:childTnLst>
                                    <p:set>
                                      <p:cBhvr>
                                        <p:cTn id="76" dur="1" fill="hold">
                                          <p:stCondLst>
                                            <p:cond delay="0"/>
                                          </p:stCondLst>
                                        </p:cTn>
                                        <p:tgtEl>
                                          <p:spTgt spid="92"/>
                                        </p:tgtEl>
                                        <p:attrNameLst>
                                          <p:attrName>style.visibility</p:attrName>
                                        </p:attrNameLst>
                                      </p:cBhvr>
                                      <p:to>
                                        <p:strVal val="visible"/>
                                      </p:to>
                                    </p:set>
                                    <p:animEffect transition="in" filter="fade">
                                      <p:cBhvr>
                                        <p:cTn id="77" dur="500"/>
                                        <p:tgtEl>
                                          <p:spTgt spid="92"/>
                                        </p:tgtEl>
                                      </p:cBhvr>
                                    </p:animEffect>
                                  </p:childTnLst>
                                </p:cTn>
                              </p:par>
                              <p:par>
                                <p:cTn id="78" presetID="10" presetClass="entr" presetSubtype="0" fill="hold" grpId="0" nodeType="withEffect">
                                  <p:stCondLst>
                                    <p:cond delay="0"/>
                                  </p:stCondLst>
                                  <p:childTnLst>
                                    <p:set>
                                      <p:cBhvr>
                                        <p:cTn id="79" dur="1" fill="hold">
                                          <p:stCondLst>
                                            <p:cond delay="0"/>
                                          </p:stCondLst>
                                        </p:cTn>
                                        <p:tgtEl>
                                          <p:spTgt spid="93"/>
                                        </p:tgtEl>
                                        <p:attrNameLst>
                                          <p:attrName>style.visibility</p:attrName>
                                        </p:attrNameLst>
                                      </p:cBhvr>
                                      <p:to>
                                        <p:strVal val="visible"/>
                                      </p:to>
                                    </p:set>
                                    <p:animEffect transition="in" filter="fade">
                                      <p:cBhvr>
                                        <p:cTn id="80" dur="500"/>
                                        <p:tgtEl>
                                          <p:spTgt spid="9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3" grpId="0"/>
      <p:bldP spid="79" grpId="0"/>
      <p:bldP spid="80" grpId="0"/>
      <p:bldP spid="81" grpId="0"/>
      <p:bldP spid="82" grpId="0"/>
      <p:bldP spid="83" grpId="0"/>
      <p:bldP spid="84" grpId="0"/>
      <p:bldP spid="85" grpId="0"/>
      <p:bldP spid="86" grpId="0"/>
      <p:bldP spid="87" grpId="0"/>
      <p:bldP spid="88" grpId="0"/>
      <p:bldP spid="89" grpId="0"/>
      <p:bldP spid="90" grpId="0"/>
      <p:bldP spid="91" grpId="0"/>
      <p:bldP spid="92" grpId="0"/>
      <p:bldP spid="93" grpId="0"/>
    </p:bldLst>
  </p:timing>
</p:sld>
</file>

<file path=ppt/slides/slide6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D253FAFA-124A-474D-866D-C5C0AABD7CC8}"/>
              </a:ext>
            </a:extLst>
          </p:cNvPr>
          <p:cNvGrpSpPr/>
          <p:nvPr/>
        </p:nvGrpSpPr>
        <p:grpSpPr>
          <a:xfrm>
            <a:off x="1180446" y="4765539"/>
            <a:ext cx="248964" cy="623476"/>
            <a:chOff x="1119188" y="3644900"/>
            <a:chExt cx="371475" cy="930275"/>
          </a:xfrm>
        </p:grpSpPr>
        <p:sp>
          <p:nvSpPr>
            <p:cNvPr id="3" name="Freeform 6">
              <a:extLst>
                <a:ext uri="{FF2B5EF4-FFF2-40B4-BE49-F238E27FC236}">
                  <a16:creationId xmlns:a16="http://schemas.microsoft.com/office/drawing/2014/main" id="{A5CAE334-8057-4C0F-8064-F95D54A37E96}"/>
                </a:ext>
              </a:extLst>
            </p:cNvPr>
            <p:cNvSpPr>
              <a:spLocks/>
            </p:cNvSpPr>
            <p:nvPr/>
          </p:nvSpPr>
          <p:spPr bwMode="auto">
            <a:xfrm>
              <a:off x="1285875" y="3644900"/>
              <a:ext cx="185738" cy="280987"/>
            </a:xfrm>
            <a:custGeom>
              <a:avLst/>
              <a:gdLst>
                <a:gd name="T0" fmla="*/ 66 w 78"/>
                <a:gd name="T1" fmla="*/ 3 h 118"/>
                <a:gd name="T2" fmla="*/ 13 w 78"/>
                <a:gd name="T3" fmla="*/ 44 h 118"/>
                <a:gd name="T4" fmla="*/ 8 w 78"/>
                <a:gd name="T5" fmla="*/ 118 h 118"/>
                <a:gd name="T6" fmla="*/ 59 w 78"/>
                <a:gd name="T7" fmla="*/ 71 h 118"/>
                <a:gd name="T8" fmla="*/ 67 w 78"/>
                <a:gd name="T9" fmla="*/ 0 h 118"/>
              </a:gdLst>
              <a:ahLst/>
              <a:cxnLst>
                <a:cxn ang="0">
                  <a:pos x="T0" y="T1"/>
                </a:cxn>
                <a:cxn ang="0">
                  <a:pos x="T2" y="T3"/>
                </a:cxn>
                <a:cxn ang="0">
                  <a:pos x="T4" y="T5"/>
                </a:cxn>
                <a:cxn ang="0">
                  <a:pos x="T6" y="T7"/>
                </a:cxn>
                <a:cxn ang="0">
                  <a:pos x="T8" y="T9"/>
                </a:cxn>
              </a:cxnLst>
              <a:rect l="0" t="0" r="r" b="b"/>
              <a:pathLst>
                <a:path w="78" h="118">
                  <a:moveTo>
                    <a:pt x="66" y="3"/>
                  </a:moveTo>
                  <a:cubicBezTo>
                    <a:pt x="44" y="7"/>
                    <a:pt x="24" y="22"/>
                    <a:pt x="13" y="44"/>
                  </a:cubicBezTo>
                  <a:cubicBezTo>
                    <a:pt x="2" y="66"/>
                    <a:pt x="0" y="94"/>
                    <a:pt x="8" y="118"/>
                  </a:cubicBezTo>
                  <a:cubicBezTo>
                    <a:pt x="27" y="105"/>
                    <a:pt x="46" y="92"/>
                    <a:pt x="59" y="71"/>
                  </a:cubicBezTo>
                  <a:cubicBezTo>
                    <a:pt x="73" y="51"/>
                    <a:pt x="78" y="22"/>
                    <a:pt x="67" y="0"/>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4" name="Freeform 7">
              <a:extLst>
                <a:ext uri="{FF2B5EF4-FFF2-40B4-BE49-F238E27FC236}">
                  <a16:creationId xmlns:a16="http://schemas.microsoft.com/office/drawing/2014/main" id="{CAD6FD45-B5F4-4ABC-BF19-4DDC8380BA1F}"/>
                </a:ext>
              </a:extLst>
            </p:cNvPr>
            <p:cNvSpPr>
              <a:spLocks/>
            </p:cNvSpPr>
            <p:nvPr/>
          </p:nvSpPr>
          <p:spPr bwMode="auto">
            <a:xfrm>
              <a:off x="1285875" y="4030663"/>
              <a:ext cx="185738" cy="279400"/>
            </a:xfrm>
            <a:custGeom>
              <a:avLst/>
              <a:gdLst>
                <a:gd name="T0" fmla="*/ 66 w 78"/>
                <a:gd name="T1" fmla="*/ 3 h 118"/>
                <a:gd name="T2" fmla="*/ 13 w 78"/>
                <a:gd name="T3" fmla="*/ 44 h 118"/>
                <a:gd name="T4" fmla="*/ 8 w 78"/>
                <a:gd name="T5" fmla="*/ 118 h 118"/>
                <a:gd name="T6" fmla="*/ 59 w 78"/>
                <a:gd name="T7" fmla="*/ 71 h 118"/>
                <a:gd name="T8" fmla="*/ 67 w 78"/>
                <a:gd name="T9" fmla="*/ 0 h 118"/>
              </a:gdLst>
              <a:ahLst/>
              <a:cxnLst>
                <a:cxn ang="0">
                  <a:pos x="T0" y="T1"/>
                </a:cxn>
                <a:cxn ang="0">
                  <a:pos x="T2" y="T3"/>
                </a:cxn>
                <a:cxn ang="0">
                  <a:pos x="T4" y="T5"/>
                </a:cxn>
                <a:cxn ang="0">
                  <a:pos x="T6" y="T7"/>
                </a:cxn>
                <a:cxn ang="0">
                  <a:pos x="T8" y="T9"/>
                </a:cxn>
              </a:cxnLst>
              <a:rect l="0" t="0" r="r" b="b"/>
              <a:pathLst>
                <a:path w="78" h="118">
                  <a:moveTo>
                    <a:pt x="66" y="3"/>
                  </a:moveTo>
                  <a:cubicBezTo>
                    <a:pt x="44" y="7"/>
                    <a:pt x="24" y="22"/>
                    <a:pt x="13" y="44"/>
                  </a:cubicBezTo>
                  <a:cubicBezTo>
                    <a:pt x="2" y="66"/>
                    <a:pt x="0" y="94"/>
                    <a:pt x="8" y="118"/>
                  </a:cubicBezTo>
                  <a:cubicBezTo>
                    <a:pt x="27" y="105"/>
                    <a:pt x="46" y="92"/>
                    <a:pt x="59" y="71"/>
                  </a:cubicBezTo>
                  <a:cubicBezTo>
                    <a:pt x="73" y="51"/>
                    <a:pt x="78" y="22"/>
                    <a:pt x="67" y="0"/>
                  </a:cubicBezTo>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5" name="Freeform 8">
              <a:extLst>
                <a:ext uri="{FF2B5EF4-FFF2-40B4-BE49-F238E27FC236}">
                  <a16:creationId xmlns:a16="http://schemas.microsoft.com/office/drawing/2014/main" id="{184FE881-61E7-4F4B-8039-C2FF770C1364}"/>
                </a:ext>
              </a:extLst>
            </p:cNvPr>
            <p:cNvSpPr>
              <a:spLocks/>
            </p:cNvSpPr>
            <p:nvPr/>
          </p:nvSpPr>
          <p:spPr bwMode="auto">
            <a:xfrm>
              <a:off x="1119188" y="4356100"/>
              <a:ext cx="119063" cy="180975"/>
            </a:xfrm>
            <a:custGeom>
              <a:avLst/>
              <a:gdLst>
                <a:gd name="T0" fmla="*/ 7 w 50"/>
                <a:gd name="T1" fmla="*/ 2 h 76"/>
                <a:gd name="T2" fmla="*/ 41 w 50"/>
                <a:gd name="T3" fmla="*/ 29 h 76"/>
                <a:gd name="T4" fmla="*/ 44 w 50"/>
                <a:gd name="T5" fmla="*/ 76 h 76"/>
                <a:gd name="T6" fmla="*/ 12 w 50"/>
                <a:gd name="T7" fmla="*/ 46 h 76"/>
                <a:gd name="T8" fmla="*/ 7 w 50"/>
                <a:gd name="T9" fmla="*/ 0 h 76"/>
              </a:gdLst>
              <a:ahLst/>
              <a:cxnLst>
                <a:cxn ang="0">
                  <a:pos x="T0" y="T1"/>
                </a:cxn>
                <a:cxn ang="0">
                  <a:pos x="T2" y="T3"/>
                </a:cxn>
                <a:cxn ang="0">
                  <a:pos x="T4" y="T5"/>
                </a:cxn>
                <a:cxn ang="0">
                  <a:pos x="T6" y="T7"/>
                </a:cxn>
                <a:cxn ang="0">
                  <a:pos x="T8" y="T9"/>
                </a:cxn>
              </a:cxnLst>
              <a:rect l="0" t="0" r="r" b="b"/>
              <a:pathLst>
                <a:path w="50" h="76">
                  <a:moveTo>
                    <a:pt x="7" y="2"/>
                  </a:moveTo>
                  <a:cubicBezTo>
                    <a:pt x="21" y="5"/>
                    <a:pt x="34" y="15"/>
                    <a:pt x="41" y="29"/>
                  </a:cubicBezTo>
                  <a:cubicBezTo>
                    <a:pt x="48" y="43"/>
                    <a:pt x="50" y="61"/>
                    <a:pt x="44" y="76"/>
                  </a:cubicBezTo>
                  <a:cubicBezTo>
                    <a:pt x="32" y="68"/>
                    <a:pt x="20" y="59"/>
                    <a:pt x="12" y="46"/>
                  </a:cubicBezTo>
                  <a:cubicBezTo>
                    <a:pt x="3" y="33"/>
                    <a:pt x="0" y="14"/>
                    <a:pt x="7" y="0"/>
                  </a:cubicBezTo>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6" name="Freeform 9">
              <a:extLst>
                <a:ext uri="{FF2B5EF4-FFF2-40B4-BE49-F238E27FC236}">
                  <a16:creationId xmlns:a16="http://schemas.microsoft.com/office/drawing/2014/main" id="{3CEEF034-8E33-46A8-B246-C0414DBC4CDC}"/>
                </a:ext>
              </a:extLst>
            </p:cNvPr>
            <p:cNvSpPr>
              <a:spLocks/>
            </p:cNvSpPr>
            <p:nvPr/>
          </p:nvSpPr>
          <p:spPr bwMode="auto">
            <a:xfrm>
              <a:off x="1371600" y="4394200"/>
              <a:ext cx="119063" cy="180975"/>
            </a:xfrm>
            <a:custGeom>
              <a:avLst/>
              <a:gdLst>
                <a:gd name="T0" fmla="*/ 42 w 50"/>
                <a:gd name="T1" fmla="*/ 3 h 76"/>
                <a:gd name="T2" fmla="*/ 8 w 50"/>
                <a:gd name="T3" fmla="*/ 29 h 76"/>
                <a:gd name="T4" fmla="*/ 5 w 50"/>
                <a:gd name="T5" fmla="*/ 76 h 76"/>
                <a:gd name="T6" fmla="*/ 38 w 50"/>
                <a:gd name="T7" fmla="*/ 46 h 76"/>
                <a:gd name="T8" fmla="*/ 43 w 50"/>
                <a:gd name="T9" fmla="*/ 0 h 76"/>
              </a:gdLst>
              <a:ahLst/>
              <a:cxnLst>
                <a:cxn ang="0">
                  <a:pos x="T0" y="T1"/>
                </a:cxn>
                <a:cxn ang="0">
                  <a:pos x="T2" y="T3"/>
                </a:cxn>
                <a:cxn ang="0">
                  <a:pos x="T4" y="T5"/>
                </a:cxn>
                <a:cxn ang="0">
                  <a:pos x="T6" y="T7"/>
                </a:cxn>
                <a:cxn ang="0">
                  <a:pos x="T8" y="T9"/>
                </a:cxn>
              </a:cxnLst>
              <a:rect l="0" t="0" r="r" b="b"/>
              <a:pathLst>
                <a:path w="50" h="76">
                  <a:moveTo>
                    <a:pt x="42" y="3"/>
                  </a:moveTo>
                  <a:cubicBezTo>
                    <a:pt x="28" y="5"/>
                    <a:pt x="15" y="15"/>
                    <a:pt x="8" y="29"/>
                  </a:cubicBezTo>
                  <a:cubicBezTo>
                    <a:pt x="1" y="43"/>
                    <a:pt x="0" y="61"/>
                    <a:pt x="5" y="76"/>
                  </a:cubicBezTo>
                  <a:cubicBezTo>
                    <a:pt x="17" y="68"/>
                    <a:pt x="29" y="59"/>
                    <a:pt x="38" y="46"/>
                  </a:cubicBezTo>
                  <a:cubicBezTo>
                    <a:pt x="46" y="33"/>
                    <a:pt x="50" y="14"/>
                    <a:pt x="43" y="0"/>
                  </a:cubicBezTo>
                </a:path>
              </a:pathLst>
            </a:custGeom>
            <a:solidFill>
              <a:schemeClr val="accent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grpSp>
      <p:sp>
        <p:nvSpPr>
          <p:cNvPr id="7" name="Freeform 14">
            <a:extLst>
              <a:ext uri="{FF2B5EF4-FFF2-40B4-BE49-F238E27FC236}">
                <a16:creationId xmlns:a16="http://schemas.microsoft.com/office/drawing/2014/main" id="{8735A33B-17AB-44C7-828C-84967FBE1D24}"/>
              </a:ext>
            </a:extLst>
          </p:cNvPr>
          <p:cNvSpPr>
            <a:spLocks/>
          </p:cNvSpPr>
          <p:nvPr/>
        </p:nvSpPr>
        <p:spPr bwMode="auto">
          <a:xfrm>
            <a:off x="3176" y="4946651"/>
            <a:ext cx="12185651" cy="1911351"/>
          </a:xfrm>
          <a:custGeom>
            <a:avLst/>
            <a:gdLst>
              <a:gd name="T0" fmla="*/ 4372 w 5120"/>
              <a:gd name="T1" fmla="*/ 145 h 1167"/>
              <a:gd name="T2" fmla="*/ 4115 w 5120"/>
              <a:gd name="T3" fmla="*/ 145 h 1167"/>
              <a:gd name="T4" fmla="*/ 3180 w 5120"/>
              <a:gd name="T5" fmla="*/ 145 h 1167"/>
              <a:gd name="T6" fmla="*/ 3121 w 5120"/>
              <a:gd name="T7" fmla="*/ 145 h 1167"/>
              <a:gd name="T8" fmla="*/ 2373 w 5120"/>
              <a:gd name="T9" fmla="*/ 145 h 1167"/>
              <a:gd name="T10" fmla="*/ 2326 w 5120"/>
              <a:gd name="T11" fmla="*/ 145 h 1167"/>
              <a:gd name="T12" fmla="*/ 1649 w 5120"/>
              <a:gd name="T13" fmla="*/ 145 h 1167"/>
              <a:gd name="T14" fmla="*/ 1646 w 5120"/>
              <a:gd name="T15" fmla="*/ 122 h 1167"/>
              <a:gd name="T16" fmla="*/ 1599 w 5120"/>
              <a:gd name="T17" fmla="*/ 75 h 1167"/>
              <a:gd name="T18" fmla="*/ 1574 w 5120"/>
              <a:gd name="T19" fmla="*/ 72 h 1167"/>
              <a:gd name="T20" fmla="*/ 1568 w 5120"/>
              <a:gd name="T21" fmla="*/ 59 h 1167"/>
              <a:gd name="T22" fmla="*/ 1503 w 5120"/>
              <a:gd name="T23" fmla="*/ 3 h 1167"/>
              <a:gd name="T24" fmla="*/ 1488 w 5120"/>
              <a:gd name="T25" fmla="*/ 3 h 1167"/>
              <a:gd name="T26" fmla="*/ 1451 w 5120"/>
              <a:gd name="T27" fmla="*/ 19 h 1167"/>
              <a:gd name="T28" fmla="*/ 1430 w 5120"/>
              <a:gd name="T29" fmla="*/ 44 h 1167"/>
              <a:gd name="T30" fmla="*/ 1349 w 5120"/>
              <a:gd name="T31" fmla="*/ 19 h 1167"/>
              <a:gd name="T32" fmla="*/ 1334 w 5120"/>
              <a:gd name="T33" fmla="*/ 114 h 1167"/>
              <a:gd name="T34" fmla="*/ 1278 w 5120"/>
              <a:gd name="T35" fmla="*/ 143 h 1167"/>
              <a:gd name="T36" fmla="*/ 1276 w 5120"/>
              <a:gd name="T37" fmla="*/ 145 h 1167"/>
              <a:gd name="T38" fmla="*/ 731 w 5120"/>
              <a:gd name="T39" fmla="*/ 145 h 1167"/>
              <a:gd name="T40" fmla="*/ 725 w 5120"/>
              <a:gd name="T41" fmla="*/ 213 h 1167"/>
              <a:gd name="T42" fmla="*/ 668 w 5120"/>
              <a:gd name="T43" fmla="*/ 243 h 1167"/>
              <a:gd name="T44" fmla="*/ 653 w 5120"/>
              <a:gd name="T45" fmla="*/ 337 h 1167"/>
              <a:gd name="T46" fmla="*/ 573 w 5120"/>
              <a:gd name="T47" fmla="*/ 313 h 1167"/>
              <a:gd name="T48" fmla="*/ 500 w 5120"/>
              <a:gd name="T49" fmla="*/ 354 h 1167"/>
              <a:gd name="T50" fmla="*/ 435 w 5120"/>
              <a:gd name="T51" fmla="*/ 297 h 1167"/>
              <a:gd name="T52" fmla="*/ 428 w 5120"/>
              <a:gd name="T53" fmla="*/ 284 h 1167"/>
              <a:gd name="T54" fmla="*/ 403 w 5120"/>
              <a:gd name="T55" fmla="*/ 281 h 1167"/>
              <a:gd name="T56" fmla="*/ 366 w 5120"/>
              <a:gd name="T57" fmla="*/ 232 h 1167"/>
              <a:gd name="T58" fmla="*/ 356 w 5120"/>
              <a:gd name="T59" fmla="*/ 145 h 1167"/>
              <a:gd name="T60" fmla="*/ 0 w 5120"/>
              <a:gd name="T61" fmla="*/ 145 h 1167"/>
              <a:gd name="T62" fmla="*/ 0 w 5120"/>
              <a:gd name="T63" fmla="*/ 1167 h 1167"/>
              <a:gd name="T64" fmla="*/ 5120 w 5120"/>
              <a:gd name="T65" fmla="*/ 1167 h 1167"/>
              <a:gd name="T66" fmla="*/ 5120 w 5120"/>
              <a:gd name="T67" fmla="*/ 145 h 1167"/>
              <a:gd name="T68" fmla="*/ 4372 w 5120"/>
              <a:gd name="T69" fmla="*/ 145 h 1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0" h="1167">
                <a:moveTo>
                  <a:pt x="4372" y="145"/>
                </a:moveTo>
                <a:cubicBezTo>
                  <a:pt x="4115" y="145"/>
                  <a:pt x="4115" y="145"/>
                  <a:pt x="4115" y="145"/>
                </a:cubicBezTo>
                <a:cubicBezTo>
                  <a:pt x="3180" y="145"/>
                  <a:pt x="3180" y="145"/>
                  <a:pt x="3180" y="145"/>
                </a:cubicBezTo>
                <a:cubicBezTo>
                  <a:pt x="3121" y="145"/>
                  <a:pt x="3121" y="145"/>
                  <a:pt x="3121" y="145"/>
                </a:cubicBezTo>
                <a:cubicBezTo>
                  <a:pt x="2373" y="145"/>
                  <a:pt x="2373" y="145"/>
                  <a:pt x="2373" y="145"/>
                </a:cubicBezTo>
                <a:cubicBezTo>
                  <a:pt x="2326" y="145"/>
                  <a:pt x="2326" y="145"/>
                  <a:pt x="2326" y="145"/>
                </a:cubicBezTo>
                <a:cubicBezTo>
                  <a:pt x="1649" y="145"/>
                  <a:pt x="1649" y="145"/>
                  <a:pt x="1649" y="145"/>
                </a:cubicBezTo>
                <a:cubicBezTo>
                  <a:pt x="1649" y="138"/>
                  <a:pt x="1648" y="130"/>
                  <a:pt x="1646" y="122"/>
                </a:cubicBezTo>
                <a:cubicBezTo>
                  <a:pt x="1641" y="100"/>
                  <a:pt x="1619" y="77"/>
                  <a:pt x="1599" y="75"/>
                </a:cubicBezTo>
                <a:cubicBezTo>
                  <a:pt x="1590" y="75"/>
                  <a:pt x="1580" y="79"/>
                  <a:pt x="1574" y="72"/>
                </a:cubicBezTo>
                <a:cubicBezTo>
                  <a:pt x="1571" y="69"/>
                  <a:pt x="1569" y="64"/>
                  <a:pt x="1568" y="59"/>
                </a:cubicBezTo>
                <a:cubicBezTo>
                  <a:pt x="1557" y="28"/>
                  <a:pt x="1531" y="6"/>
                  <a:pt x="1503" y="3"/>
                </a:cubicBezTo>
                <a:cubicBezTo>
                  <a:pt x="1498" y="2"/>
                  <a:pt x="1493" y="2"/>
                  <a:pt x="1488" y="3"/>
                </a:cubicBezTo>
                <a:cubicBezTo>
                  <a:pt x="1475" y="4"/>
                  <a:pt x="1462" y="10"/>
                  <a:pt x="1451" y="19"/>
                </a:cubicBezTo>
                <a:cubicBezTo>
                  <a:pt x="1442" y="26"/>
                  <a:pt x="1435" y="34"/>
                  <a:pt x="1430" y="44"/>
                </a:cubicBezTo>
                <a:cubicBezTo>
                  <a:pt x="1415" y="12"/>
                  <a:pt x="1376" y="0"/>
                  <a:pt x="1349" y="19"/>
                </a:cubicBezTo>
                <a:cubicBezTo>
                  <a:pt x="1323" y="38"/>
                  <a:pt x="1316" y="85"/>
                  <a:pt x="1334" y="114"/>
                </a:cubicBezTo>
                <a:cubicBezTo>
                  <a:pt x="1313" y="115"/>
                  <a:pt x="1291" y="124"/>
                  <a:pt x="1278" y="143"/>
                </a:cubicBezTo>
                <a:cubicBezTo>
                  <a:pt x="1277" y="144"/>
                  <a:pt x="1276" y="145"/>
                  <a:pt x="1276" y="145"/>
                </a:cubicBezTo>
                <a:cubicBezTo>
                  <a:pt x="731" y="145"/>
                  <a:pt x="731" y="145"/>
                  <a:pt x="731" y="145"/>
                </a:cubicBezTo>
                <a:cubicBezTo>
                  <a:pt x="742" y="166"/>
                  <a:pt x="738" y="195"/>
                  <a:pt x="725" y="213"/>
                </a:cubicBezTo>
                <a:cubicBezTo>
                  <a:pt x="711" y="232"/>
                  <a:pt x="689" y="242"/>
                  <a:pt x="668" y="243"/>
                </a:cubicBezTo>
                <a:cubicBezTo>
                  <a:pt x="687" y="272"/>
                  <a:pt x="679" y="318"/>
                  <a:pt x="653" y="337"/>
                </a:cubicBezTo>
                <a:cubicBezTo>
                  <a:pt x="627" y="356"/>
                  <a:pt x="587" y="344"/>
                  <a:pt x="573" y="313"/>
                </a:cubicBezTo>
                <a:cubicBezTo>
                  <a:pt x="558" y="340"/>
                  <a:pt x="528" y="357"/>
                  <a:pt x="500" y="354"/>
                </a:cubicBezTo>
                <a:cubicBezTo>
                  <a:pt x="471" y="351"/>
                  <a:pt x="445" y="328"/>
                  <a:pt x="435" y="297"/>
                </a:cubicBezTo>
                <a:cubicBezTo>
                  <a:pt x="433" y="293"/>
                  <a:pt x="432" y="288"/>
                  <a:pt x="428" y="284"/>
                </a:cubicBezTo>
                <a:cubicBezTo>
                  <a:pt x="422" y="278"/>
                  <a:pt x="412" y="282"/>
                  <a:pt x="403" y="281"/>
                </a:cubicBezTo>
                <a:cubicBezTo>
                  <a:pt x="383" y="280"/>
                  <a:pt x="371" y="254"/>
                  <a:pt x="366" y="232"/>
                </a:cubicBezTo>
                <a:cubicBezTo>
                  <a:pt x="359" y="204"/>
                  <a:pt x="356" y="175"/>
                  <a:pt x="356" y="145"/>
                </a:cubicBezTo>
                <a:cubicBezTo>
                  <a:pt x="0" y="145"/>
                  <a:pt x="0" y="145"/>
                  <a:pt x="0" y="145"/>
                </a:cubicBezTo>
                <a:cubicBezTo>
                  <a:pt x="0" y="1167"/>
                  <a:pt x="0" y="1167"/>
                  <a:pt x="0" y="1167"/>
                </a:cubicBezTo>
                <a:cubicBezTo>
                  <a:pt x="5120" y="1167"/>
                  <a:pt x="5120" y="1167"/>
                  <a:pt x="5120" y="1167"/>
                </a:cubicBezTo>
                <a:cubicBezTo>
                  <a:pt x="5120" y="145"/>
                  <a:pt x="5120" y="145"/>
                  <a:pt x="5120" y="145"/>
                </a:cubicBezTo>
                <a:lnTo>
                  <a:pt x="4372" y="145"/>
                </a:lnTo>
                <a:close/>
              </a:path>
            </a:pathLst>
          </a:custGeom>
          <a:solidFill>
            <a:schemeClr val="tx1">
              <a:lumMod val="85000"/>
              <a:lumOff val="1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grpSp>
        <p:nvGrpSpPr>
          <p:cNvPr id="8" name="Group 3">
            <a:extLst>
              <a:ext uri="{FF2B5EF4-FFF2-40B4-BE49-F238E27FC236}">
                <a16:creationId xmlns:a16="http://schemas.microsoft.com/office/drawing/2014/main" id="{B3853965-8D28-4C27-9FDD-8DAE49751307}"/>
              </a:ext>
            </a:extLst>
          </p:cNvPr>
          <p:cNvGrpSpPr/>
          <p:nvPr/>
        </p:nvGrpSpPr>
        <p:grpSpPr>
          <a:xfrm>
            <a:off x="2754315" y="4295112"/>
            <a:ext cx="1261861" cy="701205"/>
            <a:chOff x="2754313" y="3409950"/>
            <a:chExt cx="1296988" cy="720725"/>
          </a:xfrm>
        </p:grpSpPr>
        <p:sp>
          <p:nvSpPr>
            <p:cNvPr id="9" name="Freeform 10">
              <a:extLst>
                <a:ext uri="{FF2B5EF4-FFF2-40B4-BE49-F238E27FC236}">
                  <a16:creationId xmlns:a16="http://schemas.microsoft.com/office/drawing/2014/main" id="{ABEBBD57-1891-412E-80DD-33AB704A4C05}"/>
                </a:ext>
              </a:extLst>
            </p:cNvPr>
            <p:cNvSpPr>
              <a:spLocks/>
            </p:cNvSpPr>
            <p:nvPr/>
          </p:nvSpPr>
          <p:spPr bwMode="auto">
            <a:xfrm>
              <a:off x="3344863" y="3409950"/>
              <a:ext cx="201613" cy="720725"/>
            </a:xfrm>
            <a:custGeom>
              <a:avLst/>
              <a:gdLst>
                <a:gd name="T0" fmla="*/ 84 w 85"/>
                <a:gd name="T1" fmla="*/ 281 h 303"/>
                <a:gd name="T2" fmla="*/ 78 w 85"/>
                <a:gd name="T3" fmla="*/ 172 h 303"/>
                <a:gd name="T4" fmla="*/ 11 w 85"/>
                <a:gd name="T5" fmla="*/ 5 h 303"/>
                <a:gd name="T6" fmla="*/ 3 w 85"/>
                <a:gd name="T7" fmla="*/ 12 h 303"/>
                <a:gd name="T8" fmla="*/ 36 w 85"/>
                <a:gd name="T9" fmla="*/ 95 h 303"/>
                <a:gd name="T10" fmla="*/ 50 w 85"/>
                <a:gd name="T11" fmla="*/ 184 h 303"/>
                <a:gd name="T12" fmla="*/ 48 w 85"/>
                <a:gd name="T13" fmla="*/ 281 h 303"/>
                <a:gd name="T14" fmla="*/ 46 w 85"/>
                <a:gd name="T15" fmla="*/ 303 h 303"/>
                <a:gd name="T16" fmla="*/ 84 w 85"/>
                <a:gd name="T17" fmla="*/ 287 h 303"/>
                <a:gd name="T18" fmla="*/ 84 w 85"/>
                <a:gd name="T19" fmla="*/ 28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303">
                  <a:moveTo>
                    <a:pt x="84" y="281"/>
                  </a:moveTo>
                  <a:cubicBezTo>
                    <a:pt x="85" y="245"/>
                    <a:pt x="83" y="208"/>
                    <a:pt x="78" y="172"/>
                  </a:cubicBezTo>
                  <a:cubicBezTo>
                    <a:pt x="71" y="117"/>
                    <a:pt x="50" y="41"/>
                    <a:pt x="11" y="5"/>
                  </a:cubicBezTo>
                  <a:cubicBezTo>
                    <a:pt x="6" y="0"/>
                    <a:pt x="0" y="6"/>
                    <a:pt x="3" y="12"/>
                  </a:cubicBezTo>
                  <a:cubicBezTo>
                    <a:pt x="14" y="40"/>
                    <a:pt x="28" y="65"/>
                    <a:pt x="36" y="95"/>
                  </a:cubicBezTo>
                  <a:cubicBezTo>
                    <a:pt x="44" y="123"/>
                    <a:pt x="48" y="154"/>
                    <a:pt x="50" y="184"/>
                  </a:cubicBezTo>
                  <a:cubicBezTo>
                    <a:pt x="52" y="216"/>
                    <a:pt x="51" y="249"/>
                    <a:pt x="48" y="281"/>
                  </a:cubicBezTo>
                  <a:cubicBezTo>
                    <a:pt x="47" y="288"/>
                    <a:pt x="47" y="296"/>
                    <a:pt x="46" y="303"/>
                  </a:cubicBezTo>
                  <a:cubicBezTo>
                    <a:pt x="57" y="294"/>
                    <a:pt x="70" y="288"/>
                    <a:pt x="84" y="287"/>
                  </a:cubicBezTo>
                  <a:cubicBezTo>
                    <a:pt x="84" y="285"/>
                    <a:pt x="84" y="283"/>
                    <a:pt x="84" y="281"/>
                  </a:cubicBezTo>
                  <a:close/>
                </a:path>
              </a:pathLst>
            </a:custGeom>
            <a:solidFill>
              <a:schemeClr val="accent3">
                <a:lumMod val="5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10" name="Freeform 15">
              <a:extLst>
                <a:ext uri="{FF2B5EF4-FFF2-40B4-BE49-F238E27FC236}">
                  <a16:creationId xmlns:a16="http://schemas.microsoft.com/office/drawing/2014/main" id="{135B1FE6-FF92-4D6F-AB6E-4246376B6AE5}"/>
                </a:ext>
              </a:extLst>
            </p:cNvPr>
            <p:cNvSpPr>
              <a:spLocks/>
            </p:cNvSpPr>
            <p:nvPr/>
          </p:nvSpPr>
          <p:spPr bwMode="auto">
            <a:xfrm>
              <a:off x="3541713" y="3517900"/>
              <a:ext cx="509588" cy="325437"/>
            </a:xfrm>
            <a:custGeom>
              <a:avLst/>
              <a:gdLst>
                <a:gd name="T0" fmla="*/ 214 w 214"/>
                <a:gd name="T1" fmla="*/ 60 h 137"/>
                <a:gd name="T2" fmla="*/ 214 w 214"/>
                <a:gd name="T3" fmla="*/ 59 h 137"/>
                <a:gd name="T4" fmla="*/ 166 w 214"/>
                <a:gd name="T5" fmla="*/ 24 h 137"/>
                <a:gd name="T6" fmla="*/ 120 w 214"/>
                <a:gd name="T7" fmla="*/ 3 h 137"/>
                <a:gd name="T8" fmla="*/ 70 w 214"/>
                <a:gd name="T9" fmla="*/ 9 h 137"/>
                <a:gd name="T10" fmla="*/ 36 w 214"/>
                <a:gd name="T11" fmla="*/ 36 h 137"/>
                <a:gd name="T12" fmla="*/ 24 w 214"/>
                <a:gd name="T13" fmla="*/ 86 h 137"/>
                <a:gd name="T14" fmla="*/ 0 w 214"/>
                <a:gd name="T15" fmla="*/ 108 h 137"/>
                <a:gd name="T16" fmla="*/ 0 w 214"/>
                <a:gd name="T17" fmla="*/ 110 h 137"/>
                <a:gd name="T18" fmla="*/ 8 w 214"/>
                <a:gd name="T19" fmla="*/ 117 h 137"/>
                <a:gd name="T20" fmla="*/ 10 w 214"/>
                <a:gd name="T21" fmla="*/ 117 h 137"/>
                <a:gd name="T22" fmla="*/ 112 w 214"/>
                <a:gd name="T23" fmla="*/ 52 h 137"/>
                <a:gd name="T24" fmla="*/ 119 w 214"/>
                <a:gd name="T25" fmla="*/ 51 h 137"/>
                <a:gd name="T26" fmla="*/ 55 w 214"/>
                <a:gd name="T27" fmla="*/ 84 h 137"/>
                <a:gd name="T28" fmla="*/ 33 w 214"/>
                <a:gd name="T29" fmla="*/ 105 h 137"/>
                <a:gd name="T30" fmla="*/ 33 w 214"/>
                <a:gd name="T31" fmla="*/ 107 h 137"/>
                <a:gd name="T32" fmla="*/ 33 w 214"/>
                <a:gd name="T33" fmla="*/ 108 h 137"/>
                <a:gd name="T34" fmla="*/ 64 w 214"/>
                <a:gd name="T35" fmla="*/ 132 h 137"/>
                <a:gd name="T36" fmla="*/ 102 w 214"/>
                <a:gd name="T37" fmla="*/ 132 h 137"/>
                <a:gd name="T38" fmla="*/ 139 w 214"/>
                <a:gd name="T39" fmla="*/ 117 h 137"/>
                <a:gd name="T40" fmla="*/ 156 w 214"/>
                <a:gd name="T41" fmla="*/ 105 h 137"/>
                <a:gd name="T42" fmla="*/ 172 w 214"/>
                <a:gd name="T43" fmla="*/ 89 h 137"/>
                <a:gd name="T44" fmla="*/ 191 w 214"/>
                <a:gd name="T45" fmla="*/ 72 h 137"/>
                <a:gd name="T46" fmla="*/ 213 w 214"/>
                <a:gd name="T47" fmla="*/ 62 h 137"/>
                <a:gd name="T48" fmla="*/ 214 w 214"/>
                <a:gd name="T49" fmla="*/ 60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14" h="137">
                  <a:moveTo>
                    <a:pt x="214" y="60"/>
                  </a:moveTo>
                  <a:cubicBezTo>
                    <a:pt x="214" y="59"/>
                    <a:pt x="214" y="59"/>
                    <a:pt x="214" y="59"/>
                  </a:cubicBezTo>
                  <a:cubicBezTo>
                    <a:pt x="198" y="46"/>
                    <a:pt x="182" y="34"/>
                    <a:pt x="166" y="24"/>
                  </a:cubicBezTo>
                  <a:cubicBezTo>
                    <a:pt x="151" y="15"/>
                    <a:pt x="136" y="7"/>
                    <a:pt x="120" y="3"/>
                  </a:cubicBezTo>
                  <a:cubicBezTo>
                    <a:pt x="103" y="0"/>
                    <a:pt x="87" y="3"/>
                    <a:pt x="70" y="9"/>
                  </a:cubicBezTo>
                  <a:cubicBezTo>
                    <a:pt x="56" y="13"/>
                    <a:pt x="44" y="22"/>
                    <a:pt x="36" y="36"/>
                  </a:cubicBezTo>
                  <a:cubicBezTo>
                    <a:pt x="27" y="50"/>
                    <a:pt x="22" y="68"/>
                    <a:pt x="24" y="86"/>
                  </a:cubicBezTo>
                  <a:cubicBezTo>
                    <a:pt x="15" y="92"/>
                    <a:pt x="7" y="99"/>
                    <a:pt x="0" y="108"/>
                  </a:cubicBezTo>
                  <a:cubicBezTo>
                    <a:pt x="0" y="109"/>
                    <a:pt x="0" y="110"/>
                    <a:pt x="0" y="110"/>
                  </a:cubicBezTo>
                  <a:cubicBezTo>
                    <a:pt x="3" y="113"/>
                    <a:pt x="5" y="115"/>
                    <a:pt x="8" y="117"/>
                  </a:cubicBezTo>
                  <a:cubicBezTo>
                    <a:pt x="9" y="118"/>
                    <a:pt x="9" y="118"/>
                    <a:pt x="10" y="117"/>
                  </a:cubicBezTo>
                  <a:cubicBezTo>
                    <a:pt x="36" y="83"/>
                    <a:pt x="73" y="60"/>
                    <a:pt x="112" y="52"/>
                  </a:cubicBezTo>
                  <a:cubicBezTo>
                    <a:pt x="114" y="52"/>
                    <a:pt x="117" y="51"/>
                    <a:pt x="119" y="51"/>
                  </a:cubicBezTo>
                  <a:cubicBezTo>
                    <a:pt x="96" y="57"/>
                    <a:pt x="74" y="68"/>
                    <a:pt x="55" y="84"/>
                  </a:cubicBezTo>
                  <a:cubicBezTo>
                    <a:pt x="47" y="91"/>
                    <a:pt x="40" y="98"/>
                    <a:pt x="33" y="105"/>
                  </a:cubicBezTo>
                  <a:cubicBezTo>
                    <a:pt x="33" y="106"/>
                    <a:pt x="33" y="106"/>
                    <a:pt x="33" y="107"/>
                  </a:cubicBezTo>
                  <a:cubicBezTo>
                    <a:pt x="33" y="107"/>
                    <a:pt x="33" y="108"/>
                    <a:pt x="33" y="108"/>
                  </a:cubicBezTo>
                  <a:cubicBezTo>
                    <a:pt x="42" y="119"/>
                    <a:pt x="52" y="127"/>
                    <a:pt x="64" y="132"/>
                  </a:cubicBezTo>
                  <a:cubicBezTo>
                    <a:pt x="77" y="137"/>
                    <a:pt x="89" y="136"/>
                    <a:pt x="102" y="132"/>
                  </a:cubicBezTo>
                  <a:cubicBezTo>
                    <a:pt x="115" y="129"/>
                    <a:pt x="128" y="124"/>
                    <a:pt x="139" y="117"/>
                  </a:cubicBezTo>
                  <a:cubicBezTo>
                    <a:pt x="145" y="113"/>
                    <a:pt x="151" y="109"/>
                    <a:pt x="156" y="105"/>
                  </a:cubicBezTo>
                  <a:cubicBezTo>
                    <a:pt x="162" y="100"/>
                    <a:pt x="167" y="95"/>
                    <a:pt x="172" y="89"/>
                  </a:cubicBezTo>
                  <a:cubicBezTo>
                    <a:pt x="178" y="83"/>
                    <a:pt x="184" y="77"/>
                    <a:pt x="191" y="72"/>
                  </a:cubicBezTo>
                  <a:cubicBezTo>
                    <a:pt x="198" y="68"/>
                    <a:pt x="206" y="65"/>
                    <a:pt x="213" y="62"/>
                  </a:cubicBezTo>
                  <a:cubicBezTo>
                    <a:pt x="214" y="61"/>
                    <a:pt x="214" y="60"/>
                    <a:pt x="214" y="6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11" name="Freeform 16">
              <a:extLst>
                <a:ext uri="{FF2B5EF4-FFF2-40B4-BE49-F238E27FC236}">
                  <a16:creationId xmlns:a16="http://schemas.microsoft.com/office/drawing/2014/main" id="{C7F157C5-FA9D-470C-A3E3-3F768B6E2519}"/>
                </a:ext>
              </a:extLst>
            </p:cNvPr>
            <p:cNvSpPr>
              <a:spLocks/>
            </p:cNvSpPr>
            <p:nvPr/>
          </p:nvSpPr>
          <p:spPr bwMode="auto">
            <a:xfrm>
              <a:off x="2754313" y="3514725"/>
              <a:ext cx="693738" cy="441325"/>
            </a:xfrm>
            <a:custGeom>
              <a:avLst/>
              <a:gdLst>
                <a:gd name="T0" fmla="*/ 0 w 291"/>
                <a:gd name="T1" fmla="*/ 82 h 186"/>
                <a:gd name="T2" fmla="*/ 1 w 291"/>
                <a:gd name="T3" fmla="*/ 80 h 186"/>
                <a:gd name="T4" fmla="*/ 66 w 291"/>
                <a:gd name="T5" fmla="*/ 33 h 186"/>
                <a:gd name="T6" fmla="*/ 128 w 291"/>
                <a:gd name="T7" fmla="*/ 5 h 186"/>
                <a:gd name="T8" fmla="*/ 195 w 291"/>
                <a:gd name="T9" fmla="*/ 12 h 186"/>
                <a:gd name="T10" fmla="*/ 243 w 291"/>
                <a:gd name="T11" fmla="*/ 49 h 186"/>
                <a:gd name="T12" fmla="*/ 258 w 291"/>
                <a:gd name="T13" fmla="*/ 117 h 186"/>
                <a:gd name="T14" fmla="*/ 291 w 291"/>
                <a:gd name="T15" fmla="*/ 147 h 186"/>
                <a:gd name="T16" fmla="*/ 291 w 291"/>
                <a:gd name="T17" fmla="*/ 150 h 186"/>
                <a:gd name="T18" fmla="*/ 280 w 291"/>
                <a:gd name="T19" fmla="*/ 160 h 186"/>
                <a:gd name="T20" fmla="*/ 278 w 291"/>
                <a:gd name="T21" fmla="*/ 159 h 186"/>
                <a:gd name="T22" fmla="*/ 139 w 291"/>
                <a:gd name="T23" fmla="*/ 71 h 186"/>
                <a:gd name="T24" fmla="*/ 129 w 291"/>
                <a:gd name="T25" fmla="*/ 70 h 186"/>
                <a:gd name="T26" fmla="*/ 217 w 291"/>
                <a:gd name="T27" fmla="*/ 115 h 186"/>
                <a:gd name="T28" fmla="*/ 245 w 291"/>
                <a:gd name="T29" fmla="*/ 144 h 186"/>
                <a:gd name="T30" fmla="*/ 246 w 291"/>
                <a:gd name="T31" fmla="*/ 145 h 186"/>
                <a:gd name="T32" fmla="*/ 246 w 291"/>
                <a:gd name="T33" fmla="*/ 147 h 186"/>
                <a:gd name="T34" fmla="*/ 203 w 291"/>
                <a:gd name="T35" fmla="*/ 180 h 186"/>
                <a:gd name="T36" fmla="*/ 153 w 291"/>
                <a:gd name="T37" fmla="*/ 180 h 186"/>
                <a:gd name="T38" fmla="*/ 101 w 291"/>
                <a:gd name="T39" fmla="*/ 159 h 186"/>
                <a:gd name="T40" fmla="*/ 79 w 291"/>
                <a:gd name="T41" fmla="*/ 143 h 186"/>
                <a:gd name="T42" fmla="*/ 58 w 291"/>
                <a:gd name="T43" fmla="*/ 122 h 186"/>
                <a:gd name="T44" fmla="*/ 31 w 291"/>
                <a:gd name="T45" fmla="*/ 98 h 186"/>
                <a:gd name="T46" fmla="*/ 1 w 291"/>
                <a:gd name="T47" fmla="*/ 84 h 186"/>
                <a:gd name="T48" fmla="*/ 0 w 291"/>
                <a:gd name="T49" fmla="*/ 82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91" h="186">
                  <a:moveTo>
                    <a:pt x="0" y="82"/>
                  </a:moveTo>
                  <a:cubicBezTo>
                    <a:pt x="0" y="81"/>
                    <a:pt x="0" y="81"/>
                    <a:pt x="1" y="80"/>
                  </a:cubicBezTo>
                  <a:cubicBezTo>
                    <a:pt x="22" y="63"/>
                    <a:pt x="43" y="47"/>
                    <a:pt x="66" y="33"/>
                  </a:cubicBezTo>
                  <a:cubicBezTo>
                    <a:pt x="85" y="21"/>
                    <a:pt x="106" y="9"/>
                    <a:pt x="128" y="5"/>
                  </a:cubicBezTo>
                  <a:cubicBezTo>
                    <a:pt x="151" y="0"/>
                    <a:pt x="173" y="5"/>
                    <a:pt x="195" y="12"/>
                  </a:cubicBezTo>
                  <a:cubicBezTo>
                    <a:pt x="214" y="19"/>
                    <a:pt x="231" y="31"/>
                    <a:pt x="243" y="49"/>
                  </a:cubicBezTo>
                  <a:cubicBezTo>
                    <a:pt x="255" y="69"/>
                    <a:pt x="260" y="93"/>
                    <a:pt x="258" y="117"/>
                  </a:cubicBezTo>
                  <a:cubicBezTo>
                    <a:pt x="270" y="125"/>
                    <a:pt x="281" y="135"/>
                    <a:pt x="291" y="147"/>
                  </a:cubicBezTo>
                  <a:cubicBezTo>
                    <a:pt x="291" y="148"/>
                    <a:pt x="291" y="149"/>
                    <a:pt x="291" y="150"/>
                  </a:cubicBezTo>
                  <a:cubicBezTo>
                    <a:pt x="287" y="154"/>
                    <a:pt x="284" y="157"/>
                    <a:pt x="280" y="160"/>
                  </a:cubicBezTo>
                  <a:cubicBezTo>
                    <a:pt x="279" y="160"/>
                    <a:pt x="278" y="160"/>
                    <a:pt x="278" y="159"/>
                  </a:cubicBezTo>
                  <a:cubicBezTo>
                    <a:pt x="242" y="113"/>
                    <a:pt x="192" y="82"/>
                    <a:pt x="139" y="71"/>
                  </a:cubicBezTo>
                  <a:cubicBezTo>
                    <a:pt x="136" y="71"/>
                    <a:pt x="132" y="70"/>
                    <a:pt x="129" y="70"/>
                  </a:cubicBezTo>
                  <a:cubicBezTo>
                    <a:pt x="160" y="78"/>
                    <a:pt x="191" y="93"/>
                    <a:pt x="217" y="115"/>
                  </a:cubicBezTo>
                  <a:cubicBezTo>
                    <a:pt x="227" y="124"/>
                    <a:pt x="237" y="133"/>
                    <a:pt x="245" y="144"/>
                  </a:cubicBezTo>
                  <a:cubicBezTo>
                    <a:pt x="246" y="144"/>
                    <a:pt x="246" y="145"/>
                    <a:pt x="246" y="145"/>
                  </a:cubicBezTo>
                  <a:cubicBezTo>
                    <a:pt x="246" y="146"/>
                    <a:pt x="246" y="147"/>
                    <a:pt x="246" y="147"/>
                  </a:cubicBezTo>
                  <a:cubicBezTo>
                    <a:pt x="234" y="161"/>
                    <a:pt x="220" y="173"/>
                    <a:pt x="203" y="180"/>
                  </a:cubicBezTo>
                  <a:cubicBezTo>
                    <a:pt x="187" y="186"/>
                    <a:pt x="170" y="185"/>
                    <a:pt x="153" y="180"/>
                  </a:cubicBezTo>
                  <a:cubicBezTo>
                    <a:pt x="135" y="175"/>
                    <a:pt x="118" y="169"/>
                    <a:pt x="101" y="159"/>
                  </a:cubicBezTo>
                  <a:cubicBezTo>
                    <a:pt x="93" y="155"/>
                    <a:pt x="86" y="149"/>
                    <a:pt x="79" y="143"/>
                  </a:cubicBezTo>
                  <a:cubicBezTo>
                    <a:pt x="71" y="137"/>
                    <a:pt x="65" y="129"/>
                    <a:pt x="58" y="122"/>
                  </a:cubicBezTo>
                  <a:cubicBezTo>
                    <a:pt x="50" y="113"/>
                    <a:pt x="41" y="104"/>
                    <a:pt x="31" y="98"/>
                  </a:cubicBezTo>
                  <a:cubicBezTo>
                    <a:pt x="21" y="92"/>
                    <a:pt x="11" y="88"/>
                    <a:pt x="1" y="84"/>
                  </a:cubicBezTo>
                  <a:cubicBezTo>
                    <a:pt x="0" y="84"/>
                    <a:pt x="0" y="82"/>
                    <a:pt x="0" y="82"/>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grpSp>
      <p:grpSp>
        <p:nvGrpSpPr>
          <p:cNvPr id="12" name="Group 2">
            <a:extLst>
              <a:ext uri="{FF2B5EF4-FFF2-40B4-BE49-F238E27FC236}">
                <a16:creationId xmlns:a16="http://schemas.microsoft.com/office/drawing/2014/main" id="{02564E31-6F83-49F4-9E41-FD0991CD0E0C}"/>
              </a:ext>
            </a:extLst>
          </p:cNvPr>
          <p:cNvGrpSpPr/>
          <p:nvPr/>
        </p:nvGrpSpPr>
        <p:grpSpPr>
          <a:xfrm>
            <a:off x="4749800" y="3360259"/>
            <a:ext cx="1521917" cy="1832911"/>
            <a:chOff x="4749800" y="2492375"/>
            <a:chExt cx="1608138" cy="1936750"/>
          </a:xfrm>
        </p:grpSpPr>
        <p:sp>
          <p:nvSpPr>
            <p:cNvPr id="13" name="Freeform 11">
              <a:extLst>
                <a:ext uri="{FF2B5EF4-FFF2-40B4-BE49-F238E27FC236}">
                  <a16:creationId xmlns:a16="http://schemas.microsoft.com/office/drawing/2014/main" id="{1B4CEC87-8C2D-4D72-9372-7C6A8B72178A}"/>
                </a:ext>
              </a:extLst>
            </p:cNvPr>
            <p:cNvSpPr>
              <a:spLocks/>
            </p:cNvSpPr>
            <p:nvPr/>
          </p:nvSpPr>
          <p:spPr bwMode="auto">
            <a:xfrm>
              <a:off x="5243513" y="2492375"/>
              <a:ext cx="431800" cy="1936750"/>
            </a:xfrm>
            <a:custGeom>
              <a:avLst/>
              <a:gdLst>
                <a:gd name="T0" fmla="*/ 179 w 181"/>
                <a:gd name="T1" fmla="*/ 654 h 815"/>
                <a:gd name="T2" fmla="*/ 156 w 181"/>
                <a:gd name="T3" fmla="*/ 435 h 815"/>
                <a:gd name="T4" fmla="*/ 32 w 181"/>
                <a:gd name="T5" fmla="*/ 6 h 815"/>
                <a:gd name="T6" fmla="*/ 22 w 181"/>
                <a:gd name="T7" fmla="*/ 11 h 815"/>
                <a:gd name="T8" fmla="*/ 83 w 181"/>
                <a:gd name="T9" fmla="*/ 215 h 815"/>
                <a:gd name="T10" fmla="*/ 119 w 181"/>
                <a:gd name="T11" fmla="*/ 411 h 815"/>
                <a:gd name="T12" fmla="*/ 111 w 181"/>
                <a:gd name="T13" fmla="*/ 395 h 815"/>
                <a:gd name="T14" fmla="*/ 10 w 181"/>
                <a:gd name="T15" fmla="*/ 287 h 815"/>
                <a:gd name="T16" fmla="*/ 6 w 181"/>
                <a:gd name="T17" fmla="*/ 299 h 815"/>
                <a:gd name="T18" fmla="*/ 93 w 181"/>
                <a:gd name="T19" fmla="*/ 421 h 815"/>
                <a:gd name="T20" fmla="*/ 120 w 181"/>
                <a:gd name="T21" fmla="*/ 498 h 815"/>
                <a:gd name="T22" fmla="*/ 138 w 181"/>
                <a:gd name="T23" fmla="*/ 566 h 815"/>
                <a:gd name="T24" fmla="*/ 143 w 181"/>
                <a:gd name="T25" fmla="*/ 646 h 815"/>
                <a:gd name="T26" fmla="*/ 138 w 181"/>
                <a:gd name="T27" fmla="*/ 754 h 815"/>
                <a:gd name="T28" fmla="*/ 123 w 181"/>
                <a:gd name="T29" fmla="*/ 815 h 815"/>
                <a:gd name="T30" fmla="*/ 170 w 181"/>
                <a:gd name="T31" fmla="*/ 815 h 815"/>
                <a:gd name="T32" fmla="*/ 179 w 181"/>
                <a:gd name="T33" fmla="*/ 654 h 8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1" h="815">
                  <a:moveTo>
                    <a:pt x="179" y="654"/>
                  </a:moveTo>
                  <a:cubicBezTo>
                    <a:pt x="176" y="581"/>
                    <a:pt x="166" y="508"/>
                    <a:pt x="156" y="435"/>
                  </a:cubicBezTo>
                  <a:cubicBezTo>
                    <a:pt x="135" y="289"/>
                    <a:pt x="103" y="132"/>
                    <a:pt x="32" y="6"/>
                  </a:cubicBezTo>
                  <a:cubicBezTo>
                    <a:pt x="29" y="0"/>
                    <a:pt x="19" y="4"/>
                    <a:pt x="22" y="11"/>
                  </a:cubicBezTo>
                  <a:cubicBezTo>
                    <a:pt x="44" y="79"/>
                    <a:pt x="66" y="146"/>
                    <a:pt x="83" y="215"/>
                  </a:cubicBezTo>
                  <a:cubicBezTo>
                    <a:pt x="98" y="280"/>
                    <a:pt x="110" y="345"/>
                    <a:pt x="119" y="411"/>
                  </a:cubicBezTo>
                  <a:cubicBezTo>
                    <a:pt x="116" y="406"/>
                    <a:pt x="113" y="400"/>
                    <a:pt x="111" y="395"/>
                  </a:cubicBezTo>
                  <a:cubicBezTo>
                    <a:pt x="87" y="349"/>
                    <a:pt x="57" y="300"/>
                    <a:pt x="10" y="287"/>
                  </a:cubicBezTo>
                  <a:cubicBezTo>
                    <a:pt x="4" y="285"/>
                    <a:pt x="0" y="295"/>
                    <a:pt x="6" y="299"/>
                  </a:cubicBezTo>
                  <a:cubicBezTo>
                    <a:pt x="46" y="325"/>
                    <a:pt x="72" y="374"/>
                    <a:pt x="93" y="421"/>
                  </a:cubicBezTo>
                  <a:cubicBezTo>
                    <a:pt x="104" y="446"/>
                    <a:pt x="113" y="472"/>
                    <a:pt x="120" y="498"/>
                  </a:cubicBezTo>
                  <a:cubicBezTo>
                    <a:pt x="127" y="521"/>
                    <a:pt x="131" y="544"/>
                    <a:pt x="138" y="566"/>
                  </a:cubicBezTo>
                  <a:cubicBezTo>
                    <a:pt x="140" y="593"/>
                    <a:pt x="142" y="620"/>
                    <a:pt x="143" y="646"/>
                  </a:cubicBezTo>
                  <a:cubicBezTo>
                    <a:pt x="144" y="682"/>
                    <a:pt x="143" y="719"/>
                    <a:pt x="138" y="754"/>
                  </a:cubicBezTo>
                  <a:cubicBezTo>
                    <a:pt x="135" y="776"/>
                    <a:pt x="129" y="795"/>
                    <a:pt x="123" y="815"/>
                  </a:cubicBezTo>
                  <a:cubicBezTo>
                    <a:pt x="170" y="815"/>
                    <a:pt x="170" y="815"/>
                    <a:pt x="170" y="815"/>
                  </a:cubicBezTo>
                  <a:cubicBezTo>
                    <a:pt x="181" y="763"/>
                    <a:pt x="180" y="704"/>
                    <a:pt x="179" y="654"/>
                  </a:cubicBezTo>
                  <a:close/>
                </a:path>
              </a:pathLst>
            </a:custGeom>
            <a:solidFill>
              <a:schemeClr val="accent3">
                <a:lumMod val="5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14" name="Freeform 17">
              <a:extLst>
                <a:ext uri="{FF2B5EF4-FFF2-40B4-BE49-F238E27FC236}">
                  <a16:creationId xmlns:a16="http://schemas.microsoft.com/office/drawing/2014/main" id="{45AA5FB5-619B-4C3F-A745-DDE71B02421F}"/>
                </a:ext>
              </a:extLst>
            </p:cNvPr>
            <p:cNvSpPr>
              <a:spLocks/>
            </p:cNvSpPr>
            <p:nvPr/>
          </p:nvSpPr>
          <p:spPr bwMode="auto">
            <a:xfrm>
              <a:off x="4749800" y="3548063"/>
              <a:ext cx="796925" cy="531812"/>
            </a:xfrm>
            <a:custGeom>
              <a:avLst/>
              <a:gdLst>
                <a:gd name="T0" fmla="*/ 1 w 335"/>
                <a:gd name="T1" fmla="*/ 74 h 224"/>
                <a:gd name="T2" fmla="*/ 2 w 335"/>
                <a:gd name="T3" fmla="*/ 72 h 224"/>
                <a:gd name="T4" fmla="*/ 83 w 335"/>
                <a:gd name="T5" fmla="*/ 26 h 224"/>
                <a:gd name="T6" fmla="*/ 159 w 335"/>
                <a:gd name="T7" fmla="*/ 2 h 224"/>
                <a:gd name="T8" fmla="*/ 237 w 335"/>
                <a:gd name="T9" fmla="*/ 21 h 224"/>
                <a:gd name="T10" fmla="*/ 289 w 335"/>
                <a:gd name="T11" fmla="*/ 72 h 224"/>
                <a:gd name="T12" fmla="*/ 299 w 335"/>
                <a:gd name="T13" fmla="*/ 153 h 224"/>
                <a:gd name="T14" fmla="*/ 334 w 335"/>
                <a:gd name="T15" fmla="*/ 194 h 224"/>
                <a:gd name="T16" fmla="*/ 334 w 335"/>
                <a:gd name="T17" fmla="*/ 196 h 224"/>
                <a:gd name="T18" fmla="*/ 320 w 335"/>
                <a:gd name="T19" fmla="*/ 206 h 224"/>
                <a:gd name="T20" fmla="*/ 318 w 335"/>
                <a:gd name="T21" fmla="*/ 206 h 224"/>
                <a:gd name="T22" fmla="*/ 165 w 335"/>
                <a:gd name="T23" fmla="*/ 82 h 224"/>
                <a:gd name="T24" fmla="*/ 153 w 335"/>
                <a:gd name="T25" fmla="*/ 79 h 224"/>
                <a:gd name="T26" fmla="*/ 251 w 335"/>
                <a:gd name="T27" fmla="*/ 145 h 224"/>
                <a:gd name="T28" fmla="*/ 282 w 335"/>
                <a:gd name="T29" fmla="*/ 183 h 224"/>
                <a:gd name="T30" fmla="*/ 282 w 335"/>
                <a:gd name="T31" fmla="*/ 185 h 224"/>
                <a:gd name="T32" fmla="*/ 282 w 335"/>
                <a:gd name="T33" fmla="*/ 187 h 224"/>
                <a:gd name="T34" fmla="*/ 228 w 335"/>
                <a:gd name="T35" fmla="*/ 218 h 224"/>
                <a:gd name="T36" fmla="*/ 169 w 335"/>
                <a:gd name="T37" fmla="*/ 212 h 224"/>
                <a:gd name="T38" fmla="*/ 111 w 335"/>
                <a:gd name="T39" fmla="*/ 179 h 224"/>
                <a:gd name="T40" fmla="*/ 86 w 335"/>
                <a:gd name="T41" fmla="*/ 157 h 224"/>
                <a:gd name="T42" fmla="*/ 64 w 335"/>
                <a:gd name="T43" fmla="*/ 129 h 224"/>
                <a:gd name="T44" fmla="*/ 35 w 335"/>
                <a:gd name="T45" fmla="*/ 98 h 224"/>
                <a:gd name="T46" fmla="*/ 1 w 335"/>
                <a:gd name="T47" fmla="*/ 77 h 224"/>
                <a:gd name="T48" fmla="*/ 1 w 335"/>
                <a:gd name="T49" fmla="*/ 7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35" h="224">
                  <a:moveTo>
                    <a:pt x="1" y="74"/>
                  </a:moveTo>
                  <a:cubicBezTo>
                    <a:pt x="1" y="73"/>
                    <a:pt x="1" y="72"/>
                    <a:pt x="2" y="72"/>
                  </a:cubicBezTo>
                  <a:cubicBezTo>
                    <a:pt x="28" y="55"/>
                    <a:pt x="55" y="39"/>
                    <a:pt x="83" y="26"/>
                  </a:cubicBezTo>
                  <a:cubicBezTo>
                    <a:pt x="108" y="15"/>
                    <a:pt x="133" y="5"/>
                    <a:pt x="159" y="2"/>
                  </a:cubicBezTo>
                  <a:cubicBezTo>
                    <a:pt x="186" y="0"/>
                    <a:pt x="212" y="9"/>
                    <a:pt x="237" y="21"/>
                  </a:cubicBezTo>
                  <a:cubicBezTo>
                    <a:pt x="259" y="31"/>
                    <a:pt x="277" y="48"/>
                    <a:pt x="289" y="72"/>
                  </a:cubicBezTo>
                  <a:cubicBezTo>
                    <a:pt x="301" y="96"/>
                    <a:pt x="305" y="125"/>
                    <a:pt x="299" y="153"/>
                  </a:cubicBezTo>
                  <a:cubicBezTo>
                    <a:pt x="313" y="165"/>
                    <a:pt x="324" y="178"/>
                    <a:pt x="334" y="194"/>
                  </a:cubicBezTo>
                  <a:cubicBezTo>
                    <a:pt x="335" y="194"/>
                    <a:pt x="335" y="196"/>
                    <a:pt x="334" y="196"/>
                  </a:cubicBezTo>
                  <a:cubicBezTo>
                    <a:pt x="330" y="200"/>
                    <a:pt x="325" y="204"/>
                    <a:pt x="320" y="206"/>
                  </a:cubicBezTo>
                  <a:cubicBezTo>
                    <a:pt x="319" y="207"/>
                    <a:pt x="318" y="207"/>
                    <a:pt x="318" y="206"/>
                  </a:cubicBezTo>
                  <a:cubicBezTo>
                    <a:pt x="281" y="146"/>
                    <a:pt x="226" y="102"/>
                    <a:pt x="165" y="82"/>
                  </a:cubicBezTo>
                  <a:cubicBezTo>
                    <a:pt x="161" y="81"/>
                    <a:pt x="157" y="80"/>
                    <a:pt x="153" y="79"/>
                  </a:cubicBezTo>
                  <a:cubicBezTo>
                    <a:pt x="189" y="93"/>
                    <a:pt x="223" y="115"/>
                    <a:pt x="251" y="145"/>
                  </a:cubicBezTo>
                  <a:cubicBezTo>
                    <a:pt x="262" y="156"/>
                    <a:pt x="272" y="169"/>
                    <a:pt x="282" y="183"/>
                  </a:cubicBezTo>
                  <a:cubicBezTo>
                    <a:pt x="282" y="183"/>
                    <a:pt x="282" y="184"/>
                    <a:pt x="282" y="185"/>
                  </a:cubicBezTo>
                  <a:cubicBezTo>
                    <a:pt x="282" y="185"/>
                    <a:pt x="282" y="186"/>
                    <a:pt x="282" y="187"/>
                  </a:cubicBezTo>
                  <a:cubicBezTo>
                    <a:pt x="266" y="202"/>
                    <a:pt x="248" y="214"/>
                    <a:pt x="228" y="218"/>
                  </a:cubicBezTo>
                  <a:cubicBezTo>
                    <a:pt x="208" y="224"/>
                    <a:pt x="188" y="220"/>
                    <a:pt x="169" y="212"/>
                  </a:cubicBezTo>
                  <a:cubicBezTo>
                    <a:pt x="149" y="204"/>
                    <a:pt x="129" y="193"/>
                    <a:pt x="111" y="179"/>
                  </a:cubicBezTo>
                  <a:cubicBezTo>
                    <a:pt x="102" y="173"/>
                    <a:pt x="94" y="165"/>
                    <a:pt x="86" y="157"/>
                  </a:cubicBezTo>
                  <a:cubicBezTo>
                    <a:pt x="78" y="149"/>
                    <a:pt x="71" y="139"/>
                    <a:pt x="64" y="129"/>
                  </a:cubicBezTo>
                  <a:cubicBezTo>
                    <a:pt x="55" y="118"/>
                    <a:pt x="46" y="106"/>
                    <a:pt x="35" y="98"/>
                  </a:cubicBezTo>
                  <a:cubicBezTo>
                    <a:pt x="25" y="89"/>
                    <a:pt x="13" y="83"/>
                    <a:pt x="1" y="77"/>
                  </a:cubicBezTo>
                  <a:cubicBezTo>
                    <a:pt x="0" y="76"/>
                    <a:pt x="0" y="75"/>
                    <a:pt x="1" y="74"/>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15" name="Freeform 18">
              <a:extLst>
                <a:ext uri="{FF2B5EF4-FFF2-40B4-BE49-F238E27FC236}">
                  <a16:creationId xmlns:a16="http://schemas.microsoft.com/office/drawing/2014/main" id="{E53324B2-7A33-4C50-9022-5CF29B0F5E63}"/>
                </a:ext>
              </a:extLst>
            </p:cNvPr>
            <p:cNvSpPr>
              <a:spLocks/>
            </p:cNvSpPr>
            <p:nvPr/>
          </p:nvSpPr>
          <p:spPr bwMode="auto">
            <a:xfrm>
              <a:off x="4822825" y="2787650"/>
              <a:ext cx="530225" cy="354012"/>
            </a:xfrm>
            <a:custGeom>
              <a:avLst/>
              <a:gdLst>
                <a:gd name="T0" fmla="*/ 0 w 223"/>
                <a:gd name="T1" fmla="*/ 49 h 149"/>
                <a:gd name="T2" fmla="*/ 1 w 223"/>
                <a:gd name="T3" fmla="*/ 48 h 149"/>
                <a:gd name="T4" fmla="*/ 55 w 223"/>
                <a:gd name="T5" fmla="*/ 18 h 149"/>
                <a:gd name="T6" fmla="*/ 106 w 223"/>
                <a:gd name="T7" fmla="*/ 2 h 149"/>
                <a:gd name="T8" fmla="*/ 158 w 223"/>
                <a:gd name="T9" fmla="*/ 14 h 149"/>
                <a:gd name="T10" fmla="*/ 192 w 223"/>
                <a:gd name="T11" fmla="*/ 48 h 149"/>
                <a:gd name="T12" fmla="*/ 199 w 223"/>
                <a:gd name="T13" fmla="*/ 102 h 149"/>
                <a:gd name="T14" fmla="*/ 223 w 223"/>
                <a:gd name="T15" fmla="*/ 129 h 149"/>
                <a:gd name="T16" fmla="*/ 222 w 223"/>
                <a:gd name="T17" fmla="*/ 131 h 149"/>
                <a:gd name="T18" fmla="*/ 213 w 223"/>
                <a:gd name="T19" fmla="*/ 138 h 149"/>
                <a:gd name="T20" fmla="*/ 211 w 223"/>
                <a:gd name="T21" fmla="*/ 137 h 149"/>
                <a:gd name="T22" fmla="*/ 109 w 223"/>
                <a:gd name="T23" fmla="*/ 55 h 149"/>
                <a:gd name="T24" fmla="*/ 102 w 223"/>
                <a:gd name="T25" fmla="*/ 53 h 149"/>
                <a:gd name="T26" fmla="*/ 167 w 223"/>
                <a:gd name="T27" fmla="*/ 97 h 149"/>
                <a:gd name="T28" fmla="*/ 187 w 223"/>
                <a:gd name="T29" fmla="*/ 122 h 149"/>
                <a:gd name="T30" fmla="*/ 188 w 223"/>
                <a:gd name="T31" fmla="*/ 123 h 149"/>
                <a:gd name="T32" fmla="*/ 187 w 223"/>
                <a:gd name="T33" fmla="*/ 125 h 149"/>
                <a:gd name="T34" fmla="*/ 152 w 223"/>
                <a:gd name="T35" fmla="*/ 146 h 149"/>
                <a:gd name="T36" fmla="*/ 112 w 223"/>
                <a:gd name="T37" fmla="*/ 141 h 149"/>
                <a:gd name="T38" fmla="*/ 74 w 223"/>
                <a:gd name="T39" fmla="*/ 120 h 149"/>
                <a:gd name="T40" fmla="*/ 57 w 223"/>
                <a:gd name="T41" fmla="*/ 105 h 149"/>
                <a:gd name="T42" fmla="*/ 42 w 223"/>
                <a:gd name="T43" fmla="*/ 87 h 149"/>
                <a:gd name="T44" fmla="*/ 23 w 223"/>
                <a:gd name="T45" fmla="*/ 65 h 149"/>
                <a:gd name="T46" fmla="*/ 1 w 223"/>
                <a:gd name="T47" fmla="*/ 51 h 149"/>
                <a:gd name="T48" fmla="*/ 0 w 223"/>
                <a:gd name="T49" fmla="*/ 49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3" h="149">
                  <a:moveTo>
                    <a:pt x="0" y="49"/>
                  </a:moveTo>
                  <a:cubicBezTo>
                    <a:pt x="0" y="49"/>
                    <a:pt x="1" y="49"/>
                    <a:pt x="1" y="48"/>
                  </a:cubicBezTo>
                  <a:cubicBezTo>
                    <a:pt x="18" y="37"/>
                    <a:pt x="37" y="27"/>
                    <a:pt x="55" y="18"/>
                  </a:cubicBezTo>
                  <a:cubicBezTo>
                    <a:pt x="72" y="10"/>
                    <a:pt x="88" y="3"/>
                    <a:pt x="106" y="2"/>
                  </a:cubicBezTo>
                  <a:cubicBezTo>
                    <a:pt x="124" y="0"/>
                    <a:pt x="141" y="7"/>
                    <a:pt x="158" y="14"/>
                  </a:cubicBezTo>
                  <a:cubicBezTo>
                    <a:pt x="172" y="21"/>
                    <a:pt x="184" y="32"/>
                    <a:pt x="192" y="48"/>
                  </a:cubicBezTo>
                  <a:cubicBezTo>
                    <a:pt x="200" y="64"/>
                    <a:pt x="203" y="84"/>
                    <a:pt x="199" y="102"/>
                  </a:cubicBezTo>
                  <a:cubicBezTo>
                    <a:pt x="208" y="110"/>
                    <a:pt x="216" y="119"/>
                    <a:pt x="223" y="129"/>
                  </a:cubicBezTo>
                  <a:cubicBezTo>
                    <a:pt x="223" y="130"/>
                    <a:pt x="223" y="131"/>
                    <a:pt x="222" y="131"/>
                  </a:cubicBezTo>
                  <a:cubicBezTo>
                    <a:pt x="220" y="134"/>
                    <a:pt x="217" y="136"/>
                    <a:pt x="213" y="138"/>
                  </a:cubicBezTo>
                  <a:cubicBezTo>
                    <a:pt x="213" y="138"/>
                    <a:pt x="212" y="138"/>
                    <a:pt x="211" y="137"/>
                  </a:cubicBezTo>
                  <a:cubicBezTo>
                    <a:pt x="187" y="98"/>
                    <a:pt x="150" y="68"/>
                    <a:pt x="109" y="55"/>
                  </a:cubicBezTo>
                  <a:cubicBezTo>
                    <a:pt x="107" y="54"/>
                    <a:pt x="104" y="53"/>
                    <a:pt x="102" y="53"/>
                  </a:cubicBezTo>
                  <a:cubicBezTo>
                    <a:pt x="126" y="62"/>
                    <a:pt x="148" y="77"/>
                    <a:pt x="167" y="97"/>
                  </a:cubicBezTo>
                  <a:cubicBezTo>
                    <a:pt x="174" y="105"/>
                    <a:pt x="181" y="113"/>
                    <a:pt x="187" y="122"/>
                  </a:cubicBezTo>
                  <a:cubicBezTo>
                    <a:pt x="188" y="122"/>
                    <a:pt x="188" y="123"/>
                    <a:pt x="188" y="123"/>
                  </a:cubicBezTo>
                  <a:cubicBezTo>
                    <a:pt x="188" y="124"/>
                    <a:pt x="188" y="124"/>
                    <a:pt x="187" y="125"/>
                  </a:cubicBezTo>
                  <a:cubicBezTo>
                    <a:pt x="177" y="135"/>
                    <a:pt x="165" y="143"/>
                    <a:pt x="152" y="146"/>
                  </a:cubicBezTo>
                  <a:cubicBezTo>
                    <a:pt x="138" y="149"/>
                    <a:pt x="125" y="147"/>
                    <a:pt x="112" y="141"/>
                  </a:cubicBezTo>
                  <a:cubicBezTo>
                    <a:pt x="99" y="136"/>
                    <a:pt x="86" y="129"/>
                    <a:pt x="74" y="120"/>
                  </a:cubicBezTo>
                  <a:cubicBezTo>
                    <a:pt x="68" y="116"/>
                    <a:pt x="62" y="111"/>
                    <a:pt x="57" y="105"/>
                  </a:cubicBezTo>
                  <a:cubicBezTo>
                    <a:pt x="52" y="99"/>
                    <a:pt x="47" y="93"/>
                    <a:pt x="42" y="87"/>
                  </a:cubicBezTo>
                  <a:cubicBezTo>
                    <a:pt x="37" y="79"/>
                    <a:pt x="31" y="71"/>
                    <a:pt x="23" y="65"/>
                  </a:cubicBezTo>
                  <a:cubicBezTo>
                    <a:pt x="16" y="60"/>
                    <a:pt x="8" y="56"/>
                    <a:pt x="1" y="51"/>
                  </a:cubicBezTo>
                  <a:cubicBezTo>
                    <a:pt x="0" y="51"/>
                    <a:pt x="0" y="50"/>
                    <a:pt x="0" y="49"/>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16" name="Freeform 19">
              <a:extLst>
                <a:ext uri="{FF2B5EF4-FFF2-40B4-BE49-F238E27FC236}">
                  <a16:creationId xmlns:a16="http://schemas.microsoft.com/office/drawing/2014/main" id="{44BD3F89-E711-41C9-A23D-695B849D1D7E}"/>
                </a:ext>
              </a:extLst>
            </p:cNvPr>
            <p:cNvSpPr>
              <a:spLocks/>
            </p:cNvSpPr>
            <p:nvPr/>
          </p:nvSpPr>
          <p:spPr bwMode="auto">
            <a:xfrm>
              <a:off x="5618163" y="2903538"/>
              <a:ext cx="530225" cy="354012"/>
            </a:xfrm>
            <a:custGeom>
              <a:avLst/>
              <a:gdLst>
                <a:gd name="T0" fmla="*/ 223 w 223"/>
                <a:gd name="T1" fmla="*/ 49 h 149"/>
                <a:gd name="T2" fmla="*/ 222 w 223"/>
                <a:gd name="T3" fmla="*/ 48 h 149"/>
                <a:gd name="T4" fmla="*/ 168 w 223"/>
                <a:gd name="T5" fmla="*/ 18 h 149"/>
                <a:gd name="T6" fmla="*/ 117 w 223"/>
                <a:gd name="T7" fmla="*/ 2 h 149"/>
                <a:gd name="T8" fmla="*/ 65 w 223"/>
                <a:gd name="T9" fmla="*/ 14 h 149"/>
                <a:gd name="T10" fmla="*/ 31 w 223"/>
                <a:gd name="T11" fmla="*/ 48 h 149"/>
                <a:gd name="T12" fmla="*/ 24 w 223"/>
                <a:gd name="T13" fmla="*/ 102 h 149"/>
                <a:gd name="T14" fmla="*/ 1 w 223"/>
                <a:gd name="T15" fmla="*/ 129 h 149"/>
                <a:gd name="T16" fmla="*/ 1 w 223"/>
                <a:gd name="T17" fmla="*/ 131 h 149"/>
                <a:gd name="T18" fmla="*/ 10 w 223"/>
                <a:gd name="T19" fmla="*/ 138 h 149"/>
                <a:gd name="T20" fmla="*/ 12 w 223"/>
                <a:gd name="T21" fmla="*/ 137 h 149"/>
                <a:gd name="T22" fmla="*/ 114 w 223"/>
                <a:gd name="T23" fmla="*/ 55 h 149"/>
                <a:gd name="T24" fmla="*/ 121 w 223"/>
                <a:gd name="T25" fmla="*/ 53 h 149"/>
                <a:gd name="T26" fmla="*/ 56 w 223"/>
                <a:gd name="T27" fmla="*/ 97 h 149"/>
                <a:gd name="T28" fmla="*/ 36 w 223"/>
                <a:gd name="T29" fmla="*/ 122 h 149"/>
                <a:gd name="T30" fmla="*/ 35 w 223"/>
                <a:gd name="T31" fmla="*/ 123 h 149"/>
                <a:gd name="T32" fmla="*/ 36 w 223"/>
                <a:gd name="T33" fmla="*/ 125 h 149"/>
                <a:gd name="T34" fmla="*/ 71 w 223"/>
                <a:gd name="T35" fmla="*/ 146 h 149"/>
                <a:gd name="T36" fmla="*/ 111 w 223"/>
                <a:gd name="T37" fmla="*/ 141 h 149"/>
                <a:gd name="T38" fmla="*/ 149 w 223"/>
                <a:gd name="T39" fmla="*/ 120 h 149"/>
                <a:gd name="T40" fmla="*/ 166 w 223"/>
                <a:gd name="T41" fmla="*/ 105 h 149"/>
                <a:gd name="T42" fmla="*/ 181 w 223"/>
                <a:gd name="T43" fmla="*/ 87 h 149"/>
                <a:gd name="T44" fmla="*/ 200 w 223"/>
                <a:gd name="T45" fmla="*/ 65 h 149"/>
                <a:gd name="T46" fmla="*/ 222 w 223"/>
                <a:gd name="T47" fmla="*/ 51 h 149"/>
                <a:gd name="T48" fmla="*/ 223 w 223"/>
                <a:gd name="T49" fmla="*/ 49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3" h="149">
                  <a:moveTo>
                    <a:pt x="223" y="49"/>
                  </a:moveTo>
                  <a:cubicBezTo>
                    <a:pt x="223" y="49"/>
                    <a:pt x="223" y="49"/>
                    <a:pt x="222" y="48"/>
                  </a:cubicBezTo>
                  <a:cubicBezTo>
                    <a:pt x="205" y="37"/>
                    <a:pt x="187" y="27"/>
                    <a:pt x="168" y="18"/>
                  </a:cubicBezTo>
                  <a:cubicBezTo>
                    <a:pt x="152" y="10"/>
                    <a:pt x="135" y="3"/>
                    <a:pt x="117" y="2"/>
                  </a:cubicBezTo>
                  <a:cubicBezTo>
                    <a:pt x="99" y="0"/>
                    <a:pt x="82" y="7"/>
                    <a:pt x="65" y="14"/>
                  </a:cubicBezTo>
                  <a:cubicBezTo>
                    <a:pt x="51" y="21"/>
                    <a:pt x="39" y="32"/>
                    <a:pt x="31" y="48"/>
                  </a:cubicBezTo>
                  <a:cubicBezTo>
                    <a:pt x="23" y="64"/>
                    <a:pt x="20" y="84"/>
                    <a:pt x="24" y="102"/>
                  </a:cubicBezTo>
                  <a:cubicBezTo>
                    <a:pt x="15" y="110"/>
                    <a:pt x="7" y="119"/>
                    <a:pt x="1" y="129"/>
                  </a:cubicBezTo>
                  <a:cubicBezTo>
                    <a:pt x="0" y="130"/>
                    <a:pt x="0" y="131"/>
                    <a:pt x="1" y="131"/>
                  </a:cubicBezTo>
                  <a:cubicBezTo>
                    <a:pt x="4" y="134"/>
                    <a:pt x="7" y="136"/>
                    <a:pt x="10" y="138"/>
                  </a:cubicBezTo>
                  <a:cubicBezTo>
                    <a:pt x="11" y="138"/>
                    <a:pt x="11" y="138"/>
                    <a:pt x="12" y="137"/>
                  </a:cubicBezTo>
                  <a:cubicBezTo>
                    <a:pt x="36" y="98"/>
                    <a:pt x="73" y="68"/>
                    <a:pt x="114" y="55"/>
                  </a:cubicBezTo>
                  <a:cubicBezTo>
                    <a:pt x="116" y="54"/>
                    <a:pt x="119" y="53"/>
                    <a:pt x="121" y="53"/>
                  </a:cubicBezTo>
                  <a:cubicBezTo>
                    <a:pt x="97" y="62"/>
                    <a:pt x="75" y="77"/>
                    <a:pt x="56" y="97"/>
                  </a:cubicBezTo>
                  <a:cubicBezTo>
                    <a:pt x="49" y="105"/>
                    <a:pt x="42" y="113"/>
                    <a:pt x="36" y="122"/>
                  </a:cubicBezTo>
                  <a:cubicBezTo>
                    <a:pt x="35" y="122"/>
                    <a:pt x="35" y="123"/>
                    <a:pt x="35" y="123"/>
                  </a:cubicBezTo>
                  <a:cubicBezTo>
                    <a:pt x="35" y="124"/>
                    <a:pt x="35" y="124"/>
                    <a:pt x="36" y="125"/>
                  </a:cubicBezTo>
                  <a:cubicBezTo>
                    <a:pt x="46" y="135"/>
                    <a:pt x="58" y="143"/>
                    <a:pt x="71" y="146"/>
                  </a:cubicBezTo>
                  <a:cubicBezTo>
                    <a:pt x="85" y="149"/>
                    <a:pt x="98" y="147"/>
                    <a:pt x="111" y="141"/>
                  </a:cubicBezTo>
                  <a:cubicBezTo>
                    <a:pt x="124" y="136"/>
                    <a:pt x="137" y="129"/>
                    <a:pt x="149" y="120"/>
                  </a:cubicBezTo>
                  <a:cubicBezTo>
                    <a:pt x="155" y="116"/>
                    <a:pt x="161" y="111"/>
                    <a:pt x="166" y="105"/>
                  </a:cubicBezTo>
                  <a:cubicBezTo>
                    <a:pt x="171" y="99"/>
                    <a:pt x="176" y="93"/>
                    <a:pt x="181" y="87"/>
                  </a:cubicBezTo>
                  <a:cubicBezTo>
                    <a:pt x="187" y="79"/>
                    <a:pt x="193" y="71"/>
                    <a:pt x="200" y="65"/>
                  </a:cubicBezTo>
                  <a:cubicBezTo>
                    <a:pt x="207" y="60"/>
                    <a:pt x="215" y="56"/>
                    <a:pt x="222" y="51"/>
                  </a:cubicBezTo>
                  <a:cubicBezTo>
                    <a:pt x="223" y="51"/>
                    <a:pt x="223" y="50"/>
                    <a:pt x="223" y="49"/>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17" name="Freeform 20">
              <a:extLst>
                <a:ext uri="{FF2B5EF4-FFF2-40B4-BE49-F238E27FC236}">
                  <a16:creationId xmlns:a16="http://schemas.microsoft.com/office/drawing/2014/main" id="{1284808D-E9FF-4CFB-A9DA-32C4842F820C}"/>
                </a:ext>
              </a:extLst>
            </p:cNvPr>
            <p:cNvSpPr>
              <a:spLocks/>
            </p:cNvSpPr>
            <p:nvPr/>
          </p:nvSpPr>
          <p:spPr bwMode="auto">
            <a:xfrm>
              <a:off x="5715000" y="3460750"/>
              <a:ext cx="642938" cy="430212"/>
            </a:xfrm>
            <a:custGeom>
              <a:avLst/>
              <a:gdLst>
                <a:gd name="T0" fmla="*/ 270 w 270"/>
                <a:gd name="T1" fmla="*/ 60 h 181"/>
                <a:gd name="T2" fmla="*/ 269 w 270"/>
                <a:gd name="T3" fmla="*/ 58 h 181"/>
                <a:gd name="T4" fmla="*/ 203 w 270"/>
                <a:gd name="T5" fmla="*/ 21 h 181"/>
                <a:gd name="T6" fmla="*/ 142 w 270"/>
                <a:gd name="T7" fmla="*/ 2 h 181"/>
                <a:gd name="T8" fmla="*/ 79 w 270"/>
                <a:gd name="T9" fmla="*/ 17 h 181"/>
                <a:gd name="T10" fmla="*/ 37 w 270"/>
                <a:gd name="T11" fmla="*/ 58 h 181"/>
                <a:gd name="T12" fmla="*/ 28 w 270"/>
                <a:gd name="T13" fmla="*/ 124 h 181"/>
                <a:gd name="T14" fmla="*/ 0 w 270"/>
                <a:gd name="T15" fmla="*/ 157 h 181"/>
                <a:gd name="T16" fmla="*/ 0 w 270"/>
                <a:gd name="T17" fmla="*/ 159 h 181"/>
                <a:gd name="T18" fmla="*/ 11 w 270"/>
                <a:gd name="T19" fmla="*/ 167 h 181"/>
                <a:gd name="T20" fmla="*/ 14 w 270"/>
                <a:gd name="T21" fmla="*/ 166 h 181"/>
                <a:gd name="T22" fmla="*/ 137 w 270"/>
                <a:gd name="T23" fmla="*/ 66 h 181"/>
                <a:gd name="T24" fmla="*/ 147 w 270"/>
                <a:gd name="T25" fmla="*/ 64 h 181"/>
                <a:gd name="T26" fmla="*/ 67 w 270"/>
                <a:gd name="T27" fmla="*/ 117 h 181"/>
                <a:gd name="T28" fmla="*/ 43 w 270"/>
                <a:gd name="T29" fmla="*/ 148 h 181"/>
                <a:gd name="T30" fmla="*/ 42 w 270"/>
                <a:gd name="T31" fmla="*/ 149 h 181"/>
                <a:gd name="T32" fmla="*/ 43 w 270"/>
                <a:gd name="T33" fmla="*/ 151 h 181"/>
                <a:gd name="T34" fmla="*/ 86 w 270"/>
                <a:gd name="T35" fmla="*/ 177 h 181"/>
                <a:gd name="T36" fmla="*/ 134 w 270"/>
                <a:gd name="T37" fmla="*/ 171 h 181"/>
                <a:gd name="T38" fmla="*/ 181 w 270"/>
                <a:gd name="T39" fmla="*/ 145 h 181"/>
                <a:gd name="T40" fmla="*/ 201 w 270"/>
                <a:gd name="T41" fmla="*/ 127 h 181"/>
                <a:gd name="T42" fmla="*/ 219 w 270"/>
                <a:gd name="T43" fmla="*/ 105 h 181"/>
                <a:gd name="T44" fmla="*/ 242 w 270"/>
                <a:gd name="T45" fmla="*/ 79 h 181"/>
                <a:gd name="T46" fmla="*/ 269 w 270"/>
                <a:gd name="T47" fmla="*/ 62 h 181"/>
                <a:gd name="T48" fmla="*/ 270 w 270"/>
                <a:gd name="T49" fmla="*/ 6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70" h="181">
                  <a:moveTo>
                    <a:pt x="270" y="60"/>
                  </a:moveTo>
                  <a:cubicBezTo>
                    <a:pt x="270" y="59"/>
                    <a:pt x="270" y="59"/>
                    <a:pt x="269" y="58"/>
                  </a:cubicBezTo>
                  <a:cubicBezTo>
                    <a:pt x="248" y="44"/>
                    <a:pt x="226" y="32"/>
                    <a:pt x="203" y="21"/>
                  </a:cubicBezTo>
                  <a:cubicBezTo>
                    <a:pt x="183" y="12"/>
                    <a:pt x="163" y="4"/>
                    <a:pt x="142" y="2"/>
                  </a:cubicBezTo>
                  <a:cubicBezTo>
                    <a:pt x="120" y="0"/>
                    <a:pt x="99" y="8"/>
                    <a:pt x="79" y="17"/>
                  </a:cubicBezTo>
                  <a:cubicBezTo>
                    <a:pt x="61" y="25"/>
                    <a:pt x="46" y="39"/>
                    <a:pt x="37" y="58"/>
                  </a:cubicBezTo>
                  <a:cubicBezTo>
                    <a:pt x="27" y="78"/>
                    <a:pt x="24" y="101"/>
                    <a:pt x="28" y="124"/>
                  </a:cubicBezTo>
                  <a:cubicBezTo>
                    <a:pt x="18" y="133"/>
                    <a:pt x="8" y="144"/>
                    <a:pt x="0" y="157"/>
                  </a:cubicBezTo>
                  <a:cubicBezTo>
                    <a:pt x="0" y="157"/>
                    <a:pt x="0" y="159"/>
                    <a:pt x="0" y="159"/>
                  </a:cubicBezTo>
                  <a:cubicBezTo>
                    <a:pt x="4" y="162"/>
                    <a:pt x="7" y="165"/>
                    <a:pt x="11" y="167"/>
                  </a:cubicBezTo>
                  <a:cubicBezTo>
                    <a:pt x="12" y="168"/>
                    <a:pt x="13" y="167"/>
                    <a:pt x="14" y="166"/>
                  </a:cubicBezTo>
                  <a:cubicBezTo>
                    <a:pt x="43" y="118"/>
                    <a:pt x="88" y="82"/>
                    <a:pt x="137" y="66"/>
                  </a:cubicBezTo>
                  <a:cubicBezTo>
                    <a:pt x="140" y="65"/>
                    <a:pt x="144" y="65"/>
                    <a:pt x="147" y="64"/>
                  </a:cubicBezTo>
                  <a:cubicBezTo>
                    <a:pt x="117" y="75"/>
                    <a:pt x="90" y="93"/>
                    <a:pt x="67" y="117"/>
                  </a:cubicBezTo>
                  <a:cubicBezTo>
                    <a:pt x="58" y="127"/>
                    <a:pt x="50" y="137"/>
                    <a:pt x="43" y="148"/>
                  </a:cubicBezTo>
                  <a:cubicBezTo>
                    <a:pt x="42" y="148"/>
                    <a:pt x="42" y="149"/>
                    <a:pt x="42" y="149"/>
                  </a:cubicBezTo>
                  <a:cubicBezTo>
                    <a:pt x="42" y="150"/>
                    <a:pt x="42" y="151"/>
                    <a:pt x="43" y="151"/>
                  </a:cubicBezTo>
                  <a:cubicBezTo>
                    <a:pt x="55" y="163"/>
                    <a:pt x="70" y="173"/>
                    <a:pt x="86" y="177"/>
                  </a:cubicBezTo>
                  <a:cubicBezTo>
                    <a:pt x="102" y="181"/>
                    <a:pt x="118" y="178"/>
                    <a:pt x="134" y="171"/>
                  </a:cubicBezTo>
                  <a:cubicBezTo>
                    <a:pt x="150" y="165"/>
                    <a:pt x="166" y="156"/>
                    <a:pt x="181" y="145"/>
                  </a:cubicBezTo>
                  <a:cubicBezTo>
                    <a:pt x="188" y="140"/>
                    <a:pt x="195" y="134"/>
                    <a:pt x="201" y="127"/>
                  </a:cubicBezTo>
                  <a:cubicBezTo>
                    <a:pt x="207" y="120"/>
                    <a:pt x="213" y="112"/>
                    <a:pt x="219" y="105"/>
                  </a:cubicBezTo>
                  <a:cubicBezTo>
                    <a:pt x="226" y="95"/>
                    <a:pt x="233" y="86"/>
                    <a:pt x="242" y="79"/>
                  </a:cubicBezTo>
                  <a:cubicBezTo>
                    <a:pt x="251" y="72"/>
                    <a:pt x="260" y="67"/>
                    <a:pt x="269" y="62"/>
                  </a:cubicBezTo>
                  <a:cubicBezTo>
                    <a:pt x="270" y="62"/>
                    <a:pt x="270" y="60"/>
                    <a:pt x="270" y="60"/>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grpSp>
      <p:grpSp>
        <p:nvGrpSpPr>
          <p:cNvPr id="18" name="Group 38">
            <a:extLst>
              <a:ext uri="{FF2B5EF4-FFF2-40B4-BE49-F238E27FC236}">
                <a16:creationId xmlns:a16="http://schemas.microsoft.com/office/drawing/2014/main" id="{55A58FB1-246B-4B7A-B117-552A89E9D3C3}"/>
              </a:ext>
            </a:extLst>
          </p:cNvPr>
          <p:cNvGrpSpPr/>
          <p:nvPr/>
        </p:nvGrpSpPr>
        <p:grpSpPr>
          <a:xfrm>
            <a:off x="6567489" y="2329112"/>
            <a:ext cx="1694691" cy="2878571"/>
            <a:chOff x="6567488" y="1387475"/>
            <a:chExt cx="1790700" cy="3041650"/>
          </a:xfrm>
        </p:grpSpPr>
        <p:sp>
          <p:nvSpPr>
            <p:cNvPr id="19" name="Freeform 12">
              <a:extLst>
                <a:ext uri="{FF2B5EF4-FFF2-40B4-BE49-F238E27FC236}">
                  <a16:creationId xmlns:a16="http://schemas.microsoft.com/office/drawing/2014/main" id="{061F5D6C-A5CC-41E6-9CB8-20C5ED3FD713}"/>
                </a:ext>
              </a:extLst>
            </p:cNvPr>
            <p:cNvSpPr>
              <a:spLocks/>
            </p:cNvSpPr>
            <p:nvPr/>
          </p:nvSpPr>
          <p:spPr bwMode="auto">
            <a:xfrm>
              <a:off x="6972300" y="1925638"/>
              <a:ext cx="1209675" cy="2503487"/>
            </a:xfrm>
            <a:custGeom>
              <a:avLst/>
              <a:gdLst>
                <a:gd name="T0" fmla="*/ 251 w 508"/>
                <a:gd name="T1" fmla="*/ 993 h 1054"/>
                <a:gd name="T2" fmla="*/ 246 w 508"/>
                <a:gd name="T3" fmla="*/ 889 h 1054"/>
                <a:gd name="T4" fmla="*/ 215 w 508"/>
                <a:gd name="T5" fmla="*/ 712 h 1054"/>
                <a:gd name="T6" fmla="*/ 215 w 508"/>
                <a:gd name="T7" fmla="*/ 712 h 1054"/>
                <a:gd name="T8" fmla="*/ 223 w 508"/>
                <a:gd name="T9" fmla="*/ 640 h 1054"/>
                <a:gd name="T10" fmla="*/ 240 w 508"/>
                <a:gd name="T11" fmla="*/ 569 h 1054"/>
                <a:gd name="T12" fmla="*/ 306 w 508"/>
                <a:gd name="T13" fmla="*/ 436 h 1054"/>
                <a:gd name="T14" fmla="*/ 398 w 508"/>
                <a:gd name="T15" fmla="*/ 329 h 1054"/>
                <a:gd name="T16" fmla="*/ 501 w 508"/>
                <a:gd name="T17" fmla="*/ 232 h 1054"/>
                <a:gd name="T18" fmla="*/ 491 w 508"/>
                <a:gd name="T19" fmla="*/ 212 h 1054"/>
                <a:gd name="T20" fmla="*/ 388 w 508"/>
                <a:gd name="T21" fmla="*/ 283 h 1054"/>
                <a:gd name="T22" fmla="*/ 388 w 508"/>
                <a:gd name="T23" fmla="*/ 262 h 1054"/>
                <a:gd name="T24" fmla="*/ 385 w 508"/>
                <a:gd name="T25" fmla="*/ 197 h 1054"/>
                <a:gd name="T26" fmla="*/ 381 w 508"/>
                <a:gd name="T27" fmla="*/ 185 h 1054"/>
                <a:gd name="T28" fmla="*/ 359 w 508"/>
                <a:gd name="T29" fmla="*/ 222 h 1054"/>
                <a:gd name="T30" fmla="*/ 360 w 508"/>
                <a:gd name="T31" fmla="*/ 262 h 1054"/>
                <a:gd name="T32" fmla="*/ 355 w 508"/>
                <a:gd name="T33" fmla="*/ 312 h 1054"/>
                <a:gd name="T34" fmla="*/ 355 w 508"/>
                <a:gd name="T35" fmla="*/ 314 h 1054"/>
                <a:gd name="T36" fmla="*/ 267 w 508"/>
                <a:gd name="T37" fmla="*/ 413 h 1054"/>
                <a:gd name="T38" fmla="*/ 246 w 508"/>
                <a:gd name="T39" fmla="*/ 444 h 1054"/>
                <a:gd name="T40" fmla="*/ 206 w 508"/>
                <a:gd name="T41" fmla="*/ 356 h 1054"/>
                <a:gd name="T42" fmla="*/ 182 w 508"/>
                <a:gd name="T43" fmla="*/ 237 h 1054"/>
                <a:gd name="T44" fmla="*/ 171 w 508"/>
                <a:gd name="T45" fmla="*/ 181 h 1054"/>
                <a:gd name="T46" fmla="*/ 170 w 508"/>
                <a:gd name="T47" fmla="*/ 172 h 1054"/>
                <a:gd name="T48" fmla="*/ 175 w 508"/>
                <a:gd name="T49" fmla="*/ 162 h 1054"/>
                <a:gd name="T50" fmla="*/ 195 w 508"/>
                <a:gd name="T51" fmla="*/ 107 h 1054"/>
                <a:gd name="T52" fmla="*/ 199 w 508"/>
                <a:gd name="T53" fmla="*/ 59 h 1054"/>
                <a:gd name="T54" fmla="*/ 185 w 508"/>
                <a:gd name="T55" fmla="*/ 61 h 1054"/>
                <a:gd name="T56" fmla="*/ 161 w 508"/>
                <a:gd name="T57" fmla="*/ 116 h 1054"/>
                <a:gd name="T58" fmla="*/ 158 w 508"/>
                <a:gd name="T59" fmla="*/ 123 h 1054"/>
                <a:gd name="T60" fmla="*/ 150 w 508"/>
                <a:gd name="T61" fmla="*/ 100 h 1054"/>
                <a:gd name="T62" fmla="*/ 90 w 508"/>
                <a:gd name="T63" fmla="*/ 4 h 1054"/>
                <a:gd name="T64" fmla="*/ 79 w 508"/>
                <a:gd name="T65" fmla="*/ 13 h 1054"/>
                <a:gd name="T66" fmla="*/ 102 w 508"/>
                <a:gd name="T67" fmla="*/ 77 h 1054"/>
                <a:gd name="T68" fmla="*/ 120 w 508"/>
                <a:gd name="T69" fmla="*/ 140 h 1054"/>
                <a:gd name="T70" fmla="*/ 143 w 508"/>
                <a:gd name="T71" fmla="*/ 271 h 1054"/>
                <a:gd name="T72" fmla="*/ 215 w 508"/>
                <a:gd name="T73" fmla="*/ 488 h 1054"/>
                <a:gd name="T74" fmla="*/ 219 w 508"/>
                <a:gd name="T75" fmla="*/ 492 h 1054"/>
                <a:gd name="T76" fmla="*/ 194 w 508"/>
                <a:gd name="T77" fmla="*/ 551 h 1054"/>
                <a:gd name="T78" fmla="*/ 178 w 508"/>
                <a:gd name="T79" fmla="*/ 603 h 1054"/>
                <a:gd name="T80" fmla="*/ 122 w 508"/>
                <a:gd name="T81" fmla="*/ 485 h 1054"/>
                <a:gd name="T82" fmla="*/ 70 w 508"/>
                <a:gd name="T83" fmla="*/ 403 h 1054"/>
                <a:gd name="T84" fmla="*/ 8 w 508"/>
                <a:gd name="T85" fmla="*/ 334 h 1054"/>
                <a:gd name="T86" fmla="*/ 1 w 508"/>
                <a:gd name="T87" fmla="*/ 342 h 1054"/>
                <a:gd name="T88" fmla="*/ 21 w 508"/>
                <a:gd name="T89" fmla="*/ 381 h 1054"/>
                <a:gd name="T90" fmla="*/ 47 w 508"/>
                <a:gd name="T91" fmla="*/ 424 h 1054"/>
                <a:gd name="T92" fmla="*/ 89 w 508"/>
                <a:gd name="T93" fmla="*/ 507 h 1054"/>
                <a:gd name="T94" fmla="*/ 156 w 508"/>
                <a:gd name="T95" fmla="*/ 697 h 1054"/>
                <a:gd name="T96" fmla="*/ 191 w 508"/>
                <a:gd name="T97" fmla="*/ 893 h 1054"/>
                <a:gd name="T98" fmla="*/ 195 w 508"/>
                <a:gd name="T99" fmla="*/ 993 h 1054"/>
                <a:gd name="T100" fmla="*/ 191 w 508"/>
                <a:gd name="T101" fmla="*/ 1054 h 1054"/>
                <a:gd name="T102" fmla="*/ 251 w 508"/>
                <a:gd name="T103" fmla="*/ 1054 h 1054"/>
                <a:gd name="T104" fmla="*/ 251 w 508"/>
                <a:gd name="T105" fmla="*/ 993 h 10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08" h="1054">
                  <a:moveTo>
                    <a:pt x="251" y="993"/>
                  </a:moveTo>
                  <a:cubicBezTo>
                    <a:pt x="251" y="958"/>
                    <a:pt x="249" y="924"/>
                    <a:pt x="246" y="889"/>
                  </a:cubicBezTo>
                  <a:cubicBezTo>
                    <a:pt x="240" y="829"/>
                    <a:pt x="230" y="770"/>
                    <a:pt x="215" y="712"/>
                  </a:cubicBezTo>
                  <a:cubicBezTo>
                    <a:pt x="215" y="712"/>
                    <a:pt x="215" y="712"/>
                    <a:pt x="215" y="712"/>
                  </a:cubicBezTo>
                  <a:cubicBezTo>
                    <a:pt x="221" y="689"/>
                    <a:pt x="219" y="663"/>
                    <a:pt x="223" y="640"/>
                  </a:cubicBezTo>
                  <a:cubicBezTo>
                    <a:pt x="227" y="616"/>
                    <a:pt x="233" y="592"/>
                    <a:pt x="240" y="569"/>
                  </a:cubicBezTo>
                  <a:cubicBezTo>
                    <a:pt x="255" y="521"/>
                    <a:pt x="279" y="476"/>
                    <a:pt x="306" y="436"/>
                  </a:cubicBezTo>
                  <a:cubicBezTo>
                    <a:pt x="333" y="397"/>
                    <a:pt x="365" y="362"/>
                    <a:pt x="398" y="329"/>
                  </a:cubicBezTo>
                  <a:cubicBezTo>
                    <a:pt x="432" y="296"/>
                    <a:pt x="469" y="268"/>
                    <a:pt x="501" y="232"/>
                  </a:cubicBezTo>
                  <a:cubicBezTo>
                    <a:pt x="508" y="224"/>
                    <a:pt x="501" y="207"/>
                    <a:pt x="491" y="212"/>
                  </a:cubicBezTo>
                  <a:cubicBezTo>
                    <a:pt x="454" y="229"/>
                    <a:pt x="420" y="255"/>
                    <a:pt x="388" y="283"/>
                  </a:cubicBezTo>
                  <a:cubicBezTo>
                    <a:pt x="389" y="276"/>
                    <a:pt x="389" y="269"/>
                    <a:pt x="388" y="262"/>
                  </a:cubicBezTo>
                  <a:cubicBezTo>
                    <a:pt x="386" y="243"/>
                    <a:pt x="366" y="212"/>
                    <a:pt x="385" y="197"/>
                  </a:cubicBezTo>
                  <a:cubicBezTo>
                    <a:pt x="390" y="193"/>
                    <a:pt x="387" y="182"/>
                    <a:pt x="381" y="185"/>
                  </a:cubicBezTo>
                  <a:cubicBezTo>
                    <a:pt x="367" y="192"/>
                    <a:pt x="361" y="205"/>
                    <a:pt x="359" y="222"/>
                  </a:cubicBezTo>
                  <a:cubicBezTo>
                    <a:pt x="357" y="236"/>
                    <a:pt x="360" y="249"/>
                    <a:pt x="360" y="262"/>
                  </a:cubicBezTo>
                  <a:cubicBezTo>
                    <a:pt x="361" y="279"/>
                    <a:pt x="356" y="295"/>
                    <a:pt x="355" y="312"/>
                  </a:cubicBezTo>
                  <a:cubicBezTo>
                    <a:pt x="354" y="313"/>
                    <a:pt x="355" y="313"/>
                    <a:pt x="355" y="314"/>
                  </a:cubicBezTo>
                  <a:cubicBezTo>
                    <a:pt x="323" y="344"/>
                    <a:pt x="293" y="376"/>
                    <a:pt x="267" y="413"/>
                  </a:cubicBezTo>
                  <a:cubicBezTo>
                    <a:pt x="260" y="423"/>
                    <a:pt x="253" y="434"/>
                    <a:pt x="246" y="444"/>
                  </a:cubicBezTo>
                  <a:cubicBezTo>
                    <a:pt x="229" y="417"/>
                    <a:pt x="215" y="389"/>
                    <a:pt x="206" y="356"/>
                  </a:cubicBezTo>
                  <a:cubicBezTo>
                    <a:pt x="195" y="317"/>
                    <a:pt x="189" y="277"/>
                    <a:pt x="182" y="237"/>
                  </a:cubicBezTo>
                  <a:cubicBezTo>
                    <a:pt x="179" y="218"/>
                    <a:pt x="176" y="199"/>
                    <a:pt x="171" y="181"/>
                  </a:cubicBezTo>
                  <a:cubicBezTo>
                    <a:pt x="171" y="178"/>
                    <a:pt x="171" y="175"/>
                    <a:pt x="170" y="172"/>
                  </a:cubicBezTo>
                  <a:cubicBezTo>
                    <a:pt x="173" y="170"/>
                    <a:pt x="175" y="166"/>
                    <a:pt x="175" y="162"/>
                  </a:cubicBezTo>
                  <a:cubicBezTo>
                    <a:pt x="177" y="140"/>
                    <a:pt x="186" y="126"/>
                    <a:pt x="195" y="107"/>
                  </a:cubicBezTo>
                  <a:cubicBezTo>
                    <a:pt x="202" y="92"/>
                    <a:pt x="208" y="74"/>
                    <a:pt x="199" y="59"/>
                  </a:cubicBezTo>
                  <a:cubicBezTo>
                    <a:pt x="195" y="52"/>
                    <a:pt x="187" y="53"/>
                    <a:pt x="185" y="61"/>
                  </a:cubicBezTo>
                  <a:cubicBezTo>
                    <a:pt x="179" y="81"/>
                    <a:pt x="171" y="97"/>
                    <a:pt x="161" y="116"/>
                  </a:cubicBezTo>
                  <a:cubicBezTo>
                    <a:pt x="160" y="118"/>
                    <a:pt x="159" y="121"/>
                    <a:pt x="158" y="123"/>
                  </a:cubicBezTo>
                  <a:cubicBezTo>
                    <a:pt x="155" y="115"/>
                    <a:pt x="152" y="107"/>
                    <a:pt x="150" y="100"/>
                  </a:cubicBezTo>
                  <a:cubicBezTo>
                    <a:pt x="137" y="65"/>
                    <a:pt x="119" y="23"/>
                    <a:pt x="90" y="4"/>
                  </a:cubicBezTo>
                  <a:cubicBezTo>
                    <a:pt x="84" y="0"/>
                    <a:pt x="77" y="6"/>
                    <a:pt x="79" y="13"/>
                  </a:cubicBezTo>
                  <a:cubicBezTo>
                    <a:pt x="83" y="35"/>
                    <a:pt x="93" y="56"/>
                    <a:pt x="102" y="77"/>
                  </a:cubicBezTo>
                  <a:cubicBezTo>
                    <a:pt x="108" y="98"/>
                    <a:pt x="115" y="119"/>
                    <a:pt x="120" y="140"/>
                  </a:cubicBezTo>
                  <a:cubicBezTo>
                    <a:pt x="132" y="183"/>
                    <a:pt x="137" y="227"/>
                    <a:pt x="143" y="271"/>
                  </a:cubicBezTo>
                  <a:cubicBezTo>
                    <a:pt x="154" y="346"/>
                    <a:pt x="167" y="432"/>
                    <a:pt x="215" y="488"/>
                  </a:cubicBezTo>
                  <a:cubicBezTo>
                    <a:pt x="216" y="490"/>
                    <a:pt x="218" y="491"/>
                    <a:pt x="219" y="492"/>
                  </a:cubicBezTo>
                  <a:cubicBezTo>
                    <a:pt x="210" y="511"/>
                    <a:pt x="201" y="531"/>
                    <a:pt x="194" y="551"/>
                  </a:cubicBezTo>
                  <a:cubicBezTo>
                    <a:pt x="188" y="568"/>
                    <a:pt x="183" y="585"/>
                    <a:pt x="178" y="603"/>
                  </a:cubicBezTo>
                  <a:cubicBezTo>
                    <a:pt x="162" y="562"/>
                    <a:pt x="143" y="523"/>
                    <a:pt x="122" y="485"/>
                  </a:cubicBezTo>
                  <a:cubicBezTo>
                    <a:pt x="106" y="457"/>
                    <a:pt x="88" y="429"/>
                    <a:pt x="70" y="403"/>
                  </a:cubicBezTo>
                  <a:cubicBezTo>
                    <a:pt x="53" y="381"/>
                    <a:pt x="32" y="343"/>
                    <a:pt x="8" y="334"/>
                  </a:cubicBezTo>
                  <a:cubicBezTo>
                    <a:pt x="3" y="332"/>
                    <a:pt x="0" y="337"/>
                    <a:pt x="1" y="342"/>
                  </a:cubicBezTo>
                  <a:cubicBezTo>
                    <a:pt x="4" y="357"/>
                    <a:pt x="14" y="369"/>
                    <a:pt x="21" y="381"/>
                  </a:cubicBezTo>
                  <a:cubicBezTo>
                    <a:pt x="30" y="395"/>
                    <a:pt x="39" y="409"/>
                    <a:pt x="47" y="424"/>
                  </a:cubicBezTo>
                  <a:cubicBezTo>
                    <a:pt x="62" y="451"/>
                    <a:pt x="76" y="478"/>
                    <a:pt x="89" y="507"/>
                  </a:cubicBezTo>
                  <a:cubicBezTo>
                    <a:pt x="117" y="567"/>
                    <a:pt x="139" y="632"/>
                    <a:pt x="156" y="697"/>
                  </a:cubicBezTo>
                  <a:cubicBezTo>
                    <a:pt x="173" y="761"/>
                    <a:pt x="185" y="827"/>
                    <a:pt x="191" y="893"/>
                  </a:cubicBezTo>
                  <a:cubicBezTo>
                    <a:pt x="194" y="926"/>
                    <a:pt x="195" y="960"/>
                    <a:pt x="195" y="993"/>
                  </a:cubicBezTo>
                  <a:cubicBezTo>
                    <a:pt x="195" y="1012"/>
                    <a:pt x="192" y="1034"/>
                    <a:pt x="191" y="1054"/>
                  </a:cubicBezTo>
                  <a:cubicBezTo>
                    <a:pt x="251" y="1054"/>
                    <a:pt x="251" y="1054"/>
                    <a:pt x="251" y="1054"/>
                  </a:cubicBezTo>
                  <a:cubicBezTo>
                    <a:pt x="252" y="1033"/>
                    <a:pt x="251" y="1012"/>
                    <a:pt x="251" y="993"/>
                  </a:cubicBezTo>
                  <a:close/>
                </a:path>
              </a:pathLst>
            </a:custGeom>
            <a:solidFill>
              <a:schemeClr val="accent3">
                <a:lumMod val="5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20" name="Freeform 21">
              <a:extLst>
                <a:ext uri="{FF2B5EF4-FFF2-40B4-BE49-F238E27FC236}">
                  <a16:creationId xmlns:a16="http://schemas.microsoft.com/office/drawing/2014/main" id="{ABC58BEB-E277-421B-9612-7167934C67BD}"/>
                </a:ext>
              </a:extLst>
            </p:cNvPr>
            <p:cNvSpPr>
              <a:spLocks/>
            </p:cNvSpPr>
            <p:nvPr/>
          </p:nvSpPr>
          <p:spPr bwMode="auto">
            <a:xfrm>
              <a:off x="6567488" y="3500438"/>
              <a:ext cx="766763" cy="698500"/>
            </a:xfrm>
            <a:custGeom>
              <a:avLst/>
              <a:gdLst>
                <a:gd name="T0" fmla="*/ 1 w 322"/>
                <a:gd name="T1" fmla="*/ 20 h 294"/>
                <a:gd name="T2" fmla="*/ 2 w 322"/>
                <a:gd name="T3" fmla="*/ 18 h 294"/>
                <a:gd name="T4" fmla="*/ 104 w 322"/>
                <a:gd name="T5" fmla="*/ 3 h 294"/>
                <a:gd name="T6" fmla="*/ 193 w 322"/>
                <a:gd name="T7" fmla="*/ 9 h 294"/>
                <a:gd name="T8" fmla="*/ 271 w 322"/>
                <a:gd name="T9" fmla="*/ 61 h 294"/>
                <a:gd name="T10" fmla="*/ 310 w 322"/>
                <a:gd name="T11" fmla="*/ 136 h 294"/>
                <a:gd name="T12" fmla="*/ 297 w 322"/>
                <a:gd name="T13" fmla="*/ 228 h 294"/>
                <a:gd name="T14" fmla="*/ 322 w 322"/>
                <a:gd name="T15" fmla="*/ 286 h 294"/>
                <a:gd name="T16" fmla="*/ 321 w 322"/>
                <a:gd name="T17" fmla="*/ 289 h 294"/>
                <a:gd name="T18" fmla="*/ 303 w 322"/>
                <a:gd name="T19" fmla="*/ 294 h 294"/>
                <a:gd name="T20" fmla="*/ 300 w 322"/>
                <a:gd name="T21" fmla="*/ 292 h 294"/>
                <a:gd name="T22" fmla="*/ 174 w 322"/>
                <a:gd name="T23" fmla="*/ 96 h 294"/>
                <a:gd name="T24" fmla="*/ 163 w 322"/>
                <a:gd name="T25" fmla="*/ 88 h 294"/>
                <a:gd name="T26" fmla="*/ 248 w 322"/>
                <a:gd name="T27" fmla="*/ 199 h 294"/>
                <a:gd name="T28" fmla="*/ 269 w 322"/>
                <a:gd name="T29" fmla="*/ 253 h 294"/>
                <a:gd name="T30" fmla="*/ 268 w 322"/>
                <a:gd name="T31" fmla="*/ 255 h 294"/>
                <a:gd name="T32" fmla="*/ 267 w 322"/>
                <a:gd name="T33" fmla="*/ 257 h 294"/>
                <a:gd name="T34" fmla="*/ 200 w 322"/>
                <a:gd name="T35" fmla="*/ 269 h 294"/>
                <a:gd name="T36" fmla="*/ 138 w 322"/>
                <a:gd name="T37" fmla="*/ 237 h 294"/>
                <a:gd name="T38" fmla="*/ 86 w 322"/>
                <a:gd name="T39" fmla="*/ 179 h 294"/>
                <a:gd name="T40" fmla="*/ 67 w 322"/>
                <a:gd name="T41" fmla="*/ 145 h 294"/>
                <a:gd name="T42" fmla="*/ 52 w 322"/>
                <a:gd name="T43" fmla="*/ 106 h 294"/>
                <a:gd name="T44" fmla="*/ 30 w 322"/>
                <a:gd name="T45" fmla="*/ 60 h 294"/>
                <a:gd name="T46" fmla="*/ 1 w 322"/>
                <a:gd name="T47" fmla="*/ 23 h 294"/>
                <a:gd name="T48" fmla="*/ 1 w 322"/>
                <a:gd name="T49" fmla="*/ 20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22" h="294">
                  <a:moveTo>
                    <a:pt x="1" y="20"/>
                  </a:moveTo>
                  <a:cubicBezTo>
                    <a:pt x="1" y="19"/>
                    <a:pt x="2" y="19"/>
                    <a:pt x="2" y="18"/>
                  </a:cubicBezTo>
                  <a:cubicBezTo>
                    <a:pt x="36" y="11"/>
                    <a:pt x="70" y="6"/>
                    <a:pt x="104" y="3"/>
                  </a:cubicBezTo>
                  <a:cubicBezTo>
                    <a:pt x="134" y="1"/>
                    <a:pt x="164" y="0"/>
                    <a:pt x="193" y="9"/>
                  </a:cubicBezTo>
                  <a:cubicBezTo>
                    <a:pt x="223" y="17"/>
                    <a:pt x="248" y="38"/>
                    <a:pt x="271" y="61"/>
                  </a:cubicBezTo>
                  <a:cubicBezTo>
                    <a:pt x="291" y="81"/>
                    <a:pt x="305" y="106"/>
                    <a:pt x="310" y="136"/>
                  </a:cubicBezTo>
                  <a:cubicBezTo>
                    <a:pt x="316" y="168"/>
                    <a:pt x="311" y="201"/>
                    <a:pt x="297" y="228"/>
                  </a:cubicBezTo>
                  <a:cubicBezTo>
                    <a:pt x="307" y="246"/>
                    <a:pt x="316" y="265"/>
                    <a:pt x="322" y="286"/>
                  </a:cubicBezTo>
                  <a:cubicBezTo>
                    <a:pt x="322" y="287"/>
                    <a:pt x="321" y="289"/>
                    <a:pt x="321" y="289"/>
                  </a:cubicBezTo>
                  <a:cubicBezTo>
                    <a:pt x="315" y="292"/>
                    <a:pt x="309" y="293"/>
                    <a:pt x="303" y="294"/>
                  </a:cubicBezTo>
                  <a:cubicBezTo>
                    <a:pt x="302" y="294"/>
                    <a:pt x="301" y="294"/>
                    <a:pt x="300" y="292"/>
                  </a:cubicBezTo>
                  <a:cubicBezTo>
                    <a:pt x="279" y="213"/>
                    <a:pt x="234" y="143"/>
                    <a:pt x="174" y="96"/>
                  </a:cubicBezTo>
                  <a:cubicBezTo>
                    <a:pt x="170" y="93"/>
                    <a:pt x="167" y="91"/>
                    <a:pt x="163" y="88"/>
                  </a:cubicBezTo>
                  <a:cubicBezTo>
                    <a:pt x="197" y="118"/>
                    <a:pt x="226" y="156"/>
                    <a:pt x="248" y="199"/>
                  </a:cubicBezTo>
                  <a:cubicBezTo>
                    <a:pt x="256" y="216"/>
                    <a:pt x="263" y="234"/>
                    <a:pt x="269" y="253"/>
                  </a:cubicBezTo>
                  <a:cubicBezTo>
                    <a:pt x="269" y="254"/>
                    <a:pt x="269" y="254"/>
                    <a:pt x="268" y="255"/>
                  </a:cubicBezTo>
                  <a:cubicBezTo>
                    <a:pt x="268" y="256"/>
                    <a:pt x="268" y="256"/>
                    <a:pt x="267" y="257"/>
                  </a:cubicBezTo>
                  <a:cubicBezTo>
                    <a:pt x="246" y="267"/>
                    <a:pt x="223" y="272"/>
                    <a:pt x="200" y="269"/>
                  </a:cubicBezTo>
                  <a:cubicBezTo>
                    <a:pt x="177" y="266"/>
                    <a:pt x="157" y="254"/>
                    <a:pt x="138" y="237"/>
                  </a:cubicBezTo>
                  <a:cubicBezTo>
                    <a:pt x="119" y="220"/>
                    <a:pt x="101" y="201"/>
                    <a:pt x="86" y="179"/>
                  </a:cubicBezTo>
                  <a:cubicBezTo>
                    <a:pt x="79" y="168"/>
                    <a:pt x="72" y="157"/>
                    <a:pt x="67" y="145"/>
                  </a:cubicBezTo>
                  <a:cubicBezTo>
                    <a:pt x="61" y="132"/>
                    <a:pt x="56" y="119"/>
                    <a:pt x="52" y="106"/>
                  </a:cubicBezTo>
                  <a:cubicBezTo>
                    <a:pt x="46" y="89"/>
                    <a:pt x="40" y="74"/>
                    <a:pt x="30" y="60"/>
                  </a:cubicBezTo>
                  <a:cubicBezTo>
                    <a:pt x="21" y="46"/>
                    <a:pt x="11" y="35"/>
                    <a:pt x="1" y="23"/>
                  </a:cubicBezTo>
                  <a:cubicBezTo>
                    <a:pt x="0" y="22"/>
                    <a:pt x="0" y="21"/>
                    <a:pt x="1" y="20"/>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21" name="Freeform 22">
              <a:extLst>
                <a:ext uri="{FF2B5EF4-FFF2-40B4-BE49-F238E27FC236}">
                  <a16:creationId xmlns:a16="http://schemas.microsoft.com/office/drawing/2014/main" id="{B95C99AE-AAAB-476D-A35B-AED3790BC196}"/>
                </a:ext>
              </a:extLst>
            </p:cNvPr>
            <p:cNvSpPr>
              <a:spLocks/>
            </p:cNvSpPr>
            <p:nvPr/>
          </p:nvSpPr>
          <p:spPr bwMode="auto">
            <a:xfrm>
              <a:off x="6570663" y="2232025"/>
              <a:ext cx="654050" cy="407987"/>
            </a:xfrm>
            <a:custGeom>
              <a:avLst/>
              <a:gdLst>
                <a:gd name="T0" fmla="*/ 0 w 275"/>
                <a:gd name="T1" fmla="*/ 83 h 172"/>
                <a:gd name="T2" fmla="*/ 1 w 275"/>
                <a:gd name="T3" fmla="*/ 82 h 172"/>
                <a:gd name="T4" fmla="*/ 60 w 275"/>
                <a:gd name="T5" fmla="*/ 35 h 172"/>
                <a:gd name="T6" fmla="*/ 117 w 275"/>
                <a:gd name="T7" fmla="*/ 6 h 172"/>
                <a:gd name="T8" fmla="*/ 180 w 275"/>
                <a:gd name="T9" fmla="*/ 9 h 172"/>
                <a:gd name="T10" fmla="*/ 226 w 275"/>
                <a:gd name="T11" fmla="*/ 42 h 172"/>
                <a:gd name="T12" fmla="*/ 243 w 275"/>
                <a:gd name="T13" fmla="*/ 104 h 172"/>
                <a:gd name="T14" fmla="*/ 274 w 275"/>
                <a:gd name="T15" fmla="*/ 131 h 172"/>
                <a:gd name="T16" fmla="*/ 274 w 275"/>
                <a:gd name="T17" fmla="*/ 133 h 172"/>
                <a:gd name="T18" fmla="*/ 265 w 275"/>
                <a:gd name="T19" fmla="*/ 143 h 172"/>
                <a:gd name="T20" fmla="*/ 262 w 275"/>
                <a:gd name="T21" fmla="*/ 143 h 172"/>
                <a:gd name="T22" fmla="*/ 130 w 275"/>
                <a:gd name="T23" fmla="*/ 67 h 172"/>
                <a:gd name="T24" fmla="*/ 120 w 275"/>
                <a:gd name="T25" fmla="*/ 66 h 172"/>
                <a:gd name="T26" fmla="*/ 204 w 275"/>
                <a:gd name="T27" fmla="*/ 104 h 172"/>
                <a:gd name="T28" fmla="*/ 232 w 275"/>
                <a:gd name="T29" fmla="*/ 130 h 172"/>
                <a:gd name="T30" fmla="*/ 232 w 275"/>
                <a:gd name="T31" fmla="*/ 131 h 172"/>
                <a:gd name="T32" fmla="*/ 232 w 275"/>
                <a:gd name="T33" fmla="*/ 133 h 172"/>
                <a:gd name="T34" fmla="*/ 194 w 275"/>
                <a:gd name="T35" fmla="*/ 165 h 172"/>
                <a:gd name="T36" fmla="*/ 146 w 275"/>
                <a:gd name="T37" fmla="*/ 168 h 172"/>
                <a:gd name="T38" fmla="*/ 98 w 275"/>
                <a:gd name="T39" fmla="*/ 151 h 172"/>
                <a:gd name="T40" fmla="*/ 76 w 275"/>
                <a:gd name="T41" fmla="*/ 137 h 172"/>
                <a:gd name="T42" fmla="*/ 56 w 275"/>
                <a:gd name="T43" fmla="*/ 118 h 172"/>
                <a:gd name="T44" fmla="*/ 30 w 275"/>
                <a:gd name="T45" fmla="*/ 97 h 172"/>
                <a:gd name="T46" fmla="*/ 1 w 275"/>
                <a:gd name="T47" fmla="*/ 86 h 172"/>
                <a:gd name="T48" fmla="*/ 0 w 275"/>
                <a:gd name="T49" fmla="*/ 83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75" h="172">
                  <a:moveTo>
                    <a:pt x="0" y="83"/>
                  </a:moveTo>
                  <a:cubicBezTo>
                    <a:pt x="0" y="83"/>
                    <a:pt x="1" y="82"/>
                    <a:pt x="1" y="82"/>
                  </a:cubicBezTo>
                  <a:cubicBezTo>
                    <a:pt x="20" y="65"/>
                    <a:pt x="40" y="49"/>
                    <a:pt x="60" y="35"/>
                  </a:cubicBezTo>
                  <a:cubicBezTo>
                    <a:pt x="78" y="23"/>
                    <a:pt x="97" y="11"/>
                    <a:pt x="117" y="6"/>
                  </a:cubicBezTo>
                  <a:cubicBezTo>
                    <a:pt x="138" y="0"/>
                    <a:pt x="159" y="4"/>
                    <a:pt x="180" y="9"/>
                  </a:cubicBezTo>
                  <a:cubicBezTo>
                    <a:pt x="198" y="14"/>
                    <a:pt x="214" y="25"/>
                    <a:pt x="226" y="42"/>
                  </a:cubicBezTo>
                  <a:cubicBezTo>
                    <a:pt x="238" y="59"/>
                    <a:pt x="244" y="82"/>
                    <a:pt x="243" y="104"/>
                  </a:cubicBezTo>
                  <a:cubicBezTo>
                    <a:pt x="254" y="111"/>
                    <a:pt x="265" y="120"/>
                    <a:pt x="274" y="131"/>
                  </a:cubicBezTo>
                  <a:cubicBezTo>
                    <a:pt x="275" y="132"/>
                    <a:pt x="275" y="133"/>
                    <a:pt x="274" y="133"/>
                  </a:cubicBezTo>
                  <a:cubicBezTo>
                    <a:pt x="271" y="137"/>
                    <a:pt x="268" y="140"/>
                    <a:pt x="265" y="143"/>
                  </a:cubicBezTo>
                  <a:cubicBezTo>
                    <a:pt x="264" y="144"/>
                    <a:pt x="263" y="144"/>
                    <a:pt x="262" y="143"/>
                  </a:cubicBezTo>
                  <a:cubicBezTo>
                    <a:pt x="227" y="101"/>
                    <a:pt x="180" y="74"/>
                    <a:pt x="130" y="67"/>
                  </a:cubicBezTo>
                  <a:cubicBezTo>
                    <a:pt x="127" y="67"/>
                    <a:pt x="123" y="66"/>
                    <a:pt x="120" y="66"/>
                  </a:cubicBezTo>
                  <a:cubicBezTo>
                    <a:pt x="150" y="72"/>
                    <a:pt x="179" y="85"/>
                    <a:pt x="204" y="104"/>
                  </a:cubicBezTo>
                  <a:cubicBezTo>
                    <a:pt x="214" y="112"/>
                    <a:pt x="223" y="120"/>
                    <a:pt x="232" y="130"/>
                  </a:cubicBezTo>
                  <a:cubicBezTo>
                    <a:pt x="232" y="130"/>
                    <a:pt x="232" y="131"/>
                    <a:pt x="232" y="131"/>
                  </a:cubicBezTo>
                  <a:cubicBezTo>
                    <a:pt x="233" y="132"/>
                    <a:pt x="232" y="132"/>
                    <a:pt x="232" y="133"/>
                  </a:cubicBezTo>
                  <a:cubicBezTo>
                    <a:pt x="222" y="147"/>
                    <a:pt x="209" y="159"/>
                    <a:pt x="194" y="165"/>
                  </a:cubicBezTo>
                  <a:cubicBezTo>
                    <a:pt x="178" y="172"/>
                    <a:pt x="162" y="172"/>
                    <a:pt x="146" y="168"/>
                  </a:cubicBezTo>
                  <a:cubicBezTo>
                    <a:pt x="130" y="165"/>
                    <a:pt x="113" y="159"/>
                    <a:pt x="98" y="151"/>
                  </a:cubicBezTo>
                  <a:cubicBezTo>
                    <a:pt x="90" y="147"/>
                    <a:pt x="83" y="142"/>
                    <a:pt x="76" y="137"/>
                  </a:cubicBezTo>
                  <a:cubicBezTo>
                    <a:pt x="69" y="131"/>
                    <a:pt x="62" y="125"/>
                    <a:pt x="56" y="118"/>
                  </a:cubicBezTo>
                  <a:cubicBezTo>
                    <a:pt x="48" y="110"/>
                    <a:pt x="40" y="103"/>
                    <a:pt x="30" y="97"/>
                  </a:cubicBezTo>
                  <a:cubicBezTo>
                    <a:pt x="21" y="92"/>
                    <a:pt x="11" y="89"/>
                    <a:pt x="1" y="86"/>
                  </a:cubicBezTo>
                  <a:cubicBezTo>
                    <a:pt x="0" y="85"/>
                    <a:pt x="0" y="84"/>
                    <a:pt x="0" y="83"/>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22" name="Freeform 23">
              <a:extLst>
                <a:ext uri="{FF2B5EF4-FFF2-40B4-BE49-F238E27FC236}">
                  <a16:creationId xmlns:a16="http://schemas.microsoft.com/office/drawing/2014/main" id="{509E4463-D31A-45B8-87FE-91E904184240}"/>
                </a:ext>
              </a:extLst>
            </p:cNvPr>
            <p:cNvSpPr>
              <a:spLocks/>
            </p:cNvSpPr>
            <p:nvPr/>
          </p:nvSpPr>
          <p:spPr bwMode="auto">
            <a:xfrm>
              <a:off x="6599238" y="2954338"/>
              <a:ext cx="517525" cy="322262"/>
            </a:xfrm>
            <a:custGeom>
              <a:avLst/>
              <a:gdLst>
                <a:gd name="T0" fmla="*/ 0 w 218"/>
                <a:gd name="T1" fmla="*/ 66 h 136"/>
                <a:gd name="T2" fmla="*/ 1 w 218"/>
                <a:gd name="T3" fmla="*/ 65 h 136"/>
                <a:gd name="T4" fmla="*/ 48 w 218"/>
                <a:gd name="T5" fmla="*/ 27 h 136"/>
                <a:gd name="T6" fmla="*/ 93 w 218"/>
                <a:gd name="T7" fmla="*/ 4 h 136"/>
                <a:gd name="T8" fmla="*/ 143 w 218"/>
                <a:gd name="T9" fmla="*/ 7 h 136"/>
                <a:gd name="T10" fmla="*/ 179 w 218"/>
                <a:gd name="T11" fmla="*/ 33 h 136"/>
                <a:gd name="T12" fmla="*/ 192 w 218"/>
                <a:gd name="T13" fmla="*/ 82 h 136"/>
                <a:gd name="T14" fmla="*/ 217 w 218"/>
                <a:gd name="T15" fmla="*/ 104 h 136"/>
                <a:gd name="T16" fmla="*/ 217 w 218"/>
                <a:gd name="T17" fmla="*/ 105 h 136"/>
                <a:gd name="T18" fmla="*/ 210 w 218"/>
                <a:gd name="T19" fmla="*/ 113 h 136"/>
                <a:gd name="T20" fmla="*/ 208 w 218"/>
                <a:gd name="T21" fmla="*/ 113 h 136"/>
                <a:gd name="T22" fmla="*/ 103 w 218"/>
                <a:gd name="T23" fmla="*/ 53 h 136"/>
                <a:gd name="T24" fmla="*/ 95 w 218"/>
                <a:gd name="T25" fmla="*/ 52 h 136"/>
                <a:gd name="T26" fmla="*/ 162 w 218"/>
                <a:gd name="T27" fmla="*/ 82 h 136"/>
                <a:gd name="T28" fmla="*/ 184 w 218"/>
                <a:gd name="T29" fmla="*/ 102 h 136"/>
                <a:gd name="T30" fmla="*/ 184 w 218"/>
                <a:gd name="T31" fmla="*/ 104 h 136"/>
                <a:gd name="T32" fmla="*/ 184 w 218"/>
                <a:gd name="T33" fmla="*/ 105 h 136"/>
                <a:gd name="T34" fmla="*/ 154 w 218"/>
                <a:gd name="T35" fmla="*/ 131 h 136"/>
                <a:gd name="T36" fmla="*/ 116 w 218"/>
                <a:gd name="T37" fmla="*/ 133 h 136"/>
                <a:gd name="T38" fmla="*/ 78 w 218"/>
                <a:gd name="T39" fmla="*/ 119 h 136"/>
                <a:gd name="T40" fmla="*/ 60 w 218"/>
                <a:gd name="T41" fmla="*/ 108 h 136"/>
                <a:gd name="T42" fmla="*/ 44 w 218"/>
                <a:gd name="T43" fmla="*/ 93 h 136"/>
                <a:gd name="T44" fmla="*/ 24 w 218"/>
                <a:gd name="T45" fmla="*/ 77 h 136"/>
                <a:gd name="T46" fmla="*/ 1 w 218"/>
                <a:gd name="T47" fmla="*/ 68 h 136"/>
                <a:gd name="T48" fmla="*/ 0 w 218"/>
                <a:gd name="T49" fmla="*/ 66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18" h="136">
                  <a:moveTo>
                    <a:pt x="0" y="66"/>
                  </a:moveTo>
                  <a:cubicBezTo>
                    <a:pt x="0" y="65"/>
                    <a:pt x="1" y="65"/>
                    <a:pt x="1" y="65"/>
                  </a:cubicBezTo>
                  <a:cubicBezTo>
                    <a:pt x="16" y="51"/>
                    <a:pt x="31" y="39"/>
                    <a:pt x="48" y="27"/>
                  </a:cubicBezTo>
                  <a:cubicBezTo>
                    <a:pt x="62" y="18"/>
                    <a:pt x="77" y="8"/>
                    <a:pt x="93" y="4"/>
                  </a:cubicBezTo>
                  <a:cubicBezTo>
                    <a:pt x="110" y="0"/>
                    <a:pt x="126" y="3"/>
                    <a:pt x="143" y="7"/>
                  </a:cubicBezTo>
                  <a:cubicBezTo>
                    <a:pt x="157" y="11"/>
                    <a:pt x="170" y="19"/>
                    <a:pt x="179" y="33"/>
                  </a:cubicBezTo>
                  <a:cubicBezTo>
                    <a:pt x="188" y="47"/>
                    <a:pt x="193" y="64"/>
                    <a:pt x="192" y="82"/>
                  </a:cubicBezTo>
                  <a:cubicBezTo>
                    <a:pt x="201" y="88"/>
                    <a:pt x="210" y="95"/>
                    <a:pt x="217" y="104"/>
                  </a:cubicBezTo>
                  <a:cubicBezTo>
                    <a:pt x="218" y="104"/>
                    <a:pt x="218" y="105"/>
                    <a:pt x="217" y="105"/>
                  </a:cubicBezTo>
                  <a:cubicBezTo>
                    <a:pt x="215" y="108"/>
                    <a:pt x="213" y="111"/>
                    <a:pt x="210" y="113"/>
                  </a:cubicBezTo>
                  <a:cubicBezTo>
                    <a:pt x="209" y="113"/>
                    <a:pt x="209" y="113"/>
                    <a:pt x="208" y="113"/>
                  </a:cubicBezTo>
                  <a:cubicBezTo>
                    <a:pt x="180" y="80"/>
                    <a:pt x="142" y="58"/>
                    <a:pt x="103" y="53"/>
                  </a:cubicBezTo>
                  <a:cubicBezTo>
                    <a:pt x="100" y="53"/>
                    <a:pt x="98" y="52"/>
                    <a:pt x="95" y="52"/>
                  </a:cubicBezTo>
                  <a:cubicBezTo>
                    <a:pt x="119" y="57"/>
                    <a:pt x="142" y="67"/>
                    <a:pt x="162" y="82"/>
                  </a:cubicBezTo>
                  <a:cubicBezTo>
                    <a:pt x="170" y="88"/>
                    <a:pt x="177" y="95"/>
                    <a:pt x="184" y="102"/>
                  </a:cubicBezTo>
                  <a:cubicBezTo>
                    <a:pt x="184" y="103"/>
                    <a:pt x="184" y="103"/>
                    <a:pt x="184" y="104"/>
                  </a:cubicBezTo>
                  <a:cubicBezTo>
                    <a:pt x="184" y="104"/>
                    <a:pt x="184" y="105"/>
                    <a:pt x="184" y="105"/>
                  </a:cubicBezTo>
                  <a:cubicBezTo>
                    <a:pt x="176" y="116"/>
                    <a:pt x="166" y="125"/>
                    <a:pt x="154" y="131"/>
                  </a:cubicBezTo>
                  <a:cubicBezTo>
                    <a:pt x="141" y="136"/>
                    <a:pt x="129" y="136"/>
                    <a:pt x="116" y="133"/>
                  </a:cubicBezTo>
                  <a:cubicBezTo>
                    <a:pt x="103" y="130"/>
                    <a:pt x="90" y="126"/>
                    <a:pt x="78" y="119"/>
                  </a:cubicBezTo>
                  <a:cubicBezTo>
                    <a:pt x="72" y="116"/>
                    <a:pt x="66" y="112"/>
                    <a:pt x="60" y="108"/>
                  </a:cubicBezTo>
                  <a:cubicBezTo>
                    <a:pt x="55" y="104"/>
                    <a:pt x="49" y="99"/>
                    <a:pt x="44" y="93"/>
                  </a:cubicBezTo>
                  <a:cubicBezTo>
                    <a:pt x="38" y="87"/>
                    <a:pt x="31" y="81"/>
                    <a:pt x="24" y="77"/>
                  </a:cubicBezTo>
                  <a:cubicBezTo>
                    <a:pt x="16" y="73"/>
                    <a:pt x="9" y="70"/>
                    <a:pt x="1" y="68"/>
                  </a:cubicBezTo>
                  <a:cubicBezTo>
                    <a:pt x="0" y="67"/>
                    <a:pt x="0" y="66"/>
                    <a:pt x="0" y="66"/>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23" name="Freeform 24">
              <a:extLst>
                <a:ext uri="{FF2B5EF4-FFF2-40B4-BE49-F238E27FC236}">
                  <a16:creationId xmlns:a16="http://schemas.microsoft.com/office/drawing/2014/main" id="{1E7DE37B-3753-4564-8DBD-D352BC8E588D}"/>
                </a:ext>
              </a:extLst>
            </p:cNvPr>
            <p:cNvSpPr>
              <a:spLocks/>
            </p:cNvSpPr>
            <p:nvPr/>
          </p:nvSpPr>
          <p:spPr bwMode="auto">
            <a:xfrm>
              <a:off x="7329488" y="1387475"/>
              <a:ext cx="619125" cy="657225"/>
            </a:xfrm>
            <a:custGeom>
              <a:avLst/>
              <a:gdLst>
                <a:gd name="T0" fmla="*/ 258 w 260"/>
                <a:gd name="T1" fmla="*/ 4 h 276"/>
                <a:gd name="T2" fmla="*/ 257 w 260"/>
                <a:gd name="T3" fmla="*/ 4 h 276"/>
                <a:gd name="T4" fmla="*/ 168 w 260"/>
                <a:gd name="T5" fmla="*/ 2 h 276"/>
                <a:gd name="T6" fmla="*/ 92 w 260"/>
                <a:gd name="T7" fmla="*/ 17 h 276"/>
                <a:gd name="T8" fmla="*/ 29 w 260"/>
                <a:gd name="T9" fmla="*/ 71 h 276"/>
                <a:gd name="T10" fmla="*/ 2 w 260"/>
                <a:gd name="T11" fmla="*/ 141 h 276"/>
                <a:gd name="T12" fmla="*/ 22 w 260"/>
                <a:gd name="T13" fmla="*/ 218 h 276"/>
                <a:gd name="T14" fmla="*/ 5 w 260"/>
                <a:gd name="T15" fmla="*/ 271 h 276"/>
                <a:gd name="T16" fmla="*/ 7 w 260"/>
                <a:gd name="T17" fmla="*/ 273 h 276"/>
                <a:gd name="T18" fmla="*/ 22 w 260"/>
                <a:gd name="T19" fmla="*/ 276 h 276"/>
                <a:gd name="T20" fmla="*/ 24 w 260"/>
                <a:gd name="T21" fmla="*/ 274 h 276"/>
                <a:gd name="T22" fmla="*/ 116 w 260"/>
                <a:gd name="T23" fmla="*/ 90 h 276"/>
                <a:gd name="T24" fmla="*/ 125 w 260"/>
                <a:gd name="T25" fmla="*/ 82 h 276"/>
                <a:gd name="T26" fmla="*/ 62 w 260"/>
                <a:gd name="T27" fmla="*/ 188 h 276"/>
                <a:gd name="T28" fmla="*/ 48 w 260"/>
                <a:gd name="T29" fmla="*/ 236 h 276"/>
                <a:gd name="T30" fmla="*/ 48 w 260"/>
                <a:gd name="T31" fmla="*/ 238 h 276"/>
                <a:gd name="T32" fmla="*/ 50 w 260"/>
                <a:gd name="T33" fmla="*/ 239 h 276"/>
                <a:gd name="T34" fmla="*/ 108 w 260"/>
                <a:gd name="T35" fmla="*/ 242 h 276"/>
                <a:gd name="T36" fmla="*/ 159 w 260"/>
                <a:gd name="T37" fmla="*/ 208 h 276"/>
                <a:gd name="T38" fmla="*/ 199 w 260"/>
                <a:gd name="T39" fmla="*/ 151 h 276"/>
                <a:gd name="T40" fmla="*/ 213 w 260"/>
                <a:gd name="T41" fmla="*/ 120 h 276"/>
                <a:gd name="T42" fmla="*/ 222 w 260"/>
                <a:gd name="T43" fmla="*/ 84 h 276"/>
                <a:gd name="T44" fmla="*/ 237 w 260"/>
                <a:gd name="T45" fmla="*/ 42 h 276"/>
                <a:gd name="T46" fmla="*/ 259 w 260"/>
                <a:gd name="T47" fmla="*/ 7 h 276"/>
                <a:gd name="T48" fmla="*/ 258 w 260"/>
                <a:gd name="T49" fmla="*/ 4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60" h="276">
                  <a:moveTo>
                    <a:pt x="258" y="4"/>
                  </a:moveTo>
                  <a:cubicBezTo>
                    <a:pt x="258" y="4"/>
                    <a:pt x="258" y="4"/>
                    <a:pt x="257" y="4"/>
                  </a:cubicBezTo>
                  <a:cubicBezTo>
                    <a:pt x="227" y="1"/>
                    <a:pt x="198" y="0"/>
                    <a:pt x="168" y="2"/>
                  </a:cubicBezTo>
                  <a:cubicBezTo>
                    <a:pt x="142" y="4"/>
                    <a:pt x="116" y="7"/>
                    <a:pt x="92" y="17"/>
                  </a:cubicBezTo>
                  <a:cubicBezTo>
                    <a:pt x="67" y="28"/>
                    <a:pt x="47" y="49"/>
                    <a:pt x="29" y="71"/>
                  </a:cubicBezTo>
                  <a:cubicBezTo>
                    <a:pt x="14" y="91"/>
                    <a:pt x="4" y="114"/>
                    <a:pt x="2" y="141"/>
                  </a:cubicBezTo>
                  <a:cubicBezTo>
                    <a:pt x="0" y="168"/>
                    <a:pt x="7" y="196"/>
                    <a:pt x="22" y="218"/>
                  </a:cubicBezTo>
                  <a:cubicBezTo>
                    <a:pt x="14" y="235"/>
                    <a:pt x="8" y="252"/>
                    <a:pt x="5" y="271"/>
                  </a:cubicBezTo>
                  <a:cubicBezTo>
                    <a:pt x="5" y="272"/>
                    <a:pt x="6" y="273"/>
                    <a:pt x="7" y="273"/>
                  </a:cubicBezTo>
                  <a:cubicBezTo>
                    <a:pt x="12" y="275"/>
                    <a:pt x="17" y="276"/>
                    <a:pt x="22" y="276"/>
                  </a:cubicBezTo>
                  <a:cubicBezTo>
                    <a:pt x="23" y="276"/>
                    <a:pt x="24" y="275"/>
                    <a:pt x="24" y="274"/>
                  </a:cubicBezTo>
                  <a:cubicBezTo>
                    <a:pt x="36" y="203"/>
                    <a:pt x="69" y="137"/>
                    <a:pt x="116" y="90"/>
                  </a:cubicBezTo>
                  <a:cubicBezTo>
                    <a:pt x="119" y="88"/>
                    <a:pt x="122" y="85"/>
                    <a:pt x="125" y="82"/>
                  </a:cubicBezTo>
                  <a:cubicBezTo>
                    <a:pt x="98" y="112"/>
                    <a:pt x="76" y="148"/>
                    <a:pt x="62" y="188"/>
                  </a:cubicBezTo>
                  <a:cubicBezTo>
                    <a:pt x="56" y="203"/>
                    <a:pt x="51" y="220"/>
                    <a:pt x="48" y="236"/>
                  </a:cubicBezTo>
                  <a:cubicBezTo>
                    <a:pt x="48" y="237"/>
                    <a:pt x="48" y="237"/>
                    <a:pt x="48" y="238"/>
                  </a:cubicBezTo>
                  <a:cubicBezTo>
                    <a:pt x="49" y="239"/>
                    <a:pt x="49" y="239"/>
                    <a:pt x="50" y="239"/>
                  </a:cubicBezTo>
                  <a:cubicBezTo>
                    <a:pt x="69" y="246"/>
                    <a:pt x="89" y="247"/>
                    <a:pt x="108" y="242"/>
                  </a:cubicBezTo>
                  <a:cubicBezTo>
                    <a:pt x="128" y="237"/>
                    <a:pt x="144" y="224"/>
                    <a:pt x="159" y="208"/>
                  </a:cubicBezTo>
                  <a:cubicBezTo>
                    <a:pt x="174" y="191"/>
                    <a:pt x="188" y="172"/>
                    <a:pt x="199" y="151"/>
                  </a:cubicBezTo>
                  <a:cubicBezTo>
                    <a:pt x="204" y="141"/>
                    <a:pt x="209" y="131"/>
                    <a:pt x="213" y="120"/>
                  </a:cubicBezTo>
                  <a:cubicBezTo>
                    <a:pt x="217" y="108"/>
                    <a:pt x="219" y="96"/>
                    <a:pt x="222" y="84"/>
                  </a:cubicBezTo>
                  <a:cubicBezTo>
                    <a:pt x="226" y="70"/>
                    <a:pt x="230" y="55"/>
                    <a:pt x="237" y="42"/>
                  </a:cubicBezTo>
                  <a:cubicBezTo>
                    <a:pt x="243" y="30"/>
                    <a:pt x="251" y="19"/>
                    <a:pt x="259" y="7"/>
                  </a:cubicBezTo>
                  <a:cubicBezTo>
                    <a:pt x="260" y="6"/>
                    <a:pt x="259" y="5"/>
                    <a:pt x="258" y="4"/>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24" name="Freeform 25">
              <a:extLst>
                <a:ext uri="{FF2B5EF4-FFF2-40B4-BE49-F238E27FC236}">
                  <a16:creationId xmlns:a16="http://schemas.microsoft.com/office/drawing/2014/main" id="{2C6053E4-79DF-4771-925B-1D072C434727}"/>
                </a:ext>
              </a:extLst>
            </p:cNvPr>
            <p:cNvSpPr>
              <a:spLocks/>
            </p:cNvSpPr>
            <p:nvPr/>
          </p:nvSpPr>
          <p:spPr bwMode="auto">
            <a:xfrm>
              <a:off x="7573963" y="3360738"/>
              <a:ext cx="784225" cy="520700"/>
            </a:xfrm>
            <a:custGeom>
              <a:avLst/>
              <a:gdLst>
                <a:gd name="T0" fmla="*/ 329 w 329"/>
                <a:gd name="T1" fmla="*/ 75 h 219"/>
                <a:gd name="T2" fmla="*/ 328 w 329"/>
                <a:gd name="T3" fmla="*/ 74 h 219"/>
                <a:gd name="T4" fmla="*/ 248 w 329"/>
                <a:gd name="T5" fmla="*/ 28 h 219"/>
                <a:gd name="T6" fmla="*/ 174 w 329"/>
                <a:gd name="T7" fmla="*/ 3 h 219"/>
                <a:gd name="T8" fmla="*/ 97 w 329"/>
                <a:gd name="T9" fmla="*/ 20 h 219"/>
                <a:gd name="T10" fmla="*/ 46 w 329"/>
                <a:gd name="T11" fmla="*/ 69 h 219"/>
                <a:gd name="T12" fmla="*/ 35 w 329"/>
                <a:gd name="T13" fmla="*/ 148 h 219"/>
                <a:gd name="T14" fmla="*/ 0 w 329"/>
                <a:gd name="T15" fmla="*/ 188 h 219"/>
                <a:gd name="T16" fmla="*/ 1 w 329"/>
                <a:gd name="T17" fmla="*/ 191 h 219"/>
                <a:gd name="T18" fmla="*/ 14 w 329"/>
                <a:gd name="T19" fmla="*/ 201 h 219"/>
                <a:gd name="T20" fmla="*/ 16 w 329"/>
                <a:gd name="T21" fmla="*/ 200 h 219"/>
                <a:gd name="T22" fmla="*/ 168 w 329"/>
                <a:gd name="T23" fmla="*/ 81 h 219"/>
                <a:gd name="T24" fmla="*/ 179 w 329"/>
                <a:gd name="T25" fmla="*/ 78 h 219"/>
                <a:gd name="T26" fmla="*/ 82 w 329"/>
                <a:gd name="T27" fmla="*/ 141 h 219"/>
                <a:gd name="T28" fmla="*/ 52 w 329"/>
                <a:gd name="T29" fmla="*/ 178 h 219"/>
                <a:gd name="T30" fmla="*/ 52 w 329"/>
                <a:gd name="T31" fmla="*/ 180 h 219"/>
                <a:gd name="T32" fmla="*/ 52 w 329"/>
                <a:gd name="T33" fmla="*/ 182 h 219"/>
                <a:gd name="T34" fmla="*/ 104 w 329"/>
                <a:gd name="T35" fmla="*/ 214 h 219"/>
                <a:gd name="T36" fmla="*/ 162 w 329"/>
                <a:gd name="T37" fmla="*/ 208 h 219"/>
                <a:gd name="T38" fmla="*/ 219 w 329"/>
                <a:gd name="T39" fmla="*/ 178 h 219"/>
                <a:gd name="T40" fmla="*/ 244 w 329"/>
                <a:gd name="T41" fmla="*/ 156 h 219"/>
                <a:gd name="T42" fmla="*/ 266 w 329"/>
                <a:gd name="T43" fmla="*/ 129 h 219"/>
                <a:gd name="T44" fmla="*/ 295 w 329"/>
                <a:gd name="T45" fmla="*/ 99 h 219"/>
                <a:gd name="T46" fmla="*/ 328 w 329"/>
                <a:gd name="T47" fmla="*/ 78 h 219"/>
                <a:gd name="T48" fmla="*/ 329 w 329"/>
                <a:gd name="T49" fmla="*/ 75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29" h="219">
                  <a:moveTo>
                    <a:pt x="329" y="75"/>
                  </a:moveTo>
                  <a:cubicBezTo>
                    <a:pt x="329" y="75"/>
                    <a:pt x="328" y="74"/>
                    <a:pt x="328" y="74"/>
                  </a:cubicBezTo>
                  <a:cubicBezTo>
                    <a:pt x="302" y="57"/>
                    <a:pt x="276" y="41"/>
                    <a:pt x="248" y="28"/>
                  </a:cubicBezTo>
                  <a:cubicBezTo>
                    <a:pt x="225" y="16"/>
                    <a:pt x="200" y="6"/>
                    <a:pt x="174" y="3"/>
                  </a:cubicBezTo>
                  <a:cubicBezTo>
                    <a:pt x="148" y="0"/>
                    <a:pt x="122" y="9"/>
                    <a:pt x="97" y="20"/>
                  </a:cubicBezTo>
                  <a:cubicBezTo>
                    <a:pt x="76" y="30"/>
                    <a:pt x="58" y="46"/>
                    <a:pt x="46" y="69"/>
                  </a:cubicBezTo>
                  <a:cubicBezTo>
                    <a:pt x="35" y="93"/>
                    <a:pt x="30" y="121"/>
                    <a:pt x="35" y="148"/>
                  </a:cubicBezTo>
                  <a:cubicBezTo>
                    <a:pt x="22" y="160"/>
                    <a:pt x="10" y="173"/>
                    <a:pt x="0" y="188"/>
                  </a:cubicBezTo>
                  <a:cubicBezTo>
                    <a:pt x="0" y="189"/>
                    <a:pt x="0" y="190"/>
                    <a:pt x="1" y="191"/>
                  </a:cubicBezTo>
                  <a:cubicBezTo>
                    <a:pt x="5" y="195"/>
                    <a:pt x="9" y="198"/>
                    <a:pt x="14" y="201"/>
                  </a:cubicBezTo>
                  <a:cubicBezTo>
                    <a:pt x="15" y="201"/>
                    <a:pt x="16" y="201"/>
                    <a:pt x="16" y="200"/>
                  </a:cubicBezTo>
                  <a:cubicBezTo>
                    <a:pt x="53" y="142"/>
                    <a:pt x="108" y="100"/>
                    <a:pt x="168" y="81"/>
                  </a:cubicBezTo>
                  <a:cubicBezTo>
                    <a:pt x="172" y="80"/>
                    <a:pt x="175" y="79"/>
                    <a:pt x="179" y="78"/>
                  </a:cubicBezTo>
                  <a:cubicBezTo>
                    <a:pt x="144" y="91"/>
                    <a:pt x="110" y="113"/>
                    <a:pt x="82" y="141"/>
                  </a:cubicBezTo>
                  <a:cubicBezTo>
                    <a:pt x="71" y="152"/>
                    <a:pt x="61" y="165"/>
                    <a:pt x="52" y="178"/>
                  </a:cubicBezTo>
                  <a:cubicBezTo>
                    <a:pt x="52" y="178"/>
                    <a:pt x="51" y="179"/>
                    <a:pt x="52" y="180"/>
                  </a:cubicBezTo>
                  <a:cubicBezTo>
                    <a:pt x="51" y="180"/>
                    <a:pt x="52" y="181"/>
                    <a:pt x="52" y="182"/>
                  </a:cubicBezTo>
                  <a:cubicBezTo>
                    <a:pt x="67" y="197"/>
                    <a:pt x="84" y="209"/>
                    <a:pt x="104" y="214"/>
                  </a:cubicBezTo>
                  <a:cubicBezTo>
                    <a:pt x="124" y="219"/>
                    <a:pt x="143" y="216"/>
                    <a:pt x="162" y="208"/>
                  </a:cubicBezTo>
                  <a:cubicBezTo>
                    <a:pt x="182" y="200"/>
                    <a:pt x="202" y="191"/>
                    <a:pt x="219" y="178"/>
                  </a:cubicBezTo>
                  <a:cubicBezTo>
                    <a:pt x="228" y="171"/>
                    <a:pt x="236" y="164"/>
                    <a:pt x="244" y="156"/>
                  </a:cubicBezTo>
                  <a:cubicBezTo>
                    <a:pt x="252" y="148"/>
                    <a:pt x="259" y="138"/>
                    <a:pt x="266" y="129"/>
                  </a:cubicBezTo>
                  <a:cubicBezTo>
                    <a:pt x="275" y="118"/>
                    <a:pt x="284" y="107"/>
                    <a:pt x="295" y="99"/>
                  </a:cubicBezTo>
                  <a:cubicBezTo>
                    <a:pt x="305" y="91"/>
                    <a:pt x="317" y="84"/>
                    <a:pt x="328" y="78"/>
                  </a:cubicBezTo>
                  <a:cubicBezTo>
                    <a:pt x="329" y="78"/>
                    <a:pt x="329" y="76"/>
                    <a:pt x="329" y="75"/>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25" name="Freeform 26">
              <a:extLst>
                <a:ext uri="{FF2B5EF4-FFF2-40B4-BE49-F238E27FC236}">
                  <a16:creationId xmlns:a16="http://schemas.microsoft.com/office/drawing/2014/main" id="{6D2F3828-C920-4A09-BA95-9B61FC049348}"/>
                </a:ext>
              </a:extLst>
            </p:cNvPr>
            <p:cNvSpPr>
              <a:spLocks/>
            </p:cNvSpPr>
            <p:nvPr/>
          </p:nvSpPr>
          <p:spPr bwMode="auto">
            <a:xfrm>
              <a:off x="7688263" y="2817813"/>
              <a:ext cx="666750" cy="411162"/>
            </a:xfrm>
            <a:custGeom>
              <a:avLst/>
              <a:gdLst>
                <a:gd name="T0" fmla="*/ 280 w 280"/>
                <a:gd name="T1" fmla="*/ 90 h 173"/>
                <a:gd name="T2" fmla="*/ 279 w 280"/>
                <a:gd name="T3" fmla="*/ 88 h 173"/>
                <a:gd name="T4" fmla="*/ 220 w 280"/>
                <a:gd name="T5" fmla="*/ 38 h 173"/>
                <a:gd name="T6" fmla="*/ 164 w 280"/>
                <a:gd name="T7" fmla="*/ 6 h 173"/>
                <a:gd name="T8" fmla="*/ 99 w 280"/>
                <a:gd name="T9" fmla="*/ 8 h 173"/>
                <a:gd name="T10" fmla="*/ 52 w 280"/>
                <a:gd name="T11" fmla="*/ 39 h 173"/>
                <a:gd name="T12" fmla="*/ 34 w 280"/>
                <a:gd name="T13" fmla="*/ 101 h 173"/>
                <a:gd name="T14" fmla="*/ 1 w 280"/>
                <a:gd name="T15" fmla="*/ 128 h 173"/>
                <a:gd name="T16" fmla="*/ 1 w 280"/>
                <a:gd name="T17" fmla="*/ 130 h 173"/>
                <a:gd name="T18" fmla="*/ 10 w 280"/>
                <a:gd name="T19" fmla="*/ 140 h 173"/>
                <a:gd name="T20" fmla="*/ 12 w 280"/>
                <a:gd name="T21" fmla="*/ 140 h 173"/>
                <a:gd name="T22" fmla="*/ 149 w 280"/>
                <a:gd name="T23" fmla="*/ 68 h 173"/>
                <a:gd name="T24" fmla="*/ 159 w 280"/>
                <a:gd name="T25" fmla="*/ 68 h 173"/>
                <a:gd name="T26" fmla="*/ 73 w 280"/>
                <a:gd name="T27" fmla="*/ 103 h 173"/>
                <a:gd name="T28" fmla="*/ 44 w 280"/>
                <a:gd name="T29" fmla="*/ 128 h 173"/>
                <a:gd name="T30" fmla="*/ 43 w 280"/>
                <a:gd name="T31" fmla="*/ 129 h 173"/>
                <a:gd name="T32" fmla="*/ 43 w 280"/>
                <a:gd name="T33" fmla="*/ 131 h 173"/>
                <a:gd name="T34" fmla="*/ 81 w 280"/>
                <a:gd name="T35" fmla="*/ 165 h 173"/>
                <a:gd name="T36" fmla="*/ 129 w 280"/>
                <a:gd name="T37" fmla="*/ 170 h 173"/>
                <a:gd name="T38" fmla="*/ 179 w 280"/>
                <a:gd name="T39" fmla="*/ 155 h 173"/>
                <a:gd name="T40" fmla="*/ 201 w 280"/>
                <a:gd name="T41" fmla="*/ 141 h 173"/>
                <a:gd name="T42" fmla="*/ 223 w 280"/>
                <a:gd name="T43" fmla="*/ 123 h 173"/>
                <a:gd name="T44" fmla="*/ 249 w 280"/>
                <a:gd name="T45" fmla="*/ 103 h 173"/>
                <a:gd name="T46" fmla="*/ 279 w 280"/>
                <a:gd name="T47" fmla="*/ 92 h 173"/>
                <a:gd name="T48" fmla="*/ 280 w 280"/>
                <a:gd name="T49" fmla="*/ 9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80" h="173">
                  <a:moveTo>
                    <a:pt x="280" y="90"/>
                  </a:moveTo>
                  <a:cubicBezTo>
                    <a:pt x="280" y="89"/>
                    <a:pt x="279" y="89"/>
                    <a:pt x="279" y="88"/>
                  </a:cubicBezTo>
                  <a:cubicBezTo>
                    <a:pt x="260" y="70"/>
                    <a:pt x="241" y="53"/>
                    <a:pt x="220" y="38"/>
                  </a:cubicBezTo>
                  <a:cubicBezTo>
                    <a:pt x="203" y="25"/>
                    <a:pt x="184" y="13"/>
                    <a:pt x="164" y="6"/>
                  </a:cubicBezTo>
                  <a:cubicBezTo>
                    <a:pt x="142" y="0"/>
                    <a:pt x="121" y="3"/>
                    <a:pt x="99" y="8"/>
                  </a:cubicBezTo>
                  <a:cubicBezTo>
                    <a:pt x="81" y="12"/>
                    <a:pt x="65" y="22"/>
                    <a:pt x="52" y="39"/>
                  </a:cubicBezTo>
                  <a:cubicBezTo>
                    <a:pt x="40" y="56"/>
                    <a:pt x="33" y="79"/>
                    <a:pt x="34" y="101"/>
                  </a:cubicBezTo>
                  <a:cubicBezTo>
                    <a:pt x="22" y="108"/>
                    <a:pt x="11" y="117"/>
                    <a:pt x="1" y="128"/>
                  </a:cubicBezTo>
                  <a:cubicBezTo>
                    <a:pt x="0" y="128"/>
                    <a:pt x="0" y="129"/>
                    <a:pt x="1" y="130"/>
                  </a:cubicBezTo>
                  <a:cubicBezTo>
                    <a:pt x="4" y="134"/>
                    <a:pt x="7" y="137"/>
                    <a:pt x="10" y="140"/>
                  </a:cubicBezTo>
                  <a:cubicBezTo>
                    <a:pt x="11" y="141"/>
                    <a:pt x="12" y="141"/>
                    <a:pt x="12" y="140"/>
                  </a:cubicBezTo>
                  <a:cubicBezTo>
                    <a:pt x="49" y="99"/>
                    <a:pt x="98" y="74"/>
                    <a:pt x="149" y="68"/>
                  </a:cubicBezTo>
                  <a:cubicBezTo>
                    <a:pt x="152" y="68"/>
                    <a:pt x="155" y="68"/>
                    <a:pt x="159" y="68"/>
                  </a:cubicBezTo>
                  <a:cubicBezTo>
                    <a:pt x="128" y="73"/>
                    <a:pt x="99" y="85"/>
                    <a:pt x="73" y="103"/>
                  </a:cubicBezTo>
                  <a:cubicBezTo>
                    <a:pt x="63" y="110"/>
                    <a:pt x="53" y="119"/>
                    <a:pt x="44" y="128"/>
                  </a:cubicBezTo>
                  <a:cubicBezTo>
                    <a:pt x="43" y="128"/>
                    <a:pt x="43" y="129"/>
                    <a:pt x="43" y="129"/>
                  </a:cubicBezTo>
                  <a:cubicBezTo>
                    <a:pt x="43" y="130"/>
                    <a:pt x="43" y="130"/>
                    <a:pt x="43" y="131"/>
                  </a:cubicBezTo>
                  <a:cubicBezTo>
                    <a:pt x="54" y="146"/>
                    <a:pt x="66" y="158"/>
                    <a:pt x="81" y="165"/>
                  </a:cubicBezTo>
                  <a:cubicBezTo>
                    <a:pt x="97" y="173"/>
                    <a:pt x="113" y="173"/>
                    <a:pt x="129" y="170"/>
                  </a:cubicBezTo>
                  <a:cubicBezTo>
                    <a:pt x="146" y="167"/>
                    <a:pt x="163" y="162"/>
                    <a:pt x="179" y="155"/>
                  </a:cubicBezTo>
                  <a:cubicBezTo>
                    <a:pt x="187" y="151"/>
                    <a:pt x="194" y="146"/>
                    <a:pt x="201" y="141"/>
                  </a:cubicBezTo>
                  <a:cubicBezTo>
                    <a:pt x="209" y="136"/>
                    <a:pt x="216" y="129"/>
                    <a:pt x="223" y="123"/>
                  </a:cubicBezTo>
                  <a:cubicBezTo>
                    <a:pt x="231" y="115"/>
                    <a:pt x="239" y="108"/>
                    <a:pt x="249" y="103"/>
                  </a:cubicBezTo>
                  <a:cubicBezTo>
                    <a:pt x="259" y="98"/>
                    <a:pt x="269" y="95"/>
                    <a:pt x="279" y="92"/>
                  </a:cubicBezTo>
                  <a:cubicBezTo>
                    <a:pt x="280" y="92"/>
                    <a:pt x="280" y="91"/>
                    <a:pt x="280" y="90"/>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grpSp>
      <p:grpSp>
        <p:nvGrpSpPr>
          <p:cNvPr id="26" name="Group 39">
            <a:extLst>
              <a:ext uri="{FF2B5EF4-FFF2-40B4-BE49-F238E27FC236}">
                <a16:creationId xmlns:a16="http://schemas.microsoft.com/office/drawing/2014/main" id="{FBE65B0A-A51E-4BEB-8652-9902A412359B}"/>
              </a:ext>
            </a:extLst>
          </p:cNvPr>
          <p:cNvGrpSpPr/>
          <p:nvPr/>
        </p:nvGrpSpPr>
        <p:grpSpPr>
          <a:xfrm>
            <a:off x="8325532" y="1232908"/>
            <a:ext cx="3605725" cy="3988832"/>
            <a:chOff x="8281988" y="214313"/>
            <a:chExt cx="3810000" cy="4214812"/>
          </a:xfrm>
        </p:grpSpPr>
        <p:sp>
          <p:nvSpPr>
            <p:cNvPr id="27" name="Freeform 13">
              <a:extLst>
                <a:ext uri="{FF2B5EF4-FFF2-40B4-BE49-F238E27FC236}">
                  <a16:creationId xmlns:a16="http://schemas.microsoft.com/office/drawing/2014/main" id="{05797349-0071-429E-A58B-A51E5A534588}"/>
                </a:ext>
              </a:extLst>
            </p:cNvPr>
            <p:cNvSpPr>
              <a:spLocks/>
            </p:cNvSpPr>
            <p:nvPr/>
          </p:nvSpPr>
          <p:spPr bwMode="auto">
            <a:xfrm>
              <a:off x="8789988" y="731838"/>
              <a:ext cx="2635250" cy="3697287"/>
            </a:xfrm>
            <a:custGeom>
              <a:avLst/>
              <a:gdLst>
                <a:gd name="T0" fmla="*/ 616 w 1107"/>
                <a:gd name="T1" fmla="*/ 1248 h 1556"/>
                <a:gd name="T2" fmla="*/ 700 w 1107"/>
                <a:gd name="T3" fmla="*/ 909 h 1556"/>
                <a:gd name="T4" fmla="*/ 904 w 1107"/>
                <a:gd name="T5" fmla="*/ 889 h 1556"/>
                <a:gd name="T6" fmla="*/ 937 w 1107"/>
                <a:gd name="T7" fmla="*/ 829 h 1556"/>
                <a:gd name="T8" fmla="*/ 720 w 1107"/>
                <a:gd name="T9" fmla="*/ 842 h 1556"/>
                <a:gd name="T10" fmla="*/ 898 w 1107"/>
                <a:gd name="T11" fmla="*/ 705 h 1556"/>
                <a:gd name="T12" fmla="*/ 1016 w 1107"/>
                <a:gd name="T13" fmla="*/ 628 h 1556"/>
                <a:gd name="T14" fmla="*/ 983 w 1107"/>
                <a:gd name="T15" fmla="*/ 605 h 1556"/>
                <a:gd name="T16" fmla="*/ 869 w 1107"/>
                <a:gd name="T17" fmla="*/ 672 h 1556"/>
                <a:gd name="T18" fmla="*/ 852 w 1107"/>
                <a:gd name="T19" fmla="*/ 590 h 1556"/>
                <a:gd name="T20" fmla="*/ 855 w 1107"/>
                <a:gd name="T21" fmla="*/ 346 h 1556"/>
                <a:gd name="T22" fmla="*/ 826 w 1107"/>
                <a:gd name="T23" fmla="*/ 304 h 1556"/>
                <a:gd name="T24" fmla="*/ 812 w 1107"/>
                <a:gd name="T25" fmla="*/ 558 h 1556"/>
                <a:gd name="T26" fmla="*/ 624 w 1107"/>
                <a:gd name="T27" fmla="*/ 821 h 1556"/>
                <a:gd name="T28" fmla="*/ 551 w 1107"/>
                <a:gd name="T29" fmla="*/ 789 h 1556"/>
                <a:gd name="T30" fmla="*/ 610 w 1107"/>
                <a:gd name="T31" fmla="*/ 650 h 1556"/>
                <a:gd name="T32" fmla="*/ 655 w 1107"/>
                <a:gd name="T33" fmla="*/ 388 h 1556"/>
                <a:gd name="T34" fmla="*/ 668 w 1107"/>
                <a:gd name="T35" fmla="*/ 279 h 1556"/>
                <a:gd name="T36" fmla="*/ 744 w 1107"/>
                <a:gd name="T37" fmla="*/ 147 h 1556"/>
                <a:gd name="T38" fmla="*/ 755 w 1107"/>
                <a:gd name="T39" fmla="*/ 96 h 1556"/>
                <a:gd name="T40" fmla="*/ 697 w 1107"/>
                <a:gd name="T41" fmla="*/ 198 h 1556"/>
                <a:gd name="T42" fmla="*/ 638 w 1107"/>
                <a:gd name="T43" fmla="*/ 14 h 1556"/>
                <a:gd name="T44" fmla="*/ 629 w 1107"/>
                <a:gd name="T45" fmla="*/ 262 h 1556"/>
                <a:gd name="T46" fmla="*/ 615 w 1107"/>
                <a:gd name="T47" fmla="*/ 447 h 1556"/>
                <a:gd name="T48" fmla="*/ 492 w 1107"/>
                <a:gd name="T49" fmla="*/ 661 h 1556"/>
                <a:gd name="T50" fmla="*/ 490 w 1107"/>
                <a:gd name="T51" fmla="*/ 477 h 1556"/>
                <a:gd name="T52" fmla="*/ 579 w 1107"/>
                <a:gd name="T53" fmla="*/ 267 h 1556"/>
                <a:gd name="T54" fmla="*/ 483 w 1107"/>
                <a:gd name="T55" fmla="*/ 384 h 1556"/>
                <a:gd name="T56" fmla="*/ 453 w 1107"/>
                <a:gd name="T57" fmla="*/ 266 h 1556"/>
                <a:gd name="T58" fmla="*/ 436 w 1107"/>
                <a:gd name="T59" fmla="*/ 113 h 1556"/>
                <a:gd name="T60" fmla="*/ 429 w 1107"/>
                <a:gd name="T61" fmla="*/ 285 h 1556"/>
                <a:gd name="T62" fmla="*/ 464 w 1107"/>
                <a:gd name="T63" fmla="*/ 404 h 1556"/>
                <a:gd name="T64" fmla="*/ 453 w 1107"/>
                <a:gd name="T65" fmla="*/ 540 h 1556"/>
                <a:gd name="T66" fmla="*/ 260 w 1107"/>
                <a:gd name="T67" fmla="*/ 410 h 1556"/>
                <a:gd name="T68" fmla="*/ 285 w 1107"/>
                <a:gd name="T69" fmla="*/ 93 h 1556"/>
                <a:gd name="T70" fmla="*/ 166 w 1107"/>
                <a:gd name="T71" fmla="*/ 260 h 1556"/>
                <a:gd name="T72" fmla="*/ 144 w 1107"/>
                <a:gd name="T73" fmla="*/ 277 h 1556"/>
                <a:gd name="T74" fmla="*/ 244 w 1107"/>
                <a:gd name="T75" fmla="*/ 484 h 1556"/>
                <a:gd name="T76" fmla="*/ 435 w 1107"/>
                <a:gd name="T77" fmla="*/ 837 h 1556"/>
                <a:gd name="T78" fmla="*/ 364 w 1107"/>
                <a:gd name="T79" fmla="*/ 848 h 1556"/>
                <a:gd name="T80" fmla="*/ 285 w 1107"/>
                <a:gd name="T81" fmla="*/ 694 h 1556"/>
                <a:gd name="T82" fmla="*/ 217 w 1107"/>
                <a:gd name="T83" fmla="*/ 502 h 1556"/>
                <a:gd name="T84" fmla="*/ 234 w 1107"/>
                <a:gd name="T85" fmla="*/ 575 h 1556"/>
                <a:gd name="T86" fmla="*/ 134 w 1107"/>
                <a:gd name="T87" fmla="*/ 693 h 1556"/>
                <a:gd name="T88" fmla="*/ 16 w 1107"/>
                <a:gd name="T89" fmla="*/ 706 h 1556"/>
                <a:gd name="T90" fmla="*/ 215 w 1107"/>
                <a:gd name="T91" fmla="*/ 715 h 1556"/>
                <a:gd name="T92" fmla="*/ 299 w 1107"/>
                <a:gd name="T93" fmla="*/ 835 h 1556"/>
                <a:gd name="T94" fmla="*/ 407 w 1107"/>
                <a:gd name="T95" fmla="*/ 994 h 1556"/>
                <a:gd name="T96" fmla="*/ 407 w 1107"/>
                <a:gd name="T97" fmla="*/ 1195 h 1556"/>
                <a:gd name="T98" fmla="*/ 283 w 1107"/>
                <a:gd name="T99" fmla="*/ 1172 h 1556"/>
                <a:gd name="T100" fmla="*/ 162 w 1107"/>
                <a:gd name="T101" fmla="*/ 1064 h 1556"/>
                <a:gd name="T102" fmla="*/ 47 w 1107"/>
                <a:gd name="T103" fmla="*/ 778 h 1556"/>
                <a:gd name="T104" fmla="*/ 129 w 1107"/>
                <a:gd name="T105" fmla="*/ 1090 h 1556"/>
                <a:gd name="T106" fmla="*/ 118 w 1107"/>
                <a:gd name="T107" fmla="*/ 1141 h 1556"/>
                <a:gd name="T108" fmla="*/ 80 w 1107"/>
                <a:gd name="T109" fmla="*/ 1115 h 1556"/>
                <a:gd name="T110" fmla="*/ 255 w 1107"/>
                <a:gd name="T111" fmla="*/ 1233 h 1556"/>
                <a:gd name="T112" fmla="*/ 358 w 1107"/>
                <a:gd name="T113" fmla="*/ 1256 h 1556"/>
                <a:gd name="T114" fmla="*/ 422 w 1107"/>
                <a:gd name="T115" fmla="*/ 1556 h 15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107" h="1556">
                  <a:moveTo>
                    <a:pt x="679" y="1531"/>
                  </a:moveTo>
                  <a:cubicBezTo>
                    <a:pt x="680" y="1499"/>
                    <a:pt x="680" y="1466"/>
                    <a:pt x="677" y="1433"/>
                  </a:cubicBezTo>
                  <a:cubicBezTo>
                    <a:pt x="674" y="1400"/>
                    <a:pt x="668" y="1368"/>
                    <a:pt x="657" y="1337"/>
                  </a:cubicBezTo>
                  <a:cubicBezTo>
                    <a:pt x="646" y="1305"/>
                    <a:pt x="628" y="1278"/>
                    <a:pt x="616" y="1248"/>
                  </a:cubicBezTo>
                  <a:cubicBezTo>
                    <a:pt x="604" y="1216"/>
                    <a:pt x="598" y="1180"/>
                    <a:pt x="594" y="1147"/>
                  </a:cubicBezTo>
                  <a:cubicBezTo>
                    <a:pt x="590" y="1115"/>
                    <a:pt x="590" y="1083"/>
                    <a:pt x="600" y="1053"/>
                  </a:cubicBezTo>
                  <a:cubicBezTo>
                    <a:pt x="610" y="1022"/>
                    <a:pt x="627" y="996"/>
                    <a:pt x="646" y="971"/>
                  </a:cubicBezTo>
                  <a:cubicBezTo>
                    <a:pt x="662" y="948"/>
                    <a:pt x="680" y="927"/>
                    <a:pt x="700" y="909"/>
                  </a:cubicBezTo>
                  <a:cubicBezTo>
                    <a:pt x="715" y="908"/>
                    <a:pt x="731" y="911"/>
                    <a:pt x="746" y="913"/>
                  </a:cubicBezTo>
                  <a:cubicBezTo>
                    <a:pt x="773" y="916"/>
                    <a:pt x="798" y="912"/>
                    <a:pt x="824" y="901"/>
                  </a:cubicBezTo>
                  <a:cubicBezTo>
                    <a:pt x="837" y="895"/>
                    <a:pt x="849" y="889"/>
                    <a:pt x="863" y="888"/>
                  </a:cubicBezTo>
                  <a:cubicBezTo>
                    <a:pt x="877" y="887"/>
                    <a:pt x="891" y="888"/>
                    <a:pt x="904" y="889"/>
                  </a:cubicBezTo>
                  <a:cubicBezTo>
                    <a:pt x="934" y="891"/>
                    <a:pt x="964" y="893"/>
                    <a:pt x="993" y="895"/>
                  </a:cubicBezTo>
                  <a:cubicBezTo>
                    <a:pt x="1023" y="897"/>
                    <a:pt x="1053" y="896"/>
                    <a:pt x="1083" y="897"/>
                  </a:cubicBezTo>
                  <a:cubicBezTo>
                    <a:pt x="1102" y="898"/>
                    <a:pt x="1107" y="860"/>
                    <a:pt x="1087" y="857"/>
                  </a:cubicBezTo>
                  <a:cubicBezTo>
                    <a:pt x="1037" y="848"/>
                    <a:pt x="987" y="837"/>
                    <a:pt x="937" y="829"/>
                  </a:cubicBezTo>
                  <a:cubicBezTo>
                    <a:pt x="912" y="826"/>
                    <a:pt x="886" y="819"/>
                    <a:pt x="860" y="820"/>
                  </a:cubicBezTo>
                  <a:cubicBezTo>
                    <a:pt x="835" y="821"/>
                    <a:pt x="814" y="834"/>
                    <a:pt x="790" y="842"/>
                  </a:cubicBezTo>
                  <a:cubicBezTo>
                    <a:pt x="769" y="850"/>
                    <a:pt x="748" y="845"/>
                    <a:pt x="727" y="842"/>
                  </a:cubicBezTo>
                  <a:cubicBezTo>
                    <a:pt x="725" y="842"/>
                    <a:pt x="723" y="842"/>
                    <a:pt x="720" y="842"/>
                  </a:cubicBezTo>
                  <a:cubicBezTo>
                    <a:pt x="735" y="828"/>
                    <a:pt x="749" y="814"/>
                    <a:pt x="762" y="800"/>
                  </a:cubicBezTo>
                  <a:cubicBezTo>
                    <a:pt x="780" y="780"/>
                    <a:pt x="793" y="756"/>
                    <a:pt x="804" y="731"/>
                  </a:cubicBezTo>
                  <a:cubicBezTo>
                    <a:pt x="820" y="743"/>
                    <a:pt x="844" y="745"/>
                    <a:pt x="860" y="738"/>
                  </a:cubicBezTo>
                  <a:cubicBezTo>
                    <a:pt x="875" y="731"/>
                    <a:pt x="887" y="718"/>
                    <a:pt x="898" y="705"/>
                  </a:cubicBezTo>
                  <a:cubicBezTo>
                    <a:pt x="912" y="690"/>
                    <a:pt x="926" y="676"/>
                    <a:pt x="940" y="661"/>
                  </a:cubicBezTo>
                  <a:cubicBezTo>
                    <a:pt x="945" y="656"/>
                    <a:pt x="949" y="651"/>
                    <a:pt x="956" y="652"/>
                  </a:cubicBezTo>
                  <a:cubicBezTo>
                    <a:pt x="964" y="652"/>
                    <a:pt x="971" y="656"/>
                    <a:pt x="978" y="656"/>
                  </a:cubicBezTo>
                  <a:cubicBezTo>
                    <a:pt x="994" y="654"/>
                    <a:pt x="1006" y="641"/>
                    <a:pt x="1016" y="628"/>
                  </a:cubicBezTo>
                  <a:cubicBezTo>
                    <a:pt x="1036" y="602"/>
                    <a:pt x="1055" y="571"/>
                    <a:pt x="1085" y="558"/>
                  </a:cubicBezTo>
                  <a:cubicBezTo>
                    <a:pt x="1100" y="551"/>
                    <a:pt x="1094" y="524"/>
                    <a:pt x="1078" y="529"/>
                  </a:cubicBezTo>
                  <a:cubicBezTo>
                    <a:pt x="1053" y="538"/>
                    <a:pt x="1032" y="555"/>
                    <a:pt x="1013" y="574"/>
                  </a:cubicBezTo>
                  <a:cubicBezTo>
                    <a:pt x="1003" y="584"/>
                    <a:pt x="993" y="595"/>
                    <a:pt x="983" y="605"/>
                  </a:cubicBezTo>
                  <a:cubicBezTo>
                    <a:pt x="975" y="613"/>
                    <a:pt x="973" y="610"/>
                    <a:pt x="964" y="608"/>
                  </a:cubicBezTo>
                  <a:cubicBezTo>
                    <a:pt x="957" y="606"/>
                    <a:pt x="949" y="605"/>
                    <a:pt x="942" y="607"/>
                  </a:cubicBezTo>
                  <a:cubicBezTo>
                    <a:pt x="928" y="612"/>
                    <a:pt x="918" y="623"/>
                    <a:pt x="907" y="633"/>
                  </a:cubicBezTo>
                  <a:cubicBezTo>
                    <a:pt x="895" y="646"/>
                    <a:pt x="882" y="659"/>
                    <a:pt x="869" y="672"/>
                  </a:cubicBezTo>
                  <a:cubicBezTo>
                    <a:pt x="862" y="678"/>
                    <a:pt x="851" y="694"/>
                    <a:pt x="842" y="689"/>
                  </a:cubicBezTo>
                  <a:cubicBezTo>
                    <a:pt x="837" y="686"/>
                    <a:pt x="834" y="680"/>
                    <a:pt x="830" y="676"/>
                  </a:cubicBezTo>
                  <a:cubicBezTo>
                    <a:pt x="829" y="675"/>
                    <a:pt x="828" y="674"/>
                    <a:pt x="827" y="673"/>
                  </a:cubicBezTo>
                  <a:cubicBezTo>
                    <a:pt x="838" y="647"/>
                    <a:pt x="848" y="620"/>
                    <a:pt x="852" y="590"/>
                  </a:cubicBezTo>
                  <a:cubicBezTo>
                    <a:pt x="854" y="571"/>
                    <a:pt x="853" y="552"/>
                    <a:pt x="854" y="533"/>
                  </a:cubicBezTo>
                  <a:cubicBezTo>
                    <a:pt x="854" y="512"/>
                    <a:pt x="860" y="496"/>
                    <a:pt x="866" y="477"/>
                  </a:cubicBezTo>
                  <a:cubicBezTo>
                    <a:pt x="874" y="456"/>
                    <a:pt x="875" y="434"/>
                    <a:pt x="872" y="412"/>
                  </a:cubicBezTo>
                  <a:cubicBezTo>
                    <a:pt x="868" y="389"/>
                    <a:pt x="858" y="369"/>
                    <a:pt x="855" y="346"/>
                  </a:cubicBezTo>
                  <a:cubicBezTo>
                    <a:pt x="852" y="326"/>
                    <a:pt x="858" y="307"/>
                    <a:pt x="864" y="288"/>
                  </a:cubicBezTo>
                  <a:cubicBezTo>
                    <a:pt x="869" y="269"/>
                    <a:pt x="872" y="252"/>
                    <a:pt x="874" y="233"/>
                  </a:cubicBezTo>
                  <a:cubicBezTo>
                    <a:pt x="875" y="220"/>
                    <a:pt x="857" y="218"/>
                    <a:pt x="855" y="230"/>
                  </a:cubicBezTo>
                  <a:cubicBezTo>
                    <a:pt x="850" y="256"/>
                    <a:pt x="834" y="279"/>
                    <a:pt x="826" y="304"/>
                  </a:cubicBezTo>
                  <a:cubicBezTo>
                    <a:pt x="818" y="331"/>
                    <a:pt x="820" y="356"/>
                    <a:pt x="827" y="383"/>
                  </a:cubicBezTo>
                  <a:cubicBezTo>
                    <a:pt x="831" y="397"/>
                    <a:pt x="835" y="412"/>
                    <a:pt x="836" y="427"/>
                  </a:cubicBezTo>
                  <a:cubicBezTo>
                    <a:pt x="837" y="443"/>
                    <a:pt x="833" y="456"/>
                    <a:pt x="828" y="470"/>
                  </a:cubicBezTo>
                  <a:cubicBezTo>
                    <a:pt x="817" y="499"/>
                    <a:pt x="814" y="527"/>
                    <a:pt x="812" y="558"/>
                  </a:cubicBezTo>
                  <a:cubicBezTo>
                    <a:pt x="810" y="588"/>
                    <a:pt x="801" y="615"/>
                    <a:pt x="789" y="641"/>
                  </a:cubicBezTo>
                  <a:cubicBezTo>
                    <a:pt x="777" y="665"/>
                    <a:pt x="765" y="691"/>
                    <a:pt x="748" y="711"/>
                  </a:cubicBezTo>
                  <a:cubicBezTo>
                    <a:pt x="729" y="731"/>
                    <a:pt x="708" y="748"/>
                    <a:pt x="687" y="766"/>
                  </a:cubicBezTo>
                  <a:cubicBezTo>
                    <a:pt x="667" y="784"/>
                    <a:pt x="647" y="807"/>
                    <a:pt x="624" y="821"/>
                  </a:cubicBezTo>
                  <a:cubicBezTo>
                    <a:pt x="614" y="827"/>
                    <a:pt x="603" y="826"/>
                    <a:pt x="592" y="827"/>
                  </a:cubicBezTo>
                  <a:cubicBezTo>
                    <a:pt x="577" y="829"/>
                    <a:pt x="563" y="832"/>
                    <a:pt x="549" y="839"/>
                  </a:cubicBezTo>
                  <a:cubicBezTo>
                    <a:pt x="550" y="835"/>
                    <a:pt x="550" y="830"/>
                    <a:pt x="550" y="825"/>
                  </a:cubicBezTo>
                  <a:cubicBezTo>
                    <a:pt x="551" y="813"/>
                    <a:pt x="552" y="801"/>
                    <a:pt x="551" y="789"/>
                  </a:cubicBezTo>
                  <a:cubicBezTo>
                    <a:pt x="561" y="782"/>
                    <a:pt x="569" y="772"/>
                    <a:pt x="575" y="760"/>
                  </a:cubicBezTo>
                  <a:cubicBezTo>
                    <a:pt x="582" y="747"/>
                    <a:pt x="585" y="732"/>
                    <a:pt x="587" y="717"/>
                  </a:cubicBezTo>
                  <a:cubicBezTo>
                    <a:pt x="588" y="705"/>
                    <a:pt x="587" y="691"/>
                    <a:pt x="591" y="680"/>
                  </a:cubicBezTo>
                  <a:cubicBezTo>
                    <a:pt x="595" y="669"/>
                    <a:pt x="604" y="659"/>
                    <a:pt x="610" y="650"/>
                  </a:cubicBezTo>
                  <a:cubicBezTo>
                    <a:pt x="618" y="638"/>
                    <a:pt x="624" y="625"/>
                    <a:pt x="628" y="612"/>
                  </a:cubicBezTo>
                  <a:cubicBezTo>
                    <a:pt x="638" y="583"/>
                    <a:pt x="642" y="553"/>
                    <a:pt x="648" y="523"/>
                  </a:cubicBezTo>
                  <a:cubicBezTo>
                    <a:pt x="654" y="493"/>
                    <a:pt x="663" y="461"/>
                    <a:pt x="663" y="429"/>
                  </a:cubicBezTo>
                  <a:cubicBezTo>
                    <a:pt x="663" y="415"/>
                    <a:pt x="660" y="401"/>
                    <a:pt x="655" y="388"/>
                  </a:cubicBezTo>
                  <a:cubicBezTo>
                    <a:pt x="651" y="376"/>
                    <a:pt x="644" y="363"/>
                    <a:pt x="644" y="349"/>
                  </a:cubicBezTo>
                  <a:cubicBezTo>
                    <a:pt x="643" y="336"/>
                    <a:pt x="651" y="326"/>
                    <a:pt x="656" y="316"/>
                  </a:cubicBezTo>
                  <a:cubicBezTo>
                    <a:pt x="661" y="305"/>
                    <a:pt x="665" y="293"/>
                    <a:pt x="665" y="281"/>
                  </a:cubicBezTo>
                  <a:cubicBezTo>
                    <a:pt x="666" y="280"/>
                    <a:pt x="667" y="280"/>
                    <a:pt x="668" y="279"/>
                  </a:cubicBezTo>
                  <a:cubicBezTo>
                    <a:pt x="675" y="272"/>
                    <a:pt x="678" y="260"/>
                    <a:pt x="684" y="251"/>
                  </a:cubicBezTo>
                  <a:cubicBezTo>
                    <a:pt x="689" y="240"/>
                    <a:pt x="696" y="230"/>
                    <a:pt x="706" y="225"/>
                  </a:cubicBezTo>
                  <a:cubicBezTo>
                    <a:pt x="723" y="215"/>
                    <a:pt x="742" y="214"/>
                    <a:pt x="742" y="186"/>
                  </a:cubicBezTo>
                  <a:cubicBezTo>
                    <a:pt x="742" y="171"/>
                    <a:pt x="737" y="161"/>
                    <a:pt x="744" y="147"/>
                  </a:cubicBezTo>
                  <a:cubicBezTo>
                    <a:pt x="749" y="137"/>
                    <a:pt x="756" y="129"/>
                    <a:pt x="760" y="119"/>
                  </a:cubicBezTo>
                  <a:cubicBezTo>
                    <a:pt x="769" y="98"/>
                    <a:pt x="766" y="75"/>
                    <a:pt x="762" y="53"/>
                  </a:cubicBezTo>
                  <a:cubicBezTo>
                    <a:pt x="761" y="48"/>
                    <a:pt x="755" y="49"/>
                    <a:pt x="755" y="54"/>
                  </a:cubicBezTo>
                  <a:cubicBezTo>
                    <a:pt x="756" y="67"/>
                    <a:pt x="758" y="82"/>
                    <a:pt x="755" y="96"/>
                  </a:cubicBezTo>
                  <a:cubicBezTo>
                    <a:pt x="752" y="108"/>
                    <a:pt x="745" y="117"/>
                    <a:pt x="738" y="126"/>
                  </a:cubicBezTo>
                  <a:cubicBezTo>
                    <a:pt x="732" y="133"/>
                    <a:pt x="727" y="141"/>
                    <a:pt x="724" y="150"/>
                  </a:cubicBezTo>
                  <a:cubicBezTo>
                    <a:pt x="720" y="160"/>
                    <a:pt x="723" y="170"/>
                    <a:pt x="722" y="181"/>
                  </a:cubicBezTo>
                  <a:cubicBezTo>
                    <a:pt x="720" y="195"/>
                    <a:pt x="707" y="193"/>
                    <a:pt x="697" y="198"/>
                  </a:cubicBezTo>
                  <a:cubicBezTo>
                    <a:pt x="689" y="202"/>
                    <a:pt x="682" y="208"/>
                    <a:pt x="676" y="215"/>
                  </a:cubicBezTo>
                  <a:cubicBezTo>
                    <a:pt x="670" y="222"/>
                    <a:pt x="662" y="232"/>
                    <a:pt x="657" y="242"/>
                  </a:cubicBezTo>
                  <a:cubicBezTo>
                    <a:pt x="651" y="228"/>
                    <a:pt x="644" y="215"/>
                    <a:pt x="638" y="202"/>
                  </a:cubicBezTo>
                  <a:cubicBezTo>
                    <a:pt x="612" y="141"/>
                    <a:pt x="621" y="75"/>
                    <a:pt x="638" y="14"/>
                  </a:cubicBezTo>
                  <a:cubicBezTo>
                    <a:pt x="640" y="4"/>
                    <a:pt x="629" y="0"/>
                    <a:pt x="625" y="7"/>
                  </a:cubicBezTo>
                  <a:cubicBezTo>
                    <a:pt x="599" y="48"/>
                    <a:pt x="593" y="103"/>
                    <a:pt x="598" y="152"/>
                  </a:cubicBezTo>
                  <a:cubicBezTo>
                    <a:pt x="601" y="177"/>
                    <a:pt x="606" y="201"/>
                    <a:pt x="615" y="224"/>
                  </a:cubicBezTo>
                  <a:cubicBezTo>
                    <a:pt x="620" y="236"/>
                    <a:pt x="626" y="248"/>
                    <a:pt x="629" y="262"/>
                  </a:cubicBezTo>
                  <a:cubicBezTo>
                    <a:pt x="633" y="276"/>
                    <a:pt x="630" y="287"/>
                    <a:pt x="623" y="300"/>
                  </a:cubicBezTo>
                  <a:cubicBezTo>
                    <a:pt x="611" y="322"/>
                    <a:pt x="605" y="342"/>
                    <a:pt x="610" y="368"/>
                  </a:cubicBezTo>
                  <a:cubicBezTo>
                    <a:pt x="612" y="380"/>
                    <a:pt x="616" y="391"/>
                    <a:pt x="618" y="403"/>
                  </a:cubicBezTo>
                  <a:cubicBezTo>
                    <a:pt x="621" y="418"/>
                    <a:pt x="619" y="432"/>
                    <a:pt x="615" y="447"/>
                  </a:cubicBezTo>
                  <a:cubicBezTo>
                    <a:pt x="608" y="476"/>
                    <a:pt x="598" y="504"/>
                    <a:pt x="589" y="533"/>
                  </a:cubicBezTo>
                  <a:cubicBezTo>
                    <a:pt x="582" y="556"/>
                    <a:pt x="575" y="581"/>
                    <a:pt x="562" y="600"/>
                  </a:cubicBezTo>
                  <a:cubicBezTo>
                    <a:pt x="552" y="615"/>
                    <a:pt x="542" y="627"/>
                    <a:pt x="535" y="641"/>
                  </a:cubicBezTo>
                  <a:cubicBezTo>
                    <a:pt x="519" y="642"/>
                    <a:pt x="505" y="648"/>
                    <a:pt x="492" y="661"/>
                  </a:cubicBezTo>
                  <a:cubicBezTo>
                    <a:pt x="490" y="654"/>
                    <a:pt x="486" y="647"/>
                    <a:pt x="483" y="639"/>
                  </a:cubicBezTo>
                  <a:cubicBezTo>
                    <a:pt x="487" y="616"/>
                    <a:pt x="483" y="593"/>
                    <a:pt x="488" y="570"/>
                  </a:cubicBezTo>
                  <a:cubicBezTo>
                    <a:pt x="493" y="547"/>
                    <a:pt x="504" y="529"/>
                    <a:pt x="499" y="504"/>
                  </a:cubicBezTo>
                  <a:cubicBezTo>
                    <a:pt x="498" y="494"/>
                    <a:pt x="493" y="486"/>
                    <a:pt x="490" y="477"/>
                  </a:cubicBezTo>
                  <a:cubicBezTo>
                    <a:pt x="490" y="462"/>
                    <a:pt x="490" y="448"/>
                    <a:pt x="493" y="435"/>
                  </a:cubicBezTo>
                  <a:cubicBezTo>
                    <a:pt x="495" y="420"/>
                    <a:pt x="503" y="411"/>
                    <a:pt x="511" y="400"/>
                  </a:cubicBezTo>
                  <a:cubicBezTo>
                    <a:pt x="520" y="387"/>
                    <a:pt x="526" y="373"/>
                    <a:pt x="531" y="358"/>
                  </a:cubicBezTo>
                  <a:cubicBezTo>
                    <a:pt x="544" y="326"/>
                    <a:pt x="561" y="296"/>
                    <a:pt x="579" y="267"/>
                  </a:cubicBezTo>
                  <a:cubicBezTo>
                    <a:pt x="584" y="259"/>
                    <a:pt x="573" y="249"/>
                    <a:pt x="567" y="256"/>
                  </a:cubicBezTo>
                  <a:cubicBezTo>
                    <a:pt x="546" y="281"/>
                    <a:pt x="526" y="304"/>
                    <a:pt x="511" y="334"/>
                  </a:cubicBezTo>
                  <a:cubicBezTo>
                    <a:pt x="504" y="349"/>
                    <a:pt x="499" y="365"/>
                    <a:pt x="488" y="378"/>
                  </a:cubicBezTo>
                  <a:cubicBezTo>
                    <a:pt x="487" y="380"/>
                    <a:pt x="485" y="382"/>
                    <a:pt x="483" y="384"/>
                  </a:cubicBezTo>
                  <a:cubicBezTo>
                    <a:pt x="482" y="382"/>
                    <a:pt x="480" y="379"/>
                    <a:pt x="479" y="377"/>
                  </a:cubicBezTo>
                  <a:cubicBezTo>
                    <a:pt x="468" y="360"/>
                    <a:pt x="449" y="349"/>
                    <a:pt x="442" y="329"/>
                  </a:cubicBezTo>
                  <a:cubicBezTo>
                    <a:pt x="435" y="312"/>
                    <a:pt x="444" y="306"/>
                    <a:pt x="450" y="294"/>
                  </a:cubicBezTo>
                  <a:cubicBezTo>
                    <a:pt x="454" y="285"/>
                    <a:pt x="455" y="276"/>
                    <a:pt x="453" y="266"/>
                  </a:cubicBezTo>
                  <a:cubicBezTo>
                    <a:pt x="451" y="256"/>
                    <a:pt x="446" y="248"/>
                    <a:pt x="442" y="238"/>
                  </a:cubicBezTo>
                  <a:cubicBezTo>
                    <a:pt x="436" y="225"/>
                    <a:pt x="435" y="211"/>
                    <a:pt x="436" y="196"/>
                  </a:cubicBezTo>
                  <a:cubicBezTo>
                    <a:pt x="438" y="169"/>
                    <a:pt x="442" y="142"/>
                    <a:pt x="444" y="114"/>
                  </a:cubicBezTo>
                  <a:cubicBezTo>
                    <a:pt x="444" y="109"/>
                    <a:pt x="437" y="108"/>
                    <a:pt x="436" y="113"/>
                  </a:cubicBezTo>
                  <a:cubicBezTo>
                    <a:pt x="430" y="140"/>
                    <a:pt x="424" y="166"/>
                    <a:pt x="421" y="194"/>
                  </a:cubicBezTo>
                  <a:cubicBezTo>
                    <a:pt x="419" y="205"/>
                    <a:pt x="418" y="217"/>
                    <a:pt x="420" y="229"/>
                  </a:cubicBezTo>
                  <a:cubicBezTo>
                    <a:pt x="422" y="241"/>
                    <a:pt x="427" y="251"/>
                    <a:pt x="430" y="263"/>
                  </a:cubicBezTo>
                  <a:cubicBezTo>
                    <a:pt x="433" y="272"/>
                    <a:pt x="434" y="276"/>
                    <a:pt x="429" y="285"/>
                  </a:cubicBezTo>
                  <a:cubicBezTo>
                    <a:pt x="427" y="289"/>
                    <a:pt x="424" y="292"/>
                    <a:pt x="421" y="296"/>
                  </a:cubicBezTo>
                  <a:cubicBezTo>
                    <a:pt x="417" y="304"/>
                    <a:pt x="416" y="315"/>
                    <a:pt x="417" y="324"/>
                  </a:cubicBezTo>
                  <a:cubicBezTo>
                    <a:pt x="420" y="346"/>
                    <a:pt x="432" y="361"/>
                    <a:pt x="445" y="376"/>
                  </a:cubicBezTo>
                  <a:cubicBezTo>
                    <a:pt x="452" y="384"/>
                    <a:pt x="461" y="393"/>
                    <a:pt x="464" y="404"/>
                  </a:cubicBezTo>
                  <a:cubicBezTo>
                    <a:pt x="465" y="407"/>
                    <a:pt x="465" y="410"/>
                    <a:pt x="466" y="414"/>
                  </a:cubicBezTo>
                  <a:cubicBezTo>
                    <a:pt x="465" y="414"/>
                    <a:pt x="465" y="414"/>
                    <a:pt x="465" y="414"/>
                  </a:cubicBezTo>
                  <a:cubicBezTo>
                    <a:pt x="452" y="449"/>
                    <a:pt x="460" y="486"/>
                    <a:pt x="461" y="523"/>
                  </a:cubicBezTo>
                  <a:cubicBezTo>
                    <a:pt x="459" y="529"/>
                    <a:pt x="455" y="535"/>
                    <a:pt x="453" y="540"/>
                  </a:cubicBezTo>
                  <a:cubicBezTo>
                    <a:pt x="448" y="551"/>
                    <a:pt x="444" y="562"/>
                    <a:pt x="442" y="574"/>
                  </a:cubicBezTo>
                  <a:cubicBezTo>
                    <a:pt x="412" y="537"/>
                    <a:pt x="376" y="507"/>
                    <a:pt x="331" y="502"/>
                  </a:cubicBezTo>
                  <a:cubicBezTo>
                    <a:pt x="311" y="500"/>
                    <a:pt x="293" y="494"/>
                    <a:pt x="282" y="473"/>
                  </a:cubicBezTo>
                  <a:cubicBezTo>
                    <a:pt x="272" y="453"/>
                    <a:pt x="267" y="431"/>
                    <a:pt x="260" y="410"/>
                  </a:cubicBezTo>
                  <a:cubicBezTo>
                    <a:pt x="252" y="383"/>
                    <a:pt x="240" y="361"/>
                    <a:pt x="226" y="339"/>
                  </a:cubicBezTo>
                  <a:cubicBezTo>
                    <a:pt x="212" y="319"/>
                    <a:pt x="194" y="296"/>
                    <a:pt x="191" y="270"/>
                  </a:cubicBezTo>
                  <a:cubicBezTo>
                    <a:pt x="187" y="238"/>
                    <a:pt x="212" y="209"/>
                    <a:pt x="227" y="185"/>
                  </a:cubicBezTo>
                  <a:cubicBezTo>
                    <a:pt x="246" y="155"/>
                    <a:pt x="266" y="124"/>
                    <a:pt x="285" y="93"/>
                  </a:cubicBezTo>
                  <a:cubicBezTo>
                    <a:pt x="291" y="84"/>
                    <a:pt x="277" y="71"/>
                    <a:pt x="271" y="81"/>
                  </a:cubicBezTo>
                  <a:cubicBezTo>
                    <a:pt x="254" y="106"/>
                    <a:pt x="236" y="132"/>
                    <a:pt x="219" y="157"/>
                  </a:cubicBezTo>
                  <a:cubicBezTo>
                    <a:pt x="204" y="179"/>
                    <a:pt x="186" y="201"/>
                    <a:pt x="175" y="227"/>
                  </a:cubicBezTo>
                  <a:cubicBezTo>
                    <a:pt x="170" y="238"/>
                    <a:pt x="167" y="249"/>
                    <a:pt x="166" y="260"/>
                  </a:cubicBezTo>
                  <a:cubicBezTo>
                    <a:pt x="166" y="259"/>
                    <a:pt x="165" y="259"/>
                    <a:pt x="164" y="258"/>
                  </a:cubicBezTo>
                  <a:cubicBezTo>
                    <a:pt x="150" y="243"/>
                    <a:pt x="134" y="232"/>
                    <a:pt x="118" y="220"/>
                  </a:cubicBezTo>
                  <a:cubicBezTo>
                    <a:pt x="111" y="215"/>
                    <a:pt x="104" y="227"/>
                    <a:pt x="110" y="233"/>
                  </a:cubicBezTo>
                  <a:cubicBezTo>
                    <a:pt x="122" y="246"/>
                    <a:pt x="133" y="262"/>
                    <a:pt x="144" y="277"/>
                  </a:cubicBezTo>
                  <a:cubicBezTo>
                    <a:pt x="156" y="292"/>
                    <a:pt x="168" y="308"/>
                    <a:pt x="178" y="324"/>
                  </a:cubicBezTo>
                  <a:cubicBezTo>
                    <a:pt x="190" y="343"/>
                    <a:pt x="200" y="362"/>
                    <a:pt x="212" y="381"/>
                  </a:cubicBezTo>
                  <a:cubicBezTo>
                    <a:pt x="218" y="393"/>
                    <a:pt x="223" y="405"/>
                    <a:pt x="226" y="418"/>
                  </a:cubicBezTo>
                  <a:cubicBezTo>
                    <a:pt x="233" y="440"/>
                    <a:pt x="236" y="462"/>
                    <a:pt x="244" y="484"/>
                  </a:cubicBezTo>
                  <a:cubicBezTo>
                    <a:pt x="252" y="506"/>
                    <a:pt x="265" y="526"/>
                    <a:pt x="283" y="539"/>
                  </a:cubicBezTo>
                  <a:cubicBezTo>
                    <a:pt x="302" y="552"/>
                    <a:pt x="326" y="555"/>
                    <a:pt x="345" y="566"/>
                  </a:cubicBezTo>
                  <a:cubicBezTo>
                    <a:pt x="384" y="588"/>
                    <a:pt x="417" y="638"/>
                    <a:pt x="433" y="682"/>
                  </a:cubicBezTo>
                  <a:cubicBezTo>
                    <a:pt x="453" y="734"/>
                    <a:pt x="447" y="784"/>
                    <a:pt x="435" y="837"/>
                  </a:cubicBezTo>
                  <a:cubicBezTo>
                    <a:pt x="431" y="855"/>
                    <a:pt x="426" y="874"/>
                    <a:pt x="422" y="892"/>
                  </a:cubicBezTo>
                  <a:cubicBezTo>
                    <a:pt x="410" y="887"/>
                    <a:pt x="398" y="879"/>
                    <a:pt x="387" y="872"/>
                  </a:cubicBezTo>
                  <a:cubicBezTo>
                    <a:pt x="384" y="871"/>
                    <a:pt x="382" y="870"/>
                    <a:pt x="380" y="868"/>
                  </a:cubicBezTo>
                  <a:cubicBezTo>
                    <a:pt x="374" y="862"/>
                    <a:pt x="369" y="855"/>
                    <a:pt x="364" y="848"/>
                  </a:cubicBezTo>
                  <a:cubicBezTo>
                    <a:pt x="355" y="838"/>
                    <a:pt x="357" y="834"/>
                    <a:pt x="357" y="820"/>
                  </a:cubicBezTo>
                  <a:cubicBezTo>
                    <a:pt x="356" y="805"/>
                    <a:pt x="350" y="792"/>
                    <a:pt x="344" y="780"/>
                  </a:cubicBezTo>
                  <a:cubicBezTo>
                    <a:pt x="331" y="755"/>
                    <a:pt x="316" y="732"/>
                    <a:pt x="300" y="711"/>
                  </a:cubicBezTo>
                  <a:cubicBezTo>
                    <a:pt x="295" y="706"/>
                    <a:pt x="290" y="700"/>
                    <a:pt x="285" y="694"/>
                  </a:cubicBezTo>
                  <a:cubicBezTo>
                    <a:pt x="283" y="689"/>
                    <a:pt x="282" y="685"/>
                    <a:pt x="280" y="681"/>
                  </a:cubicBezTo>
                  <a:cubicBezTo>
                    <a:pt x="276" y="667"/>
                    <a:pt x="272" y="653"/>
                    <a:pt x="270" y="638"/>
                  </a:cubicBezTo>
                  <a:cubicBezTo>
                    <a:pt x="265" y="611"/>
                    <a:pt x="266" y="583"/>
                    <a:pt x="258" y="556"/>
                  </a:cubicBezTo>
                  <a:cubicBezTo>
                    <a:pt x="251" y="532"/>
                    <a:pt x="237" y="514"/>
                    <a:pt x="217" y="502"/>
                  </a:cubicBezTo>
                  <a:cubicBezTo>
                    <a:pt x="194" y="486"/>
                    <a:pt x="171" y="471"/>
                    <a:pt x="155" y="445"/>
                  </a:cubicBezTo>
                  <a:cubicBezTo>
                    <a:pt x="150" y="438"/>
                    <a:pt x="141" y="444"/>
                    <a:pt x="145" y="452"/>
                  </a:cubicBezTo>
                  <a:cubicBezTo>
                    <a:pt x="156" y="476"/>
                    <a:pt x="168" y="497"/>
                    <a:pt x="187" y="513"/>
                  </a:cubicBezTo>
                  <a:cubicBezTo>
                    <a:pt x="208" y="532"/>
                    <a:pt x="228" y="542"/>
                    <a:pt x="234" y="575"/>
                  </a:cubicBezTo>
                  <a:cubicBezTo>
                    <a:pt x="239" y="602"/>
                    <a:pt x="237" y="631"/>
                    <a:pt x="240" y="659"/>
                  </a:cubicBezTo>
                  <a:cubicBezTo>
                    <a:pt x="240" y="659"/>
                    <a:pt x="240" y="660"/>
                    <a:pt x="240" y="660"/>
                  </a:cubicBezTo>
                  <a:cubicBezTo>
                    <a:pt x="214" y="652"/>
                    <a:pt x="190" y="665"/>
                    <a:pt x="168" y="677"/>
                  </a:cubicBezTo>
                  <a:cubicBezTo>
                    <a:pt x="158" y="683"/>
                    <a:pt x="146" y="692"/>
                    <a:pt x="134" y="693"/>
                  </a:cubicBezTo>
                  <a:cubicBezTo>
                    <a:pt x="122" y="695"/>
                    <a:pt x="113" y="685"/>
                    <a:pt x="103" y="681"/>
                  </a:cubicBezTo>
                  <a:cubicBezTo>
                    <a:pt x="92" y="677"/>
                    <a:pt x="81" y="676"/>
                    <a:pt x="70" y="677"/>
                  </a:cubicBezTo>
                  <a:cubicBezTo>
                    <a:pt x="57" y="678"/>
                    <a:pt x="43" y="683"/>
                    <a:pt x="31" y="677"/>
                  </a:cubicBezTo>
                  <a:cubicBezTo>
                    <a:pt x="14" y="668"/>
                    <a:pt x="0" y="695"/>
                    <a:pt x="16" y="706"/>
                  </a:cubicBezTo>
                  <a:cubicBezTo>
                    <a:pt x="39" y="720"/>
                    <a:pt x="61" y="712"/>
                    <a:pt x="84" y="717"/>
                  </a:cubicBezTo>
                  <a:cubicBezTo>
                    <a:pt x="96" y="720"/>
                    <a:pt x="105" y="730"/>
                    <a:pt x="116" y="734"/>
                  </a:cubicBezTo>
                  <a:cubicBezTo>
                    <a:pt x="126" y="737"/>
                    <a:pt x="138" y="738"/>
                    <a:pt x="149" y="736"/>
                  </a:cubicBezTo>
                  <a:cubicBezTo>
                    <a:pt x="172" y="733"/>
                    <a:pt x="192" y="717"/>
                    <a:pt x="215" y="715"/>
                  </a:cubicBezTo>
                  <a:cubicBezTo>
                    <a:pt x="234" y="714"/>
                    <a:pt x="253" y="745"/>
                    <a:pt x="264" y="760"/>
                  </a:cubicBezTo>
                  <a:cubicBezTo>
                    <a:pt x="277" y="777"/>
                    <a:pt x="294" y="801"/>
                    <a:pt x="300" y="823"/>
                  </a:cubicBezTo>
                  <a:cubicBezTo>
                    <a:pt x="300" y="824"/>
                    <a:pt x="300" y="825"/>
                    <a:pt x="300" y="826"/>
                  </a:cubicBezTo>
                  <a:cubicBezTo>
                    <a:pt x="299" y="829"/>
                    <a:pt x="299" y="832"/>
                    <a:pt x="299" y="835"/>
                  </a:cubicBezTo>
                  <a:cubicBezTo>
                    <a:pt x="299" y="843"/>
                    <a:pt x="300" y="851"/>
                    <a:pt x="302" y="859"/>
                  </a:cubicBezTo>
                  <a:cubicBezTo>
                    <a:pt x="306" y="873"/>
                    <a:pt x="314" y="885"/>
                    <a:pt x="322" y="896"/>
                  </a:cubicBezTo>
                  <a:cubicBezTo>
                    <a:pt x="340" y="919"/>
                    <a:pt x="359" y="940"/>
                    <a:pt x="378" y="962"/>
                  </a:cubicBezTo>
                  <a:cubicBezTo>
                    <a:pt x="388" y="973"/>
                    <a:pt x="398" y="984"/>
                    <a:pt x="407" y="994"/>
                  </a:cubicBezTo>
                  <a:cubicBezTo>
                    <a:pt x="409" y="996"/>
                    <a:pt x="411" y="998"/>
                    <a:pt x="412" y="999"/>
                  </a:cubicBezTo>
                  <a:cubicBezTo>
                    <a:pt x="412" y="1007"/>
                    <a:pt x="412" y="1014"/>
                    <a:pt x="413" y="1021"/>
                  </a:cubicBezTo>
                  <a:cubicBezTo>
                    <a:pt x="414" y="1053"/>
                    <a:pt x="418" y="1086"/>
                    <a:pt x="417" y="1118"/>
                  </a:cubicBezTo>
                  <a:cubicBezTo>
                    <a:pt x="416" y="1144"/>
                    <a:pt x="411" y="1170"/>
                    <a:pt x="407" y="1195"/>
                  </a:cubicBezTo>
                  <a:cubicBezTo>
                    <a:pt x="389" y="1179"/>
                    <a:pt x="369" y="1170"/>
                    <a:pt x="345" y="1176"/>
                  </a:cubicBezTo>
                  <a:cubicBezTo>
                    <a:pt x="334" y="1178"/>
                    <a:pt x="325" y="1184"/>
                    <a:pt x="314" y="1189"/>
                  </a:cubicBezTo>
                  <a:cubicBezTo>
                    <a:pt x="309" y="1191"/>
                    <a:pt x="307" y="1193"/>
                    <a:pt x="303" y="1191"/>
                  </a:cubicBezTo>
                  <a:cubicBezTo>
                    <a:pt x="296" y="1187"/>
                    <a:pt x="290" y="1177"/>
                    <a:pt x="283" y="1172"/>
                  </a:cubicBezTo>
                  <a:cubicBezTo>
                    <a:pt x="274" y="1164"/>
                    <a:pt x="263" y="1160"/>
                    <a:pt x="252" y="1157"/>
                  </a:cubicBezTo>
                  <a:cubicBezTo>
                    <a:pt x="244" y="1154"/>
                    <a:pt x="235" y="1153"/>
                    <a:pt x="229" y="1146"/>
                  </a:cubicBezTo>
                  <a:cubicBezTo>
                    <a:pt x="222" y="1138"/>
                    <a:pt x="217" y="1128"/>
                    <a:pt x="211" y="1119"/>
                  </a:cubicBezTo>
                  <a:cubicBezTo>
                    <a:pt x="197" y="1098"/>
                    <a:pt x="179" y="1082"/>
                    <a:pt x="162" y="1064"/>
                  </a:cubicBezTo>
                  <a:cubicBezTo>
                    <a:pt x="144" y="1046"/>
                    <a:pt x="131" y="1026"/>
                    <a:pt x="123" y="1000"/>
                  </a:cubicBezTo>
                  <a:cubicBezTo>
                    <a:pt x="116" y="975"/>
                    <a:pt x="111" y="950"/>
                    <a:pt x="105" y="925"/>
                  </a:cubicBezTo>
                  <a:cubicBezTo>
                    <a:pt x="99" y="893"/>
                    <a:pt x="97" y="860"/>
                    <a:pt x="89" y="829"/>
                  </a:cubicBezTo>
                  <a:cubicBezTo>
                    <a:pt x="83" y="806"/>
                    <a:pt x="70" y="784"/>
                    <a:pt x="47" y="778"/>
                  </a:cubicBezTo>
                  <a:cubicBezTo>
                    <a:pt x="32" y="774"/>
                    <a:pt x="27" y="799"/>
                    <a:pt x="41" y="805"/>
                  </a:cubicBezTo>
                  <a:cubicBezTo>
                    <a:pt x="64" y="813"/>
                    <a:pt x="63" y="850"/>
                    <a:pt x="66" y="872"/>
                  </a:cubicBezTo>
                  <a:cubicBezTo>
                    <a:pt x="69" y="899"/>
                    <a:pt x="75" y="926"/>
                    <a:pt x="81" y="953"/>
                  </a:cubicBezTo>
                  <a:cubicBezTo>
                    <a:pt x="91" y="1000"/>
                    <a:pt x="102" y="1051"/>
                    <a:pt x="129" y="1090"/>
                  </a:cubicBezTo>
                  <a:cubicBezTo>
                    <a:pt x="141" y="1110"/>
                    <a:pt x="159" y="1125"/>
                    <a:pt x="171" y="1144"/>
                  </a:cubicBezTo>
                  <a:cubicBezTo>
                    <a:pt x="175" y="1150"/>
                    <a:pt x="178" y="1156"/>
                    <a:pt x="181" y="1163"/>
                  </a:cubicBezTo>
                  <a:cubicBezTo>
                    <a:pt x="168" y="1166"/>
                    <a:pt x="156" y="1167"/>
                    <a:pt x="142" y="1160"/>
                  </a:cubicBezTo>
                  <a:cubicBezTo>
                    <a:pt x="134" y="1157"/>
                    <a:pt x="122" y="1150"/>
                    <a:pt x="118" y="1141"/>
                  </a:cubicBezTo>
                  <a:cubicBezTo>
                    <a:pt x="114" y="1135"/>
                    <a:pt x="115" y="1123"/>
                    <a:pt x="112" y="1115"/>
                  </a:cubicBezTo>
                  <a:cubicBezTo>
                    <a:pt x="102" y="1080"/>
                    <a:pt x="76" y="1054"/>
                    <a:pt x="45" y="1046"/>
                  </a:cubicBezTo>
                  <a:cubicBezTo>
                    <a:pt x="30" y="1042"/>
                    <a:pt x="25" y="1066"/>
                    <a:pt x="39" y="1072"/>
                  </a:cubicBezTo>
                  <a:cubicBezTo>
                    <a:pt x="57" y="1079"/>
                    <a:pt x="72" y="1094"/>
                    <a:pt x="80" y="1115"/>
                  </a:cubicBezTo>
                  <a:cubicBezTo>
                    <a:pt x="88" y="1134"/>
                    <a:pt x="85" y="1155"/>
                    <a:pt x="98" y="1171"/>
                  </a:cubicBezTo>
                  <a:cubicBezTo>
                    <a:pt x="125" y="1201"/>
                    <a:pt x="171" y="1220"/>
                    <a:pt x="205" y="1198"/>
                  </a:cubicBezTo>
                  <a:cubicBezTo>
                    <a:pt x="206" y="1199"/>
                    <a:pt x="206" y="1200"/>
                    <a:pt x="207" y="1200"/>
                  </a:cubicBezTo>
                  <a:cubicBezTo>
                    <a:pt x="222" y="1215"/>
                    <a:pt x="242" y="1216"/>
                    <a:pt x="255" y="1233"/>
                  </a:cubicBezTo>
                  <a:cubicBezTo>
                    <a:pt x="270" y="1252"/>
                    <a:pt x="285" y="1267"/>
                    <a:pt x="309" y="1267"/>
                  </a:cubicBezTo>
                  <a:cubicBezTo>
                    <a:pt x="321" y="1267"/>
                    <a:pt x="333" y="1263"/>
                    <a:pt x="345" y="1258"/>
                  </a:cubicBezTo>
                  <a:cubicBezTo>
                    <a:pt x="348" y="1257"/>
                    <a:pt x="353" y="1255"/>
                    <a:pt x="356" y="1254"/>
                  </a:cubicBezTo>
                  <a:cubicBezTo>
                    <a:pt x="356" y="1255"/>
                    <a:pt x="357" y="1255"/>
                    <a:pt x="358" y="1256"/>
                  </a:cubicBezTo>
                  <a:cubicBezTo>
                    <a:pt x="375" y="1270"/>
                    <a:pt x="391" y="1299"/>
                    <a:pt x="411" y="1312"/>
                  </a:cubicBezTo>
                  <a:cubicBezTo>
                    <a:pt x="418" y="1342"/>
                    <a:pt x="431" y="1369"/>
                    <a:pt x="440" y="1398"/>
                  </a:cubicBezTo>
                  <a:cubicBezTo>
                    <a:pt x="458" y="1451"/>
                    <a:pt x="458" y="1508"/>
                    <a:pt x="424" y="1553"/>
                  </a:cubicBezTo>
                  <a:cubicBezTo>
                    <a:pt x="423" y="1554"/>
                    <a:pt x="422" y="1555"/>
                    <a:pt x="422" y="1556"/>
                  </a:cubicBezTo>
                  <a:cubicBezTo>
                    <a:pt x="678" y="1556"/>
                    <a:pt x="678" y="1556"/>
                    <a:pt x="678" y="1556"/>
                  </a:cubicBezTo>
                  <a:cubicBezTo>
                    <a:pt x="679" y="1548"/>
                    <a:pt x="679" y="1539"/>
                    <a:pt x="679" y="1531"/>
                  </a:cubicBezTo>
                  <a:close/>
                </a:path>
              </a:pathLst>
            </a:custGeom>
            <a:solidFill>
              <a:schemeClr val="accent3">
                <a:lumMod val="50000"/>
              </a:schemeClr>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28" name="Freeform 27">
              <a:extLst>
                <a:ext uri="{FF2B5EF4-FFF2-40B4-BE49-F238E27FC236}">
                  <a16:creationId xmlns:a16="http://schemas.microsoft.com/office/drawing/2014/main" id="{E66EA14E-1B54-42F3-BA7C-B9711F3DBC65}"/>
                </a:ext>
              </a:extLst>
            </p:cNvPr>
            <p:cNvSpPr>
              <a:spLocks/>
            </p:cNvSpPr>
            <p:nvPr/>
          </p:nvSpPr>
          <p:spPr bwMode="auto">
            <a:xfrm>
              <a:off x="9783763" y="544513"/>
              <a:ext cx="242888" cy="517525"/>
            </a:xfrm>
            <a:custGeom>
              <a:avLst/>
              <a:gdLst>
                <a:gd name="T0" fmla="*/ 15 w 102"/>
                <a:gd name="T1" fmla="*/ 0 h 218"/>
                <a:gd name="T2" fmla="*/ 16 w 102"/>
                <a:gd name="T3" fmla="*/ 0 h 218"/>
                <a:gd name="T4" fmla="*/ 57 w 102"/>
                <a:gd name="T5" fmla="*/ 33 h 218"/>
                <a:gd name="T6" fmla="*/ 87 w 102"/>
                <a:gd name="T7" fmla="*/ 69 h 218"/>
                <a:gd name="T8" fmla="*/ 100 w 102"/>
                <a:gd name="T9" fmla="*/ 117 h 218"/>
                <a:gd name="T10" fmla="*/ 93 w 102"/>
                <a:gd name="T11" fmla="*/ 159 h 218"/>
                <a:gd name="T12" fmla="*/ 62 w 102"/>
                <a:gd name="T13" fmla="*/ 187 h 218"/>
                <a:gd name="T14" fmla="*/ 54 w 102"/>
                <a:gd name="T15" fmla="*/ 217 h 218"/>
                <a:gd name="T16" fmla="*/ 53 w 102"/>
                <a:gd name="T17" fmla="*/ 218 h 218"/>
                <a:gd name="T18" fmla="*/ 45 w 102"/>
                <a:gd name="T19" fmla="*/ 213 h 218"/>
                <a:gd name="T20" fmla="*/ 45 w 102"/>
                <a:gd name="T21" fmla="*/ 211 h 218"/>
                <a:gd name="T22" fmla="*/ 55 w 102"/>
                <a:gd name="T23" fmla="*/ 93 h 218"/>
                <a:gd name="T24" fmla="*/ 54 w 102"/>
                <a:gd name="T25" fmla="*/ 86 h 218"/>
                <a:gd name="T26" fmla="*/ 53 w 102"/>
                <a:gd name="T27" fmla="*/ 158 h 218"/>
                <a:gd name="T28" fmla="*/ 45 w 102"/>
                <a:gd name="T29" fmla="*/ 185 h 218"/>
                <a:gd name="T30" fmla="*/ 44 w 102"/>
                <a:gd name="T31" fmla="*/ 186 h 218"/>
                <a:gd name="T32" fmla="*/ 43 w 102"/>
                <a:gd name="T33" fmla="*/ 186 h 218"/>
                <a:gd name="T34" fmla="*/ 16 w 102"/>
                <a:gd name="T35" fmla="*/ 165 h 218"/>
                <a:gd name="T36" fmla="*/ 3 w 102"/>
                <a:gd name="T37" fmla="*/ 130 h 218"/>
                <a:gd name="T38" fmla="*/ 1 w 102"/>
                <a:gd name="T39" fmla="*/ 89 h 218"/>
                <a:gd name="T40" fmla="*/ 3 w 102"/>
                <a:gd name="T41" fmla="*/ 70 h 218"/>
                <a:gd name="T42" fmla="*/ 9 w 102"/>
                <a:gd name="T43" fmla="*/ 50 h 218"/>
                <a:gd name="T44" fmla="*/ 14 w 102"/>
                <a:gd name="T45" fmla="*/ 25 h 218"/>
                <a:gd name="T46" fmla="*/ 14 w 102"/>
                <a:gd name="T47" fmla="*/ 1 h 218"/>
                <a:gd name="T48" fmla="*/ 15 w 102"/>
                <a:gd name="T49" fmla="*/ 0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2" h="218">
                  <a:moveTo>
                    <a:pt x="15" y="0"/>
                  </a:moveTo>
                  <a:cubicBezTo>
                    <a:pt x="15" y="0"/>
                    <a:pt x="16" y="0"/>
                    <a:pt x="16" y="0"/>
                  </a:cubicBezTo>
                  <a:cubicBezTo>
                    <a:pt x="30" y="10"/>
                    <a:pt x="44" y="21"/>
                    <a:pt x="57" y="33"/>
                  </a:cubicBezTo>
                  <a:cubicBezTo>
                    <a:pt x="68" y="43"/>
                    <a:pt x="79" y="55"/>
                    <a:pt x="87" y="69"/>
                  </a:cubicBezTo>
                  <a:cubicBezTo>
                    <a:pt x="95" y="83"/>
                    <a:pt x="98" y="100"/>
                    <a:pt x="100" y="117"/>
                  </a:cubicBezTo>
                  <a:cubicBezTo>
                    <a:pt x="102" y="132"/>
                    <a:pt x="100" y="146"/>
                    <a:pt x="93" y="159"/>
                  </a:cubicBezTo>
                  <a:cubicBezTo>
                    <a:pt x="86" y="172"/>
                    <a:pt x="75" y="182"/>
                    <a:pt x="62" y="187"/>
                  </a:cubicBezTo>
                  <a:cubicBezTo>
                    <a:pt x="61" y="197"/>
                    <a:pt x="58" y="207"/>
                    <a:pt x="54" y="217"/>
                  </a:cubicBezTo>
                  <a:cubicBezTo>
                    <a:pt x="54" y="218"/>
                    <a:pt x="54" y="218"/>
                    <a:pt x="53" y="218"/>
                  </a:cubicBezTo>
                  <a:cubicBezTo>
                    <a:pt x="50" y="217"/>
                    <a:pt x="48" y="215"/>
                    <a:pt x="45" y="213"/>
                  </a:cubicBezTo>
                  <a:cubicBezTo>
                    <a:pt x="45" y="212"/>
                    <a:pt x="45" y="212"/>
                    <a:pt x="45" y="211"/>
                  </a:cubicBezTo>
                  <a:cubicBezTo>
                    <a:pt x="60" y="175"/>
                    <a:pt x="64" y="132"/>
                    <a:pt x="55" y="93"/>
                  </a:cubicBezTo>
                  <a:cubicBezTo>
                    <a:pt x="55" y="91"/>
                    <a:pt x="54" y="88"/>
                    <a:pt x="54" y="86"/>
                  </a:cubicBezTo>
                  <a:cubicBezTo>
                    <a:pt x="58" y="110"/>
                    <a:pt x="57" y="134"/>
                    <a:pt x="53" y="158"/>
                  </a:cubicBezTo>
                  <a:cubicBezTo>
                    <a:pt x="51" y="167"/>
                    <a:pt x="48" y="176"/>
                    <a:pt x="45" y="185"/>
                  </a:cubicBezTo>
                  <a:cubicBezTo>
                    <a:pt x="45" y="185"/>
                    <a:pt x="45" y="186"/>
                    <a:pt x="44" y="186"/>
                  </a:cubicBezTo>
                  <a:cubicBezTo>
                    <a:pt x="44" y="186"/>
                    <a:pt x="44" y="186"/>
                    <a:pt x="43" y="186"/>
                  </a:cubicBezTo>
                  <a:cubicBezTo>
                    <a:pt x="33" y="182"/>
                    <a:pt x="23" y="175"/>
                    <a:pt x="16" y="165"/>
                  </a:cubicBezTo>
                  <a:cubicBezTo>
                    <a:pt x="8" y="155"/>
                    <a:pt x="5" y="143"/>
                    <a:pt x="3" y="130"/>
                  </a:cubicBezTo>
                  <a:cubicBezTo>
                    <a:pt x="1" y="117"/>
                    <a:pt x="0" y="103"/>
                    <a:pt x="1" y="89"/>
                  </a:cubicBezTo>
                  <a:cubicBezTo>
                    <a:pt x="1" y="83"/>
                    <a:pt x="2" y="76"/>
                    <a:pt x="3" y="70"/>
                  </a:cubicBezTo>
                  <a:cubicBezTo>
                    <a:pt x="5" y="63"/>
                    <a:pt x="7" y="56"/>
                    <a:pt x="9" y="50"/>
                  </a:cubicBezTo>
                  <a:cubicBezTo>
                    <a:pt x="11" y="42"/>
                    <a:pt x="14" y="34"/>
                    <a:pt x="14" y="25"/>
                  </a:cubicBezTo>
                  <a:cubicBezTo>
                    <a:pt x="15" y="17"/>
                    <a:pt x="14" y="9"/>
                    <a:pt x="14" y="1"/>
                  </a:cubicBezTo>
                  <a:cubicBezTo>
                    <a:pt x="14" y="0"/>
                    <a:pt x="14" y="0"/>
                    <a:pt x="15" y="0"/>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29" name="Freeform 28">
              <a:extLst>
                <a:ext uri="{FF2B5EF4-FFF2-40B4-BE49-F238E27FC236}">
                  <a16:creationId xmlns:a16="http://schemas.microsoft.com/office/drawing/2014/main" id="{A65F1544-325A-4BD5-A117-0372DE5D5190}"/>
                </a:ext>
              </a:extLst>
            </p:cNvPr>
            <p:cNvSpPr>
              <a:spLocks/>
            </p:cNvSpPr>
            <p:nvPr/>
          </p:nvSpPr>
          <p:spPr bwMode="auto">
            <a:xfrm>
              <a:off x="8909050" y="333375"/>
              <a:ext cx="317500" cy="422275"/>
            </a:xfrm>
            <a:custGeom>
              <a:avLst/>
              <a:gdLst>
                <a:gd name="T0" fmla="*/ 1 w 133"/>
                <a:gd name="T1" fmla="*/ 0 h 178"/>
                <a:gd name="T2" fmla="*/ 2 w 133"/>
                <a:gd name="T3" fmla="*/ 0 h 178"/>
                <a:gd name="T4" fmla="*/ 51 w 133"/>
                <a:gd name="T5" fmla="*/ 9 h 178"/>
                <a:gd name="T6" fmla="*/ 92 w 133"/>
                <a:gd name="T7" fmla="*/ 26 h 178"/>
                <a:gd name="T8" fmla="*/ 122 w 133"/>
                <a:gd name="T9" fmla="*/ 63 h 178"/>
                <a:gd name="T10" fmla="*/ 131 w 133"/>
                <a:gd name="T11" fmla="*/ 105 h 178"/>
                <a:gd name="T12" fmla="*/ 114 w 133"/>
                <a:gd name="T13" fmla="*/ 145 h 178"/>
                <a:gd name="T14" fmla="*/ 118 w 133"/>
                <a:gd name="T15" fmla="*/ 176 h 178"/>
                <a:gd name="T16" fmla="*/ 118 w 133"/>
                <a:gd name="T17" fmla="*/ 177 h 178"/>
                <a:gd name="T18" fmla="*/ 109 w 133"/>
                <a:gd name="T19" fmla="*/ 177 h 178"/>
                <a:gd name="T20" fmla="*/ 108 w 133"/>
                <a:gd name="T21" fmla="*/ 176 h 178"/>
                <a:gd name="T22" fmla="*/ 73 w 133"/>
                <a:gd name="T23" fmla="*/ 64 h 178"/>
                <a:gd name="T24" fmla="*/ 68 w 133"/>
                <a:gd name="T25" fmla="*/ 58 h 178"/>
                <a:gd name="T26" fmla="*/ 94 w 133"/>
                <a:gd name="T27" fmla="*/ 124 h 178"/>
                <a:gd name="T28" fmla="*/ 98 w 133"/>
                <a:gd name="T29" fmla="*/ 152 h 178"/>
                <a:gd name="T30" fmla="*/ 97 w 133"/>
                <a:gd name="T31" fmla="*/ 153 h 178"/>
                <a:gd name="T32" fmla="*/ 97 w 133"/>
                <a:gd name="T33" fmla="*/ 154 h 178"/>
                <a:gd name="T34" fmla="*/ 64 w 133"/>
                <a:gd name="T35" fmla="*/ 149 h 178"/>
                <a:gd name="T36" fmla="*/ 39 w 133"/>
                <a:gd name="T37" fmla="*/ 124 h 178"/>
                <a:gd name="T38" fmla="*/ 22 w 133"/>
                <a:gd name="T39" fmla="*/ 88 h 178"/>
                <a:gd name="T40" fmla="*/ 17 w 133"/>
                <a:gd name="T41" fmla="*/ 69 h 178"/>
                <a:gd name="T42" fmla="*/ 14 w 133"/>
                <a:gd name="T43" fmla="*/ 48 h 178"/>
                <a:gd name="T44" fmla="*/ 10 w 133"/>
                <a:gd name="T45" fmla="*/ 24 h 178"/>
                <a:gd name="T46" fmla="*/ 1 w 133"/>
                <a:gd name="T47" fmla="*/ 2 h 178"/>
                <a:gd name="T48" fmla="*/ 1 w 133"/>
                <a:gd name="T49"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33" h="178">
                  <a:moveTo>
                    <a:pt x="1" y="0"/>
                  </a:moveTo>
                  <a:cubicBezTo>
                    <a:pt x="1" y="0"/>
                    <a:pt x="2" y="0"/>
                    <a:pt x="2" y="0"/>
                  </a:cubicBezTo>
                  <a:cubicBezTo>
                    <a:pt x="19" y="2"/>
                    <a:pt x="35" y="5"/>
                    <a:pt x="51" y="9"/>
                  </a:cubicBezTo>
                  <a:cubicBezTo>
                    <a:pt x="65" y="13"/>
                    <a:pt x="79" y="17"/>
                    <a:pt x="92" y="26"/>
                  </a:cubicBezTo>
                  <a:cubicBezTo>
                    <a:pt x="105" y="35"/>
                    <a:pt x="114" y="49"/>
                    <a:pt x="122" y="63"/>
                  </a:cubicBezTo>
                  <a:cubicBezTo>
                    <a:pt x="129" y="76"/>
                    <a:pt x="133" y="90"/>
                    <a:pt x="131" y="105"/>
                  </a:cubicBezTo>
                  <a:cubicBezTo>
                    <a:pt x="130" y="120"/>
                    <a:pt x="124" y="135"/>
                    <a:pt x="114" y="145"/>
                  </a:cubicBezTo>
                  <a:cubicBezTo>
                    <a:pt x="117" y="155"/>
                    <a:pt x="118" y="166"/>
                    <a:pt x="118" y="176"/>
                  </a:cubicBezTo>
                  <a:cubicBezTo>
                    <a:pt x="119" y="177"/>
                    <a:pt x="118" y="177"/>
                    <a:pt x="118" y="177"/>
                  </a:cubicBezTo>
                  <a:cubicBezTo>
                    <a:pt x="115" y="178"/>
                    <a:pt x="112" y="177"/>
                    <a:pt x="109" y="177"/>
                  </a:cubicBezTo>
                  <a:cubicBezTo>
                    <a:pt x="108" y="177"/>
                    <a:pt x="108" y="176"/>
                    <a:pt x="108" y="176"/>
                  </a:cubicBezTo>
                  <a:cubicBezTo>
                    <a:pt x="108" y="135"/>
                    <a:pt x="95" y="95"/>
                    <a:pt x="73" y="64"/>
                  </a:cubicBezTo>
                  <a:cubicBezTo>
                    <a:pt x="71" y="62"/>
                    <a:pt x="70" y="60"/>
                    <a:pt x="68" y="58"/>
                  </a:cubicBezTo>
                  <a:cubicBezTo>
                    <a:pt x="81" y="78"/>
                    <a:pt x="90" y="100"/>
                    <a:pt x="94" y="124"/>
                  </a:cubicBezTo>
                  <a:cubicBezTo>
                    <a:pt x="96" y="133"/>
                    <a:pt x="97" y="142"/>
                    <a:pt x="98" y="152"/>
                  </a:cubicBezTo>
                  <a:cubicBezTo>
                    <a:pt x="98" y="152"/>
                    <a:pt x="98" y="153"/>
                    <a:pt x="97" y="153"/>
                  </a:cubicBezTo>
                  <a:cubicBezTo>
                    <a:pt x="97" y="153"/>
                    <a:pt x="97" y="154"/>
                    <a:pt x="97" y="154"/>
                  </a:cubicBezTo>
                  <a:cubicBezTo>
                    <a:pt x="86" y="155"/>
                    <a:pt x="74" y="154"/>
                    <a:pt x="64" y="149"/>
                  </a:cubicBezTo>
                  <a:cubicBezTo>
                    <a:pt x="53" y="144"/>
                    <a:pt x="46" y="135"/>
                    <a:pt x="39" y="124"/>
                  </a:cubicBezTo>
                  <a:cubicBezTo>
                    <a:pt x="32" y="113"/>
                    <a:pt x="26" y="101"/>
                    <a:pt x="22" y="88"/>
                  </a:cubicBezTo>
                  <a:cubicBezTo>
                    <a:pt x="20" y="82"/>
                    <a:pt x="18" y="76"/>
                    <a:pt x="17" y="69"/>
                  </a:cubicBezTo>
                  <a:cubicBezTo>
                    <a:pt x="15" y="62"/>
                    <a:pt x="15" y="55"/>
                    <a:pt x="14" y="48"/>
                  </a:cubicBezTo>
                  <a:cubicBezTo>
                    <a:pt x="14" y="40"/>
                    <a:pt x="13" y="32"/>
                    <a:pt x="10" y="24"/>
                  </a:cubicBezTo>
                  <a:cubicBezTo>
                    <a:pt x="8" y="16"/>
                    <a:pt x="4" y="9"/>
                    <a:pt x="1" y="2"/>
                  </a:cubicBezTo>
                  <a:cubicBezTo>
                    <a:pt x="0" y="1"/>
                    <a:pt x="1" y="1"/>
                    <a:pt x="1" y="0"/>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30" name="Freeform 29">
              <a:extLst>
                <a:ext uri="{FF2B5EF4-FFF2-40B4-BE49-F238E27FC236}">
                  <a16:creationId xmlns:a16="http://schemas.microsoft.com/office/drawing/2014/main" id="{31767ADB-01AB-4BDE-BCB3-10B3E83B5746}"/>
                </a:ext>
              </a:extLst>
            </p:cNvPr>
            <p:cNvSpPr>
              <a:spLocks/>
            </p:cNvSpPr>
            <p:nvPr/>
          </p:nvSpPr>
          <p:spPr bwMode="auto">
            <a:xfrm>
              <a:off x="8281988" y="1925638"/>
              <a:ext cx="635000" cy="420687"/>
            </a:xfrm>
            <a:custGeom>
              <a:avLst/>
              <a:gdLst>
                <a:gd name="T0" fmla="*/ 0 w 267"/>
                <a:gd name="T1" fmla="*/ 64 h 177"/>
                <a:gd name="T2" fmla="*/ 1 w 267"/>
                <a:gd name="T3" fmla="*/ 63 h 177"/>
                <a:gd name="T4" fmla="*/ 65 w 267"/>
                <a:gd name="T5" fmla="*/ 24 h 177"/>
                <a:gd name="T6" fmla="*/ 124 w 267"/>
                <a:gd name="T7" fmla="*/ 3 h 177"/>
                <a:gd name="T8" fmla="*/ 187 w 267"/>
                <a:gd name="T9" fmla="*/ 16 h 177"/>
                <a:gd name="T10" fmla="*/ 228 w 267"/>
                <a:gd name="T11" fmla="*/ 54 h 177"/>
                <a:gd name="T12" fmla="*/ 238 w 267"/>
                <a:gd name="T13" fmla="*/ 118 h 177"/>
                <a:gd name="T14" fmla="*/ 267 w 267"/>
                <a:gd name="T15" fmla="*/ 150 h 177"/>
                <a:gd name="T16" fmla="*/ 267 w 267"/>
                <a:gd name="T17" fmla="*/ 152 h 177"/>
                <a:gd name="T18" fmla="*/ 256 w 267"/>
                <a:gd name="T19" fmla="*/ 160 h 177"/>
                <a:gd name="T20" fmla="*/ 254 w 267"/>
                <a:gd name="T21" fmla="*/ 160 h 177"/>
                <a:gd name="T22" fmla="*/ 130 w 267"/>
                <a:gd name="T23" fmla="*/ 66 h 177"/>
                <a:gd name="T24" fmla="*/ 121 w 267"/>
                <a:gd name="T25" fmla="*/ 64 h 177"/>
                <a:gd name="T26" fmla="*/ 200 w 267"/>
                <a:gd name="T27" fmla="*/ 113 h 177"/>
                <a:gd name="T28" fmla="*/ 225 w 267"/>
                <a:gd name="T29" fmla="*/ 142 h 177"/>
                <a:gd name="T30" fmla="*/ 225 w 267"/>
                <a:gd name="T31" fmla="*/ 144 h 177"/>
                <a:gd name="T32" fmla="*/ 225 w 267"/>
                <a:gd name="T33" fmla="*/ 145 h 177"/>
                <a:gd name="T34" fmla="*/ 184 w 267"/>
                <a:gd name="T35" fmla="*/ 172 h 177"/>
                <a:gd name="T36" fmla="*/ 136 w 267"/>
                <a:gd name="T37" fmla="*/ 169 h 177"/>
                <a:gd name="T38" fmla="*/ 90 w 267"/>
                <a:gd name="T39" fmla="*/ 145 h 177"/>
                <a:gd name="T40" fmla="*/ 70 w 267"/>
                <a:gd name="T41" fmla="*/ 128 h 177"/>
                <a:gd name="T42" fmla="*/ 52 w 267"/>
                <a:gd name="T43" fmla="*/ 106 h 177"/>
                <a:gd name="T44" fmla="*/ 28 w 267"/>
                <a:gd name="T45" fmla="*/ 82 h 177"/>
                <a:gd name="T46" fmla="*/ 1 w 267"/>
                <a:gd name="T47" fmla="*/ 66 h 177"/>
                <a:gd name="T48" fmla="*/ 0 w 267"/>
                <a:gd name="T49" fmla="*/ 64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67" h="177">
                  <a:moveTo>
                    <a:pt x="0" y="64"/>
                  </a:moveTo>
                  <a:cubicBezTo>
                    <a:pt x="0" y="63"/>
                    <a:pt x="1" y="63"/>
                    <a:pt x="1" y="63"/>
                  </a:cubicBezTo>
                  <a:cubicBezTo>
                    <a:pt x="21" y="48"/>
                    <a:pt x="43" y="35"/>
                    <a:pt x="65" y="24"/>
                  </a:cubicBezTo>
                  <a:cubicBezTo>
                    <a:pt x="84" y="14"/>
                    <a:pt x="103" y="6"/>
                    <a:pt x="124" y="3"/>
                  </a:cubicBezTo>
                  <a:cubicBezTo>
                    <a:pt x="146" y="0"/>
                    <a:pt x="166" y="7"/>
                    <a:pt x="187" y="16"/>
                  </a:cubicBezTo>
                  <a:cubicBezTo>
                    <a:pt x="204" y="23"/>
                    <a:pt x="219" y="36"/>
                    <a:pt x="228" y="54"/>
                  </a:cubicBezTo>
                  <a:cubicBezTo>
                    <a:pt x="238" y="73"/>
                    <a:pt x="242" y="96"/>
                    <a:pt x="238" y="118"/>
                  </a:cubicBezTo>
                  <a:cubicBezTo>
                    <a:pt x="249" y="127"/>
                    <a:pt x="259" y="137"/>
                    <a:pt x="267" y="150"/>
                  </a:cubicBezTo>
                  <a:cubicBezTo>
                    <a:pt x="267" y="150"/>
                    <a:pt x="267" y="151"/>
                    <a:pt x="267" y="152"/>
                  </a:cubicBezTo>
                  <a:cubicBezTo>
                    <a:pt x="264" y="155"/>
                    <a:pt x="260" y="158"/>
                    <a:pt x="256" y="160"/>
                  </a:cubicBezTo>
                  <a:cubicBezTo>
                    <a:pt x="255" y="161"/>
                    <a:pt x="255" y="160"/>
                    <a:pt x="254" y="160"/>
                  </a:cubicBezTo>
                  <a:cubicBezTo>
                    <a:pt x="224" y="113"/>
                    <a:pt x="179" y="80"/>
                    <a:pt x="130" y="66"/>
                  </a:cubicBezTo>
                  <a:cubicBezTo>
                    <a:pt x="127" y="65"/>
                    <a:pt x="124" y="64"/>
                    <a:pt x="121" y="64"/>
                  </a:cubicBezTo>
                  <a:cubicBezTo>
                    <a:pt x="150" y="74"/>
                    <a:pt x="177" y="91"/>
                    <a:pt x="200" y="113"/>
                  </a:cubicBezTo>
                  <a:cubicBezTo>
                    <a:pt x="209" y="122"/>
                    <a:pt x="217" y="132"/>
                    <a:pt x="225" y="142"/>
                  </a:cubicBezTo>
                  <a:cubicBezTo>
                    <a:pt x="225" y="143"/>
                    <a:pt x="225" y="143"/>
                    <a:pt x="225" y="144"/>
                  </a:cubicBezTo>
                  <a:cubicBezTo>
                    <a:pt x="226" y="144"/>
                    <a:pt x="225" y="145"/>
                    <a:pt x="225" y="145"/>
                  </a:cubicBezTo>
                  <a:cubicBezTo>
                    <a:pt x="213" y="158"/>
                    <a:pt x="199" y="168"/>
                    <a:pt x="184" y="172"/>
                  </a:cubicBezTo>
                  <a:cubicBezTo>
                    <a:pt x="167" y="177"/>
                    <a:pt x="152" y="174"/>
                    <a:pt x="136" y="169"/>
                  </a:cubicBezTo>
                  <a:cubicBezTo>
                    <a:pt x="120" y="163"/>
                    <a:pt x="104" y="155"/>
                    <a:pt x="90" y="145"/>
                  </a:cubicBezTo>
                  <a:cubicBezTo>
                    <a:pt x="83" y="140"/>
                    <a:pt x="76" y="134"/>
                    <a:pt x="70" y="128"/>
                  </a:cubicBezTo>
                  <a:cubicBezTo>
                    <a:pt x="63" y="121"/>
                    <a:pt x="57" y="114"/>
                    <a:pt x="52" y="106"/>
                  </a:cubicBezTo>
                  <a:cubicBezTo>
                    <a:pt x="44" y="97"/>
                    <a:pt x="37" y="89"/>
                    <a:pt x="28" y="82"/>
                  </a:cubicBezTo>
                  <a:cubicBezTo>
                    <a:pt x="19" y="76"/>
                    <a:pt x="10" y="71"/>
                    <a:pt x="1" y="66"/>
                  </a:cubicBezTo>
                  <a:cubicBezTo>
                    <a:pt x="0" y="66"/>
                    <a:pt x="0" y="65"/>
                    <a:pt x="0" y="64"/>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31" name="Freeform 30">
              <a:extLst>
                <a:ext uri="{FF2B5EF4-FFF2-40B4-BE49-F238E27FC236}">
                  <a16:creationId xmlns:a16="http://schemas.microsoft.com/office/drawing/2014/main" id="{63BBD586-DDDC-495E-8FDE-BFAAB9E1E540}"/>
                </a:ext>
              </a:extLst>
            </p:cNvPr>
            <p:cNvSpPr>
              <a:spLocks/>
            </p:cNvSpPr>
            <p:nvPr/>
          </p:nvSpPr>
          <p:spPr bwMode="auto">
            <a:xfrm>
              <a:off x="10799763" y="696913"/>
              <a:ext cx="276225" cy="593725"/>
            </a:xfrm>
            <a:custGeom>
              <a:avLst/>
              <a:gdLst>
                <a:gd name="T0" fmla="*/ 20 w 116"/>
                <a:gd name="T1" fmla="*/ 0 h 250"/>
                <a:gd name="T2" fmla="*/ 21 w 116"/>
                <a:gd name="T3" fmla="*/ 0 h 250"/>
                <a:gd name="T4" fmla="*/ 67 w 116"/>
                <a:gd name="T5" fmla="*/ 39 h 250"/>
                <a:gd name="T6" fmla="*/ 101 w 116"/>
                <a:gd name="T7" fmla="*/ 80 h 250"/>
                <a:gd name="T8" fmla="*/ 115 w 116"/>
                <a:gd name="T9" fmla="*/ 136 h 250"/>
                <a:gd name="T10" fmla="*/ 106 w 116"/>
                <a:gd name="T11" fmla="*/ 183 h 250"/>
                <a:gd name="T12" fmla="*/ 70 w 116"/>
                <a:gd name="T13" fmla="*/ 214 h 250"/>
                <a:gd name="T14" fmla="*/ 61 w 116"/>
                <a:gd name="T15" fmla="*/ 249 h 250"/>
                <a:gd name="T16" fmla="*/ 60 w 116"/>
                <a:gd name="T17" fmla="*/ 249 h 250"/>
                <a:gd name="T18" fmla="*/ 51 w 116"/>
                <a:gd name="T19" fmla="*/ 244 h 250"/>
                <a:gd name="T20" fmla="*/ 50 w 116"/>
                <a:gd name="T21" fmla="*/ 242 h 250"/>
                <a:gd name="T22" fmla="*/ 64 w 116"/>
                <a:gd name="T23" fmla="*/ 107 h 250"/>
                <a:gd name="T24" fmla="*/ 62 w 116"/>
                <a:gd name="T25" fmla="*/ 99 h 250"/>
                <a:gd name="T26" fmla="*/ 60 w 116"/>
                <a:gd name="T27" fmla="*/ 181 h 250"/>
                <a:gd name="T28" fmla="*/ 51 w 116"/>
                <a:gd name="T29" fmla="*/ 212 h 250"/>
                <a:gd name="T30" fmla="*/ 50 w 116"/>
                <a:gd name="T31" fmla="*/ 213 h 250"/>
                <a:gd name="T32" fmla="*/ 49 w 116"/>
                <a:gd name="T33" fmla="*/ 213 h 250"/>
                <a:gd name="T34" fmla="*/ 18 w 116"/>
                <a:gd name="T35" fmla="*/ 188 h 250"/>
                <a:gd name="T36" fmla="*/ 3 w 116"/>
                <a:gd name="T37" fmla="*/ 148 h 250"/>
                <a:gd name="T38" fmla="*/ 2 w 116"/>
                <a:gd name="T39" fmla="*/ 102 h 250"/>
                <a:gd name="T40" fmla="*/ 5 w 116"/>
                <a:gd name="T41" fmla="*/ 79 h 250"/>
                <a:gd name="T42" fmla="*/ 12 w 116"/>
                <a:gd name="T43" fmla="*/ 57 h 250"/>
                <a:gd name="T44" fmla="*/ 18 w 116"/>
                <a:gd name="T45" fmla="*/ 29 h 250"/>
                <a:gd name="T46" fmla="*/ 18 w 116"/>
                <a:gd name="T47" fmla="*/ 1 h 250"/>
                <a:gd name="T48" fmla="*/ 20 w 116"/>
                <a:gd name="T49" fmla="*/ 0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16" h="250">
                  <a:moveTo>
                    <a:pt x="20" y="0"/>
                  </a:moveTo>
                  <a:cubicBezTo>
                    <a:pt x="20" y="0"/>
                    <a:pt x="20" y="0"/>
                    <a:pt x="21" y="0"/>
                  </a:cubicBezTo>
                  <a:cubicBezTo>
                    <a:pt x="37" y="12"/>
                    <a:pt x="52" y="25"/>
                    <a:pt x="67" y="39"/>
                  </a:cubicBezTo>
                  <a:cubicBezTo>
                    <a:pt x="79" y="51"/>
                    <a:pt x="92" y="64"/>
                    <a:pt x="101" y="80"/>
                  </a:cubicBezTo>
                  <a:cubicBezTo>
                    <a:pt x="110" y="97"/>
                    <a:pt x="113" y="116"/>
                    <a:pt x="115" y="136"/>
                  </a:cubicBezTo>
                  <a:cubicBezTo>
                    <a:pt x="116" y="153"/>
                    <a:pt x="114" y="169"/>
                    <a:pt x="106" y="183"/>
                  </a:cubicBezTo>
                  <a:cubicBezTo>
                    <a:pt x="98" y="198"/>
                    <a:pt x="85" y="210"/>
                    <a:pt x="70" y="214"/>
                  </a:cubicBezTo>
                  <a:cubicBezTo>
                    <a:pt x="68" y="226"/>
                    <a:pt x="66" y="238"/>
                    <a:pt x="61" y="249"/>
                  </a:cubicBezTo>
                  <a:cubicBezTo>
                    <a:pt x="61" y="249"/>
                    <a:pt x="60" y="250"/>
                    <a:pt x="60" y="249"/>
                  </a:cubicBezTo>
                  <a:cubicBezTo>
                    <a:pt x="56" y="248"/>
                    <a:pt x="53" y="246"/>
                    <a:pt x="51" y="244"/>
                  </a:cubicBezTo>
                  <a:cubicBezTo>
                    <a:pt x="50" y="243"/>
                    <a:pt x="50" y="242"/>
                    <a:pt x="50" y="242"/>
                  </a:cubicBezTo>
                  <a:cubicBezTo>
                    <a:pt x="68" y="200"/>
                    <a:pt x="73" y="152"/>
                    <a:pt x="64" y="107"/>
                  </a:cubicBezTo>
                  <a:cubicBezTo>
                    <a:pt x="64" y="104"/>
                    <a:pt x="63" y="102"/>
                    <a:pt x="62" y="99"/>
                  </a:cubicBezTo>
                  <a:cubicBezTo>
                    <a:pt x="66" y="126"/>
                    <a:pt x="66" y="154"/>
                    <a:pt x="60" y="181"/>
                  </a:cubicBezTo>
                  <a:cubicBezTo>
                    <a:pt x="57" y="192"/>
                    <a:pt x="54" y="202"/>
                    <a:pt x="51" y="212"/>
                  </a:cubicBezTo>
                  <a:cubicBezTo>
                    <a:pt x="51" y="212"/>
                    <a:pt x="50" y="213"/>
                    <a:pt x="50" y="213"/>
                  </a:cubicBezTo>
                  <a:cubicBezTo>
                    <a:pt x="50" y="213"/>
                    <a:pt x="49" y="213"/>
                    <a:pt x="49" y="213"/>
                  </a:cubicBezTo>
                  <a:cubicBezTo>
                    <a:pt x="37" y="208"/>
                    <a:pt x="26" y="200"/>
                    <a:pt x="18" y="188"/>
                  </a:cubicBezTo>
                  <a:cubicBezTo>
                    <a:pt x="9" y="177"/>
                    <a:pt x="5" y="163"/>
                    <a:pt x="3" y="148"/>
                  </a:cubicBezTo>
                  <a:cubicBezTo>
                    <a:pt x="1" y="133"/>
                    <a:pt x="0" y="117"/>
                    <a:pt x="2" y="102"/>
                  </a:cubicBezTo>
                  <a:cubicBezTo>
                    <a:pt x="2" y="94"/>
                    <a:pt x="3" y="87"/>
                    <a:pt x="5" y="79"/>
                  </a:cubicBezTo>
                  <a:cubicBezTo>
                    <a:pt x="7" y="72"/>
                    <a:pt x="9" y="64"/>
                    <a:pt x="12" y="57"/>
                  </a:cubicBezTo>
                  <a:cubicBezTo>
                    <a:pt x="15" y="48"/>
                    <a:pt x="17" y="39"/>
                    <a:pt x="18" y="29"/>
                  </a:cubicBezTo>
                  <a:cubicBezTo>
                    <a:pt x="19" y="20"/>
                    <a:pt x="19" y="10"/>
                    <a:pt x="18" y="1"/>
                  </a:cubicBezTo>
                  <a:cubicBezTo>
                    <a:pt x="18" y="0"/>
                    <a:pt x="19" y="0"/>
                    <a:pt x="20" y="0"/>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32" name="Freeform 31">
              <a:extLst>
                <a:ext uri="{FF2B5EF4-FFF2-40B4-BE49-F238E27FC236}">
                  <a16:creationId xmlns:a16="http://schemas.microsoft.com/office/drawing/2014/main" id="{3C9CF0F9-4383-40E6-A066-03B11B615ABF}"/>
                </a:ext>
              </a:extLst>
            </p:cNvPr>
            <p:cNvSpPr>
              <a:spLocks/>
            </p:cNvSpPr>
            <p:nvPr/>
          </p:nvSpPr>
          <p:spPr bwMode="auto">
            <a:xfrm>
              <a:off x="10275888" y="214313"/>
              <a:ext cx="285750" cy="550862"/>
            </a:xfrm>
            <a:custGeom>
              <a:avLst/>
              <a:gdLst>
                <a:gd name="T0" fmla="*/ 118 w 120"/>
                <a:gd name="T1" fmla="*/ 0 h 232"/>
                <a:gd name="T2" fmla="*/ 117 w 120"/>
                <a:gd name="T3" fmla="*/ 0 h 232"/>
                <a:gd name="T4" fmla="*/ 67 w 120"/>
                <a:gd name="T5" fmla="*/ 27 h 232"/>
                <a:gd name="T6" fmla="*/ 27 w 120"/>
                <a:gd name="T7" fmla="*/ 60 h 232"/>
                <a:gd name="T8" fmla="*/ 5 w 120"/>
                <a:gd name="T9" fmla="*/ 110 h 232"/>
                <a:gd name="T10" fmla="*/ 5 w 120"/>
                <a:gd name="T11" fmla="*/ 158 h 232"/>
                <a:gd name="T12" fmla="*/ 35 w 120"/>
                <a:gd name="T13" fmla="*/ 196 h 232"/>
                <a:gd name="T14" fmla="*/ 38 w 120"/>
                <a:gd name="T15" fmla="*/ 231 h 232"/>
                <a:gd name="T16" fmla="*/ 39 w 120"/>
                <a:gd name="T17" fmla="*/ 232 h 232"/>
                <a:gd name="T18" fmla="*/ 49 w 120"/>
                <a:gd name="T19" fmla="*/ 228 h 232"/>
                <a:gd name="T20" fmla="*/ 49 w 120"/>
                <a:gd name="T21" fmla="*/ 226 h 232"/>
                <a:gd name="T22" fmla="*/ 58 w 120"/>
                <a:gd name="T23" fmla="*/ 94 h 232"/>
                <a:gd name="T24" fmla="*/ 61 w 120"/>
                <a:gd name="T25" fmla="*/ 86 h 232"/>
                <a:gd name="T26" fmla="*/ 50 w 120"/>
                <a:gd name="T27" fmla="*/ 166 h 232"/>
                <a:gd name="T28" fmla="*/ 54 w 120"/>
                <a:gd name="T29" fmla="*/ 198 h 232"/>
                <a:gd name="T30" fmla="*/ 55 w 120"/>
                <a:gd name="T31" fmla="*/ 199 h 232"/>
                <a:gd name="T32" fmla="*/ 56 w 120"/>
                <a:gd name="T33" fmla="*/ 199 h 232"/>
                <a:gd name="T34" fmla="*/ 90 w 120"/>
                <a:gd name="T35" fmla="*/ 182 h 232"/>
                <a:gd name="T36" fmla="*/ 110 w 120"/>
                <a:gd name="T37" fmla="*/ 147 h 232"/>
                <a:gd name="T38" fmla="*/ 119 w 120"/>
                <a:gd name="T39" fmla="*/ 102 h 232"/>
                <a:gd name="T40" fmla="*/ 120 w 120"/>
                <a:gd name="T41" fmla="*/ 80 h 232"/>
                <a:gd name="T42" fmla="*/ 117 w 120"/>
                <a:gd name="T43" fmla="*/ 57 h 232"/>
                <a:gd name="T44" fmla="*/ 115 w 120"/>
                <a:gd name="T45" fmla="*/ 28 h 232"/>
                <a:gd name="T46" fmla="*/ 119 w 120"/>
                <a:gd name="T47" fmla="*/ 2 h 232"/>
                <a:gd name="T48" fmla="*/ 118 w 120"/>
                <a:gd name="T49"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0" h="232">
                  <a:moveTo>
                    <a:pt x="118" y="0"/>
                  </a:moveTo>
                  <a:cubicBezTo>
                    <a:pt x="118" y="0"/>
                    <a:pt x="118" y="0"/>
                    <a:pt x="117" y="0"/>
                  </a:cubicBezTo>
                  <a:cubicBezTo>
                    <a:pt x="100" y="8"/>
                    <a:pt x="83" y="17"/>
                    <a:pt x="67" y="27"/>
                  </a:cubicBezTo>
                  <a:cubicBezTo>
                    <a:pt x="53" y="36"/>
                    <a:pt x="38" y="46"/>
                    <a:pt x="27" y="60"/>
                  </a:cubicBezTo>
                  <a:cubicBezTo>
                    <a:pt x="16" y="74"/>
                    <a:pt x="9" y="92"/>
                    <a:pt x="5" y="110"/>
                  </a:cubicBezTo>
                  <a:cubicBezTo>
                    <a:pt x="0" y="126"/>
                    <a:pt x="0" y="142"/>
                    <a:pt x="5" y="158"/>
                  </a:cubicBezTo>
                  <a:cubicBezTo>
                    <a:pt x="11" y="174"/>
                    <a:pt x="21" y="188"/>
                    <a:pt x="35" y="196"/>
                  </a:cubicBezTo>
                  <a:cubicBezTo>
                    <a:pt x="35" y="208"/>
                    <a:pt x="35" y="219"/>
                    <a:pt x="38" y="231"/>
                  </a:cubicBezTo>
                  <a:cubicBezTo>
                    <a:pt x="38" y="231"/>
                    <a:pt x="39" y="232"/>
                    <a:pt x="39" y="232"/>
                  </a:cubicBezTo>
                  <a:cubicBezTo>
                    <a:pt x="43" y="231"/>
                    <a:pt x="46" y="230"/>
                    <a:pt x="49" y="228"/>
                  </a:cubicBezTo>
                  <a:cubicBezTo>
                    <a:pt x="49" y="228"/>
                    <a:pt x="50" y="227"/>
                    <a:pt x="49" y="226"/>
                  </a:cubicBezTo>
                  <a:cubicBezTo>
                    <a:pt x="39" y="183"/>
                    <a:pt x="42" y="135"/>
                    <a:pt x="58" y="94"/>
                  </a:cubicBezTo>
                  <a:cubicBezTo>
                    <a:pt x="59" y="91"/>
                    <a:pt x="60" y="89"/>
                    <a:pt x="61" y="86"/>
                  </a:cubicBezTo>
                  <a:cubicBezTo>
                    <a:pt x="53" y="112"/>
                    <a:pt x="49" y="139"/>
                    <a:pt x="50" y="166"/>
                  </a:cubicBezTo>
                  <a:cubicBezTo>
                    <a:pt x="51" y="177"/>
                    <a:pt x="52" y="187"/>
                    <a:pt x="54" y="198"/>
                  </a:cubicBezTo>
                  <a:cubicBezTo>
                    <a:pt x="54" y="198"/>
                    <a:pt x="54" y="198"/>
                    <a:pt x="55" y="199"/>
                  </a:cubicBezTo>
                  <a:cubicBezTo>
                    <a:pt x="55" y="199"/>
                    <a:pt x="55" y="199"/>
                    <a:pt x="56" y="199"/>
                  </a:cubicBezTo>
                  <a:cubicBezTo>
                    <a:pt x="68" y="196"/>
                    <a:pt x="80" y="191"/>
                    <a:pt x="90" y="182"/>
                  </a:cubicBezTo>
                  <a:cubicBezTo>
                    <a:pt x="100" y="173"/>
                    <a:pt x="106" y="160"/>
                    <a:pt x="110" y="147"/>
                  </a:cubicBezTo>
                  <a:cubicBezTo>
                    <a:pt x="114" y="132"/>
                    <a:pt x="118" y="117"/>
                    <a:pt x="119" y="102"/>
                  </a:cubicBezTo>
                  <a:cubicBezTo>
                    <a:pt x="120" y="95"/>
                    <a:pt x="120" y="87"/>
                    <a:pt x="120" y="80"/>
                  </a:cubicBezTo>
                  <a:cubicBezTo>
                    <a:pt x="119" y="72"/>
                    <a:pt x="118" y="64"/>
                    <a:pt x="117" y="57"/>
                  </a:cubicBezTo>
                  <a:cubicBezTo>
                    <a:pt x="115" y="47"/>
                    <a:pt x="114" y="38"/>
                    <a:pt x="115" y="28"/>
                  </a:cubicBezTo>
                  <a:cubicBezTo>
                    <a:pt x="116" y="19"/>
                    <a:pt x="118" y="11"/>
                    <a:pt x="119" y="2"/>
                  </a:cubicBezTo>
                  <a:cubicBezTo>
                    <a:pt x="120" y="1"/>
                    <a:pt x="119" y="0"/>
                    <a:pt x="118" y="0"/>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33" name="Freeform 32">
              <a:extLst>
                <a:ext uri="{FF2B5EF4-FFF2-40B4-BE49-F238E27FC236}">
                  <a16:creationId xmlns:a16="http://schemas.microsoft.com/office/drawing/2014/main" id="{6C58C117-4707-424D-BBBD-E5586E421BF1}"/>
                </a:ext>
              </a:extLst>
            </p:cNvPr>
            <p:cNvSpPr>
              <a:spLocks/>
            </p:cNvSpPr>
            <p:nvPr/>
          </p:nvSpPr>
          <p:spPr bwMode="auto">
            <a:xfrm>
              <a:off x="8764588" y="1289050"/>
              <a:ext cx="301625" cy="523875"/>
            </a:xfrm>
            <a:custGeom>
              <a:avLst/>
              <a:gdLst>
                <a:gd name="T0" fmla="*/ 22 w 127"/>
                <a:gd name="T1" fmla="*/ 1 h 221"/>
                <a:gd name="T2" fmla="*/ 21 w 127"/>
                <a:gd name="T3" fmla="*/ 1 h 221"/>
                <a:gd name="T4" fmla="*/ 6 w 127"/>
                <a:gd name="T5" fmla="*/ 64 h 221"/>
                <a:gd name="T6" fmla="*/ 2 w 127"/>
                <a:gd name="T7" fmla="*/ 119 h 221"/>
                <a:gd name="T8" fmla="*/ 20 w 127"/>
                <a:gd name="T9" fmla="*/ 172 h 221"/>
                <a:gd name="T10" fmla="*/ 53 w 127"/>
                <a:gd name="T11" fmla="*/ 202 h 221"/>
                <a:gd name="T12" fmla="*/ 96 w 127"/>
                <a:gd name="T13" fmla="*/ 201 h 221"/>
                <a:gd name="T14" fmla="*/ 122 w 127"/>
                <a:gd name="T15" fmla="*/ 221 h 221"/>
                <a:gd name="T16" fmla="*/ 123 w 127"/>
                <a:gd name="T17" fmla="*/ 220 h 221"/>
                <a:gd name="T18" fmla="*/ 127 w 127"/>
                <a:gd name="T19" fmla="*/ 210 h 221"/>
                <a:gd name="T20" fmla="*/ 126 w 127"/>
                <a:gd name="T21" fmla="*/ 208 h 221"/>
                <a:gd name="T22" fmla="*/ 44 w 127"/>
                <a:gd name="T23" fmla="*/ 114 h 221"/>
                <a:gd name="T24" fmla="*/ 41 w 127"/>
                <a:gd name="T25" fmla="*/ 107 h 221"/>
                <a:gd name="T26" fmla="*/ 87 w 127"/>
                <a:gd name="T27" fmla="*/ 168 h 221"/>
                <a:gd name="T28" fmla="*/ 110 w 127"/>
                <a:gd name="T29" fmla="*/ 185 h 221"/>
                <a:gd name="T30" fmla="*/ 111 w 127"/>
                <a:gd name="T31" fmla="*/ 185 h 221"/>
                <a:gd name="T32" fmla="*/ 112 w 127"/>
                <a:gd name="T33" fmla="*/ 185 h 221"/>
                <a:gd name="T34" fmla="*/ 123 w 127"/>
                <a:gd name="T35" fmla="*/ 144 h 221"/>
                <a:gd name="T36" fmla="*/ 113 w 127"/>
                <a:gd name="T37" fmla="*/ 103 h 221"/>
                <a:gd name="T38" fmla="*/ 89 w 127"/>
                <a:gd name="T39" fmla="*/ 66 h 221"/>
                <a:gd name="T40" fmla="*/ 75 w 127"/>
                <a:gd name="T41" fmla="*/ 51 h 221"/>
                <a:gd name="T42" fmla="*/ 58 w 127"/>
                <a:gd name="T43" fmla="*/ 39 h 221"/>
                <a:gd name="T44" fmla="*/ 38 w 127"/>
                <a:gd name="T45" fmla="*/ 22 h 221"/>
                <a:gd name="T46" fmla="*/ 23 w 127"/>
                <a:gd name="T47" fmla="*/ 1 h 221"/>
                <a:gd name="T48" fmla="*/ 22 w 127"/>
                <a:gd name="T49" fmla="*/ 1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7" h="221">
                  <a:moveTo>
                    <a:pt x="22" y="1"/>
                  </a:moveTo>
                  <a:cubicBezTo>
                    <a:pt x="21" y="1"/>
                    <a:pt x="21" y="1"/>
                    <a:pt x="21" y="1"/>
                  </a:cubicBezTo>
                  <a:cubicBezTo>
                    <a:pt x="15" y="22"/>
                    <a:pt x="10" y="43"/>
                    <a:pt x="6" y="64"/>
                  </a:cubicBezTo>
                  <a:cubicBezTo>
                    <a:pt x="3" y="82"/>
                    <a:pt x="0" y="101"/>
                    <a:pt x="2" y="119"/>
                  </a:cubicBezTo>
                  <a:cubicBezTo>
                    <a:pt x="4" y="139"/>
                    <a:pt x="12" y="156"/>
                    <a:pt x="20" y="172"/>
                  </a:cubicBezTo>
                  <a:cubicBezTo>
                    <a:pt x="28" y="186"/>
                    <a:pt x="39" y="197"/>
                    <a:pt x="53" y="202"/>
                  </a:cubicBezTo>
                  <a:cubicBezTo>
                    <a:pt x="67" y="208"/>
                    <a:pt x="83" y="208"/>
                    <a:pt x="96" y="201"/>
                  </a:cubicBezTo>
                  <a:cubicBezTo>
                    <a:pt x="104" y="209"/>
                    <a:pt x="112" y="216"/>
                    <a:pt x="122" y="221"/>
                  </a:cubicBezTo>
                  <a:cubicBezTo>
                    <a:pt x="122" y="221"/>
                    <a:pt x="123" y="221"/>
                    <a:pt x="123" y="220"/>
                  </a:cubicBezTo>
                  <a:cubicBezTo>
                    <a:pt x="125" y="217"/>
                    <a:pt x="126" y="213"/>
                    <a:pt x="127" y="210"/>
                  </a:cubicBezTo>
                  <a:cubicBezTo>
                    <a:pt x="127" y="209"/>
                    <a:pt x="127" y="208"/>
                    <a:pt x="126" y="208"/>
                  </a:cubicBezTo>
                  <a:cubicBezTo>
                    <a:pt x="91" y="189"/>
                    <a:pt x="61" y="155"/>
                    <a:pt x="44" y="114"/>
                  </a:cubicBezTo>
                  <a:cubicBezTo>
                    <a:pt x="43" y="112"/>
                    <a:pt x="42" y="109"/>
                    <a:pt x="41" y="107"/>
                  </a:cubicBezTo>
                  <a:cubicBezTo>
                    <a:pt x="53" y="131"/>
                    <a:pt x="68" y="151"/>
                    <a:pt x="87" y="168"/>
                  </a:cubicBezTo>
                  <a:cubicBezTo>
                    <a:pt x="94" y="174"/>
                    <a:pt x="102" y="180"/>
                    <a:pt x="110" y="185"/>
                  </a:cubicBezTo>
                  <a:cubicBezTo>
                    <a:pt x="110" y="185"/>
                    <a:pt x="111" y="185"/>
                    <a:pt x="111" y="185"/>
                  </a:cubicBezTo>
                  <a:cubicBezTo>
                    <a:pt x="112" y="185"/>
                    <a:pt x="112" y="185"/>
                    <a:pt x="112" y="185"/>
                  </a:cubicBezTo>
                  <a:cubicBezTo>
                    <a:pt x="118" y="172"/>
                    <a:pt x="123" y="158"/>
                    <a:pt x="123" y="144"/>
                  </a:cubicBezTo>
                  <a:cubicBezTo>
                    <a:pt x="123" y="129"/>
                    <a:pt x="119" y="116"/>
                    <a:pt x="113" y="103"/>
                  </a:cubicBezTo>
                  <a:cubicBezTo>
                    <a:pt x="106" y="90"/>
                    <a:pt x="99" y="77"/>
                    <a:pt x="89" y="66"/>
                  </a:cubicBezTo>
                  <a:cubicBezTo>
                    <a:pt x="85" y="61"/>
                    <a:pt x="80" y="56"/>
                    <a:pt x="75" y="51"/>
                  </a:cubicBezTo>
                  <a:cubicBezTo>
                    <a:pt x="70" y="46"/>
                    <a:pt x="64" y="43"/>
                    <a:pt x="58" y="39"/>
                  </a:cubicBezTo>
                  <a:cubicBezTo>
                    <a:pt x="51" y="34"/>
                    <a:pt x="44" y="29"/>
                    <a:pt x="38" y="22"/>
                  </a:cubicBezTo>
                  <a:cubicBezTo>
                    <a:pt x="33" y="16"/>
                    <a:pt x="28" y="8"/>
                    <a:pt x="23" y="1"/>
                  </a:cubicBezTo>
                  <a:cubicBezTo>
                    <a:pt x="23" y="0"/>
                    <a:pt x="22" y="0"/>
                    <a:pt x="22" y="1"/>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34" name="Freeform 33">
              <a:extLst>
                <a:ext uri="{FF2B5EF4-FFF2-40B4-BE49-F238E27FC236}">
                  <a16:creationId xmlns:a16="http://schemas.microsoft.com/office/drawing/2014/main" id="{41157C9C-82EC-4117-B1BA-265EDF1B2B0B}"/>
                </a:ext>
              </a:extLst>
            </p:cNvPr>
            <p:cNvSpPr>
              <a:spLocks/>
            </p:cNvSpPr>
            <p:nvPr/>
          </p:nvSpPr>
          <p:spPr bwMode="auto">
            <a:xfrm>
              <a:off x="9226550" y="490538"/>
              <a:ext cx="330200" cy="503237"/>
            </a:xfrm>
            <a:custGeom>
              <a:avLst/>
              <a:gdLst>
                <a:gd name="T0" fmla="*/ 138 w 139"/>
                <a:gd name="T1" fmla="*/ 0 h 212"/>
                <a:gd name="T2" fmla="*/ 137 w 139"/>
                <a:gd name="T3" fmla="*/ 0 h 212"/>
                <a:gd name="T4" fmla="*/ 83 w 139"/>
                <a:gd name="T5" fmla="*/ 16 h 212"/>
                <a:gd name="T6" fmla="*/ 39 w 139"/>
                <a:gd name="T7" fmla="*/ 40 h 212"/>
                <a:gd name="T8" fmla="*/ 9 w 139"/>
                <a:gd name="T9" fmla="*/ 85 h 212"/>
                <a:gd name="T10" fmla="*/ 2 w 139"/>
                <a:gd name="T11" fmla="*/ 132 h 212"/>
                <a:gd name="T12" fmla="*/ 25 w 139"/>
                <a:gd name="T13" fmla="*/ 175 h 212"/>
                <a:gd name="T14" fmla="*/ 23 w 139"/>
                <a:gd name="T15" fmla="*/ 210 h 212"/>
                <a:gd name="T16" fmla="*/ 24 w 139"/>
                <a:gd name="T17" fmla="*/ 212 h 212"/>
                <a:gd name="T18" fmla="*/ 34 w 139"/>
                <a:gd name="T19" fmla="*/ 210 h 212"/>
                <a:gd name="T20" fmla="*/ 35 w 139"/>
                <a:gd name="T21" fmla="*/ 208 h 212"/>
                <a:gd name="T22" fmla="*/ 64 w 139"/>
                <a:gd name="T23" fmla="*/ 80 h 212"/>
                <a:gd name="T24" fmla="*/ 68 w 139"/>
                <a:gd name="T25" fmla="*/ 73 h 212"/>
                <a:gd name="T26" fmla="*/ 45 w 139"/>
                <a:gd name="T27" fmla="*/ 149 h 212"/>
                <a:gd name="T28" fmla="*/ 44 w 139"/>
                <a:gd name="T29" fmla="*/ 181 h 212"/>
                <a:gd name="T30" fmla="*/ 45 w 139"/>
                <a:gd name="T31" fmla="*/ 182 h 212"/>
                <a:gd name="T32" fmla="*/ 46 w 139"/>
                <a:gd name="T33" fmla="*/ 183 h 212"/>
                <a:gd name="T34" fmla="*/ 81 w 139"/>
                <a:gd name="T35" fmla="*/ 173 h 212"/>
                <a:gd name="T36" fmla="*/ 107 w 139"/>
                <a:gd name="T37" fmla="*/ 142 h 212"/>
                <a:gd name="T38" fmla="*/ 123 w 139"/>
                <a:gd name="T39" fmla="*/ 101 h 212"/>
                <a:gd name="T40" fmla="*/ 127 w 139"/>
                <a:gd name="T41" fmla="*/ 79 h 212"/>
                <a:gd name="T42" fmla="*/ 128 w 139"/>
                <a:gd name="T43" fmla="*/ 56 h 212"/>
                <a:gd name="T44" fmla="*/ 130 w 139"/>
                <a:gd name="T45" fmla="*/ 27 h 212"/>
                <a:gd name="T46" fmla="*/ 139 w 139"/>
                <a:gd name="T47" fmla="*/ 2 h 212"/>
                <a:gd name="T48" fmla="*/ 138 w 139"/>
                <a:gd name="T49" fmla="*/ 0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39" h="212">
                  <a:moveTo>
                    <a:pt x="138" y="0"/>
                  </a:moveTo>
                  <a:cubicBezTo>
                    <a:pt x="138" y="0"/>
                    <a:pt x="138" y="0"/>
                    <a:pt x="137" y="0"/>
                  </a:cubicBezTo>
                  <a:cubicBezTo>
                    <a:pt x="119" y="4"/>
                    <a:pt x="101" y="9"/>
                    <a:pt x="83" y="16"/>
                  </a:cubicBezTo>
                  <a:cubicBezTo>
                    <a:pt x="68" y="22"/>
                    <a:pt x="52" y="29"/>
                    <a:pt x="39" y="40"/>
                  </a:cubicBezTo>
                  <a:cubicBezTo>
                    <a:pt x="26" y="51"/>
                    <a:pt x="17" y="68"/>
                    <a:pt x="9" y="85"/>
                  </a:cubicBezTo>
                  <a:cubicBezTo>
                    <a:pt x="2" y="100"/>
                    <a:pt x="0" y="116"/>
                    <a:pt x="2" y="132"/>
                  </a:cubicBezTo>
                  <a:cubicBezTo>
                    <a:pt x="5" y="149"/>
                    <a:pt x="13" y="165"/>
                    <a:pt x="25" y="175"/>
                  </a:cubicBezTo>
                  <a:cubicBezTo>
                    <a:pt x="23" y="187"/>
                    <a:pt x="22" y="198"/>
                    <a:pt x="23" y="210"/>
                  </a:cubicBezTo>
                  <a:cubicBezTo>
                    <a:pt x="23" y="211"/>
                    <a:pt x="24" y="212"/>
                    <a:pt x="24" y="212"/>
                  </a:cubicBezTo>
                  <a:cubicBezTo>
                    <a:pt x="28" y="212"/>
                    <a:pt x="31" y="211"/>
                    <a:pt x="34" y="210"/>
                  </a:cubicBezTo>
                  <a:cubicBezTo>
                    <a:pt x="35" y="210"/>
                    <a:pt x="35" y="209"/>
                    <a:pt x="35" y="208"/>
                  </a:cubicBezTo>
                  <a:cubicBezTo>
                    <a:pt x="32" y="163"/>
                    <a:pt x="42" y="117"/>
                    <a:pt x="64" y="80"/>
                  </a:cubicBezTo>
                  <a:cubicBezTo>
                    <a:pt x="66" y="77"/>
                    <a:pt x="67" y="75"/>
                    <a:pt x="68" y="73"/>
                  </a:cubicBezTo>
                  <a:cubicBezTo>
                    <a:pt x="56" y="96"/>
                    <a:pt x="48" y="122"/>
                    <a:pt x="45" y="149"/>
                  </a:cubicBezTo>
                  <a:cubicBezTo>
                    <a:pt x="44" y="160"/>
                    <a:pt x="44" y="170"/>
                    <a:pt x="44" y="181"/>
                  </a:cubicBezTo>
                  <a:cubicBezTo>
                    <a:pt x="44" y="181"/>
                    <a:pt x="44" y="182"/>
                    <a:pt x="45" y="182"/>
                  </a:cubicBezTo>
                  <a:cubicBezTo>
                    <a:pt x="45" y="182"/>
                    <a:pt x="45" y="183"/>
                    <a:pt x="46" y="183"/>
                  </a:cubicBezTo>
                  <a:cubicBezTo>
                    <a:pt x="58" y="183"/>
                    <a:pt x="70" y="180"/>
                    <a:pt x="81" y="173"/>
                  </a:cubicBezTo>
                  <a:cubicBezTo>
                    <a:pt x="93" y="166"/>
                    <a:pt x="101" y="155"/>
                    <a:pt x="107" y="142"/>
                  </a:cubicBezTo>
                  <a:cubicBezTo>
                    <a:pt x="114" y="129"/>
                    <a:pt x="119" y="115"/>
                    <a:pt x="123" y="101"/>
                  </a:cubicBezTo>
                  <a:cubicBezTo>
                    <a:pt x="125" y="94"/>
                    <a:pt x="126" y="86"/>
                    <a:pt x="127" y="79"/>
                  </a:cubicBezTo>
                  <a:cubicBezTo>
                    <a:pt x="128" y="71"/>
                    <a:pt x="128" y="63"/>
                    <a:pt x="128" y="56"/>
                  </a:cubicBezTo>
                  <a:cubicBezTo>
                    <a:pt x="128" y="46"/>
                    <a:pt x="128" y="37"/>
                    <a:pt x="130" y="27"/>
                  </a:cubicBezTo>
                  <a:cubicBezTo>
                    <a:pt x="132" y="19"/>
                    <a:pt x="136" y="10"/>
                    <a:pt x="139" y="2"/>
                  </a:cubicBezTo>
                  <a:cubicBezTo>
                    <a:pt x="139" y="1"/>
                    <a:pt x="139" y="0"/>
                    <a:pt x="138" y="0"/>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35" name="Freeform 34">
              <a:extLst>
                <a:ext uri="{FF2B5EF4-FFF2-40B4-BE49-F238E27FC236}">
                  <a16:creationId xmlns:a16="http://schemas.microsoft.com/office/drawing/2014/main" id="{08884887-AA18-4BD6-9C48-19584F238898}"/>
                </a:ext>
              </a:extLst>
            </p:cNvPr>
            <p:cNvSpPr>
              <a:spLocks/>
            </p:cNvSpPr>
            <p:nvPr/>
          </p:nvSpPr>
          <p:spPr bwMode="auto">
            <a:xfrm>
              <a:off x="11295063" y="2403475"/>
              <a:ext cx="796925" cy="503237"/>
            </a:xfrm>
            <a:custGeom>
              <a:avLst/>
              <a:gdLst>
                <a:gd name="T0" fmla="*/ 335 w 335"/>
                <a:gd name="T1" fmla="*/ 185 h 212"/>
                <a:gd name="T2" fmla="*/ 335 w 335"/>
                <a:gd name="T3" fmla="*/ 183 h 212"/>
                <a:gd name="T4" fmla="*/ 285 w 335"/>
                <a:gd name="T5" fmla="*/ 97 h 212"/>
                <a:gd name="T6" fmla="*/ 232 w 335"/>
                <a:gd name="T7" fmla="*/ 33 h 212"/>
                <a:gd name="T8" fmla="*/ 158 w 335"/>
                <a:gd name="T9" fmla="*/ 4 h 212"/>
                <a:gd name="T10" fmla="*/ 93 w 335"/>
                <a:gd name="T11" fmla="*/ 17 h 212"/>
                <a:gd name="T12" fmla="*/ 49 w 335"/>
                <a:gd name="T13" fmla="*/ 79 h 212"/>
                <a:gd name="T14" fmla="*/ 1 w 335"/>
                <a:gd name="T15" fmla="*/ 94 h 212"/>
                <a:gd name="T16" fmla="*/ 1 w 335"/>
                <a:gd name="T17" fmla="*/ 96 h 212"/>
                <a:gd name="T18" fmla="*/ 8 w 335"/>
                <a:gd name="T19" fmla="*/ 113 h 212"/>
                <a:gd name="T20" fmla="*/ 10 w 335"/>
                <a:gd name="T21" fmla="*/ 114 h 212"/>
                <a:gd name="T22" fmla="*/ 193 w 335"/>
                <a:gd name="T23" fmla="*/ 97 h 212"/>
                <a:gd name="T24" fmla="*/ 204 w 335"/>
                <a:gd name="T25" fmla="*/ 101 h 212"/>
                <a:gd name="T26" fmla="*/ 93 w 335"/>
                <a:gd name="T27" fmla="*/ 101 h 212"/>
                <a:gd name="T28" fmla="*/ 51 w 335"/>
                <a:gd name="T29" fmla="*/ 115 h 212"/>
                <a:gd name="T30" fmla="*/ 49 w 335"/>
                <a:gd name="T31" fmla="*/ 116 h 212"/>
                <a:gd name="T32" fmla="*/ 49 w 335"/>
                <a:gd name="T33" fmla="*/ 118 h 212"/>
                <a:gd name="T34" fmla="*/ 80 w 335"/>
                <a:gd name="T35" fmla="*/ 176 h 212"/>
                <a:gd name="T36" fmla="*/ 133 w 335"/>
                <a:gd name="T37" fmla="*/ 205 h 212"/>
                <a:gd name="T38" fmla="*/ 196 w 335"/>
                <a:gd name="T39" fmla="*/ 211 h 212"/>
                <a:gd name="T40" fmla="*/ 227 w 335"/>
                <a:gd name="T41" fmla="*/ 206 h 212"/>
                <a:gd name="T42" fmla="*/ 257 w 335"/>
                <a:gd name="T43" fmla="*/ 195 h 212"/>
                <a:gd name="T44" fmla="*/ 295 w 335"/>
                <a:gd name="T45" fmla="*/ 185 h 212"/>
                <a:gd name="T46" fmla="*/ 333 w 335"/>
                <a:gd name="T47" fmla="*/ 187 h 212"/>
                <a:gd name="T48" fmla="*/ 335 w 335"/>
                <a:gd name="T49" fmla="*/ 185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35" h="212">
                  <a:moveTo>
                    <a:pt x="335" y="185"/>
                  </a:moveTo>
                  <a:cubicBezTo>
                    <a:pt x="335" y="184"/>
                    <a:pt x="335" y="184"/>
                    <a:pt x="335" y="183"/>
                  </a:cubicBezTo>
                  <a:cubicBezTo>
                    <a:pt x="320" y="153"/>
                    <a:pt x="303" y="125"/>
                    <a:pt x="285" y="97"/>
                  </a:cubicBezTo>
                  <a:cubicBezTo>
                    <a:pt x="270" y="74"/>
                    <a:pt x="253" y="51"/>
                    <a:pt x="232" y="33"/>
                  </a:cubicBezTo>
                  <a:cubicBezTo>
                    <a:pt x="210" y="16"/>
                    <a:pt x="184" y="9"/>
                    <a:pt x="158" y="4"/>
                  </a:cubicBezTo>
                  <a:cubicBezTo>
                    <a:pt x="135" y="0"/>
                    <a:pt x="113" y="4"/>
                    <a:pt x="93" y="17"/>
                  </a:cubicBezTo>
                  <a:cubicBezTo>
                    <a:pt x="72" y="31"/>
                    <a:pt x="56" y="53"/>
                    <a:pt x="49" y="79"/>
                  </a:cubicBezTo>
                  <a:cubicBezTo>
                    <a:pt x="32" y="82"/>
                    <a:pt x="17" y="86"/>
                    <a:pt x="1" y="94"/>
                  </a:cubicBezTo>
                  <a:cubicBezTo>
                    <a:pt x="1" y="94"/>
                    <a:pt x="0" y="96"/>
                    <a:pt x="1" y="96"/>
                  </a:cubicBezTo>
                  <a:cubicBezTo>
                    <a:pt x="2" y="102"/>
                    <a:pt x="5" y="108"/>
                    <a:pt x="8" y="113"/>
                  </a:cubicBezTo>
                  <a:cubicBezTo>
                    <a:pt x="8" y="114"/>
                    <a:pt x="9" y="114"/>
                    <a:pt x="10" y="114"/>
                  </a:cubicBezTo>
                  <a:cubicBezTo>
                    <a:pt x="67" y="84"/>
                    <a:pt x="133" y="79"/>
                    <a:pt x="193" y="97"/>
                  </a:cubicBezTo>
                  <a:cubicBezTo>
                    <a:pt x="197" y="99"/>
                    <a:pt x="200" y="100"/>
                    <a:pt x="204" y="101"/>
                  </a:cubicBezTo>
                  <a:cubicBezTo>
                    <a:pt x="167" y="92"/>
                    <a:pt x="129" y="92"/>
                    <a:pt x="93" y="101"/>
                  </a:cubicBezTo>
                  <a:cubicBezTo>
                    <a:pt x="78" y="104"/>
                    <a:pt x="64" y="109"/>
                    <a:pt x="51" y="115"/>
                  </a:cubicBezTo>
                  <a:cubicBezTo>
                    <a:pt x="50" y="115"/>
                    <a:pt x="50" y="116"/>
                    <a:pt x="49" y="116"/>
                  </a:cubicBezTo>
                  <a:cubicBezTo>
                    <a:pt x="49" y="117"/>
                    <a:pt x="49" y="117"/>
                    <a:pt x="49" y="118"/>
                  </a:cubicBezTo>
                  <a:cubicBezTo>
                    <a:pt x="55" y="140"/>
                    <a:pt x="66" y="160"/>
                    <a:pt x="80" y="176"/>
                  </a:cubicBezTo>
                  <a:cubicBezTo>
                    <a:pt x="95" y="192"/>
                    <a:pt x="114" y="200"/>
                    <a:pt x="133" y="205"/>
                  </a:cubicBezTo>
                  <a:cubicBezTo>
                    <a:pt x="154" y="209"/>
                    <a:pt x="175" y="212"/>
                    <a:pt x="196" y="211"/>
                  </a:cubicBezTo>
                  <a:cubicBezTo>
                    <a:pt x="206" y="210"/>
                    <a:pt x="217" y="209"/>
                    <a:pt x="227" y="206"/>
                  </a:cubicBezTo>
                  <a:cubicBezTo>
                    <a:pt x="237" y="203"/>
                    <a:pt x="247" y="199"/>
                    <a:pt x="257" y="195"/>
                  </a:cubicBezTo>
                  <a:cubicBezTo>
                    <a:pt x="270" y="190"/>
                    <a:pt x="282" y="186"/>
                    <a:pt x="295" y="185"/>
                  </a:cubicBezTo>
                  <a:cubicBezTo>
                    <a:pt x="308" y="184"/>
                    <a:pt x="320" y="186"/>
                    <a:pt x="333" y="187"/>
                  </a:cubicBezTo>
                  <a:cubicBezTo>
                    <a:pt x="334" y="187"/>
                    <a:pt x="335" y="186"/>
                    <a:pt x="335" y="185"/>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36" name="Freeform 35">
              <a:extLst>
                <a:ext uri="{FF2B5EF4-FFF2-40B4-BE49-F238E27FC236}">
                  <a16:creationId xmlns:a16="http://schemas.microsoft.com/office/drawing/2014/main" id="{DF3BD32A-E320-4E2D-8F12-0C3EB7745CAE}"/>
                </a:ext>
              </a:extLst>
            </p:cNvPr>
            <p:cNvSpPr>
              <a:spLocks/>
            </p:cNvSpPr>
            <p:nvPr/>
          </p:nvSpPr>
          <p:spPr bwMode="auto">
            <a:xfrm>
              <a:off x="11361738" y="1765300"/>
              <a:ext cx="520700" cy="328612"/>
            </a:xfrm>
            <a:custGeom>
              <a:avLst/>
              <a:gdLst>
                <a:gd name="T0" fmla="*/ 219 w 219"/>
                <a:gd name="T1" fmla="*/ 120 h 138"/>
                <a:gd name="T2" fmla="*/ 219 w 219"/>
                <a:gd name="T3" fmla="*/ 119 h 138"/>
                <a:gd name="T4" fmla="*/ 186 w 219"/>
                <a:gd name="T5" fmla="*/ 63 h 138"/>
                <a:gd name="T6" fmla="*/ 151 w 219"/>
                <a:gd name="T7" fmla="*/ 21 h 138"/>
                <a:gd name="T8" fmla="*/ 103 w 219"/>
                <a:gd name="T9" fmla="*/ 2 h 138"/>
                <a:gd name="T10" fmla="*/ 60 w 219"/>
                <a:gd name="T11" fmla="*/ 11 h 138"/>
                <a:gd name="T12" fmla="*/ 31 w 219"/>
                <a:gd name="T13" fmla="*/ 51 h 138"/>
                <a:gd name="T14" fmla="*/ 0 w 219"/>
                <a:gd name="T15" fmla="*/ 61 h 138"/>
                <a:gd name="T16" fmla="*/ 0 w 219"/>
                <a:gd name="T17" fmla="*/ 63 h 138"/>
                <a:gd name="T18" fmla="*/ 5 w 219"/>
                <a:gd name="T19" fmla="*/ 73 h 138"/>
                <a:gd name="T20" fmla="*/ 6 w 219"/>
                <a:gd name="T21" fmla="*/ 74 h 138"/>
                <a:gd name="T22" fmla="*/ 126 w 219"/>
                <a:gd name="T23" fmla="*/ 63 h 138"/>
                <a:gd name="T24" fmla="*/ 133 w 219"/>
                <a:gd name="T25" fmla="*/ 66 h 138"/>
                <a:gd name="T26" fmla="*/ 60 w 219"/>
                <a:gd name="T27" fmla="*/ 65 h 138"/>
                <a:gd name="T28" fmla="*/ 33 w 219"/>
                <a:gd name="T29" fmla="*/ 75 h 138"/>
                <a:gd name="T30" fmla="*/ 32 w 219"/>
                <a:gd name="T31" fmla="*/ 76 h 138"/>
                <a:gd name="T32" fmla="*/ 32 w 219"/>
                <a:gd name="T33" fmla="*/ 77 h 138"/>
                <a:gd name="T34" fmla="*/ 52 w 219"/>
                <a:gd name="T35" fmla="*/ 115 h 138"/>
                <a:gd name="T36" fmla="*/ 87 w 219"/>
                <a:gd name="T37" fmla="*/ 133 h 138"/>
                <a:gd name="T38" fmla="*/ 128 w 219"/>
                <a:gd name="T39" fmla="*/ 137 h 138"/>
                <a:gd name="T40" fmla="*/ 148 w 219"/>
                <a:gd name="T41" fmla="*/ 134 h 138"/>
                <a:gd name="T42" fmla="*/ 168 w 219"/>
                <a:gd name="T43" fmla="*/ 127 h 138"/>
                <a:gd name="T44" fmla="*/ 193 w 219"/>
                <a:gd name="T45" fmla="*/ 121 h 138"/>
                <a:gd name="T46" fmla="*/ 217 w 219"/>
                <a:gd name="T47" fmla="*/ 122 h 138"/>
                <a:gd name="T48" fmla="*/ 219 w 219"/>
                <a:gd name="T49" fmla="*/ 120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19" h="138">
                  <a:moveTo>
                    <a:pt x="219" y="120"/>
                  </a:moveTo>
                  <a:cubicBezTo>
                    <a:pt x="219" y="120"/>
                    <a:pt x="219" y="120"/>
                    <a:pt x="219" y="119"/>
                  </a:cubicBezTo>
                  <a:cubicBezTo>
                    <a:pt x="209" y="100"/>
                    <a:pt x="198" y="81"/>
                    <a:pt x="186" y="63"/>
                  </a:cubicBezTo>
                  <a:cubicBezTo>
                    <a:pt x="176" y="48"/>
                    <a:pt x="165" y="33"/>
                    <a:pt x="151" y="21"/>
                  </a:cubicBezTo>
                  <a:cubicBezTo>
                    <a:pt x="137" y="10"/>
                    <a:pt x="120" y="5"/>
                    <a:pt x="103" y="2"/>
                  </a:cubicBezTo>
                  <a:cubicBezTo>
                    <a:pt x="88" y="0"/>
                    <a:pt x="73" y="2"/>
                    <a:pt x="60" y="11"/>
                  </a:cubicBezTo>
                  <a:cubicBezTo>
                    <a:pt x="47" y="20"/>
                    <a:pt x="36" y="34"/>
                    <a:pt x="31" y="51"/>
                  </a:cubicBezTo>
                  <a:cubicBezTo>
                    <a:pt x="21" y="53"/>
                    <a:pt x="10" y="56"/>
                    <a:pt x="0" y="61"/>
                  </a:cubicBezTo>
                  <a:cubicBezTo>
                    <a:pt x="0" y="61"/>
                    <a:pt x="0" y="62"/>
                    <a:pt x="0" y="63"/>
                  </a:cubicBezTo>
                  <a:cubicBezTo>
                    <a:pt x="1" y="66"/>
                    <a:pt x="3" y="70"/>
                    <a:pt x="5" y="73"/>
                  </a:cubicBezTo>
                  <a:cubicBezTo>
                    <a:pt x="5" y="74"/>
                    <a:pt x="6" y="74"/>
                    <a:pt x="6" y="74"/>
                  </a:cubicBezTo>
                  <a:cubicBezTo>
                    <a:pt x="44" y="55"/>
                    <a:pt x="86" y="51"/>
                    <a:pt x="126" y="63"/>
                  </a:cubicBezTo>
                  <a:cubicBezTo>
                    <a:pt x="128" y="64"/>
                    <a:pt x="131" y="65"/>
                    <a:pt x="133" y="66"/>
                  </a:cubicBezTo>
                  <a:cubicBezTo>
                    <a:pt x="109" y="60"/>
                    <a:pt x="84" y="60"/>
                    <a:pt x="60" y="65"/>
                  </a:cubicBezTo>
                  <a:cubicBezTo>
                    <a:pt x="51" y="68"/>
                    <a:pt x="42" y="71"/>
                    <a:pt x="33" y="75"/>
                  </a:cubicBezTo>
                  <a:cubicBezTo>
                    <a:pt x="32" y="75"/>
                    <a:pt x="32" y="75"/>
                    <a:pt x="32" y="76"/>
                  </a:cubicBezTo>
                  <a:cubicBezTo>
                    <a:pt x="32" y="76"/>
                    <a:pt x="31" y="76"/>
                    <a:pt x="32" y="77"/>
                  </a:cubicBezTo>
                  <a:cubicBezTo>
                    <a:pt x="36" y="91"/>
                    <a:pt x="42" y="104"/>
                    <a:pt x="52" y="115"/>
                  </a:cubicBezTo>
                  <a:cubicBezTo>
                    <a:pt x="62" y="125"/>
                    <a:pt x="74" y="130"/>
                    <a:pt x="87" y="133"/>
                  </a:cubicBezTo>
                  <a:cubicBezTo>
                    <a:pt x="100" y="136"/>
                    <a:pt x="114" y="138"/>
                    <a:pt x="128" y="137"/>
                  </a:cubicBezTo>
                  <a:cubicBezTo>
                    <a:pt x="135" y="137"/>
                    <a:pt x="141" y="136"/>
                    <a:pt x="148" y="134"/>
                  </a:cubicBezTo>
                  <a:cubicBezTo>
                    <a:pt x="155" y="133"/>
                    <a:pt x="161" y="130"/>
                    <a:pt x="168" y="127"/>
                  </a:cubicBezTo>
                  <a:cubicBezTo>
                    <a:pt x="176" y="124"/>
                    <a:pt x="184" y="121"/>
                    <a:pt x="193" y="121"/>
                  </a:cubicBezTo>
                  <a:cubicBezTo>
                    <a:pt x="201" y="120"/>
                    <a:pt x="209" y="121"/>
                    <a:pt x="217" y="122"/>
                  </a:cubicBezTo>
                  <a:cubicBezTo>
                    <a:pt x="218" y="122"/>
                    <a:pt x="219" y="121"/>
                    <a:pt x="219" y="120"/>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37" name="Freeform 36">
              <a:extLst>
                <a:ext uri="{FF2B5EF4-FFF2-40B4-BE49-F238E27FC236}">
                  <a16:creationId xmlns:a16="http://schemas.microsoft.com/office/drawing/2014/main" id="{D181B1A1-7242-4436-B81F-CBD71866D727}"/>
                </a:ext>
              </a:extLst>
            </p:cNvPr>
            <p:cNvSpPr>
              <a:spLocks/>
            </p:cNvSpPr>
            <p:nvPr/>
          </p:nvSpPr>
          <p:spPr bwMode="auto">
            <a:xfrm>
              <a:off x="10895013" y="1190625"/>
              <a:ext cx="668338" cy="396875"/>
            </a:xfrm>
            <a:custGeom>
              <a:avLst/>
              <a:gdLst>
                <a:gd name="T0" fmla="*/ 281 w 281"/>
                <a:gd name="T1" fmla="*/ 111 h 167"/>
                <a:gd name="T2" fmla="*/ 281 w 281"/>
                <a:gd name="T3" fmla="*/ 110 h 167"/>
                <a:gd name="T4" fmla="*/ 228 w 281"/>
                <a:gd name="T5" fmla="*/ 51 h 167"/>
                <a:gd name="T6" fmla="*/ 176 w 281"/>
                <a:gd name="T7" fmla="*/ 10 h 167"/>
                <a:gd name="T8" fmla="*/ 112 w 281"/>
                <a:gd name="T9" fmla="*/ 2 h 167"/>
                <a:gd name="T10" fmla="*/ 62 w 281"/>
                <a:gd name="T11" fmla="*/ 25 h 167"/>
                <a:gd name="T12" fmla="*/ 36 w 281"/>
                <a:gd name="T13" fmla="*/ 84 h 167"/>
                <a:gd name="T14" fmla="*/ 0 w 281"/>
                <a:gd name="T15" fmla="*/ 105 h 167"/>
                <a:gd name="T16" fmla="*/ 0 w 281"/>
                <a:gd name="T17" fmla="*/ 107 h 167"/>
                <a:gd name="T18" fmla="*/ 8 w 281"/>
                <a:gd name="T19" fmla="*/ 118 h 167"/>
                <a:gd name="T20" fmla="*/ 10 w 281"/>
                <a:gd name="T21" fmla="*/ 119 h 167"/>
                <a:gd name="T22" fmla="*/ 154 w 281"/>
                <a:gd name="T23" fmla="*/ 70 h 167"/>
                <a:gd name="T24" fmla="*/ 164 w 281"/>
                <a:gd name="T25" fmla="*/ 70 h 167"/>
                <a:gd name="T26" fmla="*/ 74 w 281"/>
                <a:gd name="T27" fmla="*/ 92 h 167"/>
                <a:gd name="T28" fmla="*/ 43 w 281"/>
                <a:gd name="T29" fmla="*/ 112 h 167"/>
                <a:gd name="T30" fmla="*/ 42 w 281"/>
                <a:gd name="T31" fmla="*/ 113 h 167"/>
                <a:gd name="T32" fmla="*/ 42 w 281"/>
                <a:gd name="T33" fmla="*/ 115 h 167"/>
                <a:gd name="T34" fmla="*/ 76 w 281"/>
                <a:gd name="T35" fmla="*/ 155 h 167"/>
                <a:gd name="T36" fmla="*/ 123 w 281"/>
                <a:gd name="T37" fmla="*/ 167 h 167"/>
                <a:gd name="T38" fmla="*/ 174 w 281"/>
                <a:gd name="T39" fmla="*/ 160 h 167"/>
                <a:gd name="T40" fmla="*/ 197 w 281"/>
                <a:gd name="T41" fmla="*/ 150 h 167"/>
                <a:gd name="T42" fmla="*/ 220 w 281"/>
                <a:gd name="T43" fmla="*/ 135 h 167"/>
                <a:gd name="T44" fmla="*/ 249 w 281"/>
                <a:gd name="T45" fmla="*/ 120 h 167"/>
                <a:gd name="T46" fmla="*/ 280 w 281"/>
                <a:gd name="T47" fmla="*/ 114 h 167"/>
                <a:gd name="T48" fmla="*/ 281 w 281"/>
                <a:gd name="T49" fmla="*/ 111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81" h="167">
                  <a:moveTo>
                    <a:pt x="281" y="111"/>
                  </a:moveTo>
                  <a:cubicBezTo>
                    <a:pt x="281" y="111"/>
                    <a:pt x="281" y="110"/>
                    <a:pt x="281" y="110"/>
                  </a:cubicBezTo>
                  <a:cubicBezTo>
                    <a:pt x="264" y="89"/>
                    <a:pt x="247" y="69"/>
                    <a:pt x="228" y="51"/>
                  </a:cubicBezTo>
                  <a:cubicBezTo>
                    <a:pt x="212" y="35"/>
                    <a:pt x="196" y="20"/>
                    <a:pt x="176" y="10"/>
                  </a:cubicBezTo>
                  <a:cubicBezTo>
                    <a:pt x="156" y="1"/>
                    <a:pt x="134" y="0"/>
                    <a:pt x="112" y="2"/>
                  </a:cubicBezTo>
                  <a:cubicBezTo>
                    <a:pt x="93" y="3"/>
                    <a:pt x="76" y="10"/>
                    <a:pt x="62" y="25"/>
                  </a:cubicBezTo>
                  <a:cubicBezTo>
                    <a:pt x="48" y="40"/>
                    <a:pt x="38" y="61"/>
                    <a:pt x="36" y="84"/>
                  </a:cubicBezTo>
                  <a:cubicBezTo>
                    <a:pt x="23" y="89"/>
                    <a:pt x="11" y="96"/>
                    <a:pt x="0" y="105"/>
                  </a:cubicBezTo>
                  <a:cubicBezTo>
                    <a:pt x="0" y="105"/>
                    <a:pt x="0" y="106"/>
                    <a:pt x="0" y="107"/>
                  </a:cubicBezTo>
                  <a:cubicBezTo>
                    <a:pt x="2" y="111"/>
                    <a:pt x="5" y="115"/>
                    <a:pt x="8" y="118"/>
                  </a:cubicBezTo>
                  <a:cubicBezTo>
                    <a:pt x="9" y="119"/>
                    <a:pt x="10" y="119"/>
                    <a:pt x="10" y="119"/>
                  </a:cubicBezTo>
                  <a:cubicBezTo>
                    <a:pt x="52" y="84"/>
                    <a:pt x="103" y="67"/>
                    <a:pt x="154" y="70"/>
                  </a:cubicBezTo>
                  <a:cubicBezTo>
                    <a:pt x="157" y="70"/>
                    <a:pt x="161" y="70"/>
                    <a:pt x="164" y="70"/>
                  </a:cubicBezTo>
                  <a:cubicBezTo>
                    <a:pt x="133" y="70"/>
                    <a:pt x="103" y="78"/>
                    <a:pt x="74" y="92"/>
                  </a:cubicBezTo>
                  <a:cubicBezTo>
                    <a:pt x="63" y="97"/>
                    <a:pt x="53" y="104"/>
                    <a:pt x="43" y="112"/>
                  </a:cubicBezTo>
                  <a:cubicBezTo>
                    <a:pt x="42" y="112"/>
                    <a:pt x="42" y="113"/>
                    <a:pt x="42" y="113"/>
                  </a:cubicBezTo>
                  <a:cubicBezTo>
                    <a:pt x="42" y="114"/>
                    <a:pt x="42" y="114"/>
                    <a:pt x="42" y="115"/>
                  </a:cubicBezTo>
                  <a:cubicBezTo>
                    <a:pt x="50" y="131"/>
                    <a:pt x="62" y="145"/>
                    <a:pt x="76" y="155"/>
                  </a:cubicBezTo>
                  <a:cubicBezTo>
                    <a:pt x="90" y="165"/>
                    <a:pt x="106" y="167"/>
                    <a:pt x="123" y="167"/>
                  </a:cubicBezTo>
                  <a:cubicBezTo>
                    <a:pt x="140" y="167"/>
                    <a:pt x="157" y="165"/>
                    <a:pt x="174" y="160"/>
                  </a:cubicBezTo>
                  <a:cubicBezTo>
                    <a:pt x="182" y="157"/>
                    <a:pt x="190" y="154"/>
                    <a:pt x="197" y="150"/>
                  </a:cubicBezTo>
                  <a:cubicBezTo>
                    <a:pt x="205" y="146"/>
                    <a:pt x="213" y="140"/>
                    <a:pt x="220" y="135"/>
                  </a:cubicBezTo>
                  <a:cubicBezTo>
                    <a:pt x="230" y="129"/>
                    <a:pt x="239" y="123"/>
                    <a:pt x="249" y="120"/>
                  </a:cubicBezTo>
                  <a:cubicBezTo>
                    <a:pt x="259" y="116"/>
                    <a:pt x="270" y="115"/>
                    <a:pt x="280" y="114"/>
                  </a:cubicBezTo>
                  <a:cubicBezTo>
                    <a:pt x="281" y="113"/>
                    <a:pt x="281" y="112"/>
                    <a:pt x="281" y="111"/>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grpSp>
      <p:sp>
        <p:nvSpPr>
          <p:cNvPr id="38" name="TextBox 37">
            <a:extLst>
              <a:ext uri="{FF2B5EF4-FFF2-40B4-BE49-F238E27FC236}">
                <a16:creationId xmlns:a16="http://schemas.microsoft.com/office/drawing/2014/main" id="{D0AF429A-BCE7-4A53-AEE1-7342DFE9CA2F}"/>
              </a:ext>
            </a:extLst>
          </p:cNvPr>
          <p:cNvSpPr txBox="1"/>
          <p:nvPr/>
        </p:nvSpPr>
        <p:spPr>
          <a:xfrm>
            <a:off x="1405733" y="846293"/>
            <a:ext cx="5134771"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000000">
                    <a:lumMod val="85000"/>
                    <a:lumOff val="15000"/>
                  </a:srgbClr>
                </a:solidFill>
                <a:effectLst/>
                <a:uLnTx/>
                <a:uFillTx/>
                <a:latin typeface="等线 Light" panose="020F0302020204030204"/>
                <a:ea typeface="+mn-ea"/>
                <a:cs typeface="+mn-cs"/>
              </a:rPr>
              <a:t>INFOGRAPHIC</a:t>
            </a:r>
            <a:r>
              <a:rPr kumimoji="0" lang="en-US" sz="3200" b="1" i="0" u="none" strike="noStrike" kern="1200" cap="none" spc="0" normalizeH="0" baseline="0" noProof="0" dirty="0">
                <a:ln>
                  <a:noFill/>
                </a:ln>
                <a:solidFill>
                  <a:srgbClr val="000000">
                    <a:lumMod val="85000"/>
                    <a:lumOff val="15000"/>
                  </a:srgbClr>
                </a:solidFill>
                <a:effectLst/>
                <a:uLnTx/>
                <a:uFillTx/>
                <a:latin typeface="等线" panose="020F0502020204030204"/>
                <a:ea typeface="+mn-ea"/>
                <a:cs typeface="+mn-cs"/>
              </a:rPr>
              <a:t> </a:t>
            </a:r>
            <a:r>
              <a:rPr kumimoji="0" lang="en-US" sz="3200" b="1" i="0" u="none" strike="noStrike" kern="1200" cap="none" spc="0" normalizeH="0" baseline="0" noProof="0" dirty="0">
                <a:ln>
                  <a:noFill/>
                </a:ln>
                <a:solidFill>
                  <a:srgbClr val="000000">
                    <a:lumMod val="85000"/>
                    <a:lumOff val="15000"/>
                  </a:srgbClr>
                </a:solidFill>
                <a:effectLst/>
                <a:uLnTx/>
                <a:uFillTx/>
                <a:latin typeface="等线 Light" panose="020F0302020204030204"/>
                <a:ea typeface="+mn-ea"/>
                <a:cs typeface="+mn-cs"/>
              </a:rPr>
              <a:t>TREE</a:t>
            </a:r>
          </a:p>
        </p:txBody>
      </p:sp>
      <p:sp>
        <p:nvSpPr>
          <p:cNvPr id="39" name="Rectangle 40">
            <a:extLst>
              <a:ext uri="{FF2B5EF4-FFF2-40B4-BE49-F238E27FC236}">
                <a16:creationId xmlns:a16="http://schemas.microsoft.com/office/drawing/2014/main" id="{FDD61B50-0DEC-4370-8C25-DC6EA0C1D7D3}"/>
              </a:ext>
            </a:extLst>
          </p:cNvPr>
          <p:cNvSpPr/>
          <p:nvPr/>
        </p:nvSpPr>
        <p:spPr>
          <a:xfrm>
            <a:off x="532078" y="3873126"/>
            <a:ext cx="1974500" cy="693395"/>
          </a:xfrm>
          <a:prstGeom prst="rect">
            <a:avLst/>
          </a:prstGeom>
        </p:spPr>
        <p:txBody>
          <a:bodyPr wrap="square">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lumMod val="50000"/>
                    <a:lumOff val="50000"/>
                  </a:srgbClr>
                </a:solidFill>
                <a:effectLst/>
                <a:uLnTx/>
                <a:uFillTx/>
                <a:latin typeface="等线" panose="020F0502020204030204"/>
                <a:ea typeface="+mn-ea"/>
                <a:cs typeface="+mn-cs"/>
              </a:rPr>
              <a:t>Lorem Ipsum is simply dummy text of the printing and typesetting industry. </a:t>
            </a:r>
          </a:p>
        </p:txBody>
      </p:sp>
      <p:sp>
        <p:nvSpPr>
          <p:cNvPr id="40" name="TextBox 41">
            <a:extLst>
              <a:ext uri="{FF2B5EF4-FFF2-40B4-BE49-F238E27FC236}">
                <a16:creationId xmlns:a16="http://schemas.microsoft.com/office/drawing/2014/main" id="{54C28F62-A44C-4628-BBE5-6EC2F9904087}"/>
              </a:ext>
            </a:extLst>
          </p:cNvPr>
          <p:cNvSpPr txBox="1"/>
          <p:nvPr/>
        </p:nvSpPr>
        <p:spPr>
          <a:xfrm>
            <a:off x="532077" y="3556912"/>
            <a:ext cx="1338608"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lumMod val="85000"/>
                    <a:lumOff val="15000"/>
                  </a:srgbClr>
                </a:solidFill>
                <a:effectLst/>
                <a:uLnTx/>
                <a:uFillTx/>
                <a:latin typeface="等线 Light" panose="020F0302020204030204"/>
                <a:ea typeface="+mn-ea"/>
                <a:cs typeface="+mn-cs"/>
              </a:rPr>
              <a:t>Step One</a:t>
            </a:r>
          </a:p>
        </p:txBody>
      </p:sp>
      <p:sp>
        <p:nvSpPr>
          <p:cNvPr id="41" name="Rectangle 42">
            <a:extLst>
              <a:ext uri="{FF2B5EF4-FFF2-40B4-BE49-F238E27FC236}">
                <a16:creationId xmlns:a16="http://schemas.microsoft.com/office/drawing/2014/main" id="{0011E9AF-C745-436C-852D-2A0076DB5076}"/>
              </a:ext>
            </a:extLst>
          </p:cNvPr>
          <p:cNvSpPr/>
          <p:nvPr/>
        </p:nvSpPr>
        <p:spPr>
          <a:xfrm>
            <a:off x="2609643" y="3209639"/>
            <a:ext cx="1891655" cy="693395"/>
          </a:xfrm>
          <a:prstGeom prst="rect">
            <a:avLst/>
          </a:prstGeom>
        </p:spPr>
        <p:txBody>
          <a:bodyPr wrap="square">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lumMod val="50000"/>
                    <a:lumOff val="50000"/>
                  </a:srgbClr>
                </a:solidFill>
                <a:effectLst/>
                <a:uLnTx/>
                <a:uFillTx/>
                <a:latin typeface="等线" panose="020F0502020204030204"/>
                <a:ea typeface="+mn-ea"/>
                <a:cs typeface="+mn-cs"/>
              </a:rPr>
              <a:t>Lorem Ipsum is simply dummy text of the printing and typesetting industry. </a:t>
            </a:r>
          </a:p>
        </p:txBody>
      </p:sp>
      <p:sp>
        <p:nvSpPr>
          <p:cNvPr id="42" name="TextBox 43">
            <a:extLst>
              <a:ext uri="{FF2B5EF4-FFF2-40B4-BE49-F238E27FC236}">
                <a16:creationId xmlns:a16="http://schemas.microsoft.com/office/drawing/2014/main" id="{5B20326B-A264-4D59-9B27-91587C16F7CF}"/>
              </a:ext>
            </a:extLst>
          </p:cNvPr>
          <p:cNvSpPr txBox="1"/>
          <p:nvPr/>
        </p:nvSpPr>
        <p:spPr>
          <a:xfrm>
            <a:off x="2609643" y="2893425"/>
            <a:ext cx="1406532"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lumMod val="85000"/>
                    <a:lumOff val="15000"/>
                  </a:srgbClr>
                </a:solidFill>
                <a:effectLst/>
                <a:uLnTx/>
                <a:uFillTx/>
                <a:latin typeface="等线 Light" panose="020F0302020204030204"/>
                <a:ea typeface="+mn-ea"/>
                <a:cs typeface="+mn-cs"/>
              </a:rPr>
              <a:t>Step Two</a:t>
            </a:r>
          </a:p>
        </p:txBody>
      </p:sp>
      <p:sp>
        <p:nvSpPr>
          <p:cNvPr id="43" name="Rectangle 44">
            <a:extLst>
              <a:ext uri="{FF2B5EF4-FFF2-40B4-BE49-F238E27FC236}">
                <a16:creationId xmlns:a16="http://schemas.microsoft.com/office/drawing/2014/main" id="{FCEC4A65-BC3E-4718-932C-B09B9F5417AD}"/>
              </a:ext>
            </a:extLst>
          </p:cNvPr>
          <p:cNvSpPr/>
          <p:nvPr/>
        </p:nvSpPr>
        <p:spPr>
          <a:xfrm>
            <a:off x="4771914" y="2337048"/>
            <a:ext cx="1862417" cy="693395"/>
          </a:xfrm>
          <a:prstGeom prst="rect">
            <a:avLst/>
          </a:prstGeom>
        </p:spPr>
        <p:txBody>
          <a:bodyPr wrap="square">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lumMod val="50000"/>
                    <a:lumOff val="50000"/>
                  </a:srgbClr>
                </a:solidFill>
                <a:effectLst/>
                <a:uLnTx/>
                <a:uFillTx/>
                <a:latin typeface="等线" panose="020F0502020204030204"/>
                <a:ea typeface="+mn-ea"/>
                <a:cs typeface="+mn-cs"/>
              </a:rPr>
              <a:t>Lorem Ipsum is simply dummy text of the printing and typesetting industry. </a:t>
            </a:r>
          </a:p>
        </p:txBody>
      </p:sp>
      <p:sp>
        <p:nvSpPr>
          <p:cNvPr id="44" name="TextBox 45">
            <a:extLst>
              <a:ext uri="{FF2B5EF4-FFF2-40B4-BE49-F238E27FC236}">
                <a16:creationId xmlns:a16="http://schemas.microsoft.com/office/drawing/2014/main" id="{C612AB1B-9161-4F30-B001-A7F3742C4BD2}"/>
              </a:ext>
            </a:extLst>
          </p:cNvPr>
          <p:cNvSpPr txBox="1"/>
          <p:nvPr/>
        </p:nvSpPr>
        <p:spPr>
          <a:xfrm>
            <a:off x="4771914" y="2020833"/>
            <a:ext cx="2552073"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lumMod val="85000"/>
                    <a:lumOff val="15000"/>
                  </a:srgbClr>
                </a:solidFill>
                <a:effectLst/>
                <a:uLnTx/>
                <a:uFillTx/>
                <a:latin typeface="等线 Light" panose="020F0302020204030204"/>
                <a:ea typeface="+mn-ea"/>
                <a:cs typeface="+mn-cs"/>
              </a:rPr>
              <a:t>Step Tree</a:t>
            </a:r>
          </a:p>
        </p:txBody>
      </p:sp>
      <p:sp>
        <p:nvSpPr>
          <p:cNvPr id="45" name="Rectangle 46">
            <a:extLst>
              <a:ext uri="{FF2B5EF4-FFF2-40B4-BE49-F238E27FC236}">
                <a16:creationId xmlns:a16="http://schemas.microsoft.com/office/drawing/2014/main" id="{EE182FFB-D674-4B8F-9BC9-19684ED46FBF}"/>
              </a:ext>
            </a:extLst>
          </p:cNvPr>
          <p:cNvSpPr/>
          <p:nvPr/>
        </p:nvSpPr>
        <p:spPr>
          <a:xfrm>
            <a:off x="6703935" y="1551652"/>
            <a:ext cx="1992448" cy="693395"/>
          </a:xfrm>
          <a:prstGeom prst="rect">
            <a:avLst/>
          </a:prstGeom>
        </p:spPr>
        <p:txBody>
          <a:bodyPr wrap="square">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lumMod val="50000"/>
                    <a:lumOff val="50000"/>
                  </a:srgbClr>
                </a:solidFill>
                <a:effectLst/>
                <a:uLnTx/>
                <a:uFillTx/>
                <a:latin typeface="等线" panose="020F0502020204030204"/>
                <a:ea typeface="+mn-ea"/>
                <a:cs typeface="+mn-cs"/>
              </a:rPr>
              <a:t>Lorem Ipsum is simply dummy text of the printing and typesetting industry. </a:t>
            </a:r>
          </a:p>
        </p:txBody>
      </p:sp>
      <p:sp>
        <p:nvSpPr>
          <p:cNvPr id="46" name="TextBox 47">
            <a:extLst>
              <a:ext uri="{FF2B5EF4-FFF2-40B4-BE49-F238E27FC236}">
                <a16:creationId xmlns:a16="http://schemas.microsoft.com/office/drawing/2014/main" id="{87FDF0DA-0879-4F69-B228-A373D1F95E3C}"/>
              </a:ext>
            </a:extLst>
          </p:cNvPr>
          <p:cNvSpPr txBox="1"/>
          <p:nvPr/>
        </p:nvSpPr>
        <p:spPr>
          <a:xfrm>
            <a:off x="6703936" y="1235438"/>
            <a:ext cx="1632112"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lumMod val="85000"/>
                    <a:lumOff val="15000"/>
                  </a:srgbClr>
                </a:solidFill>
                <a:effectLst/>
                <a:uLnTx/>
                <a:uFillTx/>
                <a:latin typeface="等线 Light" panose="020F0302020204030204"/>
                <a:ea typeface="+mn-ea"/>
                <a:cs typeface="+mn-cs"/>
              </a:rPr>
              <a:t>Step Tree</a:t>
            </a:r>
          </a:p>
        </p:txBody>
      </p:sp>
      <p:sp>
        <p:nvSpPr>
          <p:cNvPr id="47" name="Rectangle 48">
            <a:extLst>
              <a:ext uri="{FF2B5EF4-FFF2-40B4-BE49-F238E27FC236}">
                <a16:creationId xmlns:a16="http://schemas.microsoft.com/office/drawing/2014/main" id="{FB928E8D-D095-422E-B77F-A7AD2B5E8B8C}"/>
              </a:ext>
            </a:extLst>
          </p:cNvPr>
          <p:cNvSpPr/>
          <p:nvPr/>
        </p:nvSpPr>
        <p:spPr>
          <a:xfrm>
            <a:off x="9067711" y="560088"/>
            <a:ext cx="1966879" cy="693395"/>
          </a:xfrm>
          <a:prstGeom prst="rect">
            <a:avLst/>
          </a:prstGeom>
        </p:spPr>
        <p:txBody>
          <a:bodyPr wrap="square">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lumMod val="50000"/>
                    <a:lumOff val="50000"/>
                  </a:srgbClr>
                </a:solidFill>
                <a:effectLst/>
                <a:uLnTx/>
                <a:uFillTx/>
                <a:latin typeface="等线" panose="020F0502020204030204"/>
                <a:ea typeface="+mn-ea"/>
                <a:cs typeface="+mn-cs"/>
              </a:rPr>
              <a:t>Lorem Ipsum is simply dummy text of the printing and typesetting industry. </a:t>
            </a:r>
          </a:p>
        </p:txBody>
      </p:sp>
      <p:sp>
        <p:nvSpPr>
          <p:cNvPr id="48" name="TextBox 49">
            <a:extLst>
              <a:ext uri="{FF2B5EF4-FFF2-40B4-BE49-F238E27FC236}">
                <a16:creationId xmlns:a16="http://schemas.microsoft.com/office/drawing/2014/main" id="{AAAC05B3-CCED-491B-AD3F-3AF2DBE3651D}"/>
              </a:ext>
            </a:extLst>
          </p:cNvPr>
          <p:cNvSpPr txBox="1"/>
          <p:nvPr/>
        </p:nvSpPr>
        <p:spPr>
          <a:xfrm>
            <a:off x="9067711" y="243873"/>
            <a:ext cx="1966879"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lumMod val="85000"/>
                    <a:lumOff val="15000"/>
                  </a:srgbClr>
                </a:solidFill>
                <a:effectLst/>
                <a:uLnTx/>
                <a:uFillTx/>
                <a:latin typeface="等线 Light" panose="020F0302020204030204"/>
                <a:ea typeface="+mn-ea"/>
                <a:cs typeface="+mn-cs"/>
              </a:rPr>
              <a:t>Step Tree</a:t>
            </a:r>
          </a:p>
        </p:txBody>
      </p:sp>
    </p:spTree>
    <p:extLst>
      <p:ext uri="{BB962C8B-B14F-4D97-AF65-F5344CB8AC3E}">
        <p14:creationId xmlns:p14="http://schemas.microsoft.com/office/powerpoint/2010/main" val="1374957961"/>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38"/>
                                        </p:tgtEl>
                                        <p:attrNameLst>
                                          <p:attrName>style.visibility</p:attrName>
                                        </p:attrNameLst>
                                      </p:cBhvr>
                                      <p:to>
                                        <p:strVal val="visible"/>
                                      </p:to>
                                    </p:set>
                                    <p:animEffect transition="in" filter="wipe(left)">
                                      <p:cBhvr>
                                        <p:cTn id="7" dur="500"/>
                                        <p:tgtEl>
                                          <p:spTgt spid="38"/>
                                        </p:tgtEl>
                                      </p:cBhvr>
                                    </p:animEffect>
                                  </p:childTnLst>
                                </p:cTn>
                              </p:par>
                            </p:childTnLst>
                          </p:cTn>
                        </p:par>
                        <p:par>
                          <p:cTn id="8" fill="hold">
                            <p:stCondLst>
                              <p:cond delay="500"/>
                            </p:stCondLst>
                            <p:childTnLst>
                              <p:par>
                                <p:cTn id="9" presetID="22" presetClass="entr" presetSubtype="4" fill="hold" grpId="0" nodeType="after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wipe(down)">
                                      <p:cBhvr>
                                        <p:cTn id="11" dur="500"/>
                                        <p:tgtEl>
                                          <p:spTgt spid="7"/>
                                        </p:tgtEl>
                                      </p:cBhvr>
                                    </p:animEffect>
                                  </p:childTnLst>
                                </p:cTn>
                              </p:par>
                            </p:childTnLst>
                          </p:cTn>
                        </p:par>
                        <p:par>
                          <p:cTn id="12" fill="hold">
                            <p:stCondLst>
                              <p:cond delay="1000"/>
                            </p:stCondLst>
                            <p:childTnLst>
                              <p:par>
                                <p:cTn id="13" presetID="22" presetClass="entr" presetSubtype="4" fill="hold" nodeType="afterEffect">
                                  <p:stCondLst>
                                    <p:cond delay="0"/>
                                  </p:stCondLst>
                                  <p:childTnLst>
                                    <p:set>
                                      <p:cBhvr>
                                        <p:cTn id="14" dur="1" fill="hold">
                                          <p:stCondLst>
                                            <p:cond delay="0"/>
                                          </p:stCondLst>
                                        </p:cTn>
                                        <p:tgtEl>
                                          <p:spTgt spid="2"/>
                                        </p:tgtEl>
                                        <p:attrNameLst>
                                          <p:attrName>style.visibility</p:attrName>
                                        </p:attrNameLst>
                                      </p:cBhvr>
                                      <p:to>
                                        <p:strVal val="visible"/>
                                      </p:to>
                                    </p:set>
                                    <p:animEffect transition="in" filter="wipe(down)">
                                      <p:cBhvr>
                                        <p:cTn id="15" dur="500"/>
                                        <p:tgtEl>
                                          <p:spTgt spid="2"/>
                                        </p:tgtEl>
                                      </p:cBhvr>
                                    </p:animEffect>
                                  </p:childTnLst>
                                </p:cTn>
                              </p:par>
                            </p:childTnLst>
                          </p:cTn>
                        </p:par>
                        <p:par>
                          <p:cTn id="16" fill="hold">
                            <p:stCondLst>
                              <p:cond delay="1500"/>
                            </p:stCondLst>
                            <p:childTnLst>
                              <p:par>
                                <p:cTn id="17" presetID="22" presetClass="entr" presetSubtype="8" fill="hold" grpId="0" nodeType="afterEffect">
                                  <p:stCondLst>
                                    <p:cond delay="0"/>
                                  </p:stCondLst>
                                  <p:childTnLst>
                                    <p:set>
                                      <p:cBhvr>
                                        <p:cTn id="18" dur="1" fill="hold">
                                          <p:stCondLst>
                                            <p:cond delay="0"/>
                                          </p:stCondLst>
                                        </p:cTn>
                                        <p:tgtEl>
                                          <p:spTgt spid="40"/>
                                        </p:tgtEl>
                                        <p:attrNameLst>
                                          <p:attrName>style.visibility</p:attrName>
                                        </p:attrNameLst>
                                      </p:cBhvr>
                                      <p:to>
                                        <p:strVal val="visible"/>
                                      </p:to>
                                    </p:set>
                                    <p:animEffect transition="in" filter="wipe(left)">
                                      <p:cBhvr>
                                        <p:cTn id="19" dur="500"/>
                                        <p:tgtEl>
                                          <p:spTgt spid="40"/>
                                        </p:tgtEl>
                                      </p:cBhvr>
                                    </p:animEffect>
                                  </p:childTnLst>
                                </p:cTn>
                              </p:par>
                            </p:childTnLst>
                          </p:cTn>
                        </p:par>
                        <p:par>
                          <p:cTn id="20" fill="hold">
                            <p:stCondLst>
                              <p:cond delay="2000"/>
                            </p:stCondLst>
                            <p:childTnLst>
                              <p:par>
                                <p:cTn id="21" presetID="42" presetClass="entr" presetSubtype="0" fill="hold" grpId="0" nodeType="afterEffect">
                                  <p:stCondLst>
                                    <p:cond delay="0"/>
                                  </p:stCondLst>
                                  <p:childTnLst>
                                    <p:set>
                                      <p:cBhvr>
                                        <p:cTn id="22" dur="1" fill="hold">
                                          <p:stCondLst>
                                            <p:cond delay="0"/>
                                          </p:stCondLst>
                                        </p:cTn>
                                        <p:tgtEl>
                                          <p:spTgt spid="39"/>
                                        </p:tgtEl>
                                        <p:attrNameLst>
                                          <p:attrName>style.visibility</p:attrName>
                                        </p:attrNameLst>
                                      </p:cBhvr>
                                      <p:to>
                                        <p:strVal val="visible"/>
                                      </p:to>
                                    </p:set>
                                    <p:animEffect transition="in" filter="fade">
                                      <p:cBhvr>
                                        <p:cTn id="23" dur="500"/>
                                        <p:tgtEl>
                                          <p:spTgt spid="39"/>
                                        </p:tgtEl>
                                      </p:cBhvr>
                                    </p:animEffect>
                                    <p:anim calcmode="lin" valueType="num">
                                      <p:cBhvr>
                                        <p:cTn id="24" dur="500" fill="hold"/>
                                        <p:tgtEl>
                                          <p:spTgt spid="39"/>
                                        </p:tgtEl>
                                        <p:attrNameLst>
                                          <p:attrName>ppt_x</p:attrName>
                                        </p:attrNameLst>
                                      </p:cBhvr>
                                      <p:tavLst>
                                        <p:tav tm="0">
                                          <p:val>
                                            <p:strVal val="#ppt_x"/>
                                          </p:val>
                                        </p:tav>
                                        <p:tav tm="100000">
                                          <p:val>
                                            <p:strVal val="#ppt_x"/>
                                          </p:val>
                                        </p:tav>
                                      </p:tavLst>
                                    </p:anim>
                                    <p:anim calcmode="lin" valueType="num">
                                      <p:cBhvr>
                                        <p:cTn id="25" dur="500" fill="hold"/>
                                        <p:tgtEl>
                                          <p:spTgt spid="39"/>
                                        </p:tgtEl>
                                        <p:attrNameLst>
                                          <p:attrName>ppt_y</p:attrName>
                                        </p:attrNameLst>
                                      </p:cBhvr>
                                      <p:tavLst>
                                        <p:tav tm="0">
                                          <p:val>
                                            <p:strVal val="#ppt_y+.1"/>
                                          </p:val>
                                        </p:tav>
                                        <p:tav tm="100000">
                                          <p:val>
                                            <p:strVal val="#ppt_y"/>
                                          </p:val>
                                        </p:tav>
                                      </p:tavLst>
                                    </p:anim>
                                  </p:childTnLst>
                                </p:cTn>
                              </p:par>
                            </p:childTnLst>
                          </p:cTn>
                        </p:par>
                        <p:par>
                          <p:cTn id="26" fill="hold">
                            <p:stCondLst>
                              <p:cond delay="2500"/>
                            </p:stCondLst>
                            <p:childTnLst>
                              <p:par>
                                <p:cTn id="27" presetID="22" presetClass="entr" presetSubtype="4" fill="hold" nodeType="afterEffect">
                                  <p:stCondLst>
                                    <p:cond delay="0"/>
                                  </p:stCondLst>
                                  <p:childTnLst>
                                    <p:set>
                                      <p:cBhvr>
                                        <p:cTn id="28" dur="1" fill="hold">
                                          <p:stCondLst>
                                            <p:cond delay="0"/>
                                          </p:stCondLst>
                                        </p:cTn>
                                        <p:tgtEl>
                                          <p:spTgt spid="8"/>
                                        </p:tgtEl>
                                        <p:attrNameLst>
                                          <p:attrName>style.visibility</p:attrName>
                                        </p:attrNameLst>
                                      </p:cBhvr>
                                      <p:to>
                                        <p:strVal val="visible"/>
                                      </p:to>
                                    </p:set>
                                    <p:animEffect transition="in" filter="wipe(down)">
                                      <p:cBhvr>
                                        <p:cTn id="29" dur="500"/>
                                        <p:tgtEl>
                                          <p:spTgt spid="8"/>
                                        </p:tgtEl>
                                      </p:cBhvr>
                                    </p:animEffect>
                                  </p:childTnLst>
                                </p:cTn>
                              </p:par>
                            </p:childTnLst>
                          </p:cTn>
                        </p:par>
                        <p:par>
                          <p:cTn id="30" fill="hold">
                            <p:stCondLst>
                              <p:cond delay="3000"/>
                            </p:stCondLst>
                            <p:childTnLst>
                              <p:par>
                                <p:cTn id="31" presetID="22" presetClass="entr" presetSubtype="8" fill="hold" grpId="0" nodeType="afterEffect">
                                  <p:stCondLst>
                                    <p:cond delay="0"/>
                                  </p:stCondLst>
                                  <p:childTnLst>
                                    <p:set>
                                      <p:cBhvr>
                                        <p:cTn id="32" dur="1" fill="hold">
                                          <p:stCondLst>
                                            <p:cond delay="0"/>
                                          </p:stCondLst>
                                        </p:cTn>
                                        <p:tgtEl>
                                          <p:spTgt spid="42"/>
                                        </p:tgtEl>
                                        <p:attrNameLst>
                                          <p:attrName>style.visibility</p:attrName>
                                        </p:attrNameLst>
                                      </p:cBhvr>
                                      <p:to>
                                        <p:strVal val="visible"/>
                                      </p:to>
                                    </p:set>
                                    <p:animEffect transition="in" filter="wipe(left)">
                                      <p:cBhvr>
                                        <p:cTn id="33" dur="500"/>
                                        <p:tgtEl>
                                          <p:spTgt spid="42"/>
                                        </p:tgtEl>
                                      </p:cBhvr>
                                    </p:animEffect>
                                  </p:childTnLst>
                                </p:cTn>
                              </p:par>
                            </p:childTnLst>
                          </p:cTn>
                        </p:par>
                        <p:par>
                          <p:cTn id="34" fill="hold">
                            <p:stCondLst>
                              <p:cond delay="3500"/>
                            </p:stCondLst>
                            <p:childTnLst>
                              <p:par>
                                <p:cTn id="35" presetID="42" presetClass="entr" presetSubtype="0" fill="hold" grpId="0" nodeType="afterEffect">
                                  <p:stCondLst>
                                    <p:cond delay="0"/>
                                  </p:stCondLst>
                                  <p:childTnLst>
                                    <p:set>
                                      <p:cBhvr>
                                        <p:cTn id="36" dur="1" fill="hold">
                                          <p:stCondLst>
                                            <p:cond delay="0"/>
                                          </p:stCondLst>
                                        </p:cTn>
                                        <p:tgtEl>
                                          <p:spTgt spid="41"/>
                                        </p:tgtEl>
                                        <p:attrNameLst>
                                          <p:attrName>style.visibility</p:attrName>
                                        </p:attrNameLst>
                                      </p:cBhvr>
                                      <p:to>
                                        <p:strVal val="visible"/>
                                      </p:to>
                                    </p:set>
                                    <p:animEffect transition="in" filter="fade">
                                      <p:cBhvr>
                                        <p:cTn id="37" dur="500"/>
                                        <p:tgtEl>
                                          <p:spTgt spid="41"/>
                                        </p:tgtEl>
                                      </p:cBhvr>
                                    </p:animEffect>
                                    <p:anim calcmode="lin" valueType="num">
                                      <p:cBhvr>
                                        <p:cTn id="38" dur="500" fill="hold"/>
                                        <p:tgtEl>
                                          <p:spTgt spid="41"/>
                                        </p:tgtEl>
                                        <p:attrNameLst>
                                          <p:attrName>ppt_x</p:attrName>
                                        </p:attrNameLst>
                                      </p:cBhvr>
                                      <p:tavLst>
                                        <p:tav tm="0">
                                          <p:val>
                                            <p:strVal val="#ppt_x"/>
                                          </p:val>
                                        </p:tav>
                                        <p:tav tm="100000">
                                          <p:val>
                                            <p:strVal val="#ppt_x"/>
                                          </p:val>
                                        </p:tav>
                                      </p:tavLst>
                                    </p:anim>
                                    <p:anim calcmode="lin" valueType="num">
                                      <p:cBhvr>
                                        <p:cTn id="39" dur="500" fill="hold"/>
                                        <p:tgtEl>
                                          <p:spTgt spid="41"/>
                                        </p:tgtEl>
                                        <p:attrNameLst>
                                          <p:attrName>ppt_y</p:attrName>
                                        </p:attrNameLst>
                                      </p:cBhvr>
                                      <p:tavLst>
                                        <p:tav tm="0">
                                          <p:val>
                                            <p:strVal val="#ppt_y+.1"/>
                                          </p:val>
                                        </p:tav>
                                        <p:tav tm="100000">
                                          <p:val>
                                            <p:strVal val="#ppt_y"/>
                                          </p:val>
                                        </p:tav>
                                      </p:tavLst>
                                    </p:anim>
                                  </p:childTnLst>
                                </p:cTn>
                              </p:par>
                            </p:childTnLst>
                          </p:cTn>
                        </p:par>
                        <p:par>
                          <p:cTn id="40" fill="hold">
                            <p:stCondLst>
                              <p:cond delay="4000"/>
                            </p:stCondLst>
                            <p:childTnLst>
                              <p:par>
                                <p:cTn id="41" presetID="22" presetClass="entr" presetSubtype="4" fill="hold" nodeType="afterEffect">
                                  <p:stCondLst>
                                    <p:cond delay="0"/>
                                  </p:stCondLst>
                                  <p:childTnLst>
                                    <p:set>
                                      <p:cBhvr>
                                        <p:cTn id="42" dur="1" fill="hold">
                                          <p:stCondLst>
                                            <p:cond delay="0"/>
                                          </p:stCondLst>
                                        </p:cTn>
                                        <p:tgtEl>
                                          <p:spTgt spid="12"/>
                                        </p:tgtEl>
                                        <p:attrNameLst>
                                          <p:attrName>style.visibility</p:attrName>
                                        </p:attrNameLst>
                                      </p:cBhvr>
                                      <p:to>
                                        <p:strVal val="visible"/>
                                      </p:to>
                                    </p:set>
                                    <p:animEffect transition="in" filter="wipe(down)">
                                      <p:cBhvr>
                                        <p:cTn id="43" dur="500"/>
                                        <p:tgtEl>
                                          <p:spTgt spid="12"/>
                                        </p:tgtEl>
                                      </p:cBhvr>
                                    </p:animEffect>
                                  </p:childTnLst>
                                </p:cTn>
                              </p:par>
                            </p:childTnLst>
                          </p:cTn>
                        </p:par>
                        <p:par>
                          <p:cTn id="44" fill="hold">
                            <p:stCondLst>
                              <p:cond delay="4500"/>
                            </p:stCondLst>
                            <p:childTnLst>
                              <p:par>
                                <p:cTn id="45" presetID="22" presetClass="entr" presetSubtype="8" fill="hold" grpId="0" nodeType="afterEffect">
                                  <p:stCondLst>
                                    <p:cond delay="0"/>
                                  </p:stCondLst>
                                  <p:childTnLst>
                                    <p:set>
                                      <p:cBhvr>
                                        <p:cTn id="46" dur="1" fill="hold">
                                          <p:stCondLst>
                                            <p:cond delay="0"/>
                                          </p:stCondLst>
                                        </p:cTn>
                                        <p:tgtEl>
                                          <p:spTgt spid="44"/>
                                        </p:tgtEl>
                                        <p:attrNameLst>
                                          <p:attrName>style.visibility</p:attrName>
                                        </p:attrNameLst>
                                      </p:cBhvr>
                                      <p:to>
                                        <p:strVal val="visible"/>
                                      </p:to>
                                    </p:set>
                                    <p:animEffect transition="in" filter="wipe(left)">
                                      <p:cBhvr>
                                        <p:cTn id="47" dur="500"/>
                                        <p:tgtEl>
                                          <p:spTgt spid="44"/>
                                        </p:tgtEl>
                                      </p:cBhvr>
                                    </p:animEffect>
                                  </p:childTnLst>
                                </p:cTn>
                              </p:par>
                            </p:childTnLst>
                          </p:cTn>
                        </p:par>
                        <p:par>
                          <p:cTn id="48" fill="hold">
                            <p:stCondLst>
                              <p:cond delay="5000"/>
                            </p:stCondLst>
                            <p:childTnLst>
                              <p:par>
                                <p:cTn id="49" presetID="42" presetClass="entr" presetSubtype="0" fill="hold" grpId="0" nodeType="afterEffect">
                                  <p:stCondLst>
                                    <p:cond delay="0"/>
                                  </p:stCondLst>
                                  <p:childTnLst>
                                    <p:set>
                                      <p:cBhvr>
                                        <p:cTn id="50" dur="1" fill="hold">
                                          <p:stCondLst>
                                            <p:cond delay="0"/>
                                          </p:stCondLst>
                                        </p:cTn>
                                        <p:tgtEl>
                                          <p:spTgt spid="43"/>
                                        </p:tgtEl>
                                        <p:attrNameLst>
                                          <p:attrName>style.visibility</p:attrName>
                                        </p:attrNameLst>
                                      </p:cBhvr>
                                      <p:to>
                                        <p:strVal val="visible"/>
                                      </p:to>
                                    </p:set>
                                    <p:animEffect transition="in" filter="fade">
                                      <p:cBhvr>
                                        <p:cTn id="51" dur="500"/>
                                        <p:tgtEl>
                                          <p:spTgt spid="43"/>
                                        </p:tgtEl>
                                      </p:cBhvr>
                                    </p:animEffect>
                                    <p:anim calcmode="lin" valueType="num">
                                      <p:cBhvr>
                                        <p:cTn id="52" dur="500" fill="hold"/>
                                        <p:tgtEl>
                                          <p:spTgt spid="43"/>
                                        </p:tgtEl>
                                        <p:attrNameLst>
                                          <p:attrName>ppt_x</p:attrName>
                                        </p:attrNameLst>
                                      </p:cBhvr>
                                      <p:tavLst>
                                        <p:tav tm="0">
                                          <p:val>
                                            <p:strVal val="#ppt_x"/>
                                          </p:val>
                                        </p:tav>
                                        <p:tav tm="100000">
                                          <p:val>
                                            <p:strVal val="#ppt_x"/>
                                          </p:val>
                                        </p:tav>
                                      </p:tavLst>
                                    </p:anim>
                                    <p:anim calcmode="lin" valueType="num">
                                      <p:cBhvr>
                                        <p:cTn id="53" dur="500" fill="hold"/>
                                        <p:tgtEl>
                                          <p:spTgt spid="43"/>
                                        </p:tgtEl>
                                        <p:attrNameLst>
                                          <p:attrName>ppt_y</p:attrName>
                                        </p:attrNameLst>
                                      </p:cBhvr>
                                      <p:tavLst>
                                        <p:tav tm="0">
                                          <p:val>
                                            <p:strVal val="#ppt_y+.1"/>
                                          </p:val>
                                        </p:tav>
                                        <p:tav tm="100000">
                                          <p:val>
                                            <p:strVal val="#ppt_y"/>
                                          </p:val>
                                        </p:tav>
                                      </p:tavLst>
                                    </p:anim>
                                  </p:childTnLst>
                                </p:cTn>
                              </p:par>
                            </p:childTnLst>
                          </p:cTn>
                        </p:par>
                        <p:par>
                          <p:cTn id="54" fill="hold">
                            <p:stCondLst>
                              <p:cond delay="5500"/>
                            </p:stCondLst>
                            <p:childTnLst>
                              <p:par>
                                <p:cTn id="55" presetID="22" presetClass="entr" presetSubtype="4" fill="hold" nodeType="afterEffect">
                                  <p:stCondLst>
                                    <p:cond delay="0"/>
                                  </p:stCondLst>
                                  <p:childTnLst>
                                    <p:set>
                                      <p:cBhvr>
                                        <p:cTn id="56" dur="1" fill="hold">
                                          <p:stCondLst>
                                            <p:cond delay="0"/>
                                          </p:stCondLst>
                                        </p:cTn>
                                        <p:tgtEl>
                                          <p:spTgt spid="18"/>
                                        </p:tgtEl>
                                        <p:attrNameLst>
                                          <p:attrName>style.visibility</p:attrName>
                                        </p:attrNameLst>
                                      </p:cBhvr>
                                      <p:to>
                                        <p:strVal val="visible"/>
                                      </p:to>
                                    </p:set>
                                    <p:animEffect transition="in" filter="wipe(down)">
                                      <p:cBhvr>
                                        <p:cTn id="57" dur="500"/>
                                        <p:tgtEl>
                                          <p:spTgt spid="18"/>
                                        </p:tgtEl>
                                      </p:cBhvr>
                                    </p:animEffect>
                                  </p:childTnLst>
                                </p:cTn>
                              </p:par>
                            </p:childTnLst>
                          </p:cTn>
                        </p:par>
                        <p:par>
                          <p:cTn id="58" fill="hold">
                            <p:stCondLst>
                              <p:cond delay="6000"/>
                            </p:stCondLst>
                            <p:childTnLst>
                              <p:par>
                                <p:cTn id="59" presetID="22" presetClass="entr" presetSubtype="8" fill="hold" grpId="0" nodeType="afterEffect">
                                  <p:stCondLst>
                                    <p:cond delay="0"/>
                                  </p:stCondLst>
                                  <p:childTnLst>
                                    <p:set>
                                      <p:cBhvr>
                                        <p:cTn id="60" dur="1" fill="hold">
                                          <p:stCondLst>
                                            <p:cond delay="0"/>
                                          </p:stCondLst>
                                        </p:cTn>
                                        <p:tgtEl>
                                          <p:spTgt spid="46"/>
                                        </p:tgtEl>
                                        <p:attrNameLst>
                                          <p:attrName>style.visibility</p:attrName>
                                        </p:attrNameLst>
                                      </p:cBhvr>
                                      <p:to>
                                        <p:strVal val="visible"/>
                                      </p:to>
                                    </p:set>
                                    <p:animEffect transition="in" filter="wipe(left)">
                                      <p:cBhvr>
                                        <p:cTn id="61" dur="500"/>
                                        <p:tgtEl>
                                          <p:spTgt spid="46"/>
                                        </p:tgtEl>
                                      </p:cBhvr>
                                    </p:animEffect>
                                  </p:childTnLst>
                                </p:cTn>
                              </p:par>
                            </p:childTnLst>
                          </p:cTn>
                        </p:par>
                        <p:par>
                          <p:cTn id="62" fill="hold">
                            <p:stCondLst>
                              <p:cond delay="6500"/>
                            </p:stCondLst>
                            <p:childTnLst>
                              <p:par>
                                <p:cTn id="63" presetID="42" presetClass="entr" presetSubtype="0" fill="hold" grpId="0" nodeType="afterEffect">
                                  <p:stCondLst>
                                    <p:cond delay="0"/>
                                  </p:stCondLst>
                                  <p:childTnLst>
                                    <p:set>
                                      <p:cBhvr>
                                        <p:cTn id="64" dur="1" fill="hold">
                                          <p:stCondLst>
                                            <p:cond delay="0"/>
                                          </p:stCondLst>
                                        </p:cTn>
                                        <p:tgtEl>
                                          <p:spTgt spid="45"/>
                                        </p:tgtEl>
                                        <p:attrNameLst>
                                          <p:attrName>style.visibility</p:attrName>
                                        </p:attrNameLst>
                                      </p:cBhvr>
                                      <p:to>
                                        <p:strVal val="visible"/>
                                      </p:to>
                                    </p:set>
                                    <p:animEffect transition="in" filter="fade">
                                      <p:cBhvr>
                                        <p:cTn id="65" dur="500"/>
                                        <p:tgtEl>
                                          <p:spTgt spid="45"/>
                                        </p:tgtEl>
                                      </p:cBhvr>
                                    </p:animEffect>
                                    <p:anim calcmode="lin" valueType="num">
                                      <p:cBhvr>
                                        <p:cTn id="66" dur="500" fill="hold"/>
                                        <p:tgtEl>
                                          <p:spTgt spid="45"/>
                                        </p:tgtEl>
                                        <p:attrNameLst>
                                          <p:attrName>ppt_x</p:attrName>
                                        </p:attrNameLst>
                                      </p:cBhvr>
                                      <p:tavLst>
                                        <p:tav tm="0">
                                          <p:val>
                                            <p:strVal val="#ppt_x"/>
                                          </p:val>
                                        </p:tav>
                                        <p:tav tm="100000">
                                          <p:val>
                                            <p:strVal val="#ppt_x"/>
                                          </p:val>
                                        </p:tav>
                                      </p:tavLst>
                                    </p:anim>
                                    <p:anim calcmode="lin" valueType="num">
                                      <p:cBhvr>
                                        <p:cTn id="67" dur="500" fill="hold"/>
                                        <p:tgtEl>
                                          <p:spTgt spid="45"/>
                                        </p:tgtEl>
                                        <p:attrNameLst>
                                          <p:attrName>ppt_y</p:attrName>
                                        </p:attrNameLst>
                                      </p:cBhvr>
                                      <p:tavLst>
                                        <p:tav tm="0">
                                          <p:val>
                                            <p:strVal val="#ppt_y+.1"/>
                                          </p:val>
                                        </p:tav>
                                        <p:tav tm="100000">
                                          <p:val>
                                            <p:strVal val="#ppt_y"/>
                                          </p:val>
                                        </p:tav>
                                      </p:tavLst>
                                    </p:anim>
                                  </p:childTnLst>
                                </p:cTn>
                              </p:par>
                            </p:childTnLst>
                          </p:cTn>
                        </p:par>
                        <p:par>
                          <p:cTn id="68" fill="hold">
                            <p:stCondLst>
                              <p:cond delay="7000"/>
                            </p:stCondLst>
                            <p:childTnLst>
                              <p:par>
                                <p:cTn id="69" presetID="22" presetClass="entr" presetSubtype="4" fill="hold" nodeType="afterEffect">
                                  <p:stCondLst>
                                    <p:cond delay="0"/>
                                  </p:stCondLst>
                                  <p:childTnLst>
                                    <p:set>
                                      <p:cBhvr>
                                        <p:cTn id="70" dur="1" fill="hold">
                                          <p:stCondLst>
                                            <p:cond delay="0"/>
                                          </p:stCondLst>
                                        </p:cTn>
                                        <p:tgtEl>
                                          <p:spTgt spid="26"/>
                                        </p:tgtEl>
                                        <p:attrNameLst>
                                          <p:attrName>style.visibility</p:attrName>
                                        </p:attrNameLst>
                                      </p:cBhvr>
                                      <p:to>
                                        <p:strVal val="visible"/>
                                      </p:to>
                                    </p:set>
                                    <p:animEffect transition="in" filter="wipe(down)">
                                      <p:cBhvr>
                                        <p:cTn id="71" dur="500"/>
                                        <p:tgtEl>
                                          <p:spTgt spid="26"/>
                                        </p:tgtEl>
                                      </p:cBhvr>
                                    </p:animEffect>
                                  </p:childTnLst>
                                </p:cTn>
                              </p:par>
                            </p:childTnLst>
                          </p:cTn>
                        </p:par>
                        <p:par>
                          <p:cTn id="72" fill="hold">
                            <p:stCondLst>
                              <p:cond delay="7500"/>
                            </p:stCondLst>
                            <p:childTnLst>
                              <p:par>
                                <p:cTn id="73" presetID="22" presetClass="entr" presetSubtype="8" fill="hold" grpId="0" nodeType="afterEffect">
                                  <p:stCondLst>
                                    <p:cond delay="0"/>
                                  </p:stCondLst>
                                  <p:childTnLst>
                                    <p:set>
                                      <p:cBhvr>
                                        <p:cTn id="74" dur="1" fill="hold">
                                          <p:stCondLst>
                                            <p:cond delay="0"/>
                                          </p:stCondLst>
                                        </p:cTn>
                                        <p:tgtEl>
                                          <p:spTgt spid="48"/>
                                        </p:tgtEl>
                                        <p:attrNameLst>
                                          <p:attrName>style.visibility</p:attrName>
                                        </p:attrNameLst>
                                      </p:cBhvr>
                                      <p:to>
                                        <p:strVal val="visible"/>
                                      </p:to>
                                    </p:set>
                                    <p:animEffect transition="in" filter="wipe(left)">
                                      <p:cBhvr>
                                        <p:cTn id="75" dur="500"/>
                                        <p:tgtEl>
                                          <p:spTgt spid="48"/>
                                        </p:tgtEl>
                                      </p:cBhvr>
                                    </p:animEffect>
                                  </p:childTnLst>
                                </p:cTn>
                              </p:par>
                            </p:childTnLst>
                          </p:cTn>
                        </p:par>
                        <p:par>
                          <p:cTn id="76" fill="hold">
                            <p:stCondLst>
                              <p:cond delay="8000"/>
                            </p:stCondLst>
                            <p:childTnLst>
                              <p:par>
                                <p:cTn id="77" presetID="42" presetClass="entr" presetSubtype="0" fill="hold" grpId="0" nodeType="afterEffect">
                                  <p:stCondLst>
                                    <p:cond delay="0"/>
                                  </p:stCondLst>
                                  <p:childTnLst>
                                    <p:set>
                                      <p:cBhvr>
                                        <p:cTn id="78" dur="1" fill="hold">
                                          <p:stCondLst>
                                            <p:cond delay="0"/>
                                          </p:stCondLst>
                                        </p:cTn>
                                        <p:tgtEl>
                                          <p:spTgt spid="47"/>
                                        </p:tgtEl>
                                        <p:attrNameLst>
                                          <p:attrName>style.visibility</p:attrName>
                                        </p:attrNameLst>
                                      </p:cBhvr>
                                      <p:to>
                                        <p:strVal val="visible"/>
                                      </p:to>
                                    </p:set>
                                    <p:animEffect transition="in" filter="fade">
                                      <p:cBhvr>
                                        <p:cTn id="79" dur="500"/>
                                        <p:tgtEl>
                                          <p:spTgt spid="47"/>
                                        </p:tgtEl>
                                      </p:cBhvr>
                                    </p:animEffect>
                                    <p:anim calcmode="lin" valueType="num">
                                      <p:cBhvr>
                                        <p:cTn id="80" dur="500" fill="hold"/>
                                        <p:tgtEl>
                                          <p:spTgt spid="47"/>
                                        </p:tgtEl>
                                        <p:attrNameLst>
                                          <p:attrName>ppt_x</p:attrName>
                                        </p:attrNameLst>
                                      </p:cBhvr>
                                      <p:tavLst>
                                        <p:tav tm="0">
                                          <p:val>
                                            <p:strVal val="#ppt_x"/>
                                          </p:val>
                                        </p:tav>
                                        <p:tav tm="100000">
                                          <p:val>
                                            <p:strVal val="#ppt_x"/>
                                          </p:val>
                                        </p:tav>
                                      </p:tavLst>
                                    </p:anim>
                                    <p:anim calcmode="lin" valueType="num">
                                      <p:cBhvr>
                                        <p:cTn id="81" dur="500" fill="hold"/>
                                        <p:tgtEl>
                                          <p:spTgt spid="4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38" grpId="0"/>
      <p:bldP spid="39" grpId="0"/>
      <p:bldP spid="40" grpId="0"/>
      <p:bldP spid="41" grpId="0"/>
      <p:bldP spid="42" grpId="0"/>
      <p:bldP spid="43" grpId="0"/>
      <p:bldP spid="44" grpId="0"/>
      <p:bldP spid="45" grpId="0"/>
      <p:bldP spid="46" grpId="0"/>
      <p:bldP spid="47" grpId="0"/>
      <p:bldP spid="48" grpId="0"/>
    </p:bldLst>
  </p:timing>
</p:sld>
</file>

<file path=ppt/slides/slide6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Straight Arrow Connector 19">
            <a:extLst>
              <a:ext uri="{FF2B5EF4-FFF2-40B4-BE49-F238E27FC236}">
                <a16:creationId xmlns:a16="http://schemas.microsoft.com/office/drawing/2014/main" id="{26EA4233-848C-439F-A463-4AF2D2842743}"/>
              </a:ext>
            </a:extLst>
          </p:cNvPr>
          <p:cNvCxnSpPr>
            <a:cxnSpLocks/>
          </p:cNvCxnSpPr>
          <p:nvPr/>
        </p:nvCxnSpPr>
        <p:spPr>
          <a:xfrm flipV="1">
            <a:off x="10097182" y="860769"/>
            <a:ext cx="506412" cy="1"/>
          </a:xfrm>
          <a:prstGeom prst="straightConnector1">
            <a:avLst/>
          </a:prstGeom>
          <a:ln w="38100">
            <a:solidFill>
              <a:schemeClr val="accent4">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 name="Straight Arrow Connector 17">
            <a:extLst>
              <a:ext uri="{FF2B5EF4-FFF2-40B4-BE49-F238E27FC236}">
                <a16:creationId xmlns:a16="http://schemas.microsoft.com/office/drawing/2014/main" id="{2566BCEC-83AC-4E14-A2A0-5B47BBA6C8F9}"/>
              </a:ext>
            </a:extLst>
          </p:cNvPr>
          <p:cNvCxnSpPr>
            <a:cxnSpLocks/>
          </p:cNvCxnSpPr>
          <p:nvPr/>
        </p:nvCxnSpPr>
        <p:spPr>
          <a:xfrm flipV="1">
            <a:off x="6305867" y="2101965"/>
            <a:ext cx="506412" cy="1"/>
          </a:xfrm>
          <a:prstGeom prst="straightConnector1">
            <a:avLst/>
          </a:prstGeom>
          <a:ln w="38100">
            <a:solidFill>
              <a:schemeClr val="accent5">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 name="Straight Arrow Connector 2">
            <a:extLst>
              <a:ext uri="{FF2B5EF4-FFF2-40B4-BE49-F238E27FC236}">
                <a16:creationId xmlns:a16="http://schemas.microsoft.com/office/drawing/2014/main" id="{9FBC2D38-6CB8-4D2E-9433-580E072B4537}"/>
              </a:ext>
            </a:extLst>
          </p:cNvPr>
          <p:cNvCxnSpPr>
            <a:cxnSpLocks/>
          </p:cNvCxnSpPr>
          <p:nvPr/>
        </p:nvCxnSpPr>
        <p:spPr>
          <a:xfrm flipV="1">
            <a:off x="2436295" y="2603713"/>
            <a:ext cx="506412" cy="1"/>
          </a:xfrm>
          <a:prstGeom prst="straightConnector1">
            <a:avLst/>
          </a:prstGeom>
          <a:ln w="38100">
            <a:solidFill>
              <a:schemeClr val="accent1">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5" name="Freeform 5">
            <a:extLst>
              <a:ext uri="{FF2B5EF4-FFF2-40B4-BE49-F238E27FC236}">
                <a16:creationId xmlns:a16="http://schemas.microsoft.com/office/drawing/2014/main" id="{309B8159-192F-4845-82FA-41ECCEE90C12}"/>
              </a:ext>
            </a:extLst>
          </p:cNvPr>
          <p:cNvSpPr>
            <a:spLocks/>
          </p:cNvSpPr>
          <p:nvPr/>
        </p:nvSpPr>
        <p:spPr bwMode="auto">
          <a:xfrm>
            <a:off x="1589" y="3438525"/>
            <a:ext cx="12218987" cy="3419475"/>
          </a:xfrm>
          <a:custGeom>
            <a:avLst/>
            <a:gdLst>
              <a:gd name="T0" fmla="*/ 4422 w 5120"/>
              <a:gd name="T1" fmla="*/ 265 h 1435"/>
              <a:gd name="T2" fmla="*/ 4414 w 5120"/>
              <a:gd name="T3" fmla="*/ 187 h 1435"/>
              <a:gd name="T4" fmla="*/ 4411 w 5120"/>
              <a:gd name="T5" fmla="*/ 173 h 1435"/>
              <a:gd name="T6" fmla="*/ 4358 w 5120"/>
              <a:gd name="T7" fmla="*/ 115 h 1435"/>
              <a:gd name="T8" fmla="*/ 4316 w 5120"/>
              <a:gd name="T9" fmla="*/ 100 h 1435"/>
              <a:gd name="T10" fmla="*/ 4257 w 5120"/>
              <a:gd name="T11" fmla="*/ 108 h 1435"/>
              <a:gd name="T12" fmla="*/ 4251 w 5120"/>
              <a:gd name="T13" fmla="*/ 92 h 1435"/>
              <a:gd name="T14" fmla="*/ 4203 w 5120"/>
              <a:gd name="T15" fmla="*/ 27 h 1435"/>
              <a:gd name="T16" fmla="*/ 4072 w 5120"/>
              <a:gd name="T17" fmla="*/ 32 h 1435"/>
              <a:gd name="T18" fmla="*/ 4008 w 5120"/>
              <a:gd name="T19" fmla="*/ 109 h 1435"/>
              <a:gd name="T20" fmla="*/ 3947 w 5120"/>
              <a:gd name="T21" fmla="*/ 85 h 1435"/>
              <a:gd name="T22" fmla="*/ 3843 w 5120"/>
              <a:gd name="T23" fmla="*/ 163 h 1435"/>
              <a:gd name="T24" fmla="*/ 3827 w 5120"/>
              <a:gd name="T25" fmla="*/ 206 h 1435"/>
              <a:gd name="T26" fmla="*/ 3829 w 5120"/>
              <a:gd name="T27" fmla="*/ 235 h 1435"/>
              <a:gd name="T28" fmla="*/ 3832 w 5120"/>
              <a:gd name="T29" fmla="*/ 265 h 1435"/>
              <a:gd name="T30" fmla="*/ 2784 w 5120"/>
              <a:gd name="T31" fmla="*/ 265 h 1435"/>
              <a:gd name="T32" fmla="*/ 2776 w 5120"/>
              <a:gd name="T33" fmla="*/ 187 h 1435"/>
              <a:gd name="T34" fmla="*/ 2773 w 5120"/>
              <a:gd name="T35" fmla="*/ 173 h 1435"/>
              <a:gd name="T36" fmla="*/ 2721 w 5120"/>
              <a:gd name="T37" fmla="*/ 115 h 1435"/>
              <a:gd name="T38" fmla="*/ 2679 w 5120"/>
              <a:gd name="T39" fmla="*/ 100 h 1435"/>
              <a:gd name="T40" fmla="*/ 2620 w 5120"/>
              <a:gd name="T41" fmla="*/ 108 h 1435"/>
              <a:gd name="T42" fmla="*/ 2613 w 5120"/>
              <a:gd name="T43" fmla="*/ 92 h 1435"/>
              <a:gd name="T44" fmla="*/ 2565 w 5120"/>
              <a:gd name="T45" fmla="*/ 27 h 1435"/>
              <a:gd name="T46" fmla="*/ 2435 w 5120"/>
              <a:gd name="T47" fmla="*/ 32 h 1435"/>
              <a:gd name="T48" fmla="*/ 2370 w 5120"/>
              <a:gd name="T49" fmla="*/ 109 h 1435"/>
              <a:gd name="T50" fmla="*/ 2310 w 5120"/>
              <a:gd name="T51" fmla="*/ 85 h 1435"/>
              <a:gd name="T52" fmla="*/ 2206 w 5120"/>
              <a:gd name="T53" fmla="*/ 163 h 1435"/>
              <a:gd name="T54" fmla="*/ 2190 w 5120"/>
              <a:gd name="T55" fmla="*/ 206 h 1435"/>
              <a:gd name="T56" fmla="*/ 2191 w 5120"/>
              <a:gd name="T57" fmla="*/ 235 h 1435"/>
              <a:gd name="T58" fmla="*/ 2194 w 5120"/>
              <a:gd name="T59" fmla="*/ 265 h 1435"/>
              <a:gd name="T60" fmla="*/ 1213 w 5120"/>
              <a:gd name="T61" fmla="*/ 265 h 1435"/>
              <a:gd name="T62" fmla="*/ 1204 w 5120"/>
              <a:gd name="T63" fmla="*/ 226 h 1435"/>
              <a:gd name="T64" fmla="*/ 1201 w 5120"/>
              <a:gd name="T65" fmla="*/ 211 h 1435"/>
              <a:gd name="T66" fmla="*/ 1149 w 5120"/>
              <a:gd name="T67" fmla="*/ 153 h 1435"/>
              <a:gd name="T68" fmla="*/ 1107 w 5120"/>
              <a:gd name="T69" fmla="*/ 139 h 1435"/>
              <a:gd name="T70" fmla="*/ 1048 w 5120"/>
              <a:gd name="T71" fmla="*/ 147 h 1435"/>
              <a:gd name="T72" fmla="*/ 1042 w 5120"/>
              <a:gd name="T73" fmla="*/ 131 h 1435"/>
              <a:gd name="T74" fmla="*/ 993 w 5120"/>
              <a:gd name="T75" fmla="*/ 66 h 1435"/>
              <a:gd name="T76" fmla="*/ 863 w 5120"/>
              <a:gd name="T77" fmla="*/ 71 h 1435"/>
              <a:gd name="T78" fmla="*/ 798 w 5120"/>
              <a:gd name="T79" fmla="*/ 148 h 1435"/>
              <a:gd name="T80" fmla="*/ 738 w 5120"/>
              <a:gd name="T81" fmla="*/ 124 h 1435"/>
              <a:gd name="T82" fmla="*/ 634 w 5120"/>
              <a:gd name="T83" fmla="*/ 202 h 1435"/>
              <a:gd name="T84" fmla="*/ 618 w 5120"/>
              <a:gd name="T85" fmla="*/ 244 h 1435"/>
              <a:gd name="T86" fmla="*/ 618 w 5120"/>
              <a:gd name="T87" fmla="*/ 265 h 1435"/>
              <a:gd name="T88" fmla="*/ 0 w 5120"/>
              <a:gd name="T89" fmla="*/ 265 h 1435"/>
              <a:gd name="T90" fmla="*/ 0 w 5120"/>
              <a:gd name="T91" fmla="*/ 1435 h 1435"/>
              <a:gd name="T92" fmla="*/ 5120 w 5120"/>
              <a:gd name="T93" fmla="*/ 1435 h 1435"/>
              <a:gd name="T94" fmla="*/ 5120 w 5120"/>
              <a:gd name="T95" fmla="*/ 265 h 1435"/>
              <a:gd name="T96" fmla="*/ 4422 w 5120"/>
              <a:gd name="T97" fmla="*/ 265 h 14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120" h="1435">
                <a:moveTo>
                  <a:pt x="4422" y="265"/>
                </a:moveTo>
                <a:cubicBezTo>
                  <a:pt x="4424" y="238"/>
                  <a:pt x="4422" y="212"/>
                  <a:pt x="4414" y="187"/>
                </a:cubicBezTo>
                <a:cubicBezTo>
                  <a:pt x="4413" y="182"/>
                  <a:pt x="4412" y="178"/>
                  <a:pt x="4411" y="173"/>
                </a:cubicBezTo>
                <a:cubicBezTo>
                  <a:pt x="4402" y="142"/>
                  <a:pt x="4382" y="121"/>
                  <a:pt x="4358" y="115"/>
                </a:cubicBezTo>
                <a:cubicBezTo>
                  <a:pt x="4345" y="107"/>
                  <a:pt x="4331" y="102"/>
                  <a:pt x="4316" y="100"/>
                </a:cubicBezTo>
                <a:cubicBezTo>
                  <a:pt x="4297" y="91"/>
                  <a:pt x="4276" y="94"/>
                  <a:pt x="4257" y="108"/>
                </a:cubicBezTo>
                <a:cubicBezTo>
                  <a:pt x="4254" y="101"/>
                  <a:pt x="4251" y="93"/>
                  <a:pt x="4251" y="92"/>
                </a:cubicBezTo>
                <a:cubicBezTo>
                  <a:pt x="4240" y="65"/>
                  <a:pt x="4225" y="42"/>
                  <a:pt x="4203" y="27"/>
                </a:cubicBezTo>
                <a:cubicBezTo>
                  <a:pt x="4163" y="0"/>
                  <a:pt x="4111" y="6"/>
                  <a:pt x="4072" y="32"/>
                </a:cubicBezTo>
                <a:cubicBezTo>
                  <a:pt x="4045" y="50"/>
                  <a:pt x="4025" y="78"/>
                  <a:pt x="4008" y="109"/>
                </a:cubicBezTo>
                <a:cubicBezTo>
                  <a:pt x="3992" y="92"/>
                  <a:pt x="3969" y="83"/>
                  <a:pt x="3947" y="85"/>
                </a:cubicBezTo>
                <a:cubicBezTo>
                  <a:pt x="3905" y="88"/>
                  <a:pt x="3864" y="118"/>
                  <a:pt x="3843" y="163"/>
                </a:cubicBezTo>
                <a:cubicBezTo>
                  <a:pt x="3835" y="175"/>
                  <a:pt x="3829" y="190"/>
                  <a:pt x="3827" y="206"/>
                </a:cubicBezTo>
                <a:cubicBezTo>
                  <a:pt x="3826" y="216"/>
                  <a:pt x="3826" y="226"/>
                  <a:pt x="3829" y="235"/>
                </a:cubicBezTo>
                <a:cubicBezTo>
                  <a:pt x="3829" y="245"/>
                  <a:pt x="3830" y="255"/>
                  <a:pt x="3832" y="265"/>
                </a:cubicBezTo>
                <a:cubicBezTo>
                  <a:pt x="2784" y="265"/>
                  <a:pt x="2784" y="265"/>
                  <a:pt x="2784" y="265"/>
                </a:cubicBezTo>
                <a:cubicBezTo>
                  <a:pt x="2787" y="238"/>
                  <a:pt x="2785" y="212"/>
                  <a:pt x="2776" y="187"/>
                </a:cubicBezTo>
                <a:cubicBezTo>
                  <a:pt x="2776" y="182"/>
                  <a:pt x="2775" y="178"/>
                  <a:pt x="2773" y="173"/>
                </a:cubicBezTo>
                <a:cubicBezTo>
                  <a:pt x="2765" y="142"/>
                  <a:pt x="2744" y="121"/>
                  <a:pt x="2721" y="115"/>
                </a:cubicBezTo>
                <a:cubicBezTo>
                  <a:pt x="2708" y="107"/>
                  <a:pt x="2694" y="102"/>
                  <a:pt x="2679" y="100"/>
                </a:cubicBezTo>
                <a:cubicBezTo>
                  <a:pt x="2659" y="91"/>
                  <a:pt x="2638" y="94"/>
                  <a:pt x="2620" y="108"/>
                </a:cubicBezTo>
                <a:cubicBezTo>
                  <a:pt x="2617" y="101"/>
                  <a:pt x="2614" y="93"/>
                  <a:pt x="2613" y="92"/>
                </a:cubicBezTo>
                <a:cubicBezTo>
                  <a:pt x="2602" y="65"/>
                  <a:pt x="2587" y="42"/>
                  <a:pt x="2565" y="27"/>
                </a:cubicBezTo>
                <a:cubicBezTo>
                  <a:pt x="2526" y="0"/>
                  <a:pt x="2474" y="6"/>
                  <a:pt x="2435" y="32"/>
                </a:cubicBezTo>
                <a:cubicBezTo>
                  <a:pt x="2408" y="50"/>
                  <a:pt x="2387" y="78"/>
                  <a:pt x="2370" y="109"/>
                </a:cubicBezTo>
                <a:cubicBezTo>
                  <a:pt x="2354" y="92"/>
                  <a:pt x="2332" y="83"/>
                  <a:pt x="2310" y="85"/>
                </a:cubicBezTo>
                <a:cubicBezTo>
                  <a:pt x="2267" y="88"/>
                  <a:pt x="2227" y="118"/>
                  <a:pt x="2206" y="163"/>
                </a:cubicBezTo>
                <a:cubicBezTo>
                  <a:pt x="2198" y="175"/>
                  <a:pt x="2192" y="190"/>
                  <a:pt x="2190" y="206"/>
                </a:cubicBezTo>
                <a:cubicBezTo>
                  <a:pt x="2189" y="216"/>
                  <a:pt x="2189" y="226"/>
                  <a:pt x="2191" y="235"/>
                </a:cubicBezTo>
                <a:cubicBezTo>
                  <a:pt x="2192" y="245"/>
                  <a:pt x="2193" y="255"/>
                  <a:pt x="2194" y="265"/>
                </a:cubicBezTo>
                <a:cubicBezTo>
                  <a:pt x="1213" y="265"/>
                  <a:pt x="1213" y="265"/>
                  <a:pt x="1213" y="265"/>
                </a:cubicBezTo>
                <a:cubicBezTo>
                  <a:pt x="1211" y="252"/>
                  <a:pt x="1209" y="239"/>
                  <a:pt x="1204" y="226"/>
                </a:cubicBezTo>
                <a:cubicBezTo>
                  <a:pt x="1204" y="221"/>
                  <a:pt x="1203" y="216"/>
                  <a:pt x="1201" y="211"/>
                </a:cubicBezTo>
                <a:cubicBezTo>
                  <a:pt x="1193" y="180"/>
                  <a:pt x="1172" y="159"/>
                  <a:pt x="1149" y="153"/>
                </a:cubicBezTo>
                <a:cubicBezTo>
                  <a:pt x="1136" y="145"/>
                  <a:pt x="1122" y="140"/>
                  <a:pt x="1107" y="139"/>
                </a:cubicBezTo>
                <a:cubicBezTo>
                  <a:pt x="1087" y="130"/>
                  <a:pt x="1066" y="133"/>
                  <a:pt x="1048" y="147"/>
                </a:cubicBezTo>
                <a:cubicBezTo>
                  <a:pt x="1045" y="140"/>
                  <a:pt x="1042" y="132"/>
                  <a:pt x="1042" y="131"/>
                </a:cubicBezTo>
                <a:cubicBezTo>
                  <a:pt x="1030" y="104"/>
                  <a:pt x="1015" y="81"/>
                  <a:pt x="993" y="66"/>
                </a:cubicBezTo>
                <a:cubicBezTo>
                  <a:pt x="954" y="39"/>
                  <a:pt x="902" y="44"/>
                  <a:pt x="863" y="71"/>
                </a:cubicBezTo>
                <a:cubicBezTo>
                  <a:pt x="836" y="89"/>
                  <a:pt x="815" y="117"/>
                  <a:pt x="798" y="148"/>
                </a:cubicBezTo>
                <a:cubicBezTo>
                  <a:pt x="782" y="131"/>
                  <a:pt x="760" y="122"/>
                  <a:pt x="738" y="124"/>
                </a:cubicBezTo>
                <a:cubicBezTo>
                  <a:pt x="695" y="127"/>
                  <a:pt x="655" y="157"/>
                  <a:pt x="634" y="202"/>
                </a:cubicBezTo>
                <a:cubicBezTo>
                  <a:pt x="626" y="214"/>
                  <a:pt x="620" y="228"/>
                  <a:pt x="618" y="244"/>
                </a:cubicBezTo>
                <a:cubicBezTo>
                  <a:pt x="617" y="252"/>
                  <a:pt x="617" y="258"/>
                  <a:pt x="618" y="265"/>
                </a:cubicBezTo>
                <a:cubicBezTo>
                  <a:pt x="0" y="265"/>
                  <a:pt x="0" y="265"/>
                  <a:pt x="0" y="265"/>
                </a:cubicBezTo>
                <a:cubicBezTo>
                  <a:pt x="0" y="1435"/>
                  <a:pt x="0" y="1435"/>
                  <a:pt x="0" y="1435"/>
                </a:cubicBezTo>
                <a:cubicBezTo>
                  <a:pt x="5120" y="1435"/>
                  <a:pt x="5120" y="1435"/>
                  <a:pt x="5120" y="1435"/>
                </a:cubicBezTo>
                <a:cubicBezTo>
                  <a:pt x="5120" y="265"/>
                  <a:pt x="5120" y="265"/>
                  <a:pt x="5120" y="265"/>
                </a:cubicBezTo>
                <a:lnTo>
                  <a:pt x="4422" y="265"/>
                </a:lnTo>
                <a:close/>
              </a:path>
            </a:pathLst>
          </a:custGeom>
          <a:solidFill>
            <a:schemeClr val="tx1">
              <a:lumMod val="85000"/>
              <a:lumOff val="1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6" name="Freeform 9">
            <a:extLst>
              <a:ext uri="{FF2B5EF4-FFF2-40B4-BE49-F238E27FC236}">
                <a16:creationId xmlns:a16="http://schemas.microsoft.com/office/drawing/2014/main" id="{62A5DC8C-921E-4D32-856C-D38E22DBCA3B}"/>
              </a:ext>
            </a:extLst>
          </p:cNvPr>
          <p:cNvSpPr>
            <a:spLocks/>
          </p:cNvSpPr>
          <p:nvPr/>
        </p:nvSpPr>
        <p:spPr bwMode="auto">
          <a:xfrm>
            <a:off x="1944690" y="2576513"/>
            <a:ext cx="520700" cy="1198563"/>
          </a:xfrm>
          <a:custGeom>
            <a:avLst/>
            <a:gdLst>
              <a:gd name="T0" fmla="*/ 204 w 218"/>
              <a:gd name="T1" fmla="*/ 4 h 503"/>
              <a:gd name="T2" fmla="*/ 99 w 218"/>
              <a:gd name="T3" fmla="*/ 193 h 503"/>
              <a:gd name="T4" fmla="*/ 83 w 218"/>
              <a:gd name="T5" fmla="*/ 157 h 503"/>
              <a:gd name="T6" fmla="*/ 15 w 218"/>
              <a:gd name="T7" fmla="*/ 62 h 503"/>
              <a:gd name="T8" fmla="*/ 5 w 218"/>
              <a:gd name="T9" fmla="*/ 72 h 503"/>
              <a:gd name="T10" fmla="*/ 62 w 218"/>
              <a:gd name="T11" fmla="*/ 169 h 503"/>
              <a:gd name="T12" fmla="*/ 78 w 218"/>
              <a:gd name="T13" fmla="*/ 219 h 503"/>
              <a:gd name="T14" fmla="*/ 89 w 218"/>
              <a:gd name="T15" fmla="*/ 255 h 503"/>
              <a:gd name="T16" fmla="*/ 80 w 218"/>
              <a:gd name="T17" fmla="*/ 338 h 503"/>
              <a:gd name="T18" fmla="*/ 91 w 218"/>
              <a:gd name="T19" fmla="*/ 490 h 503"/>
              <a:gd name="T20" fmla="*/ 113 w 218"/>
              <a:gd name="T21" fmla="*/ 487 h 503"/>
              <a:gd name="T22" fmla="*/ 109 w 218"/>
              <a:gd name="T23" fmla="*/ 353 h 503"/>
              <a:gd name="T24" fmla="*/ 117 w 218"/>
              <a:gd name="T25" fmla="*/ 211 h 503"/>
              <a:gd name="T26" fmla="*/ 211 w 218"/>
              <a:gd name="T27" fmla="*/ 16 h 503"/>
              <a:gd name="T28" fmla="*/ 204 w 218"/>
              <a:gd name="T29" fmla="*/ 4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8" h="503">
                <a:moveTo>
                  <a:pt x="204" y="4"/>
                </a:moveTo>
                <a:cubicBezTo>
                  <a:pt x="134" y="41"/>
                  <a:pt x="112" y="121"/>
                  <a:pt x="99" y="193"/>
                </a:cubicBezTo>
                <a:cubicBezTo>
                  <a:pt x="94" y="180"/>
                  <a:pt x="88" y="167"/>
                  <a:pt x="83" y="157"/>
                </a:cubicBezTo>
                <a:cubicBezTo>
                  <a:pt x="66" y="121"/>
                  <a:pt x="43" y="90"/>
                  <a:pt x="15" y="62"/>
                </a:cubicBezTo>
                <a:cubicBezTo>
                  <a:pt x="9" y="55"/>
                  <a:pt x="0" y="65"/>
                  <a:pt x="5" y="72"/>
                </a:cubicBezTo>
                <a:cubicBezTo>
                  <a:pt x="28" y="101"/>
                  <a:pt x="47" y="135"/>
                  <a:pt x="62" y="169"/>
                </a:cubicBezTo>
                <a:cubicBezTo>
                  <a:pt x="68" y="185"/>
                  <a:pt x="74" y="202"/>
                  <a:pt x="78" y="219"/>
                </a:cubicBezTo>
                <a:cubicBezTo>
                  <a:pt x="82" y="231"/>
                  <a:pt x="84" y="244"/>
                  <a:pt x="89" y="255"/>
                </a:cubicBezTo>
                <a:cubicBezTo>
                  <a:pt x="85" y="282"/>
                  <a:pt x="82" y="310"/>
                  <a:pt x="80" y="338"/>
                </a:cubicBezTo>
                <a:cubicBezTo>
                  <a:pt x="77" y="389"/>
                  <a:pt x="76" y="441"/>
                  <a:pt x="91" y="490"/>
                </a:cubicBezTo>
                <a:cubicBezTo>
                  <a:pt x="95" y="503"/>
                  <a:pt x="112" y="500"/>
                  <a:pt x="113" y="487"/>
                </a:cubicBezTo>
                <a:cubicBezTo>
                  <a:pt x="115" y="443"/>
                  <a:pt x="110" y="398"/>
                  <a:pt x="109" y="353"/>
                </a:cubicBezTo>
                <a:cubicBezTo>
                  <a:pt x="108" y="306"/>
                  <a:pt x="109" y="258"/>
                  <a:pt x="117" y="211"/>
                </a:cubicBezTo>
                <a:cubicBezTo>
                  <a:pt x="128" y="141"/>
                  <a:pt x="145" y="55"/>
                  <a:pt x="211" y="16"/>
                </a:cubicBezTo>
                <a:cubicBezTo>
                  <a:pt x="218" y="12"/>
                  <a:pt x="211" y="0"/>
                  <a:pt x="204" y="4"/>
                </a:cubicBez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7" name="Freeform 10">
            <a:extLst>
              <a:ext uri="{FF2B5EF4-FFF2-40B4-BE49-F238E27FC236}">
                <a16:creationId xmlns:a16="http://schemas.microsoft.com/office/drawing/2014/main" id="{62530D39-515A-4529-ABD9-68CC7230EF60}"/>
              </a:ext>
            </a:extLst>
          </p:cNvPr>
          <p:cNvSpPr>
            <a:spLocks noEditPoints="1"/>
          </p:cNvSpPr>
          <p:nvPr/>
        </p:nvSpPr>
        <p:spPr bwMode="auto">
          <a:xfrm>
            <a:off x="5151437" y="2006600"/>
            <a:ext cx="1568451" cy="1801813"/>
          </a:xfrm>
          <a:custGeom>
            <a:avLst/>
            <a:gdLst>
              <a:gd name="T0" fmla="*/ 644 w 657"/>
              <a:gd name="T1" fmla="*/ 247 h 756"/>
              <a:gd name="T2" fmla="*/ 422 w 657"/>
              <a:gd name="T3" fmla="*/ 284 h 756"/>
              <a:gd name="T4" fmla="*/ 426 w 657"/>
              <a:gd name="T5" fmla="*/ 279 h 756"/>
              <a:gd name="T6" fmla="*/ 476 w 657"/>
              <a:gd name="T7" fmla="*/ 202 h 756"/>
              <a:gd name="T8" fmla="*/ 499 w 657"/>
              <a:gd name="T9" fmla="*/ 14 h 756"/>
              <a:gd name="T10" fmla="*/ 492 w 657"/>
              <a:gd name="T11" fmla="*/ 7 h 756"/>
              <a:gd name="T12" fmla="*/ 480 w 657"/>
              <a:gd name="T13" fmla="*/ 3 h 756"/>
              <a:gd name="T14" fmla="*/ 347 w 657"/>
              <a:gd name="T15" fmla="*/ 111 h 756"/>
              <a:gd name="T16" fmla="*/ 307 w 657"/>
              <a:gd name="T17" fmla="*/ 275 h 756"/>
              <a:gd name="T18" fmla="*/ 223 w 657"/>
              <a:gd name="T19" fmla="*/ 210 h 756"/>
              <a:gd name="T20" fmla="*/ 125 w 657"/>
              <a:gd name="T21" fmla="*/ 173 h 756"/>
              <a:gd name="T22" fmla="*/ 71 w 657"/>
              <a:gd name="T23" fmla="*/ 165 h 756"/>
              <a:gd name="T24" fmla="*/ 17 w 657"/>
              <a:gd name="T25" fmla="*/ 167 h 756"/>
              <a:gd name="T26" fmla="*/ 14 w 657"/>
              <a:gd name="T27" fmla="*/ 191 h 756"/>
              <a:gd name="T28" fmla="*/ 105 w 657"/>
              <a:gd name="T29" fmla="*/ 221 h 756"/>
              <a:gd name="T30" fmla="*/ 187 w 657"/>
              <a:gd name="T31" fmla="*/ 265 h 756"/>
              <a:gd name="T32" fmla="*/ 257 w 657"/>
              <a:gd name="T33" fmla="*/ 322 h 756"/>
              <a:gd name="T34" fmla="*/ 315 w 657"/>
              <a:gd name="T35" fmla="*/ 380 h 756"/>
              <a:gd name="T36" fmla="*/ 318 w 657"/>
              <a:gd name="T37" fmla="*/ 516 h 756"/>
              <a:gd name="T38" fmla="*/ 314 w 657"/>
              <a:gd name="T39" fmla="*/ 630 h 756"/>
              <a:gd name="T40" fmla="*/ 312 w 657"/>
              <a:gd name="T41" fmla="*/ 743 h 756"/>
              <a:gd name="T42" fmla="*/ 336 w 657"/>
              <a:gd name="T43" fmla="*/ 746 h 756"/>
              <a:gd name="T44" fmla="*/ 354 w 657"/>
              <a:gd name="T45" fmla="*/ 645 h 756"/>
              <a:gd name="T46" fmla="*/ 358 w 657"/>
              <a:gd name="T47" fmla="*/ 535 h 756"/>
              <a:gd name="T48" fmla="*/ 355 w 657"/>
              <a:gd name="T49" fmla="*/ 380 h 756"/>
              <a:gd name="T50" fmla="*/ 488 w 657"/>
              <a:gd name="T51" fmla="*/ 326 h 756"/>
              <a:gd name="T52" fmla="*/ 560 w 657"/>
              <a:gd name="T53" fmla="*/ 295 h 756"/>
              <a:gd name="T54" fmla="*/ 639 w 657"/>
              <a:gd name="T55" fmla="*/ 282 h 756"/>
              <a:gd name="T56" fmla="*/ 650 w 657"/>
              <a:gd name="T57" fmla="*/ 272 h 756"/>
              <a:gd name="T58" fmla="*/ 644 w 657"/>
              <a:gd name="T59" fmla="*/ 247 h 756"/>
              <a:gd name="T60" fmla="*/ 342 w 657"/>
              <a:gd name="T61" fmla="*/ 222 h 756"/>
              <a:gd name="T62" fmla="*/ 366 w 657"/>
              <a:gd name="T63" fmla="*/ 141 h 756"/>
              <a:gd name="T64" fmla="*/ 418 w 657"/>
              <a:gd name="T65" fmla="*/ 77 h 756"/>
              <a:gd name="T66" fmla="*/ 374 w 657"/>
              <a:gd name="T67" fmla="*/ 158 h 756"/>
              <a:gd name="T68" fmla="*/ 342 w 657"/>
              <a:gd name="T69" fmla="*/ 247 h 756"/>
              <a:gd name="T70" fmla="*/ 342 w 657"/>
              <a:gd name="T71" fmla="*/ 222 h 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57" h="756">
                <a:moveTo>
                  <a:pt x="644" y="247"/>
                </a:moveTo>
                <a:cubicBezTo>
                  <a:pt x="565" y="228"/>
                  <a:pt x="489" y="247"/>
                  <a:pt x="422" y="284"/>
                </a:cubicBezTo>
                <a:cubicBezTo>
                  <a:pt x="423" y="282"/>
                  <a:pt x="424" y="280"/>
                  <a:pt x="426" y="279"/>
                </a:cubicBezTo>
                <a:cubicBezTo>
                  <a:pt x="445" y="255"/>
                  <a:pt x="463" y="230"/>
                  <a:pt x="476" y="202"/>
                </a:cubicBezTo>
                <a:cubicBezTo>
                  <a:pt x="506" y="142"/>
                  <a:pt x="516" y="79"/>
                  <a:pt x="499" y="14"/>
                </a:cubicBezTo>
                <a:cubicBezTo>
                  <a:pt x="498" y="10"/>
                  <a:pt x="495" y="8"/>
                  <a:pt x="492" y="7"/>
                </a:cubicBezTo>
                <a:cubicBezTo>
                  <a:pt x="490" y="3"/>
                  <a:pt x="485" y="0"/>
                  <a:pt x="480" y="3"/>
                </a:cubicBezTo>
                <a:cubicBezTo>
                  <a:pt x="431" y="34"/>
                  <a:pt x="382" y="66"/>
                  <a:pt x="347" y="111"/>
                </a:cubicBezTo>
                <a:cubicBezTo>
                  <a:pt x="308" y="161"/>
                  <a:pt x="303" y="216"/>
                  <a:pt x="307" y="275"/>
                </a:cubicBezTo>
                <a:cubicBezTo>
                  <a:pt x="282" y="250"/>
                  <a:pt x="254" y="227"/>
                  <a:pt x="223" y="210"/>
                </a:cubicBezTo>
                <a:cubicBezTo>
                  <a:pt x="192" y="193"/>
                  <a:pt x="159" y="181"/>
                  <a:pt x="125" y="173"/>
                </a:cubicBezTo>
                <a:cubicBezTo>
                  <a:pt x="107" y="169"/>
                  <a:pt x="89" y="167"/>
                  <a:pt x="71" y="165"/>
                </a:cubicBezTo>
                <a:cubicBezTo>
                  <a:pt x="53" y="164"/>
                  <a:pt x="35" y="167"/>
                  <a:pt x="17" y="167"/>
                </a:cubicBezTo>
                <a:cubicBezTo>
                  <a:pt x="4" y="168"/>
                  <a:pt x="0" y="189"/>
                  <a:pt x="14" y="191"/>
                </a:cubicBezTo>
                <a:cubicBezTo>
                  <a:pt x="44" y="196"/>
                  <a:pt x="77" y="209"/>
                  <a:pt x="105" y="221"/>
                </a:cubicBezTo>
                <a:cubicBezTo>
                  <a:pt x="133" y="233"/>
                  <a:pt x="161" y="248"/>
                  <a:pt x="187" y="265"/>
                </a:cubicBezTo>
                <a:cubicBezTo>
                  <a:pt x="212" y="282"/>
                  <a:pt x="236" y="300"/>
                  <a:pt x="257" y="322"/>
                </a:cubicBezTo>
                <a:cubicBezTo>
                  <a:pt x="275" y="342"/>
                  <a:pt x="293" y="364"/>
                  <a:pt x="315" y="380"/>
                </a:cubicBezTo>
                <a:cubicBezTo>
                  <a:pt x="317" y="425"/>
                  <a:pt x="319" y="470"/>
                  <a:pt x="318" y="516"/>
                </a:cubicBezTo>
                <a:cubicBezTo>
                  <a:pt x="318" y="554"/>
                  <a:pt x="316" y="592"/>
                  <a:pt x="314" y="630"/>
                </a:cubicBezTo>
                <a:cubicBezTo>
                  <a:pt x="311" y="667"/>
                  <a:pt x="305" y="705"/>
                  <a:pt x="312" y="743"/>
                </a:cubicBezTo>
                <a:cubicBezTo>
                  <a:pt x="313" y="753"/>
                  <a:pt x="331" y="756"/>
                  <a:pt x="336" y="746"/>
                </a:cubicBezTo>
                <a:cubicBezTo>
                  <a:pt x="349" y="714"/>
                  <a:pt x="351" y="680"/>
                  <a:pt x="354" y="645"/>
                </a:cubicBezTo>
                <a:cubicBezTo>
                  <a:pt x="356" y="609"/>
                  <a:pt x="358" y="572"/>
                  <a:pt x="358" y="535"/>
                </a:cubicBezTo>
                <a:cubicBezTo>
                  <a:pt x="359" y="484"/>
                  <a:pt x="358" y="432"/>
                  <a:pt x="355" y="380"/>
                </a:cubicBezTo>
                <a:cubicBezTo>
                  <a:pt x="402" y="369"/>
                  <a:pt x="445" y="347"/>
                  <a:pt x="488" y="326"/>
                </a:cubicBezTo>
                <a:cubicBezTo>
                  <a:pt x="511" y="315"/>
                  <a:pt x="535" y="304"/>
                  <a:pt x="560" y="295"/>
                </a:cubicBezTo>
                <a:cubicBezTo>
                  <a:pt x="586" y="287"/>
                  <a:pt x="612" y="287"/>
                  <a:pt x="639" y="282"/>
                </a:cubicBezTo>
                <a:cubicBezTo>
                  <a:pt x="644" y="281"/>
                  <a:pt x="648" y="277"/>
                  <a:pt x="650" y="272"/>
                </a:cubicBezTo>
                <a:cubicBezTo>
                  <a:pt x="657" y="265"/>
                  <a:pt x="657" y="251"/>
                  <a:pt x="644" y="247"/>
                </a:cubicBezTo>
                <a:close/>
                <a:moveTo>
                  <a:pt x="342" y="222"/>
                </a:moveTo>
                <a:cubicBezTo>
                  <a:pt x="343" y="193"/>
                  <a:pt x="352" y="166"/>
                  <a:pt x="366" y="141"/>
                </a:cubicBezTo>
                <a:cubicBezTo>
                  <a:pt x="380" y="117"/>
                  <a:pt x="398" y="96"/>
                  <a:pt x="418" y="77"/>
                </a:cubicBezTo>
                <a:cubicBezTo>
                  <a:pt x="401" y="103"/>
                  <a:pt x="386" y="129"/>
                  <a:pt x="374" y="158"/>
                </a:cubicBezTo>
                <a:cubicBezTo>
                  <a:pt x="362" y="187"/>
                  <a:pt x="352" y="217"/>
                  <a:pt x="342" y="247"/>
                </a:cubicBezTo>
                <a:cubicBezTo>
                  <a:pt x="342" y="239"/>
                  <a:pt x="342" y="231"/>
                  <a:pt x="342" y="222"/>
                </a:cubicBezTo>
                <a:close/>
              </a:path>
            </a:pathLst>
          </a:custGeom>
          <a:solidFill>
            <a:schemeClr val="accent5">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8" name="Freeform 11">
            <a:extLst>
              <a:ext uri="{FF2B5EF4-FFF2-40B4-BE49-F238E27FC236}">
                <a16:creationId xmlns:a16="http://schemas.microsoft.com/office/drawing/2014/main" id="{AE2C3A1B-5B4C-4527-B5F0-D7E4F919F749}"/>
              </a:ext>
            </a:extLst>
          </p:cNvPr>
          <p:cNvSpPr>
            <a:spLocks noEditPoints="1"/>
          </p:cNvSpPr>
          <p:nvPr/>
        </p:nvSpPr>
        <p:spPr bwMode="auto">
          <a:xfrm>
            <a:off x="8823327" y="790578"/>
            <a:ext cx="1736725" cy="2917825"/>
          </a:xfrm>
          <a:custGeom>
            <a:avLst/>
            <a:gdLst>
              <a:gd name="T0" fmla="*/ 708 w 728"/>
              <a:gd name="T1" fmla="*/ 415 h 1225"/>
              <a:gd name="T2" fmla="*/ 485 w 728"/>
              <a:gd name="T3" fmla="*/ 558 h 1225"/>
              <a:gd name="T4" fmla="*/ 428 w 728"/>
              <a:gd name="T5" fmla="*/ 726 h 1225"/>
              <a:gd name="T6" fmla="*/ 410 w 728"/>
              <a:gd name="T7" fmla="*/ 768 h 1225"/>
              <a:gd name="T8" fmla="*/ 408 w 728"/>
              <a:gd name="T9" fmla="*/ 735 h 1225"/>
              <a:gd name="T10" fmla="*/ 401 w 728"/>
              <a:gd name="T11" fmla="*/ 499 h 1225"/>
              <a:gd name="T12" fmla="*/ 445 w 728"/>
              <a:gd name="T13" fmla="*/ 475 h 1225"/>
              <a:gd name="T14" fmla="*/ 675 w 728"/>
              <a:gd name="T15" fmla="*/ 185 h 1225"/>
              <a:gd name="T16" fmla="*/ 490 w 728"/>
              <a:gd name="T17" fmla="*/ 262 h 1225"/>
              <a:gd name="T18" fmla="*/ 399 w 728"/>
              <a:gd name="T19" fmla="*/ 433 h 1225"/>
              <a:gd name="T20" fmla="*/ 397 w 728"/>
              <a:gd name="T21" fmla="*/ 350 h 1225"/>
              <a:gd name="T22" fmla="*/ 530 w 728"/>
              <a:gd name="T23" fmla="*/ 189 h 1225"/>
              <a:gd name="T24" fmla="*/ 559 w 728"/>
              <a:gd name="T25" fmla="*/ 12 h 1225"/>
              <a:gd name="T26" fmla="*/ 534 w 728"/>
              <a:gd name="T27" fmla="*/ 4 h 1225"/>
              <a:gd name="T28" fmla="*/ 423 w 728"/>
              <a:gd name="T29" fmla="*/ 110 h 1225"/>
              <a:gd name="T30" fmla="*/ 380 w 728"/>
              <a:gd name="T31" fmla="*/ 275 h 1225"/>
              <a:gd name="T32" fmla="*/ 357 w 728"/>
              <a:gd name="T33" fmla="*/ 270 h 1225"/>
              <a:gd name="T34" fmla="*/ 142 w 728"/>
              <a:gd name="T35" fmla="*/ 144 h 1225"/>
              <a:gd name="T36" fmla="*/ 128 w 728"/>
              <a:gd name="T37" fmla="*/ 162 h 1225"/>
              <a:gd name="T38" fmla="*/ 307 w 728"/>
              <a:gd name="T39" fmla="*/ 355 h 1225"/>
              <a:gd name="T40" fmla="*/ 370 w 728"/>
              <a:gd name="T41" fmla="*/ 490 h 1225"/>
              <a:gd name="T42" fmla="*/ 368 w 728"/>
              <a:gd name="T43" fmla="*/ 564 h 1225"/>
              <a:gd name="T44" fmla="*/ 241 w 728"/>
              <a:gd name="T45" fmla="*/ 424 h 1225"/>
              <a:gd name="T46" fmla="*/ 25 w 728"/>
              <a:gd name="T47" fmla="*/ 348 h 1225"/>
              <a:gd name="T48" fmla="*/ 2 w 728"/>
              <a:gd name="T49" fmla="*/ 373 h 1225"/>
              <a:gd name="T50" fmla="*/ 241 w 728"/>
              <a:gd name="T51" fmla="*/ 625 h 1225"/>
              <a:gd name="T52" fmla="*/ 372 w 728"/>
              <a:gd name="T53" fmla="*/ 645 h 1225"/>
              <a:gd name="T54" fmla="*/ 382 w 728"/>
              <a:gd name="T55" fmla="*/ 968 h 1225"/>
              <a:gd name="T56" fmla="*/ 396 w 728"/>
              <a:gd name="T57" fmla="*/ 1145 h 1225"/>
              <a:gd name="T58" fmla="*/ 440 w 728"/>
              <a:gd name="T59" fmla="*/ 1200 h 1225"/>
              <a:gd name="T60" fmla="*/ 430 w 728"/>
              <a:gd name="T61" fmla="*/ 1082 h 1225"/>
              <a:gd name="T62" fmla="*/ 410 w 728"/>
              <a:gd name="T63" fmla="*/ 787 h 1225"/>
              <a:gd name="T64" fmla="*/ 418 w 728"/>
              <a:gd name="T65" fmla="*/ 789 h 1225"/>
              <a:gd name="T66" fmla="*/ 425 w 728"/>
              <a:gd name="T67" fmla="*/ 791 h 1225"/>
              <a:gd name="T68" fmla="*/ 548 w 728"/>
              <a:gd name="T69" fmla="*/ 761 h 1225"/>
              <a:gd name="T70" fmla="*/ 726 w 728"/>
              <a:gd name="T71" fmla="*/ 427 h 1225"/>
              <a:gd name="T72" fmla="*/ 647 w 728"/>
              <a:gd name="T73" fmla="*/ 202 h 1225"/>
              <a:gd name="T74" fmla="*/ 648 w 728"/>
              <a:gd name="T75" fmla="*/ 199 h 1225"/>
              <a:gd name="T76" fmla="*/ 520 w 728"/>
              <a:gd name="T77" fmla="*/ 291 h 1225"/>
              <a:gd name="T78" fmla="*/ 550 w 728"/>
              <a:gd name="T79" fmla="*/ 283 h 1225"/>
              <a:gd name="T80" fmla="*/ 493 w 728"/>
              <a:gd name="T81" fmla="*/ 327 h 1225"/>
              <a:gd name="T82" fmla="*/ 500 w 728"/>
              <a:gd name="T83" fmla="*/ 70 h 1225"/>
              <a:gd name="T84" fmla="*/ 518 w 728"/>
              <a:gd name="T85" fmla="*/ 51 h 1225"/>
              <a:gd name="T86" fmla="*/ 474 w 728"/>
              <a:gd name="T87" fmla="*/ 124 h 1225"/>
              <a:gd name="T88" fmla="*/ 429 w 728"/>
              <a:gd name="T89" fmla="*/ 196 h 1225"/>
              <a:gd name="T90" fmla="*/ 500 w 728"/>
              <a:gd name="T91" fmla="*/ 70 h 1225"/>
              <a:gd name="T92" fmla="*/ 313 w 728"/>
              <a:gd name="T93" fmla="*/ 291 h 1225"/>
              <a:gd name="T94" fmla="*/ 278 w 728"/>
              <a:gd name="T95" fmla="*/ 264 h 1225"/>
              <a:gd name="T96" fmla="*/ 197 w 728"/>
              <a:gd name="T97" fmla="*/ 212 h 1225"/>
              <a:gd name="T98" fmla="*/ 175 w 728"/>
              <a:gd name="T99" fmla="*/ 186 h 1225"/>
              <a:gd name="T100" fmla="*/ 335 w 728"/>
              <a:gd name="T101" fmla="*/ 300 h 1225"/>
              <a:gd name="T102" fmla="*/ 290 w 728"/>
              <a:gd name="T103" fmla="*/ 545 h 1225"/>
              <a:gd name="T104" fmla="*/ 319 w 728"/>
              <a:gd name="T105" fmla="*/ 583 h 1225"/>
              <a:gd name="T106" fmla="*/ 292 w 728"/>
              <a:gd name="T107" fmla="*/ 562 h 1225"/>
              <a:gd name="T108" fmla="*/ 107 w 728"/>
              <a:gd name="T109" fmla="*/ 430 h 1225"/>
              <a:gd name="T110" fmla="*/ 88 w 728"/>
              <a:gd name="T111" fmla="*/ 407 h 1225"/>
              <a:gd name="T112" fmla="*/ 212 w 728"/>
              <a:gd name="T113" fmla="*/ 466 h 1225"/>
              <a:gd name="T114" fmla="*/ 695 w 728"/>
              <a:gd name="T115" fmla="*/ 448 h 1225"/>
              <a:gd name="T116" fmla="*/ 695 w 728"/>
              <a:gd name="T117" fmla="*/ 448 h 1225"/>
              <a:gd name="T118" fmla="*/ 554 w 728"/>
              <a:gd name="T119" fmla="*/ 626 h 1225"/>
              <a:gd name="T120" fmla="*/ 644 w 728"/>
              <a:gd name="T121" fmla="*/ 509 h 1225"/>
              <a:gd name="T122" fmla="*/ 522 w 728"/>
              <a:gd name="T123" fmla="*/ 674 h 1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28" h="1225">
                <a:moveTo>
                  <a:pt x="710" y="415"/>
                </a:moveTo>
                <a:cubicBezTo>
                  <a:pt x="710" y="415"/>
                  <a:pt x="709" y="415"/>
                  <a:pt x="708" y="415"/>
                </a:cubicBezTo>
                <a:cubicBezTo>
                  <a:pt x="664" y="432"/>
                  <a:pt x="622" y="445"/>
                  <a:pt x="582" y="470"/>
                </a:cubicBezTo>
                <a:cubicBezTo>
                  <a:pt x="545" y="493"/>
                  <a:pt x="511" y="522"/>
                  <a:pt x="485" y="558"/>
                </a:cubicBezTo>
                <a:cubicBezTo>
                  <a:pt x="460" y="591"/>
                  <a:pt x="444" y="628"/>
                  <a:pt x="438" y="669"/>
                </a:cubicBezTo>
                <a:cubicBezTo>
                  <a:pt x="435" y="688"/>
                  <a:pt x="433" y="707"/>
                  <a:pt x="428" y="726"/>
                </a:cubicBezTo>
                <a:cubicBezTo>
                  <a:pt x="424" y="741"/>
                  <a:pt x="413" y="752"/>
                  <a:pt x="410" y="768"/>
                </a:cubicBezTo>
                <a:cubicBezTo>
                  <a:pt x="410" y="768"/>
                  <a:pt x="410" y="768"/>
                  <a:pt x="410" y="768"/>
                </a:cubicBezTo>
                <a:cubicBezTo>
                  <a:pt x="410" y="768"/>
                  <a:pt x="409" y="769"/>
                  <a:pt x="409" y="769"/>
                </a:cubicBezTo>
                <a:cubicBezTo>
                  <a:pt x="409" y="757"/>
                  <a:pt x="408" y="746"/>
                  <a:pt x="408" y="735"/>
                </a:cubicBezTo>
                <a:cubicBezTo>
                  <a:pt x="405" y="658"/>
                  <a:pt x="403" y="582"/>
                  <a:pt x="401" y="505"/>
                </a:cubicBezTo>
                <a:cubicBezTo>
                  <a:pt x="401" y="503"/>
                  <a:pt x="401" y="501"/>
                  <a:pt x="401" y="499"/>
                </a:cubicBezTo>
                <a:cubicBezTo>
                  <a:pt x="410" y="497"/>
                  <a:pt x="418" y="491"/>
                  <a:pt x="426" y="486"/>
                </a:cubicBezTo>
                <a:cubicBezTo>
                  <a:pt x="432" y="482"/>
                  <a:pt x="439" y="479"/>
                  <a:pt x="445" y="475"/>
                </a:cubicBezTo>
                <a:cubicBezTo>
                  <a:pt x="504" y="457"/>
                  <a:pt x="560" y="416"/>
                  <a:pt x="599" y="371"/>
                </a:cubicBezTo>
                <a:cubicBezTo>
                  <a:pt x="645" y="319"/>
                  <a:pt x="675" y="254"/>
                  <a:pt x="675" y="185"/>
                </a:cubicBezTo>
                <a:cubicBezTo>
                  <a:pt x="684" y="178"/>
                  <a:pt x="677" y="160"/>
                  <a:pt x="665" y="165"/>
                </a:cubicBezTo>
                <a:cubicBezTo>
                  <a:pt x="602" y="188"/>
                  <a:pt x="537" y="211"/>
                  <a:pt x="490" y="262"/>
                </a:cubicBezTo>
                <a:cubicBezTo>
                  <a:pt x="465" y="289"/>
                  <a:pt x="448" y="321"/>
                  <a:pt x="433" y="354"/>
                </a:cubicBezTo>
                <a:cubicBezTo>
                  <a:pt x="422" y="380"/>
                  <a:pt x="410" y="406"/>
                  <a:pt x="399" y="433"/>
                </a:cubicBezTo>
                <a:cubicBezTo>
                  <a:pt x="399" y="417"/>
                  <a:pt x="399" y="402"/>
                  <a:pt x="398" y="387"/>
                </a:cubicBezTo>
                <a:cubicBezTo>
                  <a:pt x="398" y="375"/>
                  <a:pt x="397" y="362"/>
                  <a:pt x="397" y="350"/>
                </a:cubicBezTo>
                <a:cubicBezTo>
                  <a:pt x="409" y="330"/>
                  <a:pt x="408" y="303"/>
                  <a:pt x="404" y="279"/>
                </a:cubicBezTo>
                <a:cubicBezTo>
                  <a:pt x="457" y="270"/>
                  <a:pt x="502" y="234"/>
                  <a:pt x="530" y="189"/>
                </a:cubicBezTo>
                <a:cubicBezTo>
                  <a:pt x="545" y="163"/>
                  <a:pt x="555" y="135"/>
                  <a:pt x="560" y="106"/>
                </a:cubicBezTo>
                <a:cubicBezTo>
                  <a:pt x="565" y="76"/>
                  <a:pt x="569" y="42"/>
                  <a:pt x="559" y="12"/>
                </a:cubicBezTo>
                <a:cubicBezTo>
                  <a:pt x="556" y="3"/>
                  <a:pt x="547" y="0"/>
                  <a:pt x="540" y="3"/>
                </a:cubicBezTo>
                <a:cubicBezTo>
                  <a:pt x="538" y="3"/>
                  <a:pt x="536" y="3"/>
                  <a:pt x="534" y="4"/>
                </a:cubicBezTo>
                <a:cubicBezTo>
                  <a:pt x="512" y="20"/>
                  <a:pt x="491" y="32"/>
                  <a:pt x="472" y="51"/>
                </a:cubicBezTo>
                <a:cubicBezTo>
                  <a:pt x="454" y="69"/>
                  <a:pt x="437" y="89"/>
                  <a:pt x="423" y="110"/>
                </a:cubicBezTo>
                <a:cubicBezTo>
                  <a:pt x="393" y="153"/>
                  <a:pt x="374" y="203"/>
                  <a:pt x="370" y="255"/>
                </a:cubicBezTo>
                <a:cubicBezTo>
                  <a:pt x="370" y="264"/>
                  <a:pt x="374" y="271"/>
                  <a:pt x="380" y="275"/>
                </a:cubicBezTo>
                <a:cubicBezTo>
                  <a:pt x="379" y="280"/>
                  <a:pt x="378" y="286"/>
                  <a:pt x="377" y="291"/>
                </a:cubicBezTo>
                <a:cubicBezTo>
                  <a:pt x="370" y="282"/>
                  <a:pt x="362" y="275"/>
                  <a:pt x="357" y="270"/>
                </a:cubicBezTo>
                <a:cubicBezTo>
                  <a:pt x="338" y="250"/>
                  <a:pt x="318" y="233"/>
                  <a:pt x="296" y="217"/>
                </a:cubicBezTo>
                <a:cubicBezTo>
                  <a:pt x="250" y="184"/>
                  <a:pt x="196" y="162"/>
                  <a:pt x="142" y="144"/>
                </a:cubicBezTo>
                <a:cubicBezTo>
                  <a:pt x="131" y="140"/>
                  <a:pt x="125" y="151"/>
                  <a:pt x="128" y="160"/>
                </a:cubicBezTo>
                <a:cubicBezTo>
                  <a:pt x="128" y="161"/>
                  <a:pt x="128" y="162"/>
                  <a:pt x="128" y="162"/>
                </a:cubicBezTo>
                <a:cubicBezTo>
                  <a:pt x="142" y="223"/>
                  <a:pt x="174" y="279"/>
                  <a:pt x="224" y="318"/>
                </a:cubicBezTo>
                <a:cubicBezTo>
                  <a:pt x="248" y="336"/>
                  <a:pt x="277" y="349"/>
                  <a:pt x="307" y="355"/>
                </a:cubicBezTo>
                <a:cubicBezTo>
                  <a:pt x="323" y="358"/>
                  <a:pt x="351" y="362"/>
                  <a:pt x="370" y="356"/>
                </a:cubicBezTo>
                <a:cubicBezTo>
                  <a:pt x="368" y="401"/>
                  <a:pt x="370" y="446"/>
                  <a:pt x="370" y="490"/>
                </a:cubicBezTo>
                <a:cubicBezTo>
                  <a:pt x="370" y="516"/>
                  <a:pt x="371" y="542"/>
                  <a:pt x="371" y="568"/>
                </a:cubicBezTo>
                <a:cubicBezTo>
                  <a:pt x="370" y="566"/>
                  <a:pt x="369" y="565"/>
                  <a:pt x="368" y="564"/>
                </a:cubicBezTo>
                <a:cubicBezTo>
                  <a:pt x="355" y="547"/>
                  <a:pt x="341" y="530"/>
                  <a:pt x="328" y="513"/>
                </a:cubicBezTo>
                <a:cubicBezTo>
                  <a:pt x="302" y="479"/>
                  <a:pt x="276" y="448"/>
                  <a:pt x="241" y="424"/>
                </a:cubicBezTo>
                <a:cubicBezTo>
                  <a:pt x="211" y="402"/>
                  <a:pt x="176" y="385"/>
                  <a:pt x="140" y="373"/>
                </a:cubicBezTo>
                <a:cubicBezTo>
                  <a:pt x="102" y="360"/>
                  <a:pt x="64" y="355"/>
                  <a:pt x="25" y="348"/>
                </a:cubicBezTo>
                <a:cubicBezTo>
                  <a:pt x="14" y="346"/>
                  <a:pt x="7" y="352"/>
                  <a:pt x="4" y="360"/>
                </a:cubicBezTo>
                <a:cubicBezTo>
                  <a:pt x="1" y="363"/>
                  <a:pt x="0" y="368"/>
                  <a:pt x="2" y="373"/>
                </a:cubicBezTo>
                <a:cubicBezTo>
                  <a:pt x="32" y="446"/>
                  <a:pt x="66" y="524"/>
                  <a:pt x="129" y="575"/>
                </a:cubicBezTo>
                <a:cubicBezTo>
                  <a:pt x="161" y="601"/>
                  <a:pt x="200" y="617"/>
                  <a:pt x="241" y="625"/>
                </a:cubicBezTo>
                <a:cubicBezTo>
                  <a:pt x="264" y="630"/>
                  <a:pt x="287" y="632"/>
                  <a:pt x="310" y="635"/>
                </a:cubicBezTo>
                <a:cubicBezTo>
                  <a:pt x="331" y="637"/>
                  <a:pt x="351" y="642"/>
                  <a:pt x="372" y="645"/>
                </a:cubicBezTo>
                <a:cubicBezTo>
                  <a:pt x="372" y="674"/>
                  <a:pt x="373" y="702"/>
                  <a:pt x="373" y="731"/>
                </a:cubicBezTo>
                <a:cubicBezTo>
                  <a:pt x="375" y="810"/>
                  <a:pt x="377" y="889"/>
                  <a:pt x="382" y="968"/>
                </a:cubicBezTo>
                <a:cubicBezTo>
                  <a:pt x="384" y="1007"/>
                  <a:pt x="387" y="1047"/>
                  <a:pt x="390" y="1086"/>
                </a:cubicBezTo>
                <a:cubicBezTo>
                  <a:pt x="392" y="1106"/>
                  <a:pt x="394" y="1125"/>
                  <a:pt x="396" y="1145"/>
                </a:cubicBezTo>
                <a:cubicBezTo>
                  <a:pt x="398" y="1165"/>
                  <a:pt x="398" y="1186"/>
                  <a:pt x="404" y="1205"/>
                </a:cubicBezTo>
                <a:cubicBezTo>
                  <a:pt x="411" y="1225"/>
                  <a:pt x="438" y="1220"/>
                  <a:pt x="440" y="1200"/>
                </a:cubicBezTo>
                <a:cubicBezTo>
                  <a:pt x="442" y="1180"/>
                  <a:pt x="437" y="1158"/>
                  <a:pt x="435" y="1137"/>
                </a:cubicBezTo>
                <a:cubicBezTo>
                  <a:pt x="433" y="1119"/>
                  <a:pt x="431" y="1101"/>
                  <a:pt x="430" y="1082"/>
                </a:cubicBezTo>
                <a:cubicBezTo>
                  <a:pt x="426" y="1043"/>
                  <a:pt x="423" y="1003"/>
                  <a:pt x="420" y="964"/>
                </a:cubicBezTo>
                <a:cubicBezTo>
                  <a:pt x="416" y="905"/>
                  <a:pt x="413" y="846"/>
                  <a:pt x="410" y="787"/>
                </a:cubicBezTo>
                <a:cubicBezTo>
                  <a:pt x="412" y="788"/>
                  <a:pt x="414" y="789"/>
                  <a:pt x="416" y="789"/>
                </a:cubicBezTo>
                <a:cubicBezTo>
                  <a:pt x="417" y="789"/>
                  <a:pt x="417" y="789"/>
                  <a:pt x="418" y="789"/>
                </a:cubicBezTo>
                <a:cubicBezTo>
                  <a:pt x="419" y="790"/>
                  <a:pt x="420" y="790"/>
                  <a:pt x="422" y="790"/>
                </a:cubicBezTo>
                <a:cubicBezTo>
                  <a:pt x="423" y="790"/>
                  <a:pt x="424" y="791"/>
                  <a:pt x="425" y="791"/>
                </a:cubicBezTo>
                <a:cubicBezTo>
                  <a:pt x="427" y="794"/>
                  <a:pt x="431" y="796"/>
                  <a:pt x="435" y="797"/>
                </a:cubicBezTo>
                <a:cubicBezTo>
                  <a:pt x="473" y="803"/>
                  <a:pt x="517" y="781"/>
                  <a:pt x="548" y="761"/>
                </a:cubicBezTo>
                <a:cubicBezTo>
                  <a:pt x="582" y="739"/>
                  <a:pt x="610" y="711"/>
                  <a:pt x="634" y="679"/>
                </a:cubicBezTo>
                <a:cubicBezTo>
                  <a:pt x="690" y="604"/>
                  <a:pt x="710" y="517"/>
                  <a:pt x="726" y="427"/>
                </a:cubicBezTo>
                <a:cubicBezTo>
                  <a:pt x="728" y="416"/>
                  <a:pt x="718" y="411"/>
                  <a:pt x="710" y="415"/>
                </a:cubicBezTo>
                <a:close/>
                <a:moveTo>
                  <a:pt x="647" y="202"/>
                </a:moveTo>
                <a:cubicBezTo>
                  <a:pt x="647" y="201"/>
                  <a:pt x="646" y="201"/>
                  <a:pt x="646" y="200"/>
                </a:cubicBezTo>
                <a:cubicBezTo>
                  <a:pt x="647" y="200"/>
                  <a:pt x="648" y="199"/>
                  <a:pt x="648" y="199"/>
                </a:cubicBezTo>
                <a:cubicBezTo>
                  <a:pt x="648" y="200"/>
                  <a:pt x="648" y="201"/>
                  <a:pt x="647" y="202"/>
                </a:cubicBezTo>
                <a:close/>
                <a:moveTo>
                  <a:pt x="520" y="291"/>
                </a:moveTo>
                <a:cubicBezTo>
                  <a:pt x="545" y="263"/>
                  <a:pt x="576" y="241"/>
                  <a:pt x="609" y="221"/>
                </a:cubicBezTo>
                <a:cubicBezTo>
                  <a:pt x="592" y="243"/>
                  <a:pt x="571" y="264"/>
                  <a:pt x="550" y="283"/>
                </a:cubicBezTo>
                <a:cubicBezTo>
                  <a:pt x="538" y="295"/>
                  <a:pt x="524" y="306"/>
                  <a:pt x="510" y="316"/>
                </a:cubicBezTo>
                <a:cubicBezTo>
                  <a:pt x="504" y="320"/>
                  <a:pt x="499" y="323"/>
                  <a:pt x="493" y="327"/>
                </a:cubicBezTo>
                <a:cubicBezTo>
                  <a:pt x="501" y="314"/>
                  <a:pt x="510" y="302"/>
                  <a:pt x="520" y="291"/>
                </a:cubicBezTo>
                <a:close/>
                <a:moveTo>
                  <a:pt x="500" y="70"/>
                </a:moveTo>
                <a:cubicBezTo>
                  <a:pt x="506" y="63"/>
                  <a:pt x="512" y="55"/>
                  <a:pt x="519" y="47"/>
                </a:cubicBezTo>
                <a:cubicBezTo>
                  <a:pt x="519" y="48"/>
                  <a:pt x="518" y="49"/>
                  <a:pt x="518" y="51"/>
                </a:cubicBezTo>
                <a:cubicBezTo>
                  <a:pt x="518" y="51"/>
                  <a:pt x="518" y="51"/>
                  <a:pt x="518" y="52"/>
                </a:cubicBezTo>
                <a:cubicBezTo>
                  <a:pt x="504" y="76"/>
                  <a:pt x="489" y="100"/>
                  <a:pt x="474" y="124"/>
                </a:cubicBezTo>
                <a:cubicBezTo>
                  <a:pt x="460" y="145"/>
                  <a:pt x="434" y="167"/>
                  <a:pt x="431" y="193"/>
                </a:cubicBezTo>
                <a:cubicBezTo>
                  <a:pt x="431" y="194"/>
                  <a:pt x="430" y="195"/>
                  <a:pt x="429" y="196"/>
                </a:cubicBezTo>
                <a:cubicBezTo>
                  <a:pt x="436" y="172"/>
                  <a:pt x="446" y="149"/>
                  <a:pt x="459" y="127"/>
                </a:cubicBezTo>
                <a:cubicBezTo>
                  <a:pt x="470" y="107"/>
                  <a:pt x="484" y="88"/>
                  <a:pt x="500" y="70"/>
                </a:cubicBezTo>
                <a:close/>
                <a:moveTo>
                  <a:pt x="335" y="300"/>
                </a:moveTo>
                <a:cubicBezTo>
                  <a:pt x="327" y="297"/>
                  <a:pt x="320" y="295"/>
                  <a:pt x="313" y="291"/>
                </a:cubicBezTo>
                <a:cubicBezTo>
                  <a:pt x="312" y="291"/>
                  <a:pt x="312" y="291"/>
                  <a:pt x="312" y="291"/>
                </a:cubicBezTo>
                <a:cubicBezTo>
                  <a:pt x="302" y="281"/>
                  <a:pt x="290" y="272"/>
                  <a:pt x="278" y="264"/>
                </a:cubicBezTo>
                <a:cubicBezTo>
                  <a:pt x="255" y="246"/>
                  <a:pt x="230" y="230"/>
                  <a:pt x="205" y="214"/>
                </a:cubicBezTo>
                <a:cubicBezTo>
                  <a:pt x="202" y="212"/>
                  <a:pt x="199" y="212"/>
                  <a:pt x="197" y="212"/>
                </a:cubicBezTo>
                <a:cubicBezTo>
                  <a:pt x="190" y="205"/>
                  <a:pt x="183" y="198"/>
                  <a:pt x="176" y="190"/>
                </a:cubicBezTo>
                <a:cubicBezTo>
                  <a:pt x="176" y="189"/>
                  <a:pt x="176" y="188"/>
                  <a:pt x="175" y="186"/>
                </a:cubicBezTo>
                <a:cubicBezTo>
                  <a:pt x="216" y="206"/>
                  <a:pt x="254" y="229"/>
                  <a:pt x="289" y="257"/>
                </a:cubicBezTo>
                <a:cubicBezTo>
                  <a:pt x="306" y="270"/>
                  <a:pt x="321" y="284"/>
                  <a:pt x="335" y="300"/>
                </a:cubicBezTo>
                <a:close/>
                <a:moveTo>
                  <a:pt x="212" y="466"/>
                </a:moveTo>
                <a:cubicBezTo>
                  <a:pt x="243" y="488"/>
                  <a:pt x="266" y="517"/>
                  <a:pt x="290" y="545"/>
                </a:cubicBezTo>
                <a:cubicBezTo>
                  <a:pt x="301" y="559"/>
                  <a:pt x="312" y="572"/>
                  <a:pt x="324" y="586"/>
                </a:cubicBezTo>
                <a:cubicBezTo>
                  <a:pt x="322" y="585"/>
                  <a:pt x="320" y="584"/>
                  <a:pt x="319" y="583"/>
                </a:cubicBezTo>
                <a:cubicBezTo>
                  <a:pt x="318" y="581"/>
                  <a:pt x="316" y="580"/>
                  <a:pt x="314" y="578"/>
                </a:cubicBezTo>
                <a:cubicBezTo>
                  <a:pt x="307" y="572"/>
                  <a:pt x="300" y="566"/>
                  <a:pt x="292" y="562"/>
                </a:cubicBezTo>
                <a:cubicBezTo>
                  <a:pt x="276" y="535"/>
                  <a:pt x="245" y="511"/>
                  <a:pt x="226" y="497"/>
                </a:cubicBezTo>
                <a:cubicBezTo>
                  <a:pt x="190" y="468"/>
                  <a:pt x="151" y="447"/>
                  <a:pt x="107" y="430"/>
                </a:cubicBezTo>
                <a:cubicBezTo>
                  <a:pt x="107" y="430"/>
                  <a:pt x="106" y="430"/>
                  <a:pt x="106" y="430"/>
                </a:cubicBezTo>
                <a:cubicBezTo>
                  <a:pt x="100" y="423"/>
                  <a:pt x="94" y="415"/>
                  <a:pt x="88" y="407"/>
                </a:cubicBezTo>
                <a:cubicBezTo>
                  <a:pt x="98" y="411"/>
                  <a:pt x="108" y="415"/>
                  <a:pt x="118" y="419"/>
                </a:cubicBezTo>
                <a:cubicBezTo>
                  <a:pt x="151" y="431"/>
                  <a:pt x="183" y="446"/>
                  <a:pt x="212" y="466"/>
                </a:cubicBezTo>
                <a:close/>
                <a:moveTo>
                  <a:pt x="695" y="448"/>
                </a:moveTo>
                <a:cubicBezTo>
                  <a:pt x="695" y="448"/>
                  <a:pt x="695" y="448"/>
                  <a:pt x="695" y="448"/>
                </a:cubicBezTo>
                <a:cubicBezTo>
                  <a:pt x="695" y="447"/>
                  <a:pt x="695" y="447"/>
                  <a:pt x="696" y="447"/>
                </a:cubicBezTo>
                <a:cubicBezTo>
                  <a:pt x="695" y="447"/>
                  <a:pt x="695" y="448"/>
                  <a:pt x="695" y="448"/>
                </a:cubicBezTo>
                <a:close/>
                <a:moveTo>
                  <a:pt x="527" y="662"/>
                </a:moveTo>
                <a:cubicBezTo>
                  <a:pt x="538" y="652"/>
                  <a:pt x="546" y="638"/>
                  <a:pt x="554" y="626"/>
                </a:cubicBezTo>
                <a:cubicBezTo>
                  <a:pt x="565" y="609"/>
                  <a:pt x="576" y="592"/>
                  <a:pt x="588" y="575"/>
                </a:cubicBezTo>
                <a:cubicBezTo>
                  <a:pt x="605" y="551"/>
                  <a:pt x="623" y="529"/>
                  <a:pt x="644" y="509"/>
                </a:cubicBezTo>
                <a:cubicBezTo>
                  <a:pt x="622" y="549"/>
                  <a:pt x="599" y="588"/>
                  <a:pt x="571" y="622"/>
                </a:cubicBezTo>
                <a:cubicBezTo>
                  <a:pt x="556" y="641"/>
                  <a:pt x="540" y="659"/>
                  <a:pt x="522" y="674"/>
                </a:cubicBezTo>
                <a:cubicBezTo>
                  <a:pt x="524" y="670"/>
                  <a:pt x="525" y="666"/>
                  <a:pt x="527" y="662"/>
                </a:cubicBezTo>
                <a:close/>
              </a:path>
            </a:pathLst>
          </a:custGeom>
          <a:solidFill>
            <a:schemeClr val="accent4">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9" name="TextBox 11">
            <a:extLst>
              <a:ext uri="{FF2B5EF4-FFF2-40B4-BE49-F238E27FC236}">
                <a16:creationId xmlns:a16="http://schemas.microsoft.com/office/drawing/2014/main" id="{E155E7DA-FBC9-47DB-A9BF-8CBDFEF7C3A3}"/>
              </a:ext>
            </a:extLst>
          </p:cNvPr>
          <p:cNvSpPr txBox="1"/>
          <p:nvPr/>
        </p:nvSpPr>
        <p:spPr>
          <a:xfrm>
            <a:off x="1427077" y="700741"/>
            <a:ext cx="4643207" cy="107721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000000">
                    <a:lumMod val="85000"/>
                    <a:lumOff val="15000"/>
                  </a:srgbClr>
                </a:solidFill>
                <a:effectLst/>
                <a:uLnTx/>
                <a:uFillTx/>
                <a:latin typeface="等线 Light" panose="020F0302020204030204"/>
                <a:ea typeface="+mn-ea"/>
                <a:cs typeface="+mn-cs"/>
              </a:rPr>
              <a:t>INFOGRAPHIC</a:t>
            </a:r>
            <a:r>
              <a:rPr kumimoji="0" lang="en-US" sz="3200" b="1" i="0" u="none" strike="noStrike" kern="1200" cap="none" spc="0" normalizeH="0" baseline="0" noProof="0" dirty="0">
                <a:ln>
                  <a:noFill/>
                </a:ln>
                <a:solidFill>
                  <a:srgbClr val="000000">
                    <a:lumMod val="85000"/>
                    <a:lumOff val="15000"/>
                  </a:srgbClr>
                </a:solidFill>
                <a:effectLst/>
                <a:uLnTx/>
                <a:uFillTx/>
                <a:latin typeface="等线" panose="020F0502020204030204"/>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000000">
                    <a:lumMod val="85000"/>
                    <a:lumOff val="15000"/>
                  </a:srgbClr>
                </a:solidFill>
                <a:effectLst/>
                <a:uLnTx/>
                <a:uFillTx/>
                <a:latin typeface="等线 Light" panose="020F0302020204030204"/>
                <a:ea typeface="+mn-ea"/>
                <a:cs typeface="+mn-cs"/>
              </a:rPr>
              <a:t>TREE</a:t>
            </a:r>
          </a:p>
        </p:txBody>
      </p:sp>
      <p:grpSp>
        <p:nvGrpSpPr>
          <p:cNvPr id="10" name="Group 1">
            <a:extLst>
              <a:ext uri="{FF2B5EF4-FFF2-40B4-BE49-F238E27FC236}">
                <a16:creationId xmlns:a16="http://schemas.microsoft.com/office/drawing/2014/main" id="{7FF8CDB2-B90D-420D-A9E4-5331594D73EE}"/>
              </a:ext>
            </a:extLst>
          </p:cNvPr>
          <p:cNvGrpSpPr/>
          <p:nvPr/>
        </p:nvGrpSpPr>
        <p:grpSpPr>
          <a:xfrm>
            <a:off x="1606505" y="4445684"/>
            <a:ext cx="1038315" cy="793976"/>
            <a:chOff x="1606505" y="4445681"/>
            <a:chExt cx="1038314" cy="793976"/>
          </a:xfrm>
        </p:grpSpPr>
        <p:sp>
          <p:nvSpPr>
            <p:cNvPr id="11" name="Oval 6">
              <a:extLst>
                <a:ext uri="{FF2B5EF4-FFF2-40B4-BE49-F238E27FC236}">
                  <a16:creationId xmlns:a16="http://schemas.microsoft.com/office/drawing/2014/main" id="{A10D91BC-EDCD-400F-9547-40327C712D3C}"/>
                </a:ext>
              </a:extLst>
            </p:cNvPr>
            <p:cNvSpPr>
              <a:spLocks noChangeArrowheads="1"/>
            </p:cNvSpPr>
            <p:nvPr/>
          </p:nvSpPr>
          <p:spPr bwMode="auto">
            <a:xfrm>
              <a:off x="1728074" y="4445681"/>
              <a:ext cx="795178" cy="793976"/>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12" name="TextBox 12">
              <a:extLst>
                <a:ext uri="{FF2B5EF4-FFF2-40B4-BE49-F238E27FC236}">
                  <a16:creationId xmlns:a16="http://schemas.microsoft.com/office/drawing/2014/main" id="{822C05EC-1E0B-4BC1-94DD-FC0E8F79E49F}"/>
                </a:ext>
              </a:extLst>
            </p:cNvPr>
            <p:cNvSpPr txBox="1"/>
            <p:nvPr/>
          </p:nvSpPr>
          <p:spPr>
            <a:xfrm>
              <a:off x="1606505" y="4550282"/>
              <a:ext cx="1038314"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FFFFFF"/>
                  </a:solidFill>
                  <a:effectLst/>
                  <a:uLnTx/>
                  <a:uFillTx/>
                  <a:latin typeface="等线 Light" panose="020F0302020204030204"/>
                  <a:ea typeface="+mn-ea"/>
                  <a:cs typeface="+mn-cs"/>
                </a:rPr>
                <a:t>01</a:t>
              </a:r>
            </a:p>
          </p:txBody>
        </p:sp>
      </p:grpSp>
      <p:grpSp>
        <p:nvGrpSpPr>
          <p:cNvPr id="13" name="Group 3">
            <a:extLst>
              <a:ext uri="{FF2B5EF4-FFF2-40B4-BE49-F238E27FC236}">
                <a16:creationId xmlns:a16="http://schemas.microsoft.com/office/drawing/2014/main" id="{46F14F89-A4BB-4304-BC80-5D3AC9572353}"/>
              </a:ext>
            </a:extLst>
          </p:cNvPr>
          <p:cNvGrpSpPr/>
          <p:nvPr/>
        </p:nvGrpSpPr>
        <p:grpSpPr>
          <a:xfrm>
            <a:off x="5406185" y="4445684"/>
            <a:ext cx="1038315" cy="793976"/>
            <a:chOff x="5406186" y="4445681"/>
            <a:chExt cx="1038314" cy="793976"/>
          </a:xfrm>
        </p:grpSpPr>
        <p:sp>
          <p:nvSpPr>
            <p:cNvPr id="14" name="Oval 7">
              <a:extLst>
                <a:ext uri="{FF2B5EF4-FFF2-40B4-BE49-F238E27FC236}">
                  <a16:creationId xmlns:a16="http://schemas.microsoft.com/office/drawing/2014/main" id="{750CB659-63A3-4A48-9F39-7C2D850A42B7}"/>
                </a:ext>
              </a:extLst>
            </p:cNvPr>
            <p:cNvSpPr>
              <a:spLocks noChangeArrowheads="1"/>
            </p:cNvSpPr>
            <p:nvPr/>
          </p:nvSpPr>
          <p:spPr bwMode="auto">
            <a:xfrm>
              <a:off x="5528356" y="4445681"/>
              <a:ext cx="793976" cy="793976"/>
            </a:xfrm>
            <a:prstGeom prst="ellipse">
              <a:avLst/>
            </a:pr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15" name="TextBox 13">
              <a:extLst>
                <a:ext uri="{FF2B5EF4-FFF2-40B4-BE49-F238E27FC236}">
                  <a16:creationId xmlns:a16="http://schemas.microsoft.com/office/drawing/2014/main" id="{63506B8E-EF69-426F-9BEC-D398B22EBCBF}"/>
                </a:ext>
              </a:extLst>
            </p:cNvPr>
            <p:cNvSpPr txBox="1"/>
            <p:nvPr/>
          </p:nvSpPr>
          <p:spPr>
            <a:xfrm>
              <a:off x="5406186" y="4550282"/>
              <a:ext cx="1038314"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FFFFFF"/>
                  </a:solidFill>
                  <a:effectLst/>
                  <a:uLnTx/>
                  <a:uFillTx/>
                  <a:latin typeface="等线 Light" panose="020F0302020204030204"/>
                  <a:ea typeface="+mn-ea"/>
                  <a:cs typeface="+mn-cs"/>
                </a:rPr>
                <a:t>02</a:t>
              </a:r>
            </a:p>
          </p:txBody>
        </p:sp>
      </p:grpSp>
      <p:grpSp>
        <p:nvGrpSpPr>
          <p:cNvPr id="16" name="Group 15">
            <a:extLst>
              <a:ext uri="{FF2B5EF4-FFF2-40B4-BE49-F238E27FC236}">
                <a16:creationId xmlns:a16="http://schemas.microsoft.com/office/drawing/2014/main" id="{978BBB97-24FD-438F-BFD0-56129B89BB79}"/>
              </a:ext>
            </a:extLst>
          </p:cNvPr>
          <p:cNvGrpSpPr/>
          <p:nvPr/>
        </p:nvGrpSpPr>
        <p:grpSpPr>
          <a:xfrm>
            <a:off x="9326473" y="4445684"/>
            <a:ext cx="1038315" cy="793976"/>
            <a:chOff x="9326474" y="4445681"/>
            <a:chExt cx="1038314" cy="793976"/>
          </a:xfrm>
        </p:grpSpPr>
        <p:sp>
          <p:nvSpPr>
            <p:cNvPr id="17" name="Oval 8">
              <a:extLst>
                <a:ext uri="{FF2B5EF4-FFF2-40B4-BE49-F238E27FC236}">
                  <a16:creationId xmlns:a16="http://schemas.microsoft.com/office/drawing/2014/main" id="{3A7B9990-657F-46A8-9C30-EB7D719927E3}"/>
                </a:ext>
              </a:extLst>
            </p:cNvPr>
            <p:cNvSpPr>
              <a:spLocks noChangeArrowheads="1"/>
            </p:cNvSpPr>
            <p:nvPr/>
          </p:nvSpPr>
          <p:spPr bwMode="auto">
            <a:xfrm>
              <a:off x="9441737" y="4445681"/>
              <a:ext cx="795178" cy="793976"/>
            </a:xfrm>
            <a:prstGeom prst="ellipse">
              <a:avLst/>
            </a:prstGeom>
            <a:solidFill>
              <a:schemeClr val="accent4"/>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18" name="TextBox 14">
              <a:extLst>
                <a:ext uri="{FF2B5EF4-FFF2-40B4-BE49-F238E27FC236}">
                  <a16:creationId xmlns:a16="http://schemas.microsoft.com/office/drawing/2014/main" id="{A9D5A860-73AE-4A95-AE27-242131CBFD9F}"/>
                </a:ext>
              </a:extLst>
            </p:cNvPr>
            <p:cNvSpPr txBox="1"/>
            <p:nvPr/>
          </p:nvSpPr>
          <p:spPr>
            <a:xfrm>
              <a:off x="9326474" y="4550282"/>
              <a:ext cx="1038314"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FFFFFF"/>
                  </a:solidFill>
                  <a:effectLst/>
                  <a:uLnTx/>
                  <a:uFillTx/>
                  <a:latin typeface="等线 Light" panose="020F0302020204030204"/>
                  <a:ea typeface="+mn-ea"/>
                  <a:cs typeface="+mn-cs"/>
                </a:rPr>
                <a:t>03</a:t>
              </a:r>
            </a:p>
          </p:txBody>
        </p:sp>
      </p:grpSp>
      <p:sp>
        <p:nvSpPr>
          <p:cNvPr id="19" name="TextBox 16">
            <a:extLst>
              <a:ext uri="{FF2B5EF4-FFF2-40B4-BE49-F238E27FC236}">
                <a16:creationId xmlns:a16="http://schemas.microsoft.com/office/drawing/2014/main" id="{B210F3B4-19A5-4C98-A3FD-2D574F729FD7}"/>
              </a:ext>
            </a:extLst>
          </p:cNvPr>
          <p:cNvSpPr txBox="1"/>
          <p:nvPr/>
        </p:nvSpPr>
        <p:spPr>
          <a:xfrm>
            <a:off x="2956996" y="2449824"/>
            <a:ext cx="2552073"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lumMod val="85000"/>
                    <a:lumOff val="15000"/>
                  </a:srgbClr>
                </a:solidFill>
                <a:effectLst/>
                <a:uLnTx/>
                <a:uFillTx/>
                <a:latin typeface="等线 Light" panose="020F0302020204030204"/>
                <a:ea typeface="+mn-ea"/>
                <a:cs typeface="+mn-cs"/>
              </a:rPr>
              <a:t>Subtitle Here</a:t>
            </a:r>
          </a:p>
        </p:txBody>
      </p:sp>
      <p:sp>
        <p:nvSpPr>
          <p:cNvPr id="20" name="TextBox 18">
            <a:extLst>
              <a:ext uri="{FF2B5EF4-FFF2-40B4-BE49-F238E27FC236}">
                <a16:creationId xmlns:a16="http://schemas.microsoft.com/office/drawing/2014/main" id="{1EF0BE64-6FB7-4897-934A-66DD0A28FBA8}"/>
              </a:ext>
            </a:extLst>
          </p:cNvPr>
          <p:cNvSpPr txBox="1"/>
          <p:nvPr/>
        </p:nvSpPr>
        <p:spPr>
          <a:xfrm>
            <a:off x="6812282" y="1948076"/>
            <a:ext cx="2552073"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lumMod val="85000"/>
                    <a:lumOff val="15000"/>
                  </a:srgbClr>
                </a:solidFill>
                <a:effectLst/>
                <a:uLnTx/>
                <a:uFillTx/>
                <a:latin typeface="等线 Light" panose="020F0302020204030204"/>
                <a:ea typeface="+mn-ea"/>
                <a:cs typeface="+mn-cs"/>
              </a:rPr>
              <a:t>Subtitle Here</a:t>
            </a:r>
          </a:p>
        </p:txBody>
      </p:sp>
      <p:sp>
        <p:nvSpPr>
          <p:cNvPr id="21" name="TextBox 20">
            <a:extLst>
              <a:ext uri="{FF2B5EF4-FFF2-40B4-BE49-F238E27FC236}">
                <a16:creationId xmlns:a16="http://schemas.microsoft.com/office/drawing/2014/main" id="{28E3D0EC-1D36-4D57-B369-37C6FB91346D}"/>
              </a:ext>
            </a:extLst>
          </p:cNvPr>
          <p:cNvSpPr txBox="1"/>
          <p:nvPr/>
        </p:nvSpPr>
        <p:spPr>
          <a:xfrm>
            <a:off x="10603594" y="706880"/>
            <a:ext cx="2552073"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lumMod val="85000"/>
                    <a:lumOff val="15000"/>
                  </a:srgbClr>
                </a:solidFill>
                <a:effectLst/>
                <a:uLnTx/>
                <a:uFillTx/>
                <a:latin typeface="等线 Light" panose="020F0302020204030204"/>
                <a:ea typeface="+mn-ea"/>
                <a:cs typeface="+mn-cs"/>
              </a:rPr>
              <a:t>Subtitle Here</a:t>
            </a:r>
          </a:p>
        </p:txBody>
      </p:sp>
      <p:sp>
        <p:nvSpPr>
          <p:cNvPr id="22" name="Rectangle 21">
            <a:extLst>
              <a:ext uri="{FF2B5EF4-FFF2-40B4-BE49-F238E27FC236}">
                <a16:creationId xmlns:a16="http://schemas.microsoft.com/office/drawing/2014/main" id="{74D924B9-195E-4750-A935-D53AFC5B7B80}"/>
              </a:ext>
            </a:extLst>
          </p:cNvPr>
          <p:cNvSpPr/>
          <p:nvPr/>
        </p:nvSpPr>
        <p:spPr>
          <a:xfrm>
            <a:off x="1600202" y="5760735"/>
            <a:ext cx="2236145" cy="485646"/>
          </a:xfrm>
          <a:prstGeom prst="rect">
            <a:avLst/>
          </a:prstGeom>
        </p:spPr>
        <p:txBody>
          <a:bodyPr wrap="square">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FFFFFF"/>
                </a:solidFill>
                <a:effectLst/>
                <a:uLnTx/>
                <a:uFillTx/>
                <a:latin typeface="等线" panose="020F0502020204030204"/>
                <a:ea typeface="+mn-ea"/>
                <a:cs typeface="+mn-cs"/>
              </a:rPr>
              <a:t>Lorem Ipsum is simply dummy text of the printing and typesetting industry. </a:t>
            </a:r>
          </a:p>
        </p:txBody>
      </p:sp>
      <p:sp>
        <p:nvSpPr>
          <p:cNvPr id="23" name="TextBox 22">
            <a:extLst>
              <a:ext uri="{FF2B5EF4-FFF2-40B4-BE49-F238E27FC236}">
                <a16:creationId xmlns:a16="http://schemas.microsoft.com/office/drawing/2014/main" id="{F54EB31B-FBB8-46B5-939A-48E05ED4D389}"/>
              </a:ext>
            </a:extLst>
          </p:cNvPr>
          <p:cNvSpPr txBox="1"/>
          <p:nvPr/>
        </p:nvSpPr>
        <p:spPr>
          <a:xfrm>
            <a:off x="1600202" y="5444521"/>
            <a:ext cx="2552073"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等线 Light" panose="020F0302020204030204"/>
                <a:ea typeface="+mn-ea"/>
                <a:cs typeface="+mn-cs"/>
              </a:rPr>
              <a:t>Subtitle Here</a:t>
            </a:r>
          </a:p>
        </p:txBody>
      </p:sp>
      <p:sp>
        <p:nvSpPr>
          <p:cNvPr id="24" name="Rectangle 23">
            <a:extLst>
              <a:ext uri="{FF2B5EF4-FFF2-40B4-BE49-F238E27FC236}">
                <a16:creationId xmlns:a16="http://schemas.microsoft.com/office/drawing/2014/main" id="{A4465F0F-93A2-4C41-97BA-7EFE9B6D7552}"/>
              </a:ext>
            </a:extLst>
          </p:cNvPr>
          <p:cNvSpPr/>
          <p:nvPr/>
        </p:nvSpPr>
        <p:spPr>
          <a:xfrm>
            <a:off x="5187797" y="5760735"/>
            <a:ext cx="2236145" cy="485646"/>
          </a:xfrm>
          <a:prstGeom prst="rect">
            <a:avLst/>
          </a:prstGeom>
        </p:spPr>
        <p:txBody>
          <a:bodyPr wrap="square">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FFFFFF"/>
                </a:solidFill>
                <a:effectLst/>
                <a:uLnTx/>
                <a:uFillTx/>
                <a:latin typeface="等线" panose="020F0502020204030204"/>
                <a:ea typeface="+mn-ea"/>
                <a:cs typeface="+mn-cs"/>
              </a:rPr>
              <a:t>Lorem Ipsum is simply dummy text of the printing and typesetting industry. </a:t>
            </a:r>
          </a:p>
        </p:txBody>
      </p:sp>
      <p:sp>
        <p:nvSpPr>
          <p:cNvPr id="25" name="TextBox 24">
            <a:extLst>
              <a:ext uri="{FF2B5EF4-FFF2-40B4-BE49-F238E27FC236}">
                <a16:creationId xmlns:a16="http://schemas.microsoft.com/office/drawing/2014/main" id="{B44B317E-2E88-4DA5-9A9A-8E5765E7EF5A}"/>
              </a:ext>
            </a:extLst>
          </p:cNvPr>
          <p:cNvSpPr txBox="1"/>
          <p:nvPr/>
        </p:nvSpPr>
        <p:spPr>
          <a:xfrm>
            <a:off x="5187797" y="5444521"/>
            <a:ext cx="2552073"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等线 Light" panose="020F0302020204030204"/>
                <a:ea typeface="+mn-ea"/>
                <a:cs typeface="+mn-cs"/>
              </a:rPr>
              <a:t>Subtitle Here</a:t>
            </a:r>
          </a:p>
        </p:txBody>
      </p:sp>
      <p:sp>
        <p:nvSpPr>
          <p:cNvPr id="26" name="Rectangle 25">
            <a:extLst>
              <a:ext uri="{FF2B5EF4-FFF2-40B4-BE49-F238E27FC236}">
                <a16:creationId xmlns:a16="http://schemas.microsoft.com/office/drawing/2014/main" id="{3273480E-D64A-4B4A-A50A-F65079F7AD7B}"/>
              </a:ext>
            </a:extLst>
          </p:cNvPr>
          <p:cNvSpPr/>
          <p:nvPr/>
        </p:nvSpPr>
        <p:spPr>
          <a:xfrm>
            <a:off x="9088754" y="5760735"/>
            <a:ext cx="2236145" cy="485646"/>
          </a:xfrm>
          <a:prstGeom prst="rect">
            <a:avLst/>
          </a:prstGeom>
        </p:spPr>
        <p:txBody>
          <a:bodyPr wrap="square">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FFFFFF"/>
                </a:solidFill>
                <a:effectLst/>
                <a:uLnTx/>
                <a:uFillTx/>
                <a:latin typeface="等线" panose="020F0502020204030204"/>
                <a:ea typeface="+mn-ea"/>
                <a:cs typeface="+mn-cs"/>
              </a:rPr>
              <a:t>Lorem Ipsum is simply dummy text of the printing and typesetting industry. </a:t>
            </a:r>
          </a:p>
        </p:txBody>
      </p:sp>
      <p:sp>
        <p:nvSpPr>
          <p:cNvPr id="27" name="TextBox 26">
            <a:extLst>
              <a:ext uri="{FF2B5EF4-FFF2-40B4-BE49-F238E27FC236}">
                <a16:creationId xmlns:a16="http://schemas.microsoft.com/office/drawing/2014/main" id="{BF512CCB-9338-4D08-A57E-79AA1191963E}"/>
              </a:ext>
            </a:extLst>
          </p:cNvPr>
          <p:cNvSpPr txBox="1"/>
          <p:nvPr/>
        </p:nvSpPr>
        <p:spPr>
          <a:xfrm>
            <a:off x="9088754" y="5444521"/>
            <a:ext cx="2552073"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等线 Light" panose="020F0302020204030204"/>
                <a:ea typeface="+mn-ea"/>
                <a:cs typeface="+mn-cs"/>
              </a:rPr>
              <a:t>Subtitle Here</a:t>
            </a:r>
          </a:p>
        </p:txBody>
      </p:sp>
      <p:sp>
        <p:nvSpPr>
          <p:cNvPr id="28" name="TextBox 27">
            <a:extLst>
              <a:ext uri="{FF2B5EF4-FFF2-40B4-BE49-F238E27FC236}">
                <a16:creationId xmlns:a16="http://schemas.microsoft.com/office/drawing/2014/main" id="{23AA2BD7-FE0B-4C1D-A7BC-3669EF40350C}"/>
              </a:ext>
            </a:extLst>
          </p:cNvPr>
          <p:cNvSpPr txBox="1"/>
          <p:nvPr/>
        </p:nvSpPr>
        <p:spPr>
          <a:xfrm>
            <a:off x="2956995" y="2883409"/>
            <a:ext cx="1451495"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FFD229">
                    <a:lumMod val="60000"/>
                    <a:lumOff val="40000"/>
                  </a:srgbClr>
                </a:solidFill>
                <a:effectLst/>
                <a:uLnTx/>
                <a:uFillTx/>
                <a:latin typeface="等线 Light" panose="020F0302020204030204"/>
                <a:ea typeface="+mn-ea"/>
                <a:cs typeface="+mn-cs"/>
              </a:rPr>
              <a:t>65%</a:t>
            </a:r>
          </a:p>
        </p:txBody>
      </p:sp>
      <p:sp>
        <p:nvSpPr>
          <p:cNvPr id="29" name="TextBox 28">
            <a:extLst>
              <a:ext uri="{FF2B5EF4-FFF2-40B4-BE49-F238E27FC236}">
                <a16:creationId xmlns:a16="http://schemas.microsoft.com/office/drawing/2014/main" id="{1120DDD5-4CB4-4C1F-95CC-AF305BB5A80C}"/>
              </a:ext>
            </a:extLst>
          </p:cNvPr>
          <p:cNvSpPr txBox="1"/>
          <p:nvPr/>
        </p:nvSpPr>
        <p:spPr>
          <a:xfrm>
            <a:off x="6889493" y="2328087"/>
            <a:ext cx="1451495"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00D99B">
                    <a:lumMod val="60000"/>
                    <a:lumOff val="40000"/>
                  </a:srgbClr>
                </a:solidFill>
                <a:effectLst/>
                <a:uLnTx/>
                <a:uFillTx/>
                <a:latin typeface="等线 Light" panose="020F0302020204030204"/>
                <a:ea typeface="+mn-ea"/>
                <a:cs typeface="+mn-cs"/>
              </a:rPr>
              <a:t>80%</a:t>
            </a:r>
          </a:p>
        </p:txBody>
      </p:sp>
      <p:sp>
        <p:nvSpPr>
          <p:cNvPr id="30" name="TextBox 29">
            <a:extLst>
              <a:ext uri="{FF2B5EF4-FFF2-40B4-BE49-F238E27FC236}">
                <a16:creationId xmlns:a16="http://schemas.microsoft.com/office/drawing/2014/main" id="{6043708E-1BCF-41B0-8A48-8576D119E044}"/>
              </a:ext>
            </a:extLst>
          </p:cNvPr>
          <p:cNvSpPr txBox="1"/>
          <p:nvPr/>
        </p:nvSpPr>
        <p:spPr>
          <a:xfrm>
            <a:off x="10603962" y="1105707"/>
            <a:ext cx="1451495"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8F38FF">
                    <a:lumMod val="60000"/>
                    <a:lumOff val="40000"/>
                  </a:srgbClr>
                </a:solidFill>
                <a:effectLst/>
                <a:uLnTx/>
                <a:uFillTx/>
                <a:latin typeface="等线 Light" panose="020F0302020204030204"/>
                <a:ea typeface="+mn-ea"/>
                <a:cs typeface="+mn-cs"/>
              </a:rPr>
              <a:t>95%</a:t>
            </a:r>
          </a:p>
        </p:txBody>
      </p:sp>
    </p:spTree>
    <p:extLst>
      <p:ext uri="{BB962C8B-B14F-4D97-AF65-F5344CB8AC3E}">
        <p14:creationId xmlns:p14="http://schemas.microsoft.com/office/powerpoint/2010/main" val="3025713390"/>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wipe(left)">
                                      <p:cBhvr>
                                        <p:cTn id="7" dur="500"/>
                                        <p:tgtEl>
                                          <p:spTgt spid="9"/>
                                        </p:tgtEl>
                                      </p:cBhvr>
                                    </p:animEffect>
                                  </p:childTnLst>
                                </p:cTn>
                              </p:par>
                            </p:childTnLst>
                          </p:cTn>
                        </p:par>
                        <p:par>
                          <p:cTn id="8" fill="hold">
                            <p:stCondLst>
                              <p:cond delay="500"/>
                            </p:stCondLst>
                            <p:childTnLst>
                              <p:par>
                                <p:cTn id="9" presetID="22" presetClass="entr" presetSubtype="4" fill="hold" grpId="0" nodeType="after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wipe(down)">
                                      <p:cBhvr>
                                        <p:cTn id="11" dur="500"/>
                                        <p:tgtEl>
                                          <p:spTgt spid="5"/>
                                        </p:tgtEl>
                                      </p:cBhvr>
                                    </p:animEffect>
                                  </p:childTnLst>
                                </p:cTn>
                              </p:par>
                            </p:childTnLst>
                          </p:cTn>
                        </p:par>
                        <p:par>
                          <p:cTn id="12" fill="hold">
                            <p:stCondLst>
                              <p:cond delay="1000"/>
                            </p:stCondLst>
                            <p:childTnLst>
                              <p:par>
                                <p:cTn id="13" presetID="22" presetClass="entr" presetSubtype="4" fill="hold" grpId="0" nodeType="afterEffect">
                                  <p:stCondLst>
                                    <p:cond delay="0"/>
                                  </p:stCondLst>
                                  <p:childTnLst>
                                    <p:set>
                                      <p:cBhvr>
                                        <p:cTn id="14" dur="1" fill="hold">
                                          <p:stCondLst>
                                            <p:cond delay="0"/>
                                          </p:stCondLst>
                                        </p:cTn>
                                        <p:tgtEl>
                                          <p:spTgt spid="6"/>
                                        </p:tgtEl>
                                        <p:attrNameLst>
                                          <p:attrName>style.visibility</p:attrName>
                                        </p:attrNameLst>
                                      </p:cBhvr>
                                      <p:to>
                                        <p:strVal val="visible"/>
                                      </p:to>
                                    </p:set>
                                    <p:animEffect transition="in" filter="wipe(down)">
                                      <p:cBhvr>
                                        <p:cTn id="15" dur="500"/>
                                        <p:tgtEl>
                                          <p:spTgt spid="6"/>
                                        </p:tgtEl>
                                      </p:cBhvr>
                                    </p:animEffect>
                                  </p:childTnLst>
                                </p:cTn>
                              </p:par>
                            </p:childTnLst>
                          </p:cTn>
                        </p:par>
                        <p:par>
                          <p:cTn id="16" fill="hold">
                            <p:stCondLst>
                              <p:cond delay="1500"/>
                            </p:stCondLst>
                            <p:childTnLst>
                              <p:par>
                                <p:cTn id="17" presetID="22" presetClass="entr" presetSubtype="8" fill="hold" nodeType="afterEffect">
                                  <p:stCondLst>
                                    <p:cond delay="0"/>
                                  </p:stCondLst>
                                  <p:childTnLst>
                                    <p:set>
                                      <p:cBhvr>
                                        <p:cTn id="18" dur="1" fill="hold">
                                          <p:stCondLst>
                                            <p:cond delay="0"/>
                                          </p:stCondLst>
                                        </p:cTn>
                                        <p:tgtEl>
                                          <p:spTgt spid="4"/>
                                        </p:tgtEl>
                                        <p:attrNameLst>
                                          <p:attrName>style.visibility</p:attrName>
                                        </p:attrNameLst>
                                      </p:cBhvr>
                                      <p:to>
                                        <p:strVal val="visible"/>
                                      </p:to>
                                    </p:set>
                                    <p:animEffect transition="in" filter="wipe(left)">
                                      <p:cBhvr>
                                        <p:cTn id="19" dur="500"/>
                                        <p:tgtEl>
                                          <p:spTgt spid="4"/>
                                        </p:tgtEl>
                                      </p:cBhvr>
                                    </p:animEffect>
                                  </p:childTnLst>
                                </p:cTn>
                              </p:par>
                            </p:childTnLst>
                          </p:cTn>
                        </p:par>
                        <p:par>
                          <p:cTn id="20" fill="hold">
                            <p:stCondLst>
                              <p:cond delay="2000"/>
                            </p:stCondLst>
                            <p:childTnLst>
                              <p:par>
                                <p:cTn id="21" presetID="22" presetClass="entr" presetSubtype="8" fill="hold" grpId="0" nodeType="afterEffect">
                                  <p:stCondLst>
                                    <p:cond delay="0"/>
                                  </p:stCondLst>
                                  <p:childTnLst>
                                    <p:set>
                                      <p:cBhvr>
                                        <p:cTn id="22" dur="1" fill="hold">
                                          <p:stCondLst>
                                            <p:cond delay="0"/>
                                          </p:stCondLst>
                                        </p:cTn>
                                        <p:tgtEl>
                                          <p:spTgt spid="19"/>
                                        </p:tgtEl>
                                        <p:attrNameLst>
                                          <p:attrName>style.visibility</p:attrName>
                                        </p:attrNameLst>
                                      </p:cBhvr>
                                      <p:to>
                                        <p:strVal val="visible"/>
                                      </p:to>
                                    </p:set>
                                    <p:animEffect transition="in" filter="wipe(left)">
                                      <p:cBhvr>
                                        <p:cTn id="23" dur="500"/>
                                        <p:tgtEl>
                                          <p:spTgt spid="19"/>
                                        </p:tgtEl>
                                      </p:cBhvr>
                                    </p:animEffect>
                                  </p:childTnLst>
                                </p:cTn>
                              </p:par>
                            </p:childTnLst>
                          </p:cTn>
                        </p:par>
                        <p:par>
                          <p:cTn id="24" fill="hold">
                            <p:stCondLst>
                              <p:cond delay="2500"/>
                            </p:stCondLst>
                            <p:childTnLst>
                              <p:par>
                                <p:cTn id="25" presetID="10" presetClass="entr" presetSubtype="0" fill="hold" grpId="0" nodeType="afterEffect">
                                  <p:stCondLst>
                                    <p:cond delay="0"/>
                                  </p:stCondLst>
                                  <p:childTnLst>
                                    <p:set>
                                      <p:cBhvr>
                                        <p:cTn id="26" dur="1" fill="hold">
                                          <p:stCondLst>
                                            <p:cond delay="0"/>
                                          </p:stCondLst>
                                        </p:cTn>
                                        <p:tgtEl>
                                          <p:spTgt spid="28"/>
                                        </p:tgtEl>
                                        <p:attrNameLst>
                                          <p:attrName>style.visibility</p:attrName>
                                        </p:attrNameLst>
                                      </p:cBhvr>
                                      <p:to>
                                        <p:strVal val="visible"/>
                                      </p:to>
                                    </p:set>
                                    <p:animEffect transition="in" filter="fade">
                                      <p:cBhvr>
                                        <p:cTn id="27" dur="500"/>
                                        <p:tgtEl>
                                          <p:spTgt spid="28"/>
                                        </p:tgtEl>
                                      </p:cBhvr>
                                    </p:animEffect>
                                  </p:childTnLst>
                                </p:cTn>
                              </p:par>
                            </p:childTnLst>
                          </p:cTn>
                        </p:par>
                        <p:par>
                          <p:cTn id="28" fill="hold">
                            <p:stCondLst>
                              <p:cond delay="3000"/>
                            </p:stCondLst>
                            <p:childTnLst>
                              <p:par>
                                <p:cTn id="29" presetID="53" presetClass="entr" presetSubtype="16" fill="hold" nodeType="afterEffect">
                                  <p:stCondLst>
                                    <p:cond delay="0"/>
                                  </p:stCondLst>
                                  <p:childTnLst>
                                    <p:set>
                                      <p:cBhvr>
                                        <p:cTn id="30" dur="1" fill="hold">
                                          <p:stCondLst>
                                            <p:cond delay="0"/>
                                          </p:stCondLst>
                                        </p:cTn>
                                        <p:tgtEl>
                                          <p:spTgt spid="10"/>
                                        </p:tgtEl>
                                        <p:attrNameLst>
                                          <p:attrName>style.visibility</p:attrName>
                                        </p:attrNameLst>
                                      </p:cBhvr>
                                      <p:to>
                                        <p:strVal val="visible"/>
                                      </p:to>
                                    </p:set>
                                    <p:anim calcmode="lin" valueType="num">
                                      <p:cBhvr>
                                        <p:cTn id="31" dur="500" fill="hold"/>
                                        <p:tgtEl>
                                          <p:spTgt spid="10"/>
                                        </p:tgtEl>
                                        <p:attrNameLst>
                                          <p:attrName>ppt_w</p:attrName>
                                        </p:attrNameLst>
                                      </p:cBhvr>
                                      <p:tavLst>
                                        <p:tav tm="0">
                                          <p:val>
                                            <p:fltVal val="0"/>
                                          </p:val>
                                        </p:tav>
                                        <p:tav tm="100000">
                                          <p:val>
                                            <p:strVal val="#ppt_w"/>
                                          </p:val>
                                        </p:tav>
                                      </p:tavLst>
                                    </p:anim>
                                    <p:anim calcmode="lin" valueType="num">
                                      <p:cBhvr>
                                        <p:cTn id="32" dur="500" fill="hold"/>
                                        <p:tgtEl>
                                          <p:spTgt spid="10"/>
                                        </p:tgtEl>
                                        <p:attrNameLst>
                                          <p:attrName>ppt_h</p:attrName>
                                        </p:attrNameLst>
                                      </p:cBhvr>
                                      <p:tavLst>
                                        <p:tav tm="0">
                                          <p:val>
                                            <p:fltVal val="0"/>
                                          </p:val>
                                        </p:tav>
                                        <p:tav tm="100000">
                                          <p:val>
                                            <p:strVal val="#ppt_h"/>
                                          </p:val>
                                        </p:tav>
                                      </p:tavLst>
                                    </p:anim>
                                    <p:animEffect transition="in" filter="fade">
                                      <p:cBhvr>
                                        <p:cTn id="33" dur="500"/>
                                        <p:tgtEl>
                                          <p:spTgt spid="10"/>
                                        </p:tgtEl>
                                      </p:cBhvr>
                                    </p:animEffect>
                                  </p:childTnLst>
                                </p:cTn>
                              </p:par>
                            </p:childTnLst>
                          </p:cTn>
                        </p:par>
                        <p:par>
                          <p:cTn id="34" fill="hold">
                            <p:stCondLst>
                              <p:cond delay="3500"/>
                            </p:stCondLst>
                            <p:childTnLst>
                              <p:par>
                                <p:cTn id="35" presetID="22" presetClass="entr" presetSubtype="8" fill="hold" grpId="0" nodeType="afterEffect">
                                  <p:stCondLst>
                                    <p:cond delay="0"/>
                                  </p:stCondLst>
                                  <p:childTnLst>
                                    <p:set>
                                      <p:cBhvr>
                                        <p:cTn id="36" dur="1" fill="hold">
                                          <p:stCondLst>
                                            <p:cond delay="0"/>
                                          </p:stCondLst>
                                        </p:cTn>
                                        <p:tgtEl>
                                          <p:spTgt spid="23"/>
                                        </p:tgtEl>
                                        <p:attrNameLst>
                                          <p:attrName>style.visibility</p:attrName>
                                        </p:attrNameLst>
                                      </p:cBhvr>
                                      <p:to>
                                        <p:strVal val="visible"/>
                                      </p:to>
                                    </p:set>
                                    <p:animEffect transition="in" filter="wipe(left)">
                                      <p:cBhvr>
                                        <p:cTn id="37" dur="500"/>
                                        <p:tgtEl>
                                          <p:spTgt spid="23"/>
                                        </p:tgtEl>
                                      </p:cBhvr>
                                    </p:animEffect>
                                  </p:childTnLst>
                                </p:cTn>
                              </p:par>
                            </p:childTnLst>
                          </p:cTn>
                        </p:par>
                        <p:par>
                          <p:cTn id="38" fill="hold">
                            <p:stCondLst>
                              <p:cond delay="4000"/>
                            </p:stCondLst>
                            <p:childTnLst>
                              <p:par>
                                <p:cTn id="39" presetID="42" presetClass="entr" presetSubtype="0" fill="hold" grpId="0" nodeType="afterEffect">
                                  <p:stCondLst>
                                    <p:cond delay="0"/>
                                  </p:stCondLst>
                                  <p:childTnLst>
                                    <p:set>
                                      <p:cBhvr>
                                        <p:cTn id="40" dur="1" fill="hold">
                                          <p:stCondLst>
                                            <p:cond delay="0"/>
                                          </p:stCondLst>
                                        </p:cTn>
                                        <p:tgtEl>
                                          <p:spTgt spid="22"/>
                                        </p:tgtEl>
                                        <p:attrNameLst>
                                          <p:attrName>style.visibility</p:attrName>
                                        </p:attrNameLst>
                                      </p:cBhvr>
                                      <p:to>
                                        <p:strVal val="visible"/>
                                      </p:to>
                                    </p:set>
                                    <p:animEffect transition="in" filter="fade">
                                      <p:cBhvr>
                                        <p:cTn id="41" dur="500"/>
                                        <p:tgtEl>
                                          <p:spTgt spid="22"/>
                                        </p:tgtEl>
                                      </p:cBhvr>
                                    </p:animEffect>
                                    <p:anim calcmode="lin" valueType="num">
                                      <p:cBhvr>
                                        <p:cTn id="42" dur="500" fill="hold"/>
                                        <p:tgtEl>
                                          <p:spTgt spid="22"/>
                                        </p:tgtEl>
                                        <p:attrNameLst>
                                          <p:attrName>ppt_x</p:attrName>
                                        </p:attrNameLst>
                                      </p:cBhvr>
                                      <p:tavLst>
                                        <p:tav tm="0">
                                          <p:val>
                                            <p:strVal val="#ppt_x"/>
                                          </p:val>
                                        </p:tav>
                                        <p:tav tm="100000">
                                          <p:val>
                                            <p:strVal val="#ppt_x"/>
                                          </p:val>
                                        </p:tav>
                                      </p:tavLst>
                                    </p:anim>
                                    <p:anim calcmode="lin" valueType="num">
                                      <p:cBhvr>
                                        <p:cTn id="43" dur="500" fill="hold"/>
                                        <p:tgtEl>
                                          <p:spTgt spid="22"/>
                                        </p:tgtEl>
                                        <p:attrNameLst>
                                          <p:attrName>ppt_y</p:attrName>
                                        </p:attrNameLst>
                                      </p:cBhvr>
                                      <p:tavLst>
                                        <p:tav tm="0">
                                          <p:val>
                                            <p:strVal val="#ppt_y+.1"/>
                                          </p:val>
                                        </p:tav>
                                        <p:tav tm="100000">
                                          <p:val>
                                            <p:strVal val="#ppt_y"/>
                                          </p:val>
                                        </p:tav>
                                      </p:tavLst>
                                    </p:anim>
                                  </p:childTnLst>
                                </p:cTn>
                              </p:par>
                            </p:childTnLst>
                          </p:cTn>
                        </p:par>
                        <p:par>
                          <p:cTn id="44" fill="hold">
                            <p:stCondLst>
                              <p:cond delay="4500"/>
                            </p:stCondLst>
                            <p:childTnLst>
                              <p:par>
                                <p:cTn id="45" presetID="22" presetClass="entr" presetSubtype="4" fill="hold" grpId="0" nodeType="afterEffect">
                                  <p:stCondLst>
                                    <p:cond delay="0"/>
                                  </p:stCondLst>
                                  <p:childTnLst>
                                    <p:set>
                                      <p:cBhvr>
                                        <p:cTn id="46" dur="1" fill="hold">
                                          <p:stCondLst>
                                            <p:cond delay="0"/>
                                          </p:stCondLst>
                                        </p:cTn>
                                        <p:tgtEl>
                                          <p:spTgt spid="7"/>
                                        </p:tgtEl>
                                        <p:attrNameLst>
                                          <p:attrName>style.visibility</p:attrName>
                                        </p:attrNameLst>
                                      </p:cBhvr>
                                      <p:to>
                                        <p:strVal val="visible"/>
                                      </p:to>
                                    </p:set>
                                    <p:animEffect transition="in" filter="wipe(down)">
                                      <p:cBhvr>
                                        <p:cTn id="47" dur="500"/>
                                        <p:tgtEl>
                                          <p:spTgt spid="7"/>
                                        </p:tgtEl>
                                      </p:cBhvr>
                                    </p:animEffect>
                                  </p:childTnLst>
                                </p:cTn>
                              </p:par>
                            </p:childTnLst>
                          </p:cTn>
                        </p:par>
                        <p:par>
                          <p:cTn id="48" fill="hold">
                            <p:stCondLst>
                              <p:cond delay="5000"/>
                            </p:stCondLst>
                            <p:childTnLst>
                              <p:par>
                                <p:cTn id="49" presetID="22" presetClass="entr" presetSubtype="8" fill="hold" nodeType="afterEffect">
                                  <p:stCondLst>
                                    <p:cond delay="0"/>
                                  </p:stCondLst>
                                  <p:childTnLst>
                                    <p:set>
                                      <p:cBhvr>
                                        <p:cTn id="50" dur="1" fill="hold">
                                          <p:stCondLst>
                                            <p:cond delay="0"/>
                                          </p:stCondLst>
                                        </p:cTn>
                                        <p:tgtEl>
                                          <p:spTgt spid="3"/>
                                        </p:tgtEl>
                                        <p:attrNameLst>
                                          <p:attrName>style.visibility</p:attrName>
                                        </p:attrNameLst>
                                      </p:cBhvr>
                                      <p:to>
                                        <p:strVal val="visible"/>
                                      </p:to>
                                    </p:set>
                                    <p:animEffect transition="in" filter="wipe(left)">
                                      <p:cBhvr>
                                        <p:cTn id="51" dur="500"/>
                                        <p:tgtEl>
                                          <p:spTgt spid="3"/>
                                        </p:tgtEl>
                                      </p:cBhvr>
                                    </p:animEffect>
                                  </p:childTnLst>
                                </p:cTn>
                              </p:par>
                            </p:childTnLst>
                          </p:cTn>
                        </p:par>
                        <p:par>
                          <p:cTn id="52" fill="hold">
                            <p:stCondLst>
                              <p:cond delay="5500"/>
                            </p:stCondLst>
                            <p:childTnLst>
                              <p:par>
                                <p:cTn id="53" presetID="22" presetClass="entr" presetSubtype="8" fill="hold" grpId="0" nodeType="afterEffect">
                                  <p:stCondLst>
                                    <p:cond delay="0"/>
                                  </p:stCondLst>
                                  <p:childTnLst>
                                    <p:set>
                                      <p:cBhvr>
                                        <p:cTn id="54" dur="1" fill="hold">
                                          <p:stCondLst>
                                            <p:cond delay="0"/>
                                          </p:stCondLst>
                                        </p:cTn>
                                        <p:tgtEl>
                                          <p:spTgt spid="20"/>
                                        </p:tgtEl>
                                        <p:attrNameLst>
                                          <p:attrName>style.visibility</p:attrName>
                                        </p:attrNameLst>
                                      </p:cBhvr>
                                      <p:to>
                                        <p:strVal val="visible"/>
                                      </p:to>
                                    </p:set>
                                    <p:animEffect transition="in" filter="wipe(left)">
                                      <p:cBhvr>
                                        <p:cTn id="55" dur="500"/>
                                        <p:tgtEl>
                                          <p:spTgt spid="20"/>
                                        </p:tgtEl>
                                      </p:cBhvr>
                                    </p:animEffect>
                                  </p:childTnLst>
                                </p:cTn>
                              </p:par>
                            </p:childTnLst>
                          </p:cTn>
                        </p:par>
                        <p:par>
                          <p:cTn id="56" fill="hold">
                            <p:stCondLst>
                              <p:cond delay="6000"/>
                            </p:stCondLst>
                            <p:childTnLst>
                              <p:par>
                                <p:cTn id="57" presetID="10" presetClass="entr" presetSubtype="0" fill="hold" grpId="0" nodeType="afterEffect">
                                  <p:stCondLst>
                                    <p:cond delay="0"/>
                                  </p:stCondLst>
                                  <p:childTnLst>
                                    <p:set>
                                      <p:cBhvr>
                                        <p:cTn id="58" dur="1" fill="hold">
                                          <p:stCondLst>
                                            <p:cond delay="0"/>
                                          </p:stCondLst>
                                        </p:cTn>
                                        <p:tgtEl>
                                          <p:spTgt spid="29"/>
                                        </p:tgtEl>
                                        <p:attrNameLst>
                                          <p:attrName>style.visibility</p:attrName>
                                        </p:attrNameLst>
                                      </p:cBhvr>
                                      <p:to>
                                        <p:strVal val="visible"/>
                                      </p:to>
                                    </p:set>
                                    <p:animEffect transition="in" filter="fade">
                                      <p:cBhvr>
                                        <p:cTn id="59" dur="500"/>
                                        <p:tgtEl>
                                          <p:spTgt spid="29"/>
                                        </p:tgtEl>
                                      </p:cBhvr>
                                    </p:animEffect>
                                  </p:childTnLst>
                                </p:cTn>
                              </p:par>
                            </p:childTnLst>
                          </p:cTn>
                        </p:par>
                        <p:par>
                          <p:cTn id="60" fill="hold">
                            <p:stCondLst>
                              <p:cond delay="6500"/>
                            </p:stCondLst>
                            <p:childTnLst>
                              <p:par>
                                <p:cTn id="61" presetID="53" presetClass="entr" presetSubtype="16" fill="hold" nodeType="afterEffect">
                                  <p:stCondLst>
                                    <p:cond delay="0"/>
                                  </p:stCondLst>
                                  <p:childTnLst>
                                    <p:set>
                                      <p:cBhvr>
                                        <p:cTn id="62" dur="1" fill="hold">
                                          <p:stCondLst>
                                            <p:cond delay="0"/>
                                          </p:stCondLst>
                                        </p:cTn>
                                        <p:tgtEl>
                                          <p:spTgt spid="13"/>
                                        </p:tgtEl>
                                        <p:attrNameLst>
                                          <p:attrName>style.visibility</p:attrName>
                                        </p:attrNameLst>
                                      </p:cBhvr>
                                      <p:to>
                                        <p:strVal val="visible"/>
                                      </p:to>
                                    </p:set>
                                    <p:anim calcmode="lin" valueType="num">
                                      <p:cBhvr>
                                        <p:cTn id="63" dur="500" fill="hold"/>
                                        <p:tgtEl>
                                          <p:spTgt spid="13"/>
                                        </p:tgtEl>
                                        <p:attrNameLst>
                                          <p:attrName>ppt_w</p:attrName>
                                        </p:attrNameLst>
                                      </p:cBhvr>
                                      <p:tavLst>
                                        <p:tav tm="0">
                                          <p:val>
                                            <p:fltVal val="0"/>
                                          </p:val>
                                        </p:tav>
                                        <p:tav tm="100000">
                                          <p:val>
                                            <p:strVal val="#ppt_w"/>
                                          </p:val>
                                        </p:tav>
                                      </p:tavLst>
                                    </p:anim>
                                    <p:anim calcmode="lin" valueType="num">
                                      <p:cBhvr>
                                        <p:cTn id="64" dur="500" fill="hold"/>
                                        <p:tgtEl>
                                          <p:spTgt spid="13"/>
                                        </p:tgtEl>
                                        <p:attrNameLst>
                                          <p:attrName>ppt_h</p:attrName>
                                        </p:attrNameLst>
                                      </p:cBhvr>
                                      <p:tavLst>
                                        <p:tav tm="0">
                                          <p:val>
                                            <p:fltVal val="0"/>
                                          </p:val>
                                        </p:tav>
                                        <p:tav tm="100000">
                                          <p:val>
                                            <p:strVal val="#ppt_h"/>
                                          </p:val>
                                        </p:tav>
                                      </p:tavLst>
                                    </p:anim>
                                    <p:animEffect transition="in" filter="fade">
                                      <p:cBhvr>
                                        <p:cTn id="65" dur="500"/>
                                        <p:tgtEl>
                                          <p:spTgt spid="13"/>
                                        </p:tgtEl>
                                      </p:cBhvr>
                                    </p:animEffect>
                                  </p:childTnLst>
                                </p:cTn>
                              </p:par>
                            </p:childTnLst>
                          </p:cTn>
                        </p:par>
                        <p:par>
                          <p:cTn id="66" fill="hold">
                            <p:stCondLst>
                              <p:cond delay="7000"/>
                            </p:stCondLst>
                            <p:childTnLst>
                              <p:par>
                                <p:cTn id="67" presetID="22" presetClass="entr" presetSubtype="8" fill="hold" grpId="0" nodeType="afterEffect">
                                  <p:stCondLst>
                                    <p:cond delay="0"/>
                                  </p:stCondLst>
                                  <p:childTnLst>
                                    <p:set>
                                      <p:cBhvr>
                                        <p:cTn id="68" dur="1" fill="hold">
                                          <p:stCondLst>
                                            <p:cond delay="0"/>
                                          </p:stCondLst>
                                        </p:cTn>
                                        <p:tgtEl>
                                          <p:spTgt spid="25"/>
                                        </p:tgtEl>
                                        <p:attrNameLst>
                                          <p:attrName>style.visibility</p:attrName>
                                        </p:attrNameLst>
                                      </p:cBhvr>
                                      <p:to>
                                        <p:strVal val="visible"/>
                                      </p:to>
                                    </p:set>
                                    <p:animEffect transition="in" filter="wipe(left)">
                                      <p:cBhvr>
                                        <p:cTn id="69" dur="500"/>
                                        <p:tgtEl>
                                          <p:spTgt spid="25"/>
                                        </p:tgtEl>
                                      </p:cBhvr>
                                    </p:animEffect>
                                  </p:childTnLst>
                                </p:cTn>
                              </p:par>
                            </p:childTnLst>
                          </p:cTn>
                        </p:par>
                        <p:par>
                          <p:cTn id="70" fill="hold">
                            <p:stCondLst>
                              <p:cond delay="7500"/>
                            </p:stCondLst>
                            <p:childTnLst>
                              <p:par>
                                <p:cTn id="71" presetID="42" presetClass="entr" presetSubtype="0" fill="hold" grpId="0" nodeType="afterEffect">
                                  <p:stCondLst>
                                    <p:cond delay="0"/>
                                  </p:stCondLst>
                                  <p:childTnLst>
                                    <p:set>
                                      <p:cBhvr>
                                        <p:cTn id="72" dur="1" fill="hold">
                                          <p:stCondLst>
                                            <p:cond delay="0"/>
                                          </p:stCondLst>
                                        </p:cTn>
                                        <p:tgtEl>
                                          <p:spTgt spid="24"/>
                                        </p:tgtEl>
                                        <p:attrNameLst>
                                          <p:attrName>style.visibility</p:attrName>
                                        </p:attrNameLst>
                                      </p:cBhvr>
                                      <p:to>
                                        <p:strVal val="visible"/>
                                      </p:to>
                                    </p:set>
                                    <p:animEffect transition="in" filter="fade">
                                      <p:cBhvr>
                                        <p:cTn id="73" dur="500"/>
                                        <p:tgtEl>
                                          <p:spTgt spid="24"/>
                                        </p:tgtEl>
                                      </p:cBhvr>
                                    </p:animEffect>
                                    <p:anim calcmode="lin" valueType="num">
                                      <p:cBhvr>
                                        <p:cTn id="74" dur="500" fill="hold"/>
                                        <p:tgtEl>
                                          <p:spTgt spid="24"/>
                                        </p:tgtEl>
                                        <p:attrNameLst>
                                          <p:attrName>ppt_x</p:attrName>
                                        </p:attrNameLst>
                                      </p:cBhvr>
                                      <p:tavLst>
                                        <p:tav tm="0">
                                          <p:val>
                                            <p:strVal val="#ppt_x"/>
                                          </p:val>
                                        </p:tav>
                                        <p:tav tm="100000">
                                          <p:val>
                                            <p:strVal val="#ppt_x"/>
                                          </p:val>
                                        </p:tav>
                                      </p:tavLst>
                                    </p:anim>
                                    <p:anim calcmode="lin" valueType="num">
                                      <p:cBhvr>
                                        <p:cTn id="75" dur="500" fill="hold"/>
                                        <p:tgtEl>
                                          <p:spTgt spid="24"/>
                                        </p:tgtEl>
                                        <p:attrNameLst>
                                          <p:attrName>ppt_y</p:attrName>
                                        </p:attrNameLst>
                                      </p:cBhvr>
                                      <p:tavLst>
                                        <p:tav tm="0">
                                          <p:val>
                                            <p:strVal val="#ppt_y+.1"/>
                                          </p:val>
                                        </p:tav>
                                        <p:tav tm="100000">
                                          <p:val>
                                            <p:strVal val="#ppt_y"/>
                                          </p:val>
                                        </p:tav>
                                      </p:tavLst>
                                    </p:anim>
                                  </p:childTnLst>
                                </p:cTn>
                              </p:par>
                            </p:childTnLst>
                          </p:cTn>
                        </p:par>
                        <p:par>
                          <p:cTn id="76" fill="hold">
                            <p:stCondLst>
                              <p:cond delay="8000"/>
                            </p:stCondLst>
                            <p:childTnLst>
                              <p:par>
                                <p:cTn id="77" presetID="22" presetClass="entr" presetSubtype="4" fill="hold" grpId="0" nodeType="afterEffect">
                                  <p:stCondLst>
                                    <p:cond delay="0"/>
                                  </p:stCondLst>
                                  <p:childTnLst>
                                    <p:set>
                                      <p:cBhvr>
                                        <p:cTn id="78" dur="1" fill="hold">
                                          <p:stCondLst>
                                            <p:cond delay="0"/>
                                          </p:stCondLst>
                                        </p:cTn>
                                        <p:tgtEl>
                                          <p:spTgt spid="8"/>
                                        </p:tgtEl>
                                        <p:attrNameLst>
                                          <p:attrName>style.visibility</p:attrName>
                                        </p:attrNameLst>
                                      </p:cBhvr>
                                      <p:to>
                                        <p:strVal val="visible"/>
                                      </p:to>
                                    </p:set>
                                    <p:animEffect transition="in" filter="wipe(down)">
                                      <p:cBhvr>
                                        <p:cTn id="79" dur="500"/>
                                        <p:tgtEl>
                                          <p:spTgt spid="8"/>
                                        </p:tgtEl>
                                      </p:cBhvr>
                                    </p:animEffect>
                                  </p:childTnLst>
                                </p:cTn>
                              </p:par>
                            </p:childTnLst>
                          </p:cTn>
                        </p:par>
                        <p:par>
                          <p:cTn id="80" fill="hold">
                            <p:stCondLst>
                              <p:cond delay="8500"/>
                            </p:stCondLst>
                            <p:childTnLst>
                              <p:par>
                                <p:cTn id="81" presetID="22" presetClass="entr" presetSubtype="8" fill="hold" nodeType="afterEffect">
                                  <p:stCondLst>
                                    <p:cond delay="0"/>
                                  </p:stCondLst>
                                  <p:childTnLst>
                                    <p:set>
                                      <p:cBhvr>
                                        <p:cTn id="82" dur="1" fill="hold">
                                          <p:stCondLst>
                                            <p:cond delay="0"/>
                                          </p:stCondLst>
                                        </p:cTn>
                                        <p:tgtEl>
                                          <p:spTgt spid="2"/>
                                        </p:tgtEl>
                                        <p:attrNameLst>
                                          <p:attrName>style.visibility</p:attrName>
                                        </p:attrNameLst>
                                      </p:cBhvr>
                                      <p:to>
                                        <p:strVal val="visible"/>
                                      </p:to>
                                    </p:set>
                                    <p:animEffect transition="in" filter="wipe(left)">
                                      <p:cBhvr>
                                        <p:cTn id="83" dur="500"/>
                                        <p:tgtEl>
                                          <p:spTgt spid="2"/>
                                        </p:tgtEl>
                                      </p:cBhvr>
                                    </p:animEffect>
                                  </p:childTnLst>
                                </p:cTn>
                              </p:par>
                            </p:childTnLst>
                          </p:cTn>
                        </p:par>
                        <p:par>
                          <p:cTn id="84" fill="hold">
                            <p:stCondLst>
                              <p:cond delay="9000"/>
                            </p:stCondLst>
                            <p:childTnLst>
                              <p:par>
                                <p:cTn id="85" presetID="22" presetClass="entr" presetSubtype="8" fill="hold" grpId="0" nodeType="afterEffect">
                                  <p:stCondLst>
                                    <p:cond delay="0"/>
                                  </p:stCondLst>
                                  <p:childTnLst>
                                    <p:set>
                                      <p:cBhvr>
                                        <p:cTn id="86" dur="1" fill="hold">
                                          <p:stCondLst>
                                            <p:cond delay="0"/>
                                          </p:stCondLst>
                                        </p:cTn>
                                        <p:tgtEl>
                                          <p:spTgt spid="21"/>
                                        </p:tgtEl>
                                        <p:attrNameLst>
                                          <p:attrName>style.visibility</p:attrName>
                                        </p:attrNameLst>
                                      </p:cBhvr>
                                      <p:to>
                                        <p:strVal val="visible"/>
                                      </p:to>
                                    </p:set>
                                    <p:animEffect transition="in" filter="wipe(left)">
                                      <p:cBhvr>
                                        <p:cTn id="87" dur="500"/>
                                        <p:tgtEl>
                                          <p:spTgt spid="21"/>
                                        </p:tgtEl>
                                      </p:cBhvr>
                                    </p:animEffect>
                                  </p:childTnLst>
                                </p:cTn>
                              </p:par>
                            </p:childTnLst>
                          </p:cTn>
                        </p:par>
                        <p:par>
                          <p:cTn id="88" fill="hold">
                            <p:stCondLst>
                              <p:cond delay="9500"/>
                            </p:stCondLst>
                            <p:childTnLst>
                              <p:par>
                                <p:cTn id="89" presetID="10" presetClass="entr" presetSubtype="0" fill="hold" grpId="0" nodeType="afterEffect">
                                  <p:stCondLst>
                                    <p:cond delay="0"/>
                                  </p:stCondLst>
                                  <p:childTnLst>
                                    <p:set>
                                      <p:cBhvr>
                                        <p:cTn id="90" dur="1" fill="hold">
                                          <p:stCondLst>
                                            <p:cond delay="0"/>
                                          </p:stCondLst>
                                        </p:cTn>
                                        <p:tgtEl>
                                          <p:spTgt spid="30"/>
                                        </p:tgtEl>
                                        <p:attrNameLst>
                                          <p:attrName>style.visibility</p:attrName>
                                        </p:attrNameLst>
                                      </p:cBhvr>
                                      <p:to>
                                        <p:strVal val="visible"/>
                                      </p:to>
                                    </p:set>
                                    <p:animEffect transition="in" filter="fade">
                                      <p:cBhvr>
                                        <p:cTn id="91" dur="500"/>
                                        <p:tgtEl>
                                          <p:spTgt spid="30"/>
                                        </p:tgtEl>
                                      </p:cBhvr>
                                    </p:animEffect>
                                  </p:childTnLst>
                                </p:cTn>
                              </p:par>
                            </p:childTnLst>
                          </p:cTn>
                        </p:par>
                        <p:par>
                          <p:cTn id="92" fill="hold">
                            <p:stCondLst>
                              <p:cond delay="10000"/>
                            </p:stCondLst>
                            <p:childTnLst>
                              <p:par>
                                <p:cTn id="93" presetID="53" presetClass="entr" presetSubtype="16" fill="hold" nodeType="afterEffect">
                                  <p:stCondLst>
                                    <p:cond delay="0"/>
                                  </p:stCondLst>
                                  <p:childTnLst>
                                    <p:set>
                                      <p:cBhvr>
                                        <p:cTn id="94" dur="1" fill="hold">
                                          <p:stCondLst>
                                            <p:cond delay="0"/>
                                          </p:stCondLst>
                                        </p:cTn>
                                        <p:tgtEl>
                                          <p:spTgt spid="16"/>
                                        </p:tgtEl>
                                        <p:attrNameLst>
                                          <p:attrName>style.visibility</p:attrName>
                                        </p:attrNameLst>
                                      </p:cBhvr>
                                      <p:to>
                                        <p:strVal val="visible"/>
                                      </p:to>
                                    </p:set>
                                    <p:anim calcmode="lin" valueType="num">
                                      <p:cBhvr>
                                        <p:cTn id="95" dur="500" fill="hold"/>
                                        <p:tgtEl>
                                          <p:spTgt spid="16"/>
                                        </p:tgtEl>
                                        <p:attrNameLst>
                                          <p:attrName>ppt_w</p:attrName>
                                        </p:attrNameLst>
                                      </p:cBhvr>
                                      <p:tavLst>
                                        <p:tav tm="0">
                                          <p:val>
                                            <p:fltVal val="0"/>
                                          </p:val>
                                        </p:tav>
                                        <p:tav tm="100000">
                                          <p:val>
                                            <p:strVal val="#ppt_w"/>
                                          </p:val>
                                        </p:tav>
                                      </p:tavLst>
                                    </p:anim>
                                    <p:anim calcmode="lin" valueType="num">
                                      <p:cBhvr>
                                        <p:cTn id="96" dur="500" fill="hold"/>
                                        <p:tgtEl>
                                          <p:spTgt spid="16"/>
                                        </p:tgtEl>
                                        <p:attrNameLst>
                                          <p:attrName>ppt_h</p:attrName>
                                        </p:attrNameLst>
                                      </p:cBhvr>
                                      <p:tavLst>
                                        <p:tav tm="0">
                                          <p:val>
                                            <p:fltVal val="0"/>
                                          </p:val>
                                        </p:tav>
                                        <p:tav tm="100000">
                                          <p:val>
                                            <p:strVal val="#ppt_h"/>
                                          </p:val>
                                        </p:tav>
                                      </p:tavLst>
                                    </p:anim>
                                    <p:animEffect transition="in" filter="fade">
                                      <p:cBhvr>
                                        <p:cTn id="97" dur="500"/>
                                        <p:tgtEl>
                                          <p:spTgt spid="16"/>
                                        </p:tgtEl>
                                      </p:cBhvr>
                                    </p:animEffect>
                                  </p:childTnLst>
                                </p:cTn>
                              </p:par>
                            </p:childTnLst>
                          </p:cTn>
                        </p:par>
                        <p:par>
                          <p:cTn id="98" fill="hold">
                            <p:stCondLst>
                              <p:cond delay="10500"/>
                            </p:stCondLst>
                            <p:childTnLst>
                              <p:par>
                                <p:cTn id="99" presetID="22" presetClass="entr" presetSubtype="8" fill="hold" grpId="0" nodeType="afterEffect">
                                  <p:stCondLst>
                                    <p:cond delay="0"/>
                                  </p:stCondLst>
                                  <p:childTnLst>
                                    <p:set>
                                      <p:cBhvr>
                                        <p:cTn id="100" dur="1" fill="hold">
                                          <p:stCondLst>
                                            <p:cond delay="0"/>
                                          </p:stCondLst>
                                        </p:cTn>
                                        <p:tgtEl>
                                          <p:spTgt spid="27"/>
                                        </p:tgtEl>
                                        <p:attrNameLst>
                                          <p:attrName>style.visibility</p:attrName>
                                        </p:attrNameLst>
                                      </p:cBhvr>
                                      <p:to>
                                        <p:strVal val="visible"/>
                                      </p:to>
                                    </p:set>
                                    <p:animEffect transition="in" filter="wipe(left)">
                                      <p:cBhvr>
                                        <p:cTn id="101" dur="500"/>
                                        <p:tgtEl>
                                          <p:spTgt spid="27"/>
                                        </p:tgtEl>
                                      </p:cBhvr>
                                    </p:animEffect>
                                  </p:childTnLst>
                                </p:cTn>
                              </p:par>
                            </p:childTnLst>
                          </p:cTn>
                        </p:par>
                        <p:par>
                          <p:cTn id="102" fill="hold">
                            <p:stCondLst>
                              <p:cond delay="11000"/>
                            </p:stCondLst>
                            <p:childTnLst>
                              <p:par>
                                <p:cTn id="103" presetID="42" presetClass="entr" presetSubtype="0" fill="hold" grpId="0" nodeType="afterEffect">
                                  <p:stCondLst>
                                    <p:cond delay="0"/>
                                  </p:stCondLst>
                                  <p:childTnLst>
                                    <p:set>
                                      <p:cBhvr>
                                        <p:cTn id="104" dur="1" fill="hold">
                                          <p:stCondLst>
                                            <p:cond delay="0"/>
                                          </p:stCondLst>
                                        </p:cTn>
                                        <p:tgtEl>
                                          <p:spTgt spid="26"/>
                                        </p:tgtEl>
                                        <p:attrNameLst>
                                          <p:attrName>style.visibility</p:attrName>
                                        </p:attrNameLst>
                                      </p:cBhvr>
                                      <p:to>
                                        <p:strVal val="visible"/>
                                      </p:to>
                                    </p:set>
                                    <p:animEffect transition="in" filter="fade">
                                      <p:cBhvr>
                                        <p:cTn id="105" dur="500"/>
                                        <p:tgtEl>
                                          <p:spTgt spid="26"/>
                                        </p:tgtEl>
                                      </p:cBhvr>
                                    </p:animEffect>
                                    <p:anim calcmode="lin" valueType="num">
                                      <p:cBhvr>
                                        <p:cTn id="106" dur="500" fill="hold"/>
                                        <p:tgtEl>
                                          <p:spTgt spid="26"/>
                                        </p:tgtEl>
                                        <p:attrNameLst>
                                          <p:attrName>ppt_x</p:attrName>
                                        </p:attrNameLst>
                                      </p:cBhvr>
                                      <p:tavLst>
                                        <p:tav tm="0">
                                          <p:val>
                                            <p:strVal val="#ppt_x"/>
                                          </p:val>
                                        </p:tav>
                                        <p:tav tm="100000">
                                          <p:val>
                                            <p:strVal val="#ppt_x"/>
                                          </p:val>
                                        </p:tav>
                                      </p:tavLst>
                                    </p:anim>
                                    <p:anim calcmode="lin" valueType="num">
                                      <p:cBhvr>
                                        <p:cTn id="107" dur="500" fill="hold"/>
                                        <p:tgtEl>
                                          <p:spTgt spid="2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7" grpId="0" animBg="1"/>
      <p:bldP spid="8" grpId="0" animBg="1"/>
      <p:bldP spid="9" grpId="0"/>
      <p:bldP spid="19" grpId="0"/>
      <p:bldP spid="20" grpId="0"/>
      <p:bldP spid="21" grpId="0"/>
      <p:bldP spid="22" grpId="0"/>
      <p:bldP spid="23" grpId="0"/>
      <p:bldP spid="24" grpId="0"/>
      <p:bldP spid="25" grpId="0"/>
      <p:bldP spid="26" grpId="0"/>
      <p:bldP spid="27" grpId="0"/>
      <p:bldP spid="28" grpId="0"/>
      <p:bldP spid="29" grpId="0"/>
      <p:bldP spid="30" grpId="0"/>
    </p:bldLst>
  </p:timing>
</p:sld>
</file>

<file path=ppt/slides/slide6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39">
            <a:extLst>
              <a:ext uri="{FF2B5EF4-FFF2-40B4-BE49-F238E27FC236}">
                <a16:creationId xmlns:a16="http://schemas.microsoft.com/office/drawing/2014/main" id="{9BD3A4EB-C412-495A-9D19-346D15680A7D}"/>
              </a:ext>
            </a:extLst>
          </p:cNvPr>
          <p:cNvSpPr/>
          <p:nvPr/>
        </p:nvSpPr>
        <p:spPr>
          <a:xfrm>
            <a:off x="0" y="0"/>
            <a:ext cx="12192000" cy="4559299"/>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等线" panose="020F0502020204030204"/>
              <a:ea typeface="+mn-ea"/>
              <a:cs typeface="+mn-cs"/>
            </a:endParaRPr>
          </a:p>
        </p:txBody>
      </p:sp>
      <p:sp>
        <p:nvSpPr>
          <p:cNvPr id="3" name="TextBox 41">
            <a:extLst>
              <a:ext uri="{FF2B5EF4-FFF2-40B4-BE49-F238E27FC236}">
                <a16:creationId xmlns:a16="http://schemas.microsoft.com/office/drawing/2014/main" id="{BB9D7AC4-F316-48BD-8D5B-CCFDA29088B8}"/>
              </a:ext>
            </a:extLst>
          </p:cNvPr>
          <p:cNvSpPr txBox="1"/>
          <p:nvPr/>
        </p:nvSpPr>
        <p:spPr>
          <a:xfrm>
            <a:off x="1192981" y="1231670"/>
            <a:ext cx="5763791" cy="1754326"/>
          </a:xfrm>
          <a:prstGeom prst="rect">
            <a:avLst/>
          </a:prstGeom>
          <a:noFill/>
        </p:spPr>
        <p:txBody>
          <a:bodyPr wrap="square" rtlCol="0">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6000" b="1" i="0" u="none" strike="noStrike" kern="1200" cap="none" spc="0" normalizeH="0" baseline="0" noProof="0" dirty="0">
                <a:ln>
                  <a:noFill/>
                </a:ln>
                <a:solidFill>
                  <a:srgbClr val="FFFFFF"/>
                </a:solidFill>
                <a:effectLst/>
                <a:uLnTx/>
                <a:uFillTx/>
                <a:latin typeface="等线 Light" panose="020F0302020204030204"/>
                <a:ea typeface="+mn-ea"/>
                <a:cs typeface="Arial" panose="020B0604020202020204" pitchFamily="34" charset="0"/>
              </a:rPr>
              <a:t>Your Title Text Goes Here</a:t>
            </a:r>
          </a:p>
        </p:txBody>
      </p:sp>
      <p:sp>
        <p:nvSpPr>
          <p:cNvPr id="4" name="TextBox 42">
            <a:extLst>
              <a:ext uri="{FF2B5EF4-FFF2-40B4-BE49-F238E27FC236}">
                <a16:creationId xmlns:a16="http://schemas.microsoft.com/office/drawing/2014/main" id="{C8BCC1A7-AF7B-4AE3-9106-FF1E425CBFDC}"/>
              </a:ext>
            </a:extLst>
          </p:cNvPr>
          <p:cNvSpPr txBox="1"/>
          <p:nvPr/>
        </p:nvSpPr>
        <p:spPr>
          <a:xfrm>
            <a:off x="1192981" y="2985996"/>
            <a:ext cx="5763791" cy="341632"/>
          </a:xfrm>
          <a:prstGeom prst="rect">
            <a:avLst/>
          </a:prstGeom>
          <a:noFill/>
        </p:spPr>
        <p:txBody>
          <a:bodyPr wrap="square" rtlCol="0">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等线" panose="020F0502020204030204"/>
                <a:ea typeface="+mn-ea"/>
                <a:cs typeface="Arial" panose="020B0604020202020204" pitchFamily="34" charset="0"/>
              </a:rPr>
              <a:t>Insert Your Tagline Here</a:t>
            </a:r>
          </a:p>
        </p:txBody>
      </p:sp>
      <p:grpSp>
        <p:nvGrpSpPr>
          <p:cNvPr id="5" name="Group 4">
            <a:extLst>
              <a:ext uri="{FF2B5EF4-FFF2-40B4-BE49-F238E27FC236}">
                <a16:creationId xmlns:a16="http://schemas.microsoft.com/office/drawing/2014/main" id="{6030138F-D731-441D-80B2-A8754784FB1A}"/>
              </a:ext>
            </a:extLst>
          </p:cNvPr>
          <p:cNvGrpSpPr/>
          <p:nvPr/>
        </p:nvGrpSpPr>
        <p:grpSpPr>
          <a:xfrm>
            <a:off x="3186598" y="4178300"/>
            <a:ext cx="1036724" cy="650546"/>
            <a:chOff x="3186598" y="4178300"/>
            <a:chExt cx="1036724" cy="650546"/>
          </a:xfrm>
        </p:grpSpPr>
        <p:sp>
          <p:nvSpPr>
            <p:cNvPr id="6" name="Freeform: Shape 95">
              <a:extLst>
                <a:ext uri="{FF2B5EF4-FFF2-40B4-BE49-F238E27FC236}">
                  <a16:creationId xmlns:a16="http://schemas.microsoft.com/office/drawing/2014/main" id="{3EC2D42F-8D36-42C6-BF75-8681F7B1B2FF}"/>
                </a:ext>
              </a:extLst>
            </p:cNvPr>
            <p:cNvSpPr/>
            <p:nvPr/>
          </p:nvSpPr>
          <p:spPr>
            <a:xfrm>
              <a:off x="3186815" y="4178300"/>
              <a:ext cx="1036507" cy="381000"/>
            </a:xfrm>
            <a:custGeom>
              <a:avLst/>
              <a:gdLst>
                <a:gd name="connsiteX0" fmla="*/ 571105 w 1036507"/>
                <a:gd name="connsiteY0" fmla="*/ 0 h 381000"/>
                <a:gd name="connsiteX1" fmla="*/ 584871 w 1036507"/>
                <a:gd name="connsiteY1" fmla="*/ 0 h 381000"/>
                <a:gd name="connsiteX2" fmla="*/ 591751 w 1036507"/>
                <a:gd name="connsiteY2" fmla="*/ 530 h 381000"/>
                <a:gd name="connsiteX3" fmla="*/ 597576 w 1036507"/>
                <a:gd name="connsiteY3" fmla="*/ 2119 h 381000"/>
                <a:gd name="connsiteX4" fmla="*/ 603928 w 1036507"/>
                <a:gd name="connsiteY4" fmla="*/ 3708 h 381000"/>
                <a:gd name="connsiteX5" fmla="*/ 609222 w 1036507"/>
                <a:gd name="connsiteY5" fmla="*/ 5827 h 381000"/>
                <a:gd name="connsiteX6" fmla="*/ 619811 w 1036507"/>
                <a:gd name="connsiteY6" fmla="*/ 11123 h 381000"/>
                <a:gd name="connsiteX7" fmla="*/ 629871 w 1036507"/>
                <a:gd name="connsiteY7" fmla="*/ 17480 h 381000"/>
                <a:gd name="connsiteX8" fmla="*/ 639930 w 1036507"/>
                <a:gd name="connsiteY8" fmla="*/ 24895 h 381000"/>
                <a:gd name="connsiteX9" fmla="*/ 648931 w 1036507"/>
                <a:gd name="connsiteY9" fmla="*/ 32840 h 381000"/>
                <a:gd name="connsiteX10" fmla="*/ 667990 w 1036507"/>
                <a:gd name="connsiteY10" fmla="*/ 50320 h 381000"/>
                <a:gd name="connsiteX11" fmla="*/ 687050 w 1036507"/>
                <a:gd name="connsiteY11" fmla="*/ 68329 h 381000"/>
                <a:gd name="connsiteX12" fmla="*/ 696050 w 1036507"/>
                <a:gd name="connsiteY12" fmla="*/ 77863 h 381000"/>
                <a:gd name="connsiteX13" fmla="*/ 706110 w 1036507"/>
                <a:gd name="connsiteY13" fmla="*/ 85808 h 381000"/>
                <a:gd name="connsiteX14" fmla="*/ 716169 w 1036507"/>
                <a:gd name="connsiteY14" fmla="*/ 93753 h 381000"/>
                <a:gd name="connsiteX15" fmla="*/ 725699 w 1036507"/>
                <a:gd name="connsiteY15" fmla="*/ 100639 h 381000"/>
                <a:gd name="connsiteX16" fmla="*/ 736818 w 1036507"/>
                <a:gd name="connsiteY16" fmla="*/ 106465 h 381000"/>
                <a:gd name="connsiteX17" fmla="*/ 747406 w 1036507"/>
                <a:gd name="connsiteY17" fmla="*/ 111762 h 381000"/>
                <a:gd name="connsiteX18" fmla="*/ 753229 w 1036507"/>
                <a:gd name="connsiteY18" fmla="*/ 113351 h 381000"/>
                <a:gd name="connsiteX19" fmla="*/ 758524 w 1036507"/>
                <a:gd name="connsiteY19" fmla="*/ 115999 h 381000"/>
                <a:gd name="connsiteX20" fmla="*/ 764878 w 1036507"/>
                <a:gd name="connsiteY20" fmla="*/ 116529 h 381000"/>
                <a:gd name="connsiteX21" fmla="*/ 770700 w 1036507"/>
                <a:gd name="connsiteY21" fmla="*/ 117059 h 381000"/>
                <a:gd name="connsiteX22" fmla="*/ 782348 w 1036507"/>
                <a:gd name="connsiteY22" fmla="*/ 118648 h 381000"/>
                <a:gd name="connsiteX23" fmla="*/ 793995 w 1036507"/>
                <a:gd name="connsiteY23" fmla="*/ 121296 h 381000"/>
                <a:gd name="connsiteX24" fmla="*/ 805113 w 1036507"/>
                <a:gd name="connsiteY24" fmla="*/ 125004 h 381000"/>
                <a:gd name="connsiteX25" fmla="*/ 815701 w 1036507"/>
                <a:gd name="connsiteY25" fmla="*/ 128712 h 381000"/>
                <a:gd name="connsiteX26" fmla="*/ 825761 w 1036507"/>
                <a:gd name="connsiteY26" fmla="*/ 133479 h 381000"/>
                <a:gd name="connsiteX27" fmla="*/ 835820 w 1036507"/>
                <a:gd name="connsiteY27" fmla="*/ 137716 h 381000"/>
                <a:gd name="connsiteX28" fmla="*/ 845350 w 1036507"/>
                <a:gd name="connsiteY28" fmla="*/ 144072 h 381000"/>
                <a:gd name="connsiteX29" fmla="*/ 854880 w 1036507"/>
                <a:gd name="connsiteY29" fmla="*/ 149899 h 381000"/>
                <a:gd name="connsiteX30" fmla="*/ 863350 w 1036507"/>
                <a:gd name="connsiteY30" fmla="*/ 156785 h 381000"/>
                <a:gd name="connsiteX31" fmla="*/ 871292 w 1036507"/>
                <a:gd name="connsiteY31" fmla="*/ 163670 h 381000"/>
                <a:gd name="connsiteX32" fmla="*/ 879763 w 1036507"/>
                <a:gd name="connsiteY32" fmla="*/ 171616 h 381000"/>
                <a:gd name="connsiteX33" fmla="*/ 886645 w 1036507"/>
                <a:gd name="connsiteY33" fmla="*/ 179031 h 381000"/>
                <a:gd name="connsiteX34" fmla="*/ 894587 w 1036507"/>
                <a:gd name="connsiteY34" fmla="*/ 186976 h 381000"/>
                <a:gd name="connsiteX35" fmla="*/ 900411 w 1036507"/>
                <a:gd name="connsiteY35" fmla="*/ 194921 h 381000"/>
                <a:gd name="connsiteX36" fmla="*/ 906764 w 1036507"/>
                <a:gd name="connsiteY36" fmla="*/ 203396 h 381000"/>
                <a:gd name="connsiteX37" fmla="*/ 912588 w 1036507"/>
                <a:gd name="connsiteY37" fmla="*/ 211871 h 381000"/>
                <a:gd name="connsiteX38" fmla="*/ 919471 w 1036507"/>
                <a:gd name="connsiteY38" fmla="*/ 220876 h 381000"/>
                <a:gd name="connsiteX39" fmla="*/ 928471 w 1036507"/>
                <a:gd name="connsiteY39" fmla="*/ 231999 h 381000"/>
                <a:gd name="connsiteX40" fmla="*/ 939589 w 1036507"/>
                <a:gd name="connsiteY40" fmla="*/ 243122 h 381000"/>
                <a:gd name="connsiteX41" fmla="*/ 950707 w 1036507"/>
                <a:gd name="connsiteY41" fmla="*/ 256364 h 381000"/>
                <a:gd name="connsiteX42" fmla="*/ 963943 w 1036507"/>
                <a:gd name="connsiteY42" fmla="*/ 270135 h 381000"/>
                <a:gd name="connsiteX43" fmla="*/ 976649 w 1036507"/>
                <a:gd name="connsiteY43" fmla="*/ 284966 h 381000"/>
                <a:gd name="connsiteX44" fmla="*/ 989885 w 1036507"/>
                <a:gd name="connsiteY44" fmla="*/ 300327 h 381000"/>
                <a:gd name="connsiteX45" fmla="*/ 1002592 w 1036507"/>
                <a:gd name="connsiteY45" fmla="*/ 316217 h 381000"/>
                <a:gd name="connsiteX46" fmla="*/ 1014231 w 1036507"/>
                <a:gd name="connsiteY46" fmla="*/ 333167 h 381000"/>
                <a:gd name="connsiteX47" fmla="*/ 1023230 w 1036507"/>
                <a:gd name="connsiteY47" fmla="*/ 349057 h 381000"/>
                <a:gd name="connsiteX48" fmla="*/ 1027996 w 1036507"/>
                <a:gd name="connsiteY48" fmla="*/ 357532 h 381000"/>
                <a:gd name="connsiteX49" fmla="*/ 1031703 w 1036507"/>
                <a:gd name="connsiteY49" fmla="*/ 366007 h 381000"/>
                <a:gd name="connsiteX50" fmla="*/ 1034879 w 1036507"/>
                <a:gd name="connsiteY50" fmla="*/ 374482 h 381000"/>
                <a:gd name="connsiteX51" fmla="*/ 1036507 w 1036507"/>
                <a:gd name="connsiteY51" fmla="*/ 381000 h 381000"/>
                <a:gd name="connsiteX52" fmla="*/ 0 w 1036507"/>
                <a:gd name="connsiteY52" fmla="*/ 381000 h 381000"/>
                <a:gd name="connsiteX53" fmla="*/ 4619 w 1036507"/>
                <a:gd name="connsiteY53" fmla="*/ 367596 h 381000"/>
                <a:gd name="connsiteX54" fmla="*/ 10972 w 1036507"/>
                <a:gd name="connsiteY54" fmla="*/ 352235 h 381000"/>
                <a:gd name="connsiteX55" fmla="*/ 16796 w 1036507"/>
                <a:gd name="connsiteY55" fmla="*/ 336875 h 381000"/>
                <a:gd name="connsiteX56" fmla="*/ 24738 w 1036507"/>
                <a:gd name="connsiteY56" fmla="*/ 322573 h 381000"/>
                <a:gd name="connsiteX57" fmla="*/ 32150 w 1036507"/>
                <a:gd name="connsiteY57" fmla="*/ 307213 h 381000"/>
                <a:gd name="connsiteX58" fmla="*/ 40620 w 1036507"/>
                <a:gd name="connsiteY58" fmla="*/ 292912 h 381000"/>
                <a:gd name="connsiteX59" fmla="*/ 49621 w 1036507"/>
                <a:gd name="connsiteY59" fmla="*/ 279140 h 381000"/>
                <a:gd name="connsiteX60" fmla="*/ 59680 w 1036507"/>
                <a:gd name="connsiteY60" fmla="*/ 265368 h 381000"/>
                <a:gd name="connsiteX61" fmla="*/ 69739 w 1036507"/>
                <a:gd name="connsiteY61" fmla="*/ 252126 h 381000"/>
                <a:gd name="connsiteX62" fmla="*/ 80857 w 1036507"/>
                <a:gd name="connsiteY62" fmla="*/ 239944 h 381000"/>
                <a:gd name="connsiteX63" fmla="*/ 93034 w 1036507"/>
                <a:gd name="connsiteY63" fmla="*/ 228821 h 381000"/>
                <a:gd name="connsiteX64" fmla="*/ 106270 w 1036507"/>
                <a:gd name="connsiteY64" fmla="*/ 218227 h 381000"/>
                <a:gd name="connsiteX65" fmla="*/ 120035 w 1036507"/>
                <a:gd name="connsiteY65" fmla="*/ 208693 h 381000"/>
                <a:gd name="connsiteX66" fmla="*/ 134329 w 1036507"/>
                <a:gd name="connsiteY66" fmla="*/ 199688 h 381000"/>
                <a:gd name="connsiteX67" fmla="*/ 150212 w 1036507"/>
                <a:gd name="connsiteY67" fmla="*/ 192803 h 381000"/>
                <a:gd name="connsiteX68" fmla="*/ 181449 w 1036507"/>
                <a:gd name="connsiteY68" fmla="*/ 179031 h 381000"/>
                <a:gd name="connsiteX69" fmla="*/ 210568 w 1036507"/>
                <a:gd name="connsiteY69" fmla="*/ 165259 h 381000"/>
                <a:gd name="connsiteX70" fmla="*/ 238098 w 1036507"/>
                <a:gd name="connsiteY70" fmla="*/ 151488 h 381000"/>
                <a:gd name="connsiteX71" fmla="*/ 264041 w 1036507"/>
                <a:gd name="connsiteY71" fmla="*/ 138776 h 381000"/>
                <a:gd name="connsiteX72" fmla="*/ 288394 w 1036507"/>
                <a:gd name="connsiteY72" fmla="*/ 125534 h 381000"/>
                <a:gd name="connsiteX73" fmla="*/ 310631 w 1036507"/>
                <a:gd name="connsiteY73" fmla="*/ 113351 h 381000"/>
                <a:gd name="connsiteX74" fmla="*/ 330220 w 1036507"/>
                <a:gd name="connsiteY74" fmla="*/ 101169 h 381000"/>
                <a:gd name="connsiteX75" fmla="*/ 348750 w 1036507"/>
                <a:gd name="connsiteY75" fmla="*/ 90575 h 381000"/>
                <a:gd name="connsiteX76" fmla="*/ 378398 w 1036507"/>
                <a:gd name="connsiteY76" fmla="*/ 70977 h 381000"/>
                <a:gd name="connsiteX77" fmla="*/ 400635 w 1036507"/>
                <a:gd name="connsiteY77" fmla="*/ 55616 h 381000"/>
                <a:gd name="connsiteX78" fmla="*/ 413870 w 1036507"/>
                <a:gd name="connsiteY78" fmla="*/ 45552 h 381000"/>
                <a:gd name="connsiteX79" fmla="*/ 418634 w 1036507"/>
                <a:gd name="connsiteY79" fmla="*/ 42374 h 381000"/>
                <a:gd name="connsiteX80" fmla="*/ 423928 w 1036507"/>
                <a:gd name="connsiteY80" fmla="*/ 39196 h 381000"/>
                <a:gd name="connsiteX81" fmla="*/ 439810 w 1036507"/>
                <a:gd name="connsiteY81" fmla="*/ 33370 h 381000"/>
                <a:gd name="connsiteX82" fmla="*/ 463633 w 1036507"/>
                <a:gd name="connsiteY82" fmla="*/ 24365 h 381000"/>
                <a:gd name="connsiteX83" fmla="*/ 492753 w 1036507"/>
                <a:gd name="connsiteY83" fmla="*/ 14301 h 381000"/>
                <a:gd name="connsiteX84" fmla="*/ 508635 w 1036507"/>
                <a:gd name="connsiteY84" fmla="*/ 10594 h 381000"/>
                <a:gd name="connsiteX85" fmla="*/ 523987 w 1036507"/>
                <a:gd name="connsiteY85" fmla="*/ 5827 h 381000"/>
                <a:gd name="connsiteX86" fmla="*/ 539869 w 1036507"/>
                <a:gd name="connsiteY86" fmla="*/ 2649 h 381000"/>
                <a:gd name="connsiteX87" fmla="*/ 555751 w 1036507"/>
                <a:gd name="connsiteY87" fmla="*/ 530 h 381000"/>
                <a:gd name="connsiteX88" fmla="*/ 571105 w 1036507"/>
                <a:gd name="connsiteY88" fmla="*/ 0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1036507" h="381000">
                  <a:moveTo>
                    <a:pt x="571105" y="0"/>
                  </a:moveTo>
                  <a:lnTo>
                    <a:pt x="584871" y="0"/>
                  </a:lnTo>
                  <a:lnTo>
                    <a:pt x="591751" y="530"/>
                  </a:lnTo>
                  <a:lnTo>
                    <a:pt x="597576" y="2119"/>
                  </a:lnTo>
                  <a:lnTo>
                    <a:pt x="603928" y="3708"/>
                  </a:lnTo>
                  <a:lnTo>
                    <a:pt x="609222" y="5827"/>
                  </a:lnTo>
                  <a:lnTo>
                    <a:pt x="619811" y="11123"/>
                  </a:lnTo>
                  <a:lnTo>
                    <a:pt x="629871" y="17480"/>
                  </a:lnTo>
                  <a:lnTo>
                    <a:pt x="639930" y="24895"/>
                  </a:lnTo>
                  <a:lnTo>
                    <a:pt x="648931" y="32840"/>
                  </a:lnTo>
                  <a:lnTo>
                    <a:pt x="667990" y="50320"/>
                  </a:lnTo>
                  <a:lnTo>
                    <a:pt x="687050" y="68329"/>
                  </a:lnTo>
                  <a:lnTo>
                    <a:pt x="696050" y="77863"/>
                  </a:lnTo>
                  <a:lnTo>
                    <a:pt x="706110" y="85808"/>
                  </a:lnTo>
                  <a:lnTo>
                    <a:pt x="716169" y="93753"/>
                  </a:lnTo>
                  <a:lnTo>
                    <a:pt x="725699" y="100639"/>
                  </a:lnTo>
                  <a:lnTo>
                    <a:pt x="736818" y="106465"/>
                  </a:lnTo>
                  <a:lnTo>
                    <a:pt x="747406" y="111762"/>
                  </a:lnTo>
                  <a:lnTo>
                    <a:pt x="753229" y="113351"/>
                  </a:lnTo>
                  <a:lnTo>
                    <a:pt x="758524" y="115999"/>
                  </a:lnTo>
                  <a:lnTo>
                    <a:pt x="764878" y="116529"/>
                  </a:lnTo>
                  <a:lnTo>
                    <a:pt x="770700" y="117059"/>
                  </a:lnTo>
                  <a:lnTo>
                    <a:pt x="782348" y="118648"/>
                  </a:lnTo>
                  <a:lnTo>
                    <a:pt x="793995" y="121296"/>
                  </a:lnTo>
                  <a:lnTo>
                    <a:pt x="805113" y="125004"/>
                  </a:lnTo>
                  <a:lnTo>
                    <a:pt x="815701" y="128712"/>
                  </a:lnTo>
                  <a:lnTo>
                    <a:pt x="825761" y="133479"/>
                  </a:lnTo>
                  <a:lnTo>
                    <a:pt x="835820" y="137716"/>
                  </a:lnTo>
                  <a:lnTo>
                    <a:pt x="845350" y="144072"/>
                  </a:lnTo>
                  <a:lnTo>
                    <a:pt x="854880" y="149899"/>
                  </a:lnTo>
                  <a:lnTo>
                    <a:pt x="863350" y="156785"/>
                  </a:lnTo>
                  <a:lnTo>
                    <a:pt x="871292" y="163670"/>
                  </a:lnTo>
                  <a:lnTo>
                    <a:pt x="879763" y="171616"/>
                  </a:lnTo>
                  <a:lnTo>
                    <a:pt x="886645" y="179031"/>
                  </a:lnTo>
                  <a:lnTo>
                    <a:pt x="894587" y="186976"/>
                  </a:lnTo>
                  <a:lnTo>
                    <a:pt x="900411" y="194921"/>
                  </a:lnTo>
                  <a:lnTo>
                    <a:pt x="906764" y="203396"/>
                  </a:lnTo>
                  <a:lnTo>
                    <a:pt x="912588" y="211871"/>
                  </a:lnTo>
                  <a:lnTo>
                    <a:pt x="919471" y="220876"/>
                  </a:lnTo>
                  <a:lnTo>
                    <a:pt x="928471" y="231999"/>
                  </a:lnTo>
                  <a:lnTo>
                    <a:pt x="939589" y="243122"/>
                  </a:lnTo>
                  <a:lnTo>
                    <a:pt x="950707" y="256364"/>
                  </a:lnTo>
                  <a:lnTo>
                    <a:pt x="963943" y="270135"/>
                  </a:lnTo>
                  <a:lnTo>
                    <a:pt x="976649" y="284966"/>
                  </a:lnTo>
                  <a:lnTo>
                    <a:pt x="989885" y="300327"/>
                  </a:lnTo>
                  <a:lnTo>
                    <a:pt x="1002592" y="316217"/>
                  </a:lnTo>
                  <a:lnTo>
                    <a:pt x="1014231" y="333167"/>
                  </a:lnTo>
                  <a:lnTo>
                    <a:pt x="1023230" y="349057"/>
                  </a:lnTo>
                  <a:lnTo>
                    <a:pt x="1027996" y="357532"/>
                  </a:lnTo>
                  <a:lnTo>
                    <a:pt x="1031703" y="366007"/>
                  </a:lnTo>
                  <a:lnTo>
                    <a:pt x="1034879" y="374482"/>
                  </a:lnTo>
                  <a:lnTo>
                    <a:pt x="1036507" y="381000"/>
                  </a:lnTo>
                  <a:lnTo>
                    <a:pt x="0" y="381000"/>
                  </a:lnTo>
                  <a:lnTo>
                    <a:pt x="4619" y="367596"/>
                  </a:lnTo>
                  <a:lnTo>
                    <a:pt x="10972" y="352235"/>
                  </a:lnTo>
                  <a:lnTo>
                    <a:pt x="16796" y="336875"/>
                  </a:lnTo>
                  <a:lnTo>
                    <a:pt x="24738" y="322573"/>
                  </a:lnTo>
                  <a:lnTo>
                    <a:pt x="32150" y="307213"/>
                  </a:lnTo>
                  <a:lnTo>
                    <a:pt x="40620" y="292912"/>
                  </a:lnTo>
                  <a:lnTo>
                    <a:pt x="49621" y="279140"/>
                  </a:lnTo>
                  <a:lnTo>
                    <a:pt x="59680" y="265368"/>
                  </a:lnTo>
                  <a:lnTo>
                    <a:pt x="69739" y="252126"/>
                  </a:lnTo>
                  <a:lnTo>
                    <a:pt x="80857" y="239944"/>
                  </a:lnTo>
                  <a:lnTo>
                    <a:pt x="93034" y="228821"/>
                  </a:lnTo>
                  <a:lnTo>
                    <a:pt x="106270" y="218227"/>
                  </a:lnTo>
                  <a:lnTo>
                    <a:pt x="120035" y="208693"/>
                  </a:lnTo>
                  <a:lnTo>
                    <a:pt x="134329" y="199688"/>
                  </a:lnTo>
                  <a:lnTo>
                    <a:pt x="150212" y="192803"/>
                  </a:lnTo>
                  <a:lnTo>
                    <a:pt x="181449" y="179031"/>
                  </a:lnTo>
                  <a:lnTo>
                    <a:pt x="210568" y="165259"/>
                  </a:lnTo>
                  <a:lnTo>
                    <a:pt x="238098" y="151488"/>
                  </a:lnTo>
                  <a:lnTo>
                    <a:pt x="264041" y="138776"/>
                  </a:lnTo>
                  <a:lnTo>
                    <a:pt x="288394" y="125534"/>
                  </a:lnTo>
                  <a:lnTo>
                    <a:pt x="310631" y="113351"/>
                  </a:lnTo>
                  <a:lnTo>
                    <a:pt x="330220" y="101169"/>
                  </a:lnTo>
                  <a:lnTo>
                    <a:pt x="348750" y="90575"/>
                  </a:lnTo>
                  <a:lnTo>
                    <a:pt x="378398" y="70977"/>
                  </a:lnTo>
                  <a:lnTo>
                    <a:pt x="400635" y="55616"/>
                  </a:lnTo>
                  <a:lnTo>
                    <a:pt x="413870" y="45552"/>
                  </a:lnTo>
                  <a:lnTo>
                    <a:pt x="418634" y="42374"/>
                  </a:lnTo>
                  <a:lnTo>
                    <a:pt x="423928" y="39196"/>
                  </a:lnTo>
                  <a:lnTo>
                    <a:pt x="439810" y="33370"/>
                  </a:lnTo>
                  <a:lnTo>
                    <a:pt x="463633" y="24365"/>
                  </a:lnTo>
                  <a:lnTo>
                    <a:pt x="492753" y="14301"/>
                  </a:lnTo>
                  <a:lnTo>
                    <a:pt x="508635" y="10594"/>
                  </a:lnTo>
                  <a:lnTo>
                    <a:pt x="523987" y="5827"/>
                  </a:lnTo>
                  <a:lnTo>
                    <a:pt x="539869" y="2649"/>
                  </a:lnTo>
                  <a:lnTo>
                    <a:pt x="555751" y="530"/>
                  </a:lnTo>
                  <a:lnTo>
                    <a:pt x="571105"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a:ln>
                  <a:noFill/>
                </a:ln>
                <a:solidFill>
                  <a:srgbClr val="FFFFFF"/>
                </a:solidFill>
                <a:effectLst/>
                <a:uLnTx/>
                <a:uFillTx/>
                <a:latin typeface="等线" panose="020F0502020204030204"/>
                <a:ea typeface="+mn-ea"/>
                <a:cs typeface="+mn-cs"/>
              </a:endParaRPr>
            </a:p>
          </p:txBody>
        </p:sp>
        <p:sp>
          <p:nvSpPr>
            <p:cNvPr id="7" name="TextBox 147">
              <a:extLst>
                <a:ext uri="{FF2B5EF4-FFF2-40B4-BE49-F238E27FC236}">
                  <a16:creationId xmlns:a16="http://schemas.microsoft.com/office/drawing/2014/main" id="{2000FDFB-E6A9-402E-A5F6-E8B0FCDA03D0}"/>
                </a:ext>
              </a:extLst>
            </p:cNvPr>
            <p:cNvSpPr txBox="1"/>
            <p:nvPr/>
          </p:nvSpPr>
          <p:spPr>
            <a:xfrm>
              <a:off x="3186598" y="4367181"/>
              <a:ext cx="1036507"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dirty="0">
                  <a:ln>
                    <a:noFill/>
                  </a:ln>
                  <a:solidFill>
                    <a:srgbClr val="FFD229"/>
                  </a:solidFill>
                  <a:effectLst/>
                  <a:uLnTx/>
                  <a:uFillTx/>
                  <a:latin typeface="等线" panose="020F0502020204030204"/>
                  <a:ea typeface="+mn-ea"/>
                  <a:cs typeface="+mn-cs"/>
                </a:rPr>
                <a:t>02</a:t>
              </a:r>
            </a:p>
          </p:txBody>
        </p:sp>
      </p:grpSp>
      <p:grpSp>
        <p:nvGrpSpPr>
          <p:cNvPr id="8" name="Group 5">
            <a:extLst>
              <a:ext uri="{FF2B5EF4-FFF2-40B4-BE49-F238E27FC236}">
                <a16:creationId xmlns:a16="http://schemas.microsoft.com/office/drawing/2014/main" id="{2973A881-F3C2-459C-AB4C-A0C085A6854B}"/>
              </a:ext>
            </a:extLst>
          </p:cNvPr>
          <p:cNvGrpSpPr/>
          <p:nvPr/>
        </p:nvGrpSpPr>
        <p:grpSpPr>
          <a:xfrm>
            <a:off x="5465810" y="3554414"/>
            <a:ext cx="1036507" cy="1274432"/>
            <a:chOff x="5465810" y="3554414"/>
            <a:chExt cx="1036507" cy="1274432"/>
          </a:xfrm>
        </p:grpSpPr>
        <p:sp>
          <p:nvSpPr>
            <p:cNvPr id="9" name="Freeform: Shape 137">
              <a:extLst>
                <a:ext uri="{FF2B5EF4-FFF2-40B4-BE49-F238E27FC236}">
                  <a16:creationId xmlns:a16="http://schemas.microsoft.com/office/drawing/2014/main" id="{47784FD2-78C8-47B2-8D2A-D5D35FC85C0F}"/>
                </a:ext>
              </a:extLst>
            </p:cNvPr>
            <p:cNvSpPr/>
            <p:nvPr/>
          </p:nvSpPr>
          <p:spPr>
            <a:xfrm>
              <a:off x="5466453" y="3554414"/>
              <a:ext cx="1035864" cy="1004887"/>
            </a:xfrm>
            <a:custGeom>
              <a:avLst/>
              <a:gdLst>
                <a:gd name="connsiteX0" fmla="*/ 291189 w 1035864"/>
                <a:gd name="connsiteY0" fmla="*/ 32182 h 1004887"/>
                <a:gd name="connsiteX1" fmla="*/ 281714 w 1035864"/>
                <a:gd name="connsiteY1" fmla="*/ 35454 h 1004887"/>
                <a:gd name="connsiteX2" fmla="*/ 267447 w 1035864"/>
                <a:gd name="connsiteY2" fmla="*/ 40746 h 1004887"/>
                <a:gd name="connsiteX3" fmla="*/ 263078 w 1035864"/>
                <a:gd name="connsiteY3" fmla="*/ 42765 h 1004887"/>
                <a:gd name="connsiteX4" fmla="*/ 263084 w 1035864"/>
                <a:gd name="connsiteY4" fmla="*/ 42763 h 1004887"/>
                <a:gd name="connsiteX5" fmla="*/ 267448 w 1035864"/>
                <a:gd name="connsiteY5" fmla="*/ 40746 h 1004887"/>
                <a:gd name="connsiteX6" fmla="*/ 281715 w 1035864"/>
                <a:gd name="connsiteY6" fmla="*/ 35454 h 1004887"/>
                <a:gd name="connsiteX7" fmla="*/ 291189 w 1035864"/>
                <a:gd name="connsiteY7" fmla="*/ 32182 h 1004887"/>
                <a:gd name="connsiteX8" fmla="*/ 392149 w 1035864"/>
                <a:gd name="connsiteY8" fmla="*/ 0 h 1004887"/>
                <a:gd name="connsiteX9" fmla="*/ 392677 w 1035864"/>
                <a:gd name="connsiteY9" fmla="*/ 0 h 1004887"/>
                <a:gd name="connsiteX10" fmla="*/ 393734 w 1035864"/>
                <a:gd name="connsiteY10" fmla="*/ 0 h 1004887"/>
                <a:gd name="connsiteX11" fmla="*/ 394263 w 1035864"/>
                <a:gd name="connsiteY11" fmla="*/ 0 h 1004887"/>
                <a:gd name="connsiteX12" fmla="*/ 399547 w 1035864"/>
                <a:gd name="connsiteY12" fmla="*/ 0 h 1004887"/>
                <a:gd name="connsiteX13" fmla="*/ 404830 w 1035864"/>
                <a:gd name="connsiteY13" fmla="*/ 529 h 1004887"/>
                <a:gd name="connsiteX14" fmla="*/ 415398 w 1035864"/>
                <a:gd name="connsiteY14" fmla="*/ 1058 h 1004887"/>
                <a:gd name="connsiteX15" fmla="*/ 427023 w 1035864"/>
                <a:gd name="connsiteY15" fmla="*/ 4233 h 1004887"/>
                <a:gd name="connsiteX16" fmla="*/ 437591 w 1035864"/>
                <a:gd name="connsiteY16" fmla="*/ 7408 h 1004887"/>
                <a:gd name="connsiteX17" fmla="*/ 447631 w 1035864"/>
                <a:gd name="connsiteY17" fmla="*/ 12700 h 1004887"/>
                <a:gd name="connsiteX18" fmla="*/ 450802 w 1035864"/>
                <a:gd name="connsiteY18" fmla="*/ 13758 h 1004887"/>
                <a:gd name="connsiteX19" fmla="*/ 452914 w 1035864"/>
                <a:gd name="connsiteY19" fmla="*/ 14817 h 1004887"/>
                <a:gd name="connsiteX20" fmla="*/ 455028 w 1035864"/>
                <a:gd name="connsiteY20" fmla="*/ 16404 h 1004887"/>
                <a:gd name="connsiteX21" fmla="*/ 457670 w 1035864"/>
                <a:gd name="connsiteY21" fmla="*/ 17992 h 1004887"/>
                <a:gd name="connsiteX22" fmla="*/ 462954 w 1035864"/>
                <a:gd name="connsiteY22" fmla="*/ 21696 h 1004887"/>
                <a:gd name="connsiteX23" fmla="*/ 466653 w 1035864"/>
                <a:gd name="connsiteY23" fmla="*/ 25929 h 1004887"/>
                <a:gd name="connsiteX24" fmla="*/ 475107 w 1035864"/>
                <a:gd name="connsiteY24" fmla="*/ 33867 h 1004887"/>
                <a:gd name="connsiteX25" fmla="*/ 482505 w 1035864"/>
                <a:gd name="connsiteY25" fmla="*/ 43392 h 1004887"/>
                <a:gd name="connsiteX26" fmla="*/ 489374 w 1035864"/>
                <a:gd name="connsiteY26" fmla="*/ 52387 h 1004887"/>
                <a:gd name="connsiteX27" fmla="*/ 495714 w 1035864"/>
                <a:gd name="connsiteY27" fmla="*/ 62971 h 1004887"/>
                <a:gd name="connsiteX28" fmla="*/ 499942 w 1035864"/>
                <a:gd name="connsiteY28" fmla="*/ 73025 h 1004887"/>
                <a:gd name="connsiteX29" fmla="*/ 504697 w 1035864"/>
                <a:gd name="connsiteY29" fmla="*/ 84667 h 1004887"/>
                <a:gd name="connsiteX30" fmla="*/ 508396 w 1035864"/>
                <a:gd name="connsiteY30" fmla="*/ 95250 h 1004887"/>
                <a:gd name="connsiteX31" fmla="*/ 511567 w 1035864"/>
                <a:gd name="connsiteY31" fmla="*/ 106362 h 1004887"/>
                <a:gd name="connsiteX32" fmla="*/ 514737 w 1035864"/>
                <a:gd name="connsiteY32" fmla="*/ 118004 h 1004887"/>
                <a:gd name="connsiteX33" fmla="*/ 516851 w 1035864"/>
                <a:gd name="connsiteY33" fmla="*/ 129646 h 1004887"/>
                <a:gd name="connsiteX34" fmla="*/ 517379 w 1035864"/>
                <a:gd name="connsiteY34" fmla="*/ 134937 h 1004887"/>
                <a:gd name="connsiteX35" fmla="*/ 518436 w 1035864"/>
                <a:gd name="connsiteY35" fmla="*/ 140758 h 1004887"/>
                <a:gd name="connsiteX36" fmla="*/ 518436 w 1035864"/>
                <a:gd name="connsiteY36" fmla="*/ 147108 h 1004887"/>
                <a:gd name="connsiteX37" fmla="*/ 518964 w 1035864"/>
                <a:gd name="connsiteY37" fmla="*/ 152929 h 1004887"/>
                <a:gd name="connsiteX38" fmla="*/ 518964 w 1035864"/>
                <a:gd name="connsiteY38" fmla="*/ 154517 h 1004887"/>
                <a:gd name="connsiteX39" fmla="*/ 518964 w 1035864"/>
                <a:gd name="connsiteY39" fmla="*/ 156104 h 1004887"/>
                <a:gd name="connsiteX40" fmla="*/ 518964 w 1035864"/>
                <a:gd name="connsiteY40" fmla="*/ 159279 h 1004887"/>
                <a:gd name="connsiteX41" fmla="*/ 520021 w 1035864"/>
                <a:gd name="connsiteY41" fmla="*/ 164571 h 1004887"/>
                <a:gd name="connsiteX42" fmla="*/ 520021 w 1035864"/>
                <a:gd name="connsiteY42" fmla="*/ 175683 h 1004887"/>
                <a:gd name="connsiteX43" fmla="*/ 522134 w 1035864"/>
                <a:gd name="connsiteY43" fmla="*/ 264583 h 1004887"/>
                <a:gd name="connsiteX44" fmla="*/ 524248 w 1035864"/>
                <a:gd name="connsiteY44" fmla="*/ 350308 h 1004887"/>
                <a:gd name="connsiteX45" fmla="*/ 525834 w 1035864"/>
                <a:gd name="connsiteY45" fmla="*/ 431271 h 1004887"/>
                <a:gd name="connsiteX46" fmla="*/ 526890 w 1035864"/>
                <a:gd name="connsiteY46" fmla="*/ 503767 h 1004887"/>
                <a:gd name="connsiteX47" fmla="*/ 527418 w 1035864"/>
                <a:gd name="connsiteY47" fmla="*/ 565679 h 1004887"/>
                <a:gd name="connsiteX48" fmla="*/ 527947 w 1035864"/>
                <a:gd name="connsiteY48" fmla="*/ 612775 h 1004887"/>
                <a:gd name="connsiteX49" fmla="*/ 527947 w 1035864"/>
                <a:gd name="connsiteY49" fmla="*/ 628921 h 1004887"/>
                <a:gd name="connsiteX50" fmla="*/ 539871 w 1035864"/>
                <a:gd name="connsiteY50" fmla="*/ 626536 h 1004887"/>
                <a:gd name="connsiteX51" fmla="*/ 555225 w 1035864"/>
                <a:gd name="connsiteY51" fmla="*/ 624417 h 1004887"/>
                <a:gd name="connsiteX52" fmla="*/ 570578 w 1035864"/>
                <a:gd name="connsiteY52" fmla="*/ 623887 h 1004887"/>
                <a:gd name="connsiteX53" fmla="*/ 584872 w 1035864"/>
                <a:gd name="connsiteY53" fmla="*/ 623887 h 1004887"/>
                <a:gd name="connsiteX54" fmla="*/ 591225 w 1035864"/>
                <a:gd name="connsiteY54" fmla="*/ 624417 h 1004887"/>
                <a:gd name="connsiteX55" fmla="*/ 598108 w 1035864"/>
                <a:gd name="connsiteY55" fmla="*/ 626006 h 1004887"/>
                <a:gd name="connsiteX56" fmla="*/ 603402 w 1035864"/>
                <a:gd name="connsiteY56" fmla="*/ 627595 h 1004887"/>
                <a:gd name="connsiteX57" fmla="*/ 609226 w 1035864"/>
                <a:gd name="connsiteY57" fmla="*/ 629714 h 1004887"/>
                <a:gd name="connsiteX58" fmla="*/ 619285 w 1035864"/>
                <a:gd name="connsiteY58" fmla="*/ 635010 h 1004887"/>
                <a:gd name="connsiteX59" fmla="*/ 629344 w 1035864"/>
                <a:gd name="connsiteY59" fmla="*/ 641367 h 1004887"/>
                <a:gd name="connsiteX60" fmla="*/ 638874 w 1035864"/>
                <a:gd name="connsiteY60" fmla="*/ 648782 h 1004887"/>
                <a:gd name="connsiteX61" fmla="*/ 648933 w 1035864"/>
                <a:gd name="connsiteY61" fmla="*/ 656727 h 1004887"/>
                <a:gd name="connsiteX62" fmla="*/ 667993 w 1035864"/>
                <a:gd name="connsiteY62" fmla="*/ 674207 h 1004887"/>
                <a:gd name="connsiteX63" fmla="*/ 686522 w 1035864"/>
                <a:gd name="connsiteY63" fmla="*/ 692216 h 1004887"/>
                <a:gd name="connsiteX64" fmla="*/ 696052 w 1035864"/>
                <a:gd name="connsiteY64" fmla="*/ 701750 h 1004887"/>
                <a:gd name="connsiteX65" fmla="*/ 706111 w 1035864"/>
                <a:gd name="connsiteY65" fmla="*/ 709695 h 1004887"/>
                <a:gd name="connsiteX66" fmla="*/ 715112 w 1035864"/>
                <a:gd name="connsiteY66" fmla="*/ 717640 h 1004887"/>
                <a:gd name="connsiteX67" fmla="*/ 725700 w 1035864"/>
                <a:gd name="connsiteY67" fmla="*/ 724526 h 1004887"/>
                <a:gd name="connsiteX68" fmla="*/ 736818 w 1035864"/>
                <a:gd name="connsiteY68" fmla="*/ 730352 h 1004887"/>
                <a:gd name="connsiteX69" fmla="*/ 747407 w 1035864"/>
                <a:gd name="connsiteY69" fmla="*/ 735649 h 1004887"/>
                <a:gd name="connsiteX70" fmla="*/ 752701 w 1035864"/>
                <a:gd name="connsiteY70" fmla="*/ 737238 h 1004887"/>
                <a:gd name="connsiteX71" fmla="*/ 758525 w 1035864"/>
                <a:gd name="connsiteY71" fmla="*/ 739886 h 1004887"/>
                <a:gd name="connsiteX72" fmla="*/ 763819 w 1035864"/>
                <a:gd name="connsiteY72" fmla="*/ 740416 h 1004887"/>
                <a:gd name="connsiteX73" fmla="*/ 770172 w 1035864"/>
                <a:gd name="connsiteY73" fmla="*/ 740946 h 1004887"/>
                <a:gd name="connsiteX74" fmla="*/ 782349 w 1035864"/>
                <a:gd name="connsiteY74" fmla="*/ 742535 h 1004887"/>
                <a:gd name="connsiteX75" fmla="*/ 793996 w 1035864"/>
                <a:gd name="connsiteY75" fmla="*/ 745183 h 1004887"/>
                <a:gd name="connsiteX76" fmla="*/ 804585 w 1035864"/>
                <a:gd name="connsiteY76" fmla="*/ 748891 h 1004887"/>
                <a:gd name="connsiteX77" fmla="*/ 815703 w 1035864"/>
                <a:gd name="connsiteY77" fmla="*/ 752599 h 1004887"/>
                <a:gd name="connsiteX78" fmla="*/ 825762 w 1035864"/>
                <a:gd name="connsiteY78" fmla="*/ 757366 h 1004887"/>
                <a:gd name="connsiteX79" fmla="*/ 835821 w 1035864"/>
                <a:gd name="connsiteY79" fmla="*/ 761603 h 1004887"/>
                <a:gd name="connsiteX80" fmla="*/ 845880 w 1035864"/>
                <a:gd name="connsiteY80" fmla="*/ 767959 h 1004887"/>
                <a:gd name="connsiteX81" fmla="*/ 854881 w 1035864"/>
                <a:gd name="connsiteY81" fmla="*/ 773786 h 1004887"/>
                <a:gd name="connsiteX82" fmla="*/ 863352 w 1035864"/>
                <a:gd name="connsiteY82" fmla="*/ 780672 h 1004887"/>
                <a:gd name="connsiteX83" fmla="*/ 871293 w 1035864"/>
                <a:gd name="connsiteY83" fmla="*/ 787557 h 1004887"/>
                <a:gd name="connsiteX84" fmla="*/ 879234 w 1035864"/>
                <a:gd name="connsiteY84" fmla="*/ 795503 h 1004887"/>
                <a:gd name="connsiteX85" fmla="*/ 886646 w 1035864"/>
                <a:gd name="connsiteY85" fmla="*/ 802918 h 1004887"/>
                <a:gd name="connsiteX86" fmla="*/ 893529 w 1035864"/>
                <a:gd name="connsiteY86" fmla="*/ 810863 h 1004887"/>
                <a:gd name="connsiteX87" fmla="*/ 900412 w 1035864"/>
                <a:gd name="connsiteY87" fmla="*/ 818808 h 1004887"/>
                <a:gd name="connsiteX88" fmla="*/ 906765 w 1035864"/>
                <a:gd name="connsiteY88" fmla="*/ 827283 h 1004887"/>
                <a:gd name="connsiteX89" fmla="*/ 912588 w 1035864"/>
                <a:gd name="connsiteY89" fmla="*/ 835758 h 1004887"/>
                <a:gd name="connsiteX90" fmla="*/ 918942 w 1035864"/>
                <a:gd name="connsiteY90" fmla="*/ 844763 h 1004887"/>
                <a:gd name="connsiteX91" fmla="*/ 927942 w 1035864"/>
                <a:gd name="connsiteY91" fmla="*/ 855886 h 1004887"/>
                <a:gd name="connsiteX92" fmla="*/ 938530 w 1035864"/>
                <a:gd name="connsiteY92" fmla="*/ 867009 h 1004887"/>
                <a:gd name="connsiteX93" fmla="*/ 950707 w 1035864"/>
                <a:gd name="connsiteY93" fmla="*/ 880251 h 1004887"/>
                <a:gd name="connsiteX94" fmla="*/ 963943 w 1035864"/>
                <a:gd name="connsiteY94" fmla="*/ 894022 h 1004887"/>
                <a:gd name="connsiteX95" fmla="*/ 976649 w 1035864"/>
                <a:gd name="connsiteY95" fmla="*/ 908853 h 1004887"/>
                <a:gd name="connsiteX96" fmla="*/ 989885 w 1035864"/>
                <a:gd name="connsiteY96" fmla="*/ 924214 h 1004887"/>
                <a:gd name="connsiteX97" fmla="*/ 1002062 w 1035864"/>
                <a:gd name="connsiteY97" fmla="*/ 940104 h 1004887"/>
                <a:gd name="connsiteX98" fmla="*/ 1013180 w 1035864"/>
                <a:gd name="connsiteY98" fmla="*/ 957054 h 1004887"/>
                <a:gd name="connsiteX99" fmla="*/ 1023239 w 1035864"/>
                <a:gd name="connsiteY99" fmla="*/ 972944 h 1004887"/>
                <a:gd name="connsiteX100" fmla="*/ 1028004 w 1035864"/>
                <a:gd name="connsiteY100" fmla="*/ 981419 h 1004887"/>
                <a:gd name="connsiteX101" fmla="*/ 1030651 w 1035864"/>
                <a:gd name="connsiteY101" fmla="*/ 989894 h 1004887"/>
                <a:gd name="connsiteX102" fmla="*/ 1033828 w 1035864"/>
                <a:gd name="connsiteY102" fmla="*/ 998369 h 1004887"/>
                <a:gd name="connsiteX103" fmla="*/ 1035864 w 1035864"/>
                <a:gd name="connsiteY103" fmla="*/ 1004887 h 1004887"/>
                <a:gd name="connsiteX104" fmla="*/ 0 w 1035864"/>
                <a:gd name="connsiteY104" fmla="*/ 1004887 h 1004887"/>
                <a:gd name="connsiteX105" fmla="*/ 4619 w 1035864"/>
                <a:gd name="connsiteY105" fmla="*/ 991483 h 1004887"/>
                <a:gd name="connsiteX106" fmla="*/ 10973 w 1035864"/>
                <a:gd name="connsiteY106" fmla="*/ 976122 h 1004887"/>
                <a:gd name="connsiteX107" fmla="*/ 16796 w 1035864"/>
                <a:gd name="connsiteY107" fmla="*/ 960762 h 1004887"/>
                <a:gd name="connsiteX108" fmla="*/ 23679 w 1035864"/>
                <a:gd name="connsiteY108" fmla="*/ 946460 h 1004887"/>
                <a:gd name="connsiteX109" fmla="*/ 31621 w 1035864"/>
                <a:gd name="connsiteY109" fmla="*/ 931100 h 1004887"/>
                <a:gd name="connsiteX110" fmla="*/ 39562 w 1035864"/>
                <a:gd name="connsiteY110" fmla="*/ 916799 h 1004887"/>
                <a:gd name="connsiteX111" fmla="*/ 49092 w 1035864"/>
                <a:gd name="connsiteY111" fmla="*/ 903027 h 1004887"/>
                <a:gd name="connsiteX112" fmla="*/ 58621 w 1035864"/>
                <a:gd name="connsiteY112" fmla="*/ 889255 h 1004887"/>
                <a:gd name="connsiteX113" fmla="*/ 69739 w 1035864"/>
                <a:gd name="connsiteY113" fmla="*/ 876013 h 1004887"/>
                <a:gd name="connsiteX114" fmla="*/ 80857 w 1035864"/>
                <a:gd name="connsiteY114" fmla="*/ 863831 h 1004887"/>
                <a:gd name="connsiteX115" fmla="*/ 93034 w 1035864"/>
                <a:gd name="connsiteY115" fmla="*/ 852708 h 1004887"/>
                <a:gd name="connsiteX116" fmla="*/ 106269 w 1035864"/>
                <a:gd name="connsiteY116" fmla="*/ 842114 h 1004887"/>
                <a:gd name="connsiteX117" fmla="*/ 120035 w 1035864"/>
                <a:gd name="connsiteY117" fmla="*/ 832580 h 1004887"/>
                <a:gd name="connsiteX118" fmla="*/ 134330 w 1035864"/>
                <a:gd name="connsiteY118" fmla="*/ 823575 h 1004887"/>
                <a:gd name="connsiteX119" fmla="*/ 149682 w 1035864"/>
                <a:gd name="connsiteY119" fmla="*/ 816690 h 1004887"/>
                <a:gd name="connsiteX120" fmla="*/ 180919 w 1035864"/>
                <a:gd name="connsiteY120" fmla="*/ 802918 h 1004887"/>
                <a:gd name="connsiteX121" fmla="*/ 210567 w 1035864"/>
                <a:gd name="connsiteY121" fmla="*/ 789146 h 1004887"/>
                <a:gd name="connsiteX122" fmla="*/ 238098 w 1035864"/>
                <a:gd name="connsiteY122" fmla="*/ 775375 h 1004887"/>
                <a:gd name="connsiteX123" fmla="*/ 264039 w 1035864"/>
                <a:gd name="connsiteY123" fmla="*/ 762663 h 1004887"/>
                <a:gd name="connsiteX124" fmla="*/ 287334 w 1035864"/>
                <a:gd name="connsiteY124" fmla="*/ 749421 h 1004887"/>
                <a:gd name="connsiteX125" fmla="*/ 309570 w 1035864"/>
                <a:gd name="connsiteY125" fmla="*/ 737238 h 1004887"/>
                <a:gd name="connsiteX126" fmla="*/ 330218 w 1035864"/>
                <a:gd name="connsiteY126" fmla="*/ 725056 h 1004887"/>
                <a:gd name="connsiteX127" fmla="*/ 347689 w 1035864"/>
                <a:gd name="connsiteY127" fmla="*/ 714462 h 1004887"/>
                <a:gd name="connsiteX128" fmla="*/ 378395 w 1035864"/>
                <a:gd name="connsiteY128" fmla="*/ 694864 h 1004887"/>
                <a:gd name="connsiteX129" fmla="*/ 400631 w 1035864"/>
                <a:gd name="connsiteY129" fmla="*/ 679503 h 1004887"/>
                <a:gd name="connsiteX130" fmla="*/ 413338 w 1035864"/>
                <a:gd name="connsiteY130" fmla="*/ 669439 h 1004887"/>
                <a:gd name="connsiteX131" fmla="*/ 418103 w 1035864"/>
                <a:gd name="connsiteY131" fmla="*/ 666261 h 1004887"/>
                <a:gd name="connsiteX132" fmla="*/ 423926 w 1035864"/>
                <a:gd name="connsiteY132" fmla="*/ 663083 h 1004887"/>
                <a:gd name="connsiteX133" fmla="*/ 439809 w 1035864"/>
                <a:gd name="connsiteY133" fmla="*/ 657257 h 1004887"/>
                <a:gd name="connsiteX134" fmla="*/ 463633 w 1035864"/>
                <a:gd name="connsiteY134" fmla="*/ 648252 h 1004887"/>
                <a:gd name="connsiteX135" fmla="*/ 487261 w 1035864"/>
                <a:gd name="connsiteY135" fmla="*/ 640086 h 1004887"/>
                <a:gd name="connsiteX136" fmla="*/ 487261 w 1035864"/>
                <a:gd name="connsiteY136" fmla="*/ 612775 h 1004887"/>
                <a:gd name="connsiteX137" fmla="*/ 487788 w 1035864"/>
                <a:gd name="connsiteY137" fmla="*/ 567267 h 1004887"/>
                <a:gd name="connsiteX138" fmla="*/ 488845 w 1035864"/>
                <a:gd name="connsiteY138" fmla="*/ 508529 h 1004887"/>
                <a:gd name="connsiteX139" fmla="*/ 489374 w 1035864"/>
                <a:gd name="connsiteY139" fmla="*/ 437621 h 1004887"/>
                <a:gd name="connsiteX140" fmla="*/ 490489 w 1035864"/>
                <a:gd name="connsiteY140" fmla="*/ 382170 h 1004887"/>
                <a:gd name="connsiteX141" fmla="*/ 489103 w 1035864"/>
                <a:gd name="connsiteY141" fmla="*/ 381488 h 1004887"/>
                <a:gd name="connsiteX142" fmla="*/ 482008 w 1035864"/>
                <a:gd name="connsiteY142" fmla="*/ 377727 h 1004887"/>
                <a:gd name="connsiteX143" fmla="*/ 473824 w 1035864"/>
                <a:gd name="connsiteY143" fmla="*/ 373429 h 1004887"/>
                <a:gd name="connsiteX144" fmla="*/ 466184 w 1035864"/>
                <a:gd name="connsiteY144" fmla="*/ 366444 h 1004887"/>
                <a:gd name="connsiteX145" fmla="*/ 464546 w 1035864"/>
                <a:gd name="connsiteY145" fmla="*/ 363757 h 1004887"/>
                <a:gd name="connsiteX146" fmla="*/ 464001 w 1035864"/>
                <a:gd name="connsiteY146" fmla="*/ 361608 h 1004887"/>
                <a:gd name="connsiteX147" fmla="*/ 462909 w 1035864"/>
                <a:gd name="connsiteY147" fmla="*/ 359459 h 1004887"/>
                <a:gd name="connsiteX148" fmla="*/ 462364 w 1035864"/>
                <a:gd name="connsiteY148" fmla="*/ 356772 h 1004887"/>
                <a:gd name="connsiteX149" fmla="*/ 461273 w 1035864"/>
                <a:gd name="connsiteY149" fmla="*/ 350862 h 1004887"/>
                <a:gd name="connsiteX150" fmla="*/ 462364 w 1035864"/>
                <a:gd name="connsiteY150" fmla="*/ 343877 h 1004887"/>
                <a:gd name="connsiteX151" fmla="*/ 465092 w 1035864"/>
                <a:gd name="connsiteY151" fmla="*/ 331519 h 1004887"/>
                <a:gd name="connsiteX152" fmla="*/ 469457 w 1035864"/>
                <a:gd name="connsiteY152" fmla="*/ 320773 h 1004887"/>
                <a:gd name="connsiteX153" fmla="*/ 470549 w 1035864"/>
                <a:gd name="connsiteY153" fmla="*/ 318086 h 1004887"/>
                <a:gd name="connsiteX154" fmla="*/ 471641 w 1035864"/>
                <a:gd name="connsiteY154" fmla="*/ 316474 h 1004887"/>
                <a:gd name="connsiteX155" fmla="*/ 473277 w 1035864"/>
                <a:gd name="connsiteY155" fmla="*/ 315937 h 1004887"/>
                <a:gd name="connsiteX156" fmla="*/ 475460 w 1035864"/>
                <a:gd name="connsiteY156" fmla="*/ 315399 h 1004887"/>
                <a:gd name="connsiteX157" fmla="*/ 479280 w 1035864"/>
                <a:gd name="connsiteY157" fmla="*/ 314325 h 1004887"/>
                <a:gd name="connsiteX158" fmla="*/ 483646 w 1035864"/>
                <a:gd name="connsiteY158" fmla="*/ 315399 h 1004887"/>
                <a:gd name="connsiteX159" fmla="*/ 490194 w 1035864"/>
                <a:gd name="connsiteY159" fmla="*/ 317549 h 1004887"/>
                <a:gd name="connsiteX160" fmla="*/ 491973 w 1035864"/>
                <a:gd name="connsiteY160" fmla="*/ 317899 h 1004887"/>
                <a:gd name="connsiteX161" fmla="*/ 493072 w 1035864"/>
                <a:gd name="connsiteY161" fmla="*/ 273579 h 1004887"/>
                <a:gd name="connsiteX162" fmla="*/ 495714 w 1035864"/>
                <a:gd name="connsiteY162" fmla="*/ 185208 h 1004887"/>
                <a:gd name="connsiteX163" fmla="*/ 494658 w 1035864"/>
                <a:gd name="connsiteY163" fmla="*/ 178329 h 1004887"/>
                <a:gd name="connsiteX164" fmla="*/ 493072 w 1035864"/>
                <a:gd name="connsiteY164" fmla="*/ 169862 h 1004887"/>
                <a:gd name="connsiteX165" fmla="*/ 491487 w 1035864"/>
                <a:gd name="connsiteY165" fmla="*/ 160867 h 1004887"/>
                <a:gd name="connsiteX166" fmla="*/ 490959 w 1035864"/>
                <a:gd name="connsiteY166" fmla="*/ 153987 h 1004887"/>
                <a:gd name="connsiteX167" fmla="*/ 490959 w 1035864"/>
                <a:gd name="connsiteY167" fmla="*/ 142875 h 1004887"/>
                <a:gd name="connsiteX168" fmla="*/ 489903 w 1035864"/>
                <a:gd name="connsiteY168" fmla="*/ 132292 h 1004887"/>
                <a:gd name="connsiteX169" fmla="*/ 488845 w 1035864"/>
                <a:gd name="connsiteY169" fmla="*/ 122767 h 1004887"/>
                <a:gd name="connsiteX170" fmla="*/ 487261 w 1035864"/>
                <a:gd name="connsiteY170" fmla="*/ 111654 h 1004887"/>
                <a:gd name="connsiteX171" fmla="*/ 484619 w 1035864"/>
                <a:gd name="connsiteY171" fmla="*/ 102129 h 1004887"/>
                <a:gd name="connsiteX172" fmla="*/ 482505 w 1035864"/>
                <a:gd name="connsiteY172" fmla="*/ 92075 h 1004887"/>
                <a:gd name="connsiteX173" fmla="*/ 478806 w 1035864"/>
                <a:gd name="connsiteY173" fmla="*/ 82021 h 1004887"/>
                <a:gd name="connsiteX174" fmla="*/ 475107 w 1035864"/>
                <a:gd name="connsiteY174" fmla="*/ 73025 h 1004887"/>
                <a:gd name="connsiteX175" fmla="*/ 470352 w 1035864"/>
                <a:gd name="connsiteY175" fmla="*/ 64029 h 1004887"/>
                <a:gd name="connsiteX176" fmla="*/ 465596 w 1035864"/>
                <a:gd name="connsiteY176" fmla="*/ 55562 h 1004887"/>
                <a:gd name="connsiteX177" fmla="*/ 459784 w 1035864"/>
                <a:gd name="connsiteY177" fmla="*/ 47096 h 1004887"/>
                <a:gd name="connsiteX178" fmla="*/ 455743 w 1035864"/>
                <a:gd name="connsiteY178" fmla="*/ 42712 h 1004887"/>
                <a:gd name="connsiteX179" fmla="*/ 456509 w 1035864"/>
                <a:gd name="connsiteY179" fmla="*/ 45378 h 1004887"/>
                <a:gd name="connsiteX180" fmla="*/ 456509 w 1035864"/>
                <a:gd name="connsiteY180" fmla="*/ 50121 h 1004887"/>
                <a:gd name="connsiteX181" fmla="*/ 456509 w 1035864"/>
                <a:gd name="connsiteY181" fmla="*/ 55391 h 1004887"/>
                <a:gd name="connsiteX182" fmla="*/ 455449 w 1035864"/>
                <a:gd name="connsiteY182" fmla="*/ 60660 h 1004887"/>
                <a:gd name="connsiteX183" fmla="*/ 454919 w 1035864"/>
                <a:gd name="connsiteY183" fmla="*/ 65930 h 1004887"/>
                <a:gd name="connsiteX184" fmla="*/ 452269 w 1035864"/>
                <a:gd name="connsiteY184" fmla="*/ 78050 h 1004887"/>
                <a:gd name="connsiteX185" fmla="*/ 448028 w 1035864"/>
                <a:gd name="connsiteY185" fmla="*/ 90698 h 1004887"/>
                <a:gd name="connsiteX186" fmla="*/ 442727 w 1035864"/>
                <a:gd name="connsiteY186" fmla="*/ 105453 h 1004887"/>
                <a:gd name="connsiteX187" fmla="*/ 435836 w 1035864"/>
                <a:gd name="connsiteY187" fmla="*/ 119154 h 1004887"/>
                <a:gd name="connsiteX188" fmla="*/ 433186 w 1035864"/>
                <a:gd name="connsiteY188" fmla="*/ 122316 h 1004887"/>
                <a:gd name="connsiteX189" fmla="*/ 431065 w 1035864"/>
                <a:gd name="connsiteY189" fmla="*/ 124951 h 1004887"/>
                <a:gd name="connsiteX190" fmla="*/ 427885 w 1035864"/>
                <a:gd name="connsiteY190" fmla="*/ 128113 h 1004887"/>
                <a:gd name="connsiteX191" fmla="*/ 424174 w 1035864"/>
                <a:gd name="connsiteY191" fmla="*/ 130220 h 1004887"/>
                <a:gd name="connsiteX192" fmla="*/ 416753 w 1035864"/>
                <a:gd name="connsiteY192" fmla="*/ 134436 h 1004887"/>
                <a:gd name="connsiteX193" fmla="*/ 406681 w 1035864"/>
                <a:gd name="connsiteY193" fmla="*/ 137071 h 1004887"/>
                <a:gd name="connsiteX194" fmla="*/ 396080 w 1035864"/>
                <a:gd name="connsiteY194" fmla="*/ 138652 h 1004887"/>
                <a:gd name="connsiteX195" fmla="*/ 383888 w 1035864"/>
                <a:gd name="connsiteY195" fmla="*/ 140233 h 1004887"/>
                <a:gd name="connsiteX196" fmla="*/ 370636 w 1035864"/>
                <a:gd name="connsiteY196" fmla="*/ 141287 h 1004887"/>
                <a:gd name="connsiteX197" fmla="*/ 357913 w 1035864"/>
                <a:gd name="connsiteY197" fmla="*/ 140233 h 1004887"/>
                <a:gd name="connsiteX198" fmla="*/ 329819 w 1035864"/>
                <a:gd name="connsiteY198" fmla="*/ 139706 h 1004887"/>
                <a:gd name="connsiteX199" fmla="*/ 302256 w 1035864"/>
                <a:gd name="connsiteY199" fmla="*/ 138125 h 1004887"/>
                <a:gd name="connsiteX200" fmla="*/ 276281 w 1035864"/>
                <a:gd name="connsiteY200" fmla="*/ 136544 h 1004887"/>
                <a:gd name="connsiteX201" fmla="*/ 254017 w 1035864"/>
                <a:gd name="connsiteY201" fmla="*/ 136544 h 1004887"/>
                <a:gd name="connsiteX202" fmla="*/ 243946 w 1035864"/>
                <a:gd name="connsiteY202" fmla="*/ 136544 h 1004887"/>
                <a:gd name="connsiteX203" fmla="*/ 234405 w 1035864"/>
                <a:gd name="connsiteY203" fmla="*/ 136544 h 1004887"/>
                <a:gd name="connsiteX204" fmla="*/ 224863 w 1035864"/>
                <a:gd name="connsiteY204" fmla="*/ 135490 h 1004887"/>
                <a:gd name="connsiteX205" fmla="*/ 215852 w 1035864"/>
                <a:gd name="connsiteY205" fmla="*/ 134963 h 1004887"/>
                <a:gd name="connsiteX206" fmla="*/ 198359 w 1035864"/>
                <a:gd name="connsiteY206" fmla="*/ 132855 h 1004887"/>
                <a:gd name="connsiteX207" fmla="*/ 182456 w 1035864"/>
                <a:gd name="connsiteY207" fmla="*/ 129167 h 1004887"/>
                <a:gd name="connsiteX208" fmla="*/ 159663 w 1035864"/>
                <a:gd name="connsiteY208" fmla="*/ 122316 h 1004887"/>
                <a:gd name="connsiteX209" fmla="*/ 150122 w 1035864"/>
                <a:gd name="connsiteY209" fmla="*/ 119154 h 1004887"/>
                <a:gd name="connsiteX210" fmla="*/ 151712 w 1035864"/>
                <a:gd name="connsiteY210" fmla="*/ 115465 h 1004887"/>
                <a:gd name="connsiteX211" fmla="*/ 153302 w 1035864"/>
                <a:gd name="connsiteY211" fmla="*/ 111250 h 1004887"/>
                <a:gd name="connsiteX212" fmla="*/ 154892 w 1035864"/>
                <a:gd name="connsiteY212" fmla="*/ 107561 h 1004887"/>
                <a:gd name="connsiteX213" fmla="*/ 157013 w 1035864"/>
                <a:gd name="connsiteY213" fmla="*/ 104399 h 1004887"/>
                <a:gd name="connsiteX214" fmla="*/ 162314 w 1035864"/>
                <a:gd name="connsiteY214" fmla="*/ 98602 h 1004887"/>
                <a:gd name="connsiteX215" fmla="*/ 167120 w 1035864"/>
                <a:gd name="connsiteY215" fmla="*/ 93824 h 1004887"/>
                <a:gd name="connsiteX216" fmla="*/ 166523 w 1035864"/>
                <a:gd name="connsiteY216" fmla="*/ 94192 h 1004887"/>
                <a:gd name="connsiteX217" fmla="*/ 172864 w 1035864"/>
                <a:gd name="connsiteY217" fmla="*/ 88900 h 1004887"/>
                <a:gd name="connsiteX218" fmla="*/ 175529 w 1035864"/>
                <a:gd name="connsiteY218" fmla="*/ 87121 h 1004887"/>
                <a:gd name="connsiteX219" fmla="*/ 177686 w 1035864"/>
                <a:gd name="connsiteY219" fmla="*/ 85428 h 1004887"/>
                <a:gd name="connsiteX220" fmla="*/ 178990 w 1035864"/>
                <a:gd name="connsiteY220" fmla="*/ 84852 h 1004887"/>
                <a:gd name="connsiteX221" fmla="*/ 183432 w 1035864"/>
                <a:gd name="connsiteY221" fmla="*/ 82021 h 1004887"/>
                <a:gd name="connsiteX222" fmla="*/ 190301 w 1035864"/>
                <a:gd name="connsiteY222" fmla="*/ 76729 h 1004887"/>
                <a:gd name="connsiteX223" fmla="*/ 198227 w 1035864"/>
                <a:gd name="connsiteY223" fmla="*/ 71967 h 1004887"/>
                <a:gd name="connsiteX224" fmla="*/ 206153 w 1035864"/>
                <a:gd name="connsiteY224" fmla="*/ 66146 h 1004887"/>
                <a:gd name="connsiteX225" fmla="*/ 216193 w 1035864"/>
                <a:gd name="connsiteY225" fmla="*/ 60854 h 1004887"/>
                <a:gd name="connsiteX226" fmla="*/ 226760 w 1035864"/>
                <a:gd name="connsiteY226" fmla="*/ 53975 h 1004887"/>
                <a:gd name="connsiteX227" fmla="*/ 238385 w 1035864"/>
                <a:gd name="connsiteY227" fmla="*/ 47625 h 1004887"/>
                <a:gd name="connsiteX228" fmla="*/ 240017 w 1035864"/>
                <a:gd name="connsiteY228" fmla="*/ 46701 h 1004887"/>
                <a:gd name="connsiteX229" fmla="*/ 241669 w 1035864"/>
                <a:gd name="connsiteY229" fmla="*/ 45473 h 1004887"/>
                <a:gd name="connsiteX230" fmla="*/ 243256 w 1035864"/>
                <a:gd name="connsiteY230" fmla="*/ 44424 h 1004887"/>
                <a:gd name="connsiteX231" fmla="*/ 245373 w 1035864"/>
                <a:gd name="connsiteY231" fmla="*/ 43374 h 1004887"/>
                <a:gd name="connsiteX232" fmla="*/ 248019 w 1035864"/>
                <a:gd name="connsiteY232" fmla="*/ 41800 h 1004887"/>
                <a:gd name="connsiteX233" fmla="*/ 248547 w 1035864"/>
                <a:gd name="connsiteY233" fmla="*/ 41275 h 1004887"/>
                <a:gd name="connsiteX234" fmla="*/ 248768 w 1035864"/>
                <a:gd name="connsiteY234" fmla="*/ 41748 h 1004887"/>
                <a:gd name="connsiteX235" fmla="*/ 250539 w 1035864"/>
                <a:gd name="connsiteY235" fmla="*/ 40746 h 1004887"/>
                <a:gd name="connsiteX236" fmla="*/ 264277 w 1035864"/>
                <a:gd name="connsiteY236" fmla="*/ 34925 h 1004887"/>
                <a:gd name="connsiteX237" fmla="*/ 278543 w 1035864"/>
                <a:gd name="connsiteY237" fmla="*/ 28046 h 1004887"/>
                <a:gd name="connsiteX238" fmla="*/ 293866 w 1035864"/>
                <a:gd name="connsiteY238" fmla="*/ 21696 h 1004887"/>
                <a:gd name="connsiteX239" fmla="*/ 309719 w 1035864"/>
                <a:gd name="connsiteY239" fmla="*/ 15875 h 1004887"/>
                <a:gd name="connsiteX240" fmla="*/ 327156 w 1035864"/>
                <a:gd name="connsiteY240" fmla="*/ 10583 h 1004887"/>
                <a:gd name="connsiteX241" fmla="*/ 345650 w 1035864"/>
                <a:gd name="connsiteY241" fmla="*/ 5821 h 1004887"/>
                <a:gd name="connsiteX242" fmla="*/ 364673 w 1035864"/>
                <a:gd name="connsiteY242" fmla="*/ 2646 h 1004887"/>
                <a:gd name="connsiteX243" fmla="*/ 374711 w 1035864"/>
                <a:gd name="connsiteY243" fmla="*/ 1058 h 1004887"/>
                <a:gd name="connsiteX244" fmla="*/ 384223 w 1035864"/>
                <a:gd name="connsiteY244" fmla="*/ 529 h 1004887"/>
                <a:gd name="connsiteX245" fmla="*/ 386865 w 1035864"/>
                <a:gd name="connsiteY245" fmla="*/ 529 h 1004887"/>
                <a:gd name="connsiteX246" fmla="*/ 388978 w 1035864"/>
                <a:gd name="connsiteY246" fmla="*/ 529 h 1004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Lst>
              <a:rect l="l" t="t" r="r" b="b"/>
              <a:pathLst>
                <a:path w="1035864" h="1004887">
                  <a:moveTo>
                    <a:pt x="291189" y="32182"/>
                  </a:moveTo>
                  <a:lnTo>
                    <a:pt x="281714" y="35454"/>
                  </a:lnTo>
                  <a:lnTo>
                    <a:pt x="267447" y="40746"/>
                  </a:lnTo>
                  <a:lnTo>
                    <a:pt x="263078" y="42765"/>
                  </a:lnTo>
                  <a:lnTo>
                    <a:pt x="263084" y="42763"/>
                  </a:lnTo>
                  <a:lnTo>
                    <a:pt x="267448" y="40746"/>
                  </a:lnTo>
                  <a:lnTo>
                    <a:pt x="281715" y="35454"/>
                  </a:lnTo>
                  <a:lnTo>
                    <a:pt x="291189" y="32182"/>
                  </a:lnTo>
                  <a:close/>
                  <a:moveTo>
                    <a:pt x="392149" y="0"/>
                  </a:moveTo>
                  <a:lnTo>
                    <a:pt x="392677" y="0"/>
                  </a:lnTo>
                  <a:lnTo>
                    <a:pt x="393734" y="0"/>
                  </a:lnTo>
                  <a:lnTo>
                    <a:pt x="394263" y="0"/>
                  </a:lnTo>
                  <a:lnTo>
                    <a:pt x="399547" y="0"/>
                  </a:lnTo>
                  <a:lnTo>
                    <a:pt x="404830" y="529"/>
                  </a:lnTo>
                  <a:lnTo>
                    <a:pt x="415398" y="1058"/>
                  </a:lnTo>
                  <a:lnTo>
                    <a:pt x="427023" y="4233"/>
                  </a:lnTo>
                  <a:lnTo>
                    <a:pt x="437591" y="7408"/>
                  </a:lnTo>
                  <a:lnTo>
                    <a:pt x="447631" y="12700"/>
                  </a:lnTo>
                  <a:lnTo>
                    <a:pt x="450802" y="13758"/>
                  </a:lnTo>
                  <a:lnTo>
                    <a:pt x="452914" y="14817"/>
                  </a:lnTo>
                  <a:lnTo>
                    <a:pt x="455028" y="16404"/>
                  </a:lnTo>
                  <a:lnTo>
                    <a:pt x="457670" y="17992"/>
                  </a:lnTo>
                  <a:lnTo>
                    <a:pt x="462954" y="21696"/>
                  </a:lnTo>
                  <a:lnTo>
                    <a:pt x="466653" y="25929"/>
                  </a:lnTo>
                  <a:lnTo>
                    <a:pt x="475107" y="33867"/>
                  </a:lnTo>
                  <a:lnTo>
                    <a:pt x="482505" y="43392"/>
                  </a:lnTo>
                  <a:lnTo>
                    <a:pt x="489374" y="52387"/>
                  </a:lnTo>
                  <a:lnTo>
                    <a:pt x="495714" y="62971"/>
                  </a:lnTo>
                  <a:lnTo>
                    <a:pt x="499942" y="73025"/>
                  </a:lnTo>
                  <a:lnTo>
                    <a:pt x="504697" y="84667"/>
                  </a:lnTo>
                  <a:lnTo>
                    <a:pt x="508396" y="95250"/>
                  </a:lnTo>
                  <a:lnTo>
                    <a:pt x="511567" y="106362"/>
                  </a:lnTo>
                  <a:lnTo>
                    <a:pt x="514737" y="118004"/>
                  </a:lnTo>
                  <a:lnTo>
                    <a:pt x="516851" y="129646"/>
                  </a:lnTo>
                  <a:lnTo>
                    <a:pt x="517379" y="134937"/>
                  </a:lnTo>
                  <a:lnTo>
                    <a:pt x="518436" y="140758"/>
                  </a:lnTo>
                  <a:lnTo>
                    <a:pt x="518436" y="147108"/>
                  </a:lnTo>
                  <a:lnTo>
                    <a:pt x="518964" y="152929"/>
                  </a:lnTo>
                  <a:lnTo>
                    <a:pt x="518964" y="154517"/>
                  </a:lnTo>
                  <a:lnTo>
                    <a:pt x="518964" y="156104"/>
                  </a:lnTo>
                  <a:lnTo>
                    <a:pt x="518964" y="159279"/>
                  </a:lnTo>
                  <a:lnTo>
                    <a:pt x="520021" y="164571"/>
                  </a:lnTo>
                  <a:lnTo>
                    <a:pt x="520021" y="175683"/>
                  </a:lnTo>
                  <a:lnTo>
                    <a:pt x="522134" y="264583"/>
                  </a:lnTo>
                  <a:lnTo>
                    <a:pt x="524248" y="350308"/>
                  </a:lnTo>
                  <a:lnTo>
                    <a:pt x="525834" y="431271"/>
                  </a:lnTo>
                  <a:lnTo>
                    <a:pt x="526890" y="503767"/>
                  </a:lnTo>
                  <a:lnTo>
                    <a:pt x="527418" y="565679"/>
                  </a:lnTo>
                  <a:lnTo>
                    <a:pt x="527947" y="612775"/>
                  </a:lnTo>
                  <a:lnTo>
                    <a:pt x="527947" y="628921"/>
                  </a:lnTo>
                  <a:lnTo>
                    <a:pt x="539871" y="626536"/>
                  </a:lnTo>
                  <a:lnTo>
                    <a:pt x="555225" y="624417"/>
                  </a:lnTo>
                  <a:lnTo>
                    <a:pt x="570578" y="623887"/>
                  </a:lnTo>
                  <a:lnTo>
                    <a:pt x="584872" y="623887"/>
                  </a:lnTo>
                  <a:lnTo>
                    <a:pt x="591225" y="624417"/>
                  </a:lnTo>
                  <a:lnTo>
                    <a:pt x="598108" y="626006"/>
                  </a:lnTo>
                  <a:lnTo>
                    <a:pt x="603402" y="627595"/>
                  </a:lnTo>
                  <a:lnTo>
                    <a:pt x="609226" y="629714"/>
                  </a:lnTo>
                  <a:lnTo>
                    <a:pt x="619285" y="635010"/>
                  </a:lnTo>
                  <a:lnTo>
                    <a:pt x="629344" y="641367"/>
                  </a:lnTo>
                  <a:lnTo>
                    <a:pt x="638874" y="648782"/>
                  </a:lnTo>
                  <a:lnTo>
                    <a:pt x="648933" y="656727"/>
                  </a:lnTo>
                  <a:lnTo>
                    <a:pt x="667993" y="674207"/>
                  </a:lnTo>
                  <a:lnTo>
                    <a:pt x="686522" y="692216"/>
                  </a:lnTo>
                  <a:lnTo>
                    <a:pt x="696052" y="701750"/>
                  </a:lnTo>
                  <a:lnTo>
                    <a:pt x="706111" y="709695"/>
                  </a:lnTo>
                  <a:lnTo>
                    <a:pt x="715112" y="717640"/>
                  </a:lnTo>
                  <a:lnTo>
                    <a:pt x="725700" y="724526"/>
                  </a:lnTo>
                  <a:lnTo>
                    <a:pt x="736818" y="730352"/>
                  </a:lnTo>
                  <a:lnTo>
                    <a:pt x="747407" y="735649"/>
                  </a:lnTo>
                  <a:lnTo>
                    <a:pt x="752701" y="737238"/>
                  </a:lnTo>
                  <a:lnTo>
                    <a:pt x="758525" y="739886"/>
                  </a:lnTo>
                  <a:lnTo>
                    <a:pt x="763819" y="740416"/>
                  </a:lnTo>
                  <a:lnTo>
                    <a:pt x="770172" y="740946"/>
                  </a:lnTo>
                  <a:lnTo>
                    <a:pt x="782349" y="742535"/>
                  </a:lnTo>
                  <a:lnTo>
                    <a:pt x="793996" y="745183"/>
                  </a:lnTo>
                  <a:lnTo>
                    <a:pt x="804585" y="748891"/>
                  </a:lnTo>
                  <a:lnTo>
                    <a:pt x="815703" y="752599"/>
                  </a:lnTo>
                  <a:lnTo>
                    <a:pt x="825762" y="757366"/>
                  </a:lnTo>
                  <a:lnTo>
                    <a:pt x="835821" y="761603"/>
                  </a:lnTo>
                  <a:lnTo>
                    <a:pt x="845880" y="767959"/>
                  </a:lnTo>
                  <a:lnTo>
                    <a:pt x="854881" y="773786"/>
                  </a:lnTo>
                  <a:lnTo>
                    <a:pt x="863352" y="780672"/>
                  </a:lnTo>
                  <a:lnTo>
                    <a:pt x="871293" y="787557"/>
                  </a:lnTo>
                  <a:lnTo>
                    <a:pt x="879234" y="795503"/>
                  </a:lnTo>
                  <a:lnTo>
                    <a:pt x="886646" y="802918"/>
                  </a:lnTo>
                  <a:lnTo>
                    <a:pt x="893529" y="810863"/>
                  </a:lnTo>
                  <a:lnTo>
                    <a:pt x="900412" y="818808"/>
                  </a:lnTo>
                  <a:lnTo>
                    <a:pt x="906765" y="827283"/>
                  </a:lnTo>
                  <a:lnTo>
                    <a:pt x="912588" y="835758"/>
                  </a:lnTo>
                  <a:lnTo>
                    <a:pt x="918942" y="844763"/>
                  </a:lnTo>
                  <a:lnTo>
                    <a:pt x="927942" y="855886"/>
                  </a:lnTo>
                  <a:lnTo>
                    <a:pt x="938530" y="867009"/>
                  </a:lnTo>
                  <a:lnTo>
                    <a:pt x="950707" y="880251"/>
                  </a:lnTo>
                  <a:lnTo>
                    <a:pt x="963943" y="894022"/>
                  </a:lnTo>
                  <a:lnTo>
                    <a:pt x="976649" y="908853"/>
                  </a:lnTo>
                  <a:lnTo>
                    <a:pt x="989885" y="924214"/>
                  </a:lnTo>
                  <a:lnTo>
                    <a:pt x="1002062" y="940104"/>
                  </a:lnTo>
                  <a:lnTo>
                    <a:pt x="1013180" y="957054"/>
                  </a:lnTo>
                  <a:lnTo>
                    <a:pt x="1023239" y="972944"/>
                  </a:lnTo>
                  <a:lnTo>
                    <a:pt x="1028004" y="981419"/>
                  </a:lnTo>
                  <a:lnTo>
                    <a:pt x="1030651" y="989894"/>
                  </a:lnTo>
                  <a:lnTo>
                    <a:pt x="1033828" y="998369"/>
                  </a:lnTo>
                  <a:lnTo>
                    <a:pt x="1035864" y="1004887"/>
                  </a:lnTo>
                  <a:lnTo>
                    <a:pt x="0" y="1004887"/>
                  </a:lnTo>
                  <a:lnTo>
                    <a:pt x="4619" y="991483"/>
                  </a:lnTo>
                  <a:lnTo>
                    <a:pt x="10973" y="976122"/>
                  </a:lnTo>
                  <a:lnTo>
                    <a:pt x="16796" y="960762"/>
                  </a:lnTo>
                  <a:lnTo>
                    <a:pt x="23679" y="946460"/>
                  </a:lnTo>
                  <a:lnTo>
                    <a:pt x="31621" y="931100"/>
                  </a:lnTo>
                  <a:lnTo>
                    <a:pt x="39562" y="916799"/>
                  </a:lnTo>
                  <a:lnTo>
                    <a:pt x="49092" y="903027"/>
                  </a:lnTo>
                  <a:lnTo>
                    <a:pt x="58621" y="889255"/>
                  </a:lnTo>
                  <a:lnTo>
                    <a:pt x="69739" y="876013"/>
                  </a:lnTo>
                  <a:lnTo>
                    <a:pt x="80857" y="863831"/>
                  </a:lnTo>
                  <a:lnTo>
                    <a:pt x="93034" y="852708"/>
                  </a:lnTo>
                  <a:lnTo>
                    <a:pt x="106269" y="842114"/>
                  </a:lnTo>
                  <a:lnTo>
                    <a:pt x="120035" y="832580"/>
                  </a:lnTo>
                  <a:lnTo>
                    <a:pt x="134330" y="823575"/>
                  </a:lnTo>
                  <a:lnTo>
                    <a:pt x="149682" y="816690"/>
                  </a:lnTo>
                  <a:lnTo>
                    <a:pt x="180919" y="802918"/>
                  </a:lnTo>
                  <a:lnTo>
                    <a:pt x="210567" y="789146"/>
                  </a:lnTo>
                  <a:lnTo>
                    <a:pt x="238098" y="775375"/>
                  </a:lnTo>
                  <a:lnTo>
                    <a:pt x="264039" y="762663"/>
                  </a:lnTo>
                  <a:lnTo>
                    <a:pt x="287334" y="749421"/>
                  </a:lnTo>
                  <a:lnTo>
                    <a:pt x="309570" y="737238"/>
                  </a:lnTo>
                  <a:lnTo>
                    <a:pt x="330218" y="725056"/>
                  </a:lnTo>
                  <a:lnTo>
                    <a:pt x="347689" y="714462"/>
                  </a:lnTo>
                  <a:lnTo>
                    <a:pt x="378395" y="694864"/>
                  </a:lnTo>
                  <a:lnTo>
                    <a:pt x="400631" y="679503"/>
                  </a:lnTo>
                  <a:lnTo>
                    <a:pt x="413338" y="669439"/>
                  </a:lnTo>
                  <a:lnTo>
                    <a:pt x="418103" y="666261"/>
                  </a:lnTo>
                  <a:lnTo>
                    <a:pt x="423926" y="663083"/>
                  </a:lnTo>
                  <a:lnTo>
                    <a:pt x="439809" y="657257"/>
                  </a:lnTo>
                  <a:lnTo>
                    <a:pt x="463633" y="648252"/>
                  </a:lnTo>
                  <a:lnTo>
                    <a:pt x="487261" y="640086"/>
                  </a:lnTo>
                  <a:lnTo>
                    <a:pt x="487261" y="612775"/>
                  </a:lnTo>
                  <a:lnTo>
                    <a:pt x="487788" y="567267"/>
                  </a:lnTo>
                  <a:lnTo>
                    <a:pt x="488845" y="508529"/>
                  </a:lnTo>
                  <a:lnTo>
                    <a:pt x="489374" y="437621"/>
                  </a:lnTo>
                  <a:lnTo>
                    <a:pt x="490489" y="382170"/>
                  </a:lnTo>
                  <a:lnTo>
                    <a:pt x="489103" y="381488"/>
                  </a:lnTo>
                  <a:lnTo>
                    <a:pt x="482008" y="377727"/>
                  </a:lnTo>
                  <a:lnTo>
                    <a:pt x="473824" y="373429"/>
                  </a:lnTo>
                  <a:lnTo>
                    <a:pt x="466184" y="366444"/>
                  </a:lnTo>
                  <a:lnTo>
                    <a:pt x="464546" y="363757"/>
                  </a:lnTo>
                  <a:lnTo>
                    <a:pt x="464001" y="361608"/>
                  </a:lnTo>
                  <a:lnTo>
                    <a:pt x="462909" y="359459"/>
                  </a:lnTo>
                  <a:lnTo>
                    <a:pt x="462364" y="356772"/>
                  </a:lnTo>
                  <a:lnTo>
                    <a:pt x="461273" y="350862"/>
                  </a:lnTo>
                  <a:lnTo>
                    <a:pt x="462364" y="343877"/>
                  </a:lnTo>
                  <a:lnTo>
                    <a:pt x="465092" y="331519"/>
                  </a:lnTo>
                  <a:lnTo>
                    <a:pt x="469457" y="320773"/>
                  </a:lnTo>
                  <a:lnTo>
                    <a:pt x="470549" y="318086"/>
                  </a:lnTo>
                  <a:lnTo>
                    <a:pt x="471641" y="316474"/>
                  </a:lnTo>
                  <a:lnTo>
                    <a:pt x="473277" y="315937"/>
                  </a:lnTo>
                  <a:lnTo>
                    <a:pt x="475460" y="315399"/>
                  </a:lnTo>
                  <a:lnTo>
                    <a:pt x="479280" y="314325"/>
                  </a:lnTo>
                  <a:lnTo>
                    <a:pt x="483646" y="315399"/>
                  </a:lnTo>
                  <a:lnTo>
                    <a:pt x="490194" y="317549"/>
                  </a:lnTo>
                  <a:lnTo>
                    <a:pt x="491973" y="317899"/>
                  </a:lnTo>
                  <a:lnTo>
                    <a:pt x="493072" y="273579"/>
                  </a:lnTo>
                  <a:lnTo>
                    <a:pt x="495714" y="185208"/>
                  </a:lnTo>
                  <a:lnTo>
                    <a:pt x="494658" y="178329"/>
                  </a:lnTo>
                  <a:lnTo>
                    <a:pt x="493072" y="169862"/>
                  </a:lnTo>
                  <a:lnTo>
                    <a:pt x="491487" y="160867"/>
                  </a:lnTo>
                  <a:lnTo>
                    <a:pt x="490959" y="153987"/>
                  </a:lnTo>
                  <a:lnTo>
                    <a:pt x="490959" y="142875"/>
                  </a:lnTo>
                  <a:lnTo>
                    <a:pt x="489903" y="132292"/>
                  </a:lnTo>
                  <a:lnTo>
                    <a:pt x="488845" y="122767"/>
                  </a:lnTo>
                  <a:lnTo>
                    <a:pt x="487261" y="111654"/>
                  </a:lnTo>
                  <a:lnTo>
                    <a:pt x="484619" y="102129"/>
                  </a:lnTo>
                  <a:lnTo>
                    <a:pt x="482505" y="92075"/>
                  </a:lnTo>
                  <a:lnTo>
                    <a:pt x="478806" y="82021"/>
                  </a:lnTo>
                  <a:lnTo>
                    <a:pt x="475107" y="73025"/>
                  </a:lnTo>
                  <a:lnTo>
                    <a:pt x="470352" y="64029"/>
                  </a:lnTo>
                  <a:lnTo>
                    <a:pt x="465596" y="55562"/>
                  </a:lnTo>
                  <a:lnTo>
                    <a:pt x="459784" y="47096"/>
                  </a:lnTo>
                  <a:lnTo>
                    <a:pt x="455743" y="42712"/>
                  </a:lnTo>
                  <a:lnTo>
                    <a:pt x="456509" y="45378"/>
                  </a:lnTo>
                  <a:lnTo>
                    <a:pt x="456509" y="50121"/>
                  </a:lnTo>
                  <a:lnTo>
                    <a:pt x="456509" y="55391"/>
                  </a:lnTo>
                  <a:lnTo>
                    <a:pt x="455449" y="60660"/>
                  </a:lnTo>
                  <a:lnTo>
                    <a:pt x="454919" y="65930"/>
                  </a:lnTo>
                  <a:lnTo>
                    <a:pt x="452269" y="78050"/>
                  </a:lnTo>
                  <a:lnTo>
                    <a:pt x="448028" y="90698"/>
                  </a:lnTo>
                  <a:lnTo>
                    <a:pt x="442727" y="105453"/>
                  </a:lnTo>
                  <a:lnTo>
                    <a:pt x="435836" y="119154"/>
                  </a:lnTo>
                  <a:lnTo>
                    <a:pt x="433186" y="122316"/>
                  </a:lnTo>
                  <a:lnTo>
                    <a:pt x="431065" y="124951"/>
                  </a:lnTo>
                  <a:lnTo>
                    <a:pt x="427885" y="128113"/>
                  </a:lnTo>
                  <a:lnTo>
                    <a:pt x="424174" y="130220"/>
                  </a:lnTo>
                  <a:lnTo>
                    <a:pt x="416753" y="134436"/>
                  </a:lnTo>
                  <a:lnTo>
                    <a:pt x="406681" y="137071"/>
                  </a:lnTo>
                  <a:lnTo>
                    <a:pt x="396080" y="138652"/>
                  </a:lnTo>
                  <a:lnTo>
                    <a:pt x="383888" y="140233"/>
                  </a:lnTo>
                  <a:lnTo>
                    <a:pt x="370636" y="141287"/>
                  </a:lnTo>
                  <a:lnTo>
                    <a:pt x="357913" y="140233"/>
                  </a:lnTo>
                  <a:lnTo>
                    <a:pt x="329819" y="139706"/>
                  </a:lnTo>
                  <a:lnTo>
                    <a:pt x="302256" y="138125"/>
                  </a:lnTo>
                  <a:lnTo>
                    <a:pt x="276281" y="136544"/>
                  </a:lnTo>
                  <a:lnTo>
                    <a:pt x="254017" y="136544"/>
                  </a:lnTo>
                  <a:lnTo>
                    <a:pt x="243946" y="136544"/>
                  </a:lnTo>
                  <a:lnTo>
                    <a:pt x="234405" y="136544"/>
                  </a:lnTo>
                  <a:lnTo>
                    <a:pt x="224863" y="135490"/>
                  </a:lnTo>
                  <a:lnTo>
                    <a:pt x="215852" y="134963"/>
                  </a:lnTo>
                  <a:lnTo>
                    <a:pt x="198359" y="132855"/>
                  </a:lnTo>
                  <a:lnTo>
                    <a:pt x="182456" y="129167"/>
                  </a:lnTo>
                  <a:lnTo>
                    <a:pt x="159663" y="122316"/>
                  </a:lnTo>
                  <a:lnTo>
                    <a:pt x="150122" y="119154"/>
                  </a:lnTo>
                  <a:lnTo>
                    <a:pt x="151712" y="115465"/>
                  </a:lnTo>
                  <a:lnTo>
                    <a:pt x="153302" y="111250"/>
                  </a:lnTo>
                  <a:lnTo>
                    <a:pt x="154892" y="107561"/>
                  </a:lnTo>
                  <a:lnTo>
                    <a:pt x="157013" y="104399"/>
                  </a:lnTo>
                  <a:lnTo>
                    <a:pt x="162314" y="98602"/>
                  </a:lnTo>
                  <a:lnTo>
                    <a:pt x="167120" y="93824"/>
                  </a:lnTo>
                  <a:lnTo>
                    <a:pt x="166523" y="94192"/>
                  </a:lnTo>
                  <a:lnTo>
                    <a:pt x="172864" y="88900"/>
                  </a:lnTo>
                  <a:lnTo>
                    <a:pt x="175529" y="87121"/>
                  </a:lnTo>
                  <a:lnTo>
                    <a:pt x="177686" y="85428"/>
                  </a:lnTo>
                  <a:lnTo>
                    <a:pt x="178990" y="84852"/>
                  </a:lnTo>
                  <a:lnTo>
                    <a:pt x="183432" y="82021"/>
                  </a:lnTo>
                  <a:lnTo>
                    <a:pt x="190301" y="76729"/>
                  </a:lnTo>
                  <a:lnTo>
                    <a:pt x="198227" y="71967"/>
                  </a:lnTo>
                  <a:lnTo>
                    <a:pt x="206153" y="66146"/>
                  </a:lnTo>
                  <a:lnTo>
                    <a:pt x="216193" y="60854"/>
                  </a:lnTo>
                  <a:lnTo>
                    <a:pt x="226760" y="53975"/>
                  </a:lnTo>
                  <a:lnTo>
                    <a:pt x="238385" y="47625"/>
                  </a:lnTo>
                  <a:lnTo>
                    <a:pt x="240017" y="46701"/>
                  </a:lnTo>
                  <a:lnTo>
                    <a:pt x="241669" y="45473"/>
                  </a:lnTo>
                  <a:lnTo>
                    <a:pt x="243256" y="44424"/>
                  </a:lnTo>
                  <a:lnTo>
                    <a:pt x="245373" y="43374"/>
                  </a:lnTo>
                  <a:lnTo>
                    <a:pt x="248019" y="41800"/>
                  </a:lnTo>
                  <a:lnTo>
                    <a:pt x="248547" y="41275"/>
                  </a:lnTo>
                  <a:lnTo>
                    <a:pt x="248768" y="41748"/>
                  </a:lnTo>
                  <a:lnTo>
                    <a:pt x="250539" y="40746"/>
                  </a:lnTo>
                  <a:lnTo>
                    <a:pt x="264277" y="34925"/>
                  </a:lnTo>
                  <a:lnTo>
                    <a:pt x="278543" y="28046"/>
                  </a:lnTo>
                  <a:lnTo>
                    <a:pt x="293866" y="21696"/>
                  </a:lnTo>
                  <a:lnTo>
                    <a:pt x="309719" y="15875"/>
                  </a:lnTo>
                  <a:lnTo>
                    <a:pt x="327156" y="10583"/>
                  </a:lnTo>
                  <a:lnTo>
                    <a:pt x="345650" y="5821"/>
                  </a:lnTo>
                  <a:lnTo>
                    <a:pt x="364673" y="2646"/>
                  </a:lnTo>
                  <a:lnTo>
                    <a:pt x="374711" y="1058"/>
                  </a:lnTo>
                  <a:lnTo>
                    <a:pt x="384223" y="529"/>
                  </a:lnTo>
                  <a:lnTo>
                    <a:pt x="386865" y="529"/>
                  </a:lnTo>
                  <a:lnTo>
                    <a:pt x="388978" y="529"/>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a:ln>
                  <a:noFill/>
                </a:ln>
                <a:solidFill>
                  <a:srgbClr val="FFFFFF"/>
                </a:solidFill>
                <a:effectLst/>
                <a:uLnTx/>
                <a:uFillTx/>
                <a:latin typeface="等线" panose="020F0502020204030204"/>
                <a:ea typeface="+mn-ea"/>
                <a:cs typeface="+mn-cs"/>
              </a:endParaRPr>
            </a:p>
          </p:txBody>
        </p:sp>
        <p:sp>
          <p:nvSpPr>
            <p:cNvPr id="10" name="TextBox 148">
              <a:extLst>
                <a:ext uri="{FF2B5EF4-FFF2-40B4-BE49-F238E27FC236}">
                  <a16:creationId xmlns:a16="http://schemas.microsoft.com/office/drawing/2014/main" id="{9549B463-0CE0-45BB-9620-9B7AE5E215EA}"/>
                </a:ext>
              </a:extLst>
            </p:cNvPr>
            <p:cNvSpPr txBox="1"/>
            <p:nvPr/>
          </p:nvSpPr>
          <p:spPr>
            <a:xfrm>
              <a:off x="5465810" y="4367181"/>
              <a:ext cx="1036507"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dirty="0">
                  <a:ln>
                    <a:noFill/>
                  </a:ln>
                  <a:solidFill>
                    <a:srgbClr val="FFD229"/>
                  </a:solidFill>
                  <a:effectLst/>
                  <a:uLnTx/>
                  <a:uFillTx/>
                  <a:latin typeface="等线" panose="020F0502020204030204"/>
                  <a:ea typeface="+mn-ea"/>
                  <a:cs typeface="+mn-cs"/>
                </a:rPr>
                <a:t>03</a:t>
              </a:r>
            </a:p>
          </p:txBody>
        </p:sp>
      </p:grpSp>
      <p:grpSp>
        <p:nvGrpSpPr>
          <p:cNvPr id="11" name="Group 6">
            <a:extLst>
              <a:ext uri="{FF2B5EF4-FFF2-40B4-BE49-F238E27FC236}">
                <a16:creationId xmlns:a16="http://schemas.microsoft.com/office/drawing/2014/main" id="{0035F139-55D1-430C-83D8-A24400D4080B}"/>
              </a:ext>
            </a:extLst>
          </p:cNvPr>
          <p:cNvGrpSpPr/>
          <p:nvPr/>
        </p:nvGrpSpPr>
        <p:grpSpPr>
          <a:xfrm>
            <a:off x="7539037" y="2492376"/>
            <a:ext cx="1682751" cy="2336470"/>
            <a:chOff x="7539037" y="2492376"/>
            <a:chExt cx="1682751" cy="2336470"/>
          </a:xfrm>
        </p:grpSpPr>
        <p:sp>
          <p:nvSpPr>
            <p:cNvPr id="12" name="Freeform: Shape 138">
              <a:extLst>
                <a:ext uri="{FF2B5EF4-FFF2-40B4-BE49-F238E27FC236}">
                  <a16:creationId xmlns:a16="http://schemas.microsoft.com/office/drawing/2014/main" id="{F815C85C-4220-4321-88AD-CBF3C522ABBE}"/>
                </a:ext>
              </a:extLst>
            </p:cNvPr>
            <p:cNvSpPr/>
            <p:nvPr/>
          </p:nvSpPr>
          <p:spPr>
            <a:xfrm>
              <a:off x="7539037" y="2492376"/>
              <a:ext cx="1682751" cy="2066925"/>
            </a:xfrm>
            <a:custGeom>
              <a:avLst/>
              <a:gdLst>
                <a:gd name="connsiteX0" fmla="*/ 1358372 w 1682751"/>
                <a:gd name="connsiteY0" fmla="*/ 1028700 h 2066925"/>
                <a:gd name="connsiteX1" fmla="*/ 1379009 w 1682751"/>
                <a:gd name="connsiteY1" fmla="*/ 1028700 h 2066925"/>
                <a:gd name="connsiteX2" fmla="*/ 1398589 w 1682751"/>
                <a:gd name="connsiteY2" fmla="*/ 1030293 h 2066925"/>
                <a:gd name="connsiteX3" fmla="*/ 1418697 w 1682751"/>
                <a:gd name="connsiteY3" fmla="*/ 1031886 h 2066925"/>
                <a:gd name="connsiteX4" fmla="*/ 1436689 w 1682751"/>
                <a:gd name="connsiteY4" fmla="*/ 1035073 h 2066925"/>
                <a:gd name="connsiteX5" fmla="*/ 1455209 w 1682751"/>
                <a:gd name="connsiteY5" fmla="*/ 1038790 h 2066925"/>
                <a:gd name="connsiteX6" fmla="*/ 1471613 w 1682751"/>
                <a:gd name="connsiteY6" fmla="*/ 1043039 h 2066925"/>
                <a:gd name="connsiteX7" fmla="*/ 1488547 w 1682751"/>
                <a:gd name="connsiteY7" fmla="*/ 1048880 h 2066925"/>
                <a:gd name="connsiteX8" fmla="*/ 1504422 w 1682751"/>
                <a:gd name="connsiteY8" fmla="*/ 1054191 h 2066925"/>
                <a:gd name="connsiteX9" fmla="*/ 1519768 w 1682751"/>
                <a:gd name="connsiteY9" fmla="*/ 1060032 h 2066925"/>
                <a:gd name="connsiteX10" fmla="*/ 1534584 w 1682751"/>
                <a:gd name="connsiteY10" fmla="*/ 1066936 h 2066925"/>
                <a:gd name="connsiteX11" fmla="*/ 1547813 w 1682751"/>
                <a:gd name="connsiteY11" fmla="*/ 1073840 h 2066925"/>
                <a:gd name="connsiteX12" fmla="*/ 1561572 w 1682751"/>
                <a:gd name="connsiteY12" fmla="*/ 1080744 h 2066925"/>
                <a:gd name="connsiteX13" fmla="*/ 1573743 w 1682751"/>
                <a:gd name="connsiteY13" fmla="*/ 1088179 h 2066925"/>
                <a:gd name="connsiteX14" fmla="*/ 1585384 w 1682751"/>
                <a:gd name="connsiteY14" fmla="*/ 1096145 h 2066925"/>
                <a:gd name="connsiteX15" fmla="*/ 1597026 w 1682751"/>
                <a:gd name="connsiteY15" fmla="*/ 1104642 h 2066925"/>
                <a:gd name="connsiteX16" fmla="*/ 1616605 w 1682751"/>
                <a:gd name="connsiteY16" fmla="*/ 1120042 h 2066925"/>
                <a:gd name="connsiteX17" fmla="*/ 1634068 w 1682751"/>
                <a:gd name="connsiteY17" fmla="*/ 1134912 h 2066925"/>
                <a:gd name="connsiteX18" fmla="*/ 1649413 w 1682751"/>
                <a:gd name="connsiteY18" fmla="*/ 1149782 h 2066925"/>
                <a:gd name="connsiteX19" fmla="*/ 1661584 w 1682751"/>
                <a:gd name="connsiteY19" fmla="*/ 1162527 h 2066925"/>
                <a:gd name="connsiteX20" fmla="*/ 1677459 w 1682751"/>
                <a:gd name="connsiteY20" fmla="*/ 1182708 h 2066925"/>
                <a:gd name="connsiteX21" fmla="*/ 1682751 w 1682751"/>
                <a:gd name="connsiteY21" fmla="*/ 1190142 h 2066925"/>
                <a:gd name="connsiteX22" fmla="*/ 1673226 w 1682751"/>
                <a:gd name="connsiteY22" fmla="*/ 1186425 h 2066925"/>
                <a:gd name="connsiteX23" fmla="*/ 1663172 w 1682751"/>
                <a:gd name="connsiteY23" fmla="*/ 1184301 h 2066925"/>
                <a:gd name="connsiteX24" fmla="*/ 1653118 w 1682751"/>
                <a:gd name="connsiteY24" fmla="*/ 1182708 h 2066925"/>
                <a:gd name="connsiteX25" fmla="*/ 1643063 w 1682751"/>
                <a:gd name="connsiteY25" fmla="*/ 1182708 h 2066925"/>
                <a:gd name="connsiteX26" fmla="*/ 1633539 w 1682751"/>
                <a:gd name="connsiteY26" fmla="*/ 1183239 h 2066925"/>
                <a:gd name="connsiteX27" fmla="*/ 1624013 w 1682751"/>
                <a:gd name="connsiteY27" fmla="*/ 1184832 h 2066925"/>
                <a:gd name="connsiteX28" fmla="*/ 1614489 w 1682751"/>
                <a:gd name="connsiteY28" fmla="*/ 1188018 h 2066925"/>
                <a:gd name="connsiteX29" fmla="*/ 1604434 w 1682751"/>
                <a:gd name="connsiteY29" fmla="*/ 1191204 h 2066925"/>
                <a:gd name="connsiteX30" fmla="*/ 1594380 w 1682751"/>
                <a:gd name="connsiteY30" fmla="*/ 1194922 h 2066925"/>
                <a:gd name="connsiteX31" fmla="*/ 1584855 w 1682751"/>
                <a:gd name="connsiteY31" fmla="*/ 1200233 h 2066925"/>
                <a:gd name="connsiteX32" fmla="*/ 1574801 w 1682751"/>
                <a:gd name="connsiteY32" fmla="*/ 1204481 h 2066925"/>
                <a:gd name="connsiteX33" fmla="*/ 1564747 w 1682751"/>
                <a:gd name="connsiteY33" fmla="*/ 1210854 h 2066925"/>
                <a:gd name="connsiteX34" fmla="*/ 1545168 w 1682751"/>
                <a:gd name="connsiteY34" fmla="*/ 1223599 h 2066925"/>
                <a:gd name="connsiteX35" fmla="*/ 1525059 w 1682751"/>
                <a:gd name="connsiteY35" fmla="*/ 1237407 h 2066925"/>
                <a:gd name="connsiteX36" fmla="*/ 1504422 w 1682751"/>
                <a:gd name="connsiteY36" fmla="*/ 1252276 h 2066925"/>
                <a:gd name="connsiteX37" fmla="*/ 1483784 w 1682751"/>
                <a:gd name="connsiteY37" fmla="*/ 1266615 h 2066925"/>
                <a:gd name="connsiteX38" fmla="*/ 1462618 w 1682751"/>
                <a:gd name="connsiteY38" fmla="*/ 1281485 h 2066925"/>
                <a:gd name="connsiteX39" fmla="*/ 1441980 w 1682751"/>
                <a:gd name="connsiteY39" fmla="*/ 1294230 h 2066925"/>
                <a:gd name="connsiteX40" fmla="*/ 1430868 w 1682751"/>
                <a:gd name="connsiteY40" fmla="*/ 1300603 h 2066925"/>
                <a:gd name="connsiteX41" fmla="*/ 1420284 w 1682751"/>
                <a:gd name="connsiteY41" fmla="*/ 1305914 h 2066925"/>
                <a:gd name="connsiteX42" fmla="*/ 1409172 w 1682751"/>
                <a:gd name="connsiteY42" fmla="*/ 1310162 h 2066925"/>
                <a:gd name="connsiteX43" fmla="*/ 1398059 w 1682751"/>
                <a:gd name="connsiteY43" fmla="*/ 1314942 h 2066925"/>
                <a:gd name="connsiteX44" fmla="*/ 1386418 w 1682751"/>
                <a:gd name="connsiteY44" fmla="*/ 1318659 h 2066925"/>
                <a:gd name="connsiteX45" fmla="*/ 1375834 w 1682751"/>
                <a:gd name="connsiteY45" fmla="*/ 1321845 h 2066925"/>
                <a:gd name="connsiteX46" fmla="*/ 1364193 w 1682751"/>
                <a:gd name="connsiteY46" fmla="*/ 1323970 h 2066925"/>
                <a:gd name="connsiteX47" fmla="*/ 1352022 w 1682751"/>
                <a:gd name="connsiteY47" fmla="*/ 1325032 h 2066925"/>
                <a:gd name="connsiteX48" fmla="*/ 1344084 w 1682751"/>
                <a:gd name="connsiteY48" fmla="*/ 1325563 h 2066925"/>
                <a:gd name="connsiteX49" fmla="*/ 1335618 w 1682751"/>
                <a:gd name="connsiteY49" fmla="*/ 1325563 h 2066925"/>
                <a:gd name="connsiteX50" fmla="*/ 1327151 w 1682751"/>
                <a:gd name="connsiteY50" fmla="*/ 1325032 h 2066925"/>
                <a:gd name="connsiteX51" fmla="*/ 1318684 w 1682751"/>
                <a:gd name="connsiteY51" fmla="*/ 1323970 h 2066925"/>
                <a:gd name="connsiteX52" fmla="*/ 1302809 w 1682751"/>
                <a:gd name="connsiteY52" fmla="*/ 1321845 h 2066925"/>
                <a:gd name="connsiteX53" fmla="*/ 1286934 w 1682751"/>
                <a:gd name="connsiteY53" fmla="*/ 1317066 h 2066925"/>
                <a:gd name="connsiteX54" fmla="*/ 1272118 w 1682751"/>
                <a:gd name="connsiteY54" fmla="*/ 1311755 h 2066925"/>
                <a:gd name="connsiteX55" fmla="*/ 1257830 w 1682751"/>
                <a:gd name="connsiteY55" fmla="*/ 1304851 h 2066925"/>
                <a:gd name="connsiteX56" fmla="*/ 1244601 w 1682751"/>
                <a:gd name="connsiteY56" fmla="*/ 1297417 h 2066925"/>
                <a:gd name="connsiteX57" fmla="*/ 1231901 w 1682751"/>
                <a:gd name="connsiteY57" fmla="*/ 1287858 h 2066925"/>
                <a:gd name="connsiteX58" fmla="*/ 1220259 w 1682751"/>
                <a:gd name="connsiteY58" fmla="*/ 1278298 h 2066925"/>
                <a:gd name="connsiteX59" fmla="*/ 1210734 w 1682751"/>
                <a:gd name="connsiteY59" fmla="*/ 1267677 h 2066925"/>
                <a:gd name="connsiteX60" fmla="*/ 1201209 w 1682751"/>
                <a:gd name="connsiteY60" fmla="*/ 1255994 h 2066925"/>
                <a:gd name="connsiteX61" fmla="*/ 1193801 w 1682751"/>
                <a:gd name="connsiteY61" fmla="*/ 1242717 h 2066925"/>
                <a:gd name="connsiteX62" fmla="*/ 1190626 w 1682751"/>
                <a:gd name="connsiteY62" fmla="*/ 1236876 h 2066925"/>
                <a:gd name="connsiteX63" fmla="*/ 1187451 w 1682751"/>
                <a:gd name="connsiteY63" fmla="*/ 1229972 h 2066925"/>
                <a:gd name="connsiteX64" fmla="*/ 1184805 w 1682751"/>
                <a:gd name="connsiteY64" fmla="*/ 1223068 h 2066925"/>
                <a:gd name="connsiteX65" fmla="*/ 1182159 w 1682751"/>
                <a:gd name="connsiteY65" fmla="*/ 1216164 h 2066925"/>
                <a:gd name="connsiteX66" fmla="*/ 1180572 w 1682751"/>
                <a:gd name="connsiteY66" fmla="*/ 1208729 h 2066925"/>
                <a:gd name="connsiteX67" fmla="*/ 1178984 w 1682751"/>
                <a:gd name="connsiteY67" fmla="*/ 1201826 h 2066925"/>
                <a:gd name="connsiteX68" fmla="*/ 1178455 w 1682751"/>
                <a:gd name="connsiteY68" fmla="*/ 1193860 h 2066925"/>
                <a:gd name="connsiteX69" fmla="*/ 1177926 w 1682751"/>
                <a:gd name="connsiteY69" fmla="*/ 1186425 h 2066925"/>
                <a:gd name="connsiteX70" fmla="*/ 1177926 w 1682751"/>
                <a:gd name="connsiteY70" fmla="*/ 1183239 h 2066925"/>
                <a:gd name="connsiteX71" fmla="*/ 1177926 w 1682751"/>
                <a:gd name="connsiteY71" fmla="*/ 1180052 h 2066925"/>
                <a:gd name="connsiteX72" fmla="*/ 1188509 w 1682751"/>
                <a:gd name="connsiteY72" fmla="*/ 1173148 h 2066925"/>
                <a:gd name="connsiteX73" fmla="*/ 1200680 w 1682751"/>
                <a:gd name="connsiteY73" fmla="*/ 1166245 h 2066925"/>
                <a:gd name="connsiteX74" fmla="*/ 1212851 w 1682751"/>
                <a:gd name="connsiteY74" fmla="*/ 1159341 h 2066925"/>
                <a:gd name="connsiteX75" fmla="*/ 1225022 w 1682751"/>
                <a:gd name="connsiteY75" fmla="*/ 1153499 h 2066925"/>
                <a:gd name="connsiteX76" fmla="*/ 1237722 w 1682751"/>
                <a:gd name="connsiteY76" fmla="*/ 1147126 h 2066925"/>
                <a:gd name="connsiteX77" fmla="*/ 1251480 w 1682751"/>
                <a:gd name="connsiteY77" fmla="*/ 1141285 h 2066925"/>
                <a:gd name="connsiteX78" fmla="*/ 1265239 w 1682751"/>
                <a:gd name="connsiteY78" fmla="*/ 1136505 h 2066925"/>
                <a:gd name="connsiteX79" fmla="*/ 1278997 w 1682751"/>
                <a:gd name="connsiteY79" fmla="*/ 1131195 h 2066925"/>
                <a:gd name="connsiteX80" fmla="*/ 1293284 w 1682751"/>
                <a:gd name="connsiteY80" fmla="*/ 1127477 h 2066925"/>
                <a:gd name="connsiteX81" fmla="*/ 1308101 w 1682751"/>
                <a:gd name="connsiteY81" fmla="*/ 1122698 h 2066925"/>
                <a:gd name="connsiteX82" fmla="*/ 1322389 w 1682751"/>
                <a:gd name="connsiteY82" fmla="*/ 1120042 h 2066925"/>
                <a:gd name="connsiteX83" fmla="*/ 1337734 w 1682751"/>
                <a:gd name="connsiteY83" fmla="*/ 1116856 h 2066925"/>
                <a:gd name="connsiteX84" fmla="*/ 1353609 w 1682751"/>
                <a:gd name="connsiteY84" fmla="*/ 1113670 h 2066925"/>
                <a:gd name="connsiteX85" fmla="*/ 1368955 w 1682751"/>
                <a:gd name="connsiteY85" fmla="*/ 1112076 h 2066925"/>
                <a:gd name="connsiteX86" fmla="*/ 1384830 w 1682751"/>
                <a:gd name="connsiteY86" fmla="*/ 1109952 h 2066925"/>
                <a:gd name="connsiteX87" fmla="*/ 1401234 w 1682751"/>
                <a:gd name="connsiteY87" fmla="*/ 1108890 h 2066925"/>
                <a:gd name="connsiteX88" fmla="*/ 1416051 w 1682751"/>
                <a:gd name="connsiteY88" fmla="*/ 1108359 h 2066925"/>
                <a:gd name="connsiteX89" fmla="*/ 1430868 w 1682751"/>
                <a:gd name="connsiteY89" fmla="*/ 1108359 h 2066925"/>
                <a:gd name="connsiteX90" fmla="*/ 1445155 w 1682751"/>
                <a:gd name="connsiteY90" fmla="*/ 1108359 h 2066925"/>
                <a:gd name="connsiteX91" fmla="*/ 1458913 w 1682751"/>
                <a:gd name="connsiteY91" fmla="*/ 1108890 h 2066925"/>
                <a:gd name="connsiteX92" fmla="*/ 1473201 w 1682751"/>
                <a:gd name="connsiteY92" fmla="*/ 1110483 h 2066925"/>
                <a:gd name="connsiteX93" fmla="*/ 1486959 w 1682751"/>
                <a:gd name="connsiteY93" fmla="*/ 1112076 h 2066925"/>
                <a:gd name="connsiteX94" fmla="*/ 1500718 w 1682751"/>
                <a:gd name="connsiteY94" fmla="*/ 1113670 h 2066925"/>
                <a:gd name="connsiteX95" fmla="*/ 1514476 w 1682751"/>
                <a:gd name="connsiteY95" fmla="*/ 1115794 h 2066925"/>
                <a:gd name="connsiteX96" fmla="*/ 1527705 w 1682751"/>
                <a:gd name="connsiteY96" fmla="*/ 1118980 h 2066925"/>
                <a:gd name="connsiteX97" fmla="*/ 1540405 w 1682751"/>
                <a:gd name="connsiteY97" fmla="*/ 1122167 h 2066925"/>
                <a:gd name="connsiteX98" fmla="*/ 1553634 w 1682751"/>
                <a:gd name="connsiteY98" fmla="*/ 1125353 h 2066925"/>
                <a:gd name="connsiteX99" fmla="*/ 1566334 w 1682751"/>
                <a:gd name="connsiteY99" fmla="*/ 1129070 h 2066925"/>
                <a:gd name="connsiteX100" fmla="*/ 1578505 w 1682751"/>
                <a:gd name="connsiteY100" fmla="*/ 1132788 h 2066925"/>
                <a:gd name="connsiteX101" fmla="*/ 1590676 w 1682751"/>
                <a:gd name="connsiteY101" fmla="*/ 1137567 h 2066925"/>
                <a:gd name="connsiteX102" fmla="*/ 1602318 w 1682751"/>
                <a:gd name="connsiteY102" fmla="*/ 1141816 h 2066925"/>
                <a:gd name="connsiteX103" fmla="*/ 1613430 w 1682751"/>
                <a:gd name="connsiteY103" fmla="*/ 1147126 h 2066925"/>
                <a:gd name="connsiteX104" fmla="*/ 1601259 w 1682751"/>
                <a:gd name="connsiteY104" fmla="*/ 1141285 h 2066925"/>
                <a:gd name="connsiteX105" fmla="*/ 1589089 w 1682751"/>
                <a:gd name="connsiteY105" fmla="*/ 1134912 h 2066925"/>
                <a:gd name="connsiteX106" fmla="*/ 1576389 w 1682751"/>
                <a:gd name="connsiteY106" fmla="*/ 1129601 h 2066925"/>
                <a:gd name="connsiteX107" fmla="*/ 1563159 w 1682751"/>
                <a:gd name="connsiteY107" fmla="*/ 1125353 h 2066925"/>
                <a:gd name="connsiteX108" fmla="*/ 1549401 w 1682751"/>
                <a:gd name="connsiteY108" fmla="*/ 1120573 h 2066925"/>
                <a:gd name="connsiteX109" fmla="*/ 1535643 w 1682751"/>
                <a:gd name="connsiteY109" fmla="*/ 1115794 h 2066925"/>
                <a:gd name="connsiteX110" fmla="*/ 1521884 w 1682751"/>
                <a:gd name="connsiteY110" fmla="*/ 1113139 h 2066925"/>
                <a:gd name="connsiteX111" fmla="*/ 1507597 w 1682751"/>
                <a:gd name="connsiteY111" fmla="*/ 1108890 h 2066925"/>
                <a:gd name="connsiteX112" fmla="*/ 1492251 w 1682751"/>
                <a:gd name="connsiteY112" fmla="*/ 1106766 h 2066925"/>
                <a:gd name="connsiteX113" fmla="*/ 1477963 w 1682751"/>
                <a:gd name="connsiteY113" fmla="*/ 1104642 h 2066925"/>
                <a:gd name="connsiteX114" fmla="*/ 1462618 w 1682751"/>
                <a:gd name="connsiteY114" fmla="*/ 1101986 h 2066925"/>
                <a:gd name="connsiteX115" fmla="*/ 1446743 w 1682751"/>
                <a:gd name="connsiteY115" fmla="*/ 1100924 h 2066925"/>
                <a:gd name="connsiteX116" fmla="*/ 1431397 w 1682751"/>
                <a:gd name="connsiteY116" fmla="*/ 1099862 h 2066925"/>
                <a:gd name="connsiteX117" fmla="*/ 1415522 w 1682751"/>
                <a:gd name="connsiteY117" fmla="*/ 1099862 h 2066925"/>
                <a:gd name="connsiteX118" fmla="*/ 1399647 w 1682751"/>
                <a:gd name="connsiteY118" fmla="*/ 1099862 h 2066925"/>
                <a:gd name="connsiteX119" fmla="*/ 1382713 w 1682751"/>
                <a:gd name="connsiteY119" fmla="*/ 1100924 h 2066925"/>
                <a:gd name="connsiteX120" fmla="*/ 1368426 w 1682751"/>
                <a:gd name="connsiteY120" fmla="*/ 1101455 h 2066925"/>
                <a:gd name="connsiteX121" fmla="*/ 1354668 w 1682751"/>
                <a:gd name="connsiteY121" fmla="*/ 1103048 h 2066925"/>
                <a:gd name="connsiteX122" fmla="*/ 1339851 w 1682751"/>
                <a:gd name="connsiteY122" fmla="*/ 1104642 h 2066925"/>
                <a:gd name="connsiteX123" fmla="*/ 1326093 w 1682751"/>
                <a:gd name="connsiteY123" fmla="*/ 1106766 h 2066925"/>
                <a:gd name="connsiteX124" fmla="*/ 1312334 w 1682751"/>
                <a:gd name="connsiteY124" fmla="*/ 1108890 h 2066925"/>
                <a:gd name="connsiteX125" fmla="*/ 1299105 w 1682751"/>
                <a:gd name="connsiteY125" fmla="*/ 1112076 h 2066925"/>
                <a:gd name="connsiteX126" fmla="*/ 1285876 w 1682751"/>
                <a:gd name="connsiteY126" fmla="*/ 1115263 h 2066925"/>
                <a:gd name="connsiteX127" fmla="*/ 1273176 w 1682751"/>
                <a:gd name="connsiteY127" fmla="*/ 1118980 h 2066925"/>
                <a:gd name="connsiteX128" fmla="*/ 1259947 w 1682751"/>
                <a:gd name="connsiteY128" fmla="*/ 1122698 h 2066925"/>
                <a:gd name="connsiteX129" fmla="*/ 1247776 w 1682751"/>
                <a:gd name="connsiteY129" fmla="*/ 1127477 h 2066925"/>
                <a:gd name="connsiteX130" fmla="*/ 1235605 w 1682751"/>
                <a:gd name="connsiteY130" fmla="*/ 1132257 h 2066925"/>
                <a:gd name="connsiteX131" fmla="*/ 1223434 w 1682751"/>
                <a:gd name="connsiteY131" fmla="*/ 1136505 h 2066925"/>
                <a:gd name="connsiteX132" fmla="*/ 1211793 w 1682751"/>
                <a:gd name="connsiteY132" fmla="*/ 1141816 h 2066925"/>
                <a:gd name="connsiteX133" fmla="*/ 1200680 w 1682751"/>
                <a:gd name="connsiteY133" fmla="*/ 1147126 h 2066925"/>
                <a:gd name="connsiteX134" fmla="*/ 1190097 w 1682751"/>
                <a:gd name="connsiteY134" fmla="*/ 1153499 h 2066925"/>
                <a:gd name="connsiteX135" fmla="*/ 1178455 w 1682751"/>
                <a:gd name="connsiteY135" fmla="*/ 1159341 h 2066925"/>
                <a:gd name="connsiteX136" fmla="*/ 1181630 w 1682751"/>
                <a:gd name="connsiteY136" fmla="*/ 1146595 h 2066925"/>
                <a:gd name="connsiteX137" fmla="*/ 1185334 w 1682751"/>
                <a:gd name="connsiteY137" fmla="*/ 1134381 h 2066925"/>
                <a:gd name="connsiteX138" fmla="*/ 1190626 w 1682751"/>
                <a:gd name="connsiteY138" fmla="*/ 1122167 h 2066925"/>
                <a:gd name="connsiteX139" fmla="*/ 1196976 w 1682751"/>
                <a:gd name="connsiteY139" fmla="*/ 1110483 h 2066925"/>
                <a:gd name="connsiteX140" fmla="*/ 1203855 w 1682751"/>
                <a:gd name="connsiteY140" fmla="*/ 1099862 h 2066925"/>
                <a:gd name="connsiteX141" fmla="*/ 1211793 w 1682751"/>
                <a:gd name="connsiteY141" fmla="*/ 1089241 h 2066925"/>
                <a:gd name="connsiteX142" fmla="*/ 1221318 w 1682751"/>
                <a:gd name="connsiteY142" fmla="*/ 1079151 h 2066925"/>
                <a:gd name="connsiteX143" fmla="*/ 1230843 w 1682751"/>
                <a:gd name="connsiteY143" fmla="*/ 1070123 h 2066925"/>
                <a:gd name="connsiteX144" fmla="*/ 1241955 w 1682751"/>
                <a:gd name="connsiteY144" fmla="*/ 1062157 h 2066925"/>
                <a:gd name="connsiteX145" fmla="*/ 1254126 w 1682751"/>
                <a:gd name="connsiteY145" fmla="*/ 1054722 h 2066925"/>
                <a:gd name="connsiteX146" fmla="*/ 1266297 w 1682751"/>
                <a:gd name="connsiteY146" fmla="*/ 1047818 h 2066925"/>
                <a:gd name="connsiteX147" fmla="*/ 1278997 w 1682751"/>
                <a:gd name="connsiteY147" fmla="*/ 1042507 h 2066925"/>
                <a:gd name="connsiteX148" fmla="*/ 1292755 w 1682751"/>
                <a:gd name="connsiteY148" fmla="*/ 1037197 h 2066925"/>
                <a:gd name="connsiteX149" fmla="*/ 1307043 w 1682751"/>
                <a:gd name="connsiteY149" fmla="*/ 1034010 h 2066925"/>
                <a:gd name="connsiteX150" fmla="*/ 1321859 w 1682751"/>
                <a:gd name="connsiteY150" fmla="*/ 1030825 h 2066925"/>
                <a:gd name="connsiteX151" fmla="*/ 1337205 w 1682751"/>
                <a:gd name="connsiteY151" fmla="*/ 1029762 h 2066925"/>
                <a:gd name="connsiteX152" fmla="*/ 841375 w 1682751"/>
                <a:gd name="connsiteY152" fmla="*/ 790574 h 2066925"/>
                <a:gd name="connsiteX153" fmla="*/ 849297 w 1682751"/>
                <a:gd name="connsiteY153" fmla="*/ 790574 h 2066925"/>
                <a:gd name="connsiteX154" fmla="*/ 868309 w 1682751"/>
                <a:gd name="connsiteY154" fmla="*/ 792692 h 2066925"/>
                <a:gd name="connsiteX155" fmla="*/ 881513 w 1682751"/>
                <a:gd name="connsiteY155" fmla="*/ 794808 h 2066925"/>
                <a:gd name="connsiteX156" fmla="*/ 897884 w 1682751"/>
                <a:gd name="connsiteY156" fmla="*/ 797983 h 2066925"/>
                <a:gd name="connsiteX157" fmla="*/ 914256 w 1682751"/>
                <a:gd name="connsiteY157" fmla="*/ 802745 h 2066925"/>
                <a:gd name="connsiteX158" fmla="*/ 933269 w 1682751"/>
                <a:gd name="connsiteY158" fmla="*/ 808566 h 2066925"/>
                <a:gd name="connsiteX159" fmla="*/ 953338 w 1682751"/>
                <a:gd name="connsiteY159" fmla="*/ 817032 h 2066925"/>
                <a:gd name="connsiteX160" fmla="*/ 973935 w 1682751"/>
                <a:gd name="connsiteY160" fmla="*/ 826029 h 2066925"/>
                <a:gd name="connsiteX161" fmla="*/ 983441 w 1682751"/>
                <a:gd name="connsiteY161" fmla="*/ 832378 h 2066925"/>
                <a:gd name="connsiteX162" fmla="*/ 994532 w 1682751"/>
                <a:gd name="connsiteY162" fmla="*/ 838199 h 2066925"/>
                <a:gd name="connsiteX163" fmla="*/ 1005094 w 1682751"/>
                <a:gd name="connsiteY163" fmla="*/ 845079 h 2066925"/>
                <a:gd name="connsiteX164" fmla="*/ 1014600 w 1682751"/>
                <a:gd name="connsiteY164" fmla="*/ 851957 h 2066925"/>
                <a:gd name="connsiteX165" fmla="*/ 1025691 w 1682751"/>
                <a:gd name="connsiteY165" fmla="*/ 860425 h 2066925"/>
                <a:gd name="connsiteX166" fmla="*/ 1035197 w 1682751"/>
                <a:gd name="connsiteY166" fmla="*/ 868891 h 2066925"/>
                <a:gd name="connsiteX167" fmla="*/ 1045232 w 1682751"/>
                <a:gd name="connsiteY167" fmla="*/ 877887 h 2066925"/>
                <a:gd name="connsiteX168" fmla="*/ 1055266 w 1682751"/>
                <a:gd name="connsiteY168" fmla="*/ 887942 h 2066925"/>
                <a:gd name="connsiteX169" fmla="*/ 1064244 w 1682751"/>
                <a:gd name="connsiteY169" fmla="*/ 898524 h 2066925"/>
                <a:gd name="connsiteX170" fmla="*/ 1073222 w 1682751"/>
                <a:gd name="connsiteY170" fmla="*/ 910166 h 2066925"/>
                <a:gd name="connsiteX171" fmla="*/ 1082729 w 1682751"/>
                <a:gd name="connsiteY171" fmla="*/ 922867 h 2066925"/>
                <a:gd name="connsiteX172" fmla="*/ 1090650 w 1682751"/>
                <a:gd name="connsiteY172" fmla="*/ 936096 h 2066925"/>
                <a:gd name="connsiteX173" fmla="*/ 1096460 w 1682751"/>
                <a:gd name="connsiteY173" fmla="*/ 945091 h 2066925"/>
                <a:gd name="connsiteX174" fmla="*/ 1100685 w 1682751"/>
                <a:gd name="connsiteY174" fmla="*/ 955145 h 2066925"/>
                <a:gd name="connsiteX175" fmla="*/ 1104382 w 1682751"/>
                <a:gd name="connsiteY175" fmla="*/ 965199 h 2066925"/>
                <a:gd name="connsiteX176" fmla="*/ 1107022 w 1682751"/>
                <a:gd name="connsiteY176" fmla="*/ 974725 h 2066925"/>
                <a:gd name="connsiteX177" fmla="*/ 1108607 w 1682751"/>
                <a:gd name="connsiteY177" fmla="*/ 984779 h 2066925"/>
                <a:gd name="connsiteX178" fmla="*/ 1109663 w 1682751"/>
                <a:gd name="connsiteY178" fmla="*/ 994832 h 2066925"/>
                <a:gd name="connsiteX179" fmla="*/ 1109663 w 1682751"/>
                <a:gd name="connsiteY179" fmla="*/ 1004887 h 2066925"/>
                <a:gd name="connsiteX180" fmla="*/ 1109135 w 1682751"/>
                <a:gd name="connsiteY180" fmla="*/ 1013882 h 2066925"/>
                <a:gd name="connsiteX181" fmla="*/ 1107550 w 1682751"/>
                <a:gd name="connsiteY181" fmla="*/ 1023936 h 2066925"/>
                <a:gd name="connsiteX182" fmla="*/ 1104382 w 1682751"/>
                <a:gd name="connsiteY182" fmla="*/ 1032933 h 2066925"/>
                <a:gd name="connsiteX183" fmla="*/ 1101741 w 1682751"/>
                <a:gd name="connsiteY183" fmla="*/ 1041399 h 2066925"/>
                <a:gd name="connsiteX184" fmla="*/ 1097516 w 1682751"/>
                <a:gd name="connsiteY184" fmla="*/ 1049866 h 2066925"/>
                <a:gd name="connsiteX185" fmla="*/ 1092235 w 1682751"/>
                <a:gd name="connsiteY185" fmla="*/ 1057803 h 2066925"/>
                <a:gd name="connsiteX186" fmla="*/ 1086954 w 1682751"/>
                <a:gd name="connsiteY186" fmla="*/ 1065741 h 2066925"/>
                <a:gd name="connsiteX187" fmla="*/ 1080088 w 1682751"/>
                <a:gd name="connsiteY187" fmla="*/ 1072620 h 2066925"/>
                <a:gd name="connsiteX188" fmla="*/ 1073222 w 1682751"/>
                <a:gd name="connsiteY188" fmla="*/ 1078441 h 2066925"/>
                <a:gd name="connsiteX189" fmla="*/ 1071638 w 1682751"/>
                <a:gd name="connsiteY189" fmla="*/ 1060978 h 2066925"/>
                <a:gd name="connsiteX190" fmla="*/ 1068997 w 1682751"/>
                <a:gd name="connsiteY190" fmla="*/ 1043516 h 2066925"/>
                <a:gd name="connsiteX191" fmla="*/ 1064772 w 1682751"/>
                <a:gd name="connsiteY191" fmla="*/ 1026053 h 2066925"/>
                <a:gd name="connsiteX192" fmla="*/ 1059491 w 1682751"/>
                <a:gd name="connsiteY192" fmla="*/ 1007533 h 2066925"/>
                <a:gd name="connsiteX193" fmla="*/ 1053682 w 1682751"/>
                <a:gd name="connsiteY193" fmla="*/ 989542 h 2066925"/>
                <a:gd name="connsiteX194" fmla="*/ 1045232 w 1682751"/>
                <a:gd name="connsiteY194" fmla="*/ 971021 h 2066925"/>
                <a:gd name="connsiteX195" fmla="*/ 1036253 w 1682751"/>
                <a:gd name="connsiteY195" fmla="*/ 953029 h 2066925"/>
                <a:gd name="connsiteX196" fmla="*/ 1025691 w 1682751"/>
                <a:gd name="connsiteY196" fmla="*/ 934507 h 2066925"/>
                <a:gd name="connsiteX197" fmla="*/ 1019353 w 1682751"/>
                <a:gd name="connsiteY197" fmla="*/ 924454 h 2066925"/>
                <a:gd name="connsiteX198" fmla="*/ 1012488 w 1682751"/>
                <a:gd name="connsiteY198" fmla="*/ 915457 h 2066925"/>
                <a:gd name="connsiteX199" fmla="*/ 1005622 w 1682751"/>
                <a:gd name="connsiteY199" fmla="*/ 906462 h 2066925"/>
                <a:gd name="connsiteX200" fmla="*/ 998228 w 1682751"/>
                <a:gd name="connsiteY200" fmla="*/ 896936 h 2066925"/>
                <a:gd name="connsiteX201" fmla="*/ 983441 w 1682751"/>
                <a:gd name="connsiteY201" fmla="*/ 879474 h 2066925"/>
                <a:gd name="connsiteX202" fmla="*/ 967597 w 1682751"/>
                <a:gd name="connsiteY202" fmla="*/ 864128 h 2066925"/>
                <a:gd name="connsiteX203" fmla="*/ 950697 w 1682751"/>
                <a:gd name="connsiteY203" fmla="*/ 849841 h 2066925"/>
                <a:gd name="connsiteX204" fmla="*/ 934325 w 1682751"/>
                <a:gd name="connsiteY204" fmla="*/ 837141 h 2066925"/>
                <a:gd name="connsiteX205" fmla="*/ 916897 w 1682751"/>
                <a:gd name="connsiteY205" fmla="*/ 825500 h 2066925"/>
                <a:gd name="connsiteX206" fmla="*/ 898413 w 1682751"/>
                <a:gd name="connsiteY206" fmla="*/ 814916 h 2066925"/>
                <a:gd name="connsiteX207" fmla="*/ 914256 w 1682751"/>
                <a:gd name="connsiteY207" fmla="*/ 825500 h 2066925"/>
                <a:gd name="connsiteX208" fmla="*/ 930628 w 1682751"/>
                <a:gd name="connsiteY208" fmla="*/ 837141 h 2066925"/>
                <a:gd name="connsiteX209" fmla="*/ 945416 w 1682751"/>
                <a:gd name="connsiteY209" fmla="*/ 849311 h 2066925"/>
                <a:gd name="connsiteX210" fmla="*/ 960203 w 1682751"/>
                <a:gd name="connsiteY210" fmla="*/ 863070 h 2066925"/>
                <a:gd name="connsiteX211" fmla="*/ 974463 w 1682751"/>
                <a:gd name="connsiteY211" fmla="*/ 877358 h 2066925"/>
                <a:gd name="connsiteX212" fmla="*/ 987666 w 1682751"/>
                <a:gd name="connsiteY212" fmla="*/ 892704 h 2066925"/>
                <a:gd name="connsiteX213" fmla="*/ 1000341 w 1682751"/>
                <a:gd name="connsiteY213" fmla="*/ 909108 h 2066925"/>
                <a:gd name="connsiteX214" fmla="*/ 1012488 w 1682751"/>
                <a:gd name="connsiteY214" fmla="*/ 927628 h 2066925"/>
                <a:gd name="connsiteX215" fmla="*/ 1018825 w 1682751"/>
                <a:gd name="connsiteY215" fmla="*/ 937683 h 2066925"/>
                <a:gd name="connsiteX216" fmla="*/ 1024107 w 1682751"/>
                <a:gd name="connsiteY216" fmla="*/ 947207 h 2066925"/>
                <a:gd name="connsiteX217" fmla="*/ 1029388 w 1682751"/>
                <a:gd name="connsiteY217" fmla="*/ 957262 h 2066925"/>
                <a:gd name="connsiteX218" fmla="*/ 1033613 w 1682751"/>
                <a:gd name="connsiteY218" fmla="*/ 967845 h 2066925"/>
                <a:gd name="connsiteX219" fmla="*/ 1042063 w 1682751"/>
                <a:gd name="connsiteY219" fmla="*/ 987954 h 2066925"/>
                <a:gd name="connsiteX220" fmla="*/ 1048929 w 1682751"/>
                <a:gd name="connsiteY220" fmla="*/ 1008591 h 2066925"/>
                <a:gd name="connsiteX221" fmla="*/ 1054210 w 1682751"/>
                <a:gd name="connsiteY221" fmla="*/ 1029228 h 2066925"/>
                <a:gd name="connsiteX222" fmla="*/ 1058435 w 1682751"/>
                <a:gd name="connsiteY222" fmla="*/ 1048807 h 2066925"/>
                <a:gd name="connsiteX223" fmla="*/ 1058963 w 1682751"/>
                <a:gd name="connsiteY223" fmla="*/ 1058861 h 2066925"/>
                <a:gd name="connsiteX224" fmla="*/ 1059491 w 1682751"/>
                <a:gd name="connsiteY224" fmla="*/ 1068916 h 2066925"/>
                <a:gd name="connsiteX225" fmla="*/ 1060547 w 1682751"/>
                <a:gd name="connsiteY225" fmla="*/ 1077911 h 2066925"/>
                <a:gd name="connsiteX226" fmla="*/ 1060547 w 1682751"/>
                <a:gd name="connsiteY226" fmla="*/ 1087966 h 2066925"/>
                <a:gd name="connsiteX227" fmla="*/ 1058435 w 1682751"/>
                <a:gd name="connsiteY227" fmla="*/ 1088495 h 2066925"/>
                <a:gd name="connsiteX228" fmla="*/ 1056850 w 1682751"/>
                <a:gd name="connsiteY228" fmla="*/ 1090082 h 2066925"/>
                <a:gd name="connsiteX229" fmla="*/ 1045760 w 1682751"/>
                <a:gd name="connsiteY229" fmla="*/ 1094845 h 2066925"/>
                <a:gd name="connsiteX230" fmla="*/ 1035197 w 1682751"/>
                <a:gd name="connsiteY230" fmla="*/ 1097491 h 2066925"/>
                <a:gd name="connsiteX231" fmla="*/ 1024107 w 1682751"/>
                <a:gd name="connsiteY231" fmla="*/ 1100136 h 2066925"/>
                <a:gd name="connsiteX232" fmla="*/ 1012488 w 1682751"/>
                <a:gd name="connsiteY232" fmla="*/ 1101724 h 2066925"/>
                <a:gd name="connsiteX233" fmla="*/ 1001397 w 1682751"/>
                <a:gd name="connsiteY233" fmla="*/ 1101724 h 2066925"/>
                <a:gd name="connsiteX234" fmla="*/ 989778 w 1682751"/>
                <a:gd name="connsiteY234" fmla="*/ 1100666 h 2066925"/>
                <a:gd name="connsiteX235" fmla="*/ 978160 w 1682751"/>
                <a:gd name="connsiteY235" fmla="*/ 1098549 h 2066925"/>
                <a:gd name="connsiteX236" fmla="*/ 967597 w 1682751"/>
                <a:gd name="connsiteY236" fmla="*/ 1095374 h 2066925"/>
                <a:gd name="connsiteX237" fmla="*/ 956506 w 1682751"/>
                <a:gd name="connsiteY237" fmla="*/ 1091670 h 2066925"/>
                <a:gd name="connsiteX238" fmla="*/ 945416 w 1682751"/>
                <a:gd name="connsiteY238" fmla="*/ 1086907 h 2066925"/>
                <a:gd name="connsiteX239" fmla="*/ 935910 w 1682751"/>
                <a:gd name="connsiteY239" fmla="*/ 1081086 h 2066925"/>
                <a:gd name="connsiteX240" fmla="*/ 925875 w 1682751"/>
                <a:gd name="connsiteY240" fmla="*/ 1074207 h 2066925"/>
                <a:gd name="connsiteX241" fmla="*/ 916897 w 1682751"/>
                <a:gd name="connsiteY241" fmla="*/ 1066270 h 2066925"/>
                <a:gd name="connsiteX242" fmla="*/ 907391 w 1682751"/>
                <a:gd name="connsiteY242" fmla="*/ 1057274 h 2066925"/>
                <a:gd name="connsiteX243" fmla="*/ 899997 w 1682751"/>
                <a:gd name="connsiteY243" fmla="*/ 1048278 h 2066925"/>
                <a:gd name="connsiteX244" fmla="*/ 893131 w 1682751"/>
                <a:gd name="connsiteY244" fmla="*/ 1037166 h 2066925"/>
                <a:gd name="connsiteX245" fmla="*/ 889434 w 1682751"/>
                <a:gd name="connsiteY245" fmla="*/ 1030816 h 2066925"/>
                <a:gd name="connsiteX246" fmla="*/ 885738 w 1682751"/>
                <a:gd name="connsiteY246" fmla="*/ 1022879 h 2066925"/>
                <a:gd name="connsiteX247" fmla="*/ 882569 w 1682751"/>
                <a:gd name="connsiteY247" fmla="*/ 1014411 h 2066925"/>
                <a:gd name="connsiteX248" fmla="*/ 880456 w 1682751"/>
                <a:gd name="connsiteY248" fmla="*/ 1007004 h 2066925"/>
                <a:gd name="connsiteX249" fmla="*/ 878872 w 1682751"/>
                <a:gd name="connsiteY249" fmla="*/ 998536 h 2066925"/>
                <a:gd name="connsiteX250" fmla="*/ 877288 w 1682751"/>
                <a:gd name="connsiteY250" fmla="*/ 990070 h 2066925"/>
                <a:gd name="connsiteX251" fmla="*/ 876231 w 1682751"/>
                <a:gd name="connsiteY251" fmla="*/ 981603 h 2066925"/>
                <a:gd name="connsiteX252" fmla="*/ 875703 w 1682751"/>
                <a:gd name="connsiteY252" fmla="*/ 972608 h 2066925"/>
                <a:gd name="connsiteX253" fmla="*/ 874647 w 1682751"/>
                <a:gd name="connsiteY253" fmla="*/ 955145 h 2066925"/>
                <a:gd name="connsiteX254" fmla="*/ 875703 w 1682751"/>
                <a:gd name="connsiteY254" fmla="*/ 937683 h 2066925"/>
                <a:gd name="connsiteX255" fmla="*/ 876231 w 1682751"/>
                <a:gd name="connsiteY255" fmla="*/ 920220 h 2066925"/>
                <a:gd name="connsiteX256" fmla="*/ 877288 w 1682751"/>
                <a:gd name="connsiteY256" fmla="*/ 901699 h 2066925"/>
                <a:gd name="connsiteX257" fmla="*/ 877816 w 1682751"/>
                <a:gd name="connsiteY257" fmla="*/ 884766 h 2066925"/>
                <a:gd name="connsiteX258" fmla="*/ 877816 w 1682751"/>
                <a:gd name="connsiteY258" fmla="*/ 868361 h 2066925"/>
                <a:gd name="connsiteX259" fmla="*/ 877288 w 1682751"/>
                <a:gd name="connsiteY259" fmla="*/ 859895 h 2066925"/>
                <a:gd name="connsiteX260" fmla="*/ 876231 w 1682751"/>
                <a:gd name="connsiteY260" fmla="*/ 851957 h 2066925"/>
                <a:gd name="connsiteX261" fmla="*/ 875703 w 1682751"/>
                <a:gd name="connsiteY261" fmla="*/ 844550 h 2066925"/>
                <a:gd name="connsiteX262" fmla="*/ 874119 w 1682751"/>
                <a:gd name="connsiteY262" fmla="*/ 837141 h 2066925"/>
                <a:gd name="connsiteX263" fmla="*/ 872006 w 1682751"/>
                <a:gd name="connsiteY263" fmla="*/ 830262 h 2066925"/>
                <a:gd name="connsiteX264" fmla="*/ 869366 w 1682751"/>
                <a:gd name="connsiteY264" fmla="*/ 823382 h 2066925"/>
                <a:gd name="connsiteX265" fmla="*/ 866725 w 1682751"/>
                <a:gd name="connsiteY265" fmla="*/ 817032 h 2066925"/>
                <a:gd name="connsiteX266" fmla="*/ 862500 w 1682751"/>
                <a:gd name="connsiteY266" fmla="*/ 811212 h 2066925"/>
                <a:gd name="connsiteX267" fmla="*/ 858803 w 1682751"/>
                <a:gd name="connsiteY267" fmla="*/ 804861 h 2066925"/>
                <a:gd name="connsiteX268" fmla="*/ 853522 w 1682751"/>
                <a:gd name="connsiteY268" fmla="*/ 799570 h 2066925"/>
                <a:gd name="connsiteX269" fmla="*/ 848241 w 1682751"/>
                <a:gd name="connsiteY269" fmla="*/ 794808 h 2066925"/>
                <a:gd name="connsiteX270" fmla="*/ 60232 w 1682751"/>
                <a:gd name="connsiteY270" fmla="*/ 714376 h 2066925"/>
                <a:gd name="connsiteX271" fmla="*/ 79253 w 1682751"/>
                <a:gd name="connsiteY271" fmla="*/ 714376 h 2066925"/>
                <a:gd name="connsiteX272" fmla="*/ 100387 w 1682751"/>
                <a:gd name="connsiteY272" fmla="*/ 715958 h 2066925"/>
                <a:gd name="connsiteX273" fmla="*/ 110954 w 1682751"/>
                <a:gd name="connsiteY273" fmla="*/ 717013 h 2066925"/>
                <a:gd name="connsiteX274" fmla="*/ 123107 w 1682751"/>
                <a:gd name="connsiteY274" fmla="*/ 719649 h 2066925"/>
                <a:gd name="connsiteX275" fmla="*/ 134730 w 1682751"/>
                <a:gd name="connsiteY275" fmla="*/ 721760 h 2066925"/>
                <a:gd name="connsiteX276" fmla="*/ 146883 w 1682751"/>
                <a:gd name="connsiteY276" fmla="*/ 724923 h 2066925"/>
                <a:gd name="connsiteX277" fmla="*/ 159035 w 1682751"/>
                <a:gd name="connsiteY277" fmla="*/ 728089 h 2066925"/>
                <a:gd name="connsiteX278" fmla="*/ 171715 w 1682751"/>
                <a:gd name="connsiteY278" fmla="*/ 731780 h 2066925"/>
                <a:gd name="connsiteX279" fmla="*/ 184925 w 1682751"/>
                <a:gd name="connsiteY279" fmla="*/ 737055 h 2066925"/>
                <a:gd name="connsiteX280" fmla="*/ 197605 w 1682751"/>
                <a:gd name="connsiteY280" fmla="*/ 742329 h 2066925"/>
                <a:gd name="connsiteX281" fmla="*/ 210814 w 1682751"/>
                <a:gd name="connsiteY281" fmla="*/ 748130 h 2066925"/>
                <a:gd name="connsiteX282" fmla="*/ 223495 w 1682751"/>
                <a:gd name="connsiteY282" fmla="*/ 754986 h 2066925"/>
                <a:gd name="connsiteX283" fmla="*/ 236704 w 1682751"/>
                <a:gd name="connsiteY283" fmla="*/ 762898 h 2066925"/>
                <a:gd name="connsiteX284" fmla="*/ 249384 w 1682751"/>
                <a:gd name="connsiteY284" fmla="*/ 771864 h 2066925"/>
                <a:gd name="connsiteX285" fmla="*/ 262593 w 1682751"/>
                <a:gd name="connsiteY285" fmla="*/ 780830 h 2066925"/>
                <a:gd name="connsiteX286" fmla="*/ 275274 w 1682751"/>
                <a:gd name="connsiteY286" fmla="*/ 791905 h 2066925"/>
                <a:gd name="connsiteX287" fmla="*/ 288483 w 1682751"/>
                <a:gd name="connsiteY287" fmla="*/ 802980 h 2066925"/>
                <a:gd name="connsiteX288" fmla="*/ 301163 w 1682751"/>
                <a:gd name="connsiteY288" fmla="*/ 815111 h 2066925"/>
                <a:gd name="connsiteX289" fmla="*/ 309617 w 1682751"/>
                <a:gd name="connsiteY289" fmla="*/ 825132 h 2066925"/>
                <a:gd name="connsiteX290" fmla="*/ 317014 w 1682751"/>
                <a:gd name="connsiteY290" fmla="*/ 835151 h 2066925"/>
                <a:gd name="connsiteX291" fmla="*/ 323354 w 1682751"/>
                <a:gd name="connsiteY291" fmla="*/ 844645 h 2066925"/>
                <a:gd name="connsiteX292" fmla="*/ 329166 w 1682751"/>
                <a:gd name="connsiteY292" fmla="*/ 855720 h 2066925"/>
                <a:gd name="connsiteX293" fmla="*/ 333921 w 1682751"/>
                <a:gd name="connsiteY293" fmla="*/ 866270 h 2066925"/>
                <a:gd name="connsiteX294" fmla="*/ 337620 w 1682751"/>
                <a:gd name="connsiteY294" fmla="*/ 877345 h 2066925"/>
                <a:gd name="connsiteX295" fmla="*/ 340790 w 1682751"/>
                <a:gd name="connsiteY295" fmla="*/ 888420 h 2066925"/>
                <a:gd name="connsiteX296" fmla="*/ 342903 w 1682751"/>
                <a:gd name="connsiteY296" fmla="*/ 899495 h 2066925"/>
                <a:gd name="connsiteX297" fmla="*/ 344488 w 1682751"/>
                <a:gd name="connsiteY297" fmla="*/ 910044 h 2066925"/>
                <a:gd name="connsiteX298" fmla="*/ 344488 w 1682751"/>
                <a:gd name="connsiteY298" fmla="*/ 921648 h 2066925"/>
                <a:gd name="connsiteX299" fmla="*/ 343960 w 1682751"/>
                <a:gd name="connsiteY299" fmla="*/ 932196 h 2066925"/>
                <a:gd name="connsiteX300" fmla="*/ 342375 w 1682751"/>
                <a:gd name="connsiteY300" fmla="*/ 942743 h 2066925"/>
                <a:gd name="connsiteX301" fmla="*/ 339205 w 1682751"/>
                <a:gd name="connsiteY301" fmla="*/ 953292 h 2066925"/>
                <a:gd name="connsiteX302" fmla="*/ 335506 w 1682751"/>
                <a:gd name="connsiteY302" fmla="*/ 964368 h 2066925"/>
                <a:gd name="connsiteX303" fmla="*/ 330751 w 1682751"/>
                <a:gd name="connsiteY303" fmla="*/ 973333 h 2066925"/>
                <a:gd name="connsiteX304" fmla="*/ 325467 w 1682751"/>
                <a:gd name="connsiteY304" fmla="*/ 983355 h 2066925"/>
                <a:gd name="connsiteX305" fmla="*/ 318599 w 1682751"/>
                <a:gd name="connsiteY305" fmla="*/ 963312 h 2066925"/>
                <a:gd name="connsiteX306" fmla="*/ 311202 w 1682751"/>
                <a:gd name="connsiteY306" fmla="*/ 944326 h 2066925"/>
                <a:gd name="connsiteX307" fmla="*/ 301163 w 1682751"/>
                <a:gd name="connsiteY307" fmla="*/ 924811 h 2066925"/>
                <a:gd name="connsiteX308" fmla="*/ 290596 w 1682751"/>
                <a:gd name="connsiteY308" fmla="*/ 905824 h 2066925"/>
                <a:gd name="connsiteX309" fmla="*/ 278444 w 1682751"/>
                <a:gd name="connsiteY309" fmla="*/ 886839 h 2066925"/>
                <a:gd name="connsiteX310" fmla="*/ 264707 w 1682751"/>
                <a:gd name="connsiteY310" fmla="*/ 868380 h 2066925"/>
                <a:gd name="connsiteX311" fmla="*/ 249384 w 1682751"/>
                <a:gd name="connsiteY311" fmla="*/ 850447 h 2066925"/>
                <a:gd name="connsiteX312" fmla="*/ 233534 w 1682751"/>
                <a:gd name="connsiteY312" fmla="*/ 832514 h 2066925"/>
                <a:gd name="connsiteX313" fmla="*/ 223495 w 1682751"/>
                <a:gd name="connsiteY313" fmla="*/ 823548 h 2066925"/>
                <a:gd name="connsiteX314" fmla="*/ 213984 w 1682751"/>
                <a:gd name="connsiteY314" fmla="*/ 814583 h 2066925"/>
                <a:gd name="connsiteX315" fmla="*/ 203946 w 1682751"/>
                <a:gd name="connsiteY315" fmla="*/ 805617 h 2066925"/>
                <a:gd name="connsiteX316" fmla="*/ 193907 w 1682751"/>
                <a:gd name="connsiteY316" fmla="*/ 797705 h 2066925"/>
                <a:gd name="connsiteX317" fmla="*/ 183340 w 1682751"/>
                <a:gd name="connsiteY317" fmla="*/ 789267 h 2066925"/>
                <a:gd name="connsiteX318" fmla="*/ 173301 w 1682751"/>
                <a:gd name="connsiteY318" fmla="*/ 782411 h 2066925"/>
                <a:gd name="connsiteX319" fmla="*/ 162733 w 1682751"/>
                <a:gd name="connsiteY319" fmla="*/ 775555 h 2066925"/>
                <a:gd name="connsiteX320" fmla="*/ 152166 w 1682751"/>
                <a:gd name="connsiteY320" fmla="*/ 768698 h 2066925"/>
                <a:gd name="connsiteX321" fmla="*/ 141599 w 1682751"/>
                <a:gd name="connsiteY321" fmla="*/ 762898 h 2066925"/>
                <a:gd name="connsiteX322" fmla="*/ 131032 w 1682751"/>
                <a:gd name="connsiteY322" fmla="*/ 757623 h 2066925"/>
                <a:gd name="connsiteX323" fmla="*/ 119937 w 1682751"/>
                <a:gd name="connsiteY323" fmla="*/ 752348 h 2066925"/>
                <a:gd name="connsiteX324" fmla="*/ 109369 w 1682751"/>
                <a:gd name="connsiteY324" fmla="*/ 747602 h 2066925"/>
                <a:gd name="connsiteX325" fmla="*/ 98274 w 1682751"/>
                <a:gd name="connsiteY325" fmla="*/ 742855 h 2066925"/>
                <a:gd name="connsiteX326" fmla="*/ 87707 w 1682751"/>
                <a:gd name="connsiteY326" fmla="*/ 739164 h 2066925"/>
                <a:gd name="connsiteX327" fmla="*/ 76611 w 1682751"/>
                <a:gd name="connsiteY327" fmla="*/ 735472 h 2066925"/>
                <a:gd name="connsiteX328" fmla="*/ 66044 w 1682751"/>
                <a:gd name="connsiteY328" fmla="*/ 732308 h 2066925"/>
                <a:gd name="connsiteX329" fmla="*/ 86122 w 1682751"/>
                <a:gd name="connsiteY329" fmla="*/ 740219 h 2066925"/>
                <a:gd name="connsiteX330" fmla="*/ 105143 w 1682751"/>
                <a:gd name="connsiteY330" fmla="*/ 748130 h 2066925"/>
                <a:gd name="connsiteX331" fmla="*/ 124692 w 1682751"/>
                <a:gd name="connsiteY331" fmla="*/ 758151 h 2066925"/>
                <a:gd name="connsiteX332" fmla="*/ 143713 w 1682751"/>
                <a:gd name="connsiteY332" fmla="*/ 768698 h 2066925"/>
                <a:gd name="connsiteX333" fmla="*/ 162733 w 1682751"/>
                <a:gd name="connsiteY333" fmla="*/ 781883 h 2066925"/>
                <a:gd name="connsiteX334" fmla="*/ 181755 w 1682751"/>
                <a:gd name="connsiteY334" fmla="*/ 796123 h 2066925"/>
                <a:gd name="connsiteX335" fmla="*/ 200247 w 1682751"/>
                <a:gd name="connsiteY335" fmla="*/ 811419 h 2066925"/>
                <a:gd name="connsiteX336" fmla="*/ 217683 w 1682751"/>
                <a:gd name="connsiteY336" fmla="*/ 828295 h 2066925"/>
                <a:gd name="connsiteX337" fmla="*/ 226665 w 1682751"/>
                <a:gd name="connsiteY337" fmla="*/ 837789 h 2066925"/>
                <a:gd name="connsiteX338" fmla="*/ 235119 w 1682751"/>
                <a:gd name="connsiteY338" fmla="*/ 847811 h 2066925"/>
                <a:gd name="connsiteX339" fmla="*/ 243572 w 1682751"/>
                <a:gd name="connsiteY339" fmla="*/ 857830 h 2066925"/>
                <a:gd name="connsiteX340" fmla="*/ 252026 w 1682751"/>
                <a:gd name="connsiteY340" fmla="*/ 867852 h 2066925"/>
                <a:gd name="connsiteX341" fmla="*/ 259423 w 1682751"/>
                <a:gd name="connsiteY341" fmla="*/ 878399 h 2066925"/>
                <a:gd name="connsiteX342" fmla="*/ 266292 w 1682751"/>
                <a:gd name="connsiteY342" fmla="*/ 888949 h 2066925"/>
                <a:gd name="connsiteX343" fmla="*/ 273160 w 1682751"/>
                <a:gd name="connsiteY343" fmla="*/ 899495 h 2066925"/>
                <a:gd name="connsiteX344" fmla="*/ 280029 w 1682751"/>
                <a:gd name="connsiteY344" fmla="*/ 910044 h 2066925"/>
                <a:gd name="connsiteX345" fmla="*/ 285312 w 1682751"/>
                <a:gd name="connsiteY345" fmla="*/ 921120 h 2066925"/>
                <a:gd name="connsiteX346" fmla="*/ 291124 w 1682751"/>
                <a:gd name="connsiteY346" fmla="*/ 931667 h 2066925"/>
                <a:gd name="connsiteX347" fmla="*/ 295879 w 1682751"/>
                <a:gd name="connsiteY347" fmla="*/ 942217 h 2066925"/>
                <a:gd name="connsiteX348" fmla="*/ 300635 w 1682751"/>
                <a:gd name="connsiteY348" fmla="*/ 953292 h 2066925"/>
                <a:gd name="connsiteX349" fmla="*/ 304862 w 1682751"/>
                <a:gd name="connsiteY349" fmla="*/ 964368 h 2066925"/>
                <a:gd name="connsiteX350" fmla="*/ 309088 w 1682751"/>
                <a:gd name="connsiteY350" fmla="*/ 974915 h 2066925"/>
                <a:gd name="connsiteX351" fmla="*/ 311730 w 1682751"/>
                <a:gd name="connsiteY351" fmla="*/ 985990 h 2066925"/>
                <a:gd name="connsiteX352" fmla="*/ 314900 w 1682751"/>
                <a:gd name="connsiteY352" fmla="*/ 997067 h 2066925"/>
                <a:gd name="connsiteX353" fmla="*/ 312787 w 1682751"/>
                <a:gd name="connsiteY353" fmla="*/ 998121 h 2066925"/>
                <a:gd name="connsiteX354" fmla="*/ 311202 w 1682751"/>
                <a:gd name="connsiteY354" fmla="*/ 999703 h 2066925"/>
                <a:gd name="connsiteX355" fmla="*/ 302220 w 1682751"/>
                <a:gd name="connsiteY355" fmla="*/ 1008143 h 2066925"/>
                <a:gd name="connsiteX356" fmla="*/ 292181 w 1682751"/>
                <a:gd name="connsiteY356" fmla="*/ 1014999 h 2066925"/>
                <a:gd name="connsiteX357" fmla="*/ 280557 w 1682751"/>
                <a:gd name="connsiteY357" fmla="*/ 1021327 h 2066925"/>
                <a:gd name="connsiteX358" fmla="*/ 269990 w 1682751"/>
                <a:gd name="connsiteY358" fmla="*/ 1025546 h 2066925"/>
                <a:gd name="connsiteX359" fmla="*/ 257838 w 1682751"/>
                <a:gd name="connsiteY359" fmla="*/ 1028711 h 2066925"/>
                <a:gd name="connsiteX360" fmla="*/ 245686 w 1682751"/>
                <a:gd name="connsiteY360" fmla="*/ 1030820 h 2066925"/>
                <a:gd name="connsiteX361" fmla="*/ 233534 w 1682751"/>
                <a:gd name="connsiteY361" fmla="*/ 1031875 h 2066925"/>
                <a:gd name="connsiteX362" fmla="*/ 221381 w 1682751"/>
                <a:gd name="connsiteY362" fmla="*/ 1031875 h 2066925"/>
                <a:gd name="connsiteX363" fmla="*/ 208172 w 1682751"/>
                <a:gd name="connsiteY363" fmla="*/ 1030293 h 2066925"/>
                <a:gd name="connsiteX364" fmla="*/ 196020 w 1682751"/>
                <a:gd name="connsiteY364" fmla="*/ 1028183 h 2066925"/>
                <a:gd name="connsiteX365" fmla="*/ 183340 w 1682751"/>
                <a:gd name="connsiteY365" fmla="*/ 1023964 h 2066925"/>
                <a:gd name="connsiteX366" fmla="*/ 171187 w 1682751"/>
                <a:gd name="connsiteY366" fmla="*/ 1018690 h 2066925"/>
                <a:gd name="connsiteX367" fmla="*/ 159563 w 1682751"/>
                <a:gd name="connsiteY367" fmla="*/ 1012889 h 2066925"/>
                <a:gd name="connsiteX368" fmla="*/ 148468 w 1682751"/>
                <a:gd name="connsiteY368" fmla="*/ 1004977 h 2066925"/>
                <a:gd name="connsiteX369" fmla="*/ 136844 w 1682751"/>
                <a:gd name="connsiteY369" fmla="*/ 997067 h 2066925"/>
                <a:gd name="connsiteX370" fmla="*/ 126805 w 1682751"/>
                <a:gd name="connsiteY370" fmla="*/ 987045 h 2066925"/>
                <a:gd name="connsiteX371" fmla="*/ 119937 w 1682751"/>
                <a:gd name="connsiteY371" fmla="*/ 979134 h 2066925"/>
                <a:gd name="connsiteX372" fmla="*/ 114653 w 1682751"/>
                <a:gd name="connsiteY372" fmla="*/ 971752 h 2066925"/>
                <a:gd name="connsiteX373" fmla="*/ 109369 w 1682751"/>
                <a:gd name="connsiteY373" fmla="*/ 964368 h 2066925"/>
                <a:gd name="connsiteX374" fmla="*/ 104086 w 1682751"/>
                <a:gd name="connsiteY374" fmla="*/ 954874 h 2066925"/>
                <a:gd name="connsiteX375" fmla="*/ 100387 w 1682751"/>
                <a:gd name="connsiteY375" fmla="*/ 946436 h 2066925"/>
                <a:gd name="connsiteX376" fmla="*/ 96689 w 1682751"/>
                <a:gd name="connsiteY376" fmla="*/ 937470 h 2066925"/>
                <a:gd name="connsiteX377" fmla="*/ 92990 w 1682751"/>
                <a:gd name="connsiteY377" fmla="*/ 927449 h 2066925"/>
                <a:gd name="connsiteX378" fmla="*/ 89820 w 1682751"/>
                <a:gd name="connsiteY378" fmla="*/ 918483 h 2066925"/>
                <a:gd name="connsiteX379" fmla="*/ 83480 w 1682751"/>
                <a:gd name="connsiteY379" fmla="*/ 897914 h 2066925"/>
                <a:gd name="connsiteX380" fmla="*/ 79253 w 1682751"/>
                <a:gd name="connsiteY380" fmla="*/ 878399 h 2066925"/>
                <a:gd name="connsiteX381" fmla="*/ 74498 w 1682751"/>
                <a:gd name="connsiteY381" fmla="*/ 857830 h 2066925"/>
                <a:gd name="connsiteX382" fmla="*/ 69743 w 1682751"/>
                <a:gd name="connsiteY382" fmla="*/ 837261 h 2066925"/>
                <a:gd name="connsiteX383" fmla="*/ 65516 w 1682751"/>
                <a:gd name="connsiteY383" fmla="*/ 817748 h 2066925"/>
                <a:gd name="connsiteX384" fmla="*/ 60232 w 1682751"/>
                <a:gd name="connsiteY384" fmla="*/ 798761 h 2066925"/>
                <a:gd name="connsiteX385" fmla="*/ 57591 w 1682751"/>
                <a:gd name="connsiteY385" fmla="*/ 789267 h 2066925"/>
                <a:gd name="connsiteX386" fmla="*/ 53892 w 1682751"/>
                <a:gd name="connsiteY386" fmla="*/ 780830 h 2066925"/>
                <a:gd name="connsiteX387" fmla="*/ 50722 w 1682751"/>
                <a:gd name="connsiteY387" fmla="*/ 772917 h 2066925"/>
                <a:gd name="connsiteX388" fmla="*/ 47023 w 1682751"/>
                <a:gd name="connsiteY388" fmla="*/ 764480 h 2066925"/>
                <a:gd name="connsiteX389" fmla="*/ 43325 w 1682751"/>
                <a:gd name="connsiteY389" fmla="*/ 757623 h 2066925"/>
                <a:gd name="connsiteX390" fmla="*/ 38570 w 1682751"/>
                <a:gd name="connsiteY390" fmla="*/ 749711 h 2066925"/>
                <a:gd name="connsiteX391" fmla="*/ 33286 w 1682751"/>
                <a:gd name="connsiteY391" fmla="*/ 743911 h 2066925"/>
                <a:gd name="connsiteX392" fmla="*/ 28003 w 1682751"/>
                <a:gd name="connsiteY392" fmla="*/ 737582 h 2066925"/>
                <a:gd name="connsiteX393" fmla="*/ 22191 w 1682751"/>
                <a:gd name="connsiteY393" fmla="*/ 732308 h 2066925"/>
                <a:gd name="connsiteX394" fmla="*/ 15322 w 1682751"/>
                <a:gd name="connsiteY394" fmla="*/ 728089 h 2066925"/>
                <a:gd name="connsiteX395" fmla="*/ 7397 w 1682751"/>
                <a:gd name="connsiteY395" fmla="*/ 723869 h 2066925"/>
                <a:gd name="connsiteX396" fmla="*/ 0 w 1682751"/>
                <a:gd name="connsiteY396" fmla="*/ 720176 h 2066925"/>
                <a:gd name="connsiteX397" fmla="*/ 6868 w 1682751"/>
                <a:gd name="connsiteY397" fmla="*/ 718595 h 2066925"/>
                <a:gd name="connsiteX398" fmla="*/ 28003 w 1682751"/>
                <a:gd name="connsiteY398" fmla="*/ 715958 h 2066925"/>
                <a:gd name="connsiteX399" fmla="*/ 42797 w 1682751"/>
                <a:gd name="connsiteY399" fmla="*/ 714903 h 2066925"/>
                <a:gd name="connsiteX400" fmla="*/ 290512 w 1682751"/>
                <a:gd name="connsiteY400" fmla="*/ 692150 h 2066925"/>
                <a:gd name="connsiteX401" fmla="*/ 301611 w 1682751"/>
                <a:gd name="connsiteY401" fmla="*/ 709604 h 2066925"/>
                <a:gd name="connsiteX402" fmla="*/ 312182 w 1682751"/>
                <a:gd name="connsiteY402" fmla="*/ 727588 h 2066925"/>
                <a:gd name="connsiteX403" fmla="*/ 323810 w 1682751"/>
                <a:gd name="connsiteY403" fmla="*/ 745571 h 2066925"/>
                <a:gd name="connsiteX404" fmla="*/ 335437 w 1682751"/>
                <a:gd name="connsiteY404" fmla="*/ 762496 h 2066925"/>
                <a:gd name="connsiteX405" fmla="*/ 347593 w 1682751"/>
                <a:gd name="connsiteY405" fmla="*/ 779950 h 2066925"/>
                <a:gd name="connsiteX406" fmla="*/ 358693 w 1682751"/>
                <a:gd name="connsiteY406" fmla="*/ 797405 h 2066925"/>
                <a:gd name="connsiteX407" fmla="*/ 370849 w 1682751"/>
                <a:gd name="connsiteY407" fmla="*/ 814859 h 2066925"/>
                <a:gd name="connsiteX408" fmla="*/ 382476 w 1682751"/>
                <a:gd name="connsiteY408" fmla="*/ 832313 h 2066925"/>
                <a:gd name="connsiteX409" fmla="*/ 388290 w 1682751"/>
                <a:gd name="connsiteY409" fmla="*/ 840776 h 2066925"/>
                <a:gd name="connsiteX410" fmla="*/ 394633 w 1682751"/>
                <a:gd name="connsiteY410" fmla="*/ 850296 h 2066925"/>
                <a:gd name="connsiteX411" fmla="*/ 403089 w 1682751"/>
                <a:gd name="connsiteY411" fmla="*/ 861404 h 2066925"/>
                <a:gd name="connsiteX412" fmla="*/ 411546 w 1682751"/>
                <a:gd name="connsiteY412" fmla="*/ 873040 h 2066925"/>
                <a:gd name="connsiteX413" fmla="*/ 419474 w 1682751"/>
                <a:gd name="connsiteY413" fmla="*/ 884147 h 2066925"/>
                <a:gd name="connsiteX414" fmla="*/ 427401 w 1682751"/>
                <a:gd name="connsiteY414" fmla="*/ 896313 h 2066925"/>
                <a:gd name="connsiteX415" fmla="*/ 428987 w 1682751"/>
                <a:gd name="connsiteY415" fmla="*/ 898957 h 2066925"/>
                <a:gd name="connsiteX416" fmla="*/ 430573 w 1682751"/>
                <a:gd name="connsiteY416" fmla="*/ 900544 h 2066925"/>
                <a:gd name="connsiteX417" fmla="*/ 436915 w 1682751"/>
                <a:gd name="connsiteY417" fmla="*/ 909535 h 2066925"/>
                <a:gd name="connsiteX418" fmla="*/ 443257 w 1682751"/>
                <a:gd name="connsiteY418" fmla="*/ 918527 h 2066925"/>
                <a:gd name="connsiteX419" fmla="*/ 446429 w 1682751"/>
                <a:gd name="connsiteY419" fmla="*/ 922229 h 2066925"/>
                <a:gd name="connsiteX420" fmla="*/ 449600 w 1682751"/>
                <a:gd name="connsiteY420" fmla="*/ 926990 h 2066925"/>
                <a:gd name="connsiteX421" fmla="*/ 488711 w 1682751"/>
                <a:gd name="connsiteY421" fmla="*/ 983584 h 2066925"/>
                <a:gd name="connsiteX422" fmla="*/ 528351 w 1682751"/>
                <a:gd name="connsiteY422" fmla="*/ 1039649 h 2066925"/>
                <a:gd name="connsiteX423" fmla="*/ 567990 w 1682751"/>
                <a:gd name="connsiteY423" fmla="*/ 1097830 h 2066925"/>
                <a:gd name="connsiteX424" fmla="*/ 606045 w 1682751"/>
                <a:gd name="connsiteY424" fmla="*/ 1155482 h 2066925"/>
                <a:gd name="connsiteX425" fmla="*/ 624543 w 1682751"/>
                <a:gd name="connsiteY425" fmla="*/ 1185102 h 2066925"/>
                <a:gd name="connsiteX426" fmla="*/ 642513 w 1682751"/>
                <a:gd name="connsiteY426" fmla="*/ 1215250 h 2066925"/>
                <a:gd name="connsiteX427" fmla="*/ 659955 w 1682751"/>
                <a:gd name="connsiteY427" fmla="*/ 1245398 h 2066925"/>
                <a:gd name="connsiteX428" fmla="*/ 676868 w 1682751"/>
                <a:gd name="connsiteY428" fmla="*/ 1276076 h 2066925"/>
                <a:gd name="connsiteX429" fmla="*/ 693780 w 1682751"/>
                <a:gd name="connsiteY429" fmla="*/ 1307282 h 2066925"/>
                <a:gd name="connsiteX430" fmla="*/ 709108 w 1682751"/>
                <a:gd name="connsiteY430" fmla="*/ 1338488 h 2066925"/>
                <a:gd name="connsiteX431" fmla="*/ 723907 w 1682751"/>
                <a:gd name="connsiteY431" fmla="*/ 1370752 h 2066925"/>
                <a:gd name="connsiteX432" fmla="*/ 738706 w 1682751"/>
                <a:gd name="connsiteY432" fmla="*/ 1403016 h 2066925"/>
                <a:gd name="connsiteX433" fmla="*/ 746105 w 1682751"/>
                <a:gd name="connsiteY433" fmla="*/ 1419941 h 2066925"/>
                <a:gd name="connsiteX434" fmla="*/ 752976 w 1682751"/>
                <a:gd name="connsiteY434" fmla="*/ 1437396 h 2066925"/>
                <a:gd name="connsiteX435" fmla="*/ 759847 w 1682751"/>
                <a:gd name="connsiteY435" fmla="*/ 1454850 h 2066925"/>
                <a:gd name="connsiteX436" fmla="*/ 766718 w 1682751"/>
                <a:gd name="connsiteY436" fmla="*/ 1472833 h 2066925"/>
                <a:gd name="connsiteX437" fmla="*/ 775174 w 1682751"/>
                <a:gd name="connsiteY437" fmla="*/ 1464899 h 2066925"/>
                <a:gd name="connsiteX438" fmla="*/ 784159 w 1682751"/>
                <a:gd name="connsiteY438" fmla="*/ 1457495 h 2066925"/>
                <a:gd name="connsiteX439" fmla="*/ 793144 w 1682751"/>
                <a:gd name="connsiteY439" fmla="*/ 1449561 h 2066925"/>
                <a:gd name="connsiteX440" fmla="*/ 802658 w 1682751"/>
                <a:gd name="connsiteY440" fmla="*/ 1442685 h 2066925"/>
                <a:gd name="connsiteX441" fmla="*/ 823270 w 1682751"/>
                <a:gd name="connsiteY441" fmla="*/ 1425231 h 2066925"/>
                <a:gd name="connsiteX442" fmla="*/ 843354 w 1682751"/>
                <a:gd name="connsiteY442" fmla="*/ 1408834 h 2066925"/>
                <a:gd name="connsiteX443" fmla="*/ 863967 w 1682751"/>
                <a:gd name="connsiteY443" fmla="*/ 1390851 h 2066925"/>
                <a:gd name="connsiteX444" fmla="*/ 884580 w 1682751"/>
                <a:gd name="connsiteY444" fmla="*/ 1373397 h 2066925"/>
                <a:gd name="connsiteX445" fmla="*/ 905192 w 1682751"/>
                <a:gd name="connsiteY445" fmla="*/ 1355942 h 2066925"/>
                <a:gd name="connsiteX446" fmla="*/ 925276 w 1682751"/>
                <a:gd name="connsiteY446" fmla="*/ 1337959 h 2066925"/>
                <a:gd name="connsiteX447" fmla="*/ 944832 w 1682751"/>
                <a:gd name="connsiteY447" fmla="*/ 1319447 h 2066925"/>
                <a:gd name="connsiteX448" fmla="*/ 964388 w 1682751"/>
                <a:gd name="connsiteY448" fmla="*/ 1300935 h 2066925"/>
                <a:gd name="connsiteX449" fmla="*/ 965973 w 1682751"/>
                <a:gd name="connsiteY449" fmla="*/ 1299877 h 2066925"/>
                <a:gd name="connsiteX450" fmla="*/ 967559 w 1682751"/>
                <a:gd name="connsiteY450" fmla="*/ 1298290 h 2066925"/>
                <a:gd name="connsiteX451" fmla="*/ 994514 w 1682751"/>
                <a:gd name="connsiteY451" fmla="*/ 1271315 h 2066925"/>
                <a:gd name="connsiteX452" fmla="*/ 1020412 w 1682751"/>
                <a:gd name="connsiteY452" fmla="*/ 1243283 h 2066925"/>
                <a:gd name="connsiteX453" fmla="*/ 1032568 w 1682751"/>
                <a:gd name="connsiteY453" fmla="*/ 1229531 h 2066925"/>
                <a:gd name="connsiteX454" fmla="*/ 1044724 w 1682751"/>
                <a:gd name="connsiteY454" fmla="*/ 1215250 h 2066925"/>
                <a:gd name="connsiteX455" fmla="*/ 1055823 w 1682751"/>
                <a:gd name="connsiteY455" fmla="*/ 1200440 h 2066925"/>
                <a:gd name="connsiteX456" fmla="*/ 1067451 w 1682751"/>
                <a:gd name="connsiteY456" fmla="*/ 1186159 h 2066925"/>
                <a:gd name="connsiteX457" fmla="*/ 1078021 w 1682751"/>
                <a:gd name="connsiteY457" fmla="*/ 1170821 h 2066925"/>
                <a:gd name="connsiteX458" fmla="*/ 1088064 w 1682751"/>
                <a:gd name="connsiteY458" fmla="*/ 1155482 h 2066925"/>
                <a:gd name="connsiteX459" fmla="*/ 1097577 w 1682751"/>
                <a:gd name="connsiteY459" fmla="*/ 1139615 h 2066925"/>
                <a:gd name="connsiteX460" fmla="*/ 1107619 w 1682751"/>
                <a:gd name="connsiteY460" fmla="*/ 1123747 h 2066925"/>
                <a:gd name="connsiteX461" fmla="*/ 1116076 w 1682751"/>
                <a:gd name="connsiteY461" fmla="*/ 1107351 h 2066925"/>
                <a:gd name="connsiteX462" fmla="*/ 1124532 w 1682751"/>
                <a:gd name="connsiteY462" fmla="*/ 1091483 h 2066925"/>
                <a:gd name="connsiteX463" fmla="*/ 1131931 w 1682751"/>
                <a:gd name="connsiteY463" fmla="*/ 1075087 h 2066925"/>
                <a:gd name="connsiteX464" fmla="*/ 1139859 w 1682751"/>
                <a:gd name="connsiteY464" fmla="*/ 1057103 h 2066925"/>
                <a:gd name="connsiteX465" fmla="*/ 1143559 w 1682751"/>
                <a:gd name="connsiteY465" fmla="*/ 1048112 h 2066925"/>
                <a:gd name="connsiteX466" fmla="*/ 1146730 w 1682751"/>
                <a:gd name="connsiteY466" fmla="*/ 1039120 h 2066925"/>
                <a:gd name="connsiteX467" fmla="*/ 1153601 w 1682751"/>
                <a:gd name="connsiteY467" fmla="*/ 1018493 h 2066925"/>
                <a:gd name="connsiteX468" fmla="*/ 1159415 w 1682751"/>
                <a:gd name="connsiteY468" fmla="*/ 997336 h 2066925"/>
                <a:gd name="connsiteX469" fmla="*/ 1164700 w 1682751"/>
                <a:gd name="connsiteY469" fmla="*/ 975121 h 2066925"/>
                <a:gd name="connsiteX470" fmla="*/ 1168400 w 1682751"/>
                <a:gd name="connsiteY470" fmla="*/ 952378 h 2066925"/>
                <a:gd name="connsiteX471" fmla="*/ 1167872 w 1682751"/>
                <a:gd name="connsiteY471" fmla="*/ 966658 h 2066925"/>
                <a:gd name="connsiteX472" fmla="*/ 1166286 w 1682751"/>
                <a:gd name="connsiteY472" fmla="*/ 980410 h 2066925"/>
                <a:gd name="connsiteX473" fmla="*/ 1164700 w 1682751"/>
                <a:gd name="connsiteY473" fmla="*/ 994162 h 2066925"/>
                <a:gd name="connsiteX474" fmla="*/ 1162586 w 1682751"/>
                <a:gd name="connsiteY474" fmla="*/ 1007914 h 2066925"/>
                <a:gd name="connsiteX475" fmla="*/ 1161529 w 1682751"/>
                <a:gd name="connsiteY475" fmla="*/ 1010030 h 2066925"/>
                <a:gd name="connsiteX476" fmla="*/ 1161529 w 1682751"/>
                <a:gd name="connsiteY476" fmla="*/ 1012146 h 2066925"/>
                <a:gd name="connsiteX477" fmla="*/ 1159944 w 1682751"/>
                <a:gd name="connsiteY477" fmla="*/ 1019021 h 2066925"/>
                <a:gd name="connsiteX478" fmla="*/ 1159415 w 1682751"/>
                <a:gd name="connsiteY478" fmla="*/ 1025368 h 2066925"/>
                <a:gd name="connsiteX479" fmla="*/ 1157829 w 1682751"/>
                <a:gd name="connsiteY479" fmla="*/ 1031187 h 2066925"/>
                <a:gd name="connsiteX480" fmla="*/ 1156244 w 1682751"/>
                <a:gd name="connsiteY480" fmla="*/ 1037533 h 2066925"/>
                <a:gd name="connsiteX481" fmla="*/ 1154658 w 1682751"/>
                <a:gd name="connsiteY481" fmla="*/ 1043352 h 2066925"/>
                <a:gd name="connsiteX482" fmla="*/ 1153601 w 1682751"/>
                <a:gd name="connsiteY482" fmla="*/ 1049699 h 2066925"/>
                <a:gd name="connsiteX483" fmla="*/ 1152544 w 1682751"/>
                <a:gd name="connsiteY483" fmla="*/ 1053401 h 2066925"/>
                <a:gd name="connsiteX484" fmla="*/ 1152016 w 1682751"/>
                <a:gd name="connsiteY484" fmla="*/ 1057103 h 2066925"/>
                <a:gd name="connsiteX485" fmla="*/ 1150958 w 1682751"/>
                <a:gd name="connsiteY485" fmla="*/ 1058690 h 2066925"/>
                <a:gd name="connsiteX486" fmla="*/ 1150958 w 1682751"/>
                <a:gd name="connsiteY486" fmla="*/ 1060277 h 2066925"/>
                <a:gd name="connsiteX487" fmla="*/ 1150430 w 1682751"/>
                <a:gd name="connsiteY487" fmla="*/ 1060277 h 2066925"/>
                <a:gd name="connsiteX488" fmla="*/ 1147787 w 1682751"/>
                <a:gd name="connsiteY488" fmla="*/ 1070326 h 2066925"/>
                <a:gd name="connsiteX489" fmla="*/ 1145145 w 1682751"/>
                <a:gd name="connsiteY489" fmla="*/ 1079318 h 2066925"/>
                <a:gd name="connsiteX490" fmla="*/ 1141974 w 1682751"/>
                <a:gd name="connsiteY490" fmla="*/ 1088310 h 2066925"/>
                <a:gd name="connsiteX491" fmla="*/ 1138802 w 1682751"/>
                <a:gd name="connsiteY491" fmla="*/ 1098359 h 2066925"/>
                <a:gd name="connsiteX492" fmla="*/ 1138274 w 1682751"/>
                <a:gd name="connsiteY492" fmla="*/ 1098359 h 2066925"/>
                <a:gd name="connsiteX493" fmla="*/ 1135103 w 1682751"/>
                <a:gd name="connsiteY493" fmla="*/ 1107351 h 2066925"/>
                <a:gd name="connsiteX494" fmla="*/ 1131403 w 1682751"/>
                <a:gd name="connsiteY494" fmla="*/ 1116871 h 2066925"/>
                <a:gd name="connsiteX495" fmla="*/ 1129817 w 1682751"/>
                <a:gd name="connsiteY495" fmla="*/ 1120574 h 2066925"/>
                <a:gd name="connsiteX496" fmla="*/ 1128232 w 1682751"/>
                <a:gd name="connsiteY496" fmla="*/ 1123747 h 2066925"/>
                <a:gd name="connsiteX497" fmla="*/ 1128232 w 1682751"/>
                <a:gd name="connsiteY497" fmla="*/ 1124276 h 2066925"/>
                <a:gd name="connsiteX498" fmla="*/ 1127703 w 1682751"/>
                <a:gd name="connsiteY498" fmla="*/ 1125334 h 2066925"/>
                <a:gd name="connsiteX499" fmla="*/ 1128232 w 1682751"/>
                <a:gd name="connsiteY499" fmla="*/ 1125334 h 2066925"/>
                <a:gd name="connsiteX500" fmla="*/ 1126646 w 1682751"/>
                <a:gd name="connsiteY500" fmla="*/ 1127978 h 2066925"/>
                <a:gd name="connsiteX501" fmla="*/ 1125061 w 1682751"/>
                <a:gd name="connsiteY501" fmla="*/ 1131152 h 2066925"/>
                <a:gd name="connsiteX502" fmla="*/ 1124532 w 1682751"/>
                <a:gd name="connsiteY502" fmla="*/ 1132739 h 2066925"/>
                <a:gd name="connsiteX503" fmla="*/ 1124532 w 1682751"/>
                <a:gd name="connsiteY503" fmla="*/ 1133268 h 2066925"/>
                <a:gd name="connsiteX504" fmla="*/ 1124532 w 1682751"/>
                <a:gd name="connsiteY504" fmla="*/ 1134326 h 2066925"/>
                <a:gd name="connsiteX505" fmla="*/ 1123475 w 1682751"/>
                <a:gd name="connsiteY505" fmla="*/ 1134326 h 2066925"/>
                <a:gd name="connsiteX506" fmla="*/ 1123475 w 1682751"/>
                <a:gd name="connsiteY506" fmla="*/ 1134854 h 2066925"/>
                <a:gd name="connsiteX507" fmla="*/ 1122946 w 1682751"/>
                <a:gd name="connsiteY507" fmla="*/ 1135912 h 2066925"/>
                <a:gd name="connsiteX508" fmla="*/ 1110790 w 1682751"/>
                <a:gd name="connsiteY508" fmla="*/ 1162358 h 2066925"/>
                <a:gd name="connsiteX509" fmla="*/ 1096520 w 1682751"/>
                <a:gd name="connsiteY509" fmla="*/ 1189333 h 2066925"/>
                <a:gd name="connsiteX510" fmla="*/ 1081193 w 1682751"/>
                <a:gd name="connsiteY510" fmla="*/ 1215250 h 2066925"/>
                <a:gd name="connsiteX511" fmla="*/ 1064808 w 1682751"/>
                <a:gd name="connsiteY511" fmla="*/ 1240109 h 2066925"/>
                <a:gd name="connsiteX512" fmla="*/ 1047367 w 1682751"/>
                <a:gd name="connsiteY512" fmla="*/ 1265497 h 2066925"/>
                <a:gd name="connsiteX513" fmla="*/ 1029397 w 1682751"/>
                <a:gd name="connsiteY513" fmla="*/ 1289827 h 2066925"/>
                <a:gd name="connsiteX514" fmla="*/ 1010370 w 1682751"/>
                <a:gd name="connsiteY514" fmla="*/ 1314158 h 2066925"/>
                <a:gd name="connsiteX515" fmla="*/ 991342 w 1682751"/>
                <a:gd name="connsiteY515" fmla="*/ 1337959 h 2066925"/>
                <a:gd name="connsiteX516" fmla="*/ 990285 w 1682751"/>
                <a:gd name="connsiteY516" fmla="*/ 1337959 h 2066925"/>
                <a:gd name="connsiteX517" fmla="*/ 978129 w 1682751"/>
                <a:gd name="connsiteY517" fmla="*/ 1352769 h 2066925"/>
                <a:gd name="connsiteX518" fmla="*/ 964388 w 1682751"/>
                <a:gd name="connsiteY518" fmla="*/ 1367578 h 2066925"/>
                <a:gd name="connsiteX519" fmla="*/ 951703 w 1682751"/>
                <a:gd name="connsiteY519" fmla="*/ 1381859 h 2066925"/>
                <a:gd name="connsiteX520" fmla="*/ 938490 w 1682751"/>
                <a:gd name="connsiteY520" fmla="*/ 1396669 h 2066925"/>
                <a:gd name="connsiteX521" fmla="*/ 937432 w 1682751"/>
                <a:gd name="connsiteY521" fmla="*/ 1397727 h 2066925"/>
                <a:gd name="connsiteX522" fmla="*/ 936375 w 1682751"/>
                <a:gd name="connsiteY522" fmla="*/ 1398785 h 2066925"/>
                <a:gd name="connsiteX523" fmla="*/ 934261 w 1682751"/>
                <a:gd name="connsiteY523" fmla="*/ 1401958 h 2066925"/>
                <a:gd name="connsiteX524" fmla="*/ 931090 w 1682751"/>
                <a:gd name="connsiteY524" fmla="*/ 1404603 h 2066925"/>
                <a:gd name="connsiteX525" fmla="*/ 930562 w 1682751"/>
                <a:gd name="connsiteY525" fmla="*/ 1405661 h 2066925"/>
                <a:gd name="connsiteX526" fmla="*/ 928976 w 1682751"/>
                <a:gd name="connsiteY526" fmla="*/ 1407247 h 2066925"/>
                <a:gd name="connsiteX527" fmla="*/ 905192 w 1682751"/>
                <a:gd name="connsiteY527" fmla="*/ 1431578 h 2066925"/>
                <a:gd name="connsiteX528" fmla="*/ 882465 w 1682751"/>
                <a:gd name="connsiteY528" fmla="*/ 1455908 h 2066925"/>
                <a:gd name="connsiteX529" fmla="*/ 858682 w 1682751"/>
                <a:gd name="connsiteY529" fmla="*/ 1480238 h 2066925"/>
                <a:gd name="connsiteX530" fmla="*/ 835426 w 1682751"/>
                <a:gd name="connsiteY530" fmla="*/ 1504039 h 2066925"/>
                <a:gd name="connsiteX531" fmla="*/ 830670 w 1682751"/>
                <a:gd name="connsiteY531" fmla="*/ 1508271 h 2066925"/>
                <a:gd name="connsiteX532" fmla="*/ 825913 w 1682751"/>
                <a:gd name="connsiteY532" fmla="*/ 1513031 h 2066925"/>
                <a:gd name="connsiteX533" fmla="*/ 820628 w 1682751"/>
                <a:gd name="connsiteY533" fmla="*/ 1518849 h 2066925"/>
                <a:gd name="connsiteX534" fmla="*/ 814814 w 1682751"/>
                <a:gd name="connsiteY534" fmla="*/ 1525196 h 2066925"/>
                <a:gd name="connsiteX535" fmla="*/ 808471 w 1682751"/>
                <a:gd name="connsiteY535" fmla="*/ 1531543 h 2066925"/>
                <a:gd name="connsiteX536" fmla="*/ 803186 w 1682751"/>
                <a:gd name="connsiteY536" fmla="*/ 1537361 h 2066925"/>
                <a:gd name="connsiteX537" fmla="*/ 801072 w 1682751"/>
                <a:gd name="connsiteY537" fmla="*/ 1539477 h 2066925"/>
                <a:gd name="connsiteX538" fmla="*/ 798429 w 1682751"/>
                <a:gd name="connsiteY538" fmla="*/ 1542121 h 2066925"/>
                <a:gd name="connsiteX539" fmla="*/ 794730 w 1682751"/>
                <a:gd name="connsiteY539" fmla="*/ 1545824 h 2066925"/>
                <a:gd name="connsiteX540" fmla="*/ 791030 w 1682751"/>
                <a:gd name="connsiteY540" fmla="*/ 1549526 h 2066925"/>
                <a:gd name="connsiteX541" fmla="*/ 792087 w 1682751"/>
                <a:gd name="connsiteY541" fmla="*/ 1554287 h 2066925"/>
                <a:gd name="connsiteX542" fmla="*/ 792616 w 1682751"/>
                <a:gd name="connsiteY542" fmla="*/ 1558518 h 2066925"/>
                <a:gd name="connsiteX543" fmla="*/ 795787 w 1682751"/>
                <a:gd name="connsiteY543" fmla="*/ 1571741 h 2066925"/>
                <a:gd name="connsiteX544" fmla="*/ 798429 w 1682751"/>
                <a:gd name="connsiteY544" fmla="*/ 1584435 h 2066925"/>
                <a:gd name="connsiteX545" fmla="*/ 801072 w 1682751"/>
                <a:gd name="connsiteY545" fmla="*/ 1597658 h 2066925"/>
                <a:gd name="connsiteX546" fmla="*/ 803186 w 1682751"/>
                <a:gd name="connsiteY546" fmla="*/ 1610352 h 2066925"/>
                <a:gd name="connsiteX547" fmla="*/ 806357 w 1682751"/>
                <a:gd name="connsiteY547" fmla="*/ 1628864 h 2066925"/>
                <a:gd name="connsiteX548" fmla="*/ 808471 w 1682751"/>
                <a:gd name="connsiteY548" fmla="*/ 1646318 h 2066925"/>
                <a:gd name="connsiteX549" fmla="*/ 811114 w 1682751"/>
                <a:gd name="connsiteY549" fmla="*/ 1664830 h 2066925"/>
                <a:gd name="connsiteX550" fmla="*/ 812171 w 1682751"/>
                <a:gd name="connsiteY550" fmla="*/ 1682814 h 2066925"/>
                <a:gd name="connsiteX551" fmla="*/ 812866 w 1682751"/>
                <a:gd name="connsiteY551" fmla="*/ 1690931 h 2066925"/>
                <a:gd name="connsiteX552" fmla="*/ 814917 w 1682751"/>
                <a:gd name="connsiteY552" fmla="*/ 1691752 h 2066925"/>
                <a:gd name="connsiteX553" fmla="*/ 825500 w 1682751"/>
                <a:gd name="connsiteY553" fmla="*/ 1697048 h 2066925"/>
                <a:gd name="connsiteX554" fmla="*/ 835554 w 1682751"/>
                <a:gd name="connsiteY554" fmla="*/ 1703405 h 2066925"/>
                <a:gd name="connsiteX555" fmla="*/ 845079 w 1682751"/>
                <a:gd name="connsiteY555" fmla="*/ 1710820 h 2066925"/>
                <a:gd name="connsiteX556" fmla="*/ 855133 w 1682751"/>
                <a:gd name="connsiteY556" fmla="*/ 1718765 h 2066925"/>
                <a:gd name="connsiteX557" fmla="*/ 873654 w 1682751"/>
                <a:gd name="connsiteY557" fmla="*/ 1736245 h 2066925"/>
                <a:gd name="connsiteX558" fmla="*/ 892704 w 1682751"/>
                <a:gd name="connsiteY558" fmla="*/ 1754254 h 2066925"/>
                <a:gd name="connsiteX559" fmla="*/ 901700 w 1682751"/>
                <a:gd name="connsiteY559" fmla="*/ 1763788 h 2066925"/>
                <a:gd name="connsiteX560" fmla="*/ 911754 w 1682751"/>
                <a:gd name="connsiteY560" fmla="*/ 1771733 h 2066925"/>
                <a:gd name="connsiteX561" fmla="*/ 921279 w 1682751"/>
                <a:gd name="connsiteY561" fmla="*/ 1779678 h 2066925"/>
                <a:gd name="connsiteX562" fmla="*/ 931333 w 1682751"/>
                <a:gd name="connsiteY562" fmla="*/ 1786564 h 2066925"/>
                <a:gd name="connsiteX563" fmla="*/ 941916 w 1682751"/>
                <a:gd name="connsiteY563" fmla="*/ 1792390 h 2066925"/>
                <a:gd name="connsiteX564" fmla="*/ 952500 w 1682751"/>
                <a:gd name="connsiteY564" fmla="*/ 1797687 h 2066925"/>
                <a:gd name="connsiteX565" fmla="*/ 958850 w 1682751"/>
                <a:gd name="connsiteY565" fmla="*/ 1799276 h 2066925"/>
                <a:gd name="connsiteX566" fmla="*/ 964142 w 1682751"/>
                <a:gd name="connsiteY566" fmla="*/ 1801924 h 2066925"/>
                <a:gd name="connsiteX567" fmla="*/ 969962 w 1682751"/>
                <a:gd name="connsiteY567" fmla="*/ 1802454 h 2066925"/>
                <a:gd name="connsiteX568" fmla="*/ 976312 w 1682751"/>
                <a:gd name="connsiteY568" fmla="*/ 1802984 h 2066925"/>
                <a:gd name="connsiteX569" fmla="*/ 987954 w 1682751"/>
                <a:gd name="connsiteY569" fmla="*/ 1804573 h 2066925"/>
                <a:gd name="connsiteX570" fmla="*/ 1000125 w 1682751"/>
                <a:gd name="connsiteY570" fmla="*/ 1807221 h 2066925"/>
                <a:gd name="connsiteX571" fmla="*/ 1010708 w 1682751"/>
                <a:gd name="connsiteY571" fmla="*/ 1810929 h 2066925"/>
                <a:gd name="connsiteX572" fmla="*/ 1021292 w 1682751"/>
                <a:gd name="connsiteY572" fmla="*/ 1814637 h 2066925"/>
                <a:gd name="connsiteX573" fmla="*/ 1031875 w 1682751"/>
                <a:gd name="connsiteY573" fmla="*/ 1819404 h 2066925"/>
                <a:gd name="connsiteX574" fmla="*/ 1041929 w 1682751"/>
                <a:gd name="connsiteY574" fmla="*/ 1823641 h 2066925"/>
                <a:gd name="connsiteX575" fmla="*/ 1050925 w 1682751"/>
                <a:gd name="connsiteY575" fmla="*/ 1829997 h 2066925"/>
                <a:gd name="connsiteX576" fmla="*/ 1059921 w 1682751"/>
                <a:gd name="connsiteY576" fmla="*/ 1835824 h 2066925"/>
                <a:gd name="connsiteX577" fmla="*/ 1069446 w 1682751"/>
                <a:gd name="connsiteY577" fmla="*/ 1842710 h 2066925"/>
                <a:gd name="connsiteX578" fmla="*/ 1076854 w 1682751"/>
                <a:gd name="connsiteY578" fmla="*/ 1849595 h 2066925"/>
                <a:gd name="connsiteX579" fmla="*/ 1085321 w 1682751"/>
                <a:gd name="connsiteY579" fmla="*/ 1857541 h 2066925"/>
                <a:gd name="connsiteX580" fmla="*/ 1092729 w 1682751"/>
                <a:gd name="connsiteY580" fmla="*/ 1864956 h 2066925"/>
                <a:gd name="connsiteX581" fmla="*/ 1099608 w 1682751"/>
                <a:gd name="connsiteY581" fmla="*/ 1872901 h 2066925"/>
                <a:gd name="connsiteX582" fmla="*/ 1106487 w 1682751"/>
                <a:gd name="connsiteY582" fmla="*/ 1880846 h 2066925"/>
                <a:gd name="connsiteX583" fmla="*/ 1112837 w 1682751"/>
                <a:gd name="connsiteY583" fmla="*/ 1889321 h 2066925"/>
                <a:gd name="connsiteX584" fmla="*/ 1118129 w 1682751"/>
                <a:gd name="connsiteY584" fmla="*/ 1897796 h 2066925"/>
                <a:gd name="connsiteX585" fmla="*/ 1125008 w 1682751"/>
                <a:gd name="connsiteY585" fmla="*/ 1906801 h 2066925"/>
                <a:gd name="connsiteX586" fmla="*/ 1134004 w 1682751"/>
                <a:gd name="connsiteY586" fmla="*/ 1917924 h 2066925"/>
                <a:gd name="connsiteX587" fmla="*/ 1144587 w 1682751"/>
                <a:gd name="connsiteY587" fmla="*/ 1929047 h 2066925"/>
                <a:gd name="connsiteX588" fmla="*/ 1156758 w 1682751"/>
                <a:gd name="connsiteY588" fmla="*/ 1942289 h 2066925"/>
                <a:gd name="connsiteX589" fmla="*/ 1169987 w 1682751"/>
                <a:gd name="connsiteY589" fmla="*/ 1956060 h 2066925"/>
                <a:gd name="connsiteX590" fmla="*/ 1182688 w 1682751"/>
                <a:gd name="connsiteY590" fmla="*/ 1970891 h 2066925"/>
                <a:gd name="connsiteX591" fmla="*/ 1195917 w 1682751"/>
                <a:gd name="connsiteY591" fmla="*/ 1986252 h 2066925"/>
                <a:gd name="connsiteX592" fmla="*/ 1208088 w 1682751"/>
                <a:gd name="connsiteY592" fmla="*/ 2002142 h 2066925"/>
                <a:gd name="connsiteX593" fmla="*/ 1219200 w 1682751"/>
                <a:gd name="connsiteY593" fmla="*/ 2019092 h 2066925"/>
                <a:gd name="connsiteX594" fmla="*/ 1229254 w 1682751"/>
                <a:gd name="connsiteY594" fmla="*/ 2034982 h 2066925"/>
                <a:gd name="connsiteX595" fmla="*/ 1232958 w 1682751"/>
                <a:gd name="connsiteY595" fmla="*/ 2043457 h 2066925"/>
                <a:gd name="connsiteX596" fmla="*/ 1236662 w 1682751"/>
                <a:gd name="connsiteY596" fmla="*/ 2051932 h 2066925"/>
                <a:gd name="connsiteX597" fmla="*/ 1239838 w 1682751"/>
                <a:gd name="connsiteY597" fmla="*/ 2060407 h 2066925"/>
                <a:gd name="connsiteX598" fmla="*/ 1241872 w 1682751"/>
                <a:gd name="connsiteY598" fmla="*/ 2066925 h 2066925"/>
                <a:gd name="connsiteX599" fmla="*/ 205990 w 1682751"/>
                <a:gd name="connsiteY599" fmla="*/ 2066925 h 2066925"/>
                <a:gd name="connsiteX600" fmla="*/ 210608 w 1682751"/>
                <a:gd name="connsiteY600" fmla="*/ 2053521 h 2066925"/>
                <a:gd name="connsiteX601" fmla="*/ 216429 w 1682751"/>
                <a:gd name="connsiteY601" fmla="*/ 2038160 h 2066925"/>
                <a:gd name="connsiteX602" fmla="*/ 223308 w 1682751"/>
                <a:gd name="connsiteY602" fmla="*/ 2022800 h 2066925"/>
                <a:gd name="connsiteX603" fmla="*/ 230187 w 1682751"/>
                <a:gd name="connsiteY603" fmla="*/ 2008498 h 2066925"/>
                <a:gd name="connsiteX604" fmla="*/ 238125 w 1682751"/>
                <a:gd name="connsiteY604" fmla="*/ 1993138 h 2066925"/>
                <a:gd name="connsiteX605" fmla="*/ 246062 w 1682751"/>
                <a:gd name="connsiteY605" fmla="*/ 1978837 h 2066925"/>
                <a:gd name="connsiteX606" fmla="*/ 255587 w 1682751"/>
                <a:gd name="connsiteY606" fmla="*/ 1965065 h 2066925"/>
                <a:gd name="connsiteX607" fmla="*/ 265112 w 1682751"/>
                <a:gd name="connsiteY607" fmla="*/ 1951293 h 2066925"/>
                <a:gd name="connsiteX608" fmla="*/ 276225 w 1682751"/>
                <a:gd name="connsiteY608" fmla="*/ 1938051 h 2066925"/>
                <a:gd name="connsiteX609" fmla="*/ 286808 w 1682751"/>
                <a:gd name="connsiteY609" fmla="*/ 1925869 h 2066925"/>
                <a:gd name="connsiteX610" fmla="*/ 298979 w 1682751"/>
                <a:gd name="connsiteY610" fmla="*/ 1914746 h 2066925"/>
                <a:gd name="connsiteX611" fmla="*/ 311679 w 1682751"/>
                <a:gd name="connsiteY611" fmla="*/ 1904152 h 2066925"/>
                <a:gd name="connsiteX612" fmla="*/ 325437 w 1682751"/>
                <a:gd name="connsiteY612" fmla="*/ 1894618 h 2066925"/>
                <a:gd name="connsiteX613" fmla="*/ 340783 w 1682751"/>
                <a:gd name="connsiteY613" fmla="*/ 1885613 h 2066925"/>
                <a:gd name="connsiteX614" fmla="*/ 356129 w 1682751"/>
                <a:gd name="connsiteY614" fmla="*/ 1878728 h 2066925"/>
                <a:gd name="connsiteX615" fmla="*/ 387350 w 1682751"/>
                <a:gd name="connsiteY615" fmla="*/ 1864956 h 2066925"/>
                <a:gd name="connsiteX616" fmla="*/ 416983 w 1682751"/>
                <a:gd name="connsiteY616" fmla="*/ 1851184 h 2066925"/>
                <a:gd name="connsiteX617" fmla="*/ 444500 w 1682751"/>
                <a:gd name="connsiteY617" fmla="*/ 1837413 h 2066925"/>
                <a:gd name="connsiteX618" fmla="*/ 470429 w 1682751"/>
                <a:gd name="connsiteY618" fmla="*/ 1824701 h 2066925"/>
                <a:gd name="connsiteX619" fmla="*/ 493712 w 1682751"/>
                <a:gd name="connsiteY619" fmla="*/ 1811459 h 2066925"/>
                <a:gd name="connsiteX620" fmla="*/ 515937 w 1682751"/>
                <a:gd name="connsiteY620" fmla="*/ 1799276 h 2066925"/>
                <a:gd name="connsiteX621" fmla="*/ 536046 w 1682751"/>
                <a:gd name="connsiteY621" fmla="*/ 1787094 h 2066925"/>
                <a:gd name="connsiteX622" fmla="*/ 554037 w 1682751"/>
                <a:gd name="connsiteY622" fmla="*/ 1776500 h 2066925"/>
                <a:gd name="connsiteX623" fmla="*/ 584729 w 1682751"/>
                <a:gd name="connsiteY623" fmla="*/ 1756902 h 2066925"/>
                <a:gd name="connsiteX624" fmla="*/ 605896 w 1682751"/>
                <a:gd name="connsiteY624" fmla="*/ 1741541 h 2066925"/>
                <a:gd name="connsiteX625" fmla="*/ 619654 w 1682751"/>
                <a:gd name="connsiteY625" fmla="*/ 1731477 h 2066925"/>
                <a:gd name="connsiteX626" fmla="*/ 624417 w 1682751"/>
                <a:gd name="connsiteY626" fmla="*/ 1728299 h 2066925"/>
                <a:gd name="connsiteX627" fmla="*/ 630237 w 1682751"/>
                <a:gd name="connsiteY627" fmla="*/ 1725121 h 2066925"/>
                <a:gd name="connsiteX628" fmla="*/ 646112 w 1682751"/>
                <a:gd name="connsiteY628" fmla="*/ 1719295 h 2066925"/>
                <a:gd name="connsiteX629" fmla="*/ 669925 w 1682751"/>
                <a:gd name="connsiteY629" fmla="*/ 1710290 h 2066925"/>
                <a:gd name="connsiteX630" fmla="*/ 697971 w 1682751"/>
                <a:gd name="connsiteY630" fmla="*/ 1700226 h 2066925"/>
                <a:gd name="connsiteX631" fmla="*/ 714375 w 1682751"/>
                <a:gd name="connsiteY631" fmla="*/ 1696519 h 2066925"/>
                <a:gd name="connsiteX632" fmla="*/ 723378 w 1682751"/>
                <a:gd name="connsiteY632" fmla="*/ 1693815 h 2066925"/>
                <a:gd name="connsiteX633" fmla="*/ 723378 w 1682751"/>
                <a:gd name="connsiteY633" fmla="*/ 1693392 h 2066925"/>
                <a:gd name="connsiteX634" fmla="*/ 723378 w 1682751"/>
                <a:gd name="connsiteY634" fmla="*/ 1670649 h 2066925"/>
                <a:gd name="connsiteX635" fmla="*/ 722321 w 1682751"/>
                <a:gd name="connsiteY635" fmla="*/ 1647905 h 2066925"/>
                <a:gd name="connsiteX636" fmla="*/ 721793 w 1682751"/>
                <a:gd name="connsiteY636" fmla="*/ 1641029 h 2066925"/>
                <a:gd name="connsiteX637" fmla="*/ 721264 w 1682751"/>
                <a:gd name="connsiteY637" fmla="*/ 1633624 h 2066925"/>
                <a:gd name="connsiteX638" fmla="*/ 718621 w 1682751"/>
                <a:gd name="connsiteY638" fmla="*/ 1605063 h 2066925"/>
                <a:gd name="connsiteX639" fmla="*/ 714922 w 1682751"/>
                <a:gd name="connsiteY639" fmla="*/ 1576501 h 2066925"/>
                <a:gd name="connsiteX640" fmla="*/ 710165 w 1682751"/>
                <a:gd name="connsiteY640" fmla="*/ 1547940 h 2066925"/>
                <a:gd name="connsiteX641" fmla="*/ 703294 w 1682751"/>
                <a:gd name="connsiteY641" fmla="*/ 1519907 h 2066925"/>
                <a:gd name="connsiteX642" fmla="*/ 693780 w 1682751"/>
                <a:gd name="connsiteY642" fmla="*/ 1480767 h 2066925"/>
                <a:gd name="connsiteX643" fmla="*/ 682153 w 1682751"/>
                <a:gd name="connsiteY643" fmla="*/ 1442685 h 2066925"/>
                <a:gd name="connsiteX644" fmla="*/ 669468 w 1682751"/>
                <a:gd name="connsiteY644" fmla="*/ 1404603 h 2066925"/>
                <a:gd name="connsiteX645" fmla="*/ 654669 w 1682751"/>
                <a:gd name="connsiteY645" fmla="*/ 1366521 h 2066925"/>
                <a:gd name="connsiteX646" fmla="*/ 639870 w 1682751"/>
                <a:gd name="connsiteY646" fmla="*/ 1329496 h 2066925"/>
                <a:gd name="connsiteX647" fmla="*/ 623486 w 1682751"/>
                <a:gd name="connsiteY647" fmla="*/ 1293001 h 2066925"/>
                <a:gd name="connsiteX648" fmla="*/ 606045 w 1682751"/>
                <a:gd name="connsiteY648" fmla="*/ 1255977 h 2066925"/>
                <a:gd name="connsiteX649" fmla="*/ 588603 w 1682751"/>
                <a:gd name="connsiteY649" fmla="*/ 1219481 h 2066925"/>
                <a:gd name="connsiteX650" fmla="*/ 587017 w 1682751"/>
                <a:gd name="connsiteY650" fmla="*/ 1216837 h 2066925"/>
                <a:gd name="connsiteX651" fmla="*/ 585432 w 1682751"/>
                <a:gd name="connsiteY651" fmla="*/ 1213663 h 2066925"/>
                <a:gd name="connsiteX652" fmla="*/ 575918 w 1682751"/>
                <a:gd name="connsiteY652" fmla="*/ 1195151 h 2066925"/>
                <a:gd name="connsiteX653" fmla="*/ 566405 w 1682751"/>
                <a:gd name="connsiteY653" fmla="*/ 1176110 h 2066925"/>
                <a:gd name="connsiteX654" fmla="*/ 556891 w 1682751"/>
                <a:gd name="connsiteY654" fmla="*/ 1158127 h 2066925"/>
                <a:gd name="connsiteX655" fmla="*/ 545792 w 1682751"/>
                <a:gd name="connsiteY655" fmla="*/ 1139615 h 2066925"/>
                <a:gd name="connsiteX656" fmla="*/ 536279 w 1682751"/>
                <a:gd name="connsiteY656" fmla="*/ 1121103 h 2066925"/>
                <a:gd name="connsiteX657" fmla="*/ 525708 w 1682751"/>
                <a:gd name="connsiteY657" fmla="*/ 1103119 h 2066925"/>
                <a:gd name="connsiteX658" fmla="*/ 515666 w 1682751"/>
                <a:gd name="connsiteY658" fmla="*/ 1084607 h 2066925"/>
                <a:gd name="connsiteX659" fmla="*/ 505095 w 1682751"/>
                <a:gd name="connsiteY659" fmla="*/ 1066624 h 2066925"/>
                <a:gd name="connsiteX660" fmla="*/ 500339 w 1682751"/>
                <a:gd name="connsiteY660" fmla="*/ 1058161 h 2066925"/>
                <a:gd name="connsiteX661" fmla="*/ 495582 w 1682751"/>
                <a:gd name="connsiteY661" fmla="*/ 1050228 h 2066925"/>
                <a:gd name="connsiteX662" fmla="*/ 485011 w 1682751"/>
                <a:gd name="connsiteY662" fmla="*/ 1032773 h 2066925"/>
                <a:gd name="connsiteX663" fmla="*/ 474969 w 1682751"/>
                <a:gd name="connsiteY663" fmla="*/ 1014790 h 2066925"/>
                <a:gd name="connsiteX664" fmla="*/ 464399 w 1682751"/>
                <a:gd name="connsiteY664" fmla="*/ 997336 h 2066925"/>
                <a:gd name="connsiteX665" fmla="*/ 453828 w 1682751"/>
                <a:gd name="connsiteY665" fmla="*/ 978824 h 2066925"/>
                <a:gd name="connsiteX666" fmla="*/ 453299 w 1682751"/>
                <a:gd name="connsiteY666" fmla="*/ 978295 h 2066925"/>
                <a:gd name="connsiteX667" fmla="*/ 452242 w 1682751"/>
                <a:gd name="connsiteY667" fmla="*/ 976708 h 2066925"/>
                <a:gd name="connsiteX668" fmla="*/ 443257 w 1682751"/>
                <a:gd name="connsiteY668" fmla="*/ 961369 h 2066925"/>
                <a:gd name="connsiteX669" fmla="*/ 434272 w 1682751"/>
                <a:gd name="connsiteY669" fmla="*/ 946031 h 2066925"/>
                <a:gd name="connsiteX670" fmla="*/ 424759 w 1682751"/>
                <a:gd name="connsiteY670" fmla="*/ 930163 h 2066925"/>
                <a:gd name="connsiteX671" fmla="*/ 415774 w 1682751"/>
                <a:gd name="connsiteY671" fmla="*/ 914824 h 2066925"/>
                <a:gd name="connsiteX672" fmla="*/ 406789 w 1682751"/>
                <a:gd name="connsiteY672" fmla="*/ 898957 h 2066925"/>
                <a:gd name="connsiteX673" fmla="*/ 397804 w 1682751"/>
                <a:gd name="connsiteY673" fmla="*/ 883619 h 2066925"/>
                <a:gd name="connsiteX674" fmla="*/ 388290 w 1682751"/>
                <a:gd name="connsiteY674" fmla="*/ 867751 h 2066925"/>
                <a:gd name="connsiteX675" fmla="*/ 379305 w 1682751"/>
                <a:gd name="connsiteY675" fmla="*/ 852412 h 2066925"/>
                <a:gd name="connsiteX676" fmla="*/ 378777 w 1682751"/>
                <a:gd name="connsiteY676" fmla="*/ 850826 h 2066925"/>
                <a:gd name="connsiteX677" fmla="*/ 377720 w 1682751"/>
                <a:gd name="connsiteY677" fmla="*/ 850296 h 2066925"/>
                <a:gd name="connsiteX678" fmla="*/ 366621 w 1682751"/>
                <a:gd name="connsiteY678" fmla="*/ 830198 h 2066925"/>
                <a:gd name="connsiteX679" fmla="*/ 354993 w 1682751"/>
                <a:gd name="connsiteY679" fmla="*/ 811156 h 2066925"/>
                <a:gd name="connsiteX680" fmla="*/ 344422 w 1682751"/>
                <a:gd name="connsiteY680" fmla="*/ 791586 h 2066925"/>
                <a:gd name="connsiteX681" fmla="*/ 332795 w 1682751"/>
                <a:gd name="connsiteY681" fmla="*/ 771488 h 2066925"/>
                <a:gd name="connsiteX682" fmla="*/ 322224 w 1682751"/>
                <a:gd name="connsiteY682" fmla="*/ 751918 h 2066925"/>
                <a:gd name="connsiteX683" fmla="*/ 311653 w 1682751"/>
                <a:gd name="connsiteY683" fmla="*/ 731819 h 2066925"/>
                <a:gd name="connsiteX684" fmla="*/ 301083 w 1682751"/>
                <a:gd name="connsiteY684" fmla="*/ 712249 h 2066925"/>
                <a:gd name="connsiteX685" fmla="*/ 1466416 w 1682751"/>
                <a:gd name="connsiteY685" fmla="*/ 561974 h 2066925"/>
                <a:gd name="connsiteX686" fmla="*/ 1487027 w 1682751"/>
                <a:gd name="connsiteY686" fmla="*/ 561974 h 2066925"/>
                <a:gd name="connsiteX687" fmla="*/ 1505524 w 1682751"/>
                <a:gd name="connsiteY687" fmla="*/ 563032 h 2066925"/>
                <a:gd name="connsiteX688" fmla="*/ 1530362 w 1682751"/>
                <a:gd name="connsiteY688" fmla="*/ 566207 h 2066925"/>
                <a:gd name="connsiteX689" fmla="*/ 1539875 w 1682751"/>
                <a:gd name="connsiteY689" fmla="*/ 567266 h 2066925"/>
                <a:gd name="connsiteX690" fmla="*/ 1529834 w 1682751"/>
                <a:gd name="connsiteY690" fmla="*/ 572029 h 2066925"/>
                <a:gd name="connsiteX691" fmla="*/ 1521378 w 1682751"/>
                <a:gd name="connsiteY691" fmla="*/ 577320 h 2066925"/>
                <a:gd name="connsiteX692" fmla="*/ 1512922 w 1682751"/>
                <a:gd name="connsiteY692" fmla="*/ 582611 h 2066925"/>
                <a:gd name="connsiteX693" fmla="*/ 1506052 w 1682751"/>
                <a:gd name="connsiteY693" fmla="*/ 589491 h 2066925"/>
                <a:gd name="connsiteX694" fmla="*/ 1499182 w 1682751"/>
                <a:gd name="connsiteY694" fmla="*/ 597428 h 2066925"/>
                <a:gd name="connsiteX695" fmla="*/ 1493897 w 1682751"/>
                <a:gd name="connsiteY695" fmla="*/ 604837 h 2066925"/>
                <a:gd name="connsiteX696" fmla="*/ 1488612 w 1682751"/>
                <a:gd name="connsiteY696" fmla="*/ 613303 h 2066925"/>
                <a:gd name="connsiteX697" fmla="*/ 1483856 w 1682751"/>
                <a:gd name="connsiteY697" fmla="*/ 623358 h 2066925"/>
                <a:gd name="connsiteX698" fmla="*/ 1479628 w 1682751"/>
                <a:gd name="connsiteY698" fmla="*/ 632353 h 2066925"/>
                <a:gd name="connsiteX699" fmla="*/ 1475929 w 1682751"/>
                <a:gd name="connsiteY699" fmla="*/ 642936 h 2066925"/>
                <a:gd name="connsiteX700" fmla="*/ 1472758 w 1682751"/>
                <a:gd name="connsiteY700" fmla="*/ 653520 h 2066925"/>
                <a:gd name="connsiteX701" fmla="*/ 1469058 w 1682751"/>
                <a:gd name="connsiteY701" fmla="*/ 664103 h 2066925"/>
                <a:gd name="connsiteX702" fmla="*/ 1463774 w 1682751"/>
                <a:gd name="connsiteY702" fmla="*/ 687387 h 2066925"/>
                <a:gd name="connsiteX703" fmla="*/ 1459017 w 1682751"/>
                <a:gd name="connsiteY703" fmla="*/ 711728 h 2066925"/>
                <a:gd name="connsiteX704" fmla="*/ 1454261 w 1682751"/>
                <a:gd name="connsiteY704" fmla="*/ 736070 h 2066925"/>
                <a:gd name="connsiteX705" fmla="*/ 1450033 w 1682751"/>
                <a:gd name="connsiteY705" fmla="*/ 760941 h 2066925"/>
                <a:gd name="connsiteX706" fmla="*/ 1444748 w 1682751"/>
                <a:gd name="connsiteY706" fmla="*/ 785282 h 2066925"/>
                <a:gd name="connsiteX707" fmla="*/ 1438406 w 1682751"/>
                <a:gd name="connsiteY707" fmla="*/ 810154 h 2066925"/>
                <a:gd name="connsiteX708" fmla="*/ 1434707 w 1682751"/>
                <a:gd name="connsiteY708" fmla="*/ 821266 h 2066925"/>
                <a:gd name="connsiteX709" fmla="*/ 1431008 w 1682751"/>
                <a:gd name="connsiteY709" fmla="*/ 832907 h 2066925"/>
                <a:gd name="connsiteX710" fmla="*/ 1426251 w 1682751"/>
                <a:gd name="connsiteY710" fmla="*/ 844020 h 2066925"/>
                <a:gd name="connsiteX711" fmla="*/ 1421495 w 1682751"/>
                <a:gd name="connsiteY711" fmla="*/ 855132 h 2066925"/>
                <a:gd name="connsiteX712" fmla="*/ 1416210 w 1682751"/>
                <a:gd name="connsiteY712" fmla="*/ 865716 h 2066925"/>
                <a:gd name="connsiteX713" fmla="*/ 1410397 w 1682751"/>
                <a:gd name="connsiteY713" fmla="*/ 875241 h 2066925"/>
                <a:gd name="connsiteX714" fmla="*/ 1403527 w 1682751"/>
                <a:gd name="connsiteY714" fmla="*/ 885295 h 2066925"/>
                <a:gd name="connsiteX715" fmla="*/ 1395599 w 1682751"/>
                <a:gd name="connsiteY715" fmla="*/ 893762 h 2066925"/>
                <a:gd name="connsiteX716" fmla="*/ 1389786 w 1682751"/>
                <a:gd name="connsiteY716" fmla="*/ 900111 h 2066925"/>
                <a:gd name="connsiteX717" fmla="*/ 1383444 w 1682751"/>
                <a:gd name="connsiteY717" fmla="*/ 905933 h 2066925"/>
                <a:gd name="connsiteX718" fmla="*/ 1377631 w 1682751"/>
                <a:gd name="connsiteY718" fmla="*/ 912282 h 2066925"/>
                <a:gd name="connsiteX719" fmla="*/ 1370761 w 1682751"/>
                <a:gd name="connsiteY719" fmla="*/ 916516 h 2066925"/>
                <a:gd name="connsiteX720" fmla="*/ 1357549 w 1682751"/>
                <a:gd name="connsiteY720" fmla="*/ 926570 h 2066925"/>
                <a:gd name="connsiteX721" fmla="*/ 1343280 w 1682751"/>
                <a:gd name="connsiteY721" fmla="*/ 933978 h 2066925"/>
                <a:gd name="connsiteX722" fmla="*/ 1329011 w 1682751"/>
                <a:gd name="connsiteY722" fmla="*/ 940858 h 2066925"/>
                <a:gd name="connsiteX723" fmla="*/ 1314213 w 1682751"/>
                <a:gd name="connsiteY723" fmla="*/ 945620 h 2066925"/>
                <a:gd name="connsiteX724" fmla="*/ 1299416 w 1682751"/>
                <a:gd name="connsiteY724" fmla="*/ 949324 h 2066925"/>
                <a:gd name="connsiteX725" fmla="*/ 1284090 w 1682751"/>
                <a:gd name="connsiteY725" fmla="*/ 951970 h 2066925"/>
                <a:gd name="connsiteX726" fmla="*/ 1269292 w 1682751"/>
                <a:gd name="connsiteY726" fmla="*/ 952500 h 2066925"/>
                <a:gd name="connsiteX727" fmla="*/ 1254495 w 1682751"/>
                <a:gd name="connsiteY727" fmla="*/ 951970 h 2066925"/>
                <a:gd name="connsiteX728" fmla="*/ 1239697 w 1682751"/>
                <a:gd name="connsiteY728" fmla="*/ 949324 h 2066925"/>
                <a:gd name="connsiteX729" fmla="*/ 1225428 w 1682751"/>
                <a:gd name="connsiteY729" fmla="*/ 946149 h 2066925"/>
                <a:gd name="connsiteX730" fmla="*/ 1218558 w 1682751"/>
                <a:gd name="connsiteY730" fmla="*/ 943504 h 2066925"/>
                <a:gd name="connsiteX731" fmla="*/ 1211688 w 1682751"/>
                <a:gd name="connsiteY731" fmla="*/ 940858 h 2066925"/>
                <a:gd name="connsiteX732" fmla="*/ 1204818 w 1682751"/>
                <a:gd name="connsiteY732" fmla="*/ 938212 h 2066925"/>
                <a:gd name="connsiteX733" fmla="*/ 1198476 w 1682751"/>
                <a:gd name="connsiteY733" fmla="*/ 933978 h 2066925"/>
                <a:gd name="connsiteX734" fmla="*/ 1192134 w 1682751"/>
                <a:gd name="connsiteY734" fmla="*/ 930274 h 2066925"/>
                <a:gd name="connsiteX735" fmla="*/ 1185792 w 1682751"/>
                <a:gd name="connsiteY735" fmla="*/ 926570 h 2066925"/>
                <a:gd name="connsiteX736" fmla="*/ 1179450 w 1682751"/>
                <a:gd name="connsiteY736" fmla="*/ 921808 h 2066925"/>
                <a:gd name="connsiteX737" fmla="*/ 1174166 w 1682751"/>
                <a:gd name="connsiteY737" fmla="*/ 916516 h 2066925"/>
                <a:gd name="connsiteX738" fmla="*/ 1172052 w 1682751"/>
                <a:gd name="connsiteY738" fmla="*/ 914399 h 2066925"/>
                <a:gd name="connsiteX739" fmla="*/ 1170466 w 1682751"/>
                <a:gd name="connsiteY739" fmla="*/ 912811 h 2066925"/>
                <a:gd name="connsiteX740" fmla="*/ 1173637 w 1682751"/>
                <a:gd name="connsiteY740" fmla="*/ 899053 h 2066925"/>
                <a:gd name="connsiteX741" fmla="*/ 1176808 w 1682751"/>
                <a:gd name="connsiteY741" fmla="*/ 886353 h 2066925"/>
                <a:gd name="connsiteX742" fmla="*/ 1181036 w 1682751"/>
                <a:gd name="connsiteY742" fmla="*/ 873124 h 2066925"/>
                <a:gd name="connsiteX743" fmla="*/ 1185792 w 1682751"/>
                <a:gd name="connsiteY743" fmla="*/ 859366 h 2066925"/>
                <a:gd name="connsiteX744" fmla="*/ 1190548 w 1682751"/>
                <a:gd name="connsiteY744" fmla="*/ 846666 h 2066925"/>
                <a:gd name="connsiteX745" fmla="*/ 1196362 w 1682751"/>
                <a:gd name="connsiteY745" fmla="*/ 833436 h 2066925"/>
                <a:gd name="connsiteX746" fmla="*/ 1202704 w 1682751"/>
                <a:gd name="connsiteY746" fmla="*/ 819678 h 2066925"/>
                <a:gd name="connsiteX747" fmla="*/ 1209574 w 1682751"/>
                <a:gd name="connsiteY747" fmla="*/ 806978 h 2066925"/>
                <a:gd name="connsiteX748" fmla="*/ 1216444 w 1682751"/>
                <a:gd name="connsiteY748" fmla="*/ 793750 h 2066925"/>
                <a:gd name="connsiteX749" fmla="*/ 1223843 w 1682751"/>
                <a:gd name="connsiteY749" fmla="*/ 781049 h 2066925"/>
                <a:gd name="connsiteX750" fmla="*/ 1232299 w 1682751"/>
                <a:gd name="connsiteY750" fmla="*/ 767820 h 2066925"/>
                <a:gd name="connsiteX751" fmla="*/ 1241283 w 1682751"/>
                <a:gd name="connsiteY751" fmla="*/ 755120 h 2066925"/>
                <a:gd name="connsiteX752" fmla="*/ 1250267 w 1682751"/>
                <a:gd name="connsiteY752" fmla="*/ 741891 h 2066925"/>
                <a:gd name="connsiteX753" fmla="*/ 1260308 w 1682751"/>
                <a:gd name="connsiteY753" fmla="*/ 729720 h 2066925"/>
                <a:gd name="connsiteX754" fmla="*/ 1270349 w 1682751"/>
                <a:gd name="connsiteY754" fmla="*/ 717549 h 2066925"/>
                <a:gd name="connsiteX755" fmla="*/ 1281447 w 1682751"/>
                <a:gd name="connsiteY755" fmla="*/ 705378 h 2066925"/>
                <a:gd name="connsiteX756" fmla="*/ 1291489 w 1682751"/>
                <a:gd name="connsiteY756" fmla="*/ 694795 h 2066925"/>
                <a:gd name="connsiteX757" fmla="*/ 1302058 w 1682751"/>
                <a:gd name="connsiteY757" fmla="*/ 684741 h 2066925"/>
                <a:gd name="connsiteX758" fmla="*/ 1312099 w 1682751"/>
                <a:gd name="connsiteY758" fmla="*/ 675216 h 2066925"/>
                <a:gd name="connsiteX759" fmla="*/ 1323726 w 1682751"/>
                <a:gd name="connsiteY759" fmla="*/ 665161 h 2066925"/>
                <a:gd name="connsiteX760" fmla="*/ 1334296 w 1682751"/>
                <a:gd name="connsiteY760" fmla="*/ 656695 h 2066925"/>
                <a:gd name="connsiteX761" fmla="*/ 1344865 w 1682751"/>
                <a:gd name="connsiteY761" fmla="*/ 647699 h 2066925"/>
                <a:gd name="connsiteX762" fmla="*/ 1356492 w 1682751"/>
                <a:gd name="connsiteY762" fmla="*/ 639762 h 2066925"/>
                <a:gd name="connsiteX763" fmla="*/ 1367590 w 1682751"/>
                <a:gd name="connsiteY763" fmla="*/ 631295 h 2066925"/>
                <a:gd name="connsiteX764" fmla="*/ 1379217 w 1682751"/>
                <a:gd name="connsiteY764" fmla="*/ 624416 h 2066925"/>
                <a:gd name="connsiteX765" fmla="*/ 1390315 w 1682751"/>
                <a:gd name="connsiteY765" fmla="*/ 618066 h 2066925"/>
                <a:gd name="connsiteX766" fmla="*/ 1401941 w 1682751"/>
                <a:gd name="connsiteY766" fmla="*/ 611186 h 2066925"/>
                <a:gd name="connsiteX767" fmla="*/ 1413568 w 1682751"/>
                <a:gd name="connsiteY767" fmla="*/ 604837 h 2066925"/>
                <a:gd name="connsiteX768" fmla="*/ 1424666 w 1682751"/>
                <a:gd name="connsiteY768" fmla="*/ 599545 h 2066925"/>
                <a:gd name="connsiteX769" fmla="*/ 1436821 w 1682751"/>
                <a:gd name="connsiteY769" fmla="*/ 594253 h 2066925"/>
                <a:gd name="connsiteX770" fmla="*/ 1448448 w 1682751"/>
                <a:gd name="connsiteY770" fmla="*/ 589491 h 2066925"/>
                <a:gd name="connsiteX771" fmla="*/ 1459546 w 1682751"/>
                <a:gd name="connsiteY771" fmla="*/ 585258 h 2066925"/>
                <a:gd name="connsiteX772" fmla="*/ 1446862 w 1682751"/>
                <a:gd name="connsiteY772" fmla="*/ 588962 h 2066925"/>
                <a:gd name="connsiteX773" fmla="*/ 1433650 w 1682751"/>
                <a:gd name="connsiteY773" fmla="*/ 593195 h 2066925"/>
                <a:gd name="connsiteX774" fmla="*/ 1420967 w 1682751"/>
                <a:gd name="connsiteY774" fmla="*/ 599016 h 2066925"/>
                <a:gd name="connsiteX775" fmla="*/ 1408812 w 1682751"/>
                <a:gd name="connsiteY775" fmla="*/ 604308 h 2066925"/>
                <a:gd name="connsiteX776" fmla="*/ 1395599 w 1682751"/>
                <a:gd name="connsiteY776" fmla="*/ 610128 h 2066925"/>
                <a:gd name="connsiteX777" fmla="*/ 1382916 w 1682751"/>
                <a:gd name="connsiteY777" fmla="*/ 617007 h 2066925"/>
                <a:gd name="connsiteX778" fmla="*/ 1369704 w 1682751"/>
                <a:gd name="connsiteY778" fmla="*/ 623887 h 2066925"/>
                <a:gd name="connsiteX779" fmla="*/ 1357549 w 1682751"/>
                <a:gd name="connsiteY779" fmla="*/ 631295 h 2066925"/>
                <a:gd name="connsiteX780" fmla="*/ 1344865 w 1682751"/>
                <a:gd name="connsiteY780" fmla="*/ 639762 h 2066925"/>
                <a:gd name="connsiteX781" fmla="*/ 1332710 w 1682751"/>
                <a:gd name="connsiteY781" fmla="*/ 649287 h 2066925"/>
                <a:gd name="connsiteX782" fmla="*/ 1320555 w 1682751"/>
                <a:gd name="connsiteY782" fmla="*/ 658282 h 2066925"/>
                <a:gd name="connsiteX783" fmla="*/ 1308400 w 1682751"/>
                <a:gd name="connsiteY783" fmla="*/ 668337 h 2066925"/>
                <a:gd name="connsiteX784" fmla="*/ 1296245 w 1682751"/>
                <a:gd name="connsiteY784" fmla="*/ 677861 h 2066925"/>
                <a:gd name="connsiteX785" fmla="*/ 1284618 w 1682751"/>
                <a:gd name="connsiteY785" fmla="*/ 688974 h 2066925"/>
                <a:gd name="connsiteX786" fmla="*/ 1273520 w 1682751"/>
                <a:gd name="connsiteY786" fmla="*/ 700087 h 2066925"/>
                <a:gd name="connsiteX787" fmla="*/ 1261894 w 1682751"/>
                <a:gd name="connsiteY787" fmla="*/ 711728 h 2066925"/>
                <a:gd name="connsiteX788" fmla="*/ 1252909 w 1682751"/>
                <a:gd name="connsiteY788" fmla="*/ 722311 h 2066925"/>
                <a:gd name="connsiteX789" fmla="*/ 1243397 w 1682751"/>
                <a:gd name="connsiteY789" fmla="*/ 733954 h 2066925"/>
                <a:gd name="connsiteX790" fmla="*/ 1234412 w 1682751"/>
                <a:gd name="connsiteY790" fmla="*/ 744537 h 2066925"/>
                <a:gd name="connsiteX791" fmla="*/ 1225957 w 1682751"/>
                <a:gd name="connsiteY791" fmla="*/ 755649 h 2066925"/>
                <a:gd name="connsiteX792" fmla="*/ 1217501 w 1682751"/>
                <a:gd name="connsiteY792" fmla="*/ 767291 h 2066925"/>
                <a:gd name="connsiteX793" fmla="*/ 1210102 w 1682751"/>
                <a:gd name="connsiteY793" fmla="*/ 778933 h 2066925"/>
                <a:gd name="connsiteX794" fmla="*/ 1203232 w 1682751"/>
                <a:gd name="connsiteY794" fmla="*/ 790045 h 2066925"/>
                <a:gd name="connsiteX795" fmla="*/ 1196362 w 1682751"/>
                <a:gd name="connsiteY795" fmla="*/ 801686 h 2066925"/>
                <a:gd name="connsiteX796" fmla="*/ 1189492 w 1682751"/>
                <a:gd name="connsiteY796" fmla="*/ 813858 h 2066925"/>
                <a:gd name="connsiteX797" fmla="*/ 1183678 w 1682751"/>
                <a:gd name="connsiteY797" fmla="*/ 824970 h 2066925"/>
                <a:gd name="connsiteX798" fmla="*/ 1178393 w 1682751"/>
                <a:gd name="connsiteY798" fmla="*/ 837141 h 2066925"/>
                <a:gd name="connsiteX799" fmla="*/ 1173109 w 1682751"/>
                <a:gd name="connsiteY799" fmla="*/ 848782 h 2066925"/>
                <a:gd name="connsiteX800" fmla="*/ 1168352 w 1682751"/>
                <a:gd name="connsiteY800" fmla="*/ 860954 h 2066925"/>
                <a:gd name="connsiteX801" fmla="*/ 1163596 w 1682751"/>
                <a:gd name="connsiteY801" fmla="*/ 872595 h 2066925"/>
                <a:gd name="connsiteX802" fmla="*/ 1159897 w 1682751"/>
                <a:gd name="connsiteY802" fmla="*/ 884766 h 2066925"/>
                <a:gd name="connsiteX803" fmla="*/ 1156726 w 1682751"/>
                <a:gd name="connsiteY803" fmla="*/ 895878 h 2066925"/>
                <a:gd name="connsiteX804" fmla="*/ 1149327 w 1682751"/>
                <a:gd name="connsiteY804" fmla="*/ 885295 h 2066925"/>
                <a:gd name="connsiteX805" fmla="*/ 1144042 w 1682751"/>
                <a:gd name="connsiteY805" fmla="*/ 874183 h 2066925"/>
                <a:gd name="connsiteX806" fmla="*/ 1139286 w 1682751"/>
                <a:gd name="connsiteY806" fmla="*/ 862012 h 2066925"/>
                <a:gd name="connsiteX807" fmla="*/ 1135586 w 1682751"/>
                <a:gd name="connsiteY807" fmla="*/ 848782 h 2066925"/>
                <a:gd name="connsiteX808" fmla="*/ 1133472 w 1682751"/>
                <a:gd name="connsiteY808" fmla="*/ 836611 h 2066925"/>
                <a:gd name="connsiteX809" fmla="*/ 1131887 w 1682751"/>
                <a:gd name="connsiteY809" fmla="*/ 822853 h 2066925"/>
                <a:gd name="connsiteX810" fmla="*/ 1131887 w 1682751"/>
                <a:gd name="connsiteY810" fmla="*/ 810154 h 2066925"/>
                <a:gd name="connsiteX811" fmla="*/ 1132415 w 1682751"/>
                <a:gd name="connsiteY811" fmla="*/ 796395 h 2066925"/>
                <a:gd name="connsiteX812" fmla="*/ 1135058 w 1682751"/>
                <a:gd name="connsiteY812" fmla="*/ 782637 h 2066925"/>
                <a:gd name="connsiteX813" fmla="*/ 1137700 w 1682751"/>
                <a:gd name="connsiteY813" fmla="*/ 769407 h 2066925"/>
                <a:gd name="connsiteX814" fmla="*/ 1141400 w 1682751"/>
                <a:gd name="connsiteY814" fmla="*/ 755649 h 2066925"/>
                <a:gd name="connsiteX815" fmla="*/ 1147741 w 1682751"/>
                <a:gd name="connsiteY815" fmla="*/ 742949 h 2066925"/>
                <a:gd name="connsiteX816" fmla="*/ 1154083 w 1682751"/>
                <a:gd name="connsiteY816" fmla="*/ 729720 h 2066925"/>
                <a:gd name="connsiteX817" fmla="*/ 1161482 w 1682751"/>
                <a:gd name="connsiteY817" fmla="*/ 717549 h 2066925"/>
                <a:gd name="connsiteX818" fmla="*/ 1170466 w 1682751"/>
                <a:gd name="connsiteY818" fmla="*/ 705378 h 2066925"/>
                <a:gd name="connsiteX819" fmla="*/ 1179450 w 1682751"/>
                <a:gd name="connsiteY819" fmla="*/ 693207 h 2066925"/>
                <a:gd name="connsiteX820" fmla="*/ 1194776 w 1682751"/>
                <a:gd name="connsiteY820" fmla="*/ 677861 h 2066925"/>
                <a:gd name="connsiteX821" fmla="*/ 1210102 w 1682751"/>
                <a:gd name="connsiteY821" fmla="*/ 663574 h 2066925"/>
                <a:gd name="connsiteX822" fmla="*/ 1224371 w 1682751"/>
                <a:gd name="connsiteY822" fmla="*/ 650345 h 2066925"/>
                <a:gd name="connsiteX823" fmla="*/ 1240754 w 1682751"/>
                <a:gd name="connsiteY823" fmla="*/ 638175 h 2066925"/>
                <a:gd name="connsiteX824" fmla="*/ 1255552 w 1682751"/>
                <a:gd name="connsiteY824" fmla="*/ 627591 h 2066925"/>
                <a:gd name="connsiteX825" fmla="*/ 1270878 w 1682751"/>
                <a:gd name="connsiteY825" fmla="*/ 618066 h 2066925"/>
                <a:gd name="connsiteX826" fmla="*/ 1286204 w 1682751"/>
                <a:gd name="connsiteY826" fmla="*/ 608541 h 2066925"/>
                <a:gd name="connsiteX827" fmla="*/ 1302058 w 1682751"/>
                <a:gd name="connsiteY827" fmla="*/ 601132 h 2066925"/>
                <a:gd name="connsiteX828" fmla="*/ 1317384 w 1682751"/>
                <a:gd name="connsiteY828" fmla="*/ 594253 h 2066925"/>
                <a:gd name="connsiteX829" fmla="*/ 1332710 w 1682751"/>
                <a:gd name="connsiteY829" fmla="*/ 587904 h 2066925"/>
                <a:gd name="connsiteX830" fmla="*/ 1348036 w 1682751"/>
                <a:gd name="connsiteY830" fmla="*/ 582611 h 2066925"/>
                <a:gd name="connsiteX831" fmla="*/ 1362305 w 1682751"/>
                <a:gd name="connsiteY831" fmla="*/ 578378 h 2066925"/>
                <a:gd name="connsiteX832" fmla="*/ 1376574 w 1682751"/>
                <a:gd name="connsiteY832" fmla="*/ 574145 h 2066925"/>
                <a:gd name="connsiteX833" fmla="*/ 1391372 w 1682751"/>
                <a:gd name="connsiteY833" fmla="*/ 570441 h 2066925"/>
                <a:gd name="connsiteX834" fmla="*/ 1405112 w 1682751"/>
                <a:gd name="connsiteY834" fmla="*/ 568324 h 2066925"/>
                <a:gd name="connsiteX835" fmla="*/ 1417796 w 1682751"/>
                <a:gd name="connsiteY835" fmla="*/ 566207 h 2066925"/>
                <a:gd name="connsiteX836" fmla="*/ 1443691 w 1682751"/>
                <a:gd name="connsiteY836" fmla="*/ 563032 h 2066925"/>
                <a:gd name="connsiteX837" fmla="*/ 661988 w 1682751"/>
                <a:gd name="connsiteY837" fmla="*/ 549274 h 2066925"/>
                <a:gd name="connsiteX838" fmla="*/ 674688 w 1682751"/>
                <a:gd name="connsiteY838" fmla="*/ 549274 h 2066925"/>
                <a:gd name="connsiteX839" fmla="*/ 686330 w 1682751"/>
                <a:gd name="connsiteY839" fmla="*/ 550329 h 2066925"/>
                <a:gd name="connsiteX840" fmla="*/ 709084 w 1682751"/>
                <a:gd name="connsiteY840" fmla="*/ 551911 h 2066925"/>
                <a:gd name="connsiteX841" fmla="*/ 729722 w 1682751"/>
                <a:gd name="connsiteY841" fmla="*/ 554019 h 2066925"/>
                <a:gd name="connsiteX842" fmla="*/ 747184 w 1682751"/>
                <a:gd name="connsiteY842" fmla="*/ 557183 h 2066925"/>
                <a:gd name="connsiteX843" fmla="*/ 762530 w 1682751"/>
                <a:gd name="connsiteY843" fmla="*/ 560347 h 2066925"/>
                <a:gd name="connsiteX844" fmla="*/ 784755 w 1682751"/>
                <a:gd name="connsiteY844" fmla="*/ 566146 h 2066925"/>
                <a:gd name="connsiteX845" fmla="*/ 792163 w 1682751"/>
                <a:gd name="connsiteY845" fmla="*/ 569310 h 2066925"/>
                <a:gd name="connsiteX846" fmla="*/ 783697 w 1682751"/>
                <a:gd name="connsiteY846" fmla="*/ 571419 h 2066925"/>
                <a:gd name="connsiteX847" fmla="*/ 775230 w 1682751"/>
                <a:gd name="connsiteY847" fmla="*/ 574055 h 2066925"/>
                <a:gd name="connsiteX848" fmla="*/ 767822 w 1682751"/>
                <a:gd name="connsiteY848" fmla="*/ 577746 h 2066925"/>
                <a:gd name="connsiteX849" fmla="*/ 760942 w 1682751"/>
                <a:gd name="connsiteY849" fmla="*/ 581964 h 2066925"/>
                <a:gd name="connsiteX850" fmla="*/ 754063 w 1682751"/>
                <a:gd name="connsiteY850" fmla="*/ 586709 h 2066925"/>
                <a:gd name="connsiteX851" fmla="*/ 748772 w 1682751"/>
                <a:gd name="connsiteY851" fmla="*/ 591982 h 2066925"/>
                <a:gd name="connsiteX852" fmla="*/ 742422 w 1682751"/>
                <a:gd name="connsiteY852" fmla="*/ 598309 h 2066925"/>
                <a:gd name="connsiteX853" fmla="*/ 738188 w 1682751"/>
                <a:gd name="connsiteY853" fmla="*/ 605163 h 2066925"/>
                <a:gd name="connsiteX854" fmla="*/ 732897 w 1682751"/>
                <a:gd name="connsiteY854" fmla="*/ 612544 h 2066925"/>
                <a:gd name="connsiteX855" fmla="*/ 728663 w 1682751"/>
                <a:gd name="connsiteY855" fmla="*/ 619925 h 2066925"/>
                <a:gd name="connsiteX856" fmla="*/ 724430 w 1682751"/>
                <a:gd name="connsiteY856" fmla="*/ 627834 h 2066925"/>
                <a:gd name="connsiteX857" fmla="*/ 720726 w 1682751"/>
                <a:gd name="connsiteY857" fmla="*/ 636270 h 2066925"/>
                <a:gd name="connsiteX858" fmla="*/ 713847 w 1682751"/>
                <a:gd name="connsiteY858" fmla="*/ 654197 h 2066925"/>
                <a:gd name="connsiteX859" fmla="*/ 706967 w 1682751"/>
                <a:gd name="connsiteY859" fmla="*/ 672650 h 2066925"/>
                <a:gd name="connsiteX860" fmla="*/ 700088 w 1682751"/>
                <a:gd name="connsiteY860" fmla="*/ 691632 h 2066925"/>
                <a:gd name="connsiteX861" fmla="*/ 693209 w 1682751"/>
                <a:gd name="connsiteY861" fmla="*/ 710612 h 2066925"/>
                <a:gd name="connsiteX862" fmla="*/ 686330 w 1682751"/>
                <a:gd name="connsiteY862" fmla="*/ 730120 h 2066925"/>
                <a:gd name="connsiteX863" fmla="*/ 677863 w 1682751"/>
                <a:gd name="connsiteY863" fmla="*/ 748574 h 2066925"/>
                <a:gd name="connsiteX864" fmla="*/ 674159 w 1682751"/>
                <a:gd name="connsiteY864" fmla="*/ 757536 h 2066925"/>
                <a:gd name="connsiteX865" fmla="*/ 668867 w 1682751"/>
                <a:gd name="connsiteY865" fmla="*/ 765972 h 2066925"/>
                <a:gd name="connsiteX866" fmla="*/ 664105 w 1682751"/>
                <a:gd name="connsiteY866" fmla="*/ 774409 h 2066925"/>
                <a:gd name="connsiteX867" fmla="*/ 658813 w 1682751"/>
                <a:gd name="connsiteY867" fmla="*/ 782845 h 2066925"/>
                <a:gd name="connsiteX868" fmla="*/ 652463 w 1682751"/>
                <a:gd name="connsiteY868" fmla="*/ 790226 h 2066925"/>
                <a:gd name="connsiteX869" fmla="*/ 645584 w 1682751"/>
                <a:gd name="connsiteY869" fmla="*/ 797080 h 2066925"/>
                <a:gd name="connsiteX870" fmla="*/ 639234 w 1682751"/>
                <a:gd name="connsiteY870" fmla="*/ 803935 h 2066925"/>
                <a:gd name="connsiteX871" fmla="*/ 632355 w 1682751"/>
                <a:gd name="connsiteY871" fmla="*/ 810262 h 2066925"/>
                <a:gd name="connsiteX872" fmla="*/ 620184 w 1682751"/>
                <a:gd name="connsiteY872" fmla="*/ 817642 h 2066925"/>
                <a:gd name="connsiteX873" fmla="*/ 607484 w 1682751"/>
                <a:gd name="connsiteY873" fmla="*/ 824498 h 2066925"/>
                <a:gd name="connsiteX874" fmla="*/ 594784 w 1682751"/>
                <a:gd name="connsiteY874" fmla="*/ 829769 h 2066925"/>
                <a:gd name="connsiteX875" fmla="*/ 582084 w 1682751"/>
                <a:gd name="connsiteY875" fmla="*/ 834514 h 2066925"/>
                <a:gd name="connsiteX876" fmla="*/ 568326 w 1682751"/>
                <a:gd name="connsiteY876" fmla="*/ 837152 h 2066925"/>
                <a:gd name="connsiteX877" fmla="*/ 555097 w 1682751"/>
                <a:gd name="connsiteY877" fmla="*/ 838733 h 2066925"/>
                <a:gd name="connsiteX878" fmla="*/ 541338 w 1682751"/>
                <a:gd name="connsiteY878" fmla="*/ 839788 h 2066925"/>
                <a:gd name="connsiteX879" fmla="*/ 527580 w 1682751"/>
                <a:gd name="connsiteY879" fmla="*/ 839788 h 2066925"/>
                <a:gd name="connsiteX880" fmla="*/ 514880 w 1682751"/>
                <a:gd name="connsiteY880" fmla="*/ 838205 h 2066925"/>
                <a:gd name="connsiteX881" fmla="*/ 501651 w 1682751"/>
                <a:gd name="connsiteY881" fmla="*/ 835043 h 2066925"/>
                <a:gd name="connsiteX882" fmla="*/ 488951 w 1682751"/>
                <a:gd name="connsiteY882" fmla="*/ 831352 h 2066925"/>
                <a:gd name="connsiteX883" fmla="*/ 476780 w 1682751"/>
                <a:gd name="connsiteY883" fmla="*/ 826078 h 2066925"/>
                <a:gd name="connsiteX884" fmla="*/ 465138 w 1682751"/>
                <a:gd name="connsiteY884" fmla="*/ 819751 h 2066925"/>
                <a:gd name="connsiteX885" fmla="*/ 454555 w 1682751"/>
                <a:gd name="connsiteY885" fmla="*/ 812899 h 2066925"/>
                <a:gd name="connsiteX886" fmla="*/ 444501 w 1682751"/>
                <a:gd name="connsiteY886" fmla="*/ 804989 h 2066925"/>
                <a:gd name="connsiteX887" fmla="*/ 435505 w 1682751"/>
                <a:gd name="connsiteY887" fmla="*/ 794971 h 2066925"/>
                <a:gd name="connsiteX888" fmla="*/ 433917 w 1682751"/>
                <a:gd name="connsiteY888" fmla="*/ 793390 h 2066925"/>
                <a:gd name="connsiteX889" fmla="*/ 432330 w 1682751"/>
                <a:gd name="connsiteY889" fmla="*/ 791281 h 2066925"/>
                <a:gd name="connsiteX890" fmla="*/ 436034 w 1682751"/>
                <a:gd name="connsiteY890" fmla="*/ 781263 h 2066925"/>
                <a:gd name="connsiteX891" fmla="*/ 440797 w 1682751"/>
                <a:gd name="connsiteY891" fmla="*/ 771246 h 2066925"/>
                <a:gd name="connsiteX892" fmla="*/ 446088 w 1682751"/>
                <a:gd name="connsiteY892" fmla="*/ 761227 h 2066925"/>
                <a:gd name="connsiteX893" fmla="*/ 451380 w 1682751"/>
                <a:gd name="connsiteY893" fmla="*/ 751737 h 2066925"/>
                <a:gd name="connsiteX894" fmla="*/ 457730 w 1682751"/>
                <a:gd name="connsiteY894" fmla="*/ 741720 h 2066925"/>
                <a:gd name="connsiteX895" fmla="*/ 463551 w 1682751"/>
                <a:gd name="connsiteY895" fmla="*/ 731702 h 2066925"/>
                <a:gd name="connsiteX896" fmla="*/ 470430 w 1682751"/>
                <a:gd name="connsiteY896" fmla="*/ 721684 h 2066925"/>
                <a:gd name="connsiteX897" fmla="*/ 477309 w 1682751"/>
                <a:gd name="connsiteY897" fmla="*/ 712194 h 2066925"/>
                <a:gd name="connsiteX898" fmla="*/ 485776 w 1682751"/>
                <a:gd name="connsiteY898" fmla="*/ 702703 h 2066925"/>
                <a:gd name="connsiteX899" fmla="*/ 493184 w 1682751"/>
                <a:gd name="connsiteY899" fmla="*/ 693740 h 2066925"/>
                <a:gd name="connsiteX900" fmla="*/ 502709 w 1682751"/>
                <a:gd name="connsiteY900" fmla="*/ 684777 h 2066925"/>
                <a:gd name="connsiteX901" fmla="*/ 511176 w 1682751"/>
                <a:gd name="connsiteY901" fmla="*/ 675814 h 2066925"/>
                <a:gd name="connsiteX902" fmla="*/ 520701 w 1682751"/>
                <a:gd name="connsiteY902" fmla="*/ 666323 h 2066925"/>
                <a:gd name="connsiteX903" fmla="*/ 530755 w 1682751"/>
                <a:gd name="connsiteY903" fmla="*/ 657887 h 2066925"/>
                <a:gd name="connsiteX904" fmla="*/ 540809 w 1682751"/>
                <a:gd name="connsiteY904" fmla="*/ 649979 h 2066925"/>
                <a:gd name="connsiteX905" fmla="*/ 551922 w 1682751"/>
                <a:gd name="connsiteY905" fmla="*/ 641543 h 2066925"/>
                <a:gd name="connsiteX906" fmla="*/ 572030 w 1682751"/>
                <a:gd name="connsiteY906" fmla="*/ 627834 h 2066925"/>
                <a:gd name="connsiteX907" fmla="*/ 592667 w 1682751"/>
                <a:gd name="connsiteY907" fmla="*/ 615707 h 2066925"/>
                <a:gd name="connsiteX908" fmla="*/ 613834 w 1682751"/>
                <a:gd name="connsiteY908" fmla="*/ 605163 h 2066925"/>
                <a:gd name="connsiteX909" fmla="*/ 635001 w 1682751"/>
                <a:gd name="connsiteY909" fmla="*/ 595145 h 2066925"/>
                <a:gd name="connsiteX910" fmla="*/ 656697 w 1682751"/>
                <a:gd name="connsiteY910" fmla="*/ 587236 h 2066925"/>
                <a:gd name="connsiteX911" fmla="*/ 677863 w 1682751"/>
                <a:gd name="connsiteY911" fmla="*/ 580382 h 2066925"/>
                <a:gd name="connsiteX912" fmla="*/ 699030 w 1682751"/>
                <a:gd name="connsiteY912" fmla="*/ 575109 h 2066925"/>
                <a:gd name="connsiteX913" fmla="*/ 721255 w 1682751"/>
                <a:gd name="connsiteY913" fmla="*/ 571419 h 2066925"/>
                <a:gd name="connsiteX914" fmla="*/ 709084 w 1682751"/>
                <a:gd name="connsiteY914" fmla="*/ 572473 h 2066925"/>
                <a:gd name="connsiteX915" fmla="*/ 697442 w 1682751"/>
                <a:gd name="connsiteY915" fmla="*/ 574582 h 2066925"/>
                <a:gd name="connsiteX916" fmla="*/ 685272 w 1682751"/>
                <a:gd name="connsiteY916" fmla="*/ 576691 h 2066925"/>
                <a:gd name="connsiteX917" fmla="*/ 674159 w 1682751"/>
                <a:gd name="connsiteY917" fmla="*/ 579327 h 2066925"/>
                <a:gd name="connsiteX918" fmla="*/ 661988 w 1682751"/>
                <a:gd name="connsiteY918" fmla="*/ 581964 h 2066925"/>
                <a:gd name="connsiteX919" fmla="*/ 650347 w 1682751"/>
                <a:gd name="connsiteY919" fmla="*/ 586182 h 2066925"/>
                <a:gd name="connsiteX920" fmla="*/ 638176 w 1682751"/>
                <a:gd name="connsiteY920" fmla="*/ 589873 h 2066925"/>
                <a:gd name="connsiteX921" fmla="*/ 626005 w 1682751"/>
                <a:gd name="connsiteY921" fmla="*/ 593563 h 2066925"/>
                <a:gd name="connsiteX922" fmla="*/ 614363 w 1682751"/>
                <a:gd name="connsiteY922" fmla="*/ 598836 h 2066925"/>
                <a:gd name="connsiteX923" fmla="*/ 602192 w 1682751"/>
                <a:gd name="connsiteY923" fmla="*/ 604108 h 2066925"/>
                <a:gd name="connsiteX924" fmla="*/ 591080 w 1682751"/>
                <a:gd name="connsiteY924" fmla="*/ 609380 h 2066925"/>
                <a:gd name="connsiteX925" fmla="*/ 579438 w 1682751"/>
                <a:gd name="connsiteY925" fmla="*/ 615707 h 2066925"/>
                <a:gd name="connsiteX926" fmla="*/ 568326 w 1682751"/>
                <a:gd name="connsiteY926" fmla="*/ 621508 h 2066925"/>
                <a:gd name="connsiteX927" fmla="*/ 556684 w 1682751"/>
                <a:gd name="connsiteY927" fmla="*/ 629416 h 2066925"/>
                <a:gd name="connsiteX928" fmla="*/ 545042 w 1682751"/>
                <a:gd name="connsiteY928" fmla="*/ 636270 h 2066925"/>
                <a:gd name="connsiteX929" fmla="*/ 534459 w 1682751"/>
                <a:gd name="connsiteY929" fmla="*/ 644706 h 2066925"/>
                <a:gd name="connsiteX930" fmla="*/ 515409 w 1682751"/>
                <a:gd name="connsiteY930" fmla="*/ 658942 h 2066925"/>
                <a:gd name="connsiteX931" fmla="*/ 497947 w 1682751"/>
                <a:gd name="connsiteY931" fmla="*/ 674231 h 2066925"/>
                <a:gd name="connsiteX932" fmla="*/ 482072 w 1682751"/>
                <a:gd name="connsiteY932" fmla="*/ 690050 h 2066925"/>
                <a:gd name="connsiteX933" fmla="*/ 466726 w 1682751"/>
                <a:gd name="connsiteY933" fmla="*/ 706921 h 2066925"/>
                <a:gd name="connsiteX934" fmla="*/ 454026 w 1682751"/>
                <a:gd name="connsiteY934" fmla="*/ 723266 h 2066925"/>
                <a:gd name="connsiteX935" fmla="*/ 441855 w 1682751"/>
                <a:gd name="connsiteY935" fmla="*/ 740664 h 2066925"/>
                <a:gd name="connsiteX936" fmla="*/ 430742 w 1682751"/>
                <a:gd name="connsiteY936" fmla="*/ 758592 h 2066925"/>
                <a:gd name="connsiteX937" fmla="*/ 421747 w 1682751"/>
                <a:gd name="connsiteY937" fmla="*/ 776518 h 2066925"/>
                <a:gd name="connsiteX938" fmla="*/ 416984 w 1682751"/>
                <a:gd name="connsiteY938" fmla="*/ 766501 h 2066925"/>
                <a:gd name="connsiteX939" fmla="*/ 413280 w 1682751"/>
                <a:gd name="connsiteY939" fmla="*/ 755955 h 2066925"/>
                <a:gd name="connsiteX940" fmla="*/ 410634 w 1682751"/>
                <a:gd name="connsiteY940" fmla="*/ 746465 h 2066925"/>
                <a:gd name="connsiteX941" fmla="*/ 409047 w 1682751"/>
                <a:gd name="connsiteY941" fmla="*/ 735393 h 2066925"/>
                <a:gd name="connsiteX942" fmla="*/ 407988 w 1682751"/>
                <a:gd name="connsiteY942" fmla="*/ 724848 h 2066925"/>
                <a:gd name="connsiteX943" fmla="*/ 407988 w 1682751"/>
                <a:gd name="connsiteY943" fmla="*/ 714303 h 2066925"/>
                <a:gd name="connsiteX944" fmla="*/ 409576 w 1682751"/>
                <a:gd name="connsiteY944" fmla="*/ 703757 h 2066925"/>
                <a:gd name="connsiteX945" fmla="*/ 411692 w 1682751"/>
                <a:gd name="connsiteY945" fmla="*/ 693213 h 2066925"/>
                <a:gd name="connsiteX946" fmla="*/ 414867 w 1682751"/>
                <a:gd name="connsiteY946" fmla="*/ 682667 h 2066925"/>
                <a:gd name="connsiteX947" fmla="*/ 419630 w 1682751"/>
                <a:gd name="connsiteY947" fmla="*/ 671596 h 2066925"/>
                <a:gd name="connsiteX948" fmla="*/ 423863 w 1682751"/>
                <a:gd name="connsiteY948" fmla="*/ 662105 h 2066925"/>
                <a:gd name="connsiteX949" fmla="*/ 430213 w 1682751"/>
                <a:gd name="connsiteY949" fmla="*/ 652088 h 2066925"/>
                <a:gd name="connsiteX950" fmla="*/ 437622 w 1682751"/>
                <a:gd name="connsiteY950" fmla="*/ 643124 h 2066925"/>
                <a:gd name="connsiteX951" fmla="*/ 445559 w 1682751"/>
                <a:gd name="connsiteY951" fmla="*/ 633634 h 2066925"/>
                <a:gd name="connsiteX952" fmla="*/ 454555 w 1682751"/>
                <a:gd name="connsiteY952" fmla="*/ 625198 h 2066925"/>
                <a:gd name="connsiteX953" fmla="*/ 464609 w 1682751"/>
                <a:gd name="connsiteY953" fmla="*/ 617290 h 2066925"/>
                <a:gd name="connsiteX954" fmla="*/ 478897 w 1682751"/>
                <a:gd name="connsiteY954" fmla="*/ 607272 h 2066925"/>
                <a:gd name="connsiteX955" fmla="*/ 493184 w 1682751"/>
                <a:gd name="connsiteY955" fmla="*/ 597253 h 2066925"/>
                <a:gd name="connsiteX956" fmla="*/ 508001 w 1682751"/>
                <a:gd name="connsiteY956" fmla="*/ 589873 h 2066925"/>
                <a:gd name="connsiteX957" fmla="*/ 523347 w 1682751"/>
                <a:gd name="connsiteY957" fmla="*/ 581964 h 2066925"/>
                <a:gd name="connsiteX958" fmla="*/ 537634 w 1682751"/>
                <a:gd name="connsiteY958" fmla="*/ 575109 h 2066925"/>
                <a:gd name="connsiteX959" fmla="*/ 551922 w 1682751"/>
                <a:gd name="connsiteY959" fmla="*/ 569837 h 2066925"/>
                <a:gd name="connsiteX960" fmla="*/ 566738 w 1682751"/>
                <a:gd name="connsiteY960" fmla="*/ 565619 h 2066925"/>
                <a:gd name="connsiteX961" fmla="*/ 581026 w 1682751"/>
                <a:gd name="connsiteY961" fmla="*/ 560874 h 2066925"/>
                <a:gd name="connsiteX962" fmla="*/ 594784 w 1682751"/>
                <a:gd name="connsiteY962" fmla="*/ 557710 h 2066925"/>
                <a:gd name="connsiteX963" fmla="*/ 609072 w 1682751"/>
                <a:gd name="connsiteY963" fmla="*/ 555075 h 2066925"/>
                <a:gd name="connsiteX964" fmla="*/ 622830 w 1682751"/>
                <a:gd name="connsiteY964" fmla="*/ 552438 h 2066925"/>
                <a:gd name="connsiteX965" fmla="*/ 636059 w 1682751"/>
                <a:gd name="connsiteY965" fmla="*/ 550857 h 2066925"/>
                <a:gd name="connsiteX966" fmla="*/ 649817 w 1682751"/>
                <a:gd name="connsiteY966" fmla="*/ 550329 h 2066925"/>
                <a:gd name="connsiteX967" fmla="*/ 239989 w 1682751"/>
                <a:gd name="connsiteY967" fmla="*/ 0 h 2066925"/>
                <a:gd name="connsiteX968" fmla="*/ 236290 w 1682751"/>
                <a:gd name="connsiteY968" fmla="*/ 12170 h 2066925"/>
                <a:gd name="connsiteX969" fmla="*/ 233648 w 1682751"/>
                <a:gd name="connsiteY969" fmla="*/ 24341 h 2066925"/>
                <a:gd name="connsiteX970" fmla="*/ 233119 w 1682751"/>
                <a:gd name="connsiteY970" fmla="*/ 36512 h 2066925"/>
                <a:gd name="connsiteX971" fmla="*/ 233648 w 1682751"/>
                <a:gd name="connsiteY971" fmla="*/ 48683 h 2066925"/>
                <a:gd name="connsiteX972" fmla="*/ 235233 w 1682751"/>
                <a:gd name="connsiteY972" fmla="*/ 60854 h 2066925"/>
                <a:gd name="connsiteX973" fmla="*/ 238403 w 1682751"/>
                <a:gd name="connsiteY973" fmla="*/ 73024 h 2066925"/>
                <a:gd name="connsiteX974" fmla="*/ 242102 w 1682751"/>
                <a:gd name="connsiteY974" fmla="*/ 85195 h 2066925"/>
                <a:gd name="connsiteX975" fmla="*/ 246858 w 1682751"/>
                <a:gd name="connsiteY975" fmla="*/ 96837 h 2066925"/>
                <a:gd name="connsiteX976" fmla="*/ 252671 w 1682751"/>
                <a:gd name="connsiteY976" fmla="*/ 109008 h 2066925"/>
                <a:gd name="connsiteX977" fmla="*/ 259012 w 1682751"/>
                <a:gd name="connsiteY977" fmla="*/ 121178 h 2066925"/>
                <a:gd name="connsiteX978" fmla="*/ 266409 w 1682751"/>
                <a:gd name="connsiteY978" fmla="*/ 132291 h 2066925"/>
                <a:gd name="connsiteX979" fmla="*/ 274336 w 1682751"/>
                <a:gd name="connsiteY979" fmla="*/ 144462 h 2066925"/>
                <a:gd name="connsiteX980" fmla="*/ 291773 w 1682751"/>
                <a:gd name="connsiteY980" fmla="*/ 168274 h 2066925"/>
                <a:gd name="connsiteX981" fmla="*/ 309739 w 1682751"/>
                <a:gd name="connsiteY981" fmla="*/ 192617 h 2066925"/>
                <a:gd name="connsiteX982" fmla="*/ 329819 w 1682751"/>
                <a:gd name="connsiteY982" fmla="*/ 216958 h 2066925"/>
                <a:gd name="connsiteX983" fmla="*/ 349370 w 1682751"/>
                <a:gd name="connsiteY983" fmla="*/ 241300 h 2066925"/>
                <a:gd name="connsiteX984" fmla="*/ 368393 w 1682751"/>
                <a:gd name="connsiteY984" fmla="*/ 266700 h 2066925"/>
                <a:gd name="connsiteX985" fmla="*/ 385831 w 1682751"/>
                <a:gd name="connsiteY985" fmla="*/ 291570 h 2066925"/>
                <a:gd name="connsiteX986" fmla="*/ 394286 w 1682751"/>
                <a:gd name="connsiteY986" fmla="*/ 304800 h 2066925"/>
                <a:gd name="connsiteX987" fmla="*/ 402212 w 1682751"/>
                <a:gd name="connsiteY987" fmla="*/ 318558 h 2066925"/>
                <a:gd name="connsiteX988" fmla="*/ 409610 w 1682751"/>
                <a:gd name="connsiteY988" fmla="*/ 331258 h 2066925"/>
                <a:gd name="connsiteX989" fmla="*/ 415951 w 1682751"/>
                <a:gd name="connsiteY989" fmla="*/ 345016 h 2066925"/>
                <a:gd name="connsiteX990" fmla="*/ 421235 w 1682751"/>
                <a:gd name="connsiteY990" fmla="*/ 358775 h 2066925"/>
                <a:gd name="connsiteX991" fmla="*/ 425462 w 1682751"/>
                <a:gd name="connsiteY991" fmla="*/ 372534 h 2066925"/>
                <a:gd name="connsiteX992" fmla="*/ 428633 w 1682751"/>
                <a:gd name="connsiteY992" fmla="*/ 387350 h 2066925"/>
                <a:gd name="connsiteX993" fmla="*/ 430746 w 1682751"/>
                <a:gd name="connsiteY993" fmla="*/ 400579 h 2066925"/>
                <a:gd name="connsiteX994" fmla="*/ 432331 w 1682751"/>
                <a:gd name="connsiteY994" fmla="*/ 411692 h 2066925"/>
                <a:gd name="connsiteX995" fmla="*/ 433388 w 1682751"/>
                <a:gd name="connsiteY995" fmla="*/ 422275 h 2066925"/>
                <a:gd name="connsiteX996" fmla="*/ 433388 w 1682751"/>
                <a:gd name="connsiteY996" fmla="*/ 432858 h 2066925"/>
                <a:gd name="connsiteX997" fmla="*/ 432331 w 1682751"/>
                <a:gd name="connsiteY997" fmla="*/ 443442 h 2066925"/>
                <a:gd name="connsiteX998" fmla="*/ 431803 w 1682751"/>
                <a:gd name="connsiteY998" fmla="*/ 453496 h 2066925"/>
                <a:gd name="connsiteX999" fmla="*/ 430218 w 1682751"/>
                <a:gd name="connsiteY999" fmla="*/ 464079 h 2066925"/>
                <a:gd name="connsiteX1000" fmla="*/ 428633 w 1682751"/>
                <a:gd name="connsiteY1000" fmla="*/ 474134 h 2066925"/>
                <a:gd name="connsiteX1001" fmla="*/ 426519 w 1682751"/>
                <a:gd name="connsiteY1001" fmla="*/ 484188 h 2066925"/>
                <a:gd name="connsiteX1002" fmla="*/ 423877 w 1682751"/>
                <a:gd name="connsiteY1002" fmla="*/ 493183 h 2066925"/>
                <a:gd name="connsiteX1003" fmla="*/ 421235 w 1682751"/>
                <a:gd name="connsiteY1003" fmla="*/ 503238 h 2066925"/>
                <a:gd name="connsiteX1004" fmla="*/ 417007 w 1682751"/>
                <a:gd name="connsiteY1004" fmla="*/ 512233 h 2066925"/>
                <a:gd name="connsiteX1005" fmla="*/ 413309 w 1682751"/>
                <a:gd name="connsiteY1005" fmla="*/ 520701 h 2066925"/>
                <a:gd name="connsiteX1006" fmla="*/ 409610 w 1682751"/>
                <a:gd name="connsiteY1006" fmla="*/ 529696 h 2066925"/>
                <a:gd name="connsiteX1007" fmla="*/ 404854 w 1682751"/>
                <a:gd name="connsiteY1007" fmla="*/ 538163 h 2066925"/>
                <a:gd name="connsiteX1008" fmla="*/ 399570 w 1682751"/>
                <a:gd name="connsiteY1008" fmla="*/ 546629 h 2066925"/>
                <a:gd name="connsiteX1009" fmla="*/ 395342 w 1682751"/>
                <a:gd name="connsiteY1009" fmla="*/ 554038 h 2066925"/>
                <a:gd name="connsiteX1010" fmla="*/ 389001 w 1682751"/>
                <a:gd name="connsiteY1010" fmla="*/ 561446 h 2066925"/>
                <a:gd name="connsiteX1011" fmla="*/ 383189 w 1682751"/>
                <a:gd name="connsiteY1011" fmla="*/ 569384 h 2066925"/>
                <a:gd name="connsiteX1012" fmla="*/ 376848 w 1682751"/>
                <a:gd name="connsiteY1012" fmla="*/ 576262 h 2066925"/>
                <a:gd name="connsiteX1013" fmla="*/ 371035 w 1682751"/>
                <a:gd name="connsiteY1013" fmla="*/ 582084 h 2066925"/>
                <a:gd name="connsiteX1014" fmla="*/ 364166 w 1682751"/>
                <a:gd name="connsiteY1014" fmla="*/ 588963 h 2066925"/>
                <a:gd name="connsiteX1015" fmla="*/ 356240 w 1682751"/>
                <a:gd name="connsiteY1015" fmla="*/ 594254 h 2066925"/>
                <a:gd name="connsiteX1016" fmla="*/ 348842 w 1682751"/>
                <a:gd name="connsiteY1016" fmla="*/ 600076 h 2066925"/>
                <a:gd name="connsiteX1017" fmla="*/ 340916 w 1682751"/>
                <a:gd name="connsiteY1017" fmla="*/ 605367 h 2066925"/>
                <a:gd name="connsiteX1018" fmla="*/ 333518 w 1682751"/>
                <a:gd name="connsiteY1018" fmla="*/ 609600 h 2066925"/>
                <a:gd name="connsiteX1019" fmla="*/ 325063 w 1682751"/>
                <a:gd name="connsiteY1019" fmla="*/ 614363 h 2066925"/>
                <a:gd name="connsiteX1020" fmla="*/ 316609 w 1682751"/>
                <a:gd name="connsiteY1020" fmla="*/ 618067 h 2066925"/>
                <a:gd name="connsiteX1021" fmla="*/ 308683 w 1682751"/>
                <a:gd name="connsiteY1021" fmla="*/ 621242 h 2066925"/>
                <a:gd name="connsiteX1022" fmla="*/ 299171 w 1682751"/>
                <a:gd name="connsiteY1022" fmla="*/ 624416 h 2066925"/>
                <a:gd name="connsiteX1023" fmla="*/ 290716 w 1682751"/>
                <a:gd name="connsiteY1023" fmla="*/ 626533 h 2066925"/>
                <a:gd name="connsiteX1024" fmla="*/ 281733 w 1682751"/>
                <a:gd name="connsiteY1024" fmla="*/ 628121 h 2066925"/>
                <a:gd name="connsiteX1025" fmla="*/ 271694 w 1682751"/>
                <a:gd name="connsiteY1025" fmla="*/ 629709 h 2066925"/>
                <a:gd name="connsiteX1026" fmla="*/ 269052 w 1682751"/>
                <a:gd name="connsiteY1026" fmla="*/ 629709 h 2066925"/>
                <a:gd name="connsiteX1027" fmla="*/ 264824 w 1682751"/>
                <a:gd name="connsiteY1027" fmla="*/ 630238 h 2066925"/>
                <a:gd name="connsiteX1028" fmla="*/ 255313 w 1682751"/>
                <a:gd name="connsiteY1028" fmla="*/ 616480 h 2066925"/>
                <a:gd name="connsiteX1029" fmla="*/ 245273 w 1682751"/>
                <a:gd name="connsiteY1029" fmla="*/ 602192 h 2066925"/>
                <a:gd name="connsiteX1030" fmla="*/ 236290 w 1682751"/>
                <a:gd name="connsiteY1030" fmla="*/ 587375 h 2066925"/>
                <a:gd name="connsiteX1031" fmla="*/ 227835 w 1682751"/>
                <a:gd name="connsiteY1031" fmla="*/ 572558 h 2066925"/>
                <a:gd name="connsiteX1032" fmla="*/ 219381 w 1682751"/>
                <a:gd name="connsiteY1032" fmla="*/ 557213 h 2066925"/>
                <a:gd name="connsiteX1033" fmla="*/ 210926 w 1682751"/>
                <a:gd name="connsiteY1033" fmla="*/ 541337 h 2066925"/>
                <a:gd name="connsiteX1034" fmla="*/ 204057 w 1682751"/>
                <a:gd name="connsiteY1034" fmla="*/ 524404 h 2066925"/>
                <a:gd name="connsiteX1035" fmla="*/ 196659 w 1682751"/>
                <a:gd name="connsiteY1035" fmla="*/ 506942 h 2066925"/>
                <a:gd name="connsiteX1036" fmla="*/ 190318 w 1682751"/>
                <a:gd name="connsiteY1036" fmla="*/ 489479 h 2066925"/>
                <a:gd name="connsiteX1037" fmla="*/ 184505 w 1682751"/>
                <a:gd name="connsiteY1037" fmla="*/ 471488 h 2066925"/>
                <a:gd name="connsiteX1038" fmla="*/ 179221 w 1682751"/>
                <a:gd name="connsiteY1038" fmla="*/ 453496 h 2066925"/>
                <a:gd name="connsiteX1039" fmla="*/ 173937 w 1682751"/>
                <a:gd name="connsiteY1039" fmla="*/ 434446 h 2066925"/>
                <a:gd name="connsiteX1040" fmla="*/ 169709 w 1682751"/>
                <a:gd name="connsiteY1040" fmla="*/ 415395 h 2066925"/>
                <a:gd name="connsiteX1041" fmla="*/ 166010 w 1682751"/>
                <a:gd name="connsiteY1041" fmla="*/ 396346 h 2066925"/>
                <a:gd name="connsiteX1042" fmla="*/ 162311 w 1682751"/>
                <a:gd name="connsiteY1042" fmla="*/ 376238 h 2066925"/>
                <a:gd name="connsiteX1043" fmla="*/ 160198 w 1682751"/>
                <a:gd name="connsiteY1043" fmla="*/ 355600 h 2066925"/>
                <a:gd name="connsiteX1044" fmla="*/ 158613 w 1682751"/>
                <a:gd name="connsiteY1044" fmla="*/ 337608 h 2066925"/>
                <a:gd name="connsiteX1045" fmla="*/ 157027 w 1682751"/>
                <a:gd name="connsiteY1045" fmla="*/ 320146 h 2066925"/>
                <a:gd name="connsiteX1046" fmla="*/ 156499 w 1682751"/>
                <a:gd name="connsiteY1046" fmla="*/ 301625 h 2066925"/>
                <a:gd name="connsiteX1047" fmla="*/ 156499 w 1682751"/>
                <a:gd name="connsiteY1047" fmla="*/ 284162 h 2066925"/>
                <a:gd name="connsiteX1048" fmla="*/ 156499 w 1682751"/>
                <a:gd name="connsiteY1048" fmla="*/ 265642 h 2066925"/>
                <a:gd name="connsiteX1049" fmla="*/ 157027 w 1682751"/>
                <a:gd name="connsiteY1049" fmla="*/ 249237 h 2066925"/>
                <a:gd name="connsiteX1050" fmla="*/ 158613 w 1682751"/>
                <a:gd name="connsiteY1050" fmla="*/ 231774 h 2066925"/>
                <a:gd name="connsiteX1051" fmla="*/ 160726 w 1682751"/>
                <a:gd name="connsiteY1051" fmla="*/ 214841 h 2066925"/>
                <a:gd name="connsiteX1052" fmla="*/ 163368 w 1682751"/>
                <a:gd name="connsiteY1052" fmla="*/ 197908 h 2066925"/>
                <a:gd name="connsiteX1053" fmla="*/ 165482 w 1682751"/>
                <a:gd name="connsiteY1053" fmla="*/ 181504 h 2066925"/>
                <a:gd name="connsiteX1054" fmla="*/ 169181 w 1682751"/>
                <a:gd name="connsiteY1054" fmla="*/ 165099 h 2066925"/>
                <a:gd name="connsiteX1055" fmla="*/ 172351 w 1682751"/>
                <a:gd name="connsiteY1055" fmla="*/ 149224 h 2066925"/>
                <a:gd name="connsiteX1056" fmla="*/ 176579 w 1682751"/>
                <a:gd name="connsiteY1056" fmla="*/ 133349 h 2066925"/>
                <a:gd name="connsiteX1057" fmla="*/ 181335 w 1682751"/>
                <a:gd name="connsiteY1057" fmla="*/ 118004 h 2066925"/>
                <a:gd name="connsiteX1058" fmla="*/ 186091 w 1682751"/>
                <a:gd name="connsiteY1058" fmla="*/ 103716 h 2066925"/>
                <a:gd name="connsiteX1059" fmla="*/ 191903 w 1682751"/>
                <a:gd name="connsiteY1059" fmla="*/ 88899 h 2066925"/>
                <a:gd name="connsiteX1060" fmla="*/ 185034 w 1682751"/>
                <a:gd name="connsiteY1060" fmla="*/ 104245 h 2066925"/>
                <a:gd name="connsiteX1061" fmla="*/ 179221 w 1682751"/>
                <a:gd name="connsiteY1061" fmla="*/ 120120 h 2066925"/>
                <a:gd name="connsiteX1062" fmla="*/ 172880 w 1682751"/>
                <a:gd name="connsiteY1062" fmla="*/ 136524 h 2066925"/>
                <a:gd name="connsiteX1063" fmla="*/ 167596 w 1682751"/>
                <a:gd name="connsiteY1063" fmla="*/ 152928 h 2066925"/>
                <a:gd name="connsiteX1064" fmla="*/ 163368 w 1682751"/>
                <a:gd name="connsiteY1064" fmla="*/ 170391 h 2066925"/>
                <a:gd name="connsiteX1065" fmla="*/ 159141 w 1682751"/>
                <a:gd name="connsiteY1065" fmla="*/ 188383 h 2066925"/>
                <a:gd name="connsiteX1066" fmla="*/ 155442 w 1682751"/>
                <a:gd name="connsiteY1066" fmla="*/ 205846 h 2066925"/>
                <a:gd name="connsiteX1067" fmla="*/ 152272 w 1682751"/>
                <a:gd name="connsiteY1067" fmla="*/ 223837 h 2066925"/>
                <a:gd name="connsiteX1068" fmla="*/ 150158 w 1682751"/>
                <a:gd name="connsiteY1068" fmla="*/ 242358 h 2066925"/>
                <a:gd name="connsiteX1069" fmla="*/ 148573 w 1682751"/>
                <a:gd name="connsiteY1069" fmla="*/ 261408 h 2066925"/>
                <a:gd name="connsiteX1070" fmla="*/ 146987 w 1682751"/>
                <a:gd name="connsiteY1070" fmla="*/ 280458 h 2066925"/>
                <a:gd name="connsiteX1071" fmla="*/ 146459 w 1682751"/>
                <a:gd name="connsiteY1071" fmla="*/ 299508 h 2066925"/>
                <a:gd name="connsiteX1072" fmla="*/ 146459 w 1682751"/>
                <a:gd name="connsiteY1072" fmla="*/ 319087 h 2066925"/>
                <a:gd name="connsiteX1073" fmla="*/ 146987 w 1682751"/>
                <a:gd name="connsiteY1073" fmla="*/ 339196 h 2066925"/>
                <a:gd name="connsiteX1074" fmla="*/ 148573 w 1682751"/>
                <a:gd name="connsiteY1074" fmla="*/ 358775 h 2066925"/>
                <a:gd name="connsiteX1075" fmla="*/ 150158 w 1682751"/>
                <a:gd name="connsiteY1075" fmla="*/ 379412 h 2066925"/>
                <a:gd name="connsiteX1076" fmla="*/ 152272 w 1682751"/>
                <a:gd name="connsiteY1076" fmla="*/ 396875 h 2066925"/>
                <a:gd name="connsiteX1077" fmla="*/ 155442 w 1682751"/>
                <a:gd name="connsiteY1077" fmla="*/ 415395 h 2066925"/>
                <a:gd name="connsiteX1078" fmla="*/ 158613 w 1682751"/>
                <a:gd name="connsiteY1078" fmla="*/ 432858 h 2066925"/>
                <a:gd name="connsiteX1079" fmla="*/ 162311 w 1682751"/>
                <a:gd name="connsiteY1079" fmla="*/ 449792 h 2066925"/>
                <a:gd name="connsiteX1080" fmla="*/ 167067 w 1682751"/>
                <a:gd name="connsiteY1080" fmla="*/ 466196 h 2066925"/>
                <a:gd name="connsiteX1081" fmla="*/ 171294 w 1682751"/>
                <a:gd name="connsiteY1081" fmla="*/ 483129 h 2066925"/>
                <a:gd name="connsiteX1082" fmla="*/ 176051 w 1682751"/>
                <a:gd name="connsiteY1082" fmla="*/ 499004 h 2066925"/>
                <a:gd name="connsiteX1083" fmla="*/ 181335 w 1682751"/>
                <a:gd name="connsiteY1083" fmla="*/ 515409 h 2066925"/>
                <a:gd name="connsiteX1084" fmla="*/ 187676 w 1682751"/>
                <a:gd name="connsiteY1084" fmla="*/ 531283 h 2066925"/>
                <a:gd name="connsiteX1085" fmla="*/ 193488 w 1682751"/>
                <a:gd name="connsiteY1085" fmla="*/ 546629 h 2066925"/>
                <a:gd name="connsiteX1086" fmla="*/ 200358 w 1682751"/>
                <a:gd name="connsiteY1086" fmla="*/ 560916 h 2066925"/>
                <a:gd name="connsiteX1087" fmla="*/ 207227 w 1682751"/>
                <a:gd name="connsiteY1087" fmla="*/ 575204 h 2066925"/>
                <a:gd name="connsiteX1088" fmla="*/ 214625 w 1682751"/>
                <a:gd name="connsiteY1088" fmla="*/ 590021 h 2066925"/>
                <a:gd name="connsiteX1089" fmla="*/ 222551 w 1682751"/>
                <a:gd name="connsiteY1089" fmla="*/ 603779 h 2066925"/>
                <a:gd name="connsiteX1090" fmla="*/ 229949 w 1682751"/>
                <a:gd name="connsiteY1090" fmla="*/ 616480 h 2066925"/>
                <a:gd name="connsiteX1091" fmla="*/ 238403 w 1682751"/>
                <a:gd name="connsiteY1091" fmla="*/ 629709 h 2066925"/>
                <a:gd name="connsiteX1092" fmla="*/ 231006 w 1682751"/>
                <a:gd name="connsiteY1092" fmla="*/ 628651 h 2066925"/>
                <a:gd name="connsiteX1093" fmla="*/ 222551 w 1682751"/>
                <a:gd name="connsiteY1093" fmla="*/ 627062 h 2066925"/>
                <a:gd name="connsiteX1094" fmla="*/ 214625 w 1682751"/>
                <a:gd name="connsiteY1094" fmla="*/ 625475 h 2066925"/>
                <a:gd name="connsiteX1095" fmla="*/ 206699 w 1682751"/>
                <a:gd name="connsiteY1095" fmla="*/ 623358 h 2066925"/>
                <a:gd name="connsiteX1096" fmla="*/ 191375 w 1682751"/>
                <a:gd name="connsiteY1096" fmla="*/ 618067 h 2066925"/>
                <a:gd name="connsiteX1097" fmla="*/ 176579 w 1682751"/>
                <a:gd name="connsiteY1097" fmla="*/ 611188 h 2066925"/>
                <a:gd name="connsiteX1098" fmla="*/ 162311 w 1682751"/>
                <a:gd name="connsiteY1098" fmla="*/ 602721 h 2066925"/>
                <a:gd name="connsiteX1099" fmla="*/ 149629 w 1682751"/>
                <a:gd name="connsiteY1099" fmla="*/ 593725 h 2066925"/>
                <a:gd name="connsiteX1100" fmla="*/ 136419 w 1682751"/>
                <a:gd name="connsiteY1100" fmla="*/ 583142 h 2066925"/>
                <a:gd name="connsiteX1101" fmla="*/ 124266 w 1682751"/>
                <a:gd name="connsiteY1101" fmla="*/ 571500 h 2066925"/>
                <a:gd name="connsiteX1102" fmla="*/ 113697 w 1682751"/>
                <a:gd name="connsiteY1102" fmla="*/ 558800 h 2066925"/>
                <a:gd name="connsiteX1103" fmla="*/ 103129 w 1682751"/>
                <a:gd name="connsiteY1103" fmla="*/ 543983 h 2066925"/>
                <a:gd name="connsiteX1104" fmla="*/ 93618 w 1682751"/>
                <a:gd name="connsiteY1104" fmla="*/ 529696 h 2066925"/>
                <a:gd name="connsiteX1105" fmla="*/ 86220 w 1682751"/>
                <a:gd name="connsiteY1105" fmla="*/ 513821 h 2066925"/>
                <a:gd name="connsiteX1106" fmla="*/ 79350 w 1682751"/>
                <a:gd name="connsiteY1106" fmla="*/ 496887 h 2066925"/>
                <a:gd name="connsiteX1107" fmla="*/ 73538 w 1682751"/>
                <a:gd name="connsiteY1107" fmla="*/ 479425 h 2066925"/>
                <a:gd name="connsiteX1108" fmla="*/ 69311 w 1682751"/>
                <a:gd name="connsiteY1108" fmla="*/ 460904 h 2066925"/>
                <a:gd name="connsiteX1109" fmla="*/ 66668 w 1682751"/>
                <a:gd name="connsiteY1109" fmla="*/ 442912 h 2066925"/>
                <a:gd name="connsiteX1110" fmla="*/ 63498 w 1682751"/>
                <a:gd name="connsiteY1110" fmla="*/ 415925 h 2066925"/>
                <a:gd name="connsiteX1111" fmla="*/ 61913 w 1682751"/>
                <a:gd name="connsiteY1111" fmla="*/ 389996 h 2066925"/>
                <a:gd name="connsiteX1112" fmla="*/ 61913 w 1682751"/>
                <a:gd name="connsiteY1112" fmla="*/ 365125 h 2066925"/>
                <a:gd name="connsiteX1113" fmla="*/ 63498 w 1682751"/>
                <a:gd name="connsiteY1113" fmla="*/ 340783 h 2066925"/>
                <a:gd name="connsiteX1114" fmla="*/ 65612 w 1682751"/>
                <a:gd name="connsiteY1114" fmla="*/ 316971 h 2066925"/>
                <a:gd name="connsiteX1115" fmla="*/ 68782 w 1682751"/>
                <a:gd name="connsiteY1115" fmla="*/ 294216 h 2066925"/>
                <a:gd name="connsiteX1116" fmla="*/ 73538 w 1682751"/>
                <a:gd name="connsiteY1116" fmla="*/ 272521 h 2066925"/>
                <a:gd name="connsiteX1117" fmla="*/ 78822 w 1682751"/>
                <a:gd name="connsiteY1117" fmla="*/ 251354 h 2066925"/>
                <a:gd name="connsiteX1118" fmla="*/ 84106 w 1682751"/>
                <a:gd name="connsiteY1118" fmla="*/ 231774 h 2066925"/>
                <a:gd name="connsiteX1119" fmla="*/ 90976 w 1682751"/>
                <a:gd name="connsiteY1119" fmla="*/ 211666 h 2066925"/>
                <a:gd name="connsiteX1120" fmla="*/ 97845 w 1682751"/>
                <a:gd name="connsiteY1120" fmla="*/ 193675 h 2066925"/>
                <a:gd name="connsiteX1121" fmla="*/ 105243 w 1682751"/>
                <a:gd name="connsiteY1121" fmla="*/ 175683 h 2066925"/>
                <a:gd name="connsiteX1122" fmla="*/ 113697 w 1682751"/>
                <a:gd name="connsiteY1122" fmla="*/ 158221 h 2066925"/>
                <a:gd name="connsiteX1123" fmla="*/ 122152 w 1682751"/>
                <a:gd name="connsiteY1123" fmla="*/ 142346 h 2066925"/>
                <a:gd name="connsiteX1124" fmla="*/ 131135 w 1682751"/>
                <a:gd name="connsiteY1124" fmla="*/ 127000 h 2066925"/>
                <a:gd name="connsiteX1125" fmla="*/ 139590 w 1682751"/>
                <a:gd name="connsiteY1125" fmla="*/ 112712 h 2066925"/>
                <a:gd name="connsiteX1126" fmla="*/ 148573 w 1682751"/>
                <a:gd name="connsiteY1126" fmla="*/ 98954 h 2066925"/>
                <a:gd name="connsiteX1127" fmla="*/ 157556 w 1682751"/>
                <a:gd name="connsiteY1127" fmla="*/ 86783 h 2066925"/>
                <a:gd name="connsiteX1128" fmla="*/ 167067 w 1682751"/>
                <a:gd name="connsiteY1128" fmla="*/ 74612 h 2066925"/>
                <a:gd name="connsiteX1129" fmla="*/ 176051 w 1682751"/>
                <a:gd name="connsiteY1129" fmla="*/ 64029 h 2066925"/>
                <a:gd name="connsiteX1130" fmla="*/ 192960 w 1682751"/>
                <a:gd name="connsiteY1130" fmla="*/ 43920 h 2066925"/>
                <a:gd name="connsiteX1131" fmla="*/ 207755 w 1682751"/>
                <a:gd name="connsiteY1131" fmla="*/ 28045 h 2066925"/>
                <a:gd name="connsiteX1132" fmla="*/ 231006 w 1682751"/>
                <a:gd name="connsiteY1132" fmla="*/ 6879 h 2066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Lst>
              <a:rect l="l" t="t" r="r" b="b"/>
              <a:pathLst>
                <a:path w="1682751" h="2066925">
                  <a:moveTo>
                    <a:pt x="1358372" y="1028700"/>
                  </a:moveTo>
                  <a:lnTo>
                    <a:pt x="1379009" y="1028700"/>
                  </a:lnTo>
                  <a:lnTo>
                    <a:pt x="1398589" y="1030293"/>
                  </a:lnTo>
                  <a:lnTo>
                    <a:pt x="1418697" y="1031886"/>
                  </a:lnTo>
                  <a:lnTo>
                    <a:pt x="1436689" y="1035073"/>
                  </a:lnTo>
                  <a:lnTo>
                    <a:pt x="1455209" y="1038790"/>
                  </a:lnTo>
                  <a:lnTo>
                    <a:pt x="1471613" y="1043039"/>
                  </a:lnTo>
                  <a:lnTo>
                    <a:pt x="1488547" y="1048880"/>
                  </a:lnTo>
                  <a:lnTo>
                    <a:pt x="1504422" y="1054191"/>
                  </a:lnTo>
                  <a:lnTo>
                    <a:pt x="1519768" y="1060032"/>
                  </a:lnTo>
                  <a:lnTo>
                    <a:pt x="1534584" y="1066936"/>
                  </a:lnTo>
                  <a:lnTo>
                    <a:pt x="1547813" y="1073840"/>
                  </a:lnTo>
                  <a:lnTo>
                    <a:pt x="1561572" y="1080744"/>
                  </a:lnTo>
                  <a:lnTo>
                    <a:pt x="1573743" y="1088179"/>
                  </a:lnTo>
                  <a:lnTo>
                    <a:pt x="1585384" y="1096145"/>
                  </a:lnTo>
                  <a:lnTo>
                    <a:pt x="1597026" y="1104642"/>
                  </a:lnTo>
                  <a:lnTo>
                    <a:pt x="1616605" y="1120042"/>
                  </a:lnTo>
                  <a:lnTo>
                    <a:pt x="1634068" y="1134912"/>
                  </a:lnTo>
                  <a:lnTo>
                    <a:pt x="1649413" y="1149782"/>
                  </a:lnTo>
                  <a:lnTo>
                    <a:pt x="1661584" y="1162527"/>
                  </a:lnTo>
                  <a:lnTo>
                    <a:pt x="1677459" y="1182708"/>
                  </a:lnTo>
                  <a:lnTo>
                    <a:pt x="1682751" y="1190142"/>
                  </a:lnTo>
                  <a:lnTo>
                    <a:pt x="1673226" y="1186425"/>
                  </a:lnTo>
                  <a:lnTo>
                    <a:pt x="1663172" y="1184301"/>
                  </a:lnTo>
                  <a:lnTo>
                    <a:pt x="1653118" y="1182708"/>
                  </a:lnTo>
                  <a:lnTo>
                    <a:pt x="1643063" y="1182708"/>
                  </a:lnTo>
                  <a:lnTo>
                    <a:pt x="1633539" y="1183239"/>
                  </a:lnTo>
                  <a:lnTo>
                    <a:pt x="1624013" y="1184832"/>
                  </a:lnTo>
                  <a:lnTo>
                    <a:pt x="1614489" y="1188018"/>
                  </a:lnTo>
                  <a:lnTo>
                    <a:pt x="1604434" y="1191204"/>
                  </a:lnTo>
                  <a:lnTo>
                    <a:pt x="1594380" y="1194922"/>
                  </a:lnTo>
                  <a:lnTo>
                    <a:pt x="1584855" y="1200233"/>
                  </a:lnTo>
                  <a:lnTo>
                    <a:pt x="1574801" y="1204481"/>
                  </a:lnTo>
                  <a:lnTo>
                    <a:pt x="1564747" y="1210854"/>
                  </a:lnTo>
                  <a:lnTo>
                    <a:pt x="1545168" y="1223599"/>
                  </a:lnTo>
                  <a:lnTo>
                    <a:pt x="1525059" y="1237407"/>
                  </a:lnTo>
                  <a:lnTo>
                    <a:pt x="1504422" y="1252276"/>
                  </a:lnTo>
                  <a:lnTo>
                    <a:pt x="1483784" y="1266615"/>
                  </a:lnTo>
                  <a:lnTo>
                    <a:pt x="1462618" y="1281485"/>
                  </a:lnTo>
                  <a:lnTo>
                    <a:pt x="1441980" y="1294230"/>
                  </a:lnTo>
                  <a:lnTo>
                    <a:pt x="1430868" y="1300603"/>
                  </a:lnTo>
                  <a:lnTo>
                    <a:pt x="1420284" y="1305914"/>
                  </a:lnTo>
                  <a:lnTo>
                    <a:pt x="1409172" y="1310162"/>
                  </a:lnTo>
                  <a:lnTo>
                    <a:pt x="1398059" y="1314942"/>
                  </a:lnTo>
                  <a:lnTo>
                    <a:pt x="1386418" y="1318659"/>
                  </a:lnTo>
                  <a:lnTo>
                    <a:pt x="1375834" y="1321845"/>
                  </a:lnTo>
                  <a:lnTo>
                    <a:pt x="1364193" y="1323970"/>
                  </a:lnTo>
                  <a:lnTo>
                    <a:pt x="1352022" y="1325032"/>
                  </a:lnTo>
                  <a:lnTo>
                    <a:pt x="1344084" y="1325563"/>
                  </a:lnTo>
                  <a:lnTo>
                    <a:pt x="1335618" y="1325563"/>
                  </a:lnTo>
                  <a:lnTo>
                    <a:pt x="1327151" y="1325032"/>
                  </a:lnTo>
                  <a:lnTo>
                    <a:pt x="1318684" y="1323970"/>
                  </a:lnTo>
                  <a:lnTo>
                    <a:pt x="1302809" y="1321845"/>
                  </a:lnTo>
                  <a:lnTo>
                    <a:pt x="1286934" y="1317066"/>
                  </a:lnTo>
                  <a:lnTo>
                    <a:pt x="1272118" y="1311755"/>
                  </a:lnTo>
                  <a:lnTo>
                    <a:pt x="1257830" y="1304851"/>
                  </a:lnTo>
                  <a:lnTo>
                    <a:pt x="1244601" y="1297417"/>
                  </a:lnTo>
                  <a:lnTo>
                    <a:pt x="1231901" y="1287858"/>
                  </a:lnTo>
                  <a:lnTo>
                    <a:pt x="1220259" y="1278298"/>
                  </a:lnTo>
                  <a:lnTo>
                    <a:pt x="1210734" y="1267677"/>
                  </a:lnTo>
                  <a:lnTo>
                    <a:pt x="1201209" y="1255994"/>
                  </a:lnTo>
                  <a:lnTo>
                    <a:pt x="1193801" y="1242717"/>
                  </a:lnTo>
                  <a:lnTo>
                    <a:pt x="1190626" y="1236876"/>
                  </a:lnTo>
                  <a:lnTo>
                    <a:pt x="1187451" y="1229972"/>
                  </a:lnTo>
                  <a:lnTo>
                    <a:pt x="1184805" y="1223068"/>
                  </a:lnTo>
                  <a:lnTo>
                    <a:pt x="1182159" y="1216164"/>
                  </a:lnTo>
                  <a:lnTo>
                    <a:pt x="1180572" y="1208729"/>
                  </a:lnTo>
                  <a:lnTo>
                    <a:pt x="1178984" y="1201826"/>
                  </a:lnTo>
                  <a:lnTo>
                    <a:pt x="1178455" y="1193860"/>
                  </a:lnTo>
                  <a:lnTo>
                    <a:pt x="1177926" y="1186425"/>
                  </a:lnTo>
                  <a:lnTo>
                    <a:pt x="1177926" y="1183239"/>
                  </a:lnTo>
                  <a:lnTo>
                    <a:pt x="1177926" y="1180052"/>
                  </a:lnTo>
                  <a:lnTo>
                    <a:pt x="1188509" y="1173148"/>
                  </a:lnTo>
                  <a:lnTo>
                    <a:pt x="1200680" y="1166245"/>
                  </a:lnTo>
                  <a:lnTo>
                    <a:pt x="1212851" y="1159341"/>
                  </a:lnTo>
                  <a:lnTo>
                    <a:pt x="1225022" y="1153499"/>
                  </a:lnTo>
                  <a:lnTo>
                    <a:pt x="1237722" y="1147126"/>
                  </a:lnTo>
                  <a:lnTo>
                    <a:pt x="1251480" y="1141285"/>
                  </a:lnTo>
                  <a:lnTo>
                    <a:pt x="1265239" y="1136505"/>
                  </a:lnTo>
                  <a:lnTo>
                    <a:pt x="1278997" y="1131195"/>
                  </a:lnTo>
                  <a:lnTo>
                    <a:pt x="1293284" y="1127477"/>
                  </a:lnTo>
                  <a:lnTo>
                    <a:pt x="1308101" y="1122698"/>
                  </a:lnTo>
                  <a:lnTo>
                    <a:pt x="1322389" y="1120042"/>
                  </a:lnTo>
                  <a:lnTo>
                    <a:pt x="1337734" y="1116856"/>
                  </a:lnTo>
                  <a:lnTo>
                    <a:pt x="1353609" y="1113670"/>
                  </a:lnTo>
                  <a:lnTo>
                    <a:pt x="1368955" y="1112076"/>
                  </a:lnTo>
                  <a:lnTo>
                    <a:pt x="1384830" y="1109952"/>
                  </a:lnTo>
                  <a:lnTo>
                    <a:pt x="1401234" y="1108890"/>
                  </a:lnTo>
                  <a:lnTo>
                    <a:pt x="1416051" y="1108359"/>
                  </a:lnTo>
                  <a:lnTo>
                    <a:pt x="1430868" y="1108359"/>
                  </a:lnTo>
                  <a:lnTo>
                    <a:pt x="1445155" y="1108359"/>
                  </a:lnTo>
                  <a:lnTo>
                    <a:pt x="1458913" y="1108890"/>
                  </a:lnTo>
                  <a:lnTo>
                    <a:pt x="1473201" y="1110483"/>
                  </a:lnTo>
                  <a:lnTo>
                    <a:pt x="1486959" y="1112076"/>
                  </a:lnTo>
                  <a:lnTo>
                    <a:pt x="1500718" y="1113670"/>
                  </a:lnTo>
                  <a:lnTo>
                    <a:pt x="1514476" y="1115794"/>
                  </a:lnTo>
                  <a:lnTo>
                    <a:pt x="1527705" y="1118980"/>
                  </a:lnTo>
                  <a:lnTo>
                    <a:pt x="1540405" y="1122167"/>
                  </a:lnTo>
                  <a:lnTo>
                    <a:pt x="1553634" y="1125353"/>
                  </a:lnTo>
                  <a:lnTo>
                    <a:pt x="1566334" y="1129070"/>
                  </a:lnTo>
                  <a:lnTo>
                    <a:pt x="1578505" y="1132788"/>
                  </a:lnTo>
                  <a:lnTo>
                    <a:pt x="1590676" y="1137567"/>
                  </a:lnTo>
                  <a:lnTo>
                    <a:pt x="1602318" y="1141816"/>
                  </a:lnTo>
                  <a:lnTo>
                    <a:pt x="1613430" y="1147126"/>
                  </a:lnTo>
                  <a:lnTo>
                    <a:pt x="1601259" y="1141285"/>
                  </a:lnTo>
                  <a:lnTo>
                    <a:pt x="1589089" y="1134912"/>
                  </a:lnTo>
                  <a:lnTo>
                    <a:pt x="1576389" y="1129601"/>
                  </a:lnTo>
                  <a:lnTo>
                    <a:pt x="1563159" y="1125353"/>
                  </a:lnTo>
                  <a:lnTo>
                    <a:pt x="1549401" y="1120573"/>
                  </a:lnTo>
                  <a:lnTo>
                    <a:pt x="1535643" y="1115794"/>
                  </a:lnTo>
                  <a:lnTo>
                    <a:pt x="1521884" y="1113139"/>
                  </a:lnTo>
                  <a:lnTo>
                    <a:pt x="1507597" y="1108890"/>
                  </a:lnTo>
                  <a:lnTo>
                    <a:pt x="1492251" y="1106766"/>
                  </a:lnTo>
                  <a:lnTo>
                    <a:pt x="1477963" y="1104642"/>
                  </a:lnTo>
                  <a:lnTo>
                    <a:pt x="1462618" y="1101986"/>
                  </a:lnTo>
                  <a:lnTo>
                    <a:pt x="1446743" y="1100924"/>
                  </a:lnTo>
                  <a:lnTo>
                    <a:pt x="1431397" y="1099862"/>
                  </a:lnTo>
                  <a:lnTo>
                    <a:pt x="1415522" y="1099862"/>
                  </a:lnTo>
                  <a:lnTo>
                    <a:pt x="1399647" y="1099862"/>
                  </a:lnTo>
                  <a:lnTo>
                    <a:pt x="1382713" y="1100924"/>
                  </a:lnTo>
                  <a:lnTo>
                    <a:pt x="1368426" y="1101455"/>
                  </a:lnTo>
                  <a:lnTo>
                    <a:pt x="1354668" y="1103048"/>
                  </a:lnTo>
                  <a:lnTo>
                    <a:pt x="1339851" y="1104642"/>
                  </a:lnTo>
                  <a:lnTo>
                    <a:pt x="1326093" y="1106766"/>
                  </a:lnTo>
                  <a:lnTo>
                    <a:pt x="1312334" y="1108890"/>
                  </a:lnTo>
                  <a:lnTo>
                    <a:pt x="1299105" y="1112076"/>
                  </a:lnTo>
                  <a:lnTo>
                    <a:pt x="1285876" y="1115263"/>
                  </a:lnTo>
                  <a:lnTo>
                    <a:pt x="1273176" y="1118980"/>
                  </a:lnTo>
                  <a:lnTo>
                    <a:pt x="1259947" y="1122698"/>
                  </a:lnTo>
                  <a:lnTo>
                    <a:pt x="1247776" y="1127477"/>
                  </a:lnTo>
                  <a:lnTo>
                    <a:pt x="1235605" y="1132257"/>
                  </a:lnTo>
                  <a:lnTo>
                    <a:pt x="1223434" y="1136505"/>
                  </a:lnTo>
                  <a:lnTo>
                    <a:pt x="1211793" y="1141816"/>
                  </a:lnTo>
                  <a:lnTo>
                    <a:pt x="1200680" y="1147126"/>
                  </a:lnTo>
                  <a:lnTo>
                    <a:pt x="1190097" y="1153499"/>
                  </a:lnTo>
                  <a:lnTo>
                    <a:pt x="1178455" y="1159341"/>
                  </a:lnTo>
                  <a:lnTo>
                    <a:pt x="1181630" y="1146595"/>
                  </a:lnTo>
                  <a:lnTo>
                    <a:pt x="1185334" y="1134381"/>
                  </a:lnTo>
                  <a:lnTo>
                    <a:pt x="1190626" y="1122167"/>
                  </a:lnTo>
                  <a:lnTo>
                    <a:pt x="1196976" y="1110483"/>
                  </a:lnTo>
                  <a:lnTo>
                    <a:pt x="1203855" y="1099862"/>
                  </a:lnTo>
                  <a:lnTo>
                    <a:pt x="1211793" y="1089241"/>
                  </a:lnTo>
                  <a:lnTo>
                    <a:pt x="1221318" y="1079151"/>
                  </a:lnTo>
                  <a:lnTo>
                    <a:pt x="1230843" y="1070123"/>
                  </a:lnTo>
                  <a:lnTo>
                    <a:pt x="1241955" y="1062157"/>
                  </a:lnTo>
                  <a:lnTo>
                    <a:pt x="1254126" y="1054722"/>
                  </a:lnTo>
                  <a:lnTo>
                    <a:pt x="1266297" y="1047818"/>
                  </a:lnTo>
                  <a:lnTo>
                    <a:pt x="1278997" y="1042507"/>
                  </a:lnTo>
                  <a:lnTo>
                    <a:pt x="1292755" y="1037197"/>
                  </a:lnTo>
                  <a:lnTo>
                    <a:pt x="1307043" y="1034010"/>
                  </a:lnTo>
                  <a:lnTo>
                    <a:pt x="1321859" y="1030825"/>
                  </a:lnTo>
                  <a:lnTo>
                    <a:pt x="1337205" y="1029762"/>
                  </a:lnTo>
                  <a:close/>
                  <a:moveTo>
                    <a:pt x="841375" y="790574"/>
                  </a:moveTo>
                  <a:lnTo>
                    <a:pt x="849297" y="790574"/>
                  </a:lnTo>
                  <a:lnTo>
                    <a:pt x="868309" y="792692"/>
                  </a:lnTo>
                  <a:lnTo>
                    <a:pt x="881513" y="794808"/>
                  </a:lnTo>
                  <a:lnTo>
                    <a:pt x="897884" y="797983"/>
                  </a:lnTo>
                  <a:lnTo>
                    <a:pt x="914256" y="802745"/>
                  </a:lnTo>
                  <a:lnTo>
                    <a:pt x="933269" y="808566"/>
                  </a:lnTo>
                  <a:lnTo>
                    <a:pt x="953338" y="817032"/>
                  </a:lnTo>
                  <a:lnTo>
                    <a:pt x="973935" y="826029"/>
                  </a:lnTo>
                  <a:lnTo>
                    <a:pt x="983441" y="832378"/>
                  </a:lnTo>
                  <a:lnTo>
                    <a:pt x="994532" y="838199"/>
                  </a:lnTo>
                  <a:lnTo>
                    <a:pt x="1005094" y="845079"/>
                  </a:lnTo>
                  <a:lnTo>
                    <a:pt x="1014600" y="851957"/>
                  </a:lnTo>
                  <a:lnTo>
                    <a:pt x="1025691" y="860425"/>
                  </a:lnTo>
                  <a:lnTo>
                    <a:pt x="1035197" y="868891"/>
                  </a:lnTo>
                  <a:lnTo>
                    <a:pt x="1045232" y="877887"/>
                  </a:lnTo>
                  <a:lnTo>
                    <a:pt x="1055266" y="887942"/>
                  </a:lnTo>
                  <a:lnTo>
                    <a:pt x="1064244" y="898524"/>
                  </a:lnTo>
                  <a:lnTo>
                    <a:pt x="1073222" y="910166"/>
                  </a:lnTo>
                  <a:lnTo>
                    <a:pt x="1082729" y="922867"/>
                  </a:lnTo>
                  <a:lnTo>
                    <a:pt x="1090650" y="936096"/>
                  </a:lnTo>
                  <a:lnTo>
                    <a:pt x="1096460" y="945091"/>
                  </a:lnTo>
                  <a:lnTo>
                    <a:pt x="1100685" y="955145"/>
                  </a:lnTo>
                  <a:lnTo>
                    <a:pt x="1104382" y="965199"/>
                  </a:lnTo>
                  <a:lnTo>
                    <a:pt x="1107022" y="974725"/>
                  </a:lnTo>
                  <a:lnTo>
                    <a:pt x="1108607" y="984779"/>
                  </a:lnTo>
                  <a:lnTo>
                    <a:pt x="1109663" y="994832"/>
                  </a:lnTo>
                  <a:lnTo>
                    <a:pt x="1109663" y="1004887"/>
                  </a:lnTo>
                  <a:lnTo>
                    <a:pt x="1109135" y="1013882"/>
                  </a:lnTo>
                  <a:lnTo>
                    <a:pt x="1107550" y="1023936"/>
                  </a:lnTo>
                  <a:lnTo>
                    <a:pt x="1104382" y="1032933"/>
                  </a:lnTo>
                  <a:lnTo>
                    <a:pt x="1101741" y="1041399"/>
                  </a:lnTo>
                  <a:lnTo>
                    <a:pt x="1097516" y="1049866"/>
                  </a:lnTo>
                  <a:lnTo>
                    <a:pt x="1092235" y="1057803"/>
                  </a:lnTo>
                  <a:lnTo>
                    <a:pt x="1086954" y="1065741"/>
                  </a:lnTo>
                  <a:lnTo>
                    <a:pt x="1080088" y="1072620"/>
                  </a:lnTo>
                  <a:lnTo>
                    <a:pt x="1073222" y="1078441"/>
                  </a:lnTo>
                  <a:lnTo>
                    <a:pt x="1071638" y="1060978"/>
                  </a:lnTo>
                  <a:lnTo>
                    <a:pt x="1068997" y="1043516"/>
                  </a:lnTo>
                  <a:lnTo>
                    <a:pt x="1064772" y="1026053"/>
                  </a:lnTo>
                  <a:lnTo>
                    <a:pt x="1059491" y="1007533"/>
                  </a:lnTo>
                  <a:lnTo>
                    <a:pt x="1053682" y="989542"/>
                  </a:lnTo>
                  <a:lnTo>
                    <a:pt x="1045232" y="971021"/>
                  </a:lnTo>
                  <a:lnTo>
                    <a:pt x="1036253" y="953029"/>
                  </a:lnTo>
                  <a:lnTo>
                    <a:pt x="1025691" y="934507"/>
                  </a:lnTo>
                  <a:lnTo>
                    <a:pt x="1019353" y="924454"/>
                  </a:lnTo>
                  <a:lnTo>
                    <a:pt x="1012488" y="915457"/>
                  </a:lnTo>
                  <a:lnTo>
                    <a:pt x="1005622" y="906462"/>
                  </a:lnTo>
                  <a:lnTo>
                    <a:pt x="998228" y="896936"/>
                  </a:lnTo>
                  <a:lnTo>
                    <a:pt x="983441" y="879474"/>
                  </a:lnTo>
                  <a:lnTo>
                    <a:pt x="967597" y="864128"/>
                  </a:lnTo>
                  <a:lnTo>
                    <a:pt x="950697" y="849841"/>
                  </a:lnTo>
                  <a:lnTo>
                    <a:pt x="934325" y="837141"/>
                  </a:lnTo>
                  <a:lnTo>
                    <a:pt x="916897" y="825500"/>
                  </a:lnTo>
                  <a:lnTo>
                    <a:pt x="898413" y="814916"/>
                  </a:lnTo>
                  <a:lnTo>
                    <a:pt x="914256" y="825500"/>
                  </a:lnTo>
                  <a:lnTo>
                    <a:pt x="930628" y="837141"/>
                  </a:lnTo>
                  <a:lnTo>
                    <a:pt x="945416" y="849311"/>
                  </a:lnTo>
                  <a:lnTo>
                    <a:pt x="960203" y="863070"/>
                  </a:lnTo>
                  <a:lnTo>
                    <a:pt x="974463" y="877358"/>
                  </a:lnTo>
                  <a:lnTo>
                    <a:pt x="987666" y="892704"/>
                  </a:lnTo>
                  <a:lnTo>
                    <a:pt x="1000341" y="909108"/>
                  </a:lnTo>
                  <a:lnTo>
                    <a:pt x="1012488" y="927628"/>
                  </a:lnTo>
                  <a:lnTo>
                    <a:pt x="1018825" y="937683"/>
                  </a:lnTo>
                  <a:lnTo>
                    <a:pt x="1024107" y="947207"/>
                  </a:lnTo>
                  <a:lnTo>
                    <a:pt x="1029388" y="957262"/>
                  </a:lnTo>
                  <a:lnTo>
                    <a:pt x="1033613" y="967845"/>
                  </a:lnTo>
                  <a:lnTo>
                    <a:pt x="1042063" y="987954"/>
                  </a:lnTo>
                  <a:lnTo>
                    <a:pt x="1048929" y="1008591"/>
                  </a:lnTo>
                  <a:lnTo>
                    <a:pt x="1054210" y="1029228"/>
                  </a:lnTo>
                  <a:lnTo>
                    <a:pt x="1058435" y="1048807"/>
                  </a:lnTo>
                  <a:lnTo>
                    <a:pt x="1058963" y="1058861"/>
                  </a:lnTo>
                  <a:lnTo>
                    <a:pt x="1059491" y="1068916"/>
                  </a:lnTo>
                  <a:lnTo>
                    <a:pt x="1060547" y="1077911"/>
                  </a:lnTo>
                  <a:lnTo>
                    <a:pt x="1060547" y="1087966"/>
                  </a:lnTo>
                  <a:lnTo>
                    <a:pt x="1058435" y="1088495"/>
                  </a:lnTo>
                  <a:lnTo>
                    <a:pt x="1056850" y="1090082"/>
                  </a:lnTo>
                  <a:lnTo>
                    <a:pt x="1045760" y="1094845"/>
                  </a:lnTo>
                  <a:lnTo>
                    <a:pt x="1035197" y="1097491"/>
                  </a:lnTo>
                  <a:lnTo>
                    <a:pt x="1024107" y="1100136"/>
                  </a:lnTo>
                  <a:lnTo>
                    <a:pt x="1012488" y="1101724"/>
                  </a:lnTo>
                  <a:lnTo>
                    <a:pt x="1001397" y="1101724"/>
                  </a:lnTo>
                  <a:lnTo>
                    <a:pt x="989778" y="1100666"/>
                  </a:lnTo>
                  <a:lnTo>
                    <a:pt x="978160" y="1098549"/>
                  </a:lnTo>
                  <a:lnTo>
                    <a:pt x="967597" y="1095374"/>
                  </a:lnTo>
                  <a:lnTo>
                    <a:pt x="956506" y="1091670"/>
                  </a:lnTo>
                  <a:lnTo>
                    <a:pt x="945416" y="1086907"/>
                  </a:lnTo>
                  <a:lnTo>
                    <a:pt x="935910" y="1081086"/>
                  </a:lnTo>
                  <a:lnTo>
                    <a:pt x="925875" y="1074207"/>
                  </a:lnTo>
                  <a:lnTo>
                    <a:pt x="916897" y="1066270"/>
                  </a:lnTo>
                  <a:lnTo>
                    <a:pt x="907391" y="1057274"/>
                  </a:lnTo>
                  <a:lnTo>
                    <a:pt x="899997" y="1048278"/>
                  </a:lnTo>
                  <a:lnTo>
                    <a:pt x="893131" y="1037166"/>
                  </a:lnTo>
                  <a:lnTo>
                    <a:pt x="889434" y="1030816"/>
                  </a:lnTo>
                  <a:lnTo>
                    <a:pt x="885738" y="1022879"/>
                  </a:lnTo>
                  <a:lnTo>
                    <a:pt x="882569" y="1014411"/>
                  </a:lnTo>
                  <a:lnTo>
                    <a:pt x="880456" y="1007004"/>
                  </a:lnTo>
                  <a:lnTo>
                    <a:pt x="878872" y="998536"/>
                  </a:lnTo>
                  <a:lnTo>
                    <a:pt x="877288" y="990070"/>
                  </a:lnTo>
                  <a:lnTo>
                    <a:pt x="876231" y="981603"/>
                  </a:lnTo>
                  <a:lnTo>
                    <a:pt x="875703" y="972608"/>
                  </a:lnTo>
                  <a:lnTo>
                    <a:pt x="874647" y="955145"/>
                  </a:lnTo>
                  <a:lnTo>
                    <a:pt x="875703" y="937683"/>
                  </a:lnTo>
                  <a:lnTo>
                    <a:pt x="876231" y="920220"/>
                  </a:lnTo>
                  <a:lnTo>
                    <a:pt x="877288" y="901699"/>
                  </a:lnTo>
                  <a:lnTo>
                    <a:pt x="877816" y="884766"/>
                  </a:lnTo>
                  <a:lnTo>
                    <a:pt x="877816" y="868361"/>
                  </a:lnTo>
                  <a:lnTo>
                    <a:pt x="877288" y="859895"/>
                  </a:lnTo>
                  <a:lnTo>
                    <a:pt x="876231" y="851957"/>
                  </a:lnTo>
                  <a:lnTo>
                    <a:pt x="875703" y="844550"/>
                  </a:lnTo>
                  <a:lnTo>
                    <a:pt x="874119" y="837141"/>
                  </a:lnTo>
                  <a:lnTo>
                    <a:pt x="872006" y="830262"/>
                  </a:lnTo>
                  <a:lnTo>
                    <a:pt x="869366" y="823382"/>
                  </a:lnTo>
                  <a:lnTo>
                    <a:pt x="866725" y="817032"/>
                  </a:lnTo>
                  <a:lnTo>
                    <a:pt x="862500" y="811212"/>
                  </a:lnTo>
                  <a:lnTo>
                    <a:pt x="858803" y="804861"/>
                  </a:lnTo>
                  <a:lnTo>
                    <a:pt x="853522" y="799570"/>
                  </a:lnTo>
                  <a:lnTo>
                    <a:pt x="848241" y="794808"/>
                  </a:lnTo>
                  <a:close/>
                  <a:moveTo>
                    <a:pt x="60232" y="714376"/>
                  </a:moveTo>
                  <a:lnTo>
                    <a:pt x="79253" y="714376"/>
                  </a:lnTo>
                  <a:lnTo>
                    <a:pt x="100387" y="715958"/>
                  </a:lnTo>
                  <a:lnTo>
                    <a:pt x="110954" y="717013"/>
                  </a:lnTo>
                  <a:lnTo>
                    <a:pt x="123107" y="719649"/>
                  </a:lnTo>
                  <a:lnTo>
                    <a:pt x="134730" y="721760"/>
                  </a:lnTo>
                  <a:lnTo>
                    <a:pt x="146883" y="724923"/>
                  </a:lnTo>
                  <a:lnTo>
                    <a:pt x="159035" y="728089"/>
                  </a:lnTo>
                  <a:lnTo>
                    <a:pt x="171715" y="731780"/>
                  </a:lnTo>
                  <a:lnTo>
                    <a:pt x="184925" y="737055"/>
                  </a:lnTo>
                  <a:lnTo>
                    <a:pt x="197605" y="742329"/>
                  </a:lnTo>
                  <a:lnTo>
                    <a:pt x="210814" y="748130"/>
                  </a:lnTo>
                  <a:lnTo>
                    <a:pt x="223495" y="754986"/>
                  </a:lnTo>
                  <a:lnTo>
                    <a:pt x="236704" y="762898"/>
                  </a:lnTo>
                  <a:lnTo>
                    <a:pt x="249384" y="771864"/>
                  </a:lnTo>
                  <a:lnTo>
                    <a:pt x="262593" y="780830"/>
                  </a:lnTo>
                  <a:lnTo>
                    <a:pt x="275274" y="791905"/>
                  </a:lnTo>
                  <a:lnTo>
                    <a:pt x="288483" y="802980"/>
                  </a:lnTo>
                  <a:lnTo>
                    <a:pt x="301163" y="815111"/>
                  </a:lnTo>
                  <a:lnTo>
                    <a:pt x="309617" y="825132"/>
                  </a:lnTo>
                  <a:lnTo>
                    <a:pt x="317014" y="835151"/>
                  </a:lnTo>
                  <a:lnTo>
                    <a:pt x="323354" y="844645"/>
                  </a:lnTo>
                  <a:lnTo>
                    <a:pt x="329166" y="855720"/>
                  </a:lnTo>
                  <a:lnTo>
                    <a:pt x="333921" y="866270"/>
                  </a:lnTo>
                  <a:lnTo>
                    <a:pt x="337620" y="877345"/>
                  </a:lnTo>
                  <a:lnTo>
                    <a:pt x="340790" y="888420"/>
                  </a:lnTo>
                  <a:lnTo>
                    <a:pt x="342903" y="899495"/>
                  </a:lnTo>
                  <a:lnTo>
                    <a:pt x="344488" y="910044"/>
                  </a:lnTo>
                  <a:lnTo>
                    <a:pt x="344488" y="921648"/>
                  </a:lnTo>
                  <a:lnTo>
                    <a:pt x="343960" y="932196"/>
                  </a:lnTo>
                  <a:lnTo>
                    <a:pt x="342375" y="942743"/>
                  </a:lnTo>
                  <a:lnTo>
                    <a:pt x="339205" y="953292"/>
                  </a:lnTo>
                  <a:lnTo>
                    <a:pt x="335506" y="964368"/>
                  </a:lnTo>
                  <a:lnTo>
                    <a:pt x="330751" y="973333"/>
                  </a:lnTo>
                  <a:lnTo>
                    <a:pt x="325467" y="983355"/>
                  </a:lnTo>
                  <a:lnTo>
                    <a:pt x="318599" y="963312"/>
                  </a:lnTo>
                  <a:lnTo>
                    <a:pt x="311202" y="944326"/>
                  </a:lnTo>
                  <a:lnTo>
                    <a:pt x="301163" y="924811"/>
                  </a:lnTo>
                  <a:lnTo>
                    <a:pt x="290596" y="905824"/>
                  </a:lnTo>
                  <a:lnTo>
                    <a:pt x="278444" y="886839"/>
                  </a:lnTo>
                  <a:lnTo>
                    <a:pt x="264707" y="868380"/>
                  </a:lnTo>
                  <a:lnTo>
                    <a:pt x="249384" y="850447"/>
                  </a:lnTo>
                  <a:lnTo>
                    <a:pt x="233534" y="832514"/>
                  </a:lnTo>
                  <a:lnTo>
                    <a:pt x="223495" y="823548"/>
                  </a:lnTo>
                  <a:lnTo>
                    <a:pt x="213984" y="814583"/>
                  </a:lnTo>
                  <a:lnTo>
                    <a:pt x="203946" y="805617"/>
                  </a:lnTo>
                  <a:lnTo>
                    <a:pt x="193907" y="797705"/>
                  </a:lnTo>
                  <a:lnTo>
                    <a:pt x="183340" y="789267"/>
                  </a:lnTo>
                  <a:lnTo>
                    <a:pt x="173301" y="782411"/>
                  </a:lnTo>
                  <a:lnTo>
                    <a:pt x="162733" y="775555"/>
                  </a:lnTo>
                  <a:lnTo>
                    <a:pt x="152166" y="768698"/>
                  </a:lnTo>
                  <a:lnTo>
                    <a:pt x="141599" y="762898"/>
                  </a:lnTo>
                  <a:lnTo>
                    <a:pt x="131032" y="757623"/>
                  </a:lnTo>
                  <a:lnTo>
                    <a:pt x="119937" y="752348"/>
                  </a:lnTo>
                  <a:lnTo>
                    <a:pt x="109369" y="747602"/>
                  </a:lnTo>
                  <a:lnTo>
                    <a:pt x="98274" y="742855"/>
                  </a:lnTo>
                  <a:lnTo>
                    <a:pt x="87707" y="739164"/>
                  </a:lnTo>
                  <a:lnTo>
                    <a:pt x="76611" y="735472"/>
                  </a:lnTo>
                  <a:lnTo>
                    <a:pt x="66044" y="732308"/>
                  </a:lnTo>
                  <a:lnTo>
                    <a:pt x="86122" y="740219"/>
                  </a:lnTo>
                  <a:lnTo>
                    <a:pt x="105143" y="748130"/>
                  </a:lnTo>
                  <a:lnTo>
                    <a:pt x="124692" y="758151"/>
                  </a:lnTo>
                  <a:lnTo>
                    <a:pt x="143713" y="768698"/>
                  </a:lnTo>
                  <a:lnTo>
                    <a:pt x="162733" y="781883"/>
                  </a:lnTo>
                  <a:lnTo>
                    <a:pt x="181755" y="796123"/>
                  </a:lnTo>
                  <a:lnTo>
                    <a:pt x="200247" y="811419"/>
                  </a:lnTo>
                  <a:lnTo>
                    <a:pt x="217683" y="828295"/>
                  </a:lnTo>
                  <a:lnTo>
                    <a:pt x="226665" y="837789"/>
                  </a:lnTo>
                  <a:lnTo>
                    <a:pt x="235119" y="847811"/>
                  </a:lnTo>
                  <a:lnTo>
                    <a:pt x="243572" y="857830"/>
                  </a:lnTo>
                  <a:lnTo>
                    <a:pt x="252026" y="867852"/>
                  </a:lnTo>
                  <a:lnTo>
                    <a:pt x="259423" y="878399"/>
                  </a:lnTo>
                  <a:lnTo>
                    <a:pt x="266292" y="888949"/>
                  </a:lnTo>
                  <a:lnTo>
                    <a:pt x="273160" y="899495"/>
                  </a:lnTo>
                  <a:lnTo>
                    <a:pt x="280029" y="910044"/>
                  </a:lnTo>
                  <a:lnTo>
                    <a:pt x="285312" y="921120"/>
                  </a:lnTo>
                  <a:lnTo>
                    <a:pt x="291124" y="931667"/>
                  </a:lnTo>
                  <a:lnTo>
                    <a:pt x="295879" y="942217"/>
                  </a:lnTo>
                  <a:lnTo>
                    <a:pt x="300635" y="953292"/>
                  </a:lnTo>
                  <a:lnTo>
                    <a:pt x="304862" y="964368"/>
                  </a:lnTo>
                  <a:lnTo>
                    <a:pt x="309088" y="974915"/>
                  </a:lnTo>
                  <a:lnTo>
                    <a:pt x="311730" y="985990"/>
                  </a:lnTo>
                  <a:lnTo>
                    <a:pt x="314900" y="997067"/>
                  </a:lnTo>
                  <a:lnTo>
                    <a:pt x="312787" y="998121"/>
                  </a:lnTo>
                  <a:lnTo>
                    <a:pt x="311202" y="999703"/>
                  </a:lnTo>
                  <a:lnTo>
                    <a:pt x="302220" y="1008143"/>
                  </a:lnTo>
                  <a:lnTo>
                    <a:pt x="292181" y="1014999"/>
                  </a:lnTo>
                  <a:lnTo>
                    <a:pt x="280557" y="1021327"/>
                  </a:lnTo>
                  <a:lnTo>
                    <a:pt x="269990" y="1025546"/>
                  </a:lnTo>
                  <a:lnTo>
                    <a:pt x="257838" y="1028711"/>
                  </a:lnTo>
                  <a:lnTo>
                    <a:pt x="245686" y="1030820"/>
                  </a:lnTo>
                  <a:lnTo>
                    <a:pt x="233534" y="1031875"/>
                  </a:lnTo>
                  <a:lnTo>
                    <a:pt x="221381" y="1031875"/>
                  </a:lnTo>
                  <a:lnTo>
                    <a:pt x="208172" y="1030293"/>
                  </a:lnTo>
                  <a:lnTo>
                    <a:pt x="196020" y="1028183"/>
                  </a:lnTo>
                  <a:lnTo>
                    <a:pt x="183340" y="1023964"/>
                  </a:lnTo>
                  <a:lnTo>
                    <a:pt x="171187" y="1018690"/>
                  </a:lnTo>
                  <a:lnTo>
                    <a:pt x="159563" y="1012889"/>
                  </a:lnTo>
                  <a:lnTo>
                    <a:pt x="148468" y="1004977"/>
                  </a:lnTo>
                  <a:lnTo>
                    <a:pt x="136844" y="997067"/>
                  </a:lnTo>
                  <a:lnTo>
                    <a:pt x="126805" y="987045"/>
                  </a:lnTo>
                  <a:lnTo>
                    <a:pt x="119937" y="979134"/>
                  </a:lnTo>
                  <a:lnTo>
                    <a:pt x="114653" y="971752"/>
                  </a:lnTo>
                  <a:lnTo>
                    <a:pt x="109369" y="964368"/>
                  </a:lnTo>
                  <a:lnTo>
                    <a:pt x="104086" y="954874"/>
                  </a:lnTo>
                  <a:lnTo>
                    <a:pt x="100387" y="946436"/>
                  </a:lnTo>
                  <a:lnTo>
                    <a:pt x="96689" y="937470"/>
                  </a:lnTo>
                  <a:lnTo>
                    <a:pt x="92990" y="927449"/>
                  </a:lnTo>
                  <a:lnTo>
                    <a:pt x="89820" y="918483"/>
                  </a:lnTo>
                  <a:lnTo>
                    <a:pt x="83480" y="897914"/>
                  </a:lnTo>
                  <a:lnTo>
                    <a:pt x="79253" y="878399"/>
                  </a:lnTo>
                  <a:lnTo>
                    <a:pt x="74498" y="857830"/>
                  </a:lnTo>
                  <a:lnTo>
                    <a:pt x="69743" y="837261"/>
                  </a:lnTo>
                  <a:lnTo>
                    <a:pt x="65516" y="817748"/>
                  </a:lnTo>
                  <a:lnTo>
                    <a:pt x="60232" y="798761"/>
                  </a:lnTo>
                  <a:lnTo>
                    <a:pt x="57591" y="789267"/>
                  </a:lnTo>
                  <a:lnTo>
                    <a:pt x="53892" y="780830"/>
                  </a:lnTo>
                  <a:lnTo>
                    <a:pt x="50722" y="772917"/>
                  </a:lnTo>
                  <a:lnTo>
                    <a:pt x="47023" y="764480"/>
                  </a:lnTo>
                  <a:lnTo>
                    <a:pt x="43325" y="757623"/>
                  </a:lnTo>
                  <a:lnTo>
                    <a:pt x="38570" y="749711"/>
                  </a:lnTo>
                  <a:lnTo>
                    <a:pt x="33286" y="743911"/>
                  </a:lnTo>
                  <a:lnTo>
                    <a:pt x="28003" y="737582"/>
                  </a:lnTo>
                  <a:lnTo>
                    <a:pt x="22191" y="732308"/>
                  </a:lnTo>
                  <a:lnTo>
                    <a:pt x="15322" y="728089"/>
                  </a:lnTo>
                  <a:lnTo>
                    <a:pt x="7397" y="723869"/>
                  </a:lnTo>
                  <a:lnTo>
                    <a:pt x="0" y="720176"/>
                  </a:lnTo>
                  <a:lnTo>
                    <a:pt x="6868" y="718595"/>
                  </a:lnTo>
                  <a:lnTo>
                    <a:pt x="28003" y="715958"/>
                  </a:lnTo>
                  <a:lnTo>
                    <a:pt x="42797" y="714903"/>
                  </a:lnTo>
                  <a:close/>
                  <a:moveTo>
                    <a:pt x="290512" y="692150"/>
                  </a:moveTo>
                  <a:lnTo>
                    <a:pt x="301611" y="709604"/>
                  </a:lnTo>
                  <a:lnTo>
                    <a:pt x="312182" y="727588"/>
                  </a:lnTo>
                  <a:lnTo>
                    <a:pt x="323810" y="745571"/>
                  </a:lnTo>
                  <a:lnTo>
                    <a:pt x="335437" y="762496"/>
                  </a:lnTo>
                  <a:lnTo>
                    <a:pt x="347593" y="779950"/>
                  </a:lnTo>
                  <a:lnTo>
                    <a:pt x="358693" y="797405"/>
                  </a:lnTo>
                  <a:lnTo>
                    <a:pt x="370849" y="814859"/>
                  </a:lnTo>
                  <a:lnTo>
                    <a:pt x="382476" y="832313"/>
                  </a:lnTo>
                  <a:lnTo>
                    <a:pt x="388290" y="840776"/>
                  </a:lnTo>
                  <a:lnTo>
                    <a:pt x="394633" y="850296"/>
                  </a:lnTo>
                  <a:lnTo>
                    <a:pt x="403089" y="861404"/>
                  </a:lnTo>
                  <a:lnTo>
                    <a:pt x="411546" y="873040"/>
                  </a:lnTo>
                  <a:lnTo>
                    <a:pt x="419474" y="884147"/>
                  </a:lnTo>
                  <a:lnTo>
                    <a:pt x="427401" y="896313"/>
                  </a:lnTo>
                  <a:lnTo>
                    <a:pt x="428987" y="898957"/>
                  </a:lnTo>
                  <a:lnTo>
                    <a:pt x="430573" y="900544"/>
                  </a:lnTo>
                  <a:lnTo>
                    <a:pt x="436915" y="909535"/>
                  </a:lnTo>
                  <a:lnTo>
                    <a:pt x="443257" y="918527"/>
                  </a:lnTo>
                  <a:lnTo>
                    <a:pt x="446429" y="922229"/>
                  </a:lnTo>
                  <a:lnTo>
                    <a:pt x="449600" y="926990"/>
                  </a:lnTo>
                  <a:lnTo>
                    <a:pt x="488711" y="983584"/>
                  </a:lnTo>
                  <a:lnTo>
                    <a:pt x="528351" y="1039649"/>
                  </a:lnTo>
                  <a:lnTo>
                    <a:pt x="567990" y="1097830"/>
                  </a:lnTo>
                  <a:lnTo>
                    <a:pt x="606045" y="1155482"/>
                  </a:lnTo>
                  <a:lnTo>
                    <a:pt x="624543" y="1185102"/>
                  </a:lnTo>
                  <a:lnTo>
                    <a:pt x="642513" y="1215250"/>
                  </a:lnTo>
                  <a:lnTo>
                    <a:pt x="659955" y="1245398"/>
                  </a:lnTo>
                  <a:lnTo>
                    <a:pt x="676868" y="1276076"/>
                  </a:lnTo>
                  <a:lnTo>
                    <a:pt x="693780" y="1307282"/>
                  </a:lnTo>
                  <a:lnTo>
                    <a:pt x="709108" y="1338488"/>
                  </a:lnTo>
                  <a:lnTo>
                    <a:pt x="723907" y="1370752"/>
                  </a:lnTo>
                  <a:lnTo>
                    <a:pt x="738706" y="1403016"/>
                  </a:lnTo>
                  <a:lnTo>
                    <a:pt x="746105" y="1419941"/>
                  </a:lnTo>
                  <a:lnTo>
                    <a:pt x="752976" y="1437396"/>
                  </a:lnTo>
                  <a:lnTo>
                    <a:pt x="759847" y="1454850"/>
                  </a:lnTo>
                  <a:lnTo>
                    <a:pt x="766718" y="1472833"/>
                  </a:lnTo>
                  <a:lnTo>
                    <a:pt x="775174" y="1464899"/>
                  </a:lnTo>
                  <a:lnTo>
                    <a:pt x="784159" y="1457495"/>
                  </a:lnTo>
                  <a:lnTo>
                    <a:pt x="793144" y="1449561"/>
                  </a:lnTo>
                  <a:lnTo>
                    <a:pt x="802658" y="1442685"/>
                  </a:lnTo>
                  <a:lnTo>
                    <a:pt x="823270" y="1425231"/>
                  </a:lnTo>
                  <a:lnTo>
                    <a:pt x="843354" y="1408834"/>
                  </a:lnTo>
                  <a:lnTo>
                    <a:pt x="863967" y="1390851"/>
                  </a:lnTo>
                  <a:lnTo>
                    <a:pt x="884580" y="1373397"/>
                  </a:lnTo>
                  <a:lnTo>
                    <a:pt x="905192" y="1355942"/>
                  </a:lnTo>
                  <a:lnTo>
                    <a:pt x="925276" y="1337959"/>
                  </a:lnTo>
                  <a:lnTo>
                    <a:pt x="944832" y="1319447"/>
                  </a:lnTo>
                  <a:lnTo>
                    <a:pt x="964388" y="1300935"/>
                  </a:lnTo>
                  <a:lnTo>
                    <a:pt x="965973" y="1299877"/>
                  </a:lnTo>
                  <a:lnTo>
                    <a:pt x="967559" y="1298290"/>
                  </a:lnTo>
                  <a:lnTo>
                    <a:pt x="994514" y="1271315"/>
                  </a:lnTo>
                  <a:lnTo>
                    <a:pt x="1020412" y="1243283"/>
                  </a:lnTo>
                  <a:lnTo>
                    <a:pt x="1032568" y="1229531"/>
                  </a:lnTo>
                  <a:lnTo>
                    <a:pt x="1044724" y="1215250"/>
                  </a:lnTo>
                  <a:lnTo>
                    <a:pt x="1055823" y="1200440"/>
                  </a:lnTo>
                  <a:lnTo>
                    <a:pt x="1067451" y="1186159"/>
                  </a:lnTo>
                  <a:lnTo>
                    <a:pt x="1078021" y="1170821"/>
                  </a:lnTo>
                  <a:lnTo>
                    <a:pt x="1088064" y="1155482"/>
                  </a:lnTo>
                  <a:lnTo>
                    <a:pt x="1097577" y="1139615"/>
                  </a:lnTo>
                  <a:lnTo>
                    <a:pt x="1107619" y="1123747"/>
                  </a:lnTo>
                  <a:lnTo>
                    <a:pt x="1116076" y="1107351"/>
                  </a:lnTo>
                  <a:lnTo>
                    <a:pt x="1124532" y="1091483"/>
                  </a:lnTo>
                  <a:lnTo>
                    <a:pt x="1131931" y="1075087"/>
                  </a:lnTo>
                  <a:lnTo>
                    <a:pt x="1139859" y="1057103"/>
                  </a:lnTo>
                  <a:lnTo>
                    <a:pt x="1143559" y="1048112"/>
                  </a:lnTo>
                  <a:lnTo>
                    <a:pt x="1146730" y="1039120"/>
                  </a:lnTo>
                  <a:lnTo>
                    <a:pt x="1153601" y="1018493"/>
                  </a:lnTo>
                  <a:lnTo>
                    <a:pt x="1159415" y="997336"/>
                  </a:lnTo>
                  <a:lnTo>
                    <a:pt x="1164700" y="975121"/>
                  </a:lnTo>
                  <a:lnTo>
                    <a:pt x="1168400" y="952378"/>
                  </a:lnTo>
                  <a:lnTo>
                    <a:pt x="1167872" y="966658"/>
                  </a:lnTo>
                  <a:lnTo>
                    <a:pt x="1166286" y="980410"/>
                  </a:lnTo>
                  <a:lnTo>
                    <a:pt x="1164700" y="994162"/>
                  </a:lnTo>
                  <a:lnTo>
                    <a:pt x="1162586" y="1007914"/>
                  </a:lnTo>
                  <a:lnTo>
                    <a:pt x="1161529" y="1010030"/>
                  </a:lnTo>
                  <a:lnTo>
                    <a:pt x="1161529" y="1012146"/>
                  </a:lnTo>
                  <a:lnTo>
                    <a:pt x="1159944" y="1019021"/>
                  </a:lnTo>
                  <a:lnTo>
                    <a:pt x="1159415" y="1025368"/>
                  </a:lnTo>
                  <a:lnTo>
                    <a:pt x="1157829" y="1031187"/>
                  </a:lnTo>
                  <a:lnTo>
                    <a:pt x="1156244" y="1037533"/>
                  </a:lnTo>
                  <a:lnTo>
                    <a:pt x="1154658" y="1043352"/>
                  </a:lnTo>
                  <a:lnTo>
                    <a:pt x="1153601" y="1049699"/>
                  </a:lnTo>
                  <a:lnTo>
                    <a:pt x="1152544" y="1053401"/>
                  </a:lnTo>
                  <a:lnTo>
                    <a:pt x="1152016" y="1057103"/>
                  </a:lnTo>
                  <a:lnTo>
                    <a:pt x="1150958" y="1058690"/>
                  </a:lnTo>
                  <a:lnTo>
                    <a:pt x="1150958" y="1060277"/>
                  </a:lnTo>
                  <a:lnTo>
                    <a:pt x="1150430" y="1060277"/>
                  </a:lnTo>
                  <a:lnTo>
                    <a:pt x="1147787" y="1070326"/>
                  </a:lnTo>
                  <a:lnTo>
                    <a:pt x="1145145" y="1079318"/>
                  </a:lnTo>
                  <a:lnTo>
                    <a:pt x="1141974" y="1088310"/>
                  </a:lnTo>
                  <a:lnTo>
                    <a:pt x="1138802" y="1098359"/>
                  </a:lnTo>
                  <a:lnTo>
                    <a:pt x="1138274" y="1098359"/>
                  </a:lnTo>
                  <a:lnTo>
                    <a:pt x="1135103" y="1107351"/>
                  </a:lnTo>
                  <a:lnTo>
                    <a:pt x="1131403" y="1116871"/>
                  </a:lnTo>
                  <a:lnTo>
                    <a:pt x="1129817" y="1120574"/>
                  </a:lnTo>
                  <a:lnTo>
                    <a:pt x="1128232" y="1123747"/>
                  </a:lnTo>
                  <a:lnTo>
                    <a:pt x="1128232" y="1124276"/>
                  </a:lnTo>
                  <a:lnTo>
                    <a:pt x="1127703" y="1125334"/>
                  </a:lnTo>
                  <a:lnTo>
                    <a:pt x="1128232" y="1125334"/>
                  </a:lnTo>
                  <a:lnTo>
                    <a:pt x="1126646" y="1127978"/>
                  </a:lnTo>
                  <a:lnTo>
                    <a:pt x="1125061" y="1131152"/>
                  </a:lnTo>
                  <a:lnTo>
                    <a:pt x="1124532" y="1132739"/>
                  </a:lnTo>
                  <a:lnTo>
                    <a:pt x="1124532" y="1133268"/>
                  </a:lnTo>
                  <a:lnTo>
                    <a:pt x="1124532" y="1134326"/>
                  </a:lnTo>
                  <a:lnTo>
                    <a:pt x="1123475" y="1134326"/>
                  </a:lnTo>
                  <a:lnTo>
                    <a:pt x="1123475" y="1134854"/>
                  </a:lnTo>
                  <a:lnTo>
                    <a:pt x="1122946" y="1135912"/>
                  </a:lnTo>
                  <a:lnTo>
                    <a:pt x="1110790" y="1162358"/>
                  </a:lnTo>
                  <a:lnTo>
                    <a:pt x="1096520" y="1189333"/>
                  </a:lnTo>
                  <a:lnTo>
                    <a:pt x="1081193" y="1215250"/>
                  </a:lnTo>
                  <a:lnTo>
                    <a:pt x="1064808" y="1240109"/>
                  </a:lnTo>
                  <a:lnTo>
                    <a:pt x="1047367" y="1265497"/>
                  </a:lnTo>
                  <a:lnTo>
                    <a:pt x="1029397" y="1289827"/>
                  </a:lnTo>
                  <a:lnTo>
                    <a:pt x="1010370" y="1314158"/>
                  </a:lnTo>
                  <a:lnTo>
                    <a:pt x="991342" y="1337959"/>
                  </a:lnTo>
                  <a:lnTo>
                    <a:pt x="990285" y="1337959"/>
                  </a:lnTo>
                  <a:lnTo>
                    <a:pt x="978129" y="1352769"/>
                  </a:lnTo>
                  <a:lnTo>
                    <a:pt x="964388" y="1367578"/>
                  </a:lnTo>
                  <a:lnTo>
                    <a:pt x="951703" y="1381859"/>
                  </a:lnTo>
                  <a:lnTo>
                    <a:pt x="938490" y="1396669"/>
                  </a:lnTo>
                  <a:lnTo>
                    <a:pt x="937432" y="1397727"/>
                  </a:lnTo>
                  <a:lnTo>
                    <a:pt x="936375" y="1398785"/>
                  </a:lnTo>
                  <a:lnTo>
                    <a:pt x="934261" y="1401958"/>
                  </a:lnTo>
                  <a:lnTo>
                    <a:pt x="931090" y="1404603"/>
                  </a:lnTo>
                  <a:lnTo>
                    <a:pt x="930562" y="1405661"/>
                  </a:lnTo>
                  <a:lnTo>
                    <a:pt x="928976" y="1407247"/>
                  </a:lnTo>
                  <a:lnTo>
                    <a:pt x="905192" y="1431578"/>
                  </a:lnTo>
                  <a:lnTo>
                    <a:pt x="882465" y="1455908"/>
                  </a:lnTo>
                  <a:lnTo>
                    <a:pt x="858682" y="1480238"/>
                  </a:lnTo>
                  <a:lnTo>
                    <a:pt x="835426" y="1504039"/>
                  </a:lnTo>
                  <a:lnTo>
                    <a:pt x="830670" y="1508271"/>
                  </a:lnTo>
                  <a:lnTo>
                    <a:pt x="825913" y="1513031"/>
                  </a:lnTo>
                  <a:lnTo>
                    <a:pt x="820628" y="1518849"/>
                  </a:lnTo>
                  <a:lnTo>
                    <a:pt x="814814" y="1525196"/>
                  </a:lnTo>
                  <a:lnTo>
                    <a:pt x="808471" y="1531543"/>
                  </a:lnTo>
                  <a:lnTo>
                    <a:pt x="803186" y="1537361"/>
                  </a:lnTo>
                  <a:lnTo>
                    <a:pt x="801072" y="1539477"/>
                  </a:lnTo>
                  <a:lnTo>
                    <a:pt x="798429" y="1542121"/>
                  </a:lnTo>
                  <a:lnTo>
                    <a:pt x="794730" y="1545824"/>
                  </a:lnTo>
                  <a:lnTo>
                    <a:pt x="791030" y="1549526"/>
                  </a:lnTo>
                  <a:lnTo>
                    <a:pt x="792087" y="1554287"/>
                  </a:lnTo>
                  <a:lnTo>
                    <a:pt x="792616" y="1558518"/>
                  </a:lnTo>
                  <a:lnTo>
                    <a:pt x="795787" y="1571741"/>
                  </a:lnTo>
                  <a:lnTo>
                    <a:pt x="798429" y="1584435"/>
                  </a:lnTo>
                  <a:lnTo>
                    <a:pt x="801072" y="1597658"/>
                  </a:lnTo>
                  <a:lnTo>
                    <a:pt x="803186" y="1610352"/>
                  </a:lnTo>
                  <a:lnTo>
                    <a:pt x="806357" y="1628864"/>
                  </a:lnTo>
                  <a:lnTo>
                    <a:pt x="808471" y="1646318"/>
                  </a:lnTo>
                  <a:lnTo>
                    <a:pt x="811114" y="1664830"/>
                  </a:lnTo>
                  <a:lnTo>
                    <a:pt x="812171" y="1682814"/>
                  </a:lnTo>
                  <a:lnTo>
                    <a:pt x="812866" y="1690931"/>
                  </a:lnTo>
                  <a:lnTo>
                    <a:pt x="814917" y="1691752"/>
                  </a:lnTo>
                  <a:lnTo>
                    <a:pt x="825500" y="1697048"/>
                  </a:lnTo>
                  <a:lnTo>
                    <a:pt x="835554" y="1703405"/>
                  </a:lnTo>
                  <a:lnTo>
                    <a:pt x="845079" y="1710820"/>
                  </a:lnTo>
                  <a:lnTo>
                    <a:pt x="855133" y="1718765"/>
                  </a:lnTo>
                  <a:lnTo>
                    <a:pt x="873654" y="1736245"/>
                  </a:lnTo>
                  <a:lnTo>
                    <a:pt x="892704" y="1754254"/>
                  </a:lnTo>
                  <a:lnTo>
                    <a:pt x="901700" y="1763788"/>
                  </a:lnTo>
                  <a:lnTo>
                    <a:pt x="911754" y="1771733"/>
                  </a:lnTo>
                  <a:lnTo>
                    <a:pt x="921279" y="1779678"/>
                  </a:lnTo>
                  <a:lnTo>
                    <a:pt x="931333" y="1786564"/>
                  </a:lnTo>
                  <a:lnTo>
                    <a:pt x="941916" y="1792390"/>
                  </a:lnTo>
                  <a:lnTo>
                    <a:pt x="952500" y="1797687"/>
                  </a:lnTo>
                  <a:lnTo>
                    <a:pt x="958850" y="1799276"/>
                  </a:lnTo>
                  <a:lnTo>
                    <a:pt x="964142" y="1801924"/>
                  </a:lnTo>
                  <a:lnTo>
                    <a:pt x="969962" y="1802454"/>
                  </a:lnTo>
                  <a:lnTo>
                    <a:pt x="976312" y="1802984"/>
                  </a:lnTo>
                  <a:lnTo>
                    <a:pt x="987954" y="1804573"/>
                  </a:lnTo>
                  <a:lnTo>
                    <a:pt x="1000125" y="1807221"/>
                  </a:lnTo>
                  <a:lnTo>
                    <a:pt x="1010708" y="1810929"/>
                  </a:lnTo>
                  <a:lnTo>
                    <a:pt x="1021292" y="1814637"/>
                  </a:lnTo>
                  <a:lnTo>
                    <a:pt x="1031875" y="1819404"/>
                  </a:lnTo>
                  <a:lnTo>
                    <a:pt x="1041929" y="1823641"/>
                  </a:lnTo>
                  <a:lnTo>
                    <a:pt x="1050925" y="1829997"/>
                  </a:lnTo>
                  <a:lnTo>
                    <a:pt x="1059921" y="1835824"/>
                  </a:lnTo>
                  <a:lnTo>
                    <a:pt x="1069446" y="1842710"/>
                  </a:lnTo>
                  <a:lnTo>
                    <a:pt x="1076854" y="1849595"/>
                  </a:lnTo>
                  <a:lnTo>
                    <a:pt x="1085321" y="1857541"/>
                  </a:lnTo>
                  <a:lnTo>
                    <a:pt x="1092729" y="1864956"/>
                  </a:lnTo>
                  <a:lnTo>
                    <a:pt x="1099608" y="1872901"/>
                  </a:lnTo>
                  <a:lnTo>
                    <a:pt x="1106487" y="1880846"/>
                  </a:lnTo>
                  <a:lnTo>
                    <a:pt x="1112837" y="1889321"/>
                  </a:lnTo>
                  <a:lnTo>
                    <a:pt x="1118129" y="1897796"/>
                  </a:lnTo>
                  <a:lnTo>
                    <a:pt x="1125008" y="1906801"/>
                  </a:lnTo>
                  <a:lnTo>
                    <a:pt x="1134004" y="1917924"/>
                  </a:lnTo>
                  <a:lnTo>
                    <a:pt x="1144587" y="1929047"/>
                  </a:lnTo>
                  <a:lnTo>
                    <a:pt x="1156758" y="1942289"/>
                  </a:lnTo>
                  <a:lnTo>
                    <a:pt x="1169987" y="1956060"/>
                  </a:lnTo>
                  <a:lnTo>
                    <a:pt x="1182688" y="1970891"/>
                  </a:lnTo>
                  <a:lnTo>
                    <a:pt x="1195917" y="1986252"/>
                  </a:lnTo>
                  <a:lnTo>
                    <a:pt x="1208088" y="2002142"/>
                  </a:lnTo>
                  <a:lnTo>
                    <a:pt x="1219200" y="2019092"/>
                  </a:lnTo>
                  <a:lnTo>
                    <a:pt x="1229254" y="2034982"/>
                  </a:lnTo>
                  <a:lnTo>
                    <a:pt x="1232958" y="2043457"/>
                  </a:lnTo>
                  <a:lnTo>
                    <a:pt x="1236662" y="2051932"/>
                  </a:lnTo>
                  <a:lnTo>
                    <a:pt x="1239838" y="2060407"/>
                  </a:lnTo>
                  <a:lnTo>
                    <a:pt x="1241872" y="2066925"/>
                  </a:lnTo>
                  <a:lnTo>
                    <a:pt x="205990" y="2066925"/>
                  </a:lnTo>
                  <a:lnTo>
                    <a:pt x="210608" y="2053521"/>
                  </a:lnTo>
                  <a:lnTo>
                    <a:pt x="216429" y="2038160"/>
                  </a:lnTo>
                  <a:lnTo>
                    <a:pt x="223308" y="2022800"/>
                  </a:lnTo>
                  <a:lnTo>
                    <a:pt x="230187" y="2008498"/>
                  </a:lnTo>
                  <a:lnTo>
                    <a:pt x="238125" y="1993138"/>
                  </a:lnTo>
                  <a:lnTo>
                    <a:pt x="246062" y="1978837"/>
                  </a:lnTo>
                  <a:lnTo>
                    <a:pt x="255587" y="1965065"/>
                  </a:lnTo>
                  <a:lnTo>
                    <a:pt x="265112" y="1951293"/>
                  </a:lnTo>
                  <a:lnTo>
                    <a:pt x="276225" y="1938051"/>
                  </a:lnTo>
                  <a:lnTo>
                    <a:pt x="286808" y="1925869"/>
                  </a:lnTo>
                  <a:lnTo>
                    <a:pt x="298979" y="1914746"/>
                  </a:lnTo>
                  <a:lnTo>
                    <a:pt x="311679" y="1904152"/>
                  </a:lnTo>
                  <a:lnTo>
                    <a:pt x="325437" y="1894618"/>
                  </a:lnTo>
                  <a:lnTo>
                    <a:pt x="340783" y="1885613"/>
                  </a:lnTo>
                  <a:lnTo>
                    <a:pt x="356129" y="1878728"/>
                  </a:lnTo>
                  <a:lnTo>
                    <a:pt x="387350" y="1864956"/>
                  </a:lnTo>
                  <a:lnTo>
                    <a:pt x="416983" y="1851184"/>
                  </a:lnTo>
                  <a:lnTo>
                    <a:pt x="444500" y="1837413"/>
                  </a:lnTo>
                  <a:lnTo>
                    <a:pt x="470429" y="1824701"/>
                  </a:lnTo>
                  <a:lnTo>
                    <a:pt x="493712" y="1811459"/>
                  </a:lnTo>
                  <a:lnTo>
                    <a:pt x="515937" y="1799276"/>
                  </a:lnTo>
                  <a:lnTo>
                    <a:pt x="536046" y="1787094"/>
                  </a:lnTo>
                  <a:lnTo>
                    <a:pt x="554037" y="1776500"/>
                  </a:lnTo>
                  <a:lnTo>
                    <a:pt x="584729" y="1756902"/>
                  </a:lnTo>
                  <a:lnTo>
                    <a:pt x="605896" y="1741541"/>
                  </a:lnTo>
                  <a:lnTo>
                    <a:pt x="619654" y="1731477"/>
                  </a:lnTo>
                  <a:lnTo>
                    <a:pt x="624417" y="1728299"/>
                  </a:lnTo>
                  <a:lnTo>
                    <a:pt x="630237" y="1725121"/>
                  </a:lnTo>
                  <a:lnTo>
                    <a:pt x="646112" y="1719295"/>
                  </a:lnTo>
                  <a:lnTo>
                    <a:pt x="669925" y="1710290"/>
                  </a:lnTo>
                  <a:lnTo>
                    <a:pt x="697971" y="1700226"/>
                  </a:lnTo>
                  <a:lnTo>
                    <a:pt x="714375" y="1696519"/>
                  </a:lnTo>
                  <a:lnTo>
                    <a:pt x="723378" y="1693815"/>
                  </a:lnTo>
                  <a:lnTo>
                    <a:pt x="723378" y="1693392"/>
                  </a:lnTo>
                  <a:lnTo>
                    <a:pt x="723378" y="1670649"/>
                  </a:lnTo>
                  <a:lnTo>
                    <a:pt x="722321" y="1647905"/>
                  </a:lnTo>
                  <a:lnTo>
                    <a:pt x="721793" y="1641029"/>
                  </a:lnTo>
                  <a:lnTo>
                    <a:pt x="721264" y="1633624"/>
                  </a:lnTo>
                  <a:lnTo>
                    <a:pt x="718621" y="1605063"/>
                  </a:lnTo>
                  <a:lnTo>
                    <a:pt x="714922" y="1576501"/>
                  </a:lnTo>
                  <a:lnTo>
                    <a:pt x="710165" y="1547940"/>
                  </a:lnTo>
                  <a:lnTo>
                    <a:pt x="703294" y="1519907"/>
                  </a:lnTo>
                  <a:lnTo>
                    <a:pt x="693780" y="1480767"/>
                  </a:lnTo>
                  <a:lnTo>
                    <a:pt x="682153" y="1442685"/>
                  </a:lnTo>
                  <a:lnTo>
                    <a:pt x="669468" y="1404603"/>
                  </a:lnTo>
                  <a:lnTo>
                    <a:pt x="654669" y="1366521"/>
                  </a:lnTo>
                  <a:lnTo>
                    <a:pt x="639870" y="1329496"/>
                  </a:lnTo>
                  <a:lnTo>
                    <a:pt x="623486" y="1293001"/>
                  </a:lnTo>
                  <a:lnTo>
                    <a:pt x="606045" y="1255977"/>
                  </a:lnTo>
                  <a:lnTo>
                    <a:pt x="588603" y="1219481"/>
                  </a:lnTo>
                  <a:lnTo>
                    <a:pt x="587017" y="1216837"/>
                  </a:lnTo>
                  <a:lnTo>
                    <a:pt x="585432" y="1213663"/>
                  </a:lnTo>
                  <a:lnTo>
                    <a:pt x="575918" y="1195151"/>
                  </a:lnTo>
                  <a:lnTo>
                    <a:pt x="566405" y="1176110"/>
                  </a:lnTo>
                  <a:lnTo>
                    <a:pt x="556891" y="1158127"/>
                  </a:lnTo>
                  <a:lnTo>
                    <a:pt x="545792" y="1139615"/>
                  </a:lnTo>
                  <a:lnTo>
                    <a:pt x="536279" y="1121103"/>
                  </a:lnTo>
                  <a:lnTo>
                    <a:pt x="525708" y="1103119"/>
                  </a:lnTo>
                  <a:lnTo>
                    <a:pt x="515666" y="1084607"/>
                  </a:lnTo>
                  <a:lnTo>
                    <a:pt x="505095" y="1066624"/>
                  </a:lnTo>
                  <a:lnTo>
                    <a:pt x="500339" y="1058161"/>
                  </a:lnTo>
                  <a:lnTo>
                    <a:pt x="495582" y="1050228"/>
                  </a:lnTo>
                  <a:lnTo>
                    <a:pt x="485011" y="1032773"/>
                  </a:lnTo>
                  <a:lnTo>
                    <a:pt x="474969" y="1014790"/>
                  </a:lnTo>
                  <a:lnTo>
                    <a:pt x="464399" y="997336"/>
                  </a:lnTo>
                  <a:lnTo>
                    <a:pt x="453828" y="978824"/>
                  </a:lnTo>
                  <a:lnTo>
                    <a:pt x="453299" y="978295"/>
                  </a:lnTo>
                  <a:lnTo>
                    <a:pt x="452242" y="976708"/>
                  </a:lnTo>
                  <a:lnTo>
                    <a:pt x="443257" y="961369"/>
                  </a:lnTo>
                  <a:lnTo>
                    <a:pt x="434272" y="946031"/>
                  </a:lnTo>
                  <a:lnTo>
                    <a:pt x="424759" y="930163"/>
                  </a:lnTo>
                  <a:lnTo>
                    <a:pt x="415774" y="914824"/>
                  </a:lnTo>
                  <a:lnTo>
                    <a:pt x="406789" y="898957"/>
                  </a:lnTo>
                  <a:lnTo>
                    <a:pt x="397804" y="883619"/>
                  </a:lnTo>
                  <a:lnTo>
                    <a:pt x="388290" y="867751"/>
                  </a:lnTo>
                  <a:lnTo>
                    <a:pt x="379305" y="852412"/>
                  </a:lnTo>
                  <a:lnTo>
                    <a:pt x="378777" y="850826"/>
                  </a:lnTo>
                  <a:lnTo>
                    <a:pt x="377720" y="850296"/>
                  </a:lnTo>
                  <a:lnTo>
                    <a:pt x="366621" y="830198"/>
                  </a:lnTo>
                  <a:lnTo>
                    <a:pt x="354993" y="811156"/>
                  </a:lnTo>
                  <a:lnTo>
                    <a:pt x="344422" y="791586"/>
                  </a:lnTo>
                  <a:lnTo>
                    <a:pt x="332795" y="771488"/>
                  </a:lnTo>
                  <a:lnTo>
                    <a:pt x="322224" y="751918"/>
                  </a:lnTo>
                  <a:lnTo>
                    <a:pt x="311653" y="731819"/>
                  </a:lnTo>
                  <a:lnTo>
                    <a:pt x="301083" y="712249"/>
                  </a:lnTo>
                  <a:close/>
                  <a:moveTo>
                    <a:pt x="1466416" y="561974"/>
                  </a:moveTo>
                  <a:lnTo>
                    <a:pt x="1487027" y="561974"/>
                  </a:lnTo>
                  <a:lnTo>
                    <a:pt x="1505524" y="563032"/>
                  </a:lnTo>
                  <a:lnTo>
                    <a:pt x="1530362" y="566207"/>
                  </a:lnTo>
                  <a:lnTo>
                    <a:pt x="1539875" y="567266"/>
                  </a:lnTo>
                  <a:lnTo>
                    <a:pt x="1529834" y="572029"/>
                  </a:lnTo>
                  <a:lnTo>
                    <a:pt x="1521378" y="577320"/>
                  </a:lnTo>
                  <a:lnTo>
                    <a:pt x="1512922" y="582611"/>
                  </a:lnTo>
                  <a:lnTo>
                    <a:pt x="1506052" y="589491"/>
                  </a:lnTo>
                  <a:lnTo>
                    <a:pt x="1499182" y="597428"/>
                  </a:lnTo>
                  <a:lnTo>
                    <a:pt x="1493897" y="604837"/>
                  </a:lnTo>
                  <a:lnTo>
                    <a:pt x="1488612" y="613303"/>
                  </a:lnTo>
                  <a:lnTo>
                    <a:pt x="1483856" y="623358"/>
                  </a:lnTo>
                  <a:lnTo>
                    <a:pt x="1479628" y="632353"/>
                  </a:lnTo>
                  <a:lnTo>
                    <a:pt x="1475929" y="642936"/>
                  </a:lnTo>
                  <a:lnTo>
                    <a:pt x="1472758" y="653520"/>
                  </a:lnTo>
                  <a:lnTo>
                    <a:pt x="1469058" y="664103"/>
                  </a:lnTo>
                  <a:lnTo>
                    <a:pt x="1463774" y="687387"/>
                  </a:lnTo>
                  <a:lnTo>
                    <a:pt x="1459017" y="711728"/>
                  </a:lnTo>
                  <a:lnTo>
                    <a:pt x="1454261" y="736070"/>
                  </a:lnTo>
                  <a:lnTo>
                    <a:pt x="1450033" y="760941"/>
                  </a:lnTo>
                  <a:lnTo>
                    <a:pt x="1444748" y="785282"/>
                  </a:lnTo>
                  <a:lnTo>
                    <a:pt x="1438406" y="810154"/>
                  </a:lnTo>
                  <a:lnTo>
                    <a:pt x="1434707" y="821266"/>
                  </a:lnTo>
                  <a:lnTo>
                    <a:pt x="1431008" y="832907"/>
                  </a:lnTo>
                  <a:lnTo>
                    <a:pt x="1426251" y="844020"/>
                  </a:lnTo>
                  <a:lnTo>
                    <a:pt x="1421495" y="855132"/>
                  </a:lnTo>
                  <a:lnTo>
                    <a:pt x="1416210" y="865716"/>
                  </a:lnTo>
                  <a:lnTo>
                    <a:pt x="1410397" y="875241"/>
                  </a:lnTo>
                  <a:lnTo>
                    <a:pt x="1403527" y="885295"/>
                  </a:lnTo>
                  <a:lnTo>
                    <a:pt x="1395599" y="893762"/>
                  </a:lnTo>
                  <a:lnTo>
                    <a:pt x="1389786" y="900111"/>
                  </a:lnTo>
                  <a:lnTo>
                    <a:pt x="1383444" y="905933"/>
                  </a:lnTo>
                  <a:lnTo>
                    <a:pt x="1377631" y="912282"/>
                  </a:lnTo>
                  <a:lnTo>
                    <a:pt x="1370761" y="916516"/>
                  </a:lnTo>
                  <a:lnTo>
                    <a:pt x="1357549" y="926570"/>
                  </a:lnTo>
                  <a:lnTo>
                    <a:pt x="1343280" y="933978"/>
                  </a:lnTo>
                  <a:lnTo>
                    <a:pt x="1329011" y="940858"/>
                  </a:lnTo>
                  <a:lnTo>
                    <a:pt x="1314213" y="945620"/>
                  </a:lnTo>
                  <a:lnTo>
                    <a:pt x="1299416" y="949324"/>
                  </a:lnTo>
                  <a:lnTo>
                    <a:pt x="1284090" y="951970"/>
                  </a:lnTo>
                  <a:lnTo>
                    <a:pt x="1269292" y="952500"/>
                  </a:lnTo>
                  <a:lnTo>
                    <a:pt x="1254495" y="951970"/>
                  </a:lnTo>
                  <a:lnTo>
                    <a:pt x="1239697" y="949324"/>
                  </a:lnTo>
                  <a:lnTo>
                    <a:pt x="1225428" y="946149"/>
                  </a:lnTo>
                  <a:lnTo>
                    <a:pt x="1218558" y="943504"/>
                  </a:lnTo>
                  <a:lnTo>
                    <a:pt x="1211688" y="940858"/>
                  </a:lnTo>
                  <a:lnTo>
                    <a:pt x="1204818" y="938212"/>
                  </a:lnTo>
                  <a:lnTo>
                    <a:pt x="1198476" y="933978"/>
                  </a:lnTo>
                  <a:lnTo>
                    <a:pt x="1192134" y="930274"/>
                  </a:lnTo>
                  <a:lnTo>
                    <a:pt x="1185792" y="926570"/>
                  </a:lnTo>
                  <a:lnTo>
                    <a:pt x="1179450" y="921808"/>
                  </a:lnTo>
                  <a:lnTo>
                    <a:pt x="1174166" y="916516"/>
                  </a:lnTo>
                  <a:lnTo>
                    <a:pt x="1172052" y="914399"/>
                  </a:lnTo>
                  <a:lnTo>
                    <a:pt x="1170466" y="912811"/>
                  </a:lnTo>
                  <a:lnTo>
                    <a:pt x="1173637" y="899053"/>
                  </a:lnTo>
                  <a:lnTo>
                    <a:pt x="1176808" y="886353"/>
                  </a:lnTo>
                  <a:lnTo>
                    <a:pt x="1181036" y="873124"/>
                  </a:lnTo>
                  <a:lnTo>
                    <a:pt x="1185792" y="859366"/>
                  </a:lnTo>
                  <a:lnTo>
                    <a:pt x="1190548" y="846666"/>
                  </a:lnTo>
                  <a:lnTo>
                    <a:pt x="1196362" y="833436"/>
                  </a:lnTo>
                  <a:lnTo>
                    <a:pt x="1202704" y="819678"/>
                  </a:lnTo>
                  <a:lnTo>
                    <a:pt x="1209574" y="806978"/>
                  </a:lnTo>
                  <a:lnTo>
                    <a:pt x="1216444" y="793750"/>
                  </a:lnTo>
                  <a:lnTo>
                    <a:pt x="1223843" y="781049"/>
                  </a:lnTo>
                  <a:lnTo>
                    <a:pt x="1232299" y="767820"/>
                  </a:lnTo>
                  <a:lnTo>
                    <a:pt x="1241283" y="755120"/>
                  </a:lnTo>
                  <a:lnTo>
                    <a:pt x="1250267" y="741891"/>
                  </a:lnTo>
                  <a:lnTo>
                    <a:pt x="1260308" y="729720"/>
                  </a:lnTo>
                  <a:lnTo>
                    <a:pt x="1270349" y="717549"/>
                  </a:lnTo>
                  <a:lnTo>
                    <a:pt x="1281447" y="705378"/>
                  </a:lnTo>
                  <a:lnTo>
                    <a:pt x="1291489" y="694795"/>
                  </a:lnTo>
                  <a:lnTo>
                    <a:pt x="1302058" y="684741"/>
                  </a:lnTo>
                  <a:lnTo>
                    <a:pt x="1312099" y="675216"/>
                  </a:lnTo>
                  <a:lnTo>
                    <a:pt x="1323726" y="665161"/>
                  </a:lnTo>
                  <a:lnTo>
                    <a:pt x="1334296" y="656695"/>
                  </a:lnTo>
                  <a:lnTo>
                    <a:pt x="1344865" y="647699"/>
                  </a:lnTo>
                  <a:lnTo>
                    <a:pt x="1356492" y="639762"/>
                  </a:lnTo>
                  <a:lnTo>
                    <a:pt x="1367590" y="631295"/>
                  </a:lnTo>
                  <a:lnTo>
                    <a:pt x="1379217" y="624416"/>
                  </a:lnTo>
                  <a:lnTo>
                    <a:pt x="1390315" y="618066"/>
                  </a:lnTo>
                  <a:lnTo>
                    <a:pt x="1401941" y="611186"/>
                  </a:lnTo>
                  <a:lnTo>
                    <a:pt x="1413568" y="604837"/>
                  </a:lnTo>
                  <a:lnTo>
                    <a:pt x="1424666" y="599545"/>
                  </a:lnTo>
                  <a:lnTo>
                    <a:pt x="1436821" y="594253"/>
                  </a:lnTo>
                  <a:lnTo>
                    <a:pt x="1448448" y="589491"/>
                  </a:lnTo>
                  <a:lnTo>
                    <a:pt x="1459546" y="585258"/>
                  </a:lnTo>
                  <a:lnTo>
                    <a:pt x="1446862" y="588962"/>
                  </a:lnTo>
                  <a:lnTo>
                    <a:pt x="1433650" y="593195"/>
                  </a:lnTo>
                  <a:lnTo>
                    <a:pt x="1420967" y="599016"/>
                  </a:lnTo>
                  <a:lnTo>
                    <a:pt x="1408812" y="604308"/>
                  </a:lnTo>
                  <a:lnTo>
                    <a:pt x="1395599" y="610128"/>
                  </a:lnTo>
                  <a:lnTo>
                    <a:pt x="1382916" y="617007"/>
                  </a:lnTo>
                  <a:lnTo>
                    <a:pt x="1369704" y="623887"/>
                  </a:lnTo>
                  <a:lnTo>
                    <a:pt x="1357549" y="631295"/>
                  </a:lnTo>
                  <a:lnTo>
                    <a:pt x="1344865" y="639762"/>
                  </a:lnTo>
                  <a:lnTo>
                    <a:pt x="1332710" y="649287"/>
                  </a:lnTo>
                  <a:lnTo>
                    <a:pt x="1320555" y="658282"/>
                  </a:lnTo>
                  <a:lnTo>
                    <a:pt x="1308400" y="668337"/>
                  </a:lnTo>
                  <a:lnTo>
                    <a:pt x="1296245" y="677861"/>
                  </a:lnTo>
                  <a:lnTo>
                    <a:pt x="1284618" y="688974"/>
                  </a:lnTo>
                  <a:lnTo>
                    <a:pt x="1273520" y="700087"/>
                  </a:lnTo>
                  <a:lnTo>
                    <a:pt x="1261894" y="711728"/>
                  </a:lnTo>
                  <a:lnTo>
                    <a:pt x="1252909" y="722311"/>
                  </a:lnTo>
                  <a:lnTo>
                    <a:pt x="1243397" y="733954"/>
                  </a:lnTo>
                  <a:lnTo>
                    <a:pt x="1234412" y="744537"/>
                  </a:lnTo>
                  <a:lnTo>
                    <a:pt x="1225957" y="755649"/>
                  </a:lnTo>
                  <a:lnTo>
                    <a:pt x="1217501" y="767291"/>
                  </a:lnTo>
                  <a:lnTo>
                    <a:pt x="1210102" y="778933"/>
                  </a:lnTo>
                  <a:lnTo>
                    <a:pt x="1203232" y="790045"/>
                  </a:lnTo>
                  <a:lnTo>
                    <a:pt x="1196362" y="801686"/>
                  </a:lnTo>
                  <a:lnTo>
                    <a:pt x="1189492" y="813858"/>
                  </a:lnTo>
                  <a:lnTo>
                    <a:pt x="1183678" y="824970"/>
                  </a:lnTo>
                  <a:lnTo>
                    <a:pt x="1178393" y="837141"/>
                  </a:lnTo>
                  <a:lnTo>
                    <a:pt x="1173109" y="848782"/>
                  </a:lnTo>
                  <a:lnTo>
                    <a:pt x="1168352" y="860954"/>
                  </a:lnTo>
                  <a:lnTo>
                    <a:pt x="1163596" y="872595"/>
                  </a:lnTo>
                  <a:lnTo>
                    <a:pt x="1159897" y="884766"/>
                  </a:lnTo>
                  <a:lnTo>
                    <a:pt x="1156726" y="895878"/>
                  </a:lnTo>
                  <a:lnTo>
                    <a:pt x="1149327" y="885295"/>
                  </a:lnTo>
                  <a:lnTo>
                    <a:pt x="1144042" y="874183"/>
                  </a:lnTo>
                  <a:lnTo>
                    <a:pt x="1139286" y="862012"/>
                  </a:lnTo>
                  <a:lnTo>
                    <a:pt x="1135586" y="848782"/>
                  </a:lnTo>
                  <a:lnTo>
                    <a:pt x="1133472" y="836611"/>
                  </a:lnTo>
                  <a:lnTo>
                    <a:pt x="1131887" y="822853"/>
                  </a:lnTo>
                  <a:lnTo>
                    <a:pt x="1131887" y="810154"/>
                  </a:lnTo>
                  <a:lnTo>
                    <a:pt x="1132415" y="796395"/>
                  </a:lnTo>
                  <a:lnTo>
                    <a:pt x="1135058" y="782637"/>
                  </a:lnTo>
                  <a:lnTo>
                    <a:pt x="1137700" y="769407"/>
                  </a:lnTo>
                  <a:lnTo>
                    <a:pt x="1141400" y="755649"/>
                  </a:lnTo>
                  <a:lnTo>
                    <a:pt x="1147741" y="742949"/>
                  </a:lnTo>
                  <a:lnTo>
                    <a:pt x="1154083" y="729720"/>
                  </a:lnTo>
                  <a:lnTo>
                    <a:pt x="1161482" y="717549"/>
                  </a:lnTo>
                  <a:lnTo>
                    <a:pt x="1170466" y="705378"/>
                  </a:lnTo>
                  <a:lnTo>
                    <a:pt x="1179450" y="693207"/>
                  </a:lnTo>
                  <a:lnTo>
                    <a:pt x="1194776" y="677861"/>
                  </a:lnTo>
                  <a:lnTo>
                    <a:pt x="1210102" y="663574"/>
                  </a:lnTo>
                  <a:lnTo>
                    <a:pt x="1224371" y="650345"/>
                  </a:lnTo>
                  <a:lnTo>
                    <a:pt x="1240754" y="638175"/>
                  </a:lnTo>
                  <a:lnTo>
                    <a:pt x="1255552" y="627591"/>
                  </a:lnTo>
                  <a:lnTo>
                    <a:pt x="1270878" y="618066"/>
                  </a:lnTo>
                  <a:lnTo>
                    <a:pt x="1286204" y="608541"/>
                  </a:lnTo>
                  <a:lnTo>
                    <a:pt x="1302058" y="601132"/>
                  </a:lnTo>
                  <a:lnTo>
                    <a:pt x="1317384" y="594253"/>
                  </a:lnTo>
                  <a:lnTo>
                    <a:pt x="1332710" y="587904"/>
                  </a:lnTo>
                  <a:lnTo>
                    <a:pt x="1348036" y="582611"/>
                  </a:lnTo>
                  <a:lnTo>
                    <a:pt x="1362305" y="578378"/>
                  </a:lnTo>
                  <a:lnTo>
                    <a:pt x="1376574" y="574145"/>
                  </a:lnTo>
                  <a:lnTo>
                    <a:pt x="1391372" y="570441"/>
                  </a:lnTo>
                  <a:lnTo>
                    <a:pt x="1405112" y="568324"/>
                  </a:lnTo>
                  <a:lnTo>
                    <a:pt x="1417796" y="566207"/>
                  </a:lnTo>
                  <a:lnTo>
                    <a:pt x="1443691" y="563032"/>
                  </a:lnTo>
                  <a:close/>
                  <a:moveTo>
                    <a:pt x="661988" y="549274"/>
                  </a:moveTo>
                  <a:lnTo>
                    <a:pt x="674688" y="549274"/>
                  </a:lnTo>
                  <a:lnTo>
                    <a:pt x="686330" y="550329"/>
                  </a:lnTo>
                  <a:lnTo>
                    <a:pt x="709084" y="551911"/>
                  </a:lnTo>
                  <a:lnTo>
                    <a:pt x="729722" y="554019"/>
                  </a:lnTo>
                  <a:lnTo>
                    <a:pt x="747184" y="557183"/>
                  </a:lnTo>
                  <a:lnTo>
                    <a:pt x="762530" y="560347"/>
                  </a:lnTo>
                  <a:lnTo>
                    <a:pt x="784755" y="566146"/>
                  </a:lnTo>
                  <a:lnTo>
                    <a:pt x="792163" y="569310"/>
                  </a:lnTo>
                  <a:lnTo>
                    <a:pt x="783697" y="571419"/>
                  </a:lnTo>
                  <a:lnTo>
                    <a:pt x="775230" y="574055"/>
                  </a:lnTo>
                  <a:lnTo>
                    <a:pt x="767822" y="577746"/>
                  </a:lnTo>
                  <a:lnTo>
                    <a:pt x="760942" y="581964"/>
                  </a:lnTo>
                  <a:lnTo>
                    <a:pt x="754063" y="586709"/>
                  </a:lnTo>
                  <a:lnTo>
                    <a:pt x="748772" y="591982"/>
                  </a:lnTo>
                  <a:lnTo>
                    <a:pt x="742422" y="598309"/>
                  </a:lnTo>
                  <a:lnTo>
                    <a:pt x="738188" y="605163"/>
                  </a:lnTo>
                  <a:lnTo>
                    <a:pt x="732897" y="612544"/>
                  </a:lnTo>
                  <a:lnTo>
                    <a:pt x="728663" y="619925"/>
                  </a:lnTo>
                  <a:lnTo>
                    <a:pt x="724430" y="627834"/>
                  </a:lnTo>
                  <a:lnTo>
                    <a:pt x="720726" y="636270"/>
                  </a:lnTo>
                  <a:lnTo>
                    <a:pt x="713847" y="654197"/>
                  </a:lnTo>
                  <a:lnTo>
                    <a:pt x="706967" y="672650"/>
                  </a:lnTo>
                  <a:lnTo>
                    <a:pt x="700088" y="691632"/>
                  </a:lnTo>
                  <a:lnTo>
                    <a:pt x="693209" y="710612"/>
                  </a:lnTo>
                  <a:lnTo>
                    <a:pt x="686330" y="730120"/>
                  </a:lnTo>
                  <a:lnTo>
                    <a:pt x="677863" y="748574"/>
                  </a:lnTo>
                  <a:lnTo>
                    <a:pt x="674159" y="757536"/>
                  </a:lnTo>
                  <a:lnTo>
                    <a:pt x="668867" y="765972"/>
                  </a:lnTo>
                  <a:lnTo>
                    <a:pt x="664105" y="774409"/>
                  </a:lnTo>
                  <a:lnTo>
                    <a:pt x="658813" y="782845"/>
                  </a:lnTo>
                  <a:lnTo>
                    <a:pt x="652463" y="790226"/>
                  </a:lnTo>
                  <a:lnTo>
                    <a:pt x="645584" y="797080"/>
                  </a:lnTo>
                  <a:lnTo>
                    <a:pt x="639234" y="803935"/>
                  </a:lnTo>
                  <a:lnTo>
                    <a:pt x="632355" y="810262"/>
                  </a:lnTo>
                  <a:lnTo>
                    <a:pt x="620184" y="817642"/>
                  </a:lnTo>
                  <a:lnTo>
                    <a:pt x="607484" y="824498"/>
                  </a:lnTo>
                  <a:lnTo>
                    <a:pt x="594784" y="829769"/>
                  </a:lnTo>
                  <a:lnTo>
                    <a:pt x="582084" y="834514"/>
                  </a:lnTo>
                  <a:lnTo>
                    <a:pt x="568326" y="837152"/>
                  </a:lnTo>
                  <a:lnTo>
                    <a:pt x="555097" y="838733"/>
                  </a:lnTo>
                  <a:lnTo>
                    <a:pt x="541338" y="839788"/>
                  </a:lnTo>
                  <a:lnTo>
                    <a:pt x="527580" y="839788"/>
                  </a:lnTo>
                  <a:lnTo>
                    <a:pt x="514880" y="838205"/>
                  </a:lnTo>
                  <a:lnTo>
                    <a:pt x="501651" y="835043"/>
                  </a:lnTo>
                  <a:lnTo>
                    <a:pt x="488951" y="831352"/>
                  </a:lnTo>
                  <a:lnTo>
                    <a:pt x="476780" y="826078"/>
                  </a:lnTo>
                  <a:lnTo>
                    <a:pt x="465138" y="819751"/>
                  </a:lnTo>
                  <a:lnTo>
                    <a:pt x="454555" y="812899"/>
                  </a:lnTo>
                  <a:lnTo>
                    <a:pt x="444501" y="804989"/>
                  </a:lnTo>
                  <a:lnTo>
                    <a:pt x="435505" y="794971"/>
                  </a:lnTo>
                  <a:lnTo>
                    <a:pt x="433917" y="793390"/>
                  </a:lnTo>
                  <a:lnTo>
                    <a:pt x="432330" y="791281"/>
                  </a:lnTo>
                  <a:lnTo>
                    <a:pt x="436034" y="781263"/>
                  </a:lnTo>
                  <a:lnTo>
                    <a:pt x="440797" y="771246"/>
                  </a:lnTo>
                  <a:lnTo>
                    <a:pt x="446088" y="761227"/>
                  </a:lnTo>
                  <a:lnTo>
                    <a:pt x="451380" y="751737"/>
                  </a:lnTo>
                  <a:lnTo>
                    <a:pt x="457730" y="741720"/>
                  </a:lnTo>
                  <a:lnTo>
                    <a:pt x="463551" y="731702"/>
                  </a:lnTo>
                  <a:lnTo>
                    <a:pt x="470430" y="721684"/>
                  </a:lnTo>
                  <a:lnTo>
                    <a:pt x="477309" y="712194"/>
                  </a:lnTo>
                  <a:lnTo>
                    <a:pt x="485776" y="702703"/>
                  </a:lnTo>
                  <a:lnTo>
                    <a:pt x="493184" y="693740"/>
                  </a:lnTo>
                  <a:lnTo>
                    <a:pt x="502709" y="684777"/>
                  </a:lnTo>
                  <a:lnTo>
                    <a:pt x="511176" y="675814"/>
                  </a:lnTo>
                  <a:lnTo>
                    <a:pt x="520701" y="666323"/>
                  </a:lnTo>
                  <a:lnTo>
                    <a:pt x="530755" y="657887"/>
                  </a:lnTo>
                  <a:lnTo>
                    <a:pt x="540809" y="649979"/>
                  </a:lnTo>
                  <a:lnTo>
                    <a:pt x="551922" y="641543"/>
                  </a:lnTo>
                  <a:lnTo>
                    <a:pt x="572030" y="627834"/>
                  </a:lnTo>
                  <a:lnTo>
                    <a:pt x="592667" y="615707"/>
                  </a:lnTo>
                  <a:lnTo>
                    <a:pt x="613834" y="605163"/>
                  </a:lnTo>
                  <a:lnTo>
                    <a:pt x="635001" y="595145"/>
                  </a:lnTo>
                  <a:lnTo>
                    <a:pt x="656697" y="587236"/>
                  </a:lnTo>
                  <a:lnTo>
                    <a:pt x="677863" y="580382"/>
                  </a:lnTo>
                  <a:lnTo>
                    <a:pt x="699030" y="575109"/>
                  </a:lnTo>
                  <a:lnTo>
                    <a:pt x="721255" y="571419"/>
                  </a:lnTo>
                  <a:lnTo>
                    <a:pt x="709084" y="572473"/>
                  </a:lnTo>
                  <a:lnTo>
                    <a:pt x="697442" y="574582"/>
                  </a:lnTo>
                  <a:lnTo>
                    <a:pt x="685272" y="576691"/>
                  </a:lnTo>
                  <a:lnTo>
                    <a:pt x="674159" y="579327"/>
                  </a:lnTo>
                  <a:lnTo>
                    <a:pt x="661988" y="581964"/>
                  </a:lnTo>
                  <a:lnTo>
                    <a:pt x="650347" y="586182"/>
                  </a:lnTo>
                  <a:lnTo>
                    <a:pt x="638176" y="589873"/>
                  </a:lnTo>
                  <a:lnTo>
                    <a:pt x="626005" y="593563"/>
                  </a:lnTo>
                  <a:lnTo>
                    <a:pt x="614363" y="598836"/>
                  </a:lnTo>
                  <a:lnTo>
                    <a:pt x="602192" y="604108"/>
                  </a:lnTo>
                  <a:lnTo>
                    <a:pt x="591080" y="609380"/>
                  </a:lnTo>
                  <a:lnTo>
                    <a:pt x="579438" y="615707"/>
                  </a:lnTo>
                  <a:lnTo>
                    <a:pt x="568326" y="621508"/>
                  </a:lnTo>
                  <a:lnTo>
                    <a:pt x="556684" y="629416"/>
                  </a:lnTo>
                  <a:lnTo>
                    <a:pt x="545042" y="636270"/>
                  </a:lnTo>
                  <a:lnTo>
                    <a:pt x="534459" y="644706"/>
                  </a:lnTo>
                  <a:lnTo>
                    <a:pt x="515409" y="658942"/>
                  </a:lnTo>
                  <a:lnTo>
                    <a:pt x="497947" y="674231"/>
                  </a:lnTo>
                  <a:lnTo>
                    <a:pt x="482072" y="690050"/>
                  </a:lnTo>
                  <a:lnTo>
                    <a:pt x="466726" y="706921"/>
                  </a:lnTo>
                  <a:lnTo>
                    <a:pt x="454026" y="723266"/>
                  </a:lnTo>
                  <a:lnTo>
                    <a:pt x="441855" y="740664"/>
                  </a:lnTo>
                  <a:lnTo>
                    <a:pt x="430742" y="758592"/>
                  </a:lnTo>
                  <a:lnTo>
                    <a:pt x="421747" y="776518"/>
                  </a:lnTo>
                  <a:lnTo>
                    <a:pt x="416984" y="766501"/>
                  </a:lnTo>
                  <a:lnTo>
                    <a:pt x="413280" y="755955"/>
                  </a:lnTo>
                  <a:lnTo>
                    <a:pt x="410634" y="746465"/>
                  </a:lnTo>
                  <a:lnTo>
                    <a:pt x="409047" y="735393"/>
                  </a:lnTo>
                  <a:lnTo>
                    <a:pt x="407988" y="724848"/>
                  </a:lnTo>
                  <a:lnTo>
                    <a:pt x="407988" y="714303"/>
                  </a:lnTo>
                  <a:lnTo>
                    <a:pt x="409576" y="703757"/>
                  </a:lnTo>
                  <a:lnTo>
                    <a:pt x="411692" y="693213"/>
                  </a:lnTo>
                  <a:lnTo>
                    <a:pt x="414867" y="682667"/>
                  </a:lnTo>
                  <a:lnTo>
                    <a:pt x="419630" y="671596"/>
                  </a:lnTo>
                  <a:lnTo>
                    <a:pt x="423863" y="662105"/>
                  </a:lnTo>
                  <a:lnTo>
                    <a:pt x="430213" y="652088"/>
                  </a:lnTo>
                  <a:lnTo>
                    <a:pt x="437622" y="643124"/>
                  </a:lnTo>
                  <a:lnTo>
                    <a:pt x="445559" y="633634"/>
                  </a:lnTo>
                  <a:lnTo>
                    <a:pt x="454555" y="625198"/>
                  </a:lnTo>
                  <a:lnTo>
                    <a:pt x="464609" y="617290"/>
                  </a:lnTo>
                  <a:lnTo>
                    <a:pt x="478897" y="607272"/>
                  </a:lnTo>
                  <a:lnTo>
                    <a:pt x="493184" y="597253"/>
                  </a:lnTo>
                  <a:lnTo>
                    <a:pt x="508001" y="589873"/>
                  </a:lnTo>
                  <a:lnTo>
                    <a:pt x="523347" y="581964"/>
                  </a:lnTo>
                  <a:lnTo>
                    <a:pt x="537634" y="575109"/>
                  </a:lnTo>
                  <a:lnTo>
                    <a:pt x="551922" y="569837"/>
                  </a:lnTo>
                  <a:lnTo>
                    <a:pt x="566738" y="565619"/>
                  </a:lnTo>
                  <a:lnTo>
                    <a:pt x="581026" y="560874"/>
                  </a:lnTo>
                  <a:lnTo>
                    <a:pt x="594784" y="557710"/>
                  </a:lnTo>
                  <a:lnTo>
                    <a:pt x="609072" y="555075"/>
                  </a:lnTo>
                  <a:lnTo>
                    <a:pt x="622830" y="552438"/>
                  </a:lnTo>
                  <a:lnTo>
                    <a:pt x="636059" y="550857"/>
                  </a:lnTo>
                  <a:lnTo>
                    <a:pt x="649817" y="550329"/>
                  </a:lnTo>
                  <a:close/>
                  <a:moveTo>
                    <a:pt x="239989" y="0"/>
                  </a:moveTo>
                  <a:lnTo>
                    <a:pt x="236290" y="12170"/>
                  </a:lnTo>
                  <a:lnTo>
                    <a:pt x="233648" y="24341"/>
                  </a:lnTo>
                  <a:lnTo>
                    <a:pt x="233119" y="36512"/>
                  </a:lnTo>
                  <a:lnTo>
                    <a:pt x="233648" y="48683"/>
                  </a:lnTo>
                  <a:lnTo>
                    <a:pt x="235233" y="60854"/>
                  </a:lnTo>
                  <a:lnTo>
                    <a:pt x="238403" y="73024"/>
                  </a:lnTo>
                  <a:lnTo>
                    <a:pt x="242102" y="85195"/>
                  </a:lnTo>
                  <a:lnTo>
                    <a:pt x="246858" y="96837"/>
                  </a:lnTo>
                  <a:lnTo>
                    <a:pt x="252671" y="109008"/>
                  </a:lnTo>
                  <a:lnTo>
                    <a:pt x="259012" y="121178"/>
                  </a:lnTo>
                  <a:lnTo>
                    <a:pt x="266409" y="132291"/>
                  </a:lnTo>
                  <a:lnTo>
                    <a:pt x="274336" y="144462"/>
                  </a:lnTo>
                  <a:lnTo>
                    <a:pt x="291773" y="168274"/>
                  </a:lnTo>
                  <a:lnTo>
                    <a:pt x="309739" y="192617"/>
                  </a:lnTo>
                  <a:lnTo>
                    <a:pt x="329819" y="216958"/>
                  </a:lnTo>
                  <a:lnTo>
                    <a:pt x="349370" y="241300"/>
                  </a:lnTo>
                  <a:lnTo>
                    <a:pt x="368393" y="266700"/>
                  </a:lnTo>
                  <a:lnTo>
                    <a:pt x="385831" y="291570"/>
                  </a:lnTo>
                  <a:lnTo>
                    <a:pt x="394286" y="304800"/>
                  </a:lnTo>
                  <a:lnTo>
                    <a:pt x="402212" y="318558"/>
                  </a:lnTo>
                  <a:lnTo>
                    <a:pt x="409610" y="331258"/>
                  </a:lnTo>
                  <a:lnTo>
                    <a:pt x="415951" y="345016"/>
                  </a:lnTo>
                  <a:lnTo>
                    <a:pt x="421235" y="358775"/>
                  </a:lnTo>
                  <a:lnTo>
                    <a:pt x="425462" y="372534"/>
                  </a:lnTo>
                  <a:lnTo>
                    <a:pt x="428633" y="387350"/>
                  </a:lnTo>
                  <a:lnTo>
                    <a:pt x="430746" y="400579"/>
                  </a:lnTo>
                  <a:lnTo>
                    <a:pt x="432331" y="411692"/>
                  </a:lnTo>
                  <a:lnTo>
                    <a:pt x="433388" y="422275"/>
                  </a:lnTo>
                  <a:lnTo>
                    <a:pt x="433388" y="432858"/>
                  </a:lnTo>
                  <a:lnTo>
                    <a:pt x="432331" y="443442"/>
                  </a:lnTo>
                  <a:lnTo>
                    <a:pt x="431803" y="453496"/>
                  </a:lnTo>
                  <a:lnTo>
                    <a:pt x="430218" y="464079"/>
                  </a:lnTo>
                  <a:lnTo>
                    <a:pt x="428633" y="474134"/>
                  </a:lnTo>
                  <a:lnTo>
                    <a:pt x="426519" y="484188"/>
                  </a:lnTo>
                  <a:lnTo>
                    <a:pt x="423877" y="493183"/>
                  </a:lnTo>
                  <a:lnTo>
                    <a:pt x="421235" y="503238"/>
                  </a:lnTo>
                  <a:lnTo>
                    <a:pt x="417007" y="512233"/>
                  </a:lnTo>
                  <a:lnTo>
                    <a:pt x="413309" y="520701"/>
                  </a:lnTo>
                  <a:lnTo>
                    <a:pt x="409610" y="529696"/>
                  </a:lnTo>
                  <a:lnTo>
                    <a:pt x="404854" y="538163"/>
                  </a:lnTo>
                  <a:lnTo>
                    <a:pt x="399570" y="546629"/>
                  </a:lnTo>
                  <a:lnTo>
                    <a:pt x="395342" y="554038"/>
                  </a:lnTo>
                  <a:lnTo>
                    <a:pt x="389001" y="561446"/>
                  </a:lnTo>
                  <a:lnTo>
                    <a:pt x="383189" y="569384"/>
                  </a:lnTo>
                  <a:lnTo>
                    <a:pt x="376848" y="576262"/>
                  </a:lnTo>
                  <a:lnTo>
                    <a:pt x="371035" y="582084"/>
                  </a:lnTo>
                  <a:lnTo>
                    <a:pt x="364166" y="588963"/>
                  </a:lnTo>
                  <a:lnTo>
                    <a:pt x="356240" y="594254"/>
                  </a:lnTo>
                  <a:lnTo>
                    <a:pt x="348842" y="600076"/>
                  </a:lnTo>
                  <a:lnTo>
                    <a:pt x="340916" y="605367"/>
                  </a:lnTo>
                  <a:lnTo>
                    <a:pt x="333518" y="609600"/>
                  </a:lnTo>
                  <a:lnTo>
                    <a:pt x="325063" y="614363"/>
                  </a:lnTo>
                  <a:lnTo>
                    <a:pt x="316609" y="618067"/>
                  </a:lnTo>
                  <a:lnTo>
                    <a:pt x="308683" y="621242"/>
                  </a:lnTo>
                  <a:lnTo>
                    <a:pt x="299171" y="624416"/>
                  </a:lnTo>
                  <a:lnTo>
                    <a:pt x="290716" y="626533"/>
                  </a:lnTo>
                  <a:lnTo>
                    <a:pt x="281733" y="628121"/>
                  </a:lnTo>
                  <a:lnTo>
                    <a:pt x="271694" y="629709"/>
                  </a:lnTo>
                  <a:lnTo>
                    <a:pt x="269052" y="629709"/>
                  </a:lnTo>
                  <a:lnTo>
                    <a:pt x="264824" y="630238"/>
                  </a:lnTo>
                  <a:lnTo>
                    <a:pt x="255313" y="616480"/>
                  </a:lnTo>
                  <a:lnTo>
                    <a:pt x="245273" y="602192"/>
                  </a:lnTo>
                  <a:lnTo>
                    <a:pt x="236290" y="587375"/>
                  </a:lnTo>
                  <a:lnTo>
                    <a:pt x="227835" y="572558"/>
                  </a:lnTo>
                  <a:lnTo>
                    <a:pt x="219381" y="557213"/>
                  </a:lnTo>
                  <a:lnTo>
                    <a:pt x="210926" y="541337"/>
                  </a:lnTo>
                  <a:lnTo>
                    <a:pt x="204057" y="524404"/>
                  </a:lnTo>
                  <a:lnTo>
                    <a:pt x="196659" y="506942"/>
                  </a:lnTo>
                  <a:lnTo>
                    <a:pt x="190318" y="489479"/>
                  </a:lnTo>
                  <a:lnTo>
                    <a:pt x="184505" y="471488"/>
                  </a:lnTo>
                  <a:lnTo>
                    <a:pt x="179221" y="453496"/>
                  </a:lnTo>
                  <a:lnTo>
                    <a:pt x="173937" y="434446"/>
                  </a:lnTo>
                  <a:lnTo>
                    <a:pt x="169709" y="415395"/>
                  </a:lnTo>
                  <a:lnTo>
                    <a:pt x="166010" y="396346"/>
                  </a:lnTo>
                  <a:lnTo>
                    <a:pt x="162311" y="376238"/>
                  </a:lnTo>
                  <a:lnTo>
                    <a:pt x="160198" y="355600"/>
                  </a:lnTo>
                  <a:lnTo>
                    <a:pt x="158613" y="337608"/>
                  </a:lnTo>
                  <a:lnTo>
                    <a:pt x="157027" y="320146"/>
                  </a:lnTo>
                  <a:lnTo>
                    <a:pt x="156499" y="301625"/>
                  </a:lnTo>
                  <a:lnTo>
                    <a:pt x="156499" y="284162"/>
                  </a:lnTo>
                  <a:lnTo>
                    <a:pt x="156499" y="265642"/>
                  </a:lnTo>
                  <a:lnTo>
                    <a:pt x="157027" y="249237"/>
                  </a:lnTo>
                  <a:lnTo>
                    <a:pt x="158613" y="231774"/>
                  </a:lnTo>
                  <a:lnTo>
                    <a:pt x="160726" y="214841"/>
                  </a:lnTo>
                  <a:lnTo>
                    <a:pt x="163368" y="197908"/>
                  </a:lnTo>
                  <a:lnTo>
                    <a:pt x="165482" y="181504"/>
                  </a:lnTo>
                  <a:lnTo>
                    <a:pt x="169181" y="165099"/>
                  </a:lnTo>
                  <a:lnTo>
                    <a:pt x="172351" y="149224"/>
                  </a:lnTo>
                  <a:lnTo>
                    <a:pt x="176579" y="133349"/>
                  </a:lnTo>
                  <a:lnTo>
                    <a:pt x="181335" y="118004"/>
                  </a:lnTo>
                  <a:lnTo>
                    <a:pt x="186091" y="103716"/>
                  </a:lnTo>
                  <a:lnTo>
                    <a:pt x="191903" y="88899"/>
                  </a:lnTo>
                  <a:lnTo>
                    <a:pt x="185034" y="104245"/>
                  </a:lnTo>
                  <a:lnTo>
                    <a:pt x="179221" y="120120"/>
                  </a:lnTo>
                  <a:lnTo>
                    <a:pt x="172880" y="136524"/>
                  </a:lnTo>
                  <a:lnTo>
                    <a:pt x="167596" y="152928"/>
                  </a:lnTo>
                  <a:lnTo>
                    <a:pt x="163368" y="170391"/>
                  </a:lnTo>
                  <a:lnTo>
                    <a:pt x="159141" y="188383"/>
                  </a:lnTo>
                  <a:lnTo>
                    <a:pt x="155442" y="205846"/>
                  </a:lnTo>
                  <a:lnTo>
                    <a:pt x="152272" y="223837"/>
                  </a:lnTo>
                  <a:lnTo>
                    <a:pt x="150158" y="242358"/>
                  </a:lnTo>
                  <a:lnTo>
                    <a:pt x="148573" y="261408"/>
                  </a:lnTo>
                  <a:lnTo>
                    <a:pt x="146987" y="280458"/>
                  </a:lnTo>
                  <a:lnTo>
                    <a:pt x="146459" y="299508"/>
                  </a:lnTo>
                  <a:lnTo>
                    <a:pt x="146459" y="319087"/>
                  </a:lnTo>
                  <a:lnTo>
                    <a:pt x="146987" y="339196"/>
                  </a:lnTo>
                  <a:lnTo>
                    <a:pt x="148573" y="358775"/>
                  </a:lnTo>
                  <a:lnTo>
                    <a:pt x="150158" y="379412"/>
                  </a:lnTo>
                  <a:lnTo>
                    <a:pt x="152272" y="396875"/>
                  </a:lnTo>
                  <a:lnTo>
                    <a:pt x="155442" y="415395"/>
                  </a:lnTo>
                  <a:lnTo>
                    <a:pt x="158613" y="432858"/>
                  </a:lnTo>
                  <a:lnTo>
                    <a:pt x="162311" y="449792"/>
                  </a:lnTo>
                  <a:lnTo>
                    <a:pt x="167067" y="466196"/>
                  </a:lnTo>
                  <a:lnTo>
                    <a:pt x="171294" y="483129"/>
                  </a:lnTo>
                  <a:lnTo>
                    <a:pt x="176051" y="499004"/>
                  </a:lnTo>
                  <a:lnTo>
                    <a:pt x="181335" y="515409"/>
                  </a:lnTo>
                  <a:lnTo>
                    <a:pt x="187676" y="531283"/>
                  </a:lnTo>
                  <a:lnTo>
                    <a:pt x="193488" y="546629"/>
                  </a:lnTo>
                  <a:lnTo>
                    <a:pt x="200358" y="560916"/>
                  </a:lnTo>
                  <a:lnTo>
                    <a:pt x="207227" y="575204"/>
                  </a:lnTo>
                  <a:lnTo>
                    <a:pt x="214625" y="590021"/>
                  </a:lnTo>
                  <a:lnTo>
                    <a:pt x="222551" y="603779"/>
                  </a:lnTo>
                  <a:lnTo>
                    <a:pt x="229949" y="616480"/>
                  </a:lnTo>
                  <a:lnTo>
                    <a:pt x="238403" y="629709"/>
                  </a:lnTo>
                  <a:lnTo>
                    <a:pt x="231006" y="628651"/>
                  </a:lnTo>
                  <a:lnTo>
                    <a:pt x="222551" y="627062"/>
                  </a:lnTo>
                  <a:lnTo>
                    <a:pt x="214625" y="625475"/>
                  </a:lnTo>
                  <a:lnTo>
                    <a:pt x="206699" y="623358"/>
                  </a:lnTo>
                  <a:lnTo>
                    <a:pt x="191375" y="618067"/>
                  </a:lnTo>
                  <a:lnTo>
                    <a:pt x="176579" y="611188"/>
                  </a:lnTo>
                  <a:lnTo>
                    <a:pt x="162311" y="602721"/>
                  </a:lnTo>
                  <a:lnTo>
                    <a:pt x="149629" y="593725"/>
                  </a:lnTo>
                  <a:lnTo>
                    <a:pt x="136419" y="583142"/>
                  </a:lnTo>
                  <a:lnTo>
                    <a:pt x="124266" y="571500"/>
                  </a:lnTo>
                  <a:lnTo>
                    <a:pt x="113697" y="558800"/>
                  </a:lnTo>
                  <a:lnTo>
                    <a:pt x="103129" y="543983"/>
                  </a:lnTo>
                  <a:lnTo>
                    <a:pt x="93618" y="529696"/>
                  </a:lnTo>
                  <a:lnTo>
                    <a:pt x="86220" y="513821"/>
                  </a:lnTo>
                  <a:lnTo>
                    <a:pt x="79350" y="496887"/>
                  </a:lnTo>
                  <a:lnTo>
                    <a:pt x="73538" y="479425"/>
                  </a:lnTo>
                  <a:lnTo>
                    <a:pt x="69311" y="460904"/>
                  </a:lnTo>
                  <a:lnTo>
                    <a:pt x="66668" y="442912"/>
                  </a:lnTo>
                  <a:lnTo>
                    <a:pt x="63498" y="415925"/>
                  </a:lnTo>
                  <a:lnTo>
                    <a:pt x="61913" y="389996"/>
                  </a:lnTo>
                  <a:lnTo>
                    <a:pt x="61913" y="365125"/>
                  </a:lnTo>
                  <a:lnTo>
                    <a:pt x="63498" y="340783"/>
                  </a:lnTo>
                  <a:lnTo>
                    <a:pt x="65612" y="316971"/>
                  </a:lnTo>
                  <a:lnTo>
                    <a:pt x="68782" y="294216"/>
                  </a:lnTo>
                  <a:lnTo>
                    <a:pt x="73538" y="272521"/>
                  </a:lnTo>
                  <a:lnTo>
                    <a:pt x="78822" y="251354"/>
                  </a:lnTo>
                  <a:lnTo>
                    <a:pt x="84106" y="231774"/>
                  </a:lnTo>
                  <a:lnTo>
                    <a:pt x="90976" y="211666"/>
                  </a:lnTo>
                  <a:lnTo>
                    <a:pt x="97845" y="193675"/>
                  </a:lnTo>
                  <a:lnTo>
                    <a:pt x="105243" y="175683"/>
                  </a:lnTo>
                  <a:lnTo>
                    <a:pt x="113697" y="158221"/>
                  </a:lnTo>
                  <a:lnTo>
                    <a:pt x="122152" y="142346"/>
                  </a:lnTo>
                  <a:lnTo>
                    <a:pt x="131135" y="127000"/>
                  </a:lnTo>
                  <a:lnTo>
                    <a:pt x="139590" y="112712"/>
                  </a:lnTo>
                  <a:lnTo>
                    <a:pt x="148573" y="98954"/>
                  </a:lnTo>
                  <a:lnTo>
                    <a:pt x="157556" y="86783"/>
                  </a:lnTo>
                  <a:lnTo>
                    <a:pt x="167067" y="74612"/>
                  </a:lnTo>
                  <a:lnTo>
                    <a:pt x="176051" y="64029"/>
                  </a:lnTo>
                  <a:lnTo>
                    <a:pt x="192960" y="43920"/>
                  </a:lnTo>
                  <a:lnTo>
                    <a:pt x="207755" y="28045"/>
                  </a:lnTo>
                  <a:lnTo>
                    <a:pt x="231006" y="6879"/>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等线" panose="020F0502020204030204"/>
                <a:ea typeface="+mn-ea"/>
                <a:cs typeface="+mn-cs"/>
              </a:endParaRPr>
            </a:p>
          </p:txBody>
        </p:sp>
        <p:sp>
          <p:nvSpPr>
            <p:cNvPr id="13" name="TextBox 149">
              <a:extLst>
                <a:ext uri="{FF2B5EF4-FFF2-40B4-BE49-F238E27FC236}">
                  <a16:creationId xmlns:a16="http://schemas.microsoft.com/office/drawing/2014/main" id="{72D2E969-7532-4568-B92A-D6C9EDC8F59C}"/>
                </a:ext>
              </a:extLst>
            </p:cNvPr>
            <p:cNvSpPr txBox="1"/>
            <p:nvPr/>
          </p:nvSpPr>
          <p:spPr>
            <a:xfrm>
              <a:off x="7744805" y="4367181"/>
              <a:ext cx="1036507"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dirty="0">
                  <a:ln>
                    <a:noFill/>
                  </a:ln>
                  <a:solidFill>
                    <a:srgbClr val="FFD229"/>
                  </a:solidFill>
                  <a:effectLst/>
                  <a:uLnTx/>
                  <a:uFillTx/>
                  <a:latin typeface="等线" panose="020F0502020204030204"/>
                  <a:ea typeface="+mn-ea"/>
                  <a:cs typeface="+mn-cs"/>
                </a:rPr>
                <a:t>04</a:t>
              </a:r>
            </a:p>
          </p:txBody>
        </p:sp>
      </p:grpSp>
      <p:grpSp>
        <p:nvGrpSpPr>
          <p:cNvPr id="14" name="Group 7">
            <a:extLst>
              <a:ext uri="{FF2B5EF4-FFF2-40B4-BE49-F238E27FC236}">
                <a16:creationId xmlns:a16="http://schemas.microsoft.com/office/drawing/2014/main" id="{6B32EFC3-95DB-4D77-98E6-04A73B764418}"/>
              </a:ext>
            </a:extLst>
          </p:cNvPr>
          <p:cNvGrpSpPr/>
          <p:nvPr/>
        </p:nvGrpSpPr>
        <p:grpSpPr>
          <a:xfrm>
            <a:off x="8950325" y="196858"/>
            <a:ext cx="2997201" cy="4631988"/>
            <a:chOff x="8950325" y="196858"/>
            <a:chExt cx="2997201" cy="4631988"/>
          </a:xfrm>
        </p:grpSpPr>
        <p:sp>
          <p:nvSpPr>
            <p:cNvPr id="15" name="Freeform: Shape 136">
              <a:extLst>
                <a:ext uri="{FF2B5EF4-FFF2-40B4-BE49-F238E27FC236}">
                  <a16:creationId xmlns:a16="http://schemas.microsoft.com/office/drawing/2014/main" id="{B974341E-7ACD-4ACE-90C4-91897F0BB3B0}"/>
                </a:ext>
              </a:extLst>
            </p:cNvPr>
            <p:cNvSpPr/>
            <p:nvPr/>
          </p:nvSpPr>
          <p:spPr>
            <a:xfrm>
              <a:off x="8950325" y="196858"/>
              <a:ext cx="2997201" cy="4362443"/>
            </a:xfrm>
            <a:custGeom>
              <a:avLst/>
              <a:gdLst>
                <a:gd name="connsiteX0" fmla="*/ 1257829 w 2997201"/>
                <a:gd name="connsiteY0" fmla="*/ 0 h 4362443"/>
                <a:gd name="connsiteX1" fmla="*/ 1294342 w 2997201"/>
                <a:gd name="connsiteY1" fmla="*/ 24322 h 4362443"/>
                <a:gd name="connsiteX2" fmla="*/ 1331384 w 2997201"/>
                <a:gd name="connsiteY2" fmla="*/ 49701 h 4362443"/>
                <a:gd name="connsiteX3" fmla="*/ 1349904 w 2997201"/>
                <a:gd name="connsiteY3" fmla="*/ 62391 h 4362443"/>
                <a:gd name="connsiteX4" fmla="*/ 1367896 w 2997201"/>
                <a:gd name="connsiteY4" fmla="*/ 76138 h 4362443"/>
                <a:gd name="connsiteX5" fmla="*/ 1385888 w 2997201"/>
                <a:gd name="connsiteY5" fmla="*/ 89885 h 4362443"/>
                <a:gd name="connsiteX6" fmla="*/ 1403350 w 2997201"/>
                <a:gd name="connsiteY6" fmla="*/ 104160 h 4362443"/>
                <a:gd name="connsiteX7" fmla="*/ 1419225 w 2997201"/>
                <a:gd name="connsiteY7" fmla="*/ 119493 h 4362443"/>
                <a:gd name="connsiteX8" fmla="*/ 1436159 w 2997201"/>
                <a:gd name="connsiteY8" fmla="*/ 135355 h 4362443"/>
                <a:gd name="connsiteX9" fmla="*/ 1450975 w 2997201"/>
                <a:gd name="connsiteY9" fmla="*/ 152275 h 4362443"/>
                <a:gd name="connsiteX10" fmla="*/ 1465792 w 2997201"/>
                <a:gd name="connsiteY10" fmla="*/ 169723 h 4362443"/>
                <a:gd name="connsiteX11" fmla="*/ 1478492 w 2997201"/>
                <a:gd name="connsiteY11" fmla="*/ 188229 h 4362443"/>
                <a:gd name="connsiteX12" fmla="*/ 1490663 w 2997201"/>
                <a:gd name="connsiteY12" fmla="*/ 207792 h 4362443"/>
                <a:gd name="connsiteX13" fmla="*/ 1497013 w 2997201"/>
                <a:gd name="connsiteY13" fmla="*/ 217838 h 4362443"/>
                <a:gd name="connsiteX14" fmla="*/ 1502305 w 2997201"/>
                <a:gd name="connsiteY14" fmla="*/ 228412 h 4362443"/>
                <a:gd name="connsiteX15" fmla="*/ 1507067 w 2997201"/>
                <a:gd name="connsiteY15" fmla="*/ 238987 h 4362443"/>
                <a:gd name="connsiteX16" fmla="*/ 1512359 w 2997201"/>
                <a:gd name="connsiteY16" fmla="*/ 250619 h 4362443"/>
                <a:gd name="connsiteX17" fmla="*/ 1516063 w 2997201"/>
                <a:gd name="connsiteY17" fmla="*/ 262780 h 4362443"/>
                <a:gd name="connsiteX18" fmla="*/ 1519767 w 2997201"/>
                <a:gd name="connsiteY18" fmla="*/ 274941 h 4362443"/>
                <a:gd name="connsiteX19" fmla="*/ 1522942 w 2997201"/>
                <a:gd name="connsiteY19" fmla="*/ 287101 h 4362443"/>
                <a:gd name="connsiteX20" fmla="*/ 1526117 w 2997201"/>
                <a:gd name="connsiteY20" fmla="*/ 299262 h 4362443"/>
                <a:gd name="connsiteX21" fmla="*/ 1528763 w 2997201"/>
                <a:gd name="connsiteY21" fmla="*/ 311423 h 4362443"/>
                <a:gd name="connsiteX22" fmla="*/ 1530351 w 2997201"/>
                <a:gd name="connsiteY22" fmla="*/ 323584 h 4362443"/>
                <a:gd name="connsiteX23" fmla="*/ 1531938 w 2997201"/>
                <a:gd name="connsiteY23" fmla="*/ 335745 h 4362443"/>
                <a:gd name="connsiteX24" fmla="*/ 1533525 w 2997201"/>
                <a:gd name="connsiteY24" fmla="*/ 348963 h 4362443"/>
                <a:gd name="connsiteX25" fmla="*/ 1535113 w 2997201"/>
                <a:gd name="connsiteY25" fmla="*/ 373285 h 4362443"/>
                <a:gd name="connsiteX26" fmla="*/ 1535113 w 2997201"/>
                <a:gd name="connsiteY26" fmla="*/ 398664 h 4362443"/>
                <a:gd name="connsiteX27" fmla="*/ 1534055 w 2997201"/>
                <a:gd name="connsiteY27" fmla="*/ 422985 h 4362443"/>
                <a:gd name="connsiteX28" fmla="*/ 1531938 w 2997201"/>
                <a:gd name="connsiteY28" fmla="*/ 447836 h 4362443"/>
                <a:gd name="connsiteX29" fmla="*/ 1528763 w 2997201"/>
                <a:gd name="connsiteY29" fmla="*/ 473215 h 4362443"/>
                <a:gd name="connsiteX30" fmla="*/ 1525059 w 2997201"/>
                <a:gd name="connsiteY30" fmla="*/ 497536 h 4362443"/>
                <a:gd name="connsiteX31" fmla="*/ 1520296 w 2997201"/>
                <a:gd name="connsiteY31" fmla="*/ 522387 h 4362443"/>
                <a:gd name="connsiteX32" fmla="*/ 1515005 w 2997201"/>
                <a:gd name="connsiteY32" fmla="*/ 546708 h 4362443"/>
                <a:gd name="connsiteX33" fmla="*/ 1506009 w 2997201"/>
                <a:gd name="connsiteY33" fmla="*/ 586514 h 4362443"/>
                <a:gd name="connsiteX34" fmla="*/ 1660243 w 2997201"/>
                <a:gd name="connsiteY34" fmla="*/ 813858 h 4362443"/>
                <a:gd name="connsiteX35" fmla="*/ 1686906 w 2997201"/>
                <a:gd name="connsiteY35" fmla="*/ 769716 h 4362443"/>
                <a:gd name="connsiteX36" fmla="*/ 1665817 w 2997201"/>
                <a:gd name="connsiteY36" fmla="*/ 774700 h 4362443"/>
                <a:gd name="connsiteX37" fmla="*/ 1661054 w 2997201"/>
                <a:gd name="connsiteY37" fmla="*/ 728615 h 4362443"/>
                <a:gd name="connsiteX38" fmla="*/ 1658408 w 2997201"/>
                <a:gd name="connsiteY38" fmla="*/ 683060 h 4362443"/>
                <a:gd name="connsiteX39" fmla="*/ 1657350 w 2997201"/>
                <a:gd name="connsiteY39" fmla="*/ 659223 h 4362443"/>
                <a:gd name="connsiteX40" fmla="*/ 1657350 w 2997201"/>
                <a:gd name="connsiteY40" fmla="*/ 635916 h 4362443"/>
                <a:gd name="connsiteX41" fmla="*/ 1658408 w 2997201"/>
                <a:gd name="connsiteY41" fmla="*/ 612079 h 4362443"/>
                <a:gd name="connsiteX42" fmla="*/ 1659996 w 2997201"/>
                <a:gd name="connsiteY42" fmla="*/ 589302 h 4362443"/>
                <a:gd name="connsiteX43" fmla="*/ 1662113 w 2997201"/>
                <a:gd name="connsiteY43" fmla="*/ 565995 h 4362443"/>
                <a:gd name="connsiteX44" fmla="*/ 1665287 w 2997201"/>
                <a:gd name="connsiteY44" fmla="*/ 543217 h 4362443"/>
                <a:gd name="connsiteX45" fmla="*/ 1669521 w 2997201"/>
                <a:gd name="connsiteY45" fmla="*/ 520440 h 4362443"/>
                <a:gd name="connsiteX46" fmla="*/ 1675871 w 2997201"/>
                <a:gd name="connsiteY46" fmla="*/ 499251 h 4362443"/>
                <a:gd name="connsiteX47" fmla="*/ 1679046 w 2997201"/>
                <a:gd name="connsiteY47" fmla="*/ 487597 h 4362443"/>
                <a:gd name="connsiteX48" fmla="*/ 1682750 w 2997201"/>
                <a:gd name="connsiteY48" fmla="*/ 477003 h 4362443"/>
                <a:gd name="connsiteX49" fmla="*/ 1686983 w 2997201"/>
                <a:gd name="connsiteY49" fmla="*/ 466939 h 4362443"/>
                <a:gd name="connsiteX50" fmla="*/ 1691746 w 2997201"/>
                <a:gd name="connsiteY50" fmla="*/ 456345 h 4362443"/>
                <a:gd name="connsiteX51" fmla="*/ 1697037 w 2997201"/>
                <a:gd name="connsiteY51" fmla="*/ 446280 h 4362443"/>
                <a:gd name="connsiteX52" fmla="*/ 1702329 w 2997201"/>
                <a:gd name="connsiteY52" fmla="*/ 436745 h 4362443"/>
                <a:gd name="connsiteX53" fmla="*/ 1707621 w 2997201"/>
                <a:gd name="connsiteY53" fmla="*/ 426681 h 4362443"/>
                <a:gd name="connsiteX54" fmla="*/ 1714500 w 2997201"/>
                <a:gd name="connsiteY54" fmla="*/ 416616 h 4362443"/>
                <a:gd name="connsiteX55" fmla="*/ 1720850 w 2997201"/>
                <a:gd name="connsiteY55" fmla="*/ 407611 h 4362443"/>
                <a:gd name="connsiteX56" fmla="*/ 1727729 w 2997201"/>
                <a:gd name="connsiteY56" fmla="*/ 398606 h 4362443"/>
                <a:gd name="connsiteX57" fmla="*/ 1734608 w 2997201"/>
                <a:gd name="connsiteY57" fmla="*/ 390131 h 4362443"/>
                <a:gd name="connsiteX58" fmla="*/ 1741487 w 2997201"/>
                <a:gd name="connsiteY58" fmla="*/ 381655 h 4362443"/>
                <a:gd name="connsiteX59" fmla="*/ 1748896 w 2997201"/>
                <a:gd name="connsiteY59" fmla="*/ 373710 h 4362443"/>
                <a:gd name="connsiteX60" fmla="*/ 1756304 w 2997201"/>
                <a:gd name="connsiteY60" fmla="*/ 366294 h 4362443"/>
                <a:gd name="connsiteX61" fmla="*/ 1764771 w 2997201"/>
                <a:gd name="connsiteY61" fmla="*/ 359408 h 4362443"/>
                <a:gd name="connsiteX62" fmla="*/ 1772708 w 2997201"/>
                <a:gd name="connsiteY62" fmla="*/ 352521 h 4362443"/>
                <a:gd name="connsiteX63" fmla="*/ 1789113 w 2997201"/>
                <a:gd name="connsiteY63" fmla="*/ 339808 h 4362443"/>
                <a:gd name="connsiteX64" fmla="*/ 1806575 w 2997201"/>
                <a:gd name="connsiteY64" fmla="*/ 328684 h 4362443"/>
                <a:gd name="connsiteX65" fmla="*/ 1825096 w 2997201"/>
                <a:gd name="connsiteY65" fmla="*/ 318090 h 4362443"/>
                <a:gd name="connsiteX66" fmla="*/ 1843617 w 2997201"/>
                <a:gd name="connsiteY66" fmla="*/ 309085 h 4362443"/>
                <a:gd name="connsiteX67" fmla="*/ 1862667 w 2997201"/>
                <a:gd name="connsiteY67" fmla="*/ 300610 h 4362443"/>
                <a:gd name="connsiteX68" fmla="*/ 1881717 w 2997201"/>
                <a:gd name="connsiteY68" fmla="*/ 293194 h 4362443"/>
                <a:gd name="connsiteX69" fmla="*/ 1901296 w 2997201"/>
                <a:gd name="connsiteY69" fmla="*/ 286308 h 4362443"/>
                <a:gd name="connsiteX70" fmla="*/ 1920875 w 2997201"/>
                <a:gd name="connsiteY70" fmla="*/ 279421 h 4362443"/>
                <a:gd name="connsiteX71" fmla="*/ 1960563 w 2997201"/>
                <a:gd name="connsiteY71" fmla="*/ 268827 h 4362443"/>
                <a:gd name="connsiteX72" fmla="*/ 1999721 w 2997201"/>
                <a:gd name="connsiteY72" fmla="*/ 258763 h 4362443"/>
                <a:gd name="connsiteX73" fmla="*/ 2001837 w 2997201"/>
                <a:gd name="connsiteY73" fmla="*/ 281540 h 4362443"/>
                <a:gd name="connsiteX74" fmla="*/ 2003425 w 2997201"/>
                <a:gd name="connsiteY74" fmla="*/ 304318 h 4362443"/>
                <a:gd name="connsiteX75" fmla="*/ 2005013 w 2997201"/>
                <a:gd name="connsiteY75" fmla="*/ 327625 h 4362443"/>
                <a:gd name="connsiteX76" fmla="*/ 2006600 w 2997201"/>
                <a:gd name="connsiteY76" fmla="*/ 350932 h 4362443"/>
                <a:gd name="connsiteX77" fmla="*/ 2006600 w 2997201"/>
                <a:gd name="connsiteY77" fmla="*/ 373710 h 4362443"/>
                <a:gd name="connsiteX78" fmla="*/ 2006600 w 2997201"/>
                <a:gd name="connsiteY78" fmla="*/ 397547 h 4362443"/>
                <a:gd name="connsiteX79" fmla="*/ 2005013 w 2997201"/>
                <a:gd name="connsiteY79" fmla="*/ 421384 h 4362443"/>
                <a:gd name="connsiteX80" fmla="*/ 2003425 w 2997201"/>
                <a:gd name="connsiteY80" fmla="*/ 444161 h 4362443"/>
                <a:gd name="connsiteX81" fmla="*/ 2000250 w 2997201"/>
                <a:gd name="connsiteY81" fmla="*/ 466939 h 4362443"/>
                <a:gd name="connsiteX82" fmla="*/ 1997075 w 2997201"/>
                <a:gd name="connsiteY82" fmla="*/ 489716 h 4362443"/>
                <a:gd name="connsiteX83" fmla="*/ 1991783 w 2997201"/>
                <a:gd name="connsiteY83" fmla="*/ 513023 h 4362443"/>
                <a:gd name="connsiteX84" fmla="*/ 1985963 w 2997201"/>
                <a:gd name="connsiteY84" fmla="*/ 534742 h 4362443"/>
                <a:gd name="connsiteX85" fmla="*/ 1979083 w 2997201"/>
                <a:gd name="connsiteY85" fmla="*/ 556460 h 4362443"/>
                <a:gd name="connsiteX86" fmla="*/ 1970087 w 2997201"/>
                <a:gd name="connsiteY86" fmla="*/ 577118 h 4362443"/>
                <a:gd name="connsiteX87" fmla="*/ 1965325 w 2997201"/>
                <a:gd name="connsiteY87" fmla="*/ 586653 h 4362443"/>
                <a:gd name="connsiteX88" fmla="*/ 1960033 w 2997201"/>
                <a:gd name="connsiteY88" fmla="*/ 597777 h 4362443"/>
                <a:gd name="connsiteX89" fmla="*/ 1953683 w 2997201"/>
                <a:gd name="connsiteY89" fmla="*/ 606782 h 4362443"/>
                <a:gd name="connsiteX90" fmla="*/ 1947863 w 2997201"/>
                <a:gd name="connsiteY90" fmla="*/ 616847 h 4362443"/>
                <a:gd name="connsiteX91" fmla="*/ 1941513 w 2997201"/>
                <a:gd name="connsiteY91" fmla="*/ 626381 h 4362443"/>
                <a:gd name="connsiteX92" fmla="*/ 1934633 w 2997201"/>
                <a:gd name="connsiteY92" fmla="*/ 635916 h 4362443"/>
                <a:gd name="connsiteX93" fmla="*/ 1927754 w 2997201"/>
                <a:gd name="connsiteY93" fmla="*/ 643862 h 4362443"/>
                <a:gd name="connsiteX94" fmla="*/ 1920875 w 2997201"/>
                <a:gd name="connsiteY94" fmla="*/ 652337 h 4362443"/>
                <a:gd name="connsiteX95" fmla="*/ 1913467 w 2997201"/>
                <a:gd name="connsiteY95" fmla="*/ 660813 h 4362443"/>
                <a:gd name="connsiteX96" fmla="*/ 1906058 w 2997201"/>
                <a:gd name="connsiteY96" fmla="*/ 668758 h 4362443"/>
                <a:gd name="connsiteX97" fmla="*/ 1898121 w 2997201"/>
                <a:gd name="connsiteY97" fmla="*/ 675115 h 4362443"/>
                <a:gd name="connsiteX98" fmla="*/ 1889654 w 2997201"/>
                <a:gd name="connsiteY98" fmla="*/ 682001 h 4362443"/>
                <a:gd name="connsiteX99" fmla="*/ 1873250 w 2997201"/>
                <a:gd name="connsiteY99" fmla="*/ 695244 h 4362443"/>
                <a:gd name="connsiteX100" fmla="*/ 1855787 w 2997201"/>
                <a:gd name="connsiteY100" fmla="*/ 706897 h 4362443"/>
                <a:gd name="connsiteX101" fmla="*/ 1838325 w 2997201"/>
                <a:gd name="connsiteY101" fmla="*/ 716432 h 4362443"/>
                <a:gd name="connsiteX102" fmla="*/ 1819804 w 2997201"/>
                <a:gd name="connsiteY102" fmla="*/ 725967 h 4362443"/>
                <a:gd name="connsiteX103" fmla="*/ 1800754 w 2997201"/>
                <a:gd name="connsiteY103" fmla="*/ 733912 h 4362443"/>
                <a:gd name="connsiteX104" fmla="*/ 1781704 w 2997201"/>
                <a:gd name="connsiteY104" fmla="*/ 741858 h 4362443"/>
                <a:gd name="connsiteX105" fmla="*/ 1762125 w 2997201"/>
                <a:gd name="connsiteY105" fmla="*/ 748744 h 4362443"/>
                <a:gd name="connsiteX106" fmla="*/ 1743075 w 2997201"/>
                <a:gd name="connsiteY106" fmla="*/ 754041 h 4362443"/>
                <a:gd name="connsiteX107" fmla="*/ 1728703 w 2997201"/>
                <a:gd name="connsiteY107" fmla="*/ 758319 h 4362443"/>
                <a:gd name="connsiteX108" fmla="*/ 1681405 w 2997201"/>
                <a:gd name="connsiteY108" fmla="*/ 851959 h 4362443"/>
                <a:gd name="connsiteX109" fmla="*/ 1776634 w 2997201"/>
                <a:gd name="connsiteY109" fmla="*/ 1280585 h 4362443"/>
                <a:gd name="connsiteX110" fmla="*/ 1973033 w 2997201"/>
                <a:gd name="connsiteY110" fmla="*/ 1175034 h 4362443"/>
                <a:gd name="connsiteX111" fmla="*/ 1958975 w 2997201"/>
                <a:gd name="connsiteY111" fmla="*/ 1168815 h 4362443"/>
                <a:gd name="connsiteX112" fmla="*/ 1978005 w 2997201"/>
                <a:gd name="connsiteY112" fmla="*/ 1133304 h 4362443"/>
                <a:gd name="connsiteX113" fmla="*/ 1997035 w 2997201"/>
                <a:gd name="connsiteY113" fmla="*/ 1098322 h 4362443"/>
                <a:gd name="connsiteX114" fmla="*/ 2007607 w 2997201"/>
                <a:gd name="connsiteY114" fmla="*/ 1081361 h 4362443"/>
                <a:gd name="connsiteX115" fmla="*/ 2017650 w 2997201"/>
                <a:gd name="connsiteY115" fmla="*/ 1063870 h 4362443"/>
                <a:gd name="connsiteX116" fmla="*/ 2029280 w 2997201"/>
                <a:gd name="connsiteY116" fmla="*/ 1047440 h 4362443"/>
                <a:gd name="connsiteX117" fmla="*/ 2040381 w 2997201"/>
                <a:gd name="connsiteY117" fmla="*/ 1030479 h 4362443"/>
                <a:gd name="connsiteX118" fmla="*/ 2052539 w 2997201"/>
                <a:gd name="connsiteY118" fmla="*/ 1015108 h 4362443"/>
                <a:gd name="connsiteX119" fmla="*/ 2064697 w 2997201"/>
                <a:gd name="connsiteY119" fmla="*/ 999738 h 4362443"/>
                <a:gd name="connsiteX120" fmla="*/ 2077912 w 2997201"/>
                <a:gd name="connsiteY120" fmla="*/ 985427 h 4362443"/>
                <a:gd name="connsiteX121" fmla="*/ 2091656 w 2997201"/>
                <a:gd name="connsiteY121" fmla="*/ 972177 h 4362443"/>
                <a:gd name="connsiteX122" fmla="*/ 2105928 w 2997201"/>
                <a:gd name="connsiteY122" fmla="*/ 959457 h 4362443"/>
                <a:gd name="connsiteX123" fmla="*/ 2121258 w 2997201"/>
                <a:gd name="connsiteY123" fmla="*/ 948856 h 4362443"/>
                <a:gd name="connsiteX124" fmla="*/ 2128658 w 2997201"/>
                <a:gd name="connsiteY124" fmla="*/ 943556 h 4362443"/>
                <a:gd name="connsiteX125" fmla="*/ 2136587 w 2997201"/>
                <a:gd name="connsiteY125" fmla="*/ 938786 h 4362443"/>
                <a:gd name="connsiteX126" fmla="*/ 2144516 w 2997201"/>
                <a:gd name="connsiteY126" fmla="*/ 934016 h 4362443"/>
                <a:gd name="connsiteX127" fmla="*/ 2152974 w 2997201"/>
                <a:gd name="connsiteY127" fmla="*/ 929775 h 4362443"/>
                <a:gd name="connsiteX128" fmla="*/ 2163018 w 2997201"/>
                <a:gd name="connsiteY128" fmla="*/ 926065 h 4362443"/>
                <a:gd name="connsiteX129" fmla="*/ 2172004 w 2997201"/>
                <a:gd name="connsiteY129" fmla="*/ 922885 h 4362443"/>
                <a:gd name="connsiteX130" fmla="*/ 2181519 w 2997201"/>
                <a:gd name="connsiteY130" fmla="*/ 919705 h 4362443"/>
                <a:gd name="connsiteX131" fmla="*/ 2191034 w 2997201"/>
                <a:gd name="connsiteY131" fmla="*/ 916525 h 4362443"/>
                <a:gd name="connsiteX132" fmla="*/ 2201077 w 2997201"/>
                <a:gd name="connsiteY132" fmla="*/ 914934 h 4362443"/>
                <a:gd name="connsiteX133" fmla="*/ 2210064 w 2997201"/>
                <a:gd name="connsiteY133" fmla="*/ 913344 h 4362443"/>
                <a:gd name="connsiteX134" fmla="*/ 2220107 w 2997201"/>
                <a:gd name="connsiteY134" fmla="*/ 912283 h 4362443"/>
                <a:gd name="connsiteX135" fmla="*/ 2230151 w 2997201"/>
                <a:gd name="connsiteY135" fmla="*/ 912283 h 4362443"/>
                <a:gd name="connsiteX136" fmla="*/ 2249181 w 2997201"/>
                <a:gd name="connsiteY136" fmla="*/ 911224 h 4362443"/>
                <a:gd name="connsiteX137" fmla="*/ 2268739 w 2997201"/>
                <a:gd name="connsiteY137" fmla="*/ 912814 h 4362443"/>
                <a:gd name="connsiteX138" fmla="*/ 2287769 w 2997201"/>
                <a:gd name="connsiteY138" fmla="*/ 915994 h 4362443"/>
                <a:gd name="connsiteX139" fmla="*/ 2307856 w 2997201"/>
                <a:gd name="connsiteY139" fmla="*/ 919175 h 4362443"/>
                <a:gd name="connsiteX140" fmla="*/ 2326886 w 2997201"/>
                <a:gd name="connsiteY140" fmla="*/ 924475 h 4362443"/>
                <a:gd name="connsiteX141" fmla="*/ 2346445 w 2997201"/>
                <a:gd name="connsiteY141" fmla="*/ 929775 h 4362443"/>
                <a:gd name="connsiteX142" fmla="*/ 2365474 w 2997201"/>
                <a:gd name="connsiteY142" fmla="*/ 935606 h 4362443"/>
                <a:gd name="connsiteX143" fmla="*/ 2384504 w 2997201"/>
                <a:gd name="connsiteY143" fmla="*/ 942496 h 4362443"/>
                <a:gd name="connsiteX144" fmla="*/ 2422564 w 2997201"/>
                <a:gd name="connsiteY144" fmla="*/ 957336 h 4362443"/>
                <a:gd name="connsiteX145" fmla="*/ 2459038 w 2997201"/>
                <a:gd name="connsiteY145" fmla="*/ 971647 h 4362443"/>
                <a:gd name="connsiteX146" fmla="*/ 2451637 w 2997201"/>
                <a:gd name="connsiteY146" fmla="*/ 991258 h 4362443"/>
                <a:gd name="connsiteX147" fmla="*/ 2442123 w 2997201"/>
                <a:gd name="connsiteY147" fmla="*/ 1011398 h 4362443"/>
                <a:gd name="connsiteX148" fmla="*/ 2433136 w 2997201"/>
                <a:gd name="connsiteY148" fmla="*/ 1030479 h 4362443"/>
                <a:gd name="connsiteX149" fmla="*/ 2424150 w 2997201"/>
                <a:gd name="connsiteY149" fmla="*/ 1050090 h 4362443"/>
                <a:gd name="connsiteX150" fmla="*/ 2413578 w 2997201"/>
                <a:gd name="connsiteY150" fmla="*/ 1068641 h 4362443"/>
                <a:gd name="connsiteX151" fmla="*/ 2403006 w 2997201"/>
                <a:gd name="connsiteY151" fmla="*/ 1087192 h 4362443"/>
                <a:gd name="connsiteX152" fmla="*/ 2391376 w 2997201"/>
                <a:gd name="connsiteY152" fmla="*/ 1105212 h 4362443"/>
                <a:gd name="connsiteX153" fmla="*/ 2379218 w 2997201"/>
                <a:gd name="connsiteY153" fmla="*/ 1122173 h 4362443"/>
                <a:gd name="connsiteX154" fmla="*/ 2367060 w 2997201"/>
                <a:gd name="connsiteY154" fmla="*/ 1138074 h 4362443"/>
                <a:gd name="connsiteX155" fmla="*/ 2353316 w 2997201"/>
                <a:gd name="connsiteY155" fmla="*/ 1153974 h 4362443"/>
                <a:gd name="connsiteX156" fmla="*/ 2339573 w 2997201"/>
                <a:gd name="connsiteY156" fmla="*/ 1168815 h 4362443"/>
                <a:gd name="connsiteX157" fmla="*/ 2324243 w 2997201"/>
                <a:gd name="connsiteY157" fmla="*/ 1182596 h 4362443"/>
                <a:gd name="connsiteX158" fmla="*/ 2308385 w 2997201"/>
                <a:gd name="connsiteY158" fmla="*/ 1194786 h 4362443"/>
                <a:gd name="connsiteX159" fmla="*/ 2292527 w 2997201"/>
                <a:gd name="connsiteY159" fmla="*/ 1205917 h 4362443"/>
                <a:gd name="connsiteX160" fmla="*/ 2283012 w 2997201"/>
                <a:gd name="connsiteY160" fmla="*/ 1211217 h 4362443"/>
                <a:gd name="connsiteX161" fmla="*/ 2275082 w 2997201"/>
                <a:gd name="connsiteY161" fmla="*/ 1215987 h 4362443"/>
                <a:gd name="connsiteX162" fmla="*/ 2265568 w 2997201"/>
                <a:gd name="connsiteY162" fmla="*/ 1220757 h 4362443"/>
                <a:gd name="connsiteX163" fmla="*/ 2256581 w 2997201"/>
                <a:gd name="connsiteY163" fmla="*/ 1224467 h 4362443"/>
                <a:gd name="connsiteX164" fmla="*/ 2246538 w 2997201"/>
                <a:gd name="connsiteY164" fmla="*/ 1228178 h 4362443"/>
                <a:gd name="connsiteX165" fmla="*/ 2237551 w 2997201"/>
                <a:gd name="connsiteY165" fmla="*/ 1231358 h 4362443"/>
                <a:gd name="connsiteX166" fmla="*/ 2228565 w 2997201"/>
                <a:gd name="connsiteY166" fmla="*/ 1234538 h 4362443"/>
                <a:gd name="connsiteX167" fmla="*/ 2218521 w 2997201"/>
                <a:gd name="connsiteY167" fmla="*/ 1235598 h 4362443"/>
                <a:gd name="connsiteX168" fmla="*/ 2209535 w 2997201"/>
                <a:gd name="connsiteY168" fmla="*/ 1237188 h 4362443"/>
                <a:gd name="connsiteX169" fmla="*/ 2199492 w 2997201"/>
                <a:gd name="connsiteY169" fmla="*/ 1238778 h 4362443"/>
                <a:gd name="connsiteX170" fmla="*/ 2190505 w 2997201"/>
                <a:gd name="connsiteY170" fmla="*/ 1239838 h 4362443"/>
                <a:gd name="connsiteX171" fmla="*/ 2181519 w 2997201"/>
                <a:gd name="connsiteY171" fmla="*/ 1239838 h 4362443"/>
                <a:gd name="connsiteX172" fmla="*/ 2162489 w 2997201"/>
                <a:gd name="connsiteY172" fmla="*/ 1238778 h 4362443"/>
                <a:gd name="connsiteX173" fmla="*/ 2143459 w 2997201"/>
                <a:gd name="connsiteY173" fmla="*/ 1236658 h 4362443"/>
                <a:gd name="connsiteX174" fmla="*/ 2124429 w 2997201"/>
                <a:gd name="connsiteY174" fmla="*/ 1232948 h 4362443"/>
                <a:gd name="connsiteX175" fmla="*/ 2105399 w 2997201"/>
                <a:gd name="connsiteY175" fmla="*/ 1228178 h 4362443"/>
                <a:gd name="connsiteX176" fmla="*/ 2086898 w 2997201"/>
                <a:gd name="connsiteY176" fmla="*/ 1222878 h 4362443"/>
                <a:gd name="connsiteX177" fmla="*/ 2067868 w 2997201"/>
                <a:gd name="connsiteY177" fmla="*/ 1215987 h 4362443"/>
                <a:gd name="connsiteX178" fmla="*/ 2049367 w 2997201"/>
                <a:gd name="connsiteY178" fmla="*/ 1208567 h 4362443"/>
                <a:gd name="connsiteX179" fmla="*/ 2031394 w 2997201"/>
                <a:gd name="connsiteY179" fmla="*/ 1200616 h 4362443"/>
                <a:gd name="connsiteX180" fmla="*/ 2011092 w 2997201"/>
                <a:gd name="connsiteY180" fmla="*/ 1191766 h 4362443"/>
                <a:gd name="connsiteX181" fmla="*/ 1802558 w 2997201"/>
                <a:gd name="connsiteY181" fmla="*/ 1323977 h 4362443"/>
                <a:gd name="connsiteX182" fmla="*/ 1590409 w 2997201"/>
                <a:gd name="connsiteY182" fmla="*/ 1634598 h 4362443"/>
                <a:gd name="connsiteX183" fmla="*/ 1654953 w 2997201"/>
                <a:gd name="connsiteY183" fmla="*/ 2235199 h 4362443"/>
                <a:gd name="connsiteX184" fmla="*/ 1666592 w 2997201"/>
                <a:gd name="connsiteY184" fmla="*/ 2233613 h 4362443"/>
                <a:gd name="connsiteX185" fmla="*/ 1678760 w 2997201"/>
                <a:gd name="connsiteY185" fmla="*/ 2231497 h 4362443"/>
                <a:gd name="connsiteX186" fmla="*/ 1690928 w 2997201"/>
                <a:gd name="connsiteY186" fmla="*/ 2227263 h 4362443"/>
                <a:gd name="connsiteX187" fmla="*/ 1703625 w 2997201"/>
                <a:gd name="connsiteY187" fmla="*/ 2223029 h 4362443"/>
                <a:gd name="connsiteX188" fmla="*/ 1716852 w 2997201"/>
                <a:gd name="connsiteY188" fmla="*/ 2217740 h 4362443"/>
                <a:gd name="connsiteX189" fmla="*/ 1729549 w 2997201"/>
                <a:gd name="connsiteY189" fmla="*/ 2210857 h 4362443"/>
                <a:gd name="connsiteX190" fmla="*/ 1743304 w 2997201"/>
                <a:gd name="connsiteY190" fmla="*/ 2203979 h 4362443"/>
                <a:gd name="connsiteX191" fmla="*/ 1757059 w 2997201"/>
                <a:gd name="connsiteY191" fmla="*/ 2195511 h 4362443"/>
                <a:gd name="connsiteX192" fmla="*/ 1769757 w 2997201"/>
                <a:gd name="connsiteY192" fmla="*/ 2187043 h 4362443"/>
                <a:gd name="connsiteX193" fmla="*/ 1783512 w 2997201"/>
                <a:gd name="connsiteY193" fmla="*/ 2178048 h 4362443"/>
                <a:gd name="connsiteX194" fmla="*/ 1797267 w 2997201"/>
                <a:gd name="connsiteY194" fmla="*/ 2168525 h 4362443"/>
                <a:gd name="connsiteX195" fmla="*/ 1811023 w 2997201"/>
                <a:gd name="connsiteY195" fmla="*/ 2157939 h 4362443"/>
                <a:gd name="connsiteX196" fmla="*/ 1838004 w 2997201"/>
                <a:gd name="connsiteY196" fmla="*/ 2137301 h 4362443"/>
                <a:gd name="connsiteX197" fmla="*/ 1863398 w 2997201"/>
                <a:gd name="connsiteY197" fmla="*/ 2116134 h 4362443"/>
                <a:gd name="connsiteX198" fmla="*/ 1888264 w 2997201"/>
                <a:gd name="connsiteY198" fmla="*/ 2095496 h 4362443"/>
                <a:gd name="connsiteX199" fmla="*/ 1909955 w 2997201"/>
                <a:gd name="connsiteY199" fmla="*/ 2074858 h 4362443"/>
                <a:gd name="connsiteX200" fmla="*/ 1930588 w 2997201"/>
                <a:gd name="connsiteY200" fmla="*/ 2055812 h 4362443"/>
                <a:gd name="connsiteX201" fmla="*/ 1948046 w 2997201"/>
                <a:gd name="connsiteY201" fmla="*/ 2039408 h 4362443"/>
                <a:gd name="connsiteX202" fmla="*/ 1973441 w 2997201"/>
                <a:gd name="connsiteY202" fmla="*/ 2013483 h 4362443"/>
                <a:gd name="connsiteX203" fmla="*/ 1982435 w 2997201"/>
                <a:gd name="connsiteY203" fmla="*/ 2003959 h 4362443"/>
                <a:gd name="connsiteX204" fmla="*/ 2405145 w 2997201"/>
                <a:gd name="connsiteY204" fmla="*/ 1558927 h 4362443"/>
                <a:gd name="connsiteX205" fmla="*/ 2401795 w 2997201"/>
                <a:gd name="connsiteY205" fmla="*/ 1471405 h 4362443"/>
                <a:gd name="connsiteX206" fmla="*/ 2397125 w 2997201"/>
                <a:gd name="connsiteY206" fmla="*/ 1484275 h 4362443"/>
                <a:gd name="connsiteX207" fmla="*/ 2390246 w 2997201"/>
                <a:gd name="connsiteY207" fmla="*/ 1501775 h 4362443"/>
                <a:gd name="connsiteX208" fmla="*/ 2383367 w 2997201"/>
                <a:gd name="connsiteY208" fmla="*/ 1496472 h 4362443"/>
                <a:gd name="connsiteX209" fmla="*/ 2376488 w 2997201"/>
                <a:gd name="connsiteY209" fmla="*/ 1490639 h 4362443"/>
                <a:gd name="connsiteX210" fmla="*/ 2369609 w 2997201"/>
                <a:gd name="connsiteY210" fmla="*/ 1485335 h 4362443"/>
                <a:gd name="connsiteX211" fmla="*/ 2363788 w 2997201"/>
                <a:gd name="connsiteY211" fmla="*/ 1478971 h 4362443"/>
                <a:gd name="connsiteX212" fmla="*/ 2358496 w 2997201"/>
                <a:gd name="connsiteY212" fmla="*/ 1473138 h 4362443"/>
                <a:gd name="connsiteX213" fmla="*/ 2353204 w 2997201"/>
                <a:gd name="connsiteY213" fmla="*/ 1466244 h 4362443"/>
                <a:gd name="connsiteX214" fmla="*/ 2348442 w 2997201"/>
                <a:gd name="connsiteY214" fmla="*/ 1459880 h 4362443"/>
                <a:gd name="connsiteX215" fmla="*/ 2343679 w 2997201"/>
                <a:gd name="connsiteY215" fmla="*/ 1452985 h 4362443"/>
                <a:gd name="connsiteX216" fmla="*/ 2339975 w 2997201"/>
                <a:gd name="connsiteY216" fmla="*/ 1446091 h 4362443"/>
                <a:gd name="connsiteX217" fmla="*/ 2336271 w 2997201"/>
                <a:gd name="connsiteY217" fmla="*/ 1439197 h 4362443"/>
                <a:gd name="connsiteX218" fmla="*/ 2333096 w 2997201"/>
                <a:gd name="connsiteY218" fmla="*/ 1431772 h 4362443"/>
                <a:gd name="connsiteX219" fmla="*/ 2329921 w 2997201"/>
                <a:gd name="connsiteY219" fmla="*/ 1424878 h 4362443"/>
                <a:gd name="connsiteX220" fmla="*/ 2327804 w 2997201"/>
                <a:gd name="connsiteY220" fmla="*/ 1416923 h 4362443"/>
                <a:gd name="connsiteX221" fmla="*/ 2326217 w 2997201"/>
                <a:gd name="connsiteY221" fmla="*/ 1409498 h 4362443"/>
                <a:gd name="connsiteX222" fmla="*/ 2324100 w 2997201"/>
                <a:gd name="connsiteY222" fmla="*/ 1402074 h 4362443"/>
                <a:gd name="connsiteX223" fmla="*/ 2323042 w 2997201"/>
                <a:gd name="connsiteY223" fmla="*/ 1394119 h 4362443"/>
                <a:gd name="connsiteX224" fmla="*/ 2321454 w 2997201"/>
                <a:gd name="connsiteY224" fmla="*/ 1378208 h 4362443"/>
                <a:gd name="connsiteX225" fmla="*/ 2320925 w 2997201"/>
                <a:gd name="connsiteY225" fmla="*/ 1362298 h 4362443"/>
                <a:gd name="connsiteX226" fmla="*/ 2322513 w 2997201"/>
                <a:gd name="connsiteY226" fmla="*/ 1345328 h 4362443"/>
                <a:gd name="connsiteX227" fmla="*/ 2324629 w 2997201"/>
                <a:gd name="connsiteY227" fmla="*/ 1328357 h 4362443"/>
                <a:gd name="connsiteX228" fmla="*/ 2328333 w 2997201"/>
                <a:gd name="connsiteY228" fmla="*/ 1311917 h 4362443"/>
                <a:gd name="connsiteX229" fmla="*/ 2334154 w 2997201"/>
                <a:gd name="connsiteY229" fmla="*/ 1294946 h 4362443"/>
                <a:gd name="connsiteX230" fmla="*/ 2339975 w 2997201"/>
                <a:gd name="connsiteY230" fmla="*/ 1277445 h 4362443"/>
                <a:gd name="connsiteX231" fmla="*/ 2347383 w 2997201"/>
                <a:gd name="connsiteY231" fmla="*/ 1260475 h 4362443"/>
                <a:gd name="connsiteX232" fmla="*/ 2354263 w 2997201"/>
                <a:gd name="connsiteY232" fmla="*/ 1265248 h 4362443"/>
                <a:gd name="connsiteX233" fmla="*/ 2361142 w 2997201"/>
                <a:gd name="connsiteY233" fmla="*/ 1271081 h 4362443"/>
                <a:gd name="connsiteX234" fmla="*/ 2367492 w 2997201"/>
                <a:gd name="connsiteY234" fmla="*/ 1276385 h 4362443"/>
                <a:gd name="connsiteX235" fmla="*/ 2372784 w 2997201"/>
                <a:gd name="connsiteY235" fmla="*/ 1282749 h 4362443"/>
                <a:gd name="connsiteX236" fmla="*/ 2378604 w 2997201"/>
                <a:gd name="connsiteY236" fmla="*/ 1288582 h 4362443"/>
                <a:gd name="connsiteX237" fmla="*/ 2383367 w 2997201"/>
                <a:gd name="connsiteY237" fmla="*/ 1294946 h 4362443"/>
                <a:gd name="connsiteX238" fmla="*/ 2388130 w 2997201"/>
                <a:gd name="connsiteY238" fmla="*/ 1301841 h 4362443"/>
                <a:gd name="connsiteX239" fmla="*/ 2392363 w 2997201"/>
                <a:gd name="connsiteY239" fmla="*/ 1308735 h 4362443"/>
                <a:gd name="connsiteX240" fmla="*/ 2396596 w 2997201"/>
                <a:gd name="connsiteY240" fmla="*/ 1314569 h 4362443"/>
                <a:gd name="connsiteX241" fmla="*/ 2399242 w 2997201"/>
                <a:gd name="connsiteY241" fmla="*/ 1322524 h 4362443"/>
                <a:gd name="connsiteX242" fmla="*/ 2399911 w 2997201"/>
                <a:gd name="connsiteY242" fmla="*/ 1323977 h 4362443"/>
                <a:gd name="connsiteX243" fmla="*/ 2407790 w 2997201"/>
                <a:gd name="connsiteY243" fmla="*/ 1323977 h 4362443"/>
                <a:gd name="connsiteX244" fmla="*/ 2437946 w 2997201"/>
                <a:gd name="connsiteY244" fmla="*/ 1548344 h 4362443"/>
                <a:gd name="connsiteX245" fmla="*/ 2547944 w 2997201"/>
                <a:gd name="connsiteY245" fmla="*/ 1489382 h 4362443"/>
                <a:gd name="connsiteX246" fmla="*/ 2538413 w 2997201"/>
                <a:gd name="connsiteY246" fmla="*/ 1487004 h 4362443"/>
                <a:gd name="connsiteX247" fmla="*/ 2552171 w 2997201"/>
                <a:gd name="connsiteY247" fmla="*/ 1455848 h 4362443"/>
                <a:gd name="connsiteX248" fmla="*/ 2564871 w 2997201"/>
                <a:gd name="connsiteY248" fmla="*/ 1424692 h 4362443"/>
                <a:gd name="connsiteX249" fmla="*/ 2571751 w 2997201"/>
                <a:gd name="connsiteY249" fmla="*/ 1408322 h 4362443"/>
                <a:gd name="connsiteX250" fmla="*/ 2578630 w 2997201"/>
                <a:gd name="connsiteY250" fmla="*/ 1393536 h 4362443"/>
                <a:gd name="connsiteX251" fmla="*/ 2585509 w 2997201"/>
                <a:gd name="connsiteY251" fmla="*/ 1378222 h 4362443"/>
                <a:gd name="connsiteX252" fmla="*/ 2593976 w 2997201"/>
                <a:gd name="connsiteY252" fmla="*/ 1362908 h 4362443"/>
                <a:gd name="connsiteX253" fmla="*/ 2601384 w 2997201"/>
                <a:gd name="connsiteY253" fmla="*/ 1348650 h 4362443"/>
                <a:gd name="connsiteX254" fmla="*/ 2610909 w 2997201"/>
                <a:gd name="connsiteY254" fmla="*/ 1334920 h 4362443"/>
                <a:gd name="connsiteX255" fmla="*/ 2619905 w 2997201"/>
                <a:gd name="connsiteY255" fmla="*/ 1321719 h 4362443"/>
                <a:gd name="connsiteX256" fmla="*/ 2630488 w 2997201"/>
                <a:gd name="connsiteY256" fmla="*/ 1309573 h 4362443"/>
                <a:gd name="connsiteX257" fmla="*/ 2641071 w 2997201"/>
                <a:gd name="connsiteY257" fmla="*/ 1298484 h 4362443"/>
                <a:gd name="connsiteX258" fmla="*/ 2653242 w 2997201"/>
                <a:gd name="connsiteY258" fmla="*/ 1287394 h 4362443"/>
                <a:gd name="connsiteX259" fmla="*/ 2659592 w 2997201"/>
                <a:gd name="connsiteY259" fmla="*/ 1283170 h 4362443"/>
                <a:gd name="connsiteX260" fmla="*/ 2665413 w 2997201"/>
                <a:gd name="connsiteY260" fmla="*/ 1278417 h 4362443"/>
                <a:gd name="connsiteX261" fmla="*/ 2672292 w 2997201"/>
                <a:gd name="connsiteY261" fmla="*/ 1273664 h 4362443"/>
                <a:gd name="connsiteX262" fmla="*/ 2680230 w 2997201"/>
                <a:gd name="connsiteY262" fmla="*/ 1269968 h 4362443"/>
                <a:gd name="connsiteX263" fmla="*/ 2691342 w 2997201"/>
                <a:gd name="connsiteY263" fmla="*/ 1264687 h 4362443"/>
                <a:gd name="connsiteX264" fmla="*/ 2704572 w 2997201"/>
                <a:gd name="connsiteY264" fmla="*/ 1260991 h 4362443"/>
                <a:gd name="connsiteX265" fmla="*/ 2716742 w 2997201"/>
                <a:gd name="connsiteY265" fmla="*/ 1257822 h 4362443"/>
                <a:gd name="connsiteX266" fmla="*/ 2728913 w 2997201"/>
                <a:gd name="connsiteY266" fmla="*/ 1255710 h 4362443"/>
                <a:gd name="connsiteX267" fmla="*/ 2741613 w 2997201"/>
                <a:gd name="connsiteY267" fmla="*/ 1254126 h 4362443"/>
                <a:gd name="connsiteX268" fmla="*/ 2753784 w 2997201"/>
                <a:gd name="connsiteY268" fmla="*/ 1254126 h 4362443"/>
                <a:gd name="connsiteX269" fmla="*/ 2767013 w 2997201"/>
                <a:gd name="connsiteY269" fmla="*/ 1254126 h 4362443"/>
                <a:gd name="connsiteX270" fmla="*/ 2779184 w 2997201"/>
                <a:gd name="connsiteY270" fmla="*/ 1254654 h 4362443"/>
                <a:gd name="connsiteX271" fmla="*/ 2805113 w 2997201"/>
                <a:gd name="connsiteY271" fmla="*/ 1257294 h 4362443"/>
                <a:gd name="connsiteX272" fmla="*/ 2829984 w 2997201"/>
                <a:gd name="connsiteY272" fmla="*/ 1260991 h 4362443"/>
                <a:gd name="connsiteX273" fmla="*/ 2854326 w 2997201"/>
                <a:gd name="connsiteY273" fmla="*/ 1265743 h 4362443"/>
                <a:gd name="connsiteX274" fmla="*/ 2879726 w 2997201"/>
                <a:gd name="connsiteY274" fmla="*/ 1269440 h 4362443"/>
                <a:gd name="connsiteX275" fmla="*/ 2868084 w 2997201"/>
                <a:gd name="connsiteY275" fmla="*/ 1299012 h 4362443"/>
                <a:gd name="connsiteX276" fmla="*/ 2856972 w 2997201"/>
                <a:gd name="connsiteY276" fmla="*/ 1328584 h 4362443"/>
                <a:gd name="connsiteX277" fmla="*/ 2844801 w 2997201"/>
                <a:gd name="connsiteY277" fmla="*/ 1359212 h 4362443"/>
                <a:gd name="connsiteX278" fmla="*/ 2831572 w 2997201"/>
                <a:gd name="connsiteY278" fmla="*/ 1388255 h 4362443"/>
                <a:gd name="connsiteX279" fmla="*/ 2824693 w 2997201"/>
                <a:gd name="connsiteY279" fmla="*/ 1401985 h 4362443"/>
                <a:gd name="connsiteX280" fmla="*/ 2817284 w 2997201"/>
                <a:gd name="connsiteY280" fmla="*/ 1415187 h 4362443"/>
                <a:gd name="connsiteX281" fmla="*/ 2808818 w 2997201"/>
                <a:gd name="connsiteY281" fmla="*/ 1428389 h 4362443"/>
                <a:gd name="connsiteX282" fmla="*/ 2799822 w 2997201"/>
                <a:gd name="connsiteY282" fmla="*/ 1440534 h 4362443"/>
                <a:gd name="connsiteX283" fmla="*/ 2789768 w 2997201"/>
                <a:gd name="connsiteY283" fmla="*/ 1452680 h 4362443"/>
                <a:gd name="connsiteX284" fmla="*/ 2779713 w 2997201"/>
                <a:gd name="connsiteY284" fmla="*/ 1463241 h 4362443"/>
                <a:gd name="connsiteX285" fmla="*/ 2767543 w 2997201"/>
                <a:gd name="connsiteY285" fmla="*/ 1472746 h 4362443"/>
                <a:gd name="connsiteX286" fmla="*/ 2755372 w 2997201"/>
                <a:gd name="connsiteY286" fmla="*/ 1481723 h 4362443"/>
                <a:gd name="connsiteX287" fmla="*/ 2742672 w 2997201"/>
                <a:gd name="connsiteY287" fmla="*/ 1489116 h 4362443"/>
                <a:gd name="connsiteX288" fmla="*/ 2729442 w 2997201"/>
                <a:gd name="connsiteY288" fmla="*/ 1495453 h 4362443"/>
                <a:gd name="connsiteX289" fmla="*/ 2715684 w 2997201"/>
                <a:gd name="connsiteY289" fmla="*/ 1499678 h 4362443"/>
                <a:gd name="connsiteX290" fmla="*/ 2702984 w 2997201"/>
                <a:gd name="connsiteY290" fmla="*/ 1503902 h 4362443"/>
                <a:gd name="connsiteX291" fmla="*/ 2689226 w 2997201"/>
                <a:gd name="connsiteY291" fmla="*/ 1506014 h 4362443"/>
                <a:gd name="connsiteX292" fmla="*/ 2675467 w 2997201"/>
                <a:gd name="connsiteY292" fmla="*/ 1507599 h 4362443"/>
                <a:gd name="connsiteX293" fmla="*/ 2661709 w 2997201"/>
                <a:gd name="connsiteY293" fmla="*/ 1508127 h 4362443"/>
                <a:gd name="connsiteX294" fmla="*/ 2647951 w 2997201"/>
                <a:gd name="connsiteY294" fmla="*/ 1507599 h 4362443"/>
                <a:gd name="connsiteX295" fmla="*/ 2634192 w 2997201"/>
                <a:gd name="connsiteY295" fmla="*/ 1506014 h 4362443"/>
                <a:gd name="connsiteX296" fmla="*/ 2620434 w 2997201"/>
                <a:gd name="connsiteY296" fmla="*/ 1504430 h 4362443"/>
                <a:gd name="connsiteX297" fmla="*/ 2606676 w 2997201"/>
                <a:gd name="connsiteY297" fmla="*/ 1502318 h 4362443"/>
                <a:gd name="connsiteX298" fmla="*/ 2592388 w 2997201"/>
                <a:gd name="connsiteY298" fmla="*/ 1499678 h 4362443"/>
                <a:gd name="connsiteX299" fmla="*/ 2586888 w 2997201"/>
                <a:gd name="connsiteY299" fmla="*/ 1498470 h 4362443"/>
                <a:gd name="connsiteX300" fmla="*/ 2435830 w 2997201"/>
                <a:gd name="connsiteY300" fmla="*/ 1583269 h 4362443"/>
                <a:gd name="connsiteX301" fmla="*/ 2082954 w 2997201"/>
                <a:gd name="connsiteY301" fmla="*/ 1987551 h 4362443"/>
                <a:gd name="connsiteX302" fmla="*/ 2594325 w 2997201"/>
                <a:gd name="connsiteY302" fmla="*/ 1872067 h 4362443"/>
                <a:gd name="connsiteX303" fmla="*/ 2612964 w 2997201"/>
                <a:gd name="connsiteY303" fmla="*/ 1856217 h 4362443"/>
                <a:gd name="connsiteX304" fmla="*/ 2637243 w 2997201"/>
                <a:gd name="connsiteY304" fmla="*/ 1834956 h 4362443"/>
                <a:gd name="connsiteX305" fmla="*/ 2649382 w 2997201"/>
                <a:gd name="connsiteY305" fmla="*/ 1824326 h 4362443"/>
                <a:gd name="connsiteX306" fmla="*/ 2661521 w 2997201"/>
                <a:gd name="connsiteY306" fmla="*/ 1814227 h 4362443"/>
                <a:gd name="connsiteX307" fmla="*/ 2674189 w 2997201"/>
                <a:gd name="connsiteY307" fmla="*/ 1804128 h 4362443"/>
                <a:gd name="connsiteX308" fmla="*/ 2687383 w 2997201"/>
                <a:gd name="connsiteY308" fmla="*/ 1795093 h 4362443"/>
                <a:gd name="connsiteX309" fmla="*/ 2700051 w 2997201"/>
                <a:gd name="connsiteY309" fmla="*/ 1786588 h 4362443"/>
                <a:gd name="connsiteX310" fmla="*/ 2713246 w 2997201"/>
                <a:gd name="connsiteY310" fmla="*/ 1779147 h 4362443"/>
                <a:gd name="connsiteX311" fmla="*/ 2726968 w 2997201"/>
                <a:gd name="connsiteY311" fmla="*/ 1772769 h 4362443"/>
                <a:gd name="connsiteX312" fmla="*/ 2740163 w 2997201"/>
                <a:gd name="connsiteY312" fmla="*/ 1767454 h 4362443"/>
                <a:gd name="connsiteX313" fmla="*/ 2753886 w 2997201"/>
                <a:gd name="connsiteY313" fmla="*/ 1762670 h 4362443"/>
                <a:gd name="connsiteX314" fmla="*/ 2768664 w 2997201"/>
                <a:gd name="connsiteY314" fmla="*/ 1760013 h 4362443"/>
                <a:gd name="connsiteX315" fmla="*/ 2776054 w 2997201"/>
                <a:gd name="connsiteY315" fmla="*/ 1758950 h 4362443"/>
                <a:gd name="connsiteX316" fmla="*/ 2783971 w 2997201"/>
                <a:gd name="connsiteY316" fmla="*/ 1758950 h 4362443"/>
                <a:gd name="connsiteX317" fmla="*/ 2790832 w 2997201"/>
                <a:gd name="connsiteY317" fmla="*/ 1758950 h 4362443"/>
                <a:gd name="connsiteX318" fmla="*/ 2798221 w 2997201"/>
                <a:gd name="connsiteY318" fmla="*/ 1758950 h 4362443"/>
                <a:gd name="connsiteX319" fmla="*/ 2813527 w 2997201"/>
                <a:gd name="connsiteY319" fmla="*/ 1760544 h 4362443"/>
                <a:gd name="connsiteX320" fmla="*/ 2827778 w 2997201"/>
                <a:gd name="connsiteY320" fmla="*/ 1762670 h 4362443"/>
                <a:gd name="connsiteX321" fmla="*/ 2841501 w 2997201"/>
                <a:gd name="connsiteY321" fmla="*/ 1765859 h 4362443"/>
                <a:gd name="connsiteX322" fmla="*/ 2855223 w 2997201"/>
                <a:gd name="connsiteY322" fmla="*/ 1771174 h 4362443"/>
                <a:gd name="connsiteX323" fmla="*/ 2867890 w 2997201"/>
                <a:gd name="connsiteY323" fmla="*/ 1777553 h 4362443"/>
                <a:gd name="connsiteX324" fmla="*/ 2881085 w 2997201"/>
                <a:gd name="connsiteY324" fmla="*/ 1784462 h 4362443"/>
                <a:gd name="connsiteX325" fmla="*/ 2893753 w 2997201"/>
                <a:gd name="connsiteY325" fmla="*/ 1792966 h 4362443"/>
                <a:gd name="connsiteX326" fmla="*/ 2905892 w 2997201"/>
                <a:gd name="connsiteY326" fmla="*/ 1800939 h 4362443"/>
                <a:gd name="connsiteX327" fmla="*/ 2918031 w 2997201"/>
                <a:gd name="connsiteY327" fmla="*/ 1810506 h 4362443"/>
                <a:gd name="connsiteX328" fmla="*/ 2929643 w 2997201"/>
                <a:gd name="connsiteY328" fmla="*/ 1820074 h 4362443"/>
                <a:gd name="connsiteX329" fmla="*/ 2941782 w 2997201"/>
                <a:gd name="connsiteY329" fmla="*/ 1831236 h 4362443"/>
                <a:gd name="connsiteX330" fmla="*/ 2953394 w 2997201"/>
                <a:gd name="connsiteY330" fmla="*/ 1841866 h 4362443"/>
                <a:gd name="connsiteX331" fmla="*/ 2975033 w 2997201"/>
                <a:gd name="connsiteY331" fmla="*/ 1863127 h 4362443"/>
                <a:gd name="connsiteX332" fmla="*/ 2997201 w 2997201"/>
                <a:gd name="connsiteY332" fmla="*/ 1884918 h 4362443"/>
                <a:gd name="connsiteX333" fmla="*/ 2973978 w 2997201"/>
                <a:gd name="connsiteY333" fmla="*/ 1904053 h 4362443"/>
                <a:gd name="connsiteX334" fmla="*/ 2950227 w 2997201"/>
                <a:gd name="connsiteY334" fmla="*/ 1924250 h 4362443"/>
                <a:gd name="connsiteX335" fmla="*/ 2938088 w 2997201"/>
                <a:gd name="connsiteY335" fmla="*/ 1934348 h 4362443"/>
                <a:gd name="connsiteX336" fmla="*/ 2925948 w 2997201"/>
                <a:gd name="connsiteY336" fmla="*/ 1944445 h 4362443"/>
                <a:gd name="connsiteX337" fmla="*/ 2913809 w 2997201"/>
                <a:gd name="connsiteY337" fmla="*/ 1954546 h 4362443"/>
                <a:gd name="connsiteX338" fmla="*/ 2900614 w 2997201"/>
                <a:gd name="connsiteY338" fmla="*/ 1963582 h 4362443"/>
                <a:gd name="connsiteX339" fmla="*/ 2888475 w 2997201"/>
                <a:gd name="connsiteY339" fmla="*/ 1972087 h 4362443"/>
                <a:gd name="connsiteX340" fmla="*/ 2875807 w 2997201"/>
                <a:gd name="connsiteY340" fmla="*/ 1979529 h 4362443"/>
                <a:gd name="connsiteX341" fmla="*/ 2862085 w 2997201"/>
                <a:gd name="connsiteY341" fmla="*/ 1985908 h 4362443"/>
                <a:gd name="connsiteX342" fmla="*/ 2848362 w 2997201"/>
                <a:gd name="connsiteY342" fmla="*/ 1991222 h 4362443"/>
                <a:gd name="connsiteX343" fmla="*/ 2841501 w 2997201"/>
                <a:gd name="connsiteY343" fmla="*/ 1993348 h 4362443"/>
                <a:gd name="connsiteX344" fmla="*/ 2834639 w 2997201"/>
                <a:gd name="connsiteY344" fmla="*/ 1994942 h 4362443"/>
                <a:gd name="connsiteX345" fmla="*/ 2827778 w 2997201"/>
                <a:gd name="connsiteY345" fmla="*/ 1996538 h 4362443"/>
                <a:gd name="connsiteX346" fmla="*/ 2820389 w 2997201"/>
                <a:gd name="connsiteY346" fmla="*/ 1998133 h 4362443"/>
                <a:gd name="connsiteX347" fmla="*/ 2813527 w 2997201"/>
                <a:gd name="connsiteY347" fmla="*/ 1998133 h 4362443"/>
                <a:gd name="connsiteX348" fmla="*/ 2805610 w 2997201"/>
                <a:gd name="connsiteY348" fmla="*/ 1998665 h 4362443"/>
                <a:gd name="connsiteX349" fmla="*/ 2798221 w 2997201"/>
                <a:gd name="connsiteY349" fmla="*/ 1998133 h 4362443"/>
                <a:gd name="connsiteX350" fmla="*/ 2790832 w 2997201"/>
                <a:gd name="connsiteY350" fmla="*/ 1997070 h 4362443"/>
                <a:gd name="connsiteX351" fmla="*/ 2782915 w 2997201"/>
                <a:gd name="connsiteY351" fmla="*/ 1998133 h 4362443"/>
                <a:gd name="connsiteX352" fmla="*/ 2775526 w 2997201"/>
                <a:gd name="connsiteY352" fmla="*/ 1998133 h 4362443"/>
                <a:gd name="connsiteX353" fmla="*/ 2767609 w 2997201"/>
                <a:gd name="connsiteY353" fmla="*/ 1997070 h 4362443"/>
                <a:gd name="connsiteX354" fmla="*/ 2760747 w 2997201"/>
                <a:gd name="connsiteY354" fmla="*/ 1996538 h 4362443"/>
                <a:gd name="connsiteX355" fmla="*/ 2746497 w 2997201"/>
                <a:gd name="connsiteY355" fmla="*/ 1993348 h 4362443"/>
                <a:gd name="connsiteX356" fmla="*/ 2732246 w 2997201"/>
                <a:gd name="connsiteY356" fmla="*/ 1989626 h 4362443"/>
                <a:gd name="connsiteX357" fmla="*/ 2719051 w 2997201"/>
                <a:gd name="connsiteY357" fmla="*/ 1984310 h 4362443"/>
                <a:gd name="connsiteX358" fmla="*/ 2705329 w 2997201"/>
                <a:gd name="connsiteY358" fmla="*/ 1977403 h 4362443"/>
                <a:gd name="connsiteX359" fmla="*/ 2692661 w 2997201"/>
                <a:gd name="connsiteY359" fmla="*/ 1969430 h 4362443"/>
                <a:gd name="connsiteX360" fmla="*/ 2680522 w 2997201"/>
                <a:gd name="connsiteY360" fmla="*/ 1960393 h 4362443"/>
                <a:gd name="connsiteX361" fmla="*/ 2667327 w 2997201"/>
                <a:gd name="connsiteY361" fmla="*/ 1951359 h 4362443"/>
                <a:gd name="connsiteX362" fmla="*/ 2656243 w 2997201"/>
                <a:gd name="connsiteY362" fmla="*/ 1941259 h 4362443"/>
                <a:gd name="connsiteX363" fmla="*/ 2644104 w 2997201"/>
                <a:gd name="connsiteY363" fmla="*/ 1930628 h 4362443"/>
                <a:gd name="connsiteX364" fmla="*/ 2632492 w 2997201"/>
                <a:gd name="connsiteY364" fmla="*/ 1919998 h 4362443"/>
                <a:gd name="connsiteX365" fmla="*/ 2610325 w 2997201"/>
                <a:gd name="connsiteY365" fmla="*/ 1898206 h 4362443"/>
                <a:gd name="connsiteX366" fmla="*/ 2610056 w 2997201"/>
                <a:gd name="connsiteY366" fmla="*/ 1897928 h 4362443"/>
                <a:gd name="connsiteX367" fmla="*/ 2440591 w 2997201"/>
                <a:gd name="connsiteY367" fmla="*/ 1949982 h 4362443"/>
                <a:gd name="connsiteX368" fmla="*/ 2476902 w 2997201"/>
                <a:gd name="connsiteY368" fmla="*/ 1965363 h 4362443"/>
                <a:gd name="connsiteX369" fmla="*/ 2480579 w 2997201"/>
                <a:gd name="connsiteY369" fmla="*/ 1964265 h 4362443"/>
                <a:gd name="connsiteX370" fmla="*/ 2500607 w 2997201"/>
                <a:gd name="connsiteY370" fmla="*/ 1957916 h 4362443"/>
                <a:gd name="connsiteX371" fmla="*/ 2520109 w 2997201"/>
                <a:gd name="connsiteY371" fmla="*/ 1952626 h 4362443"/>
                <a:gd name="connsiteX372" fmla="*/ 2530124 w 2997201"/>
                <a:gd name="connsiteY372" fmla="*/ 1951037 h 4362443"/>
                <a:gd name="connsiteX373" fmla="*/ 2540665 w 2997201"/>
                <a:gd name="connsiteY373" fmla="*/ 1949451 h 4362443"/>
                <a:gd name="connsiteX374" fmla="*/ 2550680 w 2997201"/>
                <a:gd name="connsiteY374" fmla="*/ 1949451 h 4362443"/>
                <a:gd name="connsiteX375" fmla="*/ 2560694 w 2997201"/>
                <a:gd name="connsiteY375" fmla="*/ 1949451 h 4362443"/>
                <a:gd name="connsiteX376" fmla="*/ 2570181 w 2997201"/>
                <a:gd name="connsiteY376" fmla="*/ 1951037 h 4362443"/>
                <a:gd name="connsiteX377" fmla="*/ 2580196 w 2997201"/>
                <a:gd name="connsiteY377" fmla="*/ 1953684 h 4362443"/>
                <a:gd name="connsiteX378" fmla="*/ 2590210 w 2997201"/>
                <a:gd name="connsiteY378" fmla="*/ 1957388 h 4362443"/>
                <a:gd name="connsiteX379" fmla="*/ 2600225 w 2997201"/>
                <a:gd name="connsiteY379" fmla="*/ 1961621 h 4362443"/>
                <a:gd name="connsiteX380" fmla="*/ 2609185 w 2997201"/>
                <a:gd name="connsiteY380" fmla="*/ 1967442 h 4362443"/>
                <a:gd name="connsiteX381" fmla="*/ 2617618 w 2997201"/>
                <a:gd name="connsiteY381" fmla="*/ 1974320 h 4362443"/>
                <a:gd name="connsiteX382" fmla="*/ 2624997 w 2997201"/>
                <a:gd name="connsiteY382" fmla="*/ 1980671 h 4362443"/>
                <a:gd name="connsiteX383" fmla="*/ 2632376 w 2997201"/>
                <a:gd name="connsiteY383" fmla="*/ 1988608 h 4362443"/>
                <a:gd name="connsiteX384" fmla="*/ 2639228 w 2997201"/>
                <a:gd name="connsiteY384" fmla="*/ 1997077 h 4362443"/>
                <a:gd name="connsiteX385" fmla="*/ 2646080 w 2997201"/>
                <a:gd name="connsiteY385" fmla="*/ 2005546 h 4362443"/>
                <a:gd name="connsiteX386" fmla="*/ 2652932 w 2997201"/>
                <a:gd name="connsiteY386" fmla="*/ 2014540 h 4362443"/>
                <a:gd name="connsiteX387" fmla="*/ 2659257 w 2997201"/>
                <a:gd name="connsiteY387" fmla="*/ 2024593 h 4362443"/>
                <a:gd name="connsiteX388" fmla="*/ 2671907 w 2997201"/>
                <a:gd name="connsiteY388" fmla="*/ 2043641 h 4362443"/>
                <a:gd name="connsiteX389" fmla="*/ 2683502 w 2997201"/>
                <a:gd name="connsiteY389" fmla="*/ 2064275 h 4362443"/>
                <a:gd name="connsiteX390" fmla="*/ 2695625 w 2997201"/>
                <a:gd name="connsiteY390" fmla="*/ 2083853 h 4362443"/>
                <a:gd name="connsiteX391" fmla="*/ 2708275 w 2997201"/>
                <a:gd name="connsiteY391" fmla="*/ 2103433 h 4362443"/>
                <a:gd name="connsiteX392" fmla="*/ 2688773 w 2997201"/>
                <a:gd name="connsiteY392" fmla="*/ 2108195 h 4362443"/>
                <a:gd name="connsiteX393" fmla="*/ 2668217 w 2997201"/>
                <a:gd name="connsiteY393" fmla="*/ 2114547 h 4362443"/>
                <a:gd name="connsiteX394" fmla="*/ 2647661 w 2997201"/>
                <a:gd name="connsiteY394" fmla="*/ 2120367 h 4362443"/>
                <a:gd name="connsiteX395" fmla="*/ 2628160 w 2997201"/>
                <a:gd name="connsiteY395" fmla="*/ 2125660 h 4362443"/>
                <a:gd name="connsiteX396" fmla="*/ 2618145 w 2997201"/>
                <a:gd name="connsiteY396" fmla="*/ 2128306 h 4362443"/>
                <a:gd name="connsiteX397" fmla="*/ 2608131 w 2997201"/>
                <a:gd name="connsiteY397" fmla="*/ 2129364 h 4362443"/>
                <a:gd name="connsiteX398" fmla="*/ 2598643 w 2997201"/>
                <a:gd name="connsiteY398" fmla="*/ 2130422 h 4362443"/>
                <a:gd name="connsiteX399" fmla="*/ 2588629 w 2997201"/>
                <a:gd name="connsiteY399" fmla="*/ 2129364 h 4362443"/>
                <a:gd name="connsiteX400" fmla="*/ 2578615 w 2997201"/>
                <a:gd name="connsiteY400" fmla="*/ 2128835 h 4362443"/>
                <a:gd name="connsiteX401" fmla="*/ 2568600 w 2997201"/>
                <a:gd name="connsiteY401" fmla="*/ 2126718 h 4362443"/>
                <a:gd name="connsiteX402" fmla="*/ 2559640 w 2997201"/>
                <a:gd name="connsiteY402" fmla="*/ 2122483 h 4362443"/>
                <a:gd name="connsiteX403" fmla="*/ 2549625 w 2997201"/>
                <a:gd name="connsiteY403" fmla="*/ 2117192 h 4362443"/>
                <a:gd name="connsiteX404" fmla="*/ 2540665 w 2997201"/>
                <a:gd name="connsiteY404" fmla="*/ 2111372 h 4362443"/>
                <a:gd name="connsiteX405" fmla="*/ 2531705 w 2997201"/>
                <a:gd name="connsiteY405" fmla="*/ 2105021 h 4362443"/>
                <a:gd name="connsiteX406" fmla="*/ 2523272 w 2997201"/>
                <a:gd name="connsiteY406" fmla="*/ 2097611 h 4362443"/>
                <a:gd name="connsiteX407" fmla="*/ 2515893 w 2997201"/>
                <a:gd name="connsiteY407" fmla="*/ 2090202 h 4362443"/>
                <a:gd name="connsiteX408" fmla="*/ 2507986 w 2997201"/>
                <a:gd name="connsiteY408" fmla="*/ 2081737 h 4362443"/>
                <a:gd name="connsiteX409" fmla="*/ 2501134 w 2997201"/>
                <a:gd name="connsiteY409" fmla="*/ 2072211 h 4362443"/>
                <a:gd name="connsiteX410" fmla="*/ 2495337 w 2997201"/>
                <a:gd name="connsiteY410" fmla="*/ 2063217 h 4362443"/>
                <a:gd name="connsiteX411" fmla="*/ 2488485 w 2997201"/>
                <a:gd name="connsiteY411" fmla="*/ 2053165 h 4362443"/>
                <a:gd name="connsiteX412" fmla="*/ 2476362 w 2997201"/>
                <a:gd name="connsiteY412" fmla="*/ 2033587 h 4362443"/>
                <a:gd name="connsiteX413" fmla="*/ 2464766 w 2997201"/>
                <a:gd name="connsiteY413" fmla="*/ 2013483 h 4362443"/>
                <a:gd name="connsiteX414" fmla="*/ 2453698 w 2997201"/>
                <a:gd name="connsiteY414" fmla="*/ 1993902 h 4362443"/>
                <a:gd name="connsiteX415" fmla="*/ 2441575 w 2997201"/>
                <a:gd name="connsiteY415" fmla="*/ 1975380 h 4362443"/>
                <a:gd name="connsiteX416" fmla="*/ 2453513 w 2997201"/>
                <a:gd name="connsiteY416" fmla="*/ 1972138 h 4362443"/>
                <a:gd name="connsiteX417" fmla="*/ 2403029 w 2997201"/>
                <a:gd name="connsiteY417" fmla="*/ 1949982 h 4362443"/>
                <a:gd name="connsiteX418" fmla="*/ 2010474 w 2997201"/>
                <a:gd name="connsiteY418" fmla="*/ 2052107 h 4362443"/>
                <a:gd name="connsiteX419" fmla="*/ 1994603 w 2997201"/>
                <a:gd name="connsiteY419" fmla="*/ 2071156 h 4362443"/>
                <a:gd name="connsiteX420" fmla="*/ 1977673 w 2997201"/>
                <a:gd name="connsiteY420" fmla="*/ 2090202 h 4362443"/>
                <a:gd name="connsiteX421" fmla="*/ 1961802 w 2997201"/>
                <a:gd name="connsiteY421" fmla="*/ 2107667 h 4362443"/>
                <a:gd name="connsiteX422" fmla="*/ 1945930 w 2997201"/>
                <a:gd name="connsiteY422" fmla="*/ 2124602 h 4362443"/>
                <a:gd name="connsiteX423" fmla="*/ 1914187 w 2997201"/>
                <a:gd name="connsiteY423" fmla="*/ 2156352 h 4362443"/>
                <a:gd name="connsiteX424" fmla="*/ 1882444 w 2997201"/>
                <a:gd name="connsiteY424" fmla="*/ 2185455 h 4362443"/>
                <a:gd name="connsiteX425" fmla="*/ 1852288 w 2997201"/>
                <a:gd name="connsiteY425" fmla="*/ 2211388 h 4362443"/>
                <a:gd name="connsiteX426" fmla="*/ 1823191 w 2997201"/>
                <a:gd name="connsiteY426" fmla="*/ 2235199 h 4362443"/>
                <a:gd name="connsiteX427" fmla="*/ 1795680 w 2997201"/>
                <a:gd name="connsiteY427" fmla="*/ 2256364 h 4362443"/>
                <a:gd name="connsiteX428" fmla="*/ 1769757 w 2997201"/>
                <a:gd name="connsiteY428" fmla="*/ 2275415 h 4362443"/>
                <a:gd name="connsiteX429" fmla="*/ 1746478 w 2997201"/>
                <a:gd name="connsiteY429" fmla="*/ 2291290 h 4362443"/>
                <a:gd name="connsiteX430" fmla="*/ 1724258 w 2997201"/>
                <a:gd name="connsiteY430" fmla="*/ 2305048 h 4362443"/>
                <a:gd name="connsiteX431" fmla="*/ 1705213 w 2997201"/>
                <a:gd name="connsiteY431" fmla="*/ 2316690 h 4362443"/>
                <a:gd name="connsiteX432" fmla="*/ 1689341 w 2997201"/>
                <a:gd name="connsiteY432" fmla="*/ 2326743 h 4362443"/>
                <a:gd name="connsiteX433" fmla="*/ 1667121 w 2997201"/>
                <a:gd name="connsiteY433" fmla="*/ 2337856 h 4362443"/>
                <a:gd name="connsiteX434" fmla="*/ 1658656 w 2997201"/>
                <a:gd name="connsiteY434" fmla="*/ 2342618 h 4362443"/>
                <a:gd name="connsiteX435" fmla="*/ 1685639 w 2997201"/>
                <a:gd name="connsiteY435" fmla="*/ 3988451 h 4362443"/>
                <a:gd name="connsiteX436" fmla="*/ 1693863 w 2997201"/>
                <a:gd name="connsiteY436" fmla="*/ 3992566 h 4362443"/>
                <a:gd name="connsiteX437" fmla="*/ 1703917 w 2997201"/>
                <a:gd name="connsiteY437" fmla="*/ 3998923 h 4362443"/>
                <a:gd name="connsiteX438" fmla="*/ 1713442 w 2997201"/>
                <a:gd name="connsiteY438" fmla="*/ 4006338 h 4362443"/>
                <a:gd name="connsiteX439" fmla="*/ 1722967 w 2997201"/>
                <a:gd name="connsiteY439" fmla="*/ 4014283 h 4362443"/>
                <a:gd name="connsiteX440" fmla="*/ 1742017 w 2997201"/>
                <a:gd name="connsiteY440" fmla="*/ 4031763 h 4362443"/>
                <a:gd name="connsiteX441" fmla="*/ 1761067 w 2997201"/>
                <a:gd name="connsiteY441" fmla="*/ 4049772 h 4362443"/>
                <a:gd name="connsiteX442" fmla="*/ 1770063 w 2997201"/>
                <a:gd name="connsiteY442" fmla="*/ 4059306 h 4362443"/>
                <a:gd name="connsiteX443" fmla="*/ 1780117 w 2997201"/>
                <a:gd name="connsiteY443" fmla="*/ 4067251 h 4362443"/>
                <a:gd name="connsiteX444" fmla="*/ 1789642 w 2997201"/>
                <a:gd name="connsiteY444" fmla="*/ 4075196 h 4362443"/>
                <a:gd name="connsiteX445" fmla="*/ 1799696 w 2997201"/>
                <a:gd name="connsiteY445" fmla="*/ 4082082 h 4362443"/>
                <a:gd name="connsiteX446" fmla="*/ 1810279 w 2997201"/>
                <a:gd name="connsiteY446" fmla="*/ 4087908 h 4362443"/>
                <a:gd name="connsiteX447" fmla="*/ 1820863 w 2997201"/>
                <a:gd name="connsiteY447" fmla="*/ 4093205 h 4362443"/>
                <a:gd name="connsiteX448" fmla="*/ 1826155 w 2997201"/>
                <a:gd name="connsiteY448" fmla="*/ 4094794 h 4362443"/>
                <a:gd name="connsiteX449" fmla="*/ 1832505 w 2997201"/>
                <a:gd name="connsiteY449" fmla="*/ 4097442 h 4362443"/>
                <a:gd name="connsiteX450" fmla="*/ 1838855 w 2997201"/>
                <a:gd name="connsiteY450" fmla="*/ 4097972 h 4362443"/>
                <a:gd name="connsiteX451" fmla="*/ 1844146 w 2997201"/>
                <a:gd name="connsiteY451" fmla="*/ 4098502 h 4362443"/>
                <a:gd name="connsiteX452" fmla="*/ 1856317 w 2997201"/>
                <a:gd name="connsiteY452" fmla="*/ 4100091 h 4362443"/>
                <a:gd name="connsiteX453" fmla="*/ 1867430 w 2997201"/>
                <a:gd name="connsiteY453" fmla="*/ 4102739 h 4362443"/>
                <a:gd name="connsiteX454" fmla="*/ 1879071 w 2997201"/>
                <a:gd name="connsiteY454" fmla="*/ 4106447 h 4362443"/>
                <a:gd name="connsiteX455" fmla="*/ 1889655 w 2997201"/>
                <a:gd name="connsiteY455" fmla="*/ 4110155 h 4362443"/>
                <a:gd name="connsiteX456" fmla="*/ 1899709 w 2997201"/>
                <a:gd name="connsiteY456" fmla="*/ 4114922 h 4362443"/>
                <a:gd name="connsiteX457" fmla="*/ 1909234 w 2997201"/>
                <a:gd name="connsiteY457" fmla="*/ 4119159 h 4362443"/>
                <a:gd name="connsiteX458" fmla="*/ 1919288 w 2997201"/>
                <a:gd name="connsiteY458" fmla="*/ 4125515 h 4362443"/>
                <a:gd name="connsiteX459" fmla="*/ 1928284 w 2997201"/>
                <a:gd name="connsiteY459" fmla="*/ 4131342 h 4362443"/>
                <a:gd name="connsiteX460" fmla="*/ 1936750 w 2997201"/>
                <a:gd name="connsiteY460" fmla="*/ 4138228 h 4362443"/>
                <a:gd name="connsiteX461" fmla="*/ 1945217 w 2997201"/>
                <a:gd name="connsiteY461" fmla="*/ 4145113 h 4362443"/>
                <a:gd name="connsiteX462" fmla="*/ 1953155 w 2997201"/>
                <a:gd name="connsiteY462" fmla="*/ 4153059 h 4362443"/>
                <a:gd name="connsiteX463" fmla="*/ 1960563 w 2997201"/>
                <a:gd name="connsiteY463" fmla="*/ 4160474 h 4362443"/>
                <a:gd name="connsiteX464" fmla="*/ 1967442 w 2997201"/>
                <a:gd name="connsiteY464" fmla="*/ 4168419 h 4362443"/>
                <a:gd name="connsiteX465" fmla="*/ 1974321 w 2997201"/>
                <a:gd name="connsiteY465" fmla="*/ 4176364 h 4362443"/>
                <a:gd name="connsiteX466" fmla="*/ 1980142 w 2997201"/>
                <a:gd name="connsiteY466" fmla="*/ 4184839 h 4362443"/>
                <a:gd name="connsiteX467" fmla="*/ 1986492 w 2997201"/>
                <a:gd name="connsiteY467" fmla="*/ 4193314 h 4362443"/>
                <a:gd name="connsiteX468" fmla="*/ 1993371 w 2997201"/>
                <a:gd name="connsiteY468" fmla="*/ 4202319 h 4362443"/>
                <a:gd name="connsiteX469" fmla="*/ 2002367 w 2997201"/>
                <a:gd name="connsiteY469" fmla="*/ 4213442 h 4362443"/>
                <a:gd name="connsiteX470" fmla="*/ 2012950 w 2997201"/>
                <a:gd name="connsiteY470" fmla="*/ 4224565 h 4362443"/>
                <a:gd name="connsiteX471" fmla="*/ 2024592 w 2997201"/>
                <a:gd name="connsiteY471" fmla="*/ 4237807 h 4362443"/>
                <a:gd name="connsiteX472" fmla="*/ 2037292 w 2997201"/>
                <a:gd name="connsiteY472" fmla="*/ 4251578 h 4362443"/>
                <a:gd name="connsiteX473" fmla="*/ 2050521 w 2997201"/>
                <a:gd name="connsiteY473" fmla="*/ 4266409 h 4362443"/>
                <a:gd name="connsiteX474" fmla="*/ 2063221 w 2997201"/>
                <a:gd name="connsiteY474" fmla="*/ 4281770 h 4362443"/>
                <a:gd name="connsiteX475" fmla="*/ 2076451 w 2997201"/>
                <a:gd name="connsiteY475" fmla="*/ 4297660 h 4362443"/>
                <a:gd name="connsiteX476" fmla="*/ 2087563 w 2997201"/>
                <a:gd name="connsiteY476" fmla="*/ 4314610 h 4362443"/>
                <a:gd name="connsiteX477" fmla="*/ 2097088 w 2997201"/>
                <a:gd name="connsiteY477" fmla="*/ 4330500 h 4362443"/>
                <a:gd name="connsiteX478" fmla="*/ 2101321 w 2997201"/>
                <a:gd name="connsiteY478" fmla="*/ 4338975 h 4362443"/>
                <a:gd name="connsiteX479" fmla="*/ 2105555 w 2997201"/>
                <a:gd name="connsiteY479" fmla="*/ 4347450 h 4362443"/>
                <a:gd name="connsiteX480" fmla="*/ 2108201 w 2997201"/>
                <a:gd name="connsiteY480" fmla="*/ 4355925 h 4362443"/>
                <a:gd name="connsiteX481" fmla="*/ 2110235 w 2997201"/>
                <a:gd name="connsiteY481" fmla="*/ 4362443 h 4362443"/>
                <a:gd name="connsiteX482" fmla="*/ 1074353 w 2997201"/>
                <a:gd name="connsiteY482" fmla="*/ 4362443 h 4362443"/>
                <a:gd name="connsiteX483" fmla="*/ 1078971 w 2997201"/>
                <a:gd name="connsiteY483" fmla="*/ 4349039 h 4362443"/>
                <a:gd name="connsiteX484" fmla="*/ 1084792 w 2997201"/>
                <a:gd name="connsiteY484" fmla="*/ 4333678 h 4362443"/>
                <a:gd name="connsiteX485" fmla="*/ 1091142 w 2997201"/>
                <a:gd name="connsiteY485" fmla="*/ 4318318 h 4362443"/>
                <a:gd name="connsiteX486" fmla="*/ 1098550 w 2997201"/>
                <a:gd name="connsiteY486" fmla="*/ 4304016 h 4362443"/>
                <a:gd name="connsiteX487" fmla="*/ 1106488 w 2997201"/>
                <a:gd name="connsiteY487" fmla="*/ 4288656 h 4362443"/>
                <a:gd name="connsiteX488" fmla="*/ 1114954 w 2997201"/>
                <a:gd name="connsiteY488" fmla="*/ 4274355 h 4362443"/>
                <a:gd name="connsiteX489" fmla="*/ 1123950 w 2997201"/>
                <a:gd name="connsiteY489" fmla="*/ 4260583 h 4362443"/>
                <a:gd name="connsiteX490" fmla="*/ 1132946 w 2997201"/>
                <a:gd name="connsiteY490" fmla="*/ 4246811 h 4362443"/>
                <a:gd name="connsiteX491" fmla="*/ 1143529 w 2997201"/>
                <a:gd name="connsiteY491" fmla="*/ 4233569 h 4362443"/>
                <a:gd name="connsiteX492" fmla="*/ 1155171 w 2997201"/>
                <a:gd name="connsiteY492" fmla="*/ 4221387 h 4362443"/>
                <a:gd name="connsiteX493" fmla="*/ 1167342 w 2997201"/>
                <a:gd name="connsiteY493" fmla="*/ 4210264 h 4362443"/>
                <a:gd name="connsiteX494" fmla="*/ 1180042 w 2997201"/>
                <a:gd name="connsiteY494" fmla="*/ 4199670 h 4362443"/>
                <a:gd name="connsiteX495" fmla="*/ 1193800 w 2997201"/>
                <a:gd name="connsiteY495" fmla="*/ 4190136 h 4362443"/>
                <a:gd name="connsiteX496" fmla="*/ 1208617 w 2997201"/>
                <a:gd name="connsiteY496" fmla="*/ 4181131 h 4362443"/>
                <a:gd name="connsiteX497" fmla="*/ 1224492 w 2997201"/>
                <a:gd name="connsiteY497" fmla="*/ 4174246 h 4362443"/>
                <a:gd name="connsiteX498" fmla="*/ 1255713 w 2997201"/>
                <a:gd name="connsiteY498" fmla="*/ 4160474 h 4362443"/>
                <a:gd name="connsiteX499" fmla="*/ 1284817 w 2997201"/>
                <a:gd name="connsiteY499" fmla="*/ 4146702 h 4362443"/>
                <a:gd name="connsiteX500" fmla="*/ 1311804 w 2997201"/>
                <a:gd name="connsiteY500" fmla="*/ 4132931 h 4362443"/>
                <a:gd name="connsiteX501" fmla="*/ 1337733 w 2997201"/>
                <a:gd name="connsiteY501" fmla="*/ 4120219 h 4362443"/>
                <a:gd name="connsiteX502" fmla="*/ 1362604 w 2997201"/>
                <a:gd name="connsiteY502" fmla="*/ 4106977 h 4362443"/>
                <a:gd name="connsiteX503" fmla="*/ 1384300 w 2997201"/>
                <a:gd name="connsiteY503" fmla="*/ 4094794 h 4362443"/>
                <a:gd name="connsiteX504" fmla="*/ 1404409 w 2997201"/>
                <a:gd name="connsiteY504" fmla="*/ 4082612 h 4362443"/>
                <a:gd name="connsiteX505" fmla="*/ 1422400 w 2997201"/>
                <a:gd name="connsiteY505" fmla="*/ 4072018 h 4362443"/>
                <a:gd name="connsiteX506" fmla="*/ 1452034 w 2997201"/>
                <a:gd name="connsiteY506" fmla="*/ 4052420 h 4362443"/>
                <a:gd name="connsiteX507" fmla="*/ 1474259 w 2997201"/>
                <a:gd name="connsiteY507" fmla="*/ 4037059 h 4362443"/>
                <a:gd name="connsiteX508" fmla="*/ 1488017 w 2997201"/>
                <a:gd name="connsiteY508" fmla="*/ 4026995 h 4362443"/>
                <a:gd name="connsiteX509" fmla="*/ 1491721 w 2997201"/>
                <a:gd name="connsiteY509" fmla="*/ 4023817 h 4362443"/>
                <a:gd name="connsiteX510" fmla="*/ 1493754 w 2997201"/>
                <a:gd name="connsiteY510" fmla="*/ 4022800 h 4362443"/>
                <a:gd name="connsiteX511" fmla="*/ 1523749 w 2997201"/>
                <a:gd name="connsiteY511" fmla="*/ 2547939 h 4362443"/>
                <a:gd name="connsiteX512" fmla="*/ 1490947 w 2997201"/>
                <a:gd name="connsiteY512" fmla="*/ 2513543 h 4362443"/>
                <a:gd name="connsiteX513" fmla="*/ 1458146 w 2997201"/>
                <a:gd name="connsiteY513" fmla="*/ 2479146 h 4362443"/>
                <a:gd name="connsiteX514" fmla="*/ 1424816 w 2997201"/>
                <a:gd name="connsiteY514" fmla="*/ 2446337 h 4362443"/>
                <a:gd name="connsiteX515" fmla="*/ 1390428 w 2997201"/>
                <a:gd name="connsiteY515" fmla="*/ 2413528 h 4362443"/>
                <a:gd name="connsiteX516" fmla="*/ 1356040 w 2997201"/>
                <a:gd name="connsiteY516" fmla="*/ 2382307 h 4362443"/>
                <a:gd name="connsiteX517" fmla="*/ 1322181 w 2997201"/>
                <a:gd name="connsiteY517" fmla="*/ 2352673 h 4362443"/>
                <a:gd name="connsiteX518" fmla="*/ 1287792 w 2997201"/>
                <a:gd name="connsiteY518" fmla="*/ 2323039 h 4362443"/>
                <a:gd name="connsiteX519" fmla="*/ 1253404 w 2997201"/>
                <a:gd name="connsiteY519" fmla="*/ 2294466 h 4362443"/>
                <a:gd name="connsiteX520" fmla="*/ 1219016 w 2997201"/>
                <a:gd name="connsiteY520" fmla="*/ 2266947 h 4362443"/>
                <a:gd name="connsiteX521" fmla="*/ 1184628 w 2997201"/>
                <a:gd name="connsiteY521" fmla="*/ 2240489 h 4362443"/>
                <a:gd name="connsiteX522" fmla="*/ 1151298 w 2997201"/>
                <a:gd name="connsiteY522" fmla="*/ 2215093 h 4362443"/>
                <a:gd name="connsiteX523" fmla="*/ 1117967 w 2997201"/>
                <a:gd name="connsiteY523" fmla="*/ 2190748 h 4362443"/>
                <a:gd name="connsiteX524" fmla="*/ 1085166 w 2997201"/>
                <a:gd name="connsiteY524" fmla="*/ 2167464 h 4362443"/>
                <a:gd name="connsiteX525" fmla="*/ 1052894 w 2997201"/>
                <a:gd name="connsiteY525" fmla="*/ 2145240 h 4362443"/>
                <a:gd name="connsiteX526" fmla="*/ 1021681 w 2997201"/>
                <a:gd name="connsiteY526" fmla="*/ 2123541 h 4362443"/>
                <a:gd name="connsiteX527" fmla="*/ 992054 w 2997201"/>
                <a:gd name="connsiteY527" fmla="*/ 2103963 h 4362443"/>
                <a:gd name="connsiteX528" fmla="*/ 934387 w 2997201"/>
                <a:gd name="connsiteY528" fmla="*/ 2066393 h 4362443"/>
                <a:gd name="connsiteX529" fmla="*/ 881482 w 2997201"/>
                <a:gd name="connsiteY529" fmla="*/ 2034647 h 4362443"/>
                <a:gd name="connsiteX530" fmla="*/ 834926 w 2997201"/>
                <a:gd name="connsiteY530" fmla="*/ 2006604 h 4362443"/>
                <a:gd name="connsiteX531" fmla="*/ 794718 w 2997201"/>
                <a:gd name="connsiteY531" fmla="*/ 1983319 h 4362443"/>
                <a:gd name="connsiteX532" fmla="*/ 761917 w 2997201"/>
                <a:gd name="connsiteY532" fmla="*/ 1965326 h 4362443"/>
                <a:gd name="connsiteX533" fmla="*/ 737581 w 2997201"/>
                <a:gd name="connsiteY533" fmla="*/ 1952099 h 4362443"/>
                <a:gd name="connsiteX534" fmla="*/ 722238 w 2997201"/>
                <a:gd name="connsiteY534" fmla="*/ 1944686 h 4362443"/>
                <a:gd name="connsiteX535" fmla="*/ 716948 w 2997201"/>
                <a:gd name="connsiteY535" fmla="*/ 1941514 h 4362443"/>
                <a:gd name="connsiteX536" fmla="*/ 540223 w 2997201"/>
                <a:gd name="connsiteY536" fmla="*/ 1922788 h 4362443"/>
                <a:gd name="connsiteX537" fmla="*/ 525992 w 2997201"/>
                <a:gd name="connsiteY537" fmla="*/ 1933575 h 4362443"/>
                <a:gd name="connsiteX538" fmla="*/ 492125 w 2997201"/>
                <a:gd name="connsiteY538" fmla="*/ 1958974 h 4362443"/>
                <a:gd name="connsiteX539" fmla="*/ 474663 w 2997201"/>
                <a:gd name="connsiteY539" fmla="*/ 1971674 h 4362443"/>
                <a:gd name="connsiteX540" fmla="*/ 457200 w 2997201"/>
                <a:gd name="connsiteY540" fmla="*/ 1983319 h 4362443"/>
                <a:gd name="connsiteX541" fmla="*/ 439737 w 2997201"/>
                <a:gd name="connsiteY541" fmla="*/ 1994429 h 4362443"/>
                <a:gd name="connsiteX542" fmla="*/ 422275 w 2997201"/>
                <a:gd name="connsiteY542" fmla="*/ 2005546 h 4362443"/>
                <a:gd name="connsiteX543" fmla="*/ 403754 w 2997201"/>
                <a:gd name="connsiteY543" fmla="*/ 2015069 h 4362443"/>
                <a:gd name="connsiteX544" fmla="*/ 385763 w 2997201"/>
                <a:gd name="connsiteY544" fmla="*/ 2024593 h 4362443"/>
                <a:gd name="connsiteX545" fmla="*/ 366713 w 2997201"/>
                <a:gd name="connsiteY545" fmla="*/ 2031471 h 4362443"/>
                <a:gd name="connsiteX546" fmla="*/ 348192 w 2997201"/>
                <a:gd name="connsiteY546" fmla="*/ 2037292 h 4362443"/>
                <a:gd name="connsiteX547" fmla="*/ 338667 w 2997201"/>
                <a:gd name="connsiteY547" fmla="*/ 2040465 h 4362443"/>
                <a:gd name="connsiteX548" fmla="*/ 328613 w 2997201"/>
                <a:gd name="connsiteY548" fmla="*/ 2042055 h 4362443"/>
                <a:gd name="connsiteX549" fmla="*/ 318558 w 2997201"/>
                <a:gd name="connsiteY549" fmla="*/ 2044170 h 4362443"/>
                <a:gd name="connsiteX550" fmla="*/ 308504 w 2997201"/>
                <a:gd name="connsiteY550" fmla="*/ 2045228 h 4362443"/>
                <a:gd name="connsiteX551" fmla="*/ 298979 w 2997201"/>
                <a:gd name="connsiteY551" fmla="*/ 2045757 h 4362443"/>
                <a:gd name="connsiteX552" fmla="*/ 288925 w 2997201"/>
                <a:gd name="connsiteY552" fmla="*/ 2046286 h 4362443"/>
                <a:gd name="connsiteX553" fmla="*/ 278871 w 2997201"/>
                <a:gd name="connsiteY553" fmla="*/ 2045757 h 4362443"/>
                <a:gd name="connsiteX554" fmla="*/ 268287 w 2997201"/>
                <a:gd name="connsiteY554" fmla="*/ 2045228 h 4362443"/>
                <a:gd name="connsiteX555" fmla="*/ 258233 w 2997201"/>
                <a:gd name="connsiteY555" fmla="*/ 2044170 h 4362443"/>
                <a:gd name="connsiteX556" fmla="*/ 248708 w 2997201"/>
                <a:gd name="connsiteY556" fmla="*/ 2042055 h 4362443"/>
                <a:gd name="connsiteX557" fmla="*/ 238654 w 2997201"/>
                <a:gd name="connsiteY557" fmla="*/ 2039408 h 4362443"/>
                <a:gd name="connsiteX558" fmla="*/ 228600 w 2997201"/>
                <a:gd name="connsiteY558" fmla="*/ 2037292 h 4362443"/>
                <a:gd name="connsiteX559" fmla="*/ 219604 w 2997201"/>
                <a:gd name="connsiteY559" fmla="*/ 2034118 h 4362443"/>
                <a:gd name="connsiteX560" fmla="*/ 209550 w 2997201"/>
                <a:gd name="connsiteY560" fmla="*/ 2030413 h 4362443"/>
                <a:gd name="connsiteX561" fmla="*/ 200554 w 2997201"/>
                <a:gd name="connsiteY561" fmla="*/ 2026711 h 4362443"/>
                <a:gd name="connsiteX562" fmla="*/ 191558 w 2997201"/>
                <a:gd name="connsiteY562" fmla="*/ 2023006 h 4362443"/>
                <a:gd name="connsiteX563" fmla="*/ 174096 w 2997201"/>
                <a:gd name="connsiteY563" fmla="*/ 2013483 h 4362443"/>
                <a:gd name="connsiteX564" fmla="*/ 156104 w 2997201"/>
                <a:gd name="connsiteY564" fmla="*/ 2002898 h 4362443"/>
                <a:gd name="connsiteX565" fmla="*/ 139700 w 2997201"/>
                <a:gd name="connsiteY565" fmla="*/ 1990727 h 4362443"/>
                <a:gd name="connsiteX566" fmla="*/ 122767 w 2997201"/>
                <a:gd name="connsiteY566" fmla="*/ 1978555 h 4362443"/>
                <a:gd name="connsiteX567" fmla="*/ 106892 w 2997201"/>
                <a:gd name="connsiteY567" fmla="*/ 1964795 h 4362443"/>
                <a:gd name="connsiteX568" fmla="*/ 91017 w 2997201"/>
                <a:gd name="connsiteY568" fmla="*/ 1951037 h 4362443"/>
                <a:gd name="connsiteX569" fmla="*/ 75671 w 2997201"/>
                <a:gd name="connsiteY569" fmla="*/ 1936750 h 4362443"/>
                <a:gd name="connsiteX570" fmla="*/ 59796 w 2997201"/>
                <a:gd name="connsiteY570" fmla="*/ 1921404 h 4362443"/>
                <a:gd name="connsiteX571" fmla="*/ 29633 w 2997201"/>
                <a:gd name="connsiteY571" fmla="*/ 1890713 h 4362443"/>
                <a:gd name="connsiteX572" fmla="*/ 0 w 2997201"/>
                <a:gd name="connsiteY572" fmla="*/ 1860551 h 4362443"/>
                <a:gd name="connsiteX573" fmla="*/ 14817 w 2997201"/>
                <a:gd name="connsiteY573" fmla="*/ 1845204 h 4362443"/>
                <a:gd name="connsiteX574" fmla="*/ 29633 w 2997201"/>
                <a:gd name="connsiteY574" fmla="*/ 1829859 h 4362443"/>
                <a:gd name="connsiteX575" fmla="*/ 46037 w 2997201"/>
                <a:gd name="connsiteY575" fmla="*/ 1815571 h 4362443"/>
                <a:gd name="connsiteX576" fmla="*/ 62442 w 2997201"/>
                <a:gd name="connsiteY576" fmla="*/ 1800754 h 4362443"/>
                <a:gd name="connsiteX577" fmla="*/ 78846 w 2997201"/>
                <a:gd name="connsiteY577" fmla="*/ 1787525 h 4362443"/>
                <a:gd name="connsiteX578" fmla="*/ 96308 w 2997201"/>
                <a:gd name="connsiteY578" fmla="*/ 1774296 h 4362443"/>
                <a:gd name="connsiteX579" fmla="*/ 113771 w 2997201"/>
                <a:gd name="connsiteY579" fmla="*/ 1762655 h 4362443"/>
                <a:gd name="connsiteX580" fmla="*/ 131763 w 2997201"/>
                <a:gd name="connsiteY580" fmla="*/ 1751542 h 4362443"/>
                <a:gd name="connsiteX581" fmla="*/ 150283 w 2997201"/>
                <a:gd name="connsiteY581" fmla="*/ 1741488 h 4362443"/>
                <a:gd name="connsiteX582" fmla="*/ 169333 w 2997201"/>
                <a:gd name="connsiteY582" fmla="*/ 1732492 h 4362443"/>
                <a:gd name="connsiteX583" fmla="*/ 188383 w 2997201"/>
                <a:gd name="connsiteY583" fmla="*/ 1724555 h 4362443"/>
                <a:gd name="connsiteX584" fmla="*/ 207433 w 2997201"/>
                <a:gd name="connsiteY584" fmla="*/ 1718734 h 4362443"/>
                <a:gd name="connsiteX585" fmla="*/ 217487 w 2997201"/>
                <a:gd name="connsiteY585" fmla="*/ 1716618 h 4362443"/>
                <a:gd name="connsiteX586" fmla="*/ 227013 w 2997201"/>
                <a:gd name="connsiteY586" fmla="*/ 1713972 h 4362443"/>
                <a:gd name="connsiteX587" fmla="*/ 237067 w 2997201"/>
                <a:gd name="connsiteY587" fmla="*/ 1712384 h 4362443"/>
                <a:gd name="connsiteX588" fmla="*/ 247650 w 2997201"/>
                <a:gd name="connsiteY588" fmla="*/ 1710797 h 4362443"/>
                <a:gd name="connsiteX589" fmla="*/ 257704 w 2997201"/>
                <a:gd name="connsiteY589" fmla="*/ 1710267 h 4362443"/>
                <a:gd name="connsiteX590" fmla="*/ 268287 w 2997201"/>
                <a:gd name="connsiteY590" fmla="*/ 1709738 h 4362443"/>
                <a:gd name="connsiteX591" fmla="*/ 278342 w 2997201"/>
                <a:gd name="connsiteY591" fmla="*/ 1709738 h 4362443"/>
                <a:gd name="connsiteX592" fmla="*/ 288925 w 2997201"/>
                <a:gd name="connsiteY592" fmla="*/ 1710267 h 4362443"/>
                <a:gd name="connsiteX593" fmla="*/ 299508 w 2997201"/>
                <a:gd name="connsiteY593" fmla="*/ 1710797 h 4362443"/>
                <a:gd name="connsiteX594" fmla="*/ 309563 w 2997201"/>
                <a:gd name="connsiteY594" fmla="*/ 1712384 h 4362443"/>
                <a:gd name="connsiteX595" fmla="*/ 319617 w 2997201"/>
                <a:gd name="connsiteY595" fmla="*/ 1715030 h 4362443"/>
                <a:gd name="connsiteX596" fmla="*/ 329142 w 2997201"/>
                <a:gd name="connsiteY596" fmla="*/ 1717676 h 4362443"/>
                <a:gd name="connsiteX597" fmla="*/ 339196 w 2997201"/>
                <a:gd name="connsiteY597" fmla="*/ 1720851 h 4362443"/>
                <a:gd name="connsiteX598" fmla="*/ 349250 w 2997201"/>
                <a:gd name="connsiteY598" fmla="*/ 1724026 h 4362443"/>
                <a:gd name="connsiteX599" fmla="*/ 358775 w 2997201"/>
                <a:gd name="connsiteY599" fmla="*/ 1727730 h 4362443"/>
                <a:gd name="connsiteX600" fmla="*/ 368300 w 2997201"/>
                <a:gd name="connsiteY600" fmla="*/ 1732492 h 4362443"/>
                <a:gd name="connsiteX601" fmla="*/ 386292 w 2997201"/>
                <a:gd name="connsiteY601" fmla="*/ 1741488 h 4362443"/>
                <a:gd name="connsiteX602" fmla="*/ 403754 w 2997201"/>
                <a:gd name="connsiteY602" fmla="*/ 1753130 h 4362443"/>
                <a:gd name="connsiteX603" fmla="*/ 421746 w 2997201"/>
                <a:gd name="connsiteY603" fmla="*/ 1765301 h 4362443"/>
                <a:gd name="connsiteX604" fmla="*/ 438150 w 2997201"/>
                <a:gd name="connsiteY604" fmla="*/ 1778001 h 4362443"/>
                <a:gd name="connsiteX605" fmla="*/ 455083 w 2997201"/>
                <a:gd name="connsiteY605" fmla="*/ 1792817 h 4362443"/>
                <a:gd name="connsiteX606" fmla="*/ 470429 w 2997201"/>
                <a:gd name="connsiteY606" fmla="*/ 1807634 h 4362443"/>
                <a:gd name="connsiteX607" fmla="*/ 486304 w 2997201"/>
                <a:gd name="connsiteY607" fmla="*/ 1824038 h 4362443"/>
                <a:gd name="connsiteX608" fmla="*/ 501650 w 2997201"/>
                <a:gd name="connsiteY608" fmla="*/ 1839913 h 4362443"/>
                <a:gd name="connsiteX609" fmla="*/ 530225 w 2997201"/>
                <a:gd name="connsiteY609" fmla="*/ 1874309 h 4362443"/>
                <a:gd name="connsiteX610" fmla="*/ 535637 w 2997201"/>
                <a:gd name="connsiteY610" fmla="*/ 1880823 h 4362443"/>
                <a:gd name="connsiteX611" fmla="*/ 700547 w 2997201"/>
                <a:gd name="connsiteY611" fmla="*/ 1888067 h 4362443"/>
                <a:gd name="connsiteX612" fmla="*/ 692612 w 2997201"/>
                <a:gd name="connsiteY612" fmla="*/ 1882247 h 4362443"/>
                <a:gd name="connsiteX613" fmla="*/ 682560 w 2997201"/>
                <a:gd name="connsiteY613" fmla="*/ 1873780 h 4362443"/>
                <a:gd name="connsiteX614" fmla="*/ 673037 w 2997201"/>
                <a:gd name="connsiteY614" fmla="*/ 1863197 h 4362443"/>
                <a:gd name="connsiteX615" fmla="*/ 661398 w 2997201"/>
                <a:gd name="connsiteY615" fmla="*/ 1849438 h 4362443"/>
                <a:gd name="connsiteX616" fmla="*/ 638649 w 2997201"/>
                <a:gd name="connsiteY616" fmla="*/ 1819805 h 4362443"/>
                <a:gd name="connsiteX617" fmla="*/ 617118 w 2997201"/>
                <a:gd name="connsiteY617" fmla="*/ 1788755 h 4362443"/>
                <a:gd name="connsiteX618" fmla="*/ 616482 w 2997201"/>
                <a:gd name="connsiteY618" fmla="*/ 1803401 h 4362443"/>
                <a:gd name="connsiteX619" fmla="*/ 592205 w 2997201"/>
                <a:gd name="connsiteY619" fmla="*/ 1796534 h 4362443"/>
                <a:gd name="connsiteX620" fmla="*/ 566344 w 2997201"/>
                <a:gd name="connsiteY620" fmla="*/ 1788610 h 4362443"/>
                <a:gd name="connsiteX621" fmla="*/ 553678 w 2997201"/>
                <a:gd name="connsiteY621" fmla="*/ 1784912 h 4362443"/>
                <a:gd name="connsiteX622" fmla="*/ 540484 w 2997201"/>
                <a:gd name="connsiteY622" fmla="*/ 1780687 h 4362443"/>
                <a:gd name="connsiteX623" fmla="*/ 527817 w 2997201"/>
                <a:gd name="connsiteY623" fmla="*/ 1774876 h 4362443"/>
                <a:gd name="connsiteX624" fmla="*/ 515678 w 2997201"/>
                <a:gd name="connsiteY624" fmla="*/ 1769594 h 4362443"/>
                <a:gd name="connsiteX625" fmla="*/ 504067 w 2997201"/>
                <a:gd name="connsiteY625" fmla="*/ 1762727 h 4362443"/>
                <a:gd name="connsiteX626" fmla="*/ 491929 w 2997201"/>
                <a:gd name="connsiteY626" fmla="*/ 1755860 h 4362443"/>
                <a:gd name="connsiteX627" fmla="*/ 481373 w 2997201"/>
                <a:gd name="connsiteY627" fmla="*/ 1748464 h 4362443"/>
                <a:gd name="connsiteX628" fmla="*/ 471346 w 2997201"/>
                <a:gd name="connsiteY628" fmla="*/ 1739484 h 4362443"/>
                <a:gd name="connsiteX629" fmla="*/ 461318 w 2997201"/>
                <a:gd name="connsiteY629" fmla="*/ 1729448 h 4362443"/>
                <a:gd name="connsiteX630" fmla="*/ 453401 w 2997201"/>
                <a:gd name="connsiteY630" fmla="*/ 1717827 h 4362443"/>
                <a:gd name="connsiteX631" fmla="*/ 448651 w 2997201"/>
                <a:gd name="connsiteY631" fmla="*/ 1712016 h 4362443"/>
                <a:gd name="connsiteX632" fmla="*/ 444957 w 2997201"/>
                <a:gd name="connsiteY632" fmla="*/ 1705678 h 4362443"/>
                <a:gd name="connsiteX633" fmla="*/ 441790 w 2997201"/>
                <a:gd name="connsiteY633" fmla="*/ 1698810 h 4362443"/>
                <a:gd name="connsiteX634" fmla="*/ 438096 w 2997201"/>
                <a:gd name="connsiteY634" fmla="*/ 1691943 h 4362443"/>
                <a:gd name="connsiteX635" fmla="*/ 433346 w 2997201"/>
                <a:gd name="connsiteY635" fmla="*/ 1681379 h 4362443"/>
                <a:gd name="connsiteX636" fmla="*/ 429124 w 2997201"/>
                <a:gd name="connsiteY636" fmla="*/ 1670286 h 4362443"/>
                <a:gd name="connsiteX637" fmla="*/ 425957 w 2997201"/>
                <a:gd name="connsiteY637" fmla="*/ 1658665 h 4362443"/>
                <a:gd name="connsiteX638" fmla="*/ 422791 w 2997201"/>
                <a:gd name="connsiteY638" fmla="*/ 1647043 h 4362443"/>
                <a:gd name="connsiteX639" fmla="*/ 420680 w 2997201"/>
                <a:gd name="connsiteY639" fmla="*/ 1635951 h 4362443"/>
                <a:gd name="connsiteX640" fmla="*/ 419096 w 2997201"/>
                <a:gd name="connsiteY640" fmla="*/ 1623801 h 4362443"/>
                <a:gd name="connsiteX641" fmla="*/ 418041 w 2997201"/>
                <a:gd name="connsiteY641" fmla="*/ 1612180 h 4362443"/>
                <a:gd name="connsiteX642" fmla="*/ 417513 w 2997201"/>
                <a:gd name="connsiteY642" fmla="*/ 1600031 h 4362443"/>
                <a:gd name="connsiteX643" fmla="*/ 417513 w 2997201"/>
                <a:gd name="connsiteY643" fmla="*/ 1575732 h 4362443"/>
                <a:gd name="connsiteX644" fmla="*/ 418041 w 2997201"/>
                <a:gd name="connsiteY644" fmla="*/ 1551433 h 4362443"/>
                <a:gd name="connsiteX645" fmla="*/ 420680 w 2997201"/>
                <a:gd name="connsiteY645" fmla="*/ 1527135 h 4362443"/>
                <a:gd name="connsiteX646" fmla="*/ 422791 w 2997201"/>
                <a:gd name="connsiteY646" fmla="*/ 1503364 h 4362443"/>
                <a:gd name="connsiteX647" fmla="*/ 445485 w 2997201"/>
                <a:gd name="connsiteY647" fmla="*/ 1512344 h 4362443"/>
                <a:gd name="connsiteX648" fmla="*/ 469235 w 2997201"/>
                <a:gd name="connsiteY648" fmla="*/ 1520796 h 4362443"/>
                <a:gd name="connsiteX649" fmla="*/ 492456 w 2997201"/>
                <a:gd name="connsiteY649" fmla="*/ 1530832 h 4362443"/>
                <a:gd name="connsiteX650" fmla="*/ 515678 w 2997201"/>
                <a:gd name="connsiteY650" fmla="*/ 1541397 h 4362443"/>
                <a:gd name="connsiteX651" fmla="*/ 526761 w 2997201"/>
                <a:gd name="connsiteY651" fmla="*/ 1547736 h 4362443"/>
                <a:gd name="connsiteX652" fmla="*/ 537317 w 2997201"/>
                <a:gd name="connsiteY652" fmla="*/ 1554603 h 4362443"/>
                <a:gd name="connsiteX653" fmla="*/ 547345 w 2997201"/>
                <a:gd name="connsiteY653" fmla="*/ 1561470 h 4362443"/>
                <a:gd name="connsiteX654" fmla="*/ 557372 w 2997201"/>
                <a:gd name="connsiteY654" fmla="*/ 1569393 h 4362443"/>
                <a:gd name="connsiteX655" fmla="*/ 566344 w 2997201"/>
                <a:gd name="connsiteY655" fmla="*/ 1578901 h 4362443"/>
                <a:gd name="connsiteX656" fmla="*/ 575316 w 2997201"/>
                <a:gd name="connsiteY656" fmla="*/ 1588938 h 4362443"/>
                <a:gd name="connsiteX657" fmla="*/ 583233 w 2997201"/>
                <a:gd name="connsiteY657" fmla="*/ 1599502 h 4362443"/>
                <a:gd name="connsiteX658" fmla="*/ 590094 w 2997201"/>
                <a:gd name="connsiteY658" fmla="*/ 1611652 h 4362443"/>
                <a:gd name="connsiteX659" fmla="*/ 595899 w 2997201"/>
                <a:gd name="connsiteY659" fmla="*/ 1622217 h 4362443"/>
                <a:gd name="connsiteX660" fmla="*/ 601177 w 2997201"/>
                <a:gd name="connsiteY660" fmla="*/ 1633838 h 4362443"/>
                <a:gd name="connsiteX661" fmla="*/ 605399 w 2997201"/>
                <a:gd name="connsiteY661" fmla="*/ 1644930 h 4362443"/>
                <a:gd name="connsiteX662" fmla="*/ 609094 w 2997201"/>
                <a:gd name="connsiteY662" fmla="*/ 1656552 h 4362443"/>
                <a:gd name="connsiteX663" fmla="*/ 611205 w 2997201"/>
                <a:gd name="connsiteY663" fmla="*/ 1667645 h 4362443"/>
                <a:gd name="connsiteX664" fmla="*/ 613316 w 2997201"/>
                <a:gd name="connsiteY664" fmla="*/ 1679794 h 4362443"/>
                <a:gd name="connsiteX665" fmla="*/ 614899 w 2997201"/>
                <a:gd name="connsiteY665" fmla="*/ 1691943 h 4362443"/>
                <a:gd name="connsiteX666" fmla="*/ 616482 w 2997201"/>
                <a:gd name="connsiteY666" fmla="*/ 1704621 h 4362443"/>
                <a:gd name="connsiteX667" fmla="*/ 617538 w 2997201"/>
                <a:gd name="connsiteY667" fmla="*/ 1729448 h 4362443"/>
                <a:gd name="connsiteX668" fmla="*/ 617538 w 2997201"/>
                <a:gd name="connsiteY668" fmla="*/ 1750862 h 4362443"/>
                <a:gd name="connsiteX669" fmla="*/ 618016 w 2997201"/>
                <a:gd name="connsiteY669" fmla="*/ 1751543 h 4362443"/>
                <a:gd name="connsiteX670" fmla="*/ 633358 w 2997201"/>
                <a:gd name="connsiteY670" fmla="*/ 1770593 h 4362443"/>
                <a:gd name="connsiteX671" fmla="*/ 648701 w 2997201"/>
                <a:gd name="connsiteY671" fmla="*/ 1789113 h 4362443"/>
                <a:gd name="connsiteX672" fmla="*/ 665101 w 2997201"/>
                <a:gd name="connsiteY672" fmla="*/ 1806576 h 4362443"/>
                <a:gd name="connsiteX673" fmla="*/ 682031 w 2997201"/>
                <a:gd name="connsiteY673" fmla="*/ 1824038 h 4362443"/>
                <a:gd name="connsiteX674" fmla="*/ 698960 w 2997201"/>
                <a:gd name="connsiteY674" fmla="*/ 1840443 h 4362443"/>
                <a:gd name="connsiteX675" fmla="*/ 716419 w 2997201"/>
                <a:gd name="connsiteY675" fmla="*/ 1856318 h 4362443"/>
                <a:gd name="connsiteX676" fmla="*/ 734407 w 2997201"/>
                <a:gd name="connsiteY676" fmla="*/ 1871663 h 4362443"/>
                <a:gd name="connsiteX677" fmla="*/ 752923 w 2997201"/>
                <a:gd name="connsiteY677" fmla="*/ 1885951 h 4362443"/>
                <a:gd name="connsiteX678" fmla="*/ 771440 w 2997201"/>
                <a:gd name="connsiteY678" fmla="*/ 1899708 h 4362443"/>
                <a:gd name="connsiteX679" fmla="*/ 788899 w 2997201"/>
                <a:gd name="connsiteY679" fmla="*/ 1912409 h 4362443"/>
                <a:gd name="connsiteX680" fmla="*/ 806886 w 2997201"/>
                <a:gd name="connsiteY680" fmla="*/ 1925639 h 4362443"/>
                <a:gd name="connsiteX681" fmla="*/ 825403 w 2997201"/>
                <a:gd name="connsiteY681" fmla="*/ 1936750 h 4362443"/>
                <a:gd name="connsiteX682" fmla="*/ 842862 w 2997201"/>
                <a:gd name="connsiteY682" fmla="*/ 1948391 h 4362443"/>
                <a:gd name="connsiteX683" fmla="*/ 876192 w 2997201"/>
                <a:gd name="connsiteY683" fmla="*/ 1969028 h 4362443"/>
                <a:gd name="connsiteX684" fmla="*/ 908464 w 2997201"/>
                <a:gd name="connsiteY684" fmla="*/ 1986493 h 4362443"/>
                <a:gd name="connsiteX685" fmla="*/ 937033 w 2997201"/>
                <a:gd name="connsiteY685" fmla="*/ 2001843 h 4362443"/>
                <a:gd name="connsiteX686" fmla="*/ 962956 w 2997201"/>
                <a:gd name="connsiteY686" fmla="*/ 2014011 h 4362443"/>
                <a:gd name="connsiteX687" fmla="*/ 999989 w 2997201"/>
                <a:gd name="connsiteY687" fmla="*/ 2030942 h 4362443"/>
                <a:gd name="connsiteX688" fmla="*/ 1013216 w 2997201"/>
                <a:gd name="connsiteY688" fmla="*/ 2036234 h 4362443"/>
                <a:gd name="connsiteX689" fmla="*/ 1021520 w 2997201"/>
                <a:gd name="connsiteY689" fmla="*/ 1963076 h 4362443"/>
                <a:gd name="connsiteX690" fmla="*/ 1016530 w 2997201"/>
                <a:gd name="connsiteY690" fmla="*/ 1972140 h 4362443"/>
                <a:gd name="connsiteX691" fmla="*/ 1007534 w 2997201"/>
                <a:gd name="connsiteY691" fmla="*/ 1987518 h 4362443"/>
                <a:gd name="connsiteX692" fmla="*/ 996951 w 2997201"/>
                <a:gd name="connsiteY692" fmla="*/ 2001841 h 4362443"/>
                <a:gd name="connsiteX693" fmla="*/ 990601 w 2997201"/>
                <a:gd name="connsiteY693" fmla="*/ 1994945 h 4362443"/>
                <a:gd name="connsiteX694" fmla="*/ 985309 w 2997201"/>
                <a:gd name="connsiteY694" fmla="*/ 1987518 h 4362443"/>
                <a:gd name="connsiteX695" fmla="*/ 981076 w 2997201"/>
                <a:gd name="connsiteY695" fmla="*/ 1979563 h 4362443"/>
                <a:gd name="connsiteX696" fmla="*/ 976313 w 2997201"/>
                <a:gd name="connsiteY696" fmla="*/ 1972140 h 4362443"/>
                <a:gd name="connsiteX697" fmla="*/ 971551 w 2997201"/>
                <a:gd name="connsiteY697" fmla="*/ 1964185 h 4362443"/>
                <a:gd name="connsiteX698" fmla="*/ 968376 w 2997201"/>
                <a:gd name="connsiteY698" fmla="*/ 1956761 h 4362443"/>
                <a:gd name="connsiteX699" fmla="*/ 964671 w 2997201"/>
                <a:gd name="connsiteY699" fmla="*/ 1949337 h 4362443"/>
                <a:gd name="connsiteX700" fmla="*/ 962555 w 2997201"/>
                <a:gd name="connsiteY700" fmla="*/ 1941383 h 4362443"/>
                <a:gd name="connsiteX701" fmla="*/ 959380 w 2997201"/>
                <a:gd name="connsiteY701" fmla="*/ 1933957 h 4362443"/>
                <a:gd name="connsiteX702" fmla="*/ 957792 w 2997201"/>
                <a:gd name="connsiteY702" fmla="*/ 1926003 h 4362443"/>
                <a:gd name="connsiteX703" fmla="*/ 956205 w 2997201"/>
                <a:gd name="connsiteY703" fmla="*/ 1917520 h 4362443"/>
                <a:gd name="connsiteX704" fmla="*/ 955146 w 2997201"/>
                <a:gd name="connsiteY704" fmla="*/ 1910094 h 4362443"/>
                <a:gd name="connsiteX705" fmla="*/ 954088 w 2997201"/>
                <a:gd name="connsiteY705" fmla="*/ 1902670 h 4362443"/>
                <a:gd name="connsiteX706" fmla="*/ 954088 w 2997201"/>
                <a:gd name="connsiteY706" fmla="*/ 1894185 h 4362443"/>
                <a:gd name="connsiteX707" fmla="*/ 954088 w 2997201"/>
                <a:gd name="connsiteY707" fmla="*/ 1886230 h 4362443"/>
                <a:gd name="connsiteX708" fmla="*/ 955146 w 2997201"/>
                <a:gd name="connsiteY708" fmla="*/ 1878806 h 4362443"/>
                <a:gd name="connsiteX709" fmla="*/ 956205 w 2997201"/>
                <a:gd name="connsiteY709" fmla="*/ 1862897 h 4362443"/>
                <a:gd name="connsiteX710" fmla="*/ 959380 w 2997201"/>
                <a:gd name="connsiteY710" fmla="*/ 1846457 h 4362443"/>
                <a:gd name="connsiteX711" fmla="*/ 964671 w 2997201"/>
                <a:gd name="connsiteY711" fmla="*/ 1831609 h 4362443"/>
                <a:gd name="connsiteX712" fmla="*/ 971021 w 2997201"/>
                <a:gd name="connsiteY712" fmla="*/ 1815169 h 4362443"/>
                <a:gd name="connsiteX713" fmla="*/ 977901 w 2997201"/>
                <a:gd name="connsiteY713" fmla="*/ 1800320 h 4362443"/>
                <a:gd name="connsiteX714" fmla="*/ 986367 w 2997201"/>
                <a:gd name="connsiteY714" fmla="*/ 1784941 h 4362443"/>
                <a:gd name="connsiteX715" fmla="*/ 995892 w 2997201"/>
                <a:gd name="connsiteY715" fmla="*/ 1770093 h 4362443"/>
                <a:gd name="connsiteX716" fmla="*/ 1006476 w 2997201"/>
                <a:gd name="connsiteY716" fmla="*/ 1755775 h 4362443"/>
                <a:gd name="connsiteX717" fmla="*/ 1012826 w 2997201"/>
                <a:gd name="connsiteY717" fmla="*/ 1762669 h 4362443"/>
                <a:gd name="connsiteX718" fmla="*/ 1018118 w 2997201"/>
                <a:gd name="connsiteY718" fmla="*/ 1770093 h 4362443"/>
                <a:gd name="connsiteX719" fmla="*/ 1022880 w 2997201"/>
                <a:gd name="connsiteY719" fmla="*/ 1778048 h 4362443"/>
                <a:gd name="connsiteX720" fmla="*/ 1027113 w 2997201"/>
                <a:gd name="connsiteY720" fmla="*/ 1784941 h 4362443"/>
                <a:gd name="connsiteX721" fmla="*/ 1031347 w 2997201"/>
                <a:gd name="connsiteY721" fmla="*/ 1792366 h 4362443"/>
                <a:gd name="connsiteX722" fmla="*/ 1033993 w 2997201"/>
                <a:gd name="connsiteY722" fmla="*/ 1800320 h 4362443"/>
                <a:gd name="connsiteX723" fmla="*/ 1037168 w 2997201"/>
                <a:gd name="connsiteY723" fmla="*/ 1807745 h 4362443"/>
                <a:gd name="connsiteX724" fmla="*/ 1040343 w 2997201"/>
                <a:gd name="connsiteY724" fmla="*/ 1815169 h 4362443"/>
                <a:gd name="connsiteX725" fmla="*/ 1042459 w 2997201"/>
                <a:gd name="connsiteY725" fmla="*/ 1823123 h 4362443"/>
                <a:gd name="connsiteX726" fmla="*/ 1044047 w 2997201"/>
                <a:gd name="connsiteY726" fmla="*/ 1830548 h 4362443"/>
                <a:gd name="connsiteX727" fmla="*/ 1045634 w 2997201"/>
                <a:gd name="connsiteY727" fmla="*/ 1838503 h 4362443"/>
                <a:gd name="connsiteX728" fmla="*/ 1047222 w 2997201"/>
                <a:gd name="connsiteY728" fmla="*/ 1846457 h 4362443"/>
                <a:gd name="connsiteX729" fmla="*/ 1047751 w 2997201"/>
                <a:gd name="connsiteY729" fmla="*/ 1861836 h 4362443"/>
                <a:gd name="connsiteX730" fmla="*/ 1047222 w 2997201"/>
                <a:gd name="connsiteY730" fmla="*/ 1878275 h 4362443"/>
                <a:gd name="connsiteX731" fmla="*/ 1045634 w 2997201"/>
                <a:gd name="connsiteY731" fmla="*/ 1894185 h 4362443"/>
                <a:gd name="connsiteX732" fmla="*/ 1042459 w 2997201"/>
                <a:gd name="connsiteY732" fmla="*/ 1910094 h 4362443"/>
                <a:gd name="connsiteX733" fmla="*/ 1041094 w 2997201"/>
                <a:gd name="connsiteY733" fmla="*/ 1915055 h 4362443"/>
                <a:gd name="connsiteX734" fmla="*/ 1043901 w 2997201"/>
                <a:gd name="connsiteY734" fmla="*/ 1915055 h 4362443"/>
                <a:gd name="connsiteX735" fmla="*/ 1048662 w 2997201"/>
                <a:gd name="connsiteY735" fmla="*/ 2065864 h 4362443"/>
                <a:gd name="connsiteX736" fmla="*/ 1550730 w 2997201"/>
                <a:gd name="connsiteY736" fmla="*/ 2361140 h 4362443"/>
                <a:gd name="connsiteX737" fmla="*/ 1516871 w 2997201"/>
                <a:gd name="connsiteY737" fmla="*/ 1856318 h 4362443"/>
                <a:gd name="connsiteX738" fmla="*/ 1486715 w 2997201"/>
                <a:gd name="connsiteY738" fmla="*/ 1834621 h 4362443"/>
                <a:gd name="connsiteX739" fmla="*/ 1455501 w 2997201"/>
                <a:gd name="connsiteY739" fmla="*/ 1813455 h 4362443"/>
                <a:gd name="connsiteX740" fmla="*/ 1424816 w 2997201"/>
                <a:gd name="connsiteY740" fmla="*/ 1793876 h 4362443"/>
                <a:gd name="connsiteX741" fmla="*/ 1394131 w 2997201"/>
                <a:gd name="connsiteY741" fmla="*/ 1773768 h 4362443"/>
                <a:gd name="connsiteX742" fmla="*/ 1334878 w 2997201"/>
                <a:gd name="connsiteY742" fmla="*/ 1736726 h 4362443"/>
                <a:gd name="connsiteX743" fmla="*/ 1277741 w 2997201"/>
                <a:gd name="connsiteY743" fmla="*/ 1702330 h 4362443"/>
                <a:gd name="connsiteX744" fmla="*/ 1222190 w 2997201"/>
                <a:gd name="connsiteY744" fmla="*/ 1671110 h 4362443"/>
                <a:gd name="connsiteX745" fmla="*/ 1169814 w 2997201"/>
                <a:gd name="connsiteY745" fmla="*/ 1642006 h 4362443"/>
                <a:gd name="connsiteX746" fmla="*/ 1120084 w 2997201"/>
                <a:gd name="connsiteY746" fmla="*/ 1616077 h 4362443"/>
                <a:gd name="connsiteX747" fmla="*/ 1074585 w 2997201"/>
                <a:gd name="connsiteY747" fmla="*/ 1592264 h 4362443"/>
                <a:gd name="connsiteX748" fmla="*/ 1032261 w 2997201"/>
                <a:gd name="connsiteY748" fmla="*/ 1571627 h 4362443"/>
                <a:gd name="connsiteX749" fmla="*/ 994170 w 2997201"/>
                <a:gd name="connsiteY749" fmla="*/ 1554165 h 4362443"/>
                <a:gd name="connsiteX750" fmla="*/ 960840 w 2997201"/>
                <a:gd name="connsiteY750" fmla="*/ 1538819 h 4362443"/>
                <a:gd name="connsiteX751" fmla="*/ 933329 w 2997201"/>
                <a:gd name="connsiteY751" fmla="*/ 1526648 h 4362443"/>
                <a:gd name="connsiteX752" fmla="*/ 910580 w 2997201"/>
                <a:gd name="connsiteY752" fmla="*/ 1517123 h 4362443"/>
                <a:gd name="connsiteX753" fmla="*/ 893650 w 2997201"/>
                <a:gd name="connsiteY753" fmla="*/ 1510244 h 4362443"/>
                <a:gd name="connsiteX754" fmla="*/ 884128 w 2997201"/>
                <a:gd name="connsiteY754" fmla="*/ 1506011 h 4362443"/>
                <a:gd name="connsiteX755" fmla="*/ 879895 w 2997201"/>
                <a:gd name="connsiteY755" fmla="*/ 1504952 h 4362443"/>
                <a:gd name="connsiteX756" fmla="*/ 589089 w 2997201"/>
                <a:gd name="connsiteY756" fmla="*/ 1405683 h 4362443"/>
                <a:gd name="connsiteX757" fmla="*/ 567796 w 2997201"/>
                <a:gd name="connsiteY757" fmla="*/ 1411393 h 4362443"/>
                <a:gd name="connsiteX758" fmla="*/ 539750 w 2997201"/>
                <a:gd name="connsiteY758" fmla="*/ 1419825 h 4362443"/>
                <a:gd name="connsiteX759" fmla="*/ 524934 w 2997201"/>
                <a:gd name="connsiteY759" fmla="*/ 1424568 h 4362443"/>
                <a:gd name="connsiteX760" fmla="*/ 510646 w 2997201"/>
                <a:gd name="connsiteY760" fmla="*/ 1428257 h 4362443"/>
                <a:gd name="connsiteX761" fmla="*/ 496359 w 2997201"/>
                <a:gd name="connsiteY761" fmla="*/ 1431420 h 4362443"/>
                <a:gd name="connsiteX762" fmla="*/ 481542 w 2997201"/>
                <a:gd name="connsiteY762" fmla="*/ 1433527 h 4362443"/>
                <a:gd name="connsiteX763" fmla="*/ 466725 w 2997201"/>
                <a:gd name="connsiteY763" fmla="*/ 1435636 h 4362443"/>
                <a:gd name="connsiteX764" fmla="*/ 451909 w 2997201"/>
                <a:gd name="connsiteY764" fmla="*/ 1436690 h 4362443"/>
                <a:gd name="connsiteX765" fmla="*/ 437621 w 2997201"/>
                <a:gd name="connsiteY765" fmla="*/ 1436690 h 4362443"/>
                <a:gd name="connsiteX766" fmla="*/ 422804 w 2997201"/>
                <a:gd name="connsiteY766" fmla="*/ 1435636 h 4362443"/>
                <a:gd name="connsiteX767" fmla="*/ 408517 w 2997201"/>
                <a:gd name="connsiteY767" fmla="*/ 1433001 h 4362443"/>
                <a:gd name="connsiteX768" fmla="*/ 394229 w 2997201"/>
                <a:gd name="connsiteY768" fmla="*/ 1428784 h 4362443"/>
                <a:gd name="connsiteX769" fmla="*/ 386292 w 2997201"/>
                <a:gd name="connsiteY769" fmla="*/ 1426149 h 4362443"/>
                <a:gd name="connsiteX770" fmla="*/ 379413 w 2997201"/>
                <a:gd name="connsiteY770" fmla="*/ 1422987 h 4362443"/>
                <a:gd name="connsiteX771" fmla="*/ 372534 w 2997201"/>
                <a:gd name="connsiteY771" fmla="*/ 1419825 h 4362443"/>
                <a:gd name="connsiteX772" fmla="*/ 365654 w 2997201"/>
                <a:gd name="connsiteY772" fmla="*/ 1416136 h 4362443"/>
                <a:gd name="connsiteX773" fmla="*/ 352425 w 2997201"/>
                <a:gd name="connsiteY773" fmla="*/ 1408231 h 4362443"/>
                <a:gd name="connsiteX774" fmla="*/ 339725 w 2997201"/>
                <a:gd name="connsiteY774" fmla="*/ 1399271 h 4362443"/>
                <a:gd name="connsiteX775" fmla="*/ 328613 w 2997201"/>
                <a:gd name="connsiteY775" fmla="*/ 1389258 h 4362443"/>
                <a:gd name="connsiteX776" fmla="*/ 318029 w 2997201"/>
                <a:gd name="connsiteY776" fmla="*/ 1378718 h 4362443"/>
                <a:gd name="connsiteX777" fmla="*/ 307975 w 2997201"/>
                <a:gd name="connsiteY777" fmla="*/ 1367650 h 4362443"/>
                <a:gd name="connsiteX778" fmla="*/ 297921 w 2997201"/>
                <a:gd name="connsiteY778" fmla="*/ 1354475 h 4362443"/>
                <a:gd name="connsiteX779" fmla="*/ 288925 w 2997201"/>
                <a:gd name="connsiteY779" fmla="*/ 1341827 h 4362443"/>
                <a:gd name="connsiteX780" fmla="*/ 280458 w 2997201"/>
                <a:gd name="connsiteY780" fmla="*/ 1328124 h 4362443"/>
                <a:gd name="connsiteX781" fmla="*/ 263525 w 2997201"/>
                <a:gd name="connsiteY781" fmla="*/ 1299666 h 4362443"/>
                <a:gd name="connsiteX782" fmla="*/ 248708 w 2997201"/>
                <a:gd name="connsiteY782" fmla="*/ 1271207 h 4362443"/>
                <a:gd name="connsiteX783" fmla="*/ 233892 w 2997201"/>
                <a:gd name="connsiteY783" fmla="*/ 1242221 h 4362443"/>
                <a:gd name="connsiteX784" fmla="*/ 219075 w 2997201"/>
                <a:gd name="connsiteY784" fmla="*/ 1213235 h 4362443"/>
                <a:gd name="connsiteX785" fmla="*/ 248708 w 2997201"/>
                <a:gd name="connsiteY785" fmla="*/ 1204276 h 4362443"/>
                <a:gd name="connsiteX786" fmla="*/ 278342 w 2997201"/>
                <a:gd name="connsiteY786" fmla="*/ 1195317 h 4362443"/>
                <a:gd name="connsiteX787" fmla="*/ 293688 w 2997201"/>
                <a:gd name="connsiteY787" fmla="*/ 1190573 h 4362443"/>
                <a:gd name="connsiteX788" fmla="*/ 308504 w 2997201"/>
                <a:gd name="connsiteY788" fmla="*/ 1186884 h 4362443"/>
                <a:gd name="connsiteX789" fmla="*/ 323850 w 2997201"/>
                <a:gd name="connsiteY789" fmla="*/ 1183195 h 4362443"/>
                <a:gd name="connsiteX790" fmla="*/ 339196 w 2997201"/>
                <a:gd name="connsiteY790" fmla="*/ 1180560 h 4362443"/>
                <a:gd name="connsiteX791" fmla="*/ 353484 w 2997201"/>
                <a:gd name="connsiteY791" fmla="*/ 1178452 h 4362443"/>
                <a:gd name="connsiteX792" fmla="*/ 368829 w 2997201"/>
                <a:gd name="connsiteY792" fmla="*/ 1177925 h 4362443"/>
                <a:gd name="connsiteX793" fmla="*/ 384175 w 2997201"/>
                <a:gd name="connsiteY793" fmla="*/ 1177925 h 4362443"/>
                <a:gd name="connsiteX794" fmla="*/ 398463 w 2997201"/>
                <a:gd name="connsiteY794" fmla="*/ 1178979 h 4362443"/>
                <a:gd name="connsiteX795" fmla="*/ 406400 w 2997201"/>
                <a:gd name="connsiteY795" fmla="*/ 1180560 h 4362443"/>
                <a:gd name="connsiteX796" fmla="*/ 413279 w 2997201"/>
                <a:gd name="connsiteY796" fmla="*/ 1182141 h 4362443"/>
                <a:gd name="connsiteX797" fmla="*/ 420688 w 2997201"/>
                <a:gd name="connsiteY797" fmla="*/ 1184249 h 4362443"/>
                <a:gd name="connsiteX798" fmla="*/ 427567 w 2997201"/>
                <a:gd name="connsiteY798" fmla="*/ 1186884 h 4362443"/>
                <a:gd name="connsiteX799" fmla="*/ 434446 w 2997201"/>
                <a:gd name="connsiteY799" fmla="*/ 1190047 h 4362443"/>
                <a:gd name="connsiteX800" fmla="*/ 441854 w 2997201"/>
                <a:gd name="connsiteY800" fmla="*/ 1192682 h 4362443"/>
                <a:gd name="connsiteX801" fmla="*/ 448734 w 2997201"/>
                <a:gd name="connsiteY801" fmla="*/ 1197425 h 4362443"/>
                <a:gd name="connsiteX802" fmla="*/ 455613 w 2997201"/>
                <a:gd name="connsiteY802" fmla="*/ 1201114 h 4362443"/>
                <a:gd name="connsiteX803" fmla="*/ 468842 w 2997201"/>
                <a:gd name="connsiteY803" fmla="*/ 1209019 h 4362443"/>
                <a:gd name="connsiteX804" fmla="*/ 481013 w 2997201"/>
                <a:gd name="connsiteY804" fmla="*/ 1217978 h 4362443"/>
                <a:gd name="connsiteX805" fmla="*/ 492125 w 2997201"/>
                <a:gd name="connsiteY805" fmla="*/ 1227992 h 4362443"/>
                <a:gd name="connsiteX806" fmla="*/ 503238 w 2997201"/>
                <a:gd name="connsiteY806" fmla="*/ 1238532 h 4362443"/>
                <a:gd name="connsiteX807" fmla="*/ 512234 w 2997201"/>
                <a:gd name="connsiteY807" fmla="*/ 1249599 h 4362443"/>
                <a:gd name="connsiteX808" fmla="*/ 521230 w 2997201"/>
                <a:gd name="connsiteY808" fmla="*/ 1261721 h 4362443"/>
                <a:gd name="connsiteX809" fmla="*/ 530225 w 2997201"/>
                <a:gd name="connsiteY809" fmla="*/ 1274896 h 4362443"/>
                <a:gd name="connsiteX810" fmla="*/ 538163 w 2997201"/>
                <a:gd name="connsiteY810" fmla="*/ 1288598 h 4362443"/>
                <a:gd name="connsiteX811" fmla="*/ 553509 w 2997201"/>
                <a:gd name="connsiteY811" fmla="*/ 1316530 h 4362443"/>
                <a:gd name="connsiteX812" fmla="*/ 567796 w 2997201"/>
                <a:gd name="connsiteY812" fmla="*/ 1345516 h 4362443"/>
                <a:gd name="connsiteX813" fmla="*/ 577902 w 2997201"/>
                <a:gd name="connsiteY813" fmla="*/ 1367194 h 4362443"/>
                <a:gd name="connsiteX814" fmla="*/ 842862 w 2997201"/>
                <a:gd name="connsiteY814" fmla="*/ 1448332 h 4362443"/>
                <a:gd name="connsiteX815" fmla="*/ 842862 w 2997201"/>
                <a:gd name="connsiteY815" fmla="*/ 1320425 h 4362443"/>
                <a:gd name="connsiteX816" fmla="*/ 838510 w 2997201"/>
                <a:gd name="connsiteY816" fmla="*/ 1330994 h 4362443"/>
                <a:gd name="connsiteX817" fmla="*/ 827862 w 2997201"/>
                <a:gd name="connsiteY817" fmla="*/ 1355797 h 4362443"/>
                <a:gd name="connsiteX818" fmla="*/ 817747 w 2997201"/>
                <a:gd name="connsiteY818" fmla="*/ 1381127 h 4362443"/>
                <a:gd name="connsiteX819" fmla="*/ 800178 w 2997201"/>
                <a:gd name="connsiteY819" fmla="*/ 1360546 h 4362443"/>
                <a:gd name="connsiteX820" fmla="*/ 782077 w 2997201"/>
                <a:gd name="connsiteY820" fmla="*/ 1339965 h 4362443"/>
                <a:gd name="connsiteX821" fmla="*/ 763443 w 2997201"/>
                <a:gd name="connsiteY821" fmla="*/ 1319384 h 4362443"/>
                <a:gd name="connsiteX822" fmla="*/ 745874 w 2997201"/>
                <a:gd name="connsiteY822" fmla="*/ 1298803 h 4362443"/>
                <a:gd name="connsiteX823" fmla="*/ 737356 w 2997201"/>
                <a:gd name="connsiteY823" fmla="*/ 1287193 h 4362443"/>
                <a:gd name="connsiteX824" fmla="*/ 729902 w 2997201"/>
                <a:gd name="connsiteY824" fmla="*/ 1276111 h 4362443"/>
                <a:gd name="connsiteX825" fmla="*/ 722981 w 2997201"/>
                <a:gd name="connsiteY825" fmla="*/ 1264501 h 4362443"/>
                <a:gd name="connsiteX826" fmla="*/ 716592 w 2997201"/>
                <a:gd name="connsiteY826" fmla="*/ 1252363 h 4362443"/>
                <a:gd name="connsiteX827" fmla="*/ 711268 w 2997201"/>
                <a:gd name="connsiteY827" fmla="*/ 1239698 h 4362443"/>
                <a:gd name="connsiteX828" fmla="*/ 707009 w 2997201"/>
                <a:gd name="connsiteY828" fmla="*/ 1225977 h 4362443"/>
                <a:gd name="connsiteX829" fmla="*/ 703815 w 2997201"/>
                <a:gd name="connsiteY829" fmla="*/ 1212256 h 4362443"/>
                <a:gd name="connsiteX830" fmla="*/ 701153 w 2997201"/>
                <a:gd name="connsiteY830" fmla="*/ 1196952 h 4362443"/>
                <a:gd name="connsiteX831" fmla="*/ 700088 w 2997201"/>
                <a:gd name="connsiteY831" fmla="*/ 1183232 h 4362443"/>
                <a:gd name="connsiteX832" fmla="*/ 700088 w 2997201"/>
                <a:gd name="connsiteY832" fmla="*/ 1170566 h 4362443"/>
                <a:gd name="connsiteX833" fmla="*/ 701153 w 2997201"/>
                <a:gd name="connsiteY833" fmla="*/ 1156846 h 4362443"/>
                <a:gd name="connsiteX834" fmla="*/ 702750 w 2997201"/>
                <a:gd name="connsiteY834" fmla="*/ 1143652 h 4362443"/>
                <a:gd name="connsiteX835" fmla="*/ 705944 w 2997201"/>
                <a:gd name="connsiteY835" fmla="*/ 1130987 h 4362443"/>
                <a:gd name="connsiteX836" fmla="*/ 709139 w 2997201"/>
                <a:gd name="connsiteY836" fmla="*/ 1117794 h 4362443"/>
                <a:gd name="connsiteX837" fmla="*/ 712865 w 2997201"/>
                <a:gd name="connsiteY837" fmla="*/ 1105656 h 4362443"/>
                <a:gd name="connsiteX838" fmla="*/ 717657 w 2997201"/>
                <a:gd name="connsiteY838" fmla="*/ 1092991 h 4362443"/>
                <a:gd name="connsiteX839" fmla="*/ 728305 w 2997201"/>
                <a:gd name="connsiteY839" fmla="*/ 1068188 h 4362443"/>
                <a:gd name="connsiteX840" fmla="*/ 738953 w 2997201"/>
                <a:gd name="connsiteY840" fmla="*/ 1043385 h 4362443"/>
                <a:gd name="connsiteX841" fmla="*/ 750665 w 2997201"/>
                <a:gd name="connsiteY841" fmla="*/ 1019638 h 4362443"/>
                <a:gd name="connsiteX842" fmla="*/ 761313 w 2997201"/>
                <a:gd name="connsiteY842" fmla="*/ 995363 h 4362443"/>
                <a:gd name="connsiteX843" fmla="*/ 777817 w 2997201"/>
                <a:gd name="connsiteY843" fmla="*/ 1015416 h 4362443"/>
                <a:gd name="connsiteX844" fmla="*/ 794854 w 2997201"/>
                <a:gd name="connsiteY844" fmla="*/ 1034414 h 4362443"/>
                <a:gd name="connsiteX845" fmla="*/ 812423 w 2997201"/>
                <a:gd name="connsiteY845" fmla="*/ 1053939 h 4362443"/>
                <a:gd name="connsiteX846" fmla="*/ 829460 w 2997201"/>
                <a:gd name="connsiteY846" fmla="*/ 1073993 h 4362443"/>
                <a:gd name="connsiteX847" fmla="*/ 837978 w 2997201"/>
                <a:gd name="connsiteY847" fmla="*/ 1084548 h 4362443"/>
                <a:gd name="connsiteX848" fmla="*/ 844899 w 2997201"/>
                <a:gd name="connsiteY848" fmla="*/ 1095102 h 4362443"/>
                <a:gd name="connsiteX849" fmla="*/ 851820 w 2997201"/>
                <a:gd name="connsiteY849" fmla="*/ 1106712 h 4362443"/>
                <a:gd name="connsiteX850" fmla="*/ 857676 w 2997201"/>
                <a:gd name="connsiteY850" fmla="*/ 1117794 h 4362443"/>
                <a:gd name="connsiteX851" fmla="*/ 863000 w 2997201"/>
                <a:gd name="connsiteY851" fmla="*/ 1129932 h 4362443"/>
                <a:gd name="connsiteX852" fmla="*/ 867259 w 2997201"/>
                <a:gd name="connsiteY852" fmla="*/ 1142069 h 4362443"/>
                <a:gd name="connsiteX853" fmla="*/ 869921 w 2997201"/>
                <a:gd name="connsiteY853" fmla="*/ 1155790 h 4362443"/>
                <a:gd name="connsiteX854" fmla="*/ 872583 w 2997201"/>
                <a:gd name="connsiteY854" fmla="*/ 1169511 h 4362443"/>
                <a:gd name="connsiteX855" fmla="*/ 873648 w 2997201"/>
                <a:gd name="connsiteY855" fmla="*/ 1183759 h 4362443"/>
                <a:gd name="connsiteX856" fmla="*/ 874713 w 2997201"/>
                <a:gd name="connsiteY856" fmla="*/ 1198535 h 4362443"/>
                <a:gd name="connsiteX857" fmla="*/ 874713 w 2997201"/>
                <a:gd name="connsiteY857" fmla="*/ 1212256 h 4362443"/>
                <a:gd name="connsiteX858" fmla="*/ 873116 w 2997201"/>
                <a:gd name="connsiteY858" fmla="*/ 1225977 h 4362443"/>
                <a:gd name="connsiteX859" fmla="*/ 870986 w 2997201"/>
                <a:gd name="connsiteY859" fmla="*/ 1239698 h 4362443"/>
                <a:gd name="connsiteX860" fmla="*/ 867792 w 2997201"/>
                <a:gd name="connsiteY860" fmla="*/ 1253419 h 4362443"/>
                <a:gd name="connsiteX861" fmla="*/ 864065 w 2997201"/>
                <a:gd name="connsiteY861" fmla="*/ 1266084 h 4362443"/>
                <a:gd name="connsiteX862" fmla="*/ 859274 w 2997201"/>
                <a:gd name="connsiteY862" fmla="*/ 1279277 h 4362443"/>
                <a:gd name="connsiteX863" fmla="*/ 855376 w 2997201"/>
                <a:gd name="connsiteY863" fmla="*/ 1289241 h 4362443"/>
                <a:gd name="connsiteX864" fmla="*/ 866669 w 2997201"/>
                <a:gd name="connsiteY864" fmla="*/ 1461032 h 4362443"/>
                <a:gd name="connsiteX865" fmla="*/ 875663 w 2997201"/>
                <a:gd name="connsiteY865" fmla="*/ 1462619 h 4362443"/>
                <a:gd name="connsiteX866" fmla="*/ 886773 w 2997201"/>
                <a:gd name="connsiteY866" fmla="*/ 1465265 h 4362443"/>
                <a:gd name="connsiteX867" fmla="*/ 901586 w 2997201"/>
                <a:gd name="connsiteY867" fmla="*/ 1469498 h 4362443"/>
                <a:gd name="connsiteX868" fmla="*/ 917987 w 2997201"/>
                <a:gd name="connsiteY868" fmla="*/ 1475848 h 4362443"/>
                <a:gd name="connsiteX869" fmla="*/ 936503 w 2997201"/>
                <a:gd name="connsiteY869" fmla="*/ 1482727 h 4362443"/>
                <a:gd name="connsiteX870" fmla="*/ 957665 w 2997201"/>
                <a:gd name="connsiteY870" fmla="*/ 1491723 h 4362443"/>
                <a:gd name="connsiteX871" fmla="*/ 979886 w 2997201"/>
                <a:gd name="connsiteY871" fmla="*/ 1501777 h 4362443"/>
                <a:gd name="connsiteX872" fmla="*/ 1003693 w 2997201"/>
                <a:gd name="connsiteY872" fmla="*/ 1512361 h 4362443"/>
                <a:gd name="connsiteX873" fmla="*/ 1055540 w 2997201"/>
                <a:gd name="connsiteY873" fmla="*/ 1536702 h 4362443"/>
                <a:gd name="connsiteX874" fmla="*/ 1111090 w 2997201"/>
                <a:gd name="connsiteY874" fmla="*/ 1564219 h 4362443"/>
                <a:gd name="connsiteX875" fmla="*/ 1168756 w 2997201"/>
                <a:gd name="connsiteY875" fmla="*/ 1593852 h 4362443"/>
                <a:gd name="connsiteX876" fmla="*/ 1226952 w 2997201"/>
                <a:gd name="connsiteY876" fmla="*/ 1623485 h 4362443"/>
                <a:gd name="connsiteX877" fmla="*/ 1284618 w 2997201"/>
                <a:gd name="connsiteY877" fmla="*/ 1654176 h 4362443"/>
                <a:gd name="connsiteX878" fmla="*/ 1339639 w 2997201"/>
                <a:gd name="connsiteY878" fmla="*/ 1683281 h 4362443"/>
                <a:gd name="connsiteX879" fmla="*/ 1389899 w 2997201"/>
                <a:gd name="connsiteY879" fmla="*/ 1710797 h 4362443"/>
                <a:gd name="connsiteX880" fmla="*/ 1434868 w 2997201"/>
                <a:gd name="connsiteY880" fmla="*/ 1735668 h 4362443"/>
                <a:gd name="connsiteX881" fmla="*/ 1472960 w 2997201"/>
                <a:gd name="connsiteY881" fmla="*/ 1756305 h 4362443"/>
                <a:gd name="connsiteX882" fmla="*/ 1501529 w 2997201"/>
                <a:gd name="connsiteY882" fmla="*/ 1772180 h 4362443"/>
                <a:gd name="connsiteX883" fmla="*/ 1520045 w 2997201"/>
                <a:gd name="connsiteY883" fmla="*/ 1782234 h 4362443"/>
                <a:gd name="connsiteX884" fmla="*/ 1526394 w 2997201"/>
                <a:gd name="connsiteY884" fmla="*/ 1785938 h 4362443"/>
                <a:gd name="connsiteX885" fmla="*/ 1516871 w 2997201"/>
                <a:gd name="connsiteY885" fmla="*/ 1608668 h 4362443"/>
                <a:gd name="connsiteX886" fmla="*/ 1412648 w 2997201"/>
                <a:gd name="connsiteY886" fmla="*/ 1337735 h 4362443"/>
                <a:gd name="connsiteX887" fmla="*/ 977679 w 2997201"/>
                <a:gd name="connsiteY887" fmla="*/ 932847 h 4362443"/>
                <a:gd name="connsiteX888" fmla="*/ 981075 w 2997201"/>
                <a:gd name="connsiteY888" fmla="*/ 948296 h 4362443"/>
                <a:gd name="connsiteX889" fmla="*/ 960437 w 2997201"/>
                <a:gd name="connsiteY889" fmla="*/ 953582 h 4362443"/>
                <a:gd name="connsiteX890" fmla="*/ 940329 w 2997201"/>
                <a:gd name="connsiteY890" fmla="*/ 958866 h 4362443"/>
                <a:gd name="connsiteX891" fmla="*/ 919163 w 2997201"/>
                <a:gd name="connsiteY891" fmla="*/ 963093 h 4362443"/>
                <a:gd name="connsiteX892" fmla="*/ 898525 w 2997201"/>
                <a:gd name="connsiteY892" fmla="*/ 965735 h 4362443"/>
                <a:gd name="connsiteX893" fmla="*/ 877358 w 2997201"/>
                <a:gd name="connsiteY893" fmla="*/ 968378 h 4362443"/>
                <a:gd name="connsiteX894" fmla="*/ 856721 w 2997201"/>
                <a:gd name="connsiteY894" fmla="*/ 969964 h 4362443"/>
                <a:gd name="connsiteX895" fmla="*/ 835025 w 2997201"/>
                <a:gd name="connsiteY895" fmla="*/ 969964 h 4362443"/>
                <a:gd name="connsiteX896" fmla="*/ 814917 w 2997201"/>
                <a:gd name="connsiteY896" fmla="*/ 968378 h 4362443"/>
                <a:gd name="connsiteX897" fmla="*/ 794279 w 2997201"/>
                <a:gd name="connsiteY897" fmla="*/ 965735 h 4362443"/>
                <a:gd name="connsiteX898" fmla="*/ 773642 w 2997201"/>
                <a:gd name="connsiteY898" fmla="*/ 962037 h 4362443"/>
                <a:gd name="connsiteX899" fmla="*/ 753533 w 2997201"/>
                <a:gd name="connsiteY899" fmla="*/ 956752 h 4362443"/>
                <a:gd name="connsiteX900" fmla="*/ 733954 w 2997201"/>
                <a:gd name="connsiteY900" fmla="*/ 949881 h 4362443"/>
                <a:gd name="connsiteX901" fmla="*/ 723900 w 2997201"/>
                <a:gd name="connsiteY901" fmla="*/ 946183 h 4362443"/>
                <a:gd name="connsiteX902" fmla="*/ 714375 w 2997201"/>
                <a:gd name="connsiteY902" fmla="*/ 941427 h 4362443"/>
                <a:gd name="connsiteX903" fmla="*/ 704850 w 2997201"/>
                <a:gd name="connsiteY903" fmla="*/ 937200 h 4362443"/>
                <a:gd name="connsiteX904" fmla="*/ 695854 w 2997201"/>
                <a:gd name="connsiteY904" fmla="*/ 932443 h 4362443"/>
                <a:gd name="connsiteX905" fmla="*/ 686858 w 2997201"/>
                <a:gd name="connsiteY905" fmla="*/ 926630 h 4362443"/>
                <a:gd name="connsiteX906" fmla="*/ 677333 w 2997201"/>
                <a:gd name="connsiteY906" fmla="*/ 920289 h 4362443"/>
                <a:gd name="connsiteX907" fmla="*/ 668337 w 2997201"/>
                <a:gd name="connsiteY907" fmla="*/ 913947 h 4362443"/>
                <a:gd name="connsiteX908" fmla="*/ 659871 w 2997201"/>
                <a:gd name="connsiteY908" fmla="*/ 907077 h 4362443"/>
                <a:gd name="connsiteX909" fmla="*/ 645583 w 2997201"/>
                <a:gd name="connsiteY909" fmla="*/ 892280 h 4362443"/>
                <a:gd name="connsiteX910" fmla="*/ 632354 w 2997201"/>
                <a:gd name="connsiteY910" fmla="*/ 876956 h 4362443"/>
                <a:gd name="connsiteX911" fmla="*/ 620183 w 2997201"/>
                <a:gd name="connsiteY911" fmla="*/ 860045 h 4362443"/>
                <a:gd name="connsiteX912" fmla="*/ 609071 w 2997201"/>
                <a:gd name="connsiteY912" fmla="*/ 842606 h 4362443"/>
                <a:gd name="connsiteX913" fmla="*/ 599017 w 2997201"/>
                <a:gd name="connsiteY913" fmla="*/ 824110 h 4362443"/>
                <a:gd name="connsiteX914" fmla="*/ 588963 w 2997201"/>
                <a:gd name="connsiteY914" fmla="*/ 805086 h 4362443"/>
                <a:gd name="connsiteX915" fmla="*/ 579967 w 2997201"/>
                <a:gd name="connsiteY915" fmla="*/ 785533 h 4362443"/>
                <a:gd name="connsiteX916" fmla="*/ 571500 w 2997201"/>
                <a:gd name="connsiteY916" fmla="*/ 765980 h 4362443"/>
                <a:gd name="connsiteX917" fmla="*/ 564092 w 2997201"/>
                <a:gd name="connsiteY917" fmla="*/ 745899 h 4362443"/>
                <a:gd name="connsiteX918" fmla="*/ 556154 w 2997201"/>
                <a:gd name="connsiteY918" fmla="*/ 725290 h 4362443"/>
                <a:gd name="connsiteX919" fmla="*/ 549275 w 2997201"/>
                <a:gd name="connsiteY919" fmla="*/ 704680 h 4362443"/>
                <a:gd name="connsiteX920" fmla="*/ 542925 w 2997201"/>
                <a:gd name="connsiteY920" fmla="*/ 684071 h 4362443"/>
                <a:gd name="connsiteX921" fmla="*/ 529696 w 2997201"/>
                <a:gd name="connsiteY921" fmla="*/ 642323 h 4362443"/>
                <a:gd name="connsiteX922" fmla="*/ 517525 w 2997201"/>
                <a:gd name="connsiteY922" fmla="*/ 602161 h 4362443"/>
                <a:gd name="connsiteX923" fmla="*/ 536575 w 2997201"/>
                <a:gd name="connsiteY923" fmla="*/ 596876 h 4362443"/>
                <a:gd name="connsiteX924" fmla="*/ 557213 w 2997201"/>
                <a:gd name="connsiteY924" fmla="*/ 591592 h 4362443"/>
                <a:gd name="connsiteX925" fmla="*/ 576792 w 2997201"/>
                <a:gd name="connsiteY925" fmla="*/ 587364 h 4362443"/>
                <a:gd name="connsiteX926" fmla="*/ 597429 w 2997201"/>
                <a:gd name="connsiteY926" fmla="*/ 583665 h 4362443"/>
                <a:gd name="connsiteX927" fmla="*/ 617537 w 2997201"/>
                <a:gd name="connsiteY927" fmla="*/ 581551 h 4362443"/>
                <a:gd name="connsiteX928" fmla="*/ 638175 w 2997201"/>
                <a:gd name="connsiteY928" fmla="*/ 579438 h 4362443"/>
                <a:gd name="connsiteX929" fmla="*/ 658283 w 2997201"/>
                <a:gd name="connsiteY929" fmla="*/ 579438 h 4362443"/>
                <a:gd name="connsiteX930" fmla="*/ 678921 w 2997201"/>
                <a:gd name="connsiteY930" fmla="*/ 579438 h 4362443"/>
                <a:gd name="connsiteX931" fmla="*/ 699029 w 2997201"/>
                <a:gd name="connsiteY931" fmla="*/ 581551 h 4362443"/>
                <a:gd name="connsiteX932" fmla="*/ 719667 w 2997201"/>
                <a:gd name="connsiteY932" fmla="*/ 584722 h 4362443"/>
                <a:gd name="connsiteX933" fmla="*/ 729192 w 2997201"/>
                <a:gd name="connsiteY933" fmla="*/ 586836 h 4362443"/>
                <a:gd name="connsiteX934" fmla="*/ 739246 w 2997201"/>
                <a:gd name="connsiteY934" fmla="*/ 588950 h 4362443"/>
                <a:gd name="connsiteX935" fmla="*/ 748242 w 2997201"/>
                <a:gd name="connsiteY935" fmla="*/ 592120 h 4362443"/>
                <a:gd name="connsiteX936" fmla="*/ 758296 w 2997201"/>
                <a:gd name="connsiteY936" fmla="*/ 595819 h 4362443"/>
                <a:gd name="connsiteX937" fmla="*/ 768350 w 2997201"/>
                <a:gd name="connsiteY937" fmla="*/ 599519 h 4362443"/>
                <a:gd name="connsiteX938" fmla="*/ 777346 w 2997201"/>
                <a:gd name="connsiteY938" fmla="*/ 603746 h 4362443"/>
                <a:gd name="connsiteX939" fmla="*/ 787400 w 2997201"/>
                <a:gd name="connsiteY939" fmla="*/ 607974 h 4362443"/>
                <a:gd name="connsiteX940" fmla="*/ 796396 w 2997201"/>
                <a:gd name="connsiteY940" fmla="*/ 613258 h 4362443"/>
                <a:gd name="connsiteX941" fmla="*/ 805392 w 2997201"/>
                <a:gd name="connsiteY941" fmla="*/ 618543 h 4362443"/>
                <a:gd name="connsiteX942" fmla="*/ 814917 w 2997201"/>
                <a:gd name="connsiteY942" fmla="*/ 624884 h 4362443"/>
                <a:gd name="connsiteX943" fmla="*/ 823913 w 2997201"/>
                <a:gd name="connsiteY943" fmla="*/ 631754 h 4362443"/>
                <a:gd name="connsiteX944" fmla="*/ 832379 w 2997201"/>
                <a:gd name="connsiteY944" fmla="*/ 638624 h 4362443"/>
                <a:gd name="connsiteX945" fmla="*/ 840846 w 2997201"/>
                <a:gd name="connsiteY945" fmla="*/ 645494 h 4362443"/>
                <a:gd name="connsiteX946" fmla="*/ 848783 w 2997201"/>
                <a:gd name="connsiteY946" fmla="*/ 652364 h 4362443"/>
                <a:gd name="connsiteX947" fmla="*/ 856721 w 2997201"/>
                <a:gd name="connsiteY947" fmla="*/ 659233 h 4362443"/>
                <a:gd name="connsiteX948" fmla="*/ 864129 w 2997201"/>
                <a:gd name="connsiteY948" fmla="*/ 666632 h 4362443"/>
                <a:gd name="connsiteX949" fmla="*/ 871008 w 2997201"/>
                <a:gd name="connsiteY949" fmla="*/ 675087 h 4362443"/>
                <a:gd name="connsiteX950" fmla="*/ 877887 w 2997201"/>
                <a:gd name="connsiteY950" fmla="*/ 682485 h 4362443"/>
                <a:gd name="connsiteX951" fmla="*/ 884767 w 2997201"/>
                <a:gd name="connsiteY951" fmla="*/ 690940 h 4362443"/>
                <a:gd name="connsiteX952" fmla="*/ 891117 w 2997201"/>
                <a:gd name="connsiteY952" fmla="*/ 699396 h 4362443"/>
                <a:gd name="connsiteX953" fmla="*/ 902229 w 2997201"/>
                <a:gd name="connsiteY953" fmla="*/ 717891 h 4362443"/>
                <a:gd name="connsiteX954" fmla="*/ 912813 w 2997201"/>
                <a:gd name="connsiteY954" fmla="*/ 736916 h 4362443"/>
                <a:gd name="connsiteX955" fmla="*/ 922867 w 2997201"/>
                <a:gd name="connsiteY955" fmla="*/ 755940 h 4362443"/>
                <a:gd name="connsiteX956" fmla="*/ 931863 w 2997201"/>
                <a:gd name="connsiteY956" fmla="*/ 776549 h 4362443"/>
                <a:gd name="connsiteX957" fmla="*/ 940329 w 2997201"/>
                <a:gd name="connsiteY957" fmla="*/ 797159 h 4362443"/>
                <a:gd name="connsiteX958" fmla="*/ 947208 w 2997201"/>
                <a:gd name="connsiteY958" fmla="*/ 818297 h 4362443"/>
                <a:gd name="connsiteX959" fmla="*/ 954087 w 2997201"/>
                <a:gd name="connsiteY959" fmla="*/ 839435 h 4362443"/>
                <a:gd name="connsiteX960" fmla="*/ 960437 w 2997201"/>
                <a:gd name="connsiteY960" fmla="*/ 861631 h 4362443"/>
                <a:gd name="connsiteX961" fmla="*/ 971550 w 2997201"/>
                <a:gd name="connsiteY961" fmla="*/ 904963 h 4362443"/>
                <a:gd name="connsiteX962" fmla="*/ 972721 w 2997201"/>
                <a:gd name="connsiteY962" fmla="*/ 910288 h 4362443"/>
                <a:gd name="connsiteX963" fmla="*/ 1114264 w 2997201"/>
                <a:gd name="connsiteY963" fmla="*/ 1008592 h 4362443"/>
                <a:gd name="connsiteX964" fmla="*/ 1173421 w 2997201"/>
                <a:gd name="connsiteY964" fmla="*/ 913432 h 4362443"/>
                <a:gd name="connsiteX965" fmla="*/ 1158555 w 2997201"/>
                <a:gd name="connsiteY965" fmla="*/ 922356 h 4362443"/>
                <a:gd name="connsiteX966" fmla="*/ 1144140 w 2997201"/>
                <a:gd name="connsiteY966" fmla="*/ 930274 h 4362443"/>
                <a:gd name="connsiteX967" fmla="*/ 1140936 w 2997201"/>
                <a:gd name="connsiteY967" fmla="*/ 920772 h 4362443"/>
                <a:gd name="connsiteX968" fmla="*/ 1138800 w 2997201"/>
                <a:gd name="connsiteY968" fmla="*/ 911270 h 4362443"/>
                <a:gd name="connsiteX969" fmla="*/ 1137199 w 2997201"/>
                <a:gd name="connsiteY969" fmla="*/ 901768 h 4362443"/>
                <a:gd name="connsiteX970" fmla="*/ 1136665 w 2997201"/>
                <a:gd name="connsiteY970" fmla="*/ 892794 h 4362443"/>
                <a:gd name="connsiteX971" fmla="*/ 1135063 w 2997201"/>
                <a:gd name="connsiteY971" fmla="*/ 884349 h 4362443"/>
                <a:gd name="connsiteX972" fmla="*/ 1135063 w 2997201"/>
                <a:gd name="connsiteY972" fmla="*/ 875375 h 4362443"/>
                <a:gd name="connsiteX973" fmla="*/ 1135063 w 2997201"/>
                <a:gd name="connsiteY973" fmla="*/ 866929 h 4362443"/>
                <a:gd name="connsiteX974" fmla="*/ 1135063 w 2997201"/>
                <a:gd name="connsiteY974" fmla="*/ 858483 h 4362443"/>
                <a:gd name="connsiteX975" fmla="*/ 1135597 w 2997201"/>
                <a:gd name="connsiteY975" fmla="*/ 850037 h 4362443"/>
                <a:gd name="connsiteX976" fmla="*/ 1137199 w 2997201"/>
                <a:gd name="connsiteY976" fmla="*/ 842646 h 4362443"/>
                <a:gd name="connsiteX977" fmla="*/ 1138800 w 2997201"/>
                <a:gd name="connsiteY977" fmla="*/ 834200 h 4362443"/>
                <a:gd name="connsiteX978" fmla="*/ 1140402 w 2997201"/>
                <a:gd name="connsiteY978" fmla="*/ 826810 h 4362443"/>
                <a:gd name="connsiteX979" fmla="*/ 1142538 w 2997201"/>
                <a:gd name="connsiteY979" fmla="*/ 819948 h 4362443"/>
                <a:gd name="connsiteX980" fmla="*/ 1145741 w 2997201"/>
                <a:gd name="connsiteY980" fmla="*/ 812030 h 4362443"/>
                <a:gd name="connsiteX981" fmla="*/ 1148945 w 2997201"/>
                <a:gd name="connsiteY981" fmla="*/ 805167 h 4362443"/>
                <a:gd name="connsiteX982" fmla="*/ 1152148 w 2997201"/>
                <a:gd name="connsiteY982" fmla="*/ 798305 h 4362443"/>
                <a:gd name="connsiteX983" fmla="*/ 1159623 w 2997201"/>
                <a:gd name="connsiteY983" fmla="*/ 785108 h 4362443"/>
                <a:gd name="connsiteX984" fmla="*/ 1168700 w 2997201"/>
                <a:gd name="connsiteY984" fmla="*/ 772439 h 4362443"/>
                <a:gd name="connsiteX985" fmla="*/ 1178844 w 2997201"/>
                <a:gd name="connsiteY985" fmla="*/ 760298 h 4362443"/>
                <a:gd name="connsiteX986" fmla="*/ 1190590 w 2997201"/>
                <a:gd name="connsiteY986" fmla="*/ 749741 h 4362443"/>
                <a:gd name="connsiteX987" fmla="*/ 1202870 w 2997201"/>
                <a:gd name="connsiteY987" fmla="*/ 740239 h 4362443"/>
                <a:gd name="connsiteX988" fmla="*/ 1216218 w 2997201"/>
                <a:gd name="connsiteY988" fmla="*/ 730210 h 4362443"/>
                <a:gd name="connsiteX989" fmla="*/ 1230100 w 2997201"/>
                <a:gd name="connsiteY989" fmla="*/ 721764 h 4362443"/>
                <a:gd name="connsiteX990" fmla="*/ 1245583 w 2997201"/>
                <a:gd name="connsiteY990" fmla="*/ 714373 h 4362443"/>
                <a:gd name="connsiteX991" fmla="*/ 1248787 w 2997201"/>
                <a:gd name="connsiteY991" fmla="*/ 723347 h 4362443"/>
                <a:gd name="connsiteX992" fmla="*/ 1250389 w 2997201"/>
                <a:gd name="connsiteY992" fmla="*/ 732321 h 4362443"/>
                <a:gd name="connsiteX993" fmla="*/ 1251990 w 2997201"/>
                <a:gd name="connsiteY993" fmla="*/ 741295 h 4362443"/>
                <a:gd name="connsiteX994" fmla="*/ 1253592 w 2997201"/>
                <a:gd name="connsiteY994" fmla="*/ 750797 h 4362443"/>
                <a:gd name="connsiteX995" fmla="*/ 1254126 w 2997201"/>
                <a:gd name="connsiteY995" fmla="*/ 759243 h 4362443"/>
                <a:gd name="connsiteX996" fmla="*/ 1254126 w 2997201"/>
                <a:gd name="connsiteY996" fmla="*/ 767161 h 4362443"/>
                <a:gd name="connsiteX997" fmla="*/ 1254126 w 2997201"/>
                <a:gd name="connsiteY997" fmla="*/ 775607 h 4362443"/>
                <a:gd name="connsiteX998" fmla="*/ 1253592 w 2997201"/>
                <a:gd name="connsiteY998" fmla="*/ 784053 h 4362443"/>
                <a:gd name="connsiteX999" fmla="*/ 1252524 w 2997201"/>
                <a:gd name="connsiteY999" fmla="*/ 792499 h 4362443"/>
                <a:gd name="connsiteX1000" fmla="*/ 1251990 w 2997201"/>
                <a:gd name="connsiteY1000" fmla="*/ 799889 h 4362443"/>
                <a:gd name="connsiteX1001" fmla="*/ 1250389 w 2997201"/>
                <a:gd name="connsiteY1001" fmla="*/ 807807 h 4362443"/>
                <a:gd name="connsiteX1002" fmla="*/ 1248253 w 2997201"/>
                <a:gd name="connsiteY1002" fmla="*/ 815197 h 4362443"/>
                <a:gd name="connsiteX1003" fmla="*/ 1243448 w 2997201"/>
                <a:gd name="connsiteY1003" fmla="*/ 829977 h 4362443"/>
                <a:gd name="connsiteX1004" fmla="*/ 1236507 w 2997201"/>
                <a:gd name="connsiteY1004" fmla="*/ 844230 h 4362443"/>
                <a:gd name="connsiteX1005" fmla="*/ 1231083 w 2997201"/>
                <a:gd name="connsiteY1005" fmla="*/ 853423 h 4362443"/>
                <a:gd name="connsiteX1006" fmla="*/ 1232771 w 2997201"/>
                <a:gd name="connsiteY1006" fmla="*/ 854605 h 4362443"/>
                <a:gd name="connsiteX1007" fmla="*/ 1132252 w 2997201"/>
                <a:gd name="connsiteY1007" fmla="*/ 1038225 h 4362443"/>
                <a:gd name="connsiteX1008" fmla="*/ 1473489 w 2997201"/>
                <a:gd name="connsiteY1008" fmla="*/ 1308102 h 4362443"/>
                <a:gd name="connsiteX1009" fmla="*/ 1557608 w 2997201"/>
                <a:gd name="connsiteY1009" fmla="*/ 1539877 h 4362443"/>
                <a:gd name="connsiteX1010" fmla="*/ 1723729 w 2997201"/>
                <a:gd name="connsiteY1010" fmla="*/ 1313393 h 4362443"/>
                <a:gd name="connsiteX1011" fmla="*/ 1634320 w 2997201"/>
                <a:gd name="connsiteY1011" fmla="*/ 851959 h 4362443"/>
                <a:gd name="connsiteX1012" fmla="*/ 1498460 w 2997201"/>
                <a:gd name="connsiteY1012" fmla="*/ 616883 h 4362443"/>
                <a:gd name="connsiteX1013" fmla="*/ 1491721 w 2997201"/>
                <a:gd name="connsiteY1013" fmla="*/ 642938 h 4362443"/>
                <a:gd name="connsiteX1014" fmla="*/ 1452563 w 2997201"/>
                <a:gd name="connsiteY1014" fmla="*/ 621788 h 4362443"/>
                <a:gd name="connsiteX1015" fmla="*/ 1412875 w 2997201"/>
                <a:gd name="connsiteY1015" fmla="*/ 599582 h 4362443"/>
                <a:gd name="connsiteX1016" fmla="*/ 1393296 w 2997201"/>
                <a:gd name="connsiteY1016" fmla="*/ 587949 h 4362443"/>
                <a:gd name="connsiteX1017" fmla="*/ 1374246 w 2997201"/>
                <a:gd name="connsiteY1017" fmla="*/ 575789 h 4362443"/>
                <a:gd name="connsiteX1018" fmla="*/ 1355725 w 2997201"/>
                <a:gd name="connsiteY1018" fmla="*/ 563628 h 4362443"/>
                <a:gd name="connsiteX1019" fmla="*/ 1337734 w 2997201"/>
                <a:gd name="connsiteY1019" fmla="*/ 549881 h 4362443"/>
                <a:gd name="connsiteX1020" fmla="*/ 1319213 w 2997201"/>
                <a:gd name="connsiteY1020" fmla="*/ 536134 h 4362443"/>
                <a:gd name="connsiteX1021" fmla="*/ 1302808 w 2997201"/>
                <a:gd name="connsiteY1021" fmla="*/ 520801 h 4362443"/>
                <a:gd name="connsiteX1022" fmla="*/ 1286404 w 2997201"/>
                <a:gd name="connsiteY1022" fmla="*/ 504939 h 4362443"/>
                <a:gd name="connsiteX1023" fmla="*/ 1271588 w 2997201"/>
                <a:gd name="connsiteY1023" fmla="*/ 487490 h 4362443"/>
                <a:gd name="connsiteX1024" fmla="*/ 1264708 w 2997201"/>
                <a:gd name="connsiteY1024" fmla="*/ 478502 h 4362443"/>
                <a:gd name="connsiteX1025" fmla="*/ 1256771 w 2997201"/>
                <a:gd name="connsiteY1025" fmla="*/ 468985 h 4362443"/>
                <a:gd name="connsiteX1026" fmla="*/ 1250950 w 2997201"/>
                <a:gd name="connsiteY1026" fmla="*/ 459468 h 4362443"/>
                <a:gd name="connsiteX1027" fmla="*/ 1244071 w 2997201"/>
                <a:gd name="connsiteY1027" fmla="*/ 448893 h 4362443"/>
                <a:gd name="connsiteX1028" fmla="*/ 1238779 w 2997201"/>
                <a:gd name="connsiteY1028" fmla="*/ 438847 h 4362443"/>
                <a:gd name="connsiteX1029" fmla="*/ 1232429 w 2997201"/>
                <a:gd name="connsiteY1029" fmla="*/ 427215 h 4362443"/>
                <a:gd name="connsiteX1030" fmla="*/ 1227138 w 2997201"/>
                <a:gd name="connsiteY1030" fmla="*/ 416112 h 4362443"/>
                <a:gd name="connsiteX1031" fmla="*/ 1222375 w 2997201"/>
                <a:gd name="connsiteY1031" fmla="*/ 404480 h 4362443"/>
                <a:gd name="connsiteX1032" fmla="*/ 1217083 w 2997201"/>
                <a:gd name="connsiteY1032" fmla="*/ 392848 h 4362443"/>
                <a:gd name="connsiteX1033" fmla="*/ 1213379 w 2997201"/>
                <a:gd name="connsiteY1033" fmla="*/ 380687 h 4362443"/>
                <a:gd name="connsiteX1034" fmla="*/ 1209675 w 2997201"/>
                <a:gd name="connsiteY1034" fmla="*/ 368526 h 4362443"/>
                <a:gd name="connsiteX1035" fmla="*/ 1205971 w 2997201"/>
                <a:gd name="connsiteY1035" fmla="*/ 356365 h 4362443"/>
                <a:gd name="connsiteX1036" fmla="*/ 1203325 w 2997201"/>
                <a:gd name="connsiteY1036" fmla="*/ 344204 h 4362443"/>
                <a:gd name="connsiteX1037" fmla="*/ 1200679 w 2997201"/>
                <a:gd name="connsiteY1037" fmla="*/ 332043 h 4362443"/>
                <a:gd name="connsiteX1038" fmla="*/ 1199092 w 2997201"/>
                <a:gd name="connsiteY1038" fmla="*/ 319883 h 4362443"/>
                <a:gd name="connsiteX1039" fmla="*/ 1196446 w 2997201"/>
                <a:gd name="connsiteY1039" fmla="*/ 307193 h 4362443"/>
                <a:gd name="connsiteX1040" fmla="*/ 1195388 w 2997201"/>
                <a:gd name="connsiteY1040" fmla="*/ 282872 h 4362443"/>
                <a:gd name="connsiteX1041" fmla="*/ 1193800 w 2997201"/>
                <a:gd name="connsiteY1041" fmla="*/ 257492 h 4362443"/>
                <a:gd name="connsiteX1042" fmla="*/ 1194329 w 2997201"/>
                <a:gd name="connsiteY1042" fmla="*/ 232113 h 4362443"/>
                <a:gd name="connsiteX1043" fmla="*/ 1195917 w 2997201"/>
                <a:gd name="connsiteY1043" fmla="*/ 207263 h 4362443"/>
                <a:gd name="connsiteX1044" fmla="*/ 1199092 w 2997201"/>
                <a:gd name="connsiteY1044" fmla="*/ 181884 h 4362443"/>
                <a:gd name="connsiteX1045" fmla="*/ 1202267 w 2997201"/>
                <a:gd name="connsiteY1045" fmla="*/ 157033 h 4362443"/>
                <a:gd name="connsiteX1046" fmla="*/ 1206500 w 2997201"/>
                <a:gd name="connsiteY1046" fmla="*/ 131654 h 4362443"/>
                <a:gd name="connsiteX1047" fmla="*/ 1211792 w 2997201"/>
                <a:gd name="connsiteY1047" fmla="*/ 107333 h 4362443"/>
                <a:gd name="connsiteX1048" fmla="*/ 1217083 w 2997201"/>
                <a:gd name="connsiteY1048" fmla="*/ 83011 h 4362443"/>
                <a:gd name="connsiteX1049" fmla="*/ 1223433 w 2997201"/>
                <a:gd name="connsiteY1049" fmla="*/ 58689 h 4362443"/>
                <a:gd name="connsiteX1050" fmla="*/ 1229254 w 2997201"/>
                <a:gd name="connsiteY1050" fmla="*/ 34897 h 4362443"/>
                <a:gd name="connsiteX1051" fmla="*/ 1235604 w 2997201"/>
                <a:gd name="connsiteY1051" fmla="*/ 11632 h 4362443"/>
                <a:gd name="connsiteX1052" fmla="*/ 1257829 w 2997201"/>
                <a:gd name="connsiteY1052" fmla="*/ 0 h 43624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Lst>
              <a:rect l="l" t="t" r="r" b="b"/>
              <a:pathLst>
                <a:path w="2997201" h="4362443">
                  <a:moveTo>
                    <a:pt x="1257829" y="0"/>
                  </a:moveTo>
                  <a:lnTo>
                    <a:pt x="1294342" y="24322"/>
                  </a:lnTo>
                  <a:lnTo>
                    <a:pt x="1331384" y="49701"/>
                  </a:lnTo>
                  <a:lnTo>
                    <a:pt x="1349904" y="62391"/>
                  </a:lnTo>
                  <a:lnTo>
                    <a:pt x="1367896" y="76138"/>
                  </a:lnTo>
                  <a:lnTo>
                    <a:pt x="1385888" y="89885"/>
                  </a:lnTo>
                  <a:lnTo>
                    <a:pt x="1403350" y="104160"/>
                  </a:lnTo>
                  <a:lnTo>
                    <a:pt x="1419225" y="119493"/>
                  </a:lnTo>
                  <a:lnTo>
                    <a:pt x="1436159" y="135355"/>
                  </a:lnTo>
                  <a:lnTo>
                    <a:pt x="1450975" y="152275"/>
                  </a:lnTo>
                  <a:lnTo>
                    <a:pt x="1465792" y="169723"/>
                  </a:lnTo>
                  <a:lnTo>
                    <a:pt x="1478492" y="188229"/>
                  </a:lnTo>
                  <a:lnTo>
                    <a:pt x="1490663" y="207792"/>
                  </a:lnTo>
                  <a:lnTo>
                    <a:pt x="1497013" y="217838"/>
                  </a:lnTo>
                  <a:lnTo>
                    <a:pt x="1502305" y="228412"/>
                  </a:lnTo>
                  <a:lnTo>
                    <a:pt x="1507067" y="238987"/>
                  </a:lnTo>
                  <a:lnTo>
                    <a:pt x="1512359" y="250619"/>
                  </a:lnTo>
                  <a:lnTo>
                    <a:pt x="1516063" y="262780"/>
                  </a:lnTo>
                  <a:lnTo>
                    <a:pt x="1519767" y="274941"/>
                  </a:lnTo>
                  <a:lnTo>
                    <a:pt x="1522942" y="287101"/>
                  </a:lnTo>
                  <a:lnTo>
                    <a:pt x="1526117" y="299262"/>
                  </a:lnTo>
                  <a:lnTo>
                    <a:pt x="1528763" y="311423"/>
                  </a:lnTo>
                  <a:lnTo>
                    <a:pt x="1530351" y="323584"/>
                  </a:lnTo>
                  <a:lnTo>
                    <a:pt x="1531938" y="335745"/>
                  </a:lnTo>
                  <a:lnTo>
                    <a:pt x="1533525" y="348963"/>
                  </a:lnTo>
                  <a:lnTo>
                    <a:pt x="1535113" y="373285"/>
                  </a:lnTo>
                  <a:lnTo>
                    <a:pt x="1535113" y="398664"/>
                  </a:lnTo>
                  <a:lnTo>
                    <a:pt x="1534055" y="422985"/>
                  </a:lnTo>
                  <a:lnTo>
                    <a:pt x="1531938" y="447836"/>
                  </a:lnTo>
                  <a:lnTo>
                    <a:pt x="1528763" y="473215"/>
                  </a:lnTo>
                  <a:lnTo>
                    <a:pt x="1525059" y="497536"/>
                  </a:lnTo>
                  <a:lnTo>
                    <a:pt x="1520296" y="522387"/>
                  </a:lnTo>
                  <a:lnTo>
                    <a:pt x="1515005" y="546708"/>
                  </a:lnTo>
                  <a:lnTo>
                    <a:pt x="1506009" y="586514"/>
                  </a:lnTo>
                  <a:lnTo>
                    <a:pt x="1660243" y="813858"/>
                  </a:lnTo>
                  <a:lnTo>
                    <a:pt x="1686906" y="769716"/>
                  </a:lnTo>
                  <a:lnTo>
                    <a:pt x="1665817" y="774700"/>
                  </a:lnTo>
                  <a:lnTo>
                    <a:pt x="1661054" y="728615"/>
                  </a:lnTo>
                  <a:lnTo>
                    <a:pt x="1658408" y="683060"/>
                  </a:lnTo>
                  <a:lnTo>
                    <a:pt x="1657350" y="659223"/>
                  </a:lnTo>
                  <a:lnTo>
                    <a:pt x="1657350" y="635916"/>
                  </a:lnTo>
                  <a:lnTo>
                    <a:pt x="1658408" y="612079"/>
                  </a:lnTo>
                  <a:lnTo>
                    <a:pt x="1659996" y="589302"/>
                  </a:lnTo>
                  <a:lnTo>
                    <a:pt x="1662113" y="565995"/>
                  </a:lnTo>
                  <a:lnTo>
                    <a:pt x="1665287" y="543217"/>
                  </a:lnTo>
                  <a:lnTo>
                    <a:pt x="1669521" y="520440"/>
                  </a:lnTo>
                  <a:lnTo>
                    <a:pt x="1675871" y="499251"/>
                  </a:lnTo>
                  <a:lnTo>
                    <a:pt x="1679046" y="487597"/>
                  </a:lnTo>
                  <a:lnTo>
                    <a:pt x="1682750" y="477003"/>
                  </a:lnTo>
                  <a:lnTo>
                    <a:pt x="1686983" y="466939"/>
                  </a:lnTo>
                  <a:lnTo>
                    <a:pt x="1691746" y="456345"/>
                  </a:lnTo>
                  <a:lnTo>
                    <a:pt x="1697037" y="446280"/>
                  </a:lnTo>
                  <a:lnTo>
                    <a:pt x="1702329" y="436745"/>
                  </a:lnTo>
                  <a:lnTo>
                    <a:pt x="1707621" y="426681"/>
                  </a:lnTo>
                  <a:lnTo>
                    <a:pt x="1714500" y="416616"/>
                  </a:lnTo>
                  <a:lnTo>
                    <a:pt x="1720850" y="407611"/>
                  </a:lnTo>
                  <a:lnTo>
                    <a:pt x="1727729" y="398606"/>
                  </a:lnTo>
                  <a:lnTo>
                    <a:pt x="1734608" y="390131"/>
                  </a:lnTo>
                  <a:lnTo>
                    <a:pt x="1741487" y="381655"/>
                  </a:lnTo>
                  <a:lnTo>
                    <a:pt x="1748896" y="373710"/>
                  </a:lnTo>
                  <a:lnTo>
                    <a:pt x="1756304" y="366294"/>
                  </a:lnTo>
                  <a:lnTo>
                    <a:pt x="1764771" y="359408"/>
                  </a:lnTo>
                  <a:lnTo>
                    <a:pt x="1772708" y="352521"/>
                  </a:lnTo>
                  <a:lnTo>
                    <a:pt x="1789113" y="339808"/>
                  </a:lnTo>
                  <a:lnTo>
                    <a:pt x="1806575" y="328684"/>
                  </a:lnTo>
                  <a:lnTo>
                    <a:pt x="1825096" y="318090"/>
                  </a:lnTo>
                  <a:lnTo>
                    <a:pt x="1843617" y="309085"/>
                  </a:lnTo>
                  <a:lnTo>
                    <a:pt x="1862667" y="300610"/>
                  </a:lnTo>
                  <a:lnTo>
                    <a:pt x="1881717" y="293194"/>
                  </a:lnTo>
                  <a:lnTo>
                    <a:pt x="1901296" y="286308"/>
                  </a:lnTo>
                  <a:lnTo>
                    <a:pt x="1920875" y="279421"/>
                  </a:lnTo>
                  <a:lnTo>
                    <a:pt x="1960563" y="268827"/>
                  </a:lnTo>
                  <a:lnTo>
                    <a:pt x="1999721" y="258763"/>
                  </a:lnTo>
                  <a:lnTo>
                    <a:pt x="2001837" y="281540"/>
                  </a:lnTo>
                  <a:lnTo>
                    <a:pt x="2003425" y="304318"/>
                  </a:lnTo>
                  <a:lnTo>
                    <a:pt x="2005013" y="327625"/>
                  </a:lnTo>
                  <a:lnTo>
                    <a:pt x="2006600" y="350932"/>
                  </a:lnTo>
                  <a:lnTo>
                    <a:pt x="2006600" y="373710"/>
                  </a:lnTo>
                  <a:lnTo>
                    <a:pt x="2006600" y="397547"/>
                  </a:lnTo>
                  <a:lnTo>
                    <a:pt x="2005013" y="421384"/>
                  </a:lnTo>
                  <a:lnTo>
                    <a:pt x="2003425" y="444161"/>
                  </a:lnTo>
                  <a:lnTo>
                    <a:pt x="2000250" y="466939"/>
                  </a:lnTo>
                  <a:lnTo>
                    <a:pt x="1997075" y="489716"/>
                  </a:lnTo>
                  <a:lnTo>
                    <a:pt x="1991783" y="513023"/>
                  </a:lnTo>
                  <a:lnTo>
                    <a:pt x="1985963" y="534742"/>
                  </a:lnTo>
                  <a:lnTo>
                    <a:pt x="1979083" y="556460"/>
                  </a:lnTo>
                  <a:lnTo>
                    <a:pt x="1970087" y="577118"/>
                  </a:lnTo>
                  <a:lnTo>
                    <a:pt x="1965325" y="586653"/>
                  </a:lnTo>
                  <a:lnTo>
                    <a:pt x="1960033" y="597777"/>
                  </a:lnTo>
                  <a:lnTo>
                    <a:pt x="1953683" y="606782"/>
                  </a:lnTo>
                  <a:lnTo>
                    <a:pt x="1947863" y="616847"/>
                  </a:lnTo>
                  <a:lnTo>
                    <a:pt x="1941513" y="626381"/>
                  </a:lnTo>
                  <a:lnTo>
                    <a:pt x="1934633" y="635916"/>
                  </a:lnTo>
                  <a:lnTo>
                    <a:pt x="1927754" y="643862"/>
                  </a:lnTo>
                  <a:lnTo>
                    <a:pt x="1920875" y="652337"/>
                  </a:lnTo>
                  <a:lnTo>
                    <a:pt x="1913467" y="660813"/>
                  </a:lnTo>
                  <a:lnTo>
                    <a:pt x="1906058" y="668758"/>
                  </a:lnTo>
                  <a:lnTo>
                    <a:pt x="1898121" y="675115"/>
                  </a:lnTo>
                  <a:lnTo>
                    <a:pt x="1889654" y="682001"/>
                  </a:lnTo>
                  <a:lnTo>
                    <a:pt x="1873250" y="695244"/>
                  </a:lnTo>
                  <a:lnTo>
                    <a:pt x="1855787" y="706897"/>
                  </a:lnTo>
                  <a:lnTo>
                    <a:pt x="1838325" y="716432"/>
                  </a:lnTo>
                  <a:lnTo>
                    <a:pt x="1819804" y="725967"/>
                  </a:lnTo>
                  <a:lnTo>
                    <a:pt x="1800754" y="733912"/>
                  </a:lnTo>
                  <a:lnTo>
                    <a:pt x="1781704" y="741858"/>
                  </a:lnTo>
                  <a:lnTo>
                    <a:pt x="1762125" y="748744"/>
                  </a:lnTo>
                  <a:lnTo>
                    <a:pt x="1743075" y="754041"/>
                  </a:lnTo>
                  <a:lnTo>
                    <a:pt x="1728703" y="758319"/>
                  </a:lnTo>
                  <a:lnTo>
                    <a:pt x="1681405" y="851959"/>
                  </a:lnTo>
                  <a:lnTo>
                    <a:pt x="1776634" y="1280585"/>
                  </a:lnTo>
                  <a:lnTo>
                    <a:pt x="1973033" y="1175034"/>
                  </a:lnTo>
                  <a:lnTo>
                    <a:pt x="1958975" y="1168815"/>
                  </a:lnTo>
                  <a:lnTo>
                    <a:pt x="1978005" y="1133304"/>
                  </a:lnTo>
                  <a:lnTo>
                    <a:pt x="1997035" y="1098322"/>
                  </a:lnTo>
                  <a:lnTo>
                    <a:pt x="2007607" y="1081361"/>
                  </a:lnTo>
                  <a:lnTo>
                    <a:pt x="2017650" y="1063870"/>
                  </a:lnTo>
                  <a:lnTo>
                    <a:pt x="2029280" y="1047440"/>
                  </a:lnTo>
                  <a:lnTo>
                    <a:pt x="2040381" y="1030479"/>
                  </a:lnTo>
                  <a:lnTo>
                    <a:pt x="2052539" y="1015108"/>
                  </a:lnTo>
                  <a:lnTo>
                    <a:pt x="2064697" y="999738"/>
                  </a:lnTo>
                  <a:lnTo>
                    <a:pt x="2077912" y="985427"/>
                  </a:lnTo>
                  <a:lnTo>
                    <a:pt x="2091656" y="972177"/>
                  </a:lnTo>
                  <a:lnTo>
                    <a:pt x="2105928" y="959457"/>
                  </a:lnTo>
                  <a:lnTo>
                    <a:pt x="2121258" y="948856"/>
                  </a:lnTo>
                  <a:lnTo>
                    <a:pt x="2128658" y="943556"/>
                  </a:lnTo>
                  <a:lnTo>
                    <a:pt x="2136587" y="938786"/>
                  </a:lnTo>
                  <a:lnTo>
                    <a:pt x="2144516" y="934016"/>
                  </a:lnTo>
                  <a:lnTo>
                    <a:pt x="2152974" y="929775"/>
                  </a:lnTo>
                  <a:lnTo>
                    <a:pt x="2163018" y="926065"/>
                  </a:lnTo>
                  <a:lnTo>
                    <a:pt x="2172004" y="922885"/>
                  </a:lnTo>
                  <a:lnTo>
                    <a:pt x="2181519" y="919705"/>
                  </a:lnTo>
                  <a:lnTo>
                    <a:pt x="2191034" y="916525"/>
                  </a:lnTo>
                  <a:lnTo>
                    <a:pt x="2201077" y="914934"/>
                  </a:lnTo>
                  <a:lnTo>
                    <a:pt x="2210064" y="913344"/>
                  </a:lnTo>
                  <a:lnTo>
                    <a:pt x="2220107" y="912283"/>
                  </a:lnTo>
                  <a:lnTo>
                    <a:pt x="2230151" y="912283"/>
                  </a:lnTo>
                  <a:lnTo>
                    <a:pt x="2249181" y="911224"/>
                  </a:lnTo>
                  <a:lnTo>
                    <a:pt x="2268739" y="912814"/>
                  </a:lnTo>
                  <a:lnTo>
                    <a:pt x="2287769" y="915994"/>
                  </a:lnTo>
                  <a:lnTo>
                    <a:pt x="2307856" y="919175"/>
                  </a:lnTo>
                  <a:lnTo>
                    <a:pt x="2326886" y="924475"/>
                  </a:lnTo>
                  <a:lnTo>
                    <a:pt x="2346445" y="929775"/>
                  </a:lnTo>
                  <a:lnTo>
                    <a:pt x="2365474" y="935606"/>
                  </a:lnTo>
                  <a:lnTo>
                    <a:pt x="2384504" y="942496"/>
                  </a:lnTo>
                  <a:lnTo>
                    <a:pt x="2422564" y="957336"/>
                  </a:lnTo>
                  <a:lnTo>
                    <a:pt x="2459038" y="971647"/>
                  </a:lnTo>
                  <a:lnTo>
                    <a:pt x="2451637" y="991258"/>
                  </a:lnTo>
                  <a:lnTo>
                    <a:pt x="2442123" y="1011398"/>
                  </a:lnTo>
                  <a:lnTo>
                    <a:pt x="2433136" y="1030479"/>
                  </a:lnTo>
                  <a:lnTo>
                    <a:pt x="2424150" y="1050090"/>
                  </a:lnTo>
                  <a:lnTo>
                    <a:pt x="2413578" y="1068641"/>
                  </a:lnTo>
                  <a:lnTo>
                    <a:pt x="2403006" y="1087192"/>
                  </a:lnTo>
                  <a:lnTo>
                    <a:pt x="2391376" y="1105212"/>
                  </a:lnTo>
                  <a:lnTo>
                    <a:pt x="2379218" y="1122173"/>
                  </a:lnTo>
                  <a:lnTo>
                    <a:pt x="2367060" y="1138074"/>
                  </a:lnTo>
                  <a:lnTo>
                    <a:pt x="2353316" y="1153974"/>
                  </a:lnTo>
                  <a:lnTo>
                    <a:pt x="2339573" y="1168815"/>
                  </a:lnTo>
                  <a:lnTo>
                    <a:pt x="2324243" y="1182596"/>
                  </a:lnTo>
                  <a:lnTo>
                    <a:pt x="2308385" y="1194786"/>
                  </a:lnTo>
                  <a:lnTo>
                    <a:pt x="2292527" y="1205917"/>
                  </a:lnTo>
                  <a:lnTo>
                    <a:pt x="2283012" y="1211217"/>
                  </a:lnTo>
                  <a:lnTo>
                    <a:pt x="2275082" y="1215987"/>
                  </a:lnTo>
                  <a:lnTo>
                    <a:pt x="2265568" y="1220757"/>
                  </a:lnTo>
                  <a:lnTo>
                    <a:pt x="2256581" y="1224467"/>
                  </a:lnTo>
                  <a:lnTo>
                    <a:pt x="2246538" y="1228178"/>
                  </a:lnTo>
                  <a:lnTo>
                    <a:pt x="2237551" y="1231358"/>
                  </a:lnTo>
                  <a:lnTo>
                    <a:pt x="2228565" y="1234538"/>
                  </a:lnTo>
                  <a:lnTo>
                    <a:pt x="2218521" y="1235598"/>
                  </a:lnTo>
                  <a:lnTo>
                    <a:pt x="2209535" y="1237188"/>
                  </a:lnTo>
                  <a:lnTo>
                    <a:pt x="2199492" y="1238778"/>
                  </a:lnTo>
                  <a:lnTo>
                    <a:pt x="2190505" y="1239838"/>
                  </a:lnTo>
                  <a:lnTo>
                    <a:pt x="2181519" y="1239838"/>
                  </a:lnTo>
                  <a:lnTo>
                    <a:pt x="2162489" y="1238778"/>
                  </a:lnTo>
                  <a:lnTo>
                    <a:pt x="2143459" y="1236658"/>
                  </a:lnTo>
                  <a:lnTo>
                    <a:pt x="2124429" y="1232948"/>
                  </a:lnTo>
                  <a:lnTo>
                    <a:pt x="2105399" y="1228178"/>
                  </a:lnTo>
                  <a:lnTo>
                    <a:pt x="2086898" y="1222878"/>
                  </a:lnTo>
                  <a:lnTo>
                    <a:pt x="2067868" y="1215987"/>
                  </a:lnTo>
                  <a:lnTo>
                    <a:pt x="2049367" y="1208567"/>
                  </a:lnTo>
                  <a:lnTo>
                    <a:pt x="2031394" y="1200616"/>
                  </a:lnTo>
                  <a:lnTo>
                    <a:pt x="2011092" y="1191766"/>
                  </a:lnTo>
                  <a:lnTo>
                    <a:pt x="1802558" y="1323977"/>
                  </a:lnTo>
                  <a:lnTo>
                    <a:pt x="1590409" y="1634598"/>
                  </a:lnTo>
                  <a:lnTo>
                    <a:pt x="1654953" y="2235199"/>
                  </a:lnTo>
                  <a:lnTo>
                    <a:pt x="1666592" y="2233613"/>
                  </a:lnTo>
                  <a:lnTo>
                    <a:pt x="1678760" y="2231497"/>
                  </a:lnTo>
                  <a:lnTo>
                    <a:pt x="1690928" y="2227263"/>
                  </a:lnTo>
                  <a:lnTo>
                    <a:pt x="1703625" y="2223029"/>
                  </a:lnTo>
                  <a:lnTo>
                    <a:pt x="1716852" y="2217740"/>
                  </a:lnTo>
                  <a:lnTo>
                    <a:pt x="1729549" y="2210857"/>
                  </a:lnTo>
                  <a:lnTo>
                    <a:pt x="1743304" y="2203979"/>
                  </a:lnTo>
                  <a:lnTo>
                    <a:pt x="1757059" y="2195511"/>
                  </a:lnTo>
                  <a:lnTo>
                    <a:pt x="1769757" y="2187043"/>
                  </a:lnTo>
                  <a:lnTo>
                    <a:pt x="1783512" y="2178048"/>
                  </a:lnTo>
                  <a:lnTo>
                    <a:pt x="1797267" y="2168525"/>
                  </a:lnTo>
                  <a:lnTo>
                    <a:pt x="1811023" y="2157939"/>
                  </a:lnTo>
                  <a:lnTo>
                    <a:pt x="1838004" y="2137301"/>
                  </a:lnTo>
                  <a:lnTo>
                    <a:pt x="1863398" y="2116134"/>
                  </a:lnTo>
                  <a:lnTo>
                    <a:pt x="1888264" y="2095496"/>
                  </a:lnTo>
                  <a:lnTo>
                    <a:pt x="1909955" y="2074858"/>
                  </a:lnTo>
                  <a:lnTo>
                    <a:pt x="1930588" y="2055812"/>
                  </a:lnTo>
                  <a:lnTo>
                    <a:pt x="1948046" y="2039408"/>
                  </a:lnTo>
                  <a:lnTo>
                    <a:pt x="1973441" y="2013483"/>
                  </a:lnTo>
                  <a:lnTo>
                    <a:pt x="1982435" y="2003959"/>
                  </a:lnTo>
                  <a:lnTo>
                    <a:pt x="2405145" y="1558927"/>
                  </a:lnTo>
                  <a:lnTo>
                    <a:pt x="2401795" y="1471405"/>
                  </a:lnTo>
                  <a:lnTo>
                    <a:pt x="2397125" y="1484275"/>
                  </a:lnTo>
                  <a:lnTo>
                    <a:pt x="2390246" y="1501775"/>
                  </a:lnTo>
                  <a:lnTo>
                    <a:pt x="2383367" y="1496472"/>
                  </a:lnTo>
                  <a:lnTo>
                    <a:pt x="2376488" y="1490639"/>
                  </a:lnTo>
                  <a:lnTo>
                    <a:pt x="2369609" y="1485335"/>
                  </a:lnTo>
                  <a:lnTo>
                    <a:pt x="2363788" y="1478971"/>
                  </a:lnTo>
                  <a:lnTo>
                    <a:pt x="2358496" y="1473138"/>
                  </a:lnTo>
                  <a:lnTo>
                    <a:pt x="2353204" y="1466244"/>
                  </a:lnTo>
                  <a:lnTo>
                    <a:pt x="2348442" y="1459880"/>
                  </a:lnTo>
                  <a:lnTo>
                    <a:pt x="2343679" y="1452985"/>
                  </a:lnTo>
                  <a:lnTo>
                    <a:pt x="2339975" y="1446091"/>
                  </a:lnTo>
                  <a:lnTo>
                    <a:pt x="2336271" y="1439197"/>
                  </a:lnTo>
                  <a:lnTo>
                    <a:pt x="2333096" y="1431772"/>
                  </a:lnTo>
                  <a:lnTo>
                    <a:pt x="2329921" y="1424878"/>
                  </a:lnTo>
                  <a:lnTo>
                    <a:pt x="2327804" y="1416923"/>
                  </a:lnTo>
                  <a:lnTo>
                    <a:pt x="2326217" y="1409498"/>
                  </a:lnTo>
                  <a:lnTo>
                    <a:pt x="2324100" y="1402074"/>
                  </a:lnTo>
                  <a:lnTo>
                    <a:pt x="2323042" y="1394119"/>
                  </a:lnTo>
                  <a:lnTo>
                    <a:pt x="2321454" y="1378208"/>
                  </a:lnTo>
                  <a:lnTo>
                    <a:pt x="2320925" y="1362298"/>
                  </a:lnTo>
                  <a:lnTo>
                    <a:pt x="2322513" y="1345328"/>
                  </a:lnTo>
                  <a:lnTo>
                    <a:pt x="2324629" y="1328357"/>
                  </a:lnTo>
                  <a:lnTo>
                    <a:pt x="2328333" y="1311917"/>
                  </a:lnTo>
                  <a:lnTo>
                    <a:pt x="2334154" y="1294946"/>
                  </a:lnTo>
                  <a:lnTo>
                    <a:pt x="2339975" y="1277445"/>
                  </a:lnTo>
                  <a:lnTo>
                    <a:pt x="2347383" y="1260475"/>
                  </a:lnTo>
                  <a:lnTo>
                    <a:pt x="2354263" y="1265248"/>
                  </a:lnTo>
                  <a:lnTo>
                    <a:pt x="2361142" y="1271081"/>
                  </a:lnTo>
                  <a:lnTo>
                    <a:pt x="2367492" y="1276385"/>
                  </a:lnTo>
                  <a:lnTo>
                    <a:pt x="2372784" y="1282749"/>
                  </a:lnTo>
                  <a:lnTo>
                    <a:pt x="2378604" y="1288582"/>
                  </a:lnTo>
                  <a:lnTo>
                    <a:pt x="2383367" y="1294946"/>
                  </a:lnTo>
                  <a:lnTo>
                    <a:pt x="2388130" y="1301841"/>
                  </a:lnTo>
                  <a:lnTo>
                    <a:pt x="2392363" y="1308735"/>
                  </a:lnTo>
                  <a:lnTo>
                    <a:pt x="2396596" y="1314569"/>
                  </a:lnTo>
                  <a:lnTo>
                    <a:pt x="2399242" y="1322524"/>
                  </a:lnTo>
                  <a:lnTo>
                    <a:pt x="2399911" y="1323977"/>
                  </a:lnTo>
                  <a:lnTo>
                    <a:pt x="2407790" y="1323977"/>
                  </a:lnTo>
                  <a:lnTo>
                    <a:pt x="2437946" y="1548344"/>
                  </a:lnTo>
                  <a:lnTo>
                    <a:pt x="2547944" y="1489382"/>
                  </a:lnTo>
                  <a:lnTo>
                    <a:pt x="2538413" y="1487004"/>
                  </a:lnTo>
                  <a:lnTo>
                    <a:pt x="2552171" y="1455848"/>
                  </a:lnTo>
                  <a:lnTo>
                    <a:pt x="2564871" y="1424692"/>
                  </a:lnTo>
                  <a:lnTo>
                    <a:pt x="2571751" y="1408322"/>
                  </a:lnTo>
                  <a:lnTo>
                    <a:pt x="2578630" y="1393536"/>
                  </a:lnTo>
                  <a:lnTo>
                    <a:pt x="2585509" y="1378222"/>
                  </a:lnTo>
                  <a:lnTo>
                    <a:pt x="2593976" y="1362908"/>
                  </a:lnTo>
                  <a:lnTo>
                    <a:pt x="2601384" y="1348650"/>
                  </a:lnTo>
                  <a:lnTo>
                    <a:pt x="2610909" y="1334920"/>
                  </a:lnTo>
                  <a:lnTo>
                    <a:pt x="2619905" y="1321719"/>
                  </a:lnTo>
                  <a:lnTo>
                    <a:pt x="2630488" y="1309573"/>
                  </a:lnTo>
                  <a:lnTo>
                    <a:pt x="2641071" y="1298484"/>
                  </a:lnTo>
                  <a:lnTo>
                    <a:pt x="2653242" y="1287394"/>
                  </a:lnTo>
                  <a:lnTo>
                    <a:pt x="2659592" y="1283170"/>
                  </a:lnTo>
                  <a:lnTo>
                    <a:pt x="2665413" y="1278417"/>
                  </a:lnTo>
                  <a:lnTo>
                    <a:pt x="2672292" y="1273664"/>
                  </a:lnTo>
                  <a:lnTo>
                    <a:pt x="2680230" y="1269968"/>
                  </a:lnTo>
                  <a:lnTo>
                    <a:pt x="2691342" y="1264687"/>
                  </a:lnTo>
                  <a:lnTo>
                    <a:pt x="2704572" y="1260991"/>
                  </a:lnTo>
                  <a:lnTo>
                    <a:pt x="2716742" y="1257822"/>
                  </a:lnTo>
                  <a:lnTo>
                    <a:pt x="2728913" y="1255710"/>
                  </a:lnTo>
                  <a:lnTo>
                    <a:pt x="2741613" y="1254126"/>
                  </a:lnTo>
                  <a:lnTo>
                    <a:pt x="2753784" y="1254126"/>
                  </a:lnTo>
                  <a:lnTo>
                    <a:pt x="2767013" y="1254126"/>
                  </a:lnTo>
                  <a:lnTo>
                    <a:pt x="2779184" y="1254654"/>
                  </a:lnTo>
                  <a:lnTo>
                    <a:pt x="2805113" y="1257294"/>
                  </a:lnTo>
                  <a:lnTo>
                    <a:pt x="2829984" y="1260991"/>
                  </a:lnTo>
                  <a:lnTo>
                    <a:pt x="2854326" y="1265743"/>
                  </a:lnTo>
                  <a:lnTo>
                    <a:pt x="2879726" y="1269440"/>
                  </a:lnTo>
                  <a:lnTo>
                    <a:pt x="2868084" y="1299012"/>
                  </a:lnTo>
                  <a:lnTo>
                    <a:pt x="2856972" y="1328584"/>
                  </a:lnTo>
                  <a:lnTo>
                    <a:pt x="2844801" y="1359212"/>
                  </a:lnTo>
                  <a:lnTo>
                    <a:pt x="2831572" y="1388255"/>
                  </a:lnTo>
                  <a:lnTo>
                    <a:pt x="2824693" y="1401985"/>
                  </a:lnTo>
                  <a:lnTo>
                    <a:pt x="2817284" y="1415187"/>
                  </a:lnTo>
                  <a:lnTo>
                    <a:pt x="2808818" y="1428389"/>
                  </a:lnTo>
                  <a:lnTo>
                    <a:pt x="2799822" y="1440534"/>
                  </a:lnTo>
                  <a:lnTo>
                    <a:pt x="2789768" y="1452680"/>
                  </a:lnTo>
                  <a:lnTo>
                    <a:pt x="2779713" y="1463241"/>
                  </a:lnTo>
                  <a:lnTo>
                    <a:pt x="2767543" y="1472746"/>
                  </a:lnTo>
                  <a:lnTo>
                    <a:pt x="2755372" y="1481723"/>
                  </a:lnTo>
                  <a:lnTo>
                    <a:pt x="2742672" y="1489116"/>
                  </a:lnTo>
                  <a:lnTo>
                    <a:pt x="2729442" y="1495453"/>
                  </a:lnTo>
                  <a:lnTo>
                    <a:pt x="2715684" y="1499678"/>
                  </a:lnTo>
                  <a:lnTo>
                    <a:pt x="2702984" y="1503902"/>
                  </a:lnTo>
                  <a:lnTo>
                    <a:pt x="2689226" y="1506014"/>
                  </a:lnTo>
                  <a:lnTo>
                    <a:pt x="2675467" y="1507599"/>
                  </a:lnTo>
                  <a:lnTo>
                    <a:pt x="2661709" y="1508127"/>
                  </a:lnTo>
                  <a:lnTo>
                    <a:pt x="2647951" y="1507599"/>
                  </a:lnTo>
                  <a:lnTo>
                    <a:pt x="2634192" y="1506014"/>
                  </a:lnTo>
                  <a:lnTo>
                    <a:pt x="2620434" y="1504430"/>
                  </a:lnTo>
                  <a:lnTo>
                    <a:pt x="2606676" y="1502318"/>
                  </a:lnTo>
                  <a:lnTo>
                    <a:pt x="2592388" y="1499678"/>
                  </a:lnTo>
                  <a:lnTo>
                    <a:pt x="2586888" y="1498470"/>
                  </a:lnTo>
                  <a:lnTo>
                    <a:pt x="2435830" y="1583269"/>
                  </a:lnTo>
                  <a:lnTo>
                    <a:pt x="2082954" y="1987551"/>
                  </a:lnTo>
                  <a:lnTo>
                    <a:pt x="2594325" y="1872067"/>
                  </a:lnTo>
                  <a:lnTo>
                    <a:pt x="2612964" y="1856217"/>
                  </a:lnTo>
                  <a:lnTo>
                    <a:pt x="2637243" y="1834956"/>
                  </a:lnTo>
                  <a:lnTo>
                    <a:pt x="2649382" y="1824326"/>
                  </a:lnTo>
                  <a:lnTo>
                    <a:pt x="2661521" y="1814227"/>
                  </a:lnTo>
                  <a:lnTo>
                    <a:pt x="2674189" y="1804128"/>
                  </a:lnTo>
                  <a:lnTo>
                    <a:pt x="2687383" y="1795093"/>
                  </a:lnTo>
                  <a:lnTo>
                    <a:pt x="2700051" y="1786588"/>
                  </a:lnTo>
                  <a:lnTo>
                    <a:pt x="2713246" y="1779147"/>
                  </a:lnTo>
                  <a:lnTo>
                    <a:pt x="2726968" y="1772769"/>
                  </a:lnTo>
                  <a:lnTo>
                    <a:pt x="2740163" y="1767454"/>
                  </a:lnTo>
                  <a:lnTo>
                    <a:pt x="2753886" y="1762670"/>
                  </a:lnTo>
                  <a:lnTo>
                    <a:pt x="2768664" y="1760013"/>
                  </a:lnTo>
                  <a:lnTo>
                    <a:pt x="2776054" y="1758950"/>
                  </a:lnTo>
                  <a:lnTo>
                    <a:pt x="2783971" y="1758950"/>
                  </a:lnTo>
                  <a:lnTo>
                    <a:pt x="2790832" y="1758950"/>
                  </a:lnTo>
                  <a:lnTo>
                    <a:pt x="2798221" y="1758950"/>
                  </a:lnTo>
                  <a:lnTo>
                    <a:pt x="2813527" y="1760544"/>
                  </a:lnTo>
                  <a:lnTo>
                    <a:pt x="2827778" y="1762670"/>
                  </a:lnTo>
                  <a:lnTo>
                    <a:pt x="2841501" y="1765859"/>
                  </a:lnTo>
                  <a:lnTo>
                    <a:pt x="2855223" y="1771174"/>
                  </a:lnTo>
                  <a:lnTo>
                    <a:pt x="2867890" y="1777553"/>
                  </a:lnTo>
                  <a:lnTo>
                    <a:pt x="2881085" y="1784462"/>
                  </a:lnTo>
                  <a:lnTo>
                    <a:pt x="2893753" y="1792966"/>
                  </a:lnTo>
                  <a:lnTo>
                    <a:pt x="2905892" y="1800939"/>
                  </a:lnTo>
                  <a:lnTo>
                    <a:pt x="2918031" y="1810506"/>
                  </a:lnTo>
                  <a:lnTo>
                    <a:pt x="2929643" y="1820074"/>
                  </a:lnTo>
                  <a:lnTo>
                    <a:pt x="2941782" y="1831236"/>
                  </a:lnTo>
                  <a:lnTo>
                    <a:pt x="2953394" y="1841866"/>
                  </a:lnTo>
                  <a:lnTo>
                    <a:pt x="2975033" y="1863127"/>
                  </a:lnTo>
                  <a:lnTo>
                    <a:pt x="2997201" y="1884918"/>
                  </a:lnTo>
                  <a:lnTo>
                    <a:pt x="2973978" y="1904053"/>
                  </a:lnTo>
                  <a:lnTo>
                    <a:pt x="2950227" y="1924250"/>
                  </a:lnTo>
                  <a:lnTo>
                    <a:pt x="2938088" y="1934348"/>
                  </a:lnTo>
                  <a:lnTo>
                    <a:pt x="2925948" y="1944445"/>
                  </a:lnTo>
                  <a:lnTo>
                    <a:pt x="2913809" y="1954546"/>
                  </a:lnTo>
                  <a:lnTo>
                    <a:pt x="2900614" y="1963582"/>
                  </a:lnTo>
                  <a:lnTo>
                    <a:pt x="2888475" y="1972087"/>
                  </a:lnTo>
                  <a:lnTo>
                    <a:pt x="2875807" y="1979529"/>
                  </a:lnTo>
                  <a:lnTo>
                    <a:pt x="2862085" y="1985908"/>
                  </a:lnTo>
                  <a:lnTo>
                    <a:pt x="2848362" y="1991222"/>
                  </a:lnTo>
                  <a:lnTo>
                    <a:pt x="2841501" y="1993348"/>
                  </a:lnTo>
                  <a:lnTo>
                    <a:pt x="2834639" y="1994942"/>
                  </a:lnTo>
                  <a:lnTo>
                    <a:pt x="2827778" y="1996538"/>
                  </a:lnTo>
                  <a:lnTo>
                    <a:pt x="2820389" y="1998133"/>
                  </a:lnTo>
                  <a:lnTo>
                    <a:pt x="2813527" y="1998133"/>
                  </a:lnTo>
                  <a:lnTo>
                    <a:pt x="2805610" y="1998665"/>
                  </a:lnTo>
                  <a:lnTo>
                    <a:pt x="2798221" y="1998133"/>
                  </a:lnTo>
                  <a:lnTo>
                    <a:pt x="2790832" y="1997070"/>
                  </a:lnTo>
                  <a:lnTo>
                    <a:pt x="2782915" y="1998133"/>
                  </a:lnTo>
                  <a:lnTo>
                    <a:pt x="2775526" y="1998133"/>
                  </a:lnTo>
                  <a:lnTo>
                    <a:pt x="2767609" y="1997070"/>
                  </a:lnTo>
                  <a:lnTo>
                    <a:pt x="2760747" y="1996538"/>
                  </a:lnTo>
                  <a:lnTo>
                    <a:pt x="2746497" y="1993348"/>
                  </a:lnTo>
                  <a:lnTo>
                    <a:pt x="2732246" y="1989626"/>
                  </a:lnTo>
                  <a:lnTo>
                    <a:pt x="2719051" y="1984310"/>
                  </a:lnTo>
                  <a:lnTo>
                    <a:pt x="2705329" y="1977403"/>
                  </a:lnTo>
                  <a:lnTo>
                    <a:pt x="2692661" y="1969430"/>
                  </a:lnTo>
                  <a:lnTo>
                    <a:pt x="2680522" y="1960393"/>
                  </a:lnTo>
                  <a:lnTo>
                    <a:pt x="2667327" y="1951359"/>
                  </a:lnTo>
                  <a:lnTo>
                    <a:pt x="2656243" y="1941259"/>
                  </a:lnTo>
                  <a:lnTo>
                    <a:pt x="2644104" y="1930628"/>
                  </a:lnTo>
                  <a:lnTo>
                    <a:pt x="2632492" y="1919998"/>
                  </a:lnTo>
                  <a:lnTo>
                    <a:pt x="2610325" y="1898206"/>
                  </a:lnTo>
                  <a:lnTo>
                    <a:pt x="2610056" y="1897928"/>
                  </a:lnTo>
                  <a:lnTo>
                    <a:pt x="2440591" y="1949982"/>
                  </a:lnTo>
                  <a:lnTo>
                    <a:pt x="2476902" y="1965363"/>
                  </a:lnTo>
                  <a:lnTo>
                    <a:pt x="2480579" y="1964265"/>
                  </a:lnTo>
                  <a:lnTo>
                    <a:pt x="2500607" y="1957916"/>
                  </a:lnTo>
                  <a:lnTo>
                    <a:pt x="2520109" y="1952626"/>
                  </a:lnTo>
                  <a:lnTo>
                    <a:pt x="2530124" y="1951037"/>
                  </a:lnTo>
                  <a:lnTo>
                    <a:pt x="2540665" y="1949451"/>
                  </a:lnTo>
                  <a:lnTo>
                    <a:pt x="2550680" y="1949451"/>
                  </a:lnTo>
                  <a:lnTo>
                    <a:pt x="2560694" y="1949451"/>
                  </a:lnTo>
                  <a:lnTo>
                    <a:pt x="2570181" y="1951037"/>
                  </a:lnTo>
                  <a:lnTo>
                    <a:pt x="2580196" y="1953684"/>
                  </a:lnTo>
                  <a:lnTo>
                    <a:pt x="2590210" y="1957388"/>
                  </a:lnTo>
                  <a:lnTo>
                    <a:pt x="2600225" y="1961621"/>
                  </a:lnTo>
                  <a:lnTo>
                    <a:pt x="2609185" y="1967442"/>
                  </a:lnTo>
                  <a:lnTo>
                    <a:pt x="2617618" y="1974320"/>
                  </a:lnTo>
                  <a:lnTo>
                    <a:pt x="2624997" y="1980671"/>
                  </a:lnTo>
                  <a:lnTo>
                    <a:pt x="2632376" y="1988608"/>
                  </a:lnTo>
                  <a:lnTo>
                    <a:pt x="2639228" y="1997077"/>
                  </a:lnTo>
                  <a:lnTo>
                    <a:pt x="2646080" y="2005546"/>
                  </a:lnTo>
                  <a:lnTo>
                    <a:pt x="2652932" y="2014540"/>
                  </a:lnTo>
                  <a:lnTo>
                    <a:pt x="2659257" y="2024593"/>
                  </a:lnTo>
                  <a:lnTo>
                    <a:pt x="2671907" y="2043641"/>
                  </a:lnTo>
                  <a:lnTo>
                    <a:pt x="2683502" y="2064275"/>
                  </a:lnTo>
                  <a:lnTo>
                    <a:pt x="2695625" y="2083853"/>
                  </a:lnTo>
                  <a:lnTo>
                    <a:pt x="2708275" y="2103433"/>
                  </a:lnTo>
                  <a:lnTo>
                    <a:pt x="2688773" y="2108195"/>
                  </a:lnTo>
                  <a:lnTo>
                    <a:pt x="2668217" y="2114547"/>
                  </a:lnTo>
                  <a:lnTo>
                    <a:pt x="2647661" y="2120367"/>
                  </a:lnTo>
                  <a:lnTo>
                    <a:pt x="2628160" y="2125660"/>
                  </a:lnTo>
                  <a:lnTo>
                    <a:pt x="2618145" y="2128306"/>
                  </a:lnTo>
                  <a:lnTo>
                    <a:pt x="2608131" y="2129364"/>
                  </a:lnTo>
                  <a:lnTo>
                    <a:pt x="2598643" y="2130422"/>
                  </a:lnTo>
                  <a:lnTo>
                    <a:pt x="2588629" y="2129364"/>
                  </a:lnTo>
                  <a:lnTo>
                    <a:pt x="2578615" y="2128835"/>
                  </a:lnTo>
                  <a:lnTo>
                    <a:pt x="2568600" y="2126718"/>
                  </a:lnTo>
                  <a:lnTo>
                    <a:pt x="2559640" y="2122483"/>
                  </a:lnTo>
                  <a:lnTo>
                    <a:pt x="2549625" y="2117192"/>
                  </a:lnTo>
                  <a:lnTo>
                    <a:pt x="2540665" y="2111372"/>
                  </a:lnTo>
                  <a:lnTo>
                    <a:pt x="2531705" y="2105021"/>
                  </a:lnTo>
                  <a:lnTo>
                    <a:pt x="2523272" y="2097611"/>
                  </a:lnTo>
                  <a:lnTo>
                    <a:pt x="2515893" y="2090202"/>
                  </a:lnTo>
                  <a:lnTo>
                    <a:pt x="2507986" y="2081737"/>
                  </a:lnTo>
                  <a:lnTo>
                    <a:pt x="2501134" y="2072211"/>
                  </a:lnTo>
                  <a:lnTo>
                    <a:pt x="2495337" y="2063217"/>
                  </a:lnTo>
                  <a:lnTo>
                    <a:pt x="2488485" y="2053165"/>
                  </a:lnTo>
                  <a:lnTo>
                    <a:pt x="2476362" y="2033587"/>
                  </a:lnTo>
                  <a:lnTo>
                    <a:pt x="2464766" y="2013483"/>
                  </a:lnTo>
                  <a:lnTo>
                    <a:pt x="2453698" y="1993902"/>
                  </a:lnTo>
                  <a:lnTo>
                    <a:pt x="2441575" y="1975380"/>
                  </a:lnTo>
                  <a:lnTo>
                    <a:pt x="2453513" y="1972138"/>
                  </a:lnTo>
                  <a:lnTo>
                    <a:pt x="2403029" y="1949982"/>
                  </a:lnTo>
                  <a:lnTo>
                    <a:pt x="2010474" y="2052107"/>
                  </a:lnTo>
                  <a:lnTo>
                    <a:pt x="1994603" y="2071156"/>
                  </a:lnTo>
                  <a:lnTo>
                    <a:pt x="1977673" y="2090202"/>
                  </a:lnTo>
                  <a:lnTo>
                    <a:pt x="1961802" y="2107667"/>
                  </a:lnTo>
                  <a:lnTo>
                    <a:pt x="1945930" y="2124602"/>
                  </a:lnTo>
                  <a:lnTo>
                    <a:pt x="1914187" y="2156352"/>
                  </a:lnTo>
                  <a:lnTo>
                    <a:pt x="1882444" y="2185455"/>
                  </a:lnTo>
                  <a:lnTo>
                    <a:pt x="1852288" y="2211388"/>
                  </a:lnTo>
                  <a:lnTo>
                    <a:pt x="1823191" y="2235199"/>
                  </a:lnTo>
                  <a:lnTo>
                    <a:pt x="1795680" y="2256364"/>
                  </a:lnTo>
                  <a:lnTo>
                    <a:pt x="1769757" y="2275415"/>
                  </a:lnTo>
                  <a:lnTo>
                    <a:pt x="1746478" y="2291290"/>
                  </a:lnTo>
                  <a:lnTo>
                    <a:pt x="1724258" y="2305048"/>
                  </a:lnTo>
                  <a:lnTo>
                    <a:pt x="1705213" y="2316690"/>
                  </a:lnTo>
                  <a:lnTo>
                    <a:pt x="1689341" y="2326743"/>
                  </a:lnTo>
                  <a:lnTo>
                    <a:pt x="1667121" y="2337856"/>
                  </a:lnTo>
                  <a:lnTo>
                    <a:pt x="1658656" y="2342618"/>
                  </a:lnTo>
                  <a:lnTo>
                    <a:pt x="1685639" y="3988451"/>
                  </a:lnTo>
                  <a:lnTo>
                    <a:pt x="1693863" y="3992566"/>
                  </a:lnTo>
                  <a:lnTo>
                    <a:pt x="1703917" y="3998923"/>
                  </a:lnTo>
                  <a:lnTo>
                    <a:pt x="1713442" y="4006338"/>
                  </a:lnTo>
                  <a:lnTo>
                    <a:pt x="1722967" y="4014283"/>
                  </a:lnTo>
                  <a:lnTo>
                    <a:pt x="1742017" y="4031763"/>
                  </a:lnTo>
                  <a:lnTo>
                    <a:pt x="1761067" y="4049772"/>
                  </a:lnTo>
                  <a:lnTo>
                    <a:pt x="1770063" y="4059306"/>
                  </a:lnTo>
                  <a:lnTo>
                    <a:pt x="1780117" y="4067251"/>
                  </a:lnTo>
                  <a:lnTo>
                    <a:pt x="1789642" y="4075196"/>
                  </a:lnTo>
                  <a:lnTo>
                    <a:pt x="1799696" y="4082082"/>
                  </a:lnTo>
                  <a:lnTo>
                    <a:pt x="1810279" y="4087908"/>
                  </a:lnTo>
                  <a:lnTo>
                    <a:pt x="1820863" y="4093205"/>
                  </a:lnTo>
                  <a:lnTo>
                    <a:pt x="1826155" y="4094794"/>
                  </a:lnTo>
                  <a:lnTo>
                    <a:pt x="1832505" y="4097442"/>
                  </a:lnTo>
                  <a:lnTo>
                    <a:pt x="1838855" y="4097972"/>
                  </a:lnTo>
                  <a:lnTo>
                    <a:pt x="1844146" y="4098502"/>
                  </a:lnTo>
                  <a:lnTo>
                    <a:pt x="1856317" y="4100091"/>
                  </a:lnTo>
                  <a:lnTo>
                    <a:pt x="1867430" y="4102739"/>
                  </a:lnTo>
                  <a:lnTo>
                    <a:pt x="1879071" y="4106447"/>
                  </a:lnTo>
                  <a:lnTo>
                    <a:pt x="1889655" y="4110155"/>
                  </a:lnTo>
                  <a:lnTo>
                    <a:pt x="1899709" y="4114922"/>
                  </a:lnTo>
                  <a:lnTo>
                    <a:pt x="1909234" y="4119159"/>
                  </a:lnTo>
                  <a:lnTo>
                    <a:pt x="1919288" y="4125515"/>
                  </a:lnTo>
                  <a:lnTo>
                    <a:pt x="1928284" y="4131342"/>
                  </a:lnTo>
                  <a:lnTo>
                    <a:pt x="1936750" y="4138228"/>
                  </a:lnTo>
                  <a:lnTo>
                    <a:pt x="1945217" y="4145113"/>
                  </a:lnTo>
                  <a:lnTo>
                    <a:pt x="1953155" y="4153059"/>
                  </a:lnTo>
                  <a:lnTo>
                    <a:pt x="1960563" y="4160474"/>
                  </a:lnTo>
                  <a:lnTo>
                    <a:pt x="1967442" y="4168419"/>
                  </a:lnTo>
                  <a:lnTo>
                    <a:pt x="1974321" y="4176364"/>
                  </a:lnTo>
                  <a:lnTo>
                    <a:pt x="1980142" y="4184839"/>
                  </a:lnTo>
                  <a:lnTo>
                    <a:pt x="1986492" y="4193314"/>
                  </a:lnTo>
                  <a:lnTo>
                    <a:pt x="1993371" y="4202319"/>
                  </a:lnTo>
                  <a:lnTo>
                    <a:pt x="2002367" y="4213442"/>
                  </a:lnTo>
                  <a:lnTo>
                    <a:pt x="2012950" y="4224565"/>
                  </a:lnTo>
                  <a:lnTo>
                    <a:pt x="2024592" y="4237807"/>
                  </a:lnTo>
                  <a:lnTo>
                    <a:pt x="2037292" y="4251578"/>
                  </a:lnTo>
                  <a:lnTo>
                    <a:pt x="2050521" y="4266409"/>
                  </a:lnTo>
                  <a:lnTo>
                    <a:pt x="2063221" y="4281770"/>
                  </a:lnTo>
                  <a:lnTo>
                    <a:pt x="2076451" y="4297660"/>
                  </a:lnTo>
                  <a:lnTo>
                    <a:pt x="2087563" y="4314610"/>
                  </a:lnTo>
                  <a:lnTo>
                    <a:pt x="2097088" y="4330500"/>
                  </a:lnTo>
                  <a:lnTo>
                    <a:pt x="2101321" y="4338975"/>
                  </a:lnTo>
                  <a:lnTo>
                    <a:pt x="2105555" y="4347450"/>
                  </a:lnTo>
                  <a:lnTo>
                    <a:pt x="2108201" y="4355925"/>
                  </a:lnTo>
                  <a:lnTo>
                    <a:pt x="2110235" y="4362443"/>
                  </a:lnTo>
                  <a:lnTo>
                    <a:pt x="1074353" y="4362443"/>
                  </a:lnTo>
                  <a:lnTo>
                    <a:pt x="1078971" y="4349039"/>
                  </a:lnTo>
                  <a:lnTo>
                    <a:pt x="1084792" y="4333678"/>
                  </a:lnTo>
                  <a:lnTo>
                    <a:pt x="1091142" y="4318318"/>
                  </a:lnTo>
                  <a:lnTo>
                    <a:pt x="1098550" y="4304016"/>
                  </a:lnTo>
                  <a:lnTo>
                    <a:pt x="1106488" y="4288656"/>
                  </a:lnTo>
                  <a:lnTo>
                    <a:pt x="1114954" y="4274355"/>
                  </a:lnTo>
                  <a:lnTo>
                    <a:pt x="1123950" y="4260583"/>
                  </a:lnTo>
                  <a:lnTo>
                    <a:pt x="1132946" y="4246811"/>
                  </a:lnTo>
                  <a:lnTo>
                    <a:pt x="1143529" y="4233569"/>
                  </a:lnTo>
                  <a:lnTo>
                    <a:pt x="1155171" y="4221387"/>
                  </a:lnTo>
                  <a:lnTo>
                    <a:pt x="1167342" y="4210264"/>
                  </a:lnTo>
                  <a:lnTo>
                    <a:pt x="1180042" y="4199670"/>
                  </a:lnTo>
                  <a:lnTo>
                    <a:pt x="1193800" y="4190136"/>
                  </a:lnTo>
                  <a:lnTo>
                    <a:pt x="1208617" y="4181131"/>
                  </a:lnTo>
                  <a:lnTo>
                    <a:pt x="1224492" y="4174246"/>
                  </a:lnTo>
                  <a:lnTo>
                    <a:pt x="1255713" y="4160474"/>
                  </a:lnTo>
                  <a:lnTo>
                    <a:pt x="1284817" y="4146702"/>
                  </a:lnTo>
                  <a:lnTo>
                    <a:pt x="1311804" y="4132931"/>
                  </a:lnTo>
                  <a:lnTo>
                    <a:pt x="1337733" y="4120219"/>
                  </a:lnTo>
                  <a:lnTo>
                    <a:pt x="1362604" y="4106977"/>
                  </a:lnTo>
                  <a:lnTo>
                    <a:pt x="1384300" y="4094794"/>
                  </a:lnTo>
                  <a:lnTo>
                    <a:pt x="1404409" y="4082612"/>
                  </a:lnTo>
                  <a:lnTo>
                    <a:pt x="1422400" y="4072018"/>
                  </a:lnTo>
                  <a:lnTo>
                    <a:pt x="1452034" y="4052420"/>
                  </a:lnTo>
                  <a:lnTo>
                    <a:pt x="1474259" y="4037059"/>
                  </a:lnTo>
                  <a:lnTo>
                    <a:pt x="1488017" y="4026995"/>
                  </a:lnTo>
                  <a:lnTo>
                    <a:pt x="1491721" y="4023817"/>
                  </a:lnTo>
                  <a:lnTo>
                    <a:pt x="1493754" y="4022800"/>
                  </a:lnTo>
                  <a:lnTo>
                    <a:pt x="1523749" y="2547939"/>
                  </a:lnTo>
                  <a:lnTo>
                    <a:pt x="1490947" y="2513543"/>
                  </a:lnTo>
                  <a:lnTo>
                    <a:pt x="1458146" y="2479146"/>
                  </a:lnTo>
                  <a:lnTo>
                    <a:pt x="1424816" y="2446337"/>
                  </a:lnTo>
                  <a:lnTo>
                    <a:pt x="1390428" y="2413528"/>
                  </a:lnTo>
                  <a:lnTo>
                    <a:pt x="1356040" y="2382307"/>
                  </a:lnTo>
                  <a:lnTo>
                    <a:pt x="1322181" y="2352673"/>
                  </a:lnTo>
                  <a:lnTo>
                    <a:pt x="1287792" y="2323039"/>
                  </a:lnTo>
                  <a:lnTo>
                    <a:pt x="1253404" y="2294466"/>
                  </a:lnTo>
                  <a:lnTo>
                    <a:pt x="1219016" y="2266947"/>
                  </a:lnTo>
                  <a:lnTo>
                    <a:pt x="1184628" y="2240489"/>
                  </a:lnTo>
                  <a:lnTo>
                    <a:pt x="1151298" y="2215093"/>
                  </a:lnTo>
                  <a:lnTo>
                    <a:pt x="1117967" y="2190748"/>
                  </a:lnTo>
                  <a:lnTo>
                    <a:pt x="1085166" y="2167464"/>
                  </a:lnTo>
                  <a:lnTo>
                    <a:pt x="1052894" y="2145240"/>
                  </a:lnTo>
                  <a:lnTo>
                    <a:pt x="1021681" y="2123541"/>
                  </a:lnTo>
                  <a:lnTo>
                    <a:pt x="992054" y="2103963"/>
                  </a:lnTo>
                  <a:lnTo>
                    <a:pt x="934387" y="2066393"/>
                  </a:lnTo>
                  <a:lnTo>
                    <a:pt x="881482" y="2034647"/>
                  </a:lnTo>
                  <a:lnTo>
                    <a:pt x="834926" y="2006604"/>
                  </a:lnTo>
                  <a:lnTo>
                    <a:pt x="794718" y="1983319"/>
                  </a:lnTo>
                  <a:lnTo>
                    <a:pt x="761917" y="1965326"/>
                  </a:lnTo>
                  <a:lnTo>
                    <a:pt x="737581" y="1952099"/>
                  </a:lnTo>
                  <a:lnTo>
                    <a:pt x="722238" y="1944686"/>
                  </a:lnTo>
                  <a:lnTo>
                    <a:pt x="716948" y="1941514"/>
                  </a:lnTo>
                  <a:lnTo>
                    <a:pt x="540223" y="1922788"/>
                  </a:lnTo>
                  <a:lnTo>
                    <a:pt x="525992" y="1933575"/>
                  </a:lnTo>
                  <a:lnTo>
                    <a:pt x="492125" y="1958974"/>
                  </a:lnTo>
                  <a:lnTo>
                    <a:pt x="474663" y="1971674"/>
                  </a:lnTo>
                  <a:lnTo>
                    <a:pt x="457200" y="1983319"/>
                  </a:lnTo>
                  <a:lnTo>
                    <a:pt x="439737" y="1994429"/>
                  </a:lnTo>
                  <a:lnTo>
                    <a:pt x="422275" y="2005546"/>
                  </a:lnTo>
                  <a:lnTo>
                    <a:pt x="403754" y="2015069"/>
                  </a:lnTo>
                  <a:lnTo>
                    <a:pt x="385763" y="2024593"/>
                  </a:lnTo>
                  <a:lnTo>
                    <a:pt x="366713" y="2031471"/>
                  </a:lnTo>
                  <a:lnTo>
                    <a:pt x="348192" y="2037292"/>
                  </a:lnTo>
                  <a:lnTo>
                    <a:pt x="338667" y="2040465"/>
                  </a:lnTo>
                  <a:lnTo>
                    <a:pt x="328613" y="2042055"/>
                  </a:lnTo>
                  <a:lnTo>
                    <a:pt x="318558" y="2044170"/>
                  </a:lnTo>
                  <a:lnTo>
                    <a:pt x="308504" y="2045228"/>
                  </a:lnTo>
                  <a:lnTo>
                    <a:pt x="298979" y="2045757"/>
                  </a:lnTo>
                  <a:lnTo>
                    <a:pt x="288925" y="2046286"/>
                  </a:lnTo>
                  <a:lnTo>
                    <a:pt x="278871" y="2045757"/>
                  </a:lnTo>
                  <a:lnTo>
                    <a:pt x="268287" y="2045228"/>
                  </a:lnTo>
                  <a:lnTo>
                    <a:pt x="258233" y="2044170"/>
                  </a:lnTo>
                  <a:lnTo>
                    <a:pt x="248708" y="2042055"/>
                  </a:lnTo>
                  <a:lnTo>
                    <a:pt x="238654" y="2039408"/>
                  </a:lnTo>
                  <a:lnTo>
                    <a:pt x="228600" y="2037292"/>
                  </a:lnTo>
                  <a:lnTo>
                    <a:pt x="219604" y="2034118"/>
                  </a:lnTo>
                  <a:lnTo>
                    <a:pt x="209550" y="2030413"/>
                  </a:lnTo>
                  <a:lnTo>
                    <a:pt x="200554" y="2026711"/>
                  </a:lnTo>
                  <a:lnTo>
                    <a:pt x="191558" y="2023006"/>
                  </a:lnTo>
                  <a:lnTo>
                    <a:pt x="174096" y="2013483"/>
                  </a:lnTo>
                  <a:lnTo>
                    <a:pt x="156104" y="2002898"/>
                  </a:lnTo>
                  <a:lnTo>
                    <a:pt x="139700" y="1990727"/>
                  </a:lnTo>
                  <a:lnTo>
                    <a:pt x="122767" y="1978555"/>
                  </a:lnTo>
                  <a:lnTo>
                    <a:pt x="106892" y="1964795"/>
                  </a:lnTo>
                  <a:lnTo>
                    <a:pt x="91017" y="1951037"/>
                  </a:lnTo>
                  <a:lnTo>
                    <a:pt x="75671" y="1936750"/>
                  </a:lnTo>
                  <a:lnTo>
                    <a:pt x="59796" y="1921404"/>
                  </a:lnTo>
                  <a:lnTo>
                    <a:pt x="29633" y="1890713"/>
                  </a:lnTo>
                  <a:lnTo>
                    <a:pt x="0" y="1860551"/>
                  </a:lnTo>
                  <a:lnTo>
                    <a:pt x="14817" y="1845204"/>
                  </a:lnTo>
                  <a:lnTo>
                    <a:pt x="29633" y="1829859"/>
                  </a:lnTo>
                  <a:lnTo>
                    <a:pt x="46037" y="1815571"/>
                  </a:lnTo>
                  <a:lnTo>
                    <a:pt x="62442" y="1800754"/>
                  </a:lnTo>
                  <a:lnTo>
                    <a:pt x="78846" y="1787525"/>
                  </a:lnTo>
                  <a:lnTo>
                    <a:pt x="96308" y="1774296"/>
                  </a:lnTo>
                  <a:lnTo>
                    <a:pt x="113771" y="1762655"/>
                  </a:lnTo>
                  <a:lnTo>
                    <a:pt x="131763" y="1751542"/>
                  </a:lnTo>
                  <a:lnTo>
                    <a:pt x="150283" y="1741488"/>
                  </a:lnTo>
                  <a:lnTo>
                    <a:pt x="169333" y="1732492"/>
                  </a:lnTo>
                  <a:lnTo>
                    <a:pt x="188383" y="1724555"/>
                  </a:lnTo>
                  <a:lnTo>
                    <a:pt x="207433" y="1718734"/>
                  </a:lnTo>
                  <a:lnTo>
                    <a:pt x="217487" y="1716618"/>
                  </a:lnTo>
                  <a:lnTo>
                    <a:pt x="227013" y="1713972"/>
                  </a:lnTo>
                  <a:lnTo>
                    <a:pt x="237067" y="1712384"/>
                  </a:lnTo>
                  <a:lnTo>
                    <a:pt x="247650" y="1710797"/>
                  </a:lnTo>
                  <a:lnTo>
                    <a:pt x="257704" y="1710267"/>
                  </a:lnTo>
                  <a:lnTo>
                    <a:pt x="268287" y="1709738"/>
                  </a:lnTo>
                  <a:lnTo>
                    <a:pt x="278342" y="1709738"/>
                  </a:lnTo>
                  <a:lnTo>
                    <a:pt x="288925" y="1710267"/>
                  </a:lnTo>
                  <a:lnTo>
                    <a:pt x="299508" y="1710797"/>
                  </a:lnTo>
                  <a:lnTo>
                    <a:pt x="309563" y="1712384"/>
                  </a:lnTo>
                  <a:lnTo>
                    <a:pt x="319617" y="1715030"/>
                  </a:lnTo>
                  <a:lnTo>
                    <a:pt x="329142" y="1717676"/>
                  </a:lnTo>
                  <a:lnTo>
                    <a:pt x="339196" y="1720851"/>
                  </a:lnTo>
                  <a:lnTo>
                    <a:pt x="349250" y="1724026"/>
                  </a:lnTo>
                  <a:lnTo>
                    <a:pt x="358775" y="1727730"/>
                  </a:lnTo>
                  <a:lnTo>
                    <a:pt x="368300" y="1732492"/>
                  </a:lnTo>
                  <a:lnTo>
                    <a:pt x="386292" y="1741488"/>
                  </a:lnTo>
                  <a:lnTo>
                    <a:pt x="403754" y="1753130"/>
                  </a:lnTo>
                  <a:lnTo>
                    <a:pt x="421746" y="1765301"/>
                  </a:lnTo>
                  <a:lnTo>
                    <a:pt x="438150" y="1778001"/>
                  </a:lnTo>
                  <a:lnTo>
                    <a:pt x="455083" y="1792817"/>
                  </a:lnTo>
                  <a:lnTo>
                    <a:pt x="470429" y="1807634"/>
                  </a:lnTo>
                  <a:lnTo>
                    <a:pt x="486304" y="1824038"/>
                  </a:lnTo>
                  <a:lnTo>
                    <a:pt x="501650" y="1839913"/>
                  </a:lnTo>
                  <a:lnTo>
                    <a:pt x="530225" y="1874309"/>
                  </a:lnTo>
                  <a:lnTo>
                    <a:pt x="535637" y="1880823"/>
                  </a:lnTo>
                  <a:lnTo>
                    <a:pt x="700547" y="1888067"/>
                  </a:lnTo>
                  <a:lnTo>
                    <a:pt x="692612" y="1882247"/>
                  </a:lnTo>
                  <a:lnTo>
                    <a:pt x="682560" y="1873780"/>
                  </a:lnTo>
                  <a:lnTo>
                    <a:pt x="673037" y="1863197"/>
                  </a:lnTo>
                  <a:lnTo>
                    <a:pt x="661398" y="1849438"/>
                  </a:lnTo>
                  <a:lnTo>
                    <a:pt x="638649" y="1819805"/>
                  </a:lnTo>
                  <a:lnTo>
                    <a:pt x="617118" y="1788755"/>
                  </a:lnTo>
                  <a:lnTo>
                    <a:pt x="616482" y="1803401"/>
                  </a:lnTo>
                  <a:lnTo>
                    <a:pt x="592205" y="1796534"/>
                  </a:lnTo>
                  <a:lnTo>
                    <a:pt x="566344" y="1788610"/>
                  </a:lnTo>
                  <a:lnTo>
                    <a:pt x="553678" y="1784912"/>
                  </a:lnTo>
                  <a:lnTo>
                    <a:pt x="540484" y="1780687"/>
                  </a:lnTo>
                  <a:lnTo>
                    <a:pt x="527817" y="1774876"/>
                  </a:lnTo>
                  <a:lnTo>
                    <a:pt x="515678" y="1769594"/>
                  </a:lnTo>
                  <a:lnTo>
                    <a:pt x="504067" y="1762727"/>
                  </a:lnTo>
                  <a:lnTo>
                    <a:pt x="491929" y="1755860"/>
                  </a:lnTo>
                  <a:lnTo>
                    <a:pt x="481373" y="1748464"/>
                  </a:lnTo>
                  <a:lnTo>
                    <a:pt x="471346" y="1739484"/>
                  </a:lnTo>
                  <a:lnTo>
                    <a:pt x="461318" y="1729448"/>
                  </a:lnTo>
                  <a:lnTo>
                    <a:pt x="453401" y="1717827"/>
                  </a:lnTo>
                  <a:lnTo>
                    <a:pt x="448651" y="1712016"/>
                  </a:lnTo>
                  <a:lnTo>
                    <a:pt x="444957" y="1705678"/>
                  </a:lnTo>
                  <a:lnTo>
                    <a:pt x="441790" y="1698810"/>
                  </a:lnTo>
                  <a:lnTo>
                    <a:pt x="438096" y="1691943"/>
                  </a:lnTo>
                  <a:lnTo>
                    <a:pt x="433346" y="1681379"/>
                  </a:lnTo>
                  <a:lnTo>
                    <a:pt x="429124" y="1670286"/>
                  </a:lnTo>
                  <a:lnTo>
                    <a:pt x="425957" y="1658665"/>
                  </a:lnTo>
                  <a:lnTo>
                    <a:pt x="422791" y="1647043"/>
                  </a:lnTo>
                  <a:lnTo>
                    <a:pt x="420680" y="1635951"/>
                  </a:lnTo>
                  <a:lnTo>
                    <a:pt x="419096" y="1623801"/>
                  </a:lnTo>
                  <a:lnTo>
                    <a:pt x="418041" y="1612180"/>
                  </a:lnTo>
                  <a:lnTo>
                    <a:pt x="417513" y="1600031"/>
                  </a:lnTo>
                  <a:lnTo>
                    <a:pt x="417513" y="1575732"/>
                  </a:lnTo>
                  <a:lnTo>
                    <a:pt x="418041" y="1551433"/>
                  </a:lnTo>
                  <a:lnTo>
                    <a:pt x="420680" y="1527135"/>
                  </a:lnTo>
                  <a:lnTo>
                    <a:pt x="422791" y="1503364"/>
                  </a:lnTo>
                  <a:lnTo>
                    <a:pt x="445485" y="1512344"/>
                  </a:lnTo>
                  <a:lnTo>
                    <a:pt x="469235" y="1520796"/>
                  </a:lnTo>
                  <a:lnTo>
                    <a:pt x="492456" y="1530832"/>
                  </a:lnTo>
                  <a:lnTo>
                    <a:pt x="515678" y="1541397"/>
                  </a:lnTo>
                  <a:lnTo>
                    <a:pt x="526761" y="1547736"/>
                  </a:lnTo>
                  <a:lnTo>
                    <a:pt x="537317" y="1554603"/>
                  </a:lnTo>
                  <a:lnTo>
                    <a:pt x="547345" y="1561470"/>
                  </a:lnTo>
                  <a:lnTo>
                    <a:pt x="557372" y="1569393"/>
                  </a:lnTo>
                  <a:lnTo>
                    <a:pt x="566344" y="1578901"/>
                  </a:lnTo>
                  <a:lnTo>
                    <a:pt x="575316" y="1588938"/>
                  </a:lnTo>
                  <a:lnTo>
                    <a:pt x="583233" y="1599502"/>
                  </a:lnTo>
                  <a:lnTo>
                    <a:pt x="590094" y="1611652"/>
                  </a:lnTo>
                  <a:lnTo>
                    <a:pt x="595899" y="1622217"/>
                  </a:lnTo>
                  <a:lnTo>
                    <a:pt x="601177" y="1633838"/>
                  </a:lnTo>
                  <a:lnTo>
                    <a:pt x="605399" y="1644930"/>
                  </a:lnTo>
                  <a:lnTo>
                    <a:pt x="609094" y="1656552"/>
                  </a:lnTo>
                  <a:lnTo>
                    <a:pt x="611205" y="1667645"/>
                  </a:lnTo>
                  <a:lnTo>
                    <a:pt x="613316" y="1679794"/>
                  </a:lnTo>
                  <a:lnTo>
                    <a:pt x="614899" y="1691943"/>
                  </a:lnTo>
                  <a:lnTo>
                    <a:pt x="616482" y="1704621"/>
                  </a:lnTo>
                  <a:lnTo>
                    <a:pt x="617538" y="1729448"/>
                  </a:lnTo>
                  <a:lnTo>
                    <a:pt x="617538" y="1750862"/>
                  </a:lnTo>
                  <a:lnTo>
                    <a:pt x="618016" y="1751543"/>
                  </a:lnTo>
                  <a:lnTo>
                    <a:pt x="633358" y="1770593"/>
                  </a:lnTo>
                  <a:lnTo>
                    <a:pt x="648701" y="1789113"/>
                  </a:lnTo>
                  <a:lnTo>
                    <a:pt x="665101" y="1806576"/>
                  </a:lnTo>
                  <a:lnTo>
                    <a:pt x="682031" y="1824038"/>
                  </a:lnTo>
                  <a:lnTo>
                    <a:pt x="698960" y="1840443"/>
                  </a:lnTo>
                  <a:lnTo>
                    <a:pt x="716419" y="1856318"/>
                  </a:lnTo>
                  <a:lnTo>
                    <a:pt x="734407" y="1871663"/>
                  </a:lnTo>
                  <a:lnTo>
                    <a:pt x="752923" y="1885951"/>
                  </a:lnTo>
                  <a:lnTo>
                    <a:pt x="771440" y="1899708"/>
                  </a:lnTo>
                  <a:lnTo>
                    <a:pt x="788899" y="1912409"/>
                  </a:lnTo>
                  <a:lnTo>
                    <a:pt x="806886" y="1925639"/>
                  </a:lnTo>
                  <a:lnTo>
                    <a:pt x="825403" y="1936750"/>
                  </a:lnTo>
                  <a:lnTo>
                    <a:pt x="842862" y="1948391"/>
                  </a:lnTo>
                  <a:lnTo>
                    <a:pt x="876192" y="1969028"/>
                  </a:lnTo>
                  <a:lnTo>
                    <a:pt x="908464" y="1986493"/>
                  </a:lnTo>
                  <a:lnTo>
                    <a:pt x="937033" y="2001843"/>
                  </a:lnTo>
                  <a:lnTo>
                    <a:pt x="962956" y="2014011"/>
                  </a:lnTo>
                  <a:lnTo>
                    <a:pt x="999989" y="2030942"/>
                  </a:lnTo>
                  <a:lnTo>
                    <a:pt x="1013216" y="2036234"/>
                  </a:lnTo>
                  <a:lnTo>
                    <a:pt x="1021520" y="1963076"/>
                  </a:lnTo>
                  <a:lnTo>
                    <a:pt x="1016530" y="1972140"/>
                  </a:lnTo>
                  <a:lnTo>
                    <a:pt x="1007534" y="1987518"/>
                  </a:lnTo>
                  <a:lnTo>
                    <a:pt x="996951" y="2001841"/>
                  </a:lnTo>
                  <a:lnTo>
                    <a:pt x="990601" y="1994945"/>
                  </a:lnTo>
                  <a:lnTo>
                    <a:pt x="985309" y="1987518"/>
                  </a:lnTo>
                  <a:lnTo>
                    <a:pt x="981076" y="1979563"/>
                  </a:lnTo>
                  <a:lnTo>
                    <a:pt x="976313" y="1972140"/>
                  </a:lnTo>
                  <a:lnTo>
                    <a:pt x="971551" y="1964185"/>
                  </a:lnTo>
                  <a:lnTo>
                    <a:pt x="968376" y="1956761"/>
                  </a:lnTo>
                  <a:lnTo>
                    <a:pt x="964671" y="1949337"/>
                  </a:lnTo>
                  <a:lnTo>
                    <a:pt x="962555" y="1941383"/>
                  </a:lnTo>
                  <a:lnTo>
                    <a:pt x="959380" y="1933957"/>
                  </a:lnTo>
                  <a:lnTo>
                    <a:pt x="957792" y="1926003"/>
                  </a:lnTo>
                  <a:lnTo>
                    <a:pt x="956205" y="1917520"/>
                  </a:lnTo>
                  <a:lnTo>
                    <a:pt x="955146" y="1910094"/>
                  </a:lnTo>
                  <a:lnTo>
                    <a:pt x="954088" y="1902670"/>
                  </a:lnTo>
                  <a:lnTo>
                    <a:pt x="954088" y="1894185"/>
                  </a:lnTo>
                  <a:lnTo>
                    <a:pt x="954088" y="1886230"/>
                  </a:lnTo>
                  <a:lnTo>
                    <a:pt x="955146" y="1878806"/>
                  </a:lnTo>
                  <a:lnTo>
                    <a:pt x="956205" y="1862897"/>
                  </a:lnTo>
                  <a:lnTo>
                    <a:pt x="959380" y="1846457"/>
                  </a:lnTo>
                  <a:lnTo>
                    <a:pt x="964671" y="1831609"/>
                  </a:lnTo>
                  <a:lnTo>
                    <a:pt x="971021" y="1815169"/>
                  </a:lnTo>
                  <a:lnTo>
                    <a:pt x="977901" y="1800320"/>
                  </a:lnTo>
                  <a:lnTo>
                    <a:pt x="986367" y="1784941"/>
                  </a:lnTo>
                  <a:lnTo>
                    <a:pt x="995892" y="1770093"/>
                  </a:lnTo>
                  <a:lnTo>
                    <a:pt x="1006476" y="1755775"/>
                  </a:lnTo>
                  <a:lnTo>
                    <a:pt x="1012826" y="1762669"/>
                  </a:lnTo>
                  <a:lnTo>
                    <a:pt x="1018118" y="1770093"/>
                  </a:lnTo>
                  <a:lnTo>
                    <a:pt x="1022880" y="1778048"/>
                  </a:lnTo>
                  <a:lnTo>
                    <a:pt x="1027113" y="1784941"/>
                  </a:lnTo>
                  <a:lnTo>
                    <a:pt x="1031347" y="1792366"/>
                  </a:lnTo>
                  <a:lnTo>
                    <a:pt x="1033993" y="1800320"/>
                  </a:lnTo>
                  <a:lnTo>
                    <a:pt x="1037168" y="1807745"/>
                  </a:lnTo>
                  <a:lnTo>
                    <a:pt x="1040343" y="1815169"/>
                  </a:lnTo>
                  <a:lnTo>
                    <a:pt x="1042459" y="1823123"/>
                  </a:lnTo>
                  <a:lnTo>
                    <a:pt x="1044047" y="1830548"/>
                  </a:lnTo>
                  <a:lnTo>
                    <a:pt x="1045634" y="1838503"/>
                  </a:lnTo>
                  <a:lnTo>
                    <a:pt x="1047222" y="1846457"/>
                  </a:lnTo>
                  <a:lnTo>
                    <a:pt x="1047751" y="1861836"/>
                  </a:lnTo>
                  <a:lnTo>
                    <a:pt x="1047222" y="1878275"/>
                  </a:lnTo>
                  <a:lnTo>
                    <a:pt x="1045634" y="1894185"/>
                  </a:lnTo>
                  <a:lnTo>
                    <a:pt x="1042459" y="1910094"/>
                  </a:lnTo>
                  <a:lnTo>
                    <a:pt x="1041094" y="1915055"/>
                  </a:lnTo>
                  <a:lnTo>
                    <a:pt x="1043901" y="1915055"/>
                  </a:lnTo>
                  <a:lnTo>
                    <a:pt x="1048662" y="2065864"/>
                  </a:lnTo>
                  <a:lnTo>
                    <a:pt x="1550730" y="2361140"/>
                  </a:lnTo>
                  <a:lnTo>
                    <a:pt x="1516871" y="1856318"/>
                  </a:lnTo>
                  <a:lnTo>
                    <a:pt x="1486715" y="1834621"/>
                  </a:lnTo>
                  <a:lnTo>
                    <a:pt x="1455501" y="1813455"/>
                  </a:lnTo>
                  <a:lnTo>
                    <a:pt x="1424816" y="1793876"/>
                  </a:lnTo>
                  <a:lnTo>
                    <a:pt x="1394131" y="1773768"/>
                  </a:lnTo>
                  <a:lnTo>
                    <a:pt x="1334878" y="1736726"/>
                  </a:lnTo>
                  <a:lnTo>
                    <a:pt x="1277741" y="1702330"/>
                  </a:lnTo>
                  <a:lnTo>
                    <a:pt x="1222190" y="1671110"/>
                  </a:lnTo>
                  <a:lnTo>
                    <a:pt x="1169814" y="1642006"/>
                  </a:lnTo>
                  <a:lnTo>
                    <a:pt x="1120084" y="1616077"/>
                  </a:lnTo>
                  <a:lnTo>
                    <a:pt x="1074585" y="1592264"/>
                  </a:lnTo>
                  <a:lnTo>
                    <a:pt x="1032261" y="1571627"/>
                  </a:lnTo>
                  <a:lnTo>
                    <a:pt x="994170" y="1554165"/>
                  </a:lnTo>
                  <a:lnTo>
                    <a:pt x="960840" y="1538819"/>
                  </a:lnTo>
                  <a:lnTo>
                    <a:pt x="933329" y="1526648"/>
                  </a:lnTo>
                  <a:lnTo>
                    <a:pt x="910580" y="1517123"/>
                  </a:lnTo>
                  <a:lnTo>
                    <a:pt x="893650" y="1510244"/>
                  </a:lnTo>
                  <a:lnTo>
                    <a:pt x="884128" y="1506011"/>
                  </a:lnTo>
                  <a:lnTo>
                    <a:pt x="879895" y="1504952"/>
                  </a:lnTo>
                  <a:lnTo>
                    <a:pt x="589089" y="1405683"/>
                  </a:lnTo>
                  <a:lnTo>
                    <a:pt x="567796" y="1411393"/>
                  </a:lnTo>
                  <a:lnTo>
                    <a:pt x="539750" y="1419825"/>
                  </a:lnTo>
                  <a:lnTo>
                    <a:pt x="524934" y="1424568"/>
                  </a:lnTo>
                  <a:lnTo>
                    <a:pt x="510646" y="1428257"/>
                  </a:lnTo>
                  <a:lnTo>
                    <a:pt x="496359" y="1431420"/>
                  </a:lnTo>
                  <a:lnTo>
                    <a:pt x="481542" y="1433527"/>
                  </a:lnTo>
                  <a:lnTo>
                    <a:pt x="466725" y="1435636"/>
                  </a:lnTo>
                  <a:lnTo>
                    <a:pt x="451909" y="1436690"/>
                  </a:lnTo>
                  <a:lnTo>
                    <a:pt x="437621" y="1436690"/>
                  </a:lnTo>
                  <a:lnTo>
                    <a:pt x="422804" y="1435636"/>
                  </a:lnTo>
                  <a:lnTo>
                    <a:pt x="408517" y="1433001"/>
                  </a:lnTo>
                  <a:lnTo>
                    <a:pt x="394229" y="1428784"/>
                  </a:lnTo>
                  <a:lnTo>
                    <a:pt x="386292" y="1426149"/>
                  </a:lnTo>
                  <a:lnTo>
                    <a:pt x="379413" y="1422987"/>
                  </a:lnTo>
                  <a:lnTo>
                    <a:pt x="372534" y="1419825"/>
                  </a:lnTo>
                  <a:lnTo>
                    <a:pt x="365654" y="1416136"/>
                  </a:lnTo>
                  <a:lnTo>
                    <a:pt x="352425" y="1408231"/>
                  </a:lnTo>
                  <a:lnTo>
                    <a:pt x="339725" y="1399271"/>
                  </a:lnTo>
                  <a:lnTo>
                    <a:pt x="328613" y="1389258"/>
                  </a:lnTo>
                  <a:lnTo>
                    <a:pt x="318029" y="1378718"/>
                  </a:lnTo>
                  <a:lnTo>
                    <a:pt x="307975" y="1367650"/>
                  </a:lnTo>
                  <a:lnTo>
                    <a:pt x="297921" y="1354475"/>
                  </a:lnTo>
                  <a:lnTo>
                    <a:pt x="288925" y="1341827"/>
                  </a:lnTo>
                  <a:lnTo>
                    <a:pt x="280458" y="1328124"/>
                  </a:lnTo>
                  <a:lnTo>
                    <a:pt x="263525" y="1299666"/>
                  </a:lnTo>
                  <a:lnTo>
                    <a:pt x="248708" y="1271207"/>
                  </a:lnTo>
                  <a:lnTo>
                    <a:pt x="233892" y="1242221"/>
                  </a:lnTo>
                  <a:lnTo>
                    <a:pt x="219075" y="1213235"/>
                  </a:lnTo>
                  <a:lnTo>
                    <a:pt x="248708" y="1204276"/>
                  </a:lnTo>
                  <a:lnTo>
                    <a:pt x="278342" y="1195317"/>
                  </a:lnTo>
                  <a:lnTo>
                    <a:pt x="293688" y="1190573"/>
                  </a:lnTo>
                  <a:lnTo>
                    <a:pt x="308504" y="1186884"/>
                  </a:lnTo>
                  <a:lnTo>
                    <a:pt x="323850" y="1183195"/>
                  </a:lnTo>
                  <a:lnTo>
                    <a:pt x="339196" y="1180560"/>
                  </a:lnTo>
                  <a:lnTo>
                    <a:pt x="353484" y="1178452"/>
                  </a:lnTo>
                  <a:lnTo>
                    <a:pt x="368829" y="1177925"/>
                  </a:lnTo>
                  <a:lnTo>
                    <a:pt x="384175" y="1177925"/>
                  </a:lnTo>
                  <a:lnTo>
                    <a:pt x="398463" y="1178979"/>
                  </a:lnTo>
                  <a:lnTo>
                    <a:pt x="406400" y="1180560"/>
                  </a:lnTo>
                  <a:lnTo>
                    <a:pt x="413279" y="1182141"/>
                  </a:lnTo>
                  <a:lnTo>
                    <a:pt x="420688" y="1184249"/>
                  </a:lnTo>
                  <a:lnTo>
                    <a:pt x="427567" y="1186884"/>
                  </a:lnTo>
                  <a:lnTo>
                    <a:pt x="434446" y="1190047"/>
                  </a:lnTo>
                  <a:lnTo>
                    <a:pt x="441854" y="1192682"/>
                  </a:lnTo>
                  <a:lnTo>
                    <a:pt x="448734" y="1197425"/>
                  </a:lnTo>
                  <a:lnTo>
                    <a:pt x="455613" y="1201114"/>
                  </a:lnTo>
                  <a:lnTo>
                    <a:pt x="468842" y="1209019"/>
                  </a:lnTo>
                  <a:lnTo>
                    <a:pt x="481013" y="1217978"/>
                  </a:lnTo>
                  <a:lnTo>
                    <a:pt x="492125" y="1227992"/>
                  </a:lnTo>
                  <a:lnTo>
                    <a:pt x="503238" y="1238532"/>
                  </a:lnTo>
                  <a:lnTo>
                    <a:pt x="512234" y="1249599"/>
                  </a:lnTo>
                  <a:lnTo>
                    <a:pt x="521230" y="1261721"/>
                  </a:lnTo>
                  <a:lnTo>
                    <a:pt x="530225" y="1274896"/>
                  </a:lnTo>
                  <a:lnTo>
                    <a:pt x="538163" y="1288598"/>
                  </a:lnTo>
                  <a:lnTo>
                    <a:pt x="553509" y="1316530"/>
                  </a:lnTo>
                  <a:lnTo>
                    <a:pt x="567796" y="1345516"/>
                  </a:lnTo>
                  <a:lnTo>
                    <a:pt x="577902" y="1367194"/>
                  </a:lnTo>
                  <a:lnTo>
                    <a:pt x="842862" y="1448332"/>
                  </a:lnTo>
                  <a:lnTo>
                    <a:pt x="842862" y="1320425"/>
                  </a:lnTo>
                  <a:lnTo>
                    <a:pt x="838510" y="1330994"/>
                  </a:lnTo>
                  <a:lnTo>
                    <a:pt x="827862" y="1355797"/>
                  </a:lnTo>
                  <a:lnTo>
                    <a:pt x="817747" y="1381127"/>
                  </a:lnTo>
                  <a:lnTo>
                    <a:pt x="800178" y="1360546"/>
                  </a:lnTo>
                  <a:lnTo>
                    <a:pt x="782077" y="1339965"/>
                  </a:lnTo>
                  <a:lnTo>
                    <a:pt x="763443" y="1319384"/>
                  </a:lnTo>
                  <a:lnTo>
                    <a:pt x="745874" y="1298803"/>
                  </a:lnTo>
                  <a:lnTo>
                    <a:pt x="737356" y="1287193"/>
                  </a:lnTo>
                  <a:lnTo>
                    <a:pt x="729902" y="1276111"/>
                  </a:lnTo>
                  <a:lnTo>
                    <a:pt x="722981" y="1264501"/>
                  </a:lnTo>
                  <a:lnTo>
                    <a:pt x="716592" y="1252363"/>
                  </a:lnTo>
                  <a:lnTo>
                    <a:pt x="711268" y="1239698"/>
                  </a:lnTo>
                  <a:lnTo>
                    <a:pt x="707009" y="1225977"/>
                  </a:lnTo>
                  <a:lnTo>
                    <a:pt x="703815" y="1212256"/>
                  </a:lnTo>
                  <a:lnTo>
                    <a:pt x="701153" y="1196952"/>
                  </a:lnTo>
                  <a:lnTo>
                    <a:pt x="700088" y="1183232"/>
                  </a:lnTo>
                  <a:lnTo>
                    <a:pt x="700088" y="1170566"/>
                  </a:lnTo>
                  <a:lnTo>
                    <a:pt x="701153" y="1156846"/>
                  </a:lnTo>
                  <a:lnTo>
                    <a:pt x="702750" y="1143652"/>
                  </a:lnTo>
                  <a:lnTo>
                    <a:pt x="705944" y="1130987"/>
                  </a:lnTo>
                  <a:lnTo>
                    <a:pt x="709139" y="1117794"/>
                  </a:lnTo>
                  <a:lnTo>
                    <a:pt x="712865" y="1105656"/>
                  </a:lnTo>
                  <a:lnTo>
                    <a:pt x="717657" y="1092991"/>
                  </a:lnTo>
                  <a:lnTo>
                    <a:pt x="728305" y="1068188"/>
                  </a:lnTo>
                  <a:lnTo>
                    <a:pt x="738953" y="1043385"/>
                  </a:lnTo>
                  <a:lnTo>
                    <a:pt x="750665" y="1019638"/>
                  </a:lnTo>
                  <a:lnTo>
                    <a:pt x="761313" y="995363"/>
                  </a:lnTo>
                  <a:lnTo>
                    <a:pt x="777817" y="1015416"/>
                  </a:lnTo>
                  <a:lnTo>
                    <a:pt x="794854" y="1034414"/>
                  </a:lnTo>
                  <a:lnTo>
                    <a:pt x="812423" y="1053939"/>
                  </a:lnTo>
                  <a:lnTo>
                    <a:pt x="829460" y="1073993"/>
                  </a:lnTo>
                  <a:lnTo>
                    <a:pt x="837978" y="1084548"/>
                  </a:lnTo>
                  <a:lnTo>
                    <a:pt x="844899" y="1095102"/>
                  </a:lnTo>
                  <a:lnTo>
                    <a:pt x="851820" y="1106712"/>
                  </a:lnTo>
                  <a:lnTo>
                    <a:pt x="857676" y="1117794"/>
                  </a:lnTo>
                  <a:lnTo>
                    <a:pt x="863000" y="1129932"/>
                  </a:lnTo>
                  <a:lnTo>
                    <a:pt x="867259" y="1142069"/>
                  </a:lnTo>
                  <a:lnTo>
                    <a:pt x="869921" y="1155790"/>
                  </a:lnTo>
                  <a:lnTo>
                    <a:pt x="872583" y="1169511"/>
                  </a:lnTo>
                  <a:lnTo>
                    <a:pt x="873648" y="1183759"/>
                  </a:lnTo>
                  <a:lnTo>
                    <a:pt x="874713" y="1198535"/>
                  </a:lnTo>
                  <a:lnTo>
                    <a:pt x="874713" y="1212256"/>
                  </a:lnTo>
                  <a:lnTo>
                    <a:pt x="873116" y="1225977"/>
                  </a:lnTo>
                  <a:lnTo>
                    <a:pt x="870986" y="1239698"/>
                  </a:lnTo>
                  <a:lnTo>
                    <a:pt x="867792" y="1253419"/>
                  </a:lnTo>
                  <a:lnTo>
                    <a:pt x="864065" y="1266084"/>
                  </a:lnTo>
                  <a:lnTo>
                    <a:pt x="859274" y="1279277"/>
                  </a:lnTo>
                  <a:lnTo>
                    <a:pt x="855376" y="1289241"/>
                  </a:lnTo>
                  <a:lnTo>
                    <a:pt x="866669" y="1461032"/>
                  </a:lnTo>
                  <a:lnTo>
                    <a:pt x="875663" y="1462619"/>
                  </a:lnTo>
                  <a:lnTo>
                    <a:pt x="886773" y="1465265"/>
                  </a:lnTo>
                  <a:lnTo>
                    <a:pt x="901586" y="1469498"/>
                  </a:lnTo>
                  <a:lnTo>
                    <a:pt x="917987" y="1475848"/>
                  </a:lnTo>
                  <a:lnTo>
                    <a:pt x="936503" y="1482727"/>
                  </a:lnTo>
                  <a:lnTo>
                    <a:pt x="957665" y="1491723"/>
                  </a:lnTo>
                  <a:lnTo>
                    <a:pt x="979886" y="1501777"/>
                  </a:lnTo>
                  <a:lnTo>
                    <a:pt x="1003693" y="1512361"/>
                  </a:lnTo>
                  <a:lnTo>
                    <a:pt x="1055540" y="1536702"/>
                  </a:lnTo>
                  <a:lnTo>
                    <a:pt x="1111090" y="1564219"/>
                  </a:lnTo>
                  <a:lnTo>
                    <a:pt x="1168756" y="1593852"/>
                  </a:lnTo>
                  <a:lnTo>
                    <a:pt x="1226952" y="1623485"/>
                  </a:lnTo>
                  <a:lnTo>
                    <a:pt x="1284618" y="1654176"/>
                  </a:lnTo>
                  <a:lnTo>
                    <a:pt x="1339639" y="1683281"/>
                  </a:lnTo>
                  <a:lnTo>
                    <a:pt x="1389899" y="1710797"/>
                  </a:lnTo>
                  <a:lnTo>
                    <a:pt x="1434868" y="1735668"/>
                  </a:lnTo>
                  <a:lnTo>
                    <a:pt x="1472960" y="1756305"/>
                  </a:lnTo>
                  <a:lnTo>
                    <a:pt x="1501529" y="1772180"/>
                  </a:lnTo>
                  <a:lnTo>
                    <a:pt x="1520045" y="1782234"/>
                  </a:lnTo>
                  <a:lnTo>
                    <a:pt x="1526394" y="1785938"/>
                  </a:lnTo>
                  <a:lnTo>
                    <a:pt x="1516871" y="1608668"/>
                  </a:lnTo>
                  <a:lnTo>
                    <a:pt x="1412648" y="1337735"/>
                  </a:lnTo>
                  <a:lnTo>
                    <a:pt x="977679" y="932847"/>
                  </a:lnTo>
                  <a:lnTo>
                    <a:pt x="981075" y="948296"/>
                  </a:lnTo>
                  <a:lnTo>
                    <a:pt x="960437" y="953582"/>
                  </a:lnTo>
                  <a:lnTo>
                    <a:pt x="940329" y="958866"/>
                  </a:lnTo>
                  <a:lnTo>
                    <a:pt x="919163" y="963093"/>
                  </a:lnTo>
                  <a:lnTo>
                    <a:pt x="898525" y="965735"/>
                  </a:lnTo>
                  <a:lnTo>
                    <a:pt x="877358" y="968378"/>
                  </a:lnTo>
                  <a:lnTo>
                    <a:pt x="856721" y="969964"/>
                  </a:lnTo>
                  <a:lnTo>
                    <a:pt x="835025" y="969964"/>
                  </a:lnTo>
                  <a:lnTo>
                    <a:pt x="814917" y="968378"/>
                  </a:lnTo>
                  <a:lnTo>
                    <a:pt x="794279" y="965735"/>
                  </a:lnTo>
                  <a:lnTo>
                    <a:pt x="773642" y="962037"/>
                  </a:lnTo>
                  <a:lnTo>
                    <a:pt x="753533" y="956752"/>
                  </a:lnTo>
                  <a:lnTo>
                    <a:pt x="733954" y="949881"/>
                  </a:lnTo>
                  <a:lnTo>
                    <a:pt x="723900" y="946183"/>
                  </a:lnTo>
                  <a:lnTo>
                    <a:pt x="714375" y="941427"/>
                  </a:lnTo>
                  <a:lnTo>
                    <a:pt x="704850" y="937200"/>
                  </a:lnTo>
                  <a:lnTo>
                    <a:pt x="695854" y="932443"/>
                  </a:lnTo>
                  <a:lnTo>
                    <a:pt x="686858" y="926630"/>
                  </a:lnTo>
                  <a:lnTo>
                    <a:pt x="677333" y="920289"/>
                  </a:lnTo>
                  <a:lnTo>
                    <a:pt x="668337" y="913947"/>
                  </a:lnTo>
                  <a:lnTo>
                    <a:pt x="659871" y="907077"/>
                  </a:lnTo>
                  <a:lnTo>
                    <a:pt x="645583" y="892280"/>
                  </a:lnTo>
                  <a:lnTo>
                    <a:pt x="632354" y="876956"/>
                  </a:lnTo>
                  <a:lnTo>
                    <a:pt x="620183" y="860045"/>
                  </a:lnTo>
                  <a:lnTo>
                    <a:pt x="609071" y="842606"/>
                  </a:lnTo>
                  <a:lnTo>
                    <a:pt x="599017" y="824110"/>
                  </a:lnTo>
                  <a:lnTo>
                    <a:pt x="588963" y="805086"/>
                  </a:lnTo>
                  <a:lnTo>
                    <a:pt x="579967" y="785533"/>
                  </a:lnTo>
                  <a:lnTo>
                    <a:pt x="571500" y="765980"/>
                  </a:lnTo>
                  <a:lnTo>
                    <a:pt x="564092" y="745899"/>
                  </a:lnTo>
                  <a:lnTo>
                    <a:pt x="556154" y="725290"/>
                  </a:lnTo>
                  <a:lnTo>
                    <a:pt x="549275" y="704680"/>
                  </a:lnTo>
                  <a:lnTo>
                    <a:pt x="542925" y="684071"/>
                  </a:lnTo>
                  <a:lnTo>
                    <a:pt x="529696" y="642323"/>
                  </a:lnTo>
                  <a:lnTo>
                    <a:pt x="517525" y="602161"/>
                  </a:lnTo>
                  <a:lnTo>
                    <a:pt x="536575" y="596876"/>
                  </a:lnTo>
                  <a:lnTo>
                    <a:pt x="557213" y="591592"/>
                  </a:lnTo>
                  <a:lnTo>
                    <a:pt x="576792" y="587364"/>
                  </a:lnTo>
                  <a:lnTo>
                    <a:pt x="597429" y="583665"/>
                  </a:lnTo>
                  <a:lnTo>
                    <a:pt x="617537" y="581551"/>
                  </a:lnTo>
                  <a:lnTo>
                    <a:pt x="638175" y="579438"/>
                  </a:lnTo>
                  <a:lnTo>
                    <a:pt x="658283" y="579438"/>
                  </a:lnTo>
                  <a:lnTo>
                    <a:pt x="678921" y="579438"/>
                  </a:lnTo>
                  <a:lnTo>
                    <a:pt x="699029" y="581551"/>
                  </a:lnTo>
                  <a:lnTo>
                    <a:pt x="719667" y="584722"/>
                  </a:lnTo>
                  <a:lnTo>
                    <a:pt x="729192" y="586836"/>
                  </a:lnTo>
                  <a:lnTo>
                    <a:pt x="739246" y="588950"/>
                  </a:lnTo>
                  <a:lnTo>
                    <a:pt x="748242" y="592120"/>
                  </a:lnTo>
                  <a:lnTo>
                    <a:pt x="758296" y="595819"/>
                  </a:lnTo>
                  <a:lnTo>
                    <a:pt x="768350" y="599519"/>
                  </a:lnTo>
                  <a:lnTo>
                    <a:pt x="777346" y="603746"/>
                  </a:lnTo>
                  <a:lnTo>
                    <a:pt x="787400" y="607974"/>
                  </a:lnTo>
                  <a:lnTo>
                    <a:pt x="796396" y="613258"/>
                  </a:lnTo>
                  <a:lnTo>
                    <a:pt x="805392" y="618543"/>
                  </a:lnTo>
                  <a:lnTo>
                    <a:pt x="814917" y="624884"/>
                  </a:lnTo>
                  <a:lnTo>
                    <a:pt x="823913" y="631754"/>
                  </a:lnTo>
                  <a:lnTo>
                    <a:pt x="832379" y="638624"/>
                  </a:lnTo>
                  <a:lnTo>
                    <a:pt x="840846" y="645494"/>
                  </a:lnTo>
                  <a:lnTo>
                    <a:pt x="848783" y="652364"/>
                  </a:lnTo>
                  <a:lnTo>
                    <a:pt x="856721" y="659233"/>
                  </a:lnTo>
                  <a:lnTo>
                    <a:pt x="864129" y="666632"/>
                  </a:lnTo>
                  <a:lnTo>
                    <a:pt x="871008" y="675087"/>
                  </a:lnTo>
                  <a:lnTo>
                    <a:pt x="877887" y="682485"/>
                  </a:lnTo>
                  <a:lnTo>
                    <a:pt x="884767" y="690940"/>
                  </a:lnTo>
                  <a:lnTo>
                    <a:pt x="891117" y="699396"/>
                  </a:lnTo>
                  <a:lnTo>
                    <a:pt x="902229" y="717891"/>
                  </a:lnTo>
                  <a:lnTo>
                    <a:pt x="912813" y="736916"/>
                  </a:lnTo>
                  <a:lnTo>
                    <a:pt x="922867" y="755940"/>
                  </a:lnTo>
                  <a:lnTo>
                    <a:pt x="931863" y="776549"/>
                  </a:lnTo>
                  <a:lnTo>
                    <a:pt x="940329" y="797159"/>
                  </a:lnTo>
                  <a:lnTo>
                    <a:pt x="947208" y="818297"/>
                  </a:lnTo>
                  <a:lnTo>
                    <a:pt x="954087" y="839435"/>
                  </a:lnTo>
                  <a:lnTo>
                    <a:pt x="960437" y="861631"/>
                  </a:lnTo>
                  <a:lnTo>
                    <a:pt x="971550" y="904963"/>
                  </a:lnTo>
                  <a:lnTo>
                    <a:pt x="972721" y="910288"/>
                  </a:lnTo>
                  <a:lnTo>
                    <a:pt x="1114264" y="1008592"/>
                  </a:lnTo>
                  <a:lnTo>
                    <a:pt x="1173421" y="913432"/>
                  </a:lnTo>
                  <a:lnTo>
                    <a:pt x="1158555" y="922356"/>
                  </a:lnTo>
                  <a:lnTo>
                    <a:pt x="1144140" y="930274"/>
                  </a:lnTo>
                  <a:lnTo>
                    <a:pt x="1140936" y="920772"/>
                  </a:lnTo>
                  <a:lnTo>
                    <a:pt x="1138800" y="911270"/>
                  </a:lnTo>
                  <a:lnTo>
                    <a:pt x="1137199" y="901768"/>
                  </a:lnTo>
                  <a:lnTo>
                    <a:pt x="1136665" y="892794"/>
                  </a:lnTo>
                  <a:lnTo>
                    <a:pt x="1135063" y="884349"/>
                  </a:lnTo>
                  <a:lnTo>
                    <a:pt x="1135063" y="875375"/>
                  </a:lnTo>
                  <a:lnTo>
                    <a:pt x="1135063" y="866929"/>
                  </a:lnTo>
                  <a:lnTo>
                    <a:pt x="1135063" y="858483"/>
                  </a:lnTo>
                  <a:lnTo>
                    <a:pt x="1135597" y="850037"/>
                  </a:lnTo>
                  <a:lnTo>
                    <a:pt x="1137199" y="842646"/>
                  </a:lnTo>
                  <a:lnTo>
                    <a:pt x="1138800" y="834200"/>
                  </a:lnTo>
                  <a:lnTo>
                    <a:pt x="1140402" y="826810"/>
                  </a:lnTo>
                  <a:lnTo>
                    <a:pt x="1142538" y="819948"/>
                  </a:lnTo>
                  <a:lnTo>
                    <a:pt x="1145741" y="812030"/>
                  </a:lnTo>
                  <a:lnTo>
                    <a:pt x="1148945" y="805167"/>
                  </a:lnTo>
                  <a:lnTo>
                    <a:pt x="1152148" y="798305"/>
                  </a:lnTo>
                  <a:lnTo>
                    <a:pt x="1159623" y="785108"/>
                  </a:lnTo>
                  <a:lnTo>
                    <a:pt x="1168700" y="772439"/>
                  </a:lnTo>
                  <a:lnTo>
                    <a:pt x="1178844" y="760298"/>
                  </a:lnTo>
                  <a:lnTo>
                    <a:pt x="1190590" y="749741"/>
                  </a:lnTo>
                  <a:lnTo>
                    <a:pt x="1202870" y="740239"/>
                  </a:lnTo>
                  <a:lnTo>
                    <a:pt x="1216218" y="730210"/>
                  </a:lnTo>
                  <a:lnTo>
                    <a:pt x="1230100" y="721764"/>
                  </a:lnTo>
                  <a:lnTo>
                    <a:pt x="1245583" y="714373"/>
                  </a:lnTo>
                  <a:lnTo>
                    <a:pt x="1248787" y="723347"/>
                  </a:lnTo>
                  <a:lnTo>
                    <a:pt x="1250389" y="732321"/>
                  </a:lnTo>
                  <a:lnTo>
                    <a:pt x="1251990" y="741295"/>
                  </a:lnTo>
                  <a:lnTo>
                    <a:pt x="1253592" y="750797"/>
                  </a:lnTo>
                  <a:lnTo>
                    <a:pt x="1254126" y="759243"/>
                  </a:lnTo>
                  <a:lnTo>
                    <a:pt x="1254126" y="767161"/>
                  </a:lnTo>
                  <a:lnTo>
                    <a:pt x="1254126" y="775607"/>
                  </a:lnTo>
                  <a:lnTo>
                    <a:pt x="1253592" y="784053"/>
                  </a:lnTo>
                  <a:lnTo>
                    <a:pt x="1252524" y="792499"/>
                  </a:lnTo>
                  <a:lnTo>
                    <a:pt x="1251990" y="799889"/>
                  </a:lnTo>
                  <a:lnTo>
                    <a:pt x="1250389" y="807807"/>
                  </a:lnTo>
                  <a:lnTo>
                    <a:pt x="1248253" y="815197"/>
                  </a:lnTo>
                  <a:lnTo>
                    <a:pt x="1243448" y="829977"/>
                  </a:lnTo>
                  <a:lnTo>
                    <a:pt x="1236507" y="844230"/>
                  </a:lnTo>
                  <a:lnTo>
                    <a:pt x="1231083" y="853423"/>
                  </a:lnTo>
                  <a:lnTo>
                    <a:pt x="1232771" y="854605"/>
                  </a:lnTo>
                  <a:lnTo>
                    <a:pt x="1132252" y="1038225"/>
                  </a:lnTo>
                  <a:lnTo>
                    <a:pt x="1473489" y="1308102"/>
                  </a:lnTo>
                  <a:lnTo>
                    <a:pt x="1557608" y="1539877"/>
                  </a:lnTo>
                  <a:lnTo>
                    <a:pt x="1723729" y="1313393"/>
                  </a:lnTo>
                  <a:lnTo>
                    <a:pt x="1634320" y="851959"/>
                  </a:lnTo>
                  <a:lnTo>
                    <a:pt x="1498460" y="616883"/>
                  </a:lnTo>
                  <a:lnTo>
                    <a:pt x="1491721" y="642938"/>
                  </a:lnTo>
                  <a:lnTo>
                    <a:pt x="1452563" y="621788"/>
                  </a:lnTo>
                  <a:lnTo>
                    <a:pt x="1412875" y="599582"/>
                  </a:lnTo>
                  <a:lnTo>
                    <a:pt x="1393296" y="587949"/>
                  </a:lnTo>
                  <a:lnTo>
                    <a:pt x="1374246" y="575789"/>
                  </a:lnTo>
                  <a:lnTo>
                    <a:pt x="1355725" y="563628"/>
                  </a:lnTo>
                  <a:lnTo>
                    <a:pt x="1337734" y="549881"/>
                  </a:lnTo>
                  <a:lnTo>
                    <a:pt x="1319213" y="536134"/>
                  </a:lnTo>
                  <a:lnTo>
                    <a:pt x="1302808" y="520801"/>
                  </a:lnTo>
                  <a:lnTo>
                    <a:pt x="1286404" y="504939"/>
                  </a:lnTo>
                  <a:lnTo>
                    <a:pt x="1271588" y="487490"/>
                  </a:lnTo>
                  <a:lnTo>
                    <a:pt x="1264708" y="478502"/>
                  </a:lnTo>
                  <a:lnTo>
                    <a:pt x="1256771" y="468985"/>
                  </a:lnTo>
                  <a:lnTo>
                    <a:pt x="1250950" y="459468"/>
                  </a:lnTo>
                  <a:lnTo>
                    <a:pt x="1244071" y="448893"/>
                  </a:lnTo>
                  <a:lnTo>
                    <a:pt x="1238779" y="438847"/>
                  </a:lnTo>
                  <a:lnTo>
                    <a:pt x="1232429" y="427215"/>
                  </a:lnTo>
                  <a:lnTo>
                    <a:pt x="1227138" y="416112"/>
                  </a:lnTo>
                  <a:lnTo>
                    <a:pt x="1222375" y="404480"/>
                  </a:lnTo>
                  <a:lnTo>
                    <a:pt x="1217083" y="392848"/>
                  </a:lnTo>
                  <a:lnTo>
                    <a:pt x="1213379" y="380687"/>
                  </a:lnTo>
                  <a:lnTo>
                    <a:pt x="1209675" y="368526"/>
                  </a:lnTo>
                  <a:lnTo>
                    <a:pt x="1205971" y="356365"/>
                  </a:lnTo>
                  <a:lnTo>
                    <a:pt x="1203325" y="344204"/>
                  </a:lnTo>
                  <a:lnTo>
                    <a:pt x="1200679" y="332043"/>
                  </a:lnTo>
                  <a:lnTo>
                    <a:pt x="1199092" y="319883"/>
                  </a:lnTo>
                  <a:lnTo>
                    <a:pt x="1196446" y="307193"/>
                  </a:lnTo>
                  <a:lnTo>
                    <a:pt x="1195388" y="282872"/>
                  </a:lnTo>
                  <a:lnTo>
                    <a:pt x="1193800" y="257492"/>
                  </a:lnTo>
                  <a:lnTo>
                    <a:pt x="1194329" y="232113"/>
                  </a:lnTo>
                  <a:lnTo>
                    <a:pt x="1195917" y="207263"/>
                  </a:lnTo>
                  <a:lnTo>
                    <a:pt x="1199092" y="181884"/>
                  </a:lnTo>
                  <a:lnTo>
                    <a:pt x="1202267" y="157033"/>
                  </a:lnTo>
                  <a:lnTo>
                    <a:pt x="1206500" y="131654"/>
                  </a:lnTo>
                  <a:lnTo>
                    <a:pt x="1211792" y="107333"/>
                  </a:lnTo>
                  <a:lnTo>
                    <a:pt x="1217083" y="83011"/>
                  </a:lnTo>
                  <a:lnTo>
                    <a:pt x="1223433" y="58689"/>
                  </a:lnTo>
                  <a:lnTo>
                    <a:pt x="1229254" y="34897"/>
                  </a:lnTo>
                  <a:lnTo>
                    <a:pt x="1235604" y="11632"/>
                  </a:lnTo>
                  <a:lnTo>
                    <a:pt x="1257829"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等线" panose="020F0502020204030204"/>
                <a:ea typeface="+mn-ea"/>
                <a:cs typeface="+mn-cs"/>
              </a:endParaRPr>
            </a:p>
          </p:txBody>
        </p:sp>
        <p:sp>
          <p:nvSpPr>
            <p:cNvPr id="16" name="TextBox 150">
              <a:extLst>
                <a:ext uri="{FF2B5EF4-FFF2-40B4-BE49-F238E27FC236}">
                  <a16:creationId xmlns:a16="http://schemas.microsoft.com/office/drawing/2014/main" id="{5B0BF2D2-32A4-4DF4-9F26-A208BB8B63A5}"/>
                </a:ext>
              </a:extLst>
            </p:cNvPr>
            <p:cNvSpPr txBox="1"/>
            <p:nvPr/>
          </p:nvSpPr>
          <p:spPr>
            <a:xfrm>
              <a:off x="10023800" y="4367181"/>
              <a:ext cx="1036507"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dirty="0">
                  <a:ln>
                    <a:noFill/>
                  </a:ln>
                  <a:solidFill>
                    <a:srgbClr val="FFD229"/>
                  </a:solidFill>
                  <a:effectLst/>
                  <a:uLnTx/>
                  <a:uFillTx/>
                  <a:latin typeface="等线" panose="020F0502020204030204"/>
                  <a:ea typeface="+mn-ea"/>
                  <a:cs typeface="+mn-cs"/>
                </a:rPr>
                <a:t>05</a:t>
              </a:r>
            </a:p>
          </p:txBody>
        </p:sp>
      </p:grpSp>
      <p:grpSp>
        <p:nvGrpSpPr>
          <p:cNvPr id="17" name="Group 58">
            <a:extLst>
              <a:ext uri="{FF2B5EF4-FFF2-40B4-BE49-F238E27FC236}">
                <a16:creationId xmlns:a16="http://schemas.microsoft.com/office/drawing/2014/main" id="{B400E3FC-7A3F-4155-AE2E-CA651A5C73A2}"/>
              </a:ext>
            </a:extLst>
          </p:cNvPr>
          <p:cNvGrpSpPr/>
          <p:nvPr/>
        </p:nvGrpSpPr>
        <p:grpSpPr>
          <a:xfrm>
            <a:off x="2525439" y="4868174"/>
            <a:ext cx="2358824" cy="1262523"/>
            <a:chOff x="6630902" y="1075295"/>
            <a:chExt cx="2358824" cy="1262523"/>
          </a:xfrm>
        </p:grpSpPr>
        <p:sp>
          <p:nvSpPr>
            <p:cNvPr id="18" name="Rectangle 59">
              <a:extLst>
                <a:ext uri="{FF2B5EF4-FFF2-40B4-BE49-F238E27FC236}">
                  <a16:creationId xmlns:a16="http://schemas.microsoft.com/office/drawing/2014/main" id="{EAEE4DEE-C800-45C9-95E5-063E0923DEAD}"/>
                </a:ext>
              </a:extLst>
            </p:cNvPr>
            <p:cNvSpPr/>
            <p:nvPr/>
          </p:nvSpPr>
          <p:spPr>
            <a:xfrm>
              <a:off x="6882362" y="1550230"/>
              <a:ext cx="1855904" cy="787588"/>
            </a:xfrm>
            <a:prstGeom prst="rect">
              <a:avLst/>
            </a:prstGeom>
          </p:spPr>
          <p:txBody>
            <a:bodyPr wrap="square">
              <a:spAutoFit/>
            </a:bodyPr>
            <a:lstStyle/>
            <a:p>
              <a:pPr marL="0" marR="0" lvl="0" indent="0" algn="ctr" defTabSz="914400" rtl="0" eaLnBrk="1" fontAlgn="auto" latinLnBrk="0" hangingPunct="1">
                <a:lnSpc>
                  <a:spcPct val="13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lumMod val="50000"/>
                      <a:lumOff val="50000"/>
                    </a:srgbClr>
                  </a:solidFill>
                  <a:effectLst/>
                  <a:uLnTx/>
                  <a:uFillTx/>
                  <a:latin typeface="等线" panose="020F0502020204030204"/>
                  <a:ea typeface="Open Sans Light" panose="020B0306030504020204" pitchFamily="34" charset="0"/>
                  <a:cs typeface="Segoe UI" panose="020B0502040204020203" pitchFamily="34" charset="0"/>
                </a:rPr>
                <a:t>Their pronunciation and their most common words. </a:t>
              </a:r>
            </a:p>
          </p:txBody>
        </p:sp>
        <p:sp>
          <p:nvSpPr>
            <p:cNvPr id="19" name="Rectangle 60">
              <a:extLst>
                <a:ext uri="{FF2B5EF4-FFF2-40B4-BE49-F238E27FC236}">
                  <a16:creationId xmlns:a16="http://schemas.microsoft.com/office/drawing/2014/main" id="{40CC12F9-7C7A-422D-9C35-386853CE5809}"/>
                </a:ext>
              </a:extLst>
            </p:cNvPr>
            <p:cNvSpPr/>
            <p:nvPr/>
          </p:nvSpPr>
          <p:spPr>
            <a:xfrm>
              <a:off x="6630902" y="1075295"/>
              <a:ext cx="2358824" cy="414985"/>
            </a:xfrm>
            <a:prstGeom prst="rect">
              <a:avLst/>
            </a:prstGeom>
          </p:spPr>
          <p:txBody>
            <a:bodyPr wrap="square">
              <a:spAutoFit/>
            </a:bodyPr>
            <a:lstStyle/>
            <a:p>
              <a:pPr marL="0" marR="0" lvl="0" indent="0" algn="ctr" defTabSz="914400" rtl="0" eaLnBrk="1" fontAlgn="auto" latinLnBrk="0" hangingPunct="1">
                <a:lnSpc>
                  <a:spcPct val="13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lumMod val="85000"/>
                      <a:lumOff val="15000"/>
                    </a:srgbClr>
                  </a:solidFill>
                  <a:effectLst/>
                  <a:uLnTx/>
                  <a:uFillTx/>
                  <a:latin typeface="等线 Light" panose="020F0302020204030204"/>
                  <a:ea typeface="Open Sans Light" panose="020B0306030504020204" pitchFamily="34" charset="0"/>
                  <a:cs typeface="Poppins" panose="02000000000000000000" pitchFamily="2" charset="0"/>
                </a:rPr>
                <a:t>Option two</a:t>
              </a:r>
              <a:endParaRPr kumimoji="0" lang="en-US" sz="1800" b="1" i="0" u="none" strike="noStrike" kern="1200" cap="none" spc="0" normalizeH="0" baseline="30000" noProof="0" dirty="0">
                <a:ln>
                  <a:noFill/>
                </a:ln>
                <a:solidFill>
                  <a:srgbClr val="000000">
                    <a:lumMod val="85000"/>
                    <a:lumOff val="15000"/>
                  </a:srgbClr>
                </a:solidFill>
                <a:effectLst/>
                <a:uLnTx/>
                <a:uFillTx/>
                <a:latin typeface="等线 Light" panose="020F0302020204030204"/>
                <a:ea typeface="Open Sans Light" panose="020B0306030504020204" pitchFamily="34" charset="0"/>
                <a:cs typeface="Poppins" panose="02000000000000000000" pitchFamily="2" charset="0"/>
              </a:endParaRPr>
            </a:p>
          </p:txBody>
        </p:sp>
      </p:grpSp>
      <p:grpSp>
        <p:nvGrpSpPr>
          <p:cNvPr id="20" name="Group 61">
            <a:extLst>
              <a:ext uri="{FF2B5EF4-FFF2-40B4-BE49-F238E27FC236}">
                <a16:creationId xmlns:a16="http://schemas.microsoft.com/office/drawing/2014/main" id="{04337312-8A28-4F0C-9794-3D7BE76F1D51}"/>
              </a:ext>
            </a:extLst>
          </p:cNvPr>
          <p:cNvGrpSpPr/>
          <p:nvPr/>
        </p:nvGrpSpPr>
        <p:grpSpPr>
          <a:xfrm>
            <a:off x="4804651" y="4868174"/>
            <a:ext cx="2358824" cy="1262523"/>
            <a:chOff x="6630902" y="1075295"/>
            <a:chExt cx="2358824" cy="1262523"/>
          </a:xfrm>
        </p:grpSpPr>
        <p:sp>
          <p:nvSpPr>
            <p:cNvPr id="21" name="Rectangle 62">
              <a:extLst>
                <a:ext uri="{FF2B5EF4-FFF2-40B4-BE49-F238E27FC236}">
                  <a16:creationId xmlns:a16="http://schemas.microsoft.com/office/drawing/2014/main" id="{C8129232-92EF-4C41-99A2-602CF77B0811}"/>
                </a:ext>
              </a:extLst>
            </p:cNvPr>
            <p:cNvSpPr/>
            <p:nvPr/>
          </p:nvSpPr>
          <p:spPr>
            <a:xfrm>
              <a:off x="6882362" y="1550230"/>
              <a:ext cx="1855904" cy="787588"/>
            </a:xfrm>
            <a:prstGeom prst="rect">
              <a:avLst/>
            </a:prstGeom>
          </p:spPr>
          <p:txBody>
            <a:bodyPr wrap="square">
              <a:spAutoFit/>
            </a:bodyPr>
            <a:lstStyle/>
            <a:p>
              <a:pPr marL="0" marR="0" lvl="0" indent="0" algn="ctr" defTabSz="914400" rtl="0" eaLnBrk="1" fontAlgn="auto" latinLnBrk="0" hangingPunct="1">
                <a:lnSpc>
                  <a:spcPct val="13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lumMod val="50000"/>
                      <a:lumOff val="50000"/>
                    </a:srgbClr>
                  </a:solidFill>
                  <a:effectLst/>
                  <a:uLnTx/>
                  <a:uFillTx/>
                  <a:latin typeface="等线" panose="020F0502020204030204"/>
                  <a:ea typeface="Open Sans Light" panose="020B0306030504020204" pitchFamily="34" charset="0"/>
                  <a:cs typeface="Segoe UI" panose="020B0502040204020203" pitchFamily="34" charset="0"/>
                </a:rPr>
                <a:t>Their pronunciation and their most common words. </a:t>
              </a:r>
            </a:p>
          </p:txBody>
        </p:sp>
        <p:sp>
          <p:nvSpPr>
            <p:cNvPr id="22" name="Rectangle 63">
              <a:extLst>
                <a:ext uri="{FF2B5EF4-FFF2-40B4-BE49-F238E27FC236}">
                  <a16:creationId xmlns:a16="http://schemas.microsoft.com/office/drawing/2014/main" id="{3EFEB297-B610-48BD-AEDC-D4AF7EE11683}"/>
                </a:ext>
              </a:extLst>
            </p:cNvPr>
            <p:cNvSpPr/>
            <p:nvPr/>
          </p:nvSpPr>
          <p:spPr>
            <a:xfrm>
              <a:off x="6630902" y="1075295"/>
              <a:ext cx="2358824" cy="414985"/>
            </a:xfrm>
            <a:prstGeom prst="rect">
              <a:avLst/>
            </a:prstGeom>
          </p:spPr>
          <p:txBody>
            <a:bodyPr wrap="square">
              <a:spAutoFit/>
            </a:bodyPr>
            <a:lstStyle/>
            <a:p>
              <a:pPr marL="0" marR="0" lvl="0" indent="0" algn="ctr" defTabSz="914400" rtl="0" eaLnBrk="1" fontAlgn="auto" latinLnBrk="0" hangingPunct="1">
                <a:lnSpc>
                  <a:spcPct val="13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lumMod val="85000"/>
                      <a:lumOff val="15000"/>
                    </a:srgbClr>
                  </a:solidFill>
                  <a:effectLst/>
                  <a:uLnTx/>
                  <a:uFillTx/>
                  <a:latin typeface="等线 Light" panose="020F0302020204030204"/>
                  <a:ea typeface="Open Sans Light" panose="020B0306030504020204" pitchFamily="34" charset="0"/>
                  <a:cs typeface="Poppins" panose="02000000000000000000" pitchFamily="2" charset="0"/>
                </a:rPr>
                <a:t>Option three</a:t>
              </a:r>
              <a:endParaRPr kumimoji="0" lang="en-US" sz="1800" b="1" i="0" u="none" strike="noStrike" kern="1200" cap="none" spc="0" normalizeH="0" baseline="30000" noProof="0" dirty="0">
                <a:ln>
                  <a:noFill/>
                </a:ln>
                <a:solidFill>
                  <a:srgbClr val="000000">
                    <a:lumMod val="85000"/>
                    <a:lumOff val="15000"/>
                  </a:srgbClr>
                </a:solidFill>
                <a:effectLst/>
                <a:uLnTx/>
                <a:uFillTx/>
                <a:latin typeface="等线 Light" panose="020F0302020204030204"/>
                <a:ea typeface="Open Sans Light" panose="020B0306030504020204" pitchFamily="34" charset="0"/>
                <a:cs typeface="Poppins" panose="02000000000000000000" pitchFamily="2" charset="0"/>
              </a:endParaRPr>
            </a:p>
          </p:txBody>
        </p:sp>
      </p:grpSp>
      <p:grpSp>
        <p:nvGrpSpPr>
          <p:cNvPr id="23" name="Group 64">
            <a:extLst>
              <a:ext uri="{FF2B5EF4-FFF2-40B4-BE49-F238E27FC236}">
                <a16:creationId xmlns:a16="http://schemas.microsoft.com/office/drawing/2014/main" id="{C3D87E88-D8E4-414B-94C1-270334111D4E}"/>
              </a:ext>
            </a:extLst>
          </p:cNvPr>
          <p:cNvGrpSpPr/>
          <p:nvPr/>
        </p:nvGrpSpPr>
        <p:grpSpPr>
          <a:xfrm>
            <a:off x="7083646" y="4868174"/>
            <a:ext cx="2358824" cy="1262523"/>
            <a:chOff x="6630902" y="1075295"/>
            <a:chExt cx="2358824" cy="1262523"/>
          </a:xfrm>
        </p:grpSpPr>
        <p:sp>
          <p:nvSpPr>
            <p:cNvPr id="24" name="Rectangle 65">
              <a:extLst>
                <a:ext uri="{FF2B5EF4-FFF2-40B4-BE49-F238E27FC236}">
                  <a16:creationId xmlns:a16="http://schemas.microsoft.com/office/drawing/2014/main" id="{0AFD8ECC-775A-4F5E-96E0-9A51C6732662}"/>
                </a:ext>
              </a:extLst>
            </p:cNvPr>
            <p:cNvSpPr/>
            <p:nvPr/>
          </p:nvSpPr>
          <p:spPr>
            <a:xfrm>
              <a:off x="6882362" y="1550230"/>
              <a:ext cx="1855904" cy="787588"/>
            </a:xfrm>
            <a:prstGeom prst="rect">
              <a:avLst/>
            </a:prstGeom>
          </p:spPr>
          <p:txBody>
            <a:bodyPr wrap="square">
              <a:spAutoFit/>
            </a:bodyPr>
            <a:lstStyle/>
            <a:p>
              <a:pPr marL="0" marR="0" lvl="0" indent="0" algn="ctr" defTabSz="914400" rtl="0" eaLnBrk="1" fontAlgn="auto" latinLnBrk="0" hangingPunct="1">
                <a:lnSpc>
                  <a:spcPct val="13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lumMod val="50000"/>
                      <a:lumOff val="50000"/>
                    </a:srgbClr>
                  </a:solidFill>
                  <a:effectLst/>
                  <a:uLnTx/>
                  <a:uFillTx/>
                  <a:latin typeface="等线" panose="020F0502020204030204"/>
                  <a:ea typeface="Open Sans Light" panose="020B0306030504020204" pitchFamily="34" charset="0"/>
                  <a:cs typeface="Segoe UI" panose="020B0502040204020203" pitchFamily="34" charset="0"/>
                </a:rPr>
                <a:t>Their pronunciation and their most common words. </a:t>
              </a:r>
            </a:p>
          </p:txBody>
        </p:sp>
        <p:sp>
          <p:nvSpPr>
            <p:cNvPr id="25" name="Rectangle 66">
              <a:extLst>
                <a:ext uri="{FF2B5EF4-FFF2-40B4-BE49-F238E27FC236}">
                  <a16:creationId xmlns:a16="http://schemas.microsoft.com/office/drawing/2014/main" id="{506766E5-7814-4295-B0B4-94E6493BEE6B}"/>
                </a:ext>
              </a:extLst>
            </p:cNvPr>
            <p:cNvSpPr/>
            <p:nvPr/>
          </p:nvSpPr>
          <p:spPr>
            <a:xfrm>
              <a:off x="6630902" y="1075295"/>
              <a:ext cx="2358824" cy="414985"/>
            </a:xfrm>
            <a:prstGeom prst="rect">
              <a:avLst/>
            </a:prstGeom>
          </p:spPr>
          <p:txBody>
            <a:bodyPr wrap="square">
              <a:spAutoFit/>
            </a:bodyPr>
            <a:lstStyle/>
            <a:p>
              <a:pPr marL="0" marR="0" lvl="0" indent="0" algn="ctr" defTabSz="914400" rtl="0" eaLnBrk="1" fontAlgn="auto" latinLnBrk="0" hangingPunct="1">
                <a:lnSpc>
                  <a:spcPct val="13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lumMod val="85000"/>
                      <a:lumOff val="15000"/>
                    </a:srgbClr>
                  </a:solidFill>
                  <a:effectLst/>
                  <a:uLnTx/>
                  <a:uFillTx/>
                  <a:latin typeface="等线 Light" panose="020F0302020204030204"/>
                  <a:ea typeface="Open Sans Light" panose="020B0306030504020204" pitchFamily="34" charset="0"/>
                  <a:cs typeface="Poppins" panose="02000000000000000000" pitchFamily="2" charset="0"/>
                </a:rPr>
                <a:t>Option four</a:t>
              </a:r>
              <a:endParaRPr kumimoji="0" lang="en-US" sz="1800" b="1" i="0" u="none" strike="noStrike" kern="1200" cap="none" spc="0" normalizeH="0" baseline="30000" noProof="0" dirty="0">
                <a:ln>
                  <a:noFill/>
                </a:ln>
                <a:solidFill>
                  <a:srgbClr val="000000">
                    <a:lumMod val="85000"/>
                    <a:lumOff val="15000"/>
                  </a:srgbClr>
                </a:solidFill>
                <a:effectLst/>
                <a:uLnTx/>
                <a:uFillTx/>
                <a:latin typeface="等线 Light" panose="020F0302020204030204"/>
                <a:ea typeface="Open Sans Light" panose="020B0306030504020204" pitchFamily="34" charset="0"/>
                <a:cs typeface="Poppins" panose="02000000000000000000" pitchFamily="2" charset="0"/>
              </a:endParaRPr>
            </a:p>
          </p:txBody>
        </p:sp>
      </p:grpSp>
      <p:grpSp>
        <p:nvGrpSpPr>
          <p:cNvPr id="26" name="Group 67">
            <a:extLst>
              <a:ext uri="{FF2B5EF4-FFF2-40B4-BE49-F238E27FC236}">
                <a16:creationId xmlns:a16="http://schemas.microsoft.com/office/drawing/2014/main" id="{2CB9ECBD-2C79-434E-924D-597798E36A79}"/>
              </a:ext>
            </a:extLst>
          </p:cNvPr>
          <p:cNvGrpSpPr/>
          <p:nvPr/>
        </p:nvGrpSpPr>
        <p:grpSpPr>
          <a:xfrm>
            <a:off x="9362641" y="4868174"/>
            <a:ext cx="2358824" cy="1262523"/>
            <a:chOff x="6630902" y="1075295"/>
            <a:chExt cx="2358824" cy="1262523"/>
          </a:xfrm>
        </p:grpSpPr>
        <p:sp>
          <p:nvSpPr>
            <p:cNvPr id="27" name="Rectangle 68">
              <a:extLst>
                <a:ext uri="{FF2B5EF4-FFF2-40B4-BE49-F238E27FC236}">
                  <a16:creationId xmlns:a16="http://schemas.microsoft.com/office/drawing/2014/main" id="{752C0C56-4F94-4938-B569-71179A1043B9}"/>
                </a:ext>
              </a:extLst>
            </p:cNvPr>
            <p:cNvSpPr/>
            <p:nvPr/>
          </p:nvSpPr>
          <p:spPr>
            <a:xfrm>
              <a:off x="6882362" y="1550230"/>
              <a:ext cx="1855904" cy="787588"/>
            </a:xfrm>
            <a:prstGeom prst="rect">
              <a:avLst/>
            </a:prstGeom>
          </p:spPr>
          <p:txBody>
            <a:bodyPr wrap="square">
              <a:spAutoFit/>
            </a:bodyPr>
            <a:lstStyle/>
            <a:p>
              <a:pPr marL="0" marR="0" lvl="0" indent="0" algn="ctr" defTabSz="914400" rtl="0" eaLnBrk="1" fontAlgn="auto" latinLnBrk="0" hangingPunct="1">
                <a:lnSpc>
                  <a:spcPct val="13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lumMod val="50000"/>
                      <a:lumOff val="50000"/>
                    </a:srgbClr>
                  </a:solidFill>
                  <a:effectLst/>
                  <a:uLnTx/>
                  <a:uFillTx/>
                  <a:latin typeface="等线" panose="020F0502020204030204"/>
                  <a:ea typeface="Open Sans Light" panose="020B0306030504020204" pitchFamily="34" charset="0"/>
                  <a:cs typeface="Segoe UI" panose="020B0502040204020203" pitchFamily="34" charset="0"/>
                </a:rPr>
                <a:t>Their pronunciation and their most common words. </a:t>
              </a:r>
            </a:p>
          </p:txBody>
        </p:sp>
        <p:sp>
          <p:nvSpPr>
            <p:cNvPr id="28" name="Rectangle 69">
              <a:extLst>
                <a:ext uri="{FF2B5EF4-FFF2-40B4-BE49-F238E27FC236}">
                  <a16:creationId xmlns:a16="http://schemas.microsoft.com/office/drawing/2014/main" id="{E3220424-0F50-4CB7-8AD1-5CB761FC6641}"/>
                </a:ext>
              </a:extLst>
            </p:cNvPr>
            <p:cNvSpPr/>
            <p:nvPr/>
          </p:nvSpPr>
          <p:spPr>
            <a:xfrm>
              <a:off x="6630902" y="1075295"/>
              <a:ext cx="2358824" cy="414985"/>
            </a:xfrm>
            <a:prstGeom prst="rect">
              <a:avLst/>
            </a:prstGeom>
          </p:spPr>
          <p:txBody>
            <a:bodyPr wrap="square">
              <a:spAutoFit/>
            </a:bodyPr>
            <a:lstStyle/>
            <a:p>
              <a:pPr marL="0" marR="0" lvl="0" indent="0" algn="ctr" defTabSz="914400" rtl="0" eaLnBrk="1" fontAlgn="auto" latinLnBrk="0" hangingPunct="1">
                <a:lnSpc>
                  <a:spcPct val="13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lumMod val="85000"/>
                      <a:lumOff val="15000"/>
                    </a:srgbClr>
                  </a:solidFill>
                  <a:effectLst/>
                  <a:uLnTx/>
                  <a:uFillTx/>
                  <a:latin typeface="等线 Light" panose="020F0302020204030204"/>
                  <a:ea typeface="Open Sans Light" panose="020B0306030504020204" pitchFamily="34" charset="0"/>
                  <a:cs typeface="Poppins" panose="02000000000000000000" pitchFamily="2" charset="0"/>
                </a:rPr>
                <a:t>Option five</a:t>
              </a:r>
              <a:endParaRPr kumimoji="0" lang="en-US" sz="1800" b="1" i="0" u="none" strike="noStrike" kern="1200" cap="none" spc="0" normalizeH="0" baseline="30000" noProof="0" dirty="0">
                <a:ln>
                  <a:noFill/>
                </a:ln>
                <a:solidFill>
                  <a:srgbClr val="000000">
                    <a:lumMod val="85000"/>
                    <a:lumOff val="15000"/>
                  </a:srgbClr>
                </a:solidFill>
                <a:effectLst/>
                <a:uLnTx/>
                <a:uFillTx/>
                <a:latin typeface="等线 Light" panose="020F0302020204030204"/>
                <a:ea typeface="Open Sans Light" panose="020B0306030504020204" pitchFamily="34" charset="0"/>
                <a:cs typeface="Poppins" panose="02000000000000000000" pitchFamily="2" charset="0"/>
              </a:endParaRPr>
            </a:p>
          </p:txBody>
        </p:sp>
      </p:grpSp>
      <p:grpSp>
        <p:nvGrpSpPr>
          <p:cNvPr id="29" name="Group 3">
            <a:extLst>
              <a:ext uri="{FF2B5EF4-FFF2-40B4-BE49-F238E27FC236}">
                <a16:creationId xmlns:a16="http://schemas.microsoft.com/office/drawing/2014/main" id="{63B61493-8D06-4240-B673-8A7F241F5315}"/>
              </a:ext>
            </a:extLst>
          </p:cNvPr>
          <p:cNvGrpSpPr/>
          <p:nvPr/>
        </p:nvGrpSpPr>
        <p:grpSpPr>
          <a:xfrm>
            <a:off x="907174" y="4178300"/>
            <a:ext cx="1036507" cy="650546"/>
            <a:chOff x="907174" y="4178300"/>
            <a:chExt cx="1036507" cy="650546"/>
          </a:xfrm>
        </p:grpSpPr>
        <p:sp>
          <p:nvSpPr>
            <p:cNvPr id="30" name="Freeform: Shape 96">
              <a:extLst>
                <a:ext uri="{FF2B5EF4-FFF2-40B4-BE49-F238E27FC236}">
                  <a16:creationId xmlns:a16="http://schemas.microsoft.com/office/drawing/2014/main" id="{0E26E98F-6633-4E16-9FAC-1B1F62F72FF8}"/>
                </a:ext>
              </a:extLst>
            </p:cNvPr>
            <p:cNvSpPr/>
            <p:nvPr/>
          </p:nvSpPr>
          <p:spPr>
            <a:xfrm>
              <a:off x="908701" y="4178300"/>
              <a:ext cx="1034980" cy="381000"/>
            </a:xfrm>
            <a:custGeom>
              <a:avLst/>
              <a:gdLst>
                <a:gd name="connsiteX0" fmla="*/ 570261 w 1034980"/>
                <a:gd name="connsiteY0" fmla="*/ 0 h 381000"/>
                <a:gd name="connsiteX1" fmla="*/ 584006 w 1034980"/>
                <a:gd name="connsiteY1" fmla="*/ 0 h 381000"/>
                <a:gd name="connsiteX2" fmla="*/ 590879 w 1034980"/>
                <a:gd name="connsiteY2" fmla="*/ 530 h 381000"/>
                <a:gd name="connsiteX3" fmla="*/ 596693 w 1034980"/>
                <a:gd name="connsiteY3" fmla="*/ 2119 h 381000"/>
                <a:gd name="connsiteX4" fmla="*/ 603037 w 1034980"/>
                <a:gd name="connsiteY4" fmla="*/ 3708 h 381000"/>
                <a:gd name="connsiteX5" fmla="*/ 608324 w 1034980"/>
                <a:gd name="connsiteY5" fmla="*/ 5827 h 381000"/>
                <a:gd name="connsiteX6" fmla="*/ 618897 w 1034980"/>
                <a:gd name="connsiteY6" fmla="*/ 11123 h 381000"/>
                <a:gd name="connsiteX7" fmla="*/ 628941 w 1034980"/>
                <a:gd name="connsiteY7" fmla="*/ 17480 h 381000"/>
                <a:gd name="connsiteX8" fmla="*/ 638985 w 1034980"/>
                <a:gd name="connsiteY8" fmla="*/ 24895 h 381000"/>
                <a:gd name="connsiteX9" fmla="*/ 648501 w 1034980"/>
                <a:gd name="connsiteY9" fmla="*/ 32840 h 381000"/>
                <a:gd name="connsiteX10" fmla="*/ 667003 w 1034980"/>
                <a:gd name="connsiteY10" fmla="*/ 50320 h 381000"/>
                <a:gd name="connsiteX11" fmla="*/ 686034 w 1034980"/>
                <a:gd name="connsiteY11" fmla="*/ 68329 h 381000"/>
                <a:gd name="connsiteX12" fmla="*/ 696079 w 1034980"/>
                <a:gd name="connsiteY12" fmla="*/ 77863 h 381000"/>
                <a:gd name="connsiteX13" fmla="*/ 705065 w 1034980"/>
                <a:gd name="connsiteY13" fmla="*/ 85808 h 381000"/>
                <a:gd name="connsiteX14" fmla="*/ 715110 w 1034980"/>
                <a:gd name="connsiteY14" fmla="*/ 93753 h 381000"/>
                <a:gd name="connsiteX15" fmla="*/ 725683 w 1034980"/>
                <a:gd name="connsiteY15" fmla="*/ 100639 h 381000"/>
                <a:gd name="connsiteX16" fmla="*/ 735727 w 1034980"/>
                <a:gd name="connsiteY16" fmla="*/ 106465 h 381000"/>
                <a:gd name="connsiteX17" fmla="*/ 746828 w 1034980"/>
                <a:gd name="connsiteY17" fmla="*/ 111762 h 381000"/>
                <a:gd name="connsiteX18" fmla="*/ 752115 w 1034980"/>
                <a:gd name="connsiteY18" fmla="*/ 113351 h 381000"/>
                <a:gd name="connsiteX19" fmla="*/ 757401 w 1034980"/>
                <a:gd name="connsiteY19" fmla="*/ 115999 h 381000"/>
                <a:gd name="connsiteX20" fmla="*/ 763745 w 1034980"/>
                <a:gd name="connsiteY20" fmla="*/ 116529 h 381000"/>
                <a:gd name="connsiteX21" fmla="*/ 769560 w 1034980"/>
                <a:gd name="connsiteY21" fmla="*/ 117059 h 381000"/>
                <a:gd name="connsiteX22" fmla="*/ 781719 w 1034980"/>
                <a:gd name="connsiteY22" fmla="*/ 118648 h 381000"/>
                <a:gd name="connsiteX23" fmla="*/ 793349 w 1034980"/>
                <a:gd name="connsiteY23" fmla="*/ 121296 h 381000"/>
                <a:gd name="connsiteX24" fmla="*/ 803922 w 1034980"/>
                <a:gd name="connsiteY24" fmla="*/ 125004 h 381000"/>
                <a:gd name="connsiteX25" fmla="*/ 814495 w 1034980"/>
                <a:gd name="connsiteY25" fmla="*/ 128712 h 381000"/>
                <a:gd name="connsiteX26" fmla="*/ 825068 w 1034980"/>
                <a:gd name="connsiteY26" fmla="*/ 133479 h 381000"/>
                <a:gd name="connsiteX27" fmla="*/ 835112 w 1034980"/>
                <a:gd name="connsiteY27" fmla="*/ 137716 h 381000"/>
                <a:gd name="connsiteX28" fmla="*/ 844099 w 1034980"/>
                <a:gd name="connsiteY28" fmla="*/ 144072 h 381000"/>
                <a:gd name="connsiteX29" fmla="*/ 853614 w 1034980"/>
                <a:gd name="connsiteY29" fmla="*/ 149899 h 381000"/>
                <a:gd name="connsiteX30" fmla="*/ 862601 w 1034980"/>
                <a:gd name="connsiteY30" fmla="*/ 156785 h 381000"/>
                <a:gd name="connsiteX31" fmla="*/ 871060 w 1034980"/>
                <a:gd name="connsiteY31" fmla="*/ 163670 h 381000"/>
                <a:gd name="connsiteX32" fmla="*/ 878460 w 1034980"/>
                <a:gd name="connsiteY32" fmla="*/ 171616 h 381000"/>
                <a:gd name="connsiteX33" fmla="*/ 886390 w 1034980"/>
                <a:gd name="connsiteY33" fmla="*/ 179031 h 381000"/>
                <a:gd name="connsiteX34" fmla="*/ 893263 w 1034980"/>
                <a:gd name="connsiteY34" fmla="*/ 186976 h 381000"/>
                <a:gd name="connsiteX35" fmla="*/ 900135 w 1034980"/>
                <a:gd name="connsiteY35" fmla="*/ 194921 h 381000"/>
                <a:gd name="connsiteX36" fmla="*/ 905950 w 1034980"/>
                <a:gd name="connsiteY36" fmla="*/ 203396 h 381000"/>
                <a:gd name="connsiteX37" fmla="*/ 911236 w 1034980"/>
                <a:gd name="connsiteY37" fmla="*/ 211871 h 381000"/>
                <a:gd name="connsiteX38" fmla="*/ 918109 w 1034980"/>
                <a:gd name="connsiteY38" fmla="*/ 220876 h 381000"/>
                <a:gd name="connsiteX39" fmla="*/ 927096 w 1034980"/>
                <a:gd name="connsiteY39" fmla="*/ 231999 h 381000"/>
                <a:gd name="connsiteX40" fmla="*/ 938197 w 1034980"/>
                <a:gd name="connsiteY40" fmla="*/ 243122 h 381000"/>
                <a:gd name="connsiteX41" fmla="*/ 950356 w 1034980"/>
                <a:gd name="connsiteY41" fmla="*/ 256364 h 381000"/>
                <a:gd name="connsiteX42" fmla="*/ 963043 w 1034980"/>
                <a:gd name="connsiteY42" fmla="*/ 270135 h 381000"/>
                <a:gd name="connsiteX43" fmla="*/ 976259 w 1034980"/>
                <a:gd name="connsiteY43" fmla="*/ 284966 h 381000"/>
                <a:gd name="connsiteX44" fmla="*/ 988947 w 1034980"/>
                <a:gd name="connsiteY44" fmla="*/ 300327 h 381000"/>
                <a:gd name="connsiteX45" fmla="*/ 1001106 w 1034980"/>
                <a:gd name="connsiteY45" fmla="*/ 316217 h 381000"/>
                <a:gd name="connsiteX46" fmla="*/ 1012736 w 1034980"/>
                <a:gd name="connsiteY46" fmla="*/ 333167 h 381000"/>
                <a:gd name="connsiteX47" fmla="*/ 1022251 w 1034980"/>
                <a:gd name="connsiteY47" fmla="*/ 349057 h 381000"/>
                <a:gd name="connsiteX48" fmla="*/ 1026481 w 1034980"/>
                <a:gd name="connsiteY48" fmla="*/ 357532 h 381000"/>
                <a:gd name="connsiteX49" fmla="*/ 1030181 w 1034980"/>
                <a:gd name="connsiteY49" fmla="*/ 366007 h 381000"/>
                <a:gd name="connsiteX50" fmla="*/ 1033353 w 1034980"/>
                <a:gd name="connsiteY50" fmla="*/ 374482 h 381000"/>
                <a:gd name="connsiteX51" fmla="*/ 1034980 w 1034980"/>
                <a:gd name="connsiteY51" fmla="*/ 381000 h 381000"/>
                <a:gd name="connsiteX52" fmla="*/ 0 w 1034980"/>
                <a:gd name="connsiteY52" fmla="*/ 381000 h 381000"/>
                <a:gd name="connsiteX53" fmla="*/ 4613 w 1034980"/>
                <a:gd name="connsiteY53" fmla="*/ 367596 h 381000"/>
                <a:gd name="connsiteX54" fmla="*/ 10957 w 1034980"/>
                <a:gd name="connsiteY54" fmla="*/ 352235 h 381000"/>
                <a:gd name="connsiteX55" fmla="*/ 17829 w 1034980"/>
                <a:gd name="connsiteY55" fmla="*/ 336875 h 381000"/>
                <a:gd name="connsiteX56" fmla="*/ 24702 w 1034980"/>
                <a:gd name="connsiteY56" fmla="*/ 322573 h 381000"/>
                <a:gd name="connsiteX57" fmla="*/ 32103 w 1034980"/>
                <a:gd name="connsiteY57" fmla="*/ 307213 h 381000"/>
                <a:gd name="connsiteX58" fmla="*/ 40561 w 1034980"/>
                <a:gd name="connsiteY58" fmla="*/ 292912 h 381000"/>
                <a:gd name="connsiteX59" fmla="*/ 49548 w 1034980"/>
                <a:gd name="connsiteY59" fmla="*/ 279140 h 381000"/>
                <a:gd name="connsiteX60" fmla="*/ 59592 w 1034980"/>
                <a:gd name="connsiteY60" fmla="*/ 265368 h 381000"/>
                <a:gd name="connsiteX61" fmla="*/ 70165 w 1034980"/>
                <a:gd name="connsiteY61" fmla="*/ 252126 h 381000"/>
                <a:gd name="connsiteX62" fmla="*/ 81795 w 1034980"/>
                <a:gd name="connsiteY62" fmla="*/ 239944 h 381000"/>
                <a:gd name="connsiteX63" fmla="*/ 92896 w 1034980"/>
                <a:gd name="connsiteY63" fmla="*/ 228821 h 381000"/>
                <a:gd name="connsiteX64" fmla="*/ 106113 w 1034980"/>
                <a:gd name="connsiteY64" fmla="*/ 218227 h 381000"/>
                <a:gd name="connsiteX65" fmla="*/ 119857 w 1034980"/>
                <a:gd name="connsiteY65" fmla="*/ 208693 h 381000"/>
                <a:gd name="connsiteX66" fmla="*/ 134659 w 1034980"/>
                <a:gd name="connsiteY66" fmla="*/ 199688 h 381000"/>
                <a:gd name="connsiteX67" fmla="*/ 149990 w 1034980"/>
                <a:gd name="connsiteY67" fmla="*/ 192803 h 381000"/>
                <a:gd name="connsiteX68" fmla="*/ 181180 w 1034980"/>
                <a:gd name="connsiteY68" fmla="*/ 179031 h 381000"/>
                <a:gd name="connsiteX69" fmla="*/ 210784 w 1034980"/>
                <a:gd name="connsiteY69" fmla="*/ 165259 h 381000"/>
                <a:gd name="connsiteX70" fmla="*/ 238274 w 1034980"/>
                <a:gd name="connsiteY70" fmla="*/ 151488 h 381000"/>
                <a:gd name="connsiteX71" fmla="*/ 264177 w 1034980"/>
                <a:gd name="connsiteY71" fmla="*/ 138776 h 381000"/>
                <a:gd name="connsiteX72" fmla="*/ 287966 w 1034980"/>
                <a:gd name="connsiteY72" fmla="*/ 125534 h 381000"/>
                <a:gd name="connsiteX73" fmla="*/ 310169 w 1034980"/>
                <a:gd name="connsiteY73" fmla="*/ 113351 h 381000"/>
                <a:gd name="connsiteX74" fmla="*/ 329729 w 1034980"/>
                <a:gd name="connsiteY74" fmla="*/ 101169 h 381000"/>
                <a:gd name="connsiteX75" fmla="*/ 348231 w 1034980"/>
                <a:gd name="connsiteY75" fmla="*/ 90575 h 381000"/>
                <a:gd name="connsiteX76" fmla="*/ 378364 w 1034980"/>
                <a:gd name="connsiteY76" fmla="*/ 70977 h 381000"/>
                <a:gd name="connsiteX77" fmla="*/ 399510 w 1034980"/>
                <a:gd name="connsiteY77" fmla="*/ 55616 h 381000"/>
                <a:gd name="connsiteX78" fmla="*/ 413254 w 1034980"/>
                <a:gd name="connsiteY78" fmla="*/ 45552 h 381000"/>
                <a:gd name="connsiteX79" fmla="*/ 418012 w 1034980"/>
                <a:gd name="connsiteY79" fmla="*/ 42374 h 381000"/>
                <a:gd name="connsiteX80" fmla="*/ 424356 w 1034980"/>
                <a:gd name="connsiteY80" fmla="*/ 39196 h 381000"/>
                <a:gd name="connsiteX81" fmla="*/ 440215 w 1034980"/>
                <a:gd name="connsiteY81" fmla="*/ 33370 h 381000"/>
                <a:gd name="connsiteX82" fmla="*/ 463476 w 1034980"/>
                <a:gd name="connsiteY82" fmla="*/ 24365 h 381000"/>
                <a:gd name="connsiteX83" fmla="*/ 492022 w 1034980"/>
                <a:gd name="connsiteY83" fmla="*/ 14301 h 381000"/>
                <a:gd name="connsiteX84" fmla="*/ 507882 w 1034980"/>
                <a:gd name="connsiteY84" fmla="*/ 10594 h 381000"/>
                <a:gd name="connsiteX85" fmla="*/ 523741 w 1034980"/>
                <a:gd name="connsiteY85" fmla="*/ 5827 h 381000"/>
                <a:gd name="connsiteX86" fmla="*/ 539600 w 1034980"/>
                <a:gd name="connsiteY86" fmla="*/ 2649 h 381000"/>
                <a:gd name="connsiteX87" fmla="*/ 554931 w 1034980"/>
                <a:gd name="connsiteY87" fmla="*/ 530 h 381000"/>
                <a:gd name="connsiteX88" fmla="*/ 570261 w 1034980"/>
                <a:gd name="connsiteY88" fmla="*/ 0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1034980" h="381000">
                  <a:moveTo>
                    <a:pt x="570261" y="0"/>
                  </a:moveTo>
                  <a:lnTo>
                    <a:pt x="584006" y="0"/>
                  </a:lnTo>
                  <a:lnTo>
                    <a:pt x="590879" y="530"/>
                  </a:lnTo>
                  <a:lnTo>
                    <a:pt x="596693" y="2119"/>
                  </a:lnTo>
                  <a:lnTo>
                    <a:pt x="603037" y="3708"/>
                  </a:lnTo>
                  <a:lnTo>
                    <a:pt x="608324" y="5827"/>
                  </a:lnTo>
                  <a:lnTo>
                    <a:pt x="618897" y="11123"/>
                  </a:lnTo>
                  <a:lnTo>
                    <a:pt x="628941" y="17480"/>
                  </a:lnTo>
                  <a:lnTo>
                    <a:pt x="638985" y="24895"/>
                  </a:lnTo>
                  <a:lnTo>
                    <a:pt x="648501" y="32840"/>
                  </a:lnTo>
                  <a:lnTo>
                    <a:pt x="667003" y="50320"/>
                  </a:lnTo>
                  <a:lnTo>
                    <a:pt x="686034" y="68329"/>
                  </a:lnTo>
                  <a:lnTo>
                    <a:pt x="696079" y="77863"/>
                  </a:lnTo>
                  <a:lnTo>
                    <a:pt x="705065" y="85808"/>
                  </a:lnTo>
                  <a:lnTo>
                    <a:pt x="715110" y="93753"/>
                  </a:lnTo>
                  <a:lnTo>
                    <a:pt x="725683" y="100639"/>
                  </a:lnTo>
                  <a:lnTo>
                    <a:pt x="735727" y="106465"/>
                  </a:lnTo>
                  <a:lnTo>
                    <a:pt x="746828" y="111762"/>
                  </a:lnTo>
                  <a:lnTo>
                    <a:pt x="752115" y="113351"/>
                  </a:lnTo>
                  <a:lnTo>
                    <a:pt x="757401" y="115999"/>
                  </a:lnTo>
                  <a:lnTo>
                    <a:pt x="763745" y="116529"/>
                  </a:lnTo>
                  <a:lnTo>
                    <a:pt x="769560" y="117059"/>
                  </a:lnTo>
                  <a:lnTo>
                    <a:pt x="781719" y="118648"/>
                  </a:lnTo>
                  <a:lnTo>
                    <a:pt x="793349" y="121296"/>
                  </a:lnTo>
                  <a:lnTo>
                    <a:pt x="803922" y="125004"/>
                  </a:lnTo>
                  <a:lnTo>
                    <a:pt x="814495" y="128712"/>
                  </a:lnTo>
                  <a:lnTo>
                    <a:pt x="825068" y="133479"/>
                  </a:lnTo>
                  <a:lnTo>
                    <a:pt x="835112" y="137716"/>
                  </a:lnTo>
                  <a:lnTo>
                    <a:pt x="844099" y="144072"/>
                  </a:lnTo>
                  <a:lnTo>
                    <a:pt x="853614" y="149899"/>
                  </a:lnTo>
                  <a:lnTo>
                    <a:pt x="862601" y="156785"/>
                  </a:lnTo>
                  <a:lnTo>
                    <a:pt x="871060" y="163670"/>
                  </a:lnTo>
                  <a:lnTo>
                    <a:pt x="878460" y="171616"/>
                  </a:lnTo>
                  <a:lnTo>
                    <a:pt x="886390" y="179031"/>
                  </a:lnTo>
                  <a:lnTo>
                    <a:pt x="893263" y="186976"/>
                  </a:lnTo>
                  <a:lnTo>
                    <a:pt x="900135" y="194921"/>
                  </a:lnTo>
                  <a:lnTo>
                    <a:pt x="905950" y="203396"/>
                  </a:lnTo>
                  <a:lnTo>
                    <a:pt x="911236" y="211871"/>
                  </a:lnTo>
                  <a:lnTo>
                    <a:pt x="918109" y="220876"/>
                  </a:lnTo>
                  <a:lnTo>
                    <a:pt x="927096" y="231999"/>
                  </a:lnTo>
                  <a:lnTo>
                    <a:pt x="938197" y="243122"/>
                  </a:lnTo>
                  <a:lnTo>
                    <a:pt x="950356" y="256364"/>
                  </a:lnTo>
                  <a:lnTo>
                    <a:pt x="963043" y="270135"/>
                  </a:lnTo>
                  <a:lnTo>
                    <a:pt x="976259" y="284966"/>
                  </a:lnTo>
                  <a:lnTo>
                    <a:pt x="988947" y="300327"/>
                  </a:lnTo>
                  <a:lnTo>
                    <a:pt x="1001106" y="316217"/>
                  </a:lnTo>
                  <a:lnTo>
                    <a:pt x="1012736" y="333167"/>
                  </a:lnTo>
                  <a:lnTo>
                    <a:pt x="1022251" y="349057"/>
                  </a:lnTo>
                  <a:lnTo>
                    <a:pt x="1026481" y="357532"/>
                  </a:lnTo>
                  <a:lnTo>
                    <a:pt x="1030181" y="366007"/>
                  </a:lnTo>
                  <a:lnTo>
                    <a:pt x="1033353" y="374482"/>
                  </a:lnTo>
                  <a:lnTo>
                    <a:pt x="1034980" y="381000"/>
                  </a:lnTo>
                  <a:lnTo>
                    <a:pt x="0" y="381000"/>
                  </a:lnTo>
                  <a:lnTo>
                    <a:pt x="4613" y="367596"/>
                  </a:lnTo>
                  <a:lnTo>
                    <a:pt x="10957" y="352235"/>
                  </a:lnTo>
                  <a:lnTo>
                    <a:pt x="17829" y="336875"/>
                  </a:lnTo>
                  <a:lnTo>
                    <a:pt x="24702" y="322573"/>
                  </a:lnTo>
                  <a:lnTo>
                    <a:pt x="32103" y="307213"/>
                  </a:lnTo>
                  <a:lnTo>
                    <a:pt x="40561" y="292912"/>
                  </a:lnTo>
                  <a:lnTo>
                    <a:pt x="49548" y="279140"/>
                  </a:lnTo>
                  <a:lnTo>
                    <a:pt x="59592" y="265368"/>
                  </a:lnTo>
                  <a:lnTo>
                    <a:pt x="70165" y="252126"/>
                  </a:lnTo>
                  <a:lnTo>
                    <a:pt x="81795" y="239944"/>
                  </a:lnTo>
                  <a:lnTo>
                    <a:pt x="92896" y="228821"/>
                  </a:lnTo>
                  <a:lnTo>
                    <a:pt x="106113" y="218227"/>
                  </a:lnTo>
                  <a:lnTo>
                    <a:pt x="119857" y="208693"/>
                  </a:lnTo>
                  <a:lnTo>
                    <a:pt x="134659" y="199688"/>
                  </a:lnTo>
                  <a:lnTo>
                    <a:pt x="149990" y="192803"/>
                  </a:lnTo>
                  <a:lnTo>
                    <a:pt x="181180" y="179031"/>
                  </a:lnTo>
                  <a:lnTo>
                    <a:pt x="210784" y="165259"/>
                  </a:lnTo>
                  <a:lnTo>
                    <a:pt x="238274" y="151488"/>
                  </a:lnTo>
                  <a:lnTo>
                    <a:pt x="264177" y="138776"/>
                  </a:lnTo>
                  <a:lnTo>
                    <a:pt x="287966" y="125534"/>
                  </a:lnTo>
                  <a:lnTo>
                    <a:pt x="310169" y="113351"/>
                  </a:lnTo>
                  <a:lnTo>
                    <a:pt x="329729" y="101169"/>
                  </a:lnTo>
                  <a:lnTo>
                    <a:pt x="348231" y="90575"/>
                  </a:lnTo>
                  <a:lnTo>
                    <a:pt x="378364" y="70977"/>
                  </a:lnTo>
                  <a:lnTo>
                    <a:pt x="399510" y="55616"/>
                  </a:lnTo>
                  <a:lnTo>
                    <a:pt x="413254" y="45552"/>
                  </a:lnTo>
                  <a:lnTo>
                    <a:pt x="418012" y="42374"/>
                  </a:lnTo>
                  <a:lnTo>
                    <a:pt x="424356" y="39196"/>
                  </a:lnTo>
                  <a:lnTo>
                    <a:pt x="440215" y="33370"/>
                  </a:lnTo>
                  <a:lnTo>
                    <a:pt x="463476" y="24365"/>
                  </a:lnTo>
                  <a:lnTo>
                    <a:pt x="492022" y="14301"/>
                  </a:lnTo>
                  <a:lnTo>
                    <a:pt x="507882" y="10594"/>
                  </a:lnTo>
                  <a:lnTo>
                    <a:pt x="523741" y="5827"/>
                  </a:lnTo>
                  <a:lnTo>
                    <a:pt x="539600" y="2649"/>
                  </a:lnTo>
                  <a:lnTo>
                    <a:pt x="554931" y="530"/>
                  </a:lnTo>
                  <a:lnTo>
                    <a:pt x="570261"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a:ln>
                  <a:noFill/>
                </a:ln>
                <a:solidFill>
                  <a:srgbClr val="FFFFFF"/>
                </a:solidFill>
                <a:effectLst/>
                <a:uLnTx/>
                <a:uFillTx/>
                <a:latin typeface="等线" panose="020F0502020204030204"/>
                <a:ea typeface="+mn-ea"/>
                <a:cs typeface="+mn-cs"/>
              </a:endParaRPr>
            </a:p>
          </p:txBody>
        </p:sp>
        <p:sp>
          <p:nvSpPr>
            <p:cNvPr id="31" name="TextBox 146">
              <a:extLst>
                <a:ext uri="{FF2B5EF4-FFF2-40B4-BE49-F238E27FC236}">
                  <a16:creationId xmlns:a16="http://schemas.microsoft.com/office/drawing/2014/main" id="{359C0186-C3A5-4C33-9B32-981CAB5771E5}"/>
                </a:ext>
              </a:extLst>
            </p:cNvPr>
            <p:cNvSpPr txBox="1"/>
            <p:nvPr/>
          </p:nvSpPr>
          <p:spPr>
            <a:xfrm>
              <a:off x="907174" y="4367181"/>
              <a:ext cx="1036507"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dirty="0">
                  <a:ln>
                    <a:noFill/>
                  </a:ln>
                  <a:solidFill>
                    <a:srgbClr val="FFD229"/>
                  </a:solidFill>
                  <a:effectLst/>
                  <a:uLnTx/>
                  <a:uFillTx/>
                  <a:latin typeface="等线" panose="020F0502020204030204"/>
                  <a:ea typeface="+mn-ea"/>
                  <a:cs typeface="+mn-cs"/>
                </a:rPr>
                <a:t>01</a:t>
              </a:r>
            </a:p>
          </p:txBody>
        </p:sp>
      </p:grpSp>
      <p:grpSp>
        <p:nvGrpSpPr>
          <p:cNvPr id="32" name="Group 43">
            <a:extLst>
              <a:ext uri="{FF2B5EF4-FFF2-40B4-BE49-F238E27FC236}">
                <a16:creationId xmlns:a16="http://schemas.microsoft.com/office/drawing/2014/main" id="{AFB9EC10-8C69-4A9D-8484-C541BE26B9EA}"/>
              </a:ext>
            </a:extLst>
          </p:cNvPr>
          <p:cNvGrpSpPr/>
          <p:nvPr/>
        </p:nvGrpSpPr>
        <p:grpSpPr>
          <a:xfrm>
            <a:off x="262456" y="4868174"/>
            <a:ext cx="2358824" cy="1262523"/>
            <a:chOff x="6630902" y="1075295"/>
            <a:chExt cx="2358824" cy="1262523"/>
          </a:xfrm>
        </p:grpSpPr>
        <p:sp>
          <p:nvSpPr>
            <p:cNvPr id="33" name="Rectangle 44">
              <a:extLst>
                <a:ext uri="{FF2B5EF4-FFF2-40B4-BE49-F238E27FC236}">
                  <a16:creationId xmlns:a16="http://schemas.microsoft.com/office/drawing/2014/main" id="{C2B72CF5-0AF5-49FD-B839-7B83699A49E8}"/>
                </a:ext>
              </a:extLst>
            </p:cNvPr>
            <p:cNvSpPr/>
            <p:nvPr/>
          </p:nvSpPr>
          <p:spPr>
            <a:xfrm>
              <a:off x="6882362" y="1550230"/>
              <a:ext cx="1855904" cy="787588"/>
            </a:xfrm>
            <a:prstGeom prst="rect">
              <a:avLst/>
            </a:prstGeom>
          </p:spPr>
          <p:txBody>
            <a:bodyPr wrap="square">
              <a:spAutoFit/>
            </a:bodyPr>
            <a:lstStyle/>
            <a:p>
              <a:pPr marL="0" marR="0" lvl="0" indent="0" algn="ctr" defTabSz="914400" rtl="0" eaLnBrk="1" fontAlgn="auto" latinLnBrk="0" hangingPunct="1">
                <a:lnSpc>
                  <a:spcPct val="13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lumMod val="50000"/>
                      <a:lumOff val="50000"/>
                    </a:srgbClr>
                  </a:solidFill>
                  <a:effectLst/>
                  <a:uLnTx/>
                  <a:uFillTx/>
                  <a:latin typeface="等线" panose="020F0502020204030204"/>
                  <a:ea typeface="Open Sans Light" panose="020B0306030504020204" pitchFamily="34" charset="0"/>
                  <a:cs typeface="Segoe UI" panose="020B0502040204020203" pitchFamily="34" charset="0"/>
                </a:rPr>
                <a:t>Their pronunciation and their most common words. </a:t>
              </a:r>
            </a:p>
          </p:txBody>
        </p:sp>
        <p:sp>
          <p:nvSpPr>
            <p:cNvPr id="34" name="Rectangle 45">
              <a:extLst>
                <a:ext uri="{FF2B5EF4-FFF2-40B4-BE49-F238E27FC236}">
                  <a16:creationId xmlns:a16="http://schemas.microsoft.com/office/drawing/2014/main" id="{361A0B07-F027-4494-B027-608C97A223C8}"/>
                </a:ext>
              </a:extLst>
            </p:cNvPr>
            <p:cNvSpPr/>
            <p:nvPr/>
          </p:nvSpPr>
          <p:spPr>
            <a:xfrm>
              <a:off x="6630902" y="1075295"/>
              <a:ext cx="2358824" cy="414985"/>
            </a:xfrm>
            <a:prstGeom prst="rect">
              <a:avLst/>
            </a:prstGeom>
          </p:spPr>
          <p:txBody>
            <a:bodyPr wrap="square">
              <a:spAutoFit/>
            </a:bodyPr>
            <a:lstStyle/>
            <a:p>
              <a:pPr marL="0" marR="0" lvl="0" indent="0" algn="ctr" defTabSz="914400" rtl="0" eaLnBrk="1" fontAlgn="auto" latinLnBrk="0" hangingPunct="1">
                <a:lnSpc>
                  <a:spcPct val="13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lumMod val="85000"/>
                      <a:lumOff val="15000"/>
                    </a:srgbClr>
                  </a:solidFill>
                  <a:effectLst/>
                  <a:uLnTx/>
                  <a:uFillTx/>
                  <a:latin typeface="等线 Light" panose="020F0302020204030204"/>
                  <a:ea typeface="Open Sans Light" panose="020B0306030504020204" pitchFamily="34" charset="0"/>
                  <a:cs typeface="Poppins" panose="02000000000000000000" pitchFamily="2" charset="0"/>
                </a:rPr>
                <a:t>Option one</a:t>
              </a:r>
              <a:endParaRPr kumimoji="0" lang="en-US" sz="1800" b="1" i="0" u="none" strike="noStrike" kern="1200" cap="none" spc="0" normalizeH="0" baseline="30000" noProof="0" dirty="0">
                <a:ln>
                  <a:noFill/>
                </a:ln>
                <a:solidFill>
                  <a:srgbClr val="000000">
                    <a:lumMod val="85000"/>
                    <a:lumOff val="15000"/>
                  </a:srgbClr>
                </a:solidFill>
                <a:effectLst/>
                <a:uLnTx/>
                <a:uFillTx/>
                <a:latin typeface="等线 Light" panose="020F0302020204030204"/>
                <a:ea typeface="Open Sans Light" panose="020B0306030504020204" pitchFamily="34" charset="0"/>
                <a:cs typeface="Poppins" panose="02000000000000000000" pitchFamily="2" charset="0"/>
              </a:endParaRPr>
            </a:p>
          </p:txBody>
        </p:sp>
      </p:grpSp>
    </p:spTree>
    <p:extLst>
      <p:ext uri="{BB962C8B-B14F-4D97-AF65-F5344CB8AC3E}">
        <p14:creationId xmlns:p14="http://schemas.microsoft.com/office/powerpoint/2010/main" val="4061367611"/>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8" presetClass="entr" presetSubtype="12" fill="hold" nodeType="withEffect">
                                  <p:stCondLst>
                                    <p:cond delay="500"/>
                                  </p:stCondLst>
                                  <p:childTnLst>
                                    <p:set>
                                      <p:cBhvr>
                                        <p:cTn id="6" dur="1" fill="hold">
                                          <p:stCondLst>
                                            <p:cond delay="0"/>
                                          </p:stCondLst>
                                        </p:cTn>
                                        <p:tgtEl>
                                          <p:spTgt spid="32"/>
                                        </p:tgtEl>
                                        <p:attrNameLst>
                                          <p:attrName>style.visibility</p:attrName>
                                        </p:attrNameLst>
                                      </p:cBhvr>
                                      <p:to>
                                        <p:strVal val="visible"/>
                                      </p:to>
                                    </p:set>
                                    <p:animEffect transition="in" filter="strips(downLeft)">
                                      <p:cBhvr>
                                        <p:cTn id="7" dur="500"/>
                                        <p:tgtEl>
                                          <p:spTgt spid="32"/>
                                        </p:tgtEl>
                                      </p:cBhvr>
                                    </p:animEffect>
                                  </p:childTnLst>
                                </p:cTn>
                              </p:par>
                              <p:par>
                                <p:cTn id="8" presetID="6" presetClass="emph" presetSubtype="0" accel="52000" decel="48000" autoRev="1" fill="hold" nodeType="withEffect">
                                  <p:stCondLst>
                                    <p:cond delay="500"/>
                                  </p:stCondLst>
                                  <p:childTnLst>
                                    <p:animScale>
                                      <p:cBhvr>
                                        <p:cTn id="9" dur="500" fill="hold"/>
                                        <p:tgtEl>
                                          <p:spTgt spid="32"/>
                                        </p:tgtEl>
                                      </p:cBhvr>
                                      <p:by x="120000" y="120000"/>
                                    </p:animScale>
                                  </p:childTnLst>
                                </p:cTn>
                              </p:par>
                              <p:par>
                                <p:cTn id="10" presetID="18" presetClass="entr" presetSubtype="12" fill="hold" nodeType="withEffect">
                                  <p:stCondLst>
                                    <p:cond delay="750"/>
                                  </p:stCondLst>
                                  <p:childTnLst>
                                    <p:set>
                                      <p:cBhvr>
                                        <p:cTn id="11" dur="1" fill="hold">
                                          <p:stCondLst>
                                            <p:cond delay="0"/>
                                          </p:stCondLst>
                                        </p:cTn>
                                        <p:tgtEl>
                                          <p:spTgt spid="17"/>
                                        </p:tgtEl>
                                        <p:attrNameLst>
                                          <p:attrName>style.visibility</p:attrName>
                                        </p:attrNameLst>
                                      </p:cBhvr>
                                      <p:to>
                                        <p:strVal val="visible"/>
                                      </p:to>
                                    </p:set>
                                    <p:animEffect transition="in" filter="strips(downLeft)">
                                      <p:cBhvr>
                                        <p:cTn id="12" dur="500"/>
                                        <p:tgtEl>
                                          <p:spTgt spid="17"/>
                                        </p:tgtEl>
                                      </p:cBhvr>
                                    </p:animEffect>
                                  </p:childTnLst>
                                </p:cTn>
                              </p:par>
                              <p:par>
                                <p:cTn id="13" presetID="6" presetClass="emph" presetSubtype="0" accel="52000" decel="48000" autoRev="1" fill="hold" nodeType="withEffect">
                                  <p:stCondLst>
                                    <p:cond delay="750"/>
                                  </p:stCondLst>
                                  <p:childTnLst>
                                    <p:animScale>
                                      <p:cBhvr>
                                        <p:cTn id="14" dur="500" fill="hold"/>
                                        <p:tgtEl>
                                          <p:spTgt spid="17"/>
                                        </p:tgtEl>
                                      </p:cBhvr>
                                      <p:by x="120000" y="120000"/>
                                    </p:animScale>
                                  </p:childTnLst>
                                </p:cTn>
                              </p:par>
                              <p:par>
                                <p:cTn id="15" presetID="18" presetClass="entr" presetSubtype="12" fill="hold" nodeType="withEffect">
                                  <p:stCondLst>
                                    <p:cond delay="1000"/>
                                  </p:stCondLst>
                                  <p:childTnLst>
                                    <p:set>
                                      <p:cBhvr>
                                        <p:cTn id="16" dur="1" fill="hold">
                                          <p:stCondLst>
                                            <p:cond delay="0"/>
                                          </p:stCondLst>
                                        </p:cTn>
                                        <p:tgtEl>
                                          <p:spTgt spid="20"/>
                                        </p:tgtEl>
                                        <p:attrNameLst>
                                          <p:attrName>style.visibility</p:attrName>
                                        </p:attrNameLst>
                                      </p:cBhvr>
                                      <p:to>
                                        <p:strVal val="visible"/>
                                      </p:to>
                                    </p:set>
                                    <p:animEffect transition="in" filter="strips(downLeft)">
                                      <p:cBhvr>
                                        <p:cTn id="17" dur="500"/>
                                        <p:tgtEl>
                                          <p:spTgt spid="20"/>
                                        </p:tgtEl>
                                      </p:cBhvr>
                                    </p:animEffect>
                                  </p:childTnLst>
                                </p:cTn>
                              </p:par>
                              <p:par>
                                <p:cTn id="18" presetID="6" presetClass="emph" presetSubtype="0" accel="52000" decel="48000" autoRev="1" fill="hold" nodeType="withEffect">
                                  <p:stCondLst>
                                    <p:cond delay="1000"/>
                                  </p:stCondLst>
                                  <p:childTnLst>
                                    <p:animScale>
                                      <p:cBhvr>
                                        <p:cTn id="19" dur="500" fill="hold"/>
                                        <p:tgtEl>
                                          <p:spTgt spid="20"/>
                                        </p:tgtEl>
                                      </p:cBhvr>
                                      <p:by x="120000" y="120000"/>
                                    </p:animScale>
                                  </p:childTnLst>
                                </p:cTn>
                              </p:par>
                              <p:par>
                                <p:cTn id="20" presetID="18" presetClass="entr" presetSubtype="12" fill="hold" nodeType="withEffect">
                                  <p:stCondLst>
                                    <p:cond delay="1250"/>
                                  </p:stCondLst>
                                  <p:childTnLst>
                                    <p:set>
                                      <p:cBhvr>
                                        <p:cTn id="21" dur="1" fill="hold">
                                          <p:stCondLst>
                                            <p:cond delay="0"/>
                                          </p:stCondLst>
                                        </p:cTn>
                                        <p:tgtEl>
                                          <p:spTgt spid="23"/>
                                        </p:tgtEl>
                                        <p:attrNameLst>
                                          <p:attrName>style.visibility</p:attrName>
                                        </p:attrNameLst>
                                      </p:cBhvr>
                                      <p:to>
                                        <p:strVal val="visible"/>
                                      </p:to>
                                    </p:set>
                                    <p:animEffect transition="in" filter="strips(downLeft)">
                                      <p:cBhvr>
                                        <p:cTn id="22" dur="500"/>
                                        <p:tgtEl>
                                          <p:spTgt spid="23"/>
                                        </p:tgtEl>
                                      </p:cBhvr>
                                    </p:animEffect>
                                  </p:childTnLst>
                                </p:cTn>
                              </p:par>
                              <p:par>
                                <p:cTn id="23" presetID="6" presetClass="emph" presetSubtype="0" accel="52000" decel="48000" autoRev="1" fill="hold" nodeType="withEffect">
                                  <p:stCondLst>
                                    <p:cond delay="1250"/>
                                  </p:stCondLst>
                                  <p:childTnLst>
                                    <p:animScale>
                                      <p:cBhvr>
                                        <p:cTn id="24" dur="500" fill="hold"/>
                                        <p:tgtEl>
                                          <p:spTgt spid="23"/>
                                        </p:tgtEl>
                                      </p:cBhvr>
                                      <p:by x="120000" y="120000"/>
                                    </p:animScale>
                                  </p:childTnLst>
                                </p:cTn>
                              </p:par>
                              <p:par>
                                <p:cTn id="25" presetID="18" presetClass="entr" presetSubtype="12" fill="hold" nodeType="withEffect">
                                  <p:stCondLst>
                                    <p:cond delay="1500"/>
                                  </p:stCondLst>
                                  <p:childTnLst>
                                    <p:set>
                                      <p:cBhvr>
                                        <p:cTn id="26" dur="1" fill="hold">
                                          <p:stCondLst>
                                            <p:cond delay="0"/>
                                          </p:stCondLst>
                                        </p:cTn>
                                        <p:tgtEl>
                                          <p:spTgt spid="26"/>
                                        </p:tgtEl>
                                        <p:attrNameLst>
                                          <p:attrName>style.visibility</p:attrName>
                                        </p:attrNameLst>
                                      </p:cBhvr>
                                      <p:to>
                                        <p:strVal val="visible"/>
                                      </p:to>
                                    </p:set>
                                    <p:animEffect transition="in" filter="strips(downLeft)">
                                      <p:cBhvr>
                                        <p:cTn id="27" dur="500"/>
                                        <p:tgtEl>
                                          <p:spTgt spid="26"/>
                                        </p:tgtEl>
                                      </p:cBhvr>
                                    </p:animEffect>
                                  </p:childTnLst>
                                </p:cTn>
                              </p:par>
                              <p:par>
                                <p:cTn id="28" presetID="6" presetClass="emph" presetSubtype="0" accel="52000" decel="48000" autoRev="1" fill="hold" nodeType="withEffect">
                                  <p:stCondLst>
                                    <p:cond delay="1500"/>
                                  </p:stCondLst>
                                  <p:childTnLst>
                                    <p:animScale>
                                      <p:cBhvr>
                                        <p:cTn id="29" dur="500" fill="hold"/>
                                        <p:tgtEl>
                                          <p:spTgt spid="26"/>
                                        </p:tgtEl>
                                      </p:cBhvr>
                                      <p:by x="120000" y="120000"/>
                                    </p:animScale>
                                  </p:childTnLst>
                                </p:cTn>
                              </p:par>
                              <p:par>
                                <p:cTn id="30" presetID="2" presetClass="entr" presetSubtype="1" decel="100000" fill="hold" grpId="0" nodeType="withEffect">
                                  <p:stCondLst>
                                    <p:cond delay="0"/>
                                  </p:stCondLst>
                                  <p:childTnLst>
                                    <p:set>
                                      <p:cBhvr>
                                        <p:cTn id="31" dur="1" fill="hold">
                                          <p:stCondLst>
                                            <p:cond delay="0"/>
                                          </p:stCondLst>
                                        </p:cTn>
                                        <p:tgtEl>
                                          <p:spTgt spid="2"/>
                                        </p:tgtEl>
                                        <p:attrNameLst>
                                          <p:attrName>style.visibility</p:attrName>
                                        </p:attrNameLst>
                                      </p:cBhvr>
                                      <p:to>
                                        <p:strVal val="visible"/>
                                      </p:to>
                                    </p:set>
                                    <p:anim calcmode="lin" valueType="num">
                                      <p:cBhvr additive="base">
                                        <p:cTn id="32" dur="1000" fill="hold"/>
                                        <p:tgtEl>
                                          <p:spTgt spid="2"/>
                                        </p:tgtEl>
                                        <p:attrNameLst>
                                          <p:attrName>ppt_x</p:attrName>
                                        </p:attrNameLst>
                                      </p:cBhvr>
                                      <p:tavLst>
                                        <p:tav tm="0">
                                          <p:val>
                                            <p:strVal val="#ppt_x"/>
                                          </p:val>
                                        </p:tav>
                                        <p:tav tm="100000">
                                          <p:val>
                                            <p:strVal val="#ppt_x"/>
                                          </p:val>
                                        </p:tav>
                                      </p:tavLst>
                                    </p:anim>
                                    <p:anim calcmode="lin" valueType="num">
                                      <p:cBhvr additive="base">
                                        <p:cTn id="33" dur="1000" fill="hold"/>
                                        <p:tgtEl>
                                          <p:spTgt spid="2"/>
                                        </p:tgtEl>
                                        <p:attrNameLst>
                                          <p:attrName>ppt_y</p:attrName>
                                        </p:attrNameLst>
                                      </p:cBhvr>
                                      <p:tavLst>
                                        <p:tav tm="0">
                                          <p:val>
                                            <p:strVal val="0-#ppt_h/2"/>
                                          </p:val>
                                        </p:tav>
                                        <p:tav tm="100000">
                                          <p:val>
                                            <p:strVal val="#ppt_y"/>
                                          </p:val>
                                        </p:tav>
                                      </p:tavLst>
                                    </p:anim>
                                  </p:childTnLst>
                                </p:cTn>
                              </p:par>
                              <p:par>
                                <p:cTn id="34" presetID="18" presetClass="entr" presetSubtype="3" fill="hold" grpId="0" nodeType="withEffect">
                                  <p:stCondLst>
                                    <p:cond delay="250"/>
                                  </p:stCondLst>
                                  <p:childTnLst>
                                    <p:set>
                                      <p:cBhvr>
                                        <p:cTn id="35" dur="1" fill="hold">
                                          <p:stCondLst>
                                            <p:cond delay="0"/>
                                          </p:stCondLst>
                                        </p:cTn>
                                        <p:tgtEl>
                                          <p:spTgt spid="3"/>
                                        </p:tgtEl>
                                        <p:attrNameLst>
                                          <p:attrName>style.visibility</p:attrName>
                                        </p:attrNameLst>
                                      </p:cBhvr>
                                      <p:to>
                                        <p:strVal val="visible"/>
                                      </p:to>
                                    </p:set>
                                    <p:animEffect transition="in" filter="strips(upRight)">
                                      <p:cBhvr>
                                        <p:cTn id="36" dur="500"/>
                                        <p:tgtEl>
                                          <p:spTgt spid="3"/>
                                        </p:tgtEl>
                                      </p:cBhvr>
                                    </p:animEffect>
                                  </p:childTnLst>
                                </p:cTn>
                              </p:par>
                              <p:par>
                                <p:cTn id="37" presetID="6" presetClass="emph" presetSubtype="0" accel="52000" decel="48000" autoRev="1" fill="hold" grpId="1" nodeType="withEffect">
                                  <p:stCondLst>
                                    <p:cond delay="250"/>
                                  </p:stCondLst>
                                  <p:childTnLst>
                                    <p:animScale>
                                      <p:cBhvr>
                                        <p:cTn id="38" dur="350" fill="hold"/>
                                        <p:tgtEl>
                                          <p:spTgt spid="3"/>
                                        </p:tgtEl>
                                      </p:cBhvr>
                                      <p:by x="110000" y="110000"/>
                                    </p:animScale>
                                  </p:childTnLst>
                                </p:cTn>
                              </p:par>
                              <p:par>
                                <p:cTn id="39" presetID="18" presetClass="entr" presetSubtype="3" fill="hold" grpId="0" nodeType="withEffect">
                                  <p:stCondLst>
                                    <p:cond delay="250"/>
                                  </p:stCondLst>
                                  <p:childTnLst>
                                    <p:set>
                                      <p:cBhvr>
                                        <p:cTn id="40" dur="1" fill="hold">
                                          <p:stCondLst>
                                            <p:cond delay="0"/>
                                          </p:stCondLst>
                                        </p:cTn>
                                        <p:tgtEl>
                                          <p:spTgt spid="4"/>
                                        </p:tgtEl>
                                        <p:attrNameLst>
                                          <p:attrName>style.visibility</p:attrName>
                                        </p:attrNameLst>
                                      </p:cBhvr>
                                      <p:to>
                                        <p:strVal val="visible"/>
                                      </p:to>
                                    </p:set>
                                    <p:animEffect transition="in" filter="strips(upRight)">
                                      <p:cBhvr>
                                        <p:cTn id="41" dur="500"/>
                                        <p:tgtEl>
                                          <p:spTgt spid="4"/>
                                        </p:tgtEl>
                                      </p:cBhvr>
                                    </p:animEffect>
                                  </p:childTnLst>
                                </p:cTn>
                              </p:par>
                              <p:par>
                                <p:cTn id="42" presetID="6" presetClass="emph" presetSubtype="0" accel="52000" decel="48000" autoRev="1" fill="hold" grpId="1" nodeType="withEffect">
                                  <p:stCondLst>
                                    <p:cond delay="250"/>
                                  </p:stCondLst>
                                  <p:childTnLst>
                                    <p:animScale>
                                      <p:cBhvr>
                                        <p:cTn id="43" dur="350" fill="hold"/>
                                        <p:tgtEl>
                                          <p:spTgt spid="4"/>
                                        </p:tgtEl>
                                      </p:cBhvr>
                                      <p:by x="110000" y="110000"/>
                                    </p:animScale>
                                  </p:childTnLst>
                                </p:cTn>
                              </p:par>
                              <p:par>
                                <p:cTn id="44" presetID="18" presetClass="entr" presetSubtype="3" fill="hold" nodeType="withEffect">
                                  <p:stCondLst>
                                    <p:cond delay="500"/>
                                  </p:stCondLst>
                                  <p:childTnLst>
                                    <p:set>
                                      <p:cBhvr>
                                        <p:cTn id="45" dur="1" fill="hold">
                                          <p:stCondLst>
                                            <p:cond delay="0"/>
                                          </p:stCondLst>
                                        </p:cTn>
                                        <p:tgtEl>
                                          <p:spTgt spid="29"/>
                                        </p:tgtEl>
                                        <p:attrNameLst>
                                          <p:attrName>style.visibility</p:attrName>
                                        </p:attrNameLst>
                                      </p:cBhvr>
                                      <p:to>
                                        <p:strVal val="visible"/>
                                      </p:to>
                                    </p:set>
                                    <p:animEffect transition="in" filter="strips(upRight)">
                                      <p:cBhvr>
                                        <p:cTn id="46" dur="500"/>
                                        <p:tgtEl>
                                          <p:spTgt spid="29"/>
                                        </p:tgtEl>
                                      </p:cBhvr>
                                    </p:animEffect>
                                  </p:childTnLst>
                                </p:cTn>
                              </p:par>
                              <p:par>
                                <p:cTn id="47" presetID="6" presetClass="emph" presetSubtype="0" accel="52000" decel="48000" autoRev="1" fill="hold" nodeType="withEffect">
                                  <p:stCondLst>
                                    <p:cond delay="500"/>
                                  </p:stCondLst>
                                  <p:childTnLst>
                                    <p:animScale>
                                      <p:cBhvr>
                                        <p:cTn id="48" dur="350" fill="hold"/>
                                        <p:tgtEl>
                                          <p:spTgt spid="29"/>
                                        </p:tgtEl>
                                      </p:cBhvr>
                                      <p:by x="110000" y="110000"/>
                                    </p:animScale>
                                  </p:childTnLst>
                                </p:cTn>
                              </p:par>
                              <p:par>
                                <p:cTn id="49" presetID="18" presetClass="entr" presetSubtype="3" fill="hold" nodeType="withEffect">
                                  <p:stCondLst>
                                    <p:cond delay="750"/>
                                  </p:stCondLst>
                                  <p:childTnLst>
                                    <p:set>
                                      <p:cBhvr>
                                        <p:cTn id="50" dur="1" fill="hold">
                                          <p:stCondLst>
                                            <p:cond delay="0"/>
                                          </p:stCondLst>
                                        </p:cTn>
                                        <p:tgtEl>
                                          <p:spTgt spid="5"/>
                                        </p:tgtEl>
                                        <p:attrNameLst>
                                          <p:attrName>style.visibility</p:attrName>
                                        </p:attrNameLst>
                                      </p:cBhvr>
                                      <p:to>
                                        <p:strVal val="visible"/>
                                      </p:to>
                                    </p:set>
                                    <p:animEffect transition="in" filter="strips(upRight)">
                                      <p:cBhvr>
                                        <p:cTn id="51" dur="500"/>
                                        <p:tgtEl>
                                          <p:spTgt spid="5"/>
                                        </p:tgtEl>
                                      </p:cBhvr>
                                    </p:animEffect>
                                  </p:childTnLst>
                                </p:cTn>
                              </p:par>
                              <p:par>
                                <p:cTn id="52" presetID="6" presetClass="emph" presetSubtype="0" accel="52000" decel="48000" autoRev="1" fill="hold" nodeType="withEffect">
                                  <p:stCondLst>
                                    <p:cond delay="750"/>
                                  </p:stCondLst>
                                  <p:childTnLst>
                                    <p:animScale>
                                      <p:cBhvr>
                                        <p:cTn id="53" dur="350" fill="hold"/>
                                        <p:tgtEl>
                                          <p:spTgt spid="5"/>
                                        </p:tgtEl>
                                      </p:cBhvr>
                                      <p:by x="110000" y="110000"/>
                                    </p:animScale>
                                  </p:childTnLst>
                                </p:cTn>
                              </p:par>
                              <p:par>
                                <p:cTn id="54" presetID="18" presetClass="entr" presetSubtype="3" fill="hold" nodeType="withEffect">
                                  <p:stCondLst>
                                    <p:cond delay="1000"/>
                                  </p:stCondLst>
                                  <p:childTnLst>
                                    <p:set>
                                      <p:cBhvr>
                                        <p:cTn id="55" dur="1" fill="hold">
                                          <p:stCondLst>
                                            <p:cond delay="0"/>
                                          </p:stCondLst>
                                        </p:cTn>
                                        <p:tgtEl>
                                          <p:spTgt spid="8"/>
                                        </p:tgtEl>
                                        <p:attrNameLst>
                                          <p:attrName>style.visibility</p:attrName>
                                        </p:attrNameLst>
                                      </p:cBhvr>
                                      <p:to>
                                        <p:strVal val="visible"/>
                                      </p:to>
                                    </p:set>
                                    <p:animEffect transition="in" filter="strips(upRight)">
                                      <p:cBhvr>
                                        <p:cTn id="56" dur="500"/>
                                        <p:tgtEl>
                                          <p:spTgt spid="8"/>
                                        </p:tgtEl>
                                      </p:cBhvr>
                                    </p:animEffect>
                                  </p:childTnLst>
                                </p:cTn>
                              </p:par>
                              <p:par>
                                <p:cTn id="57" presetID="6" presetClass="emph" presetSubtype="0" accel="52000" decel="48000" autoRev="1" fill="hold" nodeType="withEffect">
                                  <p:stCondLst>
                                    <p:cond delay="1000"/>
                                  </p:stCondLst>
                                  <p:childTnLst>
                                    <p:animScale>
                                      <p:cBhvr>
                                        <p:cTn id="58" dur="350" fill="hold"/>
                                        <p:tgtEl>
                                          <p:spTgt spid="8"/>
                                        </p:tgtEl>
                                      </p:cBhvr>
                                      <p:by x="110000" y="110000"/>
                                    </p:animScale>
                                  </p:childTnLst>
                                </p:cTn>
                              </p:par>
                              <p:par>
                                <p:cTn id="59" presetID="18" presetClass="entr" presetSubtype="3" fill="hold" nodeType="withEffect">
                                  <p:stCondLst>
                                    <p:cond delay="1250"/>
                                  </p:stCondLst>
                                  <p:childTnLst>
                                    <p:set>
                                      <p:cBhvr>
                                        <p:cTn id="60" dur="1" fill="hold">
                                          <p:stCondLst>
                                            <p:cond delay="0"/>
                                          </p:stCondLst>
                                        </p:cTn>
                                        <p:tgtEl>
                                          <p:spTgt spid="11"/>
                                        </p:tgtEl>
                                        <p:attrNameLst>
                                          <p:attrName>style.visibility</p:attrName>
                                        </p:attrNameLst>
                                      </p:cBhvr>
                                      <p:to>
                                        <p:strVal val="visible"/>
                                      </p:to>
                                    </p:set>
                                    <p:animEffect transition="in" filter="strips(upRight)">
                                      <p:cBhvr>
                                        <p:cTn id="61" dur="500"/>
                                        <p:tgtEl>
                                          <p:spTgt spid="11"/>
                                        </p:tgtEl>
                                      </p:cBhvr>
                                    </p:animEffect>
                                  </p:childTnLst>
                                </p:cTn>
                              </p:par>
                              <p:par>
                                <p:cTn id="62" presetID="6" presetClass="emph" presetSubtype="0" accel="52000" decel="48000" autoRev="1" fill="hold" nodeType="withEffect">
                                  <p:stCondLst>
                                    <p:cond delay="1250"/>
                                  </p:stCondLst>
                                  <p:childTnLst>
                                    <p:animScale>
                                      <p:cBhvr>
                                        <p:cTn id="63" dur="350" fill="hold"/>
                                        <p:tgtEl>
                                          <p:spTgt spid="11"/>
                                        </p:tgtEl>
                                      </p:cBhvr>
                                      <p:by x="110000" y="110000"/>
                                    </p:animScale>
                                  </p:childTnLst>
                                </p:cTn>
                              </p:par>
                              <p:par>
                                <p:cTn id="64" presetID="18" presetClass="entr" presetSubtype="3" fill="hold" nodeType="withEffect">
                                  <p:stCondLst>
                                    <p:cond delay="1500"/>
                                  </p:stCondLst>
                                  <p:childTnLst>
                                    <p:set>
                                      <p:cBhvr>
                                        <p:cTn id="65" dur="1" fill="hold">
                                          <p:stCondLst>
                                            <p:cond delay="0"/>
                                          </p:stCondLst>
                                        </p:cTn>
                                        <p:tgtEl>
                                          <p:spTgt spid="14"/>
                                        </p:tgtEl>
                                        <p:attrNameLst>
                                          <p:attrName>style.visibility</p:attrName>
                                        </p:attrNameLst>
                                      </p:cBhvr>
                                      <p:to>
                                        <p:strVal val="visible"/>
                                      </p:to>
                                    </p:set>
                                    <p:animEffect transition="in" filter="strips(upRight)">
                                      <p:cBhvr>
                                        <p:cTn id="66" dur="500"/>
                                        <p:tgtEl>
                                          <p:spTgt spid="14"/>
                                        </p:tgtEl>
                                      </p:cBhvr>
                                    </p:animEffect>
                                  </p:childTnLst>
                                </p:cTn>
                              </p:par>
                              <p:par>
                                <p:cTn id="67" presetID="6" presetClass="emph" presetSubtype="0" accel="52000" decel="48000" autoRev="1" fill="hold" nodeType="withEffect">
                                  <p:stCondLst>
                                    <p:cond delay="1500"/>
                                  </p:stCondLst>
                                  <p:childTnLst>
                                    <p:animScale>
                                      <p:cBhvr>
                                        <p:cTn id="68" dur="350" fill="hold"/>
                                        <p:tgtEl>
                                          <p:spTgt spid="14"/>
                                        </p:tgtEl>
                                      </p:cBhvr>
                                      <p:by x="110000" y="11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3" grpId="0"/>
      <p:bldP spid="3" grpId="1"/>
      <p:bldP spid="4" grpId="0"/>
      <p:bldP spid="4" grpId="1"/>
    </p:bldLst>
  </p:timing>
</p:sld>
</file>

<file path=ppt/slides/slide6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Shape 1">
            <a:extLst>
              <a:ext uri="{FF2B5EF4-FFF2-40B4-BE49-F238E27FC236}">
                <a16:creationId xmlns:a16="http://schemas.microsoft.com/office/drawing/2014/main" id="{A5DAFA3A-B349-4B04-9F58-89131F199A20}"/>
              </a:ext>
            </a:extLst>
          </p:cNvPr>
          <p:cNvSpPr>
            <a:spLocks/>
          </p:cNvSpPr>
          <p:nvPr/>
        </p:nvSpPr>
        <p:spPr bwMode="auto">
          <a:xfrm>
            <a:off x="13" y="196857"/>
            <a:ext cx="12191986" cy="6661143"/>
          </a:xfrm>
          <a:custGeom>
            <a:avLst/>
            <a:gdLst>
              <a:gd name="connsiteX0" fmla="*/ 1747641 w 12191986"/>
              <a:gd name="connsiteY0" fmla="*/ 3784593 h 6661143"/>
              <a:gd name="connsiteX1" fmla="*/ 1755674 w 12191986"/>
              <a:gd name="connsiteY1" fmla="*/ 3791974 h 6661143"/>
              <a:gd name="connsiteX2" fmla="*/ 1773882 w 12191986"/>
              <a:gd name="connsiteY2" fmla="*/ 3810427 h 6661143"/>
              <a:gd name="connsiteX3" fmla="*/ 1779238 w 12191986"/>
              <a:gd name="connsiteY3" fmla="*/ 3816227 h 6661143"/>
              <a:gd name="connsiteX4" fmla="*/ 1784593 w 12191986"/>
              <a:gd name="connsiteY4" fmla="*/ 3823081 h 6661143"/>
              <a:gd name="connsiteX5" fmla="*/ 1789413 w 12191986"/>
              <a:gd name="connsiteY5" fmla="*/ 3829935 h 6661143"/>
              <a:gd name="connsiteX6" fmla="*/ 1794233 w 12191986"/>
              <a:gd name="connsiteY6" fmla="*/ 3837844 h 6661143"/>
              <a:gd name="connsiteX7" fmla="*/ 1797982 w 12191986"/>
              <a:gd name="connsiteY7" fmla="*/ 3845225 h 6661143"/>
              <a:gd name="connsiteX8" fmla="*/ 1801730 w 12191986"/>
              <a:gd name="connsiteY8" fmla="*/ 3853661 h 6661143"/>
              <a:gd name="connsiteX9" fmla="*/ 1804944 w 12191986"/>
              <a:gd name="connsiteY9" fmla="*/ 3862097 h 6661143"/>
              <a:gd name="connsiteX10" fmla="*/ 1806550 w 12191986"/>
              <a:gd name="connsiteY10" fmla="*/ 3870533 h 6661143"/>
              <a:gd name="connsiteX11" fmla="*/ 1807086 w 12191986"/>
              <a:gd name="connsiteY11" fmla="*/ 3876332 h 6661143"/>
              <a:gd name="connsiteX12" fmla="*/ 1808157 w 12191986"/>
              <a:gd name="connsiteY12" fmla="*/ 3882659 h 6661143"/>
              <a:gd name="connsiteX13" fmla="*/ 1807086 w 12191986"/>
              <a:gd name="connsiteY13" fmla="*/ 3887931 h 6661143"/>
              <a:gd name="connsiteX14" fmla="*/ 1807086 w 12191986"/>
              <a:gd name="connsiteY14" fmla="*/ 3893204 h 6661143"/>
              <a:gd name="connsiteX15" fmla="*/ 1805479 w 12191986"/>
              <a:gd name="connsiteY15" fmla="*/ 3897949 h 6661143"/>
              <a:gd name="connsiteX16" fmla="*/ 1803873 w 12191986"/>
              <a:gd name="connsiteY16" fmla="*/ 3902167 h 6661143"/>
              <a:gd name="connsiteX17" fmla="*/ 1802802 w 12191986"/>
              <a:gd name="connsiteY17" fmla="*/ 3906912 h 6661143"/>
              <a:gd name="connsiteX18" fmla="*/ 1800124 w 12191986"/>
              <a:gd name="connsiteY18" fmla="*/ 3910603 h 6661143"/>
              <a:gd name="connsiteX19" fmla="*/ 1797982 w 12191986"/>
              <a:gd name="connsiteY19" fmla="*/ 3913766 h 6661143"/>
              <a:gd name="connsiteX20" fmla="*/ 1794768 w 12191986"/>
              <a:gd name="connsiteY20" fmla="*/ 3916929 h 6661143"/>
              <a:gd name="connsiteX21" fmla="*/ 1791555 w 12191986"/>
              <a:gd name="connsiteY21" fmla="*/ 3919566 h 6661143"/>
              <a:gd name="connsiteX22" fmla="*/ 1787806 w 12191986"/>
              <a:gd name="connsiteY22" fmla="*/ 3922202 h 6661143"/>
              <a:gd name="connsiteX23" fmla="*/ 1784593 w 12191986"/>
              <a:gd name="connsiteY23" fmla="*/ 3924311 h 6661143"/>
              <a:gd name="connsiteX24" fmla="*/ 1780309 w 12191986"/>
              <a:gd name="connsiteY24" fmla="*/ 3925892 h 6661143"/>
              <a:gd name="connsiteX25" fmla="*/ 1776560 w 12191986"/>
              <a:gd name="connsiteY25" fmla="*/ 3927474 h 6661143"/>
              <a:gd name="connsiteX26" fmla="*/ 1771740 w 12191986"/>
              <a:gd name="connsiteY26" fmla="*/ 3928001 h 6661143"/>
              <a:gd name="connsiteX27" fmla="*/ 1767991 w 12191986"/>
              <a:gd name="connsiteY27" fmla="*/ 3928001 h 6661143"/>
              <a:gd name="connsiteX28" fmla="*/ 1763171 w 12191986"/>
              <a:gd name="connsiteY28" fmla="*/ 3929056 h 6661143"/>
              <a:gd name="connsiteX29" fmla="*/ 1758887 w 12191986"/>
              <a:gd name="connsiteY29" fmla="*/ 3928001 h 6661143"/>
              <a:gd name="connsiteX30" fmla="*/ 1754603 w 12191986"/>
              <a:gd name="connsiteY30" fmla="*/ 3927474 h 6661143"/>
              <a:gd name="connsiteX31" fmla="*/ 1750854 w 12191986"/>
              <a:gd name="connsiteY31" fmla="*/ 3926420 h 6661143"/>
              <a:gd name="connsiteX32" fmla="*/ 1746034 w 12191986"/>
              <a:gd name="connsiteY32" fmla="*/ 3924838 h 6661143"/>
              <a:gd name="connsiteX33" fmla="*/ 1743356 w 12191986"/>
              <a:gd name="connsiteY33" fmla="*/ 3922729 h 6661143"/>
              <a:gd name="connsiteX34" fmla="*/ 1739608 w 12191986"/>
              <a:gd name="connsiteY34" fmla="*/ 3920620 h 6661143"/>
              <a:gd name="connsiteX35" fmla="*/ 1736394 w 12191986"/>
              <a:gd name="connsiteY35" fmla="*/ 3917457 h 6661143"/>
              <a:gd name="connsiteX36" fmla="*/ 1733181 w 12191986"/>
              <a:gd name="connsiteY36" fmla="*/ 3914293 h 6661143"/>
              <a:gd name="connsiteX37" fmla="*/ 1729968 w 12191986"/>
              <a:gd name="connsiteY37" fmla="*/ 3910603 h 6661143"/>
              <a:gd name="connsiteX38" fmla="*/ 1727825 w 12191986"/>
              <a:gd name="connsiteY38" fmla="*/ 3905857 h 6661143"/>
              <a:gd name="connsiteX39" fmla="*/ 1725683 w 12191986"/>
              <a:gd name="connsiteY39" fmla="*/ 3901640 h 6661143"/>
              <a:gd name="connsiteX40" fmla="*/ 1723006 w 12191986"/>
              <a:gd name="connsiteY40" fmla="*/ 3896367 h 6661143"/>
              <a:gd name="connsiteX41" fmla="*/ 1721399 w 12191986"/>
              <a:gd name="connsiteY41" fmla="*/ 3891095 h 6661143"/>
              <a:gd name="connsiteX42" fmla="*/ 1720328 w 12191986"/>
              <a:gd name="connsiteY42" fmla="*/ 3884768 h 6661143"/>
              <a:gd name="connsiteX43" fmla="*/ 1719257 w 12191986"/>
              <a:gd name="connsiteY43" fmla="*/ 3876332 h 6661143"/>
              <a:gd name="connsiteX44" fmla="*/ 1719257 w 12191986"/>
              <a:gd name="connsiteY44" fmla="*/ 3867369 h 6661143"/>
              <a:gd name="connsiteX45" fmla="*/ 1720328 w 12191986"/>
              <a:gd name="connsiteY45" fmla="*/ 3858406 h 6661143"/>
              <a:gd name="connsiteX46" fmla="*/ 1721399 w 12191986"/>
              <a:gd name="connsiteY46" fmla="*/ 3849970 h 6661143"/>
              <a:gd name="connsiteX47" fmla="*/ 1723006 w 12191986"/>
              <a:gd name="connsiteY47" fmla="*/ 3841534 h 6661143"/>
              <a:gd name="connsiteX48" fmla="*/ 1725683 w 12191986"/>
              <a:gd name="connsiteY48" fmla="*/ 3833099 h 6661143"/>
              <a:gd name="connsiteX49" fmla="*/ 1728361 w 12191986"/>
              <a:gd name="connsiteY49" fmla="*/ 3824663 h 6661143"/>
              <a:gd name="connsiteX50" fmla="*/ 1731039 w 12191986"/>
              <a:gd name="connsiteY50" fmla="*/ 3817809 h 6661143"/>
              <a:gd name="connsiteX51" fmla="*/ 1742285 w 12191986"/>
              <a:gd name="connsiteY51" fmla="*/ 3794610 h 6661143"/>
              <a:gd name="connsiteX52" fmla="*/ 1024098 w 12191986"/>
              <a:gd name="connsiteY52" fmla="*/ 3773481 h 6661143"/>
              <a:gd name="connsiteX53" fmla="*/ 1032616 w 12191986"/>
              <a:gd name="connsiteY53" fmla="*/ 3780360 h 6661143"/>
              <a:gd name="connsiteX54" fmla="*/ 1051250 w 12191986"/>
              <a:gd name="connsiteY54" fmla="*/ 3798881 h 6661143"/>
              <a:gd name="connsiteX55" fmla="*/ 1056574 w 12191986"/>
              <a:gd name="connsiteY55" fmla="*/ 3804702 h 6661143"/>
              <a:gd name="connsiteX56" fmla="*/ 1060833 w 12191986"/>
              <a:gd name="connsiteY56" fmla="*/ 3811581 h 6661143"/>
              <a:gd name="connsiteX57" fmla="*/ 1066689 w 12191986"/>
              <a:gd name="connsiteY57" fmla="*/ 3818460 h 6661143"/>
              <a:gd name="connsiteX58" fmla="*/ 1070949 w 12191986"/>
              <a:gd name="connsiteY58" fmla="*/ 3826398 h 6661143"/>
              <a:gd name="connsiteX59" fmla="*/ 1074675 w 12191986"/>
              <a:gd name="connsiteY59" fmla="*/ 3834864 h 6661143"/>
              <a:gd name="connsiteX60" fmla="*/ 1078934 w 12191986"/>
              <a:gd name="connsiteY60" fmla="*/ 3842273 h 6661143"/>
              <a:gd name="connsiteX61" fmla="*/ 1081064 w 12191986"/>
              <a:gd name="connsiteY61" fmla="*/ 3850739 h 6661143"/>
              <a:gd name="connsiteX62" fmla="*/ 1083194 w 12191986"/>
              <a:gd name="connsiteY62" fmla="*/ 3859206 h 6661143"/>
              <a:gd name="connsiteX63" fmla="*/ 1084258 w 12191986"/>
              <a:gd name="connsiteY63" fmla="*/ 3865027 h 6661143"/>
              <a:gd name="connsiteX64" fmla="*/ 1084258 w 12191986"/>
              <a:gd name="connsiteY64" fmla="*/ 3871377 h 6661143"/>
              <a:gd name="connsiteX65" fmla="*/ 1084258 w 12191986"/>
              <a:gd name="connsiteY65" fmla="*/ 3876669 h 6661143"/>
              <a:gd name="connsiteX66" fmla="*/ 1083194 w 12191986"/>
              <a:gd name="connsiteY66" fmla="*/ 3881960 h 6661143"/>
              <a:gd name="connsiteX67" fmla="*/ 1082661 w 12191986"/>
              <a:gd name="connsiteY67" fmla="*/ 3887252 h 6661143"/>
              <a:gd name="connsiteX68" fmla="*/ 1081064 w 12191986"/>
              <a:gd name="connsiteY68" fmla="*/ 3890956 h 6661143"/>
              <a:gd name="connsiteX69" fmla="*/ 1079467 w 12191986"/>
              <a:gd name="connsiteY69" fmla="*/ 3895719 h 6661143"/>
              <a:gd name="connsiteX70" fmla="*/ 1077337 w 12191986"/>
              <a:gd name="connsiteY70" fmla="*/ 3899423 h 6661143"/>
              <a:gd name="connsiteX71" fmla="*/ 1074675 w 12191986"/>
              <a:gd name="connsiteY71" fmla="*/ 3902598 h 6661143"/>
              <a:gd name="connsiteX72" fmla="*/ 1072013 w 12191986"/>
              <a:gd name="connsiteY72" fmla="*/ 3905244 h 6661143"/>
              <a:gd name="connsiteX73" fmla="*/ 1068819 w 12191986"/>
              <a:gd name="connsiteY73" fmla="*/ 3908419 h 6661143"/>
              <a:gd name="connsiteX74" fmla="*/ 1065092 w 12191986"/>
              <a:gd name="connsiteY74" fmla="*/ 3911065 h 6661143"/>
              <a:gd name="connsiteX75" fmla="*/ 1060833 w 12191986"/>
              <a:gd name="connsiteY75" fmla="*/ 3913181 h 6661143"/>
              <a:gd name="connsiteX76" fmla="*/ 1057106 w 12191986"/>
              <a:gd name="connsiteY76" fmla="*/ 3914769 h 6661143"/>
              <a:gd name="connsiteX77" fmla="*/ 1053379 w 12191986"/>
              <a:gd name="connsiteY77" fmla="*/ 3916356 h 6661143"/>
              <a:gd name="connsiteX78" fmla="*/ 1048588 w 12191986"/>
              <a:gd name="connsiteY78" fmla="*/ 3916886 h 6661143"/>
              <a:gd name="connsiteX79" fmla="*/ 1044329 w 12191986"/>
              <a:gd name="connsiteY79" fmla="*/ 3917944 h 6661143"/>
              <a:gd name="connsiteX80" fmla="*/ 1040602 w 12191986"/>
              <a:gd name="connsiteY80" fmla="*/ 3917944 h 6661143"/>
              <a:gd name="connsiteX81" fmla="*/ 1035810 w 12191986"/>
              <a:gd name="connsiteY81" fmla="*/ 3916886 h 6661143"/>
              <a:gd name="connsiteX82" fmla="*/ 1032084 w 12191986"/>
              <a:gd name="connsiteY82" fmla="*/ 3916356 h 6661143"/>
              <a:gd name="connsiteX83" fmla="*/ 1027292 w 12191986"/>
              <a:gd name="connsiteY83" fmla="*/ 3915298 h 6661143"/>
              <a:gd name="connsiteX84" fmla="*/ 1023565 w 12191986"/>
              <a:gd name="connsiteY84" fmla="*/ 3913711 h 6661143"/>
              <a:gd name="connsiteX85" fmla="*/ 1019839 w 12191986"/>
              <a:gd name="connsiteY85" fmla="*/ 3911594 h 6661143"/>
              <a:gd name="connsiteX86" fmla="*/ 1016644 w 12191986"/>
              <a:gd name="connsiteY86" fmla="*/ 3909477 h 6661143"/>
              <a:gd name="connsiteX87" fmla="*/ 1012917 w 12191986"/>
              <a:gd name="connsiteY87" fmla="*/ 3906302 h 6661143"/>
              <a:gd name="connsiteX88" fmla="*/ 1009723 w 12191986"/>
              <a:gd name="connsiteY88" fmla="*/ 3903127 h 6661143"/>
              <a:gd name="connsiteX89" fmla="*/ 1007593 w 12191986"/>
              <a:gd name="connsiteY89" fmla="*/ 3899423 h 6661143"/>
              <a:gd name="connsiteX90" fmla="*/ 1004399 w 12191986"/>
              <a:gd name="connsiteY90" fmla="*/ 3894660 h 6661143"/>
              <a:gd name="connsiteX91" fmla="*/ 1002269 w 12191986"/>
              <a:gd name="connsiteY91" fmla="*/ 3890427 h 6661143"/>
              <a:gd name="connsiteX92" fmla="*/ 1000672 w 12191986"/>
              <a:gd name="connsiteY92" fmla="*/ 3885135 h 6661143"/>
              <a:gd name="connsiteX93" fmla="*/ 999075 w 12191986"/>
              <a:gd name="connsiteY93" fmla="*/ 3879844 h 6661143"/>
              <a:gd name="connsiteX94" fmla="*/ 997478 w 12191986"/>
              <a:gd name="connsiteY94" fmla="*/ 3873494 h 6661143"/>
              <a:gd name="connsiteX95" fmla="*/ 996945 w 12191986"/>
              <a:gd name="connsiteY95" fmla="*/ 3865027 h 6661143"/>
              <a:gd name="connsiteX96" fmla="*/ 996945 w 12191986"/>
              <a:gd name="connsiteY96" fmla="*/ 3856031 h 6661143"/>
              <a:gd name="connsiteX97" fmla="*/ 996945 w 12191986"/>
              <a:gd name="connsiteY97" fmla="*/ 3847564 h 6661143"/>
              <a:gd name="connsiteX98" fmla="*/ 998010 w 12191986"/>
              <a:gd name="connsiteY98" fmla="*/ 3838569 h 6661143"/>
              <a:gd name="connsiteX99" fmla="*/ 1000672 w 12191986"/>
              <a:gd name="connsiteY99" fmla="*/ 3830102 h 6661143"/>
              <a:gd name="connsiteX100" fmla="*/ 1002802 w 12191986"/>
              <a:gd name="connsiteY100" fmla="*/ 3821635 h 6661143"/>
              <a:gd name="connsiteX101" fmla="*/ 1004931 w 12191986"/>
              <a:gd name="connsiteY101" fmla="*/ 3814227 h 6661143"/>
              <a:gd name="connsiteX102" fmla="*/ 1008126 w 12191986"/>
              <a:gd name="connsiteY102" fmla="*/ 3806289 h 6661143"/>
              <a:gd name="connsiteX103" fmla="*/ 1019839 w 12191986"/>
              <a:gd name="connsiteY103" fmla="*/ 3783006 h 6661143"/>
              <a:gd name="connsiteX104" fmla="*/ 1374474 w 12191986"/>
              <a:gd name="connsiteY104" fmla="*/ 3694106 h 6661143"/>
              <a:gd name="connsiteX105" fmla="*/ 1380259 w 12191986"/>
              <a:gd name="connsiteY105" fmla="*/ 3702573 h 6661143"/>
              <a:gd name="connsiteX106" fmla="*/ 1394985 w 12191986"/>
              <a:gd name="connsiteY106" fmla="*/ 3724798 h 6661143"/>
              <a:gd name="connsiteX107" fmla="*/ 1397615 w 12191986"/>
              <a:gd name="connsiteY107" fmla="*/ 3731677 h 6661143"/>
              <a:gd name="connsiteX108" fmla="*/ 1401822 w 12191986"/>
              <a:gd name="connsiteY108" fmla="*/ 3739085 h 6661143"/>
              <a:gd name="connsiteX109" fmla="*/ 1405503 w 12191986"/>
              <a:gd name="connsiteY109" fmla="*/ 3747552 h 6661143"/>
              <a:gd name="connsiteX110" fmla="*/ 1407607 w 12191986"/>
              <a:gd name="connsiteY110" fmla="*/ 3756018 h 6661143"/>
              <a:gd name="connsiteX111" fmla="*/ 1410763 w 12191986"/>
              <a:gd name="connsiteY111" fmla="*/ 3764485 h 6661143"/>
              <a:gd name="connsiteX112" fmla="*/ 1412340 w 12191986"/>
              <a:gd name="connsiteY112" fmla="*/ 3772952 h 6661143"/>
              <a:gd name="connsiteX113" fmla="*/ 1412866 w 12191986"/>
              <a:gd name="connsiteY113" fmla="*/ 3781948 h 6661143"/>
              <a:gd name="connsiteX114" fmla="*/ 1412866 w 12191986"/>
              <a:gd name="connsiteY114" fmla="*/ 3790414 h 6661143"/>
              <a:gd name="connsiteX115" fmla="*/ 1412866 w 12191986"/>
              <a:gd name="connsiteY115" fmla="*/ 3796235 h 6661143"/>
              <a:gd name="connsiteX116" fmla="*/ 1412340 w 12191986"/>
              <a:gd name="connsiteY116" fmla="*/ 3802585 h 6661143"/>
              <a:gd name="connsiteX117" fmla="*/ 1410763 w 12191986"/>
              <a:gd name="connsiteY117" fmla="*/ 3807877 h 6661143"/>
              <a:gd name="connsiteX118" fmla="*/ 1409185 w 12191986"/>
              <a:gd name="connsiteY118" fmla="*/ 3812639 h 6661143"/>
              <a:gd name="connsiteX119" fmla="*/ 1407081 w 12191986"/>
              <a:gd name="connsiteY119" fmla="*/ 3816873 h 6661143"/>
              <a:gd name="connsiteX120" fmla="*/ 1404451 w 12191986"/>
              <a:gd name="connsiteY120" fmla="*/ 3821635 h 6661143"/>
              <a:gd name="connsiteX121" fmla="*/ 1402348 w 12191986"/>
              <a:gd name="connsiteY121" fmla="*/ 3825339 h 6661143"/>
              <a:gd name="connsiteX122" fmla="*/ 1399192 w 12191986"/>
              <a:gd name="connsiteY122" fmla="*/ 3828514 h 6661143"/>
              <a:gd name="connsiteX123" fmla="*/ 1396563 w 12191986"/>
              <a:gd name="connsiteY123" fmla="*/ 3831689 h 6661143"/>
              <a:gd name="connsiteX124" fmla="*/ 1392355 w 12191986"/>
              <a:gd name="connsiteY124" fmla="*/ 3833806 h 6661143"/>
              <a:gd name="connsiteX125" fmla="*/ 1388674 w 12191986"/>
              <a:gd name="connsiteY125" fmla="*/ 3835923 h 6661143"/>
              <a:gd name="connsiteX126" fmla="*/ 1384992 w 12191986"/>
              <a:gd name="connsiteY126" fmla="*/ 3837510 h 6661143"/>
              <a:gd name="connsiteX127" fmla="*/ 1381311 w 12191986"/>
              <a:gd name="connsiteY127" fmla="*/ 3838568 h 6661143"/>
              <a:gd name="connsiteX128" fmla="*/ 1377630 w 12191986"/>
              <a:gd name="connsiteY128" fmla="*/ 3839098 h 6661143"/>
              <a:gd name="connsiteX129" fmla="*/ 1372896 w 12191986"/>
              <a:gd name="connsiteY129" fmla="*/ 3840156 h 6661143"/>
              <a:gd name="connsiteX130" fmla="*/ 1368163 w 12191986"/>
              <a:gd name="connsiteY130" fmla="*/ 3840156 h 6661143"/>
              <a:gd name="connsiteX131" fmla="*/ 1363956 w 12191986"/>
              <a:gd name="connsiteY131" fmla="*/ 3839098 h 6661143"/>
              <a:gd name="connsiteX132" fmla="*/ 1359748 w 12191986"/>
              <a:gd name="connsiteY132" fmla="*/ 3838568 h 6661143"/>
              <a:gd name="connsiteX133" fmla="*/ 1355541 w 12191986"/>
              <a:gd name="connsiteY133" fmla="*/ 3837510 h 6661143"/>
              <a:gd name="connsiteX134" fmla="*/ 1351860 w 12191986"/>
              <a:gd name="connsiteY134" fmla="*/ 3835923 h 6661143"/>
              <a:gd name="connsiteX135" fmla="*/ 1347652 w 12191986"/>
              <a:gd name="connsiteY135" fmla="*/ 3833806 h 6661143"/>
              <a:gd name="connsiteX136" fmla="*/ 1345023 w 12191986"/>
              <a:gd name="connsiteY136" fmla="*/ 3831689 h 6661143"/>
              <a:gd name="connsiteX137" fmla="*/ 1341867 w 12191986"/>
              <a:gd name="connsiteY137" fmla="*/ 3829043 h 6661143"/>
              <a:gd name="connsiteX138" fmla="*/ 1338712 w 12191986"/>
              <a:gd name="connsiteY138" fmla="*/ 3826398 h 6661143"/>
              <a:gd name="connsiteX139" fmla="*/ 1335556 w 12191986"/>
              <a:gd name="connsiteY139" fmla="*/ 3822164 h 6661143"/>
              <a:gd name="connsiteX140" fmla="*/ 1333452 w 12191986"/>
              <a:gd name="connsiteY140" fmla="*/ 3818460 h 6661143"/>
              <a:gd name="connsiteX141" fmla="*/ 1331875 w 12191986"/>
              <a:gd name="connsiteY141" fmla="*/ 3814227 h 6661143"/>
              <a:gd name="connsiteX142" fmla="*/ 1329771 w 12191986"/>
              <a:gd name="connsiteY142" fmla="*/ 3809464 h 6661143"/>
              <a:gd name="connsiteX143" fmla="*/ 1328719 w 12191986"/>
              <a:gd name="connsiteY143" fmla="*/ 3804173 h 6661143"/>
              <a:gd name="connsiteX144" fmla="*/ 1328193 w 12191986"/>
              <a:gd name="connsiteY144" fmla="*/ 3798881 h 6661143"/>
              <a:gd name="connsiteX145" fmla="*/ 1327141 w 12191986"/>
              <a:gd name="connsiteY145" fmla="*/ 3793589 h 6661143"/>
              <a:gd name="connsiteX146" fmla="*/ 1327141 w 12191986"/>
              <a:gd name="connsiteY146" fmla="*/ 3787239 h 6661143"/>
              <a:gd name="connsiteX147" fmla="*/ 1328193 w 12191986"/>
              <a:gd name="connsiteY147" fmla="*/ 3778243 h 6661143"/>
              <a:gd name="connsiteX148" fmla="*/ 1329771 w 12191986"/>
              <a:gd name="connsiteY148" fmla="*/ 3769777 h 6661143"/>
              <a:gd name="connsiteX149" fmla="*/ 1332927 w 12191986"/>
              <a:gd name="connsiteY149" fmla="*/ 3761310 h 6661143"/>
              <a:gd name="connsiteX150" fmla="*/ 1335556 w 12191986"/>
              <a:gd name="connsiteY150" fmla="*/ 3752843 h 6661143"/>
              <a:gd name="connsiteX151" fmla="*/ 1338712 w 12191986"/>
              <a:gd name="connsiteY151" fmla="*/ 3744377 h 6661143"/>
              <a:gd name="connsiteX152" fmla="*/ 1343445 w 12191986"/>
              <a:gd name="connsiteY152" fmla="*/ 3736968 h 6661143"/>
              <a:gd name="connsiteX153" fmla="*/ 1347126 w 12191986"/>
              <a:gd name="connsiteY153" fmla="*/ 3730089 h 6661143"/>
              <a:gd name="connsiteX154" fmla="*/ 1351860 w 12191986"/>
              <a:gd name="connsiteY154" fmla="*/ 3723210 h 6661143"/>
              <a:gd name="connsiteX155" fmla="*/ 1366585 w 12191986"/>
              <a:gd name="connsiteY155" fmla="*/ 3702043 h 6661143"/>
              <a:gd name="connsiteX156" fmla="*/ 1586555 w 12191986"/>
              <a:gd name="connsiteY156" fmla="*/ 3676643 h 6661143"/>
              <a:gd name="connsiteX157" fmla="*/ 1591289 w 12191986"/>
              <a:gd name="connsiteY157" fmla="*/ 3686239 h 6661143"/>
              <a:gd name="connsiteX158" fmla="*/ 1599706 w 12191986"/>
              <a:gd name="connsiteY158" fmla="*/ 3711295 h 6661143"/>
              <a:gd name="connsiteX159" fmla="*/ 1601810 w 12191986"/>
              <a:gd name="connsiteY159" fmla="*/ 3718759 h 6661143"/>
              <a:gd name="connsiteX160" fmla="*/ 1603388 w 12191986"/>
              <a:gd name="connsiteY160" fmla="*/ 3727289 h 6661143"/>
              <a:gd name="connsiteX161" fmla="*/ 1604966 w 12191986"/>
              <a:gd name="connsiteY161" fmla="*/ 3735819 h 6661143"/>
              <a:gd name="connsiteX162" fmla="*/ 1606544 w 12191986"/>
              <a:gd name="connsiteY162" fmla="*/ 3743815 h 6661143"/>
              <a:gd name="connsiteX163" fmla="*/ 1606544 w 12191986"/>
              <a:gd name="connsiteY163" fmla="*/ 3753412 h 6661143"/>
              <a:gd name="connsiteX164" fmla="*/ 1606544 w 12191986"/>
              <a:gd name="connsiteY164" fmla="*/ 3762474 h 6661143"/>
              <a:gd name="connsiteX165" fmla="*/ 1605492 w 12191986"/>
              <a:gd name="connsiteY165" fmla="*/ 3771004 h 6661143"/>
              <a:gd name="connsiteX166" fmla="*/ 1603388 w 12191986"/>
              <a:gd name="connsiteY166" fmla="*/ 3779534 h 6661143"/>
              <a:gd name="connsiteX167" fmla="*/ 1601810 w 12191986"/>
              <a:gd name="connsiteY167" fmla="*/ 3785398 h 6661143"/>
              <a:gd name="connsiteX168" fmla="*/ 1599706 w 12191986"/>
              <a:gd name="connsiteY168" fmla="*/ 3790730 h 6661143"/>
              <a:gd name="connsiteX169" fmla="*/ 1597076 w 12191986"/>
              <a:gd name="connsiteY169" fmla="*/ 3796061 h 6661143"/>
              <a:gd name="connsiteX170" fmla="*/ 1593920 w 12191986"/>
              <a:gd name="connsiteY170" fmla="*/ 3800859 h 6661143"/>
              <a:gd name="connsiteX171" fmla="*/ 1591815 w 12191986"/>
              <a:gd name="connsiteY171" fmla="*/ 3804591 h 6661143"/>
              <a:gd name="connsiteX172" fmla="*/ 1588133 w 12191986"/>
              <a:gd name="connsiteY172" fmla="*/ 3807789 h 6661143"/>
              <a:gd name="connsiteX173" fmla="*/ 1584977 w 12191986"/>
              <a:gd name="connsiteY173" fmla="*/ 3810988 h 6661143"/>
              <a:gd name="connsiteX174" fmla="*/ 1581295 w 12191986"/>
              <a:gd name="connsiteY174" fmla="*/ 3814187 h 6661143"/>
              <a:gd name="connsiteX175" fmla="*/ 1577612 w 12191986"/>
              <a:gd name="connsiteY175" fmla="*/ 3815253 h 6661143"/>
              <a:gd name="connsiteX176" fmla="*/ 1573930 w 12191986"/>
              <a:gd name="connsiteY176" fmla="*/ 3817919 h 6661143"/>
              <a:gd name="connsiteX177" fmla="*/ 1569722 w 12191986"/>
              <a:gd name="connsiteY177" fmla="*/ 3818452 h 6661143"/>
              <a:gd name="connsiteX178" fmla="*/ 1566040 w 12191986"/>
              <a:gd name="connsiteY178" fmla="*/ 3819518 h 6661143"/>
              <a:gd name="connsiteX179" fmla="*/ 1561831 w 12191986"/>
              <a:gd name="connsiteY179" fmla="*/ 3819518 h 6661143"/>
              <a:gd name="connsiteX180" fmla="*/ 1557097 w 12191986"/>
              <a:gd name="connsiteY180" fmla="*/ 3819518 h 6661143"/>
              <a:gd name="connsiteX181" fmla="*/ 1553415 w 12191986"/>
              <a:gd name="connsiteY181" fmla="*/ 3819518 h 6661143"/>
              <a:gd name="connsiteX182" fmla="*/ 1548681 w 12191986"/>
              <a:gd name="connsiteY182" fmla="*/ 3817919 h 6661143"/>
              <a:gd name="connsiteX183" fmla="*/ 1544998 w 12191986"/>
              <a:gd name="connsiteY183" fmla="*/ 3816852 h 6661143"/>
              <a:gd name="connsiteX184" fmla="*/ 1540264 w 12191986"/>
              <a:gd name="connsiteY184" fmla="*/ 3814720 h 6661143"/>
              <a:gd name="connsiteX185" fmla="*/ 1536582 w 12191986"/>
              <a:gd name="connsiteY185" fmla="*/ 3813120 h 6661143"/>
              <a:gd name="connsiteX186" fmla="*/ 1533425 w 12191986"/>
              <a:gd name="connsiteY186" fmla="*/ 3809922 h 6661143"/>
              <a:gd name="connsiteX187" fmla="*/ 1530795 w 12191986"/>
              <a:gd name="connsiteY187" fmla="*/ 3807789 h 6661143"/>
              <a:gd name="connsiteX188" fmla="*/ 1527639 w 12191986"/>
              <a:gd name="connsiteY188" fmla="*/ 3804591 h 6661143"/>
              <a:gd name="connsiteX189" fmla="*/ 1525009 w 12191986"/>
              <a:gd name="connsiteY189" fmla="*/ 3800859 h 6661143"/>
              <a:gd name="connsiteX190" fmla="*/ 1522905 w 12191986"/>
              <a:gd name="connsiteY190" fmla="*/ 3797660 h 6661143"/>
              <a:gd name="connsiteX191" fmla="*/ 1520801 w 12191986"/>
              <a:gd name="connsiteY191" fmla="*/ 3793395 h 6661143"/>
              <a:gd name="connsiteX192" fmla="*/ 1519748 w 12191986"/>
              <a:gd name="connsiteY192" fmla="*/ 3789663 h 6661143"/>
              <a:gd name="connsiteX193" fmla="*/ 1518170 w 12191986"/>
              <a:gd name="connsiteY193" fmla="*/ 3784865 h 6661143"/>
              <a:gd name="connsiteX194" fmla="*/ 1517644 w 12191986"/>
              <a:gd name="connsiteY194" fmla="*/ 3779534 h 6661143"/>
              <a:gd name="connsiteX195" fmla="*/ 1517644 w 12191986"/>
              <a:gd name="connsiteY195" fmla="*/ 3774203 h 6661143"/>
              <a:gd name="connsiteX196" fmla="*/ 1518170 w 12191986"/>
              <a:gd name="connsiteY196" fmla="*/ 3768872 h 6661143"/>
              <a:gd name="connsiteX197" fmla="*/ 1519223 w 12191986"/>
              <a:gd name="connsiteY197" fmla="*/ 3763541 h 6661143"/>
              <a:gd name="connsiteX198" fmla="*/ 1520801 w 12191986"/>
              <a:gd name="connsiteY198" fmla="*/ 3757143 h 6661143"/>
              <a:gd name="connsiteX199" fmla="*/ 1522905 w 12191986"/>
              <a:gd name="connsiteY199" fmla="*/ 3748613 h 6661143"/>
              <a:gd name="connsiteX200" fmla="*/ 1526587 w 12191986"/>
              <a:gd name="connsiteY200" fmla="*/ 3740084 h 6661143"/>
              <a:gd name="connsiteX201" fmla="*/ 1531321 w 12191986"/>
              <a:gd name="connsiteY201" fmla="*/ 3732620 h 6661143"/>
              <a:gd name="connsiteX202" fmla="*/ 1536056 w 12191986"/>
              <a:gd name="connsiteY202" fmla="*/ 3724623 h 6661143"/>
              <a:gd name="connsiteX203" fmla="*/ 1541316 w 12191986"/>
              <a:gd name="connsiteY203" fmla="*/ 3718226 h 6661143"/>
              <a:gd name="connsiteX204" fmla="*/ 1546576 w 12191986"/>
              <a:gd name="connsiteY204" fmla="*/ 3711829 h 6661143"/>
              <a:gd name="connsiteX205" fmla="*/ 1552363 w 12191986"/>
              <a:gd name="connsiteY205" fmla="*/ 3705431 h 6661143"/>
              <a:gd name="connsiteX206" fmla="*/ 1557623 w 12191986"/>
              <a:gd name="connsiteY206" fmla="*/ 3699567 h 6661143"/>
              <a:gd name="connsiteX207" fmla="*/ 1577612 w 12191986"/>
              <a:gd name="connsiteY207" fmla="*/ 3682507 h 6661143"/>
              <a:gd name="connsiteX208" fmla="*/ 3542759 w 12191986"/>
              <a:gd name="connsiteY208" fmla="*/ 3670293 h 6661143"/>
              <a:gd name="connsiteX209" fmla="*/ 3548052 w 12191986"/>
              <a:gd name="connsiteY209" fmla="*/ 3670293 h 6661143"/>
              <a:gd name="connsiteX210" fmla="*/ 3553344 w 12191986"/>
              <a:gd name="connsiteY210" fmla="*/ 3670293 h 6661143"/>
              <a:gd name="connsiteX211" fmla="*/ 3558636 w 12191986"/>
              <a:gd name="connsiteY211" fmla="*/ 3671361 h 6661143"/>
              <a:gd name="connsiteX212" fmla="*/ 3563927 w 12191986"/>
              <a:gd name="connsiteY212" fmla="*/ 3672964 h 6661143"/>
              <a:gd name="connsiteX213" fmla="*/ 3569218 w 12191986"/>
              <a:gd name="connsiteY213" fmla="*/ 3674032 h 6661143"/>
              <a:gd name="connsiteX214" fmla="*/ 3573982 w 12191986"/>
              <a:gd name="connsiteY214" fmla="*/ 3676703 h 6661143"/>
              <a:gd name="connsiteX215" fmla="*/ 3578214 w 12191986"/>
              <a:gd name="connsiteY215" fmla="*/ 3679374 h 6661143"/>
              <a:gd name="connsiteX216" fmla="*/ 3582977 w 12191986"/>
              <a:gd name="connsiteY216" fmla="*/ 3682579 h 6661143"/>
              <a:gd name="connsiteX217" fmla="*/ 3587740 w 12191986"/>
              <a:gd name="connsiteY217" fmla="*/ 3686318 h 6661143"/>
              <a:gd name="connsiteX218" fmla="*/ 3591443 w 12191986"/>
              <a:gd name="connsiteY218" fmla="*/ 3691126 h 6661143"/>
              <a:gd name="connsiteX219" fmla="*/ 3594090 w 12191986"/>
              <a:gd name="connsiteY219" fmla="*/ 3695934 h 6661143"/>
              <a:gd name="connsiteX220" fmla="*/ 3597263 w 12191986"/>
              <a:gd name="connsiteY220" fmla="*/ 3700207 h 6661143"/>
              <a:gd name="connsiteX221" fmla="*/ 3599911 w 12191986"/>
              <a:gd name="connsiteY221" fmla="*/ 3705015 h 6661143"/>
              <a:gd name="connsiteX222" fmla="*/ 3600969 w 12191986"/>
              <a:gd name="connsiteY222" fmla="*/ 3710357 h 6661143"/>
              <a:gd name="connsiteX223" fmla="*/ 3602556 w 12191986"/>
              <a:gd name="connsiteY223" fmla="*/ 3715699 h 6661143"/>
              <a:gd name="connsiteX224" fmla="*/ 3603614 w 12191986"/>
              <a:gd name="connsiteY224" fmla="*/ 3721040 h 6661143"/>
              <a:gd name="connsiteX225" fmla="*/ 3603614 w 12191986"/>
              <a:gd name="connsiteY225" fmla="*/ 3726382 h 6661143"/>
              <a:gd name="connsiteX226" fmla="*/ 3603614 w 12191986"/>
              <a:gd name="connsiteY226" fmla="*/ 3731724 h 6661143"/>
              <a:gd name="connsiteX227" fmla="*/ 3602556 w 12191986"/>
              <a:gd name="connsiteY227" fmla="*/ 3737600 h 6661143"/>
              <a:gd name="connsiteX228" fmla="*/ 3600969 w 12191986"/>
              <a:gd name="connsiteY228" fmla="*/ 3742942 h 6661143"/>
              <a:gd name="connsiteX229" fmla="*/ 3599911 w 12191986"/>
              <a:gd name="connsiteY229" fmla="*/ 3748284 h 6661143"/>
              <a:gd name="connsiteX230" fmla="*/ 3597263 w 12191986"/>
              <a:gd name="connsiteY230" fmla="*/ 3752557 h 6661143"/>
              <a:gd name="connsiteX231" fmla="*/ 3594090 w 12191986"/>
              <a:gd name="connsiteY231" fmla="*/ 3757365 h 6661143"/>
              <a:gd name="connsiteX232" fmla="*/ 3591443 w 12191986"/>
              <a:gd name="connsiteY232" fmla="*/ 3762173 h 6661143"/>
              <a:gd name="connsiteX233" fmla="*/ 3587740 w 12191986"/>
              <a:gd name="connsiteY233" fmla="*/ 3766446 h 6661143"/>
              <a:gd name="connsiteX234" fmla="*/ 3582977 w 12191986"/>
              <a:gd name="connsiteY234" fmla="*/ 3770185 h 6661143"/>
              <a:gd name="connsiteX235" fmla="*/ 3578214 w 12191986"/>
              <a:gd name="connsiteY235" fmla="*/ 3773391 h 6661143"/>
              <a:gd name="connsiteX236" fmla="*/ 3573982 w 12191986"/>
              <a:gd name="connsiteY236" fmla="*/ 3776596 h 6661143"/>
              <a:gd name="connsiteX237" fmla="*/ 3568690 w 12191986"/>
              <a:gd name="connsiteY237" fmla="*/ 3778732 h 6661143"/>
              <a:gd name="connsiteX238" fmla="*/ 3563927 w 12191986"/>
              <a:gd name="connsiteY238" fmla="*/ 3780335 h 6661143"/>
              <a:gd name="connsiteX239" fmla="*/ 3558636 w 12191986"/>
              <a:gd name="connsiteY239" fmla="*/ 3781938 h 6661143"/>
              <a:gd name="connsiteX240" fmla="*/ 3553344 w 12191986"/>
              <a:gd name="connsiteY240" fmla="*/ 3783006 h 6661143"/>
              <a:gd name="connsiteX241" fmla="*/ 3548052 w 12191986"/>
              <a:gd name="connsiteY241" fmla="*/ 3783006 h 6661143"/>
              <a:gd name="connsiteX242" fmla="*/ 3542759 w 12191986"/>
              <a:gd name="connsiteY242" fmla="*/ 3783006 h 6661143"/>
              <a:gd name="connsiteX243" fmla="*/ 3536939 w 12191986"/>
              <a:gd name="connsiteY243" fmla="*/ 3781938 h 6661143"/>
              <a:gd name="connsiteX244" fmla="*/ 3531647 w 12191986"/>
              <a:gd name="connsiteY244" fmla="*/ 3780335 h 6661143"/>
              <a:gd name="connsiteX245" fmla="*/ 3526357 w 12191986"/>
              <a:gd name="connsiteY245" fmla="*/ 3778732 h 6661143"/>
              <a:gd name="connsiteX246" fmla="*/ 3522123 w 12191986"/>
              <a:gd name="connsiteY246" fmla="*/ 3776596 h 6661143"/>
              <a:gd name="connsiteX247" fmla="*/ 3516831 w 12191986"/>
              <a:gd name="connsiteY247" fmla="*/ 3773391 h 6661143"/>
              <a:gd name="connsiteX248" fmla="*/ 3512069 w 12191986"/>
              <a:gd name="connsiteY248" fmla="*/ 3770185 h 6661143"/>
              <a:gd name="connsiteX249" fmla="*/ 3508365 w 12191986"/>
              <a:gd name="connsiteY249" fmla="*/ 3766446 h 6661143"/>
              <a:gd name="connsiteX250" fmla="*/ 3504660 w 12191986"/>
              <a:gd name="connsiteY250" fmla="*/ 3762173 h 6661143"/>
              <a:gd name="connsiteX251" fmla="*/ 3501485 w 12191986"/>
              <a:gd name="connsiteY251" fmla="*/ 3757365 h 6661143"/>
              <a:gd name="connsiteX252" fmla="*/ 3498310 w 12191986"/>
              <a:gd name="connsiteY252" fmla="*/ 3752557 h 6661143"/>
              <a:gd name="connsiteX253" fmla="*/ 3496194 w 12191986"/>
              <a:gd name="connsiteY253" fmla="*/ 3747215 h 6661143"/>
              <a:gd name="connsiteX254" fmla="*/ 3493547 w 12191986"/>
              <a:gd name="connsiteY254" fmla="*/ 3742942 h 6661143"/>
              <a:gd name="connsiteX255" fmla="*/ 3493019 w 12191986"/>
              <a:gd name="connsiteY255" fmla="*/ 3737600 h 6661143"/>
              <a:gd name="connsiteX256" fmla="*/ 3492489 w 12191986"/>
              <a:gd name="connsiteY256" fmla="*/ 3731724 h 6661143"/>
              <a:gd name="connsiteX257" fmla="*/ 3492489 w 12191986"/>
              <a:gd name="connsiteY257" fmla="*/ 3726382 h 6661143"/>
              <a:gd name="connsiteX258" fmla="*/ 3492489 w 12191986"/>
              <a:gd name="connsiteY258" fmla="*/ 3721040 h 6661143"/>
              <a:gd name="connsiteX259" fmla="*/ 3493019 w 12191986"/>
              <a:gd name="connsiteY259" fmla="*/ 3715699 h 6661143"/>
              <a:gd name="connsiteX260" fmla="*/ 3494606 w 12191986"/>
              <a:gd name="connsiteY260" fmla="*/ 3710357 h 6661143"/>
              <a:gd name="connsiteX261" fmla="*/ 3496194 w 12191986"/>
              <a:gd name="connsiteY261" fmla="*/ 3705015 h 6661143"/>
              <a:gd name="connsiteX262" fmla="*/ 3498310 w 12191986"/>
              <a:gd name="connsiteY262" fmla="*/ 3700207 h 6661143"/>
              <a:gd name="connsiteX263" fmla="*/ 3501485 w 12191986"/>
              <a:gd name="connsiteY263" fmla="*/ 3694865 h 6661143"/>
              <a:gd name="connsiteX264" fmla="*/ 3504660 w 12191986"/>
              <a:gd name="connsiteY264" fmla="*/ 3690592 h 6661143"/>
              <a:gd name="connsiteX265" fmla="*/ 3508365 w 12191986"/>
              <a:gd name="connsiteY265" fmla="*/ 3686318 h 6661143"/>
              <a:gd name="connsiteX266" fmla="*/ 3512597 w 12191986"/>
              <a:gd name="connsiteY266" fmla="*/ 3682579 h 6661143"/>
              <a:gd name="connsiteX267" fmla="*/ 3517361 w 12191986"/>
              <a:gd name="connsiteY267" fmla="*/ 3679374 h 6661143"/>
              <a:gd name="connsiteX268" fmla="*/ 3522123 w 12191986"/>
              <a:gd name="connsiteY268" fmla="*/ 3676703 h 6661143"/>
              <a:gd name="connsiteX269" fmla="*/ 3526357 w 12191986"/>
              <a:gd name="connsiteY269" fmla="*/ 3674032 h 6661143"/>
              <a:gd name="connsiteX270" fmla="*/ 3531647 w 12191986"/>
              <a:gd name="connsiteY270" fmla="*/ 3671895 h 6661143"/>
              <a:gd name="connsiteX271" fmla="*/ 3536939 w 12191986"/>
              <a:gd name="connsiteY271" fmla="*/ 3671361 h 6661143"/>
              <a:gd name="connsiteX272" fmla="*/ 1227679 w 12191986"/>
              <a:gd name="connsiteY272" fmla="*/ 3600443 h 6661143"/>
              <a:gd name="connsiteX273" fmla="*/ 1234642 w 12191986"/>
              <a:gd name="connsiteY273" fmla="*/ 3607851 h 6661143"/>
              <a:gd name="connsiteX274" fmla="*/ 1249105 w 12191986"/>
              <a:gd name="connsiteY274" fmla="*/ 3630076 h 6661143"/>
              <a:gd name="connsiteX275" fmla="*/ 1252855 w 12191986"/>
              <a:gd name="connsiteY275" fmla="*/ 3636955 h 6661143"/>
              <a:gd name="connsiteX276" fmla="*/ 1257140 w 12191986"/>
              <a:gd name="connsiteY276" fmla="*/ 3644364 h 6661143"/>
              <a:gd name="connsiteX277" fmla="*/ 1260890 w 12191986"/>
              <a:gd name="connsiteY277" fmla="*/ 3652301 h 6661143"/>
              <a:gd name="connsiteX278" fmla="*/ 1264104 w 12191986"/>
              <a:gd name="connsiteY278" fmla="*/ 3660239 h 6661143"/>
              <a:gd name="connsiteX279" fmla="*/ 1266246 w 12191986"/>
              <a:gd name="connsiteY279" fmla="*/ 3668706 h 6661143"/>
              <a:gd name="connsiteX280" fmla="*/ 1268389 w 12191986"/>
              <a:gd name="connsiteY280" fmla="*/ 3677172 h 6661143"/>
              <a:gd name="connsiteX281" fmla="*/ 1269996 w 12191986"/>
              <a:gd name="connsiteY281" fmla="*/ 3686168 h 6661143"/>
              <a:gd name="connsiteX282" fmla="*/ 1269996 w 12191986"/>
              <a:gd name="connsiteY282" fmla="*/ 3694635 h 6661143"/>
              <a:gd name="connsiteX283" fmla="*/ 1269996 w 12191986"/>
              <a:gd name="connsiteY283" fmla="*/ 3700985 h 6661143"/>
              <a:gd name="connsiteX284" fmla="*/ 1269460 w 12191986"/>
              <a:gd name="connsiteY284" fmla="*/ 3706806 h 6661143"/>
              <a:gd name="connsiteX285" fmla="*/ 1267853 w 12191986"/>
              <a:gd name="connsiteY285" fmla="*/ 3712097 h 6661143"/>
              <a:gd name="connsiteX286" fmla="*/ 1266246 w 12191986"/>
              <a:gd name="connsiteY286" fmla="*/ 3717918 h 6661143"/>
              <a:gd name="connsiteX287" fmla="*/ 1264639 w 12191986"/>
              <a:gd name="connsiteY287" fmla="*/ 3722152 h 6661143"/>
              <a:gd name="connsiteX288" fmla="*/ 1262497 w 12191986"/>
              <a:gd name="connsiteY288" fmla="*/ 3725856 h 6661143"/>
              <a:gd name="connsiteX289" fmla="*/ 1259283 w 12191986"/>
              <a:gd name="connsiteY289" fmla="*/ 3730089 h 6661143"/>
              <a:gd name="connsiteX290" fmla="*/ 1257140 w 12191986"/>
              <a:gd name="connsiteY290" fmla="*/ 3732735 h 6661143"/>
              <a:gd name="connsiteX291" fmla="*/ 1253926 w 12191986"/>
              <a:gd name="connsiteY291" fmla="*/ 3735910 h 6661143"/>
              <a:gd name="connsiteX292" fmla="*/ 1250176 w 12191986"/>
              <a:gd name="connsiteY292" fmla="*/ 3739085 h 6661143"/>
              <a:gd name="connsiteX293" fmla="*/ 1245891 w 12191986"/>
              <a:gd name="connsiteY293" fmla="*/ 3740673 h 6661143"/>
              <a:gd name="connsiteX294" fmla="*/ 1242141 w 12191986"/>
              <a:gd name="connsiteY294" fmla="*/ 3742789 h 6661143"/>
              <a:gd name="connsiteX295" fmla="*/ 1238392 w 12191986"/>
              <a:gd name="connsiteY295" fmla="*/ 3743318 h 6661143"/>
              <a:gd name="connsiteX296" fmla="*/ 1234642 w 12191986"/>
              <a:gd name="connsiteY296" fmla="*/ 3744906 h 6661143"/>
              <a:gd name="connsiteX297" fmla="*/ 1229821 w 12191986"/>
              <a:gd name="connsiteY297" fmla="*/ 3744906 h 6661143"/>
              <a:gd name="connsiteX298" fmla="*/ 1225536 w 12191986"/>
              <a:gd name="connsiteY298" fmla="*/ 3744906 h 6661143"/>
              <a:gd name="connsiteX299" fmla="*/ 1221251 w 12191986"/>
              <a:gd name="connsiteY299" fmla="*/ 3744906 h 6661143"/>
              <a:gd name="connsiteX300" fmla="*/ 1216965 w 12191986"/>
              <a:gd name="connsiteY300" fmla="*/ 3744377 h 6661143"/>
              <a:gd name="connsiteX301" fmla="*/ 1212144 w 12191986"/>
              <a:gd name="connsiteY301" fmla="*/ 3743318 h 6661143"/>
              <a:gd name="connsiteX302" fmla="*/ 1208395 w 12191986"/>
              <a:gd name="connsiteY302" fmla="*/ 3742260 h 6661143"/>
              <a:gd name="connsiteX303" fmla="*/ 1204645 w 12191986"/>
              <a:gd name="connsiteY303" fmla="*/ 3739614 h 6661143"/>
              <a:gd name="connsiteX304" fmla="*/ 1201431 w 12191986"/>
              <a:gd name="connsiteY304" fmla="*/ 3738027 h 6661143"/>
              <a:gd name="connsiteX305" fmla="*/ 1197681 w 12191986"/>
              <a:gd name="connsiteY305" fmla="*/ 3735381 h 6661143"/>
              <a:gd name="connsiteX306" fmla="*/ 1194468 w 12191986"/>
              <a:gd name="connsiteY306" fmla="*/ 3732206 h 6661143"/>
              <a:gd name="connsiteX307" fmla="*/ 1192325 w 12191986"/>
              <a:gd name="connsiteY307" fmla="*/ 3729031 h 6661143"/>
              <a:gd name="connsiteX308" fmla="*/ 1189647 w 12191986"/>
              <a:gd name="connsiteY308" fmla="*/ 3725327 h 6661143"/>
              <a:gd name="connsiteX309" fmla="*/ 1187504 w 12191986"/>
              <a:gd name="connsiteY309" fmla="*/ 3720564 h 6661143"/>
              <a:gd name="connsiteX310" fmla="*/ 1185897 w 12191986"/>
              <a:gd name="connsiteY310" fmla="*/ 3716331 h 6661143"/>
              <a:gd name="connsiteX311" fmla="*/ 1184290 w 12191986"/>
              <a:gd name="connsiteY311" fmla="*/ 3711039 h 6661143"/>
              <a:gd name="connsiteX312" fmla="*/ 1182683 w 12191986"/>
              <a:gd name="connsiteY312" fmla="*/ 3705218 h 6661143"/>
              <a:gd name="connsiteX313" fmla="*/ 1182683 w 12191986"/>
              <a:gd name="connsiteY313" fmla="*/ 3699927 h 6661143"/>
              <a:gd name="connsiteX314" fmla="*/ 1182683 w 12191986"/>
              <a:gd name="connsiteY314" fmla="*/ 3694106 h 6661143"/>
              <a:gd name="connsiteX315" fmla="*/ 1182683 w 12191986"/>
              <a:gd name="connsiteY315" fmla="*/ 3685110 h 6661143"/>
              <a:gd name="connsiteX316" fmla="*/ 1184290 w 12191986"/>
              <a:gd name="connsiteY316" fmla="*/ 3676643 h 6661143"/>
              <a:gd name="connsiteX317" fmla="*/ 1186968 w 12191986"/>
              <a:gd name="connsiteY317" fmla="*/ 3667118 h 6661143"/>
              <a:gd name="connsiteX318" fmla="*/ 1189647 w 12191986"/>
              <a:gd name="connsiteY318" fmla="*/ 3659181 h 6661143"/>
              <a:gd name="connsiteX319" fmla="*/ 1193396 w 12191986"/>
              <a:gd name="connsiteY319" fmla="*/ 3651243 h 6661143"/>
              <a:gd name="connsiteX320" fmla="*/ 1197681 w 12191986"/>
              <a:gd name="connsiteY320" fmla="*/ 3643835 h 6661143"/>
              <a:gd name="connsiteX321" fmla="*/ 1201431 w 12191986"/>
              <a:gd name="connsiteY321" fmla="*/ 3635897 h 6661143"/>
              <a:gd name="connsiteX322" fmla="*/ 1205181 w 12191986"/>
              <a:gd name="connsiteY322" fmla="*/ 3629018 h 6661143"/>
              <a:gd name="connsiteX323" fmla="*/ 1220715 w 12191986"/>
              <a:gd name="connsiteY323" fmla="*/ 3607851 h 6661143"/>
              <a:gd name="connsiteX324" fmla="*/ 3805465 w 12191986"/>
              <a:gd name="connsiteY324" fmla="*/ 3535356 h 6661143"/>
              <a:gd name="connsiteX325" fmla="*/ 3810783 w 12191986"/>
              <a:gd name="connsiteY325" fmla="*/ 3535356 h 6661143"/>
              <a:gd name="connsiteX326" fmla="*/ 3816630 w 12191986"/>
              <a:gd name="connsiteY326" fmla="*/ 3535356 h 6661143"/>
              <a:gd name="connsiteX327" fmla="*/ 3821948 w 12191986"/>
              <a:gd name="connsiteY327" fmla="*/ 3535885 h 6661143"/>
              <a:gd name="connsiteX328" fmla="*/ 3827264 w 12191986"/>
              <a:gd name="connsiteY328" fmla="*/ 3537473 h 6661143"/>
              <a:gd name="connsiteX329" fmla="*/ 3831517 w 12191986"/>
              <a:gd name="connsiteY329" fmla="*/ 3539060 h 6661143"/>
              <a:gd name="connsiteX330" fmla="*/ 3836834 w 12191986"/>
              <a:gd name="connsiteY330" fmla="*/ 3541177 h 6661143"/>
              <a:gd name="connsiteX331" fmla="*/ 3841619 w 12191986"/>
              <a:gd name="connsiteY331" fmla="*/ 3544352 h 6661143"/>
              <a:gd name="connsiteX332" fmla="*/ 3846404 w 12191986"/>
              <a:gd name="connsiteY332" fmla="*/ 3547527 h 6661143"/>
              <a:gd name="connsiteX333" fmla="*/ 3850658 w 12191986"/>
              <a:gd name="connsiteY333" fmla="*/ 3551231 h 6661143"/>
              <a:gd name="connsiteX334" fmla="*/ 3854911 w 12191986"/>
              <a:gd name="connsiteY334" fmla="*/ 3555993 h 6661143"/>
              <a:gd name="connsiteX335" fmla="*/ 3857569 w 12191986"/>
              <a:gd name="connsiteY335" fmla="*/ 3560227 h 6661143"/>
              <a:gd name="connsiteX336" fmla="*/ 3860759 w 12191986"/>
              <a:gd name="connsiteY336" fmla="*/ 3564989 h 6661143"/>
              <a:gd name="connsiteX337" fmla="*/ 3862886 w 12191986"/>
              <a:gd name="connsiteY337" fmla="*/ 3569752 h 6661143"/>
              <a:gd name="connsiteX338" fmla="*/ 3864481 w 12191986"/>
              <a:gd name="connsiteY338" fmla="*/ 3575043 h 6661143"/>
              <a:gd name="connsiteX339" fmla="*/ 3866076 w 12191986"/>
              <a:gd name="connsiteY339" fmla="*/ 3580335 h 6661143"/>
              <a:gd name="connsiteX340" fmla="*/ 3867139 w 12191986"/>
              <a:gd name="connsiteY340" fmla="*/ 3585627 h 6661143"/>
              <a:gd name="connsiteX341" fmla="*/ 3867139 w 12191986"/>
              <a:gd name="connsiteY341" fmla="*/ 3590918 h 6661143"/>
              <a:gd name="connsiteX342" fmla="*/ 3867139 w 12191986"/>
              <a:gd name="connsiteY342" fmla="*/ 3596210 h 6661143"/>
              <a:gd name="connsiteX343" fmla="*/ 3866076 w 12191986"/>
              <a:gd name="connsiteY343" fmla="*/ 3601502 h 6661143"/>
              <a:gd name="connsiteX344" fmla="*/ 3864481 w 12191986"/>
              <a:gd name="connsiteY344" fmla="*/ 3606793 h 6661143"/>
              <a:gd name="connsiteX345" fmla="*/ 3862886 w 12191986"/>
              <a:gd name="connsiteY345" fmla="*/ 3612085 h 6661143"/>
              <a:gd name="connsiteX346" fmla="*/ 3860759 w 12191986"/>
              <a:gd name="connsiteY346" fmla="*/ 3616848 h 6661143"/>
              <a:gd name="connsiteX347" fmla="*/ 3857569 w 12191986"/>
              <a:gd name="connsiteY347" fmla="*/ 3621610 h 6661143"/>
              <a:gd name="connsiteX348" fmla="*/ 3853847 w 12191986"/>
              <a:gd name="connsiteY348" fmla="*/ 3625843 h 6661143"/>
              <a:gd name="connsiteX349" fmla="*/ 3850126 w 12191986"/>
              <a:gd name="connsiteY349" fmla="*/ 3630606 h 6661143"/>
              <a:gd name="connsiteX350" fmla="*/ 3846404 w 12191986"/>
              <a:gd name="connsiteY350" fmla="*/ 3634310 h 6661143"/>
              <a:gd name="connsiteX351" fmla="*/ 3841619 w 12191986"/>
              <a:gd name="connsiteY351" fmla="*/ 3637485 h 6661143"/>
              <a:gd name="connsiteX352" fmla="*/ 3836834 w 12191986"/>
              <a:gd name="connsiteY352" fmla="*/ 3640660 h 6661143"/>
              <a:gd name="connsiteX353" fmla="*/ 3831517 w 12191986"/>
              <a:gd name="connsiteY353" fmla="*/ 3642777 h 6661143"/>
              <a:gd name="connsiteX354" fmla="*/ 3826201 w 12191986"/>
              <a:gd name="connsiteY354" fmla="*/ 3644364 h 6661143"/>
              <a:gd name="connsiteX355" fmla="*/ 3821948 w 12191986"/>
              <a:gd name="connsiteY355" fmla="*/ 3645952 h 6661143"/>
              <a:gd name="connsiteX356" fmla="*/ 3816630 w 12191986"/>
              <a:gd name="connsiteY356" fmla="*/ 3646481 h 6661143"/>
              <a:gd name="connsiteX357" fmla="*/ 3810251 w 12191986"/>
              <a:gd name="connsiteY357" fmla="*/ 3646481 h 6661143"/>
              <a:gd name="connsiteX358" fmla="*/ 3804935 w 12191986"/>
              <a:gd name="connsiteY358" fmla="*/ 3646481 h 6661143"/>
              <a:gd name="connsiteX359" fmla="*/ 3799618 w 12191986"/>
              <a:gd name="connsiteY359" fmla="*/ 3645952 h 6661143"/>
              <a:gd name="connsiteX360" fmla="*/ 3794832 w 12191986"/>
              <a:gd name="connsiteY360" fmla="*/ 3644364 h 6661143"/>
              <a:gd name="connsiteX361" fmla="*/ 3789517 w 12191986"/>
              <a:gd name="connsiteY361" fmla="*/ 3642777 h 6661143"/>
              <a:gd name="connsiteX362" fmla="*/ 3784199 w 12191986"/>
              <a:gd name="connsiteY362" fmla="*/ 3640660 h 6661143"/>
              <a:gd name="connsiteX363" fmla="*/ 3779414 w 12191986"/>
              <a:gd name="connsiteY363" fmla="*/ 3637485 h 6661143"/>
              <a:gd name="connsiteX364" fmla="*/ 3775161 w 12191986"/>
              <a:gd name="connsiteY364" fmla="*/ 3634310 h 6661143"/>
              <a:gd name="connsiteX365" fmla="*/ 3771440 w 12191986"/>
              <a:gd name="connsiteY365" fmla="*/ 3630606 h 6661143"/>
              <a:gd name="connsiteX366" fmla="*/ 3767187 w 12191986"/>
              <a:gd name="connsiteY366" fmla="*/ 3625843 h 6661143"/>
              <a:gd name="connsiteX367" fmla="*/ 3763464 w 12191986"/>
              <a:gd name="connsiteY367" fmla="*/ 3621610 h 6661143"/>
              <a:gd name="connsiteX368" fmla="*/ 3761338 w 12191986"/>
              <a:gd name="connsiteY368" fmla="*/ 3616848 h 6661143"/>
              <a:gd name="connsiteX369" fmla="*/ 3759211 w 12191986"/>
              <a:gd name="connsiteY369" fmla="*/ 3611556 h 6661143"/>
              <a:gd name="connsiteX370" fmla="*/ 3756554 w 12191986"/>
              <a:gd name="connsiteY370" fmla="*/ 3606793 h 6661143"/>
              <a:gd name="connsiteX371" fmla="*/ 3756022 w 12191986"/>
              <a:gd name="connsiteY371" fmla="*/ 3601502 h 6661143"/>
              <a:gd name="connsiteX372" fmla="*/ 3754958 w 12191986"/>
              <a:gd name="connsiteY372" fmla="*/ 3596210 h 6661143"/>
              <a:gd name="connsiteX373" fmla="*/ 3754427 w 12191986"/>
              <a:gd name="connsiteY373" fmla="*/ 3590918 h 6661143"/>
              <a:gd name="connsiteX374" fmla="*/ 3754958 w 12191986"/>
              <a:gd name="connsiteY374" fmla="*/ 3585627 h 6661143"/>
              <a:gd name="connsiteX375" fmla="*/ 3756022 w 12191986"/>
              <a:gd name="connsiteY375" fmla="*/ 3580335 h 6661143"/>
              <a:gd name="connsiteX376" fmla="*/ 3756554 w 12191986"/>
              <a:gd name="connsiteY376" fmla="*/ 3575043 h 6661143"/>
              <a:gd name="connsiteX377" fmla="*/ 3759211 w 12191986"/>
              <a:gd name="connsiteY377" fmla="*/ 3569752 h 6661143"/>
              <a:gd name="connsiteX378" fmla="*/ 3761338 w 12191986"/>
              <a:gd name="connsiteY378" fmla="*/ 3564989 h 6661143"/>
              <a:gd name="connsiteX379" fmla="*/ 3763464 w 12191986"/>
              <a:gd name="connsiteY379" fmla="*/ 3559698 h 6661143"/>
              <a:gd name="connsiteX380" fmla="*/ 3767187 w 12191986"/>
              <a:gd name="connsiteY380" fmla="*/ 3555993 h 6661143"/>
              <a:gd name="connsiteX381" fmla="*/ 3771440 w 12191986"/>
              <a:gd name="connsiteY381" fmla="*/ 3551231 h 6661143"/>
              <a:gd name="connsiteX382" fmla="*/ 3775161 w 12191986"/>
              <a:gd name="connsiteY382" fmla="*/ 3547527 h 6661143"/>
              <a:gd name="connsiteX383" fmla="*/ 3779414 w 12191986"/>
              <a:gd name="connsiteY383" fmla="*/ 3544352 h 6661143"/>
              <a:gd name="connsiteX384" fmla="*/ 3784731 w 12191986"/>
              <a:gd name="connsiteY384" fmla="*/ 3541177 h 6661143"/>
              <a:gd name="connsiteX385" fmla="*/ 3789517 w 12191986"/>
              <a:gd name="connsiteY385" fmla="*/ 3539060 h 6661143"/>
              <a:gd name="connsiteX386" fmla="*/ 3794832 w 12191986"/>
              <a:gd name="connsiteY386" fmla="*/ 3537473 h 6661143"/>
              <a:gd name="connsiteX387" fmla="*/ 3800150 w 12191986"/>
              <a:gd name="connsiteY387" fmla="*/ 3535885 h 6661143"/>
              <a:gd name="connsiteX388" fmla="*/ 1700952 w 12191986"/>
              <a:gd name="connsiteY388" fmla="*/ 3508368 h 6661143"/>
              <a:gd name="connsiteX389" fmla="*/ 1706308 w 12191986"/>
              <a:gd name="connsiteY389" fmla="*/ 3517298 h 6661143"/>
              <a:gd name="connsiteX390" fmla="*/ 1716483 w 12191986"/>
              <a:gd name="connsiteY390" fmla="*/ 3541460 h 6661143"/>
              <a:gd name="connsiteX391" fmla="*/ 1719696 w 12191986"/>
              <a:gd name="connsiteY391" fmla="*/ 3549339 h 6661143"/>
              <a:gd name="connsiteX392" fmla="*/ 1721838 w 12191986"/>
              <a:gd name="connsiteY392" fmla="*/ 3556693 h 6661143"/>
              <a:gd name="connsiteX393" fmla="*/ 1723980 w 12191986"/>
              <a:gd name="connsiteY393" fmla="*/ 3565098 h 6661143"/>
              <a:gd name="connsiteX394" fmla="*/ 1725587 w 12191986"/>
              <a:gd name="connsiteY394" fmla="*/ 3573502 h 6661143"/>
              <a:gd name="connsiteX395" fmla="*/ 1726658 w 12191986"/>
              <a:gd name="connsiteY395" fmla="*/ 3582432 h 6661143"/>
              <a:gd name="connsiteX396" fmla="*/ 1727194 w 12191986"/>
              <a:gd name="connsiteY396" fmla="*/ 3590836 h 6661143"/>
              <a:gd name="connsiteX397" fmla="*/ 1727194 w 12191986"/>
              <a:gd name="connsiteY397" fmla="*/ 3599766 h 6661143"/>
              <a:gd name="connsiteX398" fmla="*/ 1725587 w 12191986"/>
              <a:gd name="connsiteY398" fmla="*/ 3608170 h 6661143"/>
              <a:gd name="connsiteX399" fmla="*/ 1723980 w 12191986"/>
              <a:gd name="connsiteY399" fmla="*/ 3614474 h 6661143"/>
              <a:gd name="connsiteX400" fmla="*/ 1722374 w 12191986"/>
              <a:gd name="connsiteY400" fmla="*/ 3620252 h 6661143"/>
              <a:gd name="connsiteX401" fmla="*/ 1720232 w 12191986"/>
              <a:gd name="connsiteY401" fmla="*/ 3624979 h 6661143"/>
              <a:gd name="connsiteX402" fmla="*/ 1718089 w 12191986"/>
              <a:gd name="connsiteY402" fmla="*/ 3629181 h 6661143"/>
              <a:gd name="connsiteX403" fmla="*/ 1715412 w 12191986"/>
              <a:gd name="connsiteY403" fmla="*/ 3633909 h 6661143"/>
              <a:gd name="connsiteX404" fmla="*/ 1712734 w 12191986"/>
              <a:gd name="connsiteY404" fmla="*/ 3637586 h 6661143"/>
              <a:gd name="connsiteX405" fmla="*/ 1709521 w 12191986"/>
              <a:gd name="connsiteY405" fmla="*/ 3640737 h 6661143"/>
              <a:gd name="connsiteX406" fmla="*/ 1705772 w 12191986"/>
              <a:gd name="connsiteY406" fmla="*/ 3643889 h 6661143"/>
              <a:gd name="connsiteX407" fmla="*/ 1702559 w 12191986"/>
              <a:gd name="connsiteY407" fmla="*/ 3645990 h 6661143"/>
              <a:gd name="connsiteX408" fmla="*/ 1698810 w 12191986"/>
              <a:gd name="connsiteY408" fmla="*/ 3647566 h 6661143"/>
              <a:gd name="connsiteX409" fmla="*/ 1695061 w 12191986"/>
              <a:gd name="connsiteY409" fmla="*/ 3649142 h 6661143"/>
              <a:gd name="connsiteX410" fmla="*/ 1690241 w 12191986"/>
              <a:gd name="connsiteY410" fmla="*/ 3650718 h 6661143"/>
              <a:gd name="connsiteX411" fmla="*/ 1686492 w 12191986"/>
              <a:gd name="connsiteY411" fmla="*/ 3650718 h 6661143"/>
              <a:gd name="connsiteX412" fmla="*/ 1681672 w 12191986"/>
              <a:gd name="connsiteY412" fmla="*/ 3651243 h 6661143"/>
              <a:gd name="connsiteX413" fmla="*/ 1677924 w 12191986"/>
              <a:gd name="connsiteY413" fmla="*/ 3650718 h 6661143"/>
              <a:gd name="connsiteX414" fmla="*/ 1673104 w 12191986"/>
              <a:gd name="connsiteY414" fmla="*/ 3650718 h 6661143"/>
              <a:gd name="connsiteX415" fmla="*/ 1668820 w 12191986"/>
              <a:gd name="connsiteY415" fmla="*/ 3649142 h 6661143"/>
              <a:gd name="connsiteX416" fmla="*/ 1664535 w 12191986"/>
              <a:gd name="connsiteY416" fmla="*/ 3647566 h 6661143"/>
              <a:gd name="connsiteX417" fmla="*/ 1660786 w 12191986"/>
              <a:gd name="connsiteY417" fmla="*/ 3645990 h 6661143"/>
              <a:gd name="connsiteX418" fmla="*/ 1657038 w 12191986"/>
              <a:gd name="connsiteY418" fmla="*/ 3643889 h 6661143"/>
              <a:gd name="connsiteX419" fmla="*/ 1653289 w 12191986"/>
              <a:gd name="connsiteY419" fmla="*/ 3641263 h 6661143"/>
              <a:gd name="connsiteX420" fmla="*/ 1650076 w 12191986"/>
              <a:gd name="connsiteY420" fmla="*/ 3638636 h 6661143"/>
              <a:gd name="connsiteX421" fmla="*/ 1647933 w 12191986"/>
              <a:gd name="connsiteY421" fmla="*/ 3635485 h 6661143"/>
              <a:gd name="connsiteX422" fmla="*/ 1645256 w 12191986"/>
              <a:gd name="connsiteY422" fmla="*/ 3631808 h 6661143"/>
              <a:gd name="connsiteX423" fmla="*/ 1643114 w 12191986"/>
              <a:gd name="connsiteY423" fmla="*/ 3628131 h 6661143"/>
              <a:gd name="connsiteX424" fmla="*/ 1641507 w 12191986"/>
              <a:gd name="connsiteY424" fmla="*/ 3623929 h 6661143"/>
              <a:gd name="connsiteX425" fmla="*/ 1639900 w 12191986"/>
              <a:gd name="connsiteY425" fmla="*/ 3619726 h 6661143"/>
              <a:gd name="connsiteX426" fmla="*/ 1639365 w 12191986"/>
              <a:gd name="connsiteY426" fmla="*/ 3614999 h 6661143"/>
              <a:gd name="connsiteX427" fmla="*/ 1638294 w 12191986"/>
              <a:gd name="connsiteY427" fmla="*/ 3609746 h 6661143"/>
              <a:gd name="connsiteX428" fmla="*/ 1638294 w 12191986"/>
              <a:gd name="connsiteY428" fmla="*/ 3604493 h 6661143"/>
              <a:gd name="connsiteX429" fmla="*/ 1638294 w 12191986"/>
              <a:gd name="connsiteY429" fmla="*/ 3598190 h 6661143"/>
              <a:gd name="connsiteX430" fmla="*/ 1639900 w 12191986"/>
              <a:gd name="connsiteY430" fmla="*/ 3592412 h 6661143"/>
              <a:gd name="connsiteX431" fmla="*/ 1642578 w 12191986"/>
              <a:gd name="connsiteY431" fmla="*/ 3584008 h 6661143"/>
              <a:gd name="connsiteX432" fmla="*/ 1644720 w 12191986"/>
              <a:gd name="connsiteY432" fmla="*/ 3575603 h 6661143"/>
              <a:gd name="connsiteX433" fmla="*/ 1648469 w 12191986"/>
              <a:gd name="connsiteY433" fmla="*/ 3567199 h 6661143"/>
              <a:gd name="connsiteX434" fmla="*/ 1653289 w 12191986"/>
              <a:gd name="connsiteY434" fmla="*/ 3559845 h 6661143"/>
              <a:gd name="connsiteX435" fmla="*/ 1657573 w 12191986"/>
              <a:gd name="connsiteY435" fmla="*/ 3553016 h 6661143"/>
              <a:gd name="connsiteX436" fmla="*/ 1663464 w 12191986"/>
              <a:gd name="connsiteY436" fmla="*/ 3545137 h 6661143"/>
              <a:gd name="connsiteX437" fmla="*/ 1668820 w 12191986"/>
              <a:gd name="connsiteY437" fmla="*/ 3539359 h 6661143"/>
              <a:gd name="connsiteX438" fmla="*/ 1674175 w 12191986"/>
              <a:gd name="connsiteY438" fmla="*/ 3533056 h 6661143"/>
              <a:gd name="connsiteX439" fmla="*/ 1692383 w 12191986"/>
              <a:gd name="connsiteY439" fmla="*/ 3515196 h 6661143"/>
              <a:gd name="connsiteX440" fmla="*/ 1486127 w 12191986"/>
              <a:gd name="connsiteY440" fmla="*/ 3502018 h 6661143"/>
              <a:gd name="connsiteX441" fmla="*/ 1492438 w 12191986"/>
              <a:gd name="connsiteY441" fmla="*/ 3510454 h 6661143"/>
              <a:gd name="connsiteX442" fmla="*/ 1505586 w 12191986"/>
              <a:gd name="connsiteY442" fmla="*/ 3532598 h 6661143"/>
              <a:gd name="connsiteX443" fmla="*/ 1509794 w 12191986"/>
              <a:gd name="connsiteY443" fmla="*/ 3539452 h 6661143"/>
              <a:gd name="connsiteX444" fmla="*/ 1513475 w 12191986"/>
              <a:gd name="connsiteY444" fmla="*/ 3546833 h 6661143"/>
              <a:gd name="connsiteX445" fmla="*/ 1516631 w 12191986"/>
              <a:gd name="connsiteY445" fmla="*/ 3555269 h 6661143"/>
              <a:gd name="connsiteX446" fmla="*/ 1519260 w 12191986"/>
              <a:gd name="connsiteY446" fmla="*/ 3563177 h 6661143"/>
              <a:gd name="connsiteX447" fmla="*/ 1521890 w 12191986"/>
              <a:gd name="connsiteY447" fmla="*/ 3572140 h 6661143"/>
              <a:gd name="connsiteX448" fmla="*/ 1523468 w 12191986"/>
              <a:gd name="connsiteY448" fmla="*/ 3580576 h 6661143"/>
              <a:gd name="connsiteX449" fmla="*/ 1523993 w 12191986"/>
              <a:gd name="connsiteY449" fmla="*/ 3589012 h 6661143"/>
              <a:gd name="connsiteX450" fmla="*/ 1523993 w 12191986"/>
              <a:gd name="connsiteY450" fmla="*/ 3597975 h 6661143"/>
              <a:gd name="connsiteX451" fmla="*/ 1523993 w 12191986"/>
              <a:gd name="connsiteY451" fmla="*/ 3603775 h 6661143"/>
              <a:gd name="connsiteX452" fmla="*/ 1522416 w 12191986"/>
              <a:gd name="connsiteY452" fmla="*/ 3610102 h 6661143"/>
              <a:gd name="connsiteX453" fmla="*/ 1521890 w 12191986"/>
              <a:gd name="connsiteY453" fmla="*/ 3615374 h 6661143"/>
              <a:gd name="connsiteX454" fmla="*/ 1520312 w 12191986"/>
              <a:gd name="connsiteY454" fmla="*/ 3620119 h 6661143"/>
              <a:gd name="connsiteX455" fmla="*/ 1517682 w 12191986"/>
              <a:gd name="connsiteY455" fmla="*/ 3624337 h 6661143"/>
              <a:gd name="connsiteX456" fmla="*/ 1515579 w 12191986"/>
              <a:gd name="connsiteY456" fmla="*/ 3628555 h 6661143"/>
              <a:gd name="connsiteX457" fmla="*/ 1512423 w 12191986"/>
              <a:gd name="connsiteY457" fmla="*/ 3632245 h 6661143"/>
              <a:gd name="connsiteX458" fmla="*/ 1509794 w 12191986"/>
              <a:gd name="connsiteY458" fmla="*/ 3634882 h 6661143"/>
              <a:gd name="connsiteX459" fmla="*/ 1506638 w 12191986"/>
              <a:gd name="connsiteY459" fmla="*/ 3638045 h 6661143"/>
              <a:gd name="connsiteX460" fmla="*/ 1503483 w 12191986"/>
              <a:gd name="connsiteY460" fmla="*/ 3640681 h 6661143"/>
              <a:gd name="connsiteX461" fmla="*/ 1499801 w 12191986"/>
              <a:gd name="connsiteY461" fmla="*/ 3642790 h 6661143"/>
              <a:gd name="connsiteX462" fmla="*/ 1496120 w 12191986"/>
              <a:gd name="connsiteY462" fmla="*/ 3644372 h 6661143"/>
              <a:gd name="connsiteX463" fmla="*/ 1492438 w 12191986"/>
              <a:gd name="connsiteY463" fmla="*/ 3645954 h 6661143"/>
              <a:gd name="connsiteX464" fmla="*/ 1487705 w 12191986"/>
              <a:gd name="connsiteY464" fmla="*/ 3646481 h 6661143"/>
              <a:gd name="connsiteX465" fmla="*/ 1482972 w 12191986"/>
              <a:gd name="connsiteY465" fmla="*/ 3646481 h 6661143"/>
              <a:gd name="connsiteX466" fmla="*/ 1479290 w 12191986"/>
              <a:gd name="connsiteY466" fmla="*/ 3646481 h 6661143"/>
              <a:gd name="connsiteX467" fmla="*/ 1474557 w 12191986"/>
              <a:gd name="connsiteY467" fmla="*/ 3646481 h 6661143"/>
              <a:gd name="connsiteX468" fmla="*/ 1470350 w 12191986"/>
              <a:gd name="connsiteY468" fmla="*/ 3645954 h 6661143"/>
              <a:gd name="connsiteX469" fmla="*/ 1466668 w 12191986"/>
              <a:gd name="connsiteY469" fmla="*/ 3644372 h 6661143"/>
              <a:gd name="connsiteX470" fmla="*/ 1462461 w 12191986"/>
              <a:gd name="connsiteY470" fmla="*/ 3642790 h 6661143"/>
              <a:gd name="connsiteX471" fmla="*/ 1458779 w 12191986"/>
              <a:gd name="connsiteY471" fmla="*/ 3640681 h 6661143"/>
              <a:gd name="connsiteX472" fmla="*/ 1455098 w 12191986"/>
              <a:gd name="connsiteY472" fmla="*/ 3638045 h 6661143"/>
              <a:gd name="connsiteX473" fmla="*/ 1451942 w 12191986"/>
              <a:gd name="connsiteY473" fmla="*/ 3635936 h 6661143"/>
              <a:gd name="connsiteX474" fmla="*/ 1448787 w 12191986"/>
              <a:gd name="connsiteY474" fmla="*/ 3632773 h 6661143"/>
              <a:gd name="connsiteX475" fmla="*/ 1446683 w 12191986"/>
              <a:gd name="connsiteY475" fmla="*/ 3629082 h 6661143"/>
              <a:gd name="connsiteX476" fmla="*/ 1444579 w 12191986"/>
              <a:gd name="connsiteY476" fmla="*/ 3625391 h 6661143"/>
              <a:gd name="connsiteX477" fmla="*/ 1441950 w 12191986"/>
              <a:gd name="connsiteY477" fmla="*/ 3620646 h 6661143"/>
              <a:gd name="connsiteX478" fmla="*/ 1440898 w 12191986"/>
              <a:gd name="connsiteY478" fmla="*/ 3615901 h 6661143"/>
              <a:gd name="connsiteX479" fmla="*/ 1439846 w 12191986"/>
              <a:gd name="connsiteY479" fmla="*/ 3610629 h 6661143"/>
              <a:gd name="connsiteX480" fmla="*/ 1438268 w 12191986"/>
              <a:gd name="connsiteY480" fmla="*/ 3605356 h 6661143"/>
              <a:gd name="connsiteX481" fmla="*/ 1438268 w 12191986"/>
              <a:gd name="connsiteY481" fmla="*/ 3600084 h 6661143"/>
              <a:gd name="connsiteX482" fmla="*/ 1438268 w 12191986"/>
              <a:gd name="connsiteY482" fmla="*/ 3594284 h 6661143"/>
              <a:gd name="connsiteX483" fmla="*/ 1439320 w 12191986"/>
              <a:gd name="connsiteY483" fmla="*/ 3584794 h 6661143"/>
              <a:gd name="connsiteX484" fmla="*/ 1441424 w 12191986"/>
              <a:gd name="connsiteY484" fmla="*/ 3576886 h 6661143"/>
              <a:gd name="connsiteX485" fmla="*/ 1443528 w 12191986"/>
              <a:gd name="connsiteY485" fmla="*/ 3568450 h 6661143"/>
              <a:gd name="connsiteX486" fmla="*/ 1446683 w 12191986"/>
              <a:gd name="connsiteY486" fmla="*/ 3560014 h 6661143"/>
              <a:gd name="connsiteX487" fmla="*/ 1450365 w 12191986"/>
              <a:gd name="connsiteY487" fmla="*/ 3551578 h 6661143"/>
              <a:gd name="connsiteX488" fmla="*/ 1454572 w 12191986"/>
              <a:gd name="connsiteY488" fmla="*/ 3544197 h 6661143"/>
              <a:gd name="connsiteX489" fmla="*/ 1458779 w 12191986"/>
              <a:gd name="connsiteY489" fmla="*/ 3537343 h 6661143"/>
              <a:gd name="connsiteX490" fmla="*/ 1462461 w 12191986"/>
              <a:gd name="connsiteY490" fmla="*/ 3530489 h 6661143"/>
              <a:gd name="connsiteX491" fmla="*/ 1478764 w 12191986"/>
              <a:gd name="connsiteY491" fmla="*/ 3509926 h 6661143"/>
              <a:gd name="connsiteX492" fmla="*/ 3554926 w 12191986"/>
              <a:gd name="connsiteY492" fmla="*/ 3489318 h 6661143"/>
              <a:gd name="connsiteX493" fmla="*/ 3560168 w 12191986"/>
              <a:gd name="connsiteY493" fmla="*/ 3489842 h 6661143"/>
              <a:gd name="connsiteX494" fmla="*/ 3565411 w 12191986"/>
              <a:gd name="connsiteY494" fmla="*/ 3490890 h 6661143"/>
              <a:gd name="connsiteX495" fmla="*/ 3570653 w 12191986"/>
              <a:gd name="connsiteY495" fmla="*/ 3491415 h 6661143"/>
              <a:gd name="connsiteX496" fmla="*/ 3575894 w 12191986"/>
              <a:gd name="connsiteY496" fmla="*/ 3493511 h 6661143"/>
              <a:gd name="connsiteX497" fmla="*/ 3580611 w 12191986"/>
              <a:gd name="connsiteY497" fmla="*/ 3496132 h 6661143"/>
              <a:gd name="connsiteX498" fmla="*/ 3584804 w 12191986"/>
              <a:gd name="connsiteY498" fmla="*/ 3498229 h 6661143"/>
              <a:gd name="connsiteX499" fmla="*/ 3589523 w 12191986"/>
              <a:gd name="connsiteY499" fmla="*/ 3501898 h 6661143"/>
              <a:gd name="connsiteX500" fmla="*/ 3593716 w 12191986"/>
              <a:gd name="connsiteY500" fmla="*/ 3506091 h 6661143"/>
              <a:gd name="connsiteX501" fmla="*/ 3597909 w 12191986"/>
              <a:gd name="connsiteY501" fmla="*/ 3510285 h 6661143"/>
              <a:gd name="connsiteX502" fmla="*/ 3600530 w 12191986"/>
              <a:gd name="connsiteY502" fmla="*/ 3513954 h 6661143"/>
              <a:gd name="connsiteX503" fmla="*/ 3603674 w 12191986"/>
              <a:gd name="connsiteY503" fmla="*/ 3519196 h 6661143"/>
              <a:gd name="connsiteX504" fmla="*/ 3606296 w 12191986"/>
              <a:gd name="connsiteY504" fmla="*/ 3523913 h 6661143"/>
              <a:gd name="connsiteX505" fmla="*/ 3607343 w 12191986"/>
              <a:gd name="connsiteY505" fmla="*/ 3529155 h 6661143"/>
              <a:gd name="connsiteX506" fmla="*/ 3608916 w 12191986"/>
              <a:gd name="connsiteY506" fmla="*/ 3534397 h 6661143"/>
              <a:gd name="connsiteX507" fmla="*/ 3609965 w 12191986"/>
              <a:gd name="connsiteY507" fmla="*/ 3539639 h 6661143"/>
              <a:gd name="connsiteX508" fmla="*/ 3609965 w 12191986"/>
              <a:gd name="connsiteY508" fmla="*/ 3544880 h 6661143"/>
              <a:gd name="connsiteX509" fmla="*/ 3609965 w 12191986"/>
              <a:gd name="connsiteY509" fmla="*/ 3550646 h 6661143"/>
              <a:gd name="connsiteX510" fmla="*/ 3608916 w 12191986"/>
              <a:gd name="connsiteY510" fmla="*/ 3555888 h 6661143"/>
              <a:gd name="connsiteX511" fmla="*/ 3607343 w 12191986"/>
              <a:gd name="connsiteY511" fmla="*/ 3561130 h 6661143"/>
              <a:gd name="connsiteX512" fmla="*/ 3606296 w 12191986"/>
              <a:gd name="connsiteY512" fmla="*/ 3565323 h 6661143"/>
              <a:gd name="connsiteX513" fmla="*/ 3603674 w 12191986"/>
              <a:gd name="connsiteY513" fmla="*/ 3570565 h 6661143"/>
              <a:gd name="connsiteX514" fmla="*/ 3600530 w 12191986"/>
              <a:gd name="connsiteY514" fmla="*/ 3575282 h 6661143"/>
              <a:gd name="connsiteX515" fmla="*/ 3597909 w 12191986"/>
              <a:gd name="connsiteY515" fmla="*/ 3580000 h 6661143"/>
              <a:gd name="connsiteX516" fmla="*/ 3593716 w 12191986"/>
              <a:gd name="connsiteY516" fmla="*/ 3584193 h 6661143"/>
              <a:gd name="connsiteX517" fmla="*/ 3589523 w 12191986"/>
              <a:gd name="connsiteY517" fmla="*/ 3588387 h 6661143"/>
              <a:gd name="connsiteX518" fmla="*/ 3584804 w 12191986"/>
              <a:gd name="connsiteY518" fmla="*/ 3591008 h 6661143"/>
              <a:gd name="connsiteX519" fmla="*/ 3580611 w 12191986"/>
              <a:gd name="connsiteY519" fmla="*/ 3594153 h 6661143"/>
              <a:gd name="connsiteX520" fmla="*/ 3574846 w 12191986"/>
              <a:gd name="connsiteY520" fmla="*/ 3596249 h 6661143"/>
              <a:gd name="connsiteX521" fmla="*/ 3570653 w 12191986"/>
              <a:gd name="connsiteY521" fmla="*/ 3597822 h 6661143"/>
              <a:gd name="connsiteX522" fmla="*/ 3565411 w 12191986"/>
              <a:gd name="connsiteY522" fmla="*/ 3599395 h 6661143"/>
              <a:gd name="connsiteX523" fmla="*/ 3560168 w 12191986"/>
              <a:gd name="connsiteY523" fmla="*/ 3600443 h 6661143"/>
              <a:gd name="connsiteX524" fmla="*/ 3554926 w 12191986"/>
              <a:gd name="connsiteY524" fmla="*/ 3600443 h 6661143"/>
              <a:gd name="connsiteX525" fmla="*/ 3549685 w 12191986"/>
              <a:gd name="connsiteY525" fmla="*/ 3600443 h 6661143"/>
              <a:gd name="connsiteX526" fmla="*/ 3543919 w 12191986"/>
              <a:gd name="connsiteY526" fmla="*/ 3599395 h 6661143"/>
              <a:gd name="connsiteX527" fmla="*/ 3538678 w 12191986"/>
              <a:gd name="connsiteY527" fmla="*/ 3597822 h 6661143"/>
              <a:gd name="connsiteX528" fmla="*/ 3533436 w 12191986"/>
              <a:gd name="connsiteY528" fmla="*/ 3596249 h 6661143"/>
              <a:gd name="connsiteX529" fmla="*/ 3529242 w 12191986"/>
              <a:gd name="connsiteY529" fmla="*/ 3594153 h 6661143"/>
              <a:gd name="connsiteX530" fmla="*/ 3524000 w 12191986"/>
              <a:gd name="connsiteY530" fmla="*/ 3591008 h 6661143"/>
              <a:gd name="connsiteX531" fmla="*/ 3519283 w 12191986"/>
              <a:gd name="connsiteY531" fmla="*/ 3587339 h 6661143"/>
              <a:gd name="connsiteX532" fmla="*/ 3515614 w 12191986"/>
              <a:gd name="connsiteY532" fmla="*/ 3583669 h 6661143"/>
              <a:gd name="connsiteX533" fmla="*/ 3511944 w 12191986"/>
              <a:gd name="connsiteY533" fmla="*/ 3580000 h 6661143"/>
              <a:gd name="connsiteX534" fmla="*/ 3507751 w 12191986"/>
              <a:gd name="connsiteY534" fmla="*/ 3575282 h 6661143"/>
              <a:gd name="connsiteX535" fmla="*/ 3505654 w 12191986"/>
              <a:gd name="connsiteY535" fmla="*/ 3570565 h 6661143"/>
              <a:gd name="connsiteX536" fmla="*/ 3503558 w 12191986"/>
              <a:gd name="connsiteY536" fmla="*/ 3565323 h 6661143"/>
              <a:gd name="connsiteX537" fmla="*/ 3500937 w 12191986"/>
              <a:gd name="connsiteY537" fmla="*/ 3560081 h 6661143"/>
              <a:gd name="connsiteX538" fmla="*/ 3500412 w 12191986"/>
              <a:gd name="connsiteY538" fmla="*/ 3555888 h 6661143"/>
              <a:gd name="connsiteX539" fmla="*/ 3499364 w 12191986"/>
              <a:gd name="connsiteY539" fmla="*/ 3550646 h 6661143"/>
              <a:gd name="connsiteX540" fmla="*/ 3498840 w 12191986"/>
              <a:gd name="connsiteY540" fmla="*/ 3544880 h 6661143"/>
              <a:gd name="connsiteX541" fmla="*/ 3499364 w 12191986"/>
              <a:gd name="connsiteY541" fmla="*/ 3539114 h 6661143"/>
              <a:gd name="connsiteX542" fmla="*/ 3500412 w 12191986"/>
              <a:gd name="connsiteY542" fmla="*/ 3533873 h 6661143"/>
              <a:gd name="connsiteX543" fmla="*/ 3501985 w 12191986"/>
              <a:gd name="connsiteY543" fmla="*/ 3529155 h 6661143"/>
              <a:gd name="connsiteX544" fmla="*/ 3503558 w 12191986"/>
              <a:gd name="connsiteY544" fmla="*/ 3523913 h 6661143"/>
              <a:gd name="connsiteX545" fmla="*/ 3505654 w 12191986"/>
              <a:gd name="connsiteY545" fmla="*/ 3518672 h 6661143"/>
              <a:gd name="connsiteX546" fmla="*/ 3508800 w 12191986"/>
              <a:gd name="connsiteY546" fmla="*/ 3513954 h 6661143"/>
              <a:gd name="connsiteX547" fmla="*/ 3511944 w 12191986"/>
              <a:gd name="connsiteY547" fmla="*/ 3509761 h 6661143"/>
              <a:gd name="connsiteX548" fmla="*/ 3515614 w 12191986"/>
              <a:gd name="connsiteY548" fmla="*/ 3506091 h 6661143"/>
              <a:gd name="connsiteX549" fmla="*/ 3519807 w 12191986"/>
              <a:gd name="connsiteY549" fmla="*/ 3501898 h 6661143"/>
              <a:gd name="connsiteX550" fmla="*/ 3524524 w 12191986"/>
              <a:gd name="connsiteY550" fmla="*/ 3498229 h 6661143"/>
              <a:gd name="connsiteX551" fmla="*/ 3529242 w 12191986"/>
              <a:gd name="connsiteY551" fmla="*/ 3496132 h 6661143"/>
              <a:gd name="connsiteX552" fmla="*/ 3533436 w 12191986"/>
              <a:gd name="connsiteY552" fmla="*/ 3493511 h 6661143"/>
              <a:gd name="connsiteX553" fmla="*/ 3538678 w 12191986"/>
              <a:gd name="connsiteY553" fmla="*/ 3491415 h 6661143"/>
              <a:gd name="connsiteX554" fmla="*/ 3543919 w 12191986"/>
              <a:gd name="connsiteY554" fmla="*/ 3490890 h 6661143"/>
              <a:gd name="connsiteX555" fmla="*/ 3549685 w 12191986"/>
              <a:gd name="connsiteY555" fmla="*/ 3489842 h 6661143"/>
              <a:gd name="connsiteX556" fmla="*/ 1110951 w 12191986"/>
              <a:gd name="connsiteY556" fmla="*/ 3481381 h 6661143"/>
              <a:gd name="connsiteX557" fmla="*/ 1117262 w 12191986"/>
              <a:gd name="connsiteY557" fmla="*/ 3489878 h 6661143"/>
              <a:gd name="connsiteX558" fmla="*/ 1130936 w 12191986"/>
              <a:gd name="connsiteY558" fmla="*/ 3512715 h 6661143"/>
              <a:gd name="connsiteX559" fmla="*/ 1135144 w 12191986"/>
              <a:gd name="connsiteY559" fmla="*/ 3519619 h 6661143"/>
              <a:gd name="connsiteX560" fmla="*/ 1138825 w 12191986"/>
              <a:gd name="connsiteY560" fmla="*/ 3527055 h 6661143"/>
              <a:gd name="connsiteX561" fmla="*/ 1141981 w 12191986"/>
              <a:gd name="connsiteY561" fmla="*/ 3535021 h 6661143"/>
              <a:gd name="connsiteX562" fmla="*/ 1144610 w 12191986"/>
              <a:gd name="connsiteY562" fmla="*/ 3543519 h 6661143"/>
              <a:gd name="connsiteX563" fmla="*/ 1147240 w 12191986"/>
              <a:gd name="connsiteY563" fmla="*/ 3551485 h 6661143"/>
              <a:gd name="connsiteX564" fmla="*/ 1148817 w 12191986"/>
              <a:gd name="connsiteY564" fmla="*/ 3561045 h 6661143"/>
              <a:gd name="connsiteX565" fmla="*/ 1149343 w 12191986"/>
              <a:gd name="connsiteY565" fmla="*/ 3569542 h 6661143"/>
              <a:gd name="connsiteX566" fmla="*/ 1149343 w 12191986"/>
              <a:gd name="connsiteY566" fmla="*/ 3578571 h 6661143"/>
              <a:gd name="connsiteX567" fmla="*/ 1149343 w 12191986"/>
              <a:gd name="connsiteY567" fmla="*/ 3584413 h 6661143"/>
              <a:gd name="connsiteX568" fmla="*/ 1148817 w 12191986"/>
              <a:gd name="connsiteY568" fmla="*/ 3589723 h 6661143"/>
              <a:gd name="connsiteX569" fmla="*/ 1147240 w 12191986"/>
              <a:gd name="connsiteY569" fmla="*/ 3595565 h 6661143"/>
              <a:gd name="connsiteX570" fmla="*/ 1145662 w 12191986"/>
              <a:gd name="connsiteY570" fmla="*/ 3600876 h 6661143"/>
              <a:gd name="connsiteX571" fmla="*/ 1143032 w 12191986"/>
              <a:gd name="connsiteY571" fmla="*/ 3605125 h 6661143"/>
              <a:gd name="connsiteX572" fmla="*/ 1140929 w 12191986"/>
              <a:gd name="connsiteY572" fmla="*/ 3608843 h 6661143"/>
              <a:gd name="connsiteX573" fmla="*/ 1137773 w 12191986"/>
              <a:gd name="connsiteY573" fmla="*/ 3613091 h 6661143"/>
              <a:gd name="connsiteX574" fmla="*/ 1135144 w 12191986"/>
              <a:gd name="connsiteY574" fmla="*/ 3615747 h 6661143"/>
              <a:gd name="connsiteX575" fmla="*/ 1131988 w 12191986"/>
              <a:gd name="connsiteY575" fmla="*/ 3618933 h 6661143"/>
              <a:gd name="connsiteX576" fmla="*/ 1128833 w 12191986"/>
              <a:gd name="connsiteY576" fmla="*/ 3621589 h 6661143"/>
              <a:gd name="connsiteX577" fmla="*/ 1125151 w 12191986"/>
              <a:gd name="connsiteY577" fmla="*/ 3623713 h 6661143"/>
              <a:gd name="connsiteX578" fmla="*/ 1121470 w 12191986"/>
              <a:gd name="connsiteY578" fmla="*/ 3625307 h 6661143"/>
              <a:gd name="connsiteX579" fmla="*/ 1117262 w 12191986"/>
              <a:gd name="connsiteY579" fmla="*/ 3626900 h 6661143"/>
              <a:gd name="connsiteX580" fmla="*/ 1113055 w 12191986"/>
              <a:gd name="connsiteY580" fmla="*/ 3627431 h 6661143"/>
              <a:gd name="connsiteX581" fmla="*/ 1108322 w 12191986"/>
              <a:gd name="connsiteY581" fmla="*/ 3627431 h 6661143"/>
              <a:gd name="connsiteX582" fmla="*/ 1104640 w 12191986"/>
              <a:gd name="connsiteY582" fmla="*/ 3627431 h 6661143"/>
              <a:gd name="connsiteX583" fmla="*/ 1099907 w 12191986"/>
              <a:gd name="connsiteY583" fmla="*/ 3627431 h 6661143"/>
              <a:gd name="connsiteX584" fmla="*/ 1095699 w 12191986"/>
              <a:gd name="connsiteY584" fmla="*/ 3626900 h 6661143"/>
              <a:gd name="connsiteX585" fmla="*/ 1092018 w 12191986"/>
              <a:gd name="connsiteY585" fmla="*/ 3625307 h 6661143"/>
              <a:gd name="connsiteX586" fmla="*/ 1087811 w 12191986"/>
              <a:gd name="connsiteY586" fmla="*/ 3623713 h 6661143"/>
              <a:gd name="connsiteX587" fmla="*/ 1084129 w 12191986"/>
              <a:gd name="connsiteY587" fmla="*/ 3621589 h 6661143"/>
              <a:gd name="connsiteX588" fmla="*/ 1080448 w 12191986"/>
              <a:gd name="connsiteY588" fmla="*/ 3618933 h 6661143"/>
              <a:gd name="connsiteX589" fmla="*/ 1077292 w 12191986"/>
              <a:gd name="connsiteY589" fmla="*/ 3616809 h 6661143"/>
              <a:gd name="connsiteX590" fmla="*/ 1074137 w 12191986"/>
              <a:gd name="connsiteY590" fmla="*/ 3613091 h 6661143"/>
              <a:gd name="connsiteX591" fmla="*/ 1072033 w 12191986"/>
              <a:gd name="connsiteY591" fmla="*/ 3609905 h 6661143"/>
              <a:gd name="connsiteX592" fmla="*/ 1069929 w 12191986"/>
              <a:gd name="connsiteY592" fmla="*/ 3606187 h 6661143"/>
              <a:gd name="connsiteX593" fmla="*/ 1067300 w 12191986"/>
              <a:gd name="connsiteY593" fmla="*/ 3601407 h 6661143"/>
              <a:gd name="connsiteX594" fmla="*/ 1066248 w 12191986"/>
              <a:gd name="connsiteY594" fmla="*/ 3596628 h 6661143"/>
              <a:gd name="connsiteX595" fmla="*/ 1065196 w 12191986"/>
              <a:gd name="connsiteY595" fmla="*/ 3591317 h 6661143"/>
              <a:gd name="connsiteX596" fmla="*/ 1063618 w 12191986"/>
              <a:gd name="connsiteY596" fmla="*/ 3586006 h 6661143"/>
              <a:gd name="connsiteX597" fmla="*/ 1063618 w 12191986"/>
              <a:gd name="connsiteY597" fmla="*/ 3580695 h 6661143"/>
              <a:gd name="connsiteX598" fmla="*/ 1063618 w 12191986"/>
              <a:gd name="connsiteY598" fmla="*/ 3574853 h 6661143"/>
              <a:gd name="connsiteX599" fmla="*/ 1064670 w 12191986"/>
              <a:gd name="connsiteY599" fmla="*/ 3565293 h 6661143"/>
              <a:gd name="connsiteX600" fmla="*/ 1066774 w 12191986"/>
              <a:gd name="connsiteY600" fmla="*/ 3557327 h 6661143"/>
              <a:gd name="connsiteX601" fmla="*/ 1068878 w 12191986"/>
              <a:gd name="connsiteY601" fmla="*/ 3548829 h 6661143"/>
              <a:gd name="connsiteX602" fmla="*/ 1072033 w 12191986"/>
              <a:gd name="connsiteY602" fmla="*/ 3540332 h 6661143"/>
              <a:gd name="connsiteX603" fmla="*/ 1075714 w 12191986"/>
              <a:gd name="connsiteY603" fmla="*/ 3531835 h 6661143"/>
              <a:gd name="connsiteX604" fmla="*/ 1079396 w 12191986"/>
              <a:gd name="connsiteY604" fmla="*/ 3524399 h 6661143"/>
              <a:gd name="connsiteX605" fmla="*/ 1084129 w 12191986"/>
              <a:gd name="connsiteY605" fmla="*/ 3517495 h 6661143"/>
              <a:gd name="connsiteX606" fmla="*/ 1087811 w 12191986"/>
              <a:gd name="connsiteY606" fmla="*/ 3510591 h 6661143"/>
              <a:gd name="connsiteX607" fmla="*/ 1104114 w 12191986"/>
              <a:gd name="connsiteY607" fmla="*/ 3489878 h 6661143"/>
              <a:gd name="connsiteX608" fmla="*/ 5691589 w 12191986"/>
              <a:gd name="connsiteY608" fmla="*/ 3417894 h 6661143"/>
              <a:gd name="connsiteX609" fmla="*/ 5684217 w 12191986"/>
              <a:gd name="connsiteY609" fmla="*/ 3421585 h 6661143"/>
              <a:gd name="connsiteX610" fmla="*/ 5680037 w 12191986"/>
              <a:gd name="connsiteY610" fmla="*/ 3423789 h 6661143"/>
              <a:gd name="connsiteX611" fmla="*/ 5681762 w 12191986"/>
              <a:gd name="connsiteY611" fmla="*/ 3422959 h 6661143"/>
              <a:gd name="connsiteX612" fmla="*/ 5691408 w 12191986"/>
              <a:gd name="connsiteY612" fmla="*/ 3418164 h 6661143"/>
              <a:gd name="connsiteX613" fmla="*/ 5757629 w 12191986"/>
              <a:gd name="connsiteY613" fmla="*/ 3389738 h 6661143"/>
              <a:gd name="connsiteX614" fmla="*/ 5748154 w 12191986"/>
              <a:gd name="connsiteY614" fmla="*/ 3393010 h 6661143"/>
              <a:gd name="connsiteX615" fmla="*/ 5733887 w 12191986"/>
              <a:gd name="connsiteY615" fmla="*/ 3398302 h 6661143"/>
              <a:gd name="connsiteX616" fmla="*/ 5729518 w 12191986"/>
              <a:gd name="connsiteY616" fmla="*/ 3400321 h 6661143"/>
              <a:gd name="connsiteX617" fmla="*/ 5740601 w 12191986"/>
              <a:gd name="connsiteY617" fmla="*/ 3396084 h 6661143"/>
              <a:gd name="connsiteX618" fmla="*/ 5753852 w 12191986"/>
              <a:gd name="connsiteY618" fmla="*/ 3391341 h 6661143"/>
              <a:gd name="connsiteX619" fmla="*/ 5757097 w 12191986"/>
              <a:gd name="connsiteY619" fmla="*/ 3390219 h 6661143"/>
              <a:gd name="connsiteX620" fmla="*/ 4030411 w 12191986"/>
              <a:gd name="connsiteY620" fmla="*/ 3354381 h 6661143"/>
              <a:gd name="connsiteX621" fmla="*/ 4035677 w 12191986"/>
              <a:gd name="connsiteY621" fmla="*/ 3354381 h 6661143"/>
              <a:gd name="connsiteX622" fmla="*/ 4040944 w 12191986"/>
              <a:gd name="connsiteY622" fmla="*/ 3354381 h 6661143"/>
              <a:gd name="connsiteX623" fmla="*/ 4046211 w 12191986"/>
              <a:gd name="connsiteY623" fmla="*/ 3354905 h 6661143"/>
              <a:gd name="connsiteX624" fmla="*/ 4051477 w 12191986"/>
              <a:gd name="connsiteY624" fmla="*/ 3356478 h 6661143"/>
              <a:gd name="connsiteX625" fmla="*/ 4056217 w 12191986"/>
              <a:gd name="connsiteY625" fmla="*/ 3358050 h 6661143"/>
              <a:gd name="connsiteX626" fmla="*/ 4061483 w 12191986"/>
              <a:gd name="connsiteY626" fmla="*/ 3360147 h 6661143"/>
              <a:gd name="connsiteX627" fmla="*/ 4066224 w 12191986"/>
              <a:gd name="connsiteY627" fmla="*/ 3363292 h 6661143"/>
              <a:gd name="connsiteX628" fmla="*/ 4070436 w 12191986"/>
              <a:gd name="connsiteY628" fmla="*/ 3366961 h 6661143"/>
              <a:gd name="connsiteX629" fmla="*/ 4075177 w 12191986"/>
              <a:gd name="connsiteY629" fmla="*/ 3371154 h 6661143"/>
              <a:gd name="connsiteX630" fmla="*/ 4078863 w 12191986"/>
              <a:gd name="connsiteY630" fmla="*/ 3374824 h 6661143"/>
              <a:gd name="connsiteX631" fmla="*/ 4082023 w 12191986"/>
              <a:gd name="connsiteY631" fmla="*/ 3379017 h 6661143"/>
              <a:gd name="connsiteX632" fmla="*/ 4085183 w 12191986"/>
              <a:gd name="connsiteY632" fmla="*/ 3383735 h 6661143"/>
              <a:gd name="connsiteX633" fmla="*/ 4087290 w 12191986"/>
              <a:gd name="connsiteY633" fmla="*/ 3388976 h 6661143"/>
              <a:gd name="connsiteX634" fmla="*/ 4088870 w 12191986"/>
              <a:gd name="connsiteY634" fmla="*/ 3394218 h 6661143"/>
              <a:gd name="connsiteX635" fmla="*/ 4090450 w 12191986"/>
              <a:gd name="connsiteY635" fmla="*/ 3398936 h 6661143"/>
              <a:gd name="connsiteX636" fmla="*/ 4090976 w 12191986"/>
              <a:gd name="connsiteY636" fmla="*/ 3404177 h 6661143"/>
              <a:gd name="connsiteX637" fmla="*/ 4090976 w 12191986"/>
              <a:gd name="connsiteY637" fmla="*/ 3409419 h 6661143"/>
              <a:gd name="connsiteX638" fmla="*/ 4090976 w 12191986"/>
              <a:gd name="connsiteY638" fmla="*/ 3414661 h 6661143"/>
              <a:gd name="connsiteX639" fmla="*/ 4090450 w 12191986"/>
              <a:gd name="connsiteY639" fmla="*/ 3419903 h 6661143"/>
              <a:gd name="connsiteX640" fmla="*/ 4088870 w 12191986"/>
              <a:gd name="connsiteY640" fmla="*/ 3425144 h 6661143"/>
              <a:gd name="connsiteX641" fmla="*/ 4087290 w 12191986"/>
              <a:gd name="connsiteY641" fmla="*/ 3430386 h 6661143"/>
              <a:gd name="connsiteX642" fmla="*/ 4085183 w 12191986"/>
              <a:gd name="connsiteY642" fmla="*/ 3435628 h 6661143"/>
              <a:gd name="connsiteX643" fmla="*/ 4082023 w 12191986"/>
              <a:gd name="connsiteY643" fmla="*/ 3440345 h 6661143"/>
              <a:gd name="connsiteX644" fmla="*/ 4078337 w 12191986"/>
              <a:gd name="connsiteY644" fmla="*/ 3445063 h 6661143"/>
              <a:gd name="connsiteX645" fmla="*/ 4074650 w 12191986"/>
              <a:gd name="connsiteY645" fmla="*/ 3448732 h 6661143"/>
              <a:gd name="connsiteX646" fmla="*/ 4070436 w 12191986"/>
              <a:gd name="connsiteY646" fmla="*/ 3452402 h 6661143"/>
              <a:gd name="connsiteX647" fmla="*/ 4066224 w 12191986"/>
              <a:gd name="connsiteY647" fmla="*/ 3456071 h 6661143"/>
              <a:gd name="connsiteX648" fmla="*/ 4061483 w 12191986"/>
              <a:gd name="connsiteY648" fmla="*/ 3458692 h 6661143"/>
              <a:gd name="connsiteX649" fmla="*/ 4056217 w 12191986"/>
              <a:gd name="connsiteY649" fmla="*/ 3460788 h 6661143"/>
              <a:gd name="connsiteX650" fmla="*/ 4050950 w 12191986"/>
              <a:gd name="connsiteY650" fmla="*/ 3462885 h 6661143"/>
              <a:gd name="connsiteX651" fmla="*/ 4045683 w 12191986"/>
              <a:gd name="connsiteY651" fmla="*/ 3463933 h 6661143"/>
              <a:gd name="connsiteX652" fmla="*/ 4040417 w 12191986"/>
              <a:gd name="connsiteY652" fmla="*/ 3464458 h 6661143"/>
              <a:gd name="connsiteX653" fmla="*/ 4035151 w 12191986"/>
              <a:gd name="connsiteY653" fmla="*/ 3465506 h 6661143"/>
              <a:gd name="connsiteX654" fmla="*/ 4029884 w 12191986"/>
              <a:gd name="connsiteY654" fmla="*/ 3464458 h 6661143"/>
              <a:gd name="connsiteX655" fmla="*/ 4024617 w 12191986"/>
              <a:gd name="connsiteY655" fmla="*/ 3463933 h 6661143"/>
              <a:gd name="connsiteX656" fmla="*/ 4019877 w 12191986"/>
              <a:gd name="connsiteY656" fmla="*/ 3462885 h 6661143"/>
              <a:gd name="connsiteX657" fmla="*/ 4014611 w 12191986"/>
              <a:gd name="connsiteY657" fmla="*/ 3460788 h 6661143"/>
              <a:gd name="connsiteX658" fmla="*/ 4009344 w 12191986"/>
              <a:gd name="connsiteY658" fmla="*/ 3458692 h 6661143"/>
              <a:gd name="connsiteX659" fmla="*/ 4004604 w 12191986"/>
              <a:gd name="connsiteY659" fmla="*/ 3455547 h 6661143"/>
              <a:gd name="connsiteX660" fmla="*/ 4000391 w 12191986"/>
              <a:gd name="connsiteY660" fmla="*/ 3452402 h 6661143"/>
              <a:gd name="connsiteX661" fmla="*/ 3996177 w 12191986"/>
              <a:gd name="connsiteY661" fmla="*/ 3448732 h 6661143"/>
              <a:gd name="connsiteX662" fmla="*/ 3992491 w 12191986"/>
              <a:gd name="connsiteY662" fmla="*/ 3444015 h 6661143"/>
              <a:gd name="connsiteX663" fmla="*/ 3988804 w 12191986"/>
              <a:gd name="connsiteY663" fmla="*/ 3440345 h 6661143"/>
              <a:gd name="connsiteX664" fmla="*/ 3986698 w 12191986"/>
              <a:gd name="connsiteY664" fmla="*/ 3435104 h 6661143"/>
              <a:gd name="connsiteX665" fmla="*/ 3984064 w 12191986"/>
              <a:gd name="connsiteY665" fmla="*/ 3430386 h 6661143"/>
              <a:gd name="connsiteX666" fmla="*/ 3981958 w 12191986"/>
              <a:gd name="connsiteY666" fmla="*/ 3425144 h 6661143"/>
              <a:gd name="connsiteX667" fmla="*/ 3981431 w 12191986"/>
              <a:gd name="connsiteY667" fmla="*/ 3419903 h 6661143"/>
              <a:gd name="connsiteX668" fmla="*/ 3980378 w 12191986"/>
              <a:gd name="connsiteY668" fmla="*/ 3414661 h 6661143"/>
              <a:gd name="connsiteX669" fmla="*/ 3979851 w 12191986"/>
              <a:gd name="connsiteY669" fmla="*/ 3409419 h 6661143"/>
              <a:gd name="connsiteX670" fmla="*/ 3980378 w 12191986"/>
              <a:gd name="connsiteY670" fmla="*/ 3404177 h 6661143"/>
              <a:gd name="connsiteX671" fmla="*/ 3981431 w 12191986"/>
              <a:gd name="connsiteY671" fmla="*/ 3398936 h 6661143"/>
              <a:gd name="connsiteX672" fmla="*/ 3981958 w 12191986"/>
              <a:gd name="connsiteY672" fmla="*/ 3393694 h 6661143"/>
              <a:gd name="connsiteX673" fmla="*/ 3984064 w 12191986"/>
              <a:gd name="connsiteY673" fmla="*/ 3388976 h 6661143"/>
              <a:gd name="connsiteX674" fmla="*/ 3986698 w 12191986"/>
              <a:gd name="connsiteY674" fmla="*/ 3383735 h 6661143"/>
              <a:gd name="connsiteX675" fmla="*/ 3988804 w 12191986"/>
              <a:gd name="connsiteY675" fmla="*/ 3379017 h 6661143"/>
              <a:gd name="connsiteX676" fmla="*/ 3992491 w 12191986"/>
              <a:gd name="connsiteY676" fmla="*/ 3374824 h 6661143"/>
              <a:gd name="connsiteX677" fmla="*/ 3996177 w 12191986"/>
              <a:gd name="connsiteY677" fmla="*/ 3370106 h 6661143"/>
              <a:gd name="connsiteX678" fmla="*/ 4000391 w 12191986"/>
              <a:gd name="connsiteY678" fmla="*/ 3366437 h 6661143"/>
              <a:gd name="connsiteX679" fmla="*/ 4004604 w 12191986"/>
              <a:gd name="connsiteY679" fmla="*/ 3363292 h 6661143"/>
              <a:gd name="connsiteX680" fmla="*/ 4009871 w 12191986"/>
              <a:gd name="connsiteY680" fmla="*/ 3360147 h 6661143"/>
              <a:gd name="connsiteX681" fmla="*/ 4014611 w 12191986"/>
              <a:gd name="connsiteY681" fmla="*/ 3358050 h 6661143"/>
              <a:gd name="connsiteX682" fmla="*/ 4019877 w 12191986"/>
              <a:gd name="connsiteY682" fmla="*/ 3356478 h 6661143"/>
              <a:gd name="connsiteX683" fmla="*/ 4025144 w 12191986"/>
              <a:gd name="connsiteY683" fmla="*/ 3354905 h 6661143"/>
              <a:gd name="connsiteX684" fmla="*/ 1369476 w 12191986"/>
              <a:gd name="connsiteY684" fmla="*/ 3333743 h 6661143"/>
              <a:gd name="connsiteX685" fmla="*/ 1373180 w 12191986"/>
              <a:gd name="connsiteY685" fmla="*/ 3343760 h 6661143"/>
              <a:gd name="connsiteX686" fmla="*/ 1381647 w 12191986"/>
              <a:gd name="connsiteY686" fmla="*/ 3369065 h 6661143"/>
              <a:gd name="connsiteX687" fmla="*/ 1383764 w 12191986"/>
              <a:gd name="connsiteY687" fmla="*/ 3376446 h 6661143"/>
              <a:gd name="connsiteX688" fmla="*/ 1385351 w 12191986"/>
              <a:gd name="connsiteY688" fmla="*/ 3384881 h 6661143"/>
              <a:gd name="connsiteX689" fmla="*/ 1386939 w 12191986"/>
              <a:gd name="connsiteY689" fmla="*/ 3393316 h 6661143"/>
              <a:gd name="connsiteX690" fmla="*/ 1387468 w 12191986"/>
              <a:gd name="connsiteY690" fmla="*/ 3401751 h 6661143"/>
              <a:gd name="connsiteX691" fmla="*/ 1387468 w 12191986"/>
              <a:gd name="connsiteY691" fmla="*/ 3410713 h 6661143"/>
              <a:gd name="connsiteX692" fmla="*/ 1387468 w 12191986"/>
              <a:gd name="connsiteY692" fmla="*/ 3419148 h 6661143"/>
              <a:gd name="connsiteX693" fmla="*/ 1385880 w 12191986"/>
              <a:gd name="connsiteY693" fmla="*/ 3428111 h 6661143"/>
              <a:gd name="connsiteX694" fmla="*/ 1384293 w 12191986"/>
              <a:gd name="connsiteY694" fmla="*/ 3436546 h 6661143"/>
              <a:gd name="connsiteX695" fmla="*/ 1382176 w 12191986"/>
              <a:gd name="connsiteY695" fmla="*/ 3442345 h 6661143"/>
              <a:gd name="connsiteX696" fmla="*/ 1380059 w 12191986"/>
              <a:gd name="connsiteY696" fmla="*/ 3447617 h 6661143"/>
              <a:gd name="connsiteX697" fmla="*/ 1377943 w 12191986"/>
              <a:gd name="connsiteY697" fmla="*/ 3452362 h 6661143"/>
              <a:gd name="connsiteX698" fmla="*/ 1374768 w 12191986"/>
              <a:gd name="connsiteY698" fmla="*/ 3457106 h 6661143"/>
              <a:gd name="connsiteX699" fmla="*/ 1371593 w 12191986"/>
              <a:gd name="connsiteY699" fmla="*/ 3460797 h 6661143"/>
              <a:gd name="connsiteX700" fmla="*/ 1368418 w 12191986"/>
              <a:gd name="connsiteY700" fmla="*/ 3464487 h 6661143"/>
              <a:gd name="connsiteX701" fmla="*/ 1364714 w 12191986"/>
              <a:gd name="connsiteY701" fmla="*/ 3467650 h 6661143"/>
              <a:gd name="connsiteX702" fmla="*/ 1361539 w 12191986"/>
              <a:gd name="connsiteY702" fmla="*/ 3469759 h 6661143"/>
              <a:gd name="connsiteX703" fmla="*/ 1357834 w 12191986"/>
              <a:gd name="connsiteY703" fmla="*/ 3471341 h 6661143"/>
              <a:gd name="connsiteX704" fmla="*/ 1353072 w 12191986"/>
              <a:gd name="connsiteY704" fmla="*/ 3472922 h 6661143"/>
              <a:gd name="connsiteX705" fmla="*/ 1349368 w 12191986"/>
              <a:gd name="connsiteY705" fmla="*/ 3474504 h 6661143"/>
              <a:gd name="connsiteX706" fmla="*/ 1345664 w 12191986"/>
              <a:gd name="connsiteY706" fmla="*/ 3475031 h 6661143"/>
              <a:gd name="connsiteX707" fmla="*/ 1340901 w 12191986"/>
              <a:gd name="connsiteY707" fmla="*/ 3475031 h 6661143"/>
              <a:gd name="connsiteX708" fmla="*/ 1337197 w 12191986"/>
              <a:gd name="connsiteY708" fmla="*/ 3475031 h 6661143"/>
              <a:gd name="connsiteX709" fmla="*/ 1332964 w 12191986"/>
              <a:gd name="connsiteY709" fmla="*/ 3474504 h 6661143"/>
              <a:gd name="connsiteX710" fmla="*/ 1328201 w 12191986"/>
              <a:gd name="connsiteY710" fmla="*/ 3473449 h 6661143"/>
              <a:gd name="connsiteX711" fmla="*/ 1324497 w 12191986"/>
              <a:gd name="connsiteY711" fmla="*/ 3472395 h 6661143"/>
              <a:gd name="connsiteX712" fmla="*/ 1320793 w 12191986"/>
              <a:gd name="connsiteY712" fmla="*/ 3469759 h 6661143"/>
              <a:gd name="connsiteX713" fmla="*/ 1316560 w 12191986"/>
              <a:gd name="connsiteY713" fmla="*/ 3468177 h 6661143"/>
              <a:gd name="connsiteX714" fmla="*/ 1312855 w 12191986"/>
              <a:gd name="connsiteY714" fmla="*/ 3465541 h 6661143"/>
              <a:gd name="connsiteX715" fmla="*/ 1309680 w 12191986"/>
              <a:gd name="connsiteY715" fmla="*/ 3462905 h 6661143"/>
              <a:gd name="connsiteX716" fmla="*/ 1307564 w 12191986"/>
              <a:gd name="connsiteY716" fmla="*/ 3460269 h 6661143"/>
              <a:gd name="connsiteX717" fmla="*/ 1304389 w 12191986"/>
              <a:gd name="connsiteY717" fmla="*/ 3456052 h 6661143"/>
              <a:gd name="connsiteX718" fmla="*/ 1302801 w 12191986"/>
              <a:gd name="connsiteY718" fmla="*/ 3452362 h 6661143"/>
              <a:gd name="connsiteX719" fmla="*/ 1300685 w 12191986"/>
              <a:gd name="connsiteY719" fmla="*/ 3448671 h 6661143"/>
              <a:gd name="connsiteX720" fmla="*/ 1299097 w 12191986"/>
              <a:gd name="connsiteY720" fmla="*/ 3443926 h 6661143"/>
              <a:gd name="connsiteX721" fmla="*/ 1298568 w 12191986"/>
              <a:gd name="connsiteY721" fmla="*/ 3439709 h 6661143"/>
              <a:gd name="connsiteX722" fmla="*/ 1298568 w 12191986"/>
              <a:gd name="connsiteY722" fmla="*/ 3434964 h 6661143"/>
              <a:gd name="connsiteX723" fmla="*/ 1298568 w 12191986"/>
              <a:gd name="connsiteY723" fmla="*/ 3429692 h 6661143"/>
              <a:gd name="connsiteX724" fmla="*/ 1298568 w 12191986"/>
              <a:gd name="connsiteY724" fmla="*/ 3424420 h 6661143"/>
              <a:gd name="connsiteX725" fmla="*/ 1300155 w 12191986"/>
              <a:gd name="connsiteY725" fmla="*/ 3418094 h 6661143"/>
              <a:gd name="connsiteX726" fmla="*/ 1301743 w 12191986"/>
              <a:gd name="connsiteY726" fmla="*/ 3412295 h 6661143"/>
              <a:gd name="connsiteX727" fmla="*/ 1303860 w 12191986"/>
              <a:gd name="connsiteY727" fmla="*/ 3403860 h 6661143"/>
              <a:gd name="connsiteX728" fmla="*/ 1307564 w 12191986"/>
              <a:gd name="connsiteY728" fmla="*/ 3396479 h 6661143"/>
              <a:gd name="connsiteX729" fmla="*/ 1312326 w 12191986"/>
              <a:gd name="connsiteY729" fmla="*/ 3388571 h 6661143"/>
              <a:gd name="connsiteX730" fmla="*/ 1317618 w 12191986"/>
              <a:gd name="connsiteY730" fmla="*/ 3381190 h 6661143"/>
              <a:gd name="connsiteX731" fmla="*/ 1322910 w 12191986"/>
              <a:gd name="connsiteY731" fmla="*/ 3374337 h 6661143"/>
              <a:gd name="connsiteX732" fmla="*/ 1328201 w 12191986"/>
              <a:gd name="connsiteY732" fmla="*/ 3368010 h 6661143"/>
              <a:gd name="connsiteX733" fmla="*/ 1334022 w 12191986"/>
              <a:gd name="connsiteY733" fmla="*/ 3362211 h 6661143"/>
              <a:gd name="connsiteX734" fmla="*/ 1340372 w 12191986"/>
              <a:gd name="connsiteY734" fmla="*/ 3356939 h 6661143"/>
              <a:gd name="connsiteX735" fmla="*/ 1359951 w 12191986"/>
              <a:gd name="connsiteY735" fmla="*/ 3340069 h 6661143"/>
              <a:gd name="connsiteX736" fmla="*/ 3438218 w 12191986"/>
              <a:gd name="connsiteY736" fmla="*/ 3328982 h 6661143"/>
              <a:gd name="connsiteX737" fmla="*/ 3443534 w 12191986"/>
              <a:gd name="connsiteY737" fmla="*/ 3328982 h 6661143"/>
              <a:gd name="connsiteX738" fmla="*/ 3448850 w 12191986"/>
              <a:gd name="connsiteY738" fmla="*/ 3328982 h 6661143"/>
              <a:gd name="connsiteX739" fmla="*/ 3454699 w 12191986"/>
              <a:gd name="connsiteY739" fmla="*/ 3328982 h 6661143"/>
              <a:gd name="connsiteX740" fmla="*/ 3460016 w 12191986"/>
              <a:gd name="connsiteY740" fmla="*/ 3330570 h 6661143"/>
              <a:gd name="connsiteX741" fmla="*/ 3465332 w 12191986"/>
              <a:gd name="connsiteY741" fmla="*/ 3331627 h 6661143"/>
              <a:gd name="connsiteX742" fmla="*/ 3470649 w 12191986"/>
              <a:gd name="connsiteY742" fmla="*/ 3334273 h 6661143"/>
              <a:gd name="connsiteX743" fmla="*/ 3474903 w 12191986"/>
              <a:gd name="connsiteY743" fmla="*/ 3336389 h 6661143"/>
              <a:gd name="connsiteX744" fmla="*/ 3479688 w 12191986"/>
              <a:gd name="connsiteY744" fmla="*/ 3339564 h 6661143"/>
              <a:gd name="connsiteX745" fmla="*/ 3484473 w 12191986"/>
              <a:gd name="connsiteY745" fmla="*/ 3343268 h 6661143"/>
              <a:gd name="connsiteX746" fmla="*/ 3488194 w 12191986"/>
              <a:gd name="connsiteY746" fmla="*/ 3348031 h 6661143"/>
              <a:gd name="connsiteX747" fmla="*/ 3491916 w 12191986"/>
              <a:gd name="connsiteY747" fmla="*/ 3351735 h 6661143"/>
              <a:gd name="connsiteX748" fmla="*/ 3494042 w 12191986"/>
              <a:gd name="connsiteY748" fmla="*/ 3356498 h 6661143"/>
              <a:gd name="connsiteX749" fmla="*/ 3497233 w 12191986"/>
              <a:gd name="connsiteY749" fmla="*/ 3361789 h 6661143"/>
              <a:gd name="connsiteX750" fmla="*/ 3498828 w 12191986"/>
              <a:gd name="connsiteY750" fmla="*/ 3366023 h 6661143"/>
              <a:gd name="connsiteX751" fmla="*/ 3500422 w 12191986"/>
              <a:gd name="connsiteY751" fmla="*/ 3371314 h 6661143"/>
              <a:gd name="connsiteX752" fmla="*/ 3500954 w 12191986"/>
              <a:gd name="connsiteY752" fmla="*/ 3376606 h 6661143"/>
              <a:gd name="connsiteX753" fmla="*/ 3502018 w 12191986"/>
              <a:gd name="connsiteY753" fmla="*/ 3382427 h 6661143"/>
              <a:gd name="connsiteX754" fmla="*/ 3502018 w 12191986"/>
              <a:gd name="connsiteY754" fmla="*/ 3387718 h 6661143"/>
              <a:gd name="connsiteX755" fmla="*/ 3500954 w 12191986"/>
              <a:gd name="connsiteY755" fmla="*/ 3393010 h 6661143"/>
              <a:gd name="connsiteX756" fmla="*/ 3500422 w 12191986"/>
              <a:gd name="connsiteY756" fmla="*/ 3398302 h 6661143"/>
              <a:gd name="connsiteX757" fmla="*/ 3498828 w 12191986"/>
              <a:gd name="connsiteY757" fmla="*/ 3403593 h 6661143"/>
              <a:gd name="connsiteX758" fmla="*/ 3496701 w 12191986"/>
              <a:gd name="connsiteY758" fmla="*/ 3408885 h 6661143"/>
              <a:gd name="connsiteX759" fmla="*/ 3493511 w 12191986"/>
              <a:gd name="connsiteY759" fmla="*/ 3413648 h 6661143"/>
              <a:gd name="connsiteX760" fmla="*/ 3490321 w 12191986"/>
              <a:gd name="connsiteY760" fmla="*/ 3417881 h 6661143"/>
              <a:gd name="connsiteX761" fmla="*/ 3486600 w 12191986"/>
              <a:gd name="connsiteY761" fmla="*/ 3422643 h 6661143"/>
              <a:gd name="connsiteX762" fmla="*/ 3482877 w 12191986"/>
              <a:gd name="connsiteY762" fmla="*/ 3426348 h 6661143"/>
              <a:gd name="connsiteX763" fmla="*/ 3478093 w 12191986"/>
              <a:gd name="connsiteY763" fmla="*/ 3430052 h 6661143"/>
              <a:gd name="connsiteX764" fmla="*/ 3473839 w 12191986"/>
              <a:gd name="connsiteY764" fmla="*/ 3433227 h 6661143"/>
              <a:gd name="connsiteX765" fmla="*/ 3469055 w 12191986"/>
              <a:gd name="connsiteY765" fmla="*/ 3435343 h 6661143"/>
              <a:gd name="connsiteX766" fmla="*/ 3463738 w 12191986"/>
              <a:gd name="connsiteY766" fmla="*/ 3436931 h 6661143"/>
              <a:gd name="connsiteX767" fmla="*/ 3458421 w 12191986"/>
              <a:gd name="connsiteY767" fmla="*/ 3438518 h 6661143"/>
              <a:gd name="connsiteX768" fmla="*/ 3453104 w 12191986"/>
              <a:gd name="connsiteY768" fmla="*/ 3440106 h 6661143"/>
              <a:gd name="connsiteX769" fmla="*/ 3447788 w 12191986"/>
              <a:gd name="connsiteY769" fmla="*/ 3440106 h 6661143"/>
              <a:gd name="connsiteX770" fmla="*/ 3441939 w 12191986"/>
              <a:gd name="connsiteY770" fmla="*/ 3440106 h 6661143"/>
              <a:gd name="connsiteX771" fmla="*/ 3436623 w 12191986"/>
              <a:gd name="connsiteY771" fmla="*/ 3439577 h 6661143"/>
              <a:gd name="connsiteX772" fmla="*/ 3431306 w 12191986"/>
              <a:gd name="connsiteY772" fmla="*/ 3438518 h 6661143"/>
              <a:gd name="connsiteX773" fmla="*/ 3427052 w 12191986"/>
              <a:gd name="connsiteY773" fmla="*/ 3436931 h 6661143"/>
              <a:gd name="connsiteX774" fmla="*/ 3421736 w 12191986"/>
              <a:gd name="connsiteY774" fmla="*/ 3434814 h 6661143"/>
              <a:gd name="connsiteX775" fmla="*/ 3416951 w 12191986"/>
              <a:gd name="connsiteY775" fmla="*/ 3431639 h 6661143"/>
              <a:gd name="connsiteX776" fmla="*/ 3411634 w 12191986"/>
              <a:gd name="connsiteY776" fmla="*/ 3428464 h 6661143"/>
              <a:gd name="connsiteX777" fmla="*/ 3407912 w 12191986"/>
              <a:gd name="connsiteY777" fmla="*/ 3425818 h 6661143"/>
              <a:gd name="connsiteX778" fmla="*/ 3403659 w 12191986"/>
              <a:gd name="connsiteY778" fmla="*/ 3421056 h 6661143"/>
              <a:gd name="connsiteX779" fmla="*/ 3399938 w 12191986"/>
              <a:gd name="connsiteY779" fmla="*/ 3416293 h 6661143"/>
              <a:gd name="connsiteX780" fmla="*/ 3397279 w 12191986"/>
              <a:gd name="connsiteY780" fmla="*/ 3412060 h 6661143"/>
              <a:gd name="connsiteX781" fmla="*/ 3394621 w 12191986"/>
              <a:gd name="connsiteY781" fmla="*/ 3407298 h 6661143"/>
              <a:gd name="connsiteX782" fmla="*/ 3392494 w 12191986"/>
              <a:gd name="connsiteY782" fmla="*/ 3402006 h 6661143"/>
              <a:gd name="connsiteX783" fmla="*/ 3390899 w 12191986"/>
              <a:gd name="connsiteY783" fmla="*/ 3396714 h 6661143"/>
              <a:gd name="connsiteX784" fmla="*/ 3390367 w 12191986"/>
              <a:gd name="connsiteY784" fmla="*/ 3391423 h 6661143"/>
              <a:gd name="connsiteX785" fmla="*/ 3389305 w 12191986"/>
              <a:gd name="connsiteY785" fmla="*/ 3386131 h 6661143"/>
              <a:gd name="connsiteX786" fmla="*/ 3390367 w 12191986"/>
              <a:gd name="connsiteY786" fmla="*/ 3380839 h 6661143"/>
              <a:gd name="connsiteX787" fmla="*/ 3390367 w 12191986"/>
              <a:gd name="connsiteY787" fmla="*/ 3375548 h 6661143"/>
              <a:gd name="connsiteX788" fmla="*/ 3391431 w 12191986"/>
              <a:gd name="connsiteY788" fmla="*/ 3370256 h 6661143"/>
              <a:gd name="connsiteX789" fmla="*/ 3393026 w 12191986"/>
              <a:gd name="connsiteY789" fmla="*/ 3365493 h 6661143"/>
              <a:gd name="connsiteX790" fmla="*/ 3395685 w 12191986"/>
              <a:gd name="connsiteY790" fmla="*/ 3360202 h 6661143"/>
              <a:gd name="connsiteX791" fmla="*/ 3397811 w 12191986"/>
              <a:gd name="connsiteY791" fmla="*/ 3355439 h 6661143"/>
              <a:gd name="connsiteX792" fmla="*/ 3401001 w 12191986"/>
              <a:gd name="connsiteY792" fmla="*/ 3351206 h 6661143"/>
              <a:gd name="connsiteX793" fmla="*/ 3404723 w 12191986"/>
              <a:gd name="connsiteY793" fmla="*/ 3346443 h 6661143"/>
              <a:gd name="connsiteX794" fmla="*/ 3408444 w 12191986"/>
              <a:gd name="connsiteY794" fmla="*/ 3342739 h 6661143"/>
              <a:gd name="connsiteX795" fmla="*/ 3413230 w 12191986"/>
              <a:gd name="connsiteY795" fmla="*/ 3338506 h 6661143"/>
              <a:gd name="connsiteX796" fmla="*/ 3417483 w 12191986"/>
              <a:gd name="connsiteY796" fmla="*/ 3335860 h 6661143"/>
              <a:gd name="connsiteX797" fmla="*/ 3422799 w 12191986"/>
              <a:gd name="connsiteY797" fmla="*/ 3333214 h 6661143"/>
              <a:gd name="connsiteX798" fmla="*/ 3427584 w 12191986"/>
              <a:gd name="connsiteY798" fmla="*/ 3331098 h 6661143"/>
              <a:gd name="connsiteX799" fmla="*/ 3432901 w 12191986"/>
              <a:gd name="connsiteY799" fmla="*/ 3329512 h 6661143"/>
              <a:gd name="connsiteX800" fmla="*/ 1598654 w 12191986"/>
              <a:gd name="connsiteY800" fmla="*/ 3324220 h 6661143"/>
              <a:gd name="connsiteX801" fmla="*/ 1605618 w 12191986"/>
              <a:gd name="connsiteY801" fmla="*/ 3332715 h 6661143"/>
              <a:gd name="connsiteX802" fmla="*/ 1619545 w 12191986"/>
              <a:gd name="connsiteY802" fmla="*/ 3355021 h 6661143"/>
              <a:gd name="connsiteX803" fmla="*/ 1623295 w 12191986"/>
              <a:gd name="connsiteY803" fmla="*/ 3362456 h 6661143"/>
              <a:gd name="connsiteX804" fmla="*/ 1626509 w 12191986"/>
              <a:gd name="connsiteY804" fmla="*/ 3370423 h 6661143"/>
              <a:gd name="connsiteX805" fmla="*/ 1630258 w 12191986"/>
              <a:gd name="connsiteY805" fmla="*/ 3377858 h 6661143"/>
              <a:gd name="connsiteX806" fmla="*/ 1632401 w 12191986"/>
              <a:gd name="connsiteY806" fmla="*/ 3386356 h 6661143"/>
              <a:gd name="connsiteX807" fmla="*/ 1635615 w 12191986"/>
              <a:gd name="connsiteY807" fmla="*/ 3394853 h 6661143"/>
              <a:gd name="connsiteX808" fmla="*/ 1637222 w 12191986"/>
              <a:gd name="connsiteY808" fmla="*/ 3402819 h 6661143"/>
              <a:gd name="connsiteX809" fmla="*/ 1638293 w 12191986"/>
              <a:gd name="connsiteY809" fmla="*/ 3412379 h 6661143"/>
              <a:gd name="connsiteX810" fmla="*/ 1638293 w 12191986"/>
              <a:gd name="connsiteY810" fmla="*/ 3420876 h 6661143"/>
              <a:gd name="connsiteX811" fmla="*/ 1637222 w 12191986"/>
              <a:gd name="connsiteY811" fmla="*/ 3427781 h 6661143"/>
              <a:gd name="connsiteX812" fmla="*/ 1636686 w 12191986"/>
              <a:gd name="connsiteY812" fmla="*/ 3433092 h 6661143"/>
              <a:gd name="connsiteX813" fmla="*/ 1635615 w 12191986"/>
              <a:gd name="connsiteY813" fmla="*/ 3438402 h 6661143"/>
              <a:gd name="connsiteX814" fmla="*/ 1633472 w 12191986"/>
              <a:gd name="connsiteY814" fmla="*/ 3443713 h 6661143"/>
              <a:gd name="connsiteX815" fmla="*/ 1631865 w 12191986"/>
              <a:gd name="connsiteY815" fmla="*/ 3447962 h 6661143"/>
              <a:gd name="connsiteX816" fmla="*/ 1629723 w 12191986"/>
              <a:gd name="connsiteY816" fmla="*/ 3452211 h 6661143"/>
              <a:gd name="connsiteX817" fmla="*/ 1626509 w 12191986"/>
              <a:gd name="connsiteY817" fmla="*/ 3455928 h 6661143"/>
              <a:gd name="connsiteX818" fmla="*/ 1623295 w 12191986"/>
              <a:gd name="connsiteY818" fmla="*/ 3459115 h 6661143"/>
              <a:gd name="connsiteX819" fmla="*/ 1620081 w 12191986"/>
              <a:gd name="connsiteY819" fmla="*/ 3461770 h 6661143"/>
              <a:gd name="connsiteX820" fmla="*/ 1616331 w 12191986"/>
              <a:gd name="connsiteY820" fmla="*/ 3464426 h 6661143"/>
              <a:gd name="connsiteX821" fmla="*/ 1613117 w 12191986"/>
              <a:gd name="connsiteY821" fmla="*/ 3466550 h 6661143"/>
              <a:gd name="connsiteX822" fmla="*/ 1609367 w 12191986"/>
              <a:gd name="connsiteY822" fmla="*/ 3468144 h 6661143"/>
              <a:gd name="connsiteX823" fmla="*/ 1605082 w 12191986"/>
              <a:gd name="connsiteY823" fmla="*/ 3468675 h 6661143"/>
              <a:gd name="connsiteX824" fmla="*/ 1600797 w 12191986"/>
              <a:gd name="connsiteY824" fmla="*/ 3469737 h 6661143"/>
              <a:gd name="connsiteX825" fmla="*/ 1596511 w 12191986"/>
              <a:gd name="connsiteY825" fmla="*/ 3470268 h 6661143"/>
              <a:gd name="connsiteX826" fmla="*/ 1591691 w 12191986"/>
              <a:gd name="connsiteY826" fmla="*/ 3470268 h 6661143"/>
              <a:gd name="connsiteX827" fmla="*/ 1587941 w 12191986"/>
              <a:gd name="connsiteY827" fmla="*/ 3469737 h 6661143"/>
              <a:gd name="connsiteX828" fmla="*/ 1583120 w 12191986"/>
              <a:gd name="connsiteY828" fmla="*/ 3468675 h 6661143"/>
              <a:gd name="connsiteX829" fmla="*/ 1579370 w 12191986"/>
              <a:gd name="connsiteY829" fmla="*/ 3468144 h 6661143"/>
              <a:gd name="connsiteX830" fmla="*/ 1574549 w 12191986"/>
              <a:gd name="connsiteY830" fmla="*/ 3466019 h 6661143"/>
              <a:gd name="connsiteX831" fmla="*/ 1571871 w 12191986"/>
              <a:gd name="connsiteY831" fmla="*/ 3464426 h 6661143"/>
              <a:gd name="connsiteX832" fmla="*/ 1568121 w 12191986"/>
              <a:gd name="connsiteY832" fmla="*/ 3461770 h 6661143"/>
              <a:gd name="connsiteX833" fmla="*/ 1564907 w 12191986"/>
              <a:gd name="connsiteY833" fmla="*/ 3459115 h 6661143"/>
              <a:gd name="connsiteX834" fmla="*/ 1561693 w 12191986"/>
              <a:gd name="connsiteY834" fmla="*/ 3455928 h 6661143"/>
              <a:gd name="connsiteX835" fmla="*/ 1559551 w 12191986"/>
              <a:gd name="connsiteY835" fmla="*/ 3452211 h 6661143"/>
              <a:gd name="connsiteX836" fmla="*/ 1556872 w 12191986"/>
              <a:gd name="connsiteY836" fmla="*/ 3447962 h 6661143"/>
              <a:gd name="connsiteX837" fmla="*/ 1554730 w 12191986"/>
              <a:gd name="connsiteY837" fmla="*/ 3444244 h 6661143"/>
              <a:gd name="connsiteX838" fmla="*/ 1553123 w 12191986"/>
              <a:gd name="connsiteY838" fmla="*/ 3439996 h 6661143"/>
              <a:gd name="connsiteX839" fmla="*/ 1551516 w 12191986"/>
              <a:gd name="connsiteY839" fmla="*/ 3434685 h 6661143"/>
              <a:gd name="connsiteX840" fmla="*/ 1550980 w 12191986"/>
              <a:gd name="connsiteY840" fmla="*/ 3428843 h 6661143"/>
              <a:gd name="connsiteX841" fmla="*/ 1550980 w 12191986"/>
              <a:gd name="connsiteY841" fmla="*/ 3423001 h 6661143"/>
              <a:gd name="connsiteX842" fmla="*/ 1550980 w 12191986"/>
              <a:gd name="connsiteY842" fmla="*/ 3416628 h 6661143"/>
              <a:gd name="connsiteX843" fmla="*/ 1551516 w 12191986"/>
              <a:gd name="connsiteY843" fmla="*/ 3408661 h 6661143"/>
              <a:gd name="connsiteX844" fmla="*/ 1553123 w 12191986"/>
              <a:gd name="connsiteY844" fmla="*/ 3399102 h 6661143"/>
              <a:gd name="connsiteX845" fmla="*/ 1556337 w 12191986"/>
              <a:gd name="connsiteY845" fmla="*/ 3390604 h 6661143"/>
              <a:gd name="connsiteX846" fmla="*/ 1559551 w 12191986"/>
              <a:gd name="connsiteY846" fmla="*/ 3382638 h 6661143"/>
              <a:gd name="connsiteX847" fmla="*/ 1563300 w 12191986"/>
              <a:gd name="connsiteY847" fmla="*/ 3374672 h 6661143"/>
              <a:gd name="connsiteX848" fmla="*/ 1567050 w 12191986"/>
              <a:gd name="connsiteY848" fmla="*/ 3367236 h 6661143"/>
              <a:gd name="connsiteX849" fmla="*/ 1570800 w 12191986"/>
              <a:gd name="connsiteY849" fmla="*/ 3359270 h 6661143"/>
              <a:gd name="connsiteX850" fmla="*/ 1575621 w 12191986"/>
              <a:gd name="connsiteY850" fmla="*/ 3353428 h 6661143"/>
              <a:gd name="connsiteX851" fmla="*/ 1591691 w 12191986"/>
              <a:gd name="connsiteY851" fmla="*/ 3331653 h 6661143"/>
              <a:gd name="connsiteX852" fmla="*/ 8897395 w 12191986"/>
              <a:gd name="connsiteY852" fmla="*/ 3324218 h 6661143"/>
              <a:gd name="connsiteX853" fmla="*/ 8918032 w 12191986"/>
              <a:gd name="connsiteY853" fmla="*/ 3324218 h 6661143"/>
              <a:gd name="connsiteX854" fmla="*/ 8937612 w 12191986"/>
              <a:gd name="connsiteY854" fmla="*/ 3325811 h 6661143"/>
              <a:gd name="connsiteX855" fmla="*/ 8957720 w 12191986"/>
              <a:gd name="connsiteY855" fmla="*/ 3327404 h 6661143"/>
              <a:gd name="connsiteX856" fmla="*/ 8975712 w 12191986"/>
              <a:gd name="connsiteY856" fmla="*/ 3330591 h 6661143"/>
              <a:gd name="connsiteX857" fmla="*/ 8994232 w 12191986"/>
              <a:gd name="connsiteY857" fmla="*/ 3334308 h 6661143"/>
              <a:gd name="connsiteX858" fmla="*/ 9010636 w 12191986"/>
              <a:gd name="connsiteY858" fmla="*/ 3338557 h 6661143"/>
              <a:gd name="connsiteX859" fmla="*/ 9027570 w 12191986"/>
              <a:gd name="connsiteY859" fmla="*/ 3344398 h 6661143"/>
              <a:gd name="connsiteX860" fmla="*/ 9043445 w 12191986"/>
              <a:gd name="connsiteY860" fmla="*/ 3349709 h 6661143"/>
              <a:gd name="connsiteX861" fmla="*/ 9058791 w 12191986"/>
              <a:gd name="connsiteY861" fmla="*/ 3355550 h 6661143"/>
              <a:gd name="connsiteX862" fmla="*/ 9073607 w 12191986"/>
              <a:gd name="connsiteY862" fmla="*/ 3362454 h 6661143"/>
              <a:gd name="connsiteX863" fmla="*/ 9086836 w 12191986"/>
              <a:gd name="connsiteY863" fmla="*/ 3369358 h 6661143"/>
              <a:gd name="connsiteX864" fmla="*/ 9100595 w 12191986"/>
              <a:gd name="connsiteY864" fmla="*/ 3376262 h 6661143"/>
              <a:gd name="connsiteX865" fmla="*/ 9112766 w 12191986"/>
              <a:gd name="connsiteY865" fmla="*/ 3383697 h 6661143"/>
              <a:gd name="connsiteX866" fmla="*/ 9124407 w 12191986"/>
              <a:gd name="connsiteY866" fmla="*/ 3391663 h 6661143"/>
              <a:gd name="connsiteX867" fmla="*/ 9136049 w 12191986"/>
              <a:gd name="connsiteY867" fmla="*/ 3400160 h 6661143"/>
              <a:gd name="connsiteX868" fmla="*/ 9155628 w 12191986"/>
              <a:gd name="connsiteY868" fmla="*/ 3415560 h 6661143"/>
              <a:gd name="connsiteX869" fmla="*/ 9173091 w 12191986"/>
              <a:gd name="connsiteY869" fmla="*/ 3430430 h 6661143"/>
              <a:gd name="connsiteX870" fmla="*/ 9188436 w 12191986"/>
              <a:gd name="connsiteY870" fmla="*/ 3445300 h 6661143"/>
              <a:gd name="connsiteX871" fmla="*/ 9200607 w 12191986"/>
              <a:gd name="connsiteY871" fmla="*/ 3458045 h 6661143"/>
              <a:gd name="connsiteX872" fmla="*/ 9216482 w 12191986"/>
              <a:gd name="connsiteY872" fmla="*/ 3478226 h 6661143"/>
              <a:gd name="connsiteX873" fmla="*/ 9221774 w 12191986"/>
              <a:gd name="connsiteY873" fmla="*/ 3485660 h 6661143"/>
              <a:gd name="connsiteX874" fmla="*/ 9212249 w 12191986"/>
              <a:gd name="connsiteY874" fmla="*/ 3481943 h 6661143"/>
              <a:gd name="connsiteX875" fmla="*/ 9202195 w 12191986"/>
              <a:gd name="connsiteY875" fmla="*/ 3479819 h 6661143"/>
              <a:gd name="connsiteX876" fmla="*/ 9192141 w 12191986"/>
              <a:gd name="connsiteY876" fmla="*/ 3478226 h 6661143"/>
              <a:gd name="connsiteX877" fmla="*/ 9182086 w 12191986"/>
              <a:gd name="connsiteY877" fmla="*/ 3478226 h 6661143"/>
              <a:gd name="connsiteX878" fmla="*/ 9172562 w 12191986"/>
              <a:gd name="connsiteY878" fmla="*/ 3478757 h 6661143"/>
              <a:gd name="connsiteX879" fmla="*/ 9163036 w 12191986"/>
              <a:gd name="connsiteY879" fmla="*/ 3480350 h 6661143"/>
              <a:gd name="connsiteX880" fmla="*/ 9153512 w 12191986"/>
              <a:gd name="connsiteY880" fmla="*/ 3483536 h 6661143"/>
              <a:gd name="connsiteX881" fmla="*/ 9143457 w 12191986"/>
              <a:gd name="connsiteY881" fmla="*/ 3486722 h 6661143"/>
              <a:gd name="connsiteX882" fmla="*/ 9133403 w 12191986"/>
              <a:gd name="connsiteY882" fmla="*/ 3490440 h 6661143"/>
              <a:gd name="connsiteX883" fmla="*/ 9123878 w 12191986"/>
              <a:gd name="connsiteY883" fmla="*/ 3495751 h 6661143"/>
              <a:gd name="connsiteX884" fmla="*/ 9113824 w 12191986"/>
              <a:gd name="connsiteY884" fmla="*/ 3499999 h 6661143"/>
              <a:gd name="connsiteX885" fmla="*/ 9103770 w 12191986"/>
              <a:gd name="connsiteY885" fmla="*/ 3506372 h 6661143"/>
              <a:gd name="connsiteX886" fmla="*/ 9084191 w 12191986"/>
              <a:gd name="connsiteY886" fmla="*/ 3519117 h 6661143"/>
              <a:gd name="connsiteX887" fmla="*/ 9064082 w 12191986"/>
              <a:gd name="connsiteY887" fmla="*/ 3532925 h 6661143"/>
              <a:gd name="connsiteX888" fmla="*/ 9043445 w 12191986"/>
              <a:gd name="connsiteY888" fmla="*/ 3547794 h 6661143"/>
              <a:gd name="connsiteX889" fmla="*/ 9022807 w 12191986"/>
              <a:gd name="connsiteY889" fmla="*/ 3562133 h 6661143"/>
              <a:gd name="connsiteX890" fmla="*/ 9001641 w 12191986"/>
              <a:gd name="connsiteY890" fmla="*/ 3577003 h 6661143"/>
              <a:gd name="connsiteX891" fmla="*/ 8981003 w 12191986"/>
              <a:gd name="connsiteY891" fmla="*/ 3589748 h 6661143"/>
              <a:gd name="connsiteX892" fmla="*/ 8969891 w 12191986"/>
              <a:gd name="connsiteY892" fmla="*/ 3596121 h 6661143"/>
              <a:gd name="connsiteX893" fmla="*/ 8959307 w 12191986"/>
              <a:gd name="connsiteY893" fmla="*/ 3601432 h 6661143"/>
              <a:gd name="connsiteX894" fmla="*/ 8948195 w 12191986"/>
              <a:gd name="connsiteY894" fmla="*/ 3605680 h 6661143"/>
              <a:gd name="connsiteX895" fmla="*/ 8937082 w 12191986"/>
              <a:gd name="connsiteY895" fmla="*/ 3610460 h 6661143"/>
              <a:gd name="connsiteX896" fmla="*/ 8925441 w 12191986"/>
              <a:gd name="connsiteY896" fmla="*/ 3614177 h 6661143"/>
              <a:gd name="connsiteX897" fmla="*/ 8914857 w 12191986"/>
              <a:gd name="connsiteY897" fmla="*/ 3617363 h 6661143"/>
              <a:gd name="connsiteX898" fmla="*/ 8903216 w 12191986"/>
              <a:gd name="connsiteY898" fmla="*/ 3619488 h 6661143"/>
              <a:gd name="connsiteX899" fmla="*/ 8891045 w 12191986"/>
              <a:gd name="connsiteY899" fmla="*/ 3620550 h 6661143"/>
              <a:gd name="connsiteX900" fmla="*/ 8883107 w 12191986"/>
              <a:gd name="connsiteY900" fmla="*/ 3621081 h 6661143"/>
              <a:gd name="connsiteX901" fmla="*/ 8874641 w 12191986"/>
              <a:gd name="connsiteY901" fmla="*/ 3621081 h 6661143"/>
              <a:gd name="connsiteX902" fmla="*/ 8866174 w 12191986"/>
              <a:gd name="connsiteY902" fmla="*/ 3620550 h 6661143"/>
              <a:gd name="connsiteX903" fmla="*/ 8857707 w 12191986"/>
              <a:gd name="connsiteY903" fmla="*/ 3619488 h 6661143"/>
              <a:gd name="connsiteX904" fmla="*/ 8841832 w 12191986"/>
              <a:gd name="connsiteY904" fmla="*/ 3617363 h 6661143"/>
              <a:gd name="connsiteX905" fmla="*/ 8825957 w 12191986"/>
              <a:gd name="connsiteY905" fmla="*/ 3612584 h 6661143"/>
              <a:gd name="connsiteX906" fmla="*/ 8811141 w 12191986"/>
              <a:gd name="connsiteY906" fmla="*/ 3607273 h 6661143"/>
              <a:gd name="connsiteX907" fmla="*/ 8796853 w 12191986"/>
              <a:gd name="connsiteY907" fmla="*/ 3600369 h 6661143"/>
              <a:gd name="connsiteX908" fmla="*/ 8783624 w 12191986"/>
              <a:gd name="connsiteY908" fmla="*/ 3592935 h 6661143"/>
              <a:gd name="connsiteX909" fmla="*/ 8770924 w 12191986"/>
              <a:gd name="connsiteY909" fmla="*/ 3583376 h 6661143"/>
              <a:gd name="connsiteX910" fmla="*/ 8759282 w 12191986"/>
              <a:gd name="connsiteY910" fmla="*/ 3573816 h 6661143"/>
              <a:gd name="connsiteX911" fmla="*/ 8749757 w 12191986"/>
              <a:gd name="connsiteY911" fmla="*/ 3563195 h 6661143"/>
              <a:gd name="connsiteX912" fmla="*/ 8740232 w 12191986"/>
              <a:gd name="connsiteY912" fmla="*/ 3551512 h 6661143"/>
              <a:gd name="connsiteX913" fmla="*/ 8732824 w 12191986"/>
              <a:gd name="connsiteY913" fmla="*/ 3538235 h 6661143"/>
              <a:gd name="connsiteX914" fmla="*/ 8729649 w 12191986"/>
              <a:gd name="connsiteY914" fmla="*/ 3532394 h 6661143"/>
              <a:gd name="connsiteX915" fmla="*/ 8726474 w 12191986"/>
              <a:gd name="connsiteY915" fmla="*/ 3525490 h 6661143"/>
              <a:gd name="connsiteX916" fmla="*/ 8723828 w 12191986"/>
              <a:gd name="connsiteY916" fmla="*/ 3518586 h 6661143"/>
              <a:gd name="connsiteX917" fmla="*/ 8721182 w 12191986"/>
              <a:gd name="connsiteY917" fmla="*/ 3511682 h 6661143"/>
              <a:gd name="connsiteX918" fmla="*/ 8719595 w 12191986"/>
              <a:gd name="connsiteY918" fmla="*/ 3504247 h 6661143"/>
              <a:gd name="connsiteX919" fmla="*/ 8718007 w 12191986"/>
              <a:gd name="connsiteY919" fmla="*/ 3497344 h 6661143"/>
              <a:gd name="connsiteX920" fmla="*/ 8717478 w 12191986"/>
              <a:gd name="connsiteY920" fmla="*/ 3489378 h 6661143"/>
              <a:gd name="connsiteX921" fmla="*/ 8716949 w 12191986"/>
              <a:gd name="connsiteY921" fmla="*/ 3481943 h 6661143"/>
              <a:gd name="connsiteX922" fmla="*/ 8716949 w 12191986"/>
              <a:gd name="connsiteY922" fmla="*/ 3478757 h 6661143"/>
              <a:gd name="connsiteX923" fmla="*/ 8716949 w 12191986"/>
              <a:gd name="connsiteY923" fmla="*/ 3475570 h 6661143"/>
              <a:gd name="connsiteX924" fmla="*/ 8727532 w 12191986"/>
              <a:gd name="connsiteY924" fmla="*/ 3468666 h 6661143"/>
              <a:gd name="connsiteX925" fmla="*/ 8739703 w 12191986"/>
              <a:gd name="connsiteY925" fmla="*/ 3461763 h 6661143"/>
              <a:gd name="connsiteX926" fmla="*/ 8751874 w 12191986"/>
              <a:gd name="connsiteY926" fmla="*/ 3454859 h 6661143"/>
              <a:gd name="connsiteX927" fmla="*/ 8764045 w 12191986"/>
              <a:gd name="connsiteY927" fmla="*/ 3449017 h 6661143"/>
              <a:gd name="connsiteX928" fmla="*/ 8776745 w 12191986"/>
              <a:gd name="connsiteY928" fmla="*/ 3442644 h 6661143"/>
              <a:gd name="connsiteX929" fmla="*/ 8790503 w 12191986"/>
              <a:gd name="connsiteY929" fmla="*/ 3436803 h 6661143"/>
              <a:gd name="connsiteX930" fmla="*/ 8804262 w 12191986"/>
              <a:gd name="connsiteY930" fmla="*/ 3432023 h 6661143"/>
              <a:gd name="connsiteX931" fmla="*/ 8818020 w 12191986"/>
              <a:gd name="connsiteY931" fmla="*/ 3426713 h 6661143"/>
              <a:gd name="connsiteX932" fmla="*/ 8832307 w 12191986"/>
              <a:gd name="connsiteY932" fmla="*/ 3422995 h 6661143"/>
              <a:gd name="connsiteX933" fmla="*/ 8847124 w 12191986"/>
              <a:gd name="connsiteY933" fmla="*/ 3418216 h 6661143"/>
              <a:gd name="connsiteX934" fmla="*/ 8861412 w 12191986"/>
              <a:gd name="connsiteY934" fmla="*/ 3415560 h 6661143"/>
              <a:gd name="connsiteX935" fmla="*/ 8876757 w 12191986"/>
              <a:gd name="connsiteY935" fmla="*/ 3412374 h 6661143"/>
              <a:gd name="connsiteX936" fmla="*/ 8892632 w 12191986"/>
              <a:gd name="connsiteY936" fmla="*/ 3409188 h 6661143"/>
              <a:gd name="connsiteX937" fmla="*/ 8907978 w 12191986"/>
              <a:gd name="connsiteY937" fmla="*/ 3407594 h 6661143"/>
              <a:gd name="connsiteX938" fmla="*/ 8923853 w 12191986"/>
              <a:gd name="connsiteY938" fmla="*/ 3405470 h 6661143"/>
              <a:gd name="connsiteX939" fmla="*/ 8940257 w 12191986"/>
              <a:gd name="connsiteY939" fmla="*/ 3404408 h 6661143"/>
              <a:gd name="connsiteX940" fmla="*/ 8955074 w 12191986"/>
              <a:gd name="connsiteY940" fmla="*/ 3403877 h 6661143"/>
              <a:gd name="connsiteX941" fmla="*/ 8969891 w 12191986"/>
              <a:gd name="connsiteY941" fmla="*/ 3403877 h 6661143"/>
              <a:gd name="connsiteX942" fmla="*/ 8984178 w 12191986"/>
              <a:gd name="connsiteY942" fmla="*/ 3403877 h 6661143"/>
              <a:gd name="connsiteX943" fmla="*/ 8997936 w 12191986"/>
              <a:gd name="connsiteY943" fmla="*/ 3404408 h 6661143"/>
              <a:gd name="connsiteX944" fmla="*/ 9012224 w 12191986"/>
              <a:gd name="connsiteY944" fmla="*/ 3406001 h 6661143"/>
              <a:gd name="connsiteX945" fmla="*/ 9025982 w 12191986"/>
              <a:gd name="connsiteY945" fmla="*/ 3407594 h 6661143"/>
              <a:gd name="connsiteX946" fmla="*/ 9039741 w 12191986"/>
              <a:gd name="connsiteY946" fmla="*/ 3409188 h 6661143"/>
              <a:gd name="connsiteX947" fmla="*/ 9053499 w 12191986"/>
              <a:gd name="connsiteY947" fmla="*/ 3411312 h 6661143"/>
              <a:gd name="connsiteX948" fmla="*/ 9066728 w 12191986"/>
              <a:gd name="connsiteY948" fmla="*/ 3414498 h 6661143"/>
              <a:gd name="connsiteX949" fmla="*/ 9079428 w 12191986"/>
              <a:gd name="connsiteY949" fmla="*/ 3417685 h 6661143"/>
              <a:gd name="connsiteX950" fmla="*/ 9092657 w 12191986"/>
              <a:gd name="connsiteY950" fmla="*/ 3420871 h 6661143"/>
              <a:gd name="connsiteX951" fmla="*/ 9105357 w 12191986"/>
              <a:gd name="connsiteY951" fmla="*/ 3424588 h 6661143"/>
              <a:gd name="connsiteX952" fmla="*/ 9117528 w 12191986"/>
              <a:gd name="connsiteY952" fmla="*/ 3428306 h 6661143"/>
              <a:gd name="connsiteX953" fmla="*/ 9129699 w 12191986"/>
              <a:gd name="connsiteY953" fmla="*/ 3433085 h 6661143"/>
              <a:gd name="connsiteX954" fmla="*/ 9141341 w 12191986"/>
              <a:gd name="connsiteY954" fmla="*/ 3437334 h 6661143"/>
              <a:gd name="connsiteX955" fmla="*/ 9152453 w 12191986"/>
              <a:gd name="connsiteY955" fmla="*/ 3442644 h 6661143"/>
              <a:gd name="connsiteX956" fmla="*/ 9140282 w 12191986"/>
              <a:gd name="connsiteY956" fmla="*/ 3436803 h 6661143"/>
              <a:gd name="connsiteX957" fmla="*/ 9128112 w 12191986"/>
              <a:gd name="connsiteY957" fmla="*/ 3430430 h 6661143"/>
              <a:gd name="connsiteX958" fmla="*/ 9115412 w 12191986"/>
              <a:gd name="connsiteY958" fmla="*/ 3425119 h 6661143"/>
              <a:gd name="connsiteX959" fmla="*/ 9102182 w 12191986"/>
              <a:gd name="connsiteY959" fmla="*/ 3420871 h 6661143"/>
              <a:gd name="connsiteX960" fmla="*/ 9088424 w 12191986"/>
              <a:gd name="connsiteY960" fmla="*/ 3416091 h 6661143"/>
              <a:gd name="connsiteX961" fmla="*/ 9074666 w 12191986"/>
              <a:gd name="connsiteY961" fmla="*/ 3411312 h 6661143"/>
              <a:gd name="connsiteX962" fmla="*/ 9060907 w 12191986"/>
              <a:gd name="connsiteY962" fmla="*/ 3408657 h 6661143"/>
              <a:gd name="connsiteX963" fmla="*/ 9046620 w 12191986"/>
              <a:gd name="connsiteY963" fmla="*/ 3404408 h 6661143"/>
              <a:gd name="connsiteX964" fmla="*/ 9031274 w 12191986"/>
              <a:gd name="connsiteY964" fmla="*/ 3402284 h 6661143"/>
              <a:gd name="connsiteX965" fmla="*/ 9016986 w 12191986"/>
              <a:gd name="connsiteY965" fmla="*/ 3400160 h 6661143"/>
              <a:gd name="connsiteX966" fmla="*/ 9001641 w 12191986"/>
              <a:gd name="connsiteY966" fmla="*/ 3397504 h 6661143"/>
              <a:gd name="connsiteX967" fmla="*/ 8985766 w 12191986"/>
              <a:gd name="connsiteY967" fmla="*/ 3396442 h 6661143"/>
              <a:gd name="connsiteX968" fmla="*/ 8970420 w 12191986"/>
              <a:gd name="connsiteY968" fmla="*/ 3395380 h 6661143"/>
              <a:gd name="connsiteX969" fmla="*/ 8954545 w 12191986"/>
              <a:gd name="connsiteY969" fmla="*/ 3395380 h 6661143"/>
              <a:gd name="connsiteX970" fmla="*/ 8938670 w 12191986"/>
              <a:gd name="connsiteY970" fmla="*/ 3395380 h 6661143"/>
              <a:gd name="connsiteX971" fmla="*/ 8921736 w 12191986"/>
              <a:gd name="connsiteY971" fmla="*/ 3396442 h 6661143"/>
              <a:gd name="connsiteX972" fmla="*/ 8907449 w 12191986"/>
              <a:gd name="connsiteY972" fmla="*/ 3396973 h 6661143"/>
              <a:gd name="connsiteX973" fmla="*/ 8893691 w 12191986"/>
              <a:gd name="connsiteY973" fmla="*/ 3398566 h 6661143"/>
              <a:gd name="connsiteX974" fmla="*/ 8878874 w 12191986"/>
              <a:gd name="connsiteY974" fmla="*/ 3400160 h 6661143"/>
              <a:gd name="connsiteX975" fmla="*/ 8865116 w 12191986"/>
              <a:gd name="connsiteY975" fmla="*/ 3402284 h 6661143"/>
              <a:gd name="connsiteX976" fmla="*/ 8851357 w 12191986"/>
              <a:gd name="connsiteY976" fmla="*/ 3404408 h 6661143"/>
              <a:gd name="connsiteX977" fmla="*/ 8838128 w 12191986"/>
              <a:gd name="connsiteY977" fmla="*/ 3407594 h 6661143"/>
              <a:gd name="connsiteX978" fmla="*/ 8824899 w 12191986"/>
              <a:gd name="connsiteY978" fmla="*/ 3410781 h 6661143"/>
              <a:gd name="connsiteX979" fmla="*/ 8812199 w 12191986"/>
              <a:gd name="connsiteY979" fmla="*/ 3414498 h 6661143"/>
              <a:gd name="connsiteX980" fmla="*/ 8798970 w 12191986"/>
              <a:gd name="connsiteY980" fmla="*/ 3418216 h 6661143"/>
              <a:gd name="connsiteX981" fmla="*/ 8786799 w 12191986"/>
              <a:gd name="connsiteY981" fmla="*/ 3422995 h 6661143"/>
              <a:gd name="connsiteX982" fmla="*/ 8774628 w 12191986"/>
              <a:gd name="connsiteY982" fmla="*/ 3427775 h 6661143"/>
              <a:gd name="connsiteX983" fmla="*/ 8762457 w 12191986"/>
              <a:gd name="connsiteY983" fmla="*/ 3432023 h 6661143"/>
              <a:gd name="connsiteX984" fmla="*/ 8750816 w 12191986"/>
              <a:gd name="connsiteY984" fmla="*/ 3437334 h 6661143"/>
              <a:gd name="connsiteX985" fmla="*/ 8739703 w 12191986"/>
              <a:gd name="connsiteY985" fmla="*/ 3442644 h 6661143"/>
              <a:gd name="connsiteX986" fmla="*/ 8729120 w 12191986"/>
              <a:gd name="connsiteY986" fmla="*/ 3449017 h 6661143"/>
              <a:gd name="connsiteX987" fmla="*/ 8717478 w 12191986"/>
              <a:gd name="connsiteY987" fmla="*/ 3454859 h 6661143"/>
              <a:gd name="connsiteX988" fmla="*/ 8720653 w 12191986"/>
              <a:gd name="connsiteY988" fmla="*/ 3442113 h 6661143"/>
              <a:gd name="connsiteX989" fmla="*/ 8724357 w 12191986"/>
              <a:gd name="connsiteY989" fmla="*/ 3429899 h 6661143"/>
              <a:gd name="connsiteX990" fmla="*/ 8729649 w 12191986"/>
              <a:gd name="connsiteY990" fmla="*/ 3417685 h 6661143"/>
              <a:gd name="connsiteX991" fmla="*/ 8735999 w 12191986"/>
              <a:gd name="connsiteY991" fmla="*/ 3406001 h 6661143"/>
              <a:gd name="connsiteX992" fmla="*/ 8742878 w 12191986"/>
              <a:gd name="connsiteY992" fmla="*/ 3395380 h 6661143"/>
              <a:gd name="connsiteX993" fmla="*/ 8750816 w 12191986"/>
              <a:gd name="connsiteY993" fmla="*/ 3384759 h 6661143"/>
              <a:gd name="connsiteX994" fmla="*/ 8760341 w 12191986"/>
              <a:gd name="connsiteY994" fmla="*/ 3374669 h 6661143"/>
              <a:gd name="connsiteX995" fmla="*/ 8769866 w 12191986"/>
              <a:gd name="connsiteY995" fmla="*/ 3365641 h 6661143"/>
              <a:gd name="connsiteX996" fmla="*/ 8780978 w 12191986"/>
              <a:gd name="connsiteY996" fmla="*/ 3357675 h 6661143"/>
              <a:gd name="connsiteX997" fmla="*/ 8793149 w 12191986"/>
              <a:gd name="connsiteY997" fmla="*/ 3350240 h 6661143"/>
              <a:gd name="connsiteX998" fmla="*/ 8805320 w 12191986"/>
              <a:gd name="connsiteY998" fmla="*/ 3343336 h 6661143"/>
              <a:gd name="connsiteX999" fmla="*/ 8818020 w 12191986"/>
              <a:gd name="connsiteY999" fmla="*/ 3338025 h 6661143"/>
              <a:gd name="connsiteX1000" fmla="*/ 8831778 w 12191986"/>
              <a:gd name="connsiteY1000" fmla="*/ 3332715 h 6661143"/>
              <a:gd name="connsiteX1001" fmla="*/ 8846066 w 12191986"/>
              <a:gd name="connsiteY1001" fmla="*/ 3329528 h 6661143"/>
              <a:gd name="connsiteX1002" fmla="*/ 8860882 w 12191986"/>
              <a:gd name="connsiteY1002" fmla="*/ 3326343 h 6661143"/>
              <a:gd name="connsiteX1003" fmla="*/ 8876228 w 12191986"/>
              <a:gd name="connsiteY1003" fmla="*/ 3325280 h 6661143"/>
              <a:gd name="connsiteX1004" fmla="*/ 3763422 w 12191986"/>
              <a:gd name="connsiteY1004" fmla="*/ 3313108 h 6661143"/>
              <a:gd name="connsiteX1005" fmla="*/ 3768715 w 12191986"/>
              <a:gd name="connsiteY1005" fmla="*/ 3313108 h 6661143"/>
              <a:gd name="connsiteX1006" fmla="*/ 3774005 w 12191986"/>
              <a:gd name="connsiteY1006" fmla="*/ 3313108 h 6661143"/>
              <a:gd name="connsiteX1007" fmla="*/ 3779297 w 12191986"/>
              <a:gd name="connsiteY1007" fmla="*/ 3313632 h 6661143"/>
              <a:gd name="connsiteX1008" fmla="*/ 3784589 w 12191986"/>
              <a:gd name="connsiteY1008" fmla="*/ 3315205 h 6661143"/>
              <a:gd name="connsiteX1009" fmla="*/ 3789881 w 12191986"/>
              <a:gd name="connsiteY1009" fmla="*/ 3316777 h 6661143"/>
              <a:gd name="connsiteX1010" fmla="*/ 3794643 w 12191986"/>
              <a:gd name="connsiteY1010" fmla="*/ 3319397 h 6661143"/>
              <a:gd name="connsiteX1011" fmla="*/ 3799934 w 12191986"/>
              <a:gd name="connsiteY1011" fmla="*/ 3322018 h 6661143"/>
              <a:gd name="connsiteX1012" fmla="*/ 3804168 w 12191986"/>
              <a:gd name="connsiteY1012" fmla="*/ 3325162 h 6661143"/>
              <a:gd name="connsiteX1013" fmla="*/ 3808401 w 12191986"/>
              <a:gd name="connsiteY1013" fmla="*/ 3328831 h 6661143"/>
              <a:gd name="connsiteX1014" fmla="*/ 3812106 w 12191986"/>
              <a:gd name="connsiteY1014" fmla="*/ 3333549 h 6661143"/>
              <a:gd name="connsiteX1015" fmla="*/ 3815280 w 12191986"/>
              <a:gd name="connsiteY1015" fmla="*/ 3338266 h 6661143"/>
              <a:gd name="connsiteX1016" fmla="*/ 3817927 w 12191986"/>
              <a:gd name="connsiteY1016" fmla="*/ 3342460 h 6661143"/>
              <a:gd name="connsiteX1017" fmla="*/ 3820572 w 12191986"/>
              <a:gd name="connsiteY1017" fmla="*/ 3347701 h 6661143"/>
              <a:gd name="connsiteX1018" fmla="*/ 3822159 w 12191986"/>
              <a:gd name="connsiteY1018" fmla="*/ 3352419 h 6661143"/>
              <a:gd name="connsiteX1019" fmla="*/ 3823219 w 12191986"/>
              <a:gd name="connsiteY1019" fmla="*/ 3357661 h 6661143"/>
              <a:gd name="connsiteX1020" fmla="*/ 3824276 w 12191986"/>
              <a:gd name="connsiteY1020" fmla="*/ 3362902 h 6661143"/>
              <a:gd name="connsiteX1021" fmla="*/ 3824276 w 12191986"/>
              <a:gd name="connsiteY1021" fmla="*/ 3368144 h 6661143"/>
              <a:gd name="connsiteX1022" fmla="*/ 3824276 w 12191986"/>
              <a:gd name="connsiteY1022" fmla="*/ 3373386 h 6661143"/>
              <a:gd name="connsiteX1023" fmla="*/ 3823219 w 12191986"/>
              <a:gd name="connsiteY1023" fmla="*/ 3378628 h 6661143"/>
              <a:gd name="connsiteX1024" fmla="*/ 3822159 w 12191986"/>
              <a:gd name="connsiteY1024" fmla="*/ 3383869 h 6661143"/>
              <a:gd name="connsiteX1025" fmla="*/ 3820572 w 12191986"/>
              <a:gd name="connsiteY1025" fmla="*/ 3389635 h 6661143"/>
              <a:gd name="connsiteX1026" fmla="*/ 3817927 w 12191986"/>
              <a:gd name="connsiteY1026" fmla="*/ 3393829 h 6661143"/>
              <a:gd name="connsiteX1027" fmla="*/ 3815280 w 12191986"/>
              <a:gd name="connsiteY1027" fmla="*/ 3399070 h 6661143"/>
              <a:gd name="connsiteX1028" fmla="*/ 3812106 w 12191986"/>
              <a:gd name="connsiteY1028" fmla="*/ 3403788 h 6661143"/>
              <a:gd name="connsiteX1029" fmla="*/ 3808401 w 12191986"/>
              <a:gd name="connsiteY1029" fmla="*/ 3407457 h 6661143"/>
              <a:gd name="connsiteX1030" fmla="*/ 3803639 w 12191986"/>
              <a:gd name="connsiteY1030" fmla="*/ 3411127 h 6661143"/>
              <a:gd name="connsiteX1031" fmla="*/ 3798877 w 12191986"/>
              <a:gd name="connsiteY1031" fmla="*/ 3415320 h 6661143"/>
              <a:gd name="connsiteX1032" fmla="*/ 3794643 w 12191986"/>
              <a:gd name="connsiteY1032" fmla="*/ 3417417 h 6661143"/>
              <a:gd name="connsiteX1033" fmla="*/ 3789881 w 12191986"/>
              <a:gd name="connsiteY1033" fmla="*/ 3419513 h 6661143"/>
              <a:gd name="connsiteX1034" fmla="*/ 3784589 w 12191986"/>
              <a:gd name="connsiteY1034" fmla="*/ 3422134 h 6661143"/>
              <a:gd name="connsiteX1035" fmla="*/ 3779297 w 12191986"/>
              <a:gd name="connsiteY1035" fmla="*/ 3422658 h 6661143"/>
              <a:gd name="connsiteX1036" fmla="*/ 3774005 w 12191986"/>
              <a:gd name="connsiteY1036" fmla="*/ 3423183 h 6661143"/>
              <a:gd name="connsiteX1037" fmla="*/ 3768715 w 12191986"/>
              <a:gd name="connsiteY1037" fmla="*/ 3424231 h 6661143"/>
              <a:gd name="connsiteX1038" fmla="*/ 3763422 w 12191986"/>
              <a:gd name="connsiteY1038" fmla="*/ 3423183 h 6661143"/>
              <a:gd name="connsiteX1039" fmla="*/ 3758130 w 12191986"/>
              <a:gd name="connsiteY1039" fmla="*/ 3422658 h 6661143"/>
              <a:gd name="connsiteX1040" fmla="*/ 3752838 w 12191986"/>
              <a:gd name="connsiteY1040" fmla="*/ 3421086 h 6661143"/>
              <a:gd name="connsiteX1041" fmla="*/ 3747018 w 12191986"/>
              <a:gd name="connsiteY1041" fmla="*/ 3419513 h 6661143"/>
              <a:gd name="connsiteX1042" fmla="*/ 3742784 w 12191986"/>
              <a:gd name="connsiteY1042" fmla="*/ 3417417 h 6661143"/>
              <a:gd name="connsiteX1043" fmla="*/ 3738022 w 12191986"/>
              <a:gd name="connsiteY1043" fmla="*/ 3414272 h 6661143"/>
              <a:gd name="connsiteX1044" fmla="*/ 3733789 w 12191986"/>
              <a:gd name="connsiteY1044" fmla="*/ 3411127 h 6661143"/>
              <a:gd name="connsiteX1045" fmla="*/ 3729027 w 12191986"/>
              <a:gd name="connsiteY1045" fmla="*/ 3407457 h 6661143"/>
              <a:gd name="connsiteX1046" fmla="*/ 3725323 w 12191986"/>
              <a:gd name="connsiteY1046" fmla="*/ 3402740 h 6661143"/>
              <a:gd name="connsiteX1047" fmla="*/ 3722148 w 12191986"/>
              <a:gd name="connsiteY1047" fmla="*/ 3398546 h 6661143"/>
              <a:gd name="connsiteX1048" fmla="*/ 3718973 w 12191986"/>
              <a:gd name="connsiteY1048" fmla="*/ 3393829 h 6661143"/>
              <a:gd name="connsiteX1049" fmla="*/ 3716856 w 12191986"/>
              <a:gd name="connsiteY1049" fmla="*/ 3389635 h 6661143"/>
              <a:gd name="connsiteX1050" fmla="*/ 3715269 w 12191986"/>
              <a:gd name="connsiteY1050" fmla="*/ 3383869 h 6661143"/>
              <a:gd name="connsiteX1051" fmla="*/ 3713680 w 12191986"/>
              <a:gd name="connsiteY1051" fmla="*/ 3378628 h 6661143"/>
              <a:gd name="connsiteX1052" fmla="*/ 3713152 w 12191986"/>
              <a:gd name="connsiteY1052" fmla="*/ 3373386 h 6661143"/>
              <a:gd name="connsiteX1053" fmla="*/ 3713152 w 12191986"/>
              <a:gd name="connsiteY1053" fmla="*/ 3368144 h 6661143"/>
              <a:gd name="connsiteX1054" fmla="*/ 3713152 w 12191986"/>
              <a:gd name="connsiteY1054" fmla="*/ 3362902 h 6661143"/>
              <a:gd name="connsiteX1055" fmla="*/ 3713680 w 12191986"/>
              <a:gd name="connsiteY1055" fmla="*/ 3357661 h 6661143"/>
              <a:gd name="connsiteX1056" fmla="*/ 3715269 w 12191986"/>
              <a:gd name="connsiteY1056" fmla="*/ 3352419 h 6661143"/>
              <a:gd name="connsiteX1057" fmla="*/ 3716856 w 12191986"/>
              <a:gd name="connsiteY1057" fmla="*/ 3347177 h 6661143"/>
              <a:gd name="connsiteX1058" fmla="*/ 3718973 w 12191986"/>
              <a:gd name="connsiteY1058" fmla="*/ 3342460 h 6661143"/>
              <a:gd name="connsiteX1059" fmla="*/ 3722148 w 12191986"/>
              <a:gd name="connsiteY1059" fmla="*/ 3338266 h 6661143"/>
              <a:gd name="connsiteX1060" fmla="*/ 3725323 w 12191986"/>
              <a:gd name="connsiteY1060" fmla="*/ 3333549 h 6661143"/>
              <a:gd name="connsiteX1061" fmla="*/ 3729027 w 12191986"/>
              <a:gd name="connsiteY1061" fmla="*/ 3328831 h 6661143"/>
              <a:gd name="connsiteX1062" fmla="*/ 3733789 w 12191986"/>
              <a:gd name="connsiteY1062" fmla="*/ 3325162 h 6661143"/>
              <a:gd name="connsiteX1063" fmla="*/ 3738022 w 12191986"/>
              <a:gd name="connsiteY1063" fmla="*/ 3322018 h 6661143"/>
              <a:gd name="connsiteX1064" fmla="*/ 3742784 w 12191986"/>
              <a:gd name="connsiteY1064" fmla="*/ 3319397 h 6661143"/>
              <a:gd name="connsiteX1065" fmla="*/ 3748077 w 12191986"/>
              <a:gd name="connsiteY1065" fmla="*/ 3316777 h 6661143"/>
              <a:gd name="connsiteX1066" fmla="*/ 3752838 w 12191986"/>
              <a:gd name="connsiteY1066" fmla="*/ 3315205 h 6661143"/>
              <a:gd name="connsiteX1067" fmla="*/ 3758130 w 12191986"/>
              <a:gd name="connsiteY1067" fmla="*/ 3313632 h 6661143"/>
              <a:gd name="connsiteX1068" fmla="*/ 1226600 w 12191986"/>
              <a:gd name="connsiteY1068" fmla="*/ 3206744 h 6661143"/>
              <a:gd name="connsiteX1069" fmla="*/ 1233480 w 12191986"/>
              <a:gd name="connsiteY1069" fmla="*/ 3214182 h 6661143"/>
              <a:gd name="connsiteX1070" fmla="*/ 1248825 w 12191986"/>
              <a:gd name="connsiteY1070" fmla="*/ 3236485 h 6661143"/>
              <a:gd name="connsiteX1071" fmla="*/ 1252529 w 12191986"/>
              <a:gd name="connsiteY1071" fmla="*/ 3243389 h 6661143"/>
              <a:gd name="connsiteX1072" fmla="*/ 1256763 w 12191986"/>
              <a:gd name="connsiteY1072" fmla="*/ 3250292 h 6661143"/>
              <a:gd name="connsiteX1073" fmla="*/ 1260467 w 12191986"/>
              <a:gd name="connsiteY1073" fmla="*/ 3258790 h 6661143"/>
              <a:gd name="connsiteX1074" fmla="*/ 1263642 w 12191986"/>
              <a:gd name="connsiteY1074" fmla="*/ 3266228 h 6661143"/>
              <a:gd name="connsiteX1075" fmla="*/ 1266288 w 12191986"/>
              <a:gd name="connsiteY1075" fmla="*/ 3274725 h 6661143"/>
              <a:gd name="connsiteX1076" fmla="*/ 1268934 w 12191986"/>
              <a:gd name="connsiteY1076" fmla="*/ 3283751 h 6661143"/>
              <a:gd name="connsiteX1077" fmla="*/ 1269463 w 12191986"/>
              <a:gd name="connsiteY1077" fmla="*/ 3292252 h 6661143"/>
              <a:gd name="connsiteX1078" fmla="*/ 1269992 w 12191986"/>
              <a:gd name="connsiteY1078" fmla="*/ 3300749 h 6661143"/>
              <a:gd name="connsiteX1079" fmla="*/ 1269992 w 12191986"/>
              <a:gd name="connsiteY1079" fmla="*/ 3307652 h 6661143"/>
              <a:gd name="connsiteX1080" fmla="*/ 1269463 w 12191986"/>
              <a:gd name="connsiteY1080" fmla="*/ 3312964 h 6661143"/>
              <a:gd name="connsiteX1081" fmla="*/ 1268934 w 12191986"/>
              <a:gd name="connsiteY1081" fmla="*/ 3318273 h 6661143"/>
              <a:gd name="connsiteX1082" fmla="*/ 1267346 w 12191986"/>
              <a:gd name="connsiteY1082" fmla="*/ 3323587 h 6661143"/>
              <a:gd name="connsiteX1083" fmla="*/ 1264700 w 12191986"/>
              <a:gd name="connsiteY1083" fmla="*/ 3328365 h 6661143"/>
              <a:gd name="connsiteX1084" fmla="*/ 1262584 w 12191986"/>
              <a:gd name="connsiteY1084" fmla="*/ 3332080 h 6661143"/>
              <a:gd name="connsiteX1085" fmla="*/ 1260467 w 12191986"/>
              <a:gd name="connsiteY1085" fmla="*/ 3335798 h 6661143"/>
              <a:gd name="connsiteX1086" fmla="*/ 1257821 w 12191986"/>
              <a:gd name="connsiteY1086" fmla="*/ 3339516 h 6661143"/>
              <a:gd name="connsiteX1087" fmla="*/ 1255175 w 12191986"/>
              <a:gd name="connsiteY1087" fmla="*/ 3342702 h 6661143"/>
              <a:gd name="connsiteX1088" fmla="*/ 1250942 w 12191986"/>
              <a:gd name="connsiteY1088" fmla="*/ 3345358 h 6661143"/>
              <a:gd name="connsiteX1089" fmla="*/ 1247238 w 12191986"/>
              <a:gd name="connsiteY1089" fmla="*/ 3347482 h 6661143"/>
              <a:gd name="connsiteX1090" fmla="*/ 1244592 w 12191986"/>
              <a:gd name="connsiteY1090" fmla="*/ 3349075 h 6661143"/>
              <a:gd name="connsiteX1091" fmla="*/ 1239829 w 12191986"/>
              <a:gd name="connsiteY1091" fmla="*/ 3350669 h 6661143"/>
              <a:gd name="connsiteX1092" fmla="*/ 1236125 w 12191986"/>
              <a:gd name="connsiteY1092" fmla="*/ 3352262 h 6661143"/>
              <a:gd name="connsiteX1093" fmla="*/ 1231363 w 12191986"/>
              <a:gd name="connsiteY1093" fmla="*/ 3352262 h 6661143"/>
              <a:gd name="connsiteX1094" fmla="*/ 1226600 w 12191986"/>
              <a:gd name="connsiteY1094" fmla="*/ 3352793 h 6661143"/>
              <a:gd name="connsiteX1095" fmla="*/ 1222896 w 12191986"/>
              <a:gd name="connsiteY1095" fmla="*/ 3352262 h 6661143"/>
              <a:gd name="connsiteX1096" fmla="*/ 1218663 w 12191986"/>
              <a:gd name="connsiteY1096" fmla="*/ 3352262 h 6661143"/>
              <a:gd name="connsiteX1097" fmla="*/ 1214430 w 12191986"/>
              <a:gd name="connsiteY1097" fmla="*/ 3350669 h 6661143"/>
              <a:gd name="connsiteX1098" fmla="*/ 1210196 w 12191986"/>
              <a:gd name="connsiteY1098" fmla="*/ 3349075 h 6661143"/>
              <a:gd name="connsiteX1099" fmla="*/ 1206492 w 12191986"/>
              <a:gd name="connsiteY1099" fmla="*/ 3347482 h 6661143"/>
              <a:gd name="connsiteX1100" fmla="*/ 1203317 w 12191986"/>
              <a:gd name="connsiteY1100" fmla="*/ 3345358 h 6661143"/>
              <a:gd name="connsiteX1101" fmla="*/ 1199613 w 12191986"/>
              <a:gd name="connsiteY1101" fmla="*/ 3342702 h 6661143"/>
              <a:gd name="connsiteX1102" fmla="*/ 1196438 w 12191986"/>
              <a:gd name="connsiteY1102" fmla="*/ 3339516 h 6661143"/>
              <a:gd name="connsiteX1103" fmla="*/ 1193792 w 12191986"/>
              <a:gd name="connsiteY1103" fmla="*/ 3335798 h 6661143"/>
              <a:gd name="connsiteX1104" fmla="*/ 1191146 w 12191986"/>
              <a:gd name="connsiteY1104" fmla="*/ 3332080 h 6661143"/>
              <a:gd name="connsiteX1105" fmla="*/ 1189559 w 12191986"/>
              <a:gd name="connsiteY1105" fmla="*/ 3328365 h 6661143"/>
              <a:gd name="connsiteX1106" fmla="*/ 1187442 w 12191986"/>
              <a:gd name="connsiteY1106" fmla="*/ 3323587 h 6661143"/>
              <a:gd name="connsiteX1107" fmla="*/ 1185854 w 12191986"/>
              <a:gd name="connsiteY1107" fmla="*/ 3318273 h 6661143"/>
              <a:gd name="connsiteX1108" fmla="*/ 1184796 w 12191986"/>
              <a:gd name="connsiteY1108" fmla="*/ 3312964 h 6661143"/>
              <a:gd name="connsiteX1109" fmla="*/ 1184267 w 12191986"/>
              <a:gd name="connsiteY1109" fmla="*/ 3307652 h 6661143"/>
              <a:gd name="connsiteX1110" fmla="*/ 1184267 w 12191986"/>
              <a:gd name="connsiteY1110" fmla="*/ 3301280 h 6661143"/>
              <a:gd name="connsiteX1111" fmla="*/ 1184267 w 12191986"/>
              <a:gd name="connsiteY1111" fmla="*/ 3292252 h 6661143"/>
              <a:gd name="connsiteX1112" fmla="*/ 1185854 w 12191986"/>
              <a:gd name="connsiteY1112" fmla="*/ 3283751 h 6661143"/>
              <a:gd name="connsiteX1113" fmla="*/ 1187971 w 12191986"/>
              <a:gd name="connsiteY1113" fmla="*/ 3274725 h 6661143"/>
              <a:gd name="connsiteX1114" fmla="*/ 1190088 w 12191986"/>
              <a:gd name="connsiteY1114" fmla="*/ 3266228 h 6661143"/>
              <a:gd name="connsiteX1115" fmla="*/ 1193792 w 12191986"/>
              <a:gd name="connsiteY1115" fmla="*/ 3258790 h 6661143"/>
              <a:gd name="connsiteX1116" fmla="*/ 1198025 w 12191986"/>
              <a:gd name="connsiteY1116" fmla="*/ 3250292 h 6661143"/>
              <a:gd name="connsiteX1117" fmla="*/ 1201730 w 12191986"/>
              <a:gd name="connsiteY1117" fmla="*/ 3243389 h 6661143"/>
              <a:gd name="connsiteX1118" fmla="*/ 1205434 w 12191986"/>
              <a:gd name="connsiteY1118" fmla="*/ 3236485 h 6661143"/>
              <a:gd name="connsiteX1119" fmla="*/ 1219721 w 12191986"/>
              <a:gd name="connsiteY1119" fmla="*/ 3214182 h 6661143"/>
              <a:gd name="connsiteX1120" fmla="*/ 1487267 w 12191986"/>
              <a:gd name="connsiteY1120" fmla="*/ 3175000 h 6661143"/>
              <a:gd name="connsiteX1121" fmla="*/ 1493124 w 12191986"/>
              <a:gd name="connsiteY1121" fmla="*/ 3184454 h 6661143"/>
              <a:gd name="connsiteX1122" fmla="*/ 1506434 w 12191986"/>
              <a:gd name="connsiteY1122" fmla="*/ 3205987 h 6661143"/>
              <a:gd name="connsiteX1123" fmla="*/ 1509628 w 12191986"/>
              <a:gd name="connsiteY1123" fmla="*/ 3213868 h 6661143"/>
              <a:gd name="connsiteX1124" fmla="*/ 1512290 w 12191986"/>
              <a:gd name="connsiteY1124" fmla="*/ 3221221 h 6661143"/>
              <a:gd name="connsiteX1125" fmla="*/ 1515484 w 12191986"/>
              <a:gd name="connsiteY1125" fmla="*/ 3229629 h 6661143"/>
              <a:gd name="connsiteX1126" fmla="*/ 1518679 w 12191986"/>
              <a:gd name="connsiteY1126" fmla="*/ 3238032 h 6661143"/>
              <a:gd name="connsiteX1127" fmla="*/ 1520276 w 12191986"/>
              <a:gd name="connsiteY1127" fmla="*/ 3246436 h 6661143"/>
              <a:gd name="connsiteX1128" fmla="*/ 1521873 w 12191986"/>
              <a:gd name="connsiteY1128" fmla="*/ 3254845 h 6661143"/>
              <a:gd name="connsiteX1129" fmla="*/ 1522405 w 12191986"/>
              <a:gd name="connsiteY1129" fmla="*/ 3263772 h 6661143"/>
              <a:gd name="connsiteX1130" fmla="*/ 1521873 w 12191986"/>
              <a:gd name="connsiteY1130" fmla="*/ 3272180 h 6661143"/>
              <a:gd name="connsiteX1131" fmla="*/ 1520808 w 12191986"/>
              <a:gd name="connsiteY1131" fmla="*/ 3279009 h 6661143"/>
              <a:gd name="connsiteX1132" fmla="*/ 1520276 w 12191986"/>
              <a:gd name="connsiteY1132" fmla="*/ 3284262 h 6661143"/>
              <a:gd name="connsiteX1133" fmla="*/ 1518679 w 12191986"/>
              <a:gd name="connsiteY1133" fmla="*/ 3289515 h 6661143"/>
              <a:gd name="connsiteX1134" fmla="*/ 1516549 w 12191986"/>
              <a:gd name="connsiteY1134" fmla="*/ 3293718 h 6661143"/>
              <a:gd name="connsiteX1135" fmla="*/ 1514952 w 12191986"/>
              <a:gd name="connsiteY1135" fmla="*/ 3298446 h 6661143"/>
              <a:gd name="connsiteX1136" fmla="*/ 1511758 w 12191986"/>
              <a:gd name="connsiteY1136" fmla="*/ 3302122 h 6661143"/>
              <a:gd name="connsiteX1137" fmla="*/ 1509628 w 12191986"/>
              <a:gd name="connsiteY1137" fmla="*/ 3306326 h 6661143"/>
              <a:gd name="connsiteX1138" fmla="*/ 1506434 w 12191986"/>
              <a:gd name="connsiteY1138" fmla="*/ 3308951 h 6661143"/>
              <a:gd name="connsiteX1139" fmla="*/ 1502707 w 12191986"/>
              <a:gd name="connsiteY1139" fmla="*/ 3312105 h 6661143"/>
              <a:gd name="connsiteX1140" fmla="*/ 1499512 w 12191986"/>
              <a:gd name="connsiteY1140" fmla="*/ 3314206 h 6661143"/>
              <a:gd name="connsiteX1141" fmla="*/ 1495786 w 12191986"/>
              <a:gd name="connsiteY1141" fmla="*/ 3315781 h 6661143"/>
              <a:gd name="connsiteX1142" fmla="*/ 1490994 w 12191986"/>
              <a:gd name="connsiteY1142" fmla="*/ 3317358 h 6661143"/>
              <a:gd name="connsiteX1143" fmla="*/ 1487267 w 12191986"/>
              <a:gd name="connsiteY1143" fmla="*/ 3318407 h 6661143"/>
              <a:gd name="connsiteX1144" fmla="*/ 1483541 w 12191986"/>
              <a:gd name="connsiteY1144" fmla="*/ 3318934 h 6661143"/>
              <a:gd name="connsiteX1145" fmla="*/ 1478749 w 12191986"/>
              <a:gd name="connsiteY1145" fmla="*/ 3319458 h 6661143"/>
              <a:gd name="connsiteX1146" fmla="*/ 1473957 w 12191986"/>
              <a:gd name="connsiteY1146" fmla="*/ 3318934 h 6661143"/>
              <a:gd name="connsiteX1147" fmla="*/ 1469698 w 12191986"/>
              <a:gd name="connsiteY1147" fmla="*/ 3318934 h 6661143"/>
              <a:gd name="connsiteX1148" fmla="*/ 1465971 w 12191986"/>
              <a:gd name="connsiteY1148" fmla="*/ 3317358 h 6661143"/>
              <a:gd name="connsiteX1149" fmla="*/ 1461712 w 12191986"/>
              <a:gd name="connsiteY1149" fmla="*/ 3316832 h 6661143"/>
              <a:gd name="connsiteX1150" fmla="*/ 1457453 w 12191986"/>
              <a:gd name="connsiteY1150" fmla="*/ 3314206 h 6661143"/>
              <a:gd name="connsiteX1151" fmla="*/ 1454259 w 12191986"/>
              <a:gd name="connsiteY1151" fmla="*/ 3312105 h 6661143"/>
              <a:gd name="connsiteX1152" fmla="*/ 1450532 w 12191986"/>
              <a:gd name="connsiteY1152" fmla="*/ 3310002 h 6661143"/>
              <a:gd name="connsiteX1153" fmla="*/ 1447338 w 12191986"/>
              <a:gd name="connsiteY1153" fmla="*/ 3306850 h 6661143"/>
              <a:gd name="connsiteX1154" fmla="*/ 1445208 w 12191986"/>
              <a:gd name="connsiteY1154" fmla="*/ 3303701 h 6661143"/>
              <a:gd name="connsiteX1155" fmla="*/ 1442014 w 12191986"/>
              <a:gd name="connsiteY1155" fmla="*/ 3300022 h 6661143"/>
              <a:gd name="connsiteX1156" fmla="*/ 1440417 w 12191986"/>
              <a:gd name="connsiteY1156" fmla="*/ 3296344 h 6661143"/>
              <a:gd name="connsiteX1157" fmla="*/ 1438287 w 12191986"/>
              <a:gd name="connsiteY1157" fmla="*/ 3291616 h 6661143"/>
              <a:gd name="connsiteX1158" fmla="*/ 1436690 w 12191986"/>
              <a:gd name="connsiteY1158" fmla="*/ 3286889 h 6661143"/>
              <a:gd name="connsiteX1159" fmla="*/ 1435625 w 12191986"/>
              <a:gd name="connsiteY1159" fmla="*/ 3281635 h 6661143"/>
              <a:gd name="connsiteX1160" fmla="*/ 1435093 w 12191986"/>
              <a:gd name="connsiteY1160" fmla="*/ 3276381 h 6661143"/>
              <a:gd name="connsiteX1161" fmla="*/ 1435093 w 12191986"/>
              <a:gd name="connsiteY1161" fmla="*/ 3271129 h 6661143"/>
              <a:gd name="connsiteX1162" fmla="*/ 1435093 w 12191986"/>
              <a:gd name="connsiteY1162" fmla="*/ 3265351 h 6661143"/>
              <a:gd name="connsiteX1163" fmla="*/ 1436690 w 12191986"/>
              <a:gd name="connsiteY1163" fmla="*/ 3255895 h 6661143"/>
              <a:gd name="connsiteX1164" fmla="*/ 1438819 w 12191986"/>
              <a:gd name="connsiteY1164" fmla="*/ 3248015 h 6661143"/>
              <a:gd name="connsiteX1165" fmla="*/ 1442014 w 12191986"/>
              <a:gd name="connsiteY1165" fmla="*/ 3239607 h 6661143"/>
              <a:gd name="connsiteX1166" fmla="*/ 1445208 w 12191986"/>
              <a:gd name="connsiteY1166" fmla="*/ 3231202 h 6661143"/>
              <a:gd name="connsiteX1167" fmla="*/ 1448935 w 12191986"/>
              <a:gd name="connsiteY1167" fmla="*/ 3223322 h 6661143"/>
              <a:gd name="connsiteX1168" fmla="*/ 1453726 w 12191986"/>
              <a:gd name="connsiteY1168" fmla="*/ 3215970 h 6661143"/>
              <a:gd name="connsiteX1169" fmla="*/ 1457986 w 12191986"/>
              <a:gd name="connsiteY1169" fmla="*/ 3209141 h 6661143"/>
              <a:gd name="connsiteX1170" fmla="*/ 1462777 w 12191986"/>
              <a:gd name="connsiteY1170" fmla="*/ 3202311 h 6661143"/>
              <a:gd name="connsiteX1171" fmla="*/ 1479281 w 12191986"/>
              <a:gd name="connsiteY1171" fmla="*/ 3182874 h 6661143"/>
              <a:gd name="connsiteX1172" fmla="*/ 3629802 w 12191986"/>
              <a:gd name="connsiteY1172" fmla="*/ 3163886 h 6661143"/>
              <a:gd name="connsiteX1173" fmla="*/ 3635119 w 12191986"/>
              <a:gd name="connsiteY1173" fmla="*/ 3163886 h 6661143"/>
              <a:gd name="connsiteX1174" fmla="*/ 3640435 w 12191986"/>
              <a:gd name="connsiteY1174" fmla="*/ 3164950 h 6661143"/>
              <a:gd name="connsiteX1175" fmla="*/ 3645752 w 12191986"/>
              <a:gd name="connsiteY1175" fmla="*/ 3165479 h 6661143"/>
              <a:gd name="connsiteX1176" fmla="*/ 3650538 w 12191986"/>
              <a:gd name="connsiteY1176" fmla="*/ 3167608 h 6661143"/>
              <a:gd name="connsiteX1177" fmla="*/ 3655853 w 12191986"/>
              <a:gd name="connsiteY1177" fmla="*/ 3169202 h 6661143"/>
              <a:gd name="connsiteX1178" fmla="*/ 3660106 w 12191986"/>
              <a:gd name="connsiteY1178" fmla="*/ 3172389 h 6661143"/>
              <a:gd name="connsiteX1179" fmla="*/ 3665424 w 12191986"/>
              <a:gd name="connsiteY1179" fmla="*/ 3175583 h 6661143"/>
              <a:gd name="connsiteX1180" fmla="*/ 3669677 w 12191986"/>
              <a:gd name="connsiteY1180" fmla="*/ 3179299 h 6661143"/>
              <a:gd name="connsiteX1181" fmla="*/ 3673930 w 12191986"/>
              <a:gd name="connsiteY1181" fmla="*/ 3183021 h 6661143"/>
              <a:gd name="connsiteX1182" fmla="*/ 3677119 w 12191986"/>
              <a:gd name="connsiteY1182" fmla="*/ 3187809 h 6661143"/>
              <a:gd name="connsiteX1183" fmla="*/ 3680310 w 12191986"/>
              <a:gd name="connsiteY1183" fmla="*/ 3192060 h 6661143"/>
              <a:gd name="connsiteX1184" fmla="*/ 3682437 w 12191986"/>
              <a:gd name="connsiteY1184" fmla="*/ 3197377 h 6661143"/>
              <a:gd name="connsiteX1185" fmla="*/ 3684563 w 12191986"/>
              <a:gd name="connsiteY1185" fmla="*/ 3202164 h 6661143"/>
              <a:gd name="connsiteX1186" fmla="*/ 3686157 w 12191986"/>
              <a:gd name="connsiteY1186" fmla="*/ 3207480 h 6661143"/>
              <a:gd name="connsiteX1187" fmla="*/ 3687222 w 12191986"/>
              <a:gd name="connsiteY1187" fmla="*/ 3212796 h 6661143"/>
              <a:gd name="connsiteX1188" fmla="*/ 3687752 w 12191986"/>
              <a:gd name="connsiteY1188" fmla="*/ 3218113 h 6661143"/>
              <a:gd name="connsiteX1189" fmla="*/ 3687752 w 12191986"/>
              <a:gd name="connsiteY1189" fmla="*/ 3223429 h 6661143"/>
              <a:gd name="connsiteX1190" fmla="*/ 3687222 w 12191986"/>
              <a:gd name="connsiteY1190" fmla="*/ 3229276 h 6661143"/>
              <a:gd name="connsiteX1191" fmla="*/ 3685625 w 12191986"/>
              <a:gd name="connsiteY1191" fmla="*/ 3234592 h 6661143"/>
              <a:gd name="connsiteX1192" fmla="*/ 3684031 w 12191986"/>
              <a:gd name="connsiteY1192" fmla="*/ 3239909 h 6661143"/>
              <a:gd name="connsiteX1193" fmla="*/ 3681904 w 12191986"/>
              <a:gd name="connsiteY1193" fmla="*/ 3244165 h 6661143"/>
              <a:gd name="connsiteX1194" fmla="*/ 3679246 w 12191986"/>
              <a:gd name="connsiteY1194" fmla="*/ 3249481 h 6661143"/>
              <a:gd name="connsiteX1195" fmla="*/ 3676589 w 12191986"/>
              <a:gd name="connsiteY1195" fmla="*/ 3254264 h 6661143"/>
              <a:gd name="connsiteX1196" fmla="*/ 3672336 w 12191986"/>
              <a:gd name="connsiteY1196" fmla="*/ 3257986 h 6661143"/>
              <a:gd name="connsiteX1197" fmla="*/ 3668613 w 12191986"/>
              <a:gd name="connsiteY1197" fmla="*/ 3262772 h 6661143"/>
              <a:gd name="connsiteX1198" fmla="*/ 3664360 w 12191986"/>
              <a:gd name="connsiteY1198" fmla="*/ 3265961 h 6661143"/>
              <a:gd name="connsiteX1199" fmla="*/ 3659574 w 12191986"/>
              <a:gd name="connsiteY1199" fmla="*/ 3268619 h 6661143"/>
              <a:gd name="connsiteX1200" fmla="*/ 3654259 w 12191986"/>
              <a:gd name="connsiteY1200" fmla="*/ 3271277 h 6661143"/>
              <a:gd name="connsiteX1201" fmla="*/ 3649473 w 12191986"/>
              <a:gd name="connsiteY1201" fmla="*/ 3273405 h 6661143"/>
              <a:gd name="connsiteX1202" fmla="*/ 3644158 w 12191986"/>
              <a:gd name="connsiteY1202" fmla="*/ 3274999 h 6661143"/>
              <a:gd name="connsiteX1203" fmla="*/ 3638840 w 12191986"/>
              <a:gd name="connsiteY1203" fmla="*/ 3275534 h 6661143"/>
              <a:gd name="connsiteX1204" fmla="*/ 3633523 w 12191986"/>
              <a:gd name="connsiteY1204" fmla="*/ 3276594 h 6661143"/>
              <a:gd name="connsiteX1205" fmla="*/ 3628207 w 12191986"/>
              <a:gd name="connsiteY1205" fmla="*/ 3276594 h 6661143"/>
              <a:gd name="connsiteX1206" fmla="*/ 3622890 w 12191986"/>
              <a:gd name="connsiteY1206" fmla="*/ 3275534 h 6661143"/>
              <a:gd name="connsiteX1207" fmla="*/ 3617574 w 12191986"/>
              <a:gd name="connsiteY1207" fmla="*/ 3274999 h 6661143"/>
              <a:gd name="connsiteX1208" fmla="*/ 3612257 w 12191986"/>
              <a:gd name="connsiteY1208" fmla="*/ 3272875 h 6661143"/>
              <a:gd name="connsiteX1209" fmla="*/ 3607472 w 12191986"/>
              <a:gd name="connsiteY1209" fmla="*/ 3271277 h 6661143"/>
              <a:gd name="connsiteX1210" fmla="*/ 3602156 w 12191986"/>
              <a:gd name="connsiteY1210" fmla="*/ 3268089 h 6661143"/>
              <a:gd name="connsiteX1211" fmla="*/ 3597371 w 12191986"/>
              <a:gd name="connsiteY1211" fmla="*/ 3264898 h 6661143"/>
              <a:gd name="connsiteX1212" fmla="*/ 3593117 w 12191986"/>
              <a:gd name="connsiteY1212" fmla="*/ 3261179 h 6661143"/>
              <a:gd name="connsiteX1213" fmla="*/ 3588864 w 12191986"/>
              <a:gd name="connsiteY1213" fmla="*/ 3257456 h 6661143"/>
              <a:gd name="connsiteX1214" fmla="*/ 3586206 w 12191986"/>
              <a:gd name="connsiteY1214" fmla="*/ 3252669 h 6661143"/>
              <a:gd name="connsiteX1215" fmla="*/ 3583017 w 12191986"/>
              <a:gd name="connsiteY1215" fmla="*/ 3248417 h 6661143"/>
              <a:gd name="connsiteX1216" fmla="*/ 3579826 w 12191986"/>
              <a:gd name="connsiteY1216" fmla="*/ 3243631 h 6661143"/>
              <a:gd name="connsiteX1217" fmla="*/ 3578231 w 12191986"/>
              <a:gd name="connsiteY1217" fmla="*/ 3238314 h 6661143"/>
              <a:gd name="connsiteX1218" fmla="*/ 3576637 w 12191986"/>
              <a:gd name="connsiteY1218" fmla="*/ 3232997 h 6661143"/>
              <a:gd name="connsiteX1219" fmla="*/ 3576105 w 12191986"/>
              <a:gd name="connsiteY1219" fmla="*/ 3227681 h 6661143"/>
              <a:gd name="connsiteX1220" fmla="*/ 3575040 w 12191986"/>
              <a:gd name="connsiteY1220" fmla="*/ 3222364 h 6661143"/>
              <a:gd name="connsiteX1221" fmla="*/ 3575040 w 12191986"/>
              <a:gd name="connsiteY1221" fmla="*/ 3217048 h 6661143"/>
              <a:gd name="connsiteX1222" fmla="*/ 3576105 w 12191986"/>
              <a:gd name="connsiteY1222" fmla="*/ 3211203 h 6661143"/>
              <a:gd name="connsiteX1223" fmla="*/ 3576637 w 12191986"/>
              <a:gd name="connsiteY1223" fmla="*/ 3205887 h 6661143"/>
              <a:gd name="connsiteX1224" fmla="*/ 3578231 w 12191986"/>
              <a:gd name="connsiteY1224" fmla="*/ 3200570 h 6661143"/>
              <a:gd name="connsiteX1225" fmla="*/ 3580890 w 12191986"/>
              <a:gd name="connsiteY1225" fmla="*/ 3196312 h 6661143"/>
              <a:gd name="connsiteX1226" fmla="*/ 3583547 w 12191986"/>
              <a:gd name="connsiteY1226" fmla="*/ 3190996 h 6661143"/>
              <a:gd name="connsiteX1227" fmla="*/ 3586738 w 12191986"/>
              <a:gd name="connsiteY1227" fmla="*/ 3186215 h 6661143"/>
              <a:gd name="connsiteX1228" fmla="*/ 3590459 w 12191986"/>
              <a:gd name="connsiteY1228" fmla="*/ 3182492 h 6661143"/>
              <a:gd name="connsiteX1229" fmla="*/ 3594182 w 12191986"/>
              <a:gd name="connsiteY1229" fmla="*/ 3177705 h 6661143"/>
              <a:gd name="connsiteX1230" fmla="*/ 3598965 w 12191986"/>
              <a:gd name="connsiteY1230" fmla="*/ 3174518 h 6661143"/>
              <a:gd name="connsiteX1231" fmla="*/ 3603750 w 12191986"/>
              <a:gd name="connsiteY1231" fmla="*/ 3171324 h 6661143"/>
              <a:gd name="connsiteX1232" fmla="*/ 3608004 w 12191986"/>
              <a:gd name="connsiteY1232" fmla="*/ 3169202 h 6661143"/>
              <a:gd name="connsiteX1233" fmla="*/ 3613321 w 12191986"/>
              <a:gd name="connsiteY1233" fmla="*/ 3167073 h 6661143"/>
              <a:gd name="connsiteX1234" fmla="*/ 3619169 w 12191986"/>
              <a:gd name="connsiteY1234" fmla="*/ 3165479 h 6661143"/>
              <a:gd name="connsiteX1235" fmla="*/ 3624486 w 12191986"/>
              <a:gd name="connsiteY1235" fmla="*/ 3164950 h 6661143"/>
              <a:gd name="connsiteX1236" fmla="*/ 3938524 w 12191986"/>
              <a:gd name="connsiteY1236" fmla="*/ 3152771 h 6661143"/>
              <a:gd name="connsiteX1237" fmla="*/ 3943866 w 12191986"/>
              <a:gd name="connsiteY1237" fmla="*/ 3152771 h 6661143"/>
              <a:gd name="connsiteX1238" fmla="*/ 3949742 w 12191986"/>
              <a:gd name="connsiteY1238" fmla="*/ 3152771 h 6661143"/>
              <a:gd name="connsiteX1239" fmla="*/ 3955084 w 12191986"/>
              <a:gd name="connsiteY1239" fmla="*/ 3153822 h 6661143"/>
              <a:gd name="connsiteX1240" fmla="*/ 3960426 w 12191986"/>
              <a:gd name="connsiteY1240" fmla="*/ 3155402 h 6661143"/>
              <a:gd name="connsiteX1241" fmla="*/ 3965768 w 12191986"/>
              <a:gd name="connsiteY1241" fmla="*/ 3156982 h 6661143"/>
              <a:gd name="connsiteX1242" fmla="*/ 3970041 w 12191986"/>
              <a:gd name="connsiteY1242" fmla="*/ 3159092 h 6661143"/>
              <a:gd name="connsiteX1243" fmla="*/ 3974849 w 12191986"/>
              <a:gd name="connsiteY1243" fmla="*/ 3162252 h 6661143"/>
              <a:gd name="connsiteX1244" fmla="*/ 3979657 w 12191986"/>
              <a:gd name="connsiteY1244" fmla="*/ 3165412 h 6661143"/>
              <a:gd name="connsiteX1245" fmla="*/ 3983930 w 12191986"/>
              <a:gd name="connsiteY1245" fmla="*/ 3169095 h 6661143"/>
              <a:gd name="connsiteX1246" fmla="*/ 3988204 w 12191986"/>
              <a:gd name="connsiteY1246" fmla="*/ 3173312 h 6661143"/>
              <a:gd name="connsiteX1247" fmla="*/ 3990875 w 12191986"/>
              <a:gd name="connsiteY1247" fmla="*/ 3178047 h 6661143"/>
              <a:gd name="connsiteX1248" fmla="*/ 3994079 w 12191986"/>
              <a:gd name="connsiteY1248" fmla="*/ 3182787 h 6661143"/>
              <a:gd name="connsiteX1249" fmla="*/ 3996216 w 12191986"/>
              <a:gd name="connsiteY1249" fmla="*/ 3188057 h 6661143"/>
              <a:gd name="connsiteX1250" fmla="*/ 3997819 w 12191986"/>
              <a:gd name="connsiteY1250" fmla="*/ 3192268 h 6661143"/>
              <a:gd name="connsiteX1251" fmla="*/ 3999422 w 12191986"/>
              <a:gd name="connsiteY1251" fmla="*/ 3197537 h 6661143"/>
              <a:gd name="connsiteX1252" fmla="*/ 4000490 w 12191986"/>
              <a:gd name="connsiteY1252" fmla="*/ 3203329 h 6661143"/>
              <a:gd name="connsiteX1253" fmla="*/ 4000490 w 12191986"/>
              <a:gd name="connsiteY1253" fmla="*/ 3208594 h 6661143"/>
              <a:gd name="connsiteX1254" fmla="*/ 4000490 w 12191986"/>
              <a:gd name="connsiteY1254" fmla="*/ 3213861 h 6661143"/>
              <a:gd name="connsiteX1255" fmla="*/ 3999422 w 12191986"/>
              <a:gd name="connsiteY1255" fmla="*/ 3219130 h 6661143"/>
              <a:gd name="connsiteX1256" fmla="*/ 3997819 w 12191986"/>
              <a:gd name="connsiteY1256" fmla="*/ 3224393 h 6661143"/>
              <a:gd name="connsiteX1257" fmla="*/ 3996216 w 12191986"/>
              <a:gd name="connsiteY1257" fmla="*/ 3229662 h 6661143"/>
              <a:gd name="connsiteX1258" fmla="*/ 3994079 w 12191986"/>
              <a:gd name="connsiteY1258" fmla="*/ 3234403 h 6661143"/>
              <a:gd name="connsiteX1259" fmla="*/ 3990875 w 12191986"/>
              <a:gd name="connsiteY1259" fmla="*/ 3239667 h 6661143"/>
              <a:gd name="connsiteX1260" fmla="*/ 3988204 w 12191986"/>
              <a:gd name="connsiteY1260" fmla="*/ 3243884 h 6661143"/>
              <a:gd name="connsiteX1261" fmla="*/ 3983930 w 12191986"/>
              <a:gd name="connsiteY1261" fmla="*/ 3248095 h 6661143"/>
              <a:gd name="connsiteX1262" fmla="*/ 3979657 w 12191986"/>
              <a:gd name="connsiteY1262" fmla="*/ 3251780 h 6661143"/>
              <a:gd name="connsiteX1263" fmla="*/ 3974849 w 12191986"/>
              <a:gd name="connsiteY1263" fmla="*/ 3254940 h 6661143"/>
              <a:gd name="connsiteX1264" fmla="*/ 3970041 w 12191986"/>
              <a:gd name="connsiteY1264" fmla="*/ 3257576 h 6661143"/>
              <a:gd name="connsiteX1265" fmla="*/ 3964699 w 12191986"/>
              <a:gd name="connsiteY1265" fmla="*/ 3260208 h 6661143"/>
              <a:gd name="connsiteX1266" fmla="*/ 3960426 w 12191986"/>
              <a:gd name="connsiteY1266" fmla="*/ 3261788 h 6661143"/>
              <a:gd name="connsiteX1267" fmla="*/ 3955084 w 12191986"/>
              <a:gd name="connsiteY1267" fmla="*/ 3262840 h 6661143"/>
              <a:gd name="connsiteX1268" fmla="*/ 3949742 w 12191986"/>
              <a:gd name="connsiteY1268" fmla="*/ 3263894 h 6661143"/>
              <a:gd name="connsiteX1269" fmla="*/ 3943866 w 12191986"/>
              <a:gd name="connsiteY1269" fmla="*/ 3263894 h 6661143"/>
              <a:gd name="connsiteX1270" fmla="*/ 3938524 w 12191986"/>
              <a:gd name="connsiteY1270" fmla="*/ 3263894 h 6661143"/>
              <a:gd name="connsiteX1271" fmla="*/ 3933182 w 12191986"/>
              <a:gd name="connsiteY1271" fmla="*/ 3262840 h 6661143"/>
              <a:gd name="connsiteX1272" fmla="*/ 3927840 w 12191986"/>
              <a:gd name="connsiteY1272" fmla="*/ 3261788 h 6661143"/>
              <a:gd name="connsiteX1273" fmla="*/ 3922499 w 12191986"/>
              <a:gd name="connsiteY1273" fmla="*/ 3260208 h 6661143"/>
              <a:gd name="connsiteX1274" fmla="*/ 3917690 w 12191986"/>
              <a:gd name="connsiteY1274" fmla="*/ 3257576 h 6661143"/>
              <a:gd name="connsiteX1275" fmla="*/ 3912349 w 12191986"/>
              <a:gd name="connsiteY1275" fmla="*/ 3254940 h 6661143"/>
              <a:gd name="connsiteX1276" fmla="*/ 3908076 w 12191986"/>
              <a:gd name="connsiteY1276" fmla="*/ 3251780 h 6661143"/>
              <a:gd name="connsiteX1277" fmla="*/ 3904336 w 12191986"/>
              <a:gd name="connsiteY1277" fmla="*/ 3248095 h 6661143"/>
              <a:gd name="connsiteX1278" fmla="*/ 3900063 w 12191986"/>
              <a:gd name="connsiteY1278" fmla="*/ 3243355 h 6661143"/>
              <a:gd name="connsiteX1279" fmla="*/ 3897392 w 12191986"/>
              <a:gd name="connsiteY1279" fmla="*/ 3238614 h 6661143"/>
              <a:gd name="connsiteX1280" fmla="*/ 3894187 w 12191986"/>
              <a:gd name="connsiteY1280" fmla="*/ 3234403 h 6661143"/>
              <a:gd name="connsiteX1281" fmla="*/ 3892050 w 12191986"/>
              <a:gd name="connsiteY1281" fmla="*/ 3229662 h 6661143"/>
              <a:gd name="connsiteX1282" fmla="*/ 3890448 w 12191986"/>
              <a:gd name="connsiteY1282" fmla="*/ 3224393 h 6661143"/>
              <a:gd name="connsiteX1283" fmla="*/ 3888845 w 12191986"/>
              <a:gd name="connsiteY1283" fmla="*/ 3219130 h 6661143"/>
              <a:gd name="connsiteX1284" fmla="*/ 3887777 w 12191986"/>
              <a:gd name="connsiteY1284" fmla="*/ 3213861 h 6661143"/>
              <a:gd name="connsiteX1285" fmla="*/ 3887777 w 12191986"/>
              <a:gd name="connsiteY1285" fmla="*/ 3208594 h 6661143"/>
              <a:gd name="connsiteX1286" fmla="*/ 3887777 w 12191986"/>
              <a:gd name="connsiteY1286" fmla="*/ 3203329 h 6661143"/>
              <a:gd name="connsiteX1287" fmla="*/ 3888845 w 12191986"/>
              <a:gd name="connsiteY1287" fmla="*/ 3197537 h 6661143"/>
              <a:gd name="connsiteX1288" fmla="*/ 3890448 w 12191986"/>
              <a:gd name="connsiteY1288" fmla="*/ 3192268 h 6661143"/>
              <a:gd name="connsiteX1289" fmla="*/ 3892050 w 12191986"/>
              <a:gd name="connsiteY1289" fmla="*/ 3187005 h 6661143"/>
              <a:gd name="connsiteX1290" fmla="*/ 3894187 w 12191986"/>
              <a:gd name="connsiteY1290" fmla="*/ 3182787 h 6661143"/>
              <a:gd name="connsiteX1291" fmla="*/ 3897392 w 12191986"/>
              <a:gd name="connsiteY1291" fmla="*/ 3178047 h 6661143"/>
              <a:gd name="connsiteX1292" fmla="*/ 3900063 w 12191986"/>
              <a:gd name="connsiteY1292" fmla="*/ 3173312 h 6661143"/>
              <a:gd name="connsiteX1293" fmla="*/ 3904336 w 12191986"/>
              <a:gd name="connsiteY1293" fmla="*/ 3169095 h 6661143"/>
              <a:gd name="connsiteX1294" fmla="*/ 3908610 w 12191986"/>
              <a:gd name="connsiteY1294" fmla="*/ 3165412 h 6661143"/>
              <a:gd name="connsiteX1295" fmla="*/ 3913417 w 12191986"/>
              <a:gd name="connsiteY1295" fmla="*/ 3162252 h 6661143"/>
              <a:gd name="connsiteX1296" fmla="*/ 3917690 w 12191986"/>
              <a:gd name="connsiteY1296" fmla="*/ 3159092 h 6661143"/>
              <a:gd name="connsiteX1297" fmla="*/ 3922499 w 12191986"/>
              <a:gd name="connsiteY1297" fmla="*/ 3156982 h 6661143"/>
              <a:gd name="connsiteX1298" fmla="*/ 3927840 w 12191986"/>
              <a:gd name="connsiteY1298" fmla="*/ 3155402 h 6661143"/>
              <a:gd name="connsiteX1299" fmla="*/ 3933182 w 12191986"/>
              <a:gd name="connsiteY1299" fmla="*/ 3153822 h 6661143"/>
              <a:gd name="connsiteX1300" fmla="*/ 3346142 w 12191986"/>
              <a:gd name="connsiteY1300" fmla="*/ 3144837 h 6661143"/>
              <a:gd name="connsiteX1301" fmla="*/ 3351991 w 12191986"/>
              <a:gd name="connsiteY1301" fmla="*/ 3144837 h 6661143"/>
              <a:gd name="connsiteX1302" fmla="*/ 3357308 w 12191986"/>
              <a:gd name="connsiteY1302" fmla="*/ 3144837 h 6661143"/>
              <a:gd name="connsiteX1303" fmla="*/ 3362624 w 12191986"/>
              <a:gd name="connsiteY1303" fmla="*/ 3145366 h 6661143"/>
              <a:gd name="connsiteX1304" fmla="*/ 3367941 w 12191986"/>
              <a:gd name="connsiteY1304" fmla="*/ 3146424 h 6661143"/>
              <a:gd name="connsiteX1305" fmla="*/ 3373257 w 12191986"/>
              <a:gd name="connsiteY1305" fmla="*/ 3147482 h 6661143"/>
              <a:gd name="connsiteX1306" fmla="*/ 3378042 w 12191986"/>
              <a:gd name="connsiteY1306" fmla="*/ 3150126 h 6661143"/>
              <a:gd name="connsiteX1307" fmla="*/ 3383360 w 12191986"/>
              <a:gd name="connsiteY1307" fmla="*/ 3152242 h 6661143"/>
              <a:gd name="connsiteX1308" fmla="*/ 3387613 w 12191986"/>
              <a:gd name="connsiteY1308" fmla="*/ 3155945 h 6661143"/>
              <a:gd name="connsiteX1309" fmla="*/ 3392398 w 12191986"/>
              <a:gd name="connsiteY1309" fmla="*/ 3159125 h 6661143"/>
              <a:gd name="connsiteX1310" fmla="*/ 3396119 w 12191986"/>
              <a:gd name="connsiteY1310" fmla="*/ 3163886 h 6661143"/>
              <a:gd name="connsiteX1311" fmla="*/ 3399310 w 12191986"/>
              <a:gd name="connsiteY1311" fmla="*/ 3168117 h 6661143"/>
              <a:gd name="connsiteX1312" fmla="*/ 3402499 w 12191986"/>
              <a:gd name="connsiteY1312" fmla="*/ 3172878 h 6661143"/>
              <a:gd name="connsiteX1313" fmla="*/ 3405158 w 12191986"/>
              <a:gd name="connsiteY1313" fmla="*/ 3177645 h 6661143"/>
              <a:gd name="connsiteX1314" fmla="*/ 3406753 w 12191986"/>
              <a:gd name="connsiteY1314" fmla="*/ 3182934 h 6661143"/>
              <a:gd name="connsiteX1315" fmla="*/ 3408347 w 12191986"/>
              <a:gd name="connsiteY1315" fmla="*/ 3187166 h 6661143"/>
              <a:gd name="connsiteX1316" fmla="*/ 3409411 w 12191986"/>
              <a:gd name="connsiteY1316" fmla="*/ 3192456 h 6661143"/>
              <a:gd name="connsiteX1317" fmla="*/ 3409943 w 12191986"/>
              <a:gd name="connsiteY1317" fmla="*/ 3197752 h 6661143"/>
              <a:gd name="connsiteX1318" fmla="*/ 3409943 w 12191986"/>
              <a:gd name="connsiteY1318" fmla="*/ 3203570 h 6661143"/>
              <a:gd name="connsiteX1319" fmla="*/ 3409411 w 12191986"/>
              <a:gd name="connsiteY1319" fmla="*/ 3208860 h 6661143"/>
              <a:gd name="connsiteX1320" fmla="*/ 3408347 w 12191986"/>
              <a:gd name="connsiteY1320" fmla="*/ 3214156 h 6661143"/>
              <a:gd name="connsiteX1321" fmla="*/ 3406753 w 12191986"/>
              <a:gd name="connsiteY1321" fmla="*/ 3219445 h 6661143"/>
              <a:gd name="connsiteX1322" fmla="*/ 3404626 w 12191986"/>
              <a:gd name="connsiteY1322" fmla="*/ 3224735 h 6661143"/>
              <a:gd name="connsiteX1323" fmla="*/ 3401436 w 12191986"/>
              <a:gd name="connsiteY1323" fmla="*/ 3229502 h 6661143"/>
              <a:gd name="connsiteX1324" fmla="*/ 3398246 w 12191986"/>
              <a:gd name="connsiteY1324" fmla="*/ 3233733 h 6661143"/>
              <a:gd name="connsiteX1325" fmla="*/ 3394524 w 12191986"/>
              <a:gd name="connsiteY1325" fmla="*/ 3238494 h 6661143"/>
              <a:gd name="connsiteX1326" fmla="*/ 3390802 w 12191986"/>
              <a:gd name="connsiteY1326" fmla="*/ 3242198 h 6661143"/>
              <a:gd name="connsiteX1327" fmla="*/ 3386018 w 12191986"/>
              <a:gd name="connsiteY1327" fmla="*/ 3245902 h 6661143"/>
              <a:gd name="connsiteX1328" fmla="*/ 3381764 w 12191986"/>
              <a:gd name="connsiteY1328" fmla="*/ 3249080 h 6661143"/>
              <a:gd name="connsiteX1329" fmla="*/ 3376979 w 12191986"/>
              <a:gd name="connsiteY1329" fmla="*/ 3251196 h 6661143"/>
              <a:gd name="connsiteX1330" fmla="*/ 3371662 w 12191986"/>
              <a:gd name="connsiteY1330" fmla="*/ 3253841 h 6661143"/>
              <a:gd name="connsiteX1331" fmla="*/ 3366346 w 12191986"/>
              <a:gd name="connsiteY1331" fmla="*/ 3255428 h 6661143"/>
              <a:gd name="connsiteX1332" fmla="*/ 3361029 w 12191986"/>
              <a:gd name="connsiteY1332" fmla="*/ 3255957 h 6661143"/>
              <a:gd name="connsiteX1333" fmla="*/ 3355713 w 12191986"/>
              <a:gd name="connsiteY1333" fmla="*/ 3255957 h 6661143"/>
              <a:gd name="connsiteX1334" fmla="*/ 3350396 w 12191986"/>
              <a:gd name="connsiteY1334" fmla="*/ 3255957 h 6661143"/>
              <a:gd name="connsiteX1335" fmla="*/ 3345079 w 12191986"/>
              <a:gd name="connsiteY1335" fmla="*/ 3255957 h 6661143"/>
              <a:gd name="connsiteX1336" fmla="*/ 3339763 w 12191986"/>
              <a:gd name="connsiteY1336" fmla="*/ 3254369 h 6661143"/>
              <a:gd name="connsiteX1337" fmla="*/ 3333915 w 12191986"/>
              <a:gd name="connsiteY1337" fmla="*/ 3252783 h 6661143"/>
              <a:gd name="connsiteX1338" fmla="*/ 3329661 w 12191986"/>
              <a:gd name="connsiteY1338" fmla="*/ 3250667 h 6661143"/>
              <a:gd name="connsiteX1339" fmla="*/ 3324344 w 12191986"/>
              <a:gd name="connsiteY1339" fmla="*/ 3248551 h 6661143"/>
              <a:gd name="connsiteX1340" fmla="*/ 3319559 w 12191986"/>
              <a:gd name="connsiteY1340" fmla="*/ 3245373 h 6661143"/>
              <a:gd name="connsiteX1341" fmla="*/ 3315837 w 12191986"/>
              <a:gd name="connsiteY1341" fmla="*/ 3241668 h 6661143"/>
              <a:gd name="connsiteX1342" fmla="*/ 3311053 w 12191986"/>
              <a:gd name="connsiteY1342" fmla="*/ 3236907 h 6661143"/>
              <a:gd name="connsiteX1343" fmla="*/ 3307863 w 12191986"/>
              <a:gd name="connsiteY1343" fmla="*/ 3233204 h 6661143"/>
              <a:gd name="connsiteX1344" fmla="*/ 3305204 w 12191986"/>
              <a:gd name="connsiteY1344" fmla="*/ 3227910 h 6661143"/>
              <a:gd name="connsiteX1345" fmla="*/ 3302546 w 12191986"/>
              <a:gd name="connsiteY1345" fmla="*/ 3223148 h 6661143"/>
              <a:gd name="connsiteX1346" fmla="*/ 3300419 w 12191986"/>
              <a:gd name="connsiteY1346" fmla="*/ 3217858 h 6661143"/>
              <a:gd name="connsiteX1347" fmla="*/ 3298825 w 12191986"/>
              <a:gd name="connsiteY1347" fmla="*/ 3213098 h 6661143"/>
              <a:gd name="connsiteX1348" fmla="*/ 3298292 w 12191986"/>
              <a:gd name="connsiteY1348" fmla="*/ 3207802 h 6661143"/>
              <a:gd name="connsiteX1349" fmla="*/ 3297230 w 12191986"/>
              <a:gd name="connsiteY1349" fmla="*/ 3202512 h 6661143"/>
              <a:gd name="connsiteX1350" fmla="*/ 3297230 w 12191986"/>
              <a:gd name="connsiteY1350" fmla="*/ 3197223 h 6661143"/>
              <a:gd name="connsiteX1351" fmla="*/ 3298292 w 12191986"/>
              <a:gd name="connsiteY1351" fmla="*/ 3191927 h 6661143"/>
              <a:gd name="connsiteX1352" fmla="*/ 3299887 w 12191986"/>
              <a:gd name="connsiteY1352" fmla="*/ 3186637 h 6661143"/>
              <a:gd name="connsiteX1353" fmla="*/ 3301483 w 12191986"/>
              <a:gd name="connsiteY1353" fmla="*/ 3181348 h 6661143"/>
              <a:gd name="connsiteX1354" fmla="*/ 3302546 w 12191986"/>
              <a:gd name="connsiteY1354" fmla="*/ 3176058 h 6661143"/>
              <a:gd name="connsiteX1355" fmla="*/ 3305737 w 12191986"/>
              <a:gd name="connsiteY1355" fmla="*/ 3171291 h 6661143"/>
              <a:gd name="connsiteX1356" fmla="*/ 3308926 w 12191986"/>
              <a:gd name="connsiteY1356" fmla="*/ 3166530 h 6661143"/>
              <a:gd name="connsiteX1357" fmla="*/ 3312648 w 12191986"/>
              <a:gd name="connsiteY1357" fmla="*/ 3162299 h 6661143"/>
              <a:gd name="connsiteX1358" fmla="*/ 3316369 w 12191986"/>
              <a:gd name="connsiteY1358" fmla="*/ 3158596 h 6661143"/>
              <a:gd name="connsiteX1359" fmla="*/ 3321155 w 12191986"/>
              <a:gd name="connsiteY1359" fmla="*/ 3154358 h 6661143"/>
              <a:gd name="connsiteX1360" fmla="*/ 3325939 w 12191986"/>
              <a:gd name="connsiteY1360" fmla="*/ 3151713 h 6661143"/>
              <a:gd name="connsiteX1361" fmla="*/ 3331256 w 12191986"/>
              <a:gd name="connsiteY1361" fmla="*/ 3149068 h 6661143"/>
              <a:gd name="connsiteX1362" fmla="*/ 3335510 w 12191986"/>
              <a:gd name="connsiteY1362" fmla="*/ 3147482 h 6661143"/>
              <a:gd name="connsiteX1363" fmla="*/ 3340826 w 12191986"/>
              <a:gd name="connsiteY1363" fmla="*/ 3146424 h 6661143"/>
              <a:gd name="connsiteX1364" fmla="*/ 8380399 w 12191986"/>
              <a:gd name="connsiteY1364" fmla="*/ 3086093 h 6661143"/>
              <a:gd name="connsiteX1365" fmla="*/ 8388321 w 12191986"/>
              <a:gd name="connsiteY1365" fmla="*/ 3086093 h 6661143"/>
              <a:gd name="connsiteX1366" fmla="*/ 8407333 w 12191986"/>
              <a:gd name="connsiteY1366" fmla="*/ 3088211 h 6661143"/>
              <a:gd name="connsiteX1367" fmla="*/ 8420537 w 12191986"/>
              <a:gd name="connsiteY1367" fmla="*/ 3090327 h 6661143"/>
              <a:gd name="connsiteX1368" fmla="*/ 8436908 w 12191986"/>
              <a:gd name="connsiteY1368" fmla="*/ 3093502 h 6661143"/>
              <a:gd name="connsiteX1369" fmla="*/ 8453280 w 12191986"/>
              <a:gd name="connsiteY1369" fmla="*/ 3098264 h 6661143"/>
              <a:gd name="connsiteX1370" fmla="*/ 8472293 w 12191986"/>
              <a:gd name="connsiteY1370" fmla="*/ 3104085 h 6661143"/>
              <a:gd name="connsiteX1371" fmla="*/ 8492362 w 12191986"/>
              <a:gd name="connsiteY1371" fmla="*/ 3112551 h 6661143"/>
              <a:gd name="connsiteX1372" fmla="*/ 8512959 w 12191986"/>
              <a:gd name="connsiteY1372" fmla="*/ 3121548 h 6661143"/>
              <a:gd name="connsiteX1373" fmla="*/ 8522465 w 12191986"/>
              <a:gd name="connsiteY1373" fmla="*/ 3127897 h 6661143"/>
              <a:gd name="connsiteX1374" fmla="*/ 8533556 w 12191986"/>
              <a:gd name="connsiteY1374" fmla="*/ 3133718 h 6661143"/>
              <a:gd name="connsiteX1375" fmla="*/ 8544118 w 12191986"/>
              <a:gd name="connsiteY1375" fmla="*/ 3140598 h 6661143"/>
              <a:gd name="connsiteX1376" fmla="*/ 8553624 w 12191986"/>
              <a:gd name="connsiteY1376" fmla="*/ 3147476 h 6661143"/>
              <a:gd name="connsiteX1377" fmla="*/ 8564715 w 12191986"/>
              <a:gd name="connsiteY1377" fmla="*/ 3155944 h 6661143"/>
              <a:gd name="connsiteX1378" fmla="*/ 8574221 w 12191986"/>
              <a:gd name="connsiteY1378" fmla="*/ 3164410 h 6661143"/>
              <a:gd name="connsiteX1379" fmla="*/ 8584256 w 12191986"/>
              <a:gd name="connsiteY1379" fmla="*/ 3173406 h 6661143"/>
              <a:gd name="connsiteX1380" fmla="*/ 8594290 w 12191986"/>
              <a:gd name="connsiteY1380" fmla="*/ 3183461 h 6661143"/>
              <a:gd name="connsiteX1381" fmla="*/ 8603268 w 12191986"/>
              <a:gd name="connsiteY1381" fmla="*/ 3194043 h 6661143"/>
              <a:gd name="connsiteX1382" fmla="*/ 8612246 w 12191986"/>
              <a:gd name="connsiteY1382" fmla="*/ 3205685 h 6661143"/>
              <a:gd name="connsiteX1383" fmla="*/ 8621753 w 12191986"/>
              <a:gd name="connsiteY1383" fmla="*/ 3218386 h 6661143"/>
              <a:gd name="connsiteX1384" fmla="*/ 8629674 w 12191986"/>
              <a:gd name="connsiteY1384" fmla="*/ 3231615 h 6661143"/>
              <a:gd name="connsiteX1385" fmla="*/ 8635484 w 12191986"/>
              <a:gd name="connsiteY1385" fmla="*/ 3240610 h 6661143"/>
              <a:gd name="connsiteX1386" fmla="*/ 8639709 w 12191986"/>
              <a:gd name="connsiteY1386" fmla="*/ 3250664 h 6661143"/>
              <a:gd name="connsiteX1387" fmla="*/ 8643406 w 12191986"/>
              <a:gd name="connsiteY1387" fmla="*/ 3260718 h 6661143"/>
              <a:gd name="connsiteX1388" fmla="*/ 8646046 w 12191986"/>
              <a:gd name="connsiteY1388" fmla="*/ 3270244 h 6661143"/>
              <a:gd name="connsiteX1389" fmla="*/ 8647631 w 12191986"/>
              <a:gd name="connsiteY1389" fmla="*/ 3280298 h 6661143"/>
              <a:gd name="connsiteX1390" fmla="*/ 8648687 w 12191986"/>
              <a:gd name="connsiteY1390" fmla="*/ 3290351 h 6661143"/>
              <a:gd name="connsiteX1391" fmla="*/ 8648687 w 12191986"/>
              <a:gd name="connsiteY1391" fmla="*/ 3300406 h 6661143"/>
              <a:gd name="connsiteX1392" fmla="*/ 8648159 w 12191986"/>
              <a:gd name="connsiteY1392" fmla="*/ 3309401 h 6661143"/>
              <a:gd name="connsiteX1393" fmla="*/ 8646574 w 12191986"/>
              <a:gd name="connsiteY1393" fmla="*/ 3319455 h 6661143"/>
              <a:gd name="connsiteX1394" fmla="*/ 8643406 w 12191986"/>
              <a:gd name="connsiteY1394" fmla="*/ 3328452 h 6661143"/>
              <a:gd name="connsiteX1395" fmla="*/ 8640765 w 12191986"/>
              <a:gd name="connsiteY1395" fmla="*/ 3336918 h 6661143"/>
              <a:gd name="connsiteX1396" fmla="*/ 8636540 w 12191986"/>
              <a:gd name="connsiteY1396" fmla="*/ 3345385 h 6661143"/>
              <a:gd name="connsiteX1397" fmla="*/ 8631259 w 12191986"/>
              <a:gd name="connsiteY1397" fmla="*/ 3353322 h 6661143"/>
              <a:gd name="connsiteX1398" fmla="*/ 8625978 w 12191986"/>
              <a:gd name="connsiteY1398" fmla="*/ 3361260 h 6661143"/>
              <a:gd name="connsiteX1399" fmla="*/ 8619112 w 12191986"/>
              <a:gd name="connsiteY1399" fmla="*/ 3368139 h 6661143"/>
              <a:gd name="connsiteX1400" fmla="*/ 8612246 w 12191986"/>
              <a:gd name="connsiteY1400" fmla="*/ 3373960 h 6661143"/>
              <a:gd name="connsiteX1401" fmla="*/ 8610662 w 12191986"/>
              <a:gd name="connsiteY1401" fmla="*/ 3356497 h 6661143"/>
              <a:gd name="connsiteX1402" fmla="*/ 8608021 w 12191986"/>
              <a:gd name="connsiteY1402" fmla="*/ 3339035 h 6661143"/>
              <a:gd name="connsiteX1403" fmla="*/ 8603796 w 12191986"/>
              <a:gd name="connsiteY1403" fmla="*/ 3321572 h 6661143"/>
              <a:gd name="connsiteX1404" fmla="*/ 8598515 w 12191986"/>
              <a:gd name="connsiteY1404" fmla="*/ 3303052 h 6661143"/>
              <a:gd name="connsiteX1405" fmla="*/ 8592706 w 12191986"/>
              <a:gd name="connsiteY1405" fmla="*/ 3285061 h 6661143"/>
              <a:gd name="connsiteX1406" fmla="*/ 8584256 w 12191986"/>
              <a:gd name="connsiteY1406" fmla="*/ 3266540 h 6661143"/>
              <a:gd name="connsiteX1407" fmla="*/ 8575277 w 12191986"/>
              <a:gd name="connsiteY1407" fmla="*/ 3248548 h 6661143"/>
              <a:gd name="connsiteX1408" fmla="*/ 8564715 w 12191986"/>
              <a:gd name="connsiteY1408" fmla="*/ 3230026 h 6661143"/>
              <a:gd name="connsiteX1409" fmla="*/ 8558377 w 12191986"/>
              <a:gd name="connsiteY1409" fmla="*/ 3219973 h 6661143"/>
              <a:gd name="connsiteX1410" fmla="*/ 8551512 w 12191986"/>
              <a:gd name="connsiteY1410" fmla="*/ 3210976 h 6661143"/>
              <a:gd name="connsiteX1411" fmla="*/ 8544646 w 12191986"/>
              <a:gd name="connsiteY1411" fmla="*/ 3201981 h 6661143"/>
              <a:gd name="connsiteX1412" fmla="*/ 8537252 w 12191986"/>
              <a:gd name="connsiteY1412" fmla="*/ 3192455 h 6661143"/>
              <a:gd name="connsiteX1413" fmla="*/ 8522465 w 12191986"/>
              <a:gd name="connsiteY1413" fmla="*/ 3174993 h 6661143"/>
              <a:gd name="connsiteX1414" fmla="*/ 8506621 w 12191986"/>
              <a:gd name="connsiteY1414" fmla="*/ 3159647 h 6661143"/>
              <a:gd name="connsiteX1415" fmla="*/ 8489721 w 12191986"/>
              <a:gd name="connsiteY1415" fmla="*/ 3145360 h 6661143"/>
              <a:gd name="connsiteX1416" fmla="*/ 8473349 w 12191986"/>
              <a:gd name="connsiteY1416" fmla="*/ 3132660 h 6661143"/>
              <a:gd name="connsiteX1417" fmla="*/ 8455921 w 12191986"/>
              <a:gd name="connsiteY1417" fmla="*/ 3121019 h 6661143"/>
              <a:gd name="connsiteX1418" fmla="*/ 8437437 w 12191986"/>
              <a:gd name="connsiteY1418" fmla="*/ 3110435 h 6661143"/>
              <a:gd name="connsiteX1419" fmla="*/ 8453280 w 12191986"/>
              <a:gd name="connsiteY1419" fmla="*/ 3121019 h 6661143"/>
              <a:gd name="connsiteX1420" fmla="*/ 8469652 w 12191986"/>
              <a:gd name="connsiteY1420" fmla="*/ 3132660 h 6661143"/>
              <a:gd name="connsiteX1421" fmla="*/ 8484440 w 12191986"/>
              <a:gd name="connsiteY1421" fmla="*/ 3144830 h 6661143"/>
              <a:gd name="connsiteX1422" fmla="*/ 8499227 w 12191986"/>
              <a:gd name="connsiteY1422" fmla="*/ 3158589 h 6661143"/>
              <a:gd name="connsiteX1423" fmla="*/ 8513487 w 12191986"/>
              <a:gd name="connsiteY1423" fmla="*/ 3172877 h 6661143"/>
              <a:gd name="connsiteX1424" fmla="*/ 8526690 w 12191986"/>
              <a:gd name="connsiteY1424" fmla="*/ 3188223 h 6661143"/>
              <a:gd name="connsiteX1425" fmla="*/ 8539365 w 12191986"/>
              <a:gd name="connsiteY1425" fmla="*/ 3204627 h 6661143"/>
              <a:gd name="connsiteX1426" fmla="*/ 8551512 w 12191986"/>
              <a:gd name="connsiteY1426" fmla="*/ 3223147 h 6661143"/>
              <a:gd name="connsiteX1427" fmla="*/ 8557849 w 12191986"/>
              <a:gd name="connsiteY1427" fmla="*/ 3233202 h 6661143"/>
              <a:gd name="connsiteX1428" fmla="*/ 8563131 w 12191986"/>
              <a:gd name="connsiteY1428" fmla="*/ 3242726 h 6661143"/>
              <a:gd name="connsiteX1429" fmla="*/ 8568412 w 12191986"/>
              <a:gd name="connsiteY1429" fmla="*/ 3252781 h 6661143"/>
              <a:gd name="connsiteX1430" fmla="*/ 8572637 w 12191986"/>
              <a:gd name="connsiteY1430" fmla="*/ 3263364 h 6661143"/>
              <a:gd name="connsiteX1431" fmla="*/ 8581087 w 12191986"/>
              <a:gd name="connsiteY1431" fmla="*/ 3283473 h 6661143"/>
              <a:gd name="connsiteX1432" fmla="*/ 8587953 w 12191986"/>
              <a:gd name="connsiteY1432" fmla="*/ 3304110 h 6661143"/>
              <a:gd name="connsiteX1433" fmla="*/ 8593234 w 12191986"/>
              <a:gd name="connsiteY1433" fmla="*/ 3324747 h 6661143"/>
              <a:gd name="connsiteX1434" fmla="*/ 8597459 w 12191986"/>
              <a:gd name="connsiteY1434" fmla="*/ 3344326 h 6661143"/>
              <a:gd name="connsiteX1435" fmla="*/ 8597987 w 12191986"/>
              <a:gd name="connsiteY1435" fmla="*/ 3354380 h 6661143"/>
              <a:gd name="connsiteX1436" fmla="*/ 8598515 w 12191986"/>
              <a:gd name="connsiteY1436" fmla="*/ 3364435 h 6661143"/>
              <a:gd name="connsiteX1437" fmla="*/ 8599571 w 12191986"/>
              <a:gd name="connsiteY1437" fmla="*/ 3373430 h 6661143"/>
              <a:gd name="connsiteX1438" fmla="*/ 8599571 w 12191986"/>
              <a:gd name="connsiteY1438" fmla="*/ 3383485 h 6661143"/>
              <a:gd name="connsiteX1439" fmla="*/ 8597459 w 12191986"/>
              <a:gd name="connsiteY1439" fmla="*/ 3384014 h 6661143"/>
              <a:gd name="connsiteX1440" fmla="*/ 8595874 w 12191986"/>
              <a:gd name="connsiteY1440" fmla="*/ 3385601 h 6661143"/>
              <a:gd name="connsiteX1441" fmla="*/ 8584784 w 12191986"/>
              <a:gd name="connsiteY1441" fmla="*/ 3390364 h 6661143"/>
              <a:gd name="connsiteX1442" fmla="*/ 8574221 w 12191986"/>
              <a:gd name="connsiteY1442" fmla="*/ 3393010 h 6661143"/>
              <a:gd name="connsiteX1443" fmla="*/ 8563131 w 12191986"/>
              <a:gd name="connsiteY1443" fmla="*/ 3395655 h 6661143"/>
              <a:gd name="connsiteX1444" fmla="*/ 8551512 w 12191986"/>
              <a:gd name="connsiteY1444" fmla="*/ 3397243 h 6661143"/>
              <a:gd name="connsiteX1445" fmla="*/ 8540421 w 12191986"/>
              <a:gd name="connsiteY1445" fmla="*/ 3397243 h 6661143"/>
              <a:gd name="connsiteX1446" fmla="*/ 8528802 w 12191986"/>
              <a:gd name="connsiteY1446" fmla="*/ 3396185 h 6661143"/>
              <a:gd name="connsiteX1447" fmla="*/ 8517184 w 12191986"/>
              <a:gd name="connsiteY1447" fmla="*/ 3394068 h 6661143"/>
              <a:gd name="connsiteX1448" fmla="*/ 8506621 w 12191986"/>
              <a:gd name="connsiteY1448" fmla="*/ 3390893 h 6661143"/>
              <a:gd name="connsiteX1449" fmla="*/ 8495530 w 12191986"/>
              <a:gd name="connsiteY1449" fmla="*/ 3387189 h 6661143"/>
              <a:gd name="connsiteX1450" fmla="*/ 8484440 w 12191986"/>
              <a:gd name="connsiteY1450" fmla="*/ 3382426 h 6661143"/>
              <a:gd name="connsiteX1451" fmla="*/ 8474934 w 12191986"/>
              <a:gd name="connsiteY1451" fmla="*/ 3376605 h 6661143"/>
              <a:gd name="connsiteX1452" fmla="*/ 8464899 w 12191986"/>
              <a:gd name="connsiteY1452" fmla="*/ 3369726 h 6661143"/>
              <a:gd name="connsiteX1453" fmla="*/ 8455921 w 12191986"/>
              <a:gd name="connsiteY1453" fmla="*/ 3361789 h 6661143"/>
              <a:gd name="connsiteX1454" fmla="*/ 8446415 w 12191986"/>
              <a:gd name="connsiteY1454" fmla="*/ 3352793 h 6661143"/>
              <a:gd name="connsiteX1455" fmla="*/ 8439021 w 12191986"/>
              <a:gd name="connsiteY1455" fmla="*/ 3343797 h 6661143"/>
              <a:gd name="connsiteX1456" fmla="*/ 8432155 w 12191986"/>
              <a:gd name="connsiteY1456" fmla="*/ 3332685 h 6661143"/>
              <a:gd name="connsiteX1457" fmla="*/ 8428458 w 12191986"/>
              <a:gd name="connsiteY1457" fmla="*/ 3326335 h 6661143"/>
              <a:gd name="connsiteX1458" fmla="*/ 8424762 w 12191986"/>
              <a:gd name="connsiteY1458" fmla="*/ 3318398 h 6661143"/>
              <a:gd name="connsiteX1459" fmla="*/ 8421593 w 12191986"/>
              <a:gd name="connsiteY1459" fmla="*/ 3309930 h 6661143"/>
              <a:gd name="connsiteX1460" fmla="*/ 8419480 w 12191986"/>
              <a:gd name="connsiteY1460" fmla="*/ 3302523 h 6661143"/>
              <a:gd name="connsiteX1461" fmla="*/ 8417896 w 12191986"/>
              <a:gd name="connsiteY1461" fmla="*/ 3294055 h 6661143"/>
              <a:gd name="connsiteX1462" fmla="*/ 8416312 w 12191986"/>
              <a:gd name="connsiteY1462" fmla="*/ 3285589 h 6661143"/>
              <a:gd name="connsiteX1463" fmla="*/ 8415255 w 12191986"/>
              <a:gd name="connsiteY1463" fmla="*/ 3277122 h 6661143"/>
              <a:gd name="connsiteX1464" fmla="*/ 8414727 w 12191986"/>
              <a:gd name="connsiteY1464" fmla="*/ 3268127 h 6661143"/>
              <a:gd name="connsiteX1465" fmla="*/ 8413671 w 12191986"/>
              <a:gd name="connsiteY1465" fmla="*/ 3250664 h 6661143"/>
              <a:gd name="connsiteX1466" fmla="*/ 8414727 w 12191986"/>
              <a:gd name="connsiteY1466" fmla="*/ 3233202 h 6661143"/>
              <a:gd name="connsiteX1467" fmla="*/ 8415255 w 12191986"/>
              <a:gd name="connsiteY1467" fmla="*/ 3215739 h 6661143"/>
              <a:gd name="connsiteX1468" fmla="*/ 8416312 w 12191986"/>
              <a:gd name="connsiteY1468" fmla="*/ 3197218 h 6661143"/>
              <a:gd name="connsiteX1469" fmla="*/ 8416840 w 12191986"/>
              <a:gd name="connsiteY1469" fmla="*/ 3180285 h 6661143"/>
              <a:gd name="connsiteX1470" fmla="*/ 8416840 w 12191986"/>
              <a:gd name="connsiteY1470" fmla="*/ 3163880 h 6661143"/>
              <a:gd name="connsiteX1471" fmla="*/ 8416312 w 12191986"/>
              <a:gd name="connsiteY1471" fmla="*/ 3155414 h 6661143"/>
              <a:gd name="connsiteX1472" fmla="*/ 8415255 w 12191986"/>
              <a:gd name="connsiteY1472" fmla="*/ 3147476 h 6661143"/>
              <a:gd name="connsiteX1473" fmla="*/ 8414727 w 12191986"/>
              <a:gd name="connsiteY1473" fmla="*/ 3140069 h 6661143"/>
              <a:gd name="connsiteX1474" fmla="*/ 8413143 w 12191986"/>
              <a:gd name="connsiteY1474" fmla="*/ 3132660 h 6661143"/>
              <a:gd name="connsiteX1475" fmla="*/ 8411030 w 12191986"/>
              <a:gd name="connsiteY1475" fmla="*/ 3125781 h 6661143"/>
              <a:gd name="connsiteX1476" fmla="*/ 8408390 w 12191986"/>
              <a:gd name="connsiteY1476" fmla="*/ 3118901 h 6661143"/>
              <a:gd name="connsiteX1477" fmla="*/ 8405749 w 12191986"/>
              <a:gd name="connsiteY1477" fmla="*/ 3112551 h 6661143"/>
              <a:gd name="connsiteX1478" fmla="*/ 8401524 w 12191986"/>
              <a:gd name="connsiteY1478" fmla="*/ 3106731 h 6661143"/>
              <a:gd name="connsiteX1479" fmla="*/ 8397827 w 12191986"/>
              <a:gd name="connsiteY1479" fmla="*/ 3100380 h 6661143"/>
              <a:gd name="connsiteX1480" fmla="*/ 8392546 w 12191986"/>
              <a:gd name="connsiteY1480" fmla="*/ 3095089 h 6661143"/>
              <a:gd name="connsiteX1481" fmla="*/ 8387265 w 12191986"/>
              <a:gd name="connsiteY1481" fmla="*/ 3090327 h 6661143"/>
              <a:gd name="connsiteX1482" fmla="*/ 1370004 w 12191986"/>
              <a:gd name="connsiteY1482" fmla="*/ 3074988 h 6661143"/>
              <a:gd name="connsiteX1483" fmla="*/ 1376354 w 12191986"/>
              <a:gd name="connsiteY1483" fmla="*/ 3083485 h 6661143"/>
              <a:gd name="connsiteX1484" fmla="*/ 1389054 w 12191986"/>
              <a:gd name="connsiteY1484" fmla="*/ 3106324 h 6661143"/>
              <a:gd name="connsiteX1485" fmla="*/ 1392758 w 12191986"/>
              <a:gd name="connsiteY1485" fmla="*/ 3113227 h 6661143"/>
              <a:gd name="connsiteX1486" fmla="*/ 1395933 w 12191986"/>
              <a:gd name="connsiteY1486" fmla="*/ 3120659 h 6661143"/>
              <a:gd name="connsiteX1487" fmla="*/ 1399637 w 12191986"/>
              <a:gd name="connsiteY1487" fmla="*/ 3129156 h 6661143"/>
              <a:gd name="connsiteX1488" fmla="*/ 1402283 w 12191986"/>
              <a:gd name="connsiteY1488" fmla="*/ 3137653 h 6661143"/>
              <a:gd name="connsiteX1489" fmla="*/ 1404400 w 12191986"/>
              <a:gd name="connsiteY1489" fmla="*/ 3146156 h 6661143"/>
              <a:gd name="connsiteX1490" fmla="*/ 1405987 w 12191986"/>
              <a:gd name="connsiteY1490" fmla="*/ 3154652 h 6661143"/>
              <a:gd name="connsiteX1491" fmla="*/ 1406517 w 12191986"/>
              <a:gd name="connsiteY1491" fmla="*/ 3163678 h 6661143"/>
              <a:gd name="connsiteX1492" fmla="*/ 1406517 w 12191986"/>
              <a:gd name="connsiteY1492" fmla="*/ 3172175 h 6661143"/>
              <a:gd name="connsiteX1493" fmla="*/ 1405987 w 12191986"/>
              <a:gd name="connsiteY1493" fmla="*/ 3178020 h 6661143"/>
              <a:gd name="connsiteX1494" fmla="*/ 1404929 w 12191986"/>
              <a:gd name="connsiteY1494" fmla="*/ 3184387 h 6661143"/>
              <a:gd name="connsiteX1495" fmla="*/ 1403342 w 12191986"/>
              <a:gd name="connsiteY1495" fmla="*/ 3189697 h 6661143"/>
              <a:gd name="connsiteX1496" fmla="*/ 1402283 w 12191986"/>
              <a:gd name="connsiteY1496" fmla="*/ 3194477 h 6661143"/>
              <a:gd name="connsiteX1497" fmla="*/ 1399637 w 12191986"/>
              <a:gd name="connsiteY1497" fmla="*/ 3198729 h 6661143"/>
              <a:gd name="connsiteX1498" fmla="*/ 1397521 w 12191986"/>
              <a:gd name="connsiteY1498" fmla="*/ 3203510 h 6661143"/>
              <a:gd name="connsiteX1499" fmla="*/ 1394346 w 12191986"/>
              <a:gd name="connsiteY1499" fmla="*/ 3206697 h 6661143"/>
              <a:gd name="connsiteX1500" fmla="*/ 1391171 w 12191986"/>
              <a:gd name="connsiteY1500" fmla="*/ 3210413 h 6661143"/>
              <a:gd name="connsiteX1501" fmla="*/ 1388525 w 12191986"/>
              <a:gd name="connsiteY1501" fmla="*/ 3212535 h 6661143"/>
              <a:gd name="connsiteX1502" fmla="*/ 1384292 w 12191986"/>
              <a:gd name="connsiteY1502" fmla="*/ 3215193 h 6661143"/>
              <a:gd name="connsiteX1503" fmla="*/ 1380587 w 12191986"/>
              <a:gd name="connsiteY1503" fmla="*/ 3217316 h 6661143"/>
              <a:gd name="connsiteX1504" fmla="*/ 1376883 w 12191986"/>
              <a:gd name="connsiteY1504" fmla="*/ 3218909 h 6661143"/>
              <a:gd name="connsiteX1505" fmla="*/ 1373179 w 12191986"/>
              <a:gd name="connsiteY1505" fmla="*/ 3219438 h 6661143"/>
              <a:gd name="connsiteX1506" fmla="*/ 1368417 w 12191986"/>
              <a:gd name="connsiteY1506" fmla="*/ 3220503 h 6661143"/>
              <a:gd name="connsiteX1507" fmla="*/ 1364713 w 12191986"/>
              <a:gd name="connsiteY1507" fmla="*/ 3221032 h 6661143"/>
              <a:gd name="connsiteX1508" fmla="*/ 1359950 w 12191986"/>
              <a:gd name="connsiteY1508" fmla="*/ 3221032 h 6661143"/>
              <a:gd name="connsiteX1509" fmla="*/ 1355717 w 12191986"/>
              <a:gd name="connsiteY1509" fmla="*/ 3220503 h 6661143"/>
              <a:gd name="connsiteX1510" fmla="*/ 1352013 w 12191986"/>
              <a:gd name="connsiteY1510" fmla="*/ 3219438 h 6661143"/>
              <a:gd name="connsiteX1511" fmla="*/ 1347250 w 12191986"/>
              <a:gd name="connsiteY1511" fmla="*/ 3217845 h 6661143"/>
              <a:gd name="connsiteX1512" fmla="*/ 1343546 w 12191986"/>
              <a:gd name="connsiteY1512" fmla="*/ 3216787 h 6661143"/>
              <a:gd name="connsiteX1513" fmla="*/ 1339842 w 12191986"/>
              <a:gd name="connsiteY1513" fmla="*/ 3214129 h 6661143"/>
              <a:gd name="connsiteX1514" fmla="*/ 1336667 w 12191986"/>
              <a:gd name="connsiteY1514" fmla="*/ 3212006 h 6661143"/>
              <a:gd name="connsiteX1515" fmla="*/ 1333492 w 12191986"/>
              <a:gd name="connsiteY1515" fmla="*/ 3208819 h 6661143"/>
              <a:gd name="connsiteX1516" fmla="*/ 1330317 w 12191986"/>
              <a:gd name="connsiteY1516" fmla="*/ 3205632 h 6661143"/>
              <a:gd name="connsiteX1517" fmla="*/ 1328200 w 12191986"/>
              <a:gd name="connsiteY1517" fmla="*/ 3201916 h 6661143"/>
              <a:gd name="connsiteX1518" fmla="*/ 1326083 w 12191986"/>
              <a:gd name="connsiteY1518" fmla="*/ 3198194 h 6661143"/>
              <a:gd name="connsiteX1519" fmla="*/ 1323437 w 12191986"/>
              <a:gd name="connsiteY1519" fmla="*/ 3194477 h 6661143"/>
              <a:gd name="connsiteX1520" fmla="*/ 1321850 w 12191986"/>
              <a:gd name="connsiteY1520" fmla="*/ 3189168 h 6661143"/>
              <a:gd name="connsiteX1521" fmla="*/ 1321321 w 12191986"/>
              <a:gd name="connsiteY1521" fmla="*/ 3184387 h 6661143"/>
              <a:gd name="connsiteX1522" fmla="*/ 1320792 w 12191986"/>
              <a:gd name="connsiteY1522" fmla="*/ 3179078 h 6661143"/>
              <a:gd name="connsiteX1523" fmla="*/ 1320792 w 12191986"/>
              <a:gd name="connsiteY1523" fmla="*/ 3172703 h 6661143"/>
              <a:gd name="connsiteX1524" fmla="*/ 1320792 w 12191986"/>
              <a:gd name="connsiteY1524" fmla="*/ 3166865 h 6661143"/>
              <a:gd name="connsiteX1525" fmla="*/ 1321321 w 12191986"/>
              <a:gd name="connsiteY1525" fmla="*/ 3157839 h 6661143"/>
              <a:gd name="connsiteX1526" fmla="*/ 1323437 w 12191986"/>
              <a:gd name="connsiteY1526" fmla="*/ 3149336 h 6661143"/>
              <a:gd name="connsiteX1527" fmla="*/ 1326083 w 12191986"/>
              <a:gd name="connsiteY1527" fmla="*/ 3140840 h 6661143"/>
              <a:gd name="connsiteX1528" fmla="*/ 1329788 w 12191986"/>
              <a:gd name="connsiteY1528" fmla="*/ 3132343 h 6661143"/>
              <a:gd name="connsiteX1529" fmla="*/ 1333492 w 12191986"/>
              <a:gd name="connsiteY1529" fmla="*/ 3124911 h 6661143"/>
              <a:gd name="connsiteX1530" fmla="*/ 1337196 w 12191986"/>
              <a:gd name="connsiteY1530" fmla="*/ 3116943 h 6661143"/>
              <a:gd name="connsiteX1531" fmla="*/ 1341958 w 12191986"/>
              <a:gd name="connsiteY1531" fmla="*/ 3110040 h 6661143"/>
              <a:gd name="connsiteX1532" fmla="*/ 1346192 w 12191986"/>
              <a:gd name="connsiteY1532" fmla="*/ 3103137 h 6661143"/>
              <a:gd name="connsiteX1533" fmla="*/ 1362596 w 12191986"/>
              <a:gd name="connsiteY1533" fmla="*/ 3082421 h 6661143"/>
              <a:gd name="connsiteX1534" fmla="*/ 3487473 w 12191986"/>
              <a:gd name="connsiteY1534" fmla="*/ 3032122 h 6661143"/>
              <a:gd name="connsiteX1535" fmla="*/ 3492740 w 12191986"/>
              <a:gd name="connsiteY1535" fmla="*/ 3032122 h 6661143"/>
              <a:gd name="connsiteX1536" fmla="*/ 3498007 w 12191986"/>
              <a:gd name="connsiteY1536" fmla="*/ 3032653 h 6661143"/>
              <a:gd name="connsiteX1537" fmla="*/ 3503274 w 12191986"/>
              <a:gd name="connsiteY1537" fmla="*/ 3034249 h 6661143"/>
              <a:gd name="connsiteX1538" fmla="*/ 3508540 w 12191986"/>
              <a:gd name="connsiteY1538" fmla="*/ 3035845 h 6661143"/>
              <a:gd name="connsiteX1539" fmla="*/ 3513807 w 12191986"/>
              <a:gd name="connsiteY1539" fmla="*/ 3037969 h 6661143"/>
              <a:gd name="connsiteX1540" fmla="*/ 3518546 w 12191986"/>
              <a:gd name="connsiteY1540" fmla="*/ 3040628 h 6661143"/>
              <a:gd name="connsiteX1541" fmla="*/ 3523287 w 12191986"/>
              <a:gd name="connsiteY1541" fmla="*/ 3043286 h 6661143"/>
              <a:gd name="connsiteX1542" fmla="*/ 3527499 w 12191986"/>
              <a:gd name="connsiteY1542" fmla="*/ 3047541 h 6661143"/>
              <a:gd name="connsiteX1543" fmla="*/ 3531187 w 12191986"/>
              <a:gd name="connsiteY1543" fmla="*/ 3051261 h 6661143"/>
              <a:gd name="connsiteX1544" fmla="*/ 3535399 w 12191986"/>
              <a:gd name="connsiteY1544" fmla="*/ 3056047 h 6661143"/>
              <a:gd name="connsiteX1545" fmla="*/ 3537506 w 12191986"/>
              <a:gd name="connsiteY1545" fmla="*/ 3060299 h 6661143"/>
              <a:gd name="connsiteX1546" fmla="*/ 3540666 w 12191986"/>
              <a:gd name="connsiteY1546" fmla="*/ 3065616 h 6661143"/>
              <a:gd name="connsiteX1547" fmla="*/ 3542247 w 12191986"/>
              <a:gd name="connsiteY1547" fmla="*/ 3070402 h 6661143"/>
              <a:gd name="connsiteX1548" fmla="*/ 3543299 w 12191986"/>
              <a:gd name="connsiteY1548" fmla="*/ 3075718 h 6661143"/>
              <a:gd name="connsiteX1549" fmla="*/ 3544352 w 12191986"/>
              <a:gd name="connsiteY1549" fmla="*/ 3081035 h 6661143"/>
              <a:gd name="connsiteX1550" fmla="*/ 3544880 w 12191986"/>
              <a:gd name="connsiteY1550" fmla="*/ 3086351 h 6661143"/>
              <a:gd name="connsiteX1551" fmla="*/ 3544880 w 12191986"/>
              <a:gd name="connsiteY1551" fmla="*/ 3091667 h 6661143"/>
              <a:gd name="connsiteX1552" fmla="*/ 3544352 w 12191986"/>
              <a:gd name="connsiteY1552" fmla="*/ 3096984 h 6661143"/>
              <a:gd name="connsiteX1553" fmla="*/ 3543299 w 12191986"/>
              <a:gd name="connsiteY1553" fmla="*/ 3102300 h 6661143"/>
              <a:gd name="connsiteX1554" fmla="*/ 3542247 w 12191986"/>
              <a:gd name="connsiteY1554" fmla="*/ 3107616 h 6661143"/>
              <a:gd name="connsiteX1555" fmla="*/ 3539613 w 12191986"/>
              <a:gd name="connsiteY1555" fmla="*/ 3112403 h 6661143"/>
              <a:gd name="connsiteX1556" fmla="*/ 3536453 w 12191986"/>
              <a:gd name="connsiteY1556" fmla="*/ 3117720 h 6661143"/>
              <a:gd name="connsiteX1557" fmla="*/ 3533820 w 12191986"/>
              <a:gd name="connsiteY1557" fmla="*/ 3122507 h 6661143"/>
              <a:gd name="connsiteX1558" fmla="*/ 3530132 w 12191986"/>
              <a:gd name="connsiteY1558" fmla="*/ 3126759 h 6661143"/>
              <a:gd name="connsiteX1559" fmla="*/ 3525920 w 12191986"/>
              <a:gd name="connsiteY1559" fmla="*/ 3131011 h 6661143"/>
              <a:gd name="connsiteX1560" fmla="*/ 3521706 w 12191986"/>
              <a:gd name="connsiteY1560" fmla="*/ 3133668 h 6661143"/>
              <a:gd name="connsiteX1561" fmla="*/ 3516967 w 12191986"/>
              <a:gd name="connsiteY1561" fmla="*/ 3136862 h 6661143"/>
              <a:gd name="connsiteX1562" fmla="*/ 3512227 w 12191986"/>
              <a:gd name="connsiteY1562" fmla="*/ 3140049 h 6661143"/>
              <a:gd name="connsiteX1563" fmla="*/ 3506960 w 12191986"/>
              <a:gd name="connsiteY1563" fmla="*/ 3141643 h 6661143"/>
              <a:gd name="connsiteX1564" fmla="*/ 3501693 w 12191986"/>
              <a:gd name="connsiteY1564" fmla="*/ 3143237 h 6661143"/>
              <a:gd name="connsiteX1565" fmla="*/ 3496426 w 12191986"/>
              <a:gd name="connsiteY1565" fmla="*/ 3143772 h 6661143"/>
              <a:gd name="connsiteX1566" fmla="*/ 3491160 w 12191986"/>
              <a:gd name="connsiteY1566" fmla="*/ 3144837 h 6661143"/>
              <a:gd name="connsiteX1567" fmla="*/ 3485894 w 12191986"/>
              <a:gd name="connsiteY1567" fmla="*/ 3144837 h 6661143"/>
              <a:gd name="connsiteX1568" fmla="*/ 3480628 w 12191986"/>
              <a:gd name="connsiteY1568" fmla="*/ 3143772 h 6661143"/>
              <a:gd name="connsiteX1569" fmla="*/ 3475360 w 12191986"/>
              <a:gd name="connsiteY1569" fmla="*/ 3143237 h 6661143"/>
              <a:gd name="connsiteX1570" fmla="*/ 3470620 w 12191986"/>
              <a:gd name="connsiteY1570" fmla="*/ 3141643 h 6661143"/>
              <a:gd name="connsiteX1571" fmla="*/ 3465353 w 12191986"/>
              <a:gd name="connsiteY1571" fmla="*/ 3139520 h 6661143"/>
              <a:gd name="connsiteX1572" fmla="*/ 3460613 w 12191986"/>
              <a:gd name="connsiteY1572" fmla="*/ 3136327 h 6661143"/>
              <a:gd name="connsiteX1573" fmla="*/ 3455347 w 12191986"/>
              <a:gd name="connsiteY1573" fmla="*/ 3133140 h 6661143"/>
              <a:gd name="connsiteX1574" fmla="*/ 3451661 w 12191986"/>
              <a:gd name="connsiteY1574" fmla="*/ 3129417 h 6661143"/>
              <a:gd name="connsiteX1575" fmla="*/ 3447974 w 12191986"/>
              <a:gd name="connsiteY1575" fmla="*/ 3125694 h 6661143"/>
              <a:gd name="connsiteX1576" fmla="*/ 3444287 w 12191986"/>
              <a:gd name="connsiteY1576" fmla="*/ 3120907 h 6661143"/>
              <a:gd name="connsiteX1577" fmla="*/ 3441127 w 12191986"/>
              <a:gd name="connsiteY1577" fmla="*/ 3116126 h 6661143"/>
              <a:gd name="connsiteX1578" fmla="*/ 3439020 w 12191986"/>
              <a:gd name="connsiteY1578" fmla="*/ 3111874 h 6661143"/>
              <a:gd name="connsiteX1579" fmla="*/ 3436387 w 12191986"/>
              <a:gd name="connsiteY1579" fmla="*/ 3106557 h 6661143"/>
              <a:gd name="connsiteX1580" fmla="*/ 3435334 w 12191986"/>
              <a:gd name="connsiteY1580" fmla="*/ 3101240 h 6661143"/>
              <a:gd name="connsiteX1581" fmla="*/ 3434281 w 12191986"/>
              <a:gd name="connsiteY1581" fmla="*/ 3095390 h 6661143"/>
              <a:gd name="connsiteX1582" fmla="*/ 3433754 w 12191986"/>
              <a:gd name="connsiteY1582" fmla="*/ 3090074 h 6661143"/>
              <a:gd name="connsiteX1583" fmla="*/ 3434281 w 12191986"/>
              <a:gd name="connsiteY1583" fmla="*/ 3084757 h 6661143"/>
              <a:gd name="connsiteX1584" fmla="*/ 3434281 w 12191986"/>
              <a:gd name="connsiteY1584" fmla="*/ 3079441 h 6661143"/>
              <a:gd name="connsiteX1585" fmla="*/ 3435860 w 12191986"/>
              <a:gd name="connsiteY1585" fmla="*/ 3074124 h 6661143"/>
              <a:gd name="connsiteX1586" fmla="*/ 3437441 w 12191986"/>
              <a:gd name="connsiteY1586" fmla="*/ 3069337 h 6661143"/>
              <a:gd name="connsiteX1587" fmla="*/ 3439547 w 12191986"/>
              <a:gd name="connsiteY1587" fmla="*/ 3064021 h 6661143"/>
              <a:gd name="connsiteX1588" fmla="*/ 3441654 w 12191986"/>
              <a:gd name="connsiteY1588" fmla="*/ 3059769 h 6661143"/>
              <a:gd name="connsiteX1589" fmla="*/ 3444814 w 12191986"/>
              <a:gd name="connsiteY1589" fmla="*/ 3054453 h 6661143"/>
              <a:gd name="connsiteX1590" fmla="*/ 3448500 w 12191986"/>
              <a:gd name="connsiteY1590" fmla="*/ 3050200 h 6661143"/>
              <a:gd name="connsiteX1591" fmla="*/ 3452714 w 12191986"/>
              <a:gd name="connsiteY1591" fmla="*/ 3045944 h 6661143"/>
              <a:gd name="connsiteX1592" fmla="*/ 3456927 w 12191986"/>
              <a:gd name="connsiteY1592" fmla="*/ 3042755 h 6661143"/>
              <a:gd name="connsiteX1593" fmla="*/ 3461667 w 12191986"/>
              <a:gd name="connsiteY1593" fmla="*/ 3039565 h 6661143"/>
              <a:gd name="connsiteX1594" fmla="*/ 3466934 w 12191986"/>
              <a:gd name="connsiteY1594" fmla="*/ 3037438 h 6661143"/>
              <a:gd name="connsiteX1595" fmla="*/ 3471673 w 12191986"/>
              <a:gd name="connsiteY1595" fmla="*/ 3035311 h 6661143"/>
              <a:gd name="connsiteX1596" fmla="*/ 3476940 w 12191986"/>
              <a:gd name="connsiteY1596" fmla="*/ 3033716 h 6661143"/>
              <a:gd name="connsiteX1597" fmla="*/ 3482207 w 12191986"/>
              <a:gd name="connsiteY1597" fmla="*/ 3032653 h 6661143"/>
              <a:gd name="connsiteX1598" fmla="*/ 3774997 w 12191986"/>
              <a:gd name="connsiteY1598" fmla="*/ 3030535 h 6661143"/>
              <a:gd name="connsiteX1599" fmla="*/ 3780340 w 12191986"/>
              <a:gd name="connsiteY1599" fmla="*/ 3030535 h 6661143"/>
              <a:gd name="connsiteX1600" fmla="*/ 3785681 w 12191986"/>
              <a:gd name="connsiteY1600" fmla="*/ 3030535 h 6661143"/>
              <a:gd name="connsiteX1601" fmla="*/ 3791024 w 12191986"/>
              <a:gd name="connsiteY1601" fmla="*/ 3031064 h 6661143"/>
              <a:gd name="connsiteX1602" fmla="*/ 3796364 w 12191986"/>
              <a:gd name="connsiteY1602" fmla="*/ 3031593 h 6661143"/>
              <a:gd name="connsiteX1603" fmla="*/ 3801707 w 12191986"/>
              <a:gd name="connsiteY1603" fmla="*/ 3033180 h 6661143"/>
              <a:gd name="connsiteX1604" fmla="*/ 3807048 w 12191986"/>
              <a:gd name="connsiteY1604" fmla="*/ 3035826 h 6661143"/>
              <a:gd name="connsiteX1605" fmla="*/ 3811856 w 12191986"/>
              <a:gd name="connsiteY1605" fmla="*/ 3038472 h 6661143"/>
              <a:gd name="connsiteX1606" fmla="*/ 3816664 w 12191986"/>
              <a:gd name="connsiteY1606" fmla="*/ 3041649 h 6661143"/>
              <a:gd name="connsiteX1607" fmla="*/ 3820937 w 12191986"/>
              <a:gd name="connsiteY1607" fmla="*/ 3044824 h 6661143"/>
              <a:gd name="connsiteX1608" fmla="*/ 3824677 w 12191986"/>
              <a:gd name="connsiteY1608" fmla="*/ 3049585 h 6661143"/>
              <a:gd name="connsiteX1609" fmla="*/ 3828950 w 12191986"/>
              <a:gd name="connsiteY1609" fmla="*/ 3053817 h 6661143"/>
              <a:gd name="connsiteX1610" fmla="*/ 3831087 w 12191986"/>
              <a:gd name="connsiteY1610" fmla="*/ 3058583 h 6661143"/>
              <a:gd name="connsiteX1611" fmla="*/ 3834292 w 12191986"/>
              <a:gd name="connsiteY1611" fmla="*/ 3062815 h 6661143"/>
              <a:gd name="connsiteX1612" fmla="*/ 3835895 w 12191986"/>
              <a:gd name="connsiteY1612" fmla="*/ 3068634 h 6661143"/>
              <a:gd name="connsiteX1613" fmla="*/ 3836963 w 12191986"/>
              <a:gd name="connsiteY1613" fmla="*/ 3073929 h 6661143"/>
              <a:gd name="connsiteX1614" fmla="*/ 3838565 w 12191986"/>
              <a:gd name="connsiteY1614" fmla="*/ 3079219 h 6661143"/>
              <a:gd name="connsiteX1615" fmla="*/ 3838565 w 12191986"/>
              <a:gd name="connsiteY1615" fmla="*/ 3084509 h 6661143"/>
              <a:gd name="connsiteX1616" fmla="*/ 3838565 w 12191986"/>
              <a:gd name="connsiteY1616" fmla="*/ 3089801 h 6661143"/>
              <a:gd name="connsiteX1617" fmla="*/ 3838031 w 12191986"/>
              <a:gd name="connsiteY1617" fmla="*/ 3095095 h 6661143"/>
              <a:gd name="connsiteX1618" fmla="*/ 3836963 w 12191986"/>
              <a:gd name="connsiteY1618" fmla="*/ 3100385 h 6661143"/>
              <a:gd name="connsiteX1619" fmla="*/ 3835895 w 12191986"/>
              <a:gd name="connsiteY1619" fmla="*/ 3105145 h 6661143"/>
              <a:gd name="connsiteX1620" fmla="*/ 3833224 w 12191986"/>
              <a:gd name="connsiteY1620" fmla="*/ 3110441 h 6661143"/>
              <a:gd name="connsiteX1621" fmla="*/ 3830018 w 12191986"/>
              <a:gd name="connsiteY1621" fmla="*/ 3114673 h 6661143"/>
              <a:gd name="connsiteX1622" fmla="*/ 3827347 w 12191986"/>
              <a:gd name="connsiteY1622" fmla="*/ 3119434 h 6661143"/>
              <a:gd name="connsiteX1623" fmla="*/ 3823075 w 12191986"/>
              <a:gd name="connsiteY1623" fmla="*/ 3124195 h 6661143"/>
              <a:gd name="connsiteX1624" fmla="*/ 3819334 w 12191986"/>
              <a:gd name="connsiteY1624" fmla="*/ 3127904 h 6661143"/>
              <a:gd name="connsiteX1625" fmla="*/ 3815061 w 12191986"/>
              <a:gd name="connsiteY1625" fmla="*/ 3131606 h 6661143"/>
              <a:gd name="connsiteX1626" fmla="*/ 3810253 w 12191986"/>
              <a:gd name="connsiteY1626" fmla="*/ 3134780 h 6661143"/>
              <a:gd name="connsiteX1627" fmla="*/ 3805446 w 12191986"/>
              <a:gd name="connsiteY1627" fmla="*/ 3136896 h 6661143"/>
              <a:gd name="connsiteX1628" fmla="*/ 3800104 w 12191986"/>
              <a:gd name="connsiteY1628" fmla="*/ 3139541 h 6661143"/>
              <a:gd name="connsiteX1629" fmla="*/ 3794762 w 12191986"/>
              <a:gd name="connsiteY1629" fmla="*/ 3140599 h 6661143"/>
              <a:gd name="connsiteX1630" fmla="*/ 3789420 w 12191986"/>
              <a:gd name="connsiteY1630" fmla="*/ 3141657 h 6661143"/>
              <a:gd name="connsiteX1631" fmla="*/ 3784078 w 12191986"/>
              <a:gd name="connsiteY1631" fmla="*/ 3141657 h 6661143"/>
              <a:gd name="connsiteX1632" fmla="*/ 3778736 w 12191986"/>
              <a:gd name="connsiteY1632" fmla="*/ 3141657 h 6661143"/>
              <a:gd name="connsiteX1633" fmla="*/ 3773395 w 12191986"/>
              <a:gd name="connsiteY1633" fmla="*/ 3141657 h 6661143"/>
              <a:gd name="connsiteX1634" fmla="*/ 3768052 w 12191986"/>
              <a:gd name="connsiteY1634" fmla="*/ 3140070 h 6661143"/>
              <a:gd name="connsiteX1635" fmla="*/ 3763245 w 12191986"/>
              <a:gd name="connsiteY1635" fmla="*/ 3138483 h 6661143"/>
              <a:gd name="connsiteX1636" fmla="*/ 3757904 w 12191986"/>
              <a:gd name="connsiteY1636" fmla="*/ 3136367 h 6661143"/>
              <a:gd name="connsiteX1637" fmla="*/ 3753096 w 12191986"/>
              <a:gd name="connsiteY1637" fmla="*/ 3133722 h 6661143"/>
              <a:gd name="connsiteX1638" fmla="*/ 3748823 w 12191986"/>
              <a:gd name="connsiteY1638" fmla="*/ 3131077 h 6661143"/>
              <a:gd name="connsiteX1639" fmla="*/ 3744014 w 12191986"/>
              <a:gd name="connsiteY1639" fmla="*/ 3126845 h 6661143"/>
              <a:gd name="connsiteX1640" fmla="*/ 3740276 w 12191986"/>
              <a:gd name="connsiteY1640" fmla="*/ 3122607 h 6661143"/>
              <a:gd name="connsiteX1641" fmla="*/ 3736537 w 12191986"/>
              <a:gd name="connsiteY1641" fmla="*/ 3118905 h 6661143"/>
              <a:gd name="connsiteX1642" fmla="*/ 3733331 w 12191986"/>
              <a:gd name="connsiteY1642" fmla="*/ 3114144 h 6661143"/>
              <a:gd name="connsiteX1643" fmla="*/ 3731194 w 12191986"/>
              <a:gd name="connsiteY1643" fmla="*/ 3108854 h 6661143"/>
              <a:gd name="connsiteX1644" fmla="*/ 3728524 w 12191986"/>
              <a:gd name="connsiteY1644" fmla="*/ 3104087 h 6661143"/>
              <a:gd name="connsiteX1645" fmla="*/ 3726921 w 12191986"/>
              <a:gd name="connsiteY1645" fmla="*/ 3098798 h 6661143"/>
              <a:gd name="connsiteX1646" fmla="*/ 3726387 w 12191986"/>
              <a:gd name="connsiteY1646" fmla="*/ 3093508 h 6661143"/>
              <a:gd name="connsiteX1647" fmla="*/ 3725853 w 12191986"/>
              <a:gd name="connsiteY1647" fmla="*/ 3088213 h 6661143"/>
              <a:gd name="connsiteX1648" fmla="*/ 3726387 w 12191986"/>
              <a:gd name="connsiteY1648" fmla="*/ 3082923 h 6661143"/>
              <a:gd name="connsiteX1649" fmla="*/ 3726387 w 12191986"/>
              <a:gd name="connsiteY1649" fmla="*/ 3077633 h 6661143"/>
              <a:gd name="connsiteX1650" fmla="*/ 3727990 w 12191986"/>
              <a:gd name="connsiteY1650" fmla="*/ 3072338 h 6661143"/>
              <a:gd name="connsiteX1651" fmla="*/ 3729592 w 12191986"/>
              <a:gd name="connsiteY1651" fmla="*/ 3067047 h 6661143"/>
              <a:gd name="connsiteX1652" fmla="*/ 3731728 w 12191986"/>
              <a:gd name="connsiteY1652" fmla="*/ 3061757 h 6661143"/>
              <a:gd name="connsiteX1653" fmla="*/ 3733865 w 12191986"/>
              <a:gd name="connsiteY1653" fmla="*/ 3056993 h 6661143"/>
              <a:gd name="connsiteX1654" fmla="*/ 3737071 w 12191986"/>
              <a:gd name="connsiteY1654" fmla="*/ 3052230 h 6661143"/>
              <a:gd name="connsiteX1655" fmla="*/ 3740810 w 12191986"/>
              <a:gd name="connsiteY1655" fmla="*/ 3047998 h 6661143"/>
              <a:gd name="connsiteX1656" fmla="*/ 3745084 w 12191986"/>
              <a:gd name="connsiteY1656" fmla="*/ 3043765 h 6661143"/>
              <a:gd name="connsiteX1657" fmla="*/ 3749357 w 12191986"/>
              <a:gd name="connsiteY1657" fmla="*/ 3040060 h 6661143"/>
              <a:gd name="connsiteX1658" fmla="*/ 3754164 w 12191986"/>
              <a:gd name="connsiteY1658" fmla="*/ 3036884 h 6661143"/>
              <a:gd name="connsiteX1659" fmla="*/ 3759507 w 12191986"/>
              <a:gd name="connsiteY1659" fmla="*/ 3034768 h 6661143"/>
              <a:gd name="connsiteX1660" fmla="*/ 3764314 w 12191986"/>
              <a:gd name="connsiteY1660" fmla="*/ 3033180 h 6661143"/>
              <a:gd name="connsiteX1661" fmla="*/ 3769656 w 12191986"/>
              <a:gd name="connsiteY1661" fmla="*/ 3031593 h 6661143"/>
              <a:gd name="connsiteX1662" fmla="*/ 7599256 w 12191986"/>
              <a:gd name="connsiteY1662" fmla="*/ 3009894 h 6661143"/>
              <a:gd name="connsiteX1663" fmla="*/ 7618277 w 12191986"/>
              <a:gd name="connsiteY1663" fmla="*/ 3009894 h 6661143"/>
              <a:gd name="connsiteX1664" fmla="*/ 7639411 w 12191986"/>
              <a:gd name="connsiteY1664" fmla="*/ 3011476 h 6661143"/>
              <a:gd name="connsiteX1665" fmla="*/ 7649978 w 12191986"/>
              <a:gd name="connsiteY1665" fmla="*/ 3012531 h 6661143"/>
              <a:gd name="connsiteX1666" fmla="*/ 7662131 w 12191986"/>
              <a:gd name="connsiteY1666" fmla="*/ 3015167 h 6661143"/>
              <a:gd name="connsiteX1667" fmla="*/ 7673754 w 12191986"/>
              <a:gd name="connsiteY1667" fmla="*/ 3017278 h 6661143"/>
              <a:gd name="connsiteX1668" fmla="*/ 7685907 w 12191986"/>
              <a:gd name="connsiteY1668" fmla="*/ 3020441 h 6661143"/>
              <a:gd name="connsiteX1669" fmla="*/ 7698059 w 12191986"/>
              <a:gd name="connsiteY1669" fmla="*/ 3023607 h 6661143"/>
              <a:gd name="connsiteX1670" fmla="*/ 7710739 w 12191986"/>
              <a:gd name="connsiteY1670" fmla="*/ 3027298 h 6661143"/>
              <a:gd name="connsiteX1671" fmla="*/ 7723949 w 12191986"/>
              <a:gd name="connsiteY1671" fmla="*/ 3032573 h 6661143"/>
              <a:gd name="connsiteX1672" fmla="*/ 7736629 w 12191986"/>
              <a:gd name="connsiteY1672" fmla="*/ 3037847 h 6661143"/>
              <a:gd name="connsiteX1673" fmla="*/ 7749838 w 12191986"/>
              <a:gd name="connsiteY1673" fmla="*/ 3043648 h 6661143"/>
              <a:gd name="connsiteX1674" fmla="*/ 7762519 w 12191986"/>
              <a:gd name="connsiteY1674" fmla="*/ 3050504 h 6661143"/>
              <a:gd name="connsiteX1675" fmla="*/ 7775728 w 12191986"/>
              <a:gd name="connsiteY1675" fmla="*/ 3058416 h 6661143"/>
              <a:gd name="connsiteX1676" fmla="*/ 7788408 w 12191986"/>
              <a:gd name="connsiteY1676" fmla="*/ 3067382 h 6661143"/>
              <a:gd name="connsiteX1677" fmla="*/ 7801617 w 12191986"/>
              <a:gd name="connsiteY1677" fmla="*/ 3076348 h 6661143"/>
              <a:gd name="connsiteX1678" fmla="*/ 7814298 w 12191986"/>
              <a:gd name="connsiteY1678" fmla="*/ 3087423 h 6661143"/>
              <a:gd name="connsiteX1679" fmla="*/ 7827507 w 12191986"/>
              <a:gd name="connsiteY1679" fmla="*/ 3098498 h 6661143"/>
              <a:gd name="connsiteX1680" fmla="*/ 7840187 w 12191986"/>
              <a:gd name="connsiteY1680" fmla="*/ 3110629 h 6661143"/>
              <a:gd name="connsiteX1681" fmla="*/ 7848641 w 12191986"/>
              <a:gd name="connsiteY1681" fmla="*/ 3120650 h 6661143"/>
              <a:gd name="connsiteX1682" fmla="*/ 7856038 w 12191986"/>
              <a:gd name="connsiteY1682" fmla="*/ 3130669 h 6661143"/>
              <a:gd name="connsiteX1683" fmla="*/ 7862378 w 12191986"/>
              <a:gd name="connsiteY1683" fmla="*/ 3140163 h 6661143"/>
              <a:gd name="connsiteX1684" fmla="*/ 7868190 w 12191986"/>
              <a:gd name="connsiteY1684" fmla="*/ 3151238 h 6661143"/>
              <a:gd name="connsiteX1685" fmla="*/ 7872945 w 12191986"/>
              <a:gd name="connsiteY1685" fmla="*/ 3161788 h 6661143"/>
              <a:gd name="connsiteX1686" fmla="*/ 7876644 w 12191986"/>
              <a:gd name="connsiteY1686" fmla="*/ 3172863 h 6661143"/>
              <a:gd name="connsiteX1687" fmla="*/ 7879814 w 12191986"/>
              <a:gd name="connsiteY1687" fmla="*/ 3183938 h 6661143"/>
              <a:gd name="connsiteX1688" fmla="*/ 7881927 w 12191986"/>
              <a:gd name="connsiteY1688" fmla="*/ 3195013 h 6661143"/>
              <a:gd name="connsiteX1689" fmla="*/ 7883512 w 12191986"/>
              <a:gd name="connsiteY1689" fmla="*/ 3205562 h 6661143"/>
              <a:gd name="connsiteX1690" fmla="*/ 7883512 w 12191986"/>
              <a:gd name="connsiteY1690" fmla="*/ 3217166 h 6661143"/>
              <a:gd name="connsiteX1691" fmla="*/ 7882984 w 12191986"/>
              <a:gd name="connsiteY1691" fmla="*/ 3227714 h 6661143"/>
              <a:gd name="connsiteX1692" fmla="*/ 7881399 w 12191986"/>
              <a:gd name="connsiteY1692" fmla="*/ 3238261 h 6661143"/>
              <a:gd name="connsiteX1693" fmla="*/ 7878229 w 12191986"/>
              <a:gd name="connsiteY1693" fmla="*/ 3248810 h 6661143"/>
              <a:gd name="connsiteX1694" fmla="*/ 7874530 w 12191986"/>
              <a:gd name="connsiteY1694" fmla="*/ 3259886 h 6661143"/>
              <a:gd name="connsiteX1695" fmla="*/ 7869775 w 12191986"/>
              <a:gd name="connsiteY1695" fmla="*/ 3268851 h 6661143"/>
              <a:gd name="connsiteX1696" fmla="*/ 7864491 w 12191986"/>
              <a:gd name="connsiteY1696" fmla="*/ 3278873 h 6661143"/>
              <a:gd name="connsiteX1697" fmla="*/ 7857623 w 12191986"/>
              <a:gd name="connsiteY1697" fmla="*/ 3258830 h 6661143"/>
              <a:gd name="connsiteX1698" fmla="*/ 7850226 w 12191986"/>
              <a:gd name="connsiteY1698" fmla="*/ 3239844 h 6661143"/>
              <a:gd name="connsiteX1699" fmla="*/ 7840187 w 12191986"/>
              <a:gd name="connsiteY1699" fmla="*/ 3220329 h 6661143"/>
              <a:gd name="connsiteX1700" fmla="*/ 7829620 w 12191986"/>
              <a:gd name="connsiteY1700" fmla="*/ 3201342 h 6661143"/>
              <a:gd name="connsiteX1701" fmla="*/ 7817468 w 12191986"/>
              <a:gd name="connsiteY1701" fmla="*/ 3182357 h 6661143"/>
              <a:gd name="connsiteX1702" fmla="*/ 7803731 w 12191986"/>
              <a:gd name="connsiteY1702" fmla="*/ 3163898 h 6661143"/>
              <a:gd name="connsiteX1703" fmla="*/ 7788408 w 12191986"/>
              <a:gd name="connsiteY1703" fmla="*/ 3145965 h 6661143"/>
              <a:gd name="connsiteX1704" fmla="*/ 7772558 w 12191986"/>
              <a:gd name="connsiteY1704" fmla="*/ 3128032 h 6661143"/>
              <a:gd name="connsiteX1705" fmla="*/ 7762519 w 12191986"/>
              <a:gd name="connsiteY1705" fmla="*/ 3119066 h 6661143"/>
              <a:gd name="connsiteX1706" fmla="*/ 7753008 w 12191986"/>
              <a:gd name="connsiteY1706" fmla="*/ 3110101 h 6661143"/>
              <a:gd name="connsiteX1707" fmla="*/ 7742970 w 12191986"/>
              <a:gd name="connsiteY1707" fmla="*/ 3101135 h 6661143"/>
              <a:gd name="connsiteX1708" fmla="*/ 7732931 w 12191986"/>
              <a:gd name="connsiteY1708" fmla="*/ 3093223 h 6661143"/>
              <a:gd name="connsiteX1709" fmla="*/ 7722364 w 12191986"/>
              <a:gd name="connsiteY1709" fmla="*/ 3084785 h 6661143"/>
              <a:gd name="connsiteX1710" fmla="*/ 7712325 w 12191986"/>
              <a:gd name="connsiteY1710" fmla="*/ 3077929 h 6661143"/>
              <a:gd name="connsiteX1711" fmla="*/ 7701757 w 12191986"/>
              <a:gd name="connsiteY1711" fmla="*/ 3071073 h 6661143"/>
              <a:gd name="connsiteX1712" fmla="*/ 7691190 w 12191986"/>
              <a:gd name="connsiteY1712" fmla="*/ 3064216 h 6661143"/>
              <a:gd name="connsiteX1713" fmla="*/ 7680623 w 12191986"/>
              <a:gd name="connsiteY1713" fmla="*/ 3058416 h 6661143"/>
              <a:gd name="connsiteX1714" fmla="*/ 7670056 w 12191986"/>
              <a:gd name="connsiteY1714" fmla="*/ 3053141 h 6661143"/>
              <a:gd name="connsiteX1715" fmla="*/ 7658961 w 12191986"/>
              <a:gd name="connsiteY1715" fmla="*/ 3047866 h 6661143"/>
              <a:gd name="connsiteX1716" fmla="*/ 7648393 w 12191986"/>
              <a:gd name="connsiteY1716" fmla="*/ 3043120 h 6661143"/>
              <a:gd name="connsiteX1717" fmla="*/ 7637298 w 12191986"/>
              <a:gd name="connsiteY1717" fmla="*/ 3038373 h 6661143"/>
              <a:gd name="connsiteX1718" fmla="*/ 7626731 w 12191986"/>
              <a:gd name="connsiteY1718" fmla="*/ 3034682 h 6661143"/>
              <a:gd name="connsiteX1719" fmla="*/ 7615635 w 12191986"/>
              <a:gd name="connsiteY1719" fmla="*/ 3030990 h 6661143"/>
              <a:gd name="connsiteX1720" fmla="*/ 7605068 w 12191986"/>
              <a:gd name="connsiteY1720" fmla="*/ 3027826 h 6661143"/>
              <a:gd name="connsiteX1721" fmla="*/ 7625146 w 12191986"/>
              <a:gd name="connsiteY1721" fmla="*/ 3035737 h 6661143"/>
              <a:gd name="connsiteX1722" fmla="*/ 7644167 w 12191986"/>
              <a:gd name="connsiteY1722" fmla="*/ 3043648 h 6661143"/>
              <a:gd name="connsiteX1723" fmla="*/ 7663716 w 12191986"/>
              <a:gd name="connsiteY1723" fmla="*/ 3053669 h 6661143"/>
              <a:gd name="connsiteX1724" fmla="*/ 7682737 w 12191986"/>
              <a:gd name="connsiteY1724" fmla="*/ 3064216 h 6661143"/>
              <a:gd name="connsiteX1725" fmla="*/ 7701757 w 12191986"/>
              <a:gd name="connsiteY1725" fmla="*/ 3077401 h 6661143"/>
              <a:gd name="connsiteX1726" fmla="*/ 7720779 w 12191986"/>
              <a:gd name="connsiteY1726" fmla="*/ 3091641 h 6661143"/>
              <a:gd name="connsiteX1727" fmla="*/ 7739271 w 12191986"/>
              <a:gd name="connsiteY1727" fmla="*/ 3106937 h 6661143"/>
              <a:gd name="connsiteX1728" fmla="*/ 7756707 w 12191986"/>
              <a:gd name="connsiteY1728" fmla="*/ 3123813 h 6661143"/>
              <a:gd name="connsiteX1729" fmla="*/ 7765689 w 12191986"/>
              <a:gd name="connsiteY1729" fmla="*/ 3133307 h 6661143"/>
              <a:gd name="connsiteX1730" fmla="*/ 7774143 w 12191986"/>
              <a:gd name="connsiteY1730" fmla="*/ 3143329 h 6661143"/>
              <a:gd name="connsiteX1731" fmla="*/ 7782596 w 12191986"/>
              <a:gd name="connsiteY1731" fmla="*/ 3153348 h 6661143"/>
              <a:gd name="connsiteX1732" fmla="*/ 7791050 w 12191986"/>
              <a:gd name="connsiteY1732" fmla="*/ 3163370 h 6661143"/>
              <a:gd name="connsiteX1733" fmla="*/ 7798447 w 12191986"/>
              <a:gd name="connsiteY1733" fmla="*/ 3173917 h 6661143"/>
              <a:gd name="connsiteX1734" fmla="*/ 7805316 w 12191986"/>
              <a:gd name="connsiteY1734" fmla="*/ 3184467 h 6661143"/>
              <a:gd name="connsiteX1735" fmla="*/ 7812184 w 12191986"/>
              <a:gd name="connsiteY1735" fmla="*/ 3195013 h 6661143"/>
              <a:gd name="connsiteX1736" fmla="*/ 7819053 w 12191986"/>
              <a:gd name="connsiteY1736" fmla="*/ 3205562 h 6661143"/>
              <a:gd name="connsiteX1737" fmla="*/ 7824336 w 12191986"/>
              <a:gd name="connsiteY1737" fmla="*/ 3216638 h 6661143"/>
              <a:gd name="connsiteX1738" fmla="*/ 7830148 w 12191986"/>
              <a:gd name="connsiteY1738" fmla="*/ 3227185 h 6661143"/>
              <a:gd name="connsiteX1739" fmla="*/ 7834903 w 12191986"/>
              <a:gd name="connsiteY1739" fmla="*/ 3237735 h 6661143"/>
              <a:gd name="connsiteX1740" fmla="*/ 7839659 w 12191986"/>
              <a:gd name="connsiteY1740" fmla="*/ 3248810 h 6661143"/>
              <a:gd name="connsiteX1741" fmla="*/ 7843886 w 12191986"/>
              <a:gd name="connsiteY1741" fmla="*/ 3259886 h 6661143"/>
              <a:gd name="connsiteX1742" fmla="*/ 7848112 w 12191986"/>
              <a:gd name="connsiteY1742" fmla="*/ 3270433 h 6661143"/>
              <a:gd name="connsiteX1743" fmla="*/ 7850754 w 12191986"/>
              <a:gd name="connsiteY1743" fmla="*/ 3281508 h 6661143"/>
              <a:gd name="connsiteX1744" fmla="*/ 7853924 w 12191986"/>
              <a:gd name="connsiteY1744" fmla="*/ 3292585 h 6661143"/>
              <a:gd name="connsiteX1745" fmla="*/ 7851811 w 12191986"/>
              <a:gd name="connsiteY1745" fmla="*/ 3293639 h 6661143"/>
              <a:gd name="connsiteX1746" fmla="*/ 7850226 w 12191986"/>
              <a:gd name="connsiteY1746" fmla="*/ 3295221 h 6661143"/>
              <a:gd name="connsiteX1747" fmla="*/ 7841244 w 12191986"/>
              <a:gd name="connsiteY1747" fmla="*/ 3303661 h 6661143"/>
              <a:gd name="connsiteX1748" fmla="*/ 7831205 w 12191986"/>
              <a:gd name="connsiteY1748" fmla="*/ 3310517 h 6661143"/>
              <a:gd name="connsiteX1749" fmla="*/ 7819581 w 12191986"/>
              <a:gd name="connsiteY1749" fmla="*/ 3316845 h 6661143"/>
              <a:gd name="connsiteX1750" fmla="*/ 7809014 w 12191986"/>
              <a:gd name="connsiteY1750" fmla="*/ 3321064 h 6661143"/>
              <a:gd name="connsiteX1751" fmla="*/ 7796862 w 12191986"/>
              <a:gd name="connsiteY1751" fmla="*/ 3324229 h 6661143"/>
              <a:gd name="connsiteX1752" fmla="*/ 7784710 w 12191986"/>
              <a:gd name="connsiteY1752" fmla="*/ 3326338 h 6661143"/>
              <a:gd name="connsiteX1753" fmla="*/ 7772558 w 12191986"/>
              <a:gd name="connsiteY1753" fmla="*/ 3327393 h 6661143"/>
              <a:gd name="connsiteX1754" fmla="*/ 7760405 w 12191986"/>
              <a:gd name="connsiteY1754" fmla="*/ 3327393 h 6661143"/>
              <a:gd name="connsiteX1755" fmla="*/ 7747196 w 12191986"/>
              <a:gd name="connsiteY1755" fmla="*/ 3325811 h 6661143"/>
              <a:gd name="connsiteX1756" fmla="*/ 7735044 w 12191986"/>
              <a:gd name="connsiteY1756" fmla="*/ 3323701 h 6661143"/>
              <a:gd name="connsiteX1757" fmla="*/ 7722364 w 12191986"/>
              <a:gd name="connsiteY1757" fmla="*/ 3319482 h 6661143"/>
              <a:gd name="connsiteX1758" fmla="*/ 7710211 w 12191986"/>
              <a:gd name="connsiteY1758" fmla="*/ 3314208 h 6661143"/>
              <a:gd name="connsiteX1759" fmla="*/ 7698587 w 12191986"/>
              <a:gd name="connsiteY1759" fmla="*/ 3308407 h 6661143"/>
              <a:gd name="connsiteX1760" fmla="*/ 7687492 w 12191986"/>
              <a:gd name="connsiteY1760" fmla="*/ 3300495 h 6661143"/>
              <a:gd name="connsiteX1761" fmla="*/ 7675868 w 12191986"/>
              <a:gd name="connsiteY1761" fmla="*/ 3292585 h 6661143"/>
              <a:gd name="connsiteX1762" fmla="*/ 7665829 w 12191986"/>
              <a:gd name="connsiteY1762" fmla="*/ 3282563 h 6661143"/>
              <a:gd name="connsiteX1763" fmla="*/ 7658961 w 12191986"/>
              <a:gd name="connsiteY1763" fmla="*/ 3274652 h 6661143"/>
              <a:gd name="connsiteX1764" fmla="*/ 7653677 w 12191986"/>
              <a:gd name="connsiteY1764" fmla="*/ 3267270 h 6661143"/>
              <a:gd name="connsiteX1765" fmla="*/ 7648393 w 12191986"/>
              <a:gd name="connsiteY1765" fmla="*/ 3259886 h 6661143"/>
              <a:gd name="connsiteX1766" fmla="*/ 7643110 w 12191986"/>
              <a:gd name="connsiteY1766" fmla="*/ 3250392 h 6661143"/>
              <a:gd name="connsiteX1767" fmla="*/ 7639411 w 12191986"/>
              <a:gd name="connsiteY1767" fmla="*/ 3241954 h 6661143"/>
              <a:gd name="connsiteX1768" fmla="*/ 7635713 w 12191986"/>
              <a:gd name="connsiteY1768" fmla="*/ 3232988 h 6661143"/>
              <a:gd name="connsiteX1769" fmla="*/ 7632014 w 12191986"/>
              <a:gd name="connsiteY1769" fmla="*/ 3222967 h 6661143"/>
              <a:gd name="connsiteX1770" fmla="*/ 7628844 w 12191986"/>
              <a:gd name="connsiteY1770" fmla="*/ 3214001 h 6661143"/>
              <a:gd name="connsiteX1771" fmla="*/ 7622504 w 12191986"/>
              <a:gd name="connsiteY1771" fmla="*/ 3193432 h 6661143"/>
              <a:gd name="connsiteX1772" fmla="*/ 7618277 w 12191986"/>
              <a:gd name="connsiteY1772" fmla="*/ 3173917 h 6661143"/>
              <a:gd name="connsiteX1773" fmla="*/ 7613522 w 12191986"/>
              <a:gd name="connsiteY1773" fmla="*/ 3153348 h 6661143"/>
              <a:gd name="connsiteX1774" fmla="*/ 7608767 w 12191986"/>
              <a:gd name="connsiteY1774" fmla="*/ 3132779 h 6661143"/>
              <a:gd name="connsiteX1775" fmla="*/ 7604540 w 12191986"/>
              <a:gd name="connsiteY1775" fmla="*/ 3113266 h 6661143"/>
              <a:gd name="connsiteX1776" fmla="*/ 7599256 w 12191986"/>
              <a:gd name="connsiteY1776" fmla="*/ 3094279 h 6661143"/>
              <a:gd name="connsiteX1777" fmla="*/ 7596615 w 12191986"/>
              <a:gd name="connsiteY1777" fmla="*/ 3084785 h 6661143"/>
              <a:gd name="connsiteX1778" fmla="*/ 7592916 w 12191986"/>
              <a:gd name="connsiteY1778" fmla="*/ 3076348 h 6661143"/>
              <a:gd name="connsiteX1779" fmla="*/ 7589746 w 12191986"/>
              <a:gd name="connsiteY1779" fmla="*/ 3068435 h 6661143"/>
              <a:gd name="connsiteX1780" fmla="*/ 7586047 w 12191986"/>
              <a:gd name="connsiteY1780" fmla="*/ 3059998 h 6661143"/>
              <a:gd name="connsiteX1781" fmla="*/ 7582349 w 12191986"/>
              <a:gd name="connsiteY1781" fmla="*/ 3053141 h 6661143"/>
              <a:gd name="connsiteX1782" fmla="*/ 7577594 w 12191986"/>
              <a:gd name="connsiteY1782" fmla="*/ 3045229 h 6661143"/>
              <a:gd name="connsiteX1783" fmla="*/ 7572310 w 12191986"/>
              <a:gd name="connsiteY1783" fmla="*/ 3039429 h 6661143"/>
              <a:gd name="connsiteX1784" fmla="*/ 7567027 w 12191986"/>
              <a:gd name="connsiteY1784" fmla="*/ 3033100 h 6661143"/>
              <a:gd name="connsiteX1785" fmla="*/ 7561215 w 12191986"/>
              <a:gd name="connsiteY1785" fmla="*/ 3027826 h 6661143"/>
              <a:gd name="connsiteX1786" fmla="*/ 7554346 w 12191986"/>
              <a:gd name="connsiteY1786" fmla="*/ 3023607 h 6661143"/>
              <a:gd name="connsiteX1787" fmla="*/ 7546421 w 12191986"/>
              <a:gd name="connsiteY1787" fmla="*/ 3019387 h 6661143"/>
              <a:gd name="connsiteX1788" fmla="*/ 7539024 w 12191986"/>
              <a:gd name="connsiteY1788" fmla="*/ 3015694 h 6661143"/>
              <a:gd name="connsiteX1789" fmla="*/ 7545892 w 12191986"/>
              <a:gd name="connsiteY1789" fmla="*/ 3014113 h 6661143"/>
              <a:gd name="connsiteX1790" fmla="*/ 7567027 w 12191986"/>
              <a:gd name="connsiteY1790" fmla="*/ 3011476 h 6661143"/>
              <a:gd name="connsiteX1791" fmla="*/ 7581821 w 12191986"/>
              <a:gd name="connsiteY1791" fmla="*/ 3010421 h 6661143"/>
              <a:gd name="connsiteX1792" fmla="*/ 3277651 w 12191986"/>
              <a:gd name="connsiteY1792" fmla="*/ 2959097 h 6661143"/>
              <a:gd name="connsiteX1793" fmla="*/ 3282943 w 12191986"/>
              <a:gd name="connsiteY1793" fmla="*/ 2959097 h 6661143"/>
              <a:gd name="connsiteX1794" fmla="*/ 3288234 w 12191986"/>
              <a:gd name="connsiteY1794" fmla="*/ 2959097 h 6661143"/>
              <a:gd name="connsiteX1795" fmla="*/ 3293526 w 12191986"/>
              <a:gd name="connsiteY1795" fmla="*/ 2959097 h 6661143"/>
              <a:gd name="connsiteX1796" fmla="*/ 3298817 w 12191986"/>
              <a:gd name="connsiteY1796" fmla="*/ 2960155 h 6661143"/>
              <a:gd name="connsiteX1797" fmla="*/ 3304109 w 12191986"/>
              <a:gd name="connsiteY1797" fmla="*/ 2961742 h 6661143"/>
              <a:gd name="connsiteX1798" fmla="*/ 3308872 w 12191986"/>
              <a:gd name="connsiteY1798" fmla="*/ 2964390 h 6661143"/>
              <a:gd name="connsiteX1799" fmla="*/ 3314163 w 12191986"/>
              <a:gd name="connsiteY1799" fmla="*/ 2966505 h 6661143"/>
              <a:gd name="connsiteX1800" fmla="*/ 3318926 w 12191986"/>
              <a:gd name="connsiteY1800" fmla="*/ 2969681 h 6661143"/>
              <a:gd name="connsiteX1801" fmla="*/ 3322630 w 12191986"/>
              <a:gd name="connsiteY1801" fmla="*/ 2973384 h 6661143"/>
              <a:gd name="connsiteX1802" fmla="*/ 3326864 w 12191986"/>
              <a:gd name="connsiteY1802" fmla="*/ 2977088 h 6661143"/>
              <a:gd name="connsiteX1803" fmla="*/ 3330039 w 12191986"/>
              <a:gd name="connsiteY1803" fmla="*/ 2981852 h 6661143"/>
              <a:gd name="connsiteX1804" fmla="*/ 3333213 w 12191986"/>
              <a:gd name="connsiteY1804" fmla="*/ 2986085 h 6661143"/>
              <a:gd name="connsiteX1805" fmla="*/ 3335330 w 12191986"/>
              <a:gd name="connsiteY1805" fmla="*/ 2990847 h 6661143"/>
              <a:gd name="connsiteX1806" fmla="*/ 3337976 w 12191986"/>
              <a:gd name="connsiteY1806" fmla="*/ 2996139 h 6661143"/>
              <a:gd name="connsiteX1807" fmla="*/ 3339563 w 12191986"/>
              <a:gd name="connsiteY1807" fmla="*/ 3001431 h 6661143"/>
              <a:gd name="connsiteX1808" fmla="*/ 3340093 w 12191986"/>
              <a:gd name="connsiteY1808" fmla="*/ 3006193 h 6661143"/>
              <a:gd name="connsiteX1809" fmla="*/ 3340093 w 12191986"/>
              <a:gd name="connsiteY1809" fmla="*/ 3011484 h 6661143"/>
              <a:gd name="connsiteX1810" fmla="*/ 3340093 w 12191986"/>
              <a:gd name="connsiteY1810" fmla="*/ 3016777 h 6661143"/>
              <a:gd name="connsiteX1811" fmla="*/ 3340093 w 12191986"/>
              <a:gd name="connsiteY1811" fmla="*/ 3022068 h 6661143"/>
              <a:gd name="connsiteX1812" fmla="*/ 3338505 w 12191986"/>
              <a:gd name="connsiteY1812" fmla="*/ 3027360 h 6661143"/>
              <a:gd name="connsiteX1813" fmla="*/ 3336918 w 12191986"/>
              <a:gd name="connsiteY1813" fmla="*/ 3032652 h 6661143"/>
              <a:gd name="connsiteX1814" fmla="*/ 3334801 w 12191986"/>
              <a:gd name="connsiteY1814" fmla="*/ 3037415 h 6661143"/>
              <a:gd name="connsiteX1815" fmla="*/ 3332685 w 12191986"/>
              <a:gd name="connsiteY1815" fmla="*/ 3042707 h 6661143"/>
              <a:gd name="connsiteX1816" fmla="*/ 3329509 w 12191986"/>
              <a:gd name="connsiteY1816" fmla="*/ 3047469 h 6661143"/>
              <a:gd name="connsiteX1817" fmla="*/ 3325806 w 12191986"/>
              <a:gd name="connsiteY1817" fmla="*/ 3051173 h 6661143"/>
              <a:gd name="connsiteX1818" fmla="*/ 3321572 w 12191986"/>
              <a:gd name="connsiteY1818" fmla="*/ 3055936 h 6661143"/>
              <a:gd name="connsiteX1819" fmla="*/ 3317338 w 12191986"/>
              <a:gd name="connsiteY1819" fmla="*/ 3058583 h 6661143"/>
              <a:gd name="connsiteX1820" fmla="*/ 3312576 w 12191986"/>
              <a:gd name="connsiteY1820" fmla="*/ 3061757 h 6661143"/>
              <a:gd name="connsiteX1821" fmla="*/ 3307813 w 12191986"/>
              <a:gd name="connsiteY1821" fmla="*/ 3063873 h 6661143"/>
              <a:gd name="connsiteX1822" fmla="*/ 3302522 w 12191986"/>
              <a:gd name="connsiteY1822" fmla="*/ 3066519 h 6661143"/>
              <a:gd name="connsiteX1823" fmla="*/ 3297230 w 12191986"/>
              <a:gd name="connsiteY1823" fmla="*/ 3068106 h 6661143"/>
              <a:gd name="connsiteX1824" fmla="*/ 3292997 w 12191986"/>
              <a:gd name="connsiteY1824" fmla="*/ 3068635 h 6661143"/>
              <a:gd name="connsiteX1825" fmla="*/ 3287706 w 12191986"/>
              <a:gd name="connsiteY1825" fmla="*/ 3068635 h 6661143"/>
              <a:gd name="connsiteX1826" fmla="*/ 3282413 w 12191986"/>
              <a:gd name="connsiteY1826" fmla="*/ 3068635 h 6661143"/>
              <a:gd name="connsiteX1827" fmla="*/ 3276593 w 12191986"/>
              <a:gd name="connsiteY1827" fmla="*/ 3068635 h 6661143"/>
              <a:gd name="connsiteX1828" fmla="*/ 3271301 w 12191986"/>
              <a:gd name="connsiteY1828" fmla="*/ 3067047 h 6661143"/>
              <a:gd name="connsiteX1829" fmla="*/ 3266009 w 12191986"/>
              <a:gd name="connsiteY1829" fmla="*/ 3065460 h 6661143"/>
              <a:gd name="connsiteX1830" fmla="*/ 3261776 w 12191986"/>
              <a:gd name="connsiteY1830" fmla="*/ 3063344 h 6661143"/>
              <a:gd name="connsiteX1831" fmla="*/ 3256484 w 12191986"/>
              <a:gd name="connsiteY1831" fmla="*/ 3061228 h 6661143"/>
              <a:gd name="connsiteX1832" fmla="*/ 3251722 w 12191986"/>
              <a:gd name="connsiteY1832" fmla="*/ 3058054 h 6661143"/>
              <a:gd name="connsiteX1833" fmla="*/ 3248018 w 12191986"/>
              <a:gd name="connsiteY1833" fmla="*/ 3054349 h 6661143"/>
              <a:gd name="connsiteX1834" fmla="*/ 3243255 w 12191986"/>
              <a:gd name="connsiteY1834" fmla="*/ 3050114 h 6661143"/>
              <a:gd name="connsiteX1835" fmla="*/ 3240080 w 12191986"/>
              <a:gd name="connsiteY1835" fmla="*/ 3045882 h 6661143"/>
              <a:gd name="connsiteX1836" fmla="*/ 3237434 w 12191986"/>
              <a:gd name="connsiteY1836" fmla="*/ 3041119 h 6661143"/>
              <a:gd name="connsiteX1837" fmla="*/ 3234788 w 12191986"/>
              <a:gd name="connsiteY1837" fmla="*/ 3036356 h 6661143"/>
              <a:gd name="connsiteX1838" fmla="*/ 3232672 w 12191986"/>
              <a:gd name="connsiteY1838" fmla="*/ 3031064 h 6661143"/>
              <a:gd name="connsiteX1839" fmla="*/ 3231084 w 12191986"/>
              <a:gd name="connsiteY1839" fmla="*/ 3025772 h 6661143"/>
              <a:gd name="connsiteX1840" fmla="*/ 3230555 w 12191986"/>
              <a:gd name="connsiteY1840" fmla="*/ 3020481 h 6661143"/>
              <a:gd name="connsiteX1841" fmla="*/ 3230555 w 12191986"/>
              <a:gd name="connsiteY1841" fmla="*/ 3016248 h 6661143"/>
              <a:gd name="connsiteX1842" fmla="*/ 3230555 w 12191986"/>
              <a:gd name="connsiteY1842" fmla="*/ 3010955 h 6661143"/>
              <a:gd name="connsiteX1843" fmla="*/ 3230555 w 12191986"/>
              <a:gd name="connsiteY1843" fmla="*/ 3005135 h 6661143"/>
              <a:gd name="connsiteX1844" fmla="*/ 3231613 w 12191986"/>
              <a:gd name="connsiteY1844" fmla="*/ 2999844 h 6661143"/>
              <a:gd name="connsiteX1845" fmla="*/ 3233201 w 12191986"/>
              <a:gd name="connsiteY1845" fmla="*/ 2994551 h 6661143"/>
              <a:gd name="connsiteX1846" fmla="*/ 3235846 w 12191986"/>
              <a:gd name="connsiteY1846" fmla="*/ 2990317 h 6661143"/>
              <a:gd name="connsiteX1847" fmla="*/ 3237963 w 12191986"/>
              <a:gd name="connsiteY1847" fmla="*/ 2985027 h 6661143"/>
              <a:gd name="connsiteX1848" fmla="*/ 3241138 w 12191986"/>
              <a:gd name="connsiteY1848" fmla="*/ 2980263 h 6661143"/>
              <a:gd name="connsiteX1849" fmla="*/ 3244842 w 12191986"/>
              <a:gd name="connsiteY1849" fmla="*/ 2976559 h 6661143"/>
              <a:gd name="connsiteX1850" fmla="*/ 3248547 w 12191986"/>
              <a:gd name="connsiteY1850" fmla="*/ 2971797 h 6661143"/>
              <a:gd name="connsiteX1851" fmla="*/ 3253310 w 12191986"/>
              <a:gd name="connsiteY1851" fmla="*/ 2968623 h 6661143"/>
              <a:gd name="connsiteX1852" fmla="*/ 3257542 w 12191986"/>
              <a:gd name="connsiteY1852" fmla="*/ 2965448 h 6661143"/>
              <a:gd name="connsiteX1853" fmla="*/ 3262305 w 12191986"/>
              <a:gd name="connsiteY1853" fmla="*/ 2963331 h 6661143"/>
              <a:gd name="connsiteX1854" fmla="*/ 3267596 w 12191986"/>
              <a:gd name="connsiteY1854" fmla="*/ 2961213 h 6661143"/>
              <a:gd name="connsiteX1855" fmla="*/ 3272888 w 12191986"/>
              <a:gd name="connsiteY1855" fmla="*/ 2959626 h 6661143"/>
              <a:gd name="connsiteX1856" fmla="*/ 3577988 w 12191986"/>
              <a:gd name="connsiteY1856" fmla="*/ 2909885 h 6661143"/>
              <a:gd name="connsiteX1857" fmla="*/ 3583254 w 12191986"/>
              <a:gd name="connsiteY1857" fmla="*/ 2909885 h 6661143"/>
              <a:gd name="connsiteX1858" fmla="*/ 3588521 w 12191986"/>
              <a:gd name="connsiteY1858" fmla="*/ 2909885 h 6661143"/>
              <a:gd name="connsiteX1859" fmla="*/ 3593786 w 12191986"/>
              <a:gd name="connsiteY1859" fmla="*/ 2909885 h 6661143"/>
              <a:gd name="connsiteX1860" fmla="*/ 3599579 w 12191986"/>
              <a:gd name="connsiteY1860" fmla="*/ 2911464 h 6661143"/>
              <a:gd name="connsiteX1861" fmla="*/ 3603793 w 12191986"/>
              <a:gd name="connsiteY1861" fmla="*/ 2913044 h 6661143"/>
              <a:gd name="connsiteX1862" fmla="*/ 3609058 w 12191986"/>
              <a:gd name="connsiteY1862" fmla="*/ 2915151 h 6661143"/>
              <a:gd name="connsiteX1863" fmla="*/ 3613799 w 12191986"/>
              <a:gd name="connsiteY1863" fmla="*/ 2917784 h 6661143"/>
              <a:gd name="connsiteX1864" fmla="*/ 3618537 w 12191986"/>
              <a:gd name="connsiteY1864" fmla="*/ 2920416 h 6661143"/>
              <a:gd name="connsiteX1865" fmla="*/ 3622751 w 12191986"/>
              <a:gd name="connsiteY1865" fmla="*/ 2924631 h 6661143"/>
              <a:gd name="connsiteX1866" fmla="*/ 3626437 w 12191986"/>
              <a:gd name="connsiteY1866" fmla="*/ 2928316 h 6661143"/>
              <a:gd name="connsiteX1867" fmla="*/ 3630650 w 12191986"/>
              <a:gd name="connsiteY1867" fmla="*/ 2933056 h 6661143"/>
              <a:gd name="connsiteX1868" fmla="*/ 3632757 w 12191986"/>
              <a:gd name="connsiteY1868" fmla="*/ 2937268 h 6661143"/>
              <a:gd name="connsiteX1869" fmla="*/ 3635917 w 12191986"/>
              <a:gd name="connsiteY1869" fmla="*/ 2942009 h 6661143"/>
              <a:gd name="connsiteX1870" fmla="*/ 3637495 w 12191986"/>
              <a:gd name="connsiteY1870" fmla="*/ 2947276 h 6661143"/>
              <a:gd name="connsiteX1871" fmla="*/ 3638550 w 12191986"/>
              <a:gd name="connsiteY1871" fmla="*/ 2952541 h 6661143"/>
              <a:gd name="connsiteX1872" fmla="*/ 3639602 w 12191986"/>
              <a:gd name="connsiteY1872" fmla="*/ 2957281 h 6661143"/>
              <a:gd name="connsiteX1873" fmla="*/ 3640129 w 12191986"/>
              <a:gd name="connsiteY1873" fmla="*/ 2962547 h 6661143"/>
              <a:gd name="connsiteX1874" fmla="*/ 3640129 w 12191986"/>
              <a:gd name="connsiteY1874" fmla="*/ 2967813 h 6661143"/>
              <a:gd name="connsiteX1875" fmla="*/ 3639602 w 12191986"/>
              <a:gd name="connsiteY1875" fmla="*/ 2973080 h 6661143"/>
              <a:gd name="connsiteX1876" fmla="*/ 3638550 w 12191986"/>
              <a:gd name="connsiteY1876" fmla="*/ 2978345 h 6661143"/>
              <a:gd name="connsiteX1877" fmla="*/ 3637495 w 12191986"/>
              <a:gd name="connsiteY1877" fmla="*/ 2983613 h 6661143"/>
              <a:gd name="connsiteX1878" fmla="*/ 3634864 w 12191986"/>
              <a:gd name="connsiteY1878" fmla="*/ 2988351 h 6661143"/>
              <a:gd name="connsiteX1879" fmla="*/ 3631704 w 12191986"/>
              <a:gd name="connsiteY1879" fmla="*/ 2993618 h 6661143"/>
              <a:gd name="connsiteX1880" fmla="*/ 3629071 w 12191986"/>
              <a:gd name="connsiteY1880" fmla="*/ 2997830 h 6661143"/>
              <a:gd name="connsiteX1881" fmla="*/ 3625385 w 12191986"/>
              <a:gd name="connsiteY1881" fmla="*/ 3002043 h 6661143"/>
              <a:gd name="connsiteX1882" fmla="*/ 3621171 w 12191986"/>
              <a:gd name="connsiteY1882" fmla="*/ 3006258 h 6661143"/>
              <a:gd name="connsiteX1883" fmla="*/ 3616958 w 12191986"/>
              <a:gd name="connsiteY1883" fmla="*/ 3009416 h 6661143"/>
              <a:gd name="connsiteX1884" fmla="*/ 3612218 w 12191986"/>
              <a:gd name="connsiteY1884" fmla="*/ 3012577 h 6661143"/>
              <a:gd name="connsiteX1885" fmla="*/ 3607479 w 12191986"/>
              <a:gd name="connsiteY1885" fmla="*/ 3014683 h 6661143"/>
              <a:gd name="connsiteX1886" fmla="*/ 3603265 w 12191986"/>
              <a:gd name="connsiteY1886" fmla="*/ 3016790 h 6661143"/>
              <a:gd name="connsiteX1887" fmla="*/ 3598000 w 12191986"/>
              <a:gd name="connsiteY1887" fmla="*/ 3018370 h 6661143"/>
              <a:gd name="connsiteX1888" fmla="*/ 3592734 w 12191986"/>
              <a:gd name="connsiteY1888" fmla="*/ 3019423 h 6661143"/>
              <a:gd name="connsiteX1889" fmla="*/ 3587467 w 12191986"/>
              <a:gd name="connsiteY1889" fmla="*/ 3019423 h 6661143"/>
              <a:gd name="connsiteX1890" fmla="*/ 3581674 w 12191986"/>
              <a:gd name="connsiteY1890" fmla="*/ 3019423 h 6661143"/>
              <a:gd name="connsiteX1891" fmla="*/ 3576409 w 12191986"/>
              <a:gd name="connsiteY1891" fmla="*/ 3019423 h 6661143"/>
              <a:gd name="connsiteX1892" fmla="*/ 3571142 w 12191986"/>
              <a:gd name="connsiteY1892" fmla="*/ 3017843 h 6661143"/>
              <a:gd name="connsiteX1893" fmla="*/ 3566930 w 12191986"/>
              <a:gd name="connsiteY1893" fmla="*/ 3016263 h 6661143"/>
              <a:gd name="connsiteX1894" fmla="*/ 3561663 w 12191986"/>
              <a:gd name="connsiteY1894" fmla="*/ 3014157 h 6661143"/>
              <a:gd name="connsiteX1895" fmla="*/ 3556924 w 12191986"/>
              <a:gd name="connsiteY1895" fmla="*/ 3011523 h 6661143"/>
              <a:gd name="connsiteX1896" fmla="*/ 3552184 w 12191986"/>
              <a:gd name="connsiteY1896" fmla="*/ 3008891 h 6661143"/>
              <a:gd name="connsiteX1897" fmla="*/ 3547971 w 12191986"/>
              <a:gd name="connsiteY1897" fmla="*/ 3004678 h 6661143"/>
              <a:gd name="connsiteX1898" fmla="*/ 3543757 w 12191986"/>
              <a:gd name="connsiteY1898" fmla="*/ 3000990 h 6661143"/>
              <a:gd name="connsiteX1899" fmla="*/ 3540071 w 12191986"/>
              <a:gd name="connsiteY1899" fmla="*/ 2996778 h 6661143"/>
              <a:gd name="connsiteX1900" fmla="*/ 3537964 w 12191986"/>
              <a:gd name="connsiteY1900" fmla="*/ 2992038 h 6661143"/>
              <a:gd name="connsiteX1901" fmla="*/ 3534805 w 12191986"/>
              <a:gd name="connsiteY1901" fmla="*/ 2987299 h 6661143"/>
              <a:gd name="connsiteX1902" fmla="*/ 3533226 w 12191986"/>
              <a:gd name="connsiteY1902" fmla="*/ 2982033 h 6661143"/>
              <a:gd name="connsiteX1903" fmla="*/ 3531645 w 12191986"/>
              <a:gd name="connsiteY1903" fmla="*/ 2976765 h 6661143"/>
              <a:gd name="connsiteX1904" fmla="*/ 3531119 w 12191986"/>
              <a:gd name="connsiteY1904" fmla="*/ 2971500 h 6661143"/>
              <a:gd name="connsiteX1905" fmla="*/ 3530592 w 12191986"/>
              <a:gd name="connsiteY1905" fmla="*/ 2966761 h 6661143"/>
              <a:gd name="connsiteX1906" fmla="*/ 3530592 w 12191986"/>
              <a:gd name="connsiteY1906" fmla="*/ 2961494 h 6661143"/>
              <a:gd name="connsiteX1907" fmla="*/ 3531119 w 12191986"/>
              <a:gd name="connsiteY1907" fmla="*/ 2956228 h 6661143"/>
              <a:gd name="connsiteX1908" fmla="*/ 3531645 w 12191986"/>
              <a:gd name="connsiteY1908" fmla="*/ 2950961 h 6661143"/>
              <a:gd name="connsiteX1909" fmla="*/ 3533226 w 12191986"/>
              <a:gd name="connsiteY1909" fmla="*/ 2945695 h 6661143"/>
              <a:gd name="connsiteX1910" fmla="*/ 3535859 w 12191986"/>
              <a:gd name="connsiteY1910" fmla="*/ 2940956 h 6661143"/>
              <a:gd name="connsiteX1911" fmla="*/ 3538492 w 12191986"/>
              <a:gd name="connsiteY1911" fmla="*/ 2935689 h 6661143"/>
              <a:gd name="connsiteX1912" fmla="*/ 3541652 w 12191986"/>
              <a:gd name="connsiteY1912" fmla="*/ 2931476 h 6661143"/>
              <a:gd name="connsiteX1913" fmla="*/ 3544812 w 12191986"/>
              <a:gd name="connsiteY1913" fmla="*/ 2927263 h 6661143"/>
              <a:gd name="connsiteX1914" fmla="*/ 3549551 w 12191986"/>
              <a:gd name="connsiteY1914" fmla="*/ 2923049 h 6661143"/>
              <a:gd name="connsiteX1915" fmla="*/ 3553237 w 12191986"/>
              <a:gd name="connsiteY1915" fmla="*/ 2919891 h 6661143"/>
              <a:gd name="connsiteX1916" fmla="*/ 3557451 w 12191986"/>
              <a:gd name="connsiteY1916" fmla="*/ 2916731 h 6661143"/>
              <a:gd name="connsiteX1917" fmla="*/ 3562716 w 12191986"/>
              <a:gd name="connsiteY1917" fmla="*/ 2914624 h 6661143"/>
              <a:gd name="connsiteX1918" fmla="*/ 3567456 w 12191986"/>
              <a:gd name="connsiteY1918" fmla="*/ 2912517 h 6661143"/>
              <a:gd name="connsiteX1919" fmla="*/ 3572723 w 12191986"/>
              <a:gd name="connsiteY1919" fmla="*/ 2910937 h 6661143"/>
              <a:gd name="connsiteX1920" fmla="*/ 9005440 w 12191986"/>
              <a:gd name="connsiteY1920" fmla="*/ 2857493 h 6661143"/>
              <a:gd name="connsiteX1921" fmla="*/ 9026051 w 12191986"/>
              <a:gd name="connsiteY1921" fmla="*/ 2857493 h 6661143"/>
              <a:gd name="connsiteX1922" fmla="*/ 9044548 w 12191986"/>
              <a:gd name="connsiteY1922" fmla="*/ 2858551 h 6661143"/>
              <a:gd name="connsiteX1923" fmla="*/ 9069386 w 12191986"/>
              <a:gd name="connsiteY1923" fmla="*/ 2861726 h 6661143"/>
              <a:gd name="connsiteX1924" fmla="*/ 9078899 w 12191986"/>
              <a:gd name="connsiteY1924" fmla="*/ 2862785 h 6661143"/>
              <a:gd name="connsiteX1925" fmla="*/ 9068858 w 12191986"/>
              <a:gd name="connsiteY1925" fmla="*/ 2867548 h 6661143"/>
              <a:gd name="connsiteX1926" fmla="*/ 9060402 w 12191986"/>
              <a:gd name="connsiteY1926" fmla="*/ 2872839 h 6661143"/>
              <a:gd name="connsiteX1927" fmla="*/ 9051946 w 12191986"/>
              <a:gd name="connsiteY1927" fmla="*/ 2878130 h 6661143"/>
              <a:gd name="connsiteX1928" fmla="*/ 9045076 w 12191986"/>
              <a:gd name="connsiteY1928" fmla="*/ 2885010 h 6661143"/>
              <a:gd name="connsiteX1929" fmla="*/ 9038206 w 12191986"/>
              <a:gd name="connsiteY1929" fmla="*/ 2892947 h 6661143"/>
              <a:gd name="connsiteX1930" fmla="*/ 9032921 w 12191986"/>
              <a:gd name="connsiteY1930" fmla="*/ 2900356 h 6661143"/>
              <a:gd name="connsiteX1931" fmla="*/ 9027636 w 12191986"/>
              <a:gd name="connsiteY1931" fmla="*/ 2908822 h 6661143"/>
              <a:gd name="connsiteX1932" fmla="*/ 9022880 w 12191986"/>
              <a:gd name="connsiteY1932" fmla="*/ 2918877 h 6661143"/>
              <a:gd name="connsiteX1933" fmla="*/ 9018652 w 12191986"/>
              <a:gd name="connsiteY1933" fmla="*/ 2927872 h 6661143"/>
              <a:gd name="connsiteX1934" fmla="*/ 9014953 w 12191986"/>
              <a:gd name="connsiteY1934" fmla="*/ 2938455 h 6661143"/>
              <a:gd name="connsiteX1935" fmla="*/ 9011782 w 12191986"/>
              <a:gd name="connsiteY1935" fmla="*/ 2949039 h 6661143"/>
              <a:gd name="connsiteX1936" fmla="*/ 9008082 w 12191986"/>
              <a:gd name="connsiteY1936" fmla="*/ 2959622 h 6661143"/>
              <a:gd name="connsiteX1937" fmla="*/ 9002798 w 12191986"/>
              <a:gd name="connsiteY1937" fmla="*/ 2982906 h 6661143"/>
              <a:gd name="connsiteX1938" fmla="*/ 8998041 w 12191986"/>
              <a:gd name="connsiteY1938" fmla="*/ 3007247 h 6661143"/>
              <a:gd name="connsiteX1939" fmla="*/ 8993285 w 12191986"/>
              <a:gd name="connsiteY1939" fmla="*/ 3031589 h 6661143"/>
              <a:gd name="connsiteX1940" fmla="*/ 8989057 w 12191986"/>
              <a:gd name="connsiteY1940" fmla="*/ 3056460 h 6661143"/>
              <a:gd name="connsiteX1941" fmla="*/ 8983772 w 12191986"/>
              <a:gd name="connsiteY1941" fmla="*/ 3080801 h 6661143"/>
              <a:gd name="connsiteX1942" fmla="*/ 8977430 w 12191986"/>
              <a:gd name="connsiteY1942" fmla="*/ 3105673 h 6661143"/>
              <a:gd name="connsiteX1943" fmla="*/ 8973731 w 12191986"/>
              <a:gd name="connsiteY1943" fmla="*/ 3116785 h 6661143"/>
              <a:gd name="connsiteX1944" fmla="*/ 8970032 w 12191986"/>
              <a:gd name="connsiteY1944" fmla="*/ 3128426 h 6661143"/>
              <a:gd name="connsiteX1945" fmla="*/ 8965275 w 12191986"/>
              <a:gd name="connsiteY1945" fmla="*/ 3139539 h 6661143"/>
              <a:gd name="connsiteX1946" fmla="*/ 8960519 w 12191986"/>
              <a:gd name="connsiteY1946" fmla="*/ 3150651 h 6661143"/>
              <a:gd name="connsiteX1947" fmla="*/ 8955234 w 12191986"/>
              <a:gd name="connsiteY1947" fmla="*/ 3161235 h 6661143"/>
              <a:gd name="connsiteX1948" fmla="*/ 8949421 w 12191986"/>
              <a:gd name="connsiteY1948" fmla="*/ 3170760 h 6661143"/>
              <a:gd name="connsiteX1949" fmla="*/ 8942551 w 12191986"/>
              <a:gd name="connsiteY1949" fmla="*/ 3180814 h 6661143"/>
              <a:gd name="connsiteX1950" fmla="*/ 8934623 w 12191986"/>
              <a:gd name="connsiteY1950" fmla="*/ 3189281 h 6661143"/>
              <a:gd name="connsiteX1951" fmla="*/ 8928810 w 12191986"/>
              <a:gd name="connsiteY1951" fmla="*/ 3195630 h 6661143"/>
              <a:gd name="connsiteX1952" fmla="*/ 8922468 w 12191986"/>
              <a:gd name="connsiteY1952" fmla="*/ 3201452 h 6661143"/>
              <a:gd name="connsiteX1953" fmla="*/ 8916655 w 12191986"/>
              <a:gd name="connsiteY1953" fmla="*/ 3207801 h 6661143"/>
              <a:gd name="connsiteX1954" fmla="*/ 8909785 w 12191986"/>
              <a:gd name="connsiteY1954" fmla="*/ 3212035 h 6661143"/>
              <a:gd name="connsiteX1955" fmla="*/ 8896573 w 12191986"/>
              <a:gd name="connsiteY1955" fmla="*/ 3222089 h 6661143"/>
              <a:gd name="connsiteX1956" fmla="*/ 8882304 w 12191986"/>
              <a:gd name="connsiteY1956" fmla="*/ 3229497 h 6661143"/>
              <a:gd name="connsiteX1957" fmla="*/ 8868035 w 12191986"/>
              <a:gd name="connsiteY1957" fmla="*/ 3236377 h 6661143"/>
              <a:gd name="connsiteX1958" fmla="*/ 8853237 w 12191986"/>
              <a:gd name="connsiteY1958" fmla="*/ 3241139 h 6661143"/>
              <a:gd name="connsiteX1959" fmla="*/ 8838440 w 12191986"/>
              <a:gd name="connsiteY1959" fmla="*/ 3244843 h 6661143"/>
              <a:gd name="connsiteX1960" fmla="*/ 8823114 w 12191986"/>
              <a:gd name="connsiteY1960" fmla="*/ 3247489 h 6661143"/>
              <a:gd name="connsiteX1961" fmla="*/ 8808316 w 12191986"/>
              <a:gd name="connsiteY1961" fmla="*/ 3248019 h 6661143"/>
              <a:gd name="connsiteX1962" fmla="*/ 8793519 w 12191986"/>
              <a:gd name="connsiteY1962" fmla="*/ 3247489 h 6661143"/>
              <a:gd name="connsiteX1963" fmla="*/ 8778721 w 12191986"/>
              <a:gd name="connsiteY1963" fmla="*/ 3244843 h 6661143"/>
              <a:gd name="connsiteX1964" fmla="*/ 8764452 w 12191986"/>
              <a:gd name="connsiteY1964" fmla="*/ 3241668 h 6661143"/>
              <a:gd name="connsiteX1965" fmla="*/ 8757582 w 12191986"/>
              <a:gd name="connsiteY1965" fmla="*/ 3239023 h 6661143"/>
              <a:gd name="connsiteX1966" fmla="*/ 8750712 w 12191986"/>
              <a:gd name="connsiteY1966" fmla="*/ 3236377 h 6661143"/>
              <a:gd name="connsiteX1967" fmla="*/ 8743842 w 12191986"/>
              <a:gd name="connsiteY1967" fmla="*/ 3233731 h 6661143"/>
              <a:gd name="connsiteX1968" fmla="*/ 8737500 w 12191986"/>
              <a:gd name="connsiteY1968" fmla="*/ 3229497 h 6661143"/>
              <a:gd name="connsiteX1969" fmla="*/ 8731158 w 12191986"/>
              <a:gd name="connsiteY1969" fmla="*/ 3225793 h 6661143"/>
              <a:gd name="connsiteX1970" fmla="*/ 8724816 w 12191986"/>
              <a:gd name="connsiteY1970" fmla="*/ 3222089 h 6661143"/>
              <a:gd name="connsiteX1971" fmla="*/ 8718474 w 12191986"/>
              <a:gd name="connsiteY1971" fmla="*/ 3217327 h 6661143"/>
              <a:gd name="connsiteX1972" fmla="*/ 8713190 w 12191986"/>
              <a:gd name="connsiteY1972" fmla="*/ 3212035 h 6661143"/>
              <a:gd name="connsiteX1973" fmla="*/ 8711076 w 12191986"/>
              <a:gd name="connsiteY1973" fmla="*/ 3209918 h 6661143"/>
              <a:gd name="connsiteX1974" fmla="*/ 8709490 w 12191986"/>
              <a:gd name="connsiteY1974" fmla="*/ 3208330 h 6661143"/>
              <a:gd name="connsiteX1975" fmla="*/ 8712661 w 12191986"/>
              <a:gd name="connsiteY1975" fmla="*/ 3194572 h 6661143"/>
              <a:gd name="connsiteX1976" fmla="*/ 8715832 w 12191986"/>
              <a:gd name="connsiteY1976" fmla="*/ 3181872 h 6661143"/>
              <a:gd name="connsiteX1977" fmla="*/ 8720060 w 12191986"/>
              <a:gd name="connsiteY1977" fmla="*/ 3168643 h 6661143"/>
              <a:gd name="connsiteX1978" fmla="*/ 8724816 w 12191986"/>
              <a:gd name="connsiteY1978" fmla="*/ 3154885 h 6661143"/>
              <a:gd name="connsiteX1979" fmla="*/ 8729572 w 12191986"/>
              <a:gd name="connsiteY1979" fmla="*/ 3142185 h 6661143"/>
              <a:gd name="connsiteX1980" fmla="*/ 8735386 w 12191986"/>
              <a:gd name="connsiteY1980" fmla="*/ 3128955 h 6661143"/>
              <a:gd name="connsiteX1981" fmla="*/ 8741728 w 12191986"/>
              <a:gd name="connsiteY1981" fmla="*/ 3115197 h 6661143"/>
              <a:gd name="connsiteX1982" fmla="*/ 8748598 w 12191986"/>
              <a:gd name="connsiteY1982" fmla="*/ 3102497 h 6661143"/>
              <a:gd name="connsiteX1983" fmla="*/ 8755468 w 12191986"/>
              <a:gd name="connsiteY1983" fmla="*/ 3089269 h 6661143"/>
              <a:gd name="connsiteX1984" fmla="*/ 8762867 w 12191986"/>
              <a:gd name="connsiteY1984" fmla="*/ 3076568 h 6661143"/>
              <a:gd name="connsiteX1985" fmla="*/ 8771323 w 12191986"/>
              <a:gd name="connsiteY1985" fmla="*/ 3063339 h 6661143"/>
              <a:gd name="connsiteX1986" fmla="*/ 8780307 w 12191986"/>
              <a:gd name="connsiteY1986" fmla="*/ 3050639 h 6661143"/>
              <a:gd name="connsiteX1987" fmla="*/ 8789291 w 12191986"/>
              <a:gd name="connsiteY1987" fmla="*/ 3037410 h 6661143"/>
              <a:gd name="connsiteX1988" fmla="*/ 8799332 w 12191986"/>
              <a:gd name="connsiteY1988" fmla="*/ 3025239 h 6661143"/>
              <a:gd name="connsiteX1989" fmla="*/ 8809373 w 12191986"/>
              <a:gd name="connsiteY1989" fmla="*/ 3013068 h 6661143"/>
              <a:gd name="connsiteX1990" fmla="*/ 8820471 w 12191986"/>
              <a:gd name="connsiteY1990" fmla="*/ 3000897 h 6661143"/>
              <a:gd name="connsiteX1991" fmla="*/ 8830513 w 12191986"/>
              <a:gd name="connsiteY1991" fmla="*/ 2990314 h 6661143"/>
              <a:gd name="connsiteX1992" fmla="*/ 8841082 w 12191986"/>
              <a:gd name="connsiteY1992" fmla="*/ 2980260 h 6661143"/>
              <a:gd name="connsiteX1993" fmla="*/ 8851123 w 12191986"/>
              <a:gd name="connsiteY1993" fmla="*/ 2970735 h 6661143"/>
              <a:gd name="connsiteX1994" fmla="*/ 8862750 w 12191986"/>
              <a:gd name="connsiteY1994" fmla="*/ 2960680 h 6661143"/>
              <a:gd name="connsiteX1995" fmla="*/ 8873320 w 12191986"/>
              <a:gd name="connsiteY1995" fmla="*/ 2952214 h 6661143"/>
              <a:gd name="connsiteX1996" fmla="*/ 8883889 w 12191986"/>
              <a:gd name="connsiteY1996" fmla="*/ 2943218 h 6661143"/>
              <a:gd name="connsiteX1997" fmla="*/ 8895516 w 12191986"/>
              <a:gd name="connsiteY1997" fmla="*/ 2935281 h 6661143"/>
              <a:gd name="connsiteX1998" fmla="*/ 8906614 w 12191986"/>
              <a:gd name="connsiteY1998" fmla="*/ 2926814 h 6661143"/>
              <a:gd name="connsiteX1999" fmla="*/ 8918241 w 12191986"/>
              <a:gd name="connsiteY1999" fmla="*/ 2919935 h 6661143"/>
              <a:gd name="connsiteX2000" fmla="*/ 8929339 w 12191986"/>
              <a:gd name="connsiteY2000" fmla="*/ 2913585 h 6661143"/>
              <a:gd name="connsiteX2001" fmla="*/ 8940965 w 12191986"/>
              <a:gd name="connsiteY2001" fmla="*/ 2906705 h 6661143"/>
              <a:gd name="connsiteX2002" fmla="*/ 8952592 w 12191986"/>
              <a:gd name="connsiteY2002" fmla="*/ 2900356 h 6661143"/>
              <a:gd name="connsiteX2003" fmla="*/ 8963690 w 12191986"/>
              <a:gd name="connsiteY2003" fmla="*/ 2895064 h 6661143"/>
              <a:gd name="connsiteX2004" fmla="*/ 8975845 w 12191986"/>
              <a:gd name="connsiteY2004" fmla="*/ 2889772 h 6661143"/>
              <a:gd name="connsiteX2005" fmla="*/ 8987472 w 12191986"/>
              <a:gd name="connsiteY2005" fmla="*/ 2885010 h 6661143"/>
              <a:gd name="connsiteX2006" fmla="*/ 8998570 w 12191986"/>
              <a:gd name="connsiteY2006" fmla="*/ 2880777 h 6661143"/>
              <a:gd name="connsiteX2007" fmla="*/ 8985886 w 12191986"/>
              <a:gd name="connsiteY2007" fmla="*/ 2884481 h 6661143"/>
              <a:gd name="connsiteX2008" fmla="*/ 8972674 w 12191986"/>
              <a:gd name="connsiteY2008" fmla="*/ 2888714 h 6661143"/>
              <a:gd name="connsiteX2009" fmla="*/ 8959991 w 12191986"/>
              <a:gd name="connsiteY2009" fmla="*/ 2894535 h 6661143"/>
              <a:gd name="connsiteX2010" fmla="*/ 8947836 w 12191986"/>
              <a:gd name="connsiteY2010" fmla="*/ 2899827 h 6661143"/>
              <a:gd name="connsiteX2011" fmla="*/ 8934623 w 12191986"/>
              <a:gd name="connsiteY2011" fmla="*/ 2905647 h 6661143"/>
              <a:gd name="connsiteX2012" fmla="*/ 8921940 w 12191986"/>
              <a:gd name="connsiteY2012" fmla="*/ 2912526 h 6661143"/>
              <a:gd name="connsiteX2013" fmla="*/ 8908728 w 12191986"/>
              <a:gd name="connsiteY2013" fmla="*/ 2919406 h 6661143"/>
              <a:gd name="connsiteX2014" fmla="*/ 8896573 w 12191986"/>
              <a:gd name="connsiteY2014" fmla="*/ 2926814 h 6661143"/>
              <a:gd name="connsiteX2015" fmla="*/ 8883889 w 12191986"/>
              <a:gd name="connsiteY2015" fmla="*/ 2935281 h 6661143"/>
              <a:gd name="connsiteX2016" fmla="*/ 8871734 w 12191986"/>
              <a:gd name="connsiteY2016" fmla="*/ 2944806 h 6661143"/>
              <a:gd name="connsiteX2017" fmla="*/ 8859579 w 12191986"/>
              <a:gd name="connsiteY2017" fmla="*/ 2953801 h 6661143"/>
              <a:gd name="connsiteX2018" fmla="*/ 8847424 w 12191986"/>
              <a:gd name="connsiteY2018" fmla="*/ 2963856 h 6661143"/>
              <a:gd name="connsiteX2019" fmla="*/ 8835269 w 12191986"/>
              <a:gd name="connsiteY2019" fmla="*/ 2973380 h 6661143"/>
              <a:gd name="connsiteX2020" fmla="*/ 8823642 w 12191986"/>
              <a:gd name="connsiteY2020" fmla="*/ 2984493 h 6661143"/>
              <a:gd name="connsiteX2021" fmla="*/ 8812544 w 12191986"/>
              <a:gd name="connsiteY2021" fmla="*/ 2995606 h 6661143"/>
              <a:gd name="connsiteX2022" fmla="*/ 8800918 w 12191986"/>
              <a:gd name="connsiteY2022" fmla="*/ 3007247 h 6661143"/>
              <a:gd name="connsiteX2023" fmla="*/ 8791933 w 12191986"/>
              <a:gd name="connsiteY2023" fmla="*/ 3017830 h 6661143"/>
              <a:gd name="connsiteX2024" fmla="*/ 8782421 w 12191986"/>
              <a:gd name="connsiteY2024" fmla="*/ 3029473 h 6661143"/>
              <a:gd name="connsiteX2025" fmla="*/ 8773436 w 12191986"/>
              <a:gd name="connsiteY2025" fmla="*/ 3040056 h 6661143"/>
              <a:gd name="connsiteX2026" fmla="*/ 8764981 w 12191986"/>
              <a:gd name="connsiteY2026" fmla="*/ 3051168 h 6661143"/>
              <a:gd name="connsiteX2027" fmla="*/ 8756525 w 12191986"/>
              <a:gd name="connsiteY2027" fmla="*/ 3062810 h 6661143"/>
              <a:gd name="connsiteX2028" fmla="*/ 8749126 w 12191986"/>
              <a:gd name="connsiteY2028" fmla="*/ 3074452 h 6661143"/>
              <a:gd name="connsiteX2029" fmla="*/ 8742256 w 12191986"/>
              <a:gd name="connsiteY2029" fmla="*/ 3085564 h 6661143"/>
              <a:gd name="connsiteX2030" fmla="*/ 8735386 w 12191986"/>
              <a:gd name="connsiteY2030" fmla="*/ 3097205 h 6661143"/>
              <a:gd name="connsiteX2031" fmla="*/ 8728516 w 12191986"/>
              <a:gd name="connsiteY2031" fmla="*/ 3109377 h 6661143"/>
              <a:gd name="connsiteX2032" fmla="*/ 8722702 w 12191986"/>
              <a:gd name="connsiteY2032" fmla="*/ 3120489 h 6661143"/>
              <a:gd name="connsiteX2033" fmla="*/ 8717417 w 12191986"/>
              <a:gd name="connsiteY2033" fmla="*/ 3132660 h 6661143"/>
              <a:gd name="connsiteX2034" fmla="*/ 8712133 w 12191986"/>
              <a:gd name="connsiteY2034" fmla="*/ 3144301 h 6661143"/>
              <a:gd name="connsiteX2035" fmla="*/ 8707376 w 12191986"/>
              <a:gd name="connsiteY2035" fmla="*/ 3156473 h 6661143"/>
              <a:gd name="connsiteX2036" fmla="*/ 8702620 w 12191986"/>
              <a:gd name="connsiteY2036" fmla="*/ 3168114 h 6661143"/>
              <a:gd name="connsiteX2037" fmla="*/ 8698921 w 12191986"/>
              <a:gd name="connsiteY2037" fmla="*/ 3180285 h 6661143"/>
              <a:gd name="connsiteX2038" fmla="*/ 8695750 w 12191986"/>
              <a:gd name="connsiteY2038" fmla="*/ 3191397 h 6661143"/>
              <a:gd name="connsiteX2039" fmla="*/ 8688351 w 12191986"/>
              <a:gd name="connsiteY2039" fmla="*/ 3180814 h 6661143"/>
              <a:gd name="connsiteX2040" fmla="*/ 8683066 w 12191986"/>
              <a:gd name="connsiteY2040" fmla="*/ 3169702 h 6661143"/>
              <a:gd name="connsiteX2041" fmla="*/ 8678310 w 12191986"/>
              <a:gd name="connsiteY2041" fmla="*/ 3157531 h 6661143"/>
              <a:gd name="connsiteX2042" fmla="*/ 8674610 w 12191986"/>
              <a:gd name="connsiteY2042" fmla="*/ 3144301 h 6661143"/>
              <a:gd name="connsiteX2043" fmla="*/ 8672496 w 12191986"/>
              <a:gd name="connsiteY2043" fmla="*/ 3132130 h 6661143"/>
              <a:gd name="connsiteX2044" fmla="*/ 8670911 w 12191986"/>
              <a:gd name="connsiteY2044" fmla="*/ 3118372 h 6661143"/>
              <a:gd name="connsiteX2045" fmla="*/ 8670911 w 12191986"/>
              <a:gd name="connsiteY2045" fmla="*/ 3105673 h 6661143"/>
              <a:gd name="connsiteX2046" fmla="*/ 8671439 w 12191986"/>
              <a:gd name="connsiteY2046" fmla="*/ 3091914 h 6661143"/>
              <a:gd name="connsiteX2047" fmla="*/ 8674082 w 12191986"/>
              <a:gd name="connsiteY2047" fmla="*/ 3078156 h 6661143"/>
              <a:gd name="connsiteX2048" fmla="*/ 8676724 w 12191986"/>
              <a:gd name="connsiteY2048" fmla="*/ 3064926 h 6661143"/>
              <a:gd name="connsiteX2049" fmla="*/ 8680424 w 12191986"/>
              <a:gd name="connsiteY2049" fmla="*/ 3051168 h 6661143"/>
              <a:gd name="connsiteX2050" fmla="*/ 8686765 w 12191986"/>
              <a:gd name="connsiteY2050" fmla="*/ 3038468 h 6661143"/>
              <a:gd name="connsiteX2051" fmla="*/ 8693107 w 12191986"/>
              <a:gd name="connsiteY2051" fmla="*/ 3025239 h 6661143"/>
              <a:gd name="connsiteX2052" fmla="*/ 8700506 w 12191986"/>
              <a:gd name="connsiteY2052" fmla="*/ 3013068 h 6661143"/>
              <a:gd name="connsiteX2053" fmla="*/ 8709490 w 12191986"/>
              <a:gd name="connsiteY2053" fmla="*/ 3000897 h 6661143"/>
              <a:gd name="connsiteX2054" fmla="*/ 8718474 w 12191986"/>
              <a:gd name="connsiteY2054" fmla="*/ 2988726 h 6661143"/>
              <a:gd name="connsiteX2055" fmla="*/ 8733800 w 12191986"/>
              <a:gd name="connsiteY2055" fmla="*/ 2973380 h 6661143"/>
              <a:gd name="connsiteX2056" fmla="*/ 8749126 w 12191986"/>
              <a:gd name="connsiteY2056" fmla="*/ 2959093 h 6661143"/>
              <a:gd name="connsiteX2057" fmla="*/ 8763395 w 12191986"/>
              <a:gd name="connsiteY2057" fmla="*/ 2945864 h 6661143"/>
              <a:gd name="connsiteX2058" fmla="*/ 8779778 w 12191986"/>
              <a:gd name="connsiteY2058" fmla="*/ 2933694 h 6661143"/>
              <a:gd name="connsiteX2059" fmla="*/ 8794576 w 12191986"/>
              <a:gd name="connsiteY2059" fmla="*/ 2923110 h 6661143"/>
              <a:gd name="connsiteX2060" fmla="*/ 8809902 w 12191986"/>
              <a:gd name="connsiteY2060" fmla="*/ 2913585 h 6661143"/>
              <a:gd name="connsiteX2061" fmla="*/ 8825228 w 12191986"/>
              <a:gd name="connsiteY2061" fmla="*/ 2904060 h 6661143"/>
              <a:gd name="connsiteX2062" fmla="*/ 8841082 w 12191986"/>
              <a:gd name="connsiteY2062" fmla="*/ 2896651 h 6661143"/>
              <a:gd name="connsiteX2063" fmla="*/ 8856408 w 12191986"/>
              <a:gd name="connsiteY2063" fmla="*/ 2889772 h 6661143"/>
              <a:gd name="connsiteX2064" fmla="*/ 8871734 w 12191986"/>
              <a:gd name="connsiteY2064" fmla="*/ 2883423 h 6661143"/>
              <a:gd name="connsiteX2065" fmla="*/ 8887060 w 12191986"/>
              <a:gd name="connsiteY2065" fmla="*/ 2878130 h 6661143"/>
              <a:gd name="connsiteX2066" fmla="*/ 8901329 w 12191986"/>
              <a:gd name="connsiteY2066" fmla="*/ 2873897 h 6661143"/>
              <a:gd name="connsiteX2067" fmla="*/ 8915598 w 12191986"/>
              <a:gd name="connsiteY2067" fmla="*/ 2869664 h 6661143"/>
              <a:gd name="connsiteX2068" fmla="*/ 8930396 w 12191986"/>
              <a:gd name="connsiteY2068" fmla="*/ 2865960 h 6661143"/>
              <a:gd name="connsiteX2069" fmla="*/ 8944136 w 12191986"/>
              <a:gd name="connsiteY2069" fmla="*/ 2863843 h 6661143"/>
              <a:gd name="connsiteX2070" fmla="*/ 8956820 w 12191986"/>
              <a:gd name="connsiteY2070" fmla="*/ 2861726 h 6661143"/>
              <a:gd name="connsiteX2071" fmla="*/ 8982715 w 12191986"/>
              <a:gd name="connsiteY2071" fmla="*/ 2858551 h 6661143"/>
              <a:gd name="connsiteX2072" fmla="*/ 8201011 w 12191986"/>
              <a:gd name="connsiteY2072" fmla="*/ 2844793 h 6661143"/>
              <a:gd name="connsiteX2073" fmla="*/ 8213711 w 12191986"/>
              <a:gd name="connsiteY2073" fmla="*/ 2844793 h 6661143"/>
              <a:gd name="connsiteX2074" fmla="*/ 8225353 w 12191986"/>
              <a:gd name="connsiteY2074" fmla="*/ 2845848 h 6661143"/>
              <a:gd name="connsiteX2075" fmla="*/ 8248107 w 12191986"/>
              <a:gd name="connsiteY2075" fmla="*/ 2847430 h 6661143"/>
              <a:gd name="connsiteX2076" fmla="*/ 8268745 w 12191986"/>
              <a:gd name="connsiteY2076" fmla="*/ 2849538 h 6661143"/>
              <a:gd name="connsiteX2077" fmla="*/ 8286207 w 12191986"/>
              <a:gd name="connsiteY2077" fmla="*/ 2852702 h 6661143"/>
              <a:gd name="connsiteX2078" fmla="*/ 8301553 w 12191986"/>
              <a:gd name="connsiteY2078" fmla="*/ 2855866 h 6661143"/>
              <a:gd name="connsiteX2079" fmla="*/ 8323778 w 12191986"/>
              <a:gd name="connsiteY2079" fmla="*/ 2861665 h 6661143"/>
              <a:gd name="connsiteX2080" fmla="*/ 8331186 w 12191986"/>
              <a:gd name="connsiteY2080" fmla="*/ 2864829 h 6661143"/>
              <a:gd name="connsiteX2081" fmla="*/ 8322720 w 12191986"/>
              <a:gd name="connsiteY2081" fmla="*/ 2866938 h 6661143"/>
              <a:gd name="connsiteX2082" fmla="*/ 8314253 w 12191986"/>
              <a:gd name="connsiteY2082" fmla="*/ 2869574 h 6661143"/>
              <a:gd name="connsiteX2083" fmla="*/ 8306845 w 12191986"/>
              <a:gd name="connsiteY2083" fmla="*/ 2873265 h 6661143"/>
              <a:gd name="connsiteX2084" fmla="*/ 8299965 w 12191986"/>
              <a:gd name="connsiteY2084" fmla="*/ 2877483 h 6661143"/>
              <a:gd name="connsiteX2085" fmla="*/ 8293086 w 12191986"/>
              <a:gd name="connsiteY2085" fmla="*/ 2882228 h 6661143"/>
              <a:gd name="connsiteX2086" fmla="*/ 8287795 w 12191986"/>
              <a:gd name="connsiteY2086" fmla="*/ 2887501 h 6661143"/>
              <a:gd name="connsiteX2087" fmla="*/ 8281445 w 12191986"/>
              <a:gd name="connsiteY2087" fmla="*/ 2893828 h 6661143"/>
              <a:gd name="connsiteX2088" fmla="*/ 8277211 w 12191986"/>
              <a:gd name="connsiteY2088" fmla="*/ 2900682 h 6661143"/>
              <a:gd name="connsiteX2089" fmla="*/ 8271920 w 12191986"/>
              <a:gd name="connsiteY2089" fmla="*/ 2908063 h 6661143"/>
              <a:gd name="connsiteX2090" fmla="*/ 8267686 w 12191986"/>
              <a:gd name="connsiteY2090" fmla="*/ 2915444 h 6661143"/>
              <a:gd name="connsiteX2091" fmla="*/ 8263453 w 12191986"/>
              <a:gd name="connsiteY2091" fmla="*/ 2923353 h 6661143"/>
              <a:gd name="connsiteX2092" fmla="*/ 8259749 w 12191986"/>
              <a:gd name="connsiteY2092" fmla="*/ 2931789 h 6661143"/>
              <a:gd name="connsiteX2093" fmla="*/ 8252870 w 12191986"/>
              <a:gd name="connsiteY2093" fmla="*/ 2949716 h 6661143"/>
              <a:gd name="connsiteX2094" fmla="*/ 8245990 w 12191986"/>
              <a:gd name="connsiteY2094" fmla="*/ 2968169 h 6661143"/>
              <a:gd name="connsiteX2095" fmla="*/ 8239111 w 12191986"/>
              <a:gd name="connsiteY2095" fmla="*/ 2987151 h 6661143"/>
              <a:gd name="connsiteX2096" fmla="*/ 8232232 w 12191986"/>
              <a:gd name="connsiteY2096" fmla="*/ 3006131 h 6661143"/>
              <a:gd name="connsiteX2097" fmla="*/ 8225353 w 12191986"/>
              <a:gd name="connsiteY2097" fmla="*/ 3025639 h 6661143"/>
              <a:gd name="connsiteX2098" fmla="*/ 8216886 w 12191986"/>
              <a:gd name="connsiteY2098" fmla="*/ 3044093 h 6661143"/>
              <a:gd name="connsiteX2099" fmla="*/ 8213182 w 12191986"/>
              <a:gd name="connsiteY2099" fmla="*/ 3053055 h 6661143"/>
              <a:gd name="connsiteX2100" fmla="*/ 8207890 w 12191986"/>
              <a:gd name="connsiteY2100" fmla="*/ 3061491 h 6661143"/>
              <a:gd name="connsiteX2101" fmla="*/ 8203128 w 12191986"/>
              <a:gd name="connsiteY2101" fmla="*/ 3069928 h 6661143"/>
              <a:gd name="connsiteX2102" fmla="*/ 8197836 w 12191986"/>
              <a:gd name="connsiteY2102" fmla="*/ 3078364 h 6661143"/>
              <a:gd name="connsiteX2103" fmla="*/ 8191486 w 12191986"/>
              <a:gd name="connsiteY2103" fmla="*/ 3085745 h 6661143"/>
              <a:gd name="connsiteX2104" fmla="*/ 8184607 w 12191986"/>
              <a:gd name="connsiteY2104" fmla="*/ 3092599 h 6661143"/>
              <a:gd name="connsiteX2105" fmla="*/ 8178257 w 12191986"/>
              <a:gd name="connsiteY2105" fmla="*/ 3099454 h 6661143"/>
              <a:gd name="connsiteX2106" fmla="*/ 8171378 w 12191986"/>
              <a:gd name="connsiteY2106" fmla="*/ 3105781 h 6661143"/>
              <a:gd name="connsiteX2107" fmla="*/ 8159207 w 12191986"/>
              <a:gd name="connsiteY2107" fmla="*/ 3113161 h 6661143"/>
              <a:gd name="connsiteX2108" fmla="*/ 8146507 w 12191986"/>
              <a:gd name="connsiteY2108" fmla="*/ 3120017 h 6661143"/>
              <a:gd name="connsiteX2109" fmla="*/ 8133807 w 12191986"/>
              <a:gd name="connsiteY2109" fmla="*/ 3125288 h 6661143"/>
              <a:gd name="connsiteX2110" fmla="*/ 8121107 w 12191986"/>
              <a:gd name="connsiteY2110" fmla="*/ 3130033 h 6661143"/>
              <a:gd name="connsiteX2111" fmla="*/ 8107349 w 12191986"/>
              <a:gd name="connsiteY2111" fmla="*/ 3132671 h 6661143"/>
              <a:gd name="connsiteX2112" fmla="*/ 8094120 w 12191986"/>
              <a:gd name="connsiteY2112" fmla="*/ 3134252 h 6661143"/>
              <a:gd name="connsiteX2113" fmla="*/ 8080361 w 12191986"/>
              <a:gd name="connsiteY2113" fmla="*/ 3135307 h 6661143"/>
              <a:gd name="connsiteX2114" fmla="*/ 8066603 w 12191986"/>
              <a:gd name="connsiteY2114" fmla="*/ 3135307 h 6661143"/>
              <a:gd name="connsiteX2115" fmla="*/ 8053903 w 12191986"/>
              <a:gd name="connsiteY2115" fmla="*/ 3133724 h 6661143"/>
              <a:gd name="connsiteX2116" fmla="*/ 8040674 w 12191986"/>
              <a:gd name="connsiteY2116" fmla="*/ 3130562 h 6661143"/>
              <a:gd name="connsiteX2117" fmla="*/ 8027974 w 12191986"/>
              <a:gd name="connsiteY2117" fmla="*/ 3126871 h 6661143"/>
              <a:gd name="connsiteX2118" fmla="*/ 8015803 w 12191986"/>
              <a:gd name="connsiteY2118" fmla="*/ 3121597 h 6661143"/>
              <a:gd name="connsiteX2119" fmla="*/ 8004161 w 12191986"/>
              <a:gd name="connsiteY2119" fmla="*/ 3115270 h 6661143"/>
              <a:gd name="connsiteX2120" fmla="*/ 7993578 w 12191986"/>
              <a:gd name="connsiteY2120" fmla="*/ 3108418 h 6661143"/>
              <a:gd name="connsiteX2121" fmla="*/ 7983524 w 12191986"/>
              <a:gd name="connsiteY2121" fmla="*/ 3100508 h 6661143"/>
              <a:gd name="connsiteX2122" fmla="*/ 7974528 w 12191986"/>
              <a:gd name="connsiteY2122" fmla="*/ 3090490 h 6661143"/>
              <a:gd name="connsiteX2123" fmla="*/ 7972940 w 12191986"/>
              <a:gd name="connsiteY2123" fmla="*/ 3088909 h 6661143"/>
              <a:gd name="connsiteX2124" fmla="*/ 7971353 w 12191986"/>
              <a:gd name="connsiteY2124" fmla="*/ 3086800 h 6661143"/>
              <a:gd name="connsiteX2125" fmla="*/ 7975057 w 12191986"/>
              <a:gd name="connsiteY2125" fmla="*/ 3076782 h 6661143"/>
              <a:gd name="connsiteX2126" fmla="*/ 7979820 w 12191986"/>
              <a:gd name="connsiteY2126" fmla="*/ 3066765 h 6661143"/>
              <a:gd name="connsiteX2127" fmla="*/ 7985111 w 12191986"/>
              <a:gd name="connsiteY2127" fmla="*/ 3056746 h 6661143"/>
              <a:gd name="connsiteX2128" fmla="*/ 7990403 w 12191986"/>
              <a:gd name="connsiteY2128" fmla="*/ 3047256 h 6661143"/>
              <a:gd name="connsiteX2129" fmla="*/ 7996753 w 12191986"/>
              <a:gd name="connsiteY2129" fmla="*/ 3037239 h 6661143"/>
              <a:gd name="connsiteX2130" fmla="*/ 8002574 w 12191986"/>
              <a:gd name="connsiteY2130" fmla="*/ 3027221 h 6661143"/>
              <a:gd name="connsiteX2131" fmla="*/ 8009453 w 12191986"/>
              <a:gd name="connsiteY2131" fmla="*/ 3017203 h 6661143"/>
              <a:gd name="connsiteX2132" fmla="*/ 8016332 w 12191986"/>
              <a:gd name="connsiteY2132" fmla="*/ 3007713 h 6661143"/>
              <a:gd name="connsiteX2133" fmla="*/ 8024799 w 12191986"/>
              <a:gd name="connsiteY2133" fmla="*/ 2998222 h 6661143"/>
              <a:gd name="connsiteX2134" fmla="*/ 8032207 w 12191986"/>
              <a:gd name="connsiteY2134" fmla="*/ 2989259 h 6661143"/>
              <a:gd name="connsiteX2135" fmla="*/ 8041732 w 12191986"/>
              <a:gd name="connsiteY2135" fmla="*/ 2980296 h 6661143"/>
              <a:gd name="connsiteX2136" fmla="*/ 8050199 w 12191986"/>
              <a:gd name="connsiteY2136" fmla="*/ 2971333 h 6661143"/>
              <a:gd name="connsiteX2137" fmla="*/ 8059724 w 12191986"/>
              <a:gd name="connsiteY2137" fmla="*/ 2961842 h 6661143"/>
              <a:gd name="connsiteX2138" fmla="*/ 8069778 w 12191986"/>
              <a:gd name="connsiteY2138" fmla="*/ 2953406 h 6661143"/>
              <a:gd name="connsiteX2139" fmla="*/ 8079832 w 12191986"/>
              <a:gd name="connsiteY2139" fmla="*/ 2945498 h 6661143"/>
              <a:gd name="connsiteX2140" fmla="*/ 8090945 w 12191986"/>
              <a:gd name="connsiteY2140" fmla="*/ 2937062 h 6661143"/>
              <a:gd name="connsiteX2141" fmla="*/ 8111053 w 12191986"/>
              <a:gd name="connsiteY2141" fmla="*/ 2923353 h 6661143"/>
              <a:gd name="connsiteX2142" fmla="*/ 8131690 w 12191986"/>
              <a:gd name="connsiteY2142" fmla="*/ 2911226 h 6661143"/>
              <a:gd name="connsiteX2143" fmla="*/ 8152857 w 12191986"/>
              <a:gd name="connsiteY2143" fmla="*/ 2900682 h 6661143"/>
              <a:gd name="connsiteX2144" fmla="*/ 8174024 w 12191986"/>
              <a:gd name="connsiteY2144" fmla="*/ 2890664 h 6661143"/>
              <a:gd name="connsiteX2145" fmla="*/ 8195720 w 12191986"/>
              <a:gd name="connsiteY2145" fmla="*/ 2882755 h 6661143"/>
              <a:gd name="connsiteX2146" fmla="*/ 8216886 w 12191986"/>
              <a:gd name="connsiteY2146" fmla="*/ 2875901 h 6661143"/>
              <a:gd name="connsiteX2147" fmla="*/ 8238053 w 12191986"/>
              <a:gd name="connsiteY2147" fmla="*/ 2870628 h 6661143"/>
              <a:gd name="connsiteX2148" fmla="*/ 8260278 w 12191986"/>
              <a:gd name="connsiteY2148" fmla="*/ 2866938 h 6661143"/>
              <a:gd name="connsiteX2149" fmla="*/ 8248107 w 12191986"/>
              <a:gd name="connsiteY2149" fmla="*/ 2867992 h 6661143"/>
              <a:gd name="connsiteX2150" fmla="*/ 8236465 w 12191986"/>
              <a:gd name="connsiteY2150" fmla="*/ 2870101 h 6661143"/>
              <a:gd name="connsiteX2151" fmla="*/ 8224295 w 12191986"/>
              <a:gd name="connsiteY2151" fmla="*/ 2872210 h 6661143"/>
              <a:gd name="connsiteX2152" fmla="*/ 8213182 w 12191986"/>
              <a:gd name="connsiteY2152" fmla="*/ 2874846 h 6661143"/>
              <a:gd name="connsiteX2153" fmla="*/ 8201011 w 12191986"/>
              <a:gd name="connsiteY2153" fmla="*/ 2877483 h 6661143"/>
              <a:gd name="connsiteX2154" fmla="*/ 8189370 w 12191986"/>
              <a:gd name="connsiteY2154" fmla="*/ 2881701 h 6661143"/>
              <a:gd name="connsiteX2155" fmla="*/ 8177199 w 12191986"/>
              <a:gd name="connsiteY2155" fmla="*/ 2885392 h 6661143"/>
              <a:gd name="connsiteX2156" fmla="*/ 8165028 w 12191986"/>
              <a:gd name="connsiteY2156" fmla="*/ 2889082 h 6661143"/>
              <a:gd name="connsiteX2157" fmla="*/ 8153386 w 12191986"/>
              <a:gd name="connsiteY2157" fmla="*/ 2894355 h 6661143"/>
              <a:gd name="connsiteX2158" fmla="*/ 8141215 w 12191986"/>
              <a:gd name="connsiteY2158" fmla="*/ 2899627 h 6661143"/>
              <a:gd name="connsiteX2159" fmla="*/ 8130103 w 12191986"/>
              <a:gd name="connsiteY2159" fmla="*/ 2904899 h 6661143"/>
              <a:gd name="connsiteX2160" fmla="*/ 8118461 w 12191986"/>
              <a:gd name="connsiteY2160" fmla="*/ 2911226 h 6661143"/>
              <a:gd name="connsiteX2161" fmla="*/ 8107349 w 12191986"/>
              <a:gd name="connsiteY2161" fmla="*/ 2917027 h 6661143"/>
              <a:gd name="connsiteX2162" fmla="*/ 8095707 w 12191986"/>
              <a:gd name="connsiteY2162" fmla="*/ 2924935 h 6661143"/>
              <a:gd name="connsiteX2163" fmla="*/ 8084065 w 12191986"/>
              <a:gd name="connsiteY2163" fmla="*/ 2931789 h 6661143"/>
              <a:gd name="connsiteX2164" fmla="*/ 8073482 w 12191986"/>
              <a:gd name="connsiteY2164" fmla="*/ 2940225 h 6661143"/>
              <a:gd name="connsiteX2165" fmla="*/ 8054432 w 12191986"/>
              <a:gd name="connsiteY2165" fmla="*/ 2954461 h 6661143"/>
              <a:gd name="connsiteX2166" fmla="*/ 8036970 w 12191986"/>
              <a:gd name="connsiteY2166" fmla="*/ 2969750 h 6661143"/>
              <a:gd name="connsiteX2167" fmla="*/ 8021095 w 12191986"/>
              <a:gd name="connsiteY2167" fmla="*/ 2985569 h 6661143"/>
              <a:gd name="connsiteX2168" fmla="*/ 8005749 w 12191986"/>
              <a:gd name="connsiteY2168" fmla="*/ 3002440 h 6661143"/>
              <a:gd name="connsiteX2169" fmla="*/ 7993049 w 12191986"/>
              <a:gd name="connsiteY2169" fmla="*/ 3018785 h 6661143"/>
              <a:gd name="connsiteX2170" fmla="*/ 7980878 w 12191986"/>
              <a:gd name="connsiteY2170" fmla="*/ 3036183 h 6661143"/>
              <a:gd name="connsiteX2171" fmla="*/ 7969765 w 12191986"/>
              <a:gd name="connsiteY2171" fmla="*/ 3054111 h 6661143"/>
              <a:gd name="connsiteX2172" fmla="*/ 7960770 w 12191986"/>
              <a:gd name="connsiteY2172" fmla="*/ 3072037 h 6661143"/>
              <a:gd name="connsiteX2173" fmla="*/ 7956007 w 12191986"/>
              <a:gd name="connsiteY2173" fmla="*/ 3062020 h 6661143"/>
              <a:gd name="connsiteX2174" fmla="*/ 7952303 w 12191986"/>
              <a:gd name="connsiteY2174" fmla="*/ 3051474 h 6661143"/>
              <a:gd name="connsiteX2175" fmla="*/ 7949657 w 12191986"/>
              <a:gd name="connsiteY2175" fmla="*/ 3041984 h 6661143"/>
              <a:gd name="connsiteX2176" fmla="*/ 7948070 w 12191986"/>
              <a:gd name="connsiteY2176" fmla="*/ 3030912 h 6661143"/>
              <a:gd name="connsiteX2177" fmla="*/ 7947011 w 12191986"/>
              <a:gd name="connsiteY2177" fmla="*/ 3020367 h 6661143"/>
              <a:gd name="connsiteX2178" fmla="*/ 7947011 w 12191986"/>
              <a:gd name="connsiteY2178" fmla="*/ 3009822 h 6661143"/>
              <a:gd name="connsiteX2179" fmla="*/ 7948599 w 12191986"/>
              <a:gd name="connsiteY2179" fmla="*/ 2999276 h 6661143"/>
              <a:gd name="connsiteX2180" fmla="*/ 7950715 w 12191986"/>
              <a:gd name="connsiteY2180" fmla="*/ 2988732 h 6661143"/>
              <a:gd name="connsiteX2181" fmla="*/ 7953890 w 12191986"/>
              <a:gd name="connsiteY2181" fmla="*/ 2978186 h 6661143"/>
              <a:gd name="connsiteX2182" fmla="*/ 7958653 w 12191986"/>
              <a:gd name="connsiteY2182" fmla="*/ 2967115 h 6661143"/>
              <a:gd name="connsiteX2183" fmla="*/ 7962886 w 12191986"/>
              <a:gd name="connsiteY2183" fmla="*/ 2957624 h 6661143"/>
              <a:gd name="connsiteX2184" fmla="*/ 7969236 w 12191986"/>
              <a:gd name="connsiteY2184" fmla="*/ 2947607 h 6661143"/>
              <a:gd name="connsiteX2185" fmla="*/ 7976645 w 12191986"/>
              <a:gd name="connsiteY2185" fmla="*/ 2938643 h 6661143"/>
              <a:gd name="connsiteX2186" fmla="*/ 7984582 w 12191986"/>
              <a:gd name="connsiteY2186" fmla="*/ 2929153 h 6661143"/>
              <a:gd name="connsiteX2187" fmla="*/ 7993578 w 12191986"/>
              <a:gd name="connsiteY2187" fmla="*/ 2920717 h 6661143"/>
              <a:gd name="connsiteX2188" fmla="*/ 8003632 w 12191986"/>
              <a:gd name="connsiteY2188" fmla="*/ 2912809 h 6661143"/>
              <a:gd name="connsiteX2189" fmla="*/ 8017920 w 12191986"/>
              <a:gd name="connsiteY2189" fmla="*/ 2902791 h 6661143"/>
              <a:gd name="connsiteX2190" fmla="*/ 8032207 w 12191986"/>
              <a:gd name="connsiteY2190" fmla="*/ 2892772 h 6661143"/>
              <a:gd name="connsiteX2191" fmla="*/ 8047024 w 12191986"/>
              <a:gd name="connsiteY2191" fmla="*/ 2885392 h 6661143"/>
              <a:gd name="connsiteX2192" fmla="*/ 8062370 w 12191986"/>
              <a:gd name="connsiteY2192" fmla="*/ 2877483 h 6661143"/>
              <a:gd name="connsiteX2193" fmla="*/ 8076657 w 12191986"/>
              <a:gd name="connsiteY2193" fmla="*/ 2870628 h 6661143"/>
              <a:gd name="connsiteX2194" fmla="*/ 8090945 w 12191986"/>
              <a:gd name="connsiteY2194" fmla="*/ 2865356 h 6661143"/>
              <a:gd name="connsiteX2195" fmla="*/ 8105761 w 12191986"/>
              <a:gd name="connsiteY2195" fmla="*/ 2861138 h 6661143"/>
              <a:gd name="connsiteX2196" fmla="*/ 8120049 w 12191986"/>
              <a:gd name="connsiteY2196" fmla="*/ 2856393 h 6661143"/>
              <a:gd name="connsiteX2197" fmla="*/ 8133807 w 12191986"/>
              <a:gd name="connsiteY2197" fmla="*/ 2853229 h 6661143"/>
              <a:gd name="connsiteX2198" fmla="*/ 8148095 w 12191986"/>
              <a:gd name="connsiteY2198" fmla="*/ 2850594 h 6661143"/>
              <a:gd name="connsiteX2199" fmla="*/ 8161853 w 12191986"/>
              <a:gd name="connsiteY2199" fmla="*/ 2847957 h 6661143"/>
              <a:gd name="connsiteX2200" fmla="*/ 8175082 w 12191986"/>
              <a:gd name="connsiteY2200" fmla="*/ 2846376 h 6661143"/>
              <a:gd name="connsiteX2201" fmla="*/ 8188840 w 12191986"/>
              <a:gd name="connsiteY2201" fmla="*/ 2845848 h 6661143"/>
              <a:gd name="connsiteX2202" fmla="*/ 3413665 w 12191986"/>
              <a:gd name="connsiteY2202" fmla="*/ 2817809 h 6661143"/>
              <a:gd name="connsiteX2203" fmla="*/ 3418906 w 12191986"/>
              <a:gd name="connsiteY2203" fmla="*/ 2817809 h 6661143"/>
              <a:gd name="connsiteX2204" fmla="*/ 3424147 w 12191986"/>
              <a:gd name="connsiteY2204" fmla="*/ 2818873 h 6661143"/>
              <a:gd name="connsiteX2205" fmla="*/ 3429387 w 12191986"/>
              <a:gd name="connsiteY2205" fmla="*/ 2819404 h 6661143"/>
              <a:gd name="connsiteX2206" fmla="*/ 3435153 w 12191986"/>
              <a:gd name="connsiteY2206" fmla="*/ 2822063 h 6661143"/>
              <a:gd name="connsiteX2207" fmla="*/ 3439345 w 12191986"/>
              <a:gd name="connsiteY2207" fmla="*/ 2823658 h 6661143"/>
              <a:gd name="connsiteX2208" fmla="*/ 3444063 w 12191986"/>
              <a:gd name="connsiteY2208" fmla="*/ 2826317 h 6661143"/>
              <a:gd name="connsiteX2209" fmla="*/ 3448255 w 12191986"/>
              <a:gd name="connsiteY2209" fmla="*/ 2829507 h 6661143"/>
              <a:gd name="connsiteX2210" fmla="*/ 3452972 w 12191986"/>
              <a:gd name="connsiteY2210" fmla="*/ 2833228 h 6661143"/>
              <a:gd name="connsiteX2211" fmla="*/ 3456641 w 12191986"/>
              <a:gd name="connsiteY2211" fmla="*/ 2836950 h 6661143"/>
              <a:gd name="connsiteX2212" fmla="*/ 3460310 w 12191986"/>
              <a:gd name="connsiteY2212" fmla="*/ 2841736 h 6661143"/>
              <a:gd name="connsiteX2213" fmla="*/ 3463455 w 12191986"/>
              <a:gd name="connsiteY2213" fmla="*/ 2846522 h 6661143"/>
              <a:gd name="connsiteX2214" fmla="*/ 3466075 w 12191986"/>
              <a:gd name="connsiteY2214" fmla="*/ 2850775 h 6661143"/>
              <a:gd name="connsiteX2215" fmla="*/ 3467123 w 12191986"/>
              <a:gd name="connsiteY2215" fmla="*/ 2856092 h 6661143"/>
              <a:gd name="connsiteX2216" fmla="*/ 3468696 w 12191986"/>
              <a:gd name="connsiteY2216" fmla="*/ 2860878 h 6661143"/>
              <a:gd name="connsiteX2217" fmla="*/ 3470268 w 12191986"/>
              <a:gd name="connsiteY2217" fmla="*/ 2866195 h 6661143"/>
              <a:gd name="connsiteX2218" fmla="*/ 3470268 w 12191986"/>
              <a:gd name="connsiteY2218" fmla="*/ 2871512 h 6661143"/>
              <a:gd name="connsiteX2219" fmla="*/ 3470268 w 12191986"/>
              <a:gd name="connsiteY2219" fmla="*/ 2876828 h 6661143"/>
              <a:gd name="connsiteX2220" fmla="*/ 3469745 w 12191986"/>
              <a:gd name="connsiteY2220" fmla="*/ 2882145 h 6661143"/>
              <a:gd name="connsiteX2221" fmla="*/ 3468696 w 12191986"/>
              <a:gd name="connsiteY2221" fmla="*/ 2887994 h 6661143"/>
              <a:gd name="connsiteX2222" fmla="*/ 3467123 w 12191986"/>
              <a:gd name="connsiteY2222" fmla="*/ 2893311 h 6661143"/>
              <a:gd name="connsiteX2223" fmla="*/ 3465027 w 12191986"/>
              <a:gd name="connsiteY2223" fmla="*/ 2897565 h 6661143"/>
              <a:gd name="connsiteX2224" fmla="*/ 3462931 w 12191986"/>
              <a:gd name="connsiteY2224" fmla="*/ 2902349 h 6661143"/>
              <a:gd name="connsiteX2225" fmla="*/ 3459261 w 12191986"/>
              <a:gd name="connsiteY2225" fmla="*/ 2907135 h 6661143"/>
              <a:gd name="connsiteX2226" fmla="*/ 3456117 w 12191986"/>
              <a:gd name="connsiteY2226" fmla="*/ 2911389 h 6661143"/>
              <a:gd name="connsiteX2227" fmla="*/ 3451400 w 12191986"/>
              <a:gd name="connsiteY2227" fmla="*/ 2915110 h 6661143"/>
              <a:gd name="connsiteX2228" fmla="*/ 3447731 w 12191986"/>
              <a:gd name="connsiteY2228" fmla="*/ 2919364 h 6661143"/>
              <a:gd name="connsiteX2229" fmla="*/ 3443014 w 12191986"/>
              <a:gd name="connsiteY2229" fmla="*/ 2922022 h 6661143"/>
              <a:gd name="connsiteX2230" fmla="*/ 3437773 w 12191986"/>
              <a:gd name="connsiteY2230" fmla="*/ 2924681 h 6661143"/>
              <a:gd name="connsiteX2231" fmla="*/ 3433581 w 12191986"/>
              <a:gd name="connsiteY2231" fmla="*/ 2926276 h 6661143"/>
              <a:gd name="connsiteX2232" fmla="*/ 3428340 w 12191986"/>
              <a:gd name="connsiteY2232" fmla="*/ 2927339 h 6661143"/>
              <a:gd name="connsiteX2233" fmla="*/ 3422574 w 12191986"/>
              <a:gd name="connsiteY2233" fmla="*/ 2928935 h 6661143"/>
              <a:gd name="connsiteX2234" fmla="*/ 3417333 w 12191986"/>
              <a:gd name="connsiteY2234" fmla="*/ 2928935 h 6661143"/>
              <a:gd name="connsiteX2235" fmla="*/ 3412092 w 12191986"/>
              <a:gd name="connsiteY2235" fmla="*/ 2928935 h 6661143"/>
              <a:gd name="connsiteX2236" fmla="*/ 3406852 w 12191986"/>
              <a:gd name="connsiteY2236" fmla="*/ 2928403 h 6661143"/>
              <a:gd name="connsiteX2237" fmla="*/ 3402659 w 12191986"/>
              <a:gd name="connsiteY2237" fmla="*/ 2927339 h 6661143"/>
              <a:gd name="connsiteX2238" fmla="*/ 3397417 w 12191986"/>
              <a:gd name="connsiteY2238" fmla="*/ 2926276 h 6661143"/>
              <a:gd name="connsiteX2239" fmla="*/ 3391652 w 12191986"/>
              <a:gd name="connsiteY2239" fmla="*/ 2923617 h 6661143"/>
              <a:gd name="connsiteX2240" fmla="*/ 3387459 w 12191986"/>
              <a:gd name="connsiteY2240" fmla="*/ 2921491 h 6661143"/>
              <a:gd name="connsiteX2241" fmla="*/ 3382742 w 12191986"/>
              <a:gd name="connsiteY2241" fmla="*/ 2917769 h 6661143"/>
              <a:gd name="connsiteX2242" fmla="*/ 3378549 w 12191986"/>
              <a:gd name="connsiteY2242" fmla="*/ 2914579 h 6661143"/>
              <a:gd name="connsiteX2243" fmla="*/ 3374356 w 12191986"/>
              <a:gd name="connsiteY2243" fmla="*/ 2909792 h 6661143"/>
              <a:gd name="connsiteX2244" fmla="*/ 3371736 w 12191986"/>
              <a:gd name="connsiteY2244" fmla="*/ 2906071 h 6661143"/>
              <a:gd name="connsiteX2245" fmla="*/ 3368591 w 12191986"/>
              <a:gd name="connsiteY2245" fmla="*/ 2901287 h 6661143"/>
              <a:gd name="connsiteX2246" fmla="*/ 3365970 w 12191986"/>
              <a:gd name="connsiteY2246" fmla="*/ 2895970 h 6661143"/>
              <a:gd name="connsiteX2247" fmla="*/ 3363874 w 12191986"/>
              <a:gd name="connsiteY2247" fmla="*/ 2891714 h 6661143"/>
              <a:gd name="connsiteX2248" fmla="*/ 3362302 w 12191986"/>
              <a:gd name="connsiteY2248" fmla="*/ 2886398 h 6661143"/>
              <a:gd name="connsiteX2249" fmla="*/ 3361778 w 12191986"/>
              <a:gd name="connsiteY2249" fmla="*/ 2881081 h 6661143"/>
              <a:gd name="connsiteX2250" fmla="*/ 3360730 w 12191986"/>
              <a:gd name="connsiteY2250" fmla="*/ 2875234 h 6661143"/>
              <a:gd name="connsiteX2251" fmla="*/ 3360730 w 12191986"/>
              <a:gd name="connsiteY2251" fmla="*/ 2869917 h 6661143"/>
              <a:gd name="connsiteX2252" fmla="*/ 3361778 w 12191986"/>
              <a:gd name="connsiteY2252" fmla="*/ 2864599 h 6661143"/>
              <a:gd name="connsiteX2253" fmla="*/ 3362302 w 12191986"/>
              <a:gd name="connsiteY2253" fmla="*/ 2860345 h 6661143"/>
              <a:gd name="connsiteX2254" fmla="*/ 3364922 w 12191986"/>
              <a:gd name="connsiteY2254" fmla="*/ 2855028 h 6661143"/>
              <a:gd name="connsiteX2255" fmla="*/ 3365970 w 12191986"/>
              <a:gd name="connsiteY2255" fmla="*/ 2849711 h 6661143"/>
              <a:gd name="connsiteX2256" fmla="*/ 3369115 w 12191986"/>
              <a:gd name="connsiteY2256" fmla="*/ 2844926 h 6661143"/>
              <a:gd name="connsiteX2257" fmla="*/ 3372260 w 12191986"/>
              <a:gd name="connsiteY2257" fmla="*/ 2840141 h 6661143"/>
              <a:gd name="connsiteX2258" fmla="*/ 3375929 w 12191986"/>
              <a:gd name="connsiteY2258" fmla="*/ 2835887 h 6661143"/>
              <a:gd name="connsiteX2259" fmla="*/ 3379598 w 12191986"/>
              <a:gd name="connsiteY2259" fmla="*/ 2831633 h 6661143"/>
              <a:gd name="connsiteX2260" fmla="*/ 3384314 w 12191986"/>
              <a:gd name="connsiteY2260" fmla="*/ 2828975 h 6661143"/>
              <a:gd name="connsiteX2261" fmla="*/ 3389032 w 12191986"/>
              <a:gd name="connsiteY2261" fmla="*/ 2825785 h 6661143"/>
              <a:gd name="connsiteX2262" fmla="*/ 3393225 w 12191986"/>
              <a:gd name="connsiteY2262" fmla="*/ 2823658 h 6661143"/>
              <a:gd name="connsiteX2263" fmla="*/ 3398466 w 12191986"/>
              <a:gd name="connsiteY2263" fmla="*/ 2821000 h 6661143"/>
              <a:gd name="connsiteX2264" fmla="*/ 3403182 w 12191986"/>
              <a:gd name="connsiteY2264" fmla="*/ 2819404 h 6661143"/>
              <a:gd name="connsiteX2265" fmla="*/ 3408423 w 12191986"/>
              <a:gd name="connsiteY2265" fmla="*/ 2818873 h 6661143"/>
              <a:gd name="connsiteX2266" fmla="*/ 3216268 w 12191986"/>
              <a:gd name="connsiteY2266" fmla="*/ 2771771 h 6661143"/>
              <a:gd name="connsiteX2267" fmla="*/ 3222618 w 12191986"/>
              <a:gd name="connsiteY2267" fmla="*/ 2771771 h 6661143"/>
              <a:gd name="connsiteX2268" fmla="*/ 3227909 w 12191986"/>
              <a:gd name="connsiteY2268" fmla="*/ 2771771 h 6661143"/>
              <a:gd name="connsiteX2269" fmla="*/ 3233201 w 12191986"/>
              <a:gd name="connsiteY2269" fmla="*/ 2772300 h 6661143"/>
              <a:gd name="connsiteX2270" fmla="*/ 3238493 w 12191986"/>
              <a:gd name="connsiteY2270" fmla="*/ 2772829 h 6661143"/>
              <a:gd name="connsiteX2271" fmla="*/ 3243784 w 12191986"/>
              <a:gd name="connsiteY2271" fmla="*/ 2774418 h 6661143"/>
              <a:gd name="connsiteX2272" fmla="*/ 3249076 w 12191986"/>
              <a:gd name="connsiteY2272" fmla="*/ 2777063 h 6661143"/>
              <a:gd name="connsiteX2273" fmla="*/ 3253838 w 12191986"/>
              <a:gd name="connsiteY2273" fmla="*/ 2779709 h 6661143"/>
              <a:gd name="connsiteX2274" fmla="*/ 3258071 w 12191986"/>
              <a:gd name="connsiteY2274" fmla="*/ 2782884 h 6661143"/>
              <a:gd name="connsiteX2275" fmla="*/ 3262834 w 12191986"/>
              <a:gd name="connsiteY2275" fmla="*/ 2786587 h 6661143"/>
              <a:gd name="connsiteX2276" fmla="*/ 3267597 w 12191986"/>
              <a:gd name="connsiteY2276" fmla="*/ 2790821 h 6661143"/>
              <a:gd name="connsiteX2277" fmla="*/ 3270242 w 12191986"/>
              <a:gd name="connsiteY2277" fmla="*/ 2795055 h 6661143"/>
              <a:gd name="connsiteX2278" fmla="*/ 3273418 w 12191986"/>
              <a:gd name="connsiteY2278" fmla="*/ 2800347 h 6661143"/>
              <a:gd name="connsiteX2279" fmla="*/ 3276592 w 12191986"/>
              <a:gd name="connsiteY2279" fmla="*/ 2805109 h 6661143"/>
              <a:gd name="connsiteX2280" fmla="*/ 3278180 w 12191986"/>
              <a:gd name="connsiteY2280" fmla="*/ 2810401 h 6661143"/>
              <a:gd name="connsiteX2281" fmla="*/ 3279768 w 12191986"/>
              <a:gd name="connsiteY2281" fmla="*/ 2815693 h 6661143"/>
              <a:gd name="connsiteX2282" fmla="*/ 3281355 w 12191986"/>
              <a:gd name="connsiteY2282" fmla="*/ 2820984 h 6661143"/>
              <a:gd name="connsiteX2283" fmla="*/ 3281355 w 12191986"/>
              <a:gd name="connsiteY2283" fmla="*/ 2826276 h 6661143"/>
              <a:gd name="connsiteX2284" fmla="*/ 3281355 w 12191986"/>
              <a:gd name="connsiteY2284" fmla="*/ 2831567 h 6661143"/>
              <a:gd name="connsiteX2285" fmla="*/ 3280297 w 12191986"/>
              <a:gd name="connsiteY2285" fmla="*/ 2836859 h 6661143"/>
              <a:gd name="connsiteX2286" fmla="*/ 3279768 w 12191986"/>
              <a:gd name="connsiteY2286" fmla="*/ 2842680 h 6661143"/>
              <a:gd name="connsiteX2287" fmla="*/ 3278180 w 12191986"/>
              <a:gd name="connsiteY2287" fmla="*/ 2847972 h 6661143"/>
              <a:gd name="connsiteX2288" fmla="*/ 3276063 w 12191986"/>
              <a:gd name="connsiteY2288" fmla="*/ 2853264 h 6661143"/>
              <a:gd name="connsiteX2289" fmla="*/ 3272888 w 12191986"/>
              <a:gd name="connsiteY2289" fmla="*/ 2858556 h 6661143"/>
              <a:gd name="connsiteX2290" fmla="*/ 3269713 w 12191986"/>
              <a:gd name="connsiteY2290" fmla="*/ 2862789 h 6661143"/>
              <a:gd name="connsiteX2291" fmla="*/ 3266009 w 12191986"/>
              <a:gd name="connsiteY2291" fmla="*/ 2867551 h 6661143"/>
              <a:gd name="connsiteX2292" fmla="*/ 3262305 w 12191986"/>
              <a:gd name="connsiteY2292" fmla="*/ 2871256 h 6661143"/>
              <a:gd name="connsiteX2293" fmla="*/ 3257543 w 12191986"/>
              <a:gd name="connsiteY2293" fmla="*/ 2874959 h 6661143"/>
              <a:gd name="connsiteX2294" fmla="*/ 3252251 w 12191986"/>
              <a:gd name="connsiteY2294" fmla="*/ 2878135 h 6661143"/>
              <a:gd name="connsiteX2295" fmla="*/ 3247488 w 12191986"/>
              <a:gd name="connsiteY2295" fmla="*/ 2880780 h 6661143"/>
              <a:gd name="connsiteX2296" fmla="*/ 3242196 w 12191986"/>
              <a:gd name="connsiteY2296" fmla="*/ 2882896 h 6661143"/>
              <a:gd name="connsiteX2297" fmla="*/ 3236905 w 12191986"/>
              <a:gd name="connsiteY2297" fmla="*/ 2884483 h 6661143"/>
              <a:gd name="connsiteX2298" fmla="*/ 3231613 w 12191986"/>
              <a:gd name="connsiteY2298" fmla="*/ 2885013 h 6661143"/>
              <a:gd name="connsiteX2299" fmla="*/ 3226322 w 12191986"/>
              <a:gd name="connsiteY2299" fmla="*/ 2886072 h 6661143"/>
              <a:gd name="connsiteX2300" fmla="*/ 3221030 w 12191986"/>
              <a:gd name="connsiteY2300" fmla="*/ 2885013 h 6661143"/>
              <a:gd name="connsiteX2301" fmla="*/ 3215738 w 12191986"/>
              <a:gd name="connsiteY2301" fmla="*/ 2885013 h 6661143"/>
              <a:gd name="connsiteX2302" fmla="*/ 3210447 w 12191986"/>
              <a:gd name="connsiteY2302" fmla="*/ 2883426 h 6661143"/>
              <a:gd name="connsiteX2303" fmla="*/ 3205155 w 12191986"/>
              <a:gd name="connsiteY2303" fmla="*/ 2881838 h 6661143"/>
              <a:gd name="connsiteX2304" fmla="*/ 3199863 w 12191986"/>
              <a:gd name="connsiteY2304" fmla="*/ 2879721 h 6661143"/>
              <a:gd name="connsiteX2305" fmla="*/ 3194042 w 12191986"/>
              <a:gd name="connsiteY2305" fmla="*/ 2877605 h 6661143"/>
              <a:gd name="connsiteX2306" fmla="*/ 3189809 w 12191986"/>
              <a:gd name="connsiteY2306" fmla="*/ 2873902 h 6661143"/>
              <a:gd name="connsiteX2307" fmla="*/ 3185047 w 12191986"/>
              <a:gd name="connsiteY2307" fmla="*/ 2869668 h 6661143"/>
              <a:gd name="connsiteX2308" fmla="*/ 3181343 w 12191986"/>
              <a:gd name="connsiteY2308" fmla="*/ 2865964 h 6661143"/>
              <a:gd name="connsiteX2309" fmla="*/ 3177638 w 12191986"/>
              <a:gd name="connsiteY2309" fmla="*/ 2861730 h 6661143"/>
              <a:gd name="connsiteX2310" fmla="*/ 3174463 w 12191986"/>
              <a:gd name="connsiteY2310" fmla="*/ 2856968 h 6661143"/>
              <a:gd name="connsiteX2311" fmla="*/ 3172347 w 12191986"/>
              <a:gd name="connsiteY2311" fmla="*/ 2851677 h 6661143"/>
              <a:gd name="connsiteX2312" fmla="*/ 3169700 w 12191986"/>
              <a:gd name="connsiteY2312" fmla="*/ 2846913 h 6661143"/>
              <a:gd name="connsiteX2313" fmla="*/ 3168642 w 12191986"/>
              <a:gd name="connsiteY2313" fmla="*/ 2841622 h 6661143"/>
              <a:gd name="connsiteX2314" fmla="*/ 3167584 w 12191986"/>
              <a:gd name="connsiteY2314" fmla="*/ 2836330 h 6661143"/>
              <a:gd name="connsiteX2315" fmla="*/ 3167055 w 12191986"/>
              <a:gd name="connsiteY2315" fmla="*/ 2829980 h 6661143"/>
              <a:gd name="connsiteX2316" fmla="*/ 3167584 w 12191986"/>
              <a:gd name="connsiteY2316" fmla="*/ 2824688 h 6661143"/>
              <a:gd name="connsiteX2317" fmla="*/ 3167584 w 12191986"/>
              <a:gd name="connsiteY2317" fmla="*/ 2819397 h 6661143"/>
              <a:gd name="connsiteX2318" fmla="*/ 3169172 w 12191986"/>
              <a:gd name="connsiteY2318" fmla="*/ 2814105 h 6661143"/>
              <a:gd name="connsiteX2319" fmla="*/ 3170759 w 12191986"/>
              <a:gd name="connsiteY2319" fmla="*/ 2808813 h 6661143"/>
              <a:gd name="connsiteX2320" fmla="*/ 3172876 w 12191986"/>
              <a:gd name="connsiteY2320" fmla="*/ 2803521 h 6661143"/>
              <a:gd name="connsiteX2321" fmla="*/ 3174992 w 12191986"/>
              <a:gd name="connsiteY2321" fmla="*/ 2798759 h 6661143"/>
              <a:gd name="connsiteX2322" fmla="*/ 3179226 w 12191986"/>
              <a:gd name="connsiteY2322" fmla="*/ 2794526 h 6661143"/>
              <a:gd name="connsiteX2323" fmla="*/ 3182930 w 12191986"/>
              <a:gd name="connsiteY2323" fmla="*/ 2789763 h 6661143"/>
              <a:gd name="connsiteX2324" fmla="*/ 3186634 w 12191986"/>
              <a:gd name="connsiteY2324" fmla="*/ 2785000 h 6661143"/>
              <a:gd name="connsiteX2325" fmla="*/ 3191397 w 12191986"/>
              <a:gd name="connsiteY2325" fmla="*/ 2782355 h 6661143"/>
              <a:gd name="connsiteX2326" fmla="*/ 3195630 w 12191986"/>
              <a:gd name="connsiteY2326" fmla="*/ 2779180 h 6661143"/>
              <a:gd name="connsiteX2327" fmla="*/ 3200921 w 12191986"/>
              <a:gd name="connsiteY2327" fmla="*/ 2776004 h 6661143"/>
              <a:gd name="connsiteX2328" fmla="*/ 3205684 w 12191986"/>
              <a:gd name="connsiteY2328" fmla="*/ 2774418 h 6661143"/>
              <a:gd name="connsiteX2329" fmla="*/ 3210975 w 12191986"/>
              <a:gd name="connsiteY2329" fmla="*/ 2772829 h 6661143"/>
              <a:gd name="connsiteX2330" fmla="*/ 3040846 w 12191986"/>
              <a:gd name="connsiteY2330" fmla="*/ 2647946 h 6661143"/>
              <a:gd name="connsiteX2331" fmla="*/ 3047140 w 12191986"/>
              <a:gd name="connsiteY2331" fmla="*/ 2648472 h 6661143"/>
              <a:gd name="connsiteX2332" fmla="*/ 3052384 w 12191986"/>
              <a:gd name="connsiteY2332" fmla="*/ 2650056 h 6661143"/>
              <a:gd name="connsiteX2333" fmla="*/ 3056581 w 12191986"/>
              <a:gd name="connsiteY2333" fmla="*/ 2653226 h 6661143"/>
              <a:gd name="connsiteX2334" fmla="*/ 3061301 w 12191986"/>
              <a:gd name="connsiteY2334" fmla="*/ 2656396 h 6661143"/>
              <a:gd name="connsiteX2335" fmla="*/ 3064971 w 12191986"/>
              <a:gd name="connsiteY2335" fmla="*/ 2660621 h 6661143"/>
              <a:gd name="connsiteX2336" fmla="*/ 3068119 w 12191986"/>
              <a:gd name="connsiteY2336" fmla="*/ 2665901 h 6661143"/>
              <a:gd name="connsiteX2337" fmla="*/ 3069691 w 12191986"/>
              <a:gd name="connsiteY2337" fmla="*/ 2671182 h 6661143"/>
              <a:gd name="connsiteX2338" fmla="*/ 3070216 w 12191986"/>
              <a:gd name="connsiteY2338" fmla="*/ 2677521 h 6661143"/>
              <a:gd name="connsiteX2339" fmla="*/ 3070216 w 12191986"/>
              <a:gd name="connsiteY2339" fmla="*/ 2885071 h 6661143"/>
              <a:gd name="connsiteX2340" fmla="*/ 3069691 w 12191986"/>
              <a:gd name="connsiteY2340" fmla="*/ 2891409 h 6661143"/>
              <a:gd name="connsiteX2341" fmla="*/ 3068119 w 12191986"/>
              <a:gd name="connsiteY2341" fmla="*/ 2896688 h 6661143"/>
              <a:gd name="connsiteX2342" fmla="*/ 3064971 w 12191986"/>
              <a:gd name="connsiteY2342" fmla="*/ 2901971 h 6661143"/>
              <a:gd name="connsiteX2343" fmla="*/ 3061301 w 12191986"/>
              <a:gd name="connsiteY2343" fmla="*/ 2906724 h 6661143"/>
              <a:gd name="connsiteX2344" fmla="*/ 3056581 w 12191986"/>
              <a:gd name="connsiteY2344" fmla="*/ 2909363 h 6661143"/>
              <a:gd name="connsiteX2345" fmla="*/ 3052384 w 12191986"/>
              <a:gd name="connsiteY2345" fmla="*/ 2912533 h 6661143"/>
              <a:gd name="connsiteX2346" fmla="*/ 3047140 w 12191986"/>
              <a:gd name="connsiteY2346" fmla="*/ 2914117 h 6661143"/>
              <a:gd name="connsiteX2347" fmla="*/ 3040846 w 12191986"/>
              <a:gd name="connsiteY2347" fmla="*/ 2914645 h 6661143"/>
              <a:gd name="connsiteX2348" fmla="*/ 3035077 w 12191986"/>
              <a:gd name="connsiteY2348" fmla="*/ 2914117 h 6661143"/>
              <a:gd name="connsiteX2349" fmla="*/ 3029310 w 12191986"/>
              <a:gd name="connsiteY2349" fmla="*/ 2912533 h 6661143"/>
              <a:gd name="connsiteX2350" fmla="*/ 3024065 w 12191986"/>
              <a:gd name="connsiteY2350" fmla="*/ 2909363 h 6661143"/>
              <a:gd name="connsiteX2351" fmla="*/ 3019870 w 12191986"/>
              <a:gd name="connsiteY2351" fmla="*/ 2906724 h 6661143"/>
              <a:gd name="connsiteX2352" fmla="*/ 3016723 w 12191986"/>
              <a:gd name="connsiteY2352" fmla="*/ 2901971 h 6661143"/>
              <a:gd name="connsiteX2353" fmla="*/ 3013575 w 12191986"/>
              <a:gd name="connsiteY2353" fmla="*/ 2896688 h 6661143"/>
              <a:gd name="connsiteX2354" fmla="*/ 3012003 w 12191986"/>
              <a:gd name="connsiteY2354" fmla="*/ 2891409 h 6661143"/>
              <a:gd name="connsiteX2355" fmla="*/ 3011478 w 12191986"/>
              <a:gd name="connsiteY2355" fmla="*/ 2885071 h 6661143"/>
              <a:gd name="connsiteX2356" fmla="*/ 3011478 w 12191986"/>
              <a:gd name="connsiteY2356" fmla="*/ 2677521 h 6661143"/>
              <a:gd name="connsiteX2357" fmla="*/ 3012003 w 12191986"/>
              <a:gd name="connsiteY2357" fmla="*/ 2671182 h 6661143"/>
              <a:gd name="connsiteX2358" fmla="*/ 3013575 w 12191986"/>
              <a:gd name="connsiteY2358" fmla="*/ 2665901 h 6661143"/>
              <a:gd name="connsiteX2359" fmla="*/ 3016723 w 12191986"/>
              <a:gd name="connsiteY2359" fmla="*/ 2660621 h 6661143"/>
              <a:gd name="connsiteX2360" fmla="*/ 3019870 w 12191986"/>
              <a:gd name="connsiteY2360" fmla="*/ 2656396 h 6661143"/>
              <a:gd name="connsiteX2361" fmla="*/ 3024065 w 12191986"/>
              <a:gd name="connsiteY2361" fmla="*/ 2653226 h 6661143"/>
              <a:gd name="connsiteX2362" fmla="*/ 3029310 w 12191986"/>
              <a:gd name="connsiteY2362" fmla="*/ 2650056 h 6661143"/>
              <a:gd name="connsiteX2363" fmla="*/ 3035077 w 12191986"/>
              <a:gd name="connsiteY2363" fmla="*/ 2648472 h 6661143"/>
              <a:gd name="connsiteX2364" fmla="*/ 2320916 w 12191986"/>
              <a:gd name="connsiteY2364" fmla="*/ 2589208 h 6661143"/>
              <a:gd name="connsiteX2365" fmla="*/ 2963324 w 12191986"/>
              <a:gd name="connsiteY2365" fmla="*/ 2673992 h 6661143"/>
              <a:gd name="connsiteX2366" fmla="*/ 2970204 w 12191986"/>
              <a:gd name="connsiteY2366" fmla="*/ 2675052 h 6661143"/>
              <a:gd name="connsiteX2367" fmla="*/ 2976553 w 12191986"/>
              <a:gd name="connsiteY2367" fmla="*/ 2677171 h 6661143"/>
              <a:gd name="connsiteX2368" fmla="*/ 2982375 w 12191986"/>
              <a:gd name="connsiteY2368" fmla="*/ 2680351 h 6661143"/>
              <a:gd name="connsiteX2369" fmla="*/ 2987137 w 12191986"/>
              <a:gd name="connsiteY2369" fmla="*/ 2684059 h 6661143"/>
              <a:gd name="connsiteX2370" fmla="*/ 2991370 w 12191986"/>
              <a:gd name="connsiteY2370" fmla="*/ 2689359 h 6661143"/>
              <a:gd name="connsiteX2371" fmla="*/ 2994545 w 12191986"/>
              <a:gd name="connsiteY2371" fmla="*/ 2694657 h 6661143"/>
              <a:gd name="connsiteX2372" fmla="*/ 2997191 w 12191986"/>
              <a:gd name="connsiteY2372" fmla="*/ 2701017 h 6661143"/>
              <a:gd name="connsiteX2373" fmla="*/ 2997191 w 12191986"/>
              <a:gd name="connsiteY2373" fmla="*/ 2707906 h 6661143"/>
              <a:gd name="connsiteX2374" fmla="*/ 2997191 w 12191986"/>
              <a:gd name="connsiteY2374" fmla="*/ 2855216 h 6661143"/>
              <a:gd name="connsiteX2375" fmla="*/ 2997191 w 12191986"/>
              <a:gd name="connsiteY2375" fmla="*/ 2862105 h 6661143"/>
              <a:gd name="connsiteX2376" fmla="*/ 2994545 w 12191986"/>
              <a:gd name="connsiteY2376" fmla="*/ 2867934 h 6661143"/>
              <a:gd name="connsiteX2377" fmla="*/ 2991370 w 12191986"/>
              <a:gd name="connsiteY2377" fmla="*/ 2873233 h 6661143"/>
              <a:gd name="connsiteX2378" fmla="*/ 2987137 w 12191986"/>
              <a:gd name="connsiteY2378" fmla="*/ 2878532 h 6661143"/>
              <a:gd name="connsiteX2379" fmla="*/ 2982375 w 12191986"/>
              <a:gd name="connsiteY2379" fmla="*/ 2882241 h 6661143"/>
              <a:gd name="connsiteX2380" fmla="*/ 2976553 w 12191986"/>
              <a:gd name="connsiteY2380" fmla="*/ 2885421 h 6661143"/>
              <a:gd name="connsiteX2381" fmla="*/ 2970204 w 12191986"/>
              <a:gd name="connsiteY2381" fmla="*/ 2888070 h 6661143"/>
              <a:gd name="connsiteX2382" fmla="*/ 2963324 w 12191986"/>
              <a:gd name="connsiteY2382" fmla="*/ 2888599 h 6661143"/>
              <a:gd name="connsiteX2383" fmla="*/ 2320916 w 12191986"/>
              <a:gd name="connsiteY2383" fmla="*/ 2973384 h 6661143"/>
              <a:gd name="connsiteX2384" fmla="*/ 2315095 w 12191986"/>
              <a:gd name="connsiteY2384" fmla="*/ 2972324 h 6661143"/>
              <a:gd name="connsiteX2385" fmla="*/ 2308216 w 12191986"/>
              <a:gd name="connsiteY2385" fmla="*/ 2970205 h 6661143"/>
              <a:gd name="connsiteX2386" fmla="*/ 2302924 w 12191986"/>
              <a:gd name="connsiteY2386" fmla="*/ 2967025 h 6661143"/>
              <a:gd name="connsiteX2387" fmla="*/ 2297632 w 12191986"/>
              <a:gd name="connsiteY2387" fmla="*/ 2963316 h 6661143"/>
              <a:gd name="connsiteX2388" fmla="*/ 2293399 w 12191986"/>
              <a:gd name="connsiteY2388" fmla="*/ 2958017 h 6661143"/>
              <a:gd name="connsiteX2389" fmla="*/ 2290753 w 12191986"/>
              <a:gd name="connsiteY2389" fmla="*/ 2952717 h 6661143"/>
              <a:gd name="connsiteX2390" fmla="*/ 2288108 w 12191986"/>
              <a:gd name="connsiteY2390" fmla="*/ 2945829 h 6661143"/>
              <a:gd name="connsiteX2391" fmla="*/ 2287578 w 12191986"/>
              <a:gd name="connsiteY2391" fmla="*/ 2938941 h 6661143"/>
              <a:gd name="connsiteX2392" fmla="*/ 2287578 w 12191986"/>
              <a:gd name="connsiteY2392" fmla="*/ 2623121 h 6661143"/>
              <a:gd name="connsiteX2393" fmla="*/ 2288108 w 12191986"/>
              <a:gd name="connsiteY2393" fmla="*/ 2616763 h 6661143"/>
              <a:gd name="connsiteX2394" fmla="*/ 2290753 w 12191986"/>
              <a:gd name="connsiteY2394" fmla="*/ 2609874 h 6661143"/>
              <a:gd name="connsiteX2395" fmla="*/ 2293399 w 12191986"/>
              <a:gd name="connsiteY2395" fmla="*/ 2604576 h 6661143"/>
              <a:gd name="connsiteX2396" fmla="*/ 2297632 w 12191986"/>
              <a:gd name="connsiteY2396" fmla="*/ 2599276 h 6661143"/>
              <a:gd name="connsiteX2397" fmla="*/ 2302924 w 12191986"/>
              <a:gd name="connsiteY2397" fmla="*/ 2595567 h 6661143"/>
              <a:gd name="connsiteX2398" fmla="*/ 2308216 w 12191986"/>
              <a:gd name="connsiteY2398" fmla="*/ 2592388 h 6661143"/>
              <a:gd name="connsiteX2399" fmla="*/ 2315095 w 12191986"/>
              <a:gd name="connsiteY2399" fmla="*/ 2590268 h 6661143"/>
              <a:gd name="connsiteX2400" fmla="*/ 2042573 w 12191986"/>
              <a:gd name="connsiteY2400" fmla="*/ 2579683 h 6661143"/>
              <a:gd name="connsiteX2401" fmla="*/ 2233604 w 12191986"/>
              <a:gd name="connsiteY2401" fmla="*/ 2579683 h 6661143"/>
              <a:gd name="connsiteX2402" fmla="*/ 2240483 w 12191986"/>
              <a:gd name="connsiteY2402" fmla="*/ 2580740 h 6661143"/>
              <a:gd name="connsiteX2403" fmla="*/ 2246833 w 12191986"/>
              <a:gd name="connsiteY2403" fmla="*/ 2582854 h 6661143"/>
              <a:gd name="connsiteX2404" fmla="*/ 2252654 w 12191986"/>
              <a:gd name="connsiteY2404" fmla="*/ 2586025 h 6661143"/>
              <a:gd name="connsiteX2405" fmla="*/ 2257416 w 12191986"/>
              <a:gd name="connsiteY2405" fmla="*/ 2589725 h 6661143"/>
              <a:gd name="connsiteX2406" fmla="*/ 2261650 w 12191986"/>
              <a:gd name="connsiteY2406" fmla="*/ 2595009 h 6661143"/>
              <a:gd name="connsiteX2407" fmla="*/ 2264825 w 12191986"/>
              <a:gd name="connsiteY2407" fmla="*/ 2600294 h 6661143"/>
              <a:gd name="connsiteX2408" fmla="*/ 2266412 w 12191986"/>
              <a:gd name="connsiteY2408" fmla="*/ 2607164 h 6661143"/>
              <a:gd name="connsiteX2409" fmla="*/ 2266942 w 12191986"/>
              <a:gd name="connsiteY2409" fmla="*/ 2614034 h 6661143"/>
              <a:gd name="connsiteX2410" fmla="*/ 2266942 w 12191986"/>
              <a:gd name="connsiteY2410" fmla="*/ 2948558 h 6661143"/>
              <a:gd name="connsiteX2411" fmla="*/ 2266412 w 12191986"/>
              <a:gd name="connsiteY2411" fmla="*/ 2955428 h 6661143"/>
              <a:gd name="connsiteX2412" fmla="*/ 2264825 w 12191986"/>
              <a:gd name="connsiteY2412" fmla="*/ 2962298 h 6661143"/>
              <a:gd name="connsiteX2413" fmla="*/ 2261650 w 12191986"/>
              <a:gd name="connsiteY2413" fmla="*/ 2967583 h 6661143"/>
              <a:gd name="connsiteX2414" fmla="*/ 2257416 w 12191986"/>
              <a:gd name="connsiteY2414" fmla="*/ 2972868 h 6661143"/>
              <a:gd name="connsiteX2415" fmla="*/ 2252654 w 12191986"/>
              <a:gd name="connsiteY2415" fmla="*/ 2976566 h 6661143"/>
              <a:gd name="connsiteX2416" fmla="*/ 2246833 w 12191986"/>
              <a:gd name="connsiteY2416" fmla="*/ 2979738 h 6661143"/>
              <a:gd name="connsiteX2417" fmla="*/ 2240483 w 12191986"/>
              <a:gd name="connsiteY2417" fmla="*/ 2981852 h 6661143"/>
              <a:gd name="connsiteX2418" fmla="*/ 2233604 w 12191986"/>
              <a:gd name="connsiteY2418" fmla="*/ 2982908 h 6661143"/>
              <a:gd name="connsiteX2419" fmla="*/ 2042573 w 12191986"/>
              <a:gd name="connsiteY2419" fmla="*/ 2982908 h 6661143"/>
              <a:gd name="connsiteX2420" fmla="*/ 2035694 w 12191986"/>
              <a:gd name="connsiteY2420" fmla="*/ 2981852 h 6661143"/>
              <a:gd name="connsiteX2421" fmla="*/ 2028815 w 12191986"/>
              <a:gd name="connsiteY2421" fmla="*/ 2979738 h 6661143"/>
              <a:gd name="connsiteX2422" fmla="*/ 2023523 w 12191986"/>
              <a:gd name="connsiteY2422" fmla="*/ 2976566 h 6661143"/>
              <a:gd name="connsiteX2423" fmla="*/ 2018232 w 12191986"/>
              <a:gd name="connsiteY2423" fmla="*/ 2972868 h 6661143"/>
              <a:gd name="connsiteX2424" fmla="*/ 2013998 w 12191986"/>
              <a:gd name="connsiteY2424" fmla="*/ 2967583 h 6661143"/>
              <a:gd name="connsiteX2425" fmla="*/ 2011353 w 12191986"/>
              <a:gd name="connsiteY2425" fmla="*/ 2962298 h 6661143"/>
              <a:gd name="connsiteX2426" fmla="*/ 2008707 w 12191986"/>
              <a:gd name="connsiteY2426" fmla="*/ 2955428 h 6661143"/>
              <a:gd name="connsiteX2427" fmla="*/ 2008177 w 12191986"/>
              <a:gd name="connsiteY2427" fmla="*/ 2948558 h 6661143"/>
              <a:gd name="connsiteX2428" fmla="*/ 2008177 w 12191986"/>
              <a:gd name="connsiteY2428" fmla="*/ 2614034 h 6661143"/>
              <a:gd name="connsiteX2429" fmla="*/ 2008707 w 12191986"/>
              <a:gd name="connsiteY2429" fmla="*/ 2607164 h 6661143"/>
              <a:gd name="connsiteX2430" fmla="*/ 2011353 w 12191986"/>
              <a:gd name="connsiteY2430" fmla="*/ 2600294 h 6661143"/>
              <a:gd name="connsiteX2431" fmla="*/ 2013998 w 12191986"/>
              <a:gd name="connsiteY2431" fmla="*/ 2595009 h 6661143"/>
              <a:gd name="connsiteX2432" fmla="*/ 2018232 w 12191986"/>
              <a:gd name="connsiteY2432" fmla="*/ 2589725 h 6661143"/>
              <a:gd name="connsiteX2433" fmla="*/ 2023523 w 12191986"/>
              <a:gd name="connsiteY2433" fmla="*/ 2586025 h 6661143"/>
              <a:gd name="connsiteX2434" fmla="*/ 2028815 w 12191986"/>
              <a:gd name="connsiteY2434" fmla="*/ 2582854 h 6661143"/>
              <a:gd name="connsiteX2435" fmla="*/ 2035694 w 12191986"/>
              <a:gd name="connsiteY2435" fmla="*/ 2580740 h 6661143"/>
              <a:gd name="connsiteX2436" fmla="*/ 7779012 w 12191986"/>
              <a:gd name="connsiteY2436" fmla="*/ 2295519 h 6661143"/>
              <a:gd name="connsiteX2437" fmla="*/ 7775313 w 12191986"/>
              <a:gd name="connsiteY2437" fmla="*/ 2307689 h 6661143"/>
              <a:gd name="connsiteX2438" fmla="*/ 7772671 w 12191986"/>
              <a:gd name="connsiteY2438" fmla="*/ 2319860 h 6661143"/>
              <a:gd name="connsiteX2439" fmla="*/ 7772142 w 12191986"/>
              <a:gd name="connsiteY2439" fmla="*/ 2332031 h 6661143"/>
              <a:gd name="connsiteX2440" fmla="*/ 7772671 w 12191986"/>
              <a:gd name="connsiteY2440" fmla="*/ 2344202 h 6661143"/>
              <a:gd name="connsiteX2441" fmla="*/ 7774256 w 12191986"/>
              <a:gd name="connsiteY2441" fmla="*/ 2356373 h 6661143"/>
              <a:gd name="connsiteX2442" fmla="*/ 7777426 w 12191986"/>
              <a:gd name="connsiteY2442" fmla="*/ 2368543 h 6661143"/>
              <a:gd name="connsiteX2443" fmla="*/ 7781125 w 12191986"/>
              <a:gd name="connsiteY2443" fmla="*/ 2380714 h 6661143"/>
              <a:gd name="connsiteX2444" fmla="*/ 7785881 w 12191986"/>
              <a:gd name="connsiteY2444" fmla="*/ 2392356 h 6661143"/>
              <a:gd name="connsiteX2445" fmla="*/ 7791694 w 12191986"/>
              <a:gd name="connsiteY2445" fmla="*/ 2404527 h 6661143"/>
              <a:gd name="connsiteX2446" fmla="*/ 7798035 w 12191986"/>
              <a:gd name="connsiteY2446" fmla="*/ 2416697 h 6661143"/>
              <a:gd name="connsiteX2447" fmla="*/ 7805432 w 12191986"/>
              <a:gd name="connsiteY2447" fmla="*/ 2427810 h 6661143"/>
              <a:gd name="connsiteX2448" fmla="*/ 7813359 w 12191986"/>
              <a:gd name="connsiteY2448" fmla="*/ 2439981 h 6661143"/>
              <a:gd name="connsiteX2449" fmla="*/ 7830796 w 12191986"/>
              <a:gd name="connsiteY2449" fmla="*/ 2463793 h 6661143"/>
              <a:gd name="connsiteX2450" fmla="*/ 7848762 w 12191986"/>
              <a:gd name="connsiteY2450" fmla="*/ 2488136 h 6661143"/>
              <a:gd name="connsiteX2451" fmla="*/ 7868842 w 12191986"/>
              <a:gd name="connsiteY2451" fmla="*/ 2512477 h 6661143"/>
              <a:gd name="connsiteX2452" fmla="*/ 7888393 w 12191986"/>
              <a:gd name="connsiteY2452" fmla="*/ 2536819 h 6661143"/>
              <a:gd name="connsiteX2453" fmla="*/ 7907416 w 12191986"/>
              <a:gd name="connsiteY2453" fmla="*/ 2562219 h 6661143"/>
              <a:gd name="connsiteX2454" fmla="*/ 7924854 w 12191986"/>
              <a:gd name="connsiteY2454" fmla="*/ 2587089 h 6661143"/>
              <a:gd name="connsiteX2455" fmla="*/ 7933309 w 12191986"/>
              <a:gd name="connsiteY2455" fmla="*/ 2600319 h 6661143"/>
              <a:gd name="connsiteX2456" fmla="*/ 7941235 w 12191986"/>
              <a:gd name="connsiteY2456" fmla="*/ 2614077 h 6661143"/>
              <a:gd name="connsiteX2457" fmla="*/ 7948633 w 12191986"/>
              <a:gd name="connsiteY2457" fmla="*/ 2626777 h 6661143"/>
              <a:gd name="connsiteX2458" fmla="*/ 7954974 w 12191986"/>
              <a:gd name="connsiteY2458" fmla="*/ 2640535 h 6661143"/>
              <a:gd name="connsiteX2459" fmla="*/ 7960258 w 12191986"/>
              <a:gd name="connsiteY2459" fmla="*/ 2654294 h 6661143"/>
              <a:gd name="connsiteX2460" fmla="*/ 7964485 w 12191986"/>
              <a:gd name="connsiteY2460" fmla="*/ 2668053 h 6661143"/>
              <a:gd name="connsiteX2461" fmla="*/ 7967656 w 12191986"/>
              <a:gd name="connsiteY2461" fmla="*/ 2682869 h 6661143"/>
              <a:gd name="connsiteX2462" fmla="*/ 7969769 w 12191986"/>
              <a:gd name="connsiteY2462" fmla="*/ 2696098 h 6661143"/>
              <a:gd name="connsiteX2463" fmla="*/ 7971354 w 12191986"/>
              <a:gd name="connsiteY2463" fmla="*/ 2707211 h 6661143"/>
              <a:gd name="connsiteX2464" fmla="*/ 7972411 w 12191986"/>
              <a:gd name="connsiteY2464" fmla="*/ 2717794 h 6661143"/>
              <a:gd name="connsiteX2465" fmla="*/ 7972411 w 12191986"/>
              <a:gd name="connsiteY2465" fmla="*/ 2728377 h 6661143"/>
              <a:gd name="connsiteX2466" fmla="*/ 7971354 w 12191986"/>
              <a:gd name="connsiteY2466" fmla="*/ 2738961 h 6661143"/>
              <a:gd name="connsiteX2467" fmla="*/ 7970826 w 12191986"/>
              <a:gd name="connsiteY2467" fmla="*/ 2749015 h 6661143"/>
              <a:gd name="connsiteX2468" fmla="*/ 7969241 w 12191986"/>
              <a:gd name="connsiteY2468" fmla="*/ 2759598 h 6661143"/>
              <a:gd name="connsiteX2469" fmla="*/ 7967656 w 12191986"/>
              <a:gd name="connsiteY2469" fmla="*/ 2769653 h 6661143"/>
              <a:gd name="connsiteX2470" fmla="*/ 7965542 w 12191986"/>
              <a:gd name="connsiteY2470" fmla="*/ 2779707 h 6661143"/>
              <a:gd name="connsiteX2471" fmla="*/ 7962900 w 12191986"/>
              <a:gd name="connsiteY2471" fmla="*/ 2788702 h 6661143"/>
              <a:gd name="connsiteX2472" fmla="*/ 7960258 w 12191986"/>
              <a:gd name="connsiteY2472" fmla="*/ 2798757 h 6661143"/>
              <a:gd name="connsiteX2473" fmla="*/ 7956030 w 12191986"/>
              <a:gd name="connsiteY2473" fmla="*/ 2807752 h 6661143"/>
              <a:gd name="connsiteX2474" fmla="*/ 7952332 w 12191986"/>
              <a:gd name="connsiteY2474" fmla="*/ 2816220 h 6661143"/>
              <a:gd name="connsiteX2475" fmla="*/ 7948633 w 12191986"/>
              <a:gd name="connsiteY2475" fmla="*/ 2825215 h 6661143"/>
              <a:gd name="connsiteX2476" fmla="*/ 7943877 w 12191986"/>
              <a:gd name="connsiteY2476" fmla="*/ 2833682 h 6661143"/>
              <a:gd name="connsiteX2477" fmla="*/ 7938593 w 12191986"/>
              <a:gd name="connsiteY2477" fmla="*/ 2842148 h 6661143"/>
              <a:gd name="connsiteX2478" fmla="*/ 7934365 w 12191986"/>
              <a:gd name="connsiteY2478" fmla="*/ 2849557 h 6661143"/>
              <a:gd name="connsiteX2479" fmla="*/ 7928024 w 12191986"/>
              <a:gd name="connsiteY2479" fmla="*/ 2856965 h 6661143"/>
              <a:gd name="connsiteX2480" fmla="*/ 7922212 w 12191986"/>
              <a:gd name="connsiteY2480" fmla="*/ 2864903 h 6661143"/>
              <a:gd name="connsiteX2481" fmla="*/ 7915871 w 12191986"/>
              <a:gd name="connsiteY2481" fmla="*/ 2871781 h 6661143"/>
              <a:gd name="connsiteX2482" fmla="*/ 7910058 w 12191986"/>
              <a:gd name="connsiteY2482" fmla="*/ 2877603 h 6661143"/>
              <a:gd name="connsiteX2483" fmla="*/ 7903189 w 12191986"/>
              <a:gd name="connsiteY2483" fmla="*/ 2884482 h 6661143"/>
              <a:gd name="connsiteX2484" fmla="*/ 7895263 w 12191986"/>
              <a:gd name="connsiteY2484" fmla="*/ 2889773 h 6661143"/>
              <a:gd name="connsiteX2485" fmla="*/ 7887865 w 12191986"/>
              <a:gd name="connsiteY2485" fmla="*/ 2895595 h 6661143"/>
              <a:gd name="connsiteX2486" fmla="*/ 7879939 w 12191986"/>
              <a:gd name="connsiteY2486" fmla="*/ 2900886 h 6661143"/>
              <a:gd name="connsiteX2487" fmla="*/ 7872541 w 12191986"/>
              <a:gd name="connsiteY2487" fmla="*/ 2905119 h 6661143"/>
              <a:gd name="connsiteX2488" fmla="*/ 7864086 w 12191986"/>
              <a:gd name="connsiteY2488" fmla="*/ 2909882 h 6661143"/>
              <a:gd name="connsiteX2489" fmla="*/ 7855632 w 12191986"/>
              <a:gd name="connsiteY2489" fmla="*/ 2913586 h 6661143"/>
              <a:gd name="connsiteX2490" fmla="*/ 7847706 w 12191986"/>
              <a:gd name="connsiteY2490" fmla="*/ 2916761 h 6661143"/>
              <a:gd name="connsiteX2491" fmla="*/ 7838194 w 12191986"/>
              <a:gd name="connsiteY2491" fmla="*/ 2919935 h 6661143"/>
              <a:gd name="connsiteX2492" fmla="*/ 7829739 w 12191986"/>
              <a:gd name="connsiteY2492" fmla="*/ 2922052 h 6661143"/>
              <a:gd name="connsiteX2493" fmla="*/ 7820756 w 12191986"/>
              <a:gd name="connsiteY2493" fmla="*/ 2923640 h 6661143"/>
              <a:gd name="connsiteX2494" fmla="*/ 7810717 w 12191986"/>
              <a:gd name="connsiteY2494" fmla="*/ 2925228 h 6661143"/>
              <a:gd name="connsiteX2495" fmla="*/ 7808075 w 12191986"/>
              <a:gd name="connsiteY2495" fmla="*/ 2925228 h 6661143"/>
              <a:gd name="connsiteX2496" fmla="*/ 7803847 w 12191986"/>
              <a:gd name="connsiteY2496" fmla="*/ 2925757 h 6661143"/>
              <a:gd name="connsiteX2497" fmla="*/ 7794336 w 12191986"/>
              <a:gd name="connsiteY2497" fmla="*/ 2911999 h 6661143"/>
              <a:gd name="connsiteX2498" fmla="*/ 7784296 w 12191986"/>
              <a:gd name="connsiteY2498" fmla="*/ 2897711 h 6661143"/>
              <a:gd name="connsiteX2499" fmla="*/ 7775313 w 12191986"/>
              <a:gd name="connsiteY2499" fmla="*/ 2882894 h 6661143"/>
              <a:gd name="connsiteX2500" fmla="*/ 7766858 w 12191986"/>
              <a:gd name="connsiteY2500" fmla="*/ 2868077 h 6661143"/>
              <a:gd name="connsiteX2501" fmla="*/ 7758404 w 12191986"/>
              <a:gd name="connsiteY2501" fmla="*/ 2852732 h 6661143"/>
              <a:gd name="connsiteX2502" fmla="*/ 7749949 w 12191986"/>
              <a:gd name="connsiteY2502" fmla="*/ 2836856 h 6661143"/>
              <a:gd name="connsiteX2503" fmla="*/ 7743080 w 12191986"/>
              <a:gd name="connsiteY2503" fmla="*/ 2819923 h 6661143"/>
              <a:gd name="connsiteX2504" fmla="*/ 7735682 w 12191986"/>
              <a:gd name="connsiteY2504" fmla="*/ 2802461 h 6661143"/>
              <a:gd name="connsiteX2505" fmla="*/ 7729341 w 12191986"/>
              <a:gd name="connsiteY2505" fmla="*/ 2784998 h 6661143"/>
              <a:gd name="connsiteX2506" fmla="*/ 7723528 w 12191986"/>
              <a:gd name="connsiteY2506" fmla="*/ 2767007 h 6661143"/>
              <a:gd name="connsiteX2507" fmla="*/ 7718244 w 12191986"/>
              <a:gd name="connsiteY2507" fmla="*/ 2749015 h 6661143"/>
              <a:gd name="connsiteX2508" fmla="*/ 7712960 w 12191986"/>
              <a:gd name="connsiteY2508" fmla="*/ 2729965 h 6661143"/>
              <a:gd name="connsiteX2509" fmla="*/ 7708732 w 12191986"/>
              <a:gd name="connsiteY2509" fmla="*/ 2710914 h 6661143"/>
              <a:gd name="connsiteX2510" fmla="*/ 7705033 w 12191986"/>
              <a:gd name="connsiteY2510" fmla="*/ 2691865 h 6661143"/>
              <a:gd name="connsiteX2511" fmla="*/ 7701334 w 12191986"/>
              <a:gd name="connsiteY2511" fmla="*/ 2671757 h 6661143"/>
              <a:gd name="connsiteX2512" fmla="*/ 7699221 w 12191986"/>
              <a:gd name="connsiteY2512" fmla="*/ 2651119 h 6661143"/>
              <a:gd name="connsiteX2513" fmla="*/ 7697636 w 12191986"/>
              <a:gd name="connsiteY2513" fmla="*/ 2633127 h 6661143"/>
              <a:gd name="connsiteX2514" fmla="*/ 7696050 w 12191986"/>
              <a:gd name="connsiteY2514" fmla="*/ 2615665 h 6661143"/>
              <a:gd name="connsiteX2515" fmla="*/ 7695522 w 12191986"/>
              <a:gd name="connsiteY2515" fmla="*/ 2597144 h 6661143"/>
              <a:gd name="connsiteX2516" fmla="*/ 7695522 w 12191986"/>
              <a:gd name="connsiteY2516" fmla="*/ 2579681 h 6661143"/>
              <a:gd name="connsiteX2517" fmla="*/ 7695522 w 12191986"/>
              <a:gd name="connsiteY2517" fmla="*/ 2561161 h 6661143"/>
              <a:gd name="connsiteX2518" fmla="*/ 7696050 w 12191986"/>
              <a:gd name="connsiteY2518" fmla="*/ 2544756 h 6661143"/>
              <a:gd name="connsiteX2519" fmla="*/ 7697636 w 12191986"/>
              <a:gd name="connsiteY2519" fmla="*/ 2527293 h 6661143"/>
              <a:gd name="connsiteX2520" fmla="*/ 7699749 w 12191986"/>
              <a:gd name="connsiteY2520" fmla="*/ 2510360 h 6661143"/>
              <a:gd name="connsiteX2521" fmla="*/ 7702391 w 12191986"/>
              <a:gd name="connsiteY2521" fmla="*/ 2493427 h 6661143"/>
              <a:gd name="connsiteX2522" fmla="*/ 7704505 w 12191986"/>
              <a:gd name="connsiteY2522" fmla="*/ 2477023 h 6661143"/>
              <a:gd name="connsiteX2523" fmla="*/ 7708204 w 12191986"/>
              <a:gd name="connsiteY2523" fmla="*/ 2460618 h 6661143"/>
              <a:gd name="connsiteX2524" fmla="*/ 7711374 w 12191986"/>
              <a:gd name="connsiteY2524" fmla="*/ 2444743 h 6661143"/>
              <a:gd name="connsiteX2525" fmla="*/ 7715602 w 12191986"/>
              <a:gd name="connsiteY2525" fmla="*/ 2428868 h 6661143"/>
              <a:gd name="connsiteX2526" fmla="*/ 7720358 w 12191986"/>
              <a:gd name="connsiteY2526" fmla="*/ 2413523 h 6661143"/>
              <a:gd name="connsiteX2527" fmla="*/ 7725114 w 12191986"/>
              <a:gd name="connsiteY2527" fmla="*/ 2399235 h 6661143"/>
              <a:gd name="connsiteX2528" fmla="*/ 7730926 w 12191986"/>
              <a:gd name="connsiteY2528" fmla="*/ 2384418 h 6661143"/>
              <a:gd name="connsiteX2529" fmla="*/ 7724057 w 12191986"/>
              <a:gd name="connsiteY2529" fmla="*/ 2399764 h 6661143"/>
              <a:gd name="connsiteX2530" fmla="*/ 7718244 w 12191986"/>
              <a:gd name="connsiteY2530" fmla="*/ 2415639 h 6661143"/>
              <a:gd name="connsiteX2531" fmla="*/ 7711903 w 12191986"/>
              <a:gd name="connsiteY2531" fmla="*/ 2432043 h 6661143"/>
              <a:gd name="connsiteX2532" fmla="*/ 7706619 w 12191986"/>
              <a:gd name="connsiteY2532" fmla="*/ 2448447 h 6661143"/>
              <a:gd name="connsiteX2533" fmla="*/ 7702391 w 12191986"/>
              <a:gd name="connsiteY2533" fmla="*/ 2465910 h 6661143"/>
              <a:gd name="connsiteX2534" fmla="*/ 7698164 w 12191986"/>
              <a:gd name="connsiteY2534" fmla="*/ 2483902 h 6661143"/>
              <a:gd name="connsiteX2535" fmla="*/ 7694465 w 12191986"/>
              <a:gd name="connsiteY2535" fmla="*/ 2501365 h 6661143"/>
              <a:gd name="connsiteX2536" fmla="*/ 7691295 w 12191986"/>
              <a:gd name="connsiteY2536" fmla="*/ 2519356 h 6661143"/>
              <a:gd name="connsiteX2537" fmla="*/ 7689181 w 12191986"/>
              <a:gd name="connsiteY2537" fmla="*/ 2537877 h 6661143"/>
              <a:gd name="connsiteX2538" fmla="*/ 7687596 w 12191986"/>
              <a:gd name="connsiteY2538" fmla="*/ 2556927 h 6661143"/>
              <a:gd name="connsiteX2539" fmla="*/ 7686010 w 12191986"/>
              <a:gd name="connsiteY2539" fmla="*/ 2575977 h 6661143"/>
              <a:gd name="connsiteX2540" fmla="*/ 7685482 w 12191986"/>
              <a:gd name="connsiteY2540" fmla="*/ 2595027 h 6661143"/>
              <a:gd name="connsiteX2541" fmla="*/ 7685482 w 12191986"/>
              <a:gd name="connsiteY2541" fmla="*/ 2614606 h 6661143"/>
              <a:gd name="connsiteX2542" fmla="*/ 7686010 w 12191986"/>
              <a:gd name="connsiteY2542" fmla="*/ 2634715 h 6661143"/>
              <a:gd name="connsiteX2543" fmla="*/ 7687596 w 12191986"/>
              <a:gd name="connsiteY2543" fmla="*/ 2654294 h 6661143"/>
              <a:gd name="connsiteX2544" fmla="*/ 7689181 w 12191986"/>
              <a:gd name="connsiteY2544" fmla="*/ 2674931 h 6661143"/>
              <a:gd name="connsiteX2545" fmla="*/ 7691295 w 12191986"/>
              <a:gd name="connsiteY2545" fmla="*/ 2692394 h 6661143"/>
              <a:gd name="connsiteX2546" fmla="*/ 7694465 w 12191986"/>
              <a:gd name="connsiteY2546" fmla="*/ 2710914 h 6661143"/>
              <a:gd name="connsiteX2547" fmla="*/ 7697636 w 12191986"/>
              <a:gd name="connsiteY2547" fmla="*/ 2728377 h 6661143"/>
              <a:gd name="connsiteX2548" fmla="*/ 7701334 w 12191986"/>
              <a:gd name="connsiteY2548" fmla="*/ 2745311 h 6661143"/>
              <a:gd name="connsiteX2549" fmla="*/ 7706090 w 12191986"/>
              <a:gd name="connsiteY2549" fmla="*/ 2761715 h 6661143"/>
              <a:gd name="connsiteX2550" fmla="*/ 7710317 w 12191986"/>
              <a:gd name="connsiteY2550" fmla="*/ 2778648 h 6661143"/>
              <a:gd name="connsiteX2551" fmla="*/ 7715074 w 12191986"/>
              <a:gd name="connsiteY2551" fmla="*/ 2794523 h 6661143"/>
              <a:gd name="connsiteX2552" fmla="*/ 7720358 w 12191986"/>
              <a:gd name="connsiteY2552" fmla="*/ 2810928 h 6661143"/>
              <a:gd name="connsiteX2553" fmla="*/ 7726699 w 12191986"/>
              <a:gd name="connsiteY2553" fmla="*/ 2826802 h 6661143"/>
              <a:gd name="connsiteX2554" fmla="*/ 7732511 w 12191986"/>
              <a:gd name="connsiteY2554" fmla="*/ 2842148 h 6661143"/>
              <a:gd name="connsiteX2555" fmla="*/ 7739381 w 12191986"/>
              <a:gd name="connsiteY2555" fmla="*/ 2856435 h 6661143"/>
              <a:gd name="connsiteX2556" fmla="*/ 7746250 w 12191986"/>
              <a:gd name="connsiteY2556" fmla="*/ 2870723 h 6661143"/>
              <a:gd name="connsiteX2557" fmla="*/ 7753648 w 12191986"/>
              <a:gd name="connsiteY2557" fmla="*/ 2885540 h 6661143"/>
              <a:gd name="connsiteX2558" fmla="*/ 7761574 w 12191986"/>
              <a:gd name="connsiteY2558" fmla="*/ 2899298 h 6661143"/>
              <a:gd name="connsiteX2559" fmla="*/ 7768972 w 12191986"/>
              <a:gd name="connsiteY2559" fmla="*/ 2911999 h 6661143"/>
              <a:gd name="connsiteX2560" fmla="*/ 7777426 w 12191986"/>
              <a:gd name="connsiteY2560" fmla="*/ 2925228 h 6661143"/>
              <a:gd name="connsiteX2561" fmla="*/ 7770029 w 12191986"/>
              <a:gd name="connsiteY2561" fmla="*/ 2924170 h 6661143"/>
              <a:gd name="connsiteX2562" fmla="*/ 7761574 w 12191986"/>
              <a:gd name="connsiteY2562" fmla="*/ 2922581 h 6661143"/>
              <a:gd name="connsiteX2563" fmla="*/ 7753648 w 12191986"/>
              <a:gd name="connsiteY2563" fmla="*/ 2920994 h 6661143"/>
              <a:gd name="connsiteX2564" fmla="*/ 7745722 w 12191986"/>
              <a:gd name="connsiteY2564" fmla="*/ 2918877 h 6661143"/>
              <a:gd name="connsiteX2565" fmla="*/ 7730398 w 12191986"/>
              <a:gd name="connsiteY2565" fmla="*/ 2913586 h 6661143"/>
              <a:gd name="connsiteX2566" fmla="*/ 7715602 w 12191986"/>
              <a:gd name="connsiteY2566" fmla="*/ 2906707 h 6661143"/>
              <a:gd name="connsiteX2567" fmla="*/ 7701334 w 12191986"/>
              <a:gd name="connsiteY2567" fmla="*/ 2898240 h 6661143"/>
              <a:gd name="connsiteX2568" fmla="*/ 7688652 w 12191986"/>
              <a:gd name="connsiteY2568" fmla="*/ 2889244 h 6661143"/>
              <a:gd name="connsiteX2569" fmla="*/ 7675442 w 12191986"/>
              <a:gd name="connsiteY2569" fmla="*/ 2878661 h 6661143"/>
              <a:gd name="connsiteX2570" fmla="*/ 7663289 w 12191986"/>
              <a:gd name="connsiteY2570" fmla="*/ 2867019 h 6661143"/>
              <a:gd name="connsiteX2571" fmla="*/ 7652720 w 12191986"/>
              <a:gd name="connsiteY2571" fmla="*/ 2854319 h 6661143"/>
              <a:gd name="connsiteX2572" fmla="*/ 7642152 w 12191986"/>
              <a:gd name="connsiteY2572" fmla="*/ 2839502 h 6661143"/>
              <a:gd name="connsiteX2573" fmla="*/ 7632641 w 12191986"/>
              <a:gd name="connsiteY2573" fmla="*/ 2825215 h 6661143"/>
              <a:gd name="connsiteX2574" fmla="*/ 7625243 w 12191986"/>
              <a:gd name="connsiteY2574" fmla="*/ 2809340 h 6661143"/>
              <a:gd name="connsiteX2575" fmla="*/ 7618373 w 12191986"/>
              <a:gd name="connsiteY2575" fmla="*/ 2792406 h 6661143"/>
              <a:gd name="connsiteX2576" fmla="*/ 7612561 w 12191986"/>
              <a:gd name="connsiteY2576" fmla="*/ 2774944 h 6661143"/>
              <a:gd name="connsiteX2577" fmla="*/ 7608334 w 12191986"/>
              <a:gd name="connsiteY2577" fmla="*/ 2756423 h 6661143"/>
              <a:gd name="connsiteX2578" fmla="*/ 7605691 w 12191986"/>
              <a:gd name="connsiteY2578" fmla="*/ 2738431 h 6661143"/>
              <a:gd name="connsiteX2579" fmla="*/ 7602521 w 12191986"/>
              <a:gd name="connsiteY2579" fmla="*/ 2711444 h 6661143"/>
              <a:gd name="connsiteX2580" fmla="*/ 7600936 w 12191986"/>
              <a:gd name="connsiteY2580" fmla="*/ 2685515 h 6661143"/>
              <a:gd name="connsiteX2581" fmla="*/ 7600936 w 12191986"/>
              <a:gd name="connsiteY2581" fmla="*/ 2660644 h 6661143"/>
              <a:gd name="connsiteX2582" fmla="*/ 7602521 w 12191986"/>
              <a:gd name="connsiteY2582" fmla="*/ 2636302 h 6661143"/>
              <a:gd name="connsiteX2583" fmla="*/ 7604635 w 12191986"/>
              <a:gd name="connsiteY2583" fmla="*/ 2612490 h 6661143"/>
              <a:gd name="connsiteX2584" fmla="*/ 7607805 w 12191986"/>
              <a:gd name="connsiteY2584" fmla="*/ 2589735 h 6661143"/>
              <a:gd name="connsiteX2585" fmla="*/ 7612561 w 12191986"/>
              <a:gd name="connsiteY2585" fmla="*/ 2568040 h 6661143"/>
              <a:gd name="connsiteX2586" fmla="*/ 7617845 w 12191986"/>
              <a:gd name="connsiteY2586" fmla="*/ 2546873 h 6661143"/>
              <a:gd name="connsiteX2587" fmla="*/ 7623129 w 12191986"/>
              <a:gd name="connsiteY2587" fmla="*/ 2527293 h 6661143"/>
              <a:gd name="connsiteX2588" fmla="*/ 7629999 w 12191986"/>
              <a:gd name="connsiteY2588" fmla="*/ 2507185 h 6661143"/>
              <a:gd name="connsiteX2589" fmla="*/ 7636868 w 12191986"/>
              <a:gd name="connsiteY2589" fmla="*/ 2489194 h 6661143"/>
              <a:gd name="connsiteX2590" fmla="*/ 7644266 w 12191986"/>
              <a:gd name="connsiteY2590" fmla="*/ 2471202 h 6661143"/>
              <a:gd name="connsiteX2591" fmla="*/ 7652720 w 12191986"/>
              <a:gd name="connsiteY2591" fmla="*/ 2453740 h 6661143"/>
              <a:gd name="connsiteX2592" fmla="*/ 7661175 w 12191986"/>
              <a:gd name="connsiteY2592" fmla="*/ 2437865 h 6661143"/>
              <a:gd name="connsiteX2593" fmla="*/ 7670158 w 12191986"/>
              <a:gd name="connsiteY2593" fmla="*/ 2422519 h 6661143"/>
              <a:gd name="connsiteX2594" fmla="*/ 7678613 w 12191986"/>
              <a:gd name="connsiteY2594" fmla="*/ 2408231 h 6661143"/>
              <a:gd name="connsiteX2595" fmla="*/ 7687596 w 12191986"/>
              <a:gd name="connsiteY2595" fmla="*/ 2394473 h 6661143"/>
              <a:gd name="connsiteX2596" fmla="*/ 7696579 w 12191986"/>
              <a:gd name="connsiteY2596" fmla="*/ 2382302 h 6661143"/>
              <a:gd name="connsiteX2597" fmla="*/ 7706090 w 12191986"/>
              <a:gd name="connsiteY2597" fmla="*/ 2370131 h 6661143"/>
              <a:gd name="connsiteX2598" fmla="*/ 7715074 w 12191986"/>
              <a:gd name="connsiteY2598" fmla="*/ 2359548 h 6661143"/>
              <a:gd name="connsiteX2599" fmla="*/ 7731983 w 12191986"/>
              <a:gd name="connsiteY2599" fmla="*/ 2339439 h 6661143"/>
              <a:gd name="connsiteX2600" fmla="*/ 7746778 w 12191986"/>
              <a:gd name="connsiteY2600" fmla="*/ 2323564 h 6661143"/>
              <a:gd name="connsiteX2601" fmla="*/ 7770029 w 12191986"/>
              <a:gd name="connsiteY2601" fmla="*/ 2302398 h 6661143"/>
              <a:gd name="connsiteX2602" fmla="*/ 10208140 w 12191986"/>
              <a:gd name="connsiteY2602" fmla="*/ 0 h 6661143"/>
              <a:gd name="connsiteX2603" fmla="*/ 10244653 w 12191986"/>
              <a:gd name="connsiteY2603" fmla="*/ 24322 h 6661143"/>
              <a:gd name="connsiteX2604" fmla="*/ 10281695 w 12191986"/>
              <a:gd name="connsiteY2604" fmla="*/ 49701 h 6661143"/>
              <a:gd name="connsiteX2605" fmla="*/ 10300215 w 12191986"/>
              <a:gd name="connsiteY2605" fmla="*/ 62391 h 6661143"/>
              <a:gd name="connsiteX2606" fmla="*/ 10318207 w 12191986"/>
              <a:gd name="connsiteY2606" fmla="*/ 76138 h 6661143"/>
              <a:gd name="connsiteX2607" fmla="*/ 10336199 w 12191986"/>
              <a:gd name="connsiteY2607" fmla="*/ 89885 h 6661143"/>
              <a:gd name="connsiteX2608" fmla="*/ 10353661 w 12191986"/>
              <a:gd name="connsiteY2608" fmla="*/ 104160 h 6661143"/>
              <a:gd name="connsiteX2609" fmla="*/ 10369536 w 12191986"/>
              <a:gd name="connsiteY2609" fmla="*/ 119493 h 6661143"/>
              <a:gd name="connsiteX2610" fmla="*/ 10386470 w 12191986"/>
              <a:gd name="connsiteY2610" fmla="*/ 135355 h 6661143"/>
              <a:gd name="connsiteX2611" fmla="*/ 10401286 w 12191986"/>
              <a:gd name="connsiteY2611" fmla="*/ 152275 h 6661143"/>
              <a:gd name="connsiteX2612" fmla="*/ 10416103 w 12191986"/>
              <a:gd name="connsiteY2612" fmla="*/ 169723 h 6661143"/>
              <a:gd name="connsiteX2613" fmla="*/ 10428803 w 12191986"/>
              <a:gd name="connsiteY2613" fmla="*/ 188229 h 6661143"/>
              <a:gd name="connsiteX2614" fmla="*/ 10440974 w 12191986"/>
              <a:gd name="connsiteY2614" fmla="*/ 207792 h 6661143"/>
              <a:gd name="connsiteX2615" fmla="*/ 10447324 w 12191986"/>
              <a:gd name="connsiteY2615" fmla="*/ 217838 h 6661143"/>
              <a:gd name="connsiteX2616" fmla="*/ 10452616 w 12191986"/>
              <a:gd name="connsiteY2616" fmla="*/ 228412 h 6661143"/>
              <a:gd name="connsiteX2617" fmla="*/ 10457378 w 12191986"/>
              <a:gd name="connsiteY2617" fmla="*/ 238987 h 6661143"/>
              <a:gd name="connsiteX2618" fmla="*/ 10462670 w 12191986"/>
              <a:gd name="connsiteY2618" fmla="*/ 250619 h 6661143"/>
              <a:gd name="connsiteX2619" fmla="*/ 10466374 w 12191986"/>
              <a:gd name="connsiteY2619" fmla="*/ 262780 h 6661143"/>
              <a:gd name="connsiteX2620" fmla="*/ 10470078 w 12191986"/>
              <a:gd name="connsiteY2620" fmla="*/ 274941 h 6661143"/>
              <a:gd name="connsiteX2621" fmla="*/ 10473253 w 12191986"/>
              <a:gd name="connsiteY2621" fmla="*/ 287101 h 6661143"/>
              <a:gd name="connsiteX2622" fmla="*/ 10476428 w 12191986"/>
              <a:gd name="connsiteY2622" fmla="*/ 299262 h 6661143"/>
              <a:gd name="connsiteX2623" fmla="*/ 10479074 w 12191986"/>
              <a:gd name="connsiteY2623" fmla="*/ 311423 h 6661143"/>
              <a:gd name="connsiteX2624" fmla="*/ 10480662 w 12191986"/>
              <a:gd name="connsiteY2624" fmla="*/ 323584 h 6661143"/>
              <a:gd name="connsiteX2625" fmla="*/ 10482249 w 12191986"/>
              <a:gd name="connsiteY2625" fmla="*/ 335745 h 6661143"/>
              <a:gd name="connsiteX2626" fmla="*/ 10483836 w 12191986"/>
              <a:gd name="connsiteY2626" fmla="*/ 348963 h 6661143"/>
              <a:gd name="connsiteX2627" fmla="*/ 10485424 w 12191986"/>
              <a:gd name="connsiteY2627" fmla="*/ 373285 h 6661143"/>
              <a:gd name="connsiteX2628" fmla="*/ 10485424 w 12191986"/>
              <a:gd name="connsiteY2628" fmla="*/ 398664 h 6661143"/>
              <a:gd name="connsiteX2629" fmla="*/ 10484366 w 12191986"/>
              <a:gd name="connsiteY2629" fmla="*/ 422985 h 6661143"/>
              <a:gd name="connsiteX2630" fmla="*/ 10482249 w 12191986"/>
              <a:gd name="connsiteY2630" fmla="*/ 447836 h 6661143"/>
              <a:gd name="connsiteX2631" fmla="*/ 10479074 w 12191986"/>
              <a:gd name="connsiteY2631" fmla="*/ 473215 h 6661143"/>
              <a:gd name="connsiteX2632" fmla="*/ 10475370 w 12191986"/>
              <a:gd name="connsiteY2632" fmla="*/ 497536 h 6661143"/>
              <a:gd name="connsiteX2633" fmla="*/ 10470607 w 12191986"/>
              <a:gd name="connsiteY2633" fmla="*/ 522387 h 6661143"/>
              <a:gd name="connsiteX2634" fmla="*/ 10465316 w 12191986"/>
              <a:gd name="connsiteY2634" fmla="*/ 546708 h 6661143"/>
              <a:gd name="connsiteX2635" fmla="*/ 10456320 w 12191986"/>
              <a:gd name="connsiteY2635" fmla="*/ 586514 h 6661143"/>
              <a:gd name="connsiteX2636" fmla="*/ 10610554 w 12191986"/>
              <a:gd name="connsiteY2636" fmla="*/ 813858 h 6661143"/>
              <a:gd name="connsiteX2637" fmla="*/ 10637217 w 12191986"/>
              <a:gd name="connsiteY2637" fmla="*/ 769716 h 6661143"/>
              <a:gd name="connsiteX2638" fmla="*/ 10616128 w 12191986"/>
              <a:gd name="connsiteY2638" fmla="*/ 774700 h 6661143"/>
              <a:gd name="connsiteX2639" fmla="*/ 10611365 w 12191986"/>
              <a:gd name="connsiteY2639" fmla="*/ 728615 h 6661143"/>
              <a:gd name="connsiteX2640" fmla="*/ 10608719 w 12191986"/>
              <a:gd name="connsiteY2640" fmla="*/ 683060 h 6661143"/>
              <a:gd name="connsiteX2641" fmla="*/ 10607661 w 12191986"/>
              <a:gd name="connsiteY2641" fmla="*/ 659223 h 6661143"/>
              <a:gd name="connsiteX2642" fmla="*/ 10607661 w 12191986"/>
              <a:gd name="connsiteY2642" fmla="*/ 635916 h 6661143"/>
              <a:gd name="connsiteX2643" fmla="*/ 10608719 w 12191986"/>
              <a:gd name="connsiteY2643" fmla="*/ 612079 h 6661143"/>
              <a:gd name="connsiteX2644" fmla="*/ 10610307 w 12191986"/>
              <a:gd name="connsiteY2644" fmla="*/ 589302 h 6661143"/>
              <a:gd name="connsiteX2645" fmla="*/ 10612424 w 12191986"/>
              <a:gd name="connsiteY2645" fmla="*/ 565995 h 6661143"/>
              <a:gd name="connsiteX2646" fmla="*/ 10615598 w 12191986"/>
              <a:gd name="connsiteY2646" fmla="*/ 543217 h 6661143"/>
              <a:gd name="connsiteX2647" fmla="*/ 10619832 w 12191986"/>
              <a:gd name="connsiteY2647" fmla="*/ 520440 h 6661143"/>
              <a:gd name="connsiteX2648" fmla="*/ 10626182 w 12191986"/>
              <a:gd name="connsiteY2648" fmla="*/ 499251 h 6661143"/>
              <a:gd name="connsiteX2649" fmla="*/ 10629357 w 12191986"/>
              <a:gd name="connsiteY2649" fmla="*/ 487597 h 6661143"/>
              <a:gd name="connsiteX2650" fmla="*/ 10633061 w 12191986"/>
              <a:gd name="connsiteY2650" fmla="*/ 477003 h 6661143"/>
              <a:gd name="connsiteX2651" fmla="*/ 10637294 w 12191986"/>
              <a:gd name="connsiteY2651" fmla="*/ 466939 h 6661143"/>
              <a:gd name="connsiteX2652" fmla="*/ 10642057 w 12191986"/>
              <a:gd name="connsiteY2652" fmla="*/ 456345 h 6661143"/>
              <a:gd name="connsiteX2653" fmla="*/ 10647348 w 12191986"/>
              <a:gd name="connsiteY2653" fmla="*/ 446280 h 6661143"/>
              <a:gd name="connsiteX2654" fmla="*/ 10652640 w 12191986"/>
              <a:gd name="connsiteY2654" fmla="*/ 436745 h 6661143"/>
              <a:gd name="connsiteX2655" fmla="*/ 10657932 w 12191986"/>
              <a:gd name="connsiteY2655" fmla="*/ 426681 h 6661143"/>
              <a:gd name="connsiteX2656" fmla="*/ 10664811 w 12191986"/>
              <a:gd name="connsiteY2656" fmla="*/ 416616 h 6661143"/>
              <a:gd name="connsiteX2657" fmla="*/ 10671161 w 12191986"/>
              <a:gd name="connsiteY2657" fmla="*/ 407611 h 6661143"/>
              <a:gd name="connsiteX2658" fmla="*/ 10678040 w 12191986"/>
              <a:gd name="connsiteY2658" fmla="*/ 398606 h 6661143"/>
              <a:gd name="connsiteX2659" fmla="*/ 10684919 w 12191986"/>
              <a:gd name="connsiteY2659" fmla="*/ 390131 h 6661143"/>
              <a:gd name="connsiteX2660" fmla="*/ 10691798 w 12191986"/>
              <a:gd name="connsiteY2660" fmla="*/ 381655 h 6661143"/>
              <a:gd name="connsiteX2661" fmla="*/ 10699207 w 12191986"/>
              <a:gd name="connsiteY2661" fmla="*/ 373710 h 6661143"/>
              <a:gd name="connsiteX2662" fmla="*/ 10706615 w 12191986"/>
              <a:gd name="connsiteY2662" fmla="*/ 366294 h 6661143"/>
              <a:gd name="connsiteX2663" fmla="*/ 10715082 w 12191986"/>
              <a:gd name="connsiteY2663" fmla="*/ 359408 h 6661143"/>
              <a:gd name="connsiteX2664" fmla="*/ 10723019 w 12191986"/>
              <a:gd name="connsiteY2664" fmla="*/ 352521 h 6661143"/>
              <a:gd name="connsiteX2665" fmla="*/ 10739424 w 12191986"/>
              <a:gd name="connsiteY2665" fmla="*/ 339808 h 6661143"/>
              <a:gd name="connsiteX2666" fmla="*/ 10756886 w 12191986"/>
              <a:gd name="connsiteY2666" fmla="*/ 328684 h 6661143"/>
              <a:gd name="connsiteX2667" fmla="*/ 10775407 w 12191986"/>
              <a:gd name="connsiteY2667" fmla="*/ 318090 h 6661143"/>
              <a:gd name="connsiteX2668" fmla="*/ 10793928 w 12191986"/>
              <a:gd name="connsiteY2668" fmla="*/ 309085 h 6661143"/>
              <a:gd name="connsiteX2669" fmla="*/ 10812978 w 12191986"/>
              <a:gd name="connsiteY2669" fmla="*/ 300610 h 6661143"/>
              <a:gd name="connsiteX2670" fmla="*/ 10832028 w 12191986"/>
              <a:gd name="connsiteY2670" fmla="*/ 293194 h 6661143"/>
              <a:gd name="connsiteX2671" fmla="*/ 10851607 w 12191986"/>
              <a:gd name="connsiteY2671" fmla="*/ 286308 h 6661143"/>
              <a:gd name="connsiteX2672" fmla="*/ 10871186 w 12191986"/>
              <a:gd name="connsiteY2672" fmla="*/ 279421 h 6661143"/>
              <a:gd name="connsiteX2673" fmla="*/ 10910874 w 12191986"/>
              <a:gd name="connsiteY2673" fmla="*/ 268827 h 6661143"/>
              <a:gd name="connsiteX2674" fmla="*/ 10950032 w 12191986"/>
              <a:gd name="connsiteY2674" fmla="*/ 258763 h 6661143"/>
              <a:gd name="connsiteX2675" fmla="*/ 10952148 w 12191986"/>
              <a:gd name="connsiteY2675" fmla="*/ 281540 h 6661143"/>
              <a:gd name="connsiteX2676" fmla="*/ 10953736 w 12191986"/>
              <a:gd name="connsiteY2676" fmla="*/ 304318 h 6661143"/>
              <a:gd name="connsiteX2677" fmla="*/ 10955324 w 12191986"/>
              <a:gd name="connsiteY2677" fmla="*/ 327625 h 6661143"/>
              <a:gd name="connsiteX2678" fmla="*/ 10956911 w 12191986"/>
              <a:gd name="connsiteY2678" fmla="*/ 350932 h 6661143"/>
              <a:gd name="connsiteX2679" fmla="*/ 10956911 w 12191986"/>
              <a:gd name="connsiteY2679" fmla="*/ 373710 h 6661143"/>
              <a:gd name="connsiteX2680" fmla="*/ 10956911 w 12191986"/>
              <a:gd name="connsiteY2680" fmla="*/ 397547 h 6661143"/>
              <a:gd name="connsiteX2681" fmla="*/ 10955324 w 12191986"/>
              <a:gd name="connsiteY2681" fmla="*/ 421384 h 6661143"/>
              <a:gd name="connsiteX2682" fmla="*/ 10953736 w 12191986"/>
              <a:gd name="connsiteY2682" fmla="*/ 444161 h 6661143"/>
              <a:gd name="connsiteX2683" fmla="*/ 10950561 w 12191986"/>
              <a:gd name="connsiteY2683" fmla="*/ 466939 h 6661143"/>
              <a:gd name="connsiteX2684" fmla="*/ 10947386 w 12191986"/>
              <a:gd name="connsiteY2684" fmla="*/ 489716 h 6661143"/>
              <a:gd name="connsiteX2685" fmla="*/ 10942094 w 12191986"/>
              <a:gd name="connsiteY2685" fmla="*/ 513023 h 6661143"/>
              <a:gd name="connsiteX2686" fmla="*/ 10936274 w 12191986"/>
              <a:gd name="connsiteY2686" fmla="*/ 534742 h 6661143"/>
              <a:gd name="connsiteX2687" fmla="*/ 10929394 w 12191986"/>
              <a:gd name="connsiteY2687" fmla="*/ 556460 h 6661143"/>
              <a:gd name="connsiteX2688" fmla="*/ 10920398 w 12191986"/>
              <a:gd name="connsiteY2688" fmla="*/ 577118 h 6661143"/>
              <a:gd name="connsiteX2689" fmla="*/ 10915636 w 12191986"/>
              <a:gd name="connsiteY2689" fmla="*/ 586653 h 6661143"/>
              <a:gd name="connsiteX2690" fmla="*/ 10910344 w 12191986"/>
              <a:gd name="connsiteY2690" fmla="*/ 597777 h 6661143"/>
              <a:gd name="connsiteX2691" fmla="*/ 10903994 w 12191986"/>
              <a:gd name="connsiteY2691" fmla="*/ 606782 h 6661143"/>
              <a:gd name="connsiteX2692" fmla="*/ 10898174 w 12191986"/>
              <a:gd name="connsiteY2692" fmla="*/ 616847 h 6661143"/>
              <a:gd name="connsiteX2693" fmla="*/ 10891824 w 12191986"/>
              <a:gd name="connsiteY2693" fmla="*/ 626381 h 6661143"/>
              <a:gd name="connsiteX2694" fmla="*/ 10884944 w 12191986"/>
              <a:gd name="connsiteY2694" fmla="*/ 635916 h 6661143"/>
              <a:gd name="connsiteX2695" fmla="*/ 10878065 w 12191986"/>
              <a:gd name="connsiteY2695" fmla="*/ 643862 h 6661143"/>
              <a:gd name="connsiteX2696" fmla="*/ 10871186 w 12191986"/>
              <a:gd name="connsiteY2696" fmla="*/ 652337 h 6661143"/>
              <a:gd name="connsiteX2697" fmla="*/ 10863778 w 12191986"/>
              <a:gd name="connsiteY2697" fmla="*/ 660813 h 6661143"/>
              <a:gd name="connsiteX2698" fmla="*/ 10856369 w 12191986"/>
              <a:gd name="connsiteY2698" fmla="*/ 668758 h 6661143"/>
              <a:gd name="connsiteX2699" fmla="*/ 10848432 w 12191986"/>
              <a:gd name="connsiteY2699" fmla="*/ 675115 h 6661143"/>
              <a:gd name="connsiteX2700" fmla="*/ 10839965 w 12191986"/>
              <a:gd name="connsiteY2700" fmla="*/ 682001 h 6661143"/>
              <a:gd name="connsiteX2701" fmla="*/ 10823561 w 12191986"/>
              <a:gd name="connsiteY2701" fmla="*/ 695244 h 6661143"/>
              <a:gd name="connsiteX2702" fmla="*/ 10806098 w 12191986"/>
              <a:gd name="connsiteY2702" fmla="*/ 706897 h 6661143"/>
              <a:gd name="connsiteX2703" fmla="*/ 10788636 w 12191986"/>
              <a:gd name="connsiteY2703" fmla="*/ 716432 h 6661143"/>
              <a:gd name="connsiteX2704" fmla="*/ 10770115 w 12191986"/>
              <a:gd name="connsiteY2704" fmla="*/ 725967 h 6661143"/>
              <a:gd name="connsiteX2705" fmla="*/ 10751065 w 12191986"/>
              <a:gd name="connsiteY2705" fmla="*/ 733912 h 6661143"/>
              <a:gd name="connsiteX2706" fmla="*/ 10732015 w 12191986"/>
              <a:gd name="connsiteY2706" fmla="*/ 741858 h 6661143"/>
              <a:gd name="connsiteX2707" fmla="*/ 10712436 w 12191986"/>
              <a:gd name="connsiteY2707" fmla="*/ 748744 h 6661143"/>
              <a:gd name="connsiteX2708" fmla="*/ 10693386 w 12191986"/>
              <a:gd name="connsiteY2708" fmla="*/ 754041 h 6661143"/>
              <a:gd name="connsiteX2709" fmla="*/ 10679014 w 12191986"/>
              <a:gd name="connsiteY2709" fmla="*/ 758319 h 6661143"/>
              <a:gd name="connsiteX2710" fmla="*/ 10631716 w 12191986"/>
              <a:gd name="connsiteY2710" fmla="*/ 851959 h 6661143"/>
              <a:gd name="connsiteX2711" fmla="*/ 10726945 w 12191986"/>
              <a:gd name="connsiteY2711" fmla="*/ 1280585 h 6661143"/>
              <a:gd name="connsiteX2712" fmla="*/ 10923344 w 12191986"/>
              <a:gd name="connsiteY2712" fmla="*/ 1175034 h 6661143"/>
              <a:gd name="connsiteX2713" fmla="*/ 10909286 w 12191986"/>
              <a:gd name="connsiteY2713" fmla="*/ 1168815 h 6661143"/>
              <a:gd name="connsiteX2714" fmla="*/ 10928316 w 12191986"/>
              <a:gd name="connsiteY2714" fmla="*/ 1133304 h 6661143"/>
              <a:gd name="connsiteX2715" fmla="*/ 10947346 w 12191986"/>
              <a:gd name="connsiteY2715" fmla="*/ 1098322 h 6661143"/>
              <a:gd name="connsiteX2716" fmla="*/ 10957918 w 12191986"/>
              <a:gd name="connsiteY2716" fmla="*/ 1081361 h 6661143"/>
              <a:gd name="connsiteX2717" fmla="*/ 10967961 w 12191986"/>
              <a:gd name="connsiteY2717" fmla="*/ 1063870 h 6661143"/>
              <a:gd name="connsiteX2718" fmla="*/ 10979591 w 12191986"/>
              <a:gd name="connsiteY2718" fmla="*/ 1047440 h 6661143"/>
              <a:gd name="connsiteX2719" fmla="*/ 10990692 w 12191986"/>
              <a:gd name="connsiteY2719" fmla="*/ 1030479 h 6661143"/>
              <a:gd name="connsiteX2720" fmla="*/ 11002850 w 12191986"/>
              <a:gd name="connsiteY2720" fmla="*/ 1015108 h 6661143"/>
              <a:gd name="connsiteX2721" fmla="*/ 11015008 w 12191986"/>
              <a:gd name="connsiteY2721" fmla="*/ 999738 h 6661143"/>
              <a:gd name="connsiteX2722" fmla="*/ 11028223 w 12191986"/>
              <a:gd name="connsiteY2722" fmla="*/ 985427 h 6661143"/>
              <a:gd name="connsiteX2723" fmla="*/ 11041967 w 12191986"/>
              <a:gd name="connsiteY2723" fmla="*/ 972177 h 6661143"/>
              <a:gd name="connsiteX2724" fmla="*/ 11056239 w 12191986"/>
              <a:gd name="connsiteY2724" fmla="*/ 959457 h 6661143"/>
              <a:gd name="connsiteX2725" fmla="*/ 11071569 w 12191986"/>
              <a:gd name="connsiteY2725" fmla="*/ 948856 h 6661143"/>
              <a:gd name="connsiteX2726" fmla="*/ 11078969 w 12191986"/>
              <a:gd name="connsiteY2726" fmla="*/ 943556 h 6661143"/>
              <a:gd name="connsiteX2727" fmla="*/ 11086898 w 12191986"/>
              <a:gd name="connsiteY2727" fmla="*/ 938786 h 6661143"/>
              <a:gd name="connsiteX2728" fmla="*/ 11094827 w 12191986"/>
              <a:gd name="connsiteY2728" fmla="*/ 934016 h 6661143"/>
              <a:gd name="connsiteX2729" fmla="*/ 11103285 w 12191986"/>
              <a:gd name="connsiteY2729" fmla="*/ 929775 h 6661143"/>
              <a:gd name="connsiteX2730" fmla="*/ 11113329 w 12191986"/>
              <a:gd name="connsiteY2730" fmla="*/ 926065 h 6661143"/>
              <a:gd name="connsiteX2731" fmla="*/ 11122315 w 12191986"/>
              <a:gd name="connsiteY2731" fmla="*/ 922885 h 6661143"/>
              <a:gd name="connsiteX2732" fmla="*/ 11131830 w 12191986"/>
              <a:gd name="connsiteY2732" fmla="*/ 919705 h 6661143"/>
              <a:gd name="connsiteX2733" fmla="*/ 11141345 w 12191986"/>
              <a:gd name="connsiteY2733" fmla="*/ 916525 h 6661143"/>
              <a:gd name="connsiteX2734" fmla="*/ 11151388 w 12191986"/>
              <a:gd name="connsiteY2734" fmla="*/ 914934 h 6661143"/>
              <a:gd name="connsiteX2735" fmla="*/ 11160375 w 12191986"/>
              <a:gd name="connsiteY2735" fmla="*/ 913344 h 6661143"/>
              <a:gd name="connsiteX2736" fmla="*/ 11170418 w 12191986"/>
              <a:gd name="connsiteY2736" fmla="*/ 912283 h 6661143"/>
              <a:gd name="connsiteX2737" fmla="*/ 11180462 w 12191986"/>
              <a:gd name="connsiteY2737" fmla="*/ 912283 h 6661143"/>
              <a:gd name="connsiteX2738" fmla="*/ 11199492 w 12191986"/>
              <a:gd name="connsiteY2738" fmla="*/ 911224 h 6661143"/>
              <a:gd name="connsiteX2739" fmla="*/ 11219050 w 12191986"/>
              <a:gd name="connsiteY2739" fmla="*/ 912814 h 6661143"/>
              <a:gd name="connsiteX2740" fmla="*/ 11238080 w 12191986"/>
              <a:gd name="connsiteY2740" fmla="*/ 915994 h 6661143"/>
              <a:gd name="connsiteX2741" fmla="*/ 11258167 w 12191986"/>
              <a:gd name="connsiteY2741" fmla="*/ 919175 h 6661143"/>
              <a:gd name="connsiteX2742" fmla="*/ 11277197 w 12191986"/>
              <a:gd name="connsiteY2742" fmla="*/ 924475 h 6661143"/>
              <a:gd name="connsiteX2743" fmla="*/ 11296756 w 12191986"/>
              <a:gd name="connsiteY2743" fmla="*/ 929775 h 6661143"/>
              <a:gd name="connsiteX2744" fmla="*/ 11315785 w 12191986"/>
              <a:gd name="connsiteY2744" fmla="*/ 935606 h 6661143"/>
              <a:gd name="connsiteX2745" fmla="*/ 11334815 w 12191986"/>
              <a:gd name="connsiteY2745" fmla="*/ 942496 h 6661143"/>
              <a:gd name="connsiteX2746" fmla="*/ 11372875 w 12191986"/>
              <a:gd name="connsiteY2746" fmla="*/ 957336 h 6661143"/>
              <a:gd name="connsiteX2747" fmla="*/ 11409349 w 12191986"/>
              <a:gd name="connsiteY2747" fmla="*/ 971647 h 6661143"/>
              <a:gd name="connsiteX2748" fmla="*/ 11401948 w 12191986"/>
              <a:gd name="connsiteY2748" fmla="*/ 991258 h 6661143"/>
              <a:gd name="connsiteX2749" fmla="*/ 11392434 w 12191986"/>
              <a:gd name="connsiteY2749" fmla="*/ 1011398 h 6661143"/>
              <a:gd name="connsiteX2750" fmla="*/ 11383447 w 12191986"/>
              <a:gd name="connsiteY2750" fmla="*/ 1030479 h 6661143"/>
              <a:gd name="connsiteX2751" fmla="*/ 11374461 w 12191986"/>
              <a:gd name="connsiteY2751" fmla="*/ 1050090 h 6661143"/>
              <a:gd name="connsiteX2752" fmla="*/ 11363889 w 12191986"/>
              <a:gd name="connsiteY2752" fmla="*/ 1068641 h 6661143"/>
              <a:gd name="connsiteX2753" fmla="*/ 11353317 w 12191986"/>
              <a:gd name="connsiteY2753" fmla="*/ 1087192 h 6661143"/>
              <a:gd name="connsiteX2754" fmla="*/ 11341687 w 12191986"/>
              <a:gd name="connsiteY2754" fmla="*/ 1105212 h 6661143"/>
              <a:gd name="connsiteX2755" fmla="*/ 11329529 w 12191986"/>
              <a:gd name="connsiteY2755" fmla="*/ 1122173 h 6661143"/>
              <a:gd name="connsiteX2756" fmla="*/ 11317371 w 12191986"/>
              <a:gd name="connsiteY2756" fmla="*/ 1138074 h 6661143"/>
              <a:gd name="connsiteX2757" fmla="*/ 11303627 w 12191986"/>
              <a:gd name="connsiteY2757" fmla="*/ 1153974 h 6661143"/>
              <a:gd name="connsiteX2758" fmla="*/ 11289884 w 12191986"/>
              <a:gd name="connsiteY2758" fmla="*/ 1168815 h 6661143"/>
              <a:gd name="connsiteX2759" fmla="*/ 11274554 w 12191986"/>
              <a:gd name="connsiteY2759" fmla="*/ 1182596 h 6661143"/>
              <a:gd name="connsiteX2760" fmla="*/ 11258696 w 12191986"/>
              <a:gd name="connsiteY2760" fmla="*/ 1194786 h 6661143"/>
              <a:gd name="connsiteX2761" fmla="*/ 11242838 w 12191986"/>
              <a:gd name="connsiteY2761" fmla="*/ 1205917 h 6661143"/>
              <a:gd name="connsiteX2762" fmla="*/ 11233323 w 12191986"/>
              <a:gd name="connsiteY2762" fmla="*/ 1211217 h 6661143"/>
              <a:gd name="connsiteX2763" fmla="*/ 11225393 w 12191986"/>
              <a:gd name="connsiteY2763" fmla="*/ 1215987 h 6661143"/>
              <a:gd name="connsiteX2764" fmla="*/ 11215879 w 12191986"/>
              <a:gd name="connsiteY2764" fmla="*/ 1220757 h 6661143"/>
              <a:gd name="connsiteX2765" fmla="*/ 11206892 w 12191986"/>
              <a:gd name="connsiteY2765" fmla="*/ 1224467 h 6661143"/>
              <a:gd name="connsiteX2766" fmla="*/ 11196849 w 12191986"/>
              <a:gd name="connsiteY2766" fmla="*/ 1228178 h 6661143"/>
              <a:gd name="connsiteX2767" fmla="*/ 11187862 w 12191986"/>
              <a:gd name="connsiteY2767" fmla="*/ 1231358 h 6661143"/>
              <a:gd name="connsiteX2768" fmla="*/ 11178876 w 12191986"/>
              <a:gd name="connsiteY2768" fmla="*/ 1234538 h 6661143"/>
              <a:gd name="connsiteX2769" fmla="*/ 11168832 w 12191986"/>
              <a:gd name="connsiteY2769" fmla="*/ 1235598 h 6661143"/>
              <a:gd name="connsiteX2770" fmla="*/ 11159846 w 12191986"/>
              <a:gd name="connsiteY2770" fmla="*/ 1237188 h 6661143"/>
              <a:gd name="connsiteX2771" fmla="*/ 11149803 w 12191986"/>
              <a:gd name="connsiteY2771" fmla="*/ 1238778 h 6661143"/>
              <a:gd name="connsiteX2772" fmla="*/ 11140816 w 12191986"/>
              <a:gd name="connsiteY2772" fmla="*/ 1239838 h 6661143"/>
              <a:gd name="connsiteX2773" fmla="*/ 11131830 w 12191986"/>
              <a:gd name="connsiteY2773" fmla="*/ 1239838 h 6661143"/>
              <a:gd name="connsiteX2774" fmla="*/ 11112800 w 12191986"/>
              <a:gd name="connsiteY2774" fmla="*/ 1238778 h 6661143"/>
              <a:gd name="connsiteX2775" fmla="*/ 11093770 w 12191986"/>
              <a:gd name="connsiteY2775" fmla="*/ 1236658 h 6661143"/>
              <a:gd name="connsiteX2776" fmla="*/ 11074740 w 12191986"/>
              <a:gd name="connsiteY2776" fmla="*/ 1232948 h 6661143"/>
              <a:gd name="connsiteX2777" fmla="*/ 11055710 w 12191986"/>
              <a:gd name="connsiteY2777" fmla="*/ 1228178 h 6661143"/>
              <a:gd name="connsiteX2778" fmla="*/ 11037209 w 12191986"/>
              <a:gd name="connsiteY2778" fmla="*/ 1222878 h 6661143"/>
              <a:gd name="connsiteX2779" fmla="*/ 11018179 w 12191986"/>
              <a:gd name="connsiteY2779" fmla="*/ 1215987 h 6661143"/>
              <a:gd name="connsiteX2780" fmla="*/ 10999678 w 12191986"/>
              <a:gd name="connsiteY2780" fmla="*/ 1208567 h 6661143"/>
              <a:gd name="connsiteX2781" fmla="*/ 10981705 w 12191986"/>
              <a:gd name="connsiteY2781" fmla="*/ 1200616 h 6661143"/>
              <a:gd name="connsiteX2782" fmla="*/ 10961403 w 12191986"/>
              <a:gd name="connsiteY2782" fmla="*/ 1191766 h 6661143"/>
              <a:gd name="connsiteX2783" fmla="*/ 10752869 w 12191986"/>
              <a:gd name="connsiteY2783" fmla="*/ 1323977 h 6661143"/>
              <a:gd name="connsiteX2784" fmla="*/ 10540720 w 12191986"/>
              <a:gd name="connsiteY2784" fmla="*/ 1634598 h 6661143"/>
              <a:gd name="connsiteX2785" fmla="*/ 10605264 w 12191986"/>
              <a:gd name="connsiteY2785" fmla="*/ 2235199 h 6661143"/>
              <a:gd name="connsiteX2786" fmla="*/ 10616903 w 12191986"/>
              <a:gd name="connsiteY2786" fmla="*/ 2233613 h 6661143"/>
              <a:gd name="connsiteX2787" fmla="*/ 10629071 w 12191986"/>
              <a:gd name="connsiteY2787" fmla="*/ 2231497 h 6661143"/>
              <a:gd name="connsiteX2788" fmla="*/ 10641239 w 12191986"/>
              <a:gd name="connsiteY2788" fmla="*/ 2227263 h 6661143"/>
              <a:gd name="connsiteX2789" fmla="*/ 10653936 w 12191986"/>
              <a:gd name="connsiteY2789" fmla="*/ 2223029 h 6661143"/>
              <a:gd name="connsiteX2790" fmla="*/ 10667163 w 12191986"/>
              <a:gd name="connsiteY2790" fmla="*/ 2217740 h 6661143"/>
              <a:gd name="connsiteX2791" fmla="*/ 10679860 w 12191986"/>
              <a:gd name="connsiteY2791" fmla="*/ 2210857 h 6661143"/>
              <a:gd name="connsiteX2792" fmla="*/ 10693615 w 12191986"/>
              <a:gd name="connsiteY2792" fmla="*/ 2203979 h 6661143"/>
              <a:gd name="connsiteX2793" fmla="*/ 10707370 w 12191986"/>
              <a:gd name="connsiteY2793" fmla="*/ 2195511 h 6661143"/>
              <a:gd name="connsiteX2794" fmla="*/ 10720068 w 12191986"/>
              <a:gd name="connsiteY2794" fmla="*/ 2187043 h 6661143"/>
              <a:gd name="connsiteX2795" fmla="*/ 10733823 w 12191986"/>
              <a:gd name="connsiteY2795" fmla="*/ 2178048 h 6661143"/>
              <a:gd name="connsiteX2796" fmla="*/ 10747578 w 12191986"/>
              <a:gd name="connsiteY2796" fmla="*/ 2168525 h 6661143"/>
              <a:gd name="connsiteX2797" fmla="*/ 10761334 w 12191986"/>
              <a:gd name="connsiteY2797" fmla="*/ 2157939 h 6661143"/>
              <a:gd name="connsiteX2798" fmla="*/ 10788315 w 12191986"/>
              <a:gd name="connsiteY2798" fmla="*/ 2137301 h 6661143"/>
              <a:gd name="connsiteX2799" fmla="*/ 10813709 w 12191986"/>
              <a:gd name="connsiteY2799" fmla="*/ 2116134 h 6661143"/>
              <a:gd name="connsiteX2800" fmla="*/ 10838575 w 12191986"/>
              <a:gd name="connsiteY2800" fmla="*/ 2095496 h 6661143"/>
              <a:gd name="connsiteX2801" fmla="*/ 10860266 w 12191986"/>
              <a:gd name="connsiteY2801" fmla="*/ 2074858 h 6661143"/>
              <a:gd name="connsiteX2802" fmla="*/ 10880899 w 12191986"/>
              <a:gd name="connsiteY2802" fmla="*/ 2055812 h 6661143"/>
              <a:gd name="connsiteX2803" fmla="*/ 10898357 w 12191986"/>
              <a:gd name="connsiteY2803" fmla="*/ 2039408 h 6661143"/>
              <a:gd name="connsiteX2804" fmla="*/ 10923752 w 12191986"/>
              <a:gd name="connsiteY2804" fmla="*/ 2013483 h 6661143"/>
              <a:gd name="connsiteX2805" fmla="*/ 10932746 w 12191986"/>
              <a:gd name="connsiteY2805" fmla="*/ 2003959 h 6661143"/>
              <a:gd name="connsiteX2806" fmla="*/ 11355456 w 12191986"/>
              <a:gd name="connsiteY2806" fmla="*/ 1558927 h 6661143"/>
              <a:gd name="connsiteX2807" fmla="*/ 11352106 w 12191986"/>
              <a:gd name="connsiteY2807" fmla="*/ 1471405 h 6661143"/>
              <a:gd name="connsiteX2808" fmla="*/ 11347436 w 12191986"/>
              <a:gd name="connsiteY2808" fmla="*/ 1484275 h 6661143"/>
              <a:gd name="connsiteX2809" fmla="*/ 11340557 w 12191986"/>
              <a:gd name="connsiteY2809" fmla="*/ 1501775 h 6661143"/>
              <a:gd name="connsiteX2810" fmla="*/ 11333678 w 12191986"/>
              <a:gd name="connsiteY2810" fmla="*/ 1496472 h 6661143"/>
              <a:gd name="connsiteX2811" fmla="*/ 11326799 w 12191986"/>
              <a:gd name="connsiteY2811" fmla="*/ 1490639 h 6661143"/>
              <a:gd name="connsiteX2812" fmla="*/ 11319920 w 12191986"/>
              <a:gd name="connsiteY2812" fmla="*/ 1485335 h 6661143"/>
              <a:gd name="connsiteX2813" fmla="*/ 11314099 w 12191986"/>
              <a:gd name="connsiteY2813" fmla="*/ 1478971 h 6661143"/>
              <a:gd name="connsiteX2814" fmla="*/ 11308807 w 12191986"/>
              <a:gd name="connsiteY2814" fmla="*/ 1473138 h 6661143"/>
              <a:gd name="connsiteX2815" fmla="*/ 11303515 w 12191986"/>
              <a:gd name="connsiteY2815" fmla="*/ 1466244 h 6661143"/>
              <a:gd name="connsiteX2816" fmla="*/ 11298753 w 12191986"/>
              <a:gd name="connsiteY2816" fmla="*/ 1459880 h 6661143"/>
              <a:gd name="connsiteX2817" fmla="*/ 11293990 w 12191986"/>
              <a:gd name="connsiteY2817" fmla="*/ 1452985 h 6661143"/>
              <a:gd name="connsiteX2818" fmla="*/ 11290286 w 12191986"/>
              <a:gd name="connsiteY2818" fmla="*/ 1446091 h 6661143"/>
              <a:gd name="connsiteX2819" fmla="*/ 11286582 w 12191986"/>
              <a:gd name="connsiteY2819" fmla="*/ 1439197 h 6661143"/>
              <a:gd name="connsiteX2820" fmla="*/ 11283407 w 12191986"/>
              <a:gd name="connsiteY2820" fmla="*/ 1431772 h 6661143"/>
              <a:gd name="connsiteX2821" fmla="*/ 11280232 w 12191986"/>
              <a:gd name="connsiteY2821" fmla="*/ 1424878 h 6661143"/>
              <a:gd name="connsiteX2822" fmla="*/ 11278115 w 12191986"/>
              <a:gd name="connsiteY2822" fmla="*/ 1416923 h 6661143"/>
              <a:gd name="connsiteX2823" fmla="*/ 11276528 w 12191986"/>
              <a:gd name="connsiteY2823" fmla="*/ 1409498 h 6661143"/>
              <a:gd name="connsiteX2824" fmla="*/ 11274411 w 12191986"/>
              <a:gd name="connsiteY2824" fmla="*/ 1402074 h 6661143"/>
              <a:gd name="connsiteX2825" fmla="*/ 11273353 w 12191986"/>
              <a:gd name="connsiteY2825" fmla="*/ 1394119 h 6661143"/>
              <a:gd name="connsiteX2826" fmla="*/ 11271765 w 12191986"/>
              <a:gd name="connsiteY2826" fmla="*/ 1378208 h 6661143"/>
              <a:gd name="connsiteX2827" fmla="*/ 11271236 w 12191986"/>
              <a:gd name="connsiteY2827" fmla="*/ 1362298 h 6661143"/>
              <a:gd name="connsiteX2828" fmla="*/ 11272824 w 12191986"/>
              <a:gd name="connsiteY2828" fmla="*/ 1345328 h 6661143"/>
              <a:gd name="connsiteX2829" fmla="*/ 11274940 w 12191986"/>
              <a:gd name="connsiteY2829" fmla="*/ 1328357 h 6661143"/>
              <a:gd name="connsiteX2830" fmla="*/ 11278644 w 12191986"/>
              <a:gd name="connsiteY2830" fmla="*/ 1311917 h 6661143"/>
              <a:gd name="connsiteX2831" fmla="*/ 11284465 w 12191986"/>
              <a:gd name="connsiteY2831" fmla="*/ 1294946 h 6661143"/>
              <a:gd name="connsiteX2832" fmla="*/ 11290286 w 12191986"/>
              <a:gd name="connsiteY2832" fmla="*/ 1277445 h 6661143"/>
              <a:gd name="connsiteX2833" fmla="*/ 11297694 w 12191986"/>
              <a:gd name="connsiteY2833" fmla="*/ 1260475 h 6661143"/>
              <a:gd name="connsiteX2834" fmla="*/ 11304574 w 12191986"/>
              <a:gd name="connsiteY2834" fmla="*/ 1265248 h 6661143"/>
              <a:gd name="connsiteX2835" fmla="*/ 11311453 w 12191986"/>
              <a:gd name="connsiteY2835" fmla="*/ 1271081 h 6661143"/>
              <a:gd name="connsiteX2836" fmla="*/ 11317803 w 12191986"/>
              <a:gd name="connsiteY2836" fmla="*/ 1276385 h 6661143"/>
              <a:gd name="connsiteX2837" fmla="*/ 11323095 w 12191986"/>
              <a:gd name="connsiteY2837" fmla="*/ 1282749 h 6661143"/>
              <a:gd name="connsiteX2838" fmla="*/ 11328915 w 12191986"/>
              <a:gd name="connsiteY2838" fmla="*/ 1288582 h 6661143"/>
              <a:gd name="connsiteX2839" fmla="*/ 11333678 w 12191986"/>
              <a:gd name="connsiteY2839" fmla="*/ 1294946 h 6661143"/>
              <a:gd name="connsiteX2840" fmla="*/ 11338441 w 12191986"/>
              <a:gd name="connsiteY2840" fmla="*/ 1301841 h 6661143"/>
              <a:gd name="connsiteX2841" fmla="*/ 11342674 w 12191986"/>
              <a:gd name="connsiteY2841" fmla="*/ 1308735 h 6661143"/>
              <a:gd name="connsiteX2842" fmla="*/ 11346907 w 12191986"/>
              <a:gd name="connsiteY2842" fmla="*/ 1314569 h 6661143"/>
              <a:gd name="connsiteX2843" fmla="*/ 11349553 w 12191986"/>
              <a:gd name="connsiteY2843" fmla="*/ 1322524 h 6661143"/>
              <a:gd name="connsiteX2844" fmla="*/ 11350222 w 12191986"/>
              <a:gd name="connsiteY2844" fmla="*/ 1323977 h 6661143"/>
              <a:gd name="connsiteX2845" fmla="*/ 11358101 w 12191986"/>
              <a:gd name="connsiteY2845" fmla="*/ 1323977 h 6661143"/>
              <a:gd name="connsiteX2846" fmla="*/ 11388257 w 12191986"/>
              <a:gd name="connsiteY2846" fmla="*/ 1548344 h 6661143"/>
              <a:gd name="connsiteX2847" fmla="*/ 11498255 w 12191986"/>
              <a:gd name="connsiteY2847" fmla="*/ 1489382 h 6661143"/>
              <a:gd name="connsiteX2848" fmla="*/ 11488724 w 12191986"/>
              <a:gd name="connsiteY2848" fmla="*/ 1487004 h 6661143"/>
              <a:gd name="connsiteX2849" fmla="*/ 11502482 w 12191986"/>
              <a:gd name="connsiteY2849" fmla="*/ 1455848 h 6661143"/>
              <a:gd name="connsiteX2850" fmla="*/ 11515182 w 12191986"/>
              <a:gd name="connsiteY2850" fmla="*/ 1424692 h 6661143"/>
              <a:gd name="connsiteX2851" fmla="*/ 11522062 w 12191986"/>
              <a:gd name="connsiteY2851" fmla="*/ 1408322 h 6661143"/>
              <a:gd name="connsiteX2852" fmla="*/ 11528941 w 12191986"/>
              <a:gd name="connsiteY2852" fmla="*/ 1393536 h 6661143"/>
              <a:gd name="connsiteX2853" fmla="*/ 11535820 w 12191986"/>
              <a:gd name="connsiteY2853" fmla="*/ 1378222 h 6661143"/>
              <a:gd name="connsiteX2854" fmla="*/ 11544287 w 12191986"/>
              <a:gd name="connsiteY2854" fmla="*/ 1362908 h 6661143"/>
              <a:gd name="connsiteX2855" fmla="*/ 11551695 w 12191986"/>
              <a:gd name="connsiteY2855" fmla="*/ 1348650 h 6661143"/>
              <a:gd name="connsiteX2856" fmla="*/ 11561220 w 12191986"/>
              <a:gd name="connsiteY2856" fmla="*/ 1334920 h 6661143"/>
              <a:gd name="connsiteX2857" fmla="*/ 11570216 w 12191986"/>
              <a:gd name="connsiteY2857" fmla="*/ 1321719 h 6661143"/>
              <a:gd name="connsiteX2858" fmla="*/ 11580799 w 12191986"/>
              <a:gd name="connsiteY2858" fmla="*/ 1309573 h 6661143"/>
              <a:gd name="connsiteX2859" fmla="*/ 11591382 w 12191986"/>
              <a:gd name="connsiteY2859" fmla="*/ 1298484 h 6661143"/>
              <a:gd name="connsiteX2860" fmla="*/ 11603553 w 12191986"/>
              <a:gd name="connsiteY2860" fmla="*/ 1287394 h 6661143"/>
              <a:gd name="connsiteX2861" fmla="*/ 11609903 w 12191986"/>
              <a:gd name="connsiteY2861" fmla="*/ 1283170 h 6661143"/>
              <a:gd name="connsiteX2862" fmla="*/ 11615724 w 12191986"/>
              <a:gd name="connsiteY2862" fmla="*/ 1278417 h 6661143"/>
              <a:gd name="connsiteX2863" fmla="*/ 11622603 w 12191986"/>
              <a:gd name="connsiteY2863" fmla="*/ 1273664 h 6661143"/>
              <a:gd name="connsiteX2864" fmla="*/ 11630541 w 12191986"/>
              <a:gd name="connsiteY2864" fmla="*/ 1269968 h 6661143"/>
              <a:gd name="connsiteX2865" fmla="*/ 11641653 w 12191986"/>
              <a:gd name="connsiteY2865" fmla="*/ 1264687 h 6661143"/>
              <a:gd name="connsiteX2866" fmla="*/ 11654883 w 12191986"/>
              <a:gd name="connsiteY2866" fmla="*/ 1260991 h 6661143"/>
              <a:gd name="connsiteX2867" fmla="*/ 11667053 w 12191986"/>
              <a:gd name="connsiteY2867" fmla="*/ 1257822 h 6661143"/>
              <a:gd name="connsiteX2868" fmla="*/ 11679224 w 12191986"/>
              <a:gd name="connsiteY2868" fmla="*/ 1255710 h 6661143"/>
              <a:gd name="connsiteX2869" fmla="*/ 11691924 w 12191986"/>
              <a:gd name="connsiteY2869" fmla="*/ 1254126 h 6661143"/>
              <a:gd name="connsiteX2870" fmla="*/ 11704095 w 12191986"/>
              <a:gd name="connsiteY2870" fmla="*/ 1254126 h 6661143"/>
              <a:gd name="connsiteX2871" fmla="*/ 11717324 w 12191986"/>
              <a:gd name="connsiteY2871" fmla="*/ 1254126 h 6661143"/>
              <a:gd name="connsiteX2872" fmla="*/ 11729495 w 12191986"/>
              <a:gd name="connsiteY2872" fmla="*/ 1254654 h 6661143"/>
              <a:gd name="connsiteX2873" fmla="*/ 11755424 w 12191986"/>
              <a:gd name="connsiteY2873" fmla="*/ 1257294 h 6661143"/>
              <a:gd name="connsiteX2874" fmla="*/ 11780295 w 12191986"/>
              <a:gd name="connsiteY2874" fmla="*/ 1260991 h 6661143"/>
              <a:gd name="connsiteX2875" fmla="*/ 11804637 w 12191986"/>
              <a:gd name="connsiteY2875" fmla="*/ 1265743 h 6661143"/>
              <a:gd name="connsiteX2876" fmla="*/ 11830037 w 12191986"/>
              <a:gd name="connsiteY2876" fmla="*/ 1269440 h 6661143"/>
              <a:gd name="connsiteX2877" fmla="*/ 11818395 w 12191986"/>
              <a:gd name="connsiteY2877" fmla="*/ 1299012 h 6661143"/>
              <a:gd name="connsiteX2878" fmla="*/ 11807283 w 12191986"/>
              <a:gd name="connsiteY2878" fmla="*/ 1328584 h 6661143"/>
              <a:gd name="connsiteX2879" fmla="*/ 11795112 w 12191986"/>
              <a:gd name="connsiteY2879" fmla="*/ 1359212 h 6661143"/>
              <a:gd name="connsiteX2880" fmla="*/ 11781883 w 12191986"/>
              <a:gd name="connsiteY2880" fmla="*/ 1388255 h 6661143"/>
              <a:gd name="connsiteX2881" fmla="*/ 11775004 w 12191986"/>
              <a:gd name="connsiteY2881" fmla="*/ 1401985 h 6661143"/>
              <a:gd name="connsiteX2882" fmla="*/ 11767595 w 12191986"/>
              <a:gd name="connsiteY2882" fmla="*/ 1415187 h 6661143"/>
              <a:gd name="connsiteX2883" fmla="*/ 11759129 w 12191986"/>
              <a:gd name="connsiteY2883" fmla="*/ 1428389 h 6661143"/>
              <a:gd name="connsiteX2884" fmla="*/ 11750133 w 12191986"/>
              <a:gd name="connsiteY2884" fmla="*/ 1440534 h 6661143"/>
              <a:gd name="connsiteX2885" fmla="*/ 11740079 w 12191986"/>
              <a:gd name="connsiteY2885" fmla="*/ 1452680 h 6661143"/>
              <a:gd name="connsiteX2886" fmla="*/ 11730024 w 12191986"/>
              <a:gd name="connsiteY2886" fmla="*/ 1463241 h 6661143"/>
              <a:gd name="connsiteX2887" fmla="*/ 11717854 w 12191986"/>
              <a:gd name="connsiteY2887" fmla="*/ 1472746 h 6661143"/>
              <a:gd name="connsiteX2888" fmla="*/ 11705683 w 12191986"/>
              <a:gd name="connsiteY2888" fmla="*/ 1481723 h 6661143"/>
              <a:gd name="connsiteX2889" fmla="*/ 11692983 w 12191986"/>
              <a:gd name="connsiteY2889" fmla="*/ 1489116 h 6661143"/>
              <a:gd name="connsiteX2890" fmla="*/ 11679753 w 12191986"/>
              <a:gd name="connsiteY2890" fmla="*/ 1495453 h 6661143"/>
              <a:gd name="connsiteX2891" fmla="*/ 11665995 w 12191986"/>
              <a:gd name="connsiteY2891" fmla="*/ 1499678 h 6661143"/>
              <a:gd name="connsiteX2892" fmla="*/ 11653295 w 12191986"/>
              <a:gd name="connsiteY2892" fmla="*/ 1503902 h 6661143"/>
              <a:gd name="connsiteX2893" fmla="*/ 11639537 w 12191986"/>
              <a:gd name="connsiteY2893" fmla="*/ 1506014 h 6661143"/>
              <a:gd name="connsiteX2894" fmla="*/ 11625778 w 12191986"/>
              <a:gd name="connsiteY2894" fmla="*/ 1507599 h 6661143"/>
              <a:gd name="connsiteX2895" fmla="*/ 11612020 w 12191986"/>
              <a:gd name="connsiteY2895" fmla="*/ 1508127 h 6661143"/>
              <a:gd name="connsiteX2896" fmla="*/ 11598262 w 12191986"/>
              <a:gd name="connsiteY2896" fmla="*/ 1507599 h 6661143"/>
              <a:gd name="connsiteX2897" fmla="*/ 11584503 w 12191986"/>
              <a:gd name="connsiteY2897" fmla="*/ 1506014 h 6661143"/>
              <a:gd name="connsiteX2898" fmla="*/ 11570745 w 12191986"/>
              <a:gd name="connsiteY2898" fmla="*/ 1504430 h 6661143"/>
              <a:gd name="connsiteX2899" fmla="*/ 11556987 w 12191986"/>
              <a:gd name="connsiteY2899" fmla="*/ 1502318 h 6661143"/>
              <a:gd name="connsiteX2900" fmla="*/ 11542699 w 12191986"/>
              <a:gd name="connsiteY2900" fmla="*/ 1499678 h 6661143"/>
              <a:gd name="connsiteX2901" fmla="*/ 11537199 w 12191986"/>
              <a:gd name="connsiteY2901" fmla="*/ 1498470 h 6661143"/>
              <a:gd name="connsiteX2902" fmla="*/ 11386141 w 12191986"/>
              <a:gd name="connsiteY2902" fmla="*/ 1583269 h 6661143"/>
              <a:gd name="connsiteX2903" fmla="*/ 11033265 w 12191986"/>
              <a:gd name="connsiteY2903" fmla="*/ 1987551 h 6661143"/>
              <a:gd name="connsiteX2904" fmla="*/ 11544636 w 12191986"/>
              <a:gd name="connsiteY2904" fmla="*/ 1872067 h 6661143"/>
              <a:gd name="connsiteX2905" fmla="*/ 11563275 w 12191986"/>
              <a:gd name="connsiteY2905" fmla="*/ 1856217 h 6661143"/>
              <a:gd name="connsiteX2906" fmla="*/ 11587554 w 12191986"/>
              <a:gd name="connsiteY2906" fmla="*/ 1834956 h 6661143"/>
              <a:gd name="connsiteX2907" fmla="*/ 11599693 w 12191986"/>
              <a:gd name="connsiteY2907" fmla="*/ 1824326 h 6661143"/>
              <a:gd name="connsiteX2908" fmla="*/ 11611832 w 12191986"/>
              <a:gd name="connsiteY2908" fmla="*/ 1814227 h 6661143"/>
              <a:gd name="connsiteX2909" fmla="*/ 11624500 w 12191986"/>
              <a:gd name="connsiteY2909" fmla="*/ 1804128 h 6661143"/>
              <a:gd name="connsiteX2910" fmla="*/ 11637694 w 12191986"/>
              <a:gd name="connsiteY2910" fmla="*/ 1795093 h 6661143"/>
              <a:gd name="connsiteX2911" fmla="*/ 11650362 w 12191986"/>
              <a:gd name="connsiteY2911" fmla="*/ 1786588 h 6661143"/>
              <a:gd name="connsiteX2912" fmla="*/ 11663557 w 12191986"/>
              <a:gd name="connsiteY2912" fmla="*/ 1779147 h 6661143"/>
              <a:gd name="connsiteX2913" fmla="*/ 11677279 w 12191986"/>
              <a:gd name="connsiteY2913" fmla="*/ 1772769 h 6661143"/>
              <a:gd name="connsiteX2914" fmla="*/ 11690474 w 12191986"/>
              <a:gd name="connsiteY2914" fmla="*/ 1767454 h 6661143"/>
              <a:gd name="connsiteX2915" fmla="*/ 11704197 w 12191986"/>
              <a:gd name="connsiteY2915" fmla="*/ 1762670 h 6661143"/>
              <a:gd name="connsiteX2916" fmla="*/ 11718975 w 12191986"/>
              <a:gd name="connsiteY2916" fmla="*/ 1760013 h 6661143"/>
              <a:gd name="connsiteX2917" fmla="*/ 11726365 w 12191986"/>
              <a:gd name="connsiteY2917" fmla="*/ 1758950 h 6661143"/>
              <a:gd name="connsiteX2918" fmla="*/ 11734282 w 12191986"/>
              <a:gd name="connsiteY2918" fmla="*/ 1758950 h 6661143"/>
              <a:gd name="connsiteX2919" fmla="*/ 11741143 w 12191986"/>
              <a:gd name="connsiteY2919" fmla="*/ 1758950 h 6661143"/>
              <a:gd name="connsiteX2920" fmla="*/ 11748532 w 12191986"/>
              <a:gd name="connsiteY2920" fmla="*/ 1758950 h 6661143"/>
              <a:gd name="connsiteX2921" fmla="*/ 11763838 w 12191986"/>
              <a:gd name="connsiteY2921" fmla="*/ 1760544 h 6661143"/>
              <a:gd name="connsiteX2922" fmla="*/ 11778089 w 12191986"/>
              <a:gd name="connsiteY2922" fmla="*/ 1762670 h 6661143"/>
              <a:gd name="connsiteX2923" fmla="*/ 11791812 w 12191986"/>
              <a:gd name="connsiteY2923" fmla="*/ 1765859 h 6661143"/>
              <a:gd name="connsiteX2924" fmla="*/ 11805534 w 12191986"/>
              <a:gd name="connsiteY2924" fmla="*/ 1771174 h 6661143"/>
              <a:gd name="connsiteX2925" fmla="*/ 11818201 w 12191986"/>
              <a:gd name="connsiteY2925" fmla="*/ 1777553 h 6661143"/>
              <a:gd name="connsiteX2926" fmla="*/ 11831396 w 12191986"/>
              <a:gd name="connsiteY2926" fmla="*/ 1784462 h 6661143"/>
              <a:gd name="connsiteX2927" fmla="*/ 11844064 w 12191986"/>
              <a:gd name="connsiteY2927" fmla="*/ 1792966 h 6661143"/>
              <a:gd name="connsiteX2928" fmla="*/ 11856203 w 12191986"/>
              <a:gd name="connsiteY2928" fmla="*/ 1800939 h 6661143"/>
              <a:gd name="connsiteX2929" fmla="*/ 11868342 w 12191986"/>
              <a:gd name="connsiteY2929" fmla="*/ 1810506 h 6661143"/>
              <a:gd name="connsiteX2930" fmla="*/ 11879954 w 12191986"/>
              <a:gd name="connsiteY2930" fmla="*/ 1820074 h 6661143"/>
              <a:gd name="connsiteX2931" fmla="*/ 11892093 w 12191986"/>
              <a:gd name="connsiteY2931" fmla="*/ 1831236 h 6661143"/>
              <a:gd name="connsiteX2932" fmla="*/ 11903705 w 12191986"/>
              <a:gd name="connsiteY2932" fmla="*/ 1841866 h 6661143"/>
              <a:gd name="connsiteX2933" fmla="*/ 11925344 w 12191986"/>
              <a:gd name="connsiteY2933" fmla="*/ 1863127 h 6661143"/>
              <a:gd name="connsiteX2934" fmla="*/ 11947512 w 12191986"/>
              <a:gd name="connsiteY2934" fmla="*/ 1884918 h 6661143"/>
              <a:gd name="connsiteX2935" fmla="*/ 11924289 w 12191986"/>
              <a:gd name="connsiteY2935" fmla="*/ 1904053 h 6661143"/>
              <a:gd name="connsiteX2936" fmla="*/ 11900538 w 12191986"/>
              <a:gd name="connsiteY2936" fmla="*/ 1924250 h 6661143"/>
              <a:gd name="connsiteX2937" fmla="*/ 11888399 w 12191986"/>
              <a:gd name="connsiteY2937" fmla="*/ 1934348 h 6661143"/>
              <a:gd name="connsiteX2938" fmla="*/ 11876259 w 12191986"/>
              <a:gd name="connsiteY2938" fmla="*/ 1944445 h 6661143"/>
              <a:gd name="connsiteX2939" fmla="*/ 11864120 w 12191986"/>
              <a:gd name="connsiteY2939" fmla="*/ 1954546 h 6661143"/>
              <a:gd name="connsiteX2940" fmla="*/ 11850925 w 12191986"/>
              <a:gd name="connsiteY2940" fmla="*/ 1963582 h 6661143"/>
              <a:gd name="connsiteX2941" fmla="*/ 11838786 w 12191986"/>
              <a:gd name="connsiteY2941" fmla="*/ 1972087 h 6661143"/>
              <a:gd name="connsiteX2942" fmla="*/ 11826118 w 12191986"/>
              <a:gd name="connsiteY2942" fmla="*/ 1979529 h 6661143"/>
              <a:gd name="connsiteX2943" fmla="*/ 11812396 w 12191986"/>
              <a:gd name="connsiteY2943" fmla="*/ 1985908 h 6661143"/>
              <a:gd name="connsiteX2944" fmla="*/ 11798673 w 12191986"/>
              <a:gd name="connsiteY2944" fmla="*/ 1991222 h 6661143"/>
              <a:gd name="connsiteX2945" fmla="*/ 11791812 w 12191986"/>
              <a:gd name="connsiteY2945" fmla="*/ 1993348 h 6661143"/>
              <a:gd name="connsiteX2946" fmla="*/ 11784950 w 12191986"/>
              <a:gd name="connsiteY2946" fmla="*/ 1994942 h 6661143"/>
              <a:gd name="connsiteX2947" fmla="*/ 11778089 w 12191986"/>
              <a:gd name="connsiteY2947" fmla="*/ 1996538 h 6661143"/>
              <a:gd name="connsiteX2948" fmla="*/ 11770700 w 12191986"/>
              <a:gd name="connsiteY2948" fmla="*/ 1998133 h 6661143"/>
              <a:gd name="connsiteX2949" fmla="*/ 11763838 w 12191986"/>
              <a:gd name="connsiteY2949" fmla="*/ 1998133 h 6661143"/>
              <a:gd name="connsiteX2950" fmla="*/ 11755921 w 12191986"/>
              <a:gd name="connsiteY2950" fmla="*/ 1998665 h 6661143"/>
              <a:gd name="connsiteX2951" fmla="*/ 11748532 w 12191986"/>
              <a:gd name="connsiteY2951" fmla="*/ 1998133 h 6661143"/>
              <a:gd name="connsiteX2952" fmla="*/ 11741143 w 12191986"/>
              <a:gd name="connsiteY2952" fmla="*/ 1997070 h 6661143"/>
              <a:gd name="connsiteX2953" fmla="*/ 11733226 w 12191986"/>
              <a:gd name="connsiteY2953" fmla="*/ 1998133 h 6661143"/>
              <a:gd name="connsiteX2954" fmla="*/ 11725837 w 12191986"/>
              <a:gd name="connsiteY2954" fmla="*/ 1998133 h 6661143"/>
              <a:gd name="connsiteX2955" fmla="*/ 11717920 w 12191986"/>
              <a:gd name="connsiteY2955" fmla="*/ 1997070 h 6661143"/>
              <a:gd name="connsiteX2956" fmla="*/ 11711058 w 12191986"/>
              <a:gd name="connsiteY2956" fmla="*/ 1996538 h 6661143"/>
              <a:gd name="connsiteX2957" fmla="*/ 11696808 w 12191986"/>
              <a:gd name="connsiteY2957" fmla="*/ 1993348 h 6661143"/>
              <a:gd name="connsiteX2958" fmla="*/ 11682557 w 12191986"/>
              <a:gd name="connsiteY2958" fmla="*/ 1989626 h 6661143"/>
              <a:gd name="connsiteX2959" fmla="*/ 11669362 w 12191986"/>
              <a:gd name="connsiteY2959" fmla="*/ 1984310 h 6661143"/>
              <a:gd name="connsiteX2960" fmla="*/ 11655640 w 12191986"/>
              <a:gd name="connsiteY2960" fmla="*/ 1977403 h 6661143"/>
              <a:gd name="connsiteX2961" fmla="*/ 11642972 w 12191986"/>
              <a:gd name="connsiteY2961" fmla="*/ 1969430 h 6661143"/>
              <a:gd name="connsiteX2962" fmla="*/ 11630833 w 12191986"/>
              <a:gd name="connsiteY2962" fmla="*/ 1960393 h 6661143"/>
              <a:gd name="connsiteX2963" fmla="*/ 11617638 w 12191986"/>
              <a:gd name="connsiteY2963" fmla="*/ 1951359 h 6661143"/>
              <a:gd name="connsiteX2964" fmla="*/ 11606554 w 12191986"/>
              <a:gd name="connsiteY2964" fmla="*/ 1941259 h 6661143"/>
              <a:gd name="connsiteX2965" fmla="*/ 11594415 w 12191986"/>
              <a:gd name="connsiteY2965" fmla="*/ 1930628 h 6661143"/>
              <a:gd name="connsiteX2966" fmla="*/ 11582803 w 12191986"/>
              <a:gd name="connsiteY2966" fmla="*/ 1919998 h 6661143"/>
              <a:gd name="connsiteX2967" fmla="*/ 11560636 w 12191986"/>
              <a:gd name="connsiteY2967" fmla="*/ 1898206 h 6661143"/>
              <a:gd name="connsiteX2968" fmla="*/ 11560367 w 12191986"/>
              <a:gd name="connsiteY2968" fmla="*/ 1897928 h 6661143"/>
              <a:gd name="connsiteX2969" fmla="*/ 11390902 w 12191986"/>
              <a:gd name="connsiteY2969" fmla="*/ 1949982 h 6661143"/>
              <a:gd name="connsiteX2970" fmla="*/ 11427213 w 12191986"/>
              <a:gd name="connsiteY2970" fmla="*/ 1965363 h 6661143"/>
              <a:gd name="connsiteX2971" fmla="*/ 11430890 w 12191986"/>
              <a:gd name="connsiteY2971" fmla="*/ 1964265 h 6661143"/>
              <a:gd name="connsiteX2972" fmla="*/ 11450918 w 12191986"/>
              <a:gd name="connsiteY2972" fmla="*/ 1957916 h 6661143"/>
              <a:gd name="connsiteX2973" fmla="*/ 11470420 w 12191986"/>
              <a:gd name="connsiteY2973" fmla="*/ 1952626 h 6661143"/>
              <a:gd name="connsiteX2974" fmla="*/ 11480435 w 12191986"/>
              <a:gd name="connsiteY2974" fmla="*/ 1951037 h 6661143"/>
              <a:gd name="connsiteX2975" fmla="*/ 11490976 w 12191986"/>
              <a:gd name="connsiteY2975" fmla="*/ 1949451 h 6661143"/>
              <a:gd name="connsiteX2976" fmla="*/ 11500991 w 12191986"/>
              <a:gd name="connsiteY2976" fmla="*/ 1949451 h 6661143"/>
              <a:gd name="connsiteX2977" fmla="*/ 11511005 w 12191986"/>
              <a:gd name="connsiteY2977" fmla="*/ 1949451 h 6661143"/>
              <a:gd name="connsiteX2978" fmla="*/ 11520492 w 12191986"/>
              <a:gd name="connsiteY2978" fmla="*/ 1951037 h 6661143"/>
              <a:gd name="connsiteX2979" fmla="*/ 11530507 w 12191986"/>
              <a:gd name="connsiteY2979" fmla="*/ 1953684 h 6661143"/>
              <a:gd name="connsiteX2980" fmla="*/ 11540521 w 12191986"/>
              <a:gd name="connsiteY2980" fmla="*/ 1957388 h 6661143"/>
              <a:gd name="connsiteX2981" fmla="*/ 11550536 w 12191986"/>
              <a:gd name="connsiteY2981" fmla="*/ 1961621 h 6661143"/>
              <a:gd name="connsiteX2982" fmla="*/ 11559496 w 12191986"/>
              <a:gd name="connsiteY2982" fmla="*/ 1967442 h 6661143"/>
              <a:gd name="connsiteX2983" fmla="*/ 11567929 w 12191986"/>
              <a:gd name="connsiteY2983" fmla="*/ 1974320 h 6661143"/>
              <a:gd name="connsiteX2984" fmla="*/ 11575308 w 12191986"/>
              <a:gd name="connsiteY2984" fmla="*/ 1980671 h 6661143"/>
              <a:gd name="connsiteX2985" fmla="*/ 11582687 w 12191986"/>
              <a:gd name="connsiteY2985" fmla="*/ 1988608 h 6661143"/>
              <a:gd name="connsiteX2986" fmla="*/ 11589539 w 12191986"/>
              <a:gd name="connsiteY2986" fmla="*/ 1997077 h 6661143"/>
              <a:gd name="connsiteX2987" fmla="*/ 11596391 w 12191986"/>
              <a:gd name="connsiteY2987" fmla="*/ 2005546 h 6661143"/>
              <a:gd name="connsiteX2988" fmla="*/ 11603243 w 12191986"/>
              <a:gd name="connsiteY2988" fmla="*/ 2014540 h 6661143"/>
              <a:gd name="connsiteX2989" fmla="*/ 11609568 w 12191986"/>
              <a:gd name="connsiteY2989" fmla="*/ 2024593 h 6661143"/>
              <a:gd name="connsiteX2990" fmla="*/ 11622218 w 12191986"/>
              <a:gd name="connsiteY2990" fmla="*/ 2043641 h 6661143"/>
              <a:gd name="connsiteX2991" fmla="*/ 11633813 w 12191986"/>
              <a:gd name="connsiteY2991" fmla="*/ 2064275 h 6661143"/>
              <a:gd name="connsiteX2992" fmla="*/ 11645936 w 12191986"/>
              <a:gd name="connsiteY2992" fmla="*/ 2083853 h 6661143"/>
              <a:gd name="connsiteX2993" fmla="*/ 11658586 w 12191986"/>
              <a:gd name="connsiteY2993" fmla="*/ 2103433 h 6661143"/>
              <a:gd name="connsiteX2994" fmla="*/ 11639084 w 12191986"/>
              <a:gd name="connsiteY2994" fmla="*/ 2108195 h 6661143"/>
              <a:gd name="connsiteX2995" fmla="*/ 11618528 w 12191986"/>
              <a:gd name="connsiteY2995" fmla="*/ 2114547 h 6661143"/>
              <a:gd name="connsiteX2996" fmla="*/ 11597972 w 12191986"/>
              <a:gd name="connsiteY2996" fmla="*/ 2120367 h 6661143"/>
              <a:gd name="connsiteX2997" fmla="*/ 11578471 w 12191986"/>
              <a:gd name="connsiteY2997" fmla="*/ 2125660 h 6661143"/>
              <a:gd name="connsiteX2998" fmla="*/ 11568456 w 12191986"/>
              <a:gd name="connsiteY2998" fmla="*/ 2128306 h 6661143"/>
              <a:gd name="connsiteX2999" fmla="*/ 11558442 w 12191986"/>
              <a:gd name="connsiteY2999" fmla="*/ 2129364 h 6661143"/>
              <a:gd name="connsiteX3000" fmla="*/ 11548954 w 12191986"/>
              <a:gd name="connsiteY3000" fmla="*/ 2130422 h 6661143"/>
              <a:gd name="connsiteX3001" fmla="*/ 11538940 w 12191986"/>
              <a:gd name="connsiteY3001" fmla="*/ 2129364 h 6661143"/>
              <a:gd name="connsiteX3002" fmla="*/ 11528926 w 12191986"/>
              <a:gd name="connsiteY3002" fmla="*/ 2128835 h 6661143"/>
              <a:gd name="connsiteX3003" fmla="*/ 11518911 w 12191986"/>
              <a:gd name="connsiteY3003" fmla="*/ 2126718 h 6661143"/>
              <a:gd name="connsiteX3004" fmla="*/ 11509951 w 12191986"/>
              <a:gd name="connsiteY3004" fmla="*/ 2122483 h 6661143"/>
              <a:gd name="connsiteX3005" fmla="*/ 11499936 w 12191986"/>
              <a:gd name="connsiteY3005" fmla="*/ 2117192 h 6661143"/>
              <a:gd name="connsiteX3006" fmla="*/ 11490976 w 12191986"/>
              <a:gd name="connsiteY3006" fmla="*/ 2111372 h 6661143"/>
              <a:gd name="connsiteX3007" fmla="*/ 11482016 w 12191986"/>
              <a:gd name="connsiteY3007" fmla="*/ 2105021 h 6661143"/>
              <a:gd name="connsiteX3008" fmla="*/ 11473583 w 12191986"/>
              <a:gd name="connsiteY3008" fmla="*/ 2097611 h 6661143"/>
              <a:gd name="connsiteX3009" fmla="*/ 11466204 w 12191986"/>
              <a:gd name="connsiteY3009" fmla="*/ 2090202 h 6661143"/>
              <a:gd name="connsiteX3010" fmla="*/ 11458297 w 12191986"/>
              <a:gd name="connsiteY3010" fmla="*/ 2081737 h 6661143"/>
              <a:gd name="connsiteX3011" fmla="*/ 11451445 w 12191986"/>
              <a:gd name="connsiteY3011" fmla="*/ 2072211 h 6661143"/>
              <a:gd name="connsiteX3012" fmla="*/ 11445648 w 12191986"/>
              <a:gd name="connsiteY3012" fmla="*/ 2063217 h 6661143"/>
              <a:gd name="connsiteX3013" fmla="*/ 11438796 w 12191986"/>
              <a:gd name="connsiteY3013" fmla="*/ 2053165 h 6661143"/>
              <a:gd name="connsiteX3014" fmla="*/ 11426673 w 12191986"/>
              <a:gd name="connsiteY3014" fmla="*/ 2033587 h 6661143"/>
              <a:gd name="connsiteX3015" fmla="*/ 11415077 w 12191986"/>
              <a:gd name="connsiteY3015" fmla="*/ 2013483 h 6661143"/>
              <a:gd name="connsiteX3016" fmla="*/ 11404009 w 12191986"/>
              <a:gd name="connsiteY3016" fmla="*/ 1993902 h 6661143"/>
              <a:gd name="connsiteX3017" fmla="*/ 11391886 w 12191986"/>
              <a:gd name="connsiteY3017" fmla="*/ 1975380 h 6661143"/>
              <a:gd name="connsiteX3018" fmla="*/ 11403824 w 12191986"/>
              <a:gd name="connsiteY3018" fmla="*/ 1972138 h 6661143"/>
              <a:gd name="connsiteX3019" fmla="*/ 11353340 w 12191986"/>
              <a:gd name="connsiteY3019" fmla="*/ 1949982 h 6661143"/>
              <a:gd name="connsiteX3020" fmla="*/ 10960785 w 12191986"/>
              <a:gd name="connsiteY3020" fmla="*/ 2052107 h 6661143"/>
              <a:gd name="connsiteX3021" fmla="*/ 10944914 w 12191986"/>
              <a:gd name="connsiteY3021" fmla="*/ 2071156 h 6661143"/>
              <a:gd name="connsiteX3022" fmla="*/ 10927984 w 12191986"/>
              <a:gd name="connsiteY3022" fmla="*/ 2090202 h 6661143"/>
              <a:gd name="connsiteX3023" fmla="*/ 10912113 w 12191986"/>
              <a:gd name="connsiteY3023" fmla="*/ 2107667 h 6661143"/>
              <a:gd name="connsiteX3024" fmla="*/ 10896241 w 12191986"/>
              <a:gd name="connsiteY3024" fmla="*/ 2124602 h 6661143"/>
              <a:gd name="connsiteX3025" fmla="*/ 10864498 w 12191986"/>
              <a:gd name="connsiteY3025" fmla="*/ 2156352 h 6661143"/>
              <a:gd name="connsiteX3026" fmla="*/ 10832755 w 12191986"/>
              <a:gd name="connsiteY3026" fmla="*/ 2185455 h 6661143"/>
              <a:gd name="connsiteX3027" fmla="*/ 10802599 w 12191986"/>
              <a:gd name="connsiteY3027" fmla="*/ 2211388 h 6661143"/>
              <a:gd name="connsiteX3028" fmla="*/ 10773502 w 12191986"/>
              <a:gd name="connsiteY3028" fmla="*/ 2235199 h 6661143"/>
              <a:gd name="connsiteX3029" fmla="*/ 10745991 w 12191986"/>
              <a:gd name="connsiteY3029" fmla="*/ 2256364 h 6661143"/>
              <a:gd name="connsiteX3030" fmla="*/ 10720068 w 12191986"/>
              <a:gd name="connsiteY3030" fmla="*/ 2275415 h 6661143"/>
              <a:gd name="connsiteX3031" fmla="*/ 10696789 w 12191986"/>
              <a:gd name="connsiteY3031" fmla="*/ 2291290 h 6661143"/>
              <a:gd name="connsiteX3032" fmla="*/ 10674569 w 12191986"/>
              <a:gd name="connsiteY3032" fmla="*/ 2305048 h 6661143"/>
              <a:gd name="connsiteX3033" fmla="*/ 10655524 w 12191986"/>
              <a:gd name="connsiteY3033" fmla="*/ 2316690 h 6661143"/>
              <a:gd name="connsiteX3034" fmla="*/ 10639652 w 12191986"/>
              <a:gd name="connsiteY3034" fmla="*/ 2326743 h 6661143"/>
              <a:gd name="connsiteX3035" fmla="*/ 10617432 w 12191986"/>
              <a:gd name="connsiteY3035" fmla="*/ 2337856 h 6661143"/>
              <a:gd name="connsiteX3036" fmla="*/ 10608967 w 12191986"/>
              <a:gd name="connsiteY3036" fmla="*/ 2342618 h 6661143"/>
              <a:gd name="connsiteX3037" fmla="*/ 10635950 w 12191986"/>
              <a:gd name="connsiteY3037" fmla="*/ 3988451 h 6661143"/>
              <a:gd name="connsiteX3038" fmla="*/ 10644174 w 12191986"/>
              <a:gd name="connsiteY3038" fmla="*/ 3992566 h 6661143"/>
              <a:gd name="connsiteX3039" fmla="*/ 10654228 w 12191986"/>
              <a:gd name="connsiteY3039" fmla="*/ 3998923 h 6661143"/>
              <a:gd name="connsiteX3040" fmla="*/ 10663753 w 12191986"/>
              <a:gd name="connsiteY3040" fmla="*/ 4006338 h 6661143"/>
              <a:gd name="connsiteX3041" fmla="*/ 10673278 w 12191986"/>
              <a:gd name="connsiteY3041" fmla="*/ 4014283 h 6661143"/>
              <a:gd name="connsiteX3042" fmla="*/ 10692328 w 12191986"/>
              <a:gd name="connsiteY3042" fmla="*/ 4031763 h 6661143"/>
              <a:gd name="connsiteX3043" fmla="*/ 10711378 w 12191986"/>
              <a:gd name="connsiteY3043" fmla="*/ 4049772 h 6661143"/>
              <a:gd name="connsiteX3044" fmla="*/ 10720374 w 12191986"/>
              <a:gd name="connsiteY3044" fmla="*/ 4059306 h 6661143"/>
              <a:gd name="connsiteX3045" fmla="*/ 10730428 w 12191986"/>
              <a:gd name="connsiteY3045" fmla="*/ 4067251 h 6661143"/>
              <a:gd name="connsiteX3046" fmla="*/ 10739953 w 12191986"/>
              <a:gd name="connsiteY3046" fmla="*/ 4075196 h 6661143"/>
              <a:gd name="connsiteX3047" fmla="*/ 10750007 w 12191986"/>
              <a:gd name="connsiteY3047" fmla="*/ 4082082 h 6661143"/>
              <a:gd name="connsiteX3048" fmla="*/ 10760590 w 12191986"/>
              <a:gd name="connsiteY3048" fmla="*/ 4087908 h 6661143"/>
              <a:gd name="connsiteX3049" fmla="*/ 10771174 w 12191986"/>
              <a:gd name="connsiteY3049" fmla="*/ 4093205 h 6661143"/>
              <a:gd name="connsiteX3050" fmla="*/ 10776466 w 12191986"/>
              <a:gd name="connsiteY3050" fmla="*/ 4094794 h 6661143"/>
              <a:gd name="connsiteX3051" fmla="*/ 10782816 w 12191986"/>
              <a:gd name="connsiteY3051" fmla="*/ 4097442 h 6661143"/>
              <a:gd name="connsiteX3052" fmla="*/ 10789166 w 12191986"/>
              <a:gd name="connsiteY3052" fmla="*/ 4097972 h 6661143"/>
              <a:gd name="connsiteX3053" fmla="*/ 10794457 w 12191986"/>
              <a:gd name="connsiteY3053" fmla="*/ 4098502 h 6661143"/>
              <a:gd name="connsiteX3054" fmla="*/ 10806628 w 12191986"/>
              <a:gd name="connsiteY3054" fmla="*/ 4100091 h 6661143"/>
              <a:gd name="connsiteX3055" fmla="*/ 10817741 w 12191986"/>
              <a:gd name="connsiteY3055" fmla="*/ 4102739 h 6661143"/>
              <a:gd name="connsiteX3056" fmla="*/ 10829382 w 12191986"/>
              <a:gd name="connsiteY3056" fmla="*/ 4106447 h 6661143"/>
              <a:gd name="connsiteX3057" fmla="*/ 10839966 w 12191986"/>
              <a:gd name="connsiteY3057" fmla="*/ 4110155 h 6661143"/>
              <a:gd name="connsiteX3058" fmla="*/ 10850020 w 12191986"/>
              <a:gd name="connsiteY3058" fmla="*/ 4114922 h 6661143"/>
              <a:gd name="connsiteX3059" fmla="*/ 10859545 w 12191986"/>
              <a:gd name="connsiteY3059" fmla="*/ 4119159 h 6661143"/>
              <a:gd name="connsiteX3060" fmla="*/ 10869599 w 12191986"/>
              <a:gd name="connsiteY3060" fmla="*/ 4125515 h 6661143"/>
              <a:gd name="connsiteX3061" fmla="*/ 10878595 w 12191986"/>
              <a:gd name="connsiteY3061" fmla="*/ 4131342 h 6661143"/>
              <a:gd name="connsiteX3062" fmla="*/ 10887061 w 12191986"/>
              <a:gd name="connsiteY3062" fmla="*/ 4138228 h 6661143"/>
              <a:gd name="connsiteX3063" fmla="*/ 10895528 w 12191986"/>
              <a:gd name="connsiteY3063" fmla="*/ 4145113 h 6661143"/>
              <a:gd name="connsiteX3064" fmla="*/ 10903466 w 12191986"/>
              <a:gd name="connsiteY3064" fmla="*/ 4153059 h 6661143"/>
              <a:gd name="connsiteX3065" fmla="*/ 10910874 w 12191986"/>
              <a:gd name="connsiteY3065" fmla="*/ 4160474 h 6661143"/>
              <a:gd name="connsiteX3066" fmla="*/ 10917753 w 12191986"/>
              <a:gd name="connsiteY3066" fmla="*/ 4168419 h 6661143"/>
              <a:gd name="connsiteX3067" fmla="*/ 10924632 w 12191986"/>
              <a:gd name="connsiteY3067" fmla="*/ 4176364 h 6661143"/>
              <a:gd name="connsiteX3068" fmla="*/ 10930453 w 12191986"/>
              <a:gd name="connsiteY3068" fmla="*/ 4184839 h 6661143"/>
              <a:gd name="connsiteX3069" fmla="*/ 10936803 w 12191986"/>
              <a:gd name="connsiteY3069" fmla="*/ 4193314 h 6661143"/>
              <a:gd name="connsiteX3070" fmla="*/ 10943682 w 12191986"/>
              <a:gd name="connsiteY3070" fmla="*/ 4202319 h 6661143"/>
              <a:gd name="connsiteX3071" fmla="*/ 10952678 w 12191986"/>
              <a:gd name="connsiteY3071" fmla="*/ 4213442 h 6661143"/>
              <a:gd name="connsiteX3072" fmla="*/ 10963261 w 12191986"/>
              <a:gd name="connsiteY3072" fmla="*/ 4224565 h 6661143"/>
              <a:gd name="connsiteX3073" fmla="*/ 10974903 w 12191986"/>
              <a:gd name="connsiteY3073" fmla="*/ 4237807 h 6661143"/>
              <a:gd name="connsiteX3074" fmla="*/ 10987603 w 12191986"/>
              <a:gd name="connsiteY3074" fmla="*/ 4251578 h 6661143"/>
              <a:gd name="connsiteX3075" fmla="*/ 11000832 w 12191986"/>
              <a:gd name="connsiteY3075" fmla="*/ 4266409 h 6661143"/>
              <a:gd name="connsiteX3076" fmla="*/ 11013532 w 12191986"/>
              <a:gd name="connsiteY3076" fmla="*/ 4281770 h 6661143"/>
              <a:gd name="connsiteX3077" fmla="*/ 11026762 w 12191986"/>
              <a:gd name="connsiteY3077" fmla="*/ 4297660 h 6661143"/>
              <a:gd name="connsiteX3078" fmla="*/ 11037874 w 12191986"/>
              <a:gd name="connsiteY3078" fmla="*/ 4314610 h 6661143"/>
              <a:gd name="connsiteX3079" fmla="*/ 11047399 w 12191986"/>
              <a:gd name="connsiteY3079" fmla="*/ 4330500 h 6661143"/>
              <a:gd name="connsiteX3080" fmla="*/ 11051632 w 12191986"/>
              <a:gd name="connsiteY3080" fmla="*/ 4338975 h 6661143"/>
              <a:gd name="connsiteX3081" fmla="*/ 11055866 w 12191986"/>
              <a:gd name="connsiteY3081" fmla="*/ 4347450 h 6661143"/>
              <a:gd name="connsiteX3082" fmla="*/ 11058512 w 12191986"/>
              <a:gd name="connsiteY3082" fmla="*/ 4355925 h 6661143"/>
              <a:gd name="connsiteX3083" fmla="*/ 11061157 w 12191986"/>
              <a:gd name="connsiteY3083" fmla="*/ 4364400 h 6661143"/>
              <a:gd name="connsiteX3084" fmla="*/ 11062103 w 12191986"/>
              <a:gd name="connsiteY3084" fmla="*/ 4371968 h 6661143"/>
              <a:gd name="connsiteX3085" fmla="*/ 12191986 w 12191986"/>
              <a:gd name="connsiteY3085" fmla="*/ 4371968 h 6661143"/>
              <a:gd name="connsiteX3086" fmla="*/ 12191986 w 12191986"/>
              <a:gd name="connsiteY3086" fmla="*/ 6661143 h 6661143"/>
              <a:gd name="connsiteX3087" fmla="*/ 0 w 12191986"/>
              <a:gd name="connsiteY3087" fmla="*/ 6661143 h 6661143"/>
              <a:gd name="connsiteX3088" fmla="*/ 0 w 12191986"/>
              <a:gd name="connsiteY3088" fmla="*/ 4371968 h 6661143"/>
              <a:gd name="connsiteX3089" fmla="*/ 905670 w 12191986"/>
              <a:gd name="connsiteY3089" fmla="*/ 4371968 h 6661143"/>
              <a:gd name="connsiteX3090" fmla="*/ 908015 w 12191986"/>
              <a:gd name="connsiteY3090" fmla="*/ 4364400 h 6661143"/>
              <a:gd name="connsiteX3091" fmla="*/ 913301 w 12191986"/>
              <a:gd name="connsiteY3091" fmla="*/ 4349039 h 6661143"/>
              <a:gd name="connsiteX3092" fmla="*/ 919645 w 12191986"/>
              <a:gd name="connsiteY3092" fmla="*/ 4333678 h 6661143"/>
              <a:gd name="connsiteX3093" fmla="*/ 926517 w 12191986"/>
              <a:gd name="connsiteY3093" fmla="*/ 4318318 h 6661143"/>
              <a:gd name="connsiteX3094" fmla="*/ 933390 w 12191986"/>
              <a:gd name="connsiteY3094" fmla="*/ 4304016 h 6661143"/>
              <a:gd name="connsiteX3095" fmla="*/ 940791 w 12191986"/>
              <a:gd name="connsiteY3095" fmla="*/ 4288656 h 6661143"/>
              <a:gd name="connsiteX3096" fmla="*/ 949249 w 12191986"/>
              <a:gd name="connsiteY3096" fmla="*/ 4274355 h 6661143"/>
              <a:gd name="connsiteX3097" fmla="*/ 958236 w 12191986"/>
              <a:gd name="connsiteY3097" fmla="*/ 4260583 h 6661143"/>
              <a:gd name="connsiteX3098" fmla="*/ 968280 w 12191986"/>
              <a:gd name="connsiteY3098" fmla="*/ 4246811 h 6661143"/>
              <a:gd name="connsiteX3099" fmla="*/ 978853 w 12191986"/>
              <a:gd name="connsiteY3099" fmla="*/ 4233569 h 6661143"/>
              <a:gd name="connsiteX3100" fmla="*/ 990483 w 12191986"/>
              <a:gd name="connsiteY3100" fmla="*/ 4221387 h 6661143"/>
              <a:gd name="connsiteX3101" fmla="*/ 1001584 w 12191986"/>
              <a:gd name="connsiteY3101" fmla="*/ 4210264 h 6661143"/>
              <a:gd name="connsiteX3102" fmla="*/ 1014801 w 12191986"/>
              <a:gd name="connsiteY3102" fmla="*/ 4199670 h 6661143"/>
              <a:gd name="connsiteX3103" fmla="*/ 1028545 w 12191986"/>
              <a:gd name="connsiteY3103" fmla="*/ 4190136 h 6661143"/>
              <a:gd name="connsiteX3104" fmla="*/ 1043347 w 12191986"/>
              <a:gd name="connsiteY3104" fmla="*/ 4181131 h 6661143"/>
              <a:gd name="connsiteX3105" fmla="*/ 1058678 w 12191986"/>
              <a:gd name="connsiteY3105" fmla="*/ 4174246 h 6661143"/>
              <a:gd name="connsiteX3106" fmla="*/ 1089868 w 12191986"/>
              <a:gd name="connsiteY3106" fmla="*/ 4160474 h 6661143"/>
              <a:gd name="connsiteX3107" fmla="*/ 1119472 w 12191986"/>
              <a:gd name="connsiteY3107" fmla="*/ 4146702 h 6661143"/>
              <a:gd name="connsiteX3108" fmla="*/ 1146962 w 12191986"/>
              <a:gd name="connsiteY3108" fmla="*/ 4132931 h 6661143"/>
              <a:gd name="connsiteX3109" fmla="*/ 1172865 w 12191986"/>
              <a:gd name="connsiteY3109" fmla="*/ 4120219 h 6661143"/>
              <a:gd name="connsiteX3110" fmla="*/ 1196654 w 12191986"/>
              <a:gd name="connsiteY3110" fmla="*/ 4106977 h 6661143"/>
              <a:gd name="connsiteX3111" fmla="*/ 1218857 w 12191986"/>
              <a:gd name="connsiteY3111" fmla="*/ 4094794 h 6661143"/>
              <a:gd name="connsiteX3112" fmla="*/ 1238417 w 12191986"/>
              <a:gd name="connsiteY3112" fmla="*/ 4082612 h 6661143"/>
              <a:gd name="connsiteX3113" fmla="*/ 1256919 w 12191986"/>
              <a:gd name="connsiteY3113" fmla="*/ 4072018 h 6661143"/>
              <a:gd name="connsiteX3114" fmla="*/ 1287052 w 12191986"/>
              <a:gd name="connsiteY3114" fmla="*/ 4052420 h 6661143"/>
              <a:gd name="connsiteX3115" fmla="*/ 1308198 w 12191986"/>
              <a:gd name="connsiteY3115" fmla="*/ 4037059 h 6661143"/>
              <a:gd name="connsiteX3116" fmla="*/ 1321942 w 12191986"/>
              <a:gd name="connsiteY3116" fmla="*/ 4026995 h 6661143"/>
              <a:gd name="connsiteX3117" fmla="*/ 1326700 w 12191986"/>
              <a:gd name="connsiteY3117" fmla="*/ 4023817 h 6661143"/>
              <a:gd name="connsiteX3118" fmla="*/ 1333044 w 12191986"/>
              <a:gd name="connsiteY3118" fmla="*/ 4020639 h 6661143"/>
              <a:gd name="connsiteX3119" fmla="*/ 1348903 w 12191986"/>
              <a:gd name="connsiteY3119" fmla="*/ 4014813 h 6661143"/>
              <a:gd name="connsiteX3120" fmla="*/ 1372164 w 12191986"/>
              <a:gd name="connsiteY3120" fmla="*/ 4005808 h 6661143"/>
              <a:gd name="connsiteX3121" fmla="*/ 1400710 w 12191986"/>
              <a:gd name="connsiteY3121" fmla="*/ 3995744 h 6661143"/>
              <a:gd name="connsiteX3122" fmla="*/ 1416570 w 12191986"/>
              <a:gd name="connsiteY3122" fmla="*/ 3992037 h 6661143"/>
              <a:gd name="connsiteX3123" fmla="*/ 1432429 w 12191986"/>
              <a:gd name="connsiteY3123" fmla="*/ 3987270 h 6661143"/>
              <a:gd name="connsiteX3124" fmla="*/ 1448288 w 12191986"/>
              <a:gd name="connsiteY3124" fmla="*/ 3984092 h 6661143"/>
              <a:gd name="connsiteX3125" fmla="*/ 1463619 w 12191986"/>
              <a:gd name="connsiteY3125" fmla="*/ 3981973 h 6661143"/>
              <a:gd name="connsiteX3126" fmla="*/ 1478949 w 12191986"/>
              <a:gd name="connsiteY3126" fmla="*/ 3981443 h 6661143"/>
              <a:gd name="connsiteX3127" fmla="*/ 1492694 w 12191986"/>
              <a:gd name="connsiteY3127" fmla="*/ 3981443 h 6661143"/>
              <a:gd name="connsiteX3128" fmla="*/ 1499567 w 12191986"/>
              <a:gd name="connsiteY3128" fmla="*/ 3981973 h 6661143"/>
              <a:gd name="connsiteX3129" fmla="*/ 1505381 w 12191986"/>
              <a:gd name="connsiteY3129" fmla="*/ 3983562 h 6661143"/>
              <a:gd name="connsiteX3130" fmla="*/ 1511725 w 12191986"/>
              <a:gd name="connsiteY3130" fmla="*/ 3985151 h 6661143"/>
              <a:gd name="connsiteX3131" fmla="*/ 1517012 w 12191986"/>
              <a:gd name="connsiteY3131" fmla="*/ 3987270 h 6661143"/>
              <a:gd name="connsiteX3132" fmla="*/ 1527585 w 12191986"/>
              <a:gd name="connsiteY3132" fmla="*/ 3992566 h 6661143"/>
              <a:gd name="connsiteX3133" fmla="*/ 1537629 w 12191986"/>
              <a:gd name="connsiteY3133" fmla="*/ 3998923 h 6661143"/>
              <a:gd name="connsiteX3134" fmla="*/ 1547673 w 12191986"/>
              <a:gd name="connsiteY3134" fmla="*/ 4006338 h 6661143"/>
              <a:gd name="connsiteX3135" fmla="*/ 1557189 w 12191986"/>
              <a:gd name="connsiteY3135" fmla="*/ 4014283 h 6661143"/>
              <a:gd name="connsiteX3136" fmla="*/ 1575691 w 12191986"/>
              <a:gd name="connsiteY3136" fmla="*/ 4031763 h 6661143"/>
              <a:gd name="connsiteX3137" fmla="*/ 1594722 w 12191986"/>
              <a:gd name="connsiteY3137" fmla="*/ 4049772 h 6661143"/>
              <a:gd name="connsiteX3138" fmla="*/ 1604767 w 12191986"/>
              <a:gd name="connsiteY3138" fmla="*/ 4059306 h 6661143"/>
              <a:gd name="connsiteX3139" fmla="*/ 1613753 w 12191986"/>
              <a:gd name="connsiteY3139" fmla="*/ 4067251 h 6661143"/>
              <a:gd name="connsiteX3140" fmla="*/ 1623798 w 12191986"/>
              <a:gd name="connsiteY3140" fmla="*/ 4075196 h 6661143"/>
              <a:gd name="connsiteX3141" fmla="*/ 1634371 w 12191986"/>
              <a:gd name="connsiteY3141" fmla="*/ 4082082 h 6661143"/>
              <a:gd name="connsiteX3142" fmla="*/ 1644415 w 12191986"/>
              <a:gd name="connsiteY3142" fmla="*/ 4087908 h 6661143"/>
              <a:gd name="connsiteX3143" fmla="*/ 1655516 w 12191986"/>
              <a:gd name="connsiteY3143" fmla="*/ 4093205 h 6661143"/>
              <a:gd name="connsiteX3144" fmla="*/ 1660803 w 12191986"/>
              <a:gd name="connsiteY3144" fmla="*/ 4094794 h 6661143"/>
              <a:gd name="connsiteX3145" fmla="*/ 1666089 w 12191986"/>
              <a:gd name="connsiteY3145" fmla="*/ 4097442 h 6661143"/>
              <a:gd name="connsiteX3146" fmla="*/ 1672433 w 12191986"/>
              <a:gd name="connsiteY3146" fmla="*/ 4097972 h 6661143"/>
              <a:gd name="connsiteX3147" fmla="*/ 1678248 w 12191986"/>
              <a:gd name="connsiteY3147" fmla="*/ 4098502 h 6661143"/>
              <a:gd name="connsiteX3148" fmla="*/ 1690407 w 12191986"/>
              <a:gd name="connsiteY3148" fmla="*/ 4100091 h 6661143"/>
              <a:gd name="connsiteX3149" fmla="*/ 1702037 w 12191986"/>
              <a:gd name="connsiteY3149" fmla="*/ 4102739 h 6661143"/>
              <a:gd name="connsiteX3150" fmla="*/ 1712610 w 12191986"/>
              <a:gd name="connsiteY3150" fmla="*/ 4106447 h 6661143"/>
              <a:gd name="connsiteX3151" fmla="*/ 1723183 w 12191986"/>
              <a:gd name="connsiteY3151" fmla="*/ 4110155 h 6661143"/>
              <a:gd name="connsiteX3152" fmla="*/ 1733756 w 12191986"/>
              <a:gd name="connsiteY3152" fmla="*/ 4114922 h 6661143"/>
              <a:gd name="connsiteX3153" fmla="*/ 1743800 w 12191986"/>
              <a:gd name="connsiteY3153" fmla="*/ 4119159 h 6661143"/>
              <a:gd name="connsiteX3154" fmla="*/ 1752787 w 12191986"/>
              <a:gd name="connsiteY3154" fmla="*/ 4125515 h 6661143"/>
              <a:gd name="connsiteX3155" fmla="*/ 1762302 w 12191986"/>
              <a:gd name="connsiteY3155" fmla="*/ 4131342 h 6661143"/>
              <a:gd name="connsiteX3156" fmla="*/ 1771289 w 12191986"/>
              <a:gd name="connsiteY3156" fmla="*/ 4138228 h 6661143"/>
              <a:gd name="connsiteX3157" fmla="*/ 1779748 w 12191986"/>
              <a:gd name="connsiteY3157" fmla="*/ 4145113 h 6661143"/>
              <a:gd name="connsiteX3158" fmla="*/ 1787148 w 12191986"/>
              <a:gd name="connsiteY3158" fmla="*/ 4153059 h 6661143"/>
              <a:gd name="connsiteX3159" fmla="*/ 1795078 w 12191986"/>
              <a:gd name="connsiteY3159" fmla="*/ 4160474 h 6661143"/>
              <a:gd name="connsiteX3160" fmla="*/ 1801951 w 12191986"/>
              <a:gd name="connsiteY3160" fmla="*/ 4168419 h 6661143"/>
              <a:gd name="connsiteX3161" fmla="*/ 1808823 w 12191986"/>
              <a:gd name="connsiteY3161" fmla="*/ 4176364 h 6661143"/>
              <a:gd name="connsiteX3162" fmla="*/ 1814638 w 12191986"/>
              <a:gd name="connsiteY3162" fmla="*/ 4184839 h 6661143"/>
              <a:gd name="connsiteX3163" fmla="*/ 1819924 w 12191986"/>
              <a:gd name="connsiteY3163" fmla="*/ 4193314 h 6661143"/>
              <a:gd name="connsiteX3164" fmla="*/ 1826797 w 12191986"/>
              <a:gd name="connsiteY3164" fmla="*/ 4202319 h 6661143"/>
              <a:gd name="connsiteX3165" fmla="*/ 1835784 w 12191986"/>
              <a:gd name="connsiteY3165" fmla="*/ 4213442 h 6661143"/>
              <a:gd name="connsiteX3166" fmla="*/ 1846885 w 12191986"/>
              <a:gd name="connsiteY3166" fmla="*/ 4224565 h 6661143"/>
              <a:gd name="connsiteX3167" fmla="*/ 1859044 w 12191986"/>
              <a:gd name="connsiteY3167" fmla="*/ 4237807 h 6661143"/>
              <a:gd name="connsiteX3168" fmla="*/ 1871731 w 12191986"/>
              <a:gd name="connsiteY3168" fmla="*/ 4251578 h 6661143"/>
              <a:gd name="connsiteX3169" fmla="*/ 1884947 w 12191986"/>
              <a:gd name="connsiteY3169" fmla="*/ 4266409 h 6661143"/>
              <a:gd name="connsiteX3170" fmla="*/ 1897635 w 12191986"/>
              <a:gd name="connsiteY3170" fmla="*/ 4281770 h 6661143"/>
              <a:gd name="connsiteX3171" fmla="*/ 1909794 w 12191986"/>
              <a:gd name="connsiteY3171" fmla="*/ 4297660 h 6661143"/>
              <a:gd name="connsiteX3172" fmla="*/ 1921424 w 12191986"/>
              <a:gd name="connsiteY3172" fmla="*/ 4314610 h 6661143"/>
              <a:gd name="connsiteX3173" fmla="*/ 1930939 w 12191986"/>
              <a:gd name="connsiteY3173" fmla="*/ 4330500 h 6661143"/>
              <a:gd name="connsiteX3174" fmla="*/ 1935169 w 12191986"/>
              <a:gd name="connsiteY3174" fmla="*/ 4338975 h 6661143"/>
              <a:gd name="connsiteX3175" fmla="*/ 1938869 w 12191986"/>
              <a:gd name="connsiteY3175" fmla="*/ 4347450 h 6661143"/>
              <a:gd name="connsiteX3176" fmla="*/ 1942041 w 12191986"/>
              <a:gd name="connsiteY3176" fmla="*/ 4355925 h 6661143"/>
              <a:gd name="connsiteX3177" fmla="*/ 1944156 w 12191986"/>
              <a:gd name="connsiteY3177" fmla="*/ 4364400 h 6661143"/>
              <a:gd name="connsiteX3178" fmla="*/ 1945572 w 12191986"/>
              <a:gd name="connsiteY3178" fmla="*/ 4371968 h 6661143"/>
              <a:gd name="connsiteX3179" fmla="*/ 3183778 w 12191986"/>
              <a:gd name="connsiteY3179" fmla="*/ 4371968 h 6661143"/>
              <a:gd name="connsiteX3180" fmla="*/ 3186126 w 12191986"/>
              <a:gd name="connsiteY3180" fmla="*/ 4364400 h 6661143"/>
              <a:gd name="connsiteX3181" fmla="*/ 3191420 w 12191986"/>
              <a:gd name="connsiteY3181" fmla="*/ 4349039 h 6661143"/>
              <a:gd name="connsiteX3182" fmla="*/ 3197773 w 12191986"/>
              <a:gd name="connsiteY3182" fmla="*/ 4333678 h 6661143"/>
              <a:gd name="connsiteX3183" fmla="*/ 3203597 w 12191986"/>
              <a:gd name="connsiteY3183" fmla="*/ 4318318 h 6661143"/>
              <a:gd name="connsiteX3184" fmla="*/ 3211539 w 12191986"/>
              <a:gd name="connsiteY3184" fmla="*/ 4304016 h 6661143"/>
              <a:gd name="connsiteX3185" fmla="*/ 3218951 w 12191986"/>
              <a:gd name="connsiteY3185" fmla="*/ 4288656 h 6661143"/>
              <a:gd name="connsiteX3186" fmla="*/ 3227421 w 12191986"/>
              <a:gd name="connsiteY3186" fmla="*/ 4274355 h 6661143"/>
              <a:gd name="connsiteX3187" fmla="*/ 3236422 w 12191986"/>
              <a:gd name="connsiteY3187" fmla="*/ 4260583 h 6661143"/>
              <a:gd name="connsiteX3188" fmla="*/ 3246481 w 12191986"/>
              <a:gd name="connsiteY3188" fmla="*/ 4246811 h 6661143"/>
              <a:gd name="connsiteX3189" fmla="*/ 3256540 w 12191986"/>
              <a:gd name="connsiteY3189" fmla="*/ 4233569 h 6661143"/>
              <a:gd name="connsiteX3190" fmla="*/ 3267658 w 12191986"/>
              <a:gd name="connsiteY3190" fmla="*/ 4221387 h 6661143"/>
              <a:gd name="connsiteX3191" fmla="*/ 3279835 w 12191986"/>
              <a:gd name="connsiteY3191" fmla="*/ 4210264 h 6661143"/>
              <a:gd name="connsiteX3192" fmla="*/ 3293071 w 12191986"/>
              <a:gd name="connsiteY3192" fmla="*/ 4199670 h 6661143"/>
              <a:gd name="connsiteX3193" fmla="*/ 3306836 w 12191986"/>
              <a:gd name="connsiteY3193" fmla="*/ 4190136 h 6661143"/>
              <a:gd name="connsiteX3194" fmla="*/ 3321130 w 12191986"/>
              <a:gd name="connsiteY3194" fmla="*/ 4181131 h 6661143"/>
              <a:gd name="connsiteX3195" fmla="*/ 3337013 w 12191986"/>
              <a:gd name="connsiteY3195" fmla="*/ 4174246 h 6661143"/>
              <a:gd name="connsiteX3196" fmla="*/ 3368250 w 12191986"/>
              <a:gd name="connsiteY3196" fmla="*/ 4160474 h 6661143"/>
              <a:gd name="connsiteX3197" fmla="*/ 3397369 w 12191986"/>
              <a:gd name="connsiteY3197" fmla="*/ 4146702 h 6661143"/>
              <a:gd name="connsiteX3198" fmla="*/ 3424899 w 12191986"/>
              <a:gd name="connsiteY3198" fmla="*/ 4132931 h 6661143"/>
              <a:gd name="connsiteX3199" fmla="*/ 3450842 w 12191986"/>
              <a:gd name="connsiteY3199" fmla="*/ 4120219 h 6661143"/>
              <a:gd name="connsiteX3200" fmla="*/ 3475195 w 12191986"/>
              <a:gd name="connsiteY3200" fmla="*/ 4106977 h 6661143"/>
              <a:gd name="connsiteX3201" fmla="*/ 3497432 w 12191986"/>
              <a:gd name="connsiteY3201" fmla="*/ 4094794 h 6661143"/>
              <a:gd name="connsiteX3202" fmla="*/ 3517021 w 12191986"/>
              <a:gd name="connsiteY3202" fmla="*/ 4082612 h 6661143"/>
              <a:gd name="connsiteX3203" fmla="*/ 3535551 w 12191986"/>
              <a:gd name="connsiteY3203" fmla="*/ 4072018 h 6661143"/>
              <a:gd name="connsiteX3204" fmla="*/ 3565199 w 12191986"/>
              <a:gd name="connsiteY3204" fmla="*/ 4052420 h 6661143"/>
              <a:gd name="connsiteX3205" fmla="*/ 3587436 w 12191986"/>
              <a:gd name="connsiteY3205" fmla="*/ 4037059 h 6661143"/>
              <a:gd name="connsiteX3206" fmla="*/ 3600671 w 12191986"/>
              <a:gd name="connsiteY3206" fmla="*/ 4026995 h 6661143"/>
              <a:gd name="connsiteX3207" fmla="*/ 3605435 w 12191986"/>
              <a:gd name="connsiteY3207" fmla="*/ 4023817 h 6661143"/>
              <a:gd name="connsiteX3208" fmla="*/ 3610729 w 12191986"/>
              <a:gd name="connsiteY3208" fmla="*/ 4020639 h 6661143"/>
              <a:gd name="connsiteX3209" fmla="*/ 3626611 w 12191986"/>
              <a:gd name="connsiteY3209" fmla="*/ 4014813 h 6661143"/>
              <a:gd name="connsiteX3210" fmla="*/ 3650434 w 12191986"/>
              <a:gd name="connsiteY3210" fmla="*/ 4005808 h 6661143"/>
              <a:gd name="connsiteX3211" fmla="*/ 3679554 w 12191986"/>
              <a:gd name="connsiteY3211" fmla="*/ 3995744 h 6661143"/>
              <a:gd name="connsiteX3212" fmla="*/ 3695436 w 12191986"/>
              <a:gd name="connsiteY3212" fmla="*/ 3992037 h 6661143"/>
              <a:gd name="connsiteX3213" fmla="*/ 3710788 w 12191986"/>
              <a:gd name="connsiteY3213" fmla="*/ 3987270 h 6661143"/>
              <a:gd name="connsiteX3214" fmla="*/ 3726670 w 12191986"/>
              <a:gd name="connsiteY3214" fmla="*/ 3984092 h 6661143"/>
              <a:gd name="connsiteX3215" fmla="*/ 3742552 w 12191986"/>
              <a:gd name="connsiteY3215" fmla="*/ 3981973 h 6661143"/>
              <a:gd name="connsiteX3216" fmla="*/ 3757906 w 12191986"/>
              <a:gd name="connsiteY3216" fmla="*/ 3981443 h 6661143"/>
              <a:gd name="connsiteX3217" fmla="*/ 3771672 w 12191986"/>
              <a:gd name="connsiteY3217" fmla="*/ 3981443 h 6661143"/>
              <a:gd name="connsiteX3218" fmla="*/ 3778552 w 12191986"/>
              <a:gd name="connsiteY3218" fmla="*/ 3981973 h 6661143"/>
              <a:gd name="connsiteX3219" fmla="*/ 3784377 w 12191986"/>
              <a:gd name="connsiteY3219" fmla="*/ 3983562 h 6661143"/>
              <a:gd name="connsiteX3220" fmla="*/ 3790729 w 12191986"/>
              <a:gd name="connsiteY3220" fmla="*/ 3985151 h 6661143"/>
              <a:gd name="connsiteX3221" fmla="*/ 3796023 w 12191986"/>
              <a:gd name="connsiteY3221" fmla="*/ 3987270 h 6661143"/>
              <a:gd name="connsiteX3222" fmla="*/ 3806612 w 12191986"/>
              <a:gd name="connsiteY3222" fmla="*/ 3992566 h 6661143"/>
              <a:gd name="connsiteX3223" fmla="*/ 3816672 w 12191986"/>
              <a:gd name="connsiteY3223" fmla="*/ 3998923 h 6661143"/>
              <a:gd name="connsiteX3224" fmla="*/ 3826731 w 12191986"/>
              <a:gd name="connsiteY3224" fmla="*/ 4006338 h 6661143"/>
              <a:gd name="connsiteX3225" fmla="*/ 3835732 w 12191986"/>
              <a:gd name="connsiteY3225" fmla="*/ 4014283 h 6661143"/>
              <a:gd name="connsiteX3226" fmla="*/ 3854791 w 12191986"/>
              <a:gd name="connsiteY3226" fmla="*/ 4031763 h 6661143"/>
              <a:gd name="connsiteX3227" fmla="*/ 3873851 w 12191986"/>
              <a:gd name="connsiteY3227" fmla="*/ 4049772 h 6661143"/>
              <a:gd name="connsiteX3228" fmla="*/ 3882851 w 12191986"/>
              <a:gd name="connsiteY3228" fmla="*/ 4059306 h 6661143"/>
              <a:gd name="connsiteX3229" fmla="*/ 3892911 w 12191986"/>
              <a:gd name="connsiteY3229" fmla="*/ 4067251 h 6661143"/>
              <a:gd name="connsiteX3230" fmla="*/ 3902970 w 12191986"/>
              <a:gd name="connsiteY3230" fmla="*/ 4075196 h 6661143"/>
              <a:gd name="connsiteX3231" fmla="*/ 3912500 w 12191986"/>
              <a:gd name="connsiteY3231" fmla="*/ 4082082 h 6661143"/>
              <a:gd name="connsiteX3232" fmla="*/ 3923619 w 12191986"/>
              <a:gd name="connsiteY3232" fmla="*/ 4087908 h 6661143"/>
              <a:gd name="connsiteX3233" fmla="*/ 3934207 w 12191986"/>
              <a:gd name="connsiteY3233" fmla="*/ 4093205 h 6661143"/>
              <a:gd name="connsiteX3234" fmla="*/ 3940030 w 12191986"/>
              <a:gd name="connsiteY3234" fmla="*/ 4094794 h 6661143"/>
              <a:gd name="connsiteX3235" fmla="*/ 3945325 w 12191986"/>
              <a:gd name="connsiteY3235" fmla="*/ 4097442 h 6661143"/>
              <a:gd name="connsiteX3236" fmla="*/ 3951679 w 12191986"/>
              <a:gd name="connsiteY3236" fmla="*/ 4097972 h 6661143"/>
              <a:gd name="connsiteX3237" fmla="*/ 3957501 w 12191986"/>
              <a:gd name="connsiteY3237" fmla="*/ 4098502 h 6661143"/>
              <a:gd name="connsiteX3238" fmla="*/ 3969149 w 12191986"/>
              <a:gd name="connsiteY3238" fmla="*/ 4100091 h 6661143"/>
              <a:gd name="connsiteX3239" fmla="*/ 3980796 w 12191986"/>
              <a:gd name="connsiteY3239" fmla="*/ 4102739 h 6661143"/>
              <a:gd name="connsiteX3240" fmla="*/ 3991914 w 12191986"/>
              <a:gd name="connsiteY3240" fmla="*/ 4106447 h 6661143"/>
              <a:gd name="connsiteX3241" fmla="*/ 4002502 w 12191986"/>
              <a:gd name="connsiteY3241" fmla="*/ 4110155 h 6661143"/>
              <a:gd name="connsiteX3242" fmla="*/ 4012562 w 12191986"/>
              <a:gd name="connsiteY3242" fmla="*/ 4114922 h 6661143"/>
              <a:gd name="connsiteX3243" fmla="*/ 4022621 w 12191986"/>
              <a:gd name="connsiteY3243" fmla="*/ 4119159 h 6661143"/>
              <a:gd name="connsiteX3244" fmla="*/ 4032151 w 12191986"/>
              <a:gd name="connsiteY3244" fmla="*/ 4125515 h 6661143"/>
              <a:gd name="connsiteX3245" fmla="*/ 4041681 w 12191986"/>
              <a:gd name="connsiteY3245" fmla="*/ 4131342 h 6661143"/>
              <a:gd name="connsiteX3246" fmla="*/ 4050151 w 12191986"/>
              <a:gd name="connsiteY3246" fmla="*/ 4138228 h 6661143"/>
              <a:gd name="connsiteX3247" fmla="*/ 4058093 w 12191986"/>
              <a:gd name="connsiteY3247" fmla="*/ 4145113 h 6661143"/>
              <a:gd name="connsiteX3248" fmla="*/ 4066564 w 12191986"/>
              <a:gd name="connsiteY3248" fmla="*/ 4153059 h 6661143"/>
              <a:gd name="connsiteX3249" fmla="*/ 4073446 w 12191986"/>
              <a:gd name="connsiteY3249" fmla="*/ 4160474 h 6661143"/>
              <a:gd name="connsiteX3250" fmla="*/ 4081388 w 12191986"/>
              <a:gd name="connsiteY3250" fmla="*/ 4168419 h 6661143"/>
              <a:gd name="connsiteX3251" fmla="*/ 4087212 w 12191986"/>
              <a:gd name="connsiteY3251" fmla="*/ 4176364 h 6661143"/>
              <a:gd name="connsiteX3252" fmla="*/ 4093565 w 12191986"/>
              <a:gd name="connsiteY3252" fmla="*/ 4184839 h 6661143"/>
              <a:gd name="connsiteX3253" fmla="*/ 4099389 w 12191986"/>
              <a:gd name="connsiteY3253" fmla="*/ 4193314 h 6661143"/>
              <a:gd name="connsiteX3254" fmla="*/ 4106272 w 12191986"/>
              <a:gd name="connsiteY3254" fmla="*/ 4202319 h 6661143"/>
              <a:gd name="connsiteX3255" fmla="*/ 4115272 w 12191986"/>
              <a:gd name="connsiteY3255" fmla="*/ 4213442 h 6661143"/>
              <a:gd name="connsiteX3256" fmla="*/ 4126390 w 12191986"/>
              <a:gd name="connsiteY3256" fmla="*/ 4224565 h 6661143"/>
              <a:gd name="connsiteX3257" fmla="*/ 4137508 w 12191986"/>
              <a:gd name="connsiteY3257" fmla="*/ 4237807 h 6661143"/>
              <a:gd name="connsiteX3258" fmla="*/ 4150744 w 12191986"/>
              <a:gd name="connsiteY3258" fmla="*/ 4251578 h 6661143"/>
              <a:gd name="connsiteX3259" fmla="*/ 4163450 w 12191986"/>
              <a:gd name="connsiteY3259" fmla="*/ 4266409 h 6661143"/>
              <a:gd name="connsiteX3260" fmla="*/ 4176686 w 12191986"/>
              <a:gd name="connsiteY3260" fmla="*/ 4281770 h 6661143"/>
              <a:gd name="connsiteX3261" fmla="*/ 4189393 w 12191986"/>
              <a:gd name="connsiteY3261" fmla="*/ 4297660 h 6661143"/>
              <a:gd name="connsiteX3262" fmla="*/ 4201032 w 12191986"/>
              <a:gd name="connsiteY3262" fmla="*/ 4314610 h 6661143"/>
              <a:gd name="connsiteX3263" fmla="*/ 4210031 w 12191986"/>
              <a:gd name="connsiteY3263" fmla="*/ 4330500 h 6661143"/>
              <a:gd name="connsiteX3264" fmla="*/ 4214797 w 12191986"/>
              <a:gd name="connsiteY3264" fmla="*/ 4338975 h 6661143"/>
              <a:gd name="connsiteX3265" fmla="*/ 4218504 w 12191986"/>
              <a:gd name="connsiteY3265" fmla="*/ 4347450 h 6661143"/>
              <a:gd name="connsiteX3266" fmla="*/ 4221680 w 12191986"/>
              <a:gd name="connsiteY3266" fmla="*/ 4355925 h 6661143"/>
              <a:gd name="connsiteX3267" fmla="*/ 4223797 w 12191986"/>
              <a:gd name="connsiteY3267" fmla="*/ 4364400 h 6661143"/>
              <a:gd name="connsiteX3268" fmla="*/ 4225216 w 12191986"/>
              <a:gd name="connsiteY3268" fmla="*/ 4371968 h 6661143"/>
              <a:gd name="connsiteX3269" fmla="*/ 5463157 w 12191986"/>
              <a:gd name="connsiteY3269" fmla="*/ 4371968 h 6661143"/>
              <a:gd name="connsiteX3270" fmla="*/ 5465765 w 12191986"/>
              <a:gd name="connsiteY3270" fmla="*/ 4364400 h 6661143"/>
              <a:gd name="connsiteX3271" fmla="*/ 5471059 w 12191986"/>
              <a:gd name="connsiteY3271" fmla="*/ 4349039 h 6661143"/>
              <a:gd name="connsiteX3272" fmla="*/ 5477413 w 12191986"/>
              <a:gd name="connsiteY3272" fmla="*/ 4333678 h 6661143"/>
              <a:gd name="connsiteX3273" fmla="*/ 5483236 w 12191986"/>
              <a:gd name="connsiteY3273" fmla="*/ 4318318 h 6661143"/>
              <a:gd name="connsiteX3274" fmla="*/ 5490119 w 12191986"/>
              <a:gd name="connsiteY3274" fmla="*/ 4304016 h 6661143"/>
              <a:gd name="connsiteX3275" fmla="*/ 5498061 w 12191986"/>
              <a:gd name="connsiteY3275" fmla="*/ 4288656 h 6661143"/>
              <a:gd name="connsiteX3276" fmla="*/ 5506002 w 12191986"/>
              <a:gd name="connsiteY3276" fmla="*/ 4274355 h 6661143"/>
              <a:gd name="connsiteX3277" fmla="*/ 5515532 w 12191986"/>
              <a:gd name="connsiteY3277" fmla="*/ 4260583 h 6661143"/>
              <a:gd name="connsiteX3278" fmla="*/ 5525061 w 12191986"/>
              <a:gd name="connsiteY3278" fmla="*/ 4246811 h 6661143"/>
              <a:gd name="connsiteX3279" fmla="*/ 5536179 w 12191986"/>
              <a:gd name="connsiteY3279" fmla="*/ 4233569 h 6661143"/>
              <a:gd name="connsiteX3280" fmla="*/ 5547297 w 12191986"/>
              <a:gd name="connsiteY3280" fmla="*/ 4221387 h 6661143"/>
              <a:gd name="connsiteX3281" fmla="*/ 5559474 w 12191986"/>
              <a:gd name="connsiteY3281" fmla="*/ 4210264 h 6661143"/>
              <a:gd name="connsiteX3282" fmla="*/ 5572709 w 12191986"/>
              <a:gd name="connsiteY3282" fmla="*/ 4199670 h 6661143"/>
              <a:gd name="connsiteX3283" fmla="*/ 5586475 w 12191986"/>
              <a:gd name="connsiteY3283" fmla="*/ 4190136 h 6661143"/>
              <a:gd name="connsiteX3284" fmla="*/ 5600770 w 12191986"/>
              <a:gd name="connsiteY3284" fmla="*/ 4181131 h 6661143"/>
              <a:gd name="connsiteX3285" fmla="*/ 5616122 w 12191986"/>
              <a:gd name="connsiteY3285" fmla="*/ 4174246 h 6661143"/>
              <a:gd name="connsiteX3286" fmla="*/ 5647359 w 12191986"/>
              <a:gd name="connsiteY3286" fmla="*/ 4160474 h 6661143"/>
              <a:gd name="connsiteX3287" fmla="*/ 5677007 w 12191986"/>
              <a:gd name="connsiteY3287" fmla="*/ 4146702 h 6661143"/>
              <a:gd name="connsiteX3288" fmla="*/ 5704538 w 12191986"/>
              <a:gd name="connsiteY3288" fmla="*/ 4132931 h 6661143"/>
              <a:gd name="connsiteX3289" fmla="*/ 5730479 w 12191986"/>
              <a:gd name="connsiteY3289" fmla="*/ 4120219 h 6661143"/>
              <a:gd name="connsiteX3290" fmla="*/ 5753774 w 12191986"/>
              <a:gd name="connsiteY3290" fmla="*/ 4106977 h 6661143"/>
              <a:gd name="connsiteX3291" fmla="*/ 5776010 w 12191986"/>
              <a:gd name="connsiteY3291" fmla="*/ 4094794 h 6661143"/>
              <a:gd name="connsiteX3292" fmla="*/ 5796658 w 12191986"/>
              <a:gd name="connsiteY3292" fmla="*/ 4082612 h 6661143"/>
              <a:gd name="connsiteX3293" fmla="*/ 5814129 w 12191986"/>
              <a:gd name="connsiteY3293" fmla="*/ 4072018 h 6661143"/>
              <a:gd name="connsiteX3294" fmla="*/ 5844835 w 12191986"/>
              <a:gd name="connsiteY3294" fmla="*/ 4052420 h 6661143"/>
              <a:gd name="connsiteX3295" fmla="*/ 5867071 w 12191986"/>
              <a:gd name="connsiteY3295" fmla="*/ 4037059 h 6661143"/>
              <a:gd name="connsiteX3296" fmla="*/ 5879778 w 12191986"/>
              <a:gd name="connsiteY3296" fmla="*/ 4026995 h 6661143"/>
              <a:gd name="connsiteX3297" fmla="*/ 5884543 w 12191986"/>
              <a:gd name="connsiteY3297" fmla="*/ 4023817 h 6661143"/>
              <a:gd name="connsiteX3298" fmla="*/ 5890366 w 12191986"/>
              <a:gd name="connsiteY3298" fmla="*/ 4020639 h 6661143"/>
              <a:gd name="connsiteX3299" fmla="*/ 5906249 w 12191986"/>
              <a:gd name="connsiteY3299" fmla="*/ 4014813 h 6661143"/>
              <a:gd name="connsiteX3300" fmla="*/ 5930073 w 12191986"/>
              <a:gd name="connsiteY3300" fmla="*/ 4005808 h 6661143"/>
              <a:gd name="connsiteX3301" fmla="*/ 5953701 w 12191986"/>
              <a:gd name="connsiteY3301" fmla="*/ 3997642 h 6661143"/>
              <a:gd name="connsiteX3302" fmla="*/ 5953701 w 12191986"/>
              <a:gd name="connsiteY3302" fmla="*/ 3970331 h 6661143"/>
              <a:gd name="connsiteX3303" fmla="*/ 5954228 w 12191986"/>
              <a:gd name="connsiteY3303" fmla="*/ 3924823 h 6661143"/>
              <a:gd name="connsiteX3304" fmla="*/ 5955285 w 12191986"/>
              <a:gd name="connsiteY3304" fmla="*/ 3866085 h 6661143"/>
              <a:gd name="connsiteX3305" fmla="*/ 5955814 w 12191986"/>
              <a:gd name="connsiteY3305" fmla="*/ 3795177 h 6661143"/>
              <a:gd name="connsiteX3306" fmla="*/ 5956929 w 12191986"/>
              <a:gd name="connsiteY3306" fmla="*/ 3739726 h 6661143"/>
              <a:gd name="connsiteX3307" fmla="*/ 5955543 w 12191986"/>
              <a:gd name="connsiteY3307" fmla="*/ 3739044 h 6661143"/>
              <a:gd name="connsiteX3308" fmla="*/ 5948448 w 12191986"/>
              <a:gd name="connsiteY3308" fmla="*/ 3735283 h 6661143"/>
              <a:gd name="connsiteX3309" fmla="*/ 5940264 w 12191986"/>
              <a:gd name="connsiteY3309" fmla="*/ 3730985 h 6661143"/>
              <a:gd name="connsiteX3310" fmla="*/ 5932624 w 12191986"/>
              <a:gd name="connsiteY3310" fmla="*/ 3724000 h 6661143"/>
              <a:gd name="connsiteX3311" fmla="*/ 5930986 w 12191986"/>
              <a:gd name="connsiteY3311" fmla="*/ 3721313 h 6661143"/>
              <a:gd name="connsiteX3312" fmla="*/ 5930441 w 12191986"/>
              <a:gd name="connsiteY3312" fmla="*/ 3719164 h 6661143"/>
              <a:gd name="connsiteX3313" fmla="*/ 5929349 w 12191986"/>
              <a:gd name="connsiteY3313" fmla="*/ 3717015 h 6661143"/>
              <a:gd name="connsiteX3314" fmla="*/ 5928804 w 12191986"/>
              <a:gd name="connsiteY3314" fmla="*/ 3714328 h 6661143"/>
              <a:gd name="connsiteX3315" fmla="*/ 5927713 w 12191986"/>
              <a:gd name="connsiteY3315" fmla="*/ 3708418 h 6661143"/>
              <a:gd name="connsiteX3316" fmla="*/ 5928804 w 12191986"/>
              <a:gd name="connsiteY3316" fmla="*/ 3701433 h 6661143"/>
              <a:gd name="connsiteX3317" fmla="*/ 5931532 w 12191986"/>
              <a:gd name="connsiteY3317" fmla="*/ 3689075 h 6661143"/>
              <a:gd name="connsiteX3318" fmla="*/ 5935897 w 12191986"/>
              <a:gd name="connsiteY3318" fmla="*/ 3678329 h 6661143"/>
              <a:gd name="connsiteX3319" fmla="*/ 5936989 w 12191986"/>
              <a:gd name="connsiteY3319" fmla="*/ 3675642 h 6661143"/>
              <a:gd name="connsiteX3320" fmla="*/ 5938081 w 12191986"/>
              <a:gd name="connsiteY3320" fmla="*/ 3674030 h 6661143"/>
              <a:gd name="connsiteX3321" fmla="*/ 5939717 w 12191986"/>
              <a:gd name="connsiteY3321" fmla="*/ 3673493 h 6661143"/>
              <a:gd name="connsiteX3322" fmla="*/ 5941900 w 12191986"/>
              <a:gd name="connsiteY3322" fmla="*/ 3672955 h 6661143"/>
              <a:gd name="connsiteX3323" fmla="*/ 5945720 w 12191986"/>
              <a:gd name="connsiteY3323" fmla="*/ 3671881 h 6661143"/>
              <a:gd name="connsiteX3324" fmla="*/ 5950086 w 12191986"/>
              <a:gd name="connsiteY3324" fmla="*/ 3672955 h 6661143"/>
              <a:gd name="connsiteX3325" fmla="*/ 5956634 w 12191986"/>
              <a:gd name="connsiteY3325" fmla="*/ 3675105 h 6661143"/>
              <a:gd name="connsiteX3326" fmla="*/ 5958413 w 12191986"/>
              <a:gd name="connsiteY3326" fmla="*/ 3675455 h 6661143"/>
              <a:gd name="connsiteX3327" fmla="*/ 5959512 w 12191986"/>
              <a:gd name="connsiteY3327" fmla="*/ 3631135 h 6661143"/>
              <a:gd name="connsiteX3328" fmla="*/ 5962154 w 12191986"/>
              <a:gd name="connsiteY3328" fmla="*/ 3542764 h 6661143"/>
              <a:gd name="connsiteX3329" fmla="*/ 5961098 w 12191986"/>
              <a:gd name="connsiteY3329" fmla="*/ 3535885 h 6661143"/>
              <a:gd name="connsiteX3330" fmla="*/ 5959512 w 12191986"/>
              <a:gd name="connsiteY3330" fmla="*/ 3527418 h 6661143"/>
              <a:gd name="connsiteX3331" fmla="*/ 5957927 w 12191986"/>
              <a:gd name="connsiteY3331" fmla="*/ 3518423 h 6661143"/>
              <a:gd name="connsiteX3332" fmla="*/ 5957399 w 12191986"/>
              <a:gd name="connsiteY3332" fmla="*/ 3511543 h 6661143"/>
              <a:gd name="connsiteX3333" fmla="*/ 5957399 w 12191986"/>
              <a:gd name="connsiteY3333" fmla="*/ 3500431 h 6661143"/>
              <a:gd name="connsiteX3334" fmla="*/ 5956343 w 12191986"/>
              <a:gd name="connsiteY3334" fmla="*/ 3489848 h 6661143"/>
              <a:gd name="connsiteX3335" fmla="*/ 5955285 w 12191986"/>
              <a:gd name="connsiteY3335" fmla="*/ 3480323 h 6661143"/>
              <a:gd name="connsiteX3336" fmla="*/ 5953701 w 12191986"/>
              <a:gd name="connsiteY3336" fmla="*/ 3469210 h 6661143"/>
              <a:gd name="connsiteX3337" fmla="*/ 5951059 w 12191986"/>
              <a:gd name="connsiteY3337" fmla="*/ 3459685 h 6661143"/>
              <a:gd name="connsiteX3338" fmla="*/ 5948945 w 12191986"/>
              <a:gd name="connsiteY3338" fmla="*/ 3449631 h 6661143"/>
              <a:gd name="connsiteX3339" fmla="*/ 5945246 w 12191986"/>
              <a:gd name="connsiteY3339" fmla="*/ 3439577 h 6661143"/>
              <a:gd name="connsiteX3340" fmla="*/ 5941547 w 12191986"/>
              <a:gd name="connsiteY3340" fmla="*/ 3430581 h 6661143"/>
              <a:gd name="connsiteX3341" fmla="*/ 5936792 w 12191986"/>
              <a:gd name="connsiteY3341" fmla="*/ 3421585 h 6661143"/>
              <a:gd name="connsiteX3342" fmla="*/ 5932036 w 12191986"/>
              <a:gd name="connsiteY3342" fmla="*/ 3413118 h 6661143"/>
              <a:gd name="connsiteX3343" fmla="*/ 5926224 w 12191986"/>
              <a:gd name="connsiteY3343" fmla="*/ 3404652 h 6661143"/>
              <a:gd name="connsiteX3344" fmla="*/ 5922183 w 12191986"/>
              <a:gd name="connsiteY3344" fmla="*/ 3400268 h 6661143"/>
              <a:gd name="connsiteX3345" fmla="*/ 5922949 w 12191986"/>
              <a:gd name="connsiteY3345" fmla="*/ 3402934 h 6661143"/>
              <a:gd name="connsiteX3346" fmla="*/ 5922949 w 12191986"/>
              <a:gd name="connsiteY3346" fmla="*/ 3407677 h 6661143"/>
              <a:gd name="connsiteX3347" fmla="*/ 5922949 w 12191986"/>
              <a:gd name="connsiteY3347" fmla="*/ 3412947 h 6661143"/>
              <a:gd name="connsiteX3348" fmla="*/ 5921889 w 12191986"/>
              <a:gd name="connsiteY3348" fmla="*/ 3418216 h 6661143"/>
              <a:gd name="connsiteX3349" fmla="*/ 5921359 w 12191986"/>
              <a:gd name="connsiteY3349" fmla="*/ 3423486 h 6661143"/>
              <a:gd name="connsiteX3350" fmla="*/ 5918709 w 12191986"/>
              <a:gd name="connsiteY3350" fmla="*/ 3435606 h 6661143"/>
              <a:gd name="connsiteX3351" fmla="*/ 5914468 w 12191986"/>
              <a:gd name="connsiteY3351" fmla="*/ 3448254 h 6661143"/>
              <a:gd name="connsiteX3352" fmla="*/ 5909167 w 12191986"/>
              <a:gd name="connsiteY3352" fmla="*/ 3463009 h 6661143"/>
              <a:gd name="connsiteX3353" fmla="*/ 5902276 w 12191986"/>
              <a:gd name="connsiteY3353" fmla="*/ 3476710 h 6661143"/>
              <a:gd name="connsiteX3354" fmla="*/ 5899626 w 12191986"/>
              <a:gd name="connsiteY3354" fmla="*/ 3479872 h 6661143"/>
              <a:gd name="connsiteX3355" fmla="*/ 5897505 w 12191986"/>
              <a:gd name="connsiteY3355" fmla="*/ 3482507 h 6661143"/>
              <a:gd name="connsiteX3356" fmla="*/ 5894325 w 12191986"/>
              <a:gd name="connsiteY3356" fmla="*/ 3485669 h 6661143"/>
              <a:gd name="connsiteX3357" fmla="*/ 5890614 w 12191986"/>
              <a:gd name="connsiteY3357" fmla="*/ 3487776 h 6661143"/>
              <a:gd name="connsiteX3358" fmla="*/ 5883193 w 12191986"/>
              <a:gd name="connsiteY3358" fmla="*/ 3491992 h 6661143"/>
              <a:gd name="connsiteX3359" fmla="*/ 5873121 w 12191986"/>
              <a:gd name="connsiteY3359" fmla="*/ 3494627 h 6661143"/>
              <a:gd name="connsiteX3360" fmla="*/ 5862520 w 12191986"/>
              <a:gd name="connsiteY3360" fmla="*/ 3496208 h 6661143"/>
              <a:gd name="connsiteX3361" fmla="*/ 5850328 w 12191986"/>
              <a:gd name="connsiteY3361" fmla="*/ 3497789 h 6661143"/>
              <a:gd name="connsiteX3362" fmla="*/ 5837076 w 12191986"/>
              <a:gd name="connsiteY3362" fmla="*/ 3498843 h 6661143"/>
              <a:gd name="connsiteX3363" fmla="*/ 5824353 w 12191986"/>
              <a:gd name="connsiteY3363" fmla="*/ 3497789 h 6661143"/>
              <a:gd name="connsiteX3364" fmla="*/ 5796259 w 12191986"/>
              <a:gd name="connsiteY3364" fmla="*/ 3497262 h 6661143"/>
              <a:gd name="connsiteX3365" fmla="*/ 5768696 w 12191986"/>
              <a:gd name="connsiteY3365" fmla="*/ 3495681 h 6661143"/>
              <a:gd name="connsiteX3366" fmla="*/ 5742721 w 12191986"/>
              <a:gd name="connsiteY3366" fmla="*/ 3494100 h 6661143"/>
              <a:gd name="connsiteX3367" fmla="*/ 5720457 w 12191986"/>
              <a:gd name="connsiteY3367" fmla="*/ 3494100 h 6661143"/>
              <a:gd name="connsiteX3368" fmla="*/ 5710386 w 12191986"/>
              <a:gd name="connsiteY3368" fmla="*/ 3494100 h 6661143"/>
              <a:gd name="connsiteX3369" fmla="*/ 5700845 w 12191986"/>
              <a:gd name="connsiteY3369" fmla="*/ 3494100 h 6661143"/>
              <a:gd name="connsiteX3370" fmla="*/ 5691303 w 12191986"/>
              <a:gd name="connsiteY3370" fmla="*/ 3493046 h 6661143"/>
              <a:gd name="connsiteX3371" fmla="*/ 5682292 w 12191986"/>
              <a:gd name="connsiteY3371" fmla="*/ 3492519 h 6661143"/>
              <a:gd name="connsiteX3372" fmla="*/ 5664799 w 12191986"/>
              <a:gd name="connsiteY3372" fmla="*/ 3490411 h 6661143"/>
              <a:gd name="connsiteX3373" fmla="*/ 5648896 w 12191986"/>
              <a:gd name="connsiteY3373" fmla="*/ 3486723 h 6661143"/>
              <a:gd name="connsiteX3374" fmla="*/ 5626103 w 12191986"/>
              <a:gd name="connsiteY3374" fmla="*/ 3479872 h 6661143"/>
              <a:gd name="connsiteX3375" fmla="*/ 5616562 w 12191986"/>
              <a:gd name="connsiteY3375" fmla="*/ 3476710 h 6661143"/>
              <a:gd name="connsiteX3376" fmla="*/ 5618152 w 12191986"/>
              <a:gd name="connsiteY3376" fmla="*/ 3473021 h 6661143"/>
              <a:gd name="connsiteX3377" fmla="*/ 5619742 w 12191986"/>
              <a:gd name="connsiteY3377" fmla="*/ 3468806 h 6661143"/>
              <a:gd name="connsiteX3378" fmla="*/ 5621332 w 12191986"/>
              <a:gd name="connsiteY3378" fmla="*/ 3465117 h 6661143"/>
              <a:gd name="connsiteX3379" fmla="*/ 5623453 w 12191986"/>
              <a:gd name="connsiteY3379" fmla="*/ 3461955 h 6661143"/>
              <a:gd name="connsiteX3380" fmla="*/ 5628754 w 12191986"/>
              <a:gd name="connsiteY3380" fmla="*/ 3456158 h 6661143"/>
              <a:gd name="connsiteX3381" fmla="*/ 5633560 w 12191986"/>
              <a:gd name="connsiteY3381" fmla="*/ 3451380 h 6661143"/>
              <a:gd name="connsiteX3382" fmla="*/ 5632963 w 12191986"/>
              <a:gd name="connsiteY3382" fmla="*/ 3451748 h 6661143"/>
              <a:gd name="connsiteX3383" fmla="*/ 5639304 w 12191986"/>
              <a:gd name="connsiteY3383" fmla="*/ 3446456 h 6661143"/>
              <a:gd name="connsiteX3384" fmla="*/ 5641969 w 12191986"/>
              <a:gd name="connsiteY3384" fmla="*/ 3444677 h 6661143"/>
              <a:gd name="connsiteX3385" fmla="*/ 5644126 w 12191986"/>
              <a:gd name="connsiteY3385" fmla="*/ 3442984 h 6661143"/>
              <a:gd name="connsiteX3386" fmla="*/ 5645430 w 12191986"/>
              <a:gd name="connsiteY3386" fmla="*/ 3442408 h 6661143"/>
              <a:gd name="connsiteX3387" fmla="*/ 5649872 w 12191986"/>
              <a:gd name="connsiteY3387" fmla="*/ 3439577 h 6661143"/>
              <a:gd name="connsiteX3388" fmla="*/ 5656741 w 12191986"/>
              <a:gd name="connsiteY3388" fmla="*/ 3434285 h 6661143"/>
              <a:gd name="connsiteX3389" fmla="*/ 5664667 w 12191986"/>
              <a:gd name="connsiteY3389" fmla="*/ 3429523 h 6661143"/>
              <a:gd name="connsiteX3390" fmla="*/ 5672593 w 12191986"/>
              <a:gd name="connsiteY3390" fmla="*/ 3423702 h 6661143"/>
              <a:gd name="connsiteX3391" fmla="*/ 5682633 w 12191986"/>
              <a:gd name="connsiteY3391" fmla="*/ 3418410 h 6661143"/>
              <a:gd name="connsiteX3392" fmla="*/ 5693200 w 12191986"/>
              <a:gd name="connsiteY3392" fmla="*/ 3411531 h 6661143"/>
              <a:gd name="connsiteX3393" fmla="*/ 5704825 w 12191986"/>
              <a:gd name="connsiteY3393" fmla="*/ 3405181 h 6661143"/>
              <a:gd name="connsiteX3394" fmla="*/ 5706457 w 12191986"/>
              <a:gd name="connsiteY3394" fmla="*/ 3404257 h 6661143"/>
              <a:gd name="connsiteX3395" fmla="*/ 5708109 w 12191986"/>
              <a:gd name="connsiteY3395" fmla="*/ 3403029 h 6661143"/>
              <a:gd name="connsiteX3396" fmla="*/ 5709696 w 12191986"/>
              <a:gd name="connsiteY3396" fmla="*/ 3401980 h 6661143"/>
              <a:gd name="connsiteX3397" fmla="*/ 5711813 w 12191986"/>
              <a:gd name="connsiteY3397" fmla="*/ 3400930 h 6661143"/>
              <a:gd name="connsiteX3398" fmla="*/ 5714459 w 12191986"/>
              <a:gd name="connsiteY3398" fmla="*/ 3399356 h 6661143"/>
              <a:gd name="connsiteX3399" fmla="*/ 5714987 w 12191986"/>
              <a:gd name="connsiteY3399" fmla="*/ 3398831 h 6661143"/>
              <a:gd name="connsiteX3400" fmla="*/ 5715208 w 12191986"/>
              <a:gd name="connsiteY3400" fmla="*/ 3399304 h 6661143"/>
              <a:gd name="connsiteX3401" fmla="*/ 5716979 w 12191986"/>
              <a:gd name="connsiteY3401" fmla="*/ 3398302 h 6661143"/>
              <a:gd name="connsiteX3402" fmla="*/ 5730717 w 12191986"/>
              <a:gd name="connsiteY3402" fmla="*/ 3392481 h 6661143"/>
              <a:gd name="connsiteX3403" fmla="*/ 5744983 w 12191986"/>
              <a:gd name="connsiteY3403" fmla="*/ 3385602 h 6661143"/>
              <a:gd name="connsiteX3404" fmla="*/ 5760306 w 12191986"/>
              <a:gd name="connsiteY3404" fmla="*/ 3379252 h 6661143"/>
              <a:gd name="connsiteX3405" fmla="*/ 5776159 w 12191986"/>
              <a:gd name="connsiteY3405" fmla="*/ 3373431 h 6661143"/>
              <a:gd name="connsiteX3406" fmla="*/ 5793596 w 12191986"/>
              <a:gd name="connsiteY3406" fmla="*/ 3368139 h 6661143"/>
              <a:gd name="connsiteX3407" fmla="*/ 5812090 w 12191986"/>
              <a:gd name="connsiteY3407" fmla="*/ 3363377 h 6661143"/>
              <a:gd name="connsiteX3408" fmla="*/ 5831113 w 12191986"/>
              <a:gd name="connsiteY3408" fmla="*/ 3360202 h 6661143"/>
              <a:gd name="connsiteX3409" fmla="*/ 5841151 w 12191986"/>
              <a:gd name="connsiteY3409" fmla="*/ 3358614 h 6661143"/>
              <a:gd name="connsiteX3410" fmla="*/ 5850663 w 12191986"/>
              <a:gd name="connsiteY3410" fmla="*/ 3358085 h 6661143"/>
              <a:gd name="connsiteX3411" fmla="*/ 5853305 w 12191986"/>
              <a:gd name="connsiteY3411" fmla="*/ 3358085 h 6661143"/>
              <a:gd name="connsiteX3412" fmla="*/ 5855418 w 12191986"/>
              <a:gd name="connsiteY3412" fmla="*/ 3358085 h 6661143"/>
              <a:gd name="connsiteX3413" fmla="*/ 5858589 w 12191986"/>
              <a:gd name="connsiteY3413" fmla="*/ 3357556 h 6661143"/>
              <a:gd name="connsiteX3414" fmla="*/ 5859117 w 12191986"/>
              <a:gd name="connsiteY3414" fmla="*/ 3357556 h 6661143"/>
              <a:gd name="connsiteX3415" fmla="*/ 5860174 w 12191986"/>
              <a:gd name="connsiteY3415" fmla="*/ 3357556 h 6661143"/>
              <a:gd name="connsiteX3416" fmla="*/ 5860703 w 12191986"/>
              <a:gd name="connsiteY3416" fmla="*/ 3357556 h 6661143"/>
              <a:gd name="connsiteX3417" fmla="*/ 5865987 w 12191986"/>
              <a:gd name="connsiteY3417" fmla="*/ 3357556 h 6661143"/>
              <a:gd name="connsiteX3418" fmla="*/ 5871270 w 12191986"/>
              <a:gd name="connsiteY3418" fmla="*/ 3358085 h 6661143"/>
              <a:gd name="connsiteX3419" fmla="*/ 5881838 w 12191986"/>
              <a:gd name="connsiteY3419" fmla="*/ 3358614 h 6661143"/>
              <a:gd name="connsiteX3420" fmla="*/ 5893463 w 12191986"/>
              <a:gd name="connsiteY3420" fmla="*/ 3361789 h 6661143"/>
              <a:gd name="connsiteX3421" fmla="*/ 5904031 w 12191986"/>
              <a:gd name="connsiteY3421" fmla="*/ 3364964 h 6661143"/>
              <a:gd name="connsiteX3422" fmla="*/ 5914071 w 12191986"/>
              <a:gd name="connsiteY3422" fmla="*/ 3370256 h 6661143"/>
              <a:gd name="connsiteX3423" fmla="*/ 5917242 w 12191986"/>
              <a:gd name="connsiteY3423" fmla="*/ 3371314 h 6661143"/>
              <a:gd name="connsiteX3424" fmla="*/ 5919354 w 12191986"/>
              <a:gd name="connsiteY3424" fmla="*/ 3372373 h 6661143"/>
              <a:gd name="connsiteX3425" fmla="*/ 5921468 w 12191986"/>
              <a:gd name="connsiteY3425" fmla="*/ 3373960 h 6661143"/>
              <a:gd name="connsiteX3426" fmla="*/ 5924110 w 12191986"/>
              <a:gd name="connsiteY3426" fmla="*/ 3375548 h 6661143"/>
              <a:gd name="connsiteX3427" fmla="*/ 5929394 w 12191986"/>
              <a:gd name="connsiteY3427" fmla="*/ 3379252 h 6661143"/>
              <a:gd name="connsiteX3428" fmla="*/ 5933093 w 12191986"/>
              <a:gd name="connsiteY3428" fmla="*/ 3383485 h 6661143"/>
              <a:gd name="connsiteX3429" fmla="*/ 5941547 w 12191986"/>
              <a:gd name="connsiteY3429" fmla="*/ 3391423 h 6661143"/>
              <a:gd name="connsiteX3430" fmla="*/ 5948945 w 12191986"/>
              <a:gd name="connsiteY3430" fmla="*/ 3400948 h 6661143"/>
              <a:gd name="connsiteX3431" fmla="*/ 5955814 w 12191986"/>
              <a:gd name="connsiteY3431" fmla="*/ 3409943 h 6661143"/>
              <a:gd name="connsiteX3432" fmla="*/ 5962154 w 12191986"/>
              <a:gd name="connsiteY3432" fmla="*/ 3420527 h 6661143"/>
              <a:gd name="connsiteX3433" fmla="*/ 5966382 w 12191986"/>
              <a:gd name="connsiteY3433" fmla="*/ 3430581 h 6661143"/>
              <a:gd name="connsiteX3434" fmla="*/ 5971137 w 12191986"/>
              <a:gd name="connsiteY3434" fmla="*/ 3442223 h 6661143"/>
              <a:gd name="connsiteX3435" fmla="*/ 5974836 w 12191986"/>
              <a:gd name="connsiteY3435" fmla="*/ 3452806 h 6661143"/>
              <a:gd name="connsiteX3436" fmla="*/ 5978007 w 12191986"/>
              <a:gd name="connsiteY3436" fmla="*/ 3463918 h 6661143"/>
              <a:gd name="connsiteX3437" fmla="*/ 5981177 w 12191986"/>
              <a:gd name="connsiteY3437" fmla="*/ 3475560 h 6661143"/>
              <a:gd name="connsiteX3438" fmla="*/ 5983291 w 12191986"/>
              <a:gd name="connsiteY3438" fmla="*/ 3487202 h 6661143"/>
              <a:gd name="connsiteX3439" fmla="*/ 5983819 w 12191986"/>
              <a:gd name="connsiteY3439" fmla="*/ 3492493 h 6661143"/>
              <a:gd name="connsiteX3440" fmla="*/ 5984876 w 12191986"/>
              <a:gd name="connsiteY3440" fmla="*/ 3498314 h 6661143"/>
              <a:gd name="connsiteX3441" fmla="*/ 5984876 w 12191986"/>
              <a:gd name="connsiteY3441" fmla="*/ 3504664 h 6661143"/>
              <a:gd name="connsiteX3442" fmla="*/ 5985404 w 12191986"/>
              <a:gd name="connsiteY3442" fmla="*/ 3510485 h 6661143"/>
              <a:gd name="connsiteX3443" fmla="*/ 5985404 w 12191986"/>
              <a:gd name="connsiteY3443" fmla="*/ 3512073 h 6661143"/>
              <a:gd name="connsiteX3444" fmla="*/ 5985404 w 12191986"/>
              <a:gd name="connsiteY3444" fmla="*/ 3513660 h 6661143"/>
              <a:gd name="connsiteX3445" fmla="*/ 5985404 w 12191986"/>
              <a:gd name="connsiteY3445" fmla="*/ 3516835 h 6661143"/>
              <a:gd name="connsiteX3446" fmla="*/ 5986461 w 12191986"/>
              <a:gd name="connsiteY3446" fmla="*/ 3522127 h 6661143"/>
              <a:gd name="connsiteX3447" fmla="*/ 5986461 w 12191986"/>
              <a:gd name="connsiteY3447" fmla="*/ 3533239 h 6661143"/>
              <a:gd name="connsiteX3448" fmla="*/ 5988574 w 12191986"/>
              <a:gd name="connsiteY3448" fmla="*/ 3622139 h 6661143"/>
              <a:gd name="connsiteX3449" fmla="*/ 5990688 w 12191986"/>
              <a:gd name="connsiteY3449" fmla="*/ 3707864 h 6661143"/>
              <a:gd name="connsiteX3450" fmla="*/ 5992274 w 12191986"/>
              <a:gd name="connsiteY3450" fmla="*/ 3788827 h 6661143"/>
              <a:gd name="connsiteX3451" fmla="*/ 5993330 w 12191986"/>
              <a:gd name="connsiteY3451" fmla="*/ 3861323 h 6661143"/>
              <a:gd name="connsiteX3452" fmla="*/ 5993858 w 12191986"/>
              <a:gd name="connsiteY3452" fmla="*/ 3923235 h 6661143"/>
              <a:gd name="connsiteX3453" fmla="*/ 5994387 w 12191986"/>
              <a:gd name="connsiteY3453" fmla="*/ 3970331 h 6661143"/>
              <a:gd name="connsiteX3454" fmla="*/ 5994387 w 12191986"/>
              <a:gd name="connsiteY3454" fmla="*/ 3986477 h 6661143"/>
              <a:gd name="connsiteX3455" fmla="*/ 6006311 w 12191986"/>
              <a:gd name="connsiteY3455" fmla="*/ 3984092 h 6661143"/>
              <a:gd name="connsiteX3456" fmla="*/ 6021665 w 12191986"/>
              <a:gd name="connsiteY3456" fmla="*/ 3981973 h 6661143"/>
              <a:gd name="connsiteX3457" fmla="*/ 6037018 w 12191986"/>
              <a:gd name="connsiteY3457" fmla="*/ 3981443 h 6661143"/>
              <a:gd name="connsiteX3458" fmla="*/ 6051312 w 12191986"/>
              <a:gd name="connsiteY3458" fmla="*/ 3981443 h 6661143"/>
              <a:gd name="connsiteX3459" fmla="*/ 6057665 w 12191986"/>
              <a:gd name="connsiteY3459" fmla="*/ 3981973 h 6661143"/>
              <a:gd name="connsiteX3460" fmla="*/ 6064548 w 12191986"/>
              <a:gd name="connsiteY3460" fmla="*/ 3983562 h 6661143"/>
              <a:gd name="connsiteX3461" fmla="*/ 6069842 w 12191986"/>
              <a:gd name="connsiteY3461" fmla="*/ 3985151 h 6661143"/>
              <a:gd name="connsiteX3462" fmla="*/ 6075666 w 12191986"/>
              <a:gd name="connsiteY3462" fmla="*/ 3987270 h 6661143"/>
              <a:gd name="connsiteX3463" fmla="*/ 6085725 w 12191986"/>
              <a:gd name="connsiteY3463" fmla="*/ 3992566 h 6661143"/>
              <a:gd name="connsiteX3464" fmla="*/ 6095784 w 12191986"/>
              <a:gd name="connsiteY3464" fmla="*/ 3998923 h 6661143"/>
              <a:gd name="connsiteX3465" fmla="*/ 6105314 w 12191986"/>
              <a:gd name="connsiteY3465" fmla="*/ 4006338 h 6661143"/>
              <a:gd name="connsiteX3466" fmla="*/ 6115373 w 12191986"/>
              <a:gd name="connsiteY3466" fmla="*/ 4014283 h 6661143"/>
              <a:gd name="connsiteX3467" fmla="*/ 6134433 w 12191986"/>
              <a:gd name="connsiteY3467" fmla="*/ 4031763 h 6661143"/>
              <a:gd name="connsiteX3468" fmla="*/ 6152962 w 12191986"/>
              <a:gd name="connsiteY3468" fmla="*/ 4049772 h 6661143"/>
              <a:gd name="connsiteX3469" fmla="*/ 6162492 w 12191986"/>
              <a:gd name="connsiteY3469" fmla="*/ 4059306 h 6661143"/>
              <a:gd name="connsiteX3470" fmla="*/ 6172551 w 12191986"/>
              <a:gd name="connsiteY3470" fmla="*/ 4067251 h 6661143"/>
              <a:gd name="connsiteX3471" fmla="*/ 6181552 w 12191986"/>
              <a:gd name="connsiteY3471" fmla="*/ 4075196 h 6661143"/>
              <a:gd name="connsiteX3472" fmla="*/ 6192140 w 12191986"/>
              <a:gd name="connsiteY3472" fmla="*/ 4082082 h 6661143"/>
              <a:gd name="connsiteX3473" fmla="*/ 6203258 w 12191986"/>
              <a:gd name="connsiteY3473" fmla="*/ 4087908 h 6661143"/>
              <a:gd name="connsiteX3474" fmla="*/ 6213847 w 12191986"/>
              <a:gd name="connsiteY3474" fmla="*/ 4093205 h 6661143"/>
              <a:gd name="connsiteX3475" fmla="*/ 6219141 w 12191986"/>
              <a:gd name="connsiteY3475" fmla="*/ 4094794 h 6661143"/>
              <a:gd name="connsiteX3476" fmla="*/ 6224965 w 12191986"/>
              <a:gd name="connsiteY3476" fmla="*/ 4097442 h 6661143"/>
              <a:gd name="connsiteX3477" fmla="*/ 6230259 w 12191986"/>
              <a:gd name="connsiteY3477" fmla="*/ 4097972 h 6661143"/>
              <a:gd name="connsiteX3478" fmla="*/ 6236612 w 12191986"/>
              <a:gd name="connsiteY3478" fmla="*/ 4098502 h 6661143"/>
              <a:gd name="connsiteX3479" fmla="*/ 6248789 w 12191986"/>
              <a:gd name="connsiteY3479" fmla="*/ 4100091 h 6661143"/>
              <a:gd name="connsiteX3480" fmla="*/ 6260436 w 12191986"/>
              <a:gd name="connsiteY3480" fmla="*/ 4102739 h 6661143"/>
              <a:gd name="connsiteX3481" fmla="*/ 6271025 w 12191986"/>
              <a:gd name="connsiteY3481" fmla="*/ 4106447 h 6661143"/>
              <a:gd name="connsiteX3482" fmla="*/ 6282143 w 12191986"/>
              <a:gd name="connsiteY3482" fmla="*/ 4110155 h 6661143"/>
              <a:gd name="connsiteX3483" fmla="*/ 6292202 w 12191986"/>
              <a:gd name="connsiteY3483" fmla="*/ 4114922 h 6661143"/>
              <a:gd name="connsiteX3484" fmla="*/ 6302261 w 12191986"/>
              <a:gd name="connsiteY3484" fmla="*/ 4119159 h 6661143"/>
              <a:gd name="connsiteX3485" fmla="*/ 6312320 w 12191986"/>
              <a:gd name="connsiteY3485" fmla="*/ 4125515 h 6661143"/>
              <a:gd name="connsiteX3486" fmla="*/ 6321321 w 12191986"/>
              <a:gd name="connsiteY3486" fmla="*/ 4131342 h 6661143"/>
              <a:gd name="connsiteX3487" fmla="*/ 6329792 w 12191986"/>
              <a:gd name="connsiteY3487" fmla="*/ 4138228 h 6661143"/>
              <a:gd name="connsiteX3488" fmla="*/ 6337733 w 12191986"/>
              <a:gd name="connsiteY3488" fmla="*/ 4145113 h 6661143"/>
              <a:gd name="connsiteX3489" fmla="*/ 6345674 w 12191986"/>
              <a:gd name="connsiteY3489" fmla="*/ 4153059 h 6661143"/>
              <a:gd name="connsiteX3490" fmla="*/ 6353086 w 12191986"/>
              <a:gd name="connsiteY3490" fmla="*/ 4160474 h 6661143"/>
              <a:gd name="connsiteX3491" fmla="*/ 6359969 w 12191986"/>
              <a:gd name="connsiteY3491" fmla="*/ 4168419 h 6661143"/>
              <a:gd name="connsiteX3492" fmla="*/ 6366852 w 12191986"/>
              <a:gd name="connsiteY3492" fmla="*/ 4176364 h 6661143"/>
              <a:gd name="connsiteX3493" fmla="*/ 6373205 w 12191986"/>
              <a:gd name="connsiteY3493" fmla="*/ 4184839 h 6661143"/>
              <a:gd name="connsiteX3494" fmla="*/ 6379028 w 12191986"/>
              <a:gd name="connsiteY3494" fmla="*/ 4193314 h 6661143"/>
              <a:gd name="connsiteX3495" fmla="*/ 6385382 w 12191986"/>
              <a:gd name="connsiteY3495" fmla="*/ 4202319 h 6661143"/>
              <a:gd name="connsiteX3496" fmla="*/ 6394382 w 12191986"/>
              <a:gd name="connsiteY3496" fmla="*/ 4213442 h 6661143"/>
              <a:gd name="connsiteX3497" fmla="*/ 6404970 w 12191986"/>
              <a:gd name="connsiteY3497" fmla="*/ 4224565 h 6661143"/>
              <a:gd name="connsiteX3498" fmla="*/ 6417147 w 12191986"/>
              <a:gd name="connsiteY3498" fmla="*/ 4237807 h 6661143"/>
              <a:gd name="connsiteX3499" fmla="*/ 6430383 w 12191986"/>
              <a:gd name="connsiteY3499" fmla="*/ 4251578 h 6661143"/>
              <a:gd name="connsiteX3500" fmla="*/ 6443089 w 12191986"/>
              <a:gd name="connsiteY3500" fmla="*/ 4266409 h 6661143"/>
              <a:gd name="connsiteX3501" fmla="*/ 6456325 w 12191986"/>
              <a:gd name="connsiteY3501" fmla="*/ 4281770 h 6661143"/>
              <a:gd name="connsiteX3502" fmla="*/ 6468502 w 12191986"/>
              <a:gd name="connsiteY3502" fmla="*/ 4297660 h 6661143"/>
              <a:gd name="connsiteX3503" fmla="*/ 6479620 w 12191986"/>
              <a:gd name="connsiteY3503" fmla="*/ 4314610 h 6661143"/>
              <a:gd name="connsiteX3504" fmla="*/ 6489679 w 12191986"/>
              <a:gd name="connsiteY3504" fmla="*/ 4330500 h 6661143"/>
              <a:gd name="connsiteX3505" fmla="*/ 6494444 w 12191986"/>
              <a:gd name="connsiteY3505" fmla="*/ 4338975 h 6661143"/>
              <a:gd name="connsiteX3506" fmla="*/ 6497091 w 12191986"/>
              <a:gd name="connsiteY3506" fmla="*/ 4347450 h 6661143"/>
              <a:gd name="connsiteX3507" fmla="*/ 6500268 w 12191986"/>
              <a:gd name="connsiteY3507" fmla="*/ 4355925 h 6661143"/>
              <a:gd name="connsiteX3508" fmla="*/ 6502915 w 12191986"/>
              <a:gd name="connsiteY3508" fmla="*/ 4364400 h 6661143"/>
              <a:gd name="connsiteX3509" fmla="*/ 6504806 w 12191986"/>
              <a:gd name="connsiteY3509" fmla="*/ 4371968 h 6661143"/>
              <a:gd name="connsiteX3510" fmla="*/ 7741994 w 12191986"/>
              <a:gd name="connsiteY3510" fmla="*/ 4371968 h 6661143"/>
              <a:gd name="connsiteX3511" fmla="*/ 7744340 w 12191986"/>
              <a:gd name="connsiteY3511" fmla="*/ 4364400 h 6661143"/>
              <a:gd name="connsiteX3512" fmla="*/ 7749632 w 12191986"/>
              <a:gd name="connsiteY3512" fmla="*/ 4349039 h 6661143"/>
              <a:gd name="connsiteX3513" fmla="*/ 7755453 w 12191986"/>
              <a:gd name="connsiteY3513" fmla="*/ 4333678 h 6661143"/>
              <a:gd name="connsiteX3514" fmla="*/ 7762332 w 12191986"/>
              <a:gd name="connsiteY3514" fmla="*/ 4318318 h 6661143"/>
              <a:gd name="connsiteX3515" fmla="*/ 7769211 w 12191986"/>
              <a:gd name="connsiteY3515" fmla="*/ 4304016 h 6661143"/>
              <a:gd name="connsiteX3516" fmla="*/ 7777149 w 12191986"/>
              <a:gd name="connsiteY3516" fmla="*/ 4288656 h 6661143"/>
              <a:gd name="connsiteX3517" fmla="*/ 7785086 w 12191986"/>
              <a:gd name="connsiteY3517" fmla="*/ 4274355 h 6661143"/>
              <a:gd name="connsiteX3518" fmla="*/ 7794611 w 12191986"/>
              <a:gd name="connsiteY3518" fmla="*/ 4260583 h 6661143"/>
              <a:gd name="connsiteX3519" fmla="*/ 7804136 w 12191986"/>
              <a:gd name="connsiteY3519" fmla="*/ 4246811 h 6661143"/>
              <a:gd name="connsiteX3520" fmla="*/ 7815249 w 12191986"/>
              <a:gd name="connsiteY3520" fmla="*/ 4233569 h 6661143"/>
              <a:gd name="connsiteX3521" fmla="*/ 7825832 w 12191986"/>
              <a:gd name="connsiteY3521" fmla="*/ 4221387 h 6661143"/>
              <a:gd name="connsiteX3522" fmla="*/ 7838003 w 12191986"/>
              <a:gd name="connsiteY3522" fmla="*/ 4210264 h 6661143"/>
              <a:gd name="connsiteX3523" fmla="*/ 7850703 w 12191986"/>
              <a:gd name="connsiteY3523" fmla="*/ 4199670 h 6661143"/>
              <a:gd name="connsiteX3524" fmla="*/ 7864461 w 12191986"/>
              <a:gd name="connsiteY3524" fmla="*/ 4190136 h 6661143"/>
              <a:gd name="connsiteX3525" fmla="*/ 7879807 w 12191986"/>
              <a:gd name="connsiteY3525" fmla="*/ 4181131 h 6661143"/>
              <a:gd name="connsiteX3526" fmla="*/ 7895153 w 12191986"/>
              <a:gd name="connsiteY3526" fmla="*/ 4174246 h 6661143"/>
              <a:gd name="connsiteX3527" fmla="*/ 7926374 w 12191986"/>
              <a:gd name="connsiteY3527" fmla="*/ 4160474 h 6661143"/>
              <a:gd name="connsiteX3528" fmla="*/ 7956007 w 12191986"/>
              <a:gd name="connsiteY3528" fmla="*/ 4146702 h 6661143"/>
              <a:gd name="connsiteX3529" fmla="*/ 7983524 w 12191986"/>
              <a:gd name="connsiteY3529" fmla="*/ 4132931 h 6661143"/>
              <a:gd name="connsiteX3530" fmla="*/ 8009453 w 12191986"/>
              <a:gd name="connsiteY3530" fmla="*/ 4120219 h 6661143"/>
              <a:gd name="connsiteX3531" fmla="*/ 8032736 w 12191986"/>
              <a:gd name="connsiteY3531" fmla="*/ 4106977 h 6661143"/>
              <a:gd name="connsiteX3532" fmla="*/ 8054961 w 12191986"/>
              <a:gd name="connsiteY3532" fmla="*/ 4094794 h 6661143"/>
              <a:gd name="connsiteX3533" fmla="*/ 8075070 w 12191986"/>
              <a:gd name="connsiteY3533" fmla="*/ 4082612 h 6661143"/>
              <a:gd name="connsiteX3534" fmla="*/ 8093061 w 12191986"/>
              <a:gd name="connsiteY3534" fmla="*/ 4072018 h 6661143"/>
              <a:gd name="connsiteX3535" fmla="*/ 8123753 w 12191986"/>
              <a:gd name="connsiteY3535" fmla="*/ 4052420 h 6661143"/>
              <a:gd name="connsiteX3536" fmla="*/ 8144920 w 12191986"/>
              <a:gd name="connsiteY3536" fmla="*/ 4037059 h 6661143"/>
              <a:gd name="connsiteX3537" fmla="*/ 8158678 w 12191986"/>
              <a:gd name="connsiteY3537" fmla="*/ 4026995 h 6661143"/>
              <a:gd name="connsiteX3538" fmla="*/ 8163441 w 12191986"/>
              <a:gd name="connsiteY3538" fmla="*/ 4023817 h 6661143"/>
              <a:gd name="connsiteX3539" fmla="*/ 8169261 w 12191986"/>
              <a:gd name="connsiteY3539" fmla="*/ 4020639 h 6661143"/>
              <a:gd name="connsiteX3540" fmla="*/ 8185136 w 12191986"/>
              <a:gd name="connsiteY3540" fmla="*/ 4014813 h 6661143"/>
              <a:gd name="connsiteX3541" fmla="*/ 8208949 w 12191986"/>
              <a:gd name="connsiteY3541" fmla="*/ 4005808 h 6661143"/>
              <a:gd name="connsiteX3542" fmla="*/ 8236995 w 12191986"/>
              <a:gd name="connsiteY3542" fmla="*/ 3995744 h 6661143"/>
              <a:gd name="connsiteX3543" fmla="*/ 8253399 w 12191986"/>
              <a:gd name="connsiteY3543" fmla="*/ 3992037 h 6661143"/>
              <a:gd name="connsiteX3544" fmla="*/ 8262402 w 12191986"/>
              <a:gd name="connsiteY3544" fmla="*/ 3989333 h 6661143"/>
              <a:gd name="connsiteX3545" fmla="*/ 8262402 w 12191986"/>
              <a:gd name="connsiteY3545" fmla="*/ 3988910 h 6661143"/>
              <a:gd name="connsiteX3546" fmla="*/ 8262402 w 12191986"/>
              <a:gd name="connsiteY3546" fmla="*/ 3966167 h 6661143"/>
              <a:gd name="connsiteX3547" fmla="*/ 8261345 w 12191986"/>
              <a:gd name="connsiteY3547" fmla="*/ 3943423 h 6661143"/>
              <a:gd name="connsiteX3548" fmla="*/ 8260817 w 12191986"/>
              <a:gd name="connsiteY3548" fmla="*/ 3936547 h 6661143"/>
              <a:gd name="connsiteX3549" fmla="*/ 8260288 w 12191986"/>
              <a:gd name="connsiteY3549" fmla="*/ 3929142 h 6661143"/>
              <a:gd name="connsiteX3550" fmla="*/ 8257645 w 12191986"/>
              <a:gd name="connsiteY3550" fmla="*/ 3900581 h 6661143"/>
              <a:gd name="connsiteX3551" fmla="*/ 8253946 w 12191986"/>
              <a:gd name="connsiteY3551" fmla="*/ 3872019 h 6661143"/>
              <a:gd name="connsiteX3552" fmla="*/ 8249189 w 12191986"/>
              <a:gd name="connsiteY3552" fmla="*/ 3843458 h 6661143"/>
              <a:gd name="connsiteX3553" fmla="*/ 8242318 w 12191986"/>
              <a:gd name="connsiteY3553" fmla="*/ 3815425 h 6661143"/>
              <a:gd name="connsiteX3554" fmla="*/ 8232804 w 12191986"/>
              <a:gd name="connsiteY3554" fmla="*/ 3776285 h 6661143"/>
              <a:gd name="connsiteX3555" fmla="*/ 8221177 w 12191986"/>
              <a:gd name="connsiteY3555" fmla="*/ 3738203 h 6661143"/>
              <a:gd name="connsiteX3556" fmla="*/ 8208492 w 12191986"/>
              <a:gd name="connsiteY3556" fmla="*/ 3700121 h 6661143"/>
              <a:gd name="connsiteX3557" fmla="*/ 8193693 w 12191986"/>
              <a:gd name="connsiteY3557" fmla="*/ 3662039 h 6661143"/>
              <a:gd name="connsiteX3558" fmla="*/ 8178894 w 12191986"/>
              <a:gd name="connsiteY3558" fmla="*/ 3625014 h 6661143"/>
              <a:gd name="connsiteX3559" fmla="*/ 8162510 w 12191986"/>
              <a:gd name="connsiteY3559" fmla="*/ 3588519 h 6661143"/>
              <a:gd name="connsiteX3560" fmla="*/ 8145069 w 12191986"/>
              <a:gd name="connsiteY3560" fmla="*/ 3551495 h 6661143"/>
              <a:gd name="connsiteX3561" fmla="*/ 8127627 w 12191986"/>
              <a:gd name="connsiteY3561" fmla="*/ 3514999 h 6661143"/>
              <a:gd name="connsiteX3562" fmla="*/ 8126041 w 12191986"/>
              <a:gd name="connsiteY3562" fmla="*/ 3512355 h 6661143"/>
              <a:gd name="connsiteX3563" fmla="*/ 8124456 w 12191986"/>
              <a:gd name="connsiteY3563" fmla="*/ 3509181 h 6661143"/>
              <a:gd name="connsiteX3564" fmla="*/ 8114942 w 12191986"/>
              <a:gd name="connsiteY3564" fmla="*/ 3490669 h 6661143"/>
              <a:gd name="connsiteX3565" fmla="*/ 8105429 w 12191986"/>
              <a:gd name="connsiteY3565" fmla="*/ 3471628 h 6661143"/>
              <a:gd name="connsiteX3566" fmla="*/ 8095915 w 12191986"/>
              <a:gd name="connsiteY3566" fmla="*/ 3453645 h 6661143"/>
              <a:gd name="connsiteX3567" fmla="*/ 8084816 w 12191986"/>
              <a:gd name="connsiteY3567" fmla="*/ 3435133 h 6661143"/>
              <a:gd name="connsiteX3568" fmla="*/ 8075303 w 12191986"/>
              <a:gd name="connsiteY3568" fmla="*/ 3416621 h 6661143"/>
              <a:gd name="connsiteX3569" fmla="*/ 8064732 w 12191986"/>
              <a:gd name="connsiteY3569" fmla="*/ 3398637 h 6661143"/>
              <a:gd name="connsiteX3570" fmla="*/ 8054690 w 12191986"/>
              <a:gd name="connsiteY3570" fmla="*/ 3380125 h 6661143"/>
              <a:gd name="connsiteX3571" fmla="*/ 8044119 w 12191986"/>
              <a:gd name="connsiteY3571" fmla="*/ 3362142 h 6661143"/>
              <a:gd name="connsiteX3572" fmla="*/ 8039363 w 12191986"/>
              <a:gd name="connsiteY3572" fmla="*/ 3353679 h 6661143"/>
              <a:gd name="connsiteX3573" fmla="*/ 8034606 w 12191986"/>
              <a:gd name="connsiteY3573" fmla="*/ 3345746 h 6661143"/>
              <a:gd name="connsiteX3574" fmla="*/ 8024035 w 12191986"/>
              <a:gd name="connsiteY3574" fmla="*/ 3328291 h 6661143"/>
              <a:gd name="connsiteX3575" fmla="*/ 8013993 w 12191986"/>
              <a:gd name="connsiteY3575" fmla="*/ 3310308 h 6661143"/>
              <a:gd name="connsiteX3576" fmla="*/ 8003423 w 12191986"/>
              <a:gd name="connsiteY3576" fmla="*/ 3292854 h 6661143"/>
              <a:gd name="connsiteX3577" fmla="*/ 7992852 w 12191986"/>
              <a:gd name="connsiteY3577" fmla="*/ 3274342 h 6661143"/>
              <a:gd name="connsiteX3578" fmla="*/ 7992323 w 12191986"/>
              <a:gd name="connsiteY3578" fmla="*/ 3273813 h 6661143"/>
              <a:gd name="connsiteX3579" fmla="*/ 7991266 w 12191986"/>
              <a:gd name="connsiteY3579" fmla="*/ 3272226 h 6661143"/>
              <a:gd name="connsiteX3580" fmla="*/ 7982281 w 12191986"/>
              <a:gd name="connsiteY3580" fmla="*/ 3256887 h 6661143"/>
              <a:gd name="connsiteX3581" fmla="*/ 7973296 w 12191986"/>
              <a:gd name="connsiteY3581" fmla="*/ 3241549 h 6661143"/>
              <a:gd name="connsiteX3582" fmla="*/ 7963783 w 12191986"/>
              <a:gd name="connsiteY3582" fmla="*/ 3225681 h 6661143"/>
              <a:gd name="connsiteX3583" fmla="*/ 7954798 w 12191986"/>
              <a:gd name="connsiteY3583" fmla="*/ 3210342 h 6661143"/>
              <a:gd name="connsiteX3584" fmla="*/ 7945813 w 12191986"/>
              <a:gd name="connsiteY3584" fmla="*/ 3194475 h 6661143"/>
              <a:gd name="connsiteX3585" fmla="*/ 7936828 w 12191986"/>
              <a:gd name="connsiteY3585" fmla="*/ 3179137 h 6661143"/>
              <a:gd name="connsiteX3586" fmla="*/ 7927314 w 12191986"/>
              <a:gd name="connsiteY3586" fmla="*/ 3163269 h 6661143"/>
              <a:gd name="connsiteX3587" fmla="*/ 7918329 w 12191986"/>
              <a:gd name="connsiteY3587" fmla="*/ 3147930 h 6661143"/>
              <a:gd name="connsiteX3588" fmla="*/ 7917801 w 12191986"/>
              <a:gd name="connsiteY3588" fmla="*/ 3146344 h 6661143"/>
              <a:gd name="connsiteX3589" fmla="*/ 7916744 w 12191986"/>
              <a:gd name="connsiteY3589" fmla="*/ 3145814 h 6661143"/>
              <a:gd name="connsiteX3590" fmla="*/ 7905645 w 12191986"/>
              <a:gd name="connsiteY3590" fmla="*/ 3125716 h 6661143"/>
              <a:gd name="connsiteX3591" fmla="*/ 7894017 w 12191986"/>
              <a:gd name="connsiteY3591" fmla="*/ 3106674 h 6661143"/>
              <a:gd name="connsiteX3592" fmla="*/ 7883446 w 12191986"/>
              <a:gd name="connsiteY3592" fmla="*/ 3087104 h 6661143"/>
              <a:gd name="connsiteX3593" fmla="*/ 7871819 w 12191986"/>
              <a:gd name="connsiteY3593" fmla="*/ 3067006 h 6661143"/>
              <a:gd name="connsiteX3594" fmla="*/ 7861248 w 12191986"/>
              <a:gd name="connsiteY3594" fmla="*/ 3047436 h 6661143"/>
              <a:gd name="connsiteX3595" fmla="*/ 7850677 w 12191986"/>
              <a:gd name="connsiteY3595" fmla="*/ 3027337 h 6661143"/>
              <a:gd name="connsiteX3596" fmla="*/ 7840107 w 12191986"/>
              <a:gd name="connsiteY3596" fmla="*/ 3007767 h 6661143"/>
              <a:gd name="connsiteX3597" fmla="*/ 7829536 w 12191986"/>
              <a:gd name="connsiteY3597" fmla="*/ 2987668 h 6661143"/>
              <a:gd name="connsiteX3598" fmla="*/ 7840635 w 12191986"/>
              <a:gd name="connsiteY3598" fmla="*/ 3005122 h 6661143"/>
              <a:gd name="connsiteX3599" fmla="*/ 7851206 w 12191986"/>
              <a:gd name="connsiteY3599" fmla="*/ 3023106 h 6661143"/>
              <a:gd name="connsiteX3600" fmla="*/ 7862834 w 12191986"/>
              <a:gd name="connsiteY3600" fmla="*/ 3041089 h 6661143"/>
              <a:gd name="connsiteX3601" fmla="*/ 7874461 w 12191986"/>
              <a:gd name="connsiteY3601" fmla="*/ 3058014 h 6661143"/>
              <a:gd name="connsiteX3602" fmla="*/ 7886617 w 12191986"/>
              <a:gd name="connsiteY3602" fmla="*/ 3075468 h 6661143"/>
              <a:gd name="connsiteX3603" fmla="*/ 7897717 w 12191986"/>
              <a:gd name="connsiteY3603" fmla="*/ 3092923 h 6661143"/>
              <a:gd name="connsiteX3604" fmla="*/ 7909873 w 12191986"/>
              <a:gd name="connsiteY3604" fmla="*/ 3110377 h 6661143"/>
              <a:gd name="connsiteX3605" fmla="*/ 7921500 w 12191986"/>
              <a:gd name="connsiteY3605" fmla="*/ 3127831 h 6661143"/>
              <a:gd name="connsiteX3606" fmla="*/ 7927314 w 12191986"/>
              <a:gd name="connsiteY3606" fmla="*/ 3136294 h 6661143"/>
              <a:gd name="connsiteX3607" fmla="*/ 7933657 w 12191986"/>
              <a:gd name="connsiteY3607" fmla="*/ 3145814 h 6661143"/>
              <a:gd name="connsiteX3608" fmla="*/ 7942113 w 12191986"/>
              <a:gd name="connsiteY3608" fmla="*/ 3156922 h 6661143"/>
              <a:gd name="connsiteX3609" fmla="*/ 7950570 w 12191986"/>
              <a:gd name="connsiteY3609" fmla="*/ 3168558 h 6661143"/>
              <a:gd name="connsiteX3610" fmla="*/ 7958498 w 12191986"/>
              <a:gd name="connsiteY3610" fmla="*/ 3179665 h 6661143"/>
              <a:gd name="connsiteX3611" fmla="*/ 7966425 w 12191986"/>
              <a:gd name="connsiteY3611" fmla="*/ 3191831 h 6661143"/>
              <a:gd name="connsiteX3612" fmla="*/ 7968011 w 12191986"/>
              <a:gd name="connsiteY3612" fmla="*/ 3194475 h 6661143"/>
              <a:gd name="connsiteX3613" fmla="*/ 7969597 w 12191986"/>
              <a:gd name="connsiteY3613" fmla="*/ 3196062 h 6661143"/>
              <a:gd name="connsiteX3614" fmla="*/ 7975939 w 12191986"/>
              <a:gd name="connsiteY3614" fmla="*/ 3205053 h 6661143"/>
              <a:gd name="connsiteX3615" fmla="*/ 7982281 w 12191986"/>
              <a:gd name="connsiteY3615" fmla="*/ 3214045 h 6661143"/>
              <a:gd name="connsiteX3616" fmla="*/ 7985453 w 12191986"/>
              <a:gd name="connsiteY3616" fmla="*/ 3217747 h 6661143"/>
              <a:gd name="connsiteX3617" fmla="*/ 7988624 w 12191986"/>
              <a:gd name="connsiteY3617" fmla="*/ 3222508 h 6661143"/>
              <a:gd name="connsiteX3618" fmla="*/ 8027735 w 12191986"/>
              <a:gd name="connsiteY3618" fmla="*/ 3279102 h 6661143"/>
              <a:gd name="connsiteX3619" fmla="*/ 8067375 w 12191986"/>
              <a:gd name="connsiteY3619" fmla="*/ 3335167 h 6661143"/>
              <a:gd name="connsiteX3620" fmla="*/ 8107014 w 12191986"/>
              <a:gd name="connsiteY3620" fmla="*/ 3393348 h 6661143"/>
              <a:gd name="connsiteX3621" fmla="*/ 8145069 w 12191986"/>
              <a:gd name="connsiteY3621" fmla="*/ 3451000 h 6661143"/>
              <a:gd name="connsiteX3622" fmla="*/ 8163567 w 12191986"/>
              <a:gd name="connsiteY3622" fmla="*/ 3480620 h 6661143"/>
              <a:gd name="connsiteX3623" fmla="*/ 8181537 w 12191986"/>
              <a:gd name="connsiteY3623" fmla="*/ 3510768 h 6661143"/>
              <a:gd name="connsiteX3624" fmla="*/ 8198979 w 12191986"/>
              <a:gd name="connsiteY3624" fmla="*/ 3540916 h 6661143"/>
              <a:gd name="connsiteX3625" fmla="*/ 8215892 w 12191986"/>
              <a:gd name="connsiteY3625" fmla="*/ 3571594 h 6661143"/>
              <a:gd name="connsiteX3626" fmla="*/ 8232804 w 12191986"/>
              <a:gd name="connsiteY3626" fmla="*/ 3602800 h 6661143"/>
              <a:gd name="connsiteX3627" fmla="*/ 8248132 w 12191986"/>
              <a:gd name="connsiteY3627" fmla="*/ 3634006 h 6661143"/>
              <a:gd name="connsiteX3628" fmla="*/ 8262931 w 12191986"/>
              <a:gd name="connsiteY3628" fmla="*/ 3666270 h 6661143"/>
              <a:gd name="connsiteX3629" fmla="*/ 8277730 w 12191986"/>
              <a:gd name="connsiteY3629" fmla="*/ 3698534 h 6661143"/>
              <a:gd name="connsiteX3630" fmla="*/ 8285129 w 12191986"/>
              <a:gd name="connsiteY3630" fmla="*/ 3715459 h 6661143"/>
              <a:gd name="connsiteX3631" fmla="*/ 8292000 w 12191986"/>
              <a:gd name="connsiteY3631" fmla="*/ 3732914 h 6661143"/>
              <a:gd name="connsiteX3632" fmla="*/ 8298871 w 12191986"/>
              <a:gd name="connsiteY3632" fmla="*/ 3750368 h 6661143"/>
              <a:gd name="connsiteX3633" fmla="*/ 8305742 w 12191986"/>
              <a:gd name="connsiteY3633" fmla="*/ 3768351 h 6661143"/>
              <a:gd name="connsiteX3634" fmla="*/ 8314198 w 12191986"/>
              <a:gd name="connsiteY3634" fmla="*/ 3760417 h 6661143"/>
              <a:gd name="connsiteX3635" fmla="*/ 8323183 w 12191986"/>
              <a:gd name="connsiteY3635" fmla="*/ 3753013 h 6661143"/>
              <a:gd name="connsiteX3636" fmla="*/ 8332168 w 12191986"/>
              <a:gd name="connsiteY3636" fmla="*/ 3745079 h 6661143"/>
              <a:gd name="connsiteX3637" fmla="*/ 8341682 w 12191986"/>
              <a:gd name="connsiteY3637" fmla="*/ 3738203 h 6661143"/>
              <a:gd name="connsiteX3638" fmla="*/ 8362294 w 12191986"/>
              <a:gd name="connsiteY3638" fmla="*/ 3720749 h 6661143"/>
              <a:gd name="connsiteX3639" fmla="*/ 8382378 w 12191986"/>
              <a:gd name="connsiteY3639" fmla="*/ 3704352 h 6661143"/>
              <a:gd name="connsiteX3640" fmla="*/ 8402991 w 12191986"/>
              <a:gd name="connsiteY3640" fmla="*/ 3686369 h 6661143"/>
              <a:gd name="connsiteX3641" fmla="*/ 8423604 w 12191986"/>
              <a:gd name="connsiteY3641" fmla="*/ 3668915 h 6661143"/>
              <a:gd name="connsiteX3642" fmla="*/ 8444216 w 12191986"/>
              <a:gd name="connsiteY3642" fmla="*/ 3651460 h 6661143"/>
              <a:gd name="connsiteX3643" fmla="*/ 8464300 w 12191986"/>
              <a:gd name="connsiteY3643" fmla="*/ 3633477 h 6661143"/>
              <a:gd name="connsiteX3644" fmla="*/ 8483856 w 12191986"/>
              <a:gd name="connsiteY3644" fmla="*/ 3614965 h 6661143"/>
              <a:gd name="connsiteX3645" fmla="*/ 8503412 w 12191986"/>
              <a:gd name="connsiteY3645" fmla="*/ 3596453 h 6661143"/>
              <a:gd name="connsiteX3646" fmla="*/ 8504997 w 12191986"/>
              <a:gd name="connsiteY3646" fmla="*/ 3595395 h 6661143"/>
              <a:gd name="connsiteX3647" fmla="*/ 8506583 w 12191986"/>
              <a:gd name="connsiteY3647" fmla="*/ 3593808 h 6661143"/>
              <a:gd name="connsiteX3648" fmla="*/ 8533538 w 12191986"/>
              <a:gd name="connsiteY3648" fmla="*/ 3566833 h 6661143"/>
              <a:gd name="connsiteX3649" fmla="*/ 8559436 w 12191986"/>
              <a:gd name="connsiteY3649" fmla="*/ 3538801 h 6661143"/>
              <a:gd name="connsiteX3650" fmla="*/ 8571592 w 12191986"/>
              <a:gd name="connsiteY3650" fmla="*/ 3525049 h 6661143"/>
              <a:gd name="connsiteX3651" fmla="*/ 8583748 w 12191986"/>
              <a:gd name="connsiteY3651" fmla="*/ 3510768 h 6661143"/>
              <a:gd name="connsiteX3652" fmla="*/ 8594847 w 12191986"/>
              <a:gd name="connsiteY3652" fmla="*/ 3495958 h 6661143"/>
              <a:gd name="connsiteX3653" fmla="*/ 8606475 w 12191986"/>
              <a:gd name="connsiteY3653" fmla="*/ 3481677 h 6661143"/>
              <a:gd name="connsiteX3654" fmla="*/ 8617045 w 12191986"/>
              <a:gd name="connsiteY3654" fmla="*/ 3466339 h 6661143"/>
              <a:gd name="connsiteX3655" fmla="*/ 8627088 w 12191986"/>
              <a:gd name="connsiteY3655" fmla="*/ 3451000 h 6661143"/>
              <a:gd name="connsiteX3656" fmla="*/ 8636601 w 12191986"/>
              <a:gd name="connsiteY3656" fmla="*/ 3435133 h 6661143"/>
              <a:gd name="connsiteX3657" fmla="*/ 8646643 w 12191986"/>
              <a:gd name="connsiteY3657" fmla="*/ 3419265 h 6661143"/>
              <a:gd name="connsiteX3658" fmla="*/ 8655100 w 12191986"/>
              <a:gd name="connsiteY3658" fmla="*/ 3402869 h 6661143"/>
              <a:gd name="connsiteX3659" fmla="*/ 8663556 w 12191986"/>
              <a:gd name="connsiteY3659" fmla="*/ 3387001 h 6661143"/>
              <a:gd name="connsiteX3660" fmla="*/ 8670955 w 12191986"/>
              <a:gd name="connsiteY3660" fmla="*/ 3370605 h 6661143"/>
              <a:gd name="connsiteX3661" fmla="*/ 8678883 w 12191986"/>
              <a:gd name="connsiteY3661" fmla="*/ 3352621 h 6661143"/>
              <a:gd name="connsiteX3662" fmla="*/ 8682583 w 12191986"/>
              <a:gd name="connsiteY3662" fmla="*/ 3343630 h 6661143"/>
              <a:gd name="connsiteX3663" fmla="*/ 8685754 w 12191986"/>
              <a:gd name="connsiteY3663" fmla="*/ 3334638 h 6661143"/>
              <a:gd name="connsiteX3664" fmla="*/ 8692625 w 12191986"/>
              <a:gd name="connsiteY3664" fmla="*/ 3314011 h 6661143"/>
              <a:gd name="connsiteX3665" fmla="*/ 8698439 w 12191986"/>
              <a:gd name="connsiteY3665" fmla="*/ 3292854 h 6661143"/>
              <a:gd name="connsiteX3666" fmla="*/ 8703724 w 12191986"/>
              <a:gd name="connsiteY3666" fmla="*/ 3270639 h 6661143"/>
              <a:gd name="connsiteX3667" fmla="*/ 8707424 w 12191986"/>
              <a:gd name="connsiteY3667" fmla="*/ 3247896 h 6661143"/>
              <a:gd name="connsiteX3668" fmla="*/ 8706896 w 12191986"/>
              <a:gd name="connsiteY3668" fmla="*/ 3262176 h 6661143"/>
              <a:gd name="connsiteX3669" fmla="*/ 8705310 w 12191986"/>
              <a:gd name="connsiteY3669" fmla="*/ 3275928 h 6661143"/>
              <a:gd name="connsiteX3670" fmla="*/ 8703724 w 12191986"/>
              <a:gd name="connsiteY3670" fmla="*/ 3289680 h 6661143"/>
              <a:gd name="connsiteX3671" fmla="*/ 8701610 w 12191986"/>
              <a:gd name="connsiteY3671" fmla="*/ 3303432 h 6661143"/>
              <a:gd name="connsiteX3672" fmla="*/ 8700553 w 12191986"/>
              <a:gd name="connsiteY3672" fmla="*/ 3305548 h 6661143"/>
              <a:gd name="connsiteX3673" fmla="*/ 8700553 w 12191986"/>
              <a:gd name="connsiteY3673" fmla="*/ 3307664 h 6661143"/>
              <a:gd name="connsiteX3674" fmla="*/ 8698968 w 12191986"/>
              <a:gd name="connsiteY3674" fmla="*/ 3314539 h 6661143"/>
              <a:gd name="connsiteX3675" fmla="*/ 8698439 w 12191986"/>
              <a:gd name="connsiteY3675" fmla="*/ 3320886 h 6661143"/>
              <a:gd name="connsiteX3676" fmla="*/ 8696853 w 12191986"/>
              <a:gd name="connsiteY3676" fmla="*/ 3326705 h 6661143"/>
              <a:gd name="connsiteX3677" fmla="*/ 8695268 w 12191986"/>
              <a:gd name="connsiteY3677" fmla="*/ 3333051 h 6661143"/>
              <a:gd name="connsiteX3678" fmla="*/ 8693682 w 12191986"/>
              <a:gd name="connsiteY3678" fmla="*/ 3338870 h 6661143"/>
              <a:gd name="connsiteX3679" fmla="*/ 8692625 w 12191986"/>
              <a:gd name="connsiteY3679" fmla="*/ 3345217 h 6661143"/>
              <a:gd name="connsiteX3680" fmla="*/ 8691568 w 12191986"/>
              <a:gd name="connsiteY3680" fmla="*/ 3348919 h 6661143"/>
              <a:gd name="connsiteX3681" fmla="*/ 8691040 w 12191986"/>
              <a:gd name="connsiteY3681" fmla="*/ 3352621 h 6661143"/>
              <a:gd name="connsiteX3682" fmla="*/ 8689982 w 12191986"/>
              <a:gd name="connsiteY3682" fmla="*/ 3354208 h 6661143"/>
              <a:gd name="connsiteX3683" fmla="*/ 8689982 w 12191986"/>
              <a:gd name="connsiteY3683" fmla="*/ 3355795 h 6661143"/>
              <a:gd name="connsiteX3684" fmla="*/ 8689454 w 12191986"/>
              <a:gd name="connsiteY3684" fmla="*/ 3355795 h 6661143"/>
              <a:gd name="connsiteX3685" fmla="*/ 8686811 w 12191986"/>
              <a:gd name="connsiteY3685" fmla="*/ 3365844 h 6661143"/>
              <a:gd name="connsiteX3686" fmla="*/ 8684169 w 12191986"/>
              <a:gd name="connsiteY3686" fmla="*/ 3374836 h 6661143"/>
              <a:gd name="connsiteX3687" fmla="*/ 8680998 w 12191986"/>
              <a:gd name="connsiteY3687" fmla="*/ 3383828 h 6661143"/>
              <a:gd name="connsiteX3688" fmla="*/ 8677826 w 12191986"/>
              <a:gd name="connsiteY3688" fmla="*/ 3393877 h 6661143"/>
              <a:gd name="connsiteX3689" fmla="*/ 8677298 w 12191986"/>
              <a:gd name="connsiteY3689" fmla="*/ 3393877 h 6661143"/>
              <a:gd name="connsiteX3690" fmla="*/ 8674127 w 12191986"/>
              <a:gd name="connsiteY3690" fmla="*/ 3402869 h 6661143"/>
              <a:gd name="connsiteX3691" fmla="*/ 8670427 w 12191986"/>
              <a:gd name="connsiteY3691" fmla="*/ 3412389 h 6661143"/>
              <a:gd name="connsiteX3692" fmla="*/ 8668841 w 12191986"/>
              <a:gd name="connsiteY3692" fmla="*/ 3416092 h 6661143"/>
              <a:gd name="connsiteX3693" fmla="*/ 8667256 w 12191986"/>
              <a:gd name="connsiteY3693" fmla="*/ 3419265 h 6661143"/>
              <a:gd name="connsiteX3694" fmla="*/ 8667256 w 12191986"/>
              <a:gd name="connsiteY3694" fmla="*/ 3419794 h 6661143"/>
              <a:gd name="connsiteX3695" fmla="*/ 8666727 w 12191986"/>
              <a:gd name="connsiteY3695" fmla="*/ 3420852 h 6661143"/>
              <a:gd name="connsiteX3696" fmla="*/ 8667256 w 12191986"/>
              <a:gd name="connsiteY3696" fmla="*/ 3420852 h 6661143"/>
              <a:gd name="connsiteX3697" fmla="*/ 8665670 w 12191986"/>
              <a:gd name="connsiteY3697" fmla="*/ 3423496 h 6661143"/>
              <a:gd name="connsiteX3698" fmla="*/ 8664085 w 12191986"/>
              <a:gd name="connsiteY3698" fmla="*/ 3426670 h 6661143"/>
              <a:gd name="connsiteX3699" fmla="*/ 8663556 w 12191986"/>
              <a:gd name="connsiteY3699" fmla="*/ 3428257 h 6661143"/>
              <a:gd name="connsiteX3700" fmla="*/ 8663556 w 12191986"/>
              <a:gd name="connsiteY3700" fmla="*/ 3428786 h 6661143"/>
              <a:gd name="connsiteX3701" fmla="*/ 8663556 w 12191986"/>
              <a:gd name="connsiteY3701" fmla="*/ 3429844 h 6661143"/>
              <a:gd name="connsiteX3702" fmla="*/ 8662499 w 12191986"/>
              <a:gd name="connsiteY3702" fmla="*/ 3429844 h 6661143"/>
              <a:gd name="connsiteX3703" fmla="*/ 8662499 w 12191986"/>
              <a:gd name="connsiteY3703" fmla="*/ 3430372 h 6661143"/>
              <a:gd name="connsiteX3704" fmla="*/ 8661970 w 12191986"/>
              <a:gd name="connsiteY3704" fmla="*/ 3431430 h 6661143"/>
              <a:gd name="connsiteX3705" fmla="*/ 8649814 w 12191986"/>
              <a:gd name="connsiteY3705" fmla="*/ 3457876 h 6661143"/>
              <a:gd name="connsiteX3706" fmla="*/ 8635544 w 12191986"/>
              <a:gd name="connsiteY3706" fmla="*/ 3484851 h 6661143"/>
              <a:gd name="connsiteX3707" fmla="*/ 8620217 w 12191986"/>
              <a:gd name="connsiteY3707" fmla="*/ 3510768 h 6661143"/>
              <a:gd name="connsiteX3708" fmla="*/ 8603832 w 12191986"/>
              <a:gd name="connsiteY3708" fmla="*/ 3535627 h 6661143"/>
              <a:gd name="connsiteX3709" fmla="*/ 8586391 w 12191986"/>
              <a:gd name="connsiteY3709" fmla="*/ 3561015 h 6661143"/>
              <a:gd name="connsiteX3710" fmla="*/ 8568421 w 12191986"/>
              <a:gd name="connsiteY3710" fmla="*/ 3585345 h 6661143"/>
              <a:gd name="connsiteX3711" fmla="*/ 8549394 w 12191986"/>
              <a:gd name="connsiteY3711" fmla="*/ 3609676 h 6661143"/>
              <a:gd name="connsiteX3712" fmla="*/ 8530366 w 12191986"/>
              <a:gd name="connsiteY3712" fmla="*/ 3633477 h 6661143"/>
              <a:gd name="connsiteX3713" fmla="*/ 8529309 w 12191986"/>
              <a:gd name="connsiteY3713" fmla="*/ 3633477 h 6661143"/>
              <a:gd name="connsiteX3714" fmla="*/ 8517153 w 12191986"/>
              <a:gd name="connsiteY3714" fmla="*/ 3648287 h 6661143"/>
              <a:gd name="connsiteX3715" fmla="*/ 8503412 w 12191986"/>
              <a:gd name="connsiteY3715" fmla="*/ 3663096 h 6661143"/>
              <a:gd name="connsiteX3716" fmla="*/ 8490727 w 12191986"/>
              <a:gd name="connsiteY3716" fmla="*/ 3677377 h 6661143"/>
              <a:gd name="connsiteX3717" fmla="*/ 8477514 w 12191986"/>
              <a:gd name="connsiteY3717" fmla="*/ 3692187 h 6661143"/>
              <a:gd name="connsiteX3718" fmla="*/ 8476456 w 12191986"/>
              <a:gd name="connsiteY3718" fmla="*/ 3693245 h 6661143"/>
              <a:gd name="connsiteX3719" fmla="*/ 8475399 w 12191986"/>
              <a:gd name="connsiteY3719" fmla="*/ 3694303 h 6661143"/>
              <a:gd name="connsiteX3720" fmla="*/ 8473285 w 12191986"/>
              <a:gd name="connsiteY3720" fmla="*/ 3697476 h 6661143"/>
              <a:gd name="connsiteX3721" fmla="*/ 8470114 w 12191986"/>
              <a:gd name="connsiteY3721" fmla="*/ 3700121 h 6661143"/>
              <a:gd name="connsiteX3722" fmla="*/ 8469586 w 12191986"/>
              <a:gd name="connsiteY3722" fmla="*/ 3701179 h 6661143"/>
              <a:gd name="connsiteX3723" fmla="*/ 8468000 w 12191986"/>
              <a:gd name="connsiteY3723" fmla="*/ 3702765 h 6661143"/>
              <a:gd name="connsiteX3724" fmla="*/ 8444216 w 12191986"/>
              <a:gd name="connsiteY3724" fmla="*/ 3727096 h 6661143"/>
              <a:gd name="connsiteX3725" fmla="*/ 8421489 w 12191986"/>
              <a:gd name="connsiteY3725" fmla="*/ 3751426 h 6661143"/>
              <a:gd name="connsiteX3726" fmla="*/ 8397706 w 12191986"/>
              <a:gd name="connsiteY3726" fmla="*/ 3775756 h 6661143"/>
              <a:gd name="connsiteX3727" fmla="*/ 8374450 w 12191986"/>
              <a:gd name="connsiteY3727" fmla="*/ 3799557 h 6661143"/>
              <a:gd name="connsiteX3728" fmla="*/ 8369694 w 12191986"/>
              <a:gd name="connsiteY3728" fmla="*/ 3803789 h 6661143"/>
              <a:gd name="connsiteX3729" fmla="*/ 8364937 w 12191986"/>
              <a:gd name="connsiteY3729" fmla="*/ 3808549 h 6661143"/>
              <a:gd name="connsiteX3730" fmla="*/ 8359652 w 12191986"/>
              <a:gd name="connsiteY3730" fmla="*/ 3814367 h 6661143"/>
              <a:gd name="connsiteX3731" fmla="*/ 8353838 w 12191986"/>
              <a:gd name="connsiteY3731" fmla="*/ 3820714 h 6661143"/>
              <a:gd name="connsiteX3732" fmla="*/ 8347495 w 12191986"/>
              <a:gd name="connsiteY3732" fmla="*/ 3827061 h 6661143"/>
              <a:gd name="connsiteX3733" fmla="*/ 8342210 w 12191986"/>
              <a:gd name="connsiteY3733" fmla="*/ 3832879 h 6661143"/>
              <a:gd name="connsiteX3734" fmla="*/ 8340096 w 12191986"/>
              <a:gd name="connsiteY3734" fmla="*/ 3834995 h 6661143"/>
              <a:gd name="connsiteX3735" fmla="*/ 8337453 w 12191986"/>
              <a:gd name="connsiteY3735" fmla="*/ 3837639 h 6661143"/>
              <a:gd name="connsiteX3736" fmla="*/ 8333754 w 12191986"/>
              <a:gd name="connsiteY3736" fmla="*/ 3841342 h 6661143"/>
              <a:gd name="connsiteX3737" fmla="*/ 8330054 w 12191986"/>
              <a:gd name="connsiteY3737" fmla="*/ 3845044 h 6661143"/>
              <a:gd name="connsiteX3738" fmla="*/ 8331111 w 12191986"/>
              <a:gd name="connsiteY3738" fmla="*/ 3849805 h 6661143"/>
              <a:gd name="connsiteX3739" fmla="*/ 8331640 w 12191986"/>
              <a:gd name="connsiteY3739" fmla="*/ 3854036 h 6661143"/>
              <a:gd name="connsiteX3740" fmla="*/ 8334811 w 12191986"/>
              <a:gd name="connsiteY3740" fmla="*/ 3867259 h 6661143"/>
              <a:gd name="connsiteX3741" fmla="*/ 8337453 w 12191986"/>
              <a:gd name="connsiteY3741" fmla="*/ 3879953 h 6661143"/>
              <a:gd name="connsiteX3742" fmla="*/ 8340096 w 12191986"/>
              <a:gd name="connsiteY3742" fmla="*/ 3893176 h 6661143"/>
              <a:gd name="connsiteX3743" fmla="*/ 8342210 w 12191986"/>
              <a:gd name="connsiteY3743" fmla="*/ 3905870 h 6661143"/>
              <a:gd name="connsiteX3744" fmla="*/ 8345381 w 12191986"/>
              <a:gd name="connsiteY3744" fmla="*/ 3924382 h 6661143"/>
              <a:gd name="connsiteX3745" fmla="*/ 8347495 w 12191986"/>
              <a:gd name="connsiteY3745" fmla="*/ 3941836 h 6661143"/>
              <a:gd name="connsiteX3746" fmla="*/ 8350138 w 12191986"/>
              <a:gd name="connsiteY3746" fmla="*/ 3960348 h 6661143"/>
              <a:gd name="connsiteX3747" fmla="*/ 8351195 w 12191986"/>
              <a:gd name="connsiteY3747" fmla="*/ 3978332 h 6661143"/>
              <a:gd name="connsiteX3748" fmla="*/ 8351890 w 12191986"/>
              <a:gd name="connsiteY3748" fmla="*/ 3986449 h 6661143"/>
              <a:gd name="connsiteX3749" fmla="*/ 8353941 w 12191986"/>
              <a:gd name="connsiteY3749" fmla="*/ 3987270 h 6661143"/>
              <a:gd name="connsiteX3750" fmla="*/ 8364524 w 12191986"/>
              <a:gd name="connsiteY3750" fmla="*/ 3992566 h 6661143"/>
              <a:gd name="connsiteX3751" fmla="*/ 8374578 w 12191986"/>
              <a:gd name="connsiteY3751" fmla="*/ 3998923 h 6661143"/>
              <a:gd name="connsiteX3752" fmla="*/ 8384103 w 12191986"/>
              <a:gd name="connsiteY3752" fmla="*/ 4006338 h 6661143"/>
              <a:gd name="connsiteX3753" fmla="*/ 8394157 w 12191986"/>
              <a:gd name="connsiteY3753" fmla="*/ 4014283 h 6661143"/>
              <a:gd name="connsiteX3754" fmla="*/ 8412678 w 12191986"/>
              <a:gd name="connsiteY3754" fmla="*/ 4031763 h 6661143"/>
              <a:gd name="connsiteX3755" fmla="*/ 8431728 w 12191986"/>
              <a:gd name="connsiteY3755" fmla="*/ 4049772 h 6661143"/>
              <a:gd name="connsiteX3756" fmla="*/ 8440724 w 12191986"/>
              <a:gd name="connsiteY3756" fmla="*/ 4059306 h 6661143"/>
              <a:gd name="connsiteX3757" fmla="*/ 8450778 w 12191986"/>
              <a:gd name="connsiteY3757" fmla="*/ 4067251 h 6661143"/>
              <a:gd name="connsiteX3758" fmla="*/ 8460303 w 12191986"/>
              <a:gd name="connsiteY3758" fmla="*/ 4075196 h 6661143"/>
              <a:gd name="connsiteX3759" fmla="*/ 8470357 w 12191986"/>
              <a:gd name="connsiteY3759" fmla="*/ 4082082 h 6661143"/>
              <a:gd name="connsiteX3760" fmla="*/ 8480940 w 12191986"/>
              <a:gd name="connsiteY3760" fmla="*/ 4087908 h 6661143"/>
              <a:gd name="connsiteX3761" fmla="*/ 8491524 w 12191986"/>
              <a:gd name="connsiteY3761" fmla="*/ 4093205 h 6661143"/>
              <a:gd name="connsiteX3762" fmla="*/ 8497874 w 12191986"/>
              <a:gd name="connsiteY3762" fmla="*/ 4094794 h 6661143"/>
              <a:gd name="connsiteX3763" fmla="*/ 8503166 w 12191986"/>
              <a:gd name="connsiteY3763" fmla="*/ 4097442 h 6661143"/>
              <a:gd name="connsiteX3764" fmla="*/ 8508986 w 12191986"/>
              <a:gd name="connsiteY3764" fmla="*/ 4097972 h 6661143"/>
              <a:gd name="connsiteX3765" fmla="*/ 8515336 w 12191986"/>
              <a:gd name="connsiteY3765" fmla="*/ 4098502 h 6661143"/>
              <a:gd name="connsiteX3766" fmla="*/ 8526978 w 12191986"/>
              <a:gd name="connsiteY3766" fmla="*/ 4100091 h 6661143"/>
              <a:gd name="connsiteX3767" fmla="*/ 8539149 w 12191986"/>
              <a:gd name="connsiteY3767" fmla="*/ 4102739 h 6661143"/>
              <a:gd name="connsiteX3768" fmla="*/ 8549732 w 12191986"/>
              <a:gd name="connsiteY3768" fmla="*/ 4106447 h 6661143"/>
              <a:gd name="connsiteX3769" fmla="*/ 8560316 w 12191986"/>
              <a:gd name="connsiteY3769" fmla="*/ 4110155 h 6661143"/>
              <a:gd name="connsiteX3770" fmla="*/ 8570899 w 12191986"/>
              <a:gd name="connsiteY3770" fmla="*/ 4114922 h 6661143"/>
              <a:gd name="connsiteX3771" fmla="*/ 8580953 w 12191986"/>
              <a:gd name="connsiteY3771" fmla="*/ 4119159 h 6661143"/>
              <a:gd name="connsiteX3772" fmla="*/ 8589949 w 12191986"/>
              <a:gd name="connsiteY3772" fmla="*/ 4125515 h 6661143"/>
              <a:gd name="connsiteX3773" fmla="*/ 8598945 w 12191986"/>
              <a:gd name="connsiteY3773" fmla="*/ 4131342 h 6661143"/>
              <a:gd name="connsiteX3774" fmla="*/ 8608470 w 12191986"/>
              <a:gd name="connsiteY3774" fmla="*/ 4138228 h 6661143"/>
              <a:gd name="connsiteX3775" fmla="*/ 8615878 w 12191986"/>
              <a:gd name="connsiteY3775" fmla="*/ 4145113 h 6661143"/>
              <a:gd name="connsiteX3776" fmla="*/ 8624345 w 12191986"/>
              <a:gd name="connsiteY3776" fmla="*/ 4153059 h 6661143"/>
              <a:gd name="connsiteX3777" fmla="*/ 8631753 w 12191986"/>
              <a:gd name="connsiteY3777" fmla="*/ 4160474 h 6661143"/>
              <a:gd name="connsiteX3778" fmla="*/ 8638632 w 12191986"/>
              <a:gd name="connsiteY3778" fmla="*/ 4168419 h 6661143"/>
              <a:gd name="connsiteX3779" fmla="*/ 8645511 w 12191986"/>
              <a:gd name="connsiteY3779" fmla="*/ 4176364 h 6661143"/>
              <a:gd name="connsiteX3780" fmla="*/ 8651861 w 12191986"/>
              <a:gd name="connsiteY3780" fmla="*/ 4184839 h 6661143"/>
              <a:gd name="connsiteX3781" fmla="*/ 8657153 w 12191986"/>
              <a:gd name="connsiteY3781" fmla="*/ 4193314 h 6661143"/>
              <a:gd name="connsiteX3782" fmla="*/ 8664032 w 12191986"/>
              <a:gd name="connsiteY3782" fmla="*/ 4202319 h 6661143"/>
              <a:gd name="connsiteX3783" fmla="*/ 8673028 w 12191986"/>
              <a:gd name="connsiteY3783" fmla="*/ 4213442 h 6661143"/>
              <a:gd name="connsiteX3784" fmla="*/ 8683611 w 12191986"/>
              <a:gd name="connsiteY3784" fmla="*/ 4224565 h 6661143"/>
              <a:gd name="connsiteX3785" fmla="*/ 8695782 w 12191986"/>
              <a:gd name="connsiteY3785" fmla="*/ 4237807 h 6661143"/>
              <a:gd name="connsiteX3786" fmla="*/ 8709011 w 12191986"/>
              <a:gd name="connsiteY3786" fmla="*/ 4251578 h 6661143"/>
              <a:gd name="connsiteX3787" fmla="*/ 8721712 w 12191986"/>
              <a:gd name="connsiteY3787" fmla="*/ 4266409 h 6661143"/>
              <a:gd name="connsiteX3788" fmla="*/ 8734941 w 12191986"/>
              <a:gd name="connsiteY3788" fmla="*/ 4281770 h 6661143"/>
              <a:gd name="connsiteX3789" fmla="*/ 8747112 w 12191986"/>
              <a:gd name="connsiteY3789" fmla="*/ 4297660 h 6661143"/>
              <a:gd name="connsiteX3790" fmla="*/ 8758224 w 12191986"/>
              <a:gd name="connsiteY3790" fmla="*/ 4314610 h 6661143"/>
              <a:gd name="connsiteX3791" fmla="*/ 8768278 w 12191986"/>
              <a:gd name="connsiteY3791" fmla="*/ 4330500 h 6661143"/>
              <a:gd name="connsiteX3792" fmla="*/ 8771982 w 12191986"/>
              <a:gd name="connsiteY3792" fmla="*/ 4338975 h 6661143"/>
              <a:gd name="connsiteX3793" fmla="*/ 8775686 w 12191986"/>
              <a:gd name="connsiteY3793" fmla="*/ 4347450 h 6661143"/>
              <a:gd name="connsiteX3794" fmla="*/ 8778862 w 12191986"/>
              <a:gd name="connsiteY3794" fmla="*/ 4355925 h 6661143"/>
              <a:gd name="connsiteX3795" fmla="*/ 8781507 w 12191986"/>
              <a:gd name="connsiteY3795" fmla="*/ 4364400 h 6661143"/>
              <a:gd name="connsiteX3796" fmla="*/ 8782453 w 12191986"/>
              <a:gd name="connsiteY3796" fmla="*/ 4371968 h 6661143"/>
              <a:gd name="connsiteX3797" fmla="*/ 10021644 w 12191986"/>
              <a:gd name="connsiteY3797" fmla="*/ 4371968 h 6661143"/>
              <a:gd name="connsiteX3798" fmla="*/ 10023990 w 12191986"/>
              <a:gd name="connsiteY3798" fmla="*/ 4364400 h 6661143"/>
              <a:gd name="connsiteX3799" fmla="*/ 10029282 w 12191986"/>
              <a:gd name="connsiteY3799" fmla="*/ 4349039 h 6661143"/>
              <a:gd name="connsiteX3800" fmla="*/ 10035103 w 12191986"/>
              <a:gd name="connsiteY3800" fmla="*/ 4333678 h 6661143"/>
              <a:gd name="connsiteX3801" fmla="*/ 10041453 w 12191986"/>
              <a:gd name="connsiteY3801" fmla="*/ 4318318 h 6661143"/>
              <a:gd name="connsiteX3802" fmla="*/ 10048861 w 12191986"/>
              <a:gd name="connsiteY3802" fmla="*/ 4304016 h 6661143"/>
              <a:gd name="connsiteX3803" fmla="*/ 10056799 w 12191986"/>
              <a:gd name="connsiteY3803" fmla="*/ 4288656 h 6661143"/>
              <a:gd name="connsiteX3804" fmla="*/ 10065265 w 12191986"/>
              <a:gd name="connsiteY3804" fmla="*/ 4274355 h 6661143"/>
              <a:gd name="connsiteX3805" fmla="*/ 10074261 w 12191986"/>
              <a:gd name="connsiteY3805" fmla="*/ 4260583 h 6661143"/>
              <a:gd name="connsiteX3806" fmla="*/ 10083257 w 12191986"/>
              <a:gd name="connsiteY3806" fmla="*/ 4246811 h 6661143"/>
              <a:gd name="connsiteX3807" fmla="*/ 10093840 w 12191986"/>
              <a:gd name="connsiteY3807" fmla="*/ 4233569 h 6661143"/>
              <a:gd name="connsiteX3808" fmla="*/ 10105482 w 12191986"/>
              <a:gd name="connsiteY3808" fmla="*/ 4221387 h 6661143"/>
              <a:gd name="connsiteX3809" fmla="*/ 10117653 w 12191986"/>
              <a:gd name="connsiteY3809" fmla="*/ 4210264 h 6661143"/>
              <a:gd name="connsiteX3810" fmla="*/ 10130353 w 12191986"/>
              <a:gd name="connsiteY3810" fmla="*/ 4199670 h 6661143"/>
              <a:gd name="connsiteX3811" fmla="*/ 10144111 w 12191986"/>
              <a:gd name="connsiteY3811" fmla="*/ 4190136 h 6661143"/>
              <a:gd name="connsiteX3812" fmla="*/ 10158928 w 12191986"/>
              <a:gd name="connsiteY3812" fmla="*/ 4181131 h 6661143"/>
              <a:gd name="connsiteX3813" fmla="*/ 10174803 w 12191986"/>
              <a:gd name="connsiteY3813" fmla="*/ 4174246 h 6661143"/>
              <a:gd name="connsiteX3814" fmla="*/ 10206024 w 12191986"/>
              <a:gd name="connsiteY3814" fmla="*/ 4160474 h 6661143"/>
              <a:gd name="connsiteX3815" fmla="*/ 10235128 w 12191986"/>
              <a:gd name="connsiteY3815" fmla="*/ 4146702 h 6661143"/>
              <a:gd name="connsiteX3816" fmla="*/ 10262115 w 12191986"/>
              <a:gd name="connsiteY3816" fmla="*/ 4132931 h 6661143"/>
              <a:gd name="connsiteX3817" fmla="*/ 10288044 w 12191986"/>
              <a:gd name="connsiteY3817" fmla="*/ 4120219 h 6661143"/>
              <a:gd name="connsiteX3818" fmla="*/ 10312915 w 12191986"/>
              <a:gd name="connsiteY3818" fmla="*/ 4106977 h 6661143"/>
              <a:gd name="connsiteX3819" fmla="*/ 10334611 w 12191986"/>
              <a:gd name="connsiteY3819" fmla="*/ 4094794 h 6661143"/>
              <a:gd name="connsiteX3820" fmla="*/ 10354720 w 12191986"/>
              <a:gd name="connsiteY3820" fmla="*/ 4082612 h 6661143"/>
              <a:gd name="connsiteX3821" fmla="*/ 10372711 w 12191986"/>
              <a:gd name="connsiteY3821" fmla="*/ 4072018 h 6661143"/>
              <a:gd name="connsiteX3822" fmla="*/ 10402345 w 12191986"/>
              <a:gd name="connsiteY3822" fmla="*/ 4052420 h 6661143"/>
              <a:gd name="connsiteX3823" fmla="*/ 10424570 w 12191986"/>
              <a:gd name="connsiteY3823" fmla="*/ 4037059 h 6661143"/>
              <a:gd name="connsiteX3824" fmla="*/ 10438328 w 12191986"/>
              <a:gd name="connsiteY3824" fmla="*/ 4026995 h 6661143"/>
              <a:gd name="connsiteX3825" fmla="*/ 10442032 w 12191986"/>
              <a:gd name="connsiteY3825" fmla="*/ 4023817 h 6661143"/>
              <a:gd name="connsiteX3826" fmla="*/ 10444065 w 12191986"/>
              <a:gd name="connsiteY3826" fmla="*/ 4022800 h 6661143"/>
              <a:gd name="connsiteX3827" fmla="*/ 10474060 w 12191986"/>
              <a:gd name="connsiteY3827" fmla="*/ 2547939 h 6661143"/>
              <a:gd name="connsiteX3828" fmla="*/ 10441258 w 12191986"/>
              <a:gd name="connsiteY3828" fmla="*/ 2513543 h 6661143"/>
              <a:gd name="connsiteX3829" fmla="*/ 10408457 w 12191986"/>
              <a:gd name="connsiteY3829" fmla="*/ 2479146 h 6661143"/>
              <a:gd name="connsiteX3830" fmla="*/ 10375127 w 12191986"/>
              <a:gd name="connsiteY3830" fmla="*/ 2446337 h 6661143"/>
              <a:gd name="connsiteX3831" fmla="*/ 10340739 w 12191986"/>
              <a:gd name="connsiteY3831" fmla="*/ 2413528 h 6661143"/>
              <a:gd name="connsiteX3832" fmla="*/ 10306351 w 12191986"/>
              <a:gd name="connsiteY3832" fmla="*/ 2382307 h 6661143"/>
              <a:gd name="connsiteX3833" fmla="*/ 10272492 w 12191986"/>
              <a:gd name="connsiteY3833" fmla="*/ 2352673 h 6661143"/>
              <a:gd name="connsiteX3834" fmla="*/ 10238103 w 12191986"/>
              <a:gd name="connsiteY3834" fmla="*/ 2323039 h 6661143"/>
              <a:gd name="connsiteX3835" fmla="*/ 10203715 w 12191986"/>
              <a:gd name="connsiteY3835" fmla="*/ 2294466 h 6661143"/>
              <a:gd name="connsiteX3836" fmla="*/ 10169327 w 12191986"/>
              <a:gd name="connsiteY3836" fmla="*/ 2266947 h 6661143"/>
              <a:gd name="connsiteX3837" fmla="*/ 10134939 w 12191986"/>
              <a:gd name="connsiteY3837" fmla="*/ 2240489 h 6661143"/>
              <a:gd name="connsiteX3838" fmla="*/ 10101609 w 12191986"/>
              <a:gd name="connsiteY3838" fmla="*/ 2215093 h 6661143"/>
              <a:gd name="connsiteX3839" fmla="*/ 10068278 w 12191986"/>
              <a:gd name="connsiteY3839" fmla="*/ 2190748 h 6661143"/>
              <a:gd name="connsiteX3840" fmla="*/ 10035477 w 12191986"/>
              <a:gd name="connsiteY3840" fmla="*/ 2167464 h 6661143"/>
              <a:gd name="connsiteX3841" fmla="*/ 10003205 w 12191986"/>
              <a:gd name="connsiteY3841" fmla="*/ 2145240 h 6661143"/>
              <a:gd name="connsiteX3842" fmla="*/ 9971992 w 12191986"/>
              <a:gd name="connsiteY3842" fmla="*/ 2123541 h 6661143"/>
              <a:gd name="connsiteX3843" fmla="*/ 9942365 w 12191986"/>
              <a:gd name="connsiteY3843" fmla="*/ 2103963 h 6661143"/>
              <a:gd name="connsiteX3844" fmla="*/ 9884698 w 12191986"/>
              <a:gd name="connsiteY3844" fmla="*/ 2066393 h 6661143"/>
              <a:gd name="connsiteX3845" fmla="*/ 9831793 w 12191986"/>
              <a:gd name="connsiteY3845" fmla="*/ 2034647 h 6661143"/>
              <a:gd name="connsiteX3846" fmla="*/ 9785237 w 12191986"/>
              <a:gd name="connsiteY3846" fmla="*/ 2006604 h 6661143"/>
              <a:gd name="connsiteX3847" fmla="*/ 9745029 w 12191986"/>
              <a:gd name="connsiteY3847" fmla="*/ 1983319 h 6661143"/>
              <a:gd name="connsiteX3848" fmla="*/ 9712228 w 12191986"/>
              <a:gd name="connsiteY3848" fmla="*/ 1965326 h 6661143"/>
              <a:gd name="connsiteX3849" fmla="*/ 9687892 w 12191986"/>
              <a:gd name="connsiteY3849" fmla="*/ 1952099 h 6661143"/>
              <a:gd name="connsiteX3850" fmla="*/ 9672549 w 12191986"/>
              <a:gd name="connsiteY3850" fmla="*/ 1944686 h 6661143"/>
              <a:gd name="connsiteX3851" fmla="*/ 9667259 w 12191986"/>
              <a:gd name="connsiteY3851" fmla="*/ 1941514 h 6661143"/>
              <a:gd name="connsiteX3852" fmla="*/ 9490534 w 12191986"/>
              <a:gd name="connsiteY3852" fmla="*/ 1922788 h 6661143"/>
              <a:gd name="connsiteX3853" fmla="*/ 9476303 w 12191986"/>
              <a:gd name="connsiteY3853" fmla="*/ 1933575 h 6661143"/>
              <a:gd name="connsiteX3854" fmla="*/ 9442436 w 12191986"/>
              <a:gd name="connsiteY3854" fmla="*/ 1958974 h 6661143"/>
              <a:gd name="connsiteX3855" fmla="*/ 9424974 w 12191986"/>
              <a:gd name="connsiteY3855" fmla="*/ 1971674 h 6661143"/>
              <a:gd name="connsiteX3856" fmla="*/ 9407511 w 12191986"/>
              <a:gd name="connsiteY3856" fmla="*/ 1983319 h 6661143"/>
              <a:gd name="connsiteX3857" fmla="*/ 9390048 w 12191986"/>
              <a:gd name="connsiteY3857" fmla="*/ 1994429 h 6661143"/>
              <a:gd name="connsiteX3858" fmla="*/ 9372586 w 12191986"/>
              <a:gd name="connsiteY3858" fmla="*/ 2005546 h 6661143"/>
              <a:gd name="connsiteX3859" fmla="*/ 9354065 w 12191986"/>
              <a:gd name="connsiteY3859" fmla="*/ 2015069 h 6661143"/>
              <a:gd name="connsiteX3860" fmla="*/ 9336074 w 12191986"/>
              <a:gd name="connsiteY3860" fmla="*/ 2024593 h 6661143"/>
              <a:gd name="connsiteX3861" fmla="*/ 9317024 w 12191986"/>
              <a:gd name="connsiteY3861" fmla="*/ 2031471 h 6661143"/>
              <a:gd name="connsiteX3862" fmla="*/ 9298503 w 12191986"/>
              <a:gd name="connsiteY3862" fmla="*/ 2037292 h 6661143"/>
              <a:gd name="connsiteX3863" fmla="*/ 9288978 w 12191986"/>
              <a:gd name="connsiteY3863" fmla="*/ 2040465 h 6661143"/>
              <a:gd name="connsiteX3864" fmla="*/ 9278924 w 12191986"/>
              <a:gd name="connsiteY3864" fmla="*/ 2042055 h 6661143"/>
              <a:gd name="connsiteX3865" fmla="*/ 9268869 w 12191986"/>
              <a:gd name="connsiteY3865" fmla="*/ 2044170 h 6661143"/>
              <a:gd name="connsiteX3866" fmla="*/ 9258815 w 12191986"/>
              <a:gd name="connsiteY3866" fmla="*/ 2045228 h 6661143"/>
              <a:gd name="connsiteX3867" fmla="*/ 9249290 w 12191986"/>
              <a:gd name="connsiteY3867" fmla="*/ 2045757 h 6661143"/>
              <a:gd name="connsiteX3868" fmla="*/ 9239236 w 12191986"/>
              <a:gd name="connsiteY3868" fmla="*/ 2046286 h 6661143"/>
              <a:gd name="connsiteX3869" fmla="*/ 9229182 w 12191986"/>
              <a:gd name="connsiteY3869" fmla="*/ 2045757 h 6661143"/>
              <a:gd name="connsiteX3870" fmla="*/ 9218598 w 12191986"/>
              <a:gd name="connsiteY3870" fmla="*/ 2045228 h 6661143"/>
              <a:gd name="connsiteX3871" fmla="*/ 9208544 w 12191986"/>
              <a:gd name="connsiteY3871" fmla="*/ 2044170 h 6661143"/>
              <a:gd name="connsiteX3872" fmla="*/ 9199019 w 12191986"/>
              <a:gd name="connsiteY3872" fmla="*/ 2042055 h 6661143"/>
              <a:gd name="connsiteX3873" fmla="*/ 9188965 w 12191986"/>
              <a:gd name="connsiteY3873" fmla="*/ 2039408 h 6661143"/>
              <a:gd name="connsiteX3874" fmla="*/ 9178911 w 12191986"/>
              <a:gd name="connsiteY3874" fmla="*/ 2037292 h 6661143"/>
              <a:gd name="connsiteX3875" fmla="*/ 9169915 w 12191986"/>
              <a:gd name="connsiteY3875" fmla="*/ 2034118 h 6661143"/>
              <a:gd name="connsiteX3876" fmla="*/ 9159861 w 12191986"/>
              <a:gd name="connsiteY3876" fmla="*/ 2030413 h 6661143"/>
              <a:gd name="connsiteX3877" fmla="*/ 9150865 w 12191986"/>
              <a:gd name="connsiteY3877" fmla="*/ 2026711 h 6661143"/>
              <a:gd name="connsiteX3878" fmla="*/ 9141869 w 12191986"/>
              <a:gd name="connsiteY3878" fmla="*/ 2023006 h 6661143"/>
              <a:gd name="connsiteX3879" fmla="*/ 9124407 w 12191986"/>
              <a:gd name="connsiteY3879" fmla="*/ 2013483 h 6661143"/>
              <a:gd name="connsiteX3880" fmla="*/ 9106415 w 12191986"/>
              <a:gd name="connsiteY3880" fmla="*/ 2002898 h 6661143"/>
              <a:gd name="connsiteX3881" fmla="*/ 9090011 w 12191986"/>
              <a:gd name="connsiteY3881" fmla="*/ 1990727 h 6661143"/>
              <a:gd name="connsiteX3882" fmla="*/ 9073078 w 12191986"/>
              <a:gd name="connsiteY3882" fmla="*/ 1978555 h 6661143"/>
              <a:gd name="connsiteX3883" fmla="*/ 9057203 w 12191986"/>
              <a:gd name="connsiteY3883" fmla="*/ 1964795 h 6661143"/>
              <a:gd name="connsiteX3884" fmla="*/ 9041328 w 12191986"/>
              <a:gd name="connsiteY3884" fmla="*/ 1951037 h 6661143"/>
              <a:gd name="connsiteX3885" fmla="*/ 9025982 w 12191986"/>
              <a:gd name="connsiteY3885" fmla="*/ 1936750 h 6661143"/>
              <a:gd name="connsiteX3886" fmla="*/ 9010107 w 12191986"/>
              <a:gd name="connsiteY3886" fmla="*/ 1921404 h 6661143"/>
              <a:gd name="connsiteX3887" fmla="*/ 8979944 w 12191986"/>
              <a:gd name="connsiteY3887" fmla="*/ 1890713 h 6661143"/>
              <a:gd name="connsiteX3888" fmla="*/ 8950311 w 12191986"/>
              <a:gd name="connsiteY3888" fmla="*/ 1860551 h 6661143"/>
              <a:gd name="connsiteX3889" fmla="*/ 8965128 w 12191986"/>
              <a:gd name="connsiteY3889" fmla="*/ 1845204 h 6661143"/>
              <a:gd name="connsiteX3890" fmla="*/ 8979944 w 12191986"/>
              <a:gd name="connsiteY3890" fmla="*/ 1829859 h 6661143"/>
              <a:gd name="connsiteX3891" fmla="*/ 8996348 w 12191986"/>
              <a:gd name="connsiteY3891" fmla="*/ 1815571 h 6661143"/>
              <a:gd name="connsiteX3892" fmla="*/ 9012753 w 12191986"/>
              <a:gd name="connsiteY3892" fmla="*/ 1800754 h 6661143"/>
              <a:gd name="connsiteX3893" fmla="*/ 9029157 w 12191986"/>
              <a:gd name="connsiteY3893" fmla="*/ 1787525 h 6661143"/>
              <a:gd name="connsiteX3894" fmla="*/ 9046619 w 12191986"/>
              <a:gd name="connsiteY3894" fmla="*/ 1774296 h 6661143"/>
              <a:gd name="connsiteX3895" fmla="*/ 9064082 w 12191986"/>
              <a:gd name="connsiteY3895" fmla="*/ 1762655 h 6661143"/>
              <a:gd name="connsiteX3896" fmla="*/ 9082074 w 12191986"/>
              <a:gd name="connsiteY3896" fmla="*/ 1751542 h 6661143"/>
              <a:gd name="connsiteX3897" fmla="*/ 9100594 w 12191986"/>
              <a:gd name="connsiteY3897" fmla="*/ 1741488 h 6661143"/>
              <a:gd name="connsiteX3898" fmla="*/ 9119644 w 12191986"/>
              <a:gd name="connsiteY3898" fmla="*/ 1732492 h 6661143"/>
              <a:gd name="connsiteX3899" fmla="*/ 9138694 w 12191986"/>
              <a:gd name="connsiteY3899" fmla="*/ 1724555 h 6661143"/>
              <a:gd name="connsiteX3900" fmla="*/ 9157744 w 12191986"/>
              <a:gd name="connsiteY3900" fmla="*/ 1718734 h 6661143"/>
              <a:gd name="connsiteX3901" fmla="*/ 9167798 w 12191986"/>
              <a:gd name="connsiteY3901" fmla="*/ 1716618 h 6661143"/>
              <a:gd name="connsiteX3902" fmla="*/ 9177324 w 12191986"/>
              <a:gd name="connsiteY3902" fmla="*/ 1713972 h 6661143"/>
              <a:gd name="connsiteX3903" fmla="*/ 9187378 w 12191986"/>
              <a:gd name="connsiteY3903" fmla="*/ 1712384 h 6661143"/>
              <a:gd name="connsiteX3904" fmla="*/ 9197961 w 12191986"/>
              <a:gd name="connsiteY3904" fmla="*/ 1710797 h 6661143"/>
              <a:gd name="connsiteX3905" fmla="*/ 9208015 w 12191986"/>
              <a:gd name="connsiteY3905" fmla="*/ 1710267 h 6661143"/>
              <a:gd name="connsiteX3906" fmla="*/ 9218598 w 12191986"/>
              <a:gd name="connsiteY3906" fmla="*/ 1709738 h 6661143"/>
              <a:gd name="connsiteX3907" fmla="*/ 9228653 w 12191986"/>
              <a:gd name="connsiteY3907" fmla="*/ 1709738 h 6661143"/>
              <a:gd name="connsiteX3908" fmla="*/ 9239236 w 12191986"/>
              <a:gd name="connsiteY3908" fmla="*/ 1710267 h 6661143"/>
              <a:gd name="connsiteX3909" fmla="*/ 9249819 w 12191986"/>
              <a:gd name="connsiteY3909" fmla="*/ 1710797 h 6661143"/>
              <a:gd name="connsiteX3910" fmla="*/ 9259874 w 12191986"/>
              <a:gd name="connsiteY3910" fmla="*/ 1712384 h 6661143"/>
              <a:gd name="connsiteX3911" fmla="*/ 9269928 w 12191986"/>
              <a:gd name="connsiteY3911" fmla="*/ 1715030 h 6661143"/>
              <a:gd name="connsiteX3912" fmla="*/ 9279453 w 12191986"/>
              <a:gd name="connsiteY3912" fmla="*/ 1717676 h 6661143"/>
              <a:gd name="connsiteX3913" fmla="*/ 9289507 w 12191986"/>
              <a:gd name="connsiteY3913" fmla="*/ 1720851 h 6661143"/>
              <a:gd name="connsiteX3914" fmla="*/ 9299561 w 12191986"/>
              <a:gd name="connsiteY3914" fmla="*/ 1724026 h 6661143"/>
              <a:gd name="connsiteX3915" fmla="*/ 9309086 w 12191986"/>
              <a:gd name="connsiteY3915" fmla="*/ 1727730 h 6661143"/>
              <a:gd name="connsiteX3916" fmla="*/ 9318611 w 12191986"/>
              <a:gd name="connsiteY3916" fmla="*/ 1732492 h 6661143"/>
              <a:gd name="connsiteX3917" fmla="*/ 9336603 w 12191986"/>
              <a:gd name="connsiteY3917" fmla="*/ 1741488 h 6661143"/>
              <a:gd name="connsiteX3918" fmla="*/ 9354065 w 12191986"/>
              <a:gd name="connsiteY3918" fmla="*/ 1753130 h 6661143"/>
              <a:gd name="connsiteX3919" fmla="*/ 9372057 w 12191986"/>
              <a:gd name="connsiteY3919" fmla="*/ 1765301 h 6661143"/>
              <a:gd name="connsiteX3920" fmla="*/ 9388461 w 12191986"/>
              <a:gd name="connsiteY3920" fmla="*/ 1778001 h 6661143"/>
              <a:gd name="connsiteX3921" fmla="*/ 9405394 w 12191986"/>
              <a:gd name="connsiteY3921" fmla="*/ 1792817 h 6661143"/>
              <a:gd name="connsiteX3922" fmla="*/ 9420740 w 12191986"/>
              <a:gd name="connsiteY3922" fmla="*/ 1807634 h 6661143"/>
              <a:gd name="connsiteX3923" fmla="*/ 9436615 w 12191986"/>
              <a:gd name="connsiteY3923" fmla="*/ 1824038 h 6661143"/>
              <a:gd name="connsiteX3924" fmla="*/ 9451961 w 12191986"/>
              <a:gd name="connsiteY3924" fmla="*/ 1839913 h 6661143"/>
              <a:gd name="connsiteX3925" fmla="*/ 9480536 w 12191986"/>
              <a:gd name="connsiteY3925" fmla="*/ 1874309 h 6661143"/>
              <a:gd name="connsiteX3926" fmla="*/ 9485948 w 12191986"/>
              <a:gd name="connsiteY3926" fmla="*/ 1880823 h 6661143"/>
              <a:gd name="connsiteX3927" fmla="*/ 9650858 w 12191986"/>
              <a:gd name="connsiteY3927" fmla="*/ 1888067 h 6661143"/>
              <a:gd name="connsiteX3928" fmla="*/ 9642923 w 12191986"/>
              <a:gd name="connsiteY3928" fmla="*/ 1882247 h 6661143"/>
              <a:gd name="connsiteX3929" fmla="*/ 9632871 w 12191986"/>
              <a:gd name="connsiteY3929" fmla="*/ 1873780 h 6661143"/>
              <a:gd name="connsiteX3930" fmla="*/ 9623348 w 12191986"/>
              <a:gd name="connsiteY3930" fmla="*/ 1863197 h 6661143"/>
              <a:gd name="connsiteX3931" fmla="*/ 9611709 w 12191986"/>
              <a:gd name="connsiteY3931" fmla="*/ 1849438 h 6661143"/>
              <a:gd name="connsiteX3932" fmla="*/ 9588960 w 12191986"/>
              <a:gd name="connsiteY3932" fmla="*/ 1819805 h 6661143"/>
              <a:gd name="connsiteX3933" fmla="*/ 9567429 w 12191986"/>
              <a:gd name="connsiteY3933" fmla="*/ 1788755 h 6661143"/>
              <a:gd name="connsiteX3934" fmla="*/ 9566793 w 12191986"/>
              <a:gd name="connsiteY3934" fmla="*/ 1803401 h 6661143"/>
              <a:gd name="connsiteX3935" fmla="*/ 9542516 w 12191986"/>
              <a:gd name="connsiteY3935" fmla="*/ 1796534 h 6661143"/>
              <a:gd name="connsiteX3936" fmla="*/ 9516655 w 12191986"/>
              <a:gd name="connsiteY3936" fmla="*/ 1788610 h 6661143"/>
              <a:gd name="connsiteX3937" fmla="*/ 9503989 w 12191986"/>
              <a:gd name="connsiteY3937" fmla="*/ 1784912 h 6661143"/>
              <a:gd name="connsiteX3938" fmla="*/ 9490795 w 12191986"/>
              <a:gd name="connsiteY3938" fmla="*/ 1780687 h 6661143"/>
              <a:gd name="connsiteX3939" fmla="*/ 9478128 w 12191986"/>
              <a:gd name="connsiteY3939" fmla="*/ 1774876 h 6661143"/>
              <a:gd name="connsiteX3940" fmla="*/ 9465989 w 12191986"/>
              <a:gd name="connsiteY3940" fmla="*/ 1769594 h 6661143"/>
              <a:gd name="connsiteX3941" fmla="*/ 9454378 w 12191986"/>
              <a:gd name="connsiteY3941" fmla="*/ 1762727 h 6661143"/>
              <a:gd name="connsiteX3942" fmla="*/ 9442240 w 12191986"/>
              <a:gd name="connsiteY3942" fmla="*/ 1755860 h 6661143"/>
              <a:gd name="connsiteX3943" fmla="*/ 9431684 w 12191986"/>
              <a:gd name="connsiteY3943" fmla="*/ 1748464 h 6661143"/>
              <a:gd name="connsiteX3944" fmla="*/ 9421657 w 12191986"/>
              <a:gd name="connsiteY3944" fmla="*/ 1739484 h 6661143"/>
              <a:gd name="connsiteX3945" fmla="*/ 9411629 w 12191986"/>
              <a:gd name="connsiteY3945" fmla="*/ 1729448 h 6661143"/>
              <a:gd name="connsiteX3946" fmla="*/ 9403712 w 12191986"/>
              <a:gd name="connsiteY3946" fmla="*/ 1717827 h 6661143"/>
              <a:gd name="connsiteX3947" fmla="*/ 9398962 w 12191986"/>
              <a:gd name="connsiteY3947" fmla="*/ 1712016 h 6661143"/>
              <a:gd name="connsiteX3948" fmla="*/ 9395268 w 12191986"/>
              <a:gd name="connsiteY3948" fmla="*/ 1705678 h 6661143"/>
              <a:gd name="connsiteX3949" fmla="*/ 9392101 w 12191986"/>
              <a:gd name="connsiteY3949" fmla="*/ 1698810 h 6661143"/>
              <a:gd name="connsiteX3950" fmla="*/ 9388407 w 12191986"/>
              <a:gd name="connsiteY3950" fmla="*/ 1691943 h 6661143"/>
              <a:gd name="connsiteX3951" fmla="*/ 9383657 w 12191986"/>
              <a:gd name="connsiteY3951" fmla="*/ 1681379 h 6661143"/>
              <a:gd name="connsiteX3952" fmla="*/ 9379435 w 12191986"/>
              <a:gd name="connsiteY3952" fmla="*/ 1670286 h 6661143"/>
              <a:gd name="connsiteX3953" fmla="*/ 9376268 w 12191986"/>
              <a:gd name="connsiteY3953" fmla="*/ 1658665 h 6661143"/>
              <a:gd name="connsiteX3954" fmla="*/ 9373102 w 12191986"/>
              <a:gd name="connsiteY3954" fmla="*/ 1647043 h 6661143"/>
              <a:gd name="connsiteX3955" fmla="*/ 9370991 w 12191986"/>
              <a:gd name="connsiteY3955" fmla="*/ 1635951 h 6661143"/>
              <a:gd name="connsiteX3956" fmla="*/ 9369407 w 12191986"/>
              <a:gd name="connsiteY3956" fmla="*/ 1623801 h 6661143"/>
              <a:gd name="connsiteX3957" fmla="*/ 9368352 w 12191986"/>
              <a:gd name="connsiteY3957" fmla="*/ 1612180 h 6661143"/>
              <a:gd name="connsiteX3958" fmla="*/ 9367824 w 12191986"/>
              <a:gd name="connsiteY3958" fmla="*/ 1600031 h 6661143"/>
              <a:gd name="connsiteX3959" fmla="*/ 9367824 w 12191986"/>
              <a:gd name="connsiteY3959" fmla="*/ 1575732 h 6661143"/>
              <a:gd name="connsiteX3960" fmla="*/ 9368352 w 12191986"/>
              <a:gd name="connsiteY3960" fmla="*/ 1551433 h 6661143"/>
              <a:gd name="connsiteX3961" fmla="*/ 9370991 w 12191986"/>
              <a:gd name="connsiteY3961" fmla="*/ 1527135 h 6661143"/>
              <a:gd name="connsiteX3962" fmla="*/ 9373102 w 12191986"/>
              <a:gd name="connsiteY3962" fmla="*/ 1503364 h 6661143"/>
              <a:gd name="connsiteX3963" fmla="*/ 9395796 w 12191986"/>
              <a:gd name="connsiteY3963" fmla="*/ 1512344 h 6661143"/>
              <a:gd name="connsiteX3964" fmla="*/ 9419546 w 12191986"/>
              <a:gd name="connsiteY3964" fmla="*/ 1520796 h 6661143"/>
              <a:gd name="connsiteX3965" fmla="*/ 9442767 w 12191986"/>
              <a:gd name="connsiteY3965" fmla="*/ 1530832 h 6661143"/>
              <a:gd name="connsiteX3966" fmla="*/ 9465989 w 12191986"/>
              <a:gd name="connsiteY3966" fmla="*/ 1541397 h 6661143"/>
              <a:gd name="connsiteX3967" fmla="*/ 9477072 w 12191986"/>
              <a:gd name="connsiteY3967" fmla="*/ 1547736 h 6661143"/>
              <a:gd name="connsiteX3968" fmla="*/ 9487628 w 12191986"/>
              <a:gd name="connsiteY3968" fmla="*/ 1554603 h 6661143"/>
              <a:gd name="connsiteX3969" fmla="*/ 9497656 w 12191986"/>
              <a:gd name="connsiteY3969" fmla="*/ 1561470 h 6661143"/>
              <a:gd name="connsiteX3970" fmla="*/ 9507683 w 12191986"/>
              <a:gd name="connsiteY3970" fmla="*/ 1569393 h 6661143"/>
              <a:gd name="connsiteX3971" fmla="*/ 9516655 w 12191986"/>
              <a:gd name="connsiteY3971" fmla="*/ 1578901 h 6661143"/>
              <a:gd name="connsiteX3972" fmla="*/ 9525627 w 12191986"/>
              <a:gd name="connsiteY3972" fmla="*/ 1588938 h 6661143"/>
              <a:gd name="connsiteX3973" fmla="*/ 9533544 w 12191986"/>
              <a:gd name="connsiteY3973" fmla="*/ 1599502 h 6661143"/>
              <a:gd name="connsiteX3974" fmla="*/ 9540405 w 12191986"/>
              <a:gd name="connsiteY3974" fmla="*/ 1611652 h 6661143"/>
              <a:gd name="connsiteX3975" fmla="*/ 9546210 w 12191986"/>
              <a:gd name="connsiteY3975" fmla="*/ 1622217 h 6661143"/>
              <a:gd name="connsiteX3976" fmla="*/ 9551488 w 12191986"/>
              <a:gd name="connsiteY3976" fmla="*/ 1633838 h 6661143"/>
              <a:gd name="connsiteX3977" fmla="*/ 9555710 w 12191986"/>
              <a:gd name="connsiteY3977" fmla="*/ 1644930 h 6661143"/>
              <a:gd name="connsiteX3978" fmla="*/ 9559405 w 12191986"/>
              <a:gd name="connsiteY3978" fmla="*/ 1656552 h 6661143"/>
              <a:gd name="connsiteX3979" fmla="*/ 9561516 w 12191986"/>
              <a:gd name="connsiteY3979" fmla="*/ 1667645 h 6661143"/>
              <a:gd name="connsiteX3980" fmla="*/ 9563627 w 12191986"/>
              <a:gd name="connsiteY3980" fmla="*/ 1679794 h 6661143"/>
              <a:gd name="connsiteX3981" fmla="*/ 9565210 w 12191986"/>
              <a:gd name="connsiteY3981" fmla="*/ 1691943 h 6661143"/>
              <a:gd name="connsiteX3982" fmla="*/ 9566793 w 12191986"/>
              <a:gd name="connsiteY3982" fmla="*/ 1704621 h 6661143"/>
              <a:gd name="connsiteX3983" fmla="*/ 9567849 w 12191986"/>
              <a:gd name="connsiteY3983" fmla="*/ 1729448 h 6661143"/>
              <a:gd name="connsiteX3984" fmla="*/ 9567849 w 12191986"/>
              <a:gd name="connsiteY3984" fmla="*/ 1750862 h 6661143"/>
              <a:gd name="connsiteX3985" fmla="*/ 9568327 w 12191986"/>
              <a:gd name="connsiteY3985" fmla="*/ 1751543 h 6661143"/>
              <a:gd name="connsiteX3986" fmla="*/ 9583669 w 12191986"/>
              <a:gd name="connsiteY3986" fmla="*/ 1770593 h 6661143"/>
              <a:gd name="connsiteX3987" fmla="*/ 9599012 w 12191986"/>
              <a:gd name="connsiteY3987" fmla="*/ 1789113 h 6661143"/>
              <a:gd name="connsiteX3988" fmla="*/ 9615412 w 12191986"/>
              <a:gd name="connsiteY3988" fmla="*/ 1806576 h 6661143"/>
              <a:gd name="connsiteX3989" fmla="*/ 9632342 w 12191986"/>
              <a:gd name="connsiteY3989" fmla="*/ 1824038 h 6661143"/>
              <a:gd name="connsiteX3990" fmla="*/ 9649271 w 12191986"/>
              <a:gd name="connsiteY3990" fmla="*/ 1840443 h 6661143"/>
              <a:gd name="connsiteX3991" fmla="*/ 9666730 w 12191986"/>
              <a:gd name="connsiteY3991" fmla="*/ 1856318 h 6661143"/>
              <a:gd name="connsiteX3992" fmla="*/ 9684718 w 12191986"/>
              <a:gd name="connsiteY3992" fmla="*/ 1871663 h 6661143"/>
              <a:gd name="connsiteX3993" fmla="*/ 9703234 w 12191986"/>
              <a:gd name="connsiteY3993" fmla="*/ 1885951 h 6661143"/>
              <a:gd name="connsiteX3994" fmla="*/ 9721751 w 12191986"/>
              <a:gd name="connsiteY3994" fmla="*/ 1899708 h 6661143"/>
              <a:gd name="connsiteX3995" fmla="*/ 9739210 w 12191986"/>
              <a:gd name="connsiteY3995" fmla="*/ 1912409 h 6661143"/>
              <a:gd name="connsiteX3996" fmla="*/ 9757197 w 12191986"/>
              <a:gd name="connsiteY3996" fmla="*/ 1925639 h 6661143"/>
              <a:gd name="connsiteX3997" fmla="*/ 9775714 w 12191986"/>
              <a:gd name="connsiteY3997" fmla="*/ 1936750 h 6661143"/>
              <a:gd name="connsiteX3998" fmla="*/ 9793173 w 12191986"/>
              <a:gd name="connsiteY3998" fmla="*/ 1948391 h 6661143"/>
              <a:gd name="connsiteX3999" fmla="*/ 9826503 w 12191986"/>
              <a:gd name="connsiteY3999" fmla="*/ 1969028 h 6661143"/>
              <a:gd name="connsiteX4000" fmla="*/ 9858775 w 12191986"/>
              <a:gd name="connsiteY4000" fmla="*/ 1986493 h 6661143"/>
              <a:gd name="connsiteX4001" fmla="*/ 9887344 w 12191986"/>
              <a:gd name="connsiteY4001" fmla="*/ 2001843 h 6661143"/>
              <a:gd name="connsiteX4002" fmla="*/ 9913267 w 12191986"/>
              <a:gd name="connsiteY4002" fmla="*/ 2014011 h 6661143"/>
              <a:gd name="connsiteX4003" fmla="*/ 9950300 w 12191986"/>
              <a:gd name="connsiteY4003" fmla="*/ 2030942 h 6661143"/>
              <a:gd name="connsiteX4004" fmla="*/ 9963527 w 12191986"/>
              <a:gd name="connsiteY4004" fmla="*/ 2036234 h 6661143"/>
              <a:gd name="connsiteX4005" fmla="*/ 9971831 w 12191986"/>
              <a:gd name="connsiteY4005" fmla="*/ 1963076 h 6661143"/>
              <a:gd name="connsiteX4006" fmla="*/ 9966841 w 12191986"/>
              <a:gd name="connsiteY4006" fmla="*/ 1972140 h 6661143"/>
              <a:gd name="connsiteX4007" fmla="*/ 9957845 w 12191986"/>
              <a:gd name="connsiteY4007" fmla="*/ 1987518 h 6661143"/>
              <a:gd name="connsiteX4008" fmla="*/ 9947262 w 12191986"/>
              <a:gd name="connsiteY4008" fmla="*/ 2001841 h 6661143"/>
              <a:gd name="connsiteX4009" fmla="*/ 9940912 w 12191986"/>
              <a:gd name="connsiteY4009" fmla="*/ 1994945 h 6661143"/>
              <a:gd name="connsiteX4010" fmla="*/ 9935620 w 12191986"/>
              <a:gd name="connsiteY4010" fmla="*/ 1987518 h 6661143"/>
              <a:gd name="connsiteX4011" fmla="*/ 9931387 w 12191986"/>
              <a:gd name="connsiteY4011" fmla="*/ 1979563 h 6661143"/>
              <a:gd name="connsiteX4012" fmla="*/ 9926624 w 12191986"/>
              <a:gd name="connsiteY4012" fmla="*/ 1972140 h 6661143"/>
              <a:gd name="connsiteX4013" fmla="*/ 9921862 w 12191986"/>
              <a:gd name="connsiteY4013" fmla="*/ 1964185 h 6661143"/>
              <a:gd name="connsiteX4014" fmla="*/ 9918687 w 12191986"/>
              <a:gd name="connsiteY4014" fmla="*/ 1956761 h 6661143"/>
              <a:gd name="connsiteX4015" fmla="*/ 9914982 w 12191986"/>
              <a:gd name="connsiteY4015" fmla="*/ 1949337 h 6661143"/>
              <a:gd name="connsiteX4016" fmla="*/ 9912866 w 12191986"/>
              <a:gd name="connsiteY4016" fmla="*/ 1941383 h 6661143"/>
              <a:gd name="connsiteX4017" fmla="*/ 9909691 w 12191986"/>
              <a:gd name="connsiteY4017" fmla="*/ 1933957 h 6661143"/>
              <a:gd name="connsiteX4018" fmla="*/ 9908103 w 12191986"/>
              <a:gd name="connsiteY4018" fmla="*/ 1926003 h 6661143"/>
              <a:gd name="connsiteX4019" fmla="*/ 9906516 w 12191986"/>
              <a:gd name="connsiteY4019" fmla="*/ 1917520 h 6661143"/>
              <a:gd name="connsiteX4020" fmla="*/ 9905457 w 12191986"/>
              <a:gd name="connsiteY4020" fmla="*/ 1910094 h 6661143"/>
              <a:gd name="connsiteX4021" fmla="*/ 9904399 w 12191986"/>
              <a:gd name="connsiteY4021" fmla="*/ 1902670 h 6661143"/>
              <a:gd name="connsiteX4022" fmla="*/ 9904399 w 12191986"/>
              <a:gd name="connsiteY4022" fmla="*/ 1894185 h 6661143"/>
              <a:gd name="connsiteX4023" fmla="*/ 9904399 w 12191986"/>
              <a:gd name="connsiteY4023" fmla="*/ 1886230 h 6661143"/>
              <a:gd name="connsiteX4024" fmla="*/ 9905457 w 12191986"/>
              <a:gd name="connsiteY4024" fmla="*/ 1878806 h 6661143"/>
              <a:gd name="connsiteX4025" fmla="*/ 9906516 w 12191986"/>
              <a:gd name="connsiteY4025" fmla="*/ 1862897 h 6661143"/>
              <a:gd name="connsiteX4026" fmla="*/ 9909691 w 12191986"/>
              <a:gd name="connsiteY4026" fmla="*/ 1846457 h 6661143"/>
              <a:gd name="connsiteX4027" fmla="*/ 9914982 w 12191986"/>
              <a:gd name="connsiteY4027" fmla="*/ 1831609 h 6661143"/>
              <a:gd name="connsiteX4028" fmla="*/ 9921332 w 12191986"/>
              <a:gd name="connsiteY4028" fmla="*/ 1815169 h 6661143"/>
              <a:gd name="connsiteX4029" fmla="*/ 9928212 w 12191986"/>
              <a:gd name="connsiteY4029" fmla="*/ 1800320 h 6661143"/>
              <a:gd name="connsiteX4030" fmla="*/ 9936678 w 12191986"/>
              <a:gd name="connsiteY4030" fmla="*/ 1784941 h 6661143"/>
              <a:gd name="connsiteX4031" fmla="*/ 9946203 w 12191986"/>
              <a:gd name="connsiteY4031" fmla="*/ 1770093 h 6661143"/>
              <a:gd name="connsiteX4032" fmla="*/ 9956787 w 12191986"/>
              <a:gd name="connsiteY4032" fmla="*/ 1755775 h 6661143"/>
              <a:gd name="connsiteX4033" fmla="*/ 9963137 w 12191986"/>
              <a:gd name="connsiteY4033" fmla="*/ 1762669 h 6661143"/>
              <a:gd name="connsiteX4034" fmla="*/ 9968429 w 12191986"/>
              <a:gd name="connsiteY4034" fmla="*/ 1770093 h 6661143"/>
              <a:gd name="connsiteX4035" fmla="*/ 9973191 w 12191986"/>
              <a:gd name="connsiteY4035" fmla="*/ 1778048 h 6661143"/>
              <a:gd name="connsiteX4036" fmla="*/ 9977424 w 12191986"/>
              <a:gd name="connsiteY4036" fmla="*/ 1784941 h 6661143"/>
              <a:gd name="connsiteX4037" fmla="*/ 9981658 w 12191986"/>
              <a:gd name="connsiteY4037" fmla="*/ 1792366 h 6661143"/>
              <a:gd name="connsiteX4038" fmla="*/ 9984304 w 12191986"/>
              <a:gd name="connsiteY4038" fmla="*/ 1800320 h 6661143"/>
              <a:gd name="connsiteX4039" fmla="*/ 9987479 w 12191986"/>
              <a:gd name="connsiteY4039" fmla="*/ 1807745 h 6661143"/>
              <a:gd name="connsiteX4040" fmla="*/ 9990654 w 12191986"/>
              <a:gd name="connsiteY4040" fmla="*/ 1815169 h 6661143"/>
              <a:gd name="connsiteX4041" fmla="*/ 9992770 w 12191986"/>
              <a:gd name="connsiteY4041" fmla="*/ 1823123 h 6661143"/>
              <a:gd name="connsiteX4042" fmla="*/ 9994358 w 12191986"/>
              <a:gd name="connsiteY4042" fmla="*/ 1830548 h 6661143"/>
              <a:gd name="connsiteX4043" fmla="*/ 9995945 w 12191986"/>
              <a:gd name="connsiteY4043" fmla="*/ 1838503 h 6661143"/>
              <a:gd name="connsiteX4044" fmla="*/ 9997533 w 12191986"/>
              <a:gd name="connsiteY4044" fmla="*/ 1846457 h 6661143"/>
              <a:gd name="connsiteX4045" fmla="*/ 9998062 w 12191986"/>
              <a:gd name="connsiteY4045" fmla="*/ 1861836 h 6661143"/>
              <a:gd name="connsiteX4046" fmla="*/ 9997533 w 12191986"/>
              <a:gd name="connsiteY4046" fmla="*/ 1878275 h 6661143"/>
              <a:gd name="connsiteX4047" fmla="*/ 9995945 w 12191986"/>
              <a:gd name="connsiteY4047" fmla="*/ 1894185 h 6661143"/>
              <a:gd name="connsiteX4048" fmla="*/ 9992770 w 12191986"/>
              <a:gd name="connsiteY4048" fmla="*/ 1910094 h 6661143"/>
              <a:gd name="connsiteX4049" fmla="*/ 9991405 w 12191986"/>
              <a:gd name="connsiteY4049" fmla="*/ 1915055 h 6661143"/>
              <a:gd name="connsiteX4050" fmla="*/ 9994212 w 12191986"/>
              <a:gd name="connsiteY4050" fmla="*/ 1915055 h 6661143"/>
              <a:gd name="connsiteX4051" fmla="*/ 9998973 w 12191986"/>
              <a:gd name="connsiteY4051" fmla="*/ 2065864 h 6661143"/>
              <a:gd name="connsiteX4052" fmla="*/ 10501041 w 12191986"/>
              <a:gd name="connsiteY4052" fmla="*/ 2361140 h 6661143"/>
              <a:gd name="connsiteX4053" fmla="*/ 10467182 w 12191986"/>
              <a:gd name="connsiteY4053" fmla="*/ 1856318 h 6661143"/>
              <a:gd name="connsiteX4054" fmla="*/ 10437026 w 12191986"/>
              <a:gd name="connsiteY4054" fmla="*/ 1834621 h 6661143"/>
              <a:gd name="connsiteX4055" fmla="*/ 10405812 w 12191986"/>
              <a:gd name="connsiteY4055" fmla="*/ 1813455 h 6661143"/>
              <a:gd name="connsiteX4056" fmla="*/ 10375127 w 12191986"/>
              <a:gd name="connsiteY4056" fmla="*/ 1793876 h 6661143"/>
              <a:gd name="connsiteX4057" fmla="*/ 10344442 w 12191986"/>
              <a:gd name="connsiteY4057" fmla="*/ 1773768 h 6661143"/>
              <a:gd name="connsiteX4058" fmla="*/ 10285189 w 12191986"/>
              <a:gd name="connsiteY4058" fmla="*/ 1736726 h 6661143"/>
              <a:gd name="connsiteX4059" fmla="*/ 10228052 w 12191986"/>
              <a:gd name="connsiteY4059" fmla="*/ 1702330 h 6661143"/>
              <a:gd name="connsiteX4060" fmla="*/ 10172501 w 12191986"/>
              <a:gd name="connsiteY4060" fmla="*/ 1671110 h 6661143"/>
              <a:gd name="connsiteX4061" fmla="*/ 10120125 w 12191986"/>
              <a:gd name="connsiteY4061" fmla="*/ 1642006 h 6661143"/>
              <a:gd name="connsiteX4062" fmla="*/ 10070395 w 12191986"/>
              <a:gd name="connsiteY4062" fmla="*/ 1616077 h 6661143"/>
              <a:gd name="connsiteX4063" fmla="*/ 10024896 w 12191986"/>
              <a:gd name="connsiteY4063" fmla="*/ 1592264 h 6661143"/>
              <a:gd name="connsiteX4064" fmla="*/ 9982572 w 12191986"/>
              <a:gd name="connsiteY4064" fmla="*/ 1571627 h 6661143"/>
              <a:gd name="connsiteX4065" fmla="*/ 9944481 w 12191986"/>
              <a:gd name="connsiteY4065" fmla="*/ 1554165 h 6661143"/>
              <a:gd name="connsiteX4066" fmla="*/ 9911151 w 12191986"/>
              <a:gd name="connsiteY4066" fmla="*/ 1538819 h 6661143"/>
              <a:gd name="connsiteX4067" fmla="*/ 9883640 w 12191986"/>
              <a:gd name="connsiteY4067" fmla="*/ 1526648 h 6661143"/>
              <a:gd name="connsiteX4068" fmla="*/ 9860891 w 12191986"/>
              <a:gd name="connsiteY4068" fmla="*/ 1517123 h 6661143"/>
              <a:gd name="connsiteX4069" fmla="*/ 9843961 w 12191986"/>
              <a:gd name="connsiteY4069" fmla="*/ 1510244 h 6661143"/>
              <a:gd name="connsiteX4070" fmla="*/ 9834439 w 12191986"/>
              <a:gd name="connsiteY4070" fmla="*/ 1506011 h 6661143"/>
              <a:gd name="connsiteX4071" fmla="*/ 9830206 w 12191986"/>
              <a:gd name="connsiteY4071" fmla="*/ 1504952 h 6661143"/>
              <a:gd name="connsiteX4072" fmla="*/ 9539400 w 12191986"/>
              <a:gd name="connsiteY4072" fmla="*/ 1405683 h 6661143"/>
              <a:gd name="connsiteX4073" fmla="*/ 9518107 w 12191986"/>
              <a:gd name="connsiteY4073" fmla="*/ 1411393 h 6661143"/>
              <a:gd name="connsiteX4074" fmla="*/ 9490061 w 12191986"/>
              <a:gd name="connsiteY4074" fmla="*/ 1419825 h 6661143"/>
              <a:gd name="connsiteX4075" fmla="*/ 9475245 w 12191986"/>
              <a:gd name="connsiteY4075" fmla="*/ 1424568 h 6661143"/>
              <a:gd name="connsiteX4076" fmla="*/ 9460957 w 12191986"/>
              <a:gd name="connsiteY4076" fmla="*/ 1428257 h 6661143"/>
              <a:gd name="connsiteX4077" fmla="*/ 9446670 w 12191986"/>
              <a:gd name="connsiteY4077" fmla="*/ 1431420 h 6661143"/>
              <a:gd name="connsiteX4078" fmla="*/ 9431853 w 12191986"/>
              <a:gd name="connsiteY4078" fmla="*/ 1433527 h 6661143"/>
              <a:gd name="connsiteX4079" fmla="*/ 9417036 w 12191986"/>
              <a:gd name="connsiteY4079" fmla="*/ 1435636 h 6661143"/>
              <a:gd name="connsiteX4080" fmla="*/ 9402220 w 12191986"/>
              <a:gd name="connsiteY4080" fmla="*/ 1436690 h 6661143"/>
              <a:gd name="connsiteX4081" fmla="*/ 9387932 w 12191986"/>
              <a:gd name="connsiteY4081" fmla="*/ 1436690 h 6661143"/>
              <a:gd name="connsiteX4082" fmla="*/ 9373115 w 12191986"/>
              <a:gd name="connsiteY4082" fmla="*/ 1435636 h 6661143"/>
              <a:gd name="connsiteX4083" fmla="*/ 9358828 w 12191986"/>
              <a:gd name="connsiteY4083" fmla="*/ 1433001 h 6661143"/>
              <a:gd name="connsiteX4084" fmla="*/ 9344540 w 12191986"/>
              <a:gd name="connsiteY4084" fmla="*/ 1428784 h 6661143"/>
              <a:gd name="connsiteX4085" fmla="*/ 9336603 w 12191986"/>
              <a:gd name="connsiteY4085" fmla="*/ 1426149 h 6661143"/>
              <a:gd name="connsiteX4086" fmla="*/ 9329724 w 12191986"/>
              <a:gd name="connsiteY4086" fmla="*/ 1422987 h 6661143"/>
              <a:gd name="connsiteX4087" fmla="*/ 9322845 w 12191986"/>
              <a:gd name="connsiteY4087" fmla="*/ 1419825 h 6661143"/>
              <a:gd name="connsiteX4088" fmla="*/ 9315965 w 12191986"/>
              <a:gd name="connsiteY4088" fmla="*/ 1416136 h 6661143"/>
              <a:gd name="connsiteX4089" fmla="*/ 9302736 w 12191986"/>
              <a:gd name="connsiteY4089" fmla="*/ 1408231 h 6661143"/>
              <a:gd name="connsiteX4090" fmla="*/ 9290036 w 12191986"/>
              <a:gd name="connsiteY4090" fmla="*/ 1399271 h 6661143"/>
              <a:gd name="connsiteX4091" fmla="*/ 9278924 w 12191986"/>
              <a:gd name="connsiteY4091" fmla="*/ 1389258 h 6661143"/>
              <a:gd name="connsiteX4092" fmla="*/ 9268340 w 12191986"/>
              <a:gd name="connsiteY4092" fmla="*/ 1378718 h 6661143"/>
              <a:gd name="connsiteX4093" fmla="*/ 9258286 w 12191986"/>
              <a:gd name="connsiteY4093" fmla="*/ 1367650 h 6661143"/>
              <a:gd name="connsiteX4094" fmla="*/ 9248232 w 12191986"/>
              <a:gd name="connsiteY4094" fmla="*/ 1354475 h 6661143"/>
              <a:gd name="connsiteX4095" fmla="*/ 9239236 w 12191986"/>
              <a:gd name="connsiteY4095" fmla="*/ 1341827 h 6661143"/>
              <a:gd name="connsiteX4096" fmla="*/ 9230769 w 12191986"/>
              <a:gd name="connsiteY4096" fmla="*/ 1328124 h 6661143"/>
              <a:gd name="connsiteX4097" fmla="*/ 9213836 w 12191986"/>
              <a:gd name="connsiteY4097" fmla="*/ 1299666 h 6661143"/>
              <a:gd name="connsiteX4098" fmla="*/ 9199019 w 12191986"/>
              <a:gd name="connsiteY4098" fmla="*/ 1271207 h 6661143"/>
              <a:gd name="connsiteX4099" fmla="*/ 9184203 w 12191986"/>
              <a:gd name="connsiteY4099" fmla="*/ 1242221 h 6661143"/>
              <a:gd name="connsiteX4100" fmla="*/ 9169386 w 12191986"/>
              <a:gd name="connsiteY4100" fmla="*/ 1213235 h 6661143"/>
              <a:gd name="connsiteX4101" fmla="*/ 9199019 w 12191986"/>
              <a:gd name="connsiteY4101" fmla="*/ 1204276 h 6661143"/>
              <a:gd name="connsiteX4102" fmla="*/ 9228653 w 12191986"/>
              <a:gd name="connsiteY4102" fmla="*/ 1195317 h 6661143"/>
              <a:gd name="connsiteX4103" fmla="*/ 9243999 w 12191986"/>
              <a:gd name="connsiteY4103" fmla="*/ 1190573 h 6661143"/>
              <a:gd name="connsiteX4104" fmla="*/ 9258815 w 12191986"/>
              <a:gd name="connsiteY4104" fmla="*/ 1186884 h 6661143"/>
              <a:gd name="connsiteX4105" fmla="*/ 9274161 w 12191986"/>
              <a:gd name="connsiteY4105" fmla="*/ 1183195 h 6661143"/>
              <a:gd name="connsiteX4106" fmla="*/ 9289507 w 12191986"/>
              <a:gd name="connsiteY4106" fmla="*/ 1180560 h 6661143"/>
              <a:gd name="connsiteX4107" fmla="*/ 9303795 w 12191986"/>
              <a:gd name="connsiteY4107" fmla="*/ 1178452 h 6661143"/>
              <a:gd name="connsiteX4108" fmla="*/ 9319140 w 12191986"/>
              <a:gd name="connsiteY4108" fmla="*/ 1177925 h 6661143"/>
              <a:gd name="connsiteX4109" fmla="*/ 9334486 w 12191986"/>
              <a:gd name="connsiteY4109" fmla="*/ 1177925 h 6661143"/>
              <a:gd name="connsiteX4110" fmla="*/ 9348774 w 12191986"/>
              <a:gd name="connsiteY4110" fmla="*/ 1178979 h 6661143"/>
              <a:gd name="connsiteX4111" fmla="*/ 9356711 w 12191986"/>
              <a:gd name="connsiteY4111" fmla="*/ 1180560 h 6661143"/>
              <a:gd name="connsiteX4112" fmla="*/ 9363590 w 12191986"/>
              <a:gd name="connsiteY4112" fmla="*/ 1182141 h 6661143"/>
              <a:gd name="connsiteX4113" fmla="*/ 9370999 w 12191986"/>
              <a:gd name="connsiteY4113" fmla="*/ 1184249 h 6661143"/>
              <a:gd name="connsiteX4114" fmla="*/ 9377878 w 12191986"/>
              <a:gd name="connsiteY4114" fmla="*/ 1186884 h 6661143"/>
              <a:gd name="connsiteX4115" fmla="*/ 9384757 w 12191986"/>
              <a:gd name="connsiteY4115" fmla="*/ 1190047 h 6661143"/>
              <a:gd name="connsiteX4116" fmla="*/ 9392165 w 12191986"/>
              <a:gd name="connsiteY4116" fmla="*/ 1192682 h 6661143"/>
              <a:gd name="connsiteX4117" fmla="*/ 9399045 w 12191986"/>
              <a:gd name="connsiteY4117" fmla="*/ 1197425 h 6661143"/>
              <a:gd name="connsiteX4118" fmla="*/ 9405924 w 12191986"/>
              <a:gd name="connsiteY4118" fmla="*/ 1201114 h 6661143"/>
              <a:gd name="connsiteX4119" fmla="*/ 9419153 w 12191986"/>
              <a:gd name="connsiteY4119" fmla="*/ 1209019 h 6661143"/>
              <a:gd name="connsiteX4120" fmla="*/ 9431324 w 12191986"/>
              <a:gd name="connsiteY4120" fmla="*/ 1217978 h 6661143"/>
              <a:gd name="connsiteX4121" fmla="*/ 9442436 w 12191986"/>
              <a:gd name="connsiteY4121" fmla="*/ 1227992 h 6661143"/>
              <a:gd name="connsiteX4122" fmla="*/ 9453549 w 12191986"/>
              <a:gd name="connsiteY4122" fmla="*/ 1238532 h 6661143"/>
              <a:gd name="connsiteX4123" fmla="*/ 9462545 w 12191986"/>
              <a:gd name="connsiteY4123" fmla="*/ 1249599 h 6661143"/>
              <a:gd name="connsiteX4124" fmla="*/ 9471541 w 12191986"/>
              <a:gd name="connsiteY4124" fmla="*/ 1261721 h 6661143"/>
              <a:gd name="connsiteX4125" fmla="*/ 9480536 w 12191986"/>
              <a:gd name="connsiteY4125" fmla="*/ 1274896 h 6661143"/>
              <a:gd name="connsiteX4126" fmla="*/ 9488474 w 12191986"/>
              <a:gd name="connsiteY4126" fmla="*/ 1288598 h 6661143"/>
              <a:gd name="connsiteX4127" fmla="*/ 9503820 w 12191986"/>
              <a:gd name="connsiteY4127" fmla="*/ 1316530 h 6661143"/>
              <a:gd name="connsiteX4128" fmla="*/ 9518107 w 12191986"/>
              <a:gd name="connsiteY4128" fmla="*/ 1345516 h 6661143"/>
              <a:gd name="connsiteX4129" fmla="*/ 9528213 w 12191986"/>
              <a:gd name="connsiteY4129" fmla="*/ 1367194 h 6661143"/>
              <a:gd name="connsiteX4130" fmla="*/ 9793173 w 12191986"/>
              <a:gd name="connsiteY4130" fmla="*/ 1448332 h 6661143"/>
              <a:gd name="connsiteX4131" fmla="*/ 9793173 w 12191986"/>
              <a:gd name="connsiteY4131" fmla="*/ 1320425 h 6661143"/>
              <a:gd name="connsiteX4132" fmla="*/ 9788821 w 12191986"/>
              <a:gd name="connsiteY4132" fmla="*/ 1330994 h 6661143"/>
              <a:gd name="connsiteX4133" fmla="*/ 9778173 w 12191986"/>
              <a:gd name="connsiteY4133" fmla="*/ 1355797 h 6661143"/>
              <a:gd name="connsiteX4134" fmla="*/ 9768058 w 12191986"/>
              <a:gd name="connsiteY4134" fmla="*/ 1381127 h 6661143"/>
              <a:gd name="connsiteX4135" fmla="*/ 9750489 w 12191986"/>
              <a:gd name="connsiteY4135" fmla="*/ 1360546 h 6661143"/>
              <a:gd name="connsiteX4136" fmla="*/ 9732388 w 12191986"/>
              <a:gd name="connsiteY4136" fmla="*/ 1339965 h 6661143"/>
              <a:gd name="connsiteX4137" fmla="*/ 9713754 w 12191986"/>
              <a:gd name="connsiteY4137" fmla="*/ 1319384 h 6661143"/>
              <a:gd name="connsiteX4138" fmla="*/ 9696185 w 12191986"/>
              <a:gd name="connsiteY4138" fmla="*/ 1298803 h 6661143"/>
              <a:gd name="connsiteX4139" fmla="*/ 9687667 w 12191986"/>
              <a:gd name="connsiteY4139" fmla="*/ 1287193 h 6661143"/>
              <a:gd name="connsiteX4140" fmla="*/ 9680213 w 12191986"/>
              <a:gd name="connsiteY4140" fmla="*/ 1276111 h 6661143"/>
              <a:gd name="connsiteX4141" fmla="*/ 9673292 w 12191986"/>
              <a:gd name="connsiteY4141" fmla="*/ 1264501 h 6661143"/>
              <a:gd name="connsiteX4142" fmla="*/ 9666903 w 12191986"/>
              <a:gd name="connsiteY4142" fmla="*/ 1252363 h 6661143"/>
              <a:gd name="connsiteX4143" fmla="*/ 9661579 w 12191986"/>
              <a:gd name="connsiteY4143" fmla="*/ 1239698 h 6661143"/>
              <a:gd name="connsiteX4144" fmla="*/ 9657320 w 12191986"/>
              <a:gd name="connsiteY4144" fmla="*/ 1225977 h 6661143"/>
              <a:gd name="connsiteX4145" fmla="*/ 9654126 w 12191986"/>
              <a:gd name="connsiteY4145" fmla="*/ 1212256 h 6661143"/>
              <a:gd name="connsiteX4146" fmla="*/ 9651464 w 12191986"/>
              <a:gd name="connsiteY4146" fmla="*/ 1196952 h 6661143"/>
              <a:gd name="connsiteX4147" fmla="*/ 9650399 w 12191986"/>
              <a:gd name="connsiteY4147" fmla="*/ 1183232 h 6661143"/>
              <a:gd name="connsiteX4148" fmla="*/ 9650399 w 12191986"/>
              <a:gd name="connsiteY4148" fmla="*/ 1170566 h 6661143"/>
              <a:gd name="connsiteX4149" fmla="*/ 9651464 w 12191986"/>
              <a:gd name="connsiteY4149" fmla="*/ 1156846 h 6661143"/>
              <a:gd name="connsiteX4150" fmla="*/ 9653061 w 12191986"/>
              <a:gd name="connsiteY4150" fmla="*/ 1143652 h 6661143"/>
              <a:gd name="connsiteX4151" fmla="*/ 9656255 w 12191986"/>
              <a:gd name="connsiteY4151" fmla="*/ 1130987 h 6661143"/>
              <a:gd name="connsiteX4152" fmla="*/ 9659450 w 12191986"/>
              <a:gd name="connsiteY4152" fmla="*/ 1117794 h 6661143"/>
              <a:gd name="connsiteX4153" fmla="*/ 9663176 w 12191986"/>
              <a:gd name="connsiteY4153" fmla="*/ 1105656 h 6661143"/>
              <a:gd name="connsiteX4154" fmla="*/ 9667968 w 12191986"/>
              <a:gd name="connsiteY4154" fmla="*/ 1092991 h 6661143"/>
              <a:gd name="connsiteX4155" fmla="*/ 9678616 w 12191986"/>
              <a:gd name="connsiteY4155" fmla="*/ 1068188 h 6661143"/>
              <a:gd name="connsiteX4156" fmla="*/ 9689264 w 12191986"/>
              <a:gd name="connsiteY4156" fmla="*/ 1043385 h 6661143"/>
              <a:gd name="connsiteX4157" fmla="*/ 9700976 w 12191986"/>
              <a:gd name="connsiteY4157" fmla="*/ 1019638 h 6661143"/>
              <a:gd name="connsiteX4158" fmla="*/ 9711624 w 12191986"/>
              <a:gd name="connsiteY4158" fmla="*/ 995363 h 6661143"/>
              <a:gd name="connsiteX4159" fmla="*/ 9728128 w 12191986"/>
              <a:gd name="connsiteY4159" fmla="*/ 1015416 h 6661143"/>
              <a:gd name="connsiteX4160" fmla="*/ 9745165 w 12191986"/>
              <a:gd name="connsiteY4160" fmla="*/ 1034414 h 6661143"/>
              <a:gd name="connsiteX4161" fmla="*/ 9762734 w 12191986"/>
              <a:gd name="connsiteY4161" fmla="*/ 1053939 h 6661143"/>
              <a:gd name="connsiteX4162" fmla="*/ 9779771 w 12191986"/>
              <a:gd name="connsiteY4162" fmla="*/ 1073993 h 6661143"/>
              <a:gd name="connsiteX4163" fmla="*/ 9788289 w 12191986"/>
              <a:gd name="connsiteY4163" fmla="*/ 1084548 h 6661143"/>
              <a:gd name="connsiteX4164" fmla="*/ 9795210 w 12191986"/>
              <a:gd name="connsiteY4164" fmla="*/ 1095102 h 6661143"/>
              <a:gd name="connsiteX4165" fmla="*/ 9802131 w 12191986"/>
              <a:gd name="connsiteY4165" fmla="*/ 1106712 h 6661143"/>
              <a:gd name="connsiteX4166" fmla="*/ 9807987 w 12191986"/>
              <a:gd name="connsiteY4166" fmla="*/ 1117794 h 6661143"/>
              <a:gd name="connsiteX4167" fmla="*/ 9813311 w 12191986"/>
              <a:gd name="connsiteY4167" fmla="*/ 1129932 h 6661143"/>
              <a:gd name="connsiteX4168" fmla="*/ 9817570 w 12191986"/>
              <a:gd name="connsiteY4168" fmla="*/ 1142069 h 6661143"/>
              <a:gd name="connsiteX4169" fmla="*/ 9820232 w 12191986"/>
              <a:gd name="connsiteY4169" fmla="*/ 1155790 h 6661143"/>
              <a:gd name="connsiteX4170" fmla="*/ 9822894 w 12191986"/>
              <a:gd name="connsiteY4170" fmla="*/ 1169511 h 6661143"/>
              <a:gd name="connsiteX4171" fmla="*/ 9823959 w 12191986"/>
              <a:gd name="connsiteY4171" fmla="*/ 1183759 h 6661143"/>
              <a:gd name="connsiteX4172" fmla="*/ 9825024 w 12191986"/>
              <a:gd name="connsiteY4172" fmla="*/ 1198535 h 6661143"/>
              <a:gd name="connsiteX4173" fmla="*/ 9825024 w 12191986"/>
              <a:gd name="connsiteY4173" fmla="*/ 1212256 h 6661143"/>
              <a:gd name="connsiteX4174" fmla="*/ 9823427 w 12191986"/>
              <a:gd name="connsiteY4174" fmla="*/ 1225977 h 6661143"/>
              <a:gd name="connsiteX4175" fmla="*/ 9821297 w 12191986"/>
              <a:gd name="connsiteY4175" fmla="*/ 1239698 h 6661143"/>
              <a:gd name="connsiteX4176" fmla="*/ 9818103 w 12191986"/>
              <a:gd name="connsiteY4176" fmla="*/ 1253419 h 6661143"/>
              <a:gd name="connsiteX4177" fmla="*/ 9814376 w 12191986"/>
              <a:gd name="connsiteY4177" fmla="*/ 1266084 h 6661143"/>
              <a:gd name="connsiteX4178" fmla="*/ 9809585 w 12191986"/>
              <a:gd name="connsiteY4178" fmla="*/ 1279277 h 6661143"/>
              <a:gd name="connsiteX4179" fmla="*/ 9805687 w 12191986"/>
              <a:gd name="connsiteY4179" fmla="*/ 1289241 h 6661143"/>
              <a:gd name="connsiteX4180" fmla="*/ 9816980 w 12191986"/>
              <a:gd name="connsiteY4180" fmla="*/ 1461032 h 6661143"/>
              <a:gd name="connsiteX4181" fmla="*/ 9825974 w 12191986"/>
              <a:gd name="connsiteY4181" fmla="*/ 1462619 h 6661143"/>
              <a:gd name="connsiteX4182" fmla="*/ 9837084 w 12191986"/>
              <a:gd name="connsiteY4182" fmla="*/ 1465265 h 6661143"/>
              <a:gd name="connsiteX4183" fmla="*/ 9851897 w 12191986"/>
              <a:gd name="connsiteY4183" fmla="*/ 1469498 h 6661143"/>
              <a:gd name="connsiteX4184" fmla="*/ 9868298 w 12191986"/>
              <a:gd name="connsiteY4184" fmla="*/ 1475848 h 6661143"/>
              <a:gd name="connsiteX4185" fmla="*/ 9886814 w 12191986"/>
              <a:gd name="connsiteY4185" fmla="*/ 1482727 h 6661143"/>
              <a:gd name="connsiteX4186" fmla="*/ 9907976 w 12191986"/>
              <a:gd name="connsiteY4186" fmla="*/ 1491723 h 6661143"/>
              <a:gd name="connsiteX4187" fmla="*/ 9930197 w 12191986"/>
              <a:gd name="connsiteY4187" fmla="*/ 1501777 h 6661143"/>
              <a:gd name="connsiteX4188" fmla="*/ 9954004 w 12191986"/>
              <a:gd name="connsiteY4188" fmla="*/ 1512361 h 6661143"/>
              <a:gd name="connsiteX4189" fmla="*/ 10005851 w 12191986"/>
              <a:gd name="connsiteY4189" fmla="*/ 1536702 h 6661143"/>
              <a:gd name="connsiteX4190" fmla="*/ 10061401 w 12191986"/>
              <a:gd name="connsiteY4190" fmla="*/ 1564219 h 6661143"/>
              <a:gd name="connsiteX4191" fmla="*/ 10119067 w 12191986"/>
              <a:gd name="connsiteY4191" fmla="*/ 1593852 h 6661143"/>
              <a:gd name="connsiteX4192" fmla="*/ 10177263 w 12191986"/>
              <a:gd name="connsiteY4192" fmla="*/ 1623485 h 6661143"/>
              <a:gd name="connsiteX4193" fmla="*/ 10234929 w 12191986"/>
              <a:gd name="connsiteY4193" fmla="*/ 1654176 h 6661143"/>
              <a:gd name="connsiteX4194" fmla="*/ 10289950 w 12191986"/>
              <a:gd name="connsiteY4194" fmla="*/ 1683281 h 6661143"/>
              <a:gd name="connsiteX4195" fmla="*/ 10340210 w 12191986"/>
              <a:gd name="connsiteY4195" fmla="*/ 1710797 h 6661143"/>
              <a:gd name="connsiteX4196" fmla="*/ 10385179 w 12191986"/>
              <a:gd name="connsiteY4196" fmla="*/ 1735668 h 6661143"/>
              <a:gd name="connsiteX4197" fmla="*/ 10423271 w 12191986"/>
              <a:gd name="connsiteY4197" fmla="*/ 1756305 h 6661143"/>
              <a:gd name="connsiteX4198" fmla="*/ 10451840 w 12191986"/>
              <a:gd name="connsiteY4198" fmla="*/ 1772180 h 6661143"/>
              <a:gd name="connsiteX4199" fmla="*/ 10470356 w 12191986"/>
              <a:gd name="connsiteY4199" fmla="*/ 1782234 h 6661143"/>
              <a:gd name="connsiteX4200" fmla="*/ 10476705 w 12191986"/>
              <a:gd name="connsiteY4200" fmla="*/ 1785938 h 6661143"/>
              <a:gd name="connsiteX4201" fmla="*/ 10467182 w 12191986"/>
              <a:gd name="connsiteY4201" fmla="*/ 1608668 h 6661143"/>
              <a:gd name="connsiteX4202" fmla="*/ 10362959 w 12191986"/>
              <a:gd name="connsiteY4202" fmla="*/ 1337735 h 6661143"/>
              <a:gd name="connsiteX4203" fmla="*/ 9927990 w 12191986"/>
              <a:gd name="connsiteY4203" fmla="*/ 932847 h 6661143"/>
              <a:gd name="connsiteX4204" fmla="*/ 9931386 w 12191986"/>
              <a:gd name="connsiteY4204" fmla="*/ 948296 h 6661143"/>
              <a:gd name="connsiteX4205" fmla="*/ 9910748 w 12191986"/>
              <a:gd name="connsiteY4205" fmla="*/ 953582 h 6661143"/>
              <a:gd name="connsiteX4206" fmla="*/ 9890640 w 12191986"/>
              <a:gd name="connsiteY4206" fmla="*/ 958866 h 6661143"/>
              <a:gd name="connsiteX4207" fmla="*/ 9869474 w 12191986"/>
              <a:gd name="connsiteY4207" fmla="*/ 963093 h 6661143"/>
              <a:gd name="connsiteX4208" fmla="*/ 9848836 w 12191986"/>
              <a:gd name="connsiteY4208" fmla="*/ 965735 h 6661143"/>
              <a:gd name="connsiteX4209" fmla="*/ 9827669 w 12191986"/>
              <a:gd name="connsiteY4209" fmla="*/ 968378 h 6661143"/>
              <a:gd name="connsiteX4210" fmla="*/ 9807032 w 12191986"/>
              <a:gd name="connsiteY4210" fmla="*/ 969964 h 6661143"/>
              <a:gd name="connsiteX4211" fmla="*/ 9785336 w 12191986"/>
              <a:gd name="connsiteY4211" fmla="*/ 969964 h 6661143"/>
              <a:gd name="connsiteX4212" fmla="*/ 9765228 w 12191986"/>
              <a:gd name="connsiteY4212" fmla="*/ 968378 h 6661143"/>
              <a:gd name="connsiteX4213" fmla="*/ 9744590 w 12191986"/>
              <a:gd name="connsiteY4213" fmla="*/ 965735 h 6661143"/>
              <a:gd name="connsiteX4214" fmla="*/ 9723953 w 12191986"/>
              <a:gd name="connsiteY4214" fmla="*/ 962037 h 6661143"/>
              <a:gd name="connsiteX4215" fmla="*/ 9703844 w 12191986"/>
              <a:gd name="connsiteY4215" fmla="*/ 956752 h 6661143"/>
              <a:gd name="connsiteX4216" fmla="*/ 9684265 w 12191986"/>
              <a:gd name="connsiteY4216" fmla="*/ 949881 h 6661143"/>
              <a:gd name="connsiteX4217" fmla="*/ 9674211 w 12191986"/>
              <a:gd name="connsiteY4217" fmla="*/ 946183 h 6661143"/>
              <a:gd name="connsiteX4218" fmla="*/ 9664686 w 12191986"/>
              <a:gd name="connsiteY4218" fmla="*/ 941427 h 6661143"/>
              <a:gd name="connsiteX4219" fmla="*/ 9655161 w 12191986"/>
              <a:gd name="connsiteY4219" fmla="*/ 937200 h 6661143"/>
              <a:gd name="connsiteX4220" fmla="*/ 9646165 w 12191986"/>
              <a:gd name="connsiteY4220" fmla="*/ 932443 h 6661143"/>
              <a:gd name="connsiteX4221" fmla="*/ 9637169 w 12191986"/>
              <a:gd name="connsiteY4221" fmla="*/ 926630 h 6661143"/>
              <a:gd name="connsiteX4222" fmla="*/ 9627644 w 12191986"/>
              <a:gd name="connsiteY4222" fmla="*/ 920289 h 6661143"/>
              <a:gd name="connsiteX4223" fmla="*/ 9618648 w 12191986"/>
              <a:gd name="connsiteY4223" fmla="*/ 913947 h 6661143"/>
              <a:gd name="connsiteX4224" fmla="*/ 9610182 w 12191986"/>
              <a:gd name="connsiteY4224" fmla="*/ 907077 h 6661143"/>
              <a:gd name="connsiteX4225" fmla="*/ 9595894 w 12191986"/>
              <a:gd name="connsiteY4225" fmla="*/ 892280 h 6661143"/>
              <a:gd name="connsiteX4226" fmla="*/ 9582665 w 12191986"/>
              <a:gd name="connsiteY4226" fmla="*/ 876956 h 6661143"/>
              <a:gd name="connsiteX4227" fmla="*/ 9570494 w 12191986"/>
              <a:gd name="connsiteY4227" fmla="*/ 860045 h 6661143"/>
              <a:gd name="connsiteX4228" fmla="*/ 9559382 w 12191986"/>
              <a:gd name="connsiteY4228" fmla="*/ 842606 h 6661143"/>
              <a:gd name="connsiteX4229" fmla="*/ 9549328 w 12191986"/>
              <a:gd name="connsiteY4229" fmla="*/ 824110 h 6661143"/>
              <a:gd name="connsiteX4230" fmla="*/ 9539274 w 12191986"/>
              <a:gd name="connsiteY4230" fmla="*/ 805086 h 6661143"/>
              <a:gd name="connsiteX4231" fmla="*/ 9530278 w 12191986"/>
              <a:gd name="connsiteY4231" fmla="*/ 785533 h 6661143"/>
              <a:gd name="connsiteX4232" fmla="*/ 9521811 w 12191986"/>
              <a:gd name="connsiteY4232" fmla="*/ 765980 h 6661143"/>
              <a:gd name="connsiteX4233" fmla="*/ 9514403 w 12191986"/>
              <a:gd name="connsiteY4233" fmla="*/ 745899 h 6661143"/>
              <a:gd name="connsiteX4234" fmla="*/ 9506465 w 12191986"/>
              <a:gd name="connsiteY4234" fmla="*/ 725290 h 6661143"/>
              <a:gd name="connsiteX4235" fmla="*/ 9499586 w 12191986"/>
              <a:gd name="connsiteY4235" fmla="*/ 704680 h 6661143"/>
              <a:gd name="connsiteX4236" fmla="*/ 9493236 w 12191986"/>
              <a:gd name="connsiteY4236" fmla="*/ 684071 h 6661143"/>
              <a:gd name="connsiteX4237" fmla="*/ 9480007 w 12191986"/>
              <a:gd name="connsiteY4237" fmla="*/ 642323 h 6661143"/>
              <a:gd name="connsiteX4238" fmla="*/ 9467836 w 12191986"/>
              <a:gd name="connsiteY4238" fmla="*/ 602161 h 6661143"/>
              <a:gd name="connsiteX4239" fmla="*/ 9486886 w 12191986"/>
              <a:gd name="connsiteY4239" fmla="*/ 596876 h 6661143"/>
              <a:gd name="connsiteX4240" fmla="*/ 9507524 w 12191986"/>
              <a:gd name="connsiteY4240" fmla="*/ 591592 h 6661143"/>
              <a:gd name="connsiteX4241" fmla="*/ 9527103 w 12191986"/>
              <a:gd name="connsiteY4241" fmla="*/ 587364 h 6661143"/>
              <a:gd name="connsiteX4242" fmla="*/ 9547740 w 12191986"/>
              <a:gd name="connsiteY4242" fmla="*/ 583665 h 6661143"/>
              <a:gd name="connsiteX4243" fmla="*/ 9567848 w 12191986"/>
              <a:gd name="connsiteY4243" fmla="*/ 581551 h 6661143"/>
              <a:gd name="connsiteX4244" fmla="*/ 9588486 w 12191986"/>
              <a:gd name="connsiteY4244" fmla="*/ 579438 h 6661143"/>
              <a:gd name="connsiteX4245" fmla="*/ 9608594 w 12191986"/>
              <a:gd name="connsiteY4245" fmla="*/ 579438 h 6661143"/>
              <a:gd name="connsiteX4246" fmla="*/ 9629232 w 12191986"/>
              <a:gd name="connsiteY4246" fmla="*/ 579438 h 6661143"/>
              <a:gd name="connsiteX4247" fmla="*/ 9649340 w 12191986"/>
              <a:gd name="connsiteY4247" fmla="*/ 581551 h 6661143"/>
              <a:gd name="connsiteX4248" fmla="*/ 9669978 w 12191986"/>
              <a:gd name="connsiteY4248" fmla="*/ 584722 h 6661143"/>
              <a:gd name="connsiteX4249" fmla="*/ 9679503 w 12191986"/>
              <a:gd name="connsiteY4249" fmla="*/ 586836 h 6661143"/>
              <a:gd name="connsiteX4250" fmla="*/ 9689557 w 12191986"/>
              <a:gd name="connsiteY4250" fmla="*/ 588950 h 6661143"/>
              <a:gd name="connsiteX4251" fmla="*/ 9698553 w 12191986"/>
              <a:gd name="connsiteY4251" fmla="*/ 592120 h 6661143"/>
              <a:gd name="connsiteX4252" fmla="*/ 9708607 w 12191986"/>
              <a:gd name="connsiteY4252" fmla="*/ 595819 h 6661143"/>
              <a:gd name="connsiteX4253" fmla="*/ 9718661 w 12191986"/>
              <a:gd name="connsiteY4253" fmla="*/ 599519 h 6661143"/>
              <a:gd name="connsiteX4254" fmla="*/ 9727657 w 12191986"/>
              <a:gd name="connsiteY4254" fmla="*/ 603746 h 6661143"/>
              <a:gd name="connsiteX4255" fmla="*/ 9737711 w 12191986"/>
              <a:gd name="connsiteY4255" fmla="*/ 607974 h 6661143"/>
              <a:gd name="connsiteX4256" fmla="*/ 9746707 w 12191986"/>
              <a:gd name="connsiteY4256" fmla="*/ 613258 h 6661143"/>
              <a:gd name="connsiteX4257" fmla="*/ 9755703 w 12191986"/>
              <a:gd name="connsiteY4257" fmla="*/ 618543 h 6661143"/>
              <a:gd name="connsiteX4258" fmla="*/ 9765228 w 12191986"/>
              <a:gd name="connsiteY4258" fmla="*/ 624884 h 6661143"/>
              <a:gd name="connsiteX4259" fmla="*/ 9774224 w 12191986"/>
              <a:gd name="connsiteY4259" fmla="*/ 631754 h 6661143"/>
              <a:gd name="connsiteX4260" fmla="*/ 9782690 w 12191986"/>
              <a:gd name="connsiteY4260" fmla="*/ 638624 h 6661143"/>
              <a:gd name="connsiteX4261" fmla="*/ 9791157 w 12191986"/>
              <a:gd name="connsiteY4261" fmla="*/ 645494 h 6661143"/>
              <a:gd name="connsiteX4262" fmla="*/ 9799094 w 12191986"/>
              <a:gd name="connsiteY4262" fmla="*/ 652364 h 6661143"/>
              <a:gd name="connsiteX4263" fmla="*/ 9807032 w 12191986"/>
              <a:gd name="connsiteY4263" fmla="*/ 659233 h 6661143"/>
              <a:gd name="connsiteX4264" fmla="*/ 9814440 w 12191986"/>
              <a:gd name="connsiteY4264" fmla="*/ 666632 h 6661143"/>
              <a:gd name="connsiteX4265" fmla="*/ 9821319 w 12191986"/>
              <a:gd name="connsiteY4265" fmla="*/ 675087 h 6661143"/>
              <a:gd name="connsiteX4266" fmla="*/ 9828198 w 12191986"/>
              <a:gd name="connsiteY4266" fmla="*/ 682485 h 6661143"/>
              <a:gd name="connsiteX4267" fmla="*/ 9835078 w 12191986"/>
              <a:gd name="connsiteY4267" fmla="*/ 690940 h 6661143"/>
              <a:gd name="connsiteX4268" fmla="*/ 9841428 w 12191986"/>
              <a:gd name="connsiteY4268" fmla="*/ 699396 h 6661143"/>
              <a:gd name="connsiteX4269" fmla="*/ 9852540 w 12191986"/>
              <a:gd name="connsiteY4269" fmla="*/ 717891 h 6661143"/>
              <a:gd name="connsiteX4270" fmla="*/ 9863124 w 12191986"/>
              <a:gd name="connsiteY4270" fmla="*/ 736916 h 6661143"/>
              <a:gd name="connsiteX4271" fmla="*/ 9873178 w 12191986"/>
              <a:gd name="connsiteY4271" fmla="*/ 755940 h 6661143"/>
              <a:gd name="connsiteX4272" fmla="*/ 9882174 w 12191986"/>
              <a:gd name="connsiteY4272" fmla="*/ 776549 h 6661143"/>
              <a:gd name="connsiteX4273" fmla="*/ 9890640 w 12191986"/>
              <a:gd name="connsiteY4273" fmla="*/ 797159 h 6661143"/>
              <a:gd name="connsiteX4274" fmla="*/ 9897519 w 12191986"/>
              <a:gd name="connsiteY4274" fmla="*/ 818297 h 6661143"/>
              <a:gd name="connsiteX4275" fmla="*/ 9904398 w 12191986"/>
              <a:gd name="connsiteY4275" fmla="*/ 839435 h 6661143"/>
              <a:gd name="connsiteX4276" fmla="*/ 9910748 w 12191986"/>
              <a:gd name="connsiteY4276" fmla="*/ 861631 h 6661143"/>
              <a:gd name="connsiteX4277" fmla="*/ 9921861 w 12191986"/>
              <a:gd name="connsiteY4277" fmla="*/ 904963 h 6661143"/>
              <a:gd name="connsiteX4278" fmla="*/ 9923032 w 12191986"/>
              <a:gd name="connsiteY4278" fmla="*/ 910288 h 6661143"/>
              <a:gd name="connsiteX4279" fmla="*/ 10064575 w 12191986"/>
              <a:gd name="connsiteY4279" fmla="*/ 1008592 h 6661143"/>
              <a:gd name="connsiteX4280" fmla="*/ 10123732 w 12191986"/>
              <a:gd name="connsiteY4280" fmla="*/ 913432 h 6661143"/>
              <a:gd name="connsiteX4281" fmla="*/ 10108866 w 12191986"/>
              <a:gd name="connsiteY4281" fmla="*/ 922356 h 6661143"/>
              <a:gd name="connsiteX4282" fmla="*/ 10094451 w 12191986"/>
              <a:gd name="connsiteY4282" fmla="*/ 930274 h 6661143"/>
              <a:gd name="connsiteX4283" fmla="*/ 10091247 w 12191986"/>
              <a:gd name="connsiteY4283" fmla="*/ 920772 h 6661143"/>
              <a:gd name="connsiteX4284" fmla="*/ 10089111 w 12191986"/>
              <a:gd name="connsiteY4284" fmla="*/ 911270 h 6661143"/>
              <a:gd name="connsiteX4285" fmla="*/ 10087510 w 12191986"/>
              <a:gd name="connsiteY4285" fmla="*/ 901768 h 6661143"/>
              <a:gd name="connsiteX4286" fmla="*/ 10086976 w 12191986"/>
              <a:gd name="connsiteY4286" fmla="*/ 892794 h 6661143"/>
              <a:gd name="connsiteX4287" fmla="*/ 10085374 w 12191986"/>
              <a:gd name="connsiteY4287" fmla="*/ 884349 h 6661143"/>
              <a:gd name="connsiteX4288" fmla="*/ 10085374 w 12191986"/>
              <a:gd name="connsiteY4288" fmla="*/ 875375 h 6661143"/>
              <a:gd name="connsiteX4289" fmla="*/ 10085374 w 12191986"/>
              <a:gd name="connsiteY4289" fmla="*/ 866929 h 6661143"/>
              <a:gd name="connsiteX4290" fmla="*/ 10085374 w 12191986"/>
              <a:gd name="connsiteY4290" fmla="*/ 858483 h 6661143"/>
              <a:gd name="connsiteX4291" fmla="*/ 10085908 w 12191986"/>
              <a:gd name="connsiteY4291" fmla="*/ 850037 h 6661143"/>
              <a:gd name="connsiteX4292" fmla="*/ 10087510 w 12191986"/>
              <a:gd name="connsiteY4292" fmla="*/ 842646 h 6661143"/>
              <a:gd name="connsiteX4293" fmla="*/ 10089111 w 12191986"/>
              <a:gd name="connsiteY4293" fmla="*/ 834200 h 6661143"/>
              <a:gd name="connsiteX4294" fmla="*/ 10090713 w 12191986"/>
              <a:gd name="connsiteY4294" fmla="*/ 826810 h 6661143"/>
              <a:gd name="connsiteX4295" fmla="*/ 10092849 w 12191986"/>
              <a:gd name="connsiteY4295" fmla="*/ 819948 h 6661143"/>
              <a:gd name="connsiteX4296" fmla="*/ 10096052 w 12191986"/>
              <a:gd name="connsiteY4296" fmla="*/ 812030 h 6661143"/>
              <a:gd name="connsiteX4297" fmla="*/ 10099256 w 12191986"/>
              <a:gd name="connsiteY4297" fmla="*/ 805167 h 6661143"/>
              <a:gd name="connsiteX4298" fmla="*/ 10102459 w 12191986"/>
              <a:gd name="connsiteY4298" fmla="*/ 798305 h 6661143"/>
              <a:gd name="connsiteX4299" fmla="*/ 10109934 w 12191986"/>
              <a:gd name="connsiteY4299" fmla="*/ 785108 h 6661143"/>
              <a:gd name="connsiteX4300" fmla="*/ 10119011 w 12191986"/>
              <a:gd name="connsiteY4300" fmla="*/ 772439 h 6661143"/>
              <a:gd name="connsiteX4301" fmla="*/ 10129155 w 12191986"/>
              <a:gd name="connsiteY4301" fmla="*/ 760298 h 6661143"/>
              <a:gd name="connsiteX4302" fmla="*/ 10140901 w 12191986"/>
              <a:gd name="connsiteY4302" fmla="*/ 749741 h 6661143"/>
              <a:gd name="connsiteX4303" fmla="*/ 10153181 w 12191986"/>
              <a:gd name="connsiteY4303" fmla="*/ 740239 h 6661143"/>
              <a:gd name="connsiteX4304" fmla="*/ 10166529 w 12191986"/>
              <a:gd name="connsiteY4304" fmla="*/ 730210 h 6661143"/>
              <a:gd name="connsiteX4305" fmla="*/ 10180411 w 12191986"/>
              <a:gd name="connsiteY4305" fmla="*/ 721764 h 6661143"/>
              <a:gd name="connsiteX4306" fmla="*/ 10195894 w 12191986"/>
              <a:gd name="connsiteY4306" fmla="*/ 714373 h 6661143"/>
              <a:gd name="connsiteX4307" fmla="*/ 10199098 w 12191986"/>
              <a:gd name="connsiteY4307" fmla="*/ 723347 h 6661143"/>
              <a:gd name="connsiteX4308" fmla="*/ 10200700 w 12191986"/>
              <a:gd name="connsiteY4308" fmla="*/ 732321 h 6661143"/>
              <a:gd name="connsiteX4309" fmla="*/ 10202301 w 12191986"/>
              <a:gd name="connsiteY4309" fmla="*/ 741295 h 6661143"/>
              <a:gd name="connsiteX4310" fmla="*/ 10203903 w 12191986"/>
              <a:gd name="connsiteY4310" fmla="*/ 750797 h 6661143"/>
              <a:gd name="connsiteX4311" fmla="*/ 10204437 w 12191986"/>
              <a:gd name="connsiteY4311" fmla="*/ 759243 h 6661143"/>
              <a:gd name="connsiteX4312" fmla="*/ 10204437 w 12191986"/>
              <a:gd name="connsiteY4312" fmla="*/ 767161 h 6661143"/>
              <a:gd name="connsiteX4313" fmla="*/ 10204437 w 12191986"/>
              <a:gd name="connsiteY4313" fmla="*/ 775607 h 6661143"/>
              <a:gd name="connsiteX4314" fmla="*/ 10203903 w 12191986"/>
              <a:gd name="connsiteY4314" fmla="*/ 784053 h 6661143"/>
              <a:gd name="connsiteX4315" fmla="*/ 10202835 w 12191986"/>
              <a:gd name="connsiteY4315" fmla="*/ 792499 h 6661143"/>
              <a:gd name="connsiteX4316" fmla="*/ 10202301 w 12191986"/>
              <a:gd name="connsiteY4316" fmla="*/ 799889 h 6661143"/>
              <a:gd name="connsiteX4317" fmla="*/ 10200700 w 12191986"/>
              <a:gd name="connsiteY4317" fmla="*/ 807807 h 6661143"/>
              <a:gd name="connsiteX4318" fmla="*/ 10198564 w 12191986"/>
              <a:gd name="connsiteY4318" fmla="*/ 815197 h 6661143"/>
              <a:gd name="connsiteX4319" fmla="*/ 10193759 w 12191986"/>
              <a:gd name="connsiteY4319" fmla="*/ 829977 h 6661143"/>
              <a:gd name="connsiteX4320" fmla="*/ 10186818 w 12191986"/>
              <a:gd name="connsiteY4320" fmla="*/ 844230 h 6661143"/>
              <a:gd name="connsiteX4321" fmla="*/ 10181394 w 12191986"/>
              <a:gd name="connsiteY4321" fmla="*/ 853423 h 6661143"/>
              <a:gd name="connsiteX4322" fmla="*/ 10183082 w 12191986"/>
              <a:gd name="connsiteY4322" fmla="*/ 854605 h 6661143"/>
              <a:gd name="connsiteX4323" fmla="*/ 10082563 w 12191986"/>
              <a:gd name="connsiteY4323" fmla="*/ 1038225 h 6661143"/>
              <a:gd name="connsiteX4324" fmla="*/ 10423800 w 12191986"/>
              <a:gd name="connsiteY4324" fmla="*/ 1308102 h 6661143"/>
              <a:gd name="connsiteX4325" fmla="*/ 10507919 w 12191986"/>
              <a:gd name="connsiteY4325" fmla="*/ 1539877 h 6661143"/>
              <a:gd name="connsiteX4326" fmla="*/ 10674040 w 12191986"/>
              <a:gd name="connsiteY4326" fmla="*/ 1313393 h 6661143"/>
              <a:gd name="connsiteX4327" fmla="*/ 10584631 w 12191986"/>
              <a:gd name="connsiteY4327" fmla="*/ 851959 h 6661143"/>
              <a:gd name="connsiteX4328" fmla="*/ 10448771 w 12191986"/>
              <a:gd name="connsiteY4328" fmla="*/ 616883 h 6661143"/>
              <a:gd name="connsiteX4329" fmla="*/ 10442032 w 12191986"/>
              <a:gd name="connsiteY4329" fmla="*/ 642938 h 6661143"/>
              <a:gd name="connsiteX4330" fmla="*/ 10402874 w 12191986"/>
              <a:gd name="connsiteY4330" fmla="*/ 621788 h 6661143"/>
              <a:gd name="connsiteX4331" fmla="*/ 10363186 w 12191986"/>
              <a:gd name="connsiteY4331" fmla="*/ 599582 h 6661143"/>
              <a:gd name="connsiteX4332" fmla="*/ 10343607 w 12191986"/>
              <a:gd name="connsiteY4332" fmla="*/ 587949 h 6661143"/>
              <a:gd name="connsiteX4333" fmla="*/ 10324557 w 12191986"/>
              <a:gd name="connsiteY4333" fmla="*/ 575789 h 6661143"/>
              <a:gd name="connsiteX4334" fmla="*/ 10306036 w 12191986"/>
              <a:gd name="connsiteY4334" fmla="*/ 563628 h 6661143"/>
              <a:gd name="connsiteX4335" fmla="*/ 10288045 w 12191986"/>
              <a:gd name="connsiteY4335" fmla="*/ 549881 h 6661143"/>
              <a:gd name="connsiteX4336" fmla="*/ 10269524 w 12191986"/>
              <a:gd name="connsiteY4336" fmla="*/ 536134 h 6661143"/>
              <a:gd name="connsiteX4337" fmla="*/ 10253119 w 12191986"/>
              <a:gd name="connsiteY4337" fmla="*/ 520801 h 6661143"/>
              <a:gd name="connsiteX4338" fmla="*/ 10236715 w 12191986"/>
              <a:gd name="connsiteY4338" fmla="*/ 504939 h 6661143"/>
              <a:gd name="connsiteX4339" fmla="*/ 10221899 w 12191986"/>
              <a:gd name="connsiteY4339" fmla="*/ 487490 h 6661143"/>
              <a:gd name="connsiteX4340" fmla="*/ 10215019 w 12191986"/>
              <a:gd name="connsiteY4340" fmla="*/ 478502 h 6661143"/>
              <a:gd name="connsiteX4341" fmla="*/ 10207082 w 12191986"/>
              <a:gd name="connsiteY4341" fmla="*/ 468985 h 6661143"/>
              <a:gd name="connsiteX4342" fmla="*/ 10201261 w 12191986"/>
              <a:gd name="connsiteY4342" fmla="*/ 459468 h 6661143"/>
              <a:gd name="connsiteX4343" fmla="*/ 10194382 w 12191986"/>
              <a:gd name="connsiteY4343" fmla="*/ 448893 h 6661143"/>
              <a:gd name="connsiteX4344" fmla="*/ 10189090 w 12191986"/>
              <a:gd name="connsiteY4344" fmla="*/ 438847 h 6661143"/>
              <a:gd name="connsiteX4345" fmla="*/ 10182740 w 12191986"/>
              <a:gd name="connsiteY4345" fmla="*/ 427215 h 6661143"/>
              <a:gd name="connsiteX4346" fmla="*/ 10177449 w 12191986"/>
              <a:gd name="connsiteY4346" fmla="*/ 416112 h 6661143"/>
              <a:gd name="connsiteX4347" fmla="*/ 10172686 w 12191986"/>
              <a:gd name="connsiteY4347" fmla="*/ 404480 h 6661143"/>
              <a:gd name="connsiteX4348" fmla="*/ 10167394 w 12191986"/>
              <a:gd name="connsiteY4348" fmla="*/ 392848 h 6661143"/>
              <a:gd name="connsiteX4349" fmla="*/ 10163690 w 12191986"/>
              <a:gd name="connsiteY4349" fmla="*/ 380687 h 6661143"/>
              <a:gd name="connsiteX4350" fmla="*/ 10159986 w 12191986"/>
              <a:gd name="connsiteY4350" fmla="*/ 368526 h 6661143"/>
              <a:gd name="connsiteX4351" fmla="*/ 10156282 w 12191986"/>
              <a:gd name="connsiteY4351" fmla="*/ 356365 h 6661143"/>
              <a:gd name="connsiteX4352" fmla="*/ 10153636 w 12191986"/>
              <a:gd name="connsiteY4352" fmla="*/ 344204 h 6661143"/>
              <a:gd name="connsiteX4353" fmla="*/ 10150990 w 12191986"/>
              <a:gd name="connsiteY4353" fmla="*/ 332043 h 6661143"/>
              <a:gd name="connsiteX4354" fmla="*/ 10149403 w 12191986"/>
              <a:gd name="connsiteY4354" fmla="*/ 319883 h 6661143"/>
              <a:gd name="connsiteX4355" fmla="*/ 10146757 w 12191986"/>
              <a:gd name="connsiteY4355" fmla="*/ 307193 h 6661143"/>
              <a:gd name="connsiteX4356" fmla="*/ 10145699 w 12191986"/>
              <a:gd name="connsiteY4356" fmla="*/ 282872 h 6661143"/>
              <a:gd name="connsiteX4357" fmla="*/ 10144111 w 12191986"/>
              <a:gd name="connsiteY4357" fmla="*/ 257492 h 6661143"/>
              <a:gd name="connsiteX4358" fmla="*/ 10144640 w 12191986"/>
              <a:gd name="connsiteY4358" fmla="*/ 232113 h 6661143"/>
              <a:gd name="connsiteX4359" fmla="*/ 10146228 w 12191986"/>
              <a:gd name="connsiteY4359" fmla="*/ 207263 h 6661143"/>
              <a:gd name="connsiteX4360" fmla="*/ 10149403 w 12191986"/>
              <a:gd name="connsiteY4360" fmla="*/ 181884 h 6661143"/>
              <a:gd name="connsiteX4361" fmla="*/ 10152578 w 12191986"/>
              <a:gd name="connsiteY4361" fmla="*/ 157033 h 6661143"/>
              <a:gd name="connsiteX4362" fmla="*/ 10156811 w 12191986"/>
              <a:gd name="connsiteY4362" fmla="*/ 131654 h 6661143"/>
              <a:gd name="connsiteX4363" fmla="*/ 10162103 w 12191986"/>
              <a:gd name="connsiteY4363" fmla="*/ 107333 h 6661143"/>
              <a:gd name="connsiteX4364" fmla="*/ 10167394 w 12191986"/>
              <a:gd name="connsiteY4364" fmla="*/ 83011 h 6661143"/>
              <a:gd name="connsiteX4365" fmla="*/ 10173744 w 12191986"/>
              <a:gd name="connsiteY4365" fmla="*/ 58689 h 6661143"/>
              <a:gd name="connsiteX4366" fmla="*/ 10179565 w 12191986"/>
              <a:gd name="connsiteY4366" fmla="*/ 34897 h 6661143"/>
              <a:gd name="connsiteX4367" fmla="*/ 10185915 w 12191986"/>
              <a:gd name="connsiteY4367" fmla="*/ 11632 h 6661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 ang="0">
                <a:pos x="connsiteX3346" y="connsiteY3346"/>
              </a:cxn>
              <a:cxn ang="0">
                <a:pos x="connsiteX3347" y="connsiteY3347"/>
              </a:cxn>
              <a:cxn ang="0">
                <a:pos x="connsiteX3348" y="connsiteY3348"/>
              </a:cxn>
              <a:cxn ang="0">
                <a:pos x="connsiteX3349" y="connsiteY3349"/>
              </a:cxn>
              <a:cxn ang="0">
                <a:pos x="connsiteX3350" y="connsiteY3350"/>
              </a:cxn>
              <a:cxn ang="0">
                <a:pos x="connsiteX3351" y="connsiteY3351"/>
              </a:cxn>
              <a:cxn ang="0">
                <a:pos x="connsiteX3352" y="connsiteY3352"/>
              </a:cxn>
              <a:cxn ang="0">
                <a:pos x="connsiteX3353" y="connsiteY3353"/>
              </a:cxn>
              <a:cxn ang="0">
                <a:pos x="connsiteX3354" y="connsiteY3354"/>
              </a:cxn>
              <a:cxn ang="0">
                <a:pos x="connsiteX3355" y="connsiteY3355"/>
              </a:cxn>
              <a:cxn ang="0">
                <a:pos x="connsiteX3356" y="connsiteY3356"/>
              </a:cxn>
              <a:cxn ang="0">
                <a:pos x="connsiteX3357" y="connsiteY3357"/>
              </a:cxn>
              <a:cxn ang="0">
                <a:pos x="connsiteX3358" y="connsiteY3358"/>
              </a:cxn>
              <a:cxn ang="0">
                <a:pos x="connsiteX3359" y="connsiteY3359"/>
              </a:cxn>
              <a:cxn ang="0">
                <a:pos x="connsiteX3360" y="connsiteY3360"/>
              </a:cxn>
              <a:cxn ang="0">
                <a:pos x="connsiteX3361" y="connsiteY3361"/>
              </a:cxn>
              <a:cxn ang="0">
                <a:pos x="connsiteX3362" y="connsiteY3362"/>
              </a:cxn>
              <a:cxn ang="0">
                <a:pos x="connsiteX3363" y="connsiteY3363"/>
              </a:cxn>
              <a:cxn ang="0">
                <a:pos x="connsiteX3364" y="connsiteY3364"/>
              </a:cxn>
              <a:cxn ang="0">
                <a:pos x="connsiteX3365" y="connsiteY3365"/>
              </a:cxn>
              <a:cxn ang="0">
                <a:pos x="connsiteX3366" y="connsiteY3366"/>
              </a:cxn>
              <a:cxn ang="0">
                <a:pos x="connsiteX3367" y="connsiteY3367"/>
              </a:cxn>
              <a:cxn ang="0">
                <a:pos x="connsiteX3368" y="connsiteY3368"/>
              </a:cxn>
              <a:cxn ang="0">
                <a:pos x="connsiteX3369" y="connsiteY3369"/>
              </a:cxn>
              <a:cxn ang="0">
                <a:pos x="connsiteX3370" y="connsiteY3370"/>
              </a:cxn>
              <a:cxn ang="0">
                <a:pos x="connsiteX3371" y="connsiteY3371"/>
              </a:cxn>
              <a:cxn ang="0">
                <a:pos x="connsiteX3372" y="connsiteY3372"/>
              </a:cxn>
              <a:cxn ang="0">
                <a:pos x="connsiteX3373" y="connsiteY3373"/>
              </a:cxn>
              <a:cxn ang="0">
                <a:pos x="connsiteX3374" y="connsiteY3374"/>
              </a:cxn>
              <a:cxn ang="0">
                <a:pos x="connsiteX3375" y="connsiteY3375"/>
              </a:cxn>
              <a:cxn ang="0">
                <a:pos x="connsiteX3376" y="connsiteY3376"/>
              </a:cxn>
              <a:cxn ang="0">
                <a:pos x="connsiteX3377" y="connsiteY3377"/>
              </a:cxn>
              <a:cxn ang="0">
                <a:pos x="connsiteX3378" y="connsiteY3378"/>
              </a:cxn>
              <a:cxn ang="0">
                <a:pos x="connsiteX3379" y="connsiteY3379"/>
              </a:cxn>
              <a:cxn ang="0">
                <a:pos x="connsiteX3380" y="connsiteY3380"/>
              </a:cxn>
              <a:cxn ang="0">
                <a:pos x="connsiteX3381" y="connsiteY3381"/>
              </a:cxn>
              <a:cxn ang="0">
                <a:pos x="connsiteX3382" y="connsiteY3382"/>
              </a:cxn>
              <a:cxn ang="0">
                <a:pos x="connsiteX3383" y="connsiteY3383"/>
              </a:cxn>
              <a:cxn ang="0">
                <a:pos x="connsiteX3384" y="connsiteY3384"/>
              </a:cxn>
              <a:cxn ang="0">
                <a:pos x="connsiteX3385" y="connsiteY3385"/>
              </a:cxn>
              <a:cxn ang="0">
                <a:pos x="connsiteX3386" y="connsiteY3386"/>
              </a:cxn>
              <a:cxn ang="0">
                <a:pos x="connsiteX3387" y="connsiteY3387"/>
              </a:cxn>
              <a:cxn ang="0">
                <a:pos x="connsiteX3388" y="connsiteY3388"/>
              </a:cxn>
              <a:cxn ang="0">
                <a:pos x="connsiteX3389" y="connsiteY3389"/>
              </a:cxn>
              <a:cxn ang="0">
                <a:pos x="connsiteX3390" y="connsiteY3390"/>
              </a:cxn>
              <a:cxn ang="0">
                <a:pos x="connsiteX3391" y="connsiteY3391"/>
              </a:cxn>
              <a:cxn ang="0">
                <a:pos x="connsiteX3392" y="connsiteY3392"/>
              </a:cxn>
              <a:cxn ang="0">
                <a:pos x="connsiteX3393" y="connsiteY3393"/>
              </a:cxn>
              <a:cxn ang="0">
                <a:pos x="connsiteX3394" y="connsiteY3394"/>
              </a:cxn>
              <a:cxn ang="0">
                <a:pos x="connsiteX3395" y="connsiteY3395"/>
              </a:cxn>
              <a:cxn ang="0">
                <a:pos x="connsiteX3396" y="connsiteY3396"/>
              </a:cxn>
              <a:cxn ang="0">
                <a:pos x="connsiteX3397" y="connsiteY3397"/>
              </a:cxn>
              <a:cxn ang="0">
                <a:pos x="connsiteX3398" y="connsiteY3398"/>
              </a:cxn>
              <a:cxn ang="0">
                <a:pos x="connsiteX3399" y="connsiteY3399"/>
              </a:cxn>
              <a:cxn ang="0">
                <a:pos x="connsiteX3400" y="connsiteY3400"/>
              </a:cxn>
              <a:cxn ang="0">
                <a:pos x="connsiteX3401" y="connsiteY3401"/>
              </a:cxn>
              <a:cxn ang="0">
                <a:pos x="connsiteX3402" y="connsiteY3402"/>
              </a:cxn>
              <a:cxn ang="0">
                <a:pos x="connsiteX3403" y="connsiteY3403"/>
              </a:cxn>
              <a:cxn ang="0">
                <a:pos x="connsiteX3404" y="connsiteY3404"/>
              </a:cxn>
              <a:cxn ang="0">
                <a:pos x="connsiteX3405" y="connsiteY3405"/>
              </a:cxn>
              <a:cxn ang="0">
                <a:pos x="connsiteX3406" y="connsiteY3406"/>
              </a:cxn>
              <a:cxn ang="0">
                <a:pos x="connsiteX3407" y="connsiteY3407"/>
              </a:cxn>
              <a:cxn ang="0">
                <a:pos x="connsiteX3408" y="connsiteY3408"/>
              </a:cxn>
              <a:cxn ang="0">
                <a:pos x="connsiteX3409" y="connsiteY3409"/>
              </a:cxn>
              <a:cxn ang="0">
                <a:pos x="connsiteX3410" y="connsiteY3410"/>
              </a:cxn>
              <a:cxn ang="0">
                <a:pos x="connsiteX3411" y="connsiteY3411"/>
              </a:cxn>
              <a:cxn ang="0">
                <a:pos x="connsiteX3412" y="connsiteY3412"/>
              </a:cxn>
              <a:cxn ang="0">
                <a:pos x="connsiteX3413" y="connsiteY3413"/>
              </a:cxn>
              <a:cxn ang="0">
                <a:pos x="connsiteX3414" y="connsiteY3414"/>
              </a:cxn>
              <a:cxn ang="0">
                <a:pos x="connsiteX3415" y="connsiteY3415"/>
              </a:cxn>
              <a:cxn ang="0">
                <a:pos x="connsiteX3416" y="connsiteY3416"/>
              </a:cxn>
              <a:cxn ang="0">
                <a:pos x="connsiteX3417" y="connsiteY3417"/>
              </a:cxn>
              <a:cxn ang="0">
                <a:pos x="connsiteX3418" y="connsiteY3418"/>
              </a:cxn>
              <a:cxn ang="0">
                <a:pos x="connsiteX3419" y="connsiteY3419"/>
              </a:cxn>
              <a:cxn ang="0">
                <a:pos x="connsiteX3420" y="connsiteY3420"/>
              </a:cxn>
              <a:cxn ang="0">
                <a:pos x="connsiteX3421" y="connsiteY3421"/>
              </a:cxn>
              <a:cxn ang="0">
                <a:pos x="connsiteX3422" y="connsiteY3422"/>
              </a:cxn>
              <a:cxn ang="0">
                <a:pos x="connsiteX3423" y="connsiteY3423"/>
              </a:cxn>
              <a:cxn ang="0">
                <a:pos x="connsiteX3424" y="connsiteY3424"/>
              </a:cxn>
              <a:cxn ang="0">
                <a:pos x="connsiteX3425" y="connsiteY3425"/>
              </a:cxn>
              <a:cxn ang="0">
                <a:pos x="connsiteX3426" y="connsiteY3426"/>
              </a:cxn>
              <a:cxn ang="0">
                <a:pos x="connsiteX3427" y="connsiteY3427"/>
              </a:cxn>
              <a:cxn ang="0">
                <a:pos x="connsiteX3428" y="connsiteY3428"/>
              </a:cxn>
              <a:cxn ang="0">
                <a:pos x="connsiteX3429" y="connsiteY3429"/>
              </a:cxn>
              <a:cxn ang="0">
                <a:pos x="connsiteX3430" y="connsiteY3430"/>
              </a:cxn>
              <a:cxn ang="0">
                <a:pos x="connsiteX3431" y="connsiteY3431"/>
              </a:cxn>
              <a:cxn ang="0">
                <a:pos x="connsiteX3432" y="connsiteY3432"/>
              </a:cxn>
              <a:cxn ang="0">
                <a:pos x="connsiteX3433" y="connsiteY3433"/>
              </a:cxn>
              <a:cxn ang="0">
                <a:pos x="connsiteX3434" y="connsiteY3434"/>
              </a:cxn>
              <a:cxn ang="0">
                <a:pos x="connsiteX3435" y="connsiteY3435"/>
              </a:cxn>
              <a:cxn ang="0">
                <a:pos x="connsiteX3436" y="connsiteY3436"/>
              </a:cxn>
              <a:cxn ang="0">
                <a:pos x="connsiteX3437" y="connsiteY3437"/>
              </a:cxn>
              <a:cxn ang="0">
                <a:pos x="connsiteX3438" y="connsiteY3438"/>
              </a:cxn>
              <a:cxn ang="0">
                <a:pos x="connsiteX3439" y="connsiteY3439"/>
              </a:cxn>
              <a:cxn ang="0">
                <a:pos x="connsiteX3440" y="connsiteY3440"/>
              </a:cxn>
              <a:cxn ang="0">
                <a:pos x="connsiteX3441" y="connsiteY3441"/>
              </a:cxn>
              <a:cxn ang="0">
                <a:pos x="connsiteX3442" y="connsiteY3442"/>
              </a:cxn>
              <a:cxn ang="0">
                <a:pos x="connsiteX3443" y="connsiteY3443"/>
              </a:cxn>
              <a:cxn ang="0">
                <a:pos x="connsiteX3444" y="connsiteY3444"/>
              </a:cxn>
              <a:cxn ang="0">
                <a:pos x="connsiteX3445" y="connsiteY3445"/>
              </a:cxn>
              <a:cxn ang="0">
                <a:pos x="connsiteX3446" y="connsiteY3446"/>
              </a:cxn>
              <a:cxn ang="0">
                <a:pos x="connsiteX3447" y="connsiteY3447"/>
              </a:cxn>
              <a:cxn ang="0">
                <a:pos x="connsiteX3448" y="connsiteY3448"/>
              </a:cxn>
              <a:cxn ang="0">
                <a:pos x="connsiteX3449" y="connsiteY3449"/>
              </a:cxn>
              <a:cxn ang="0">
                <a:pos x="connsiteX3450" y="connsiteY3450"/>
              </a:cxn>
              <a:cxn ang="0">
                <a:pos x="connsiteX3451" y="connsiteY3451"/>
              </a:cxn>
              <a:cxn ang="0">
                <a:pos x="connsiteX3452" y="connsiteY3452"/>
              </a:cxn>
              <a:cxn ang="0">
                <a:pos x="connsiteX3453" y="connsiteY3453"/>
              </a:cxn>
              <a:cxn ang="0">
                <a:pos x="connsiteX3454" y="connsiteY3454"/>
              </a:cxn>
              <a:cxn ang="0">
                <a:pos x="connsiteX3455" y="connsiteY3455"/>
              </a:cxn>
              <a:cxn ang="0">
                <a:pos x="connsiteX3456" y="connsiteY3456"/>
              </a:cxn>
              <a:cxn ang="0">
                <a:pos x="connsiteX3457" y="connsiteY3457"/>
              </a:cxn>
              <a:cxn ang="0">
                <a:pos x="connsiteX3458" y="connsiteY3458"/>
              </a:cxn>
              <a:cxn ang="0">
                <a:pos x="connsiteX3459" y="connsiteY3459"/>
              </a:cxn>
              <a:cxn ang="0">
                <a:pos x="connsiteX3460" y="connsiteY3460"/>
              </a:cxn>
              <a:cxn ang="0">
                <a:pos x="connsiteX3461" y="connsiteY3461"/>
              </a:cxn>
              <a:cxn ang="0">
                <a:pos x="connsiteX3462" y="connsiteY3462"/>
              </a:cxn>
              <a:cxn ang="0">
                <a:pos x="connsiteX3463" y="connsiteY3463"/>
              </a:cxn>
              <a:cxn ang="0">
                <a:pos x="connsiteX3464" y="connsiteY3464"/>
              </a:cxn>
              <a:cxn ang="0">
                <a:pos x="connsiteX3465" y="connsiteY3465"/>
              </a:cxn>
              <a:cxn ang="0">
                <a:pos x="connsiteX3466" y="connsiteY3466"/>
              </a:cxn>
              <a:cxn ang="0">
                <a:pos x="connsiteX3467" y="connsiteY3467"/>
              </a:cxn>
              <a:cxn ang="0">
                <a:pos x="connsiteX3468" y="connsiteY3468"/>
              </a:cxn>
              <a:cxn ang="0">
                <a:pos x="connsiteX3469" y="connsiteY3469"/>
              </a:cxn>
              <a:cxn ang="0">
                <a:pos x="connsiteX3470" y="connsiteY3470"/>
              </a:cxn>
              <a:cxn ang="0">
                <a:pos x="connsiteX3471" y="connsiteY3471"/>
              </a:cxn>
              <a:cxn ang="0">
                <a:pos x="connsiteX3472" y="connsiteY3472"/>
              </a:cxn>
              <a:cxn ang="0">
                <a:pos x="connsiteX3473" y="connsiteY3473"/>
              </a:cxn>
              <a:cxn ang="0">
                <a:pos x="connsiteX3474" y="connsiteY3474"/>
              </a:cxn>
              <a:cxn ang="0">
                <a:pos x="connsiteX3475" y="connsiteY3475"/>
              </a:cxn>
              <a:cxn ang="0">
                <a:pos x="connsiteX3476" y="connsiteY3476"/>
              </a:cxn>
              <a:cxn ang="0">
                <a:pos x="connsiteX3477" y="connsiteY3477"/>
              </a:cxn>
              <a:cxn ang="0">
                <a:pos x="connsiteX3478" y="connsiteY3478"/>
              </a:cxn>
              <a:cxn ang="0">
                <a:pos x="connsiteX3479" y="connsiteY3479"/>
              </a:cxn>
              <a:cxn ang="0">
                <a:pos x="connsiteX3480" y="connsiteY3480"/>
              </a:cxn>
              <a:cxn ang="0">
                <a:pos x="connsiteX3481" y="connsiteY3481"/>
              </a:cxn>
              <a:cxn ang="0">
                <a:pos x="connsiteX3482" y="connsiteY3482"/>
              </a:cxn>
              <a:cxn ang="0">
                <a:pos x="connsiteX3483" y="connsiteY3483"/>
              </a:cxn>
              <a:cxn ang="0">
                <a:pos x="connsiteX3484" y="connsiteY3484"/>
              </a:cxn>
              <a:cxn ang="0">
                <a:pos x="connsiteX3485" y="connsiteY3485"/>
              </a:cxn>
              <a:cxn ang="0">
                <a:pos x="connsiteX3486" y="connsiteY3486"/>
              </a:cxn>
              <a:cxn ang="0">
                <a:pos x="connsiteX3487" y="connsiteY3487"/>
              </a:cxn>
              <a:cxn ang="0">
                <a:pos x="connsiteX3488" y="connsiteY3488"/>
              </a:cxn>
              <a:cxn ang="0">
                <a:pos x="connsiteX3489" y="connsiteY3489"/>
              </a:cxn>
              <a:cxn ang="0">
                <a:pos x="connsiteX3490" y="connsiteY3490"/>
              </a:cxn>
              <a:cxn ang="0">
                <a:pos x="connsiteX3491" y="connsiteY3491"/>
              </a:cxn>
              <a:cxn ang="0">
                <a:pos x="connsiteX3492" y="connsiteY3492"/>
              </a:cxn>
              <a:cxn ang="0">
                <a:pos x="connsiteX3493" y="connsiteY3493"/>
              </a:cxn>
              <a:cxn ang="0">
                <a:pos x="connsiteX3494" y="connsiteY3494"/>
              </a:cxn>
              <a:cxn ang="0">
                <a:pos x="connsiteX3495" y="connsiteY3495"/>
              </a:cxn>
              <a:cxn ang="0">
                <a:pos x="connsiteX3496" y="connsiteY3496"/>
              </a:cxn>
              <a:cxn ang="0">
                <a:pos x="connsiteX3497" y="connsiteY3497"/>
              </a:cxn>
              <a:cxn ang="0">
                <a:pos x="connsiteX3498" y="connsiteY3498"/>
              </a:cxn>
              <a:cxn ang="0">
                <a:pos x="connsiteX3499" y="connsiteY3499"/>
              </a:cxn>
              <a:cxn ang="0">
                <a:pos x="connsiteX3500" y="connsiteY3500"/>
              </a:cxn>
              <a:cxn ang="0">
                <a:pos x="connsiteX3501" y="connsiteY3501"/>
              </a:cxn>
              <a:cxn ang="0">
                <a:pos x="connsiteX3502" y="connsiteY3502"/>
              </a:cxn>
              <a:cxn ang="0">
                <a:pos x="connsiteX3503" y="connsiteY3503"/>
              </a:cxn>
              <a:cxn ang="0">
                <a:pos x="connsiteX3504" y="connsiteY3504"/>
              </a:cxn>
              <a:cxn ang="0">
                <a:pos x="connsiteX3505" y="connsiteY3505"/>
              </a:cxn>
              <a:cxn ang="0">
                <a:pos x="connsiteX3506" y="connsiteY3506"/>
              </a:cxn>
              <a:cxn ang="0">
                <a:pos x="connsiteX3507" y="connsiteY3507"/>
              </a:cxn>
              <a:cxn ang="0">
                <a:pos x="connsiteX3508" y="connsiteY3508"/>
              </a:cxn>
              <a:cxn ang="0">
                <a:pos x="connsiteX3509" y="connsiteY3509"/>
              </a:cxn>
              <a:cxn ang="0">
                <a:pos x="connsiteX3510" y="connsiteY3510"/>
              </a:cxn>
              <a:cxn ang="0">
                <a:pos x="connsiteX3511" y="connsiteY3511"/>
              </a:cxn>
              <a:cxn ang="0">
                <a:pos x="connsiteX3512" y="connsiteY3512"/>
              </a:cxn>
              <a:cxn ang="0">
                <a:pos x="connsiteX3513" y="connsiteY3513"/>
              </a:cxn>
              <a:cxn ang="0">
                <a:pos x="connsiteX3514" y="connsiteY3514"/>
              </a:cxn>
              <a:cxn ang="0">
                <a:pos x="connsiteX3515" y="connsiteY3515"/>
              </a:cxn>
              <a:cxn ang="0">
                <a:pos x="connsiteX3516" y="connsiteY3516"/>
              </a:cxn>
              <a:cxn ang="0">
                <a:pos x="connsiteX3517" y="connsiteY3517"/>
              </a:cxn>
              <a:cxn ang="0">
                <a:pos x="connsiteX3518" y="connsiteY3518"/>
              </a:cxn>
              <a:cxn ang="0">
                <a:pos x="connsiteX3519" y="connsiteY3519"/>
              </a:cxn>
              <a:cxn ang="0">
                <a:pos x="connsiteX3520" y="connsiteY3520"/>
              </a:cxn>
              <a:cxn ang="0">
                <a:pos x="connsiteX3521" y="connsiteY3521"/>
              </a:cxn>
              <a:cxn ang="0">
                <a:pos x="connsiteX3522" y="connsiteY3522"/>
              </a:cxn>
              <a:cxn ang="0">
                <a:pos x="connsiteX3523" y="connsiteY3523"/>
              </a:cxn>
              <a:cxn ang="0">
                <a:pos x="connsiteX3524" y="connsiteY3524"/>
              </a:cxn>
              <a:cxn ang="0">
                <a:pos x="connsiteX3525" y="connsiteY3525"/>
              </a:cxn>
              <a:cxn ang="0">
                <a:pos x="connsiteX3526" y="connsiteY3526"/>
              </a:cxn>
              <a:cxn ang="0">
                <a:pos x="connsiteX3527" y="connsiteY3527"/>
              </a:cxn>
              <a:cxn ang="0">
                <a:pos x="connsiteX3528" y="connsiteY3528"/>
              </a:cxn>
              <a:cxn ang="0">
                <a:pos x="connsiteX3529" y="connsiteY3529"/>
              </a:cxn>
              <a:cxn ang="0">
                <a:pos x="connsiteX3530" y="connsiteY3530"/>
              </a:cxn>
              <a:cxn ang="0">
                <a:pos x="connsiteX3531" y="connsiteY3531"/>
              </a:cxn>
              <a:cxn ang="0">
                <a:pos x="connsiteX3532" y="connsiteY3532"/>
              </a:cxn>
              <a:cxn ang="0">
                <a:pos x="connsiteX3533" y="connsiteY3533"/>
              </a:cxn>
              <a:cxn ang="0">
                <a:pos x="connsiteX3534" y="connsiteY3534"/>
              </a:cxn>
              <a:cxn ang="0">
                <a:pos x="connsiteX3535" y="connsiteY3535"/>
              </a:cxn>
              <a:cxn ang="0">
                <a:pos x="connsiteX3536" y="connsiteY3536"/>
              </a:cxn>
              <a:cxn ang="0">
                <a:pos x="connsiteX3537" y="connsiteY3537"/>
              </a:cxn>
              <a:cxn ang="0">
                <a:pos x="connsiteX3538" y="connsiteY3538"/>
              </a:cxn>
              <a:cxn ang="0">
                <a:pos x="connsiteX3539" y="connsiteY3539"/>
              </a:cxn>
              <a:cxn ang="0">
                <a:pos x="connsiteX3540" y="connsiteY3540"/>
              </a:cxn>
              <a:cxn ang="0">
                <a:pos x="connsiteX3541" y="connsiteY3541"/>
              </a:cxn>
              <a:cxn ang="0">
                <a:pos x="connsiteX3542" y="connsiteY3542"/>
              </a:cxn>
              <a:cxn ang="0">
                <a:pos x="connsiteX3543" y="connsiteY3543"/>
              </a:cxn>
              <a:cxn ang="0">
                <a:pos x="connsiteX3544" y="connsiteY3544"/>
              </a:cxn>
              <a:cxn ang="0">
                <a:pos x="connsiteX3545" y="connsiteY3545"/>
              </a:cxn>
              <a:cxn ang="0">
                <a:pos x="connsiteX3546" y="connsiteY3546"/>
              </a:cxn>
              <a:cxn ang="0">
                <a:pos x="connsiteX3547" y="connsiteY3547"/>
              </a:cxn>
              <a:cxn ang="0">
                <a:pos x="connsiteX3548" y="connsiteY3548"/>
              </a:cxn>
              <a:cxn ang="0">
                <a:pos x="connsiteX3549" y="connsiteY3549"/>
              </a:cxn>
              <a:cxn ang="0">
                <a:pos x="connsiteX3550" y="connsiteY3550"/>
              </a:cxn>
              <a:cxn ang="0">
                <a:pos x="connsiteX3551" y="connsiteY3551"/>
              </a:cxn>
              <a:cxn ang="0">
                <a:pos x="connsiteX3552" y="connsiteY3552"/>
              </a:cxn>
              <a:cxn ang="0">
                <a:pos x="connsiteX3553" y="connsiteY3553"/>
              </a:cxn>
              <a:cxn ang="0">
                <a:pos x="connsiteX3554" y="connsiteY3554"/>
              </a:cxn>
              <a:cxn ang="0">
                <a:pos x="connsiteX3555" y="connsiteY3555"/>
              </a:cxn>
              <a:cxn ang="0">
                <a:pos x="connsiteX3556" y="connsiteY3556"/>
              </a:cxn>
              <a:cxn ang="0">
                <a:pos x="connsiteX3557" y="connsiteY3557"/>
              </a:cxn>
              <a:cxn ang="0">
                <a:pos x="connsiteX3558" y="connsiteY3558"/>
              </a:cxn>
              <a:cxn ang="0">
                <a:pos x="connsiteX3559" y="connsiteY3559"/>
              </a:cxn>
              <a:cxn ang="0">
                <a:pos x="connsiteX3560" y="connsiteY3560"/>
              </a:cxn>
              <a:cxn ang="0">
                <a:pos x="connsiteX3561" y="connsiteY3561"/>
              </a:cxn>
              <a:cxn ang="0">
                <a:pos x="connsiteX3562" y="connsiteY3562"/>
              </a:cxn>
              <a:cxn ang="0">
                <a:pos x="connsiteX3563" y="connsiteY3563"/>
              </a:cxn>
              <a:cxn ang="0">
                <a:pos x="connsiteX3564" y="connsiteY3564"/>
              </a:cxn>
              <a:cxn ang="0">
                <a:pos x="connsiteX3565" y="connsiteY3565"/>
              </a:cxn>
              <a:cxn ang="0">
                <a:pos x="connsiteX3566" y="connsiteY3566"/>
              </a:cxn>
              <a:cxn ang="0">
                <a:pos x="connsiteX3567" y="connsiteY3567"/>
              </a:cxn>
              <a:cxn ang="0">
                <a:pos x="connsiteX3568" y="connsiteY3568"/>
              </a:cxn>
              <a:cxn ang="0">
                <a:pos x="connsiteX3569" y="connsiteY3569"/>
              </a:cxn>
              <a:cxn ang="0">
                <a:pos x="connsiteX3570" y="connsiteY3570"/>
              </a:cxn>
              <a:cxn ang="0">
                <a:pos x="connsiteX3571" y="connsiteY3571"/>
              </a:cxn>
              <a:cxn ang="0">
                <a:pos x="connsiteX3572" y="connsiteY3572"/>
              </a:cxn>
              <a:cxn ang="0">
                <a:pos x="connsiteX3573" y="connsiteY3573"/>
              </a:cxn>
              <a:cxn ang="0">
                <a:pos x="connsiteX3574" y="connsiteY3574"/>
              </a:cxn>
              <a:cxn ang="0">
                <a:pos x="connsiteX3575" y="connsiteY3575"/>
              </a:cxn>
              <a:cxn ang="0">
                <a:pos x="connsiteX3576" y="connsiteY3576"/>
              </a:cxn>
              <a:cxn ang="0">
                <a:pos x="connsiteX3577" y="connsiteY3577"/>
              </a:cxn>
              <a:cxn ang="0">
                <a:pos x="connsiteX3578" y="connsiteY3578"/>
              </a:cxn>
              <a:cxn ang="0">
                <a:pos x="connsiteX3579" y="connsiteY3579"/>
              </a:cxn>
              <a:cxn ang="0">
                <a:pos x="connsiteX3580" y="connsiteY3580"/>
              </a:cxn>
              <a:cxn ang="0">
                <a:pos x="connsiteX3581" y="connsiteY3581"/>
              </a:cxn>
              <a:cxn ang="0">
                <a:pos x="connsiteX3582" y="connsiteY3582"/>
              </a:cxn>
              <a:cxn ang="0">
                <a:pos x="connsiteX3583" y="connsiteY3583"/>
              </a:cxn>
              <a:cxn ang="0">
                <a:pos x="connsiteX3584" y="connsiteY3584"/>
              </a:cxn>
              <a:cxn ang="0">
                <a:pos x="connsiteX3585" y="connsiteY3585"/>
              </a:cxn>
              <a:cxn ang="0">
                <a:pos x="connsiteX3586" y="connsiteY3586"/>
              </a:cxn>
              <a:cxn ang="0">
                <a:pos x="connsiteX3587" y="connsiteY3587"/>
              </a:cxn>
              <a:cxn ang="0">
                <a:pos x="connsiteX3588" y="connsiteY3588"/>
              </a:cxn>
              <a:cxn ang="0">
                <a:pos x="connsiteX3589" y="connsiteY3589"/>
              </a:cxn>
              <a:cxn ang="0">
                <a:pos x="connsiteX3590" y="connsiteY3590"/>
              </a:cxn>
              <a:cxn ang="0">
                <a:pos x="connsiteX3591" y="connsiteY3591"/>
              </a:cxn>
              <a:cxn ang="0">
                <a:pos x="connsiteX3592" y="connsiteY3592"/>
              </a:cxn>
              <a:cxn ang="0">
                <a:pos x="connsiteX3593" y="connsiteY3593"/>
              </a:cxn>
              <a:cxn ang="0">
                <a:pos x="connsiteX3594" y="connsiteY3594"/>
              </a:cxn>
              <a:cxn ang="0">
                <a:pos x="connsiteX3595" y="connsiteY3595"/>
              </a:cxn>
              <a:cxn ang="0">
                <a:pos x="connsiteX3596" y="connsiteY3596"/>
              </a:cxn>
              <a:cxn ang="0">
                <a:pos x="connsiteX3597" y="connsiteY3597"/>
              </a:cxn>
              <a:cxn ang="0">
                <a:pos x="connsiteX3598" y="connsiteY3598"/>
              </a:cxn>
              <a:cxn ang="0">
                <a:pos x="connsiteX3599" y="connsiteY3599"/>
              </a:cxn>
              <a:cxn ang="0">
                <a:pos x="connsiteX3600" y="connsiteY3600"/>
              </a:cxn>
              <a:cxn ang="0">
                <a:pos x="connsiteX3601" y="connsiteY3601"/>
              </a:cxn>
              <a:cxn ang="0">
                <a:pos x="connsiteX3602" y="connsiteY3602"/>
              </a:cxn>
              <a:cxn ang="0">
                <a:pos x="connsiteX3603" y="connsiteY3603"/>
              </a:cxn>
              <a:cxn ang="0">
                <a:pos x="connsiteX3604" y="connsiteY3604"/>
              </a:cxn>
              <a:cxn ang="0">
                <a:pos x="connsiteX3605" y="connsiteY3605"/>
              </a:cxn>
              <a:cxn ang="0">
                <a:pos x="connsiteX3606" y="connsiteY3606"/>
              </a:cxn>
              <a:cxn ang="0">
                <a:pos x="connsiteX3607" y="connsiteY3607"/>
              </a:cxn>
              <a:cxn ang="0">
                <a:pos x="connsiteX3608" y="connsiteY3608"/>
              </a:cxn>
              <a:cxn ang="0">
                <a:pos x="connsiteX3609" y="connsiteY3609"/>
              </a:cxn>
              <a:cxn ang="0">
                <a:pos x="connsiteX3610" y="connsiteY3610"/>
              </a:cxn>
              <a:cxn ang="0">
                <a:pos x="connsiteX3611" y="connsiteY3611"/>
              </a:cxn>
              <a:cxn ang="0">
                <a:pos x="connsiteX3612" y="connsiteY3612"/>
              </a:cxn>
              <a:cxn ang="0">
                <a:pos x="connsiteX3613" y="connsiteY3613"/>
              </a:cxn>
              <a:cxn ang="0">
                <a:pos x="connsiteX3614" y="connsiteY3614"/>
              </a:cxn>
              <a:cxn ang="0">
                <a:pos x="connsiteX3615" y="connsiteY3615"/>
              </a:cxn>
              <a:cxn ang="0">
                <a:pos x="connsiteX3616" y="connsiteY3616"/>
              </a:cxn>
              <a:cxn ang="0">
                <a:pos x="connsiteX3617" y="connsiteY3617"/>
              </a:cxn>
              <a:cxn ang="0">
                <a:pos x="connsiteX3618" y="connsiteY3618"/>
              </a:cxn>
              <a:cxn ang="0">
                <a:pos x="connsiteX3619" y="connsiteY3619"/>
              </a:cxn>
              <a:cxn ang="0">
                <a:pos x="connsiteX3620" y="connsiteY3620"/>
              </a:cxn>
              <a:cxn ang="0">
                <a:pos x="connsiteX3621" y="connsiteY3621"/>
              </a:cxn>
              <a:cxn ang="0">
                <a:pos x="connsiteX3622" y="connsiteY3622"/>
              </a:cxn>
              <a:cxn ang="0">
                <a:pos x="connsiteX3623" y="connsiteY3623"/>
              </a:cxn>
              <a:cxn ang="0">
                <a:pos x="connsiteX3624" y="connsiteY3624"/>
              </a:cxn>
              <a:cxn ang="0">
                <a:pos x="connsiteX3625" y="connsiteY3625"/>
              </a:cxn>
              <a:cxn ang="0">
                <a:pos x="connsiteX3626" y="connsiteY3626"/>
              </a:cxn>
              <a:cxn ang="0">
                <a:pos x="connsiteX3627" y="connsiteY3627"/>
              </a:cxn>
              <a:cxn ang="0">
                <a:pos x="connsiteX3628" y="connsiteY3628"/>
              </a:cxn>
              <a:cxn ang="0">
                <a:pos x="connsiteX3629" y="connsiteY3629"/>
              </a:cxn>
              <a:cxn ang="0">
                <a:pos x="connsiteX3630" y="connsiteY3630"/>
              </a:cxn>
              <a:cxn ang="0">
                <a:pos x="connsiteX3631" y="connsiteY3631"/>
              </a:cxn>
              <a:cxn ang="0">
                <a:pos x="connsiteX3632" y="connsiteY3632"/>
              </a:cxn>
              <a:cxn ang="0">
                <a:pos x="connsiteX3633" y="connsiteY3633"/>
              </a:cxn>
              <a:cxn ang="0">
                <a:pos x="connsiteX3634" y="connsiteY3634"/>
              </a:cxn>
              <a:cxn ang="0">
                <a:pos x="connsiteX3635" y="connsiteY3635"/>
              </a:cxn>
              <a:cxn ang="0">
                <a:pos x="connsiteX3636" y="connsiteY3636"/>
              </a:cxn>
              <a:cxn ang="0">
                <a:pos x="connsiteX3637" y="connsiteY3637"/>
              </a:cxn>
              <a:cxn ang="0">
                <a:pos x="connsiteX3638" y="connsiteY3638"/>
              </a:cxn>
              <a:cxn ang="0">
                <a:pos x="connsiteX3639" y="connsiteY3639"/>
              </a:cxn>
              <a:cxn ang="0">
                <a:pos x="connsiteX3640" y="connsiteY3640"/>
              </a:cxn>
              <a:cxn ang="0">
                <a:pos x="connsiteX3641" y="connsiteY3641"/>
              </a:cxn>
              <a:cxn ang="0">
                <a:pos x="connsiteX3642" y="connsiteY3642"/>
              </a:cxn>
              <a:cxn ang="0">
                <a:pos x="connsiteX3643" y="connsiteY3643"/>
              </a:cxn>
              <a:cxn ang="0">
                <a:pos x="connsiteX3644" y="connsiteY3644"/>
              </a:cxn>
              <a:cxn ang="0">
                <a:pos x="connsiteX3645" y="connsiteY3645"/>
              </a:cxn>
              <a:cxn ang="0">
                <a:pos x="connsiteX3646" y="connsiteY3646"/>
              </a:cxn>
              <a:cxn ang="0">
                <a:pos x="connsiteX3647" y="connsiteY3647"/>
              </a:cxn>
              <a:cxn ang="0">
                <a:pos x="connsiteX3648" y="connsiteY3648"/>
              </a:cxn>
              <a:cxn ang="0">
                <a:pos x="connsiteX3649" y="connsiteY3649"/>
              </a:cxn>
              <a:cxn ang="0">
                <a:pos x="connsiteX3650" y="connsiteY3650"/>
              </a:cxn>
              <a:cxn ang="0">
                <a:pos x="connsiteX3651" y="connsiteY3651"/>
              </a:cxn>
              <a:cxn ang="0">
                <a:pos x="connsiteX3652" y="connsiteY3652"/>
              </a:cxn>
              <a:cxn ang="0">
                <a:pos x="connsiteX3653" y="connsiteY3653"/>
              </a:cxn>
              <a:cxn ang="0">
                <a:pos x="connsiteX3654" y="connsiteY3654"/>
              </a:cxn>
              <a:cxn ang="0">
                <a:pos x="connsiteX3655" y="connsiteY3655"/>
              </a:cxn>
              <a:cxn ang="0">
                <a:pos x="connsiteX3656" y="connsiteY3656"/>
              </a:cxn>
              <a:cxn ang="0">
                <a:pos x="connsiteX3657" y="connsiteY3657"/>
              </a:cxn>
              <a:cxn ang="0">
                <a:pos x="connsiteX3658" y="connsiteY3658"/>
              </a:cxn>
              <a:cxn ang="0">
                <a:pos x="connsiteX3659" y="connsiteY3659"/>
              </a:cxn>
              <a:cxn ang="0">
                <a:pos x="connsiteX3660" y="connsiteY3660"/>
              </a:cxn>
              <a:cxn ang="0">
                <a:pos x="connsiteX3661" y="connsiteY3661"/>
              </a:cxn>
              <a:cxn ang="0">
                <a:pos x="connsiteX3662" y="connsiteY3662"/>
              </a:cxn>
              <a:cxn ang="0">
                <a:pos x="connsiteX3663" y="connsiteY3663"/>
              </a:cxn>
              <a:cxn ang="0">
                <a:pos x="connsiteX3664" y="connsiteY3664"/>
              </a:cxn>
              <a:cxn ang="0">
                <a:pos x="connsiteX3665" y="connsiteY3665"/>
              </a:cxn>
              <a:cxn ang="0">
                <a:pos x="connsiteX3666" y="connsiteY3666"/>
              </a:cxn>
              <a:cxn ang="0">
                <a:pos x="connsiteX3667" y="connsiteY3667"/>
              </a:cxn>
              <a:cxn ang="0">
                <a:pos x="connsiteX3668" y="connsiteY3668"/>
              </a:cxn>
              <a:cxn ang="0">
                <a:pos x="connsiteX3669" y="connsiteY3669"/>
              </a:cxn>
              <a:cxn ang="0">
                <a:pos x="connsiteX3670" y="connsiteY3670"/>
              </a:cxn>
              <a:cxn ang="0">
                <a:pos x="connsiteX3671" y="connsiteY3671"/>
              </a:cxn>
              <a:cxn ang="0">
                <a:pos x="connsiteX3672" y="connsiteY3672"/>
              </a:cxn>
              <a:cxn ang="0">
                <a:pos x="connsiteX3673" y="connsiteY3673"/>
              </a:cxn>
              <a:cxn ang="0">
                <a:pos x="connsiteX3674" y="connsiteY3674"/>
              </a:cxn>
              <a:cxn ang="0">
                <a:pos x="connsiteX3675" y="connsiteY3675"/>
              </a:cxn>
              <a:cxn ang="0">
                <a:pos x="connsiteX3676" y="connsiteY3676"/>
              </a:cxn>
              <a:cxn ang="0">
                <a:pos x="connsiteX3677" y="connsiteY3677"/>
              </a:cxn>
              <a:cxn ang="0">
                <a:pos x="connsiteX3678" y="connsiteY3678"/>
              </a:cxn>
              <a:cxn ang="0">
                <a:pos x="connsiteX3679" y="connsiteY3679"/>
              </a:cxn>
              <a:cxn ang="0">
                <a:pos x="connsiteX3680" y="connsiteY3680"/>
              </a:cxn>
              <a:cxn ang="0">
                <a:pos x="connsiteX3681" y="connsiteY3681"/>
              </a:cxn>
              <a:cxn ang="0">
                <a:pos x="connsiteX3682" y="connsiteY3682"/>
              </a:cxn>
              <a:cxn ang="0">
                <a:pos x="connsiteX3683" y="connsiteY3683"/>
              </a:cxn>
              <a:cxn ang="0">
                <a:pos x="connsiteX3684" y="connsiteY3684"/>
              </a:cxn>
              <a:cxn ang="0">
                <a:pos x="connsiteX3685" y="connsiteY3685"/>
              </a:cxn>
              <a:cxn ang="0">
                <a:pos x="connsiteX3686" y="connsiteY3686"/>
              </a:cxn>
              <a:cxn ang="0">
                <a:pos x="connsiteX3687" y="connsiteY3687"/>
              </a:cxn>
              <a:cxn ang="0">
                <a:pos x="connsiteX3688" y="connsiteY3688"/>
              </a:cxn>
              <a:cxn ang="0">
                <a:pos x="connsiteX3689" y="connsiteY3689"/>
              </a:cxn>
              <a:cxn ang="0">
                <a:pos x="connsiteX3690" y="connsiteY3690"/>
              </a:cxn>
              <a:cxn ang="0">
                <a:pos x="connsiteX3691" y="connsiteY3691"/>
              </a:cxn>
              <a:cxn ang="0">
                <a:pos x="connsiteX3692" y="connsiteY3692"/>
              </a:cxn>
              <a:cxn ang="0">
                <a:pos x="connsiteX3693" y="connsiteY3693"/>
              </a:cxn>
              <a:cxn ang="0">
                <a:pos x="connsiteX3694" y="connsiteY3694"/>
              </a:cxn>
              <a:cxn ang="0">
                <a:pos x="connsiteX3695" y="connsiteY3695"/>
              </a:cxn>
              <a:cxn ang="0">
                <a:pos x="connsiteX3696" y="connsiteY3696"/>
              </a:cxn>
              <a:cxn ang="0">
                <a:pos x="connsiteX3697" y="connsiteY3697"/>
              </a:cxn>
              <a:cxn ang="0">
                <a:pos x="connsiteX3698" y="connsiteY3698"/>
              </a:cxn>
              <a:cxn ang="0">
                <a:pos x="connsiteX3699" y="connsiteY3699"/>
              </a:cxn>
              <a:cxn ang="0">
                <a:pos x="connsiteX3700" y="connsiteY3700"/>
              </a:cxn>
              <a:cxn ang="0">
                <a:pos x="connsiteX3701" y="connsiteY3701"/>
              </a:cxn>
              <a:cxn ang="0">
                <a:pos x="connsiteX3702" y="connsiteY3702"/>
              </a:cxn>
              <a:cxn ang="0">
                <a:pos x="connsiteX3703" y="connsiteY3703"/>
              </a:cxn>
              <a:cxn ang="0">
                <a:pos x="connsiteX3704" y="connsiteY3704"/>
              </a:cxn>
              <a:cxn ang="0">
                <a:pos x="connsiteX3705" y="connsiteY3705"/>
              </a:cxn>
              <a:cxn ang="0">
                <a:pos x="connsiteX3706" y="connsiteY3706"/>
              </a:cxn>
              <a:cxn ang="0">
                <a:pos x="connsiteX3707" y="connsiteY3707"/>
              </a:cxn>
              <a:cxn ang="0">
                <a:pos x="connsiteX3708" y="connsiteY3708"/>
              </a:cxn>
              <a:cxn ang="0">
                <a:pos x="connsiteX3709" y="connsiteY3709"/>
              </a:cxn>
              <a:cxn ang="0">
                <a:pos x="connsiteX3710" y="connsiteY3710"/>
              </a:cxn>
              <a:cxn ang="0">
                <a:pos x="connsiteX3711" y="connsiteY3711"/>
              </a:cxn>
              <a:cxn ang="0">
                <a:pos x="connsiteX3712" y="connsiteY3712"/>
              </a:cxn>
              <a:cxn ang="0">
                <a:pos x="connsiteX3713" y="connsiteY3713"/>
              </a:cxn>
              <a:cxn ang="0">
                <a:pos x="connsiteX3714" y="connsiteY3714"/>
              </a:cxn>
              <a:cxn ang="0">
                <a:pos x="connsiteX3715" y="connsiteY3715"/>
              </a:cxn>
              <a:cxn ang="0">
                <a:pos x="connsiteX3716" y="connsiteY3716"/>
              </a:cxn>
              <a:cxn ang="0">
                <a:pos x="connsiteX3717" y="connsiteY3717"/>
              </a:cxn>
              <a:cxn ang="0">
                <a:pos x="connsiteX3718" y="connsiteY3718"/>
              </a:cxn>
              <a:cxn ang="0">
                <a:pos x="connsiteX3719" y="connsiteY3719"/>
              </a:cxn>
              <a:cxn ang="0">
                <a:pos x="connsiteX3720" y="connsiteY3720"/>
              </a:cxn>
              <a:cxn ang="0">
                <a:pos x="connsiteX3721" y="connsiteY3721"/>
              </a:cxn>
              <a:cxn ang="0">
                <a:pos x="connsiteX3722" y="connsiteY3722"/>
              </a:cxn>
              <a:cxn ang="0">
                <a:pos x="connsiteX3723" y="connsiteY3723"/>
              </a:cxn>
              <a:cxn ang="0">
                <a:pos x="connsiteX3724" y="connsiteY3724"/>
              </a:cxn>
              <a:cxn ang="0">
                <a:pos x="connsiteX3725" y="connsiteY3725"/>
              </a:cxn>
              <a:cxn ang="0">
                <a:pos x="connsiteX3726" y="connsiteY3726"/>
              </a:cxn>
              <a:cxn ang="0">
                <a:pos x="connsiteX3727" y="connsiteY3727"/>
              </a:cxn>
              <a:cxn ang="0">
                <a:pos x="connsiteX3728" y="connsiteY3728"/>
              </a:cxn>
              <a:cxn ang="0">
                <a:pos x="connsiteX3729" y="connsiteY3729"/>
              </a:cxn>
              <a:cxn ang="0">
                <a:pos x="connsiteX3730" y="connsiteY3730"/>
              </a:cxn>
              <a:cxn ang="0">
                <a:pos x="connsiteX3731" y="connsiteY3731"/>
              </a:cxn>
              <a:cxn ang="0">
                <a:pos x="connsiteX3732" y="connsiteY3732"/>
              </a:cxn>
              <a:cxn ang="0">
                <a:pos x="connsiteX3733" y="connsiteY3733"/>
              </a:cxn>
              <a:cxn ang="0">
                <a:pos x="connsiteX3734" y="connsiteY3734"/>
              </a:cxn>
              <a:cxn ang="0">
                <a:pos x="connsiteX3735" y="connsiteY3735"/>
              </a:cxn>
              <a:cxn ang="0">
                <a:pos x="connsiteX3736" y="connsiteY3736"/>
              </a:cxn>
              <a:cxn ang="0">
                <a:pos x="connsiteX3737" y="connsiteY3737"/>
              </a:cxn>
              <a:cxn ang="0">
                <a:pos x="connsiteX3738" y="connsiteY3738"/>
              </a:cxn>
              <a:cxn ang="0">
                <a:pos x="connsiteX3739" y="connsiteY3739"/>
              </a:cxn>
              <a:cxn ang="0">
                <a:pos x="connsiteX3740" y="connsiteY3740"/>
              </a:cxn>
              <a:cxn ang="0">
                <a:pos x="connsiteX3741" y="connsiteY3741"/>
              </a:cxn>
              <a:cxn ang="0">
                <a:pos x="connsiteX3742" y="connsiteY3742"/>
              </a:cxn>
              <a:cxn ang="0">
                <a:pos x="connsiteX3743" y="connsiteY3743"/>
              </a:cxn>
              <a:cxn ang="0">
                <a:pos x="connsiteX3744" y="connsiteY3744"/>
              </a:cxn>
              <a:cxn ang="0">
                <a:pos x="connsiteX3745" y="connsiteY3745"/>
              </a:cxn>
              <a:cxn ang="0">
                <a:pos x="connsiteX3746" y="connsiteY3746"/>
              </a:cxn>
              <a:cxn ang="0">
                <a:pos x="connsiteX3747" y="connsiteY3747"/>
              </a:cxn>
              <a:cxn ang="0">
                <a:pos x="connsiteX3748" y="connsiteY3748"/>
              </a:cxn>
              <a:cxn ang="0">
                <a:pos x="connsiteX3749" y="connsiteY3749"/>
              </a:cxn>
              <a:cxn ang="0">
                <a:pos x="connsiteX3750" y="connsiteY3750"/>
              </a:cxn>
              <a:cxn ang="0">
                <a:pos x="connsiteX3751" y="connsiteY3751"/>
              </a:cxn>
              <a:cxn ang="0">
                <a:pos x="connsiteX3752" y="connsiteY3752"/>
              </a:cxn>
              <a:cxn ang="0">
                <a:pos x="connsiteX3753" y="connsiteY3753"/>
              </a:cxn>
              <a:cxn ang="0">
                <a:pos x="connsiteX3754" y="connsiteY3754"/>
              </a:cxn>
              <a:cxn ang="0">
                <a:pos x="connsiteX3755" y="connsiteY3755"/>
              </a:cxn>
              <a:cxn ang="0">
                <a:pos x="connsiteX3756" y="connsiteY3756"/>
              </a:cxn>
              <a:cxn ang="0">
                <a:pos x="connsiteX3757" y="connsiteY3757"/>
              </a:cxn>
              <a:cxn ang="0">
                <a:pos x="connsiteX3758" y="connsiteY3758"/>
              </a:cxn>
              <a:cxn ang="0">
                <a:pos x="connsiteX3759" y="connsiteY3759"/>
              </a:cxn>
              <a:cxn ang="0">
                <a:pos x="connsiteX3760" y="connsiteY3760"/>
              </a:cxn>
              <a:cxn ang="0">
                <a:pos x="connsiteX3761" y="connsiteY3761"/>
              </a:cxn>
              <a:cxn ang="0">
                <a:pos x="connsiteX3762" y="connsiteY3762"/>
              </a:cxn>
              <a:cxn ang="0">
                <a:pos x="connsiteX3763" y="connsiteY3763"/>
              </a:cxn>
              <a:cxn ang="0">
                <a:pos x="connsiteX3764" y="connsiteY3764"/>
              </a:cxn>
              <a:cxn ang="0">
                <a:pos x="connsiteX3765" y="connsiteY3765"/>
              </a:cxn>
              <a:cxn ang="0">
                <a:pos x="connsiteX3766" y="connsiteY3766"/>
              </a:cxn>
              <a:cxn ang="0">
                <a:pos x="connsiteX3767" y="connsiteY3767"/>
              </a:cxn>
              <a:cxn ang="0">
                <a:pos x="connsiteX3768" y="connsiteY3768"/>
              </a:cxn>
              <a:cxn ang="0">
                <a:pos x="connsiteX3769" y="connsiteY3769"/>
              </a:cxn>
              <a:cxn ang="0">
                <a:pos x="connsiteX3770" y="connsiteY3770"/>
              </a:cxn>
              <a:cxn ang="0">
                <a:pos x="connsiteX3771" y="connsiteY3771"/>
              </a:cxn>
              <a:cxn ang="0">
                <a:pos x="connsiteX3772" y="connsiteY3772"/>
              </a:cxn>
              <a:cxn ang="0">
                <a:pos x="connsiteX3773" y="connsiteY3773"/>
              </a:cxn>
              <a:cxn ang="0">
                <a:pos x="connsiteX3774" y="connsiteY3774"/>
              </a:cxn>
              <a:cxn ang="0">
                <a:pos x="connsiteX3775" y="connsiteY3775"/>
              </a:cxn>
              <a:cxn ang="0">
                <a:pos x="connsiteX3776" y="connsiteY3776"/>
              </a:cxn>
              <a:cxn ang="0">
                <a:pos x="connsiteX3777" y="connsiteY3777"/>
              </a:cxn>
              <a:cxn ang="0">
                <a:pos x="connsiteX3778" y="connsiteY3778"/>
              </a:cxn>
              <a:cxn ang="0">
                <a:pos x="connsiteX3779" y="connsiteY3779"/>
              </a:cxn>
              <a:cxn ang="0">
                <a:pos x="connsiteX3780" y="connsiteY3780"/>
              </a:cxn>
              <a:cxn ang="0">
                <a:pos x="connsiteX3781" y="connsiteY3781"/>
              </a:cxn>
              <a:cxn ang="0">
                <a:pos x="connsiteX3782" y="connsiteY3782"/>
              </a:cxn>
              <a:cxn ang="0">
                <a:pos x="connsiteX3783" y="connsiteY3783"/>
              </a:cxn>
              <a:cxn ang="0">
                <a:pos x="connsiteX3784" y="connsiteY3784"/>
              </a:cxn>
              <a:cxn ang="0">
                <a:pos x="connsiteX3785" y="connsiteY3785"/>
              </a:cxn>
              <a:cxn ang="0">
                <a:pos x="connsiteX3786" y="connsiteY3786"/>
              </a:cxn>
              <a:cxn ang="0">
                <a:pos x="connsiteX3787" y="connsiteY3787"/>
              </a:cxn>
              <a:cxn ang="0">
                <a:pos x="connsiteX3788" y="connsiteY3788"/>
              </a:cxn>
              <a:cxn ang="0">
                <a:pos x="connsiteX3789" y="connsiteY3789"/>
              </a:cxn>
              <a:cxn ang="0">
                <a:pos x="connsiteX3790" y="connsiteY3790"/>
              </a:cxn>
              <a:cxn ang="0">
                <a:pos x="connsiteX3791" y="connsiteY3791"/>
              </a:cxn>
              <a:cxn ang="0">
                <a:pos x="connsiteX3792" y="connsiteY3792"/>
              </a:cxn>
              <a:cxn ang="0">
                <a:pos x="connsiteX3793" y="connsiteY3793"/>
              </a:cxn>
              <a:cxn ang="0">
                <a:pos x="connsiteX3794" y="connsiteY3794"/>
              </a:cxn>
              <a:cxn ang="0">
                <a:pos x="connsiteX3795" y="connsiteY3795"/>
              </a:cxn>
              <a:cxn ang="0">
                <a:pos x="connsiteX3796" y="connsiteY3796"/>
              </a:cxn>
              <a:cxn ang="0">
                <a:pos x="connsiteX3797" y="connsiteY3797"/>
              </a:cxn>
              <a:cxn ang="0">
                <a:pos x="connsiteX3798" y="connsiteY3798"/>
              </a:cxn>
              <a:cxn ang="0">
                <a:pos x="connsiteX3799" y="connsiteY3799"/>
              </a:cxn>
              <a:cxn ang="0">
                <a:pos x="connsiteX3800" y="connsiteY3800"/>
              </a:cxn>
              <a:cxn ang="0">
                <a:pos x="connsiteX3801" y="connsiteY3801"/>
              </a:cxn>
              <a:cxn ang="0">
                <a:pos x="connsiteX3802" y="connsiteY3802"/>
              </a:cxn>
              <a:cxn ang="0">
                <a:pos x="connsiteX3803" y="connsiteY3803"/>
              </a:cxn>
              <a:cxn ang="0">
                <a:pos x="connsiteX3804" y="connsiteY3804"/>
              </a:cxn>
              <a:cxn ang="0">
                <a:pos x="connsiteX3805" y="connsiteY3805"/>
              </a:cxn>
              <a:cxn ang="0">
                <a:pos x="connsiteX3806" y="connsiteY3806"/>
              </a:cxn>
              <a:cxn ang="0">
                <a:pos x="connsiteX3807" y="connsiteY3807"/>
              </a:cxn>
              <a:cxn ang="0">
                <a:pos x="connsiteX3808" y="connsiteY3808"/>
              </a:cxn>
              <a:cxn ang="0">
                <a:pos x="connsiteX3809" y="connsiteY3809"/>
              </a:cxn>
              <a:cxn ang="0">
                <a:pos x="connsiteX3810" y="connsiteY3810"/>
              </a:cxn>
              <a:cxn ang="0">
                <a:pos x="connsiteX3811" y="connsiteY3811"/>
              </a:cxn>
              <a:cxn ang="0">
                <a:pos x="connsiteX3812" y="connsiteY3812"/>
              </a:cxn>
              <a:cxn ang="0">
                <a:pos x="connsiteX3813" y="connsiteY3813"/>
              </a:cxn>
              <a:cxn ang="0">
                <a:pos x="connsiteX3814" y="connsiteY3814"/>
              </a:cxn>
              <a:cxn ang="0">
                <a:pos x="connsiteX3815" y="connsiteY3815"/>
              </a:cxn>
              <a:cxn ang="0">
                <a:pos x="connsiteX3816" y="connsiteY3816"/>
              </a:cxn>
              <a:cxn ang="0">
                <a:pos x="connsiteX3817" y="connsiteY3817"/>
              </a:cxn>
              <a:cxn ang="0">
                <a:pos x="connsiteX3818" y="connsiteY3818"/>
              </a:cxn>
              <a:cxn ang="0">
                <a:pos x="connsiteX3819" y="connsiteY3819"/>
              </a:cxn>
              <a:cxn ang="0">
                <a:pos x="connsiteX3820" y="connsiteY3820"/>
              </a:cxn>
              <a:cxn ang="0">
                <a:pos x="connsiteX3821" y="connsiteY3821"/>
              </a:cxn>
              <a:cxn ang="0">
                <a:pos x="connsiteX3822" y="connsiteY3822"/>
              </a:cxn>
              <a:cxn ang="0">
                <a:pos x="connsiteX3823" y="connsiteY3823"/>
              </a:cxn>
              <a:cxn ang="0">
                <a:pos x="connsiteX3824" y="connsiteY3824"/>
              </a:cxn>
              <a:cxn ang="0">
                <a:pos x="connsiteX3825" y="connsiteY3825"/>
              </a:cxn>
              <a:cxn ang="0">
                <a:pos x="connsiteX3826" y="connsiteY3826"/>
              </a:cxn>
              <a:cxn ang="0">
                <a:pos x="connsiteX3827" y="connsiteY3827"/>
              </a:cxn>
              <a:cxn ang="0">
                <a:pos x="connsiteX3828" y="connsiteY3828"/>
              </a:cxn>
              <a:cxn ang="0">
                <a:pos x="connsiteX3829" y="connsiteY3829"/>
              </a:cxn>
              <a:cxn ang="0">
                <a:pos x="connsiteX3830" y="connsiteY3830"/>
              </a:cxn>
              <a:cxn ang="0">
                <a:pos x="connsiteX3831" y="connsiteY3831"/>
              </a:cxn>
              <a:cxn ang="0">
                <a:pos x="connsiteX3832" y="connsiteY3832"/>
              </a:cxn>
              <a:cxn ang="0">
                <a:pos x="connsiteX3833" y="connsiteY3833"/>
              </a:cxn>
              <a:cxn ang="0">
                <a:pos x="connsiteX3834" y="connsiteY3834"/>
              </a:cxn>
              <a:cxn ang="0">
                <a:pos x="connsiteX3835" y="connsiteY3835"/>
              </a:cxn>
              <a:cxn ang="0">
                <a:pos x="connsiteX3836" y="connsiteY3836"/>
              </a:cxn>
              <a:cxn ang="0">
                <a:pos x="connsiteX3837" y="connsiteY3837"/>
              </a:cxn>
              <a:cxn ang="0">
                <a:pos x="connsiteX3838" y="connsiteY3838"/>
              </a:cxn>
              <a:cxn ang="0">
                <a:pos x="connsiteX3839" y="connsiteY3839"/>
              </a:cxn>
              <a:cxn ang="0">
                <a:pos x="connsiteX3840" y="connsiteY3840"/>
              </a:cxn>
              <a:cxn ang="0">
                <a:pos x="connsiteX3841" y="connsiteY3841"/>
              </a:cxn>
              <a:cxn ang="0">
                <a:pos x="connsiteX3842" y="connsiteY3842"/>
              </a:cxn>
              <a:cxn ang="0">
                <a:pos x="connsiteX3843" y="connsiteY3843"/>
              </a:cxn>
              <a:cxn ang="0">
                <a:pos x="connsiteX3844" y="connsiteY3844"/>
              </a:cxn>
              <a:cxn ang="0">
                <a:pos x="connsiteX3845" y="connsiteY3845"/>
              </a:cxn>
              <a:cxn ang="0">
                <a:pos x="connsiteX3846" y="connsiteY3846"/>
              </a:cxn>
              <a:cxn ang="0">
                <a:pos x="connsiteX3847" y="connsiteY3847"/>
              </a:cxn>
              <a:cxn ang="0">
                <a:pos x="connsiteX3848" y="connsiteY3848"/>
              </a:cxn>
              <a:cxn ang="0">
                <a:pos x="connsiteX3849" y="connsiteY3849"/>
              </a:cxn>
              <a:cxn ang="0">
                <a:pos x="connsiteX3850" y="connsiteY3850"/>
              </a:cxn>
              <a:cxn ang="0">
                <a:pos x="connsiteX3851" y="connsiteY3851"/>
              </a:cxn>
              <a:cxn ang="0">
                <a:pos x="connsiteX3852" y="connsiteY3852"/>
              </a:cxn>
              <a:cxn ang="0">
                <a:pos x="connsiteX3853" y="connsiteY3853"/>
              </a:cxn>
              <a:cxn ang="0">
                <a:pos x="connsiteX3854" y="connsiteY3854"/>
              </a:cxn>
              <a:cxn ang="0">
                <a:pos x="connsiteX3855" y="connsiteY3855"/>
              </a:cxn>
              <a:cxn ang="0">
                <a:pos x="connsiteX3856" y="connsiteY3856"/>
              </a:cxn>
              <a:cxn ang="0">
                <a:pos x="connsiteX3857" y="connsiteY3857"/>
              </a:cxn>
              <a:cxn ang="0">
                <a:pos x="connsiteX3858" y="connsiteY3858"/>
              </a:cxn>
              <a:cxn ang="0">
                <a:pos x="connsiteX3859" y="connsiteY3859"/>
              </a:cxn>
              <a:cxn ang="0">
                <a:pos x="connsiteX3860" y="connsiteY3860"/>
              </a:cxn>
              <a:cxn ang="0">
                <a:pos x="connsiteX3861" y="connsiteY3861"/>
              </a:cxn>
              <a:cxn ang="0">
                <a:pos x="connsiteX3862" y="connsiteY3862"/>
              </a:cxn>
              <a:cxn ang="0">
                <a:pos x="connsiteX3863" y="connsiteY3863"/>
              </a:cxn>
              <a:cxn ang="0">
                <a:pos x="connsiteX3864" y="connsiteY3864"/>
              </a:cxn>
              <a:cxn ang="0">
                <a:pos x="connsiteX3865" y="connsiteY3865"/>
              </a:cxn>
              <a:cxn ang="0">
                <a:pos x="connsiteX3866" y="connsiteY3866"/>
              </a:cxn>
              <a:cxn ang="0">
                <a:pos x="connsiteX3867" y="connsiteY3867"/>
              </a:cxn>
              <a:cxn ang="0">
                <a:pos x="connsiteX3868" y="connsiteY3868"/>
              </a:cxn>
              <a:cxn ang="0">
                <a:pos x="connsiteX3869" y="connsiteY3869"/>
              </a:cxn>
              <a:cxn ang="0">
                <a:pos x="connsiteX3870" y="connsiteY3870"/>
              </a:cxn>
              <a:cxn ang="0">
                <a:pos x="connsiteX3871" y="connsiteY3871"/>
              </a:cxn>
              <a:cxn ang="0">
                <a:pos x="connsiteX3872" y="connsiteY3872"/>
              </a:cxn>
              <a:cxn ang="0">
                <a:pos x="connsiteX3873" y="connsiteY3873"/>
              </a:cxn>
              <a:cxn ang="0">
                <a:pos x="connsiteX3874" y="connsiteY3874"/>
              </a:cxn>
              <a:cxn ang="0">
                <a:pos x="connsiteX3875" y="connsiteY3875"/>
              </a:cxn>
              <a:cxn ang="0">
                <a:pos x="connsiteX3876" y="connsiteY3876"/>
              </a:cxn>
              <a:cxn ang="0">
                <a:pos x="connsiteX3877" y="connsiteY3877"/>
              </a:cxn>
              <a:cxn ang="0">
                <a:pos x="connsiteX3878" y="connsiteY3878"/>
              </a:cxn>
              <a:cxn ang="0">
                <a:pos x="connsiteX3879" y="connsiteY3879"/>
              </a:cxn>
              <a:cxn ang="0">
                <a:pos x="connsiteX3880" y="connsiteY3880"/>
              </a:cxn>
              <a:cxn ang="0">
                <a:pos x="connsiteX3881" y="connsiteY3881"/>
              </a:cxn>
              <a:cxn ang="0">
                <a:pos x="connsiteX3882" y="connsiteY3882"/>
              </a:cxn>
              <a:cxn ang="0">
                <a:pos x="connsiteX3883" y="connsiteY3883"/>
              </a:cxn>
              <a:cxn ang="0">
                <a:pos x="connsiteX3884" y="connsiteY3884"/>
              </a:cxn>
              <a:cxn ang="0">
                <a:pos x="connsiteX3885" y="connsiteY3885"/>
              </a:cxn>
              <a:cxn ang="0">
                <a:pos x="connsiteX3886" y="connsiteY3886"/>
              </a:cxn>
              <a:cxn ang="0">
                <a:pos x="connsiteX3887" y="connsiteY3887"/>
              </a:cxn>
              <a:cxn ang="0">
                <a:pos x="connsiteX3888" y="connsiteY3888"/>
              </a:cxn>
              <a:cxn ang="0">
                <a:pos x="connsiteX3889" y="connsiteY3889"/>
              </a:cxn>
              <a:cxn ang="0">
                <a:pos x="connsiteX3890" y="connsiteY3890"/>
              </a:cxn>
              <a:cxn ang="0">
                <a:pos x="connsiteX3891" y="connsiteY3891"/>
              </a:cxn>
              <a:cxn ang="0">
                <a:pos x="connsiteX3892" y="connsiteY3892"/>
              </a:cxn>
              <a:cxn ang="0">
                <a:pos x="connsiteX3893" y="connsiteY3893"/>
              </a:cxn>
              <a:cxn ang="0">
                <a:pos x="connsiteX3894" y="connsiteY3894"/>
              </a:cxn>
              <a:cxn ang="0">
                <a:pos x="connsiteX3895" y="connsiteY3895"/>
              </a:cxn>
              <a:cxn ang="0">
                <a:pos x="connsiteX3896" y="connsiteY3896"/>
              </a:cxn>
              <a:cxn ang="0">
                <a:pos x="connsiteX3897" y="connsiteY3897"/>
              </a:cxn>
              <a:cxn ang="0">
                <a:pos x="connsiteX3898" y="connsiteY3898"/>
              </a:cxn>
              <a:cxn ang="0">
                <a:pos x="connsiteX3899" y="connsiteY3899"/>
              </a:cxn>
              <a:cxn ang="0">
                <a:pos x="connsiteX3900" y="connsiteY3900"/>
              </a:cxn>
              <a:cxn ang="0">
                <a:pos x="connsiteX3901" y="connsiteY3901"/>
              </a:cxn>
              <a:cxn ang="0">
                <a:pos x="connsiteX3902" y="connsiteY3902"/>
              </a:cxn>
              <a:cxn ang="0">
                <a:pos x="connsiteX3903" y="connsiteY3903"/>
              </a:cxn>
              <a:cxn ang="0">
                <a:pos x="connsiteX3904" y="connsiteY3904"/>
              </a:cxn>
              <a:cxn ang="0">
                <a:pos x="connsiteX3905" y="connsiteY3905"/>
              </a:cxn>
              <a:cxn ang="0">
                <a:pos x="connsiteX3906" y="connsiteY3906"/>
              </a:cxn>
              <a:cxn ang="0">
                <a:pos x="connsiteX3907" y="connsiteY3907"/>
              </a:cxn>
              <a:cxn ang="0">
                <a:pos x="connsiteX3908" y="connsiteY3908"/>
              </a:cxn>
              <a:cxn ang="0">
                <a:pos x="connsiteX3909" y="connsiteY3909"/>
              </a:cxn>
              <a:cxn ang="0">
                <a:pos x="connsiteX3910" y="connsiteY3910"/>
              </a:cxn>
              <a:cxn ang="0">
                <a:pos x="connsiteX3911" y="connsiteY3911"/>
              </a:cxn>
              <a:cxn ang="0">
                <a:pos x="connsiteX3912" y="connsiteY3912"/>
              </a:cxn>
              <a:cxn ang="0">
                <a:pos x="connsiteX3913" y="connsiteY3913"/>
              </a:cxn>
              <a:cxn ang="0">
                <a:pos x="connsiteX3914" y="connsiteY3914"/>
              </a:cxn>
              <a:cxn ang="0">
                <a:pos x="connsiteX3915" y="connsiteY3915"/>
              </a:cxn>
              <a:cxn ang="0">
                <a:pos x="connsiteX3916" y="connsiteY3916"/>
              </a:cxn>
              <a:cxn ang="0">
                <a:pos x="connsiteX3917" y="connsiteY3917"/>
              </a:cxn>
              <a:cxn ang="0">
                <a:pos x="connsiteX3918" y="connsiteY3918"/>
              </a:cxn>
              <a:cxn ang="0">
                <a:pos x="connsiteX3919" y="connsiteY3919"/>
              </a:cxn>
              <a:cxn ang="0">
                <a:pos x="connsiteX3920" y="connsiteY3920"/>
              </a:cxn>
              <a:cxn ang="0">
                <a:pos x="connsiteX3921" y="connsiteY3921"/>
              </a:cxn>
              <a:cxn ang="0">
                <a:pos x="connsiteX3922" y="connsiteY3922"/>
              </a:cxn>
              <a:cxn ang="0">
                <a:pos x="connsiteX3923" y="connsiteY3923"/>
              </a:cxn>
              <a:cxn ang="0">
                <a:pos x="connsiteX3924" y="connsiteY3924"/>
              </a:cxn>
              <a:cxn ang="0">
                <a:pos x="connsiteX3925" y="connsiteY3925"/>
              </a:cxn>
              <a:cxn ang="0">
                <a:pos x="connsiteX3926" y="connsiteY3926"/>
              </a:cxn>
              <a:cxn ang="0">
                <a:pos x="connsiteX3927" y="connsiteY3927"/>
              </a:cxn>
              <a:cxn ang="0">
                <a:pos x="connsiteX3928" y="connsiteY3928"/>
              </a:cxn>
              <a:cxn ang="0">
                <a:pos x="connsiteX3929" y="connsiteY3929"/>
              </a:cxn>
              <a:cxn ang="0">
                <a:pos x="connsiteX3930" y="connsiteY3930"/>
              </a:cxn>
              <a:cxn ang="0">
                <a:pos x="connsiteX3931" y="connsiteY3931"/>
              </a:cxn>
              <a:cxn ang="0">
                <a:pos x="connsiteX3932" y="connsiteY3932"/>
              </a:cxn>
              <a:cxn ang="0">
                <a:pos x="connsiteX3933" y="connsiteY3933"/>
              </a:cxn>
              <a:cxn ang="0">
                <a:pos x="connsiteX3934" y="connsiteY3934"/>
              </a:cxn>
              <a:cxn ang="0">
                <a:pos x="connsiteX3935" y="connsiteY3935"/>
              </a:cxn>
              <a:cxn ang="0">
                <a:pos x="connsiteX3936" y="connsiteY3936"/>
              </a:cxn>
              <a:cxn ang="0">
                <a:pos x="connsiteX3937" y="connsiteY3937"/>
              </a:cxn>
              <a:cxn ang="0">
                <a:pos x="connsiteX3938" y="connsiteY3938"/>
              </a:cxn>
              <a:cxn ang="0">
                <a:pos x="connsiteX3939" y="connsiteY3939"/>
              </a:cxn>
              <a:cxn ang="0">
                <a:pos x="connsiteX3940" y="connsiteY3940"/>
              </a:cxn>
              <a:cxn ang="0">
                <a:pos x="connsiteX3941" y="connsiteY3941"/>
              </a:cxn>
              <a:cxn ang="0">
                <a:pos x="connsiteX3942" y="connsiteY3942"/>
              </a:cxn>
              <a:cxn ang="0">
                <a:pos x="connsiteX3943" y="connsiteY3943"/>
              </a:cxn>
              <a:cxn ang="0">
                <a:pos x="connsiteX3944" y="connsiteY3944"/>
              </a:cxn>
              <a:cxn ang="0">
                <a:pos x="connsiteX3945" y="connsiteY3945"/>
              </a:cxn>
              <a:cxn ang="0">
                <a:pos x="connsiteX3946" y="connsiteY3946"/>
              </a:cxn>
              <a:cxn ang="0">
                <a:pos x="connsiteX3947" y="connsiteY3947"/>
              </a:cxn>
              <a:cxn ang="0">
                <a:pos x="connsiteX3948" y="connsiteY3948"/>
              </a:cxn>
              <a:cxn ang="0">
                <a:pos x="connsiteX3949" y="connsiteY3949"/>
              </a:cxn>
              <a:cxn ang="0">
                <a:pos x="connsiteX3950" y="connsiteY3950"/>
              </a:cxn>
              <a:cxn ang="0">
                <a:pos x="connsiteX3951" y="connsiteY3951"/>
              </a:cxn>
              <a:cxn ang="0">
                <a:pos x="connsiteX3952" y="connsiteY3952"/>
              </a:cxn>
              <a:cxn ang="0">
                <a:pos x="connsiteX3953" y="connsiteY3953"/>
              </a:cxn>
              <a:cxn ang="0">
                <a:pos x="connsiteX3954" y="connsiteY3954"/>
              </a:cxn>
              <a:cxn ang="0">
                <a:pos x="connsiteX3955" y="connsiteY3955"/>
              </a:cxn>
              <a:cxn ang="0">
                <a:pos x="connsiteX3956" y="connsiteY3956"/>
              </a:cxn>
              <a:cxn ang="0">
                <a:pos x="connsiteX3957" y="connsiteY3957"/>
              </a:cxn>
              <a:cxn ang="0">
                <a:pos x="connsiteX3958" y="connsiteY3958"/>
              </a:cxn>
              <a:cxn ang="0">
                <a:pos x="connsiteX3959" y="connsiteY3959"/>
              </a:cxn>
              <a:cxn ang="0">
                <a:pos x="connsiteX3960" y="connsiteY3960"/>
              </a:cxn>
              <a:cxn ang="0">
                <a:pos x="connsiteX3961" y="connsiteY3961"/>
              </a:cxn>
              <a:cxn ang="0">
                <a:pos x="connsiteX3962" y="connsiteY3962"/>
              </a:cxn>
              <a:cxn ang="0">
                <a:pos x="connsiteX3963" y="connsiteY3963"/>
              </a:cxn>
              <a:cxn ang="0">
                <a:pos x="connsiteX3964" y="connsiteY3964"/>
              </a:cxn>
              <a:cxn ang="0">
                <a:pos x="connsiteX3965" y="connsiteY3965"/>
              </a:cxn>
              <a:cxn ang="0">
                <a:pos x="connsiteX3966" y="connsiteY3966"/>
              </a:cxn>
              <a:cxn ang="0">
                <a:pos x="connsiteX3967" y="connsiteY3967"/>
              </a:cxn>
              <a:cxn ang="0">
                <a:pos x="connsiteX3968" y="connsiteY3968"/>
              </a:cxn>
              <a:cxn ang="0">
                <a:pos x="connsiteX3969" y="connsiteY3969"/>
              </a:cxn>
              <a:cxn ang="0">
                <a:pos x="connsiteX3970" y="connsiteY3970"/>
              </a:cxn>
              <a:cxn ang="0">
                <a:pos x="connsiteX3971" y="connsiteY3971"/>
              </a:cxn>
              <a:cxn ang="0">
                <a:pos x="connsiteX3972" y="connsiteY3972"/>
              </a:cxn>
              <a:cxn ang="0">
                <a:pos x="connsiteX3973" y="connsiteY3973"/>
              </a:cxn>
              <a:cxn ang="0">
                <a:pos x="connsiteX3974" y="connsiteY3974"/>
              </a:cxn>
              <a:cxn ang="0">
                <a:pos x="connsiteX3975" y="connsiteY3975"/>
              </a:cxn>
              <a:cxn ang="0">
                <a:pos x="connsiteX3976" y="connsiteY3976"/>
              </a:cxn>
              <a:cxn ang="0">
                <a:pos x="connsiteX3977" y="connsiteY3977"/>
              </a:cxn>
              <a:cxn ang="0">
                <a:pos x="connsiteX3978" y="connsiteY3978"/>
              </a:cxn>
              <a:cxn ang="0">
                <a:pos x="connsiteX3979" y="connsiteY3979"/>
              </a:cxn>
              <a:cxn ang="0">
                <a:pos x="connsiteX3980" y="connsiteY3980"/>
              </a:cxn>
              <a:cxn ang="0">
                <a:pos x="connsiteX3981" y="connsiteY3981"/>
              </a:cxn>
              <a:cxn ang="0">
                <a:pos x="connsiteX3982" y="connsiteY3982"/>
              </a:cxn>
              <a:cxn ang="0">
                <a:pos x="connsiteX3983" y="connsiteY3983"/>
              </a:cxn>
              <a:cxn ang="0">
                <a:pos x="connsiteX3984" y="connsiteY3984"/>
              </a:cxn>
              <a:cxn ang="0">
                <a:pos x="connsiteX3985" y="connsiteY3985"/>
              </a:cxn>
              <a:cxn ang="0">
                <a:pos x="connsiteX3986" y="connsiteY3986"/>
              </a:cxn>
              <a:cxn ang="0">
                <a:pos x="connsiteX3987" y="connsiteY3987"/>
              </a:cxn>
              <a:cxn ang="0">
                <a:pos x="connsiteX3988" y="connsiteY3988"/>
              </a:cxn>
              <a:cxn ang="0">
                <a:pos x="connsiteX3989" y="connsiteY3989"/>
              </a:cxn>
              <a:cxn ang="0">
                <a:pos x="connsiteX3990" y="connsiteY3990"/>
              </a:cxn>
              <a:cxn ang="0">
                <a:pos x="connsiteX3991" y="connsiteY3991"/>
              </a:cxn>
              <a:cxn ang="0">
                <a:pos x="connsiteX3992" y="connsiteY3992"/>
              </a:cxn>
              <a:cxn ang="0">
                <a:pos x="connsiteX3993" y="connsiteY3993"/>
              </a:cxn>
              <a:cxn ang="0">
                <a:pos x="connsiteX3994" y="connsiteY3994"/>
              </a:cxn>
              <a:cxn ang="0">
                <a:pos x="connsiteX3995" y="connsiteY3995"/>
              </a:cxn>
              <a:cxn ang="0">
                <a:pos x="connsiteX3996" y="connsiteY3996"/>
              </a:cxn>
              <a:cxn ang="0">
                <a:pos x="connsiteX3997" y="connsiteY3997"/>
              </a:cxn>
              <a:cxn ang="0">
                <a:pos x="connsiteX3998" y="connsiteY3998"/>
              </a:cxn>
              <a:cxn ang="0">
                <a:pos x="connsiteX3999" y="connsiteY3999"/>
              </a:cxn>
              <a:cxn ang="0">
                <a:pos x="connsiteX4000" y="connsiteY4000"/>
              </a:cxn>
              <a:cxn ang="0">
                <a:pos x="connsiteX4001" y="connsiteY4001"/>
              </a:cxn>
              <a:cxn ang="0">
                <a:pos x="connsiteX4002" y="connsiteY4002"/>
              </a:cxn>
              <a:cxn ang="0">
                <a:pos x="connsiteX4003" y="connsiteY4003"/>
              </a:cxn>
              <a:cxn ang="0">
                <a:pos x="connsiteX4004" y="connsiteY4004"/>
              </a:cxn>
              <a:cxn ang="0">
                <a:pos x="connsiteX4005" y="connsiteY4005"/>
              </a:cxn>
              <a:cxn ang="0">
                <a:pos x="connsiteX4006" y="connsiteY4006"/>
              </a:cxn>
              <a:cxn ang="0">
                <a:pos x="connsiteX4007" y="connsiteY4007"/>
              </a:cxn>
              <a:cxn ang="0">
                <a:pos x="connsiteX4008" y="connsiteY4008"/>
              </a:cxn>
              <a:cxn ang="0">
                <a:pos x="connsiteX4009" y="connsiteY4009"/>
              </a:cxn>
              <a:cxn ang="0">
                <a:pos x="connsiteX4010" y="connsiteY4010"/>
              </a:cxn>
              <a:cxn ang="0">
                <a:pos x="connsiteX4011" y="connsiteY4011"/>
              </a:cxn>
              <a:cxn ang="0">
                <a:pos x="connsiteX4012" y="connsiteY4012"/>
              </a:cxn>
              <a:cxn ang="0">
                <a:pos x="connsiteX4013" y="connsiteY4013"/>
              </a:cxn>
              <a:cxn ang="0">
                <a:pos x="connsiteX4014" y="connsiteY4014"/>
              </a:cxn>
              <a:cxn ang="0">
                <a:pos x="connsiteX4015" y="connsiteY4015"/>
              </a:cxn>
              <a:cxn ang="0">
                <a:pos x="connsiteX4016" y="connsiteY4016"/>
              </a:cxn>
              <a:cxn ang="0">
                <a:pos x="connsiteX4017" y="connsiteY4017"/>
              </a:cxn>
              <a:cxn ang="0">
                <a:pos x="connsiteX4018" y="connsiteY4018"/>
              </a:cxn>
              <a:cxn ang="0">
                <a:pos x="connsiteX4019" y="connsiteY4019"/>
              </a:cxn>
              <a:cxn ang="0">
                <a:pos x="connsiteX4020" y="connsiteY4020"/>
              </a:cxn>
              <a:cxn ang="0">
                <a:pos x="connsiteX4021" y="connsiteY4021"/>
              </a:cxn>
              <a:cxn ang="0">
                <a:pos x="connsiteX4022" y="connsiteY4022"/>
              </a:cxn>
              <a:cxn ang="0">
                <a:pos x="connsiteX4023" y="connsiteY4023"/>
              </a:cxn>
              <a:cxn ang="0">
                <a:pos x="connsiteX4024" y="connsiteY4024"/>
              </a:cxn>
              <a:cxn ang="0">
                <a:pos x="connsiteX4025" y="connsiteY4025"/>
              </a:cxn>
              <a:cxn ang="0">
                <a:pos x="connsiteX4026" y="connsiteY4026"/>
              </a:cxn>
              <a:cxn ang="0">
                <a:pos x="connsiteX4027" y="connsiteY4027"/>
              </a:cxn>
              <a:cxn ang="0">
                <a:pos x="connsiteX4028" y="connsiteY4028"/>
              </a:cxn>
              <a:cxn ang="0">
                <a:pos x="connsiteX4029" y="connsiteY4029"/>
              </a:cxn>
              <a:cxn ang="0">
                <a:pos x="connsiteX4030" y="connsiteY4030"/>
              </a:cxn>
              <a:cxn ang="0">
                <a:pos x="connsiteX4031" y="connsiteY4031"/>
              </a:cxn>
              <a:cxn ang="0">
                <a:pos x="connsiteX4032" y="connsiteY4032"/>
              </a:cxn>
              <a:cxn ang="0">
                <a:pos x="connsiteX4033" y="connsiteY4033"/>
              </a:cxn>
              <a:cxn ang="0">
                <a:pos x="connsiteX4034" y="connsiteY4034"/>
              </a:cxn>
              <a:cxn ang="0">
                <a:pos x="connsiteX4035" y="connsiteY4035"/>
              </a:cxn>
              <a:cxn ang="0">
                <a:pos x="connsiteX4036" y="connsiteY4036"/>
              </a:cxn>
              <a:cxn ang="0">
                <a:pos x="connsiteX4037" y="connsiteY4037"/>
              </a:cxn>
              <a:cxn ang="0">
                <a:pos x="connsiteX4038" y="connsiteY4038"/>
              </a:cxn>
              <a:cxn ang="0">
                <a:pos x="connsiteX4039" y="connsiteY4039"/>
              </a:cxn>
              <a:cxn ang="0">
                <a:pos x="connsiteX4040" y="connsiteY4040"/>
              </a:cxn>
              <a:cxn ang="0">
                <a:pos x="connsiteX4041" y="connsiteY4041"/>
              </a:cxn>
              <a:cxn ang="0">
                <a:pos x="connsiteX4042" y="connsiteY4042"/>
              </a:cxn>
              <a:cxn ang="0">
                <a:pos x="connsiteX4043" y="connsiteY4043"/>
              </a:cxn>
              <a:cxn ang="0">
                <a:pos x="connsiteX4044" y="connsiteY4044"/>
              </a:cxn>
              <a:cxn ang="0">
                <a:pos x="connsiteX4045" y="connsiteY4045"/>
              </a:cxn>
              <a:cxn ang="0">
                <a:pos x="connsiteX4046" y="connsiteY4046"/>
              </a:cxn>
              <a:cxn ang="0">
                <a:pos x="connsiteX4047" y="connsiteY4047"/>
              </a:cxn>
              <a:cxn ang="0">
                <a:pos x="connsiteX4048" y="connsiteY4048"/>
              </a:cxn>
              <a:cxn ang="0">
                <a:pos x="connsiteX4049" y="connsiteY4049"/>
              </a:cxn>
              <a:cxn ang="0">
                <a:pos x="connsiteX4050" y="connsiteY4050"/>
              </a:cxn>
              <a:cxn ang="0">
                <a:pos x="connsiteX4051" y="connsiteY4051"/>
              </a:cxn>
              <a:cxn ang="0">
                <a:pos x="connsiteX4052" y="connsiteY4052"/>
              </a:cxn>
              <a:cxn ang="0">
                <a:pos x="connsiteX4053" y="connsiteY4053"/>
              </a:cxn>
              <a:cxn ang="0">
                <a:pos x="connsiteX4054" y="connsiteY4054"/>
              </a:cxn>
              <a:cxn ang="0">
                <a:pos x="connsiteX4055" y="connsiteY4055"/>
              </a:cxn>
              <a:cxn ang="0">
                <a:pos x="connsiteX4056" y="connsiteY4056"/>
              </a:cxn>
              <a:cxn ang="0">
                <a:pos x="connsiteX4057" y="connsiteY4057"/>
              </a:cxn>
              <a:cxn ang="0">
                <a:pos x="connsiteX4058" y="connsiteY4058"/>
              </a:cxn>
              <a:cxn ang="0">
                <a:pos x="connsiteX4059" y="connsiteY4059"/>
              </a:cxn>
              <a:cxn ang="0">
                <a:pos x="connsiteX4060" y="connsiteY4060"/>
              </a:cxn>
              <a:cxn ang="0">
                <a:pos x="connsiteX4061" y="connsiteY4061"/>
              </a:cxn>
              <a:cxn ang="0">
                <a:pos x="connsiteX4062" y="connsiteY4062"/>
              </a:cxn>
              <a:cxn ang="0">
                <a:pos x="connsiteX4063" y="connsiteY4063"/>
              </a:cxn>
              <a:cxn ang="0">
                <a:pos x="connsiteX4064" y="connsiteY4064"/>
              </a:cxn>
              <a:cxn ang="0">
                <a:pos x="connsiteX4065" y="connsiteY4065"/>
              </a:cxn>
              <a:cxn ang="0">
                <a:pos x="connsiteX4066" y="connsiteY4066"/>
              </a:cxn>
              <a:cxn ang="0">
                <a:pos x="connsiteX4067" y="connsiteY4067"/>
              </a:cxn>
              <a:cxn ang="0">
                <a:pos x="connsiteX4068" y="connsiteY4068"/>
              </a:cxn>
              <a:cxn ang="0">
                <a:pos x="connsiteX4069" y="connsiteY4069"/>
              </a:cxn>
              <a:cxn ang="0">
                <a:pos x="connsiteX4070" y="connsiteY4070"/>
              </a:cxn>
              <a:cxn ang="0">
                <a:pos x="connsiteX4071" y="connsiteY4071"/>
              </a:cxn>
              <a:cxn ang="0">
                <a:pos x="connsiteX4072" y="connsiteY4072"/>
              </a:cxn>
              <a:cxn ang="0">
                <a:pos x="connsiteX4073" y="connsiteY4073"/>
              </a:cxn>
              <a:cxn ang="0">
                <a:pos x="connsiteX4074" y="connsiteY4074"/>
              </a:cxn>
              <a:cxn ang="0">
                <a:pos x="connsiteX4075" y="connsiteY4075"/>
              </a:cxn>
              <a:cxn ang="0">
                <a:pos x="connsiteX4076" y="connsiteY4076"/>
              </a:cxn>
              <a:cxn ang="0">
                <a:pos x="connsiteX4077" y="connsiteY4077"/>
              </a:cxn>
              <a:cxn ang="0">
                <a:pos x="connsiteX4078" y="connsiteY4078"/>
              </a:cxn>
              <a:cxn ang="0">
                <a:pos x="connsiteX4079" y="connsiteY4079"/>
              </a:cxn>
              <a:cxn ang="0">
                <a:pos x="connsiteX4080" y="connsiteY4080"/>
              </a:cxn>
              <a:cxn ang="0">
                <a:pos x="connsiteX4081" y="connsiteY4081"/>
              </a:cxn>
              <a:cxn ang="0">
                <a:pos x="connsiteX4082" y="connsiteY4082"/>
              </a:cxn>
              <a:cxn ang="0">
                <a:pos x="connsiteX4083" y="connsiteY4083"/>
              </a:cxn>
              <a:cxn ang="0">
                <a:pos x="connsiteX4084" y="connsiteY4084"/>
              </a:cxn>
              <a:cxn ang="0">
                <a:pos x="connsiteX4085" y="connsiteY4085"/>
              </a:cxn>
              <a:cxn ang="0">
                <a:pos x="connsiteX4086" y="connsiteY4086"/>
              </a:cxn>
              <a:cxn ang="0">
                <a:pos x="connsiteX4087" y="connsiteY4087"/>
              </a:cxn>
              <a:cxn ang="0">
                <a:pos x="connsiteX4088" y="connsiteY4088"/>
              </a:cxn>
              <a:cxn ang="0">
                <a:pos x="connsiteX4089" y="connsiteY4089"/>
              </a:cxn>
              <a:cxn ang="0">
                <a:pos x="connsiteX4090" y="connsiteY4090"/>
              </a:cxn>
              <a:cxn ang="0">
                <a:pos x="connsiteX4091" y="connsiteY4091"/>
              </a:cxn>
              <a:cxn ang="0">
                <a:pos x="connsiteX4092" y="connsiteY4092"/>
              </a:cxn>
              <a:cxn ang="0">
                <a:pos x="connsiteX4093" y="connsiteY4093"/>
              </a:cxn>
              <a:cxn ang="0">
                <a:pos x="connsiteX4094" y="connsiteY4094"/>
              </a:cxn>
              <a:cxn ang="0">
                <a:pos x="connsiteX4095" y="connsiteY4095"/>
              </a:cxn>
              <a:cxn ang="0">
                <a:pos x="connsiteX4096" y="connsiteY4096"/>
              </a:cxn>
              <a:cxn ang="0">
                <a:pos x="connsiteX4097" y="connsiteY4097"/>
              </a:cxn>
              <a:cxn ang="0">
                <a:pos x="connsiteX4098" y="connsiteY4098"/>
              </a:cxn>
              <a:cxn ang="0">
                <a:pos x="connsiteX4099" y="connsiteY4099"/>
              </a:cxn>
              <a:cxn ang="0">
                <a:pos x="connsiteX4100" y="connsiteY4100"/>
              </a:cxn>
              <a:cxn ang="0">
                <a:pos x="connsiteX4101" y="connsiteY4101"/>
              </a:cxn>
              <a:cxn ang="0">
                <a:pos x="connsiteX4102" y="connsiteY4102"/>
              </a:cxn>
              <a:cxn ang="0">
                <a:pos x="connsiteX4103" y="connsiteY4103"/>
              </a:cxn>
              <a:cxn ang="0">
                <a:pos x="connsiteX4104" y="connsiteY4104"/>
              </a:cxn>
              <a:cxn ang="0">
                <a:pos x="connsiteX4105" y="connsiteY4105"/>
              </a:cxn>
              <a:cxn ang="0">
                <a:pos x="connsiteX4106" y="connsiteY4106"/>
              </a:cxn>
              <a:cxn ang="0">
                <a:pos x="connsiteX4107" y="connsiteY4107"/>
              </a:cxn>
              <a:cxn ang="0">
                <a:pos x="connsiteX4108" y="connsiteY4108"/>
              </a:cxn>
              <a:cxn ang="0">
                <a:pos x="connsiteX4109" y="connsiteY4109"/>
              </a:cxn>
              <a:cxn ang="0">
                <a:pos x="connsiteX4110" y="connsiteY4110"/>
              </a:cxn>
              <a:cxn ang="0">
                <a:pos x="connsiteX4111" y="connsiteY4111"/>
              </a:cxn>
              <a:cxn ang="0">
                <a:pos x="connsiteX4112" y="connsiteY4112"/>
              </a:cxn>
              <a:cxn ang="0">
                <a:pos x="connsiteX4113" y="connsiteY4113"/>
              </a:cxn>
              <a:cxn ang="0">
                <a:pos x="connsiteX4114" y="connsiteY4114"/>
              </a:cxn>
              <a:cxn ang="0">
                <a:pos x="connsiteX4115" y="connsiteY4115"/>
              </a:cxn>
              <a:cxn ang="0">
                <a:pos x="connsiteX4116" y="connsiteY4116"/>
              </a:cxn>
              <a:cxn ang="0">
                <a:pos x="connsiteX4117" y="connsiteY4117"/>
              </a:cxn>
              <a:cxn ang="0">
                <a:pos x="connsiteX4118" y="connsiteY4118"/>
              </a:cxn>
              <a:cxn ang="0">
                <a:pos x="connsiteX4119" y="connsiteY4119"/>
              </a:cxn>
              <a:cxn ang="0">
                <a:pos x="connsiteX4120" y="connsiteY4120"/>
              </a:cxn>
              <a:cxn ang="0">
                <a:pos x="connsiteX4121" y="connsiteY4121"/>
              </a:cxn>
              <a:cxn ang="0">
                <a:pos x="connsiteX4122" y="connsiteY4122"/>
              </a:cxn>
              <a:cxn ang="0">
                <a:pos x="connsiteX4123" y="connsiteY4123"/>
              </a:cxn>
              <a:cxn ang="0">
                <a:pos x="connsiteX4124" y="connsiteY4124"/>
              </a:cxn>
              <a:cxn ang="0">
                <a:pos x="connsiteX4125" y="connsiteY4125"/>
              </a:cxn>
              <a:cxn ang="0">
                <a:pos x="connsiteX4126" y="connsiteY4126"/>
              </a:cxn>
              <a:cxn ang="0">
                <a:pos x="connsiteX4127" y="connsiteY4127"/>
              </a:cxn>
              <a:cxn ang="0">
                <a:pos x="connsiteX4128" y="connsiteY4128"/>
              </a:cxn>
              <a:cxn ang="0">
                <a:pos x="connsiteX4129" y="connsiteY4129"/>
              </a:cxn>
              <a:cxn ang="0">
                <a:pos x="connsiteX4130" y="connsiteY4130"/>
              </a:cxn>
              <a:cxn ang="0">
                <a:pos x="connsiteX4131" y="connsiteY4131"/>
              </a:cxn>
              <a:cxn ang="0">
                <a:pos x="connsiteX4132" y="connsiteY4132"/>
              </a:cxn>
              <a:cxn ang="0">
                <a:pos x="connsiteX4133" y="connsiteY4133"/>
              </a:cxn>
              <a:cxn ang="0">
                <a:pos x="connsiteX4134" y="connsiteY4134"/>
              </a:cxn>
              <a:cxn ang="0">
                <a:pos x="connsiteX4135" y="connsiteY4135"/>
              </a:cxn>
              <a:cxn ang="0">
                <a:pos x="connsiteX4136" y="connsiteY4136"/>
              </a:cxn>
              <a:cxn ang="0">
                <a:pos x="connsiteX4137" y="connsiteY4137"/>
              </a:cxn>
              <a:cxn ang="0">
                <a:pos x="connsiteX4138" y="connsiteY4138"/>
              </a:cxn>
              <a:cxn ang="0">
                <a:pos x="connsiteX4139" y="connsiteY4139"/>
              </a:cxn>
              <a:cxn ang="0">
                <a:pos x="connsiteX4140" y="connsiteY4140"/>
              </a:cxn>
              <a:cxn ang="0">
                <a:pos x="connsiteX4141" y="connsiteY4141"/>
              </a:cxn>
              <a:cxn ang="0">
                <a:pos x="connsiteX4142" y="connsiteY4142"/>
              </a:cxn>
              <a:cxn ang="0">
                <a:pos x="connsiteX4143" y="connsiteY4143"/>
              </a:cxn>
              <a:cxn ang="0">
                <a:pos x="connsiteX4144" y="connsiteY4144"/>
              </a:cxn>
              <a:cxn ang="0">
                <a:pos x="connsiteX4145" y="connsiteY4145"/>
              </a:cxn>
              <a:cxn ang="0">
                <a:pos x="connsiteX4146" y="connsiteY4146"/>
              </a:cxn>
              <a:cxn ang="0">
                <a:pos x="connsiteX4147" y="connsiteY4147"/>
              </a:cxn>
              <a:cxn ang="0">
                <a:pos x="connsiteX4148" y="connsiteY4148"/>
              </a:cxn>
              <a:cxn ang="0">
                <a:pos x="connsiteX4149" y="connsiteY4149"/>
              </a:cxn>
              <a:cxn ang="0">
                <a:pos x="connsiteX4150" y="connsiteY4150"/>
              </a:cxn>
              <a:cxn ang="0">
                <a:pos x="connsiteX4151" y="connsiteY4151"/>
              </a:cxn>
              <a:cxn ang="0">
                <a:pos x="connsiteX4152" y="connsiteY4152"/>
              </a:cxn>
              <a:cxn ang="0">
                <a:pos x="connsiteX4153" y="connsiteY4153"/>
              </a:cxn>
              <a:cxn ang="0">
                <a:pos x="connsiteX4154" y="connsiteY4154"/>
              </a:cxn>
              <a:cxn ang="0">
                <a:pos x="connsiteX4155" y="connsiteY4155"/>
              </a:cxn>
              <a:cxn ang="0">
                <a:pos x="connsiteX4156" y="connsiteY4156"/>
              </a:cxn>
              <a:cxn ang="0">
                <a:pos x="connsiteX4157" y="connsiteY4157"/>
              </a:cxn>
              <a:cxn ang="0">
                <a:pos x="connsiteX4158" y="connsiteY4158"/>
              </a:cxn>
              <a:cxn ang="0">
                <a:pos x="connsiteX4159" y="connsiteY4159"/>
              </a:cxn>
              <a:cxn ang="0">
                <a:pos x="connsiteX4160" y="connsiteY4160"/>
              </a:cxn>
              <a:cxn ang="0">
                <a:pos x="connsiteX4161" y="connsiteY4161"/>
              </a:cxn>
              <a:cxn ang="0">
                <a:pos x="connsiteX4162" y="connsiteY4162"/>
              </a:cxn>
              <a:cxn ang="0">
                <a:pos x="connsiteX4163" y="connsiteY4163"/>
              </a:cxn>
              <a:cxn ang="0">
                <a:pos x="connsiteX4164" y="connsiteY4164"/>
              </a:cxn>
              <a:cxn ang="0">
                <a:pos x="connsiteX4165" y="connsiteY4165"/>
              </a:cxn>
              <a:cxn ang="0">
                <a:pos x="connsiteX4166" y="connsiteY4166"/>
              </a:cxn>
              <a:cxn ang="0">
                <a:pos x="connsiteX4167" y="connsiteY4167"/>
              </a:cxn>
              <a:cxn ang="0">
                <a:pos x="connsiteX4168" y="connsiteY4168"/>
              </a:cxn>
              <a:cxn ang="0">
                <a:pos x="connsiteX4169" y="connsiteY4169"/>
              </a:cxn>
              <a:cxn ang="0">
                <a:pos x="connsiteX4170" y="connsiteY4170"/>
              </a:cxn>
              <a:cxn ang="0">
                <a:pos x="connsiteX4171" y="connsiteY4171"/>
              </a:cxn>
              <a:cxn ang="0">
                <a:pos x="connsiteX4172" y="connsiteY4172"/>
              </a:cxn>
              <a:cxn ang="0">
                <a:pos x="connsiteX4173" y="connsiteY4173"/>
              </a:cxn>
              <a:cxn ang="0">
                <a:pos x="connsiteX4174" y="connsiteY4174"/>
              </a:cxn>
              <a:cxn ang="0">
                <a:pos x="connsiteX4175" y="connsiteY4175"/>
              </a:cxn>
              <a:cxn ang="0">
                <a:pos x="connsiteX4176" y="connsiteY4176"/>
              </a:cxn>
              <a:cxn ang="0">
                <a:pos x="connsiteX4177" y="connsiteY4177"/>
              </a:cxn>
              <a:cxn ang="0">
                <a:pos x="connsiteX4178" y="connsiteY4178"/>
              </a:cxn>
              <a:cxn ang="0">
                <a:pos x="connsiteX4179" y="connsiteY4179"/>
              </a:cxn>
              <a:cxn ang="0">
                <a:pos x="connsiteX4180" y="connsiteY4180"/>
              </a:cxn>
              <a:cxn ang="0">
                <a:pos x="connsiteX4181" y="connsiteY4181"/>
              </a:cxn>
              <a:cxn ang="0">
                <a:pos x="connsiteX4182" y="connsiteY4182"/>
              </a:cxn>
              <a:cxn ang="0">
                <a:pos x="connsiteX4183" y="connsiteY4183"/>
              </a:cxn>
              <a:cxn ang="0">
                <a:pos x="connsiteX4184" y="connsiteY4184"/>
              </a:cxn>
              <a:cxn ang="0">
                <a:pos x="connsiteX4185" y="connsiteY4185"/>
              </a:cxn>
              <a:cxn ang="0">
                <a:pos x="connsiteX4186" y="connsiteY4186"/>
              </a:cxn>
              <a:cxn ang="0">
                <a:pos x="connsiteX4187" y="connsiteY4187"/>
              </a:cxn>
              <a:cxn ang="0">
                <a:pos x="connsiteX4188" y="connsiteY4188"/>
              </a:cxn>
              <a:cxn ang="0">
                <a:pos x="connsiteX4189" y="connsiteY4189"/>
              </a:cxn>
              <a:cxn ang="0">
                <a:pos x="connsiteX4190" y="connsiteY4190"/>
              </a:cxn>
              <a:cxn ang="0">
                <a:pos x="connsiteX4191" y="connsiteY4191"/>
              </a:cxn>
              <a:cxn ang="0">
                <a:pos x="connsiteX4192" y="connsiteY4192"/>
              </a:cxn>
              <a:cxn ang="0">
                <a:pos x="connsiteX4193" y="connsiteY4193"/>
              </a:cxn>
              <a:cxn ang="0">
                <a:pos x="connsiteX4194" y="connsiteY4194"/>
              </a:cxn>
              <a:cxn ang="0">
                <a:pos x="connsiteX4195" y="connsiteY4195"/>
              </a:cxn>
              <a:cxn ang="0">
                <a:pos x="connsiteX4196" y="connsiteY4196"/>
              </a:cxn>
              <a:cxn ang="0">
                <a:pos x="connsiteX4197" y="connsiteY4197"/>
              </a:cxn>
              <a:cxn ang="0">
                <a:pos x="connsiteX4198" y="connsiteY4198"/>
              </a:cxn>
              <a:cxn ang="0">
                <a:pos x="connsiteX4199" y="connsiteY4199"/>
              </a:cxn>
              <a:cxn ang="0">
                <a:pos x="connsiteX4200" y="connsiteY4200"/>
              </a:cxn>
              <a:cxn ang="0">
                <a:pos x="connsiteX4201" y="connsiteY4201"/>
              </a:cxn>
              <a:cxn ang="0">
                <a:pos x="connsiteX4202" y="connsiteY4202"/>
              </a:cxn>
              <a:cxn ang="0">
                <a:pos x="connsiteX4203" y="connsiteY4203"/>
              </a:cxn>
              <a:cxn ang="0">
                <a:pos x="connsiteX4204" y="connsiteY4204"/>
              </a:cxn>
              <a:cxn ang="0">
                <a:pos x="connsiteX4205" y="connsiteY4205"/>
              </a:cxn>
              <a:cxn ang="0">
                <a:pos x="connsiteX4206" y="connsiteY4206"/>
              </a:cxn>
              <a:cxn ang="0">
                <a:pos x="connsiteX4207" y="connsiteY4207"/>
              </a:cxn>
              <a:cxn ang="0">
                <a:pos x="connsiteX4208" y="connsiteY4208"/>
              </a:cxn>
              <a:cxn ang="0">
                <a:pos x="connsiteX4209" y="connsiteY4209"/>
              </a:cxn>
              <a:cxn ang="0">
                <a:pos x="connsiteX4210" y="connsiteY4210"/>
              </a:cxn>
              <a:cxn ang="0">
                <a:pos x="connsiteX4211" y="connsiteY4211"/>
              </a:cxn>
              <a:cxn ang="0">
                <a:pos x="connsiteX4212" y="connsiteY4212"/>
              </a:cxn>
              <a:cxn ang="0">
                <a:pos x="connsiteX4213" y="connsiteY4213"/>
              </a:cxn>
              <a:cxn ang="0">
                <a:pos x="connsiteX4214" y="connsiteY4214"/>
              </a:cxn>
              <a:cxn ang="0">
                <a:pos x="connsiteX4215" y="connsiteY4215"/>
              </a:cxn>
              <a:cxn ang="0">
                <a:pos x="connsiteX4216" y="connsiteY4216"/>
              </a:cxn>
              <a:cxn ang="0">
                <a:pos x="connsiteX4217" y="connsiteY4217"/>
              </a:cxn>
              <a:cxn ang="0">
                <a:pos x="connsiteX4218" y="connsiteY4218"/>
              </a:cxn>
              <a:cxn ang="0">
                <a:pos x="connsiteX4219" y="connsiteY4219"/>
              </a:cxn>
              <a:cxn ang="0">
                <a:pos x="connsiteX4220" y="connsiteY4220"/>
              </a:cxn>
              <a:cxn ang="0">
                <a:pos x="connsiteX4221" y="connsiteY4221"/>
              </a:cxn>
              <a:cxn ang="0">
                <a:pos x="connsiteX4222" y="connsiteY4222"/>
              </a:cxn>
              <a:cxn ang="0">
                <a:pos x="connsiteX4223" y="connsiteY4223"/>
              </a:cxn>
              <a:cxn ang="0">
                <a:pos x="connsiteX4224" y="connsiteY4224"/>
              </a:cxn>
              <a:cxn ang="0">
                <a:pos x="connsiteX4225" y="connsiteY4225"/>
              </a:cxn>
              <a:cxn ang="0">
                <a:pos x="connsiteX4226" y="connsiteY4226"/>
              </a:cxn>
              <a:cxn ang="0">
                <a:pos x="connsiteX4227" y="connsiteY4227"/>
              </a:cxn>
              <a:cxn ang="0">
                <a:pos x="connsiteX4228" y="connsiteY4228"/>
              </a:cxn>
              <a:cxn ang="0">
                <a:pos x="connsiteX4229" y="connsiteY4229"/>
              </a:cxn>
              <a:cxn ang="0">
                <a:pos x="connsiteX4230" y="connsiteY4230"/>
              </a:cxn>
              <a:cxn ang="0">
                <a:pos x="connsiteX4231" y="connsiteY4231"/>
              </a:cxn>
              <a:cxn ang="0">
                <a:pos x="connsiteX4232" y="connsiteY4232"/>
              </a:cxn>
              <a:cxn ang="0">
                <a:pos x="connsiteX4233" y="connsiteY4233"/>
              </a:cxn>
              <a:cxn ang="0">
                <a:pos x="connsiteX4234" y="connsiteY4234"/>
              </a:cxn>
              <a:cxn ang="0">
                <a:pos x="connsiteX4235" y="connsiteY4235"/>
              </a:cxn>
              <a:cxn ang="0">
                <a:pos x="connsiteX4236" y="connsiteY4236"/>
              </a:cxn>
              <a:cxn ang="0">
                <a:pos x="connsiteX4237" y="connsiteY4237"/>
              </a:cxn>
              <a:cxn ang="0">
                <a:pos x="connsiteX4238" y="connsiteY4238"/>
              </a:cxn>
              <a:cxn ang="0">
                <a:pos x="connsiteX4239" y="connsiteY4239"/>
              </a:cxn>
              <a:cxn ang="0">
                <a:pos x="connsiteX4240" y="connsiteY4240"/>
              </a:cxn>
              <a:cxn ang="0">
                <a:pos x="connsiteX4241" y="connsiteY4241"/>
              </a:cxn>
              <a:cxn ang="0">
                <a:pos x="connsiteX4242" y="connsiteY4242"/>
              </a:cxn>
              <a:cxn ang="0">
                <a:pos x="connsiteX4243" y="connsiteY4243"/>
              </a:cxn>
              <a:cxn ang="0">
                <a:pos x="connsiteX4244" y="connsiteY4244"/>
              </a:cxn>
              <a:cxn ang="0">
                <a:pos x="connsiteX4245" y="connsiteY4245"/>
              </a:cxn>
              <a:cxn ang="0">
                <a:pos x="connsiteX4246" y="connsiteY4246"/>
              </a:cxn>
              <a:cxn ang="0">
                <a:pos x="connsiteX4247" y="connsiteY4247"/>
              </a:cxn>
              <a:cxn ang="0">
                <a:pos x="connsiteX4248" y="connsiteY4248"/>
              </a:cxn>
              <a:cxn ang="0">
                <a:pos x="connsiteX4249" y="connsiteY4249"/>
              </a:cxn>
              <a:cxn ang="0">
                <a:pos x="connsiteX4250" y="connsiteY4250"/>
              </a:cxn>
              <a:cxn ang="0">
                <a:pos x="connsiteX4251" y="connsiteY4251"/>
              </a:cxn>
              <a:cxn ang="0">
                <a:pos x="connsiteX4252" y="connsiteY4252"/>
              </a:cxn>
              <a:cxn ang="0">
                <a:pos x="connsiteX4253" y="connsiteY4253"/>
              </a:cxn>
              <a:cxn ang="0">
                <a:pos x="connsiteX4254" y="connsiteY4254"/>
              </a:cxn>
              <a:cxn ang="0">
                <a:pos x="connsiteX4255" y="connsiteY4255"/>
              </a:cxn>
              <a:cxn ang="0">
                <a:pos x="connsiteX4256" y="connsiteY4256"/>
              </a:cxn>
              <a:cxn ang="0">
                <a:pos x="connsiteX4257" y="connsiteY4257"/>
              </a:cxn>
              <a:cxn ang="0">
                <a:pos x="connsiteX4258" y="connsiteY4258"/>
              </a:cxn>
              <a:cxn ang="0">
                <a:pos x="connsiteX4259" y="connsiteY4259"/>
              </a:cxn>
              <a:cxn ang="0">
                <a:pos x="connsiteX4260" y="connsiteY4260"/>
              </a:cxn>
              <a:cxn ang="0">
                <a:pos x="connsiteX4261" y="connsiteY4261"/>
              </a:cxn>
              <a:cxn ang="0">
                <a:pos x="connsiteX4262" y="connsiteY4262"/>
              </a:cxn>
              <a:cxn ang="0">
                <a:pos x="connsiteX4263" y="connsiteY4263"/>
              </a:cxn>
              <a:cxn ang="0">
                <a:pos x="connsiteX4264" y="connsiteY4264"/>
              </a:cxn>
              <a:cxn ang="0">
                <a:pos x="connsiteX4265" y="connsiteY4265"/>
              </a:cxn>
              <a:cxn ang="0">
                <a:pos x="connsiteX4266" y="connsiteY4266"/>
              </a:cxn>
              <a:cxn ang="0">
                <a:pos x="connsiteX4267" y="connsiteY4267"/>
              </a:cxn>
              <a:cxn ang="0">
                <a:pos x="connsiteX4268" y="connsiteY4268"/>
              </a:cxn>
              <a:cxn ang="0">
                <a:pos x="connsiteX4269" y="connsiteY4269"/>
              </a:cxn>
              <a:cxn ang="0">
                <a:pos x="connsiteX4270" y="connsiteY4270"/>
              </a:cxn>
              <a:cxn ang="0">
                <a:pos x="connsiteX4271" y="connsiteY4271"/>
              </a:cxn>
              <a:cxn ang="0">
                <a:pos x="connsiteX4272" y="connsiteY4272"/>
              </a:cxn>
              <a:cxn ang="0">
                <a:pos x="connsiteX4273" y="connsiteY4273"/>
              </a:cxn>
              <a:cxn ang="0">
                <a:pos x="connsiteX4274" y="connsiteY4274"/>
              </a:cxn>
              <a:cxn ang="0">
                <a:pos x="connsiteX4275" y="connsiteY4275"/>
              </a:cxn>
              <a:cxn ang="0">
                <a:pos x="connsiteX4276" y="connsiteY4276"/>
              </a:cxn>
              <a:cxn ang="0">
                <a:pos x="connsiteX4277" y="connsiteY4277"/>
              </a:cxn>
              <a:cxn ang="0">
                <a:pos x="connsiteX4278" y="connsiteY4278"/>
              </a:cxn>
              <a:cxn ang="0">
                <a:pos x="connsiteX4279" y="connsiteY4279"/>
              </a:cxn>
              <a:cxn ang="0">
                <a:pos x="connsiteX4280" y="connsiteY4280"/>
              </a:cxn>
              <a:cxn ang="0">
                <a:pos x="connsiteX4281" y="connsiteY4281"/>
              </a:cxn>
              <a:cxn ang="0">
                <a:pos x="connsiteX4282" y="connsiteY4282"/>
              </a:cxn>
              <a:cxn ang="0">
                <a:pos x="connsiteX4283" y="connsiteY4283"/>
              </a:cxn>
              <a:cxn ang="0">
                <a:pos x="connsiteX4284" y="connsiteY4284"/>
              </a:cxn>
              <a:cxn ang="0">
                <a:pos x="connsiteX4285" y="connsiteY4285"/>
              </a:cxn>
              <a:cxn ang="0">
                <a:pos x="connsiteX4286" y="connsiteY4286"/>
              </a:cxn>
              <a:cxn ang="0">
                <a:pos x="connsiteX4287" y="connsiteY4287"/>
              </a:cxn>
              <a:cxn ang="0">
                <a:pos x="connsiteX4288" y="connsiteY4288"/>
              </a:cxn>
              <a:cxn ang="0">
                <a:pos x="connsiteX4289" y="connsiteY4289"/>
              </a:cxn>
              <a:cxn ang="0">
                <a:pos x="connsiteX4290" y="connsiteY4290"/>
              </a:cxn>
              <a:cxn ang="0">
                <a:pos x="connsiteX4291" y="connsiteY4291"/>
              </a:cxn>
              <a:cxn ang="0">
                <a:pos x="connsiteX4292" y="connsiteY4292"/>
              </a:cxn>
              <a:cxn ang="0">
                <a:pos x="connsiteX4293" y="connsiteY4293"/>
              </a:cxn>
              <a:cxn ang="0">
                <a:pos x="connsiteX4294" y="connsiteY4294"/>
              </a:cxn>
              <a:cxn ang="0">
                <a:pos x="connsiteX4295" y="connsiteY4295"/>
              </a:cxn>
              <a:cxn ang="0">
                <a:pos x="connsiteX4296" y="connsiteY4296"/>
              </a:cxn>
              <a:cxn ang="0">
                <a:pos x="connsiteX4297" y="connsiteY4297"/>
              </a:cxn>
              <a:cxn ang="0">
                <a:pos x="connsiteX4298" y="connsiteY4298"/>
              </a:cxn>
              <a:cxn ang="0">
                <a:pos x="connsiteX4299" y="connsiteY4299"/>
              </a:cxn>
              <a:cxn ang="0">
                <a:pos x="connsiteX4300" y="connsiteY4300"/>
              </a:cxn>
              <a:cxn ang="0">
                <a:pos x="connsiteX4301" y="connsiteY4301"/>
              </a:cxn>
              <a:cxn ang="0">
                <a:pos x="connsiteX4302" y="connsiteY4302"/>
              </a:cxn>
              <a:cxn ang="0">
                <a:pos x="connsiteX4303" y="connsiteY4303"/>
              </a:cxn>
              <a:cxn ang="0">
                <a:pos x="connsiteX4304" y="connsiteY4304"/>
              </a:cxn>
              <a:cxn ang="0">
                <a:pos x="connsiteX4305" y="connsiteY4305"/>
              </a:cxn>
              <a:cxn ang="0">
                <a:pos x="connsiteX4306" y="connsiteY4306"/>
              </a:cxn>
              <a:cxn ang="0">
                <a:pos x="connsiteX4307" y="connsiteY4307"/>
              </a:cxn>
              <a:cxn ang="0">
                <a:pos x="connsiteX4308" y="connsiteY4308"/>
              </a:cxn>
              <a:cxn ang="0">
                <a:pos x="connsiteX4309" y="connsiteY4309"/>
              </a:cxn>
              <a:cxn ang="0">
                <a:pos x="connsiteX4310" y="connsiteY4310"/>
              </a:cxn>
              <a:cxn ang="0">
                <a:pos x="connsiteX4311" y="connsiteY4311"/>
              </a:cxn>
              <a:cxn ang="0">
                <a:pos x="connsiteX4312" y="connsiteY4312"/>
              </a:cxn>
              <a:cxn ang="0">
                <a:pos x="connsiteX4313" y="connsiteY4313"/>
              </a:cxn>
              <a:cxn ang="0">
                <a:pos x="connsiteX4314" y="connsiteY4314"/>
              </a:cxn>
              <a:cxn ang="0">
                <a:pos x="connsiteX4315" y="connsiteY4315"/>
              </a:cxn>
              <a:cxn ang="0">
                <a:pos x="connsiteX4316" y="connsiteY4316"/>
              </a:cxn>
              <a:cxn ang="0">
                <a:pos x="connsiteX4317" y="connsiteY4317"/>
              </a:cxn>
              <a:cxn ang="0">
                <a:pos x="connsiteX4318" y="connsiteY4318"/>
              </a:cxn>
              <a:cxn ang="0">
                <a:pos x="connsiteX4319" y="connsiteY4319"/>
              </a:cxn>
              <a:cxn ang="0">
                <a:pos x="connsiteX4320" y="connsiteY4320"/>
              </a:cxn>
              <a:cxn ang="0">
                <a:pos x="connsiteX4321" y="connsiteY4321"/>
              </a:cxn>
              <a:cxn ang="0">
                <a:pos x="connsiteX4322" y="connsiteY4322"/>
              </a:cxn>
              <a:cxn ang="0">
                <a:pos x="connsiteX4323" y="connsiteY4323"/>
              </a:cxn>
              <a:cxn ang="0">
                <a:pos x="connsiteX4324" y="connsiteY4324"/>
              </a:cxn>
              <a:cxn ang="0">
                <a:pos x="connsiteX4325" y="connsiteY4325"/>
              </a:cxn>
              <a:cxn ang="0">
                <a:pos x="connsiteX4326" y="connsiteY4326"/>
              </a:cxn>
              <a:cxn ang="0">
                <a:pos x="connsiteX4327" y="connsiteY4327"/>
              </a:cxn>
              <a:cxn ang="0">
                <a:pos x="connsiteX4328" y="connsiteY4328"/>
              </a:cxn>
              <a:cxn ang="0">
                <a:pos x="connsiteX4329" y="connsiteY4329"/>
              </a:cxn>
              <a:cxn ang="0">
                <a:pos x="connsiteX4330" y="connsiteY4330"/>
              </a:cxn>
              <a:cxn ang="0">
                <a:pos x="connsiteX4331" y="connsiteY4331"/>
              </a:cxn>
              <a:cxn ang="0">
                <a:pos x="connsiteX4332" y="connsiteY4332"/>
              </a:cxn>
              <a:cxn ang="0">
                <a:pos x="connsiteX4333" y="connsiteY4333"/>
              </a:cxn>
              <a:cxn ang="0">
                <a:pos x="connsiteX4334" y="connsiteY4334"/>
              </a:cxn>
              <a:cxn ang="0">
                <a:pos x="connsiteX4335" y="connsiteY4335"/>
              </a:cxn>
              <a:cxn ang="0">
                <a:pos x="connsiteX4336" y="connsiteY4336"/>
              </a:cxn>
              <a:cxn ang="0">
                <a:pos x="connsiteX4337" y="connsiteY4337"/>
              </a:cxn>
              <a:cxn ang="0">
                <a:pos x="connsiteX4338" y="connsiteY4338"/>
              </a:cxn>
              <a:cxn ang="0">
                <a:pos x="connsiteX4339" y="connsiteY4339"/>
              </a:cxn>
              <a:cxn ang="0">
                <a:pos x="connsiteX4340" y="connsiteY4340"/>
              </a:cxn>
              <a:cxn ang="0">
                <a:pos x="connsiteX4341" y="connsiteY4341"/>
              </a:cxn>
              <a:cxn ang="0">
                <a:pos x="connsiteX4342" y="connsiteY4342"/>
              </a:cxn>
              <a:cxn ang="0">
                <a:pos x="connsiteX4343" y="connsiteY4343"/>
              </a:cxn>
              <a:cxn ang="0">
                <a:pos x="connsiteX4344" y="connsiteY4344"/>
              </a:cxn>
              <a:cxn ang="0">
                <a:pos x="connsiteX4345" y="connsiteY4345"/>
              </a:cxn>
              <a:cxn ang="0">
                <a:pos x="connsiteX4346" y="connsiteY4346"/>
              </a:cxn>
              <a:cxn ang="0">
                <a:pos x="connsiteX4347" y="connsiteY4347"/>
              </a:cxn>
              <a:cxn ang="0">
                <a:pos x="connsiteX4348" y="connsiteY4348"/>
              </a:cxn>
              <a:cxn ang="0">
                <a:pos x="connsiteX4349" y="connsiteY4349"/>
              </a:cxn>
              <a:cxn ang="0">
                <a:pos x="connsiteX4350" y="connsiteY4350"/>
              </a:cxn>
              <a:cxn ang="0">
                <a:pos x="connsiteX4351" y="connsiteY4351"/>
              </a:cxn>
              <a:cxn ang="0">
                <a:pos x="connsiteX4352" y="connsiteY4352"/>
              </a:cxn>
              <a:cxn ang="0">
                <a:pos x="connsiteX4353" y="connsiteY4353"/>
              </a:cxn>
              <a:cxn ang="0">
                <a:pos x="connsiteX4354" y="connsiteY4354"/>
              </a:cxn>
              <a:cxn ang="0">
                <a:pos x="connsiteX4355" y="connsiteY4355"/>
              </a:cxn>
              <a:cxn ang="0">
                <a:pos x="connsiteX4356" y="connsiteY4356"/>
              </a:cxn>
              <a:cxn ang="0">
                <a:pos x="connsiteX4357" y="connsiteY4357"/>
              </a:cxn>
              <a:cxn ang="0">
                <a:pos x="connsiteX4358" y="connsiteY4358"/>
              </a:cxn>
              <a:cxn ang="0">
                <a:pos x="connsiteX4359" y="connsiteY4359"/>
              </a:cxn>
              <a:cxn ang="0">
                <a:pos x="connsiteX4360" y="connsiteY4360"/>
              </a:cxn>
              <a:cxn ang="0">
                <a:pos x="connsiteX4361" y="connsiteY4361"/>
              </a:cxn>
              <a:cxn ang="0">
                <a:pos x="connsiteX4362" y="connsiteY4362"/>
              </a:cxn>
              <a:cxn ang="0">
                <a:pos x="connsiteX4363" y="connsiteY4363"/>
              </a:cxn>
              <a:cxn ang="0">
                <a:pos x="connsiteX4364" y="connsiteY4364"/>
              </a:cxn>
              <a:cxn ang="0">
                <a:pos x="connsiteX4365" y="connsiteY4365"/>
              </a:cxn>
              <a:cxn ang="0">
                <a:pos x="connsiteX4366" y="connsiteY4366"/>
              </a:cxn>
              <a:cxn ang="0">
                <a:pos x="connsiteX4367" y="connsiteY4367"/>
              </a:cxn>
            </a:cxnLst>
            <a:rect l="l" t="t" r="r" b="b"/>
            <a:pathLst>
              <a:path w="12191986" h="6661143">
                <a:moveTo>
                  <a:pt x="1747641" y="3784593"/>
                </a:moveTo>
                <a:lnTo>
                  <a:pt x="1755674" y="3791974"/>
                </a:lnTo>
                <a:lnTo>
                  <a:pt x="1773882" y="3810427"/>
                </a:lnTo>
                <a:lnTo>
                  <a:pt x="1779238" y="3816227"/>
                </a:lnTo>
                <a:lnTo>
                  <a:pt x="1784593" y="3823081"/>
                </a:lnTo>
                <a:lnTo>
                  <a:pt x="1789413" y="3829935"/>
                </a:lnTo>
                <a:lnTo>
                  <a:pt x="1794233" y="3837844"/>
                </a:lnTo>
                <a:lnTo>
                  <a:pt x="1797982" y="3845225"/>
                </a:lnTo>
                <a:lnTo>
                  <a:pt x="1801730" y="3853661"/>
                </a:lnTo>
                <a:lnTo>
                  <a:pt x="1804944" y="3862097"/>
                </a:lnTo>
                <a:lnTo>
                  <a:pt x="1806550" y="3870533"/>
                </a:lnTo>
                <a:lnTo>
                  <a:pt x="1807086" y="3876332"/>
                </a:lnTo>
                <a:lnTo>
                  <a:pt x="1808157" y="3882659"/>
                </a:lnTo>
                <a:lnTo>
                  <a:pt x="1807086" y="3887931"/>
                </a:lnTo>
                <a:lnTo>
                  <a:pt x="1807086" y="3893204"/>
                </a:lnTo>
                <a:lnTo>
                  <a:pt x="1805479" y="3897949"/>
                </a:lnTo>
                <a:lnTo>
                  <a:pt x="1803873" y="3902167"/>
                </a:lnTo>
                <a:lnTo>
                  <a:pt x="1802802" y="3906912"/>
                </a:lnTo>
                <a:lnTo>
                  <a:pt x="1800124" y="3910603"/>
                </a:lnTo>
                <a:lnTo>
                  <a:pt x="1797982" y="3913766"/>
                </a:lnTo>
                <a:lnTo>
                  <a:pt x="1794768" y="3916929"/>
                </a:lnTo>
                <a:lnTo>
                  <a:pt x="1791555" y="3919566"/>
                </a:lnTo>
                <a:lnTo>
                  <a:pt x="1787806" y="3922202"/>
                </a:lnTo>
                <a:lnTo>
                  <a:pt x="1784593" y="3924311"/>
                </a:lnTo>
                <a:lnTo>
                  <a:pt x="1780309" y="3925892"/>
                </a:lnTo>
                <a:lnTo>
                  <a:pt x="1776560" y="3927474"/>
                </a:lnTo>
                <a:lnTo>
                  <a:pt x="1771740" y="3928001"/>
                </a:lnTo>
                <a:lnTo>
                  <a:pt x="1767991" y="3928001"/>
                </a:lnTo>
                <a:lnTo>
                  <a:pt x="1763171" y="3929056"/>
                </a:lnTo>
                <a:lnTo>
                  <a:pt x="1758887" y="3928001"/>
                </a:lnTo>
                <a:lnTo>
                  <a:pt x="1754603" y="3927474"/>
                </a:lnTo>
                <a:lnTo>
                  <a:pt x="1750854" y="3926420"/>
                </a:lnTo>
                <a:lnTo>
                  <a:pt x="1746034" y="3924838"/>
                </a:lnTo>
                <a:lnTo>
                  <a:pt x="1743356" y="3922729"/>
                </a:lnTo>
                <a:lnTo>
                  <a:pt x="1739608" y="3920620"/>
                </a:lnTo>
                <a:lnTo>
                  <a:pt x="1736394" y="3917457"/>
                </a:lnTo>
                <a:lnTo>
                  <a:pt x="1733181" y="3914293"/>
                </a:lnTo>
                <a:lnTo>
                  <a:pt x="1729968" y="3910603"/>
                </a:lnTo>
                <a:lnTo>
                  <a:pt x="1727825" y="3905857"/>
                </a:lnTo>
                <a:lnTo>
                  <a:pt x="1725683" y="3901640"/>
                </a:lnTo>
                <a:lnTo>
                  <a:pt x="1723006" y="3896367"/>
                </a:lnTo>
                <a:lnTo>
                  <a:pt x="1721399" y="3891095"/>
                </a:lnTo>
                <a:lnTo>
                  <a:pt x="1720328" y="3884768"/>
                </a:lnTo>
                <a:lnTo>
                  <a:pt x="1719257" y="3876332"/>
                </a:lnTo>
                <a:lnTo>
                  <a:pt x="1719257" y="3867369"/>
                </a:lnTo>
                <a:lnTo>
                  <a:pt x="1720328" y="3858406"/>
                </a:lnTo>
                <a:lnTo>
                  <a:pt x="1721399" y="3849970"/>
                </a:lnTo>
                <a:lnTo>
                  <a:pt x="1723006" y="3841534"/>
                </a:lnTo>
                <a:lnTo>
                  <a:pt x="1725683" y="3833099"/>
                </a:lnTo>
                <a:lnTo>
                  <a:pt x="1728361" y="3824663"/>
                </a:lnTo>
                <a:lnTo>
                  <a:pt x="1731039" y="3817809"/>
                </a:lnTo>
                <a:lnTo>
                  <a:pt x="1742285" y="3794610"/>
                </a:lnTo>
                <a:close/>
                <a:moveTo>
                  <a:pt x="1024098" y="3773481"/>
                </a:moveTo>
                <a:lnTo>
                  <a:pt x="1032616" y="3780360"/>
                </a:lnTo>
                <a:lnTo>
                  <a:pt x="1051250" y="3798881"/>
                </a:lnTo>
                <a:lnTo>
                  <a:pt x="1056574" y="3804702"/>
                </a:lnTo>
                <a:lnTo>
                  <a:pt x="1060833" y="3811581"/>
                </a:lnTo>
                <a:lnTo>
                  <a:pt x="1066689" y="3818460"/>
                </a:lnTo>
                <a:lnTo>
                  <a:pt x="1070949" y="3826398"/>
                </a:lnTo>
                <a:lnTo>
                  <a:pt x="1074675" y="3834864"/>
                </a:lnTo>
                <a:lnTo>
                  <a:pt x="1078934" y="3842273"/>
                </a:lnTo>
                <a:lnTo>
                  <a:pt x="1081064" y="3850739"/>
                </a:lnTo>
                <a:lnTo>
                  <a:pt x="1083194" y="3859206"/>
                </a:lnTo>
                <a:lnTo>
                  <a:pt x="1084258" y="3865027"/>
                </a:lnTo>
                <a:lnTo>
                  <a:pt x="1084258" y="3871377"/>
                </a:lnTo>
                <a:lnTo>
                  <a:pt x="1084258" y="3876669"/>
                </a:lnTo>
                <a:lnTo>
                  <a:pt x="1083194" y="3881960"/>
                </a:lnTo>
                <a:lnTo>
                  <a:pt x="1082661" y="3887252"/>
                </a:lnTo>
                <a:lnTo>
                  <a:pt x="1081064" y="3890956"/>
                </a:lnTo>
                <a:lnTo>
                  <a:pt x="1079467" y="3895719"/>
                </a:lnTo>
                <a:lnTo>
                  <a:pt x="1077337" y="3899423"/>
                </a:lnTo>
                <a:lnTo>
                  <a:pt x="1074675" y="3902598"/>
                </a:lnTo>
                <a:lnTo>
                  <a:pt x="1072013" y="3905244"/>
                </a:lnTo>
                <a:lnTo>
                  <a:pt x="1068819" y="3908419"/>
                </a:lnTo>
                <a:lnTo>
                  <a:pt x="1065092" y="3911065"/>
                </a:lnTo>
                <a:lnTo>
                  <a:pt x="1060833" y="3913181"/>
                </a:lnTo>
                <a:lnTo>
                  <a:pt x="1057106" y="3914769"/>
                </a:lnTo>
                <a:lnTo>
                  <a:pt x="1053379" y="3916356"/>
                </a:lnTo>
                <a:lnTo>
                  <a:pt x="1048588" y="3916886"/>
                </a:lnTo>
                <a:lnTo>
                  <a:pt x="1044329" y="3917944"/>
                </a:lnTo>
                <a:lnTo>
                  <a:pt x="1040602" y="3917944"/>
                </a:lnTo>
                <a:lnTo>
                  <a:pt x="1035810" y="3916886"/>
                </a:lnTo>
                <a:lnTo>
                  <a:pt x="1032084" y="3916356"/>
                </a:lnTo>
                <a:lnTo>
                  <a:pt x="1027292" y="3915298"/>
                </a:lnTo>
                <a:lnTo>
                  <a:pt x="1023565" y="3913711"/>
                </a:lnTo>
                <a:lnTo>
                  <a:pt x="1019839" y="3911594"/>
                </a:lnTo>
                <a:lnTo>
                  <a:pt x="1016644" y="3909477"/>
                </a:lnTo>
                <a:lnTo>
                  <a:pt x="1012917" y="3906302"/>
                </a:lnTo>
                <a:lnTo>
                  <a:pt x="1009723" y="3903127"/>
                </a:lnTo>
                <a:lnTo>
                  <a:pt x="1007593" y="3899423"/>
                </a:lnTo>
                <a:lnTo>
                  <a:pt x="1004399" y="3894660"/>
                </a:lnTo>
                <a:lnTo>
                  <a:pt x="1002269" y="3890427"/>
                </a:lnTo>
                <a:lnTo>
                  <a:pt x="1000672" y="3885135"/>
                </a:lnTo>
                <a:lnTo>
                  <a:pt x="999075" y="3879844"/>
                </a:lnTo>
                <a:lnTo>
                  <a:pt x="997478" y="3873494"/>
                </a:lnTo>
                <a:lnTo>
                  <a:pt x="996945" y="3865027"/>
                </a:lnTo>
                <a:lnTo>
                  <a:pt x="996945" y="3856031"/>
                </a:lnTo>
                <a:lnTo>
                  <a:pt x="996945" y="3847564"/>
                </a:lnTo>
                <a:lnTo>
                  <a:pt x="998010" y="3838569"/>
                </a:lnTo>
                <a:lnTo>
                  <a:pt x="1000672" y="3830102"/>
                </a:lnTo>
                <a:lnTo>
                  <a:pt x="1002802" y="3821635"/>
                </a:lnTo>
                <a:lnTo>
                  <a:pt x="1004931" y="3814227"/>
                </a:lnTo>
                <a:lnTo>
                  <a:pt x="1008126" y="3806289"/>
                </a:lnTo>
                <a:lnTo>
                  <a:pt x="1019839" y="3783006"/>
                </a:lnTo>
                <a:close/>
                <a:moveTo>
                  <a:pt x="1374474" y="3694106"/>
                </a:moveTo>
                <a:lnTo>
                  <a:pt x="1380259" y="3702573"/>
                </a:lnTo>
                <a:lnTo>
                  <a:pt x="1394985" y="3724798"/>
                </a:lnTo>
                <a:lnTo>
                  <a:pt x="1397615" y="3731677"/>
                </a:lnTo>
                <a:lnTo>
                  <a:pt x="1401822" y="3739085"/>
                </a:lnTo>
                <a:lnTo>
                  <a:pt x="1405503" y="3747552"/>
                </a:lnTo>
                <a:lnTo>
                  <a:pt x="1407607" y="3756018"/>
                </a:lnTo>
                <a:lnTo>
                  <a:pt x="1410763" y="3764485"/>
                </a:lnTo>
                <a:lnTo>
                  <a:pt x="1412340" y="3772952"/>
                </a:lnTo>
                <a:lnTo>
                  <a:pt x="1412866" y="3781948"/>
                </a:lnTo>
                <a:lnTo>
                  <a:pt x="1412866" y="3790414"/>
                </a:lnTo>
                <a:lnTo>
                  <a:pt x="1412866" y="3796235"/>
                </a:lnTo>
                <a:lnTo>
                  <a:pt x="1412340" y="3802585"/>
                </a:lnTo>
                <a:lnTo>
                  <a:pt x="1410763" y="3807877"/>
                </a:lnTo>
                <a:lnTo>
                  <a:pt x="1409185" y="3812639"/>
                </a:lnTo>
                <a:lnTo>
                  <a:pt x="1407081" y="3816873"/>
                </a:lnTo>
                <a:lnTo>
                  <a:pt x="1404451" y="3821635"/>
                </a:lnTo>
                <a:lnTo>
                  <a:pt x="1402348" y="3825339"/>
                </a:lnTo>
                <a:lnTo>
                  <a:pt x="1399192" y="3828514"/>
                </a:lnTo>
                <a:lnTo>
                  <a:pt x="1396563" y="3831689"/>
                </a:lnTo>
                <a:lnTo>
                  <a:pt x="1392355" y="3833806"/>
                </a:lnTo>
                <a:lnTo>
                  <a:pt x="1388674" y="3835923"/>
                </a:lnTo>
                <a:lnTo>
                  <a:pt x="1384992" y="3837510"/>
                </a:lnTo>
                <a:lnTo>
                  <a:pt x="1381311" y="3838568"/>
                </a:lnTo>
                <a:lnTo>
                  <a:pt x="1377630" y="3839098"/>
                </a:lnTo>
                <a:lnTo>
                  <a:pt x="1372896" y="3840156"/>
                </a:lnTo>
                <a:lnTo>
                  <a:pt x="1368163" y="3840156"/>
                </a:lnTo>
                <a:lnTo>
                  <a:pt x="1363956" y="3839098"/>
                </a:lnTo>
                <a:lnTo>
                  <a:pt x="1359748" y="3838568"/>
                </a:lnTo>
                <a:lnTo>
                  <a:pt x="1355541" y="3837510"/>
                </a:lnTo>
                <a:lnTo>
                  <a:pt x="1351860" y="3835923"/>
                </a:lnTo>
                <a:lnTo>
                  <a:pt x="1347652" y="3833806"/>
                </a:lnTo>
                <a:lnTo>
                  <a:pt x="1345023" y="3831689"/>
                </a:lnTo>
                <a:lnTo>
                  <a:pt x="1341867" y="3829043"/>
                </a:lnTo>
                <a:lnTo>
                  <a:pt x="1338712" y="3826398"/>
                </a:lnTo>
                <a:lnTo>
                  <a:pt x="1335556" y="3822164"/>
                </a:lnTo>
                <a:lnTo>
                  <a:pt x="1333452" y="3818460"/>
                </a:lnTo>
                <a:lnTo>
                  <a:pt x="1331875" y="3814227"/>
                </a:lnTo>
                <a:lnTo>
                  <a:pt x="1329771" y="3809464"/>
                </a:lnTo>
                <a:lnTo>
                  <a:pt x="1328719" y="3804173"/>
                </a:lnTo>
                <a:lnTo>
                  <a:pt x="1328193" y="3798881"/>
                </a:lnTo>
                <a:lnTo>
                  <a:pt x="1327141" y="3793589"/>
                </a:lnTo>
                <a:lnTo>
                  <a:pt x="1327141" y="3787239"/>
                </a:lnTo>
                <a:lnTo>
                  <a:pt x="1328193" y="3778243"/>
                </a:lnTo>
                <a:lnTo>
                  <a:pt x="1329771" y="3769777"/>
                </a:lnTo>
                <a:lnTo>
                  <a:pt x="1332927" y="3761310"/>
                </a:lnTo>
                <a:lnTo>
                  <a:pt x="1335556" y="3752843"/>
                </a:lnTo>
                <a:lnTo>
                  <a:pt x="1338712" y="3744377"/>
                </a:lnTo>
                <a:lnTo>
                  <a:pt x="1343445" y="3736968"/>
                </a:lnTo>
                <a:lnTo>
                  <a:pt x="1347126" y="3730089"/>
                </a:lnTo>
                <a:lnTo>
                  <a:pt x="1351860" y="3723210"/>
                </a:lnTo>
                <a:lnTo>
                  <a:pt x="1366585" y="3702043"/>
                </a:lnTo>
                <a:close/>
                <a:moveTo>
                  <a:pt x="1586555" y="3676643"/>
                </a:moveTo>
                <a:lnTo>
                  <a:pt x="1591289" y="3686239"/>
                </a:lnTo>
                <a:lnTo>
                  <a:pt x="1599706" y="3711295"/>
                </a:lnTo>
                <a:lnTo>
                  <a:pt x="1601810" y="3718759"/>
                </a:lnTo>
                <a:lnTo>
                  <a:pt x="1603388" y="3727289"/>
                </a:lnTo>
                <a:lnTo>
                  <a:pt x="1604966" y="3735819"/>
                </a:lnTo>
                <a:lnTo>
                  <a:pt x="1606544" y="3743815"/>
                </a:lnTo>
                <a:lnTo>
                  <a:pt x="1606544" y="3753412"/>
                </a:lnTo>
                <a:lnTo>
                  <a:pt x="1606544" y="3762474"/>
                </a:lnTo>
                <a:lnTo>
                  <a:pt x="1605492" y="3771004"/>
                </a:lnTo>
                <a:lnTo>
                  <a:pt x="1603388" y="3779534"/>
                </a:lnTo>
                <a:lnTo>
                  <a:pt x="1601810" y="3785398"/>
                </a:lnTo>
                <a:lnTo>
                  <a:pt x="1599706" y="3790730"/>
                </a:lnTo>
                <a:lnTo>
                  <a:pt x="1597076" y="3796061"/>
                </a:lnTo>
                <a:lnTo>
                  <a:pt x="1593920" y="3800859"/>
                </a:lnTo>
                <a:lnTo>
                  <a:pt x="1591815" y="3804591"/>
                </a:lnTo>
                <a:lnTo>
                  <a:pt x="1588133" y="3807789"/>
                </a:lnTo>
                <a:lnTo>
                  <a:pt x="1584977" y="3810988"/>
                </a:lnTo>
                <a:lnTo>
                  <a:pt x="1581295" y="3814187"/>
                </a:lnTo>
                <a:lnTo>
                  <a:pt x="1577612" y="3815253"/>
                </a:lnTo>
                <a:lnTo>
                  <a:pt x="1573930" y="3817919"/>
                </a:lnTo>
                <a:lnTo>
                  <a:pt x="1569722" y="3818452"/>
                </a:lnTo>
                <a:lnTo>
                  <a:pt x="1566040" y="3819518"/>
                </a:lnTo>
                <a:lnTo>
                  <a:pt x="1561831" y="3819518"/>
                </a:lnTo>
                <a:lnTo>
                  <a:pt x="1557097" y="3819518"/>
                </a:lnTo>
                <a:lnTo>
                  <a:pt x="1553415" y="3819518"/>
                </a:lnTo>
                <a:lnTo>
                  <a:pt x="1548681" y="3817919"/>
                </a:lnTo>
                <a:lnTo>
                  <a:pt x="1544998" y="3816852"/>
                </a:lnTo>
                <a:lnTo>
                  <a:pt x="1540264" y="3814720"/>
                </a:lnTo>
                <a:lnTo>
                  <a:pt x="1536582" y="3813120"/>
                </a:lnTo>
                <a:lnTo>
                  <a:pt x="1533425" y="3809922"/>
                </a:lnTo>
                <a:lnTo>
                  <a:pt x="1530795" y="3807789"/>
                </a:lnTo>
                <a:lnTo>
                  <a:pt x="1527639" y="3804591"/>
                </a:lnTo>
                <a:lnTo>
                  <a:pt x="1525009" y="3800859"/>
                </a:lnTo>
                <a:lnTo>
                  <a:pt x="1522905" y="3797660"/>
                </a:lnTo>
                <a:lnTo>
                  <a:pt x="1520801" y="3793395"/>
                </a:lnTo>
                <a:lnTo>
                  <a:pt x="1519748" y="3789663"/>
                </a:lnTo>
                <a:lnTo>
                  <a:pt x="1518170" y="3784865"/>
                </a:lnTo>
                <a:lnTo>
                  <a:pt x="1517644" y="3779534"/>
                </a:lnTo>
                <a:lnTo>
                  <a:pt x="1517644" y="3774203"/>
                </a:lnTo>
                <a:lnTo>
                  <a:pt x="1518170" y="3768872"/>
                </a:lnTo>
                <a:lnTo>
                  <a:pt x="1519223" y="3763541"/>
                </a:lnTo>
                <a:lnTo>
                  <a:pt x="1520801" y="3757143"/>
                </a:lnTo>
                <a:lnTo>
                  <a:pt x="1522905" y="3748613"/>
                </a:lnTo>
                <a:lnTo>
                  <a:pt x="1526587" y="3740084"/>
                </a:lnTo>
                <a:lnTo>
                  <a:pt x="1531321" y="3732620"/>
                </a:lnTo>
                <a:lnTo>
                  <a:pt x="1536056" y="3724623"/>
                </a:lnTo>
                <a:lnTo>
                  <a:pt x="1541316" y="3718226"/>
                </a:lnTo>
                <a:lnTo>
                  <a:pt x="1546576" y="3711829"/>
                </a:lnTo>
                <a:lnTo>
                  <a:pt x="1552363" y="3705431"/>
                </a:lnTo>
                <a:lnTo>
                  <a:pt x="1557623" y="3699567"/>
                </a:lnTo>
                <a:lnTo>
                  <a:pt x="1577612" y="3682507"/>
                </a:lnTo>
                <a:close/>
                <a:moveTo>
                  <a:pt x="3542759" y="3670293"/>
                </a:moveTo>
                <a:lnTo>
                  <a:pt x="3548052" y="3670293"/>
                </a:lnTo>
                <a:lnTo>
                  <a:pt x="3553344" y="3670293"/>
                </a:lnTo>
                <a:lnTo>
                  <a:pt x="3558636" y="3671361"/>
                </a:lnTo>
                <a:lnTo>
                  <a:pt x="3563927" y="3672964"/>
                </a:lnTo>
                <a:lnTo>
                  <a:pt x="3569218" y="3674032"/>
                </a:lnTo>
                <a:lnTo>
                  <a:pt x="3573982" y="3676703"/>
                </a:lnTo>
                <a:lnTo>
                  <a:pt x="3578214" y="3679374"/>
                </a:lnTo>
                <a:lnTo>
                  <a:pt x="3582977" y="3682579"/>
                </a:lnTo>
                <a:lnTo>
                  <a:pt x="3587740" y="3686318"/>
                </a:lnTo>
                <a:lnTo>
                  <a:pt x="3591443" y="3691126"/>
                </a:lnTo>
                <a:lnTo>
                  <a:pt x="3594090" y="3695934"/>
                </a:lnTo>
                <a:lnTo>
                  <a:pt x="3597263" y="3700207"/>
                </a:lnTo>
                <a:lnTo>
                  <a:pt x="3599911" y="3705015"/>
                </a:lnTo>
                <a:lnTo>
                  <a:pt x="3600969" y="3710357"/>
                </a:lnTo>
                <a:lnTo>
                  <a:pt x="3602556" y="3715699"/>
                </a:lnTo>
                <a:lnTo>
                  <a:pt x="3603614" y="3721040"/>
                </a:lnTo>
                <a:lnTo>
                  <a:pt x="3603614" y="3726382"/>
                </a:lnTo>
                <a:lnTo>
                  <a:pt x="3603614" y="3731724"/>
                </a:lnTo>
                <a:lnTo>
                  <a:pt x="3602556" y="3737600"/>
                </a:lnTo>
                <a:lnTo>
                  <a:pt x="3600969" y="3742942"/>
                </a:lnTo>
                <a:lnTo>
                  <a:pt x="3599911" y="3748284"/>
                </a:lnTo>
                <a:lnTo>
                  <a:pt x="3597263" y="3752557"/>
                </a:lnTo>
                <a:lnTo>
                  <a:pt x="3594090" y="3757365"/>
                </a:lnTo>
                <a:lnTo>
                  <a:pt x="3591443" y="3762173"/>
                </a:lnTo>
                <a:lnTo>
                  <a:pt x="3587740" y="3766446"/>
                </a:lnTo>
                <a:lnTo>
                  <a:pt x="3582977" y="3770185"/>
                </a:lnTo>
                <a:lnTo>
                  <a:pt x="3578214" y="3773391"/>
                </a:lnTo>
                <a:lnTo>
                  <a:pt x="3573982" y="3776596"/>
                </a:lnTo>
                <a:lnTo>
                  <a:pt x="3568690" y="3778732"/>
                </a:lnTo>
                <a:lnTo>
                  <a:pt x="3563927" y="3780335"/>
                </a:lnTo>
                <a:lnTo>
                  <a:pt x="3558636" y="3781938"/>
                </a:lnTo>
                <a:lnTo>
                  <a:pt x="3553344" y="3783006"/>
                </a:lnTo>
                <a:lnTo>
                  <a:pt x="3548052" y="3783006"/>
                </a:lnTo>
                <a:lnTo>
                  <a:pt x="3542759" y="3783006"/>
                </a:lnTo>
                <a:lnTo>
                  <a:pt x="3536939" y="3781938"/>
                </a:lnTo>
                <a:lnTo>
                  <a:pt x="3531647" y="3780335"/>
                </a:lnTo>
                <a:lnTo>
                  <a:pt x="3526357" y="3778732"/>
                </a:lnTo>
                <a:lnTo>
                  <a:pt x="3522123" y="3776596"/>
                </a:lnTo>
                <a:lnTo>
                  <a:pt x="3516831" y="3773391"/>
                </a:lnTo>
                <a:lnTo>
                  <a:pt x="3512069" y="3770185"/>
                </a:lnTo>
                <a:lnTo>
                  <a:pt x="3508365" y="3766446"/>
                </a:lnTo>
                <a:lnTo>
                  <a:pt x="3504660" y="3762173"/>
                </a:lnTo>
                <a:lnTo>
                  <a:pt x="3501485" y="3757365"/>
                </a:lnTo>
                <a:lnTo>
                  <a:pt x="3498310" y="3752557"/>
                </a:lnTo>
                <a:lnTo>
                  <a:pt x="3496194" y="3747215"/>
                </a:lnTo>
                <a:lnTo>
                  <a:pt x="3493547" y="3742942"/>
                </a:lnTo>
                <a:lnTo>
                  <a:pt x="3493019" y="3737600"/>
                </a:lnTo>
                <a:lnTo>
                  <a:pt x="3492489" y="3731724"/>
                </a:lnTo>
                <a:lnTo>
                  <a:pt x="3492489" y="3726382"/>
                </a:lnTo>
                <a:lnTo>
                  <a:pt x="3492489" y="3721040"/>
                </a:lnTo>
                <a:lnTo>
                  <a:pt x="3493019" y="3715699"/>
                </a:lnTo>
                <a:lnTo>
                  <a:pt x="3494606" y="3710357"/>
                </a:lnTo>
                <a:lnTo>
                  <a:pt x="3496194" y="3705015"/>
                </a:lnTo>
                <a:lnTo>
                  <a:pt x="3498310" y="3700207"/>
                </a:lnTo>
                <a:lnTo>
                  <a:pt x="3501485" y="3694865"/>
                </a:lnTo>
                <a:lnTo>
                  <a:pt x="3504660" y="3690592"/>
                </a:lnTo>
                <a:lnTo>
                  <a:pt x="3508365" y="3686318"/>
                </a:lnTo>
                <a:lnTo>
                  <a:pt x="3512597" y="3682579"/>
                </a:lnTo>
                <a:lnTo>
                  <a:pt x="3517361" y="3679374"/>
                </a:lnTo>
                <a:lnTo>
                  <a:pt x="3522123" y="3676703"/>
                </a:lnTo>
                <a:lnTo>
                  <a:pt x="3526357" y="3674032"/>
                </a:lnTo>
                <a:lnTo>
                  <a:pt x="3531647" y="3671895"/>
                </a:lnTo>
                <a:lnTo>
                  <a:pt x="3536939" y="3671361"/>
                </a:lnTo>
                <a:close/>
                <a:moveTo>
                  <a:pt x="1227679" y="3600443"/>
                </a:moveTo>
                <a:lnTo>
                  <a:pt x="1234642" y="3607851"/>
                </a:lnTo>
                <a:lnTo>
                  <a:pt x="1249105" y="3630076"/>
                </a:lnTo>
                <a:lnTo>
                  <a:pt x="1252855" y="3636955"/>
                </a:lnTo>
                <a:lnTo>
                  <a:pt x="1257140" y="3644364"/>
                </a:lnTo>
                <a:lnTo>
                  <a:pt x="1260890" y="3652301"/>
                </a:lnTo>
                <a:lnTo>
                  <a:pt x="1264104" y="3660239"/>
                </a:lnTo>
                <a:lnTo>
                  <a:pt x="1266246" y="3668706"/>
                </a:lnTo>
                <a:lnTo>
                  <a:pt x="1268389" y="3677172"/>
                </a:lnTo>
                <a:lnTo>
                  <a:pt x="1269996" y="3686168"/>
                </a:lnTo>
                <a:lnTo>
                  <a:pt x="1269996" y="3694635"/>
                </a:lnTo>
                <a:lnTo>
                  <a:pt x="1269996" y="3700985"/>
                </a:lnTo>
                <a:lnTo>
                  <a:pt x="1269460" y="3706806"/>
                </a:lnTo>
                <a:lnTo>
                  <a:pt x="1267853" y="3712097"/>
                </a:lnTo>
                <a:lnTo>
                  <a:pt x="1266246" y="3717918"/>
                </a:lnTo>
                <a:lnTo>
                  <a:pt x="1264639" y="3722152"/>
                </a:lnTo>
                <a:lnTo>
                  <a:pt x="1262497" y="3725856"/>
                </a:lnTo>
                <a:lnTo>
                  <a:pt x="1259283" y="3730089"/>
                </a:lnTo>
                <a:lnTo>
                  <a:pt x="1257140" y="3732735"/>
                </a:lnTo>
                <a:lnTo>
                  <a:pt x="1253926" y="3735910"/>
                </a:lnTo>
                <a:lnTo>
                  <a:pt x="1250176" y="3739085"/>
                </a:lnTo>
                <a:lnTo>
                  <a:pt x="1245891" y="3740673"/>
                </a:lnTo>
                <a:lnTo>
                  <a:pt x="1242141" y="3742789"/>
                </a:lnTo>
                <a:lnTo>
                  <a:pt x="1238392" y="3743318"/>
                </a:lnTo>
                <a:lnTo>
                  <a:pt x="1234642" y="3744906"/>
                </a:lnTo>
                <a:lnTo>
                  <a:pt x="1229821" y="3744906"/>
                </a:lnTo>
                <a:lnTo>
                  <a:pt x="1225536" y="3744906"/>
                </a:lnTo>
                <a:lnTo>
                  <a:pt x="1221251" y="3744906"/>
                </a:lnTo>
                <a:lnTo>
                  <a:pt x="1216965" y="3744377"/>
                </a:lnTo>
                <a:lnTo>
                  <a:pt x="1212144" y="3743318"/>
                </a:lnTo>
                <a:lnTo>
                  <a:pt x="1208395" y="3742260"/>
                </a:lnTo>
                <a:lnTo>
                  <a:pt x="1204645" y="3739614"/>
                </a:lnTo>
                <a:lnTo>
                  <a:pt x="1201431" y="3738027"/>
                </a:lnTo>
                <a:lnTo>
                  <a:pt x="1197681" y="3735381"/>
                </a:lnTo>
                <a:lnTo>
                  <a:pt x="1194468" y="3732206"/>
                </a:lnTo>
                <a:lnTo>
                  <a:pt x="1192325" y="3729031"/>
                </a:lnTo>
                <a:lnTo>
                  <a:pt x="1189647" y="3725327"/>
                </a:lnTo>
                <a:lnTo>
                  <a:pt x="1187504" y="3720564"/>
                </a:lnTo>
                <a:lnTo>
                  <a:pt x="1185897" y="3716331"/>
                </a:lnTo>
                <a:lnTo>
                  <a:pt x="1184290" y="3711039"/>
                </a:lnTo>
                <a:lnTo>
                  <a:pt x="1182683" y="3705218"/>
                </a:lnTo>
                <a:lnTo>
                  <a:pt x="1182683" y="3699927"/>
                </a:lnTo>
                <a:lnTo>
                  <a:pt x="1182683" y="3694106"/>
                </a:lnTo>
                <a:lnTo>
                  <a:pt x="1182683" y="3685110"/>
                </a:lnTo>
                <a:lnTo>
                  <a:pt x="1184290" y="3676643"/>
                </a:lnTo>
                <a:lnTo>
                  <a:pt x="1186968" y="3667118"/>
                </a:lnTo>
                <a:lnTo>
                  <a:pt x="1189647" y="3659181"/>
                </a:lnTo>
                <a:lnTo>
                  <a:pt x="1193396" y="3651243"/>
                </a:lnTo>
                <a:lnTo>
                  <a:pt x="1197681" y="3643835"/>
                </a:lnTo>
                <a:lnTo>
                  <a:pt x="1201431" y="3635897"/>
                </a:lnTo>
                <a:lnTo>
                  <a:pt x="1205181" y="3629018"/>
                </a:lnTo>
                <a:lnTo>
                  <a:pt x="1220715" y="3607851"/>
                </a:lnTo>
                <a:close/>
                <a:moveTo>
                  <a:pt x="3805465" y="3535356"/>
                </a:moveTo>
                <a:lnTo>
                  <a:pt x="3810783" y="3535356"/>
                </a:lnTo>
                <a:lnTo>
                  <a:pt x="3816630" y="3535356"/>
                </a:lnTo>
                <a:lnTo>
                  <a:pt x="3821948" y="3535885"/>
                </a:lnTo>
                <a:lnTo>
                  <a:pt x="3827264" y="3537473"/>
                </a:lnTo>
                <a:lnTo>
                  <a:pt x="3831517" y="3539060"/>
                </a:lnTo>
                <a:lnTo>
                  <a:pt x="3836834" y="3541177"/>
                </a:lnTo>
                <a:lnTo>
                  <a:pt x="3841619" y="3544352"/>
                </a:lnTo>
                <a:lnTo>
                  <a:pt x="3846404" y="3547527"/>
                </a:lnTo>
                <a:lnTo>
                  <a:pt x="3850658" y="3551231"/>
                </a:lnTo>
                <a:lnTo>
                  <a:pt x="3854911" y="3555993"/>
                </a:lnTo>
                <a:lnTo>
                  <a:pt x="3857569" y="3560227"/>
                </a:lnTo>
                <a:lnTo>
                  <a:pt x="3860759" y="3564989"/>
                </a:lnTo>
                <a:lnTo>
                  <a:pt x="3862886" y="3569752"/>
                </a:lnTo>
                <a:lnTo>
                  <a:pt x="3864481" y="3575043"/>
                </a:lnTo>
                <a:lnTo>
                  <a:pt x="3866076" y="3580335"/>
                </a:lnTo>
                <a:lnTo>
                  <a:pt x="3867139" y="3585627"/>
                </a:lnTo>
                <a:lnTo>
                  <a:pt x="3867139" y="3590918"/>
                </a:lnTo>
                <a:lnTo>
                  <a:pt x="3867139" y="3596210"/>
                </a:lnTo>
                <a:lnTo>
                  <a:pt x="3866076" y="3601502"/>
                </a:lnTo>
                <a:lnTo>
                  <a:pt x="3864481" y="3606793"/>
                </a:lnTo>
                <a:lnTo>
                  <a:pt x="3862886" y="3612085"/>
                </a:lnTo>
                <a:lnTo>
                  <a:pt x="3860759" y="3616848"/>
                </a:lnTo>
                <a:lnTo>
                  <a:pt x="3857569" y="3621610"/>
                </a:lnTo>
                <a:lnTo>
                  <a:pt x="3853847" y="3625843"/>
                </a:lnTo>
                <a:lnTo>
                  <a:pt x="3850126" y="3630606"/>
                </a:lnTo>
                <a:lnTo>
                  <a:pt x="3846404" y="3634310"/>
                </a:lnTo>
                <a:lnTo>
                  <a:pt x="3841619" y="3637485"/>
                </a:lnTo>
                <a:lnTo>
                  <a:pt x="3836834" y="3640660"/>
                </a:lnTo>
                <a:lnTo>
                  <a:pt x="3831517" y="3642777"/>
                </a:lnTo>
                <a:lnTo>
                  <a:pt x="3826201" y="3644364"/>
                </a:lnTo>
                <a:lnTo>
                  <a:pt x="3821948" y="3645952"/>
                </a:lnTo>
                <a:lnTo>
                  <a:pt x="3816630" y="3646481"/>
                </a:lnTo>
                <a:lnTo>
                  <a:pt x="3810251" y="3646481"/>
                </a:lnTo>
                <a:lnTo>
                  <a:pt x="3804935" y="3646481"/>
                </a:lnTo>
                <a:lnTo>
                  <a:pt x="3799618" y="3645952"/>
                </a:lnTo>
                <a:lnTo>
                  <a:pt x="3794832" y="3644364"/>
                </a:lnTo>
                <a:lnTo>
                  <a:pt x="3789517" y="3642777"/>
                </a:lnTo>
                <a:lnTo>
                  <a:pt x="3784199" y="3640660"/>
                </a:lnTo>
                <a:lnTo>
                  <a:pt x="3779414" y="3637485"/>
                </a:lnTo>
                <a:lnTo>
                  <a:pt x="3775161" y="3634310"/>
                </a:lnTo>
                <a:lnTo>
                  <a:pt x="3771440" y="3630606"/>
                </a:lnTo>
                <a:lnTo>
                  <a:pt x="3767187" y="3625843"/>
                </a:lnTo>
                <a:lnTo>
                  <a:pt x="3763464" y="3621610"/>
                </a:lnTo>
                <a:lnTo>
                  <a:pt x="3761338" y="3616848"/>
                </a:lnTo>
                <a:lnTo>
                  <a:pt x="3759211" y="3611556"/>
                </a:lnTo>
                <a:lnTo>
                  <a:pt x="3756554" y="3606793"/>
                </a:lnTo>
                <a:lnTo>
                  <a:pt x="3756022" y="3601502"/>
                </a:lnTo>
                <a:lnTo>
                  <a:pt x="3754958" y="3596210"/>
                </a:lnTo>
                <a:lnTo>
                  <a:pt x="3754427" y="3590918"/>
                </a:lnTo>
                <a:lnTo>
                  <a:pt x="3754958" y="3585627"/>
                </a:lnTo>
                <a:lnTo>
                  <a:pt x="3756022" y="3580335"/>
                </a:lnTo>
                <a:lnTo>
                  <a:pt x="3756554" y="3575043"/>
                </a:lnTo>
                <a:lnTo>
                  <a:pt x="3759211" y="3569752"/>
                </a:lnTo>
                <a:lnTo>
                  <a:pt x="3761338" y="3564989"/>
                </a:lnTo>
                <a:lnTo>
                  <a:pt x="3763464" y="3559698"/>
                </a:lnTo>
                <a:lnTo>
                  <a:pt x="3767187" y="3555993"/>
                </a:lnTo>
                <a:lnTo>
                  <a:pt x="3771440" y="3551231"/>
                </a:lnTo>
                <a:lnTo>
                  <a:pt x="3775161" y="3547527"/>
                </a:lnTo>
                <a:lnTo>
                  <a:pt x="3779414" y="3544352"/>
                </a:lnTo>
                <a:lnTo>
                  <a:pt x="3784731" y="3541177"/>
                </a:lnTo>
                <a:lnTo>
                  <a:pt x="3789517" y="3539060"/>
                </a:lnTo>
                <a:lnTo>
                  <a:pt x="3794832" y="3537473"/>
                </a:lnTo>
                <a:lnTo>
                  <a:pt x="3800150" y="3535885"/>
                </a:lnTo>
                <a:close/>
                <a:moveTo>
                  <a:pt x="1700952" y="3508368"/>
                </a:moveTo>
                <a:lnTo>
                  <a:pt x="1706308" y="3517298"/>
                </a:lnTo>
                <a:lnTo>
                  <a:pt x="1716483" y="3541460"/>
                </a:lnTo>
                <a:lnTo>
                  <a:pt x="1719696" y="3549339"/>
                </a:lnTo>
                <a:lnTo>
                  <a:pt x="1721838" y="3556693"/>
                </a:lnTo>
                <a:lnTo>
                  <a:pt x="1723980" y="3565098"/>
                </a:lnTo>
                <a:lnTo>
                  <a:pt x="1725587" y="3573502"/>
                </a:lnTo>
                <a:lnTo>
                  <a:pt x="1726658" y="3582432"/>
                </a:lnTo>
                <a:lnTo>
                  <a:pt x="1727194" y="3590836"/>
                </a:lnTo>
                <a:lnTo>
                  <a:pt x="1727194" y="3599766"/>
                </a:lnTo>
                <a:lnTo>
                  <a:pt x="1725587" y="3608170"/>
                </a:lnTo>
                <a:lnTo>
                  <a:pt x="1723980" y="3614474"/>
                </a:lnTo>
                <a:lnTo>
                  <a:pt x="1722374" y="3620252"/>
                </a:lnTo>
                <a:lnTo>
                  <a:pt x="1720232" y="3624979"/>
                </a:lnTo>
                <a:lnTo>
                  <a:pt x="1718089" y="3629181"/>
                </a:lnTo>
                <a:lnTo>
                  <a:pt x="1715412" y="3633909"/>
                </a:lnTo>
                <a:lnTo>
                  <a:pt x="1712734" y="3637586"/>
                </a:lnTo>
                <a:lnTo>
                  <a:pt x="1709521" y="3640737"/>
                </a:lnTo>
                <a:lnTo>
                  <a:pt x="1705772" y="3643889"/>
                </a:lnTo>
                <a:lnTo>
                  <a:pt x="1702559" y="3645990"/>
                </a:lnTo>
                <a:lnTo>
                  <a:pt x="1698810" y="3647566"/>
                </a:lnTo>
                <a:lnTo>
                  <a:pt x="1695061" y="3649142"/>
                </a:lnTo>
                <a:lnTo>
                  <a:pt x="1690241" y="3650718"/>
                </a:lnTo>
                <a:lnTo>
                  <a:pt x="1686492" y="3650718"/>
                </a:lnTo>
                <a:lnTo>
                  <a:pt x="1681672" y="3651243"/>
                </a:lnTo>
                <a:lnTo>
                  <a:pt x="1677924" y="3650718"/>
                </a:lnTo>
                <a:lnTo>
                  <a:pt x="1673104" y="3650718"/>
                </a:lnTo>
                <a:lnTo>
                  <a:pt x="1668820" y="3649142"/>
                </a:lnTo>
                <a:lnTo>
                  <a:pt x="1664535" y="3647566"/>
                </a:lnTo>
                <a:lnTo>
                  <a:pt x="1660786" y="3645990"/>
                </a:lnTo>
                <a:lnTo>
                  <a:pt x="1657038" y="3643889"/>
                </a:lnTo>
                <a:lnTo>
                  <a:pt x="1653289" y="3641263"/>
                </a:lnTo>
                <a:lnTo>
                  <a:pt x="1650076" y="3638636"/>
                </a:lnTo>
                <a:lnTo>
                  <a:pt x="1647933" y="3635485"/>
                </a:lnTo>
                <a:lnTo>
                  <a:pt x="1645256" y="3631808"/>
                </a:lnTo>
                <a:lnTo>
                  <a:pt x="1643114" y="3628131"/>
                </a:lnTo>
                <a:lnTo>
                  <a:pt x="1641507" y="3623929"/>
                </a:lnTo>
                <a:lnTo>
                  <a:pt x="1639900" y="3619726"/>
                </a:lnTo>
                <a:lnTo>
                  <a:pt x="1639365" y="3614999"/>
                </a:lnTo>
                <a:lnTo>
                  <a:pt x="1638294" y="3609746"/>
                </a:lnTo>
                <a:lnTo>
                  <a:pt x="1638294" y="3604493"/>
                </a:lnTo>
                <a:lnTo>
                  <a:pt x="1638294" y="3598190"/>
                </a:lnTo>
                <a:lnTo>
                  <a:pt x="1639900" y="3592412"/>
                </a:lnTo>
                <a:lnTo>
                  <a:pt x="1642578" y="3584008"/>
                </a:lnTo>
                <a:lnTo>
                  <a:pt x="1644720" y="3575603"/>
                </a:lnTo>
                <a:lnTo>
                  <a:pt x="1648469" y="3567199"/>
                </a:lnTo>
                <a:lnTo>
                  <a:pt x="1653289" y="3559845"/>
                </a:lnTo>
                <a:lnTo>
                  <a:pt x="1657573" y="3553016"/>
                </a:lnTo>
                <a:lnTo>
                  <a:pt x="1663464" y="3545137"/>
                </a:lnTo>
                <a:lnTo>
                  <a:pt x="1668820" y="3539359"/>
                </a:lnTo>
                <a:lnTo>
                  <a:pt x="1674175" y="3533056"/>
                </a:lnTo>
                <a:lnTo>
                  <a:pt x="1692383" y="3515196"/>
                </a:lnTo>
                <a:close/>
                <a:moveTo>
                  <a:pt x="1486127" y="3502018"/>
                </a:moveTo>
                <a:lnTo>
                  <a:pt x="1492438" y="3510454"/>
                </a:lnTo>
                <a:lnTo>
                  <a:pt x="1505586" y="3532598"/>
                </a:lnTo>
                <a:lnTo>
                  <a:pt x="1509794" y="3539452"/>
                </a:lnTo>
                <a:lnTo>
                  <a:pt x="1513475" y="3546833"/>
                </a:lnTo>
                <a:lnTo>
                  <a:pt x="1516631" y="3555269"/>
                </a:lnTo>
                <a:lnTo>
                  <a:pt x="1519260" y="3563177"/>
                </a:lnTo>
                <a:lnTo>
                  <a:pt x="1521890" y="3572140"/>
                </a:lnTo>
                <a:lnTo>
                  <a:pt x="1523468" y="3580576"/>
                </a:lnTo>
                <a:lnTo>
                  <a:pt x="1523993" y="3589012"/>
                </a:lnTo>
                <a:lnTo>
                  <a:pt x="1523993" y="3597975"/>
                </a:lnTo>
                <a:lnTo>
                  <a:pt x="1523993" y="3603775"/>
                </a:lnTo>
                <a:lnTo>
                  <a:pt x="1522416" y="3610102"/>
                </a:lnTo>
                <a:lnTo>
                  <a:pt x="1521890" y="3615374"/>
                </a:lnTo>
                <a:lnTo>
                  <a:pt x="1520312" y="3620119"/>
                </a:lnTo>
                <a:lnTo>
                  <a:pt x="1517682" y="3624337"/>
                </a:lnTo>
                <a:lnTo>
                  <a:pt x="1515579" y="3628555"/>
                </a:lnTo>
                <a:lnTo>
                  <a:pt x="1512423" y="3632245"/>
                </a:lnTo>
                <a:lnTo>
                  <a:pt x="1509794" y="3634882"/>
                </a:lnTo>
                <a:lnTo>
                  <a:pt x="1506638" y="3638045"/>
                </a:lnTo>
                <a:lnTo>
                  <a:pt x="1503483" y="3640681"/>
                </a:lnTo>
                <a:lnTo>
                  <a:pt x="1499801" y="3642790"/>
                </a:lnTo>
                <a:lnTo>
                  <a:pt x="1496120" y="3644372"/>
                </a:lnTo>
                <a:lnTo>
                  <a:pt x="1492438" y="3645954"/>
                </a:lnTo>
                <a:lnTo>
                  <a:pt x="1487705" y="3646481"/>
                </a:lnTo>
                <a:lnTo>
                  <a:pt x="1482972" y="3646481"/>
                </a:lnTo>
                <a:lnTo>
                  <a:pt x="1479290" y="3646481"/>
                </a:lnTo>
                <a:lnTo>
                  <a:pt x="1474557" y="3646481"/>
                </a:lnTo>
                <a:lnTo>
                  <a:pt x="1470350" y="3645954"/>
                </a:lnTo>
                <a:lnTo>
                  <a:pt x="1466668" y="3644372"/>
                </a:lnTo>
                <a:lnTo>
                  <a:pt x="1462461" y="3642790"/>
                </a:lnTo>
                <a:lnTo>
                  <a:pt x="1458779" y="3640681"/>
                </a:lnTo>
                <a:lnTo>
                  <a:pt x="1455098" y="3638045"/>
                </a:lnTo>
                <a:lnTo>
                  <a:pt x="1451942" y="3635936"/>
                </a:lnTo>
                <a:lnTo>
                  <a:pt x="1448787" y="3632773"/>
                </a:lnTo>
                <a:lnTo>
                  <a:pt x="1446683" y="3629082"/>
                </a:lnTo>
                <a:lnTo>
                  <a:pt x="1444579" y="3625391"/>
                </a:lnTo>
                <a:lnTo>
                  <a:pt x="1441950" y="3620646"/>
                </a:lnTo>
                <a:lnTo>
                  <a:pt x="1440898" y="3615901"/>
                </a:lnTo>
                <a:lnTo>
                  <a:pt x="1439846" y="3610629"/>
                </a:lnTo>
                <a:lnTo>
                  <a:pt x="1438268" y="3605356"/>
                </a:lnTo>
                <a:lnTo>
                  <a:pt x="1438268" y="3600084"/>
                </a:lnTo>
                <a:lnTo>
                  <a:pt x="1438268" y="3594284"/>
                </a:lnTo>
                <a:lnTo>
                  <a:pt x="1439320" y="3584794"/>
                </a:lnTo>
                <a:lnTo>
                  <a:pt x="1441424" y="3576886"/>
                </a:lnTo>
                <a:lnTo>
                  <a:pt x="1443528" y="3568450"/>
                </a:lnTo>
                <a:lnTo>
                  <a:pt x="1446683" y="3560014"/>
                </a:lnTo>
                <a:lnTo>
                  <a:pt x="1450365" y="3551578"/>
                </a:lnTo>
                <a:lnTo>
                  <a:pt x="1454572" y="3544197"/>
                </a:lnTo>
                <a:lnTo>
                  <a:pt x="1458779" y="3537343"/>
                </a:lnTo>
                <a:lnTo>
                  <a:pt x="1462461" y="3530489"/>
                </a:lnTo>
                <a:lnTo>
                  <a:pt x="1478764" y="3509926"/>
                </a:lnTo>
                <a:close/>
                <a:moveTo>
                  <a:pt x="3554926" y="3489318"/>
                </a:moveTo>
                <a:lnTo>
                  <a:pt x="3560168" y="3489842"/>
                </a:lnTo>
                <a:lnTo>
                  <a:pt x="3565411" y="3490890"/>
                </a:lnTo>
                <a:lnTo>
                  <a:pt x="3570653" y="3491415"/>
                </a:lnTo>
                <a:lnTo>
                  <a:pt x="3575894" y="3493511"/>
                </a:lnTo>
                <a:lnTo>
                  <a:pt x="3580611" y="3496132"/>
                </a:lnTo>
                <a:lnTo>
                  <a:pt x="3584804" y="3498229"/>
                </a:lnTo>
                <a:lnTo>
                  <a:pt x="3589523" y="3501898"/>
                </a:lnTo>
                <a:lnTo>
                  <a:pt x="3593716" y="3506091"/>
                </a:lnTo>
                <a:lnTo>
                  <a:pt x="3597909" y="3510285"/>
                </a:lnTo>
                <a:lnTo>
                  <a:pt x="3600530" y="3513954"/>
                </a:lnTo>
                <a:lnTo>
                  <a:pt x="3603674" y="3519196"/>
                </a:lnTo>
                <a:lnTo>
                  <a:pt x="3606296" y="3523913"/>
                </a:lnTo>
                <a:lnTo>
                  <a:pt x="3607343" y="3529155"/>
                </a:lnTo>
                <a:lnTo>
                  <a:pt x="3608916" y="3534397"/>
                </a:lnTo>
                <a:lnTo>
                  <a:pt x="3609965" y="3539639"/>
                </a:lnTo>
                <a:lnTo>
                  <a:pt x="3609965" y="3544880"/>
                </a:lnTo>
                <a:lnTo>
                  <a:pt x="3609965" y="3550646"/>
                </a:lnTo>
                <a:lnTo>
                  <a:pt x="3608916" y="3555888"/>
                </a:lnTo>
                <a:lnTo>
                  <a:pt x="3607343" y="3561130"/>
                </a:lnTo>
                <a:lnTo>
                  <a:pt x="3606296" y="3565323"/>
                </a:lnTo>
                <a:lnTo>
                  <a:pt x="3603674" y="3570565"/>
                </a:lnTo>
                <a:lnTo>
                  <a:pt x="3600530" y="3575282"/>
                </a:lnTo>
                <a:lnTo>
                  <a:pt x="3597909" y="3580000"/>
                </a:lnTo>
                <a:lnTo>
                  <a:pt x="3593716" y="3584193"/>
                </a:lnTo>
                <a:lnTo>
                  <a:pt x="3589523" y="3588387"/>
                </a:lnTo>
                <a:lnTo>
                  <a:pt x="3584804" y="3591008"/>
                </a:lnTo>
                <a:lnTo>
                  <a:pt x="3580611" y="3594153"/>
                </a:lnTo>
                <a:lnTo>
                  <a:pt x="3574846" y="3596249"/>
                </a:lnTo>
                <a:lnTo>
                  <a:pt x="3570653" y="3597822"/>
                </a:lnTo>
                <a:lnTo>
                  <a:pt x="3565411" y="3599395"/>
                </a:lnTo>
                <a:lnTo>
                  <a:pt x="3560168" y="3600443"/>
                </a:lnTo>
                <a:lnTo>
                  <a:pt x="3554926" y="3600443"/>
                </a:lnTo>
                <a:lnTo>
                  <a:pt x="3549685" y="3600443"/>
                </a:lnTo>
                <a:lnTo>
                  <a:pt x="3543919" y="3599395"/>
                </a:lnTo>
                <a:lnTo>
                  <a:pt x="3538678" y="3597822"/>
                </a:lnTo>
                <a:lnTo>
                  <a:pt x="3533436" y="3596249"/>
                </a:lnTo>
                <a:lnTo>
                  <a:pt x="3529242" y="3594153"/>
                </a:lnTo>
                <a:lnTo>
                  <a:pt x="3524000" y="3591008"/>
                </a:lnTo>
                <a:lnTo>
                  <a:pt x="3519283" y="3587339"/>
                </a:lnTo>
                <a:lnTo>
                  <a:pt x="3515614" y="3583669"/>
                </a:lnTo>
                <a:lnTo>
                  <a:pt x="3511944" y="3580000"/>
                </a:lnTo>
                <a:lnTo>
                  <a:pt x="3507751" y="3575282"/>
                </a:lnTo>
                <a:lnTo>
                  <a:pt x="3505654" y="3570565"/>
                </a:lnTo>
                <a:lnTo>
                  <a:pt x="3503558" y="3565323"/>
                </a:lnTo>
                <a:lnTo>
                  <a:pt x="3500937" y="3560081"/>
                </a:lnTo>
                <a:lnTo>
                  <a:pt x="3500412" y="3555888"/>
                </a:lnTo>
                <a:lnTo>
                  <a:pt x="3499364" y="3550646"/>
                </a:lnTo>
                <a:lnTo>
                  <a:pt x="3498840" y="3544880"/>
                </a:lnTo>
                <a:lnTo>
                  <a:pt x="3499364" y="3539114"/>
                </a:lnTo>
                <a:lnTo>
                  <a:pt x="3500412" y="3533873"/>
                </a:lnTo>
                <a:lnTo>
                  <a:pt x="3501985" y="3529155"/>
                </a:lnTo>
                <a:lnTo>
                  <a:pt x="3503558" y="3523913"/>
                </a:lnTo>
                <a:lnTo>
                  <a:pt x="3505654" y="3518672"/>
                </a:lnTo>
                <a:lnTo>
                  <a:pt x="3508800" y="3513954"/>
                </a:lnTo>
                <a:lnTo>
                  <a:pt x="3511944" y="3509761"/>
                </a:lnTo>
                <a:lnTo>
                  <a:pt x="3515614" y="3506091"/>
                </a:lnTo>
                <a:lnTo>
                  <a:pt x="3519807" y="3501898"/>
                </a:lnTo>
                <a:lnTo>
                  <a:pt x="3524524" y="3498229"/>
                </a:lnTo>
                <a:lnTo>
                  <a:pt x="3529242" y="3496132"/>
                </a:lnTo>
                <a:lnTo>
                  <a:pt x="3533436" y="3493511"/>
                </a:lnTo>
                <a:lnTo>
                  <a:pt x="3538678" y="3491415"/>
                </a:lnTo>
                <a:lnTo>
                  <a:pt x="3543919" y="3490890"/>
                </a:lnTo>
                <a:lnTo>
                  <a:pt x="3549685" y="3489842"/>
                </a:lnTo>
                <a:close/>
                <a:moveTo>
                  <a:pt x="1110951" y="3481381"/>
                </a:moveTo>
                <a:lnTo>
                  <a:pt x="1117262" y="3489878"/>
                </a:lnTo>
                <a:lnTo>
                  <a:pt x="1130936" y="3512715"/>
                </a:lnTo>
                <a:lnTo>
                  <a:pt x="1135144" y="3519619"/>
                </a:lnTo>
                <a:lnTo>
                  <a:pt x="1138825" y="3527055"/>
                </a:lnTo>
                <a:lnTo>
                  <a:pt x="1141981" y="3535021"/>
                </a:lnTo>
                <a:lnTo>
                  <a:pt x="1144610" y="3543519"/>
                </a:lnTo>
                <a:lnTo>
                  <a:pt x="1147240" y="3551485"/>
                </a:lnTo>
                <a:lnTo>
                  <a:pt x="1148817" y="3561045"/>
                </a:lnTo>
                <a:lnTo>
                  <a:pt x="1149343" y="3569542"/>
                </a:lnTo>
                <a:lnTo>
                  <a:pt x="1149343" y="3578571"/>
                </a:lnTo>
                <a:lnTo>
                  <a:pt x="1149343" y="3584413"/>
                </a:lnTo>
                <a:lnTo>
                  <a:pt x="1148817" y="3589723"/>
                </a:lnTo>
                <a:lnTo>
                  <a:pt x="1147240" y="3595565"/>
                </a:lnTo>
                <a:lnTo>
                  <a:pt x="1145662" y="3600876"/>
                </a:lnTo>
                <a:lnTo>
                  <a:pt x="1143032" y="3605125"/>
                </a:lnTo>
                <a:lnTo>
                  <a:pt x="1140929" y="3608843"/>
                </a:lnTo>
                <a:lnTo>
                  <a:pt x="1137773" y="3613091"/>
                </a:lnTo>
                <a:lnTo>
                  <a:pt x="1135144" y="3615747"/>
                </a:lnTo>
                <a:lnTo>
                  <a:pt x="1131988" y="3618933"/>
                </a:lnTo>
                <a:lnTo>
                  <a:pt x="1128833" y="3621589"/>
                </a:lnTo>
                <a:lnTo>
                  <a:pt x="1125151" y="3623713"/>
                </a:lnTo>
                <a:lnTo>
                  <a:pt x="1121470" y="3625307"/>
                </a:lnTo>
                <a:lnTo>
                  <a:pt x="1117262" y="3626900"/>
                </a:lnTo>
                <a:lnTo>
                  <a:pt x="1113055" y="3627431"/>
                </a:lnTo>
                <a:lnTo>
                  <a:pt x="1108322" y="3627431"/>
                </a:lnTo>
                <a:lnTo>
                  <a:pt x="1104640" y="3627431"/>
                </a:lnTo>
                <a:lnTo>
                  <a:pt x="1099907" y="3627431"/>
                </a:lnTo>
                <a:lnTo>
                  <a:pt x="1095699" y="3626900"/>
                </a:lnTo>
                <a:lnTo>
                  <a:pt x="1092018" y="3625307"/>
                </a:lnTo>
                <a:lnTo>
                  <a:pt x="1087811" y="3623713"/>
                </a:lnTo>
                <a:lnTo>
                  <a:pt x="1084129" y="3621589"/>
                </a:lnTo>
                <a:lnTo>
                  <a:pt x="1080448" y="3618933"/>
                </a:lnTo>
                <a:lnTo>
                  <a:pt x="1077292" y="3616809"/>
                </a:lnTo>
                <a:lnTo>
                  <a:pt x="1074137" y="3613091"/>
                </a:lnTo>
                <a:lnTo>
                  <a:pt x="1072033" y="3609905"/>
                </a:lnTo>
                <a:lnTo>
                  <a:pt x="1069929" y="3606187"/>
                </a:lnTo>
                <a:lnTo>
                  <a:pt x="1067300" y="3601407"/>
                </a:lnTo>
                <a:lnTo>
                  <a:pt x="1066248" y="3596628"/>
                </a:lnTo>
                <a:lnTo>
                  <a:pt x="1065196" y="3591317"/>
                </a:lnTo>
                <a:lnTo>
                  <a:pt x="1063618" y="3586006"/>
                </a:lnTo>
                <a:lnTo>
                  <a:pt x="1063618" y="3580695"/>
                </a:lnTo>
                <a:lnTo>
                  <a:pt x="1063618" y="3574853"/>
                </a:lnTo>
                <a:lnTo>
                  <a:pt x="1064670" y="3565293"/>
                </a:lnTo>
                <a:lnTo>
                  <a:pt x="1066774" y="3557327"/>
                </a:lnTo>
                <a:lnTo>
                  <a:pt x="1068878" y="3548829"/>
                </a:lnTo>
                <a:lnTo>
                  <a:pt x="1072033" y="3540332"/>
                </a:lnTo>
                <a:lnTo>
                  <a:pt x="1075714" y="3531835"/>
                </a:lnTo>
                <a:lnTo>
                  <a:pt x="1079396" y="3524399"/>
                </a:lnTo>
                <a:lnTo>
                  <a:pt x="1084129" y="3517495"/>
                </a:lnTo>
                <a:lnTo>
                  <a:pt x="1087811" y="3510591"/>
                </a:lnTo>
                <a:lnTo>
                  <a:pt x="1104114" y="3489878"/>
                </a:lnTo>
                <a:close/>
                <a:moveTo>
                  <a:pt x="5691589" y="3417894"/>
                </a:moveTo>
                <a:lnTo>
                  <a:pt x="5684217" y="3421585"/>
                </a:lnTo>
                <a:lnTo>
                  <a:pt x="5680037" y="3423789"/>
                </a:lnTo>
                <a:lnTo>
                  <a:pt x="5681762" y="3422959"/>
                </a:lnTo>
                <a:lnTo>
                  <a:pt x="5691408" y="3418164"/>
                </a:lnTo>
                <a:close/>
                <a:moveTo>
                  <a:pt x="5757629" y="3389738"/>
                </a:moveTo>
                <a:lnTo>
                  <a:pt x="5748154" y="3393010"/>
                </a:lnTo>
                <a:lnTo>
                  <a:pt x="5733887" y="3398302"/>
                </a:lnTo>
                <a:lnTo>
                  <a:pt x="5729518" y="3400321"/>
                </a:lnTo>
                <a:lnTo>
                  <a:pt x="5740601" y="3396084"/>
                </a:lnTo>
                <a:lnTo>
                  <a:pt x="5753852" y="3391341"/>
                </a:lnTo>
                <a:lnTo>
                  <a:pt x="5757097" y="3390219"/>
                </a:lnTo>
                <a:close/>
                <a:moveTo>
                  <a:pt x="4030411" y="3354381"/>
                </a:moveTo>
                <a:lnTo>
                  <a:pt x="4035677" y="3354381"/>
                </a:lnTo>
                <a:lnTo>
                  <a:pt x="4040944" y="3354381"/>
                </a:lnTo>
                <a:lnTo>
                  <a:pt x="4046211" y="3354905"/>
                </a:lnTo>
                <a:lnTo>
                  <a:pt x="4051477" y="3356478"/>
                </a:lnTo>
                <a:lnTo>
                  <a:pt x="4056217" y="3358050"/>
                </a:lnTo>
                <a:lnTo>
                  <a:pt x="4061483" y="3360147"/>
                </a:lnTo>
                <a:lnTo>
                  <a:pt x="4066224" y="3363292"/>
                </a:lnTo>
                <a:lnTo>
                  <a:pt x="4070436" y="3366961"/>
                </a:lnTo>
                <a:lnTo>
                  <a:pt x="4075177" y="3371154"/>
                </a:lnTo>
                <a:lnTo>
                  <a:pt x="4078863" y="3374824"/>
                </a:lnTo>
                <a:lnTo>
                  <a:pt x="4082023" y="3379017"/>
                </a:lnTo>
                <a:lnTo>
                  <a:pt x="4085183" y="3383735"/>
                </a:lnTo>
                <a:lnTo>
                  <a:pt x="4087290" y="3388976"/>
                </a:lnTo>
                <a:lnTo>
                  <a:pt x="4088870" y="3394218"/>
                </a:lnTo>
                <a:lnTo>
                  <a:pt x="4090450" y="3398936"/>
                </a:lnTo>
                <a:lnTo>
                  <a:pt x="4090976" y="3404177"/>
                </a:lnTo>
                <a:lnTo>
                  <a:pt x="4090976" y="3409419"/>
                </a:lnTo>
                <a:lnTo>
                  <a:pt x="4090976" y="3414661"/>
                </a:lnTo>
                <a:lnTo>
                  <a:pt x="4090450" y="3419903"/>
                </a:lnTo>
                <a:lnTo>
                  <a:pt x="4088870" y="3425144"/>
                </a:lnTo>
                <a:lnTo>
                  <a:pt x="4087290" y="3430386"/>
                </a:lnTo>
                <a:lnTo>
                  <a:pt x="4085183" y="3435628"/>
                </a:lnTo>
                <a:lnTo>
                  <a:pt x="4082023" y="3440345"/>
                </a:lnTo>
                <a:lnTo>
                  <a:pt x="4078337" y="3445063"/>
                </a:lnTo>
                <a:lnTo>
                  <a:pt x="4074650" y="3448732"/>
                </a:lnTo>
                <a:lnTo>
                  <a:pt x="4070436" y="3452402"/>
                </a:lnTo>
                <a:lnTo>
                  <a:pt x="4066224" y="3456071"/>
                </a:lnTo>
                <a:lnTo>
                  <a:pt x="4061483" y="3458692"/>
                </a:lnTo>
                <a:lnTo>
                  <a:pt x="4056217" y="3460788"/>
                </a:lnTo>
                <a:lnTo>
                  <a:pt x="4050950" y="3462885"/>
                </a:lnTo>
                <a:lnTo>
                  <a:pt x="4045683" y="3463933"/>
                </a:lnTo>
                <a:lnTo>
                  <a:pt x="4040417" y="3464458"/>
                </a:lnTo>
                <a:lnTo>
                  <a:pt x="4035151" y="3465506"/>
                </a:lnTo>
                <a:lnTo>
                  <a:pt x="4029884" y="3464458"/>
                </a:lnTo>
                <a:lnTo>
                  <a:pt x="4024617" y="3463933"/>
                </a:lnTo>
                <a:lnTo>
                  <a:pt x="4019877" y="3462885"/>
                </a:lnTo>
                <a:lnTo>
                  <a:pt x="4014611" y="3460788"/>
                </a:lnTo>
                <a:lnTo>
                  <a:pt x="4009344" y="3458692"/>
                </a:lnTo>
                <a:lnTo>
                  <a:pt x="4004604" y="3455547"/>
                </a:lnTo>
                <a:lnTo>
                  <a:pt x="4000391" y="3452402"/>
                </a:lnTo>
                <a:lnTo>
                  <a:pt x="3996177" y="3448732"/>
                </a:lnTo>
                <a:lnTo>
                  <a:pt x="3992491" y="3444015"/>
                </a:lnTo>
                <a:lnTo>
                  <a:pt x="3988804" y="3440345"/>
                </a:lnTo>
                <a:lnTo>
                  <a:pt x="3986698" y="3435104"/>
                </a:lnTo>
                <a:lnTo>
                  <a:pt x="3984064" y="3430386"/>
                </a:lnTo>
                <a:lnTo>
                  <a:pt x="3981958" y="3425144"/>
                </a:lnTo>
                <a:lnTo>
                  <a:pt x="3981431" y="3419903"/>
                </a:lnTo>
                <a:lnTo>
                  <a:pt x="3980378" y="3414661"/>
                </a:lnTo>
                <a:lnTo>
                  <a:pt x="3979851" y="3409419"/>
                </a:lnTo>
                <a:lnTo>
                  <a:pt x="3980378" y="3404177"/>
                </a:lnTo>
                <a:lnTo>
                  <a:pt x="3981431" y="3398936"/>
                </a:lnTo>
                <a:lnTo>
                  <a:pt x="3981958" y="3393694"/>
                </a:lnTo>
                <a:lnTo>
                  <a:pt x="3984064" y="3388976"/>
                </a:lnTo>
                <a:lnTo>
                  <a:pt x="3986698" y="3383735"/>
                </a:lnTo>
                <a:lnTo>
                  <a:pt x="3988804" y="3379017"/>
                </a:lnTo>
                <a:lnTo>
                  <a:pt x="3992491" y="3374824"/>
                </a:lnTo>
                <a:lnTo>
                  <a:pt x="3996177" y="3370106"/>
                </a:lnTo>
                <a:lnTo>
                  <a:pt x="4000391" y="3366437"/>
                </a:lnTo>
                <a:lnTo>
                  <a:pt x="4004604" y="3363292"/>
                </a:lnTo>
                <a:lnTo>
                  <a:pt x="4009871" y="3360147"/>
                </a:lnTo>
                <a:lnTo>
                  <a:pt x="4014611" y="3358050"/>
                </a:lnTo>
                <a:lnTo>
                  <a:pt x="4019877" y="3356478"/>
                </a:lnTo>
                <a:lnTo>
                  <a:pt x="4025144" y="3354905"/>
                </a:lnTo>
                <a:close/>
                <a:moveTo>
                  <a:pt x="1369476" y="3333743"/>
                </a:moveTo>
                <a:lnTo>
                  <a:pt x="1373180" y="3343760"/>
                </a:lnTo>
                <a:lnTo>
                  <a:pt x="1381647" y="3369065"/>
                </a:lnTo>
                <a:lnTo>
                  <a:pt x="1383764" y="3376446"/>
                </a:lnTo>
                <a:lnTo>
                  <a:pt x="1385351" y="3384881"/>
                </a:lnTo>
                <a:lnTo>
                  <a:pt x="1386939" y="3393316"/>
                </a:lnTo>
                <a:lnTo>
                  <a:pt x="1387468" y="3401751"/>
                </a:lnTo>
                <a:lnTo>
                  <a:pt x="1387468" y="3410713"/>
                </a:lnTo>
                <a:lnTo>
                  <a:pt x="1387468" y="3419148"/>
                </a:lnTo>
                <a:lnTo>
                  <a:pt x="1385880" y="3428111"/>
                </a:lnTo>
                <a:lnTo>
                  <a:pt x="1384293" y="3436546"/>
                </a:lnTo>
                <a:lnTo>
                  <a:pt x="1382176" y="3442345"/>
                </a:lnTo>
                <a:lnTo>
                  <a:pt x="1380059" y="3447617"/>
                </a:lnTo>
                <a:lnTo>
                  <a:pt x="1377943" y="3452362"/>
                </a:lnTo>
                <a:lnTo>
                  <a:pt x="1374768" y="3457106"/>
                </a:lnTo>
                <a:lnTo>
                  <a:pt x="1371593" y="3460797"/>
                </a:lnTo>
                <a:lnTo>
                  <a:pt x="1368418" y="3464487"/>
                </a:lnTo>
                <a:lnTo>
                  <a:pt x="1364714" y="3467650"/>
                </a:lnTo>
                <a:lnTo>
                  <a:pt x="1361539" y="3469759"/>
                </a:lnTo>
                <a:lnTo>
                  <a:pt x="1357834" y="3471341"/>
                </a:lnTo>
                <a:lnTo>
                  <a:pt x="1353072" y="3472922"/>
                </a:lnTo>
                <a:lnTo>
                  <a:pt x="1349368" y="3474504"/>
                </a:lnTo>
                <a:lnTo>
                  <a:pt x="1345664" y="3475031"/>
                </a:lnTo>
                <a:lnTo>
                  <a:pt x="1340901" y="3475031"/>
                </a:lnTo>
                <a:lnTo>
                  <a:pt x="1337197" y="3475031"/>
                </a:lnTo>
                <a:lnTo>
                  <a:pt x="1332964" y="3474504"/>
                </a:lnTo>
                <a:lnTo>
                  <a:pt x="1328201" y="3473449"/>
                </a:lnTo>
                <a:lnTo>
                  <a:pt x="1324497" y="3472395"/>
                </a:lnTo>
                <a:lnTo>
                  <a:pt x="1320793" y="3469759"/>
                </a:lnTo>
                <a:lnTo>
                  <a:pt x="1316560" y="3468177"/>
                </a:lnTo>
                <a:lnTo>
                  <a:pt x="1312855" y="3465541"/>
                </a:lnTo>
                <a:lnTo>
                  <a:pt x="1309680" y="3462905"/>
                </a:lnTo>
                <a:lnTo>
                  <a:pt x="1307564" y="3460269"/>
                </a:lnTo>
                <a:lnTo>
                  <a:pt x="1304389" y="3456052"/>
                </a:lnTo>
                <a:lnTo>
                  <a:pt x="1302801" y="3452362"/>
                </a:lnTo>
                <a:lnTo>
                  <a:pt x="1300685" y="3448671"/>
                </a:lnTo>
                <a:lnTo>
                  <a:pt x="1299097" y="3443926"/>
                </a:lnTo>
                <a:lnTo>
                  <a:pt x="1298568" y="3439709"/>
                </a:lnTo>
                <a:lnTo>
                  <a:pt x="1298568" y="3434964"/>
                </a:lnTo>
                <a:lnTo>
                  <a:pt x="1298568" y="3429692"/>
                </a:lnTo>
                <a:lnTo>
                  <a:pt x="1298568" y="3424420"/>
                </a:lnTo>
                <a:lnTo>
                  <a:pt x="1300155" y="3418094"/>
                </a:lnTo>
                <a:lnTo>
                  <a:pt x="1301743" y="3412295"/>
                </a:lnTo>
                <a:lnTo>
                  <a:pt x="1303860" y="3403860"/>
                </a:lnTo>
                <a:lnTo>
                  <a:pt x="1307564" y="3396479"/>
                </a:lnTo>
                <a:lnTo>
                  <a:pt x="1312326" y="3388571"/>
                </a:lnTo>
                <a:lnTo>
                  <a:pt x="1317618" y="3381190"/>
                </a:lnTo>
                <a:lnTo>
                  <a:pt x="1322910" y="3374337"/>
                </a:lnTo>
                <a:lnTo>
                  <a:pt x="1328201" y="3368010"/>
                </a:lnTo>
                <a:lnTo>
                  <a:pt x="1334022" y="3362211"/>
                </a:lnTo>
                <a:lnTo>
                  <a:pt x="1340372" y="3356939"/>
                </a:lnTo>
                <a:lnTo>
                  <a:pt x="1359951" y="3340069"/>
                </a:lnTo>
                <a:close/>
                <a:moveTo>
                  <a:pt x="3438218" y="3328982"/>
                </a:moveTo>
                <a:lnTo>
                  <a:pt x="3443534" y="3328982"/>
                </a:lnTo>
                <a:lnTo>
                  <a:pt x="3448850" y="3328982"/>
                </a:lnTo>
                <a:lnTo>
                  <a:pt x="3454699" y="3328982"/>
                </a:lnTo>
                <a:lnTo>
                  <a:pt x="3460016" y="3330570"/>
                </a:lnTo>
                <a:lnTo>
                  <a:pt x="3465332" y="3331627"/>
                </a:lnTo>
                <a:lnTo>
                  <a:pt x="3470649" y="3334273"/>
                </a:lnTo>
                <a:lnTo>
                  <a:pt x="3474903" y="3336389"/>
                </a:lnTo>
                <a:lnTo>
                  <a:pt x="3479688" y="3339564"/>
                </a:lnTo>
                <a:lnTo>
                  <a:pt x="3484473" y="3343268"/>
                </a:lnTo>
                <a:lnTo>
                  <a:pt x="3488194" y="3348031"/>
                </a:lnTo>
                <a:lnTo>
                  <a:pt x="3491916" y="3351735"/>
                </a:lnTo>
                <a:lnTo>
                  <a:pt x="3494042" y="3356498"/>
                </a:lnTo>
                <a:lnTo>
                  <a:pt x="3497233" y="3361789"/>
                </a:lnTo>
                <a:lnTo>
                  <a:pt x="3498828" y="3366023"/>
                </a:lnTo>
                <a:lnTo>
                  <a:pt x="3500422" y="3371314"/>
                </a:lnTo>
                <a:lnTo>
                  <a:pt x="3500954" y="3376606"/>
                </a:lnTo>
                <a:lnTo>
                  <a:pt x="3502018" y="3382427"/>
                </a:lnTo>
                <a:lnTo>
                  <a:pt x="3502018" y="3387718"/>
                </a:lnTo>
                <a:lnTo>
                  <a:pt x="3500954" y="3393010"/>
                </a:lnTo>
                <a:lnTo>
                  <a:pt x="3500422" y="3398302"/>
                </a:lnTo>
                <a:lnTo>
                  <a:pt x="3498828" y="3403593"/>
                </a:lnTo>
                <a:lnTo>
                  <a:pt x="3496701" y="3408885"/>
                </a:lnTo>
                <a:lnTo>
                  <a:pt x="3493511" y="3413648"/>
                </a:lnTo>
                <a:lnTo>
                  <a:pt x="3490321" y="3417881"/>
                </a:lnTo>
                <a:lnTo>
                  <a:pt x="3486600" y="3422643"/>
                </a:lnTo>
                <a:lnTo>
                  <a:pt x="3482877" y="3426348"/>
                </a:lnTo>
                <a:lnTo>
                  <a:pt x="3478093" y="3430052"/>
                </a:lnTo>
                <a:lnTo>
                  <a:pt x="3473839" y="3433227"/>
                </a:lnTo>
                <a:lnTo>
                  <a:pt x="3469055" y="3435343"/>
                </a:lnTo>
                <a:lnTo>
                  <a:pt x="3463738" y="3436931"/>
                </a:lnTo>
                <a:lnTo>
                  <a:pt x="3458421" y="3438518"/>
                </a:lnTo>
                <a:lnTo>
                  <a:pt x="3453104" y="3440106"/>
                </a:lnTo>
                <a:lnTo>
                  <a:pt x="3447788" y="3440106"/>
                </a:lnTo>
                <a:lnTo>
                  <a:pt x="3441939" y="3440106"/>
                </a:lnTo>
                <a:lnTo>
                  <a:pt x="3436623" y="3439577"/>
                </a:lnTo>
                <a:lnTo>
                  <a:pt x="3431306" y="3438518"/>
                </a:lnTo>
                <a:lnTo>
                  <a:pt x="3427052" y="3436931"/>
                </a:lnTo>
                <a:lnTo>
                  <a:pt x="3421736" y="3434814"/>
                </a:lnTo>
                <a:lnTo>
                  <a:pt x="3416951" y="3431639"/>
                </a:lnTo>
                <a:lnTo>
                  <a:pt x="3411634" y="3428464"/>
                </a:lnTo>
                <a:lnTo>
                  <a:pt x="3407912" y="3425818"/>
                </a:lnTo>
                <a:lnTo>
                  <a:pt x="3403659" y="3421056"/>
                </a:lnTo>
                <a:lnTo>
                  <a:pt x="3399938" y="3416293"/>
                </a:lnTo>
                <a:lnTo>
                  <a:pt x="3397279" y="3412060"/>
                </a:lnTo>
                <a:lnTo>
                  <a:pt x="3394621" y="3407298"/>
                </a:lnTo>
                <a:lnTo>
                  <a:pt x="3392494" y="3402006"/>
                </a:lnTo>
                <a:lnTo>
                  <a:pt x="3390899" y="3396714"/>
                </a:lnTo>
                <a:lnTo>
                  <a:pt x="3390367" y="3391423"/>
                </a:lnTo>
                <a:lnTo>
                  <a:pt x="3389305" y="3386131"/>
                </a:lnTo>
                <a:lnTo>
                  <a:pt x="3390367" y="3380839"/>
                </a:lnTo>
                <a:lnTo>
                  <a:pt x="3390367" y="3375548"/>
                </a:lnTo>
                <a:lnTo>
                  <a:pt x="3391431" y="3370256"/>
                </a:lnTo>
                <a:lnTo>
                  <a:pt x="3393026" y="3365493"/>
                </a:lnTo>
                <a:lnTo>
                  <a:pt x="3395685" y="3360202"/>
                </a:lnTo>
                <a:lnTo>
                  <a:pt x="3397811" y="3355439"/>
                </a:lnTo>
                <a:lnTo>
                  <a:pt x="3401001" y="3351206"/>
                </a:lnTo>
                <a:lnTo>
                  <a:pt x="3404723" y="3346443"/>
                </a:lnTo>
                <a:lnTo>
                  <a:pt x="3408444" y="3342739"/>
                </a:lnTo>
                <a:lnTo>
                  <a:pt x="3413230" y="3338506"/>
                </a:lnTo>
                <a:lnTo>
                  <a:pt x="3417483" y="3335860"/>
                </a:lnTo>
                <a:lnTo>
                  <a:pt x="3422799" y="3333214"/>
                </a:lnTo>
                <a:lnTo>
                  <a:pt x="3427584" y="3331098"/>
                </a:lnTo>
                <a:lnTo>
                  <a:pt x="3432901" y="3329512"/>
                </a:lnTo>
                <a:close/>
                <a:moveTo>
                  <a:pt x="1598654" y="3324220"/>
                </a:moveTo>
                <a:lnTo>
                  <a:pt x="1605618" y="3332715"/>
                </a:lnTo>
                <a:lnTo>
                  <a:pt x="1619545" y="3355021"/>
                </a:lnTo>
                <a:lnTo>
                  <a:pt x="1623295" y="3362456"/>
                </a:lnTo>
                <a:lnTo>
                  <a:pt x="1626509" y="3370423"/>
                </a:lnTo>
                <a:lnTo>
                  <a:pt x="1630258" y="3377858"/>
                </a:lnTo>
                <a:lnTo>
                  <a:pt x="1632401" y="3386356"/>
                </a:lnTo>
                <a:lnTo>
                  <a:pt x="1635615" y="3394853"/>
                </a:lnTo>
                <a:lnTo>
                  <a:pt x="1637222" y="3402819"/>
                </a:lnTo>
                <a:lnTo>
                  <a:pt x="1638293" y="3412379"/>
                </a:lnTo>
                <a:lnTo>
                  <a:pt x="1638293" y="3420876"/>
                </a:lnTo>
                <a:lnTo>
                  <a:pt x="1637222" y="3427781"/>
                </a:lnTo>
                <a:lnTo>
                  <a:pt x="1636686" y="3433092"/>
                </a:lnTo>
                <a:lnTo>
                  <a:pt x="1635615" y="3438402"/>
                </a:lnTo>
                <a:lnTo>
                  <a:pt x="1633472" y="3443713"/>
                </a:lnTo>
                <a:lnTo>
                  <a:pt x="1631865" y="3447962"/>
                </a:lnTo>
                <a:lnTo>
                  <a:pt x="1629723" y="3452211"/>
                </a:lnTo>
                <a:lnTo>
                  <a:pt x="1626509" y="3455928"/>
                </a:lnTo>
                <a:lnTo>
                  <a:pt x="1623295" y="3459115"/>
                </a:lnTo>
                <a:lnTo>
                  <a:pt x="1620081" y="3461770"/>
                </a:lnTo>
                <a:lnTo>
                  <a:pt x="1616331" y="3464426"/>
                </a:lnTo>
                <a:lnTo>
                  <a:pt x="1613117" y="3466550"/>
                </a:lnTo>
                <a:lnTo>
                  <a:pt x="1609367" y="3468144"/>
                </a:lnTo>
                <a:lnTo>
                  <a:pt x="1605082" y="3468675"/>
                </a:lnTo>
                <a:lnTo>
                  <a:pt x="1600797" y="3469737"/>
                </a:lnTo>
                <a:lnTo>
                  <a:pt x="1596511" y="3470268"/>
                </a:lnTo>
                <a:lnTo>
                  <a:pt x="1591691" y="3470268"/>
                </a:lnTo>
                <a:lnTo>
                  <a:pt x="1587941" y="3469737"/>
                </a:lnTo>
                <a:lnTo>
                  <a:pt x="1583120" y="3468675"/>
                </a:lnTo>
                <a:lnTo>
                  <a:pt x="1579370" y="3468144"/>
                </a:lnTo>
                <a:lnTo>
                  <a:pt x="1574549" y="3466019"/>
                </a:lnTo>
                <a:lnTo>
                  <a:pt x="1571871" y="3464426"/>
                </a:lnTo>
                <a:lnTo>
                  <a:pt x="1568121" y="3461770"/>
                </a:lnTo>
                <a:lnTo>
                  <a:pt x="1564907" y="3459115"/>
                </a:lnTo>
                <a:lnTo>
                  <a:pt x="1561693" y="3455928"/>
                </a:lnTo>
                <a:lnTo>
                  <a:pt x="1559551" y="3452211"/>
                </a:lnTo>
                <a:lnTo>
                  <a:pt x="1556872" y="3447962"/>
                </a:lnTo>
                <a:lnTo>
                  <a:pt x="1554730" y="3444244"/>
                </a:lnTo>
                <a:lnTo>
                  <a:pt x="1553123" y="3439996"/>
                </a:lnTo>
                <a:lnTo>
                  <a:pt x="1551516" y="3434685"/>
                </a:lnTo>
                <a:lnTo>
                  <a:pt x="1550980" y="3428843"/>
                </a:lnTo>
                <a:lnTo>
                  <a:pt x="1550980" y="3423001"/>
                </a:lnTo>
                <a:lnTo>
                  <a:pt x="1550980" y="3416628"/>
                </a:lnTo>
                <a:lnTo>
                  <a:pt x="1551516" y="3408661"/>
                </a:lnTo>
                <a:lnTo>
                  <a:pt x="1553123" y="3399102"/>
                </a:lnTo>
                <a:lnTo>
                  <a:pt x="1556337" y="3390604"/>
                </a:lnTo>
                <a:lnTo>
                  <a:pt x="1559551" y="3382638"/>
                </a:lnTo>
                <a:lnTo>
                  <a:pt x="1563300" y="3374672"/>
                </a:lnTo>
                <a:lnTo>
                  <a:pt x="1567050" y="3367236"/>
                </a:lnTo>
                <a:lnTo>
                  <a:pt x="1570800" y="3359270"/>
                </a:lnTo>
                <a:lnTo>
                  <a:pt x="1575621" y="3353428"/>
                </a:lnTo>
                <a:lnTo>
                  <a:pt x="1591691" y="3331653"/>
                </a:lnTo>
                <a:close/>
                <a:moveTo>
                  <a:pt x="8897395" y="3324218"/>
                </a:moveTo>
                <a:lnTo>
                  <a:pt x="8918032" y="3324218"/>
                </a:lnTo>
                <a:lnTo>
                  <a:pt x="8937612" y="3325811"/>
                </a:lnTo>
                <a:lnTo>
                  <a:pt x="8957720" y="3327404"/>
                </a:lnTo>
                <a:lnTo>
                  <a:pt x="8975712" y="3330591"/>
                </a:lnTo>
                <a:lnTo>
                  <a:pt x="8994232" y="3334308"/>
                </a:lnTo>
                <a:lnTo>
                  <a:pt x="9010636" y="3338557"/>
                </a:lnTo>
                <a:lnTo>
                  <a:pt x="9027570" y="3344398"/>
                </a:lnTo>
                <a:lnTo>
                  <a:pt x="9043445" y="3349709"/>
                </a:lnTo>
                <a:lnTo>
                  <a:pt x="9058791" y="3355550"/>
                </a:lnTo>
                <a:lnTo>
                  <a:pt x="9073607" y="3362454"/>
                </a:lnTo>
                <a:lnTo>
                  <a:pt x="9086836" y="3369358"/>
                </a:lnTo>
                <a:lnTo>
                  <a:pt x="9100595" y="3376262"/>
                </a:lnTo>
                <a:lnTo>
                  <a:pt x="9112766" y="3383697"/>
                </a:lnTo>
                <a:lnTo>
                  <a:pt x="9124407" y="3391663"/>
                </a:lnTo>
                <a:lnTo>
                  <a:pt x="9136049" y="3400160"/>
                </a:lnTo>
                <a:lnTo>
                  <a:pt x="9155628" y="3415560"/>
                </a:lnTo>
                <a:lnTo>
                  <a:pt x="9173091" y="3430430"/>
                </a:lnTo>
                <a:lnTo>
                  <a:pt x="9188436" y="3445300"/>
                </a:lnTo>
                <a:lnTo>
                  <a:pt x="9200607" y="3458045"/>
                </a:lnTo>
                <a:lnTo>
                  <a:pt x="9216482" y="3478226"/>
                </a:lnTo>
                <a:lnTo>
                  <a:pt x="9221774" y="3485660"/>
                </a:lnTo>
                <a:lnTo>
                  <a:pt x="9212249" y="3481943"/>
                </a:lnTo>
                <a:lnTo>
                  <a:pt x="9202195" y="3479819"/>
                </a:lnTo>
                <a:lnTo>
                  <a:pt x="9192141" y="3478226"/>
                </a:lnTo>
                <a:lnTo>
                  <a:pt x="9182086" y="3478226"/>
                </a:lnTo>
                <a:lnTo>
                  <a:pt x="9172562" y="3478757"/>
                </a:lnTo>
                <a:lnTo>
                  <a:pt x="9163036" y="3480350"/>
                </a:lnTo>
                <a:lnTo>
                  <a:pt x="9153512" y="3483536"/>
                </a:lnTo>
                <a:lnTo>
                  <a:pt x="9143457" y="3486722"/>
                </a:lnTo>
                <a:lnTo>
                  <a:pt x="9133403" y="3490440"/>
                </a:lnTo>
                <a:lnTo>
                  <a:pt x="9123878" y="3495751"/>
                </a:lnTo>
                <a:lnTo>
                  <a:pt x="9113824" y="3499999"/>
                </a:lnTo>
                <a:lnTo>
                  <a:pt x="9103770" y="3506372"/>
                </a:lnTo>
                <a:lnTo>
                  <a:pt x="9084191" y="3519117"/>
                </a:lnTo>
                <a:lnTo>
                  <a:pt x="9064082" y="3532925"/>
                </a:lnTo>
                <a:lnTo>
                  <a:pt x="9043445" y="3547794"/>
                </a:lnTo>
                <a:lnTo>
                  <a:pt x="9022807" y="3562133"/>
                </a:lnTo>
                <a:lnTo>
                  <a:pt x="9001641" y="3577003"/>
                </a:lnTo>
                <a:lnTo>
                  <a:pt x="8981003" y="3589748"/>
                </a:lnTo>
                <a:lnTo>
                  <a:pt x="8969891" y="3596121"/>
                </a:lnTo>
                <a:lnTo>
                  <a:pt x="8959307" y="3601432"/>
                </a:lnTo>
                <a:lnTo>
                  <a:pt x="8948195" y="3605680"/>
                </a:lnTo>
                <a:lnTo>
                  <a:pt x="8937082" y="3610460"/>
                </a:lnTo>
                <a:lnTo>
                  <a:pt x="8925441" y="3614177"/>
                </a:lnTo>
                <a:lnTo>
                  <a:pt x="8914857" y="3617363"/>
                </a:lnTo>
                <a:lnTo>
                  <a:pt x="8903216" y="3619488"/>
                </a:lnTo>
                <a:lnTo>
                  <a:pt x="8891045" y="3620550"/>
                </a:lnTo>
                <a:lnTo>
                  <a:pt x="8883107" y="3621081"/>
                </a:lnTo>
                <a:lnTo>
                  <a:pt x="8874641" y="3621081"/>
                </a:lnTo>
                <a:lnTo>
                  <a:pt x="8866174" y="3620550"/>
                </a:lnTo>
                <a:lnTo>
                  <a:pt x="8857707" y="3619488"/>
                </a:lnTo>
                <a:lnTo>
                  <a:pt x="8841832" y="3617363"/>
                </a:lnTo>
                <a:lnTo>
                  <a:pt x="8825957" y="3612584"/>
                </a:lnTo>
                <a:lnTo>
                  <a:pt x="8811141" y="3607273"/>
                </a:lnTo>
                <a:lnTo>
                  <a:pt x="8796853" y="3600369"/>
                </a:lnTo>
                <a:lnTo>
                  <a:pt x="8783624" y="3592935"/>
                </a:lnTo>
                <a:lnTo>
                  <a:pt x="8770924" y="3583376"/>
                </a:lnTo>
                <a:lnTo>
                  <a:pt x="8759282" y="3573816"/>
                </a:lnTo>
                <a:lnTo>
                  <a:pt x="8749757" y="3563195"/>
                </a:lnTo>
                <a:lnTo>
                  <a:pt x="8740232" y="3551512"/>
                </a:lnTo>
                <a:lnTo>
                  <a:pt x="8732824" y="3538235"/>
                </a:lnTo>
                <a:lnTo>
                  <a:pt x="8729649" y="3532394"/>
                </a:lnTo>
                <a:lnTo>
                  <a:pt x="8726474" y="3525490"/>
                </a:lnTo>
                <a:lnTo>
                  <a:pt x="8723828" y="3518586"/>
                </a:lnTo>
                <a:lnTo>
                  <a:pt x="8721182" y="3511682"/>
                </a:lnTo>
                <a:lnTo>
                  <a:pt x="8719595" y="3504247"/>
                </a:lnTo>
                <a:lnTo>
                  <a:pt x="8718007" y="3497344"/>
                </a:lnTo>
                <a:lnTo>
                  <a:pt x="8717478" y="3489378"/>
                </a:lnTo>
                <a:lnTo>
                  <a:pt x="8716949" y="3481943"/>
                </a:lnTo>
                <a:lnTo>
                  <a:pt x="8716949" y="3478757"/>
                </a:lnTo>
                <a:lnTo>
                  <a:pt x="8716949" y="3475570"/>
                </a:lnTo>
                <a:lnTo>
                  <a:pt x="8727532" y="3468666"/>
                </a:lnTo>
                <a:lnTo>
                  <a:pt x="8739703" y="3461763"/>
                </a:lnTo>
                <a:lnTo>
                  <a:pt x="8751874" y="3454859"/>
                </a:lnTo>
                <a:lnTo>
                  <a:pt x="8764045" y="3449017"/>
                </a:lnTo>
                <a:lnTo>
                  <a:pt x="8776745" y="3442644"/>
                </a:lnTo>
                <a:lnTo>
                  <a:pt x="8790503" y="3436803"/>
                </a:lnTo>
                <a:lnTo>
                  <a:pt x="8804262" y="3432023"/>
                </a:lnTo>
                <a:lnTo>
                  <a:pt x="8818020" y="3426713"/>
                </a:lnTo>
                <a:lnTo>
                  <a:pt x="8832307" y="3422995"/>
                </a:lnTo>
                <a:lnTo>
                  <a:pt x="8847124" y="3418216"/>
                </a:lnTo>
                <a:lnTo>
                  <a:pt x="8861412" y="3415560"/>
                </a:lnTo>
                <a:lnTo>
                  <a:pt x="8876757" y="3412374"/>
                </a:lnTo>
                <a:lnTo>
                  <a:pt x="8892632" y="3409188"/>
                </a:lnTo>
                <a:lnTo>
                  <a:pt x="8907978" y="3407594"/>
                </a:lnTo>
                <a:lnTo>
                  <a:pt x="8923853" y="3405470"/>
                </a:lnTo>
                <a:lnTo>
                  <a:pt x="8940257" y="3404408"/>
                </a:lnTo>
                <a:lnTo>
                  <a:pt x="8955074" y="3403877"/>
                </a:lnTo>
                <a:lnTo>
                  <a:pt x="8969891" y="3403877"/>
                </a:lnTo>
                <a:lnTo>
                  <a:pt x="8984178" y="3403877"/>
                </a:lnTo>
                <a:lnTo>
                  <a:pt x="8997936" y="3404408"/>
                </a:lnTo>
                <a:lnTo>
                  <a:pt x="9012224" y="3406001"/>
                </a:lnTo>
                <a:lnTo>
                  <a:pt x="9025982" y="3407594"/>
                </a:lnTo>
                <a:lnTo>
                  <a:pt x="9039741" y="3409188"/>
                </a:lnTo>
                <a:lnTo>
                  <a:pt x="9053499" y="3411312"/>
                </a:lnTo>
                <a:lnTo>
                  <a:pt x="9066728" y="3414498"/>
                </a:lnTo>
                <a:lnTo>
                  <a:pt x="9079428" y="3417685"/>
                </a:lnTo>
                <a:lnTo>
                  <a:pt x="9092657" y="3420871"/>
                </a:lnTo>
                <a:lnTo>
                  <a:pt x="9105357" y="3424588"/>
                </a:lnTo>
                <a:lnTo>
                  <a:pt x="9117528" y="3428306"/>
                </a:lnTo>
                <a:lnTo>
                  <a:pt x="9129699" y="3433085"/>
                </a:lnTo>
                <a:lnTo>
                  <a:pt x="9141341" y="3437334"/>
                </a:lnTo>
                <a:lnTo>
                  <a:pt x="9152453" y="3442644"/>
                </a:lnTo>
                <a:lnTo>
                  <a:pt x="9140282" y="3436803"/>
                </a:lnTo>
                <a:lnTo>
                  <a:pt x="9128112" y="3430430"/>
                </a:lnTo>
                <a:lnTo>
                  <a:pt x="9115412" y="3425119"/>
                </a:lnTo>
                <a:lnTo>
                  <a:pt x="9102182" y="3420871"/>
                </a:lnTo>
                <a:lnTo>
                  <a:pt x="9088424" y="3416091"/>
                </a:lnTo>
                <a:lnTo>
                  <a:pt x="9074666" y="3411312"/>
                </a:lnTo>
                <a:lnTo>
                  <a:pt x="9060907" y="3408657"/>
                </a:lnTo>
                <a:lnTo>
                  <a:pt x="9046620" y="3404408"/>
                </a:lnTo>
                <a:lnTo>
                  <a:pt x="9031274" y="3402284"/>
                </a:lnTo>
                <a:lnTo>
                  <a:pt x="9016986" y="3400160"/>
                </a:lnTo>
                <a:lnTo>
                  <a:pt x="9001641" y="3397504"/>
                </a:lnTo>
                <a:lnTo>
                  <a:pt x="8985766" y="3396442"/>
                </a:lnTo>
                <a:lnTo>
                  <a:pt x="8970420" y="3395380"/>
                </a:lnTo>
                <a:lnTo>
                  <a:pt x="8954545" y="3395380"/>
                </a:lnTo>
                <a:lnTo>
                  <a:pt x="8938670" y="3395380"/>
                </a:lnTo>
                <a:lnTo>
                  <a:pt x="8921736" y="3396442"/>
                </a:lnTo>
                <a:lnTo>
                  <a:pt x="8907449" y="3396973"/>
                </a:lnTo>
                <a:lnTo>
                  <a:pt x="8893691" y="3398566"/>
                </a:lnTo>
                <a:lnTo>
                  <a:pt x="8878874" y="3400160"/>
                </a:lnTo>
                <a:lnTo>
                  <a:pt x="8865116" y="3402284"/>
                </a:lnTo>
                <a:lnTo>
                  <a:pt x="8851357" y="3404408"/>
                </a:lnTo>
                <a:lnTo>
                  <a:pt x="8838128" y="3407594"/>
                </a:lnTo>
                <a:lnTo>
                  <a:pt x="8824899" y="3410781"/>
                </a:lnTo>
                <a:lnTo>
                  <a:pt x="8812199" y="3414498"/>
                </a:lnTo>
                <a:lnTo>
                  <a:pt x="8798970" y="3418216"/>
                </a:lnTo>
                <a:lnTo>
                  <a:pt x="8786799" y="3422995"/>
                </a:lnTo>
                <a:lnTo>
                  <a:pt x="8774628" y="3427775"/>
                </a:lnTo>
                <a:lnTo>
                  <a:pt x="8762457" y="3432023"/>
                </a:lnTo>
                <a:lnTo>
                  <a:pt x="8750816" y="3437334"/>
                </a:lnTo>
                <a:lnTo>
                  <a:pt x="8739703" y="3442644"/>
                </a:lnTo>
                <a:lnTo>
                  <a:pt x="8729120" y="3449017"/>
                </a:lnTo>
                <a:lnTo>
                  <a:pt x="8717478" y="3454859"/>
                </a:lnTo>
                <a:lnTo>
                  <a:pt x="8720653" y="3442113"/>
                </a:lnTo>
                <a:lnTo>
                  <a:pt x="8724357" y="3429899"/>
                </a:lnTo>
                <a:lnTo>
                  <a:pt x="8729649" y="3417685"/>
                </a:lnTo>
                <a:lnTo>
                  <a:pt x="8735999" y="3406001"/>
                </a:lnTo>
                <a:lnTo>
                  <a:pt x="8742878" y="3395380"/>
                </a:lnTo>
                <a:lnTo>
                  <a:pt x="8750816" y="3384759"/>
                </a:lnTo>
                <a:lnTo>
                  <a:pt x="8760341" y="3374669"/>
                </a:lnTo>
                <a:lnTo>
                  <a:pt x="8769866" y="3365641"/>
                </a:lnTo>
                <a:lnTo>
                  <a:pt x="8780978" y="3357675"/>
                </a:lnTo>
                <a:lnTo>
                  <a:pt x="8793149" y="3350240"/>
                </a:lnTo>
                <a:lnTo>
                  <a:pt x="8805320" y="3343336"/>
                </a:lnTo>
                <a:lnTo>
                  <a:pt x="8818020" y="3338025"/>
                </a:lnTo>
                <a:lnTo>
                  <a:pt x="8831778" y="3332715"/>
                </a:lnTo>
                <a:lnTo>
                  <a:pt x="8846066" y="3329528"/>
                </a:lnTo>
                <a:lnTo>
                  <a:pt x="8860882" y="3326343"/>
                </a:lnTo>
                <a:lnTo>
                  <a:pt x="8876228" y="3325280"/>
                </a:lnTo>
                <a:close/>
                <a:moveTo>
                  <a:pt x="3763422" y="3313108"/>
                </a:moveTo>
                <a:lnTo>
                  <a:pt x="3768715" y="3313108"/>
                </a:lnTo>
                <a:lnTo>
                  <a:pt x="3774005" y="3313108"/>
                </a:lnTo>
                <a:lnTo>
                  <a:pt x="3779297" y="3313632"/>
                </a:lnTo>
                <a:lnTo>
                  <a:pt x="3784589" y="3315205"/>
                </a:lnTo>
                <a:lnTo>
                  <a:pt x="3789881" y="3316777"/>
                </a:lnTo>
                <a:lnTo>
                  <a:pt x="3794643" y="3319397"/>
                </a:lnTo>
                <a:lnTo>
                  <a:pt x="3799934" y="3322018"/>
                </a:lnTo>
                <a:lnTo>
                  <a:pt x="3804168" y="3325162"/>
                </a:lnTo>
                <a:lnTo>
                  <a:pt x="3808401" y="3328831"/>
                </a:lnTo>
                <a:lnTo>
                  <a:pt x="3812106" y="3333549"/>
                </a:lnTo>
                <a:lnTo>
                  <a:pt x="3815280" y="3338266"/>
                </a:lnTo>
                <a:lnTo>
                  <a:pt x="3817927" y="3342460"/>
                </a:lnTo>
                <a:lnTo>
                  <a:pt x="3820572" y="3347701"/>
                </a:lnTo>
                <a:lnTo>
                  <a:pt x="3822159" y="3352419"/>
                </a:lnTo>
                <a:lnTo>
                  <a:pt x="3823219" y="3357661"/>
                </a:lnTo>
                <a:lnTo>
                  <a:pt x="3824276" y="3362902"/>
                </a:lnTo>
                <a:lnTo>
                  <a:pt x="3824276" y="3368144"/>
                </a:lnTo>
                <a:lnTo>
                  <a:pt x="3824276" y="3373386"/>
                </a:lnTo>
                <a:lnTo>
                  <a:pt x="3823219" y="3378628"/>
                </a:lnTo>
                <a:lnTo>
                  <a:pt x="3822159" y="3383869"/>
                </a:lnTo>
                <a:lnTo>
                  <a:pt x="3820572" y="3389635"/>
                </a:lnTo>
                <a:lnTo>
                  <a:pt x="3817927" y="3393829"/>
                </a:lnTo>
                <a:lnTo>
                  <a:pt x="3815280" y="3399070"/>
                </a:lnTo>
                <a:lnTo>
                  <a:pt x="3812106" y="3403788"/>
                </a:lnTo>
                <a:lnTo>
                  <a:pt x="3808401" y="3407457"/>
                </a:lnTo>
                <a:lnTo>
                  <a:pt x="3803639" y="3411127"/>
                </a:lnTo>
                <a:lnTo>
                  <a:pt x="3798877" y="3415320"/>
                </a:lnTo>
                <a:lnTo>
                  <a:pt x="3794643" y="3417417"/>
                </a:lnTo>
                <a:lnTo>
                  <a:pt x="3789881" y="3419513"/>
                </a:lnTo>
                <a:lnTo>
                  <a:pt x="3784589" y="3422134"/>
                </a:lnTo>
                <a:lnTo>
                  <a:pt x="3779297" y="3422658"/>
                </a:lnTo>
                <a:lnTo>
                  <a:pt x="3774005" y="3423183"/>
                </a:lnTo>
                <a:lnTo>
                  <a:pt x="3768715" y="3424231"/>
                </a:lnTo>
                <a:lnTo>
                  <a:pt x="3763422" y="3423183"/>
                </a:lnTo>
                <a:lnTo>
                  <a:pt x="3758130" y="3422658"/>
                </a:lnTo>
                <a:lnTo>
                  <a:pt x="3752838" y="3421086"/>
                </a:lnTo>
                <a:lnTo>
                  <a:pt x="3747018" y="3419513"/>
                </a:lnTo>
                <a:lnTo>
                  <a:pt x="3742784" y="3417417"/>
                </a:lnTo>
                <a:lnTo>
                  <a:pt x="3738022" y="3414272"/>
                </a:lnTo>
                <a:lnTo>
                  <a:pt x="3733789" y="3411127"/>
                </a:lnTo>
                <a:lnTo>
                  <a:pt x="3729027" y="3407457"/>
                </a:lnTo>
                <a:lnTo>
                  <a:pt x="3725323" y="3402740"/>
                </a:lnTo>
                <a:lnTo>
                  <a:pt x="3722148" y="3398546"/>
                </a:lnTo>
                <a:lnTo>
                  <a:pt x="3718973" y="3393829"/>
                </a:lnTo>
                <a:lnTo>
                  <a:pt x="3716856" y="3389635"/>
                </a:lnTo>
                <a:lnTo>
                  <a:pt x="3715269" y="3383869"/>
                </a:lnTo>
                <a:lnTo>
                  <a:pt x="3713680" y="3378628"/>
                </a:lnTo>
                <a:lnTo>
                  <a:pt x="3713152" y="3373386"/>
                </a:lnTo>
                <a:lnTo>
                  <a:pt x="3713152" y="3368144"/>
                </a:lnTo>
                <a:lnTo>
                  <a:pt x="3713152" y="3362902"/>
                </a:lnTo>
                <a:lnTo>
                  <a:pt x="3713680" y="3357661"/>
                </a:lnTo>
                <a:lnTo>
                  <a:pt x="3715269" y="3352419"/>
                </a:lnTo>
                <a:lnTo>
                  <a:pt x="3716856" y="3347177"/>
                </a:lnTo>
                <a:lnTo>
                  <a:pt x="3718973" y="3342460"/>
                </a:lnTo>
                <a:lnTo>
                  <a:pt x="3722148" y="3338266"/>
                </a:lnTo>
                <a:lnTo>
                  <a:pt x="3725323" y="3333549"/>
                </a:lnTo>
                <a:lnTo>
                  <a:pt x="3729027" y="3328831"/>
                </a:lnTo>
                <a:lnTo>
                  <a:pt x="3733789" y="3325162"/>
                </a:lnTo>
                <a:lnTo>
                  <a:pt x="3738022" y="3322018"/>
                </a:lnTo>
                <a:lnTo>
                  <a:pt x="3742784" y="3319397"/>
                </a:lnTo>
                <a:lnTo>
                  <a:pt x="3748077" y="3316777"/>
                </a:lnTo>
                <a:lnTo>
                  <a:pt x="3752838" y="3315205"/>
                </a:lnTo>
                <a:lnTo>
                  <a:pt x="3758130" y="3313632"/>
                </a:lnTo>
                <a:close/>
                <a:moveTo>
                  <a:pt x="1226600" y="3206744"/>
                </a:moveTo>
                <a:lnTo>
                  <a:pt x="1233480" y="3214182"/>
                </a:lnTo>
                <a:lnTo>
                  <a:pt x="1248825" y="3236485"/>
                </a:lnTo>
                <a:lnTo>
                  <a:pt x="1252529" y="3243389"/>
                </a:lnTo>
                <a:lnTo>
                  <a:pt x="1256763" y="3250292"/>
                </a:lnTo>
                <a:lnTo>
                  <a:pt x="1260467" y="3258790"/>
                </a:lnTo>
                <a:lnTo>
                  <a:pt x="1263642" y="3266228"/>
                </a:lnTo>
                <a:lnTo>
                  <a:pt x="1266288" y="3274725"/>
                </a:lnTo>
                <a:lnTo>
                  <a:pt x="1268934" y="3283751"/>
                </a:lnTo>
                <a:lnTo>
                  <a:pt x="1269463" y="3292252"/>
                </a:lnTo>
                <a:lnTo>
                  <a:pt x="1269992" y="3300749"/>
                </a:lnTo>
                <a:lnTo>
                  <a:pt x="1269992" y="3307652"/>
                </a:lnTo>
                <a:lnTo>
                  <a:pt x="1269463" y="3312964"/>
                </a:lnTo>
                <a:lnTo>
                  <a:pt x="1268934" y="3318273"/>
                </a:lnTo>
                <a:lnTo>
                  <a:pt x="1267346" y="3323587"/>
                </a:lnTo>
                <a:lnTo>
                  <a:pt x="1264700" y="3328365"/>
                </a:lnTo>
                <a:lnTo>
                  <a:pt x="1262584" y="3332080"/>
                </a:lnTo>
                <a:lnTo>
                  <a:pt x="1260467" y="3335798"/>
                </a:lnTo>
                <a:lnTo>
                  <a:pt x="1257821" y="3339516"/>
                </a:lnTo>
                <a:lnTo>
                  <a:pt x="1255175" y="3342702"/>
                </a:lnTo>
                <a:lnTo>
                  <a:pt x="1250942" y="3345358"/>
                </a:lnTo>
                <a:lnTo>
                  <a:pt x="1247238" y="3347482"/>
                </a:lnTo>
                <a:lnTo>
                  <a:pt x="1244592" y="3349075"/>
                </a:lnTo>
                <a:lnTo>
                  <a:pt x="1239829" y="3350669"/>
                </a:lnTo>
                <a:lnTo>
                  <a:pt x="1236125" y="3352262"/>
                </a:lnTo>
                <a:lnTo>
                  <a:pt x="1231363" y="3352262"/>
                </a:lnTo>
                <a:lnTo>
                  <a:pt x="1226600" y="3352793"/>
                </a:lnTo>
                <a:lnTo>
                  <a:pt x="1222896" y="3352262"/>
                </a:lnTo>
                <a:lnTo>
                  <a:pt x="1218663" y="3352262"/>
                </a:lnTo>
                <a:lnTo>
                  <a:pt x="1214430" y="3350669"/>
                </a:lnTo>
                <a:lnTo>
                  <a:pt x="1210196" y="3349075"/>
                </a:lnTo>
                <a:lnTo>
                  <a:pt x="1206492" y="3347482"/>
                </a:lnTo>
                <a:lnTo>
                  <a:pt x="1203317" y="3345358"/>
                </a:lnTo>
                <a:lnTo>
                  <a:pt x="1199613" y="3342702"/>
                </a:lnTo>
                <a:lnTo>
                  <a:pt x="1196438" y="3339516"/>
                </a:lnTo>
                <a:lnTo>
                  <a:pt x="1193792" y="3335798"/>
                </a:lnTo>
                <a:lnTo>
                  <a:pt x="1191146" y="3332080"/>
                </a:lnTo>
                <a:lnTo>
                  <a:pt x="1189559" y="3328365"/>
                </a:lnTo>
                <a:lnTo>
                  <a:pt x="1187442" y="3323587"/>
                </a:lnTo>
                <a:lnTo>
                  <a:pt x="1185854" y="3318273"/>
                </a:lnTo>
                <a:lnTo>
                  <a:pt x="1184796" y="3312964"/>
                </a:lnTo>
                <a:lnTo>
                  <a:pt x="1184267" y="3307652"/>
                </a:lnTo>
                <a:lnTo>
                  <a:pt x="1184267" y="3301280"/>
                </a:lnTo>
                <a:lnTo>
                  <a:pt x="1184267" y="3292252"/>
                </a:lnTo>
                <a:lnTo>
                  <a:pt x="1185854" y="3283751"/>
                </a:lnTo>
                <a:lnTo>
                  <a:pt x="1187971" y="3274725"/>
                </a:lnTo>
                <a:lnTo>
                  <a:pt x="1190088" y="3266228"/>
                </a:lnTo>
                <a:lnTo>
                  <a:pt x="1193792" y="3258790"/>
                </a:lnTo>
                <a:lnTo>
                  <a:pt x="1198025" y="3250292"/>
                </a:lnTo>
                <a:lnTo>
                  <a:pt x="1201730" y="3243389"/>
                </a:lnTo>
                <a:lnTo>
                  <a:pt x="1205434" y="3236485"/>
                </a:lnTo>
                <a:lnTo>
                  <a:pt x="1219721" y="3214182"/>
                </a:lnTo>
                <a:close/>
                <a:moveTo>
                  <a:pt x="1487267" y="3175000"/>
                </a:moveTo>
                <a:lnTo>
                  <a:pt x="1493124" y="3184454"/>
                </a:lnTo>
                <a:lnTo>
                  <a:pt x="1506434" y="3205987"/>
                </a:lnTo>
                <a:lnTo>
                  <a:pt x="1509628" y="3213868"/>
                </a:lnTo>
                <a:lnTo>
                  <a:pt x="1512290" y="3221221"/>
                </a:lnTo>
                <a:lnTo>
                  <a:pt x="1515484" y="3229629"/>
                </a:lnTo>
                <a:lnTo>
                  <a:pt x="1518679" y="3238032"/>
                </a:lnTo>
                <a:lnTo>
                  <a:pt x="1520276" y="3246436"/>
                </a:lnTo>
                <a:lnTo>
                  <a:pt x="1521873" y="3254845"/>
                </a:lnTo>
                <a:lnTo>
                  <a:pt x="1522405" y="3263772"/>
                </a:lnTo>
                <a:lnTo>
                  <a:pt x="1521873" y="3272180"/>
                </a:lnTo>
                <a:lnTo>
                  <a:pt x="1520808" y="3279009"/>
                </a:lnTo>
                <a:lnTo>
                  <a:pt x="1520276" y="3284262"/>
                </a:lnTo>
                <a:lnTo>
                  <a:pt x="1518679" y="3289515"/>
                </a:lnTo>
                <a:lnTo>
                  <a:pt x="1516549" y="3293718"/>
                </a:lnTo>
                <a:lnTo>
                  <a:pt x="1514952" y="3298446"/>
                </a:lnTo>
                <a:lnTo>
                  <a:pt x="1511758" y="3302122"/>
                </a:lnTo>
                <a:lnTo>
                  <a:pt x="1509628" y="3306326"/>
                </a:lnTo>
                <a:lnTo>
                  <a:pt x="1506434" y="3308951"/>
                </a:lnTo>
                <a:lnTo>
                  <a:pt x="1502707" y="3312105"/>
                </a:lnTo>
                <a:lnTo>
                  <a:pt x="1499512" y="3314206"/>
                </a:lnTo>
                <a:lnTo>
                  <a:pt x="1495786" y="3315781"/>
                </a:lnTo>
                <a:lnTo>
                  <a:pt x="1490994" y="3317358"/>
                </a:lnTo>
                <a:lnTo>
                  <a:pt x="1487267" y="3318407"/>
                </a:lnTo>
                <a:lnTo>
                  <a:pt x="1483541" y="3318934"/>
                </a:lnTo>
                <a:lnTo>
                  <a:pt x="1478749" y="3319458"/>
                </a:lnTo>
                <a:lnTo>
                  <a:pt x="1473957" y="3318934"/>
                </a:lnTo>
                <a:lnTo>
                  <a:pt x="1469698" y="3318934"/>
                </a:lnTo>
                <a:lnTo>
                  <a:pt x="1465971" y="3317358"/>
                </a:lnTo>
                <a:lnTo>
                  <a:pt x="1461712" y="3316832"/>
                </a:lnTo>
                <a:lnTo>
                  <a:pt x="1457453" y="3314206"/>
                </a:lnTo>
                <a:lnTo>
                  <a:pt x="1454259" y="3312105"/>
                </a:lnTo>
                <a:lnTo>
                  <a:pt x="1450532" y="3310002"/>
                </a:lnTo>
                <a:lnTo>
                  <a:pt x="1447338" y="3306850"/>
                </a:lnTo>
                <a:lnTo>
                  <a:pt x="1445208" y="3303701"/>
                </a:lnTo>
                <a:lnTo>
                  <a:pt x="1442014" y="3300022"/>
                </a:lnTo>
                <a:lnTo>
                  <a:pt x="1440417" y="3296344"/>
                </a:lnTo>
                <a:lnTo>
                  <a:pt x="1438287" y="3291616"/>
                </a:lnTo>
                <a:lnTo>
                  <a:pt x="1436690" y="3286889"/>
                </a:lnTo>
                <a:lnTo>
                  <a:pt x="1435625" y="3281635"/>
                </a:lnTo>
                <a:lnTo>
                  <a:pt x="1435093" y="3276381"/>
                </a:lnTo>
                <a:lnTo>
                  <a:pt x="1435093" y="3271129"/>
                </a:lnTo>
                <a:lnTo>
                  <a:pt x="1435093" y="3265351"/>
                </a:lnTo>
                <a:lnTo>
                  <a:pt x="1436690" y="3255895"/>
                </a:lnTo>
                <a:lnTo>
                  <a:pt x="1438819" y="3248015"/>
                </a:lnTo>
                <a:lnTo>
                  <a:pt x="1442014" y="3239607"/>
                </a:lnTo>
                <a:lnTo>
                  <a:pt x="1445208" y="3231202"/>
                </a:lnTo>
                <a:lnTo>
                  <a:pt x="1448935" y="3223322"/>
                </a:lnTo>
                <a:lnTo>
                  <a:pt x="1453726" y="3215970"/>
                </a:lnTo>
                <a:lnTo>
                  <a:pt x="1457986" y="3209141"/>
                </a:lnTo>
                <a:lnTo>
                  <a:pt x="1462777" y="3202311"/>
                </a:lnTo>
                <a:lnTo>
                  <a:pt x="1479281" y="3182874"/>
                </a:lnTo>
                <a:close/>
                <a:moveTo>
                  <a:pt x="3629802" y="3163886"/>
                </a:moveTo>
                <a:lnTo>
                  <a:pt x="3635119" y="3163886"/>
                </a:lnTo>
                <a:lnTo>
                  <a:pt x="3640435" y="3164950"/>
                </a:lnTo>
                <a:lnTo>
                  <a:pt x="3645752" y="3165479"/>
                </a:lnTo>
                <a:lnTo>
                  <a:pt x="3650538" y="3167608"/>
                </a:lnTo>
                <a:lnTo>
                  <a:pt x="3655853" y="3169202"/>
                </a:lnTo>
                <a:lnTo>
                  <a:pt x="3660106" y="3172389"/>
                </a:lnTo>
                <a:lnTo>
                  <a:pt x="3665424" y="3175583"/>
                </a:lnTo>
                <a:lnTo>
                  <a:pt x="3669677" y="3179299"/>
                </a:lnTo>
                <a:lnTo>
                  <a:pt x="3673930" y="3183021"/>
                </a:lnTo>
                <a:lnTo>
                  <a:pt x="3677119" y="3187809"/>
                </a:lnTo>
                <a:lnTo>
                  <a:pt x="3680310" y="3192060"/>
                </a:lnTo>
                <a:lnTo>
                  <a:pt x="3682437" y="3197377"/>
                </a:lnTo>
                <a:lnTo>
                  <a:pt x="3684563" y="3202164"/>
                </a:lnTo>
                <a:lnTo>
                  <a:pt x="3686157" y="3207480"/>
                </a:lnTo>
                <a:lnTo>
                  <a:pt x="3687222" y="3212796"/>
                </a:lnTo>
                <a:lnTo>
                  <a:pt x="3687752" y="3218113"/>
                </a:lnTo>
                <a:lnTo>
                  <a:pt x="3687752" y="3223429"/>
                </a:lnTo>
                <a:lnTo>
                  <a:pt x="3687222" y="3229276"/>
                </a:lnTo>
                <a:lnTo>
                  <a:pt x="3685625" y="3234592"/>
                </a:lnTo>
                <a:lnTo>
                  <a:pt x="3684031" y="3239909"/>
                </a:lnTo>
                <a:lnTo>
                  <a:pt x="3681904" y="3244165"/>
                </a:lnTo>
                <a:lnTo>
                  <a:pt x="3679246" y="3249481"/>
                </a:lnTo>
                <a:lnTo>
                  <a:pt x="3676589" y="3254264"/>
                </a:lnTo>
                <a:lnTo>
                  <a:pt x="3672336" y="3257986"/>
                </a:lnTo>
                <a:lnTo>
                  <a:pt x="3668613" y="3262772"/>
                </a:lnTo>
                <a:lnTo>
                  <a:pt x="3664360" y="3265961"/>
                </a:lnTo>
                <a:lnTo>
                  <a:pt x="3659574" y="3268619"/>
                </a:lnTo>
                <a:lnTo>
                  <a:pt x="3654259" y="3271277"/>
                </a:lnTo>
                <a:lnTo>
                  <a:pt x="3649473" y="3273405"/>
                </a:lnTo>
                <a:lnTo>
                  <a:pt x="3644158" y="3274999"/>
                </a:lnTo>
                <a:lnTo>
                  <a:pt x="3638840" y="3275534"/>
                </a:lnTo>
                <a:lnTo>
                  <a:pt x="3633523" y="3276594"/>
                </a:lnTo>
                <a:lnTo>
                  <a:pt x="3628207" y="3276594"/>
                </a:lnTo>
                <a:lnTo>
                  <a:pt x="3622890" y="3275534"/>
                </a:lnTo>
                <a:lnTo>
                  <a:pt x="3617574" y="3274999"/>
                </a:lnTo>
                <a:lnTo>
                  <a:pt x="3612257" y="3272875"/>
                </a:lnTo>
                <a:lnTo>
                  <a:pt x="3607472" y="3271277"/>
                </a:lnTo>
                <a:lnTo>
                  <a:pt x="3602156" y="3268089"/>
                </a:lnTo>
                <a:lnTo>
                  <a:pt x="3597371" y="3264898"/>
                </a:lnTo>
                <a:lnTo>
                  <a:pt x="3593117" y="3261179"/>
                </a:lnTo>
                <a:lnTo>
                  <a:pt x="3588864" y="3257456"/>
                </a:lnTo>
                <a:lnTo>
                  <a:pt x="3586206" y="3252669"/>
                </a:lnTo>
                <a:lnTo>
                  <a:pt x="3583017" y="3248417"/>
                </a:lnTo>
                <a:lnTo>
                  <a:pt x="3579826" y="3243631"/>
                </a:lnTo>
                <a:lnTo>
                  <a:pt x="3578231" y="3238314"/>
                </a:lnTo>
                <a:lnTo>
                  <a:pt x="3576637" y="3232997"/>
                </a:lnTo>
                <a:lnTo>
                  <a:pt x="3576105" y="3227681"/>
                </a:lnTo>
                <a:lnTo>
                  <a:pt x="3575040" y="3222364"/>
                </a:lnTo>
                <a:lnTo>
                  <a:pt x="3575040" y="3217048"/>
                </a:lnTo>
                <a:lnTo>
                  <a:pt x="3576105" y="3211203"/>
                </a:lnTo>
                <a:lnTo>
                  <a:pt x="3576637" y="3205887"/>
                </a:lnTo>
                <a:lnTo>
                  <a:pt x="3578231" y="3200570"/>
                </a:lnTo>
                <a:lnTo>
                  <a:pt x="3580890" y="3196312"/>
                </a:lnTo>
                <a:lnTo>
                  <a:pt x="3583547" y="3190996"/>
                </a:lnTo>
                <a:lnTo>
                  <a:pt x="3586738" y="3186215"/>
                </a:lnTo>
                <a:lnTo>
                  <a:pt x="3590459" y="3182492"/>
                </a:lnTo>
                <a:lnTo>
                  <a:pt x="3594182" y="3177705"/>
                </a:lnTo>
                <a:lnTo>
                  <a:pt x="3598965" y="3174518"/>
                </a:lnTo>
                <a:lnTo>
                  <a:pt x="3603750" y="3171324"/>
                </a:lnTo>
                <a:lnTo>
                  <a:pt x="3608004" y="3169202"/>
                </a:lnTo>
                <a:lnTo>
                  <a:pt x="3613321" y="3167073"/>
                </a:lnTo>
                <a:lnTo>
                  <a:pt x="3619169" y="3165479"/>
                </a:lnTo>
                <a:lnTo>
                  <a:pt x="3624486" y="3164950"/>
                </a:lnTo>
                <a:close/>
                <a:moveTo>
                  <a:pt x="3938524" y="3152771"/>
                </a:moveTo>
                <a:lnTo>
                  <a:pt x="3943866" y="3152771"/>
                </a:lnTo>
                <a:lnTo>
                  <a:pt x="3949742" y="3152771"/>
                </a:lnTo>
                <a:lnTo>
                  <a:pt x="3955084" y="3153822"/>
                </a:lnTo>
                <a:lnTo>
                  <a:pt x="3960426" y="3155402"/>
                </a:lnTo>
                <a:lnTo>
                  <a:pt x="3965768" y="3156982"/>
                </a:lnTo>
                <a:lnTo>
                  <a:pt x="3970041" y="3159092"/>
                </a:lnTo>
                <a:lnTo>
                  <a:pt x="3974849" y="3162252"/>
                </a:lnTo>
                <a:lnTo>
                  <a:pt x="3979657" y="3165412"/>
                </a:lnTo>
                <a:lnTo>
                  <a:pt x="3983930" y="3169095"/>
                </a:lnTo>
                <a:lnTo>
                  <a:pt x="3988204" y="3173312"/>
                </a:lnTo>
                <a:lnTo>
                  <a:pt x="3990875" y="3178047"/>
                </a:lnTo>
                <a:lnTo>
                  <a:pt x="3994079" y="3182787"/>
                </a:lnTo>
                <a:lnTo>
                  <a:pt x="3996216" y="3188057"/>
                </a:lnTo>
                <a:lnTo>
                  <a:pt x="3997819" y="3192268"/>
                </a:lnTo>
                <a:lnTo>
                  <a:pt x="3999422" y="3197537"/>
                </a:lnTo>
                <a:lnTo>
                  <a:pt x="4000490" y="3203329"/>
                </a:lnTo>
                <a:lnTo>
                  <a:pt x="4000490" y="3208594"/>
                </a:lnTo>
                <a:lnTo>
                  <a:pt x="4000490" y="3213861"/>
                </a:lnTo>
                <a:lnTo>
                  <a:pt x="3999422" y="3219130"/>
                </a:lnTo>
                <a:lnTo>
                  <a:pt x="3997819" y="3224393"/>
                </a:lnTo>
                <a:lnTo>
                  <a:pt x="3996216" y="3229662"/>
                </a:lnTo>
                <a:lnTo>
                  <a:pt x="3994079" y="3234403"/>
                </a:lnTo>
                <a:lnTo>
                  <a:pt x="3990875" y="3239667"/>
                </a:lnTo>
                <a:lnTo>
                  <a:pt x="3988204" y="3243884"/>
                </a:lnTo>
                <a:lnTo>
                  <a:pt x="3983930" y="3248095"/>
                </a:lnTo>
                <a:lnTo>
                  <a:pt x="3979657" y="3251780"/>
                </a:lnTo>
                <a:lnTo>
                  <a:pt x="3974849" y="3254940"/>
                </a:lnTo>
                <a:lnTo>
                  <a:pt x="3970041" y="3257576"/>
                </a:lnTo>
                <a:lnTo>
                  <a:pt x="3964699" y="3260208"/>
                </a:lnTo>
                <a:lnTo>
                  <a:pt x="3960426" y="3261788"/>
                </a:lnTo>
                <a:lnTo>
                  <a:pt x="3955084" y="3262840"/>
                </a:lnTo>
                <a:lnTo>
                  <a:pt x="3949742" y="3263894"/>
                </a:lnTo>
                <a:lnTo>
                  <a:pt x="3943866" y="3263894"/>
                </a:lnTo>
                <a:lnTo>
                  <a:pt x="3938524" y="3263894"/>
                </a:lnTo>
                <a:lnTo>
                  <a:pt x="3933182" y="3262840"/>
                </a:lnTo>
                <a:lnTo>
                  <a:pt x="3927840" y="3261788"/>
                </a:lnTo>
                <a:lnTo>
                  <a:pt x="3922499" y="3260208"/>
                </a:lnTo>
                <a:lnTo>
                  <a:pt x="3917690" y="3257576"/>
                </a:lnTo>
                <a:lnTo>
                  <a:pt x="3912349" y="3254940"/>
                </a:lnTo>
                <a:lnTo>
                  <a:pt x="3908076" y="3251780"/>
                </a:lnTo>
                <a:lnTo>
                  <a:pt x="3904336" y="3248095"/>
                </a:lnTo>
                <a:lnTo>
                  <a:pt x="3900063" y="3243355"/>
                </a:lnTo>
                <a:lnTo>
                  <a:pt x="3897392" y="3238614"/>
                </a:lnTo>
                <a:lnTo>
                  <a:pt x="3894187" y="3234403"/>
                </a:lnTo>
                <a:lnTo>
                  <a:pt x="3892050" y="3229662"/>
                </a:lnTo>
                <a:lnTo>
                  <a:pt x="3890448" y="3224393"/>
                </a:lnTo>
                <a:lnTo>
                  <a:pt x="3888845" y="3219130"/>
                </a:lnTo>
                <a:lnTo>
                  <a:pt x="3887777" y="3213861"/>
                </a:lnTo>
                <a:lnTo>
                  <a:pt x="3887777" y="3208594"/>
                </a:lnTo>
                <a:lnTo>
                  <a:pt x="3887777" y="3203329"/>
                </a:lnTo>
                <a:lnTo>
                  <a:pt x="3888845" y="3197537"/>
                </a:lnTo>
                <a:lnTo>
                  <a:pt x="3890448" y="3192268"/>
                </a:lnTo>
                <a:lnTo>
                  <a:pt x="3892050" y="3187005"/>
                </a:lnTo>
                <a:lnTo>
                  <a:pt x="3894187" y="3182787"/>
                </a:lnTo>
                <a:lnTo>
                  <a:pt x="3897392" y="3178047"/>
                </a:lnTo>
                <a:lnTo>
                  <a:pt x="3900063" y="3173312"/>
                </a:lnTo>
                <a:lnTo>
                  <a:pt x="3904336" y="3169095"/>
                </a:lnTo>
                <a:lnTo>
                  <a:pt x="3908610" y="3165412"/>
                </a:lnTo>
                <a:lnTo>
                  <a:pt x="3913417" y="3162252"/>
                </a:lnTo>
                <a:lnTo>
                  <a:pt x="3917690" y="3159092"/>
                </a:lnTo>
                <a:lnTo>
                  <a:pt x="3922499" y="3156982"/>
                </a:lnTo>
                <a:lnTo>
                  <a:pt x="3927840" y="3155402"/>
                </a:lnTo>
                <a:lnTo>
                  <a:pt x="3933182" y="3153822"/>
                </a:lnTo>
                <a:close/>
                <a:moveTo>
                  <a:pt x="3346142" y="3144837"/>
                </a:moveTo>
                <a:lnTo>
                  <a:pt x="3351991" y="3144837"/>
                </a:lnTo>
                <a:lnTo>
                  <a:pt x="3357308" y="3144837"/>
                </a:lnTo>
                <a:lnTo>
                  <a:pt x="3362624" y="3145366"/>
                </a:lnTo>
                <a:lnTo>
                  <a:pt x="3367941" y="3146424"/>
                </a:lnTo>
                <a:lnTo>
                  <a:pt x="3373257" y="3147482"/>
                </a:lnTo>
                <a:lnTo>
                  <a:pt x="3378042" y="3150126"/>
                </a:lnTo>
                <a:lnTo>
                  <a:pt x="3383360" y="3152242"/>
                </a:lnTo>
                <a:lnTo>
                  <a:pt x="3387613" y="3155945"/>
                </a:lnTo>
                <a:lnTo>
                  <a:pt x="3392398" y="3159125"/>
                </a:lnTo>
                <a:lnTo>
                  <a:pt x="3396119" y="3163886"/>
                </a:lnTo>
                <a:lnTo>
                  <a:pt x="3399310" y="3168117"/>
                </a:lnTo>
                <a:lnTo>
                  <a:pt x="3402499" y="3172878"/>
                </a:lnTo>
                <a:lnTo>
                  <a:pt x="3405158" y="3177645"/>
                </a:lnTo>
                <a:lnTo>
                  <a:pt x="3406753" y="3182934"/>
                </a:lnTo>
                <a:lnTo>
                  <a:pt x="3408347" y="3187166"/>
                </a:lnTo>
                <a:lnTo>
                  <a:pt x="3409411" y="3192456"/>
                </a:lnTo>
                <a:lnTo>
                  <a:pt x="3409943" y="3197752"/>
                </a:lnTo>
                <a:lnTo>
                  <a:pt x="3409943" y="3203570"/>
                </a:lnTo>
                <a:lnTo>
                  <a:pt x="3409411" y="3208860"/>
                </a:lnTo>
                <a:lnTo>
                  <a:pt x="3408347" y="3214156"/>
                </a:lnTo>
                <a:lnTo>
                  <a:pt x="3406753" y="3219445"/>
                </a:lnTo>
                <a:lnTo>
                  <a:pt x="3404626" y="3224735"/>
                </a:lnTo>
                <a:lnTo>
                  <a:pt x="3401436" y="3229502"/>
                </a:lnTo>
                <a:lnTo>
                  <a:pt x="3398246" y="3233733"/>
                </a:lnTo>
                <a:lnTo>
                  <a:pt x="3394524" y="3238494"/>
                </a:lnTo>
                <a:lnTo>
                  <a:pt x="3390802" y="3242198"/>
                </a:lnTo>
                <a:lnTo>
                  <a:pt x="3386018" y="3245902"/>
                </a:lnTo>
                <a:lnTo>
                  <a:pt x="3381764" y="3249080"/>
                </a:lnTo>
                <a:lnTo>
                  <a:pt x="3376979" y="3251196"/>
                </a:lnTo>
                <a:lnTo>
                  <a:pt x="3371662" y="3253841"/>
                </a:lnTo>
                <a:lnTo>
                  <a:pt x="3366346" y="3255428"/>
                </a:lnTo>
                <a:lnTo>
                  <a:pt x="3361029" y="3255957"/>
                </a:lnTo>
                <a:lnTo>
                  <a:pt x="3355713" y="3255957"/>
                </a:lnTo>
                <a:lnTo>
                  <a:pt x="3350396" y="3255957"/>
                </a:lnTo>
                <a:lnTo>
                  <a:pt x="3345079" y="3255957"/>
                </a:lnTo>
                <a:lnTo>
                  <a:pt x="3339763" y="3254369"/>
                </a:lnTo>
                <a:lnTo>
                  <a:pt x="3333915" y="3252783"/>
                </a:lnTo>
                <a:lnTo>
                  <a:pt x="3329661" y="3250667"/>
                </a:lnTo>
                <a:lnTo>
                  <a:pt x="3324344" y="3248551"/>
                </a:lnTo>
                <a:lnTo>
                  <a:pt x="3319559" y="3245373"/>
                </a:lnTo>
                <a:lnTo>
                  <a:pt x="3315837" y="3241668"/>
                </a:lnTo>
                <a:lnTo>
                  <a:pt x="3311053" y="3236907"/>
                </a:lnTo>
                <a:lnTo>
                  <a:pt x="3307863" y="3233204"/>
                </a:lnTo>
                <a:lnTo>
                  <a:pt x="3305204" y="3227910"/>
                </a:lnTo>
                <a:lnTo>
                  <a:pt x="3302546" y="3223148"/>
                </a:lnTo>
                <a:lnTo>
                  <a:pt x="3300419" y="3217858"/>
                </a:lnTo>
                <a:lnTo>
                  <a:pt x="3298825" y="3213098"/>
                </a:lnTo>
                <a:lnTo>
                  <a:pt x="3298292" y="3207802"/>
                </a:lnTo>
                <a:lnTo>
                  <a:pt x="3297230" y="3202512"/>
                </a:lnTo>
                <a:lnTo>
                  <a:pt x="3297230" y="3197223"/>
                </a:lnTo>
                <a:lnTo>
                  <a:pt x="3298292" y="3191927"/>
                </a:lnTo>
                <a:lnTo>
                  <a:pt x="3299887" y="3186637"/>
                </a:lnTo>
                <a:lnTo>
                  <a:pt x="3301483" y="3181348"/>
                </a:lnTo>
                <a:lnTo>
                  <a:pt x="3302546" y="3176058"/>
                </a:lnTo>
                <a:lnTo>
                  <a:pt x="3305737" y="3171291"/>
                </a:lnTo>
                <a:lnTo>
                  <a:pt x="3308926" y="3166530"/>
                </a:lnTo>
                <a:lnTo>
                  <a:pt x="3312648" y="3162299"/>
                </a:lnTo>
                <a:lnTo>
                  <a:pt x="3316369" y="3158596"/>
                </a:lnTo>
                <a:lnTo>
                  <a:pt x="3321155" y="3154358"/>
                </a:lnTo>
                <a:lnTo>
                  <a:pt x="3325939" y="3151713"/>
                </a:lnTo>
                <a:lnTo>
                  <a:pt x="3331256" y="3149068"/>
                </a:lnTo>
                <a:lnTo>
                  <a:pt x="3335510" y="3147482"/>
                </a:lnTo>
                <a:lnTo>
                  <a:pt x="3340826" y="3146424"/>
                </a:lnTo>
                <a:close/>
                <a:moveTo>
                  <a:pt x="8380399" y="3086093"/>
                </a:moveTo>
                <a:lnTo>
                  <a:pt x="8388321" y="3086093"/>
                </a:lnTo>
                <a:lnTo>
                  <a:pt x="8407333" y="3088211"/>
                </a:lnTo>
                <a:lnTo>
                  <a:pt x="8420537" y="3090327"/>
                </a:lnTo>
                <a:lnTo>
                  <a:pt x="8436908" y="3093502"/>
                </a:lnTo>
                <a:lnTo>
                  <a:pt x="8453280" y="3098264"/>
                </a:lnTo>
                <a:lnTo>
                  <a:pt x="8472293" y="3104085"/>
                </a:lnTo>
                <a:lnTo>
                  <a:pt x="8492362" y="3112551"/>
                </a:lnTo>
                <a:lnTo>
                  <a:pt x="8512959" y="3121548"/>
                </a:lnTo>
                <a:lnTo>
                  <a:pt x="8522465" y="3127897"/>
                </a:lnTo>
                <a:lnTo>
                  <a:pt x="8533556" y="3133718"/>
                </a:lnTo>
                <a:lnTo>
                  <a:pt x="8544118" y="3140598"/>
                </a:lnTo>
                <a:lnTo>
                  <a:pt x="8553624" y="3147476"/>
                </a:lnTo>
                <a:lnTo>
                  <a:pt x="8564715" y="3155944"/>
                </a:lnTo>
                <a:lnTo>
                  <a:pt x="8574221" y="3164410"/>
                </a:lnTo>
                <a:lnTo>
                  <a:pt x="8584256" y="3173406"/>
                </a:lnTo>
                <a:lnTo>
                  <a:pt x="8594290" y="3183461"/>
                </a:lnTo>
                <a:lnTo>
                  <a:pt x="8603268" y="3194043"/>
                </a:lnTo>
                <a:lnTo>
                  <a:pt x="8612246" y="3205685"/>
                </a:lnTo>
                <a:lnTo>
                  <a:pt x="8621753" y="3218386"/>
                </a:lnTo>
                <a:lnTo>
                  <a:pt x="8629674" y="3231615"/>
                </a:lnTo>
                <a:lnTo>
                  <a:pt x="8635484" y="3240610"/>
                </a:lnTo>
                <a:lnTo>
                  <a:pt x="8639709" y="3250664"/>
                </a:lnTo>
                <a:lnTo>
                  <a:pt x="8643406" y="3260718"/>
                </a:lnTo>
                <a:lnTo>
                  <a:pt x="8646046" y="3270244"/>
                </a:lnTo>
                <a:lnTo>
                  <a:pt x="8647631" y="3280298"/>
                </a:lnTo>
                <a:lnTo>
                  <a:pt x="8648687" y="3290351"/>
                </a:lnTo>
                <a:lnTo>
                  <a:pt x="8648687" y="3300406"/>
                </a:lnTo>
                <a:lnTo>
                  <a:pt x="8648159" y="3309401"/>
                </a:lnTo>
                <a:lnTo>
                  <a:pt x="8646574" y="3319455"/>
                </a:lnTo>
                <a:lnTo>
                  <a:pt x="8643406" y="3328452"/>
                </a:lnTo>
                <a:lnTo>
                  <a:pt x="8640765" y="3336918"/>
                </a:lnTo>
                <a:lnTo>
                  <a:pt x="8636540" y="3345385"/>
                </a:lnTo>
                <a:lnTo>
                  <a:pt x="8631259" y="3353322"/>
                </a:lnTo>
                <a:lnTo>
                  <a:pt x="8625978" y="3361260"/>
                </a:lnTo>
                <a:lnTo>
                  <a:pt x="8619112" y="3368139"/>
                </a:lnTo>
                <a:lnTo>
                  <a:pt x="8612246" y="3373960"/>
                </a:lnTo>
                <a:lnTo>
                  <a:pt x="8610662" y="3356497"/>
                </a:lnTo>
                <a:lnTo>
                  <a:pt x="8608021" y="3339035"/>
                </a:lnTo>
                <a:lnTo>
                  <a:pt x="8603796" y="3321572"/>
                </a:lnTo>
                <a:lnTo>
                  <a:pt x="8598515" y="3303052"/>
                </a:lnTo>
                <a:lnTo>
                  <a:pt x="8592706" y="3285061"/>
                </a:lnTo>
                <a:lnTo>
                  <a:pt x="8584256" y="3266540"/>
                </a:lnTo>
                <a:lnTo>
                  <a:pt x="8575277" y="3248548"/>
                </a:lnTo>
                <a:lnTo>
                  <a:pt x="8564715" y="3230026"/>
                </a:lnTo>
                <a:lnTo>
                  <a:pt x="8558377" y="3219973"/>
                </a:lnTo>
                <a:lnTo>
                  <a:pt x="8551512" y="3210976"/>
                </a:lnTo>
                <a:lnTo>
                  <a:pt x="8544646" y="3201981"/>
                </a:lnTo>
                <a:lnTo>
                  <a:pt x="8537252" y="3192455"/>
                </a:lnTo>
                <a:lnTo>
                  <a:pt x="8522465" y="3174993"/>
                </a:lnTo>
                <a:lnTo>
                  <a:pt x="8506621" y="3159647"/>
                </a:lnTo>
                <a:lnTo>
                  <a:pt x="8489721" y="3145360"/>
                </a:lnTo>
                <a:lnTo>
                  <a:pt x="8473349" y="3132660"/>
                </a:lnTo>
                <a:lnTo>
                  <a:pt x="8455921" y="3121019"/>
                </a:lnTo>
                <a:lnTo>
                  <a:pt x="8437437" y="3110435"/>
                </a:lnTo>
                <a:lnTo>
                  <a:pt x="8453280" y="3121019"/>
                </a:lnTo>
                <a:lnTo>
                  <a:pt x="8469652" y="3132660"/>
                </a:lnTo>
                <a:lnTo>
                  <a:pt x="8484440" y="3144830"/>
                </a:lnTo>
                <a:lnTo>
                  <a:pt x="8499227" y="3158589"/>
                </a:lnTo>
                <a:lnTo>
                  <a:pt x="8513487" y="3172877"/>
                </a:lnTo>
                <a:lnTo>
                  <a:pt x="8526690" y="3188223"/>
                </a:lnTo>
                <a:lnTo>
                  <a:pt x="8539365" y="3204627"/>
                </a:lnTo>
                <a:lnTo>
                  <a:pt x="8551512" y="3223147"/>
                </a:lnTo>
                <a:lnTo>
                  <a:pt x="8557849" y="3233202"/>
                </a:lnTo>
                <a:lnTo>
                  <a:pt x="8563131" y="3242726"/>
                </a:lnTo>
                <a:lnTo>
                  <a:pt x="8568412" y="3252781"/>
                </a:lnTo>
                <a:lnTo>
                  <a:pt x="8572637" y="3263364"/>
                </a:lnTo>
                <a:lnTo>
                  <a:pt x="8581087" y="3283473"/>
                </a:lnTo>
                <a:lnTo>
                  <a:pt x="8587953" y="3304110"/>
                </a:lnTo>
                <a:lnTo>
                  <a:pt x="8593234" y="3324747"/>
                </a:lnTo>
                <a:lnTo>
                  <a:pt x="8597459" y="3344326"/>
                </a:lnTo>
                <a:lnTo>
                  <a:pt x="8597987" y="3354380"/>
                </a:lnTo>
                <a:lnTo>
                  <a:pt x="8598515" y="3364435"/>
                </a:lnTo>
                <a:lnTo>
                  <a:pt x="8599571" y="3373430"/>
                </a:lnTo>
                <a:lnTo>
                  <a:pt x="8599571" y="3383485"/>
                </a:lnTo>
                <a:lnTo>
                  <a:pt x="8597459" y="3384014"/>
                </a:lnTo>
                <a:lnTo>
                  <a:pt x="8595874" y="3385601"/>
                </a:lnTo>
                <a:lnTo>
                  <a:pt x="8584784" y="3390364"/>
                </a:lnTo>
                <a:lnTo>
                  <a:pt x="8574221" y="3393010"/>
                </a:lnTo>
                <a:lnTo>
                  <a:pt x="8563131" y="3395655"/>
                </a:lnTo>
                <a:lnTo>
                  <a:pt x="8551512" y="3397243"/>
                </a:lnTo>
                <a:lnTo>
                  <a:pt x="8540421" y="3397243"/>
                </a:lnTo>
                <a:lnTo>
                  <a:pt x="8528802" y="3396185"/>
                </a:lnTo>
                <a:lnTo>
                  <a:pt x="8517184" y="3394068"/>
                </a:lnTo>
                <a:lnTo>
                  <a:pt x="8506621" y="3390893"/>
                </a:lnTo>
                <a:lnTo>
                  <a:pt x="8495530" y="3387189"/>
                </a:lnTo>
                <a:lnTo>
                  <a:pt x="8484440" y="3382426"/>
                </a:lnTo>
                <a:lnTo>
                  <a:pt x="8474934" y="3376605"/>
                </a:lnTo>
                <a:lnTo>
                  <a:pt x="8464899" y="3369726"/>
                </a:lnTo>
                <a:lnTo>
                  <a:pt x="8455921" y="3361789"/>
                </a:lnTo>
                <a:lnTo>
                  <a:pt x="8446415" y="3352793"/>
                </a:lnTo>
                <a:lnTo>
                  <a:pt x="8439021" y="3343797"/>
                </a:lnTo>
                <a:lnTo>
                  <a:pt x="8432155" y="3332685"/>
                </a:lnTo>
                <a:lnTo>
                  <a:pt x="8428458" y="3326335"/>
                </a:lnTo>
                <a:lnTo>
                  <a:pt x="8424762" y="3318398"/>
                </a:lnTo>
                <a:lnTo>
                  <a:pt x="8421593" y="3309930"/>
                </a:lnTo>
                <a:lnTo>
                  <a:pt x="8419480" y="3302523"/>
                </a:lnTo>
                <a:lnTo>
                  <a:pt x="8417896" y="3294055"/>
                </a:lnTo>
                <a:lnTo>
                  <a:pt x="8416312" y="3285589"/>
                </a:lnTo>
                <a:lnTo>
                  <a:pt x="8415255" y="3277122"/>
                </a:lnTo>
                <a:lnTo>
                  <a:pt x="8414727" y="3268127"/>
                </a:lnTo>
                <a:lnTo>
                  <a:pt x="8413671" y="3250664"/>
                </a:lnTo>
                <a:lnTo>
                  <a:pt x="8414727" y="3233202"/>
                </a:lnTo>
                <a:lnTo>
                  <a:pt x="8415255" y="3215739"/>
                </a:lnTo>
                <a:lnTo>
                  <a:pt x="8416312" y="3197218"/>
                </a:lnTo>
                <a:lnTo>
                  <a:pt x="8416840" y="3180285"/>
                </a:lnTo>
                <a:lnTo>
                  <a:pt x="8416840" y="3163880"/>
                </a:lnTo>
                <a:lnTo>
                  <a:pt x="8416312" y="3155414"/>
                </a:lnTo>
                <a:lnTo>
                  <a:pt x="8415255" y="3147476"/>
                </a:lnTo>
                <a:lnTo>
                  <a:pt x="8414727" y="3140069"/>
                </a:lnTo>
                <a:lnTo>
                  <a:pt x="8413143" y="3132660"/>
                </a:lnTo>
                <a:lnTo>
                  <a:pt x="8411030" y="3125781"/>
                </a:lnTo>
                <a:lnTo>
                  <a:pt x="8408390" y="3118901"/>
                </a:lnTo>
                <a:lnTo>
                  <a:pt x="8405749" y="3112551"/>
                </a:lnTo>
                <a:lnTo>
                  <a:pt x="8401524" y="3106731"/>
                </a:lnTo>
                <a:lnTo>
                  <a:pt x="8397827" y="3100380"/>
                </a:lnTo>
                <a:lnTo>
                  <a:pt x="8392546" y="3095089"/>
                </a:lnTo>
                <a:lnTo>
                  <a:pt x="8387265" y="3090327"/>
                </a:lnTo>
                <a:close/>
                <a:moveTo>
                  <a:pt x="1370004" y="3074988"/>
                </a:moveTo>
                <a:lnTo>
                  <a:pt x="1376354" y="3083485"/>
                </a:lnTo>
                <a:lnTo>
                  <a:pt x="1389054" y="3106324"/>
                </a:lnTo>
                <a:lnTo>
                  <a:pt x="1392758" y="3113227"/>
                </a:lnTo>
                <a:lnTo>
                  <a:pt x="1395933" y="3120659"/>
                </a:lnTo>
                <a:lnTo>
                  <a:pt x="1399637" y="3129156"/>
                </a:lnTo>
                <a:lnTo>
                  <a:pt x="1402283" y="3137653"/>
                </a:lnTo>
                <a:lnTo>
                  <a:pt x="1404400" y="3146156"/>
                </a:lnTo>
                <a:lnTo>
                  <a:pt x="1405987" y="3154652"/>
                </a:lnTo>
                <a:lnTo>
                  <a:pt x="1406517" y="3163678"/>
                </a:lnTo>
                <a:lnTo>
                  <a:pt x="1406517" y="3172175"/>
                </a:lnTo>
                <a:lnTo>
                  <a:pt x="1405987" y="3178020"/>
                </a:lnTo>
                <a:lnTo>
                  <a:pt x="1404929" y="3184387"/>
                </a:lnTo>
                <a:lnTo>
                  <a:pt x="1403342" y="3189697"/>
                </a:lnTo>
                <a:lnTo>
                  <a:pt x="1402283" y="3194477"/>
                </a:lnTo>
                <a:lnTo>
                  <a:pt x="1399637" y="3198729"/>
                </a:lnTo>
                <a:lnTo>
                  <a:pt x="1397521" y="3203510"/>
                </a:lnTo>
                <a:lnTo>
                  <a:pt x="1394346" y="3206697"/>
                </a:lnTo>
                <a:lnTo>
                  <a:pt x="1391171" y="3210413"/>
                </a:lnTo>
                <a:lnTo>
                  <a:pt x="1388525" y="3212535"/>
                </a:lnTo>
                <a:lnTo>
                  <a:pt x="1384292" y="3215193"/>
                </a:lnTo>
                <a:lnTo>
                  <a:pt x="1380587" y="3217316"/>
                </a:lnTo>
                <a:lnTo>
                  <a:pt x="1376883" y="3218909"/>
                </a:lnTo>
                <a:lnTo>
                  <a:pt x="1373179" y="3219438"/>
                </a:lnTo>
                <a:lnTo>
                  <a:pt x="1368417" y="3220503"/>
                </a:lnTo>
                <a:lnTo>
                  <a:pt x="1364713" y="3221032"/>
                </a:lnTo>
                <a:lnTo>
                  <a:pt x="1359950" y="3221032"/>
                </a:lnTo>
                <a:lnTo>
                  <a:pt x="1355717" y="3220503"/>
                </a:lnTo>
                <a:lnTo>
                  <a:pt x="1352013" y="3219438"/>
                </a:lnTo>
                <a:lnTo>
                  <a:pt x="1347250" y="3217845"/>
                </a:lnTo>
                <a:lnTo>
                  <a:pt x="1343546" y="3216787"/>
                </a:lnTo>
                <a:lnTo>
                  <a:pt x="1339842" y="3214129"/>
                </a:lnTo>
                <a:lnTo>
                  <a:pt x="1336667" y="3212006"/>
                </a:lnTo>
                <a:lnTo>
                  <a:pt x="1333492" y="3208819"/>
                </a:lnTo>
                <a:lnTo>
                  <a:pt x="1330317" y="3205632"/>
                </a:lnTo>
                <a:lnTo>
                  <a:pt x="1328200" y="3201916"/>
                </a:lnTo>
                <a:lnTo>
                  <a:pt x="1326083" y="3198194"/>
                </a:lnTo>
                <a:lnTo>
                  <a:pt x="1323437" y="3194477"/>
                </a:lnTo>
                <a:lnTo>
                  <a:pt x="1321850" y="3189168"/>
                </a:lnTo>
                <a:lnTo>
                  <a:pt x="1321321" y="3184387"/>
                </a:lnTo>
                <a:lnTo>
                  <a:pt x="1320792" y="3179078"/>
                </a:lnTo>
                <a:lnTo>
                  <a:pt x="1320792" y="3172703"/>
                </a:lnTo>
                <a:lnTo>
                  <a:pt x="1320792" y="3166865"/>
                </a:lnTo>
                <a:lnTo>
                  <a:pt x="1321321" y="3157839"/>
                </a:lnTo>
                <a:lnTo>
                  <a:pt x="1323437" y="3149336"/>
                </a:lnTo>
                <a:lnTo>
                  <a:pt x="1326083" y="3140840"/>
                </a:lnTo>
                <a:lnTo>
                  <a:pt x="1329788" y="3132343"/>
                </a:lnTo>
                <a:lnTo>
                  <a:pt x="1333492" y="3124911"/>
                </a:lnTo>
                <a:lnTo>
                  <a:pt x="1337196" y="3116943"/>
                </a:lnTo>
                <a:lnTo>
                  <a:pt x="1341958" y="3110040"/>
                </a:lnTo>
                <a:lnTo>
                  <a:pt x="1346192" y="3103137"/>
                </a:lnTo>
                <a:lnTo>
                  <a:pt x="1362596" y="3082421"/>
                </a:lnTo>
                <a:close/>
                <a:moveTo>
                  <a:pt x="3487473" y="3032122"/>
                </a:moveTo>
                <a:lnTo>
                  <a:pt x="3492740" y="3032122"/>
                </a:lnTo>
                <a:lnTo>
                  <a:pt x="3498007" y="3032653"/>
                </a:lnTo>
                <a:lnTo>
                  <a:pt x="3503274" y="3034249"/>
                </a:lnTo>
                <a:lnTo>
                  <a:pt x="3508540" y="3035845"/>
                </a:lnTo>
                <a:lnTo>
                  <a:pt x="3513807" y="3037969"/>
                </a:lnTo>
                <a:lnTo>
                  <a:pt x="3518546" y="3040628"/>
                </a:lnTo>
                <a:lnTo>
                  <a:pt x="3523287" y="3043286"/>
                </a:lnTo>
                <a:lnTo>
                  <a:pt x="3527499" y="3047541"/>
                </a:lnTo>
                <a:lnTo>
                  <a:pt x="3531187" y="3051261"/>
                </a:lnTo>
                <a:lnTo>
                  <a:pt x="3535399" y="3056047"/>
                </a:lnTo>
                <a:lnTo>
                  <a:pt x="3537506" y="3060299"/>
                </a:lnTo>
                <a:lnTo>
                  <a:pt x="3540666" y="3065616"/>
                </a:lnTo>
                <a:lnTo>
                  <a:pt x="3542247" y="3070402"/>
                </a:lnTo>
                <a:lnTo>
                  <a:pt x="3543299" y="3075718"/>
                </a:lnTo>
                <a:lnTo>
                  <a:pt x="3544352" y="3081035"/>
                </a:lnTo>
                <a:lnTo>
                  <a:pt x="3544880" y="3086351"/>
                </a:lnTo>
                <a:lnTo>
                  <a:pt x="3544880" y="3091667"/>
                </a:lnTo>
                <a:lnTo>
                  <a:pt x="3544352" y="3096984"/>
                </a:lnTo>
                <a:lnTo>
                  <a:pt x="3543299" y="3102300"/>
                </a:lnTo>
                <a:lnTo>
                  <a:pt x="3542247" y="3107616"/>
                </a:lnTo>
                <a:lnTo>
                  <a:pt x="3539613" y="3112403"/>
                </a:lnTo>
                <a:lnTo>
                  <a:pt x="3536453" y="3117720"/>
                </a:lnTo>
                <a:lnTo>
                  <a:pt x="3533820" y="3122507"/>
                </a:lnTo>
                <a:lnTo>
                  <a:pt x="3530132" y="3126759"/>
                </a:lnTo>
                <a:lnTo>
                  <a:pt x="3525920" y="3131011"/>
                </a:lnTo>
                <a:lnTo>
                  <a:pt x="3521706" y="3133668"/>
                </a:lnTo>
                <a:lnTo>
                  <a:pt x="3516967" y="3136862"/>
                </a:lnTo>
                <a:lnTo>
                  <a:pt x="3512227" y="3140049"/>
                </a:lnTo>
                <a:lnTo>
                  <a:pt x="3506960" y="3141643"/>
                </a:lnTo>
                <a:lnTo>
                  <a:pt x="3501693" y="3143237"/>
                </a:lnTo>
                <a:lnTo>
                  <a:pt x="3496426" y="3143772"/>
                </a:lnTo>
                <a:lnTo>
                  <a:pt x="3491160" y="3144837"/>
                </a:lnTo>
                <a:lnTo>
                  <a:pt x="3485894" y="3144837"/>
                </a:lnTo>
                <a:lnTo>
                  <a:pt x="3480628" y="3143772"/>
                </a:lnTo>
                <a:lnTo>
                  <a:pt x="3475360" y="3143237"/>
                </a:lnTo>
                <a:lnTo>
                  <a:pt x="3470620" y="3141643"/>
                </a:lnTo>
                <a:lnTo>
                  <a:pt x="3465353" y="3139520"/>
                </a:lnTo>
                <a:lnTo>
                  <a:pt x="3460613" y="3136327"/>
                </a:lnTo>
                <a:lnTo>
                  <a:pt x="3455347" y="3133140"/>
                </a:lnTo>
                <a:lnTo>
                  <a:pt x="3451661" y="3129417"/>
                </a:lnTo>
                <a:lnTo>
                  <a:pt x="3447974" y="3125694"/>
                </a:lnTo>
                <a:lnTo>
                  <a:pt x="3444287" y="3120907"/>
                </a:lnTo>
                <a:lnTo>
                  <a:pt x="3441127" y="3116126"/>
                </a:lnTo>
                <a:lnTo>
                  <a:pt x="3439020" y="3111874"/>
                </a:lnTo>
                <a:lnTo>
                  <a:pt x="3436387" y="3106557"/>
                </a:lnTo>
                <a:lnTo>
                  <a:pt x="3435334" y="3101240"/>
                </a:lnTo>
                <a:lnTo>
                  <a:pt x="3434281" y="3095390"/>
                </a:lnTo>
                <a:lnTo>
                  <a:pt x="3433754" y="3090074"/>
                </a:lnTo>
                <a:lnTo>
                  <a:pt x="3434281" y="3084757"/>
                </a:lnTo>
                <a:lnTo>
                  <a:pt x="3434281" y="3079441"/>
                </a:lnTo>
                <a:lnTo>
                  <a:pt x="3435860" y="3074124"/>
                </a:lnTo>
                <a:lnTo>
                  <a:pt x="3437441" y="3069337"/>
                </a:lnTo>
                <a:lnTo>
                  <a:pt x="3439547" y="3064021"/>
                </a:lnTo>
                <a:lnTo>
                  <a:pt x="3441654" y="3059769"/>
                </a:lnTo>
                <a:lnTo>
                  <a:pt x="3444814" y="3054453"/>
                </a:lnTo>
                <a:lnTo>
                  <a:pt x="3448500" y="3050200"/>
                </a:lnTo>
                <a:lnTo>
                  <a:pt x="3452714" y="3045944"/>
                </a:lnTo>
                <a:lnTo>
                  <a:pt x="3456927" y="3042755"/>
                </a:lnTo>
                <a:lnTo>
                  <a:pt x="3461667" y="3039565"/>
                </a:lnTo>
                <a:lnTo>
                  <a:pt x="3466934" y="3037438"/>
                </a:lnTo>
                <a:lnTo>
                  <a:pt x="3471673" y="3035311"/>
                </a:lnTo>
                <a:lnTo>
                  <a:pt x="3476940" y="3033716"/>
                </a:lnTo>
                <a:lnTo>
                  <a:pt x="3482207" y="3032653"/>
                </a:lnTo>
                <a:close/>
                <a:moveTo>
                  <a:pt x="3774997" y="3030535"/>
                </a:moveTo>
                <a:lnTo>
                  <a:pt x="3780340" y="3030535"/>
                </a:lnTo>
                <a:lnTo>
                  <a:pt x="3785681" y="3030535"/>
                </a:lnTo>
                <a:lnTo>
                  <a:pt x="3791024" y="3031064"/>
                </a:lnTo>
                <a:lnTo>
                  <a:pt x="3796364" y="3031593"/>
                </a:lnTo>
                <a:lnTo>
                  <a:pt x="3801707" y="3033180"/>
                </a:lnTo>
                <a:lnTo>
                  <a:pt x="3807048" y="3035826"/>
                </a:lnTo>
                <a:lnTo>
                  <a:pt x="3811856" y="3038472"/>
                </a:lnTo>
                <a:lnTo>
                  <a:pt x="3816664" y="3041649"/>
                </a:lnTo>
                <a:lnTo>
                  <a:pt x="3820937" y="3044824"/>
                </a:lnTo>
                <a:lnTo>
                  <a:pt x="3824677" y="3049585"/>
                </a:lnTo>
                <a:lnTo>
                  <a:pt x="3828950" y="3053817"/>
                </a:lnTo>
                <a:lnTo>
                  <a:pt x="3831087" y="3058583"/>
                </a:lnTo>
                <a:lnTo>
                  <a:pt x="3834292" y="3062815"/>
                </a:lnTo>
                <a:lnTo>
                  <a:pt x="3835895" y="3068634"/>
                </a:lnTo>
                <a:lnTo>
                  <a:pt x="3836963" y="3073929"/>
                </a:lnTo>
                <a:lnTo>
                  <a:pt x="3838565" y="3079219"/>
                </a:lnTo>
                <a:lnTo>
                  <a:pt x="3838565" y="3084509"/>
                </a:lnTo>
                <a:lnTo>
                  <a:pt x="3838565" y="3089801"/>
                </a:lnTo>
                <a:lnTo>
                  <a:pt x="3838031" y="3095095"/>
                </a:lnTo>
                <a:lnTo>
                  <a:pt x="3836963" y="3100385"/>
                </a:lnTo>
                <a:lnTo>
                  <a:pt x="3835895" y="3105145"/>
                </a:lnTo>
                <a:lnTo>
                  <a:pt x="3833224" y="3110441"/>
                </a:lnTo>
                <a:lnTo>
                  <a:pt x="3830018" y="3114673"/>
                </a:lnTo>
                <a:lnTo>
                  <a:pt x="3827347" y="3119434"/>
                </a:lnTo>
                <a:lnTo>
                  <a:pt x="3823075" y="3124195"/>
                </a:lnTo>
                <a:lnTo>
                  <a:pt x="3819334" y="3127904"/>
                </a:lnTo>
                <a:lnTo>
                  <a:pt x="3815061" y="3131606"/>
                </a:lnTo>
                <a:lnTo>
                  <a:pt x="3810253" y="3134780"/>
                </a:lnTo>
                <a:lnTo>
                  <a:pt x="3805446" y="3136896"/>
                </a:lnTo>
                <a:lnTo>
                  <a:pt x="3800104" y="3139541"/>
                </a:lnTo>
                <a:lnTo>
                  <a:pt x="3794762" y="3140599"/>
                </a:lnTo>
                <a:lnTo>
                  <a:pt x="3789420" y="3141657"/>
                </a:lnTo>
                <a:lnTo>
                  <a:pt x="3784078" y="3141657"/>
                </a:lnTo>
                <a:lnTo>
                  <a:pt x="3778736" y="3141657"/>
                </a:lnTo>
                <a:lnTo>
                  <a:pt x="3773395" y="3141657"/>
                </a:lnTo>
                <a:lnTo>
                  <a:pt x="3768052" y="3140070"/>
                </a:lnTo>
                <a:lnTo>
                  <a:pt x="3763245" y="3138483"/>
                </a:lnTo>
                <a:lnTo>
                  <a:pt x="3757904" y="3136367"/>
                </a:lnTo>
                <a:lnTo>
                  <a:pt x="3753096" y="3133722"/>
                </a:lnTo>
                <a:lnTo>
                  <a:pt x="3748823" y="3131077"/>
                </a:lnTo>
                <a:lnTo>
                  <a:pt x="3744014" y="3126845"/>
                </a:lnTo>
                <a:lnTo>
                  <a:pt x="3740276" y="3122607"/>
                </a:lnTo>
                <a:lnTo>
                  <a:pt x="3736537" y="3118905"/>
                </a:lnTo>
                <a:lnTo>
                  <a:pt x="3733331" y="3114144"/>
                </a:lnTo>
                <a:lnTo>
                  <a:pt x="3731194" y="3108854"/>
                </a:lnTo>
                <a:lnTo>
                  <a:pt x="3728524" y="3104087"/>
                </a:lnTo>
                <a:lnTo>
                  <a:pt x="3726921" y="3098798"/>
                </a:lnTo>
                <a:lnTo>
                  <a:pt x="3726387" y="3093508"/>
                </a:lnTo>
                <a:lnTo>
                  <a:pt x="3725853" y="3088213"/>
                </a:lnTo>
                <a:lnTo>
                  <a:pt x="3726387" y="3082923"/>
                </a:lnTo>
                <a:lnTo>
                  <a:pt x="3726387" y="3077633"/>
                </a:lnTo>
                <a:lnTo>
                  <a:pt x="3727990" y="3072338"/>
                </a:lnTo>
                <a:lnTo>
                  <a:pt x="3729592" y="3067047"/>
                </a:lnTo>
                <a:lnTo>
                  <a:pt x="3731728" y="3061757"/>
                </a:lnTo>
                <a:lnTo>
                  <a:pt x="3733865" y="3056993"/>
                </a:lnTo>
                <a:lnTo>
                  <a:pt x="3737071" y="3052230"/>
                </a:lnTo>
                <a:lnTo>
                  <a:pt x="3740810" y="3047998"/>
                </a:lnTo>
                <a:lnTo>
                  <a:pt x="3745084" y="3043765"/>
                </a:lnTo>
                <a:lnTo>
                  <a:pt x="3749357" y="3040060"/>
                </a:lnTo>
                <a:lnTo>
                  <a:pt x="3754164" y="3036884"/>
                </a:lnTo>
                <a:lnTo>
                  <a:pt x="3759507" y="3034768"/>
                </a:lnTo>
                <a:lnTo>
                  <a:pt x="3764314" y="3033180"/>
                </a:lnTo>
                <a:lnTo>
                  <a:pt x="3769656" y="3031593"/>
                </a:lnTo>
                <a:close/>
                <a:moveTo>
                  <a:pt x="7599256" y="3009894"/>
                </a:moveTo>
                <a:lnTo>
                  <a:pt x="7618277" y="3009894"/>
                </a:lnTo>
                <a:lnTo>
                  <a:pt x="7639411" y="3011476"/>
                </a:lnTo>
                <a:lnTo>
                  <a:pt x="7649978" y="3012531"/>
                </a:lnTo>
                <a:lnTo>
                  <a:pt x="7662131" y="3015167"/>
                </a:lnTo>
                <a:lnTo>
                  <a:pt x="7673754" y="3017278"/>
                </a:lnTo>
                <a:lnTo>
                  <a:pt x="7685907" y="3020441"/>
                </a:lnTo>
                <a:lnTo>
                  <a:pt x="7698059" y="3023607"/>
                </a:lnTo>
                <a:lnTo>
                  <a:pt x="7710739" y="3027298"/>
                </a:lnTo>
                <a:lnTo>
                  <a:pt x="7723949" y="3032573"/>
                </a:lnTo>
                <a:lnTo>
                  <a:pt x="7736629" y="3037847"/>
                </a:lnTo>
                <a:lnTo>
                  <a:pt x="7749838" y="3043648"/>
                </a:lnTo>
                <a:lnTo>
                  <a:pt x="7762519" y="3050504"/>
                </a:lnTo>
                <a:lnTo>
                  <a:pt x="7775728" y="3058416"/>
                </a:lnTo>
                <a:lnTo>
                  <a:pt x="7788408" y="3067382"/>
                </a:lnTo>
                <a:lnTo>
                  <a:pt x="7801617" y="3076348"/>
                </a:lnTo>
                <a:lnTo>
                  <a:pt x="7814298" y="3087423"/>
                </a:lnTo>
                <a:lnTo>
                  <a:pt x="7827507" y="3098498"/>
                </a:lnTo>
                <a:lnTo>
                  <a:pt x="7840187" y="3110629"/>
                </a:lnTo>
                <a:lnTo>
                  <a:pt x="7848641" y="3120650"/>
                </a:lnTo>
                <a:lnTo>
                  <a:pt x="7856038" y="3130669"/>
                </a:lnTo>
                <a:lnTo>
                  <a:pt x="7862378" y="3140163"/>
                </a:lnTo>
                <a:lnTo>
                  <a:pt x="7868190" y="3151238"/>
                </a:lnTo>
                <a:lnTo>
                  <a:pt x="7872945" y="3161788"/>
                </a:lnTo>
                <a:lnTo>
                  <a:pt x="7876644" y="3172863"/>
                </a:lnTo>
                <a:lnTo>
                  <a:pt x="7879814" y="3183938"/>
                </a:lnTo>
                <a:lnTo>
                  <a:pt x="7881927" y="3195013"/>
                </a:lnTo>
                <a:lnTo>
                  <a:pt x="7883512" y="3205562"/>
                </a:lnTo>
                <a:lnTo>
                  <a:pt x="7883512" y="3217166"/>
                </a:lnTo>
                <a:lnTo>
                  <a:pt x="7882984" y="3227714"/>
                </a:lnTo>
                <a:lnTo>
                  <a:pt x="7881399" y="3238261"/>
                </a:lnTo>
                <a:lnTo>
                  <a:pt x="7878229" y="3248810"/>
                </a:lnTo>
                <a:lnTo>
                  <a:pt x="7874530" y="3259886"/>
                </a:lnTo>
                <a:lnTo>
                  <a:pt x="7869775" y="3268851"/>
                </a:lnTo>
                <a:lnTo>
                  <a:pt x="7864491" y="3278873"/>
                </a:lnTo>
                <a:lnTo>
                  <a:pt x="7857623" y="3258830"/>
                </a:lnTo>
                <a:lnTo>
                  <a:pt x="7850226" y="3239844"/>
                </a:lnTo>
                <a:lnTo>
                  <a:pt x="7840187" y="3220329"/>
                </a:lnTo>
                <a:lnTo>
                  <a:pt x="7829620" y="3201342"/>
                </a:lnTo>
                <a:lnTo>
                  <a:pt x="7817468" y="3182357"/>
                </a:lnTo>
                <a:lnTo>
                  <a:pt x="7803731" y="3163898"/>
                </a:lnTo>
                <a:lnTo>
                  <a:pt x="7788408" y="3145965"/>
                </a:lnTo>
                <a:lnTo>
                  <a:pt x="7772558" y="3128032"/>
                </a:lnTo>
                <a:lnTo>
                  <a:pt x="7762519" y="3119066"/>
                </a:lnTo>
                <a:lnTo>
                  <a:pt x="7753008" y="3110101"/>
                </a:lnTo>
                <a:lnTo>
                  <a:pt x="7742970" y="3101135"/>
                </a:lnTo>
                <a:lnTo>
                  <a:pt x="7732931" y="3093223"/>
                </a:lnTo>
                <a:lnTo>
                  <a:pt x="7722364" y="3084785"/>
                </a:lnTo>
                <a:lnTo>
                  <a:pt x="7712325" y="3077929"/>
                </a:lnTo>
                <a:lnTo>
                  <a:pt x="7701757" y="3071073"/>
                </a:lnTo>
                <a:lnTo>
                  <a:pt x="7691190" y="3064216"/>
                </a:lnTo>
                <a:lnTo>
                  <a:pt x="7680623" y="3058416"/>
                </a:lnTo>
                <a:lnTo>
                  <a:pt x="7670056" y="3053141"/>
                </a:lnTo>
                <a:lnTo>
                  <a:pt x="7658961" y="3047866"/>
                </a:lnTo>
                <a:lnTo>
                  <a:pt x="7648393" y="3043120"/>
                </a:lnTo>
                <a:lnTo>
                  <a:pt x="7637298" y="3038373"/>
                </a:lnTo>
                <a:lnTo>
                  <a:pt x="7626731" y="3034682"/>
                </a:lnTo>
                <a:lnTo>
                  <a:pt x="7615635" y="3030990"/>
                </a:lnTo>
                <a:lnTo>
                  <a:pt x="7605068" y="3027826"/>
                </a:lnTo>
                <a:lnTo>
                  <a:pt x="7625146" y="3035737"/>
                </a:lnTo>
                <a:lnTo>
                  <a:pt x="7644167" y="3043648"/>
                </a:lnTo>
                <a:lnTo>
                  <a:pt x="7663716" y="3053669"/>
                </a:lnTo>
                <a:lnTo>
                  <a:pt x="7682737" y="3064216"/>
                </a:lnTo>
                <a:lnTo>
                  <a:pt x="7701757" y="3077401"/>
                </a:lnTo>
                <a:lnTo>
                  <a:pt x="7720779" y="3091641"/>
                </a:lnTo>
                <a:lnTo>
                  <a:pt x="7739271" y="3106937"/>
                </a:lnTo>
                <a:lnTo>
                  <a:pt x="7756707" y="3123813"/>
                </a:lnTo>
                <a:lnTo>
                  <a:pt x="7765689" y="3133307"/>
                </a:lnTo>
                <a:lnTo>
                  <a:pt x="7774143" y="3143329"/>
                </a:lnTo>
                <a:lnTo>
                  <a:pt x="7782596" y="3153348"/>
                </a:lnTo>
                <a:lnTo>
                  <a:pt x="7791050" y="3163370"/>
                </a:lnTo>
                <a:lnTo>
                  <a:pt x="7798447" y="3173917"/>
                </a:lnTo>
                <a:lnTo>
                  <a:pt x="7805316" y="3184467"/>
                </a:lnTo>
                <a:lnTo>
                  <a:pt x="7812184" y="3195013"/>
                </a:lnTo>
                <a:lnTo>
                  <a:pt x="7819053" y="3205562"/>
                </a:lnTo>
                <a:lnTo>
                  <a:pt x="7824336" y="3216638"/>
                </a:lnTo>
                <a:lnTo>
                  <a:pt x="7830148" y="3227185"/>
                </a:lnTo>
                <a:lnTo>
                  <a:pt x="7834903" y="3237735"/>
                </a:lnTo>
                <a:lnTo>
                  <a:pt x="7839659" y="3248810"/>
                </a:lnTo>
                <a:lnTo>
                  <a:pt x="7843886" y="3259886"/>
                </a:lnTo>
                <a:lnTo>
                  <a:pt x="7848112" y="3270433"/>
                </a:lnTo>
                <a:lnTo>
                  <a:pt x="7850754" y="3281508"/>
                </a:lnTo>
                <a:lnTo>
                  <a:pt x="7853924" y="3292585"/>
                </a:lnTo>
                <a:lnTo>
                  <a:pt x="7851811" y="3293639"/>
                </a:lnTo>
                <a:lnTo>
                  <a:pt x="7850226" y="3295221"/>
                </a:lnTo>
                <a:lnTo>
                  <a:pt x="7841244" y="3303661"/>
                </a:lnTo>
                <a:lnTo>
                  <a:pt x="7831205" y="3310517"/>
                </a:lnTo>
                <a:lnTo>
                  <a:pt x="7819581" y="3316845"/>
                </a:lnTo>
                <a:lnTo>
                  <a:pt x="7809014" y="3321064"/>
                </a:lnTo>
                <a:lnTo>
                  <a:pt x="7796862" y="3324229"/>
                </a:lnTo>
                <a:lnTo>
                  <a:pt x="7784710" y="3326338"/>
                </a:lnTo>
                <a:lnTo>
                  <a:pt x="7772558" y="3327393"/>
                </a:lnTo>
                <a:lnTo>
                  <a:pt x="7760405" y="3327393"/>
                </a:lnTo>
                <a:lnTo>
                  <a:pt x="7747196" y="3325811"/>
                </a:lnTo>
                <a:lnTo>
                  <a:pt x="7735044" y="3323701"/>
                </a:lnTo>
                <a:lnTo>
                  <a:pt x="7722364" y="3319482"/>
                </a:lnTo>
                <a:lnTo>
                  <a:pt x="7710211" y="3314208"/>
                </a:lnTo>
                <a:lnTo>
                  <a:pt x="7698587" y="3308407"/>
                </a:lnTo>
                <a:lnTo>
                  <a:pt x="7687492" y="3300495"/>
                </a:lnTo>
                <a:lnTo>
                  <a:pt x="7675868" y="3292585"/>
                </a:lnTo>
                <a:lnTo>
                  <a:pt x="7665829" y="3282563"/>
                </a:lnTo>
                <a:lnTo>
                  <a:pt x="7658961" y="3274652"/>
                </a:lnTo>
                <a:lnTo>
                  <a:pt x="7653677" y="3267270"/>
                </a:lnTo>
                <a:lnTo>
                  <a:pt x="7648393" y="3259886"/>
                </a:lnTo>
                <a:lnTo>
                  <a:pt x="7643110" y="3250392"/>
                </a:lnTo>
                <a:lnTo>
                  <a:pt x="7639411" y="3241954"/>
                </a:lnTo>
                <a:lnTo>
                  <a:pt x="7635713" y="3232988"/>
                </a:lnTo>
                <a:lnTo>
                  <a:pt x="7632014" y="3222967"/>
                </a:lnTo>
                <a:lnTo>
                  <a:pt x="7628844" y="3214001"/>
                </a:lnTo>
                <a:lnTo>
                  <a:pt x="7622504" y="3193432"/>
                </a:lnTo>
                <a:lnTo>
                  <a:pt x="7618277" y="3173917"/>
                </a:lnTo>
                <a:lnTo>
                  <a:pt x="7613522" y="3153348"/>
                </a:lnTo>
                <a:lnTo>
                  <a:pt x="7608767" y="3132779"/>
                </a:lnTo>
                <a:lnTo>
                  <a:pt x="7604540" y="3113266"/>
                </a:lnTo>
                <a:lnTo>
                  <a:pt x="7599256" y="3094279"/>
                </a:lnTo>
                <a:lnTo>
                  <a:pt x="7596615" y="3084785"/>
                </a:lnTo>
                <a:lnTo>
                  <a:pt x="7592916" y="3076348"/>
                </a:lnTo>
                <a:lnTo>
                  <a:pt x="7589746" y="3068435"/>
                </a:lnTo>
                <a:lnTo>
                  <a:pt x="7586047" y="3059998"/>
                </a:lnTo>
                <a:lnTo>
                  <a:pt x="7582349" y="3053141"/>
                </a:lnTo>
                <a:lnTo>
                  <a:pt x="7577594" y="3045229"/>
                </a:lnTo>
                <a:lnTo>
                  <a:pt x="7572310" y="3039429"/>
                </a:lnTo>
                <a:lnTo>
                  <a:pt x="7567027" y="3033100"/>
                </a:lnTo>
                <a:lnTo>
                  <a:pt x="7561215" y="3027826"/>
                </a:lnTo>
                <a:lnTo>
                  <a:pt x="7554346" y="3023607"/>
                </a:lnTo>
                <a:lnTo>
                  <a:pt x="7546421" y="3019387"/>
                </a:lnTo>
                <a:lnTo>
                  <a:pt x="7539024" y="3015694"/>
                </a:lnTo>
                <a:lnTo>
                  <a:pt x="7545892" y="3014113"/>
                </a:lnTo>
                <a:lnTo>
                  <a:pt x="7567027" y="3011476"/>
                </a:lnTo>
                <a:lnTo>
                  <a:pt x="7581821" y="3010421"/>
                </a:lnTo>
                <a:close/>
                <a:moveTo>
                  <a:pt x="3277651" y="2959097"/>
                </a:moveTo>
                <a:lnTo>
                  <a:pt x="3282943" y="2959097"/>
                </a:lnTo>
                <a:lnTo>
                  <a:pt x="3288234" y="2959097"/>
                </a:lnTo>
                <a:lnTo>
                  <a:pt x="3293526" y="2959097"/>
                </a:lnTo>
                <a:lnTo>
                  <a:pt x="3298817" y="2960155"/>
                </a:lnTo>
                <a:lnTo>
                  <a:pt x="3304109" y="2961742"/>
                </a:lnTo>
                <a:lnTo>
                  <a:pt x="3308872" y="2964390"/>
                </a:lnTo>
                <a:lnTo>
                  <a:pt x="3314163" y="2966505"/>
                </a:lnTo>
                <a:lnTo>
                  <a:pt x="3318926" y="2969681"/>
                </a:lnTo>
                <a:lnTo>
                  <a:pt x="3322630" y="2973384"/>
                </a:lnTo>
                <a:lnTo>
                  <a:pt x="3326864" y="2977088"/>
                </a:lnTo>
                <a:lnTo>
                  <a:pt x="3330039" y="2981852"/>
                </a:lnTo>
                <a:lnTo>
                  <a:pt x="3333213" y="2986085"/>
                </a:lnTo>
                <a:lnTo>
                  <a:pt x="3335330" y="2990847"/>
                </a:lnTo>
                <a:lnTo>
                  <a:pt x="3337976" y="2996139"/>
                </a:lnTo>
                <a:lnTo>
                  <a:pt x="3339563" y="3001431"/>
                </a:lnTo>
                <a:lnTo>
                  <a:pt x="3340093" y="3006193"/>
                </a:lnTo>
                <a:lnTo>
                  <a:pt x="3340093" y="3011484"/>
                </a:lnTo>
                <a:lnTo>
                  <a:pt x="3340093" y="3016777"/>
                </a:lnTo>
                <a:lnTo>
                  <a:pt x="3340093" y="3022068"/>
                </a:lnTo>
                <a:lnTo>
                  <a:pt x="3338505" y="3027360"/>
                </a:lnTo>
                <a:lnTo>
                  <a:pt x="3336918" y="3032652"/>
                </a:lnTo>
                <a:lnTo>
                  <a:pt x="3334801" y="3037415"/>
                </a:lnTo>
                <a:lnTo>
                  <a:pt x="3332685" y="3042707"/>
                </a:lnTo>
                <a:lnTo>
                  <a:pt x="3329509" y="3047469"/>
                </a:lnTo>
                <a:lnTo>
                  <a:pt x="3325806" y="3051173"/>
                </a:lnTo>
                <a:lnTo>
                  <a:pt x="3321572" y="3055936"/>
                </a:lnTo>
                <a:lnTo>
                  <a:pt x="3317338" y="3058583"/>
                </a:lnTo>
                <a:lnTo>
                  <a:pt x="3312576" y="3061757"/>
                </a:lnTo>
                <a:lnTo>
                  <a:pt x="3307813" y="3063873"/>
                </a:lnTo>
                <a:lnTo>
                  <a:pt x="3302522" y="3066519"/>
                </a:lnTo>
                <a:lnTo>
                  <a:pt x="3297230" y="3068106"/>
                </a:lnTo>
                <a:lnTo>
                  <a:pt x="3292997" y="3068635"/>
                </a:lnTo>
                <a:lnTo>
                  <a:pt x="3287706" y="3068635"/>
                </a:lnTo>
                <a:lnTo>
                  <a:pt x="3282413" y="3068635"/>
                </a:lnTo>
                <a:lnTo>
                  <a:pt x="3276593" y="3068635"/>
                </a:lnTo>
                <a:lnTo>
                  <a:pt x="3271301" y="3067047"/>
                </a:lnTo>
                <a:lnTo>
                  <a:pt x="3266009" y="3065460"/>
                </a:lnTo>
                <a:lnTo>
                  <a:pt x="3261776" y="3063344"/>
                </a:lnTo>
                <a:lnTo>
                  <a:pt x="3256484" y="3061228"/>
                </a:lnTo>
                <a:lnTo>
                  <a:pt x="3251722" y="3058054"/>
                </a:lnTo>
                <a:lnTo>
                  <a:pt x="3248018" y="3054349"/>
                </a:lnTo>
                <a:lnTo>
                  <a:pt x="3243255" y="3050114"/>
                </a:lnTo>
                <a:lnTo>
                  <a:pt x="3240080" y="3045882"/>
                </a:lnTo>
                <a:lnTo>
                  <a:pt x="3237434" y="3041119"/>
                </a:lnTo>
                <a:lnTo>
                  <a:pt x="3234788" y="3036356"/>
                </a:lnTo>
                <a:lnTo>
                  <a:pt x="3232672" y="3031064"/>
                </a:lnTo>
                <a:lnTo>
                  <a:pt x="3231084" y="3025772"/>
                </a:lnTo>
                <a:lnTo>
                  <a:pt x="3230555" y="3020481"/>
                </a:lnTo>
                <a:lnTo>
                  <a:pt x="3230555" y="3016248"/>
                </a:lnTo>
                <a:lnTo>
                  <a:pt x="3230555" y="3010955"/>
                </a:lnTo>
                <a:lnTo>
                  <a:pt x="3230555" y="3005135"/>
                </a:lnTo>
                <a:lnTo>
                  <a:pt x="3231613" y="2999844"/>
                </a:lnTo>
                <a:lnTo>
                  <a:pt x="3233201" y="2994551"/>
                </a:lnTo>
                <a:lnTo>
                  <a:pt x="3235846" y="2990317"/>
                </a:lnTo>
                <a:lnTo>
                  <a:pt x="3237963" y="2985027"/>
                </a:lnTo>
                <a:lnTo>
                  <a:pt x="3241138" y="2980263"/>
                </a:lnTo>
                <a:lnTo>
                  <a:pt x="3244842" y="2976559"/>
                </a:lnTo>
                <a:lnTo>
                  <a:pt x="3248547" y="2971797"/>
                </a:lnTo>
                <a:lnTo>
                  <a:pt x="3253310" y="2968623"/>
                </a:lnTo>
                <a:lnTo>
                  <a:pt x="3257542" y="2965448"/>
                </a:lnTo>
                <a:lnTo>
                  <a:pt x="3262305" y="2963331"/>
                </a:lnTo>
                <a:lnTo>
                  <a:pt x="3267596" y="2961213"/>
                </a:lnTo>
                <a:lnTo>
                  <a:pt x="3272888" y="2959626"/>
                </a:lnTo>
                <a:close/>
                <a:moveTo>
                  <a:pt x="3577988" y="2909885"/>
                </a:moveTo>
                <a:lnTo>
                  <a:pt x="3583254" y="2909885"/>
                </a:lnTo>
                <a:lnTo>
                  <a:pt x="3588521" y="2909885"/>
                </a:lnTo>
                <a:lnTo>
                  <a:pt x="3593786" y="2909885"/>
                </a:lnTo>
                <a:lnTo>
                  <a:pt x="3599579" y="2911464"/>
                </a:lnTo>
                <a:lnTo>
                  <a:pt x="3603793" y="2913044"/>
                </a:lnTo>
                <a:lnTo>
                  <a:pt x="3609058" y="2915151"/>
                </a:lnTo>
                <a:lnTo>
                  <a:pt x="3613799" y="2917784"/>
                </a:lnTo>
                <a:lnTo>
                  <a:pt x="3618537" y="2920416"/>
                </a:lnTo>
                <a:lnTo>
                  <a:pt x="3622751" y="2924631"/>
                </a:lnTo>
                <a:lnTo>
                  <a:pt x="3626437" y="2928316"/>
                </a:lnTo>
                <a:lnTo>
                  <a:pt x="3630650" y="2933056"/>
                </a:lnTo>
                <a:lnTo>
                  <a:pt x="3632757" y="2937268"/>
                </a:lnTo>
                <a:lnTo>
                  <a:pt x="3635917" y="2942009"/>
                </a:lnTo>
                <a:lnTo>
                  <a:pt x="3637495" y="2947276"/>
                </a:lnTo>
                <a:lnTo>
                  <a:pt x="3638550" y="2952541"/>
                </a:lnTo>
                <a:lnTo>
                  <a:pt x="3639602" y="2957281"/>
                </a:lnTo>
                <a:lnTo>
                  <a:pt x="3640129" y="2962547"/>
                </a:lnTo>
                <a:lnTo>
                  <a:pt x="3640129" y="2967813"/>
                </a:lnTo>
                <a:lnTo>
                  <a:pt x="3639602" y="2973080"/>
                </a:lnTo>
                <a:lnTo>
                  <a:pt x="3638550" y="2978345"/>
                </a:lnTo>
                <a:lnTo>
                  <a:pt x="3637495" y="2983613"/>
                </a:lnTo>
                <a:lnTo>
                  <a:pt x="3634864" y="2988351"/>
                </a:lnTo>
                <a:lnTo>
                  <a:pt x="3631704" y="2993618"/>
                </a:lnTo>
                <a:lnTo>
                  <a:pt x="3629071" y="2997830"/>
                </a:lnTo>
                <a:lnTo>
                  <a:pt x="3625385" y="3002043"/>
                </a:lnTo>
                <a:lnTo>
                  <a:pt x="3621171" y="3006258"/>
                </a:lnTo>
                <a:lnTo>
                  <a:pt x="3616958" y="3009416"/>
                </a:lnTo>
                <a:lnTo>
                  <a:pt x="3612218" y="3012577"/>
                </a:lnTo>
                <a:lnTo>
                  <a:pt x="3607479" y="3014683"/>
                </a:lnTo>
                <a:lnTo>
                  <a:pt x="3603265" y="3016790"/>
                </a:lnTo>
                <a:lnTo>
                  <a:pt x="3598000" y="3018370"/>
                </a:lnTo>
                <a:lnTo>
                  <a:pt x="3592734" y="3019423"/>
                </a:lnTo>
                <a:lnTo>
                  <a:pt x="3587467" y="3019423"/>
                </a:lnTo>
                <a:lnTo>
                  <a:pt x="3581674" y="3019423"/>
                </a:lnTo>
                <a:lnTo>
                  <a:pt x="3576409" y="3019423"/>
                </a:lnTo>
                <a:lnTo>
                  <a:pt x="3571142" y="3017843"/>
                </a:lnTo>
                <a:lnTo>
                  <a:pt x="3566930" y="3016263"/>
                </a:lnTo>
                <a:lnTo>
                  <a:pt x="3561663" y="3014157"/>
                </a:lnTo>
                <a:lnTo>
                  <a:pt x="3556924" y="3011523"/>
                </a:lnTo>
                <a:lnTo>
                  <a:pt x="3552184" y="3008891"/>
                </a:lnTo>
                <a:lnTo>
                  <a:pt x="3547971" y="3004678"/>
                </a:lnTo>
                <a:lnTo>
                  <a:pt x="3543757" y="3000990"/>
                </a:lnTo>
                <a:lnTo>
                  <a:pt x="3540071" y="2996778"/>
                </a:lnTo>
                <a:lnTo>
                  <a:pt x="3537964" y="2992038"/>
                </a:lnTo>
                <a:lnTo>
                  <a:pt x="3534805" y="2987299"/>
                </a:lnTo>
                <a:lnTo>
                  <a:pt x="3533226" y="2982033"/>
                </a:lnTo>
                <a:lnTo>
                  <a:pt x="3531645" y="2976765"/>
                </a:lnTo>
                <a:lnTo>
                  <a:pt x="3531119" y="2971500"/>
                </a:lnTo>
                <a:lnTo>
                  <a:pt x="3530592" y="2966761"/>
                </a:lnTo>
                <a:lnTo>
                  <a:pt x="3530592" y="2961494"/>
                </a:lnTo>
                <a:lnTo>
                  <a:pt x="3531119" y="2956228"/>
                </a:lnTo>
                <a:lnTo>
                  <a:pt x="3531645" y="2950961"/>
                </a:lnTo>
                <a:lnTo>
                  <a:pt x="3533226" y="2945695"/>
                </a:lnTo>
                <a:lnTo>
                  <a:pt x="3535859" y="2940956"/>
                </a:lnTo>
                <a:lnTo>
                  <a:pt x="3538492" y="2935689"/>
                </a:lnTo>
                <a:lnTo>
                  <a:pt x="3541652" y="2931476"/>
                </a:lnTo>
                <a:lnTo>
                  <a:pt x="3544812" y="2927263"/>
                </a:lnTo>
                <a:lnTo>
                  <a:pt x="3549551" y="2923049"/>
                </a:lnTo>
                <a:lnTo>
                  <a:pt x="3553237" y="2919891"/>
                </a:lnTo>
                <a:lnTo>
                  <a:pt x="3557451" y="2916731"/>
                </a:lnTo>
                <a:lnTo>
                  <a:pt x="3562716" y="2914624"/>
                </a:lnTo>
                <a:lnTo>
                  <a:pt x="3567456" y="2912517"/>
                </a:lnTo>
                <a:lnTo>
                  <a:pt x="3572723" y="2910937"/>
                </a:lnTo>
                <a:close/>
                <a:moveTo>
                  <a:pt x="9005440" y="2857493"/>
                </a:moveTo>
                <a:lnTo>
                  <a:pt x="9026051" y="2857493"/>
                </a:lnTo>
                <a:lnTo>
                  <a:pt x="9044548" y="2858551"/>
                </a:lnTo>
                <a:lnTo>
                  <a:pt x="9069386" y="2861726"/>
                </a:lnTo>
                <a:lnTo>
                  <a:pt x="9078899" y="2862785"/>
                </a:lnTo>
                <a:lnTo>
                  <a:pt x="9068858" y="2867548"/>
                </a:lnTo>
                <a:lnTo>
                  <a:pt x="9060402" y="2872839"/>
                </a:lnTo>
                <a:lnTo>
                  <a:pt x="9051946" y="2878130"/>
                </a:lnTo>
                <a:lnTo>
                  <a:pt x="9045076" y="2885010"/>
                </a:lnTo>
                <a:lnTo>
                  <a:pt x="9038206" y="2892947"/>
                </a:lnTo>
                <a:lnTo>
                  <a:pt x="9032921" y="2900356"/>
                </a:lnTo>
                <a:lnTo>
                  <a:pt x="9027636" y="2908822"/>
                </a:lnTo>
                <a:lnTo>
                  <a:pt x="9022880" y="2918877"/>
                </a:lnTo>
                <a:lnTo>
                  <a:pt x="9018652" y="2927872"/>
                </a:lnTo>
                <a:lnTo>
                  <a:pt x="9014953" y="2938455"/>
                </a:lnTo>
                <a:lnTo>
                  <a:pt x="9011782" y="2949039"/>
                </a:lnTo>
                <a:lnTo>
                  <a:pt x="9008082" y="2959622"/>
                </a:lnTo>
                <a:lnTo>
                  <a:pt x="9002798" y="2982906"/>
                </a:lnTo>
                <a:lnTo>
                  <a:pt x="8998041" y="3007247"/>
                </a:lnTo>
                <a:lnTo>
                  <a:pt x="8993285" y="3031589"/>
                </a:lnTo>
                <a:lnTo>
                  <a:pt x="8989057" y="3056460"/>
                </a:lnTo>
                <a:lnTo>
                  <a:pt x="8983772" y="3080801"/>
                </a:lnTo>
                <a:lnTo>
                  <a:pt x="8977430" y="3105673"/>
                </a:lnTo>
                <a:lnTo>
                  <a:pt x="8973731" y="3116785"/>
                </a:lnTo>
                <a:lnTo>
                  <a:pt x="8970032" y="3128426"/>
                </a:lnTo>
                <a:lnTo>
                  <a:pt x="8965275" y="3139539"/>
                </a:lnTo>
                <a:lnTo>
                  <a:pt x="8960519" y="3150651"/>
                </a:lnTo>
                <a:lnTo>
                  <a:pt x="8955234" y="3161235"/>
                </a:lnTo>
                <a:lnTo>
                  <a:pt x="8949421" y="3170760"/>
                </a:lnTo>
                <a:lnTo>
                  <a:pt x="8942551" y="3180814"/>
                </a:lnTo>
                <a:lnTo>
                  <a:pt x="8934623" y="3189281"/>
                </a:lnTo>
                <a:lnTo>
                  <a:pt x="8928810" y="3195630"/>
                </a:lnTo>
                <a:lnTo>
                  <a:pt x="8922468" y="3201452"/>
                </a:lnTo>
                <a:lnTo>
                  <a:pt x="8916655" y="3207801"/>
                </a:lnTo>
                <a:lnTo>
                  <a:pt x="8909785" y="3212035"/>
                </a:lnTo>
                <a:lnTo>
                  <a:pt x="8896573" y="3222089"/>
                </a:lnTo>
                <a:lnTo>
                  <a:pt x="8882304" y="3229497"/>
                </a:lnTo>
                <a:lnTo>
                  <a:pt x="8868035" y="3236377"/>
                </a:lnTo>
                <a:lnTo>
                  <a:pt x="8853237" y="3241139"/>
                </a:lnTo>
                <a:lnTo>
                  <a:pt x="8838440" y="3244843"/>
                </a:lnTo>
                <a:lnTo>
                  <a:pt x="8823114" y="3247489"/>
                </a:lnTo>
                <a:lnTo>
                  <a:pt x="8808316" y="3248019"/>
                </a:lnTo>
                <a:lnTo>
                  <a:pt x="8793519" y="3247489"/>
                </a:lnTo>
                <a:lnTo>
                  <a:pt x="8778721" y="3244843"/>
                </a:lnTo>
                <a:lnTo>
                  <a:pt x="8764452" y="3241668"/>
                </a:lnTo>
                <a:lnTo>
                  <a:pt x="8757582" y="3239023"/>
                </a:lnTo>
                <a:lnTo>
                  <a:pt x="8750712" y="3236377"/>
                </a:lnTo>
                <a:lnTo>
                  <a:pt x="8743842" y="3233731"/>
                </a:lnTo>
                <a:lnTo>
                  <a:pt x="8737500" y="3229497"/>
                </a:lnTo>
                <a:lnTo>
                  <a:pt x="8731158" y="3225793"/>
                </a:lnTo>
                <a:lnTo>
                  <a:pt x="8724816" y="3222089"/>
                </a:lnTo>
                <a:lnTo>
                  <a:pt x="8718474" y="3217327"/>
                </a:lnTo>
                <a:lnTo>
                  <a:pt x="8713190" y="3212035"/>
                </a:lnTo>
                <a:lnTo>
                  <a:pt x="8711076" y="3209918"/>
                </a:lnTo>
                <a:lnTo>
                  <a:pt x="8709490" y="3208330"/>
                </a:lnTo>
                <a:lnTo>
                  <a:pt x="8712661" y="3194572"/>
                </a:lnTo>
                <a:lnTo>
                  <a:pt x="8715832" y="3181872"/>
                </a:lnTo>
                <a:lnTo>
                  <a:pt x="8720060" y="3168643"/>
                </a:lnTo>
                <a:lnTo>
                  <a:pt x="8724816" y="3154885"/>
                </a:lnTo>
                <a:lnTo>
                  <a:pt x="8729572" y="3142185"/>
                </a:lnTo>
                <a:lnTo>
                  <a:pt x="8735386" y="3128955"/>
                </a:lnTo>
                <a:lnTo>
                  <a:pt x="8741728" y="3115197"/>
                </a:lnTo>
                <a:lnTo>
                  <a:pt x="8748598" y="3102497"/>
                </a:lnTo>
                <a:lnTo>
                  <a:pt x="8755468" y="3089269"/>
                </a:lnTo>
                <a:lnTo>
                  <a:pt x="8762867" y="3076568"/>
                </a:lnTo>
                <a:lnTo>
                  <a:pt x="8771323" y="3063339"/>
                </a:lnTo>
                <a:lnTo>
                  <a:pt x="8780307" y="3050639"/>
                </a:lnTo>
                <a:lnTo>
                  <a:pt x="8789291" y="3037410"/>
                </a:lnTo>
                <a:lnTo>
                  <a:pt x="8799332" y="3025239"/>
                </a:lnTo>
                <a:lnTo>
                  <a:pt x="8809373" y="3013068"/>
                </a:lnTo>
                <a:lnTo>
                  <a:pt x="8820471" y="3000897"/>
                </a:lnTo>
                <a:lnTo>
                  <a:pt x="8830513" y="2990314"/>
                </a:lnTo>
                <a:lnTo>
                  <a:pt x="8841082" y="2980260"/>
                </a:lnTo>
                <a:lnTo>
                  <a:pt x="8851123" y="2970735"/>
                </a:lnTo>
                <a:lnTo>
                  <a:pt x="8862750" y="2960680"/>
                </a:lnTo>
                <a:lnTo>
                  <a:pt x="8873320" y="2952214"/>
                </a:lnTo>
                <a:lnTo>
                  <a:pt x="8883889" y="2943218"/>
                </a:lnTo>
                <a:lnTo>
                  <a:pt x="8895516" y="2935281"/>
                </a:lnTo>
                <a:lnTo>
                  <a:pt x="8906614" y="2926814"/>
                </a:lnTo>
                <a:lnTo>
                  <a:pt x="8918241" y="2919935"/>
                </a:lnTo>
                <a:lnTo>
                  <a:pt x="8929339" y="2913585"/>
                </a:lnTo>
                <a:lnTo>
                  <a:pt x="8940965" y="2906705"/>
                </a:lnTo>
                <a:lnTo>
                  <a:pt x="8952592" y="2900356"/>
                </a:lnTo>
                <a:lnTo>
                  <a:pt x="8963690" y="2895064"/>
                </a:lnTo>
                <a:lnTo>
                  <a:pt x="8975845" y="2889772"/>
                </a:lnTo>
                <a:lnTo>
                  <a:pt x="8987472" y="2885010"/>
                </a:lnTo>
                <a:lnTo>
                  <a:pt x="8998570" y="2880777"/>
                </a:lnTo>
                <a:lnTo>
                  <a:pt x="8985886" y="2884481"/>
                </a:lnTo>
                <a:lnTo>
                  <a:pt x="8972674" y="2888714"/>
                </a:lnTo>
                <a:lnTo>
                  <a:pt x="8959991" y="2894535"/>
                </a:lnTo>
                <a:lnTo>
                  <a:pt x="8947836" y="2899827"/>
                </a:lnTo>
                <a:lnTo>
                  <a:pt x="8934623" y="2905647"/>
                </a:lnTo>
                <a:lnTo>
                  <a:pt x="8921940" y="2912526"/>
                </a:lnTo>
                <a:lnTo>
                  <a:pt x="8908728" y="2919406"/>
                </a:lnTo>
                <a:lnTo>
                  <a:pt x="8896573" y="2926814"/>
                </a:lnTo>
                <a:lnTo>
                  <a:pt x="8883889" y="2935281"/>
                </a:lnTo>
                <a:lnTo>
                  <a:pt x="8871734" y="2944806"/>
                </a:lnTo>
                <a:lnTo>
                  <a:pt x="8859579" y="2953801"/>
                </a:lnTo>
                <a:lnTo>
                  <a:pt x="8847424" y="2963856"/>
                </a:lnTo>
                <a:lnTo>
                  <a:pt x="8835269" y="2973380"/>
                </a:lnTo>
                <a:lnTo>
                  <a:pt x="8823642" y="2984493"/>
                </a:lnTo>
                <a:lnTo>
                  <a:pt x="8812544" y="2995606"/>
                </a:lnTo>
                <a:lnTo>
                  <a:pt x="8800918" y="3007247"/>
                </a:lnTo>
                <a:lnTo>
                  <a:pt x="8791933" y="3017830"/>
                </a:lnTo>
                <a:lnTo>
                  <a:pt x="8782421" y="3029473"/>
                </a:lnTo>
                <a:lnTo>
                  <a:pt x="8773436" y="3040056"/>
                </a:lnTo>
                <a:lnTo>
                  <a:pt x="8764981" y="3051168"/>
                </a:lnTo>
                <a:lnTo>
                  <a:pt x="8756525" y="3062810"/>
                </a:lnTo>
                <a:lnTo>
                  <a:pt x="8749126" y="3074452"/>
                </a:lnTo>
                <a:lnTo>
                  <a:pt x="8742256" y="3085564"/>
                </a:lnTo>
                <a:lnTo>
                  <a:pt x="8735386" y="3097205"/>
                </a:lnTo>
                <a:lnTo>
                  <a:pt x="8728516" y="3109377"/>
                </a:lnTo>
                <a:lnTo>
                  <a:pt x="8722702" y="3120489"/>
                </a:lnTo>
                <a:lnTo>
                  <a:pt x="8717417" y="3132660"/>
                </a:lnTo>
                <a:lnTo>
                  <a:pt x="8712133" y="3144301"/>
                </a:lnTo>
                <a:lnTo>
                  <a:pt x="8707376" y="3156473"/>
                </a:lnTo>
                <a:lnTo>
                  <a:pt x="8702620" y="3168114"/>
                </a:lnTo>
                <a:lnTo>
                  <a:pt x="8698921" y="3180285"/>
                </a:lnTo>
                <a:lnTo>
                  <a:pt x="8695750" y="3191397"/>
                </a:lnTo>
                <a:lnTo>
                  <a:pt x="8688351" y="3180814"/>
                </a:lnTo>
                <a:lnTo>
                  <a:pt x="8683066" y="3169702"/>
                </a:lnTo>
                <a:lnTo>
                  <a:pt x="8678310" y="3157531"/>
                </a:lnTo>
                <a:lnTo>
                  <a:pt x="8674610" y="3144301"/>
                </a:lnTo>
                <a:lnTo>
                  <a:pt x="8672496" y="3132130"/>
                </a:lnTo>
                <a:lnTo>
                  <a:pt x="8670911" y="3118372"/>
                </a:lnTo>
                <a:lnTo>
                  <a:pt x="8670911" y="3105673"/>
                </a:lnTo>
                <a:lnTo>
                  <a:pt x="8671439" y="3091914"/>
                </a:lnTo>
                <a:lnTo>
                  <a:pt x="8674082" y="3078156"/>
                </a:lnTo>
                <a:lnTo>
                  <a:pt x="8676724" y="3064926"/>
                </a:lnTo>
                <a:lnTo>
                  <a:pt x="8680424" y="3051168"/>
                </a:lnTo>
                <a:lnTo>
                  <a:pt x="8686765" y="3038468"/>
                </a:lnTo>
                <a:lnTo>
                  <a:pt x="8693107" y="3025239"/>
                </a:lnTo>
                <a:lnTo>
                  <a:pt x="8700506" y="3013068"/>
                </a:lnTo>
                <a:lnTo>
                  <a:pt x="8709490" y="3000897"/>
                </a:lnTo>
                <a:lnTo>
                  <a:pt x="8718474" y="2988726"/>
                </a:lnTo>
                <a:lnTo>
                  <a:pt x="8733800" y="2973380"/>
                </a:lnTo>
                <a:lnTo>
                  <a:pt x="8749126" y="2959093"/>
                </a:lnTo>
                <a:lnTo>
                  <a:pt x="8763395" y="2945864"/>
                </a:lnTo>
                <a:lnTo>
                  <a:pt x="8779778" y="2933694"/>
                </a:lnTo>
                <a:lnTo>
                  <a:pt x="8794576" y="2923110"/>
                </a:lnTo>
                <a:lnTo>
                  <a:pt x="8809902" y="2913585"/>
                </a:lnTo>
                <a:lnTo>
                  <a:pt x="8825228" y="2904060"/>
                </a:lnTo>
                <a:lnTo>
                  <a:pt x="8841082" y="2896651"/>
                </a:lnTo>
                <a:lnTo>
                  <a:pt x="8856408" y="2889772"/>
                </a:lnTo>
                <a:lnTo>
                  <a:pt x="8871734" y="2883423"/>
                </a:lnTo>
                <a:lnTo>
                  <a:pt x="8887060" y="2878130"/>
                </a:lnTo>
                <a:lnTo>
                  <a:pt x="8901329" y="2873897"/>
                </a:lnTo>
                <a:lnTo>
                  <a:pt x="8915598" y="2869664"/>
                </a:lnTo>
                <a:lnTo>
                  <a:pt x="8930396" y="2865960"/>
                </a:lnTo>
                <a:lnTo>
                  <a:pt x="8944136" y="2863843"/>
                </a:lnTo>
                <a:lnTo>
                  <a:pt x="8956820" y="2861726"/>
                </a:lnTo>
                <a:lnTo>
                  <a:pt x="8982715" y="2858551"/>
                </a:lnTo>
                <a:close/>
                <a:moveTo>
                  <a:pt x="8201011" y="2844793"/>
                </a:moveTo>
                <a:lnTo>
                  <a:pt x="8213711" y="2844793"/>
                </a:lnTo>
                <a:lnTo>
                  <a:pt x="8225353" y="2845848"/>
                </a:lnTo>
                <a:lnTo>
                  <a:pt x="8248107" y="2847430"/>
                </a:lnTo>
                <a:lnTo>
                  <a:pt x="8268745" y="2849538"/>
                </a:lnTo>
                <a:lnTo>
                  <a:pt x="8286207" y="2852702"/>
                </a:lnTo>
                <a:lnTo>
                  <a:pt x="8301553" y="2855866"/>
                </a:lnTo>
                <a:lnTo>
                  <a:pt x="8323778" y="2861665"/>
                </a:lnTo>
                <a:lnTo>
                  <a:pt x="8331186" y="2864829"/>
                </a:lnTo>
                <a:lnTo>
                  <a:pt x="8322720" y="2866938"/>
                </a:lnTo>
                <a:lnTo>
                  <a:pt x="8314253" y="2869574"/>
                </a:lnTo>
                <a:lnTo>
                  <a:pt x="8306845" y="2873265"/>
                </a:lnTo>
                <a:lnTo>
                  <a:pt x="8299965" y="2877483"/>
                </a:lnTo>
                <a:lnTo>
                  <a:pt x="8293086" y="2882228"/>
                </a:lnTo>
                <a:lnTo>
                  <a:pt x="8287795" y="2887501"/>
                </a:lnTo>
                <a:lnTo>
                  <a:pt x="8281445" y="2893828"/>
                </a:lnTo>
                <a:lnTo>
                  <a:pt x="8277211" y="2900682"/>
                </a:lnTo>
                <a:lnTo>
                  <a:pt x="8271920" y="2908063"/>
                </a:lnTo>
                <a:lnTo>
                  <a:pt x="8267686" y="2915444"/>
                </a:lnTo>
                <a:lnTo>
                  <a:pt x="8263453" y="2923353"/>
                </a:lnTo>
                <a:lnTo>
                  <a:pt x="8259749" y="2931789"/>
                </a:lnTo>
                <a:lnTo>
                  <a:pt x="8252870" y="2949716"/>
                </a:lnTo>
                <a:lnTo>
                  <a:pt x="8245990" y="2968169"/>
                </a:lnTo>
                <a:lnTo>
                  <a:pt x="8239111" y="2987151"/>
                </a:lnTo>
                <a:lnTo>
                  <a:pt x="8232232" y="3006131"/>
                </a:lnTo>
                <a:lnTo>
                  <a:pt x="8225353" y="3025639"/>
                </a:lnTo>
                <a:lnTo>
                  <a:pt x="8216886" y="3044093"/>
                </a:lnTo>
                <a:lnTo>
                  <a:pt x="8213182" y="3053055"/>
                </a:lnTo>
                <a:lnTo>
                  <a:pt x="8207890" y="3061491"/>
                </a:lnTo>
                <a:lnTo>
                  <a:pt x="8203128" y="3069928"/>
                </a:lnTo>
                <a:lnTo>
                  <a:pt x="8197836" y="3078364"/>
                </a:lnTo>
                <a:lnTo>
                  <a:pt x="8191486" y="3085745"/>
                </a:lnTo>
                <a:lnTo>
                  <a:pt x="8184607" y="3092599"/>
                </a:lnTo>
                <a:lnTo>
                  <a:pt x="8178257" y="3099454"/>
                </a:lnTo>
                <a:lnTo>
                  <a:pt x="8171378" y="3105781"/>
                </a:lnTo>
                <a:lnTo>
                  <a:pt x="8159207" y="3113161"/>
                </a:lnTo>
                <a:lnTo>
                  <a:pt x="8146507" y="3120017"/>
                </a:lnTo>
                <a:lnTo>
                  <a:pt x="8133807" y="3125288"/>
                </a:lnTo>
                <a:lnTo>
                  <a:pt x="8121107" y="3130033"/>
                </a:lnTo>
                <a:lnTo>
                  <a:pt x="8107349" y="3132671"/>
                </a:lnTo>
                <a:lnTo>
                  <a:pt x="8094120" y="3134252"/>
                </a:lnTo>
                <a:lnTo>
                  <a:pt x="8080361" y="3135307"/>
                </a:lnTo>
                <a:lnTo>
                  <a:pt x="8066603" y="3135307"/>
                </a:lnTo>
                <a:lnTo>
                  <a:pt x="8053903" y="3133724"/>
                </a:lnTo>
                <a:lnTo>
                  <a:pt x="8040674" y="3130562"/>
                </a:lnTo>
                <a:lnTo>
                  <a:pt x="8027974" y="3126871"/>
                </a:lnTo>
                <a:lnTo>
                  <a:pt x="8015803" y="3121597"/>
                </a:lnTo>
                <a:lnTo>
                  <a:pt x="8004161" y="3115270"/>
                </a:lnTo>
                <a:lnTo>
                  <a:pt x="7993578" y="3108418"/>
                </a:lnTo>
                <a:lnTo>
                  <a:pt x="7983524" y="3100508"/>
                </a:lnTo>
                <a:lnTo>
                  <a:pt x="7974528" y="3090490"/>
                </a:lnTo>
                <a:lnTo>
                  <a:pt x="7972940" y="3088909"/>
                </a:lnTo>
                <a:lnTo>
                  <a:pt x="7971353" y="3086800"/>
                </a:lnTo>
                <a:lnTo>
                  <a:pt x="7975057" y="3076782"/>
                </a:lnTo>
                <a:lnTo>
                  <a:pt x="7979820" y="3066765"/>
                </a:lnTo>
                <a:lnTo>
                  <a:pt x="7985111" y="3056746"/>
                </a:lnTo>
                <a:lnTo>
                  <a:pt x="7990403" y="3047256"/>
                </a:lnTo>
                <a:lnTo>
                  <a:pt x="7996753" y="3037239"/>
                </a:lnTo>
                <a:lnTo>
                  <a:pt x="8002574" y="3027221"/>
                </a:lnTo>
                <a:lnTo>
                  <a:pt x="8009453" y="3017203"/>
                </a:lnTo>
                <a:lnTo>
                  <a:pt x="8016332" y="3007713"/>
                </a:lnTo>
                <a:lnTo>
                  <a:pt x="8024799" y="2998222"/>
                </a:lnTo>
                <a:lnTo>
                  <a:pt x="8032207" y="2989259"/>
                </a:lnTo>
                <a:lnTo>
                  <a:pt x="8041732" y="2980296"/>
                </a:lnTo>
                <a:lnTo>
                  <a:pt x="8050199" y="2971333"/>
                </a:lnTo>
                <a:lnTo>
                  <a:pt x="8059724" y="2961842"/>
                </a:lnTo>
                <a:lnTo>
                  <a:pt x="8069778" y="2953406"/>
                </a:lnTo>
                <a:lnTo>
                  <a:pt x="8079832" y="2945498"/>
                </a:lnTo>
                <a:lnTo>
                  <a:pt x="8090945" y="2937062"/>
                </a:lnTo>
                <a:lnTo>
                  <a:pt x="8111053" y="2923353"/>
                </a:lnTo>
                <a:lnTo>
                  <a:pt x="8131690" y="2911226"/>
                </a:lnTo>
                <a:lnTo>
                  <a:pt x="8152857" y="2900682"/>
                </a:lnTo>
                <a:lnTo>
                  <a:pt x="8174024" y="2890664"/>
                </a:lnTo>
                <a:lnTo>
                  <a:pt x="8195720" y="2882755"/>
                </a:lnTo>
                <a:lnTo>
                  <a:pt x="8216886" y="2875901"/>
                </a:lnTo>
                <a:lnTo>
                  <a:pt x="8238053" y="2870628"/>
                </a:lnTo>
                <a:lnTo>
                  <a:pt x="8260278" y="2866938"/>
                </a:lnTo>
                <a:lnTo>
                  <a:pt x="8248107" y="2867992"/>
                </a:lnTo>
                <a:lnTo>
                  <a:pt x="8236465" y="2870101"/>
                </a:lnTo>
                <a:lnTo>
                  <a:pt x="8224295" y="2872210"/>
                </a:lnTo>
                <a:lnTo>
                  <a:pt x="8213182" y="2874846"/>
                </a:lnTo>
                <a:lnTo>
                  <a:pt x="8201011" y="2877483"/>
                </a:lnTo>
                <a:lnTo>
                  <a:pt x="8189370" y="2881701"/>
                </a:lnTo>
                <a:lnTo>
                  <a:pt x="8177199" y="2885392"/>
                </a:lnTo>
                <a:lnTo>
                  <a:pt x="8165028" y="2889082"/>
                </a:lnTo>
                <a:lnTo>
                  <a:pt x="8153386" y="2894355"/>
                </a:lnTo>
                <a:lnTo>
                  <a:pt x="8141215" y="2899627"/>
                </a:lnTo>
                <a:lnTo>
                  <a:pt x="8130103" y="2904899"/>
                </a:lnTo>
                <a:lnTo>
                  <a:pt x="8118461" y="2911226"/>
                </a:lnTo>
                <a:lnTo>
                  <a:pt x="8107349" y="2917027"/>
                </a:lnTo>
                <a:lnTo>
                  <a:pt x="8095707" y="2924935"/>
                </a:lnTo>
                <a:lnTo>
                  <a:pt x="8084065" y="2931789"/>
                </a:lnTo>
                <a:lnTo>
                  <a:pt x="8073482" y="2940225"/>
                </a:lnTo>
                <a:lnTo>
                  <a:pt x="8054432" y="2954461"/>
                </a:lnTo>
                <a:lnTo>
                  <a:pt x="8036970" y="2969750"/>
                </a:lnTo>
                <a:lnTo>
                  <a:pt x="8021095" y="2985569"/>
                </a:lnTo>
                <a:lnTo>
                  <a:pt x="8005749" y="3002440"/>
                </a:lnTo>
                <a:lnTo>
                  <a:pt x="7993049" y="3018785"/>
                </a:lnTo>
                <a:lnTo>
                  <a:pt x="7980878" y="3036183"/>
                </a:lnTo>
                <a:lnTo>
                  <a:pt x="7969765" y="3054111"/>
                </a:lnTo>
                <a:lnTo>
                  <a:pt x="7960770" y="3072037"/>
                </a:lnTo>
                <a:lnTo>
                  <a:pt x="7956007" y="3062020"/>
                </a:lnTo>
                <a:lnTo>
                  <a:pt x="7952303" y="3051474"/>
                </a:lnTo>
                <a:lnTo>
                  <a:pt x="7949657" y="3041984"/>
                </a:lnTo>
                <a:lnTo>
                  <a:pt x="7948070" y="3030912"/>
                </a:lnTo>
                <a:lnTo>
                  <a:pt x="7947011" y="3020367"/>
                </a:lnTo>
                <a:lnTo>
                  <a:pt x="7947011" y="3009822"/>
                </a:lnTo>
                <a:lnTo>
                  <a:pt x="7948599" y="2999276"/>
                </a:lnTo>
                <a:lnTo>
                  <a:pt x="7950715" y="2988732"/>
                </a:lnTo>
                <a:lnTo>
                  <a:pt x="7953890" y="2978186"/>
                </a:lnTo>
                <a:lnTo>
                  <a:pt x="7958653" y="2967115"/>
                </a:lnTo>
                <a:lnTo>
                  <a:pt x="7962886" y="2957624"/>
                </a:lnTo>
                <a:lnTo>
                  <a:pt x="7969236" y="2947607"/>
                </a:lnTo>
                <a:lnTo>
                  <a:pt x="7976645" y="2938643"/>
                </a:lnTo>
                <a:lnTo>
                  <a:pt x="7984582" y="2929153"/>
                </a:lnTo>
                <a:lnTo>
                  <a:pt x="7993578" y="2920717"/>
                </a:lnTo>
                <a:lnTo>
                  <a:pt x="8003632" y="2912809"/>
                </a:lnTo>
                <a:lnTo>
                  <a:pt x="8017920" y="2902791"/>
                </a:lnTo>
                <a:lnTo>
                  <a:pt x="8032207" y="2892772"/>
                </a:lnTo>
                <a:lnTo>
                  <a:pt x="8047024" y="2885392"/>
                </a:lnTo>
                <a:lnTo>
                  <a:pt x="8062370" y="2877483"/>
                </a:lnTo>
                <a:lnTo>
                  <a:pt x="8076657" y="2870628"/>
                </a:lnTo>
                <a:lnTo>
                  <a:pt x="8090945" y="2865356"/>
                </a:lnTo>
                <a:lnTo>
                  <a:pt x="8105761" y="2861138"/>
                </a:lnTo>
                <a:lnTo>
                  <a:pt x="8120049" y="2856393"/>
                </a:lnTo>
                <a:lnTo>
                  <a:pt x="8133807" y="2853229"/>
                </a:lnTo>
                <a:lnTo>
                  <a:pt x="8148095" y="2850594"/>
                </a:lnTo>
                <a:lnTo>
                  <a:pt x="8161853" y="2847957"/>
                </a:lnTo>
                <a:lnTo>
                  <a:pt x="8175082" y="2846376"/>
                </a:lnTo>
                <a:lnTo>
                  <a:pt x="8188840" y="2845848"/>
                </a:lnTo>
                <a:close/>
                <a:moveTo>
                  <a:pt x="3413665" y="2817809"/>
                </a:moveTo>
                <a:lnTo>
                  <a:pt x="3418906" y="2817809"/>
                </a:lnTo>
                <a:lnTo>
                  <a:pt x="3424147" y="2818873"/>
                </a:lnTo>
                <a:lnTo>
                  <a:pt x="3429387" y="2819404"/>
                </a:lnTo>
                <a:lnTo>
                  <a:pt x="3435153" y="2822063"/>
                </a:lnTo>
                <a:lnTo>
                  <a:pt x="3439345" y="2823658"/>
                </a:lnTo>
                <a:lnTo>
                  <a:pt x="3444063" y="2826317"/>
                </a:lnTo>
                <a:lnTo>
                  <a:pt x="3448255" y="2829507"/>
                </a:lnTo>
                <a:lnTo>
                  <a:pt x="3452972" y="2833228"/>
                </a:lnTo>
                <a:lnTo>
                  <a:pt x="3456641" y="2836950"/>
                </a:lnTo>
                <a:lnTo>
                  <a:pt x="3460310" y="2841736"/>
                </a:lnTo>
                <a:lnTo>
                  <a:pt x="3463455" y="2846522"/>
                </a:lnTo>
                <a:lnTo>
                  <a:pt x="3466075" y="2850775"/>
                </a:lnTo>
                <a:lnTo>
                  <a:pt x="3467123" y="2856092"/>
                </a:lnTo>
                <a:lnTo>
                  <a:pt x="3468696" y="2860878"/>
                </a:lnTo>
                <a:lnTo>
                  <a:pt x="3470268" y="2866195"/>
                </a:lnTo>
                <a:lnTo>
                  <a:pt x="3470268" y="2871512"/>
                </a:lnTo>
                <a:lnTo>
                  <a:pt x="3470268" y="2876828"/>
                </a:lnTo>
                <a:lnTo>
                  <a:pt x="3469745" y="2882145"/>
                </a:lnTo>
                <a:lnTo>
                  <a:pt x="3468696" y="2887994"/>
                </a:lnTo>
                <a:lnTo>
                  <a:pt x="3467123" y="2893311"/>
                </a:lnTo>
                <a:lnTo>
                  <a:pt x="3465027" y="2897565"/>
                </a:lnTo>
                <a:lnTo>
                  <a:pt x="3462931" y="2902349"/>
                </a:lnTo>
                <a:lnTo>
                  <a:pt x="3459261" y="2907135"/>
                </a:lnTo>
                <a:lnTo>
                  <a:pt x="3456117" y="2911389"/>
                </a:lnTo>
                <a:lnTo>
                  <a:pt x="3451400" y="2915110"/>
                </a:lnTo>
                <a:lnTo>
                  <a:pt x="3447731" y="2919364"/>
                </a:lnTo>
                <a:lnTo>
                  <a:pt x="3443014" y="2922022"/>
                </a:lnTo>
                <a:lnTo>
                  <a:pt x="3437773" y="2924681"/>
                </a:lnTo>
                <a:lnTo>
                  <a:pt x="3433581" y="2926276"/>
                </a:lnTo>
                <a:lnTo>
                  <a:pt x="3428340" y="2927339"/>
                </a:lnTo>
                <a:lnTo>
                  <a:pt x="3422574" y="2928935"/>
                </a:lnTo>
                <a:lnTo>
                  <a:pt x="3417333" y="2928935"/>
                </a:lnTo>
                <a:lnTo>
                  <a:pt x="3412092" y="2928935"/>
                </a:lnTo>
                <a:lnTo>
                  <a:pt x="3406852" y="2928403"/>
                </a:lnTo>
                <a:lnTo>
                  <a:pt x="3402659" y="2927339"/>
                </a:lnTo>
                <a:lnTo>
                  <a:pt x="3397417" y="2926276"/>
                </a:lnTo>
                <a:lnTo>
                  <a:pt x="3391652" y="2923617"/>
                </a:lnTo>
                <a:lnTo>
                  <a:pt x="3387459" y="2921491"/>
                </a:lnTo>
                <a:lnTo>
                  <a:pt x="3382742" y="2917769"/>
                </a:lnTo>
                <a:lnTo>
                  <a:pt x="3378549" y="2914579"/>
                </a:lnTo>
                <a:lnTo>
                  <a:pt x="3374356" y="2909792"/>
                </a:lnTo>
                <a:lnTo>
                  <a:pt x="3371736" y="2906071"/>
                </a:lnTo>
                <a:lnTo>
                  <a:pt x="3368591" y="2901287"/>
                </a:lnTo>
                <a:lnTo>
                  <a:pt x="3365970" y="2895970"/>
                </a:lnTo>
                <a:lnTo>
                  <a:pt x="3363874" y="2891714"/>
                </a:lnTo>
                <a:lnTo>
                  <a:pt x="3362302" y="2886398"/>
                </a:lnTo>
                <a:lnTo>
                  <a:pt x="3361778" y="2881081"/>
                </a:lnTo>
                <a:lnTo>
                  <a:pt x="3360730" y="2875234"/>
                </a:lnTo>
                <a:lnTo>
                  <a:pt x="3360730" y="2869917"/>
                </a:lnTo>
                <a:lnTo>
                  <a:pt x="3361778" y="2864599"/>
                </a:lnTo>
                <a:lnTo>
                  <a:pt x="3362302" y="2860345"/>
                </a:lnTo>
                <a:lnTo>
                  <a:pt x="3364922" y="2855028"/>
                </a:lnTo>
                <a:lnTo>
                  <a:pt x="3365970" y="2849711"/>
                </a:lnTo>
                <a:lnTo>
                  <a:pt x="3369115" y="2844926"/>
                </a:lnTo>
                <a:lnTo>
                  <a:pt x="3372260" y="2840141"/>
                </a:lnTo>
                <a:lnTo>
                  <a:pt x="3375929" y="2835887"/>
                </a:lnTo>
                <a:lnTo>
                  <a:pt x="3379598" y="2831633"/>
                </a:lnTo>
                <a:lnTo>
                  <a:pt x="3384314" y="2828975"/>
                </a:lnTo>
                <a:lnTo>
                  <a:pt x="3389032" y="2825785"/>
                </a:lnTo>
                <a:lnTo>
                  <a:pt x="3393225" y="2823658"/>
                </a:lnTo>
                <a:lnTo>
                  <a:pt x="3398466" y="2821000"/>
                </a:lnTo>
                <a:lnTo>
                  <a:pt x="3403182" y="2819404"/>
                </a:lnTo>
                <a:lnTo>
                  <a:pt x="3408423" y="2818873"/>
                </a:lnTo>
                <a:close/>
                <a:moveTo>
                  <a:pt x="3216268" y="2771771"/>
                </a:moveTo>
                <a:lnTo>
                  <a:pt x="3222618" y="2771771"/>
                </a:lnTo>
                <a:lnTo>
                  <a:pt x="3227909" y="2771771"/>
                </a:lnTo>
                <a:lnTo>
                  <a:pt x="3233201" y="2772300"/>
                </a:lnTo>
                <a:lnTo>
                  <a:pt x="3238493" y="2772829"/>
                </a:lnTo>
                <a:lnTo>
                  <a:pt x="3243784" y="2774418"/>
                </a:lnTo>
                <a:lnTo>
                  <a:pt x="3249076" y="2777063"/>
                </a:lnTo>
                <a:lnTo>
                  <a:pt x="3253838" y="2779709"/>
                </a:lnTo>
                <a:lnTo>
                  <a:pt x="3258071" y="2782884"/>
                </a:lnTo>
                <a:lnTo>
                  <a:pt x="3262834" y="2786587"/>
                </a:lnTo>
                <a:lnTo>
                  <a:pt x="3267597" y="2790821"/>
                </a:lnTo>
                <a:lnTo>
                  <a:pt x="3270242" y="2795055"/>
                </a:lnTo>
                <a:lnTo>
                  <a:pt x="3273418" y="2800347"/>
                </a:lnTo>
                <a:lnTo>
                  <a:pt x="3276592" y="2805109"/>
                </a:lnTo>
                <a:lnTo>
                  <a:pt x="3278180" y="2810401"/>
                </a:lnTo>
                <a:lnTo>
                  <a:pt x="3279768" y="2815693"/>
                </a:lnTo>
                <a:lnTo>
                  <a:pt x="3281355" y="2820984"/>
                </a:lnTo>
                <a:lnTo>
                  <a:pt x="3281355" y="2826276"/>
                </a:lnTo>
                <a:lnTo>
                  <a:pt x="3281355" y="2831567"/>
                </a:lnTo>
                <a:lnTo>
                  <a:pt x="3280297" y="2836859"/>
                </a:lnTo>
                <a:lnTo>
                  <a:pt x="3279768" y="2842680"/>
                </a:lnTo>
                <a:lnTo>
                  <a:pt x="3278180" y="2847972"/>
                </a:lnTo>
                <a:lnTo>
                  <a:pt x="3276063" y="2853264"/>
                </a:lnTo>
                <a:lnTo>
                  <a:pt x="3272888" y="2858556"/>
                </a:lnTo>
                <a:lnTo>
                  <a:pt x="3269713" y="2862789"/>
                </a:lnTo>
                <a:lnTo>
                  <a:pt x="3266009" y="2867551"/>
                </a:lnTo>
                <a:lnTo>
                  <a:pt x="3262305" y="2871256"/>
                </a:lnTo>
                <a:lnTo>
                  <a:pt x="3257543" y="2874959"/>
                </a:lnTo>
                <a:lnTo>
                  <a:pt x="3252251" y="2878135"/>
                </a:lnTo>
                <a:lnTo>
                  <a:pt x="3247488" y="2880780"/>
                </a:lnTo>
                <a:lnTo>
                  <a:pt x="3242196" y="2882896"/>
                </a:lnTo>
                <a:lnTo>
                  <a:pt x="3236905" y="2884483"/>
                </a:lnTo>
                <a:lnTo>
                  <a:pt x="3231613" y="2885013"/>
                </a:lnTo>
                <a:lnTo>
                  <a:pt x="3226322" y="2886072"/>
                </a:lnTo>
                <a:lnTo>
                  <a:pt x="3221030" y="2885013"/>
                </a:lnTo>
                <a:lnTo>
                  <a:pt x="3215738" y="2885013"/>
                </a:lnTo>
                <a:lnTo>
                  <a:pt x="3210447" y="2883426"/>
                </a:lnTo>
                <a:lnTo>
                  <a:pt x="3205155" y="2881838"/>
                </a:lnTo>
                <a:lnTo>
                  <a:pt x="3199863" y="2879721"/>
                </a:lnTo>
                <a:lnTo>
                  <a:pt x="3194042" y="2877605"/>
                </a:lnTo>
                <a:lnTo>
                  <a:pt x="3189809" y="2873902"/>
                </a:lnTo>
                <a:lnTo>
                  <a:pt x="3185047" y="2869668"/>
                </a:lnTo>
                <a:lnTo>
                  <a:pt x="3181343" y="2865964"/>
                </a:lnTo>
                <a:lnTo>
                  <a:pt x="3177638" y="2861730"/>
                </a:lnTo>
                <a:lnTo>
                  <a:pt x="3174463" y="2856968"/>
                </a:lnTo>
                <a:lnTo>
                  <a:pt x="3172347" y="2851677"/>
                </a:lnTo>
                <a:lnTo>
                  <a:pt x="3169700" y="2846913"/>
                </a:lnTo>
                <a:lnTo>
                  <a:pt x="3168642" y="2841622"/>
                </a:lnTo>
                <a:lnTo>
                  <a:pt x="3167584" y="2836330"/>
                </a:lnTo>
                <a:lnTo>
                  <a:pt x="3167055" y="2829980"/>
                </a:lnTo>
                <a:lnTo>
                  <a:pt x="3167584" y="2824688"/>
                </a:lnTo>
                <a:lnTo>
                  <a:pt x="3167584" y="2819397"/>
                </a:lnTo>
                <a:lnTo>
                  <a:pt x="3169172" y="2814105"/>
                </a:lnTo>
                <a:lnTo>
                  <a:pt x="3170759" y="2808813"/>
                </a:lnTo>
                <a:lnTo>
                  <a:pt x="3172876" y="2803521"/>
                </a:lnTo>
                <a:lnTo>
                  <a:pt x="3174992" y="2798759"/>
                </a:lnTo>
                <a:lnTo>
                  <a:pt x="3179226" y="2794526"/>
                </a:lnTo>
                <a:lnTo>
                  <a:pt x="3182930" y="2789763"/>
                </a:lnTo>
                <a:lnTo>
                  <a:pt x="3186634" y="2785000"/>
                </a:lnTo>
                <a:lnTo>
                  <a:pt x="3191397" y="2782355"/>
                </a:lnTo>
                <a:lnTo>
                  <a:pt x="3195630" y="2779180"/>
                </a:lnTo>
                <a:lnTo>
                  <a:pt x="3200921" y="2776004"/>
                </a:lnTo>
                <a:lnTo>
                  <a:pt x="3205684" y="2774418"/>
                </a:lnTo>
                <a:lnTo>
                  <a:pt x="3210975" y="2772829"/>
                </a:lnTo>
                <a:close/>
                <a:moveTo>
                  <a:pt x="3040846" y="2647946"/>
                </a:moveTo>
                <a:lnTo>
                  <a:pt x="3047140" y="2648472"/>
                </a:lnTo>
                <a:lnTo>
                  <a:pt x="3052384" y="2650056"/>
                </a:lnTo>
                <a:lnTo>
                  <a:pt x="3056581" y="2653226"/>
                </a:lnTo>
                <a:lnTo>
                  <a:pt x="3061301" y="2656396"/>
                </a:lnTo>
                <a:lnTo>
                  <a:pt x="3064971" y="2660621"/>
                </a:lnTo>
                <a:lnTo>
                  <a:pt x="3068119" y="2665901"/>
                </a:lnTo>
                <a:lnTo>
                  <a:pt x="3069691" y="2671182"/>
                </a:lnTo>
                <a:lnTo>
                  <a:pt x="3070216" y="2677521"/>
                </a:lnTo>
                <a:lnTo>
                  <a:pt x="3070216" y="2885071"/>
                </a:lnTo>
                <a:lnTo>
                  <a:pt x="3069691" y="2891409"/>
                </a:lnTo>
                <a:lnTo>
                  <a:pt x="3068119" y="2896688"/>
                </a:lnTo>
                <a:lnTo>
                  <a:pt x="3064971" y="2901971"/>
                </a:lnTo>
                <a:lnTo>
                  <a:pt x="3061301" y="2906724"/>
                </a:lnTo>
                <a:lnTo>
                  <a:pt x="3056581" y="2909363"/>
                </a:lnTo>
                <a:lnTo>
                  <a:pt x="3052384" y="2912533"/>
                </a:lnTo>
                <a:lnTo>
                  <a:pt x="3047140" y="2914117"/>
                </a:lnTo>
                <a:lnTo>
                  <a:pt x="3040846" y="2914645"/>
                </a:lnTo>
                <a:lnTo>
                  <a:pt x="3035077" y="2914117"/>
                </a:lnTo>
                <a:lnTo>
                  <a:pt x="3029310" y="2912533"/>
                </a:lnTo>
                <a:lnTo>
                  <a:pt x="3024065" y="2909363"/>
                </a:lnTo>
                <a:lnTo>
                  <a:pt x="3019870" y="2906724"/>
                </a:lnTo>
                <a:lnTo>
                  <a:pt x="3016723" y="2901971"/>
                </a:lnTo>
                <a:lnTo>
                  <a:pt x="3013575" y="2896688"/>
                </a:lnTo>
                <a:lnTo>
                  <a:pt x="3012003" y="2891409"/>
                </a:lnTo>
                <a:lnTo>
                  <a:pt x="3011478" y="2885071"/>
                </a:lnTo>
                <a:lnTo>
                  <a:pt x="3011478" y="2677521"/>
                </a:lnTo>
                <a:lnTo>
                  <a:pt x="3012003" y="2671182"/>
                </a:lnTo>
                <a:lnTo>
                  <a:pt x="3013575" y="2665901"/>
                </a:lnTo>
                <a:lnTo>
                  <a:pt x="3016723" y="2660621"/>
                </a:lnTo>
                <a:lnTo>
                  <a:pt x="3019870" y="2656396"/>
                </a:lnTo>
                <a:lnTo>
                  <a:pt x="3024065" y="2653226"/>
                </a:lnTo>
                <a:lnTo>
                  <a:pt x="3029310" y="2650056"/>
                </a:lnTo>
                <a:lnTo>
                  <a:pt x="3035077" y="2648472"/>
                </a:lnTo>
                <a:close/>
                <a:moveTo>
                  <a:pt x="2320916" y="2589208"/>
                </a:moveTo>
                <a:lnTo>
                  <a:pt x="2963324" y="2673992"/>
                </a:lnTo>
                <a:lnTo>
                  <a:pt x="2970204" y="2675052"/>
                </a:lnTo>
                <a:lnTo>
                  <a:pt x="2976553" y="2677171"/>
                </a:lnTo>
                <a:lnTo>
                  <a:pt x="2982375" y="2680351"/>
                </a:lnTo>
                <a:lnTo>
                  <a:pt x="2987137" y="2684059"/>
                </a:lnTo>
                <a:lnTo>
                  <a:pt x="2991370" y="2689359"/>
                </a:lnTo>
                <a:lnTo>
                  <a:pt x="2994545" y="2694657"/>
                </a:lnTo>
                <a:lnTo>
                  <a:pt x="2997191" y="2701017"/>
                </a:lnTo>
                <a:lnTo>
                  <a:pt x="2997191" y="2707906"/>
                </a:lnTo>
                <a:lnTo>
                  <a:pt x="2997191" y="2855216"/>
                </a:lnTo>
                <a:lnTo>
                  <a:pt x="2997191" y="2862105"/>
                </a:lnTo>
                <a:lnTo>
                  <a:pt x="2994545" y="2867934"/>
                </a:lnTo>
                <a:lnTo>
                  <a:pt x="2991370" y="2873233"/>
                </a:lnTo>
                <a:lnTo>
                  <a:pt x="2987137" y="2878532"/>
                </a:lnTo>
                <a:lnTo>
                  <a:pt x="2982375" y="2882241"/>
                </a:lnTo>
                <a:lnTo>
                  <a:pt x="2976553" y="2885421"/>
                </a:lnTo>
                <a:lnTo>
                  <a:pt x="2970204" y="2888070"/>
                </a:lnTo>
                <a:lnTo>
                  <a:pt x="2963324" y="2888599"/>
                </a:lnTo>
                <a:lnTo>
                  <a:pt x="2320916" y="2973384"/>
                </a:lnTo>
                <a:lnTo>
                  <a:pt x="2315095" y="2972324"/>
                </a:lnTo>
                <a:lnTo>
                  <a:pt x="2308216" y="2970205"/>
                </a:lnTo>
                <a:lnTo>
                  <a:pt x="2302924" y="2967025"/>
                </a:lnTo>
                <a:lnTo>
                  <a:pt x="2297632" y="2963316"/>
                </a:lnTo>
                <a:lnTo>
                  <a:pt x="2293399" y="2958017"/>
                </a:lnTo>
                <a:lnTo>
                  <a:pt x="2290753" y="2952717"/>
                </a:lnTo>
                <a:lnTo>
                  <a:pt x="2288108" y="2945829"/>
                </a:lnTo>
                <a:lnTo>
                  <a:pt x="2287578" y="2938941"/>
                </a:lnTo>
                <a:lnTo>
                  <a:pt x="2287578" y="2623121"/>
                </a:lnTo>
                <a:lnTo>
                  <a:pt x="2288108" y="2616763"/>
                </a:lnTo>
                <a:lnTo>
                  <a:pt x="2290753" y="2609874"/>
                </a:lnTo>
                <a:lnTo>
                  <a:pt x="2293399" y="2604576"/>
                </a:lnTo>
                <a:lnTo>
                  <a:pt x="2297632" y="2599276"/>
                </a:lnTo>
                <a:lnTo>
                  <a:pt x="2302924" y="2595567"/>
                </a:lnTo>
                <a:lnTo>
                  <a:pt x="2308216" y="2592388"/>
                </a:lnTo>
                <a:lnTo>
                  <a:pt x="2315095" y="2590268"/>
                </a:lnTo>
                <a:close/>
                <a:moveTo>
                  <a:pt x="2042573" y="2579683"/>
                </a:moveTo>
                <a:lnTo>
                  <a:pt x="2233604" y="2579683"/>
                </a:lnTo>
                <a:lnTo>
                  <a:pt x="2240483" y="2580740"/>
                </a:lnTo>
                <a:lnTo>
                  <a:pt x="2246833" y="2582854"/>
                </a:lnTo>
                <a:lnTo>
                  <a:pt x="2252654" y="2586025"/>
                </a:lnTo>
                <a:lnTo>
                  <a:pt x="2257416" y="2589725"/>
                </a:lnTo>
                <a:lnTo>
                  <a:pt x="2261650" y="2595009"/>
                </a:lnTo>
                <a:lnTo>
                  <a:pt x="2264825" y="2600294"/>
                </a:lnTo>
                <a:lnTo>
                  <a:pt x="2266412" y="2607164"/>
                </a:lnTo>
                <a:lnTo>
                  <a:pt x="2266942" y="2614034"/>
                </a:lnTo>
                <a:lnTo>
                  <a:pt x="2266942" y="2948558"/>
                </a:lnTo>
                <a:lnTo>
                  <a:pt x="2266412" y="2955428"/>
                </a:lnTo>
                <a:lnTo>
                  <a:pt x="2264825" y="2962298"/>
                </a:lnTo>
                <a:lnTo>
                  <a:pt x="2261650" y="2967583"/>
                </a:lnTo>
                <a:lnTo>
                  <a:pt x="2257416" y="2972868"/>
                </a:lnTo>
                <a:lnTo>
                  <a:pt x="2252654" y="2976566"/>
                </a:lnTo>
                <a:lnTo>
                  <a:pt x="2246833" y="2979738"/>
                </a:lnTo>
                <a:lnTo>
                  <a:pt x="2240483" y="2981852"/>
                </a:lnTo>
                <a:lnTo>
                  <a:pt x="2233604" y="2982908"/>
                </a:lnTo>
                <a:lnTo>
                  <a:pt x="2042573" y="2982908"/>
                </a:lnTo>
                <a:lnTo>
                  <a:pt x="2035694" y="2981852"/>
                </a:lnTo>
                <a:lnTo>
                  <a:pt x="2028815" y="2979738"/>
                </a:lnTo>
                <a:lnTo>
                  <a:pt x="2023523" y="2976566"/>
                </a:lnTo>
                <a:lnTo>
                  <a:pt x="2018232" y="2972868"/>
                </a:lnTo>
                <a:lnTo>
                  <a:pt x="2013998" y="2967583"/>
                </a:lnTo>
                <a:lnTo>
                  <a:pt x="2011353" y="2962298"/>
                </a:lnTo>
                <a:lnTo>
                  <a:pt x="2008707" y="2955428"/>
                </a:lnTo>
                <a:lnTo>
                  <a:pt x="2008177" y="2948558"/>
                </a:lnTo>
                <a:lnTo>
                  <a:pt x="2008177" y="2614034"/>
                </a:lnTo>
                <a:lnTo>
                  <a:pt x="2008707" y="2607164"/>
                </a:lnTo>
                <a:lnTo>
                  <a:pt x="2011353" y="2600294"/>
                </a:lnTo>
                <a:lnTo>
                  <a:pt x="2013998" y="2595009"/>
                </a:lnTo>
                <a:lnTo>
                  <a:pt x="2018232" y="2589725"/>
                </a:lnTo>
                <a:lnTo>
                  <a:pt x="2023523" y="2586025"/>
                </a:lnTo>
                <a:lnTo>
                  <a:pt x="2028815" y="2582854"/>
                </a:lnTo>
                <a:lnTo>
                  <a:pt x="2035694" y="2580740"/>
                </a:lnTo>
                <a:close/>
                <a:moveTo>
                  <a:pt x="7779012" y="2295519"/>
                </a:moveTo>
                <a:lnTo>
                  <a:pt x="7775313" y="2307689"/>
                </a:lnTo>
                <a:lnTo>
                  <a:pt x="7772671" y="2319860"/>
                </a:lnTo>
                <a:lnTo>
                  <a:pt x="7772142" y="2332031"/>
                </a:lnTo>
                <a:lnTo>
                  <a:pt x="7772671" y="2344202"/>
                </a:lnTo>
                <a:lnTo>
                  <a:pt x="7774256" y="2356373"/>
                </a:lnTo>
                <a:lnTo>
                  <a:pt x="7777426" y="2368543"/>
                </a:lnTo>
                <a:lnTo>
                  <a:pt x="7781125" y="2380714"/>
                </a:lnTo>
                <a:lnTo>
                  <a:pt x="7785881" y="2392356"/>
                </a:lnTo>
                <a:lnTo>
                  <a:pt x="7791694" y="2404527"/>
                </a:lnTo>
                <a:lnTo>
                  <a:pt x="7798035" y="2416697"/>
                </a:lnTo>
                <a:lnTo>
                  <a:pt x="7805432" y="2427810"/>
                </a:lnTo>
                <a:lnTo>
                  <a:pt x="7813359" y="2439981"/>
                </a:lnTo>
                <a:lnTo>
                  <a:pt x="7830796" y="2463793"/>
                </a:lnTo>
                <a:lnTo>
                  <a:pt x="7848762" y="2488136"/>
                </a:lnTo>
                <a:lnTo>
                  <a:pt x="7868842" y="2512477"/>
                </a:lnTo>
                <a:lnTo>
                  <a:pt x="7888393" y="2536819"/>
                </a:lnTo>
                <a:lnTo>
                  <a:pt x="7907416" y="2562219"/>
                </a:lnTo>
                <a:lnTo>
                  <a:pt x="7924854" y="2587089"/>
                </a:lnTo>
                <a:lnTo>
                  <a:pt x="7933309" y="2600319"/>
                </a:lnTo>
                <a:lnTo>
                  <a:pt x="7941235" y="2614077"/>
                </a:lnTo>
                <a:lnTo>
                  <a:pt x="7948633" y="2626777"/>
                </a:lnTo>
                <a:lnTo>
                  <a:pt x="7954974" y="2640535"/>
                </a:lnTo>
                <a:lnTo>
                  <a:pt x="7960258" y="2654294"/>
                </a:lnTo>
                <a:lnTo>
                  <a:pt x="7964485" y="2668053"/>
                </a:lnTo>
                <a:lnTo>
                  <a:pt x="7967656" y="2682869"/>
                </a:lnTo>
                <a:lnTo>
                  <a:pt x="7969769" y="2696098"/>
                </a:lnTo>
                <a:lnTo>
                  <a:pt x="7971354" y="2707211"/>
                </a:lnTo>
                <a:lnTo>
                  <a:pt x="7972411" y="2717794"/>
                </a:lnTo>
                <a:lnTo>
                  <a:pt x="7972411" y="2728377"/>
                </a:lnTo>
                <a:lnTo>
                  <a:pt x="7971354" y="2738961"/>
                </a:lnTo>
                <a:lnTo>
                  <a:pt x="7970826" y="2749015"/>
                </a:lnTo>
                <a:lnTo>
                  <a:pt x="7969241" y="2759598"/>
                </a:lnTo>
                <a:lnTo>
                  <a:pt x="7967656" y="2769653"/>
                </a:lnTo>
                <a:lnTo>
                  <a:pt x="7965542" y="2779707"/>
                </a:lnTo>
                <a:lnTo>
                  <a:pt x="7962900" y="2788702"/>
                </a:lnTo>
                <a:lnTo>
                  <a:pt x="7960258" y="2798757"/>
                </a:lnTo>
                <a:lnTo>
                  <a:pt x="7956030" y="2807752"/>
                </a:lnTo>
                <a:lnTo>
                  <a:pt x="7952332" y="2816220"/>
                </a:lnTo>
                <a:lnTo>
                  <a:pt x="7948633" y="2825215"/>
                </a:lnTo>
                <a:lnTo>
                  <a:pt x="7943877" y="2833682"/>
                </a:lnTo>
                <a:lnTo>
                  <a:pt x="7938593" y="2842148"/>
                </a:lnTo>
                <a:lnTo>
                  <a:pt x="7934365" y="2849557"/>
                </a:lnTo>
                <a:lnTo>
                  <a:pt x="7928024" y="2856965"/>
                </a:lnTo>
                <a:lnTo>
                  <a:pt x="7922212" y="2864903"/>
                </a:lnTo>
                <a:lnTo>
                  <a:pt x="7915871" y="2871781"/>
                </a:lnTo>
                <a:lnTo>
                  <a:pt x="7910058" y="2877603"/>
                </a:lnTo>
                <a:lnTo>
                  <a:pt x="7903189" y="2884482"/>
                </a:lnTo>
                <a:lnTo>
                  <a:pt x="7895263" y="2889773"/>
                </a:lnTo>
                <a:lnTo>
                  <a:pt x="7887865" y="2895595"/>
                </a:lnTo>
                <a:lnTo>
                  <a:pt x="7879939" y="2900886"/>
                </a:lnTo>
                <a:lnTo>
                  <a:pt x="7872541" y="2905119"/>
                </a:lnTo>
                <a:lnTo>
                  <a:pt x="7864086" y="2909882"/>
                </a:lnTo>
                <a:lnTo>
                  <a:pt x="7855632" y="2913586"/>
                </a:lnTo>
                <a:lnTo>
                  <a:pt x="7847706" y="2916761"/>
                </a:lnTo>
                <a:lnTo>
                  <a:pt x="7838194" y="2919935"/>
                </a:lnTo>
                <a:lnTo>
                  <a:pt x="7829739" y="2922052"/>
                </a:lnTo>
                <a:lnTo>
                  <a:pt x="7820756" y="2923640"/>
                </a:lnTo>
                <a:lnTo>
                  <a:pt x="7810717" y="2925228"/>
                </a:lnTo>
                <a:lnTo>
                  <a:pt x="7808075" y="2925228"/>
                </a:lnTo>
                <a:lnTo>
                  <a:pt x="7803847" y="2925757"/>
                </a:lnTo>
                <a:lnTo>
                  <a:pt x="7794336" y="2911999"/>
                </a:lnTo>
                <a:lnTo>
                  <a:pt x="7784296" y="2897711"/>
                </a:lnTo>
                <a:lnTo>
                  <a:pt x="7775313" y="2882894"/>
                </a:lnTo>
                <a:lnTo>
                  <a:pt x="7766858" y="2868077"/>
                </a:lnTo>
                <a:lnTo>
                  <a:pt x="7758404" y="2852732"/>
                </a:lnTo>
                <a:lnTo>
                  <a:pt x="7749949" y="2836856"/>
                </a:lnTo>
                <a:lnTo>
                  <a:pt x="7743080" y="2819923"/>
                </a:lnTo>
                <a:lnTo>
                  <a:pt x="7735682" y="2802461"/>
                </a:lnTo>
                <a:lnTo>
                  <a:pt x="7729341" y="2784998"/>
                </a:lnTo>
                <a:lnTo>
                  <a:pt x="7723528" y="2767007"/>
                </a:lnTo>
                <a:lnTo>
                  <a:pt x="7718244" y="2749015"/>
                </a:lnTo>
                <a:lnTo>
                  <a:pt x="7712960" y="2729965"/>
                </a:lnTo>
                <a:lnTo>
                  <a:pt x="7708732" y="2710914"/>
                </a:lnTo>
                <a:lnTo>
                  <a:pt x="7705033" y="2691865"/>
                </a:lnTo>
                <a:lnTo>
                  <a:pt x="7701334" y="2671757"/>
                </a:lnTo>
                <a:lnTo>
                  <a:pt x="7699221" y="2651119"/>
                </a:lnTo>
                <a:lnTo>
                  <a:pt x="7697636" y="2633127"/>
                </a:lnTo>
                <a:lnTo>
                  <a:pt x="7696050" y="2615665"/>
                </a:lnTo>
                <a:lnTo>
                  <a:pt x="7695522" y="2597144"/>
                </a:lnTo>
                <a:lnTo>
                  <a:pt x="7695522" y="2579681"/>
                </a:lnTo>
                <a:lnTo>
                  <a:pt x="7695522" y="2561161"/>
                </a:lnTo>
                <a:lnTo>
                  <a:pt x="7696050" y="2544756"/>
                </a:lnTo>
                <a:lnTo>
                  <a:pt x="7697636" y="2527293"/>
                </a:lnTo>
                <a:lnTo>
                  <a:pt x="7699749" y="2510360"/>
                </a:lnTo>
                <a:lnTo>
                  <a:pt x="7702391" y="2493427"/>
                </a:lnTo>
                <a:lnTo>
                  <a:pt x="7704505" y="2477023"/>
                </a:lnTo>
                <a:lnTo>
                  <a:pt x="7708204" y="2460618"/>
                </a:lnTo>
                <a:lnTo>
                  <a:pt x="7711374" y="2444743"/>
                </a:lnTo>
                <a:lnTo>
                  <a:pt x="7715602" y="2428868"/>
                </a:lnTo>
                <a:lnTo>
                  <a:pt x="7720358" y="2413523"/>
                </a:lnTo>
                <a:lnTo>
                  <a:pt x="7725114" y="2399235"/>
                </a:lnTo>
                <a:lnTo>
                  <a:pt x="7730926" y="2384418"/>
                </a:lnTo>
                <a:lnTo>
                  <a:pt x="7724057" y="2399764"/>
                </a:lnTo>
                <a:lnTo>
                  <a:pt x="7718244" y="2415639"/>
                </a:lnTo>
                <a:lnTo>
                  <a:pt x="7711903" y="2432043"/>
                </a:lnTo>
                <a:lnTo>
                  <a:pt x="7706619" y="2448447"/>
                </a:lnTo>
                <a:lnTo>
                  <a:pt x="7702391" y="2465910"/>
                </a:lnTo>
                <a:lnTo>
                  <a:pt x="7698164" y="2483902"/>
                </a:lnTo>
                <a:lnTo>
                  <a:pt x="7694465" y="2501365"/>
                </a:lnTo>
                <a:lnTo>
                  <a:pt x="7691295" y="2519356"/>
                </a:lnTo>
                <a:lnTo>
                  <a:pt x="7689181" y="2537877"/>
                </a:lnTo>
                <a:lnTo>
                  <a:pt x="7687596" y="2556927"/>
                </a:lnTo>
                <a:lnTo>
                  <a:pt x="7686010" y="2575977"/>
                </a:lnTo>
                <a:lnTo>
                  <a:pt x="7685482" y="2595027"/>
                </a:lnTo>
                <a:lnTo>
                  <a:pt x="7685482" y="2614606"/>
                </a:lnTo>
                <a:lnTo>
                  <a:pt x="7686010" y="2634715"/>
                </a:lnTo>
                <a:lnTo>
                  <a:pt x="7687596" y="2654294"/>
                </a:lnTo>
                <a:lnTo>
                  <a:pt x="7689181" y="2674931"/>
                </a:lnTo>
                <a:lnTo>
                  <a:pt x="7691295" y="2692394"/>
                </a:lnTo>
                <a:lnTo>
                  <a:pt x="7694465" y="2710914"/>
                </a:lnTo>
                <a:lnTo>
                  <a:pt x="7697636" y="2728377"/>
                </a:lnTo>
                <a:lnTo>
                  <a:pt x="7701334" y="2745311"/>
                </a:lnTo>
                <a:lnTo>
                  <a:pt x="7706090" y="2761715"/>
                </a:lnTo>
                <a:lnTo>
                  <a:pt x="7710317" y="2778648"/>
                </a:lnTo>
                <a:lnTo>
                  <a:pt x="7715074" y="2794523"/>
                </a:lnTo>
                <a:lnTo>
                  <a:pt x="7720358" y="2810928"/>
                </a:lnTo>
                <a:lnTo>
                  <a:pt x="7726699" y="2826802"/>
                </a:lnTo>
                <a:lnTo>
                  <a:pt x="7732511" y="2842148"/>
                </a:lnTo>
                <a:lnTo>
                  <a:pt x="7739381" y="2856435"/>
                </a:lnTo>
                <a:lnTo>
                  <a:pt x="7746250" y="2870723"/>
                </a:lnTo>
                <a:lnTo>
                  <a:pt x="7753648" y="2885540"/>
                </a:lnTo>
                <a:lnTo>
                  <a:pt x="7761574" y="2899298"/>
                </a:lnTo>
                <a:lnTo>
                  <a:pt x="7768972" y="2911999"/>
                </a:lnTo>
                <a:lnTo>
                  <a:pt x="7777426" y="2925228"/>
                </a:lnTo>
                <a:lnTo>
                  <a:pt x="7770029" y="2924170"/>
                </a:lnTo>
                <a:lnTo>
                  <a:pt x="7761574" y="2922581"/>
                </a:lnTo>
                <a:lnTo>
                  <a:pt x="7753648" y="2920994"/>
                </a:lnTo>
                <a:lnTo>
                  <a:pt x="7745722" y="2918877"/>
                </a:lnTo>
                <a:lnTo>
                  <a:pt x="7730398" y="2913586"/>
                </a:lnTo>
                <a:lnTo>
                  <a:pt x="7715602" y="2906707"/>
                </a:lnTo>
                <a:lnTo>
                  <a:pt x="7701334" y="2898240"/>
                </a:lnTo>
                <a:lnTo>
                  <a:pt x="7688652" y="2889244"/>
                </a:lnTo>
                <a:lnTo>
                  <a:pt x="7675442" y="2878661"/>
                </a:lnTo>
                <a:lnTo>
                  <a:pt x="7663289" y="2867019"/>
                </a:lnTo>
                <a:lnTo>
                  <a:pt x="7652720" y="2854319"/>
                </a:lnTo>
                <a:lnTo>
                  <a:pt x="7642152" y="2839502"/>
                </a:lnTo>
                <a:lnTo>
                  <a:pt x="7632641" y="2825215"/>
                </a:lnTo>
                <a:lnTo>
                  <a:pt x="7625243" y="2809340"/>
                </a:lnTo>
                <a:lnTo>
                  <a:pt x="7618373" y="2792406"/>
                </a:lnTo>
                <a:lnTo>
                  <a:pt x="7612561" y="2774944"/>
                </a:lnTo>
                <a:lnTo>
                  <a:pt x="7608334" y="2756423"/>
                </a:lnTo>
                <a:lnTo>
                  <a:pt x="7605691" y="2738431"/>
                </a:lnTo>
                <a:lnTo>
                  <a:pt x="7602521" y="2711444"/>
                </a:lnTo>
                <a:lnTo>
                  <a:pt x="7600936" y="2685515"/>
                </a:lnTo>
                <a:lnTo>
                  <a:pt x="7600936" y="2660644"/>
                </a:lnTo>
                <a:lnTo>
                  <a:pt x="7602521" y="2636302"/>
                </a:lnTo>
                <a:lnTo>
                  <a:pt x="7604635" y="2612490"/>
                </a:lnTo>
                <a:lnTo>
                  <a:pt x="7607805" y="2589735"/>
                </a:lnTo>
                <a:lnTo>
                  <a:pt x="7612561" y="2568040"/>
                </a:lnTo>
                <a:lnTo>
                  <a:pt x="7617845" y="2546873"/>
                </a:lnTo>
                <a:lnTo>
                  <a:pt x="7623129" y="2527293"/>
                </a:lnTo>
                <a:lnTo>
                  <a:pt x="7629999" y="2507185"/>
                </a:lnTo>
                <a:lnTo>
                  <a:pt x="7636868" y="2489194"/>
                </a:lnTo>
                <a:lnTo>
                  <a:pt x="7644266" y="2471202"/>
                </a:lnTo>
                <a:lnTo>
                  <a:pt x="7652720" y="2453740"/>
                </a:lnTo>
                <a:lnTo>
                  <a:pt x="7661175" y="2437865"/>
                </a:lnTo>
                <a:lnTo>
                  <a:pt x="7670158" y="2422519"/>
                </a:lnTo>
                <a:lnTo>
                  <a:pt x="7678613" y="2408231"/>
                </a:lnTo>
                <a:lnTo>
                  <a:pt x="7687596" y="2394473"/>
                </a:lnTo>
                <a:lnTo>
                  <a:pt x="7696579" y="2382302"/>
                </a:lnTo>
                <a:lnTo>
                  <a:pt x="7706090" y="2370131"/>
                </a:lnTo>
                <a:lnTo>
                  <a:pt x="7715074" y="2359548"/>
                </a:lnTo>
                <a:lnTo>
                  <a:pt x="7731983" y="2339439"/>
                </a:lnTo>
                <a:lnTo>
                  <a:pt x="7746778" y="2323564"/>
                </a:lnTo>
                <a:lnTo>
                  <a:pt x="7770029" y="2302398"/>
                </a:lnTo>
                <a:close/>
                <a:moveTo>
                  <a:pt x="10208140" y="0"/>
                </a:moveTo>
                <a:lnTo>
                  <a:pt x="10244653" y="24322"/>
                </a:lnTo>
                <a:lnTo>
                  <a:pt x="10281695" y="49701"/>
                </a:lnTo>
                <a:lnTo>
                  <a:pt x="10300215" y="62391"/>
                </a:lnTo>
                <a:lnTo>
                  <a:pt x="10318207" y="76138"/>
                </a:lnTo>
                <a:lnTo>
                  <a:pt x="10336199" y="89885"/>
                </a:lnTo>
                <a:lnTo>
                  <a:pt x="10353661" y="104160"/>
                </a:lnTo>
                <a:lnTo>
                  <a:pt x="10369536" y="119493"/>
                </a:lnTo>
                <a:lnTo>
                  <a:pt x="10386470" y="135355"/>
                </a:lnTo>
                <a:lnTo>
                  <a:pt x="10401286" y="152275"/>
                </a:lnTo>
                <a:lnTo>
                  <a:pt x="10416103" y="169723"/>
                </a:lnTo>
                <a:lnTo>
                  <a:pt x="10428803" y="188229"/>
                </a:lnTo>
                <a:lnTo>
                  <a:pt x="10440974" y="207792"/>
                </a:lnTo>
                <a:lnTo>
                  <a:pt x="10447324" y="217838"/>
                </a:lnTo>
                <a:lnTo>
                  <a:pt x="10452616" y="228412"/>
                </a:lnTo>
                <a:lnTo>
                  <a:pt x="10457378" y="238987"/>
                </a:lnTo>
                <a:lnTo>
                  <a:pt x="10462670" y="250619"/>
                </a:lnTo>
                <a:lnTo>
                  <a:pt x="10466374" y="262780"/>
                </a:lnTo>
                <a:lnTo>
                  <a:pt x="10470078" y="274941"/>
                </a:lnTo>
                <a:lnTo>
                  <a:pt x="10473253" y="287101"/>
                </a:lnTo>
                <a:lnTo>
                  <a:pt x="10476428" y="299262"/>
                </a:lnTo>
                <a:lnTo>
                  <a:pt x="10479074" y="311423"/>
                </a:lnTo>
                <a:lnTo>
                  <a:pt x="10480662" y="323584"/>
                </a:lnTo>
                <a:lnTo>
                  <a:pt x="10482249" y="335745"/>
                </a:lnTo>
                <a:lnTo>
                  <a:pt x="10483836" y="348963"/>
                </a:lnTo>
                <a:lnTo>
                  <a:pt x="10485424" y="373285"/>
                </a:lnTo>
                <a:lnTo>
                  <a:pt x="10485424" y="398664"/>
                </a:lnTo>
                <a:lnTo>
                  <a:pt x="10484366" y="422985"/>
                </a:lnTo>
                <a:lnTo>
                  <a:pt x="10482249" y="447836"/>
                </a:lnTo>
                <a:lnTo>
                  <a:pt x="10479074" y="473215"/>
                </a:lnTo>
                <a:lnTo>
                  <a:pt x="10475370" y="497536"/>
                </a:lnTo>
                <a:lnTo>
                  <a:pt x="10470607" y="522387"/>
                </a:lnTo>
                <a:lnTo>
                  <a:pt x="10465316" y="546708"/>
                </a:lnTo>
                <a:lnTo>
                  <a:pt x="10456320" y="586514"/>
                </a:lnTo>
                <a:lnTo>
                  <a:pt x="10610554" y="813858"/>
                </a:lnTo>
                <a:lnTo>
                  <a:pt x="10637217" y="769716"/>
                </a:lnTo>
                <a:lnTo>
                  <a:pt x="10616128" y="774700"/>
                </a:lnTo>
                <a:lnTo>
                  <a:pt x="10611365" y="728615"/>
                </a:lnTo>
                <a:lnTo>
                  <a:pt x="10608719" y="683060"/>
                </a:lnTo>
                <a:lnTo>
                  <a:pt x="10607661" y="659223"/>
                </a:lnTo>
                <a:lnTo>
                  <a:pt x="10607661" y="635916"/>
                </a:lnTo>
                <a:lnTo>
                  <a:pt x="10608719" y="612079"/>
                </a:lnTo>
                <a:lnTo>
                  <a:pt x="10610307" y="589302"/>
                </a:lnTo>
                <a:lnTo>
                  <a:pt x="10612424" y="565995"/>
                </a:lnTo>
                <a:lnTo>
                  <a:pt x="10615598" y="543217"/>
                </a:lnTo>
                <a:lnTo>
                  <a:pt x="10619832" y="520440"/>
                </a:lnTo>
                <a:lnTo>
                  <a:pt x="10626182" y="499251"/>
                </a:lnTo>
                <a:lnTo>
                  <a:pt x="10629357" y="487597"/>
                </a:lnTo>
                <a:lnTo>
                  <a:pt x="10633061" y="477003"/>
                </a:lnTo>
                <a:lnTo>
                  <a:pt x="10637294" y="466939"/>
                </a:lnTo>
                <a:lnTo>
                  <a:pt x="10642057" y="456345"/>
                </a:lnTo>
                <a:lnTo>
                  <a:pt x="10647348" y="446280"/>
                </a:lnTo>
                <a:lnTo>
                  <a:pt x="10652640" y="436745"/>
                </a:lnTo>
                <a:lnTo>
                  <a:pt x="10657932" y="426681"/>
                </a:lnTo>
                <a:lnTo>
                  <a:pt x="10664811" y="416616"/>
                </a:lnTo>
                <a:lnTo>
                  <a:pt x="10671161" y="407611"/>
                </a:lnTo>
                <a:lnTo>
                  <a:pt x="10678040" y="398606"/>
                </a:lnTo>
                <a:lnTo>
                  <a:pt x="10684919" y="390131"/>
                </a:lnTo>
                <a:lnTo>
                  <a:pt x="10691798" y="381655"/>
                </a:lnTo>
                <a:lnTo>
                  <a:pt x="10699207" y="373710"/>
                </a:lnTo>
                <a:lnTo>
                  <a:pt x="10706615" y="366294"/>
                </a:lnTo>
                <a:lnTo>
                  <a:pt x="10715082" y="359408"/>
                </a:lnTo>
                <a:lnTo>
                  <a:pt x="10723019" y="352521"/>
                </a:lnTo>
                <a:lnTo>
                  <a:pt x="10739424" y="339808"/>
                </a:lnTo>
                <a:lnTo>
                  <a:pt x="10756886" y="328684"/>
                </a:lnTo>
                <a:lnTo>
                  <a:pt x="10775407" y="318090"/>
                </a:lnTo>
                <a:lnTo>
                  <a:pt x="10793928" y="309085"/>
                </a:lnTo>
                <a:lnTo>
                  <a:pt x="10812978" y="300610"/>
                </a:lnTo>
                <a:lnTo>
                  <a:pt x="10832028" y="293194"/>
                </a:lnTo>
                <a:lnTo>
                  <a:pt x="10851607" y="286308"/>
                </a:lnTo>
                <a:lnTo>
                  <a:pt x="10871186" y="279421"/>
                </a:lnTo>
                <a:lnTo>
                  <a:pt x="10910874" y="268827"/>
                </a:lnTo>
                <a:lnTo>
                  <a:pt x="10950032" y="258763"/>
                </a:lnTo>
                <a:lnTo>
                  <a:pt x="10952148" y="281540"/>
                </a:lnTo>
                <a:lnTo>
                  <a:pt x="10953736" y="304318"/>
                </a:lnTo>
                <a:lnTo>
                  <a:pt x="10955324" y="327625"/>
                </a:lnTo>
                <a:lnTo>
                  <a:pt x="10956911" y="350932"/>
                </a:lnTo>
                <a:lnTo>
                  <a:pt x="10956911" y="373710"/>
                </a:lnTo>
                <a:lnTo>
                  <a:pt x="10956911" y="397547"/>
                </a:lnTo>
                <a:lnTo>
                  <a:pt x="10955324" y="421384"/>
                </a:lnTo>
                <a:lnTo>
                  <a:pt x="10953736" y="444161"/>
                </a:lnTo>
                <a:lnTo>
                  <a:pt x="10950561" y="466939"/>
                </a:lnTo>
                <a:lnTo>
                  <a:pt x="10947386" y="489716"/>
                </a:lnTo>
                <a:lnTo>
                  <a:pt x="10942094" y="513023"/>
                </a:lnTo>
                <a:lnTo>
                  <a:pt x="10936274" y="534742"/>
                </a:lnTo>
                <a:lnTo>
                  <a:pt x="10929394" y="556460"/>
                </a:lnTo>
                <a:lnTo>
                  <a:pt x="10920398" y="577118"/>
                </a:lnTo>
                <a:lnTo>
                  <a:pt x="10915636" y="586653"/>
                </a:lnTo>
                <a:lnTo>
                  <a:pt x="10910344" y="597777"/>
                </a:lnTo>
                <a:lnTo>
                  <a:pt x="10903994" y="606782"/>
                </a:lnTo>
                <a:lnTo>
                  <a:pt x="10898174" y="616847"/>
                </a:lnTo>
                <a:lnTo>
                  <a:pt x="10891824" y="626381"/>
                </a:lnTo>
                <a:lnTo>
                  <a:pt x="10884944" y="635916"/>
                </a:lnTo>
                <a:lnTo>
                  <a:pt x="10878065" y="643862"/>
                </a:lnTo>
                <a:lnTo>
                  <a:pt x="10871186" y="652337"/>
                </a:lnTo>
                <a:lnTo>
                  <a:pt x="10863778" y="660813"/>
                </a:lnTo>
                <a:lnTo>
                  <a:pt x="10856369" y="668758"/>
                </a:lnTo>
                <a:lnTo>
                  <a:pt x="10848432" y="675115"/>
                </a:lnTo>
                <a:lnTo>
                  <a:pt x="10839965" y="682001"/>
                </a:lnTo>
                <a:lnTo>
                  <a:pt x="10823561" y="695244"/>
                </a:lnTo>
                <a:lnTo>
                  <a:pt x="10806098" y="706897"/>
                </a:lnTo>
                <a:lnTo>
                  <a:pt x="10788636" y="716432"/>
                </a:lnTo>
                <a:lnTo>
                  <a:pt x="10770115" y="725967"/>
                </a:lnTo>
                <a:lnTo>
                  <a:pt x="10751065" y="733912"/>
                </a:lnTo>
                <a:lnTo>
                  <a:pt x="10732015" y="741858"/>
                </a:lnTo>
                <a:lnTo>
                  <a:pt x="10712436" y="748744"/>
                </a:lnTo>
                <a:lnTo>
                  <a:pt x="10693386" y="754041"/>
                </a:lnTo>
                <a:lnTo>
                  <a:pt x="10679014" y="758319"/>
                </a:lnTo>
                <a:lnTo>
                  <a:pt x="10631716" y="851959"/>
                </a:lnTo>
                <a:lnTo>
                  <a:pt x="10726945" y="1280585"/>
                </a:lnTo>
                <a:lnTo>
                  <a:pt x="10923344" y="1175034"/>
                </a:lnTo>
                <a:lnTo>
                  <a:pt x="10909286" y="1168815"/>
                </a:lnTo>
                <a:lnTo>
                  <a:pt x="10928316" y="1133304"/>
                </a:lnTo>
                <a:lnTo>
                  <a:pt x="10947346" y="1098322"/>
                </a:lnTo>
                <a:lnTo>
                  <a:pt x="10957918" y="1081361"/>
                </a:lnTo>
                <a:lnTo>
                  <a:pt x="10967961" y="1063870"/>
                </a:lnTo>
                <a:lnTo>
                  <a:pt x="10979591" y="1047440"/>
                </a:lnTo>
                <a:lnTo>
                  <a:pt x="10990692" y="1030479"/>
                </a:lnTo>
                <a:lnTo>
                  <a:pt x="11002850" y="1015108"/>
                </a:lnTo>
                <a:lnTo>
                  <a:pt x="11015008" y="999738"/>
                </a:lnTo>
                <a:lnTo>
                  <a:pt x="11028223" y="985427"/>
                </a:lnTo>
                <a:lnTo>
                  <a:pt x="11041967" y="972177"/>
                </a:lnTo>
                <a:lnTo>
                  <a:pt x="11056239" y="959457"/>
                </a:lnTo>
                <a:lnTo>
                  <a:pt x="11071569" y="948856"/>
                </a:lnTo>
                <a:lnTo>
                  <a:pt x="11078969" y="943556"/>
                </a:lnTo>
                <a:lnTo>
                  <a:pt x="11086898" y="938786"/>
                </a:lnTo>
                <a:lnTo>
                  <a:pt x="11094827" y="934016"/>
                </a:lnTo>
                <a:lnTo>
                  <a:pt x="11103285" y="929775"/>
                </a:lnTo>
                <a:lnTo>
                  <a:pt x="11113329" y="926065"/>
                </a:lnTo>
                <a:lnTo>
                  <a:pt x="11122315" y="922885"/>
                </a:lnTo>
                <a:lnTo>
                  <a:pt x="11131830" y="919705"/>
                </a:lnTo>
                <a:lnTo>
                  <a:pt x="11141345" y="916525"/>
                </a:lnTo>
                <a:lnTo>
                  <a:pt x="11151388" y="914934"/>
                </a:lnTo>
                <a:lnTo>
                  <a:pt x="11160375" y="913344"/>
                </a:lnTo>
                <a:lnTo>
                  <a:pt x="11170418" y="912283"/>
                </a:lnTo>
                <a:lnTo>
                  <a:pt x="11180462" y="912283"/>
                </a:lnTo>
                <a:lnTo>
                  <a:pt x="11199492" y="911224"/>
                </a:lnTo>
                <a:lnTo>
                  <a:pt x="11219050" y="912814"/>
                </a:lnTo>
                <a:lnTo>
                  <a:pt x="11238080" y="915994"/>
                </a:lnTo>
                <a:lnTo>
                  <a:pt x="11258167" y="919175"/>
                </a:lnTo>
                <a:lnTo>
                  <a:pt x="11277197" y="924475"/>
                </a:lnTo>
                <a:lnTo>
                  <a:pt x="11296756" y="929775"/>
                </a:lnTo>
                <a:lnTo>
                  <a:pt x="11315785" y="935606"/>
                </a:lnTo>
                <a:lnTo>
                  <a:pt x="11334815" y="942496"/>
                </a:lnTo>
                <a:lnTo>
                  <a:pt x="11372875" y="957336"/>
                </a:lnTo>
                <a:lnTo>
                  <a:pt x="11409349" y="971647"/>
                </a:lnTo>
                <a:lnTo>
                  <a:pt x="11401948" y="991258"/>
                </a:lnTo>
                <a:lnTo>
                  <a:pt x="11392434" y="1011398"/>
                </a:lnTo>
                <a:lnTo>
                  <a:pt x="11383447" y="1030479"/>
                </a:lnTo>
                <a:lnTo>
                  <a:pt x="11374461" y="1050090"/>
                </a:lnTo>
                <a:lnTo>
                  <a:pt x="11363889" y="1068641"/>
                </a:lnTo>
                <a:lnTo>
                  <a:pt x="11353317" y="1087192"/>
                </a:lnTo>
                <a:lnTo>
                  <a:pt x="11341687" y="1105212"/>
                </a:lnTo>
                <a:lnTo>
                  <a:pt x="11329529" y="1122173"/>
                </a:lnTo>
                <a:lnTo>
                  <a:pt x="11317371" y="1138074"/>
                </a:lnTo>
                <a:lnTo>
                  <a:pt x="11303627" y="1153974"/>
                </a:lnTo>
                <a:lnTo>
                  <a:pt x="11289884" y="1168815"/>
                </a:lnTo>
                <a:lnTo>
                  <a:pt x="11274554" y="1182596"/>
                </a:lnTo>
                <a:lnTo>
                  <a:pt x="11258696" y="1194786"/>
                </a:lnTo>
                <a:lnTo>
                  <a:pt x="11242838" y="1205917"/>
                </a:lnTo>
                <a:lnTo>
                  <a:pt x="11233323" y="1211217"/>
                </a:lnTo>
                <a:lnTo>
                  <a:pt x="11225393" y="1215987"/>
                </a:lnTo>
                <a:lnTo>
                  <a:pt x="11215879" y="1220757"/>
                </a:lnTo>
                <a:lnTo>
                  <a:pt x="11206892" y="1224467"/>
                </a:lnTo>
                <a:lnTo>
                  <a:pt x="11196849" y="1228178"/>
                </a:lnTo>
                <a:lnTo>
                  <a:pt x="11187862" y="1231358"/>
                </a:lnTo>
                <a:lnTo>
                  <a:pt x="11178876" y="1234538"/>
                </a:lnTo>
                <a:lnTo>
                  <a:pt x="11168832" y="1235598"/>
                </a:lnTo>
                <a:lnTo>
                  <a:pt x="11159846" y="1237188"/>
                </a:lnTo>
                <a:lnTo>
                  <a:pt x="11149803" y="1238778"/>
                </a:lnTo>
                <a:lnTo>
                  <a:pt x="11140816" y="1239838"/>
                </a:lnTo>
                <a:lnTo>
                  <a:pt x="11131830" y="1239838"/>
                </a:lnTo>
                <a:lnTo>
                  <a:pt x="11112800" y="1238778"/>
                </a:lnTo>
                <a:lnTo>
                  <a:pt x="11093770" y="1236658"/>
                </a:lnTo>
                <a:lnTo>
                  <a:pt x="11074740" y="1232948"/>
                </a:lnTo>
                <a:lnTo>
                  <a:pt x="11055710" y="1228178"/>
                </a:lnTo>
                <a:lnTo>
                  <a:pt x="11037209" y="1222878"/>
                </a:lnTo>
                <a:lnTo>
                  <a:pt x="11018179" y="1215987"/>
                </a:lnTo>
                <a:lnTo>
                  <a:pt x="10999678" y="1208567"/>
                </a:lnTo>
                <a:lnTo>
                  <a:pt x="10981705" y="1200616"/>
                </a:lnTo>
                <a:lnTo>
                  <a:pt x="10961403" y="1191766"/>
                </a:lnTo>
                <a:lnTo>
                  <a:pt x="10752869" y="1323977"/>
                </a:lnTo>
                <a:lnTo>
                  <a:pt x="10540720" y="1634598"/>
                </a:lnTo>
                <a:lnTo>
                  <a:pt x="10605264" y="2235199"/>
                </a:lnTo>
                <a:lnTo>
                  <a:pt x="10616903" y="2233613"/>
                </a:lnTo>
                <a:lnTo>
                  <a:pt x="10629071" y="2231497"/>
                </a:lnTo>
                <a:lnTo>
                  <a:pt x="10641239" y="2227263"/>
                </a:lnTo>
                <a:lnTo>
                  <a:pt x="10653936" y="2223029"/>
                </a:lnTo>
                <a:lnTo>
                  <a:pt x="10667163" y="2217740"/>
                </a:lnTo>
                <a:lnTo>
                  <a:pt x="10679860" y="2210857"/>
                </a:lnTo>
                <a:lnTo>
                  <a:pt x="10693615" y="2203979"/>
                </a:lnTo>
                <a:lnTo>
                  <a:pt x="10707370" y="2195511"/>
                </a:lnTo>
                <a:lnTo>
                  <a:pt x="10720068" y="2187043"/>
                </a:lnTo>
                <a:lnTo>
                  <a:pt x="10733823" y="2178048"/>
                </a:lnTo>
                <a:lnTo>
                  <a:pt x="10747578" y="2168525"/>
                </a:lnTo>
                <a:lnTo>
                  <a:pt x="10761334" y="2157939"/>
                </a:lnTo>
                <a:lnTo>
                  <a:pt x="10788315" y="2137301"/>
                </a:lnTo>
                <a:lnTo>
                  <a:pt x="10813709" y="2116134"/>
                </a:lnTo>
                <a:lnTo>
                  <a:pt x="10838575" y="2095496"/>
                </a:lnTo>
                <a:lnTo>
                  <a:pt x="10860266" y="2074858"/>
                </a:lnTo>
                <a:lnTo>
                  <a:pt x="10880899" y="2055812"/>
                </a:lnTo>
                <a:lnTo>
                  <a:pt x="10898357" y="2039408"/>
                </a:lnTo>
                <a:lnTo>
                  <a:pt x="10923752" y="2013483"/>
                </a:lnTo>
                <a:lnTo>
                  <a:pt x="10932746" y="2003959"/>
                </a:lnTo>
                <a:lnTo>
                  <a:pt x="11355456" y="1558927"/>
                </a:lnTo>
                <a:lnTo>
                  <a:pt x="11352106" y="1471405"/>
                </a:lnTo>
                <a:lnTo>
                  <a:pt x="11347436" y="1484275"/>
                </a:lnTo>
                <a:lnTo>
                  <a:pt x="11340557" y="1501775"/>
                </a:lnTo>
                <a:lnTo>
                  <a:pt x="11333678" y="1496472"/>
                </a:lnTo>
                <a:lnTo>
                  <a:pt x="11326799" y="1490639"/>
                </a:lnTo>
                <a:lnTo>
                  <a:pt x="11319920" y="1485335"/>
                </a:lnTo>
                <a:lnTo>
                  <a:pt x="11314099" y="1478971"/>
                </a:lnTo>
                <a:lnTo>
                  <a:pt x="11308807" y="1473138"/>
                </a:lnTo>
                <a:lnTo>
                  <a:pt x="11303515" y="1466244"/>
                </a:lnTo>
                <a:lnTo>
                  <a:pt x="11298753" y="1459880"/>
                </a:lnTo>
                <a:lnTo>
                  <a:pt x="11293990" y="1452985"/>
                </a:lnTo>
                <a:lnTo>
                  <a:pt x="11290286" y="1446091"/>
                </a:lnTo>
                <a:lnTo>
                  <a:pt x="11286582" y="1439197"/>
                </a:lnTo>
                <a:lnTo>
                  <a:pt x="11283407" y="1431772"/>
                </a:lnTo>
                <a:lnTo>
                  <a:pt x="11280232" y="1424878"/>
                </a:lnTo>
                <a:lnTo>
                  <a:pt x="11278115" y="1416923"/>
                </a:lnTo>
                <a:lnTo>
                  <a:pt x="11276528" y="1409498"/>
                </a:lnTo>
                <a:lnTo>
                  <a:pt x="11274411" y="1402074"/>
                </a:lnTo>
                <a:lnTo>
                  <a:pt x="11273353" y="1394119"/>
                </a:lnTo>
                <a:lnTo>
                  <a:pt x="11271765" y="1378208"/>
                </a:lnTo>
                <a:lnTo>
                  <a:pt x="11271236" y="1362298"/>
                </a:lnTo>
                <a:lnTo>
                  <a:pt x="11272824" y="1345328"/>
                </a:lnTo>
                <a:lnTo>
                  <a:pt x="11274940" y="1328357"/>
                </a:lnTo>
                <a:lnTo>
                  <a:pt x="11278644" y="1311917"/>
                </a:lnTo>
                <a:lnTo>
                  <a:pt x="11284465" y="1294946"/>
                </a:lnTo>
                <a:lnTo>
                  <a:pt x="11290286" y="1277445"/>
                </a:lnTo>
                <a:lnTo>
                  <a:pt x="11297694" y="1260475"/>
                </a:lnTo>
                <a:lnTo>
                  <a:pt x="11304574" y="1265248"/>
                </a:lnTo>
                <a:lnTo>
                  <a:pt x="11311453" y="1271081"/>
                </a:lnTo>
                <a:lnTo>
                  <a:pt x="11317803" y="1276385"/>
                </a:lnTo>
                <a:lnTo>
                  <a:pt x="11323095" y="1282749"/>
                </a:lnTo>
                <a:lnTo>
                  <a:pt x="11328915" y="1288582"/>
                </a:lnTo>
                <a:lnTo>
                  <a:pt x="11333678" y="1294946"/>
                </a:lnTo>
                <a:lnTo>
                  <a:pt x="11338441" y="1301841"/>
                </a:lnTo>
                <a:lnTo>
                  <a:pt x="11342674" y="1308735"/>
                </a:lnTo>
                <a:lnTo>
                  <a:pt x="11346907" y="1314569"/>
                </a:lnTo>
                <a:lnTo>
                  <a:pt x="11349553" y="1322524"/>
                </a:lnTo>
                <a:lnTo>
                  <a:pt x="11350222" y="1323977"/>
                </a:lnTo>
                <a:lnTo>
                  <a:pt x="11358101" y="1323977"/>
                </a:lnTo>
                <a:lnTo>
                  <a:pt x="11388257" y="1548344"/>
                </a:lnTo>
                <a:lnTo>
                  <a:pt x="11498255" y="1489382"/>
                </a:lnTo>
                <a:lnTo>
                  <a:pt x="11488724" y="1487004"/>
                </a:lnTo>
                <a:lnTo>
                  <a:pt x="11502482" y="1455848"/>
                </a:lnTo>
                <a:lnTo>
                  <a:pt x="11515182" y="1424692"/>
                </a:lnTo>
                <a:lnTo>
                  <a:pt x="11522062" y="1408322"/>
                </a:lnTo>
                <a:lnTo>
                  <a:pt x="11528941" y="1393536"/>
                </a:lnTo>
                <a:lnTo>
                  <a:pt x="11535820" y="1378222"/>
                </a:lnTo>
                <a:lnTo>
                  <a:pt x="11544287" y="1362908"/>
                </a:lnTo>
                <a:lnTo>
                  <a:pt x="11551695" y="1348650"/>
                </a:lnTo>
                <a:lnTo>
                  <a:pt x="11561220" y="1334920"/>
                </a:lnTo>
                <a:lnTo>
                  <a:pt x="11570216" y="1321719"/>
                </a:lnTo>
                <a:lnTo>
                  <a:pt x="11580799" y="1309573"/>
                </a:lnTo>
                <a:lnTo>
                  <a:pt x="11591382" y="1298484"/>
                </a:lnTo>
                <a:lnTo>
                  <a:pt x="11603553" y="1287394"/>
                </a:lnTo>
                <a:lnTo>
                  <a:pt x="11609903" y="1283170"/>
                </a:lnTo>
                <a:lnTo>
                  <a:pt x="11615724" y="1278417"/>
                </a:lnTo>
                <a:lnTo>
                  <a:pt x="11622603" y="1273664"/>
                </a:lnTo>
                <a:lnTo>
                  <a:pt x="11630541" y="1269968"/>
                </a:lnTo>
                <a:lnTo>
                  <a:pt x="11641653" y="1264687"/>
                </a:lnTo>
                <a:lnTo>
                  <a:pt x="11654883" y="1260991"/>
                </a:lnTo>
                <a:lnTo>
                  <a:pt x="11667053" y="1257822"/>
                </a:lnTo>
                <a:lnTo>
                  <a:pt x="11679224" y="1255710"/>
                </a:lnTo>
                <a:lnTo>
                  <a:pt x="11691924" y="1254126"/>
                </a:lnTo>
                <a:lnTo>
                  <a:pt x="11704095" y="1254126"/>
                </a:lnTo>
                <a:lnTo>
                  <a:pt x="11717324" y="1254126"/>
                </a:lnTo>
                <a:lnTo>
                  <a:pt x="11729495" y="1254654"/>
                </a:lnTo>
                <a:lnTo>
                  <a:pt x="11755424" y="1257294"/>
                </a:lnTo>
                <a:lnTo>
                  <a:pt x="11780295" y="1260991"/>
                </a:lnTo>
                <a:lnTo>
                  <a:pt x="11804637" y="1265743"/>
                </a:lnTo>
                <a:lnTo>
                  <a:pt x="11830037" y="1269440"/>
                </a:lnTo>
                <a:lnTo>
                  <a:pt x="11818395" y="1299012"/>
                </a:lnTo>
                <a:lnTo>
                  <a:pt x="11807283" y="1328584"/>
                </a:lnTo>
                <a:lnTo>
                  <a:pt x="11795112" y="1359212"/>
                </a:lnTo>
                <a:lnTo>
                  <a:pt x="11781883" y="1388255"/>
                </a:lnTo>
                <a:lnTo>
                  <a:pt x="11775004" y="1401985"/>
                </a:lnTo>
                <a:lnTo>
                  <a:pt x="11767595" y="1415187"/>
                </a:lnTo>
                <a:lnTo>
                  <a:pt x="11759129" y="1428389"/>
                </a:lnTo>
                <a:lnTo>
                  <a:pt x="11750133" y="1440534"/>
                </a:lnTo>
                <a:lnTo>
                  <a:pt x="11740079" y="1452680"/>
                </a:lnTo>
                <a:lnTo>
                  <a:pt x="11730024" y="1463241"/>
                </a:lnTo>
                <a:lnTo>
                  <a:pt x="11717854" y="1472746"/>
                </a:lnTo>
                <a:lnTo>
                  <a:pt x="11705683" y="1481723"/>
                </a:lnTo>
                <a:lnTo>
                  <a:pt x="11692983" y="1489116"/>
                </a:lnTo>
                <a:lnTo>
                  <a:pt x="11679753" y="1495453"/>
                </a:lnTo>
                <a:lnTo>
                  <a:pt x="11665995" y="1499678"/>
                </a:lnTo>
                <a:lnTo>
                  <a:pt x="11653295" y="1503902"/>
                </a:lnTo>
                <a:lnTo>
                  <a:pt x="11639537" y="1506014"/>
                </a:lnTo>
                <a:lnTo>
                  <a:pt x="11625778" y="1507599"/>
                </a:lnTo>
                <a:lnTo>
                  <a:pt x="11612020" y="1508127"/>
                </a:lnTo>
                <a:lnTo>
                  <a:pt x="11598262" y="1507599"/>
                </a:lnTo>
                <a:lnTo>
                  <a:pt x="11584503" y="1506014"/>
                </a:lnTo>
                <a:lnTo>
                  <a:pt x="11570745" y="1504430"/>
                </a:lnTo>
                <a:lnTo>
                  <a:pt x="11556987" y="1502318"/>
                </a:lnTo>
                <a:lnTo>
                  <a:pt x="11542699" y="1499678"/>
                </a:lnTo>
                <a:lnTo>
                  <a:pt x="11537199" y="1498470"/>
                </a:lnTo>
                <a:lnTo>
                  <a:pt x="11386141" y="1583269"/>
                </a:lnTo>
                <a:lnTo>
                  <a:pt x="11033265" y="1987551"/>
                </a:lnTo>
                <a:lnTo>
                  <a:pt x="11544636" y="1872067"/>
                </a:lnTo>
                <a:lnTo>
                  <a:pt x="11563275" y="1856217"/>
                </a:lnTo>
                <a:lnTo>
                  <a:pt x="11587554" y="1834956"/>
                </a:lnTo>
                <a:lnTo>
                  <a:pt x="11599693" y="1824326"/>
                </a:lnTo>
                <a:lnTo>
                  <a:pt x="11611832" y="1814227"/>
                </a:lnTo>
                <a:lnTo>
                  <a:pt x="11624500" y="1804128"/>
                </a:lnTo>
                <a:lnTo>
                  <a:pt x="11637694" y="1795093"/>
                </a:lnTo>
                <a:lnTo>
                  <a:pt x="11650362" y="1786588"/>
                </a:lnTo>
                <a:lnTo>
                  <a:pt x="11663557" y="1779147"/>
                </a:lnTo>
                <a:lnTo>
                  <a:pt x="11677279" y="1772769"/>
                </a:lnTo>
                <a:lnTo>
                  <a:pt x="11690474" y="1767454"/>
                </a:lnTo>
                <a:lnTo>
                  <a:pt x="11704197" y="1762670"/>
                </a:lnTo>
                <a:lnTo>
                  <a:pt x="11718975" y="1760013"/>
                </a:lnTo>
                <a:lnTo>
                  <a:pt x="11726365" y="1758950"/>
                </a:lnTo>
                <a:lnTo>
                  <a:pt x="11734282" y="1758950"/>
                </a:lnTo>
                <a:lnTo>
                  <a:pt x="11741143" y="1758950"/>
                </a:lnTo>
                <a:lnTo>
                  <a:pt x="11748532" y="1758950"/>
                </a:lnTo>
                <a:lnTo>
                  <a:pt x="11763838" y="1760544"/>
                </a:lnTo>
                <a:lnTo>
                  <a:pt x="11778089" y="1762670"/>
                </a:lnTo>
                <a:lnTo>
                  <a:pt x="11791812" y="1765859"/>
                </a:lnTo>
                <a:lnTo>
                  <a:pt x="11805534" y="1771174"/>
                </a:lnTo>
                <a:lnTo>
                  <a:pt x="11818201" y="1777553"/>
                </a:lnTo>
                <a:lnTo>
                  <a:pt x="11831396" y="1784462"/>
                </a:lnTo>
                <a:lnTo>
                  <a:pt x="11844064" y="1792966"/>
                </a:lnTo>
                <a:lnTo>
                  <a:pt x="11856203" y="1800939"/>
                </a:lnTo>
                <a:lnTo>
                  <a:pt x="11868342" y="1810506"/>
                </a:lnTo>
                <a:lnTo>
                  <a:pt x="11879954" y="1820074"/>
                </a:lnTo>
                <a:lnTo>
                  <a:pt x="11892093" y="1831236"/>
                </a:lnTo>
                <a:lnTo>
                  <a:pt x="11903705" y="1841866"/>
                </a:lnTo>
                <a:lnTo>
                  <a:pt x="11925344" y="1863127"/>
                </a:lnTo>
                <a:lnTo>
                  <a:pt x="11947512" y="1884918"/>
                </a:lnTo>
                <a:lnTo>
                  <a:pt x="11924289" y="1904053"/>
                </a:lnTo>
                <a:lnTo>
                  <a:pt x="11900538" y="1924250"/>
                </a:lnTo>
                <a:lnTo>
                  <a:pt x="11888399" y="1934348"/>
                </a:lnTo>
                <a:lnTo>
                  <a:pt x="11876259" y="1944445"/>
                </a:lnTo>
                <a:lnTo>
                  <a:pt x="11864120" y="1954546"/>
                </a:lnTo>
                <a:lnTo>
                  <a:pt x="11850925" y="1963582"/>
                </a:lnTo>
                <a:lnTo>
                  <a:pt x="11838786" y="1972087"/>
                </a:lnTo>
                <a:lnTo>
                  <a:pt x="11826118" y="1979529"/>
                </a:lnTo>
                <a:lnTo>
                  <a:pt x="11812396" y="1985908"/>
                </a:lnTo>
                <a:lnTo>
                  <a:pt x="11798673" y="1991222"/>
                </a:lnTo>
                <a:lnTo>
                  <a:pt x="11791812" y="1993348"/>
                </a:lnTo>
                <a:lnTo>
                  <a:pt x="11784950" y="1994942"/>
                </a:lnTo>
                <a:lnTo>
                  <a:pt x="11778089" y="1996538"/>
                </a:lnTo>
                <a:lnTo>
                  <a:pt x="11770700" y="1998133"/>
                </a:lnTo>
                <a:lnTo>
                  <a:pt x="11763838" y="1998133"/>
                </a:lnTo>
                <a:lnTo>
                  <a:pt x="11755921" y="1998665"/>
                </a:lnTo>
                <a:lnTo>
                  <a:pt x="11748532" y="1998133"/>
                </a:lnTo>
                <a:lnTo>
                  <a:pt x="11741143" y="1997070"/>
                </a:lnTo>
                <a:lnTo>
                  <a:pt x="11733226" y="1998133"/>
                </a:lnTo>
                <a:lnTo>
                  <a:pt x="11725837" y="1998133"/>
                </a:lnTo>
                <a:lnTo>
                  <a:pt x="11717920" y="1997070"/>
                </a:lnTo>
                <a:lnTo>
                  <a:pt x="11711058" y="1996538"/>
                </a:lnTo>
                <a:lnTo>
                  <a:pt x="11696808" y="1993348"/>
                </a:lnTo>
                <a:lnTo>
                  <a:pt x="11682557" y="1989626"/>
                </a:lnTo>
                <a:lnTo>
                  <a:pt x="11669362" y="1984310"/>
                </a:lnTo>
                <a:lnTo>
                  <a:pt x="11655640" y="1977403"/>
                </a:lnTo>
                <a:lnTo>
                  <a:pt x="11642972" y="1969430"/>
                </a:lnTo>
                <a:lnTo>
                  <a:pt x="11630833" y="1960393"/>
                </a:lnTo>
                <a:lnTo>
                  <a:pt x="11617638" y="1951359"/>
                </a:lnTo>
                <a:lnTo>
                  <a:pt x="11606554" y="1941259"/>
                </a:lnTo>
                <a:lnTo>
                  <a:pt x="11594415" y="1930628"/>
                </a:lnTo>
                <a:lnTo>
                  <a:pt x="11582803" y="1919998"/>
                </a:lnTo>
                <a:lnTo>
                  <a:pt x="11560636" y="1898206"/>
                </a:lnTo>
                <a:lnTo>
                  <a:pt x="11560367" y="1897928"/>
                </a:lnTo>
                <a:lnTo>
                  <a:pt x="11390902" y="1949982"/>
                </a:lnTo>
                <a:lnTo>
                  <a:pt x="11427213" y="1965363"/>
                </a:lnTo>
                <a:lnTo>
                  <a:pt x="11430890" y="1964265"/>
                </a:lnTo>
                <a:lnTo>
                  <a:pt x="11450918" y="1957916"/>
                </a:lnTo>
                <a:lnTo>
                  <a:pt x="11470420" y="1952626"/>
                </a:lnTo>
                <a:lnTo>
                  <a:pt x="11480435" y="1951037"/>
                </a:lnTo>
                <a:lnTo>
                  <a:pt x="11490976" y="1949451"/>
                </a:lnTo>
                <a:lnTo>
                  <a:pt x="11500991" y="1949451"/>
                </a:lnTo>
                <a:lnTo>
                  <a:pt x="11511005" y="1949451"/>
                </a:lnTo>
                <a:lnTo>
                  <a:pt x="11520492" y="1951037"/>
                </a:lnTo>
                <a:lnTo>
                  <a:pt x="11530507" y="1953684"/>
                </a:lnTo>
                <a:lnTo>
                  <a:pt x="11540521" y="1957388"/>
                </a:lnTo>
                <a:lnTo>
                  <a:pt x="11550536" y="1961621"/>
                </a:lnTo>
                <a:lnTo>
                  <a:pt x="11559496" y="1967442"/>
                </a:lnTo>
                <a:lnTo>
                  <a:pt x="11567929" y="1974320"/>
                </a:lnTo>
                <a:lnTo>
                  <a:pt x="11575308" y="1980671"/>
                </a:lnTo>
                <a:lnTo>
                  <a:pt x="11582687" y="1988608"/>
                </a:lnTo>
                <a:lnTo>
                  <a:pt x="11589539" y="1997077"/>
                </a:lnTo>
                <a:lnTo>
                  <a:pt x="11596391" y="2005546"/>
                </a:lnTo>
                <a:lnTo>
                  <a:pt x="11603243" y="2014540"/>
                </a:lnTo>
                <a:lnTo>
                  <a:pt x="11609568" y="2024593"/>
                </a:lnTo>
                <a:lnTo>
                  <a:pt x="11622218" y="2043641"/>
                </a:lnTo>
                <a:lnTo>
                  <a:pt x="11633813" y="2064275"/>
                </a:lnTo>
                <a:lnTo>
                  <a:pt x="11645936" y="2083853"/>
                </a:lnTo>
                <a:lnTo>
                  <a:pt x="11658586" y="2103433"/>
                </a:lnTo>
                <a:lnTo>
                  <a:pt x="11639084" y="2108195"/>
                </a:lnTo>
                <a:lnTo>
                  <a:pt x="11618528" y="2114547"/>
                </a:lnTo>
                <a:lnTo>
                  <a:pt x="11597972" y="2120367"/>
                </a:lnTo>
                <a:lnTo>
                  <a:pt x="11578471" y="2125660"/>
                </a:lnTo>
                <a:lnTo>
                  <a:pt x="11568456" y="2128306"/>
                </a:lnTo>
                <a:lnTo>
                  <a:pt x="11558442" y="2129364"/>
                </a:lnTo>
                <a:lnTo>
                  <a:pt x="11548954" y="2130422"/>
                </a:lnTo>
                <a:lnTo>
                  <a:pt x="11538940" y="2129364"/>
                </a:lnTo>
                <a:lnTo>
                  <a:pt x="11528926" y="2128835"/>
                </a:lnTo>
                <a:lnTo>
                  <a:pt x="11518911" y="2126718"/>
                </a:lnTo>
                <a:lnTo>
                  <a:pt x="11509951" y="2122483"/>
                </a:lnTo>
                <a:lnTo>
                  <a:pt x="11499936" y="2117192"/>
                </a:lnTo>
                <a:lnTo>
                  <a:pt x="11490976" y="2111372"/>
                </a:lnTo>
                <a:lnTo>
                  <a:pt x="11482016" y="2105021"/>
                </a:lnTo>
                <a:lnTo>
                  <a:pt x="11473583" y="2097611"/>
                </a:lnTo>
                <a:lnTo>
                  <a:pt x="11466204" y="2090202"/>
                </a:lnTo>
                <a:lnTo>
                  <a:pt x="11458297" y="2081737"/>
                </a:lnTo>
                <a:lnTo>
                  <a:pt x="11451445" y="2072211"/>
                </a:lnTo>
                <a:lnTo>
                  <a:pt x="11445648" y="2063217"/>
                </a:lnTo>
                <a:lnTo>
                  <a:pt x="11438796" y="2053165"/>
                </a:lnTo>
                <a:lnTo>
                  <a:pt x="11426673" y="2033587"/>
                </a:lnTo>
                <a:lnTo>
                  <a:pt x="11415077" y="2013483"/>
                </a:lnTo>
                <a:lnTo>
                  <a:pt x="11404009" y="1993902"/>
                </a:lnTo>
                <a:lnTo>
                  <a:pt x="11391886" y="1975380"/>
                </a:lnTo>
                <a:lnTo>
                  <a:pt x="11403824" y="1972138"/>
                </a:lnTo>
                <a:lnTo>
                  <a:pt x="11353340" y="1949982"/>
                </a:lnTo>
                <a:lnTo>
                  <a:pt x="10960785" y="2052107"/>
                </a:lnTo>
                <a:lnTo>
                  <a:pt x="10944914" y="2071156"/>
                </a:lnTo>
                <a:lnTo>
                  <a:pt x="10927984" y="2090202"/>
                </a:lnTo>
                <a:lnTo>
                  <a:pt x="10912113" y="2107667"/>
                </a:lnTo>
                <a:lnTo>
                  <a:pt x="10896241" y="2124602"/>
                </a:lnTo>
                <a:lnTo>
                  <a:pt x="10864498" y="2156352"/>
                </a:lnTo>
                <a:lnTo>
                  <a:pt x="10832755" y="2185455"/>
                </a:lnTo>
                <a:lnTo>
                  <a:pt x="10802599" y="2211388"/>
                </a:lnTo>
                <a:lnTo>
                  <a:pt x="10773502" y="2235199"/>
                </a:lnTo>
                <a:lnTo>
                  <a:pt x="10745991" y="2256364"/>
                </a:lnTo>
                <a:lnTo>
                  <a:pt x="10720068" y="2275415"/>
                </a:lnTo>
                <a:lnTo>
                  <a:pt x="10696789" y="2291290"/>
                </a:lnTo>
                <a:lnTo>
                  <a:pt x="10674569" y="2305048"/>
                </a:lnTo>
                <a:lnTo>
                  <a:pt x="10655524" y="2316690"/>
                </a:lnTo>
                <a:lnTo>
                  <a:pt x="10639652" y="2326743"/>
                </a:lnTo>
                <a:lnTo>
                  <a:pt x="10617432" y="2337856"/>
                </a:lnTo>
                <a:lnTo>
                  <a:pt x="10608967" y="2342618"/>
                </a:lnTo>
                <a:lnTo>
                  <a:pt x="10635950" y="3988451"/>
                </a:lnTo>
                <a:lnTo>
                  <a:pt x="10644174" y="3992566"/>
                </a:lnTo>
                <a:lnTo>
                  <a:pt x="10654228" y="3998923"/>
                </a:lnTo>
                <a:lnTo>
                  <a:pt x="10663753" y="4006338"/>
                </a:lnTo>
                <a:lnTo>
                  <a:pt x="10673278" y="4014283"/>
                </a:lnTo>
                <a:lnTo>
                  <a:pt x="10692328" y="4031763"/>
                </a:lnTo>
                <a:lnTo>
                  <a:pt x="10711378" y="4049772"/>
                </a:lnTo>
                <a:lnTo>
                  <a:pt x="10720374" y="4059306"/>
                </a:lnTo>
                <a:lnTo>
                  <a:pt x="10730428" y="4067251"/>
                </a:lnTo>
                <a:lnTo>
                  <a:pt x="10739953" y="4075196"/>
                </a:lnTo>
                <a:lnTo>
                  <a:pt x="10750007" y="4082082"/>
                </a:lnTo>
                <a:lnTo>
                  <a:pt x="10760590" y="4087908"/>
                </a:lnTo>
                <a:lnTo>
                  <a:pt x="10771174" y="4093205"/>
                </a:lnTo>
                <a:lnTo>
                  <a:pt x="10776466" y="4094794"/>
                </a:lnTo>
                <a:lnTo>
                  <a:pt x="10782816" y="4097442"/>
                </a:lnTo>
                <a:lnTo>
                  <a:pt x="10789166" y="4097972"/>
                </a:lnTo>
                <a:lnTo>
                  <a:pt x="10794457" y="4098502"/>
                </a:lnTo>
                <a:lnTo>
                  <a:pt x="10806628" y="4100091"/>
                </a:lnTo>
                <a:lnTo>
                  <a:pt x="10817741" y="4102739"/>
                </a:lnTo>
                <a:lnTo>
                  <a:pt x="10829382" y="4106447"/>
                </a:lnTo>
                <a:lnTo>
                  <a:pt x="10839966" y="4110155"/>
                </a:lnTo>
                <a:lnTo>
                  <a:pt x="10850020" y="4114922"/>
                </a:lnTo>
                <a:lnTo>
                  <a:pt x="10859545" y="4119159"/>
                </a:lnTo>
                <a:lnTo>
                  <a:pt x="10869599" y="4125515"/>
                </a:lnTo>
                <a:lnTo>
                  <a:pt x="10878595" y="4131342"/>
                </a:lnTo>
                <a:lnTo>
                  <a:pt x="10887061" y="4138228"/>
                </a:lnTo>
                <a:lnTo>
                  <a:pt x="10895528" y="4145113"/>
                </a:lnTo>
                <a:lnTo>
                  <a:pt x="10903466" y="4153059"/>
                </a:lnTo>
                <a:lnTo>
                  <a:pt x="10910874" y="4160474"/>
                </a:lnTo>
                <a:lnTo>
                  <a:pt x="10917753" y="4168419"/>
                </a:lnTo>
                <a:lnTo>
                  <a:pt x="10924632" y="4176364"/>
                </a:lnTo>
                <a:lnTo>
                  <a:pt x="10930453" y="4184839"/>
                </a:lnTo>
                <a:lnTo>
                  <a:pt x="10936803" y="4193314"/>
                </a:lnTo>
                <a:lnTo>
                  <a:pt x="10943682" y="4202319"/>
                </a:lnTo>
                <a:lnTo>
                  <a:pt x="10952678" y="4213442"/>
                </a:lnTo>
                <a:lnTo>
                  <a:pt x="10963261" y="4224565"/>
                </a:lnTo>
                <a:lnTo>
                  <a:pt x="10974903" y="4237807"/>
                </a:lnTo>
                <a:lnTo>
                  <a:pt x="10987603" y="4251578"/>
                </a:lnTo>
                <a:lnTo>
                  <a:pt x="11000832" y="4266409"/>
                </a:lnTo>
                <a:lnTo>
                  <a:pt x="11013532" y="4281770"/>
                </a:lnTo>
                <a:lnTo>
                  <a:pt x="11026762" y="4297660"/>
                </a:lnTo>
                <a:lnTo>
                  <a:pt x="11037874" y="4314610"/>
                </a:lnTo>
                <a:lnTo>
                  <a:pt x="11047399" y="4330500"/>
                </a:lnTo>
                <a:lnTo>
                  <a:pt x="11051632" y="4338975"/>
                </a:lnTo>
                <a:lnTo>
                  <a:pt x="11055866" y="4347450"/>
                </a:lnTo>
                <a:lnTo>
                  <a:pt x="11058512" y="4355925"/>
                </a:lnTo>
                <a:lnTo>
                  <a:pt x="11061157" y="4364400"/>
                </a:lnTo>
                <a:lnTo>
                  <a:pt x="11062103" y="4371968"/>
                </a:lnTo>
                <a:lnTo>
                  <a:pt x="12191986" y="4371968"/>
                </a:lnTo>
                <a:lnTo>
                  <a:pt x="12191986" y="6661143"/>
                </a:lnTo>
                <a:lnTo>
                  <a:pt x="0" y="6661143"/>
                </a:lnTo>
                <a:lnTo>
                  <a:pt x="0" y="4371968"/>
                </a:lnTo>
                <a:lnTo>
                  <a:pt x="905670" y="4371968"/>
                </a:lnTo>
                <a:lnTo>
                  <a:pt x="908015" y="4364400"/>
                </a:lnTo>
                <a:lnTo>
                  <a:pt x="913301" y="4349039"/>
                </a:lnTo>
                <a:lnTo>
                  <a:pt x="919645" y="4333678"/>
                </a:lnTo>
                <a:lnTo>
                  <a:pt x="926517" y="4318318"/>
                </a:lnTo>
                <a:lnTo>
                  <a:pt x="933390" y="4304016"/>
                </a:lnTo>
                <a:lnTo>
                  <a:pt x="940791" y="4288656"/>
                </a:lnTo>
                <a:lnTo>
                  <a:pt x="949249" y="4274355"/>
                </a:lnTo>
                <a:lnTo>
                  <a:pt x="958236" y="4260583"/>
                </a:lnTo>
                <a:lnTo>
                  <a:pt x="968280" y="4246811"/>
                </a:lnTo>
                <a:lnTo>
                  <a:pt x="978853" y="4233569"/>
                </a:lnTo>
                <a:lnTo>
                  <a:pt x="990483" y="4221387"/>
                </a:lnTo>
                <a:lnTo>
                  <a:pt x="1001584" y="4210264"/>
                </a:lnTo>
                <a:lnTo>
                  <a:pt x="1014801" y="4199670"/>
                </a:lnTo>
                <a:lnTo>
                  <a:pt x="1028545" y="4190136"/>
                </a:lnTo>
                <a:lnTo>
                  <a:pt x="1043347" y="4181131"/>
                </a:lnTo>
                <a:lnTo>
                  <a:pt x="1058678" y="4174246"/>
                </a:lnTo>
                <a:lnTo>
                  <a:pt x="1089868" y="4160474"/>
                </a:lnTo>
                <a:lnTo>
                  <a:pt x="1119472" y="4146702"/>
                </a:lnTo>
                <a:lnTo>
                  <a:pt x="1146962" y="4132931"/>
                </a:lnTo>
                <a:lnTo>
                  <a:pt x="1172865" y="4120219"/>
                </a:lnTo>
                <a:lnTo>
                  <a:pt x="1196654" y="4106977"/>
                </a:lnTo>
                <a:lnTo>
                  <a:pt x="1218857" y="4094794"/>
                </a:lnTo>
                <a:lnTo>
                  <a:pt x="1238417" y="4082612"/>
                </a:lnTo>
                <a:lnTo>
                  <a:pt x="1256919" y="4072018"/>
                </a:lnTo>
                <a:lnTo>
                  <a:pt x="1287052" y="4052420"/>
                </a:lnTo>
                <a:lnTo>
                  <a:pt x="1308198" y="4037059"/>
                </a:lnTo>
                <a:lnTo>
                  <a:pt x="1321942" y="4026995"/>
                </a:lnTo>
                <a:lnTo>
                  <a:pt x="1326700" y="4023817"/>
                </a:lnTo>
                <a:lnTo>
                  <a:pt x="1333044" y="4020639"/>
                </a:lnTo>
                <a:lnTo>
                  <a:pt x="1348903" y="4014813"/>
                </a:lnTo>
                <a:lnTo>
                  <a:pt x="1372164" y="4005808"/>
                </a:lnTo>
                <a:lnTo>
                  <a:pt x="1400710" y="3995744"/>
                </a:lnTo>
                <a:lnTo>
                  <a:pt x="1416570" y="3992037"/>
                </a:lnTo>
                <a:lnTo>
                  <a:pt x="1432429" y="3987270"/>
                </a:lnTo>
                <a:lnTo>
                  <a:pt x="1448288" y="3984092"/>
                </a:lnTo>
                <a:lnTo>
                  <a:pt x="1463619" y="3981973"/>
                </a:lnTo>
                <a:lnTo>
                  <a:pt x="1478949" y="3981443"/>
                </a:lnTo>
                <a:lnTo>
                  <a:pt x="1492694" y="3981443"/>
                </a:lnTo>
                <a:lnTo>
                  <a:pt x="1499567" y="3981973"/>
                </a:lnTo>
                <a:lnTo>
                  <a:pt x="1505381" y="3983562"/>
                </a:lnTo>
                <a:lnTo>
                  <a:pt x="1511725" y="3985151"/>
                </a:lnTo>
                <a:lnTo>
                  <a:pt x="1517012" y="3987270"/>
                </a:lnTo>
                <a:lnTo>
                  <a:pt x="1527585" y="3992566"/>
                </a:lnTo>
                <a:lnTo>
                  <a:pt x="1537629" y="3998923"/>
                </a:lnTo>
                <a:lnTo>
                  <a:pt x="1547673" y="4006338"/>
                </a:lnTo>
                <a:lnTo>
                  <a:pt x="1557189" y="4014283"/>
                </a:lnTo>
                <a:lnTo>
                  <a:pt x="1575691" y="4031763"/>
                </a:lnTo>
                <a:lnTo>
                  <a:pt x="1594722" y="4049772"/>
                </a:lnTo>
                <a:lnTo>
                  <a:pt x="1604767" y="4059306"/>
                </a:lnTo>
                <a:lnTo>
                  <a:pt x="1613753" y="4067251"/>
                </a:lnTo>
                <a:lnTo>
                  <a:pt x="1623798" y="4075196"/>
                </a:lnTo>
                <a:lnTo>
                  <a:pt x="1634371" y="4082082"/>
                </a:lnTo>
                <a:lnTo>
                  <a:pt x="1644415" y="4087908"/>
                </a:lnTo>
                <a:lnTo>
                  <a:pt x="1655516" y="4093205"/>
                </a:lnTo>
                <a:lnTo>
                  <a:pt x="1660803" y="4094794"/>
                </a:lnTo>
                <a:lnTo>
                  <a:pt x="1666089" y="4097442"/>
                </a:lnTo>
                <a:lnTo>
                  <a:pt x="1672433" y="4097972"/>
                </a:lnTo>
                <a:lnTo>
                  <a:pt x="1678248" y="4098502"/>
                </a:lnTo>
                <a:lnTo>
                  <a:pt x="1690407" y="4100091"/>
                </a:lnTo>
                <a:lnTo>
                  <a:pt x="1702037" y="4102739"/>
                </a:lnTo>
                <a:lnTo>
                  <a:pt x="1712610" y="4106447"/>
                </a:lnTo>
                <a:lnTo>
                  <a:pt x="1723183" y="4110155"/>
                </a:lnTo>
                <a:lnTo>
                  <a:pt x="1733756" y="4114922"/>
                </a:lnTo>
                <a:lnTo>
                  <a:pt x="1743800" y="4119159"/>
                </a:lnTo>
                <a:lnTo>
                  <a:pt x="1752787" y="4125515"/>
                </a:lnTo>
                <a:lnTo>
                  <a:pt x="1762302" y="4131342"/>
                </a:lnTo>
                <a:lnTo>
                  <a:pt x="1771289" y="4138228"/>
                </a:lnTo>
                <a:lnTo>
                  <a:pt x="1779748" y="4145113"/>
                </a:lnTo>
                <a:lnTo>
                  <a:pt x="1787148" y="4153059"/>
                </a:lnTo>
                <a:lnTo>
                  <a:pt x="1795078" y="4160474"/>
                </a:lnTo>
                <a:lnTo>
                  <a:pt x="1801951" y="4168419"/>
                </a:lnTo>
                <a:lnTo>
                  <a:pt x="1808823" y="4176364"/>
                </a:lnTo>
                <a:lnTo>
                  <a:pt x="1814638" y="4184839"/>
                </a:lnTo>
                <a:lnTo>
                  <a:pt x="1819924" y="4193314"/>
                </a:lnTo>
                <a:lnTo>
                  <a:pt x="1826797" y="4202319"/>
                </a:lnTo>
                <a:lnTo>
                  <a:pt x="1835784" y="4213442"/>
                </a:lnTo>
                <a:lnTo>
                  <a:pt x="1846885" y="4224565"/>
                </a:lnTo>
                <a:lnTo>
                  <a:pt x="1859044" y="4237807"/>
                </a:lnTo>
                <a:lnTo>
                  <a:pt x="1871731" y="4251578"/>
                </a:lnTo>
                <a:lnTo>
                  <a:pt x="1884947" y="4266409"/>
                </a:lnTo>
                <a:lnTo>
                  <a:pt x="1897635" y="4281770"/>
                </a:lnTo>
                <a:lnTo>
                  <a:pt x="1909794" y="4297660"/>
                </a:lnTo>
                <a:lnTo>
                  <a:pt x="1921424" y="4314610"/>
                </a:lnTo>
                <a:lnTo>
                  <a:pt x="1930939" y="4330500"/>
                </a:lnTo>
                <a:lnTo>
                  <a:pt x="1935169" y="4338975"/>
                </a:lnTo>
                <a:lnTo>
                  <a:pt x="1938869" y="4347450"/>
                </a:lnTo>
                <a:lnTo>
                  <a:pt x="1942041" y="4355925"/>
                </a:lnTo>
                <a:lnTo>
                  <a:pt x="1944156" y="4364400"/>
                </a:lnTo>
                <a:lnTo>
                  <a:pt x="1945572" y="4371968"/>
                </a:lnTo>
                <a:lnTo>
                  <a:pt x="3183778" y="4371968"/>
                </a:lnTo>
                <a:lnTo>
                  <a:pt x="3186126" y="4364400"/>
                </a:lnTo>
                <a:lnTo>
                  <a:pt x="3191420" y="4349039"/>
                </a:lnTo>
                <a:lnTo>
                  <a:pt x="3197773" y="4333678"/>
                </a:lnTo>
                <a:lnTo>
                  <a:pt x="3203597" y="4318318"/>
                </a:lnTo>
                <a:lnTo>
                  <a:pt x="3211539" y="4304016"/>
                </a:lnTo>
                <a:lnTo>
                  <a:pt x="3218951" y="4288656"/>
                </a:lnTo>
                <a:lnTo>
                  <a:pt x="3227421" y="4274355"/>
                </a:lnTo>
                <a:lnTo>
                  <a:pt x="3236422" y="4260583"/>
                </a:lnTo>
                <a:lnTo>
                  <a:pt x="3246481" y="4246811"/>
                </a:lnTo>
                <a:lnTo>
                  <a:pt x="3256540" y="4233569"/>
                </a:lnTo>
                <a:lnTo>
                  <a:pt x="3267658" y="4221387"/>
                </a:lnTo>
                <a:lnTo>
                  <a:pt x="3279835" y="4210264"/>
                </a:lnTo>
                <a:lnTo>
                  <a:pt x="3293071" y="4199670"/>
                </a:lnTo>
                <a:lnTo>
                  <a:pt x="3306836" y="4190136"/>
                </a:lnTo>
                <a:lnTo>
                  <a:pt x="3321130" y="4181131"/>
                </a:lnTo>
                <a:lnTo>
                  <a:pt x="3337013" y="4174246"/>
                </a:lnTo>
                <a:lnTo>
                  <a:pt x="3368250" y="4160474"/>
                </a:lnTo>
                <a:lnTo>
                  <a:pt x="3397369" y="4146702"/>
                </a:lnTo>
                <a:lnTo>
                  <a:pt x="3424899" y="4132931"/>
                </a:lnTo>
                <a:lnTo>
                  <a:pt x="3450842" y="4120219"/>
                </a:lnTo>
                <a:lnTo>
                  <a:pt x="3475195" y="4106977"/>
                </a:lnTo>
                <a:lnTo>
                  <a:pt x="3497432" y="4094794"/>
                </a:lnTo>
                <a:lnTo>
                  <a:pt x="3517021" y="4082612"/>
                </a:lnTo>
                <a:lnTo>
                  <a:pt x="3535551" y="4072018"/>
                </a:lnTo>
                <a:lnTo>
                  <a:pt x="3565199" y="4052420"/>
                </a:lnTo>
                <a:lnTo>
                  <a:pt x="3587436" y="4037059"/>
                </a:lnTo>
                <a:lnTo>
                  <a:pt x="3600671" y="4026995"/>
                </a:lnTo>
                <a:lnTo>
                  <a:pt x="3605435" y="4023817"/>
                </a:lnTo>
                <a:lnTo>
                  <a:pt x="3610729" y="4020639"/>
                </a:lnTo>
                <a:lnTo>
                  <a:pt x="3626611" y="4014813"/>
                </a:lnTo>
                <a:lnTo>
                  <a:pt x="3650434" y="4005808"/>
                </a:lnTo>
                <a:lnTo>
                  <a:pt x="3679554" y="3995744"/>
                </a:lnTo>
                <a:lnTo>
                  <a:pt x="3695436" y="3992037"/>
                </a:lnTo>
                <a:lnTo>
                  <a:pt x="3710788" y="3987270"/>
                </a:lnTo>
                <a:lnTo>
                  <a:pt x="3726670" y="3984092"/>
                </a:lnTo>
                <a:lnTo>
                  <a:pt x="3742552" y="3981973"/>
                </a:lnTo>
                <a:lnTo>
                  <a:pt x="3757906" y="3981443"/>
                </a:lnTo>
                <a:lnTo>
                  <a:pt x="3771672" y="3981443"/>
                </a:lnTo>
                <a:lnTo>
                  <a:pt x="3778552" y="3981973"/>
                </a:lnTo>
                <a:lnTo>
                  <a:pt x="3784377" y="3983562"/>
                </a:lnTo>
                <a:lnTo>
                  <a:pt x="3790729" y="3985151"/>
                </a:lnTo>
                <a:lnTo>
                  <a:pt x="3796023" y="3987270"/>
                </a:lnTo>
                <a:lnTo>
                  <a:pt x="3806612" y="3992566"/>
                </a:lnTo>
                <a:lnTo>
                  <a:pt x="3816672" y="3998923"/>
                </a:lnTo>
                <a:lnTo>
                  <a:pt x="3826731" y="4006338"/>
                </a:lnTo>
                <a:lnTo>
                  <a:pt x="3835732" y="4014283"/>
                </a:lnTo>
                <a:lnTo>
                  <a:pt x="3854791" y="4031763"/>
                </a:lnTo>
                <a:lnTo>
                  <a:pt x="3873851" y="4049772"/>
                </a:lnTo>
                <a:lnTo>
                  <a:pt x="3882851" y="4059306"/>
                </a:lnTo>
                <a:lnTo>
                  <a:pt x="3892911" y="4067251"/>
                </a:lnTo>
                <a:lnTo>
                  <a:pt x="3902970" y="4075196"/>
                </a:lnTo>
                <a:lnTo>
                  <a:pt x="3912500" y="4082082"/>
                </a:lnTo>
                <a:lnTo>
                  <a:pt x="3923619" y="4087908"/>
                </a:lnTo>
                <a:lnTo>
                  <a:pt x="3934207" y="4093205"/>
                </a:lnTo>
                <a:lnTo>
                  <a:pt x="3940030" y="4094794"/>
                </a:lnTo>
                <a:lnTo>
                  <a:pt x="3945325" y="4097442"/>
                </a:lnTo>
                <a:lnTo>
                  <a:pt x="3951679" y="4097972"/>
                </a:lnTo>
                <a:lnTo>
                  <a:pt x="3957501" y="4098502"/>
                </a:lnTo>
                <a:lnTo>
                  <a:pt x="3969149" y="4100091"/>
                </a:lnTo>
                <a:lnTo>
                  <a:pt x="3980796" y="4102739"/>
                </a:lnTo>
                <a:lnTo>
                  <a:pt x="3991914" y="4106447"/>
                </a:lnTo>
                <a:lnTo>
                  <a:pt x="4002502" y="4110155"/>
                </a:lnTo>
                <a:lnTo>
                  <a:pt x="4012562" y="4114922"/>
                </a:lnTo>
                <a:lnTo>
                  <a:pt x="4022621" y="4119159"/>
                </a:lnTo>
                <a:lnTo>
                  <a:pt x="4032151" y="4125515"/>
                </a:lnTo>
                <a:lnTo>
                  <a:pt x="4041681" y="4131342"/>
                </a:lnTo>
                <a:lnTo>
                  <a:pt x="4050151" y="4138228"/>
                </a:lnTo>
                <a:lnTo>
                  <a:pt x="4058093" y="4145113"/>
                </a:lnTo>
                <a:lnTo>
                  <a:pt x="4066564" y="4153059"/>
                </a:lnTo>
                <a:lnTo>
                  <a:pt x="4073446" y="4160474"/>
                </a:lnTo>
                <a:lnTo>
                  <a:pt x="4081388" y="4168419"/>
                </a:lnTo>
                <a:lnTo>
                  <a:pt x="4087212" y="4176364"/>
                </a:lnTo>
                <a:lnTo>
                  <a:pt x="4093565" y="4184839"/>
                </a:lnTo>
                <a:lnTo>
                  <a:pt x="4099389" y="4193314"/>
                </a:lnTo>
                <a:lnTo>
                  <a:pt x="4106272" y="4202319"/>
                </a:lnTo>
                <a:lnTo>
                  <a:pt x="4115272" y="4213442"/>
                </a:lnTo>
                <a:lnTo>
                  <a:pt x="4126390" y="4224565"/>
                </a:lnTo>
                <a:lnTo>
                  <a:pt x="4137508" y="4237807"/>
                </a:lnTo>
                <a:lnTo>
                  <a:pt x="4150744" y="4251578"/>
                </a:lnTo>
                <a:lnTo>
                  <a:pt x="4163450" y="4266409"/>
                </a:lnTo>
                <a:lnTo>
                  <a:pt x="4176686" y="4281770"/>
                </a:lnTo>
                <a:lnTo>
                  <a:pt x="4189393" y="4297660"/>
                </a:lnTo>
                <a:lnTo>
                  <a:pt x="4201032" y="4314610"/>
                </a:lnTo>
                <a:lnTo>
                  <a:pt x="4210031" y="4330500"/>
                </a:lnTo>
                <a:lnTo>
                  <a:pt x="4214797" y="4338975"/>
                </a:lnTo>
                <a:lnTo>
                  <a:pt x="4218504" y="4347450"/>
                </a:lnTo>
                <a:lnTo>
                  <a:pt x="4221680" y="4355925"/>
                </a:lnTo>
                <a:lnTo>
                  <a:pt x="4223797" y="4364400"/>
                </a:lnTo>
                <a:lnTo>
                  <a:pt x="4225216" y="4371968"/>
                </a:lnTo>
                <a:lnTo>
                  <a:pt x="5463157" y="4371968"/>
                </a:lnTo>
                <a:lnTo>
                  <a:pt x="5465765" y="4364400"/>
                </a:lnTo>
                <a:lnTo>
                  <a:pt x="5471059" y="4349039"/>
                </a:lnTo>
                <a:lnTo>
                  <a:pt x="5477413" y="4333678"/>
                </a:lnTo>
                <a:lnTo>
                  <a:pt x="5483236" y="4318318"/>
                </a:lnTo>
                <a:lnTo>
                  <a:pt x="5490119" y="4304016"/>
                </a:lnTo>
                <a:lnTo>
                  <a:pt x="5498061" y="4288656"/>
                </a:lnTo>
                <a:lnTo>
                  <a:pt x="5506002" y="4274355"/>
                </a:lnTo>
                <a:lnTo>
                  <a:pt x="5515532" y="4260583"/>
                </a:lnTo>
                <a:lnTo>
                  <a:pt x="5525061" y="4246811"/>
                </a:lnTo>
                <a:lnTo>
                  <a:pt x="5536179" y="4233569"/>
                </a:lnTo>
                <a:lnTo>
                  <a:pt x="5547297" y="4221387"/>
                </a:lnTo>
                <a:lnTo>
                  <a:pt x="5559474" y="4210264"/>
                </a:lnTo>
                <a:lnTo>
                  <a:pt x="5572709" y="4199670"/>
                </a:lnTo>
                <a:lnTo>
                  <a:pt x="5586475" y="4190136"/>
                </a:lnTo>
                <a:lnTo>
                  <a:pt x="5600770" y="4181131"/>
                </a:lnTo>
                <a:lnTo>
                  <a:pt x="5616122" y="4174246"/>
                </a:lnTo>
                <a:lnTo>
                  <a:pt x="5647359" y="4160474"/>
                </a:lnTo>
                <a:lnTo>
                  <a:pt x="5677007" y="4146702"/>
                </a:lnTo>
                <a:lnTo>
                  <a:pt x="5704538" y="4132931"/>
                </a:lnTo>
                <a:lnTo>
                  <a:pt x="5730479" y="4120219"/>
                </a:lnTo>
                <a:lnTo>
                  <a:pt x="5753774" y="4106977"/>
                </a:lnTo>
                <a:lnTo>
                  <a:pt x="5776010" y="4094794"/>
                </a:lnTo>
                <a:lnTo>
                  <a:pt x="5796658" y="4082612"/>
                </a:lnTo>
                <a:lnTo>
                  <a:pt x="5814129" y="4072018"/>
                </a:lnTo>
                <a:lnTo>
                  <a:pt x="5844835" y="4052420"/>
                </a:lnTo>
                <a:lnTo>
                  <a:pt x="5867071" y="4037059"/>
                </a:lnTo>
                <a:lnTo>
                  <a:pt x="5879778" y="4026995"/>
                </a:lnTo>
                <a:lnTo>
                  <a:pt x="5884543" y="4023817"/>
                </a:lnTo>
                <a:lnTo>
                  <a:pt x="5890366" y="4020639"/>
                </a:lnTo>
                <a:lnTo>
                  <a:pt x="5906249" y="4014813"/>
                </a:lnTo>
                <a:lnTo>
                  <a:pt x="5930073" y="4005808"/>
                </a:lnTo>
                <a:lnTo>
                  <a:pt x="5953701" y="3997642"/>
                </a:lnTo>
                <a:lnTo>
                  <a:pt x="5953701" y="3970331"/>
                </a:lnTo>
                <a:lnTo>
                  <a:pt x="5954228" y="3924823"/>
                </a:lnTo>
                <a:lnTo>
                  <a:pt x="5955285" y="3866085"/>
                </a:lnTo>
                <a:lnTo>
                  <a:pt x="5955814" y="3795177"/>
                </a:lnTo>
                <a:lnTo>
                  <a:pt x="5956929" y="3739726"/>
                </a:lnTo>
                <a:lnTo>
                  <a:pt x="5955543" y="3739044"/>
                </a:lnTo>
                <a:lnTo>
                  <a:pt x="5948448" y="3735283"/>
                </a:lnTo>
                <a:lnTo>
                  <a:pt x="5940264" y="3730985"/>
                </a:lnTo>
                <a:lnTo>
                  <a:pt x="5932624" y="3724000"/>
                </a:lnTo>
                <a:lnTo>
                  <a:pt x="5930986" y="3721313"/>
                </a:lnTo>
                <a:lnTo>
                  <a:pt x="5930441" y="3719164"/>
                </a:lnTo>
                <a:lnTo>
                  <a:pt x="5929349" y="3717015"/>
                </a:lnTo>
                <a:lnTo>
                  <a:pt x="5928804" y="3714328"/>
                </a:lnTo>
                <a:lnTo>
                  <a:pt x="5927713" y="3708418"/>
                </a:lnTo>
                <a:lnTo>
                  <a:pt x="5928804" y="3701433"/>
                </a:lnTo>
                <a:lnTo>
                  <a:pt x="5931532" y="3689075"/>
                </a:lnTo>
                <a:lnTo>
                  <a:pt x="5935897" y="3678329"/>
                </a:lnTo>
                <a:lnTo>
                  <a:pt x="5936989" y="3675642"/>
                </a:lnTo>
                <a:lnTo>
                  <a:pt x="5938081" y="3674030"/>
                </a:lnTo>
                <a:lnTo>
                  <a:pt x="5939717" y="3673493"/>
                </a:lnTo>
                <a:lnTo>
                  <a:pt x="5941900" y="3672955"/>
                </a:lnTo>
                <a:lnTo>
                  <a:pt x="5945720" y="3671881"/>
                </a:lnTo>
                <a:lnTo>
                  <a:pt x="5950086" y="3672955"/>
                </a:lnTo>
                <a:lnTo>
                  <a:pt x="5956634" y="3675105"/>
                </a:lnTo>
                <a:lnTo>
                  <a:pt x="5958413" y="3675455"/>
                </a:lnTo>
                <a:lnTo>
                  <a:pt x="5959512" y="3631135"/>
                </a:lnTo>
                <a:lnTo>
                  <a:pt x="5962154" y="3542764"/>
                </a:lnTo>
                <a:lnTo>
                  <a:pt x="5961098" y="3535885"/>
                </a:lnTo>
                <a:lnTo>
                  <a:pt x="5959512" y="3527418"/>
                </a:lnTo>
                <a:lnTo>
                  <a:pt x="5957927" y="3518423"/>
                </a:lnTo>
                <a:lnTo>
                  <a:pt x="5957399" y="3511543"/>
                </a:lnTo>
                <a:lnTo>
                  <a:pt x="5957399" y="3500431"/>
                </a:lnTo>
                <a:lnTo>
                  <a:pt x="5956343" y="3489848"/>
                </a:lnTo>
                <a:lnTo>
                  <a:pt x="5955285" y="3480323"/>
                </a:lnTo>
                <a:lnTo>
                  <a:pt x="5953701" y="3469210"/>
                </a:lnTo>
                <a:lnTo>
                  <a:pt x="5951059" y="3459685"/>
                </a:lnTo>
                <a:lnTo>
                  <a:pt x="5948945" y="3449631"/>
                </a:lnTo>
                <a:lnTo>
                  <a:pt x="5945246" y="3439577"/>
                </a:lnTo>
                <a:lnTo>
                  <a:pt x="5941547" y="3430581"/>
                </a:lnTo>
                <a:lnTo>
                  <a:pt x="5936792" y="3421585"/>
                </a:lnTo>
                <a:lnTo>
                  <a:pt x="5932036" y="3413118"/>
                </a:lnTo>
                <a:lnTo>
                  <a:pt x="5926224" y="3404652"/>
                </a:lnTo>
                <a:lnTo>
                  <a:pt x="5922183" y="3400268"/>
                </a:lnTo>
                <a:lnTo>
                  <a:pt x="5922949" y="3402934"/>
                </a:lnTo>
                <a:lnTo>
                  <a:pt x="5922949" y="3407677"/>
                </a:lnTo>
                <a:lnTo>
                  <a:pt x="5922949" y="3412947"/>
                </a:lnTo>
                <a:lnTo>
                  <a:pt x="5921889" y="3418216"/>
                </a:lnTo>
                <a:lnTo>
                  <a:pt x="5921359" y="3423486"/>
                </a:lnTo>
                <a:lnTo>
                  <a:pt x="5918709" y="3435606"/>
                </a:lnTo>
                <a:lnTo>
                  <a:pt x="5914468" y="3448254"/>
                </a:lnTo>
                <a:lnTo>
                  <a:pt x="5909167" y="3463009"/>
                </a:lnTo>
                <a:lnTo>
                  <a:pt x="5902276" y="3476710"/>
                </a:lnTo>
                <a:lnTo>
                  <a:pt x="5899626" y="3479872"/>
                </a:lnTo>
                <a:lnTo>
                  <a:pt x="5897505" y="3482507"/>
                </a:lnTo>
                <a:lnTo>
                  <a:pt x="5894325" y="3485669"/>
                </a:lnTo>
                <a:lnTo>
                  <a:pt x="5890614" y="3487776"/>
                </a:lnTo>
                <a:lnTo>
                  <a:pt x="5883193" y="3491992"/>
                </a:lnTo>
                <a:lnTo>
                  <a:pt x="5873121" y="3494627"/>
                </a:lnTo>
                <a:lnTo>
                  <a:pt x="5862520" y="3496208"/>
                </a:lnTo>
                <a:lnTo>
                  <a:pt x="5850328" y="3497789"/>
                </a:lnTo>
                <a:lnTo>
                  <a:pt x="5837076" y="3498843"/>
                </a:lnTo>
                <a:lnTo>
                  <a:pt x="5824353" y="3497789"/>
                </a:lnTo>
                <a:lnTo>
                  <a:pt x="5796259" y="3497262"/>
                </a:lnTo>
                <a:lnTo>
                  <a:pt x="5768696" y="3495681"/>
                </a:lnTo>
                <a:lnTo>
                  <a:pt x="5742721" y="3494100"/>
                </a:lnTo>
                <a:lnTo>
                  <a:pt x="5720457" y="3494100"/>
                </a:lnTo>
                <a:lnTo>
                  <a:pt x="5710386" y="3494100"/>
                </a:lnTo>
                <a:lnTo>
                  <a:pt x="5700845" y="3494100"/>
                </a:lnTo>
                <a:lnTo>
                  <a:pt x="5691303" y="3493046"/>
                </a:lnTo>
                <a:lnTo>
                  <a:pt x="5682292" y="3492519"/>
                </a:lnTo>
                <a:lnTo>
                  <a:pt x="5664799" y="3490411"/>
                </a:lnTo>
                <a:lnTo>
                  <a:pt x="5648896" y="3486723"/>
                </a:lnTo>
                <a:lnTo>
                  <a:pt x="5626103" y="3479872"/>
                </a:lnTo>
                <a:lnTo>
                  <a:pt x="5616562" y="3476710"/>
                </a:lnTo>
                <a:lnTo>
                  <a:pt x="5618152" y="3473021"/>
                </a:lnTo>
                <a:lnTo>
                  <a:pt x="5619742" y="3468806"/>
                </a:lnTo>
                <a:lnTo>
                  <a:pt x="5621332" y="3465117"/>
                </a:lnTo>
                <a:lnTo>
                  <a:pt x="5623453" y="3461955"/>
                </a:lnTo>
                <a:lnTo>
                  <a:pt x="5628754" y="3456158"/>
                </a:lnTo>
                <a:lnTo>
                  <a:pt x="5633560" y="3451380"/>
                </a:lnTo>
                <a:lnTo>
                  <a:pt x="5632963" y="3451748"/>
                </a:lnTo>
                <a:lnTo>
                  <a:pt x="5639304" y="3446456"/>
                </a:lnTo>
                <a:lnTo>
                  <a:pt x="5641969" y="3444677"/>
                </a:lnTo>
                <a:lnTo>
                  <a:pt x="5644126" y="3442984"/>
                </a:lnTo>
                <a:lnTo>
                  <a:pt x="5645430" y="3442408"/>
                </a:lnTo>
                <a:lnTo>
                  <a:pt x="5649872" y="3439577"/>
                </a:lnTo>
                <a:lnTo>
                  <a:pt x="5656741" y="3434285"/>
                </a:lnTo>
                <a:lnTo>
                  <a:pt x="5664667" y="3429523"/>
                </a:lnTo>
                <a:lnTo>
                  <a:pt x="5672593" y="3423702"/>
                </a:lnTo>
                <a:lnTo>
                  <a:pt x="5682633" y="3418410"/>
                </a:lnTo>
                <a:lnTo>
                  <a:pt x="5693200" y="3411531"/>
                </a:lnTo>
                <a:lnTo>
                  <a:pt x="5704825" y="3405181"/>
                </a:lnTo>
                <a:lnTo>
                  <a:pt x="5706457" y="3404257"/>
                </a:lnTo>
                <a:lnTo>
                  <a:pt x="5708109" y="3403029"/>
                </a:lnTo>
                <a:lnTo>
                  <a:pt x="5709696" y="3401980"/>
                </a:lnTo>
                <a:lnTo>
                  <a:pt x="5711813" y="3400930"/>
                </a:lnTo>
                <a:lnTo>
                  <a:pt x="5714459" y="3399356"/>
                </a:lnTo>
                <a:lnTo>
                  <a:pt x="5714987" y="3398831"/>
                </a:lnTo>
                <a:lnTo>
                  <a:pt x="5715208" y="3399304"/>
                </a:lnTo>
                <a:lnTo>
                  <a:pt x="5716979" y="3398302"/>
                </a:lnTo>
                <a:lnTo>
                  <a:pt x="5730717" y="3392481"/>
                </a:lnTo>
                <a:lnTo>
                  <a:pt x="5744983" y="3385602"/>
                </a:lnTo>
                <a:lnTo>
                  <a:pt x="5760306" y="3379252"/>
                </a:lnTo>
                <a:lnTo>
                  <a:pt x="5776159" y="3373431"/>
                </a:lnTo>
                <a:lnTo>
                  <a:pt x="5793596" y="3368139"/>
                </a:lnTo>
                <a:lnTo>
                  <a:pt x="5812090" y="3363377"/>
                </a:lnTo>
                <a:lnTo>
                  <a:pt x="5831113" y="3360202"/>
                </a:lnTo>
                <a:lnTo>
                  <a:pt x="5841151" y="3358614"/>
                </a:lnTo>
                <a:lnTo>
                  <a:pt x="5850663" y="3358085"/>
                </a:lnTo>
                <a:lnTo>
                  <a:pt x="5853305" y="3358085"/>
                </a:lnTo>
                <a:lnTo>
                  <a:pt x="5855418" y="3358085"/>
                </a:lnTo>
                <a:lnTo>
                  <a:pt x="5858589" y="3357556"/>
                </a:lnTo>
                <a:lnTo>
                  <a:pt x="5859117" y="3357556"/>
                </a:lnTo>
                <a:lnTo>
                  <a:pt x="5860174" y="3357556"/>
                </a:lnTo>
                <a:lnTo>
                  <a:pt x="5860703" y="3357556"/>
                </a:lnTo>
                <a:lnTo>
                  <a:pt x="5865987" y="3357556"/>
                </a:lnTo>
                <a:lnTo>
                  <a:pt x="5871270" y="3358085"/>
                </a:lnTo>
                <a:lnTo>
                  <a:pt x="5881838" y="3358614"/>
                </a:lnTo>
                <a:lnTo>
                  <a:pt x="5893463" y="3361789"/>
                </a:lnTo>
                <a:lnTo>
                  <a:pt x="5904031" y="3364964"/>
                </a:lnTo>
                <a:lnTo>
                  <a:pt x="5914071" y="3370256"/>
                </a:lnTo>
                <a:lnTo>
                  <a:pt x="5917242" y="3371314"/>
                </a:lnTo>
                <a:lnTo>
                  <a:pt x="5919354" y="3372373"/>
                </a:lnTo>
                <a:lnTo>
                  <a:pt x="5921468" y="3373960"/>
                </a:lnTo>
                <a:lnTo>
                  <a:pt x="5924110" y="3375548"/>
                </a:lnTo>
                <a:lnTo>
                  <a:pt x="5929394" y="3379252"/>
                </a:lnTo>
                <a:lnTo>
                  <a:pt x="5933093" y="3383485"/>
                </a:lnTo>
                <a:lnTo>
                  <a:pt x="5941547" y="3391423"/>
                </a:lnTo>
                <a:lnTo>
                  <a:pt x="5948945" y="3400948"/>
                </a:lnTo>
                <a:lnTo>
                  <a:pt x="5955814" y="3409943"/>
                </a:lnTo>
                <a:lnTo>
                  <a:pt x="5962154" y="3420527"/>
                </a:lnTo>
                <a:lnTo>
                  <a:pt x="5966382" y="3430581"/>
                </a:lnTo>
                <a:lnTo>
                  <a:pt x="5971137" y="3442223"/>
                </a:lnTo>
                <a:lnTo>
                  <a:pt x="5974836" y="3452806"/>
                </a:lnTo>
                <a:lnTo>
                  <a:pt x="5978007" y="3463918"/>
                </a:lnTo>
                <a:lnTo>
                  <a:pt x="5981177" y="3475560"/>
                </a:lnTo>
                <a:lnTo>
                  <a:pt x="5983291" y="3487202"/>
                </a:lnTo>
                <a:lnTo>
                  <a:pt x="5983819" y="3492493"/>
                </a:lnTo>
                <a:lnTo>
                  <a:pt x="5984876" y="3498314"/>
                </a:lnTo>
                <a:lnTo>
                  <a:pt x="5984876" y="3504664"/>
                </a:lnTo>
                <a:lnTo>
                  <a:pt x="5985404" y="3510485"/>
                </a:lnTo>
                <a:lnTo>
                  <a:pt x="5985404" y="3512073"/>
                </a:lnTo>
                <a:lnTo>
                  <a:pt x="5985404" y="3513660"/>
                </a:lnTo>
                <a:lnTo>
                  <a:pt x="5985404" y="3516835"/>
                </a:lnTo>
                <a:lnTo>
                  <a:pt x="5986461" y="3522127"/>
                </a:lnTo>
                <a:lnTo>
                  <a:pt x="5986461" y="3533239"/>
                </a:lnTo>
                <a:lnTo>
                  <a:pt x="5988574" y="3622139"/>
                </a:lnTo>
                <a:lnTo>
                  <a:pt x="5990688" y="3707864"/>
                </a:lnTo>
                <a:lnTo>
                  <a:pt x="5992274" y="3788827"/>
                </a:lnTo>
                <a:lnTo>
                  <a:pt x="5993330" y="3861323"/>
                </a:lnTo>
                <a:lnTo>
                  <a:pt x="5993858" y="3923235"/>
                </a:lnTo>
                <a:lnTo>
                  <a:pt x="5994387" y="3970331"/>
                </a:lnTo>
                <a:lnTo>
                  <a:pt x="5994387" y="3986477"/>
                </a:lnTo>
                <a:lnTo>
                  <a:pt x="6006311" y="3984092"/>
                </a:lnTo>
                <a:lnTo>
                  <a:pt x="6021665" y="3981973"/>
                </a:lnTo>
                <a:lnTo>
                  <a:pt x="6037018" y="3981443"/>
                </a:lnTo>
                <a:lnTo>
                  <a:pt x="6051312" y="3981443"/>
                </a:lnTo>
                <a:lnTo>
                  <a:pt x="6057665" y="3981973"/>
                </a:lnTo>
                <a:lnTo>
                  <a:pt x="6064548" y="3983562"/>
                </a:lnTo>
                <a:lnTo>
                  <a:pt x="6069842" y="3985151"/>
                </a:lnTo>
                <a:lnTo>
                  <a:pt x="6075666" y="3987270"/>
                </a:lnTo>
                <a:lnTo>
                  <a:pt x="6085725" y="3992566"/>
                </a:lnTo>
                <a:lnTo>
                  <a:pt x="6095784" y="3998923"/>
                </a:lnTo>
                <a:lnTo>
                  <a:pt x="6105314" y="4006338"/>
                </a:lnTo>
                <a:lnTo>
                  <a:pt x="6115373" y="4014283"/>
                </a:lnTo>
                <a:lnTo>
                  <a:pt x="6134433" y="4031763"/>
                </a:lnTo>
                <a:lnTo>
                  <a:pt x="6152962" y="4049772"/>
                </a:lnTo>
                <a:lnTo>
                  <a:pt x="6162492" y="4059306"/>
                </a:lnTo>
                <a:lnTo>
                  <a:pt x="6172551" y="4067251"/>
                </a:lnTo>
                <a:lnTo>
                  <a:pt x="6181552" y="4075196"/>
                </a:lnTo>
                <a:lnTo>
                  <a:pt x="6192140" y="4082082"/>
                </a:lnTo>
                <a:lnTo>
                  <a:pt x="6203258" y="4087908"/>
                </a:lnTo>
                <a:lnTo>
                  <a:pt x="6213847" y="4093205"/>
                </a:lnTo>
                <a:lnTo>
                  <a:pt x="6219141" y="4094794"/>
                </a:lnTo>
                <a:lnTo>
                  <a:pt x="6224965" y="4097442"/>
                </a:lnTo>
                <a:lnTo>
                  <a:pt x="6230259" y="4097972"/>
                </a:lnTo>
                <a:lnTo>
                  <a:pt x="6236612" y="4098502"/>
                </a:lnTo>
                <a:lnTo>
                  <a:pt x="6248789" y="4100091"/>
                </a:lnTo>
                <a:lnTo>
                  <a:pt x="6260436" y="4102739"/>
                </a:lnTo>
                <a:lnTo>
                  <a:pt x="6271025" y="4106447"/>
                </a:lnTo>
                <a:lnTo>
                  <a:pt x="6282143" y="4110155"/>
                </a:lnTo>
                <a:lnTo>
                  <a:pt x="6292202" y="4114922"/>
                </a:lnTo>
                <a:lnTo>
                  <a:pt x="6302261" y="4119159"/>
                </a:lnTo>
                <a:lnTo>
                  <a:pt x="6312320" y="4125515"/>
                </a:lnTo>
                <a:lnTo>
                  <a:pt x="6321321" y="4131342"/>
                </a:lnTo>
                <a:lnTo>
                  <a:pt x="6329792" y="4138228"/>
                </a:lnTo>
                <a:lnTo>
                  <a:pt x="6337733" y="4145113"/>
                </a:lnTo>
                <a:lnTo>
                  <a:pt x="6345674" y="4153059"/>
                </a:lnTo>
                <a:lnTo>
                  <a:pt x="6353086" y="4160474"/>
                </a:lnTo>
                <a:lnTo>
                  <a:pt x="6359969" y="4168419"/>
                </a:lnTo>
                <a:lnTo>
                  <a:pt x="6366852" y="4176364"/>
                </a:lnTo>
                <a:lnTo>
                  <a:pt x="6373205" y="4184839"/>
                </a:lnTo>
                <a:lnTo>
                  <a:pt x="6379028" y="4193314"/>
                </a:lnTo>
                <a:lnTo>
                  <a:pt x="6385382" y="4202319"/>
                </a:lnTo>
                <a:lnTo>
                  <a:pt x="6394382" y="4213442"/>
                </a:lnTo>
                <a:lnTo>
                  <a:pt x="6404970" y="4224565"/>
                </a:lnTo>
                <a:lnTo>
                  <a:pt x="6417147" y="4237807"/>
                </a:lnTo>
                <a:lnTo>
                  <a:pt x="6430383" y="4251578"/>
                </a:lnTo>
                <a:lnTo>
                  <a:pt x="6443089" y="4266409"/>
                </a:lnTo>
                <a:lnTo>
                  <a:pt x="6456325" y="4281770"/>
                </a:lnTo>
                <a:lnTo>
                  <a:pt x="6468502" y="4297660"/>
                </a:lnTo>
                <a:lnTo>
                  <a:pt x="6479620" y="4314610"/>
                </a:lnTo>
                <a:lnTo>
                  <a:pt x="6489679" y="4330500"/>
                </a:lnTo>
                <a:lnTo>
                  <a:pt x="6494444" y="4338975"/>
                </a:lnTo>
                <a:lnTo>
                  <a:pt x="6497091" y="4347450"/>
                </a:lnTo>
                <a:lnTo>
                  <a:pt x="6500268" y="4355925"/>
                </a:lnTo>
                <a:lnTo>
                  <a:pt x="6502915" y="4364400"/>
                </a:lnTo>
                <a:lnTo>
                  <a:pt x="6504806" y="4371968"/>
                </a:lnTo>
                <a:lnTo>
                  <a:pt x="7741994" y="4371968"/>
                </a:lnTo>
                <a:lnTo>
                  <a:pt x="7744340" y="4364400"/>
                </a:lnTo>
                <a:lnTo>
                  <a:pt x="7749632" y="4349039"/>
                </a:lnTo>
                <a:lnTo>
                  <a:pt x="7755453" y="4333678"/>
                </a:lnTo>
                <a:lnTo>
                  <a:pt x="7762332" y="4318318"/>
                </a:lnTo>
                <a:lnTo>
                  <a:pt x="7769211" y="4304016"/>
                </a:lnTo>
                <a:lnTo>
                  <a:pt x="7777149" y="4288656"/>
                </a:lnTo>
                <a:lnTo>
                  <a:pt x="7785086" y="4274355"/>
                </a:lnTo>
                <a:lnTo>
                  <a:pt x="7794611" y="4260583"/>
                </a:lnTo>
                <a:lnTo>
                  <a:pt x="7804136" y="4246811"/>
                </a:lnTo>
                <a:lnTo>
                  <a:pt x="7815249" y="4233569"/>
                </a:lnTo>
                <a:lnTo>
                  <a:pt x="7825832" y="4221387"/>
                </a:lnTo>
                <a:lnTo>
                  <a:pt x="7838003" y="4210264"/>
                </a:lnTo>
                <a:lnTo>
                  <a:pt x="7850703" y="4199670"/>
                </a:lnTo>
                <a:lnTo>
                  <a:pt x="7864461" y="4190136"/>
                </a:lnTo>
                <a:lnTo>
                  <a:pt x="7879807" y="4181131"/>
                </a:lnTo>
                <a:lnTo>
                  <a:pt x="7895153" y="4174246"/>
                </a:lnTo>
                <a:lnTo>
                  <a:pt x="7926374" y="4160474"/>
                </a:lnTo>
                <a:lnTo>
                  <a:pt x="7956007" y="4146702"/>
                </a:lnTo>
                <a:lnTo>
                  <a:pt x="7983524" y="4132931"/>
                </a:lnTo>
                <a:lnTo>
                  <a:pt x="8009453" y="4120219"/>
                </a:lnTo>
                <a:lnTo>
                  <a:pt x="8032736" y="4106977"/>
                </a:lnTo>
                <a:lnTo>
                  <a:pt x="8054961" y="4094794"/>
                </a:lnTo>
                <a:lnTo>
                  <a:pt x="8075070" y="4082612"/>
                </a:lnTo>
                <a:lnTo>
                  <a:pt x="8093061" y="4072018"/>
                </a:lnTo>
                <a:lnTo>
                  <a:pt x="8123753" y="4052420"/>
                </a:lnTo>
                <a:lnTo>
                  <a:pt x="8144920" y="4037059"/>
                </a:lnTo>
                <a:lnTo>
                  <a:pt x="8158678" y="4026995"/>
                </a:lnTo>
                <a:lnTo>
                  <a:pt x="8163441" y="4023817"/>
                </a:lnTo>
                <a:lnTo>
                  <a:pt x="8169261" y="4020639"/>
                </a:lnTo>
                <a:lnTo>
                  <a:pt x="8185136" y="4014813"/>
                </a:lnTo>
                <a:lnTo>
                  <a:pt x="8208949" y="4005808"/>
                </a:lnTo>
                <a:lnTo>
                  <a:pt x="8236995" y="3995744"/>
                </a:lnTo>
                <a:lnTo>
                  <a:pt x="8253399" y="3992037"/>
                </a:lnTo>
                <a:lnTo>
                  <a:pt x="8262402" y="3989333"/>
                </a:lnTo>
                <a:lnTo>
                  <a:pt x="8262402" y="3988910"/>
                </a:lnTo>
                <a:lnTo>
                  <a:pt x="8262402" y="3966167"/>
                </a:lnTo>
                <a:lnTo>
                  <a:pt x="8261345" y="3943423"/>
                </a:lnTo>
                <a:lnTo>
                  <a:pt x="8260817" y="3936547"/>
                </a:lnTo>
                <a:lnTo>
                  <a:pt x="8260288" y="3929142"/>
                </a:lnTo>
                <a:lnTo>
                  <a:pt x="8257645" y="3900581"/>
                </a:lnTo>
                <a:lnTo>
                  <a:pt x="8253946" y="3872019"/>
                </a:lnTo>
                <a:lnTo>
                  <a:pt x="8249189" y="3843458"/>
                </a:lnTo>
                <a:lnTo>
                  <a:pt x="8242318" y="3815425"/>
                </a:lnTo>
                <a:lnTo>
                  <a:pt x="8232804" y="3776285"/>
                </a:lnTo>
                <a:lnTo>
                  <a:pt x="8221177" y="3738203"/>
                </a:lnTo>
                <a:lnTo>
                  <a:pt x="8208492" y="3700121"/>
                </a:lnTo>
                <a:lnTo>
                  <a:pt x="8193693" y="3662039"/>
                </a:lnTo>
                <a:lnTo>
                  <a:pt x="8178894" y="3625014"/>
                </a:lnTo>
                <a:lnTo>
                  <a:pt x="8162510" y="3588519"/>
                </a:lnTo>
                <a:lnTo>
                  <a:pt x="8145069" y="3551495"/>
                </a:lnTo>
                <a:lnTo>
                  <a:pt x="8127627" y="3514999"/>
                </a:lnTo>
                <a:lnTo>
                  <a:pt x="8126041" y="3512355"/>
                </a:lnTo>
                <a:lnTo>
                  <a:pt x="8124456" y="3509181"/>
                </a:lnTo>
                <a:lnTo>
                  <a:pt x="8114942" y="3490669"/>
                </a:lnTo>
                <a:lnTo>
                  <a:pt x="8105429" y="3471628"/>
                </a:lnTo>
                <a:lnTo>
                  <a:pt x="8095915" y="3453645"/>
                </a:lnTo>
                <a:lnTo>
                  <a:pt x="8084816" y="3435133"/>
                </a:lnTo>
                <a:lnTo>
                  <a:pt x="8075303" y="3416621"/>
                </a:lnTo>
                <a:lnTo>
                  <a:pt x="8064732" y="3398637"/>
                </a:lnTo>
                <a:lnTo>
                  <a:pt x="8054690" y="3380125"/>
                </a:lnTo>
                <a:lnTo>
                  <a:pt x="8044119" y="3362142"/>
                </a:lnTo>
                <a:lnTo>
                  <a:pt x="8039363" y="3353679"/>
                </a:lnTo>
                <a:lnTo>
                  <a:pt x="8034606" y="3345746"/>
                </a:lnTo>
                <a:lnTo>
                  <a:pt x="8024035" y="3328291"/>
                </a:lnTo>
                <a:lnTo>
                  <a:pt x="8013993" y="3310308"/>
                </a:lnTo>
                <a:lnTo>
                  <a:pt x="8003423" y="3292854"/>
                </a:lnTo>
                <a:lnTo>
                  <a:pt x="7992852" y="3274342"/>
                </a:lnTo>
                <a:lnTo>
                  <a:pt x="7992323" y="3273813"/>
                </a:lnTo>
                <a:lnTo>
                  <a:pt x="7991266" y="3272226"/>
                </a:lnTo>
                <a:lnTo>
                  <a:pt x="7982281" y="3256887"/>
                </a:lnTo>
                <a:lnTo>
                  <a:pt x="7973296" y="3241549"/>
                </a:lnTo>
                <a:lnTo>
                  <a:pt x="7963783" y="3225681"/>
                </a:lnTo>
                <a:lnTo>
                  <a:pt x="7954798" y="3210342"/>
                </a:lnTo>
                <a:lnTo>
                  <a:pt x="7945813" y="3194475"/>
                </a:lnTo>
                <a:lnTo>
                  <a:pt x="7936828" y="3179137"/>
                </a:lnTo>
                <a:lnTo>
                  <a:pt x="7927314" y="3163269"/>
                </a:lnTo>
                <a:lnTo>
                  <a:pt x="7918329" y="3147930"/>
                </a:lnTo>
                <a:lnTo>
                  <a:pt x="7917801" y="3146344"/>
                </a:lnTo>
                <a:lnTo>
                  <a:pt x="7916744" y="3145814"/>
                </a:lnTo>
                <a:lnTo>
                  <a:pt x="7905645" y="3125716"/>
                </a:lnTo>
                <a:lnTo>
                  <a:pt x="7894017" y="3106674"/>
                </a:lnTo>
                <a:lnTo>
                  <a:pt x="7883446" y="3087104"/>
                </a:lnTo>
                <a:lnTo>
                  <a:pt x="7871819" y="3067006"/>
                </a:lnTo>
                <a:lnTo>
                  <a:pt x="7861248" y="3047436"/>
                </a:lnTo>
                <a:lnTo>
                  <a:pt x="7850677" y="3027337"/>
                </a:lnTo>
                <a:lnTo>
                  <a:pt x="7840107" y="3007767"/>
                </a:lnTo>
                <a:lnTo>
                  <a:pt x="7829536" y="2987668"/>
                </a:lnTo>
                <a:lnTo>
                  <a:pt x="7840635" y="3005122"/>
                </a:lnTo>
                <a:lnTo>
                  <a:pt x="7851206" y="3023106"/>
                </a:lnTo>
                <a:lnTo>
                  <a:pt x="7862834" y="3041089"/>
                </a:lnTo>
                <a:lnTo>
                  <a:pt x="7874461" y="3058014"/>
                </a:lnTo>
                <a:lnTo>
                  <a:pt x="7886617" y="3075468"/>
                </a:lnTo>
                <a:lnTo>
                  <a:pt x="7897717" y="3092923"/>
                </a:lnTo>
                <a:lnTo>
                  <a:pt x="7909873" y="3110377"/>
                </a:lnTo>
                <a:lnTo>
                  <a:pt x="7921500" y="3127831"/>
                </a:lnTo>
                <a:lnTo>
                  <a:pt x="7927314" y="3136294"/>
                </a:lnTo>
                <a:lnTo>
                  <a:pt x="7933657" y="3145814"/>
                </a:lnTo>
                <a:lnTo>
                  <a:pt x="7942113" y="3156922"/>
                </a:lnTo>
                <a:lnTo>
                  <a:pt x="7950570" y="3168558"/>
                </a:lnTo>
                <a:lnTo>
                  <a:pt x="7958498" y="3179665"/>
                </a:lnTo>
                <a:lnTo>
                  <a:pt x="7966425" y="3191831"/>
                </a:lnTo>
                <a:lnTo>
                  <a:pt x="7968011" y="3194475"/>
                </a:lnTo>
                <a:lnTo>
                  <a:pt x="7969597" y="3196062"/>
                </a:lnTo>
                <a:lnTo>
                  <a:pt x="7975939" y="3205053"/>
                </a:lnTo>
                <a:lnTo>
                  <a:pt x="7982281" y="3214045"/>
                </a:lnTo>
                <a:lnTo>
                  <a:pt x="7985453" y="3217747"/>
                </a:lnTo>
                <a:lnTo>
                  <a:pt x="7988624" y="3222508"/>
                </a:lnTo>
                <a:lnTo>
                  <a:pt x="8027735" y="3279102"/>
                </a:lnTo>
                <a:lnTo>
                  <a:pt x="8067375" y="3335167"/>
                </a:lnTo>
                <a:lnTo>
                  <a:pt x="8107014" y="3393348"/>
                </a:lnTo>
                <a:lnTo>
                  <a:pt x="8145069" y="3451000"/>
                </a:lnTo>
                <a:lnTo>
                  <a:pt x="8163567" y="3480620"/>
                </a:lnTo>
                <a:lnTo>
                  <a:pt x="8181537" y="3510768"/>
                </a:lnTo>
                <a:lnTo>
                  <a:pt x="8198979" y="3540916"/>
                </a:lnTo>
                <a:lnTo>
                  <a:pt x="8215892" y="3571594"/>
                </a:lnTo>
                <a:lnTo>
                  <a:pt x="8232804" y="3602800"/>
                </a:lnTo>
                <a:lnTo>
                  <a:pt x="8248132" y="3634006"/>
                </a:lnTo>
                <a:lnTo>
                  <a:pt x="8262931" y="3666270"/>
                </a:lnTo>
                <a:lnTo>
                  <a:pt x="8277730" y="3698534"/>
                </a:lnTo>
                <a:lnTo>
                  <a:pt x="8285129" y="3715459"/>
                </a:lnTo>
                <a:lnTo>
                  <a:pt x="8292000" y="3732914"/>
                </a:lnTo>
                <a:lnTo>
                  <a:pt x="8298871" y="3750368"/>
                </a:lnTo>
                <a:lnTo>
                  <a:pt x="8305742" y="3768351"/>
                </a:lnTo>
                <a:lnTo>
                  <a:pt x="8314198" y="3760417"/>
                </a:lnTo>
                <a:lnTo>
                  <a:pt x="8323183" y="3753013"/>
                </a:lnTo>
                <a:lnTo>
                  <a:pt x="8332168" y="3745079"/>
                </a:lnTo>
                <a:lnTo>
                  <a:pt x="8341682" y="3738203"/>
                </a:lnTo>
                <a:lnTo>
                  <a:pt x="8362294" y="3720749"/>
                </a:lnTo>
                <a:lnTo>
                  <a:pt x="8382378" y="3704352"/>
                </a:lnTo>
                <a:lnTo>
                  <a:pt x="8402991" y="3686369"/>
                </a:lnTo>
                <a:lnTo>
                  <a:pt x="8423604" y="3668915"/>
                </a:lnTo>
                <a:lnTo>
                  <a:pt x="8444216" y="3651460"/>
                </a:lnTo>
                <a:lnTo>
                  <a:pt x="8464300" y="3633477"/>
                </a:lnTo>
                <a:lnTo>
                  <a:pt x="8483856" y="3614965"/>
                </a:lnTo>
                <a:lnTo>
                  <a:pt x="8503412" y="3596453"/>
                </a:lnTo>
                <a:lnTo>
                  <a:pt x="8504997" y="3595395"/>
                </a:lnTo>
                <a:lnTo>
                  <a:pt x="8506583" y="3593808"/>
                </a:lnTo>
                <a:lnTo>
                  <a:pt x="8533538" y="3566833"/>
                </a:lnTo>
                <a:lnTo>
                  <a:pt x="8559436" y="3538801"/>
                </a:lnTo>
                <a:lnTo>
                  <a:pt x="8571592" y="3525049"/>
                </a:lnTo>
                <a:lnTo>
                  <a:pt x="8583748" y="3510768"/>
                </a:lnTo>
                <a:lnTo>
                  <a:pt x="8594847" y="3495958"/>
                </a:lnTo>
                <a:lnTo>
                  <a:pt x="8606475" y="3481677"/>
                </a:lnTo>
                <a:lnTo>
                  <a:pt x="8617045" y="3466339"/>
                </a:lnTo>
                <a:lnTo>
                  <a:pt x="8627088" y="3451000"/>
                </a:lnTo>
                <a:lnTo>
                  <a:pt x="8636601" y="3435133"/>
                </a:lnTo>
                <a:lnTo>
                  <a:pt x="8646643" y="3419265"/>
                </a:lnTo>
                <a:lnTo>
                  <a:pt x="8655100" y="3402869"/>
                </a:lnTo>
                <a:lnTo>
                  <a:pt x="8663556" y="3387001"/>
                </a:lnTo>
                <a:lnTo>
                  <a:pt x="8670955" y="3370605"/>
                </a:lnTo>
                <a:lnTo>
                  <a:pt x="8678883" y="3352621"/>
                </a:lnTo>
                <a:lnTo>
                  <a:pt x="8682583" y="3343630"/>
                </a:lnTo>
                <a:lnTo>
                  <a:pt x="8685754" y="3334638"/>
                </a:lnTo>
                <a:lnTo>
                  <a:pt x="8692625" y="3314011"/>
                </a:lnTo>
                <a:lnTo>
                  <a:pt x="8698439" y="3292854"/>
                </a:lnTo>
                <a:lnTo>
                  <a:pt x="8703724" y="3270639"/>
                </a:lnTo>
                <a:lnTo>
                  <a:pt x="8707424" y="3247896"/>
                </a:lnTo>
                <a:lnTo>
                  <a:pt x="8706896" y="3262176"/>
                </a:lnTo>
                <a:lnTo>
                  <a:pt x="8705310" y="3275928"/>
                </a:lnTo>
                <a:lnTo>
                  <a:pt x="8703724" y="3289680"/>
                </a:lnTo>
                <a:lnTo>
                  <a:pt x="8701610" y="3303432"/>
                </a:lnTo>
                <a:lnTo>
                  <a:pt x="8700553" y="3305548"/>
                </a:lnTo>
                <a:lnTo>
                  <a:pt x="8700553" y="3307664"/>
                </a:lnTo>
                <a:lnTo>
                  <a:pt x="8698968" y="3314539"/>
                </a:lnTo>
                <a:lnTo>
                  <a:pt x="8698439" y="3320886"/>
                </a:lnTo>
                <a:lnTo>
                  <a:pt x="8696853" y="3326705"/>
                </a:lnTo>
                <a:lnTo>
                  <a:pt x="8695268" y="3333051"/>
                </a:lnTo>
                <a:lnTo>
                  <a:pt x="8693682" y="3338870"/>
                </a:lnTo>
                <a:lnTo>
                  <a:pt x="8692625" y="3345217"/>
                </a:lnTo>
                <a:lnTo>
                  <a:pt x="8691568" y="3348919"/>
                </a:lnTo>
                <a:lnTo>
                  <a:pt x="8691040" y="3352621"/>
                </a:lnTo>
                <a:lnTo>
                  <a:pt x="8689982" y="3354208"/>
                </a:lnTo>
                <a:lnTo>
                  <a:pt x="8689982" y="3355795"/>
                </a:lnTo>
                <a:lnTo>
                  <a:pt x="8689454" y="3355795"/>
                </a:lnTo>
                <a:lnTo>
                  <a:pt x="8686811" y="3365844"/>
                </a:lnTo>
                <a:lnTo>
                  <a:pt x="8684169" y="3374836"/>
                </a:lnTo>
                <a:lnTo>
                  <a:pt x="8680998" y="3383828"/>
                </a:lnTo>
                <a:lnTo>
                  <a:pt x="8677826" y="3393877"/>
                </a:lnTo>
                <a:lnTo>
                  <a:pt x="8677298" y="3393877"/>
                </a:lnTo>
                <a:lnTo>
                  <a:pt x="8674127" y="3402869"/>
                </a:lnTo>
                <a:lnTo>
                  <a:pt x="8670427" y="3412389"/>
                </a:lnTo>
                <a:lnTo>
                  <a:pt x="8668841" y="3416092"/>
                </a:lnTo>
                <a:lnTo>
                  <a:pt x="8667256" y="3419265"/>
                </a:lnTo>
                <a:lnTo>
                  <a:pt x="8667256" y="3419794"/>
                </a:lnTo>
                <a:lnTo>
                  <a:pt x="8666727" y="3420852"/>
                </a:lnTo>
                <a:lnTo>
                  <a:pt x="8667256" y="3420852"/>
                </a:lnTo>
                <a:lnTo>
                  <a:pt x="8665670" y="3423496"/>
                </a:lnTo>
                <a:lnTo>
                  <a:pt x="8664085" y="3426670"/>
                </a:lnTo>
                <a:lnTo>
                  <a:pt x="8663556" y="3428257"/>
                </a:lnTo>
                <a:lnTo>
                  <a:pt x="8663556" y="3428786"/>
                </a:lnTo>
                <a:lnTo>
                  <a:pt x="8663556" y="3429844"/>
                </a:lnTo>
                <a:lnTo>
                  <a:pt x="8662499" y="3429844"/>
                </a:lnTo>
                <a:lnTo>
                  <a:pt x="8662499" y="3430372"/>
                </a:lnTo>
                <a:lnTo>
                  <a:pt x="8661970" y="3431430"/>
                </a:lnTo>
                <a:lnTo>
                  <a:pt x="8649814" y="3457876"/>
                </a:lnTo>
                <a:lnTo>
                  <a:pt x="8635544" y="3484851"/>
                </a:lnTo>
                <a:lnTo>
                  <a:pt x="8620217" y="3510768"/>
                </a:lnTo>
                <a:lnTo>
                  <a:pt x="8603832" y="3535627"/>
                </a:lnTo>
                <a:lnTo>
                  <a:pt x="8586391" y="3561015"/>
                </a:lnTo>
                <a:lnTo>
                  <a:pt x="8568421" y="3585345"/>
                </a:lnTo>
                <a:lnTo>
                  <a:pt x="8549394" y="3609676"/>
                </a:lnTo>
                <a:lnTo>
                  <a:pt x="8530366" y="3633477"/>
                </a:lnTo>
                <a:lnTo>
                  <a:pt x="8529309" y="3633477"/>
                </a:lnTo>
                <a:lnTo>
                  <a:pt x="8517153" y="3648287"/>
                </a:lnTo>
                <a:lnTo>
                  <a:pt x="8503412" y="3663096"/>
                </a:lnTo>
                <a:lnTo>
                  <a:pt x="8490727" y="3677377"/>
                </a:lnTo>
                <a:lnTo>
                  <a:pt x="8477514" y="3692187"/>
                </a:lnTo>
                <a:lnTo>
                  <a:pt x="8476456" y="3693245"/>
                </a:lnTo>
                <a:lnTo>
                  <a:pt x="8475399" y="3694303"/>
                </a:lnTo>
                <a:lnTo>
                  <a:pt x="8473285" y="3697476"/>
                </a:lnTo>
                <a:lnTo>
                  <a:pt x="8470114" y="3700121"/>
                </a:lnTo>
                <a:lnTo>
                  <a:pt x="8469586" y="3701179"/>
                </a:lnTo>
                <a:lnTo>
                  <a:pt x="8468000" y="3702765"/>
                </a:lnTo>
                <a:lnTo>
                  <a:pt x="8444216" y="3727096"/>
                </a:lnTo>
                <a:lnTo>
                  <a:pt x="8421489" y="3751426"/>
                </a:lnTo>
                <a:lnTo>
                  <a:pt x="8397706" y="3775756"/>
                </a:lnTo>
                <a:lnTo>
                  <a:pt x="8374450" y="3799557"/>
                </a:lnTo>
                <a:lnTo>
                  <a:pt x="8369694" y="3803789"/>
                </a:lnTo>
                <a:lnTo>
                  <a:pt x="8364937" y="3808549"/>
                </a:lnTo>
                <a:lnTo>
                  <a:pt x="8359652" y="3814367"/>
                </a:lnTo>
                <a:lnTo>
                  <a:pt x="8353838" y="3820714"/>
                </a:lnTo>
                <a:lnTo>
                  <a:pt x="8347495" y="3827061"/>
                </a:lnTo>
                <a:lnTo>
                  <a:pt x="8342210" y="3832879"/>
                </a:lnTo>
                <a:lnTo>
                  <a:pt x="8340096" y="3834995"/>
                </a:lnTo>
                <a:lnTo>
                  <a:pt x="8337453" y="3837639"/>
                </a:lnTo>
                <a:lnTo>
                  <a:pt x="8333754" y="3841342"/>
                </a:lnTo>
                <a:lnTo>
                  <a:pt x="8330054" y="3845044"/>
                </a:lnTo>
                <a:lnTo>
                  <a:pt x="8331111" y="3849805"/>
                </a:lnTo>
                <a:lnTo>
                  <a:pt x="8331640" y="3854036"/>
                </a:lnTo>
                <a:lnTo>
                  <a:pt x="8334811" y="3867259"/>
                </a:lnTo>
                <a:lnTo>
                  <a:pt x="8337453" y="3879953"/>
                </a:lnTo>
                <a:lnTo>
                  <a:pt x="8340096" y="3893176"/>
                </a:lnTo>
                <a:lnTo>
                  <a:pt x="8342210" y="3905870"/>
                </a:lnTo>
                <a:lnTo>
                  <a:pt x="8345381" y="3924382"/>
                </a:lnTo>
                <a:lnTo>
                  <a:pt x="8347495" y="3941836"/>
                </a:lnTo>
                <a:lnTo>
                  <a:pt x="8350138" y="3960348"/>
                </a:lnTo>
                <a:lnTo>
                  <a:pt x="8351195" y="3978332"/>
                </a:lnTo>
                <a:lnTo>
                  <a:pt x="8351890" y="3986449"/>
                </a:lnTo>
                <a:lnTo>
                  <a:pt x="8353941" y="3987270"/>
                </a:lnTo>
                <a:lnTo>
                  <a:pt x="8364524" y="3992566"/>
                </a:lnTo>
                <a:lnTo>
                  <a:pt x="8374578" y="3998923"/>
                </a:lnTo>
                <a:lnTo>
                  <a:pt x="8384103" y="4006338"/>
                </a:lnTo>
                <a:lnTo>
                  <a:pt x="8394157" y="4014283"/>
                </a:lnTo>
                <a:lnTo>
                  <a:pt x="8412678" y="4031763"/>
                </a:lnTo>
                <a:lnTo>
                  <a:pt x="8431728" y="4049772"/>
                </a:lnTo>
                <a:lnTo>
                  <a:pt x="8440724" y="4059306"/>
                </a:lnTo>
                <a:lnTo>
                  <a:pt x="8450778" y="4067251"/>
                </a:lnTo>
                <a:lnTo>
                  <a:pt x="8460303" y="4075196"/>
                </a:lnTo>
                <a:lnTo>
                  <a:pt x="8470357" y="4082082"/>
                </a:lnTo>
                <a:lnTo>
                  <a:pt x="8480940" y="4087908"/>
                </a:lnTo>
                <a:lnTo>
                  <a:pt x="8491524" y="4093205"/>
                </a:lnTo>
                <a:lnTo>
                  <a:pt x="8497874" y="4094794"/>
                </a:lnTo>
                <a:lnTo>
                  <a:pt x="8503166" y="4097442"/>
                </a:lnTo>
                <a:lnTo>
                  <a:pt x="8508986" y="4097972"/>
                </a:lnTo>
                <a:lnTo>
                  <a:pt x="8515336" y="4098502"/>
                </a:lnTo>
                <a:lnTo>
                  <a:pt x="8526978" y="4100091"/>
                </a:lnTo>
                <a:lnTo>
                  <a:pt x="8539149" y="4102739"/>
                </a:lnTo>
                <a:lnTo>
                  <a:pt x="8549732" y="4106447"/>
                </a:lnTo>
                <a:lnTo>
                  <a:pt x="8560316" y="4110155"/>
                </a:lnTo>
                <a:lnTo>
                  <a:pt x="8570899" y="4114922"/>
                </a:lnTo>
                <a:lnTo>
                  <a:pt x="8580953" y="4119159"/>
                </a:lnTo>
                <a:lnTo>
                  <a:pt x="8589949" y="4125515"/>
                </a:lnTo>
                <a:lnTo>
                  <a:pt x="8598945" y="4131342"/>
                </a:lnTo>
                <a:lnTo>
                  <a:pt x="8608470" y="4138228"/>
                </a:lnTo>
                <a:lnTo>
                  <a:pt x="8615878" y="4145113"/>
                </a:lnTo>
                <a:lnTo>
                  <a:pt x="8624345" y="4153059"/>
                </a:lnTo>
                <a:lnTo>
                  <a:pt x="8631753" y="4160474"/>
                </a:lnTo>
                <a:lnTo>
                  <a:pt x="8638632" y="4168419"/>
                </a:lnTo>
                <a:lnTo>
                  <a:pt x="8645511" y="4176364"/>
                </a:lnTo>
                <a:lnTo>
                  <a:pt x="8651861" y="4184839"/>
                </a:lnTo>
                <a:lnTo>
                  <a:pt x="8657153" y="4193314"/>
                </a:lnTo>
                <a:lnTo>
                  <a:pt x="8664032" y="4202319"/>
                </a:lnTo>
                <a:lnTo>
                  <a:pt x="8673028" y="4213442"/>
                </a:lnTo>
                <a:lnTo>
                  <a:pt x="8683611" y="4224565"/>
                </a:lnTo>
                <a:lnTo>
                  <a:pt x="8695782" y="4237807"/>
                </a:lnTo>
                <a:lnTo>
                  <a:pt x="8709011" y="4251578"/>
                </a:lnTo>
                <a:lnTo>
                  <a:pt x="8721712" y="4266409"/>
                </a:lnTo>
                <a:lnTo>
                  <a:pt x="8734941" y="4281770"/>
                </a:lnTo>
                <a:lnTo>
                  <a:pt x="8747112" y="4297660"/>
                </a:lnTo>
                <a:lnTo>
                  <a:pt x="8758224" y="4314610"/>
                </a:lnTo>
                <a:lnTo>
                  <a:pt x="8768278" y="4330500"/>
                </a:lnTo>
                <a:lnTo>
                  <a:pt x="8771982" y="4338975"/>
                </a:lnTo>
                <a:lnTo>
                  <a:pt x="8775686" y="4347450"/>
                </a:lnTo>
                <a:lnTo>
                  <a:pt x="8778862" y="4355925"/>
                </a:lnTo>
                <a:lnTo>
                  <a:pt x="8781507" y="4364400"/>
                </a:lnTo>
                <a:lnTo>
                  <a:pt x="8782453" y="4371968"/>
                </a:lnTo>
                <a:lnTo>
                  <a:pt x="10021644" y="4371968"/>
                </a:lnTo>
                <a:lnTo>
                  <a:pt x="10023990" y="4364400"/>
                </a:lnTo>
                <a:lnTo>
                  <a:pt x="10029282" y="4349039"/>
                </a:lnTo>
                <a:lnTo>
                  <a:pt x="10035103" y="4333678"/>
                </a:lnTo>
                <a:lnTo>
                  <a:pt x="10041453" y="4318318"/>
                </a:lnTo>
                <a:lnTo>
                  <a:pt x="10048861" y="4304016"/>
                </a:lnTo>
                <a:lnTo>
                  <a:pt x="10056799" y="4288656"/>
                </a:lnTo>
                <a:lnTo>
                  <a:pt x="10065265" y="4274355"/>
                </a:lnTo>
                <a:lnTo>
                  <a:pt x="10074261" y="4260583"/>
                </a:lnTo>
                <a:lnTo>
                  <a:pt x="10083257" y="4246811"/>
                </a:lnTo>
                <a:lnTo>
                  <a:pt x="10093840" y="4233569"/>
                </a:lnTo>
                <a:lnTo>
                  <a:pt x="10105482" y="4221387"/>
                </a:lnTo>
                <a:lnTo>
                  <a:pt x="10117653" y="4210264"/>
                </a:lnTo>
                <a:lnTo>
                  <a:pt x="10130353" y="4199670"/>
                </a:lnTo>
                <a:lnTo>
                  <a:pt x="10144111" y="4190136"/>
                </a:lnTo>
                <a:lnTo>
                  <a:pt x="10158928" y="4181131"/>
                </a:lnTo>
                <a:lnTo>
                  <a:pt x="10174803" y="4174246"/>
                </a:lnTo>
                <a:lnTo>
                  <a:pt x="10206024" y="4160474"/>
                </a:lnTo>
                <a:lnTo>
                  <a:pt x="10235128" y="4146702"/>
                </a:lnTo>
                <a:lnTo>
                  <a:pt x="10262115" y="4132931"/>
                </a:lnTo>
                <a:lnTo>
                  <a:pt x="10288044" y="4120219"/>
                </a:lnTo>
                <a:lnTo>
                  <a:pt x="10312915" y="4106977"/>
                </a:lnTo>
                <a:lnTo>
                  <a:pt x="10334611" y="4094794"/>
                </a:lnTo>
                <a:lnTo>
                  <a:pt x="10354720" y="4082612"/>
                </a:lnTo>
                <a:lnTo>
                  <a:pt x="10372711" y="4072018"/>
                </a:lnTo>
                <a:lnTo>
                  <a:pt x="10402345" y="4052420"/>
                </a:lnTo>
                <a:lnTo>
                  <a:pt x="10424570" y="4037059"/>
                </a:lnTo>
                <a:lnTo>
                  <a:pt x="10438328" y="4026995"/>
                </a:lnTo>
                <a:lnTo>
                  <a:pt x="10442032" y="4023817"/>
                </a:lnTo>
                <a:lnTo>
                  <a:pt x="10444065" y="4022800"/>
                </a:lnTo>
                <a:lnTo>
                  <a:pt x="10474060" y="2547939"/>
                </a:lnTo>
                <a:lnTo>
                  <a:pt x="10441258" y="2513543"/>
                </a:lnTo>
                <a:lnTo>
                  <a:pt x="10408457" y="2479146"/>
                </a:lnTo>
                <a:lnTo>
                  <a:pt x="10375127" y="2446337"/>
                </a:lnTo>
                <a:lnTo>
                  <a:pt x="10340739" y="2413528"/>
                </a:lnTo>
                <a:lnTo>
                  <a:pt x="10306351" y="2382307"/>
                </a:lnTo>
                <a:lnTo>
                  <a:pt x="10272492" y="2352673"/>
                </a:lnTo>
                <a:lnTo>
                  <a:pt x="10238103" y="2323039"/>
                </a:lnTo>
                <a:lnTo>
                  <a:pt x="10203715" y="2294466"/>
                </a:lnTo>
                <a:lnTo>
                  <a:pt x="10169327" y="2266947"/>
                </a:lnTo>
                <a:lnTo>
                  <a:pt x="10134939" y="2240489"/>
                </a:lnTo>
                <a:lnTo>
                  <a:pt x="10101609" y="2215093"/>
                </a:lnTo>
                <a:lnTo>
                  <a:pt x="10068278" y="2190748"/>
                </a:lnTo>
                <a:lnTo>
                  <a:pt x="10035477" y="2167464"/>
                </a:lnTo>
                <a:lnTo>
                  <a:pt x="10003205" y="2145240"/>
                </a:lnTo>
                <a:lnTo>
                  <a:pt x="9971992" y="2123541"/>
                </a:lnTo>
                <a:lnTo>
                  <a:pt x="9942365" y="2103963"/>
                </a:lnTo>
                <a:lnTo>
                  <a:pt x="9884698" y="2066393"/>
                </a:lnTo>
                <a:lnTo>
                  <a:pt x="9831793" y="2034647"/>
                </a:lnTo>
                <a:lnTo>
                  <a:pt x="9785237" y="2006604"/>
                </a:lnTo>
                <a:lnTo>
                  <a:pt x="9745029" y="1983319"/>
                </a:lnTo>
                <a:lnTo>
                  <a:pt x="9712228" y="1965326"/>
                </a:lnTo>
                <a:lnTo>
                  <a:pt x="9687892" y="1952099"/>
                </a:lnTo>
                <a:lnTo>
                  <a:pt x="9672549" y="1944686"/>
                </a:lnTo>
                <a:lnTo>
                  <a:pt x="9667259" y="1941514"/>
                </a:lnTo>
                <a:lnTo>
                  <a:pt x="9490534" y="1922788"/>
                </a:lnTo>
                <a:lnTo>
                  <a:pt x="9476303" y="1933575"/>
                </a:lnTo>
                <a:lnTo>
                  <a:pt x="9442436" y="1958974"/>
                </a:lnTo>
                <a:lnTo>
                  <a:pt x="9424974" y="1971674"/>
                </a:lnTo>
                <a:lnTo>
                  <a:pt x="9407511" y="1983319"/>
                </a:lnTo>
                <a:lnTo>
                  <a:pt x="9390048" y="1994429"/>
                </a:lnTo>
                <a:lnTo>
                  <a:pt x="9372586" y="2005546"/>
                </a:lnTo>
                <a:lnTo>
                  <a:pt x="9354065" y="2015069"/>
                </a:lnTo>
                <a:lnTo>
                  <a:pt x="9336074" y="2024593"/>
                </a:lnTo>
                <a:lnTo>
                  <a:pt x="9317024" y="2031471"/>
                </a:lnTo>
                <a:lnTo>
                  <a:pt x="9298503" y="2037292"/>
                </a:lnTo>
                <a:lnTo>
                  <a:pt x="9288978" y="2040465"/>
                </a:lnTo>
                <a:lnTo>
                  <a:pt x="9278924" y="2042055"/>
                </a:lnTo>
                <a:lnTo>
                  <a:pt x="9268869" y="2044170"/>
                </a:lnTo>
                <a:lnTo>
                  <a:pt x="9258815" y="2045228"/>
                </a:lnTo>
                <a:lnTo>
                  <a:pt x="9249290" y="2045757"/>
                </a:lnTo>
                <a:lnTo>
                  <a:pt x="9239236" y="2046286"/>
                </a:lnTo>
                <a:lnTo>
                  <a:pt x="9229182" y="2045757"/>
                </a:lnTo>
                <a:lnTo>
                  <a:pt x="9218598" y="2045228"/>
                </a:lnTo>
                <a:lnTo>
                  <a:pt x="9208544" y="2044170"/>
                </a:lnTo>
                <a:lnTo>
                  <a:pt x="9199019" y="2042055"/>
                </a:lnTo>
                <a:lnTo>
                  <a:pt x="9188965" y="2039408"/>
                </a:lnTo>
                <a:lnTo>
                  <a:pt x="9178911" y="2037292"/>
                </a:lnTo>
                <a:lnTo>
                  <a:pt x="9169915" y="2034118"/>
                </a:lnTo>
                <a:lnTo>
                  <a:pt x="9159861" y="2030413"/>
                </a:lnTo>
                <a:lnTo>
                  <a:pt x="9150865" y="2026711"/>
                </a:lnTo>
                <a:lnTo>
                  <a:pt x="9141869" y="2023006"/>
                </a:lnTo>
                <a:lnTo>
                  <a:pt x="9124407" y="2013483"/>
                </a:lnTo>
                <a:lnTo>
                  <a:pt x="9106415" y="2002898"/>
                </a:lnTo>
                <a:lnTo>
                  <a:pt x="9090011" y="1990727"/>
                </a:lnTo>
                <a:lnTo>
                  <a:pt x="9073078" y="1978555"/>
                </a:lnTo>
                <a:lnTo>
                  <a:pt x="9057203" y="1964795"/>
                </a:lnTo>
                <a:lnTo>
                  <a:pt x="9041328" y="1951037"/>
                </a:lnTo>
                <a:lnTo>
                  <a:pt x="9025982" y="1936750"/>
                </a:lnTo>
                <a:lnTo>
                  <a:pt x="9010107" y="1921404"/>
                </a:lnTo>
                <a:lnTo>
                  <a:pt x="8979944" y="1890713"/>
                </a:lnTo>
                <a:lnTo>
                  <a:pt x="8950311" y="1860551"/>
                </a:lnTo>
                <a:lnTo>
                  <a:pt x="8965128" y="1845204"/>
                </a:lnTo>
                <a:lnTo>
                  <a:pt x="8979944" y="1829859"/>
                </a:lnTo>
                <a:lnTo>
                  <a:pt x="8996348" y="1815571"/>
                </a:lnTo>
                <a:lnTo>
                  <a:pt x="9012753" y="1800754"/>
                </a:lnTo>
                <a:lnTo>
                  <a:pt x="9029157" y="1787525"/>
                </a:lnTo>
                <a:lnTo>
                  <a:pt x="9046619" y="1774296"/>
                </a:lnTo>
                <a:lnTo>
                  <a:pt x="9064082" y="1762655"/>
                </a:lnTo>
                <a:lnTo>
                  <a:pt x="9082074" y="1751542"/>
                </a:lnTo>
                <a:lnTo>
                  <a:pt x="9100594" y="1741488"/>
                </a:lnTo>
                <a:lnTo>
                  <a:pt x="9119644" y="1732492"/>
                </a:lnTo>
                <a:lnTo>
                  <a:pt x="9138694" y="1724555"/>
                </a:lnTo>
                <a:lnTo>
                  <a:pt x="9157744" y="1718734"/>
                </a:lnTo>
                <a:lnTo>
                  <a:pt x="9167798" y="1716618"/>
                </a:lnTo>
                <a:lnTo>
                  <a:pt x="9177324" y="1713972"/>
                </a:lnTo>
                <a:lnTo>
                  <a:pt x="9187378" y="1712384"/>
                </a:lnTo>
                <a:lnTo>
                  <a:pt x="9197961" y="1710797"/>
                </a:lnTo>
                <a:lnTo>
                  <a:pt x="9208015" y="1710267"/>
                </a:lnTo>
                <a:lnTo>
                  <a:pt x="9218598" y="1709738"/>
                </a:lnTo>
                <a:lnTo>
                  <a:pt x="9228653" y="1709738"/>
                </a:lnTo>
                <a:lnTo>
                  <a:pt x="9239236" y="1710267"/>
                </a:lnTo>
                <a:lnTo>
                  <a:pt x="9249819" y="1710797"/>
                </a:lnTo>
                <a:lnTo>
                  <a:pt x="9259874" y="1712384"/>
                </a:lnTo>
                <a:lnTo>
                  <a:pt x="9269928" y="1715030"/>
                </a:lnTo>
                <a:lnTo>
                  <a:pt x="9279453" y="1717676"/>
                </a:lnTo>
                <a:lnTo>
                  <a:pt x="9289507" y="1720851"/>
                </a:lnTo>
                <a:lnTo>
                  <a:pt x="9299561" y="1724026"/>
                </a:lnTo>
                <a:lnTo>
                  <a:pt x="9309086" y="1727730"/>
                </a:lnTo>
                <a:lnTo>
                  <a:pt x="9318611" y="1732492"/>
                </a:lnTo>
                <a:lnTo>
                  <a:pt x="9336603" y="1741488"/>
                </a:lnTo>
                <a:lnTo>
                  <a:pt x="9354065" y="1753130"/>
                </a:lnTo>
                <a:lnTo>
                  <a:pt x="9372057" y="1765301"/>
                </a:lnTo>
                <a:lnTo>
                  <a:pt x="9388461" y="1778001"/>
                </a:lnTo>
                <a:lnTo>
                  <a:pt x="9405394" y="1792817"/>
                </a:lnTo>
                <a:lnTo>
                  <a:pt x="9420740" y="1807634"/>
                </a:lnTo>
                <a:lnTo>
                  <a:pt x="9436615" y="1824038"/>
                </a:lnTo>
                <a:lnTo>
                  <a:pt x="9451961" y="1839913"/>
                </a:lnTo>
                <a:lnTo>
                  <a:pt x="9480536" y="1874309"/>
                </a:lnTo>
                <a:lnTo>
                  <a:pt x="9485948" y="1880823"/>
                </a:lnTo>
                <a:lnTo>
                  <a:pt x="9650858" y="1888067"/>
                </a:lnTo>
                <a:lnTo>
                  <a:pt x="9642923" y="1882247"/>
                </a:lnTo>
                <a:lnTo>
                  <a:pt x="9632871" y="1873780"/>
                </a:lnTo>
                <a:lnTo>
                  <a:pt x="9623348" y="1863197"/>
                </a:lnTo>
                <a:lnTo>
                  <a:pt x="9611709" y="1849438"/>
                </a:lnTo>
                <a:lnTo>
                  <a:pt x="9588960" y="1819805"/>
                </a:lnTo>
                <a:lnTo>
                  <a:pt x="9567429" y="1788755"/>
                </a:lnTo>
                <a:lnTo>
                  <a:pt x="9566793" y="1803401"/>
                </a:lnTo>
                <a:lnTo>
                  <a:pt x="9542516" y="1796534"/>
                </a:lnTo>
                <a:lnTo>
                  <a:pt x="9516655" y="1788610"/>
                </a:lnTo>
                <a:lnTo>
                  <a:pt x="9503989" y="1784912"/>
                </a:lnTo>
                <a:lnTo>
                  <a:pt x="9490795" y="1780687"/>
                </a:lnTo>
                <a:lnTo>
                  <a:pt x="9478128" y="1774876"/>
                </a:lnTo>
                <a:lnTo>
                  <a:pt x="9465989" y="1769594"/>
                </a:lnTo>
                <a:lnTo>
                  <a:pt x="9454378" y="1762727"/>
                </a:lnTo>
                <a:lnTo>
                  <a:pt x="9442240" y="1755860"/>
                </a:lnTo>
                <a:lnTo>
                  <a:pt x="9431684" y="1748464"/>
                </a:lnTo>
                <a:lnTo>
                  <a:pt x="9421657" y="1739484"/>
                </a:lnTo>
                <a:lnTo>
                  <a:pt x="9411629" y="1729448"/>
                </a:lnTo>
                <a:lnTo>
                  <a:pt x="9403712" y="1717827"/>
                </a:lnTo>
                <a:lnTo>
                  <a:pt x="9398962" y="1712016"/>
                </a:lnTo>
                <a:lnTo>
                  <a:pt x="9395268" y="1705678"/>
                </a:lnTo>
                <a:lnTo>
                  <a:pt x="9392101" y="1698810"/>
                </a:lnTo>
                <a:lnTo>
                  <a:pt x="9388407" y="1691943"/>
                </a:lnTo>
                <a:lnTo>
                  <a:pt x="9383657" y="1681379"/>
                </a:lnTo>
                <a:lnTo>
                  <a:pt x="9379435" y="1670286"/>
                </a:lnTo>
                <a:lnTo>
                  <a:pt x="9376268" y="1658665"/>
                </a:lnTo>
                <a:lnTo>
                  <a:pt x="9373102" y="1647043"/>
                </a:lnTo>
                <a:lnTo>
                  <a:pt x="9370991" y="1635951"/>
                </a:lnTo>
                <a:lnTo>
                  <a:pt x="9369407" y="1623801"/>
                </a:lnTo>
                <a:lnTo>
                  <a:pt x="9368352" y="1612180"/>
                </a:lnTo>
                <a:lnTo>
                  <a:pt x="9367824" y="1600031"/>
                </a:lnTo>
                <a:lnTo>
                  <a:pt x="9367824" y="1575732"/>
                </a:lnTo>
                <a:lnTo>
                  <a:pt x="9368352" y="1551433"/>
                </a:lnTo>
                <a:lnTo>
                  <a:pt x="9370991" y="1527135"/>
                </a:lnTo>
                <a:lnTo>
                  <a:pt x="9373102" y="1503364"/>
                </a:lnTo>
                <a:lnTo>
                  <a:pt x="9395796" y="1512344"/>
                </a:lnTo>
                <a:lnTo>
                  <a:pt x="9419546" y="1520796"/>
                </a:lnTo>
                <a:lnTo>
                  <a:pt x="9442767" y="1530832"/>
                </a:lnTo>
                <a:lnTo>
                  <a:pt x="9465989" y="1541397"/>
                </a:lnTo>
                <a:lnTo>
                  <a:pt x="9477072" y="1547736"/>
                </a:lnTo>
                <a:lnTo>
                  <a:pt x="9487628" y="1554603"/>
                </a:lnTo>
                <a:lnTo>
                  <a:pt x="9497656" y="1561470"/>
                </a:lnTo>
                <a:lnTo>
                  <a:pt x="9507683" y="1569393"/>
                </a:lnTo>
                <a:lnTo>
                  <a:pt x="9516655" y="1578901"/>
                </a:lnTo>
                <a:lnTo>
                  <a:pt x="9525627" y="1588938"/>
                </a:lnTo>
                <a:lnTo>
                  <a:pt x="9533544" y="1599502"/>
                </a:lnTo>
                <a:lnTo>
                  <a:pt x="9540405" y="1611652"/>
                </a:lnTo>
                <a:lnTo>
                  <a:pt x="9546210" y="1622217"/>
                </a:lnTo>
                <a:lnTo>
                  <a:pt x="9551488" y="1633838"/>
                </a:lnTo>
                <a:lnTo>
                  <a:pt x="9555710" y="1644930"/>
                </a:lnTo>
                <a:lnTo>
                  <a:pt x="9559405" y="1656552"/>
                </a:lnTo>
                <a:lnTo>
                  <a:pt x="9561516" y="1667645"/>
                </a:lnTo>
                <a:lnTo>
                  <a:pt x="9563627" y="1679794"/>
                </a:lnTo>
                <a:lnTo>
                  <a:pt x="9565210" y="1691943"/>
                </a:lnTo>
                <a:lnTo>
                  <a:pt x="9566793" y="1704621"/>
                </a:lnTo>
                <a:lnTo>
                  <a:pt x="9567849" y="1729448"/>
                </a:lnTo>
                <a:lnTo>
                  <a:pt x="9567849" y="1750862"/>
                </a:lnTo>
                <a:lnTo>
                  <a:pt x="9568327" y="1751543"/>
                </a:lnTo>
                <a:lnTo>
                  <a:pt x="9583669" y="1770593"/>
                </a:lnTo>
                <a:lnTo>
                  <a:pt x="9599012" y="1789113"/>
                </a:lnTo>
                <a:lnTo>
                  <a:pt x="9615412" y="1806576"/>
                </a:lnTo>
                <a:lnTo>
                  <a:pt x="9632342" y="1824038"/>
                </a:lnTo>
                <a:lnTo>
                  <a:pt x="9649271" y="1840443"/>
                </a:lnTo>
                <a:lnTo>
                  <a:pt x="9666730" y="1856318"/>
                </a:lnTo>
                <a:lnTo>
                  <a:pt x="9684718" y="1871663"/>
                </a:lnTo>
                <a:lnTo>
                  <a:pt x="9703234" y="1885951"/>
                </a:lnTo>
                <a:lnTo>
                  <a:pt x="9721751" y="1899708"/>
                </a:lnTo>
                <a:lnTo>
                  <a:pt x="9739210" y="1912409"/>
                </a:lnTo>
                <a:lnTo>
                  <a:pt x="9757197" y="1925639"/>
                </a:lnTo>
                <a:lnTo>
                  <a:pt x="9775714" y="1936750"/>
                </a:lnTo>
                <a:lnTo>
                  <a:pt x="9793173" y="1948391"/>
                </a:lnTo>
                <a:lnTo>
                  <a:pt x="9826503" y="1969028"/>
                </a:lnTo>
                <a:lnTo>
                  <a:pt x="9858775" y="1986493"/>
                </a:lnTo>
                <a:lnTo>
                  <a:pt x="9887344" y="2001843"/>
                </a:lnTo>
                <a:lnTo>
                  <a:pt x="9913267" y="2014011"/>
                </a:lnTo>
                <a:lnTo>
                  <a:pt x="9950300" y="2030942"/>
                </a:lnTo>
                <a:lnTo>
                  <a:pt x="9963527" y="2036234"/>
                </a:lnTo>
                <a:lnTo>
                  <a:pt x="9971831" y="1963076"/>
                </a:lnTo>
                <a:lnTo>
                  <a:pt x="9966841" y="1972140"/>
                </a:lnTo>
                <a:lnTo>
                  <a:pt x="9957845" y="1987518"/>
                </a:lnTo>
                <a:lnTo>
                  <a:pt x="9947262" y="2001841"/>
                </a:lnTo>
                <a:lnTo>
                  <a:pt x="9940912" y="1994945"/>
                </a:lnTo>
                <a:lnTo>
                  <a:pt x="9935620" y="1987518"/>
                </a:lnTo>
                <a:lnTo>
                  <a:pt x="9931387" y="1979563"/>
                </a:lnTo>
                <a:lnTo>
                  <a:pt x="9926624" y="1972140"/>
                </a:lnTo>
                <a:lnTo>
                  <a:pt x="9921862" y="1964185"/>
                </a:lnTo>
                <a:lnTo>
                  <a:pt x="9918687" y="1956761"/>
                </a:lnTo>
                <a:lnTo>
                  <a:pt x="9914982" y="1949337"/>
                </a:lnTo>
                <a:lnTo>
                  <a:pt x="9912866" y="1941383"/>
                </a:lnTo>
                <a:lnTo>
                  <a:pt x="9909691" y="1933957"/>
                </a:lnTo>
                <a:lnTo>
                  <a:pt x="9908103" y="1926003"/>
                </a:lnTo>
                <a:lnTo>
                  <a:pt x="9906516" y="1917520"/>
                </a:lnTo>
                <a:lnTo>
                  <a:pt x="9905457" y="1910094"/>
                </a:lnTo>
                <a:lnTo>
                  <a:pt x="9904399" y="1902670"/>
                </a:lnTo>
                <a:lnTo>
                  <a:pt x="9904399" y="1894185"/>
                </a:lnTo>
                <a:lnTo>
                  <a:pt x="9904399" y="1886230"/>
                </a:lnTo>
                <a:lnTo>
                  <a:pt x="9905457" y="1878806"/>
                </a:lnTo>
                <a:lnTo>
                  <a:pt x="9906516" y="1862897"/>
                </a:lnTo>
                <a:lnTo>
                  <a:pt x="9909691" y="1846457"/>
                </a:lnTo>
                <a:lnTo>
                  <a:pt x="9914982" y="1831609"/>
                </a:lnTo>
                <a:lnTo>
                  <a:pt x="9921332" y="1815169"/>
                </a:lnTo>
                <a:lnTo>
                  <a:pt x="9928212" y="1800320"/>
                </a:lnTo>
                <a:lnTo>
                  <a:pt x="9936678" y="1784941"/>
                </a:lnTo>
                <a:lnTo>
                  <a:pt x="9946203" y="1770093"/>
                </a:lnTo>
                <a:lnTo>
                  <a:pt x="9956787" y="1755775"/>
                </a:lnTo>
                <a:lnTo>
                  <a:pt x="9963137" y="1762669"/>
                </a:lnTo>
                <a:lnTo>
                  <a:pt x="9968429" y="1770093"/>
                </a:lnTo>
                <a:lnTo>
                  <a:pt x="9973191" y="1778048"/>
                </a:lnTo>
                <a:lnTo>
                  <a:pt x="9977424" y="1784941"/>
                </a:lnTo>
                <a:lnTo>
                  <a:pt x="9981658" y="1792366"/>
                </a:lnTo>
                <a:lnTo>
                  <a:pt x="9984304" y="1800320"/>
                </a:lnTo>
                <a:lnTo>
                  <a:pt x="9987479" y="1807745"/>
                </a:lnTo>
                <a:lnTo>
                  <a:pt x="9990654" y="1815169"/>
                </a:lnTo>
                <a:lnTo>
                  <a:pt x="9992770" y="1823123"/>
                </a:lnTo>
                <a:lnTo>
                  <a:pt x="9994358" y="1830548"/>
                </a:lnTo>
                <a:lnTo>
                  <a:pt x="9995945" y="1838503"/>
                </a:lnTo>
                <a:lnTo>
                  <a:pt x="9997533" y="1846457"/>
                </a:lnTo>
                <a:lnTo>
                  <a:pt x="9998062" y="1861836"/>
                </a:lnTo>
                <a:lnTo>
                  <a:pt x="9997533" y="1878275"/>
                </a:lnTo>
                <a:lnTo>
                  <a:pt x="9995945" y="1894185"/>
                </a:lnTo>
                <a:lnTo>
                  <a:pt x="9992770" y="1910094"/>
                </a:lnTo>
                <a:lnTo>
                  <a:pt x="9991405" y="1915055"/>
                </a:lnTo>
                <a:lnTo>
                  <a:pt x="9994212" y="1915055"/>
                </a:lnTo>
                <a:lnTo>
                  <a:pt x="9998973" y="2065864"/>
                </a:lnTo>
                <a:lnTo>
                  <a:pt x="10501041" y="2361140"/>
                </a:lnTo>
                <a:lnTo>
                  <a:pt x="10467182" y="1856318"/>
                </a:lnTo>
                <a:lnTo>
                  <a:pt x="10437026" y="1834621"/>
                </a:lnTo>
                <a:lnTo>
                  <a:pt x="10405812" y="1813455"/>
                </a:lnTo>
                <a:lnTo>
                  <a:pt x="10375127" y="1793876"/>
                </a:lnTo>
                <a:lnTo>
                  <a:pt x="10344442" y="1773768"/>
                </a:lnTo>
                <a:lnTo>
                  <a:pt x="10285189" y="1736726"/>
                </a:lnTo>
                <a:lnTo>
                  <a:pt x="10228052" y="1702330"/>
                </a:lnTo>
                <a:lnTo>
                  <a:pt x="10172501" y="1671110"/>
                </a:lnTo>
                <a:lnTo>
                  <a:pt x="10120125" y="1642006"/>
                </a:lnTo>
                <a:lnTo>
                  <a:pt x="10070395" y="1616077"/>
                </a:lnTo>
                <a:lnTo>
                  <a:pt x="10024896" y="1592264"/>
                </a:lnTo>
                <a:lnTo>
                  <a:pt x="9982572" y="1571627"/>
                </a:lnTo>
                <a:lnTo>
                  <a:pt x="9944481" y="1554165"/>
                </a:lnTo>
                <a:lnTo>
                  <a:pt x="9911151" y="1538819"/>
                </a:lnTo>
                <a:lnTo>
                  <a:pt x="9883640" y="1526648"/>
                </a:lnTo>
                <a:lnTo>
                  <a:pt x="9860891" y="1517123"/>
                </a:lnTo>
                <a:lnTo>
                  <a:pt x="9843961" y="1510244"/>
                </a:lnTo>
                <a:lnTo>
                  <a:pt x="9834439" y="1506011"/>
                </a:lnTo>
                <a:lnTo>
                  <a:pt x="9830206" y="1504952"/>
                </a:lnTo>
                <a:lnTo>
                  <a:pt x="9539400" y="1405683"/>
                </a:lnTo>
                <a:lnTo>
                  <a:pt x="9518107" y="1411393"/>
                </a:lnTo>
                <a:lnTo>
                  <a:pt x="9490061" y="1419825"/>
                </a:lnTo>
                <a:lnTo>
                  <a:pt x="9475245" y="1424568"/>
                </a:lnTo>
                <a:lnTo>
                  <a:pt x="9460957" y="1428257"/>
                </a:lnTo>
                <a:lnTo>
                  <a:pt x="9446670" y="1431420"/>
                </a:lnTo>
                <a:lnTo>
                  <a:pt x="9431853" y="1433527"/>
                </a:lnTo>
                <a:lnTo>
                  <a:pt x="9417036" y="1435636"/>
                </a:lnTo>
                <a:lnTo>
                  <a:pt x="9402220" y="1436690"/>
                </a:lnTo>
                <a:lnTo>
                  <a:pt x="9387932" y="1436690"/>
                </a:lnTo>
                <a:lnTo>
                  <a:pt x="9373115" y="1435636"/>
                </a:lnTo>
                <a:lnTo>
                  <a:pt x="9358828" y="1433001"/>
                </a:lnTo>
                <a:lnTo>
                  <a:pt x="9344540" y="1428784"/>
                </a:lnTo>
                <a:lnTo>
                  <a:pt x="9336603" y="1426149"/>
                </a:lnTo>
                <a:lnTo>
                  <a:pt x="9329724" y="1422987"/>
                </a:lnTo>
                <a:lnTo>
                  <a:pt x="9322845" y="1419825"/>
                </a:lnTo>
                <a:lnTo>
                  <a:pt x="9315965" y="1416136"/>
                </a:lnTo>
                <a:lnTo>
                  <a:pt x="9302736" y="1408231"/>
                </a:lnTo>
                <a:lnTo>
                  <a:pt x="9290036" y="1399271"/>
                </a:lnTo>
                <a:lnTo>
                  <a:pt x="9278924" y="1389258"/>
                </a:lnTo>
                <a:lnTo>
                  <a:pt x="9268340" y="1378718"/>
                </a:lnTo>
                <a:lnTo>
                  <a:pt x="9258286" y="1367650"/>
                </a:lnTo>
                <a:lnTo>
                  <a:pt x="9248232" y="1354475"/>
                </a:lnTo>
                <a:lnTo>
                  <a:pt x="9239236" y="1341827"/>
                </a:lnTo>
                <a:lnTo>
                  <a:pt x="9230769" y="1328124"/>
                </a:lnTo>
                <a:lnTo>
                  <a:pt x="9213836" y="1299666"/>
                </a:lnTo>
                <a:lnTo>
                  <a:pt x="9199019" y="1271207"/>
                </a:lnTo>
                <a:lnTo>
                  <a:pt x="9184203" y="1242221"/>
                </a:lnTo>
                <a:lnTo>
                  <a:pt x="9169386" y="1213235"/>
                </a:lnTo>
                <a:lnTo>
                  <a:pt x="9199019" y="1204276"/>
                </a:lnTo>
                <a:lnTo>
                  <a:pt x="9228653" y="1195317"/>
                </a:lnTo>
                <a:lnTo>
                  <a:pt x="9243999" y="1190573"/>
                </a:lnTo>
                <a:lnTo>
                  <a:pt x="9258815" y="1186884"/>
                </a:lnTo>
                <a:lnTo>
                  <a:pt x="9274161" y="1183195"/>
                </a:lnTo>
                <a:lnTo>
                  <a:pt x="9289507" y="1180560"/>
                </a:lnTo>
                <a:lnTo>
                  <a:pt x="9303795" y="1178452"/>
                </a:lnTo>
                <a:lnTo>
                  <a:pt x="9319140" y="1177925"/>
                </a:lnTo>
                <a:lnTo>
                  <a:pt x="9334486" y="1177925"/>
                </a:lnTo>
                <a:lnTo>
                  <a:pt x="9348774" y="1178979"/>
                </a:lnTo>
                <a:lnTo>
                  <a:pt x="9356711" y="1180560"/>
                </a:lnTo>
                <a:lnTo>
                  <a:pt x="9363590" y="1182141"/>
                </a:lnTo>
                <a:lnTo>
                  <a:pt x="9370999" y="1184249"/>
                </a:lnTo>
                <a:lnTo>
                  <a:pt x="9377878" y="1186884"/>
                </a:lnTo>
                <a:lnTo>
                  <a:pt x="9384757" y="1190047"/>
                </a:lnTo>
                <a:lnTo>
                  <a:pt x="9392165" y="1192682"/>
                </a:lnTo>
                <a:lnTo>
                  <a:pt x="9399045" y="1197425"/>
                </a:lnTo>
                <a:lnTo>
                  <a:pt x="9405924" y="1201114"/>
                </a:lnTo>
                <a:lnTo>
                  <a:pt x="9419153" y="1209019"/>
                </a:lnTo>
                <a:lnTo>
                  <a:pt x="9431324" y="1217978"/>
                </a:lnTo>
                <a:lnTo>
                  <a:pt x="9442436" y="1227992"/>
                </a:lnTo>
                <a:lnTo>
                  <a:pt x="9453549" y="1238532"/>
                </a:lnTo>
                <a:lnTo>
                  <a:pt x="9462545" y="1249599"/>
                </a:lnTo>
                <a:lnTo>
                  <a:pt x="9471541" y="1261721"/>
                </a:lnTo>
                <a:lnTo>
                  <a:pt x="9480536" y="1274896"/>
                </a:lnTo>
                <a:lnTo>
                  <a:pt x="9488474" y="1288598"/>
                </a:lnTo>
                <a:lnTo>
                  <a:pt x="9503820" y="1316530"/>
                </a:lnTo>
                <a:lnTo>
                  <a:pt x="9518107" y="1345516"/>
                </a:lnTo>
                <a:lnTo>
                  <a:pt x="9528213" y="1367194"/>
                </a:lnTo>
                <a:lnTo>
                  <a:pt x="9793173" y="1448332"/>
                </a:lnTo>
                <a:lnTo>
                  <a:pt x="9793173" y="1320425"/>
                </a:lnTo>
                <a:lnTo>
                  <a:pt x="9788821" y="1330994"/>
                </a:lnTo>
                <a:lnTo>
                  <a:pt x="9778173" y="1355797"/>
                </a:lnTo>
                <a:lnTo>
                  <a:pt x="9768058" y="1381127"/>
                </a:lnTo>
                <a:lnTo>
                  <a:pt x="9750489" y="1360546"/>
                </a:lnTo>
                <a:lnTo>
                  <a:pt x="9732388" y="1339965"/>
                </a:lnTo>
                <a:lnTo>
                  <a:pt x="9713754" y="1319384"/>
                </a:lnTo>
                <a:lnTo>
                  <a:pt x="9696185" y="1298803"/>
                </a:lnTo>
                <a:lnTo>
                  <a:pt x="9687667" y="1287193"/>
                </a:lnTo>
                <a:lnTo>
                  <a:pt x="9680213" y="1276111"/>
                </a:lnTo>
                <a:lnTo>
                  <a:pt x="9673292" y="1264501"/>
                </a:lnTo>
                <a:lnTo>
                  <a:pt x="9666903" y="1252363"/>
                </a:lnTo>
                <a:lnTo>
                  <a:pt x="9661579" y="1239698"/>
                </a:lnTo>
                <a:lnTo>
                  <a:pt x="9657320" y="1225977"/>
                </a:lnTo>
                <a:lnTo>
                  <a:pt x="9654126" y="1212256"/>
                </a:lnTo>
                <a:lnTo>
                  <a:pt x="9651464" y="1196952"/>
                </a:lnTo>
                <a:lnTo>
                  <a:pt x="9650399" y="1183232"/>
                </a:lnTo>
                <a:lnTo>
                  <a:pt x="9650399" y="1170566"/>
                </a:lnTo>
                <a:lnTo>
                  <a:pt x="9651464" y="1156846"/>
                </a:lnTo>
                <a:lnTo>
                  <a:pt x="9653061" y="1143652"/>
                </a:lnTo>
                <a:lnTo>
                  <a:pt x="9656255" y="1130987"/>
                </a:lnTo>
                <a:lnTo>
                  <a:pt x="9659450" y="1117794"/>
                </a:lnTo>
                <a:lnTo>
                  <a:pt x="9663176" y="1105656"/>
                </a:lnTo>
                <a:lnTo>
                  <a:pt x="9667968" y="1092991"/>
                </a:lnTo>
                <a:lnTo>
                  <a:pt x="9678616" y="1068188"/>
                </a:lnTo>
                <a:lnTo>
                  <a:pt x="9689264" y="1043385"/>
                </a:lnTo>
                <a:lnTo>
                  <a:pt x="9700976" y="1019638"/>
                </a:lnTo>
                <a:lnTo>
                  <a:pt x="9711624" y="995363"/>
                </a:lnTo>
                <a:lnTo>
                  <a:pt x="9728128" y="1015416"/>
                </a:lnTo>
                <a:lnTo>
                  <a:pt x="9745165" y="1034414"/>
                </a:lnTo>
                <a:lnTo>
                  <a:pt x="9762734" y="1053939"/>
                </a:lnTo>
                <a:lnTo>
                  <a:pt x="9779771" y="1073993"/>
                </a:lnTo>
                <a:lnTo>
                  <a:pt x="9788289" y="1084548"/>
                </a:lnTo>
                <a:lnTo>
                  <a:pt x="9795210" y="1095102"/>
                </a:lnTo>
                <a:lnTo>
                  <a:pt x="9802131" y="1106712"/>
                </a:lnTo>
                <a:lnTo>
                  <a:pt x="9807987" y="1117794"/>
                </a:lnTo>
                <a:lnTo>
                  <a:pt x="9813311" y="1129932"/>
                </a:lnTo>
                <a:lnTo>
                  <a:pt x="9817570" y="1142069"/>
                </a:lnTo>
                <a:lnTo>
                  <a:pt x="9820232" y="1155790"/>
                </a:lnTo>
                <a:lnTo>
                  <a:pt x="9822894" y="1169511"/>
                </a:lnTo>
                <a:lnTo>
                  <a:pt x="9823959" y="1183759"/>
                </a:lnTo>
                <a:lnTo>
                  <a:pt x="9825024" y="1198535"/>
                </a:lnTo>
                <a:lnTo>
                  <a:pt x="9825024" y="1212256"/>
                </a:lnTo>
                <a:lnTo>
                  <a:pt x="9823427" y="1225977"/>
                </a:lnTo>
                <a:lnTo>
                  <a:pt x="9821297" y="1239698"/>
                </a:lnTo>
                <a:lnTo>
                  <a:pt x="9818103" y="1253419"/>
                </a:lnTo>
                <a:lnTo>
                  <a:pt x="9814376" y="1266084"/>
                </a:lnTo>
                <a:lnTo>
                  <a:pt x="9809585" y="1279277"/>
                </a:lnTo>
                <a:lnTo>
                  <a:pt x="9805687" y="1289241"/>
                </a:lnTo>
                <a:lnTo>
                  <a:pt x="9816980" y="1461032"/>
                </a:lnTo>
                <a:lnTo>
                  <a:pt x="9825974" y="1462619"/>
                </a:lnTo>
                <a:lnTo>
                  <a:pt x="9837084" y="1465265"/>
                </a:lnTo>
                <a:lnTo>
                  <a:pt x="9851897" y="1469498"/>
                </a:lnTo>
                <a:lnTo>
                  <a:pt x="9868298" y="1475848"/>
                </a:lnTo>
                <a:lnTo>
                  <a:pt x="9886814" y="1482727"/>
                </a:lnTo>
                <a:lnTo>
                  <a:pt x="9907976" y="1491723"/>
                </a:lnTo>
                <a:lnTo>
                  <a:pt x="9930197" y="1501777"/>
                </a:lnTo>
                <a:lnTo>
                  <a:pt x="9954004" y="1512361"/>
                </a:lnTo>
                <a:lnTo>
                  <a:pt x="10005851" y="1536702"/>
                </a:lnTo>
                <a:lnTo>
                  <a:pt x="10061401" y="1564219"/>
                </a:lnTo>
                <a:lnTo>
                  <a:pt x="10119067" y="1593852"/>
                </a:lnTo>
                <a:lnTo>
                  <a:pt x="10177263" y="1623485"/>
                </a:lnTo>
                <a:lnTo>
                  <a:pt x="10234929" y="1654176"/>
                </a:lnTo>
                <a:lnTo>
                  <a:pt x="10289950" y="1683281"/>
                </a:lnTo>
                <a:lnTo>
                  <a:pt x="10340210" y="1710797"/>
                </a:lnTo>
                <a:lnTo>
                  <a:pt x="10385179" y="1735668"/>
                </a:lnTo>
                <a:lnTo>
                  <a:pt x="10423271" y="1756305"/>
                </a:lnTo>
                <a:lnTo>
                  <a:pt x="10451840" y="1772180"/>
                </a:lnTo>
                <a:lnTo>
                  <a:pt x="10470356" y="1782234"/>
                </a:lnTo>
                <a:lnTo>
                  <a:pt x="10476705" y="1785938"/>
                </a:lnTo>
                <a:lnTo>
                  <a:pt x="10467182" y="1608668"/>
                </a:lnTo>
                <a:lnTo>
                  <a:pt x="10362959" y="1337735"/>
                </a:lnTo>
                <a:lnTo>
                  <a:pt x="9927990" y="932847"/>
                </a:lnTo>
                <a:lnTo>
                  <a:pt x="9931386" y="948296"/>
                </a:lnTo>
                <a:lnTo>
                  <a:pt x="9910748" y="953582"/>
                </a:lnTo>
                <a:lnTo>
                  <a:pt x="9890640" y="958866"/>
                </a:lnTo>
                <a:lnTo>
                  <a:pt x="9869474" y="963093"/>
                </a:lnTo>
                <a:lnTo>
                  <a:pt x="9848836" y="965735"/>
                </a:lnTo>
                <a:lnTo>
                  <a:pt x="9827669" y="968378"/>
                </a:lnTo>
                <a:lnTo>
                  <a:pt x="9807032" y="969964"/>
                </a:lnTo>
                <a:lnTo>
                  <a:pt x="9785336" y="969964"/>
                </a:lnTo>
                <a:lnTo>
                  <a:pt x="9765228" y="968378"/>
                </a:lnTo>
                <a:lnTo>
                  <a:pt x="9744590" y="965735"/>
                </a:lnTo>
                <a:lnTo>
                  <a:pt x="9723953" y="962037"/>
                </a:lnTo>
                <a:lnTo>
                  <a:pt x="9703844" y="956752"/>
                </a:lnTo>
                <a:lnTo>
                  <a:pt x="9684265" y="949881"/>
                </a:lnTo>
                <a:lnTo>
                  <a:pt x="9674211" y="946183"/>
                </a:lnTo>
                <a:lnTo>
                  <a:pt x="9664686" y="941427"/>
                </a:lnTo>
                <a:lnTo>
                  <a:pt x="9655161" y="937200"/>
                </a:lnTo>
                <a:lnTo>
                  <a:pt x="9646165" y="932443"/>
                </a:lnTo>
                <a:lnTo>
                  <a:pt x="9637169" y="926630"/>
                </a:lnTo>
                <a:lnTo>
                  <a:pt x="9627644" y="920289"/>
                </a:lnTo>
                <a:lnTo>
                  <a:pt x="9618648" y="913947"/>
                </a:lnTo>
                <a:lnTo>
                  <a:pt x="9610182" y="907077"/>
                </a:lnTo>
                <a:lnTo>
                  <a:pt x="9595894" y="892280"/>
                </a:lnTo>
                <a:lnTo>
                  <a:pt x="9582665" y="876956"/>
                </a:lnTo>
                <a:lnTo>
                  <a:pt x="9570494" y="860045"/>
                </a:lnTo>
                <a:lnTo>
                  <a:pt x="9559382" y="842606"/>
                </a:lnTo>
                <a:lnTo>
                  <a:pt x="9549328" y="824110"/>
                </a:lnTo>
                <a:lnTo>
                  <a:pt x="9539274" y="805086"/>
                </a:lnTo>
                <a:lnTo>
                  <a:pt x="9530278" y="785533"/>
                </a:lnTo>
                <a:lnTo>
                  <a:pt x="9521811" y="765980"/>
                </a:lnTo>
                <a:lnTo>
                  <a:pt x="9514403" y="745899"/>
                </a:lnTo>
                <a:lnTo>
                  <a:pt x="9506465" y="725290"/>
                </a:lnTo>
                <a:lnTo>
                  <a:pt x="9499586" y="704680"/>
                </a:lnTo>
                <a:lnTo>
                  <a:pt x="9493236" y="684071"/>
                </a:lnTo>
                <a:lnTo>
                  <a:pt x="9480007" y="642323"/>
                </a:lnTo>
                <a:lnTo>
                  <a:pt x="9467836" y="602161"/>
                </a:lnTo>
                <a:lnTo>
                  <a:pt x="9486886" y="596876"/>
                </a:lnTo>
                <a:lnTo>
                  <a:pt x="9507524" y="591592"/>
                </a:lnTo>
                <a:lnTo>
                  <a:pt x="9527103" y="587364"/>
                </a:lnTo>
                <a:lnTo>
                  <a:pt x="9547740" y="583665"/>
                </a:lnTo>
                <a:lnTo>
                  <a:pt x="9567848" y="581551"/>
                </a:lnTo>
                <a:lnTo>
                  <a:pt x="9588486" y="579438"/>
                </a:lnTo>
                <a:lnTo>
                  <a:pt x="9608594" y="579438"/>
                </a:lnTo>
                <a:lnTo>
                  <a:pt x="9629232" y="579438"/>
                </a:lnTo>
                <a:lnTo>
                  <a:pt x="9649340" y="581551"/>
                </a:lnTo>
                <a:lnTo>
                  <a:pt x="9669978" y="584722"/>
                </a:lnTo>
                <a:lnTo>
                  <a:pt x="9679503" y="586836"/>
                </a:lnTo>
                <a:lnTo>
                  <a:pt x="9689557" y="588950"/>
                </a:lnTo>
                <a:lnTo>
                  <a:pt x="9698553" y="592120"/>
                </a:lnTo>
                <a:lnTo>
                  <a:pt x="9708607" y="595819"/>
                </a:lnTo>
                <a:lnTo>
                  <a:pt x="9718661" y="599519"/>
                </a:lnTo>
                <a:lnTo>
                  <a:pt x="9727657" y="603746"/>
                </a:lnTo>
                <a:lnTo>
                  <a:pt x="9737711" y="607974"/>
                </a:lnTo>
                <a:lnTo>
                  <a:pt x="9746707" y="613258"/>
                </a:lnTo>
                <a:lnTo>
                  <a:pt x="9755703" y="618543"/>
                </a:lnTo>
                <a:lnTo>
                  <a:pt x="9765228" y="624884"/>
                </a:lnTo>
                <a:lnTo>
                  <a:pt x="9774224" y="631754"/>
                </a:lnTo>
                <a:lnTo>
                  <a:pt x="9782690" y="638624"/>
                </a:lnTo>
                <a:lnTo>
                  <a:pt x="9791157" y="645494"/>
                </a:lnTo>
                <a:lnTo>
                  <a:pt x="9799094" y="652364"/>
                </a:lnTo>
                <a:lnTo>
                  <a:pt x="9807032" y="659233"/>
                </a:lnTo>
                <a:lnTo>
                  <a:pt x="9814440" y="666632"/>
                </a:lnTo>
                <a:lnTo>
                  <a:pt x="9821319" y="675087"/>
                </a:lnTo>
                <a:lnTo>
                  <a:pt x="9828198" y="682485"/>
                </a:lnTo>
                <a:lnTo>
                  <a:pt x="9835078" y="690940"/>
                </a:lnTo>
                <a:lnTo>
                  <a:pt x="9841428" y="699396"/>
                </a:lnTo>
                <a:lnTo>
                  <a:pt x="9852540" y="717891"/>
                </a:lnTo>
                <a:lnTo>
                  <a:pt x="9863124" y="736916"/>
                </a:lnTo>
                <a:lnTo>
                  <a:pt x="9873178" y="755940"/>
                </a:lnTo>
                <a:lnTo>
                  <a:pt x="9882174" y="776549"/>
                </a:lnTo>
                <a:lnTo>
                  <a:pt x="9890640" y="797159"/>
                </a:lnTo>
                <a:lnTo>
                  <a:pt x="9897519" y="818297"/>
                </a:lnTo>
                <a:lnTo>
                  <a:pt x="9904398" y="839435"/>
                </a:lnTo>
                <a:lnTo>
                  <a:pt x="9910748" y="861631"/>
                </a:lnTo>
                <a:lnTo>
                  <a:pt x="9921861" y="904963"/>
                </a:lnTo>
                <a:lnTo>
                  <a:pt x="9923032" y="910288"/>
                </a:lnTo>
                <a:lnTo>
                  <a:pt x="10064575" y="1008592"/>
                </a:lnTo>
                <a:lnTo>
                  <a:pt x="10123732" y="913432"/>
                </a:lnTo>
                <a:lnTo>
                  <a:pt x="10108866" y="922356"/>
                </a:lnTo>
                <a:lnTo>
                  <a:pt x="10094451" y="930274"/>
                </a:lnTo>
                <a:lnTo>
                  <a:pt x="10091247" y="920772"/>
                </a:lnTo>
                <a:lnTo>
                  <a:pt x="10089111" y="911270"/>
                </a:lnTo>
                <a:lnTo>
                  <a:pt x="10087510" y="901768"/>
                </a:lnTo>
                <a:lnTo>
                  <a:pt x="10086976" y="892794"/>
                </a:lnTo>
                <a:lnTo>
                  <a:pt x="10085374" y="884349"/>
                </a:lnTo>
                <a:lnTo>
                  <a:pt x="10085374" y="875375"/>
                </a:lnTo>
                <a:lnTo>
                  <a:pt x="10085374" y="866929"/>
                </a:lnTo>
                <a:lnTo>
                  <a:pt x="10085374" y="858483"/>
                </a:lnTo>
                <a:lnTo>
                  <a:pt x="10085908" y="850037"/>
                </a:lnTo>
                <a:lnTo>
                  <a:pt x="10087510" y="842646"/>
                </a:lnTo>
                <a:lnTo>
                  <a:pt x="10089111" y="834200"/>
                </a:lnTo>
                <a:lnTo>
                  <a:pt x="10090713" y="826810"/>
                </a:lnTo>
                <a:lnTo>
                  <a:pt x="10092849" y="819948"/>
                </a:lnTo>
                <a:lnTo>
                  <a:pt x="10096052" y="812030"/>
                </a:lnTo>
                <a:lnTo>
                  <a:pt x="10099256" y="805167"/>
                </a:lnTo>
                <a:lnTo>
                  <a:pt x="10102459" y="798305"/>
                </a:lnTo>
                <a:lnTo>
                  <a:pt x="10109934" y="785108"/>
                </a:lnTo>
                <a:lnTo>
                  <a:pt x="10119011" y="772439"/>
                </a:lnTo>
                <a:lnTo>
                  <a:pt x="10129155" y="760298"/>
                </a:lnTo>
                <a:lnTo>
                  <a:pt x="10140901" y="749741"/>
                </a:lnTo>
                <a:lnTo>
                  <a:pt x="10153181" y="740239"/>
                </a:lnTo>
                <a:lnTo>
                  <a:pt x="10166529" y="730210"/>
                </a:lnTo>
                <a:lnTo>
                  <a:pt x="10180411" y="721764"/>
                </a:lnTo>
                <a:lnTo>
                  <a:pt x="10195894" y="714373"/>
                </a:lnTo>
                <a:lnTo>
                  <a:pt x="10199098" y="723347"/>
                </a:lnTo>
                <a:lnTo>
                  <a:pt x="10200700" y="732321"/>
                </a:lnTo>
                <a:lnTo>
                  <a:pt x="10202301" y="741295"/>
                </a:lnTo>
                <a:lnTo>
                  <a:pt x="10203903" y="750797"/>
                </a:lnTo>
                <a:lnTo>
                  <a:pt x="10204437" y="759243"/>
                </a:lnTo>
                <a:lnTo>
                  <a:pt x="10204437" y="767161"/>
                </a:lnTo>
                <a:lnTo>
                  <a:pt x="10204437" y="775607"/>
                </a:lnTo>
                <a:lnTo>
                  <a:pt x="10203903" y="784053"/>
                </a:lnTo>
                <a:lnTo>
                  <a:pt x="10202835" y="792499"/>
                </a:lnTo>
                <a:lnTo>
                  <a:pt x="10202301" y="799889"/>
                </a:lnTo>
                <a:lnTo>
                  <a:pt x="10200700" y="807807"/>
                </a:lnTo>
                <a:lnTo>
                  <a:pt x="10198564" y="815197"/>
                </a:lnTo>
                <a:lnTo>
                  <a:pt x="10193759" y="829977"/>
                </a:lnTo>
                <a:lnTo>
                  <a:pt x="10186818" y="844230"/>
                </a:lnTo>
                <a:lnTo>
                  <a:pt x="10181394" y="853423"/>
                </a:lnTo>
                <a:lnTo>
                  <a:pt x="10183082" y="854605"/>
                </a:lnTo>
                <a:lnTo>
                  <a:pt x="10082563" y="1038225"/>
                </a:lnTo>
                <a:lnTo>
                  <a:pt x="10423800" y="1308102"/>
                </a:lnTo>
                <a:lnTo>
                  <a:pt x="10507919" y="1539877"/>
                </a:lnTo>
                <a:lnTo>
                  <a:pt x="10674040" y="1313393"/>
                </a:lnTo>
                <a:lnTo>
                  <a:pt x="10584631" y="851959"/>
                </a:lnTo>
                <a:lnTo>
                  <a:pt x="10448771" y="616883"/>
                </a:lnTo>
                <a:lnTo>
                  <a:pt x="10442032" y="642938"/>
                </a:lnTo>
                <a:lnTo>
                  <a:pt x="10402874" y="621788"/>
                </a:lnTo>
                <a:lnTo>
                  <a:pt x="10363186" y="599582"/>
                </a:lnTo>
                <a:lnTo>
                  <a:pt x="10343607" y="587949"/>
                </a:lnTo>
                <a:lnTo>
                  <a:pt x="10324557" y="575789"/>
                </a:lnTo>
                <a:lnTo>
                  <a:pt x="10306036" y="563628"/>
                </a:lnTo>
                <a:lnTo>
                  <a:pt x="10288045" y="549881"/>
                </a:lnTo>
                <a:lnTo>
                  <a:pt x="10269524" y="536134"/>
                </a:lnTo>
                <a:lnTo>
                  <a:pt x="10253119" y="520801"/>
                </a:lnTo>
                <a:lnTo>
                  <a:pt x="10236715" y="504939"/>
                </a:lnTo>
                <a:lnTo>
                  <a:pt x="10221899" y="487490"/>
                </a:lnTo>
                <a:lnTo>
                  <a:pt x="10215019" y="478502"/>
                </a:lnTo>
                <a:lnTo>
                  <a:pt x="10207082" y="468985"/>
                </a:lnTo>
                <a:lnTo>
                  <a:pt x="10201261" y="459468"/>
                </a:lnTo>
                <a:lnTo>
                  <a:pt x="10194382" y="448893"/>
                </a:lnTo>
                <a:lnTo>
                  <a:pt x="10189090" y="438847"/>
                </a:lnTo>
                <a:lnTo>
                  <a:pt x="10182740" y="427215"/>
                </a:lnTo>
                <a:lnTo>
                  <a:pt x="10177449" y="416112"/>
                </a:lnTo>
                <a:lnTo>
                  <a:pt x="10172686" y="404480"/>
                </a:lnTo>
                <a:lnTo>
                  <a:pt x="10167394" y="392848"/>
                </a:lnTo>
                <a:lnTo>
                  <a:pt x="10163690" y="380687"/>
                </a:lnTo>
                <a:lnTo>
                  <a:pt x="10159986" y="368526"/>
                </a:lnTo>
                <a:lnTo>
                  <a:pt x="10156282" y="356365"/>
                </a:lnTo>
                <a:lnTo>
                  <a:pt x="10153636" y="344204"/>
                </a:lnTo>
                <a:lnTo>
                  <a:pt x="10150990" y="332043"/>
                </a:lnTo>
                <a:lnTo>
                  <a:pt x="10149403" y="319883"/>
                </a:lnTo>
                <a:lnTo>
                  <a:pt x="10146757" y="307193"/>
                </a:lnTo>
                <a:lnTo>
                  <a:pt x="10145699" y="282872"/>
                </a:lnTo>
                <a:lnTo>
                  <a:pt x="10144111" y="257492"/>
                </a:lnTo>
                <a:lnTo>
                  <a:pt x="10144640" y="232113"/>
                </a:lnTo>
                <a:lnTo>
                  <a:pt x="10146228" y="207263"/>
                </a:lnTo>
                <a:lnTo>
                  <a:pt x="10149403" y="181884"/>
                </a:lnTo>
                <a:lnTo>
                  <a:pt x="10152578" y="157033"/>
                </a:lnTo>
                <a:lnTo>
                  <a:pt x="10156811" y="131654"/>
                </a:lnTo>
                <a:lnTo>
                  <a:pt x="10162103" y="107333"/>
                </a:lnTo>
                <a:lnTo>
                  <a:pt x="10167394" y="83011"/>
                </a:lnTo>
                <a:lnTo>
                  <a:pt x="10173744" y="58689"/>
                </a:lnTo>
                <a:lnTo>
                  <a:pt x="10179565" y="34897"/>
                </a:lnTo>
                <a:lnTo>
                  <a:pt x="10185915" y="11632"/>
                </a:lnTo>
                <a:close/>
              </a:path>
            </a:pathLst>
          </a:custGeom>
          <a:gradFill flip="none" rotWithShape="1">
            <a:gsLst>
              <a:gs pos="38000">
                <a:schemeClr val="accent2"/>
              </a:gs>
              <a:gs pos="100000">
                <a:schemeClr val="accent2"/>
              </a:gs>
            </a:gsLst>
            <a:lin ang="2700000" scaled="1"/>
            <a:tileRect/>
          </a:gra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等线" panose="020F0502020204030204"/>
              <a:ea typeface="+mn-ea"/>
              <a:cs typeface="+mn-cs"/>
            </a:endParaRPr>
          </a:p>
        </p:txBody>
      </p:sp>
      <p:sp>
        <p:nvSpPr>
          <p:cNvPr id="3" name="TextBox 2">
            <a:extLst>
              <a:ext uri="{FF2B5EF4-FFF2-40B4-BE49-F238E27FC236}">
                <a16:creationId xmlns:a16="http://schemas.microsoft.com/office/drawing/2014/main" id="{B711ACC7-57F8-4166-B2AD-4835137C47C5}"/>
              </a:ext>
            </a:extLst>
          </p:cNvPr>
          <p:cNvSpPr txBox="1"/>
          <p:nvPr/>
        </p:nvSpPr>
        <p:spPr>
          <a:xfrm rot="20856118">
            <a:off x="986671" y="4443202"/>
            <a:ext cx="885213"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15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1</a:t>
            </a:r>
            <a:r>
              <a:rPr kumimoji="0" lang="en-US" sz="3600" b="1" i="0" u="none" strike="noStrike" kern="1200" cap="none" spc="-150" normalizeH="0" baseline="30000" noProof="0" dirty="0">
                <a:ln>
                  <a:noFill/>
                </a:ln>
                <a:solidFill>
                  <a:srgbClr val="FFFFFF"/>
                </a:solidFill>
                <a:effectLst/>
                <a:uLnTx/>
                <a:uFillTx/>
                <a:latin typeface="Segoe UI" panose="020B0502040204020203" pitchFamily="34" charset="0"/>
                <a:ea typeface="+mn-ea"/>
                <a:cs typeface="Segoe UI" panose="020B0502040204020203" pitchFamily="34" charset="0"/>
              </a:rPr>
              <a:t>st</a:t>
            </a:r>
          </a:p>
        </p:txBody>
      </p:sp>
      <p:sp>
        <p:nvSpPr>
          <p:cNvPr id="4" name="TextBox 3">
            <a:extLst>
              <a:ext uri="{FF2B5EF4-FFF2-40B4-BE49-F238E27FC236}">
                <a16:creationId xmlns:a16="http://schemas.microsoft.com/office/drawing/2014/main" id="{FC1E38EF-54A2-490A-A16C-7FB6B8AB1669}"/>
              </a:ext>
            </a:extLst>
          </p:cNvPr>
          <p:cNvSpPr txBox="1"/>
          <p:nvPr/>
        </p:nvSpPr>
        <p:spPr>
          <a:xfrm rot="20856118">
            <a:off x="3285371" y="4443202"/>
            <a:ext cx="885213"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15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2</a:t>
            </a:r>
            <a:r>
              <a:rPr kumimoji="0" lang="en-US" sz="3600" b="1" i="0" u="none" strike="noStrike" kern="1200" cap="none" spc="-150" normalizeH="0" baseline="30000" noProof="0" dirty="0">
                <a:ln>
                  <a:noFill/>
                </a:ln>
                <a:solidFill>
                  <a:srgbClr val="FFFFFF"/>
                </a:solidFill>
                <a:effectLst/>
                <a:uLnTx/>
                <a:uFillTx/>
                <a:latin typeface="Segoe UI" panose="020B0502040204020203" pitchFamily="34" charset="0"/>
                <a:ea typeface="+mn-ea"/>
                <a:cs typeface="Segoe UI" panose="020B0502040204020203" pitchFamily="34" charset="0"/>
              </a:rPr>
              <a:t>nd</a:t>
            </a:r>
          </a:p>
        </p:txBody>
      </p:sp>
      <p:sp>
        <p:nvSpPr>
          <p:cNvPr id="5" name="TextBox 4">
            <a:extLst>
              <a:ext uri="{FF2B5EF4-FFF2-40B4-BE49-F238E27FC236}">
                <a16:creationId xmlns:a16="http://schemas.microsoft.com/office/drawing/2014/main" id="{D5489AED-4FE3-4676-919D-2CFC657CC88D}"/>
              </a:ext>
            </a:extLst>
          </p:cNvPr>
          <p:cNvSpPr txBox="1"/>
          <p:nvPr/>
        </p:nvSpPr>
        <p:spPr>
          <a:xfrm rot="20856118">
            <a:off x="5575828" y="4443202"/>
            <a:ext cx="885213"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15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3</a:t>
            </a:r>
            <a:r>
              <a:rPr kumimoji="0" lang="en-US" sz="3600" b="1" i="0" u="none" strike="noStrike" kern="1200" cap="none" spc="-150" normalizeH="0" baseline="30000" noProof="0" dirty="0">
                <a:ln>
                  <a:noFill/>
                </a:ln>
                <a:solidFill>
                  <a:srgbClr val="FFFFFF"/>
                </a:solidFill>
                <a:effectLst/>
                <a:uLnTx/>
                <a:uFillTx/>
                <a:latin typeface="Segoe UI" panose="020B0502040204020203" pitchFamily="34" charset="0"/>
                <a:ea typeface="+mn-ea"/>
                <a:cs typeface="Segoe UI" panose="020B0502040204020203" pitchFamily="34" charset="0"/>
              </a:rPr>
              <a:t>rd</a:t>
            </a:r>
          </a:p>
        </p:txBody>
      </p:sp>
      <p:sp>
        <p:nvSpPr>
          <p:cNvPr id="6" name="TextBox 5">
            <a:extLst>
              <a:ext uri="{FF2B5EF4-FFF2-40B4-BE49-F238E27FC236}">
                <a16:creationId xmlns:a16="http://schemas.microsoft.com/office/drawing/2014/main" id="{57A5B1B7-A629-4F36-B153-AAF47E7B8197}"/>
              </a:ext>
            </a:extLst>
          </p:cNvPr>
          <p:cNvSpPr txBox="1"/>
          <p:nvPr/>
        </p:nvSpPr>
        <p:spPr>
          <a:xfrm rot="20856118">
            <a:off x="7874528" y="4443202"/>
            <a:ext cx="885213"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15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4</a:t>
            </a:r>
            <a:r>
              <a:rPr kumimoji="0" lang="en-US" sz="3600" b="1" i="0" u="none" strike="noStrike" kern="1200" cap="none" spc="-150" normalizeH="0" baseline="30000" noProof="0" dirty="0">
                <a:ln>
                  <a:noFill/>
                </a:ln>
                <a:solidFill>
                  <a:srgbClr val="FFFFFF"/>
                </a:solidFill>
                <a:effectLst/>
                <a:uLnTx/>
                <a:uFillTx/>
                <a:latin typeface="Segoe UI" panose="020B0502040204020203" pitchFamily="34" charset="0"/>
                <a:ea typeface="+mn-ea"/>
                <a:cs typeface="Segoe UI" panose="020B0502040204020203" pitchFamily="34" charset="0"/>
              </a:rPr>
              <a:t>th</a:t>
            </a:r>
          </a:p>
        </p:txBody>
      </p:sp>
      <p:sp>
        <p:nvSpPr>
          <p:cNvPr id="7" name="TextBox 6">
            <a:extLst>
              <a:ext uri="{FF2B5EF4-FFF2-40B4-BE49-F238E27FC236}">
                <a16:creationId xmlns:a16="http://schemas.microsoft.com/office/drawing/2014/main" id="{E0608A6B-7CEB-463E-9861-18BFE6E5FD7A}"/>
              </a:ext>
            </a:extLst>
          </p:cNvPr>
          <p:cNvSpPr txBox="1"/>
          <p:nvPr/>
        </p:nvSpPr>
        <p:spPr>
          <a:xfrm rot="20856118">
            <a:off x="10154034" y="4443202"/>
            <a:ext cx="885213"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15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5</a:t>
            </a:r>
            <a:r>
              <a:rPr kumimoji="0" lang="en-US" sz="3600" b="1" i="0" u="none" strike="noStrike" kern="1200" cap="none" spc="-150" normalizeH="0" baseline="30000" noProof="0" dirty="0">
                <a:ln>
                  <a:noFill/>
                </a:ln>
                <a:solidFill>
                  <a:srgbClr val="FFFFFF"/>
                </a:solidFill>
                <a:effectLst/>
                <a:uLnTx/>
                <a:uFillTx/>
                <a:latin typeface="Segoe UI" panose="020B0502040204020203" pitchFamily="34" charset="0"/>
                <a:ea typeface="+mn-ea"/>
                <a:cs typeface="Segoe UI" panose="020B0502040204020203" pitchFamily="34" charset="0"/>
              </a:rPr>
              <a:t>th</a:t>
            </a:r>
          </a:p>
        </p:txBody>
      </p:sp>
      <p:sp>
        <p:nvSpPr>
          <p:cNvPr id="8" name="Freeform: Shape 7">
            <a:extLst>
              <a:ext uri="{FF2B5EF4-FFF2-40B4-BE49-F238E27FC236}">
                <a16:creationId xmlns:a16="http://schemas.microsoft.com/office/drawing/2014/main" id="{09583C04-ACED-4021-9A9A-D3346CBF8946}"/>
              </a:ext>
            </a:extLst>
          </p:cNvPr>
          <p:cNvSpPr>
            <a:spLocks/>
          </p:cNvSpPr>
          <p:nvPr/>
        </p:nvSpPr>
        <p:spPr bwMode="auto">
          <a:xfrm>
            <a:off x="144991" y="2808289"/>
            <a:ext cx="1987627" cy="4049713"/>
          </a:xfrm>
          <a:custGeom>
            <a:avLst/>
            <a:gdLst>
              <a:gd name="connsiteX0" fmla="*/ 732399 w 1784958"/>
              <a:gd name="connsiteY0" fmla="*/ 0 h 4049713"/>
              <a:gd name="connsiteX1" fmla="*/ 1784958 w 1784958"/>
              <a:gd name="connsiteY1" fmla="*/ 0 h 4049713"/>
              <a:gd name="connsiteX2" fmla="*/ 1784958 w 1784958"/>
              <a:gd name="connsiteY2" fmla="*/ 302712 h 4049713"/>
              <a:gd name="connsiteX3" fmla="*/ 732399 w 1784958"/>
              <a:gd name="connsiteY3" fmla="*/ 302712 h 4049713"/>
              <a:gd name="connsiteX4" fmla="*/ 697473 w 1784958"/>
              <a:gd name="connsiteY4" fmla="*/ 302712 h 4049713"/>
              <a:gd name="connsiteX5" fmla="*/ 664663 w 1784958"/>
              <a:gd name="connsiteY5" fmla="*/ 303241 h 4049713"/>
              <a:gd name="connsiteX6" fmla="*/ 633970 w 1784958"/>
              <a:gd name="connsiteY6" fmla="*/ 304829 h 4049713"/>
              <a:gd name="connsiteX7" fmla="*/ 604335 w 1784958"/>
              <a:gd name="connsiteY7" fmla="*/ 306945 h 4049713"/>
              <a:gd name="connsiteX8" fmla="*/ 576817 w 1784958"/>
              <a:gd name="connsiteY8" fmla="*/ 309062 h 4049713"/>
              <a:gd name="connsiteX9" fmla="*/ 550887 w 1784958"/>
              <a:gd name="connsiteY9" fmla="*/ 312237 h 4049713"/>
              <a:gd name="connsiteX10" fmla="*/ 526544 w 1784958"/>
              <a:gd name="connsiteY10" fmla="*/ 315942 h 4049713"/>
              <a:gd name="connsiteX11" fmla="*/ 504319 w 1784958"/>
              <a:gd name="connsiteY11" fmla="*/ 320176 h 4049713"/>
              <a:gd name="connsiteX12" fmla="*/ 483151 w 1784958"/>
              <a:gd name="connsiteY12" fmla="*/ 324409 h 4049713"/>
              <a:gd name="connsiteX13" fmla="*/ 463571 w 1784958"/>
              <a:gd name="connsiteY13" fmla="*/ 329702 h 4049713"/>
              <a:gd name="connsiteX14" fmla="*/ 445578 w 1784958"/>
              <a:gd name="connsiteY14" fmla="*/ 336052 h 4049713"/>
              <a:gd name="connsiteX15" fmla="*/ 429174 w 1784958"/>
              <a:gd name="connsiteY15" fmla="*/ 341873 h 4049713"/>
              <a:gd name="connsiteX16" fmla="*/ 413827 w 1784958"/>
              <a:gd name="connsiteY16" fmla="*/ 348753 h 4049713"/>
              <a:gd name="connsiteX17" fmla="*/ 400597 w 1784958"/>
              <a:gd name="connsiteY17" fmla="*/ 356692 h 4049713"/>
              <a:gd name="connsiteX18" fmla="*/ 388426 w 1784958"/>
              <a:gd name="connsiteY18" fmla="*/ 365159 h 4049713"/>
              <a:gd name="connsiteX19" fmla="*/ 377842 w 1784958"/>
              <a:gd name="connsiteY19" fmla="*/ 374156 h 4049713"/>
              <a:gd name="connsiteX20" fmla="*/ 372021 w 1784958"/>
              <a:gd name="connsiteY20" fmla="*/ 379448 h 4049713"/>
              <a:gd name="connsiteX21" fmla="*/ 365671 w 1784958"/>
              <a:gd name="connsiteY21" fmla="*/ 386328 h 4049713"/>
              <a:gd name="connsiteX22" fmla="*/ 359850 w 1784958"/>
              <a:gd name="connsiteY22" fmla="*/ 394795 h 4049713"/>
              <a:gd name="connsiteX23" fmla="*/ 352970 w 1784958"/>
              <a:gd name="connsiteY23" fmla="*/ 403792 h 4049713"/>
              <a:gd name="connsiteX24" fmla="*/ 346620 w 1784958"/>
              <a:gd name="connsiteY24" fmla="*/ 415434 h 4049713"/>
              <a:gd name="connsiteX25" fmla="*/ 340799 w 1784958"/>
              <a:gd name="connsiteY25" fmla="*/ 427607 h 4049713"/>
              <a:gd name="connsiteX26" fmla="*/ 335507 w 1784958"/>
              <a:gd name="connsiteY26" fmla="*/ 441895 h 4049713"/>
              <a:gd name="connsiteX27" fmla="*/ 329157 w 1784958"/>
              <a:gd name="connsiteY27" fmla="*/ 458830 h 4049713"/>
              <a:gd name="connsiteX28" fmla="*/ 323865 w 1784958"/>
              <a:gd name="connsiteY28" fmla="*/ 477882 h 4049713"/>
              <a:gd name="connsiteX29" fmla="*/ 319102 w 1784958"/>
              <a:gd name="connsiteY29" fmla="*/ 499051 h 4049713"/>
              <a:gd name="connsiteX30" fmla="*/ 315398 w 1784958"/>
              <a:gd name="connsiteY30" fmla="*/ 522865 h 4049713"/>
              <a:gd name="connsiteX31" fmla="*/ 311693 w 1784958"/>
              <a:gd name="connsiteY31" fmla="*/ 550384 h 4049713"/>
              <a:gd name="connsiteX32" fmla="*/ 308518 w 1784958"/>
              <a:gd name="connsiteY32" fmla="*/ 580020 h 4049713"/>
              <a:gd name="connsiteX33" fmla="*/ 306401 w 1784958"/>
              <a:gd name="connsiteY33" fmla="*/ 612832 h 4049713"/>
              <a:gd name="connsiteX34" fmla="*/ 304814 w 1784958"/>
              <a:gd name="connsiteY34" fmla="*/ 648818 h 4049713"/>
              <a:gd name="connsiteX35" fmla="*/ 304814 w 1784958"/>
              <a:gd name="connsiteY35" fmla="*/ 688510 h 4049713"/>
              <a:gd name="connsiteX36" fmla="*/ 304814 w 1784958"/>
              <a:gd name="connsiteY36" fmla="*/ 751486 h 4049713"/>
              <a:gd name="connsiteX37" fmla="*/ 304814 w 1784958"/>
              <a:gd name="connsiteY37" fmla="*/ 830869 h 4049713"/>
              <a:gd name="connsiteX38" fmla="*/ 304285 w 1784958"/>
              <a:gd name="connsiteY38" fmla="*/ 924540 h 4049713"/>
              <a:gd name="connsiteX39" fmla="*/ 304285 w 1784958"/>
              <a:gd name="connsiteY39" fmla="*/ 1031970 h 4049713"/>
              <a:gd name="connsiteX40" fmla="*/ 304285 w 1784958"/>
              <a:gd name="connsiteY40" fmla="*/ 1152102 h 4049713"/>
              <a:gd name="connsiteX41" fmla="*/ 304285 w 1784958"/>
              <a:gd name="connsiteY41" fmla="*/ 1282819 h 4049713"/>
              <a:gd name="connsiteX42" fmla="*/ 304285 w 1784958"/>
              <a:gd name="connsiteY42" fmla="*/ 1424648 h 4049713"/>
              <a:gd name="connsiteX43" fmla="*/ 304285 w 1784958"/>
              <a:gd name="connsiteY43" fmla="*/ 1576004 h 4049713"/>
              <a:gd name="connsiteX44" fmla="*/ 304285 w 1784958"/>
              <a:gd name="connsiteY44" fmla="*/ 1735298 h 4049713"/>
              <a:gd name="connsiteX45" fmla="*/ 304285 w 1784958"/>
              <a:gd name="connsiteY45" fmla="*/ 1901472 h 4049713"/>
              <a:gd name="connsiteX46" fmla="*/ 304285 w 1784958"/>
              <a:gd name="connsiteY46" fmla="*/ 2072937 h 4049713"/>
              <a:gd name="connsiteX47" fmla="*/ 303226 w 1784958"/>
              <a:gd name="connsiteY47" fmla="*/ 2249695 h 4049713"/>
              <a:gd name="connsiteX48" fmla="*/ 303226 w 1784958"/>
              <a:gd name="connsiteY48" fmla="*/ 2429629 h 4049713"/>
              <a:gd name="connsiteX49" fmla="*/ 303226 w 1784958"/>
              <a:gd name="connsiteY49" fmla="*/ 2612737 h 4049713"/>
              <a:gd name="connsiteX50" fmla="*/ 303226 w 1784958"/>
              <a:gd name="connsiteY50" fmla="*/ 2796375 h 4049713"/>
              <a:gd name="connsiteX51" fmla="*/ 303226 w 1784958"/>
              <a:gd name="connsiteY51" fmla="*/ 2981600 h 4049713"/>
              <a:gd name="connsiteX52" fmla="*/ 302697 w 1784958"/>
              <a:gd name="connsiteY52" fmla="*/ 3146716 h 4049713"/>
              <a:gd name="connsiteX53" fmla="*/ 302697 w 1784958"/>
              <a:gd name="connsiteY53" fmla="*/ 3310243 h 4049713"/>
              <a:gd name="connsiteX54" fmla="*/ 302697 w 1784958"/>
              <a:gd name="connsiteY54" fmla="*/ 3470596 h 4049713"/>
              <a:gd name="connsiteX55" fmla="*/ 302697 w 1784958"/>
              <a:gd name="connsiteY55" fmla="*/ 3627773 h 4049713"/>
              <a:gd name="connsiteX56" fmla="*/ 302697 w 1784958"/>
              <a:gd name="connsiteY56" fmla="*/ 3780187 h 4049713"/>
              <a:gd name="connsiteX57" fmla="*/ 302697 w 1784958"/>
              <a:gd name="connsiteY57" fmla="*/ 3927309 h 4049713"/>
              <a:gd name="connsiteX58" fmla="*/ 302697 w 1784958"/>
              <a:gd name="connsiteY58" fmla="*/ 4049713 h 4049713"/>
              <a:gd name="connsiteX59" fmla="*/ 0 w 1784958"/>
              <a:gd name="connsiteY59" fmla="*/ 4049713 h 4049713"/>
              <a:gd name="connsiteX60" fmla="*/ 0 w 1784958"/>
              <a:gd name="connsiteY60" fmla="*/ 3927309 h 4049713"/>
              <a:gd name="connsiteX61" fmla="*/ 0 w 1784958"/>
              <a:gd name="connsiteY61" fmla="*/ 3780187 h 4049713"/>
              <a:gd name="connsiteX62" fmla="*/ 0 w 1784958"/>
              <a:gd name="connsiteY62" fmla="*/ 3627773 h 4049713"/>
              <a:gd name="connsiteX63" fmla="*/ 0 w 1784958"/>
              <a:gd name="connsiteY63" fmla="*/ 3470596 h 4049713"/>
              <a:gd name="connsiteX64" fmla="*/ 530 w 1784958"/>
              <a:gd name="connsiteY64" fmla="*/ 3310243 h 4049713"/>
              <a:gd name="connsiteX65" fmla="*/ 530 w 1784958"/>
              <a:gd name="connsiteY65" fmla="*/ 3146716 h 4049713"/>
              <a:gd name="connsiteX66" fmla="*/ 530 w 1784958"/>
              <a:gd name="connsiteY66" fmla="*/ 2981071 h 4049713"/>
              <a:gd name="connsiteX67" fmla="*/ 530 w 1784958"/>
              <a:gd name="connsiteY67" fmla="*/ 2796375 h 4049713"/>
              <a:gd name="connsiteX68" fmla="*/ 530 w 1784958"/>
              <a:gd name="connsiteY68" fmla="*/ 2612737 h 4049713"/>
              <a:gd name="connsiteX69" fmla="*/ 530 w 1784958"/>
              <a:gd name="connsiteY69" fmla="*/ 2429629 h 4049713"/>
              <a:gd name="connsiteX70" fmla="*/ 1588 w 1784958"/>
              <a:gd name="connsiteY70" fmla="*/ 2249166 h 4049713"/>
              <a:gd name="connsiteX71" fmla="*/ 1588 w 1784958"/>
              <a:gd name="connsiteY71" fmla="*/ 2072937 h 4049713"/>
              <a:gd name="connsiteX72" fmla="*/ 1588 w 1784958"/>
              <a:gd name="connsiteY72" fmla="*/ 1900413 h 4049713"/>
              <a:gd name="connsiteX73" fmla="*/ 1588 w 1784958"/>
              <a:gd name="connsiteY73" fmla="*/ 1735298 h 4049713"/>
              <a:gd name="connsiteX74" fmla="*/ 1588 w 1784958"/>
              <a:gd name="connsiteY74" fmla="*/ 1576004 h 4049713"/>
              <a:gd name="connsiteX75" fmla="*/ 1588 w 1784958"/>
              <a:gd name="connsiteY75" fmla="*/ 1424648 h 4049713"/>
              <a:gd name="connsiteX76" fmla="*/ 1588 w 1784958"/>
              <a:gd name="connsiteY76" fmla="*/ 1282819 h 4049713"/>
              <a:gd name="connsiteX77" fmla="*/ 2117 w 1784958"/>
              <a:gd name="connsiteY77" fmla="*/ 1152102 h 4049713"/>
              <a:gd name="connsiteX78" fmla="*/ 2117 w 1784958"/>
              <a:gd name="connsiteY78" fmla="*/ 1031970 h 4049713"/>
              <a:gd name="connsiteX79" fmla="*/ 2117 w 1784958"/>
              <a:gd name="connsiteY79" fmla="*/ 924540 h 4049713"/>
              <a:gd name="connsiteX80" fmla="*/ 2117 w 1784958"/>
              <a:gd name="connsiteY80" fmla="*/ 830869 h 4049713"/>
              <a:gd name="connsiteX81" fmla="*/ 2117 w 1784958"/>
              <a:gd name="connsiteY81" fmla="*/ 751486 h 4049713"/>
              <a:gd name="connsiteX82" fmla="*/ 2117 w 1784958"/>
              <a:gd name="connsiteY82" fmla="*/ 688510 h 4049713"/>
              <a:gd name="connsiteX83" fmla="*/ 2117 w 1784958"/>
              <a:gd name="connsiteY83" fmla="*/ 643526 h 4049713"/>
              <a:gd name="connsiteX84" fmla="*/ 3705 w 1784958"/>
              <a:gd name="connsiteY84" fmla="*/ 600660 h 4049713"/>
              <a:gd name="connsiteX85" fmla="*/ 6880 w 1784958"/>
              <a:gd name="connsiteY85" fmla="*/ 559910 h 4049713"/>
              <a:gd name="connsiteX86" fmla="*/ 10055 w 1784958"/>
              <a:gd name="connsiteY86" fmla="*/ 521807 h 4049713"/>
              <a:gd name="connsiteX87" fmla="*/ 15347 w 1784958"/>
              <a:gd name="connsiteY87" fmla="*/ 485291 h 4049713"/>
              <a:gd name="connsiteX88" fmla="*/ 20639 w 1784958"/>
              <a:gd name="connsiteY88" fmla="*/ 450892 h 4049713"/>
              <a:gd name="connsiteX89" fmla="*/ 27518 w 1784958"/>
              <a:gd name="connsiteY89" fmla="*/ 418610 h 4049713"/>
              <a:gd name="connsiteX90" fmla="*/ 34927 w 1784958"/>
              <a:gd name="connsiteY90" fmla="*/ 386857 h 4049713"/>
              <a:gd name="connsiteX91" fmla="*/ 41277 w 1784958"/>
              <a:gd name="connsiteY91" fmla="*/ 368863 h 4049713"/>
              <a:gd name="connsiteX92" fmla="*/ 46569 w 1784958"/>
              <a:gd name="connsiteY92" fmla="*/ 351399 h 4049713"/>
              <a:gd name="connsiteX93" fmla="*/ 52390 w 1784958"/>
              <a:gd name="connsiteY93" fmla="*/ 333935 h 4049713"/>
              <a:gd name="connsiteX94" fmla="*/ 59270 w 1784958"/>
              <a:gd name="connsiteY94" fmla="*/ 317000 h 4049713"/>
              <a:gd name="connsiteX95" fmla="*/ 66149 w 1784958"/>
              <a:gd name="connsiteY95" fmla="*/ 301124 h 4049713"/>
              <a:gd name="connsiteX96" fmla="*/ 74087 w 1784958"/>
              <a:gd name="connsiteY96" fmla="*/ 284718 h 4049713"/>
              <a:gd name="connsiteX97" fmla="*/ 81496 w 1784958"/>
              <a:gd name="connsiteY97" fmla="*/ 269900 h 4049713"/>
              <a:gd name="connsiteX98" fmla="*/ 89963 w 1784958"/>
              <a:gd name="connsiteY98" fmla="*/ 254553 h 4049713"/>
              <a:gd name="connsiteX99" fmla="*/ 98959 w 1784958"/>
              <a:gd name="connsiteY99" fmla="*/ 239735 h 4049713"/>
              <a:gd name="connsiteX100" fmla="*/ 108484 w 1784958"/>
              <a:gd name="connsiteY100" fmla="*/ 225975 h 4049713"/>
              <a:gd name="connsiteX101" fmla="*/ 118010 w 1784958"/>
              <a:gd name="connsiteY101" fmla="*/ 212745 h 4049713"/>
              <a:gd name="connsiteX102" fmla="*/ 128064 w 1784958"/>
              <a:gd name="connsiteY102" fmla="*/ 199514 h 4049713"/>
              <a:gd name="connsiteX103" fmla="*/ 138648 w 1784958"/>
              <a:gd name="connsiteY103" fmla="*/ 186813 h 4049713"/>
              <a:gd name="connsiteX104" fmla="*/ 150290 w 1784958"/>
              <a:gd name="connsiteY104" fmla="*/ 174112 h 4049713"/>
              <a:gd name="connsiteX105" fmla="*/ 161403 w 1784958"/>
              <a:gd name="connsiteY105" fmla="*/ 162999 h 4049713"/>
              <a:gd name="connsiteX106" fmla="*/ 173046 w 1784958"/>
              <a:gd name="connsiteY106" fmla="*/ 151356 h 4049713"/>
              <a:gd name="connsiteX107" fmla="*/ 187334 w 1784958"/>
              <a:gd name="connsiteY107" fmla="*/ 139184 h 4049713"/>
              <a:gd name="connsiteX108" fmla="*/ 201093 w 1784958"/>
              <a:gd name="connsiteY108" fmla="*/ 128070 h 4049713"/>
              <a:gd name="connsiteX109" fmla="*/ 215910 w 1784958"/>
              <a:gd name="connsiteY109" fmla="*/ 116428 h 4049713"/>
              <a:gd name="connsiteX110" fmla="*/ 230727 w 1784958"/>
              <a:gd name="connsiteY110" fmla="*/ 106372 h 4049713"/>
              <a:gd name="connsiteX111" fmla="*/ 246074 w 1784958"/>
              <a:gd name="connsiteY111" fmla="*/ 96847 h 4049713"/>
              <a:gd name="connsiteX112" fmla="*/ 261949 w 1784958"/>
              <a:gd name="connsiteY112" fmla="*/ 87321 h 4049713"/>
              <a:gd name="connsiteX113" fmla="*/ 278354 w 1784958"/>
              <a:gd name="connsiteY113" fmla="*/ 78853 h 4049713"/>
              <a:gd name="connsiteX114" fmla="*/ 294230 w 1784958"/>
              <a:gd name="connsiteY114" fmla="*/ 71444 h 4049713"/>
              <a:gd name="connsiteX115" fmla="*/ 311164 w 1784958"/>
              <a:gd name="connsiteY115" fmla="*/ 64035 h 4049713"/>
              <a:gd name="connsiteX116" fmla="*/ 327569 w 1784958"/>
              <a:gd name="connsiteY116" fmla="*/ 57155 h 4049713"/>
              <a:gd name="connsiteX117" fmla="*/ 345032 w 1784958"/>
              <a:gd name="connsiteY117" fmla="*/ 50805 h 4049713"/>
              <a:gd name="connsiteX118" fmla="*/ 362495 w 1784958"/>
              <a:gd name="connsiteY118" fmla="*/ 44984 h 4049713"/>
              <a:gd name="connsiteX119" fmla="*/ 380488 w 1784958"/>
              <a:gd name="connsiteY119" fmla="*/ 39162 h 4049713"/>
              <a:gd name="connsiteX120" fmla="*/ 397951 w 1784958"/>
              <a:gd name="connsiteY120" fmla="*/ 33870 h 4049713"/>
              <a:gd name="connsiteX121" fmla="*/ 415944 w 1784958"/>
              <a:gd name="connsiteY121" fmla="*/ 29636 h 4049713"/>
              <a:gd name="connsiteX122" fmla="*/ 433407 w 1784958"/>
              <a:gd name="connsiteY122" fmla="*/ 25932 h 4049713"/>
              <a:gd name="connsiteX123" fmla="*/ 470979 w 1784958"/>
              <a:gd name="connsiteY123" fmla="*/ 19052 h 4049713"/>
              <a:gd name="connsiteX124" fmla="*/ 507494 w 1784958"/>
              <a:gd name="connsiteY124" fmla="*/ 12701 h 4049713"/>
              <a:gd name="connsiteX125" fmla="*/ 545066 w 1784958"/>
              <a:gd name="connsiteY125" fmla="*/ 7938 h 4049713"/>
              <a:gd name="connsiteX126" fmla="*/ 583168 w 1784958"/>
              <a:gd name="connsiteY126" fmla="*/ 5292 h 4049713"/>
              <a:gd name="connsiteX127" fmla="*/ 620211 w 1784958"/>
              <a:gd name="connsiteY127" fmla="*/ 2646 h 4049713"/>
              <a:gd name="connsiteX128" fmla="*/ 657784 w 1784958"/>
              <a:gd name="connsiteY128" fmla="*/ 1059 h 4049713"/>
              <a:gd name="connsiteX129" fmla="*/ 694827 w 1784958"/>
              <a:gd name="connsiteY129" fmla="*/ 530 h 4049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Lst>
            <a:rect l="l" t="t" r="r" b="b"/>
            <a:pathLst>
              <a:path w="1784958" h="4049713">
                <a:moveTo>
                  <a:pt x="732399" y="0"/>
                </a:moveTo>
                <a:lnTo>
                  <a:pt x="1784958" y="0"/>
                </a:lnTo>
                <a:lnTo>
                  <a:pt x="1784958" y="302712"/>
                </a:lnTo>
                <a:lnTo>
                  <a:pt x="732399" y="302712"/>
                </a:lnTo>
                <a:lnTo>
                  <a:pt x="697473" y="302712"/>
                </a:lnTo>
                <a:lnTo>
                  <a:pt x="664663" y="303241"/>
                </a:lnTo>
                <a:lnTo>
                  <a:pt x="633970" y="304829"/>
                </a:lnTo>
                <a:lnTo>
                  <a:pt x="604335" y="306945"/>
                </a:lnTo>
                <a:lnTo>
                  <a:pt x="576817" y="309062"/>
                </a:lnTo>
                <a:lnTo>
                  <a:pt x="550887" y="312237"/>
                </a:lnTo>
                <a:lnTo>
                  <a:pt x="526544" y="315942"/>
                </a:lnTo>
                <a:lnTo>
                  <a:pt x="504319" y="320176"/>
                </a:lnTo>
                <a:lnTo>
                  <a:pt x="483151" y="324409"/>
                </a:lnTo>
                <a:lnTo>
                  <a:pt x="463571" y="329702"/>
                </a:lnTo>
                <a:lnTo>
                  <a:pt x="445578" y="336052"/>
                </a:lnTo>
                <a:lnTo>
                  <a:pt x="429174" y="341873"/>
                </a:lnTo>
                <a:lnTo>
                  <a:pt x="413827" y="348753"/>
                </a:lnTo>
                <a:lnTo>
                  <a:pt x="400597" y="356692"/>
                </a:lnTo>
                <a:lnTo>
                  <a:pt x="388426" y="365159"/>
                </a:lnTo>
                <a:lnTo>
                  <a:pt x="377842" y="374156"/>
                </a:lnTo>
                <a:lnTo>
                  <a:pt x="372021" y="379448"/>
                </a:lnTo>
                <a:lnTo>
                  <a:pt x="365671" y="386328"/>
                </a:lnTo>
                <a:lnTo>
                  <a:pt x="359850" y="394795"/>
                </a:lnTo>
                <a:lnTo>
                  <a:pt x="352970" y="403792"/>
                </a:lnTo>
                <a:lnTo>
                  <a:pt x="346620" y="415434"/>
                </a:lnTo>
                <a:lnTo>
                  <a:pt x="340799" y="427607"/>
                </a:lnTo>
                <a:lnTo>
                  <a:pt x="335507" y="441895"/>
                </a:lnTo>
                <a:lnTo>
                  <a:pt x="329157" y="458830"/>
                </a:lnTo>
                <a:lnTo>
                  <a:pt x="323865" y="477882"/>
                </a:lnTo>
                <a:lnTo>
                  <a:pt x="319102" y="499051"/>
                </a:lnTo>
                <a:lnTo>
                  <a:pt x="315398" y="522865"/>
                </a:lnTo>
                <a:lnTo>
                  <a:pt x="311693" y="550384"/>
                </a:lnTo>
                <a:lnTo>
                  <a:pt x="308518" y="580020"/>
                </a:lnTo>
                <a:lnTo>
                  <a:pt x="306401" y="612832"/>
                </a:lnTo>
                <a:lnTo>
                  <a:pt x="304814" y="648818"/>
                </a:lnTo>
                <a:lnTo>
                  <a:pt x="304814" y="688510"/>
                </a:lnTo>
                <a:lnTo>
                  <a:pt x="304814" y="751486"/>
                </a:lnTo>
                <a:lnTo>
                  <a:pt x="304814" y="830869"/>
                </a:lnTo>
                <a:lnTo>
                  <a:pt x="304285" y="924540"/>
                </a:lnTo>
                <a:lnTo>
                  <a:pt x="304285" y="1031970"/>
                </a:lnTo>
                <a:lnTo>
                  <a:pt x="304285" y="1152102"/>
                </a:lnTo>
                <a:lnTo>
                  <a:pt x="304285" y="1282819"/>
                </a:lnTo>
                <a:lnTo>
                  <a:pt x="304285" y="1424648"/>
                </a:lnTo>
                <a:lnTo>
                  <a:pt x="304285" y="1576004"/>
                </a:lnTo>
                <a:lnTo>
                  <a:pt x="304285" y="1735298"/>
                </a:lnTo>
                <a:lnTo>
                  <a:pt x="304285" y="1901472"/>
                </a:lnTo>
                <a:lnTo>
                  <a:pt x="304285" y="2072937"/>
                </a:lnTo>
                <a:lnTo>
                  <a:pt x="303226" y="2249695"/>
                </a:lnTo>
                <a:lnTo>
                  <a:pt x="303226" y="2429629"/>
                </a:lnTo>
                <a:lnTo>
                  <a:pt x="303226" y="2612737"/>
                </a:lnTo>
                <a:lnTo>
                  <a:pt x="303226" y="2796375"/>
                </a:lnTo>
                <a:lnTo>
                  <a:pt x="303226" y="2981600"/>
                </a:lnTo>
                <a:lnTo>
                  <a:pt x="302697" y="3146716"/>
                </a:lnTo>
                <a:lnTo>
                  <a:pt x="302697" y="3310243"/>
                </a:lnTo>
                <a:lnTo>
                  <a:pt x="302697" y="3470596"/>
                </a:lnTo>
                <a:lnTo>
                  <a:pt x="302697" y="3627773"/>
                </a:lnTo>
                <a:lnTo>
                  <a:pt x="302697" y="3780187"/>
                </a:lnTo>
                <a:lnTo>
                  <a:pt x="302697" y="3927309"/>
                </a:lnTo>
                <a:lnTo>
                  <a:pt x="302697" y="4049713"/>
                </a:lnTo>
                <a:lnTo>
                  <a:pt x="0" y="4049713"/>
                </a:lnTo>
                <a:lnTo>
                  <a:pt x="0" y="3927309"/>
                </a:lnTo>
                <a:lnTo>
                  <a:pt x="0" y="3780187"/>
                </a:lnTo>
                <a:lnTo>
                  <a:pt x="0" y="3627773"/>
                </a:lnTo>
                <a:lnTo>
                  <a:pt x="0" y="3470596"/>
                </a:lnTo>
                <a:lnTo>
                  <a:pt x="530" y="3310243"/>
                </a:lnTo>
                <a:lnTo>
                  <a:pt x="530" y="3146716"/>
                </a:lnTo>
                <a:lnTo>
                  <a:pt x="530" y="2981071"/>
                </a:lnTo>
                <a:lnTo>
                  <a:pt x="530" y="2796375"/>
                </a:lnTo>
                <a:lnTo>
                  <a:pt x="530" y="2612737"/>
                </a:lnTo>
                <a:lnTo>
                  <a:pt x="530" y="2429629"/>
                </a:lnTo>
                <a:lnTo>
                  <a:pt x="1588" y="2249166"/>
                </a:lnTo>
                <a:lnTo>
                  <a:pt x="1588" y="2072937"/>
                </a:lnTo>
                <a:lnTo>
                  <a:pt x="1588" y="1900413"/>
                </a:lnTo>
                <a:lnTo>
                  <a:pt x="1588" y="1735298"/>
                </a:lnTo>
                <a:lnTo>
                  <a:pt x="1588" y="1576004"/>
                </a:lnTo>
                <a:lnTo>
                  <a:pt x="1588" y="1424648"/>
                </a:lnTo>
                <a:lnTo>
                  <a:pt x="1588" y="1282819"/>
                </a:lnTo>
                <a:lnTo>
                  <a:pt x="2117" y="1152102"/>
                </a:lnTo>
                <a:lnTo>
                  <a:pt x="2117" y="1031970"/>
                </a:lnTo>
                <a:lnTo>
                  <a:pt x="2117" y="924540"/>
                </a:lnTo>
                <a:lnTo>
                  <a:pt x="2117" y="830869"/>
                </a:lnTo>
                <a:lnTo>
                  <a:pt x="2117" y="751486"/>
                </a:lnTo>
                <a:lnTo>
                  <a:pt x="2117" y="688510"/>
                </a:lnTo>
                <a:lnTo>
                  <a:pt x="2117" y="643526"/>
                </a:lnTo>
                <a:lnTo>
                  <a:pt x="3705" y="600660"/>
                </a:lnTo>
                <a:lnTo>
                  <a:pt x="6880" y="559910"/>
                </a:lnTo>
                <a:lnTo>
                  <a:pt x="10055" y="521807"/>
                </a:lnTo>
                <a:lnTo>
                  <a:pt x="15347" y="485291"/>
                </a:lnTo>
                <a:lnTo>
                  <a:pt x="20639" y="450892"/>
                </a:lnTo>
                <a:lnTo>
                  <a:pt x="27518" y="418610"/>
                </a:lnTo>
                <a:lnTo>
                  <a:pt x="34927" y="386857"/>
                </a:lnTo>
                <a:lnTo>
                  <a:pt x="41277" y="368863"/>
                </a:lnTo>
                <a:lnTo>
                  <a:pt x="46569" y="351399"/>
                </a:lnTo>
                <a:lnTo>
                  <a:pt x="52390" y="333935"/>
                </a:lnTo>
                <a:lnTo>
                  <a:pt x="59270" y="317000"/>
                </a:lnTo>
                <a:lnTo>
                  <a:pt x="66149" y="301124"/>
                </a:lnTo>
                <a:lnTo>
                  <a:pt x="74087" y="284718"/>
                </a:lnTo>
                <a:lnTo>
                  <a:pt x="81496" y="269900"/>
                </a:lnTo>
                <a:lnTo>
                  <a:pt x="89963" y="254553"/>
                </a:lnTo>
                <a:lnTo>
                  <a:pt x="98959" y="239735"/>
                </a:lnTo>
                <a:lnTo>
                  <a:pt x="108484" y="225975"/>
                </a:lnTo>
                <a:lnTo>
                  <a:pt x="118010" y="212745"/>
                </a:lnTo>
                <a:lnTo>
                  <a:pt x="128064" y="199514"/>
                </a:lnTo>
                <a:lnTo>
                  <a:pt x="138648" y="186813"/>
                </a:lnTo>
                <a:lnTo>
                  <a:pt x="150290" y="174112"/>
                </a:lnTo>
                <a:lnTo>
                  <a:pt x="161403" y="162999"/>
                </a:lnTo>
                <a:lnTo>
                  <a:pt x="173046" y="151356"/>
                </a:lnTo>
                <a:lnTo>
                  <a:pt x="187334" y="139184"/>
                </a:lnTo>
                <a:lnTo>
                  <a:pt x="201093" y="128070"/>
                </a:lnTo>
                <a:lnTo>
                  <a:pt x="215910" y="116428"/>
                </a:lnTo>
                <a:lnTo>
                  <a:pt x="230727" y="106372"/>
                </a:lnTo>
                <a:lnTo>
                  <a:pt x="246074" y="96847"/>
                </a:lnTo>
                <a:lnTo>
                  <a:pt x="261949" y="87321"/>
                </a:lnTo>
                <a:lnTo>
                  <a:pt x="278354" y="78853"/>
                </a:lnTo>
                <a:lnTo>
                  <a:pt x="294230" y="71444"/>
                </a:lnTo>
                <a:lnTo>
                  <a:pt x="311164" y="64035"/>
                </a:lnTo>
                <a:lnTo>
                  <a:pt x="327569" y="57155"/>
                </a:lnTo>
                <a:lnTo>
                  <a:pt x="345032" y="50805"/>
                </a:lnTo>
                <a:lnTo>
                  <a:pt x="362495" y="44984"/>
                </a:lnTo>
                <a:lnTo>
                  <a:pt x="380488" y="39162"/>
                </a:lnTo>
                <a:lnTo>
                  <a:pt x="397951" y="33870"/>
                </a:lnTo>
                <a:lnTo>
                  <a:pt x="415944" y="29636"/>
                </a:lnTo>
                <a:lnTo>
                  <a:pt x="433407" y="25932"/>
                </a:lnTo>
                <a:lnTo>
                  <a:pt x="470979" y="19052"/>
                </a:lnTo>
                <a:lnTo>
                  <a:pt x="507494" y="12701"/>
                </a:lnTo>
                <a:lnTo>
                  <a:pt x="545066" y="7938"/>
                </a:lnTo>
                <a:lnTo>
                  <a:pt x="583168" y="5292"/>
                </a:lnTo>
                <a:lnTo>
                  <a:pt x="620211" y="2646"/>
                </a:lnTo>
                <a:lnTo>
                  <a:pt x="657784" y="1059"/>
                </a:lnTo>
                <a:lnTo>
                  <a:pt x="694827" y="530"/>
                </a:lnTo>
                <a:close/>
              </a:path>
            </a:pathLst>
          </a:custGeom>
          <a:solidFill>
            <a:schemeClr val="bg1">
              <a:lumMod val="85000"/>
              <a:alpha val="31000"/>
            </a:schemeClr>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9" name="Rectangle 41">
            <a:extLst>
              <a:ext uri="{FF2B5EF4-FFF2-40B4-BE49-F238E27FC236}">
                <a16:creationId xmlns:a16="http://schemas.microsoft.com/office/drawing/2014/main" id="{EC819F8D-AD22-4D6F-A268-43CCEB0E8279}"/>
              </a:ext>
            </a:extLst>
          </p:cNvPr>
          <p:cNvSpPr/>
          <p:nvPr/>
        </p:nvSpPr>
        <p:spPr>
          <a:xfrm>
            <a:off x="1195889" y="859131"/>
            <a:ext cx="6091678" cy="1311128"/>
          </a:xfrm>
          <a:prstGeom prst="rect">
            <a:avLst/>
          </a:prstGeom>
        </p:spPr>
        <p:txBody>
          <a:bodyPr wrap="square">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4400" b="1" i="0" u="none" strike="noStrike" kern="1200" cap="none" spc="0" normalizeH="0" baseline="0" noProof="0" dirty="0">
                <a:ln>
                  <a:noFill/>
                </a:ln>
                <a:solidFill>
                  <a:srgbClr val="000000">
                    <a:lumMod val="75000"/>
                    <a:lumOff val="25000"/>
                  </a:srgbClr>
                </a:solidFill>
                <a:effectLst/>
                <a:uLnTx/>
                <a:uFillTx/>
                <a:latin typeface="Segoe UI" panose="020B0502040204020203" pitchFamily="34" charset="0"/>
                <a:ea typeface="+mn-ea"/>
                <a:cs typeface="Segoe UI" panose="020B0502040204020203" pitchFamily="34" charset="0"/>
              </a:rPr>
              <a:t>5 Stag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4400" b="1" i="0" u="none" strike="noStrike" kern="1200" cap="none" spc="0" normalizeH="0" baseline="0" noProof="0" dirty="0">
                <a:ln>
                  <a:noFill/>
                </a:ln>
                <a:solidFill>
                  <a:srgbClr val="000000">
                    <a:lumMod val="75000"/>
                    <a:lumOff val="25000"/>
                  </a:srgbClr>
                </a:solidFill>
                <a:effectLst/>
                <a:uLnTx/>
                <a:uFillTx/>
                <a:latin typeface="Segoe UI" panose="020B0502040204020203" pitchFamily="34" charset="0"/>
                <a:ea typeface="+mn-ea"/>
                <a:cs typeface="Segoe UI" panose="020B0502040204020203" pitchFamily="34" charset="0"/>
              </a:rPr>
              <a:t>Environment Process</a:t>
            </a:r>
          </a:p>
        </p:txBody>
      </p:sp>
      <p:grpSp>
        <p:nvGrpSpPr>
          <p:cNvPr id="10" name="Group 8">
            <a:extLst>
              <a:ext uri="{FF2B5EF4-FFF2-40B4-BE49-F238E27FC236}">
                <a16:creationId xmlns:a16="http://schemas.microsoft.com/office/drawing/2014/main" id="{40B86AC4-A767-4CA0-9038-F472BB1BC503}"/>
              </a:ext>
            </a:extLst>
          </p:cNvPr>
          <p:cNvGrpSpPr/>
          <p:nvPr/>
        </p:nvGrpSpPr>
        <p:grpSpPr>
          <a:xfrm>
            <a:off x="776037" y="5203623"/>
            <a:ext cx="10675516" cy="1148250"/>
            <a:chOff x="732920" y="5240931"/>
            <a:chExt cx="10675516" cy="1148250"/>
          </a:xfrm>
        </p:grpSpPr>
        <p:grpSp>
          <p:nvGrpSpPr>
            <p:cNvPr id="11" name="Group 74">
              <a:extLst>
                <a:ext uri="{FF2B5EF4-FFF2-40B4-BE49-F238E27FC236}">
                  <a16:creationId xmlns:a16="http://schemas.microsoft.com/office/drawing/2014/main" id="{B253FB12-0586-4A4B-A088-25CB9CFDC028}"/>
                </a:ext>
              </a:extLst>
            </p:cNvPr>
            <p:cNvGrpSpPr/>
            <p:nvPr/>
          </p:nvGrpSpPr>
          <p:grpSpPr>
            <a:xfrm>
              <a:off x="732920" y="5240931"/>
              <a:ext cx="1993476" cy="1148250"/>
              <a:chOff x="1144020" y="3509597"/>
              <a:chExt cx="1993476" cy="1148250"/>
            </a:xfrm>
          </p:grpSpPr>
          <p:sp>
            <p:nvSpPr>
              <p:cNvPr id="32" name="TextBox 75">
                <a:extLst>
                  <a:ext uri="{FF2B5EF4-FFF2-40B4-BE49-F238E27FC236}">
                    <a16:creationId xmlns:a16="http://schemas.microsoft.com/office/drawing/2014/main" id="{15003B40-AC96-4862-BBB4-85A661D4EB59}"/>
                  </a:ext>
                </a:extLst>
              </p:cNvPr>
              <p:cNvSpPr txBox="1"/>
              <p:nvPr/>
            </p:nvSpPr>
            <p:spPr>
              <a:xfrm>
                <a:off x="1407228" y="3914581"/>
                <a:ext cx="1730268" cy="667555"/>
              </a:xfrm>
              <a:prstGeom prst="rect">
                <a:avLst/>
              </a:prstGeom>
              <a:noFill/>
            </p:spPr>
            <p:txBody>
              <a:bodyPr wrap="square" rtlCol="0">
                <a:spAutoFit/>
              </a:bodyPr>
              <a:lstStyle/>
              <a:p>
                <a:pPr marL="0" marR="0" lvl="0" indent="0" algn="l" defTabSz="914400" rtl="0" eaLnBrk="1" fontAlgn="auto" latinLnBrk="0" hangingPunct="1">
                  <a:lnSpc>
                    <a:spcPct val="14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等线 Light" panose="020F0302020204030204"/>
                    <a:ea typeface="+mn-ea"/>
                    <a:cs typeface="+mn-cs"/>
                  </a:rPr>
                  <a:t>Lorem ipsum dolor sit </a:t>
                </a:r>
                <a:r>
                  <a:rPr kumimoji="0" lang="en-US" sz="1400" b="0" i="0" u="none" strike="noStrike" kern="1200" cap="none" spc="0" normalizeH="0" baseline="0" noProof="0" dirty="0" err="1">
                    <a:ln>
                      <a:noFill/>
                    </a:ln>
                    <a:solidFill>
                      <a:srgbClr val="FFFFFF"/>
                    </a:solidFill>
                    <a:effectLst/>
                    <a:uLnTx/>
                    <a:uFillTx/>
                    <a:latin typeface="等线 Light" panose="020F0302020204030204"/>
                    <a:ea typeface="+mn-ea"/>
                    <a:cs typeface="+mn-cs"/>
                  </a:rPr>
                  <a:t>amet</a:t>
                </a:r>
                <a:r>
                  <a:rPr kumimoji="0" lang="en-US" sz="1400" b="0" i="0" u="none" strike="noStrike" kern="1200" cap="none" spc="0" normalizeH="0" baseline="0" noProof="0" dirty="0">
                    <a:ln>
                      <a:noFill/>
                    </a:ln>
                    <a:solidFill>
                      <a:srgbClr val="FFFFFF"/>
                    </a:solidFill>
                    <a:effectLst/>
                    <a:uLnTx/>
                    <a:uFillTx/>
                    <a:latin typeface="等线 Light" panose="020F0302020204030204"/>
                    <a:ea typeface="+mn-ea"/>
                    <a:cs typeface="+mn-cs"/>
                  </a:rPr>
                  <a:t>, </a:t>
                </a:r>
                <a:r>
                  <a:rPr kumimoji="0" lang="en-US" sz="1400" b="0" i="0" u="none" strike="noStrike" kern="1200" cap="none" spc="0" normalizeH="0" baseline="0" noProof="0" dirty="0" err="1">
                    <a:ln>
                      <a:noFill/>
                    </a:ln>
                    <a:solidFill>
                      <a:srgbClr val="FFFFFF"/>
                    </a:solidFill>
                    <a:effectLst/>
                    <a:uLnTx/>
                    <a:uFillTx/>
                    <a:latin typeface="等线 Light" panose="020F0302020204030204"/>
                    <a:ea typeface="+mn-ea"/>
                    <a:cs typeface="+mn-cs"/>
                  </a:rPr>
                  <a:t>consectetur</a:t>
                </a:r>
                <a:endParaRPr kumimoji="0" lang="en-US" sz="1400" b="0" i="0" u="none" strike="noStrike" kern="1200" cap="none" spc="0" normalizeH="0" baseline="0" noProof="0" dirty="0">
                  <a:ln>
                    <a:noFill/>
                  </a:ln>
                  <a:solidFill>
                    <a:srgbClr val="FFFFFF"/>
                  </a:solidFill>
                  <a:effectLst/>
                  <a:uLnTx/>
                  <a:uFillTx/>
                  <a:latin typeface="等线 Light" panose="020F0302020204030204"/>
                  <a:ea typeface="+mn-ea"/>
                  <a:cs typeface="+mn-cs"/>
                </a:endParaRPr>
              </a:p>
            </p:txBody>
          </p:sp>
          <p:sp>
            <p:nvSpPr>
              <p:cNvPr id="33" name="TextBox 76">
                <a:extLst>
                  <a:ext uri="{FF2B5EF4-FFF2-40B4-BE49-F238E27FC236}">
                    <a16:creationId xmlns:a16="http://schemas.microsoft.com/office/drawing/2014/main" id="{D21841AE-B4F8-4A07-82C2-D5465B384D40}"/>
                  </a:ext>
                </a:extLst>
              </p:cNvPr>
              <p:cNvSpPr txBox="1"/>
              <p:nvPr/>
            </p:nvSpPr>
            <p:spPr>
              <a:xfrm>
                <a:off x="1407227" y="3509597"/>
                <a:ext cx="1507624" cy="404983"/>
              </a:xfrm>
              <a:prstGeom prst="rect">
                <a:avLst/>
              </a:prstGeom>
              <a:noFill/>
            </p:spPr>
            <p:txBody>
              <a:bodyPr wrap="square" rtlCol="0">
                <a:spAutoFit/>
              </a:bodyPr>
              <a:lstStyle/>
              <a:p>
                <a:pPr marL="0" marR="0" lvl="0" indent="0" algn="l" defTabSz="914400" rtl="0" eaLnBrk="1" fontAlgn="auto" latinLnBrk="0" hangingPunct="1">
                  <a:lnSpc>
                    <a:spcPct val="14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等线" panose="020F0502020204030204"/>
                    <a:ea typeface="+mn-ea"/>
                    <a:cs typeface="+mn-cs"/>
                  </a:rPr>
                  <a:t>Your Text Here</a:t>
                </a:r>
              </a:p>
            </p:txBody>
          </p:sp>
          <p:cxnSp>
            <p:nvCxnSpPr>
              <p:cNvPr id="34" name="Straight Connector 77">
                <a:extLst>
                  <a:ext uri="{FF2B5EF4-FFF2-40B4-BE49-F238E27FC236}">
                    <a16:creationId xmlns:a16="http://schemas.microsoft.com/office/drawing/2014/main" id="{59447E75-FAC0-4954-8491-BCD7A57C0D42}"/>
                  </a:ext>
                </a:extLst>
              </p:cNvPr>
              <p:cNvCxnSpPr>
                <a:cxnSpLocks/>
              </p:cNvCxnSpPr>
              <p:nvPr/>
            </p:nvCxnSpPr>
            <p:spPr>
              <a:xfrm>
                <a:off x="1166879" y="3509597"/>
                <a:ext cx="0" cy="1148250"/>
              </a:xfrm>
              <a:prstGeom prst="line">
                <a:avLst/>
              </a:prstGeom>
              <a:ln>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sp>
            <p:nvSpPr>
              <p:cNvPr id="35" name="Rectangle: Rounded Corners 78">
                <a:extLst>
                  <a:ext uri="{FF2B5EF4-FFF2-40B4-BE49-F238E27FC236}">
                    <a16:creationId xmlns:a16="http://schemas.microsoft.com/office/drawing/2014/main" id="{ACE0A9AF-384E-4D63-833E-FA2AC1A8F1E5}"/>
                  </a:ext>
                </a:extLst>
              </p:cNvPr>
              <p:cNvSpPr/>
              <p:nvPr/>
            </p:nvSpPr>
            <p:spPr>
              <a:xfrm>
                <a:off x="1144020" y="3749944"/>
                <a:ext cx="45719" cy="667556"/>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等线" panose="020F0502020204030204"/>
                  <a:ea typeface="+mn-ea"/>
                  <a:cs typeface="+mn-cs"/>
                </a:endParaRPr>
              </a:p>
            </p:txBody>
          </p:sp>
        </p:grpSp>
        <p:grpSp>
          <p:nvGrpSpPr>
            <p:cNvPr id="12" name="Group 94">
              <a:extLst>
                <a:ext uri="{FF2B5EF4-FFF2-40B4-BE49-F238E27FC236}">
                  <a16:creationId xmlns:a16="http://schemas.microsoft.com/office/drawing/2014/main" id="{A038289D-2787-4F7E-A3C4-7CD1AFF230BA}"/>
                </a:ext>
              </a:extLst>
            </p:cNvPr>
            <p:cNvGrpSpPr/>
            <p:nvPr/>
          </p:nvGrpSpPr>
          <p:grpSpPr>
            <a:xfrm>
              <a:off x="2903430" y="5240931"/>
              <a:ext cx="1993476" cy="1148250"/>
              <a:chOff x="1144020" y="3509597"/>
              <a:chExt cx="1993476" cy="1148250"/>
            </a:xfrm>
          </p:grpSpPr>
          <p:sp>
            <p:nvSpPr>
              <p:cNvPr id="28" name="TextBox 95">
                <a:extLst>
                  <a:ext uri="{FF2B5EF4-FFF2-40B4-BE49-F238E27FC236}">
                    <a16:creationId xmlns:a16="http://schemas.microsoft.com/office/drawing/2014/main" id="{68498C18-E6F9-4C8D-87FF-6A551BBB9A00}"/>
                  </a:ext>
                </a:extLst>
              </p:cNvPr>
              <p:cNvSpPr txBox="1"/>
              <p:nvPr/>
            </p:nvSpPr>
            <p:spPr>
              <a:xfrm>
                <a:off x="1407228" y="3914581"/>
                <a:ext cx="1730268" cy="667555"/>
              </a:xfrm>
              <a:prstGeom prst="rect">
                <a:avLst/>
              </a:prstGeom>
              <a:noFill/>
            </p:spPr>
            <p:txBody>
              <a:bodyPr wrap="square" rtlCol="0">
                <a:spAutoFit/>
              </a:bodyPr>
              <a:lstStyle/>
              <a:p>
                <a:pPr marL="0" marR="0" lvl="0" indent="0" algn="l" defTabSz="914400" rtl="0" eaLnBrk="1" fontAlgn="auto" latinLnBrk="0" hangingPunct="1">
                  <a:lnSpc>
                    <a:spcPct val="14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等线 Light" panose="020F0302020204030204"/>
                    <a:ea typeface="+mn-ea"/>
                    <a:cs typeface="+mn-cs"/>
                  </a:rPr>
                  <a:t>Lorem ipsum dolor sit </a:t>
                </a:r>
                <a:r>
                  <a:rPr kumimoji="0" lang="en-US" sz="1400" b="0" i="0" u="none" strike="noStrike" kern="1200" cap="none" spc="0" normalizeH="0" baseline="0" noProof="0" dirty="0" err="1">
                    <a:ln>
                      <a:noFill/>
                    </a:ln>
                    <a:solidFill>
                      <a:srgbClr val="FFFFFF"/>
                    </a:solidFill>
                    <a:effectLst/>
                    <a:uLnTx/>
                    <a:uFillTx/>
                    <a:latin typeface="等线 Light" panose="020F0302020204030204"/>
                    <a:ea typeface="+mn-ea"/>
                    <a:cs typeface="+mn-cs"/>
                  </a:rPr>
                  <a:t>amet</a:t>
                </a:r>
                <a:r>
                  <a:rPr kumimoji="0" lang="en-US" sz="1400" b="0" i="0" u="none" strike="noStrike" kern="1200" cap="none" spc="0" normalizeH="0" baseline="0" noProof="0" dirty="0">
                    <a:ln>
                      <a:noFill/>
                    </a:ln>
                    <a:solidFill>
                      <a:srgbClr val="FFFFFF"/>
                    </a:solidFill>
                    <a:effectLst/>
                    <a:uLnTx/>
                    <a:uFillTx/>
                    <a:latin typeface="等线 Light" panose="020F0302020204030204"/>
                    <a:ea typeface="+mn-ea"/>
                    <a:cs typeface="+mn-cs"/>
                  </a:rPr>
                  <a:t>, </a:t>
                </a:r>
                <a:r>
                  <a:rPr kumimoji="0" lang="en-US" sz="1400" b="0" i="0" u="none" strike="noStrike" kern="1200" cap="none" spc="0" normalizeH="0" baseline="0" noProof="0" dirty="0" err="1">
                    <a:ln>
                      <a:noFill/>
                    </a:ln>
                    <a:solidFill>
                      <a:srgbClr val="FFFFFF"/>
                    </a:solidFill>
                    <a:effectLst/>
                    <a:uLnTx/>
                    <a:uFillTx/>
                    <a:latin typeface="等线 Light" panose="020F0302020204030204"/>
                    <a:ea typeface="+mn-ea"/>
                    <a:cs typeface="+mn-cs"/>
                  </a:rPr>
                  <a:t>consectetur</a:t>
                </a:r>
                <a:endParaRPr kumimoji="0" lang="en-US" sz="1400" b="0" i="0" u="none" strike="noStrike" kern="1200" cap="none" spc="0" normalizeH="0" baseline="0" noProof="0" dirty="0">
                  <a:ln>
                    <a:noFill/>
                  </a:ln>
                  <a:solidFill>
                    <a:srgbClr val="FFFFFF"/>
                  </a:solidFill>
                  <a:effectLst/>
                  <a:uLnTx/>
                  <a:uFillTx/>
                  <a:latin typeface="等线 Light" panose="020F0302020204030204"/>
                  <a:ea typeface="+mn-ea"/>
                  <a:cs typeface="+mn-cs"/>
                </a:endParaRPr>
              </a:p>
            </p:txBody>
          </p:sp>
          <p:sp>
            <p:nvSpPr>
              <p:cNvPr id="29" name="TextBox 96">
                <a:extLst>
                  <a:ext uri="{FF2B5EF4-FFF2-40B4-BE49-F238E27FC236}">
                    <a16:creationId xmlns:a16="http://schemas.microsoft.com/office/drawing/2014/main" id="{71322390-814D-48E3-8270-A935D2DECF34}"/>
                  </a:ext>
                </a:extLst>
              </p:cNvPr>
              <p:cNvSpPr txBox="1"/>
              <p:nvPr/>
            </p:nvSpPr>
            <p:spPr>
              <a:xfrm>
                <a:off x="1407227" y="3509597"/>
                <a:ext cx="1507624" cy="404983"/>
              </a:xfrm>
              <a:prstGeom prst="rect">
                <a:avLst/>
              </a:prstGeom>
              <a:noFill/>
            </p:spPr>
            <p:txBody>
              <a:bodyPr wrap="square" rtlCol="0">
                <a:spAutoFit/>
              </a:bodyPr>
              <a:lstStyle/>
              <a:p>
                <a:pPr marL="0" marR="0" lvl="0" indent="0" algn="l" defTabSz="914400" rtl="0" eaLnBrk="1" fontAlgn="auto" latinLnBrk="0" hangingPunct="1">
                  <a:lnSpc>
                    <a:spcPct val="14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等线" panose="020F0502020204030204"/>
                    <a:ea typeface="+mn-ea"/>
                    <a:cs typeface="+mn-cs"/>
                  </a:rPr>
                  <a:t>Your Text Here</a:t>
                </a:r>
              </a:p>
            </p:txBody>
          </p:sp>
          <p:cxnSp>
            <p:nvCxnSpPr>
              <p:cNvPr id="30" name="Straight Connector 97">
                <a:extLst>
                  <a:ext uri="{FF2B5EF4-FFF2-40B4-BE49-F238E27FC236}">
                    <a16:creationId xmlns:a16="http://schemas.microsoft.com/office/drawing/2014/main" id="{98E9A12E-FFC9-406C-BDC3-11BBCC4EB1BC}"/>
                  </a:ext>
                </a:extLst>
              </p:cNvPr>
              <p:cNvCxnSpPr>
                <a:cxnSpLocks/>
              </p:cNvCxnSpPr>
              <p:nvPr/>
            </p:nvCxnSpPr>
            <p:spPr>
              <a:xfrm>
                <a:off x="1166879" y="3509597"/>
                <a:ext cx="0" cy="1148250"/>
              </a:xfrm>
              <a:prstGeom prst="line">
                <a:avLst/>
              </a:prstGeom>
              <a:ln>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sp>
            <p:nvSpPr>
              <p:cNvPr id="31" name="Rectangle: Rounded Corners 98">
                <a:extLst>
                  <a:ext uri="{FF2B5EF4-FFF2-40B4-BE49-F238E27FC236}">
                    <a16:creationId xmlns:a16="http://schemas.microsoft.com/office/drawing/2014/main" id="{7821AAAD-A165-4282-B70C-6F13CE860E63}"/>
                  </a:ext>
                </a:extLst>
              </p:cNvPr>
              <p:cNvSpPr/>
              <p:nvPr/>
            </p:nvSpPr>
            <p:spPr>
              <a:xfrm>
                <a:off x="1144020" y="3749944"/>
                <a:ext cx="45719" cy="667556"/>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等线" panose="020F0502020204030204"/>
                  <a:ea typeface="+mn-ea"/>
                  <a:cs typeface="+mn-cs"/>
                </a:endParaRPr>
              </a:p>
            </p:txBody>
          </p:sp>
        </p:grpSp>
        <p:grpSp>
          <p:nvGrpSpPr>
            <p:cNvPr id="13" name="Group 99">
              <a:extLst>
                <a:ext uri="{FF2B5EF4-FFF2-40B4-BE49-F238E27FC236}">
                  <a16:creationId xmlns:a16="http://schemas.microsoft.com/office/drawing/2014/main" id="{236FA936-B714-49E1-97DB-759714344307}"/>
                </a:ext>
              </a:extLst>
            </p:cNvPr>
            <p:cNvGrpSpPr/>
            <p:nvPr/>
          </p:nvGrpSpPr>
          <p:grpSpPr>
            <a:xfrm>
              <a:off x="5073940" y="5240931"/>
              <a:ext cx="1993476" cy="1148250"/>
              <a:chOff x="1144020" y="3509597"/>
              <a:chExt cx="1993476" cy="1148250"/>
            </a:xfrm>
          </p:grpSpPr>
          <p:sp>
            <p:nvSpPr>
              <p:cNvPr id="24" name="TextBox 100">
                <a:extLst>
                  <a:ext uri="{FF2B5EF4-FFF2-40B4-BE49-F238E27FC236}">
                    <a16:creationId xmlns:a16="http://schemas.microsoft.com/office/drawing/2014/main" id="{F7981C51-6A51-4E1E-9380-5A83D48F8535}"/>
                  </a:ext>
                </a:extLst>
              </p:cNvPr>
              <p:cNvSpPr txBox="1"/>
              <p:nvPr/>
            </p:nvSpPr>
            <p:spPr>
              <a:xfrm>
                <a:off x="1407228" y="3914581"/>
                <a:ext cx="1730268" cy="667555"/>
              </a:xfrm>
              <a:prstGeom prst="rect">
                <a:avLst/>
              </a:prstGeom>
              <a:noFill/>
            </p:spPr>
            <p:txBody>
              <a:bodyPr wrap="square" rtlCol="0">
                <a:spAutoFit/>
              </a:bodyPr>
              <a:lstStyle/>
              <a:p>
                <a:pPr marL="0" marR="0" lvl="0" indent="0" algn="l" defTabSz="914400" rtl="0" eaLnBrk="1" fontAlgn="auto" latinLnBrk="0" hangingPunct="1">
                  <a:lnSpc>
                    <a:spcPct val="14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等线 Light" panose="020F0302020204030204"/>
                    <a:ea typeface="+mn-ea"/>
                    <a:cs typeface="+mn-cs"/>
                  </a:rPr>
                  <a:t>Lorem ipsum dolor sit </a:t>
                </a:r>
                <a:r>
                  <a:rPr kumimoji="0" lang="en-US" sz="1400" b="0" i="0" u="none" strike="noStrike" kern="1200" cap="none" spc="0" normalizeH="0" baseline="0" noProof="0" dirty="0" err="1">
                    <a:ln>
                      <a:noFill/>
                    </a:ln>
                    <a:solidFill>
                      <a:srgbClr val="FFFFFF"/>
                    </a:solidFill>
                    <a:effectLst/>
                    <a:uLnTx/>
                    <a:uFillTx/>
                    <a:latin typeface="等线 Light" panose="020F0302020204030204"/>
                    <a:ea typeface="+mn-ea"/>
                    <a:cs typeface="+mn-cs"/>
                  </a:rPr>
                  <a:t>amet</a:t>
                </a:r>
                <a:r>
                  <a:rPr kumimoji="0" lang="en-US" sz="1400" b="0" i="0" u="none" strike="noStrike" kern="1200" cap="none" spc="0" normalizeH="0" baseline="0" noProof="0" dirty="0">
                    <a:ln>
                      <a:noFill/>
                    </a:ln>
                    <a:solidFill>
                      <a:srgbClr val="FFFFFF"/>
                    </a:solidFill>
                    <a:effectLst/>
                    <a:uLnTx/>
                    <a:uFillTx/>
                    <a:latin typeface="等线 Light" panose="020F0302020204030204"/>
                    <a:ea typeface="+mn-ea"/>
                    <a:cs typeface="+mn-cs"/>
                  </a:rPr>
                  <a:t>, </a:t>
                </a:r>
                <a:r>
                  <a:rPr kumimoji="0" lang="en-US" sz="1400" b="0" i="0" u="none" strike="noStrike" kern="1200" cap="none" spc="0" normalizeH="0" baseline="0" noProof="0" dirty="0" err="1">
                    <a:ln>
                      <a:noFill/>
                    </a:ln>
                    <a:solidFill>
                      <a:srgbClr val="FFFFFF"/>
                    </a:solidFill>
                    <a:effectLst/>
                    <a:uLnTx/>
                    <a:uFillTx/>
                    <a:latin typeface="等线 Light" panose="020F0302020204030204"/>
                    <a:ea typeface="+mn-ea"/>
                    <a:cs typeface="+mn-cs"/>
                  </a:rPr>
                  <a:t>consectetur</a:t>
                </a:r>
                <a:endParaRPr kumimoji="0" lang="en-US" sz="1400" b="0" i="0" u="none" strike="noStrike" kern="1200" cap="none" spc="0" normalizeH="0" baseline="0" noProof="0" dirty="0">
                  <a:ln>
                    <a:noFill/>
                  </a:ln>
                  <a:solidFill>
                    <a:srgbClr val="FFFFFF"/>
                  </a:solidFill>
                  <a:effectLst/>
                  <a:uLnTx/>
                  <a:uFillTx/>
                  <a:latin typeface="等线 Light" panose="020F0302020204030204"/>
                  <a:ea typeface="+mn-ea"/>
                  <a:cs typeface="+mn-cs"/>
                </a:endParaRPr>
              </a:p>
            </p:txBody>
          </p:sp>
          <p:sp>
            <p:nvSpPr>
              <p:cNvPr id="25" name="TextBox 101">
                <a:extLst>
                  <a:ext uri="{FF2B5EF4-FFF2-40B4-BE49-F238E27FC236}">
                    <a16:creationId xmlns:a16="http://schemas.microsoft.com/office/drawing/2014/main" id="{4FEE0A58-407C-46D8-91E5-13704B299AB5}"/>
                  </a:ext>
                </a:extLst>
              </p:cNvPr>
              <p:cNvSpPr txBox="1"/>
              <p:nvPr/>
            </p:nvSpPr>
            <p:spPr>
              <a:xfrm>
                <a:off x="1407227" y="3509597"/>
                <a:ext cx="1507624" cy="404983"/>
              </a:xfrm>
              <a:prstGeom prst="rect">
                <a:avLst/>
              </a:prstGeom>
              <a:noFill/>
            </p:spPr>
            <p:txBody>
              <a:bodyPr wrap="square" rtlCol="0">
                <a:spAutoFit/>
              </a:bodyPr>
              <a:lstStyle/>
              <a:p>
                <a:pPr marL="0" marR="0" lvl="0" indent="0" algn="l" defTabSz="914400" rtl="0" eaLnBrk="1" fontAlgn="auto" latinLnBrk="0" hangingPunct="1">
                  <a:lnSpc>
                    <a:spcPct val="14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等线" panose="020F0502020204030204"/>
                    <a:ea typeface="+mn-ea"/>
                    <a:cs typeface="+mn-cs"/>
                  </a:rPr>
                  <a:t>Your Text Here</a:t>
                </a:r>
              </a:p>
            </p:txBody>
          </p:sp>
          <p:cxnSp>
            <p:nvCxnSpPr>
              <p:cNvPr id="26" name="Straight Connector 102">
                <a:extLst>
                  <a:ext uri="{FF2B5EF4-FFF2-40B4-BE49-F238E27FC236}">
                    <a16:creationId xmlns:a16="http://schemas.microsoft.com/office/drawing/2014/main" id="{AE4D0457-81BF-47BF-9AF1-86DDB7D21CC1}"/>
                  </a:ext>
                </a:extLst>
              </p:cNvPr>
              <p:cNvCxnSpPr>
                <a:cxnSpLocks/>
              </p:cNvCxnSpPr>
              <p:nvPr/>
            </p:nvCxnSpPr>
            <p:spPr>
              <a:xfrm>
                <a:off x="1166879" y="3509597"/>
                <a:ext cx="0" cy="1148250"/>
              </a:xfrm>
              <a:prstGeom prst="line">
                <a:avLst/>
              </a:prstGeom>
              <a:ln>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sp>
            <p:nvSpPr>
              <p:cNvPr id="27" name="Rectangle: Rounded Corners 103">
                <a:extLst>
                  <a:ext uri="{FF2B5EF4-FFF2-40B4-BE49-F238E27FC236}">
                    <a16:creationId xmlns:a16="http://schemas.microsoft.com/office/drawing/2014/main" id="{9F8E9A45-A577-4431-B849-6A5E1519A591}"/>
                  </a:ext>
                </a:extLst>
              </p:cNvPr>
              <p:cNvSpPr/>
              <p:nvPr/>
            </p:nvSpPr>
            <p:spPr>
              <a:xfrm>
                <a:off x="1144020" y="3749944"/>
                <a:ext cx="45719" cy="667556"/>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等线" panose="020F0502020204030204"/>
                  <a:ea typeface="+mn-ea"/>
                  <a:cs typeface="+mn-cs"/>
                </a:endParaRPr>
              </a:p>
            </p:txBody>
          </p:sp>
        </p:grpSp>
        <p:grpSp>
          <p:nvGrpSpPr>
            <p:cNvPr id="14" name="Group 104">
              <a:extLst>
                <a:ext uri="{FF2B5EF4-FFF2-40B4-BE49-F238E27FC236}">
                  <a16:creationId xmlns:a16="http://schemas.microsoft.com/office/drawing/2014/main" id="{50B6F111-3461-4189-AC90-1CA1351D9C1C}"/>
                </a:ext>
              </a:extLst>
            </p:cNvPr>
            <p:cNvGrpSpPr/>
            <p:nvPr/>
          </p:nvGrpSpPr>
          <p:grpSpPr>
            <a:xfrm>
              <a:off x="7244450" y="5240931"/>
              <a:ext cx="1993476" cy="1148250"/>
              <a:chOff x="1144020" y="3509597"/>
              <a:chExt cx="1993476" cy="1148250"/>
            </a:xfrm>
          </p:grpSpPr>
          <p:sp>
            <p:nvSpPr>
              <p:cNvPr id="20" name="TextBox 105">
                <a:extLst>
                  <a:ext uri="{FF2B5EF4-FFF2-40B4-BE49-F238E27FC236}">
                    <a16:creationId xmlns:a16="http://schemas.microsoft.com/office/drawing/2014/main" id="{D8EBB046-4FCC-4D8A-BA2E-D612C9161820}"/>
                  </a:ext>
                </a:extLst>
              </p:cNvPr>
              <p:cNvSpPr txBox="1"/>
              <p:nvPr/>
            </p:nvSpPr>
            <p:spPr>
              <a:xfrm>
                <a:off x="1407228" y="3914581"/>
                <a:ext cx="1730268" cy="667555"/>
              </a:xfrm>
              <a:prstGeom prst="rect">
                <a:avLst/>
              </a:prstGeom>
              <a:noFill/>
            </p:spPr>
            <p:txBody>
              <a:bodyPr wrap="square" rtlCol="0">
                <a:spAutoFit/>
              </a:bodyPr>
              <a:lstStyle/>
              <a:p>
                <a:pPr marL="0" marR="0" lvl="0" indent="0" algn="l" defTabSz="914400" rtl="0" eaLnBrk="1" fontAlgn="auto" latinLnBrk="0" hangingPunct="1">
                  <a:lnSpc>
                    <a:spcPct val="14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等线 Light" panose="020F0302020204030204"/>
                    <a:ea typeface="+mn-ea"/>
                    <a:cs typeface="+mn-cs"/>
                  </a:rPr>
                  <a:t>Lorem ipsum dolor sit </a:t>
                </a:r>
                <a:r>
                  <a:rPr kumimoji="0" lang="en-US" sz="1400" b="0" i="0" u="none" strike="noStrike" kern="1200" cap="none" spc="0" normalizeH="0" baseline="0" noProof="0" dirty="0" err="1">
                    <a:ln>
                      <a:noFill/>
                    </a:ln>
                    <a:solidFill>
                      <a:srgbClr val="FFFFFF"/>
                    </a:solidFill>
                    <a:effectLst/>
                    <a:uLnTx/>
                    <a:uFillTx/>
                    <a:latin typeface="等线 Light" panose="020F0302020204030204"/>
                    <a:ea typeface="+mn-ea"/>
                    <a:cs typeface="+mn-cs"/>
                  </a:rPr>
                  <a:t>amet</a:t>
                </a:r>
                <a:r>
                  <a:rPr kumimoji="0" lang="en-US" sz="1400" b="0" i="0" u="none" strike="noStrike" kern="1200" cap="none" spc="0" normalizeH="0" baseline="0" noProof="0" dirty="0">
                    <a:ln>
                      <a:noFill/>
                    </a:ln>
                    <a:solidFill>
                      <a:srgbClr val="FFFFFF"/>
                    </a:solidFill>
                    <a:effectLst/>
                    <a:uLnTx/>
                    <a:uFillTx/>
                    <a:latin typeface="等线 Light" panose="020F0302020204030204"/>
                    <a:ea typeface="+mn-ea"/>
                    <a:cs typeface="+mn-cs"/>
                  </a:rPr>
                  <a:t>, </a:t>
                </a:r>
                <a:r>
                  <a:rPr kumimoji="0" lang="en-US" sz="1400" b="0" i="0" u="none" strike="noStrike" kern="1200" cap="none" spc="0" normalizeH="0" baseline="0" noProof="0" dirty="0" err="1">
                    <a:ln>
                      <a:noFill/>
                    </a:ln>
                    <a:solidFill>
                      <a:srgbClr val="FFFFFF"/>
                    </a:solidFill>
                    <a:effectLst/>
                    <a:uLnTx/>
                    <a:uFillTx/>
                    <a:latin typeface="等线 Light" panose="020F0302020204030204"/>
                    <a:ea typeface="+mn-ea"/>
                    <a:cs typeface="+mn-cs"/>
                  </a:rPr>
                  <a:t>consectetur</a:t>
                </a:r>
                <a:endParaRPr kumimoji="0" lang="en-US" sz="1400" b="0" i="0" u="none" strike="noStrike" kern="1200" cap="none" spc="0" normalizeH="0" baseline="0" noProof="0" dirty="0">
                  <a:ln>
                    <a:noFill/>
                  </a:ln>
                  <a:solidFill>
                    <a:srgbClr val="FFFFFF"/>
                  </a:solidFill>
                  <a:effectLst/>
                  <a:uLnTx/>
                  <a:uFillTx/>
                  <a:latin typeface="等线 Light" panose="020F0302020204030204"/>
                  <a:ea typeface="+mn-ea"/>
                  <a:cs typeface="+mn-cs"/>
                </a:endParaRPr>
              </a:p>
            </p:txBody>
          </p:sp>
          <p:sp>
            <p:nvSpPr>
              <p:cNvPr id="21" name="TextBox 106">
                <a:extLst>
                  <a:ext uri="{FF2B5EF4-FFF2-40B4-BE49-F238E27FC236}">
                    <a16:creationId xmlns:a16="http://schemas.microsoft.com/office/drawing/2014/main" id="{3C7560ED-C8DB-435F-BC4B-EB05A6C0E5E2}"/>
                  </a:ext>
                </a:extLst>
              </p:cNvPr>
              <p:cNvSpPr txBox="1"/>
              <p:nvPr/>
            </p:nvSpPr>
            <p:spPr>
              <a:xfrm>
                <a:off x="1407227" y="3509597"/>
                <a:ext cx="1507624" cy="404983"/>
              </a:xfrm>
              <a:prstGeom prst="rect">
                <a:avLst/>
              </a:prstGeom>
              <a:noFill/>
            </p:spPr>
            <p:txBody>
              <a:bodyPr wrap="square" rtlCol="0">
                <a:spAutoFit/>
              </a:bodyPr>
              <a:lstStyle/>
              <a:p>
                <a:pPr marL="0" marR="0" lvl="0" indent="0" algn="l" defTabSz="914400" rtl="0" eaLnBrk="1" fontAlgn="auto" latinLnBrk="0" hangingPunct="1">
                  <a:lnSpc>
                    <a:spcPct val="14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等线" panose="020F0502020204030204"/>
                    <a:ea typeface="+mn-ea"/>
                    <a:cs typeface="+mn-cs"/>
                  </a:rPr>
                  <a:t>Your Text Here</a:t>
                </a:r>
              </a:p>
            </p:txBody>
          </p:sp>
          <p:cxnSp>
            <p:nvCxnSpPr>
              <p:cNvPr id="22" name="Straight Connector 107">
                <a:extLst>
                  <a:ext uri="{FF2B5EF4-FFF2-40B4-BE49-F238E27FC236}">
                    <a16:creationId xmlns:a16="http://schemas.microsoft.com/office/drawing/2014/main" id="{8E1F35C9-B781-4F08-8034-7CEF667055CF}"/>
                  </a:ext>
                </a:extLst>
              </p:cNvPr>
              <p:cNvCxnSpPr>
                <a:cxnSpLocks/>
              </p:cNvCxnSpPr>
              <p:nvPr/>
            </p:nvCxnSpPr>
            <p:spPr>
              <a:xfrm>
                <a:off x="1166879" y="3509597"/>
                <a:ext cx="0" cy="1148250"/>
              </a:xfrm>
              <a:prstGeom prst="line">
                <a:avLst/>
              </a:prstGeom>
              <a:ln>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sp>
            <p:nvSpPr>
              <p:cNvPr id="23" name="Rectangle: Rounded Corners 108">
                <a:extLst>
                  <a:ext uri="{FF2B5EF4-FFF2-40B4-BE49-F238E27FC236}">
                    <a16:creationId xmlns:a16="http://schemas.microsoft.com/office/drawing/2014/main" id="{65F9012B-2DA7-431B-A082-42B058E78CE1}"/>
                  </a:ext>
                </a:extLst>
              </p:cNvPr>
              <p:cNvSpPr/>
              <p:nvPr/>
            </p:nvSpPr>
            <p:spPr>
              <a:xfrm>
                <a:off x="1144020" y="3749944"/>
                <a:ext cx="45719" cy="667556"/>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等线" panose="020F0502020204030204"/>
                  <a:ea typeface="+mn-ea"/>
                  <a:cs typeface="+mn-cs"/>
                </a:endParaRPr>
              </a:p>
            </p:txBody>
          </p:sp>
        </p:grpSp>
        <p:grpSp>
          <p:nvGrpSpPr>
            <p:cNvPr id="15" name="Group 109">
              <a:extLst>
                <a:ext uri="{FF2B5EF4-FFF2-40B4-BE49-F238E27FC236}">
                  <a16:creationId xmlns:a16="http://schemas.microsoft.com/office/drawing/2014/main" id="{6D439D46-ACE2-4F3E-A8DE-2DEB51617B77}"/>
                </a:ext>
              </a:extLst>
            </p:cNvPr>
            <p:cNvGrpSpPr/>
            <p:nvPr/>
          </p:nvGrpSpPr>
          <p:grpSpPr>
            <a:xfrm>
              <a:off x="9414960" y="5240931"/>
              <a:ext cx="1993476" cy="1148250"/>
              <a:chOff x="1144020" y="3509597"/>
              <a:chExt cx="1993476" cy="1148250"/>
            </a:xfrm>
          </p:grpSpPr>
          <p:sp>
            <p:nvSpPr>
              <p:cNvPr id="16" name="TextBox 110">
                <a:extLst>
                  <a:ext uri="{FF2B5EF4-FFF2-40B4-BE49-F238E27FC236}">
                    <a16:creationId xmlns:a16="http://schemas.microsoft.com/office/drawing/2014/main" id="{09D65191-92F3-4798-A56F-28B433BD0949}"/>
                  </a:ext>
                </a:extLst>
              </p:cNvPr>
              <p:cNvSpPr txBox="1"/>
              <p:nvPr/>
            </p:nvSpPr>
            <p:spPr>
              <a:xfrm>
                <a:off x="1407228" y="3914581"/>
                <a:ext cx="1730268" cy="667555"/>
              </a:xfrm>
              <a:prstGeom prst="rect">
                <a:avLst/>
              </a:prstGeom>
              <a:noFill/>
            </p:spPr>
            <p:txBody>
              <a:bodyPr wrap="square" rtlCol="0">
                <a:spAutoFit/>
              </a:bodyPr>
              <a:lstStyle/>
              <a:p>
                <a:pPr marL="0" marR="0" lvl="0" indent="0" algn="l" defTabSz="914400" rtl="0" eaLnBrk="1" fontAlgn="auto" latinLnBrk="0" hangingPunct="1">
                  <a:lnSpc>
                    <a:spcPct val="14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等线 Light" panose="020F0302020204030204"/>
                    <a:ea typeface="+mn-ea"/>
                    <a:cs typeface="+mn-cs"/>
                  </a:rPr>
                  <a:t>Lorem ipsum dolor sit </a:t>
                </a:r>
                <a:r>
                  <a:rPr kumimoji="0" lang="en-US" sz="1400" b="0" i="0" u="none" strike="noStrike" kern="1200" cap="none" spc="0" normalizeH="0" baseline="0" noProof="0" dirty="0" err="1">
                    <a:ln>
                      <a:noFill/>
                    </a:ln>
                    <a:solidFill>
                      <a:srgbClr val="FFFFFF"/>
                    </a:solidFill>
                    <a:effectLst/>
                    <a:uLnTx/>
                    <a:uFillTx/>
                    <a:latin typeface="等线 Light" panose="020F0302020204030204"/>
                    <a:ea typeface="+mn-ea"/>
                    <a:cs typeface="+mn-cs"/>
                  </a:rPr>
                  <a:t>amet</a:t>
                </a:r>
                <a:r>
                  <a:rPr kumimoji="0" lang="en-US" sz="1400" b="0" i="0" u="none" strike="noStrike" kern="1200" cap="none" spc="0" normalizeH="0" baseline="0" noProof="0" dirty="0">
                    <a:ln>
                      <a:noFill/>
                    </a:ln>
                    <a:solidFill>
                      <a:srgbClr val="FFFFFF"/>
                    </a:solidFill>
                    <a:effectLst/>
                    <a:uLnTx/>
                    <a:uFillTx/>
                    <a:latin typeface="等线 Light" panose="020F0302020204030204"/>
                    <a:ea typeface="+mn-ea"/>
                    <a:cs typeface="+mn-cs"/>
                  </a:rPr>
                  <a:t>, </a:t>
                </a:r>
                <a:r>
                  <a:rPr kumimoji="0" lang="en-US" sz="1400" b="0" i="0" u="none" strike="noStrike" kern="1200" cap="none" spc="0" normalizeH="0" baseline="0" noProof="0" dirty="0" err="1">
                    <a:ln>
                      <a:noFill/>
                    </a:ln>
                    <a:solidFill>
                      <a:srgbClr val="FFFFFF"/>
                    </a:solidFill>
                    <a:effectLst/>
                    <a:uLnTx/>
                    <a:uFillTx/>
                    <a:latin typeface="等线 Light" panose="020F0302020204030204"/>
                    <a:ea typeface="+mn-ea"/>
                    <a:cs typeface="+mn-cs"/>
                  </a:rPr>
                  <a:t>consectetur</a:t>
                </a:r>
                <a:endParaRPr kumimoji="0" lang="en-US" sz="1400" b="0" i="0" u="none" strike="noStrike" kern="1200" cap="none" spc="0" normalizeH="0" baseline="0" noProof="0" dirty="0">
                  <a:ln>
                    <a:noFill/>
                  </a:ln>
                  <a:solidFill>
                    <a:srgbClr val="FFFFFF"/>
                  </a:solidFill>
                  <a:effectLst/>
                  <a:uLnTx/>
                  <a:uFillTx/>
                  <a:latin typeface="等线 Light" panose="020F0302020204030204"/>
                  <a:ea typeface="+mn-ea"/>
                  <a:cs typeface="+mn-cs"/>
                </a:endParaRPr>
              </a:p>
            </p:txBody>
          </p:sp>
          <p:sp>
            <p:nvSpPr>
              <p:cNvPr id="17" name="TextBox 111">
                <a:extLst>
                  <a:ext uri="{FF2B5EF4-FFF2-40B4-BE49-F238E27FC236}">
                    <a16:creationId xmlns:a16="http://schemas.microsoft.com/office/drawing/2014/main" id="{38C5B2D9-8BD8-4AC6-BEBF-7F33AB35A815}"/>
                  </a:ext>
                </a:extLst>
              </p:cNvPr>
              <p:cNvSpPr txBox="1"/>
              <p:nvPr/>
            </p:nvSpPr>
            <p:spPr>
              <a:xfrm>
                <a:off x="1407227" y="3509597"/>
                <a:ext cx="1507624" cy="404983"/>
              </a:xfrm>
              <a:prstGeom prst="rect">
                <a:avLst/>
              </a:prstGeom>
              <a:noFill/>
            </p:spPr>
            <p:txBody>
              <a:bodyPr wrap="square" rtlCol="0">
                <a:spAutoFit/>
              </a:bodyPr>
              <a:lstStyle/>
              <a:p>
                <a:pPr marL="0" marR="0" lvl="0" indent="0" algn="l" defTabSz="914400" rtl="0" eaLnBrk="1" fontAlgn="auto" latinLnBrk="0" hangingPunct="1">
                  <a:lnSpc>
                    <a:spcPct val="14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等线" panose="020F0502020204030204"/>
                    <a:ea typeface="+mn-ea"/>
                    <a:cs typeface="+mn-cs"/>
                  </a:rPr>
                  <a:t>Your Text Here</a:t>
                </a:r>
              </a:p>
            </p:txBody>
          </p:sp>
          <p:cxnSp>
            <p:nvCxnSpPr>
              <p:cNvPr id="18" name="Straight Connector 112">
                <a:extLst>
                  <a:ext uri="{FF2B5EF4-FFF2-40B4-BE49-F238E27FC236}">
                    <a16:creationId xmlns:a16="http://schemas.microsoft.com/office/drawing/2014/main" id="{A5441EBE-D6C7-4C7E-A4E7-2F81999CF3AA}"/>
                  </a:ext>
                </a:extLst>
              </p:cNvPr>
              <p:cNvCxnSpPr>
                <a:cxnSpLocks/>
              </p:cNvCxnSpPr>
              <p:nvPr/>
            </p:nvCxnSpPr>
            <p:spPr>
              <a:xfrm>
                <a:off x="1166879" y="3509597"/>
                <a:ext cx="0" cy="1148250"/>
              </a:xfrm>
              <a:prstGeom prst="line">
                <a:avLst/>
              </a:prstGeom>
              <a:ln>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sp>
            <p:nvSpPr>
              <p:cNvPr id="19" name="Rectangle: Rounded Corners 113">
                <a:extLst>
                  <a:ext uri="{FF2B5EF4-FFF2-40B4-BE49-F238E27FC236}">
                    <a16:creationId xmlns:a16="http://schemas.microsoft.com/office/drawing/2014/main" id="{B7D73837-B92C-42E1-91AF-F88BC6586214}"/>
                  </a:ext>
                </a:extLst>
              </p:cNvPr>
              <p:cNvSpPr/>
              <p:nvPr/>
            </p:nvSpPr>
            <p:spPr>
              <a:xfrm>
                <a:off x="1144020" y="3749944"/>
                <a:ext cx="45719" cy="667556"/>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等线" panose="020F0502020204030204"/>
                  <a:ea typeface="+mn-ea"/>
                  <a:cs typeface="+mn-cs"/>
                </a:endParaRPr>
              </a:p>
            </p:txBody>
          </p:sp>
        </p:grpSp>
      </p:grpSp>
    </p:spTree>
    <p:extLst>
      <p:ext uri="{BB962C8B-B14F-4D97-AF65-F5344CB8AC3E}">
        <p14:creationId xmlns:p14="http://schemas.microsoft.com/office/powerpoint/2010/main" val="2442673495"/>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6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88">
            <a:extLst>
              <a:ext uri="{FF2B5EF4-FFF2-40B4-BE49-F238E27FC236}">
                <a16:creationId xmlns:a16="http://schemas.microsoft.com/office/drawing/2014/main" id="{BA6A1693-88E2-4D2C-84AE-630BC8FC8655}"/>
              </a:ext>
            </a:extLst>
          </p:cNvPr>
          <p:cNvGrpSpPr/>
          <p:nvPr/>
        </p:nvGrpSpPr>
        <p:grpSpPr>
          <a:xfrm>
            <a:off x="0" y="408762"/>
            <a:ext cx="12986981" cy="6449238"/>
            <a:chOff x="0" y="408762"/>
            <a:chExt cx="12986981" cy="6449238"/>
          </a:xfrm>
        </p:grpSpPr>
        <p:grpSp>
          <p:nvGrpSpPr>
            <p:cNvPr id="3" name="Group 1">
              <a:extLst>
                <a:ext uri="{FF2B5EF4-FFF2-40B4-BE49-F238E27FC236}">
                  <a16:creationId xmlns:a16="http://schemas.microsoft.com/office/drawing/2014/main" id="{75245430-E874-4487-96EE-409513E60166}"/>
                </a:ext>
              </a:extLst>
            </p:cNvPr>
            <p:cNvGrpSpPr/>
            <p:nvPr/>
          </p:nvGrpSpPr>
          <p:grpSpPr>
            <a:xfrm>
              <a:off x="0" y="990524"/>
              <a:ext cx="12986981" cy="5867476"/>
              <a:chOff x="-1768751" y="2014543"/>
              <a:chExt cx="12986981" cy="5867476"/>
            </a:xfrm>
          </p:grpSpPr>
          <p:sp>
            <p:nvSpPr>
              <p:cNvPr id="77" name="Freeform: Shape 2">
                <a:extLst>
                  <a:ext uri="{FF2B5EF4-FFF2-40B4-BE49-F238E27FC236}">
                    <a16:creationId xmlns:a16="http://schemas.microsoft.com/office/drawing/2014/main" id="{D3A70F5A-910F-4836-B503-474759B85047}"/>
                  </a:ext>
                </a:extLst>
              </p:cNvPr>
              <p:cNvSpPr>
                <a:spLocks/>
              </p:cNvSpPr>
              <p:nvPr/>
            </p:nvSpPr>
            <p:spPr bwMode="auto">
              <a:xfrm>
                <a:off x="-1768751" y="5091031"/>
                <a:ext cx="12192000" cy="2790988"/>
              </a:xfrm>
              <a:custGeom>
                <a:avLst/>
                <a:gdLst>
                  <a:gd name="connsiteX0" fmla="*/ 2050108 w 12192000"/>
                  <a:gd name="connsiteY0" fmla="*/ 653 h 2790988"/>
                  <a:gd name="connsiteX1" fmla="*/ 2875951 w 12192000"/>
                  <a:gd name="connsiteY1" fmla="*/ 425977 h 2790988"/>
                  <a:gd name="connsiteX2" fmla="*/ 4047432 w 12192000"/>
                  <a:gd name="connsiteY2" fmla="*/ 757380 h 2790988"/>
                  <a:gd name="connsiteX3" fmla="*/ 4047432 w 12192000"/>
                  <a:gd name="connsiteY3" fmla="*/ 757433 h 2790988"/>
                  <a:gd name="connsiteX4" fmla="*/ 4057067 w 12192000"/>
                  <a:gd name="connsiteY4" fmla="*/ 757497 h 2790988"/>
                  <a:gd name="connsiteX5" fmla="*/ 4835503 w 12192000"/>
                  <a:gd name="connsiteY5" fmla="*/ 1133974 h 2790988"/>
                  <a:gd name="connsiteX6" fmla="*/ 6048287 w 12192000"/>
                  <a:gd name="connsiteY6" fmla="*/ 862826 h 2790988"/>
                  <a:gd name="connsiteX7" fmla="*/ 8530175 w 12192000"/>
                  <a:gd name="connsiteY7" fmla="*/ 877890 h 2790988"/>
                  <a:gd name="connsiteX8" fmla="*/ 10077131 w 12192000"/>
                  <a:gd name="connsiteY8" fmla="*/ 606742 h 2790988"/>
                  <a:gd name="connsiteX9" fmla="*/ 12059640 w 12192000"/>
                  <a:gd name="connsiteY9" fmla="*/ 425977 h 2790988"/>
                  <a:gd name="connsiteX10" fmla="*/ 12188738 w 12192000"/>
                  <a:gd name="connsiteY10" fmla="*/ 534807 h 2790988"/>
                  <a:gd name="connsiteX11" fmla="*/ 12192000 w 12192000"/>
                  <a:gd name="connsiteY11" fmla="*/ 536611 h 2790988"/>
                  <a:gd name="connsiteX12" fmla="*/ 12192000 w 12192000"/>
                  <a:gd name="connsiteY12" fmla="*/ 2790988 h 2790988"/>
                  <a:gd name="connsiteX13" fmla="*/ 12186550 w 12192000"/>
                  <a:gd name="connsiteY13" fmla="*/ 2790988 h 2790988"/>
                  <a:gd name="connsiteX14" fmla="*/ 4874563 w 12192000"/>
                  <a:gd name="connsiteY14" fmla="*/ 2790988 h 2790988"/>
                  <a:gd name="connsiteX15" fmla="*/ 4047432 w 12192000"/>
                  <a:gd name="connsiteY15" fmla="*/ 2790988 h 2790988"/>
                  <a:gd name="connsiteX16" fmla="*/ 4039496 w 12192000"/>
                  <a:gd name="connsiteY16" fmla="*/ 2790988 h 2790988"/>
                  <a:gd name="connsiteX17" fmla="*/ 4029480 w 12192000"/>
                  <a:gd name="connsiteY17" fmla="*/ 2790988 h 2790988"/>
                  <a:gd name="connsiteX18" fmla="*/ 108810 w 12192000"/>
                  <a:gd name="connsiteY18" fmla="*/ 2790988 h 2790988"/>
                  <a:gd name="connsiteX19" fmla="*/ 0 w 12192000"/>
                  <a:gd name="connsiteY19" fmla="*/ 2790988 h 2790988"/>
                  <a:gd name="connsiteX20" fmla="*/ 0 w 12192000"/>
                  <a:gd name="connsiteY20" fmla="*/ 1109602 h 2790988"/>
                  <a:gd name="connsiteX21" fmla="*/ 1368 w 12192000"/>
                  <a:gd name="connsiteY21" fmla="*/ 1109584 h 2790988"/>
                  <a:gd name="connsiteX22" fmla="*/ 893443 w 12192000"/>
                  <a:gd name="connsiteY22" fmla="*/ 606742 h 2790988"/>
                  <a:gd name="connsiteX23" fmla="*/ 2050108 w 12192000"/>
                  <a:gd name="connsiteY23" fmla="*/ 653 h 2790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2790988">
                    <a:moveTo>
                      <a:pt x="2050108" y="653"/>
                    </a:moveTo>
                    <a:cubicBezTo>
                      <a:pt x="2327405" y="-9460"/>
                      <a:pt x="2617813" y="96457"/>
                      <a:pt x="2875951" y="425977"/>
                    </a:cubicBezTo>
                    <a:cubicBezTo>
                      <a:pt x="2875951" y="425977"/>
                      <a:pt x="3131274" y="772443"/>
                      <a:pt x="4047432" y="757380"/>
                    </a:cubicBezTo>
                    <a:lnTo>
                      <a:pt x="4047432" y="757433"/>
                    </a:lnTo>
                    <a:lnTo>
                      <a:pt x="4057067" y="757497"/>
                    </a:lnTo>
                    <a:cubicBezTo>
                      <a:pt x="4137354" y="759969"/>
                      <a:pt x="4480678" y="791273"/>
                      <a:pt x="4835503" y="1133974"/>
                    </a:cubicBezTo>
                    <a:cubicBezTo>
                      <a:pt x="4835503" y="1133974"/>
                      <a:pt x="5409978" y="1570823"/>
                      <a:pt x="6048287" y="862826"/>
                    </a:cubicBezTo>
                    <a:cubicBezTo>
                      <a:pt x="6048287" y="862826"/>
                      <a:pt x="7403750" y="-297084"/>
                      <a:pt x="8530175" y="877890"/>
                    </a:cubicBezTo>
                    <a:cubicBezTo>
                      <a:pt x="8530175" y="877890"/>
                      <a:pt x="9160973" y="1555759"/>
                      <a:pt x="10077131" y="606742"/>
                    </a:cubicBezTo>
                    <a:cubicBezTo>
                      <a:pt x="10077131" y="606742"/>
                      <a:pt x="11233593" y="-628487"/>
                      <a:pt x="12059640" y="425977"/>
                    </a:cubicBezTo>
                    <a:cubicBezTo>
                      <a:pt x="12059640" y="425977"/>
                      <a:pt x="12095544" y="474699"/>
                      <a:pt x="12188738" y="534807"/>
                    </a:cubicBezTo>
                    <a:lnTo>
                      <a:pt x="12192000" y="536611"/>
                    </a:lnTo>
                    <a:lnTo>
                      <a:pt x="12192000" y="2790988"/>
                    </a:lnTo>
                    <a:lnTo>
                      <a:pt x="12186550" y="2790988"/>
                    </a:lnTo>
                    <a:cubicBezTo>
                      <a:pt x="11141981" y="2790988"/>
                      <a:pt x="9052841" y="2790988"/>
                      <a:pt x="4874563" y="2790988"/>
                    </a:cubicBezTo>
                    <a:lnTo>
                      <a:pt x="4047432" y="2790988"/>
                    </a:lnTo>
                    <a:lnTo>
                      <a:pt x="4039496" y="2790988"/>
                    </a:lnTo>
                    <a:lnTo>
                      <a:pt x="4029480" y="2790988"/>
                    </a:lnTo>
                    <a:cubicBezTo>
                      <a:pt x="3939157" y="2790988"/>
                      <a:pt x="3394397" y="2790988"/>
                      <a:pt x="108810" y="2790988"/>
                    </a:cubicBezTo>
                    <a:lnTo>
                      <a:pt x="0" y="2790988"/>
                    </a:lnTo>
                    <a:lnTo>
                      <a:pt x="0" y="1109602"/>
                    </a:lnTo>
                    <a:lnTo>
                      <a:pt x="1368" y="1109584"/>
                    </a:lnTo>
                    <a:cubicBezTo>
                      <a:pt x="246454" y="1089724"/>
                      <a:pt x="549884" y="962624"/>
                      <a:pt x="893443" y="606742"/>
                    </a:cubicBezTo>
                    <a:cubicBezTo>
                      <a:pt x="893443" y="606742"/>
                      <a:pt x="1440052" y="22903"/>
                      <a:pt x="2050108" y="653"/>
                    </a:cubicBezTo>
                    <a:close/>
                  </a:path>
                </a:pathLst>
              </a:custGeom>
              <a:solidFill>
                <a:schemeClr val="bg1">
                  <a:lumMod val="85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nvGrpSpPr>
              <p:cNvPr id="78" name="Group 3">
                <a:extLst>
                  <a:ext uri="{FF2B5EF4-FFF2-40B4-BE49-F238E27FC236}">
                    <a16:creationId xmlns:a16="http://schemas.microsoft.com/office/drawing/2014/main" id="{13869820-FC01-448F-A9C5-28A89770DC4B}"/>
                  </a:ext>
                </a:extLst>
              </p:cNvPr>
              <p:cNvGrpSpPr/>
              <p:nvPr/>
            </p:nvGrpSpPr>
            <p:grpSpPr>
              <a:xfrm>
                <a:off x="1227396" y="5200734"/>
                <a:ext cx="692150" cy="1025526"/>
                <a:chOff x="2724150" y="4019063"/>
                <a:chExt cx="692150" cy="1025526"/>
              </a:xfrm>
            </p:grpSpPr>
            <p:sp>
              <p:nvSpPr>
                <p:cNvPr id="92" name="Freeform 13">
                  <a:extLst>
                    <a:ext uri="{FF2B5EF4-FFF2-40B4-BE49-F238E27FC236}">
                      <a16:creationId xmlns:a16="http://schemas.microsoft.com/office/drawing/2014/main" id="{54CF38CC-1D27-4526-BB6E-87D783ACA7E5}"/>
                    </a:ext>
                  </a:extLst>
                </p:cNvPr>
                <p:cNvSpPr>
                  <a:spLocks/>
                </p:cNvSpPr>
                <p:nvPr/>
              </p:nvSpPr>
              <p:spPr bwMode="auto">
                <a:xfrm>
                  <a:off x="2724150" y="4585801"/>
                  <a:ext cx="492125" cy="458788"/>
                </a:xfrm>
                <a:custGeom>
                  <a:avLst/>
                  <a:gdLst>
                    <a:gd name="T0" fmla="*/ 38 w 54"/>
                    <a:gd name="T1" fmla="*/ 23 h 51"/>
                    <a:gd name="T2" fmla="*/ 36 w 54"/>
                    <a:gd name="T3" fmla="*/ 0 h 51"/>
                    <a:gd name="T4" fmla="*/ 24 w 54"/>
                    <a:gd name="T5" fmla="*/ 0 h 51"/>
                    <a:gd name="T6" fmla="*/ 25 w 54"/>
                    <a:gd name="T7" fmla="*/ 17 h 51"/>
                    <a:gd name="T8" fmla="*/ 25 w 54"/>
                    <a:gd name="T9" fmla="*/ 17 h 51"/>
                    <a:gd name="T10" fmla="*/ 24 w 54"/>
                    <a:gd name="T11" fmla="*/ 20 h 51"/>
                    <a:gd name="T12" fmla="*/ 24 w 54"/>
                    <a:gd name="T13" fmla="*/ 20 h 51"/>
                    <a:gd name="T14" fmla="*/ 24 w 54"/>
                    <a:gd name="T15" fmla="*/ 20 h 51"/>
                    <a:gd name="T16" fmla="*/ 18 w 54"/>
                    <a:gd name="T17" fmla="*/ 31 h 51"/>
                    <a:gd name="T18" fmla="*/ 0 w 54"/>
                    <a:gd name="T19" fmla="*/ 49 h 51"/>
                    <a:gd name="T20" fmla="*/ 18 w 54"/>
                    <a:gd name="T21" fmla="*/ 37 h 51"/>
                    <a:gd name="T22" fmla="*/ 28 w 54"/>
                    <a:gd name="T23" fmla="*/ 28 h 51"/>
                    <a:gd name="T24" fmla="*/ 30 w 54"/>
                    <a:gd name="T25" fmla="*/ 32 h 51"/>
                    <a:gd name="T26" fmla="*/ 36 w 54"/>
                    <a:gd name="T27" fmla="*/ 51 h 51"/>
                    <a:gd name="T28" fmla="*/ 33 w 54"/>
                    <a:gd name="T29" fmla="*/ 29 h 51"/>
                    <a:gd name="T30" fmla="*/ 33 w 54"/>
                    <a:gd name="T31" fmla="*/ 28 h 51"/>
                    <a:gd name="T32" fmla="*/ 43 w 54"/>
                    <a:gd name="T33" fmla="*/ 32 h 51"/>
                    <a:gd name="T34" fmla="*/ 54 w 54"/>
                    <a:gd name="T35" fmla="*/ 44 h 51"/>
                    <a:gd name="T36" fmla="*/ 47 w 54"/>
                    <a:gd name="T37" fmla="*/ 33 h 51"/>
                    <a:gd name="T38" fmla="*/ 38 w 54"/>
                    <a:gd name="T39" fmla="*/ 23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4" h="51">
                      <a:moveTo>
                        <a:pt x="38" y="23"/>
                      </a:moveTo>
                      <a:cubicBezTo>
                        <a:pt x="41" y="14"/>
                        <a:pt x="39" y="7"/>
                        <a:pt x="36" y="0"/>
                      </a:cubicBezTo>
                      <a:cubicBezTo>
                        <a:pt x="24" y="0"/>
                        <a:pt x="24" y="0"/>
                        <a:pt x="24" y="0"/>
                      </a:cubicBezTo>
                      <a:cubicBezTo>
                        <a:pt x="26" y="5"/>
                        <a:pt x="27" y="11"/>
                        <a:pt x="25" y="17"/>
                      </a:cubicBezTo>
                      <a:cubicBezTo>
                        <a:pt x="25" y="17"/>
                        <a:pt x="25" y="17"/>
                        <a:pt x="25" y="17"/>
                      </a:cubicBezTo>
                      <a:cubicBezTo>
                        <a:pt x="25" y="17"/>
                        <a:pt x="25" y="18"/>
                        <a:pt x="24" y="20"/>
                      </a:cubicBezTo>
                      <a:cubicBezTo>
                        <a:pt x="24" y="20"/>
                        <a:pt x="24" y="20"/>
                        <a:pt x="24" y="20"/>
                      </a:cubicBezTo>
                      <a:cubicBezTo>
                        <a:pt x="24" y="20"/>
                        <a:pt x="24" y="20"/>
                        <a:pt x="24" y="20"/>
                      </a:cubicBezTo>
                      <a:cubicBezTo>
                        <a:pt x="23" y="23"/>
                        <a:pt x="20" y="27"/>
                        <a:pt x="18" y="31"/>
                      </a:cubicBezTo>
                      <a:cubicBezTo>
                        <a:pt x="13" y="38"/>
                        <a:pt x="0" y="49"/>
                        <a:pt x="0" y="49"/>
                      </a:cubicBezTo>
                      <a:cubicBezTo>
                        <a:pt x="0" y="49"/>
                        <a:pt x="13" y="41"/>
                        <a:pt x="18" y="37"/>
                      </a:cubicBezTo>
                      <a:cubicBezTo>
                        <a:pt x="20" y="35"/>
                        <a:pt x="25" y="31"/>
                        <a:pt x="28" y="28"/>
                      </a:cubicBezTo>
                      <a:cubicBezTo>
                        <a:pt x="29" y="29"/>
                        <a:pt x="30" y="31"/>
                        <a:pt x="30" y="32"/>
                      </a:cubicBezTo>
                      <a:cubicBezTo>
                        <a:pt x="31" y="38"/>
                        <a:pt x="36" y="51"/>
                        <a:pt x="36" y="51"/>
                      </a:cubicBezTo>
                      <a:cubicBezTo>
                        <a:pt x="36" y="51"/>
                        <a:pt x="33" y="36"/>
                        <a:pt x="33" y="29"/>
                      </a:cubicBezTo>
                      <a:cubicBezTo>
                        <a:pt x="33" y="29"/>
                        <a:pt x="33" y="28"/>
                        <a:pt x="33" y="28"/>
                      </a:cubicBezTo>
                      <a:cubicBezTo>
                        <a:pt x="36" y="29"/>
                        <a:pt x="40" y="30"/>
                        <a:pt x="43" y="32"/>
                      </a:cubicBezTo>
                      <a:cubicBezTo>
                        <a:pt x="47" y="35"/>
                        <a:pt x="54" y="44"/>
                        <a:pt x="54" y="44"/>
                      </a:cubicBezTo>
                      <a:cubicBezTo>
                        <a:pt x="54" y="44"/>
                        <a:pt x="49" y="36"/>
                        <a:pt x="47" y="33"/>
                      </a:cubicBezTo>
                      <a:cubicBezTo>
                        <a:pt x="45" y="30"/>
                        <a:pt x="40" y="25"/>
                        <a:pt x="38" y="2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93" name="Freeform 14">
                  <a:extLst>
                    <a:ext uri="{FF2B5EF4-FFF2-40B4-BE49-F238E27FC236}">
                      <a16:creationId xmlns:a16="http://schemas.microsoft.com/office/drawing/2014/main" id="{F40D4986-1051-4C7C-86A1-1D0E14DF3C08}"/>
                    </a:ext>
                  </a:extLst>
                </p:cNvPr>
                <p:cNvSpPr>
                  <a:spLocks/>
                </p:cNvSpPr>
                <p:nvPr/>
              </p:nvSpPr>
              <p:spPr bwMode="auto">
                <a:xfrm>
                  <a:off x="2860675" y="4019063"/>
                  <a:ext cx="555625" cy="566738"/>
                </a:xfrm>
                <a:custGeom>
                  <a:avLst/>
                  <a:gdLst>
                    <a:gd name="T0" fmla="*/ 52 w 61"/>
                    <a:gd name="T1" fmla="*/ 6 h 63"/>
                    <a:gd name="T2" fmla="*/ 20 w 61"/>
                    <a:gd name="T3" fmla="*/ 12 h 63"/>
                    <a:gd name="T4" fmla="*/ 9 w 61"/>
                    <a:gd name="T5" fmla="*/ 27 h 63"/>
                    <a:gd name="T6" fmla="*/ 9 w 61"/>
                    <a:gd name="T7" fmla="*/ 63 h 63"/>
                    <a:gd name="T8" fmla="*/ 21 w 61"/>
                    <a:gd name="T9" fmla="*/ 63 h 63"/>
                    <a:gd name="T10" fmla="*/ 12 w 61"/>
                    <a:gd name="T11" fmla="*/ 37 h 63"/>
                    <a:gd name="T12" fmla="*/ 14 w 61"/>
                    <a:gd name="T13" fmla="*/ 30 h 63"/>
                    <a:gd name="T14" fmla="*/ 33 w 61"/>
                    <a:gd name="T15" fmla="*/ 16 h 63"/>
                    <a:gd name="T16" fmla="*/ 37 w 61"/>
                    <a:gd name="T17" fmla="*/ 15 h 63"/>
                    <a:gd name="T18" fmla="*/ 44 w 61"/>
                    <a:gd name="T19" fmla="*/ 13 h 63"/>
                    <a:gd name="T20" fmla="*/ 52 w 61"/>
                    <a:gd name="T21" fmla="*/ 10 h 63"/>
                    <a:gd name="T22" fmla="*/ 44 w 61"/>
                    <a:gd name="T23" fmla="*/ 14 h 63"/>
                    <a:gd name="T24" fmla="*/ 38 w 61"/>
                    <a:gd name="T25" fmla="*/ 17 h 63"/>
                    <a:gd name="T26" fmla="*/ 33 w 61"/>
                    <a:gd name="T27" fmla="*/ 18 h 63"/>
                    <a:gd name="T28" fmla="*/ 26 w 61"/>
                    <a:gd name="T29" fmla="*/ 22 h 63"/>
                    <a:gd name="T30" fmla="*/ 21 w 61"/>
                    <a:gd name="T31" fmla="*/ 25 h 63"/>
                    <a:gd name="T32" fmla="*/ 17 w 61"/>
                    <a:gd name="T33" fmla="*/ 31 h 63"/>
                    <a:gd name="T34" fmla="*/ 15 w 61"/>
                    <a:gd name="T35" fmla="*/ 42 h 63"/>
                    <a:gd name="T36" fmla="*/ 22 w 61"/>
                    <a:gd name="T37" fmla="*/ 44 h 63"/>
                    <a:gd name="T38" fmla="*/ 61 w 61"/>
                    <a:gd name="T39" fmla="*/ 0 h 63"/>
                    <a:gd name="T40" fmla="*/ 52 w 61"/>
                    <a:gd name="T41" fmla="*/ 6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1" h="63">
                      <a:moveTo>
                        <a:pt x="52" y="6"/>
                      </a:moveTo>
                      <a:cubicBezTo>
                        <a:pt x="46" y="7"/>
                        <a:pt x="32" y="6"/>
                        <a:pt x="20" y="12"/>
                      </a:cubicBezTo>
                      <a:cubicBezTo>
                        <a:pt x="13" y="16"/>
                        <a:pt x="10" y="22"/>
                        <a:pt x="9" y="27"/>
                      </a:cubicBezTo>
                      <a:cubicBezTo>
                        <a:pt x="0" y="41"/>
                        <a:pt x="6" y="52"/>
                        <a:pt x="9" y="63"/>
                      </a:cubicBezTo>
                      <a:cubicBezTo>
                        <a:pt x="21" y="63"/>
                        <a:pt x="21" y="63"/>
                        <a:pt x="21" y="63"/>
                      </a:cubicBezTo>
                      <a:cubicBezTo>
                        <a:pt x="17" y="55"/>
                        <a:pt x="12" y="46"/>
                        <a:pt x="12" y="37"/>
                      </a:cubicBezTo>
                      <a:cubicBezTo>
                        <a:pt x="12" y="34"/>
                        <a:pt x="13" y="32"/>
                        <a:pt x="14" y="30"/>
                      </a:cubicBezTo>
                      <a:cubicBezTo>
                        <a:pt x="20" y="20"/>
                        <a:pt x="31" y="17"/>
                        <a:pt x="33" y="16"/>
                      </a:cubicBezTo>
                      <a:cubicBezTo>
                        <a:pt x="33" y="16"/>
                        <a:pt x="35" y="16"/>
                        <a:pt x="37" y="15"/>
                      </a:cubicBezTo>
                      <a:cubicBezTo>
                        <a:pt x="39" y="15"/>
                        <a:pt x="42" y="14"/>
                        <a:pt x="44" y="13"/>
                      </a:cubicBezTo>
                      <a:cubicBezTo>
                        <a:pt x="48" y="12"/>
                        <a:pt x="52" y="10"/>
                        <a:pt x="52" y="10"/>
                      </a:cubicBezTo>
                      <a:cubicBezTo>
                        <a:pt x="52" y="10"/>
                        <a:pt x="48" y="12"/>
                        <a:pt x="44" y="14"/>
                      </a:cubicBezTo>
                      <a:cubicBezTo>
                        <a:pt x="42" y="15"/>
                        <a:pt x="40" y="16"/>
                        <a:pt x="38" y="17"/>
                      </a:cubicBezTo>
                      <a:cubicBezTo>
                        <a:pt x="36" y="17"/>
                        <a:pt x="34" y="18"/>
                        <a:pt x="33" y="18"/>
                      </a:cubicBezTo>
                      <a:cubicBezTo>
                        <a:pt x="32" y="19"/>
                        <a:pt x="29" y="19"/>
                        <a:pt x="26" y="22"/>
                      </a:cubicBezTo>
                      <a:cubicBezTo>
                        <a:pt x="24" y="23"/>
                        <a:pt x="23" y="24"/>
                        <a:pt x="21" y="25"/>
                      </a:cubicBezTo>
                      <a:cubicBezTo>
                        <a:pt x="19" y="27"/>
                        <a:pt x="18" y="29"/>
                        <a:pt x="17" y="31"/>
                      </a:cubicBezTo>
                      <a:cubicBezTo>
                        <a:pt x="15" y="34"/>
                        <a:pt x="15" y="38"/>
                        <a:pt x="15" y="42"/>
                      </a:cubicBezTo>
                      <a:cubicBezTo>
                        <a:pt x="16" y="43"/>
                        <a:pt x="18" y="44"/>
                        <a:pt x="22" y="44"/>
                      </a:cubicBezTo>
                      <a:cubicBezTo>
                        <a:pt x="55" y="41"/>
                        <a:pt x="61" y="0"/>
                        <a:pt x="61" y="0"/>
                      </a:cubicBezTo>
                      <a:cubicBezTo>
                        <a:pt x="61" y="0"/>
                        <a:pt x="58" y="4"/>
                        <a:pt x="52" y="6"/>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grpSp>
            <p:nvGrpSpPr>
              <p:cNvPr id="79" name="Group 4">
                <a:extLst>
                  <a:ext uri="{FF2B5EF4-FFF2-40B4-BE49-F238E27FC236}">
                    <a16:creationId xmlns:a16="http://schemas.microsoft.com/office/drawing/2014/main" id="{F4589FD2-02FB-4E7B-8277-C43127FC8DB2}"/>
                  </a:ext>
                </a:extLst>
              </p:cNvPr>
              <p:cNvGrpSpPr/>
              <p:nvPr/>
            </p:nvGrpSpPr>
            <p:grpSpPr>
              <a:xfrm>
                <a:off x="2779461" y="5354514"/>
                <a:ext cx="1190625" cy="1447801"/>
                <a:chOff x="4697413" y="3603625"/>
                <a:chExt cx="1190625" cy="1447801"/>
              </a:xfrm>
            </p:grpSpPr>
            <p:sp>
              <p:nvSpPr>
                <p:cNvPr id="90" name="Freeform 23">
                  <a:extLst>
                    <a:ext uri="{FF2B5EF4-FFF2-40B4-BE49-F238E27FC236}">
                      <a16:creationId xmlns:a16="http://schemas.microsoft.com/office/drawing/2014/main" id="{A8DB5285-F0DD-4F0B-AA0B-B54D76D75F67}"/>
                    </a:ext>
                  </a:extLst>
                </p:cNvPr>
                <p:cNvSpPr>
                  <a:spLocks/>
                </p:cNvSpPr>
                <p:nvPr/>
              </p:nvSpPr>
              <p:spPr bwMode="auto">
                <a:xfrm>
                  <a:off x="4697413" y="3603625"/>
                  <a:ext cx="1190625" cy="1017588"/>
                </a:xfrm>
                <a:custGeom>
                  <a:avLst/>
                  <a:gdLst>
                    <a:gd name="T0" fmla="*/ 103 w 113"/>
                    <a:gd name="T1" fmla="*/ 6 h 97"/>
                    <a:gd name="T2" fmla="*/ 70 w 113"/>
                    <a:gd name="T3" fmla="*/ 13 h 97"/>
                    <a:gd name="T4" fmla="*/ 58 w 113"/>
                    <a:gd name="T5" fmla="*/ 26 h 97"/>
                    <a:gd name="T6" fmla="*/ 54 w 113"/>
                    <a:gd name="T7" fmla="*/ 35 h 97"/>
                    <a:gd name="T8" fmla="*/ 45 w 113"/>
                    <a:gd name="T9" fmla="*/ 24 h 97"/>
                    <a:gd name="T10" fmla="*/ 32 w 113"/>
                    <a:gd name="T11" fmla="*/ 14 h 97"/>
                    <a:gd name="T12" fmla="*/ 8 w 113"/>
                    <a:gd name="T13" fmla="*/ 16 h 97"/>
                    <a:gd name="T14" fmla="*/ 0 w 113"/>
                    <a:gd name="T15" fmla="*/ 14 h 97"/>
                    <a:gd name="T16" fmla="*/ 39 w 113"/>
                    <a:gd name="T17" fmla="*/ 38 h 97"/>
                    <a:gd name="T18" fmla="*/ 43 w 113"/>
                    <a:gd name="T19" fmla="*/ 34 h 97"/>
                    <a:gd name="T20" fmla="*/ 39 w 113"/>
                    <a:gd name="T21" fmla="*/ 27 h 97"/>
                    <a:gd name="T22" fmla="*/ 35 w 113"/>
                    <a:gd name="T23" fmla="*/ 24 h 97"/>
                    <a:gd name="T24" fmla="*/ 30 w 113"/>
                    <a:gd name="T25" fmla="*/ 22 h 97"/>
                    <a:gd name="T26" fmla="*/ 24 w 113"/>
                    <a:gd name="T27" fmla="*/ 21 h 97"/>
                    <a:gd name="T28" fmla="*/ 21 w 113"/>
                    <a:gd name="T29" fmla="*/ 21 h 97"/>
                    <a:gd name="T30" fmla="*/ 15 w 113"/>
                    <a:gd name="T31" fmla="*/ 21 h 97"/>
                    <a:gd name="T32" fmla="*/ 9 w 113"/>
                    <a:gd name="T33" fmla="*/ 20 h 97"/>
                    <a:gd name="T34" fmla="*/ 15 w 113"/>
                    <a:gd name="T35" fmla="*/ 20 h 97"/>
                    <a:gd name="T36" fmla="*/ 20 w 113"/>
                    <a:gd name="T37" fmla="*/ 20 h 97"/>
                    <a:gd name="T38" fmla="*/ 24 w 113"/>
                    <a:gd name="T39" fmla="*/ 20 h 97"/>
                    <a:gd name="T40" fmla="*/ 39 w 113"/>
                    <a:gd name="T41" fmla="*/ 24 h 97"/>
                    <a:gd name="T42" fmla="*/ 43 w 113"/>
                    <a:gd name="T43" fmla="*/ 29 h 97"/>
                    <a:gd name="T44" fmla="*/ 44 w 113"/>
                    <a:gd name="T45" fmla="*/ 30 h 97"/>
                    <a:gd name="T46" fmla="*/ 44 w 113"/>
                    <a:gd name="T47" fmla="*/ 30 h 97"/>
                    <a:gd name="T48" fmla="*/ 53 w 113"/>
                    <a:gd name="T49" fmla="*/ 48 h 97"/>
                    <a:gd name="T50" fmla="*/ 59 w 113"/>
                    <a:gd name="T51" fmla="*/ 94 h 97"/>
                    <a:gd name="T52" fmla="*/ 59 w 113"/>
                    <a:gd name="T53" fmla="*/ 94 h 97"/>
                    <a:gd name="T54" fmla="*/ 58 w 113"/>
                    <a:gd name="T55" fmla="*/ 97 h 97"/>
                    <a:gd name="T56" fmla="*/ 75 w 113"/>
                    <a:gd name="T57" fmla="*/ 97 h 97"/>
                    <a:gd name="T58" fmla="*/ 62 w 113"/>
                    <a:gd name="T59" fmla="*/ 36 h 97"/>
                    <a:gd name="T60" fmla="*/ 63 w 113"/>
                    <a:gd name="T61" fmla="*/ 32 h 97"/>
                    <a:gd name="T62" fmla="*/ 83 w 113"/>
                    <a:gd name="T63" fmla="*/ 17 h 97"/>
                    <a:gd name="T64" fmla="*/ 88 w 113"/>
                    <a:gd name="T65" fmla="*/ 16 h 97"/>
                    <a:gd name="T66" fmla="*/ 95 w 113"/>
                    <a:gd name="T67" fmla="*/ 14 h 97"/>
                    <a:gd name="T68" fmla="*/ 103 w 113"/>
                    <a:gd name="T69" fmla="*/ 11 h 97"/>
                    <a:gd name="T70" fmla="*/ 95 w 113"/>
                    <a:gd name="T71" fmla="*/ 15 h 97"/>
                    <a:gd name="T72" fmla="*/ 88 w 113"/>
                    <a:gd name="T73" fmla="*/ 18 h 97"/>
                    <a:gd name="T74" fmla="*/ 83 w 113"/>
                    <a:gd name="T75" fmla="*/ 20 h 97"/>
                    <a:gd name="T76" fmla="*/ 76 w 113"/>
                    <a:gd name="T77" fmla="*/ 23 h 97"/>
                    <a:gd name="T78" fmla="*/ 70 w 113"/>
                    <a:gd name="T79" fmla="*/ 27 h 97"/>
                    <a:gd name="T80" fmla="*/ 66 w 113"/>
                    <a:gd name="T81" fmla="*/ 33 h 97"/>
                    <a:gd name="T82" fmla="*/ 63 w 113"/>
                    <a:gd name="T83" fmla="*/ 44 h 97"/>
                    <a:gd name="T84" fmla="*/ 71 w 113"/>
                    <a:gd name="T85" fmla="*/ 47 h 97"/>
                    <a:gd name="T86" fmla="*/ 113 w 113"/>
                    <a:gd name="T87" fmla="*/ 0 h 97"/>
                    <a:gd name="T88" fmla="*/ 103 w 113"/>
                    <a:gd name="T89" fmla="*/ 6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13" h="97">
                      <a:moveTo>
                        <a:pt x="103" y="6"/>
                      </a:moveTo>
                      <a:cubicBezTo>
                        <a:pt x="96" y="8"/>
                        <a:pt x="82" y="7"/>
                        <a:pt x="70" y="13"/>
                      </a:cubicBezTo>
                      <a:cubicBezTo>
                        <a:pt x="63" y="17"/>
                        <a:pt x="60" y="22"/>
                        <a:pt x="58" y="26"/>
                      </a:cubicBezTo>
                      <a:cubicBezTo>
                        <a:pt x="56" y="29"/>
                        <a:pt x="55" y="32"/>
                        <a:pt x="54" y="35"/>
                      </a:cubicBezTo>
                      <a:cubicBezTo>
                        <a:pt x="52" y="31"/>
                        <a:pt x="49" y="28"/>
                        <a:pt x="45" y="24"/>
                      </a:cubicBezTo>
                      <a:cubicBezTo>
                        <a:pt x="43" y="20"/>
                        <a:pt x="40" y="15"/>
                        <a:pt x="32" y="14"/>
                      </a:cubicBezTo>
                      <a:cubicBezTo>
                        <a:pt x="22" y="12"/>
                        <a:pt x="13" y="16"/>
                        <a:pt x="8" y="16"/>
                      </a:cubicBezTo>
                      <a:cubicBezTo>
                        <a:pt x="3" y="16"/>
                        <a:pt x="0" y="14"/>
                        <a:pt x="0" y="14"/>
                      </a:cubicBezTo>
                      <a:cubicBezTo>
                        <a:pt x="0" y="14"/>
                        <a:pt x="13" y="43"/>
                        <a:pt x="39" y="38"/>
                      </a:cubicBezTo>
                      <a:cubicBezTo>
                        <a:pt x="41" y="37"/>
                        <a:pt x="43" y="35"/>
                        <a:pt x="43" y="34"/>
                      </a:cubicBezTo>
                      <a:cubicBezTo>
                        <a:pt x="42" y="32"/>
                        <a:pt x="41" y="29"/>
                        <a:pt x="39" y="27"/>
                      </a:cubicBezTo>
                      <a:cubicBezTo>
                        <a:pt x="38" y="26"/>
                        <a:pt x="36" y="24"/>
                        <a:pt x="35" y="24"/>
                      </a:cubicBezTo>
                      <a:cubicBezTo>
                        <a:pt x="33" y="23"/>
                        <a:pt x="32" y="22"/>
                        <a:pt x="30" y="22"/>
                      </a:cubicBezTo>
                      <a:cubicBezTo>
                        <a:pt x="27" y="21"/>
                        <a:pt x="25" y="21"/>
                        <a:pt x="24" y="21"/>
                      </a:cubicBezTo>
                      <a:cubicBezTo>
                        <a:pt x="23" y="21"/>
                        <a:pt x="22" y="21"/>
                        <a:pt x="21" y="21"/>
                      </a:cubicBezTo>
                      <a:cubicBezTo>
                        <a:pt x="19" y="21"/>
                        <a:pt x="17" y="21"/>
                        <a:pt x="15" y="21"/>
                      </a:cubicBezTo>
                      <a:cubicBezTo>
                        <a:pt x="12" y="20"/>
                        <a:pt x="9" y="20"/>
                        <a:pt x="9" y="20"/>
                      </a:cubicBezTo>
                      <a:cubicBezTo>
                        <a:pt x="9" y="20"/>
                        <a:pt x="12" y="20"/>
                        <a:pt x="15" y="20"/>
                      </a:cubicBezTo>
                      <a:cubicBezTo>
                        <a:pt x="17" y="20"/>
                        <a:pt x="19" y="20"/>
                        <a:pt x="20" y="20"/>
                      </a:cubicBezTo>
                      <a:cubicBezTo>
                        <a:pt x="22" y="20"/>
                        <a:pt x="23" y="20"/>
                        <a:pt x="24" y="20"/>
                      </a:cubicBezTo>
                      <a:cubicBezTo>
                        <a:pt x="26" y="20"/>
                        <a:pt x="33" y="20"/>
                        <a:pt x="39" y="24"/>
                      </a:cubicBezTo>
                      <a:cubicBezTo>
                        <a:pt x="40" y="26"/>
                        <a:pt x="42" y="28"/>
                        <a:pt x="43" y="29"/>
                      </a:cubicBezTo>
                      <a:cubicBezTo>
                        <a:pt x="44" y="30"/>
                        <a:pt x="44" y="30"/>
                        <a:pt x="44" y="30"/>
                      </a:cubicBezTo>
                      <a:cubicBezTo>
                        <a:pt x="44" y="30"/>
                        <a:pt x="44" y="30"/>
                        <a:pt x="44" y="30"/>
                      </a:cubicBezTo>
                      <a:cubicBezTo>
                        <a:pt x="48" y="36"/>
                        <a:pt x="51" y="42"/>
                        <a:pt x="53" y="48"/>
                      </a:cubicBezTo>
                      <a:cubicBezTo>
                        <a:pt x="54" y="64"/>
                        <a:pt x="63" y="77"/>
                        <a:pt x="59" y="94"/>
                      </a:cubicBezTo>
                      <a:cubicBezTo>
                        <a:pt x="59" y="94"/>
                        <a:pt x="59" y="94"/>
                        <a:pt x="59" y="94"/>
                      </a:cubicBezTo>
                      <a:cubicBezTo>
                        <a:pt x="59" y="94"/>
                        <a:pt x="59" y="95"/>
                        <a:pt x="58" y="97"/>
                      </a:cubicBezTo>
                      <a:cubicBezTo>
                        <a:pt x="75" y="97"/>
                        <a:pt x="75" y="97"/>
                        <a:pt x="75" y="97"/>
                      </a:cubicBezTo>
                      <a:cubicBezTo>
                        <a:pt x="79" y="74"/>
                        <a:pt x="59" y="59"/>
                        <a:pt x="62" y="36"/>
                      </a:cubicBezTo>
                      <a:cubicBezTo>
                        <a:pt x="62" y="34"/>
                        <a:pt x="63" y="33"/>
                        <a:pt x="63" y="32"/>
                      </a:cubicBezTo>
                      <a:cubicBezTo>
                        <a:pt x="69" y="21"/>
                        <a:pt x="81" y="18"/>
                        <a:pt x="83" y="17"/>
                      </a:cubicBezTo>
                      <a:cubicBezTo>
                        <a:pt x="84" y="17"/>
                        <a:pt x="85" y="17"/>
                        <a:pt x="88" y="16"/>
                      </a:cubicBezTo>
                      <a:cubicBezTo>
                        <a:pt x="90" y="16"/>
                        <a:pt x="92" y="15"/>
                        <a:pt x="95" y="14"/>
                      </a:cubicBezTo>
                      <a:cubicBezTo>
                        <a:pt x="99" y="13"/>
                        <a:pt x="103" y="11"/>
                        <a:pt x="103" y="11"/>
                      </a:cubicBezTo>
                      <a:cubicBezTo>
                        <a:pt x="103" y="11"/>
                        <a:pt x="100" y="13"/>
                        <a:pt x="95" y="15"/>
                      </a:cubicBezTo>
                      <a:cubicBezTo>
                        <a:pt x="93" y="16"/>
                        <a:pt x="90" y="17"/>
                        <a:pt x="88" y="18"/>
                      </a:cubicBezTo>
                      <a:cubicBezTo>
                        <a:pt x="86" y="19"/>
                        <a:pt x="84" y="19"/>
                        <a:pt x="83" y="20"/>
                      </a:cubicBezTo>
                      <a:cubicBezTo>
                        <a:pt x="82" y="20"/>
                        <a:pt x="79" y="21"/>
                        <a:pt x="76" y="23"/>
                      </a:cubicBezTo>
                      <a:cubicBezTo>
                        <a:pt x="74" y="24"/>
                        <a:pt x="72" y="25"/>
                        <a:pt x="70" y="27"/>
                      </a:cubicBezTo>
                      <a:cubicBezTo>
                        <a:pt x="68" y="29"/>
                        <a:pt x="67" y="31"/>
                        <a:pt x="66" y="33"/>
                      </a:cubicBezTo>
                      <a:cubicBezTo>
                        <a:pt x="64" y="37"/>
                        <a:pt x="64" y="41"/>
                        <a:pt x="63" y="44"/>
                      </a:cubicBezTo>
                      <a:cubicBezTo>
                        <a:pt x="65" y="46"/>
                        <a:pt x="67" y="47"/>
                        <a:pt x="71" y="47"/>
                      </a:cubicBezTo>
                      <a:cubicBezTo>
                        <a:pt x="107" y="44"/>
                        <a:pt x="113" y="0"/>
                        <a:pt x="113" y="0"/>
                      </a:cubicBezTo>
                      <a:cubicBezTo>
                        <a:pt x="113" y="0"/>
                        <a:pt x="110" y="4"/>
                        <a:pt x="103" y="6"/>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91" name="Freeform 24">
                  <a:extLst>
                    <a:ext uri="{FF2B5EF4-FFF2-40B4-BE49-F238E27FC236}">
                      <a16:creationId xmlns:a16="http://schemas.microsoft.com/office/drawing/2014/main" id="{C7AD8751-18F7-4326-AA31-C53DBC128C20}"/>
                    </a:ext>
                  </a:extLst>
                </p:cNvPr>
                <p:cNvSpPr>
                  <a:spLocks/>
                </p:cNvSpPr>
                <p:nvPr/>
              </p:nvSpPr>
              <p:spPr bwMode="auto">
                <a:xfrm>
                  <a:off x="4992688" y="4621213"/>
                  <a:ext cx="663575" cy="430213"/>
                </a:xfrm>
                <a:custGeom>
                  <a:avLst/>
                  <a:gdLst>
                    <a:gd name="T0" fmla="*/ 63 w 63"/>
                    <a:gd name="T1" fmla="*/ 22 h 41"/>
                    <a:gd name="T2" fmla="*/ 53 w 63"/>
                    <a:gd name="T3" fmla="*/ 17 h 41"/>
                    <a:gd name="T4" fmla="*/ 48 w 63"/>
                    <a:gd name="T5" fmla="*/ 13 h 41"/>
                    <a:gd name="T6" fmla="*/ 46 w 63"/>
                    <a:gd name="T7" fmla="*/ 6 h 41"/>
                    <a:gd name="T8" fmla="*/ 47 w 63"/>
                    <a:gd name="T9" fmla="*/ 0 h 41"/>
                    <a:gd name="T10" fmla="*/ 30 w 63"/>
                    <a:gd name="T11" fmla="*/ 0 h 41"/>
                    <a:gd name="T12" fmla="*/ 21 w 63"/>
                    <a:gd name="T13" fmla="*/ 18 h 41"/>
                    <a:gd name="T14" fmla="*/ 19 w 63"/>
                    <a:gd name="T15" fmla="*/ 20 h 41"/>
                    <a:gd name="T16" fmla="*/ 12 w 63"/>
                    <a:gd name="T17" fmla="*/ 23 h 41"/>
                    <a:gd name="T18" fmla="*/ 3 w 63"/>
                    <a:gd name="T19" fmla="*/ 28 h 41"/>
                    <a:gd name="T20" fmla="*/ 14 w 63"/>
                    <a:gd name="T21" fmla="*/ 24 h 41"/>
                    <a:gd name="T22" fmla="*/ 16 w 63"/>
                    <a:gd name="T23" fmla="*/ 24 h 41"/>
                    <a:gd name="T24" fmla="*/ 0 w 63"/>
                    <a:gd name="T25" fmla="*/ 39 h 41"/>
                    <a:gd name="T26" fmla="*/ 21 w 63"/>
                    <a:gd name="T27" fmla="*/ 25 h 41"/>
                    <a:gd name="T28" fmla="*/ 33 w 63"/>
                    <a:gd name="T29" fmla="*/ 14 h 41"/>
                    <a:gd name="T30" fmla="*/ 35 w 63"/>
                    <a:gd name="T31" fmla="*/ 21 h 41"/>
                    <a:gd name="T32" fmla="*/ 42 w 63"/>
                    <a:gd name="T33" fmla="*/ 41 h 41"/>
                    <a:gd name="T34" fmla="*/ 39 w 63"/>
                    <a:gd name="T35" fmla="*/ 24 h 41"/>
                    <a:gd name="T36" fmla="*/ 42 w 63"/>
                    <a:gd name="T37" fmla="*/ 26 h 41"/>
                    <a:gd name="T38" fmla="*/ 47 w 63"/>
                    <a:gd name="T39" fmla="*/ 27 h 41"/>
                    <a:gd name="T40" fmla="*/ 41 w 63"/>
                    <a:gd name="T41" fmla="*/ 24 h 41"/>
                    <a:gd name="T42" fmla="*/ 39 w 63"/>
                    <a:gd name="T43" fmla="*/ 22 h 41"/>
                    <a:gd name="T44" fmla="*/ 39 w 63"/>
                    <a:gd name="T45" fmla="*/ 18 h 41"/>
                    <a:gd name="T46" fmla="*/ 40 w 63"/>
                    <a:gd name="T47" fmla="*/ 12 h 41"/>
                    <a:gd name="T48" fmla="*/ 41 w 63"/>
                    <a:gd name="T49" fmla="*/ 12 h 41"/>
                    <a:gd name="T50" fmla="*/ 46 w 63"/>
                    <a:gd name="T51" fmla="*/ 18 h 41"/>
                    <a:gd name="T52" fmla="*/ 55 w 63"/>
                    <a:gd name="T53" fmla="*/ 37 h 41"/>
                    <a:gd name="T54" fmla="*/ 51 w 63"/>
                    <a:gd name="T55" fmla="*/ 20 h 41"/>
                    <a:gd name="T56" fmla="*/ 50 w 63"/>
                    <a:gd name="T57" fmla="*/ 18 h 41"/>
                    <a:gd name="T58" fmla="*/ 54 w 63"/>
                    <a:gd name="T59" fmla="*/ 20 h 41"/>
                    <a:gd name="T60" fmla="*/ 63 w 63"/>
                    <a:gd name="T61" fmla="*/ 2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63" h="41">
                      <a:moveTo>
                        <a:pt x="63" y="22"/>
                      </a:moveTo>
                      <a:cubicBezTo>
                        <a:pt x="63" y="22"/>
                        <a:pt x="56" y="19"/>
                        <a:pt x="53" y="17"/>
                      </a:cubicBezTo>
                      <a:cubicBezTo>
                        <a:pt x="51" y="16"/>
                        <a:pt x="49" y="14"/>
                        <a:pt x="48" y="13"/>
                      </a:cubicBezTo>
                      <a:cubicBezTo>
                        <a:pt x="47" y="11"/>
                        <a:pt x="46" y="8"/>
                        <a:pt x="46" y="6"/>
                      </a:cubicBezTo>
                      <a:cubicBezTo>
                        <a:pt x="46" y="4"/>
                        <a:pt x="47" y="2"/>
                        <a:pt x="47" y="0"/>
                      </a:cubicBezTo>
                      <a:cubicBezTo>
                        <a:pt x="30" y="0"/>
                        <a:pt x="30" y="0"/>
                        <a:pt x="30" y="0"/>
                      </a:cubicBezTo>
                      <a:cubicBezTo>
                        <a:pt x="29" y="5"/>
                        <a:pt x="25" y="12"/>
                        <a:pt x="21" y="18"/>
                      </a:cubicBezTo>
                      <a:cubicBezTo>
                        <a:pt x="21" y="19"/>
                        <a:pt x="20" y="19"/>
                        <a:pt x="19" y="20"/>
                      </a:cubicBezTo>
                      <a:cubicBezTo>
                        <a:pt x="17" y="21"/>
                        <a:pt x="14" y="22"/>
                        <a:pt x="12" y="23"/>
                      </a:cubicBezTo>
                      <a:cubicBezTo>
                        <a:pt x="9" y="24"/>
                        <a:pt x="3" y="28"/>
                        <a:pt x="3" y="28"/>
                      </a:cubicBezTo>
                      <a:cubicBezTo>
                        <a:pt x="3" y="28"/>
                        <a:pt x="11" y="25"/>
                        <a:pt x="14" y="24"/>
                      </a:cubicBezTo>
                      <a:cubicBezTo>
                        <a:pt x="15" y="24"/>
                        <a:pt x="16" y="24"/>
                        <a:pt x="16" y="24"/>
                      </a:cubicBezTo>
                      <a:cubicBezTo>
                        <a:pt x="10" y="31"/>
                        <a:pt x="0" y="39"/>
                        <a:pt x="0" y="39"/>
                      </a:cubicBezTo>
                      <a:cubicBezTo>
                        <a:pt x="0" y="39"/>
                        <a:pt x="15" y="30"/>
                        <a:pt x="21" y="25"/>
                      </a:cubicBezTo>
                      <a:cubicBezTo>
                        <a:pt x="24" y="22"/>
                        <a:pt x="29" y="18"/>
                        <a:pt x="33" y="14"/>
                      </a:cubicBezTo>
                      <a:cubicBezTo>
                        <a:pt x="34" y="16"/>
                        <a:pt x="35" y="19"/>
                        <a:pt x="35" y="21"/>
                      </a:cubicBezTo>
                      <a:cubicBezTo>
                        <a:pt x="37" y="27"/>
                        <a:pt x="42" y="41"/>
                        <a:pt x="42" y="41"/>
                      </a:cubicBezTo>
                      <a:cubicBezTo>
                        <a:pt x="42" y="41"/>
                        <a:pt x="40" y="32"/>
                        <a:pt x="39" y="24"/>
                      </a:cubicBezTo>
                      <a:cubicBezTo>
                        <a:pt x="40" y="25"/>
                        <a:pt x="41" y="25"/>
                        <a:pt x="42" y="26"/>
                      </a:cubicBezTo>
                      <a:cubicBezTo>
                        <a:pt x="43" y="26"/>
                        <a:pt x="47" y="27"/>
                        <a:pt x="47" y="27"/>
                      </a:cubicBezTo>
                      <a:cubicBezTo>
                        <a:pt x="47" y="27"/>
                        <a:pt x="43" y="25"/>
                        <a:pt x="41" y="24"/>
                      </a:cubicBezTo>
                      <a:cubicBezTo>
                        <a:pt x="40" y="23"/>
                        <a:pt x="40" y="23"/>
                        <a:pt x="39" y="22"/>
                      </a:cubicBezTo>
                      <a:cubicBezTo>
                        <a:pt x="39" y="21"/>
                        <a:pt x="39" y="19"/>
                        <a:pt x="39" y="18"/>
                      </a:cubicBezTo>
                      <a:cubicBezTo>
                        <a:pt x="39" y="16"/>
                        <a:pt x="40" y="14"/>
                        <a:pt x="40" y="12"/>
                      </a:cubicBezTo>
                      <a:cubicBezTo>
                        <a:pt x="40" y="12"/>
                        <a:pt x="41" y="12"/>
                        <a:pt x="41" y="12"/>
                      </a:cubicBezTo>
                      <a:cubicBezTo>
                        <a:pt x="42" y="13"/>
                        <a:pt x="44" y="16"/>
                        <a:pt x="46" y="18"/>
                      </a:cubicBezTo>
                      <a:cubicBezTo>
                        <a:pt x="50" y="24"/>
                        <a:pt x="55" y="37"/>
                        <a:pt x="55" y="37"/>
                      </a:cubicBezTo>
                      <a:cubicBezTo>
                        <a:pt x="55" y="37"/>
                        <a:pt x="53" y="25"/>
                        <a:pt x="51" y="20"/>
                      </a:cubicBezTo>
                      <a:cubicBezTo>
                        <a:pt x="50" y="19"/>
                        <a:pt x="50" y="19"/>
                        <a:pt x="50" y="18"/>
                      </a:cubicBezTo>
                      <a:cubicBezTo>
                        <a:pt x="51" y="19"/>
                        <a:pt x="53" y="19"/>
                        <a:pt x="54" y="20"/>
                      </a:cubicBezTo>
                      <a:cubicBezTo>
                        <a:pt x="57" y="21"/>
                        <a:pt x="63" y="22"/>
                        <a:pt x="63" y="22"/>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grpSp>
            <p:nvGrpSpPr>
              <p:cNvPr id="80" name="Group 5">
                <a:extLst>
                  <a:ext uri="{FF2B5EF4-FFF2-40B4-BE49-F238E27FC236}">
                    <a16:creationId xmlns:a16="http://schemas.microsoft.com/office/drawing/2014/main" id="{85D8CBE0-4703-4B70-B054-8D95BA763955}"/>
                  </a:ext>
                </a:extLst>
              </p:cNvPr>
              <p:cNvGrpSpPr/>
              <p:nvPr/>
            </p:nvGrpSpPr>
            <p:grpSpPr>
              <a:xfrm>
                <a:off x="4869207" y="3806184"/>
                <a:ext cx="1179914" cy="2125107"/>
                <a:chOff x="7354888" y="2000524"/>
                <a:chExt cx="1484312" cy="2673349"/>
              </a:xfrm>
            </p:grpSpPr>
            <p:sp>
              <p:nvSpPr>
                <p:cNvPr id="88" name="Freeform 33">
                  <a:extLst>
                    <a:ext uri="{FF2B5EF4-FFF2-40B4-BE49-F238E27FC236}">
                      <a16:creationId xmlns:a16="http://schemas.microsoft.com/office/drawing/2014/main" id="{CE1EE92B-4462-4E26-9AB9-AA51E40471D8}"/>
                    </a:ext>
                  </a:extLst>
                </p:cNvPr>
                <p:cNvSpPr>
                  <a:spLocks/>
                </p:cNvSpPr>
                <p:nvPr/>
              </p:nvSpPr>
              <p:spPr bwMode="auto">
                <a:xfrm>
                  <a:off x="7435850" y="2000524"/>
                  <a:ext cx="1403350" cy="2108200"/>
                </a:xfrm>
                <a:custGeom>
                  <a:avLst/>
                  <a:gdLst>
                    <a:gd name="T0" fmla="*/ 121 w 190"/>
                    <a:gd name="T1" fmla="*/ 165 h 287"/>
                    <a:gd name="T2" fmla="*/ 135 w 190"/>
                    <a:gd name="T3" fmla="*/ 103 h 287"/>
                    <a:gd name="T4" fmla="*/ 190 w 190"/>
                    <a:gd name="T5" fmla="*/ 71 h 287"/>
                    <a:gd name="T6" fmla="*/ 146 w 190"/>
                    <a:gd name="T7" fmla="*/ 72 h 287"/>
                    <a:gd name="T8" fmla="*/ 131 w 190"/>
                    <a:gd name="T9" fmla="*/ 94 h 287"/>
                    <a:gd name="T10" fmla="*/ 157 w 190"/>
                    <a:gd name="T11" fmla="*/ 80 h 287"/>
                    <a:gd name="T12" fmla="*/ 169 w 190"/>
                    <a:gd name="T13" fmla="*/ 80 h 287"/>
                    <a:gd name="T14" fmla="*/ 169 w 190"/>
                    <a:gd name="T15" fmla="*/ 81 h 287"/>
                    <a:gd name="T16" fmla="*/ 157 w 190"/>
                    <a:gd name="T17" fmla="*/ 82 h 287"/>
                    <a:gd name="T18" fmla="*/ 143 w 190"/>
                    <a:gd name="T19" fmla="*/ 85 h 287"/>
                    <a:gd name="T20" fmla="*/ 133 w 190"/>
                    <a:gd name="T21" fmla="*/ 96 h 287"/>
                    <a:gd name="T22" fmla="*/ 117 w 190"/>
                    <a:gd name="T23" fmla="*/ 29 h 287"/>
                    <a:gd name="T24" fmla="*/ 136 w 190"/>
                    <a:gd name="T25" fmla="*/ 17 h 287"/>
                    <a:gd name="T26" fmla="*/ 151 w 190"/>
                    <a:gd name="T27" fmla="*/ 11 h 287"/>
                    <a:gd name="T28" fmla="*/ 137 w 190"/>
                    <a:gd name="T29" fmla="*/ 19 h 287"/>
                    <a:gd name="T30" fmla="*/ 125 w 190"/>
                    <a:gd name="T31" fmla="*/ 25 h 287"/>
                    <a:gd name="T32" fmla="*/ 117 w 190"/>
                    <a:gd name="T33" fmla="*/ 35 h 287"/>
                    <a:gd name="T34" fmla="*/ 122 w 190"/>
                    <a:gd name="T35" fmla="*/ 49 h 287"/>
                    <a:gd name="T36" fmla="*/ 151 w 190"/>
                    <a:gd name="T37" fmla="*/ 7 h 287"/>
                    <a:gd name="T38" fmla="*/ 109 w 190"/>
                    <a:gd name="T39" fmla="*/ 26 h 287"/>
                    <a:gd name="T40" fmla="*/ 90 w 190"/>
                    <a:gd name="T41" fmla="*/ 13 h 287"/>
                    <a:gd name="T42" fmla="*/ 100 w 190"/>
                    <a:gd name="T43" fmla="*/ 41 h 287"/>
                    <a:gd name="T44" fmla="*/ 105 w 190"/>
                    <a:gd name="T45" fmla="*/ 34 h 287"/>
                    <a:gd name="T46" fmla="*/ 102 w 190"/>
                    <a:gd name="T47" fmla="*/ 27 h 287"/>
                    <a:gd name="T48" fmla="*/ 96 w 190"/>
                    <a:gd name="T49" fmla="*/ 22 h 287"/>
                    <a:gd name="T50" fmla="*/ 89 w 190"/>
                    <a:gd name="T51" fmla="*/ 16 h 287"/>
                    <a:gd name="T52" fmla="*/ 96 w 190"/>
                    <a:gd name="T53" fmla="*/ 21 h 287"/>
                    <a:gd name="T54" fmla="*/ 107 w 190"/>
                    <a:gd name="T55" fmla="*/ 33 h 287"/>
                    <a:gd name="T56" fmla="*/ 90 w 190"/>
                    <a:gd name="T57" fmla="*/ 89 h 287"/>
                    <a:gd name="T58" fmla="*/ 69 w 190"/>
                    <a:gd name="T59" fmla="*/ 42 h 287"/>
                    <a:gd name="T60" fmla="*/ 61 w 190"/>
                    <a:gd name="T61" fmla="*/ 32 h 287"/>
                    <a:gd name="T62" fmla="*/ 49 w 190"/>
                    <a:gd name="T63" fmla="*/ 26 h 287"/>
                    <a:gd name="T64" fmla="*/ 35 w 190"/>
                    <a:gd name="T65" fmla="*/ 19 h 287"/>
                    <a:gd name="T66" fmla="*/ 50 w 190"/>
                    <a:gd name="T67" fmla="*/ 25 h 287"/>
                    <a:gd name="T68" fmla="*/ 72 w 190"/>
                    <a:gd name="T69" fmla="*/ 41 h 287"/>
                    <a:gd name="T70" fmla="*/ 78 w 190"/>
                    <a:gd name="T71" fmla="*/ 45 h 287"/>
                    <a:gd name="T72" fmla="*/ 35 w 190"/>
                    <a:gd name="T73" fmla="*/ 14 h 287"/>
                    <a:gd name="T74" fmla="*/ 64 w 190"/>
                    <a:gd name="T75" fmla="*/ 56 h 287"/>
                    <a:gd name="T76" fmla="*/ 88 w 190"/>
                    <a:gd name="T77" fmla="*/ 130 h 287"/>
                    <a:gd name="T78" fmla="*/ 55 w 190"/>
                    <a:gd name="T79" fmla="*/ 99 h 287"/>
                    <a:gd name="T80" fmla="*/ 42 w 190"/>
                    <a:gd name="T81" fmla="*/ 97 h 287"/>
                    <a:gd name="T82" fmla="*/ 29 w 190"/>
                    <a:gd name="T83" fmla="*/ 99 h 287"/>
                    <a:gd name="T84" fmla="*/ 24 w 190"/>
                    <a:gd name="T85" fmla="*/ 101 h 287"/>
                    <a:gd name="T86" fmla="*/ 22 w 190"/>
                    <a:gd name="T87" fmla="*/ 101 h 287"/>
                    <a:gd name="T88" fmla="*/ 22 w 190"/>
                    <a:gd name="T89" fmla="*/ 100 h 287"/>
                    <a:gd name="T90" fmla="*/ 33 w 190"/>
                    <a:gd name="T91" fmla="*/ 96 h 287"/>
                    <a:gd name="T92" fmla="*/ 63 w 190"/>
                    <a:gd name="T93" fmla="*/ 102 h 287"/>
                    <a:gd name="T94" fmla="*/ 41 w 190"/>
                    <a:gd name="T95" fmla="*/ 85 h 287"/>
                    <a:gd name="T96" fmla="*/ 0 w 190"/>
                    <a:gd name="T97" fmla="*/ 98 h 287"/>
                    <a:gd name="T98" fmla="*/ 90 w 190"/>
                    <a:gd name="T99" fmla="*/ 178 h 287"/>
                    <a:gd name="T100" fmla="*/ 73 w 190"/>
                    <a:gd name="T101" fmla="*/ 272 h 287"/>
                    <a:gd name="T102" fmla="*/ 147 w 190"/>
                    <a:gd name="T103" fmla="*/ 287 h 287"/>
                    <a:gd name="T104" fmla="*/ 108 w 190"/>
                    <a:gd name="T105" fmla="*/ 213 h 287"/>
                    <a:gd name="T106" fmla="*/ 123 w 190"/>
                    <a:gd name="T107" fmla="*/ 173 h 287"/>
                    <a:gd name="T108" fmla="*/ 138 w 190"/>
                    <a:gd name="T109" fmla="*/ 159 h 287"/>
                    <a:gd name="T110" fmla="*/ 154 w 190"/>
                    <a:gd name="T111" fmla="*/ 156 h 287"/>
                    <a:gd name="T112" fmla="*/ 170 w 190"/>
                    <a:gd name="T113" fmla="*/ 155 h 287"/>
                    <a:gd name="T114" fmla="*/ 154 w 190"/>
                    <a:gd name="T115" fmla="*/ 158 h 287"/>
                    <a:gd name="T116" fmla="*/ 141 w 190"/>
                    <a:gd name="T117" fmla="*/ 160 h 287"/>
                    <a:gd name="T118" fmla="*/ 129 w 190"/>
                    <a:gd name="T119" fmla="*/ 168 h 287"/>
                    <a:gd name="T120" fmla="*/ 131 w 190"/>
                    <a:gd name="T121" fmla="*/ 183 h 287"/>
                    <a:gd name="T122" fmla="*/ 171 w 190"/>
                    <a:gd name="T123" fmla="*/ 150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90" h="287">
                      <a:moveTo>
                        <a:pt x="137" y="150"/>
                      </a:moveTo>
                      <a:cubicBezTo>
                        <a:pt x="126" y="152"/>
                        <a:pt x="122" y="160"/>
                        <a:pt x="121" y="165"/>
                      </a:cubicBezTo>
                      <a:cubicBezTo>
                        <a:pt x="118" y="167"/>
                        <a:pt x="115" y="170"/>
                        <a:pt x="112" y="173"/>
                      </a:cubicBezTo>
                      <a:cubicBezTo>
                        <a:pt x="112" y="173"/>
                        <a:pt x="105" y="140"/>
                        <a:pt x="135" y="103"/>
                      </a:cubicBezTo>
                      <a:cubicBezTo>
                        <a:pt x="135" y="103"/>
                        <a:pt x="136" y="104"/>
                        <a:pt x="138" y="105"/>
                      </a:cubicBezTo>
                      <a:cubicBezTo>
                        <a:pt x="172" y="112"/>
                        <a:pt x="190" y="71"/>
                        <a:pt x="190" y="71"/>
                      </a:cubicBezTo>
                      <a:cubicBezTo>
                        <a:pt x="190" y="71"/>
                        <a:pt x="186" y="75"/>
                        <a:pt x="180" y="75"/>
                      </a:cubicBezTo>
                      <a:cubicBezTo>
                        <a:pt x="173" y="75"/>
                        <a:pt x="160" y="69"/>
                        <a:pt x="146" y="72"/>
                      </a:cubicBezTo>
                      <a:cubicBezTo>
                        <a:pt x="133" y="75"/>
                        <a:pt x="129" y="85"/>
                        <a:pt x="129" y="89"/>
                      </a:cubicBezTo>
                      <a:cubicBezTo>
                        <a:pt x="128" y="92"/>
                        <a:pt x="130" y="93"/>
                        <a:pt x="131" y="94"/>
                      </a:cubicBezTo>
                      <a:cubicBezTo>
                        <a:pt x="132" y="92"/>
                        <a:pt x="133" y="90"/>
                        <a:pt x="135" y="87"/>
                      </a:cubicBezTo>
                      <a:cubicBezTo>
                        <a:pt x="144" y="79"/>
                        <a:pt x="155" y="80"/>
                        <a:pt x="157" y="80"/>
                      </a:cubicBezTo>
                      <a:cubicBezTo>
                        <a:pt x="158" y="80"/>
                        <a:pt x="160" y="80"/>
                        <a:pt x="162" y="80"/>
                      </a:cubicBezTo>
                      <a:cubicBezTo>
                        <a:pt x="164" y="80"/>
                        <a:pt x="167" y="80"/>
                        <a:pt x="169" y="80"/>
                      </a:cubicBezTo>
                      <a:cubicBezTo>
                        <a:pt x="174" y="80"/>
                        <a:pt x="178" y="79"/>
                        <a:pt x="178" y="79"/>
                      </a:cubicBezTo>
                      <a:cubicBezTo>
                        <a:pt x="178" y="79"/>
                        <a:pt x="174" y="80"/>
                        <a:pt x="169" y="81"/>
                      </a:cubicBezTo>
                      <a:cubicBezTo>
                        <a:pt x="167" y="82"/>
                        <a:pt x="164" y="82"/>
                        <a:pt x="162" y="82"/>
                      </a:cubicBezTo>
                      <a:cubicBezTo>
                        <a:pt x="160" y="82"/>
                        <a:pt x="158" y="82"/>
                        <a:pt x="157" y="82"/>
                      </a:cubicBezTo>
                      <a:cubicBezTo>
                        <a:pt x="156" y="82"/>
                        <a:pt x="153" y="82"/>
                        <a:pt x="149" y="83"/>
                      </a:cubicBezTo>
                      <a:cubicBezTo>
                        <a:pt x="147" y="83"/>
                        <a:pt x="145" y="84"/>
                        <a:pt x="143" y="85"/>
                      </a:cubicBezTo>
                      <a:cubicBezTo>
                        <a:pt x="141" y="86"/>
                        <a:pt x="139" y="88"/>
                        <a:pt x="138" y="90"/>
                      </a:cubicBezTo>
                      <a:cubicBezTo>
                        <a:pt x="136" y="92"/>
                        <a:pt x="135" y="94"/>
                        <a:pt x="133" y="96"/>
                      </a:cubicBezTo>
                      <a:cubicBezTo>
                        <a:pt x="122" y="107"/>
                        <a:pt x="110" y="121"/>
                        <a:pt x="106" y="134"/>
                      </a:cubicBezTo>
                      <a:cubicBezTo>
                        <a:pt x="106" y="134"/>
                        <a:pt x="92" y="95"/>
                        <a:pt x="117" y="29"/>
                      </a:cubicBezTo>
                      <a:cubicBezTo>
                        <a:pt x="122" y="22"/>
                        <a:pt x="130" y="20"/>
                        <a:pt x="131" y="19"/>
                      </a:cubicBezTo>
                      <a:cubicBezTo>
                        <a:pt x="132" y="19"/>
                        <a:pt x="134" y="18"/>
                        <a:pt x="136" y="17"/>
                      </a:cubicBezTo>
                      <a:cubicBezTo>
                        <a:pt x="138" y="17"/>
                        <a:pt x="141" y="16"/>
                        <a:pt x="143" y="15"/>
                      </a:cubicBezTo>
                      <a:cubicBezTo>
                        <a:pt x="147" y="13"/>
                        <a:pt x="151" y="11"/>
                        <a:pt x="151" y="11"/>
                      </a:cubicBezTo>
                      <a:cubicBezTo>
                        <a:pt x="151" y="11"/>
                        <a:pt x="148" y="14"/>
                        <a:pt x="143" y="16"/>
                      </a:cubicBezTo>
                      <a:cubicBezTo>
                        <a:pt x="141" y="17"/>
                        <a:pt x="139" y="18"/>
                        <a:pt x="137" y="19"/>
                      </a:cubicBezTo>
                      <a:cubicBezTo>
                        <a:pt x="135" y="20"/>
                        <a:pt x="133" y="21"/>
                        <a:pt x="132" y="21"/>
                      </a:cubicBezTo>
                      <a:cubicBezTo>
                        <a:pt x="131" y="21"/>
                        <a:pt x="128" y="22"/>
                        <a:pt x="125" y="25"/>
                      </a:cubicBezTo>
                      <a:cubicBezTo>
                        <a:pt x="124" y="26"/>
                        <a:pt x="122" y="27"/>
                        <a:pt x="120" y="29"/>
                      </a:cubicBezTo>
                      <a:cubicBezTo>
                        <a:pt x="119" y="31"/>
                        <a:pt x="117" y="33"/>
                        <a:pt x="117" y="35"/>
                      </a:cubicBezTo>
                      <a:cubicBezTo>
                        <a:pt x="115" y="39"/>
                        <a:pt x="115" y="43"/>
                        <a:pt x="115" y="47"/>
                      </a:cubicBezTo>
                      <a:cubicBezTo>
                        <a:pt x="116" y="48"/>
                        <a:pt x="118" y="49"/>
                        <a:pt x="122" y="49"/>
                      </a:cubicBezTo>
                      <a:cubicBezTo>
                        <a:pt x="157" y="44"/>
                        <a:pt x="159" y="0"/>
                        <a:pt x="159" y="0"/>
                      </a:cubicBezTo>
                      <a:cubicBezTo>
                        <a:pt x="159" y="0"/>
                        <a:pt x="157" y="4"/>
                        <a:pt x="151" y="7"/>
                      </a:cubicBezTo>
                      <a:cubicBezTo>
                        <a:pt x="144" y="9"/>
                        <a:pt x="131" y="8"/>
                        <a:pt x="119" y="16"/>
                      </a:cubicBezTo>
                      <a:cubicBezTo>
                        <a:pt x="114" y="19"/>
                        <a:pt x="111" y="22"/>
                        <a:pt x="109" y="26"/>
                      </a:cubicBezTo>
                      <a:cubicBezTo>
                        <a:pt x="109" y="25"/>
                        <a:pt x="108" y="24"/>
                        <a:pt x="107" y="22"/>
                      </a:cubicBezTo>
                      <a:cubicBezTo>
                        <a:pt x="101" y="17"/>
                        <a:pt x="93" y="15"/>
                        <a:pt x="90" y="13"/>
                      </a:cubicBezTo>
                      <a:cubicBezTo>
                        <a:pt x="87" y="11"/>
                        <a:pt x="86" y="8"/>
                        <a:pt x="86" y="8"/>
                      </a:cubicBezTo>
                      <a:cubicBezTo>
                        <a:pt x="86" y="8"/>
                        <a:pt x="82" y="33"/>
                        <a:pt x="100" y="41"/>
                      </a:cubicBezTo>
                      <a:cubicBezTo>
                        <a:pt x="102" y="41"/>
                        <a:pt x="104" y="41"/>
                        <a:pt x="105" y="40"/>
                      </a:cubicBezTo>
                      <a:cubicBezTo>
                        <a:pt x="105" y="38"/>
                        <a:pt x="105" y="36"/>
                        <a:pt x="105" y="34"/>
                      </a:cubicBezTo>
                      <a:cubicBezTo>
                        <a:pt x="105" y="32"/>
                        <a:pt x="105" y="31"/>
                        <a:pt x="104" y="30"/>
                      </a:cubicBezTo>
                      <a:cubicBezTo>
                        <a:pt x="103" y="29"/>
                        <a:pt x="102" y="28"/>
                        <a:pt x="102" y="27"/>
                      </a:cubicBezTo>
                      <a:cubicBezTo>
                        <a:pt x="100" y="25"/>
                        <a:pt x="99" y="24"/>
                        <a:pt x="98" y="24"/>
                      </a:cubicBezTo>
                      <a:cubicBezTo>
                        <a:pt x="98" y="23"/>
                        <a:pt x="97" y="23"/>
                        <a:pt x="96" y="22"/>
                      </a:cubicBezTo>
                      <a:cubicBezTo>
                        <a:pt x="95" y="21"/>
                        <a:pt x="94" y="20"/>
                        <a:pt x="93" y="19"/>
                      </a:cubicBezTo>
                      <a:cubicBezTo>
                        <a:pt x="91" y="17"/>
                        <a:pt x="89" y="16"/>
                        <a:pt x="89" y="16"/>
                      </a:cubicBezTo>
                      <a:cubicBezTo>
                        <a:pt x="89" y="16"/>
                        <a:pt x="91" y="17"/>
                        <a:pt x="93" y="19"/>
                      </a:cubicBezTo>
                      <a:cubicBezTo>
                        <a:pt x="94" y="20"/>
                        <a:pt x="95" y="20"/>
                        <a:pt x="96" y="21"/>
                      </a:cubicBezTo>
                      <a:cubicBezTo>
                        <a:pt x="98" y="22"/>
                        <a:pt x="98" y="22"/>
                        <a:pt x="99" y="23"/>
                      </a:cubicBezTo>
                      <a:cubicBezTo>
                        <a:pt x="100" y="23"/>
                        <a:pt x="105" y="27"/>
                        <a:pt x="107" y="33"/>
                      </a:cubicBezTo>
                      <a:cubicBezTo>
                        <a:pt x="107" y="34"/>
                        <a:pt x="107" y="35"/>
                        <a:pt x="107" y="36"/>
                      </a:cubicBezTo>
                      <a:cubicBezTo>
                        <a:pt x="100" y="49"/>
                        <a:pt x="92" y="66"/>
                        <a:pt x="90" y="89"/>
                      </a:cubicBezTo>
                      <a:cubicBezTo>
                        <a:pt x="90" y="89"/>
                        <a:pt x="84" y="63"/>
                        <a:pt x="70" y="45"/>
                      </a:cubicBezTo>
                      <a:cubicBezTo>
                        <a:pt x="70" y="44"/>
                        <a:pt x="70" y="43"/>
                        <a:pt x="69" y="42"/>
                      </a:cubicBezTo>
                      <a:cubicBezTo>
                        <a:pt x="69" y="40"/>
                        <a:pt x="67" y="38"/>
                        <a:pt x="66" y="37"/>
                      </a:cubicBezTo>
                      <a:cubicBezTo>
                        <a:pt x="64" y="35"/>
                        <a:pt x="62" y="33"/>
                        <a:pt x="61" y="32"/>
                      </a:cubicBezTo>
                      <a:cubicBezTo>
                        <a:pt x="57" y="30"/>
                        <a:pt x="55" y="29"/>
                        <a:pt x="54" y="28"/>
                      </a:cubicBezTo>
                      <a:cubicBezTo>
                        <a:pt x="53" y="28"/>
                        <a:pt x="51" y="27"/>
                        <a:pt x="49" y="26"/>
                      </a:cubicBezTo>
                      <a:cubicBezTo>
                        <a:pt x="47" y="26"/>
                        <a:pt x="45" y="25"/>
                        <a:pt x="43" y="23"/>
                      </a:cubicBezTo>
                      <a:cubicBezTo>
                        <a:pt x="38" y="21"/>
                        <a:pt x="35" y="19"/>
                        <a:pt x="35" y="19"/>
                      </a:cubicBezTo>
                      <a:cubicBezTo>
                        <a:pt x="35" y="19"/>
                        <a:pt x="39" y="21"/>
                        <a:pt x="43" y="22"/>
                      </a:cubicBezTo>
                      <a:cubicBezTo>
                        <a:pt x="45" y="23"/>
                        <a:pt x="47" y="24"/>
                        <a:pt x="50" y="25"/>
                      </a:cubicBezTo>
                      <a:cubicBezTo>
                        <a:pt x="52" y="25"/>
                        <a:pt x="53" y="26"/>
                        <a:pt x="54" y="26"/>
                      </a:cubicBezTo>
                      <a:cubicBezTo>
                        <a:pt x="56" y="27"/>
                        <a:pt x="67" y="31"/>
                        <a:pt x="72" y="41"/>
                      </a:cubicBezTo>
                      <a:cubicBezTo>
                        <a:pt x="73" y="44"/>
                        <a:pt x="74" y="47"/>
                        <a:pt x="74" y="49"/>
                      </a:cubicBezTo>
                      <a:cubicBezTo>
                        <a:pt x="75" y="49"/>
                        <a:pt x="77" y="48"/>
                        <a:pt x="78" y="45"/>
                      </a:cubicBezTo>
                      <a:cubicBezTo>
                        <a:pt x="79" y="42"/>
                        <a:pt x="79" y="30"/>
                        <a:pt x="67" y="23"/>
                      </a:cubicBezTo>
                      <a:cubicBezTo>
                        <a:pt x="55" y="16"/>
                        <a:pt x="42" y="16"/>
                        <a:pt x="35" y="14"/>
                      </a:cubicBezTo>
                      <a:cubicBezTo>
                        <a:pt x="29" y="12"/>
                        <a:pt x="26" y="7"/>
                        <a:pt x="26" y="7"/>
                      </a:cubicBezTo>
                      <a:cubicBezTo>
                        <a:pt x="26" y="7"/>
                        <a:pt x="29" y="51"/>
                        <a:pt x="64" y="56"/>
                      </a:cubicBezTo>
                      <a:cubicBezTo>
                        <a:pt x="66" y="56"/>
                        <a:pt x="67" y="56"/>
                        <a:pt x="68" y="56"/>
                      </a:cubicBezTo>
                      <a:cubicBezTo>
                        <a:pt x="76" y="72"/>
                        <a:pt x="84" y="97"/>
                        <a:pt x="88" y="130"/>
                      </a:cubicBezTo>
                      <a:cubicBezTo>
                        <a:pt x="88" y="130"/>
                        <a:pt x="80" y="114"/>
                        <a:pt x="62" y="105"/>
                      </a:cubicBezTo>
                      <a:cubicBezTo>
                        <a:pt x="60" y="103"/>
                        <a:pt x="58" y="101"/>
                        <a:pt x="55" y="99"/>
                      </a:cubicBezTo>
                      <a:cubicBezTo>
                        <a:pt x="53" y="98"/>
                        <a:pt x="51" y="97"/>
                        <a:pt x="49" y="97"/>
                      </a:cubicBezTo>
                      <a:cubicBezTo>
                        <a:pt x="46" y="97"/>
                        <a:pt x="44" y="97"/>
                        <a:pt x="42" y="97"/>
                      </a:cubicBezTo>
                      <a:cubicBezTo>
                        <a:pt x="38" y="97"/>
                        <a:pt x="35" y="98"/>
                        <a:pt x="34" y="98"/>
                      </a:cubicBezTo>
                      <a:cubicBezTo>
                        <a:pt x="33" y="98"/>
                        <a:pt x="31" y="99"/>
                        <a:pt x="29" y="99"/>
                      </a:cubicBezTo>
                      <a:cubicBezTo>
                        <a:pt x="28" y="100"/>
                        <a:pt x="27" y="100"/>
                        <a:pt x="26" y="100"/>
                      </a:cubicBezTo>
                      <a:cubicBezTo>
                        <a:pt x="25" y="100"/>
                        <a:pt x="25" y="100"/>
                        <a:pt x="24" y="101"/>
                      </a:cubicBezTo>
                      <a:cubicBezTo>
                        <a:pt x="24" y="101"/>
                        <a:pt x="24" y="101"/>
                        <a:pt x="24" y="101"/>
                      </a:cubicBezTo>
                      <a:cubicBezTo>
                        <a:pt x="24" y="101"/>
                        <a:pt x="23" y="101"/>
                        <a:pt x="22" y="101"/>
                      </a:cubicBezTo>
                      <a:cubicBezTo>
                        <a:pt x="18" y="102"/>
                        <a:pt x="13" y="102"/>
                        <a:pt x="13" y="102"/>
                      </a:cubicBezTo>
                      <a:cubicBezTo>
                        <a:pt x="13" y="102"/>
                        <a:pt x="18" y="101"/>
                        <a:pt x="22" y="100"/>
                      </a:cubicBezTo>
                      <a:cubicBezTo>
                        <a:pt x="24" y="99"/>
                        <a:pt x="27" y="99"/>
                        <a:pt x="29" y="98"/>
                      </a:cubicBezTo>
                      <a:cubicBezTo>
                        <a:pt x="31" y="97"/>
                        <a:pt x="32" y="96"/>
                        <a:pt x="33" y="96"/>
                      </a:cubicBezTo>
                      <a:cubicBezTo>
                        <a:pt x="35" y="95"/>
                        <a:pt x="46" y="92"/>
                        <a:pt x="57" y="97"/>
                      </a:cubicBezTo>
                      <a:cubicBezTo>
                        <a:pt x="59" y="98"/>
                        <a:pt x="61" y="100"/>
                        <a:pt x="63" y="102"/>
                      </a:cubicBezTo>
                      <a:cubicBezTo>
                        <a:pt x="64" y="101"/>
                        <a:pt x="64" y="99"/>
                        <a:pt x="64" y="97"/>
                      </a:cubicBezTo>
                      <a:cubicBezTo>
                        <a:pt x="62" y="93"/>
                        <a:pt x="55" y="84"/>
                        <a:pt x="41" y="85"/>
                      </a:cubicBezTo>
                      <a:cubicBezTo>
                        <a:pt x="28" y="87"/>
                        <a:pt x="17" y="96"/>
                        <a:pt x="11" y="98"/>
                      </a:cubicBezTo>
                      <a:cubicBezTo>
                        <a:pt x="4" y="100"/>
                        <a:pt x="0" y="98"/>
                        <a:pt x="0" y="98"/>
                      </a:cubicBezTo>
                      <a:cubicBezTo>
                        <a:pt x="0" y="98"/>
                        <a:pt x="29" y="131"/>
                        <a:pt x="59" y="114"/>
                      </a:cubicBezTo>
                      <a:cubicBezTo>
                        <a:pt x="75" y="124"/>
                        <a:pt x="89" y="143"/>
                        <a:pt x="90" y="178"/>
                      </a:cubicBezTo>
                      <a:cubicBezTo>
                        <a:pt x="90" y="178"/>
                        <a:pt x="80" y="161"/>
                        <a:pt x="62" y="155"/>
                      </a:cubicBezTo>
                      <a:cubicBezTo>
                        <a:pt x="62" y="155"/>
                        <a:pt x="112" y="177"/>
                        <a:pt x="73" y="272"/>
                      </a:cubicBezTo>
                      <a:cubicBezTo>
                        <a:pt x="68" y="276"/>
                        <a:pt x="50" y="277"/>
                        <a:pt x="41" y="287"/>
                      </a:cubicBezTo>
                      <a:cubicBezTo>
                        <a:pt x="147" y="287"/>
                        <a:pt x="147" y="287"/>
                        <a:pt x="147" y="287"/>
                      </a:cubicBezTo>
                      <a:cubicBezTo>
                        <a:pt x="142" y="285"/>
                        <a:pt x="134" y="282"/>
                        <a:pt x="122" y="282"/>
                      </a:cubicBezTo>
                      <a:cubicBezTo>
                        <a:pt x="112" y="279"/>
                        <a:pt x="100" y="256"/>
                        <a:pt x="108" y="213"/>
                      </a:cubicBezTo>
                      <a:cubicBezTo>
                        <a:pt x="111" y="195"/>
                        <a:pt x="116" y="182"/>
                        <a:pt x="123" y="173"/>
                      </a:cubicBezTo>
                      <a:cubicBezTo>
                        <a:pt x="123" y="173"/>
                        <a:pt x="123" y="173"/>
                        <a:pt x="123" y="173"/>
                      </a:cubicBezTo>
                      <a:cubicBezTo>
                        <a:pt x="123" y="173"/>
                        <a:pt x="123" y="173"/>
                        <a:pt x="123" y="173"/>
                      </a:cubicBezTo>
                      <a:cubicBezTo>
                        <a:pt x="128" y="166"/>
                        <a:pt x="133" y="162"/>
                        <a:pt x="138" y="159"/>
                      </a:cubicBezTo>
                      <a:cubicBezTo>
                        <a:pt x="143" y="157"/>
                        <a:pt x="148" y="157"/>
                        <a:pt x="149" y="157"/>
                      </a:cubicBezTo>
                      <a:cubicBezTo>
                        <a:pt x="150" y="156"/>
                        <a:pt x="152" y="156"/>
                        <a:pt x="154" y="156"/>
                      </a:cubicBezTo>
                      <a:cubicBezTo>
                        <a:pt x="156" y="156"/>
                        <a:pt x="159" y="156"/>
                        <a:pt x="161" y="156"/>
                      </a:cubicBezTo>
                      <a:cubicBezTo>
                        <a:pt x="166" y="156"/>
                        <a:pt x="170" y="155"/>
                        <a:pt x="170" y="155"/>
                      </a:cubicBezTo>
                      <a:cubicBezTo>
                        <a:pt x="170" y="155"/>
                        <a:pt x="166" y="156"/>
                        <a:pt x="161" y="157"/>
                      </a:cubicBezTo>
                      <a:cubicBezTo>
                        <a:pt x="159" y="158"/>
                        <a:pt x="156" y="158"/>
                        <a:pt x="154" y="158"/>
                      </a:cubicBezTo>
                      <a:cubicBezTo>
                        <a:pt x="152" y="158"/>
                        <a:pt x="150" y="159"/>
                        <a:pt x="149" y="159"/>
                      </a:cubicBezTo>
                      <a:cubicBezTo>
                        <a:pt x="148" y="159"/>
                        <a:pt x="145" y="159"/>
                        <a:pt x="141" y="160"/>
                      </a:cubicBezTo>
                      <a:cubicBezTo>
                        <a:pt x="139" y="161"/>
                        <a:pt x="137" y="162"/>
                        <a:pt x="135" y="163"/>
                      </a:cubicBezTo>
                      <a:cubicBezTo>
                        <a:pt x="133" y="164"/>
                        <a:pt x="131" y="166"/>
                        <a:pt x="129" y="168"/>
                      </a:cubicBezTo>
                      <a:cubicBezTo>
                        <a:pt x="127" y="171"/>
                        <a:pt x="125" y="175"/>
                        <a:pt x="124" y="179"/>
                      </a:cubicBezTo>
                      <a:cubicBezTo>
                        <a:pt x="125" y="180"/>
                        <a:pt x="127" y="182"/>
                        <a:pt x="131" y="183"/>
                      </a:cubicBezTo>
                      <a:cubicBezTo>
                        <a:pt x="167" y="188"/>
                        <a:pt x="182" y="146"/>
                        <a:pt x="182" y="146"/>
                      </a:cubicBezTo>
                      <a:cubicBezTo>
                        <a:pt x="182" y="146"/>
                        <a:pt x="178" y="150"/>
                        <a:pt x="171" y="150"/>
                      </a:cubicBezTo>
                      <a:cubicBezTo>
                        <a:pt x="164" y="150"/>
                        <a:pt x="151" y="146"/>
                        <a:pt x="137" y="150"/>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89" name="Freeform 35">
                  <a:extLst>
                    <a:ext uri="{FF2B5EF4-FFF2-40B4-BE49-F238E27FC236}">
                      <a16:creationId xmlns:a16="http://schemas.microsoft.com/office/drawing/2014/main" id="{03FAE91A-CDF0-40CF-87DB-719369552FD2}"/>
                    </a:ext>
                  </a:extLst>
                </p:cNvPr>
                <p:cNvSpPr>
                  <a:spLocks/>
                </p:cNvSpPr>
                <p:nvPr/>
              </p:nvSpPr>
              <p:spPr bwMode="auto">
                <a:xfrm>
                  <a:off x="7354888" y="4100786"/>
                  <a:ext cx="1389063" cy="573087"/>
                </a:xfrm>
                <a:custGeom>
                  <a:avLst/>
                  <a:gdLst>
                    <a:gd name="T0" fmla="*/ 188 w 188"/>
                    <a:gd name="T1" fmla="*/ 27 h 78"/>
                    <a:gd name="T2" fmla="*/ 171 w 188"/>
                    <a:gd name="T3" fmla="*/ 7 h 78"/>
                    <a:gd name="T4" fmla="*/ 157 w 188"/>
                    <a:gd name="T5" fmla="*/ 1 h 78"/>
                    <a:gd name="T6" fmla="*/ 158 w 188"/>
                    <a:gd name="T7" fmla="*/ 1 h 78"/>
                    <a:gd name="T8" fmla="*/ 116 w 188"/>
                    <a:gd name="T9" fmla="*/ 1 h 78"/>
                    <a:gd name="T10" fmla="*/ 116 w 188"/>
                    <a:gd name="T11" fmla="*/ 1 h 78"/>
                    <a:gd name="T12" fmla="*/ 94 w 188"/>
                    <a:gd name="T13" fmla="*/ 1 h 78"/>
                    <a:gd name="T14" fmla="*/ 94 w 188"/>
                    <a:gd name="T15" fmla="*/ 1 h 78"/>
                    <a:gd name="T16" fmla="*/ 52 w 188"/>
                    <a:gd name="T17" fmla="*/ 1 h 78"/>
                    <a:gd name="T18" fmla="*/ 53 w 188"/>
                    <a:gd name="T19" fmla="*/ 0 h 78"/>
                    <a:gd name="T20" fmla="*/ 40 w 188"/>
                    <a:gd name="T21" fmla="*/ 9 h 78"/>
                    <a:gd name="T22" fmla="*/ 22 w 188"/>
                    <a:gd name="T23" fmla="*/ 27 h 78"/>
                    <a:gd name="T24" fmla="*/ 50 w 188"/>
                    <a:gd name="T25" fmla="*/ 12 h 78"/>
                    <a:gd name="T26" fmla="*/ 75 w 188"/>
                    <a:gd name="T27" fmla="*/ 5 h 78"/>
                    <a:gd name="T28" fmla="*/ 61 w 188"/>
                    <a:gd name="T29" fmla="*/ 26 h 78"/>
                    <a:gd name="T30" fmla="*/ 55 w 188"/>
                    <a:gd name="T31" fmla="*/ 31 h 78"/>
                    <a:gd name="T32" fmla="*/ 33 w 188"/>
                    <a:gd name="T33" fmla="*/ 37 h 78"/>
                    <a:gd name="T34" fmla="*/ 9 w 188"/>
                    <a:gd name="T35" fmla="*/ 48 h 78"/>
                    <a:gd name="T36" fmla="*/ 41 w 188"/>
                    <a:gd name="T37" fmla="*/ 40 h 78"/>
                    <a:gd name="T38" fmla="*/ 46 w 188"/>
                    <a:gd name="T39" fmla="*/ 39 h 78"/>
                    <a:gd name="T40" fmla="*/ 0 w 188"/>
                    <a:gd name="T41" fmla="*/ 74 h 78"/>
                    <a:gd name="T42" fmla="*/ 61 w 188"/>
                    <a:gd name="T43" fmla="*/ 42 h 78"/>
                    <a:gd name="T44" fmla="*/ 92 w 188"/>
                    <a:gd name="T45" fmla="*/ 17 h 78"/>
                    <a:gd name="T46" fmla="*/ 100 w 188"/>
                    <a:gd name="T47" fmla="*/ 34 h 78"/>
                    <a:gd name="T48" fmla="*/ 119 w 188"/>
                    <a:gd name="T49" fmla="*/ 78 h 78"/>
                    <a:gd name="T50" fmla="*/ 111 w 188"/>
                    <a:gd name="T51" fmla="*/ 41 h 78"/>
                    <a:gd name="T52" fmla="*/ 119 w 188"/>
                    <a:gd name="T53" fmla="*/ 43 h 78"/>
                    <a:gd name="T54" fmla="*/ 134 w 188"/>
                    <a:gd name="T55" fmla="*/ 47 h 78"/>
                    <a:gd name="T56" fmla="*/ 117 w 188"/>
                    <a:gd name="T57" fmla="*/ 40 h 78"/>
                    <a:gd name="T58" fmla="*/ 111 w 188"/>
                    <a:gd name="T59" fmla="*/ 36 h 78"/>
                    <a:gd name="T60" fmla="*/ 111 w 188"/>
                    <a:gd name="T61" fmla="*/ 27 h 78"/>
                    <a:gd name="T62" fmla="*/ 115 w 188"/>
                    <a:gd name="T63" fmla="*/ 12 h 78"/>
                    <a:gd name="T64" fmla="*/ 116 w 188"/>
                    <a:gd name="T65" fmla="*/ 12 h 78"/>
                    <a:gd name="T66" fmla="*/ 131 w 188"/>
                    <a:gd name="T67" fmla="*/ 27 h 78"/>
                    <a:gd name="T68" fmla="*/ 155 w 188"/>
                    <a:gd name="T69" fmla="*/ 69 h 78"/>
                    <a:gd name="T70" fmla="*/ 144 w 188"/>
                    <a:gd name="T71" fmla="*/ 30 h 78"/>
                    <a:gd name="T72" fmla="*/ 142 w 188"/>
                    <a:gd name="T73" fmla="*/ 26 h 78"/>
                    <a:gd name="T74" fmla="*/ 154 w 188"/>
                    <a:gd name="T75" fmla="*/ 31 h 78"/>
                    <a:gd name="T76" fmla="*/ 181 w 188"/>
                    <a:gd name="T77" fmla="*/ 36 h 78"/>
                    <a:gd name="T78" fmla="*/ 151 w 188"/>
                    <a:gd name="T79" fmla="*/ 25 h 78"/>
                    <a:gd name="T80" fmla="*/ 137 w 188"/>
                    <a:gd name="T81" fmla="*/ 15 h 78"/>
                    <a:gd name="T82" fmla="*/ 132 w 188"/>
                    <a:gd name="T83" fmla="*/ 5 h 78"/>
                    <a:gd name="T84" fmla="*/ 160 w 188"/>
                    <a:gd name="T85" fmla="*/ 12 h 78"/>
                    <a:gd name="T86" fmla="*/ 188 w 188"/>
                    <a:gd name="T87" fmla="*/ 27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88" h="78">
                      <a:moveTo>
                        <a:pt x="188" y="27"/>
                      </a:moveTo>
                      <a:cubicBezTo>
                        <a:pt x="188" y="27"/>
                        <a:pt x="181" y="13"/>
                        <a:pt x="171" y="7"/>
                      </a:cubicBezTo>
                      <a:cubicBezTo>
                        <a:pt x="167" y="4"/>
                        <a:pt x="162" y="2"/>
                        <a:pt x="157" y="1"/>
                      </a:cubicBezTo>
                      <a:cubicBezTo>
                        <a:pt x="157" y="1"/>
                        <a:pt x="158" y="1"/>
                        <a:pt x="158" y="1"/>
                      </a:cubicBezTo>
                      <a:cubicBezTo>
                        <a:pt x="116" y="1"/>
                        <a:pt x="116" y="1"/>
                        <a:pt x="116" y="1"/>
                      </a:cubicBezTo>
                      <a:cubicBezTo>
                        <a:pt x="116" y="1"/>
                        <a:pt x="116" y="1"/>
                        <a:pt x="116" y="1"/>
                      </a:cubicBezTo>
                      <a:cubicBezTo>
                        <a:pt x="94" y="1"/>
                        <a:pt x="94" y="1"/>
                        <a:pt x="94" y="1"/>
                      </a:cubicBezTo>
                      <a:cubicBezTo>
                        <a:pt x="94" y="1"/>
                        <a:pt x="94" y="1"/>
                        <a:pt x="94" y="1"/>
                      </a:cubicBezTo>
                      <a:cubicBezTo>
                        <a:pt x="52" y="1"/>
                        <a:pt x="52" y="1"/>
                        <a:pt x="52" y="1"/>
                      </a:cubicBezTo>
                      <a:cubicBezTo>
                        <a:pt x="52" y="1"/>
                        <a:pt x="53" y="0"/>
                        <a:pt x="53" y="0"/>
                      </a:cubicBezTo>
                      <a:cubicBezTo>
                        <a:pt x="50" y="2"/>
                        <a:pt x="45" y="6"/>
                        <a:pt x="40" y="9"/>
                      </a:cubicBezTo>
                      <a:cubicBezTo>
                        <a:pt x="30" y="15"/>
                        <a:pt x="22" y="27"/>
                        <a:pt x="22" y="27"/>
                      </a:cubicBezTo>
                      <a:cubicBezTo>
                        <a:pt x="22" y="27"/>
                        <a:pt x="41" y="16"/>
                        <a:pt x="50" y="12"/>
                      </a:cubicBezTo>
                      <a:cubicBezTo>
                        <a:pt x="55" y="10"/>
                        <a:pt x="65" y="7"/>
                        <a:pt x="75" y="5"/>
                      </a:cubicBezTo>
                      <a:cubicBezTo>
                        <a:pt x="71" y="12"/>
                        <a:pt x="66" y="20"/>
                        <a:pt x="61" y="26"/>
                      </a:cubicBezTo>
                      <a:cubicBezTo>
                        <a:pt x="59" y="27"/>
                        <a:pt x="57" y="29"/>
                        <a:pt x="55" y="31"/>
                      </a:cubicBezTo>
                      <a:cubicBezTo>
                        <a:pt x="49" y="33"/>
                        <a:pt x="38" y="35"/>
                        <a:pt x="33" y="37"/>
                      </a:cubicBezTo>
                      <a:cubicBezTo>
                        <a:pt x="25" y="40"/>
                        <a:pt x="9" y="48"/>
                        <a:pt x="9" y="48"/>
                      </a:cubicBezTo>
                      <a:cubicBezTo>
                        <a:pt x="9" y="48"/>
                        <a:pt x="30" y="41"/>
                        <a:pt x="41" y="40"/>
                      </a:cubicBezTo>
                      <a:cubicBezTo>
                        <a:pt x="43" y="39"/>
                        <a:pt x="44" y="39"/>
                        <a:pt x="46" y="39"/>
                      </a:cubicBezTo>
                      <a:cubicBezTo>
                        <a:pt x="27" y="56"/>
                        <a:pt x="0" y="74"/>
                        <a:pt x="0" y="74"/>
                      </a:cubicBezTo>
                      <a:cubicBezTo>
                        <a:pt x="0" y="74"/>
                        <a:pt x="43" y="54"/>
                        <a:pt x="61" y="42"/>
                      </a:cubicBezTo>
                      <a:cubicBezTo>
                        <a:pt x="69" y="36"/>
                        <a:pt x="81" y="26"/>
                        <a:pt x="92" y="17"/>
                      </a:cubicBezTo>
                      <a:cubicBezTo>
                        <a:pt x="96" y="22"/>
                        <a:pt x="99" y="28"/>
                        <a:pt x="100" y="34"/>
                      </a:cubicBezTo>
                      <a:cubicBezTo>
                        <a:pt x="104" y="48"/>
                        <a:pt x="119" y="78"/>
                        <a:pt x="119" y="78"/>
                      </a:cubicBezTo>
                      <a:cubicBezTo>
                        <a:pt x="119" y="78"/>
                        <a:pt x="114" y="57"/>
                        <a:pt x="111" y="41"/>
                      </a:cubicBezTo>
                      <a:cubicBezTo>
                        <a:pt x="114" y="42"/>
                        <a:pt x="117" y="43"/>
                        <a:pt x="119" y="43"/>
                      </a:cubicBezTo>
                      <a:cubicBezTo>
                        <a:pt x="124" y="45"/>
                        <a:pt x="134" y="47"/>
                        <a:pt x="134" y="47"/>
                      </a:cubicBezTo>
                      <a:cubicBezTo>
                        <a:pt x="134" y="47"/>
                        <a:pt x="122" y="43"/>
                        <a:pt x="117" y="40"/>
                      </a:cubicBezTo>
                      <a:cubicBezTo>
                        <a:pt x="115" y="39"/>
                        <a:pt x="113" y="37"/>
                        <a:pt x="111" y="36"/>
                      </a:cubicBezTo>
                      <a:cubicBezTo>
                        <a:pt x="111" y="32"/>
                        <a:pt x="111" y="29"/>
                        <a:pt x="111" y="27"/>
                      </a:cubicBezTo>
                      <a:cubicBezTo>
                        <a:pt x="111" y="21"/>
                        <a:pt x="113" y="16"/>
                        <a:pt x="115" y="12"/>
                      </a:cubicBezTo>
                      <a:cubicBezTo>
                        <a:pt x="115" y="12"/>
                        <a:pt x="115" y="12"/>
                        <a:pt x="116" y="12"/>
                      </a:cubicBezTo>
                      <a:cubicBezTo>
                        <a:pt x="120" y="16"/>
                        <a:pt x="126" y="21"/>
                        <a:pt x="131" y="27"/>
                      </a:cubicBezTo>
                      <a:cubicBezTo>
                        <a:pt x="142" y="39"/>
                        <a:pt x="155" y="69"/>
                        <a:pt x="155" y="69"/>
                      </a:cubicBezTo>
                      <a:cubicBezTo>
                        <a:pt x="155" y="69"/>
                        <a:pt x="150" y="42"/>
                        <a:pt x="144" y="30"/>
                      </a:cubicBezTo>
                      <a:cubicBezTo>
                        <a:pt x="143" y="29"/>
                        <a:pt x="143" y="28"/>
                        <a:pt x="142" y="26"/>
                      </a:cubicBezTo>
                      <a:cubicBezTo>
                        <a:pt x="146" y="28"/>
                        <a:pt x="151" y="29"/>
                        <a:pt x="154" y="31"/>
                      </a:cubicBezTo>
                      <a:cubicBezTo>
                        <a:pt x="162" y="33"/>
                        <a:pt x="181" y="36"/>
                        <a:pt x="181" y="36"/>
                      </a:cubicBezTo>
                      <a:cubicBezTo>
                        <a:pt x="181" y="36"/>
                        <a:pt x="160" y="30"/>
                        <a:pt x="151" y="25"/>
                      </a:cubicBezTo>
                      <a:cubicBezTo>
                        <a:pt x="144" y="21"/>
                        <a:pt x="139" y="17"/>
                        <a:pt x="137" y="15"/>
                      </a:cubicBezTo>
                      <a:cubicBezTo>
                        <a:pt x="135" y="11"/>
                        <a:pt x="134" y="8"/>
                        <a:pt x="132" y="5"/>
                      </a:cubicBezTo>
                      <a:cubicBezTo>
                        <a:pt x="142" y="7"/>
                        <a:pt x="153" y="10"/>
                        <a:pt x="160" y="12"/>
                      </a:cubicBezTo>
                      <a:cubicBezTo>
                        <a:pt x="175" y="16"/>
                        <a:pt x="188" y="27"/>
                        <a:pt x="188" y="27"/>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grpSp>
            <p:nvGrpSpPr>
              <p:cNvPr id="81" name="Group 6">
                <a:extLst>
                  <a:ext uri="{FF2B5EF4-FFF2-40B4-BE49-F238E27FC236}">
                    <a16:creationId xmlns:a16="http://schemas.microsoft.com/office/drawing/2014/main" id="{2ACE92DE-71B4-45EE-9CCA-C1B24564B1E2}"/>
                  </a:ext>
                </a:extLst>
              </p:cNvPr>
              <p:cNvGrpSpPr/>
              <p:nvPr/>
            </p:nvGrpSpPr>
            <p:grpSpPr>
              <a:xfrm>
                <a:off x="7694251" y="2014543"/>
                <a:ext cx="3523979" cy="3916748"/>
                <a:chOff x="8534400" y="1366838"/>
                <a:chExt cx="3575050" cy="3973512"/>
              </a:xfrm>
            </p:grpSpPr>
            <p:sp>
              <p:nvSpPr>
                <p:cNvPr id="85" name="Freeform 55">
                  <a:extLst>
                    <a:ext uri="{FF2B5EF4-FFF2-40B4-BE49-F238E27FC236}">
                      <a16:creationId xmlns:a16="http://schemas.microsoft.com/office/drawing/2014/main" id="{57BDF6CC-F361-415F-BD49-EB69B212CF83}"/>
                    </a:ext>
                  </a:extLst>
                </p:cNvPr>
                <p:cNvSpPr>
                  <a:spLocks/>
                </p:cNvSpPr>
                <p:nvPr/>
              </p:nvSpPr>
              <p:spPr bwMode="auto">
                <a:xfrm>
                  <a:off x="8534400" y="1366838"/>
                  <a:ext cx="3575050" cy="2790825"/>
                </a:xfrm>
                <a:custGeom>
                  <a:avLst/>
                  <a:gdLst>
                    <a:gd name="T0" fmla="*/ 858 w 858"/>
                    <a:gd name="T1" fmla="*/ 432 h 670"/>
                    <a:gd name="T2" fmla="*/ 764 w 858"/>
                    <a:gd name="T3" fmla="*/ 337 h 670"/>
                    <a:gd name="T4" fmla="*/ 779 w 858"/>
                    <a:gd name="T5" fmla="*/ 268 h 670"/>
                    <a:gd name="T6" fmla="*/ 613 w 858"/>
                    <a:gd name="T7" fmla="*/ 105 h 670"/>
                    <a:gd name="T8" fmla="*/ 536 w 858"/>
                    <a:gd name="T9" fmla="*/ 123 h 670"/>
                    <a:gd name="T10" fmla="*/ 415 w 858"/>
                    <a:gd name="T11" fmla="*/ 12 h 670"/>
                    <a:gd name="T12" fmla="*/ 251 w 858"/>
                    <a:gd name="T13" fmla="*/ 88 h 670"/>
                    <a:gd name="T14" fmla="*/ 25 w 858"/>
                    <a:gd name="T15" fmla="*/ 236 h 670"/>
                    <a:gd name="T16" fmla="*/ 93 w 858"/>
                    <a:gd name="T17" fmla="*/ 340 h 670"/>
                    <a:gd name="T18" fmla="*/ 0 w 858"/>
                    <a:gd name="T19" fmla="*/ 435 h 670"/>
                    <a:gd name="T20" fmla="*/ 112 w 858"/>
                    <a:gd name="T21" fmla="*/ 534 h 670"/>
                    <a:gd name="T22" fmla="*/ 249 w 858"/>
                    <a:gd name="T23" fmla="*/ 655 h 670"/>
                    <a:gd name="T24" fmla="*/ 446 w 858"/>
                    <a:gd name="T25" fmla="*/ 546 h 670"/>
                    <a:gd name="T26" fmla="*/ 552 w 858"/>
                    <a:gd name="T27" fmla="*/ 639 h 670"/>
                    <a:gd name="T28" fmla="*/ 708 w 858"/>
                    <a:gd name="T29" fmla="*/ 542 h 670"/>
                    <a:gd name="T30" fmla="*/ 709 w 858"/>
                    <a:gd name="T31" fmla="*/ 537 h 670"/>
                    <a:gd name="T32" fmla="*/ 858 w 858"/>
                    <a:gd name="T33" fmla="*/ 432 h 6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58" h="670">
                      <a:moveTo>
                        <a:pt x="858" y="432"/>
                      </a:moveTo>
                      <a:cubicBezTo>
                        <a:pt x="858" y="390"/>
                        <a:pt x="820" y="354"/>
                        <a:pt x="764" y="337"/>
                      </a:cubicBezTo>
                      <a:cubicBezTo>
                        <a:pt x="774" y="316"/>
                        <a:pt x="779" y="293"/>
                        <a:pt x="779" y="268"/>
                      </a:cubicBezTo>
                      <a:cubicBezTo>
                        <a:pt x="779" y="178"/>
                        <a:pt x="705" y="105"/>
                        <a:pt x="613" y="105"/>
                      </a:cubicBezTo>
                      <a:cubicBezTo>
                        <a:pt x="585" y="105"/>
                        <a:pt x="559" y="112"/>
                        <a:pt x="536" y="123"/>
                      </a:cubicBezTo>
                      <a:cubicBezTo>
                        <a:pt x="525" y="69"/>
                        <a:pt x="479" y="23"/>
                        <a:pt x="415" y="12"/>
                      </a:cubicBezTo>
                      <a:cubicBezTo>
                        <a:pt x="346" y="0"/>
                        <a:pt x="280" y="33"/>
                        <a:pt x="251" y="88"/>
                      </a:cubicBezTo>
                      <a:cubicBezTo>
                        <a:pt x="125" y="91"/>
                        <a:pt x="25" y="156"/>
                        <a:pt x="25" y="236"/>
                      </a:cubicBezTo>
                      <a:cubicBezTo>
                        <a:pt x="25" y="277"/>
                        <a:pt x="51" y="313"/>
                        <a:pt x="93" y="340"/>
                      </a:cubicBezTo>
                      <a:cubicBezTo>
                        <a:pt x="38" y="357"/>
                        <a:pt x="0" y="393"/>
                        <a:pt x="0" y="435"/>
                      </a:cubicBezTo>
                      <a:cubicBezTo>
                        <a:pt x="0" y="481"/>
                        <a:pt x="47" y="520"/>
                        <a:pt x="112" y="534"/>
                      </a:cubicBezTo>
                      <a:cubicBezTo>
                        <a:pt x="127" y="594"/>
                        <a:pt x="179" y="643"/>
                        <a:pt x="249" y="655"/>
                      </a:cubicBezTo>
                      <a:cubicBezTo>
                        <a:pt x="336" y="670"/>
                        <a:pt x="421" y="622"/>
                        <a:pt x="446" y="546"/>
                      </a:cubicBezTo>
                      <a:cubicBezTo>
                        <a:pt x="458" y="592"/>
                        <a:pt x="498" y="630"/>
                        <a:pt x="552" y="639"/>
                      </a:cubicBezTo>
                      <a:cubicBezTo>
                        <a:pt x="625" y="652"/>
                        <a:pt x="694" y="608"/>
                        <a:pt x="708" y="542"/>
                      </a:cubicBezTo>
                      <a:cubicBezTo>
                        <a:pt x="708" y="540"/>
                        <a:pt x="709" y="538"/>
                        <a:pt x="709" y="537"/>
                      </a:cubicBezTo>
                      <a:cubicBezTo>
                        <a:pt x="793" y="531"/>
                        <a:pt x="858" y="486"/>
                        <a:pt x="858" y="432"/>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86" name="Freeform 56">
                  <a:extLst>
                    <a:ext uri="{FF2B5EF4-FFF2-40B4-BE49-F238E27FC236}">
                      <a16:creationId xmlns:a16="http://schemas.microsoft.com/office/drawing/2014/main" id="{E8FC01C3-9EED-4175-AD14-F4BFE0696862}"/>
                    </a:ext>
                  </a:extLst>
                </p:cNvPr>
                <p:cNvSpPr>
                  <a:spLocks/>
                </p:cNvSpPr>
                <p:nvPr/>
              </p:nvSpPr>
              <p:spPr bwMode="auto">
                <a:xfrm>
                  <a:off x="9375775" y="2208213"/>
                  <a:ext cx="1892300" cy="2370137"/>
                </a:xfrm>
                <a:custGeom>
                  <a:avLst/>
                  <a:gdLst>
                    <a:gd name="T0" fmla="*/ 197 w 454"/>
                    <a:gd name="T1" fmla="*/ 254 h 569"/>
                    <a:gd name="T2" fmla="*/ 200 w 454"/>
                    <a:gd name="T3" fmla="*/ 449 h 569"/>
                    <a:gd name="T4" fmla="*/ 148 w 454"/>
                    <a:gd name="T5" fmla="*/ 559 h 569"/>
                    <a:gd name="T6" fmla="*/ 122 w 454"/>
                    <a:gd name="T7" fmla="*/ 569 h 569"/>
                    <a:gd name="T8" fmla="*/ 339 w 454"/>
                    <a:gd name="T9" fmla="*/ 569 h 569"/>
                    <a:gd name="T10" fmla="*/ 304 w 454"/>
                    <a:gd name="T11" fmla="*/ 557 h 569"/>
                    <a:gd name="T12" fmla="*/ 277 w 454"/>
                    <a:gd name="T13" fmla="*/ 354 h 569"/>
                    <a:gd name="T14" fmla="*/ 282 w 454"/>
                    <a:gd name="T15" fmla="*/ 261 h 569"/>
                    <a:gd name="T16" fmla="*/ 315 w 454"/>
                    <a:gd name="T17" fmla="*/ 247 h 569"/>
                    <a:gd name="T18" fmla="*/ 454 w 454"/>
                    <a:gd name="T19" fmla="*/ 120 h 569"/>
                    <a:gd name="T20" fmla="*/ 451 w 454"/>
                    <a:gd name="T21" fmla="*/ 117 h 569"/>
                    <a:gd name="T22" fmla="*/ 451 w 454"/>
                    <a:gd name="T23" fmla="*/ 117 h 569"/>
                    <a:gd name="T24" fmla="*/ 389 w 454"/>
                    <a:gd name="T25" fmla="*/ 164 h 569"/>
                    <a:gd name="T26" fmla="*/ 400 w 454"/>
                    <a:gd name="T27" fmla="*/ 82 h 569"/>
                    <a:gd name="T28" fmla="*/ 399 w 454"/>
                    <a:gd name="T29" fmla="*/ 82 h 569"/>
                    <a:gd name="T30" fmla="*/ 398 w 454"/>
                    <a:gd name="T31" fmla="*/ 82 h 569"/>
                    <a:gd name="T32" fmla="*/ 362 w 454"/>
                    <a:gd name="T33" fmla="*/ 182 h 569"/>
                    <a:gd name="T34" fmla="*/ 257 w 454"/>
                    <a:gd name="T35" fmla="*/ 234 h 569"/>
                    <a:gd name="T36" fmla="*/ 241 w 454"/>
                    <a:gd name="T37" fmla="*/ 146 h 569"/>
                    <a:gd name="T38" fmla="*/ 296 w 454"/>
                    <a:gd name="T39" fmla="*/ 54 h 569"/>
                    <a:gd name="T40" fmla="*/ 295 w 454"/>
                    <a:gd name="T41" fmla="*/ 54 h 569"/>
                    <a:gd name="T42" fmla="*/ 294 w 454"/>
                    <a:gd name="T43" fmla="*/ 52 h 569"/>
                    <a:gd name="T44" fmla="*/ 238 w 454"/>
                    <a:gd name="T45" fmla="*/ 113 h 569"/>
                    <a:gd name="T46" fmla="*/ 235 w 454"/>
                    <a:gd name="T47" fmla="*/ 35 h 569"/>
                    <a:gd name="T48" fmla="*/ 235 w 454"/>
                    <a:gd name="T49" fmla="*/ 35 h 569"/>
                    <a:gd name="T50" fmla="*/ 230 w 454"/>
                    <a:gd name="T51" fmla="*/ 35 h 569"/>
                    <a:gd name="T52" fmla="*/ 219 w 454"/>
                    <a:gd name="T53" fmla="*/ 223 h 569"/>
                    <a:gd name="T54" fmla="*/ 122 w 454"/>
                    <a:gd name="T55" fmla="*/ 132 h 569"/>
                    <a:gd name="T56" fmla="*/ 137 w 454"/>
                    <a:gd name="T57" fmla="*/ 64 h 569"/>
                    <a:gd name="T58" fmla="*/ 135 w 454"/>
                    <a:gd name="T59" fmla="*/ 63 h 569"/>
                    <a:gd name="T60" fmla="*/ 135 w 454"/>
                    <a:gd name="T61" fmla="*/ 63 h 569"/>
                    <a:gd name="T62" fmla="*/ 113 w 454"/>
                    <a:gd name="T63" fmla="*/ 118 h 569"/>
                    <a:gd name="T64" fmla="*/ 52 w 454"/>
                    <a:gd name="T65" fmla="*/ 1 h 569"/>
                    <a:gd name="T66" fmla="*/ 50 w 454"/>
                    <a:gd name="T67" fmla="*/ 0 h 569"/>
                    <a:gd name="T68" fmla="*/ 46 w 454"/>
                    <a:gd name="T69" fmla="*/ 1 h 569"/>
                    <a:gd name="T70" fmla="*/ 74 w 454"/>
                    <a:gd name="T71" fmla="*/ 91 h 569"/>
                    <a:gd name="T72" fmla="*/ 74 w 454"/>
                    <a:gd name="T73" fmla="*/ 91 h 569"/>
                    <a:gd name="T74" fmla="*/ 149 w 454"/>
                    <a:gd name="T75" fmla="*/ 208 h 569"/>
                    <a:gd name="T76" fmla="*/ 3 w 454"/>
                    <a:gd name="T77" fmla="*/ 195 h 569"/>
                    <a:gd name="T78" fmla="*/ 3 w 454"/>
                    <a:gd name="T79" fmla="*/ 196 h 569"/>
                    <a:gd name="T80" fmla="*/ 0 w 454"/>
                    <a:gd name="T81" fmla="*/ 201 h 569"/>
                    <a:gd name="T82" fmla="*/ 172 w 454"/>
                    <a:gd name="T83" fmla="*/ 237 h 569"/>
                    <a:gd name="T84" fmla="*/ 197 w 454"/>
                    <a:gd name="T85" fmla="*/ 254 h 5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54" h="569">
                      <a:moveTo>
                        <a:pt x="197" y="254"/>
                      </a:moveTo>
                      <a:cubicBezTo>
                        <a:pt x="209" y="304"/>
                        <a:pt x="213" y="368"/>
                        <a:pt x="200" y="449"/>
                      </a:cubicBezTo>
                      <a:cubicBezTo>
                        <a:pt x="191" y="518"/>
                        <a:pt x="199" y="559"/>
                        <a:pt x="148" y="559"/>
                      </a:cubicBezTo>
                      <a:cubicBezTo>
                        <a:pt x="148" y="559"/>
                        <a:pt x="138" y="555"/>
                        <a:pt x="122" y="569"/>
                      </a:cubicBezTo>
                      <a:cubicBezTo>
                        <a:pt x="339" y="569"/>
                        <a:pt x="339" y="569"/>
                        <a:pt x="339" y="569"/>
                      </a:cubicBezTo>
                      <a:cubicBezTo>
                        <a:pt x="328" y="564"/>
                        <a:pt x="315" y="559"/>
                        <a:pt x="304" y="557"/>
                      </a:cubicBezTo>
                      <a:cubicBezTo>
                        <a:pt x="292" y="529"/>
                        <a:pt x="279" y="475"/>
                        <a:pt x="277" y="354"/>
                      </a:cubicBezTo>
                      <a:cubicBezTo>
                        <a:pt x="276" y="318"/>
                        <a:pt x="278" y="287"/>
                        <a:pt x="282" y="261"/>
                      </a:cubicBezTo>
                      <a:cubicBezTo>
                        <a:pt x="315" y="247"/>
                        <a:pt x="315" y="247"/>
                        <a:pt x="315" y="247"/>
                      </a:cubicBezTo>
                      <a:cubicBezTo>
                        <a:pt x="404" y="194"/>
                        <a:pt x="433" y="147"/>
                        <a:pt x="454" y="120"/>
                      </a:cubicBezTo>
                      <a:cubicBezTo>
                        <a:pt x="451" y="117"/>
                        <a:pt x="451" y="117"/>
                        <a:pt x="451" y="117"/>
                      </a:cubicBezTo>
                      <a:cubicBezTo>
                        <a:pt x="451" y="117"/>
                        <a:pt x="451" y="117"/>
                        <a:pt x="451" y="117"/>
                      </a:cubicBezTo>
                      <a:cubicBezTo>
                        <a:pt x="428" y="135"/>
                        <a:pt x="407" y="151"/>
                        <a:pt x="389" y="164"/>
                      </a:cubicBezTo>
                      <a:cubicBezTo>
                        <a:pt x="396" y="133"/>
                        <a:pt x="398" y="121"/>
                        <a:pt x="400" y="82"/>
                      </a:cubicBezTo>
                      <a:cubicBezTo>
                        <a:pt x="399" y="82"/>
                        <a:pt x="399" y="82"/>
                        <a:pt x="399" y="82"/>
                      </a:cubicBezTo>
                      <a:cubicBezTo>
                        <a:pt x="399" y="82"/>
                        <a:pt x="398" y="82"/>
                        <a:pt x="398" y="82"/>
                      </a:cubicBezTo>
                      <a:cubicBezTo>
                        <a:pt x="393" y="101"/>
                        <a:pt x="379" y="147"/>
                        <a:pt x="362" y="182"/>
                      </a:cubicBezTo>
                      <a:cubicBezTo>
                        <a:pt x="312" y="215"/>
                        <a:pt x="278" y="228"/>
                        <a:pt x="257" y="234"/>
                      </a:cubicBezTo>
                      <a:cubicBezTo>
                        <a:pt x="251" y="213"/>
                        <a:pt x="245" y="185"/>
                        <a:pt x="241" y="146"/>
                      </a:cubicBezTo>
                      <a:cubicBezTo>
                        <a:pt x="257" y="110"/>
                        <a:pt x="284" y="70"/>
                        <a:pt x="296" y="54"/>
                      </a:cubicBezTo>
                      <a:cubicBezTo>
                        <a:pt x="295" y="54"/>
                        <a:pt x="295" y="54"/>
                        <a:pt x="295" y="54"/>
                      </a:cubicBezTo>
                      <a:cubicBezTo>
                        <a:pt x="294" y="52"/>
                        <a:pt x="294" y="52"/>
                        <a:pt x="294" y="52"/>
                      </a:cubicBezTo>
                      <a:cubicBezTo>
                        <a:pt x="265" y="79"/>
                        <a:pt x="258" y="88"/>
                        <a:pt x="238" y="113"/>
                      </a:cubicBezTo>
                      <a:cubicBezTo>
                        <a:pt x="236" y="91"/>
                        <a:pt x="235" y="64"/>
                        <a:pt x="235" y="35"/>
                      </a:cubicBezTo>
                      <a:cubicBezTo>
                        <a:pt x="235" y="35"/>
                        <a:pt x="235" y="35"/>
                        <a:pt x="235" y="35"/>
                      </a:cubicBezTo>
                      <a:cubicBezTo>
                        <a:pt x="230" y="35"/>
                        <a:pt x="230" y="35"/>
                        <a:pt x="230" y="35"/>
                      </a:cubicBezTo>
                      <a:cubicBezTo>
                        <a:pt x="223" y="69"/>
                        <a:pt x="210" y="143"/>
                        <a:pt x="219" y="223"/>
                      </a:cubicBezTo>
                      <a:cubicBezTo>
                        <a:pt x="219" y="223"/>
                        <a:pt x="175" y="205"/>
                        <a:pt x="122" y="132"/>
                      </a:cubicBezTo>
                      <a:cubicBezTo>
                        <a:pt x="123" y="120"/>
                        <a:pt x="125" y="90"/>
                        <a:pt x="137" y="64"/>
                      </a:cubicBezTo>
                      <a:cubicBezTo>
                        <a:pt x="135" y="63"/>
                        <a:pt x="135" y="63"/>
                        <a:pt x="135" y="63"/>
                      </a:cubicBezTo>
                      <a:cubicBezTo>
                        <a:pt x="135" y="63"/>
                        <a:pt x="135" y="63"/>
                        <a:pt x="135" y="63"/>
                      </a:cubicBezTo>
                      <a:cubicBezTo>
                        <a:pt x="127" y="75"/>
                        <a:pt x="118" y="94"/>
                        <a:pt x="113" y="118"/>
                      </a:cubicBezTo>
                      <a:cubicBezTo>
                        <a:pt x="93" y="88"/>
                        <a:pt x="72" y="50"/>
                        <a:pt x="52" y="1"/>
                      </a:cubicBezTo>
                      <a:cubicBezTo>
                        <a:pt x="51" y="1"/>
                        <a:pt x="51" y="1"/>
                        <a:pt x="50" y="0"/>
                      </a:cubicBezTo>
                      <a:cubicBezTo>
                        <a:pt x="46" y="1"/>
                        <a:pt x="46" y="1"/>
                        <a:pt x="46" y="1"/>
                      </a:cubicBezTo>
                      <a:cubicBezTo>
                        <a:pt x="49" y="17"/>
                        <a:pt x="74" y="91"/>
                        <a:pt x="74" y="91"/>
                      </a:cubicBezTo>
                      <a:cubicBezTo>
                        <a:pt x="74" y="91"/>
                        <a:pt x="74" y="91"/>
                        <a:pt x="74" y="91"/>
                      </a:cubicBezTo>
                      <a:cubicBezTo>
                        <a:pt x="91" y="132"/>
                        <a:pt x="115" y="175"/>
                        <a:pt x="149" y="208"/>
                      </a:cubicBezTo>
                      <a:cubicBezTo>
                        <a:pt x="149" y="208"/>
                        <a:pt x="89" y="222"/>
                        <a:pt x="3" y="195"/>
                      </a:cubicBezTo>
                      <a:cubicBezTo>
                        <a:pt x="3" y="196"/>
                        <a:pt x="3" y="196"/>
                        <a:pt x="3" y="196"/>
                      </a:cubicBezTo>
                      <a:cubicBezTo>
                        <a:pt x="0" y="201"/>
                        <a:pt x="0" y="201"/>
                        <a:pt x="0" y="201"/>
                      </a:cubicBezTo>
                      <a:cubicBezTo>
                        <a:pt x="37" y="218"/>
                        <a:pt x="97" y="238"/>
                        <a:pt x="172" y="237"/>
                      </a:cubicBezTo>
                      <a:cubicBezTo>
                        <a:pt x="178" y="238"/>
                        <a:pt x="187" y="243"/>
                        <a:pt x="197" y="254"/>
                      </a:cubicBez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87" name="Freeform 57">
                  <a:extLst>
                    <a:ext uri="{FF2B5EF4-FFF2-40B4-BE49-F238E27FC236}">
                      <a16:creationId xmlns:a16="http://schemas.microsoft.com/office/drawing/2014/main" id="{FCD0286D-739E-4529-A2CA-D9B6EE37A910}"/>
                    </a:ext>
                  </a:extLst>
                </p:cNvPr>
                <p:cNvSpPr>
                  <a:spLocks/>
                </p:cNvSpPr>
                <p:nvPr/>
              </p:nvSpPr>
              <p:spPr bwMode="auto">
                <a:xfrm>
                  <a:off x="9417050" y="4578350"/>
                  <a:ext cx="1646238" cy="762000"/>
                </a:xfrm>
                <a:custGeom>
                  <a:avLst/>
                  <a:gdLst>
                    <a:gd name="T0" fmla="*/ 106 w 395"/>
                    <a:gd name="T1" fmla="*/ 5 h 183"/>
                    <a:gd name="T2" fmla="*/ 105 w 395"/>
                    <a:gd name="T3" fmla="*/ 5 h 183"/>
                    <a:gd name="T4" fmla="*/ 85 w 395"/>
                    <a:gd name="T5" fmla="*/ 21 h 183"/>
                    <a:gd name="T6" fmla="*/ 46 w 395"/>
                    <a:gd name="T7" fmla="*/ 62 h 183"/>
                    <a:gd name="T8" fmla="*/ 105 w 395"/>
                    <a:gd name="T9" fmla="*/ 28 h 183"/>
                    <a:gd name="T10" fmla="*/ 158 w 395"/>
                    <a:gd name="T11" fmla="*/ 12 h 183"/>
                    <a:gd name="T12" fmla="*/ 127 w 395"/>
                    <a:gd name="T13" fmla="*/ 61 h 183"/>
                    <a:gd name="T14" fmla="*/ 116 w 395"/>
                    <a:gd name="T15" fmla="*/ 74 h 183"/>
                    <a:gd name="T16" fmla="*/ 70 w 395"/>
                    <a:gd name="T17" fmla="*/ 87 h 183"/>
                    <a:gd name="T18" fmla="*/ 18 w 395"/>
                    <a:gd name="T19" fmla="*/ 113 h 183"/>
                    <a:gd name="T20" fmla="*/ 85 w 395"/>
                    <a:gd name="T21" fmla="*/ 93 h 183"/>
                    <a:gd name="T22" fmla="*/ 98 w 395"/>
                    <a:gd name="T23" fmla="*/ 92 h 183"/>
                    <a:gd name="T24" fmla="*/ 0 w 395"/>
                    <a:gd name="T25" fmla="*/ 174 h 183"/>
                    <a:gd name="T26" fmla="*/ 127 w 395"/>
                    <a:gd name="T27" fmla="*/ 98 h 183"/>
                    <a:gd name="T28" fmla="*/ 194 w 395"/>
                    <a:gd name="T29" fmla="*/ 40 h 183"/>
                    <a:gd name="T30" fmla="*/ 211 w 395"/>
                    <a:gd name="T31" fmla="*/ 79 h 183"/>
                    <a:gd name="T32" fmla="*/ 251 w 395"/>
                    <a:gd name="T33" fmla="*/ 183 h 183"/>
                    <a:gd name="T34" fmla="*/ 234 w 395"/>
                    <a:gd name="T35" fmla="*/ 95 h 183"/>
                    <a:gd name="T36" fmla="*/ 250 w 395"/>
                    <a:gd name="T37" fmla="*/ 102 h 183"/>
                    <a:gd name="T38" fmla="*/ 283 w 395"/>
                    <a:gd name="T39" fmla="*/ 110 h 183"/>
                    <a:gd name="T40" fmla="*/ 246 w 395"/>
                    <a:gd name="T41" fmla="*/ 94 h 183"/>
                    <a:gd name="T42" fmla="*/ 233 w 395"/>
                    <a:gd name="T43" fmla="*/ 84 h 183"/>
                    <a:gd name="T44" fmla="*/ 233 w 395"/>
                    <a:gd name="T45" fmla="*/ 63 h 183"/>
                    <a:gd name="T46" fmla="*/ 241 w 395"/>
                    <a:gd name="T47" fmla="*/ 28 h 183"/>
                    <a:gd name="T48" fmla="*/ 243 w 395"/>
                    <a:gd name="T49" fmla="*/ 28 h 183"/>
                    <a:gd name="T50" fmla="*/ 276 w 395"/>
                    <a:gd name="T51" fmla="*/ 62 h 183"/>
                    <a:gd name="T52" fmla="*/ 327 w 395"/>
                    <a:gd name="T53" fmla="*/ 162 h 183"/>
                    <a:gd name="T54" fmla="*/ 303 w 395"/>
                    <a:gd name="T55" fmla="*/ 71 h 183"/>
                    <a:gd name="T56" fmla="*/ 299 w 395"/>
                    <a:gd name="T57" fmla="*/ 61 h 183"/>
                    <a:gd name="T58" fmla="*/ 323 w 395"/>
                    <a:gd name="T59" fmla="*/ 72 h 183"/>
                    <a:gd name="T60" fmla="*/ 380 w 395"/>
                    <a:gd name="T61" fmla="*/ 86 h 183"/>
                    <a:gd name="T62" fmla="*/ 317 w 395"/>
                    <a:gd name="T63" fmla="*/ 58 h 183"/>
                    <a:gd name="T64" fmla="*/ 288 w 395"/>
                    <a:gd name="T65" fmla="*/ 34 h 183"/>
                    <a:gd name="T66" fmla="*/ 279 w 395"/>
                    <a:gd name="T67" fmla="*/ 12 h 183"/>
                    <a:gd name="T68" fmla="*/ 336 w 395"/>
                    <a:gd name="T69" fmla="*/ 28 h 183"/>
                    <a:gd name="T70" fmla="*/ 395 w 395"/>
                    <a:gd name="T71" fmla="*/ 62 h 183"/>
                    <a:gd name="T72" fmla="*/ 360 w 395"/>
                    <a:gd name="T73" fmla="*/ 17 h 183"/>
                    <a:gd name="T74" fmla="*/ 354 w 395"/>
                    <a:gd name="T75" fmla="*/ 13 h 183"/>
                    <a:gd name="T76" fmla="*/ 329 w 395"/>
                    <a:gd name="T77" fmla="*/ 0 h 183"/>
                    <a:gd name="T78" fmla="*/ 112 w 395"/>
                    <a:gd name="T79" fmla="*/ 0 h 183"/>
                    <a:gd name="T80" fmla="*/ 106 w 395"/>
                    <a:gd name="T81" fmla="*/ 5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95" h="183">
                      <a:moveTo>
                        <a:pt x="106" y="5"/>
                      </a:moveTo>
                      <a:cubicBezTo>
                        <a:pt x="105" y="5"/>
                        <a:pt x="105" y="5"/>
                        <a:pt x="105" y="5"/>
                      </a:cubicBezTo>
                      <a:cubicBezTo>
                        <a:pt x="99" y="10"/>
                        <a:pt x="92" y="15"/>
                        <a:pt x="85" y="21"/>
                      </a:cubicBezTo>
                      <a:cubicBezTo>
                        <a:pt x="64" y="35"/>
                        <a:pt x="46" y="62"/>
                        <a:pt x="46" y="62"/>
                      </a:cubicBezTo>
                      <a:cubicBezTo>
                        <a:pt x="46" y="62"/>
                        <a:pt x="86" y="37"/>
                        <a:pt x="105" y="28"/>
                      </a:cubicBezTo>
                      <a:cubicBezTo>
                        <a:pt x="115" y="24"/>
                        <a:pt x="138" y="17"/>
                        <a:pt x="158" y="12"/>
                      </a:cubicBezTo>
                      <a:cubicBezTo>
                        <a:pt x="149" y="29"/>
                        <a:pt x="139" y="46"/>
                        <a:pt x="127" y="61"/>
                      </a:cubicBezTo>
                      <a:cubicBezTo>
                        <a:pt x="124" y="65"/>
                        <a:pt x="120" y="69"/>
                        <a:pt x="116" y="74"/>
                      </a:cubicBezTo>
                      <a:cubicBezTo>
                        <a:pt x="102" y="77"/>
                        <a:pt x="81" y="83"/>
                        <a:pt x="70" y="87"/>
                      </a:cubicBezTo>
                      <a:cubicBezTo>
                        <a:pt x="52" y="93"/>
                        <a:pt x="18" y="113"/>
                        <a:pt x="18" y="113"/>
                      </a:cubicBezTo>
                      <a:cubicBezTo>
                        <a:pt x="18" y="113"/>
                        <a:pt x="62" y="97"/>
                        <a:pt x="85" y="93"/>
                      </a:cubicBezTo>
                      <a:cubicBezTo>
                        <a:pt x="89" y="93"/>
                        <a:pt x="94" y="92"/>
                        <a:pt x="98" y="92"/>
                      </a:cubicBezTo>
                      <a:cubicBezTo>
                        <a:pt x="56" y="131"/>
                        <a:pt x="0" y="174"/>
                        <a:pt x="0" y="174"/>
                      </a:cubicBezTo>
                      <a:cubicBezTo>
                        <a:pt x="0" y="174"/>
                        <a:pt x="91" y="128"/>
                        <a:pt x="127" y="98"/>
                      </a:cubicBezTo>
                      <a:cubicBezTo>
                        <a:pt x="145" y="84"/>
                        <a:pt x="171" y="61"/>
                        <a:pt x="194" y="40"/>
                      </a:cubicBezTo>
                      <a:cubicBezTo>
                        <a:pt x="202" y="52"/>
                        <a:pt x="209" y="66"/>
                        <a:pt x="211" y="79"/>
                      </a:cubicBezTo>
                      <a:cubicBezTo>
                        <a:pt x="218" y="112"/>
                        <a:pt x="251" y="183"/>
                        <a:pt x="251" y="183"/>
                      </a:cubicBezTo>
                      <a:cubicBezTo>
                        <a:pt x="251" y="183"/>
                        <a:pt x="239" y="135"/>
                        <a:pt x="234" y="95"/>
                      </a:cubicBezTo>
                      <a:cubicBezTo>
                        <a:pt x="240" y="98"/>
                        <a:pt x="246" y="100"/>
                        <a:pt x="250" y="102"/>
                      </a:cubicBezTo>
                      <a:cubicBezTo>
                        <a:pt x="260" y="106"/>
                        <a:pt x="283" y="110"/>
                        <a:pt x="283" y="110"/>
                      </a:cubicBezTo>
                      <a:cubicBezTo>
                        <a:pt x="283" y="110"/>
                        <a:pt x="257" y="101"/>
                        <a:pt x="246" y="94"/>
                      </a:cubicBezTo>
                      <a:cubicBezTo>
                        <a:pt x="241" y="91"/>
                        <a:pt x="237" y="87"/>
                        <a:pt x="233" y="84"/>
                      </a:cubicBezTo>
                      <a:cubicBezTo>
                        <a:pt x="233" y="76"/>
                        <a:pt x="232" y="69"/>
                        <a:pt x="233" y="63"/>
                      </a:cubicBezTo>
                      <a:cubicBezTo>
                        <a:pt x="234" y="50"/>
                        <a:pt x="237" y="38"/>
                        <a:pt x="241" y="28"/>
                      </a:cubicBezTo>
                      <a:cubicBezTo>
                        <a:pt x="242" y="28"/>
                        <a:pt x="243" y="28"/>
                        <a:pt x="243" y="28"/>
                      </a:cubicBezTo>
                      <a:cubicBezTo>
                        <a:pt x="253" y="37"/>
                        <a:pt x="265" y="49"/>
                        <a:pt x="276" y="62"/>
                      </a:cubicBezTo>
                      <a:cubicBezTo>
                        <a:pt x="298" y="92"/>
                        <a:pt x="327" y="162"/>
                        <a:pt x="327" y="162"/>
                      </a:cubicBezTo>
                      <a:cubicBezTo>
                        <a:pt x="327" y="162"/>
                        <a:pt x="315" y="99"/>
                        <a:pt x="303" y="71"/>
                      </a:cubicBezTo>
                      <a:cubicBezTo>
                        <a:pt x="302" y="68"/>
                        <a:pt x="300" y="65"/>
                        <a:pt x="299" y="61"/>
                      </a:cubicBezTo>
                      <a:cubicBezTo>
                        <a:pt x="308" y="65"/>
                        <a:pt x="317" y="69"/>
                        <a:pt x="323" y="72"/>
                      </a:cubicBezTo>
                      <a:cubicBezTo>
                        <a:pt x="341" y="79"/>
                        <a:pt x="380" y="86"/>
                        <a:pt x="380" y="86"/>
                      </a:cubicBezTo>
                      <a:cubicBezTo>
                        <a:pt x="380" y="86"/>
                        <a:pt x="336" y="70"/>
                        <a:pt x="317" y="58"/>
                      </a:cubicBezTo>
                      <a:cubicBezTo>
                        <a:pt x="304" y="49"/>
                        <a:pt x="293" y="40"/>
                        <a:pt x="288" y="34"/>
                      </a:cubicBezTo>
                      <a:cubicBezTo>
                        <a:pt x="285" y="27"/>
                        <a:pt x="282" y="20"/>
                        <a:pt x="279" y="12"/>
                      </a:cubicBezTo>
                      <a:cubicBezTo>
                        <a:pt x="298" y="17"/>
                        <a:pt x="321" y="24"/>
                        <a:pt x="336" y="28"/>
                      </a:cubicBezTo>
                      <a:cubicBezTo>
                        <a:pt x="367" y="38"/>
                        <a:pt x="395" y="62"/>
                        <a:pt x="395" y="62"/>
                      </a:cubicBezTo>
                      <a:cubicBezTo>
                        <a:pt x="395" y="62"/>
                        <a:pt x="381" y="31"/>
                        <a:pt x="360" y="17"/>
                      </a:cubicBezTo>
                      <a:cubicBezTo>
                        <a:pt x="358" y="15"/>
                        <a:pt x="356" y="14"/>
                        <a:pt x="354" y="13"/>
                      </a:cubicBezTo>
                      <a:cubicBezTo>
                        <a:pt x="347" y="8"/>
                        <a:pt x="338" y="4"/>
                        <a:pt x="329" y="0"/>
                      </a:cubicBezTo>
                      <a:cubicBezTo>
                        <a:pt x="112" y="0"/>
                        <a:pt x="112" y="0"/>
                        <a:pt x="112" y="0"/>
                      </a:cubicBezTo>
                      <a:cubicBezTo>
                        <a:pt x="110" y="1"/>
                        <a:pt x="108" y="3"/>
                        <a:pt x="106" y="5"/>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grpSp>
            <p:nvGrpSpPr>
              <p:cNvPr id="82" name="Group 7">
                <a:extLst>
                  <a:ext uri="{FF2B5EF4-FFF2-40B4-BE49-F238E27FC236}">
                    <a16:creationId xmlns:a16="http://schemas.microsoft.com/office/drawing/2014/main" id="{E1729257-6F22-4F32-9305-1DC5AD116ADD}"/>
                  </a:ext>
                </a:extLst>
              </p:cNvPr>
              <p:cNvGrpSpPr/>
              <p:nvPr/>
            </p:nvGrpSpPr>
            <p:grpSpPr>
              <a:xfrm>
                <a:off x="-287652" y="5393462"/>
                <a:ext cx="298450" cy="477838"/>
                <a:chOff x="490439" y="4539752"/>
                <a:chExt cx="298450" cy="477838"/>
              </a:xfrm>
            </p:grpSpPr>
            <p:sp>
              <p:nvSpPr>
                <p:cNvPr id="83" name="Freeform 9">
                  <a:extLst>
                    <a:ext uri="{FF2B5EF4-FFF2-40B4-BE49-F238E27FC236}">
                      <a16:creationId xmlns:a16="http://schemas.microsoft.com/office/drawing/2014/main" id="{72747249-7B1A-49BF-B367-52ECA006E91E}"/>
                    </a:ext>
                  </a:extLst>
                </p:cNvPr>
                <p:cNvSpPr>
                  <a:spLocks/>
                </p:cNvSpPr>
                <p:nvPr/>
              </p:nvSpPr>
              <p:spPr bwMode="auto">
                <a:xfrm>
                  <a:off x="490439" y="4539752"/>
                  <a:ext cx="298450" cy="477838"/>
                </a:xfrm>
                <a:custGeom>
                  <a:avLst/>
                  <a:gdLst>
                    <a:gd name="T0" fmla="*/ 29 w 29"/>
                    <a:gd name="T1" fmla="*/ 33 h 48"/>
                    <a:gd name="T2" fmla="*/ 15 w 29"/>
                    <a:gd name="T3" fmla="*/ 48 h 48"/>
                    <a:gd name="T4" fmla="*/ 0 w 29"/>
                    <a:gd name="T5" fmla="*/ 33 h 48"/>
                    <a:gd name="T6" fmla="*/ 12 w 29"/>
                    <a:gd name="T7" fmla="*/ 0 h 48"/>
                    <a:gd name="T8" fmla="*/ 29 w 29"/>
                    <a:gd name="T9" fmla="*/ 33 h 48"/>
                  </a:gdLst>
                  <a:ahLst/>
                  <a:cxnLst>
                    <a:cxn ang="0">
                      <a:pos x="T0" y="T1"/>
                    </a:cxn>
                    <a:cxn ang="0">
                      <a:pos x="T2" y="T3"/>
                    </a:cxn>
                    <a:cxn ang="0">
                      <a:pos x="T4" y="T5"/>
                    </a:cxn>
                    <a:cxn ang="0">
                      <a:pos x="T6" y="T7"/>
                    </a:cxn>
                    <a:cxn ang="0">
                      <a:pos x="T8" y="T9"/>
                    </a:cxn>
                  </a:cxnLst>
                  <a:rect l="0" t="0" r="r" b="b"/>
                  <a:pathLst>
                    <a:path w="29" h="48">
                      <a:moveTo>
                        <a:pt x="29" y="33"/>
                      </a:moveTo>
                      <a:cubicBezTo>
                        <a:pt x="29" y="42"/>
                        <a:pt x="23" y="48"/>
                        <a:pt x="15" y="48"/>
                      </a:cubicBezTo>
                      <a:cubicBezTo>
                        <a:pt x="7" y="48"/>
                        <a:pt x="0" y="42"/>
                        <a:pt x="0" y="33"/>
                      </a:cubicBezTo>
                      <a:cubicBezTo>
                        <a:pt x="0" y="25"/>
                        <a:pt x="12" y="0"/>
                        <a:pt x="12" y="0"/>
                      </a:cubicBezTo>
                      <a:cubicBezTo>
                        <a:pt x="12" y="0"/>
                        <a:pt x="29" y="25"/>
                        <a:pt x="29" y="33"/>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84" name="Freeform 9">
                  <a:extLst>
                    <a:ext uri="{FF2B5EF4-FFF2-40B4-BE49-F238E27FC236}">
                      <a16:creationId xmlns:a16="http://schemas.microsoft.com/office/drawing/2014/main" id="{DF2731C2-4AAE-4FD3-A3BE-CAD0197C3CC2}"/>
                    </a:ext>
                  </a:extLst>
                </p:cNvPr>
                <p:cNvSpPr>
                  <a:spLocks/>
                </p:cNvSpPr>
                <p:nvPr/>
              </p:nvSpPr>
              <p:spPr bwMode="auto">
                <a:xfrm>
                  <a:off x="549789" y="4665135"/>
                  <a:ext cx="181928" cy="291279"/>
                </a:xfrm>
                <a:custGeom>
                  <a:avLst/>
                  <a:gdLst>
                    <a:gd name="T0" fmla="*/ 29 w 29"/>
                    <a:gd name="T1" fmla="*/ 33 h 48"/>
                    <a:gd name="T2" fmla="*/ 15 w 29"/>
                    <a:gd name="T3" fmla="*/ 48 h 48"/>
                    <a:gd name="T4" fmla="*/ 0 w 29"/>
                    <a:gd name="T5" fmla="*/ 33 h 48"/>
                    <a:gd name="T6" fmla="*/ 12 w 29"/>
                    <a:gd name="T7" fmla="*/ 0 h 48"/>
                    <a:gd name="T8" fmla="*/ 29 w 29"/>
                    <a:gd name="T9" fmla="*/ 33 h 48"/>
                  </a:gdLst>
                  <a:ahLst/>
                  <a:cxnLst>
                    <a:cxn ang="0">
                      <a:pos x="T0" y="T1"/>
                    </a:cxn>
                    <a:cxn ang="0">
                      <a:pos x="T2" y="T3"/>
                    </a:cxn>
                    <a:cxn ang="0">
                      <a:pos x="T4" y="T5"/>
                    </a:cxn>
                    <a:cxn ang="0">
                      <a:pos x="T6" y="T7"/>
                    </a:cxn>
                    <a:cxn ang="0">
                      <a:pos x="T8" y="T9"/>
                    </a:cxn>
                  </a:cxnLst>
                  <a:rect l="0" t="0" r="r" b="b"/>
                  <a:pathLst>
                    <a:path w="29" h="48">
                      <a:moveTo>
                        <a:pt x="29" y="33"/>
                      </a:moveTo>
                      <a:cubicBezTo>
                        <a:pt x="29" y="42"/>
                        <a:pt x="23" y="48"/>
                        <a:pt x="15" y="48"/>
                      </a:cubicBezTo>
                      <a:cubicBezTo>
                        <a:pt x="7" y="48"/>
                        <a:pt x="0" y="42"/>
                        <a:pt x="0" y="33"/>
                      </a:cubicBezTo>
                      <a:cubicBezTo>
                        <a:pt x="0" y="25"/>
                        <a:pt x="12" y="0"/>
                        <a:pt x="12" y="0"/>
                      </a:cubicBezTo>
                      <a:cubicBezTo>
                        <a:pt x="12" y="0"/>
                        <a:pt x="29" y="25"/>
                        <a:pt x="29" y="33"/>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grpSp>
        <p:grpSp>
          <p:nvGrpSpPr>
            <p:cNvPr id="4" name="Group 187">
              <a:extLst>
                <a:ext uri="{FF2B5EF4-FFF2-40B4-BE49-F238E27FC236}">
                  <a16:creationId xmlns:a16="http://schemas.microsoft.com/office/drawing/2014/main" id="{0B7B6080-52DB-42B1-BBE1-7535CEC16CA2}"/>
                </a:ext>
              </a:extLst>
            </p:cNvPr>
            <p:cNvGrpSpPr/>
            <p:nvPr/>
          </p:nvGrpSpPr>
          <p:grpSpPr>
            <a:xfrm>
              <a:off x="913542" y="5531639"/>
              <a:ext cx="10364917" cy="996962"/>
              <a:chOff x="913542" y="5531639"/>
              <a:chExt cx="10364917" cy="996962"/>
            </a:xfrm>
          </p:grpSpPr>
          <p:grpSp>
            <p:nvGrpSpPr>
              <p:cNvPr id="62" name="Group 23">
                <a:extLst>
                  <a:ext uri="{FF2B5EF4-FFF2-40B4-BE49-F238E27FC236}">
                    <a16:creationId xmlns:a16="http://schemas.microsoft.com/office/drawing/2014/main" id="{FAB44D25-A966-44BB-B2EC-6E84595BE17D}"/>
                  </a:ext>
                </a:extLst>
              </p:cNvPr>
              <p:cNvGrpSpPr/>
              <p:nvPr/>
            </p:nvGrpSpPr>
            <p:grpSpPr>
              <a:xfrm>
                <a:off x="913542" y="5531639"/>
                <a:ext cx="1999968" cy="996962"/>
                <a:chOff x="1046243" y="4504343"/>
                <a:chExt cx="1999968" cy="996962"/>
              </a:xfrm>
            </p:grpSpPr>
            <p:sp>
              <p:nvSpPr>
                <p:cNvPr id="75" name="TextBox 36">
                  <a:extLst>
                    <a:ext uri="{FF2B5EF4-FFF2-40B4-BE49-F238E27FC236}">
                      <a16:creationId xmlns:a16="http://schemas.microsoft.com/office/drawing/2014/main" id="{70FB2F1C-4BF7-4E19-B308-E24526FA8C43}"/>
                    </a:ext>
                  </a:extLst>
                </p:cNvPr>
                <p:cNvSpPr txBox="1"/>
                <p:nvPr/>
              </p:nvSpPr>
              <p:spPr>
                <a:xfrm>
                  <a:off x="1046243" y="4915888"/>
                  <a:ext cx="1999968" cy="585417"/>
                </a:xfrm>
                <a:prstGeom prst="rect">
                  <a:avLst/>
                </a:prstGeom>
                <a:noFill/>
              </p:spPr>
              <p:txBody>
                <a:bodyPr wrap="square" rtlCol="0">
                  <a:spAutoFit/>
                </a:bodyPr>
                <a:lstStyle/>
                <a:p>
                  <a:pPr marL="0" marR="0" lvl="0" indent="0" algn="ctr" defTabSz="914400" rtl="0" eaLnBrk="1" fontAlgn="auto" latinLnBrk="0" hangingPunct="1">
                    <a:lnSpc>
                      <a:spcPct val="14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lumMod val="65000"/>
                          <a:lumOff val="35000"/>
                        </a:srgbClr>
                      </a:solidFill>
                      <a:effectLst/>
                      <a:uLnTx/>
                      <a:uFillTx/>
                      <a:latin typeface="等线 Light" panose="020F0302020204030204"/>
                      <a:ea typeface="+mn-ea"/>
                      <a:cs typeface="+mn-cs"/>
                    </a:rPr>
                    <a:t>Lorem ipsum dolor sit </a:t>
                  </a:r>
                  <a:r>
                    <a:rPr kumimoji="0" lang="en-US" sz="1200" b="0" i="0" u="none" strike="noStrike" kern="1200" cap="none" spc="0" normalizeH="0" baseline="0" noProof="0" dirty="0" err="1">
                      <a:ln>
                        <a:noFill/>
                      </a:ln>
                      <a:solidFill>
                        <a:srgbClr val="000000">
                          <a:lumMod val="65000"/>
                          <a:lumOff val="35000"/>
                        </a:srgbClr>
                      </a:solidFill>
                      <a:effectLst/>
                      <a:uLnTx/>
                      <a:uFillTx/>
                      <a:latin typeface="等线 Light" panose="020F0302020204030204"/>
                      <a:ea typeface="+mn-ea"/>
                      <a:cs typeface="+mn-cs"/>
                    </a:rPr>
                    <a:t>amet</a:t>
                  </a:r>
                  <a:r>
                    <a:rPr kumimoji="0" lang="en-US" sz="1200" b="0" i="0" u="none" strike="noStrike" kern="1200" cap="none" spc="0" normalizeH="0" baseline="0" noProof="0" dirty="0">
                      <a:ln>
                        <a:noFill/>
                      </a:ln>
                      <a:solidFill>
                        <a:srgbClr val="000000">
                          <a:lumMod val="65000"/>
                          <a:lumOff val="35000"/>
                        </a:srgbClr>
                      </a:solidFill>
                      <a:effectLst/>
                      <a:uLnTx/>
                      <a:uFillTx/>
                      <a:latin typeface="等线 Light" panose="020F0302020204030204"/>
                      <a:ea typeface="+mn-ea"/>
                      <a:cs typeface="+mn-cs"/>
                    </a:rPr>
                    <a:t>, </a:t>
                  </a:r>
                  <a:r>
                    <a:rPr kumimoji="0" lang="en-US" sz="1200" b="0" i="0" u="none" strike="noStrike" kern="1200" cap="none" spc="0" normalizeH="0" baseline="0" noProof="0" dirty="0" err="1">
                      <a:ln>
                        <a:noFill/>
                      </a:ln>
                      <a:solidFill>
                        <a:srgbClr val="000000">
                          <a:lumMod val="65000"/>
                          <a:lumOff val="35000"/>
                        </a:srgbClr>
                      </a:solidFill>
                      <a:effectLst/>
                      <a:uLnTx/>
                      <a:uFillTx/>
                      <a:latin typeface="等线 Light" panose="020F0302020204030204"/>
                      <a:ea typeface="+mn-ea"/>
                      <a:cs typeface="+mn-cs"/>
                    </a:rPr>
                    <a:t>consectetur</a:t>
                  </a:r>
                  <a:r>
                    <a:rPr kumimoji="0" lang="en-US" sz="1200" b="0" i="0" u="none" strike="noStrike" kern="1200" cap="none" spc="0" normalizeH="0" baseline="0" noProof="0" dirty="0">
                      <a:ln>
                        <a:noFill/>
                      </a:ln>
                      <a:solidFill>
                        <a:srgbClr val="000000">
                          <a:lumMod val="65000"/>
                          <a:lumOff val="35000"/>
                        </a:srgbClr>
                      </a:solidFill>
                      <a:effectLst/>
                      <a:uLnTx/>
                      <a:uFillTx/>
                      <a:latin typeface="等线 Light" panose="020F0302020204030204"/>
                      <a:ea typeface="+mn-ea"/>
                      <a:cs typeface="+mn-cs"/>
                    </a:rPr>
                    <a:t> </a:t>
                  </a:r>
                  <a:r>
                    <a:rPr kumimoji="0" lang="en-US" sz="1200" b="0" i="0" u="none" strike="noStrike" kern="1200" cap="none" spc="0" normalizeH="0" baseline="0" noProof="0" dirty="0" err="1">
                      <a:ln>
                        <a:noFill/>
                      </a:ln>
                      <a:solidFill>
                        <a:srgbClr val="000000">
                          <a:lumMod val="65000"/>
                          <a:lumOff val="35000"/>
                        </a:srgbClr>
                      </a:solidFill>
                      <a:effectLst/>
                      <a:uLnTx/>
                      <a:uFillTx/>
                      <a:latin typeface="等线 Light" panose="020F0302020204030204"/>
                      <a:ea typeface="+mn-ea"/>
                      <a:cs typeface="+mn-cs"/>
                    </a:rPr>
                    <a:t>adipiscing</a:t>
                  </a:r>
                  <a:r>
                    <a:rPr kumimoji="0" lang="en-US" sz="1200" b="0" i="0" u="none" strike="noStrike" kern="1200" cap="none" spc="0" normalizeH="0" baseline="0" noProof="0" dirty="0">
                      <a:ln>
                        <a:noFill/>
                      </a:ln>
                      <a:solidFill>
                        <a:srgbClr val="000000">
                          <a:lumMod val="65000"/>
                          <a:lumOff val="35000"/>
                        </a:srgbClr>
                      </a:solidFill>
                      <a:effectLst/>
                      <a:uLnTx/>
                      <a:uFillTx/>
                      <a:latin typeface="等线 Light" panose="020F0302020204030204"/>
                      <a:ea typeface="+mn-ea"/>
                      <a:cs typeface="+mn-cs"/>
                    </a:rPr>
                    <a:t> </a:t>
                  </a:r>
                  <a:r>
                    <a:rPr kumimoji="0" lang="en-US" sz="1200" b="0" i="0" u="none" strike="noStrike" kern="1200" cap="none" spc="0" normalizeH="0" baseline="0" noProof="0" dirty="0" err="1">
                      <a:ln>
                        <a:noFill/>
                      </a:ln>
                      <a:solidFill>
                        <a:srgbClr val="000000">
                          <a:lumMod val="65000"/>
                          <a:lumOff val="35000"/>
                        </a:srgbClr>
                      </a:solidFill>
                      <a:effectLst/>
                      <a:uLnTx/>
                      <a:uFillTx/>
                      <a:latin typeface="等线 Light" panose="020F0302020204030204"/>
                      <a:ea typeface="+mn-ea"/>
                      <a:cs typeface="+mn-cs"/>
                    </a:rPr>
                    <a:t>elit</a:t>
                  </a:r>
                  <a:r>
                    <a:rPr kumimoji="0" lang="en-US" sz="1200" b="0" i="0" u="none" strike="noStrike" kern="1200" cap="none" spc="0" normalizeH="0" baseline="0" noProof="0" dirty="0">
                      <a:ln>
                        <a:noFill/>
                      </a:ln>
                      <a:solidFill>
                        <a:srgbClr val="000000">
                          <a:lumMod val="65000"/>
                          <a:lumOff val="35000"/>
                        </a:srgbClr>
                      </a:solidFill>
                      <a:effectLst/>
                      <a:uLnTx/>
                      <a:uFillTx/>
                      <a:latin typeface="等线 Light" panose="020F0302020204030204"/>
                      <a:ea typeface="+mn-ea"/>
                      <a:cs typeface="+mn-cs"/>
                    </a:rPr>
                    <a:t>, </a:t>
                  </a:r>
                </a:p>
              </p:txBody>
            </p:sp>
            <p:sp>
              <p:nvSpPr>
                <p:cNvPr id="76" name="Rectangle: Rounded Corners 37">
                  <a:extLst>
                    <a:ext uri="{FF2B5EF4-FFF2-40B4-BE49-F238E27FC236}">
                      <a16:creationId xmlns:a16="http://schemas.microsoft.com/office/drawing/2014/main" id="{E8C56B54-39A4-4660-95ED-7C5C2BE393EC}"/>
                    </a:ext>
                  </a:extLst>
                </p:cNvPr>
                <p:cNvSpPr/>
                <p:nvPr/>
              </p:nvSpPr>
              <p:spPr>
                <a:xfrm>
                  <a:off x="1399761" y="4504343"/>
                  <a:ext cx="1292932" cy="392113"/>
                </a:xfrm>
                <a:prstGeom prst="roundRect">
                  <a:avLst>
                    <a:gd name="adj" fmla="val 5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等线" panose="020F0502020204030204"/>
                      <a:ea typeface="+mn-ea"/>
                      <a:cs typeface="+mn-cs"/>
                    </a:rPr>
                    <a:t>Options One</a:t>
                  </a:r>
                </a:p>
              </p:txBody>
            </p:sp>
          </p:grpSp>
          <p:grpSp>
            <p:nvGrpSpPr>
              <p:cNvPr id="63" name="Group 24">
                <a:extLst>
                  <a:ext uri="{FF2B5EF4-FFF2-40B4-BE49-F238E27FC236}">
                    <a16:creationId xmlns:a16="http://schemas.microsoft.com/office/drawing/2014/main" id="{FAEEC29B-5A2D-4C57-BF1C-0E41D2E6B696}"/>
                  </a:ext>
                </a:extLst>
              </p:cNvPr>
              <p:cNvGrpSpPr/>
              <p:nvPr/>
            </p:nvGrpSpPr>
            <p:grpSpPr>
              <a:xfrm>
                <a:off x="3004779" y="5531639"/>
                <a:ext cx="1999968" cy="996962"/>
                <a:chOff x="1046243" y="4504343"/>
                <a:chExt cx="1999968" cy="996962"/>
              </a:xfrm>
            </p:grpSpPr>
            <p:sp>
              <p:nvSpPr>
                <p:cNvPr id="73" name="TextBox 34">
                  <a:extLst>
                    <a:ext uri="{FF2B5EF4-FFF2-40B4-BE49-F238E27FC236}">
                      <a16:creationId xmlns:a16="http://schemas.microsoft.com/office/drawing/2014/main" id="{A6CB0738-2300-4185-824B-18EF38AF26DE}"/>
                    </a:ext>
                  </a:extLst>
                </p:cNvPr>
                <p:cNvSpPr txBox="1"/>
                <p:nvPr/>
              </p:nvSpPr>
              <p:spPr>
                <a:xfrm>
                  <a:off x="1046243" y="4915888"/>
                  <a:ext cx="1999968" cy="585417"/>
                </a:xfrm>
                <a:prstGeom prst="rect">
                  <a:avLst/>
                </a:prstGeom>
                <a:noFill/>
              </p:spPr>
              <p:txBody>
                <a:bodyPr wrap="square" rtlCol="0">
                  <a:spAutoFit/>
                </a:bodyPr>
                <a:lstStyle/>
                <a:p>
                  <a:pPr marL="0" marR="0" lvl="0" indent="0" algn="ctr" defTabSz="914400" rtl="0" eaLnBrk="1" fontAlgn="auto" latinLnBrk="0" hangingPunct="1">
                    <a:lnSpc>
                      <a:spcPct val="14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lumMod val="65000"/>
                          <a:lumOff val="35000"/>
                        </a:srgbClr>
                      </a:solidFill>
                      <a:effectLst/>
                      <a:uLnTx/>
                      <a:uFillTx/>
                      <a:latin typeface="等线 Light" panose="020F0302020204030204"/>
                      <a:ea typeface="+mn-ea"/>
                      <a:cs typeface="+mn-cs"/>
                    </a:rPr>
                    <a:t>Lorem ipsum dolor sit </a:t>
                  </a:r>
                  <a:r>
                    <a:rPr kumimoji="0" lang="en-US" sz="1200" b="0" i="0" u="none" strike="noStrike" kern="1200" cap="none" spc="0" normalizeH="0" baseline="0" noProof="0" dirty="0" err="1">
                      <a:ln>
                        <a:noFill/>
                      </a:ln>
                      <a:solidFill>
                        <a:srgbClr val="000000">
                          <a:lumMod val="65000"/>
                          <a:lumOff val="35000"/>
                        </a:srgbClr>
                      </a:solidFill>
                      <a:effectLst/>
                      <a:uLnTx/>
                      <a:uFillTx/>
                      <a:latin typeface="等线 Light" panose="020F0302020204030204"/>
                      <a:ea typeface="+mn-ea"/>
                      <a:cs typeface="+mn-cs"/>
                    </a:rPr>
                    <a:t>amet</a:t>
                  </a:r>
                  <a:r>
                    <a:rPr kumimoji="0" lang="en-US" sz="1200" b="0" i="0" u="none" strike="noStrike" kern="1200" cap="none" spc="0" normalizeH="0" baseline="0" noProof="0" dirty="0">
                      <a:ln>
                        <a:noFill/>
                      </a:ln>
                      <a:solidFill>
                        <a:srgbClr val="000000">
                          <a:lumMod val="65000"/>
                          <a:lumOff val="35000"/>
                        </a:srgbClr>
                      </a:solidFill>
                      <a:effectLst/>
                      <a:uLnTx/>
                      <a:uFillTx/>
                      <a:latin typeface="等线 Light" panose="020F0302020204030204"/>
                      <a:ea typeface="+mn-ea"/>
                      <a:cs typeface="+mn-cs"/>
                    </a:rPr>
                    <a:t>, </a:t>
                  </a:r>
                  <a:r>
                    <a:rPr kumimoji="0" lang="en-US" sz="1200" b="0" i="0" u="none" strike="noStrike" kern="1200" cap="none" spc="0" normalizeH="0" baseline="0" noProof="0" dirty="0" err="1">
                      <a:ln>
                        <a:noFill/>
                      </a:ln>
                      <a:solidFill>
                        <a:srgbClr val="000000">
                          <a:lumMod val="65000"/>
                          <a:lumOff val="35000"/>
                        </a:srgbClr>
                      </a:solidFill>
                      <a:effectLst/>
                      <a:uLnTx/>
                      <a:uFillTx/>
                      <a:latin typeface="等线 Light" panose="020F0302020204030204"/>
                      <a:ea typeface="+mn-ea"/>
                      <a:cs typeface="+mn-cs"/>
                    </a:rPr>
                    <a:t>consectetur</a:t>
                  </a:r>
                  <a:r>
                    <a:rPr kumimoji="0" lang="en-US" sz="1200" b="0" i="0" u="none" strike="noStrike" kern="1200" cap="none" spc="0" normalizeH="0" baseline="0" noProof="0" dirty="0">
                      <a:ln>
                        <a:noFill/>
                      </a:ln>
                      <a:solidFill>
                        <a:srgbClr val="000000">
                          <a:lumMod val="65000"/>
                          <a:lumOff val="35000"/>
                        </a:srgbClr>
                      </a:solidFill>
                      <a:effectLst/>
                      <a:uLnTx/>
                      <a:uFillTx/>
                      <a:latin typeface="等线 Light" panose="020F0302020204030204"/>
                      <a:ea typeface="+mn-ea"/>
                      <a:cs typeface="+mn-cs"/>
                    </a:rPr>
                    <a:t> </a:t>
                  </a:r>
                  <a:r>
                    <a:rPr kumimoji="0" lang="en-US" sz="1200" b="0" i="0" u="none" strike="noStrike" kern="1200" cap="none" spc="0" normalizeH="0" baseline="0" noProof="0" dirty="0" err="1">
                      <a:ln>
                        <a:noFill/>
                      </a:ln>
                      <a:solidFill>
                        <a:srgbClr val="000000">
                          <a:lumMod val="65000"/>
                          <a:lumOff val="35000"/>
                        </a:srgbClr>
                      </a:solidFill>
                      <a:effectLst/>
                      <a:uLnTx/>
                      <a:uFillTx/>
                      <a:latin typeface="等线 Light" panose="020F0302020204030204"/>
                      <a:ea typeface="+mn-ea"/>
                      <a:cs typeface="+mn-cs"/>
                    </a:rPr>
                    <a:t>adipiscing</a:t>
                  </a:r>
                  <a:r>
                    <a:rPr kumimoji="0" lang="en-US" sz="1200" b="0" i="0" u="none" strike="noStrike" kern="1200" cap="none" spc="0" normalizeH="0" baseline="0" noProof="0" dirty="0">
                      <a:ln>
                        <a:noFill/>
                      </a:ln>
                      <a:solidFill>
                        <a:srgbClr val="000000">
                          <a:lumMod val="65000"/>
                          <a:lumOff val="35000"/>
                        </a:srgbClr>
                      </a:solidFill>
                      <a:effectLst/>
                      <a:uLnTx/>
                      <a:uFillTx/>
                      <a:latin typeface="等线 Light" panose="020F0302020204030204"/>
                      <a:ea typeface="+mn-ea"/>
                      <a:cs typeface="+mn-cs"/>
                    </a:rPr>
                    <a:t> </a:t>
                  </a:r>
                  <a:r>
                    <a:rPr kumimoji="0" lang="en-US" sz="1200" b="0" i="0" u="none" strike="noStrike" kern="1200" cap="none" spc="0" normalizeH="0" baseline="0" noProof="0" dirty="0" err="1">
                      <a:ln>
                        <a:noFill/>
                      </a:ln>
                      <a:solidFill>
                        <a:srgbClr val="000000">
                          <a:lumMod val="65000"/>
                          <a:lumOff val="35000"/>
                        </a:srgbClr>
                      </a:solidFill>
                      <a:effectLst/>
                      <a:uLnTx/>
                      <a:uFillTx/>
                      <a:latin typeface="等线 Light" panose="020F0302020204030204"/>
                      <a:ea typeface="+mn-ea"/>
                      <a:cs typeface="+mn-cs"/>
                    </a:rPr>
                    <a:t>elit</a:t>
                  </a:r>
                  <a:r>
                    <a:rPr kumimoji="0" lang="en-US" sz="1200" b="0" i="0" u="none" strike="noStrike" kern="1200" cap="none" spc="0" normalizeH="0" baseline="0" noProof="0" dirty="0">
                      <a:ln>
                        <a:noFill/>
                      </a:ln>
                      <a:solidFill>
                        <a:srgbClr val="000000">
                          <a:lumMod val="65000"/>
                          <a:lumOff val="35000"/>
                        </a:srgbClr>
                      </a:solidFill>
                      <a:effectLst/>
                      <a:uLnTx/>
                      <a:uFillTx/>
                      <a:latin typeface="等线 Light" panose="020F0302020204030204"/>
                      <a:ea typeface="+mn-ea"/>
                      <a:cs typeface="+mn-cs"/>
                    </a:rPr>
                    <a:t>, </a:t>
                  </a:r>
                </a:p>
              </p:txBody>
            </p:sp>
            <p:sp>
              <p:nvSpPr>
                <p:cNvPr id="74" name="Rectangle: Rounded Corners 35">
                  <a:extLst>
                    <a:ext uri="{FF2B5EF4-FFF2-40B4-BE49-F238E27FC236}">
                      <a16:creationId xmlns:a16="http://schemas.microsoft.com/office/drawing/2014/main" id="{8EE7C4E9-E9EC-4511-AC67-29ABBE8BD205}"/>
                    </a:ext>
                  </a:extLst>
                </p:cNvPr>
                <p:cNvSpPr/>
                <p:nvPr/>
              </p:nvSpPr>
              <p:spPr>
                <a:xfrm>
                  <a:off x="1399761" y="4504343"/>
                  <a:ext cx="1292932" cy="392113"/>
                </a:xfrm>
                <a:prstGeom prst="roundRect">
                  <a:avLst>
                    <a:gd name="adj" fmla="val 5000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等线" panose="020F0502020204030204"/>
                      <a:ea typeface="+mn-ea"/>
                      <a:cs typeface="+mn-cs"/>
                    </a:rPr>
                    <a:t>Options Two</a:t>
                  </a:r>
                </a:p>
              </p:txBody>
            </p:sp>
          </p:grpSp>
          <p:grpSp>
            <p:nvGrpSpPr>
              <p:cNvPr id="64" name="Group 25">
                <a:extLst>
                  <a:ext uri="{FF2B5EF4-FFF2-40B4-BE49-F238E27FC236}">
                    <a16:creationId xmlns:a16="http://schemas.microsoft.com/office/drawing/2014/main" id="{A9CB83DF-75E9-4539-AA72-9A3483DA18DF}"/>
                  </a:ext>
                </a:extLst>
              </p:cNvPr>
              <p:cNvGrpSpPr/>
              <p:nvPr/>
            </p:nvGrpSpPr>
            <p:grpSpPr>
              <a:xfrm>
                <a:off x="5096016" y="5531639"/>
                <a:ext cx="1999968" cy="996962"/>
                <a:chOff x="1046243" y="4504343"/>
                <a:chExt cx="1999968" cy="996962"/>
              </a:xfrm>
            </p:grpSpPr>
            <p:sp>
              <p:nvSpPr>
                <p:cNvPr id="71" name="TextBox 32">
                  <a:extLst>
                    <a:ext uri="{FF2B5EF4-FFF2-40B4-BE49-F238E27FC236}">
                      <a16:creationId xmlns:a16="http://schemas.microsoft.com/office/drawing/2014/main" id="{03ADCFE3-F886-4B33-B994-9059757BDE33}"/>
                    </a:ext>
                  </a:extLst>
                </p:cNvPr>
                <p:cNvSpPr txBox="1"/>
                <p:nvPr/>
              </p:nvSpPr>
              <p:spPr>
                <a:xfrm>
                  <a:off x="1046243" y="4915888"/>
                  <a:ext cx="1999968" cy="585417"/>
                </a:xfrm>
                <a:prstGeom prst="rect">
                  <a:avLst/>
                </a:prstGeom>
                <a:noFill/>
              </p:spPr>
              <p:txBody>
                <a:bodyPr wrap="square" rtlCol="0">
                  <a:spAutoFit/>
                </a:bodyPr>
                <a:lstStyle/>
                <a:p>
                  <a:pPr marL="0" marR="0" lvl="0" indent="0" algn="ctr" defTabSz="914400" rtl="0" eaLnBrk="1" fontAlgn="auto" latinLnBrk="0" hangingPunct="1">
                    <a:lnSpc>
                      <a:spcPct val="14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lumMod val="65000"/>
                          <a:lumOff val="35000"/>
                        </a:srgbClr>
                      </a:solidFill>
                      <a:effectLst/>
                      <a:uLnTx/>
                      <a:uFillTx/>
                      <a:latin typeface="等线 Light" panose="020F0302020204030204"/>
                      <a:ea typeface="+mn-ea"/>
                      <a:cs typeface="+mn-cs"/>
                    </a:rPr>
                    <a:t>Lorem ipsum dolor sit </a:t>
                  </a:r>
                  <a:r>
                    <a:rPr kumimoji="0" lang="en-US" sz="1200" b="0" i="0" u="none" strike="noStrike" kern="1200" cap="none" spc="0" normalizeH="0" baseline="0" noProof="0" dirty="0" err="1">
                      <a:ln>
                        <a:noFill/>
                      </a:ln>
                      <a:solidFill>
                        <a:srgbClr val="000000">
                          <a:lumMod val="65000"/>
                          <a:lumOff val="35000"/>
                        </a:srgbClr>
                      </a:solidFill>
                      <a:effectLst/>
                      <a:uLnTx/>
                      <a:uFillTx/>
                      <a:latin typeface="等线 Light" panose="020F0302020204030204"/>
                      <a:ea typeface="+mn-ea"/>
                      <a:cs typeface="+mn-cs"/>
                    </a:rPr>
                    <a:t>amet</a:t>
                  </a:r>
                  <a:r>
                    <a:rPr kumimoji="0" lang="en-US" sz="1200" b="0" i="0" u="none" strike="noStrike" kern="1200" cap="none" spc="0" normalizeH="0" baseline="0" noProof="0" dirty="0">
                      <a:ln>
                        <a:noFill/>
                      </a:ln>
                      <a:solidFill>
                        <a:srgbClr val="000000">
                          <a:lumMod val="65000"/>
                          <a:lumOff val="35000"/>
                        </a:srgbClr>
                      </a:solidFill>
                      <a:effectLst/>
                      <a:uLnTx/>
                      <a:uFillTx/>
                      <a:latin typeface="等线 Light" panose="020F0302020204030204"/>
                      <a:ea typeface="+mn-ea"/>
                      <a:cs typeface="+mn-cs"/>
                    </a:rPr>
                    <a:t>, </a:t>
                  </a:r>
                  <a:r>
                    <a:rPr kumimoji="0" lang="en-US" sz="1200" b="0" i="0" u="none" strike="noStrike" kern="1200" cap="none" spc="0" normalizeH="0" baseline="0" noProof="0" dirty="0" err="1">
                      <a:ln>
                        <a:noFill/>
                      </a:ln>
                      <a:solidFill>
                        <a:srgbClr val="000000">
                          <a:lumMod val="65000"/>
                          <a:lumOff val="35000"/>
                        </a:srgbClr>
                      </a:solidFill>
                      <a:effectLst/>
                      <a:uLnTx/>
                      <a:uFillTx/>
                      <a:latin typeface="等线 Light" panose="020F0302020204030204"/>
                      <a:ea typeface="+mn-ea"/>
                      <a:cs typeface="+mn-cs"/>
                    </a:rPr>
                    <a:t>consectetur</a:t>
                  </a:r>
                  <a:r>
                    <a:rPr kumimoji="0" lang="en-US" sz="1200" b="0" i="0" u="none" strike="noStrike" kern="1200" cap="none" spc="0" normalizeH="0" baseline="0" noProof="0" dirty="0">
                      <a:ln>
                        <a:noFill/>
                      </a:ln>
                      <a:solidFill>
                        <a:srgbClr val="000000">
                          <a:lumMod val="65000"/>
                          <a:lumOff val="35000"/>
                        </a:srgbClr>
                      </a:solidFill>
                      <a:effectLst/>
                      <a:uLnTx/>
                      <a:uFillTx/>
                      <a:latin typeface="等线 Light" panose="020F0302020204030204"/>
                      <a:ea typeface="+mn-ea"/>
                      <a:cs typeface="+mn-cs"/>
                    </a:rPr>
                    <a:t> </a:t>
                  </a:r>
                  <a:r>
                    <a:rPr kumimoji="0" lang="en-US" sz="1200" b="0" i="0" u="none" strike="noStrike" kern="1200" cap="none" spc="0" normalizeH="0" baseline="0" noProof="0" dirty="0" err="1">
                      <a:ln>
                        <a:noFill/>
                      </a:ln>
                      <a:solidFill>
                        <a:srgbClr val="000000">
                          <a:lumMod val="65000"/>
                          <a:lumOff val="35000"/>
                        </a:srgbClr>
                      </a:solidFill>
                      <a:effectLst/>
                      <a:uLnTx/>
                      <a:uFillTx/>
                      <a:latin typeface="等线 Light" panose="020F0302020204030204"/>
                      <a:ea typeface="+mn-ea"/>
                      <a:cs typeface="+mn-cs"/>
                    </a:rPr>
                    <a:t>adipiscing</a:t>
                  </a:r>
                  <a:r>
                    <a:rPr kumimoji="0" lang="en-US" sz="1200" b="0" i="0" u="none" strike="noStrike" kern="1200" cap="none" spc="0" normalizeH="0" baseline="0" noProof="0" dirty="0">
                      <a:ln>
                        <a:noFill/>
                      </a:ln>
                      <a:solidFill>
                        <a:srgbClr val="000000">
                          <a:lumMod val="65000"/>
                          <a:lumOff val="35000"/>
                        </a:srgbClr>
                      </a:solidFill>
                      <a:effectLst/>
                      <a:uLnTx/>
                      <a:uFillTx/>
                      <a:latin typeface="等线 Light" panose="020F0302020204030204"/>
                      <a:ea typeface="+mn-ea"/>
                      <a:cs typeface="+mn-cs"/>
                    </a:rPr>
                    <a:t> </a:t>
                  </a:r>
                  <a:r>
                    <a:rPr kumimoji="0" lang="en-US" sz="1200" b="0" i="0" u="none" strike="noStrike" kern="1200" cap="none" spc="0" normalizeH="0" baseline="0" noProof="0" dirty="0" err="1">
                      <a:ln>
                        <a:noFill/>
                      </a:ln>
                      <a:solidFill>
                        <a:srgbClr val="000000">
                          <a:lumMod val="65000"/>
                          <a:lumOff val="35000"/>
                        </a:srgbClr>
                      </a:solidFill>
                      <a:effectLst/>
                      <a:uLnTx/>
                      <a:uFillTx/>
                      <a:latin typeface="等线 Light" panose="020F0302020204030204"/>
                      <a:ea typeface="+mn-ea"/>
                      <a:cs typeface="+mn-cs"/>
                    </a:rPr>
                    <a:t>elit</a:t>
                  </a:r>
                  <a:r>
                    <a:rPr kumimoji="0" lang="en-US" sz="1200" b="0" i="0" u="none" strike="noStrike" kern="1200" cap="none" spc="0" normalizeH="0" baseline="0" noProof="0" dirty="0">
                      <a:ln>
                        <a:noFill/>
                      </a:ln>
                      <a:solidFill>
                        <a:srgbClr val="000000">
                          <a:lumMod val="65000"/>
                          <a:lumOff val="35000"/>
                        </a:srgbClr>
                      </a:solidFill>
                      <a:effectLst/>
                      <a:uLnTx/>
                      <a:uFillTx/>
                      <a:latin typeface="等线 Light" panose="020F0302020204030204"/>
                      <a:ea typeface="+mn-ea"/>
                      <a:cs typeface="+mn-cs"/>
                    </a:rPr>
                    <a:t>, </a:t>
                  </a:r>
                </a:p>
              </p:txBody>
            </p:sp>
            <p:sp>
              <p:nvSpPr>
                <p:cNvPr id="72" name="Rectangle: Rounded Corners 33">
                  <a:extLst>
                    <a:ext uri="{FF2B5EF4-FFF2-40B4-BE49-F238E27FC236}">
                      <a16:creationId xmlns:a16="http://schemas.microsoft.com/office/drawing/2014/main" id="{0EC02A64-E35F-419D-B9E7-F289E791D754}"/>
                    </a:ext>
                  </a:extLst>
                </p:cNvPr>
                <p:cNvSpPr/>
                <p:nvPr/>
              </p:nvSpPr>
              <p:spPr>
                <a:xfrm>
                  <a:off x="1348285" y="4504343"/>
                  <a:ext cx="1395884" cy="392113"/>
                </a:xfrm>
                <a:prstGeom prst="roundRect">
                  <a:avLst>
                    <a:gd name="adj" fmla="val 5000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等线" panose="020F0502020204030204"/>
                      <a:ea typeface="+mn-ea"/>
                      <a:cs typeface="+mn-cs"/>
                    </a:rPr>
                    <a:t>Options Three</a:t>
                  </a:r>
                </a:p>
              </p:txBody>
            </p:sp>
          </p:grpSp>
          <p:grpSp>
            <p:nvGrpSpPr>
              <p:cNvPr id="65" name="Group 26">
                <a:extLst>
                  <a:ext uri="{FF2B5EF4-FFF2-40B4-BE49-F238E27FC236}">
                    <a16:creationId xmlns:a16="http://schemas.microsoft.com/office/drawing/2014/main" id="{65403476-2749-4FD4-8A6C-D89FB5E95698}"/>
                  </a:ext>
                </a:extLst>
              </p:cNvPr>
              <p:cNvGrpSpPr/>
              <p:nvPr/>
            </p:nvGrpSpPr>
            <p:grpSpPr>
              <a:xfrm>
                <a:off x="7187253" y="5531639"/>
                <a:ext cx="1999968" cy="996962"/>
                <a:chOff x="1046243" y="4504343"/>
                <a:chExt cx="1999968" cy="996962"/>
              </a:xfrm>
            </p:grpSpPr>
            <p:sp>
              <p:nvSpPr>
                <p:cNvPr id="69" name="TextBox 30">
                  <a:extLst>
                    <a:ext uri="{FF2B5EF4-FFF2-40B4-BE49-F238E27FC236}">
                      <a16:creationId xmlns:a16="http://schemas.microsoft.com/office/drawing/2014/main" id="{D3E01287-F85A-4901-8D7B-DA0B3DBF70D1}"/>
                    </a:ext>
                  </a:extLst>
                </p:cNvPr>
                <p:cNvSpPr txBox="1"/>
                <p:nvPr/>
              </p:nvSpPr>
              <p:spPr>
                <a:xfrm>
                  <a:off x="1046243" y="4915888"/>
                  <a:ext cx="1999968" cy="585417"/>
                </a:xfrm>
                <a:prstGeom prst="rect">
                  <a:avLst/>
                </a:prstGeom>
                <a:noFill/>
              </p:spPr>
              <p:txBody>
                <a:bodyPr wrap="square" rtlCol="0">
                  <a:spAutoFit/>
                </a:bodyPr>
                <a:lstStyle/>
                <a:p>
                  <a:pPr marL="0" marR="0" lvl="0" indent="0" algn="ctr" defTabSz="914400" rtl="0" eaLnBrk="1" fontAlgn="auto" latinLnBrk="0" hangingPunct="1">
                    <a:lnSpc>
                      <a:spcPct val="14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lumMod val="65000"/>
                          <a:lumOff val="35000"/>
                        </a:srgbClr>
                      </a:solidFill>
                      <a:effectLst/>
                      <a:uLnTx/>
                      <a:uFillTx/>
                      <a:latin typeface="等线 Light" panose="020F0302020204030204"/>
                      <a:ea typeface="+mn-ea"/>
                      <a:cs typeface="+mn-cs"/>
                    </a:rPr>
                    <a:t>Lorem ipsum dolor sit </a:t>
                  </a:r>
                  <a:r>
                    <a:rPr kumimoji="0" lang="en-US" sz="1200" b="0" i="0" u="none" strike="noStrike" kern="1200" cap="none" spc="0" normalizeH="0" baseline="0" noProof="0" dirty="0" err="1">
                      <a:ln>
                        <a:noFill/>
                      </a:ln>
                      <a:solidFill>
                        <a:srgbClr val="000000">
                          <a:lumMod val="65000"/>
                          <a:lumOff val="35000"/>
                        </a:srgbClr>
                      </a:solidFill>
                      <a:effectLst/>
                      <a:uLnTx/>
                      <a:uFillTx/>
                      <a:latin typeface="等线 Light" panose="020F0302020204030204"/>
                      <a:ea typeface="+mn-ea"/>
                      <a:cs typeface="+mn-cs"/>
                    </a:rPr>
                    <a:t>amet</a:t>
                  </a:r>
                  <a:r>
                    <a:rPr kumimoji="0" lang="en-US" sz="1200" b="0" i="0" u="none" strike="noStrike" kern="1200" cap="none" spc="0" normalizeH="0" baseline="0" noProof="0" dirty="0">
                      <a:ln>
                        <a:noFill/>
                      </a:ln>
                      <a:solidFill>
                        <a:srgbClr val="000000">
                          <a:lumMod val="65000"/>
                          <a:lumOff val="35000"/>
                        </a:srgbClr>
                      </a:solidFill>
                      <a:effectLst/>
                      <a:uLnTx/>
                      <a:uFillTx/>
                      <a:latin typeface="等线 Light" panose="020F0302020204030204"/>
                      <a:ea typeface="+mn-ea"/>
                      <a:cs typeface="+mn-cs"/>
                    </a:rPr>
                    <a:t>, </a:t>
                  </a:r>
                  <a:r>
                    <a:rPr kumimoji="0" lang="en-US" sz="1200" b="0" i="0" u="none" strike="noStrike" kern="1200" cap="none" spc="0" normalizeH="0" baseline="0" noProof="0" dirty="0" err="1">
                      <a:ln>
                        <a:noFill/>
                      </a:ln>
                      <a:solidFill>
                        <a:srgbClr val="000000">
                          <a:lumMod val="65000"/>
                          <a:lumOff val="35000"/>
                        </a:srgbClr>
                      </a:solidFill>
                      <a:effectLst/>
                      <a:uLnTx/>
                      <a:uFillTx/>
                      <a:latin typeface="等线 Light" panose="020F0302020204030204"/>
                      <a:ea typeface="+mn-ea"/>
                      <a:cs typeface="+mn-cs"/>
                    </a:rPr>
                    <a:t>consectetur</a:t>
                  </a:r>
                  <a:r>
                    <a:rPr kumimoji="0" lang="en-US" sz="1200" b="0" i="0" u="none" strike="noStrike" kern="1200" cap="none" spc="0" normalizeH="0" baseline="0" noProof="0" dirty="0">
                      <a:ln>
                        <a:noFill/>
                      </a:ln>
                      <a:solidFill>
                        <a:srgbClr val="000000">
                          <a:lumMod val="65000"/>
                          <a:lumOff val="35000"/>
                        </a:srgbClr>
                      </a:solidFill>
                      <a:effectLst/>
                      <a:uLnTx/>
                      <a:uFillTx/>
                      <a:latin typeface="等线 Light" panose="020F0302020204030204"/>
                      <a:ea typeface="+mn-ea"/>
                      <a:cs typeface="+mn-cs"/>
                    </a:rPr>
                    <a:t> </a:t>
                  </a:r>
                  <a:r>
                    <a:rPr kumimoji="0" lang="en-US" sz="1200" b="0" i="0" u="none" strike="noStrike" kern="1200" cap="none" spc="0" normalizeH="0" baseline="0" noProof="0" dirty="0" err="1">
                      <a:ln>
                        <a:noFill/>
                      </a:ln>
                      <a:solidFill>
                        <a:srgbClr val="000000">
                          <a:lumMod val="65000"/>
                          <a:lumOff val="35000"/>
                        </a:srgbClr>
                      </a:solidFill>
                      <a:effectLst/>
                      <a:uLnTx/>
                      <a:uFillTx/>
                      <a:latin typeface="等线 Light" panose="020F0302020204030204"/>
                      <a:ea typeface="+mn-ea"/>
                      <a:cs typeface="+mn-cs"/>
                    </a:rPr>
                    <a:t>adipiscing</a:t>
                  </a:r>
                  <a:r>
                    <a:rPr kumimoji="0" lang="en-US" sz="1200" b="0" i="0" u="none" strike="noStrike" kern="1200" cap="none" spc="0" normalizeH="0" baseline="0" noProof="0" dirty="0">
                      <a:ln>
                        <a:noFill/>
                      </a:ln>
                      <a:solidFill>
                        <a:srgbClr val="000000">
                          <a:lumMod val="65000"/>
                          <a:lumOff val="35000"/>
                        </a:srgbClr>
                      </a:solidFill>
                      <a:effectLst/>
                      <a:uLnTx/>
                      <a:uFillTx/>
                      <a:latin typeface="等线 Light" panose="020F0302020204030204"/>
                      <a:ea typeface="+mn-ea"/>
                      <a:cs typeface="+mn-cs"/>
                    </a:rPr>
                    <a:t> </a:t>
                  </a:r>
                  <a:r>
                    <a:rPr kumimoji="0" lang="en-US" sz="1200" b="0" i="0" u="none" strike="noStrike" kern="1200" cap="none" spc="0" normalizeH="0" baseline="0" noProof="0" dirty="0" err="1">
                      <a:ln>
                        <a:noFill/>
                      </a:ln>
                      <a:solidFill>
                        <a:srgbClr val="000000">
                          <a:lumMod val="65000"/>
                          <a:lumOff val="35000"/>
                        </a:srgbClr>
                      </a:solidFill>
                      <a:effectLst/>
                      <a:uLnTx/>
                      <a:uFillTx/>
                      <a:latin typeface="等线 Light" panose="020F0302020204030204"/>
                      <a:ea typeface="+mn-ea"/>
                      <a:cs typeface="+mn-cs"/>
                    </a:rPr>
                    <a:t>elit</a:t>
                  </a:r>
                  <a:r>
                    <a:rPr kumimoji="0" lang="en-US" sz="1200" b="0" i="0" u="none" strike="noStrike" kern="1200" cap="none" spc="0" normalizeH="0" baseline="0" noProof="0" dirty="0">
                      <a:ln>
                        <a:noFill/>
                      </a:ln>
                      <a:solidFill>
                        <a:srgbClr val="000000">
                          <a:lumMod val="65000"/>
                          <a:lumOff val="35000"/>
                        </a:srgbClr>
                      </a:solidFill>
                      <a:effectLst/>
                      <a:uLnTx/>
                      <a:uFillTx/>
                      <a:latin typeface="等线 Light" panose="020F0302020204030204"/>
                      <a:ea typeface="+mn-ea"/>
                      <a:cs typeface="+mn-cs"/>
                    </a:rPr>
                    <a:t>, </a:t>
                  </a:r>
                </a:p>
              </p:txBody>
            </p:sp>
            <p:sp>
              <p:nvSpPr>
                <p:cNvPr id="70" name="Rectangle: Rounded Corners 31">
                  <a:extLst>
                    <a:ext uri="{FF2B5EF4-FFF2-40B4-BE49-F238E27FC236}">
                      <a16:creationId xmlns:a16="http://schemas.microsoft.com/office/drawing/2014/main" id="{4700A82F-24E3-4065-9D42-9819D9935CC3}"/>
                    </a:ext>
                  </a:extLst>
                </p:cNvPr>
                <p:cNvSpPr/>
                <p:nvPr/>
              </p:nvSpPr>
              <p:spPr>
                <a:xfrm>
                  <a:off x="1399761" y="4504343"/>
                  <a:ext cx="1292932" cy="39211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等线" panose="020F0502020204030204"/>
                      <a:ea typeface="+mn-ea"/>
                      <a:cs typeface="+mn-cs"/>
                    </a:rPr>
                    <a:t>Options Four</a:t>
                  </a:r>
                </a:p>
              </p:txBody>
            </p:sp>
          </p:grpSp>
          <p:grpSp>
            <p:nvGrpSpPr>
              <p:cNvPr id="66" name="Group 27">
                <a:extLst>
                  <a:ext uri="{FF2B5EF4-FFF2-40B4-BE49-F238E27FC236}">
                    <a16:creationId xmlns:a16="http://schemas.microsoft.com/office/drawing/2014/main" id="{207937F9-1586-4D6B-9B2B-5E8D5FD7806F}"/>
                  </a:ext>
                </a:extLst>
              </p:cNvPr>
              <p:cNvGrpSpPr/>
              <p:nvPr/>
            </p:nvGrpSpPr>
            <p:grpSpPr>
              <a:xfrm>
                <a:off x="9278491" y="5531639"/>
                <a:ext cx="1999968" cy="996962"/>
                <a:chOff x="1046243" y="4504343"/>
                <a:chExt cx="1999968" cy="996962"/>
              </a:xfrm>
            </p:grpSpPr>
            <p:sp>
              <p:nvSpPr>
                <p:cNvPr id="67" name="TextBox 28">
                  <a:extLst>
                    <a:ext uri="{FF2B5EF4-FFF2-40B4-BE49-F238E27FC236}">
                      <a16:creationId xmlns:a16="http://schemas.microsoft.com/office/drawing/2014/main" id="{38D1820E-E826-436B-AE34-3D5C76937B46}"/>
                    </a:ext>
                  </a:extLst>
                </p:cNvPr>
                <p:cNvSpPr txBox="1"/>
                <p:nvPr/>
              </p:nvSpPr>
              <p:spPr>
                <a:xfrm>
                  <a:off x="1046243" y="4915888"/>
                  <a:ext cx="1999968" cy="585417"/>
                </a:xfrm>
                <a:prstGeom prst="rect">
                  <a:avLst/>
                </a:prstGeom>
                <a:noFill/>
              </p:spPr>
              <p:txBody>
                <a:bodyPr wrap="square" rtlCol="0">
                  <a:spAutoFit/>
                </a:bodyPr>
                <a:lstStyle/>
                <a:p>
                  <a:pPr marL="0" marR="0" lvl="0" indent="0" algn="ctr" defTabSz="914400" rtl="0" eaLnBrk="1" fontAlgn="auto" latinLnBrk="0" hangingPunct="1">
                    <a:lnSpc>
                      <a:spcPct val="14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lumMod val="65000"/>
                          <a:lumOff val="35000"/>
                        </a:srgbClr>
                      </a:solidFill>
                      <a:effectLst/>
                      <a:uLnTx/>
                      <a:uFillTx/>
                      <a:latin typeface="等线 Light" panose="020F0302020204030204"/>
                      <a:ea typeface="+mn-ea"/>
                      <a:cs typeface="+mn-cs"/>
                    </a:rPr>
                    <a:t>Lorem ipsum dolor sit </a:t>
                  </a:r>
                  <a:r>
                    <a:rPr kumimoji="0" lang="en-US" sz="1200" b="0" i="0" u="none" strike="noStrike" kern="1200" cap="none" spc="0" normalizeH="0" baseline="0" noProof="0" dirty="0" err="1">
                      <a:ln>
                        <a:noFill/>
                      </a:ln>
                      <a:solidFill>
                        <a:srgbClr val="000000">
                          <a:lumMod val="65000"/>
                          <a:lumOff val="35000"/>
                        </a:srgbClr>
                      </a:solidFill>
                      <a:effectLst/>
                      <a:uLnTx/>
                      <a:uFillTx/>
                      <a:latin typeface="等线 Light" panose="020F0302020204030204"/>
                      <a:ea typeface="+mn-ea"/>
                      <a:cs typeface="+mn-cs"/>
                    </a:rPr>
                    <a:t>amet</a:t>
                  </a:r>
                  <a:r>
                    <a:rPr kumimoji="0" lang="en-US" sz="1200" b="0" i="0" u="none" strike="noStrike" kern="1200" cap="none" spc="0" normalizeH="0" baseline="0" noProof="0" dirty="0">
                      <a:ln>
                        <a:noFill/>
                      </a:ln>
                      <a:solidFill>
                        <a:srgbClr val="000000">
                          <a:lumMod val="65000"/>
                          <a:lumOff val="35000"/>
                        </a:srgbClr>
                      </a:solidFill>
                      <a:effectLst/>
                      <a:uLnTx/>
                      <a:uFillTx/>
                      <a:latin typeface="等线 Light" panose="020F0302020204030204"/>
                      <a:ea typeface="+mn-ea"/>
                      <a:cs typeface="+mn-cs"/>
                    </a:rPr>
                    <a:t>, </a:t>
                  </a:r>
                  <a:r>
                    <a:rPr kumimoji="0" lang="en-US" sz="1200" b="0" i="0" u="none" strike="noStrike" kern="1200" cap="none" spc="0" normalizeH="0" baseline="0" noProof="0" dirty="0" err="1">
                      <a:ln>
                        <a:noFill/>
                      </a:ln>
                      <a:solidFill>
                        <a:srgbClr val="000000">
                          <a:lumMod val="65000"/>
                          <a:lumOff val="35000"/>
                        </a:srgbClr>
                      </a:solidFill>
                      <a:effectLst/>
                      <a:uLnTx/>
                      <a:uFillTx/>
                      <a:latin typeface="等线 Light" panose="020F0302020204030204"/>
                      <a:ea typeface="+mn-ea"/>
                      <a:cs typeface="+mn-cs"/>
                    </a:rPr>
                    <a:t>consectetur</a:t>
                  </a:r>
                  <a:r>
                    <a:rPr kumimoji="0" lang="en-US" sz="1200" b="0" i="0" u="none" strike="noStrike" kern="1200" cap="none" spc="0" normalizeH="0" baseline="0" noProof="0" dirty="0">
                      <a:ln>
                        <a:noFill/>
                      </a:ln>
                      <a:solidFill>
                        <a:srgbClr val="000000">
                          <a:lumMod val="65000"/>
                          <a:lumOff val="35000"/>
                        </a:srgbClr>
                      </a:solidFill>
                      <a:effectLst/>
                      <a:uLnTx/>
                      <a:uFillTx/>
                      <a:latin typeface="等线 Light" panose="020F0302020204030204"/>
                      <a:ea typeface="+mn-ea"/>
                      <a:cs typeface="+mn-cs"/>
                    </a:rPr>
                    <a:t> </a:t>
                  </a:r>
                  <a:r>
                    <a:rPr kumimoji="0" lang="en-US" sz="1200" b="0" i="0" u="none" strike="noStrike" kern="1200" cap="none" spc="0" normalizeH="0" baseline="0" noProof="0" dirty="0" err="1">
                      <a:ln>
                        <a:noFill/>
                      </a:ln>
                      <a:solidFill>
                        <a:srgbClr val="000000">
                          <a:lumMod val="65000"/>
                          <a:lumOff val="35000"/>
                        </a:srgbClr>
                      </a:solidFill>
                      <a:effectLst/>
                      <a:uLnTx/>
                      <a:uFillTx/>
                      <a:latin typeface="等线 Light" panose="020F0302020204030204"/>
                      <a:ea typeface="+mn-ea"/>
                      <a:cs typeface="+mn-cs"/>
                    </a:rPr>
                    <a:t>adipiscing</a:t>
                  </a:r>
                  <a:r>
                    <a:rPr kumimoji="0" lang="en-US" sz="1200" b="0" i="0" u="none" strike="noStrike" kern="1200" cap="none" spc="0" normalizeH="0" baseline="0" noProof="0" dirty="0">
                      <a:ln>
                        <a:noFill/>
                      </a:ln>
                      <a:solidFill>
                        <a:srgbClr val="000000">
                          <a:lumMod val="65000"/>
                          <a:lumOff val="35000"/>
                        </a:srgbClr>
                      </a:solidFill>
                      <a:effectLst/>
                      <a:uLnTx/>
                      <a:uFillTx/>
                      <a:latin typeface="等线 Light" panose="020F0302020204030204"/>
                      <a:ea typeface="+mn-ea"/>
                      <a:cs typeface="+mn-cs"/>
                    </a:rPr>
                    <a:t> </a:t>
                  </a:r>
                  <a:r>
                    <a:rPr kumimoji="0" lang="en-US" sz="1200" b="0" i="0" u="none" strike="noStrike" kern="1200" cap="none" spc="0" normalizeH="0" baseline="0" noProof="0" dirty="0" err="1">
                      <a:ln>
                        <a:noFill/>
                      </a:ln>
                      <a:solidFill>
                        <a:srgbClr val="000000">
                          <a:lumMod val="65000"/>
                          <a:lumOff val="35000"/>
                        </a:srgbClr>
                      </a:solidFill>
                      <a:effectLst/>
                      <a:uLnTx/>
                      <a:uFillTx/>
                      <a:latin typeface="等线 Light" panose="020F0302020204030204"/>
                      <a:ea typeface="+mn-ea"/>
                      <a:cs typeface="+mn-cs"/>
                    </a:rPr>
                    <a:t>elit</a:t>
                  </a:r>
                  <a:r>
                    <a:rPr kumimoji="0" lang="en-US" sz="1200" b="0" i="0" u="none" strike="noStrike" kern="1200" cap="none" spc="0" normalizeH="0" baseline="0" noProof="0" dirty="0">
                      <a:ln>
                        <a:noFill/>
                      </a:ln>
                      <a:solidFill>
                        <a:srgbClr val="000000">
                          <a:lumMod val="65000"/>
                          <a:lumOff val="35000"/>
                        </a:srgbClr>
                      </a:solidFill>
                      <a:effectLst/>
                      <a:uLnTx/>
                      <a:uFillTx/>
                      <a:latin typeface="等线 Light" panose="020F0302020204030204"/>
                      <a:ea typeface="+mn-ea"/>
                      <a:cs typeface="+mn-cs"/>
                    </a:rPr>
                    <a:t>, </a:t>
                  </a:r>
                </a:p>
              </p:txBody>
            </p:sp>
            <p:sp>
              <p:nvSpPr>
                <p:cNvPr id="68" name="Rectangle: Rounded Corners 29">
                  <a:extLst>
                    <a:ext uri="{FF2B5EF4-FFF2-40B4-BE49-F238E27FC236}">
                      <a16:creationId xmlns:a16="http://schemas.microsoft.com/office/drawing/2014/main" id="{5D5E2947-1A8B-42D8-9BD4-08C8EEB86E03}"/>
                    </a:ext>
                  </a:extLst>
                </p:cNvPr>
                <p:cNvSpPr/>
                <p:nvPr/>
              </p:nvSpPr>
              <p:spPr>
                <a:xfrm>
                  <a:off x="1399761" y="4504343"/>
                  <a:ext cx="1292932" cy="392113"/>
                </a:xfrm>
                <a:prstGeom prst="roundRect">
                  <a:avLst>
                    <a:gd name="adj" fmla="val 5000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等线" panose="020F0502020204030204"/>
                      <a:ea typeface="+mn-ea"/>
                      <a:cs typeface="+mn-cs"/>
                    </a:rPr>
                    <a:t>Options Five</a:t>
                  </a:r>
                </a:p>
              </p:txBody>
            </p:sp>
          </p:grpSp>
        </p:grpSp>
        <p:grpSp>
          <p:nvGrpSpPr>
            <p:cNvPr id="5" name="Group 185">
              <a:extLst>
                <a:ext uri="{FF2B5EF4-FFF2-40B4-BE49-F238E27FC236}">
                  <a16:creationId xmlns:a16="http://schemas.microsoft.com/office/drawing/2014/main" id="{E51EB5B9-7A27-4003-BB59-BC6241D818AC}"/>
                </a:ext>
              </a:extLst>
            </p:cNvPr>
            <p:cNvGrpSpPr/>
            <p:nvPr/>
          </p:nvGrpSpPr>
          <p:grpSpPr>
            <a:xfrm>
              <a:off x="7347885" y="408762"/>
              <a:ext cx="2670098" cy="684879"/>
              <a:chOff x="7095984" y="408762"/>
              <a:chExt cx="2670098" cy="684879"/>
            </a:xfrm>
          </p:grpSpPr>
          <p:sp>
            <p:nvSpPr>
              <p:cNvPr id="48" name="Rectangle: Rounded Corners 110">
                <a:extLst>
                  <a:ext uri="{FF2B5EF4-FFF2-40B4-BE49-F238E27FC236}">
                    <a16:creationId xmlns:a16="http://schemas.microsoft.com/office/drawing/2014/main" id="{E0E1EA67-7EED-4A95-A630-06DE5CAD8876}"/>
                  </a:ext>
                </a:extLst>
              </p:cNvPr>
              <p:cNvSpPr/>
              <p:nvPr/>
            </p:nvSpPr>
            <p:spPr>
              <a:xfrm>
                <a:off x="7369536" y="408762"/>
                <a:ext cx="2292251" cy="684879"/>
              </a:xfrm>
              <a:prstGeom prst="roundRect">
                <a:avLst>
                  <a:gd name="adj" fmla="val 17279"/>
                </a:avLst>
              </a:prstGeom>
              <a:solidFill>
                <a:schemeClr val="bg1"/>
              </a:solidFill>
              <a:ln>
                <a:noFill/>
              </a:ln>
              <a:effectLst>
                <a:outerShdw blurRad="482600" sx="88000" sy="88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等线" panose="020F0502020204030204"/>
                  <a:ea typeface="+mn-ea"/>
                  <a:cs typeface="+mn-cs"/>
                </a:endParaRPr>
              </a:p>
            </p:txBody>
          </p:sp>
          <p:sp>
            <p:nvSpPr>
              <p:cNvPr id="49" name="TextBox 111">
                <a:extLst>
                  <a:ext uri="{FF2B5EF4-FFF2-40B4-BE49-F238E27FC236}">
                    <a16:creationId xmlns:a16="http://schemas.microsoft.com/office/drawing/2014/main" id="{88F66735-881A-4B22-AADF-12D5BE40FE4F}"/>
                  </a:ext>
                </a:extLst>
              </p:cNvPr>
              <p:cNvSpPr txBox="1"/>
              <p:nvPr/>
            </p:nvSpPr>
            <p:spPr>
              <a:xfrm>
                <a:off x="7721191" y="412927"/>
                <a:ext cx="1699273" cy="326884"/>
              </a:xfrm>
              <a:prstGeom prst="rect">
                <a:avLst/>
              </a:prstGeom>
              <a:noFill/>
            </p:spPr>
            <p:txBody>
              <a:bodyPr wrap="square" rtlCol="0">
                <a:spAutoFit/>
              </a:bodyPr>
              <a:lstStyle/>
              <a:p>
                <a:pPr marL="0" marR="0" lvl="0" indent="0" algn="l" defTabSz="914400" rtl="0" eaLnBrk="1" fontAlgn="auto" latinLnBrk="0" hangingPunct="1">
                  <a:lnSpc>
                    <a:spcPct val="14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lumMod val="65000"/>
                        <a:lumOff val="35000"/>
                      </a:srgbClr>
                    </a:solidFill>
                    <a:effectLst/>
                    <a:uLnTx/>
                    <a:uFillTx/>
                    <a:latin typeface="等线 Light" panose="020F0302020204030204"/>
                    <a:ea typeface="+mn-ea"/>
                    <a:cs typeface="+mn-cs"/>
                  </a:rPr>
                  <a:t>Lorem ipsum dolor</a:t>
                </a:r>
              </a:p>
            </p:txBody>
          </p:sp>
          <p:sp>
            <p:nvSpPr>
              <p:cNvPr id="50" name="TextBox 112">
                <a:extLst>
                  <a:ext uri="{FF2B5EF4-FFF2-40B4-BE49-F238E27FC236}">
                    <a16:creationId xmlns:a16="http://schemas.microsoft.com/office/drawing/2014/main" id="{14D2CC6F-F8B1-496A-AAD0-52BE1298F606}"/>
                  </a:ext>
                </a:extLst>
              </p:cNvPr>
              <p:cNvSpPr txBox="1"/>
              <p:nvPr/>
            </p:nvSpPr>
            <p:spPr>
              <a:xfrm>
                <a:off x="7721191" y="584522"/>
                <a:ext cx="2044891" cy="473591"/>
              </a:xfrm>
              <a:prstGeom prst="rect">
                <a:avLst/>
              </a:prstGeom>
              <a:noFill/>
            </p:spPr>
            <p:txBody>
              <a:bodyPr wrap="square" rtlCol="0">
                <a:spAutoFit/>
              </a:bodyPr>
              <a:lstStyle/>
              <a:p>
                <a:pPr marL="0" marR="0" lvl="0" indent="0" algn="l" defTabSz="914400" rtl="0" eaLnBrk="1" fontAlgn="auto" latinLnBrk="0" hangingPunct="1">
                  <a:lnSpc>
                    <a:spcPct val="14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D99B"/>
                    </a:solidFill>
                    <a:effectLst/>
                    <a:uLnTx/>
                    <a:uFillTx/>
                    <a:latin typeface="Segoe UI" panose="020B0502040204020203" pitchFamily="34" charset="0"/>
                    <a:ea typeface="+mn-ea"/>
                    <a:cs typeface="Segoe UI" panose="020B0502040204020203" pitchFamily="34" charset="0"/>
                  </a:rPr>
                  <a:t>21.000-36.021</a:t>
                </a:r>
              </a:p>
            </p:txBody>
          </p:sp>
          <p:grpSp>
            <p:nvGrpSpPr>
              <p:cNvPr id="51" name="Group 113">
                <a:extLst>
                  <a:ext uri="{FF2B5EF4-FFF2-40B4-BE49-F238E27FC236}">
                    <a16:creationId xmlns:a16="http://schemas.microsoft.com/office/drawing/2014/main" id="{88E1C70B-3C4D-4324-8F31-05E42CD9DFB9}"/>
                  </a:ext>
                </a:extLst>
              </p:cNvPr>
              <p:cNvGrpSpPr/>
              <p:nvPr/>
            </p:nvGrpSpPr>
            <p:grpSpPr>
              <a:xfrm>
                <a:off x="7095984" y="480087"/>
                <a:ext cx="547103" cy="559671"/>
                <a:chOff x="7107392" y="2071195"/>
                <a:chExt cx="547103" cy="559671"/>
              </a:xfrm>
            </p:grpSpPr>
            <p:sp>
              <p:nvSpPr>
                <p:cNvPr id="52" name="Rectangle: Rounded Corners 118">
                  <a:extLst>
                    <a:ext uri="{FF2B5EF4-FFF2-40B4-BE49-F238E27FC236}">
                      <a16:creationId xmlns:a16="http://schemas.microsoft.com/office/drawing/2014/main" id="{35281E2F-387A-4E38-AD39-BAAA0FCA53C6}"/>
                    </a:ext>
                  </a:extLst>
                </p:cNvPr>
                <p:cNvSpPr/>
                <p:nvPr/>
              </p:nvSpPr>
              <p:spPr>
                <a:xfrm>
                  <a:off x="7107392" y="2071195"/>
                  <a:ext cx="547103" cy="559671"/>
                </a:xfrm>
                <a:prstGeom prst="roundRect">
                  <a:avLst>
                    <a:gd name="adj" fmla="val 26931"/>
                  </a:avLst>
                </a:prstGeom>
                <a:gradFill>
                  <a:gsLst>
                    <a:gs pos="100000">
                      <a:schemeClr val="accent5"/>
                    </a:gs>
                    <a:gs pos="0">
                      <a:schemeClr val="accent5">
                        <a:lumMod val="60000"/>
                        <a:lumOff val="40000"/>
                      </a:schemeClr>
                    </a:gs>
                  </a:gsLst>
                  <a:lin ang="2700000" scaled="0"/>
                </a:gradFill>
                <a:ln>
                  <a:noFill/>
                </a:ln>
                <a:effectLst>
                  <a:outerShdw blurRad="469900" dist="139700" dir="8100000" sx="90000" sy="90000" algn="tr" rotWithShape="0">
                    <a:prstClr val="black">
                      <a:alpha val="10000"/>
                    </a:prstClr>
                  </a:outerShdw>
                  <a:softEdge rad="508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等线" panose="020F0502020204030204"/>
                    <a:ea typeface="+mn-ea"/>
                    <a:cs typeface="+mn-cs"/>
                  </a:endParaRPr>
                </a:p>
              </p:txBody>
            </p:sp>
            <p:grpSp>
              <p:nvGrpSpPr>
                <p:cNvPr id="53" name="Graphic 44">
                  <a:extLst>
                    <a:ext uri="{FF2B5EF4-FFF2-40B4-BE49-F238E27FC236}">
                      <a16:creationId xmlns:a16="http://schemas.microsoft.com/office/drawing/2014/main" id="{7323B67E-887A-47BA-B835-5F4654F83F62}"/>
                    </a:ext>
                  </a:extLst>
                </p:cNvPr>
                <p:cNvGrpSpPr/>
                <p:nvPr/>
              </p:nvGrpSpPr>
              <p:grpSpPr>
                <a:xfrm>
                  <a:off x="7245767" y="2215854"/>
                  <a:ext cx="270352" cy="270352"/>
                  <a:chOff x="9158990" y="272944"/>
                  <a:chExt cx="418905" cy="418905"/>
                </a:xfrm>
                <a:solidFill>
                  <a:schemeClr val="bg1"/>
                </a:solidFill>
              </p:grpSpPr>
              <p:sp>
                <p:nvSpPr>
                  <p:cNvPr id="54" name="Freeform: Shape 120">
                    <a:extLst>
                      <a:ext uri="{FF2B5EF4-FFF2-40B4-BE49-F238E27FC236}">
                        <a16:creationId xmlns:a16="http://schemas.microsoft.com/office/drawing/2014/main" id="{A57126C9-3688-4E3D-AAC1-A0ECD3F85412}"/>
                      </a:ext>
                    </a:extLst>
                  </p:cNvPr>
                  <p:cNvSpPr/>
                  <p:nvPr/>
                </p:nvSpPr>
                <p:spPr>
                  <a:xfrm>
                    <a:off x="9303800" y="272944"/>
                    <a:ext cx="129525" cy="129525"/>
                  </a:xfrm>
                  <a:custGeom>
                    <a:avLst/>
                    <a:gdLst>
                      <a:gd name="connsiteX0" fmla="*/ 111073 w 129524"/>
                      <a:gd name="connsiteY0" fmla="*/ 111096 h 129524"/>
                      <a:gd name="connsiteX1" fmla="*/ 19029 w 129524"/>
                      <a:gd name="connsiteY1" fmla="*/ 111096 h 129524"/>
                      <a:gd name="connsiteX2" fmla="*/ 19029 w 129524"/>
                      <a:gd name="connsiteY2" fmla="*/ 19035 h 129524"/>
                      <a:gd name="connsiteX3" fmla="*/ 111073 w 129524"/>
                      <a:gd name="connsiteY3" fmla="*/ 19035 h 129524"/>
                      <a:gd name="connsiteX4" fmla="*/ 111073 w 129524"/>
                      <a:gd name="connsiteY4" fmla="*/ 111096 h 1295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9524" h="129524">
                        <a:moveTo>
                          <a:pt x="111073" y="111096"/>
                        </a:moveTo>
                        <a:cubicBezTo>
                          <a:pt x="85693" y="136476"/>
                          <a:pt x="44409" y="136468"/>
                          <a:pt x="19029" y="111096"/>
                        </a:cubicBezTo>
                        <a:cubicBezTo>
                          <a:pt x="-6343" y="85716"/>
                          <a:pt x="-6343" y="44415"/>
                          <a:pt x="19029" y="19035"/>
                        </a:cubicBezTo>
                        <a:cubicBezTo>
                          <a:pt x="44409" y="-6345"/>
                          <a:pt x="85693" y="-6345"/>
                          <a:pt x="111073" y="19035"/>
                        </a:cubicBezTo>
                        <a:cubicBezTo>
                          <a:pt x="136445" y="44415"/>
                          <a:pt x="136445" y="85716"/>
                          <a:pt x="111073" y="111096"/>
                        </a:cubicBezTo>
                        <a:close/>
                      </a:path>
                    </a:pathLst>
                  </a:custGeom>
                  <a:grpFill/>
                  <a:ln w="81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55" name="Freeform: Shape 121">
                    <a:extLst>
                      <a:ext uri="{FF2B5EF4-FFF2-40B4-BE49-F238E27FC236}">
                        <a16:creationId xmlns:a16="http://schemas.microsoft.com/office/drawing/2014/main" id="{9F529427-6011-448F-8EF2-9F1F97FD6898}"/>
                      </a:ext>
                    </a:extLst>
                  </p:cNvPr>
                  <p:cNvSpPr/>
                  <p:nvPr/>
                </p:nvSpPr>
                <p:spPr>
                  <a:xfrm>
                    <a:off x="9158990" y="417741"/>
                    <a:ext cx="129525" cy="129525"/>
                  </a:xfrm>
                  <a:custGeom>
                    <a:avLst/>
                    <a:gdLst>
                      <a:gd name="connsiteX0" fmla="*/ 111111 w 129524"/>
                      <a:gd name="connsiteY0" fmla="*/ 111096 h 129524"/>
                      <a:gd name="connsiteX1" fmla="*/ 19075 w 129524"/>
                      <a:gd name="connsiteY1" fmla="*/ 111096 h 129524"/>
                      <a:gd name="connsiteX2" fmla="*/ 19075 w 129524"/>
                      <a:gd name="connsiteY2" fmla="*/ 19035 h 129524"/>
                      <a:gd name="connsiteX3" fmla="*/ 111111 w 129524"/>
                      <a:gd name="connsiteY3" fmla="*/ 19035 h 129524"/>
                      <a:gd name="connsiteX4" fmla="*/ 111111 w 129524"/>
                      <a:gd name="connsiteY4" fmla="*/ 111096 h 1295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9524" h="129524">
                        <a:moveTo>
                          <a:pt x="111111" y="111096"/>
                        </a:moveTo>
                        <a:cubicBezTo>
                          <a:pt x="85739" y="136476"/>
                          <a:pt x="44447" y="136476"/>
                          <a:pt x="19075" y="111096"/>
                        </a:cubicBezTo>
                        <a:cubicBezTo>
                          <a:pt x="-6362" y="85650"/>
                          <a:pt x="-6354" y="44473"/>
                          <a:pt x="19075" y="19035"/>
                        </a:cubicBezTo>
                        <a:cubicBezTo>
                          <a:pt x="44447" y="-6345"/>
                          <a:pt x="85739" y="-6345"/>
                          <a:pt x="111111" y="19035"/>
                        </a:cubicBezTo>
                        <a:cubicBezTo>
                          <a:pt x="136549" y="44481"/>
                          <a:pt x="136549" y="85658"/>
                          <a:pt x="111111" y="111096"/>
                        </a:cubicBezTo>
                        <a:close/>
                      </a:path>
                    </a:pathLst>
                  </a:custGeom>
                  <a:grpFill/>
                  <a:ln w="81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56" name="Freeform: Shape 122">
                    <a:extLst>
                      <a:ext uri="{FF2B5EF4-FFF2-40B4-BE49-F238E27FC236}">
                        <a16:creationId xmlns:a16="http://schemas.microsoft.com/office/drawing/2014/main" id="{20F39A73-2ACB-43D3-9068-99B615AB2DF1}"/>
                      </a:ext>
                    </a:extLst>
                  </p:cNvPr>
                  <p:cNvSpPr/>
                  <p:nvPr/>
                </p:nvSpPr>
                <p:spPr>
                  <a:xfrm>
                    <a:off x="9448523" y="417741"/>
                    <a:ext cx="129525" cy="129525"/>
                  </a:xfrm>
                  <a:custGeom>
                    <a:avLst/>
                    <a:gdLst>
                      <a:gd name="connsiteX0" fmla="*/ 111114 w 129524"/>
                      <a:gd name="connsiteY0" fmla="*/ 111096 h 129524"/>
                      <a:gd name="connsiteX1" fmla="*/ 19078 w 129524"/>
                      <a:gd name="connsiteY1" fmla="*/ 111096 h 129524"/>
                      <a:gd name="connsiteX2" fmla="*/ 19078 w 129524"/>
                      <a:gd name="connsiteY2" fmla="*/ 19035 h 129524"/>
                      <a:gd name="connsiteX3" fmla="*/ 111114 w 129524"/>
                      <a:gd name="connsiteY3" fmla="*/ 19035 h 129524"/>
                      <a:gd name="connsiteX4" fmla="*/ 111114 w 129524"/>
                      <a:gd name="connsiteY4" fmla="*/ 111096 h 1295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9524" h="129524">
                        <a:moveTo>
                          <a:pt x="111114" y="111096"/>
                        </a:moveTo>
                        <a:cubicBezTo>
                          <a:pt x="85742" y="136476"/>
                          <a:pt x="44450" y="136476"/>
                          <a:pt x="19078" y="111096"/>
                        </a:cubicBezTo>
                        <a:cubicBezTo>
                          <a:pt x="-6359" y="85650"/>
                          <a:pt x="-6359" y="44473"/>
                          <a:pt x="19078" y="19035"/>
                        </a:cubicBezTo>
                        <a:cubicBezTo>
                          <a:pt x="44450" y="-6345"/>
                          <a:pt x="85742" y="-6345"/>
                          <a:pt x="111114" y="19035"/>
                        </a:cubicBezTo>
                        <a:cubicBezTo>
                          <a:pt x="136552" y="44481"/>
                          <a:pt x="136544" y="85658"/>
                          <a:pt x="111114" y="111096"/>
                        </a:cubicBezTo>
                        <a:close/>
                      </a:path>
                    </a:pathLst>
                  </a:custGeom>
                  <a:grpFill/>
                  <a:ln w="81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57" name="Freeform: Shape 123">
                    <a:extLst>
                      <a:ext uri="{FF2B5EF4-FFF2-40B4-BE49-F238E27FC236}">
                        <a16:creationId xmlns:a16="http://schemas.microsoft.com/office/drawing/2014/main" id="{856FA187-0A7D-469B-8B9A-FAEBEA9C9C8B}"/>
                      </a:ext>
                    </a:extLst>
                  </p:cNvPr>
                  <p:cNvSpPr/>
                  <p:nvPr/>
                </p:nvSpPr>
                <p:spPr>
                  <a:xfrm>
                    <a:off x="9303800" y="562538"/>
                    <a:ext cx="129525" cy="129525"/>
                  </a:xfrm>
                  <a:custGeom>
                    <a:avLst/>
                    <a:gdLst>
                      <a:gd name="connsiteX0" fmla="*/ 130100 w 129524"/>
                      <a:gd name="connsiteY0" fmla="*/ 65066 h 129524"/>
                      <a:gd name="connsiteX1" fmla="*/ 111073 w 129524"/>
                      <a:gd name="connsiteY1" fmla="*/ 111096 h 129524"/>
                      <a:gd name="connsiteX2" fmla="*/ 19029 w 129524"/>
                      <a:gd name="connsiteY2" fmla="*/ 111096 h 129524"/>
                      <a:gd name="connsiteX3" fmla="*/ 19029 w 129524"/>
                      <a:gd name="connsiteY3" fmla="*/ 19035 h 129524"/>
                      <a:gd name="connsiteX4" fmla="*/ 111073 w 129524"/>
                      <a:gd name="connsiteY4" fmla="*/ 19035 h 129524"/>
                      <a:gd name="connsiteX5" fmla="*/ 130100 w 129524"/>
                      <a:gd name="connsiteY5" fmla="*/ 65066 h 1295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9524" h="129524">
                        <a:moveTo>
                          <a:pt x="130100" y="65066"/>
                        </a:moveTo>
                        <a:cubicBezTo>
                          <a:pt x="130100" y="81732"/>
                          <a:pt x="123764" y="98406"/>
                          <a:pt x="111073" y="111096"/>
                        </a:cubicBezTo>
                        <a:cubicBezTo>
                          <a:pt x="85693" y="136476"/>
                          <a:pt x="44409" y="136476"/>
                          <a:pt x="19029" y="111096"/>
                        </a:cubicBezTo>
                        <a:cubicBezTo>
                          <a:pt x="-6343" y="85716"/>
                          <a:pt x="-6343" y="44415"/>
                          <a:pt x="19029" y="19035"/>
                        </a:cubicBezTo>
                        <a:cubicBezTo>
                          <a:pt x="44409" y="-6345"/>
                          <a:pt x="85693" y="-6345"/>
                          <a:pt x="111073" y="19035"/>
                        </a:cubicBezTo>
                        <a:cubicBezTo>
                          <a:pt x="123764" y="31725"/>
                          <a:pt x="130100" y="48400"/>
                          <a:pt x="130100" y="65066"/>
                        </a:cubicBezTo>
                        <a:close/>
                      </a:path>
                    </a:pathLst>
                  </a:custGeom>
                  <a:grpFill/>
                  <a:ln w="81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58" name="Freeform: Shape 124">
                    <a:extLst>
                      <a:ext uri="{FF2B5EF4-FFF2-40B4-BE49-F238E27FC236}">
                        <a16:creationId xmlns:a16="http://schemas.microsoft.com/office/drawing/2014/main" id="{118990EC-942B-4063-A888-6CB189B4C1D7}"/>
                      </a:ext>
                    </a:extLst>
                  </p:cNvPr>
                  <p:cNvSpPr/>
                  <p:nvPr/>
                </p:nvSpPr>
                <p:spPr>
                  <a:xfrm>
                    <a:off x="9231219" y="345145"/>
                    <a:ext cx="62303" cy="62303"/>
                  </a:xfrm>
                  <a:custGeom>
                    <a:avLst/>
                    <a:gdLst>
                      <a:gd name="connsiteX0" fmla="*/ 60150 w 62302"/>
                      <a:gd name="connsiteY0" fmla="*/ 5245 h 62302"/>
                      <a:gd name="connsiteX1" fmla="*/ 43025 w 62302"/>
                      <a:gd name="connsiteY1" fmla="*/ 2225 h 62302"/>
                      <a:gd name="connsiteX2" fmla="*/ 2226 w 62302"/>
                      <a:gd name="connsiteY2" fmla="*/ 43033 h 62302"/>
                      <a:gd name="connsiteX3" fmla="*/ 5243 w 62302"/>
                      <a:gd name="connsiteY3" fmla="*/ 60161 h 62302"/>
                      <a:gd name="connsiteX4" fmla="*/ 22368 w 62302"/>
                      <a:gd name="connsiteY4" fmla="*/ 57143 h 62302"/>
                      <a:gd name="connsiteX5" fmla="*/ 57131 w 62302"/>
                      <a:gd name="connsiteY5" fmla="*/ 22373 h 62302"/>
                      <a:gd name="connsiteX6" fmla="*/ 60150 w 62302"/>
                      <a:gd name="connsiteY6" fmla="*/ 5245 h 62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302" h="62302">
                        <a:moveTo>
                          <a:pt x="60150" y="5245"/>
                        </a:moveTo>
                        <a:cubicBezTo>
                          <a:pt x="56254" y="-319"/>
                          <a:pt x="48587" y="-1670"/>
                          <a:pt x="43025" y="2225"/>
                        </a:cubicBezTo>
                        <a:cubicBezTo>
                          <a:pt x="27105" y="13377"/>
                          <a:pt x="13378" y="27106"/>
                          <a:pt x="2226" y="43033"/>
                        </a:cubicBezTo>
                        <a:cubicBezTo>
                          <a:pt x="-1671" y="48597"/>
                          <a:pt x="-319" y="56265"/>
                          <a:pt x="5243" y="60161"/>
                        </a:cubicBezTo>
                        <a:cubicBezTo>
                          <a:pt x="10806" y="64059"/>
                          <a:pt x="18472" y="62707"/>
                          <a:pt x="22368" y="57143"/>
                        </a:cubicBezTo>
                        <a:cubicBezTo>
                          <a:pt x="31871" y="43572"/>
                          <a:pt x="43566" y="31874"/>
                          <a:pt x="57131" y="22373"/>
                        </a:cubicBezTo>
                        <a:cubicBezTo>
                          <a:pt x="62695" y="18477"/>
                          <a:pt x="64046" y="10808"/>
                          <a:pt x="60150" y="5245"/>
                        </a:cubicBezTo>
                        <a:close/>
                      </a:path>
                    </a:pathLst>
                  </a:custGeom>
                  <a:grpFill/>
                  <a:ln w="81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59" name="Freeform: Shape 125">
                    <a:extLst>
                      <a:ext uri="{FF2B5EF4-FFF2-40B4-BE49-F238E27FC236}">
                        <a16:creationId xmlns:a16="http://schemas.microsoft.com/office/drawing/2014/main" id="{BF8ED08F-D920-498F-AC82-D31E55FB11FD}"/>
                      </a:ext>
                    </a:extLst>
                  </p:cNvPr>
                  <p:cNvSpPr/>
                  <p:nvPr/>
                </p:nvSpPr>
                <p:spPr>
                  <a:xfrm>
                    <a:off x="9444108" y="558080"/>
                    <a:ext cx="62303" cy="62303"/>
                  </a:xfrm>
                  <a:custGeom>
                    <a:avLst/>
                    <a:gdLst>
                      <a:gd name="connsiteX0" fmla="*/ 2225 w 62302"/>
                      <a:gd name="connsiteY0" fmla="*/ 57143 h 62302"/>
                      <a:gd name="connsiteX1" fmla="*/ 19350 w 62302"/>
                      <a:gd name="connsiteY1" fmla="*/ 60163 h 62302"/>
                      <a:gd name="connsiteX2" fmla="*/ 60150 w 62302"/>
                      <a:gd name="connsiteY2" fmla="*/ 19355 h 62302"/>
                      <a:gd name="connsiteX3" fmla="*/ 57133 w 62302"/>
                      <a:gd name="connsiteY3" fmla="*/ 2227 h 62302"/>
                      <a:gd name="connsiteX4" fmla="*/ 40008 w 62302"/>
                      <a:gd name="connsiteY4" fmla="*/ 5245 h 62302"/>
                      <a:gd name="connsiteX5" fmla="*/ 5245 w 62302"/>
                      <a:gd name="connsiteY5" fmla="*/ 40015 h 62302"/>
                      <a:gd name="connsiteX6" fmla="*/ 2225 w 62302"/>
                      <a:gd name="connsiteY6" fmla="*/ 57143 h 62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302" h="62302">
                        <a:moveTo>
                          <a:pt x="2225" y="57143"/>
                        </a:moveTo>
                        <a:cubicBezTo>
                          <a:pt x="6125" y="62711"/>
                          <a:pt x="13793" y="64056"/>
                          <a:pt x="19350" y="60163"/>
                        </a:cubicBezTo>
                        <a:cubicBezTo>
                          <a:pt x="35271" y="49011"/>
                          <a:pt x="48998" y="35282"/>
                          <a:pt x="60150" y="19355"/>
                        </a:cubicBezTo>
                        <a:cubicBezTo>
                          <a:pt x="64046" y="13791"/>
                          <a:pt x="62694" y="6123"/>
                          <a:pt x="57133" y="2227"/>
                        </a:cubicBezTo>
                        <a:cubicBezTo>
                          <a:pt x="51571" y="-1671"/>
                          <a:pt x="43904" y="-320"/>
                          <a:pt x="40008" y="5245"/>
                        </a:cubicBezTo>
                        <a:cubicBezTo>
                          <a:pt x="30505" y="18816"/>
                          <a:pt x="18809" y="30514"/>
                          <a:pt x="5245" y="40015"/>
                        </a:cubicBezTo>
                        <a:cubicBezTo>
                          <a:pt x="-319" y="43911"/>
                          <a:pt x="-1670" y="51580"/>
                          <a:pt x="2225" y="57143"/>
                        </a:cubicBezTo>
                        <a:close/>
                      </a:path>
                    </a:pathLst>
                  </a:custGeom>
                  <a:grpFill/>
                  <a:ln w="81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60" name="Freeform: Shape 126">
                    <a:extLst>
                      <a:ext uri="{FF2B5EF4-FFF2-40B4-BE49-F238E27FC236}">
                        <a16:creationId xmlns:a16="http://schemas.microsoft.com/office/drawing/2014/main" id="{3BE6E288-FF58-49FE-9CFC-8C4C82EC6BA4}"/>
                      </a:ext>
                    </a:extLst>
                  </p:cNvPr>
                  <p:cNvSpPr/>
                  <p:nvPr/>
                </p:nvSpPr>
                <p:spPr>
                  <a:xfrm>
                    <a:off x="9231220" y="558081"/>
                    <a:ext cx="62303" cy="62303"/>
                  </a:xfrm>
                  <a:custGeom>
                    <a:avLst/>
                    <a:gdLst>
                      <a:gd name="connsiteX0" fmla="*/ 57131 w 62302"/>
                      <a:gd name="connsiteY0" fmla="*/ 40014 h 62302"/>
                      <a:gd name="connsiteX1" fmla="*/ 22368 w 62302"/>
                      <a:gd name="connsiteY1" fmla="*/ 5244 h 62302"/>
                      <a:gd name="connsiteX2" fmla="*/ 5243 w 62302"/>
                      <a:gd name="connsiteY2" fmla="*/ 2225 h 62302"/>
                      <a:gd name="connsiteX3" fmla="*/ 2226 w 62302"/>
                      <a:gd name="connsiteY3" fmla="*/ 19354 h 62302"/>
                      <a:gd name="connsiteX4" fmla="*/ 43026 w 62302"/>
                      <a:gd name="connsiteY4" fmla="*/ 60161 h 62302"/>
                      <a:gd name="connsiteX5" fmla="*/ 60151 w 62302"/>
                      <a:gd name="connsiteY5" fmla="*/ 57142 h 62302"/>
                      <a:gd name="connsiteX6" fmla="*/ 57131 w 62302"/>
                      <a:gd name="connsiteY6" fmla="*/ 40014 h 62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302" h="62302">
                        <a:moveTo>
                          <a:pt x="57131" y="40014"/>
                        </a:moveTo>
                        <a:cubicBezTo>
                          <a:pt x="43567" y="30512"/>
                          <a:pt x="31871" y="18813"/>
                          <a:pt x="22368" y="5244"/>
                        </a:cubicBezTo>
                        <a:cubicBezTo>
                          <a:pt x="18472" y="-320"/>
                          <a:pt x="10807" y="-1669"/>
                          <a:pt x="5243" y="2225"/>
                        </a:cubicBezTo>
                        <a:cubicBezTo>
                          <a:pt x="-319" y="6122"/>
                          <a:pt x="-1670" y="13791"/>
                          <a:pt x="2226" y="19354"/>
                        </a:cubicBezTo>
                        <a:cubicBezTo>
                          <a:pt x="13378" y="35280"/>
                          <a:pt x="27105" y="49010"/>
                          <a:pt x="43026" y="60161"/>
                        </a:cubicBezTo>
                        <a:cubicBezTo>
                          <a:pt x="48592" y="64059"/>
                          <a:pt x="56257" y="62703"/>
                          <a:pt x="60151" y="57142"/>
                        </a:cubicBezTo>
                        <a:cubicBezTo>
                          <a:pt x="64045" y="51578"/>
                          <a:pt x="62694" y="43910"/>
                          <a:pt x="57131" y="40014"/>
                        </a:cubicBezTo>
                        <a:close/>
                      </a:path>
                    </a:pathLst>
                  </a:custGeom>
                  <a:grpFill/>
                  <a:ln w="81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61" name="Freeform: Shape 127">
                    <a:extLst>
                      <a:ext uri="{FF2B5EF4-FFF2-40B4-BE49-F238E27FC236}">
                        <a16:creationId xmlns:a16="http://schemas.microsoft.com/office/drawing/2014/main" id="{25A299F5-019A-4080-A26D-76294315EA9D}"/>
                      </a:ext>
                    </a:extLst>
                  </p:cNvPr>
                  <p:cNvSpPr/>
                  <p:nvPr/>
                </p:nvSpPr>
                <p:spPr>
                  <a:xfrm>
                    <a:off x="9444107" y="345145"/>
                    <a:ext cx="62303" cy="62303"/>
                  </a:xfrm>
                  <a:custGeom>
                    <a:avLst/>
                    <a:gdLst>
                      <a:gd name="connsiteX0" fmla="*/ 40008 w 62302"/>
                      <a:gd name="connsiteY0" fmla="*/ 57144 h 62302"/>
                      <a:gd name="connsiteX1" fmla="*/ 57133 w 62302"/>
                      <a:gd name="connsiteY1" fmla="*/ 60162 h 62302"/>
                      <a:gd name="connsiteX2" fmla="*/ 60150 w 62302"/>
                      <a:gd name="connsiteY2" fmla="*/ 43034 h 62302"/>
                      <a:gd name="connsiteX3" fmla="*/ 19350 w 62302"/>
                      <a:gd name="connsiteY3" fmla="*/ 2226 h 62302"/>
                      <a:gd name="connsiteX4" fmla="*/ 2225 w 62302"/>
                      <a:gd name="connsiteY4" fmla="*/ 5245 h 62302"/>
                      <a:gd name="connsiteX5" fmla="*/ 5244 w 62302"/>
                      <a:gd name="connsiteY5" fmla="*/ 22374 h 62302"/>
                      <a:gd name="connsiteX6" fmla="*/ 40008 w 62302"/>
                      <a:gd name="connsiteY6" fmla="*/ 57144 h 62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302" h="62302">
                        <a:moveTo>
                          <a:pt x="40008" y="57144"/>
                        </a:moveTo>
                        <a:cubicBezTo>
                          <a:pt x="43902" y="62706"/>
                          <a:pt x="51567" y="64059"/>
                          <a:pt x="57133" y="60162"/>
                        </a:cubicBezTo>
                        <a:cubicBezTo>
                          <a:pt x="62695" y="56266"/>
                          <a:pt x="64046" y="48597"/>
                          <a:pt x="60150" y="43034"/>
                        </a:cubicBezTo>
                        <a:cubicBezTo>
                          <a:pt x="48997" y="27107"/>
                          <a:pt x="35271" y="13377"/>
                          <a:pt x="19350" y="2226"/>
                        </a:cubicBezTo>
                        <a:cubicBezTo>
                          <a:pt x="13788" y="-1670"/>
                          <a:pt x="6121" y="-319"/>
                          <a:pt x="2225" y="5245"/>
                        </a:cubicBezTo>
                        <a:cubicBezTo>
                          <a:pt x="-1670" y="10809"/>
                          <a:pt x="-319" y="18478"/>
                          <a:pt x="5244" y="22374"/>
                        </a:cubicBezTo>
                        <a:cubicBezTo>
                          <a:pt x="18809" y="31875"/>
                          <a:pt x="30505" y="43574"/>
                          <a:pt x="40008" y="57144"/>
                        </a:cubicBezTo>
                        <a:close/>
                      </a:path>
                    </a:pathLst>
                  </a:custGeom>
                  <a:grpFill/>
                  <a:ln w="81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grpSp>
        </p:grpSp>
        <p:grpSp>
          <p:nvGrpSpPr>
            <p:cNvPr id="6" name="Group 114">
              <a:extLst>
                <a:ext uri="{FF2B5EF4-FFF2-40B4-BE49-F238E27FC236}">
                  <a16:creationId xmlns:a16="http://schemas.microsoft.com/office/drawing/2014/main" id="{0F1A2280-361E-4C3B-A45A-F424C8BEE557}"/>
                </a:ext>
              </a:extLst>
            </p:cNvPr>
            <p:cNvGrpSpPr/>
            <p:nvPr/>
          </p:nvGrpSpPr>
          <p:grpSpPr>
            <a:xfrm>
              <a:off x="10090655" y="824130"/>
              <a:ext cx="921069" cy="332787"/>
              <a:chOff x="3755543" y="2094037"/>
              <a:chExt cx="921069" cy="332787"/>
            </a:xfrm>
          </p:grpSpPr>
          <p:cxnSp>
            <p:nvCxnSpPr>
              <p:cNvPr id="45" name="Straight Connector 115">
                <a:extLst>
                  <a:ext uri="{FF2B5EF4-FFF2-40B4-BE49-F238E27FC236}">
                    <a16:creationId xmlns:a16="http://schemas.microsoft.com/office/drawing/2014/main" id="{36F2BCB7-17ED-41A5-8195-D93DB0173CEE}"/>
                  </a:ext>
                </a:extLst>
              </p:cNvPr>
              <p:cNvCxnSpPr>
                <a:cxnSpLocks/>
              </p:cNvCxnSpPr>
              <p:nvPr/>
            </p:nvCxnSpPr>
            <p:spPr>
              <a:xfrm>
                <a:off x="4600640" y="2094037"/>
                <a:ext cx="0" cy="229119"/>
              </a:xfrm>
              <a:prstGeom prst="line">
                <a:avLst/>
              </a:prstGeom>
              <a:ln w="12700">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sp>
            <p:nvSpPr>
              <p:cNvPr id="46" name="Oval 116">
                <a:extLst>
                  <a:ext uri="{FF2B5EF4-FFF2-40B4-BE49-F238E27FC236}">
                    <a16:creationId xmlns:a16="http://schemas.microsoft.com/office/drawing/2014/main" id="{D04A3B18-42E4-4A6D-8AF3-49F46BAD3019}"/>
                  </a:ext>
                </a:extLst>
              </p:cNvPr>
              <p:cNvSpPr/>
              <p:nvPr/>
            </p:nvSpPr>
            <p:spPr>
              <a:xfrm>
                <a:off x="4524667" y="2274879"/>
                <a:ext cx="151945" cy="151945"/>
              </a:xfrm>
              <a:prstGeom prst="ellipse">
                <a:avLst/>
              </a:prstGeom>
              <a:solidFill>
                <a:schemeClr val="accent5"/>
              </a:solidFill>
              <a:ln>
                <a:solidFill>
                  <a:schemeClr val="bg1"/>
                </a:solidFill>
              </a:ln>
              <a:effectLst>
                <a:outerShdw blurRad="203200" dist="76200" dir="10260000" algn="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等线" panose="020F0502020204030204"/>
                  <a:ea typeface="+mn-ea"/>
                  <a:cs typeface="+mn-cs"/>
                </a:endParaRPr>
              </a:p>
            </p:txBody>
          </p:sp>
          <p:cxnSp>
            <p:nvCxnSpPr>
              <p:cNvPr id="47" name="Straight Connector 117">
                <a:extLst>
                  <a:ext uri="{FF2B5EF4-FFF2-40B4-BE49-F238E27FC236}">
                    <a16:creationId xmlns:a16="http://schemas.microsoft.com/office/drawing/2014/main" id="{93E5C296-FEBB-426E-BFFC-9E68F126C686}"/>
                  </a:ext>
                </a:extLst>
              </p:cNvPr>
              <p:cNvCxnSpPr>
                <a:cxnSpLocks/>
              </p:cNvCxnSpPr>
              <p:nvPr/>
            </p:nvCxnSpPr>
            <p:spPr>
              <a:xfrm>
                <a:off x="3755543" y="2094037"/>
                <a:ext cx="822923" cy="0"/>
              </a:xfrm>
              <a:prstGeom prst="line">
                <a:avLst/>
              </a:prstGeom>
              <a:ln w="12700">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grpSp>
        <p:grpSp>
          <p:nvGrpSpPr>
            <p:cNvPr id="7" name="Group 184">
              <a:extLst>
                <a:ext uri="{FF2B5EF4-FFF2-40B4-BE49-F238E27FC236}">
                  <a16:creationId xmlns:a16="http://schemas.microsoft.com/office/drawing/2014/main" id="{C3B2E854-F997-48AC-BBD0-7C9FA5D9E9AF}"/>
                </a:ext>
              </a:extLst>
            </p:cNvPr>
            <p:cNvGrpSpPr/>
            <p:nvPr/>
          </p:nvGrpSpPr>
          <p:grpSpPr>
            <a:xfrm>
              <a:off x="6659008" y="1187021"/>
              <a:ext cx="2670098" cy="684879"/>
              <a:chOff x="3758286" y="1217859"/>
              <a:chExt cx="2670098" cy="684879"/>
            </a:xfrm>
          </p:grpSpPr>
          <p:sp>
            <p:nvSpPr>
              <p:cNvPr id="39" name="Rectangle: Rounded Corners 129">
                <a:extLst>
                  <a:ext uri="{FF2B5EF4-FFF2-40B4-BE49-F238E27FC236}">
                    <a16:creationId xmlns:a16="http://schemas.microsoft.com/office/drawing/2014/main" id="{53ECF713-F830-4693-B689-A07E7F198C98}"/>
                  </a:ext>
                </a:extLst>
              </p:cNvPr>
              <p:cNvSpPr/>
              <p:nvPr/>
            </p:nvSpPr>
            <p:spPr>
              <a:xfrm>
                <a:off x="4031838" y="1217859"/>
                <a:ext cx="2292251" cy="684879"/>
              </a:xfrm>
              <a:prstGeom prst="roundRect">
                <a:avLst>
                  <a:gd name="adj" fmla="val 17279"/>
                </a:avLst>
              </a:prstGeom>
              <a:solidFill>
                <a:schemeClr val="bg1"/>
              </a:solidFill>
              <a:ln>
                <a:noFill/>
              </a:ln>
              <a:effectLst>
                <a:outerShdw blurRad="482600" sx="88000" sy="88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等线" panose="020F0502020204030204"/>
                  <a:ea typeface="+mn-ea"/>
                  <a:cs typeface="+mn-cs"/>
                </a:endParaRPr>
              </a:p>
            </p:txBody>
          </p:sp>
          <p:sp>
            <p:nvSpPr>
              <p:cNvPr id="40" name="TextBox 130">
                <a:extLst>
                  <a:ext uri="{FF2B5EF4-FFF2-40B4-BE49-F238E27FC236}">
                    <a16:creationId xmlns:a16="http://schemas.microsoft.com/office/drawing/2014/main" id="{6E289ED7-E38E-4CB8-82D6-F506E7F1ADB9}"/>
                  </a:ext>
                </a:extLst>
              </p:cNvPr>
              <p:cNvSpPr txBox="1"/>
              <p:nvPr/>
            </p:nvSpPr>
            <p:spPr>
              <a:xfrm>
                <a:off x="4383493" y="1222024"/>
                <a:ext cx="1699273" cy="326884"/>
              </a:xfrm>
              <a:prstGeom prst="rect">
                <a:avLst/>
              </a:prstGeom>
              <a:noFill/>
            </p:spPr>
            <p:txBody>
              <a:bodyPr wrap="square" rtlCol="0">
                <a:spAutoFit/>
              </a:bodyPr>
              <a:lstStyle/>
              <a:p>
                <a:pPr marL="0" marR="0" lvl="0" indent="0" algn="l" defTabSz="914400" rtl="0" eaLnBrk="1" fontAlgn="auto" latinLnBrk="0" hangingPunct="1">
                  <a:lnSpc>
                    <a:spcPct val="14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lumMod val="65000"/>
                        <a:lumOff val="35000"/>
                      </a:srgbClr>
                    </a:solidFill>
                    <a:effectLst/>
                    <a:uLnTx/>
                    <a:uFillTx/>
                    <a:latin typeface="等线 Light" panose="020F0302020204030204"/>
                    <a:ea typeface="+mn-ea"/>
                    <a:cs typeface="+mn-cs"/>
                  </a:rPr>
                  <a:t>Lorem ipsum dolor</a:t>
                </a:r>
              </a:p>
            </p:txBody>
          </p:sp>
          <p:sp>
            <p:nvSpPr>
              <p:cNvPr id="41" name="TextBox 131">
                <a:extLst>
                  <a:ext uri="{FF2B5EF4-FFF2-40B4-BE49-F238E27FC236}">
                    <a16:creationId xmlns:a16="http://schemas.microsoft.com/office/drawing/2014/main" id="{9A390742-A38C-46DD-9CC0-516868372FC2}"/>
                  </a:ext>
                </a:extLst>
              </p:cNvPr>
              <p:cNvSpPr txBox="1"/>
              <p:nvPr/>
            </p:nvSpPr>
            <p:spPr>
              <a:xfrm>
                <a:off x="4383493" y="1393619"/>
                <a:ext cx="2044891" cy="473591"/>
              </a:xfrm>
              <a:prstGeom prst="rect">
                <a:avLst/>
              </a:prstGeom>
              <a:noFill/>
            </p:spPr>
            <p:txBody>
              <a:bodyPr wrap="square" rtlCol="0">
                <a:spAutoFit/>
              </a:bodyPr>
              <a:lstStyle/>
              <a:p>
                <a:pPr marL="0" marR="0" lvl="0" indent="0" algn="l" defTabSz="914400" rtl="0" eaLnBrk="1" fontAlgn="auto" latinLnBrk="0" hangingPunct="1">
                  <a:lnSpc>
                    <a:spcPct val="14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8F38FF"/>
                    </a:solidFill>
                    <a:effectLst/>
                    <a:uLnTx/>
                    <a:uFillTx/>
                    <a:latin typeface="Segoe UI" panose="020B0502040204020203" pitchFamily="34" charset="0"/>
                    <a:ea typeface="+mn-ea"/>
                    <a:cs typeface="Segoe UI" panose="020B0502040204020203" pitchFamily="34" charset="0"/>
                  </a:rPr>
                  <a:t>21.000-36.021</a:t>
                </a:r>
              </a:p>
            </p:txBody>
          </p:sp>
          <p:grpSp>
            <p:nvGrpSpPr>
              <p:cNvPr id="42" name="Group 132">
                <a:extLst>
                  <a:ext uri="{FF2B5EF4-FFF2-40B4-BE49-F238E27FC236}">
                    <a16:creationId xmlns:a16="http://schemas.microsoft.com/office/drawing/2014/main" id="{862262CA-FE3A-4505-B30E-816626D5257B}"/>
                  </a:ext>
                </a:extLst>
              </p:cNvPr>
              <p:cNvGrpSpPr/>
              <p:nvPr/>
            </p:nvGrpSpPr>
            <p:grpSpPr>
              <a:xfrm>
                <a:off x="3758286" y="1289184"/>
                <a:ext cx="547103" cy="559671"/>
                <a:chOff x="6256569" y="2934023"/>
                <a:chExt cx="547103" cy="559671"/>
              </a:xfrm>
            </p:grpSpPr>
            <p:sp>
              <p:nvSpPr>
                <p:cNvPr id="43" name="Rectangle: Rounded Corners 137">
                  <a:extLst>
                    <a:ext uri="{FF2B5EF4-FFF2-40B4-BE49-F238E27FC236}">
                      <a16:creationId xmlns:a16="http://schemas.microsoft.com/office/drawing/2014/main" id="{A4C461A5-FB82-47B9-A90A-0F45A0AE9807}"/>
                    </a:ext>
                  </a:extLst>
                </p:cNvPr>
                <p:cNvSpPr/>
                <p:nvPr/>
              </p:nvSpPr>
              <p:spPr>
                <a:xfrm>
                  <a:off x="6256569" y="2934023"/>
                  <a:ext cx="547103" cy="559671"/>
                </a:xfrm>
                <a:prstGeom prst="roundRect">
                  <a:avLst>
                    <a:gd name="adj" fmla="val 26931"/>
                  </a:avLst>
                </a:prstGeom>
                <a:gradFill>
                  <a:gsLst>
                    <a:gs pos="100000">
                      <a:schemeClr val="accent4"/>
                    </a:gs>
                    <a:gs pos="0">
                      <a:schemeClr val="accent4">
                        <a:lumMod val="60000"/>
                        <a:lumOff val="40000"/>
                      </a:schemeClr>
                    </a:gs>
                  </a:gsLst>
                  <a:lin ang="2700000" scaled="0"/>
                </a:gradFill>
                <a:ln>
                  <a:noFill/>
                </a:ln>
                <a:effectLst>
                  <a:outerShdw blurRad="469900" dist="139700" dir="8100000" sx="90000" sy="90000" algn="tr" rotWithShape="0">
                    <a:prstClr val="black">
                      <a:alpha val="10000"/>
                    </a:prstClr>
                  </a:outerShdw>
                  <a:softEdge rad="508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等线" panose="020F0502020204030204"/>
                    <a:ea typeface="+mn-ea"/>
                    <a:cs typeface="+mn-cs"/>
                  </a:endParaRPr>
                </a:p>
              </p:txBody>
            </p:sp>
            <p:sp>
              <p:nvSpPr>
                <p:cNvPr id="44" name="Graphic 14">
                  <a:extLst>
                    <a:ext uri="{FF2B5EF4-FFF2-40B4-BE49-F238E27FC236}">
                      <a16:creationId xmlns:a16="http://schemas.microsoft.com/office/drawing/2014/main" id="{19D9E461-0778-4335-AA24-F1FD50311C3F}"/>
                    </a:ext>
                  </a:extLst>
                </p:cNvPr>
                <p:cNvSpPr/>
                <p:nvPr/>
              </p:nvSpPr>
              <p:spPr>
                <a:xfrm>
                  <a:off x="6394679" y="3078417"/>
                  <a:ext cx="270882" cy="270882"/>
                </a:xfrm>
                <a:custGeom>
                  <a:avLst/>
                  <a:gdLst>
                    <a:gd name="connsiteX0" fmla="*/ 266895 w 419725"/>
                    <a:gd name="connsiteY0" fmla="*/ 0 h 419725"/>
                    <a:gd name="connsiteX1" fmla="*/ 114065 w 419725"/>
                    <a:gd name="connsiteY1" fmla="*/ 152823 h 419725"/>
                    <a:gd name="connsiteX2" fmla="*/ 150487 w 419725"/>
                    <a:gd name="connsiteY2" fmla="*/ 251851 h 419725"/>
                    <a:gd name="connsiteX3" fmla="*/ 126369 w 419725"/>
                    <a:gd name="connsiteY3" fmla="*/ 275977 h 419725"/>
                    <a:gd name="connsiteX4" fmla="*/ 117672 w 419725"/>
                    <a:gd name="connsiteY4" fmla="*/ 267271 h 419725"/>
                    <a:gd name="connsiteX5" fmla="*/ 100284 w 419725"/>
                    <a:gd name="connsiteY5" fmla="*/ 267271 h 419725"/>
                    <a:gd name="connsiteX6" fmla="*/ 3600 w 419725"/>
                    <a:gd name="connsiteY6" fmla="*/ 363956 h 419725"/>
                    <a:gd name="connsiteX7" fmla="*/ 3600 w 419725"/>
                    <a:gd name="connsiteY7" fmla="*/ 381343 h 419725"/>
                    <a:gd name="connsiteX8" fmla="*/ 38383 w 419725"/>
                    <a:gd name="connsiteY8" fmla="*/ 416126 h 419725"/>
                    <a:gd name="connsiteX9" fmla="*/ 55770 w 419725"/>
                    <a:gd name="connsiteY9" fmla="*/ 416126 h 419725"/>
                    <a:gd name="connsiteX10" fmla="*/ 152446 w 419725"/>
                    <a:gd name="connsiteY10" fmla="*/ 319442 h 419725"/>
                    <a:gd name="connsiteX11" fmla="*/ 152446 w 419725"/>
                    <a:gd name="connsiteY11" fmla="*/ 302054 h 419725"/>
                    <a:gd name="connsiteX12" fmla="*/ 143757 w 419725"/>
                    <a:gd name="connsiteY12" fmla="*/ 293365 h 419725"/>
                    <a:gd name="connsiteX13" fmla="*/ 167875 w 419725"/>
                    <a:gd name="connsiteY13" fmla="*/ 269239 h 419725"/>
                    <a:gd name="connsiteX14" fmla="*/ 266895 w 419725"/>
                    <a:gd name="connsiteY14" fmla="*/ 305661 h 419725"/>
                    <a:gd name="connsiteX15" fmla="*/ 419726 w 419725"/>
                    <a:gd name="connsiteY15" fmla="*/ 152823 h 419725"/>
                    <a:gd name="connsiteX16" fmla="*/ 266895 w 419725"/>
                    <a:gd name="connsiteY16" fmla="*/ 0 h 419725"/>
                    <a:gd name="connsiteX17" fmla="*/ 266895 w 419725"/>
                    <a:gd name="connsiteY17" fmla="*/ 73780 h 419725"/>
                    <a:gd name="connsiteX18" fmla="*/ 187844 w 419725"/>
                    <a:gd name="connsiteY18" fmla="*/ 152831 h 419725"/>
                    <a:gd name="connsiteX19" fmla="*/ 175548 w 419725"/>
                    <a:gd name="connsiteY19" fmla="*/ 165127 h 419725"/>
                    <a:gd name="connsiteX20" fmla="*/ 163251 w 419725"/>
                    <a:gd name="connsiteY20" fmla="*/ 152831 h 419725"/>
                    <a:gd name="connsiteX21" fmla="*/ 266895 w 419725"/>
                    <a:gd name="connsiteY21" fmla="*/ 49187 h 419725"/>
                    <a:gd name="connsiteX22" fmla="*/ 279192 w 419725"/>
                    <a:gd name="connsiteY22" fmla="*/ 61483 h 419725"/>
                    <a:gd name="connsiteX23" fmla="*/ 266895 w 419725"/>
                    <a:gd name="connsiteY23" fmla="*/ 73780 h 419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19725" h="419725">
                      <a:moveTo>
                        <a:pt x="266895" y="0"/>
                      </a:moveTo>
                      <a:cubicBezTo>
                        <a:pt x="182622" y="0"/>
                        <a:pt x="114065" y="68558"/>
                        <a:pt x="114065" y="152823"/>
                      </a:cubicBezTo>
                      <a:cubicBezTo>
                        <a:pt x="114065" y="189614"/>
                        <a:pt x="127066" y="224299"/>
                        <a:pt x="150487" y="251851"/>
                      </a:cubicBezTo>
                      <a:lnTo>
                        <a:pt x="126369" y="275977"/>
                      </a:lnTo>
                      <a:lnTo>
                        <a:pt x="117672" y="267271"/>
                      </a:lnTo>
                      <a:cubicBezTo>
                        <a:pt x="112868" y="262476"/>
                        <a:pt x="105080" y="262476"/>
                        <a:pt x="100284" y="267271"/>
                      </a:cubicBezTo>
                      <a:lnTo>
                        <a:pt x="3600" y="363956"/>
                      </a:lnTo>
                      <a:cubicBezTo>
                        <a:pt x="-1196" y="368751"/>
                        <a:pt x="-1204" y="376539"/>
                        <a:pt x="3600" y="381343"/>
                      </a:cubicBezTo>
                      <a:lnTo>
                        <a:pt x="38383" y="416126"/>
                      </a:lnTo>
                      <a:cubicBezTo>
                        <a:pt x="43187" y="420922"/>
                        <a:pt x="50966" y="420930"/>
                        <a:pt x="55770" y="416126"/>
                      </a:cubicBezTo>
                      <a:lnTo>
                        <a:pt x="152446" y="319442"/>
                      </a:lnTo>
                      <a:cubicBezTo>
                        <a:pt x="157250" y="314646"/>
                        <a:pt x="157250" y="306858"/>
                        <a:pt x="152446" y="302054"/>
                      </a:cubicBezTo>
                      <a:lnTo>
                        <a:pt x="143757" y="293365"/>
                      </a:lnTo>
                      <a:lnTo>
                        <a:pt x="167875" y="269239"/>
                      </a:lnTo>
                      <a:cubicBezTo>
                        <a:pt x="195493" y="292717"/>
                        <a:pt x="230202" y="305661"/>
                        <a:pt x="266895" y="305661"/>
                      </a:cubicBezTo>
                      <a:cubicBezTo>
                        <a:pt x="351168" y="305661"/>
                        <a:pt x="419726" y="237104"/>
                        <a:pt x="419726" y="152823"/>
                      </a:cubicBezTo>
                      <a:cubicBezTo>
                        <a:pt x="419726" y="68558"/>
                        <a:pt x="351168" y="0"/>
                        <a:pt x="266895" y="0"/>
                      </a:cubicBezTo>
                      <a:close/>
                      <a:moveTo>
                        <a:pt x="266895" y="73780"/>
                      </a:moveTo>
                      <a:cubicBezTo>
                        <a:pt x="223308" y="73780"/>
                        <a:pt x="187844" y="109243"/>
                        <a:pt x="187844" y="152831"/>
                      </a:cubicBezTo>
                      <a:cubicBezTo>
                        <a:pt x="187844" y="159618"/>
                        <a:pt x="182335" y="165127"/>
                        <a:pt x="175548" y="165127"/>
                      </a:cubicBezTo>
                      <a:cubicBezTo>
                        <a:pt x="168752" y="165127"/>
                        <a:pt x="163251" y="159618"/>
                        <a:pt x="163251" y="152831"/>
                      </a:cubicBezTo>
                      <a:cubicBezTo>
                        <a:pt x="163251" y="95684"/>
                        <a:pt x="209749" y="49187"/>
                        <a:pt x="266895" y="49187"/>
                      </a:cubicBezTo>
                      <a:cubicBezTo>
                        <a:pt x="273683" y="49187"/>
                        <a:pt x="279192" y="54695"/>
                        <a:pt x="279192" y="61483"/>
                      </a:cubicBezTo>
                      <a:cubicBezTo>
                        <a:pt x="279192" y="68271"/>
                        <a:pt x="273683" y="73780"/>
                        <a:pt x="266895" y="73780"/>
                      </a:cubicBezTo>
                      <a:close/>
                    </a:path>
                  </a:pathLst>
                </a:custGeom>
                <a:solidFill>
                  <a:schemeClr val="bg1"/>
                </a:solidFill>
                <a:ln w="81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grpSp>
        <p:grpSp>
          <p:nvGrpSpPr>
            <p:cNvPr id="8" name="Group 183">
              <a:extLst>
                <a:ext uri="{FF2B5EF4-FFF2-40B4-BE49-F238E27FC236}">
                  <a16:creationId xmlns:a16="http://schemas.microsoft.com/office/drawing/2014/main" id="{B2F16FB8-57F2-469C-9B80-61028D977C3B}"/>
                </a:ext>
              </a:extLst>
            </p:cNvPr>
            <p:cNvGrpSpPr/>
            <p:nvPr/>
          </p:nvGrpSpPr>
          <p:grpSpPr>
            <a:xfrm>
              <a:off x="4701532" y="1965280"/>
              <a:ext cx="2670098" cy="684879"/>
              <a:chOff x="3249451" y="1853694"/>
              <a:chExt cx="2670098" cy="684879"/>
            </a:xfrm>
          </p:grpSpPr>
          <p:sp>
            <p:nvSpPr>
              <p:cNvPr id="29" name="Rectangle: Rounded Corners 140">
                <a:extLst>
                  <a:ext uri="{FF2B5EF4-FFF2-40B4-BE49-F238E27FC236}">
                    <a16:creationId xmlns:a16="http://schemas.microsoft.com/office/drawing/2014/main" id="{44D314A2-31AA-4BB9-B895-2443AEAA0A41}"/>
                  </a:ext>
                </a:extLst>
              </p:cNvPr>
              <p:cNvSpPr/>
              <p:nvPr/>
            </p:nvSpPr>
            <p:spPr>
              <a:xfrm>
                <a:off x="3523003" y="1853694"/>
                <a:ext cx="2292251" cy="684879"/>
              </a:xfrm>
              <a:prstGeom prst="roundRect">
                <a:avLst>
                  <a:gd name="adj" fmla="val 17279"/>
                </a:avLst>
              </a:prstGeom>
              <a:solidFill>
                <a:schemeClr val="bg1"/>
              </a:solidFill>
              <a:ln>
                <a:noFill/>
              </a:ln>
              <a:effectLst>
                <a:outerShdw blurRad="482600" sx="88000" sy="88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等线" panose="020F0502020204030204"/>
                  <a:ea typeface="+mn-ea"/>
                  <a:cs typeface="+mn-cs"/>
                </a:endParaRPr>
              </a:p>
            </p:txBody>
          </p:sp>
          <p:sp>
            <p:nvSpPr>
              <p:cNvPr id="30" name="TextBox 141">
                <a:extLst>
                  <a:ext uri="{FF2B5EF4-FFF2-40B4-BE49-F238E27FC236}">
                    <a16:creationId xmlns:a16="http://schemas.microsoft.com/office/drawing/2014/main" id="{0F1C7BC0-4EB7-4685-93CF-C725A69A0841}"/>
                  </a:ext>
                </a:extLst>
              </p:cNvPr>
              <p:cNvSpPr txBox="1"/>
              <p:nvPr/>
            </p:nvSpPr>
            <p:spPr>
              <a:xfrm>
                <a:off x="3874658" y="1857859"/>
                <a:ext cx="1699273" cy="326884"/>
              </a:xfrm>
              <a:prstGeom prst="rect">
                <a:avLst/>
              </a:prstGeom>
              <a:noFill/>
            </p:spPr>
            <p:txBody>
              <a:bodyPr wrap="square" rtlCol="0">
                <a:spAutoFit/>
              </a:bodyPr>
              <a:lstStyle/>
              <a:p>
                <a:pPr marL="0" marR="0" lvl="0" indent="0" algn="l" defTabSz="914400" rtl="0" eaLnBrk="1" fontAlgn="auto" latinLnBrk="0" hangingPunct="1">
                  <a:lnSpc>
                    <a:spcPct val="14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lumMod val="65000"/>
                        <a:lumOff val="35000"/>
                      </a:srgbClr>
                    </a:solidFill>
                    <a:effectLst/>
                    <a:uLnTx/>
                    <a:uFillTx/>
                    <a:latin typeface="等线 Light" panose="020F0302020204030204"/>
                    <a:ea typeface="+mn-ea"/>
                    <a:cs typeface="+mn-cs"/>
                  </a:rPr>
                  <a:t>Lorem ipsum dolor</a:t>
                </a:r>
              </a:p>
            </p:txBody>
          </p:sp>
          <p:sp>
            <p:nvSpPr>
              <p:cNvPr id="31" name="TextBox 142">
                <a:extLst>
                  <a:ext uri="{FF2B5EF4-FFF2-40B4-BE49-F238E27FC236}">
                    <a16:creationId xmlns:a16="http://schemas.microsoft.com/office/drawing/2014/main" id="{B769FDB4-96C1-4801-A462-D25B666479CC}"/>
                  </a:ext>
                </a:extLst>
              </p:cNvPr>
              <p:cNvSpPr txBox="1"/>
              <p:nvPr/>
            </p:nvSpPr>
            <p:spPr>
              <a:xfrm>
                <a:off x="3874658" y="2029454"/>
                <a:ext cx="2044891" cy="473591"/>
              </a:xfrm>
              <a:prstGeom prst="rect">
                <a:avLst/>
              </a:prstGeom>
              <a:noFill/>
            </p:spPr>
            <p:txBody>
              <a:bodyPr wrap="square" rtlCol="0">
                <a:spAutoFit/>
              </a:bodyPr>
              <a:lstStyle/>
              <a:p>
                <a:pPr marL="0" marR="0" lvl="0" indent="0" algn="l" defTabSz="914400" rtl="0" eaLnBrk="1" fontAlgn="auto" latinLnBrk="0" hangingPunct="1">
                  <a:lnSpc>
                    <a:spcPct val="14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FF388A"/>
                    </a:solidFill>
                    <a:effectLst/>
                    <a:uLnTx/>
                    <a:uFillTx/>
                    <a:latin typeface="Segoe UI" panose="020B0502040204020203" pitchFamily="34" charset="0"/>
                    <a:ea typeface="+mn-ea"/>
                    <a:cs typeface="Segoe UI" panose="020B0502040204020203" pitchFamily="34" charset="0"/>
                  </a:rPr>
                  <a:t>21.000-36.021</a:t>
                </a:r>
              </a:p>
            </p:txBody>
          </p:sp>
          <p:grpSp>
            <p:nvGrpSpPr>
              <p:cNvPr id="32" name="Group 143">
                <a:extLst>
                  <a:ext uri="{FF2B5EF4-FFF2-40B4-BE49-F238E27FC236}">
                    <a16:creationId xmlns:a16="http://schemas.microsoft.com/office/drawing/2014/main" id="{1B7CD160-14FE-41AE-AE1F-72CF4943EB92}"/>
                  </a:ext>
                </a:extLst>
              </p:cNvPr>
              <p:cNvGrpSpPr/>
              <p:nvPr/>
            </p:nvGrpSpPr>
            <p:grpSpPr>
              <a:xfrm>
                <a:off x="3249451" y="1925019"/>
                <a:ext cx="547103" cy="559671"/>
                <a:chOff x="6256569" y="2934023"/>
                <a:chExt cx="547103" cy="559671"/>
              </a:xfrm>
            </p:grpSpPr>
            <p:sp>
              <p:nvSpPr>
                <p:cNvPr id="33" name="Rectangle: Rounded Corners 148">
                  <a:extLst>
                    <a:ext uri="{FF2B5EF4-FFF2-40B4-BE49-F238E27FC236}">
                      <a16:creationId xmlns:a16="http://schemas.microsoft.com/office/drawing/2014/main" id="{3C3E4234-4CD2-4FB0-809B-738CB044CBB1}"/>
                    </a:ext>
                  </a:extLst>
                </p:cNvPr>
                <p:cNvSpPr/>
                <p:nvPr/>
              </p:nvSpPr>
              <p:spPr>
                <a:xfrm>
                  <a:off x="6256569" y="2934023"/>
                  <a:ext cx="547103" cy="559671"/>
                </a:xfrm>
                <a:prstGeom prst="roundRect">
                  <a:avLst>
                    <a:gd name="adj" fmla="val 26931"/>
                  </a:avLst>
                </a:prstGeom>
                <a:gradFill>
                  <a:gsLst>
                    <a:gs pos="100000">
                      <a:schemeClr val="accent3"/>
                    </a:gs>
                    <a:gs pos="0">
                      <a:schemeClr val="accent3">
                        <a:lumMod val="60000"/>
                        <a:lumOff val="40000"/>
                      </a:schemeClr>
                    </a:gs>
                  </a:gsLst>
                  <a:lin ang="2700000" scaled="0"/>
                </a:gradFill>
                <a:ln>
                  <a:noFill/>
                </a:ln>
                <a:effectLst>
                  <a:outerShdw blurRad="469900" dist="139700" dir="8100000" sx="90000" sy="90000" algn="tr" rotWithShape="0">
                    <a:prstClr val="black">
                      <a:alpha val="10000"/>
                    </a:prstClr>
                  </a:outerShdw>
                  <a:softEdge rad="508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等线" panose="020F0502020204030204"/>
                    <a:ea typeface="+mn-ea"/>
                    <a:cs typeface="+mn-cs"/>
                  </a:endParaRPr>
                </a:p>
              </p:txBody>
            </p:sp>
            <p:grpSp>
              <p:nvGrpSpPr>
                <p:cNvPr id="34" name="Graphic 2">
                  <a:extLst>
                    <a:ext uri="{FF2B5EF4-FFF2-40B4-BE49-F238E27FC236}">
                      <a16:creationId xmlns:a16="http://schemas.microsoft.com/office/drawing/2014/main" id="{9DDD1DB4-A2CA-47CE-98A0-DB0593166A80}"/>
                    </a:ext>
                  </a:extLst>
                </p:cNvPr>
                <p:cNvGrpSpPr/>
                <p:nvPr/>
              </p:nvGrpSpPr>
              <p:grpSpPr>
                <a:xfrm>
                  <a:off x="6394679" y="3089263"/>
                  <a:ext cx="270882" cy="249190"/>
                  <a:chOff x="9803562" y="1740892"/>
                  <a:chExt cx="419725" cy="386114"/>
                </a:xfrm>
                <a:solidFill>
                  <a:schemeClr val="bg1"/>
                </a:solidFill>
              </p:grpSpPr>
              <p:sp>
                <p:nvSpPr>
                  <p:cNvPr id="35" name="Freeform: Shape 150">
                    <a:extLst>
                      <a:ext uri="{FF2B5EF4-FFF2-40B4-BE49-F238E27FC236}">
                        <a16:creationId xmlns:a16="http://schemas.microsoft.com/office/drawing/2014/main" id="{9999A202-E18D-41AD-B3DA-3D303F12A84C}"/>
                      </a:ext>
                    </a:extLst>
                  </p:cNvPr>
                  <p:cNvSpPr/>
                  <p:nvPr/>
                </p:nvSpPr>
                <p:spPr>
                  <a:xfrm>
                    <a:off x="9901181" y="1823910"/>
                    <a:ext cx="26233" cy="26233"/>
                  </a:xfrm>
                  <a:custGeom>
                    <a:avLst/>
                    <a:gdLst>
                      <a:gd name="connsiteX0" fmla="*/ 13461 w 26232"/>
                      <a:gd name="connsiteY0" fmla="*/ 26913 h 26232"/>
                      <a:gd name="connsiteX1" fmla="*/ 26921 w 26232"/>
                      <a:gd name="connsiteY1" fmla="*/ 13453 h 26232"/>
                      <a:gd name="connsiteX2" fmla="*/ 13461 w 26232"/>
                      <a:gd name="connsiteY2" fmla="*/ 0 h 26232"/>
                      <a:gd name="connsiteX3" fmla="*/ 0 w 26232"/>
                      <a:gd name="connsiteY3" fmla="*/ 13453 h 26232"/>
                      <a:gd name="connsiteX4" fmla="*/ 13461 w 26232"/>
                      <a:gd name="connsiteY4" fmla="*/ 26913 h 262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32" h="26232">
                        <a:moveTo>
                          <a:pt x="13461" y="26913"/>
                        </a:moveTo>
                        <a:cubicBezTo>
                          <a:pt x="20880" y="26913"/>
                          <a:pt x="26921" y="20880"/>
                          <a:pt x="26921" y="13453"/>
                        </a:cubicBezTo>
                        <a:cubicBezTo>
                          <a:pt x="26921" y="6034"/>
                          <a:pt x="20880" y="0"/>
                          <a:pt x="13461" y="0"/>
                        </a:cubicBezTo>
                        <a:cubicBezTo>
                          <a:pt x="6042" y="0"/>
                          <a:pt x="0" y="6034"/>
                          <a:pt x="0" y="13453"/>
                        </a:cubicBezTo>
                        <a:cubicBezTo>
                          <a:pt x="0" y="20880"/>
                          <a:pt x="6042" y="26913"/>
                          <a:pt x="13461" y="26913"/>
                        </a:cubicBezTo>
                        <a:close/>
                      </a:path>
                    </a:pathLst>
                  </a:custGeom>
                  <a:grpFill/>
                  <a:ln w="81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6" name="Freeform: Shape 151">
                    <a:extLst>
                      <a:ext uri="{FF2B5EF4-FFF2-40B4-BE49-F238E27FC236}">
                        <a16:creationId xmlns:a16="http://schemas.microsoft.com/office/drawing/2014/main" id="{05269CCC-673B-4F94-82AB-880F2365C4B1}"/>
                      </a:ext>
                    </a:extLst>
                  </p:cNvPr>
                  <p:cNvSpPr/>
                  <p:nvPr/>
                </p:nvSpPr>
                <p:spPr>
                  <a:xfrm>
                    <a:off x="9883252" y="1875417"/>
                    <a:ext cx="62303" cy="28692"/>
                  </a:xfrm>
                  <a:custGeom>
                    <a:avLst/>
                    <a:gdLst>
                      <a:gd name="connsiteX0" fmla="*/ 31389 w 62302"/>
                      <a:gd name="connsiteY0" fmla="*/ 0 h 28692"/>
                      <a:gd name="connsiteX1" fmla="*/ 0 w 62302"/>
                      <a:gd name="connsiteY1" fmla="*/ 28774 h 28692"/>
                      <a:gd name="connsiteX2" fmla="*/ 62778 w 62302"/>
                      <a:gd name="connsiteY2" fmla="*/ 28774 h 28692"/>
                      <a:gd name="connsiteX3" fmla="*/ 31389 w 62302"/>
                      <a:gd name="connsiteY3" fmla="*/ 0 h 28692"/>
                    </a:gdLst>
                    <a:ahLst/>
                    <a:cxnLst>
                      <a:cxn ang="0">
                        <a:pos x="connsiteX0" y="connsiteY0"/>
                      </a:cxn>
                      <a:cxn ang="0">
                        <a:pos x="connsiteX1" y="connsiteY1"/>
                      </a:cxn>
                      <a:cxn ang="0">
                        <a:pos x="connsiteX2" y="connsiteY2"/>
                      </a:cxn>
                      <a:cxn ang="0">
                        <a:pos x="connsiteX3" y="connsiteY3"/>
                      </a:cxn>
                    </a:cxnLst>
                    <a:rect l="l" t="t" r="r" b="b"/>
                    <a:pathLst>
                      <a:path w="62302" h="28692">
                        <a:moveTo>
                          <a:pt x="31389" y="0"/>
                        </a:moveTo>
                        <a:cubicBezTo>
                          <a:pt x="14936" y="0"/>
                          <a:pt x="1394" y="12674"/>
                          <a:pt x="0" y="28774"/>
                        </a:cubicBezTo>
                        <a:lnTo>
                          <a:pt x="62778" y="28774"/>
                        </a:lnTo>
                        <a:cubicBezTo>
                          <a:pt x="61385" y="12674"/>
                          <a:pt x="47842" y="0"/>
                          <a:pt x="31389" y="0"/>
                        </a:cubicBezTo>
                        <a:close/>
                      </a:path>
                    </a:pathLst>
                  </a:custGeom>
                  <a:grpFill/>
                  <a:ln w="81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7" name="Freeform: Shape 152">
                    <a:extLst>
                      <a:ext uri="{FF2B5EF4-FFF2-40B4-BE49-F238E27FC236}">
                        <a16:creationId xmlns:a16="http://schemas.microsoft.com/office/drawing/2014/main" id="{C9529D2B-64C7-4A8B-BD32-4ACDC5E21E19}"/>
                      </a:ext>
                    </a:extLst>
                  </p:cNvPr>
                  <p:cNvSpPr/>
                  <p:nvPr/>
                </p:nvSpPr>
                <p:spPr>
                  <a:xfrm>
                    <a:off x="9803562" y="1740892"/>
                    <a:ext cx="419725" cy="220520"/>
                  </a:xfrm>
                  <a:custGeom>
                    <a:avLst/>
                    <a:gdLst>
                      <a:gd name="connsiteX0" fmla="*/ 407428 w 419725"/>
                      <a:gd name="connsiteY0" fmla="*/ 0 h 220519"/>
                      <a:gd name="connsiteX1" fmla="*/ 12297 w 419725"/>
                      <a:gd name="connsiteY1" fmla="*/ 0 h 220519"/>
                      <a:gd name="connsiteX2" fmla="*/ 0 w 419725"/>
                      <a:gd name="connsiteY2" fmla="*/ 12297 h 220519"/>
                      <a:gd name="connsiteX3" fmla="*/ 0 w 419725"/>
                      <a:gd name="connsiteY3" fmla="*/ 220938 h 220519"/>
                      <a:gd name="connsiteX4" fmla="*/ 419725 w 419725"/>
                      <a:gd name="connsiteY4" fmla="*/ 220938 h 220519"/>
                      <a:gd name="connsiteX5" fmla="*/ 419725 w 419725"/>
                      <a:gd name="connsiteY5" fmla="*/ 12297 h 220519"/>
                      <a:gd name="connsiteX6" fmla="*/ 407428 w 419725"/>
                      <a:gd name="connsiteY6" fmla="*/ 0 h 220519"/>
                      <a:gd name="connsiteX7" fmla="*/ 167177 w 419725"/>
                      <a:gd name="connsiteY7" fmla="*/ 175596 h 220519"/>
                      <a:gd name="connsiteX8" fmla="*/ 154880 w 419725"/>
                      <a:gd name="connsiteY8" fmla="*/ 187893 h 220519"/>
                      <a:gd name="connsiteX9" fmla="*/ 67279 w 419725"/>
                      <a:gd name="connsiteY9" fmla="*/ 187893 h 220519"/>
                      <a:gd name="connsiteX10" fmla="*/ 54982 w 419725"/>
                      <a:gd name="connsiteY10" fmla="*/ 175596 h 220519"/>
                      <a:gd name="connsiteX11" fmla="*/ 54982 w 419725"/>
                      <a:gd name="connsiteY11" fmla="*/ 166029 h 220519"/>
                      <a:gd name="connsiteX12" fmla="*/ 80469 w 419725"/>
                      <a:gd name="connsiteY12" fmla="*/ 119056 h 220519"/>
                      <a:gd name="connsiteX13" fmla="*/ 73026 w 419725"/>
                      <a:gd name="connsiteY13" fmla="*/ 96471 h 220519"/>
                      <a:gd name="connsiteX14" fmla="*/ 111080 w 419725"/>
                      <a:gd name="connsiteY14" fmla="*/ 58425 h 220519"/>
                      <a:gd name="connsiteX15" fmla="*/ 149134 w 419725"/>
                      <a:gd name="connsiteY15" fmla="*/ 96471 h 220519"/>
                      <a:gd name="connsiteX16" fmla="*/ 141690 w 419725"/>
                      <a:gd name="connsiteY16" fmla="*/ 119056 h 220519"/>
                      <a:gd name="connsiteX17" fmla="*/ 167177 w 419725"/>
                      <a:gd name="connsiteY17" fmla="*/ 166029 h 220519"/>
                      <a:gd name="connsiteX18" fmla="*/ 358242 w 419725"/>
                      <a:gd name="connsiteY18" fmla="*/ 183302 h 220519"/>
                      <a:gd name="connsiteX19" fmla="*/ 247474 w 419725"/>
                      <a:gd name="connsiteY19" fmla="*/ 183302 h 220519"/>
                      <a:gd name="connsiteX20" fmla="*/ 235177 w 419725"/>
                      <a:gd name="connsiteY20" fmla="*/ 171005 h 220519"/>
                      <a:gd name="connsiteX21" fmla="*/ 247474 w 419725"/>
                      <a:gd name="connsiteY21" fmla="*/ 158709 h 220519"/>
                      <a:gd name="connsiteX22" fmla="*/ 358242 w 419725"/>
                      <a:gd name="connsiteY22" fmla="*/ 158709 h 220519"/>
                      <a:gd name="connsiteX23" fmla="*/ 370538 w 419725"/>
                      <a:gd name="connsiteY23" fmla="*/ 171005 h 220519"/>
                      <a:gd name="connsiteX24" fmla="*/ 358242 w 419725"/>
                      <a:gd name="connsiteY24" fmla="*/ 183302 h 220519"/>
                      <a:gd name="connsiteX25" fmla="*/ 358242 w 419725"/>
                      <a:gd name="connsiteY25" fmla="*/ 134115 h 220519"/>
                      <a:gd name="connsiteX26" fmla="*/ 247474 w 419725"/>
                      <a:gd name="connsiteY26" fmla="*/ 134115 h 220519"/>
                      <a:gd name="connsiteX27" fmla="*/ 235177 w 419725"/>
                      <a:gd name="connsiteY27" fmla="*/ 121819 h 220519"/>
                      <a:gd name="connsiteX28" fmla="*/ 247474 w 419725"/>
                      <a:gd name="connsiteY28" fmla="*/ 109522 h 220519"/>
                      <a:gd name="connsiteX29" fmla="*/ 358242 w 419725"/>
                      <a:gd name="connsiteY29" fmla="*/ 109522 h 220519"/>
                      <a:gd name="connsiteX30" fmla="*/ 370538 w 419725"/>
                      <a:gd name="connsiteY30" fmla="*/ 121819 h 220519"/>
                      <a:gd name="connsiteX31" fmla="*/ 358242 w 419725"/>
                      <a:gd name="connsiteY31" fmla="*/ 134115 h 220519"/>
                      <a:gd name="connsiteX32" fmla="*/ 358242 w 419725"/>
                      <a:gd name="connsiteY32" fmla="*/ 84929 h 220519"/>
                      <a:gd name="connsiteX33" fmla="*/ 247474 w 419725"/>
                      <a:gd name="connsiteY33" fmla="*/ 84929 h 220519"/>
                      <a:gd name="connsiteX34" fmla="*/ 235177 w 419725"/>
                      <a:gd name="connsiteY34" fmla="*/ 72632 h 220519"/>
                      <a:gd name="connsiteX35" fmla="*/ 247474 w 419725"/>
                      <a:gd name="connsiteY35" fmla="*/ 60335 h 220519"/>
                      <a:gd name="connsiteX36" fmla="*/ 358242 w 419725"/>
                      <a:gd name="connsiteY36" fmla="*/ 60335 h 220519"/>
                      <a:gd name="connsiteX37" fmla="*/ 370538 w 419725"/>
                      <a:gd name="connsiteY37" fmla="*/ 72632 h 220519"/>
                      <a:gd name="connsiteX38" fmla="*/ 358242 w 419725"/>
                      <a:gd name="connsiteY38" fmla="*/ 84929 h 2205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19725" h="220519">
                        <a:moveTo>
                          <a:pt x="407428" y="0"/>
                        </a:moveTo>
                        <a:lnTo>
                          <a:pt x="12297" y="0"/>
                        </a:lnTo>
                        <a:cubicBezTo>
                          <a:pt x="5509" y="0"/>
                          <a:pt x="0" y="5509"/>
                          <a:pt x="0" y="12297"/>
                        </a:cubicBezTo>
                        <a:lnTo>
                          <a:pt x="0" y="220938"/>
                        </a:lnTo>
                        <a:lnTo>
                          <a:pt x="419725" y="220938"/>
                        </a:lnTo>
                        <a:lnTo>
                          <a:pt x="419725" y="12297"/>
                        </a:lnTo>
                        <a:cubicBezTo>
                          <a:pt x="419725" y="5509"/>
                          <a:pt x="414216" y="0"/>
                          <a:pt x="407428" y="0"/>
                        </a:cubicBezTo>
                        <a:close/>
                        <a:moveTo>
                          <a:pt x="167177" y="175596"/>
                        </a:moveTo>
                        <a:cubicBezTo>
                          <a:pt x="167177" y="182384"/>
                          <a:pt x="161676" y="187893"/>
                          <a:pt x="154880" y="187893"/>
                        </a:cubicBezTo>
                        <a:lnTo>
                          <a:pt x="67279" y="187893"/>
                        </a:lnTo>
                        <a:cubicBezTo>
                          <a:pt x="60483" y="187893"/>
                          <a:pt x="54982" y="182384"/>
                          <a:pt x="54982" y="175596"/>
                        </a:cubicBezTo>
                        <a:lnTo>
                          <a:pt x="54982" y="166029"/>
                        </a:lnTo>
                        <a:cubicBezTo>
                          <a:pt x="54982" y="146387"/>
                          <a:pt x="65131" y="129065"/>
                          <a:pt x="80469" y="119056"/>
                        </a:cubicBezTo>
                        <a:cubicBezTo>
                          <a:pt x="75796" y="112736"/>
                          <a:pt x="73026" y="104923"/>
                          <a:pt x="73026" y="96471"/>
                        </a:cubicBezTo>
                        <a:cubicBezTo>
                          <a:pt x="73026" y="75493"/>
                          <a:pt x="90102" y="58425"/>
                          <a:pt x="111080" y="58425"/>
                        </a:cubicBezTo>
                        <a:cubicBezTo>
                          <a:pt x="132058" y="58425"/>
                          <a:pt x="149134" y="75493"/>
                          <a:pt x="149134" y="96471"/>
                        </a:cubicBezTo>
                        <a:cubicBezTo>
                          <a:pt x="149134" y="104923"/>
                          <a:pt x="146363" y="112736"/>
                          <a:pt x="141690" y="119056"/>
                        </a:cubicBezTo>
                        <a:cubicBezTo>
                          <a:pt x="157028" y="129065"/>
                          <a:pt x="167177" y="146387"/>
                          <a:pt x="167177" y="166029"/>
                        </a:cubicBezTo>
                        <a:close/>
                        <a:moveTo>
                          <a:pt x="358242" y="183302"/>
                        </a:moveTo>
                        <a:lnTo>
                          <a:pt x="247474" y="183302"/>
                        </a:lnTo>
                        <a:cubicBezTo>
                          <a:pt x="240678" y="183302"/>
                          <a:pt x="235177" y="177793"/>
                          <a:pt x="235177" y="171005"/>
                        </a:cubicBezTo>
                        <a:cubicBezTo>
                          <a:pt x="235177" y="164209"/>
                          <a:pt x="240678" y="158709"/>
                          <a:pt x="247474" y="158709"/>
                        </a:cubicBezTo>
                        <a:lnTo>
                          <a:pt x="358242" y="158709"/>
                        </a:lnTo>
                        <a:cubicBezTo>
                          <a:pt x="365030" y="158709"/>
                          <a:pt x="370538" y="164209"/>
                          <a:pt x="370538" y="171005"/>
                        </a:cubicBezTo>
                        <a:cubicBezTo>
                          <a:pt x="370538" y="177793"/>
                          <a:pt x="365030" y="183302"/>
                          <a:pt x="358242" y="183302"/>
                        </a:cubicBezTo>
                        <a:close/>
                        <a:moveTo>
                          <a:pt x="358242" y="134115"/>
                        </a:moveTo>
                        <a:lnTo>
                          <a:pt x="247474" y="134115"/>
                        </a:lnTo>
                        <a:cubicBezTo>
                          <a:pt x="240678" y="134115"/>
                          <a:pt x="235177" y="128606"/>
                          <a:pt x="235177" y="121819"/>
                        </a:cubicBezTo>
                        <a:cubicBezTo>
                          <a:pt x="235177" y="115023"/>
                          <a:pt x="240678" y="109522"/>
                          <a:pt x="247474" y="109522"/>
                        </a:cubicBezTo>
                        <a:lnTo>
                          <a:pt x="358242" y="109522"/>
                        </a:lnTo>
                        <a:cubicBezTo>
                          <a:pt x="365030" y="109522"/>
                          <a:pt x="370538" y="115023"/>
                          <a:pt x="370538" y="121819"/>
                        </a:cubicBezTo>
                        <a:cubicBezTo>
                          <a:pt x="370538" y="128606"/>
                          <a:pt x="365030" y="134115"/>
                          <a:pt x="358242" y="134115"/>
                        </a:cubicBezTo>
                        <a:close/>
                        <a:moveTo>
                          <a:pt x="358242" y="84929"/>
                        </a:moveTo>
                        <a:lnTo>
                          <a:pt x="247474" y="84929"/>
                        </a:lnTo>
                        <a:cubicBezTo>
                          <a:pt x="240678" y="84929"/>
                          <a:pt x="235177" y="79420"/>
                          <a:pt x="235177" y="72632"/>
                        </a:cubicBezTo>
                        <a:cubicBezTo>
                          <a:pt x="235177" y="65836"/>
                          <a:pt x="240678" y="60335"/>
                          <a:pt x="247474" y="60335"/>
                        </a:cubicBezTo>
                        <a:lnTo>
                          <a:pt x="358242" y="60335"/>
                        </a:lnTo>
                        <a:cubicBezTo>
                          <a:pt x="365030" y="60335"/>
                          <a:pt x="370538" y="65836"/>
                          <a:pt x="370538" y="72632"/>
                        </a:cubicBezTo>
                        <a:cubicBezTo>
                          <a:pt x="370538" y="79420"/>
                          <a:pt x="365030" y="84929"/>
                          <a:pt x="358242" y="84929"/>
                        </a:cubicBezTo>
                        <a:close/>
                      </a:path>
                    </a:pathLst>
                  </a:custGeom>
                  <a:grpFill/>
                  <a:ln w="81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38" name="Freeform: Shape 153">
                    <a:extLst>
                      <a:ext uri="{FF2B5EF4-FFF2-40B4-BE49-F238E27FC236}">
                        <a16:creationId xmlns:a16="http://schemas.microsoft.com/office/drawing/2014/main" id="{A823FC5E-C813-4B8F-807F-E0D2483BB62C}"/>
                      </a:ext>
                    </a:extLst>
                  </p:cNvPr>
                  <p:cNvSpPr/>
                  <p:nvPr/>
                </p:nvSpPr>
                <p:spPr>
                  <a:xfrm>
                    <a:off x="9803562" y="1986423"/>
                    <a:ext cx="419725" cy="141001"/>
                  </a:xfrm>
                  <a:custGeom>
                    <a:avLst/>
                    <a:gdLst>
                      <a:gd name="connsiteX0" fmla="*/ 0 w 419725"/>
                      <a:gd name="connsiteY0" fmla="*/ 30717 h 141001"/>
                      <a:gd name="connsiteX1" fmla="*/ 12297 w 419725"/>
                      <a:gd name="connsiteY1" fmla="*/ 43014 h 141001"/>
                      <a:gd name="connsiteX2" fmla="*/ 180019 w 419725"/>
                      <a:gd name="connsiteY2" fmla="*/ 43014 h 141001"/>
                      <a:gd name="connsiteX3" fmla="*/ 180019 w 419725"/>
                      <a:gd name="connsiteY3" fmla="*/ 92200 h 141001"/>
                      <a:gd name="connsiteX4" fmla="*/ 156331 w 419725"/>
                      <a:gd name="connsiteY4" fmla="*/ 92200 h 141001"/>
                      <a:gd name="connsiteX5" fmla="*/ 115039 w 419725"/>
                      <a:gd name="connsiteY5" fmla="*/ 133500 h 141001"/>
                      <a:gd name="connsiteX6" fmla="*/ 117351 w 419725"/>
                      <a:gd name="connsiteY6" fmla="*/ 139075 h 141001"/>
                      <a:gd name="connsiteX7" fmla="*/ 122925 w 419725"/>
                      <a:gd name="connsiteY7" fmla="*/ 141387 h 141001"/>
                      <a:gd name="connsiteX8" fmla="*/ 296800 w 419725"/>
                      <a:gd name="connsiteY8" fmla="*/ 141387 h 141001"/>
                      <a:gd name="connsiteX9" fmla="*/ 304686 w 419725"/>
                      <a:gd name="connsiteY9" fmla="*/ 133500 h 141001"/>
                      <a:gd name="connsiteX10" fmla="*/ 292594 w 419725"/>
                      <a:gd name="connsiteY10" fmla="*/ 104292 h 141001"/>
                      <a:gd name="connsiteX11" fmla="*/ 263394 w 419725"/>
                      <a:gd name="connsiteY11" fmla="*/ 92200 h 141001"/>
                      <a:gd name="connsiteX12" fmla="*/ 239706 w 419725"/>
                      <a:gd name="connsiteY12" fmla="*/ 92200 h 141001"/>
                      <a:gd name="connsiteX13" fmla="*/ 239706 w 419725"/>
                      <a:gd name="connsiteY13" fmla="*/ 43014 h 141001"/>
                      <a:gd name="connsiteX14" fmla="*/ 407428 w 419725"/>
                      <a:gd name="connsiteY14" fmla="*/ 43014 h 141001"/>
                      <a:gd name="connsiteX15" fmla="*/ 419725 w 419725"/>
                      <a:gd name="connsiteY15" fmla="*/ 30717 h 141001"/>
                      <a:gd name="connsiteX16" fmla="*/ 419725 w 419725"/>
                      <a:gd name="connsiteY16" fmla="*/ 0 h 141001"/>
                      <a:gd name="connsiteX17" fmla="*/ 0 w 419725"/>
                      <a:gd name="connsiteY17" fmla="*/ 0 h 141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19725" h="141001">
                        <a:moveTo>
                          <a:pt x="0" y="30717"/>
                        </a:moveTo>
                        <a:cubicBezTo>
                          <a:pt x="0" y="37505"/>
                          <a:pt x="5509" y="43014"/>
                          <a:pt x="12297" y="43014"/>
                        </a:cubicBezTo>
                        <a:lnTo>
                          <a:pt x="180019" y="43014"/>
                        </a:lnTo>
                        <a:lnTo>
                          <a:pt x="180019" y="92200"/>
                        </a:lnTo>
                        <a:lnTo>
                          <a:pt x="156331" y="92200"/>
                        </a:lnTo>
                        <a:cubicBezTo>
                          <a:pt x="133525" y="92200"/>
                          <a:pt x="115039" y="110686"/>
                          <a:pt x="115039" y="133500"/>
                        </a:cubicBezTo>
                        <a:cubicBezTo>
                          <a:pt x="115039" y="135681"/>
                          <a:pt x="115924" y="137648"/>
                          <a:pt x="117351" y="139075"/>
                        </a:cubicBezTo>
                        <a:cubicBezTo>
                          <a:pt x="118777" y="140501"/>
                          <a:pt x="120753" y="141387"/>
                          <a:pt x="122925" y="141387"/>
                        </a:cubicBezTo>
                        <a:lnTo>
                          <a:pt x="296800" y="141387"/>
                        </a:lnTo>
                        <a:cubicBezTo>
                          <a:pt x="301153" y="141387"/>
                          <a:pt x="304686" y="137853"/>
                          <a:pt x="304686" y="133500"/>
                        </a:cubicBezTo>
                        <a:cubicBezTo>
                          <a:pt x="304686" y="122089"/>
                          <a:pt x="300062" y="111768"/>
                          <a:pt x="292594" y="104292"/>
                        </a:cubicBezTo>
                        <a:cubicBezTo>
                          <a:pt x="285118" y="96824"/>
                          <a:pt x="274797" y="92200"/>
                          <a:pt x="263394" y="92200"/>
                        </a:cubicBezTo>
                        <a:lnTo>
                          <a:pt x="239706" y="92200"/>
                        </a:lnTo>
                        <a:lnTo>
                          <a:pt x="239706" y="43014"/>
                        </a:lnTo>
                        <a:lnTo>
                          <a:pt x="407428" y="43014"/>
                        </a:lnTo>
                        <a:cubicBezTo>
                          <a:pt x="414216" y="43014"/>
                          <a:pt x="419725" y="37505"/>
                          <a:pt x="419725" y="30717"/>
                        </a:cubicBezTo>
                        <a:lnTo>
                          <a:pt x="419725" y="0"/>
                        </a:lnTo>
                        <a:lnTo>
                          <a:pt x="0" y="0"/>
                        </a:lnTo>
                        <a:close/>
                      </a:path>
                    </a:pathLst>
                  </a:custGeom>
                  <a:grpFill/>
                  <a:ln w="81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grpSp>
        </p:grpSp>
        <p:grpSp>
          <p:nvGrpSpPr>
            <p:cNvPr id="9" name="Group 167">
              <a:extLst>
                <a:ext uri="{FF2B5EF4-FFF2-40B4-BE49-F238E27FC236}">
                  <a16:creationId xmlns:a16="http://schemas.microsoft.com/office/drawing/2014/main" id="{2B535EA3-5C3A-423A-8A2C-3411280E27B9}"/>
                </a:ext>
              </a:extLst>
            </p:cNvPr>
            <p:cNvGrpSpPr/>
            <p:nvPr/>
          </p:nvGrpSpPr>
          <p:grpSpPr>
            <a:xfrm>
              <a:off x="565989" y="3521798"/>
              <a:ext cx="2670098" cy="684879"/>
              <a:chOff x="354987" y="3020949"/>
              <a:chExt cx="2670098" cy="684879"/>
            </a:xfrm>
          </p:grpSpPr>
          <p:sp>
            <p:nvSpPr>
              <p:cNvPr id="21" name="Rectangle: Rounded Corners 155">
                <a:extLst>
                  <a:ext uri="{FF2B5EF4-FFF2-40B4-BE49-F238E27FC236}">
                    <a16:creationId xmlns:a16="http://schemas.microsoft.com/office/drawing/2014/main" id="{76357FDF-C5AB-4A5D-ACD9-372F47763A1D}"/>
                  </a:ext>
                </a:extLst>
              </p:cNvPr>
              <p:cNvSpPr/>
              <p:nvPr/>
            </p:nvSpPr>
            <p:spPr>
              <a:xfrm>
                <a:off x="628539" y="3020949"/>
                <a:ext cx="2292251" cy="684879"/>
              </a:xfrm>
              <a:prstGeom prst="roundRect">
                <a:avLst>
                  <a:gd name="adj" fmla="val 17279"/>
                </a:avLst>
              </a:prstGeom>
              <a:solidFill>
                <a:schemeClr val="bg1"/>
              </a:solidFill>
              <a:ln>
                <a:noFill/>
              </a:ln>
              <a:effectLst>
                <a:outerShdw blurRad="482600" sx="88000" sy="88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等线" panose="020F0502020204030204"/>
                  <a:ea typeface="+mn-ea"/>
                  <a:cs typeface="+mn-cs"/>
                </a:endParaRPr>
              </a:p>
            </p:txBody>
          </p:sp>
          <p:sp>
            <p:nvSpPr>
              <p:cNvPr id="22" name="TextBox 156">
                <a:extLst>
                  <a:ext uri="{FF2B5EF4-FFF2-40B4-BE49-F238E27FC236}">
                    <a16:creationId xmlns:a16="http://schemas.microsoft.com/office/drawing/2014/main" id="{5B363B32-B6D6-4CFA-87CB-AC9387F719BC}"/>
                  </a:ext>
                </a:extLst>
              </p:cNvPr>
              <p:cNvSpPr txBox="1"/>
              <p:nvPr/>
            </p:nvSpPr>
            <p:spPr>
              <a:xfrm>
                <a:off x="980194" y="3025114"/>
                <a:ext cx="1699273" cy="326884"/>
              </a:xfrm>
              <a:prstGeom prst="rect">
                <a:avLst/>
              </a:prstGeom>
              <a:noFill/>
            </p:spPr>
            <p:txBody>
              <a:bodyPr wrap="square" rtlCol="0">
                <a:spAutoFit/>
              </a:bodyPr>
              <a:lstStyle/>
              <a:p>
                <a:pPr marL="0" marR="0" lvl="0" indent="0" algn="l" defTabSz="914400" rtl="0" eaLnBrk="1" fontAlgn="auto" latinLnBrk="0" hangingPunct="1">
                  <a:lnSpc>
                    <a:spcPct val="14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lumMod val="65000"/>
                        <a:lumOff val="35000"/>
                      </a:srgbClr>
                    </a:solidFill>
                    <a:effectLst/>
                    <a:uLnTx/>
                    <a:uFillTx/>
                    <a:latin typeface="等线 Light" panose="020F0302020204030204"/>
                    <a:ea typeface="+mn-ea"/>
                    <a:cs typeface="+mn-cs"/>
                  </a:rPr>
                  <a:t>Lorem ipsum dolor</a:t>
                </a:r>
              </a:p>
            </p:txBody>
          </p:sp>
          <p:sp>
            <p:nvSpPr>
              <p:cNvPr id="23" name="TextBox 157">
                <a:extLst>
                  <a:ext uri="{FF2B5EF4-FFF2-40B4-BE49-F238E27FC236}">
                    <a16:creationId xmlns:a16="http://schemas.microsoft.com/office/drawing/2014/main" id="{FC24D111-C410-4275-BEE8-D2FEB2299F55}"/>
                  </a:ext>
                </a:extLst>
              </p:cNvPr>
              <p:cNvSpPr txBox="1"/>
              <p:nvPr/>
            </p:nvSpPr>
            <p:spPr>
              <a:xfrm>
                <a:off x="980194" y="3196709"/>
                <a:ext cx="2044891" cy="473591"/>
              </a:xfrm>
              <a:prstGeom prst="rect">
                <a:avLst/>
              </a:prstGeom>
              <a:noFill/>
            </p:spPr>
            <p:txBody>
              <a:bodyPr wrap="square" rtlCol="0">
                <a:spAutoFit/>
              </a:bodyPr>
              <a:lstStyle/>
              <a:p>
                <a:pPr marL="0" marR="0" lvl="0" indent="0" algn="l" defTabSz="914400" rtl="0" eaLnBrk="1" fontAlgn="auto" latinLnBrk="0" hangingPunct="1">
                  <a:lnSpc>
                    <a:spcPct val="14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FFD229"/>
                    </a:solidFill>
                    <a:effectLst/>
                    <a:uLnTx/>
                    <a:uFillTx/>
                    <a:latin typeface="Segoe UI" panose="020B0502040204020203" pitchFamily="34" charset="0"/>
                    <a:ea typeface="+mn-ea"/>
                    <a:cs typeface="Segoe UI" panose="020B0502040204020203" pitchFamily="34" charset="0"/>
                  </a:rPr>
                  <a:t>21.000-36.021</a:t>
                </a:r>
              </a:p>
            </p:txBody>
          </p:sp>
          <p:grpSp>
            <p:nvGrpSpPr>
              <p:cNvPr id="24" name="Group 158">
                <a:extLst>
                  <a:ext uri="{FF2B5EF4-FFF2-40B4-BE49-F238E27FC236}">
                    <a16:creationId xmlns:a16="http://schemas.microsoft.com/office/drawing/2014/main" id="{57A5A2D4-90B9-4AC7-B7DD-1B53B861405E}"/>
                  </a:ext>
                </a:extLst>
              </p:cNvPr>
              <p:cNvGrpSpPr/>
              <p:nvPr/>
            </p:nvGrpSpPr>
            <p:grpSpPr>
              <a:xfrm>
                <a:off x="354987" y="3092274"/>
                <a:ext cx="547103" cy="559671"/>
                <a:chOff x="8878424" y="402445"/>
                <a:chExt cx="655537" cy="670596"/>
              </a:xfrm>
            </p:grpSpPr>
            <p:sp>
              <p:nvSpPr>
                <p:cNvPr id="25" name="Rectangle: Rounded Corners 163">
                  <a:extLst>
                    <a:ext uri="{FF2B5EF4-FFF2-40B4-BE49-F238E27FC236}">
                      <a16:creationId xmlns:a16="http://schemas.microsoft.com/office/drawing/2014/main" id="{7A096B4D-BE67-4F80-8288-B85CC842D67B}"/>
                    </a:ext>
                  </a:extLst>
                </p:cNvPr>
                <p:cNvSpPr/>
                <p:nvPr/>
              </p:nvSpPr>
              <p:spPr>
                <a:xfrm>
                  <a:off x="8878424" y="402445"/>
                  <a:ext cx="655537" cy="670596"/>
                </a:xfrm>
                <a:prstGeom prst="roundRect">
                  <a:avLst>
                    <a:gd name="adj" fmla="val 26931"/>
                  </a:avLst>
                </a:prstGeom>
                <a:gradFill>
                  <a:gsLst>
                    <a:gs pos="100000">
                      <a:schemeClr val="accent1"/>
                    </a:gs>
                    <a:gs pos="0">
                      <a:schemeClr val="accent1">
                        <a:lumMod val="60000"/>
                        <a:lumOff val="40000"/>
                      </a:schemeClr>
                    </a:gs>
                  </a:gsLst>
                  <a:lin ang="2700000" scaled="0"/>
                </a:gradFill>
                <a:ln>
                  <a:noFill/>
                </a:ln>
                <a:effectLst>
                  <a:outerShdw blurRad="469900" dist="139700" dir="8100000" sx="90000" sy="90000" algn="tr" rotWithShape="0">
                    <a:prstClr val="black">
                      <a:alpha val="10000"/>
                    </a:prstClr>
                  </a:outerShdw>
                  <a:softEdge rad="508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等线" panose="020F0502020204030204"/>
                    <a:ea typeface="+mn-ea"/>
                    <a:cs typeface="+mn-cs"/>
                  </a:endParaRPr>
                </a:p>
              </p:txBody>
            </p:sp>
            <p:grpSp>
              <p:nvGrpSpPr>
                <p:cNvPr id="26" name="Graphic 39">
                  <a:extLst>
                    <a:ext uri="{FF2B5EF4-FFF2-40B4-BE49-F238E27FC236}">
                      <a16:creationId xmlns:a16="http://schemas.microsoft.com/office/drawing/2014/main" id="{A51E2826-CFA1-464E-8907-86072DF5012E}"/>
                    </a:ext>
                  </a:extLst>
                </p:cNvPr>
                <p:cNvGrpSpPr/>
                <p:nvPr/>
              </p:nvGrpSpPr>
              <p:grpSpPr>
                <a:xfrm>
                  <a:off x="9070751" y="602568"/>
                  <a:ext cx="270882" cy="270352"/>
                  <a:chOff x="5306516" y="1725739"/>
                  <a:chExt cx="419725" cy="418905"/>
                </a:xfrm>
                <a:solidFill>
                  <a:schemeClr val="bg1"/>
                </a:solidFill>
              </p:grpSpPr>
              <p:sp>
                <p:nvSpPr>
                  <p:cNvPr id="27" name="Freeform: Shape 165">
                    <a:extLst>
                      <a:ext uri="{FF2B5EF4-FFF2-40B4-BE49-F238E27FC236}">
                        <a16:creationId xmlns:a16="http://schemas.microsoft.com/office/drawing/2014/main" id="{BCC2CB34-FBCA-4DA6-98FB-111BB3AF9993}"/>
                      </a:ext>
                    </a:extLst>
                  </p:cNvPr>
                  <p:cNvSpPr/>
                  <p:nvPr/>
                </p:nvSpPr>
                <p:spPr>
                  <a:xfrm>
                    <a:off x="5371373" y="1878194"/>
                    <a:ext cx="201665" cy="201665"/>
                  </a:xfrm>
                  <a:custGeom>
                    <a:avLst/>
                    <a:gdLst>
                      <a:gd name="connsiteX0" fmla="*/ 64620 w 201664"/>
                      <a:gd name="connsiteY0" fmla="*/ 193721 h 201664"/>
                      <a:gd name="connsiteX1" fmla="*/ 12928 w 201664"/>
                      <a:gd name="connsiteY1" fmla="*/ 202259 h 201664"/>
                      <a:gd name="connsiteX2" fmla="*/ 153 w 201664"/>
                      <a:gd name="connsiteY2" fmla="*/ 189484 h 201664"/>
                      <a:gd name="connsiteX3" fmla="*/ 8691 w 201664"/>
                      <a:gd name="connsiteY3" fmla="*/ 137793 h 201664"/>
                      <a:gd name="connsiteX4" fmla="*/ 17778 w 201664"/>
                      <a:gd name="connsiteY4" fmla="*/ 133340 h 201664"/>
                      <a:gd name="connsiteX5" fmla="*/ 28610 w 201664"/>
                      <a:gd name="connsiteY5" fmla="*/ 133738 h 201664"/>
                      <a:gd name="connsiteX6" fmla="*/ 28679 w 201664"/>
                      <a:gd name="connsiteY6" fmla="*/ 133704 h 201664"/>
                      <a:gd name="connsiteX7" fmla="*/ 197428 w 201664"/>
                      <a:gd name="connsiteY7" fmla="*/ 658 h 201664"/>
                      <a:gd name="connsiteX8" fmla="*/ 201753 w 201664"/>
                      <a:gd name="connsiteY8" fmla="*/ 4983 h 201664"/>
                      <a:gd name="connsiteX9" fmla="*/ 68270 w 201664"/>
                      <a:gd name="connsiteY9" fmla="*/ 174944 h 201664"/>
                      <a:gd name="connsiteX10" fmla="*/ 69074 w 201664"/>
                      <a:gd name="connsiteY10" fmla="*/ 184638 h 201664"/>
                      <a:gd name="connsiteX11" fmla="*/ 64620 w 201664"/>
                      <a:gd name="connsiteY11" fmla="*/ 193721 h 2016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1664" h="201664">
                        <a:moveTo>
                          <a:pt x="64620" y="193721"/>
                        </a:moveTo>
                        <a:lnTo>
                          <a:pt x="12928" y="202259"/>
                        </a:lnTo>
                        <a:cubicBezTo>
                          <a:pt x="5418" y="203500"/>
                          <a:pt x="-1088" y="196994"/>
                          <a:pt x="153" y="189484"/>
                        </a:cubicBezTo>
                        <a:lnTo>
                          <a:pt x="8691" y="137793"/>
                        </a:lnTo>
                        <a:cubicBezTo>
                          <a:pt x="9387" y="133581"/>
                          <a:pt x="14071" y="131223"/>
                          <a:pt x="17778" y="133340"/>
                        </a:cubicBezTo>
                        <a:cubicBezTo>
                          <a:pt x="20694" y="135004"/>
                          <a:pt x="24205" y="135677"/>
                          <a:pt x="28610" y="133738"/>
                        </a:cubicBezTo>
                        <a:cubicBezTo>
                          <a:pt x="28636" y="133730"/>
                          <a:pt x="28662" y="133721"/>
                          <a:pt x="28679" y="133704"/>
                        </a:cubicBezTo>
                        <a:cubicBezTo>
                          <a:pt x="30671" y="132878"/>
                          <a:pt x="45184" y="115919"/>
                          <a:pt x="197428" y="658"/>
                        </a:cubicBezTo>
                        <a:cubicBezTo>
                          <a:pt x="200288" y="-1506"/>
                          <a:pt x="203918" y="2124"/>
                          <a:pt x="201753" y="4983"/>
                        </a:cubicBezTo>
                        <a:cubicBezTo>
                          <a:pt x="85709" y="158230"/>
                          <a:pt x="69188" y="171910"/>
                          <a:pt x="68270" y="174944"/>
                        </a:cubicBezTo>
                        <a:cubicBezTo>
                          <a:pt x="67019" y="179006"/>
                          <a:pt x="67593" y="182034"/>
                          <a:pt x="69074" y="184638"/>
                        </a:cubicBezTo>
                        <a:cubicBezTo>
                          <a:pt x="71182" y="188348"/>
                          <a:pt x="68830" y="193026"/>
                          <a:pt x="64620" y="193721"/>
                        </a:cubicBezTo>
                        <a:close/>
                      </a:path>
                    </a:pathLst>
                  </a:custGeom>
                  <a:grpFill/>
                  <a:ln w="81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sp>
                <p:nvSpPr>
                  <p:cNvPr id="28" name="Freeform: Shape 166">
                    <a:extLst>
                      <a:ext uri="{FF2B5EF4-FFF2-40B4-BE49-F238E27FC236}">
                        <a16:creationId xmlns:a16="http://schemas.microsoft.com/office/drawing/2014/main" id="{49E794A3-087D-4775-99C2-21C59CF71A38}"/>
                      </a:ext>
                    </a:extLst>
                  </p:cNvPr>
                  <p:cNvSpPr/>
                  <p:nvPr/>
                </p:nvSpPr>
                <p:spPr>
                  <a:xfrm>
                    <a:off x="5306516" y="1725739"/>
                    <a:ext cx="419725" cy="418905"/>
                  </a:xfrm>
                  <a:custGeom>
                    <a:avLst/>
                    <a:gdLst>
                      <a:gd name="connsiteX0" fmla="*/ 419194 w 419725"/>
                      <a:gd name="connsiteY0" fmla="*/ 11221 h 418905"/>
                      <a:gd name="connsiteX1" fmla="*/ 272302 w 419725"/>
                      <a:gd name="connsiteY1" fmla="*/ 409937 h 418905"/>
                      <a:gd name="connsiteX2" fmla="*/ 247701 w 419725"/>
                      <a:gd name="connsiteY2" fmla="*/ 415340 h 418905"/>
                      <a:gd name="connsiteX3" fmla="*/ 171795 w 419725"/>
                      <a:gd name="connsiteY3" fmla="*/ 339435 h 418905"/>
                      <a:gd name="connsiteX4" fmla="*/ 170427 w 419725"/>
                      <a:gd name="connsiteY4" fmla="*/ 319548 h 418905"/>
                      <a:gd name="connsiteX5" fmla="*/ 333066 w 419725"/>
                      <a:gd name="connsiteY5" fmla="*/ 104712 h 418905"/>
                      <a:gd name="connsiteX6" fmla="*/ 315014 w 419725"/>
                      <a:gd name="connsiteY6" fmla="*/ 86660 h 418905"/>
                      <a:gd name="connsiteX7" fmla="*/ 100178 w 419725"/>
                      <a:gd name="connsiteY7" fmla="*/ 249300 h 418905"/>
                      <a:gd name="connsiteX8" fmla="*/ 80290 w 419725"/>
                      <a:gd name="connsiteY8" fmla="*/ 247931 h 418905"/>
                      <a:gd name="connsiteX9" fmla="*/ 4385 w 419725"/>
                      <a:gd name="connsiteY9" fmla="*/ 172025 h 418905"/>
                      <a:gd name="connsiteX10" fmla="*/ 9788 w 419725"/>
                      <a:gd name="connsiteY10" fmla="*/ 147424 h 418905"/>
                      <a:gd name="connsiteX11" fmla="*/ 408505 w 419725"/>
                      <a:gd name="connsiteY11" fmla="*/ 531 h 418905"/>
                      <a:gd name="connsiteX12" fmla="*/ 419194 w 419725"/>
                      <a:gd name="connsiteY12" fmla="*/ 11221 h 4189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19725" h="418905">
                        <a:moveTo>
                          <a:pt x="419194" y="11221"/>
                        </a:moveTo>
                        <a:lnTo>
                          <a:pt x="272302" y="409937"/>
                        </a:lnTo>
                        <a:cubicBezTo>
                          <a:pt x="268530" y="420175"/>
                          <a:pt x="255416" y="423056"/>
                          <a:pt x="247701" y="415340"/>
                        </a:cubicBezTo>
                        <a:lnTo>
                          <a:pt x="171795" y="339435"/>
                        </a:lnTo>
                        <a:cubicBezTo>
                          <a:pt x="166438" y="334077"/>
                          <a:pt x="165853" y="325589"/>
                          <a:pt x="170427" y="319548"/>
                        </a:cubicBezTo>
                        <a:lnTo>
                          <a:pt x="333066" y="104712"/>
                        </a:lnTo>
                        <a:cubicBezTo>
                          <a:pt x="342279" y="92379"/>
                          <a:pt x="326544" y="77987"/>
                          <a:pt x="315014" y="86660"/>
                        </a:cubicBezTo>
                        <a:lnTo>
                          <a:pt x="100178" y="249300"/>
                        </a:lnTo>
                        <a:cubicBezTo>
                          <a:pt x="94137" y="253873"/>
                          <a:pt x="85648" y="253289"/>
                          <a:pt x="80290" y="247931"/>
                        </a:cubicBezTo>
                        <a:lnTo>
                          <a:pt x="4385" y="172025"/>
                        </a:lnTo>
                        <a:cubicBezTo>
                          <a:pt x="-3331" y="164309"/>
                          <a:pt x="-450" y="151195"/>
                          <a:pt x="9788" y="147424"/>
                        </a:cubicBezTo>
                        <a:lnTo>
                          <a:pt x="408505" y="531"/>
                        </a:lnTo>
                        <a:cubicBezTo>
                          <a:pt x="415169" y="-1924"/>
                          <a:pt x="421650" y="4556"/>
                          <a:pt x="419194" y="11221"/>
                        </a:cubicBezTo>
                        <a:close/>
                      </a:path>
                    </a:pathLst>
                  </a:custGeom>
                  <a:grpFill/>
                  <a:ln w="81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等线" panose="020F0502020204030204"/>
                      <a:ea typeface="+mn-ea"/>
                      <a:cs typeface="+mn-cs"/>
                    </a:endParaRPr>
                  </a:p>
                </p:txBody>
              </p:sp>
            </p:grpSp>
          </p:grpSp>
        </p:grpSp>
        <p:grpSp>
          <p:nvGrpSpPr>
            <p:cNvPr id="10" name="Group 182">
              <a:extLst>
                <a:ext uri="{FF2B5EF4-FFF2-40B4-BE49-F238E27FC236}">
                  <a16:creationId xmlns:a16="http://schemas.microsoft.com/office/drawing/2014/main" id="{35503798-92FF-4F6D-8154-AF592FA4DEFF}"/>
                </a:ext>
              </a:extLst>
            </p:cNvPr>
            <p:cNvGrpSpPr/>
            <p:nvPr/>
          </p:nvGrpSpPr>
          <p:grpSpPr>
            <a:xfrm>
              <a:off x="2396971" y="2743539"/>
              <a:ext cx="2670098" cy="684879"/>
              <a:chOff x="2404023" y="2811788"/>
              <a:chExt cx="2670098" cy="684879"/>
            </a:xfrm>
          </p:grpSpPr>
          <p:sp>
            <p:nvSpPr>
              <p:cNvPr id="12" name="Rectangle: Rounded Corners 169">
                <a:extLst>
                  <a:ext uri="{FF2B5EF4-FFF2-40B4-BE49-F238E27FC236}">
                    <a16:creationId xmlns:a16="http://schemas.microsoft.com/office/drawing/2014/main" id="{DDC07252-F4AB-4CB4-B9D9-BB8117A83FEB}"/>
                  </a:ext>
                </a:extLst>
              </p:cNvPr>
              <p:cNvSpPr/>
              <p:nvPr/>
            </p:nvSpPr>
            <p:spPr>
              <a:xfrm>
                <a:off x="2677575" y="2811788"/>
                <a:ext cx="2292251" cy="684879"/>
              </a:xfrm>
              <a:prstGeom prst="roundRect">
                <a:avLst>
                  <a:gd name="adj" fmla="val 17279"/>
                </a:avLst>
              </a:prstGeom>
              <a:solidFill>
                <a:schemeClr val="bg1"/>
              </a:solidFill>
              <a:ln>
                <a:noFill/>
              </a:ln>
              <a:effectLst>
                <a:outerShdw blurRad="482600" sx="88000" sy="88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等线" panose="020F0502020204030204"/>
                  <a:ea typeface="+mn-ea"/>
                  <a:cs typeface="+mn-cs"/>
                </a:endParaRPr>
              </a:p>
            </p:txBody>
          </p:sp>
          <p:sp>
            <p:nvSpPr>
              <p:cNvPr id="13" name="TextBox 170">
                <a:extLst>
                  <a:ext uri="{FF2B5EF4-FFF2-40B4-BE49-F238E27FC236}">
                    <a16:creationId xmlns:a16="http://schemas.microsoft.com/office/drawing/2014/main" id="{3E025527-28CE-4A38-8593-F7E70CA62D3C}"/>
                  </a:ext>
                </a:extLst>
              </p:cNvPr>
              <p:cNvSpPr txBox="1"/>
              <p:nvPr/>
            </p:nvSpPr>
            <p:spPr>
              <a:xfrm>
                <a:off x="3029230" y="2815953"/>
                <a:ext cx="1699273" cy="326884"/>
              </a:xfrm>
              <a:prstGeom prst="rect">
                <a:avLst/>
              </a:prstGeom>
              <a:noFill/>
            </p:spPr>
            <p:txBody>
              <a:bodyPr wrap="square" rtlCol="0">
                <a:spAutoFit/>
              </a:bodyPr>
              <a:lstStyle/>
              <a:p>
                <a:pPr marL="0" marR="0" lvl="0" indent="0" algn="l" defTabSz="914400" rtl="0" eaLnBrk="1" fontAlgn="auto" latinLnBrk="0" hangingPunct="1">
                  <a:lnSpc>
                    <a:spcPct val="14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lumMod val="65000"/>
                        <a:lumOff val="35000"/>
                      </a:srgbClr>
                    </a:solidFill>
                    <a:effectLst/>
                    <a:uLnTx/>
                    <a:uFillTx/>
                    <a:latin typeface="等线 Light" panose="020F0302020204030204"/>
                    <a:ea typeface="+mn-ea"/>
                    <a:cs typeface="+mn-cs"/>
                  </a:rPr>
                  <a:t>Lorem ipsum dolor</a:t>
                </a:r>
              </a:p>
            </p:txBody>
          </p:sp>
          <p:sp>
            <p:nvSpPr>
              <p:cNvPr id="14" name="TextBox 171">
                <a:extLst>
                  <a:ext uri="{FF2B5EF4-FFF2-40B4-BE49-F238E27FC236}">
                    <a16:creationId xmlns:a16="http://schemas.microsoft.com/office/drawing/2014/main" id="{BCC0A3E6-4FF7-4207-AD4F-7071F736560F}"/>
                  </a:ext>
                </a:extLst>
              </p:cNvPr>
              <p:cNvSpPr txBox="1"/>
              <p:nvPr/>
            </p:nvSpPr>
            <p:spPr>
              <a:xfrm>
                <a:off x="3029230" y="2987548"/>
                <a:ext cx="2044891" cy="473591"/>
              </a:xfrm>
              <a:prstGeom prst="rect">
                <a:avLst/>
              </a:prstGeom>
              <a:noFill/>
            </p:spPr>
            <p:txBody>
              <a:bodyPr wrap="square" rtlCol="0">
                <a:spAutoFit/>
              </a:bodyPr>
              <a:lstStyle/>
              <a:p>
                <a:pPr marL="0" marR="0" lvl="0" indent="0" algn="l" defTabSz="914400" rtl="0" eaLnBrk="1" fontAlgn="auto" latinLnBrk="0" hangingPunct="1">
                  <a:lnSpc>
                    <a:spcPct val="14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FF4C38"/>
                    </a:solidFill>
                    <a:effectLst/>
                    <a:uLnTx/>
                    <a:uFillTx/>
                    <a:latin typeface="Segoe UI" panose="020B0502040204020203" pitchFamily="34" charset="0"/>
                    <a:ea typeface="+mn-ea"/>
                    <a:cs typeface="Segoe UI" panose="020B0502040204020203" pitchFamily="34" charset="0"/>
                  </a:rPr>
                  <a:t>21.000-36.021</a:t>
                </a:r>
              </a:p>
            </p:txBody>
          </p:sp>
          <p:grpSp>
            <p:nvGrpSpPr>
              <p:cNvPr id="15" name="Group 172">
                <a:extLst>
                  <a:ext uri="{FF2B5EF4-FFF2-40B4-BE49-F238E27FC236}">
                    <a16:creationId xmlns:a16="http://schemas.microsoft.com/office/drawing/2014/main" id="{74FF2B1F-E045-41F4-874E-C8ED8B53C7E0}"/>
                  </a:ext>
                </a:extLst>
              </p:cNvPr>
              <p:cNvGrpSpPr/>
              <p:nvPr/>
            </p:nvGrpSpPr>
            <p:grpSpPr>
              <a:xfrm>
                <a:off x="2404023" y="2883113"/>
                <a:ext cx="547103" cy="559671"/>
                <a:chOff x="3461830" y="4604771"/>
                <a:chExt cx="547103" cy="559671"/>
              </a:xfrm>
            </p:grpSpPr>
            <p:sp>
              <p:nvSpPr>
                <p:cNvPr id="16" name="Rectangle: Rounded Corners 177">
                  <a:extLst>
                    <a:ext uri="{FF2B5EF4-FFF2-40B4-BE49-F238E27FC236}">
                      <a16:creationId xmlns:a16="http://schemas.microsoft.com/office/drawing/2014/main" id="{FF8EF3B9-8EBE-4914-95C3-47506F689D45}"/>
                    </a:ext>
                  </a:extLst>
                </p:cNvPr>
                <p:cNvSpPr/>
                <p:nvPr/>
              </p:nvSpPr>
              <p:spPr>
                <a:xfrm>
                  <a:off x="3461830" y="4604771"/>
                  <a:ext cx="547103" cy="559671"/>
                </a:xfrm>
                <a:prstGeom prst="roundRect">
                  <a:avLst>
                    <a:gd name="adj" fmla="val 26931"/>
                  </a:avLst>
                </a:prstGeom>
                <a:gradFill>
                  <a:gsLst>
                    <a:gs pos="100000">
                      <a:schemeClr val="accent2"/>
                    </a:gs>
                    <a:gs pos="0">
                      <a:schemeClr val="accent2">
                        <a:lumMod val="60000"/>
                        <a:lumOff val="40000"/>
                      </a:schemeClr>
                    </a:gs>
                  </a:gsLst>
                  <a:lin ang="2700000" scaled="0"/>
                </a:gradFill>
                <a:ln>
                  <a:noFill/>
                </a:ln>
                <a:effectLst>
                  <a:outerShdw blurRad="469900" dist="139700" dir="8100000" sx="90000" sy="90000" algn="tr" rotWithShape="0">
                    <a:prstClr val="black">
                      <a:alpha val="10000"/>
                    </a:prstClr>
                  </a:outerShdw>
                  <a:softEdge rad="508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等线" panose="020F0502020204030204"/>
                    <a:ea typeface="+mn-ea"/>
                    <a:cs typeface="+mn-cs"/>
                  </a:endParaRPr>
                </a:p>
              </p:txBody>
            </p:sp>
            <p:grpSp>
              <p:nvGrpSpPr>
                <p:cNvPr id="17" name="Graphic 12">
                  <a:extLst>
                    <a:ext uri="{FF2B5EF4-FFF2-40B4-BE49-F238E27FC236}">
                      <a16:creationId xmlns:a16="http://schemas.microsoft.com/office/drawing/2014/main" id="{66CDDF1B-E217-4D14-A935-2E79B23945B8}"/>
                    </a:ext>
                  </a:extLst>
                </p:cNvPr>
                <p:cNvGrpSpPr/>
                <p:nvPr/>
              </p:nvGrpSpPr>
              <p:grpSpPr>
                <a:xfrm>
                  <a:off x="3600205" y="4749430"/>
                  <a:ext cx="270352" cy="270352"/>
                  <a:chOff x="6640645" y="1724489"/>
                  <a:chExt cx="418905" cy="418905"/>
                </a:xfrm>
                <a:solidFill>
                  <a:schemeClr val="bg1"/>
                </a:solidFill>
              </p:grpSpPr>
              <p:sp>
                <p:nvSpPr>
                  <p:cNvPr id="18" name="Freeform: Shape 179">
                    <a:extLst>
                      <a:ext uri="{FF2B5EF4-FFF2-40B4-BE49-F238E27FC236}">
                        <a16:creationId xmlns:a16="http://schemas.microsoft.com/office/drawing/2014/main" id="{31F8DAE7-D58B-4570-9F57-3AAB5BC1B774}"/>
                      </a:ext>
                    </a:extLst>
                  </p:cNvPr>
                  <p:cNvSpPr/>
                  <p:nvPr/>
                </p:nvSpPr>
                <p:spPr>
                  <a:xfrm>
                    <a:off x="6811107" y="1724489"/>
                    <a:ext cx="249212" cy="249212"/>
                  </a:xfrm>
                  <a:custGeom>
                    <a:avLst/>
                    <a:gdLst>
                      <a:gd name="connsiteX0" fmla="*/ 245654 w 249211"/>
                      <a:gd name="connsiteY0" fmla="*/ 176761 h 249211"/>
                      <a:gd name="connsiteX1" fmla="*/ 223446 w 249211"/>
                      <a:gd name="connsiteY1" fmla="*/ 198985 h 249211"/>
                      <a:gd name="connsiteX2" fmla="*/ 133779 w 249211"/>
                      <a:gd name="connsiteY2" fmla="*/ 211716 h 249211"/>
                      <a:gd name="connsiteX3" fmla="*/ 96250 w 249211"/>
                      <a:gd name="connsiteY3" fmla="*/ 249246 h 249211"/>
                      <a:gd name="connsiteX4" fmla="*/ 95963 w 249211"/>
                      <a:gd name="connsiteY4" fmla="*/ 248672 h 249211"/>
                      <a:gd name="connsiteX5" fmla="*/ 42358 w 249211"/>
                      <a:gd name="connsiteY5" fmla="*/ 183418 h 249211"/>
                      <a:gd name="connsiteX6" fmla="*/ 0 w 249211"/>
                      <a:gd name="connsiteY6" fmla="*/ 153020 h 249211"/>
                      <a:gd name="connsiteX7" fmla="*/ 37546 w 249211"/>
                      <a:gd name="connsiteY7" fmla="*/ 115475 h 249211"/>
                      <a:gd name="connsiteX8" fmla="*/ 50269 w 249211"/>
                      <a:gd name="connsiteY8" fmla="*/ 25816 h 249211"/>
                      <a:gd name="connsiteX9" fmla="*/ 72493 w 249211"/>
                      <a:gd name="connsiteY9" fmla="*/ 3600 h 249211"/>
                      <a:gd name="connsiteX10" fmla="*/ 89880 w 249211"/>
                      <a:gd name="connsiteY10" fmla="*/ 3600 h 249211"/>
                      <a:gd name="connsiteX11" fmla="*/ 245654 w 249211"/>
                      <a:gd name="connsiteY11" fmla="*/ 159374 h 249211"/>
                      <a:gd name="connsiteX12" fmla="*/ 245654 w 249211"/>
                      <a:gd name="connsiteY12" fmla="*/ 176761 h 249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49211" h="249211">
                        <a:moveTo>
                          <a:pt x="245654" y="176761"/>
                        </a:moveTo>
                        <a:lnTo>
                          <a:pt x="223446" y="198985"/>
                        </a:lnTo>
                        <a:cubicBezTo>
                          <a:pt x="199779" y="222636"/>
                          <a:pt x="162996" y="227833"/>
                          <a:pt x="133779" y="211716"/>
                        </a:cubicBezTo>
                        <a:lnTo>
                          <a:pt x="96250" y="249246"/>
                        </a:lnTo>
                        <a:cubicBezTo>
                          <a:pt x="96151" y="249057"/>
                          <a:pt x="96061" y="248860"/>
                          <a:pt x="95963" y="248672"/>
                        </a:cubicBezTo>
                        <a:cubicBezTo>
                          <a:pt x="82073" y="220862"/>
                          <a:pt x="66849" y="207909"/>
                          <a:pt x="42358" y="183418"/>
                        </a:cubicBezTo>
                        <a:cubicBezTo>
                          <a:pt x="26907" y="167966"/>
                          <a:pt x="7916" y="156317"/>
                          <a:pt x="0" y="153020"/>
                        </a:cubicBezTo>
                        <a:lnTo>
                          <a:pt x="37546" y="115475"/>
                        </a:lnTo>
                        <a:cubicBezTo>
                          <a:pt x="21421" y="86291"/>
                          <a:pt x="26610" y="49483"/>
                          <a:pt x="50269" y="25816"/>
                        </a:cubicBezTo>
                        <a:lnTo>
                          <a:pt x="72493" y="3600"/>
                        </a:lnTo>
                        <a:cubicBezTo>
                          <a:pt x="77297" y="-1204"/>
                          <a:pt x="85084" y="-1196"/>
                          <a:pt x="89880" y="3600"/>
                        </a:cubicBezTo>
                        <a:lnTo>
                          <a:pt x="245654" y="159374"/>
                        </a:lnTo>
                        <a:cubicBezTo>
                          <a:pt x="250458" y="164177"/>
                          <a:pt x="250458" y="171965"/>
                          <a:pt x="245654" y="176761"/>
                        </a:cubicBezTo>
                        <a:close/>
                      </a:path>
                    </a:pathLst>
                  </a:custGeom>
                  <a:grpFill/>
                  <a:ln w="81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等线" panose="020F0502020204030204"/>
                      <a:ea typeface="+mn-ea"/>
                      <a:cs typeface="+mn-cs"/>
                    </a:endParaRPr>
                  </a:p>
                </p:txBody>
              </p:sp>
              <p:sp>
                <p:nvSpPr>
                  <p:cNvPr id="19" name="Freeform: Shape 180">
                    <a:extLst>
                      <a:ext uri="{FF2B5EF4-FFF2-40B4-BE49-F238E27FC236}">
                        <a16:creationId xmlns:a16="http://schemas.microsoft.com/office/drawing/2014/main" id="{CE6A03EC-A819-4597-B5BA-51D04470965B}"/>
                      </a:ext>
                    </a:extLst>
                  </p:cNvPr>
                  <p:cNvSpPr/>
                  <p:nvPr/>
                </p:nvSpPr>
                <p:spPr>
                  <a:xfrm>
                    <a:off x="6644861" y="2050351"/>
                    <a:ext cx="89356" cy="89356"/>
                  </a:xfrm>
                  <a:custGeom>
                    <a:avLst/>
                    <a:gdLst>
                      <a:gd name="connsiteX0" fmla="*/ 89647 w 89355"/>
                      <a:gd name="connsiteY0" fmla="*/ 17387 h 89355"/>
                      <a:gd name="connsiteX1" fmla="*/ 20999 w 89355"/>
                      <a:gd name="connsiteY1" fmla="*/ 86035 h 89355"/>
                      <a:gd name="connsiteX2" fmla="*/ 12301 w 89355"/>
                      <a:gd name="connsiteY2" fmla="*/ 89642 h 89355"/>
                      <a:gd name="connsiteX3" fmla="*/ 3603 w 89355"/>
                      <a:gd name="connsiteY3" fmla="*/ 86035 h 89355"/>
                      <a:gd name="connsiteX4" fmla="*/ 3603 w 89355"/>
                      <a:gd name="connsiteY4" fmla="*/ 68648 h 89355"/>
                      <a:gd name="connsiteX5" fmla="*/ 72259 w 89355"/>
                      <a:gd name="connsiteY5" fmla="*/ 0 h 89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9355" h="89355">
                        <a:moveTo>
                          <a:pt x="89647" y="17387"/>
                        </a:moveTo>
                        <a:lnTo>
                          <a:pt x="20999" y="86035"/>
                        </a:lnTo>
                        <a:cubicBezTo>
                          <a:pt x="18597" y="88437"/>
                          <a:pt x="15449" y="89642"/>
                          <a:pt x="12301" y="89642"/>
                        </a:cubicBezTo>
                        <a:cubicBezTo>
                          <a:pt x="9153" y="89642"/>
                          <a:pt x="6005" y="88437"/>
                          <a:pt x="3603" y="86035"/>
                        </a:cubicBezTo>
                        <a:cubicBezTo>
                          <a:pt x="-1201" y="81232"/>
                          <a:pt x="-1201" y="73452"/>
                          <a:pt x="3603" y="68648"/>
                        </a:cubicBezTo>
                        <a:lnTo>
                          <a:pt x="72259" y="0"/>
                        </a:lnTo>
                        <a:close/>
                      </a:path>
                    </a:pathLst>
                  </a:custGeom>
                  <a:grpFill/>
                  <a:ln w="81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等线" panose="020F0502020204030204"/>
                      <a:ea typeface="+mn-ea"/>
                      <a:cs typeface="+mn-cs"/>
                    </a:endParaRPr>
                  </a:p>
                </p:txBody>
              </p:sp>
              <p:sp>
                <p:nvSpPr>
                  <p:cNvPr id="20" name="Freeform: Shape 181">
                    <a:extLst>
                      <a:ext uri="{FF2B5EF4-FFF2-40B4-BE49-F238E27FC236}">
                        <a16:creationId xmlns:a16="http://schemas.microsoft.com/office/drawing/2014/main" id="{BE4B4084-9FE6-4721-9AE5-025F00E0E8C6}"/>
                      </a:ext>
                    </a:extLst>
                  </p:cNvPr>
                  <p:cNvSpPr/>
                  <p:nvPr/>
                </p:nvSpPr>
                <p:spPr>
                  <a:xfrm>
                    <a:off x="6640645" y="1885506"/>
                    <a:ext cx="258229" cy="258229"/>
                  </a:xfrm>
                  <a:custGeom>
                    <a:avLst/>
                    <a:gdLst>
                      <a:gd name="connsiteX0" fmla="*/ 258646 w 258229"/>
                      <a:gd name="connsiteY0" fmla="*/ 159188 h 258229"/>
                      <a:gd name="connsiteX1" fmla="*/ 218911 w 258229"/>
                      <a:gd name="connsiteY1" fmla="*/ 255110 h 258229"/>
                      <a:gd name="connsiteX2" fmla="*/ 201515 w 258229"/>
                      <a:gd name="connsiteY2" fmla="*/ 255110 h 258229"/>
                      <a:gd name="connsiteX3" fmla="*/ 3597 w 258229"/>
                      <a:gd name="connsiteY3" fmla="*/ 57183 h 258229"/>
                      <a:gd name="connsiteX4" fmla="*/ 3597 w 258229"/>
                      <a:gd name="connsiteY4" fmla="*/ 39796 h 258229"/>
                      <a:gd name="connsiteX5" fmla="*/ 160059 w 258229"/>
                      <a:gd name="connsiteY5" fmla="*/ 14284 h 258229"/>
                      <a:gd name="connsiteX6" fmla="*/ 218911 w 258229"/>
                      <a:gd name="connsiteY6" fmla="*/ 63266 h 258229"/>
                      <a:gd name="connsiteX7" fmla="*/ 258646 w 258229"/>
                      <a:gd name="connsiteY7" fmla="*/ 159188 h 258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8229" h="258229">
                        <a:moveTo>
                          <a:pt x="258646" y="159188"/>
                        </a:moveTo>
                        <a:cubicBezTo>
                          <a:pt x="258629" y="194751"/>
                          <a:pt x="245023" y="228980"/>
                          <a:pt x="218911" y="255110"/>
                        </a:cubicBezTo>
                        <a:cubicBezTo>
                          <a:pt x="214137" y="259884"/>
                          <a:pt x="206351" y="259928"/>
                          <a:pt x="201515" y="255110"/>
                        </a:cubicBezTo>
                        <a:lnTo>
                          <a:pt x="3597" y="57183"/>
                        </a:lnTo>
                        <a:cubicBezTo>
                          <a:pt x="-1189" y="52397"/>
                          <a:pt x="-1209" y="44602"/>
                          <a:pt x="3597" y="39796"/>
                        </a:cubicBezTo>
                        <a:cubicBezTo>
                          <a:pt x="44922" y="-1529"/>
                          <a:pt x="107799" y="-11784"/>
                          <a:pt x="160059" y="14284"/>
                        </a:cubicBezTo>
                        <a:cubicBezTo>
                          <a:pt x="183785" y="26133"/>
                          <a:pt x="194326" y="38689"/>
                          <a:pt x="218911" y="63266"/>
                        </a:cubicBezTo>
                        <a:cubicBezTo>
                          <a:pt x="244534" y="88889"/>
                          <a:pt x="258646" y="123226"/>
                          <a:pt x="258646" y="159188"/>
                        </a:cubicBezTo>
                        <a:close/>
                      </a:path>
                    </a:pathLst>
                  </a:custGeom>
                  <a:grpFill/>
                  <a:ln w="81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等线" panose="020F0502020204030204"/>
                      <a:ea typeface="+mn-ea"/>
                      <a:cs typeface="+mn-cs"/>
                    </a:endParaRPr>
                  </a:p>
                </p:txBody>
              </p:sp>
            </p:grpSp>
          </p:grpSp>
        </p:grpSp>
        <p:sp>
          <p:nvSpPr>
            <p:cNvPr id="11" name="TextBox 186">
              <a:extLst>
                <a:ext uri="{FF2B5EF4-FFF2-40B4-BE49-F238E27FC236}">
                  <a16:creationId xmlns:a16="http://schemas.microsoft.com/office/drawing/2014/main" id="{E2B73582-51C6-4C2F-A1E8-E5E418B95C32}"/>
                </a:ext>
              </a:extLst>
            </p:cNvPr>
            <p:cNvSpPr txBox="1"/>
            <p:nvPr/>
          </p:nvSpPr>
          <p:spPr>
            <a:xfrm>
              <a:off x="498085" y="439706"/>
              <a:ext cx="4817240" cy="144655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400" b="1" i="0" u="none" strike="noStrike" kern="1200" cap="none" spc="0" normalizeH="0" baseline="0" noProof="0" dirty="0">
                  <a:ln>
                    <a:noFill/>
                  </a:ln>
                  <a:solidFill>
                    <a:srgbClr val="000000">
                      <a:lumMod val="75000"/>
                      <a:lumOff val="25000"/>
                    </a:srgbClr>
                  </a:solidFill>
                  <a:effectLst/>
                  <a:uLnTx/>
                  <a:uFillTx/>
                  <a:latin typeface="Segoe UI" panose="020B0502040204020203" pitchFamily="34" charset="0"/>
                  <a:ea typeface="+mn-ea"/>
                  <a:cs typeface="Segoe UI" panose="020B0502040204020203" pitchFamily="34" charset="0"/>
                </a:rPr>
                <a:t>5 Stage Plan Growth Diagram</a:t>
              </a:r>
            </a:p>
          </p:txBody>
        </p:sp>
      </p:grpSp>
    </p:spTree>
    <p:extLst>
      <p:ext uri="{BB962C8B-B14F-4D97-AF65-F5344CB8AC3E}">
        <p14:creationId xmlns:p14="http://schemas.microsoft.com/office/powerpoint/2010/main" val="397983223"/>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6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9" name="组合 128">
            <a:extLst>
              <a:ext uri="{FF2B5EF4-FFF2-40B4-BE49-F238E27FC236}">
                <a16:creationId xmlns:a16="http://schemas.microsoft.com/office/drawing/2014/main" id="{F73604DA-9D2B-42D8-9AB8-81DD92B4DDCB}"/>
              </a:ext>
            </a:extLst>
          </p:cNvPr>
          <p:cNvGrpSpPr/>
          <p:nvPr/>
        </p:nvGrpSpPr>
        <p:grpSpPr>
          <a:xfrm>
            <a:off x="2784501" y="2326618"/>
            <a:ext cx="1386965" cy="1543707"/>
            <a:chOff x="2784501" y="2326618"/>
            <a:chExt cx="1386965" cy="1543707"/>
          </a:xfrm>
        </p:grpSpPr>
        <p:cxnSp>
          <p:nvCxnSpPr>
            <p:cNvPr id="130" name="直接连接符 129">
              <a:extLst>
                <a:ext uri="{FF2B5EF4-FFF2-40B4-BE49-F238E27FC236}">
                  <a16:creationId xmlns:a16="http://schemas.microsoft.com/office/drawing/2014/main" id="{17BFB0B3-F32C-49E8-AC01-1A7EDA6E8FAC}"/>
                </a:ext>
              </a:extLst>
            </p:cNvPr>
            <p:cNvCxnSpPr>
              <a:cxnSpLocks/>
            </p:cNvCxnSpPr>
            <p:nvPr/>
          </p:nvCxnSpPr>
          <p:spPr>
            <a:xfrm>
              <a:off x="2784501" y="2326618"/>
              <a:ext cx="1386965" cy="1543707"/>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31" name="椭圆 130">
              <a:extLst>
                <a:ext uri="{FF2B5EF4-FFF2-40B4-BE49-F238E27FC236}">
                  <a16:creationId xmlns:a16="http://schemas.microsoft.com/office/drawing/2014/main" id="{CF95098C-796D-4443-827E-A207030CE4DB}"/>
                </a:ext>
              </a:extLst>
            </p:cNvPr>
            <p:cNvSpPr>
              <a:spLocks/>
            </p:cNvSpPr>
            <p:nvPr/>
          </p:nvSpPr>
          <p:spPr>
            <a:xfrm>
              <a:off x="3017838" y="2590800"/>
              <a:ext cx="82552" cy="8255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srgbClr val="FFFFFF"/>
                </a:solidFill>
                <a:effectLst/>
                <a:uLnTx/>
                <a:uFillTx/>
                <a:latin typeface="Arial" panose="020F0502020204030204"/>
                <a:ea typeface="微软雅黑"/>
                <a:cs typeface="+mn-cs"/>
              </a:endParaRPr>
            </a:p>
          </p:txBody>
        </p:sp>
        <p:sp>
          <p:nvSpPr>
            <p:cNvPr id="132" name="椭圆 131">
              <a:extLst>
                <a:ext uri="{FF2B5EF4-FFF2-40B4-BE49-F238E27FC236}">
                  <a16:creationId xmlns:a16="http://schemas.microsoft.com/office/drawing/2014/main" id="{3EDC8E72-3A3A-4D8C-90EC-BB509D26A3DA}"/>
                </a:ext>
              </a:extLst>
            </p:cNvPr>
            <p:cNvSpPr>
              <a:spLocks/>
            </p:cNvSpPr>
            <p:nvPr/>
          </p:nvSpPr>
          <p:spPr>
            <a:xfrm>
              <a:off x="3284538" y="2882900"/>
              <a:ext cx="82552" cy="8255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srgbClr val="FFFFFF"/>
                </a:solidFill>
                <a:effectLst/>
                <a:uLnTx/>
                <a:uFillTx/>
                <a:latin typeface="Arial" panose="020F0502020204030204"/>
                <a:ea typeface="微软雅黑"/>
                <a:cs typeface="+mn-cs"/>
              </a:endParaRPr>
            </a:p>
          </p:txBody>
        </p:sp>
        <p:sp>
          <p:nvSpPr>
            <p:cNvPr id="133" name="椭圆 132">
              <a:extLst>
                <a:ext uri="{FF2B5EF4-FFF2-40B4-BE49-F238E27FC236}">
                  <a16:creationId xmlns:a16="http://schemas.microsoft.com/office/drawing/2014/main" id="{87CD5070-377A-4743-83E6-1965672E7CB2}"/>
                </a:ext>
              </a:extLst>
            </p:cNvPr>
            <p:cNvSpPr>
              <a:spLocks/>
            </p:cNvSpPr>
            <p:nvPr/>
          </p:nvSpPr>
          <p:spPr>
            <a:xfrm>
              <a:off x="3525838" y="3149600"/>
              <a:ext cx="82552" cy="8255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srgbClr val="FFFFFF"/>
                </a:solidFill>
                <a:effectLst/>
                <a:uLnTx/>
                <a:uFillTx/>
                <a:latin typeface="Arial" panose="020F0502020204030204"/>
                <a:ea typeface="微软雅黑"/>
                <a:cs typeface="+mn-cs"/>
              </a:endParaRPr>
            </a:p>
          </p:txBody>
        </p:sp>
        <p:sp>
          <p:nvSpPr>
            <p:cNvPr id="134" name="椭圆 133">
              <a:extLst>
                <a:ext uri="{FF2B5EF4-FFF2-40B4-BE49-F238E27FC236}">
                  <a16:creationId xmlns:a16="http://schemas.microsoft.com/office/drawing/2014/main" id="{E4CCE800-A45F-44F6-A451-58ABF86CC0EA}"/>
                </a:ext>
              </a:extLst>
            </p:cNvPr>
            <p:cNvSpPr>
              <a:spLocks/>
            </p:cNvSpPr>
            <p:nvPr/>
          </p:nvSpPr>
          <p:spPr>
            <a:xfrm>
              <a:off x="3779838" y="3441700"/>
              <a:ext cx="82552" cy="8255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srgbClr val="FFFFFF"/>
                </a:solidFill>
                <a:effectLst/>
                <a:uLnTx/>
                <a:uFillTx/>
                <a:latin typeface="Arial" panose="020F0502020204030204"/>
                <a:ea typeface="微软雅黑"/>
                <a:cs typeface="+mn-cs"/>
              </a:endParaRPr>
            </a:p>
          </p:txBody>
        </p:sp>
      </p:grpSp>
      <p:grpSp>
        <p:nvGrpSpPr>
          <p:cNvPr id="135" name="组合 134">
            <a:extLst>
              <a:ext uri="{FF2B5EF4-FFF2-40B4-BE49-F238E27FC236}">
                <a16:creationId xmlns:a16="http://schemas.microsoft.com/office/drawing/2014/main" id="{E064C9CA-8790-47AB-B466-1DD90C566BB5}"/>
              </a:ext>
            </a:extLst>
          </p:cNvPr>
          <p:cNvGrpSpPr>
            <a:grpSpLocks/>
          </p:cNvGrpSpPr>
          <p:nvPr/>
        </p:nvGrpSpPr>
        <p:grpSpPr>
          <a:xfrm>
            <a:off x="5270500" y="2311400"/>
            <a:ext cx="1386965" cy="1543707"/>
            <a:chOff x="2784501" y="2326618"/>
            <a:chExt cx="1386965" cy="1543707"/>
          </a:xfrm>
        </p:grpSpPr>
        <p:cxnSp>
          <p:nvCxnSpPr>
            <p:cNvPr id="136" name="直接连接符 135">
              <a:extLst>
                <a:ext uri="{FF2B5EF4-FFF2-40B4-BE49-F238E27FC236}">
                  <a16:creationId xmlns:a16="http://schemas.microsoft.com/office/drawing/2014/main" id="{2954A05D-5E85-49E9-8349-61879429728C}"/>
                </a:ext>
              </a:extLst>
            </p:cNvPr>
            <p:cNvCxnSpPr>
              <a:cxnSpLocks/>
            </p:cNvCxnSpPr>
            <p:nvPr/>
          </p:nvCxnSpPr>
          <p:spPr>
            <a:xfrm>
              <a:off x="2784501" y="2326618"/>
              <a:ext cx="1386965" cy="1543707"/>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37" name="椭圆 136">
              <a:extLst>
                <a:ext uri="{FF2B5EF4-FFF2-40B4-BE49-F238E27FC236}">
                  <a16:creationId xmlns:a16="http://schemas.microsoft.com/office/drawing/2014/main" id="{248AFD32-BBF9-4356-BE03-D82C44D3B6A8}"/>
                </a:ext>
              </a:extLst>
            </p:cNvPr>
            <p:cNvSpPr>
              <a:spLocks/>
            </p:cNvSpPr>
            <p:nvPr/>
          </p:nvSpPr>
          <p:spPr>
            <a:xfrm>
              <a:off x="3022600" y="2590800"/>
              <a:ext cx="82552" cy="8255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srgbClr val="FFFFFF"/>
                </a:solidFill>
                <a:effectLst/>
                <a:uLnTx/>
                <a:uFillTx/>
                <a:latin typeface="Arial" panose="020F0502020204030204"/>
                <a:ea typeface="微软雅黑"/>
                <a:cs typeface="+mn-cs"/>
              </a:endParaRPr>
            </a:p>
          </p:txBody>
        </p:sp>
        <p:sp>
          <p:nvSpPr>
            <p:cNvPr id="138" name="椭圆 137">
              <a:extLst>
                <a:ext uri="{FF2B5EF4-FFF2-40B4-BE49-F238E27FC236}">
                  <a16:creationId xmlns:a16="http://schemas.microsoft.com/office/drawing/2014/main" id="{A837644B-51F0-4A62-8155-C2C83317095D}"/>
                </a:ext>
              </a:extLst>
            </p:cNvPr>
            <p:cNvSpPr>
              <a:spLocks/>
            </p:cNvSpPr>
            <p:nvPr/>
          </p:nvSpPr>
          <p:spPr>
            <a:xfrm>
              <a:off x="3289300" y="2882900"/>
              <a:ext cx="82552" cy="8255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srgbClr val="FFFFFF"/>
                </a:solidFill>
                <a:effectLst/>
                <a:uLnTx/>
                <a:uFillTx/>
                <a:latin typeface="Arial" panose="020F0502020204030204"/>
                <a:ea typeface="微软雅黑"/>
                <a:cs typeface="+mn-cs"/>
              </a:endParaRPr>
            </a:p>
          </p:txBody>
        </p:sp>
        <p:sp>
          <p:nvSpPr>
            <p:cNvPr id="139" name="椭圆 138">
              <a:extLst>
                <a:ext uri="{FF2B5EF4-FFF2-40B4-BE49-F238E27FC236}">
                  <a16:creationId xmlns:a16="http://schemas.microsoft.com/office/drawing/2014/main" id="{C45F1921-E61B-4C6B-AB41-DCA082F8B123}"/>
                </a:ext>
              </a:extLst>
            </p:cNvPr>
            <p:cNvSpPr>
              <a:spLocks/>
            </p:cNvSpPr>
            <p:nvPr/>
          </p:nvSpPr>
          <p:spPr>
            <a:xfrm>
              <a:off x="3530600" y="3149600"/>
              <a:ext cx="82552" cy="8255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srgbClr val="FFFFFF"/>
                </a:solidFill>
                <a:effectLst/>
                <a:uLnTx/>
                <a:uFillTx/>
                <a:latin typeface="Arial" panose="020F0502020204030204"/>
                <a:ea typeface="微软雅黑"/>
                <a:cs typeface="+mn-cs"/>
              </a:endParaRPr>
            </a:p>
          </p:txBody>
        </p:sp>
        <p:sp>
          <p:nvSpPr>
            <p:cNvPr id="140" name="椭圆 139">
              <a:extLst>
                <a:ext uri="{FF2B5EF4-FFF2-40B4-BE49-F238E27FC236}">
                  <a16:creationId xmlns:a16="http://schemas.microsoft.com/office/drawing/2014/main" id="{92E6420F-6957-4308-8854-529B07CD4057}"/>
                </a:ext>
              </a:extLst>
            </p:cNvPr>
            <p:cNvSpPr>
              <a:spLocks/>
            </p:cNvSpPr>
            <p:nvPr/>
          </p:nvSpPr>
          <p:spPr>
            <a:xfrm>
              <a:off x="3784600" y="3441700"/>
              <a:ext cx="82552" cy="8255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srgbClr val="FFFFFF"/>
                </a:solidFill>
                <a:effectLst/>
                <a:uLnTx/>
                <a:uFillTx/>
                <a:latin typeface="Arial" panose="020F0502020204030204"/>
                <a:ea typeface="微软雅黑"/>
                <a:cs typeface="+mn-cs"/>
              </a:endParaRPr>
            </a:p>
          </p:txBody>
        </p:sp>
      </p:grpSp>
      <p:grpSp>
        <p:nvGrpSpPr>
          <p:cNvPr id="141" name="组合 140">
            <a:extLst>
              <a:ext uri="{FF2B5EF4-FFF2-40B4-BE49-F238E27FC236}">
                <a16:creationId xmlns:a16="http://schemas.microsoft.com/office/drawing/2014/main" id="{D058B497-91F7-4F7C-97F4-9C213465F79C}"/>
              </a:ext>
            </a:extLst>
          </p:cNvPr>
          <p:cNvGrpSpPr>
            <a:grpSpLocks/>
          </p:cNvGrpSpPr>
          <p:nvPr/>
        </p:nvGrpSpPr>
        <p:grpSpPr>
          <a:xfrm>
            <a:off x="7772400" y="2311400"/>
            <a:ext cx="1386965" cy="1543707"/>
            <a:chOff x="2784501" y="2326618"/>
            <a:chExt cx="1386965" cy="1543707"/>
          </a:xfrm>
        </p:grpSpPr>
        <p:cxnSp>
          <p:nvCxnSpPr>
            <p:cNvPr id="142" name="直接连接符 141">
              <a:extLst>
                <a:ext uri="{FF2B5EF4-FFF2-40B4-BE49-F238E27FC236}">
                  <a16:creationId xmlns:a16="http://schemas.microsoft.com/office/drawing/2014/main" id="{2BABB1DE-709E-4FE6-8CC4-5C505B88B769}"/>
                </a:ext>
              </a:extLst>
            </p:cNvPr>
            <p:cNvCxnSpPr>
              <a:cxnSpLocks/>
            </p:cNvCxnSpPr>
            <p:nvPr/>
          </p:nvCxnSpPr>
          <p:spPr>
            <a:xfrm>
              <a:off x="2784501" y="2326618"/>
              <a:ext cx="1386965" cy="1543707"/>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43" name="椭圆 142">
              <a:extLst>
                <a:ext uri="{FF2B5EF4-FFF2-40B4-BE49-F238E27FC236}">
                  <a16:creationId xmlns:a16="http://schemas.microsoft.com/office/drawing/2014/main" id="{B4B9CA1A-7C61-4413-A729-38176B1C5AFC}"/>
                </a:ext>
              </a:extLst>
            </p:cNvPr>
            <p:cNvSpPr>
              <a:spLocks/>
            </p:cNvSpPr>
            <p:nvPr/>
          </p:nvSpPr>
          <p:spPr>
            <a:xfrm>
              <a:off x="3022600" y="2590800"/>
              <a:ext cx="82552" cy="8255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srgbClr val="FFFFFF"/>
                </a:solidFill>
                <a:effectLst/>
                <a:uLnTx/>
                <a:uFillTx/>
                <a:latin typeface="Arial" panose="020F0502020204030204"/>
                <a:ea typeface="微软雅黑"/>
                <a:cs typeface="+mn-cs"/>
              </a:endParaRPr>
            </a:p>
          </p:txBody>
        </p:sp>
        <p:sp>
          <p:nvSpPr>
            <p:cNvPr id="144" name="椭圆 143">
              <a:extLst>
                <a:ext uri="{FF2B5EF4-FFF2-40B4-BE49-F238E27FC236}">
                  <a16:creationId xmlns:a16="http://schemas.microsoft.com/office/drawing/2014/main" id="{CC6E3944-98D4-45E3-BD6A-113DC551C9B3}"/>
                </a:ext>
              </a:extLst>
            </p:cNvPr>
            <p:cNvSpPr>
              <a:spLocks/>
            </p:cNvSpPr>
            <p:nvPr/>
          </p:nvSpPr>
          <p:spPr>
            <a:xfrm>
              <a:off x="3289300" y="2882900"/>
              <a:ext cx="82552" cy="8255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srgbClr val="FFFFFF"/>
                </a:solidFill>
                <a:effectLst/>
                <a:uLnTx/>
                <a:uFillTx/>
                <a:latin typeface="Arial" panose="020F0502020204030204"/>
                <a:ea typeface="微软雅黑"/>
                <a:cs typeface="+mn-cs"/>
              </a:endParaRPr>
            </a:p>
          </p:txBody>
        </p:sp>
        <p:sp>
          <p:nvSpPr>
            <p:cNvPr id="145" name="椭圆 144">
              <a:extLst>
                <a:ext uri="{FF2B5EF4-FFF2-40B4-BE49-F238E27FC236}">
                  <a16:creationId xmlns:a16="http://schemas.microsoft.com/office/drawing/2014/main" id="{8E2AD27C-75E1-44FE-80CE-D9CEA59C6870}"/>
                </a:ext>
              </a:extLst>
            </p:cNvPr>
            <p:cNvSpPr>
              <a:spLocks/>
            </p:cNvSpPr>
            <p:nvPr/>
          </p:nvSpPr>
          <p:spPr>
            <a:xfrm>
              <a:off x="3530600" y="3149600"/>
              <a:ext cx="82552" cy="8255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srgbClr val="FFFFFF"/>
                </a:solidFill>
                <a:effectLst/>
                <a:uLnTx/>
                <a:uFillTx/>
                <a:latin typeface="Arial" panose="020F0502020204030204"/>
                <a:ea typeface="微软雅黑"/>
                <a:cs typeface="+mn-cs"/>
              </a:endParaRPr>
            </a:p>
          </p:txBody>
        </p:sp>
        <p:sp>
          <p:nvSpPr>
            <p:cNvPr id="146" name="椭圆 145">
              <a:extLst>
                <a:ext uri="{FF2B5EF4-FFF2-40B4-BE49-F238E27FC236}">
                  <a16:creationId xmlns:a16="http://schemas.microsoft.com/office/drawing/2014/main" id="{33EA9E65-EBE0-4CEB-9D8F-1C8F3009F212}"/>
                </a:ext>
              </a:extLst>
            </p:cNvPr>
            <p:cNvSpPr>
              <a:spLocks/>
            </p:cNvSpPr>
            <p:nvPr/>
          </p:nvSpPr>
          <p:spPr>
            <a:xfrm>
              <a:off x="3784600" y="3441700"/>
              <a:ext cx="82552" cy="8255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srgbClr val="FFFFFF"/>
                </a:solidFill>
                <a:effectLst/>
                <a:uLnTx/>
                <a:uFillTx/>
                <a:latin typeface="Arial" panose="020F0502020204030204"/>
                <a:ea typeface="微软雅黑"/>
                <a:cs typeface="+mn-cs"/>
              </a:endParaRPr>
            </a:p>
          </p:txBody>
        </p:sp>
      </p:grpSp>
      <p:grpSp>
        <p:nvGrpSpPr>
          <p:cNvPr id="115" name="组合 114">
            <a:extLst>
              <a:ext uri="{FF2B5EF4-FFF2-40B4-BE49-F238E27FC236}">
                <a16:creationId xmlns:a16="http://schemas.microsoft.com/office/drawing/2014/main" id="{54371B13-2BFF-4F26-B84A-DA948FA7806C}"/>
              </a:ext>
            </a:extLst>
          </p:cNvPr>
          <p:cNvGrpSpPr/>
          <p:nvPr/>
        </p:nvGrpSpPr>
        <p:grpSpPr>
          <a:xfrm>
            <a:off x="777567" y="2485396"/>
            <a:ext cx="10896344" cy="2784832"/>
            <a:chOff x="777567" y="2485396"/>
            <a:chExt cx="10896344" cy="2784832"/>
          </a:xfrm>
        </p:grpSpPr>
        <p:sp>
          <p:nvSpPr>
            <p:cNvPr id="113" name="任意多边形: 形状 112">
              <a:extLst>
                <a:ext uri="{FF2B5EF4-FFF2-40B4-BE49-F238E27FC236}">
                  <a16:creationId xmlns:a16="http://schemas.microsoft.com/office/drawing/2014/main" id="{1C55EA22-AF4D-44E6-A04F-12196E98363D}"/>
                </a:ext>
              </a:extLst>
            </p:cNvPr>
            <p:cNvSpPr/>
            <p:nvPr/>
          </p:nvSpPr>
          <p:spPr>
            <a:xfrm>
              <a:off x="777567" y="2485396"/>
              <a:ext cx="10896344" cy="2784832"/>
            </a:xfrm>
            <a:custGeom>
              <a:avLst/>
              <a:gdLst>
                <a:gd name="connsiteX0" fmla="*/ 9998722 w 11328324"/>
                <a:gd name="connsiteY0" fmla="*/ 929 h 2784832"/>
                <a:gd name="connsiteX1" fmla="*/ 10048793 w 11328324"/>
                <a:gd name="connsiteY1" fmla="*/ 12476 h 2784832"/>
                <a:gd name="connsiteX2" fmla="*/ 10116671 w 11328324"/>
                <a:gd name="connsiteY2" fmla="*/ 53809 h 2784832"/>
                <a:gd name="connsiteX3" fmla="*/ 10473863 w 11328324"/>
                <a:gd name="connsiteY3" fmla="*/ 336670 h 2784832"/>
                <a:gd name="connsiteX4" fmla="*/ 10918764 w 11328324"/>
                <a:gd name="connsiteY4" fmla="*/ 796006 h 2784832"/>
                <a:gd name="connsiteX5" fmla="*/ 11227272 w 11328324"/>
                <a:gd name="connsiteY5" fmla="*/ 1176695 h 2784832"/>
                <a:gd name="connsiteX6" fmla="*/ 11328324 w 11328324"/>
                <a:gd name="connsiteY6" fmla="*/ 1349674 h 2784832"/>
                <a:gd name="connsiteX7" fmla="*/ 11328324 w 11328324"/>
                <a:gd name="connsiteY7" fmla="*/ 1414461 h 2784832"/>
                <a:gd name="connsiteX8" fmla="*/ 11269217 w 11328324"/>
                <a:gd name="connsiteY8" fmla="*/ 1552848 h 2784832"/>
                <a:gd name="connsiteX9" fmla="*/ 11065834 w 11328324"/>
                <a:gd name="connsiteY9" fmla="*/ 1848144 h 2784832"/>
                <a:gd name="connsiteX10" fmla="*/ 10620299 w 11328324"/>
                <a:gd name="connsiteY10" fmla="*/ 2327566 h 2784832"/>
                <a:gd name="connsiteX11" fmla="*/ 10282297 w 11328324"/>
                <a:gd name="connsiteY11" fmla="*/ 2613924 h 2784832"/>
                <a:gd name="connsiteX12" fmla="*/ 10029596 w 11328324"/>
                <a:gd name="connsiteY12" fmla="*/ 2784832 h 2784832"/>
                <a:gd name="connsiteX13" fmla="*/ 9991462 w 11328324"/>
                <a:gd name="connsiteY13" fmla="*/ 2784832 h 2784832"/>
                <a:gd name="connsiteX14" fmla="*/ 9939343 w 11328324"/>
                <a:gd name="connsiteY14" fmla="*/ 2729893 h 2784832"/>
                <a:gd name="connsiteX15" fmla="*/ 9889770 w 11328324"/>
                <a:gd name="connsiteY15" fmla="*/ 2632972 h 2784832"/>
                <a:gd name="connsiteX16" fmla="*/ 9767105 w 11328324"/>
                <a:gd name="connsiteY16" fmla="*/ 2256170 h 2784832"/>
                <a:gd name="connsiteX17" fmla="*/ 9644441 w 11328324"/>
                <a:gd name="connsiteY17" fmla="*/ 1571507 h 2784832"/>
                <a:gd name="connsiteX18" fmla="*/ 9643084 w 11328324"/>
                <a:gd name="connsiteY18" fmla="*/ 1417288 h 2784832"/>
                <a:gd name="connsiteX19" fmla="*/ 1409630 w 11328324"/>
                <a:gd name="connsiteY19" fmla="*/ 1417288 h 2784832"/>
                <a:gd name="connsiteX20" fmla="*/ 1167008 w 11328324"/>
                <a:gd name="connsiteY20" fmla="*/ 1660765 h 2784832"/>
                <a:gd name="connsiteX21" fmla="*/ 891202 w 11328324"/>
                <a:gd name="connsiteY21" fmla="*/ 1897511 h 2784832"/>
                <a:gd name="connsiteX22" fmla="*/ 39535 w 11328324"/>
                <a:gd name="connsiteY22" fmla="*/ 2425004 h 2784832"/>
                <a:gd name="connsiteX23" fmla="*/ 0 w 11328324"/>
                <a:gd name="connsiteY23" fmla="*/ 2441720 h 2784832"/>
                <a:gd name="connsiteX24" fmla="*/ 52500 w 11328324"/>
                <a:gd name="connsiteY24" fmla="*/ 2338061 h 2784832"/>
                <a:gd name="connsiteX25" fmla="*/ 277492 w 11328324"/>
                <a:gd name="connsiteY25" fmla="*/ 1565546 h 2784832"/>
                <a:gd name="connsiteX26" fmla="*/ 98896 w 11328324"/>
                <a:gd name="connsiteY26" fmla="*/ 499024 h 2784832"/>
                <a:gd name="connsiteX27" fmla="*/ 3815 w 11328324"/>
                <a:gd name="connsiteY27" fmla="*/ 302332 h 2784832"/>
                <a:gd name="connsiteX28" fmla="*/ 195758 w 11328324"/>
                <a:gd name="connsiteY28" fmla="*/ 393034 h 2784832"/>
                <a:gd name="connsiteX29" fmla="*/ 1389617 w 11328324"/>
                <a:gd name="connsiteY29" fmla="*/ 1304841 h 2784832"/>
                <a:gd name="connsiteX30" fmla="*/ 1418653 w 11328324"/>
                <a:gd name="connsiteY30" fmla="*/ 1332672 h 2784832"/>
                <a:gd name="connsiteX31" fmla="*/ 9642340 w 11328324"/>
                <a:gd name="connsiteY31" fmla="*/ 1332672 h 2784832"/>
                <a:gd name="connsiteX32" fmla="*/ 9641263 w 11328324"/>
                <a:gd name="connsiteY32" fmla="*/ 1210253 h 2784832"/>
                <a:gd name="connsiteX33" fmla="*/ 9699862 w 11328324"/>
                <a:gd name="connsiteY33" fmla="*/ 759597 h 2784832"/>
                <a:gd name="connsiteX34" fmla="*/ 9907565 w 11328324"/>
                <a:gd name="connsiteY34" fmla="*/ 113544 h 2784832"/>
                <a:gd name="connsiteX35" fmla="*/ 9957137 w 11328324"/>
                <a:gd name="connsiteY35" fmla="*/ 31264 h 2784832"/>
                <a:gd name="connsiteX36" fmla="*/ 9998722 w 11328324"/>
                <a:gd name="connsiteY36" fmla="*/ 929 h 2784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1328324" h="2784832">
                  <a:moveTo>
                    <a:pt x="9998722" y="929"/>
                  </a:moveTo>
                  <a:cubicBezTo>
                    <a:pt x="10013675" y="-2003"/>
                    <a:pt x="10030042" y="2047"/>
                    <a:pt x="10048793" y="12476"/>
                  </a:cubicBezTo>
                  <a:cubicBezTo>
                    <a:pt x="10071926" y="25434"/>
                    <a:pt x="10094680" y="39169"/>
                    <a:pt x="10116671" y="53809"/>
                  </a:cubicBezTo>
                  <a:cubicBezTo>
                    <a:pt x="10242512" y="138811"/>
                    <a:pt x="10361874" y="233400"/>
                    <a:pt x="10473863" y="336670"/>
                  </a:cubicBezTo>
                  <a:cubicBezTo>
                    <a:pt x="10630721" y="480884"/>
                    <a:pt x="10779317" y="634300"/>
                    <a:pt x="10918764" y="796006"/>
                  </a:cubicBezTo>
                  <a:cubicBezTo>
                    <a:pt x="11026049" y="918971"/>
                    <a:pt x="11128881" y="1045955"/>
                    <a:pt x="11227272" y="1176695"/>
                  </a:cubicBezTo>
                  <a:cubicBezTo>
                    <a:pt x="11267820" y="1230467"/>
                    <a:pt x="11309511" y="1282946"/>
                    <a:pt x="11328324" y="1349674"/>
                  </a:cubicBezTo>
                  <a:lnTo>
                    <a:pt x="11328324" y="1414461"/>
                  </a:lnTo>
                  <a:cubicBezTo>
                    <a:pt x="11314217" y="1462922"/>
                    <a:pt x="11294385" y="1509310"/>
                    <a:pt x="11269217" y="1552848"/>
                  </a:cubicBezTo>
                  <a:cubicBezTo>
                    <a:pt x="11208583" y="1656247"/>
                    <a:pt x="11140576" y="1754851"/>
                    <a:pt x="11065834" y="1848144"/>
                  </a:cubicBezTo>
                  <a:cubicBezTo>
                    <a:pt x="10929694" y="2019442"/>
                    <a:pt x="10780713" y="2179723"/>
                    <a:pt x="10620299" y="2327566"/>
                  </a:cubicBezTo>
                  <a:cubicBezTo>
                    <a:pt x="10511744" y="2427986"/>
                    <a:pt x="10400133" y="2524650"/>
                    <a:pt x="10282297" y="2613924"/>
                  </a:cubicBezTo>
                  <a:cubicBezTo>
                    <a:pt x="10200945" y="2675472"/>
                    <a:pt x="10115907" y="2731189"/>
                    <a:pt x="10029596" y="2784832"/>
                  </a:cubicBezTo>
                  <a:lnTo>
                    <a:pt x="9991462" y="2784832"/>
                  </a:lnTo>
                  <a:cubicBezTo>
                    <a:pt x="9972394" y="2768245"/>
                    <a:pt x="9954978" y="2749846"/>
                    <a:pt x="9939343" y="2729893"/>
                  </a:cubicBezTo>
                  <a:cubicBezTo>
                    <a:pt x="9919513" y="2699444"/>
                    <a:pt x="9902866" y="2667051"/>
                    <a:pt x="9889770" y="2632972"/>
                  </a:cubicBezTo>
                  <a:cubicBezTo>
                    <a:pt x="9843120" y="2509358"/>
                    <a:pt x="9803334" y="2383412"/>
                    <a:pt x="9767105" y="2256170"/>
                  </a:cubicBezTo>
                  <a:cubicBezTo>
                    <a:pt x="9703418" y="2032786"/>
                    <a:pt x="9662236" y="1803441"/>
                    <a:pt x="9644441" y="1571507"/>
                  </a:cubicBezTo>
                  <a:lnTo>
                    <a:pt x="9643084" y="1417288"/>
                  </a:lnTo>
                  <a:lnTo>
                    <a:pt x="1409630" y="1417288"/>
                  </a:lnTo>
                  <a:lnTo>
                    <a:pt x="1167008" y="1660765"/>
                  </a:lnTo>
                  <a:cubicBezTo>
                    <a:pt x="1078155" y="1743255"/>
                    <a:pt x="986156" y="1822230"/>
                    <a:pt x="891202" y="1897511"/>
                  </a:cubicBezTo>
                  <a:cubicBezTo>
                    <a:pt x="628329" y="2106385"/>
                    <a:pt x="342446" y="2283382"/>
                    <a:pt x="39535" y="2425004"/>
                  </a:cubicBezTo>
                  <a:cubicBezTo>
                    <a:pt x="29109" y="2429930"/>
                    <a:pt x="18303" y="2433947"/>
                    <a:pt x="0" y="2441720"/>
                  </a:cubicBezTo>
                  <a:cubicBezTo>
                    <a:pt x="20593" y="2401165"/>
                    <a:pt x="36865" y="2369935"/>
                    <a:pt x="52500" y="2338061"/>
                  </a:cubicBezTo>
                  <a:cubicBezTo>
                    <a:pt x="173641" y="2096926"/>
                    <a:pt x="249910" y="1835056"/>
                    <a:pt x="277492" y="1565546"/>
                  </a:cubicBezTo>
                  <a:cubicBezTo>
                    <a:pt x="314099" y="1193021"/>
                    <a:pt x="249781" y="838376"/>
                    <a:pt x="98896" y="499024"/>
                  </a:cubicBezTo>
                  <a:cubicBezTo>
                    <a:pt x="69277" y="432421"/>
                    <a:pt x="35339" y="367894"/>
                    <a:pt x="3815" y="302332"/>
                  </a:cubicBezTo>
                  <a:cubicBezTo>
                    <a:pt x="67372" y="332392"/>
                    <a:pt x="133216" y="359732"/>
                    <a:pt x="195758" y="393034"/>
                  </a:cubicBezTo>
                  <a:cubicBezTo>
                    <a:pt x="641801" y="625359"/>
                    <a:pt x="1045644" y="933744"/>
                    <a:pt x="1389617" y="1304841"/>
                  </a:cubicBezTo>
                  <a:lnTo>
                    <a:pt x="1418653" y="1332672"/>
                  </a:lnTo>
                  <a:lnTo>
                    <a:pt x="9642340" y="1332672"/>
                  </a:lnTo>
                  <a:lnTo>
                    <a:pt x="9641263" y="1210253"/>
                  </a:lnTo>
                  <a:cubicBezTo>
                    <a:pt x="9650288" y="1058783"/>
                    <a:pt x="9669864" y="908219"/>
                    <a:pt x="9699862" y="759597"/>
                  </a:cubicBezTo>
                  <a:cubicBezTo>
                    <a:pt x="9746257" y="537248"/>
                    <a:pt x="9815916" y="320732"/>
                    <a:pt x="9907565" y="113544"/>
                  </a:cubicBezTo>
                  <a:cubicBezTo>
                    <a:pt x="9920916" y="84261"/>
                    <a:pt x="9937568" y="56659"/>
                    <a:pt x="9957137" y="31264"/>
                  </a:cubicBezTo>
                  <a:cubicBezTo>
                    <a:pt x="9970231" y="13772"/>
                    <a:pt x="9983769" y="3860"/>
                    <a:pt x="9998722" y="929"/>
                  </a:cubicBezTo>
                  <a:close/>
                </a:path>
              </a:pathLst>
            </a:custGeom>
            <a:gradFill flip="none" rotWithShape="1">
              <a:gsLst>
                <a:gs pos="0">
                  <a:schemeClr val="accent1"/>
                </a:gs>
                <a:gs pos="100000">
                  <a:schemeClr val="accent1">
                    <a:lumMod val="60000"/>
                    <a:lumOff val="4000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Arial" panose="020F0502020204030204"/>
                <a:ea typeface="微软雅黑"/>
                <a:cs typeface="+mn-cs"/>
              </a:endParaRPr>
            </a:p>
          </p:txBody>
        </p:sp>
        <p:sp>
          <p:nvSpPr>
            <p:cNvPr id="114" name="椭圆 113">
              <a:extLst>
                <a:ext uri="{FF2B5EF4-FFF2-40B4-BE49-F238E27FC236}">
                  <a16:creationId xmlns:a16="http://schemas.microsoft.com/office/drawing/2014/main" id="{679ED898-6A81-476E-AD0C-F3BB8C02D1BA}"/>
                </a:ext>
              </a:extLst>
            </p:cNvPr>
            <p:cNvSpPr>
              <a:spLocks/>
            </p:cNvSpPr>
            <p:nvPr/>
          </p:nvSpPr>
          <p:spPr>
            <a:xfrm>
              <a:off x="10595963" y="3248443"/>
              <a:ext cx="338995" cy="338995"/>
            </a:xfrm>
            <a:prstGeom prst="ellipse">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Arial" panose="020F0502020204030204"/>
                <a:ea typeface="微软雅黑"/>
                <a:cs typeface="+mn-cs"/>
              </a:endParaRPr>
            </a:p>
          </p:txBody>
        </p:sp>
      </p:grpSp>
      <p:sp>
        <p:nvSpPr>
          <p:cNvPr id="7" name="Object 106">
            <a:extLst>
              <a:ext uri="{FF2B5EF4-FFF2-40B4-BE49-F238E27FC236}">
                <a16:creationId xmlns:a16="http://schemas.microsoft.com/office/drawing/2014/main" id="{C9F13546-C2ED-4FEE-B588-4B76B42B10D7}"/>
              </a:ext>
            </a:extLst>
          </p:cNvPr>
          <p:cNvSpPr txBox="1"/>
          <p:nvPr/>
        </p:nvSpPr>
        <p:spPr>
          <a:xfrm>
            <a:off x="676931" y="1020753"/>
            <a:ext cx="4166106" cy="260555"/>
          </a:xfrm>
          <a:prstGeom prst="rect">
            <a:avLst/>
          </a:prstGeom>
        </p:spPr>
        <p:txBody>
          <a:bodyPr vert="horz" lIns="0" tIns="0" rIns="0" bIns="0"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200" b="0" i="0" u="none" strike="noStrike" kern="1200" cap="none" spc="0" normalizeH="0" baseline="0" noProof="0" dirty="0">
                <a:ln>
                  <a:noFill/>
                </a:ln>
                <a:solidFill>
                  <a:srgbClr val="535353"/>
                </a:solidFill>
                <a:effectLst/>
                <a:uLnTx/>
                <a:uFillTx/>
                <a:latin typeface="OPPOSans R" panose="00020600040101010101" pitchFamily="18" charset="-122"/>
                <a:ea typeface="OPPOSans R" panose="00020600040101010101" pitchFamily="18" charset="-122"/>
                <a:cs typeface="OPPOSans R" panose="00020600040101010101" pitchFamily="18" charset="-122"/>
              </a:rPr>
              <a:t>Analysis of the causes of cancer</a:t>
            </a:r>
            <a:endParaRPr kumimoji="0" lang="zh-CN" altLang="en-US" sz="800" b="0" i="0" u="none" strike="noStrike" kern="1200" cap="none" spc="0" normalizeH="0" baseline="0" noProof="0" dirty="0">
              <a:ln>
                <a:noFill/>
              </a:ln>
              <a:solidFill>
                <a:srgbClr val="000000"/>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p:txBody>
      </p:sp>
      <p:sp>
        <p:nvSpPr>
          <p:cNvPr id="8" name="Object 107">
            <a:extLst>
              <a:ext uri="{FF2B5EF4-FFF2-40B4-BE49-F238E27FC236}">
                <a16:creationId xmlns:a16="http://schemas.microsoft.com/office/drawing/2014/main" id="{0D857EB2-0371-45F0-8514-B5BF67761363}"/>
              </a:ext>
            </a:extLst>
          </p:cNvPr>
          <p:cNvSpPr txBox="1"/>
          <p:nvPr/>
        </p:nvSpPr>
        <p:spPr>
          <a:xfrm>
            <a:off x="660399" y="652303"/>
            <a:ext cx="4182649" cy="373969"/>
          </a:xfrm>
          <a:prstGeom prst="rect">
            <a:avLst/>
          </a:prstGeom>
        </p:spPr>
        <p:txBody>
          <a:bodyPr vert="horz" lIns="0" tIns="0" rIns="0" bIns="0"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2400" b="0" i="0" u="none" strike="noStrike" kern="1200" cap="none" spc="0" normalizeH="0" baseline="0" noProof="0" dirty="0">
                <a:ln>
                  <a:noFill/>
                </a:ln>
                <a:solidFill>
                  <a:srgbClr val="1B1B1B"/>
                </a:solidFill>
                <a:effectLst/>
                <a:uLnTx/>
                <a:uFillTx/>
                <a:latin typeface="OPPOSans B" panose="00020600040101010101" pitchFamily="18" charset="-122"/>
                <a:ea typeface="OPPOSans B" panose="00020600040101010101" pitchFamily="18" charset="-122"/>
                <a:cs typeface="OPPOSans B" panose="00020600040101010101" pitchFamily="18" charset="-122"/>
              </a:rPr>
              <a:t>癌症原因分析</a:t>
            </a:r>
            <a:endParaRPr kumimoji="0" lang="zh-CN" altLang="en-US" sz="800" b="0" i="0" u="none" strike="noStrike" kern="1200" cap="none" spc="0" normalizeH="0" baseline="0" noProof="0" dirty="0">
              <a:ln>
                <a:noFill/>
              </a:ln>
              <a:solidFill>
                <a:srgbClr val="000000"/>
              </a:solidFill>
              <a:effectLst/>
              <a:uLnTx/>
              <a:uFillTx/>
              <a:latin typeface="OPPOSans B" panose="00020600040101010101" pitchFamily="18" charset="-122"/>
              <a:ea typeface="OPPOSans B" panose="00020600040101010101" pitchFamily="18" charset="-122"/>
              <a:cs typeface="OPPOSans B" panose="00020600040101010101" pitchFamily="18" charset="-122"/>
            </a:endParaRPr>
          </a:p>
        </p:txBody>
      </p:sp>
      <p:sp>
        <p:nvSpPr>
          <p:cNvPr id="232" name="矩形: 圆角 231">
            <a:extLst>
              <a:ext uri="{FF2B5EF4-FFF2-40B4-BE49-F238E27FC236}">
                <a16:creationId xmlns:a16="http://schemas.microsoft.com/office/drawing/2014/main" id="{CB834473-156C-4D34-A5C0-2D31F720B98B}"/>
              </a:ext>
            </a:extLst>
          </p:cNvPr>
          <p:cNvSpPr>
            <a:spLocks/>
          </p:cNvSpPr>
          <p:nvPr/>
        </p:nvSpPr>
        <p:spPr>
          <a:xfrm>
            <a:off x="2476500" y="1857375"/>
            <a:ext cx="2012951" cy="514351"/>
          </a:xfrm>
          <a:prstGeom prst="roundRect">
            <a:avLst>
              <a:gd name="adj" fmla="val 5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Arial" panose="020F0502020204030204"/>
              <a:ea typeface="微软雅黑"/>
              <a:cs typeface="+mn-cs"/>
            </a:endParaRPr>
          </a:p>
        </p:txBody>
      </p:sp>
      <p:sp>
        <p:nvSpPr>
          <p:cNvPr id="244" name="椭圆 243">
            <a:extLst>
              <a:ext uri="{FF2B5EF4-FFF2-40B4-BE49-F238E27FC236}">
                <a16:creationId xmlns:a16="http://schemas.microsoft.com/office/drawing/2014/main" id="{99F205B9-0983-4FFE-B717-C70B0EEFF508}"/>
              </a:ext>
            </a:extLst>
          </p:cNvPr>
          <p:cNvSpPr>
            <a:spLocks/>
          </p:cNvSpPr>
          <p:nvPr/>
        </p:nvSpPr>
        <p:spPr>
          <a:xfrm>
            <a:off x="2514600" y="1879600"/>
            <a:ext cx="444500" cy="44449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Arial" panose="020F0502020204030204"/>
              <a:ea typeface="微软雅黑"/>
              <a:cs typeface="+mn-cs"/>
            </a:endParaRPr>
          </a:p>
        </p:txBody>
      </p:sp>
      <p:sp>
        <p:nvSpPr>
          <p:cNvPr id="24" name="Object 1019">
            <a:extLst>
              <a:ext uri="{FF2B5EF4-FFF2-40B4-BE49-F238E27FC236}">
                <a16:creationId xmlns:a16="http://schemas.microsoft.com/office/drawing/2014/main" id="{51EBEEFF-8715-4468-8527-3A379E00F5FB}"/>
              </a:ext>
            </a:extLst>
          </p:cNvPr>
          <p:cNvSpPr txBox="1"/>
          <p:nvPr/>
        </p:nvSpPr>
        <p:spPr>
          <a:xfrm>
            <a:off x="2382074" y="1888960"/>
            <a:ext cx="718115" cy="419430"/>
          </a:xfrm>
          <a:prstGeom prst="rect">
            <a:avLst/>
          </a:prstGeom>
        </p:spPr>
        <p:txBody>
          <a:bodyPr vert="horz" lIns="0" tIns="0" rIns="0" bIns="0" rtlCol="0" anchor="t" anchorCtr="0">
            <a:noAutofit/>
          </a:bodyPr>
          <a:lstStyle/>
          <a:p>
            <a:pPr marL="0" marR="0" lvl="0" indent="0" algn="ctr" defTabSz="914400" rtl="0" eaLnBrk="1" fontAlgn="auto" latinLnBrk="0" hangingPunct="1">
              <a:lnSpc>
                <a:spcPct val="130833"/>
              </a:lnSpc>
              <a:spcBef>
                <a:spcPts val="0"/>
              </a:spcBef>
              <a:spcAft>
                <a:spcPts val="0"/>
              </a:spcAft>
              <a:buClrTx/>
              <a:buSzTx/>
              <a:buFontTx/>
              <a:buNone/>
              <a:tabLst/>
              <a:defRPr/>
            </a:pPr>
            <a:r>
              <a:rPr kumimoji="0" lang="en-US" altLang="zh-CN" sz="2000" b="0" i="0" u="none" strike="noStrike" kern="1200" cap="none" spc="42" normalizeH="0" baseline="0" noProof="0" dirty="0">
                <a:ln>
                  <a:noFill/>
                </a:ln>
                <a:solidFill>
                  <a:srgbClr val="313131"/>
                </a:solidFill>
                <a:effectLst/>
                <a:uLnTx/>
                <a:uFillTx/>
                <a:latin typeface="OPPOSans B" panose="00020600040101010101" pitchFamily="18" charset="-122"/>
                <a:ea typeface="OPPOSans B" panose="00020600040101010101" pitchFamily="18" charset="-122"/>
                <a:cs typeface="OPPOSans B" panose="00020600040101010101" pitchFamily="18" charset="-122"/>
              </a:rPr>
              <a:t>02</a:t>
            </a:r>
            <a:endParaRPr kumimoji="0" lang="zh-CN" altLang="en-US" sz="1000" b="0" i="0" u="none" strike="noStrike" kern="1200" cap="none" spc="0" normalizeH="0" baseline="0" noProof="0" dirty="0">
              <a:ln>
                <a:noFill/>
              </a:ln>
              <a:solidFill>
                <a:srgbClr val="000000"/>
              </a:solidFill>
              <a:effectLst/>
              <a:uLnTx/>
              <a:uFillTx/>
              <a:latin typeface="OPPOSans B" panose="00020600040101010101" pitchFamily="18" charset="-122"/>
              <a:ea typeface="OPPOSans B" panose="00020600040101010101" pitchFamily="18" charset="-122"/>
              <a:cs typeface="OPPOSans B" panose="00020600040101010101" pitchFamily="18" charset="-122"/>
            </a:endParaRPr>
          </a:p>
        </p:txBody>
      </p:sp>
      <p:sp>
        <p:nvSpPr>
          <p:cNvPr id="25" name="Object 1020">
            <a:extLst>
              <a:ext uri="{FF2B5EF4-FFF2-40B4-BE49-F238E27FC236}">
                <a16:creationId xmlns:a16="http://schemas.microsoft.com/office/drawing/2014/main" id="{0DDCA233-E1C8-4FAD-8B0B-D9800AB4E78C}"/>
              </a:ext>
            </a:extLst>
          </p:cNvPr>
          <p:cNvSpPr txBox="1"/>
          <p:nvPr/>
        </p:nvSpPr>
        <p:spPr>
          <a:xfrm>
            <a:off x="3095427" y="1955600"/>
            <a:ext cx="1417165" cy="343170"/>
          </a:xfrm>
          <a:prstGeom prst="rect">
            <a:avLst/>
          </a:prstGeom>
        </p:spPr>
        <p:txBody>
          <a:bodyPr vert="horz" lIns="0" tIns="0" rIns="0" bIns="0"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2400" b="0" i="0" u="none" strike="noStrike" kern="1200" cap="none" spc="45" normalizeH="0" baseline="0" noProof="0" dirty="0">
                <a:ln>
                  <a:noFill/>
                </a:ln>
                <a:solidFill>
                  <a:srgbClr val="FFFFFF"/>
                </a:solidFill>
                <a:effectLst/>
                <a:uLnTx/>
                <a:uFillTx/>
                <a:latin typeface="OPPOSans B" panose="00020600040101010101" pitchFamily="18" charset="-122"/>
                <a:ea typeface="OPPOSans B" panose="00020600040101010101" pitchFamily="18" charset="-122"/>
                <a:cs typeface="OPPOSans B" panose="00020600040101010101" pitchFamily="18" charset="-122"/>
              </a:rPr>
              <a:t>分析二</a:t>
            </a:r>
            <a:endParaRPr kumimoji="0" lang="zh-CN" altLang="en-US" sz="1000" b="0" i="0" u="none" strike="noStrike" kern="1200" cap="none" spc="0" normalizeH="0" baseline="0" noProof="0">
              <a:ln>
                <a:noFill/>
              </a:ln>
              <a:solidFill>
                <a:srgbClr val="000000"/>
              </a:solidFill>
              <a:effectLst/>
              <a:uLnTx/>
              <a:uFillTx/>
              <a:latin typeface="OPPOSans B" panose="00020600040101010101" pitchFamily="18" charset="-122"/>
              <a:ea typeface="OPPOSans B" panose="00020600040101010101" pitchFamily="18" charset="-122"/>
              <a:cs typeface="OPPOSans B" panose="00020600040101010101" pitchFamily="18" charset="-122"/>
            </a:endParaRPr>
          </a:p>
        </p:txBody>
      </p:sp>
      <p:sp>
        <p:nvSpPr>
          <p:cNvPr id="11" name="Object 1021">
            <a:extLst>
              <a:ext uri="{FF2B5EF4-FFF2-40B4-BE49-F238E27FC236}">
                <a16:creationId xmlns:a16="http://schemas.microsoft.com/office/drawing/2014/main" id="{45325B2A-C90D-410A-9B44-7547BDA4497A}"/>
              </a:ext>
            </a:extLst>
          </p:cNvPr>
          <p:cNvSpPr txBox="1"/>
          <p:nvPr/>
        </p:nvSpPr>
        <p:spPr>
          <a:xfrm>
            <a:off x="3449043" y="2556350"/>
            <a:ext cx="1201095" cy="216070"/>
          </a:xfrm>
          <a:prstGeom prst="rect">
            <a:avLst/>
          </a:prstGeom>
        </p:spPr>
        <p:txBody>
          <a:bodyPr vert="horz" lIns="0" tIns="0" rIns="0" bIns="0"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200" b="0" i="0" u="none" strike="noStrike" kern="1200" cap="none" spc="28" normalizeH="0" baseline="0" noProof="0" dirty="0">
                <a:ln>
                  <a:noFill/>
                </a:ln>
                <a:solidFill>
                  <a:srgbClr val="626262"/>
                </a:solidFill>
                <a:effectLst/>
                <a:uLnTx/>
                <a:uFillTx/>
                <a:latin typeface="OPPOSans R" panose="00020600040101010101" pitchFamily="18" charset="-122"/>
                <a:ea typeface="OPPOSans R" panose="00020600040101010101" pitchFamily="18" charset="-122"/>
                <a:cs typeface="OPPOSans R" panose="00020600040101010101" pitchFamily="18" charset="-122"/>
              </a:rPr>
              <a:t>食物中毒</a:t>
            </a:r>
            <a:endParaRPr kumimoji="0" lang="zh-CN" altLang="en-US" sz="1000" b="0" i="0" u="none" strike="noStrike" kern="1200" cap="none" spc="0" normalizeH="0" baseline="0" noProof="0" dirty="0">
              <a:ln>
                <a:noFill/>
              </a:ln>
              <a:solidFill>
                <a:srgbClr val="000000"/>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p:txBody>
      </p:sp>
      <p:sp>
        <p:nvSpPr>
          <p:cNvPr id="12" name="Object 1022">
            <a:extLst>
              <a:ext uri="{FF2B5EF4-FFF2-40B4-BE49-F238E27FC236}">
                <a16:creationId xmlns:a16="http://schemas.microsoft.com/office/drawing/2014/main" id="{BB84D207-7F35-46BB-BB4E-FAEE1C380CC6}"/>
              </a:ext>
            </a:extLst>
          </p:cNvPr>
          <p:cNvSpPr txBox="1"/>
          <p:nvPr/>
        </p:nvSpPr>
        <p:spPr>
          <a:xfrm>
            <a:off x="3639543" y="2840910"/>
            <a:ext cx="1201095" cy="216070"/>
          </a:xfrm>
          <a:prstGeom prst="rect">
            <a:avLst/>
          </a:prstGeom>
        </p:spPr>
        <p:txBody>
          <a:bodyPr vert="horz" lIns="0" tIns="0" rIns="0" bIns="0"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200" b="0" i="0" u="none" strike="noStrike" kern="1200" cap="none" spc="28" normalizeH="0" baseline="0" noProof="0" dirty="0">
                <a:ln>
                  <a:noFill/>
                </a:ln>
                <a:solidFill>
                  <a:srgbClr val="626262"/>
                </a:solidFill>
                <a:effectLst/>
                <a:uLnTx/>
                <a:uFillTx/>
                <a:latin typeface="OPPOSans R" panose="00020600040101010101" pitchFamily="18" charset="-122"/>
                <a:ea typeface="OPPOSans R" panose="00020600040101010101" pitchFamily="18" charset="-122"/>
                <a:cs typeface="OPPOSans R" panose="00020600040101010101" pitchFamily="18" charset="-122"/>
              </a:rPr>
              <a:t>饮食种类</a:t>
            </a:r>
            <a:endParaRPr kumimoji="0" lang="zh-CN" altLang="en-US" sz="1000" b="0" i="0" u="none" strike="noStrike" kern="1200" cap="none" spc="0" normalizeH="0" baseline="0" noProof="0">
              <a:ln>
                <a:noFill/>
              </a:ln>
              <a:solidFill>
                <a:srgbClr val="000000"/>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p:txBody>
      </p:sp>
      <p:sp>
        <p:nvSpPr>
          <p:cNvPr id="13" name="Object 1023">
            <a:extLst>
              <a:ext uri="{FF2B5EF4-FFF2-40B4-BE49-F238E27FC236}">
                <a16:creationId xmlns:a16="http://schemas.microsoft.com/office/drawing/2014/main" id="{02FC0C3F-2423-4C11-90FC-BF63B4B5D55C}"/>
              </a:ext>
            </a:extLst>
          </p:cNvPr>
          <p:cNvSpPr txBox="1"/>
          <p:nvPr/>
        </p:nvSpPr>
        <p:spPr>
          <a:xfrm>
            <a:off x="3835996" y="3120607"/>
            <a:ext cx="1201095" cy="216070"/>
          </a:xfrm>
          <a:prstGeom prst="rect">
            <a:avLst/>
          </a:prstGeom>
        </p:spPr>
        <p:txBody>
          <a:bodyPr vert="horz" lIns="0" tIns="0" rIns="0" bIns="0"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200" b="0" i="0" u="none" strike="noStrike" kern="1200" cap="none" spc="28" normalizeH="0" baseline="0" noProof="0" dirty="0">
                <a:ln>
                  <a:noFill/>
                </a:ln>
                <a:solidFill>
                  <a:srgbClr val="626262"/>
                </a:solidFill>
                <a:effectLst/>
                <a:uLnTx/>
                <a:uFillTx/>
                <a:latin typeface="OPPOSans R" panose="00020600040101010101" pitchFamily="18" charset="-122"/>
                <a:ea typeface="OPPOSans R" panose="00020600040101010101" pitchFamily="18" charset="-122"/>
                <a:cs typeface="OPPOSans R" panose="00020600040101010101" pitchFamily="18" charset="-122"/>
              </a:rPr>
              <a:t>烹饪方式</a:t>
            </a:r>
            <a:endParaRPr kumimoji="0" lang="zh-CN" altLang="en-US" sz="1000" b="0" i="0" u="none" strike="noStrike" kern="1200" cap="none" spc="0" normalizeH="0" baseline="0" noProof="0">
              <a:ln>
                <a:noFill/>
              </a:ln>
              <a:solidFill>
                <a:srgbClr val="000000"/>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p:txBody>
      </p:sp>
      <p:sp>
        <p:nvSpPr>
          <p:cNvPr id="14" name="Object 1024">
            <a:extLst>
              <a:ext uri="{FF2B5EF4-FFF2-40B4-BE49-F238E27FC236}">
                <a16:creationId xmlns:a16="http://schemas.microsoft.com/office/drawing/2014/main" id="{9F049244-321C-49EB-B122-AB3B8B3831D4}"/>
              </a:ext>
            </a:extLst>
          </p:cNvPr>
          <p:cNvSpPr txBox="1"/>
          <p:nvPr/>
        </p:nvSpPr>
        <p:spPr>
          <a:xfrm>
            <a:off x="4025504" y="3396336"/>
            <a:ext cx="1201095" cy="216070"/>
          </a:xfrm>
          <a:prstGeom prst="rect">
            <a:avLst/>
          </a:prstGeom>
        </p:spPr>
        <p:txBody>
          <a:bodyPr vert="horz" lIns="0" tIns="0" rIns="0" bIns="0"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200" b="0" i="0" u="none" strike="noStrike" kern="1200" cap="none" spc="28" normalizeH="0" baseline="0" noProof="0" dirty="0">
                <a:ln>
                  <a:noFill/>
                </a:ln>
                <a:solidFill>
                  <a:srgbClr val="626262"/>
                </a:solidFill>
                <a:effectLst/>
                <a:uLnTx/>
                <a:uFillTx/>
                <a:latin typeface="OPPOSans R" panose="00020600040101010101" pitchFamily="18" charset="-122"/>
                <a:ea typeface="OPPOSans R" panose="00020600040101010101" pitchFamily="18" charset="-122"/>
                <a:cs typeface="OPPOSans R" panose="00020600040101010101" pitchFamily="18" charset="-122"/>
              </a:rPr>
              <a:t>及时就诊</a:t>
            </a:r>
            <a:endParaRPr kumimoji="0" lang="zh-CN" altLang="en-US" sz="1000" b="0" i="0" u="none" strike="noStrike" kern="1200" cap="none" spc="0" normalizeH="0" baseline="0" noProof="0">
              <a:ln>
                <a:noFill/>
              </a:ln>
              <a:solidFill>
                <a:srgbClr val="000000"/>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p:txBody>
      </p:sp>
      <p:sp>
        <p:nvSpPr>
          <p:cNvPr id="233" name="矩形: 圆角 232">
            <a:extLst>
              <a:ext uri="{FF2B5EF4-FFF2-40B4-BE49-F238E27FC236}">
                <a16:creationId xmlns:a16="http://schemas.microsoft.com/office/drawing/2014/main" id="{5E9745D2-DC63-445B-ADD2-E825FDEF1DB3}"/>
              </a:ext>
            </a:extLst>
          </p:cNvPr>
          <p:cNvSpPr>
            <a:spLocks/>
          </p:cNvSpPr>
          <p:nvPr/>
        </p:nvSpPr>
        <p:spPr>
          <a:xfrm>
            <a:off x="4965700" y="1841500"/>
            <a:ext cx="2012951" cy="514351"/>
          </a:xfrm>
          <a:prstGeom prst="roundRect">
            <a:avLst>
              <a:gd name="adj" fmla="val 5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Arial" panose="020F0502020204030204"/>
              <a:ea typeface="微软雅黑"/>
              <a:cs typeface="+mn-cs"/>
            </a:endParaRPr>
          </a:p>
        </p:txBody>
      </p:sp>
      <p:sp>
        <p:nvSpPr>
          <p:cNvPr id="243" name="椭圆 242">
            <a:extLst>
              <a:ext uri="{FF2B5EF4-FFF2-40B4-BE49-F238E27FC236}">
                <a16:creationId xmlns:a16="http://schemas.microsoft.com/office/drawing/2014/main" id="{7EE4EDD2-F53D-4B0B-ADA9-721CD0FB2EFB}"/>
              </a:ext>
            </a:extLst>
          </p:cNvPr>
          <p:cNvSpPr>
            <a:spLocks/>
          </p:cNvSpPr>
          <p:nvPr/>
        </p:nvSpPr>
        <p:spPr>
          <a:xfrm>
            <a:off x="5003800" y="1879600"/>
            <a:ext cx="444500" cy="44449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Arial" panose="020F0502020204030204"/>
              <a:ea typeface="微软雅黑"/>
              <a:cs typeface="+mn-cs"/>
            </a:endParaRPr>
          </a:p>
        </p:txBody>
      </p:sp>
      <p:sp>
        <p:nvSpPr>
          <p:cNvPr id="41" name="Object 1036">
            <a:extLst>
              <a:ext uri="{FF2B5EF4-FFF2-40B4-BE49-F238E27FC236}">
                <a16:creationId xmlns:a16="http://schemas.microsoft.com/office/drawing/2014/main" id="{7973BCF5-EB5D-4D33-AC26-3E6ECB9F6402}"/>
              </a:ext>
            </a:extLst>
          </p:cNvPr>
          <p:cNvSpPr txBox="1"/>
          <p:nvPr/>
        </p:nvSpPr>
        <p:spPr>
          <a:xfrm>
            <a:off x="4854801" y="1879129"/>
            <a:ext cx="718115" cy="419430"/>
          </a:xfrm>
          <a:prstGeom prst="rect">
            <a:avLst/>
          </a:prstGeom>
        </p:spPr>
        <p:txBody>
          <a:bodyPr vert="horz" lIns="0" tIns="0" rIns="0" bIns="0" rtlCol="0" anchor="t" anchorCtr="0">
            <a:noAutofit/>
          </a:bodyPr>
          <a:lstStyle/>
          <a:p>
            <a:pPr marL="0" marR="0" lvl="0" indent="0" algn="ctr" defTabSz="914400" rtl="0" eaLnBrk="1" fontAlgn="auto" latinLnBrk="0" hangingPunct="1">
              <a:lnSpc>
                <a:spcPct val="130833"/>
              </a:lnSpc>
              <a:spcBef>
                <a:spcPts val="0"/>
              </a:spcBef>
              <a:spcAft>
                <a:spcPts val="0"/>
              </a:spcAft>
              <a:buClrTx/>
              <a:buSzTx/>
              <a:buFontTx/>
              <a:buNone/>
              <a:tabLst/>
              <a:defRPr/>
            </a:pPr>
            <a:r>
              <a:rPr kumimoji="0" lang="en-US" altLang="zh-CN" sz="2000" b="0" i="0" u="none" strike="noStrike" kern="1200" cap="none" spc="42" normalizeH="0" baseline="0" noProof="0" dirty="0">
                <a:ln>
                  <a:noFill/>
                </a:ln>
                <a:solidFill>
                  <a:srgbClr val="313131"/>
                </a:solidFill>
                <a:effectLst/>
                <a:uLnTx/>
                <a:uFillTx/>
                <a:latin typeface="OPPOSans B" panose="00020600040101010101" pitchFamily="18" charset="-122"/>
                <a:ea typeface="OPPOSans B" panose="00020600040101010101" pitchFamily="18" charset="-122"/>
                <a:cs typeface="OPPOSans B" panose="00020600040101010101" pitchFamily="18" charset="-122"/>
              </a:rPr>
              <a:t>04</a:t>
            </a:r>
            <a:endParaRPr kumimoji="0" lang="zh-CN" altLang="en-US" sz="1000" b="0" i="0" u="none" strike="noStrike" kern="1200" cap="none" spc="0" normalizeH="0" baseline="0" noProof="0" dirty="0">
              <a:ln>
                <a:noFill/>
              </a:ln>
              <a:solidFill>
                <a:srgbClr val="000000"/>
              </a:solidFill>
              <a:effectLst/>
              <a:uLnTx/>
              <a:uFillTx/>
              <a:latin typeface="OPPOSans B" panose="00020600040101010101" pitchFamily="18" charset="-122"/>
              <a:ea typeface="OPPOSans B" panose="00020600040101010101" pitchFamily="18" charset="-122"/>
              <a:cs typeface="OPPOSans B" panose="00020600040101010101" pitchFamily="18" charset="-122"/>
            </a:endParaRPr>
          </a:p>
        </p:txBody>
      </p:sp>
      <p:sp>
        <p:nvSpPr>
          <p:cNvPr id="42" name="Object 1037">
            <a:extLst>
              <a:ext uri="{FF2B5EF4-FFF2-40B4-BE49-F238E27FC236}">
                <a16:creationId xmlns:a16="http://schemas.microsoft.com/office/drawing/2014/main" id="{38257ED7-1474-4FF2-A7C8-CFF690D5C581}"/>
              </a:ext>
            </a:extLst>
          </p:cNvPr>
          <p:cNvSpPr txBox="1"/>
          <p:nvPr/>
        </p:nvSpPr>
        <p:spPr>
          <a:xfrm>
            <a:off x="5590977" y="1955600"/>
            <a:ext cx="1417165" cy="343170"/>
          </a:xfrm>
          <a:prstGeom prst="rect">
            <a:avLst/>
          </a:prstGeom>
        </p:spPr>
        <p:txBody>
          <a:bodyPr vert="horz" lIns="0" tIns="0" rIns="0" bIns="0"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2400" b="0" i="0" u="none" strike="noStrike" kern="1200" cap="none" spc="45" normalizeH="0" baseline="0" noProof="0" dirty="0">
                <a:ln>
                  <a:noFill/>
                </a:ln>
                <a:solidFill>
                  <a:srgbClr val="FFFFFF"/>
                </a:solidFill>
                <a:effectLst/>
                <a:uLnTx/>
                <a:uFillTx/>
                <a:latin typeface="OPPOSans B" panose="00020600040101010101" pitchFamily="18" charset="-122"/>
                <a:ea typeface="OPPOSans B" panose="00020600040101010101" pitchFamily="18" charset="-122"/>
                <a:cs typeface="OPPOSans B" panose="00020600040101010101" pitchFamily="18" charset="-122"/>
              </a:rPr>
              <a:t>分析四</a:t>
            </a:r>
            <a:endParaRPr kumimoji="0" lang="zh-CN" altLang="en-US" sz="1000" b="0" i="0" u="none" strike="noStrike" kern="1200" cap="none" spc="0" normalizeH="0" baseline="0" noProof="0" dirty="0">
              <a:ln>
                <a:noFill/>
              </a:ln>
              <a:solidFill>
                <a:srgbClr val="000000"/>
              </a:solidFill>
              <a:effectLst/>
              <a:uLnTx/>
              <a:uFillTx/>
              <a:latin typeface="OPPOSans B" panose="00020600040101010101" pitchFamily="18" charset="-122"/>
              <a:ea typeface="OPPOSans B" panose="00020600040101010101" pitchFamily="18" charset="-122"/>
              <a:cs typeface="OPPOSans B" panose="00020600040101010101" pitchFamily="18" charset="-122"/>
            </a:endParaRPr>
          </a:p>
        </p:txBody>
      </p:sp>
      <p:sp>
        <p:nvSpPr>
          <p:cNvPr id="28" name="Object 1038">
            <a:extLst>
              <a:ext uri="{FF2B5EF4-FFF2-40B4-BE49-F238E27FC236}">
                <a16:creationId xmlns:a16="http://schemas.microsoft.com/office/drawing/2014/main" id="{01A8B5F4-8422-4959-A434-549CB2836906}"/>
              </a:ext>
            </a:extLst>
          </p:cNvPr>
          <p:cNvSpPr txBox="1"/>
          <p:nvPr/>
        </p:nvSpPr>
        <p:spPr>
          <a:xfrm>
            <a:off x="5948462" y="2556350"/>
            <a:ext cx="1201095" cy="216070"/>
          </a:xfrm>
          <a:prstGeom prst="rect">
            <a:avLst/>
          </a:prstGeom>
        </p:spPr>
        <p:txBody>
          <a:bodyPr vert="horz" lIns="0" tIns="0" rIns="0" bIns="0"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200" b="0" i="0" u="none" strike="noStrike" kern="1200" cap="none" spc="28" normalizeH="0" baseline="0" noProof="0" dirty="0">
                <a:ln>
                  <a:noFill/>
                </a:ln>
                <a:solidFill>
                  <a:srgbClr val="626262"/>
                </a:solidFill>
                <a:effectLst/>
                <a:uLnTx/>
                <a:uFillTx/>
                <a:latin typeface="OPPOSans R" panose="00020600040101010101" pitchFamily="18" charset="-122"/>
                <a:ea typeface="OPPOSans R" panose="00020600040101010101" pitchFamily="18" charset="-122"/>
                <a:cs typeface="OPPOSans R" panose="00020600040101010101" pitchFamily="18" charset="-122"/>
              </a:rPr>
              <a:t>环境污染</a:t>
            </a:r>
            <a:endParaRPr kumimoji="0" lang="zh-CN" altLang="en-US" sz="1000" b="0" i="0" u="none" strike="noStrike" kern="1200" cap="none" spc="0" normalizeH="0" baseline="0" noProof="0">
              <a:ln>
                <a:noFill/>
              </a:ln>
              <a:solidFill>
                <a:srgbClr val="000000"/>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p:txBody>
      </p:sp>
      <p:sp>
        <p:nvSpPr>
          <p:cNvPr id="29" name="Object 1039">
            <a:extLst>
              <a:ext uri="{FF2B5EF4-FFF2-40B4-BE49-F238E27FC236}">
                <a16:creationId xmlns:a16="http://schemas.microsoft.com/office/drawing/2014/main" id="{4DF526F0-9EDD-412B-9EE4-62E5CC02A01F}"/>
              </a:ext>
            </a:extLst>
          </p:cNvPr>
          <p:cNvSpPr txBox="1"/>
          <p:nvPr/>
        </p:nvSpPr>
        <p:spPr>
          <a:xfrm>
            <a:off x="6141145" y="2840910"/>
            <a:ext cx="1201095" cy="216070"/>
          </a:xfrm>
          <a:prstGeom prst="rect">
            <a:avLst/>
          </a:prstGeom>
        </p:spPr>
        <p:txBody>
          <a:bodyPr vert="horz" lIns="0" tIns="0" rIns="0" bIns="0"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200" b="0" i="0" u="none" strike="noStrike" kern="1200" cap="none" spc="28" normalizeH="0" baseline="0" noProof="0" dirty="0">
                <a:ln>
                  <a:noFill/>
                </a:ln>
                <a:solidFill>
                  <a:srgbClr val="626262"/>
                </a:solidFill>
                <a:effectLst/>
                <a:uLnTx/>
                <a:uFillTx/>
                <a:latin typeface="OPPOSans R" panose="00020600040101010101" pitchFamily="18" charset="-122"/>
                <a:ea typeface="OPPOSans R" panose="00020600040101010101" pitchFamily="18" charset="-122"/>
                <a:cs typeface="OPPOSans R" panose="00020600040101010101" pitchFamily="18" charset="-122"/>
              </a:rPr>
              <a:t>保持卫生</a:t>
            </a:r>
            <a:endParaRPr kumimoji="0" lang="zh-CN" altLang="en-US" sz="1000" b="0" i="0" u="none" strike="noStrike" kern="1200" cap="none" spc="0" normalizeH="0" baseline="0" noProof="0">
              <a:ln>
                <a:noFill/>
              </a:ln>
              <a:solidFill>
                <a:srgbClr val="000000"/>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p:txBody>
      </p:sp>
      <p:sp>
        <p:nvSpPr>
          <p:cNvPr id="30" name="Object 1040">
            <a:extLst>
              <a:ext uri="{FF2B5EF4-FFF2-40B4-BE49-F238E27FC236}">
                <a16:creationId xmlns:a16="http://schemas.microsoft.com/office/drawing/2014/main" id="{C2B06687-A5F9-4E89-BEC2-2DBDD7D5110D}"/>
              </a:ext>
            </a:extLst>
          </p:cNvPr>
          <p:cNvSpPr txBox="1"/>
          <p:nvPr/>
        </p:nvSpPr>
        <p:spPr>
          <a:xfrm>
            <a:off x="6336209" y="3120607"/>
            <a:ext cx="1201095" cy="216070"/>
          </a:xfrm>
          <a:prstGeom prst="rect">
            <a:avLst/>
          </a:prstGeom>
        </p:spPr>
        <p:txBody>
          <a:bodyPr vert="horz" lIns="0" tIns="0" rIns="0" bIns="0"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200" b="0" i="0" u="none" strike="noStrike" kern="1200" cap="none" spc="28" normalizeH="0" baseline="0" noProof="0" dirty="0">
                <a:ln>
                  <a:noFill/>
                </a:ln>
                <a:solidFill>
                  <a:srgbClr val="626262"/>
                </a:solidFill>
                <a:effectLst/>
                <a:uLnTx/>
                <a:uFillTx/>
                <a:latin typeface="OPPOSans R" panose="00020600040101010101" pitchFamily="18" charset="-122"/>
                <a:ea typeface="OPPOSans R" panose="00020600040101010101" pitchFamily="18" charset="-122"/>
                <a:cs typeface="OPPOSans R" panose="00020600040101010101" pitchFamily="18" charset="-122"/>
              </a:rPr>
              <a:t>监测分析</a:t>
            </a:r>
            <a:endParaRPr kumimoji="0" lang="zh-CN" altLang="en-US" sz="1000" b="0" i="0" u="none" strike="noStrike" kern="1200" cap="none" spc="0" normalizeH="0" baseline="0" noProof="0">
              <a:ln>
                <a:noFill/>
              </a:ln>
              <a:solidFill>
                <a:srgbClr val="000000"/>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p:txBody>
      </p:sp>
      <p:sp>
        <p:nvSpPr>
          <p:cNvPr id="31" name="Object 1041">
            <a:extLst>
              <a:ext uri="{FF2B5EF4-FFF2-40B4-BE49-F238E27FC236}">
                <a16:creationId xmlns:a16="http://schemas.microsoft.com/office/drawing/2014/main" id="{69424000-6D1D-47AA-B843-26B3F0901812}"/>
              </a:ext>
            </a:extLst>
          </p:cNvPr>
          <p:cNvSpPr txBox="1"/>
          <p:nvPr/>
        </p:nvSpPr>
        <p:spPr>
          <a:xfrm>
            <a:off x="6532166" y="3396336"/>
            <a:ext cx="1201095" cy="216070"/>
          </a:xfrm>
          <a:prstGeom prst="rect">
            <a:avLst/>
          </a:prstGeom>
        </p:spPr>
        <p:txBody>
          <a:bodyPr vert="horz" lIns="0" tIns="0" rIns="0" bIns="0"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200" b="0" i="0" u="none" strike="noStrike" kern="1200" cap="none" spc="28" normalizeH="0" baseline="0" noProof="0" dirty="0">
                <a:ln>
                  <a:noFill/>
                </a:ln>
                <a:solidFill>
                  <a:srgbClr val="626262"/>
                </a:solidFill>
                <a:effectLst/>
                <a:uLnTx/>
                <a:uFillTx/>
                <a:latin typeface="OPPOSans R" panose="00020600040101010101" pitchFamily="18" charset="-122"/>
                <a:ea typeface="OPPOSans R" panose="00020600040101010101" pitchFamily="18" charset="-122"/>
                <a:cs typeface="OPPOSans R" panose="00020600040101010101" pitchFamily="18" charset="-122"/>
              </a:rPr>
              <a:t>关注污染</a:t>
            </a:r>
            <a:endParaRPr kumimoji="0" lang="zh-CN" altLang="en-US" sz="1000" b="0" i="0" u="none" strike="noStrike" kern="1200" cap="none" spc="0" normalizeH="0" baseline="0" noProof="0">
              <a:ln>
                <a:noFill/>
              </a:ln>
              <a:solidFill>
                <a:srgbClr val="000000"/>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p:txBody>
      </p:sp>
      <p:sp>
        <p:nvSpPr>
          <p:cNvPr id="234" name="矩形: 圆角 233">
            <a:extLst>
              <a:ext uri="{FF2B5EF4-FFF2-40B4-BE49-F238E27FC236}">
                <a16:creationId xmlns:a16="http://schemas.microsoft.com/office/drawing/2014/main" id="{0F90495B-2D41-4309-A215-E8347AACEB0A}"/>
              </a:ext>
            </a:extLst>
          </p:cNvPr>
          <p:cNvSpPr>
            <a:spLocks/>
          </p:cNvSpPr>
          <p:nvPr/>
        </p:nvSpPr>
        <p:spPr>
          <a:xfrm>
            <a:off x="7467600" y="1841500"/>
            <a:ext cx="2012951" cy="514351"/>
          </a:xfrm>
          <a:prstGeom prst="roundRect">
            <a:avLst>
              <a:gd name="adj" fmla="val 5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Arial" panose="020F0502020204030204"/>
              <a:ea typeface="微软雅黑"/>
              <a:cs typeface="+mn-cs"/>
            </a:endParaRPr>
          </a:p>
        </p:txBody>
      </p:sp>
      <p:sp>
        <p:nvSpPr>
          <p:cNvPr id="241" name="椭圆 240">
            <a:extLst>
              <a:ext uri="{FF2B5EF4-FFF2-40B4-BE49-F238E27FC236}">
                <a16:creationId xmlns:a16="http://schemas.microsoft.com/office/drawing/2014/main" id="{56512A46-1726-40B1-8DAB-3ACA112C4F50}"/>
              </a:ext>
            </a:extLst>
          </p:cNvPr>
          <p:cNvSpPr>
            <a:spLocks/>
          </p:cNvSpPr>
          <p:nvPr/>
        </p:nvSpPr>
        <p:spPr>
          <a:xfrm>
            <a:off x="7505700" y="1879600"/>
            <a:ext cx="444500" cy="44449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Arial" panose="020F0502020204030204"/>
              <a:ea typeface="微软雅黑"/>
              <a:cs typeface="+mn-cs"/>
            </a:endParaRPr>
          </a:p>
        </p:txBody>
      </p:sp>
      <p:sp>
        <p:nvSpPr>
          <p:cNvPr id="58" name="Object 1053">
            <a:extLst>
              <a:ext uri="{FF2B5EF4-FFF2-40B4-BE49-F238E27FC236}">
                <a16:creationId xmlns:a16="http://schemas.microsoft.com/office/drawing/2014/main" id="{C41C8EA3-848D-4560-B5F9-7B583A577507}"/>
              </a:ext>
            </a:extLst>
          </p:cNvPr>
          <p:cNvSpPr txBox="1"/>
          <p:nvPr/>
        </p:nvSpPr>
        <p:spPr>
          <a:xfrm>
            <a:off x="7374936" y="1892134"/>
            <a:ext cx="718115" cy="419430"/>
          </a:xfrm>
          <a:prstGeom prst="rect">
            <a:avLst/>
          </a:prstGeom>
        </p:spPr>
        <p:txBody>
          <a:bodyPr vert="horz" lIns="0" tIns="0" rIns="0" bIns="0" rtlCol="0" anchor="t" anchorCtr="0">
            <a:noAutofit/>
          </a:bodyPr>
          <a:lstStyle/>
          <a:p>
            <a:pPr marL="0" marR="0" lvl="0" indent="0" algn="ctr" defTabSz="914400" rtl="0" eaLnBrk="1" fontAlgn="auto" latinLnBrk="0" hangingPunct="1">
              <a:lnSpc>
                <a:spcPct val="130833"/>
              </a:lnSpc>
              <a:spcBef>
                <a:spcPts val="0"/>
              </a:spcBef>
              <a:spcAft>
                <a:spcPts val="0"/>
              </a:spcAft>
              <a:buClrTx/>
              <a:buSzTx/>
              <a:buFontTx/>
              <a:buNone/>
              <a:tabLst/>
              <a:defRPr/>
            </a:pPr>
            <a:r>
              <a:rPr kumimoji="0" lang="en-US" altLang="zh-CN" sz="2000" b="0" i="0" u="none" strike="noStrike" kern="1200" cap="none" spc="42" normalizeH="0" baseline="0" noProof="0" dirty="0">
                <a:ln>
                  <a:noFill/>
                </a:ln>
                <a:solidFill>
                  <a:srgbClr val="313131"/>
                </a:solidFill>
                <a:effectLst/>
                <a:uLnTx/>
                <a:uFillTx/>
                <a:latin typeface="OPPOSans B" panose="00020600040101010101" pitchFamily="18" charset="-122"/>
                <a:ea typeface="OPPOSans B" panose="00020600040101010101" pitchFamily="18" charset="-122"/>
                <a:cs typeface="OPPOSans B" panose="00020600040101010101" pitchFamily="18" charset="-122"/>
              </a:rPr>
              <a:t>06</a:t>
            </a:r>
            <a:endParaRPr kumimoji="0" lang="zh-CN" altLang="en-US" sz="1000" b="0" i="0" u="none" strike="noStrike" kern="1200" cap="none" spc="0" normalizeH="0" baseline="0" noProof="0" dirty="0">
              <a:ln>
                <a:noFill/>
              </a:ln>
              <a:solidFill>
                <a:srgbClr val="000000"/>
              </a:solidFill>
              <a:effectLst/>
              <a:uLnTx/>
              <a:uFillTx/>
              <a:latin typeface="OPPOSans B" panose="00020600040101010101" pitchFamily="18" charset="-122"/>
              <a:ea typeface="OPPOSans B" panose="00020600040101010101" pitchFamily="18" charset="-122"/>
              <a:cs typeface="OPPOSans B" panose="00020600040101010101" pitchFamily="18" charset="-122"/>
            </a:endParaRPr>
          </a:p>
        </p:txBody>
      </p:sp>
      <p:sp>
        <p:nvSpPr>
          <p:cNvPr id="59" name="Object 1054">
            <a:extLst>
              <a:ext uri="{FF2B5EF4-FFF2-40B4-BE49-F238E27FC236}">
                <a16:creationId xmlns:a16="http://schemas.microsoft.com/office/drawing/2014/main" id="{A4094AEC-6E4F-409F-B4BD-4E9D9C98D0F8}"/>
              </a:ext>
            </a:extLst>
          </p:cNvPr>
          <p:cNvSpPr txBox="1"/>
          <p:nvPr/>
        </p:nvSpPr>
        <p:spPr>
          <a:xfrm>
            <a:off x="8086527" y="1955600"/>
            <a:ext cx="1417165" cy="343170"/>
          </a:xfrm>
          <a:prstGeom prst="rect">
            <a:avLst/>
          </a:prstGeom>
        </p:spPr>
        <p:txBody>
          <a:bodyPr vert="horz" lIns="0" tIns="0" rIns="0" bIns="0"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2400" b="0" i="0" u="none" strike="noStrike" kern="1200" cap="none" spc="45" normalizeH="0" baseline="0" noProof="0" dirty="0">
                <a:ln>
                  <a:noFill/>
                </a:ln>
                <a:solidFill>
                  <a:srgbClr val="FFFFFF"/>
                </a:solidFill>
                <a:effectLst/>
                <a:uLnTx/>
                <a:uFillTx/>
                <a:latin typeface="OPPOSans B" panose="00020600040101010101" pitchFamily="18" charset="-122"/>
                <a:ea typeface="OPPOSans B" panose="00020600040101010101" pitchFamily="18" charset="-122"/>
                <a:cs typeface="OPPOSans B" panose="00020600040101010101" pitchFamily="18" charset="-122"/>
              </a:rPr>
              <a:t>分析六</a:t>
            </a:r>
            <a:endParaRPr kumimoji="0" lang="zh-CN" altLang="en-US" sz="1000" b="0" i="0" u="none" strike="noStrike" kern="1200" cap="none" spc="0" normalizeH="0" baseline="0" noProof="0" dirty="0">
              <a:ln>
                <a:noFill/>
              </a:ln>
              <a:solidFill>
                <a:srgbClr val="000000"/>
              </a:solidFill>
              <a:effectLst/>
              <a:uLnTx/>
              <a:uFillTx/>
              <a:latin typeface="OPPOSans B" panose="00020600040101010101" pitchFamily="18" charset="-122"/>
              <a:ea typeface="OPPOSans B" panose="00020600040101010101" pitchFamily="18" charset="-122"/>
              <a:cs typeface="OPPOSans B" panose="00020600040101010101" pitchFamily="18" charset="-122"/>
            </a:endParaRPr>
          </a:p>
        </p:txBody>
      </p:sp>
      <p:sp>
        <p:nvSpPr>
          <p:cNvPr id="45" name="Object 1055">
            <a:extLst>
              <a:ext uri="{FF2B5EF4-FFF2-40B4-BE49-F238E27FC236}">
                <a16:creationId xmlns:a16="http://schemas.microsoft.com/office/drawing/2014/main" id="{344FD090-05B0-41F9-B41B-DA9D7663182D}"/>
              </a:ext>
            </a:extLst>
          </p:cNvPr>
          <p:cNvSpPr txBox="1"/>
          <p:nvPr/>
        </p:nvSpPr>
        <p:spPr>
          <a:xfrm>
            <a:off x="8441433" y="2556350"/>
            <a:ext cx="1201095" cy="216070"/>
          </a:xfrm>
          <a:prstGeom prst="rect">
            <a:avLst/>
          </a:prstGeom>
        </p:spPr>
        <p:txBody>
          <a:bodyPr vert="horz" lIns="0" tIns="0" rIns="0" bIns="0"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200" b="0" i="0" u="none" strike="noStrike" kern="1200" cap="none" spc="28" normalizeH="0" baseline="0" noProof="0" dirty="0">
                <a:ln>
                  <a:noFill/>
                </a:ln>
                <a:solidFill>
                  <a:srgbClr val="626262"/>
                </a:solidFill>
                <a:effectLst/>
                <a:uLnTx/>
                <a:uFillTx/>
                <a:latin typeface="OPPOSans R" panose="00020600040101010101" pitchFamily="18" charset="-122"/>
                <a:ea typeface="OPPOSans R" panose="00020600040101010101" pitchFamily="18" charset="-122"/>
                <a:cs typeface="OPPOSans R" panose="00020600040101010101" pitchFamily="18" charset="-122"/>
              </a:rPr>
              <a:t>精神压力</a:t>
            </a:r>
            <a:endParaRPr kumimoji="0" lang="zh-CN" altLang="en-US" sz="1000" b="0" i="0" u="none" strike="noStrike" kern="1200" cap="none" spc="0" normalizeH="0" baseline="0" noProof="0">
              <a:ln>
                <a:noFill/>
              </a:ln>
              <a:solidFill>
                <a:srgbClr val="000000"/>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p:txBody>
      </p:sp>
      <p:sp>
        <p:nvSpPr>
          <p:cNvPr id="46" name="Object 1056">
            <a:extLst>
              <a:ext uri="{FF2B5EF4-FFF2-40B4-BE49-F238E27FC236}">
                <a16:creationId xmlns:a16="http://schemas.microsoft.com/office/drawing/2014/main" id="{2DB5EC8C-CD84-4211-AD87-E83E00856A9D}"/>
              </a:ext>
            </a:extLst>
          </p:cNvPr>
          <p:cNvSpPr txBox="1"/>
          <p:nvPr/>
        </p:nvSpPr>
        <p:spPr>
          <a:xfrm>
            <a:off x="8636695" y="2840910"/>
            <a:ext cx="1201095" cy="241490"/>
          </a:xfrm>
          <a:prstGeom prst="rect">
            <a:avLst/>
          </a:prstGeom>
        </p:spPr>
        <p:txBody>
          <a:bodyPr vert="horz" lIns="0" tIns="0" rIns="0" bIns="0" rtlCol="0" anchor="t" anchorCtr="0">
            <a:noAutofit/>
          </a:bodyPr>
          <a:lstStyle/>
          <a:p>
            <a:pPr marL="0" marR="0" lvl="0" indent="0" algn="l" defTabSz="914400" rtl="0" eaLnBrk="1" fontAlgn="auto" latinLnBrk="0" hangingPunct="1">
              <a:lnSpc>
                <a:spcPct val="113333"/>
              </a:lnSpc>
              <a:spcBef>
                <a:spcPts val="0"/>
              </a:spcBef>
              <a:spcAft>
                <a:spcPts val="0"/>
              </a:spcAft>
              <a:buClrTx/>
              <a:buSzTx/>
              <a:buFontTx/>
              <a:buNone/>
              <a:tabLst/>
              <a:defRPr/>
            </a:pPr>
            <a:r>
              <a:rPr kumimoji="0" lang="zh-CN" altLang="en-US" sz="1200" b="0" i="0" u="none" strike="noStrike" kern="1200" cap="none" spc="28" normalizeH="0" baseline="0" noProof="0" dirty="0">
                <a:ln>
                  <a:noFill/>
                </a:ln>
                <a:solidFill>
                  <a:srgbClr val="626262"/>
                </a:solidFill>
                <a:effectLst/>
                <a:uLnTx/>
                <a:uFillTx/>
                <a:latin typeface="OPPOSans R" panose="00020600040101010101" pitchFamily="18" charset="-122"/>
                <a:ea typeface="OPPOSans R" panose="00020600040101010101" pitchFamily="18" charset="-122"/>
                <a:cs typeface="OPPOSans R" panose="00020600040101010101" pitchFamily="18" charset="-122"/>
              </a:rPr>
              <a:t>保持好心情</a:t>
            </a:r>
            <a:endParaRPr kumimoji="0" lang="zh-CN" altLang="en-US" sz="1000" b="0" i="0" u="none" strike="noStrike" kern="1200" cap="none" spc="0" normalizeH="0" baseline="0" noProof="0">
              <a:ln>
                <a:noFill/>
              </a:ln>
              <a:solidFill>
                <a:srgbClr val="000000"/>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p:txBody>
      </p:sp>
      <p:sp>
        <p:nvSpPr>
          <p:cNvPr id="47" name="Object 1057">
            <a:extLst>
              <a:ext uri="{FF2B5EF4-FFF2-40B4-BE49-F238E27FC236}">
                <a16:creationId xmlns:a16="http://schemas.microsoft.com/office/drawing/2014/main" id="{C4978378-E0C6-4912-BD55-ACD92DA4BF70}"/>
              </a:ext>
            </a:extLst>
          </p:cNvPr>
          <p:cNvSpPr txBox="1"/>
          <p:nvPr/>
        </p:nvSpPr>
        <p:spPr>
          <a:xfrm>
            <a:off x="8838804" y="3120607"/>
            <a:ext cx="1201095" cy="216070"/>
          </a:xfrm>
          <a:prstGeom prst="rect">
            <a:avLst/>
          </a:prstGeom>
        </p:spPr>
        <p:txBody>
          <a:bodyPr vert="horz" lIns="0" tIns="0" rIns="0" bIns="0"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200" b="0" i="0" u="none" strike="noStrike" kern="1200" cap="none" spc="28" normalizeH="0" baseline="0" noProof="0" dirty="0">
                <a:ln>
                  <a:noFill/>
                </a:ln>
                <a:solidFill>
                  <a:srgbClr val="626262"/>
                </a:solidFill>
                <a:effectLst/>
                <a:uLnTx/>
                <a:uFillTx/>
                <a:latin typeface="OPPOSans R" panose="00020600040101010101" pitchFamily="18" charset="-122"/>
                <a:ea typeface="OPPOSans R" panose="00020600040101010101" pitchFamily="18" charset="-122"/>
                <a:cs typeface="OPPOSans R" panose="00020600040101010101" pitchFamily="18" charset="-122"/>
              </a:rPr>
              <a:t>及时宣泄</a:t>
            </a:r>
            <a:endParaRPr kumimoji="0" lang="zh-CN" altLang="en-US" sz="1000" b="0" i="0" u="none" strike="noStrike" kern="1200" cap="none" spc="0" normalizeH="0" baseline="0" noProof="0">
              <a:ln>
                <a:noFill/>
              </a:ln>
              <a:solidFill>
                <a:srgbClr val="000000"/>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p:txBody>
      </p:sp>
      <p:sp>
        <p:nvSpPr>
          <p:cNvPr id="48" name="Object 1058">
            <a:extLst>
              <a:ext uri="{FF2B5EF4-FFF2-40B4-BE49-F238E27FC236}">
                <a16:creationId xmlns:a16="http://schemas.microsoft.com/office/drawing/2014/main" id="{535220FC-8467-4B6A-8836-642F5B805CDE}"/>
              </a:ext>
            </a:extLst>
          </p:cNvPr>
          <p:cNvSpPr txBox="1"/>
          <p:nvPr/>
        </p:nvSpPr>
        <p:spPr>
          <a:xfrm>
            <a:off x="9042004" y="3396336"/>
            <a:ext cx="1201095" cy="216070"/>
          </a:xfrm>
          <a:prstGeom prst="rect">
            <a:avLst/>
          </a:prstGeom>
        </p:spPr>
        <p:txBody>
          <a:bodyPr vert="horz" lIns="0" tIns="0" rIns="0" bIns="0"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200" b="0" i="0" u="none" strike="noStrike" kern="1200" cap="none" spc="28" normalizeH="0" baseline="0" noProof="0" dirty="0">
                <a:ln>
                  <a:noFill/>
                </a:ln>
                <a:solidFill>
                  <a:srgbClr val="626262"/>
                </a:solidFill>
                <a:effectLst/>
                <a:uLnTx/>
                <a:uFillTx/>
                <a:latin typeface="OPPOSans R" panose="00020600040101010101" pitchFamily="18" charset="-122"/>
                <a:ea typeface="OPPOSans R" panose="00020600040101010101" pitchFamily="18" charset="-122"/>
                <a:cs typeface="OPPOSans R" panose="00020600040101010101" pitchFamily="18" charset="-122"/>
              </a:rPr>
              <a:t>转移压力</a:t>
            </a:r>
            <a:endParaRPr kumimoji="0" lang="zh-CN" altLang="en-US" sz="1000" b="0" i="0" u="none" strike="noStrike" kern="1200" cap="none" spc="0" normalizeH="0" baseline="0" noProof="0">
              <a:ln>
                <a:noFill/>
              </a:ln>
              <a:solidFill>
                <a:srgbClr val="000000"/>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p:txBody>
      </p:sp>
      <p:sp>
        <p:nvSpPr>
          <p:cNvPr id="236" name="矩形: 圆角 235">
            <a:extLst>
              <a:ext uri="{FF2B5EF4-FFF2-40B4-BE49-F238E27FC236}">
                <a16:creationId xmlns:a16="http://schemas.microsoft.com/office/drawing/2014/main" id="{5F4BAF63-0A01-4875-907F-3806CE2AC145}"/>
              </a:ext>
            </a:extLst>
          </p:cNvPr>
          <p:cNvSpPr>
            <a:spLocks/>
          </p:cNvSpPr>
          <p:nvPr/>
        </p:nvSpPr>
        <p:spPr>
          <a:xfrm>
            <a:off x="6261100" y="5372100"/>
            <a:ext cx="2012951" cy="514351"/>
          </a:xfrm>
          <a:prstGeom prst="roundRect">
            <a:avLst>
              <a:gd name="adj" fmla="val 5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Arial" panose="020F0502020204030204"/>
              <a:ea typeface="微软雅黑"/>
              <a:cs typeface="+mn-cs"/>
            </a:endParaRPr>
          </a:p>
        </p:txBody>
      </p:sp>
      <p:sp>
        <p:nvSpPr>
          <p:cNvPr id="247" name="椭圆 246">
            <a:extLst>
              <a:ext uri="{FF2B5EF4-FFF2-40B4-BE49-F238E27FC236}">
                <a16:creationId xmlns:a16="http://schemas.microsoft.com/office/drawing/2014/main" id="{13C0F3C7-667C-467C-BF6C-F14FA4BEA4BD}"/>
              </a:ext>
            </a:extLst>
          </p:cNvPr>
          <p:cNvSpPr>
            <a:spLocks/>
          </p:cNvSpPr>
          <p:nvPr/>
        </p:nvSpPr>
        <p:spPr>
          <a:xfrm>
            <a:off x="6299200" y="5410200"/>
            <a:ext cx="444500" cy="44449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Arial" panose="020F0502020204030204"/>
              <a:ea typeface="微软雅黑"/>
              <a:cs typeface="+mn-cs"/>
            </a:endParaRPr>
          </a:p>
        </p:txBody>
      </p:sp>
      <p:sp>
        <p:nvSpPr>
          <p:cNvPr id="75" name="Object 1070">
            <a:extLst>
              <a:ext uri="{FF2B5EF4-FFF2-40B4-BE49-F238E27FC236}">
                <a16:creationId xmlns:a16="http://schemas.microsoft.com/office/drawing/2014/main" id="{748E2420-1906-44FD-989D-5339BA187A7C}"/>
              </a:ext>
            </a:extLst>
          </p:cNvPr>
          <p:cNvSpPr txBox="1"/>
          <p:nvPr/>
        </p:nvSpPr>
        <p:spPr>
          <a:xfrm>
            <a:off x="6164748" y="5429006"/>
            <a:ext cx="718115" cy="419430"/>
          </a:xfrm>
          <a:prstGeom prst="rect">
            <a:avLst/>
          </a:prstGeom>
        </p:spPr>
        <p:txBody>
          <a:bodyPr vert="horz" lIns="0" tIns="0" rIns="0" bIns="0" rtlCol="0" anchor="t" anchorCtr="0">
            <a:noAutofit/>
          </a:bodyPr>
          <a:lstStyle/>
          <a:p>
            <a:pPr marL="0" marR="0" lvl="0" indent="0" algn="ctr" defTabSz="914400" rtl="0" eaLnBrk="1" fontAlgn="auto" latinLnBrk="0" hangingPunct="1">
              <a:lnSpc>
                <a:spcPct val="130833"/>
              </a:lnSpc>
              <a:spcBef>
                <a:spcPts val="0"/>
              </a:spcBef>
              <a:spcAft>
                <a:spcPts val="0"/>
              </a:spcAft>
              <a:buClrTx/>
              <a:buSzTx/>
              <a:buFontTx/>
              <a:buNone/>
              <a:tabLst/>
              <a:defRPr/>
            </a:pPr>
            <a:r>
              <a:rPr kumimoji="0" lang="en-US" altLang="zh-CN" sz="2000" b="0" i="0" u="none" strike="noStrike" kern="1200" cap="none" spc="42" normalizeH="0" baseline="0" noProof="0" dirty="0">
                <a:ln>
                  <a:noFill/>
                </a:ln>
                <a:solidFill>
                  <a:srgbClr val="313131"/>
                </a:solidFill>
                <a:effectLst/>
                <a:uLnTx/>
                <a:uFillTx/>
                <a:latin typeface="OPPOSans B" panose="00020600040101010101" pitchFamily="18" charset="-122"/>
                <a:ea typeface="OPPOSans B" panose="00020600040101010101" pitchFamily="18" charset="-122"/>
                <a:cs typeface="OPPOSans B" panose="00020600040101010101" pitchFamily="18" charset="-122"/>
              </a:rPr>
              <a:t>05</a:t>
            </a:r>
            <a:endParaRPr kumimoji="0" lang="zh-CN" altLang="en-US" sz="1000" b="0" i="0" u="none" strike="noStrike" kern="1200" cap="none" spc="0" normalizeH="0" baseline="0" noProof="0">
              <a:ln>
                <a:noFill/>
              </a:ln>
              <a:solidFill>
                <a:srgbClr val="000000"/>
              </a:solidFill>
              <a:effectLst/>
              <a:uLnTx/>
              <a:uFillTx/>
              <a:latin typeface="OPPOSans B" panose="00020600040101010101" pitchFamily="18" charset="-122"/>
              <a:ea typeface="OPPOSans B" panose="00020600040101010101" pitchFamily="18" charset="-122"/>
              <a:cs typeface="OPPOSans B" panose="00020600040101010101" pitchFamily="18" charset="-122"/>
            </a:endParaRPr>
          </a:p>
        </p:txBody>
      </p:sp>
      <p:sp>
        <p:nvSpPr>
          <p:cNvPr id="76" name="Object 1071">
            <a:extLst>
              <a:ext uri="{FF2B5EF4-FFF2-40B4-BE49-F238E27FC236}">
                <a16:creationId xmlns:a16="http://schemas.microsoft.com/office/drawing/2014/main" id="{1372E461-DA85-4342-A770-B2FB8D41A549}"/>
              </a:ext>
            </a:extLst>
          </p:cNvPr>
          <p:cNvSpPr txBox="1"/>
          <p:nvPr/>
        </p:nvSpPr>
        <p:spPr>
          <a:xfrm>
            <a:off x="6880027" y="5486200"/>
            <a:ext cx="1417165" cy="343170"/>
          </a:xfrm>
          <a:prstGeom prst="rect">
            <a:avLst/>
          </a:prstGeom>
        </p:spPr>
        <p:txBody>
          <a:bodyPr vert="horz" lIns="0" tIns="0" rIns="0" bIns="0"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2400" b="0" i="0" u="none" strike="noStrike" kern="1200" cap="none" spc="45" normalizeH="0" baseline="0" noProof="0" dirty="0">
                <a:ln>
                  <a:noFill/>
                </a:ln>
                <a:solidFill>
                  <a:srgbClr val="FFFFFF"/>
                </a:solidFill>
                <a:effectLst/>
                <a:uLnTx/>
                <a:uFillTx/>
                <a:latin typeface="OPPOSans B" panose="00020600040101010101" pitchFamily="18" charset="-122"/>
                <a:ea typeface="OPPOSans B" panose="00020600040101010101" pitchFamily="18" charset="-122"/>
                <a:cs typeface="OPPOSans B" panose="00020600040101010101" pitchFamily="18" charset="-122"/>
              </a:rPr>
              <a:t>分析五</a:t>
            </a:r>
            <a:endParaRPr kumimoji="0" lang="zh-CN" altLang="en-US" sz="1000" b="0" i="0" u="none" strike="noStrike" kern="1200" cap="none" spc="0" normalizeH="0" baseline="0" noProof="0">
              <a:ln>
                <a:noFill/>
              </a:ln>
              <a:solidFill>
                <a:srgbClr val="000000"/>
              </a:solidFill>
              <a:effectLst/>
              <a:uLnTx/>
              <a:uFillTx/>
              <a:latin typeface="OPPOSans B" panose="00020600040101010101" pitchFamily="18" charset="-122"/>
              <a:ea typeface="OPPOSans B" panose="00020600040101010101" pitchFamily="18" charset="-122"/>
              <a:cs typeface="OPPOSans B" panose="00020600040101010101" pitchFamily="18" charset="-122"/>
            </a:endParaRPr>
          </a:p>
        </p:txBody>
      </p:sp>
      <p:sp>
        <p:nvSpPr>
          <p:cNvPr id="62" name="Object 1072">
            <a:extLst>
              <a:ext uri="{FF2B5EF4-FFF2-40B4-BE49-F238E27FC236}">
                <a16:creationId xmlns:a16="http://schemas.microsoft.com/office/drawing/2014/main" id="{0C067CC6-B286-42C4-B7E3-D130063AD384}"/>
              </a:ext>
            </a:extLst>
          </p:cNvPr>
          <p:cNvSpPr txBox="1"/>
          <p:nvPr/>
        </p:nvSpPr>
        <p:spPr>
          <a:xfrm>
            <a:off x="7833916" y="4210052"/>
            <a:ext cx="1201095" cy="216070"/>
          </a:xfrm>
          <a:prstGeom prst="rect">
            <a:avLst/>
          </a:prstGeom>
        </p:spPr>
        <p:txBody>
          <a:bodyPr vert="horz" lIns="0" tIns="0" rIns="0" bIns="0"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200" b="0" i="0" u="none" strike="noStrike" kern="1200" cap="none" spc="28" normalizeH="0" baseline="0" noProof="0" dirty="0">
                <a:ln>
                  <a:noFill/>
                </a:ln>
                <a:solidFill>
                  <a:srgbClr val="626262"/>
                </a:solidFill>
                <a:effectLst/>
                <a:uLnTx/>
                <a:uFillTx/>
                <a:latin typeface="OPPOSans R" panose="00020600040101010101" pitchFamily="18" charset="-122"/>
                <a:ea typeface="OPPOSans R" panose="00020600040101010101" pitchFamily="18" charset="-122"/>
                <a:cs typeface="OPPOSans R" panose="00020600040101010101" pitchFamily="18" charset="-122"/>
              </a:rPr>
              <a:t>毒药致癌</a:t>
            </a:r>
            <a:endParaRPr kumimoji="0" lang="zh-CN" altLang="en-US" sz="1000" b="0" i="0" u="none" strike="noStrike" kern="1200" cap="none" spc="0" normalizeH="0" baseline="0" noProof="0">
              <a:ln>
                <a:noFill/>
              </a:ln>
              <a:solidFill>
                <a:srgbClr val="000000"/>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p:txBody>
      </p:sp>
      <p:sp>
        <p:nvSpPr>
          <p:cNvPr id="63" name="Object 1073">
            <a:extLst>
              <a:ext uri="{FF2B5EF4-FFF2-40B4-BE49-F238E27FC236}">
                <a16:creationId xmlns:a16="http://schemas.microsoft.com/office/drawing/2014/main" id="{1B0ACA11-E845-491B-A9A3-B107B3562CF3}"/>
              </a:ext>
            </a:extLst>
          </p:cNvPr>
          <p:cNvSpPr txBox="1"/>
          <p:nvPr/>
        </p:nvSpPr>
        <p:spPr>
          <a:xfrm>
            <a:off x="7576344" y="4476752"/>
            <a:ext cx="1201095" cy="241490"/>
          </a:xfrm>
          <a:prstGeom prst="rect">
            <a:avLst/>
          </a:prstGeom>
        </p:spPr>
        <p:txBody>
          <a:bodyPr vert="horz" lIns="0" tIns="0" rIns="0" bIns="0" rtlCol="0" anchor="t" anchorCtr="0">
            <a:noAutofit/>
          </a:bodyPr>
          <a:lstStyle/>
          <a:p>
            <a:pPr marL="0" marR="0" lvl="0" indent="0" algn="l" defTabSz="914400" rtl="0" eaLnBrk="1" fontAlgn="auto" latinLnBrk="0" hangingPunct="1">
              <a:lnSpc>
                <a:spcPct val="113333"/>
              </a:lnSpc>
              <a:spcBef>
                <a:spcPts val="0"/>
              </a:spcBef>
              <a:spcAft>
                <a:spcPts val="0"/>
              </a:spcAft>
              <a:buClrTx/>
              <a:buSzTx/>
              <a:buFontTx/>
              <a:buNone/>
              <a:tabLst/>
              <a:defRPr/>
            </a:pPr>
            <a:r>
              <a:rPr kumimoji="0" lang="zh-CN" altLang="en-US" sz="1200" b="0" i="0" u="none" strike="noStrike" kern="1200" cap="none" spc="28" normalizeH="0" baseline="0" noProof="0" dirty="0">
                <a:ln>
                  <a:noFill/>
                </a:ln>
                <a:solidFill>
                  <a:srgbClr val="626262"/>
                </a:solidFill>
                <a:effectLst/>
                <a:uLnTx/>
                <a:uFillTx/>
                <a:latin typeface="OPPOSans R" panose="00020600040101010101" pitchFamily="18" charset="-122"/>
                <a:ea typeface="OPPOSans R" panose="00020600040101010101" pitchFamily="18" charset="-122"/>
                <a:cs typeface="OPPOSans R" panose="00020600040101010101" pitchFamily="18" charset="-122"/>
              </a:rPr>
              <a:t>遵医嘱服药</a:t>
            </a:r>
            <a:endParaRPr kumimoji="0" lang="zh-CN" altLang="en-US" sz="1000" b="0" i="0" u="none" strike="noStrike" kern="1200" cap="none" spc="0" normalizeH="0" baseline="0" noProof="0">
              <a:ln>
                <a:noFill/>
              </a:ln>
              <a:solidFill>
                <a:srgbClr val="000000"/>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p:txBody>
      </p:sp>
      <p:sp>
        <p:nvSpPr>
          <p:cNvPr id="64" name="Object 1074">
            <a:extLst>
              <a:ext uri="{FF2B5EF4-FFF2-40B4-BE49-F238E27FC236}">
                <a16:creationId xmlns:a16="http://schemas.microsoft.com/office/drawing/2014/main" id="{81A27BE8-144E-4393-9FCE-0954D07E3382}"/>
              </a:ext>
            </a:extLst>
          </p:cNvPr>
          <p:cNvSpPr txBox="1"/>
          <p:nvPr/>
        </p:nvSpPr>
        <p:spPr>
          <a:xfrm>
            <a:off x="7332266" y="4774882"/>
            <a:ext cx="1201095" cy="241490"/>
          </a:xfrm>
          <a:prstGeom prst="rect">
            <a:avLst/>
          </a:prstGeom>
        </p:spPr>
        <p:txBody>
          <a:bodyPr vert="horz" lIns="0" tIns="0" rIns="0" bIns="0" rtlCol="0" anchor="t" anchorCtr="0">
            <a:noAutofit/>
          </a:bodyPr>
          <a:lstStyle/>
          <a:p>
            <a:pPr marL="0" marR="0" lvl="0" indent="0" algn="l" defTabSz="914400" rtl="0" eaLnBrk="1" fontAlgn="auto" latinLnBrk="0" hangingPunct="1">
              <a:lnSpc>
                <a:spcPct val="113333"/>
              </a:lnSpc>
              <a:spcBef>
                <a:spcPts val="0"/>
              </a:spcBef>
              <a:spcAft>
                <a:spcPts val="0"/>
              </a:spcAft>
              <a:buClrTx/>
              <a:buSzTx/>
              <a:buFontTx/>
              <a:buNone/>
              <a:tabLst/>
              <a:defRPr/>
            </a:pPr>
            <a:r>
              <a:rPr kumimoji="0" lang="zh-CN" altLang="en-US" sz="1200" b="0" i="0" u="none" strike="noStrike" kern="1200" cap="none" spc="28" normalizeH="0" baseline="0" noProof="0" dirty="0">
                <a:ln>
                  <a:noFill/>
                </a:ln>
                <a:solidFill>
                  <a:srgbClr val="626262"/>
                </a:solidFill>
                <a:effectLst/>
                <a:uLnTx/>
                <a:uFillTx/>
                <a:latin typeface="OPPOSans R" panose="00020600040101010101" pitchFamily="18" charset="-122"/>
                <a:ea typeface="OPPOSans R" panose="00020600040101010101" pitchFamily="18" charset="-122"/>
                <a:cs typeface="OPPOSans R" panose="00020600040101010101" pitchFamily="18" charset="-122"/>
              </a:rPr>
              <a:t>关注不良反应</a:t>
            </a:r>
            <a:endParaRPr kumimoji="0" lang="zh-CN" altLang="en-US" sz="1000" b="0" i="0" u="none" strike="noStrike" kern="1200" cap="none" spc="0" normalizeH="0" baseline="0" noProof="0">
              <a:ln>
                <a:noFill/>
              </a:ln>
              <a:solidFill>
                <a:srgbClr val="000000"/>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p:txBody>
      </p:sp>
      <p:sp>
        <p:nvSpPr>
          <p:cNvPr id="65" name="Object 1075">
            <a:extLst>
              <a:ext uri="{FF2B5EF4-FFF2-40B4-BE49-F238E27FC236}">
                <a16:creationId xmlns:a16="http://schemas.microsoft.com/office/drawing/2014/main" id="{DCAFC80D-C929-4F37-88CF-63E35FC2BBD0}"/>
              </a:ext>
            </a:extLst>
          </p:cNvPr>
          <p:cNvSpPr txBox="1"/>
          <p:nvPr/>
        </p:nvSpPr>
        <p:spPr>
          <a:xfrm>
            <a:off x="7105254" y="5053687"/>
            <a:ext cx="1201095" cy="216070"/>
          </a:xfrm>
          <a:prstGeom prst="rect">
            <a:avLst/>
          </a:prstGeom>
        </p:spPr>
        <p:txBody>
          <a:bodyPr vert="horz" lIns="0" tIns="0" rIns="0" bIns="0"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200" b="0" i="0" u="none" strike="noStrike" kern="1200" cap="none" spc="28" normalizeH="0" baseline="0" noProof="0" dirty="0">
                <a:ln>
                  <a:noFill/>
                </a:ln>
                <a:solidFill>
                  <a:srgbClr val="626262"/>
                </a:solidFill>
                <a:effectLst/>
                <a:uLnTx/>
                <a:uFillTx/>
                <a:latin typeface="OPPOSans R" panose="00020600040101010101" pitchFamily="18" charset="-122"/>
                <a:ea typeface="OPPOSans R" panose="00020600040101010101" pitchFamily="18" charset="-122"/>
                <a:cs typeface="OPPOSans R" panose="00020600040101010101" pitchFamily="18" charset="-122"/>
              </a:rPr>
              <a:t>及时就诊</a:t>
            </a:r>
            <a:endParaRPr kumimoji="0" lang="zh-CN" altLang="en-US" sz="1000" b="0" i="0" u="none" strike="noStrike" kern="1200" cap="none" spc="0" normalizeH="0" baseline="0" noProof="0">
              <a:ln>
                <a:noFill/>
              </a:ln>
              <a:solidFill>
                <a:srgbClr val="000000"/>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p:txBody>
      </p:sp>
      <p:sp>
        <p:nvSpPr>
          <p:cNvPr id="235" name="矩形: 圆角 234">
            <a:extLst>
              <a:ext uri="{FF2B5EF4-FFF2-40B4-BE49-F238E27FC236}">
                <a16:creationId xmlns:a16="http://schemas.microsoft.com/office/drawing/2014/main" id="{8503A197-1841-472D-9EB0-7FA80C28F3EC}"/>
              </a:ext>
            </a:extLst>
          </p:cNvPr>
          <p:cNvSpPr>
            <a:spLocks/>
          </p:cNvSpPr>
          <p:nvPr/>
        </p:nvSpPr>
        <p:spPr>
          <a:xfrm>
            <a:off x="3771900" y="5372100"/>
            <a:ext cx="2012951" cy="514351"/>
          </a:xfrm>
          <a:prstGeom prst="roundRect">
            <a:avLst>
              <a:gd name="adj" fmla="val 5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Arial" panose="020F0502020204030204"/>
              <a:ea typeface="微软雅黑"/>
              <a:cs typeface="+mn-cs"/>
            </a:endParaRPr>
          </a:p>
        </p:txBody>
      </p:sp>
      <p:sp>
        <p:nvSpPr>
          <p:cNvPr id="246" name="椭圆 245">
            <a:extLst>
              <a:ext uri="{FF2B5EF4-FFF2-40B4-BE49-F238E27FC236}">
                <a16:creationId xmlns:a16="http://schemas.microsoft.com/office/drawing/2014/main" id="{10827916-6A10-4945-9BCE-C476F8AE7A6B}"/>
              </a:ext>
            </a:extLst>
          </p:cNvPr>
          <p:cNvSpPr>
            <a:spLocks/>
          </p:cNvSpPr>
          <p:nvPr/>
        </p:nvSpPr>
        <p:spPr>
          <a:xfrm>
            <a:off x="3810000" y="5410200"/>
            <a:ext cx="444500" cy="44449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Arial" panose="020F0502020204030204"/>
              <a:ea typeface="微软雅黑"/>
              <a:cs typeface="+mn-cs"/>
            </a:endParaRPr>
          </a:p>
        </p:txBody>
      </p:sp>
      <p:sp>
        <p:nvSpPr>
          <p:cNvPr id="92" name="Object 1087">
            <a:extLst>
              <a:ext uri="{FF2B5EF4-FFF2-40B4-BE49-F238E27FC236}">
                <a16:creationId xmlns:a16="http://schemas.microsoft.com/office/drawing/2014/main" id="{0CFE6BF6-FA6A-4F35-9C7C-FAF40358C0DD}"/>
              </a:ext>
            </a:extLst>
          </p:cNvPr>
          <p:cNvSpPr txBox="1"/>
          <p:nvPr/>
        </p:nvSpPr>
        <p:spPr>
          <a:xfrm>
            <a:off x="3681898" y="5429006"/>
            <a:ext cx="718115" cy="419430"/>
          </a:xfrm>
          <a:prstGeom prst="rect">
            <a:avLst/>
          </a:prstGeom>
        </p:spPr>
        <p:txBody>
          <a:bodyPr vert="horz" lIns="0" tIns="0" rIns="0" bIns="0" rtlCol="0" anchor="t" anchorCtr="0">
            <a:noAutofit/>
          </a:bodyPr>
          <a:lstStyle/>
          <a:p>
            <a:pPr marL="0" marR="0" lvl="0" indent="0" algn="ctr" defTabSz="914400" rtl="0" eaLnBrk="1" fontAlgn="auto" latinLnBrk="0" hangingPunct="1">
              <a:lnSpc>
                <a:spcPct val="130833"/>
              </a:lnSpc>
              <a:spcBef>
                <a:spcPts val="0"/>
              </a:spcBef>
              <a:spcAft>
                <a:spcPts val="0"/>
              </a:spcAft>
              <a:buClrTx/>
              <a:buSzTx/>
              <a:buFontTx/>
              <a:buNone/>
              <a:tabLst/>
              <a:defRPr/>
            </a:pPr>
            <a:r>
              <a:rPr kumimoji="0" lang="en-US" altLang="zh-CN" sz="2000" b="0" i="0" u="none" strike="noStrike" kern="1200" cap="none" spc="42" normalizeH="0" baseline="0" noProof="0" dirty="0">
                <a:ln>
                  <a:noFill/>
                </a:ln>
                <a:solidFill>
                  <a:srgbClr val="313131"/>
                </a:solidFill>
                <a:effectLst/>
                <a:uLnTx/>
                <a:uFillTx/>
                <a:latin typeface="OPPOSans B" panose="00020600040101010101" pitchFamily="18" charset="-122"/>
                <a:ea typeface="OPPOSans B" panose="00020600040101010101" pitchFamily="18" charset="-122"/>
                <a:cs typeface="OPPOSans B" panose="00020600040101010101" pitchFamily="18" charset="-122"/>
              </a:rPr>
              <a:t>03</a:t>
            </a:r>
            <a:endParaRPr kumimoji="0" lang="zh-CN" altLang="en-US" sz="1000" b="0" i="0" u="none" strike="noStrike" kern="1200" cap="none" spc="0" normalizeH="0" baseline="0" noProof="0">
              <a:ln>
                <a:noFill/>
              </a:ln>
              <a:solidFill>
                <a:srgbClr val="000000"/>
              </a:solidFill>
              <a:effectLst/>
              <a:uLnTx/>
              <a:uFillTx/>
              <a:latin typeface="OPPOSans B" panose="00020600040101010101" pitchFamily="18" charset="-122"/>
              <a:ea typeface="OPPOSans B" panose="00020600040101010101" pitchFamily="18" charset="-122"/>
              <a:cs typeface="OPPOSans B" panose="00020600040101010101" pitchFamily="18" charset="-122"/>
            </a:endParaRPr>
          </a:p>
        </p:txBody>
      </p:sp>
      <p:sp>
        <p:nvSpPr>
          <p:cNvPr id="93" name="Object 1088">
            <a:extLst>
              <a:ext uri="{FF2B5EF4-FFF2-40B4-BE49-F238E27FC236}">
                <a16:creationId xmlns:a16="http://schemas.microsoft.com/office/drawing/2014/main" id="{9B98236A-AD39-4AC7-AE6C-BEF82D5F2AE0}"/>
              </a:ext>
            </a:extLst>
          </p:cNvPr>
          <p:cNvSpPr txBox="1"/>
          <p:nvPr/>
        </p:nvSpPr>
        <p:spPr>
          <a:xfrm>
            <a:off x="4390827" y="5486200"/>
            <a:ext cx="1417165" cy="343170"/>
          </a:xfrm>
          <a:prstGeom prst="rect">
            <a:avLst/>
          </a:prstGeom>
        </p:spPr>
        <p:txBody>
          <a:bodyPr vert="horz" lIns="0" tIns="0" rIns="0" bIns="0"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2400" b="0" i="0" u="none" strike="noStrike" kern="1200" cap="none" spc="45" normalizeH="0" baseline="0" noProof="0" dirty="0">
                <a:ln>
                  <a:noFill/>
                </a:ln>
                <a:solidFill>
                  <a:srgbClr val="FFFFFF"/>
                </a:solidFill>
                <a:effectLst/>
                <a:uLnTx/>
                <a:uFillTx/>
                <a:latin typeface="OPPOSans B" panose="00020600040101010101" pitchFamily="18" charset="-122"/>
                <a:ea typeface="OPPOSans B" panose="00020600040101010101" pitchFamily="18" charset="-122"/>
                <a:cs typeface="OPPOSans B" panose="00020600040101010101" pitchFamily="18" charset="-122"/>
              </a:rPr>
              <a:t>分析三</a:t>
            </a:r>
            <a:endParaRPr kumimoji="0" lang="zh-CN" altLang="en-US" sz="1000" b="0" i="0" u="none" strike="noStrike" kern="1200" cap="none" spc="0" normalizeH="0" baseline="0" noProof="0">
              <a:ln>
                <a:noFill/>
              </a:ln>
              <a:solidFill>
                <a:srgbClr val="000000"/>
              </a:solidFill>
              <a:effectLst/>
              <a:uLnTx/>
              <a:uFillTx/>
              <a:latin typeface="OPPOSans B" panose="00020600040101010101" pitchFamily="18" charset="-122"/>
              <a:ea typeface="OPPOSans B" panose="00020600040101010101" pitchFamily="18" charset="-122"/>
              <a:cs typeface="OPPOSans B" panose="00020600040101010101" pitchFamily="18" charset="-122"/>
            </a:endParaRPr>
          </a:p>
        </p:txBody>
      </p:sp>
      <p:sp>
        <p:nvSpPr>
          <p:cNvPr id="79" name="Object 1089">
            <a:extLst>
              <a:ext uri="{FF2B5EF4-FFF2-40B4-BE49-F238E27FC236}">
                <a16:creationId xmlns:a16="http://schemas.microsoft.com/office/drawing/2014/main" id="{29BEDA97-9126-4D18-88BA-5D0087DE361D}"/>
              </a:ext>
            </a:extLst>
          </p:cNvPr>
          <p:cNvSpPr txBox="1"/>
          <p:nvPr/>
        </p:nvSpPr>
        <p:spPr>
          <a:xfrm>
            <a:off x="5290741" y="4210052"/>
            <a:ext cx="1201095" cy="216070"/>
          </a:xfrm>
          <a:prstGeom prst="rect">
            <a:avLst/>
          </a:prstGeom>
        </p:spPr>
        <p:txBody>
          <a:bodyPr vert="horz" lIns="0" tIns="0" rIns="0" bIns="0"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200" b="0" i="0" u="none" strike="noStrike" kern="1200" cap="none" spc="28" normalizeH="0" baseline="0" noProof="0" dirty="0">
                <a:ln>
                  <a:noFill/>
                </a:ln>
                <a:solidFill>
                  <a:srgbClr val="626262"/>
                </a:solidFill>
                <a:effectLst/>
                <a:uLnTx/>
                <a:uFillTx/>
                <a:latin typeface="OPPOSans R" panose="00020600040101010101" pitchFamily="18" charset="-122"/>
                <a:ea typeface="OPPOSans R" panose="00020600040101010101" pitchFamily="18" charset="-122"/>
                <a:cs typeface="OPPOSans R" panose="00020600040101010101" pitchFamily="18" charset="-122"/>
              </a:rPr>
              <a:t>过度劳累</a:t>
            </a:r>
            <a:endParaRPr kumimoji="0" lang="zh-CN" altLang="en-US" sz="1000" b="0" i="0" u="none" strike="noStrike" kern="1200" cap="none" spc="0" normalizeH="0" baseline="0" noProof="0">
              <a:ln>
                <a:noFill/>
              </a:ln>
              <a:solidFill>
                <a:srgbClr val="000000"/>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p:txBody>
      </p:sp>
      <p:sp>
        <p:nvSpPr>
          <p:cNvPr id="80" name="Object 1090">
            <a:extLst>
              <a:ext uri="{FF2B5EF4-FFF2-40B4-BE49-F238E27FC236}">
                <a16:creationId xmlns:a16="http://schemas.microsoft.com/office/drawing/2014/main" id="{DA6743B1-713D-4555-A7F4-1A5829A2BD2A}"/>
              </a:ext>
            </a:extLst>
          </p:cNvPr>
          <p:cNvSpPr txBox="1"/>
          <p:nvPr/>
        </p:nvSpPr>
        <p:spPr>
          <a:xfrm>
            <a:off x="5088037" y="4489452"/>
            <a:ext cx="1201095" cy="216070"/>
          </a:xfrm>
          <a:prstGeom prst="rect">
            <a:avLst/>
          </a:prstGeom>
        </p:spPr>
        <p:txBody>
          <a:bodyPr vert="horz" lIns="0" tIns="0" rIns="0" bIns="0"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200" b="0" i="0" u="none" strike="noStrike" kern="1200" cap="none" spc="28" normalizeH="0" baseline="0" noProof="0" dirty="0">
                <a:ln>
                  <a:noFill/>
                </a:ln>
                <a:solidFill>
                  <a:srgbClr val="626262"/>
                </a:solidFill>
                <a:effectLst/>
                <a:uLnTx/>
                <a:uFillTx/>
                <a:latin typeface="OPPOSans R" panose="00020600040101010101" pitchFamily="18" charset="-122"/>
                <a:ea typeface="OPPOSans R" panose="00020600040101010101" pitchFamily="18" charset="-122"/>
                <a:cs typeface="OPPOSans R" panose="00020600040101010101" pitchFamily="18" charset="-122"/>
              </a:rPr>
              <a:t>锻炼身体</a:t>
            </a:r>
            <a:endParaRPr kumimoji="0" lang="zh-CN" altLang="en-US" sz="1000" b="0" i="0" u="none" strike="noStrike" kern="1200" cap="none" spc="0" normalizeH="0" baseline="0" noProof="0">
              <a:ln>
                <a:noFill/>
              </a:ln>
              <a:solidFill>
                <a:srgbClr val="000000"/>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p:txBody>
      </p:sp>
      <p:sp>
        <p:nvSpPr>
          <p:cNvPr id="81" name="Object 1091">
            <a:extLst>
              <a:ext uri="{FF2B5EF4-FFF2-40B4-BE49-F238E27FC236}">
                <a16:creationId xmlns:a16="http://schemas.microsoft.com/office/drawing/2014/main" id="{EF304C4A-1609-4695-80AE-F78AEB9EB422}"/>
              </a:ext>
            </a:extLst>
          </p:cNvPr>
          <p:cNvSpPr txBox="1"/>
          <p:nvPr/>
        </p:nvSpPr>
        <p:spPr>
          <a:xfrm>
            <a:off x="4844654" y="4774882"/>
            <a:ext cx="1201095" cy="216070"/>
          </a:xfrm>
          <a:prstGeom prst="rect">
            <a:avLst/>
          </a:prstGeom>
        </p:spPr>
        <p:txBody>
          <a:bodyPr vert="horz" lIns="0" tIns="0" rIns="0" bIns="0"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200" b="0" i="0" u="none" strike="noStrike" kern="1200" cap="none" spc="28" normalizeH="0" baseline="0" noProof="0" dirty="0">
                <a:ln>
                  <a:noFill/>
                </a:ln>
                <a:solidFill>
                  <a:srgbClr val="626262"/>
                </a:solidFill>
                <a:effectLst/>
                <a:uLnTx/>
                <a:uFillTx/>
                <a:latin typeface="OPPOSans R" panose="00020600040101010101" pitchFamily="18" charset="-122"/>
                <a:ea typeface="OPPOSans R" panose="00020600040101010101" pitchFamily="18" charset="-122"/>
                <a:cs typeface="OPPOSans R" panose="00020600040101010101" pitchFamily="18" charset="-122"/>
              </a:rPr>
              <a:t>及时放松</a:t>
            </a:r>
            <a:endParaRPr kumimoji="0" lang="zh-CN" altLang="en-US" sz="1000" b="0" i="0" u="none" strike="noStrike" kern="1200" cap="none" spc="0" normalizeH="0" baseline="0" noProof="0">
              <a:ln>
                <a:noFill/>
              </a:ln>
              <a:solidFill>
                <a:srgbClr val="000000"/>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p:txBody>
      </p:sp>
      <p:sp>
        <p:nvSpPr>
          <p:cNvPr id="82" name="Object 1092">
            <a:extLst>
              <a:ext uri="{FF2B5EF4-FFF2-40B4-BE49-F238E27FC236}">
                <a16:creationId xmlns:a16="http://schemas.microsoft.com/office/drawing/2014/main" id="{55465E1B-7094-4A4B-A088-461CE51655E2}"/>
              </a:ext>
            </a:extLst>
          </p:cNvPr>
          <p:cNvSpPr txBox="1"/>
          <p:nvPr/>
        </p:nvSpPr>
        <p:spPr>
          <a:xfrm>
            <a:off x="4615558" y="5053687"/>
            <a:ext cx="1201095" cy="216070"/>
          </a:xfrm>
          <a:prstGeom prst="rect">
            <a:avLst/>
          </a:prstGeom>
        </p:spPr>
        <p:txBody>
          <a:bodyPr vert="horz" lIns="0" tIns="0" rIns="0" bIns="0"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200" b="0" i="0" u="none" strike="noStrike" kern="1200" cap="none" spc="28" normalizeH="0" baseline="0" noProof="0" dirty="0">
                <a:ln>
                  <a:noFill/>
                </a:ln>
                <a:solidFill>
                  <a:srgbClr val="626262"/>
                </a:solidFill>
                <a:effectLst/>
                <a:uLnTx/>
                <a:uFillTx/>
                <a:latin typeface="OPPOSans R" panose="00020600040101010101" pitchFamily="18" charset="-122"/>
                <a:ea typeface="OPPOSans R" panose="00020600040101010101" pitchFamily="18" charset="-122"/>
                <a:cs typeface="OPPOSans R" panose="00020600040101010101" pitchFamily="18" charset="-122"/>
              </a:rPr>
              <a:t>充足睡眠</a:t>
            </a:r>
            <a:endParaRPr kumimoji="0" lang="zh-CN" altLang="en-US" sz="1000" b="0" i="0" u="none" strike="noStrike" kern="1200" cap="none" spc="0" normalizeH="0" baseline="0" noProof="0">
              <a:ln>
                <a:noFill/>
              </a:ln>
              <a:solidFill>
                <a:srgbClr val="000000"/>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p:txBody>
      </p:sp>
      <p:sp>
        <p:nvSpPr>
          <p:cNvPr id="237" name="矩形: 圆角 236">
            <a:extLst>
              <a:ext uri="{FF2B5EF4-FFF2-40B4-BE49-F238E27FC236}">
                <a16:creationId xmlns:a16="http://schemas.microsoft.com/office/drawing/2014/main" id="{94575D00-F70F-4839-AD37-4B071F2778C2}"/>
              </a:ext>
            </a:extLst>
          </p:cNvPr>
          <p:cNvSpPr>
            <a:spLocks/>
          </p:cNvSpPr>
          <p:nvPr/>
        </p:nvSpPr>
        <p:spPr>
          <a:xfrm>
            <a:off x="1295400" y="5372100"/>
            <a:ext cx="2012951" cy="514351"/>
          </a:xfrm>
          <a:prstGeom prst="roundRect">
            <a:avLst>
              <a:gd name="adj" fmla="val 5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Arial" panose="020F0502020204030204"/>
              <a:ea typeface="微软雅黑"/>
              <a:cs typeface="+mn-cs"/>
            </a:endParaRPr>
          </a:p>
        </p:txBody>
      </p:sp>
      <p:sp>
        <p:nvSpPr>
          <p:cNvPr id="245" name="椭圆 244">
            <a:extLst>
              <a:ext uri="{FF2B5EF4-FFF2-40B4-BE49-F238E27FC236}">
                <a16:creationId xmlns:a16="http://schemas.microsoft.com/office/drawing/2014/main" id="{0E441DE6-509C-4FCB-B728-5D1937E20AC7}"/>
              </a:ext>
            </a:extLst>
          </p:cNvPr>
          <p:cNvSpPr>
            <a:spLocks/>
          </p:cNvSpPr>
          <p:nvPr/>
        </p:nvSpPr>
        <p:spPr>
          <a:xfrm>
            <a:off x="1333500" y="5410200"/>
            <a:ext cx="444500" cy="44449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Arial" panose="020F0502020204030204"/>
              <a:ea typeface="微软雅黑"/>
              <a:cs typeface="+mn-cs"/>
            </a:endParaRPr>
          </a:p>
        </p:txBody>
      </p:sp>
      <p:sp>
        <p:nvSpPr>
          <p:cNvPr id="109" name="Object 10104">
            <a:extLst>
              <a:ext uri="{FF2B5EF4-FFF2-40B4-BE49-F238E27FC236}">
                <a16:creationId xmlns:a16="http://schemas.microsoft.com/office/drawing/2014/main" id="{0C0C6516-1301-49E9-898F-B6C1F59EE5B2}"/>
              </a:ext>
            </a:extLst>
          </p:cNvPr>
          <p:cNvSpPr txBox="1"/>
          <p:nvPr/>
        </p:nvSpPr>
        <p:spPr>
          <a:xfrm>
            <a:off x="1196363" y="5429006"/>
            <a:ext cx="718115" cy="419430"/>
          </a:xfrm>
          <a:prstGeom prst="rect">
            <a:avLst/>
          </a:prstGeom>
        </p:spPr>
        <p:txBody>
          <a:bodyPr vert="horz" lIns="0" tIns="0" rIns="0" bIns="0" rtlCol="0" anchor="t" anchorCtr="0">
            <a:noAutofit/>
          </a:bodyPr>
          <a:lstStyle/>
          <a:p>
            <a:pPr marL="0" marR="0" lvl="0" indent="0" algn="ctr" defTabSz="914400" rtl="0" eaLnBrk="1" fontAlgn="auto" latinLnBrk="0" hangingPunct="1">
              <a:lnSpc>
                <a:spcPct val="130833"/>
              </a:lnSpc>
              <a:spcBef>
                <a:spcPts val="0"/>
              </a:spcBef>
              <a:spcAft>
                <a:spcPts val="0"/>
              </a:spcAft>
              <a:buClrTx/>
              <a:buSzTx/>
              <a:buFontTx/>
              <a:buNone/>
              <a:tabLst/>
              <a:defRPr/>
            </a:pPr>
            <a:r>
              <a:rPr kumimoji="0" lang="en-US" altLang="zh-CN" sz="2000" b="0" i="0" u="none" strike="noStrike" kern="1200" cap="none" spc="42" normalizeH="0" baseline="0" noProof="0" dirty="0">
                <a:ln>
                  <a:noFill/>
                </a:ln>
                <a:solidFill>
                  <a:srgbClr val="313131"/>
                </a:solidFill>
                <a:effectLst/>
                <a:uLnTx/>
                <a:uFillTx/>
                <a:latin typeface="OPPOSans B" panose="00020600040101010101" pitchFamily="18" charset="-122"/>
                <a:ea typeface="OPPOSans B" panose="00020600040101010101" pitchFamily="18" charset="-122"/>
                <a:cs typeface="OPPOSans B" panose="00020600040101010101" pitchFamily="18" charset="-122"/>
              </a:rPr>
              <a:t>01</a:t>
            </a:r>
            <a:endParaRPr kumimoji="0" lang="zh-CN" altLang="en-US" sz="1000" b="0" i="0" u="none" strike="noStrike" kern="1200" cap="none" spc="0" normalizeH="0" baseline="0" noProof="0">
              <a:ln>
                <a:noFill/>
              </a:ln>
              <a:solidFill>
                <a:srgbClr val="000000"/>
              </a:solidFill>
              <a:effectLst/>
              <a:uLnTx/>
              <a:uFillTx/>
              <a:latin typeface="OPPOSans B" panose="00020600040101010101" pitchFamily="18" charset="-122"/>
              <a:ea typeface="OPPOSans B" panose="00020600040101010101" pitchFamily="18" charset="-122"/>
              <a:cs typeface="OPPOSans B" panose="00020600040101010101" pitchFamily="18" charset="-122"/>
            </a:endParaRPr>
          </a:p>
        </p:txBody>
      </p:sp>
      <p:sp>
        <p:nvSpPr>
          <p:cNvPr id="110" name="Object 10105">
            <a:extLst>
              <a:ext uri="{FF2B5EF4-FFF2-40B4-BE49-F238E27FC236}">
                <a16:creationId xmlns:a16="http://schemas.microsoft.com/office/drawing/2014/main" id="{F6875927-E675-4BC0-922D-F1E22B9ACF10}"/>
              </a:ext>
            </a:extLst>
          </p:cNvPr>
          <p:cNvSpPr txBox="1"/>
          <p:nvPr/>
        </p:nvSpPr>
        <p:spPr>
          <a:xfrm>
            <a:off x="1914327" y="5486200"/>
            <a:ext cx="1417165" cy="343170"/>
          </a:xfrm>
          <a:prstGeom prst="rect">
            <a:avLst/>
          </a:prstGeom>
        </p:spPr>
        <p:txBody>
          <a:bodyPr vert="horz" lIns="0" tIns="0" rIns="0" bIns="0"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2400" b="0" i="0" u="none" strike="noStrike" kern="1200" cap="none" spc="45" normalizeH="0" baseline="0" noProof="0" dirty="0">
                <a:ln>
                  <a:noFill/>
                </a:ln>
                <a:solidFill>
                  <a:srgbClr val="FFFFFF"/>
                </a:solidFill>
                <a:effectLst/>
                <a:uLnTx/>
                <a:uFillTx/>
                <a:latin typeface="OPPOSans B" panose="00020600040101010101" pitchFamily="18" charset="-122"/>
                <a:ea typeface="OPPOSans B" panose="00020600040101010101" pitchFamily="18" charset="-122"/>
                <a:cs typeface="OPPOSans B" panose="00020600040101010101" pitchFamily="18" charset="-122"/>
              </a:rPr>
              <a:t>分析一</a:t>
            </a:r>
            <a:endParaRPr kumimoji="0" lang="zh-CN" altLang="en-US" sz="1000" b="0" i="0" u="none" strike="noStrike" kern="1200" cap="none" spc="0" normalizeH="0" baseline="0" noProof="0" dirty="0">
              <a:ln>
                <a:noFill/>
              </a:ln>
              <a:solidFill>
                <a:srgbClr val="000000"/>
              </a:solidFill>
              <a:effectLst/>
              <a:uLnTx/>
              <a:uFillTx/>
              <a:latin typeface="OPPOSans B" panose="00020600040101010101" pitchFamily="18" charset="-122"/>
              <a:ea typeface="OPPOSans B" panose="00020600040101010101" pitchFamily="18" charset="-122"/>
              <a:cs typeface="OPPOSans B" panose="00020600040101010101" pitchFamily="18" charset="-122"/>
            </a:endParaRPr>
          </a:p>
        </p:txBody>
      </p:sp>
      <p:sp>
        <p:nvSpPr>
          <p:cNvPr id="97" name="Object 10106">
            <a:extLst>
              <a:ext uri="{FF2B5EF4-FFF2-40B4-BE49-F238E27FC236}">
                <a16:creationId xmlns:a16="http://schemas.microsoft.com/office/drawing/2014/main" id="{1870909E-722A-4938-90A4-A5858690CAE6}"/>
              </a:ext>
            </a:extLst>
          </p:cNvPr>
          <p:cNvSpPr txBox="1"/>
          <p:nvPr/>
        </p:nvSpPr>
        <p:spPr>
          <a:xfrm>
            <a:off x="2877344" y="4210052"/>
            <a:ext cx="1201095" cy="216070"/>
          </a:xfrm>
          <a:prstGeom prst="rect">
            <a:avLst/>
          </a:prstGeom>
        </p:spPr>
        <p:txBody>
          <a:bodyPr vert="horz" lIns="0" tIns="0" rIns="0" bIns="0"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200" b="0" i="0" u="none" strike="noStrike" kern="1200" cap="none" spc="28" normalizeH="0" baseline="0" noProof="0" dirty="0">
                <a:ln>
                  <a:noFill/>
                </a:ln>
                <a:solidFill>
                  <a:srgbClr val="626262"/>
                </a:solidFill>
                <a:effectLst/>
                <a:uLnTx/>
                <a:uFillTx/>
                <a:latin typeface="OPPOSans R" panose="00020600040101010101" pitchFamily="18" charset="-122"/>
                <a:ea typeface="OPPOSans R" panose="00020600040101010101" pitchFamily="18" charset="-122"/>
                <a:cs typeface="OPPOSans R" panose="00020600040101010101" pitchFamily="18" charset="-122"/>
              </a:rPr>
              <a:t>基因突变</a:t>
            </a:r>
            <a:endParaRPr kumimoji="0" lang="zh-CN" altLang="en-US" sz="1000" b="0" i="0" u="none" strike="noStrike" kern="1200" cap="none" spc="0" normalizeH="0" baseline="0" noProof="0">
              <a:ln>
                <a:noFill/>
              </a:ln>
              <a:solidFill>
                <a:srgbClr val="000000"/>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p:txBody>
      </p:sp>
      <p:sp>
        <p:nvSpPr>
          <p:cNvPr id="98" name="Object 10107">
            <a:extLst>
              <a:ext uri="{FF2B5EF4-FFF2-40B4-BE49-F238E27FC236}">
                <a16:creationId xmlns:a16="http://schemas.microsoft.com/office/drawing/2014/main" id="{EA6CC768-8B3B-49B5-BC91-D4F119468136}"/>
              </a:ext>
            </a:extLst>
          </p:cNvPr>
          <p:cNvSpPr txBox="1"/>
          <p:nvPr/>
        </p:nvSpPr>
        <p:spPr>
          <a:xfrm>
            <a:off x="2611934" y="4489452"/>
            <a:ext cx="1201095" cy="216070"/>
          </a:xfrm>
          <a:prstGeom prst="rect">
            <a:avLst/>
          </a:prstGeom>
        </p:spPr>
        <p:txBody>
          <a:bodyPr vert="horz" lIns="0" tIns="0" rIns="0" bIns="0"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200" b="0" i="0" u="none" strike="noStrike" kern="1200" cap="none" spc="28" normalizeH="0" baseline="0" noProof="0" dirty="0">
                <a:ln>
                  <a:noFill/>
                </a:ln>
                <a:solidFill>
                  <a:srgbClr val="626262"/>
                </a:solidFill>
                <a:effectLst/>
                <a:uLnTx/>
                <a:uFillTx/>
                <a:latin typeface="OPPOSans R" panose="00020600040101010101" pitchFamily="18" charset="-122"/>
                <a:ea typeface="OPPOSans R" panose="00020600040101010101" pitchFamily="18" charset="-122"/>
                <a:cs typeface="OPPOSans R" panose="00020600040101010101" pitchFamily="18" charset="-122"/>
              </a:rPr>
              <a:t>癌症筛查</a:t>
            </a:r>
            <a:endParaRPr kumimoji="0" lang="zh-CN" altLang="en-US" sz="1000" b="0" i="0" u="none" strike="noStrike" kern="1200" cap="none" spc="0" normalizeH="0" baseline="0" noProof="0" dirty="0">
              <a:ln>
                <a:noFill/>
              </a:ln>
              <a:solidFill>
                <a:srgbClr val="000000"/>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p:txBody>
      </p:sp>
      <p:sp>
        <p:nvSpPr>
          <p:cNvPr id="99" name="Object 10108">
            <a:extLst>
              <a:ext uri="{FF2B5EF4-FFF2-40B4-BE49-F238E27FC236}">
                <a16:creationId xmlns:a16="http://schemas.microsoft.com/office/drawing/2014/main" id="{49D9F5E1-2BF1-4C5A-802E-B547FCA4D865}"/>
              </a:ext>
            </a:extLst>
          </p:cNvPr>
          <p:cNvSpPr txBox="1"/>
          <p:nvPr/>
        </p:nvSpPr>
        <p:spPr>
          <a:xfrm>
            <a:off x="2365971" y="4774882"/>
            <a:ext cx="1201095" cy="216070"/>
          </a:xfrm>
          <a:prstGeom prst="rect">
            <a:avLst/>
          </a:prstGeom>
        </p:spPr>
        <p:txBody>
          <a:bodyPr vert="horz" lIns="0" tIns="0" rIns="0" bIns="0"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200" b="0" i="0" u="none" strike="noStrike" kern="1200" cap="none" spc="28" normalizeH="0" baseline="0" noProof="0" dirty="0">
                <a:ln>
                  <a:noFill/>
                </a:ln>
                <a:solidFill>
                  <a:srgbClr val="626262"/>
                </a:solidFill>
                <a:effectLst/>
                <a:uLnTx/>
                <a:uFillTx/>
                <a:latin typeface="OPPOSans R" panose="00020600040101010101" pitchFamily="18" charset="-122"/>
                <a:ea typeface="OPPOSans R" panose="00020600040101010101" pitchFamily="18" charset="-122"/>
                <a:cs typeface="OPPOSans R" panose="00020600040101010101" pitchFamily="18" charset="-122"/>
              </a:rPr>
              <a:t>早期检查</a:t>
            </a:r>
            <a:endParaRPr kumimoji="0" lang="zh-CN" altLang="en-US" sz="1000" b="0" i="0" u="none" strike="noStrike" kern="1200" cap="none" spc="0" normalizeH="0" baseline="0" noProof="0">
              <a:ln>
                <a:noFill/>
              </a:ln>
              <a:solidFill>
                <a:srgbClr val="000000"/>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p:txBody>
      </p:sp>
      <p:sp>
        <p:nvSpPr>
          <p:cNvPr id="100" name="Object 10109">
            <a:extLst>
              <a:ext uri="{FF2B5EF4-FFF2-40B4-BE49-F238E27FC236}">
                <a16:creationId xmlns:a16="http://schemas.microsoft.com/office/drawing/2014/main" id="{6E52C026-0728-404A-800B-9F662E52C41C}"/>
              </a:ext>
            </a:extLst>
          </p:cNvPr>
          <p:cNvSpPr txBox="1"/>
          <p:nvPr/>
        </p:nvSpPr>
        <p:spPr>
          <a:xfrm>
            <a:off x="2139554" y="5053687"/>
            <a:ext cx="1201095" cy="216070"/>
          </a:xfrm>
          <a:prstGeom prst="rect">
            <a:avLst/>
          </a:prstGeom>
        </p:spPr>
        <p:txBody>
          <a:bodyPr vert="horz" lIns="0" tIns="0" rIns="0" bIns="0"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200" b="0" i="0" u="none" strike="noStrike" kern="1200" cap="none" spc="28" normalizeH="0" baseline="0" noProof="0" dirty="0">
                <a:ln>
                  <a:noFill/>
                </a:ln>
                <a:solidFill>
                  <a:srgbClr val="626262"/>
                </a:solidFill>
                <a:effectLst/>
                <a:uLnTx/>
                <a:uFillTx/>
                <a:latin typeface="OPPOSans R" panose="00020600040101010101" pitchFamily="18" charset="-122"/>
                <a:ea typeface="OPPOSans R" panose="00020600040101010101" pitchFamily="18" charset="-122"/>
                <a:cs typeface="OPPOSans R" panose="00020600040101010101" pitchFamily="18" charset="-122"/>
              </a:rPr>
              <a:t>及时治疗</a:t>
            </a:r>
            <a:endParaRPr kumimoji="0" lang="zh-CN" altLang="en-US" sz="1000" b="0" i="0" u="none" strike="noStrike" kern="1200" cap="none" spc="0" normalizeH="0" baseline="0" noProof="0">
              <a:ln>
                <a:noFill/>
              </a:ln>
              <a:solidFill>
                <a:srgbClr val="000000"/>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p:txBody>
      </p:sp>
      <p:grpSp>
        <p:nvGrpSpPr>
          <p:cNvPr id="214" name="Group 159+">
            <a:extLst>
              <a:ext uri="{FF2B5EF4-FFF2-40B4-BE49-F238E27FC236}">
                <a16:creationId xmlns:a16="http://schemas.microsoft.com/office/drawing/2014/main" id="{C843478F-43B4-479E-95DF-B4D12BC48473}"/>
              </a:ext>
            </a:extLst>
          </p:cNvPr>
          <p:cNvGrpSpPr/>
          <p:nvPr/>
        </p:nvGrpSpPr>
        <p:grpSpPr>
          <a:xfrm flipV="1">
            <a:off x="1612838" y="3863295"/>
            <a:ext cx="1386965" cy="1543707"/>
            <a:chOff x="2784501" y="2326618"/>
            <a:chExt cx="1386965" cy="1543707"/>
          </a:xfrm>
        </p:grpSpPr>
        <p:cxnSp>
          <p:nvCxnSpPr>
            <p:cNvPr id="215" name="直接连接符 214">
              <a:extLst>
                <a:ext uri="{FF2B5EF4-FFF2-40B4-BE49-F238E27FC236}">
                  <a16:creationId xmlns:a16="http://schemas.microsoft.com/office/drawing/2014/main" id="{9ADAB1F1-63EB-4962-885A-F8D2D473AC98}"/>
                </a:ext>
              </a:extLst>
            </p:cNvPr>
            <p:cNvCxnSpPr>
              <a:cxnSpLocks/>
            </p:cNvCxnSpPr>
            <p:nvPr/>
          </p:nvCxnSpPr>
          <p:spPr>
            <a:xfrm>
              <a:off x="2784501" y="2326618"/>
              <a:ext cx="1386965" cy="1543707"/>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16" name="椭圆 215">
              <a:extLst>
                <a:ext uri="{FF2B5EF4-FFF2-40B4-BE49-F238E27FC236}">
                  <a16:creationId xmlns:a16="http://schemas.microsoft.com/office/drawing/2014/main" id="{9D886E48-EA43-47DC-9ADE-9E163437C927}"/>
                </a:ext>
              </a:extLst>
            </p:cNvPr>
            <p:cNvSpPr>
              <a:spLocks/>
            </p:cNvSpPr>
            <p:nvPr/>
          </p:nvSpPr>
          <p:spPr>
            <a:xfrm>
              <a:off x="3016250" y="2590800"/>
              <a:ext cx="82552" cy="82551"/>
            </a:xfrm>
            <a:prstGeom prst="ellipse">
              <a:avLst/>
            </a:prstGeom>
            <a:solidFill>
              <a:schemeClr val="accent1"/>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srgbClr val="FFFFFF"/>
                </a:solidFill>
                <a:effectLst/>
                <a:uLnTx/>
                <a:uFillTx/>
                <a:latin typeface="Arial" panose="020F0502020204030204"/>
                <a:ea typeface="微软雅黑"/>
                <a:cs typeface="+mn-cs"/>
              </a:endParaRPr>
            </a:p>
          </p:txBody>
        </p:sp>
        <p:sp>
          <p:nvSpPr>
            <p:cNvPr id="217" name="椭圆 216">
              <a:extLst>
                <a:ext uri="{FF2B5EF4-FFF2-40B4-BE49-F238E27FC236}">
                  <a16:creationId xmlns:a16="http://schemas.microsoft.com/office/drawing/2014/main" id="{379B3143-7D9E-4A5E-B800-89600409C915}"/>
                </a:ext>
              </a:extLst>
            </p:cNvPr>
            <p:cNvSpPr>
              <a:spLocks/>
            </p:cNvSpPr>
            <p:nvPr/>
          </p:nvSpPr>
          <p:spPr>
            <a:xfrm>
              <a:off x="3282950" y="2882900"/>
              <a:ext cx="82552" cy="82551"/>
            </a:xfrm>
            <a:prstGeom prst="ellipse">
              <a:avLst/>
            </a:prstGeom>
            <a:solidFill>
              <a:schemeClr val="accent1"/>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srgbClr val="FFFFFF"/>
                </a:solidFill>
                <a:effectLst/>
                <a:uLnTx/>
                <a:uFillTx/>
                <a:latin typeface="Arial" panose="020F0502020204030204"/>
                <a:ea typeface="微软雅黑"/>
                <a:cs typeface="+mn-cs"/>
              </a:endParaRPr>
            </a:p>
          </p:txBody>
        </p:sp>
        <p:sp>
          <p:nvSpPr>
            <p:cNvPr id="218" name="椭圆 217">
              <a:extLst>
                <a:ext uri="{FF2B5EF4-FFF2-40B4-BE49-F238E27FC236}">
                  <a16:creationId xmlns:a16="http://schemas.microsoft.com/office/drawing/2014/main" id="{1943C3DF-E817-4BD4-B066-374D2007235B}"/>
                </a:ext>
              </a:extLst>
            </p:cNvPr>
            <p:cNvSpPr>
              <a:spLocks/>
            </p:cNvSpPr>
            <p:nvPr/>
          </p:nvSpPr>
          <p:spPr>
            <a:xfrm>
              <a:off x="3524250" y="3149600"/>
              <a:ext cx="82552" cy="82551"/>
            </a:xfrm>
            <a:prstGeom prst="ellipse">
              <a:avLst/>
            </a:prstGeom>
            <a:solidFill>
              <a:schemeClr val="accent1"/>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srgbClr val="FFFFFF"/>
                </a:solidFill>
                <a:effectLst/>
                <a:uLnTx/>
                <a:uFillTx/>
                <a:latin typeface="Arial" panose="020F0502020204030204"/>
                <a:ea typeface="微软雅黑"/>
                <a:cs typeface="+mn-cs"/>
              </a:endParaRPr>
            </a:p>
          </p:txBody>
        </p:sp>
        <p:sp>
          <p:nvSpPr>
            <p:cNvPr id="219" name="椭圆 218">
              <a:extLst>
                <a:ext uri="{FF2B5EF4-FFF2-40B4-BE49-F238E27FC236}">
                  <a16:creationId xmlns:a16="http://schemas.microsoft.com/office/drawing/2014/main" id="{008EA1F3-6F74-4370-B13D-7682A53CCB6E}"/>
                </a:ext>
              </a:extLst>
            </p:cNvPr>
            <p:cNvSpPr>
              <a:spLocks/>
            </p:cNvSpPr>
            <p:nvPr/>
          </p:nvSpPr>
          <p:spPr>
            <a:xfrm>
              <a:off x="3778250" y="3441700"/>
              <a:ext cx="82552" cy="82551"/>
            </a:xfrm>
            <a:prstGeom prst="ellipse">
              <a:avLst/>
            </a:prstGeom>
            <a:solidFill>
              <a:schemeClr val="accent1"/>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srgbClr val="FFFFFF"/>
                </a:solidFill>
                <a:effectLst/>
                <a:uLnTx/>
                <a:uFillTx/>
                <a:latin typeface="Arial" panose="020F0502020204030204"/>
                <a:ea typeface="微软雅黑"/>
                <a:cs typeface="+mn-cs"/>
              </a:endParaRPr>
            </a:p>
          </p:txBody>
        </p:sp>
      </p:grpSp>
      <p:cxnSp>
        <p:nvCxnSpPr>
          <p:cNvPr id="221" name="直接连接符 220">
            <a:extLst>
              <a:ext uri="{FF2B5EF4-FFF2-40B4-BE49-F238E27FC236}">
                <a16:creationId xmlns:a16="http://schemas.microsoft.com/office/drawing/2014/main" id="{80C0D1AF-C337-4FEB-8B5C-241E13C8261C}"/>
              </a:ext>
            </a:extLst>
          </p:cNvPr>
          <p:cNvCxnSpPr>
            <a:cxnSpLocks/>
          </p:cNvCxnSpPr>
          <p:nvPr/>
        </p:nvCxnSpPr>
        <p:spPr>
          <a:xfrm flipV="1">
            <a:off x="4088823" y="3863295"/>
            <a:ext cx="1386965" cy="1543707"/>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22" name="椭圆 221">
            <a:extLst>
              <a:ext uri="{FF2B5EF4-FFF2-40B4-BE49-F238E27FC236}">
                <a16:creationId xmlns:a16="http://schemas.microsoft.com/office/drawing/2014/main" id="{27D59C21-52F8-47AC-A449-DC0917BB9EE7}"/>
              </a:ext>
            </a:extLst>
          </p:cNvPr>
          <p:cNvSpPr>
            <a:spLocks/>
          </p:cNvSpPr>
          <p:nvPr/>
        </p:nvSpPr>
        <p:spPr>
          <a:xfrm flipV="1">
            <a:off x="4317398" y="5060269"/>
            <a:ext cx="82552" cy="82551"/>
          </a:xfrm>
          <a:prstGeom prst="ellipse">
            <a:avLst/>
          </a:prstGeom>
          <a:solidFill>
            <a:schemeClr val="accent1"/>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srgbClr val="FFFFFF"/>
              </a:solidFill>
              <a:effectLst/>
              <a:uLnTx/>
              <a:uFillTx/>
              <a:latin typeface="Arial" panose="020F0502020204030204"/>
              <a:ea typeface="微软雅黑"/>
              <a:cs typeface="+mn-cs"/>
            </a:endParaRPr>
          </a:p>
        </p:txBody>
      </p:sp>
      <p:sp>
        <p:nvSpPr>
          <p:cNvPr id="223" name="椭圆 222">
            <a:extLst>
              <a:ext uri="{FF2B5EF4-FFF2-40B4-BE49-F238E27FC236}">
                <a16:creationId xmlns:a16="http://schemas.microsoft.com/office/drawing/2014/main" id="{178FF865-BBD4-4A6C-B6E0-8402554A333B}"/>
              </a:ext>
            </a:extLst>
          </p:cNvPr>
          <p:cNvSpPr>
            <a:spLocks/>
          </p:cNvSpPr>
          <p:nvPr/>
        </p:nvSpPr>
        <p:spPr>
          <a:xfrm flipV="1">
            <a:off x="4584098" y="4768169"/>
            <a:ext cx="82552" cy="82551"/>
          </a:xfrm>
          <a:prstGeom prst="ellipse">
            <a:avLst/>
          </a:prstGeom>
          <a:solidFill>
            <a:schemeClr val="accent1"/>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srgbClr val="FFFFFF"/>
              </a:solidFill>
              <a:effectLst/>
              <a:uLnTx/>
              <a:uFillTx/>
              <a:latin typeface="Arial" panose="020F0502020204030204"/>
              <a:ea typeface="微软雅黑"/>
              <a:cs typeface="+mn-cs"/>
            </a:endParaRPr>
          </a:p>
        </p:txBody>
      </p:sp>
      <p:sp>
        <p:nvSpPr>
          <p:cNvPr id="224" name="椭圆 223">
            <a:extLst>
              <a:ext uri="{FF2B5EF4-FFF2-40B4-BE49-F238E27FC236}">
                <a16:creationId xmlns:a16="http://schemas.microsoft.com/office/drawing/2014/main" id="{11B97044-D5DB-4FE1-94EE-D1A225D15C84}"/>
              </a:ext>
            </a:extLst>
          </p:cNvPr>
          <p:cNvSpPr>
            <a:spLocks/>
          </p:cNvSpPr>
          <p:nvPr/>
        </p:nvSpPr>
        <p:spPr>
          <a:xfrm flipV="1">
            <a:off x="4825398" y="4501469"/>
            <a:ext cx="82552" cy="82551"/>
          </a:xfrm>
          <a:prstGeom prst="ellipse">
            <a:avLst/>
          </a:prstGeom>
          <a:solidFill>
            <a:schemeClr val="accent1"/>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srgbClr val="FFFFFF"/>
              </a:solidFill>
              <a:effectLst/>
              <a:uLnTx/>
              <a:uFillTx/>
              <a:latin typeface="Arial" panose="020F0502020204030204"/>
              <a:ea typeface="微软雅黑"/>
              <a:cs typeface="+mn-cs"/>
            </a:endParaRPr>
          </a:p>
        </p:txBody>
      </p:sp>
      <p:sp>
        <p:nvSpPr>
          <p:cNvPr id="225" name="椭圆 224">
            <a:extLst>
              <a:ext uri="{FF2B5EF4-FFF2-40B4-BE49-F238E27FC236}">
                <a16:creationId xmlns:a16="http://schemas.microsoft.com/office/drawing/2014/main" id="{CEB09E7D-B1A7-44EF-A4CD-6A03D0D5AA82}"/>
              </a:ext>
            </a:extLst>
          </p:cNvPr>
          <p:cNvSpPr>
            <a:spLocks/>
          </p:cNvSpPr>
          <p:nvPr/>
        </p:nvSpPr>
        <p:spPr>
          <a:xfrm flipV="1">
            <a:off x="5079398" y="4209369"/>
            <a:ext cx="82552" cy="82551"/>
          </a:xfrm>
          <a:prstGeom prst="ellipse">
            <a:avLst/>
          </a:prstGeom>
          <a:solidFill>
            <a:schemeClr val="accent1"/>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srgbClr val="FFFFFF"/>
              </a:solidFill>
              <a:effectLst/>
              <a:uLnTx/>
              <a:uFillTx/>
              <a:latin typeface="Arial" panose="020F0502020204030204"/>
              <a:ea typeface="微软雅黑"/>
              <a:cs typeface="+mn-cs"/>
            </a:endParaRPr>
          </a:p>
        </p:txBody>
      </p:sp>
      <p:cxnSp>
        <p:nvCxnSpPr>
          <p:cNvPr id="227" name="直接连接符 226">
            <a:extLst>
              <a:ext uri="{FF2B5EF4-FFF2-40B4-BE49-F238E27FC236}">
                <a16:creationId xmlns:a16="http://schemas.microsoft.com/office/drawing/2014/main" id="{1595E514-717A-43F4-A448-132FE78F484E}"/>
              </a:ext>
            </a:extLst>
          </p:cNvPr>
          <p:cNvCxnSpPr>
            <a:cxnSpLocks/>
          </p:cNvCxnSpPr>
          <p:nvPr/>
        </p:nvCxnSpPr>
        <p:spPr>
          <a:xfrm flipV="1">
            <a:off x="6569023" y="3863295"/>
            <a:ext cx="1386965" cy="1543707"/>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28" name="椭圆 227">
            <a:extLst>
              <a:ext uri="{FF2B5EF4-FFF2-40B4-BE49-F238E27FC236}">
                <a16:creationId xmlns:a16="http://schemas.microsoft.com/office/drawing/2014/main" id="{460A520D-A4EC-4393-AC26-F74D11C0E2FE}"/>
              </a:ext>
            </a:extLst>
          </p:cNvPr>
          <p:cNvSpPr>
            <a:spLocks/>
          </p:cNvSpPr>
          <p:nvPr/>
        </p:nvSpPr>
        <p:spPr>
          <a:xfrm flipV="1">
            <a:off x="6795217" y="5060269"/>
            <a:ext cx="82552" cy="8255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srgbClr val="FFFFFF"/>
              </a:solidFill>
              <a:effectLst/>
              <a:uLnTx/>
              <a:uFillTx/>
              <a:latin typeface="Arial" panose="020F0502020204030204"/>
              <a:ea typeface="微软雅黑"/>
              <a:cs typeface="+mn-cs"/>
            </a:endParaRPr>
          </a:p>
        </p:txBody>
      </p:sp>
      <p:sp>
        <p:nvSpPr>
          <p:cNvPr id="229" name="椭圆 228">
            <a:extLst>
              <a:ext uri="{FF2B5EF4-FFF2-40B4-BE49-F238E27FC236}">
                <a16:creationId xmlns:a16="http://schemas.microsoft.com/office/drawing/2014/main" id="{559B2081-4596-4441-8071-2B2E4B198866}"/>
              </a:ext>
            </a:extLst>
          </p:cNvPr>
          <p:cNvSpPr>
            <a:spLocks/>
          </p:cNvSpPr>
          <p:nvPr/>
        </p:nvSpPr>
        <p:spPr>
          <a:xfrm flipV="1">
            <a:off x="7061917" y="4768169"/>
            <a:ext cx="82552" cy="8255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srgbClr val="FFFFFF"/>
              </a:solidFill>
              <a:effectLst/>
              <a:uLnTx/>
              <a:uFillTx/>
              <a:latin typeface="Arial" panose="020F0502020204030204"/>
              <a:ea typeface="微软雅黑"/>
              <a:cs typeface="+mn-cs"/>
            </a:endParaRPr>
          </a:p>
        </p:txBody>
      </p:sp>
      <p:sp>
        <p:nvSpPr>
          <p:cNvPr id="230" name="椭圆 229">
            <a:extLst>
              <a:ext uri="{FF2B5EF4-FFF2-40B4-BE49-F238E27FC236}">
                <a16:creationId xmlns:a16="http://schemas.microsoft.com/office/drawing/2014/main" id="{C572D466-5528-4284-8352-5A0FC68875C8}"/>
              </a:ext>
            </a:extLst>
          </p:cNvPr>
          <p:cNvSpPr>
            <a:spLocks/>
          </p:cNvSpPr>
          <p:nvPr/>
        </p:nvSpPr>
        <p:spPr>
          <a:xfrm flipV="1">
            <a:off x="7303217" y="4501469"/>
            <a:ext cx="82552" cy="8255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srgbClr val="FFFFFF"/>
              </a:solidFill>
              <a:effectLst/>
              <a:uLnTx/>
              <a:uFillTx/>
              <a:latin typeface="Arial" panose="020F0502020204030204"/>
              <a:ea typeface="微软雅黑"/>
              <a:cs typeface="+mn-cs"/>
            </a:endParaRPr>
          </a:p>
        </p:txBody>
      </p:sp>
      <p:sp>
        <p:nvSpPr>
          <p:cNvPr id="231" name="椭圆 230">
            <a:extLst>
              <a:ext uri="{FF2B5EF4-FFF2-40B4-BE49-F238E27FC236}">
                <a16:creationId xmlns:a16="http://schemas.microsoft.com/office/drawing/2014/main" id="{0FCA196A-AFC8-470A-A7A3-35C4194EE82A}"/>
              </a:ext>
            </a:extLst>
          </p:cNvPr>
          <p:cNvSpPr>
            <a:spLocks/>
          </p:cNvSpPr>
          <p:nvPr/>
        </p:nvSpPr>
        <p:spPr>
          <a:xfrm flipV="1">
            <a:off x="7557217" y="4209369"/>
            <a:ext cx="82552" cy="8255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srgbClr val="FFFFFF"/>
              </a:solidFill>
              <a:effectLst/>
              <a:uLnTx/>
              <a:uFillTx/>
              <a:latin typeface="Arial" panose="020F0502020204030204"/>
              <a:ea typeface="微软雅黑"/>
              <a:cs typeface="+mn-cs"/>
            </a:endParaRPr>
          </a:p>
        </p:txBody>
      </p:sp>
      <p:sp>
        <p:nvSpPr>
          <p:cNvPr id="117" name="椭圆 116">
            <a:extLst>
              <a:ext uri="{FF2B5EF4-FFF2-40B4-BE49-F238E27FC236}">
                <a16:creationId xmlns:a16="http://schemas.microsoft.com/office/drawing/2014/main" id="{483EB0FC-C305-43B9-965E-BCBF880F344A}"/>
              </a:ext>
            </a:extLst>
          </p:cNvPr>
          <p:cNvSpPr>
            <a:spLocks/>
          </p:cNvSpPr>
          <p:nvPr/>
        </p:nvSpPr>
        <p:spPr>
          <a:xfrm>
            <a:off x="4089400" y="3797300"/>
            <a:ext cx="146050" cy="146050"/>
          </a:xfrm>
          <a:prstGeom prst="ellipse">
            <a:avLst/>
          </a:prstGeom>
          <a:solidFill>
            <a:schemeClr val="bg1"/>
          </a:solidFill>
          <a:ln w="1270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srgbClr val="FFFFFF"/>
              </a:solidFill>
              <a:effectLst/>
              <a:uLnTx/>
              <a:uFillTx/>
              <a:latin typeface="Arial" panose="020F0502020204030204"/>
              <a:ea typeface="微软雅黑"/>
              <a:cs typeface="+mn-cs"/>
            </a:endParaRPr>
          </a:p>
        </p:txBody>
      </p:sp>
      <p:sp>
        <p:nvSpPr>
          <p:cNvPr id="119" name="椭圆 118">
            <a:extLst>
              <a:ext uri="{FF2B5EF4-FFF2-40B4-BE49-F238E27FC236}">
                <a16:creationId xmlns:a16="http://schemas.microsoft.com/office/drawing/2014/main" id="{DAEE3977-C80F-4970-A590-ECCCE0D6DEF9}"/>
              </a:ext>
            </a:extLst>
          </p:cNvPr>
          <p:cNvSpPr>
            <a:spLocks/>
          </p:cNvSpPr>
          <p:nvPr/>
        </p:nvSpPr>
        <p:spPr>
          <a:xfrm>
            <a:off x="6591300" y="3797300"/>
            <a:ext cx="146050" cy="146050"/>
          </a:xfrm>
          <a:prstGeom prst="ellipse">
            <a:avLst/>
          </a:prstGeom>
          <a:solidFill>
            <a:schemeClr val="bg1"/>
          </a:solidFill>
          <a:ln w="1270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Arial" panose="020F0502020204030204"/>
              <a:ea typeface="微软雅黑"/>
              <a:cs typeface="+mn-cs"/>
            </a:endParaRPr>
          </a:p>
        </p:txBody>
      </p:sp>
      <p:sp>
        <p:nvSpPr>
          <p:cNvPr id="121" name="椭圆 120">
            <a:extLst>
              <a:ext uri="{FF2B5EF4-FFF2-40B4-BE49-F238E27FC236}">
                <a16:creationId xmlns:a16="http://schemas.microsoft.com/office/drawing/2014/main" id="{1353A289-1500-49EA-AABF-07A99B845CF1}"/>
              </a:ext>
            </a:extLst>
          </p:cNvPr>
          <p:cNvSpPr>
            <a:spLocks/>
          </p:cNvSpPr>
          <p:nvPr/>
        </p:nvSpPr>
        <p:spPr>
          <a:xfrm>
            <a:off x="9067800" y="3797300"/>
            <a:ext cx="146050" cy="146050"/>
          </a:xfrm>
          <a:prstGeom prst="ellipse">
            <a:avLst/>
          </a:prstGeom>
          <a:solidFill>
            <a:schemeClr val="bg1"/>
          </a:solidFill>
          <a:ln w="1270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Arial" panose="020F0502020204030204"/>
              <a:ea typeface="微软雅黑"/>
              <a:cs typeface="+mn-cs"/>
            </a:endParaRPr>
          </a:p>
        </p:txBody>
      </p:sp>
      <p:sp>
        <p:nvSpPr>
          <p:cNvPr id="120" name="椭圆 119">
            <a:extLst>
              <a:ext uri="{FF2B5EF4-FFF2-40B4-BE49-F238E27FC236}">
                <a16:creationId xmlns:a16="http://schemas.microsoft.com/office/drawing/2014/main" id="{525E6CD8-6EAA-4276-887D-7F2F1F33D8B2}"/>
              </a:ext>
            </a:extLst>
          </p:cNvPr>
          <p:cNvSpPr>
            <a:spLocks/>
          </p:cNvSpPr>
          <p:nvPr/>
        </p:nvSpPr>
        <p:spPr>
          <a:xfrm>
            <a:off x="7874000" y="3797300"/>
            <a:ext cx="146050" cy="146050"/>
          </a:xfrm>
          <a:prstGeom prst="ellipse">
            <a:avLst/>
          </a:prstGeom>
          <a:solidFill>
            <a:schemeClr val="bg1"/>
          </a:solidFill>
          <a:ln w="1270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Arial" panose="020F0502020204030204"/>
              <a:ea typeface="微软雅黑"/>
              <a:cs typeface="+mn-cs"/>
            </a:endParaRPr>
          </a:p>
        </p:txBody>
      </p:sp>
      <p:sp>
        <p:nvSpPr>
          <p:cNvPr id="118" name="椭圆 117">
            <a:extLst>
              <a:ext uri="{FF2B5EF4-FFF2-40B4-BE49-F238E27FC236}">
                <a16:creationId xmlns:a16="http://schemas.microsoft.com/office/drawing/2014/main" id="{FFFCC998-5CED-4512-9578-520666D7B5BE}"/>
              </a:ext>
            </a:extLst>
          </p:cNvPr>
          <p:cNvSpPr>
            <a:spLocks/>
          </p:cNvSpPr>
          <p:nvPr/>
        </p:nvSpPr>
        <p:spPr>
          <a:xfrm>
            <a:off x="5384800" y="3797300"/>
            <a:ext cx="146050" cy="146050"/>
          </a:xfrm>
          <a:prstGeom prst="ellipse">
            <a:avLst/>
          </a:prstGeom>
          <a:solidFill>
            <a:schemeClr val="bg1"/>
          </a:solidFill>
          <a:ln w="1270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Arial" panose="020F0502020204030204"/>
              <a:ea typeface="微软雅黑"/>
              <a:cs typeface="+mn-cs"/>
            </a:endParaRPr>
          </a:p>
        </p:txBody>
      </p:sp>
      <p:sp>
        <p:nvSpPr>
          <p:cNvPr id="116" name="椭圆 115">
            <a:extLst>
              <a:ext uri="{FF2B5EF4-FFF2-40B4-BE49-F238E27FC236}">
                <a16:creationId xmlns:a16="http://schemas.microsoft.com/office/drawing/2014/main" id="{E5A1254A-F824-4FF2-A8B3-72CFAC95CF1F}"/>
              </a:ext>
            </a:extLst>
          </p:cNvPr>
          <p:cNvSpPr>
            <a:spLocks/>
          </p:cNvSpPr>
          <p:nvPr/>
        </p:nvSpPr>
        <p:spPr>
          <a:xfrm>
            <a:off x="2908300" y="3797300"/>
            <a:ext cx="146050" cy="146050"/>
          </a:xfrm>
          <a:prstGeom prst="ellipse">
            <a:avLst/>
          </a:prstGeom>
          <a:solidFill>
            <a:schemeClr val="bg1"/>
          </a:solidFill>
          <a:ln w="1270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Arial" panose="020F0502020204030204"/>
              <a:ea typeface="微软雅黑"/>
              <a:cs typeface="+mn-cs"/>
            </a:endParaRPr>
          </a:p>
        </p:txBody>
      </p:sp>
      <p:pic>
        <p:nvPicPr>
          <p:cNvPr id="51" name="image 1046">
            <a:extLst>
              <a:ext uri="{FF2B5EF4-FFF2-40B4-BE49-F238E27FC236}">
                <a16:creationId xmlns:a16="http://schemas.microsoft.com/office/drawing/2014/main" id="{53308A2D-0750-4E54-A8E9-1BDB20B2683F}"/>
              </a:ext>
            </a:extLst>
          </p:cNvPr>
          <p:cNvPicPr>
            <a:picLocks/>
          </p:cNvPicPr>
          <p:nvPr/>
        </p:nvPicPr>
        <p:blipFill>
          <a:blip r:embed="rId4"/>
          <a:srcRect/>
          <a:stretch>
            <a:fillRect/>
          </a:stretch>
        </p:blipFill>
        <p:spPr>
          <a:xfrm>
            <a:off x="7416800" y="1168400"/>
            <a:ext cx="444498" cy="444499"/>
          </a:xfrm>
          <a:prstGeom prst="rect">
            <a:avLst/>
          </a:prstGeom>
        </p:spPr>
      </p:pic>
    </p:spTree>
    <p:extLst>
      <p:ext uri="{BB962C8B-B14F-4D97-AF65-F5344CB8AC3E}">
        <p14:creationId xmlns:p14="http://schemas.microsoft.com/office/powerpoint/2010/main" val="2362669282"/>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6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任意多边形: 形状 29">
            <a:extLst>
              <a:ext uri="{FF2B5EF4-FFF2-40B4-BE49-F238E27FC236}">
                <a16:creationId xmlns:a16="http://schemas.microsoft.com/office/drawing/2014/main" id="{A914A00E-44B1-4457-96F9-121EF1CA3236}"/>
              </a:ext>
            </a:extLst>
          </p:cNvPr>
          <p:cNvSpPr/>
          <p:nvPr/>
        </p:nvSpPr>
        <p:spPr>
          <a:xfrm>
            <a:off x="2278783" y="2347619"/>
            <a:ext cx="7084032" cy="1328014"/>
          </a:xfrm>
          <a:custGeom>
            <a:avLst/>
            <a:gdLst>
              <a:gd name="connsiteX0" fmla="*/ 0 w 5316569"/>
              <a:gd name="connsiteY0" fmla="*/ 0 h 1000125"/>
              <a:gd name="connsiteX1" fmla="*/ 1697069 w 5316569"/>
              <a:gd name="connsiteY1" fmla="*/ 0 h 1000125"/>
              <a:gd name="connsiteX2" fmla="*/ 2274856 w 5316569"/>
              <a:gd name="connsiteY2" fmla="*/ 1000125 h 1000125"/>
              <a:gd name="connsiteX3" fmla="*/ 5316569 w 5316569"/>
              <a:gd name="connsiteY3" fmla="*/ 1000125 h 1000125"/>
            </a:gdLst>
            <a:ahLst/>
            <a:cxnLst>
              <a:cxn ang="0">
                <a:pos x="connsiteX0" y="connsiteY0"/>
              </a:cxn>
              <a:cxn ang="0">
                <a:pos x="connsiteX1" y="connsiteY1"/>
              </a:cxn>
              <a:cxn ang="0">
                <a:pos x="connsiteX2" y="connsiteY2"/>
              </a:cxn>
              <a:cxn ang="0">
                <a:pos x="connsiteX3" y="connsiteY3"/>
              </a:cxn>
            </a:cxnLst>
            <a:rect l="l" t="t" r="r" b="b"/>
            <a:pathLst>
              <a:path w="5316569" h="1000125">
                <a:moveTo>
                  <a:pt x="0" y="0"/>
                </a:moveTo>
                <a:lnTo>
                  <a:pt x="1697069" y="0"/>
                </a:lnTo>
                <a:lnTo>
                  <a:pt x="2274856" y="1000125"/>
                </a:lnTo>
                <a:lnTo>
                  <a:pt x="5316569" y="1000125"/>
                </a:lnTo>
              </a:path>
            </a:pathLst>
          </a:custGeom>
          <a:solidFill>
            <a:schemeClr val="bg1"/>
          </a:solidFill>
          <a:ln w="25400" cap="flat">
            <a:gradFill flip="none" rotWithShape="1">
              <a:gsLst>
                <a:gs pos="40000">
                  <a:schemeClr val="accent1"/>
                </a:gs>
                <a:gs pos="100000">
                  <a:schemeClr val="accent1">
                    <a:alpha val="0"/>
                  </a:schemeClr>
                </a:gs>
              </a:gsLst>
              <a:lin ang="10800000" scaled="1"/>
              <a:tileRect/>
            </a:gra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panose="020F0502020204030204"/>
              <a:ea typeface="微软雅黑"/>
              <a:cs typeface="+mn-cs"/>
            </a:endParaRPr>
          </a:p>
        </p:txBody>
      </p:sp>
      <p:sp>
        <p:nvSpPr>
          <p:cNvPr id="31" name="任意多边形: 形状 30">
            <a:extLst>
              <a:ext uri="{FF2B5EF4-FFF2-40B4-BE49-F238E27FC236}">
                <a16:creationId xmlns:a16="http://schemas.microsoft.com/office/drawing/2014/main" id="{20A8CBD0-F614-47F5-874D-4EAC792931EA}"/>
              </a:ext>
            </a:extLst>
          </p:cNvPr>
          <p:cNvSpPr/>
          <p:nvPr/>
        </p:nvSpPr>
        <p:spPr>
          <a:xfrm>
            <a:off x="3930839" y="1892300"/>
            <a:ext cx="5608006" cy="1725660"/>
          </a:xfrm>
          <a:custGeom>
            <a:avLst/>
            <a:gdLst>
              <a:gd name="connsiteX0" fmla="*/ 0 w 4208811"/>
              <a:gd name="connsiteY0" fmla="*/ 0 h 1299591"/>
              <a:gd name="connsiteX1" fmla="*/ 2044636 w 4208811"/>
              <a:gd name="connsiteY1" fmla="*/ 0 h 1299591"/>
              <a:gd name="connsiteX2" fmla="*/ 2787587 w 4208811"/>
              <a:gd name="connsiteY2" fmla="*/ 1299591 h 1299591"/>
              <a:gd name="connsiteX3" fmla="*/ 4208812 w 4208811"/>
              <a:gd name="connsiteY3" fmla="*/ 1299591 h 1299591"/>
            </a:gdLst>
            <a:ahLst/>
            <a:cxnLst>
              <a:cxn ang="0">
                <a:pos x="connsiteX0" y="connsiteY0"/>
              </a:cxn>
              <a:cxn ang="0">
                <a:pos x="connsiteX1" y="connsiteY1"/>
              </a:cxn>
              <a:cxn ang="0">
                <a:pos x="connsiteX2" y="connsiteY2"/>
              </a:cxn>
              <a:cxn ang="0">
                <a:pos x="connsiteX3" y="connsiteY3"/>
              </a:cxn>
            </a:cxnLst>
            <a:rect l="l" t="t" r="r" b="b"/>
            <a:pathLst>
              <a:path w="4208811" h="1299591">
                <a:moveTo>
                  <a:pt x="0" y="0"/>
                </a:moveTo>
                <a:lnTo>
                  <a:pt x="2044636" y="0"/>
                </a:lnTo>
                <a:lnTo>
                  <a:pt x="2787587" y="1299591"/>
                </a:lnTo>
                <a:lnTo>
                  <a:pt x="4208812" y="1299591"/>
                </a:lnTo>
              </a:path>
            </a:pathLst>
          </a:custGeom>
          <a:solidFill>
            <a:schemeClr val="bg1"/>
          </a:solidFill>
          <a:ln w="25400" cap="flat">
            <a:gradFill flip="none" rotWithShape="1">
              <a:gsLst>
                <a:gs pos="0">
                  <a:schemeClr val="accent1"/>
                </a:gs>
                <a:gs pos="100000">
                  <a:schemeClr val="accent1">
                    <a:alpha val="0"/>
                  </a:schemeClr>
                </a:gs>
              </a:gsLst>
              <a:lin ang="10800000" scaled="1"/>
              <a:tileRect/>
            </a:gra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panose="020F0502020204030204"/>
              <a:ea typeface="微软雅黑"/>
              <a:cs typeface="+mn-cs"/>
            </a:endParaRPr>
          </a:p>
        </p:txBody>
      </p:sp>
      <p:sp>
        <p:nvSpPr>
          <p:cNvPr id="32" name="任意多边形: 形状 31">
            <a:extLst>
              <a:ext uri="{FF2B5EF4-FFF2-40B4-BE49-F238E27FC236}">
                <a16:creationId xmlns:a16="http://schemas.microsoft.com/office/drawing/2014/main" id="{B2D06A60-5A11-48A5-98E6-9E6357DE472D}"/>
              </a:ext>
            </a:extLst>
          </p:cNvPr>
          <p:cNvSpPr/>
          <p:nvPr/>
        </p:nvSpPr>
        <p:spPr>
          <a:xfrm>
            <a:off x="2278783" y="3798316"/>
            <a:ext cx="7084032" cy="1328014"/>
          </a:xfrm>
          <a:custGeom>
            <a:avLst/>
            <a:gdLst>
              <a:gd name="connsiteX0" fmla="*/ 0 w 5316569"/>
              <a:gd name="connsiteY0" fmla="*/ 1000125 h 1000125"/>
              <a:gd name="connsiteX1" fmla="*/ 1697069 w 5316569"/>
              <a:gd name="connsiteY1" fmla="*/ 1000125 h 1000125"/>
              <a:gd name="connsiteX2" fmla="*/ 2274856 w 5316569"/>
              <a:gd name="connsiteY2" fmla="*/ 0 h 1000125"/>
              <a:gd name="connsiteX3" fmla="*/ 5316569 w 5316569"/>
              <a:gd name="connsiteY3" fmla="*/ 0 h 1000125"/>
            </a:gdLst>
            <a:ahLst/>
            <a:cxnLst>
              <a:cxn ang="0">
                <a:pos x="connsiteX0" y="connsiteY0"/>
              </a:cxn>
              <a:cxn ang="0">
                <a:pos x="connsiteX1" y="connsiteY1"/>
              </a:cxn>
              <a:cxn ang="0">
                <a:pos x="connsiteX2" y="connsiteY2"/>
              </a:cxn>
              <a:cxn ang="0">
                <a:pos x="connsiteX3" y="connsiteY3"/>
              </a:cxn>
            </a:cxnLst>
            <a:rect l="l" t="t" r="r" b="b"/>
            <a:pathLst>
              <a:path w="5316569" h="1000125">
                <a:moveTo>
                  <a:pt x="0" y="1000125"/>
                </a:moveTo>
                <a:lnTo>
                  <a:pt x="1697069" y="1000125"/>
                </a:lnTo>
                <a:lnTo>
                  <a:pt x="2274856" y="0"/>
                </a:lnTo>
                <a:lnTo>
                  <a:pt x="5316569" y="0"/>
                </a:lnTo>
              </a:path>
            </a:pathLst>
          </a:custGeom>
          <a:solidFill>
            <a:schemeClr val="bg1"/>
          </a:solidFill>
          <a:ln w="25400" cap="flat">
            <a:gradFill flip="none" rotWithShape="1">
              <a:gsLst>
                <a:gs pos="40000">
                  <a:schemeClr val="accent1"/>
                </a:gs>
                <a:gs pos="100000">
                  <a:schemeClr val="accent1">
                    <a:alpha val="0"/>
                  </a:schemeClr>
                </a:gs>
              </a:gsLst>
              <a:lin ang="10800000" scaled="1"/>
              <a:tileRect/>
            </a:gra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panose="020F0502020204030204"/>
              <a:ea typeface="微软雅黑"/>
              <a:cs typeface="+mn-cs"/>
            </a:endParaRPr>
          </a:p>
        </p:txBody>
      </p:sp>
      <p:sp>
        <p:nvSpPr>
          <p:cNvPr id="33" name="任意多边形: 形状 32">
            <a:extLst>
              <a:ext uri="{FF2B5EF4-FFF2-40B4-BE49-F238E27FC236}">
                <a16:creationId xmlns:a16="http://schemas.microsoft.com/office/drawing/2014/main" id="{D4CBD3E4-8223-43DB-8D8B-142E3F57A6D4}"/>
              </a:ext>
            </a:extLst>
          </p:cNvPr>
          <p:cNvSpPr/>
          <p:nvPr/>
        </p:nvSpPr>
        <p:spPr>
          <a:xfrm>
            <a:off x="3930839" y="3855990"/>
            <a:ext cx="5608006" cy="1725660"/>
          </a:xfrm>
          <a:custGeom>
            <a:avLst/>
            <a:gdLst>
              <a:gd name="connsiteX0" fmla="*/ 0 w 4208811"/>
              <a:gd name="connsiteY0" fmla="*/ 1299591 h 1299591"/>
              <a:gd name="connsiteX1" fmla="*/ 2044636 w 4208811"/>
              <a:gd name="connsiteY1" fmla="*/ 1299591 h 1299591"/>
              <a:gd name="connsiteX2" fmla="*/ 2787587 w 4208811"/>
              <a:gd name="connsiteY2" fmla="*/ 0 h 1299591"/>
              <a:gd name="connsiteX3" fmla="*/ 4208812 w 4208811"/>
              <a:gd name="connsiteY3" fmla="*/ 0 h 1299591"/>
            </a:gdLst>
            <a:ahLst/>
            <a:cxnLst>
              <a:cxn ang="0">
                <a:pos x="connsiteX0" y="connsiteY0"/>
              </a:cxn>
              <a:cxn ang="0">
                <a:pos x="connsiteX1" y="connsiteY1"/>
              </a:cxn>
              <a:cxn ang="0">
                <a:pos x="connsiteX2" y="connsiteY2"/>
              </a:cxn>
              <a:cxn ang="0">
                <a:pos x="connsiteX3" y="connsiteY3"/>
              </a:cxn>
            </a:cxnLst>
            <a:rect l="l" t="t" r="r" b="b"/>
            <a:pathLst>
              <a:path w="4208811" h="1299591">
                <a:moveTo>
                  <a:pt x="0" y="1299591"/>
                </a:moveTo>
                <a:lnTo>
                  <a:pt x="2044636" y="1299591"/>
                </a:lnTo>
                <a:lnTo>
                  <a:pt x="2787587" y="0"/>
                </a:lnTo>
                <a:lnTo>
                  <a:pt x="4208812" y="0"/>
                </a:lnTo>
              </a:path>
            </a:pathLst>
          </a:custGeom>
          <a:solidFill>
            <a:schemeClr val="bg1"/>
          </a:solidFill>
          <a:ln w="25400" cap="flat">
            <a:gradFill flip="none" rotWithShape="1">
              <a:gsLst>
                <a:gs pos="0">
                  <a:schemeClr val="accent1"/>
                </a:gs>
                <a:gs pos="100000">
                  <a:schemeClr val="accent1">
                    <a:alpha val="0"/>
                  </a:schemeClr>
                </a:gs>
              </a:gsLst>
              <a:lin ang="10800000" scaled="1"/>
              <a:tileRect/>
            </a:gra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panose="020F0502020204030204"/>
              <a:ea typeface="微软雅黑"/>
              <a:cs typeface="+mn-cs"/>
            </a:endParaRPr>
          </a:p>
        </p:txBody>
      </p:sp>
      <p:sp>
        <p:nvSpPr>
          <p:cNvPr id="34" name="任意多边形: 形状 33">
            <a:extLst>
              <a:ext uri="{FF2B5EF4-FFF2-40B4-BE49-F238E27FC236}">
                <a16:creationId xmlns:a16="http://schemas.microsoft.com/office/drawing/2014/main" id="{E283D420-9979-4110-8857-B76739A0289E}"/>
              </a:ext>
            </a:extLst>
          </p:cNvPr>
          <p:cNvSpPr/>
          <p:nvPr/>
        </p:nvSpPr>
        <p:spPr>
          <a:xfrm>
            <a:off x="2298582" y="3737861"/>
            <a:ext cx="7234174" cy="12648"/>
          </a:xfrm>
          <a:custGeom>
            <a:avLst/>
            <a:gdLst>
              <a:gd name="connsiteX0" fmla="*/ 0 w 5429250"/>
              <a:gd name="connsiteY0" fmla="*/ 0 h 9525"/>
              <a:gd name="connsiteX1" fmla="*/ 5429250 w 5429250"/>
              <a:gd name="connsiteY1" fmla="*/ 0 h 9525"/>
            </a:gdLst>
            <a:ahLst/>
            <a:cxnLst>
              <a:cxn ang="0">
                <a:pos x="connsiteX0" y="connsiteY0"/>
              </a:cxn>
              <a:cxn ang="0">
                <a:pos x="connsiteX1" y="connsiteY1"/>
              </a:cxn>
            </a:cxnLst>
            <a:rect l="l" t="t" r="r" b="b"/>
            <a:pathLst>
              <a:path w="5429250" h="9525">
                <a:moveTo>
                  <a:pt x="0" y="0"/>
                </a:moveTo>
                <a:lnTo>
                  <a:pt x="5429250" y="0"/>
                </a:lnTo>
              </a:path>
            </a:pathLst>
          </a:custGeom>
          <a:solidFill>
            <a:schemeClr val="bg1"/>
          </a:solidFill>
          <a:ln w="25400" cap="rnd">
            <a:solidFill>
              <a:schemeClr val="accent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panose="020F0502020204030204"/>
              <a:ea typeface="微软雅黑"/>
              <a:cs typeface="+mn-cs"/>
            </a:endParaRPr>
          </a:p>
        </p:txBody>
      </p:sp>
      <p:sp>
        <p:nvSpPr>
          <p:cNvPr id="35" name="任意多边形: 形状 34">
            <a:extLst>
              <a:ext uri="{FF2B5EF4-FFF2-40B4-BE49-F238E27FC236}">
                <a16:creationId xmlns:a16="http://schemas.microsoft.com/office/drawing/2014/main" id="{FE93D17E-171A-401F-A7BA-7F196EDFF8F6}"/>
              </a:ext>
            </a:extLst>
          </p:cNvPr>
          <p:cNvSpPr/>
          <p:nvPr/>
        </p:nvSpPr>
        <p:spPr>
          <a:xfrm>
            <a:off x="9031765" y="2370187"/>
            <a:ext cx="2055449" cy="2735304"/>
          </a:xfrm>
          <a:custGeom>
            <a:avLst/>
            <a:gdLst>
              <a:gd name="connsiteX0" fmla="*/ 132787 w 1542615"/>
              <a:gd name="connsiteY0" fmla="*/ 1687899 h 2059952"/>
              <a:gd name="connsiteX1" fmla="*/ 316332 w 1542615"/>
              <a:gd name="connsiteY1" fmla="*/ 2035086 h 2059952"/>
              <a:gd name="connsiteX2" fmla="*/ 393104 w 1542615"/>
              <a:gd name="connsiteY2" fmla="*/ 2050516 h 2059952"/>
              <a:gd name="connsiteX3" fmla="*/ 1115386 w 1542615"/>
              <a:gd name="connsiteY3" fmla="*/ 1514830 h 2059952"/>
              <a:gd name="connsiteX4" fmla="*/ 1510673 w 1542615"/>
              <a:gd name="connsiteY4" fmla="*/ 1118018 h 2059952"/>
              <a:gd name="connsiteX5" fmla="*/ 1510673 w 1542615"/>
              <a:gd name="connsiteY5" fmla="*/ 940282 h 2059952"/>
              <a:gd name="connsiteX6" fmla="*/ 1115386 w 1542615"/>
              <a:gd name="connsiteY6" fmla="*/ 543470 h 2059952"/>
              <a:gd name="connsiteX7" fmla="*/ 393104 w 1542615"/>
              <a:gd name="connsiteY7" fmla="*/ 7784 h 2059952"/>
              <a:gd name="connsiteX8" fmla="*/ 316332 w 1542615"/>
              <a:gd name="connsiteY8" fmla="*/ 23215 h 2059952"/>
              <a:gd name="connsiteX9" fmla="*/ 132787 w 1542615"/>
              <a:gd name="connsiteY9" fmla="*/ 370401 h 2059952"/>
              <a:gd name="connsiteX10" fmla="*/ -1231 w 1542615"/>
              <a:gd name="connsiteY10" fmla="*/ 1028674 h 2059952"/>
              <a:gd name="connsiteX11" fmla="*/ -1231 w 1542615"/>
              <a:gd name="connsiteY11" fmla="*/ 1031150 h 2059952"/>
              <a:gd name="connsiteX12" fmla="*/ 132787 w 1542615"/>
              <a:gd name="connsiteY12" fmla="*/ 1687899 h 20599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42615" h="2059952">
                <a:moveTo>
                  <a:pt x="132787" y="1687899"/>
                </a:moveTo>
                <a:cubicBezTo>
                  <a:pt x="220225" y="1886019"/>
                  <a:pt x="281567" y="1986508"/>
                  <a:pt x="316332" y="2035086"/>
                </a:cubicBezTo>
                <a:cubicBezTo>
                  <a:pt x="333859" y="2059660"/>
                  <a:pt x="367483" y="2066423"/>
                  <a:pt x="393104" y="2050516"/>
                </a:cubicBezTo>
                <a:cubicBezTo>
                  <a:pt x="648184" y="1892115"/>
                  <a:pt x="889737" y="1712950"/>
                  <a:pt x="1115386" y="1514830"/>
                </a:cubicBezTo>
                <a:cubicBezTo>
                  <a:pt x="1336651" y="1320711"/>
                  <a:pt x="1451712" y="1193362"/>
                  <a:pt x="1510673" y="1118018"/>
                </a:cubicBezTo>
                <a:cubicBezTo>
                  <a:pt x="1551441" y="1065793"/>
                  <a:pt x="1551441" y="992507"/>
                  <a:pt x="1510673" y="940282"/>
                </a:cubicBezTo>
                <a:cubicBezTo>
                  <a:pt x="1451712" y="864939"/>
                  <a:pt x="1336651" y="737590"/>
                  <a:pt x="1115386" y="543470"/>
                </a:cubicBezTo>
                <a:cubicBezTo>
                  <a:pt x="889737" y="345341"/>
                  <a:pt x="648184" y="166166"/>
                  <a:pt x="393104" y="7784"/>
                </a:cubicBezTo>
                <a:cubicBezTo>
                  <a:pt x="367483" y="-8170"/>
                  <a:pt x="333859" y="-1407"/>
                  <a:pt x="316332" y="23215"/>
                </a:cubicBezTo>
                <a:cubicBezTo>
                  <a:pt x="281567" y="71793"/>
                  <a:pt x="220225" y="172281"/>
                  <a:pt x="132787" y="370401"/>
                </a:cubicBezTo>
                <a:cubicBezTo>
                  <a:pt x="-6564" y="685774"/>
                  <a:pt x="-1706" y="1006195"/>
                  <a:pt x="-1231" y="1028674"/>
                </a:cubicBezTo>
                <a:lnTo>
                  <a:pt x="-1231" y="1031150"/>
                </a:lnTo>
                <a:cubicBezTo>
                  <a:pt x="-1706" y="1053534"/>
                  <a:pt x="-6946" y="1372526"/>
                  <a:pt x="132787" y="1687899"/>
                </a:cubicBezTo>
                <a:close/>
              </a:path>
            </a:pathLst>
          </a:custGeom>
          <a:gradFill>
            <a:gsLst>
              <a:gs pos="0">
                <a:schemeClr val="accent1"/>
              </a:gs>
              <a:gs pos="100000">
                <a:schemeClr val="accent1">
                  <a:lumMod val="60000"/>
                  <a:lumOff val="40000"/>
                </a:schemeClr>
              </a:gs>
            </a:gsLst>
            <a:lin ang="10800000" scaled="1"/>
          </a:gra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panose="020F0502020204030204"/>
              <a:ea typeface="微软雅黑"/>
              <a:cs typeface="+mn-cs"/>
            </a:endParaRPr>
          </a:p>
        </p:txBody>
      </p:sp>
      <p:sp>
        <p:nvSpPr>
          <p:cNvPr id="36" name="任意多边形: 形状 35">
            <a:extLst>
              <a:ext uri="{FF2B5EF4-FFF2-40B4-BE49-F238E27FC236}">
                <a16:creationId xmlns:a16="http://schemas.microsoft.com/office/drawing/2014/main" id="{7DBA2BDB-3404-49B0-88B0-F86FB3AB58F5}"/>
              </a:ext>
            </a:extLst>
          </p:cNvPr>
          <p:cNvSpPr/>
          <p:nvPr/>
        </p:nvSpPr>
        <p:spPr>
          <a:xfrm>
            <a:off x="983700" y="2511354"/>
            <a:ext cx="1320427" cy="1229108"/>
          </a:xfrm>
          <a:custGeom>
            <a:avLst/>
            <a:gdLst>
              <a:gd name="connsiteX0" fmla="*/ -1367 w 990981"/>
              <a:gd name="connsiteY0" fmla="*/ -842 h 925639"/>
              <a:gd name="connsiteX1" fmla="*/ 298194 w 990981"/>
              <a:gd name="connsiteY1" fmla="*/ 558371 h 925639"/>
              <a:gd name="connsiteX2" fmla="*/ 662716 w 990981"/>
              <a:gd name="connsiteY2" fmla="*/ 842787 h 925639"/>
              <a:gd name="connsiteX3" fmla="*/ 989614 w 990981"/>
              <a:gd name="connsiteY3" fmla="*/ 924797 h 925639"/>
              <a:gd name="connsiteX4" fmla="*/ 692434 w 990981"/>
              <a:gd name="connsiteY4" fmla="*/ 361394 h 925639"/>
              <a:gd name="connsiteX5" fmla="*/ 314196 w 990981"/>
              <a:gd name="connsiteY5" fmla="*/ 70786 h 9256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90981" h="925639">
                <a:moveTo>
                  <a:pt x="-1367" y="-842"/>
                </a:moveTo>
                <a:lnTo>
                  <a:pt x="298194" y="558371"/>
                </a:lnTo>
                <a:cubicBezTo>
                  <a:pt x="374204" y="700293"/>
                  <a:pt x="506601" y="803563"/>
                  <a:pt x="662716" y="842787"/>
                </a:cubicBezTo>
                <a:lnTo>
                  <a:pt x="989614" y="924797"/>
                </a:lnTo>
                <a:lnTo>
                  <a:pt x="692434" y="361394"/>
                </a:lnTo>
                <a:cubicBezTo>
                  <a:pt x="614710" y="214023"/>
                  <a:pt x="476598" y="107895"/>
                  <a:pt x="314196" y="70786"/>
                </a:cubicBezTo>
                <a:close/>
              </a:path>
            </a:pathLst>
          </a:custGeom>
          <a:gradFill>
            <a:gsLst>
              <a:gs pos="0">
                <a:schemeClr val="accent1"/>
              </a:gs>
              <a:gs pos="100000">
                <a:schemeClr val="accent1">
                  <a:lumMod val="60000"/>
                  <a:lumOff val="40000"/>
                </a:schemeClr>
              </a:gs>
            </a:gsLst>
            <a:lin ang="10800000" scaled="1"/>
          </a:gra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panose="020F0502020204030204"/>
              <a:ea typeface="微软雅黑"/>
              <a:cs typeface="+mn-cs"/>
            </a:endParaRPr>
          </a:p>
        </p:txBody>
      </p:sp>
      <p:sp>
        <p:nvSpPr>
          <p:cNvPr id="37" name="任意多边形: 形状 36">
            <a:extLst>
              <a:ext uri="{FF2B5EF4-FFF2-40B4-BE49-F238E27FC236}">
                <a16:creationId xmlns:a16="http://schemas.microsoft.com/office/drawing/2014/main" id="{2423C456-8A76-47D0-9344-157BD134AC01}"/>
              </a:ext>
            </a:extLst>
          </p:cNvPr>
          <p:cNvSpPr/>
          <p:nvPr/>
        </p:nvSpPr>
        <p:spPr>
          <a:xfrm>
            <a:off x="983700" y="3740464"/>
            <a:ext cx="1320427" cy="1229108"/>
          </a:xfrm>
          <a:custGeom>
            <a:avLst/>
            <a:gdLst>
              <a:gd name="connsiteX0" fmla="*/ -1367 w 990981"/>
              <a:gd name="connsiteY0" fmla="*/ 924797 h 925639"/>
              <a:gd name="connsiteX1" fmla="*/ 298194 w 990981"/>
              <a:gd name="connsiteY1" fmla="*/ 365585 h 925639"/>
              <a:gd name="connsiteX2" fmla="*/ 662716 w 990981"/>
              <a:gd name="connsiteY2" fmla="*/ 81168 h 925639"/>
              <a:gd name="connsiteX3" fmla="*/ 989614 w 990981"/>
              <a:gd name="connsiteY3" fmla="*/ -842 h 925639"/>
              <a:gd name="connsiteX4" fmla="*/ 692434 w 990981"/>
              <a:gd name="connsiteY4" fmla="*/ 562467 h 925639"/>
              <a:gd name="connsiteX5" fmla="*/ 314006 w 990981"/>
              <a:gd name="connsiteY5" fmla="*/ 852980 h 9256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90981" h="925639">
                <a:moveTo>
                  <a:pt x="-1367" y="924797"/>
                </a:moveTo>
                <a:lnTo>
                  <a:pt x="298194" y="365585"/>
                </a:lnTo>
                <a:cubicBezTo>
                  <a:pt x="374204" y="223662"/>
                  <a:pt x="506601" y="120411"/>
                  <a:pt x="662716" y="81168"/>
                </a:cubicBezTo>
                <a:lnTo>
                  <a:pt x="989614" y="-842"/>
                </a:lnTo>
                <a:lnTo>
                  <a:pt x="692434" y="562467"/>
                </a:lnTo>
                <a:cubicBezTo>
                  <a:pt x="614710" y="709818"/>
                  <a:pt x="476503" y="815927"/>
                  <a:pt x="314006" y="852980"/>
                </a:cubicBezTo>
                <a:close/>
              </a:path>
            </a:pathLst>
          </a:custGeom>
          <a:gradFill>
            <a:gsLst>
              <a:gs pos="0">
                <a:schemeClr val="accent1"/>
              </a:gs>
              <a:gs pos="100000">
                <a:schemeClr val="accent1">
                  <a:lumMod val="60000"/>
                  <a:lumOff val="40000"/>
                </a:schemeClr>
              </a:gs>
            </a:gsLst>
            <a:lin ang="10800000" scaled="1"/>
          </a:gra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panose="020F0502020204030204"/>
              <a:ea typeface="微软雅黑"/>
              <a:cs typeface="+mn-cs"/>
            </a:endParaRPr>
          </a:p>
        </p:txBody>
      </p:sp>
      <p:sp>
        <p:nvSpPr>
          <p:cNvPr id="38" name="任意多边形: 形状 37">
            <a:extLst>
              <a:ext uri="{FF2B5EF4-FFF2-40B4-BE49-F238E27FC236}">
                <a16:creationId xmlns:a16="http://schemas.microsoft.com/office/drawing/2014/main" id="{AF0E8293-9FE4-40DD-855B-011D9319E0FC}"/>
              </a:ext>
            </a:extLst>
          </p:cNvPr>
          <p:cNvSpPr/>
          <p:nvPr/>
        </p:nvSpPr>
        <p:spPr>
          <a:xfrm>
            <a:off x="9644060" y="3366017"/>
            <a:ext cx="354855" cy="353630"/>
          </a:xfrm>
          <a:custGeom>
            <a:avLst/>
            <a:gdLst>
              <a:gd name="connsiteX0" fmla="*/ 266319 w 266319"/>
              <a:gd name="connsiteY0" fmla="*/ 133160 h 266318"/>
              <a:gd name="connsiteX1" fmla="*/ 133160 w 266319"/>
              <a:gd name="connsiteY1" fmla="*/ 266319 h 266318"/>
              <a:gd name="connsiteX2" fmla="*/ 0 w 266319"/>
              <a:gd name="connsiteY2" fmla="*/ 133160 h 266318"/>
              <a:gd name="connsiteX3" fmla="*/ 133160 w 266319"/>
              <a:gd name="connsiteY3" fmla="*/ 0 h 266318"/>
              <a:gd name="connsiteX4" fmla="*/ 266319 w 266319"/>
              <a:gd name="connsiteY4" fmla="*/ 133160 h 2663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319" h="266318">
                <a:moveTo>
                  <a:pt x="266319" y="133160"/>
                </a:moveTo>
                <a:cubicBezTo>
                  <a:pt x="266319" y="206702"/>
                  <a:pt x="206702" y="266319"/>
                  <a:pt x="133160" y="266319"/>
                </a:cubicBezTo>
                <a:cubicBezTo>
                  <a:pt x="59617" y="266319"/>
                  <a:pt x="0" y="206701"/>
                  <a:pt x="0" y="133160"/>
                </a:cubicBezTo>
                <a:cubicBezTo>
                  <a:pt x="0" y="59618"/>
                  <a:pt x="59617" y="0"/>
                  <a:pt x="133160" y="0"/>
                </a:cubicBezTo>
                <a:cubicBezTo>
                  <a:pt x="206702" y="0"/>
                  <a:pt x="266319" y="59617"/>
                  <a:pt x="266319" y="133160"/>
                </a:cubicBezTo>
                <a:close/>
              </a:path>
            </a:pathLst>
          </a:custGeom>
          <a:solidFill>
            <a:schemeClr val="bg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panose="020F0502020204030204"/>
              <a:ea typeface="微软雅黑"/>
              <a:cs typeface="+mn-cs"/>
            </a:endParaRPr>
          </a:p>
        </p:txBody>
      </p:sp>
      <p:sp>
        <p:nvSpPr>
          <p:cNvPr id="4" name="Object 1010">
            <a:extLst>
              <a:ext uri="{FF2B5EF4-FFF2-40B4-BE49-F238E27FC236}">
                <a16:creationId xmlns:a16="http://schemas.microsoft.com/office/drawing/2014/main" id="{720CE8E2-88AE-4532-B098-DC1034A92396}"/>
              </a:ext>
            </a:extLst>
          </p:cNvPr>
          <p:cNvSpPr txBox="1"/>
          <p:nvPr/>
        </p:nvSpPr>
        <p:spPr>
          <a:xfrm>
            <a:off x="2311400" y="2460523"/>
            <a:ext cx="2179765" cy="419430"/>
          </a:xfrm>
          <a:prstGeom prst="rect">
            <a:avLst/>
          </a:prstGeom>
        </p:spPr>
        <p:txBody>
          <a:bodyPr vert="horz" lIns="0" tIns="0" rIns="0" bIns="0" rtlCol="0" anchor="t" anchorCtr="0">
            <a:noAutofit/>
          </a:bodyPr>
          <a:lstStyle/>
          <a:p>
            <a:pPr marL="0" marR="0" lvl="0" indent="0" algn="r" defTabSz="914400" rtl="0" eaLnBrk="1" fontAlgn="auto" latinLnBrk="0" hangingPunct="1">
              <a:lnSpc>
                <a:spcPct val="145000"/>
              </a:lnSpc>
              <a:spcBef>
                <a:spcPts val="0"/>
              </a:spcBef>
              <a:spcAft>
                <a:spcPts val="0"/>
              </a:spcAft>
              <a:buClrTx/>
              <a:buSzTx/>
              <a:buFontTx/>
              <a:buNone/>
              <a:tabLst/>
              <a:defRPr/>
            </a:pPr>
            <a:r>
              <a:rPr kumimoji="0" lang="zh-CN" altLang="en-US" sz="1800" b="0" i="0" u="none" strike="noStrike" kern="1200" cap="none" spc="38" normalizeH="0" baseline="0" noProof="0" dirty="0">
                <a:ln>
                  <a:noFill/>
                </a:ln>
                <a:solidFill>
                  <a:srgbClr val="313131"/>
                </a:solidFill>
                <a:effectLst/>
                <a:uLnTx/>
                <a:uFillTx/>
                <a:latin typeface="OPPOSans B" panose="00020600040101010101" pitchFamily="18" charset="-122"/>
                <a:ea typeface="OPPOSans B" panose="00020600040101010101" pitchFamily="18" charset="-122"/>
                <a:cs typeface="OPPOSans B" panose="00020600040101010101" pitchFamily="18" charset="-122"/>
              </a:rPr>
              <a:t>培训计划制定</a:t>
            </a:r>
            <a:endParaRPr kumimoji="0" lang="zh-CN" altLang="en-US" sz="1000" b="0" i="0" u="none" strike="noStrike" kern="1200" cap="none" spc="0" normalizeH="0" baseline="0" noProof="0" dirty="0">
              <a:ln>
                <a:noFill/>
              </a:ln>
              <a:solidFill>
                <a:srgbClr val="000000"/>
              </a:solidFill>
              <a:effectLst/>
              <a:uLnTx/>
              <a:uFillTx/>
              <a:latin typeface="OPPOSans B" panose="00020600040101010101" pitchFamily="18" charset="-122"/>
              <a:ea typeface="OPPOSans B" panose="00020600040101010101" pitchFamily="18" charset="-122"/>
              <a:cs typeface="OPPOSans B" panose="00020600040101010101" pitchFamily="18" charset="-122"/>
            </a:endParaRPr>
          </a:p>
        </p:txBody>
      </p:sp>
      <p:sp>
        <p:nvSpPr>
          <p:cNvPr id="5" name="Object 1011">
            <a:extLst>
              <a:ext uri="{FF2B5EF4-FFF2-40B4-BE49-F238E27FC236}">
                <a16:creationId xmlns:a16="http://schemas.microsoft.com/office/drawing/2014/main" id="{01C73F52-868E-4362-8E28-367D5FDAD0AD}"/>
              </a:ext>
            </a:extLst>
          </p:cNvPr>
          <p:cNvSpPr txBox="1"/>
          <p:nvPr/>
        </p:nvSpPr>
        <p:spPr>
          <a:xfrm>
            <a:off x="2444750" y="2879953"/>
            <a:ext cx="2046310" cy="762600"/>
          </a:xfrm>
          <a:prstGeom prst="rect">
            <a:avLst/>
          </a:prstGeom>
        </p:spPr>
        <p:txBody>
          <a:bodyPr vert="horz" lIns="0" tIns="0" rIns="0" bIns="0" rtlCol="0" anchor="t" anchorCtr="0">
            <a:noAutofit/>
          </a:bodyPr>
          <a:lstStyle/>
          <a:p>
            <a:pPr marL="0" marR="0" lvl="0" indent="0" algn="r" defTabSz="914400" rtl="0" eaLnBrk="1" fontAlgn="auto" latinLnBrk="0" hangingPunct="1">
              <a:lnSpc>
                <a:spcPct val="119166"/>
              </a:lnSpc>
              <a:spcBef>
                <a:spcPts val="0"/>
              </a:spcBef>
              <a:spcAft>
                <a:spcPts val="0"/>
              </a:spcAft>
              <a:buClrTx/>
              <a:buSzTx/>
              <a:buFontTx/>
              <a:buNone/>
              <a:tabLst/>
              <a:defRPr/>
            </a:pPr>
            <a:r>
              <a:rPr kumimoji="0" lang="zh-CN" altLang="en-US" sz="1200" b="0" i="0" u="none" strike="noStrike" kern="1200" cap="none" spc="28" normalizeH="0" baseline="0" noProof="0" dirty="0">
                <a:ln>
                  <a:noFill/>
                </a:ln>
                <a:solidFill>
                  <a:srgbClr val="626262"/>
                </a:solidFill>
                <a:effectLst/>
                <a:uLnTx/>
                <a:uFillTx/>
                <a:latin typeface="OPPOSans R" panose="00020600040101010101" pitchFamily="18" charset="-122"/>
                <a:ea typeface="OPPOSans R" panose="00020600040101010101" pitchFamily="18" charset="-122"/>
                <a:cs typeface="OPPOSans R" panose="00020600040101010101" pitchFamily="18" charset="-122"/>
              </a:rPr>
              <a:t>时间、地点、教师</a:t>
            </a:r>
            <a:endParaRPr kumimoji="0" lang="zh-CN" altLang="en-US" sz="1200" b="0" i="0" u="none" strike="noStrike" kern="1200" cap="none" spc="0" normalizeH="0" baseline="0" noProof="0">
              <a:ln>
                <a:noFill/>
              </a:ln>
              <a:solidFill>
                <a:srgbClr val="000000"/>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a:p>
            <a:pPr marL="0" marR="0" lvl="0" indent="0" algn="r" defTabSz="914400" rtl="0" eaLnBrk="1" fontAlgn="auto" latinLnBrk="0" hangingPunct="1">
              <a:lnSpc>
                <a:spcPct val="119166"/>
              </a:lnSpc>
              <a:spcBef>
                <a:spcPts val="0"/>
              </a:spcBef>
              <a:spcAft>
                <a:spcPts val="0"/>
              </a:spcAft>
              <a:buClrTx/>
              <a:buSzTx/>
              <a:buFontTx/>
              <a:buNone/>
              <a:tabLst/>
              <a:defRPr/>
            </a:pPr>
            <a:r>
              <a:rPr kumimoji="0" lang="zh-CN" altLang="en-US" sz="1200" b="0" i="0" u="none" strike="noStrike" kern="1200" cap="none" spc="28" normalizeH="0" baseline="0" noProof="0" dirty="0">
                <a:ln>
                  <a:noFill/>
                </a:ln>
                <a:solidFill>
                  <a:srgbClr val="626262"/>
                </a:solidFill>
                <a:effectLst/>
                <a:uLnTx/>
                <a:uFillTx/>
                <a:latin typeface="OPPOSans R" panose="00020600040101010101" pitchFamily="18" charset="-122"/>
                <a:ea typeface="OPPOSans R" panose="00020600040101010101" pitchFamily="18" charset="-122"/>
                <a:cs typeface="OPPOSans R" panose="00020600040101010101" pitchFamily="18" charset="-122"/>
              </a:rPr>
              <a:t>课程内容</a:t>
            </a:r>
            <a:endParaRPr kumimoji="0" lang="zh-CN" altLang="en-US" sz="1200" b="0" i="0" u="none" strike="noStrike" kern="1200" cap="none" spc="0" normalizeH="0" baseline="0" noProof="0">
              <a:ln>
                <a:noFill/>
              </a:ln>
              <a:solidFill>
                <a:srgbClr val="000000"/>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a:p>
            <a:pPr marL="0" marR="0" lvl="0" indent="0" algn="r" defTabSz="914400" rtl="0" eaLnBrk="1" fontAlgn="auto" latinLnBrk="0" hangingPunct="1">
              <a:lnSpc>
                <a:spcPct val="119166"/>
              </a:lnSpc>
              <a:spcBef>
                <a:spcPts val="0"/>
              </a:spcBef>
              <a:spcAft>
                <a:spcPts val="0"/>
              </a:spcAft>
              <a:buClrTx/>
              <a:buSzTx/>
              <a:buFontTx/>
              <a:buNone/>
              <a:tabLst/>
              <a:defRPr/>
            </a:pPr>
            <a:r>
              <a:rPr kumimoji="0" lang="zh-CN" altLang="en-US" sz="1200" b="0" i="0" u="none" strike="noStrike" kern="1200" cap="none" spc="28" normalizeH="0" baseline="0" noProof="0" dirty="0">
                <a:ln>
                  <a:noFill/>
                </a:ln>
                <a:solidFill>
                  <a:srgbClr val="626262"/>
                </a:solidFill>
                <a:effectLst/>
                <a:uLnTx/>
                <a:uFillTx/>
                <a:latin typeface="OPPOSans R" panose="00020600040101010101" pitchFamily="18" charset="-122"/>
                <a:ea typeface="OPPOSans R" panose="00020600040101010101" pitchFamily="18" charset="-122"/>
                <a:cs typeface="OPPOSans R" panose="00020600040101010101" pitchFamily="18" charset="-122"/>
              </a:rPr>
              <a:t>培训目的</a:t>
            </a:r>
            <a:endParaRPr kumimoji="0" lang="zh-CN" altLang="en-US" sz="1000" b="0" i="0" u="none" strike="noStrike" kern="1200" cap="none" spc="0" normalizeH="0" baseline="0" noProof="0">
              <a:ln>
                <a:noFill/>
              </a:ln>
              <a:solidFill>
                <a:srgbClr val="000000"/>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p:txBody>
      </p:sp>
      <p:sp>
        <p:nvSpPr>
          <p:cNvPr id="6" name="Object 1012">
            <a:extLst>
              <a:ext uri="{FF2B5EF4-FFF2-40B4-BE49-F238E27FC236}">
                <a16:creationId xmlns:a16="http://schemas.microsoft.com/office/drawing/2014/main" id="{411D38E9-DF1E-46D6-98E6-7DF376FEAA56}"/>
              </a:ext>
            </a:extLst>
          </p:cNvPr>
          <p:cNvSpPr txBox="1"/>
          <p:nvPr/>
        </p:nvSpPr>
        <p:spPr>
          <a:xfrm>
            <a:off x="4956747" y="2127069"/>
            <a:ext cx="1775648" cy="419430"/>
          </a:xfrm>
          <a:prstGeom prst="rect">
            <a:avLst/>
          </a:prstGeom>
        </p:spPr>
        <p:txBody>
          <a:bodyPr vert="horz" lIns="0" tIns="0" rIns="0" bIns="0" rtlCol="0" anchor="t" anchorCtr="0">
            <a:noAutofit/>
          </a:bodyPr>
          <a:lstStyle/>
          <a:p>
            <a:pPr marL="0" marR="0" lvl="0" indent="0" algn="r" defTabSz="914400" rtl="0" eaLnBrk="1" fontAlgn="auto" latinLnBrk="0" hangingPunct="1">
              <a:lnSpc>
                <a:spcPct val="145000"/>
              </a:lnSpc>
              <a:spcBef>
                <a:spcPts val="0"/>
              </a:spcBef>
              <a:spcAft>
                <a:spcPts val="0"/>
              </a:spcAft>
              <a:buClrTx/>
              <a:buSzTx/>
              <a:buFontTx/>
              <a:buNone/>
              <a:tabLst/>
              <a:defRPr/>
            </a:pPr>
            <a:r>
              <a:rPr kumimoji="0" lang="zh-CN" altLang="en-US" sz="1800" b="0" i="0" u="none" strike="noStrike" kern="1200" cap="none" spc="38" normalizeH="0" baseline="0" noProof="0" dirty="0">
                <a:ln>
                  <a:noFill/>
                </a:ln>
                <a:solidFill>
                  <a:srgbClr val="313131"/>
                </a:solidFill>
                <a:effectLst/>
                <a:uLnTx/>
                <a:uFillTx/>
                <a:latin typeface="OPPOSans B" panose="00020600040101010101" pitchFamily="18" charset="-122"/>
                <a:ea typeface="OPPOSans B" panose="00020600040101010101" pitchFamily="18" charset="-122"/>
                <a:cs typeface="OPPOSans B" panose="00020600040101010101" pitchFamily="18" charset="-122"/>
              </a:rPr>
              <a:t>培训所需物资</a:t>
            </a:r>
            <a:endParaRPr kumimoji="0" lang="zh-CN" altLang="en-US" sz="1000" b="0" i="0" u="none" strike="noStrike" kern="1200" cap="none" spc="0" normalizeH="0" baseline="0" noProof="0" dirty="0">
              <a:ln>
                <a:noFill/>
              </a:ln>
              <a:solidFill>
                <a:srgbClr val="000000"/>
              </a:solidFill>
              <a:effectLst/>
              <a:uLnTx/>
              <a:uFillTx/>
              <a:latin typeface="OPPOSans B" panose="00020600040101010101" pitchFamily="18" charset="-122"/>
              <a:ea typeface="OPPOSans B" panose="00020600040101010101" pitchFamily="18" charset="-122"/>
              <a:cs typeface="OPPOSans B" panose="00020600040101010101" pitchFamily="18" charset="-122"/>
            </a:endParaRPr>
          </a:p>
        </p:txBody>
      </p:sp>
      <p:sp>
        <p:nvSpPr>
          <p:cNvPr id="7" name="Object 1013">
            <a:extLst>
              <a:ext uri="{FF2B5EF4-FFF2-40B4-BE49-F238E27FC236}">
                <a16:creationId xmlns:a16="http://schemas.microsoft.com/office/drawing/2014/main" id="{61D22DF1-BB17-41F5-91C8-B9875078C916}"/>
              </a:ext>
            </a:extLst>
          </p:cNvPr>
          <p:cNvSpPr txBox="1"/>
          <p:nvPr/>
        </p:nvSpPr>
        <p:spPr>
          <a:xfrm>
            <a:off x="4956745" y="2546499"/>
            <a:ext cx="1775651" cy="762600"/>
          </a:xfrm>
          <a:prstGeom prst="rect">
            <a:avLst/>
          </a:prstGeom>
        </p:spPr>
        <p:txBody>
          <a:bodyPr vert="horz" lIns="0" tIns="0" rIns="0" bIns="0" rtlCol="0" anchor="t" anchorCtr="0">
            <a:noAutofit/>
          </a:bodyPr>
          <a:lstStyle/>
          <a:p>
            <a:pPr marL="0" marR="0" lvl="0" indent="0" algn="r" defTabSz="914400" rtl="0" eaLnBrk="1" fontAlgn="auto" latinLnBrk="0" hangingPunct="1">
              <a:lnSpc>
                <a:spcPct val="119166"/>
              </a:lnSpc>
              <a:spcBef>
                <a:spcPts val="0"/>
              </a:spcBef>
              <a:spcAft>
                <a:spcPts val="0"/>
              </a:spcAft>
              <a:buClrTx/>
              <a:buSzTx/>
              <a:buFontTx/>
              <a:buNone/>
              <a:tabLst/>
              <a:defRPr/>
            </a:pPr>
            <a:r>
              <a:rPr kumimoji="0" lang="zh-CN" altLang="en-US" sz="1200" b="0" i="0" u="none" strike="noStrike" kern="1200" cap="none" spc="28" normalizeH="0" baseline="0" noProof="0" dirty="0">
                <a:ln>
                  <a:noFill/>
                </a:ln>
                <a:solidFill>
                  <a:srgbClr val="626262"/>
                </a:solidFill>
                <a:effectLst/>
                <a:uLnTx/>
                <a:uFillTx/>
                <a:latin typeface="OPPOSans R" panose="00020600040101010101" pitchFamily="18" charset="-122"/>
                <a:ea typeface="OPPOSans R" panose="00020600040101010101" pitchFamily="18" charset="-122"/>
                <a:cs typeface="OPPOSans R" panose="00020600040101010101" pitchFamily="18" charset="-122"/>
              </a:rPr>
              <a:t>师资</a:t>
            </a:r>
            <a:endParaRPr kumimoji="0" lang="zh-CN" altLang="en-US" sz="1200" b="0" i="0" u="none" strike="noStrike" kern="1200" cap="none" spc="0" normalizeH="0" baseline="0" noProof="0">
              <a:ln>
                <a:noFill/>
              </a:ln>
              <a:solidFill>
                <a:srgbClr val="000000"/>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a:p>
            <a:pPr marL="0" marR="0" lvl="0" indent="0" algn="r" defTabSz="914400" rtl="0" eaLnBrk="1" fontAlgn="auto" latinLnBrk="0" hangingPunct="1">
              <a:lnSpc>
                <a:spcPct val="119166"/>
              </a:lnSpc>
              <a:spcBef>
                <a:spcPts val="0"/>
              </a:spcBef>
              <a:spcAft>
                <a:spcPts val="0"/>
              </a:spcAft>
              <a:buClrTx/>
              <a:buSzTx/>
              <a:buFontTx/>
              <a:buNone/>
              <a:tabLst/>
              <a:defRPr/>
            </a:pPr>
            <a:r>
              <a:rPr kumimoji="0" lang="zh-CN" altLang="en-US" sz="1200" b="0" i="0" u="none" strike="noStrike" kern="1200" cap="none" spc="28" normalizeH="0" baseline="0" noProof="0" dirty="0">
                <a:ln>
                  <a:noFill/>
                </a:ln>
                <a:solidFill>
                  <a:srgbClr val="626262"/>
                </a:solidFill>
                <a:effectLst/>
                <a:uLnTx/>
                <a:uFillTx/>
                <a:latin typeface="OPPOSans R" panose="00020600040101010101" pitchFamily="18" charset="-122"/>
                <a:ea typeface="OPPOSans R" panose="00020600040101010101" pitchFamily="18" charset="-122"/>
                <a:cs typeface="OPPOSans R" panose="00020600040101010101" pitchFamily="18" charset="-122"/>
              </a:rPr>
              <a:t>教材</a:t>
            </a:r>
            <a:endParaRPr kumimoji="0" lang="zh-CN" altLang="en-US" sz="1200" b="0" i="0" u="none" strike="noStrike" kern="1200" cap="none" spc="0" normalizeH="0" baseline="0" noProof="0">
              <a:ln>
                <a:noFill/>
              </a:ln>
              <a:solidFill>
                <a:srgbClr val="000000"/>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a:p>
            <a:pPr marL="0" marR="0" lvl="0" indent="0" algn="r" defTabSz="914400" rtl="0" eaLnBrk="1" fontAlgn="auto" latinLnBrk="0" hangingPunct="1">
              <a:lnSpc>
                <a:spcPct val="119166"/>
              </a:lnSpc>
              <a:spcBef>
                <a:spcPts val="0"/>
              </a:spcBef>
              <a:spcAft>
                <a:spcPts val="0"/>
              </a:spcAft>
              <a:buClrTx/>
              <a:buSzTx/>
              <a:buFontTx/>
              <a:buNone/>
              <a:tabLst/>
              <a:defRPr/>
            </a:pPr>
            <a:r>
              <a:rPr kumimoji="0" lang="zh-CN" altLang="en-US" sz="1200" b="0" i="0" u="none" strike="noStrike" kern="1200" cap="none" spc="28" normalizeH="0" baseline="0" noProof="0" dirty="0">
                <a:ln>
                  <a:noFill/>
                </a:ln>
                <a:solidFill>
                  <a:srgbClr val="626262"/>
                </a:solidFill>
                <a:effectLst/>
                <a:uLnTx/>
                <a:uFillTx/>
                <a:latin typeface="OPPOSans R" panose="00020600040101010101" pitchFamily="18" charset="-122"/>
                <a:ea typeface="OPPOSans R" panose="00020600040101010101" pitchFamily="18" charset="-122"/>
                <a:cs typeface="OPPOSans R" panose="00020600040101010101" pitchFamily="18" charset="-122"/>
              </a:rPr>
              <a:t>物料</a:t>
            </a:r>
            <a:endParaRPr kumimoji="0" lang="zh-CN" altLang="en-US" sz="1000" b="0" i="0" u="none" strike="noStrike" kern="1200" cap="none" spc="0" normalizeH="0" baseline="0" noProof="0">
              <a:ln>
                <a:noFill/>
              </a:ln>
              <a:solidFill>
                <a:srgbClr val="000000"/>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p:txBody>
      </p:sp>
      <p:sp>
        <p:nvSpPr>
          <p:cNvPr id="8" name="Object 1014">
            <a:extLst>
              <a:ext uri="{FF2B5EF4-FFF2-40B4-BE49-F238E27FC236}">
                <a16:creationId xmlns:a16="http://schemas.microsoft.com/office/drawing/2014/main" id="{EE557313-89FB-4028-8541-EFADF488E65D}"/>
              </a:ext>
            </a:extLst>
          </p:cNvPr>
          <p:cNvSpPr txBox="1"/>
          <p:nvPr/>
        </p:nvSpPr>
        <p:spPr>
          <a:xfrm>
            <a:off x="7190056" y="1837628"/>
            <a:ext cx="1497818" cy="292330"/>
          </a:xfrm>
          <a:prstGeom prst="rect">
            <a:avLst/>
          </a:prstGeom>
        </p:spPr>
        <p:txBody>
          <a:bodyPr vert="horz" lIns="0" tIns="0" rIns="0" bIns="0" rtlCol="0" anchor="t"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zh-CN" altLang="en-US" sz="1800" b="0" i="0" u="none" strike="noStrike" kern="1200" cap="none" spc="38" normalizeH="0" baseline="0" noProof="0" dirty="0">
                <a:ln>
                  <a:noFill/>
                </a:ln>
                <a:solidFill>
                  <a:srgbClr val="313131"/>
                </a:solidFill>
                <a:effectLst/>
                <a:uLnTx/>
                <a:uFillTx/>
                <a:latin typeface="OPPOSans B" panose="00020600040101010101" pitchFamily="18" charset="-122"/>
                <a:ea typeface="OPPOSans B" panose="00020600040101010101" pitchFamily="18" charset="-122"/>
                <a:cs typeface="OPPOSans B" panose="00020600040101010101" pitchFamily="18" charset="-122"/>
              </a:rPr>
              <a:t>效果评估</a:t>
            </a:r>
            <a:endParaRPr kumimoji="0" lang="zh-CN" altLang="en-US" sz="1000" b="0" i="0" u="none" strike="noStrike" kern="1200" cap="none" spc="0" normalizeH="0" baseline="0" noProof="0" dirty="0">
              <a:ln>
                <a:noFill/>
              </a:ln>
              <a:solidFill>
                <a:srgbClr val="000000"/>
              </a:solidFill>
              <a:effectLst/>
              <a:uLnTx/>
              <a:uFillTx/>
              <a:latin typeface="OPPOSans B" panose="00020600040101010101" pitchFamily="18" charset="-122"/>
              <a:ea typeface="OPPOSans B" panose="00020600040101010101" pitchFamily="18" charset="-122"/>
              <a:cs typeface="OPPOSans B" panose="00020600040101010101" pitchFamily="18" charset="-122"/>
            </a:endParaRPr>
          </a:p>
        </p:txBody>
      </p:sp>
      <p:sp>
        <p:nvSpPr>
          <p:cNvPr id="9" name="Object 1015">
            <a:extLst>
              <a:ext uri="{FF2B5EF4-FFF2-40B4-BE49-F238E27FC236}">
                <a16:creationId xmlns:a16="http://schemas.microsoft.com/office/drawing/2014/main" id="{75F790B1-B575-4078-BDD5-F567E3217FEC}"/>
              </a:ext>
            </a:extLst>
          </p:cNvPr>
          <p:cNvSpPr txBox="1"/>
          <p:nvPr/>
        </p:nvSpPr>
        <p:spPr>
          <a:xfrm>
            <a:off x="7260316" y="2129958"/>
            <a:ext cx="1427503" cy="762600"/>
          </a:xfrm>
          <a:prstGeom prst="rect">
            <a:avLst/>
          </a:prstGeom>
        </p:spPr>
        <p:txBody>
          <a:bodyPr vert="horz" lIns="0" tIns="0" rIns="0" bIns="0" rtlCol="0" anchor="t" anchorCtr="0">
            <a:noAutofit/>
          </a:bodyPr>
          <a:lstStyle/>
          <a:p>
            <a:pPr marL="0" marR="0" lvl="0" indent="0" algn="r" defTabSz="914400" rtl="0" eaLnBrk="1" fontAlgn="auto" latinLnBrk="0" hangingPunct="1">
              <a:lnSpc>
                <a:spcPct val="119166"/>
              </a:lnSpc>
              <a:spcBef>
                <a:spcPts val="0"/>
              </a:spcBef>
              <a:spcAft>
                <a:spcPts val="0"/>
              </a:spcAft>
              <a:buClrTx/>
              <a:buSzTx/>
              <a:buFontTx/>
              <a:buNone/>
              <a:tabLst/>
              <a:defRPr/>
            </a:pPr>
            <a:r>
              <a:rPr kumimoji="0" lang="zh-CN" altLang="en-US" sz="1200" b="0" i="0" u="none" strike="noStrike" kern="1200" cap="none" spc="28" normalizeH="0" baseline="0" noProof="0" dirty="0">
                <a:ln>
                  <a:noFill/>
                </a:ln>
                <a:solidFill>
                  <a:srgbClr val="626262"/>
                </a:solidFill>
                <a:effectLst/>
                <a:uLnTx/>
                <a:uFillTx/>
                <a:latin typeface="OPPOSans R" panose="00020600040101010101" pitchFamily="18" charset="-122"/>
                <a:ea typeface="OPPOSans R" panose="00020600040101010101" pitchFamily="18" charset="-122"/>
                <a:cs typeface="OPPOSans R" panose="00020600040101010101" pitchFamily="18" charset="-122"/>
              </a:rPr>
              <a:t>调查问卷</a:t>
            </a:r>
            <a:endParaRPr kumimoji="0" lang="zh-CN" altLang="en-US" sz="1200" b="0" i="0" u="none" strike="noStrike" kern="1200" cap="none" spc="0" normalizeH="0" baseline="0" noProof="0">
              <a:ln>
                <a:noFill/>
              </a:ln>
              <a:solidFill>
                <a:srgbClr val="000000"/>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a:p>
            <a:pPr marL="0" marR="0" lvl="0" indent="0" algn="r" defTabSz="914400" rtl="0" eaLnBrk="1" fontAlgn="auto" latinLnBrk="0" hangingPunct="1">
              <a:lnSpc>
                <a:spcPct val="119166"/>
              </a:lnSpc>
              <a:spcBef>
                <a:spcPts val="0"/>
              </a:spcBef>
              <a:spcAft>
                <a:spcPts val="0"/>
              </a:spcAft>
              <a:buClrTx/>
              <a:buSzTx/>
              <a:buFontTx/>
              <a:buNone/>
              <a:tabLst/>
              <a:defRPr/>
            </a:pPr>
            <a:r>
              <a:rPr kumimoji="0" lang="zh-CN" altLang="en-US" sz="1200" b="0" i="0" u="none" strike="noStrike" kern="1200" cap="none" spc="28" normalizeH="0" baseline="0" noProof="0" dirty="0">
                <a:ln>
                  <a:noFill/>
                </a:ln>
                <a:solidFill>
                  <a:srgbClr val="626262"/>
                </a:solidFill>
                <a:effectLst/>
                <a:uLnTx/>
                <a:uFillTx/>
                <a:latin typeface="OPPOSans R" panose="00020600040101010101" pitchFamily="18" charset="-122"/>
                <a:ea typeface="OPPOSans R" panose="00020600040101010101" pitchFamily="18" charset="-122"/>
                <a:cs typeface="OPPOSans R" panose="00020600040101010101" pitchFamily="18" charset="-122"/>
              </a:rPr>
              <a:t>评估表</a:t>
            </a:r>
            <a:endParaRPr kumimoji="0" lang="zh-CN" altLang="en-US" sz="1200" b="0" i="0" u="none" strike="noStrike" kern="1200" cap="none" spc="0" normalizeH="0" baseline="0" noProof="0">
              <a:ln>
                <a:noFill/>
              </a:ln>
              <a:solidFill>
                <a:srgbClr val="000000"/>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a:p>
            <a:pPr marL="0" marR="0" lvl="0" indent="0" algn="r" defTabSz="914400" rtl="0" eaLnBrk="1" fontAlgn="auto" latinLnBrk="0" hangingPunct="1">
              <a:lnSpc>
                <a:spcPct val="119166"/>
              </a:lnSpc>
              <a:spcBef>
                <a:spcPts val="0"/>
              </a:spcBef>
              <a:spcAft>
                <a:spcPts val="0"/>
              </a:spcAft>
              <a:buClrTx/>
              <a:buSzTx/>
              <a:buFontTx/>
              <a:buNone/>
              <a:tabLst/>
              <a:defRPr/>
            </a:pPr>
            <a:r>
              <a:rPr kumimoji="0" lang="zh-CN" altLang="en-US" sz="1200" b="0" i="0" u="none" strike="noStrike" kern="1200" cap="none" spc="28" normalizeH="0" baseline="0" noProof="0" dirty="0">
                <a:ln>
                  <a:noFill/>
                </a:ln>
                <a:solidFill>
                  <a:srgbClr val="626262"/>
                </a:solidFill>
                <a:effectLst/>
                <a:uLnTx/>
                <a:uFillTx/>
                <a:latin typeface="OPPOSans R" panose="00020600040101010101" pitchFamily="18" charset="-122"/>
                <a:ea typeface="OPPOSans R" panose="00020600040101010101" pitchFamily="18" charset="-122"/>
                <a:cs typeface="OPPOSans R" panose="00020600040101010101" pitchFamily="18" charset="-122"/>
              </a:rPr>
              <a:t>个人感觉</a:t>
            </a:r>
            <a:endParaRPr kumimoji="0" lang="zh-CN" altLang="en-US" sz="1000" b="0" i="0" u="none" strike="noStrike" kern="1200" cap="none" spc="0" normalizeH="0" baseline="0" noProof="0">
              <a:ln>
                <a:noFill/>
              </a:ln>
              <a:solidFill>
                <a:srgbClr val="000000"/>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p:txBody>
      </p:sp>
      <p:sp>
        <p:nvSpPr>
          <p:cNvPr id="10" name="Object 1016">
            <a:extLst>
              <a:ext uri="{FF2B5EF4-FFF2-40B4-BE49-F238E27FC236}">
                <a16:creationId xmlns:a16="http://schemas.microsoft.com/office/drawing/2014/main" id="{A4F93C15-D9DF-4304-9432-CA3991ECD95C}"/>
              </a:ext>
            </a:extLst>
          </p:cNvPr>
          <p:cNvSpPr txBox="1"/>
          <p:nvPr/>
        </p:nvSpPr>
        <p:spPr>
          <a:xfrm>
            <a:off x="5007222" y="4154336"/>
            <a:ext cx="1725134" cy="292330"/>
          </a:xfrm>
          <a:prstGeom prst="rect">
            <a:avLst/>
          </a:prstGeom>
        </p:spPr>
        <p:txBody>
          <a:bodyPr vert="horz" lIns="0" tIns="0" rIns="0" bIns="0" rtlCol="0" anchor="t"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zh-CN" altLang="en-US" sz="1800" b="0" i="0" u="none" strike="noStrike" kern="1200" cap="none" spc="38" normalizeH="0" baseline="0" noProof="0" dirty="0">
                <a:ln>
                  <a:noFill/>
                </a:ln>
                <a:solidFill>
                  <a:srgbClr val="313131"/>
                </a:solidFill>
                <a:effectLst/>
                <a:uLnTx/>
                <a:uFillTx/>
                <a:latin typeface="OPPOSans B" panose="00020600040101010101" pitchFamily="18" charset="-122"/>
                <a:ea typeface="OPPOSans B" panose="00020600040101010101" pitchFamily="18" charset="-122"/>
                <a:cs typeface="OPPOSans B" panose="00020600040101010101" pitchFamily="18" charset="-122"/>
              </a:rPr>
              <a:t>结果跟踪</a:t>
            </a:r>
            <a:endParaRPr kumimoji="0" lang="zh-CN" altLang="en-US" sz="1000" b="0" i="0" u="none" strike="noStrike" kern="1200" cap="none" spc="0" normalizeH="0" baseline="0" noProof="0" dirty="0">
              <a:ln>
                <a:noFill/>
              </a:ln>
              <a:solidFill>
                <a:srgbClr val="000000"/>
              </a:solidFill>
              <a:effectLst/>
              <a:uLnTx/>
              <a:uFillTx/>
              <a:latin typeface="OPPOSans B" panose="00020600040101010101" pitchFamily="18" charset="-122"/>
              <a:ea typeface="OPPOSans B" panose="00020600040101010101" pitchFamily="18" charset="-122"/>
              <a:cs typeface="OPPOSans B" panose="00020600040101010101" pitchFamily="18" charset="-122"/>
            </a:endParaRPr>
          </a:p>
        </p:txBody>
      </p:sp>
      <p:sp>
        <p:nvSpPr>
          <p:cNvPr id="11" name="Object 1017">
            <a:extLst>
              <a:ext uri="{FF2B5EF4-FFF2-40B4-BE49-F238E27FC236}">
                <a16:creationId xmlns:a16="http://schemas.microsoft.com/office/drawing/2014/main" id="{46B6F66C-CFBC-4D53-88A2-E9FF38132361}"/>
              </a:ext>
            </a:extLst>
          </p:cNvPr>
          <p:cNvSpPr txBox="1"/>
          <p:nvPr/>
        </p:nvSpPr>
        <p:spPr>
          <a:xfrm>
            <a:off x="5140578" y="4446666"/>
            <a:ext cx="1591673" cy="508400"/>
          </a:xfrm>
          <a:prstGeom prst="rect">
            <a:avLst/>
          </a:prstGeom>
        </p:spPr>
        <p:txBody>
          <a:bodyPr vert="horz" lIns="0" tIns="0" rIns="0" bIns="0" rtlCol="0" anchor="t" anchorCtr="0">
            <a:noAutofit/>
          </a:bodyPr>
          <a:lstStyle/>
          <a:p>
            <a:pPr marL="0" marR="0" lvl="0" indent="0" algn="r" defTabSz="914400" rtl="0" eaLnBrk="1" fontAlgn="auto" latinLnBrk="0" hangingPunct="1">
              <a:lnSpc>
                <a:spcPct val="119166"/>
              </a:lnSpc>
              <a:spcBef>
                <a:spcPts val="0"/>
              </a:spcBef>
              <a:spcAft>
                <a:spcPts val="0"/>
              </a:spcAft>
              <a:buClrTx/>
              <a:buSzTx/>
              <a:buFontTx/>
              <a:buNone/>
              <a:tabLst/>
              <a:defRPr/>
            </a:pPr>
            <a:r>
              <a:rPr kumimoji="0" lang="zh-CN" altLang="en-US" sz="1200" b="0" i="0" u="none" strike="noStrike" kern="1200" cap="none" spc="28" normalizeH="0" baseline="0" noProof="0" dirty="0">
                <a:ln>
                  <a:noFill/>
                </a:ln>
                <a:solidFill>
                  <a:srgbClr val="626262"/>
                </a:solidFill>
                <a:effectLst/>
                <a:uLnTx/>
                <a:uFillTx/>
                <a:latin typeface="OPPOSans R" panose="00020600040101010101" pitchFamily="18" charset="-122"/>
                <a:ea typeface="OPPOSans R" panose="00020600040101010101" pitchFamily="18" charset="-122"/>
                <a:cs typeface="OPPOSans R" panose="00020600040101010101" pitchFamily="18" charset="-122"/>
              </a:rPr>
              <a:t>晋升比例</a:t>
            </a:r>
            <a:endParaRPr kumimoji="0" lang="zh-CN" altLang="en-US" sz="1200" b="0" i="0" u="none" strike="noStrike" kern="1200" cap="none" spc="0" normalizeH="0" baseline="0" noProof="0">
              <a:ln>
                <a:noFill/>
              </a:ln>
              <a:solidFill>
                <a:srgbClr val="000000"/>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a:p>
            <a:pPr marL="0" marR="0" lvl="0" indent="0" algn="r" defTabSz="914400" rtl="0" eaLnBrk="1" fontAlgn="auto" latinLnBrk="0" hangingPunct="1">
              <a:lnSpc>
                <a:spcPct val="119166"/>
              </a:lnSpc>
              <a:spcBef>
                <a:spcPts val="0"/>
              </a:spcBef>
              <a:spcAft>
                <a:spcPts val="0"/>
              </a:spcAft>
              <a:buClrTx/>
              <a:buSzTx/>
              <a:buFontTx/>
              <a:buNone/>
              <a:tabLst/>
              <a:defRPr/>
            </a:pPr>
            <a:r>
              <a:rPr kumimoji="0" lang="zh-CN" altLang="en-US" sz="1200" b="0" i="0" u="none" strike="noStrike" kern="1200" cap="none" spc="28" normalizeH="0" baseline="0" noProof="0" dirty="0">
                <a:ln>
                  <a:noFill/>
                </a:ln>
                <a:solidFill>
                  <a:srgbClr val="626262"/>
                </a:solidFill>
                <a:effectLst/>
                <a:uLnTx/>
                <a:uFillTx/>
                <a:latin typeface="OPPOSans R" panose="00020600040101010101" pitchFamily="18" charset="-122"/>
                <a:ea typeface="OPPOSans R" panose="00020600040101010101" pitchFamily="18" charset="-122"/>
                <a:cs typeface="OPPOSans R" panose="00020600040101010101" pitchFamily="18" charset="-122"/>
              </a:rPr>
              <a:t>实际应用场景</a:t>
            </a:r>
            <a:endParaRPr kumimoji="0" lang="zh-CN" altLang="en-US" sz="1000" b="0" i="0" u="none" strike="noStrike" kern="1200" cap="none" spc="0" normalizeH="0" baseline="0" noProof="0">
              <a:ln>
                <a:noFill/>
              </a:ln>
              <a:solidFill>
                <a:srgbClr val="000000"/>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p:txBody>
      </p:sp>
      <p:sp>
        <p:nvSpPr>
          <p:cNvPr id="12" name="Object 1018">
            <a:extLst>
              <a:ext uri="{FF2B5EF4-FFF2-40B4-BE49-F238E27FC236}">
                <a16:creationId xmlns:a16="http://schemas.microsoft.com/office/drawing/2014/main" id="{0FFC1BEA-F358-4EF7-A2EF-7AC2FBD43564}"/>
              </a:ext>
            </a:extLst>
          </p:cNvPr>
          <p:cNvSpPr txBox="1"/>
          <p:nvPr/>
        </p:nvSpPr>
        <p:spPr>
          <a:xfrm>
            <a:off x="7354104" y="4244476"/>
            <a:ext cx="1333642" cy="292330"/>
          </a:xfrm>
          <a:prstGeom prst="rect">
            <a:avLst/>
          </a:prstGeom>
        </p:spPr>
        <p:txBody>
          <a:bodyPr vert="horz" lIns="0" tIns="0" rIns="0" bIns="0" rtlCol="0" anchor="t"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zh-CN" altLang="en-US" sz="1800" b="0" i="0" u="none" strike="noStrike" kern="1200" cap="none" spc="38" normalizeH="0" baseline="0" noProof="0" dirty="0">
                <a:ln>
                  <a:noFill/>
                </a:ln>
                <a:solidFill>
                  <a:srgbClr val="313131"/>
                </a:solidFill>
                <a:effectLst/>
                <a:uLnTx/>
                <a:uFillTx/>
                <a:latin typeface="OPPOSans B" panose="00020600040101010101" pitchFamily="18" charset="-122"/>
                <a:ea typeface="OPPOSans B" panose="00020600040101010101" pitchFamily="18" charset="-122"/>
                <a:cs typeface="OPPOSans B" panose="00020600040101010101" pitchFamily="18" charset="-122"/>
              </a:rPr>
              <a:t>培训费用</a:t>
            </a:r>
            <a:endParaRPr kumimoji="0" lang="zh-CN" altLang="en-US" sz="1000" b="0" i="0" u="none" strike="noStrike" kern="1200" cap="none" spc="0" normalizeH="0" baseline="0" noProof="0">
              <a:ln>
                <a:noFill/>
              </a:ln>
              <a:solidFill>
                <a:srgbClr val="000000"/>
              </a:solidFill>
              <a:effectLst/>
              <a:uLnTx/>
              <a:uFillTx/>
              <a:latin typeface="OPPOSans B" panose="00020600040101010101" pitchFamily="18" charset="-122"/>
              <a:ea typeface="OPPOSans B" panose="00020600040101010101" pitchFamily="18" charset="-122"/>
              <a:cs typeface="OPPOSans B" panose="00020600040101010101" pitchFamily="18" charset="-122"/>
            </a:endParaRPr>
          </a:p>
        </p:txBody>
      </p:sp>
      <p:sp>
        <p:nvSpPr>
          <p:cNvPr id="13" name="Object 1019">
            <a:extLst>
              <a:ext uri="{FF2B5EF4-FFF2-40B4-BE49-F238E27FC236}">
                <a16:creationId xmlns:a16="http://schemas.microsoft.com/office/drawing/2014/main" id="{3DF8D36D-C919-4A8E-9595-82D5D4141EA4}"/>
              </a:ext>
            </a:extLst>
          </p:cNvPr>
          <p:cNvSpPr txBox="1"/>
          <p:nvPr/>
        </p:nvSpPr>
        <p:spPr>
          <a:xfrm>
            <a:off x="7424360" y="4536806"/>
            <a:ext cx="1263330" cy="1016800"/>
          </a:xfrm>
          <a:prstGeom prst="rect">
            <a:avLst/>
          </a:prstGeom>
        </p:spPr>
        <p:txBody>
          <a:bodyPr vert="horz" lIns="0" tIns="0" rIns="0" bIns="0" rtlCol="0" anchor="t" anchorCtr="0">
            <a:noAutofit/>
          </a:bodyPr>
          <a:lstStyle/>
          <a:p>
            <a:pPr marL="0" marR="0" lvl="0" indent="0" algn="r" defTabSz="914400" rtl="0" eaLnBrk="1" fontAlgn="auto" latinLnBrk="0" hangingPunct="1">
              <a:lnSpc>
                <a:spcPct val="119166"/>
              </a:lnSpc>
              <a:spcBef>
                <a:spcPts val="0"/>
              </a:spcBef>
              <a:spcAft>
                <a:spcPts val="0"/>
              </a:spcAft>
              <a:buClrTx/>
              <a:buSzTx/>
              <a:buFontTx/>
              <a:buNone/>
              <a:tabLst/>
              <a:defRPr/>
            </a:pPr>
            <a:r>
              <a:rPr kumimoji="0" lang="zh-CN" altLang="en-US" sz="1200" b="0" i="0" u="none" strike="noStrike" kern="1200" cap="none" spc="28" normalizeH="0" baseline="0" noProof="0" dirty="0">
                <a:ln>
                  <a:noFill/>
                </a:ln>
                <a:solidFill>
                  <a:srgbClr val="626262"/>
                </a:solidFill>
                <a:effectLst/>
                <a:uLnTx/>
                <a:uFillTx/>
                <a:latin typeface="OPPOSans R" panose="00020600040101010101" pitchFamily="18" charset="-122"/>
                <a:ea typeface="OPPOSans R" panose="00020600040101010101" pitchFamily="18" charset="-122"/>
                <a:cs typeface="OPPOSans R" panose="00020600040101010101" pitchFamily="18" charset="-122"/>
              </a:rPr>
              <a:t>住宿费</a:t>
            </a:r>
            <a:endParaRPr kumimoji="0" lang="zh-CN" altLang="en-US" sz="1200" b="0" i="0" u="none" strike="noStrike" kern="1200" cap="none" spc="0" normalizeH="0" baseline="0" noProof="0">
              <a:ln>
                <a:noFill/>
              </a:ln>
              <a:solidFill>
                <a:srgbClr val="000000"/>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a:p>
            <a:pPr marL="0" marR="0" lvl="0" indent="0" algn="r" defTabSz="914400" rtl="0" eaLnBrk="1" fontAlgn="auto" latinLnBrk="0" hangingPunct="1">
              <a:lnSpc>
                <a:spcPct val="119166"/>
              </a:lnSpc>
              <a:spcBef>
                <a:spcPts val="0"/>
              </a:spcBef>
              <a:spcAft>
                <a:spcPts val="0"/>
              </a:spcAft>
              <a:buClrTx/>
              <a:buSzTx/>
              <a:buFontTx/>
              <a:buNone/>
              <a:tabLst/>
              <a:defRPr/>
            </a:pPr>
            <a:r>
              <a:rPr kumimoji="0" lang="zh-CN" altLang="en-US" sz="1200" b="0" i="0" u="none" strike="noStrike" kern="1200" cap="none" spc="28" normalizeH="0" baseline="0" noProof="0" dirty="0">
                <a:ln>
                  <a:noFill/>
                </a:ln>
                <a:solidFill>
                  <a:srgbClr val="626262"/>
                </a:solidFill>
                <a:effectLst/>
                <a:uLnTx/>
                <a:uFillTx/>
                <a:latin typeface="OPPOSans R" panose="00020600040101010101" pitchFamily="18" charset="-122"/>
                <a:ea typeface="OPPOSans R" panose="00020600040101010101" pitchFamily="18" charset="-122"/>
                <a:cs typeface="OPPOSans R" panose="00020600040101010101" pitchFamily="18" charset="-122"/>
              </a:rPr>
              <a:t>交通费</a:t>
            </a:r>
            <a:endParaRPr kumimoji="0" lang="zh-CN" altLang="en-US" sz="1200" b="0" i="0" u="none" strike="noStrike" kern="1200" cap="none" spc="0" normalizeH="0" baseline="0" noProof="0">
              <a:ln>
                <a:noFill/>
              </a:ln>
              <a:solidFill>
                <a:srgbClr val="000000"/>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a:p>
            <a:pPr marL="0" marR="0" lvl="0" indent="0" algn="r" defTabSz="914400" rtl="0" eaLnBrk="1" fontAlgn="auto" latinLnBrk="0" hangingPunct="1">
              <a:lnSpc>
                <a:spcPct val="119166"/>
              </a:lnSpc>
              <a:spcBef>
                <a:spcPts val="0"/>
              </a:spcBef>
              <a:spcAft>
                <a:spcPts val="0"/>
              </a:spcAft>
              <a:buClrTx/>
              <a:buSzTx/>
              <a:buFontTx/>
              <a:buNone/>
              <a:tabLst/>
              <a:defRPr/>
            </a:pPr>
            <a:r>
              <a:rPr kumimoji="0" lang="zh-CN" altLang="en-US" sz="1200" b="0" i="0" u="none" strike="noStrike" kern="1200" cap="none" spc="28" normalizeH="0" baseline="0" noProof="0" dirty="0">
                <a:ln>
                  <a:noFill/>
                </a:ln>
                <a:solidFill>
                  <a:srgbClr val="626262"/>
                </a:solidFill>
                <a:effectLst/>
                <a:uLnTx/>
                <a:uFillTx/>
                <a:latin typeface="OPPOSans R" panose="00020600040101010101" pitchFamily="18" charset="-122"/>
                <a:ea typeface="OPPOSans R" panose="00020600040101010101" pitchFamily="18" charset="-122"/>
                <a:cs typeface="OPPOSans R" panose="00020600040101010101" pitchFamily="18" charset="-122"/>
              </a:rPr>
              <a:t>饮食费</a:t>
            </a:r>
            <a:endParaRPr kumimoji="0" lang="zh-CN" altLang="en-US" sz="1200" b="0" i="0" u="none" strike="noStrike" kern="1200" cap="none" spc="0" normalizeH="0" baseline="0" noProof="0">
              <a:ln>
                <a:noFill/>
              </a:ln>
              <a:solidFill>
                <a:srgbClr val="000000"/>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a:p>
            <a:pPr marL="0" marR="0" lvl="0" indent="0" algn="r" defTabSz="914400" rtl="0" eaLnBrk="1" fontAlgn="auto" latinLnBrk="0" hangingPunct="1">
              <a:lnSpc>
                <a:spcPct val="119166"/>
              </a:lnSpc>
              <a:spcBef>
                <a:spcPts val="0"/>
              </a:spcBef>
              <a:spcAft>
                <a:spcPts val="0"/>
              </a:spcAft>
              <a:buClrTx/>
              <a:buSzTx/>
              <a:buFontTx/>
              <a:buNone/>
              <a:tabLst/>
              <a:defRPr/>
            </a:pPr>
            <a:r>
              <a:rPr kumimoji="0" lang="zh-CN" altLang="en-US" sz="1200" b="0" i="0" u="none" strike="noStrike" kern="1200" cap="none" spc="28" normalizeH="0" baseline="0" noProof="0" dirty="0">
                <a:ln>
                  <a:noFill/>
                </a:ln>
                <a:solidFill>
                  <a:srgbClr val="626262"/>
                </a:solidFill>
                <a:effectLst/>
                <a:uLnTx/>
                <a:uFillTx/>
                <a:latin typeface="OPPOSans R" panose="00020600040101010101" pitchFamily="18" charset="-122"/>
                <a:ea typeface="OPPOSans R" panose="00020600040101010101" pitchFamily="18" charset="-122"/>
                <a:cs typeface="OPPOSans R" panose="00020600040101010101" pitchFamily="18" charset="-122"/>
              </a:rPr>
              <a:t>其他费用</a:t>
            </a:r>
            <a:endParaRPr kumimoji="0" lang="zh-CN" altLang="en-US" sz="1000" b="0" i="0" u="none" strike="noStrike" kern="1200" cap="none" spc="0" normalizeH="0" baseline="0" noProof="0">
              <a:ln>
                <a:noFill/>
              </a:ln>
              <a:solidFill>
                <a:srgbClr val="000000"/>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p:txBody>
      </p:sp>
      <p:sp>
        <p:nvSpPr>
          <p:cNvPr id="14" name="Object 1020">
            <a:extLst>
              <a:ext uri="{FF2B5EF4-FFF2-40B4-BE49-F238E27FC236}">
                <a16:creationId xmlns:a16="http://schemas.microsoft.com/office/drawing/2014/main" id="{C3B2B543-570E-4C47-B6E8-6197C638943F}"/>
              </a:ext>
            </a:extLst>
          </p:cNvPr>
          <p:cNvSpPr txBox="1"/>
          <p:nvPr/>
        </p:nvSpPr>
        <p:spPr>
          <a:xfrm>
            <a:off x="2311400" y="3822598"/>
            <a:ext cx="2179765" cy="419430"/>
          </a:xfrm>
          <a:prstGeom prst="rect">
            <a:avLst/>
          </a:prstGeom>
        </p:spPr>
        <p:txBody>
          <a:bodyPr vert="horz" lIns="0" tIns="0" rIns="0" bIns="0" rtlCol="0" anchor="t" anchorCtr="0">
            <a:noAutofit/>
          </a:bodyPr>
          <a:lstStyle/>
          <a:p>
            <a:pPr marL="0" marR="0" lvl="0" indent="0" algn="r" defTabSz="914400" rtl="0" eaLnBrk="1" fontAlgn="auto" latinLnBrk="0" hangingPunct="1">
              <a:lnSpc>
                <a:spcPct val="145000"/>
              </a:lnSpc>
              <a:spcBef>
                <a:spcPts val="0"/>
              </a:spcBef>
              <a:spcAft>
                <a:spcPts val="0"/>
              </a:spcAft>
              <a:buClrTx/>
              <a:buSzTx/>
              <a:buFontTx/>
              <a:buNone/>
              <a:tabLst/>
              <a:defRPr/>
            </a:pPr>
            <a:r>
              <a:rPr kumimoji="0" lang="zh-CN" altLang="en-US" sz="1800" b="0" i="0" u="none" strike="noStrike" kern="1200" cap="none" spc="38" normalizeH="0" baseline="0" noProof="0" dirty="0">
                <a:ln>
                  <a:noFill/>
                </a:ln>
                <a:solidFill>
                  <a:srgbClr val="313131"/>
                </a:solidFill>
                <a:effectLst/>
                <a:uLnTx/>
                <a:uFillTx/>
                <a:latin typeface="OPPOSans B" panose="00020600040101010101" pitchFamily="18" charset="-122"/>
                <a:ea typeface="OPPOSans B" panose="00020600040101010101" pitchFamily="18" charset="-122"/>
                <a:cs typeface="OPPOSans B" panose="00020600040101010101" pitchFamily="18" charset="-122"/>
              </a:rPr>
              <a:t>培训计划实施</a:t>
            </a:r>
            <a:endParaRPr kumimoji="0" lang="zh-CN" altLang="en-US" sz="1000" b="0" i="0" u="none" strike="noStrike" kern="1200" cap="none" spc="0" normalizeH="0" baseline="0" noProof="0" dirty="0">
              <a:ln>
                <a:noFill/>
              </a:ln>
              <a:solidFill>
                <a:srgbClr val="000000"/>
              </a:solidFill>
              <a:effectLst/>
              <a:uLnTx/>
              <a:uFillTx/>
              <a:latin typeface="OPPOSans B" panose="00020600040101010101" pitchFamily="18" charset="-122"/>
              <a:ea typeface="OPPOSans B" panose="00020600040101010101" pitchFamily="18" charset="-122"/>
              <a:cs typeface="OPPOSans B" panose="00020600040101010101" pitchFamily="18" charset="-122"/>
            </a:endParaRPr>
          </a:p>
        </p:txBody>
      </p:sp>
      <p:sp>
        <p:nvSpPr>
          <p:cNvPr id="15" name="Object 1021">
            <a:extLst>
              <a:ext uri="{FF2B5EF4-FFF2-40B4-BE49-F238E27FC236}">
                <a16:creationId xmlns:a16="http://schemas.microsoft.com/office/drawing/2014/main" id="{CE50D614-6486-49AD-8480-28F1556829AE}"/>
              </a:ext>
            </a:extLst>
          </p:cNvPr>
          <p:cNvSpPr txBox="1"/>
          <p:nvPr/>
        </p:nvSpPr>
        <p:spPr>
          <a:xfrm>
            <a:off x="2444750" y="4242028"/>
            <a:ext cx="2046310" cy="762600"/>
          </a:xfrm>
          <a:prstGeom prst="rect">
            <a:avLst/>
          </a:prstGeom>
        </p:spPr>
        <p:txBody>
          <a:bodyPr vert="horz" lIns="0" tIns="0" rIns="0" bIns="0" rtlCol="0" anchor="t" anchorCtr="0">
            <a:noAutofit/>
          </a:bodyPr>
          <a:lstStyle/>
          <a:p>
            <a:pPr marL="0" marR="0" lvl="0" indent="0" algn="r" defTabSz="914400" rtl="0" eaLnBrk="1" fontAlgn="auto" latinLnBrk="0" hangingPunct="1">
              <a:lnSpc>
                <a:spcPct val="119166"/>
              </a:lnSpc>
              <a:spcBef>
                <a:spcPts val="0"/>
              </a:spcBef>
              <a:spcAft>
                <a:spcPts val="0"/>
              </a:spcAft>
              <a:buClrTx/>
              <a:buSzTx/>
              <a:buFontTx/>
              <a:buNone/>
              <a:tabLst/>
              <a:defRPr/>
            </a:pPr>
            <a:r>
              <a:rPr kumimoji="0" lang="zh-CN" altLang="en-US" sz="1200" b="0" i="0" u="none" strike="noStrike" kern="1200" cap="none" spc="28" normalizeH="0" baseline="0" noProof="0" dirty="0">
                <a:ln>
                  <a:noFill/>
                </a:ln>
                <a:solidFill>
                  <a:srgbClr val="626262"/>
                </a:solidFill>
                <a:effectLst/>
                <a:uLnTx/>
                <a:uFillTx/>
                <a:latin typeface="OPPOSans R" panose="00020600040101010101" pitchFamily="18" charset="-122"/>
                <a:ea typeface="OPPOSans R" panose="00020600040101010101" pitchFamily="18" charset="-122"/>
                <a:cs typeface="OPPOSans R" panose="00020600040101010101" pitchFamily="18" charset="-122"/>
              </a:rPr>
              <a:t>岗前培训</a:t>
            </a:r>
            <a:endParaRPr kumimoji="0" lang="zh-CN" altLang="en-US" sz="1200" b="0" i="0" u="none" strike="noStrike" kern="1200" cap="none" spc="0" normalizeH="0" baseline="0" noProof="0">
              <a:ln>
                <a:noFill/>
              </a:ln>
              <a:solidFill>
                <a:srgbClr val="000000"/>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a:p>
            <a:pPr marL="0" marR="0" lvl="0" indent="0" algn="r" defTabSz="914400" rtl="0" eaLnBrk="1" fontAlgn="auto" latinLnBrk="0" hangingPunct="1">
              <a:lnSpc>
                <a:spcPct val="119166"/>
              </a:lnSpc>
              <a:spcBef>
                <a:spcPts val="0"/>
              </a:spcBef>
              <a:spcAft>
                <a:spcPts val="0"/>
              </a:spcAft>
              <a:buClrTx/>
              <a:buSzTx/>
              <a:buFontTx/>
              <a:buNone/>
              <a:tabLst/>
              <a:defRPr/>
            </a:pPr>
            <a:r>
              <a:rPr kumimoji="0" lang="zh-CN" altLang="en-US" sz="1200" b="0" i="0" u="none" strike="noStrike" kern="1200" cap="none" spc="28" normalizeH="0" baseline="0" noProof="0" dirty="0">
                <a:ln>
                  <a:noFill/>
                </a:ln>
                <a:solidFill>
                  <a:srgbClr val="626262"/>
                </a:solidFill>
                <a:effectLst/>
                <a:uLnTx/>
                <a:uFillTx/>
                <a:latin typeface="OPPOSans R" panose="00020600040101010101" pitchFamily="18" charset="-122"/>
                <a:ea typeface="OPPOSans R" panose="00020600040101010101" pitchFamily="18" charset="-122"/>
                <a:cs typeface="OPPOSans R" panose="00020600040101010101" pitchFamily="18" charset="-122"/>
              </a:rPr>
              <a:t>部门培训</a:t>
            </a:r>
            <a:endParaRPr kumimoji="0" lang="zh-CN" altLang="en-US" sz="1200" b="0" i="0" u="none" strike="noStrike" kern="1200" cap="none" spc="0" normalizeH="0" baseline="0" noProof="0">
              <a:ln>
                <a:noFill/>
              </a:ln>
              <a:solidFill>
                <a:srgbClr val="000000"/>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a:p>
            <a:pPr marL="0" marR="0" lvl="0" indent="0" algn="r" defTabSz="914400" rtl="0" eaLnBrk="1" fontAlgn="auto" latinLnBrk="0" hangingPunct="1">
              <a:lnSpc>
                <a:spcPct val="119166"/>
              </a:lnSpc>
              <a:spcBef>
                <a:spcPts val="0"/>
              </a:spcBef>
              <a:spcAft>
                <a:spcPts val="0"/>
              </a:spcAft>
              <a:buClrTx/>
              <a:buSzTx/>
              <a:buFontTx/>
              <a:buNone/>
              <a:tabLst/>
              <a:defRPr/>
            </a:pPr>
            <a:r>
              <a:rPr kumimoji="0" lang="zh-CN" altLang="en-US" sz="1200" b="0" i="0" u="none" strike="noStrike" kern="1200" cap="none" spc="28" normalizeH="0" baseline="0" noProof="0" dirty="0">
                <a:ln>
                  <a:noFill/>
                </a:ln>
                <a:solidFill>
                  <a:srgbClr val="626262"/>
                </a:solidFill>
                <a:effectLst/>
                <a:uLnTx/>
                <a:uFillTx/>
                <a:latin typeface="OPPOSans R" panose="00020600040101010101" pitchFamily="18" charset="-122"/>
                <a:ea typeface="OPPOSans R" panose="00020600040101010101" pitchFamily="18" charset="-122"/>
                <a:cs typeface="OPPOSans R" panose="00020600040101010101" pitchFamily="18" charset="-122"/>
              </a:rPr>
              <a:t>整体培训</a:t>
            </a:r>
            <a:endParaRPr kumimoji="0" lang="zh-CN" altLang="en-US" sz="1000" b="0" i="0" u="none" strike="noStrike" kern="1200" cap="none" spc="0" normalizeH="0" baseline="0" noProof="0">
              <a:ln>
                <a:noFill/>
              </a:ln>
              <a:solidFill>
                <a:srgbClr val="000000"/>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p:txBody>
      </p:sp>
      <p:sp>
        <p:nvSpPr>
          <p:cNvPr id="16" name="Object 1022">
            <a:extLst>
              <a:ext uri="{FF2B5EF4-FFF2-40B4-BE49-F238E27FC236}">
                <a16:creationId xmlns:a16="http://schemas.microsoft.com/office/drawing/2014/main" id="{6F1C2E84-2489-48C8-9837-18599A58E6CA}"/>
              </a:ext>
            </a:extLst>
          </p:cNvPr>
          <p:cNvSpPr txBox="1"/>
          <p:nvPr/>
        </p:nvSpPr>
        <p:spPr>
          <a:xfrm>
            <a:off x="679450" y="1078572"/>
            <a:ext cx="3553640" cy="260555"/>
          </a:xfrm>
          <a:prstGeom prst="rect">
            <a:avLst/>
          </a:prstGeom>
        </p:spPr>
        <p:txBody>
          <a:bodyPr vert="horz" lIns="0" tIns="0" rIns="0" bIns="0"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200" b="0" i="0" u="none" strike="noStrike" kern="1200" cap="none" spc="0" normalizeH="0" baseline="0" noProof="0" dirty="0">
                <a:ln>
                  <a:noFill/>
                </a:ln>
                <a:solidFill>
                  <a:srgbClr val="535353"/>
                </a:solidFill>
                <a:effectLst/>
                <a:uLnTx/>
                <a:uFillTx/>
                <a:latin typeface="OPPOSans R" panose="00020600040101010101" pitchFamily="18" charset="-122"/>
                <a:ea typeface="OPPOSans R" panose="00020600040101010101" pitchFamily="18" charset="-122"/>
                <a:cs typeface="OPPOSans R" panose="00020600040101010101" pitchFamily="18" charset="-122"/>
              </a:rPr>
              <a:t>HR staff training disassembly</a:t>
            </a:r>
            <a:endParaRPr kumimoji="0" lang="zh-CN" altLang="en-US" sz="800" b="0" i="0" u="none" strike="noStrike" kern="1200" cap="none" spc="0" normalizeH="0" baseline="0" noProof="0" dirty="0">
              <a:ln>
                <a:noFill/>
              </a:ln>
              <a:solidFill>
                <a:srgbClr val="000000"/>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p:txBody>
      </p:sp>
      <p:sp>
        <p:nvSpPr>
          <p:cNvPr id="17" name="Object 1023">
            <a:extLst>
              <a:ext uri="{FF2B5EF4-FFF2-40B4-BE49-F238E27FC236}">
                <a16:creationId xmlns:a16="http://schemas.microsoft.com/office/drawing/2014/main" id="{96D2870F-2AD8-4299-80EF-DD05FB1A0A2B}"/>
              </a:ext>
            </a:extLst>
          </p:cNvPr>
          <p:cNvSpPr txBox="1"/>
          <p:nvPr/>
        </p:nvSpPr>
        <p:spPr>
          <a:xfrm>
            <a:off x="660400" y="708660"/>
            <a:ext cx="3572705" cy="380592"/>
          </a:xfrm>
          <a:prstGeom prst="rect">
            <a:avLst/>
          </a:prstGeom>
        </p:spPr>
        <p:txBody>
          <a:bodyPr vert="horz" lIns="0" tIns="0" rIns="0" bIns="0"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2400" b="0" i="0" u="none" strike="noStrike" kern="1200" cap="none" spc="0" normalizeH="0" baseline="0" noProof="0" dirty="0">
                <a:ln>
                  <a:noFill/>
                </a:ln>
                <a:solidFill>
                  <a:srgbClr val="1B1B1B"/>
                </a:solidFill>
                <a:effectLst/>
                <a:uLnTx/>
                <a:uFillTx/>
                <a:latin typeface="OPPOSans B" panose="00020600040101010101" pitchFamily="18" charset="-122"/>
                <a:ea typeface="OPPOSans B" panose="00020600040101010101" pitchFamily="18" charset="-122"/>
                <a:cs typeface="OPPOSans B" panose="00020600040101010101" pitchFamily="18" charset="-122"/>
              </a:rPr>
              <a:t>HR</a:t>
            </a:r>
            <a:r>
              <a:rPr kumimoji="0" lang="zh-CN" altLang="en-US" sz="2400" b="0" i="0" u="none" strike="noStrike" kern="1200" cap="none" spc="0" normalizeH="0" baseline="0" noProof="0" dirty="0">
                <a:ln>
                  <a:noFill/>
                </a:ln>
                <a:solidFill>
                  <a:srgbClr val="1B1B1B"/>
                </a:solidFill>
                <a:effectLst/>
                <a:uLnTx/>
                <a:uFillTx/>
                <a:latin typeface="OPPOSans B" panose="00020600040101010101" pitchFamily="18" charset="-122"/>
                <a:ea typeface="OPPOSans B" panose="00020600040101010101" pitchFamily="18" charset="-122"/>
                <a:cs typeface="OPPOSans B" panose="00020600040101010101" pitchFamily="18" charset="-122"/>
              </a:rPr>
              <a:t>员工培训拆解</a:t>
            </a:r>
            <a:endParaRPr kumimoji="0" lang="zh-CN" altLang="en-US" sz="800" b="0" i="0" u="none" strike="noStrike" kern="1200" cap="none" spc="0" normalizeH="0" baseline="0" noProof="0" dirty="0">
              <a:ln>
                <a:noFill/>
              </a:ln>
              <a:solidFill>
                <a:srgbClr val="000000"/>
              </a:solidFill>
              <a:effectLst/>
              <a:uLnTx/>
              <a:uFillTx/>
              <a:latin typeface="OPPOSans B" panose="00020600040101010101" pitchFamily="18" charset="-122"/>
              <a:ea typeface="OPPOSans B" panose="00020600040101010101" pitchFamily="18" charset="-122"/>
              <a:cs typeface="OPPOSans B" panose="00020600040101010101" pitchFamily="18" charset="-122"/>
            </a:endParaRPr>
          </a:p>
        </p:txBody>
      </p:sp>
    </p:spTree>
    <p:extLst>
      <p:ext uri="{BB962C8B-B14F-4D97-AF65-F5344CB8AC3E}">
        <p14:creationId xmlns:p14="http://schemas.microsoft.com/office/powerpoint/2010/main" val="3964345737"/>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6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 name="gaoding-1">
            <a:extLst>
              <a:ext uri="{FF2B5EF4-FFF2-40B4-BE49-F238E27FC236}">
                <a16:creationId xmlns:a16="http://schemas.microsoft.com/office/drawing/2014/main" id="{AED7FEE3-A427-4B1F-BBC3-FB4442FE3F3E}"/>
              </a:ext>
            </a:extLst>
          </p:cNvPr>
          <p:cNvSpPr/>
          <p:nvPr/>
        </p:nvSpPr>
        <p:spPr>
          <a:xfrm rot="18900000">
            <a:off x="5465312" y="4892934"/>
            <a:ext cx="1223184" cy="258830"/>
          </a:xfrm>
          <a:custGeom>
            <a:avLst/>
            <a:gdLst>
              <a:gd name="connsiteX0" fmla="*/ 152192 w 1223184"/>
              <a:gd name="connsiteY0" fmla="*/ 0 h 258830"/>
              <a:gd name="connsiteX1" fmla="*/ 1070992 w 1223184"/>
              <a:gd name="connsiteY1" fmla="*/ 0 h 258830"/>
              <a:gd name="connsiteX2" fmla="*/ 1223184 w 1223184"/>
              <a:gd name="connsiteY2" fmla="*/ 152192 h 258830"/>
              <a:gd name="connsiteX3" fmla="*/ 1223184 w 1223184"/>
              <a:gd name="connsiteY3" fmla="*/ 258830 h 258830"/>
              <a:gd name="connsiteX4" fmla="*/ 0 w 1223184"/>
              <a:gd name="connsiteY4" fmla="*/ 258830 h 258830"/>
              <a:gd name="connsiteX5" fmla="*/ 0 w 1223184"/>
              <a:gd name="connsiteY5" fmla="*/ 152192 h 258830"/>
              <a:gd name="connsiteX6" fmla="*/ 152192 w 1223184"/>
              <a:gd name="connsiteY6" fmla="*/ 0 h 25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23184" h="258830">
                <a:moveTo>
                  <a:pt x="152192" y="0"/>
                </a:moveTo>
                <a:lnTo>
                  <a:pt x="1070992" y="0"/>
                </a:lnTo>
                <a:cubicBezTo>
                  <a:pt x="1155045" y="0"/>
                  <a:pt x="1223184" y="68139"/>
                  <a:pt x="1223184" y="152192"/>
                </a:cubicBezTo>
                <a:lnTo>
                  <a:pt x="1223184" y="258830"/>
                </a:lnTo>
                <a:lnTo>
                  <a:pt x="0" y="258830"/>
                </a:lnTo>
                <a:lnTo>
                  <a:pt x="0" y="152192"/>
                </a:lnTo>
                <a:cubicBezTo>
                  <a:pt x="0" y="68139"/>
                  <a:pt x="68139" y="0"/>
                  <a:pt x="152192" y="0"/>
                </a:cubicBezTo>
                <a:close/>
              </a:path>
            </a:pathLst>
          </a:custGeom>
          <a:solidFill>
            <a:schemeClr val="bg1">
              <a:lumMod val="85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200" b="0" i="0" u="none" strike="noStrike" kern="1200" cap="none" spc="0" normalizeH="0" baseline="0" noProof="0" dirty="0">
              <a:ln>
                <a:noFill/>
              </a:ln>
              <a:solidFill>
                <a:prstClr val="white"/>
              </a:solidFill>
              <a:effectLst/>
              <a:uLnTx/>
              <a:uFillTx/>
              <a:latin typeface="OPPOSans R"/>
              <a:ea typeface="OPPOSans R"/>
              <a:cs typeface="+mn-cs"/>
            </a:endParaRPr>
          </a:p>
        </p:txBody>
      </p:sp>
      <p:sp>
        <p:nvSpPr>
          <p:cNvPr id="81" name="gaoding-2">
            <a:extLst>
              <a:ext uri="{FF2B5EF4-FFF2-40B4-BE49-F238E27FC236}">
                <a16:creationId xmlns:a16="http://schemas.microsoft.com/office/drawing/2014/main" id="{544B6D10-1B46-4BFE-9CAA-5453A87C4225}"/>
              </a:ext>
            </a:extLst>
          </p:cNvPr>
          <p:cNvSpPr/>
          <p:nvPr/>
        </p:nvSpPr>
        <p:spPr>
          <a:xfrm rot="18900000">
            <a:off x="2842310" y="4409142"/>
            <a:ext cx="1223184" cy="258830"/>
          </a:xfrm>
          <a:custGeom>
            <a:avLst/>
            <a:gdLst>
              <a:gd name="connsiteX0" fmla="*/ 152192 w 1223184"/>
              <a:gd name="connsiteY0" fmla="*/ 0 h 258830"/>
              <a:gd name="connsiteX1" fmla="*/ 1070992 w 1223184"/>
              <a:gd name="connsiteY1" fmla="*/ 0 h 258830"/>
              <a:gd name="connsiteX2" fmla="*/ 1223184 w 1223184"/>
              <a:gd name="connsiteY2" fmla="*/ 152192 h 258830"/>
              <a:gd name="connsiteX3" fmla="*/ 1223184 w 1223184"/>
              <a:gd name="connsiteY3" fmla="*/ 258830 h 258830"/>
              <a:gd name="connsiteX4" fmla="*/ 0 w 1223184"/>
              <a:gd name="connsiteY4" fmla="*/ 258830 h 258830"/>
              <a:gd name="connsiteX5" fmla="*/ 0 w 1223184"/>
              <a:gd name="connsiteY5" fmla="*/ 152192 h 258830"/>
              <a:gd name="connsiteX6" fmla="*/ 152192 w 1223184"/>
              <a:gd name="connsiteY6" fmla="*/ 0 h 25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23184" h="258830">
                <a:moveTo>
                  <a:pt x="152192" y="0"/>
                </a:moveTo>
                <a:lnTo>
                  <a:pt x="1070992" y="0"/>
                </a:lnTo>
                <a:cubicBezTo>
                  <a:pt x="1155045" y="0"/>
                  <a:pt x="1223184" y="68139"/>
                  <a:pt x="1223184" y="152192"/>
                </a:cubicBezTo>
                <a:lnTo>
                  <a:pt x="1223184" y="258830"/>
                </a:lnTo>
                <a:lnTo>
                  <a:pt x="0" y="258830"/>
                </a:lnTo>
                <a:lnTo>
                  <a:pt x="0" y="152192"/>
                </a:lnTo>
                <a:cubicBezTo>
                  <a:pt x="0" y="68139"/>
                  <a:pt x="68139" y="0"/>
                  <a:pt x="152192" y="0"/>
                </a:cubicBezTo>
                <a:close/>
              </a:path>
            </a:pathLst>
          </a:custGeom>
          <a:solidFill>
            <a:schemeClr val="bg1">
              <a:lumMod val="85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200" b="0" i="0" u="none" strike="noStrike" kern="1200" cap="none" spc="0" normalizeH="0" baseline="0" noProof="0" dirty="0">
              <a:ln>
                <a:noFill/>
              </a:ln>
              <a:solidFill>
                <a:prstClr val="white"/>
              </a:solidFill>
              <a:effectLst/>
              <a:uLnTx/>
              <a:uFillTx/>
              <a:latin typeface="OPPOSans R"/>
              <a:ea typeface="OPPOSans R"/>
              <a:cs typeface="+mn-cs"/>
            </a:endParaRPr>
          </a:p>
        </p:txBody>
      </p:sp>
      <p:cxnSp>
        <p:nvCxnSpPr>
          <p:cNvPr id="17" name="gaoding-3">
            <a:extLst>
              <a:ext uri="{FF2B5EF4-FFF2-40B4-BE49-F238E27FC236}">
                <a16:creationId xmlns:a16="http://schemas.microsoft.com/office/drawing/2014/main" id="{088E2E24-8D8F-45F4-AF39-4A1B0670A7CA}"/>
              </a:ext>
            </a:extLst>
          </p:cNvPr>
          <p:cNvCxnSpPr>
            <a:cxnSpLocks/>
          </p:cNvCxnSpPr>
          <p:nvPr/>
        </p:nvCxnSpPr>
        <p:spPr>
          <a:xfrm>
            <a:off x="3112565" y="2433796"/>
            <a:ext cx="1316511" cy="1316511"/>
          </a:xfrm>
          <a:prstGeom prst="line">
            <a:avLst/>
          </a:prstGeom>
          <a:solidFill>
            <a:schemeClr val="bg1">
              <a:alpha val="0"/>
            </a:schemeClr>
          </a:solidFill>
          <a:ln w="12700" cap="flat" cmpd="sng" algn="ctr">
            <a:solidFill>
              <a:schemeClr val="bg1">
                <a:lumMod val="85000"/>
              </a:schemeClr>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cxnSp>
      <p:cxnSp>
        <p:nvCxnSpPr>
          <p:cNvPr id="30" name="gaoding-4">
            <a:extLst>
              <a:ext uri="{FF2B5EF4-FFF2-40B4-BE49-F238E27FC236}">
                <a16:creationId xmlns:a16="http://schemas.microsoft.com/office/drawing/2014/main" id="{8072108E-4768-46CB-9CA3-B5B7200D0236}"/>
              </a:ext>
            </a:extLst>
          </p:cNvPr>
          <p:cNvCxnSpPr>
            <a:cxnSpLocks/>
          </p:cNvCxnSpPr>
          <p:nvPr/>
        </p:nvCxnSpPr>
        <p:spPr>
          <a:xfrm flipV="1">
            <a:off x="3112565" y="3750307"/>
            <a:ext cx="1316511" cy="1316511"/>
          </a:xfrm>
          <a:prstGeom prst="line">
            <a:avLst/>
          </a:prstGeom>
          <a:solidFill>
            <a:schemeClr val="bg1">
              <a:alpha val="0"/>
            </a:schemeClr>
          </a:solidFill>
          <a:ln w="12700" cap="flat" cmpd="sng" algn="ctr">
            <a:solidFill>
              <a:schemeClr val="bg1">
                <a:lumMod val="85000"/>
              </a:schemeClr>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cxnSp>
      <p:sp>
        <p:nvSpPr>
          <p:cNvPr id="37" name="gaoding-5">
            <a:extLst>
              <a:ext uri="{FF2B5EF4-FFF2-40B4-BE49-F238E27FC236}">
                <a16:creationId xmlns:a16="http://schemas.microsoft.com/office/drawing/2014/main" id="{3AEE2CBA-9EAE-4995-B4A0-C694FCD1F846}"/>
              </a:ext>
            </a:extLst>
          </p:cNvPr>
          <p:cNvSpPr/>
          <p:nvPr/>
        </p:nvSpPr>
        <p:spPr>
          <a:xfrm rot="2700000">
            <a:off x="2836595" y="2831541"/>
            <a:ext cx="1223184" cy="258830"/>
          </a:xfrm>
          <a:custGeom>
            <a:avLst/>
            <a:gdLst>
              <a:gd name="connsiteX0" fmla="*/ 0 w 2257063"/>
              <a:gd name="connsiteY0" fmla="*/ 0 h 477602"/>
              <a:gd name="connsiteX1" fmla="*/ 2257063 w 2257063"/>
              <a:gd name="connsiteY1" fmla="*/ 0 h 477602"/>
              <a:gd name="connsiteX2" fmla="*/ 2257063 w 2257063"/>
              <a:gd name="connsiteY2" fmla="*/ 196772 h 477602"/>
              <a:gd name="connsiteX3" fmla="*/ 1976233 w 2257063"/>
              <a:gd name="connsiteY3" fmla="*/ 477602 h 477602"/>
              <a:gd name="connsiteX4" fmla="*/ 280830 w 2257063"/>
              <a:gd name="connsiteY4" fmla="*/ 477602 h 477602"/>
              <a:gd name="connsiteX5" fmla="*/ 0 w 2257063"/>
              <a:gd name="connsiteY5" fmla="*/ 196772 h 4776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7063" h="477602">
                <a:moveTo>
                  <a:pt x="0" y="0"/>
                </a:moveTo>
                <a:lnTo>
                  <a:pt x="2257063" y="0"/>
                </a:lnTo>
                <a:lnTo>
                  <a:pt x="2257063" y="196772"/>
                </a:lnTo>
                <a:cubicBezTo>
                  <a:pt x="2257063" y="351870"/>
                  <a:pt x="2131331" y="477602"/>
                  <a:pt x="1976233" y="477602"/>
                </a:cubicBezTo>
                <a:lnTo>
                  <a:pt x="280830" y="477602"/>
                </a:lnTo>
                <a:cubicBezTo>
                  <a:pt x="125732" y="477602"/>
                  <a:pt x="0" y="351870"/>
                  <a:pt x="0" y="196772"/>
                </a:cubicBezTo>
                <a:close/>
              </a:path>
            </a:pathLst>
          </a:custGeom>
          <a:solidFill>
            <a:schemeClr val="bg1">
              <a:lumMod val="85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200" b="0" i="0" u="none" strike="noStrike" kern="1200" cap="none" spc="0" normalizeH="0" baseline="0" noProof="0" dirty="0">
              <a:ln>
                <a:noFill/>
              </a:ln>
              <a:solidFill>
                <a:prstClr val="white"/>
              </a:solidFill>
              <a:effectLst/>
              <a:uLnTx/>
              <a:uFillTx/>
              <a:latin typeface="OPPOSans R"/>
              <a:ea typeface="OPPOSans R"/>
              <a:cs typeface="+mn-cs"/>
            </a:endParaRPr>
          </a:p>
        </p:txBody>
      </p:sp>
      <p:cxnSp>
        <p:nvCxnSpPr>
          <p:cNvPr id="21" name="gaoding-6">
            <a:extLst>
              <a:ext uri="{FF2B5EF4-FFF2-40B4-BE49-F238E27FC236}">
                <a16:creationId xmlns:a16="http://schemas.microsoft.com/office/drawing/2014/main" id="{41EA4ACF-A1EA-4B09-889A-3F5B6A4FA0F8}"/>
              </a:ext>
            </a:extLst>
          </p:cNvPr>
          <p:cNvCxnSpPr>
            <a:cxnSpLocks/>
          </p:cNvCxnSpPr>
          <p:nvPr/>
        </p:nvCxnSpPr>
        <p:spPr>
          <a:xfrm>
            <a:off x="5738190" y="1950004"/>
            <a:ext cx="1800303" cy="1800303"/>
          </a:xfrm>
          <a:prstGeom prst="line">
            <a:avLst/>
          </a:prstGeom>
          <a:solidFill>
            <a:schemeClr val="bg1">
              <a:alpha val="0"/>
            </a:schemeClr>
          </a:solidFill>
          <a:ln w="12700" cap="flat" cmpd="sng" algn="ctr">
            <a:solidFill>
              <a:schemeClr val="bg1">
                <a:lumMod val="85000"/>
              </a:schemeClr>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cxnSp>
      <p:cxnSp>
        <p:nvCxnSpPr>
          <p:cNvPr id="31" name="gaoding-7">
            <a:extLst>
              <a:ext uri="{FF2B5EF4-FFF2-40B4-BE49-F238E27FC236}">
                <a16:creationId xmlns:a16="http://schemas.microsoft.com/office/drawing/2014/main" id="{9E89B11B-0E5E-45A6-A83C-2ED0D4B02D7D}"/>
              </a:ext>
            </a:extLst>
          </p:cNvPr>
          <p:cNvCxnSpPr>
            <a:cxnSpLocks/>
          </p:cNvCxnSpPr>
          <p:nvPr/>
        </p:nvCxnSpPr>
        <p:spPr>
          <a:xfrm flipV="1">
            <a:off x="5738190" y="3750307"/>
            <a:ext cx="1800303" cy="1800303"/>
          </a:xfrm>
          <a:prstGeom prst="line">
            <a:avLst/>
          </a:prstGeom>
          <a:solidFill>
            <a:schemeClr val="bg1">
              <a:alpha val="0"/>
            </a:schemeClr>
          </a:solidFill>
          <a:ln w="12700" cap="flat" cmpd="sng" algn="ctr">
            <a:solidFill>
              <a:schemeClr val="bg1">
                <a:lumMod val="85000"/>
              </a:schemeClr>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cxnSp>
      <p:sp>
        <p:nvSpPr>
          <p:cNvPr id="38" name="gaoding-8">
            <a:extLst>
              <a:ext uri="{FF2B5EF4-FFF2-40B4-BE49-F238E27FC236}">
                <a16:creationId xmlns:a16="http://schemas.microsoft.com/office/drawing/2014/main" id="{AB7FCE48-1D66-480D-858D-B7153D60317A}"/>
              </a:ext>
            </a:extLst>
          </p:cNvPr>
          <p:cNvSpPr/>
          <p:nvPr/>
        </p:nvSpPr>
        <p:spPr>
          <a:xfrm rot="2700000">
            <a:off x="5459597" y="2347749"/>
            <a:ext cx="1223184" cy="258830"/>
          </a:xfrm>
          <a:custGeom>
            <a:avLst/>
            <a:gdLst>
              <a:gd name="connsiteX0" fmla="*/ 0 w 2257063"/>
              <a:gd name="connsiteY0" fmla="*/ 0 h 477602"/>
              <a:gd name="connsiteX1" fmla="*/ 2257063 w 2257063"/>
              <a:gd name="connsiteY1" fmla="*/ 0 h 477602"/>
              <a:gd name="connsiteX2" fmla="*/ 2257063 w 2257063"/>
              <a:gd name="connsiteY2" fmla="*/ 196772 h 477602"/>
              <a:gd name="connsiteX3" fmla="*/ 1976233 w 2257063"/>
              <a:gd name="connsiteY3" fmla="*/ 477602 h 477602"/>
              <a:gd name="connsiteX4" fmla="*/ 280830 w 2257063"/>
              <a:gd name="connsiteY4" fmla="*/ 477602 h 477602"/>
              <a:gd name="connsiteX5" fmla="*/ 0 w 2257063"/>
              <a:gd name="connsiteY5" fmla="*/ 196772 h 4776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7063" h="477602">
                <a:moveTo>
                  <a:pt x="0" y="0"/>
                </a:moveTo>
                <a:lnTo>
                  <a:pt x="2257063" y="0"/>
                </a:lnTo>
                <a:lnTo>
                  <a:pt x="2257063" y="196772"/>
                </a:lnTo>
                <a:cubicBezTo>
                  <a:pt x="2257063" y="351870"/>
                  <a:pt x="2131331" y="477602"/>
                  <a:pt x="1976233" y="477602"/>
                </a:cubicBezTo>
                <a:lnTo>
                  <a:pt x="280830" y="477602"/>
                </a:lnTo>
                <a:cubicBezTo>
                  <a:pt x="125732" y="477602"/>
                  <a:pt x="0" y="351870"/>
                  <a:pt x="0" y="196772"/>
                </a:cubicBezTo>
                <a:close/>
              </a:path>
            </a:pathLst>
          </a:custGeom>
          <a:solidFill>
            <a:schemeClr val="bg1">
              <a:lumMod val="85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200" b="0" i="0" u="none" strike="noStrike" kern="1200" cap="none" spc="0" normalizeH="0" baseline="0" noProof="0" dirty="0">
              <a:ln>
                <a:noFill/>
              </a:ln>
              <a:solidFill>
                <a:prstClr val="white"/>
              </a:solidFill>
              <a:effectLst/>
              <a:uLnTx/>
              <a:uFillTx/>
              <a:latin typeface="OPPOSans R"/>
              <a:ea typeface="OPPOSans R"/>
              <a:cs typeface="+mn-cs"/>
            </a:endParaRPr>
          </a:p>
        </p:txBody>
      </p:sp>
      <p:cxnSp>
        <p:nvCxnSpPr>
          <p:cNvPr id="22" name="gaoding-9">
            <a:extLst>
              <a:ext uri="{FF2B5EF4-FFF2-40B4-BE49-F238E27FC236}">
                <a16:creationId xmlns:a16="http://schemas.microsoft.com/office/drawing/2014/main" id="{10C83FF6-7EE0-4C92-8D69-4050039A075F}"/>
              </a:ext>
            </a:extLst>
          </p:cNvPr>
          <p:cNvCxnSpPr>
            <a:cxnSpLocks/>
          </p:cNvCxnSpPr>
          <p:nvPr/>
        </p:nvCxnSpPr>
        <p:spPr>
          <a:xfrm>
            <a:off x="8360731" y="1441750"/>
            <a:ext cx="2308557" cy="2308557"/>
          </a:xfrm>
          <a:prstGeom prst="line">
            <a:avLst/>
          </a:prstGeom>
          <a:solidFill>
            <a:schemeClr val="bg1">
              <a:alpha val="0"/>
            </a:schemeClr>
          </a:solidFill>
          <a:ln w="12700" cap="flat" cmpd="sng" algn="ctr">
            <a:solidFill>
              <a:schemeClr val="bg1">
                <a:lumMod val="85000"/>
              </a:schemeClr>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cxnSp>
      <p:cxnSp>
        <p:nvCxnSpPr>
          <p:cNvPr id="32" name="gaoding-10">
            <a:extLst>
              <a:ext uri="{FF2B5EF4-FFF2-40B4-BE49-F238E27FC236}">
                <a16:creationId xmlns:a16="http://schemas.microsoft.com/office/drawing/2014/main" id="{718906C1-68F9-4390-83C4-FD7EB49B4C28}"/>
              </a:ext>
            </a:extLst>
          </p:cNvPr>
          <p:cNvCxnSpPr>
            <a:cxnSpLocks/>
          </p:cNvCxnSpPr>
          <p:nvPr/>
        </p:nvCxnSpPr>
        <p:spPr>
          <a:xfrm flipV="1">
            <a:off x="8360731" y="3750307"/>
            <a:ext cx="2308557" cy="2308557"/>
          </a:xfrm>
          <a:prstGeom prst="line">
            <a:avLst/>
          </a:prstGeom>
          <a:solidFill>
            <a:schemeClr val="bg1">
              <a:alpha val="0"/>
            </a:schemeClr>
          </a:solidFill>
          <a:ln w="12700" cap="flat" cmpd="sng" algn="ctr">
            <a:solidFill>
              <a:schemeClr val="bg1">
                <a:lumMod val="85000"/>
              </a:schemeClr>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cxnSp>
      <p:sp>
        <p:nvSpPr>
          <p:cNvPr id="63" name="任意多边形: 形状 62">
            <a:extLst>
              <a:ext uri="{FF2B5EF4-FFF2-40B4-BE49-F238E27FC236}">
                <a16:creationId xmlns:a16="http://schemas.microsoft.com/office/drawing/2014/main" id="{DAAA1701-A81F-9B3B-6CA9-3EB8053FC128}"/>
              </a:ext>
            </a:extLst>
          </p:cNvPr>
          <p:cNvSpPr/>
          <p:nvPr/>
        </p:nvSpPr>
        <p:spPr>
          <a:xfrm rot="2700000">
            <a:off x="8083343" y="1839495"/>
            <a:ext cx="1223184" cy="258830"/>
          </a:xfrm>
          <a:custGeom>
            <a:avLst/>
            <a:gdLst>
              <a:gd name="connsiteX0" fmla="*/ 0 w 1223184"/>
              <a:gd name="connsiteY0" fmla="*/ 0 h 258830"/>
              <a:gd name="connsiteX1" fmla="*/ 1223184 w 1223184"/>
              <a:gd name="connsiteY1" fmla="*/ 0 h 258830"/>
              <a:gd name="connsiteX2" fmla="*/ 1223184 w 1223184"/>
              <a:gd name="connsiteY2" fmla="*/ 106638 h 258830"/>
              <a:gd name="connsiteX3" fmla="*/ 1070992 w 1223184"/>
              <a:gd name="connsiteY3" fmla="*/ 258830 h 258830"/>
              <a:gd name="connsiteX4" fmla="*/ 152192 w 1223184"/>
              <a:gd name="connsiteY4" fmla="*/ 258830 h 258830"/>
              <a:gd name="connsiteX5" fmla="*/ 0 w 1223184"/>
              <a:gd name="connsiteY5" fmla="*/ 106638 h 25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23184" h="258830">
                <a:moveTo>
                  <a:pt x="0" y="0"/>
                </a:moveTo>
                <a:lnTo>
                  <a:pt x="1223184" y="0"/>
                </a:lnTo>
                <a:lnTo>
                  <a:pt x="1223184" y="106638"/>
                </a:lnTo>
                <a:cubicBezTo>
                  <a:pt x="1223184" y="190691"/>
                  <a:pt x="1155045" y="258830"/>
                  <a:pt x="1070992" y="258830"/>
                </a:cubicBezTo>
                <a:lnTo>
                  <a:pt x="152192" y="258830"/>
                </a:lnTo>
                <a:cubicBezTo>
                  <a:pt x="68139" y="258830"/>
                  <a:pt x="0" y="190691"/>
                  <a:pt x="0" y="106638"/>
                </a:cubicBezTo>
                <a:close/>
              </a:path>
            </a:pathLst>
          </a:custGeom>
          <a:solidFill>
            <a:schemeClr val="bg1">
              <a:lumMod val="85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200" b="0" i="0" u="none" strike="noStrike" kern="1200" cap="none" spc="0" normalizeH="0" baseline="0" noProof="0" dirty="0">
              <a:ln>
                <a:noFill/>
              </a:ln>
              <a:solidFill>
                <a:prstClr val="white"/>
              </a:solidFill>
              <a:effectLst/>
              <a:uLnTx/>
              <a:uFillTx/>
              <a:latin typeface="OPPOSans R"/>
              <a:ea typeface="OPPOSans R"/>
              <a:cs typeface="+mn-cs"/>
            </a:endParaRPr>
          </a:p>
        </p:txBody>
      </p:sp>
      <p:sp>
        <p:nvSpPr>
          <p:cNvPr id="45" name="gaoding-12">
            <a:extLst>
              <a:ext uri="{FF2B5EF4-FFF2-40B4-BE49-F238E27FC236}">
                <a16:creationId xmlns:a16="http://schemas.microsoft.com/office/drawing/2014/main" id="{B42EFD4D-C9B7-443D-A598-22C5BEB7C449}"/>
              </a:ext>
            </a:extLst>
          </p:cNvPr>
          <p:cNvSpPr txBox="1"/>
          <p:nvPr/>
        </p:nvSpPr>
        <p:spPr>
          <a:xfrm>
            <a:off x="1116192" y="2843778"/>
            <a:ext cx="1914343" cy="333427"/>
          </a:xfrm>
          <a:prstGeom prst="roundRect">
            <a:avLst>
              <a:gd name="adj" fmla="val 50000"/>
            </a:avLst>
          </a:prstGeom>
          <a:noFill/>
          <a:ln>
            <a:solidFill>
              <a:schemeClr val="tx2"/>
            </a:solidFill>
          </a:ln>
        </p:spPr>
        <p:txBody>
          <a:bodyPr wrap="square" lIns="0" tIns="45720" rIns="0" bIns="45720" anchor="ctr" anchorCtr="0">
            <a:noAutofit/>
          </a:bodyPr>
          <a:lstStyle/>
          <a:p>
            <a:pPr marL="171450" marR="0" lvl="0" indent="-171450" algn="ctr" defTabSz="913765" rtl="0" eaLnBrk="1" fontAlgn="auto" latinLnBrk="0" hangingPunct="1">
              <a:lnSpc>
                <a:spcPct val="100000"/>
              </a:lnSpc>
              <a:spcBef>
                <a:spcPts val="0"/>
              </a:spcBef>
              <a:spcAft>
                <a:spcPts val="0"/>
              </a:spcAft>
              <a:buClrTx/>
              <a:buSzPct val="80000"/>
              <a:buFont typeface="Wingdings" panose="05000000000000000000" pitchFamily="2" charset="2"/>
              <a:buChar char="ü"/>
              <a:tabLst/>
              <a:defRPr/>
            </a:pPr>
            <a:endParaRPr kumimoji="0" lang="en-US" altLang="zh-CN" sz="1200" b="0" i="0" u="none" strike="noStrike" kern="1200" cap="none" spc="0" normalizeH="0" baseline="0" noProof="0" dirty="0">
              <a:ln>
                <a:noFill/>
              </a:ln>
              <a:solidFill>
                <a:prstClr val="black">
                  <a:lumMod val="85000"/>
                  <a:lumOff val="15000"/>
                </a:prstClr>
              </a:solidFill>
              <a:effectLst/>
              <a:uLnTx/>
              <a:uFillTx/>
              <a:latin typeface="OPPOSans R"/>
              <a:ea typeface="OPPOSans R"/>
              <a:cs typeface="+mn-cs"/>
            </a:endParaRPr>
          </a:p>
        </p:txBody>
      </p:sp>
      <p:sp>
        <p:nvSpPr>
          <p:cNvPr id="57" name="gaoding-13">
            <a:extLst>
              <a:ext uri="{FF2B5EF4-FFF2-40B4-BE49-F238E27FC236}">
                <a16:creationId xmlns:a16="http://schemas.microsoft.com/office/drawing/2014/main" id="{80B82F8A-5E5D-4019-814A-96EF10D8C994}"/>
              </a:ext>
            </a:extLst>
          </p:cNvPr>
          <p:cNvSpPr txBox="1"/>
          <p:nvPr/>
        </p:nvSpPr>
        <p:spPr>
          <a:xfrm rot="10800000" flipV="1">
            <a:off x="1116192" y="4329786"/>
            <a:ext cx="1914343" cy="333427"/>
          </a:xfrm>
          <a:prstGeom prst="roundRect">
            <a:avLst>
              <a:gd name="adj" fmla="val 50000"/>
            </a:avLst>
          </a:prstGeom>
          <a:noFill/>
          <a:ln>
            <a:solidFill>
              <a:schemeClr val="tx2"/>
            </a:solidFill>
          </a:ln>
        </p:spPr>
        <p:txBody>
          <a:bodyPr wrap="square" lIns="0" tIns="45720" rIns="0" bIns="45720" anchor="ctr" anchorCtr="0">
            <a:noAutofit/>
          </a:bodyPr>
          <a:lstStyle/>
          <a:p>
            <a:pPr marL="171450" marR="0" lvl="0" indent="-171450" algn="ctr" defTabSz="913765" rtl="0" eaLnBrk="1" fontAlgn="auto" latinLnBrk="0" hangingPunct="1">
              <a:lnSpc>
                <a:spcPct val="100000"/>
              </a:lnSpc>
              <a:spcBef>
                <a:spcPts val="0"/>
              </a:spcBef>
              <a:spcAft>
                <a:spcPts val="0"/>
              </a:spcAft>
              <a:buClrTx/>
              <a:buSzPct val="80000"/>
              <a:buFont typeface="Wingdings" panose="05000000000000000000" pitchFamily="2" charset="2"/>
              <a:buChar char="ü"/>
              <a:tabLst/>
              <a:defRPr/>
            </a:pPr>
            <a:endParaRPr kumimoji="0" lang="en-US" altLang="zh-CN" sz="1200" b="0" i="0" u="none" strike="noStrike" kern="1200" cap="none" spc="0" normalizeH="0" baseline="0" noProof="0" dirty="0">
              <a:ln>
                <a:noFill/>
              </a:ln>
              <a:solidFill>
                <a:prstClr val="black">
                  <a:lumMod val="85000"/>
                  <a:lumOff val="15000"/>
                </a:prstClr>
              </a:solidFill>
              <a:effectLst/>
              <a:uLnTx/>
              <a:uFillTx/>
              <a:latin typeface="OPPOSans R"/>
              <a:ea typeface="OPPOSans R"/>
              <a:cs typeface="+mn-cs"/>
            </a:endParaRPr>
          </a:p>
        </p:txBody>
      </p:sp>
      <p:sp>
        <p:nvSpPr>
          <p:cNvPr id="61" name="gaoding-14">
            <a:extLst>
              <a:ext uri="{FF2B5EF4-FFF2-40B4-BE49-F238E27FC236}">
                <a16:creationId xmlns:a16="http://schemas.microsoft.com/office/drawing/2014/main" id="{FE3B8301-84BF-4913-B46E-0DF4ABEB7537}"/>
              </a:ext>
            </a:extLst>
          </p:cNvPr>
          <p:cNvSpPr txBox="1"/>
          <p:nvPr/>
        </p:nvSpPr>
        <p:spPr>
          <a:xfrm>
            <a:off x="4204313" y="2843778"/>
            <a:ext cx="1914343" cy="333427"/>
          </a:xfrm>
          <a:prstGeom prst="roundRect">
            <a:avLst>
              <a:gd name="adj" fmla="val 50000"/>
            </a:avLst>
          </a:prstGeom>
          <a:noFill/>
          <a:ln>
            <a:solidFill>
              <a:schemeClr val="tx2"/>
            </a:solidFill>
          </a:ln>
        </p:spPr>
        <p:txBody>
          <a:bodyPr wrap="square" lIns="0" tIns="45720" rIns="0" bIns="45720" anchor="ctr" anchorCtr="0">
            <a:noAutofit/>
          </a:bodyPr>
          <a:lstStyle/>
          <a:p>
            <a:pPr marL="171450" marR="0" lvl="0" indent="-171450" algn="ctr" defTabSz="913765" rtl="0" eaLnBrk="1" fontAlgn="auto" latinLnBrk="0" hangingPunct="1">
              <a:lnSpc>
                <a:spcPct val="100000"/>
              </a:lnSpc>
              <a:spcBef>
                <a:spcPts val="0"/>
              </a:spcBef>
              <a:spcAft>
                <a:spcPts val="0"/>
              </a:spcAft>
              <a:buClrTx/>
              <a:buSzPct val="80000"/>
              <a:buFont typeface="Wingdings" panose="05000000000000000000" pitchFamily="2" charset="2"/>
              <a:buChar char="ü"/>
              <a:tabLst/>
              <a:defRPr/>
            </a:pPr>
            <a:endParaRPr kumimoji="0" lang="en-US" altLang="zh-CN" sz="1200" b="0" i="0" u="none" strike="noStrike" kern="1200" cap="none" spc="0" normalizeH="0" baseline="0" noProof="0" dirty="0">
              <a:ln>
                <a:noFill/>
              </a:ln>
              <a:solidFill>
                <a:prstClr val="black">
                  <a:lumMod val="85000"/>
                  <a:lumOff val="15000"/>
                </a:prstClr>
              </a:solidFill>
              <a:effectLst/>
              <a:uLnTx/>
              <a:uFillTx/>
              <a:latin typeface="OPPOSans R"/>
              <a:ea typeface="OPPOSans R"/>
              <a:cs typeface="+mn-cs"/>
            </a:endParaRPr>
          </a:p>
        </p:txBody>
      </p:sp>
      <p:sp>
        <p:nvSpPr>
          <p:cNvPr id="64" name="gaoding-15">
            <a:extLst>
              <a:ext uri="{FF2B5EF4-FFF2-40B4-BE49-F238E27FC236}">
                <a16:creationId xmlns:a16="http://schemas.microsoft.com/office/drawing/2014/main" id="{AC2B4B2A-55F6-4133-93BB-CD58669AA872}"/>
              </a:ext>
            </a:extLst>
          </p:cNvPr>
          <p:cNvSpPr txBox="1"/>
          <p:nvPr/>
        </p:nvSpPr>
        <p:spPr>
          <a:xfrm rot="10800000" flipV="1">
            <a:off x="4204313" y="4329786"/>
            <a:ext cx="1914343" cy="333427"/>
          </a:xfrm>
          <a:prstGeom prst="roundRect">
            <a:avLst>
              <a:gd name="adj" fmla="val 50000"/>
            </a:avLst>
          </a:prstGeom>
          <a:noFill/>
          <a:ln>
            <a:solidFill>
              <a:schemeClr val="tx2"/>
            </a:solidFill>
          </a:ln>
        </p:spPr>
        <p:txBody>
          <a:bodyPr wrap="square" lIns="0" tIns="45720" rIns="0" bIns="45720" anchor="ctr" anchorCtr="0">
            <a:noAutofit/>
          </a:bodyPr>
          <a:lstStyle/>
          <a:p>
            <a:pPr marL="171450" marR="0" lvl="0" indent="-171450" algn="ctr" defTabSz="913765" rtl="0" eaLnBrk="1" fontAlgn="auto" latinLnBrk="0" hangingPunct="1">
              <a:lnSpc>
                <a:spcPct val="100000"/>
              </a:lnSpc>
              <a:spcBef>
                <a:spcPts val="0"/>
              </a:spcBef>
              <a:spcAft>
                <a:spcPts val="0"/>
              </a:spcAft>
              <a:buClrTx/>
              <a:buSzPct val="80000"/>
              <a:buFont typeface="Wingdings" panose="05000000000000000000" pitchFamily="2" charset="2"/>
              <a:buChar char="ü"/>
              <a:tabLst/>
              <a:defRPr/>
            </a:pPr>
            <a:endParaRPr kumimoji="0" lang="en-US" altLang="zh-CN" sz="1200" b="0" i="0" u="none" strike="noStrike" kern="1200" cap="none" spc="0" normalizeH="0" baseline="0" noProof="0" dirty="0">
              <a:ln>
                <a:noFill/>
              </a:ln>
              <a:solidFill>
                <a:prstClr val="black">
                  <a:lumMod val="85000"/>
                  <a:lumOff val="15000"/>
                </a:prstClr>
              </a:solidFill>
              <a:effectLst/>
              <a:uLnTx/>
              <a:uFillTx/>
              <a:latin typeface="OPPOSans R"/>
              <a:ea typeface="OPPOSans R"/>
              <a:cs typeface="+mn-cs"/>
            </a:endParaRPr>
          </a:p>
        </p:txBody>
      </p:sp>
      <p:sp>
        <p:nvSpPr>
          <p:cNvPr id="66" name="gaoding-16">
            <a:extLst>
              <a:ext uri="{FF2B5EF4-FFF2-40B4-BE49-F238E27FC236}">
                <a16:creationId xmlns:a16="http://schemas.microsoft.com/office/drawing/2014/main" id="{F30F3212-4B81-465F-AB8A-75168A18FF57}"/>
              </a:ext>
            </a:extLst>
          </p:cNvPr>
          <p:cNvSpPr txBox="1"/>
          <p:nvPr/>
        </p:nvSpPr>
        <p:spPr>
          <a:xfrm>
            <a:off x="3795907" y="2415975"/>
            <a:ext cx="1914343" cy="333427"/>
          </a:xfrm>
          <a:prstGeom prst="roundRect">
            <a:avLst>
              <a:gd name="adj" fmla="val 50000"/>
            </a:avLst>
          </a:prstGeom>
          <a:noFill/>
          <a:ln>
            <a:solidFill>
              <a:schemeClr val="tx2"/>
            </a:solidFill>
          </a:ln>
        </p:spPr>
        <p:txBody>
          <a:bodyPr wrap="square" lIns="0" tIns="45720" rIns="0" bIns="45720" anchor="ctr" anchorCtr="0">
            <a:noAutofit/>
          </a:bodyPr>
          <a:lstStyle/>
          <a:p>
            <a:pPr marL="171450" marR="0" lvl="0" indent="-171450" algn="ctr" defTabSz="913765" rtl="0" eaLnBrk="1" fontAlgn="auto" latinLnBrk="0" hangingPunct="1">
              <a:lnSpc>
                <a:spcPct val="100000"/>
              </a:lnSpc>
              <a:spcBef>
                <a:spcPts val="0"/>
              </a:spcBef>
              <a:spcAft>
                <a:spcPts val="0"/>
              </a:spcAft>
              <a:buClrTx/>
              <a:buSzPct val="80000"/>
              <a:buFont typeface="Wingdings" panose="05000000000000000000" pitchFamily="2" charset="2"/>
              <a:buChar char="ü"/>
              <a:tabLst/>
              <a:defRPr/>
            </a:pPr>
            <a:endParaRPr kumimoji="0" lang="en-US" altLang="zh-CN" sz="1200" b="0" i="0" u="none" strike="noStrike" kern="1200" cap="none" spc="0" normalizeH="0" baseline="0" noProof="0" dirty="0">
              <a:ln>
                <a:noFill/>
              </a:ln>
              <a:solidFill>
                <a:prstClr val="black">
                  <a:lumMod val="85000"/>
                  <a:lumOff val="15000"/>
                </a:prstClr>
              </a:solidFill>
              <a:effectLst/>
              <a:uLnTx/>
              <a:uFillTx/>
              <a:latin typeface="OPPOSans R"/>
              <a:ea typeface="OPPOSans R"/>
              <a:cs typeface="+mn-cs"/>
            </a:endParaRPr>
          </a:p>
        </p:txBody>
      </p:sp>
      <p:sp>
        <p:nvSpPr>
          <p:cNvPr id="67" name="gaoding-17">
            <a:extLst>
              <a:ext uri="{FF2B5EF4-FFF2-40B4-BE49-F238E27FC236}">
                <a16:creationId xmlns:a16="http://schemas.microsoft.com/office/drawing/2014/main" id="{B3DF10B9-80FF-403A-B444-2CB435D23C0C}"/>
              </a:ext>
            </a:extLst>
          </p:cNvPr>
          <p:cNvSpPr txBox="1"/>
          <p:nvPr/>
        </p:nvSpPr>
        <p:spPr>
          <a:xfrm>
            <a:off x="3795907" y="4753462"/>
            <a:ext cx="1914343" cy="333427"/>
          </a:xfrm>
          <a:prstGeom prst="roundRect">
            <a:avLst>
              <a:gd name="adj" fmla="val 50000"/>
            </a:avLst>
          </a:prstGeom>
          <a:noFill/>
          <a:ln>
            <a:solidFill>
              <a:schemeClr val="tx2"/>
            </a:solidFill>
          </a:ln>
        </p:spPr>
        <p:txBody>
          <a:bodyPr wrap="square" lIns="0" tIns="45720" rIns="0" bIns="45720" anchor="ctr" anchorCtr="0">
            <a:noAutofit/>
          </a:bodyPr>
          <a:lstStyle/>
          <a:p>
            <a:pPr marL="171450" marR="0" lvl="0" indent="-171450" algn="ctr" defTabSz="913765" rtl="0" eaLnBrk="1" fontAlgn="auto" latinLnBrk="0" hangingPunct="1">
              <a:lnSpc>
                <a:spcPct val="100000"/>
              </a:lnSpc>
              <a:spcBef>
                <a:spcPts val="0"/>
              </a:spcBef>
              <a:spcAft>
                <a:spcPts val="0"/>
              </a:spcAft>
              <a:buClrTx/>
              <a:buSzPct val="80000"/>
              <a:buFont typeface="Wingdings" panose="05000000000000000000" pitchFamily="2" charset="2"/>
              <a:buChar char="ü"/>
              <a:tabLst/>
              <a:defRPr/>
            </a:pPr>
            <a:endParaRPr kumimoji="0" lang="en-US" altLang="zh-CN" sz="1200" b="0" i="0" u="none" strike="noStrike" kern="1200" cap="none" spc="0" normalizeH="0" baseline="0" noProof="0" dirty="0">
              <a:ln>
                <a:noFill/>
              </a:ln>
              <a:solidFill>
                <a:prstClr val="black">
                  <a:lumMod val="85000"/>
                  <a:lumOff val="15000"/>
                </a:prstClr>
              </a:solidFill>
              <a:effectLst/>
              <a:uLnTx/>
              <a:uFillTx/>
              <a:latin typeface="OPPOSans R"/>
              <a:ea typeface="OPPOSans R"/>
              <a:cs typeface="+mn-cs"/>
            </a:endParaRPr>
          </a:p>
        </p:txBody>
      </p:sp>
      <p:sp>
        <p:nvSpPr>
          <p:cNvPr id="68" name="gaoding-18">
            <a:extLst>
              <a:ext uri="{FF2B5EF4-FFF2-40B4-BE49-F238E27FC236}">
                <a16:creationId xmlns:a16="http://schemas.microsoft.com/office/drawing/2014/main" id="{E1B7876F-1313-4D01-A0F6-3F8142FE3E2A}"/>
              </a:ext>
            </a:extLst>
          </p:cNvPr>
          <p:cNvSpPr txBox="1"/>
          <p:nvPr/>
        </p:nvSpPr>
        <p:spPr>
          <a:xfrm>
            <a:off x="7304028" y="2843778"/>
            <a:ext cx="1914343" cy="333427"/>
          </a:xfrm>
          <a:prstGeom prst="roundRect">
            <a:avLst>
              <a:gd name="adj" fmla="val 50000"/>
            </a:avLst>
          </a:prstGeom>
          <a:noFill/>
          <a:ln>
            <a:solidFill>
              <a:schemeClr val="tx2"/>
            </a:solidFill>
          </a:ln>
        </p:spPr>
        <p:txBody>
          <a:bodyPr wrap="square" lIns="0" tIns="45720" rIns="0" bIns="45720" anchor="ctr" anchorCtr="0">
            <a:noAutofit/>
          </a:bodyPr>
          <a:lstStyle/>
          <a:p>
            <a:pPr marL="171450" marR="0" lvl="0" indent="-171450" algn="ctr" defTabSz="913765" rtl="0" eaLnBrk="1" fontAlgn="auto" latinLnBrk="0" hangingPunct="1">
              <a:lnSpc>
                <a:spcPct val="100000"/>
              </a:lnSpc>
              <a:spcBef>
                <a:spcPts val="0"/>
              </a:spcBef>
              <a:spcAft>
                <a:spcPts val="0"/>
              </a:spcAft>
              <a:buClrTx/>
              <a:buSzPct val="80000"/>
              <a:buFont typeface="Wingdings" panose="05000000000000000000" pitchFamily="2" charset="2"/>
              <a:buChar char="ü"/>
              <a:tabLst/>
              <a:defRPr/>
            </a:pPr>
            <a:endParaRPr kumimoji="0" lang="en-US" altLang="zh-CN" sz="1200" b="0" i="0" u="none" strike="noStrike" kern="1200" cap="none" spc="0" normalizeH="0" baseline="0" noProof="0" dirty="0">
              <a:ln>
                <a:noFill/>
              </a:ln>
              <a:solidFill>
                <a:prstClr val="black">
                  <a:lumMod val="85000"/>
                  <a:lumOff val="15000"/>
                </a:prstClr>
              </a:solidFill>
              <a:effectLst/>
              <a:uLnTx/>
              <a:uFillTx/>
              <a:latin typeface="OPPOSans R"/>
              <a:ea typeface="OPPOSans R"/>
              <a:cs typeface="+mn-cs"/>
            </a:endParaRPr>
          </a:p>
        </p:txBody>
      </p:sp>
      <p:sp>
        <p:nvSpPr>
          <p:cNvPr id="70" name="gaoding-19">
            <a:extLst>
              <a:ext uri="{FF2B5EF4-FFF2-40B4-BE49-F238E27FC236}">
                <a16:creationId xmlns:a16="http://schemas.microsoft.com/office/drawing/2014/main" id="{A4F85713-EE5A-4A3F-AB0D-10672FE4C382}"/>
              </a:ext>
            </a:extLst>
          </p:cNvPr>
          <p:cNvSpPr txBox="1"/>
          <p:nvPr/>
        </p:nvSpPr>
        <p:spPr>
          <a:xfrm rot="10800000" flipV="1">
            <a:off x="7304028" y="4329786"/>
            <a:ext cx="1914343" cy="333427"/>
          </a:xfrm>
          <a:prstGeom prst="roundRect">
            <a:avLst>
              <a:gd name="adj" fmla="val 50000"/>
            </a:avLst>
          </a:prstGeom>
          <a:noFill/>
          <a:ln>
            <a:solidFill>
              <a:schemeClr val="tx2"/>
            </a:solidFill>
          </a:ln>
        </p:spPr>
        <p:txBody>
          <a:bodyPr wrap="square" lIns="0" tIns="45720" rIns="0" bIns="45720" anchor="ctr" anchorCtr="0">
            <a:noAutofit/>
          </a:bodyPr>
          <a:lstStyle/>
          <a:p>
            <a:pPr marL="171450" marR="0" lvl="0" indent="-171450" algn="ctr" defTabSz="913765" rtl="0" eaLnBrk="1" fontAlgn="auto" latinLnBrk="0" hangingPunct="1">
              <a:lnSpc>
                <a:spcPct val="100000"/>
              </a:lnSpc>
              <a:spcBef>
                <a:spcPts val="0"/>
              </a:spcBef>
              <a:spcAft>
                <a:spcPts val="0"/>
              </a:spcAft>
              <a:buClrTx/>
              <a:buSzPct val="80000"/>
              <a:buFont typeface="Wingdings" panose="05000000000000000000" pitchFamily="2" charset="2"/>
              <a:buChar char="ü"/>
              <a:tabLst/>
              <a:defRPr/>
            </a:pPr>
            <a:endParaRPr kumimoji="0" lang="en-US" altLang="zh-CN" sz="1200" b="0" i="0" u="none" strike="noStrike" kern="1200" cap="none" spc="0" normalizeH="0" baseline="0" noProof="0" dirty="0">
              <a:ln>
                <a:noFill/>
              </a:ln>
              <a:solidFill>
                <a:prstClr val="black">
                  <a:lumMod val="85000"/>
                  <a:lumOff val="15000"/>
                </a:prstClr>
              </a:solidFill>
              <a:effectLst/>
              <a:uLnTx/>
              <a:uFillTx/>
              <a:latin typeface="OPPOSans R"/>
              <a:ea typeface="OPPOSans R"/>
              <a:cs typeface="+mn-cs"/>
            </a:endParaRPr>
          </a:p>
        </p:txBody>
      </p:sp>
      <p:sp>
        <p:nvSpPr>
          <p:cNvPr id="72" name="gaoding-20">
            <a:extLst>
              <a:ext uri="{FF2B5EF4-FFF2-40B4-BE49-F238E27FC236}">
                <a16:creationId xmlns:a16="http://schemas.microsoft.com/office/drawing/2014/main" id="{C978D770-F3A9-42A3-A6CE-0E8B6791F20E}"/>
              </a:ext>
            </a:extLst>
          </p:cNvPr>
          <p:cNvSpPr txBox="1"/>
          <p:nvPr/>
        </p:nvSpPr>
        <p:spPr>
          <a:xfrm>
            <a:off x="6895622" y="2415975"/>
            <a:ext cx="1914343" cy="333427"/>
          </a:xfrm>
          <a:prstGeom prst="roundRect">
            <a:avLst>
              <a:gd name="adj" fmla="val 50000"/>
            </a:avLst>
          </a:prstGeom>
          <a:noFill/>
          <a:ln>
            <a:solidFill>
              <a:schemeClr val="tx2"/>
            </a:solidFill>
          </a:ln>
        </p:spPr>
        <p:txBody>
          <a:bodyPr wrap="square" lIns="0" tIns="45720" rIns="0" bIns="45720" anchor="ctr" anchorCtr="0">
            <a:noAutofit/>
          </a:bodyPr>
          <a:lstStyle/>
          <a:p>
            <a:pPr marL="171450" marR="0" lvl="0" indent="-171450" algn="ctr" defTabSz="913765" rtl="0" eaLnBrk="1" fontAlgn="auto" latinLnBrk="0" hangingPunct="1">
              <a:lnSpc>
                <a:spcPct val="100000"/>
              </a:lnSpc>
              <a:spcBef>
                <a:spcPts val="0"/>
              </a:spcBef>
              <a:spcAft>
                <a:spcPts val="0"/>
              </a:spcAft>
              <a:buClrTx/>
              <a:buSzPct val="80000"/>
              <a:buFont typeface="Wingdings" panose="05000000000000000000" pitchFamily="2" charset="2"/>
              <a:buChar char="ü"/>
              <a:tabLst/>
              <a:defRPr/>
            </a:pPr>
            <a:endParaRPr kumimoji="0" lang="en-US" altLang="zh-CN" sz="1200" b="0" i="0" u="none" strike="noStrike" kern="1200" cap="none" spc="0" normalizeH="0" baseline="0" noProof="0" dirty="0">
              <a:ln>
                <a:noFill/>
              </a:ln>
              <a:solidFill>
                <a:prstClr val="black">
                  <a:lumMod val="85000"/>
                  <a:lumOff val="15000"/>
                </a:prstClr>
              </a:solidFill>
              <a:effectLst/>
              <a:uLnTx/>
              <a:uFillTx/>
              <a:latin typeface="OPPOSans R"/>
              <a:ea typeface="OPPOSans R"/>
              <a:cs typeface="+mn-cs"/>
            </a:endParaRPr>
          </a:p>
        </p:txBody>
      </p:sp>
      <p:sp>
        <p:nvSpPr>
          <p:cNvPr id="73" name="gaoding-21">
            <a:extLst>
              <a:ext uri="{FF2B5EF4-FFF2-40B4-BE49-F238E27FC236}">
                <a16:creationId xmlns:a16="http://schemas.microsoft.com/office/drawing/2014/main" id="{14F1F26F-5838-4DA1-9F60-19E80990D73A}"/>
              </a:ext>
            </a:extLst>
          </p:cNvPr>
          <p:cNvSpPr txBox="1"/>
          <p:nvPr/>
        </p:nvSpPr>
        <p:spPr>
          <a:xfrm>
            <a:off x="6895622" y="4753462"/>
            <a:ext cx="1914343" cy="333427"/>
          </a:xfrm>
          <a:prstGeom prst="roundRect">
            <a:avLst>
              <a:gd name="adj" fmla="val 50000"/>
            </a:avLst>
          </a:prstGeom>
          <a:noFill/>
          <a:ln>
            <a:solidFill>
              <a:schemeClr val="tx2"/>
            </a:solidFill>
          </a:ln>
        </p:spPr>
        <p:txBody>
          <a:bodyPr wrap="square" lIns="0" tIns="45720" rIns="0" bIns="45720" anchor="ctr" anchorCtr="0">
            <a:noAutofit/>
          </a:bodyPr>
          <a:lstStyle/>
          <a:p>
            <a:pPr marL="171450" marR="0" lvl="0" indent="-171450" algn="ctr" defTabSz="913765" rtl="0" eaLnBrk="1" fontAlgn="auto" latinLnBrk="0" hangingPunct="1">
              <a:lnSpc>
                <a:spcPct val="100000"/>
              </a:lnSpc>
              <a:spcBef>
                <a:spcPts val="0"/>
              </a:spcBef>
              <a:spcAft>
                <a:spcPts val="0"/>
              </a:spcAft>
              <a:buClrTx/>
              <a:buSzPct val="80000"/>
              <a:buFont typeface="Wingdings" panose="05000000000000000000" pitchFamily="2" charset="2"/>
              <a:buChar char="ü"/>
              <a:tabLst/>
              <a:defRPr/>
            </a:pPr>
            <a:endParaRPr kumimoji="0" lang="en-US" altLang="zh-CN" sz="1200" b="0" i="0" u="none" strike="noStrike" kern="1200" cap="none" spc="0" normalizeH="0" baseline="0" noProof="0" dirty="0">
              <a:ln>
                <a:noFill/>
              </a:ln>
              <a:solidFill>
                <a:prstClr val="black">
                  <a:lumMod val="85000"/>
                  <a:lumOff val="15000"/>
                </a:prstClr>
              </a:solidFill>
              <a:effectLst/>
              <a:uLnTx/>
              <a:uFillTx/>
              <a:latin typeface="OPPOSans R"/>
              <a:ea typeface="OPPOSans R"/>
              <a:cs typeface="+mn-cs"/>
            </a:endParaRPr>
          </a:p>
        </p:txBody>
      </p:sp>
      <p:sp>
        <p:nvSpPr>
          <p:cNvPr id="74" name="gaoding-22">
            <a:extLst>
              <a:ext uri="{FF2B5EF4-FFF2-40B4-BE49-F238E27FC236}">
                <a16:creationId xmlns:a16="http://schemas.microsoft.com/office/drawing/2014/main" id="{DC2E9E74-C45F-426C-B739-7BC2AEEE23EF}"/>
              </a:ext>
            </a:extLst>
          </p:cNvPr>
          <p:cNvSpPr txBox="1"/>
          <p:nvPr/>
        </p:nvSpPr>
        <p:spPr>
          <a:xfrm>
            <a:off x="6514228" y="1983777"/>
            <a:ext cx="1914343" cy="333427"/>
          </a:xfrm>
          <a:prstGeom prst="roundRect">
            <a:avLst>
              <a:gd name="adj" fmla="val 50000"/>
            </a:avLst>
          </a:prstGeom>
          <a:noFill/>
          <a:ln>
            <a:solidFill>
              <a:schemeClr val="tx2"/>
            </a:solidFill>
          </a:ln>
        </p:spPr>
        <p:txBody>
          <a:bodyPr wrap="square" lIns="0" tIns="45720" rIns="0" bIns="45720" anchor="ctr" anchorCtr="0">
            <a:noAutofit/>
          </a:bodyPr>
          <a:lstStyle/>
          <a:p>
            <a:pPr marL="171450" marR="0" lvl="0" indent="-171450" algn="ctr" defTabSz="913765" rtl="0" eaLnBrk="1" fontAlgn="auto" latinLnBrk="0" hangingPunct="1">
              <a:lnSpc>
                <a:spcPct val="100000"/>
              </a:lnSpc>
              <a:spcBef>
                <a:spcPts val="0"/>
              </a:spcBef>
              <a:spcAft>
                <a:spcPts val="0"/>
              </a:spcAft>
              <a:buClrTx/>
              <a:buSzPct val="80000"/>
              <a:buFont typeface="Wingdings" panose="05000000000000000000" pitchFamily="2" charset="2"/>
              <a:buChar char="ü"/>
              <a:tabLst/>
              <a:defRPr/>
            </a:pPr>
            <a:endParaRPr kumimoji="0" lang="en-US" altLang="zh-CN" sz="1200" b="0" i="0" u="none" strike="noStrike" kern="1200" cap="none" spc="0" normalizeH="0" baseline="0" noProof="0" dirty="0">
              <a:ln>
                <a:noFill/>
              </a:ln>
              <a:solidFill>
                <a:prstClr val="black">
                  <a:lumMod val="85000"/>
                  <a:lumOff val="15000"/>
                </a:prstClr>
              </a:solidFill>
              <a:effectLst/>
              <a:uLnTx/>
              <a:uFillTx/>
              <a:latin typeface="OPPOSans R"/>
              <a:ea typeface="OPPOSans R"/>
              <a:cs typeface="+mn-cs"/>
            </a:endParaRPr>
          </a:p>
        </p:txBody>
      </p:sp>
      <p:sp>
        <p:nvSpPr>
          <p:cNvPr id="75" name="gaoding-23">
            <a:extLst>
              <a:ext uri="{FF2B5EF4-FFF2-40B4-BE49-F238E27FC236}">
                <a16:creationId xmlns:a16="http://schemas.microsoft.com/office/drawing/2014/main" id="{7C645AC2-30FB-4789-AC27-A5552B61C88E}"/>
              </a:ext>
            </a:extLst>
          </p:cNvPr>
          <p:cNvSpPr txBox="1"/>
          <p:nvPr/>
        </p:nvSpPr>
        <p:spPr>
          <a:xfrm>
            <a:off x="6514228" y="5179889"/>
            <a:ext cx="1914343" cy="333427"/>
          </a:xfrm>
          <a:prstGeom prst="roundRect">
            <a:avLst>
              <a:gd name="adj" fmla="val 50000"/>
            </a:avLst>
          </a:prstGeom>
          <a:noFill/>
          <a:ln>
            <a:solidFill>
              <a:schemeClr val="tx2"/>
            </a:solidFill>
          </a:ln>
        </p:spPr>
        <p:txBody>
          <a:bodyPr wrap="square" lIns="0" tIns="45720" rIns="0" bIns="45720" anchor="ctr" anchorCtr="0">
            <a:noAutofit/>
          </a:bodyPr>
          <a:lstStyle/>
          <a:p>
            <a:pPr marL="171450" marR="0" lvl="0" indent="-171450" algn="ctr" defTabSz="913765" rtl="0" eaLnBrk="1" fontAlgn="auto" latinLnBrk="0" hangingPunct="1">
              <a:lnSpc>
                <a:spcPct val="100000"/>
              </a:lnSpc>
              <a:spcBef>
                <a:spcPts val="0"/>
              </a:spcBef>
              <a:spcAft>
                <a:spcPts val="0"/>
              </a:spcAft>
              <a:buClrTx/>
              <a:buSzPct val="80000"/>
              <a:buFont typeface="Wingdings" panose="05000000000000000000" pitchFamily="2" charset="2"/>
              <a:buChar char="ü"/>
              <a:tabLst/>
              <a:defRPr/>
            </a:pPr>
            <a:endParaRPr kumimoji="0" lang="en-US" altLang="zh-CN" sz="1200" b="0" i="0" u="none" strike="noStrike" kern="1200" cap="none" spc="0" normalizeH="0" baseline="0" noProof="0" dirty="0">
              <a:ln>
                <a:noFill/>
              </a:ln>
              <a:solidFill>
                <a:prstClr val="black">
                  <a:lumMod val="85000"/>
                  <a:lumOff val="15000"/>
                </a:prstClr>
              </a:solidFill>
              <a:effectLst/>
              <a:uLnTx/>
              <a:uFillTx/>
              <a:latin typeface="OPPOSans R"/>
              <a:ea typeface="OPPOSans R"/>
              <a:cs typeface="+mn-cs"/>
            </a:endParaRPr>
          </a:p>
        </p:txBody>
      </p:sp>
      <p:sp>
        <p:nvSpPr>
          <p:cNvPr id="76" name="gaoding-24">
            <a:extLst>
              <a:ext uri="{FF2B5EF4-FFF2-40B4-BE49-F238E27FC236}">
                <a16:creationId xmlns:a16="http://schemas.microsoft.com/office/drawing/2014/main" id="{034FFB75-AD51-49A2-BE5A-FF586ADB58E3}"/>
              </a:ext>
            </a:extLst>
          </p:cNvPr>
          <p:cNvSpPr txBox="1"/>
          <p:nvPr/>
        </p:nvSpPr>
        <p:spPr>
          <a:xfrm>
            <a:off x="796945" y="2415975"/>
            <a:ext cx="1914343" cy="333427"/>
          </a:xfrm>
          <a:prstGeom prst="roundRect">
            <a:avLst>
              <a:gd name="adj" fmla="val 50000"/>
            </a:avLst>
          </a:prstGeom>
          <a:noFill/>
          <a:ln>
            <a:solidFill>
              <a:schemeClr val="tx2"/>
            </a:solidFill>
          </a:ln>
        </p:spPr>
        <p:txBody>
          <a:bodyPr wrap="square" lIns="0" tIns="45720" rIns="0" bIns="45720" anchor="ctr" anchorCtr="0">
            <a:noAutofit/>
          </a:bodyPr>
          <a:lstStyle/>
          <a:p>
            <a:pPr marL="171450" marR="0" lvl="0" indent="-171450" algn="ctr" defTabSz="913765" rtl="0" eaLnBrk="1" fontAlgn="auto" latinLnBrk="0" hangingPunct="1">
              <a:lnSpc>
                <a:spcPct val="100000"/>
              </a:lnSpc>
              <a:spcBef>
                <a:spcPts val="0"/>
              </a:spcBef>
              <a:spcAft>
                <a:spcPts val="0"/>
              </a:spcAft>
              <a:buClrTx/>
              <a:buSzPct val="80000"/>
              <a:buFont typeface="Wingdings" panose="05000000000000000000" pitchFamily="2" charset="2"/>
              <a:buChar char="ü"/>
              <a:tabLst/>
              <a:defRPr/>
            </a:pPr>
            <a:endParaRPr kumimoji="0" lang="en-US" altLang="zh-CN" sz="1200" b="0" i="0" u="none" strike="noStrike" kern="1200" cap="none" spc="0" normalizeH="0" baseline="0" noProof="0" dirty="0">
              <a:ln>
                <a:noFill/>
              </a:ln>
              <a:solidFill>
                <a:prstClr val="black">
                  <a:lumMod val="85000"/>
                  <a:lumOff val="15000"/>
                </a:prstClr>
              </a:solidFill>
              <a:effectLst/>
              <a:uLnTx/>
              <a:uFillTx/>
              <a:latin typeface="OPPOSans R"/>
              <a:ea typeface="OPPOSans R"/>
              <a:cs typeface="+mn-cs"/>
            </a:endParaRPr>
          </a:p>
        </p:txBody>
      </p:sp>
      <p:sp>
        <p:nvSpPr>
          <p:cNvPr id="77" name="gaoding-25">
            <a:extLst>
              <a:ext uri="{FF2B5EF4-FFF2-40B4-BE49-F238E27FC236}">
                <a16:creationId xmlns:a16="http://schemas.microsoft.com/office/drawing/2014/main" id="{54D3C909-78BF-4052-878D-63F46FCA8874}"/>
              </a:ext>
            </a:extLst>
          </p:cNvPr>
          <p:cNvSpPr txBox="1"/>
          <p:nvPr/>
        </p:nvSpPr>
        <p:spPr>
          <a:xfrm>
            <a:off x="796945" y="4753462"/>
            <a:ext cx="1914343" cy="333427"/>
          </a:xfrm>
          <a:prstGeom prst="roundRect">
            <a:avLst>
              <a:gd name="adj" fmla="val 50000"/>
            </a:avLst>
          </a:prstGeom>
          <a:noFill/>
          <a:ln>
            <a:solidFill>
              <a:schemeClr val="tx2"/>
            </a:solidFill>
          </a:ln>
        </p:spPr>
        <p:txBody>
          <a:bodyPr wrap="square" lIns="0" tIns="45720" rIns="0" bIns="45720" anchor="ctr" anchorCtr="0">
            <a:noAutofit/>
          </a:bodyPr>
          <a:lstStyle/>
          <a:p>
            <a:pPr marL="171450" marR="0" lvl="0" indent="-171450" algn="ctr" defTabSz="913765" rtl="0" eaLnBrk="1" fontAlgn="auto" latinLnBrk="0" hangingPunct="1">
              <a:lnSpc>
                <a:spcPct val="100000"/>
              </a:lnSpc>
              <a:spcBef>
                <a:spcPts val="0"/>
              </a:spcBef>
              <a:spcAft>
                <a:spcPts val="0"/>
              </a:spcAft>
              <a:buClrTx/>
              <a:buSzPct val="80000"/>
              <a:buFont typeface="Wingdings" panose="05000000000000000000" pitchFamily="2" charset="2"/>
              <a:buChar char="ü"/>
              <a:tabLst/>
              <a:defRPr/>
            </a:pPr>
            <a:endParaRPr kumimoji="0" lang="en-US" altLang="zh-CN" sz="1200" b="0" i="0" u="none" strike="noStrike" kern="1200" cap="none" spc="0" normalizeH="0" baseline="0" noProof="0" dirty="0">
              <a:ln>
                <a:noFill/>
              </a:ln>
              <a:solidFill>
                <a:prstClr val="black">
                  <a:lumMod val="85000"/>
                  <a:lumOff val="15000"/>
                </a:prstClr>
              </a:solidFill>
              <a:effectLst/>
              <a:uLnTx/>
              <a:uFillTx/>
              <a:latin typeface="OPPOSans R"/>
              <a:ea typeface="OPPOSans R"/>
              <a:cs typeface="+mn-cs"/>
            </a:endParaRPr>
          </a:p>
        </p:txBody>
      </p:sp>
      <p:sp>
        <p:nvSpPr>
          <p:cNvPr id="83" name="gaoding-26">
            <a:extLst>
              <a:ext uri="{FF2B5EF4-FFF2-40B4-BE49-F238E27FC236}">
                <a16:creationId xmlns:a16="http://schemas.microsoft.com/office/drawing/2014/main" id="{E8276693-5FDA-4A28-B6B3-2A01159A2DA3}"/>
              </a:ext>
            </a:extLst>
          </p:cNvPr>
          <p:cNvSpPr/>
          <p:nvPr/>
        </p:nvSpPr>
        <p:spPr>
          <a:xfrm rot="18900000">
            <a:off x="8089058" y="5401188"/>
            <a:ext cx="1223184" cy="258830"/>
          </a:xfrm>
          <a:custGeom>
            <a:avLst/>
            <a:gdLst>
              <a:gd name="connsiteX0" fmla="*/ 152192 w 1223184"/>
              <a:gd name="connsiteY0" fmla="*/ 0 h 258830"/>
              <a:gd name="connsiteX1" fmla="*/ 1070992 w 1223184"/>
              <a:gd name="connsiteY1" fmla="*/ 0 h 258830"/>
              <a:gd name="connsiteX2" fmla="*/ 1223184 w 1223184"/>
              <a:gd name="connsiteY2" fmla="*/ 152192 h 258830"/>
              <a:gd name="connsiteX3" fmla="*/ 1223184 w 1223184"/>
              <a:gd name="connsiteY3" fmla="*/ 258830 h 258830"/>
              <a:gd name="connsiteX4" fmla="*/ 0 w 1223184"/>
              <a:gd name="connsiteY4" fmla="*/ 258830 h 258830"/>
              <a:gd name="connsiteX5" fmla="*/ 0 w 1223184"/>
              <a:gd name="connsiteY5" fmla="*/ 152192 h 258830"/>
              <a:gd name="connsiteX6" fmla="*/ 152192 w 1223184"/>
              <a:gd name="connsiteY6" fmla="*/ 0 h 25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23184" h="258830">
                <a:moveTo>
                  <a:pt x="152192" y="0"/>
                </a:moveTo>
                <a:lnTo>
                  <a:pt x="1070992" y="0"/>
                </a:lnTo>
                <a:cubicBezTo>
                  <a:pt x="1155045" y="0"/>
                  <a:pt x="1223184" y="68139"/>
                  <a:pt x="1223184" y="152192"/>
                </a:cubicBezTo>
                <a:lnTo>
                  <a:pt x="1223184" y="258830"/>
                </a:lnTo>
                <a:lnTo>
                  <a:pt x="0" y="258830"/>
                </a:lnTo>
                <a:lnTo>
                  <a:pt x="0" y="152192"/>
                </a:lnTo>
                <a:cubicBezTo>
                  <a:pt x="0" y="68139"/>
                  <a:pt x="68139" y="0"/>
                  <a:pt x="152192" y="0"/>
                </a:cubicBezTo>
                <a:close/>
              </a:path>
            </a:pathLst>
          </a:custGeom>
          <a:solidFill>
            <a:schemeClr val="bg1">
              <a:lumMod val="85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200" b="0" i="0" u="none" strike="noStrike" kern="1200" cap="none" spc="0" normalizeH="0" baseline="0" noProof="0" dirty="0">
              <a:ln>
                <a:noFill/>
              </a:ln>
              <a:solidFill>
                <a:prstClr val="white"/>
              </a:solidFill>
              <a:effectLst/>
              <a:uLnTx/>
              <a:uFillTx/>
              <a:latin typeface="OPPOSans R"/>
              <a:ea typeface="OPPOSans R"/>
              <a:cs typeface="+mn-cs"/>
            </a:endParaRPr>
          </a:p>
        </p:txBody>
      </p:sp>
      <p:grpSp>
        <p:nvGrpSpPr>
          <p:cNvPr id="84" name="gaoding-27">
            <a:extLst>
              <a:ext uri="{FF2B5EF4-FFF2-40B4-BE49-F238E27FC236}">
                <a16:creationId xmlns:a16="http://schemas.microsoft.com/office/drawing/2014/main" id="{3E1C68DD-8735-49BB-B2BD-6B3D5D398D37}"/>
              </a:ext>
            </a:extLst>
          </p:cNvPr>
          <p:cNvGrpSpPr/>
          <p:nvPr/>
        </p:nvGrpSpPr>
        <p:grpSpPr>
          <a:xfrm>
            <a:off x="914061" y="3753495"/>
            <a:ext cx="10080000" cy="0"/>
            <a:chOff x="1081207" y="3910701"/>
            <a:chExt cx="9849466" cy="0"/>
          </a:xfrm>
        </p:grpSpPr>
        <p:cxnSp>
          <p:nvCxnSpPr>
            <p:cNvPr id="5" name="gaoding-27-1">
              <a:extLst>
                <a:ext uri="{FF2B5EF4-FFF2-40B4-BE49-F238E27FC236}">
                  <a16:creationId xmlns:a16="http://schemas.microsoft.com/office/drawing/2014/main" id="{18CF150E-B730-4ADE-BC64-425F3FA89564}"/>
                </a:ext>
              </a:extLst>
            </p:cNvPr>
            <p:cNvCxnSpPr>
              <a:cxnSpLocks/>
              <a:stCxn id="8" idx="0"/>
              <a:endCxn id="9" idx="2"/>
            </p:cNvCxnSpPr>
            <p:nvPr/>
          </p:nvCxnSpPr>
          <p:spPr>
            <a:xfrm>
              <a:off x="1081207" y="3910701"/>
              <a:ext cx="9849466" cy="0"/>
            </a:xfrm>
            <a:prstGeom prst="line">
              <a:avLst/>
            </a:prstGeom>
            <a:noFill/>
            <a:ln w="381000">
              <a:solidFill>
                <a:schemeClr val="bg1">
                  <a:lumMod val="85000"/>
                  <a:alpha val="50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80" name="gaoding-27-2">
              <a:extLst>
                <a:ext uri="{FF2B5EF4-FFF2-40B4-BE49-F238E27FC236}">
                  <a16:creationId xmlns:a16="http://schemas.microsoft.com/office/drawing/2014/main" id="{58640E0D-51FC-4702-8C8B-5E22228708A8}"/>
                </a:ext>
              </a:extLst>
            </p:cNvPr>
            <p:cNvCxnSpPr>
              <a:cxnSpLocks/>
              <a:stCxn id="8" idx="0"/>
              <a:endCxn id="9" idx="2"/>
            </p:cNvCxnSpPr>
            <p:nvPr/>
          </p:nvCxnSpPr>
          <p:spPr>
            <a:xfrm>
              <a:off x="1081207" y="3910701"/>
              <a:ext cx="9849466" cy="0"/>
            </a:xfrm>
            <a:prstGeom prst="line">
              <a:avLst/>
            </a:prstGeom>
            <a:solidFill>
              <a:schemeClr val="bg1">
                <a:alpha val="0"/>
              </a:schemeClr>
            </a:solidFill>
            <a:ln w="38100" cap="flat" cmpd="sng" algn="ctr">
              <a:gradFill>
                <a:gsLst>
                  <a:gs pos="0">
                    <a:schemeClr val="accent6"/>
                  </a:gs>
                  <a:gs pos="100000">
                    <a:schemeClr val="accent1">
                      <a:lumMod val="60000"/>
                      <a:lumOff val="40000"/>
                    </a:schemeClr>
                  </a:gs>
                </a:gsLst>
                <a:lin ang="0" scaled="0"/>
              </a:gra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cxnSp>
      </p:grpSp>
      <p:sp>
        <p:nvSpPr>
          <p:cNvPr id="8" name="gaoding-28">
            <a:extLst>
              <a:ext uri="{FF2B5EF4-FFF2-40B4-BE49-F238E27FC236}">
                <a16:creationId xmlns:a16="http://schemas.microsoft.com/office/drawing/2014/main" id="{622A5DBA-B485-4B49-8973-5221615C19FC}"/>
              </a:ext>
            </a:extLst>
          </p:cNvPr>
          <p:cNvSpPr/>
          <p:nvPr/>
        </p:nvSpPr>
        <p:spPr>
          <a:xfrm rot="5400000">
            <a:off x="499164" y="3560554"/>
            <a:ext cx="778204" cy="385882"/>
          </a:xfrm>
          <a:custGeom>
            <a:avLst/>
            <a:gdLst>
              <a:gd name="connsiteX0" fmla="*/ 885463 w 1770926"/>
              <a:gd name="connsiteY0" fmla="*/ 0 h 659757"/>
              <a:gd name="connsiteX1" fmla="*/ 1770926 w 1770926"/>
              <a:gd name="connsiteY1" fmla="*/ 659757 h 659757"/>
              <a:gd name="connsiteX2" fmla="*/ 885463 w 1770926"/>
              <a:gd name="connsiteY2" fmla="*/ 450024 h 659757"/>
              <a:gd name="connsiteX3" fmla="*/ 0 w 1770926"/>
              <a:gd name="connsiteY3" fmla="*/ 659757 h 659757"/>
            </a:gdLst>
            <a:ahLst/>
            <a:cxnLst>
              <a:cxn ang="0">
                <a:pos x="connsiteX0" y="connsiteY0"/>
              </a:cxn>
              <a:cxn ang="0">
                <a:pos x="connsiteX1" y="connsiteY1"/>
              </a:cxn>
              <a:cxn ang="0">
                <a:pos x="connsiteX2" y="connsiteY2"/>
              </a:cxn>
              <a:cxn ang="0">
                <a:pos x="connsiteX3" y="connsiteY3"/>
              </a:cxn>
            </a:cxnLst>
            <a:rect l="l" t="t" r="r" b="b"/>
            <a:pathLst>
              <a:path w="1770926" h="659757">
                <a:moveTo>
                  <a:pt x="885463" y="0"/>
                </a:moveTo>
                <a:lnTo>
                  <a:pt x="1770926" y="659757"/>
                </a:lnTo>
                <a:lnTo>
                  <a:pt x="885463" y="450024"/>
                </a:lnTo>
                <a:lnTo>
                  <a:pt x="0" y="659757"/>
                </a:lnTo>
                <a:close/>
              </a:path>
            </a:pathLst>
          </a:custGeom>
          <a:gradFill flip="none" rotWithShape="1">
            <a:gsLst>
              <a:gs pos="0">
                <a:schemeClr val="accent1"/>
              </a:gs>
              <a:gs pos="100000">
                <a:schemeClr val="accent1">
                  <a:lumMod val="60000"/>
                  <a:lumOff val="40000"/>
                </a:schemeClr>
              </a:gs>
            </a:gsLst>
            <a:lin ang="5400000" scaled="0"/>
            <a:tileRect/>
          </a:gradFill>
          <a:ln>
            <a:noFill/>
          </a:ln>
          <a:effectLst>
            <a:outerShdw blurRad="330200" dist="76200" dir="5400000" sx="90000" sy="90000" algn="t" rotWithShape="0">
              <a:schemeClr val="accent1">
                <a:lumMod val="75000"/>
                <a:alpha val="2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p:txBody>
      </p:sp>
      <p:sp>
        <p:nvSpPr>
          <p:cNvPr id="9" name="gaoding-29">
            <a:extLst>
              <a:ext uri="{FF2B5EF4-FFF2-40B4-BE49-F238E27FC236}">
                <a16:creationId xmlns:a16="http://schemas.microsoft.com/office/drawing/2014/main" id="{02ACBDE7-5DE2-4963-97D4-C698B9FBB41B}"/>
              </a:ext>
            </a:extLst>
          </p:cNvPr>
          <p:cNvSpPr/>
          <p:nvPr/>
        </p:nvSpPr>
        <p:spPr>
          <a:xfrm rot="5400000">
            <a:off x="10251310" y="3342376"/>
            <a:ext cx="1658194" cy="822238"/>
          </a:xfrm>
          <a:custGeom>
            <a:avLst/>
            <a:gdLst>
              <a:gd name="connsiteX0" fmla="*/ 885463 w 1770926"/>
              <a:gd name="connsiteY0" fmla="*/ 0 h 659757"/>
              <a:gd name="connsiteX1" fmla="*/ 1770926 w 1770926"/>
              <a:gd name="connsiteY1" fmla="*/ 659757 h 659757"/>
              <a:gd name="connsiteX2" fmla="*/ 885463 w 1770926"/>
              <a:gd name="connsiteY2" fmla="*/ 450024 h 659757"/>
              <a:gd name="connsiteX3" fmla="*/ 0 w 1770926"/>
              <a:gd name="connsiteY3" fmla="*/ 659757 h 659757"/>
            </a:gdLst>
            <a:ahLst/>
            <a:cxnLst>
              <a:cxn ang="0">
                <a:pos x="connsiteX0" y="connsiteY0"/>
              </a:cxn>
              <a:cxn ang="0">
                <a:pos x="connsiteX1" y="connsiteY1"/>
              </a:cxn>
              <a:cxn ang="0">
                <a:pos x="connsiteX2" y="connsiteY2"/>
              </a:cxn>
              <a:cxn ang="0">
                <a:pos x="connsiteX3" y="connsiteY3"/>
              </a:cxn>
            </a:cxnLst>
            <a:rect l="l" t="t" r="r" b="b"/>
            <a:pathLst>
              <a:path w="1770926" h="659757">
                <a:moveTo>
                  <a:pt x="885463" y="0"/>
                </a:moveTo>
                <a:lnTo>
                  <a:pt x="1770926" y="659757"/>
                </a:lnTo>
                <a:lnTo>
                  <a:pt x="885463" y="450024"/>
                </a:lnTo>
                <a:lnTo>
                  <a:pt x="0" y="659757"/>
                </a:lnTo>
                <a:close/>
              </a:path>
            </a:pathLst>
          </a:custGeom>
          <a:gradFill flip="none" rotWithShape="1">
            <a:gsLst>
              <a:gs pos="0">
                <a:schemeClr val="accent1"/>
              </a:gs>
              <a:gs pos="100000">
                <a:schemeClr val="accent1">
                  <a:lumMod val="60000"/>
                  <a:lumOff val="40000"/>
                </a:schemeClr>
              </a:gs>
            </a:gsLst>
            <a:lin ang="5400000" scaled="0"/>
            <a:tileRect/>
          </a:gradFill>
          <a:ln>
            <a:noFill/>
          </a:ln>
          <a:effectLst>
            <a:outerShdw blurRad="330200" dist="76200" dir="5400000" sx="90000" sy="90000" algn="t" rotWithShape="0">
              <a:schemeClr val="accent1">
                <a:lumMod val="75000"/>
                <a:alpha val="2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p:txBody>
      </p:sp>
      <p:grpSp>
        <p:nvGrpSpPr>
          <p:cNvPr id="35" name="gaoding-30">
            <a:extLst>
              <a:ext uri="{FF2B5EF4-FFF2-40B4-BE49-F238E27FC236}">
                <a16:creationId xmlns:a16="http://schemas.microsoft.com/office/drawing/2014/main" id="{2BC515B2-5995-0C52-C5FF-9667810B724A}"/>
              </a:ext>
            </a:extLst>
          </p:cNvPr>
          <p:cNvGrpSpPr/>
          <p:nvPr/>
        </p:nvGrpSpPr>
        <p:grpSpPr>
          <a:xfrm>
            <a:off x="654797" y="635702"/>
            <a:ext cx="10882406" cy="5692797"/>
            <a:chOff x="638013" y="576128"/>
            <a:chExt cx="10882406" cy="5692797"/>
          </a:xfrm>
        </p:grpSpPr>
        <p:sp>
          <p:nvSpPr>
            <p:cNvPr id="36" name="gaoding-30-1">
              <a:extLst>
                <a:ext uri="{FF2B5EF4-FFF2-40B4-BE49-F238E27FC236}">
                  <a16:creationId xmlns:a16="http://schemas.microsoft.com/office/drawing/2014/main" id="{459729C7-960A-1C87-0707-FED74C138829}"/>
                </a:ext>
              </a:extLst>
            </p:cNvPr>
            <p:cNvSpPr txBox="1"/>
            <p:nvPr/>
          </p:nvSpPr>
          <p:spPr>
            <a:xfrm>
              <a:off x="638013" y="576128"/>
              <a:ext cx="2866169" cy="492443"/>
            </a:xfrm>
            <a:prstGeom prst="rect">
              <a:avLst/>
            </a:prstGeom>
            <a:noFill/>
          </p:spPr>
          <p:txBody>
            <a:bodyPr wrap="none" lIns="0" tIns="0" rIns="0" bIns="0"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3200" b="1" i="0" u="none" strike="noStrike" kern="1200" cap="none" spc="0" normalizeH="0" baseline="0" noProof="0" dirty="0" err="1">
                  <a:ln>
                    <a:noFill/>
                  </a:ln>
                  <a:solidFill>
                    <a:srgbClr val="2254F4"/>
                  </a:solidFill>
                  <a:effectLst/>
                  <a:uLnTx/>
                  <a:uFillTx/>
                  <a:latin typeface="OPPOSans B"/>
                  <a:ea typeface="OPPOSans B"/>
                  <a:cs typeface="OPPOSans M"/>
                  <a:sym typeface="+mn-lt"/>
                </a:rPr>
                <a:t>Qiuye</a:t>
              </a:r>
              <a:r>
                <a:rPr kumimoji="0" lang="en-US" altLang="zh-CN" sz="3200" b="1" i="0" u="none" strike="noStrike" kern="1200" cap="none" spc="0" normalizeH="0" baseline="0" noProof="0" dirty="0">
                  <a:ln>
                    <a:noFill/>
                  </a:ln>
                  <a:solidFill>
                    <a:srgbClr val="2254F4"/>
                  </a:solidFill>
                  <a:effectLst/>
                  <a:uLnTx/>
                  <a:uFillTx/>
                  <a:latin typeface="OPPOSans B"/>
                  <a:ea typeface="OPPOSans B"/>
                  <a:cs typeface="OPPOSans M"/>
                  <a:sym typeface="+mn-lt"/>
                </a:rPr>
                <a:t> </a:t>
              </a:r>
              <a:r>
                <a:rPr kumimoji="0" lang="en-US" altLang="zh-CN" sz="3200" b="1" i="0" u="none" strike="noStrike" kern="1200" cap="none" spc="0" normalizeH="0" baseline="0" noProof="0" dirty="0">
                  <a:ln>
                    <a:noFill/>
                  </a:ln>
                  <a:solidFill>
                    <a:srgbClr val="000000">
                      <a:lumMod val="85000"/>
                      <a:lumOff val="15000"/>
                    </a:srgbClr>
                  </a:solidFill>
                  <a:effectLst/>
                  <a:uLnTx/>
                  <a:uFillTx/>
                  <a:latin typeface="OPPOSans B"/>
                  <a:ea typeface="OPPOSans B"/>
                  <a:cs typeface="OPPOSans M"/>
                  <a:sym typeface="+mn-lt"/>
                </a:rPr>
                <a:t>Design</a:t>
              </a:r>
              <a:endParaRPr kumimoji="0" lang="zh-CN" altLang="en-US" sz="3200" b="1" i="0" u="none" strike="noStrike" kern="1200" cap="none" spc="0" normalizeH="0" baseline="0" noProof="0" dirty="0">
                <a:ln>
                  <a:noFill/>
                </a:ln>
                <a:solidFill>
                  <a:srgbClr val="000000">
                    <a:lumMod val="85000"/>
                    <a:lumOff val="15000"/>
                  </a:srgbClr>
                </a:solidFill>
                <a:effectLst/>
                <a:uLnTx/>
                <a:uFillTx/>
                <a:latin typeface="OPPOSans B"/>
                <a:ea typeface="OPPOSans B"/>
                <a:cs typeface="OPPOSans M"/>
                <a:sym typeface="+mn-lt"/>
              </a:endParaRPr>
            </a:p>
          </p:txBody>
        </p:sp>
        <p:sp>
          <p:nvSpPr>
            <p:cNvPr id="40" name="gaoding-30-2">
              <a:extLst>
                <a:ext uri="{FF2B5EF4-FFF2-40B4-BE49-F238E27FC236}">
                  <a16:creationId xmlns:a16="http://schemas.microsoft.com/office/drawing/2014/main" id="{A38F2F1B-34D1-B93D-3FE6-959B10CEB4DC}"/>
                </a:ext>
              </a:extLst>
            </p:cNvPr>
            <p:cNvSpPr txBox="1"/>
            <p:nvPr/>
          </p:nvSpPr>
          <p:spPr>
            <a:xfrm>
              <a:off x="673458" y="1167729"/>
              <a:ext cx="1914296" cy="146609"/>
            </a:xfrm>
            <a:custGeom>
              <a:avLst/>
              <a:gdLst/>
              <a:ahLst/>
              <a:cxnLst/>
              <a:rect l="l" t="t" r="r" b="b"/>
              <a:pathLst>
                <a:path w="1914296" h="146609">
                  <a:moveTo>
                    <a:pt x="84429" y="103327"/>
                  </a:moveTo>
                  <a:lnTo>
                    <a:pt x="84429" y="118110"/>
                  </a:lnTo>
                  <a:lnTo>
                    <a:pt x="105765" y="118110"/>
                  </a:lnTo>
                  <a:lnTo>
                    <a:pt x="105765" y="103327"/>
                  </a:lnTo>
                  <a:close/>
                  <a:moveTo>
                    <a:pt x="76504" y="96012"/>
                  </a:moveTo>
                  <a:lnTo>
                    <a:pt x="113843" y="96012"/>
                  </a:lnTo>
                  <a:lnTo>
                    <a:pt x="113843" y="125882"/>
                  </a:lnTo>
                  <a:lnTo>
                    <a:pt x="76504" y="125882"/>
                  </a:lnTo>
                  <a:close/>
                  <a:moveTo>
                    <a:pt x="1618869" y="83058"/>
                  </a:moveTo>
                  <a:lnTo>
                    <a:pt x="1685620" y="83058"/>
                  </a:lnTo>
                  <a:lnTo>
                    <a:pt x="1685620" y="93421"/>
                  </a:lnTo>
                  <a:lnTo>
                    <a:pt x="1657274" y="93421"/>
                  </a:lnTo>
                  <a:lnTo>
                    <a:pt x="1657274" y="126492"/>
                  </a:lnTo>
                  <a:lnTo>
                    <a:pt x="1694002" y="126492"/>
                  </a:lnTo>
                  <a:lnTo>
                    <a:pt x="1694002" y="136398"/>
                  </a:lnTo>
                  <a:lnTo>
                    <a:pt x="1609268" y="136398"/>
                  </a:lnTo>
                  <a:lnTo>
                    <a:pt x="1609268" y="126492"/>
                  </a:lnTo>
                  <a:lnTo>
                    <a:pt x="1647520" y="126492"/>
                  </a:lnTo>
                  <a:lnTo>
                    <a:pt x="1647520" y="93421"/>
                  </a:lnTo>
                  <a:lnTo>
                    <a:pt x="1618869" y="93421"/>
                  </a:lnTo>
                  <a:close/>
                  <a:moveTo>
                    <a:pt x="54864" y="75286"/>
                  </a:moveTo>
                  <a:lnTo>
                    <a:pt x="135636" y="75286"/>
                  </a:lnTo>
                  <a:lnTo>
                    <a:pt x="135636" y="124968"/>
                  </a:lnTo>
                  <a:cubicBezTo>
                    <a:pt x="135636" y="128016"/>
                    <a:pt x="135509" y="130531"/>
                    <a:pt x="135255" y="132512"/>
                  </a:cubicBezTo>
                  <a:cubicBezTo>
                    <a:pt x="135001" y="134493"/>
                    <a:pt x="134493" y="136093"/>
                    <a:pt x="133731" y="137312"/>
                  </a:cubicBezTo>
                  <a:cubicBezTo>
                    <a:pt x="132969" y="138532"/>
                    <a:pt x="131927" y="139446"/>
                    <a:pt x="130607" y="140056"/>
                  </a:cubicBezTo>
                  <a:cubicBezTo>
                    <a:pt x="129286" y="140665"/>
                    <a:pt x="127558" y="141122"/>
                    <a:pt x="125425" y="141427"/>
                  </a:cubicBezTo>
                  <a:cubicBezTo>
                    <a:pt x="122885" y="141732"/>
                    <a:pt x="120497" y="141910"/>
                    <a:pt x="118262" y="141961"/>
                  </a:cubicBezTo>
                  <a:cubicBezTo>
                    <a:pt x="116027" y="142011"/>
                    <a:pt x="113741" y="142037"/>
                    <a:pt x="111404" y="142037"/>
                  </a:cubicBezTo>
                  <a:lnTo>
                    <a:pt x="109728" y="131521"/>
                  </a:lnTo>
                  <a:cubicBezTo>
                    <a:pt x="111861" y="131724"/>
                    <a:pt x="113766" y="131902"/>
                    <a:pt x="115443" y="132055"/>
                  </a:cubicBezTo>
                  <a:cubicBezTo>
                    <a:pt x="117119" y="132207"/>
                    <a:pt x="118668" y="132182"/>
                    <a:pt x="120091" y="131978"/>
                  </a:cubicBezTo>
                  <a:cubicBezTo>
                    <a:pt x="121513" y="131877"/>
                    <a:pt x="122631" y="131724"/>
                    <a:pt x="123444" y="131521"/>
                  </a:cubicBezTo>
                  <a:cubicBezTo>
                    <a:pt x="124256" y="131318"/>
                    <a:pt x="124891" y="130912"/>
                    <a:pt x="125349" y="130302"/>
                  </a:cubicBezTo>
                  <a:cubicBezTo>
                    <a:pt x="125806" y="129692"/>
                    <a:pt x="126085" y="128829"/>
                    <a:pt x="126187" y="127711"/>
                  </a:cubicBezTo>
                  <a:cubicBezTo>
                    <a:pt x="126288" y="126594"/>
                    <a:pt x="126339" y="125171"/>
                    <a:pt x="126339" y="123444"/>
                  </a:cubicBezTo>
                  <a:lnTo>
                    <a:pt x="126339" y="84277"/>
                  </a:lnTo>
                  <a:lnTo>
                    <a:pt x="64008" y="84277"/>
                  </a:lnTo>
                  <a:lnTo>
                    <a:pt x="64008" y="143256"/>
                  </a:lnTo>
                  <a:lnTo>
                    <a:pt x="54864" y="143256"/>
                  </a:lnTo>
                  <a:close/>
                  <a:moveTo>
                    <a:pt x="1411376" y="66294"/>
                  </a:moveTo>
                  <a:lnTo>
                    <a:pt x="1411376" y="79400"/>
                  </a:lnTo>
                  <a:cubicBezTo>
                    <a:pt x="1411376" y="79908"/>
                    <a:pt x="1411351" y="80391"/>
                    <a:pt x="1411300" y="80848"/>
                  </a:cubicBezTo>
                  <a:cubicBezTo>
                    <a:pt x="1411249" y="81305"/>
                    <a:pt x="1411224" y="81788"/>
                    <a:pt x="1411224" y="82296"/>
                  </a:cubicBezTo>
                  <a:lnTo>
                    <a:pt x="1449476" y="82296"/>
                  </a:lnTo>
                  <a:lnTo>
                    <a:pt x="1449476" y="66294"/>
                  </a:lnTo>
                  <a:close/>
                  <a:moveTo>
                    <a:pt x="1363370" y="66294"/>
                  </a:moveTo>
                  <a:lnTo>
                    <a:pt x="1363370" y="82296"/>
                  </a:lnTo>
                  <a:lnTo>
                    <a:pt x="1401013" y="82296"/>
                  </a:lnTo>
                  <a:cubicBezTo>
                    <a:pt x="1401013" y="81788"/>
                    <a:pt x="1401038" y="81280"/>
                    <a:pt x="1401089" y="80772"/>
                  </a:cubicBezTo>
                  <a:cubicBezTo>
                    <a:pt x="1401140" y="80264"/>
                    <a:pt x="1401165" y="79756"/>
                    <a:pt x="1401165" y="79248"/>
                  </a:cubicBezTo>
                  <a:lnTo>
                    <a:pt x="1401165" y="66294"/>
                  </a:lnTo>
                  <a:close/>
                  <a:moveTo>
                    <a:pt x="973226" y="66294"/>
                  </a:moveTo>
                  <a:lnTo>
                    <a:pt x="973226" y="79400"/>
                  </a:lnTo>
                  <a:cubicBezTo>
                    <a:pt x="973226" y="79908"/>
                    <a:pt x="973201" y="80391"/>
                    <a:pt x="973150" y="80848"/>
                  </a:cubicBezTo>
                  <a:cubicBezTo>
                    <a:pt x="973099" y="81305"/>
                    <a:pt x="973074" y="81788"/>
                    <a:pt x="973074" y="82296"/>
                  </a:cubicBezTo>
                  <a:lnTo>
                    <a:pt x="1011326" y="82296"/>
                  </a:lnTo>
                  <a:lnTo>
                    <a:pt x="1011326" y="66294"/>
                  </a:lnTo>
                  <a:close/>
                  <a:moveTo>
                    <a:pt x="925220" y="66294"/>
                  </a:moveTo>
                  <a:lnTo>
                    <a:pt x="925220" y="82296"/>
                  </a:lnTo>
                  <a:lnTo>
                    <a:pt x="962863" y="82296"/>
                  </a:lnTo>
                  <a:cubicBezTo>
                    <a:pt x="962863" y="81788"/>
                    <a:pt x="962888" y="81280"/>
                    <a:pt x="962939" y="80772"/>
                  </a:cubicBezTo>
                  <a:cubicBezTo>
                    <a:pt x="962990" y="80264"/>
                    <a:pt x="963015" y="79756"/>
                    <a:pt x="963015" y="79248"/>
                  </a:cubicBezTo>
                  <a:lnTo>
                    <a:pt x="963015" y="66294"/>
                  </a:lnTo>
                  <a:close/>
                  <a:moveTo>
                    <a:pt x="1859585" y="56388"/>
                  </a:moveTo>
                  <a:lnTo>
                    <a:pt x="1869033" y="59284"/>
                  </a:lnTo>
                  <a:cubicBezTo>
                    <a:pt x="1865274" y="70968"/>
                    <a:pt x="1860855" y="82906"/>
                    <a:pt x="1855775" y="95098"/>
                  </a:cubicBezTo>
                  <a:cubicBezTo>
                    <a:pt x="1853235" y="101092"/>
                    <a:pt x="1850745" y="106655"/>
                    <a:pt x="1848307" y="111785"/>
                  </a:cubicBezTo>
                  <a:cubicBezTo>
                    <a:pt x="1845869" y="116916"/>
                    <a:pt x="1843430" y="121666"/>
                    <a:pt x="1840992" y="126035"/>
                  </a:cubicBezTo>
                  <a:cubicBezTo>
                    <a:pt x="1849628" y="125222"/>
                    <a:pt x="1857832" y="124409"/>
                    <a:pt x="1865604" y="123596"/>
                  </a:cubicBezTo>
                  <a:cubicBezTo>
                    <a:pt x="1873377" y="122784"/>
                    <a:pt x="1880768" y="121971"/>
                    <a:pt x="1887779" y="121158"/>
                  </a:cubicBezTo>
                  <a:cubicBezTo>
                    <a:pt x="1886356" y="117907"/>
                    <a:pt x="1884959" y="114656"/>
                    <a:pt x="1883588" y="111404"/>
                  </a:cubicBezTo>
                  <a:cubicBezTo>
                    <a:pt x="1882216" y="108153"/>
                    <a:pt x="1880921" y="105156"/>
                    <a:pt x="1879701" y="102413"/>
                  </a:cubicBezTo>
                  <a:cubicBezTo>
                    <a:pt x="1878482" y="99670"/>
                    <a:pt x="1877390" y="97257"/>
                    <a:pt x="1876425" y="95174"/>
                  </a:cubicBezTo>
                  <a:cubicBezTo>
                    <a:pt x="1875460" y="93091"/>
                    <a:pt x="1874723" y="91592"/>
                    <a:pt x="1874215" y="90678"/>
                  </a:cubicBezTo>
                  <a:lnTo>
                    <a:pt x="1882292" y="87173"/>
                  </a:lnTo>
                  <a:cubicBezTo>
                    <a:pt x="1882902" y="88189"/>
                    <a:pt x="1883867" y="90043"/>
                    <a:pt x="1885188" y="92735"/>
                  </a:cubicBezTo>
                  <a:cubicBezTo>
                    <a:pt x="1886509" y="95428"/>
                    <a:pt x="1887982" y="98527"/>
                    <a:pt x="1889607" y="102032"/>
                  </a:cubicBezTo>
                  <a:cubicBezTo>
                    <a:pt x="1891233" y="105537"/>
                    <a:pt x="1892960" y="109271"/>
                    <a:pt x="1894789" y="113233"/>
                  </a:cubicBezTo>
                  <a:cubicBezTo>
                    <a:pt x="1896618" y="117196"/>
                    <a:pt x="1898294" y="120955"/>
                    <a:pt x="1899818" y="124511"/>
                  </a:cubicBezTo>
                  <a:cubicBezTo>
                    <a:pt x="1901342" y="128067"/>
                    <a:pt x="1902688" y="131242"/>
                    <a:pt x="1903857" y="134036"/>
                  </a:cubicBezTo>
                  <a:cubicBezTo>
                    <a:pt x="1905025" y="136830"/>
                    <a:pt x="1905813" y="138786"/>
                    <a:pt x="1906219" y="139903"/>
                  </a:cubicBezTo>
                  <a:lnTo>
                    <a:pt x="1897075" y="144170"/>
                  </a:lnTo>
                  <a:cubicBezTo>
                    <a:pt x="1896770" y="143053"/>
                    <a:pt x="1896161" y="141300"/>
                    <a:pt x="1895246" y="138913"/>
                  </a:cubicBezTo>
                  <a:cubicBezTo>
                    <a:pt x="1894332" y="136525"/>
                    <a:pt x="1893214" y="133756"/>
                    <a:pt x="1891893" y="130607"/>
                  </a:cubicBezTo>
                  <a:cubicBezTo>
                    <a:pt x="1881022" y="131826"/>
                    <a:pt x="1870278" y="132918"/>
                    <a:pt x="1859661" y="133883"/>
                  </a:cubicBezTo>
                  <a:cubicBezTo>
                    <a:pt x="1849044" y="134849"/>
                    <a:pt x="1838401" y="135738"/>
                    <a:pt x="1827733" y="136550"/>
                  </a:cubicBezTo>
                  <a:lnTo>
                    <a:pt x="1825295" y="127406"/>
                  </a:lnTo>
                  <a:cubicBezTo>
                    <a:pt x="1827327" y="127203"/>
                    <a:pt x="1828876" y="126517"/>
                    <a:pt x="1829943" y="125349"/>
                  </a:cubicBezTo>
                  <a:cubicBezTo>
                    <a:pt x="1831010" y="124181"/>
                    <a:pt x="1831899" y="122936"/>
                    <a:pt x="1832610" y="121615"/>
                  </a:cubicBezTo>
                  <a:cubicBezTo>
                    <a:pt x="1834845" y="117653"/>
                    <a:pt x="1837131" y="113157"/>
                    <a:pt x="1839468" y="108128"/>
                  </a:cubicBezTo>
                  <a:cubicBezTo>
                    <a:pt x="1841805" y="103099"/>
                    <a:pt x="1844192" y="97638"/>
                    <a:pt x="1846631" y="91745"/>
                  </a:cubicBezTo>
                  <a:cubicBezTo>
                    <a:pt x="1849069" y="85852"/>
                    <a:pt x="1851355" y="79959"/>
                    <a:pt x="1853489" y="74066"/>
                  </a:cubicBezTo>
                  <a:cubicBezTo>
                    <a:pt x="1855622" y="68174"/>
                    <a:pt x="1857654" y="62281"/>
                    <a:pt x="1859585" y="56388"/>
                  </a:cubicBezTo>
                  <a:close/>
                  <a:moveTo>
                    <a:pt x="231114" y="51206"/>
                  </a:moveTo>
                  <a:lnTo>
                    <a:pt x="352882" y="51206"/>
                  </a:lnTo>
                  <a:lnTo>
                    <a:pt x="352882" y="60350"/>
                  </a:lnTo>
                  <a:lnTo>
                    <a:pt x="298932" y="60350"/>
                  </a:lnTo>
                  <a:lnTo>
                    <a:pt x="298932" y="87782"/>
                  </a:lnTo>
                  <a:lnTo>
                    <a:pt x="346481" y="87782"/>
                  </a:lnTo>
                  <a:lnTo>
                    <a:pt x="346481" y="96926"/>
                  </a:lnTo>
                  <a:lnTo>
                    <a:pt x="298932" y="96926"/>
                  </a:lnTo>
                  <a:lnTo>
                    <a:pt x="298932" y="127864"/>
                  </a:lnTo>
                  <a:cubicBezTo>
                    <a:pt x="299542" y="127864"/>
                    <a:pt x="300050" y="127914"/>
                    <a:pt x="300456" y="128016"/>
                  </a:cubicBezTo>
                  <a:cubicBezTo>
                    <a:pt x="304419" y="128524"/>
                    <a:pt x="308534" y="128880"/>
                    <a:pt x="312801" y="129083"/>
                  </a:cubicBezTo>
                  <a:cubicBezTo>
                    <a:pt x="317068" y="129286"/>
                    <a:pt x="321665" y="129337"/>
                    <a:pt x="326593" y="129235"/>
                  </a:cubicBezTo>
                  <a:cubicBezTo>
                    <a:pt x="331520" y="129134"/>
                    <a:pt x="336854" y="128880"/>
                    <a:pt x="342595" y="128473"/>
                  </a:cubicBezTo>
                  <a:cubicBezTo>
                    <a:pt x="348335" y="128067"/>
                    <a:pt x="354660" y="127559"/>
                    <a:pt x="361569" y="126949"/>
                  </a:cubicBezTo>
                  <a:lnTo>
                    <a:pt x="360197" y="137770"/>
                  </a:lnTo>
                  <a:cubicBezTo>
                    <a:pt x="355015" y="138176"/>
                    <a:pt x="349656" y="138506"/>
                    <a:pt x="344119" y="138760"/>
                  </a:cubicBezTo>
                  <a:cubicBezTo>
                    <a:pt x="338582" y="139014"/>
                    <a:pt x="333121" y="139141"/>
                    <a:pt x="327736" y="139141"/>
                  </a:cubicBezTo>
                  <a:cubicBezTo>
                    <a:pt x="322351" y="139141"/>
                    <a:pt x="317195" y="139065"/>
                    <a:pt x="312267" y="138913"/>
                  </a:cubicBezTo>
                  <a:cubicBezTo>
                    <a:pt x="307340" y="138760"/>
                    <a:pt x="302895" y="138481"/>
                    <a:pt x="298932" y="138074"/>
                  </a:cubicBezTo>
                  <a:cubicBezTo>
                    <a:pt x="292938" y="137465"/>
                    <a:pt x="287578" y="136423"/>
                    <a:pt x="282854" y="134950"/>
                  </a:cubicBezTo>
                  <a:cubicBezTo>
                    <a:pt x="278130" y="133477"/>
                    <a:pt x="273812" y="131674"/>
                    <a:pt x="269900" y="129540"/>
                  </a:cubicBezTo>
                  <a:cubicBezTo>
                    <a:pt x="265988" y="127406"/>
                    <a:pt x="262458" y="124943"/>
                    <a:pt x="259308" y="122149"/>
                  </a:cubicBezTo>
                  <a:cubicBezTo>
                    <a:pt x="256159" y="119355"/>
                    <a:pt x="253161" y="116332"/>
                    <a:pt x="250317" y="113081"/>
                  </a:cubicBezTo>
                  <a:cubicBezTo>
                    <a:pt x="247777" y="119177"/>
                    <a:pt x="244830" y="124739"/>
                    <a:pt x="241477" y="129769"/>
                  </a:cubicBezTo>
                  <a:cubicBezTo>
                    <a:pt x="238125" y="134798"/>
                    <a:pt x="234264" y="139751"/>
                    <a:pt x="229895" y="144628"/>
                  </a:cubicBezTo>
                  <a:lnTo>
                    <a:pt x="221665" y="138379"/>
                  </a:lnTo>
                  <a:cubicBezTo>
                    <a:pt x="229489" y="129946"/>
                    <a:pt x="235635" y="120650"/>
                    <a:pt x="240106" y="110490"/>
                  </a:cubicBezTo>
                  <a:cubicBezTo>
                    <a:pt x="244576" y="100330"/>
                    <a:pt x="247472" y="88290"/>
                    <a:pt x="248793" y="74371"/>
                  </a:cubicBezTo>
                  <a:lnTo>
                    <a:pt x="259003" y="75286"/>
                  </a:lnTo>
                  <a:cubicBezTo>
                    <a:pt x="258495" y="80467"/>
                    <a:pt x="257835" y="85293"/>
                    <a:pt x="257022" y="89764"/>
                  </a:cubicBezTo>
                  <a:cubicBezTo>
                    <a:pt x="256209" y="94234"/>
                    <a:pt x="255193" y="98501"/>
                    <a:pt x="253974" y="102565"/>
                  </a:cubicBezTo>
                  <a:cubicBezTo>
                    <a:pt x="256311" y="105512"/>
                    <a:pt x="258699" y="108204"/>
                    <a:pt x="261137" y="110642"/>
                  </a:cubicBezTo>
                  <a:cubicBezTo>
                    <a:pt x="263576" y="113081"/>
                    <a:pt x="266192" y="115265"/>
                    <a:pt x="268986" y="117196"/>
                  </a:cubicBezTo>
                  <a:cubicBezTo>
                    <a:pt x="271780" y="119126"/>
                    <a:pt x="274802" y="120828"/>
                    <a:pt x="278053" y="122301"/>
                  </a:cubicBezTo>
                  <a:cubicBezTo>
                    <a:pt x="281305" y="123774"/>
                    <a:pt x="285013" y="125019"/>
                    <a:pt x="289179" y="126035"/>
                  </a:cubicBezTo>
                  <a:lnTo>
                    <a:pt x="289179" y="60350"/>
                  </a:lnTo>
                  <a:lnTo>
                    <a:pt x="231114" y="60350"/>
                  </a:lnTo>
                  <a:close/>
                  <a:moveTo>
                    <a:pt x="71475" y="44044"/>
                  </a:moveTo>
                  <a:lnTo>
                    <a:pt x="71475" y="56236"/>
                  </a:lnTo>
                  <a:lnTo>
                    <a:pt x="118415" y="56236"/>
                  </a:lnTo>
                  <a:lnTo>
                    <a:pt x="118415" y="44044"/>
                  </a:lnTo>
                  <a:close/>
                  <a:moveTo>
                    <a:pt x="1411376" y="42367"/>
                  </a:moveTo>
                  <a:lnTo>
                    <a:pt x="1411376" y="58064"/>
                  </a:lnTo>
                  <a:lnTo>
                    <a:pt x="1449476" y="58064"/>
                  </a:lnTo>
                  <a:lnTo>
                    <a:pt x="1449476" y="42367"/>
                  </a:lnTo>
                  <a:close/>
                  <a:moveTo>
                    <a:pt x="1363370" y="42367"/>
                  </a:moveTo>
                  <a:lnTo>
                    <a:pt x="1363370" y="58064"/>
                  </a:lnTo>
                  <a:lnTo>
                    <a:pt x="1401165" y="58064"/>
                  </a:lnTo>
                  <a:lnTo>
                    <a:pt x="1401165" y="42367"/>
                  </a:lnTo>
                  <a:close/>
                  <a:moveTo>
                    <a:pt x="973226" y="42367"/>
                  </a:moveTo>
                  <a:lnTo>
                    <a:pt x="973226" y="58064"/>
                  </a:lnTo>
                  <a:lnTo>
                    <a:pt x="1011326" y="58064"/>
                  </a:lnTo>
                  <a:lnTo>
                    <a:pt x="1011326" y="42367"/>
                  </a:lnTo>
                  <a:close/>
                  <a:moveTo>
                    <a:pt x="925220" y="42367"/>
                  </a:moveTo>
                  <a:lnTo>
                    <a:pt x="925220" y="58064"/>
                  </a:lnTo>
                  <a:lnTo>
                    <a:pt x="963015" y="58064"/>
                  </a:lnTo>
                  <a:lnTo>
                    <a:pt x="963015" y="42367"/>
                  </a:lnTo>
                  <a:close/>
                  <a:moveTo>
                    <a:pt x="1207846" y="36728"/>
                  </a:moveTo>
                  <a:lnTo>
                    <a:pt x="1207693" y="69037"/>
                  </a:lnTo>
                  <a:cubicBezTo>
                    <a:pt x="1207693" y="69850"/>
                    <a:pt x="1207668" y="70663"/>
                    <a:pt x="1207617" y="71476"/>
                  </a:cubicBezTo>
                  <a:cubicBezTo>
                    <a:pt x="1207566" y="72288"/>
                    <a:pt x="1207490" y="73101"/>
                    <a:pt x="1207389" y="73914"/>
                  </a:cubicBezTo>
                  <a:lnTo>
                    <a:pt x="1231773" y="73914"/>
                  </a:lnTo>
                  <a:lnTo>
                    <a:pt x="1231773" y="36728"/>
                  </a:lnTo>
                  <a:close/>
                  <a:moveTo>
                    <a:pt x="62636" y="35814"/>
                  </a:moveTo>
                  <a:lnTo>
                    <a:pt x="127406" y="35814"/>
                  </a:lnTo>
                  <a:lnTo>
                    <a:pt x="127406" y="64465"/>
                  </a:lnTo>
                  <a:lnTo>
                    <a:pt x="62636" y="64465"/>
                  </a:lnTo>
                  <a:close/>
                  <a:moveTo>
                    <a:pt x="1155420" y="26822"/>
                  </a:moveTo>
                  <a:cubicBezTo>
                    <a:pt x="1156741" y="28346"/>
                    <a:pt x="1158164" y="30150"/>
                    <a:pt x="1159688" y="32233"/>
                  </a:cubicBezTo>
                  <a:cubicBezTo>
                    <a:pt x="1161211" y="34315"/>
                    <a:pt x="1162939" y="36830"/>
                    <a:pt x="1164869" y="39776"/>
                  </a:cubicBezTo>
                  <a:cubicBezTo>
                    <a:pt x="1166799" y="42723"/>
                    <a:pt x="1168501" y="45415"/>
                    <a:pt x="1169974" y="47854"/>
                  </a:cubicBezTo>
                  <a:cubicBezTo>
                    <a:pt x="1171448" y="50292"/>
                    <a:pt x="1172642" y="52426"/>
                    <a:pt x="1173556" y="54254"/>
                  </a:cubicBezTo>
                  <a:lnTo>
                    <a:pt x="1165631" y="59741"/>
                  </a:lnTo>
                  <a:cubicBezTo>
                    <a:pt x="1164818" y="57912"/>
                    <a:pt x="1163726" y="55855"/>
                    <a:pt x="1162355" y="53569"/>
                  </a:cubicBezTo>
                  <a:cubicBezTo>
                    <a:pt x="1160983" y="51283"/>
                    <a:pt x="1159332" y="48666"/>
                    <a:pt x="1157401" y="45720"/>
                  </a:cubicBezTo>
                  <a:cubicBezTo>
                    <a:pt x="1155573" y="42774"/>
                    <a:pt x="1153896" y="40183"/>
                    <a:pt x="1152372" y="37948"/>
                  </a:cubicBezTo>
                  <a:cubicBezTo>
                    <a:pt x="1150848" y="35712"/>
                    <a:pt x="1149477" y="33782"/>
                    <a:pt x="1148257" y="32156"/>
                  </a:cubicBezTo>
                  <a:close/>
                  <a:moveTo>
                    <a:pt x="1123721" y="26518"/>
                  </a:moveTo>
                  <a:lnTo>
                    <a:pt x="1132713" y="26975"/>
                  </a:lnTo>
                  <a:cubicBezTo>
                    <a:pt x="1132611" y="30531"/>
                    <a:pt x="1132357" y="34722"/>
                    <a:pt x="1131951" y="39548"/>
                  </a:cubicBezTo>
                  <a:cubicBezTo>
                    <a:pt x="1131544" y="44374"/>
                    <a:pt x="1130935" y="49835"/>
                    <a:pt x="1130122" y="55931"/>
                  </a:cubicBezTo>
                  <a:cubicBezTo>
                    <a:pt x="1129309" y="62027"/>
                    <a:pt x="1128420" y="67488"/>
                    <a:pt x="1127455" y="72314"/>
                  </a:cubicBezTo>
                  <a:cubicBezTo>
                    <a:pt x="1126490" y="77140"/>
                    <a:pt x="1125499" y="81280"/>
                    <a:pt x="1124483" y="84734"/>
                  </a:cubicBezTo>
                  <a:lnTo>
                    <a:pt x="1115339" y="82601"/>
                  </a:lnTo>
                  <a:cubicBezTo>
                    <a:pt x="1116253" y="79248"/>
                    <a:pt x="1117168" y="75260"/>
                    <a:pt x="1118082" y="70637"/>
                  </a:cubicBezTo>
                  <a:cubicBezTo>
                    <a:pt x="1118997" y="66015"/>
                    <a:pt x="1119860" y="60757"/>
                    <a:pt x="1120673" y="54864"/>
                  </a:cubicBezTo>
                  <a:cubicBezTo>
                    <a:pt x="1121587" y="48870"/>
                    <a:pt x="1122299" y="43536"/>
                    <a:pt x="1122807" y="38862"/>
                  </a:cubicBezTo>
                  <a:cubicBezTo>
                    <a:pt x="1123315" y="34188"/>
                    <a:pt x="1123619" y="30074"/>
                    <a:pt x="1123721" y="26518"/>
                  </a:cubicBezTo>
                  <a:close/>
                  <a:moveTo>
                    <a:pt x="610057" y="26060"/>
                  </a:moveTo>
                  <a:lnTo>
                    <a:pt x="610057" y="79858"/>
                  </a:lnTo>
                  <a:lnTo>
                    <a:pt x="632612" y="79858"/>
                  </a:lnTo>
                  <a:cubicBezTo>
                    <a:pt x="640842" y="79858"/>
                    <a:pt x="647319" y="77470"/>
                    <a:pt x="652043" y="72695"/>
                  </a:cubicBezTo>
                  <a:cubicBezTo>
                    <a:pt x="656767" y="67920"/>
                    <a:pt x="659130" y="61316"/>
                    <a:pt x="659130" y="52883"/>
                  </a:cubicBezTo>
                  <a:cubicBezTo>
                    <a:pt x="659130" y="44552"/>
                    <a:pt x="656767" y="37998"/>
                    <a:pt x="652043" y="33223"/>
                  </a:cubicBezTo>
                  <a:cubicBezTo>
                    <a:pt x="647319" y="28448"/>
                    <a:pt x="640842" y="26060"/>
                    <a:pt x="632612" y="26060"/>
                  </a:cubicBezTo>
                  <a:close/>
                  <a:moveTo>
                    <a:pt x="457657" y="26060"/>
                  </a:moveTo>
                  <a:lnTo>
                    <a:pt x="457657" y="79858"/>
                  </a:lnTo>
                  <a:lnTo>
                    <a:pt x="480212" y="79858"/>
                  </a:lnTo>
                  <a:cubicBezTo>
                    <a:pt x="488442" y="79858"/>
                    <a:pt x="494919" y="77470"/>
                    <a:pt x="499643" y="72695"/>
                  </a:cubicBezTo>
                  <a:cubicBezTo>
                    <a:pt x="504368" y="67920"/>
                    <a:pt x="506730" y="61316"/>
                    <a:pt x="506730" y="52883"/>
                  </a:cubicBezTo>
                  <a:cubicBezTo>
                    <a:pt x="506730" y="44552"/>
                    <a:pt x="504368" y="37998"/>
                    <a:pt x="499643" y="33223"/>
                  </a:cubicBezTo>
                  <a:cubicBezTo>
                    <a:pt x="494919" y="28448"/>
                    <a:pt x="488442" y="26060"/>
                    <a:pt x="480212" y="26060"/>
                  </a:cubicBezTo>
                  <a:close/>
                  <a:moveTo>
                    <a:pt x="745388" y="16307"/>
                  </a:moveTo>
                  <a:lnTo>
                    <a:pt x="821588" y="16307"/>
                  </a:lnTo>
                  <a:lnTo>
                    <a:pt x="821588" y="26365"/>
                  </a:lnTo>
                  <a:lnTo>
                    <a:pt x="789127" y="26365"/>
                  </a:lnTo>
                  <a:lnTo>
                    <a:pt x="789127" y="136246"/>
                  </a:lnTo>
                  <a:lnTo>
                    <a:pt x="777849" y="136246"/>
                  </a:lnTo>
                  <a:lnTo>
                    <a:pt x="777849" y="26365"/>
                  </a:lnTo>
                  <a:lnTo>
                    <a:pt x="745388" y="26365"/>
                  </a:lnTo>
                  <a:close/>
                  <a:moveTo>
                    <a:pt x="598932" y="16307"/>
                  </a:moveTo>
                  <a:lnTo>
                    <a:pt x="633984" y="16307"/>
                  </a:lnTo>
                  <a:cubicBezTo>
                    <a:pt x="641299" y="16307"/>
                    <a:pt x="647725" y="17805"/>
                    <a:pt x="653262" y="20803"/>
                  </a:cubicBezTo>
                  <a:cubicBezTo>
                    <a:pt x="658799" y="23800"/>
                    <a:pt x="663067" y="28067"/>
                    <a:pt x="666064" y="33604"/>
                  </a:cubicBezTo>
                  <a:cubicBezTo>
                    <a:pt x="669061" y="39141"/>
                    <a:pt x="670560" y="45568"/>
                    <a:pt x="670560" y="52883"/>
                  </a:cubicBezTo>
                  <a:cubicBezTo>
                    <a:pt x="670560" y="60198"/>
                    <a:pt x="669061" y="66624"/>
                    <a:pt x="666064" y="72161"/>
                  </a:cubicBezTo>
                  <a:cubicBezTo>
                    <a:pt x="663067" y="77699"/>
                    <a:pt x="658799" y="81991"/>
                    <a:pt x="653262" y="85039"/>
                  </a:cubicBezTo>
                  <a:cubicBezTo>
                    <a:pt x="647725" y="88087"/>
                    <a:pt x="641299" y="89611"/>
                    <a:pt x="633984" y="89611"/>
                  </a:cubicBezTo>
                  <a:lnTo>
                    <a:pt x="610057" y="89611"/>
                  </a:lnTo>
                  <a:lnTo>
                    <a:pt x="610057" y="136246"/>
                  </a:lnTo>
                  <a:lnTo>
                    <a:pt x="598932" y="136246"/>
                  </a:lnTo>
                  <a:close/>
                  <a:moveTo>
                    <a:pt x="446532" y="16307"/>
                  </a:moveTo>
                  <a:lnTo>
                    <a:pt x="481584" y="16307"/>
                  </a:lnTo>
                  <a:cubicBezTo>
                    <a:pt x="488899" y="16307"/>
                    <a:pt x="495325" y="17805"/>
                    <a:pt x="500862" y="20803"/>
                  </a:cubicBezTo>
                  <a:cubicBezTo>
                    <a:pt x="506399" y="23800"/>
                    <a:pt x="510667" y="28067"/>
                    <a:pt x="513664" y="33604"/>
                  </a:cubicBezTo>
                  <a:cubicBezTo>
                    <a:pt x="516661" y="39141"/>
                    <a:pt x="518160" y="45568"/>
                    <a:pt x="518160" y="52883"/>
                  </a:cubicBezTo>
                  <a:cubicBezTo>
                    <a:pt x="518160" y="60198"/>
                    <a:pt x="516661" y="66624"/>
                    <a:pt x="513664" y="72161"/>
                  </a:cubicBezTo>
                  <a:cubicBezTo>
                    <a:pt x="510667" y="77699"/>
                    <a:pt x="506399" y="81991"/>
                    <a:pt x="500862" y="85039"/>
                  </a:cubicBezTo>
                  <a:cubicBezTo>
                    <a:pt x="495325" y="88087"/>
                    <a:pt x="488899" y="89611"/>
                    <a:pt x="481584" y="89611"/>
                  </a:cubicBezTo>
                  <a:lnTo>
                    <a:pt x="457657" y="89611"/>
                  </a:lnTo>
                  <a:lnTo>
                    <a:pt x="457657" y="136246"/>
                  </a:lnTo>
                  <a:lnTo>
                    <a:pt x="446532" y="136246"/>
                  </a:lnTo>
                  <a:close/>
                  <a:moveTo>
                    <a:pt x="1619174" y="12344"/>
                  </a:moveTo>
                  <a:lnTo>
                    <a:pt x="1680286" y="12344"/>
                  </a:lnTo>
                  <a:lnTo>
                    <a:pt x="1680286" y="21641"/>
                  </a:lnTo>
                  <a:cubicBezTo>
                    <a:pt x="1677441" y="25806"/>
                    <a:pt x="1674469" y="29743"/>
                    <a:pt x="1671371" y="33452"/>
                  </a:cubicBezTo>
                  <a:cubicBezTo>
                    <a:pt x="1668272" y="37160"/>
                    <a:pt x="1664944" y="40792"/>
                    <a:pt x="1661388" y="44348"/>
                  </a:cubicBezTo>
                  <a:cubicBezTo>
                    <a:pt x="1663420" y="45466"/>
                    <a:pt x="1665656" y="46736"/>
                    <a:pt x="1668094" y="48158"/>
                  </a:cubicBezTo>
                  <a:cubicBezTo>
                    <a:pt x="1670532" y="49581"/>
                    <a:pt x="1673123" y="51156"/>
                    <a:pt x="1675866" y="52883"/>
                  </a:cubicBezTo>
                  <a:cubicBezTo>
                    <a:pt x="1680134" y="55524"/>
                    <a:pt x="1683994" y="57988"/>
                    <a:pt x="1687449" y="60274"/>
                  </a:cubicBezTo>
                  <a:cubicBezTo>
                    <a:pt x="1690903" y="62560"/>
                    <a:pt x="1693799" y="64618"/>
                    <a:pt x="1696136" y="66446"/>
                  </a:cubicBezTo>
                  <a:lnTo>
                    <a:pt x="1690344" y="74981"/>
                  </a:lnTo>
                  <a:cubicBezTo>
                    <a:pt x="1688008" y="73050"/>
                    <a:pt x="1685239" y="70968"/>
                    <a:pt x="1682039" y="68732"/>
                  </a:cubicBezTo>
                  <a:cubicBezTo>
                    <a:pt x="1678838" y="66497"/>
                    <a:pt x="1675104" y="64059"/>
                    <a:pt x="1670837" y="61417"/>
                  </a:cubicBezTo>
                  <a:cubicBezTo>
                    <a:pt x="1663928" y="57048"/>
                    <a:pt x="1658239" y="53696"/>
                    <a:pt x="1653768" y="51359"/>
                  </a:cubicBezTo>
                  <a:cubicBezTo>
                    <a:pt x="1643913" y="59995"/>
                    <a:pt x="1632331" y="67869"/>
                    <a:pt x="1619021" y="74981"/>
                  </a:cubicBezTo>
                  <a:lnTo>
                    <a:pt x="1613535" y="65684"/>
                  </a:lnTo>
                  <a:cubicBezTo>
                    <a:pt x="1625219" y="59893"/>
                    <a:pt x="1635506" y="53442"/>
                    <a:pt x="1644396" y="46330"/>
                  </a:cubicBezTo>
                  <a:cubicBezTo>
                    <a:pt x="1653286" y="39218"/>
                    <a:pt x="1660830" y="31191"/>
                    <a:pt x="1667027" y="22250"/>
                  </a:cubicBezTo>
                  <a:lnTo>
                    <a:pt x="1619174" y="22250"/>
                  </a:lnTo>
                  <a:close/>
                  <a:moveTo>
                    <a:pt x="1341272" y="9601"/>
                  </a:moveTo>
                  <a:lnTo>
                    <a:pt x="1471422" y="9601"/>
                  </a:lnTo>
                  <a:lnTo>
                    <a:pt x="1471422" y="18593"/>
                  </a:lnTo>
                  <a:lnTo>
                    <a:pt x="1411376" y="18593"/>
                  </a:lnTo>
                  <a:lnTo>
                    <a:pt x="1411376" y="33833"/>
                  </a:lnTo>
                  <a:lnTo>
                    <a:pt x="1459230" y="33833"/>
                  </a:lnTo>
                  <a:lnTo>
                    <a:pt x="1459230" y="91288"/>
                  </a:lnTo>
                  <a:lnTo>
                    <a:pt x="1410614" y="91288"/>
                  </a:lnTo>
                  <a:cubicBezTo>
                    <a:pt x="1409090" y="101854"/>
                    <a:pt x="1405788" y="110642"/>
                    <a:pt x="1400708" y="117653"/>
                  </a:cubicBezTo>
                  <a:cubicBezTo>
                    <a:pt x="1410766" y="122225"/>
                    <a:pt x="1421841" y="125451"/>
                    <a:pt x="1433931" y="127330"/>
                  </a:cubicBezTo>
                  <a:cubicBezTo>
                    <a:pt x="1446022" y="129210"/>
                    <a:pt x="1459636" y="130200"/>
                    <a:pt x="1474775" y="130302"/>
                  </a:cubicBezTo>
                  <a:lnTo>
                    <a:pt x="1472641" y="140665"/>
                  </a:lnTo>
                  <a:cubicBezTo>
                    <a:pt x="1464818" y="140462"/>
                    <a:pt x="1457376" y="140081"/>
                    <a:pt x="1450314" y="139522"/>
                  </a:cubicBezTo>
                  <a:cubicBezTo>
                    <a:pt x="1443253" y="138963"/>
                    <a:pt x="1436471" y="138125"/>
                    <a:pt x="1429969" y="137008"/>
                  </a:cubicBezTo>
                  <a:cubicBezTo>
                    <a:pt x="1423466" y="135890"/>
                    <a:pt x="1417243" y="134391"/>
                    <a:pt x="1411300" y="132512"/>
                  </a:cubicBezTo>
                  <a:cubicBezTo>
                    <a:pt x="1405356" y="130632"/>
                    <a:pt x="1399540" y="128270"/>
                    <a:pt x="1393850" y="125425"/>
                  </a:cubicBezTo>
                  <a:cubicBezTo>
                    <a:pt x="1390497" y="128473"/>
                    <a:pt x="1386814" y="131140"/>
                    <a:pt x="1382801" y="133426"/>
                  </a:cubicBezTo>
                  <a:cubicBezTo>
                    <a:pt x="1378788" y="135712"/>
                    <a:pt x="1374546" y="137668"/>
                    <a:pt x="1370076" y="139294"/>
                  </a:cubicBezTo>
                  <a:cubicBezTo>
                    <a:pt x="1365605" y="140919"/>
                    <a:pt x="1360957" y="142316"/>
                    <a:pt x="1356131" y="143485"/>
                  </a:cubicBezTo>
                  <a:cubicBezTo>
                    <a:pt x="1351305" y="144653"/>
                    <a:pt x="1346454" y="145694"/>
                    <a:pt x="1341577" y="146609"/>
                  </a:cubicBezTo>
                  <a:lnTo>
                    <a:pt x="1338072" y="137160"/>
                  </a:lnTo>
                  <a:cubicBezTo>
                    <a:pt x="1346911" y="135534"/>
                    <a:pt x="1355369" y="133528"/>
                    <a:pt x="1363446" y="131140"/>
                  </a:cubicBezTo>
                  <a:cubicBezTo>
                    <a:pt x="1371523" y="128753"/>
                    <a:pt x="1378559" y="125120"/>
                    <a:pt x="1384554" y="120244"/>
                  </a:cubicBezTo>
                  <a:cubicBezTo>
                    <a:pt x="1380286" y="117500"/>
                    <a:pt x="1376070" y="114427"/>
                    <a:pt x="1371905" y="111023"/>
                  </a:cubicBezTo>
                  <a:cubicBezTo>
                    <a:pt x="1367739" y="107620"/>
                    <a:pt x="1363522" y="103734"/>
                    <a:pt x="1359255" y="99365"/>
                  </a:cubicBezTo>
                  <a:lnTo>
                    <a:pt x="1366570" y="92507"/>
                  </a:lnTo>
                  <a:cubicBezTo>
                    <a:pt x="1370431" y="96774"/>
                    <a:pt x="1374419" y="100584"/>
                    <a:pt x="1378534" y="103937"/>
                  </a:cubicBezTo>
                  <a:cubicBezTo>
                    <a:pt x="1382649" y="107290"/>
                    <a:pt x="1386992" y="110287"/>
                    <a:pt x="1391564" y="112928"/>
                  </a:cubicBezTo>
                  <a:cubicBezTo>
                    <a:pt x="1393698" y="110084"/>
                    <a:pt x="1395501" y="106909"/>
                    <a:pt x="1396974" y="103403"/>
                  </a:cubicBezTo>
                  <a:cubicBezTo>
                    <a:pt x="1398448" y="99898"/>
                    <a:pt x="1399540" y="95860"/>
                    <a:pt x="1400251" y="91288"/>
                  </a:cubicBezTo>
                  <a:lnTo>
                    <a:pt x="1353464" y="91288"/>
                  </a:lnTo>
                  <a:lnTo>
                    <a:pt x="1353464" y="33833"/>
                  </a:lnTo>
                  <a:lnTo>
                    <a:pt x="1401165" y="33833"/>
                  </a:lnTo>
                  <a:lnTo>
                    <a:pt x="1401165" y="18593"/>
                  </a:lnTo>
                  <a:lnTo>
                    <a:pt x="1341272" y="18593"/>
                  </a:lnTo>
                  <a:close/>
                  <a:moveTo>
                    <a:pt x="903122" y="9601"/>
                  </a:moveTo>
                  <a:lnTo>
                    <a:pt x="1033272" y="9601"/>
                  </a:lnTo>
                  <a:lnTo>
                    <a:pt x="1033272" y="18593"/>
                  </a:lnTo>
                  <a:lnTo>
                    <a:pt x="973226" y="18593"/>
                  </a:lnTo>
                  <a:lnTo>
                    <a:pt x="973226" y="33833"/>
                  </a:lnTo>
                  <a:lnTo>
                    <a:pt x="1021080" y="33833"/>
                  </a:lnTo>
                  <a:lnTo>
                    <a:pt x="1021080" y="91288"/>
                  </a:lnTo>
                  <a:lnTo>
                    <a:pt x="972464" y="91288"/>
                  </a:lnTo>
                  <a:cubicBezTo>
                    <a:pt x="970940" y="101854"/>
                    <a:pt x="967638" y="110642"/>
                    <a:pt x="962558" y="117653"/>
                  </a:cubicBezTo>
                  <a:cubicBezTo>
                    <a:pt x="972616" y="122225"/>
                    <a:pt x="983691" y="125451"/>
                    <a:pt x="995781" y="127330"/>
                  </a:cubicBezTo>
                  <a:cubicBezTo>
                    <a:pt x="1007872" y="129210"/>
                    <a:pt x="1021486" y="130200"/>
                    <a:pt x="1036624" y="130302"/>
                  </a:cubicBezTo>
                  <a:lnTo>
                    <a:pt x="1034491" y="140665"/>
                  </a:lnTo>
                  <a:cubicBezTo>
                    <a:pt x="1026668" y="140462"/>
                    <a:pt x="1019225" y="140081"/>
                    <a:pt x="1012164" y="139522"/>
                  </a:cubicBezTo>
                  <a:cubicBezTo>
                    <a:pt x="1005103" y="138963"/>
                    <a:pt x="998321" y="138125"/>
                    <a:pt x="991819" y="137008"/>
                  </a:cubicBezTo>
                  <a:cubicBezTo>
                    <a:pt x="985316" y="135890"/>
                    <a:pt x="979093" y="134391"/>
                    <a:pt x="973150" y="132512"/>
                  </a:cubicBezTo>
                  <a:cubicBezTo>
                    <a:pt x="967206" y="130632"/>
                    <a:pt x="961390" y="128270"/>
                    <a:pt x="955700" y="125425"/>
                  </a:cubicBezTo>
                  <a:cubicBezTo>
                    <a:pt x="952347" y="128473"/>
                    <a:pt x="948664" y="131140"/>
                    <a:pt x="944651" y="133426"/>
                  </a:cubicBezTo>
                  <a:cubicBezTo>
                    <a:pt x="940638" y="135712"/>
                    <a:pt x="936396" y="137668"/>
                    <a:pt x="931926" y="139294"/>
                  </a:cubicBezTo>
                  <a:cubicBezTo>
                    <a:pt x="927455" y="140919"/>
                    <a:pt x="922807" y="142316"/>
                    <a:pt x="917981" y="143485"/>
                  </a:cubicBezTo>
                  <a:cubicBezTo>
                    <a:pt x="913155" y="144653"/>
                    <a:pt x="908304" y="145694"/>
                    <a:pt x="903427" y="146609"/>
                  </a:cubicBezTo>
                  <a:lnTo>
                    <a:pt x="899922" y="137160"/>
                  </a:lnTo>
                  <a:cubicBezTo>
                    <a:pt x="908761" y="135534"/>
                    <a:pt x="917219" y="133528"/>
                    <a:pt x="925296" y="131140"/>
                  </a:cubicBezTo>
                  <a:cubicBezTo>
                    <a:pt x="933373" y="128753"/>
                    <a:pt x="940409" y="125120"/>
                    <a:pt x="946404" y="120244"/>
                  </a:cubicBezTo>
                  <a:cubicBezTo>
                    <a:pt x="942137" y="117500"/>
                    <a:pt x="937920" y="114427"/>
                    <a:pt x="933754" y="111023"/>
                  </a:cubicBezTo>
                  <a:cubicBezTo>
                    <a:pt x="929589" y="107620"/>
                    <a:pt x="925373" y="103734"/>
                    <a:pt x="921105" y="99365"/>
                  </a:cubicBezTo>
                  <a:lnTo>
                    <a:pt x="928421" y="92507"/>
                  </a:lnTo>
                  <a:cubicBezTo>
                    <a:pt x="932281" y="96774"/>
                    <a:pt x="936269" y="100584"/>
                    <a:pt x="940384" y="103937"/>
                  </a:cubicBezTo>
                  <a:cubicBezTo>
                    <a:pt x="944499" y="107290"/>
                    <a:pt x="948842" y="110287"/>
                    <a:pt x="953414" y="112928"/>
                  </a:cubicBezTo>
                  <a:cubicBezTo>
                    <a:pt x="955548" y="110084"/>
                    <a:pt x="957351" y="106909"/>
                    <a:pt x="958824" y="103403"/>
                  </a:cubicBezTo>
                  <a:cubicBezTo>
                    <a:pt x="960297" y="99898"/>
                    <a:pt x="961390" y="95860"/>
                    <a:pt x="962101" y="91288"/>
                  </a:cubicBezTo>
                  <a:lnTo>
                    <a:pt x="915314" y="91288"/>
                  </a:lnTo>
                  <a:lnTo>
                    <a:pt x="915314" y="33833"/>
                  </a:lnTo>
                  <a:lnTo>
                    <a:pt x="963015" y="33833"/>
                  </a:lnTo>
                  <a:lnTo>
                    <a:pt x="963015" y="18593"/>
                  </a:lnTo>
                  <a:lnTo>
                    <a:pt x="903122" y="18593"/>
                  </a:lnTo>
                  <a:close/>
                  <a:moveTo>
                    <a:pt x="1851355" y="7163"/>
                  </a:moveTo>
                  <a:lnTo>
                    <a:pt x="1860804" y="9906"/>
                  </a:lnTo>
                  <a:cubicBezTo>
                    <a:pt x="1857248" y="21793"/>
                    <a:pt x="1853057" y="32741"/>
                    <a:pt x="1848231" y="42748"/>
                  </a:cubicBezTo>
                  <a:cubicBezTo>
                    <a:pt x="1843405" y="52756"/>
                    <a:pt x="1837791" y="61925"/>
                    <a:pt x="1831391" y="70256"/>
                  </a:cubicBezTo>
                  <a:lnTo>
                    <a:pt x="1823313" y="64160"/>
                  </a:lnTo>
                  <a:cubicBezTo>
                    <a:pt x="1829714" y="56134"/>
                    <a:pt x="1835226" y="47396"/>
                    <a:pt x="1839849" y="37948"/>
                  </a:cubicBezTo>
                  <a:cubicBezTo>
                    <a:pt x="1844472" y="28499"/>
                    <a:pt x="1848307" y="18237"/>
                    <a:pt x="1851355" y="7163"/>
                  </a:cubicBezTo>
                  <a:close/>
                  <a:moveTo>
                    <a:pt x="48615" y="6706"/>
                  </a:moveTo>
                  <a:lnTo>
                    <a:pt x="51663" y="16002"/>
                  </a:lnTo>
                  <a:cubicBezTo>
                    <a:pt x="46177" y="17729"/>
                    <a:pt x="40132" y="19355"/>
                    <a:pt x="33528" y="20879"/>
                  </a:cubicBezTo>
                  <a:lnTo>
                    <a:pt x="33528" y="44958"/>
                  </a:lnTo>
                  <a:lnTo>
                    <a:pt x="53644" y="44958"/>
                  </a:lnTo>
                  <a:lnTo>
                    <a:pt x="53644" y="54559"/>
                  </a:lnTo>
                  <a:lnTo>
                    <a:pt x="33528" y="54559"/>
                  </a:lnTo>
                  <a:lnTo>
                    <a:pt x="33528" y="60960"/>
                  </a:lnTo>
                  <a:cubicBezTo>
                    <a:pt x="37490" y="66243"/>
                    <a:pt x="41300" y="71526"/>
                    <a:pt x="44958" y="76810"/>
                  </a:cubicBezTo>
                  <a:cubicBezTo>
                    <a:pt x="48615" y="82093"/>
                    <a:pt x="51613" y="86766"/>
                    <a:pt x="53949" y="90830"/>
                  </a:cubicBezTo>
                  <a:lnTo>
                    <a:pt x="46329" y="96164"/>
                  </a:lnTo>
                  <a:cubicBezTo>
                    <a:pt x="44500" y="92608"/>
                    <a:pt x="42468" y="88951"/>
                    <a:pt x="40233" y="85192"/>
                  </a:cubicBezTo>
                  <a:cubicBezTo>
                    <a:pt x="37998" y="81432"/>
                    <a:pt x="35763" y="77876"/>
                    <a:pt x="33528" y="74524"/>
                  </a:cubicBezTo>
                  <a:lnTo>
                    <a:pt x="33528" y="144170"/>
                  </a:lnTo>
                  <a:lnTo>
                    <a:pt x="24841" y="144170"/>
                  </a:lnTo>
                  <a:lnTo>
                    <a:pt x="24841" y="77724"/>
                  </a:lnTo>
                  <a:cubicBezTo>
                    <a:pt x="22504" y="84125"/>
                    <a:pt x="19913" y="90373"/>
                    <a:pt x="17068" y="96469"/>
                  </a:cubicBezTo>
                  <a:cubicBezTo>
                    <a:pt x="14224" y="102565"/>
                    <a:pt x="11074" y="108560"/>
                    <a:pt x="7620" y="114452"/>
                  </a:cubicBezTo>
                  <a:lnTo>
                    <a:pt x="0" y="108204"/>
                  </a:lnTo>
                  <a:cubicBezTo>
                    <a:pt x="2438" y="104140"/>
                    <a:pt x="4775" y="100076"/>
                    <a:pt x="7010" y="96012"/>
                  </a:cubicBezTo>
                  <a:cubicBezTo>
                    <a:pt x="9245" y="91948"/>
                    <a:pt x="11353" y="87732"/>
                    <a:pt x="13335" y="83363"/>
                  </a:cubicBezTo>
                  <a:cubicBezTo>
                    <a:pt x="15316" y="78994"/>
                    <a:pt x="17145" y="74447"/>
                    <a:pt x="18821" y="69723"/>
                  </a:cubicBezTo>
                  <a:cubicBezTo>
                    <a:pt x="20497" y="64999"/>
                    <a:pt x="22098" y="59944"/>
                    <a:pt x="23622" y="54559"/>
                  </a:cubicBezTo>
                  <a:lnTo>
                    <a:pt x="4267" y="54559"/>
                  </a:lnTo>
                  <a:lnTo>
                    <a:pt x="4267" y="44958"/>
                  </a:lnTo>
                  <a:lnTo>
                    <a:pt x="24841" y="44958"/>
                  </a:lnTo>
                  <a:lnTo>
                    <a:pt x="24841" y="22555"/>
                  </a:lnTo>
                  <a:cubicBezTo>
                    <a:pt x="21590" y="23165"/>
                    <a:pt x="18415" y="23724"/>
                    <a:pt x="15316" y="24232"/>
                  </a:cubicBezTo>
                  <a:cubicBezTo>
                    <a:pt x="12217" y="24740"/>
                    <a:pt x="9296" y="25146"/>
                    <a:pt x="6553" y="25451"/>
                  </a:cubicBezTo>
                  <a:lnTo>
                    <a:pt x="4724" y="16154"/>
                  </a:lnTo>
                  <a:cubicBezTo>
                    <a:pt x="11836" y="15342"/>
                    <a:pt x="19100" y="14148"/>
                    <a:pt x="26517" y="12573"/>
                  </a:cubicBezTo>
                  <a:cubicBezTo>
                    <a:pt x="33934" y="10998"/>
                    <a:pt x="41300" y="9042"/>
                    <a:pt x="48615" y="6706"/>
                  </a:cubicBezTo>
                  <a:close/>
                  <a:moveTo>
                    <a:pt x="1138351" y="1981"/>
                  </a:moveTo>
                  <a:lnTo>
                    <a:pt x="1147800" y="1981"/>
                  </a:lnTo>
                  <a:lnTo>
                    <a:pt x="1147800" y="144170"/>
                  </a:lnTo>
                  <a:lnTo>
                    <a:pt x="1138351" y="144170"/>
                  </a:lnTo>
                  <a:close/>
                  <a:moveTo>
                    <a:pt x="1198397" y="1829"/>
                  </a:moveTo>
                  <a:lnTo>
                    <a:pt x="1207998" y="1829"/>
                  </a:lnTo>
                  <a:lnTo>
                    <a:pt x="1207846" y="27280"/>
                  </a:lnTo>
                  <a:lnTo>
                    <a:pt x="1241222" y="27280"/>
                  </a:lnTo>
                  <a:lnTo>
                    <a:pt x="1241222" y="73914"/>
                  </a:lnTo>
                  <a:lnTo>
                    <a:pt x="1256766" y="73914"/>
                  </a:lnTo>
                  <a:lnTo>
                    <a:pt x="1256766" y="83668"/>
                  </a:lnTo>
                  <a:lnTo>
                    <a:pt x="1209675" y="83668"/>
                  </a:lnTo>
                  <a:cubicBezTo>
                    <a:pt x="1213129" y="95555"/>
                    <a:pt x="1218641" y="105715"/>
                    <a:pt x="1226210" y="114148"/>
                  </a:cubicBezTo>
                  <a:cubicBezTo>
                    <a:pt x="1233779" y="122580"/>
                    <a:pt x="1244168" y="129692"/>
                    <a:pt x="1257376" y="135484"/>
                  </a:cubicBezTo>
                  <a:lnTo>
                    <a:pt x="1252194" y="144932"/>
                  </a:lnTo>
                  <a:cubicBezTo>
                    <a:pt x="1239901" y="139040"/>
                    <a:pt x="1229842" y="132029"/>
                    <a:pt x="1222019" y="123901"/>
                  </a:cubicBezTo>
                  <a:cubicBezTo>
                    <a:pt x="1214196" y="115773"/>
                    <a:pt x="1208151" y="106121"/>
                    <a:pt x="1203884" y="94945"/>
                  </a:cubicBezTo>
                  <a:cubicBezTo>
                    <a:pt x="1201852" y="101346"/>
                    <a:pt x="1199108" y="107036"/>
                    <a:pt x="1195654" y="112014"/>
                  </a:cubicBezTo>
                  <a:cubicBezTo>
                    <a:pt x="1191793" y="117805"/>
                    <a:pt x="1186764" y="123571"/>
                    <a:pt x="1180566" y="129311"/>
                  </a:cubicBezTo>
                  <a:cubicBezTo>
                    <a:pt x="1174369" y="135052"/>
                    <a:pt x="1166698" y="140716"/>
                    <a:pt x="1157554" y="146304"/>
                  </a:cubicBezTo>
                  <a:lnTo>
                    <a:pt x="1151153" y="137922"/>
                  </a:lnTo>
                  <a:cubicBezTo>
                    <a:pt x="1159281" y="133248"/>
                    <a:pt x="1166368" y="128295"/>
                    <a:pt x="1172413" y="123063"/>
                  </a:cubicBezTo>
                  <a:cubicBezTo>
                    <a:pt x="1178458" y="117831"/>
                    <a:pt x="1183309" y="112624"/>
                    <a:pt x="1186967" y="107442"/>
                  </a:cubicBezTo>
                  <a:cubicBezTo>
                    <a:pt x="1191844" y="100736"/>
                    <a:pt x="1195146" y="92812"/>
                    <a:pt x="1196873" y="83668"/>
                  </a:cubicBezTo>
                  <a:lnTo>
                    <a:pt x="1159535" y="83668"/>
                  </a:lnTo>
                  <a:lnTo>
                    <a:pt x="1159535" y="73914"/>
                  </a:lnTo>
                  <a:lnTo>
                    <a:pt x="1198092" y="73914"/>
                  </a:lnTo>
                  <a:cubicBezTo>
                    <a:pt x="1198092" y="73203"/>
                    <a:pt x="1198118" y="72517"/>
                    <a:pt x="1198168" y="71857"/>
                  </a:cubicBezTo>
                  <a:cubicBezTo>
                    <a:pt x="1198219" y="71196"/>
                    <a:pt x="1198245" y="70460"/>
                    <a:pt x="1198245" y="69647"/>
                  </a:cubicBezTo>
                  <a:lnTo>
                    <a:pt x="1198245" y="36728"/>
                  </a:lnTo>
                  <a:lnTo>
                    <a:pt x="1170508" y="36728"/>
                  </a:lnTo>
                  <a:lnTo>
                    <a:pt x="1170508" y="27280"/>
                  </a:lnTo>
                  <a:lnTo>
                    <a:pt x="1198245" y="27280"/>
                  </a:lnTo>
                  <a:cubicBezTo>
                    <a:pt x="1198245" y="23012"/>
                    <a:pt x="1198245" y="18771"/>
                    <a:pt x="1198245" y="14554"/>
                  </a:cubicBezTo>
                  <a:cubicBezTo>
                    <a:pt x="1198245" y="10338"/>
                    <a:pt x="1198295" y="6096"/>
                    <a:pt x="1198397" y="1829"/>
                  </a:cubicBezTo>
                  <a:close/>
                  <a:moveTo>
                    <a:pt x="1580769" y="1372"/>
                  </a:moveTo>
                  <a:lnTo>
                    <a:pt x="1590218" y="2591"/>
                  </a:lnTo>
                  <a:cubicBezTo>
                    <a:pt x="1589405" y="5944"/>
                    <a:pt x="1588567" y="9322"/>
                    <a:pt x="1587703" y="12725"/>
                  </a:cubicBezTo>
                  <a:cubicBezTo>
                    <a:pt x="1586839" y="16129"/>
                    <a:pt x="1586001" y="19456"/>
                    <a:pt x="1585188" y="22708"/>
                  </a:cubicBezTo>
                  <a:lnTo>
                    <a:pt x="1614906" y="22708"/>
                  </a:lnTo>
                  <a:lnTo>
                    <a:pt x="1614906" y="32461"/>
                  </a:lnTo>
                  <a:lnTo>
                    <a:pt x="1582445" y="32461"/>
                  </a:lnTo>
                  <a:cubicBezTo>
                    <a:pt x="1580515" y="39065"/>
                    <a:pt x="1578534" y="45364"/>
                    <a:pt x="1576502" y="51359"/>
                  </a:cubicBezTo>
                  <a:cubicBezTo>
                    <a:pt x="1574470" y="57353"/>
                    <a:pt x="1572438" y="63043"/>
                    <a:pt x="1570406" y="68428"/>
                  </a:cubicBezTo>
                  <a:lnTo>
                    <a:pt x="1586103" y="68428"/>
                  </a:lnTo>
                  <a:lnTo>
                    <a:pt x="1586103" y="40234"/>
                  </a:lnTo>
                  <a:lnTo>
                    <a:pt x="1595704" y="40386"/>
                  </a:lnTo>
                  <a:lnTo>
                    <a:pt x="1595704" y="68428"/>
                  </a:lnTo>
                  <a:lnTo>
                    <a:pt x="1612011" y="68428"/>
                  </a:lnTo>
                  <a:lnTo>
                    <a:pt x="1612011" y="78638"/>
                  </a:lnTo>
                  <a:lnTo>
                    <a:pt x="1595704" y="78638"/>
                  </a:lnTo>
                  <a:lnTo>
                    <a:pt x="1595704" y="104242"/>
                  </a:lnTo>
                  <a:cubicBezTo>
                    <a:pt x="1599260" y="103734"/>
                    <a:pt x="1602714" y="103149"/>
                    <a:pt x="1606067" y="102489"/>
                  </a:cubicBezTo>
                  <a:cubicBezTo>
                    <a:pt x="1609420" y="101829"/>
                    <a:pt x="1612570" y="101143"/>
                    <a:pt x="1615516" y="100432"/>
                  </a:cubicBezTo>
                  <a:lnTo>
                    <a:pt x="1616583" y="110642"/>
                  </a:lnTo>
                  <a:cubicBezTo>
                    <a:pt x="1613433" y="111252"/>
                    <a:pt x="1610106" y="111887"/>
                    <a:pt x="1606601" y="112547"/>
                  </a:cubicBezTo>
                  <a:cubicBezTo>
                    <a:pt x="1603095" y="113208"/>
                    <a:pt x="1599463" y="113843"/>
                    <a:pt x="1595704" y="114452"/>
                  </a:cubicBezTo>
                  <a:lnTo>
                    <a:pt x="1595704" y="145085"/>
                  </a:lnTo>
                  <a:lnTo>
                    <a:pt x="1586103" y="145085"/>
                  </a:lnTo>
                  <a:lnTo>
                    <a:pt x="1586103" y="115824"/>
                  </a:lnTo>
                  <a:cubicBezTo>
                    <a:pt x="1580616" y="116637"/>
                    <a:pt x="1575308" y="117348"/>
                    <a:pt x="1570177" y="117958"/>
                  </a:cubicBezTo>
                  <a:cubicBezTo>
                    <a:pt x="1565046" y="118567"/>
                    <a:pt x="1560347" y="119024"/>
                    <a:pt x="1556080" y="119329"/>
                  </a:cubicBezTo>
                  <a:lnTo>
                    <a:pt x="1554556" y="109271"/>
                  </a:lnTo>
                  <a:cubicBezTo>
                    <a:pt x="1559230" y="108966"/>
                    <a:pt x="1564284" y="108509"/>
                    <a:pt x="1569720" y="107899"/>
                  </a:cubicBezTo>
                  <a:cubicBezTo>
                    <a:pt x="1575155" y="107290"/>
                    <a:pt x="1580616" y="106578"/>
                    <a:pt x="1586103" y="105766"/>
                  </a:cubicBezTo>
                  <a:lnTo>
                    <a:pt x="1586103" y="78638"/>
                  </a:lnTo>
                  <a:lnTo>
                    <a:pt x="1560042" y="78638"/>
                  </a:lnTo>
                  <a:lnTo>
                    <a:pt x="1560042" y="68428"/>
                  </a:lnTo>
                  <a:cubicBezTo>
                    <a:pt x="1562379" y="62636"/>
                    <a:pt x="1564564" y="56769"/>
                    <a:pt x="1566596" y="50825"/>
                  </a:cubicBezTo>
                  <a:cubicBezTo>
                    <a:pt x="1568628" y="44882"/>
                    <a:pt x="1570609" y="38760"/>
                    <a:pt x="1572539" y="32461"/>
                  </a:cubicBezTo>
                  <a:lnTo>
                    <a:pt x="1556385" y="32461"/>
                  </a:lnTo>
                  <a:lnTo>
                    <a:pt x="1556385" y="22708"/>
                  </a:lnTo>
                  <a:lnTo>
                    <a:pt x="1575282" y="22708"/>
                  </a:lnTo>
                  <a:cubicBezTo>
                    <a:pt x="1576298" y="19152"/>
                    <a:pt x="1577264" y="15621"/>
                    <a:pt x="1578178" y="12116"/>
                  </a:cubicBezTo>
                  <a:cubicBezTo>
                    <a:pt x="1579092" y="8611"/>
                    <a:pt x="1579956" y="5029"/>
                    <a:pt x="1580769" y="1372"/>
                  </a:cubicBezTo>
                  <a:close/>
                  <a:moveTo>
                    <a:pt x="96926" y="1372"/>
                  </a:moveTo>
                  <a:cubicBezTo>
                    <a:pt x="97739" y="3708"/>
                    <a:pt x="98552" y="6121"/>
                    <a:pt x="99364" y="8611"/>
                  </a:cubicBezTo>
                  <a:cubicBezTo>
                    <a:pt x="100177" y="11100"/>
                    <a:pt x="100888" y="13665"/>
                    <a:pt x="101498" y="16307"/>
                  </a:cubicBezTo>
                  <a:lnTo>
                    <a:pt x="140512" y="16307"/>
                  </a:lnTo>
                  <a:lnTo>
                    <a:pt x="140512" y="24994"/>
                  </a:lnTo>
                  <a:lnTo>
                    <a:pt x="53187" y="24994"/>
                  </a:lnTo>
                  <a:lnTo>
                    <a:pt x="53187" y="16307"/>
                  </a:lnTo>
                  <a:lnTo>
                    <a:pt x="91287" y="16307"/>
                  </a:lnTo>
                  <a:cubicBezTo>
                    <a:pt x="90068" y="11633"/>
                    <a:pt x="88646" y="7163"/>
                    <a:pt x="87020" y="2896"/>
                  </a:cubicBezTo>
                  <a:close/>
                  <a:moveTo>
                    <a:pt x="1880311" y="1067"/>
                  </a:moveTo>
                  <a:cubicBezTo>
                    <a:pt x="1883969" y="16205"/>
                    <a:pt x="1888541" y="29210"/>
                    <a:pt x="1894027" y="40081"/>
                  </a:cubicBezTo>
                  <a:cubicBezTo>
                    <a:pt x="1896770" y="45568"/>
                    <a:pt x="1899742" y="50571"/>
                    <a:pt x="1902942" y="55093"/>
                  </a:cubicBezTo>
                  <a:cubicBezTo>
                    <a:pt x="1906143" y="59614"/>
                    <a:pt x="1909927" y="64211"/>
                    <a:pt x="1914296" y="68885"/>
                  </a:cubicBezTo>
                  <a:lnTo>
                    <a:pt x="1906981" y="76048"/>
                  </a:lnTo>
                  <a:cubicBezTo>
                    <a:pt x="1898142" y="66294"/>
                    <a:pt x="1890979" y="55778"/>
                    <a:pt x="1885493" y="44501"/>
                  </a:cubicBezTo>
                  <a:cubicBezTo>
                    <a:pt x="1882749" y="38710"/>
                    <a:pt x="1880209" y="32410"/>
                    <a:pt x="1877873" y="25603"/>
                  </a:cubicBezTo>
                  <a:cubicBezTo>
                    <a:pt x="1875536" y="18796"/>
                    <a:pt x="1873402" y="11328"/>
                    <a:pt x="1871472" y="3200"/>
                  </a:cubicBezTo>
                  <a:close/>
                  <a:moveTo>
                    <a:pt x="1798015" y="610"/>
                  </a:moveTo>
                  <a:lnTo>
                    <a:pt x="1807159" y="610"/>
                  </a:lnTo>
                  <a:lnTo>
                    <a:pt x="1807159" y="31852"/>
                  </a:lnTo>
                  <a:lnTo>
                    <a:pt x="1828800" y="31852"/>
                  </a:lnTo>
                  <a:lnTo>
                    <a:pt x="1828800" y="41453"/>
                  </a:lnTo>
                  <a:lnTo>
                    <a:pt x="1807159" y="41453"/>
                  </a:lnTo>
                  <a:lnTo>
                    <a:pt x="1807159" y="52121"/>
                  </a:lnTo>
                  <a:cubicBezTo>
                    <a:pt x="1809597" y="54762"/>
                    <a:pt x="1812036" y="57455"/>
                    <a:pt x="1814474" y="60198"/>
                  </a:cubicBezTo>
                  <a:cubicBezTo>
                    <a:pt x="1816913" y="62941"/>
                    <a:pt x="1819300" y="65786"/>
                    <a:pt x="1821637" y="68732"/>
                  </a:cubicBezTo>
                  <a:cubicBezTo>
                    <a:pt x="1823974" y="71679"/>
                    <a:pt x="1826057" y="74422"/>
                    <a:pt x="1827885" y="76962"/>
                  </a:cubicBezTo>
                  <a:cubicBezTo>
                    <a:pt x="1829714" y="79502"/>
                    <a:pt x="1831187" y="81636"/>
                    <a:pt x="1832305" y="83363"/>
                  </a:cubicBezTo>
                  <a:lnTo>
                    <a:pt x="1824990" y="89306"/>
                  </a:lnTo>
                  <a:cubicBezTo>
                    <a:pt x="1823872" y="87579"/>
                    <a:pt x="1822526" y="85598"/>
                    <a:pt x="1820951" y="83363"/>
                  </a:cubicBezTo>
                  <a:cubicBezTo>
                    <a:pt x="1819376" y="81128"/>
                    <a:pt x="1817573" y="78588"/>
                    <a:pt x="1815541" y="75743"/>
                  </a:cubicBezTo>
                  <a:cubicBezTo>
                    <a:pt x="1813814" y="73508"/>
                    <a:pt x="1812264" y="71501"/>
                    <a:pt x="1810893" y="69723"/>
                  </a:cubicBezTo>
                  <a:cubicBezTo>
                    <a:pt x="1809521" y="67945"/>
                    <a:pt x="1808277" y="66345"/>
                    <a:pt x="1807159" y="64922"/>
                  </a:cubicBezTo>
                  <a:lnTo>
                    <a:pt x="1807159" y="144475"/>
                  </a:lnTo>
                  <a:lnTo>
                    <a:pt x="1798015" y="144475"/>
                  </a:lnTo>
                  <a:lnTo>
                    <a:pt x="1798015" y="64618"/>
                  </a:lnTo>
                  <a:lnTo>
                    <a:pt x="1794662" y="73457"/>
                  </a:lnTo>
                  <a:cubicBezTo>
                    <a:pt x="1792325" y="79654"/>
                    <a:pt x="1789862" y="85293"/>
                    <a:pt x="1787271" y="90373"/>
                  </a:cubicBezTo>
                  <a:cubicBezTo>
                    <a:pt x="1784680" y="95453"/>
                    <a:pt x="1782013" y="100330"/>
                    <a:pt x="1779270" y="105004"/>
                  </a:cubicBezTo>
                  <a:lnTo>
                    <a:pt x="1771497" y="100279"/>
                  </a:lnTo>
                  <a:cubicBezTo>
                    <a:pt x="1774444" y="95301"/>
                    <a:pt x="1777390" y="89916"/>
                    <a:pt x="1780337" y="84125"/>
                  </a:cubicBezTo>
                  <a:cubicBezTo>
                    <a:pt x="1783283" y="78334"/>
                    <a:pt x="1785975" y="72492"/>
                    <a:pt x="1788414" y="66599"/>
                  </a:cubicBezTo>
                  <a:cubicBezTo>
                    <a:pt x="1790243" y="62230"/>
                    <a:pt x="1791919" y="57963"/>
                    <a:pt x="1793443" y="53797"/>
                  </a:cubicBezTo>
                  <a:cubicBezTo>
                    <a:pt x="1794967" y="49632"/>
                    <a:pt x="1796288" y="45517"/>
                    <a:pt x="1797405" y="41453"/>
                  </a:cubicBezTo>
                  <a:lnTo>
                    <a:pt x="1776222" y="41453"/>
                  </a:lnTo>
                  <a:lnTo>
                    <a:pt x="1776222" y="31852"/>
                  </a:lnTo>
                  <a:lnTo>
                    <a:pt x="1798015" y="31852"/>
                  </a:lnTo>
                  <a:close/>
                  <a:moveTo>
                    <a:pt x="292836" y="0"/>
                  </a:moveTo>
                  <a:cubicBezTo>
                    <a:pt x="294259" y="2235"/>
                    <a:pt x="295808" y="5080"/>
                    <a:pt x="297484" y="8534"/>
                  </a:cubicBezTo>
                  <a:cubicBezTo>
                    <a:pt x="299161" y="11989"/>
                    <a:pt x="300558" y="15189"/>
                    <a:pt x="301676" y="18136"/>
                  </a:cubicBezTo>
                  <a:lnTo>
                    <a:pt x="352729" y="18136"/>
                  </a:lnTo>
                  <a:lnTo>
                    <a:pt x="352729" y="44806"/>
                  </a:lnTo>
                  <a:lnTo>
                    <a:pt x="342976" y="44806"/>
                  </a:lnTo>
                  <a:lnTo>
                    <a:pt x="342976" y="27280"/>
                  </a:lnTo>
                  <a:lnTo>
                    <a:pt x="240868" y="27280"/>
                  </a:lnTo>
                  <a:lnTo>
                    <a:pt x="240868" y="44806"/>
                  </a:lnTo>
                  <a:lnTo>
                    <a:pt x="231114" y="44806"/>
                  </a:lnTo>
                  <a:lnTo>
                    <a:pt x="231114" y="18136"/>
                  </a:lnTo>
                  <a:lnTo>
                    <a:pt x="290550" y="18136"/>
                  </a:lnTo>
                  <a:cubicBezTo>
                    <a:pt x="289433" y="15697"/>
                    <a:pt x="288239" y="13132"/>
                    <a:pt x="286969" y="10439"/>
                  </a:cubicBezTo>
                  <a:cubicBezTo>
                    <a:pt x="285699" y="7747"/>
                    <a:pt x="284505" y="5334"/>
                    <a:pt x="283387" y="3200"/>
                  </a:cubicBezTo>
                  <a:close/>
                </a:path>
              </a:pathLst>
            </a:custGeom>
            <a:solidFill>
              <a:schemeClr val="tx1">
                <a:lumMod val="95000"/>
                <a:lumOff val="5000"/>
              </a:schemeClr>
            </a:solidFill>
            <a:ln>
              <a:noFill/>
            </a:ln>
            <a:effectLst/>
          </p:spPr>
          <p:txBody>
            <a:bodyPr rot="0" spcFirstLastPara="0" vert="horz" wrap="square" lIns="91440" tIns="45720" rIns="91440" bIns="45720" numCol="1" spcCol="0" rtlCol="0" fromWordArt="0" anchor="t" anchorCtr="0" forceAA="0" compatLnSpc="1">
              <a:prstTxWarp prst="textNoShape">
                <a:avLst/>
              </a:prstTxWarp>
              <a:no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dist" defTabSz="914400" rtl="0" eaLnBrk="1" fontAlgn="auto" latinLnBrk="0" hangingPunct="1">
                <a:lnSpc>
                  <a:spcPct val="100000"/>
                </a:lnSpc>
                <a:spcBef>
                  <a:spcPts val="0"/>
                </a:spcBef>
                <a:spcAft>
                  <a:spcPts val="0"/>
                </a:spcAft>
                <a:buClrTx/>
                <a:buSzTx/>
                <a:buFontTx/>
                <a:buNone/>
                <a:tabLst/>
                <a:defRPr/>
              </a:pPr>
              <a:endParaRPr kumimoji="0" lang="zh-CN" altLang="en-US" sz="1200" b="0" i="0" u="none" strike="noStrike" kern="1200" cap="none" spc="0" normalizeH="0" baseline="0" noProof="0" dirty="0">
                <a:ln>
                  <a:noFill/>
                </a:ln>
                <a:solidFill>
                  <a:srgbClr val="000000">
                    <a:lumMod val="95000"/>
                    <a:lumOff val="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sym typeface="+mn-lt"/>
              </a:endParaRPr>
            </a:p>
          </p:txBody>
        </p:sp>
        <p:sp>
          <p:nvSpPr>
            <p:cNvPr id="41" name="gaoding-30-3">
              <a:extLst>
                <a:ext uri="{FF2B5EF4-FFF2-40B4-BE49-F238E27FC236}">
                  <a16:creationId xmlns:a16="http://schemas.microsoft.com/office/drawing/2014/main" id="{27DE6507-9E06-8D9D-72E3-EAC32B7A79EF}"/>
                </a:ext>
              </a:extLst>
            </p:cNvPr>
            <p:cNvSpPr/>
            <p:nvPr/>
          </p:nvSpPr>
          <p:spPr>
            <a:xfrm flipV="1">
              <a:off x="2695760" y="1191802"/>
              <a:ext cx="124613" cy="84757"/>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Bahnschrift"/>
                <a:ea typeface="OPPOSans M"/>
                <a:cs typeface="+mn-cs"/>
              </a:endParaRPr>
            </a:p>
          </p:txBody>
        </p:sp>
        <p:grpSp>
          <p:nvGrpSpPr>
            <p:cNvPr id="42" name="组合 41">
              <a:extLst>
                <a:ext uri="{FF2B5EF4-FFF2-40B4-BE49-F238E27FC236}">
                  <a16:creationId xmlns:a16="http://schemas.microsoft.com/office/drawing/2014/main" id="{3F797129-7F3A-82D5-E752-5E102FAD7382}"/>
                </a:ext>
              </a:extLst>
            </p:cNvPr>
            <p:cNvGrpSpPr/>
            <p:nvPr/>
          </p:nvGrpSpPr>
          <p:grpSpPr>
            <a:xfrm>
              <a:off x="10168548" y="6199574"/>
              <a:ext cx="1351871" cy="69351"/>
              <a:chOff x="10168548" y="6199574"/>
              <a:chExt cx="1351871" cy="69351"/>
            </a:xfrm>
          </p:grpSpPr>
          <p:cxnSp>
            <p:nvCxnSpPr>
              <p:cNvPr id="43" name="gaoding-30-4">
                <a:extLst>
                  <a:ext uri="{FF2B5EF4-FFF2-40B4-BE49-F238E27FC236}">
                    <a16:creationId xmlns:a16="http://schemas.microsoft.com/office/drawing/2014/main" id="{5150E525-47D4-55C3-AA94-D44A11008C03}"/>
                  </a:ext>
                </a:extLst>
              </p:cNvPr>
              <p:cNvCxnSpPr>
                <a:cxnSpLocks/>
              </p:cNvCxnSpPr>
              <p:nvPr/>
            </p:nvCxnSpPr>
            <p:spPr>
              <a:xfrm>
                <a:off x="10168548" y="6236279"/>
                <a:ext cx="334911"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44" name="gaoding-30-5">
                <a:extLst>
                  <a:ext uri="{FF2B5EF4-FFF2-40B4-BE49-F238E27FC236}">
                    <a16:creationId xmlns:a16="http://schemas.microsoft.com/office/drawing/2014/main" id="{06BF99BE-34C1-BE11-C52F-B7F7B4BF5B19}"/>
                  </a:ext>
                </a:extLst>
              </p:cNvPr>
              <p:cNvSpPr txBox="1"/>
              <p:nvPr/>
            </p:nvSpPr>
            <p:spPr>
              <a:xfrm>
                <a:off x="10659444" y="6199574"/>
                <a:ext cx="860975" cy="69351"/>
              </a:xfrm>
              <a:custGeom>
                <a:avLst/>
                <a:gdLst/>
                <a:ahLst/>
                <a:cxnLst/>
                <a:rect l="l" t="t" r="r" b="b"/>
                <a:pathLst>
                  <a:path w="860975" h="69351">
                    <a:moveTo>
                      <a:pt x="157868" y="7458"/>
                    </a:moveTo>
                    <a:lnTo>
                      <a:pt x="146038" y="41662"/>
                    </a:lnTo>
                    <a:lnTo>
                      <a:pt x="169698" y="41662"/>
                    </a:lnTo>
                    <a:close/>
                    <a:moveTo>
                      <a:pt x="427244" y="6601"/>
                    </a:moveTo>
                    <a:lnTo>
                      <a:pt x="427244" y="62751"/>
                    </a:lnTo>
                    <a:lnTo>
                      <a:pt x="441474" y="62751"/>
                    </a:lnTo>
                    <a:cubicBezTo>
                      <a:pt x="446561" y="62751"/>
                      <a:pt x="450904" y="61593"/>
                      <a:pt x="454505" y="59279"/>
                    </a:cubicBezTo>
                    <a:cubicBezTo>
                      <a:pt x="458105" y="56964"/>
                      <a:pt x="460834" y="53692"/>
                      <a:pt x="462691" y="49463"/>
                    </a:cubicBezTo>
                    <a:cubicBezTo>
                      <a:pt x="464549" y="45234"/>
                      <a:pt x="465478" y="40319"/>
                      <a:pt x="465478" y="34718"/>
                    </a:cubicBezTo>
                    <a:cubicBezTo>
                      <a:pt x="465478" y="29061"/>
                      <a:pt x="464549" y="24117"/>
                      <a:pt x="462691" y="19888"/>
                    </a:cubicBezTo>
                    <a:cubicBezTo>
                      <a:pt x="460834" y="15659"/>
                      <a:pt x="458105" y="12387"/>
                      <a:pt x="454505" y="10073"/>
                    </a:cubicBezTo>
                    <a:cubicBezTo>
                      <a:pt x="450904" y="7758"/>
                      <a:pt x="446561" y="6601"/>
                      <a:pt x="441474" y="6601"/>
                    </a:cubicBezTo>
                    <a:close/>
                    <a:moveTo>
                      <a:pt x="303914" y="5572"/>
                    </a:moveTo>
                    <a:cubicBezTo>
                      <a:pt x="299685" y="5572"/>
                      <a:pt x="295928" y="6786"/>
                      <a:pt x="292642" y="9215"/>
                    </a:cubicBezTo>
                    <a:cubicBezTo>
                      <a:pt x="289356" y="11644"/>
                      <a:pt x="286812" y="15073"/>
                      <a:pt x="285012" y="19502"/>
                    </a:cubicBezTo>
                    <a:cubicBezTo>
                      <a:pt x="283212" y="23931"/>
                      <a:pt x="282312" y="29003"/>
                      <a:pt x="282312" y="34718"/>
                    </a:cubicBezTo>
                    <a:cubicBezTo>
                      <a:pt x="282312" y="40433"/>
                      <a:pt x="283212" y="45491"/>
                      <a:pt x="285012" y="49892"/>
                    </a:cubicBezTo>
                    <a:cubicBezTo>
                      <a:pt x="286812" y="54292"/>
                      <a:pt x="289356" y="57721"/>
                      <a:pt x="292642" y="60179"/>
                    </a:cubicBezTo>
                    <a:cubicBezTo>
                      <a:pt x="295928" y="62636"/>
                      <a:pt x="299685" y="63865"/>
                      <a:pt x="303914" y="63865"/>
                    </a:cubicBezTo>
                    <a:cubicBezTo>
                      <a:pt x="308144" y="63865"/>
                      <a:pt x="311901" y="62636"/>
                      <a:pt x="315187" y="60179"/>
                    </a:cubicBezTo>
                    <a:cubicBezTo>
                      <a:pt x="318473" y="57721"/>
                      <a:pt x="321031" y="54292"/>
                      <a:pt x="322860" y="49892"/>
                    </a:cubicBezTo>
                    <a:cubicBezTo>
                      <a:pt x="324688" y="45491"/>
                      <a:pt x="325603" y="40433"/>
                      <a:pt x="325603" y="34718"/>
                    </a:cubicBezTo>
                    <a:cubicBezTo>
                      <a:pt x="325603" y="29003"/>
                      <a:pt x="324689" y="23931"/>
                      <a:pt x="322860" y="19502"/>
                    </a:cubicBezTo>
                    <a:cubicBezTo>
                      <a:pt x="321031" y="15073"/>
                      <a:pt x="318473" y="11644"/>
                      <a:pt x="315187" y="9215"/>
                    </a:cubicBezTo>
                    <a:cubicBezTo>
                      <a:pt x="311901" y="6786"/>
                      <a:pt x="308144" y="5572"/>
                      <a:pt x="303914" y="5572"/>
                    </a:cubicBezTo>
                    <a:close/>
                    <a:moveTo>
                      <a:pt x="659111" y="943"/>
                    </a:moveTo>
                    <a:lnTo>
                      <a:pt x="666055" y="943"/>
                    </a:lnTo>
                    <a:lnTo>
                      <a:pt x="702488" y="55635"/>
                    </a:lnTo>
                    <a:lnTo>
                      <a:pt x="702488" y="943"/>
                    </a:lnTo>
                    <a:lnTo>
                      <a:pt x="708318" y="943"/>
                    </a:lnTo>
                    <a:lnTo>
                      <a:pt x="708318" y="68408"/>
                    </a:lnTo>
                    <a:lnTo>
                      <a:pt x="703431" y="68408"/>
                    </a:lnTo>
                    <a:lnTo>
                      <a:pt x="664941" y="10801"/>
                    </a:lnTo>
                    <a:lnTo>
                      <a:pt x="664941" y="68408"/>
                    </a:lnTo>
                    <a:lnTo>
                      <a:pt x="659111" y="68408"/>
                    </a:lnTo>
                    <a:close/>
                    <a:moveTo>
                      <a:pt x="564547" y="943"/>
                    </a:moveTo>
                    <a:lnTo>
                      <a:pt x="570891" y="943"/>
                    </a:lnTo>
                    <a:lnTo>
                      <a:pt x="570891" y="68408"/>
                    </a:lnTo>
                    <a:lnTo>
                      <a:pt x="564547" y="68408"/>
                    </a:lnTo>
                    <a:close/>
                    <a:moveTo>
                      <a:pt x="420986" y="943"/>
                    </a:moveTo>
                    <a:lnTo>
                      <a:pt x="442246" y="943"/>
                    </a:lnTo>
                    <a:cubicBezTo>
                      <a:pt x="448304" y="943"/>
                      <a:pt x="453562" y="2329"/>
                      <a:pt x="458019" y="5100"/>
                    </a:cubicBezTo>
                    <a:cubicBezTo>
                      <a:pt x="462477" y="7872"/>
                      <a:pt x="465892" y="11801"/>
                      <a:pt x="468264" y="16888"/>
                    </a:cubicBezTo>
                    <a:cubicBezTo>
                      <a:pt x="470635" y="21974"/>
                      <a:pt x="471821" y="27918"/>
                      <a:pt x="471821" y="34718"/>
                    </a:cubicBezTo>
                    <a:cubicBezTo>
                      <a:pt x="471821" y="41462"/>
                      <a:pt x="470635" y="47377"/>
                      <a:pt x="468264" y="52464"/>
                    </a:cubicBezTo>
                    <a:cubicBezTo>
                      <a:pt x="465892" y="57550"/>
                      <a:pt x="462477" y="61479"/>
                      <a:pt x="458019" y="64251"/>
                    </a:cubicBezTo>
                    <a:cubicBezTo>
                      <a:pt x="453562" y="67023"/>
                      <a:pt x="448304" y="68408"/>
                      <a:pt x="442246" y="68408"/>
                    </a:cubicBezTo>
                    <a:lnTo>
                      <a:pt x="420986" y="68408"/>
                    </a:lnTo>
                    <a:close/>
                    <a:moveTo>
                      <a:pt x="154696" y="943"/>
                    </a:moveTo>
                    <a:lnTo>
                      <a:pt x="161382" y="943"/>
                    </a:lnTo>
                    <a:lnTo>
                      <a:pt x="185814" y="68408"/>
                    </a:lnTo>
                    <a:lnTo>
                      <a:pt x="178956" y="68408"/>
                    </a:lnTo>
                    <a:lnTo>
                      <a:pt x="171669" y="47406"/>
                    </a:lnTo>
                    <a:lnTo>
                      <a:pt x="143980" y="47406"/>
                    </a:lnTo>
                    <a:lnTo>
                      <a:pt x="136694" y="68408"/>
                    </a:lnTo>
                    <a:lnTo>
                      <a:pt x="130264" y="68408"/>
                    </a:lnTo>
                    <a:close/>
                    <a:moveTo>
                      <a:pt x="837400" y="0"/>
                    </a:moveTo>
                    <a:cubicBezTo>
                      <a:pt x="843115" y="0"/>
                      <a:pt x="847859" y="1357"/>
                      <a:pt x="851630" y="4072"/>
                    </a:cubicBezTo>
                    <a:cubicBezTo>
                      <a:pt x="855402" y="6786"/>
                      <a:pt x="857974" y="10373"/>
                      <a:pt x="859346" y="14830"/>
                    </a:cubicBezTo>
                    <a:lnTo>
                      <a:pt x="854202" y="17402"/>
                    </a:lnTo>
                    <a:cubicBezTo>
                      <a:pt x="851802" y="9515"/>
                      <a:pt x="846173" y="5572"/>
                      <a:pt x="837314" y="5572"/>
                    </a:cubicBezTo>
                    <a:cubicBezTo>
                      <a:pt x="833085" y="5572"/>
                      <a:pt x="829356" y="6786"/>
                      <a:pt x="826127" y="9215"/>
                    </a:cubicBezTo>
                    <a:cubicBezTo>
                      <a:pt x="822898" y="11644"/>
                      <a:pt x="820398" y="15059"/>
                      <a:pt x="818626" y="19459"/>
                    </a:cubicBezTo>
                    <a:cubicBezTo>
                      <a:pt x="816855" y="23860"/>
                      <a:pt x="815969" y="28946"/>
                      <a:pt x="815969" y="34718"/>
                    </a:cubicBezTo>
                    <a:cubicBezTo>
                      <a:pt x="815969" y="40491"/>
                      <a:pt x="816855" y="45577"/>
                      <a:pt x="818626" y="49978"/>
                    </a:cubicBezTo>
                    <a:cubicBezTo>
                      <a:pt x="820398" y="54378"/>
                      <a:pt x="822898" y="57793"/>
                      <a:pt x="826127" y="60222"/>
                    </a:cubicBezTo>
                    <a:cubicBezTo>
                      <a:pt x="829356" y="62651"/>
                      <a:pt x="833114" y="63865"/>
                      <a:pt x="837400" y="63865"/>
                    </a:cubicBezTo>
                    <a:cubicBezTo>
                      <a:pt x="843287" y="63865"/>
                      <a:pt x="847687" y="62050"/>
                      <a:pt x="850602" y="58421"/>
                    </a:cubicBezTo>
                    <a:cubicBezTo>
                      <a:pt x="853517" y="54792"/>
                      <a:pt x="854974" y="49606"/>
                      <a:pt x="854974" y="42862"/>
                    </a:cubicBezTo>
                    <a:lnTo>
                      <a:pt x="854974" y="40119"/>
                    </a:lnTo>
                    <a:lnTo>
                      <a:pt x="840143" y="40119"/>
                    </a:lnTo>
                    <a:lnTo>
                      <a:pt x="840143" y="34547"/>
                    </a:lnTo>
                    <a:lnTo>
                      <a:pt x="860975" y="34547"/>
                    </a:lnTo>
                    <a:lnTo>
                      <a:pt x="860975" y="43377"/>
                    </a:lnTo>
                    <a:cubicBezTo>
                      <a:pt x="860975" y="48349"/>
                      <a:pt x="860132" y="52792"/>
                      <a:pt x="858446" y="56707"/>
                    </a:cubicBezTo>
                    <a:cubicBezTo>
                      <a:pt x="856760" y="60622"/>
                      <a:pt x="854145" y="63708"/>
                      <a:pt x="850602" y="65965"/>
                    </a:cubicBezTo>
                    <a:cubicBezTo>
                      <a:pt x="847059" y="68223"/>
                      <a:pt x="842658" y="69351"/>
                      <a:pt x="837400" y="69351"/>
                    </a:cubicBezTo>
                    <a:cubicBezTo>
                      <a:pt x="831971" y="69351"/>
                      <a:pt x="827142" y="67908"/>
                      <a:pt x="822913" y="65022"/>
                    </a:cubicBezTo>
                    <a:cubicBezTo>
                      <a:pt x="818684" y="62136"/>
                      <a:pt x="815412" y="58064"/>
                      <a:pt x="813097" y="52806"/>
                    </a:cubicBezTo>
                    <a:cubicBezTo>
                      <a:pt x="810783" y="47549"/>
                      <a:pt x="809625" y="41519"/>
                      <a:pt x="809625" y="34718"/>
                    </a:cubicBezTo>
                    <a:cubicBezTo>
                      <a:pt x="809625" y="27918"/>
                      <a:pt x="810783" y="21888"/>
                      <a:pt x="813097" y="16630"/>
                    </a:cubicBezTo>
                    <a:cubicBezTo>
                      <a:pt x="815412" y="11373"/>
                      <a:pt x="818684" y="7286"/>
                      <a:pt x="822913" y="4372"/>
                    </a:cubicBezTo>
                    <a:cubicBezTo>
                      <a:pt x="827142" y="1457"/>
                      <a:pt x="831971" y="0"/>
                      <a:pt x="837400" y="0"/>
                    </a:cubicBezTo>
                    <a:close/>
                    <a:moveTo>
                      <a:pt x="303914" y="0"/>
                    </a:moveTo>
                    <a:cubicBezTo>
                      <a:pt x="309344" y="0"/>
                      <a:pt x="314173" y="1486"/>
                      <a:pt x="318402" y="4458"/>
                    </a:cubicBezTo>
                    <a:cubicBezTo>
                      <a:pt x="322631" y="7429"/>
                      <a:pt x="325932" y="11558"/>
                      <a:pt x="328303" y="16845"/>
                    </a:cubicBezTo>
                    <a:cubicBezTo>
                      <a:pt x="330675" y="22131"/>
                      <a:pt x="331861" y="28089"/>
                      <a:pt x="331861" y="34718"/>
                    </a:cubicBezTo>
                    <a:cubicBezTo>
                      <a:pt x="331861" y="41348"/>
                      <a:pt x="330675" y="47291"/>
                      <a:pt x="328303" y="52549"/>
                    </a:cubicBezTo>
                    <a:cubicBezTo>
                      <a:pt x="325932" y="57807"/>
                      <a:pt x="322631" y="61922"/>
                      <a:pt x="318402" y="64894"/>
                    </a:cubicBezTo>
                    <a:cubicBezTo>
                      <a:pt x="314173" y="67865"/>
                      <a:pt x="309344" y="69351"/>
                      <a:pt x="303914" y="69351"/>
                    </a:cubicBezTo>
                    <a:cubicBezTo>
                      <a:pt x="298485" y="69351"/>
                      <a:pt x="293656" y="67865"/>
                      <a:pt x="289427" y="64894"/>
                    </a:cubicBezTo>
                    <a:cubicBezTo>
                      <a:pt x="285198" y="61922"/>
                      <a:pt x="281912" y="57807"/>
                      <a:pt x="279569" y="52549"/>
                    </a:cubicBezTo>
                    <a:cubicBezTo>
                      <a:pt x="277225" y="47291"/>
                      <a:pt x="276054" y="41348"/>
                      <a:pt x="276054" y="34718"/>
                    </a:cubicBezTo>
                    <a:cubicBezTo>
                      <a:pt x="276054" y="28089"/>
                      <a:pt x="277225" y="22131"/>
                      <a:pt x="279569" y="16845"/>
                    </a:cubicBezTo>
                    <a:cubicBezTo>
                      <a:pt x="281912" y="11558"/>
                      <a:pt x="285198" y="7429"/>
                      <a:pt x="289427" y="4458"/>
                    </a:cubicBezTo>
                    <a:cubicBezTo>
                      <a:pt x="293656" y="1486"/>
                      <a:pt x="298485" y="0"/>
                      <a:pt x="303914" y="0"/>
                    </a:cubicBezTo>
                    <a:close/>
                    <a:moveTo>
                      <a:pt x="27775" y="0"/>
                    </a:moveTo>
                    <a:cubicBezTo>
                      <a:pt x="33490" y="0"/>
                      <a:pt x="38234" y="1357"/>
                      <a:pt x="42006" y="4072"/>
                    </a:cubicBezTo>
                    <a:cubicBezTo>
                      <a:pt x="45777" y="6786"/>
                      <a:pt x="48349" y="10373"/>
                      <a:pt x="49721" y="14830"/>
                    </a:cubicBezTo>
                    <a:lnTo>
                      <a:pt x="44577" y="17402"/>
                    </a:lnTo>
                    <a:cubicBezTo>
                      <a:pt x="42177" y="9515"/>
                      <a:pt x="36548" y="5572"/>
                      <a:pt x="27690" y="5572"/>
                    </a:cubicBezTo>
                    <a:cubicBezTo>
                      <a:pt x="23460" y="5572"/>
                      <a:pt x="19731" y="6786"/>
                      <a:pt x="16502" y="9215"/>
                    </a:cubicBezTo>
                    <a:cubicBezTo>
                      <a:pt x="13273" y="11644"/>
                      <a:pt x="10773" y="15059"/>
                      <a:pt x="9001" y="19459"/>
                    </a:cubicBezTo>
                    <a:cubicBezTo>
                      <a:pt x="7230" y="23860"/>
                      <a:pt x="6344" y="28946"/>
                      <a:pt x="6344" y="34718"/>
                    </a:cubicBezTo>
                    <a:cubicBezTo>
                      <a:pt x="6344" y="40491"/>
                      <a:pt x="7230" y="45577"/>
                      <a:pt x="9001" y="49978"/>
                    </a:cubicBezTo>
                    <a:cubicBezTo>
                      <a:pt x="10773" y="54378"/>
                      <a:pt x="13273" y="57793"/>
                      <a:pt x="16502" y="60222"/>
                    </a:cubicBezTo>
                    <a:cubicBezTo>
                      <a:pt x="19731" y="62651"/>
                      <a:pt x="23489" y="63865"/>
                      <a:pt x="27775" y="63865"/>
                    </a:cubicBezTo>
                    <a:cubicBezTo>
                      <a:pt x="33662" y="63865"/>
                      <a:pt x="38062" y="62050"/>
                      <a:pt x="40977" y="58421"/>
                    </a:cubicBezTo>
                    <a:cubicBezTo>
                      <a:pt x="43892" y="54792"/>
                      <a:pt x="45349" y="49606"/>
                      <a:pt x="45349" y="42862"/>
                    </a:cubicBezTo>
                    <a:lnTo>
                      <a:pt x="45349" y="40119"/>
                    </a:lnTo>
                    <a:lnTo>
                      <a:pt x="30518" y="40119"/>
                    </a:lnTo>
                    <a:lnTo>
                      <a:pt x="30518" y="34547"/>
                    </a:lnTo>
                    <a:lnTo>
                      <a:pt x="51350" y="34547"/>
                    </a:lnTo>
                    <a:lnTo>
                      <a:pt x="51350" y="43377"/>
                    </a:lnTo>
                    <a:cubicBezTo>
                      <a:pt x="51350" y="48349"/>
                      <a:pt x="50507" y="52792"/>
                      <a:pt x="48821" y="56707"/>
                    </a:cubicBezTo>
                    <a:cubicBezTo>
                      <a:pt x="47135" y="60622"/>
                      <a:pt x="44520" y="63708"/>
                      <a:pt x="40977" y="65965"/>
                    </a:cubicBezTo>
                    <a:cubicBezTo>
                      <a:pt x="37434" y="68223"/>
                      <a:pt x="33033" y="69351"/>
                      <a:pt x="27775" y="69351"/>
                    </a:cubicBezTo>
                    <a:cubicBezTo>
                      <a:pt x="22346" y="69351"/>
                      <a:pt x="17517" y="67908"/>
                      <a:pt x="13288" y="65022"/>
                    </a:cubicBezTo>
                    <a:cubicBezTo>
                      <a:pt x="9059" y="62136"/>
                      <a:pt x="5787" y="58064"/>
                      <a:pt x="3472" y="52806"/>
                    </a:cubicBezTo>
                    <a:cubicBezTo>
                      <a:pt x="1158" y="47549"/>
                      <a:pt x="0" y="41519"/>
                      <a:pt x="0" y="34718"/>
                    </a:cubicBezTo>
                    <a:cubicBezTo>
                      <a:pt x="0" y="27918"/>
                      <a:pt x="1158" y="21888"/>
                      <a:pt x="3472" y="16630"/>
                    </a:cubicBezTo>
                    <a:cubicBezTo>
                      <a:pt x="5787" y="11373"/>
                      <a:pt x="9059" y="7286"/>
                      <a:pt x="13288" y="4372"/>
                    </a:cubicBezTo>
                    <a:cubicBezTo>
                      <a:pt x="17517" y="1457"/>
                      <a:pt x="22346" y="0"/>
                      <a:pt x="27775" y="0"/>
                    </a:cubicBezTo>
                    <a:close/>
                  </a:path>
                </a:pathLst>
              </a:custGeom>
              <a:solidFill>
                <a:schemeClr val="bg1">
                  <a:lumMod val="65000"/>
                </a:schemeClr>
              </a:solidFill>
              <a:ln>
                <a:noFill/>
              </a:ln>
              <a:effectLst/>
            </p:spPr>
            <p:txBody>
              <a:bodyPr rot="0" spcFirstLastPara="0" vert="horz" wrap="square" lIns="91440" tIns="45720" rIns="91440" bIns="45720" numCol="1" spcCol="0" rtlCol="0" fromWordArt="0" anchor="t" anchorCtr="0" forceAA="0" compatLnSpc="1">
                <a:prstTxWarp prst="textNoShape">
                  <a:avLst/>
                </a:prstTxWarp>
                <a:no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dist" defTabSz="914400" rtl="0" eaLnBrk="1" fontAlgn="auto" latinLnBrk="0" hangingPunct="1">
                  <a:lnSpc>
                    <a:spcPct val="123333"/>
                  </a:lnSpc>
                  <a:spcBef>
                    <a:spcPts val="0"/>
                  </a:spcBef>
                  <a:spcAft>
                    <a:spcPts val="0"/>
                  </a:spcAft>
                  <a:buClrTx/>
                  <a:buSzTx/>
                  <a:buFontTx/>
                  <a:buNone/>
                  <a:tabLst/>
                  <a:defRPr/>
                </a:pPr>
                <a:endParaRPr kumimoji="0" lang="zh-CN" altLang="en-US" sz="600" b="0" i="0" u="none" strike="noStrike" kern="1200" cap="none" spc="0" normalizeH="0" baseline="0" noProof="0" dirty="0">
                  <a:ln>
                    <a:noFill/>
                  </a:ln>
                  <a:solidFill>
                    <a:srgbClr val="FFFFFF">
                      <a:lumMod val="50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p:txBody>
          </p:sp>
        </p:grpSp>
      </p:grpSp>
      <p:sp>
        <p:nvSpPr>
          <p:cNvPr id="46" name="文本框 45">
            <a:extLst>
              <a:ext uri="{FF2B5EF4-FFF2-40B4-BE49-F238E27FC236}">
                <a16:creationId xmlns:a16="http://schemas.microsoft.com/office/drawing/2014/main" id="{8873619C-5AF8-6610-8E2F-B98EEECE327D}"/>
              </a:ext>
            </a:extLst>
          </p:cNvPr>
          <p:cNvSpPr txBox="1"/>
          <p:nvPr/>
        </p:nvSpPr>
        <p:spPr>
          <a:xfrm>
            <a:off x="6514228" y="2054680"/>
            <a:ext cx="1914343" cy="184666"/>
          </a:xfrm>
          <a:prstGeom prst="rect">
            <a:avLst/>
          </a:prstGeom>
          <a:noFill/>
        </p:spPr>
        <p:txBody>
          <a:bodyPr wrap="square" lIns="0" tIns="0" rIns="0" bIns="0">
            <a:spAutoFit/>
          </a:bodyPr>
          <a:lstStyle/>
          <a:p>
            <a:pPr marL="0" marR="0" lvl="0" indent="0" algn="ctr" defTabSz="913765" rtl="0" eaLnBrk="1" fontAlgn="auto" latinLnBrk="0" hangingPunct="1">
              <a:lnSpc>
                <a:spcPct val="100000"/>
              </a:lnSpc>
              <a:spcBef>
                <a:spcPts val="0"/>
              </a:spcBef>
              <a:spcAft>
                <a:spcPts val="0"/>
              </a:spcAft>
              <a:buClrTx/>
              <a:buSzPct val="80000"/>
              <a:buFontTx/>
              <a:buNone/>
              <a:tabLst/>
              <a:defRPr/>
            </a:pPr>
            <a:r>
              <a:rPr kumimoji="0" lang="en-US" altLang="zh-CN" sz="1200" b="0" i="0" u="none" strike="noStrike" kern="1200" cap="none" spc="0" normalizeH="0" baseline="0" noProof="0" dirty="0">
                <a:ln>
                  <a:noFill/>
                </a:ln>
                <a:solidFill>
                  <a:srgbClr val="000000"/>
                </a:solidFill>
                <a:effectLst/>
                <a:uLnTx/>
                <a:uFillTx/>
                <a:latin typeface="OPPOSans R"/>
                <a:ea typeface="OPPOSans R"/>
                <a:cs typeface="+mn-cs"/>
              </a:rPr>
              <a:t>- </a:t>
            </a:r>
            <a:r>
              <a:rPr kumimoji="0" lang="zh-CN" altLang="en-US" sz="1200" b="0" i="0" u="none" strike="noStrike" kern="1200" cap="none" spc="0" normalizeH="0" baseline="0" noProof="0" dirty="0">
                <a:ln>
                  <a:noFill/>
                </a:ln>
                <a:solidFill>
                  <a:srgbClr val="000000"/>
                </a:solidFill>
                <a:effectLst/>
                <a:uLnTx/>
                <a:uFillTx/>
                <a:latin typeface="OPPOSans R"/>
                <a:ea typeface="OPPOSans R"/>
                <a:cs typeface="+mn-cs"/>
              </a:rPr>
              <a:t>秋叶</a:t>
            </a:r>
            <a:r>
              <a:rPr kumimoji="0" lang="en-US" altLang="zh-CN" sz="1200" b="0" i="0" u="none" strike="noStrike" kern="1200" cap="none" spc="0" normalizeH="0" baseline="0" noProof="0" dirty="0">
                <a:ln>
                  <a:noFill/>
                </a:ln>
                <a:solidFill>
                  <a:srgbClr val="000000"/>
                </a:solidFill>
                <a:effectLst/>
                <a:uLnTx/>
                <a:uFillTx/>
                <a:latin typeface="OPPOSans R"/>
                <a:ea typeface="OPPOSans R"/>
                <a:cs typeface="+mn-cs"/>
              </a:rPr>
              <a:t>PPT</a:t>
            </a:r>
            <a:r>
              <a:rPr kumimoji="0" lang="zh-CN" altLang="en-US" sz="1200" b="0" i="0" u="none" strike="noStrike" kern="1200" cap="none" spc="0" normalizeH="0" baseline="0" noProof="0" dirty="0">
                <a:ln>
                  <a:noFill/>
                </a:ln>
                <a:solidFill>
                  <a:srgbClr val="000000"/>
                </a:solidFill>
                <a:effectLst/>
                <a:uLnTx/>
                <a:uFillTx/>
                <a:latin typeface="OPPOSans R"/>
                <a:ea typeface="OPPOSans R"/>
                <a:cs typeface="+mn-cs"/>
              </a:rPr>
              <a:t>又快又轻松 </a:t>
            </a:r>
            <a:r>
              <a:rPr kumimoji="0" lang="en-US" altLang="zh-CN" sz="1200" b="0" i="0" u="none" strike="noStrike" kern="1200" cap="none" spc="0" normalizeH="0" baseline="0" noProof="0" dirty="0">
                <a:ln>
                  <a:noFill/>
                </a:ln>
                <a:solidFill>
                  <a:srgbClr val="000000"/>
                </a:solidFill>
                <a:effectLst/>
                <a:uLnTx/>
                <a:uFillTx/>
                <a:latin typeface="OPPOSans R"/>
                <a:ea typeface="OPPOSans R"/>
                <a:cs typeface="+mn-cs"/>
              </a:rPr>
              <a:t>-</a:t>
            </a:r>
          </a:p>
        </p:txBody>
      </p:sp>
      <p:sp>
        <p:nvSpPr>
          <p:cNvPr id="47" name="文本框 46">
            <a:extLst>
              <a:ext uri="{FF2B5EF4-FFF2-40B4-BE49-F238E27FC236}">
                <a16:creationId xmlns:a16="http://schemas.microsoft.com/office/drawing/2014/main" id="{62C53D37-9183-EACC-C4F3-87060988BA4E}"/>
              </a:ext>
            </a:extLst>
          </p:cNvPr>
          <p:cNvSpPr txBox="1"/>
          <p:nvPr/>
        </p:nvSpPr>
        <p:spPr>
          <a:xfrm>
            <a:off x="6895622" y="2492515"/>
            <a:ext cx="1914343" cy="184666"/>
          </a:xfrm>
          <a:prstGeom prst="rect">
            <a:avLst/>
          </a:prstGeom>
          <a:noFill/>
        </p:spPr>
        <p:txBody>
          <a:bodyPr wrap="square" lIns="0" tIns="0" rIns="0" bIns="0">
            <a:spAutoFit/>
          </a:bodyPr>
          <a:lstStyle/>
          <a:p>
            <a:pPr marL="0" marR="0" lvl="0" indent="0" algn="ctr" defTabSz="913765" rtl="0" eaLnBrk="1" fontAlgn="auto" latinLnBrk="0" hangingPunct="1">
              <a:lnSpc>
                <a:spcPct val="100000"/>
              </a:lnSpc>
              <a:spcBef>
                <a:spcPts val="0"/>
              </a:spcBef>
              <a:spcAft>
                <a:spcPts val="0"/>
              </a:spcAft>
              <a:buClrTx/>
              <a:buSzPct val="80000"/>
              <a:buFontTx/>
              <a:buNone/>
              <a:tabLst/>
              <a:defRPr/>
            </a:pPr>
            <a:r>
              <a:rPr kumimoji="0" lang="en-US" altLang="zh-CN" sz="1200" b="0" i="0" u="none" strike="noStrike" kern="1200" cap="none" spc="0" normalizeH="0" baseline="0" noProof="0" dirty="0">
                <a:ln>
                  <a:noFill/>
                </a:ln>
                <a:solidFill>
                  <a:srgbClr val="000000"/>
                </a:solidFill>
                <a:effectLst/>
                <a:uLnTx/>
                <a:uFillTx/>
                <a:latin typeface="OPPOSans R"/>
                <a:ea typeface="OPPOSans R"/>
                <a:cs typeface="+mn-cs"/>
              </a:rPr>
              <a:t>- </a:t>
            </a:r>
            <a:r>
              <a:rPr kumimoji="0" lang="zh-CN" altLang="en-US" sz="1200" b="0" i="0" u="none" strike="noStrike" kern="1200" cap="none" spc="0" normalizeH="0" baseline="0" noProof="0" dirty="0">
                <a:ln>
                  <a:noFill/>
                </a:ln>
                <a:solidFill>
                  <a:srgbClr val="000000"/>
                </a:solidFill>
                <a:effectLst/>
                <a:uLnTx/>
                <a:uFillTx/>
                <a:latin typeface="OPPOSans R"/>
                <a:ea typeface="OPPOSans R"/>
                <a:cs typeface="+mn-cs"/>
              </a:rPr>
              <a:t>秋叶</a:t>
            </a:r>
            <a:r>
              <a:rPr kumimoji="0" lang="en-US" altLang="zh-CN" sz="1200" b="0" i="0" u="none" strike="noStrike" kern="1200" cap="none" spc="0" normalizeH="0" baseline="0" noProof="0" dirty="0">
                <a:ln>
                  <a:noFill/>
                </a:ln>
                <a:solidFill>
                  <a:srgbClr val="000000"/>
                </a:solidFill>
                <a:effectLst/>
                <a:uLnTx/>
                <a:uFillTx/>
                <a:latin typeface="OPPOSans R"/>
                <a:ea typeface="OPPOSans R"/>
                <a:cs typeface="+mn-cs"/>
              </a:rPr>
              <a:t>PPT</a:t>
            </a:r>
            <a:r>
              <a:rPr kumimoji="0" lang="zh-CN" altLang="en-US" sz="1200" b="0" i="0" u="none" strike="noStrike" kern="1200" cap="none" spc="0" normalizeH="0" baseline="0" noProof="0" dirty="0">
                <a:ln>
                  <a:noFill/>
                </a:ln>
                <a:solidFill>
                  <a:srgbClr val="000000"/>
                </a:solidFill>
                <a:effectLst/>
                <a:uLnTx/>
                <a:uFillTx/>
                <a:latin typeface="OPPOSans R"/>
                <a:ea typeface="OPPOSans R"/>
                <a:cs typeface="+mn-cs"/>
              </a:rPr>
              <a:t>又快又轻松 </a:t>
            </a:r>
            <a:r>
              <a:rPr kumimoji="0" lang="en-US" altLang="zh-CN" sz="1200" b="0" i="0" u="none" strike="noStrike" kern="1200" cap="none" spc="0" normalizeH="0" baseline="0" noProof="0" dirty="0">
                <a:ln>
                  <a:noFill/>
                </a:ln>
                <a:solidFill>
                  <a:srgbClr val="000000"/>
                </a:solidFill>
                <a:effectLst/>
                <a:uLnTx/>
                <a:uFillTx/>
                <a:latin typeface="OPPOSans R"/>
                <a:ea typeface="OPPOSans R"/>
                <a:cs typeface="+mn-cs"/>
              </a:rPr>
              <a:t>-</a:t>
            </a:r>
          </a:p>
        </p:txBody>
      </p:sp>
      <p:sp>
        <p:nvSpPr>
          <p:cNvPr id="48" name="文本框 47">
            <a:extLst>
              <a:ext uri="{FF2B5EF4-FFF2-40B4-BE49-F238E27FC236}">
                <a16:creationId xmlns:a16="http://schemas.microsoft.com/office/drawing/2014/main" id="{C38A7C95-5A78-DCCC-F5E0-BC765588C921}"/>
              </a:ext>
            </a:extLst>
          </p:cNvPr>
          <p:cNvSpPr txBox="1"/>
          <p:nvPr/>
        </p:nvSpPr>
        <p:spPr>
          <a:xfrm>
            <a:off x="7277016" y="2930350"/>
            <a:ext cx="1914343" cy="184666"/>
          </a:xfrm>
          <a:prstGeom prst="rect">
            <a:avLst/>
          </a:prstGeom>
          <a:noFill/>
        </p:spPr>
        <p:txBody>
          <a:bodyPr wrap="square" lIns="0" tIns="0" rIns="0" bIns="0">
            <a:spAutoFit/>
          </a:bodyPr>
          <a:lstStyle/>
          <a:p>
            <a:pPr marL="0" marR="0" lvl="0" indent="0" algn="ctr" defTabSz="913765" rtl="0" eaLnBrk="1" fontAlgn="auto" latinLnBrk="0" hangingPunct="1">
              <a:lnSpc>
                <a:spcPct val="100000"/>
              </a:lnSpc>
              <a:spcBef>
                <a:spcPts val="0"/>
              </a:spcBef>
              <a:spcAft>
                <a:spcPts val="0"/>
              </a:spcAft>
              <a:buClrTx/>
              <a:buSzPct val="80000"/>
              <a:buFontTx/>
              <a:buNone/>
              <a:tabLst/>
              <a:defRPr/>
            </a:pPr>
            <a:r>
              <a:rPr kumimoji="0" lang="en-US" altLang="zh-CN" sz="1200" b="0" i="0" u="none" strike="noStrike" kern="1200" cap="none" spc="0" normalizeH="0" baseline="0" noProof="0" dirty="0">
                <a:ln>
                  <a:noFill/>
                </a:ln>
                <a:solidFill>
                  <a:srgbClr val="000000"/>
                </a:solidFill>
                <a:effectLst/>
                <a:uLnTx/>
                <a:uFillTx/>
                <a:latin typeface="OPPOSans R"/>
                <a:ea typeface="OPPOSans R"/>
                <a:cs typeface="+mn-cs"/>
              </a:rPr>
              <a:t>- </a:t>
            </a:r>
            <a:r>
              <a:rPr kumimoji="0" lang="zh-CN" altLang="en-US" sz="1200" b="0" i="0" u="none" strike="noStrike" kern="1200" cap="none" spc="0" normalizeH="0" baseline="0" noProof="0" dirty="0">
                <a:ln>
                  <a:noFill/>
                </a:ln>
                <a:solidFill>
                  <a:srgbClr val="000000"/>
                </a:solidFill>
                <a:effectLst/>
                <a:uLnTx/>
                <a:uFillTx/>
                <a:latin typeface="OPPOSans R"/>
                <a:ea typeface="OPPOSans R"/>
                <a:cs typeface="+mn-cs"/>
              </a:rPr>
              <a:t>秋叶</a:t>
            </a:r>
            <a:r>
              <a:rPr kumimoji="0" lang="en-US" altLang="zh-CN" sz="1200" b="0" i="0" u="none" strike="noStrike" kern="1200" cap="none" spc="0" normalizeH="0" baseline="0" noProof="0" dirty="0">
                <a:ln>
                  <a:noFill/>
                </a:ln>
                <a:solidFill>
                  <a:srgbClr val="000000"/>
                </a:solidFill>
                <a:effectLst/>
                <a:uLnTx/>
                <a:uFillTx/>
                <a:latin typeface="OPPOSans R"/>
                <a:ea typeface="OPPOSans R"/>
                <a:cs typeface="+mn-cs"/>
              </a:rPr>
              <a:t>PPT</a:t>
            </a:r>
            <a:r>
              <a:rPr kumimoji="0" lang="zh-CN" altLang="en-US" sz="1200" b="0" i="0" u="none" strike="noStrike" kern="1200" cap="none" spc="0" normalizeH="0" baseline="0" noProof="0" dirty="0">
                <a:ln>
                  <a:noFill/>
                </a:ln>
                <a:solidFill>
                  <a:srgbClr val="000000"/>
                </a:solidFill>
                <a:effectLst/>
                <a:uLnTx/>
                <a:uFillTx/>
                <a:latin typeface="OPPOSans R"/>
                <a:ea typeface="OPPOSans R"/>
                <a:cs typeface="+mn-cs"/>
              </a:rPr>
              <a:t>又快又轻松 </a:t>
            </a:r>
            <a:r>
              <a:rPr kumimoji="0" lang="en-US" altLang="zh-CN" sz="1200" b="0" i="0" u="none" strike="noStrike" kern="1200" cap="none" spc="0" normalizeH="0" baseline="0" noProof="0" dirty="0">
                <a:ln>
                  <a:noFill/>
                </a:ln>
                <a:solidFill>
                  <a:srgbClr val="000000"/>
                </a:solidFill>
                <a:effectLst/>
                <a:uLnTx/>
                <a:uFillTx/>
                <a:latin typeface="OPPOSans R"/>
                <a:ea typeface="OPPOSans R"/>
                <a:cs typeface="+mn-cs"/>
              </a:rPr>
              <a:t>-</a:t>
            </a:r>
          </a:p>
        </p:txBody>
      </p:sp>
      <p:sp>
        <p:nvSpPr>
          <p:cNvPr id="49" name="文本框 48">
            <a:extLst>
              <a:ext uri="{FF2B5EF4-FFF2-40B4-BE49-F238E27FC236}">
                <a16:creationId xmlns:a16="http://schemas.microsoft.com/office/drawing/2014/main" id="{72726577-8D6D-A51A-C12F-AA11DD8A382B}"/>
              </a:ext>
            </a:extLst>
          </p:cNvPr>
          <p:cNvSpPr txBox="1"/>
          <p:nvPr/>
        </p:nvSpPr>
        <p:spPr>
          <a:xfrm>
            <a:off x="7347727" y="4404166"/>
            <a:ext cx="1914343" cy="184666"/>
          </a:xfrm>
          <a:prstGeom prst="rect">
            <a:avLst/>
          </a:prstGeom>
          <a:noFill/>
        </p:spPr>
        <p:txBody>
          <a:bodyPr wrap="square" lIns="0" tIns="0" rIns="0" bIns="0">
            <a:spAutoFit/>
          </a:bodyPr>
          <a:lstStyle/>
          <a:p>
            <a:pPr marL="0" marR="0" lvl="0" indent="0" algn="ctr" defTabSz="913765" rtl="0" eaLnBrk="1" fontAlgn="auto" latinLnBrk="0" hangingPunct="1">
              <a:lnSpc>
                <a:spcPct val="100000"/>
              </a:lnSpc>
              <a:spcBef>
                <a:spcPts val="0"/>
              </a:spcBef>
              <a:spcAft>
                <a:spcPts val="0"/>
              </a:spcAft>
              <a:buClrTx/>
              <a:buSzPct val="80000"/>
              <a:buFontTx/>
              <a:buNone/>
              <a:tabLst/>
              <a:defRPr/>
            </a:pPr>
            <a:r>
              <a:rPr kumimoji="0" lang="en-US" altLang="zh-CN" sz="1200" b="0" i="0" u="none" strike="noStrike" kern="1200" cap="none" spc="0" normalizeH="0" baseline="0" noProof="0" dirty="0">
                <a:ln>
                  <a:noFill/>
                </a:ln>
                <a:solidFill>
                  <a:srgbClr val="000000"/>
                </a:solidFill>
                <a:effectLst/>
                <a:uLnTx/>
                <a:uFillTx/>
                <a:latin typeface="OPPOSans R"/>
                <a:ea typeface="OPPOSans R"/>
                <a:cs typeface="+mn-cs"/>
              </a:rPr>
              <a:t>- </a:t>
            </a:r>
            <a:r>
              <a:rPr kumimoji="0" lang="zh-CN" altLang="en-US" sz="1200" b="0" i="0" u="none" strike="noStrike" kern="1200" cap="none" spc="0" normalizeH="0" baseline="0" noProof="0" dirty="0">
                <a:ln>
                  <a:noFill/>
                </a:ln>
                <a:solidFill>
                  <a:srgbClr val="000000"/>
                </a:solidFill>
                <a:effectLst/>
                <a:uLnTx/>
                <a:uFillTx/>
                <a:latin typeface="OPPOSans R"/>
                <a:ea typeface="OPPOSans R"/>
                <a:cs typeface="+mn-cs"/>
              </a:rPr>
              <a:t>秋叶</a:t>
            </a:r>
            <a:r>
              <a:rPr kumimoji="0" lang="en-US" altLang="zh-CN" sz="1200" b="0" i="0" u="none" strike="noStrike" kern="1200" cap="none" spc="0" normalizeH="0" baseline="0" noProof="0" dirty="0">
                <a:ln>
                  <a:noFill/>
                </a:ln>
                <a:solidFill>
                  <a:srgbClr val="000000"/>
                </a:solidFill>
                <a:effectLst/>
                <a:uLnTx/>
                <a:uFillTx/>
                <a:latin typeface="OPPOSans R"/>
                <a:ea typeface="OPPOSans R"/>
                <a:cs typeface="+mn-cs"/>
              </a:rPr>
              <a:t>PPT</a:t>
            </a:r>
            <a:r>
              <a:rPr kumimoji="0" lang="zh-CN" altLang="en-US" sz="1200" b="0" i="0" u="none" strike="noStrike" kern="1200" cap="none" spc="0" normalizeH="0" baseline="0" noProof="0" dirty="0">
                <a:ln>
                  <a:noFill/>
                </a:ln>
                <a:solidFill>
                  <a:srgbClr val="000000"/>
                </a:solidFill>
                <a:effectLst/>
                <a:uLnTx/>
                <a:uFillTx/>
                <a:latin typeface="OPPOSans R"/>
                <a:ea typeface="OPPOSans R"/>
                <a:cs typeface="+mn-cs"/>
              </a:rPr>
              <a:t>又快又轻松 </a:t>
            </a:r>
            <a:r>
              <a:rPr kumimoji="0" lang="en-US" altLang="zh-CN" sz="1200" b="0" i="0" u="none" strike="noStrike" kern="1200" cap="none" spc="0" normalizeH="0" baseline="0" noProof="0" dirty="0">
                <a:ln>
                  <a:noFill/>
                </a:ln>
                <a:solidFill>
                  <a:srgbClr val="000000"/>
                </a:solidFill>
                <a:effectLst/>
                <a:uLnTx/>
                <a:uFillTx/>
                <a:latin typeface="OPPOSans R"/>
                <a:ea typeface="OPPOSans R"/>
                <a:cs typeface="+mn-cs"/>
              </a:rPr>
              <a:t>-</a:t>
            </a:r>
          </a:p>
        </p:txBody>
      </p:sp>
      <p:sp>
        <p:nvSpPr>
          <p:cNvPr id="50" name="文本框 49">
            <a:extLst>
              <a:ext uri="{FF2B5EF4-FFF2-40B4-BE49-F238E27FC236}">
                <a16:creationId xmlns:a16="http://schemas.microsoft.com/office/drawing/2014/main" id="{0D606274-898B-47EF-D9C6-4DFE850594BD}"/>
              </a:ext>
            </a:extLst>
          </p:cNvPr>
          <p:cNvSpPr txBox="1"/>
          <p:nvPr/>
        </p:nvSpPr>
        <p:spPr>
          <a:xfrm>
            <a:off x="6895622" y="4829691"/>
            <a:ext cx="1914343" cy="184666"/>
          </a:xfrm>
          <a:prstGeom prst="rect">
            <a:avLst/>
          </a:prstGeom>
          <a:noFill/>
        </p:spPr>
        <p:txBody>
          <a:bodyPr wrap="square" lIns="0" tIns="0" rIns="0" bIns="0">
            <a:spAutoFit/>
          </a:bodyPr>
          <a:lstStyle/>
          <a:p>
            <a:pPr marL="0" marR="0" lvl="0" indent="0" algn="ctr" defTabSz="913765" rtl="0" eaLnBrk="1" fontAlgn="auto" latinLnBrk="0" hangingPunct="1">
              <a:lnSpc>
                <a:spcPct val="100000"/>
              </a:lnSpc>
              <a:spcBef>
                <a:spcPts val="0"/>
              </a:spcBef>
              <a:spcAft>
                <a:spcPts val="0"/>
              </a:spcAft>
              <a:buClrTx/>
              <a:buSzPct val="80000"/>
              <a:buFontTx/>
              <a:buNone/>
              <a:tabLst/>
              <a:defRPr/>
            </a:pPr>
            <a:r>
              <a:rPr kumimoji="0" lang="en-US" altLang="zh-CN" sz="1200" b="0" i="0" u="none" strike="noStrike" kern="1200" cap="none" spc="0" normalizeH="0" baseline="0" noProof="0" dirty="0">
                <a:ln>
                  <a:noFill/>
                </a:ln>
                <a:solidFill>
                  <a:srgbClr val="000000"/>
                </a:solidFill>
                <a:effectLst/>
                <a:uLnTx/>
                <a:uFillTx/>
                <a:latin typeface="OPPOSans R"/>
                <a:ea typeface="OPPOSans R"/>
                <a:cs typeface="+mn-cs"/>
              </a:rPr>
              <a:t>- </a:t>
            </a:r>
            <a:r>
              <a:rPr kumimoji="0" lang="zh-CN" altLang="en-US" sz="1200" b="0" i="0" u="none" strike="noStrike" kern="1200" cap="none" spc="0" normalizeH="0" baseline="0" noProof="0" dirty="0">
                <a:ln>
                  <a:noFill/>
                </a:ln>
                <a:solidFill>
                  <a:srgbClr val="000000"/>
                </a:solidFill>
                <a:effectLst/>
                <a:uLnTx/>
                <a:uFillTx/>
                <a:latin typeface="OPPOSans R"/>
                <a:ea typeface="OPPOSans R"/>
                <a:cs typeface="+mn-cs"/>
              </a:rPr>
              <a:t>秋叶</a:t>
            </a:r>
            <a:r>
              <a:rPr kumimoji="0" lang="en-US" altLang="zh-CN" sz="1200" b="0" i="0" u="none" strike="noStrike" kern="1200" cap="none" spc="0" normalizeH="0" baseline="0" noProof="0" dirty="0">
                <a:ln>
                  <a:noFill/>
                </a:ln>
                <a:solidFill>
                  <a:srgbClr val="000000"/>
                </a:solidFill>
                <a:effectLst/>
                <a:uLnTx/>
                <a:uFillTx/>
                <a:latin typeface="OPPOSans R"/>
                <a:ea typeface="OPPOSans R"/>
                <a:cs typeface="+mn-cs"/>
              </a:rPr>
              <a:t>PPT</a:t>
            </a:r>
            <a:r>
              <a:rPr kumimoji="0" lang="zh-CN" altLang="en-US" sz="1200" b="0" i="0" u="none" strike="noStrike" kern="1200" cap="none" spc="0" normalizeH="0" baseline="0" noProof="0" dirty="0">
                <a:ln>
                  <a:noFill/>
                </a:ln>
                <a:solidFill>
                  <a:srgbClr val="000000"/>
                </a:solidFill>
                <a:effectLst/>
                <a:uLnTx/>
                <a:uFillTx/>
                <a:latin typeface="OPPOSans R"/>
                <a:ea typeface="OPPOSans R"/>
                <a:cs typeface="+mn-cs"/>
              </a:rPr>
              <a:t>又快又轻松 </a:t>
            </a:r>
            <a:r>
              <a:rPr kumimoji="0" lang="en-US" altLang="zh-CN" sz="1200" b="0" i="0" u="none" strike="noStrike" kern="1200" cap="none" spc="0" normalizeH="0" baseline="0" noProof="0" dirty="0">
                <a:ln>
                  <a:noFill/>
                </a:ln>
                <a:solidFill>
                  <a:srgbClr val="000000"/>
                </a:solidFill>
                <a:effectLst/>
                <a:uLnTx/>
                <a:uFillTx/>
                <a:latin typeface="OPPOSans R"/>
                <a:ea typeface="OPPOSans R"/>
                <a:cs typeface="+mn-cs"/>
              </a:rPr>
              <a:t>-</a:t>
            </a:r>
          </a:p>
        </p:txBody>
      </p:sp>
      <p:sp>
        <p:nvSpPr>
          <p:cNvPr id="51" name="文本框 50">
            <a:extLst>
              <a:ext uri="{FF2B5EF4-FFF2-40B4-BE49-F238E27FC236}">
                <a16:creationId xmlns:a16="http://schemas.microsoft.com/office/drawing/2014/main" id="{3F3BA02A-257C-BDFE-850F-27E60FA1C915}"/>
              </a:ext>
            </a:extLst>
          </p:cNvPr>
          <p:cNvSpPr txBox="1"/>
          <p:nvPr/>
        </p:nvSpPr>
        <p:spPr>
          <a:xfrm>
            <a:off x="6514228" y="5255216"/>
            <a:ext cx="1914343" cy="184666"/>
          </a:xfrm>
          <a:prstGeom prst="rect">
            <a:avLst/>
          </a:prstGeom>
          <a:noFill/>
        </p:spPr>
        <p:txBody>
          <a:bodyPr wrap="square" lIns="0" tIns="0" rIns="0" bIns="0">
            <a:spAutoFit/>
          </a:bodyPr>
          <a:lstStyle/>
          <a:p>
            <a:pPr marL="0" marR="0" lvl="0" indent="0" algn="ctr" defTabSz="913765" rtl="0" eaLnBrk="1" fontAlgn="auto" latinLnBrk="0" hangingPunct="1">
              <a:lnSpc>
                <a:spcPct val="100000"/>
              </a:lnSpc>
              <a:spcBef>
                <a:spcPts val="0"/>
              </a:spcBef>
              <a:spcAft>
                <a:spcPts val="0"/>
              </a:spcAft>
              <a:buClrTx/>
              <a:buSzPct val="80000"/>
              <a:buFontTx/>
              <a:buNone/>
              <a:tabLst/>
              <a:defRPr/>
            </a:pPr>
            <a:r>
              <a:rPr kumimoji="0" lang="en-US" altLang="zh-CN" sz="1200" b="0" i="0" u="none" strike="noStrike" kern="1200" cap="none" spc="0" normalizeH="0" baseline="0" noProof="0" dirty="0">
                <a:ln>
                  <a:noFill/>
                </a:ln>
                <a:solidFill>
                  <a:srgbClr val="000000"/>
                </a:solidFill>
                <a:effectLst/>
                <a:uLnTx/>
                <a:uFillTx/>
                <a:latin typeface="OPPOSans R"/>
                <a:ea typeface="OPPOSans R"/>
                <a:cs typeface="+mn-cs"/>
              </a:rPr>
              <a:t>- </a:t>
            </a:r>
            <a:r>
              <a:rPr kumimoji="0" lang="zh-CN" altLang="en-US" sz="1200" b="0" i="0" u="none" strike="noStrike" kern="1200" cap="none" spc="0" normalizeH="0" baseline="0" noProof="0" dirty="0">
                <a:ln>
                  <a:noFill/>
                </a:ln>
                <a:solidFill>
                  <a:srgbClr val="000000"/>
                </a:solidFill>
                <a:effectLst/>
                <a:uLnTx/>
                <a:uFillTx/>
                <a:latin typeface="OPPOSans R"/>
                <a:ea typeface="OPPOSans R"/>
                <a:cs typeface="+mn-cs"/>
              </a:rPr>
              <a:t>秋叶</a:t>
            </a:r>
            <a:r>
              <a:rPr kumimoji="0" lang="en-US" altLang="zh-CN" sz="1200" b="0" i="0" u="none" strike="noStrike" kern="1200" cap="none" spc="0" normalizeH="0" baseline="0" noProof="0" dirty="0">
                <a:ln>
                  <a:noFill/>
                </a:ln>
                <a:solidFill>
                  <a:srgbClr val="000000"/>
                </a:solidFill>
                <a:effectLst/>
                <a:uLnTx/>
                <a:uFillTx/>
                <a:latin typeface="OPPOSans R"/>
                <a:ea typeface="OPPOSans R"/>
                <a:cs typeface="+mn-cs"/>
              </a:rPr>
              <a:t>PPT</a:t>
            </a:r>
            <a:r>
              <a:rPr kumimoji="0" lang="zh-CN" altLang="en-US" sz="1200" b="0" i="0" u="none" strike="noStrike" kern="1200" cap="none" spc="0" normalizeH="0" baseline="0" noProof="0" dirty="0">
                <a:ln>
                  <a:noFill/>
                </a:ln>
                <a:solidFill>
                  <a:srgbClr val="000000"/>
                </a:solidFill>
                <a:effectLst/>
                <a:uLnTx/>
                <a:uFillTx/>
                <a:latin typeface="OPPOSans R"/>
                <a:ea typeface="OPPOSans R"/>
                <a:cs typeface="+mn-cs"/>
              </a:rPr>
              <a:t>又快又轻松 </a:t>
            </a:r>
            <a:r>
              <a:rPr kumimoji="0" lang="en-US" altLang="zh-CN" sz="1200" b="0" i="0" u="none" strike="noStrike" kern="1200" cap="none" spc="0" normalizeH="0" baseline="0" noProof="0" dirty="0">
                <a:ln>
                  <a:noFill/>
                </a:ln>
                <a:solidFill>
                  <a:srgbClr val="000000"/>
                </a:solidFill>
                <a:effectLst/>
                <a:uLnTx/>
                <a:uFillTx/>
                <a:latin typeface="OPPOSans R"/>
                <a:ea typeface="OPPOSans R"/>
                <a:cs typeface="+mn-cs"/>
              </a:rPr>
              <a:t>-</a:t>
            </a:r>
          </a:p>
        </p:txBody>
      </p:sp>
      <p:sp>
        <p:nvSpPr>
          <p:cNvPr id="52" name="文本框 51">
            <a:extLst>
              <a:ext uri="{FF2B5EF4-FFF2-40B4-BE49-F238E27FC236}">
                <a16:creationId xmlns:a16="http://schemas.microsoft.com/office/drawing/2014/main" id="{25AD08F1-7C4A-C7D3-EF6E-20D979318C1E}"/>
              </a:ext>
            </a:extLst>
          </p:cNvPr>
          <p:cNvSpPr txBox="1"/>
          <p:nvPr/>
        </p:nvSpPr>
        <p:spPr>
          <a:xfrm>
            <a:off x="4215907" y="4404471"/>
            <a:ext cx="1914343" cy="184666"/>
          </a:xfrm>
          <a:prstGeom prst="rect">
            <a:avLst/>
          </a:prstGeom>
          <a:noFill/>
        </p:spPr>
        <p:txBody>
          <a:bodyPr wrap="square" lIns="0" tIns="0" rIns="0" bIns="0">
            <a:spAutoFit/>
          </a:bodyPr>
          <a:lstStyle/>
          <a:p>
            <a:pPr marL="0" marR="0" lvl="0" indent="0" algn="ctr" defTabSz="913765" rtl="0" eaLnBrk="1" fontAlgn="auto" latinLnBrk="0" hangingPunct="1">
              <a:lnSpc>
                <a:spcPct val="100000"/>
              </a:lnSpc>
              <a:spcBef>
                <a:spcPts val="0"/>
              </a:spcBef>
              <a:spcAft>
                <a:spcPts val="0"/>
              </a:spcAft>
              <a:buClrTx/>
              <a:buSzPct val="80000"/>
              <a:buFontTx/>
              <a:buNone/>
              <a:tabLst/>
              <a:defRPr/>
            </a:pPr>
            <a:r>
              <a:rPr kumimoji="0" lang="en-US" altLang="zh-CN" sz="1200" b="0" i="0" u="none" strike="noStrike" kern="1200" cap="none" spc="0" normalizeH="0" baseline="0" noProof="0" dirty="0">
                <a:ln>
                  <a:noFill/>
                </a:ln>
                <a:solidFill>
                  <a:srgbClr val="000000"/>
                </a:solidFill>
                <a:effectLst/>
                <a:uLnTx/>
                <a:uFillTx/>
                <a:latin typeface="OPPOSans R"/>
                <a:ea typeface="OPPOSans R"/>
                <a:cs typeface="+mn-cs"/>
              </a:rPr>
              <a:t>- </a:t>
            </a:r>
            <a:r>
              <a:rPr kumimoji="0" lang="zh-CN" altLang="en-US" sz="1200" b="0" i="0" u="none" strike="noStrike" kern="1200" cap="none" spc="0" normalizeH="0" baseline="0" noProof="0" dirty="0">
                <a:ln>
                  <a:noFill/>
                </a:ln>
                <a:solidFill>
                  <a:srgbClr val="000000"/>
                </a:solidFill>
                <a:effectLst/>
                <a:uLnTx/>
                <a:uFillTx/>
                <a:latin typeface="OPPOSans R"/>
                <a:ea typeface="OPPOSans R"/>
                <a:cs typeface="+mn-cs"/>
              </a:rPr>
              <a:t>秋叶</a:t>
            </a:r>
            <a:r>
              <a:rPr kumimoji="0" lang="en-US" altLang="zh-CN" sz="1200" b="0" i="0" u="none" strike="noStrike" kern="1200" cap="none" spc="0" normalizeH="0" baseline="0" noProof="0" dirty="0">
                <a:ln>
                  <a:noFill/>
                </a:ln>
                <a:solidFill>
                  <a:srgbClr val="000000"/>
                </a:solidFill>
                <a:effectLst/>
                <a:uLnTx/>
                <a:uFillTx/>
                <a:latin typeface="OPPOSans R"/>
                <a:ea typeface="OPPOSans R"/>
                <a:cs typeface="+mn-cs"/>
              </a:rPr>
              <a:t>PPT</a:t>
            </a:r>
            <a:r>
              <a:rPr kumimoji="0" lang="zh-CN" altLang="en-US" sz="1200" b="0" i="0" u="none" strike="noStrike" kern="1200" cap="none" spc="0" normalizeH="0" baseline="0" noProof="0" dirty="0">
                <a:ln>
                  <a:noFill/>
                </a:ln>
                <a:solidFill>
                  <a:srgbClr val="000000"/>
                </a:solidFill>
                <a:effectLst/>
                <a:uLnTx/>
                <a:uFillTx/>
                <a:latin typeface="OPPOSans R"/>
                <a:ea typeface="OPPOSans R"/>
                <a:cs typeface="+mn-cs"/>
              </a:rPr>
              <a:t>又快又轻松 </a:t>
            </a:r>
            <a:r>
              <a:rPr kumimoji="0" lang="en-US" altLang="zh-CN" sz="1200" b="0" i="0" u="none" strike="noStrike" kern="1200" cap="none" spc="0" normalizeH="0" baseline="0" noProof="0" dirty="0">
                <a:ln>
                  <a:noFill/>
                </a:ln>
                <a:solidFill>
                  <a:srgbClr val="000000"/>
                </a:solidFill>
                <a:effectLst/>
                <a:uLnTx/>
                <a:uFillTx/>
                <a:latin typeface="OPPOSans R"/>
                <a:ea typeface="OPPOSans R"/>
                <a:cs typeface="+mn-cs"/>
              </a:rPr>
              <a:t>-</a:t>
            </a:r>
          </a:p>
        </p:txBody>
      </p:sp>
      <p:sp>
        <p:nvSpPr>
          <p:cNvPr id="53" name="文本框 52">
            <a:extLst>
              <a:ext uri="{FF2B5EF4-FFF2-40B4-BE49-F238E27FC236}">
                <a16:creationId xmlns:a16="http://schemas.microsoft.com/office/drawing/2014/main" id="{3FD6C412-ACFD-0D21-FFED-3108801E8DDA}"/>
              </a:ext>
            </a:extLst>
          </p:cNvPr>
          <p:cNvSpPr txBox="1"/>
          <p:nvPr/>
        </p:nvSpPr>
        <p:spPr>
          <a:xfrm>
            <a:off x="3807860" y="4829691"/>
            <a:ext cx="1914343" cy="184666"/>
          </a:xfrm>
          <a:prstGeom prst="rect">
            <a:avLst/>
          </a:prstGeom>
          <a:noFill/>
        </p:spPr>
        <p:txBody>
          <a:bodyPr wrap="square" lIns="0" tIns="0" rIns="0" bIns="0">
            <a:spAutoFit/>
          </a:bodyPr>
          <a:lstStyle/>
          <a:p>
            <a:pPr marL="0" marR="0" lvl="0" indent="0" algn="ctr" defTabSz="913765" rtl="0" eaLnBrk="1" fontAlgn="auto" latinLnBrk="0" hangingPunct="1">
              <a:lnSpc>
                <a:spcPct val="100000"/>
              </a:lnSpc>
              <a:spcBef>
                <a:spcPts val="0"/>
              </a:spcBef>
              <a:spcAft>
                <a:spcPts val="0"/>
              </a:spcAft>
              <a:buClrTx/>
              <a:buSzPct val="80000"/>
              <a:buFontTx/>
              <a:buNone/>
              <a:tabLst/>
              <a:defRPr/>
            </a:pPr>
            <a:r>
              <a:rPr kumimoji="0" lang="en-US" altLang="zh-CN" sz="1200" b="0" i="0" u="none" strike="noStrike" kern="1200" cap="none" spc="0" normalizeH="0" baseline="0" noProof="0" dirty="0">
                <a:ln>
                  <a:noFill/>
                </a:ln>
                <a:solidFill>
                  <a:srgbClr val="000000"/>
                </a:solidFill>
                <a:effectLst/>
                <a:uLnTx/>
                <a:uFillTx/>
                <a:latin typeface="OPPOSans R"/>
                <a:ea typeface="OPPOSans R"/>
                <a:cs typeface="+mn-cs"/>
              </a:rPr>
              <a:t>- </a:t>
            </a:r>
            <a:r>
              <a:rPr kumimoji="0" lang="zh-CN" altLang="en-US" sz="1200" b="0" i="0" u="none" strike="noStrike" kern="1200" cap="none" spc="0" normalizeH="0" baseline="0" noProof="0" dirty="0">
                <a:ln>
                  <a:noFill/>
                </a:ln>
                <a:solidFill>
                  <a:srgbClr val="000000"/>
                </a:solidFill>
                <a:effectLst/>
                <a:uLnTx/>
                <a:uFillTx/>
                <a:latin typeface="OPPOSans R"/>
                <a:ea typeface="OPPOSans R"/>
                <a:cs typeface="+mn-cs"/>
              </a:rPr>
              <a:t>秋叶</a:t>
            </a:r>
            <a:r>
              <a:rPr kumimoji="0" lang="en-US" altLang="zh-CN" sz="1200" b="0" i="0" u="none" strike="noStrike" kern="1200" cap="none" spc="0" normalizeH="0" baseline="0" noProof="0" dirty="0">
                <a:ln>
                  <a:noFill/>
                </a:ln>
                <a:solidFill>
                  <a:srgbClr val="000000"/>
                </a:solidFill>
                <a:effectLst/>
                <a:uLnTx/>
                <a:uFillTx/>
                <a:latin typeface="OPPOSans R"/>
                <a:ea typeface="OPPOSans R"/>
                <a:cs typeface="+mn-cs"/>
              </a:rPr>
              <a:t>PPT</a:t>
            </a:r>
            <a:r>
              <a:rPr kumimoji="0" lang="zh-CN" altLang="en-US" sz="1200" b="0" i="0" u="none" strike="noStrike" kern="1200" cap="none" spc="0" normalizeH="0" baseline="0" noProof="0" dirty="0">
                <a:ln>
                  <a:noFill/>
                </a:ln>
                <a:solidFill>
                  <a:srgbClr val="000000"/>
                </a:solidFill>
                <a:effectLst/>
                <a:uLnTx/>
                <a:uFillTx/>
                <a:latin typeface="OPPOSans R"/>
                <a:ea typeface="OPPOSans R"/>
                <a:cs typeface="+mn-cs"/>
              </a:rPr>
              <a:t>又快又轻松 </a:t>
            </a:r>
            <a:r>
              <a:rPr kumimoji="0" lang="en-US" altLang="zh-CN" sz="1200" b="0" i="0" u="none" strike="noStrike" kern="1200" cap="none" spc="0" normalizeH="0" baseline="0" noProof="0" dirty="0">
                <a:ln>
                  <a:noFill/>
                </a:ln>
                <a:solidFill>
                  <a:srgbClr val="000000"/>
                </a:solidFill>
                <a:effectLst/>
                <a:uLnTx/>
                <a:uFillTx/>
                <a:latin typeface="OPPOSans R"/>
                <a:ea typeface="OPPOSans R"/>
                <a:cs typeface="+mn-cs"/>
              </a:rPr>
              <a:t>-</a:t>
            </a:r>
          </a:p>
        </p:txBody>
      </p:sp>
      <p:sp>
        <p:nvSpPr>
          <p:cNvPr id="54" name="文本框 53">
            <a:extLst>
              <a:ext uri="{FF2B5EF4-FFF2-40B4-BE49-F238E27FC236}">
                <a16:creationId xmlns:a16="http://schemas.microsoft.com/office/drawing/2014/main" id="{94BA4F9A-256B-E075-9BA8-FB7D32E66DED}"/>
              </a:ext>
            </a:extLst>
          </p:cNvPr>
          <p:cNvSpPr txBox="1"/>
          <p:nvPr/>
        </p:nvSpPr>
        <p:spPr>
          <a:xfrm>
            <a:off x="1102420" y="4404471"/>
            <a:ext cx="1914343" cy="184666"/>
          </a:xfrm>
          <a:prstGeom prst="rect">
            <a:avLst/>
          </a:prstGeom>
          <a:noFill/>
        </p:spPr>
        <p:txBody>
          <a:bodyPr wrap="square" lIns="0" tIns="0" rIns="0" bIns="0">
            <a:spAutoFit/>
          </a:bodyPr>
          <a:lstStyle/>
          <a:p>
            <a:pPr marL="0" marR="0" lvl="0" indent="0" algn="ctr" defTabSz="913765" rtl="0" eaLnBrk="1" fontAlgn="auto" latinLnBrk="0" hangingPunct="1">
              <a:lnSpc>
                <a:spcPct val="100000"/>
              </a:lnSpc>
              <a:spcBef>
                <a:spcPts val="0"/>
              </a:spcBef>
              <a:spcAft>
                <a:spcPts val="0"/>
              </a:spcAft>
              <a:buClrTx/>
              <a:buSzPct val="80000"/>
              <a:buFontTx/>
              <a:buNone/>
              <a:tabLst/>
              <a:defRPr/>
            </a:pPr>
            <a:r>
              <a:rPr kumimoji="0" lang="en-US" altLang="zh-CN" sz="1200" b="0" i="0" u="none" strike="noStrike" kern="1200" cap="none" spc="0" normalizeH="0" baseline="0" noProof="0" dirty="0">
                <a:ln>
                  <a:noFill/>
                </a:ln>
                <a:solidFill>
                  <a:srgbClr val="000000"/>
                </a:solidFill>
                <a:effectLst/>
                <a:uLnTx/>
                <a:uFillTx/>
                <a:latin typeface="OPPOSans R"/>
                <a:ea typeface="OPPOSans R"/>
                <a:cs typeface="+mn-cs"/>
              </a:rPr>
              <a:t>- </a:t>
            </a:r>
            <a:r>
              <a:rPr kumimoji="0" lang="zh-CN" altLang="en-US" sz="1200" b="0" i="0" u="none" strike="noStrike" kern="1200" cap="none" spc="0" normalizeH="0" baseline="0" noProof="0" dirty="0">
                <a:ln>
                  <a:noFill/>
                </a:ln>
                <a:solidFill>
                  <a:srgbClr val="000000"/>
                </a:solidFill>
                <a:effectLst/>
                <a:uLnTx/>
                <a:uFillTx/>
                <a:latin typeface="OPPOSans R"/>
                <a:ea typeface="OPPOSans R"/>
                <a:cs typeface="+mn-cs"/>
              </a:rPr>
              <a:t>秋叶</a:t>
            </a:r>
            <a:r>
              <a:rPr kumimoji="0" lang="en-US" altLang="zh-CN" sz="1200" b="0" i="0" u="none" strike="noStrike" kern="1200" cap="none" spc="0" normalizeH="0" baseline="0" noProof="0" dirty="0">
                <a:ln>
                  <a:noFill/>
                </a:ln>
                <a:solidFill>
                  <a:srgbClr val="000000"/>
                </a:solidFill>
                <a:effectLst/>
                <a:uLnTx/>
                <a:uFillTx/>
                <a:latin typeface="OPPOSans R"/>
                <a:ea typeface="OPPOSans R"/>
                <a:cs typeface="+mn-cs"/>
              </a:rPr>
              <a:t>PPT</a:t>
            </a:r>
            <a:r>
              <a:rPr kumimoji="0" lang="zh-CN" altLang="en-US" sz="1200" b="0" i="0" u="none" strike="noStrike" kern="1200" cap="none" spc="0" normalizeH="0" baseline="0" noProof="0" dirty="0">
                <a:ln>
                  <a:noFill/>
                </a:ln>
                <a:solidFill>
                  <a:srgbClr val="000000"/>
                </a:solidFill>
                <a:effectLst/>
                <a:uLnTx/>
                <a:uFillTx/>
                <a:latin typeface="OPPOSans R"/>
                <a:ea typeface="OPPOSans R"/>
                <a:cs typeface="+mn-cs"/>
              </a:rPr>
              <a:t>又快又轻松 </a:t>
            </a:r>
            <a:r>
              <a:rPr kumimoji="0" lang="en-US" altLang="zh-CN" sz="1200" b="0" i="0" u="none" strike="noStrike" kern="1200" cap="none" spc="0" normalizeH="0" baseline="0" noProof="0" dirty="0">
                <a:ln>
                  <a:noFill/>
                </a:ln>
                <a:solidFill>
                  <a:srgbClr val="000000"/>
                </a:solidFill>
                <a:effectLst/>
                <a:uLnTx/>
                <a:uFillTx/>
                <a:latin typeface="OPPOSans R"/>
                <a:ea typeface="OPPOSans R"/>
                <a:cs typeface="+mn-cs"/>
              </a:rPr>
              <a:t>-</a:t>
            </a:r>
          </a:p>
        </p:txBody>
      </p:sp>
      <p:sp>
        <p:nvSpPr>
          <p:cNvPr id="55" name="文本框 54">
            <a:extLst>
              <a:ext uri="{FF2B5EF4-FFF2-40B4-BE49-F238E27FC236}">
                <a16:creationId xmlns:a16="http://schemas.microsoft.com/office/drawing/2014/main" id="{4A59D0E3-5DFB-B7BF-FCAB-E6AC9BF1C72C}"/>
              </a:ext>
            </a:extLst>
          </p:cNvPr>
          <p:cNvSpPr txBox="1"/>
          <p:nvPr/>
        </p:nvSpPr>
        <p:spPr>
          <a:xfrm>
            <a:off x="694373" y="4829691"/>
            <a:ext cx="1914343" cy="184666"/>
          </a:xfrm>
          <a:prstGeom prst="rect">
            <a:avLst/>
          </a:prstGeom>
          <a:noFill/>
        </p:spPr>
        <p:txBody>
          <a:bodyPr wrap="square" lIns="0" tIns="0" rIns="0" bIns="0">
            <a:spAutoFit/>
          </a:bodyPr>
          <a:lstStyle/>
          <a:p>
            <a:pPr marL="0" marR="0" lvl="0" indent="0" algn="ctr" defTabSz="913765" rtl="0" eaLnBrk="1" fontAlgn="auto" latinLnBrk="0" hangingPunct="1">
              <a:lnSpc>
                <a:spcPct val="100000"/>
              </a:lnSpc>
              <a:spcBef>
                <a:spcPts val="0"/>
              </a:spcBef>
              <a:spcAft>
                <a:spcPts val="0"/>
              </a:spcAft>
              <a:buClrTx/>
              <a:buSzPct val="80000"/>
              <a:buFontTx/>
              <a:buNone/>
              <a:tabLst/>
              <a:defRPr/>
            </a:pPr>
            <a:r>
              <a:rPr kumimoji="0" lang="en-US" altLang="zh-CN" sz="1200" b="0" i="0" u="none" strike="noStrike" kern="1200" cap="none" spc="0" normalizeH="0" baseline="0" noProof="0" dirty="0">
                <a:ln>
                  <a:noFill/>
                </a:ln>
                <a:solidFill>
                  <a:srgbClr val="000000"/>
                </a:solidFill>
                <a:effectLst/>
                <a:uLnTx/>
                <a:uFillTx/>
                <a:latin typeface="OPPOSans R"/>
                <a:ea typeface="OPPOSans R"/>
                <a:cs typeface="+mn-cs"/>
              </a:rPr>
              <a:t>- </a:t>
            </a:r>
            <a:r>
              <a:rPr kumimoji="0" lang="zh-CN" altLang="en-US" sz="1200" b="0" i="0" u="none" strike="noStrike" kern="1200" cap="none" spc="0" normalizeH="0" baseline="0" noProof="0" dirty="0">
                <a:ln>
                  <a:noFill/>
                </a:ln>
                <a:solidFill>
                  <a:srgbClr val="000000"/>
                </a:solidFill>
                <a:effectLst/>
                <a:uLnTx/>
                <a:uFillTx/>
                <a:latin typeface="OPPOSans R"/>
                <a:ea typeface="OPPOSans R"/>
                <a:cs typeface="+mn-cs"/>
              </a:rPr>
              <a:t>秋叶</a:t>
            </a:r>
            <a:r>
              <a:rPr kumimoji="0" lang="en-US" altLang="zh-CN" sz="1200" b="0" i="0" u="none" strike="noStrike" kern="1200" cap="none" spc="0" normalizeH="0" baseline="0" noProof="0" dirty="0">
                <a:ln>
                  <a:noFill/>
                </a:ln>
                <a:solidFill>
                  <a:srgbClr val="000000"/>
                </a:solidFill>
                <a:effectLst/>
                <a:uLnTx/>
                <a:uFillTx/>
                <a:latin typeface="OPPOSans R"/>
                <a:ea typeface="OPPOSans R"/>
                <a:cs typeface="+mn-cs"/>
              </a:rPr>
              <a:t>PPT</a:t>
            </a:r>
            <a:r>
              <a:rPr kumimoji="0" lang="zh-CN" altLang="en-US" sz="1200" b="0" i="0" u="none" strike="noStrike" kern="1200" cap="none" spc="0" normalizeH="0" baseline="0" noProof="0" dirty="0">
                <a:ln>
                  <a:noFill/>
                </a:ln>
                <a:solidFill>
                  <a:srgbClr val="000000"/>
                </a:solidFill>
                <a:effectLst/>
                <a:uLnTx/>
                <a:uFillTx/>
                <a:latin typeface="OPPOSans R"/>
                <a:ea typeface="OPPOSans R"/>
                <a:cs typeface="+mn-cs"/>
              </a:rPr>
              <a:t>又快又轻松 </a:t>
            </a:r>
            <a:r>
              <a:rPr kumimoji="0" lang="en-US" altLang="zh-CN" sz="1200" b="0" i="0" u="none" strike="noStrike" kern="1200" cap="none" spc="0" normalizeH="0" baseline="0" noProof="0" dirty="0">
                <a:ln>
                  <a:noFill/>
                </a:ln>
                <a:solidFill>
                  <a:srgbClr val="000000"/>
                </a:solidFill>
                <a:effectLst/>
                <a:uLnTx/>
                <a:uFillTx/>
                <a:latin typeface="OPPOSans R"/>
                <a:ea typeface="OPPOSans R"/>
                <a:cs typeface="+mn-cs"/>
              </a:rPr>
              <a:t>-</a:t>
            </a:r>
          </a:p>
        </p:txBody>
      </p:sp>
      <p:sp>
        <p:nvSpPr>
          <p:cNvPr id="56" name="文本框 55">
            <a:extLst>
              <a:ext uri="{FF2B5EF4-FFF2-40B4-BE49-F238E27FC236}">
                <a16:creationId xmlns:a16="http://schemas.microsoft.com/office/drawing/2014/main" id="{DCAD15DE-D793-DC9F-58CD-7B978180FD55}"/>
              </a:ext>
            </a:extLst>
          </p:cNvPr>
          <p:cNvSpPr txBox="1"/>
          <p:nvPr/>
        </p:nvSpPr>
        <p:spPr>
          <a:xfrm>
            <a:off x="793021" y="2492515"/>
            <a:ext cx="1914343" cy="184666"/>
          </a:xfrm>
          <a:prstGeom prst="rect">
            <a:avLst/>
          </a:prstGeom>
          <a:noFill/>
        </p:spPr>
        <p:txBody>
          <a:bodyPr wrap="square" lIns="0" tIns="0" rIns="0" bIns="0">
            <a:spAutoFit/>
          </a:bodyPr>
          <a:lstStyle/>
          <a:p>
            <a:pPr marL="0" marR="0" lvl="0" indent="0" algn="ctr" defTabSz="913765" rtl="0" eaLnBrk="1" fontAlgn="auto" latinLnBrk="0" hangingPunct="1">
              <a:lnSpc>
                <a:spcPct val="100000"/>
              </a:lnSpc>
              <a:spcBef>
                <a:spcPts val="0"/>
              </a:spcBef>
              <a:spcAft>
                <a:spcPts val="0"/>
              </a:spcAft>
              <a:buClrTx/>
              <a:buSzPct val="80000"/>
              <a:buFontTx/>
              <a:buNone/>
              <a:tabLst/>
              <a:defRPr/>
            </a:pPr>
            <a:r>
              <a:rPr kumimoji="0" lang="en-US" altLang="zh-CN" sz="1200" b="0" i="0" u="none" strike="noStrike" kern="1200" cap="none" spc="0" normalizeH="0" baseline="0" noProof="0" dirty="0">
                <a:ln>
                  <a:noFill/>
                </a:ln>
                <a:solidFill>
                  <a:srgbClr val="000000"/>
                </a:solidFill>
                <a:effectLst/>
                <a:uLnTx/>
                <a:uFillTx/>
                <a:latin typeface="OPPOSans R"/>
                <a:ea typeface="OPPOSans R"/>
                <a:cs typeface="+mn-cs"/>
              </a:rPr>
              <a:t>- </a:t>
            </a:r>
            <a:r>
              <a:rPr kumimoji="0" lang="zh-CN" altLang="en-US" sz="1200" b="0" i="0" u="none" strike="noStrike" kern="1200" cap="none" spc="0" normalizeH="0" baseline="0" noProof="0" dirty="0">
                <a:ln>
                  <a:noFill/>
                </a:ln>
                <a:solidFill>
                  <a:srgbClr val="000000"/>
                </a:solidFill>
                <a:effectLst/>
                <a:uLnTx/>
                <a:uFillTx/>
                <a:latin typeface="OPPOSans R"/>
                <a:ea typeface="OPPOSans R"/>
                <a:cs typeface="+mn-cs"/>
              </a:rPr>
              <a:t>秋叶</a:t>
            </a:r>
            <a:r>
              <a:rPr kumimoji="0" lang="en-US" altLang="zh-CN" sz="1200" b="0" i="0" u="none" strike="noStrike" kern="1200" cap="none" spc="0" normalizeH="0" baseline="0" noProof="0" dirty="0">
                <a:ln>
                  <a:noFill/>
                </a:ln>
                <a:solidFill>
                  <a:srgbClr val="000000"/>
                </a:solidFill>
                <a:effectLst/>
                <a:uLnTx/>
                <a:uFillTx/>
                <a:latin typeface="OPPOSans R"/>
                <a:ea typeface="OPPOSans R"/>
                <a:cs typeface="+mn-cs"/>
              </a:rPr>
              <a:t>PPT</a:t>
            </a:r>
            <a:r>
              <a:rPr kumimoji="0" lang="zh-CN" altLang="en-US" sz="1200" b="0" i="0" u="none" strike="noStrike" kern="1200" cap="none" spc="0" normalizeH="0" baseline="0" noProof="0" dirty="0">
                <a:ln>
                  <a:noFill/>
                </a:ln>
                <a:solidFill>
                  <a:srgbClr val="000000"/>
                </a:solidFill>
                <a:effectLst/>
                <a:uLnTx/>
                <a:uFillTx/>
                <a:latin typeface="OPPOSans R"/>
                <a:ea typeface="OPPOSans R"/>
                <a:cs typeface="+mn-cs"/>
              </a:rPr>
              <a:t>又快又轻松 </a:t>
            </a:r>
            <a:r>
              <a:rPr kumimoji="0" lang="en-US" altLang="zh-CN" sz="1200" b="0" i="0" u="none" strike="noStrike" kern="1200" cap="none" spc="0" normalizeH="0" baseline="0" noProof="0" dirty="0">
                <a:ln>
                  <a:noFill/>
                </a:ln>
                <a:solidFill>
                  <a:srgbClr val="000000"/>
                </a:solidFill>
                <a:effectLst/>
                <a:uLnTx/>
                <a:uFillTx/>
                <a:latin typeface="OPPOSans R"/>
                <a:ea typeface="OPPOSans R"/>
                <a:cs typeface="+mn-cs"/>
              </a:rPr>
              <a:t>-</a:t>
            </a:r>
          </a:p>
        </p:txBody>
      </p:sp>
      <p:sp>
        <p:nvSpPr>
          <p:cNvPr id="58" name="文本框 57">
            <a:extLst>
              <a:ext uri="{FF2B5EF4-FFF2-40B4-BE49-F238E27FC236}">
                <a16:creationId xmlns:a16="http://schemas.microsoft.com/office/drawing/2014/main" id="{47735C8B-320B-C614-C62E-93040E97BBDA}"/>
              </a:ext>
            </a:extLst>
          </p:cNvPr>
          <p:cNvSpPr txBox="1"/>
          <p:nvPr/>
        </p:nvSpPr>
        <p:spPr>
          <a:xfrm>
            <a:off x="1122606" y="2933240"/>
            <a:ext cx="1914343" cy="184666"/>
          </a:xfrm>
          <a:prstGeom prst="rect">
            <a:avLst/>
          </a:prstGeom>
          <a:noFill/>
        </p:spPr>
        <p:txBody>
          <a:bodyPr wrap="square" lIns="0" tIns="0" rIns="0" bIns="0">
            <a:spAutoFit/>
          </a:bodyPr>
          <a:lstStyle/>
          <a:p>
            <a:pPr marL="0" marR="0" lvl="0" indent="0" algn="ctr" defTabSz="913765" rtl="0" eaLnBrk="1" fontAlgn="auto" latinLnBrk="0" hangingPunct="1">
              <a:lnSpc>
                <a:spcPct val="100000"/>
              </a:lnSpc>
              <a:spcBef>
                <a:spcPts val="0"/>
              </a:spcBef>
              <a:spcAft>
                <a:spcPts val="0"/>
              </a:spcAft>
              <a:buClrTx/>
              <a:buSzPct val="80000"/>
              <a:buFontTx/>
              <a:buNone/>
              <a:tabLst/>
              <a:defRPr/>
            </a:pPr>
            <a:r>
              <a:rPr kumimoji="0" lang="en-US" altLang="zh-CN" sz="1200" b="0" i="0" u="none" strike="noStrike" kern="1200" cap="none" spc="0" normalizeH="0" baseline="0" noProof="0" dirty="0">
                <a:ln>
                  <a:noFill/>
                </a:ln>
                <a:solidFill>
                  <a:srgbClr val="000000"/>
                </a:solidFill>
                <a:effectLst/>
                <a:uLnTx/>
                <a:uFillTx/>
                <a:latin typeface="OPPOSans R"/>
                <a:ea typeface="OPPOSans R"/>
                <a:cs typeface="+mn-cs"/>
              </a:rPr>
              <a:t>- </a:t>
            </a:r>
            <a:r>
              <a:rPr kumimoji="0" lang="zh-CN" altLang="en-US" sz="1200" b="0" i="0" u="none" strike="noStrike" kern="1200" cap="none" spc="0" normalizeH="0" baseline="0" noProof="0" dirty="0">
                <a:ln>
                  <a:noFill/>
                </a:ln>
                <a:solidFill>
                  <a:srgbClr val="000000"/>
                </a:solidFill>
                <a:effectLst/>
                <a:uLnTx/>
                <a:uFillTx/>
                <a:latin typeface="OPPOSans R"/>
                <a:ea typeface="OPPOSans R"/>
                <a:cs typeface="+mn-cs"/>
              </a:rPr>
              <a:t>秋叶</a:t>
            </a:r>
            <a:r>
              <a:rPr kumimoji="0" lang="en-US" altLang="zh-CN" sz="1200" b="0" i="0" u="none" strike="noStrike" kern="1200" cap="none" spc="0" normalizeH="0" baseline="0" noProof="0" dirty="0">
                <a:ln>
                  <a:noFill/>
                </a:ln>
                <a:solidFill>
                  <a:srgbClr val="000000"/>
                </a:solidFill>
                <a:effectLst/>
                <a:uLnTx/>
                <a:uFillTx/>
                <a:latin typeface="OPPOSans R"/>
                <a:ea typeface="OPPOSans R"/>
                <a:cs typeface="+mn-cs"/>
              </a:rPr>
              <a:t>PPT</a:t>
            </a:r>
            <a:r>
              <a:rPr kumimoji="0" lang="zh-CN" altLang="en-US" sz="1200" b="0" i="0" u="none" strike="noStrike" kern="1200" cap="none" spc="0" normalizeH="0" baseline="0" noProof="0" dirty="0">
                <a:ln>
                  <a:noFill/>
                </a:ln>
                <a:solidFill>
                  <a:srgbClr val="000000"/>
                </a:solidFill>
                <a:effectLst/>
                <a:uLnTx/>
                <a:uFillTx/>
                <a:latin typeface="OPPOSans R"/>
                <a:ea typeface="OPPOSans R"/>
                <a:cs typeface="+mn-cs"/>
              </a:rPr>
              <a:t>又快又轻松 </a:t>
            </a:r>
            <a:r>
              <a:rPr kumimoji="0" lang="en-US" altLang="zh-CN" sz="1200" b="0" i="0" u="none" strike="noStrike" kern="1200" cap="none" spc="0" normalizeH="0" baseline="0" noProof="0" dirty="0">
                <a:ln>
                  <a:noFill/>
                </a:ln>
                <a:solidFill>
                  <a:srgbClr val="000000"/>
                </a:solidFill>
                <a:effectLst/>
                <a:uLnTx/>
                <a:uFillTx/>
                <a:latin typeface="OPPOSans R"/>
                <a:ea typeface="OPPOSans R"/>
                <a:cs typeface="+mn-cs"/>
              </a:rPr>
              <a:t>-</a:t>
            </a:r>
          </a:p>
        </p:txBody>
      </p:sp>
      <p:sp>
        <p:nvSpPr>
          <p:cNvPr id="59" name="文本框 58">
            <a:extLst>
              <a:ext uri="{FF2B5EF4-FFF2-40B4-BE49-F238E27FC236}">
                <a16:creationId xmlns:a16="http://schemas.microsoft.com/office/drawing/2014/main" id="{C321A46B-2F11-CF16-AC38-ABD4641A7486}"/>
              </a:ext>
            </a:extLst>
          </p:cNvPr>
          <p:cNvSpPr txBox="1"/>
          <p:nvPr/>
        </p:nvSpPr>
        <p:spPr>
          <a:xfrm>
            <a:off x="3807540" y="2492515"/>
            <a:ext cx="1914343" cy="184666"/>
          </a:xfrm>
          <a:prstGeom prst="rect">
            <a:avLst/>
          </a:prstGeom>
          <a:noFill/>
        </p:spPr>
        <p:txBody>
          <a:bodyPr wrap="square" lIns="0" tIns="0" rIns="0" bIns="0">
            <a:spAutoFit/>
          </a:bodyPr>
          <a:lstStyle/>
          <a:p>
            <a:pPr marL="0" marR="0" lvl="0" indent="0" algn="ctr" defTabSz="913765" rtl="0" eaLnBrk="1" fontAlgn="auto" latinLnBrk="0" hangingPunct="1">
              <a:lnSpc>
                <a:spcPct val="100000"/>
              </a:lnSpc>
              <a:spcBef>
                <a:spcPts val="0"/>
              </a:spcBef>
              <a:spcAft>
                <a:spcPts val="0"/>
              </a:spcAft>
              <a:buClrTx/>
              <a:buSzPct val="80000"/>
              <a:buFontTx/>
              <a:buNone/>
              <a:tabLst/>
              <a:defRPr/>
            </a:pPr>
            <a:r>
              <a:rPr kumimoji="0" lang="en-US" altLang="zh-CN" sz="1200" b="0" i="0" u="none" strike="noStrike" kern="1200" cap="none" spc="0" normalizeH="0" baseline="0" noProof="0" dirty="0">
                <a:ln>
                  <a:noFill/>
                </a:ln>
                <a:solidFill>
                  <a:srgbClr val="000000"/>
                </a:solidFill>
                <a:effectLst/>
                <a:uLnTx/>
                <a:uFillTx/>
                <a:latin typeface="OPPOSans R"/>
                <a:ea typeface="OPPOSans R"/>
                <a:cs typeface="+mn-cs"/>
              </a:rPr>
              <a:t>- </a:t>
            </a:r>
            <a:r>
              <a:rPr kumimoji="0" lang="zh-CN" altLang="en-US" sz="1200" b="0" i="0" u="none" strike="noStrike" kern="1200" cap="none" spc="0" normalizeH="0" baseline="0" noProof="0" dirty="0">
                <a:ln>
                  <a:noFill/>
                </a:ln>
                <a:solidFill>
                  <a:srgbClr val="000000"/>
                </a:solidFill>
                <a:effectLst/>
                <a:uLnTx/>
                <a:uFillTx/>
                <a:latin typeface="OPPOSans R"/>
                <a:ea typeface="OPPOSans R"/>
                <a:cs typeface="+mn-cs"/>
              </a:rPr>
              <a:t>秋叶</a:t>
            </a:r>
            <a:r>
              <a:rPr kumimoji="0" lang="en-US" altLang="zh-CN" sz="1200" b="0" i="0" u="none" strike="noStrike" kern="1200" cap="none" spc="0" normalizeH="0" baseline="0" noProof="0" dirty="0">
                <a:ln>
                  <a:noFill/>
                </a:ln>
                <a:solidFill>
                  <a:srgbClr val="000000"/>
                </a:solidFill>
                <a:effectLst/>
                <a:uLnTx/>
                <a:uFillTx/>
                <a:latin typeface="OPPOSans R"/>
                <a:ea typeface="OPPOSans R"/>
                <a:cs typeface="+mn-cs"/>
              </a:rPr>
              <a:t>PPT</a:t>
            </a:r>
            <a:r>
              <a:rPr kumimoji="0" lang="zh-CN" altLang="en-US" sz="1200" b="0" i="0" u="none" strike="noStrike" kern="1200" cap="none" spc="0" normalizeH="0" baseline="0" noProof="0" dirty="0">
                <a:ln>
                  <a:noFill/>
                </a:ln>
                <a:solidFill>
                  <a:srgbClr val="000000"/>
                </a:solidFill>
                <a:effectLst/>
                <a:uLnTx/>
                <a:uFillTx/>
                <a:latin typeface="OPPOSans R"/>
                <a:ea typeface="OPPOSans R"/>
                <a:cs typeface="+mn-cs"/>
              </a:rPr>
              <a:t>又快又轻松 </a:t>
            </a:r>
            <a:r>
              <a:rPr kumimoji="0" lang="en-US" altLang="zh-CN" sz="1200" b="0" i="0" u="none" strike="noStrike" kern="1200" cap="none" spc="0" normalizeH="0" baseline="0" noProof="0" dirty="0">
                <a:ln>
                  <a:noFill/>
                </a:ln>
                <a:solidFill>
                  <a:srgbClr val="000000"/>
                </a:solidFill>
                <a:effectLst/>
                <a:uLnTx/>
                <a:uFillTx/>
                <a:latin typeface="OPPOSans R"/>
                <a:ea typeface="OPPOSans R"/>
                <a:cs typeface="+mn-cs"/>
              </a:rPr>
              <a:t>-</a:t>
            </a:r>
          </a:p>
        </p:txBody>
      </p:sp>
      <p:sp>
        <p:nvSpPr>
          <p:cNvPr id="60" name="文本框 59">
            <a:extLst>
              <a:ext uri="{FF2B5EF4-FFF2-40B4-BE49-F238E27FC236}">
                <a16:creationId xmlns:a16="http://schemas.microsoft.com/office/drawing/2014/main" id="{D9D6AB1C-8DB0-E3E8-9936-1CBE51EC9A87}"/>
              </a:ext>
            </a:extLst>
          </p:cNvPr>
          <p:cNvSpPr txBox="1"/>
          <p:nvPr/>
        </p:nvSpPr>
        <p:spPr>
          <a:xfrm>
            <a:off x="4204312" y="2933240"/>
            <a:ext cx="1914343" cy="184666"/>
          </a:xfrm>
          <a:prstGeom prst="rect">
            <a:avLst/>
          </a:prstGeom>
          <a:noFill/>
        </p:spPr>
        <p:txBody>
          <a:bodyPr wrap="square" lIns="0" tIns="0" rIns="0" bIns="0">
            <a:spAutoFit/>
          </a:bodyPr>
          <a:lstStyle/>
          <a:p>
            <a:pPr marL="0" marR="0" lvl="0" indent="0" algn="ctr" defTabSz="913765" rtl="0" eaLnBrk="1" fontAlgn="auto" latinLnBrk="0" hangingPunct="1">
              <a:lnSpc>
                <a:spcPct val="100000"/>
              </a:lnSpc>
              <a:spcBef>
                <a:spcPts val="0"/>
              </a:spcBef>
              <a:spcAft>
                <a:spcPts val="0"/>
              </a:spcAft>
              <a:buClrTx/>
              <a:buSzPct val="80000"/>
              <a:buFontTx/>
              <a:buNone/>
              <a:tabLst/>
              <a:defRPr/>
            </a:pPr>
            <a:r>
              <a:rPr kumimoji="0" lang="en-US" altLang="zh-CN" sz="1200" b="0" i="0" u="none" strike="noStrike" kern="1200" cap="none" spc="0" normalizeH="0" baseline="0" noProof="0" dirty="0">
                <a:ln>
                  <a:noFill/>
                </a:ln>
                <a:solidFill>
                  <a:srgbClr val="000000"/>
                </a:solidFill>
                <a:effectLst/>
                <a:uLnTx/>
                <a:uFillTx/>
                <a:latin typeface="OPPOSans R"/>
                <a:ea typeface="OPPOSans R"/>
                <a:cs typeface="+mn-cs"/>
              </a:rPr>
              <a:t>- </a:t>
            </a:r>
            <a:r>
              <a:rPr kumimoji="0" lang="zh-CN" altLang="en-US" sz="1200" b="0" i="0" u="none" strike="noStrike" kern="1200" cap="none" spc="0" normalizeH="0" baseline="0" noProof="0" dirty="0">
                <a:ln>
                  <a:noFill/>
                </a:ln>
                <a:solidFill>
                  <a:srgbClr val="000000"/>
                </a:solidFill>
                <a:effectLst/>
                <a:uLnTx/>
                <a:uFillTx/>
                <a:latin typeface="OPPOSans R"/>
                <a:ea typeface="OPPOSans R"/>
                <a:cs typeface="+mn-cs"/>
              </a:rPr>
              <a:t>秋叶</a:t>
            </a:r>
            <a:r>
              <a:rPr kumimoji="0" lang="en-US" altLang="zh-CN" sz="1200" b="0" i="0" u="none" strike="noStrike" kern="1200" cap="none" spc="0" normalizeH="0" baseline="0" noProof="0" dirty="0">
                <a:ln>
                  <a:noFill/>
                </a:ln>
                <a:solidFill>
                  <a:srgbClr val="000000"/>
                </a:solidFill>
                <a:effectLst/>
                <a:uLnTx/>
                <a:uFillTx/>
                <a:latin typeface="OPPOSans R"/>
                <a:ea typeface="OPPOSans R"/>
                <a:cs typeface="+mn-cs"/>
              </a:rPr>
              <a:t>PPT</a:t>
            </a:r>
            <a:r>
              <a:rPr kumimoji="0" lang="zh-CN" altLang="en-US" sz="1200" b="0" i="0" u="none" strike="noStrike" kern="1200" cap="none" spc="0" normalizeH="0" baseline="0" noProof="0" dirty="0">
                <a:ln>
                  <a:noFill/>
                </a:ln>
                <a:solidFill>
                  <a:srgbClr val="000000"/>
                </a:solidFill>
                <a:effectLst/>
                <a:uLnTx/>
                <a:uFillTx/>
                <a:latin typeface="OPPOSans R"/>
                <a:ea typeface="OPPOSans R"/>
                <a:cs typeface="+mn-cs"/>
              </a:rPr>
              <a:t>又快又轻松 </a:t>
            </a:r>
            <a:r>
              <a:rPr kumimoji="0" lang="en-US" altLang="zh-CN" sz="1200" b="0" i="0" u="none" strike="noStrike" kern="1200" cap="none" spc="0" normalizeH="0" baseline="0" noProof="0" dirty="0">
                <a:ln>
                  <a:noFill/>
                </a:ln>
                <a:solidFill>
                  <a:srgbClr val="000000"/>
                </a:solidFill>
                <a:effectLst/>
                <a:uLnTx/>
                <a:uFillTx/>
                <a:latin typeface="OPPOSans R"/>
                <a:ea typeface="OPPOSans R"/>
                <a:cs typeface="+mn-cs"/>
              </a:rPr>
              <a:t>-</a:t>
            </a:r>
          </a:p>
        </p:txBody>
      </p:sp>
      <p:sp>
        <p:nvSpPr>
          <p:cNvPr id="69" name="文本框 68">
            <a:extLst>
              <a:ext uri="{FF2B5EF4-FFF2-40B4-BE49-F238E27FC236}">
                <a16:creationId xmlns:a16="http://schemas.microsoft.com/office/drawing/2014/main" id="{77D0B821-374A-076C-5E43-534E9C0CE46D}"/>
              </a:ext>
            </a:extLst>
          </p:cNvPr>
          <p:cNvSpPr txBox="1"/>
          <p:nvPr/>
        </p:nvSpPr>
        <p:spPr>
          <a:xfrm rot="2693055">
            <a:off x="8590888" y="1938156"/>
            <a:ext cx="241707" cy="119939"/>
          </a:xfrm>
          <a:custGeom>
            <a:avLst/>
            <a:gdLst/>
            <a:ahLst/>
            <a:cxnLst/>
            <a:rect l="l" t="t" r="r" b="b"/>
            <a:pathLst>
              <a:path w="241707" h="119939">
                <a:moveTo>
                  <a:pt x="96850" y="9753"/>
                </a:moveTo>
                <a:lnTo>
                  <a:pt x="96850" y="63551"/>
                </a:lnTo>
                <a:lnTo>
                  <a:pt x="119405" y="63551"/>
                </a:lnTo>
                <a:cubicBezTo>
                  <a:pt x="127635" y="63551"/>
                  <a:pt x="134112" y="61163"/>
                  <a:pt x="138837" y="56388"/>
                </a:cubicBezTo>
                <a:cubicBezTo>
                  <a:pt x="143561" y="51613"/>
                  <a:pt x="145923" y="45009"/>
                  <a:pt x="145923" y="36576"/>
                </a:cubicBezTo>
                <a:cubicBezTo>
                  <a:pt x="145923" y="28245"/>
                  <a:pt x="143561" y="21691"/>
                  <a:pt x="138837" y="16916"/>
                </a:cubicBezTo>
                <a:cubicBezTo>
                  <a:pt x="134112" y="12141"/>
                  <a:pt x="127635" y="9753"/>
                  <a:pt x="119405" y="9753"/>
                </a:cubicBezTo>
                <a:close/>
                <a:moveTo>
                  <a:pt x="11125" y="9753"/>
                </a:moveTo>
                <a:lnTo>
                  <a:pt x="11125" y="63551"/>
                </a:lnTo>
                <a:lnTo>
                  <a:pt x="33681" y="63551"/>
                </a:lnTo>
                <a:cubicBezTo>
                  <a:pt x="41910" y="63551"/>
                  <a:pt x="48387" y="61163"/>
                  <a:pt x="53111" y="56388"/>
                </a:cubicBezTo>
                <a:cubicBezTo>
                  <a:pt x="57836" y="51613"/>
                  <a:pt x="60198" y="45009"/>
                  <a:pt x="60198" y="36576"/>
                </a:cubicBezTo>
                <a:cubicBezTo>
                  <a:pt x="60198" y="28245"/>
                  <a:pt x="57836" y="21691"/>
                  <a:pt x="53111" y="16916"/>
                </a:cubicBezTo>
                <a:cubicBezTo>
                  <a:pt x="48387" y="12141"/>
                  <a:pt x="41910" y="9753"/>
                  <a:pt x="33681" y="9753"/>
                </a:cubicBezTo>
                <a:close/>
                <a:moveTo>
                  <a:pt x="165507" y="0"/>
                </a:moveTo>
                <a:lnTo>
                  <a:pt x="241707" y="0"/>
                </a:lnTo>
                <a:lnTo>
                  <a:pt x="241707" y="10058"/>
                </a:lnTo>
                <a:lnTo>
                  <a:pt x="209245" y="10058"/>
                </a:lnTo>
                <a:lnTo>
                  <a:pt x="209245" y="119939"/>
                </a:lnTo>
                <a:lnTo>
                  <a:pt x="197968" y="119939"/>
                </a:lnTo>
                <a:lnTo>
                  <a:pt x="197968" y="10058"/>
                </a:lnTo>
                <a:lnTo>
                  <a:pt x="165507" y="10058"/>
                </a:lnTo>
                <a:close/>
                <a:moveTo>
                  <a:pt x="85725" y="0"/>
                </a:moveTo>
                <a:lnTo>
                  <a:pt x="120777" y="0"/>
                </a:lnTo>
                <a:cubicBezTo>
                  <a:pt x="128092" y="0"/>
                  <a:pt x="134519" y="1498"/>
                  <a:pt x="140056" y="4496"/>
                </a:cubicBezTo>
                <a:cubicBezTo>
                  <a:pt x="145593" y="7493"/>
                  <a:pt x="149860" y="11760"/>
                  <a:pt x="152857" y="17297"/>
                </a:cubicBezTo>
                <a:cubicBezTo>
                  <a:pt x="155855" y="22834"/>
                  <a:pt x="157353" y="29261"/>
                  <a:pt x="157353" y="36576"/>
                </a:cubicBezTo>
                <a:cubicBezTo>
                  <a:pt x="157353" y="43891"/>
                  <a:pt x="155855" y="50317"/>
                  <a:pt x="152857" y="55854"/>
                </a:cubicBezTo>
                <a:cubicBezTo>
                  <a:pt x="149860" y="61392"/>
                  <a:pt x="145593" y="65684"/>
                  <a:pt x="140056" y="68732"/>
                </a:cubicBezTo>
                <a:cubicBezTo>
                  <a:pt x="134519" y="71780"/>
                  <a:pt x="128092" y="73304"/>
                  <a:pt x="120777" y="73304"/>
                </a:cubicBezTo>
                <a:lnTo>
                  <a:pt x="96850" y="73304"/>
                </a:lnTo>
                <a:lnTo>
                  <a:pt x="96850" y="119939"/>
                </a:lnTo>
                <a:lnTo>
                  <a:pt x="85725" y="119939"/>
                </a:lnTo>
                <a:close/>
                <a:moveTo>
                  <a:pt x="0" y="0"/>
                </a:moveTo>
                <a:lnTo>
                  <a:pt x="35052" y="0"/>
                </a:lnTo>
                <a:cubicBezTo>
                  <a:pt x="42367" y="0"/>
                  <a:pt x="48794" y="1498"/>
                  <a:pt x="54331" y="4496"/>
                </a:cubicBezTo>
                <a:cubicBezTo>
                  <a:pt x="59868" y="7493"/>
                  <a:pt x="64135" y="11760"/>
                  <a:pt x="67132" y="17297"/>
                </a:cubicBezTo>
                <a:cubicBezTo>
                  <a:pt x="70129" y="22834"/>
                  <a:pt x="71628" y="29261"/>
                  <a:pt x="71628" y="36576"/>
                </a:cubicBezTo>
                <a:cubicBezTo>
                  <a:pt x="71628" y="43891"/>
                  <a:pt x="70129" y="50317"/>
                  <a:pt x="67132" y="55854"/>
                </a:cubicBezTo>
                <a:cubicBezTo>
                  <a:pt x="64135" y="61392"/>
                  <a:pt x="59868" y="65684"/>
                  <a:pt x="54331" y="68732"/>
                </a:cubicBezTo>
                <a:cubicBezTo>
                  <a:pt x="48794" y="71780"/>
                  <a:pt x="42367" y="73304"/>
                  <a:pt x="35052" y="73304"/>
                </a:cubicBezTo>
                <a:lnTo>
                  <a:pt x="11125" y="73304"/>
                </a:lnTo>
                <a:lnTo>
                  <a:pt x="11125" y="119939"/>
                </a:lnTo>
                <a:lnTo>
                  <a:pt x="0" y="119939"/>
                </a:lnTo>
                <a:close/>
              </a:path>
            </a:pathLst>
          </a:custGeom>
          <a:solidFill>
            <a:prstClr val="white"/>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200" b="0" i="0" u="none" strike="noStrike" kern="1200" cap="none" spc="0" normalizeH="0" baseline="0" noProof="0" dirty="0">
              <a:ln>
                <a:noFill/>
              </a:ln>
              <a:solidFill>
                <a:prstClr val="white"/>
              </a:solidFill>
              <a:effectLst/>
              <a:uLnTx/>
              <a:uFillTx/>
              <a:latin typeface="OPPOSans R"/>
              <a:ea typeface="OPPOSans R"/>
              <a:cs typeface="+mn-cs"/>
            </a:endParaRPr>
          </a:p>
        </p:txBody>
      </p:sp>
      <p:sp>
        <p:nvSpPr>
          <p:cNvPr id="71" name="文本框 70">
            <a:extLst>
              <a:ext uri="{FF2B5EF4-FFF2-40B4-BE49-F238E27FC236}">
                <a16:creationId xmlns:a16="http://schemas.microsoft.com/office/drawing/2014/main" id="{D345F791-B66C-627C-8971-55DF0A2EBF35}"/>
              </a:ext>
            </a:extLst>
          </p:cNvPr>
          <p:cNvSpPr txBox="1"/>
          <p:nvPr/>
        </p:nvSpPr>
        <p:spPr>
          <a:xfrm rot="2693055">
            <a:off x="5984643" y="2450711"/>
            <a:ext cx="241707" cy="119939"/>
          </a:xfrm>
          <a:custGeom>
            <a:avLst/>
            <a:gdLst/>
            <a:ahLst/>
            <a:cxnLst/>
            <a:rect l="l" t="t" r="r" b="b"/>
            <a:pathLst>
              <a:path w="241707" h="119939">
                <a:moveTo>
                  <a:pt x="96850" y="9753"/>
                </a:moveTo>
                <a:lnTo>
                  <a:pt x="96850" y="63551"/>
                </a:lnTo>
                <a:lnTo>
                  <a:pt x="119405" y="63551"/>
                </a:lnTo>
                <a:cubicBezTo>
                  <a:pt x="127635" y="63551"/>
                  <a:pt x="134112" y="61163"/>
                  <a:pt x="138837" y="56388"/>
                </a:cubicBezTo>
                <a:cubicBezTo>
                  <a:pt x="143561" y="51613"/>
                  <a:pt x="145923" y="45009"/>
                  <a:pt x="145923" y="36576"/>
                </a:cubicBezTo>
                <a:cubicBezTo>
                  <a:pt x="145923" y="28245"/>
                  <a:pt x="143561" y="21691"/>
                  <a:pt x="138837" y="16916"/>
                </a:cubicBezTo>
                <a:cubicBezTo>
                  <a:pt x="134112" y="12141"/>
                  <a:pt x="127635" y="9753"/>
                  <a:pt x="119405" y="9753"/>
                </a:cubicBezTo>
                <a:close/>
                <a:moveTo>
                  <a:pt x="11125" y="9753"/>
                </a:moveTo>
                <a:lnTo>
                  <a:pt x="11125" y="63551"/>
                </a:lnTo>
                <a:lnTo>
                  <a:pt x="33681" y="63551"/>
                </a:lnTo>
                <a:cubicBezTo>
                  <a:pt x="41910" y="63551"/>
                  <a:pt x="48387" y="61163"/>
                  <a:pt x="53111" y="56388"/>
                </a:cubicBezTo>
                <a:cubicBezTo>
                  <a:pt x="57836" y="51613"/>
                  <a:pt x="60198" y="45009"/>
                  <a:pt x="60198" y="36576"/>
                </a:cubicBezTo>
                <a:cubicBezTo>
                  <a:pt x="60198" y="28245"/>
                  <a:pt x="57836" y="21691"/>
                  <a:pt x="53111" y="16916"/>
                </a:cubicBezTo>
                <a:cubicBezTo>
                  <a:pt x="48387" y="12141"/>
                  <a:pt x="41910" y="9753"/>
                  <a:pt x="33681" y="9753"/>
                </a:cubicBezTo>
                <a:close/>
                <a:moveTo>
                  <a:pt x="165507" y="0"/>
                </a:moveTo>
                <a:lnTo>
                  <a:pt x="241707" y="0"/>
                </a:lnTo>
                <a:lnTo>
                  <a:pt x="241707" y="10058"/>
                </a:lnTo>
                <a:lnTo>
                  <a:pt x="209245" y="10058"/>
                </a:lnTo>
                <a:lnTo>
                  <a:pt x="209245" y="119939"/>
                </a:lnTo>
                <a:lnTo>
                  <a:pt x="197968" y="119939"/>
                </a:lnTo>
                <a:lnTo>
                  <a:pt x="197968" y="10058"/>
                </a:lnTo>
                <a:lnTo>
                  <a:pt x="165507" y="10058"/>
                </a:lnTo>
                <a:close/>
                <a:moveTo>
                  <a:pt x="85725" y="0"/>
                </a:moveTo>
                <a:lnTo>
                  <a:pt x="120777" y="0"/>
                </a:lnTo>
                <a:cubicBezTo>
                  <a:pt x="128092" y="0"/>
                  <a:pt x="134519" y="1498"/>
                  <a:pt x="140056" y="4496"/>
                </a:cubicBezTo>
                <a:cubicBezTo>
                  <a:pt x="145593" y="7493"/>
                  <a:pt x="149860" y="11760"/>
                  <a:pt x="152857" y="17297"/>
                </a:cubicBezTo>
                <a:cubicBezTo>
                  <a:pt x="155855" y="22834"/>
                  <a:pt x="157353" y="29261"/>
                  <a:pt x="157353" y="36576"/>
                </a:cubicBezTo>
                <a:cubicBezTo>
                  <a:pt x="157353" y="43891"/>
                  <a:pt x="155855" y="50317"/>
                  <a:pt x="152857" y="55854"/>
                </a:cubicBezTo>
                <a:cubicBezTo>
                  <a:pt x="149860" y="61392"/>
                  <a:pt x="145593" y="65684"/>
                  <a:pt x="140056" y="68732"/>
                </a:cubicBezTo>
                <a:cubicBezTo>
                  <a:pt x="134519" y="71780"/>
                  <a:pt x="128092" y="73304"/>
                  <a:pt x="120777" y="73304"/>
                </a:cubicBezTo>
                <a:lnTo>
                  <a:pt x="96850" y="73304"/>
                </a:lnTo>
                <a:lnTo>
                  <a:pt x="96850" y="119939"/>
                </a:lnTo>
                <a:lnTo>
                  <a:pt x="85725" y="119939"/>
                </a:lnTo>
                <a:close/>
                <a:moveTo>
                  <a:pt x="0" y="0"/>
                </a:moveTo>
                <a:lnTo>
                  <a:pt x="35052" y="0"/>
                </a:lnTo>
                <a:cubicBezTo>
                  <a:pt x="42367" y="0"/>
                  <a:pt x="48794" y="1498"/>
                  <a:pt x="54331" y="4496"/>
                </a:cubicBezTo>
                <a:cubicBezTo>
                  <a:pt x="59868" y="7493"/>
                  <a:pt x="64135" y="11760"/>
                  <a:pt x="67132" y="17297"/>
                </a:cubicBezTo>
                <a:cubicBezTo>
                  <a:pt x="70129" y="22834"/>
                  <a:pt x="71628" y="29261"/>
                  <a:pt x="71628" y="36576"/>
                </a:cubicBezTo>
                <a:cubicBezTo>
                  <a:pt x="71628" y="43891"/>
                  <a:pt x="70129" y="50317"/>
                  <a:pt x="67132" y="55854"/>
                </a:cubicBezTo>
                <a:cubicBezTo>
                  <a:pt x="64135" y="61392"/>
                  <a:pt x="59868" y="65684"/>
                  <a:pt x="54331" y="68732"/>
                </a:cubicBezTo>
                <a:cubicBezTo>
                  <a:pt x="48794" y="71780"/>
                  <a:pt x="42367" y="73304"/>
                  <a:pt x="35052" y="73304"/>
                </a:cubicBezTo>
                <a:lnTo>
                  <a:pt x="11125" y="73304"/>
                </a:lnTo>
                <a:lnTo>
                  <a:pt x="11125" y="119939"/>
                </a:lnTo>
                <a:lnTo>
                  <a:pt x="0" y="119939"/>
                </a:lnTo>
                <a:close/>
              </a:path>
            </a:pathLst>
          </a:custGeom>
          <a:solidFill>
            <a:prstClr val="white"/>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200" b="0" i="0" u="none" strike="noStrike" kern="1200" cap="none" spc="0" normalizeH="0" baseline="0" noProof="0" dirty="0">
              <a:ln>
                <a:noFill/>
              </a:ln>
              <a:solidFill>
                <a:prstClr val="white"/>
              </a:solidFill>
              <a:effectLst/>
              <a:uLnTx/>
              <a:uFillTx/>
              <a:latin typeface="OPPOSans R"/>
              <a:ea typeface="OPPOSans R"/>
              <a:cs typeface="+mn-cs"/>
            </a:endParaRPr>
          </a:p>
        </p:txBody>
      </p:sp>
      <p:sp>
        <p:nvSpPr>
          <p:cNvPr id="78" name="文本框 77">
            <a:extLst>
              <a:ext uri="{FF2B5EF4-FFF2-40B4-BE49-F238E27FC236}">
                <a16:creationId xmlns:a16="http://schemas.microsoft.com/office/drawing/2014/main" id="{D8BD64F2-D3D3-75B5-9C3D-538903F2634C}"/>
              </a:ext>
            </a:extLst>
          </p:cNvPr>
          <p:cNvSpPr txBox="1"/>
          <p:nvPr/>
        </p:nvSpPr>
        <p:spPr>
          <a:xfrm rot="2693055">
            <a:off x="3347217" y="2927272"/>
            <a:ext cx="241707" cy="119939"/>
          </a:xfrm>
          <a:custGeom>
            <a:avLst/>
            <a:gdLst/>
            <a:ahLst/>
            <a:cxnLst/>
            <a:rect l="l" t="t" r="r" b="b"/>
            <a:pathLst>
              <a:path w="241707" h="119939">
                <a:moveTo>
                  <a:pt x="96850" y="9753"/>
                </a:moveTo>
                <a:lnTo>
                  <a:pt x="96850" y="63551"/>
                </a:lnTo>
                <a:lnTo>
                  <a:pt x="119405" y="63551"/>
                </a:lnTo>
                <a:cubicBezTo>
                  <a:pt x="127635" y="63551"/>
                  <a:pt x="134112" y="61163"/>
                  <a:pt x="138837" y="56388"/>
                </a:cubicBezTo>
                <a:cubicBezTo>
                  <a:pt x="143561" y="51613"/>
                  <a:pt x="145923" y="45009"/>
                  <a:pt x="145923" y="36576"/>
                </a:cubicBezTo>
                <a:cubicBezTo>
                  <a:pt x="145923" y="28245"/>
                  <a:pt x="143561" y="21691"/>
                  <a:pt x="138837" y="16916"/>
                </a:cubicBezTo>
                <a:cubicBezTo>
                  <a:pt x="134112" y="12141"/>
                  <a:pt x="127635" y="9753"/>
                  <a:pt x="119405" y="9753"/>
                </a:cubicBezTo>
                <a:close/>
                <a:moveTo>
                  <a:pt x="11125" y="9753"/>
                </a:moveTo>
                <a:lnTo>
                  <a:pt x="11125" y="63551"/>
                </a:lnTo>
                <a:lnTo>
                  <a:pt x="33681" y="63551"/>
                </a:lnTo>
                <a:cubicBezTo>
                  <a:pt x="41910" y="63551"/>
                  <a:pt x="48387" y="61163"/>
                  <a:pt x="53111" y="56388"/>
                </a:cubicBezTo>
                <a:cubicBezTo>
                  <a:pt x="57836" y="51613"/>
                  <a:pt x="60198" y="45009"/>
                  <a:pt x="60198" y="36576"/>
                </a:cubicBezTo>
                <a:cubicBezTo>
                  <a:pt x="60198" y="28245"/>
                  <a:pt x="57836" y="21691"/>
                  <a:pt x="53111" y="16916"/>
                </a:cubicBezTo>
                <a:cubicBezTo>
                  <a:pt x="48387" y="12141"/>
                  <a:pt x="41910" y="9753"/>
                  <a:pt x="33681" y="9753"/>
                </a:cubicBezTo>
                <a:close/>
                <a:moveTo>
                  <a:pt x="165507" y="0"/>
                </a:moveTo>
                <a:lnTo>
                  <a:pt x="241707" y="0"/>
                </a:lnTo>
                <a:lnTo>
                  <a:pt x="241707" y="10058"/>
                </a:lnTo>
                <a:lnTo>
                  <a:pt x="209245" y="10058"/>
                </a:lnTo>
                <a:lnTo>
                  <a:pt x="209245" y="119939"/>
                </a:lnTo>
                <a:lnTo>
                  <a:pt x="197968" y="119939"/>
                </a:lnTo>
                <a:lnTo>
                  <a:pt x="197968" y="10058"/>
                </a:lnTo>
                <a:lnTo>
                  <a:pt x="165507" y="10058"/>
                </a:lnTo>
                <a:close/>
                <a:moveTo>
                  <a:pt x="85725" y="0"/>
                </a:moveTo>
                <a:lnTo>
                  <a:pt x="120777" y="0"/>
                </a:lnTo>
                <a:cubicBezTo>
                  <a:pt x="128092" y="0"/>
                  <a:pt x="134519" y="1498"/>
                  <a:pt x="140056" y="4496"/>
                </a:cubicBezTo>
                <a:cubicBezTo>
                  <a:pt x="145593" y="7493"/>
                  <a:pt x="149860" y="11760"/>
                  <a:pt x="152857" y="17297"/>
                </a:cubicBezTo>
                <a:cubicBezTo>
                  <a:pt x="155855" y="22834"/>
                  <a:pt x="157353" y="29261"/>
                  <a:pt x="157353" y="36576"/>
                </a:cubicBezTo>
                <a:cubicBezTo>
                  <a:pt x="157353" y="43891"/>
                  <a:pt x="155855" y="50317"/>
                  <a:pt x="152857" y="55854"/>
                </a:cubicBezTo>
                <a:cubicBezTo>
                  <a:pt x="149860" y="61392"/>
                  <a:pt x="145593" y="65684"/>
                  <a:pt x="140056" y="68732"/>
                </a:cubicBezTo>
                <a:cubicBezTo>
                  <a:pt x="134519" y="71780"/>
                  <a:pt x="128092" y="73304"/>
                  <a:pt x="120777" y="73304"/>
                </a:cubicBezTo>
                <a:lnTo>
                  <a:pt x="96850" y="73304"/>
                </a:lnTo>
                <a:lnTo>
                  <a:pt x="96850" y="119939"/>
                </a:lnTo>
                <a:lnTo>
                  <a:pt x="85725" y="119939"/>
                </a:lnTo>
                <a:close/>
                <a:moveTo>
                  <a:pt x="0" y="0"/>
                </a:moveTo>
                <a:lnTo>
                  <a:pt x="35052" y="0"/>
                </a:lnTo>
                <a:cubicBezTo>
                  <a:pt x="42367" y="0"/>
                  <a:pt x="48794" y="1498"/>
                  <a:pt x="54331" y="4496"/>
                </a:cubicBezTo>
                <a:cubicBezTo>
                  <a:pt x="59868" y="7493"/>
                  <a:pt x="64135" y="11760"/>
                  <a:pt x="67132" y="17297"/>
                </a:cubicBezTo>
                <a:cubicBezTo>
                  <a:pt x="70129" y="22834"/>
                  <a:pt x="71628" y="29261"/>
                  <a:pt x="71628" y="36576"/>
                </a:cubicBezTo>
                <a:cubicBezTo>
                  <a:pt x="71628" y="43891"/>
                  <a:pt x="70129" y="50317"/>
                  <a:pt x="67132" y="55854"/>
                </a:cubicBezTo>
                <a:cubicBezTo>
                  <a:pt x="64135" y="61392"/>
                  <a:pt x="59868" y="65684"/>
                  <a:pt x="54331" y="68732"/>
                </a:cubicBezTo>
                <a:cubicBezTo>
                  <a:pt x="48794" y="71780"/>
                  <a:pt x="42367" y="73304"/>
                  <a:pt x="35052" y="73304"/>
                </a:cubicBezTo>
                <a:lnTo>
                  <a:pt x="11125" y="73304"/>
                </a:lnTo>
                <a:lnTo>
                  <a:pt x="11125" y="119939"/>
                </a:lnTo>
                <a:lnTo>
                  <a:pt x="0" y="119939"/>
                </a:lnTo>
                <a:close/>
              </a:path>
            </a:pathLst>
          </a:custGeom>
          <a:solidFill>
            <a:prstClr val="white"/>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200" b="0" i="0" u="none" strike="noStrike" kern="1200" cap="none" spc="0" normalizeH="0" baseline="0" noProof="0" dirty="0">
              <a:ln>
                <a:noFill/>
              </a:ln>
              <a:solidFill>
                <a:prstClr val="white"/>
              </a:solidFill>
              <a:effectLst/>
              <a:uLnTx/>
              <a:uFillTx/>
              <a:latin typeface="OPPOSans R"/>
              <a:ea typeface="OPPOSans R"/>
              <a:cs typeface="+mn-cs"/>
            </a:endParaRPr>
          </a:p>
        </p:txBody>
      </p:sp>
      <p:sp>
        <p:nvSpPr>
          <p:cNvPr id="79" name="文本框 78">
            <a:extLst>
              <a:ext uri="{FF2B5EF4-FFF2-40B4-BE49-F238E27FC236}">
                <a16:creationId xmlns:a16="http://schemas.microsoft.com/office/drawing/2014/main" id="{9B3718AD-2CBD-BC58-4343-2CFC75B10415}"/>
              </a:ext>
            </a:extLst>
          </p:cNvPr>
          <p:cNvSpPr txBox="1"/>
          <p:nvPr/>
        </p:nvSpPr>
        <p:spPr>
          <a:xfrm rot="19096118">
            <a:off x="3339302" y="4479612"/>
            <a:ext cx="241707" cy="119939"/>
          </a:xfrm>
          <a:custGeom>
            <a:avLst/>
            <a:gdLst/>
            <a:ahLst/>
            <a:cxnLst/>
            <a:rect l="l" t="t" r="r" b="b"/>
            <a:pathLst>
              <a:path w="241707" h="119939">
                <a:moveTo>
                  <a:pt x="96850" y="9753"/>
                </a:moveTo>
                <a:lnTo>
                  <a:pt x="96850" y="63551"/>
                </a:lnTo>
                <a:lnTo>
                  <a:pt x="119405" y="63551"/>
                </a:lnTo>
                <a:cubicBezTo>
                  <a:pt x="127635" y="63551"/>
                  <a:pt x="134112" y="61163"/>
                  <a:pt x="138837" y="56388"/>
                </a:cubicBezTo>
                <a:cubicBezTo>
                  <a:pt x="143561" y="51613"/>
                  <a:pt x="145923" y="45009"/>
                  <a:pt x="145923" y="36576"/>
                </a:cubicBezTo>
                <a:cubicBezTo>
                  <a:pt x="145923" y="28245"/>
                  <a:pt x="143561" y="21691"/>
                  <a:pt x="138837" y="16916"/>
                </a:cubicBezTo>
                <a:cubicBezTo>
                  <a:pt x="134112" y="12141"/>
                  <a:pt x="127635" y="9753"/>
                  <a:pt x="119405" y="9753"/>
                </a:cubicBezTo>
                <a:close/>
                <a:moveTo>
                  <a:pt x="11125" y="9753"/>
                </a:moveTo>
                <a:lnTo>
                  <a:pt x="11125" y="63551"/>
                </a:lnTo>
                <a:lnTo>
                  <a:pt x="33681" y="63551"/>
                </a:lnTo>
                <a:cubicBezTo>
                  <a:pt x="41910" y="63551"/>
                  <a:pt x="48387" y="61163"/>
                  <a:pt x="53111" y="56388"/>
                </a:cubicBezTo>
                <a:cubicBezTo>
                  <a:pt x="57836" y="51613"/>
                  <a:pt x="60198" y="45009"/>
                  <a:pt x="60198" y="36576"/>
                </a:cubicBezTo>
                <a:cubicBezTo>
                  <a:pt x="60198" y="28245"/>
                  <a:pt x="57836" y="21691"/>
                  <a:pt x="53111" y="16916"/>
                </a:cubicBezTo>
                <a:cubicBezTo>
                  <a:pt x="48387" y="12141"/>
                  <a:pt x="41910" y="9753"/>
                  <a:pt x="33681" y="9753"/>
                </a:cubicBezTo>
                <a:close/>
                <a:moveTo>
                  <a:pt x="165507" y="0"/>
                </a:moveTo>
                <a:lnTo>
                  <a:pt x="241707" y="0"/>
                </a:lnTo>
                <a:lnTo>
                  <a:pt x="241707" y="10058"/>
                </a:lnTo>
                <a:lnTo>
                  <a:pt x="209245" y="10058"/>
                </a:lnTo>
                <a:lnTo>
                  <a:pt x="209245" y="119939"/>
                </a:lnTo>
                <a:lnTo>
                  <a:pt x="197968" y="119939"/>
                </a:lnTo>
                <a:lnTo>
                  <a:pt x="197968" y="10058"/>
                </a:lnTo>
                <a:lnTo>
                  <a:pt x="165507" y="10058"/>
                </a:lnTo>
                <a:close/>
                <a:moveTo>
                  <a:pt x="85725" y="0"/>
                </a:moveTo>
                <a:lnTo>
                  <a:pt x="120777" y="0"/>
                </a:lnTo>
                <a:cubicBezTo>
                  <a:pt x="128092" y="0"/>
                  <a:pt x="134519" y="1498"/>
                  <a:pt x="140056" y="4496"/>
                </a:cubicBezTo>
                <a:cubicBezTo>
                  <a:pt x="145593" y="7493"/>
                  <a:pt x="149860" y="11760"/>
                  <a:pt x="152857" y="17297"/>
                </a:cubicBezTo>
                <a:cubicBezTo>
                  <a:pt x="155855" y="22834"/>
                  <a:pt x="157353" y="29261"/>
                  <a:pt x="157353" y="36576"/>
                </a:cubicBezTo>
                <a:cubicBezTo>
                  <a:pt x="157353" y="43891"/>
                  <a:pt x="155855" y="50317"/>
                  <a:pt x="152857" y="55854"/>
                </a:cubicBezTo>
                <a:cubicBezTo>
                  <a:pt x="149860" y="61392"/>
                  <a:pt x="145593" y="65684"/>
                  <a:pt x="140056" y="68732"/>
                </a:cubicBezTo>
                <a:cubicBezTo>
                  <a:pt x="134519" y="71780"/>
                  <a:pt x="128092" y="73304"/>
                  <a:pt x="120777" y="73304"/>
                </a:cubicBezTo>
                <a:lnTo>
                  <a:pt x="96850" y="73304"/>
                </a:lnTo>
                <a:lnTo>
                  <a:pt x="96850" y="119939"/>
                </a:lnTo>
                <a:lnTo>
                  <a:pt x="85725" y="119939"/>
                </a:lnTo>
                <a:close/>
                <a:moveTo>
                  <a:pt x="0" y="0"/>
                </a:moveTo>
                <a:lnTo>
                  <a:pt x="35052" y="0"/>
                </a:lnTo>
                <a:cubicBezTo>
                  <a:pt x="42367" y="0"/>
                  <a:pt x="48794" y="1498"/>
                  <a:pt x="54331" y="4496"/>
                </a:cubicBezTo>
                <a:cubicBezTo>
                  <a:pt x="59868" y="7493"/>
                  <a:pt x="64135" y="11760"/>
                  <a:pt x="67132" y="17297"/>
                </a:cubicBezTo>
                <a:cubicBezTo>
                  <a:pt x="70129" y="22834"/>
                  <a:pt x="71628" y="29261"/>
                  <a:pt x="71628" y="36576"/>
                </a:cubicBezTo>
                <a:cubicBezTo>
                  <a:pt x="71628" y="43891"/>
                  <a:pt x="70129" y="50317"/>
                  <a:pt x="67132" y="55854"/>
                </a:cubicBezTo>
                <a:cubicBezTo>
                  <a:pt x="64135" y="61392"/>
                  <a:pt x="59868" y="65684"/>
                  <a:pt x="54331" y="68732"/>
                </a:cubicBezTo>
                <a:cubicBezTo>
                  <a:pt x="48794" y="71780"/>
                  <a:pt x="42367" y="73304"/>
                  <a:pt x="35052" y="73304"/>
                </a:cubicBezTo>
                <a:lnTo>
                  <a:pt x="11125" y="73304"/>
                </a:lnTo>
                <a:lnTo>
                  <a:pt x="11125" y="119939"/>
                </a:lnTo>
                <a:lnTo>
                  <a:pt x="0" y="119939"/>
                </a:lnTo>
                <a:close/>
              </a:path>
            </a:pathLst>
          </a:custGeom>
          <a:solidFill>
            <a:prstClr val="white"/>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200" b="0" i="0" u="none" strike="noStrike" kern="1200" cap="none" spc="0" normalizeH="0" baseline="0" noProof="0" dirty="0">
              <a:ln>
                <a:noFill/>
              </a:ln>
              <a:solidFill>
                <a:prstClr val="white"/>
              </a:solidFill>
              <a:effectLst/>
              <a:uLnTx/>
              <a:uFillTx/>
              <a:latin typeface="OPPOSans R"/>
              <a:ea typeface="OPPOSans R"/>
              <a:cs typeface="+mn-cs"/>
            </a:endParaRPr>
          </a:p>
        </p:txBody>
      </p:sp>
      <p:sp>
        <p:nvSpPr>
          <p:cNvPr id="85" name="文本框 84">
            <a:extLst>
              <a:ext uri="{FF2B5EF4-FFF2-40B4-BE49-F238E27FC236}">
                <a16:creationId xmlns:a16="http://schemas.microsoft.com/office/drawing/2014/main" id="{FA68D737-5AB4-2D5F-80CC-8160B3A5C9BB}"/>
              </a:ext>
            </a:extLst>
          </p:cNvPr>
          <p:cNvSpPr txBox="1"/>
          <p:nvPr/>
        </p:nvSpPr>
        <p:spPr>
          <a:xfrm rot="19096118">
            <a:off x="5975146" y="4954387"/>
            <a:ext cx="241707" cy="119939"/>
          </a:xfrm>
          <a:custGeom>
            <a:avLst/>
            <a:gdLst/>
            <a:ahLst/>
            <a:cxnLst/>
            <a:rect l="l" t="t" r="r" b="b"/>
            <a:pathLst>
              <a:path w="241707" h="119939">
                <a:moveTo>
                  <a:pt x="96850" y="9753"/>
                </a:moveTo>
                <a:lnTo>
                  <a:pt x="96850" y="63551"/>
                </a:lnTo>
                <a:lnTo>
                  <a:pt x="119405" y="63551"/>
                </a:lnTo>
                <a:cubicBezTo>
                  <a:pt x="127635" y="63551"/>
                  <a:pt x="134112" y="61163"/>
                  <a:pt x="138837" y="56388"/>
                </a:cubicBezTo>
                <a:cubicBezTo>
                  <a:pt x="143561" y="51613"/>
                  <a:pt x="145923" y="45009"/>
                  <a:pt x="145923" y="36576"/>
                </a:cubicBezTo>
                <a:cubicBezTo>
                  <a:pt x="145923" y="28245"/>
                  <a:pt x="143561" y="21691"/>
                  <a:pt x="138837" y="16916"/>
                </a:cubicBezTo>
                <a:cubicBezTo>
                  <a:pt x="134112" y="12141"/>
                  <a:pt x="127635" y="9753"/>
                  <a:pt x="119405" y="9753"/>
                </a:cubicBezTo>
                <a:close/>
                <a:moveTo>
                  <a:pt x="11125" y="9753"/>
                </a:moveTo>
                <a:lnTo>
                  <a:pt x="11125" y="63551"/>
                </a:lnTo>
                <a:lnTo>
                  <a:pt x="33681" y="63551"/>
                </a:lnTo>
                <a:cubicBezTo>
                  <a:pt x="41910" y="63551"/>
                  <a:pt x="48387" y="61163"/>
                  <a:pt x="53111" y="56388"/>
                </a:cubicBezTo>
                <a:cubicBezTo>
                  <a:pt x="57836" y="51613"/>
                  <a:pt x="60198" y="45009"/>
                  <a:pt x="60198" y="36576"/>
                </a:cubicBezTo>
                <a:cubicBezTo>
                  <a:pt x="60198" y="28245"/>
                  <a:pt x="57836" y="21691"/>
                  <a:pt x="53111" y="16916"/>
                </a:cubicBezTo>
                <a:cubicBezTo>
                  <a:pt x="48387" y="12141"/>
                  <a:pt x="41910" y="9753"/>
                  <a:pt x="33681" y="9753"/>
                </a:cubicBezTo>
                <a:close/>
                <a:moveTo>
                  <a:pt x="165507" y="0"/>
                </a:moveTo>
                <a:lnTo>
                  <a:pt x="241707" y="0"/>
                </a:lnTo>
                <a:lnTo>
                  <a:pt x="241707" y="10058"/>
                </a:lnTo>
                <a:lnTo>
                  <a:pt x="209245" y="10058"/>
                </a:lnTo>
                <a:lnTo>
                  <a:pt x="209245" y="119939"/>
                </a:lnTo>
                <a:lnTo>
                  <a:pt x="197968" y="119939"/>
                </a:lnTo>
                <a:lnTo>
                  <a:pt x="197968" y="10058"/>
                </a:lnTo>
                <a:lnTo>
                  <a:pt x="165507" y="10058"/>
                </a:lnTo>
                <a:close/>
                <a:moveTo>
                  <a:pt x="85725" y="0"/>
                </a:moveTo>
                <a:lnTo>
                  <a:pt x="120777" y="0"/>
                </a:lnTo>
                <a:cubicBezTo>
                  <a:pt x="128092" y="0"/>
                  <a:pt x="134519" y="1498"/>
                  <a:pt x="140056" y="4496"/>
                </a:cubicBezTo>
                <a:cubicBezTo>
                  <a:pt x="145593" y="7493"/>
                  <a:pt x="149860" y="11760"/>
                  <a:pt x="152857" y="17297"/>
                </a:cubicBezTo>
                <a:cubicBezTo>
                  <a:pt x="155855" y="22834"/>
                  <a:pt x="157353" y="29261"/>
                  <a:pt x="157353" y="36576"/>
                </a:cubicBezTo>
                <a:cubicBezTo>
                  <a:pt x="157353" y="43891"/>
                  <a:pt x="155855" y="50317"/>
                  <a:pt x="152857" y="55854"/>
                </a:cubicBezTo>
                <a:cubicBezTo>
                  <a:pt x="149860" y="61392"/>
                  <a:pt x="145593" y="65684"/>
                  <a:pt x="140056" y="68732"/>
                </a:cubicBezTo>
                <a:cubicBezTo>
                  <a:pt x="134519" y="71780"/>
                  <a:pt x="128092" y="73304"/>
                  <a:pt x="120777" y="73304"/>
                </a:cubicBezTo>
                <a:lnTo>
                  <a:pt x="96850" y="73304"/>
                </a:lnTo>
                <a:lnTo>
                  <a:pt x="96850" y="119939"/>
                </a:lnTo>
                <a:lnTo>
                  <a:pt x="85725" y="119939"/>
                </a:lnTo>
                <a:close/>
                <a:moveTo>
                  <a:pt x="0" y="0"/>
                </a:moveTo>
                <a:lnTo>
                  <a:pt x="35052" y="0"/>
                </a:lnTo>
                <a:cubicBezTo>
                  <a:pt x="42367" y="0"/>
                  <a:pt x="48794" y="1498"/>
                  <a:pt x="54331" y="4496"/>
                </a:cubicBezTo>
                <a:cubicBezTo>
                  <a:pt x="59868" y="7493"/>
                  <a:pt x="64135" y="11760"/>
                  <a:pt x="67132" y="17297"/>
                </a:cubicBezTo>
                <a:cubicBezTo>
                  <a:pt x="70129" y="22834"/>
                  <a:pt x="71628" y="29261"/>
                  <a:pt x="71628" y="36576"/>
                </a:cubicBezTo>
                <a:cubicBezTo>
                  <a:pt x="71628" y="43891"/>
                  <a:pt x="70129" y="50317"/>
                  <a:pt x="67132" y="55854"/>
                </a:cubicBezTo>
                <a:cubicBezTo>
                  <a:pt x="64135" y="61392"/>
                  <a:pt x="59868" y="65684"/>
                  <a:pt x="54331" y="68732"/>
                </a:cubicBezTo>
                <a:cubicBezTo>
                  <a:pt x="48794" y="71780"/>
                  <a:pt x="42367" y="73304"/>
                  <a:pt x="35052" y="73304"/>
                </a:cubicBezTo>
                <a:lnTo>
                  <a:pt x="11125" y="73304"/>
                </a:lnTo>
                <a:lnTo>
                  <a:pt x="11125" y="119939"/>
                </a:lnTo>
                <a:lnTo>
                  <a:pt x="0" y="119939"/>
                </a:lnTo>
                <a:close/>
              </a:path>
            </a:pathLst>
          </a:custGeom>
          <a:solidFill>
            <a:prstClr val="white"/>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200" b="0" i="0" u="none" strike="noStrike" kern="1200" cap="none" spc="0" normalizeH="0" baseline="0" noProof="0" dirty="0">
              <a:ln>
                <a:noFill/>
              </a:ln>
              <a:solidFill>
                <a:prstClr val="white"/>
              </a:solidFill>
              <a:effectLst/>
              <a:uLnTx/>
              <a:uFillTx/>
              <a:latin typeface="OPPOSans R"/>
              <a:ea typeface="OPPOSans R"/>
              <a:cs typeface="+mn-cs"/>
            </a:endParaRPr>
          </a:p>
        </p:txBody>
      </p:sp>
      <p:sp>
        <p:nvSpPr>
          <p:cNvPr id="86" name="文本框 85">
            <a:extLst>
              <a:ext uri="{FF2B5EF4-FFF2-40B4-BE49-F238E27FC236}">
                <a16:creationId xmlns:a16="http://schemas.microsoft.com/office/drawing/2014/main" id="{B93B4742-5F11-17A8-99AF-A0CB16C626FE}"/>
              </a:ext>
            </a:extLst>
          </p:cNvPr>
          <p:cNvSpPr txBox="1"/>
          <p:nvPr/>
        </p:nvSpPr>
        <p:spPr>
          <a:xfrm rot="19096118">
            <a:off x="8602935" y="5453346"/>
            <a:ext cx="241707" cy="119939"/>
          </a:xfrm>
          <a:custGeom>
            <a:avLst/>
            <a:gdLst/>
            <a:ahLst/>
            <a:cxnLst/>
            <a:rect l="l" t="t" r="r" b="b"/>
            <a:pathLst>
              <a:path w="241707" h="119939">
                <a:moveTo>
                  <a:pt x="96850" y="9753"/>
                </a:moveTo>
                <a:lnTo>
                  <a:pt x="96850" y="63551"/>
                </a:lnTo>
                <a:lnTo>
                  <a:pt x="119405" y="63551"/>
                </a:lnTo>
                <a:cubicBezTo>
                  <a:pt x="127635" y="63551"/>
                  <a:pt x="134112" y="61163"/>
                  <a:pt x="138837" y="56388"/>
                </a:cubicBezTo>
                <a:cubicBezTo>
                  <a:pt x="143561" y="51613"/>
                  <a:pt x="145923" y="45009"/>
                  <a:pt x="145923" y="36576"/>
                </a:cubicBezTo>
                <a:cubicBezTo>
                  <a:pt x="145923" y="28245"/>
                  <a:pt x="143561" y="21691"/>
                  <a:pt x="138837" y="16916"/>
                </a:cubicBezTo>
                <a:cubicBezTo>
                  <a:pt x="134112" y="12141"/>
                  <a:pt x="127635" y="9753"/>
                  <a:pt x="119405" y="9753"/>
                </a:cubicBezTo>
                <a:close/>
                <a:moveTo>
                  <a:pt x="11125" y="9753"/>
                </a:moveTo>
                <a:lnTo>
                  <a:pt x="11125" y="63551"/>
                </a:lnTo>
                <a:lnTo>
                  <a:pt x="33681" y="63551"/>
                </a:lnTo>
                <a:cubicBezTo>
                  <a:pt x="41910" y="63551"/>
                  <a:pt x="48387" y="61163"/>
                  <a:pt x="53111" y="56388"/>
                </a:cubicBezTo>
                <a:cubicBezTo>
                  <a:pt x="57836" y="51613"/>
                  <a:pt x="60198" y="45009"/>
                  <a:pt x="60198" y="36576"/>
                </a:cubicBezTo>
                <a:cubicBezTo>
                  <a:pt x="60198" y="28245"/>
                  <a:pt x="57836" y="21691"/>
                  <a:pt x="53111" y="16916"/>
                </a:cubicBezTo>
                <a:cubicBezTo>
                  <a:pt x="48387" y="12141"/>
                  <a:pt x="41910" y="9753"/>
                  <a:pt x="33681" y="9753"/>
                </a:cubicBezTo>
                <a:close/>
                <a:moveTo>
                  <a:pt x="165507" y="0"/>
                </a:moveTo>
                <a:lnTo>
                  <a:pt x="241707" y="0"/>
                </a:lnTo>
                <a:lnTo>
                  <a:pt x="241707" y="10058"/>
                </a:lnTo>
                <a:lnTo>
                  <a:pt x="209245" y="10058"/>
                </a:lnTo>
                <a:lnTo>
                  <a:pt x="209245" y="119939"/>
                </a:lnTo>
                <a:lnTo>
                  <a:pt x="197968" y="119939"/>
                </a:lnTo>
                <a:lnTo>
                  <a:pt x="197968" y="10058"/>
                </a:lnTo>
                <a:lnTo>
                  <a:pt x="165507" y="10058"/>
                </a:lnTo>
                <a:close/>
                <a:moveTo>
                  <a:pt x="85725" y="0"/>
                </a:moveTo>
                <a:lnTo>
                  <a:pt x="120777" y="0"/>
                </a:lnTo>
                <a:cubicBezTo>
                  <a:pt x="128092" y="0"/>
                  <a:pt x="134519" y="1498"/>
                  <a:pt x="140056" y="4496"/>
                </a:cubicBezTo>
                <a:cubicBezTo>
                  <a:pt x="145593" y="7493"/>
                  <a:pt x="149860" y="11760"/>
                  <a:pt x="152857" y="17297"/>
                </a:cubicBezTo>
                <a:cubicBezTo>
                  <a:pt x="155855" y="22834"/>
                  <a:pt x="157353" y="29261"/>
                  <a:pt x="157353" y="36576"/>
                </a:cubicBezTo>
                <a:cubicBezTo>
                  <a:pt x="157353" y="43891"/>
                  <a:pt x="155855" y="50317"/>
                  <a:pt x="152857" y="55854"/>
                </a:cubicBezTo>
                <a:cubicBezTo>
                  <a:pt x="149860" y="61392"/>
                  <a:pt x="145593" y="65684"/>
                  <a:pt x="140056" y="68732"/>
                </a:cubicBezTo>
                <a:cubicBezTo>
                  <a:pt x="134519" y="71780"/>
                  <a:pt x="128092" y="73304"/>
                  <a:pt x="120777" y="73304"/>
                </a:cubicBezTo>
                <a:lnTo>
                  <a:pt x="96850" y="73304"/>
                </a:lnTo>
                <a:lnTo>
                  <a:pt x="96850" y="119939"/>
                </a:lnTo>
                <a:lnTo>
                  <a:pt x="85725" y="119939"/>
                </a:lnTo>
                <a:close/>
                <a:moveTo>
                  <a:pt x="0" y="0"/>
                </a:moveTo>
                <a:lnTo>
                  <a:pt x="35052" y="0"/>
                </a:lnTo>
                <a:cubicBezTo>
                  <a:pt x="42367" y="0"/>
                  <a:pt x="48794" y="1498"/>
                  <a:pt x="54331" y="4496"/>
                </a:cubicBezTo>
                <a:cubicBezTo>
                  <a:pt x="59868" y="7493"/>
                  <a:pt x="64135" y="11760"/>
                  <a:pt x="67132" y="17297"/>
                </a:cubicBezTo>
                <a:cubicBezTo>
                  <a:pt x="70129" y="22834"/>
                  <a:pt x="71628" y="29261"/>
                  <a:pt x="71628" y="36576"/>
                </a:cubicBezTo>
                <a:cubicBezTo>
                  <a:pt x="71628" y="43891"/>
                  <a:pt x="70129" y="50317"/>
                  <a:pt x="67132" y="55854"/>
                </a:cubicBezTo>
                <a:cubicBezTo>
                  <a:pt x="64135" y="61392"/>
                  <a:pt x="59868" y="65684"/>
                  <a:pt x="54331" y="68732"/>
                </a:cubicBezTo>
                <a:cubicBezTo>
                  <a:pt x="48794" y="71780"/>
                  <a:pt x="42367" y="73304"/>
                  <a:pt x="35052" y="73304"/>
                </a:cubicBezTo>
                <a:lnTo>
                  <a:pt x="11125" y="73304"/>
                </a:lnTo>
                <a:lnTo>
                  <a:pt x="11125" y="119939"/>
                </a:lnTo>
                <a:lnTo>
                  <a:pt x="0" y="119939"/>
                </a:lnTo>
                <a:close/>
              </a:path>
            </a:pathLst>
          </a:custGeom>
          <a:solidFill>
            <a:prstClr val="white"/>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200" b="0" i="0" u="none" strike="noStrike" kern="1200" cap="none" spc="0" normalizeH="0" baseline="0" noProof="0" dirty="0">
              <a:ln>
                <a:noFill/>
              </a:ln>
              <a:solidFill>
                <a:prstClr val="white"/>
              </a:solidFill>
              <a:effectLst/>
              <a:uLnTx/>
              <a:uFillTx/>
              <a:latin typeface="OPPOSans R"/>
              <a:ea typeface="OPPOSans R"/>
              <a:cs typeface="+mn-cs"/>
            </a:endParaRPr>
          </a:p>
        </p:txBody>
      </p:sp>
    </p:spTree>
    <p:extLst>
      <p:ext uri="{BB962C8B-B14F-4D97-AF65-F5344CB8AC3E}">
        <p14:creationId xmlns:p14="http://schemas.microsoft.com/office/powerpoint/2010/main" val="2079568626"/>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6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Object 105">
            <a:extLst>
              <a:ext uri="{FF2B5EF4-FFF2-40B4-BE49-F238E27FC236}">
                <a16:creationId xmlns:a16="http://schemas.microsoft.com/office/drawing/2014/main" id="{8664E82E-2762-4034-AD62-326FEF850436}"/>
              </a:ext>
            </a:extLst>
          </p:cNvPr>
          <p:cNvSpPr txBox="1"/>
          <p:nvPr/>
        </p:nvSpPr>
        <p:spPr>
          <a:xfrm>
            <a:off x="1011534" y="1904800"/>
            <a:ext cx="2103505" cy="343170"/>
          </a:xfrm>
          <a:prstGeom prst="rect">
            <a:avLst/>
          </a:prstGeom>
        </p:spPr>
        <p:txBody>
          <a:bodyPr vert="horz" lIns="90000" tIns="46800" rIns="90000" bIns="46800" rtlCol="0" anchor="t"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800" b="0" i="0" u="none" strike="noStrike" kern="1200" cap="none" spc="45" normalizeH="0" baseline="0" noProof="0" dirty="0">
                <a:ln>
                  <a:noFill/>
                </a:ln>
                <a:solidFill>
                  <a:srgbClr val="313131"/>
                </a:solidFill>
                <a:effectLst/>
                <a:uLnTx/>
                <a:uFillTx/>
                <a:latin typeface="OPPOSans B" panose="00020600040101010101" pitchFamily="18" charset="-122"/>
                <a:ea typeface="OPPOSans B" panose="00020600040101010101" pitchFamily="18" charset="-122"/>
                <a:cs typeface="OPPOSans B" panose="00020600040101010101" pitchFamily="18" charset="-122"/>
              </a:rPr>
              <a:t>用户放碳</a:t>
            </a:r>
            <a:endParaRPr kumimoji="0" lang="zh-CN" altLang="en-US" sz="800" b="0" i="0" u="none" strike="noStrike" kern="1200" cap="none" spc="0" normalizeH="0" baseline="0" noProof="0" dirty="0">
              <a:ln>
                <a:noFill/>
              </a:ln>
              <a:solidFill>
                <a:srgbClr val="000000"/>
              </a:solidFill>
              <a:effectLst/>
              <a:uLnTx/>
              <a:uFillTx/>
              <a:latin typeface="OPPOSans B" panose="00020600040101010101" pitchFamily="18" charset="-122"/>
              <a:ea typeface="OPPOSans B" panose="00020600040101010101" pitchFamily="18" charset="-122"/>
              <a:cs typeface="OPPOSans B" panose="00020600040101010101" pitchFamily="18" charset="-122"/>
            </a:endParaRPr>
          </a:p>
        </p:txBody>
      </p:sp>
      <p:sp>
        <p:nvSpPr>
          <p:cNvPr id="11" name="Object 1010">
            <a:extLst>
              <a:ext uri="{FF2B5EF4-FFF2-40B4-BE49-F238E27FC236}">
                <a16:creationId xmlns:a16="http://schemas.microsoft.com/office/drawing/2014/main" id="{767E4F64-7F44-420C-AFE0-B0FE0711FCD2}"/>
              </a:ext>
            </a:extLst>
          </p:cNvPr>
          <p:cNvSpPr txBox="1"/>
          <p:nvPr/>
        </p:nvSpPr>
        <p:spPr>
          <a:xfrm>
            <a:off x="5113671" y="1904205"/>
            <a:ext cx="2103505" cy="419430"/>
          </a:xfrm>
          <a:prstGeom prst="rect">
            <a:avLst/>
          </a:prstGeom>
        </p:spPr>
        <p:txBody>
          <a:bodyPr vert="horz" lIns="90000" tIns="46800" rIns="90000" bIns="46800" rtlCol="0" anchor="t" anchorCtr="0">
            <a:noAutofit/>
          </a:bodyPr>
          <a:lstStyle/>
          <a:p>
            <a:pPr marL="0" marR="0" lvl="0" indent="0" algn="ctr" defTabSz="914400" rtl="0" eaLnBrk="1" fontAlgn="auto" latinLnBrk="0" hangingPunct="1">
              <a:lnSpc>
                <a:spcPct val="122500"/>
              </a:lnSpc>
              <a:spcBef>
                <a:spcPts val="0"/>
              </a:spcBef>
              <a:spcAft>
                <a:spcPts val="0"/>
              </a:spcAft>
              <a:buClrTx/>
              <a:buSzTx/>
              <a:buFontTx/>
              <a:buNone/>
              <a:tabLst/>
              <a:defRPr/>
            </a:pPr>
            <a:r>
              <a:rPr kumimoji="0" lang="zh-CN" altLang="en-US" sz="1800" b="0" i="0" u="none" strike="noStrike" kern="1200" cap="none" spc="45" normalizeH="0" baseline="0" noProof="0" dirty="0">
                <a:ln>
                  <a:noFill/>
                </a:ln>
                <a:solidFill>
                  <a:srgbClr val="313131"/>
                </a:solidFill>
                <a:effectLst/>
                <a:uLnTx/>
                <a:uFillTx/>
                <a:latin typeface="OPPOSans B" panose="00020600040101010101" pitchFamily="18" charset="-122"/>
                <a:ea typeface="OPPOSans B" panose="00020600040101010101" pitchFamily="18" charset="-122"/>
                <a:cs typeface="OPPOSans B" panose="00020600040101010101" pitchFamily="18" charset="-122"/>
              </a:rPr>
              <a:t>与同事沟通</a:t>
            </a:r>
            <a:endParaRPr kumimoji="0" lang="zh-CN" altLang="en-US" sz="800" b="0" i="0" u="none" strike="noStrike" kern="1200" cap="none" spc="0" normalizeH="0" baseline="0" noProof="0">
              <a:ln>
                <a:noFill/>
              </a:ln>
              <a:solidFill>
                <a:srgbClr val="000000"/>
              </a:solidFill>
              <a:effectLst/>
              <a:uLnTx/>
              <a:uFillTx/>
              <a:latin typeface="OPPOSans B" panose="00020600040101010101" pitchFamily="18" charset="-122"/>
              <a:ea typeface="OPPOSans B" panose="00020600040101010101" pitchFamily="18" charset="-122"/>
              <a:cs typeface="OPPOSans B" panose="00020600040101010101" pitchFamily="18" charset="-122"/>
            </a:endParaRPr>
          </a:p>
        </p:txBody>
      </p:sp>
      <p:sp>
        <p:nvSpPr>
          <p:cNvPr id="16" name="Object 1015">
            <a:extLst>
              <a:ext uri="{FF2B5EF4-FFF2-40B4-BE49-F238E27FC236}">
                <a16:creationId xmlns:a16="http://schemas.microsoft.com/office/drawing/2014/main" id="{F5EB33CD-2A99-42BC-AC8B-127DD7F814B5}"/>
              </a:ext>
            </a:extLst>
          </p:cNvPr>
          <p:cNvSpPr txBox="1"/>
          <p:nvPr/>
        </p:nvSpPr>
        <p:spPr>
          <a:xfrm>
            <a:off x="9224564" y="1907082"/>
            <a:ext cx="2103505" cy="343170"/>
          </a:xfrm>
          <a:prstGeom prst="rect">
            <a:avLst/>
          </a:prstGeom>
        </p:spPr>
        <p:txBody>
          <a:bodyPr vert="horz" lIns="90000" tIns="46800" rIns="90000" bIns="46800" rtlCol="0" anchor="t"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800" b="0" i="0" u="none" strike="noStrike" kern="1200" cap="none" spc="45" normalizeH="0" baseline="0" noProof="0" dirty="0">
                <a:ln>
                  <a:noFill/>
                </a:ln>
                <a:solidFill>
                  <a:srgbClr val="313131"/>
                </a:solidFill>
                <a:effectLst/>
                <a:uLnTx/>
                <a:uFillTx/>
                <a:latin typeface="OPPOSans B" panose="00020600040101010101" pitchFamily="18" charset="-122"/>
                <a:ea typeface="OPPOSans B" panose="00020600040101010101" pitchFamily="18" charset="-122"/>
                <a:cs typeface="OPPOSans B" panose="00020600040101010101" pitchFamily="18" charset="-122"/>
              </a:rPr>
              <a:t>网络调研</a:t>
            </a:r>
            <a:endParaRPr kumimoji="0" lang="zh-CN" altLang="en-US" sz="800" b="0" i="0" u="none" strike="noStrike" kern="1200" cap="none" spc="0" normalizeH="0" baseline="0" noProof="0">
              <a:ln>
                <a:noFill/>
              </a:ln>
              <a:solidFill>
                <a:srgbClr val="000000"/>
              </a:solidFill>
              <a:effectLst/>
              <a:uLnTx/>
              <a:uFillTx/>
              <a:latin typeface="OPPOSans B" panose="00020600040101010101" pitchFamily="18" charset="-122"/>
              <a:ea typeface="OPPOSans B" panose="00020600040101010101" pitchFamily="18" charset="-122"/>
              <a:cs typeface="OPPOSans B" panose="00020600040101010101" pitchFamily="18" charset="-122"/>
            </a:endParaRPr>
          </a:p>
        </p:txBody>
      </p:sp>
      <p:sp>
        <p:nvSpPr>
          <p:cNvPr id="21" name="Object 1020">
            <a:extLst>
              <a:ext uri="{FF2B5EF4-FFF2-40B4-BE49-F238E27FC236}">
                <a16:creationId xmlns:a16="http://schemas.microsoft.com/office/drawing/2014/main" id="{39DEFB58-15BE-4FFC-AA6A-F8D1267014B8}"/>
              </a:ext>
            </a:extLst>
          </p:cNvPr>
          <p:cNvSpPr txBox="1"/>
          <p:nvPr/>
        </p:nvSpPr>
        <p:spPr>
          <a:xfrm>
            <a:off x="7076058" y="5448100"/>
            <a:ext cx="2103505" cy="419430"/>
          </a:xfrm>
          <a:prstGeom prst="rect">
            <a:avLst/>
          </a:prstGeom>
        </p:spPr>
        <p:txBody>
          <a:bodyPr vert="horz" lIns="90000" tIns="46800" rIns="90000" bIns="46800" rtlCol="0" anchor="t" anchorCtr="0">
            <a:noAutofit/>
          </a:bodyPr>
          <a:lstStyle/>
          <a:p>
            <a:pPr marL="0" marR="0" lvl="0" indent="0" algn="ctr" defTabSz="914400" rtl="0" eaLnBrk="1" fontAlgn="auto" latinLnBrk="0" hangingPunct="1">
              <a:lnSpc>
                <a:spcPct val="122500"/>
              </a:lnSpc>
              <a:spcBef>
                <a:spcPts val="0"/>
              </a:spcBef>
              <a:spcAft>
                <a:spcPts val="0"/>
              </a:spcAft>
              <a:buClrTx/>
              <a:buSzTx/>
              <a:buFontTx/>
              <a:buNone/>
              <a:tabLst/>
              <a:defRPr/>
            </a:pPr>
            <a:r>
              <a:rPr kumimoji="0" lang="zh-CN" altLang="en-US" sz="1800" b="0" i="0" u="none" strike="noStrike" kern="1200" cap="none" spc="45" normalizeH="0" baseline="0" noProof="0" dirty="0">
                <a:ln>
                  <a:noFill/>
                </a:ln>
                <a:solidFill>
                  <a:srgbClr val="313131"/>
                </a:solidFill>
                <a:effectLst/>
                <a:uLnTx/>
                <a:uFillTx/>
                <a:latin typeface="OPPOSans B" panose="00020600040101010101" pitchFamily="18" charset="-122"/>
                <a:ea typeface="OPPOSans B" panose="00020600040101010101" pitchFamily="18" charset="-122"/>
                <a:cs typeface="OPPOSans B" panose="00020600040101010101" pitchFamily="18" charset="-122"/>
              </a:rPr>
              <a:t>从竞品中分析</a:t>
            </a:r>
            <a:endParaRPr kumimoji="0" lang="zh-CN" altLang="en-US" sz="800" b="0" i="0" u="none" strike="noStrike" kern="1200" cap="none" spc="0" normalizeH="0" baseline="0" noProof="0">
              <a:ln>
                <a:noFill/>
              </a:ln>
              <a:solidFill>
                <a:srgbClr val="000000"/>
              </a:solidFill>
              <a:effectLst/>
              <a:uLnTx/>
              <a:uFillTx/>
              <a:latin typeface="OPPOSans B" panose="00020600040101010101" pitchFamily="18" charset="-122"/>
              <a:ea typeface="OPPOSans B" panose="00020600040101010101" pitchFamily="18" charset="-122"/>
              <a:cs typeface="OPPOSans B" panose="00020600040101010101" pitchFamily="18" charset="-122"/>
            </a:endParaRPr>
          </a:p>
        </p:txBody>
      </p:sp>
      <p:sp>
        <p:nvSpPr>
          <p:cNvPr id="26" name="Object 1025">
            <a:extLst>
              <a:ext uri="{FF2B5EF4-FFF2-40B4-BE49-F238E27FC236}">
                <a16:creationId xmlns:a16="http://schemas.microsoft.com/office/drawing/2014/main" id="{2A648A3E-2C44-42A8-82C8-DDEB95A3144F}"/>
              </a:ext>
            </a:extLst>
          </p:cNvPr>
          <p:cNvSpPr txBox="1"/>
          <p:nvPr/>
        </p:nvSpPr>
        <p:spPr>
          <a:xfrm>
            <a:off x="2960601" y="5449886"/>
            <a:ext cx="2103505" cy="419430"/>
          </a:xfrm>
          <a:prstGeom prst="rect">
            <a:avLst/>
          </a:prstGeom>
        </p:spPr>
        <p:txBody>
          <a:bodyPr vert="horz" lIns="90000" tIns="46800" rIns="90000" bIns="46800" rtlCol="0" anchor="t" anchorCtr="0">
            <a:noAutofit/>
          </a:bodyPr>
          <a:lstStyle/>
          <a:p>
            <a:pPr marL="0" marR="0" lvl="0" indent="0" algn="ctr" defTabSz="914400" rtl="0" eaLnBrk="1" fontAlgn="auto" latinLnBrk="0" hangingPunct="1">
              <a:lnSpc>
                <a:spcPct val="122500"/>
              </a:lnSpc>
              <a:spcBef>
                <a:spcPts val="0"/>
              </a:spcBef>
              <a:spcAft>
                <a:spcPts val="0"/>
              </a:spcAft>
              <a:buClrTx/>
              <a:buSzTx/>
              <a:buFontTx/>
              <a:buNone/>
              <a:tabLst/>
              <a:defRPr/>
            </a:pPr>
            <a:r>
              <a:rPr kumimoji="0" lang="zh-CN" altLang="en-US" sz="1800" b="0" i="0" u="none" strike="noStrike" kern="1200" cap="none" spc="45" normalizeH="0" baseline="0" noProof="0" dirty="0">
                <a:ln>
                  <a:noFill/>
                </a:ln>
                <a:solidFill>
                  <a:srgbClr val="313131"/>
                </a:solidFill>
                <a:effectLst/>
                <a:uLnTx/>
                <a:uFillTx/>
                <a:latin typeface="OPPOSans B" panose="00020600040101010101" pitchFamily="18" charset="-122"/>
                <a:ea typeface="OPPOSans B" panose="00020600040101010101" pitchFamily="18" charset="-122"/>
                <a:cs typeface="OPPOSans B" panose="00020600040101010101" pitchFamily="18" charset="-122"/>
              </a:rPr>
              <a:t>行业动态中分析</a:t>
            </a:r>
            <a:endParaRPr kumimoji="0" lang="zh-CN" altLang="en-US" sz="800" b="0" i="0" u="none" strike="noStrike" kern="1200" cap="none" spc="0" normalizeH="0" baseline="0" noProof="0">
              <a:ln>
                <a:noFill/>
              </a:ln>
              <a:solidFill>
                <a:srgbClr val="000000"/>
              </a:solidFill>
              <a:effectLst/>
              <a:uLnTx/>
              <a:uFillTx/>
              <a:latin typeface="OPPOSans B" panose="00020600040101010101" pitchFamily="18" charset="-122"/>
              <a:ea typeface="OPPOSans B" panose="00020600040101010101" pitchFamily="18" charset="-122"/>
              <a:cs typeface="OPPOSans B" panose="00020600040101010101" pitchFamily="18" charset="-122"/>
            </a:endParaRPr>
          </a:p>
        </p:txBody>
      </p:sp>
      <p:sp>
        <p:nvSpPr>
          <p:cNvPr id="27" name="Object 1026">
            <a:extLst>
              <a:ext uri="{FF2B5EF4-FFF2-40B4-BE49-F238E27FC236}">
                <a16:creationId xmlns:a16="http://schemas.microsoft.com/office/drawing/2014/main" id="{2A9F221A-6AEA-42F9-8150-2144C6C0575F}"/>
              </a:ext>
            </a:extLst>
          </p:cNvPr>
          <p:cNvSpPr txBox="1"/>
          <p:nvPr/>
        </p:nvSpPr>
        <p:spPr>
          <a:xfrm>
            <a:off x="676076" y="1026057"/>
            <a:ext cx="3908783" cy="260555"/>
          </a:xfrm>
          <a:prstGeom prst="rect">
            <a:avLst/>
          </a:prstGeom>
        </p:spPr>
        <p:txBody>
          <a:bodyPr vert="horz" lIns="0" tIns="0" rIns="0" bIns="0"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200" b="0" i="0" u="none" strike="noStrike" kern="1200" cap="none" spc="0" normalizeH="0" baseline="0" noProof="0" dirty="0">
                <a:ln>
                  <a:noFill/>
                </a:ln>
                <a:solidFill>
                  <a:srgbClr val="535353"/>
                </a:solidFill>
                <a:effectLst/>
                <a:uLnTx/>
                <a:uFillTx/>
                <a:latin typeface="OPPOSans R" panose="00020600040101010101" pitchFamily="18" charset="-122"/>
                <a:ea typeface="OPPOSans R" panose="00020600040101010101" pitchFamily="18" charset="-122"/>
                <a:cs typeface="OPPOSans R" panose="00020600040101010101" pitchFamily="18" charset="-122"/>
              </a:rPr>
              <a:t>How to get user requirements</a:t>
            </a:r>
            <a:endParaRPr kumimoji="0" lang="zh-CN" altLang="en-US" sz="800" b="0" i="0" u="none" strike="noStrike" kern="1200" cap="none" spc="0" normalizeH="0" baseline="0" noProof="0" dirty="0">
              <a:ln>
                <a:noFill/>
              </a:ln>
              <a:solidFill>
                <a:srgbClr val="000000"/>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p:txBody>
      </p:sp>
      <p:sp>
        <p:nvSpPr>
          <p:cNvPr id="28" name="Object 1027">
            <a:extLst>
              <a:ext uri="{FF2B5EF4-FFF2-40B4-BE49-F238E27FC236}">
                <a16:creationId xmlns:a16="http://schemas.microsoft.com/office/drawing/2014/main" id="{1A6C4CA4-D9CA-4B87-9DF8-1E1CC4501DBA}"/>
              </a:ext>
            </a:extLst>
          </p:cNvPr>
          <p:cNvSpPr txBox="1"/>
          <p:nvPr/>
        </p:nvSpPr>
        <p:spPr>
          <a:xfrm>
            <a:off x="660400" y="677662"/>
            <a:ext cx="3924465" cy="351038"/>
          </a:xfrm>
          <a:prstGeom prst="rect">
            <a:avLst/>
          </a:prstGeom>
        </p:spPr>
        <p:txBody>
          <a:bodyPr vert="horz" lIns="0" tIns="0" rIns="0" bIns="0"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2400" b="0" i="0" u="none" strike="noStrike" kern="1200" cap="none" spc="0" normalizeH="0" baseline="0" noProof="0" dirty="0">
                <a:ln>
                  <a:noFill/>
                </a:ln>
                <a:solidFill>
                  <a:srgbClr val="1B1B1B"/>
                </a:solidFill>
                <a:effectLst/>
                <a:uLnTx/>
                <a:uFillTx/>
                <a:latin typeface="OPPOSans B" panose="00020600040101010101" pitchFamily="18" charset="-122"/>
                <a:ea typeface="OPPOSans B" panose="00020600040101010101" pitchFamily="18" charset="-122"/>
                <a:cs typeface="OPPOSans B" panose="00020600040101010101" pitchFamily="18" charset="-122"/>
              </a:rPr>
              <a:t>如何获得用户需求</a:t>
            </a:r>
            <a:endParaRPr kumimoji="0" lang="zh-CN" altLang="en-US" sz="800" b="0" i="0" u="none" strike="noStrike" kern="1200" cap="none" spc="0" normalizeH="0" baseline="0" noProof="0" dirty="0">
              <a:ln>
                <a:noFill/>
              </a:ln>
              <a:solidFill>
                <a:srgbClr val="000000"/>
              </a:solidFill>
              <a:effectLst/>
              <a:uLnTx/>
              <a:uFillTx/>
              <a:latin typeface="OPPOSans B" panose="00020600040101010101" pitchFamily="18" charset="-122"/>
              <a:ea typeface="OPPOSans B" panose="00020600040101010101" pitchFamily="18" charset="-122"/>
              <a:cs typeface="OPPOSans B" panose="00020600040101010101" pitchFamily="18" charset="-122"/>
            </a:endParaRPr>
          </a:p>
        </p:txBody>
      </p:sp>
      <p:cxnSp>
        <p:nvCxnSpPr>
          <p:cNvPr id="53" name="直接连接符 52">
            <a:extLst>
              <a:ext uri="{FF2B5EF4-FFF2-40B4-BE49-F238E27FC236}">
                <a16:creationId xmlns:a16="http://schemas.microsoft.com/office/drawing/2014/main" id="{508DAD0E-678E-4FB6-9F06-6A0ADD3FE8DD}"/>
              </a:ext>
            </a:extLst>
          </p:cNvPr>
          <p:cNvCxnSpPr>
            <a:cxnSpLocks/>
          </p:cNvCxnSpPr>
          <p:nvPr/>
        </p:nvCxnSpPr>
        <p:spPr>
          <a:xfrm>
            <a:off x="2079922" y="2852532"/>
            <a:ext cx="738599" cy="632162"/>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65" name="直接连接符 64">
            <a:extLst>
              <a:ext uri="{FF2B5EF4-FFF2-40B4-BE49-F238E27FC236}">
                <a16:creationId xmlns:a16="http://schemas.microsoft.com/office/drawing/2014/main" id="{15A53500-7AFD-4BA6-908A-C2C43572EC84}"/>
              </a:ext>
            </a:extLst>
          </p:cNvPr>
          <p:cNvCxnSpPr>
            <a:cxnSpLocks/>
          </p:cNvCxnSpPr>
          <p:nvPr/>
        </p:nvCxnSpPr>
        <p:spPr>
          <a:xfrm>
            <a:off x="6195492" y="2852532"/>
            <a:ext cx="738599" cy="632162"/>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66" name="直接连接符 65">
            <a:extLst>
              <a:ext uri="{FF2B5EF4-FFF2-40B4-BE49-F238E27FC236}">
                <a16:creationId xmlns:a16="http://schemas.microsoft.com/office/drawing/2014/main" id="{63FDB4C6-8A2C-434B-B559-4C7D86B598C3}"/>
              </a:ext>
            </a:extLst>
          </p:cNvPr>
          <p:cNvCxnSpPr>
            <a:cxnSpLocks/>
          </p:cNvCxnSpPr>
          <p:nvPr/>
        </p:nvCxnSpPr>
        <p:spPr>
          <a:xfrm>
            <a:off x="10304394" y="2852532"/>
            <a:ext cx="738599" cy="632162"/>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67" name="直接连接符 66">
            <a:extLst>
              <a:ext uri="{FF2B5EF4-FFF2-40B4-BE49-F238E27FC236}">
                <a16:creationId xmlns:a16="http://schemas.microsoft.com/office/drawing/2014/main" id="{A9A5E4BD-16EE-4CA1-A9BF-BE0AD3D1EECB}"/>
              </a:ext>
            </a:extLst>
          </p:cNvPr>
          <p:cNvCxnSpPr>
            <a:cxnSpLocks/>
          </p:cNvCxnSpPr>
          <p:nvPr/>
        </p:nvCxnSpPr>
        <p:spPr>
          <a:xfrm flipV="1">
            <a:off x="4156803" y="4116695"/>
            <a:ext cx="738599" cy="632162"/>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68" name="直接连接符 67">
            <a:extLst>
              <a:ext uri="{FF2B5EF4-FFF2-40B4-BE49-F238E27FC236}">
                <a16:creationId xmlns:a16="http://schemas.microsoft.com/office/drawing/2014/main" id="{C20993F4-4E56-4D5D-80CA-15A9093CED08}"/>
              </a:ext>
            </a:extLst>
          </p:cNvPr>
          <p:cNvCxnSpPr>
            <a:cxnSpLocks/>
          </p:cNvCxnSpPr>
          <p:nvPr/>
        </p:nvCxnSpPr>
        <p:spPr>
          <a:xfrm flipV="1">
            <a:off x="8273716" y="4116695"/>
            <a:ext cx="738599" cy="632162"/>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47" name="椭圆 46">
            <a:extLst>
              <a:ext uri="{FF2B5EF4-FFF2-40B4-BE49-F238E27FC236}">
                <a16:creationId xmlns:a16="http://schemas.microsoft.com/office/drawing/2014/main" id="{35BEAEE5-F028-4DB7-B909-2DAC6F6BB9D5}"/>
              </a:ext>
            </a:extLst>
          </p:cNvPr>
          <p:cNvSpPr>
            <a:spLocks/>
          </p:cNvSpPr>
          <p:nvPr/>
        </p:nvSpPr>
        <p:spPr>
          <a:xfrm>
            <a:off x="1701800" y="2362200"/>
            <a:ext cx="678629" cy="678873"/>
          </a:xfrm>
          <a:prstGeom prst="ellipse">
            <a:avLst/>
          </a:prstGeom>
          <a:solidFill>
            <a:schemeClr val="bg1"/>
          </a:solidFill>
          <a:ln w="5080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Arial" panose="020F0502020204030204"/>
              <a:ea typeface="微软雅黑"/>
              <a:cs typeface="+mn-cs"/>
            </a:endParaRPr>
          </a:p>
        </p:txBody>
      </p:sp>
      <p:sp>
        <p:nvSpPr>
          <p:cNvPr id="69" name="任意多边形: 形状 68">
            <a:extLst>
              <a:ext uri="{FF2B5EF4-FFF2-40B4-BE49-F238E27FC236}">
                <a16:creationId xmlns:a16="http://schemas.microsoft.com/office/drawing/2014/main" id="{E0411BB4-D60F-4006-A9D3-EEDAD4D4DA46}"/>
              </a:ext>
            </a:extLst>
          </p:cNvPr>
          <p:cNvSpPr>
            <a:spLocks/>
          </p:cNvSpPr>
          <p:nvPr/>
        </p:nvSpPr>
        <p:spPr>
          <a:xfrm>
            <a:off x="1879600" y="2540000"/>
            <a:ext cx="323700" cy="330103"/>
          </a:xfrm>
          <a:custGeom>
            <a:avLst/>
            <a:gdLst>
              <a:gd name="connsiteX0" fmla="*/ 152925 w 359004"/>
              <a:gd name="connsiteY0" fmla="*/ 125701 h 345141"/>
              <a:gd name="connsiteX1" fmla="*/ 128863 w 359004"/>
              <a:gd name="connsiteY1" fmla="*/ 149836 h 345141"/>
              <a:gd name="connsiteX2" fmla="*/ 153572 w 359004"/>
              <a:gd name="connsiteY2" fmla="*/ 173971 h 345141"/>
              <a:gd name="connsiteX3" fmla="*/ 155655 w 359004"/>
              <a:gd name="connsiteY3" fmla="*/ 173971 h 345141"/>
              <a:gd name="connsiteX4" fmla="*/ 155871 w 359004"/>
              <a:gd name="connsiteY4" fmla="*/ 173971 h 345141"/>
              <a:gd name="connsiteX5" fmla="*/ 179861 w 359004"/>
              <a:gd name="connsiteY5" fmla="*/ 149764 h 345141"/>
              <a:gd name="connsiteX6" fmla="*/ 155511 w 359004"/>
              <a:gd name="connsiteY6" fmla="*/ 125701 h 345141"/>
              <a:gd name="connsiteX7" fmla="*/ 153931 w 359004"/>
              <a:gd name="connsiteY7" fmla="*/ 125701 h 345141"/>
              <a:gd name="connsiteX8" fmla="*/ 153572 w 359004"/>
              <a:gd name="connsiteY8" fmla="*/ 111407 h 345141"/>
              <a:gd name="connsiteX9" fmla="*/ 155081 w 359004"/>
              <a:gd name="connsiteY9" fmla="*/ 111407 h 345141"/>
              <a:gd name="connsiteX10" fmla="*/ 194227 w 359004"/>
              <a:gd name="connsiteY10" fmla="*/ 149836 h 345141"/>
              <a:gd name="connsiteX11" fmla="*/ 155081 w 359004"/>
              <a:gd name="connsiteY11" fmla="*/ 188337 h 345141"/>
              <a:gd name="connsiteX12" fmla="*/ 153572 w 359004"/>
              <a:gd name="connsiteY12" fmla="*/ 188337 h 345141"/>
              <a:gd name="connsiteX13" fmla="*/ 114497 w 359004"/>
              <a:gd name="connsiteY13" fmla="*/ 149836 h 345141"/>
              <a:gd name="connsiteX14" fmla="*/ 153572 w 359004"/>
              <a:gd name="connsiteY14" fmla="*/ 111407 h 345141"/>
              <a:gd name="connsiteX15" fmla="*/ 154505 w 359004"/>
              <a:gd name="connsiteY15" fmla="*/ 100345 h 345141"/>
              <a:gd name="connsiteX16" fmla="*/ 144808 w 359004"/>
              <a:gd name="connsiteY16" fmla="*/ 101135 h 345141"/>
              <a:gd name="connsiteX17" fmla="*/ 105230 w 359004"/>
              <a:gd name="connsiteY17" fmla="*/ 137050 h 345141"/>
              <a:gd name="connsiteX18" fmla="*/ 126348 w 359004"/>
              <a:gd name="connsiteY18" fmla="*/ 191209 h 345141"/>
              <a:gd name="connsiteX19" fmla="*/ 138702 w 359004"/>
              <a:gd name="connsiteY19" fmla="*/ 199254 h 345141"/>
              <a:gd name="connsiteX20" fmla="*/ 124337 w 359004"/>
              <a:gd name="connsiteY20" fmla="*/ 203995 h 345141"/>
              <a:gd name="connsiteX21" fmla="*/ 80233 w 359004"/>
              <a:gd name="connsiteY21" fmla="*/ 237253 h 345141"/>
              <a:gd name="connsiteX22" fmla="*/ 79587 w 359004"/>
              <a:gd name="connsiteY22" fmla="*/ 241275 h 345141"/>
              <a:gd name="connsiteX23" fmla="*/ 82531 w 359004"/>
              <a:gd name="connsiteY23" fmla="*/ 244292 h 345141"/>
              <a:gd name="connsiteX24" fmla="*/ 84255 w 359004"/>
              <a:gd name="connsiteY24" fmla="*/ 244938 h 345141"/>
              <a:gd name="connsiteX25" fmla="*/ 90289 w 359004"/>
              <a:gd name="connsiteY25" fmla="*/ 242927 h 345141"/>
              <a:gd name="connsiteX26" fmla="*/ 154146 w 359004"/>
              <a:gd name="connsiteY26" fmla="*/ 210316 h 345141"/>
              <a:gd name="connsiteX27" fmla="*/ 155726 w 359004"/>
              <a:gd name="connsiteY27" fmla="*/ 210316 h 345141"/>
              <a:gd name="connsiteX28" fmla="*/ 219439 w 359004"/>
              <a:gd name="connsiteY28" fmla="*/ 242927 h 345141"/>
              <a:gd name="connsiteX29" fmla="*/ 225472 w 359004"/>
              <a:gd name="connsiteY29" fmla="*/ 244938 h 345141"/>
              <a:gd name="connsiteX30" fmla="*/ 227196 w 359004"/>
              <a:gd name="connsiteY30" fmla="*/ 244292 h 345141"/>
              <a:gd name="connsiteX31" fmla="*/ 230141 w 359004"/>
              <a:gd name="connsiteY31" fmla="*/ 241275 h 345141"/>
              <a:gd name="connsiteX32" fmla="*/ 229854 w 359004"/>
              <a:gd name="connsiteY32" fmla="*/ 237253 h 345141"/>
              <a:gd name="connsiteX33" fmla="*/ 185679 w 359004"/>
              <a:gd name="connsiteY33" fmla="*/ 203995 h 345141"/>
              <a:gd name="connsiteX34" fmla="*/ 171744 w 359004"/>
              <a:gd name="connsiteY34" fmla="*/ 199254 h 345141"/>
              <a:gd name="connsiteX35" fmla="*/ 184098 w 359004"/>
              <a:gd name="connsiteY35" fmla="*/ 191209 h 345141"/>
              <a:gd name="connsiteX36" fmla="*/ 205217 w 359004"/>
              <a:gd name="connsiteY36" fmla="*/ 137050 h 345141"/>
              <a:gd name="connsiteX37" fmla="*/ 165639 w 359004"/>
              <a:gd name="connsiteY37" fmla="*/ 101135 h 345141"/>
              <a:gd name="connsiteX38" fmla="*/ 155295 w 359004"/>
              <a:gd name="connsiteY38" fmla="*/ 100345 h 345141"/>
              <a:gd name="connsiteX39" fmla="*/ 154648 w 359004"/>
              <a:gd name="connsiteY39" fmla="*/ 85907 h 345141"/>
              <a:gd name="connsiteX40" fmla="*/ 167578 w 359004"/>
              <a:gd name="connsiteY40" fmla="*/ 86913 h 345141"/>
              <a:gd name="connsiteX41" fmla="*/ 218505 w 359004"/>
              <a:gd name="connsiteY41" fmla="*/ 133531 h 345141"/>
              <a:gd name="connsiteX42" fmla="*/ 201410 w 359004"/>
              <a:gd name="connsiteY42" fmla="*/ 195232 h 345141"/>
              <a:gd name="connsiteX43" fmla="*/ 240988 w 359004"/>
              <a:gd name="connsiteY43" fmla="*/ 228992 h 345141"/>
              <a:gd name="connsiteX44" fmla="*/ 243574 w 359004"/>
              <a:gd name="connsiteY44" fmla="*/ 245585 h 345141"/>
              <a:gd name="connsiteX45" fmla="*/ 231865 w 359004"/>
              <a:gd name="connsiteY45" fmla="*/ 257796 h 345141"/>
              <a:gd name="connsiteX46" fmla="*/ 230141 w 359004"/>
              <a:gd name="connsiteY46" fmla="*/ 258442 h 345141"/>
              <a:gd name="connsiteX47" fmla="*/ 207443 w 359004"/>
              <a:gd name="connsiteY47" fmla="*/ 251259 h 345141"/>
              <a:gd name="connsiteX48" fmla="*/ 154648 w 359004"/>
              <a:gd name="connsiteY48" fmla="*/ 224682 h 345141"/>
              <a:gd name="connsiteX49" fmla="*/ 101710 w 359004"/>
              <a:gd name="connsiteY49" fmla="*/ 251259 h 345141"/>
              <a:gd name="connsiteX50" fmla="*/ 85620 w 359004"/>
              <a:gd name="connsiteY50" fmla="*/ 259591 h 345141"/>
              <a:gd name="connsiteX51" fmla="*/ 79012 w 359004"/>
              <a:gd name="connsiteY51" fmla="*/ 258442 h 345141"/>
              <a:gd name="connsiteX52" fmla="*/ 77288 w 359004"/>
              <a:gd name="connsiteY52" fmla="*/ 257796 h 345141"/>
              <a:gd name="connsiteX53" fmla="*/ 65580 w 359004"/>
              <a:gd name="connsiteY53" fmla="*/ 245585 h 345141"/>
              <a:gd name="connsiteX54" fmla="*/ 68165 w 359004"/>
              <a:gd name="connsiteY54" fmla="*/ 228992 h 345141"/>
              <a:gd name="connsiteX55" fmla="*/ 107743 w 359004"/>
              <a:gd name="connsiteY55" fmla="*/ 195232 h 345141"/>
              <a:gd name="connsiteX56" fmla="*/ 90648 w 359004"/>
              <a:gd name="connsiteY56" fmla="*/ 133531 h 345141"/>
              <a:gd name="connsiteX57" fmla="*/ 141576 w 359004"/>
              <a:gd name="connsiteY57" fmla="*/ 86913 h 345141"/>
              <a:gd name="connsiteX58" fmla="*/ 154648 w 359004"/>
              <a:gd name="connsiteY58" fmla="*/ 85907 h 345141"/>
              <a:gd name="connsiteX59" fmla="*/ 24781 w 359004"/>
              <a:gd name="connsiteY59" fmla="*/ 59762 h 345141"/>
              <a:gd name="connsiteX60" fmla="*/ 14366 w 359004"/>
              <a:gd name="connsiteY60" fmla="*/ 69890 h 345141"/>
              <a:gd name="connsiteX61" fmla="*/ 14366 w 359004"/>
              <a:gd name="connsiteY61" fmla="*/ 280063 h 345141"/>
              <a:gd name="connsiteX62" fmla="*/ 24781 w 359004"/>
              <a:gd name="connsiteY62" fmla="*/ 290120 h 345141"/>
              <a:gd name="connsiteX63" fmla="*/ 102142 w 359004"/>
              <a:gd name="connsiteY63" fmla="*/ 290120 h 345141"/>
              <a:gd name="connsiteX64" fmla="*/ 119884 w 359004"/>
              <a:gd name="connsiteY64" fmla="*/ 297303 h 345141"/>
              <a:gd name="connsiteX65" fmla="*/ 150555 w 359004"/>
              <a:gd name="connsiteY65" fmla="*/ 328046 h 345141"/>
              <a:gd name="connsiteX66" fmla="*/ 165352 w 359004"/>
              <a:gd name="connsiteY66" fmla="*/ 328046 h 345141"/>
              <a:gd name="connsiteX67" fmla="*/ 199471 w 359004"/>
              <a:gd name="connsiteY67" fmla="*/ 296441 h 345141"/>
              <a:gd name="connsiteX68" fmla="*/ 216494 w 359004"/>
              <a:gd name="connsiteY68" fmla="*/ 289761 h 345141"/>
              <a:gd name="connsiteX69" fmla="*/ 285738 w 359004"/>
              <a:gd name="connsiteY69" fmla="*/ 289761 h 345141"/>
              <a:gd name="connsiteX70" fmla="*/ 296225 w 359004"/>
              <a:gd name="connsiteY70" fmla="*/ 279704 h 345141"/>
              <a:gd name="connsiteX71" fmla="*/ 296225 w 359004"/>
              <a:gd name="connsiteY71" fmla="*/ 69890 h 345141"/>
              <a:gd name="connsiteX72" fmla="*/ 285738 w 359004"/>
              <a:gd name="connsiteY72" fmla="*/ 59762 h 345141"/>
              <a:gd name="connsiteX73" fmla="*/ 102070 w 359004"/>
              <a:gd name="connsiteY73" fmla="*/ 14366 h 345141"/>
              <a:gd name="connsiteX74" fmla="*/ 79300 w 359004"/>
              <a:gd name="connsiteY74" fmla="*/ 37136 h 345141"/>
              <a:gd name="connsiteX75" fmla="*/ 79300 w 359004"/>
              <a:gd name="connsiteY75" fmla="*/ 45396 h 345141"/>
              <a:gd name="connsiteX76" fmla="*/ 285738 w 359004"/>
              <a:gd name="connsiteY76" fmla="*/ 45396 h 345141"/>
              <a:gd name="connsiteX77" fmla="*/ 310591 w 359004"/>
              <a:gd name="connsiteY77" fmla="*/ 69890 h 345141"/>
              <a:gd name="connsiteX78" fmla="*/ 310591 w 359004"/>
              <a:gd name="connsiteY78" fmla="*/ 258586 h 345141"/>
              <a:gd name="connsiteX79" fmla="*/ 322299 w 359004"/>
              <a:gd name="connsiteY79" fmla="*/ 258586 h 345141"/>
              <a:gd name="connsiteX80" fmla="*/ 345069 w 359004"/>
              <a:gd name="connsiteY80" fmla="*/ 235817 h 345141"/>
              <a:gd name="connsiteX81" fmla="*/ 345069 w 359004"/>
              <a:gd name="connsiteY81" fmla="*/ 37136 h 345141"/>
              <a:gd name="connsiteX82" fmla="*/ 322299 w 359004"/>
              <a:gd name="connsiteY82" fmla="*/ 14366 h 345141"/>
              <a:gd name="connsiteX83" fmla="*/ 102070 w 359004"/>
              <a:gd name="connsiteY83" fmla="*/ 0 h 345141"/>
              <a:gd name="connsiteX84" fmla="*/ 322299 w 359004"/>
              <a:gd name="connsiteY84" fmla="*/ 0 h 345141"/>
              <a:gd name="connsiteX85" fmla="*/ 359004 w 359004"/>
              <a:gd name="connsiteY85" fmla="*/ 37136 h 345141"/>
              <a:gd name="connsiteX86" fmla="*/ 359004 w 359004"/>
              <a:gd name="connsiteY86" fmla="*/ 235817 h 345141"/>
              <a:gd name="connsiteX87" fmla="*/ 321869 w 359004"/>
              <a:gd name="connsiteY87" fmla="*/ 272952 h 345141"/>
              <a:gd name="connsiteX88" fmla="*/ 310160 w 359004"/>
              <a:gd name="connsiteY88" fmla="*/ 272952 h 345141"/>
              <a:gd name="connsiteX89" fmla="*/ 310160 w 359004"/>
              <a:gd name="connsiteY89" fmla="*/ 279632 h 345141"/>
              <a:gd name="connsiteX90" fmla="*/ 285308 w 359004"/>
              <a:gd name="connsiteY90" fmla="*/ 304055 h 345141"/>
              <a:gd name="connsiteX91" fmla="*/ 216064 w 359004"/>
              <a:gd name="connsiteY91" fmla="*/ 304055 h 345141"/>
              <a:gd name="connsiteX92" fmla="*/ 208881 w 359004"/>
              <a:gd name="connsiteY92" fmla="*/ 306856 h 345141"/>
              <a:gd name="connsiteX93" fmla="*/ 174762 w 359004"/>
              <a:gd name="connsiteY93" fmla="*/ 338533 h 345141"/>
              <a:gd name="connsiteX94" fmla="*/ 157738 w 359004"/>
              <a:gd name="connsiteY94" fmla="*/ 345141 h 345141"/>
              <a:gd name="connsiteX95" fmla="*/ 140067 w 359004"/>
              <a:gd name="connsiteY95" fmla="*/ 337958 h 345141"/>
              <a:gd name="connsiteX96" fmla="*/ 109325 w 359004"/>
              <a:gd name="connsiteY96" fmla="*/ 307215 h 345141"/>
              <a:gd name="connsiteX97" fmla="*/ 102142 w 359004"/>
              <a:gd name="connsiteY97" fmla="*/ 304127 h 345141"/>
              <a:gd name="connsiteX98" fmla="*/ 24781 w 359004"/>
              <a:gd name="connsiteY98" fmla="*/ 304127 h 345141"/>
              <a:gd name="connsiteX99" fmla="*/ 0 w 359004"/>
              <a:gd name="connsiteY99" fmla="*/ 279704 h 345141"/>
              <a:gd name="connsiteX100" fmla="*/ 0 w 359004"/>
              <a:gd name="connsiteY100" fmla="*/ 69890 h 345141"/>
              <a:gd name="connsiteX101" fmla="*/ 24781 w 359004"/>
              <a:gd name="connsiteY101" fmla="*/ 45396 h 345141"/>
              <a:gd name="connsiteX102" fmla="*/ 64934 w 359004"/>
              <a:gd name="connsiteY102" fmla="*/ 45396 h 345141"/>
              <a:gd name="connsiteX103" fmla="*/ 64934 w 359004"/>
              <a:gd name="connsiteY103" fmla="*/ 37136 h 345141"/>
              <a:gd name="connsiteX104" fmla="*/ 102070 w 359004"/>
              <a:gd name="connsiteY104" fmla="*/ 0 h 3451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59004" h="345141">
                <a:moveTo>
                  <a:pt x="152925" y="125701"/>
                </a:moveTo>
                <a:cubicBezTo>
                  <a:pt x="139709" y="125859"/>
                  <a:pt x="129006" y="136584"/>
                  <a:pt x="128863" y="149836"/>
                </a:cubicBezTo>
                <a:cubicBezTo>
                  <a:pt x="129006" y="163326"/>
                  <a:pt x="140068" y="174129"/>
                  <a:pt x="153572" y="173971"/>
                </a:cubicBezTo>
                <a:lnTo>
                  <a:pt x="155655" y="173971"/>
                </a:lnTo>
                <a:lnTo>
                  <a:pt x="155871" y="173971"/>
                </a:lnTo>
                <a:cubicBezTo>
                  <a:pt x="169087" y="173741"/>
                  <a:pt x="179718" y="163003"/>
                  <a:pt x="179861" y="149764"/>
                </a:cubicBezTo>
                <a:cubicBezTo>
                  <a:pt x="179646" y="136447"/>
                  <a:pt x="168799" y="125737"/>
                  <a:pt x="155511" y="125701"/>
                </a:cubicBezTo>
                <a:lnTo>
                  <a:pt x="153931" y="125701"/>
                </a:lnTo>
                <a:close/>
                <a:moveTo>
                  <a:pt x="153572" y="111407"/>
                </a:moveTo>
                <a:lnTo>
                  <a:pt x="155081" y="111407"/>
                </a:lnTo>
                <a:cubicBezTo>
                  <a:pt x="176486" y="111206"/>
                  <a:pt x="194012" y="128417"/>
                  <a:pt x="194227" y="149836"/>
                </a:cubicBezTo>
                <a:cubicBezTo>
                  <a:pt x="194012" y="171270"/>
                  <a:pt x="176486" y="188495"/>
                  <a:pt x="155081" y="188337"/>
                </a:cubicBezTo>
                <a:lnTo>
                  <a:pt x="153572" y="188337"/>
                </a:lnTo>
                <a:cubicBezTo>
                  <a:pt x="132166" y="188495"/>
                  <a:pt x="114640" y="171256"/>
                  <a:pt x="114497" y="149836"/>
                </a:cubicBezTo>
                <a:cubicBezTo>
                  <a:pt x="114712" y="128446"/>
                  <a:pt x="132166" y="111249"/>
                  <a:pt x="153572" y="111407"/>
                </a:cubicBezTo>
                <a:close/>
                <a:moveTo>
                  <a:pt x="154505" y="100345"/>
                </a:moveTo>
                <a:cubicBezTo>
                  <a:pt x="151273" y="100331"/>
                  <a:pt x="148040" y="100596"/>
                  <a:pt x="144808" y="101135"/>
                </a:cubicBezTo>
                <a:cubicBezTo>
                  <a:pt x="125701" y="104238"/>
                  <a:pt x="110186" y="118310"/>
                  <a:pt x="105230" y="137050"/>
                </a:cubicBezTo>
                <a:cubicBezTo>
                  <a:pt x="99699" y="157773"/>
                  <a:pt x="108247" y="179688"/>
                  <a:pt x="126348" y="191209"/>
                </a:cubicBezTo>
                <a:lnTo>
                  <a:pt x="138702" y="199254"/>
                </a:lnTo>
                <a:lnTo>
                  <a:pt x="124337" y="203995"/>
                </a:lnTo>
                <a:cubicBezTo>
                  <a:pt x="106451" y="210086"/>
                  <a:pt x="91008" y="221744"/>
                  <a:pt x="80233" y="237253"/>
                </a:cubicBezTo>
                <a:cubicBezTo>
                  <a:pt x="79371" y="238409"/>
                  <a:pt x="79155" y="239910"/>
                  <a:pt x="79587" y="241275"/>
                </a:cubicBezTo>
                <a:cubicBezTo>
                  <a:pt x="80017" y="242683"/>
                  <a:pt x="81167" y="243803"/>
                  <a:pt x="82531" y="244292"/>
                </a:cubicBezTo>
                <a:lnTo>
                  <a:pt x="84255" y="244938"/>
                </a:lnTo>
                <a:cubicBezTo>
                  <a:pt x="86482" y="245678"/>
                  <a:pt x="88924" y="244859"/>
                  <a:pt x="90289" y="242927"/>
                </a:cubicBezTo>
                <a:cubicBezTo>
                  <a:pt x="105014" y="222355"/>
                  <a:pt x="128862" y="210201"/>
                  <a:pt x="154146" y="210316"/>
                </a:cubicBezTo>
                <a:lnTo>
                  <a:pt x="155726" y="210316"/>
                </a:lnTo>
                <a:cubicBezTo>
                  <a:pt x="181010" y="210252"/>
                  <a:pt x="204713" y="222398"/>
                  <a:pt x="219439" y="242927"/>
                </a:cubicBezTo>
                <a:cubicBezTo>
                  <a:pt x="220803" y="244859"/>
                  <a:pt x="223246" y="245678"/>
                  <a:pt x="225472" y="244938"/>
                </a:cubicBezTo>
                <a:lnTo>
                  <a:pt x="227196" y="244292"/>
                </a:lnTo>
                <a:cubicBezTo>
                  <a:pt x="228561" y="243803"/>
                  <a:pt x="229710" y="242683"/>
                  <a:pt x="230141" y="241275"/>
                </a:cubicBezTo>
                <a:cubicBezTo>
                  <a:pt x="230644" y="239960"/>
                  <a:pt x="230573" y="238481"/>
                  <a:pt x="229854" y="237253"/>
                </a:cubicBezTo>
                <a:cubicBezTo>
                  <a:pt x="219079" y="221723"/>
                  <a:pt x="203565" y="210065"/>
                  <a:pt x="185679" y="203995"/>
                </a:cubicBezTo>
                <a:lnTo>
                  <a:pt x="171744" y="199254"/>
                </a:lnTo>
                <a:lnTo>
                  <a:pt x="184098" y="191209"/>
                </a:lnTo>
                <a:cubicBezTo>
                  <a:pt x="202200" y="179674"/>
                  <a:pt x="210676" y="157773"/>
                  <a:pt x="205217" y="137050"/>
                </a:cubicBezTo>
                <a:cubicBezTo>
                  <a:pt x="200260" y="118310"/>
                  <a:pt x="184746" y="104238"/>
                  <a:pt x="165639" y="101135"/>
                </a:cubicBezTo>
                <a:cubicBezTo>
                  <a:pt x="162191" y="100568"/>
                  <a:pt x="158743" y="100302"/>
                  <a:pt x="155295" y="100345"/>
                </a:cubicBezTo>
                <a:close/>
                <a:moveTo>
                  <a:pt x="154648" y="85907"/>
                </a:moveTo>
                <a:cubicBezTo>
                  <a:pt x="158958" y="85871"/>
                  <a:pt x="163340" y="86209"/>
                  <a:pt x="167578" y="86913"/>
                </a:cubicBezTo>
                <a:cubicBezTo>
                  <a:pt x="192287" y="91007"/>
                  <a:pt x="212256" y="109281"/>
                  <a:pt x="218505" y="133531"/>
                </a:cubicBezTo>
                <a:cubicBezTo>
                  <a:pt x="224395" y="155675"/>
                  <a:pt x="217859" y="179264"/>
                  <a:pt x="201410" y="195232"/>
                </a:cubicBezTo>
                <a:cubicBezTo>
                  <a:pt x="217284" y="202882"/>
                  <a:pt x="230931" y="214511"/>
                  <a:pt x="240988" y="228992"/>
                </a:cubicBezTo>
                <a:cubicBezTo>
                  <a:pt x="244364" y="233833"/>
                  <a:pt x="245297" y="239953"/>
                  <a:pt x="243574" y="245585"/>
                </a:cubicBezTo>
                <a:cubicBezTo>
                  <a:pt x="241778" y="251252"/>
                  <a:pt x="237468" y="255763"/>
                  <a:pt x="231865" y="257796"/>
                </a:cubicBezTo>
                <a:lnTo>
                  <a:pt x="230141" y="258442"/>
                </a:lnTo>
                <a:cubicBezTo>
                  <a:pt x="221809" y="261416"/>
                  <a:pt x="212544" y="258478"/>
                  <a:pt x="207443" y="251259"/>
                </a:cubicBezTo>
                <a:cubicBezTo>
                  <a:pt x="195232" y="234300"/>
                  <a:pt x="175551" y="224373"/>
                  <a:pt x="154648" y="224682"/>
                </a:cubicBezTo>
                <a:cubicBezTo>
                  <a:pt x="133674" y="224251"/>
                  <a:pt x="113850" y="234199"/>
                  <a:pt x="101710" y="251259"/>
                </a:cubicBezTo>
                <a:cubicBezTo>
                  <a:pt x="97975" y="256459"/>
                  <a:pt x="92013" y="259555"/>
                  <a:pt x="85620" y="259591"/>
                </a:cubicBezTo>
                <a:cubicBezTo>
                  <a:pt x="83393" y="259598"/>
                  <a:pt x="81095" y="259210"/>
                  <a:pt x="79012" y="258442"/>
                </a:cubicBezTo>
                <a:lnTo>
                  <a:pt x="77288" y="257796"/>
                </a:lnTo>
                <a:cubicBezTo>
                  <a:pt x="71685" y="255763"/>
                  <a:pt x="67375" y="251252"/>
                  <a:pt x="65580" y="245585"/>
                </a:cubicBezTo>
                <a:cubicBezTo>
                  <a:pt x="63784" y="239953"/>
                  <a:pt x="64718" y="233804"/>
                  <a:pt x="68165" y="228992"/>
                </a:cubicBezTo>
                <a:cubicBezTo>
                  <a:pt x="78222" y="214511"/>
                  <a:pt x="91869" y="202875"/>
                  <a:pt x="107743" y="195232"/>
                </a:cubicBezTo>
                <a:cubicBezTo>
                  <a:pt x="91295" y="179264"/>
                  <a:pt x="84758" y="155675"/>
                  <a:pt x="90648" y="133531"/>
                </a:cubicBezTo>
                <a:cubicBezTo>
                  <a:pt x="96897" y="109274"/>
                  <a:pt x="116866" y="90993"/>
                  <a:pt x="141576" y="86913"/>
                </a:cubicBezTo>
                <a:cubicBezTo>
                  <a:pt x="145885" y="86202"/>
                  <a:pt x="150267" y="85864"/>
                  <a:pt x="154648" y="85907"/>
                </a:cubicBezTo>
                <a:close/>
                <a:moveTo>
                  <a:pt x="24781" y="59762"/>
                </a:moveTo>
                <a:cubicBezTo>
                  <a:pt x="19107" y="59719"/>
                  <a:pt x="14509" y="64237"/>
                  <a:pt x="14366" y="69890"/>
                </a:cubicBezTo>
                <a:lnTo>
                  <a:pt x="14366" y="280063"/>
                </a:lnTo>
                <a:cubicBezTo>
                  <a:pt x="14509" y="285709"/>
                  <a:pt x="19107" y="290199"/>
                  <a:pt x="24781" y="290120"/>
                </a:cubicBezTo>
                <a:lnTo>
                  <a:pt x="102142" y="290120"/>
                </a:lnTo>
                <a:cubicBezTo>
                  <a:pt x="108750" y="290091"/>
                  <a:pt x="115143" y="292670"/>
                  <a:pt x="119884" y="297303"/>
                </a:cubicBezTo>
                <a:lnTo>
                  <a:pt x="150555" y="328046"/>
                </a:lnTo>
                <a:cubicBezTo>
                  <a:pt x="154721" y="331968"/>
                  <a:pt x="161186" y="331968"/>
                  <a:pt x="165352" y="328046"/>
                </a:cubicBezTo>
                <a:lnTo>
                  <a:pt x="199471" y="296441"/>
                </a:lnTo>
                <a:cubicBezTo>
                  <a:pt x="204068" y="292145"/>
                  <a:pt x="210173" y="289761"/>
                  <a:pt x="216494" y="289761"/>
                </a:cubicBezTo>
                <a:lnTo>
                  <a:pt x="285738" y="289761"/>
                </a:lnTo>
                <a:cubicBezTo>
                  <a:pt x="291413" y="289840"/>
                  <a:pt x="296082" y="285357"/>
                  <a:pt x="296225" y="279704"/>
                </a:cubicBezTo>
                <a:lnTo>
                  <a:pt x="296225" y="69890"/>
                </a:lnTo>
                <a:cubicBezTo>
                  <a:pt x="296082" y="64222"/>
                  <a:pt x="291413" y="59719"/>
                  <a:pt x="285738" y="59762"/>
                </a:cubicBezTo>
                <a:close/>
                <a:moveTo>
                  <a:pt x="102070" y="14366"/>
                </a:moveTo>
                <a:cubicBezTo>
                  <a:pt x="89500" y="14366"/>
                  <a:pt x="79300" y="24558"/>
                  <a:pt x="79300" y="37136"/>
                </a:cubicBezTo>
                <a:lnTo>
                  <a:pt x="79300" y="45396"/>
                </a:lnTo>
                <a:lnTo>
                  <a:pt x="285738" y="45396"/>
                </a:lnTo>
                <a:cubicBezTo>
                  <a:pt x="299386" y="45317"/>
                  <a:pt x="310448" y="56271"/>
                  <a:pt x="310591" y="69890"/>
                </a:cubicBezTo>
                <a:lnTo>
                  <a:pt x="310591" y="258586"/>
                </a:lnTo>
                <a:lnTo>
                  <a:pt x="322299" y="258586"/>
                </a:lnTo>
                <a:cubicBezTo>
                  <a:pt x="334869" y="258586"/>
                  <a:pt x="345069" y="248394"/>
                  <a:pt x="345069" y="235817"/>
                </a:cubicBezTo>
                <a:lnTo>
                  <a:pt x="345069" y="37136"/>
                </a:lnTo>
                <a:cubicBezTo>
                  <a:pt x="345069" y="24558"/>
                  <a:pt x="334869" y="14366"/>
                  <a:pt x="322299" y="14366"/>
                </a:cubicBezTo>
                <a:close/>
                <a:moveTo>
                  <a:pt x="102070" y="0"/>
                </a:moveTo>
                <a:lnTo>
                  <a:pt x="322299" y="0"/>
                </a:lnTo>
                <a:cubicBezTo>
                  <a:pt x="342628" y="273"/>
                  <a:pt x="358933" y="16808"/>
                  <a:pt x="359004" y="37136"/>
                </a:cubicBezTo>
                <a:lnTo>
                  <a:pt x="359004" y="235817"/>
                </a:lnTo>
                <a:cubicBezTo>
                  <a:pt x="358933" y="256309"/>
                  <a:pt x="342340" y="272916"/>
                  <a:pt x="321869" y="272952"/>
                </a:cubicBezTo>
                <a:lnTo>
                  <a:pt x="310160" y="272952"/>
                </a:lnTo>
                <a:lnTo>
                  <a:pt x="310160" y="279632"/>
                </a:lnTo>
                <a:cubicBezTo>
                  <a:pt x="310017" y="293223"/>
                  <a:pt x="298883" y="304134"/>
                  <a:pt x="285308" y="304055"/>
                </a:cubicBezTo>
                <a:lnTo>
                  <a:pt x="216064" y="304055"/>
                </a:lnTo>
                <a:cubicBezTo>
                  <a:pt x="213406" y="304069"/>
                  <a:pt x="210820" y="305067"/>
                  <a:pt x="208881" y="306856"/>
                </a:cubicBezTo>
                <a:lnTo>
                  <a:pt x="174762" y="338533"/>
                </a:lnTo>
                <a:cubicBezTo>
                  <a:pt x="170093" y="342792"/>
                  <a:pt x="164059" y="345148"/>
                  <a:pt x="157738" y="345141"/>
                </a:cubicBezTo>
                <a:cubicBezTo>
                  <a:pt x="151129" y="345184"/>
                  <a:pt x="144737" y="342598"/>
                  <a:pt x="140067" y="337958"/>
                </a:cubicBezTo>
                <a:lnTo>
                  <a:pt x="109325" y="307215"/>
                </a:lnTo>
                <a:cubicBezTo>
                  <a:pt x="107385" y="305319"/>
                  <a:pt x="104872" y="304213"/>
                  <a:pt x="102142" y="304127"/>
                </a:cubicBezTo>
                <a:lnTo>
                  <a:pt x="24781" y="304127"/>
                </a:lnTo>
                <a:cubicBezTo>
                  <a:pt x="11206" y="304206"/>
                  <a:pt x="143" y="293280"/>
                  <a:pt x="0" y="279704"/>
                </a:cubicBezTo>
                <a:lnTo>
                  <a:pt x="0" y="69890"/>
                </a:lnTo>
                <a:cubicBezTo>
                  <a:pt x="143" y="56300"/>
                  <a:pt x="11206" y="45353"/>
                  <a:pt x="24781" y="45396"/>
                </a:cubicBezTo>
                <a:lnTo>
                  <a:pt x="64934" y="45396"/>
                </a:lnTo>
                <a:lnTo>
                  <a:pt x="64934" y="37136"/>
                </a:lnTo>
                <a:cubicBezTo>
                  <a:pt x="65006" y="16643"/>
                  <a:pt x="81598" y="36"/>
                  <a:pt x="102070" y="0"/>
                </a:cubicBezTo>
                <a:close/>
              </a:path>
            </a:pathLst>
          </a:custGeom>
          <a:solidFill>
            <a:schemeClr val="accent1"/>
          </a:solidFill>
          <a:ln w="716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panose="020F0502020204030204"/>
              <a:ea typeface="微软雅黑"/>
              <a:cs typeface="+mn-cs"/>
            </a:endParaRPr>
          </a:p>
        </p:txBody>
      </p:sp>
      <p:sp>
        <p:nvSpPr>
          <p:cNvPr id="56" name="箭头: V 形 55">
            <a:extLst>
              <a:ext uri="{FF2B5EF4-FFF2-40B4-BE49-F238E27FC236}">
                <a16:creationId xmlns:a16="http://schemas.microsoft.com/office/drawing/2014/main" id="{7E75961D-0D4D-46B7-A638-42A3E4ABA1B6}"/>
              </a:ext>
            </a:extLst>
          </p:cNvPr>
          <p:cNvSpPr>
            <a:spLocks/>
          </p:cNvSpPr>
          <p:nvPr/>
        </p:nvSpPr>
        <p:spPr>
          <a:xfrm>
            <a:off x="774690" y="3416299"/>
            <a:ext cx="2451741" cy="806449"/>
          </a:xfrm>
          <a:prstGeom prst="chevron">
            <a:avLst>
              <a:gd name="adj" fmla="val 57086"/>
            </a:avLst>
          </a:prstGeom>
          <a:gradFill>
            <a:gsLst>
              <a:gs pos="0">
                <a:schemeClr val="accent1"/>
              </a:gs>
              <a:gs pos="100000">
                <a:schemeClr val="accent1">
                  <a:lumMod val="60000"/>
                  <a:lumOff val="40000"/>
                </a:schemeClr>
              </a:gs>
            </a:gsLst>
            <a:lin ang="108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panose="020F0502020204030204"/>
              <a:ea typeface="微软雅黑"/>
              <a:cs typeface="+mn-cs"/>
            </a:endParaRPr>
          </a:p>
        </p:txBody>
      </p:sp>
      <p:sp>
        <p:nvSpPr>
          <p:cNvPr id="60" name="箭头: V 形 59">
            <a:extLst>
              <a:ext uri="{FF2B5EF4-FFF2-40B4-BE49-F238E27FC236}">
                <a16:creationId xmlns:a16="http://schemas.microsoft.com/office/drawing/2014/main" id="{60C91915-893A-4000-963F-758DE3EF6F8A}"/>
              </a:ext>
            </a:extLst>
          </p:cNvPr>
          <p:cNvSpPr>
            <a:spLocks/>
          </p:cNvSpPr>
          <p:nvPr/>
        </p:nvSpPr>
        <p:spPr>
          <a:xfrm>
            <a:off x="8978900" y="3403600"/>
            <a:ext cx="2451741" cy="806449"/>
          </a:xfrm>
          <a:prstGeom prst="chevron">
            <a:avLst>
              <a:gd name="adj" fmla="val 57086"/>
            </a:avLst>
          </a:prstGeom>
          <a:gradFill>
            <a:gsLst>
              <a:gs pos="0">
                <a:schemeClr val="accent1"/>
              </a:gs>
              <a:gs pos="100000">
                <a:schemeClr val="accent1">
                  <a:lumMod val="60000"/>
                  <a:lumOff val="40000"/>
                </a:schemeClr>
              </a:gs>
            </a:gsLst>
            <a:lin ang="108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panose="020F0502020204030204"/>
              <a:ea typeface="微软雅黑"/>
              <a:cs typeface="+mn-cs"/>
            </a:endParaRPr>
          </a:p>
        </p:txBody>
      </p:sp>
      <p:sp>
        <p:nvSpPr>
          <p:cNvPr id="59" name="箭头: V 形 58">
            <a:extLst>
              <a:ext uri="{FF2B5EF4-FFF2-40B4-BE49-F238E27FC236}">
                <a16:creationId xmlns:a16="http://schemas.microsoft.com/office/drawing/2014/main" id="{E720AAE9-D679-4CC0-B137-C97B606DAD38}"/>
              </a:ext>
            </a:extLst>
          </p:cNvPr>
          <p:cNvSpPr>
            <a:spLocks/>
          </p:cNvSpPr>
          <p:nvPr/>
        </p:nvSpPr>
        <p:spPr>
          <a:xfrm>
            <a:off x="6934200" y="3403600"/>
            <a:ext cx="2451741" cy="806449"/>
          </a:xfrm>
          <a:prstGeom prst="chevron">
            <a:avLst>
              <a:gd name="adj" fmla="val 57086"/>
            </a:avLst>
          </a:prstGeom>
          <a:gradFill>
            <a:gsLst>
              <a:gs pos="0">
                <a:schemeClr val="accent1"/>
              </a:gs>
              <a:gs pos="100000">
                <a:schemeClr val="accent1">
                  <a:lumMod val="60000"/>
                  <a:lumOff val="40000"/>
                </a:schemeClr>
              </a:gs>
            </a:gsLst>
            <a:lin ang="108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panose="020F0502020204030204"/>
              <a:ea typeface="微软雅黑"/>
              <a:cs typeface="+mn-cs"/>
            </a:endParaRPr>
          </a:p>
        </p:txBody>
      </p:sp>
      <p:sp>
        <p:nvSpPr>
          <p:cNvPr id="58" name="箭头: V 形 57">
            <a:extLst>
              <a:ext uri="{FF2B5EF4-FFF2-40B4-BE49-F238E27FC236}">
                <a16:creationId xmlns:a16="http://schemas.microsoft.com/office/drawing/2014/main" id="{E31B69D6-169E-489E-87A4-A351ECBDB874}"/>
              </a:ext>
            </a:extLst>
          </p:cNvPr>
          <p:cNvSpPr>
            <a:spLocks/>
          </p:cNvSpPr>
          <p:nvPr/>
        </p:nvSpPr>
        <p:spPr>
          <a:xfrm>
            <a:off x="4876800" y="3403600"/>
            <a:ext cx="2451741" cy="806449"/>
          </a:xfrm>
          <a:prstGeom prst="chevron">
            <a:avLst>
              <a:gd name="adj" fmla="val 57086"/>
            </a:avLst>
          </a:prstGeom>
          <a:gradFill>
            <a:gsLst>
              <a:gs pos="0">
                <a:schemeClr val="accent1"/>
              </a:gs>
              <a:gs pos="100000">
                <a:schemeClr val="accent1">
                  <a:lumMod val="60000"/>
                  <a:lumOff val="40000"/>
                </a:schemeClr>
              </a:gs>
            </a:gsLst>
            <a:lin ang="108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panose="020F0502020204030204"/>
              <a:ea typeface="微软雅黑"/>
              <a:cs typeface="+mn-cs"/>
            </a:endParaRPr>
          </a:p>
        </p:txBody>
      </p:sp>
      <p:sp>
        <p:nvSpPr>
          <p:cNvPr id="57" name="箭头: V 形 56">
            <a:extLst>
              <a:ext uri="{FF2B5EF4-FFF2-40B4-BE49-F238E27FC236}">
                <a16:creationId xmlns:a16="http://schemas.microsoft.com/office/drawing/2014/main" id="{BAF8CBE7-F004-40F4-9B1E-FBD67E1B93D4}"/>
              </a:ext>
            </a:extLst>
          </p:cNvPr>
          <p:cNvSpPr>
            <a:spLocks/>
          </p:cNvSpPr>
          <p:nvPr/>
        </p:nvSpPr>
        <p:spPr>
          <a:xfrm>
            <a:off x="2819400" y="3403600"/>
            <a:ext cx="2451741" cy="806449"/>
          </a:xfrm>
          <a:prstGeom prst="chevron">
            <a:avLst>
              <a:gd name="adj" fmla="val 57086"/>
            </a:avLst>
          </a:prstGeom>
          <a:gradFill>
            <a:gsLst>
              <a:gs pos="0">
                <a:schemeClr val="accent1"/>
              </a:gs>
              <a:gs pos="100000">
                <a:schemeClr val="accent1">
                  <a:lumMod val="60000"/>
                  <a:lumOff val="40000"/>
                </a:schemeClr>
              </a:gs>
            </a:gsLst>
            <a:lin ang="108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panose="020F0502020204030204"/>
              <a:ea typeface="微软雅黑"/>
              <a:cs typeface="+mn-cs"/>
            </a:endParaRPr>
          </a:p>
        </p:txBody>
      </p:sp>
      <p:sp>
        <p:nvSpPr>
          <p:cNvPr id="40" name="Object 1039">
            <a:extLst>
              <a:ext uri="{FF2B5EF4-FFF2-40B4-BE49-F238E27FC236}">
                <a16:creationId xmlns:a16="http://schemas.microsoft.com/office/drawing/2014/main" id="{134224EC-7C87-48F6-AD30-BA3DADE648C7}"/>
              </a:ext>
            </a:extLst>
          </p:cNvPr>
          <p:cNvSpPr txBox="1"/>
          <p:nvPr/>
        </p:nvSpPr>
        <p:spPr>
          <a:xfrm>
            <a:off x="1388510" y="3644006"/>
            <a:ext cx="1487070" cy="419430"/>
          </a:xfrm>
          <a:prstGeom prst="rect">
            <a:avLst/>
          </a:prstGeom>
        </p:spPr>
        <p:txBody>
          <a:bodyPr vert="horz" lIns="0" tIns="0" rIns="0" bIns="0" rtlCol="0" anchor="t" anchorCtr="0">
            <a:noAutofit/>
          </a:bodyPr>
          <a:lstStyle/>
          <a:p>
            <a:pPr marL="0" marR="0" lvl="0" indent="0" algn="ctr" defTabSz="914400" rtl="0" eaLnBrk="1" fontAlgn="auto" latinLnBrk="0" hangingPunct="1">
              <a:lnSpc>
                <a:spcPct val="122500"/>
              </a:lnSpc>
              <a:spcBef>
                <a:spcPts val="0"/>
              </a:spcBef>
              <a:spcAft>
                <a:spcPts val="0"/>
              </a:spcAft>
              <a:buClrTx/>
              <a:buSzTx/>
              <a:buFontTx/>
              <a:buNone/>
              <a:tabLst/>
              <a:defRPr/>
            </a:pPr>
            <a:r>
              <a:rPr kumimoji="0" lang="en-US" altLang="zh-CN" sz="1800" b="0" i="0" u="none" strike="noStrike" kern="1200" cap="none" spc="45" normalizeH="0" baseline="0" noProof="0" dirty="0">
                <a:ln>
                  <a:noFill/>
                </a:ln>
                <a:solidFill>
                  <a:srgbClr val="FFFFFF"/>
                </a:solidFill>
                <a:effectLst/>
                <a:uLnTx/>
                <a:uFillTx/>
                <a:latin typeface="OPPOSans R" panose="00020600040101010101" pitchFamily="18" charset="-122"/>
                <a:ea typeface="OPPOSans R" panose="00020600040101010101" pitchFamily="18" charset="-122"/>
                <a:cs typeface="OPPOSans R" panose="00020600040101010101" pitchFamily="18" charset="-122"/>
              </a:rPr>
              <a:t>First</a:t>
            </a:r>
            <a:endParaRPr kumimoji="0" lang="zh-CN" altLang="en-US" sz="800" b="0" i="0" u="none" strike="noStrike" kern="1200" cap="none" spc="0" normalizeH="0" baseline="0" noProof="0" dirty="0">
              <a:ln>
                <a:noFill/>
              </a:ln>
              <a:solidFill>
                <a:srgbClr val="000000"/>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p:txBody>
      </p:sp>
      <p:sp>
        <p:nvSpPr>
          <p:cNvPr id="41" name="Object 1040">
            <a:extLst>
              <a:ext uri="{FF2B5EF4-FFF2-40B4-BE49-F238E27FC236}">
                <a16:creationId xmlns:a16="http://schemas.microsoft.com/office/drawing/2014/main" id="{EC07D08E-8D50-4022-81AD-FF9430BD7C9D}"/>
              </a:ext>
            </a:extLst>
          </p:cNvPr>
          <p:cNvSpPr txBox="1"/>
          <p:nvPr/>
        </p:nvSpPr>
        <p:spPr>
          <a:xfrm>
            <a:off x="3454759" y="3643708"/>
            <a:ext cx="1487070" cy="419430"/>
          </a:xfrm>
          <a:prstGeom prst="rect">
            <a:avLst/>
          </a:prstGeom>
        </p:spPr>
        <p:txBody>
          <a:bodyPr vert="horz" lIns="0" tIns="0" rIns="0" bIns="0" rtlCol="0" anchor="t" anchorCtr="0">
            <a:noAutofit/>
          </a:bodyPr>
          <a:lstStyle/>
          <a:p>
            <a:pPr marL="0" marR="0" lvl="0" indent="0" algn="ctr" defTabSz="914400" rtl="0" eaLnBrk="1" fontAlgn="auto" latinLnBrk="0" hangingPunct="1">
              <a:lnSpc>
                <a:spcPct val="122500"/>
              </a:lnSpc>
              <a:spcBef>
                <a:spcPts val="0"/>
              </a:spcBef>
              <a:spcAft>
                <a:spcPts val="0"/>
              </a:spcAft>
              <a:buClrTx/>
              <a:buSzTx/>
              <a:buFontTx/>
              <a:buNone/>
              <a:tabLst/>
              <a:defRPr/>
            </a:pPr>
            <a:r>
              <a:rPr kumimoji="0" lang="en-US" altLang="zh-CN" sz="1800" b="0" i="0" u="none" strike="noStrike" kern="1200" cap="none" spc="45" normalizeH="0" baseline="0" noProof="0" dirty="0">
                <a:ln>
                  <a:noFill/>
                </a:ln>
                <a:solidFill>
                  <a:srgbClr val="FFFFFF"/>
                </a:solidFill>
                <a:effectLst/>
                <a:uLnTx/>
                <a:uFillTx/>
                <a:latin typeface="OPPOSans R" panose="00020600040101010101" pitchFamily="18" charset="-122"/>
                <a:ea typeface="OPPOSans R" panose="00020600040101010101" pitchFamily="18" charset="-122"/>
                <a:cs typeface="OPPOSans R" panose="00020600040101010101" pitchFamily="18" charset="-122"/>
              </a:rPr>
              <a:t>Second</a:t>
            </a:r>
            <a:endParaRPr kumimoji="0" lang="zh-CN" altLang="en-US" sz="800" b="0" i="0" u="none" strike="noStrike" kern="1200" cap="none" spc="0" normalizeH="0" baseline="0" noProof="0">
              <a:ln>
                <a:noFill/>
              </a:ln>
              <a:solidFill>
                <a:srgbClr val="000000"/>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p:txBody>
      </p:sp>
      <p:sp>
        <p:nvSpPr>
          <p:cNvPr id="42" name="Object 1041">
            <a:extLst>
              <a:ext uri="{FF2B5EF4-FFF2-40B4-BE49-F238E27FC236}">
                <a16:creationId xmlns:a16="http://schemas.microsoft.com/office/drawing/2014/main" id="{79569C34-818D-4A6E-8546-1E638A02AD84}"/>
              </a:ext>
            </a:extLst>
          </p:cNvPr>
          <p:cNvSpPr txBox="1"/>
          <p:nvPr/>
        </p:nvSpPr>
        <p:spPr>
          <a:xfrm>
            <a:off x="5453142" y="3643708"/>
            <a:ext cx="1487070" cy="419430"/>
          </a:xfrm>
          <a:prstGeom prst="rect">
            <a:avLst/>
          </a:prstGeom>
        </p:spPr>
        <p:txBody>
          <a:bodyPr vert="horz" lIns="0" tIns="0" rIns="0" bIns="0" rtlCol="0" anchor="t" anchorCtr="0">
            <a:noAutofit/>
          </a:bodyPr>
          <a:lstStyle/>
          <a:p>
            <a:pPr marL="0" marR="0" lvl="0" indent="0" algn="ctr" defTabSz="914400" rtl="0" eaLnBrk="1" fontAlgn="auto" latinLnBrk="0" hangingPunct="1">
              <a:lnSpc>
                <a:spcPct val="122500"/>
              </a:lnSpc>
              <a:spcBef>
                <a:spcPts val="0"/>
              </a:spcBef>
              <a:spcAft>
                <a:spcPts val="0"/>
              </a:spcAft>
              <a:buClrTx/>
              <a:buSzTx/>
              <a:buFontTx/>
              <a:buNone/>
              <a:tabLst/>
              <a:defRPr/>
            </a:pPr>
            <a:r>
              <a:rPr kumimoji="0" lang="en-US" altLang="zh-CN" sz="1800" b="0" i="0" u="none" strike="noStrike" kern="1200" cap="none" spc="45" normalizeH="0" baseline="0" noProof="0" dirty="0">
                <a:ln>
                  <a:noFill/>
                </a:ln>
                <a:solidFill>
                  <a:srgbClr val="FFFFFF"/>
                </a:solidFill>
                <a:effectLst/>
                <a:uLnTx/>
                <a:uFillTx/>
                <a:latin typeface="OPPOSans R" panose="00020600040101010101" pitchFamily="18" charset="-122"/>
                <a:ea typeface="OPPOSans R" panose="00020600040101010101" pitchFamily="18" charset="-122"/>
                <a:cs typeface="OPPOSans R" panose="00020600040101010101" pitchFamily="18" charset="-122"/>
              </a:rPr>
              <a:t>Third</a:t>
            </a:r>
            <a:endParaRPr kumimoji="0" lang="zh-CN" altLang="en-US" sz="800" b="0" i="0" u="none" strike="noStrike" kern="1200" cap="none" spc="0" normalizeH="0" baseline="0" noProof="0">
              <a:ln>
                <a:noFill/>
              </a:ln>
              <a:solidFill>
                <a:srgbClr val="000000"/>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p:txBody>
      </p:sp>
      <p:sp>
        <p:nvSpPr>
          <p:cNvPr id="43" name="Object 1042">
            <a:extLst>
              <a:ext uri="{FF2B5EF4-FFF2-40B4-BE49-F238E27FC236}">
                <a16:creationId xmlns:a16="http://schemas.microsoft.com/office/drawing/2014/main" id="{25E9C1AA-44E4-4DC0-A3DE-86EE19C908CE}"/>
              </a:ext>
            </a:extLst>
          </p:cNvPr>
          <p:cNvSpPr txBox="1"/>
          <p:nvPr/>
        </p:nvSpPr>
        <p:spPr>
          <a:xfrm>
            <a:off x="7518466" y="3643708"/>
            <a:ext cx="1487070" cy="419430"/>
          </a:xfrm>
          <a:prstGeom prst="rect">
            <a:avLst/>
          </a:prstGeom>
        </p:spPr>
        <p:txBody>
          <a:bodyPr vert="horz" lIns="0" tIns="0" rIns="0" bIns="0" rtlCol="0" anchor="t" anchorCtr="0">
            <a:noAutofit/>
          </a:bodyPr>
          <a:lstStyle/>
          <a:p>
            <a:pPr marL="0" marR="0" lvl="0" indent="0" algn="ctr" defTabSz="914400" rtl="0" eaLnBrk="1" fontAlgn="auto" latinLnBrk="0" hangingPunct="1">
              <a:lnSpc>
                <a:spcPct val="122500"/>
              </a:lnSpc>
              <a:spcBef>
                <a:spcPts val="0"/>
              </a:spcBef>
              <a:spcAft>
                <a:spcPts val="0"/>
              </a:spcAft>
              <a:buClrTx/>
              <a:buSzTx/>
              <a:buFontTx/>
              <a:buNone/>
              <a:tabLst/>
              <a:defRPr/>
            </a:pPr>
            <a:r>
              <a:rPr kumimoji="0" lang="en-US" altLang="zh-CN" sz="1800" b="0" i="0" u="none" strike="noStrike" kern="1200" cap="none" spc="45" normalizeH="0" baseline="0" noProof="0" dirty="0">
                <a:ln>
                  <a:noFill/>
                </a:ln>
                <a:solidFill>
                  <a:srgbClr val="FFFFFF"/>
                </a:solidFill>
                <a:effectLst/>
                <a:uLnTx/>
                <a:uFillTx/>
                <a:latin typeface="OPPOSans R" panose="00020600040101010101" pitchFamily="18" charset="-122"/>
                <a:ea typeface="OPPOSans R" panose="00020600040101010101" pitchFamily="18" charset="-122"/>
                <a:cs typeface="OPPOSans R" panose="00020600040101010101" pitchFamily="18" charset="-122"/>
              </a:rPr>
              <a:t>Fourth</a:t>
            </a:r>
            <a:endParaRPr kumimoji="0" lang="zh-CN" altLang="en-US" sz="800" b="0" i="0" u="none" strike="noStrike" kern="1200" cap="none" spc="0" normalizeH="0" baseline="0" noProof="0">
              <a:ln>
                <a:noFill/>
              </a:ln>
              <a:solidFill>
                <a:srgbClr val="000000"/>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p:txBody>
      </p:sp>
      <p:sp>
        <p:nvSpPr>
          <p:cNvPr id="44" name="Object 1043">
            <a:extLst>
              <a:ext uri="{FF2B5EF4-FFF2-40B4-BE49-F238E27FC236}">
                <a16:creationId xmlns:a16="http://schemas.microsoft.com/office/drawing/2014/main" id="{D2A2CB0A-2336-4FFB-8F33-8D01BB0B85AD}"/>
              </a:ext>
            </a:extLst>
          </p:cNvPr>
          <p:cNvSpPr txBox="1"/>
          <p:nvPr/>
        </p:nvSpPr>
        <p:spPr>
          <a:xfrm>
            <a:off x="9524639" y="3643708"/>
            <a:ext cx="1487070" cy="419430"/>
          </a:xfrm>
          <a:prstGeom prst="rect">
            <a:avLst/>
          </a:prstGeom>
        </p:spPr>
        <p:txBody>
          <a:bodyPr vert="horz" lIns="0" tIns="0" rIns="0" bIns="0" rtlCol="0" anchor="t" anchorCtr="0">
            <a:noAutofit/>
          </a:bodyPr>
          <a:lstStyle/>
          <a:p>
            <a:pPr marL="0" marR="0" lvl="0" indent="0" algn="ctr" defTabSz="914400" rtl="0" eaLnBrk="1" fontAlgn="auto" latinLnBrk="0" hangingPunct="1">
              <a:lnSpc>
                <a:spcPct val="122500"/>
              </a:lnSpc>
              <a:spcBef>
                <a:spcPts val="0"/>
              </a:spcBef>
              <a:spcAft>
                <a:spcPts val="0"/>
              </a:spcAft>
              <a:buClrTx/>
              <a:buSzTx/>
              <a:buFontTx/>
              <a:buNone/>
              <a:tabLst/>
              <a:defRPr/>
            </a:pPr>
            <a:r>
              <a:rPr kumimoji="0" lang="en-US" altLang="zh-CN" sz="1800" b="0" i="0" u="none" strike="noStrike" kern="1200" cap="none" spc="45" normalizeH="0" baseline="0" noProof="0" dirty="0">
                <a:ln>
                  <a:noFill/>
                </a:ln>
                <a:solidFill>
                  <a:srgbClr val="FFFFFF"/>
                </a:solidFill>
                <a:effectLst/>
                <a:uLnTx/>
                <a:uFillTx/>
                <a:latin typeface="OPPOSans R" panose="00020600040101010101" pitchFamily="18" charset="-122"/>
                <a:ea typeface="OPPOSans R" panose="00020600040101010101" pitchFamily="18" charset="-122"/>
                <a:cs typeface="OPPOSans R" panose="00020600040101010101" pitchFamily="18" charset="-122"/>
              </a:rPr>
              <a:t>Finally</a:t>
            </a:r>
            <a:endParaRPr kumimoji="0" lang="zh-CN" altLang="en-US" sz="800" b="0" i="0" u="none" strike="noStrike" kern="1200" cap="none" spc="0" normalizeH="0" baseline="0" noProof="0">
              <a:ln>
                <a:noFill/>
              </a:ln>
              <a:solidFill>
                <a:srgbClr val="000000"/>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p:txBody>
      </p:sp>
      <p:sp>
        <p:nvSpPr>
          <p:cNvPr id="48" name="椭圆 47">
            <a:extLst>
              <a:ext uri="{FF2B5EF4-FFF2-40B4-BE49-F238E27FC236}">
                <a16:creationId xmlns:a16="http://schemas.microsoft.com/office/drawing/2014/main" id="{FB305F18-DE59-497E-821E-673FE25ED52E}"/>
              </a:ext>
            </a:extLst>
          </p:cNvPr>
          <p:cNvSpPr>
            <a:spLocks/>
          </p:cNvSpPr>
          <p:nvPr/>
        </p:nvSpPr>
        <p:spPr>
          <a:xfrm>
            <a:off x="5803900" y="2362200"/>
            <a:ext cx="678629" cy="678873"/>
          </a:xfrm>
          <a:prstGeom prst="ellipse">
            <a:avLst/>
          </a:prstGeom>
          <a:solidFill>
            <a:schemeClr val="bg1"/>
          </a:solidFill>
          <a:ln w="5080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Arial" panose="020F0502020204030204"/>
              <a:ea typeface="微软雅黑"/>
              <a:cs typeface="+mn-cs"/>
            </a:endParaRPr>
          </a:p>
        </p:txBody>
      </p:sp>
      <p:sp>
        <p:nvSpPr>
          <p:cNvPr id="74" name="Freeform 69">
            <a:extLst>
              <a:ext uri="{FF2B5EF4-FFF2-40B4-BE49-F238E27FC236}">
                <a16:creationId xmlns:a16="http://schemas.microsoft.com/office/drawing/2014/main" id="{FE391B89-0591-4781-8A5E-4F606385F498}"/>
              </a:ext>
            </a:extLst>
          </p:cNvPr>
          <p:cNvSpPr>
            <a:spLocks/>
          </p:cNvSpPr>
          <p:nvPr/>
        </p:nvSpPr>
        <p:spPr>
          <a:xfrm>
            <a:off x="5980532" y="2540000"/>
            <a:ext cx="326036" cy="330103"/>
          </a:xfrm>
          <a:custGeom>
            <a:avLst/>
            <a:gdLst>
              <a:gd name="connsiteX0" fmla="*/ 177490 w 351391"/>
              <a:gd name="connsiteY0" fmla="*/ 125012 h 355774"/>
              <a:gd name="connsiteX1" fmla="*/ 167363 w 351391"/>
              <a:gd name="connsiteY1" fmla="*/ 125126 h 355774"/>
              <a:gd name="connsiteX2" fmla="*/ 117082 w 351391"/>
              <a:gd name="connsiteY2" fmla="*/ 175407 h 355774"/>
              <a:gd name="connsiteX3" fmla="*/ 101710 w 351391"/>
              <a:gd name="connsiteY3" fmla="*/ 181728 h 355774"/>
              <a:gd name="connsiteX4" fmla="*/ 68381 w 351391"/>
              <a:gd name="connsiteY4" fmla="*/ 181728 h 355774"/>
              <a:gd name="connsiteX5" fmla="*/ 61198 w 351391"/>
              <a:gd name="connsiteY5" fmla="*/ 188552 h 355774"/>
              <a:gd name="connsiteX6" fmla="*/ 68381 w 351391"/>
              <a:gd name="connsiteY6" fmla="*/ 195735 h 355774"/>
              <a:gd name="connsiteX7" fmla="*/ 113777 w 351391"/>
              <a:gd name="connsiteY7" fmla="*/ 195735 h 355774"/>
              <a:gd name="connsiteX8" fmla="*/ 118950 w 351391"/>
              <a:gd name="connsiteY8" fmla="*/ 193652 h 355774"/>
              <a:gd name="connsiteX9" fmla="*/ 157307 w 351391"/>
              <a:gd name="connsiteY9" fmla="*/ 155367 h 355774"/>
              <a:gd name="connsiteX10" fmla="*/ 157378 w 351391"/>
              <a:gd name="connsiteY10" fmla="*/ 155317 h 355774"/>
              <a:gd name="connsiteX11" fmla="*/ 187834 w 351391"/>
              <a:gd name="connsiteY11" fmla="*/ 155367 h 355774"/>
              <a:gd name="connsiteX12" fmla="*/ 224467 w 351391"/>
              <a:gd name="connsiteY12" fmla="*/ 191282 h 355774"/>
              <a:gd name="connsiteX13" fmla="*/ 229639 w 351391"/>
              <a:gd name="connsiteY13" fmla="*/ 193293 h 355774"/>
              <a:gd name="connsiteX14" fmla="*/ 283511 w 351391"/>
              <a:gd name="connsiteY14" fmla="*/ 193293 h 355774"/>
              <a:gd name="connsiteX15" fmla="*/ 283511 w 351391"/>
              <a:gd name="connsiteY15" fmla="*/ 193077 h 355774"/>
              <a:gd name="connsiteX16" fmla="*/ 290766 w 351391"/>
              <a:gd name="connsiteY16" fmla="*/ 186182 h 355774"/>
              <a:gd name="connsiteX17" fmla="*/ 283583 w 351391"/>
              <a:gd name="connsiteY17" fmla="*/ 178999 h 355774"/>
              <a:gd name="connsiteX18" fmla="*/ 241634 w 351391"/>
              <a:gd name="connsiteY18" fmla="*/ 178999 h 355774"/>
              <a:gd name="connsiteX19" fmla="*/ 226407 w 351391"/>
              <a:gd name="connsiteY19" fmla="*/ 172821 h 355774"/>
              <a:gd name="connsiteX20" fmla="*/ 177634 w 351391"/>
              <a:gd name="connsiteY20" fmla="*/ 125126 h 355774"/>
              <a:gd name="connsiteX21" fmla="*/ 177490 w 351391"/>
              <a:gd name="connsiteY21" fmla="*/ 125012 h 355774"/>
              <a:gd name="connsiteX22" fmla="*/ 172391 w 351391"/>
              <a:gd name="connsiteY22" fmla="*/ 109127 h 355774"/>
              <a:gd name="connsiteX23" fmla="*/ 187618 w 351391"/>
              <a:gd name="connsiteY23" fmla="*/ 115430 h 355774"/>
              <a:gd name="connsiteX24" fmla="*/ 236391 w 351391"/>
              <a:gd name="connsiteY24" fmla="*/ 163125 h 355774"/>
              <a:gd name="connsiteX25" fmla="*/ 241563 w 351391"/>
              <a:gd name="connsiteY25" fmla="*/ 165208 h 355774"/>
              <a:gd name="connsiteX26" fmla="*/ 283511 w 351391"/>
              <a:gd name="connsiteY26" fmla="*/ 165208 h 355774"/>
              <a:gd name="connsiteX27" fmla="*/ 304988 w 351391"/>
              <a:gd name="connsiteY27" fmla="*/ 186541 h 355774"/>
              <a:gd name="connsiteX28" fmla="*/ 283439 w 351391"/>
              <a:gd name="connsiteY28" fmla="*/ 208090 h 355774"/>
              <a:gd name="connsiteX29" fmla="*/ 229567 w 351391"/>
              <a:gd name="connsiteY29" fmla="*/ 208090 h 355774"/>
              <a:gd name="connsiteX30" fmla="*/ 214411 w 351391"/>
              <a:gd name="connsiteY30" fmla="*/ 201984 h 355774"/>
              <a:gd name="connsiteX31" fmla="*/ 177706 w 351391"/>
              <a:gd name="connsiteY31" fmla="*/ 166069 h 355774"/>
              <a:gd name="connsiteX32" fmla="*/ 177562 w 351391"/>
              <a:gd name="connsiteY32" fmla="*/ 165955 h 355774"/>
              <a:gd name="connsiteX33" fmla="*/ 167435 w 351391"/>
              <a:gd name="connsiteY33" fmla="*/ 166069 h 355774"/>
              <a:gd name="connsiteX34" fmla="*/ 129077 w 351391"/>
              <a:gd name="connsiteY34" fmla="*/ 204283 h 355774"/>
              <a:gd name="connsiteX35" fmla="*/ 113705 w 351391"/>
              <a:gd name="connsiteY35" fmla="*/ 210604 h 355774"/>
              <a:gd name="connsiteX36" fmla="*/ 68310 w 351391"/>
              <a:gd name="connsiteY36" fmla="*/ 210604 h 355774"/>
              <a:gd name="connsiteX37" fmla="*/ 46761 w 351391"/>
              <a:gd name="connsiteY37" fmla="*/ 189055 h 355774"/>
              <a:gd name="connsiteX38" fmla="*/ 68310 w 351391"/>
              <a:gd name="connsiteY38" fmla="*/ 167865 h 355774"/>
              <a:gd name="connsiteX39" fmla="*/ 101639 w 351391"/>
              <a:gd name="connsiteY39" fmla="*/ 167865 h 355774"/>
              <a:gd name="connsiteX40" fmla="*/ 106882 w 351391"/>
              <a:gd name="connsiteY40" fmla="*/ 165710 h 355774"/>
              <a:gd name="connsiteX41" fmla="*/ 157163 w 351391"/>
              <a:gd name="connsiteY41" fmla="*/ 115430 h 355774"/>
              <a:gd name="connsiteX42" fmla="*/ 172391 w 351391"/>
              <a:gd name="connsiteY42" fmla="*/ 109127 h 355774"/>
              <a:gd name="connsiteX43" fmla="*/ 24422 w 351391"/>
              <a:gd name="connsiteY43" fmla="*/ 50855 h 355774"/>
              <a:gd name="connsiteX44" fmla="*/ 14869 w 351391"/>
              <a:gd name="connsiteY44" fmla="*/ 59618 h 355774"/>
              <a:gd name="connsiteX45" fmla="*/ 14869 w 351391"/>
              <a:gd name="connsiteY45" fmla="*/ 271372 h 355774"/>
              <a:gd name="connsiteX46" fmla="*/ 24422 w 351391"/>
              <a:gd name="connsiteY46" fmla="*/ 280135 h 355774"/>
              <a:gd name="connsiteX47" fmla="*/ 105086 w 351391"/>
              <a:gd name="connsiteY47" fmla="*/ 280135 h 355774"/>
              <a:gd name="connsiteX48" fmla="*/ 79084 w 351391"/>
              <a:gd name="connsiteY48" fmla="*/ 323233 h 355774"/>
              <a:gd name="connsiteX49" fmla="*/ 81024 w 351391"/>
              <a:gd name="connsiteY49" fmla="*/ 334510 h 355774"/>
              <a:gd name="connsiteX50" fmla="*/ 89069 w 351391"/>
              <a:gd name="connsiteY50" fmla="*/ 340400 h 355774"/>
              <a:gd name="connsiteX51" fmla="*/ 93378 w 351391"/>
              <a:gd name="connsiteY51" fmla="*/ 341478 h 355774"/>
              <a:gd name="connsiteX52" fmla="*/ 97544 w 351391"/>
              <a:gd name="connsiteY52" fmla="*/ 338389 h 355774"/>
              <a:gd name="connsiteX53" fmla="*/ 130801 w 351391"/>
              <a:gd name="connsiteY53" fmla="*/ 280351 h 355774"/>
              <a:gd name="connsiteX54" fmla="*/ 166716 w 351391"/>
              <a:gd name="connsiteY54" fmla="*/ 280351 h 355774"/>
              <a:gd name="connsiteX55" fmla="*/ 166716 w 351391"/>
              <a:gd name="connsiteY55" fmla="*/ 331063 h 355774"/>
              <a:gd name="connsiteX56" fmla="*/ 173109 w 351391"/>
              <a:gd name="connsiteY56" fmla="*/ 336809 h 355774"/>
              <a:gd name="connsiteX57" fmla="*/ 182806 w 351391"/>
              <a:gd name="connsiteY57" fmla="*/ 336809 h 355774"/>
              <a:gd name="connsiteX58" fmla="*/ 189199 w 351391"/>
              <a:gd name="connsiteY58" fmla="*/ 331063 h 355774"/>
              <a:gd name="connsiteX59" fmla="*/ 189199 w 351391"/>
              <a:gd name="connsiteY59" fmla="*/ 280351 h 355774"/>
              <a:gd name="connsiteX60" fmla="*/ 225113 w 351391"/>
              <a:gd name="connsiteY60" fmla="*/ 280351 h 355774"/>
              <a:gd name="connsiteX61" fmla="*/ 258371 w 351391"/>
              <a:gd name="connsiteY61" fmla="*/ 338389 h 355774"/>
              <a:gd name="connsiteX62" fmla="*/ 262537 w 351391"/>
              <a:gd name="connsiteY62" fmla="*/ 341478 h 355774"/>
              <a:gd name="connsiteX63" fmla="*/ 266847 w 351391"/>
              <a:gd name="connsiteY63" fmla="*/ 340472 h 355774"/>
              <a:gd name="connsiteX64" fmla="*/ 274892 w 351391"/>
              <a:gd name="connsiteY64" fmla="*/ 334510 h 355774"/>
              <a:gd name="connsiteX65" fmla="*/ 276759 w 351391"/>
              <a:gd name="connsiteY65" fmla="*/ 323305 h 355774"/>
              <a:gd name="connsiteX66" fmla="*/ 250757 w 351391"/>
              <a:gd name="connsiteY66" fmla="*/ 280207 h 355774"/>
              <a:gd name="connsiteX67" fmla="*/ 328046 w 351391"/>
              <a:gd name="connsiteY67" fmla="*/ 280207 h 355774"/>
              <a:gd name="connsiteX68" fmla="*/ 337599 w 351391"/>
              <a:gd name="connsiteY68" fmla="*/ 271444 h 355774"/>
              <a:gd name="connsiteX69" fmla="*/ 337527 w 351391"/>
              <a:gd name="connsiteY69" fmla="*/ 59618 h 355774"/>
              <a:gd name="connsiteX70" fmla="*/ 327974 w 351391"/>
              <a:gd name="connsiteY70" fmla="*/ 50855 h 355774"/>
              <a:gd name="connsiteX71" fmla="*/ 100131 w 351391"/>
              <a:gd name="connsiteY71" fmla="*/ 14366 h 355774"/>
              <a:gd name="connsiteX72" fmla="*/ 86195 w 351391"/>
              <a:gd name="connsiteY72" fmla="*/ 28301 h 355774"/>
              <a:gd name="connsiteX73" fmla="*/ 86267 w 351391"/>
              <a:gd name="connsiteY73" fmla="*/ 36489 h 355774"/>
              <a:gd name="connsiteX74" fmla="*/ 265841 w 351391"/>
              <a:gd name="connsiteY74" fmla="*/ 36489 h 355774"/>
              <a:gd name="connsiteX75" fmla="*/ 265841 w 351391"/>
              <a:gd name="connsiteY75" fmla="*/ 28301 h 355774"/>
              <a:gd name="connsiteX76" fmla="*/ 265841 w 351391"/>
              <a:gd name="connsiteY76" fmla="*/ 27863 h 355774"/>
              <a:gd name="connsiteX77" fmla="*/ 251475 w 351391"/>
              <a:gd name="connsiteY77" fmla="*/ 14366 h 355774"/>
              <a:gd name="connsiteX78" fmla="*/ 99843 w 351391"/>
              <a:gd name="connsiteY78" fmla="*/ 0 h 355774"/>
              <a:gd name="connsiteX79" fmla="*/ 251475 w 351391"/>
              <a:gd name="connsiteY79" fmla="*/ 0 h 355774"/>
              <a:gd name="connsiteX80" fmla="*/ 280207 w 351391"/>
              <a:gd name="connsiteY80" fmla="*/ 28301 h 355774"/>
              <a:gd name="connsiteX81" fmla="*/ 280207 w 351391"/>
              <a:gd name="connsiteY81" fmla="*/ 36489 h 355774"/>
              <a:gd name="connsiteX82" fmla="*/ 327758 w 351391"/>
              <a:gd name="connsiteY82" fmla="*/ 36489 h 355774"/>
              <a:gd name="connsiteX83" fmla="*/ 351391 w 351391"/>
              <a:gd name="connsiteY83" fmla="*/ 59618 h 355774"/>
              <a:gd name="connsiteX84" fmla="*/ 351391 w 351391"/>
              <a:gd name="connsiteY84" fmla="*/ 270654 h 355774"/>
              <a:gd name="connsiteX85" fmla="*/ 327471 w 351391"/>
              <a:gd name="connsiteY85" fmla="*/ 293783 h 355774"/>
              <a:gd name="connsiteX86" fmla="*/ 275682 w 351391"/>
              <a:gd name="connsiteY86" fmla="*/ 293783 h 355774"/>
              <a:gd name="connsiteX87" fmla="*/ 288468 w 351391"/>
              <a:gd name="connsiteY87" fmla="*/ 315332 h 355774"/>
              <a:gd name="connsiteX88" fmla="*/ 282865 w 351391"/>
              <a:gd name="connsiteY88" fmla="*/ 345500 h 355774"/>
              <a:gd name="connsiteX89" fmla="*/ 274748 w 351391"/>
              <a:gd name="connsiteY89" fmla="*/ 351462 h 355774"/>
              <a:gd name="connsiteX90" fmla="*/ 263040 w 351391"/>
              <a:gd name="connsiteY90" fmla="*/ 355341 h 355774"/>
              <a:gd name="connsiteX91" fmla="*/ 259161 w 351391"/>
              <a:gd name="connsiteY91" fmla="*/ 355341 h 355774"/>
              <a:gd name="connsiteX92" fmla="*/ 245514 w 351391"/>
              <a:gd name="connsiteY92" fmla="*/ 345572 h 355774"/>
              <a:gd name="connsiteX93" fmla="*/ 214627 w 351391"/>
              <a:gd name="connsiteY93" fmla="*/ 294501 h 355774"/>
              <a:gd name="connsiteX94" fmla="*/ 202990 w 351391"/>
              <a:gd name="connsiteY94" fmla="*/ 294501 h 355774"/>
              <a:gd name="connsiteX95" fmla="*/ 202990 w 351391"/>
              <a:gd name="connsiteY95" fmla="*/ 330919 h 355774"/>
              <a:gd name="connsiteX96" fmla="*/ 182231 w 351391"/>
              <a:gd name="connsiteY96" fmla="*/ 351031 h 355774"/>
              <a:gd name="connsiteX97" fmla="*/ 172535 w 351391"/>
              <a:gd name="connsiteY97" fmla="*/ 351031 h 355774"/>
              <a:gd name="connsiteX98" fmla="*/ 151776 w 351391"/>
              <a:gd name="connsiteY98" fmla="*/ 330919 h 355774"/>
              <a:gd name="connsiteX99" fmla="*/ 151776 w 351391"/>
              <a:gd name="connsiteY99" fmla="*/ 294573 h 355774"/>
              <a:gd name="connsiteX100" fmla="*/ 140139 w 351391"/>
              <a:gd name="connsiteY100" fmla="*/ 294573 h 355774"/>
              <a:gd name="connsiteX101" fmla="*/ 109252 w 351391"/>
              <a:gd name="connsiteY101" fmla="*/ 345644 h 355774"/>
              <a:gd name="connsiteX102" fmla="*/ 95605 w 351391"/>
              <a:gd name="connsiteY102" fmla="*/ 355413 h 355774"/>
              <a:gd name="connsiteX103" fmla="*/ 80018 w 351391"/>
              <a:gd name="connsiteY103" fmla="*/ 351893 h 355774"/>
              <a:gd name="connsiteX104" fmla="*/ 71973 w 351391"/>
              <a:gd name="connsiteY104" fmla="*/ 345931 h 355774"/>
              <a:gd name="connsiteX105" fmla="*/ 66298 w 351391"/>
              <a:gd name="connsiteY105" fmla="*/ 315691 h 355774"/>
              <a:gd name="connsiteX106" fmla="*/ 79084 w 351391"/>
              <a:gd name="connsiteY106" fmla="*/ 294573 h 355774"/>
              <a:gd name="connsiteX107" fmla="*/ 23919 w 351391"/>
              <a:gd name="connsiteY107" fmla="*/ 294573 h 355774"/>
              <a:gd name="connsiteX108" fmla="*/ 0 w 351391"/>
              <a:gd name="connsiteY108" fmla="*/ 271444 h 355774"/>
              <a:gd name="connsiteX109" fmla="*/ 0 w 351391"/>
              <a:gd name="connsiteY109" fmla="*/ 59618 h 355774"/>
              <a:gd name="connsiteX110" fmla="*/ 23919 w 351391"/>
              <a:gd name="connsiteY110" fmla="*/ 36489 h 355774"/>
              <a:gd name="connsiteX111" fmla="*/ 71542 w 351391"/>
              <a:gd name="connsiteY111" fmla="*/ 36489 h 355774"/>
              <a:gd name="connsiteX112" fmla="*/ 71542 w 351391"/>
              <a:gd name="connsiteY112" fmla="*/ 28301 h 355774"/>
              <a:gd name="connsiteX113" fmla="*/ 99843 w 351391"/>
              <a:gd name="connsiteY113" fmla="*/ 0 h 3557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Lst>
            <a:rect l="l" t="t" r="r" b="b"/>
            <a:pathLst>
              <a:path w="351391" h="355774">
                <a:moveTo>
                  <a:pt x="177490" y="125012"/>
                </a:moveTo>
                <a:cubicBezTo>
                  <a:pt x="174690" y="122239"/>
                  <a:pt x="170164" y="122290"/>
                  <a:pt x="167363" y="125126"/>
                </a:cubicBezTo>
                <a:lnTo>
                  <a:pt x="117082" y="175407"/>
                </a:lnTo>
                <a:cubicBezTo>
                  <a:pt x="112987" y="179487"/>
                  <a:pt x="107456" y="181764"/>
                  <a:pt x="101710" y="181728"/>
                </a:cubicBezTo>
                <a:lnTo>
                  <a:pt x="68381" y="181728"/>
                </a:lnTo>
                <a:cubicBezTo>
                  <a:pt x="64574" y="181721"/>
                  <a:pt x="61414" y="184724"/>
                  <a:pt x="61198" y="188552"/>
                </a:cubicBezTo>
                <a:cubicBezTo>
                  <a:pt x="61198" y="192517"/>
                  <a:pt x="64430" y="195735"/>
                  <a:pt x="68381" y="195735"/>
                </a:cubicBezTo>
                <a:lnTo>
                  <a:pt x="113777" y="195735"/>
                </a:lnTo>
                <a:cubicBezTo>
                  <a:pt x="115717" y="195764"/>
                  <a:pt x="117585" y="195017"/>
                  <a:pt x="118950" y="193652"/>
                </a:cubicBezTo>
                <a:lnTo>
                  <a:pt x="157307" y="155367"/>
                </a:lnTo>
                <a:cubicBezTo>
                  <a:pt x="157307" y="155352"/>
                  <a:pt x="157307" y="155331"/>
                  <a:pt x="157378" y="155317"/>
                </a:cubicBezTo>
                <a:cubicBezTo>
                  <a:pt x="165782" y="146913"/>
                  <a:pt x="179430" y="146934"/>
                  <a:pt x="187834" y="155367"/>
                </a:cubicBezTo>
                <a:lnTo>
                  <a:pt x="224467" y="191282"/>
                </a:lnTo>
                <a:cubicBezTo>
                  <a:pt x="225832" y="192618"/>
                  <a:pt x="227699" y="193343"/>
                  <a:pt x="229639" y="193293"/>
                </a:cubicBezTo>
                <a:lnTo>
                  <a:pt x="283511" y="193293"/>
                </a:lnTo>
                <a:lnTo>
                  <a:pt x="283511" y="193077"/>
                </a:lnTo>
                <a:cubicBezTo>
                  <a:pt x="287390" y="193120"/>
                  <a:pt x="290622" y="190068"/>
                  <a:pt x="290766" y="186182"/>
                </a:cubicBezTo>
                <a:cubicBezTo>
                  <a:pt x="290766" y="182217"/>
                  <a:pt x="287534" y="178999"/>
                  <a:pt x="283583" y="178999"/>
                </a:cubicBezTo>
                <a:lnTo>
                  <a:pt x="241634" y="178999"/>
                </a:lnTo>
                <a:cubicBezTo>
                  <a:pt x="235960" y="179035"/>
                  <a:pt x="230501" y="176808"/>
                  <a:pt x="226407" y="172821"/>
                </a:cubicBezTo>
                <a:lnTo>
                  <a:pt x="177634" y="125126"/>
                </a:lnTo>
                <a:cubicBezTo>
                  <a:pt x="177562" y="125091"/>
                  <a:pt x="177562" y="125048"/>
                  <a:pt x="177490" y="125012"/>
                </a:cubicBezTo>
                <a:close/>
                <a:moveTo>
                  <a:pt x="172391" y="109127"/>
                </a:moveTo>
                <a:cubicBezTo>
                  <a:pt x="177903" y="109127"/>
                  <a:pt x="183416" y="111228"/>
                  <a:pt x="187618" y="115430"/>
                </a:cubicBezTo>
                <a:lnTo>
                  <a:pt x="236391" y="163125"/>
                </a:lnTo>
                <a:cubicBezTo>
                  <a:pt x="237755" y="164489"/>
                  <a:pt x="239623" y="165236"/>
                  <a:pt x="241563" y="165208"/>
                </a:cubicBezTo>
                <a:lnTo>
                  <a:pt x="283511" y="165208"/>
                </a:lnTo>
                <a:cubicBezTo>
                  <a:pt x="295291" y="165244"/>
                  <a:pt x="304845" y="174754"/>
                  <a:pt x="304988" y="186541"/>
                </a:cubicBezTo>
                <a:cubicBezTo>
                  <a:pt x="304988" y="198443"/>
                  <a:pt x="295363" y="208090"/>
                  <a:pt x="283439" y="208090"/>
                </a:cubicBezTo>
                <a:lnTo>
                  <a:pt x="229567" y="208090"/>
                </a:lnTo>
                <a:cubicBezTo>
                  <a:pt x="223893" y="208126"/>
                  <a:pt x="218434" y="205928"/>
                  <a:pt x="214411" y="201984"/>
                </a:cubicBezTo>
                <a:lnTo>
                  <a:pt x="177706" y="166069"/>
                </a:lnTo>
                <a:cubicBezTo>
                  <a:pt x="177634" y="166034"/>
                  <a:pt x="177634" y="165991"/>
                  <a:pt x="177562" y="165955"/>
                </a:cubicBezTo>
                <a:cubicBezTo>
                  <a:pt x="174761" y="163182"/>
                  <a:pt x="170235" y="163232"/>
                  <a:pt x="167435" y="166069"/>
                </a:cubicBezTo>
                <a:lnTo>
                  <a:pt x="129077" y="204283"/>
                </a:lnTo>
                <a:cubicBezTo>
                  <a:pt x="124983" y="208363"/>
                  <a:pt x="119452" y="210640"/>
                  <a:pt x="113705" y="210604"/>
                </a:cubicBezTo>
                <a:lnTo>
                  <a:pt x="68310" y="210604"/>
                </a:lnTo>
                <a:cubicBezTo>
                  <a:pt x="56386" y="210604"/>
                  <a:pt x="46761" y="200957"/>
                  <a:pt x="46761" y="189055"/>
                </a:cubicBezTo>
                <a:cubicBezTo>
                  <a:pt x="46976" y="177296"/>
                  <a:pt x="56529" y="167865"/>
                  <a:pt x="68310" y="167865"/>
                </a:cubicBezTo>
                <a:lnTo>
                  <a:pt x="101639" y="167865"/>
                </a:lnTo>
                <a:cubicBezTo>
                  <a:pt x="103578" y="167894"/>
                  <a:pt x="105518" y="167118"/>
                  <a:pt x="106882" y="165710"/>
                </a:cubicBezTo>
                <a:lnTo>
                  <a:pt x="157163" y="115430"/>
                </a:lnTo>
                <a:cubicBezTo>
                  <a:pt x="161365" y="111228"/>
                  <a:pt x="166878" y="109127"/>
                  <a:pt x="172391" y="109127"/>
                </a:cubicBezTo>
                <a:close/>
                <a:moveTo>
                  <a:pt x="24422" y="50855"/>
                </a:moveTo>
                <a:cubicBezTo>
                  <a:pt x="19393" y="50654"/>
                  <a:pt x="15084" y="54569"/>
                  <a:pt x="14869" y="59618"/>
                </a:cubicBezTo>
                <a:lnTo>
                  <a:pt x="14869" y="271372"/>
                </a:lnTo>
                <a:cubicBezTo>
                  <a:pt x="15084" y="276422"/>
                  <a:pt x="19393" y="280337"/>
                  <a:pt x="24422" y="280135"/>
                </a:cubicBezTo>
                <a:lnTo>
                  <a:pt x="105086" y="280135"/>
                </a:lnTo>
                <a:lnTo>
                  <a:pt x="79084" y="323233"/>
                </a:lnTo>
                <a:cubicBezTo>
                  <a:pt x="76857" y="326954"/>
                  <a:pt x="77648" y="331752"/>
                  <a:pt x="81024" y="334510"/>
                </a:cubicBezTo>
                <a:lnTo>
                  <a:pt x="89069" y="340400"/>
                </a:lnTo>
                <a:cubicBezTo>
                  <a:pt x="90290" y="341320"/>
                  <a:pt x="91870" y="341708"/>
                  <a:pt x="93378" y="341478"/>
                </a:cubicBezTo>
                <a:cubicBezTo>
                  <a:pt x="95102" y="341068"/>
                  <a:pt x="96610" y="339948"/>
                  <a:pt x="97544" y="338389"/>
                </a:cubicBezTo>
                <a:lnTo>
                  <a:pt x="130801" y="280351"/>
                </a:lnTo>
                <a:lnTo>
                  <a:pt x="166716" y="280351"/>
                </a:lnTo>
                <a:lnTo>
                  <a:pt x="166716" y="331063"/>
                </a:lnTo>
                <a:cubicBezTo>
                  <a:pt x="166932" y="334410"/>
                  <a:pt x="169733" y="336974"/>
                  <a:pt x="173109" y="336809"/>
                </a:cubicBezTo>
                <a:lnTo>
                  <a:pt x="182806" y="336809"/>
                </a:lnTo>
                <a:cubicBezTo>
                  <a:pt x="186182" y="336974"/>
                  <a:pt x="188984" y="334410"/>
                  <a:pt x="189199" y="331063"/>
                </a:cubicBezTo>
                <a:lnTo>
                  <a:pt x="189199" y="280351"/>
                </a:lnTo>
                <a:lnTo>
                  <a:pt x="225113" y="280351"/>
                </a:lnTo>
                <a:lnTo>
                  <a:pt x="258371" y="338389"/>
                </a:lnTo>
                <a:cubicBezTo>
                  <a:pt x="259304" y="339948"/>
                  <a:pt x="260813" y="341068"/>
                  <a:pt x="262537" y="341478"/>
                </a:cubicBezTo>
                <a:cubicBezTo>
                  <a:pt x="264045" y="341794"/>
                  <a:pt x="265625" y="341428"/>
                  <a:pt x="266847" y="340472"/>
                </a:cubicBezTo>
                <a:lnTo>
                  <a:pt x="274892" y="334510"/>
                </a:lnTo>
                <a:cubicBezTo>
                  <a:pt x="278196" y="331752"/>
                  <a:pt x="278986" y="326990"/>
                  <a:pt x="276759" y="323305"/>
                </a:cubicBezTo>
                <a:lnTo>
                  <a:pt x="250757" y="280207"/>
                </a:lnTo>
                <a:lnTo>
                  <a:pt x="328046" y="280207"/>
                </a:lnTo>
                <a:cubicBezTo>
                  <a:pt x="333074" y="280408"/>
                  <a:pt x="337383" y="276493"/>
                  <a:pt x="337599" y="271444"/>
                </a:cubicBezTo>
                <a:lnTo>
                  <a:pt x="337527" y="59618"/>
                </a:lnTo>
                <a:cubicBezTo>
                  <a:pt x="337311" y="54569"/>
                  <a:pt x="333002" y="50654"/>
                  <a:pt x="327974" y="50855"/>
                </a:cubicBezTo>
                <a:close/>
                <a:moveTo>
                  <a:pt x="100131" y="14366"/>
                </a:moveTo>
                <a:cubicBezTo>
                  <a:pt x="92444" y="14366"/>
                  <a:pt x="86195" y="20608"/>
                  <a:pt x="86195" y="28301"/>
                </a:cubicBezTo>
                <a:lnTo>
                  <a:pt x="86267" y="36489"/>
                </a:lnTo>
                <a:lnTo>
                  <a:pt x="265841" y="36489"/>
                </a:lnTo>
                <a:lnTo>
                  <a:pt x="265841" y="28301"/>
                </a:lnTo>
                <a:cubicBezTo>
                  <a:pt x="265841" y="28157"/>
                  <a:pt x="265841" y="28006"/>
                  <a:pt x="265841" y="27863"/>
                </a:cubicBezTo>
                <a:cubicBezTo>
                  <a:pt x="265625" y="20169"/>
                  <a:pt x="259161" y="14128"/>
                  <a:pt x="251475" y="14366"/>
                </a:cubicBezTo>
                <a:close/>
                <a:moveTo>
                  <a:pt x="99843" y="0"/>
                </a:moveTo>
                <a:lnTo>
                  <a:pt x="251475" y="0"/>
                </a:lnTo>
                <a:cubicBezTo>
                  <a:pt x="267206" y="0"/>
                  <a:pt x="279991" y="12599"/>
                  <a:pt x="280207" y="28301"/>
                </a:cubicBezTo>
                <a:lnTo>
                  <a:pt x="280207" y="36489"/>
                </a:lnTo>
                <a:lnTo>
                  <a:pt x="327758" y="36489"/>
                </a:lnTo>
                <a:cubicBezTo>
                  <a:pt x="340616" y="36446"/>
                  <a:pt x="351175" y="46746"/>
                  <a:pt x="351391" y="59618"/>
                </a:cubicBezTo>
                <a:lnTo>
                  <a:pt x="351391" y="270654"/>
                </a:lnTo>
                <a:cubicBezTo>
                  <a:pt x="351175" y="283640"/>
                  <a:pt x="340472" y="293984"/>
                  <a:pt x="327471" y="293783"/>
                </a:cubicBezTo>
                <a:lnTo>
                  <a:pt x="275682" y="293783"/>
                </a:lnTo>
                <a:lnTo>
                  <a:pt x="288468" y="315332"/>
                </a:lnTo>
                <a:cubicBezTo>
                  <a:pt x="294645" y="325330"/>
                  <a:pt x="292203" y="338382"/>
                  <a:pt x="282865" y="345500"/>
                </a:cubicBezTo>
                <a:lnTo>
                  <a:pt x="274748" y="351462"/>
                </a:lnTo>
                <a:cubicBezTo>
                  <a:pt x="271372" y="353983"/>
                  <a:pt x="267277" y="355341"/>
                  <a:pt x="263040" y="355341"/>
                </a:cubicBezTo>
                <a:cubicBezTo>
                  <a:pt x="261747" y="355485"/>
                  <a:pt x="260454" y="355485"/>
                  <a:pt x="259161" y="355341"/>
                </a:cubicBezTo>
                <a:cubicBezTo>
                  <a:pt x="253415" y="354156"/>
                  <a:pt x="248458" y="350607"/>
                  <a:pt x="245514" y="345572"/>
                </a:cubicBezTo>
                <a:lnTo>
                  <a:pt x="214627" y="294501"/>
                </a:lnTo>
                <a:lnTo>
                  <a:pt x="202990" y="294501"/>
                </a:lnTo>
                <a:lnTo>
                  <a:pt x="202990" y="330919"/>
                </a:lnTo>
                <a:cubicBezTo>
                  <a:pt x="202775" y="342196"/>
                  <a:pt x="193509" y="351189"/>
                  <a:pt x="182231" y="351031"/>
                </a:cubicBezTo>
                <a:lnTo>
                  <a:pt x="172535" y="351031"/>
                </a:lnTo>
                <a:cubicBezTo>
                  <a:pt x="161257" y="351189"/>
                  <a:pt x="151991" y="342196"/>
                  <a:pt x="151776" y="330919"/>
                </a:cubicBezTo>
                <a:lnTo>
                  <a:pt x="151776" y="294573"/>
                </a:lnTo>
                <a:lnTo>
                  <a:pt x="140139" y="294573"/>
                </a:lnTo>
                <a:lnTo>
                  <a:pt x="109252" y="345644"/>
                </a:lnTo>
                <a:cubicBezTo>
                  <a:pt x="106236" y="350658"/>
                  <a:pt x="101351" y="354199"/>
                  <a:pt x="95605" y="355413"/>
                </a:cubicBezTo>
                <a:cubicBezTo>
                  <a:pt x="90146" y="356469"/>
                  <a:pt x="84471" y="355190"/>
                  <a:pt x="80018" y="351893"/>
                </a:cubicBezTo>
                <a:lnTo>
                  <a:pt x="71973" y="345931"/>
                </a:lnTo>
                <a:cubicBezTo>
                  <a:pt x="62563" y="338827"/>
                  <a:pt x="60121" y="325725"/>
                  <a:pt x="66298" y="315691"/>
                </a:cubicBezTo>
                <a:lnTo>
                  <a:pt x="79084" y="294573"/>
                </a:lnTo>
                <a:lnTo>
                  <a:pt x="23919" y="294573"/>
                </a:lnTo>
                <a:cubicBezTo>
                  <a:pt x="10918" y="294774"/>
                  <a:pt x="215" y="284431"/>
                  <a:pt x="0" y="271444"/>
                </a:cubicBezTo>
                <a:lnTo>
                  <a:pt x="0" y="59618"/>
                </a:lnTo>
                <a:cubicBezTo>
                  <a:pt x="215" y="46632"/>
                  <a:pt x="10918" y="36288"/>
                  <a:pt x="23919" y="36489"/>
                </a:cubicBezTo>
                <a:lnTo>
                  <a:pt x="71542" y="36489"/>
                </a:lnTo>
                <a:lnTo>
                  <a:pt x="71542" y="28301"/>
                </a:lnTo>
                <a:cubicBezTo>
                  <a:pt x="71757" y="12764"/>
                  <a:pt x="84328" y="229"/>
                  <a:pt x="99843" y="0"/>
                </a:cubicBezTo>
                <a:close/>
              </a:path>
            </a:pathLst>
          </a:custGeom>
          <a:solidFill>
            <a:schemeClr val="accent1"/>
          </a:solidFill>
          <a:ln w="7163" cap="flat">
            <a:noFill/>
            <a:prstDash val="solid"/>
            <a:miter/>
          </a:ln>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panose="020F0502020204030204"/>
              <a:ea typeface="微软雅黑"/>
              <a:cs typeface="+mn-cs"/>
            </a:endParaRPr>
          </a:p>
        </p:txBody>
      </p:sp>
      <p:sp>
        <p:nvSpPr>
          <p:cNvPr id="49" name="椭圆 48">
            <a:extLst>
              <a:ext uri="{FF2B5EF4-FFF2-40B4-BE49-F238E27FC236}">
                <a16:creationId xmlns:a16="http://schemas.microsoft.com/office/drawing/2014/main" id="{F15E97B8-A54F-4077-A5CD-C9B93F47A9D9}"/>
              </a:ext>
            </a:extLst>
          </p:cNvPr>
          <p:cNvSpPr>
            <a:spLocks/>
          </p:cNvSpPr>
          <p:nvPr/>
        </p:nvSpPr>
        <p:spPr>
          <a:xfrm>
            <a:off x="9906000" y="2362200"/>
            <a:ext cx="678629" cy="678873"/>
          </a:xfrm>
          <a:prstGeom prst="ellipse">
            <a:avLst/>
          </a:prstGeom>
          <a:solidFill>
            <a:schemeClr val="bg1"/>
          </a:solidFill>
          <a:ln w="5080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Arial" panose="020F0502020204030204"/>
              <a:ea typeface="微软雅黑"/>
              <a:cs typeface="+mn-cs"/>
            </a:endParaRPr>
          </a:p>
        </p:txBody>
      </p:sp>
      <p:sp>
        <p:nvSpPr>
          <p:cNvPr id="77" name="Freeform 70">
            <a:extLst>
              <a:ext uri="{FF2B5EF4-FFF2-40B4-BE49-F238E27FC236}">
                <a16:creationId xmlns:a16="http://schemas.microsoft.com/office/drawing/2014/main" id="{27CB9BD5-40E8-4FDC-A77F-DAB9A04C545D}"/>
              </a:ext>
            </a:extLst>
          </p:cNvPr>
          <p:cNvSpPr>
            <a:spLocks/>
          </p:cNvSpPr>
          <p:nvPr/>
        </p:nvSpPr>
        <p:spPr>
          <a:xfrm>
            <a:off x="10080599" y="2540000"/>
            <a:ext cx="330103" cy="330103"/>
          </a:xfrm>
          <a:custGeom>
            <a:avLst/>
            <a:gdLst>
              <a:gd name="connsiteX0" fmla="*/ 310298 w 344782"/>
              <a:gd name="connsiteY0" fmla="*/ 344285 h 344782"/>
              <a:gd name="connsiteX1" fmla="*/ 54872 w 344782"/>
              <a:gd name="connsiteY1" fmla="*/ 344285 h 344782"/>
              <a:gd name="connsiteX2" fmla="*/ 39572 w 344782"/>
              <a:gd name="connsiteY2" fmla="*/ 328985 h 344782"/>
              <a:gd name="connsiteX3" fmla="*/ 38639 w 344782"/>
              <a:gd name="connsiteY3" fmla="*/ 328051 h 344782"/>
              <a:gd name="connsiteX4" fmla="*/ 16443 w 344782"/>
              <a:gd name="connsiteY4" fmla="*/ 328051 h 344782"/>
              <a:gd name="connsiteX5" fmla="*/ 1144 w 344782"/>
              <a:gd name="connsiteY5" fmla="*/ 312752 h 344782"/>
              <a:gd name="connsiteX6" fmla="*/ 1144 w 344782"/>
              <a:gd name="connsiteY6" fmla="*/ 281865 h 344782"/>
              <a:gd name="connsiteX7" fmla="*/ 16443 w 344782"/>
              <a:gd name="connsiteY7" fmla="*/ 266565 h 344782"/>
              <a:gd name="connsiteX8" fmla="*/ 38639 w 344782"/>
              <a:gd name="connsiteY8" fmla="*/ 266565 h 344782"/>
              <a:gd name="connsiteX9" fmla="*/ 39572 w 344782"/>
              <a:gd name="connsiteY9" fmla="*/ 265631 h 344782"/>
              <a:gd name="connsiteX10" fmla="*/ 39572 w 344782"/>
              <a:gd name="connsiteY10" fmla="*/ 250404 h 344782"/>
              <a:gd name="connsiteX11" fmla="*/ 38639 w 344782"/>
              <a:gd name="connsiteY11" fmla="*/ 249470 h 344782"/>
              <a:gd name="connsiteX12" fmla="*/ 16443 w 344782"/>
              <a:gd name="connsiteY12" fmla="*/ 249470 h 344782"/>
              <a:gd name="connsiteX13" fmla="*/ 1144 w 344782"/>
              <a:gd name="connsiteY13" fmla="*/ 234170 h 344782"/>
              <a:gd name="connsiteX14" fmla="*/ 1144 w 344782"/>
              <a:gd name="connsiteY14" fmla="*/ 203283 h 344782"/>
              <a:gd name="connsiteX15" fmla="*/ 16443 w 344782"/>
              <a:gd name="connsiteY15" fmla="*/ 187984 h 344782"/>
              <a:gd name="connsiteX16" fmla="*/ 38639 w 344782"/>
              <a:gd name="connsiteY16" fmla="*/ 187984 h 344782"/>
              <a:gd name="connsiteX17" fmla="*/ 39572 w 344782"/>
              <a:gd name="connsiteY17" fmla="*/ 187050 h 344782"/>
              <a:gd name="connsiteX18" fmla="*/ 39572 w 344782"/>
              <a:gd name="connsiteY18" fmla="*/ 171894 h 344782"/>
              <a:gd name="connsiteX19" fmla="*/ 38639 w 344782"/>
              <a:gd name="connsiteY19" fmla="*/ 170960 h 344782"/>
              <a:gd name="connsiteX20" fmla="*/ 16443 w 344782"/>
              <a:gd name="connsiteY20" fmla="*/ 170960 h 344782"/>
              <a:gd name="connsiteX21" fmla="*/ 1144 w 344782"/>
              <a:gd name="connsiteY21" fmla="*/ 155660 h 344782"/>
              <a:gd name="connsiteX22" fmla="*/ 1144 w 344782"/>
              <a:gd name="connsiteY22" fmla="*/ 124702 h 344782"/>
              <a:gd name="connsiteX23" fmla="*/ 16443 w 344782"/>
              <a:gd name="connsiteY23" fmla="*/ 109474 h 344782"/>
              <a:gd name="connsiteX24" fmla="*/ 38639 w 344782"/>
              <a:gd name="connsiteY24" fmla="*/ 109474 h 344782"/>
              <a:gd name="connsiteX25" fmla="*/ 39572 w 344782"/>
              <a:gd name="connsiteY25" fmla="*/ 108540 h 344782"/>
              <a:gd name="connsiteX26" fmla="*/ 39572 w 344782"/>
              <a:gd name="connsiteY26" fmla="*/ 93312 h 344782"/>
              <a:gd name="connsiteX27" fmla="*/ 38639 w 344782"/>
              <a:gd name="connsiteY27" fmla="*/ 92378 h 344782"/>
              <a:gd name="connsiteX28" fmla="*/ 16443 w 344782"/>
              <a:gd name="connsiteY28" fmla="*/ 92378 h 344782"/>
              <a:gd name="connsiteX29" fmla="*/ 1144 w 344782"/>
              <a:gd name="connsiteY29" fmla="*/ 77079 h 344782"/>
              <a:gd name="connsiteX30" fmla="*/ 1144 w 344782"/>
              <a:gd name="connsiteY30" fmla="*/ 46192 h 344782"/>
              <a:gd name="connsiteX31" fmla="*/ 16443 w 344782"/>
              <a:gd name="connsiteY31" fmla="*/ 30892 h 344782"/>
              <a:gd name="connsiteX32" fmla="*/ 38639 w 344782"/>
              <a:gd name="connsiteY32" fmla="*/ 30892 h 344782"/>
              <a:gd name="connsiteX33" fmla="*/ 39572 w 344782"/>
              <a:gd name="connsiteY33" fmla="*/ 29958 h 344782"/>
              <a:gd name="connsiteX34" fmla="*/ 39572 w 344782"/>
              <a:gd name="connsiteY34" fmla="*/ 14802 h 344782"/>
              <a:gd name="connsiteX35" fmla="*/ 54872 w 344782"/>
              <a:gd name="connsiteY35" fmla="*/ -497 h 344782"/>
              <a:gd name="connsiteX36" fmla="*/ 330626 w 344782"/>
              <a:gd name="connsiteY36" fmla="*/ -497 h 344782"/>
              <a:gd name="connsiteX37" fmla="*/ 345926 w 344782"/>
              <a:gd name="connsiteY37" fmla="*/ 14802 h 344782"/>
              <a:gd name="connsiteX38" fmla="*/ 345926 w 344782"/>
              <a:gd name="connsiteY38" fmla="*/ 283948 h 344782"/>
              <a:gd name="connsiteX39" fmla="*/ 344561 w 344782"/>
              <a:gd name="connsiteY39" fmla="*/ 290197 h 344782"/>
              <a:gd name="connsiteX40" fmla="*/ 324377 w 344782"/>
              <a:gd name="connsiteY40" fmla="*/ 335234 h 344782"/>
              <a:gd name="connsiteX41" fmla="*/ 310298 w 344782"/>
              <a:gd name="connsiteY41" fmla="*/ 344285 h 344782"/>
              <a:gd name="connsiteX42" fmla="*/ 16300 w 344782"/>
              <a:gd name="connsiteY42" fmla="*/ 280931 h 344782"/>
              <a:gd name="connsiteX43" fmla="*/ 15366 w 344782"/>
              <a:gd name="connsiteY43" fmla="*/ 281865 h 344782"/>
              <a:gd name="connsiteX44" fmla="*/ 15366 w 344782"/>
              <a:gd name="connsiteY44" fmla="*/ 312752 h 344782"/>
              <a:gd name="connsiteX45" fmla="*/ 16300 w 344782"/>
              <a:gd name="connsiteY45" fmla="*/ 313685 h 344782"/>
              <a:gd name="connsiteX46" fmla="*/ 38495 w 344782"/>
              <a:gd name="connsiteY46" fmla="*/ 313685 h 344782"/>
              <a:gd name="connsiteX47" fmla="*/ 53794 w 344782"/>
              <a:gd name="connsiteY47" fmla="*/ 328985 h 344782"/>
              <a:gd name="connsiteX48" fmla="*/ 54728 w 344782"/>
              <a:gd name="connsiteY48" fmla="*/ 329919 h 344782"/>
              <a:gd name="connsiteX49" fmla="*/ 310298 w 344782"/>
              <a:gd name="connsiteY49" fmla="*/ 329919 h 344782"/>
              <a:gd name="connsiteX50" fmla="*/ 311160 w 344782"/>
              <a:gd name="connsiteY50" fmla="*/ 329344 h 344782"/>
              <a:gd name="connsiteX51" fmla="*/ 331344 w 344782"/>
              <a:gd name="connsiteY51" fmla="*/ 284307 h 344782"/>
              <a:gd name="connsiteX52" fmla="*/ 331344 w 344782"/>
              <a:gd name="connsiteY52" fmla="*/ 14802 h 344782"/>
              <a:gd name="connsiteX53" fmla="*/ 330410 w 344782"/>
              <a:gd name="connsiteY53" fmla="*/ 13869 h 344782"/>
              <a:gd name="connsiteX54" fmla="*/ 54872 w 344782"/>
              <a:gd name="connsiteY54" fmla="*/ 13869 h 344782"/>
              <a:gd name="connsiteX55" fmla="*/ 53938 w 344782"/>
              <a:gd name="connsiteY55" fmla="*/ 14802 h 344782"/>
              <a:gd name="connsiteX56" fmla="*/ 53938 w 344782"/>
              <a:gd name="connsiteY56" fmla="*/ 29958 h 344782"/>
              <a:gd name="connsiteX57" fmla="*/ 38639 w 344782"/>
              <a:gd name="connsiteY57" fmla="*/ 45258 h 344782"/>
              <a:gd name="connsiteX58" fmla="*/ 16443 w 344782"/>
              <a:gd name="connsiteY58" fmla="*/ 45258 h 344782"/>
              <a:gd name="connsiteX59" fmla="*/ 15510 w 344782"/>
              <a:gd name="connsiteY59" fmla="*/ 46192 h 344782"/>
              <a:gd name="connsiteX60" fmla="*/ 15510 w 344782"/>
              <a:gd name="connsiteY60" fmla="*/ 77079 h 344782"/>
              <a:gd name="connsiteX61" fmla="*/ 16443 w 344782"/>
              <a:gd name="connsiteY61" fmla="*/ 78012 h 344782"/>
              <a:gd name="connsiteX62" fmla="*/ 38639 w 344782"/>
              <a:gd name="connsiteY62" fmla="*/ 78012 h 344782"/>
              <a:gd name="connsiteX63" fmla="*/ 53938 w 344782"/>
              <a:gd name="connsiteY63" fmla="*/ 93312 h 344782"/>
              <a:gd name="connsiteX64" fmla="*/ 53938 w 344782"/>
              <a:gd name="connsiteY64" fmla="*/ 108540 h 344782"/>
              <a:gd name="connsiteX65" fmla="*/ 38639 w 344782"/>
              <a:gd name="connsiteY65" fmla="*/ 123840 h 344782"/>
              <a:gd name="connsiteX66" fmla="*/ 16443 w 344782"/>
              <a:gd name="connsiteY66" fmla="*/ 123840 h 344782"/>
              <a:gd name="connsiteX67" fmla="*/ 15510 w 344782"/>
              <a:gd name="connsiteY67" fmla="*/ 124630 h 344782"/>
              <a:gd name="connsiteX68" fmla="*/ 15510 w 344782"/>
              <a:gd name="connsiteY68" fmla="*/ 124702 h 344782"/>
              <a:gd name="connsiteX69" fmla="*/ 15510 w 344782"/>
              <a:gd name="connsiteY69" fmla="*/ 155660 h 344782"/>
              <a:gd name="connsiteX70" fmla="*/ 16443 w 344782"/>
              <a:gd name="connsiteY70" fmla="*/ 156594 h 344782"/>
              <a:gd name="connsiteX71" fmla="*/ 38639 w 344782"/>
              <a:gd name="connsiteY71" fmla="*/ 156594 h 344782"/>
              <a:gd name="connsiteX72" fmla="*/ 53938 w 344782"/>
              <a:gd name="connsiteY72" fmla="*/ 171894 h 344782"/>
              <a:gd name="connsiteX73" fmla="*/ 53938 w 344782"/>
              <a:gd name="connsiteY73" fmla="*/ 187050 h 344782"/>
              <a:gd name="connsiteX74" fmla="*/ 38639 w 344782"/>
              <a:gd name="connsiteY74" fmla="*/ 202350 h 344782"/>
              <a:gd name="connsiteX75" fmla="*/ 16443 w 344782"/>
              <a:gd name="connsiteY75" fmla="*/ 202350 h 344782"/>
              <a:gd name="connsiteX76" fmla="*/ 15510 w 344782"/>
              <a:gd name="connsiteY76" fmla="*/ 203283 h 344782"/>
              <a:gd name="connsiteX77" fmla="*/ 15510 w 344782"/>
              <a:gd name="connsiteY77" fmla="*/ 234170 h 344782"/>
              <a:gd name="connsiteX78" fmla="*/ 16443 w 344782"/>
              <a:gd name="connsiteY78" fmla="*/ 235104 h 344782"/>
              <a:gd name="connsiteX79" fmla="*/ 38639 w 344782"/>
              <a:gd name="connsiteY79" fmla="*/ 235104 h 344782"/>
              <a:gd name="connsiteX80" fmla="*/ 53938 w 344782"/>
              <a:gd name="connsiteY80" fmla="*/ 250404 h 344782"/>
              <a:gd name="connsiteX81" fmla="*/ 53938 w 344782"/>
              <a:gd name="connsiteY81" fmla="*/ 265631 h 344782"/>
              <a:gd name="connsiteX82" fmla="*/ 38639 w 344782"/>
              <a:gd name="connsiteY82" fmla="*/ 280931 h 344782"/>
              <a:gd name="connsiteX83" fmla="*/ 300242 w 344782"/>
              <a:gd name="connsiteY83" fmla="*/ 128796 h 344782"/>
              <a:gd name="connsiteX84" fmla="*/ 291623 w 344782"/>
              <a:gd name="connsiteY84" fmla="*/ 126138 h 344782"/>
              <a:gd name="connsiteX85" fmla="*/ 278119 w 344782"/>
              <a:gd name="connsiteY85" fmla="*/ 116944 h 344782"/>
              <a:gd name="connsiteX86" fmla="*/ 277113 w 344782"/>
              <a:gd name="connsiteY86" fmla="*/ 116944 h 344782"/>
              <a:gd name="connsiteX87" fmla="*/ 263609 w 344782"/>
              <a:gd name="connsiteY87" fmla="*/ 126138 h 344782"/>
              <a:gd name="connsiteX88" fmla="*/ 247878 w 344782"/>
              <a:gd name="connsiteY88" fmla="*/ 127000 h 344782"/>
              <a:gd name="connsiteX89" fmla="*/ 239690 w 344782"/>
              <a:gd name="connsiteY89" fmla="*/ 113496 h 344782"/>
              <a:gd name="connsiteX90" fmla="*/ 239690 w 344782"/>
              <a:gd name="connsiteY90" fmla="*/ 46192 h 344782"/>
              <a:gd name="connsiteX91" fmla="*/ 254989 w 344782"/>
              <a:gd name="connsiteY91" fmla="*/ 30892 h 344782"/>
              <a:gd name="connsiteX92" fmla="*/ 300242 w 344782"/>
              <a:gd name="connsiteY92" fmla="*/ 30892 h 344782"/>
              <a:gd name="connsiteX93" fmla="*/ 315542 w 344782"/>
              <a:gd name="connsiteY93" fmla="*/ 46192 h 344782"/>
              <a:gd name="connsiteX94" fmla="*/ 315542 w 344782"/>
              <a:gd name="connsiteY94" fmla="*/ 113496 h 344782"/>
              <a:gd name="connsiteX95" fmla="*/ 307425 w 344782"/>
              <a:gd name="connsiteY95" fmla="*/ 127000 h 344782"/>
              <a:gd name="connsiteX96" fmla="*/ 300242 w 344782"/>
              <a:gd name="connsiteY96" fmla="*/ 128796 h 344782"/>
              <a:gd name="connsiteX97" fmla="*/ 299739 w 344782"/>
              <a:gd name="connsiteY97" fmla="*/ 114430 h 344782"/>
              <a:gd name="connsiteX98" fmla="*/ 300673 w 344782"/>
              <a:gd name="connsiteY98" fmla="*/ 114430 h 344782"/>
              <a:gd name="connsiteX99" fmla="*/ 301176 w 344782"/>
              <a:gd name="connsiteY99" fmla="*/ 113640 h 344782"/>
              <a:gd name="connsiteX100" fmla="*/ 301176 w 344782"/>
              <a:gd name="connsiteY100" fmla="*/ 46336 h 344782"/>
              <a:gd name="connsiteX101" fmla="*/ 300242 w 344782"/>
              <a:gd name="connsiteY101" fmla="*/ 45402 h 344782"/>
              <a:gd name="connsiteX102" fmla="*/ 254989 w 344782"/>
              <a:gd name="connsiteY102" fmla="*/ 45402 h 344782"/>
              <a:gd name="connsiteX103" fmla="*/ 254055 w 344782"/>
              <a:gd name="connsiteY103" fmla="*/ 46336 h 344782"/>
              <a:gd name="connsiteX104" fmla="*/ 254055 w 344782"/>
              <a:gd name="connsiteY104" fmla="*/ 113640 h 344782"/>
              <a:gd name="connsiteX105" fmla="*/ 254558 w 344782"/>
              <a:gd name="connsiteY105" fmla="*/ 114430 h 344782"/>
              <a:gd name="connsiteX106" fmla="*/ 255492 w 344782"/>
              <a:gd name="connsiteY106" fmla="*/ 114430 h 344782"/>
              <a:gd name="connsiteX107" fmla="*/ 268996 w 344782"/>
              <a:gd name="connsiteY107" fmla="*/ 105236 h 344782"/>
              <a:gd name="connsiteX108" fmla="*/ 286235 w 344782"/>
              <a:gd name="connsiteY108" fmla="*/ 105236 h 3447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Lst>
            <a:rect l="l" t="t" r="r" b="b"/>
            <a:pathLst>
              <a:path w="344782" h="344782">
                <a:moveTo>
                  <a:pt x="310298" y="344285"/>
                </a:moveTo>
                <a:lnTo>
                  <a:pt x="54872" y="344285"/>
                </a:lnTo>
                <a:cubicBezTo>
                  <a:pt x="46425" y="344285"/>
                  <a:pt x="39572" y="337433"/>
                  <a:pt x="39572" y="328985"/>
                </a:cubicBezTo>
                <a:cubicBezTo>
                  <a:pt x="39572" y="328468"/>
                  <a:pt x="39156" y="328051"/>
                  <a:pt x="38639" y="328051"/>
                </a:cubicBezTo>
                <a:lnTo>
                  <a:pt x="16443" y="328051"/>
                </a:lnTo>
                <a:cubicBezTo>
                  <a:pt x="8011" y="328015"/>
                  <a:pt x="1187" y="321185"/>
                  <a:pt x="1144" y="312752"/>
                </a:cubicBezTo>
                <a:lnTo>
                  <a:pt x="1144" y="281865"/>
                </a:lnTo>
                <a:cubicBezTo>
                  <a:pt x="1144" y="273418"/>
                  <a:pt x="7996" y="266565"/>
                  <a:pt x="16443" y="266565"/>
                </a:cubicBezTo>
                <a:lnTo>
                  <a:pt x="38639" y="266565"/>
                </a:lnTo>
                <a:cubicBezTo>
                  <a:pt x="39156" y="266565"/>
                  <a:pt x="39572" y="266149"/>
                  <a:pt x="39572" y="265631"/>
                </a:cubicBezTo>
                <a:lnTo>
                  <a:pt x="39572" y="250404"/>
                </a:lnTo>
                <a:cubicBezTo>
                  <a:pt x="39572" y="249886"/>
                  <a:pt x="39156" y="249470"/>
                  <a:pt x="38639" y="249470"/>
                </a:cubicBezTo>
                <a:lnTo>
                  <a:pt x="16443" y="249470"/>
                </a:lnTo>
                <a:cubicBezTo>
                  <a:pt x="7996" y="249470"/>
                  <a:pt x="1144" y="242617"/>
                  <a:pt x="1144" y="234170"/>
                </a:cubicBezTo>
                <a:lnTo>
                  <a:pt x="1144" y="203283"/>
                </a:lnTo>
                <a:cubicBezTo>
                  <a:pt x="1187" y="194850"/>
                  <a:pt x="8011" y="188020"/>
                  <a:pt x="16443" y="187984"/>
                </a:cubicBezTo>
                <a:lnTo>
                  <a:pt x="38639" y="187984"/>
                </a:lnTo>
                <a:cubicBezTo>
                  <a:pt x="39156" y="187984"/>
                  <a:pt x="39572" y="187567"/>
                  <a:pt x="39572" y="187050"/>
                </a:cubicBezTo>
                <a:lnTo>
                  <a:pt x="39572" y="171894"/>
                </a:lnTo>
                <a:cubicBezTo>
                  <a:pt x="39572" y="171377"/>
                  <a:pt x="39156" y="170960"/>
                  <a:pt x="38639" y="170960"/>
                </a:cubicBezTo>
                <a:lnTo>
                  <a:pt x="16443" y="170960"/>
                </a:lnTo>
                <a:cubicBezTo>
                  <a:pt x="8011" y="170924"/>
                  <a:pt x="1187" y="164093"/>
                  <a:pt x="1144" y="155660"/>
                </a:cubicBezTo>
                <a:lnTo>
                  <a:pt x="1144" y="124702"/>
                </a:lnTo>
                <a:cubicBezTo>
                  <a:pt x="1187" y="116283"/>
                  <a:pt x="8025" y="109474"/>
                  <a:pt x="16443" y="109474"/>
                </a:cubicBezTo>
                <a:lnTo>
                  <a:pt x="38639" y="109474"/>
                </a:lnTo>
                <a:cubicBezTo>
                  <a:pt x="39156" y="109474"/>
                  <a:pt x="39572" y="109057"/>
                  <a:pt x="39572" y="108540"/>
                </a:cubicBezTo>
                <a:lnTo>
                  <a:pt x="39572" y="93312"/>
                </a:lnTo>
                <a:cubicBezTo>
                  <a:pt x="39572" y="92795"/>
                  <a:pt x="39156" y="92378"/>
                  <a:pt x="38639" y="92378"/>
                </a:cubicBezTo>
                <a:lnTo>
                  <a:pt x="16443" y="92378"/>
                </a:lnTo>
                <a:cubicBezTo>
                  <a:pt x="7996" y="92378"/>
                  <a:pt x="1144" y="85526"/>
                  <a:pt x="1144" y="77079"/>
                </a:cubicBezTo>
                <a:lnTo>
                  <a:pt x="1144" y="46192"/>
                </a:lnTo>
                <a:cubicBezTo>
                  <a:pt x="1187" y="37759"/>
                  <a:pt x="8011" y="30928"/>
                  <a:pt x="16443" y="30892"/>
                </a:cubicBezTo>
                <a:lnTo>
                  <a:pt x="38639" y="30892"/>
                </a:lnTo>
                <a:cubicBezTo>
                  <a:pt x="39156" y="30892"/>
                  <a:pt x="39572" y="30476"/>
                  <a:pt x="39572" y="29958"/>
                </a:cubicBezTo>
                <a:lnTo>
                  <a:pt x="39572" y="14802"/>
                </a:lnTo>
                <a:cubicBezTo>
                  <a:pt x="39572" y="6355"/>
                  <a:pt x="46425" y="-497"/>
                  <a:pt x="54872" y="-497"/>
                </a:cubicBezTo>
                <a:lnTo>
                  <a:pt x="330626" y="-497"/>
                </a:lnTo>
                <a:cubicBezTo>
                  <a:pt x="339073" y="-497"/>
                  <a:pt x="345926" y="6355"/>
                  <a:pt x="345926" y="14802"/>
                </a:cubicBezTo>
                <a:lnTo>
                  <a:pt x="345926" y="283948"/>
                </a:lnTo>
                <a:cubicBezTo>
                  <a:pt x="345947" y="286110"/>
                  <a:pt x="345480" y="288243"/>
                  <a:pt x="344561" y="290197"/>
                </a:cubicBezTo>
                <a:lnTo>
                  <a:pt x="324377" y="335234"/>
                </a:lnTo>
                <a:cubicBezTo>
                  <a:pt x="321899" y="340779"/>
                  <a:pt x="316375" y="344328"/>
                  <a:pt x="310298" y="344285"/>
                </a:cubicBezTo>
                <a:close/>
                <a:moveTo>
                  <a:pt x="16300" y="280931"/>
                </a:moveTo>
                <a:cubicBezTo>
                  <a:pt x="15782" y="280931"/>
                  <a:pt x="15366" y="281348"/>
                  <a:pt x="15366" y="281865"/>
                </a:cubicBezTo>
                <a:lnTo>
                  <a:pt x="15366" y="312752"/>
                </a:lnTo>
                <a:cubicBezTo>
                  <a:pt x="15366" y="313269"/>
                  <a:pt x="15782" y="313685"/>
                  <a:pt x="16300" y="313685"/>
                </a:cubicBezTo>
                <a:lnTo>
                  <a:pt x="38495" y="313685"/>
                </a:lnTo>
                <a:cubicBezTo>
                  <a:pt x="46942" y="313685"/>
                  <a:pt x="53794" y="320538"/>
                  <a:pt x="53794" y="328985"/>
                </a:cubicBezTo>
                <a:cubicBezTo>
                  <a:pt x="53794" y="329503"/>
                  <a:pt x="54211" y="329919"/>
                  <a:pt x="54728" y="329919"/>
                </a:cubicBezTo>
                <a:lnTo>
                  <a:pt x="310298" y="329919"/>
                </a:lnTo>
                <a:cubicBezTo>
                  <a:pt x="310672" y="329919"/>
                  <a:pt x="311016" y="329689"/>
                  <a:pt x="311160" y="329344"/>
                </a:cubicBezTo>
                <a:lnTo>
                  <a:pt x="331344" y="284307"/>
                </a:lnTo>
                <a:lnTo>
                  <a:pt x="331344" y="14802"/>
                </a:lnTo>
                <a:cubicBezTo>
                  <a:pt x="331344" y="14285"/>
                  <a:pt x="330928" y="13869"/>
                  <a:pt x="330410" y="13869"/>
                </a:cubicBezTo>
                <a:lnTo>
                  <a:pt x="54872" y="13869"/>
                </a:lnTo>
                <a:cubicBezTo>
                  <a:pt x="54355" y="13869"/>
                  <a:pt x="53938" y="14285"/>
                  <a:pt x="53938" y="14802"/>
                </a:cubicBezTo>
                <a:lnTo>
                  <a:pt x="53938" y="29958"/>
                </a:lnTo>
                <a:cubicBezTo>
                  <a:pt x="53938" y="38406"/>
                  <a:pt x="47086" y="45258"/>
                  <a:pt x="38639" y="45258"/>
                </a:cubicBezTo>
                <a:lnTo>
                  <a:pt x="16443" y="45258"/>
                </a:lnTo>
                <a:cubicBezTo>
                  <a:pt x="15926" y="45258"/>
                  <a:pt x="15510" y="45675"/>
                  <a:pt x="15510" y="46192"/>
                </a:cubicBezTo>
                <a:lnTo>
                  <a:pt x="15510" y="77079"/>
                </a:lnTo>
                <a:cubicBezTo>
                  <a:pt x="15510" y="77596"/>
                  <a:pt x="15926" y="78012"/>
                  <a:pt x="16443" y="78012"/>
                </a:cubicBezTo>
                <a:lnTo>
                  <a:pt x="38639" y="78012"/>
                </a:lnTo>
                <a:cubicBezTo>
                  <a:pt x="47071" y="78048"/>
                  <a:pt x="53902" y="84879"/>
                  <a:pt x="53938" y="93312"/>
                </a:cubicBezTo>
                <a:lnTo>
                  <a:pt x="53938" y="108540"/>
                </a:lnTo>
                <a:cubicBezTo>
                  <a:pt x="53902" y="116973"/>
                  <a:pt x="47071" y="123804"/>
                  <a:pt x="38639" y="123840"/>
                </a:cubicBezTo>
                <a:lnTo>
                  <a:pt x="16443" y="123840"/>
                </a:lnTo>
                <a:cubicBezTo>
                  <a:pt x="15969" y="123804"/>
                  <a:pt x="15553" y="124156"/>
                  <a:pt x="15510" y="124630"/>
                </a:cubicBezTo>
                <a:cubicBezTo>
                  <a:pt x="15510" y="124651"/>
                  <a:pt x="15510" y="124680"/>
                  <a:pt x="15510" y="124702"/>
                </a:cubicBezTo>
                <a:lnTo>
                  <a:pt x="15510" y="155660"/>
                </a:lnTo>
                <a:cubicBezTo>
                  <a:pt x="15510" y="156178"/>
                  <a:pt x="15926" y="156594"/>
                  <a:pt x="16443" y="156594"/>
                </a:cubicBezTo>
                <a:lnTo>
                  <a:pt x="38639" y="156594"/>
                </a:lnTo>
                <a:cubicBezTo>
                  <a:pt x="47086" y="156594"/>
                  <a:pt x="53938" y="163446"/>
                  <a:pt x="53938" y="171894"/>
                </a:cubicBezTo>
                <a:lnTo>
                  <a:pt x="53938" y="187050"/>
                </a:lnTo>
                <a:cubicBezTo>
                  <a:pt x="53938" y="195497"/>
                  <a:pt x="47086" y="202350"/>
                  <a:pt x="38639" y="202350"/>
                </a:cubicBezTo>
                <a:lnTo>
                  <a:pt x="16443" y="202350"/>
                </a:lnTo>
                <a:cubicBezTo>
                  <a:pt x="15926" y="202350"/>
                  <a:pt x="15510" y="202766"/>
                  <a:pt x="15510" y="203283"/>
                </a:cubicBezTo>
                <a:lnTo>
                  <a:pt x="15510" y="234170"/>
                </a:lnTo>
                <a:cubicBezTo>
                  <a:pt x="15510" y="234687"/>
                  <a:pt x="15926" y="235104"/>
                  <a:pt x="16443" y="235104"/>
                </a:cubicBezTo>
                <a:lnTo>
                  <a:pt x="38639" y="235104"/>
                </a:lnTo>
                <a:cubicBezTo>
                  <a:pt x="47071" y="235140"/>
                  <a:pt x="53902" y="241971"/>
                  <a:pt x="53938" y="250404"/>
                </a:cubicBezTo>
                <a:lnTo>
                  <a:pt x="53938" y="265631"/>
                </a:lnTo>
                <a:cubicBezTo>
                  <a:pt x="53902" y="274064"/>
                  <a:pt x="47071" y="280895"/>
                  <a:pt x="38639" y="280931"/>
                </a:cubicBezTo>
                <a:close/>
                <a:moveTo>
                  <a:pt x="300242" y="128796"/>
                </a:moveTo>
                <a:cubicBezTo>
                  <a:pt x="297168" y="128811"/>
                  <a:pt x="294158" y="127884"/>
                  <a:pt x="291623" y="126138"/>
                </a:cubicBezTo>
                <a:lnTo>
                  <a:pt x="278119" y="116944"/>
                </a:lnTo>
                <a:cubicBezTo>
                  <a:pt x="277817" y="116729"/>
                  <a:pt x="277415" y="116729"/>
                  <a:pt x="277113" y="116944"/>
                </a:cubicBezTo>
                <a:lnTo>
                  <a:pt x="263609" y="126138"/>
                </a:lnTo>
                <a:cubicBezTo>
                  <a:pt x="258940" y="129342"/>
                  <a:pt x="252870" y="129672"/>
                  <a:pt x="247878" y="127000"/>
                </a:cubicBezTo>
                <a:cubicBezTo>
                  <a:pt x="242858" y="124364"/>
                  <a:pt x="239704" y="119164"/>
                  <a:pt x="239690" y="113496"/>
                </a:cubicBezTo>
                <a:lnTo>
                  <a:pt x="239690" y="46192"/>
                </a:lnTo>
                <a:cubicBezTo>
                  <a:pt x="239726" y="37759"/>
                  <a:pt x="246556" y="30928"/>
                  <a:pt x="254989" y="30892"/>
                </a:cubicBezTo>
                <a:lnTo>
                  <a:pt x="300242" y="30892"/>
                </a:lnTo>
                <a:cubicBezTo>
                  <a:pt x="308689" y="30892"/>
                  <a:pt x="315542" y="37745"/>
                  <a:pt x="315542" y="46192"/>
                </a:cubicBezTo>
                <a:lnTo>
                  <a:pt x="315542" y="113496"/>
                </a:lnTo>
                <a:cubicBezTo>
                  <a:pt x="315556" y="119157"/>
                  <a:pt x="312432" y="124357"/>
                  <a:pt x="307425" y="127000"/>
                </a:cubicBezTo>
                <a:cubicBezTo>
                  <a:pt x="305213" y="128178"/>
                  <a:pt x="302749" y="128796"/>
                  <a:pt x="300242" y="128796"/>
                </a:cubicBezTo>
                <a:close/>
                <a:moveTo>
                  <a:pt x="299739" y="114430"/>
                </a:moveTo>
                <a:cubicBezTo>
                  <a:pt x="300020" y="114631"/>
                  <a:pt x="300393" y="114631"/>
                  <a:pt x="300673" y="114430"/>
                </a:cubicBezTo>
                <a:cubicBezTo>
                  <a:pt x="300996" y="114308"/>
                  <a:pt x="301198" y="113985"/>
                  <a:pt x="301176" y="113640"/>
                </a:cubicBezTo>
                <a:lnTo>
                  <a:pt x="301176" y="46336"/>
                </a:lnTo>
                <a:cubicBezTo>
                  <a:pt x="301176" y="45818"/>
                  <a:pt x="300759" y="45402"/>
                  <a:pt x="300242" y="45402"/>
                </a:cubicBezTo>
                <a:lnTo>
                  <a:pt x="254989" y="45402"/>
                </a:lnTo>
                <a:cubicBezTo>
                  <a:pt x="254472" y="45402"/>
                  <a:pt x="254055" y="45818"/>
                  <a:pt x="254055" y="46336"/>
                </a:cubicBezTo>
                <a:lnTo>
                  <a:pt x="254055" y="113640"/>
                </a:lnTo>
                <a:cubicBezTo>
                  <a:pt x="254034" y="113985"/>
                  <a:pt x="254235" y="114308"/>
                  <a:pt x="254558" y="114430"/>
                </a:cubicBezTo>
                <a:cubicBezTo>
                  <a:pt x="254838" y="114631"/>
                  <a:pt x="255212" y="114631"/>
                  <a:pt x="255492" y="114430"/>
                </a:cubicBezTo>
                <a:lnTo>
                  <a:pt x="268996" y="105236"/>
                </a:lnTo>
                <a:cubicBezTo>
                  <a:pt x="274182" y="101652"/>
                  <a:pt x="281049" y="101652"/>
                  <a:pt x="286235" y="105236"/>
                </a:cubicBezTo>
                <a:close/>
              </a:path>
            </a:pathLst>
          </a:custGeom>
          <a:solidFill>
            <a:schemeClr val="accent1"/>
          </a:solidFill>
          <a:ln w="7163" cap="flat">
            <a:noFill/>
            <a:prstDash val="solid"/>
            <a:miter/>
          </a:ln>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panose="020F0502020204030204"/>
              <a:ea typeface="微软雅黑"/>
              <a:cs typeface="+mn-cs"/>
            </a:endParaRPr>
          </a:p>
        </p:txBody>
      </p:sp>
      <p:sp>
        <p:nvSpPr>
          <p:cNvPr id="51" name="椭圆 50">
            <a:extLst>
              <a:ext uri="{FF2B5EF4-FFF2-40B4-BE49-F238E27FC236}">
                <a16:creationId xmlns:a16="http://schemas.microsoft.com/office/drawing/2014/main" id="{DE5C8166-7E05-4072-8EF2-4A25FF9369BD}"/>
              </a:ext>
            </a:extLst>
          </p:cNvPr>
          <p:cNvSpPr>
            <a:spLocks/>
          </p:cNvSpPr>
          <p:nvPr/>
        </p:nvSpPr>
        <p:spPr>
          <a:xfrm>
            <a:off x="7797800" y="4610100"/>
            <a:ext cx="678629" cy="678873"/>
          </a:xfrm>
          <a:prstGeom prst="ellipse">
            <a:avLst/>
          </a:prstGeom>
          <a:solidFill>
            <a:schemeClr val="bg1"/>
          </a:solidFill>
          <a:ln w="5080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Arial" panose="020F0502020204030204"/>
              <a:ea typeface="微软雅黑"/>
              <a:cs typeface="+mn-cs"/>
            </a:endParaRPr>
          </a:p>
        </p:txBody>
      </p:sp>
      <p:sp>
        <p:nvSpPr>
          <p:cNvPr id="76" name="Freeform 72">
            <a:extLst>
              <a:ext uri="{FF2B5EF4-FFF2-40B4-BE49-F238E27FC236}">
                <a16:creationId xmlns:a16="http://schemas.microsoft.com/office/drawing/2014/main" id="{91F0592D-90EC-469E-8DDF-44B6F0455F09}"/>
              </a:ext>
            </a:extLst>
          </p:cNvPr>
          <p:cNvSpPr>
            <a:spLocks/>
          </p:cNvSpPr>
          <p:nvPr/>
        </p:nvSpPr>
        <p:spPr>
          <a:xfrm>
            <a:off x="7972399" y="4756614"/>
            <a:ext cx="330103" cy="316476"/>
          </a:xfrm>
          <a:custGeom>
            <a:avLst/>
            <a:gdLst>
              <a:gd name="connsiteX0" fmla="*/ 359076 w 359275"/>
              <a:gd name="connsiteY0" fmla="*/ 156537 h 344444"/>
              <a:gd name="connsiteX1" fmla="*/ 349523 w 359275"/>
              <a:gd name="connsiteY1" fmla="*/ 220321 h 344444"/>
              <a:gd name="connsiteX2" fmla="*/ 349451 w 359275"/>
              <a:gd name="connsiteY2" fmla="*/ 220544 h 344444"/>
              <a:gd name="connsiteX3" fmla="*/ 337527 w 359275"/>
              <a:gd name="connsiteY3" fmla="*/ 225996 h 344444"/>
              <a:gd name="connsiteX4" fmla="*/ 232872 w 359275"/>
              <a:gd name="connsiteY4" fmla="*/ 140878 h 344444"/>
              <a:gd name="connsiteX5" fmla="*/ 224827 w 359275"/>
              <a:gd name="connsiteY5" fmla="*/ 166378 h 344444"/>
              <a:gd name="connsiteX6" fmla="*/ 222528 w 359275"/>
              <a:gd name="connsiteY6" fmla="*/ 164754 h 344444"/>
              <a:gd name="connsiteX7" fmla="*/ 222384 w 359275"/>
              <a:gd name="connsiteY7" fmla="*/ 151652 h 344444"/>
              <a:gd name="connsiteX8" fmla="*/ 350744 w 359275"/>
              <a:gd name="connsiteY8" fmla="*/ 115163 h 344444"/>
              <a:gd name="connsiteX9" fmla="*/ 357640 w 359275"/>
              <a:gd name="connsiteY9" fmla="*/ 144756 h 344444"/>
              <a:gd name="connsiteX10" fmla="*/ 332714 w 359275"/>
              <a:gd name="connsiteY10" fmla="*/ 223769 h 344444"/>
              <a:gd name="connsiteX11" fmla="*/ 318852 w 359275"/>
              <a:gd name="connsiteY11" fmla="*/ 216586 h 344444"/>
              <a:gd name="connsiteX12" fmla="*/ 262901 w 359275"/>
              <a:gd name="connsiteY12" fmla="*/ 109698 h 344444"/>
              <a:gd name="connsiteX13" fmla="*/ 241855 w 359275"/>
              <a:gd name="connsiteY13" fmla="*/ 176500 h 344444"/>
              <a:gd name="connsiteX14" fmla="*/ 234816 w 359275"/>
              <a:gd name="connsiteY14" fmla="*/ 172764 h 344444"/>
              <a:gd name="connsiteX15" fmla="*/ 227992 w 359275"/>
              <a:gd name="connsiteY15" fmla="*/ 169101 h 344444"/>
              <a:gd name="connsiteX16" fmla="*/ 239054 w 359275"/>
              <a:gd name="connsiteY16" fmla="*/ 134192 h 344444"/>
              <a:gd name="connsiteX17" fmla="*/ 338389 w 359275"/>
              <a:gd name="connsiteY17" fmla="*/ 87940 h 344444"/>
              <a:gd name="connsiteX18" fmla="*/ 348157 w 359275"/>
              <a:gd name="connsiteY18" fmla="*/ 108124 h 344444"/>
              <a:gd name="connsiteX19" fmla="*/ 314756 w 359275"/>
              <a:gd name="connsiteY19" fmla="*/ 214360 h 344444"/>
              <a:gd name="connsiteX20" fmla="*/ 310950 w 359275"/>
              <a:gd name="connsiteY20" fmla="*/ 212349 h 344444"/>
              <a:gd name="connsiteX21" fmla="*/ 300894 w 359275"/>
              <a:gd name="connsiteY21" fmla="*/ 206961 h 344444"/>
              <a:gd name="connsiteX22" fmla="*/ 293789 w 359275"/>
              <a:gd name="connsiteY22" fmla="*/ 78022 h 344444"/>
              <a:gd name="connsiteX23" fmla="*/ 259813 w 359275"/>
              <a:gd name="connsiteY23" fmla="*/ 186054 h 344444"/>
              <a:gd name="connsiteX24" fmla="*/ 253779 w 359275"/>
              <a:gd name="connsiteY24" fmla="*/ 182893 h 344444"/>
              <a:gd name="connsiteX25" fmla="*/ 245950 w 359275"/>
              <a:gd name="connsiteY25" fmla="*/ 178727 h 344444"/>
              <a:gd name="connsiteX26" fmla="*/ 269941 w 359275"/>
              <a:gd name="connsiteY26" fmla="*/ 102444 h 344444"/>
              <a:gd name="connsiteX27" fmla="*/ 274179 w 359275"/>
              <a:gd name="connsiteY27" fmla="*/ 98134 h 344444"/>
              <a:gd name="connsiteX28" fmla="*/ 324238 w 359275"/>
              <a:gd name="connsiteY28" fmla="*/ 67325 h 344444"/>
              <a:gd name="connsiteX29" fmla="*/ 330056 w 359275"/>
              <a:gd name="connsiteY29" fmla="*/ 74508 h 344444"/>
              <a:gd name="connsiteX30" fmla="*/ 330056 w 359275"/>
              <a:gd name="connsiteY30" fmla="*/ 75011 h 344444"/>
              <a:gd name="connsiteX31" fmla="*/ 333863 w 359275"/>
              <a:gd name="connsiteY31" fmla="*/ 80542 h 344444"/>
              <a:gd name="connsiteX32" fmla="*/ 335228 w 359275"/>
              <a:gd name="connsiteY32" fmla="*/ 82696 h 344444"/>
              <a:gd name="connsiteX33" fmla="*/ 296799 w 359275"/>
              <a:gd name="connsiteY33" fmla="*/ 204807 h 344444"/>
              <a:gd name="connsiteX34" fmla="*/ 283223 w 359275"/>
              <a:gd name="connsiteY34" fmla="*/ 197552 h 344444"/>
              <a:gd name="connsiteX35" fmla="*/ 320359 w 359275"/>
              <a:gd name="connsiteY35" fmla="*/ 63374 h 344444"/>
              <a:gd name="connsiteX36" fmla="*/ 278841 w 359275"/>
              <a:gd name="connsiteY36" fmla="*/ 195182 h 344444"/>
              <a:gd name="connsiteX37" fmla="*/ 270940 w 359275"/>
              <a:gd name="connsiteY37" fmla="*/ 190943 h 344444"/>
              <a:gd name="connsiteX38" fmla="*/ 265051 w 359275"/>
              <a:gd name="connsiteY38" fmla="*/ 187783 h 344444"/>
              <a:gd name="connsiteX39" fmla="*/ 301971 w 359275"/>
              <a:gd name="connsiteY39" fmla="*/ 70342 h 344444"/>
              <a:gd name="connsiteX40" fmla="*/ 308077 w 359275"/>
              <a:gd name="connsiteY40" fmla="*/ 64021 h 344444"/>
              <a:gd name="connsiteX41" fmla="*/ 320359 w 359275"/>
              <a:gd name="connsiteY41" fmla="*/ 63374 h 344444"/>
              <a:gd name="connsiteX42" fmla="*/ 206797 w 359275"/>
              <a:gd name="connsiteY42" fmla="*/ 15536 h 344444"/>
              <a:gd name="connsiteX43" fmla="*/ 205432 w 359275"/>
              <a:gd name="connsiteY43" fmla="*/ 16039 h 344444"/>
              <a:gd name="connsiteX44" fmla="*/ 204858 w 359275"/>
              <a:gd name="connsiteY44" fmla="*/ 17403 h 344444"/>
              <a:gd name="connsiteX45" fmla="*/ 204211 w 359275"/>
              <a:gd name="connsiteY45" fmla="*/ 114373 h 344444"/>
              <a:gd name="connsiteX46" fmla="*/ 205360 w 359275"/>
              <a:gd name="connsiteY46" fmla="*/ 116097 h 344444"/>
              <a:gd name="connsiteX47" fmla="*/ 207443 w 359275"/>
              <a:gd name="connsiteY47" fmla="*/ 115594 h 344444"/>
              <a:gd name="connsiteX48" fmla="*/ 276256 w 359275"/>
              <a:gd name="connsiteY48" fmla="*/ 44914 h 344444"/>
              <a:gd name="connsiteX49" fmla="*/ 276759 w 359275"/>
              <a:gd name="connsiteY49" fmla="*/ 43406 h 344444"/>
              <a:gd name="connsiteX50" fmla="*/ 276112 w 359275"/>
              <a:gd name="connsiteY50" fmla="*/ 42112 h 344444"/>
              <a:gd name="connsiteX51" fmla="*/ 206940 w 359275"/>
              <a:gd name="connsiteY51" fmla="*/ 15536 h 344444"/>
              <a:gd name="connsiteX52" fmla="*/ 160898 w 359275"/>
              <a:gd name="connsiteY52" fmla="*/ 14386 h 344444"/>
              <a:gd name="connsiteX53" fmla="*/ 108318 w 359275"/>
              <a:gd name="connsiteY53" fmla="*/ 25305 h 344444"/>
              <a:gd name="connsiteX54" fmla="*/ 14437 w 359275"/>
              <a:gd name="connsiteY54" fmla="*/ 172053 h 344444"/>
              <a:gd name="connsiteX55" fmla="*/ 172893 w 359275"/>
              <a:gd name="connsiteY55" fmla="*/ 330078 h 344444"/>
              <a:gd name="connsiteX56" fmla="*/ 306281 w 359275"/>
              <a:gd name="connsiteY56" fmla="*/ 258966 h 344444"/>
              <a:gd name="connsiteX57" fmla="*/ 306784 w 359275"/>
              <a:gd name="connsiteY57" fmla="*/ 254728 h 344444"/>
              <a:gd name="connsiteX58" fmla="*/ 303767 w 359275"/>
              <a:gd name="connsiteY58" fmla="*/ 250993 h 344444"/>
              <a:gd name="connsiteX59" fmla="*/ 178568 w 359275"/>
              <a:gd name="connsiteY59" fmla="*/ 184910 h 344444"/>
              <a:gd name="connsiteX60" fmla="*/ 162478 w 359275"/>
              <a:gd name="connsiteY60" fmla="*/ 158189 h 344444"/>
              <a:gd name="connsiteX61" fmla="*/ 162478 w 359275"/>
              <a:gd name="connsiteY61" fmla="*/ 15751 h 344444"/>
              <a:gd name="connsiteX62" fmla="*/ 162047 w 359275"/>
              <a:gd name="connsiteY62" fmla="*/ 14817 h 344444"/>
              <a:gd name="connsiteX63" fmla="*/ 160898 w 359275"/>
              <a:gd name="connsiteY63" fmla="*/ 14386 h 344444"/>
              <a:gd name="connsiteX64" fmla="*/ 208233 w 359275"/>
              <a:gd name="connsiteY64" fmla="*/ 1098 h 344444"/>
              <a:gd name="connsiteX65" fmla="*/ 284876 w 359275"/>
              <a:gd name="connsiteY65" fmla="*/ 30620 h 344444"/>
              <a:gd name="connsiteX66" fmla="*/ 291125 w 359275"/>
              <a:gd name="connsiteY66" fmla="*/ 42256 h 344444"/>
              <a:gd name="connsiteX67" fmla="*/ 286528 w 359275"/>
              <a:gd name="connsiteY67" fmla="*/ 54754 h 344444"/>
              <a:gd name="connsiteX68" fmla="*/ 217715 w 359275"/>
              <a:gd name="connsiteY68" fmla="*/ 125507 h 344444"/>
              <a:gd name="connsiteX69" fmla="*/ 206078 w 359275"/>
              <a:gd name="connsiteY69" fmla="*/ 130463 h 344444"/>
              <a:gd name="connsiteX70" fmla="*/ 199901 w 359275"/>
              <a:gd name="connsiteY70" fmla="*/ 129242 h 344444"/>
              <a:gd name="connsiteX71" fmla="*/ 189845 w 359275"/>
              <a:gd name="connsiteY71" fmla="*/ 114158 h 344444"/>
              <a:gd name="connsiteX72" fmla="*/ 190492 w 359275"/>
              <a:gd name="connsiteY72" fmla="*/ 17188 h 344444"/>
              <a:gd name="connsiteX73" fmla="*/ 195807 w 359275"/>
              <a:gd name="connsiteY73" fmla="*/ 5264 h 344444"/>
              <a:gd name="connsiteX74" fmla="*/ 208233 w 359275"/>
              <a:gd name="connsiteY74" fmla="*/ 1098 h 344444"/>
              <a:gd name="connsiteX75" fmla="*/ 160395 w 359275"/>
              <a:gd name="connsiteY75" fmla="*/ 20 h 344444"/>
              <a:gd name="connsiteX76" fmla="*/ 172247 w 359275"/>
              <a:gd name="connsiteY76" fmla="*/ 4402 h 344444"/>
              <a:gd name="connsiteX77" fmla="*/ 177132 w 359275"/>
              <a:gd name="connsiteY77" fmla="*/ 15751 h 344444"/>
              <a:gd name="connsiteX78" fmla="*/ 177132 w 359275"/>
              <a:gd name="connsiteY78" fmla="*/ 158189 h 344444"/>
              <a:gd name="connsiteX79" fmla="*/ 185535 w 359275"/>
              <a:gd name="connsiteY79" fmla="*/ 172555 h 344444"/>
              <a:gd name="connsiteX80" fmla="*/ 310735 w 359275"/>
              <a:gd name="connsiteY80" fmla="*/ 238639 h 344444"/>
              <a:gd name="connsiteX81" fmla="*/ 320934 w 359275"/>
              <a:gd name="connsiteY81" fmla="*/ 251281 h 344444"/>
              <a:gd name="connsiteX82" fmla="*/ 318851 w 359275"/>
              <a:gd name="connsiteY82" fmla="*/ 266724 h 344444"/>
              <a:gd name="connsiteX83" fmla="*/ 172821 w 359275"/>
              <a:gd name="connsiteY83" fmla="*/ 344444 h 344444"/>
              <a:gd name="connsiteX84" fmla="*/ 0 w 359275"/>
              <a:gd name="connsiteY84" fmla="*/ 172053 h 344444"/>
              <a:gd name="connsiteX85" fmla="*/ 102931 w 359275"/>
              <a:gd name="connsiteY85" fmla="*/ 12016 h 344444"/>
              <a:gd name="connsiteX86" fmla="*/ 160395 w 359275"/>
              <a:gd name="connsiteY86" fmla="*/ 20 h 344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359275" h="344444">
                <a:moveTo>
                  <a:pt x="359076" y="156537"/>
                </a:moveTo>
                <a:cubicBezTo>
                  <a:pt x="360153" y="178222"/>
                  <a:pt x="356848" y="199900"/>
                  <a:pt x="349523" y="220321"/>
                </a:cubicBezTo>
                <a:cubicBezTo>
                  <a:pt x="349523" y="220393"/>
                  <a:pt x="349451" y="220472"/>
                  <a:pt x="349451" y="220544"/>
                </a:cubicBezTo>
                <a:cubicBezTo>
                  <a:pt x="347655" y="225342"/>
                  <a:pt x="342340" y="227777"/>
                  <a:pt x="337527" y="225996"/>
                </a:cubicBezTo>
                <a:close/>
                <a:moveTo>
                  <a:pt x="232872" y="140878"/>
                </a:moveTo>
                <a:lnTo>
                  <a:pt x="224827" y="166378"/>
                </a:lnTo>
                <a:cubicBezTo>
                  <a:pt x="223964" y="165954"/>
                  <a:pt x="223246" y="165408"/>
                  <a:pt x="222528" y="164754"/>
                </a:cubicBezTo>
                <a:cubicBezTo>
                  <a:pt x="218864" y="161184"/>
                  <a:pt x="218792" y="155316"/>
                  <a:pt x="222384" y="151652"/>
                </a:cubicBezTo>
                <a:close/>
                <a:moveTo>
                  <a:pt x="350744" y="115163"/>
                </a:moveTo>
                <a:cubicBezTo>
                  <a:pt x="354048" y="124759"/>
                  <a:pt x="356347" y="134679"/>
                  <a:pt x="357640" y="144756"/>
                </a:cubicBezTo>
                <a:lnTo>
                  <a:pt x="332714" y="223769"/>
                </a:lnTo>
                <a:lnTo>
                  <a:pt x="318852" y="216586"/>
                </a:lnTo>
                <a:close/>
                <a:moveTo>
                  <a:pt x="262901" y="109698"/>
                </a:moveTo>
                <a:lnTo>
                  <a:pt x="241855" y="176500"/>
                </a:lnTo>
                <a:lnTo>
                  <a:pt x="234816" y="172764"/>
                </a:lnTo>
                <a:lnTo>
                  <a:pt x="227992" y="169101"/>
                </a:lnTo>
                <a:lnTo>
                  <a:pt x="239054" y="134192"/>
                </a:lnTo>
                <a:close/>
                <a:moveTo>
                  <a:pt x="338389" y="87940"/>
                </a:moveTo>
                <a:cubicBezTo>
                  <a:pt x="342052" y="94448"/>
                  <a:pt x="345356" y="101193"/>
                  <a:pt x="348157" y="108124"/>
                </a:cubicBezTo>
                <a:lnTo>
                  <a:pt x="314756" y="214360"/>
                </a:lnTo>
                <a:lnTo>
                  <a:pt x="310950" y="212349"/>
                </a:lnTo>
                <a:lnTo>
                  <a:pt x="300894" y="206961"/>
                </a:lnTo>
                <a:close/>
                <a:moveTo>
                  <a:pt x="293789" y="78022"/>
                </a:moveTo>
                <a:lnTo>
                  <a:pt x="259813" y="186054"/>
                </a:lnTo>
                <a:lnTo>
                  <a:pt x="253779" y="182893"/>
                </a:lnTo>
                <a:lnTo>
                  <a:pt x="245950" y="178727"/>
                </a:lnTo>
                <a:lnTo>
                  <a:pt x="269941" y="102444"/>
                </a:lnTo>
                <a:lnTo>
                  <a:pt x="274179" y="98134"/>
                </a:lnTo>
                <a:close/>
                <a:moveTo>
                  <a:pt x="324238" y="67325"/>
                </a:moveTo>
                <a:cubicBezTo>
                  <a:pt x="326249" y="69480"/>
                  <a:pt x="328188" y="71994"/>
                  <a:pt x="330056" y="74508"/>
                </a:cubicBezTo>
                <a:lnTo>
                  <a:pt x="330056" y="75011"/>
                </a:lnTo>
                <a:cubicBezTo>
                  <a:pt x="331349" y="76806"/>
                  <a:pt x="332641" y="78674"/>
                  <a:pt x="333863" y="80542"/>
                </a:cubicBezTo>
                <a:cubicBezTo>
                  <a:pt x="334294" y="81188"/>
                  <a:pt x="334725" y="81978"/>
                  <a:pt x="335228" y="82696"/>
                </a:cubicBezTo>
                <a:lnTo>
                  <a:pt x="296799" y="204807"/>
                </a:lnTo>
                <a:lnTo>
                  <a:pt x="283223" y="197552"/>
                </a:lnTo>
                <a:close/>
                <a:moveTo>
                  <a:pt x="320359" y="63374"/>
                </a:moveTo>
                <a:lnTo>
                  <a:pt x="278841" y="195182"/>
                </a:lnTo>
                <a:lnTo>
                  <a:pt x="270940" y="190943"/>
                </a:lnTo>
                <a:lnTo>
                  <a:pt x="265051" y="187783"/>
                </a:lnTo>
                <a:lnTo>
                  <a:pt x="301971" y="70342"/>
                </a:lnTo>
                <a:lnTo>
                  <a:pt x="308077" y="64021"/>
                </a:lnTo>
                <a:cubicBezTo>
                  <a:pt x="311380" y="60723"/>
                  <a:pt x="316696" y="60451"/>
                  <a:pt x="320359" y="63374"/>
                </a:cubicBezTo>
                <a:close/>
                <a:moveTo>
                  <a:pt x="206797" y="15536"/>
                </a:moveTo>
                <a:cubicBezTo>
                  <a:pt x="206294" y="15557"/>
                  <a:pt x="205791" y="15736"/>
                  <a:pt x="205432" y="16039"/>
                </a:cubicBezTo>
                <a:cubicBezTo>
                  <a:pt x="205073" y="16398"/>
                  <a:pt x="204858" y="16886"/>
                  <a:pt x="204858" y="17403"/>
                </a:cubicBezTo>
                <a:lnTo>
                  <a:pt x="204211" y="114373"/>
                </a:lnTo>
                <a:cubicBezTo>
                  <a:pt x="204211" y="115134"/>
                  <a:pt x="204642" y="115824"/>
                  <a:pt x="205360" y="116097"/>
                </a:cubicBezTo>
                <a:cubicBezTo>
                  <a:pt x="206078" y="116406"/>
                  <a:pt x="206940" y="116205"/>
                  <a:pt x="207443" y="115594"/>
                </a:cubicBezTo>
                <a:lnTo>
                  <a:pt x="276256" y="44914"/>
                </a:lnTo>
                <a:cubicBezTo>
                  <a:pt x="276615" y="44519"/>
                  <a:pt x="276831" y="43958"/>
                  <a:pt x="276759" y="43406"/>
                </a:cubicBezTo>
                <a:cubicBezTo>
                  <a:pt x="276759" y="42903"/>
                  <a:pt x="276472" y="42428"/>
                  <a:pt x="276112" y="42112"/>
                </a:cubicBezTo>
                <a:cubicBezTo>
                  <a:pt x="256000" y="26928"/>
                  <a:pt x="232009" y="17712"/>
                  <a:pt x="206940" y="15536"/>
                </a:cubicBezTo>
                <a:close/>
                <a:moveTo>
                  <a:pt x="160898" y="14386"/>
                </a:moveTo>
                <a:cubicBezTo>
                  <a:pt x="142869" y="15205"/>
                  <a:pt x="125127" y="18897"/>
                  <a:pt x="108318" y="25305"/>
                </a:cubicBezTo>
                <a:cubicBezTo>
                  <a:pt x="51358" y="48793"/>
                  <a:pt x="14437" y="106400"/>
                  <a:pt x="14437" y="172053"/>
                </a:cubicBezTo>
                <a:cubicBezTo>
                  <a:pt x="14653" y="259412"/>
                  <a:pt x="85549" y="330121"/>
                  <a:pt x="172893" y="330078"/>
                </a:cubicBezTo>
                <a:cubicBezTo>
                  <a:pt x="227197" y="330078"/>
                  <a:pt x="280638" y="301346"/>
                  <a:pt x="306281" y="258966"/>
                </a:cubicBezTo>
                <a:cubicBezTo>
                  <a:pt x="307071" y="257695"/>
                  <a:pt x="307215" y="256151"/>
                  <a:pt x="306784" y="254728"/>
                </a:cubicBezTo>
                <a:cubicBezTo>
                  <a:pt x="306353" y="253120"/>
                  <a:pt x="305276" y="251769"/>
                  <a:pt x="303767" y="250993"/>
                </a:cubicBezTo>
                <a:lnTo>
                  <a:pt x="178568" y="184910"/>
                </a:lnTo>
                <a:cubicBezTo>
                  <a:pt x="168655" y="179681"/>
                  <a:pt x="162478" y="169395"/>
                  <a:pt x="162478" y="158189"/>
                </a:cubicBezTo>
                <a:lnTo>
                  <a:pt x="162478" y="15751"/>
                </a:lnTo>
                <a:cubicBezTo>
                  <a:pt x="162478" y="15392"/>
                  <a:pt x="162334" y="15040"/>
                  <a:pt x="162047" y="14817"/>
                </a:cubicBezTo>
                <a:cubicBezTo>
                  <a:pt x="161760" y="14516"/>
                  <a:pt x="161329" y="14358"/>
                  <a:pt x="160898" y="14386"/>
                </a:cubicBezTo>
                <a:close/>
                <a:moveTo>
                  <a:pt x="208233" y="1098"/>
                </a:moveTo>
                <a:cubicBezTo>
                  <a:pt x="236031" y="3554"/>
                  <a:pt x="262608" y="13783"/>
                  <a:pt x="284876" y="30620"/>
                </a:cubicBezTo>
                <a:cubicBezTo>
                  <a:pt x="288539" y="33428"/>
                  <a:pt x="290766" y="37666"/>
                  <a:pt x="291125" y="42256"/>
                </a:cubicBezTo>
                <a:cubicBezTo>
                  <a:pt x="291412" y="46882"/>
                  <a:pt x="289760" y="51429"/>
                  <a:pt x="286528" y="54754"/>
                </a:cubicBezTo>
                <a:lnTo>
                  <a:pt x="217715" y="125507"/>
                </a:lnTo>
                <a:cubicBezTo>
                  <a:pt x="214698" y="128667"/>
                  <a:pt x="210461" y="130449"/>
                  <a:pt x="206078" y="130463"/>
                </a:cubicBezTo>
                <a:cubicBezTo>
                  <a:pt x="203996" y="130449"/>
                  <a:pt x="201840" y="130032"/>
                  <a:pt x="199901" y="129242"/>
                </a:cubicBezTo>
                <a:cubicBezTo>
                  <a:pt x="193796" y="126742"/>
                  <a:pt x="189774" y="120773"/>
                  <a:pt x="189845" y="114158"/>
                </a:cubicBezTo>
                <a:lnTo>
                  <a:pt x="190492" y="17188"/>
                </a:lnTo>
                <a:cubicBezTo>
                  <a:pt x="190492" y="12641"/>
                  <a:pt x="192431" y="8317"/>
                  <a:pt x="195807" y="5264"/>
                </a:cubicBezTo>
                <a:cubicBezTo>
                  <a:pt x="199183" y="2247"/>
                  <a:pt x="203708" y="739"/>
                  <a:pt x="208233" y="1098"/>
                </a:cubicBezTo>
                <a:close/>
                <a:moveTo>
                  <a:pt x="160395" y="20"/>
                </a:moveTo>
                <a:cubicBezTo>
                  <a:pt x="164776" y="-202"/>
                  <a:pt x="169087" y="1378"/>
                  <a:pt x="172247" y="4402"/>
                </a:cubicBezTo>
                <a:cubicBezTo>
                  <a:pt x="175408" y="7333"/>
                  <a:pt x="177204" y="11449"/>
                  <a:pt x="177132" y="15751"/>
                </a:cubicBezTo>
                <a:lnTo>
                  <a:pt x="177132" y="158189"/>
                </a:lnTo>
                <a:cubicBezTo>
                  <a:pt x="176988" y="164187"/>
                  <a:pt x="180220" y="169747"/>
                  <a:pt x="185535" y="172555"/>
                </a:cubicBezTo>
                <a:lnTo>
                  <a:pt x="310735" y="238639"/>
                </a:lnTo>
                <a:cubicBezTo>
                  <a:pt x="315762" y="241267"/>
                  <a:pt x="319426" y="245843"/>
                  <a:pt x="320934" y="251281"/>
                </a:cubicBezTo>
                <a:cubicBezTo>
                  <a:pt x="322443" y="256488"/>
                  <a:pt x="321725" y="262105"/>
                  <a:pt x="318851" y="266724"/>
                </a:cubicBezTo>
                <a:cubicBezTo>
                  <a:pt x="290550" y="313054"/>
                  <a:pt x="231938" y="344444"/>
                  <a:pt x="172821" y="344444"/>
                </a:cubicBezTo>
                <a:cubicBezTo>
                  <a:pt x="77576" y="344444"/>
                  <a:pt x="215" y="267335"/>
                  <a:pt x="0" y="172053"/>
                </a:cubicBezTo>
                <a:cubicBezTo>
                  <a:pt x="0" y="100582"/>
                  <a:pt x="40368" y="37731"/>
                  <a:pt x="102931" y="12016"/>
                </a:cubicBezTo>
                <a:cubicBezTo>
                  <a:pt x="121320" y="4941"/>
                  <a:pt x="140714" y="890"/>
                  <a:pt x="160395" y="20"/>
                </a:cubicBezTo>
                <a:close/>
              </a:path>
            </a:pathLst>
          </a:custGeom>
          <a:solidFill>
            <a:schemeClr val="accent1"/>
          </a:solidFill>
          <a:ln w="7163" cap="flat">
            <a:noFill/>
            <a:prstDash val="solid"/>
            <a:miter/>
          </a:ln>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panose="020F0502020204030204"/>
              <a:ea typeface="微软雅黑"/>
              <a:cs typeface="+mn-cs"/>
            </a:endParaRPr>
          </a:p>
        </p:txBody>
      </p:sp>
      <p:sp>
        <p:nvSpPr>
          <p:cNvPr id="50" name="椭圆 49">
            <a:extLst>
              <a:ext uri="{FF2B5EF4-FFF2-40B4-BE49-F238E27FC236}">
                <a16:creationId xmlns:a16="http://schemas.microsoft.com/office/drawing/2014/main" id="{F8174492-5E86-4F68-A857-8D5B41E987E5}"/>
              </a:ext>
            </a:extLst>
          </p:cNvPr>
          <p:cNvSpPr>
            <a:spLocks/>
          </p:cNvSpPr>
          <p:nvPr/>
        </p:nvSpPr>
        <p:spPr>
          <a:xfrm>
            <a:off x="3683000" y="4610100"/>
            <a:ext cx="678629" cy="678873"/>
          </a:xfrm>
          <a:prstGeom prst="ellipse">
            <a:avLst/>
          </a:prstGeom>
          <a:solidFill>
            <a:schemeClr val="bg1"/>
          </a:solidFill>
          <a:ln w="5080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Arial" panose="020F0502020204030204"/>
              <a:ea typeface="微软雅黑"/>
              <a:cs typeface="+mn-cs"/>
            </a:endParaRPr>
          </a:p>
        </p:txBody>
      </p:sp>
      <p:sp>
        <p:nvSpPr>
          <p:cNvPr id="75" name="Freeform 71">
            <a:extLst>
              <a:ext uri="{FF2B5EF4-FFF2-40B4-BE49-F238E27FC236}">
                <a16:creationId xmlns:a16="http://schemas.microsoft.com/office/drawing/2014/main" id="{A20F8F48-ACE2-48DF-B2B3-A7284F57B4FC}"/>
              </a:ext>
            </a:extLst>
          </p:cNvPr>
          <p:cNvSpPr>
            <a:spLocks/>
          </p:cNvSpPr>
          <p:nvPr/>
        </p:nvSpPr>
        <p:spPr>
          <a:xfrm>
            <a:off x="3858544" y="4784485"/>
            <a:ext cx="328211" cy="330103"/>
          </a:xfrm>
          <a:custGeom>
            <a:avLst/>
            <a:gdLst>
              <a:gd name="connsiteX0" fmla="*/ 157378 w 352703"/>
              <a:gd name="connsiteY0" fmla="*/ 188306 h 354736"/>
              <a:gd name="connsiteX1" fmla="*/ 153284 w 352703"/>
              <a:gd name="connsiteY1" fmla="*/ 192400 h 354736"/>
              <a:gd name="connsiteX2" fmla="*/ 153284 w 352703"/>
              <a:gd name="connsiteY2" fmla="*/ 211650 h 354736"/>
              <a:gd name="connsiteX3" fmla="*/ 157594 w 352703"/>
              <a:gd name="connsiteY3" fmla="*/ 215745 h 354736"/>
              <a:gd name="connsiteX4" fmla="*/ 163556 w 352703"/>
              <a:gd name="connsiteY4" fmla="*/ 215745 h 354736"/>
              <a:gd name="connsiteX5" fmla="*/ 173756 w 352703"/>
              <a:gd name="connsiteY5" fmla="*/ 201450 h 354736"/>
              <a:gd name="connsiteX6" fmla="*/ 157378 w 352703"/>
              <a:gd name="connsiteY6" fmla="*/ 188306 h 354736"/>
              <a:gd name="connsiteX7" fmla="*/ 157594 w 352703"/>
              <a:gd name="connsiteY7" fmla="*/ 174227 h 354736"/>
              <a:gd name="connsiteX8" fmla="*/ 188337 w 352703"/>
              <a:gd name="connsiteY8" fmla="*/ 200660 h 354736"/>
              <a:gd name="connsiteX9" fmla="*/ 188337 w 352703"/>
              <a:gd name="connsiteY9" fmla="*/ 201091 h 354736"/>
              <a:gd name="connsiteX10" fmla="*/ 163986 w 352703"/>
              <a:gd name="connsiteY10" fmla="*/ 229823 h 354736"/>
              <a:gd name="connsiteX11" fmla="*/ 157594 w 352703"/>
              <a:gd name="connsiteY11" fmla="*/ 229823 h 354736"/>
              <a:gd name="connsiteX12" fmla="*/ 138775 w 352703"/>
              <a:gd name="connsiteY12" fmla="*/ 211650 h 354736"/>
              <a:gd name="connsiteX13" fmla="*/ 138775 w 352703"/>
              <a:gd name="connsiteY13" fmla="*/ 192400 h 354736"/>
              <a:gd name="connsiteX14" fmla="*/ 157594 w 352703"/>
              <a:gd name="connsiteY14" fmla="*/ 174227 h 354736"/>
              <a:gd name="connsiteX15" fmla="*/ 113994 w 352703"/>
              <a:gd name="connsiteY15" fmla="*/ 158424 h 354736"/>
              <a:gd name="connsiteX16" fmla="*/ 109756 w 352703"/>
              <a:gd name="connsiteY16" fmla="*/ 162519 h 354736"/>
              <a:gd name="connsiteX17" fmla="*/ 109756 w 352703"/>
              <a:gd name="connsiteY17" fmla="*/ 289370 h 354736"/>
              <a:gd name="connsiteX18" fmla="*/ 113994 w 352703"/>
              <a:gd name="connsiteY18" fmla="*/ 293464 h 354736"/>
              <a:gd name="connsiteX19" fmla="*/ 134465 w 352703"/>
              <a:gd name="connsiteY19" fmla="*/ 293464 h 354736"/>
              <a:gd name="connsiteX20" fmla="*/ 138775 w 352703"/>
              <a:gd name="connsiteY20" fmla="*/ 289370 h 354736"/>
              <a:gd name="connsiteX21" fmla="*/ 138775 w 352703"/>
              <a:gd name="connsiteY21" fmla="*/ 263727 h 354736"/>
              <a:gd name="connsiteX22" fmla="*/ 138775 w 352703"/>
              <a:gd name="connsiteY22" fmla="*/ 263719 h 354736"/>
              <a:gd name="connsiteX23" fmla="*/ 157595 w 352703"/>
              <a:gd name="connsiteY23" fmla="*/ 245625 h 354736"/>
              <a:gd name="connsiteX24" fmla="*/ 167651 w 352703"/>
              <a:gd name="connsiteY24" fmla="*/ 245625 h 354736"/>
              <a:gd name="connsiteX25" fmla="*/ 193366 w 352703"/>
              <a:gd name="connsiteY25" fmla="*/ 239592 h 354736"/>
              <a:gd name="connsiteX26" fmla="*/ 209671 w 352703"/>
              <a:gd name="connsiteY26" fmla="*/ 223646 h 354736"/>
              <a:gd name="connsiteX27" fmla="*/ 214843 w 352703"/>
              <a:gd name="connsiteY27" fmla="*/ 202456 h 354736"/>
              <a:gd name="connsiteX28" fmla="*/ 209096 w 352703"/>
              <a:gd name="connsiteY28" fmla="*/ 180907 h 354736"/>
              <a:gd name="connsiteX29" fmla="*/ 193366 w 352703"/>
              <a:gd name="connsiteY29" fmla="*/ 164961 h 354736"/>
              <a:gd name="connsiteX30" fmla="*/ 165999 w 352703"/>
              <a:gd name="connsiteY30" fmla="*/ 158424 h 354736"/>
              <a:gd name="connsiteX31" fmla="*/ 113994 w 352703"/>
              <a:gd name="connsiteY31" fmla="*/ 144417 h 354736"/>
              <a:gd name="connsiteX32" fmla="*/ 165783 w 352703"/>
              <a:gd name="connsiteY32" fmla="*/ 144417 h 354736"/>
              <a:gd name="connsiteX33" fmla="*/ 200405 w 352703"/>
              <a:gd name="connsiteY33" fmla="*/ 152822 h 354736"/>
              <a:gd name="connsiteX34" fmla="*/ 222457 w 352703"/>
              <a:gd name="connsiteY34" fmla="*/ 174083 h 354736"/>
              <a:gd name="connsiteX35" fmla="*/ 229640 w 352703"/>
              <a:gd name="connsiteY35" fmla="*/ 202456 h 354736"/>
              <a:gd name="connsiteX36" fmla="*/ 222457 w 352703"/>
              <a:gd name="connsiteY36" fmla="*/ 230254 h 354736"/>
              <a:gd name="connsiteX37" fmla="*/ 200549 w 352703"/>
              <a:gd name="connsiteY37" fmla="*/ 251803 h 354736"/>
              <a:gd name="connsiteX38" fmla="*/ 167651 w 352703"/>
              <a:gd name="connsiteY38" fmla="*/ 259632 h 354736"/>
              <a:gd name="connsiteX39" fmla="*/ 157595 w 352703"/>
              <a:gd name="connsiteY39" fmla="*/ 259632 h 354736"/>
              <a:gd name="connsiteX40" fmla="*/ 153285 w 352703"/>
              <a:gd name="connsiteY40" fmla="*/ 263727 h 354736"/>
              <a:gd name="connsiteX41" fmla="*/ 153285 w 352703"/>
              <a:gd name="connsiteY41" fmla="*/ 289370 h 354736"/>
              <a:gd name="connsiteX42" fmla="*/ 134465 w 352703"/>
              <a:gd name="connsiteY42" fmla="*/ 307543 h 354736"/>
              <a:gd name="connsiteX43" fmla="*/ 113994 w 352703"/>
              <a:gd name="connsiteY43" fmla="*/ 307543 h 354736"/>
              <a:gd name="connsiteX44" fmla="*/ 95175 w 352703"/>
              <a:gd name="connsiteY44" fmla="*/ 289370 h 354736"/>
              <a:gd name="connsiteX45" fmla="*/ 95175 w 352703"/>
              <a:gd name="connsiteY45" fmla="*/ 162519 h 354736"/>
              <a:gd name="connsiteX46" fmla="*/ 113994 w 352703"/>
              <a:gd name="connsiteY46" fmla="*/ 144417 h 354736"/>
              <a:gd name="connsiteX47" fmla="*/ 18891 w 352703"/>
              <a:gd name="connsiteY47" fmla="*/ 78765 h 354736"/>
              <a:gd name="connsiteX48" fmla="*/ 14653 w 352703"/>
              <a:gd name="connsiteY48" fmla="*/ 82859 h 354736"/>
              <a:gd name="connsiteX49" fmla="*/ 14653 w 352703"/>
              <a:gd name="connsiteY49" fmla="*/ 336561 h 354736"/>
              <a:gd name="connsiteX50" fmla="*/ 14653 w 352703"/>
              <a:gd name="connsiteY50" fmla="*/ 336705 h 354736"/>
              <a:gd name="connsiteX51" fmla="*/ 18891 w 352703"/>
              <a:gd name="connsiteY51" fmla="*/ 340656 h 354736"/>
              <a:gd name="connsiteX52" fmla="*/ 278196 w 352703"/>
              <a:gd name="connsiteY52" fmla="*/ 340656 h 354736"/>
              <a:gd name="connsiteX53" fmla="*/ 282434 w 352703"/>
              <a:gd name="connsiteY53" fmla="*/ 336561 h 354736"/>
              <a:gd name="connsiteX54" fmla="*/ 282434 w 352703"/>
              <a:gd name="connsiteY54" fmla="*/ 115614 h 354736"/>
              <a:gd name="connsiteX55" fmla="*/ 278196 w 352703"/>
              <a:gd name="connsiteY55" fmla="*/ 111519 h 354736"/>
              <a:gd name="connsiteX56" fmla="*/ 173827 w 352703"/>
              <a:gd name="connsiteY56" fmla="*/ 111519 h 354736"/>
              <a:gd name="connsiteX57" fmla="*/ 155511 w 352703"/>
              <a:gd name="connsiteY57" fmla="*/ 97153 h 354736"/>
              <a:gd name="connsiteX58" fmla="*/ 151848 w 352703"/>
              <a:gd name="connsiteY58" fmla="*/ 81926 h 354736"/>
              <a:gd name="connsiteX59" fmla="*/ 147681 w 352703"/>
              <a:gd name="connsiteY59" fmla="*/ 78765 h 354736"/>
              <a:gd name="connsiteX60" fmla="*/ 91367 w 352703"/>
              <a:gd name="connsiteY60" fmla="*/ 14262 h 354736"/>
              <a:gd name="connsiteX61" fmla="*/ 83681 w 352703"/>
              <a:gd name="connsiteY61" fmla="*/ 14837 h 354736"/>
              <a:gd name="connsiteX62" fmla="*/ 78581 w 352703"/>
              <a:gd name="connsiteY62" fmla="*/ 20511 h 354736"/>
              <a:gd name="connsiteX63" fmla="*/ 63641 w 352703"/>
              <a:gd name="connsiteY63" fmla="*/ 64399 h 354736"/>
              <a:gd name="connsiteX64" fmla="*/ 147681 w 352703"/>
              <a:gd name="connsiteY64" fmla="*/ 64399 h 354736"/>
              <a:gd name="connsiteX65" fmla="*/ 165998 w 352703"/>
              <a:gd name="connsiteY65" fmla="*/ 78765 h 354736"/>
              <a:gd name="connsiteX66" fmla="*/ 169661 w 352703"/>
              <a:gd name="connsiteY66" fmla="*/ 93993 h 354736"/>
              <a:gd name="connsiteX67" fmla="*/ 173827 w 352703"/>
              <a:gd name="connsiteY67" fmla="*/ 97153 h 354736"/>
              <a:gd name="connsiteX68" fmla="*/ 278196 w 352703"/>
              <a:gd name="connsiteY68" fmla="*/ 97153 h 354736"/>
              <a:gd name="connsiteX69" fmla="*/ 297015 w 352703"/>
              <a:gd name="connsiteY69" fmla="*/ 115326 h 354736"/>
              <a:gd name="connsiteX70" fmla="*/ 297015 w 352703"/>
              <a:gd name="connsiteY70" fmla="*/ 222352 h 354736"/>
              <a:gd name="connsiteX71" fmla="*/ 337658 w 352703"/>
              <a:gd name="connsiteY71" fmla="*/ 103154 h 354736"/>
              <a:gd name="connsiteX72" fmla="*/ 337671 w 352703"/>
              <a:gd name="connsiteY72" fmla="*/ 103331 h 354736"/>
              <a:gd name="connsiteX73" fmla="*/ 337671 w 352703"/>
              <a:gd name="connsiteY73" fmla="*/ 103115 h 354736"/>
              <a:gd name="connsiteX74" fmla="*/ 337658 w 352703"/>
              <a:gd name="connsiteY74" fmla="*/ 103154 h 354736"/>
              <a:gd name="connsiteX75" fmla="*/ 337096 w 352703"/>
              <a:gd name="connsiteY75" fmla="*/ 95645 h 354736"/>
              <a:gd name="connsiteX76" fmla="*/ 331206 w 352703"/>
              <a:gd name="connsiteY76" fmla="*/ 90761 h 354736"/>
              <a:gd name="connsiteX77" fmla="*/ 95892 w 352703"/>
              <a:gd name="connsiteY77" fmla="*/ 1189 h 354736"/>
              <a:gd name="connsiteX78" fmla="*/ 335731 w 352703"/>
              <a:gd name="connsiteY78" fmla="*/ 77400 h 354736"/>
              <a:gd name="connsiteX79" fmla="*/ 350097 w 352703"/>
              <a:gd name="connsiteY79" fmla="*/ 89324 h 354736"/>
              <a:gd name="connsiteX80" fmla="*/ 351462 w 352703"/>
              <a:gd name="connsiteY80" fmla="*/ 107497 h 354736"/>
              <a:gd name="connsiteX81" fmla="*/ 296943 w 352703"/>
              <a:gd name="connsiteY81" fmla="*/ 267318 h 354736"/>
              <a:gd name="connsiteX82" fmla="*/ 296943 w 352703"/>
              <a:gd name="connsiteY82" fmla="*/ 336561 h 354736"/>
              <a:gd name="connsiteX83" fmla="*/ 278124 w 352703"/>
              <a:gd name="connsiteY83" fmla="*/ 354734 h 354736"/>
              <a:gd name="connsiteX84" fmla="*/ 18819 w 352703"/>
              <a:gd name="connsiteY84" fmla="*/ 354734 h 354736"/>
              <a:gd name="connsiteX85" fmla="*/ 18747 w 352703"/>
              <a:gd name="connsiteY85" fmla="*/ 354734 h 354736"/>
              <a:gd name="connsiteX86" fmla="*/ 0 w 352703"/>
              <a:gd name="connsiteY86" fmla="*/ 336561 h 354736"/>
              <a:gd name="connsiteX87" fmla="*/ 0 w 352703"/>
              <a:gd name="connsiteY87" fmla="*/ 82859 h 354736"/>
              <a:gd name="connsiteX88" fmla="*/ 18819 w 352703"/>
              <a:gd name="connsiteY88" fmla="*/ 64686 h 354736"/>
              <a:gd name="connsiteX89" fmla="*/ 48197 w 352703"/>
              <a:gd name="connsiteY89" fmla="*/ 64686 h 354736"/>
              <a:gd name="connsiteX90" fmla="*/ 64718 w 352703"/>
              <a:gd name="connsiteY90" fmla="*/ 16345 h 354736"/>
              <a:gd name="connsiteX91" fmla="*/ 77001 w 352703"/>
              <a:gd name="connsiteY91" fmla="*/ 2553 h 354736"/>
              <a:gd name="connsiteX92" fmla="*/ 95892 w 352703"/>
              <a:gd name="connsiteY92" fmla="*/ 1189 h 3547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Lst>
            <a:rect l="l" t="t" r="r" b="b"/>
            <a:pathLst>
              <a:path w="352703" h="354736">
                <a:moveTo>
                  <a:pt x="157378" y="188306"/>
                </a:moveTo>
                <a:cubicBezTo>
                  <a:pt x="155130" y="188342"/>
                  <a:pt x="153320" y="190151"/>
                  <a:pt x="153284" y="192400"/>
                </a:cubicBezTo>
                <a:lnTo>
                  <a:pt x="153284" y="211650"/>
                </a:lnTo>
                <a:cubicBezTo>
                  <a:pt x="153363" y="213963"/>
                  <a:pt x="155281" y="215788"/>
                  <a:pt x="157594" y="215745"/>
                </a:cubicBezTo>
                <a:lnTo>
                  <a:pt x="163556" y="215745"/>
                </a:lnTo>
                <a:cubicBezTo>
                  <a:pt x="168153" y="215457"/>
                  <a:pt x="173612" y="214020"/>
                  <a:pt x="173756" y="201450"/>
                </a:cubicBezTo>
                <a:cubicBezTo>
                  <a:pt x="173397" y="194770"/>
                  <a:pt x="171098" y="188306"/>
                  <a:pt x="157378" y="188306"/>
                </a:cubicBezTo>
                <a:close/>
                <a:moveTo>
                  <a:pt x="157594" y="174227"/>
                </a:moveTo>
                <a:cubicBezTo>
                  <a:pt x="176700" y="174730"/>
                  <a:pt x="187547" y="184211"/>
                  <a:pt x="188337" y="200660"/>
                </a:cubicBezTo>
                <a:lnTo>
                  <a:pt x="188337" y="201091"/>
                </a:lnTo>
                <a:cubicBezTo>
                  <a:pt x="188122" y="224795"/>
                  <a:pt x="173037" y="229249"/>
                  <a:pt x="163986" y="229823"/>
                </a:cubicBezTo>
                <a:lnTo>
                  <a:pt x="157594" y="229823"/>
                </a:lnTo>
                <a:cubicBezTo>
                  <a:pt x="147387" y="229981"/>
                  <a:pt x="138968" y="221857"/>
                  <a:pt x="138775" y="211650"/>
                </a:cubicBezTo>
                <a:lnTo>
                  <a:pt x="138775" y="192400"/>
                </a:lnTo>
                <a:cubicBezTo>
                  <a:pt x="138968" y="182193"/>
                  <a:pt x="147387" y="174069"/>
                  <a:pt x="157594" y="174227"/>
                </a:cubicBezTo>
                <a:close/>
                <a:moveTo>
                  <a:pt x="113994" y="158424"/>
                </a:moveTo>
                <a:cubicBezTo>
                  <a:pt x="111695" y="158381"/>
                  <a:pt x="109792" y="160220"/>
                  <a:pt x="109756" y="162519"/>
                </a:cubicBezTo>
                <a:lnTo>
                  <a:pt x="109756" y="289370"/>
                </a:lnTo>
                <a:cubicBezTo>
                  <a:pt x="109799" y="291668"/>
                  <a:pt x="111695" y="293507"/>
                  <a:pt x="113994" y="293464"/>
                </a:cubicBezTo>
                <a:lnTo>
                  <a:pt x="134465" y="293464"/>
                </a:lnTo>
                <a:cubicBezTo>
                  <a:pt x="136778" y="293507"/>
                  <a:pt x="138696" y="291683"/>
                  <a:pt x="138775" y="289370"/>
                </a:cubicBezTo>
                <a:lnTo>
                  <a:pt x="138775" y="263727"/>
                </a:lnTo>
                <a:cubicBezTo>
                  <a:pt x="138775" y="263727"/>
                  <a:pt x="138775" y="263719"/>
                  <a:pt x="138775" y="263719"/>
                </a:cubicBezTo>
                <a:cubicBezTo>
                  <a:pt x="138976" y="253527"/>
                  <a:pt x="147402" y="245424"/>
                  <a:pt x="157595" y="245625"/>
                </a:cubicBezTo>
                <a:lnTo>
                  <a:pt x="167651" y="245625"/>
                </a:lnTo>
                <a:cubicBezTo>
                  <a:pt x="176593" y="245812"/>
                  <a:pt x="185436" y="243736"/>
                  <a:pt x="193366" y="239592"/>
                </a:cubicBezTo>
                <a:cubicBezTo>
                  <a:pt x="200247" y="235986"/>
                  <a:pt x="205914" y="230441"/>
                  <a:pt x="209671" y="223646"/>
                </a:cubicBezTo>
                <a:cubicBezTo>
                  <a:pt x="213219" y="217159"/>
                  <a:pt x="215001" y="209847"/>
                  <a:pt x="214843" y="202456"/>
                </a:cubicBezTo>
                <a:cubicBezTo>
                  <a:pt x="214850" y="194892"/>
                  <a:pt x="212868" y="187458"/>
                  <a:pt x="209096" y="180907"/>
                </a:cubicBezTo>
                <a:cubicBezTo>
                  <a:pt x="205404" y="174256"/>
                  <a:pt x="199967" y="168739"/>
                  <a:pt x="193366" y="164961"/>
                </a:cubicBezTo>
                <a:cubicBezTo>
                  <a:pt x="184926" y="160550"/>
                  <a:pt x="175523" y="158302"/>
                  <a:pt x="165999" y="158424"/>
                </a:cubicBezTo>
                <a:close/>
                <a:moveTo>
                  <a:pt x="113994" y="144417"/>
                </a:moveTo>
                <a:lnTo>
                  <a:pt x="165783" y="144417"/>
                </a:lnTo>
                <a:cubicBezTo>
                  <a:pt x="177843" y="144267"/>
                  <a:pt x="189753" y="147154"/>
                  <a:pt x="200405" y="152822"/>
                </a:cubicBezTo>
                <a:cubicBezTo>
                  <a:pt x="209542" y="157785"/>
                  <a:pt x="217163" y="165133"/>
                  <a:pt x="222457" y="174083"/>
                </a:cubicBezTo>
                <a:cubicBezTo>
                  <a:pt x="227291" y="182746"/>
                  <a:pt x="229769" y="192529"/>
                  <a:pt x="229640" y="202456"/>
                </a:cubicBezTo>
                <a:cubicBezTo>
                  <a:pt x="229704" y="212189"/>
                  <a:pt x="227226" y="221771"/>
                  <a:pt x="222457" y="230254"/>
                </a:cubicBezTo>
                <a:cubicBezTo>
                  <a:pt x="217400" y="239412"/>
                  <a:pt x="209786" y="246897"/>
                  <a:pt x="200549" y="251803"/>
                </a:cubicBezTo>
                <a:cubicBezTo>
                  <a:pt x="190435" y="257183"/>
                  <a:pt x="179108" y="259884"/>
                  <a:pt x="167651" y="259632"/>
                </a:cubicBezTo>
                <a:lnTo>
                  <a:pt x="157595" y="259632"/>
                </a:lnTo>
                <a:cubicBezTo>
                  <a:pt x="155282" y="259589"/>
                  <a:pt x="153364" y="261414"/>
                  <a:pt x="153285" y="263727"/>
                </a:cubicBezTo>
                <a:lnTo>
                  <a:pt x="153285" y="289370"/>
                </a:lnTo>
                <a:cubicBezTo>
                  <a:pt x="153091" y="299577"/>
                  <a:pt x="144672" y="307701"/>
                  <a:pt x="134465" y="307543"/>
                </a:cubicBezTo>
                <a:lnTo>
                  <a:pt x="113994" y="307543"/>
                </a:lnTo>
                <a:cubicBezTo>
                  <a:pt x="103801" y="307665"/>
                  <a:pt x="95411" y="299562"/>
                  <a:pt x="95175" y="289370"/>
                </a:cubicBezTo>
                <a:lnTo>
                  <a:pt x="95175" y="162519"/>
                </a:lnTo>
                <a:cubicBezTo>
                  <a:pt x="95411" y="152340"/>
                  <a:pt x="103816" y="144259"/>
                  <a:pt x="113994" y="144417"/>
                </a:cubicBezTo>
                <a:close/>
                <a:moveTo>
                  <a:pt x="18891" y="78765"/>
                </a:moveTo>
                <a:cubicBezTo>
                  <a:pt x="16592" y="78729"/>
                  <a:pt x="14725" y="80561"/>
                  <a:pt x="14653" y="82859"/>
                </a:cubicBezTo>
                <a:lnTo>
                  <a:pt x="14653" y="336561"/>
                </a:lnTo>
                <a:cubicBezTo>
                  <a:pt x="14653" y="336612"/>
                  <a:pt x="14653" y="336662"/>
                  <a:pt x="14653" y="336705"/>
                </a:cubicBezTo>
                <a:cubicBezTo>
                  <a:pt x="14725" y="338968"/>
                  <a:pt x="16664" y="340735"/>
                  <a:pt x="18891" y="340656"/>
                </a:cubicBezTo>
                <a:lnTo>
                  <a:pt x="278196" y="340656"/>
                </a:lnTo>
                <a:cubicBezTo>
                  <a:pt x="280494" y="340692"/>
                  <a:pt x="282398" y="338860"/>
                  <a:pt x="282434" y="336561"/>
                </a:cubicBezTo>
                <a:lnTo>
                  <a:pt x="282434" y="115614"/>
                </a:lnTo>
                <a:cubicBezTo>
                  <a:pt x="282354" y="113330"/>
                  <a:pt x="280480" y="111519"/>
                  <a:pt x="278196" y="111519"/>
                </a:cubicBezTo>
                <a:lnTo>
                  <a:pt x="173827" y="111519"/>
                </a:lnTo>
                <a:cubicBezTo>
                  <a:pt x="165093" y="111670"/>
                  <a:pt x="157450" y="105672"/>
                  <a:pt x="155511" y="97153"/>
                </a:cubicBezTo>
                <a:lnTo>
                  <a:pt x="151848" y="81926"/>
                </a:lnTo>
                <a:cubicBezTo>
                  <a:pt x="151352" y="80036"/>
                  <a:pt x="149635" y="78736"/>
                  <a:pt x="147681" y="78765"/>
                </a:cubicBezTo>
                <a:close/>
                <a:moveTo>
                  <a:pt x="91367" y="14262"/>
                </a:moveTo>
                <a:cubicBezTo>
                  <a:pt x="88853" y="13443"/>
                  <a:pt x="86051" y="13644"/>
                  <a:pt x="83681" y="14837"/>
                </a:cubicBezTo>
                <a:cubicBezTo>
                  <a:pt x="81311" y="15950"/>
                  <a:pt x="79443" y="18004"/>
                  <a:pt x="78581" y="20511"/>
                </a:cubicBezTo>
                <a:lnTo>
                  <a:pt x="63641" y="64399"/>
                </a:lnTo>
                <a:lnTo>
                  <a:pt x="147681" y="64399"/>
                </a:lnTo>
                <a:cubicBezTo>
                  <a:pt x="156387" y="64334"/>
                  <a:pt x="163986" y="70289"/>
                  <a:pt x="165998" y="78765"/>
                </a:cubicBezTo>
                <a:lnTo>
                  <a:pt x="169661" y="93993"/>
                </a:lnTo>
                <a:cubicBezTo>
                  <a:pt x="170135" y="95897"/>
                  <a:pt x="171866" y="97211"/>
                  <a:pt x="173827" y="97153"/>
                </a:cubicBezTo>
                <a:lnTo>
                  <a:pt x="278196" y="97153"/>
                </a:lnTo>
                <a:cubicBezTo>
                  <a:pt x="288388" y="97031"/>
                  <a:pt x="296778" y="105133"/>
                  <a:pt x="297015" y="115326"/>
                </a:cubicBezTo>
                <a:lnTo>
                  <a:pt x="297015" y="222352"/>
                </a:lnTo>
                <a:lnTo>
                  <a:pt x="337658" y="103154"/>
                </a:lnTo>
                <a:lnTo>
                  <a:pt x="337671" y="103331"/>
                </a:lnTo>
                <a:lnTo>
                  <a:pt x="337671" y="103115"/>
                </a:lnTo>
                <a:lnTo>
                  <a:pt x="337658" y="103154"/>
                </a:lnTo>
                <a:lnTo>
                  <a:pt x="337096" y="95645"/>
                </a:lnTo>
                <a:cubicBezTo>
                  <a:pt x="335882" y="93282"/>
                  <a:pt x="333749" y="91522"/>
                  <a:pt x="331206" y="90761"/>
                </a:cubicBezTo>
                <a:close/>
                <a:moveTo>
                  <a:pt x="95892" y="1189"/>
                </a:moveTo>
                <a:lnTo>
                  <a:pt x="335731" y="77400"/>
                </a:lnTo>
                <a:cubicBezTo>
                  <a:pt x="341923" y="79289"/>
                  <a:pt x="347102" y="83585"/>
                  <a:pt x="350097" y="89324"/>
                </a:cubicBezTo>
                <a:cubicBezTo>
                  <a:pt x="353014" y="94941"/>
                  <a:pt x="353502" y="101506"/>
                  <a:pt x="351462" y="107497"/>
                </a:cubicBezTo>
                <a:lnTo>
                  <a:pt x="296943" y="267318"/>
                </a:lnTo>
                <a:lnTo>
                  <a:pt x="296943" y="336561"/>
                </a:lnTo>
                <a:cubicBezTo>
                  <a:pt x="296749" y="346768"/>
                  <a:pt x="288331" y="354892"/>
                  <a:pt x="278124" y="354734"/>
                </a:cubicBezTo>
                <a:lnTo>
                  <a:pt x="18819" y="354734"/>
                </a:lnTo>
                <a:cubicBezTo>
                  <a:pt x="18819" y="354734"/>
                  <a:pt x="18747" y="354734"/>
                  <a:pt x="18747" y="354734"/>
                </a:cubicBezTo>
                <a:cubicBezTo>
                  <a:pt x="8547" y="354892"/>
                  <a:pt x="143" y="346754"/>
                  <a:pt x="0" y="336561"/>
                </a:cubicBezTo>
                <a:lnTo>
                  <a:pt x="0" y="82859"/>
                </a:lnTo>
                <a:cubicBezTo>
                  <a:pt x="215" y="72652"/>
                  <a:pt x="8619" y="64528"/>
                  <a:pt x="18819" y="64686"/>
                </a:cubicBezTo>
                <a:lnTo>
                  <a:pt x="48197" y="64686"/>
                </a:lnTo>
                <a:lnTo>
                  <a:pt x="64718" y="16345"/>
                </a:lnTo>
                <a:cubicBezTo>
                  <a:pt x="66801" y="10290"/>
                  <a:pt x="71255" y="5319"/>
                  <a:pt x="77001" y="2553"/>
                </a:cubicBezTo>
                <a:cubicBezTo>
                  <a:pt x="82891" y="-291"/>
                  <a:pt x="89643" y="-779"/>
                  <a:pt x="95892" y="1189"/>
                </a:cubicBezTo>
                <a:close/>
              </a:path>
            </a:pathLst>
          </a:custGeom>
          <a:solidFill>
            <a:schemeClr val="accent1"/>
          </a:solidFill>
          <a:ln w="7163" cap="flat">
            <a:noFill/>
            <a:prstDash val="solid"/>
            <a:miter/>
          </a:ln>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panose="020F0502020204030204"/>
              <a:ea typeface="微软雅黑"/>
              <a:cs typeface="+mn-cs"/>
            </a:endParaRPr>
          </a:p>
        </p:txBody>
      </p:sp>
    </p:spTree>
    <p:custDataLst>
      <p:tags r:id="rId2"/>
    </p:custDataLst>
    <p:extLst>
      <p:ext uri="{BB962C8B-B14F-4D97-AF65-F5344CB8AC3E}">
        <p14:creationId xmlns:p14="http://schemas.microsoft.com/office/powerpoint/2010/main" val="1823969748"/>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箭头: 五边形 1">
            <a:extLst>
              <a:ext uri="{FF2B5EF4-FFF2-40B4-BE49-F238E27FC236}">
                <a16:creationId xmlns:a16="http://schemas.microsoft.com/office/drawing/2014/main" id="{3FC9D87B-7A9A-4EBB-BC12-E8EB8C387060}"/>
              </a:ext>
            </a:extLst>
          </p:cNvPr>
          <p:cNvSpPr/>
          <p:nvPr/>
        </p:nvSpPr>
        <p:spPr>
          <a:xfrm>
            <a:off x="1" y="0"/>
            <a:ext cx="5295900" cy="6858000"/>
          </a:xfrm>
          <a:prstGeom prst="homePlate">
            <a:avLst>
              <a:gd name="adj" fmla="val 25911"/>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p>
        </p:txBody>
      </p:sp>
      <p:sp>
        <p:nvSpPr>
          <p:cNvPr id="22" name="箭头: 五边形 21">
            <a:extLst>
              <a:ext uri="{FF2B5EF4-FFF2-40B4-BE49-F238E27FC236}">
                <a16:creationId xmlns:a16="http://schemas.microsoft.com/office/drawing/2014/main" id="{5EED78DB-AED4-4C9C-9F06-4CE2A1DB3D4B}"/>
              </a:ext>
            </a:extLst>
          </p:cNvPr>
          <p:cNvSpPr/>
          <p:nvPr/>
        </p:nvSpPr>
        <p:spPr>
          <a:xfrm>
            <a:off x="-1" y="0"/>
            <a:ext cx="5295901" cy="6858000"/>
          </a:xfrm>
          <a:prstGeom prst="homePlate">
            <a:avLst>
              <a:gd name="adj" fmla="val 30982"/>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p>
        </p:txBody>
      </p:sp>
      <p:sp>
        <p:nvSpPr>
          <p:cNvPr id="23" name="任意多边形: 形状 22">
            <a:extLst>
              <a:ext uri="{FF2B5EF4-FFF2-40B4-BE49-F238E27FC236}">
                <a16:creationId xmlns:a16="http://schemas.microsoft.com/office/drawing/2014/main" id="{A77A55CB-BDA2-4232-AF1B-F68FC8065564}"/>
              </a:ext>
            </a:extLst>
          </p:cNvPr>
          <p:cNvSpPr/>
          <p:nvPr/>
        </p:nvSpPr>
        <p:spPr>
          <a:xfrm>
            <a:off x="1695824" y="2713801"/>
            <a:ext cx="1559586" cy="1430398"/>
          </a:xfrm>
          <a:custGeom>
            <a:avLst/>
            <a:gdLst>
              <a:gd name="connsiteX0" fmla="*/ 1006264 w 1331826"/>
              <a:gd name="connsiteY0" fmla="*/ 238125 h 1221507"/>
              <a:gd name="connsiteX1" fmla="*/ 1123466 w 1331826"/>
              <a:gd name="connsiteY1" fmla="*/ 355327 h 1221507"/>
              <a:gd name="connsiteX2" fmla="*/ 1006264 w 1331826"/>
              <a:gd name="connsiteY2" fmla="*/ 472529 h 1221507"/>
              <a:gd name="connsiteX3" fmla="*/ 889062 w 1331826"/>
              <a:gd name="connsiteY3" fmla="*/ 355327 h 1221507"/>
              <a:gd name="connsiteX4" fmla="*/ 1006264 w 1331826"/>
              <a:gd name="connsiteY4" fmla="*/ 238125 h 1221507"/>
              <a:gd name="connsiteX5" fmla="*/ 172827 w 1331826"/>
              <a:gd name="connsiteY5" fmla="*/ 104180 h 1221507"/>
              <a:gd name="connsiteX6" fmla="*/ 105482 w 1331826"/>
              <a:gd name="connsiteY6" fmla="*/ 171152 h 1221507"/>
              <a:gd name="connsiteX7" fmla="*/ 105482 w 1331826"/>
              <a:gd name="connsiteY7" fmla="*/ 726281 h 1221507"/>
              <a:gd name="connsiteX8" fmla="*/ 179152 w 1331826"/>
              <a:gd name="connsiteY8" fmla="*/ 599777 h 1221507"/>
              <a:gd name="connsiteX9" fmla="*/ 303795 w 1331826"/>
              <a:gd name="connsiteY9" fmla="*/ 490761 h 1221507"/>
              <a:gd name="connsiteX10" fmla="*/ 414300 w 1331826"/>
              <a:gd name="connsiteY10" fmla="*/ 507504 h 1221507"/>
              <a:gd name="connsiteX11" fmla="*/ 731676 w 1331826"/>
              <a:gd name="connsiteY11" fmla="*/ 856878 h 1221507"/>
              <a:gd name="connsiteX12" fmla="*/ 780790 w 1331826"/>
              <a:gd name="connsiteY12" fmla="*/ 791022 h 1221507"/>
              <a:gd name="connsiteX13" fmla="*/ 988777 w 1331826"/>
              <a:gd name="connsiteY13" fmla="*/ 633264 h 1221507"/>
              <a:gd name="connsiteX14" fmla="*/ 1093329 w 1331826"/>
              <a:gd name="connsiteY14" fmla="*/ 666006 h 1221507"/>
              <a:gd name="connsiteX15" fmla="*/ 1227646 w 1331826"/>
              <a:gd name="connsiteY15" fmla="*/ 821159 h 1221507"/>
              <a:gd name="connsiteX16" fmla="*/ 1227646 w 1331826"/>
              <a:gd name="connsiteY16" fmla="*/ 171152 h 1221507"/>
              <a:gd name="connsiteX17" fmla="*/ 1160673 w 1331826"/>
              <a:gd name="connsiteY17" fmla="*/ 104180 h 1221507"/>
              <a:gd name="connsiteX18" fmla="*/ 172827 w 1331826"/>
              <a:gd name="connsiteY18" fmla="*/ 0 h 1221507"/>
              <a:gd name="connsiteX19" fmla="*/ 1160673 w 1331826"/>
              <a:gd name="connsiteY19" fmla="*/ 0 h 1221507"/>
              <a:gd name="connsiteX20" fmla="*/ 1331826 w 1331826"/>
              <a:gd name="connsiteY20" fmla="*/ 171152 h 1221507"/>
              <a:gd name="connsiteX21" fmla="*/ 1331826 w 1331826"/>
              <a:gd name="connsiteY21" fmla="*/ 1050355 h 1221507"/>
              <a:gd name="connsiteX22" fmla="*/ 1160673 w 1331826"/>
              <a:gd name="connsiteY22" fmla="*/ 1221507 h 1221507"/>
              <a:gd name="connsiteX23" fmla="*/ 172827 w 1331826"/>
              <a:gd name="connsiteY23" fmla="*/ 1221507 h 1221507"/>
              <a:gd name="connsiteX24" fmla="*/ 1674 w 1331826"/>
              <a:gd name="connsiteY24" fmla="*/ 1050355 h 1221507"/>
              <a:gd name="connsiteX25" fmla="*/ 1674 w 1331826"/>
              <a:gd name="connsiteY25" fmla="*/ 1006450 h 1221507"/>
              <a:gd name="connsiteX26" fmla="*/ 1674 w 1331826"/>
              <a:gd name="connsiteY26" fmla="*/ 980405 h 1221507"/>
              <a:gd name="connsiteX27" fmla="*/ 1674 w 1331826"/>
              <a:gd name="connsiteY27" fmla="*/ 171152 h 1221507"/>
              <a:gd name="connsiteX28" fmla="*/ 172827 w 1331826"/>
              <a:gd name="connsiteY28" fmla="*/ 0 h 1221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31826" h="1221507">
                <a:moveTo>
                  <a:pt x="1006264" y="238125"/>
                </a:moveTo>
                <a:cubicBezTo>
                  <a:pt x="1070993" y="238125"/>
                  <a:pt x="1123466" y="290598"/>
                  <a:pt x="1123466" y="355327"/>
                </a:cubicBezTo>
                <a:cubicBezTo>
                  <a:pt x="1123466" y="420056"/>
                  <a:pt x="1070993" y="472529"/>
                  <a:pt x="1006264" y="472529"/>
                </a:cubicBezTo>
                <a:cubicBezTo>
                  <a:pt x="941535" y="472529"/>
                  <a:pt x="889062" y="420056"/>
                  <a:pt x="889062" y="355327"/>
                </a:cubicBezTo>
                <a:cubicBezTo>
                  <a:pt x="889062" y="290598"/>
                  <a:pt x="941535" y="238125"/>
                  <a:pt x="1006264" y="238125"/>
                </a:cubicBezTo>
                <a:close/>
                <a:moveTo>
                  <a:pt x="172827" y="104180"/>
                </a:moveTo>
                <a:cubicBezTo>
                  <a:pt x="135620" y="104180"/>
                  <a:pt x="105854" y="133945"/>
                  <a:pt x="105482" y="171152"/>
                </a:cubicBezTo>
                <a:lnTo>
                  <a:pt x="105482" y="726281"/>
                </a:lnTo>
                <a:cubicBezTo>
                  <a:pt x="130411" y="676424"/>
                  <a:pt x="154967" y="634008"/>
                  <a:pt x="179152" y="599777"/>
                </a:cubicBezTo>
                <a:cubicBezTo>
                  <a:pt x="220824" y="540246"/>
                  <a:pt x="261751" y="504527"/>
                  <a:pt x="303795" y="490761"/>
                </a:cubicBezTo>
                <a:cubicBezTo>
                  <a:pt x="342491" y="478110"/>
                  <a:pt x="380442" y="483691"/>
                  <a:pt x="414300" y="507504"/>
                </a:cubicBezTo>
                <a:cubicBezTo>
                  <a:pt x="528526" y="587871"/>
                  <a:pt x="663215" y="762372"/>
                  <a:pt x="731676" y="856878"/>
                </a:cubicBezTo>
                <a:cubicBezTo>
                  <a:pt x="745443" y="837158"/>
                  <a:pt x="762186" y="814090"/>
                  <a:pt x="780790" y="791022"/>
                </a:cubicBezTo>
                <a:cubicBezTo>
                  <a:pt x="858552" y="693911"/>
                  <a:pt x="926641" y="642193"/>
                  <a:pt x="988777" y="633264"/>
                </a:cubicBezTo>
                <a:cubicBezTo>
                  <a:pt x="1028216" y="627683"/>
                  <a:pt x="1064307" y="638845"/>
                  <a:pt x="1093329" y="666006"/>
                </a:cubicBezTo>
                <a:cubicBezTo>
                  <a:pt x="1142070" y="711398"/>
                  <a:pt x="1188951" y="768697"/>
                  <a:pt x="1227646" y="821159"/>
                </a:cubicBezTo>
                <a:lnTo>
                  <a:pt x="1227646" y="171152"/>
                </a:lnTo>
                <a:cubicBezTo>
                  <a:pt x="1227646" y="134317"/>
                  <a:pt x="1197508" y="104180"/>
                  <a:pt x="1160673" y="104180"/>
                </a:cubicBezTo>
                <a:close/>
                <a:moveTo>
                  <a:pt x="172827" y="0"/>
                </a:moveTo>
                <a:lnTo>
                  <a:pt x="1160673" y="0"/>
                </a:lnTo>
                <a:cubicBezTo>
                  <a:pt x="1255179" y="0"/>
                  <a:pt x="1331826" y="76646"/>
                  <a:pt x="1331826" y="171152"/>
                </a:cubicBezTo>
                <a:lnTo>
                  <a:pt x="1331826" y="1050355"/>
                </a:lnTo>
                <a:cubicBezTo>
                  <a:pt x="1331826" y="1144860"/>
                  <a:pt x="1255179" y="1221507"/>
                  <a:pt x="1160673" y="1221507"/>
                </a:cubicBezTo>
                <a:lnTo>
                  <a:pt x="172827" y="1221507"/>
                </a:lnTo>
                <a:cubicBezTo>
                  <a:pt x="78321" y="1221507"/>
                  <a:pt x="1674" y="1144860"/>
                  <a:pt x="1674" y="1050355"/>
                </a:cubicBezTo>
                <a:lnTo>
                  <a:pt x="1674" y="1006450"/>
                </a:lnTo>
                <a:cubicBezTo>
                  <a:pt x="-558" y="997893"/>
                  <a:pt x="-558" y="989335"/>
                  <a:pt x="1674" y="980405"/>
                </a:cubicBezTo>
                <a:lnTo>
                  <a:pt x="1674" y="171152"/>
                </a:lnTo>
                <a:cubicBezTo>
                  <a:pt x="1674" y="76646"/>
                  <a:pt x="78321" y="0"/>
                  <a:pt x="172827" y="0"/>
                </a:cubicBezTo>
                <a:close/>
              </a:path>
            </a:pathLst>
          </a:custGeom>
          <a:solidFill>
            <a:schemeClr val="bg1"/>
          </a:solidFill>
          <a:ln w="1860" cap="flat">
            <a:noFill/>
            <a:prstDash val="solid"/>
            <a:miter/>
          </a:ln>
        </p:spPr>
        <p:txBody>
          <a:bodyPr rtlCol="0" anchor="ctr"/>
          <a:lstStyle/>
          <a:p>
            <a:endParaRPr lang="zh-CN" altLang="en-US"/>
          </a:p>
        </p:txBody>
      </p:sp>
      <p:sp>
        <p:nvSpPr>
          <p:cNvPr id="9" name="矩形: 圆角 8">
            <a:extLst>
              <a:ext uri="{FF2B5EF4-FFF2-40B4-BE49-F238E27FC236}">
                <a16:creationId xmlns:a16="http://schemas.microsoft.com/office/drawing/2014/main" id="{63929BAD-6983-4E9A-AB7D-DC14987A45D5}"/>
              </a:ext>
            </a:extLst>
          </p:cNvPr>
          <p:cNvSpPr/>
          <p:nvPr/>
        </p:nvSpPr>
        <p:spPr>
          <a:xfrm>
            <a:off x="3894376" y="2895600"/>
            <a:ext cx="2359458" cy="1165342"/>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4800" dirty="0"/>
              <a:t>目录</a:t>
            </a:r>
          </a:p>
        </p:txBody>
      </p:sp>
      <p:sp>
        <p:nvSpPr>
          <p:cNvPr id="24" name="矩形: 圆角 23">
            <a:extLst>
              <a:ext uri="{FF2B5EF4-FFF2-40B4-BE49-F238E27FC236}">
                <a16:creationId xmlns:a16="http://schemas.microsoft.com/office/drawing/2014/main" id="{843F752C-53D3-4EA2-A38A-63A863601287}"/>
              </a:ext>
            </a:extLst>
          </p:cNvPr>
          <p:cNvSpPr/>
          <p:nvPr/>
        </p:nvSpPr>
        <p:spPr>
          <a:xfrm>
            <a:off x="6904495" y="1282328"/>
            <a:ext cx="505955" cy="505955"/>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600" dirty="0"/>
              <a:t>01</a:t>
            </a:r>
            <a:endParaRPr lang="zh-CN" altLang="en-US" sz="1600" dirty="0"/>
          </a:p>
        </p:txBody>
      </p:sp>
      <p:sp>
        <p:nvSpPr>
          <p:cNvPr id="25" name="文本框 24">
            <a:extLst>
              <a:ext uri="{FF2B5EF4-FFF2-40B4-BE49-F238E27FC236}">
                <a16:creationId xmlns:a16="http://schemas.microsoft.com/office/drawing/2014/main" id="{A7C9956C-EBB5-40C4-926F-CEA5E92A65E6}"/>
              </a:ext>
            </a:extLst>
          </p:cNvPr>
          <p:cNvSpPr txBox="1"/>
          <p:nvPr/>
        </p:nvSpPr>
        <p:spPr>
          <a:xfrm>
            <a:off x="7600950" y="1319862"/>
            <a:ext cx="2872581" cy="430887"/>
          </a:xfrm>
          <a:prstGeom prst="rect">
            <a:avLst/>
          </a:prstGeom>
          <a:noFill/>
        </p:spPr>
        <p:txBody>
          <a:bodyPr wrap="none" lIns="0" tIns="0" rIns="0" bIns="0" rtlCol="0" anchor="t">
            <a:spAutoFit/>
          </a:bodyPr>
          <a:lstStyle/>
          <a:p>
            <a:pPr algn="l"/>
            <a:r>
              <a:rPr lang="zh-CN" altLang="en-US" sz="2800" dirty="0">
                <a:solidFill>
                  <a:schemeClr val="accent1"/>
                </a:solidFill>
                <a:latin typeface="+mj-ea"/>
                <a:ea typeface="+mj-ea"/>
              </a:rPr>
              <a:t>输入你的目录标题</a:t>
            </a:r>
          </a:p>
        </p:txBody>
      </p:sp>
      <p:sp>
        <p:nvSpPr>
          <p:cNvPr id="26" name="矩形: 圆角 25">
            <a:extLst>
              <a:ext uri="{FF2B5EF4-FFF2-40B4-BE49-F238E27FC236}">
                <a16:creationId xmlns:a16="http://schemas.microsoft.com/office/drawing/2014/main" id="{F7222E4C-4FDC-420A-97D7-ACDECF9F7C58}"/>
              </a:ext>
            </a:extLst>
          </p:cNvPr>
          <p:cNvSpPr/>
          <p:nvPr/>
        </p:nvSpPr>
        <p:spPr>
          <a:xfrm>
            <a:off x="6904495" y="2544791"/>
            <a:ext cx="505955" cy="505955"/>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600" dirty="0"/>
              <a:t>02</a:t>
            </a:r>
            <a:endParaRPr lang="zh-CN" altLang="en-US" sz="1600" dirty="0"/>
          </a:p>
        </p:txBody>
      </p:sp>
      <p:sp>
        <p:nvSpPr>
          <p:cNvPr id="27" name="文本框 26">
            <a:extLst>
              <a:ext uri="{FF2B5EF4-FFF2-40B4-BE49-F238E27FC236}">
                <a16:creationId xmlns:a16="http://schemas.microsoft.com/office/drawing/2014/main" id="{B6BF3DAC-B4DA-4DAA-8CF1-86E2C8281DC2}"/>
              </a:ext>
            </a:extLst>
          </p:cNvPr>
          <p:cNvSpPr txBox="1"/>
          <p:nvPr/>
        </p:nvSpPr>
        <p:spPr>
          <a:xfrm>
            <a:off x="7600950" y="2582325"/>
            <a:ext cx="2872581" cy="430887"/>
          </a:xfrm>
          <a:prstGeom prst="rect">
            <a:avLst/>
          </a:prstGeom>
          <a:noFill/>
        </p:spPr>
        <p:txBody>
          <a:bodyPr wrap="none" lIns="0" tIns="0" rIns="0" bIns="0" rtlCol="0" anchor="t">
            <a:spAutoFit/>
          </a:bodyPr>
          <a:lstStyle/>
          <a:p>
            <a:pPr algn="l"/>
            <a:r>
              <a:rPr lang="zh-CN" altLang="en-US" sz="2800" dirty="0">
                <a:solidFill>
                  <a:schemeClr val="accent1"/>
                </a:solidFill>
                <a:latin typeface="+mj-ea"/>
                <a:ea typeface="+mj-ea"/>
              </a:rPr>
              <a:t>输入你的目录标题</a:t>
            </a:r>
          </a:p>
        </p:txBody>
      </p:sp>
      <p:sp>
        <p:nvSpPr>
          <p:cNvPr id="28" name="矩形: 圆角 27">
            <a:extLst>
              <a:ext uri="{FF2B5EF4-FFF2-40B4-BE49-F238E27FC236}">
                <a16:creationId xmlns:a16="http://schemas.microsoft.com/office/drawing/2014/main" id="{2DDCA629-9EE5-4626-843D-7D252DB8EA40}"/>
              </a:ext>
            </a:extLst>
          </p:cNvPr>
          <p:cNvSpPr/>
          <p:nvPr/>
        </p:nvSpPr>
        <p:spPr>
          <a:xfrm>
            <a:off x="6904495" y="3807254"/>
            <a:ext cx="505955" cy="505955"/>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600" dirty="0"/>
              <a:t>03</a:t>
            </a:r>
            <a:endParaRPr lang="zh-CN" altLang="en-US" sz="1600" dirty="0"/>
          </a:p>
        </p:txBody>
      </p:sp>
      <p:sp>
        <p:nvSpPr>
          <p:cNvPr id="29" name="文本框 28">
            <a:extLst>
              <a:ext uri="{FF2B5EF4-FFF2-40B4-BE49-F238E27FC236}">
                <a16:creationId xmlns:a16="http://schemas.microsoft.com/office/drawing/2014/main" id="{649F72C0-93A6-4530-BEE9-8B42A4935AF6}"/>
              </a:ext>
            </a:extLst>
          </p:cNvPr>
          <p:cNvSpPr txBox="1"/>
          <p:nvPr/>
        </p:nvSpPr>
        <p:spPr>
          <a:xfrm>
            <a:off x="7600950" y="3844788"/>
            <a:ext cx="2872581" cy="430887"/>
          </a:xfrm>
          <a:prstGeom prst="rect">
            <a:avLst/>
          </a:prstGeom>
          <a:noFill/>
        </p:spPr>
        <p:txBody>
          <a:bodyPr wrap="none" lIns="0" tIns="0" rIns="0" bIns="0" rtlCol="0" anchor="t">
            <a:spAutoFit/>
          </a:bodyPr>
          <a:lstStyle/>
          <a:p>
            <a:pPr algn="l"/>
            <a:r>
              <a:rPr lang="zh-CN" altLang="en-US" sz="2800" dirty="0">
                <a:solidFill>
                  <a:schemeClr val="accent1"/>
                </a:solidFill>
                <a:latin typeface="+mj-ea"/>
                <a:ea typeface="+mj-ea"/>
              </a:rPr>
              <a:t>输入你的目录标题</a:t>
            </a:r>
          </a:p>
        </p:txBody>
      </p:sp>
      <p:sp>
        <p:nvSpPr>
          <p:cNvPr id="30" name="矩形: 圆角 29">
            <a:extLst>
              <a:ext uri="{FF2B5EF4-FFF2-40B4-BE49-F238E27FC236}">
                <a16:creationId xmlns:a16="http://schemas.microsoft.com/office/drawing/2014/main" id="{E7DAA3B1-268E-46D1-BE40-19EE7021186A}"/>
              </a:ext>
            </a:extLst>
          </p:cNvPr>
          <p:cNvSpPr/>
          <p:nvPr/>
        </p:nvSpPr>
        <p:spPr>
          <a:xfrm>
            <a:off x="6904495" y="5069717"/>
            <a:ext cx="505955" cy="505955"/>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600" dirty="0"/>
              <a:t>04</a:t>
            </a:r>
            <a:endParaRPr lang="zh-CN" altLang="en-US" sz="1600" dirty="0"/>
          </a:p>
        </p:txBody>
      </p:sp>
      <p:sp>
        <p:nvSpPr>
          <p:cNvPr id="31" name="文本框 30">
            <a:extLst>
              <a:ext uri="{FF2B5EF4-FFF2-40B4-BE49-F238E27FC236}">
                <a16:creationId xmlns:a16="http://schemas.microsoft.com/office/drawing/2014/main" id="{A86E12AE-7579-4396-AE96-D4C01298C518}"/>
              </a:ext>
            </a:extLst>
          </p:cNvPr>
          <p:cNvSpPr txBox="1"/>
          <p:nvPr/>
        </p:nvSpPr>
        <p:spPr>
          <a:xfrm>
            <a:off x="7600950" y="5107251"/>
            <a:ext cx="2872581" cy="430887"/>
          </a:xfrm>
          <a:prstGeom prst="rect">
            <a:avLst/>
          </a:prstGeom>
          <a:noFill/>
        </p:spPr>
        <p:txBody>
          <a:bodyPr wrap="none" lIns="0" tIns="0" rIns="0" bIns="0" rtlCol="0" anchor="t">
            <a:spAutoFit/>
          </a:bodyPr>
          <a:lstStyle/>
          <a:p>
            <a:pPr algn="l"/>
            <a:r>
              <a:rPr lang="zh-CN" altLang="en-US" sz="2800" dirty="0">
                <a:solidFill>
                  <a:schemeClr val="accent1"/>
                </a:solidFill>
                <a:latin typeface="+mj-ea"/>
                <a:ea typeface="+mj-ea"/>
              </a:rPr>
              <a:t>输入你的目录标题</a:t>
            </a:r>
          </a:p>
        </p:txBody>
      </p:sp>
      <p:cxnSp>
        <p:nvCxnSpPr>
          <p:cNvPr id="32" name="直接连接符 31">
            <a:extLst>
              <a:ext uri="{FF2B5EF4-FFF2-40B4-BE49-F238E27FC236}">
                <a16:creationId xmlns:a16="http://schemas.microsoft.com/office/drawing/2014/main" id="{6C94AB99-6D17-4F2C-AFC2-98FBE69C1060}"/>
              </a:ext>
            </a:extLst>
          </p:cNvPr>
          <p:cNvCxnSpPr>
            <a:cxnSpLocks/>
          </p:cNvCxnSpPr>
          <p:nvPr/>
        </p:nvCxnSpPr>
        <p:spPr>
          <a:xfrm>
            <a:off x="6904495" y="2114550"/>
            <a:ext cx="3569036" cy="0"/>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33" name="直接连接符 32">
            <a:extLst>
              <a:ext uri="{FF2B5EF4-FFF2-40B4-BE49-F238E27FC236}">
                <a16:creationId xmlns:a16="http://schemas.microsoft.com/office/drawing/2014/main" id="{6829A825-1128-4A6D-B214-0AB130FAC6A6}"/>
              </a:ext>
            </a:extLst>
          </p:cNvPr>
          <p:cNvCxnSpPr>
            <a:cxnSpLocks/>
          </p:cNvCxnSpPr>
          <p:nvPr/>
        </p:nvCxnSpPr>
        <p:spPr>
          <a:xfrm>
            <a:off x="6904495" y="3429000"/>
            <a:ext cx="3569036" cy="0"/>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34" name="直接连接符 33">
            <a:extLst>
              <a:ext uri="{FF2B5EF4-FFF2-40B4-BE49-F238E27FC236}">
                <a16:creationId xmlns:a16="http://schemas.microsoft.com/office/drawing/2014/main" id="{8342FFD4-9A80-447C-8BD7-62EEA450CCB4}"/>
              </a:ext>
            </a:extLst>
          </p:cNvPr>
          <p:cNvCxnSpPr>
            <a:cxnSpLocks/>
          </p:cNvCxnSpPr>
          <p:nvPr/>
        </p:nvCxnSpPr>
        <p:spPr>
          <a:xfrm>
            <a:off x="6904495" y="4724400"/>
            <a:ext cx="3569036" cy="0"/>
          </a:xfrm>
          <a:prstGeom prst="line">
            <a:avLst/>
          </a:prstGeom>
          <a:ln w="1270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59098802"/>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6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 name="任意多边形: 形状 111">
            <a:extLst>
              <a:ext uri="{FF2B5EF4-FFF2-40B4-BE49-F238E27FC236}">
                <a16:creationId xmlns:a16="http://schemas.microsoft.com/office/drawing/2014/main" id="{958AF418-F9B1-4F05-9B8A-867F897C60E0}"/>
              </a:ext>
            </a:extLst>
          </p:cNvPr>
          <p:cNvSpPr/>
          <p:nvPr/>
        </p:nvSpPr>
        <p:spPr>
          <a:xfrm>
            <a:off x="426969" y="2455927"/>
            <a:ext cx="11328324" cy="2784832"/>
          </a:xfrm>
          <a:custGeom>
            <a:avLst/>
            <a:gdLst>
              <a:gd name="connsiteX0" fmla="*/ 9998722 w 11328324"/>
              <a:gd name="connsiteY0" fmla="*/ 929 h 2784832"/>
              <a:gd name="connsiteX1" fmla="*/ 10048793 w 11328324"/>
              <a:gd name="connsiteY1" fmla="*/ 12476 h 2784832"/>
              <a:gd name="connsiteX2" fmla="*/ 10116671 w 11328324"/>
              <a:gd name="connsiteY2" fmla="*/ 53809 h 2784832"/>
              <a:gd name="connsiteX3" fmla="*/ 10473863 w 11328324"/>
              <a:gd name="connsiteY3" fmla="*/ 336670 h 2784832"/>
              <a:gd name="connsiteX4" fmla="*/ 10918764 w 11328324"/>
              <a:gd name="connsiteY4" fmla="*/ 796006 h 2784832"/>
              <a:gd name="connsiteX5" fmla="*/ 11227272 w 11328324"/>
              <a:gd name="connsiteY5" fmla="*/ 1176695 h 2784832"/>
              <a:gd name="connsiteX6" fmla="*/ 11328324 w 11328324"/>
              <a:gd name="connsiteY6" fmla="*/ 1349674 h 2784832"/>
              <a:gd name="connsiteX7" fmla="*/ 11328324 w 11328324"/>
              <a:gd name="connsiteY7" fmla="*/ 1414461 h 2784832"/>
              <a:gd name="connsiteX8" fmla="*/ 11269217 w 11328324"/>
              <a:gd name="connsiteY8" fmla="*/ 1552848 h 2784832"/>
              <a:gd name="connsiteX9" fmla="*/ 11065834 w 11328324"/>
              <a:gd name="connsiteY9" fmla="*/ 1848144 h 2784832"/>
              <a:gd name="connsiteX10" fmla="*/ 10620299 w 11328324"/>
              <a:gd name="connsiteY10" fmla="*/ 2327566 h 2784832"/>
              <a:gd name="connsiteX11" fmla="*/ 10282297 w 11328324"/>
              <a:gd name="connsiteY11" fmla="*/ 2613924 h 2784832"/>
              <a:gd name="connsiteX12" fmla="*/ 10029596 w 11328324"/>
              <a:gd name="connsiteY12" fmla="*/ 2784832 h 2784832"/>
              <a:gd name="connsiteX13" fmla="*/ 9991462 w 11328324"/>
              <a:gd name="connsiteY13" fmla="*/ 2784832 h 2784832"/>
              <a:gd name="connsiteX14" fmla="*/ 9939343 w 11328324"/>
              <a:gd name="connsiteY14" fmla="*/ 2729893 h 2784832"/>
              <a:gd name="connsiteX15" fmla="*/ 9889770 w 11328324"/>
              <a:gd name="connsiteY15" fmla="*/ 2632972 h 2784832"/>
              <a:gd name="connsiteX16" fmla="*/ 9767105 w 11328324"/>
              <a:gd name="connsiteY16" fmla="*/ 2256170 h 2784832"/>
              <a:gd name="connsiteX17" fmla="*/ 9644441 w 11328324"/>
              <a:gd name="connsiteY17" fmla="*/ 1571507 h 2784832"/>
              <a:gd name="connsiteX18" fmla="*/ 9643084 w 11328324"/>
              <a:gd name="connsiteY18" fmla="*/ 1417288 h 2784832"/>
              <a:gd name="connsiteX19" fmla="*/ 1409630 w 11328324"/>
              <a:gd name="connsiteY19" fmla="*/ 1417288 h 2784832"/>
              <a:gd name="connsiteX20" fmla="*/ 1167008 w 11328324"/>
              <a:gd name="connsiteY20" fmla="*/ 1660765 h 2784832"/>
              <a:gd name="connsiteX21" fmla="*/ 891202 w 11328324"/>
              <a:gd name="connsiteY21" fmla="*/ 1897511 h 2784832"/>
              <a:gd name="connsiteX22" fmla="*/ 39535 w 11328324"/>
              <a:gd name="connsiteY22" fmla="*/ 2425004 h 2784832"/>
              <a:gd name="connsiteX23" fmla="*/ 0 w 11328324"/>
              <a:gd name="connsiteY23" fmla="*/ 2441720 h 2784832"/>
              <a:gd name="connsiteX24" fmla="*/ 52500 w 11328324"/>
              <a:gd name="connsiteY24" fmla="*/ 2338061 h 2784832"/>
              <a:gd name="connsiteX25" fmla="*/ 277492 w 11328324"/>
              <a:gd name="connsiteY25" fmla="*/ 1565546 h 2784832"/>
              <a:gd name="connsiteX26" fmla="*/ 98896 w 11328324"/>
              <a:gd name="connsiteY26" fmla="*/ 499024 h 2784832"/>
              <a:gd name="connsiteX27" fmla="*/ 3815 w 11328324"/>
              <a:gd name="connsiteY27" fmla="*/ 302332 h 2784832"/>
              <a:gd name="connsiteX28" fmla="*/ 195758 w 11328324"/>
              <a:gd name="connsiteY28" fmla="*/ 393034 h 2784832"/>
              <a:gd name="connsiteX29" fmla="*/ 1389617 w 11328324"/>
              <a:gd name="connsiteY29" fmla="*/ 1304841 h 2784832"/>
              <a:gd name="connsiteX30" fmla="*/ 1418653 w 11328324"/>
              <a:gd name="connsiteY30" fmla="*/ 1332672 h 2784832"/>
              <a:gd name="connsiteX31" fmla="*/ 9642340 w 11328324"/>
              <a:gd name="connsiteY31" fmla="*/ 1332672 h 2784832"/>
              <a:gd name="connsiteX32" fmla="*/ 9641263 w 11328324"/>
              <a:gd name="connsiteY32" fmla="*/ 1210253 h 2784832"/>
              <a:gd name="connsiteX33" fmla="*/ 9699862 w 11328324"/>
              <a:gd name="connsiteY33" fmla="*/ 759597 h 2784832"/>
              <a:gd name="connsiteX34" fmla="*/ 9907565 w 11328324"/>
              <a:gd name="connsiteY34" fmla="*/ 113544 h 2784832"/>
              <a:gd name="connsiteX35" fmla="*/ 9957137 w 11328324"/>
              <a:gd name="connsiteY35" fmla="*/ 31264 h 2784832"/>
              <a:gd name="connsiteX36" fmla="*/ 9998722 w 11328324"/>
              <a:gd name="connsiteY36" fmla="*/ 929 h 2784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1328324" h="2784832">
                <a:moveTo>
                  <a:pt x="9998722" y="929"/>
                </a:moveTo>
                <a:cubicBezTo>
                  <a:pt x="10013675" y="-2003"/>
                  <a:pt x="10030042" y="2047"/>
                  <a:pt x="10048793" y="12476"/>
                </a:cubicBezTo>
                <a:cubicBezTo>
                  <a:pt x="10071926" y="25434"/>
                  <a:pt x="10094680" y="39169"/>
                  <a:pt x="10116671" y="53809"/>
                </a:cubicBezTo>
                <a:cubicBezTo>
                  <a:pt x="10242512" y="138811"/>
                  <a:pt x="10361874" y="233400"/>
                  <a:pt x="10473863" y="336670"/>
                </a:cubicBezTo>
                <a:cubicBezTo>
                  <a:pt x="10630721" y="480884"/>
                  <a:pt x="10779317" y="634300"/>
                  <a:pt x="10918764" y="796006"/>
                </a:cubicBezTo>
                <a:cubicBezTo>
                  <a:pt x="11026049" y="918971"/>
                  <a:pt x="11128881" y="1045955"/>
                  <a:pt x="11227272" y="1176695"/>
                </a:cubicBezTo>
                <a:cubicBezTo>
                  <a:pt x="11267820" y="1230467"/>
                  <a:pt x="11309511" y="1282946"/>
                  <a:pt x="11328324" y="1349674"/>
                </a:cubicBezTo>
                <a:lnTo>
                  <a:pt x="11328324" y="1414461"/>
                </a:lnTo>
                <a:cubicBezTo>
                  <a:pt x="11314217" y="1462922"/>
                  <a:pt x="11294385" y="1509310"/>
                  <a:pt x="11269217" y="1552848"/>
                </a:cubicBezTo>
                <a:cubicBezTo>
                  <a:pt x="11208583" y="1656247"/>
                  <a:pt x="11140576" y="1754851"/>
                  <a:pt x="11065834" y="1848144"/>
                </a:cubicBezTo>
                <a:cubicBezTo>
                  <a:pt x="10929694" y="2019442"/>
                  <a:pt x="10780713" y="2179723"/>
                  <a:pt x="10620299" y="2327566"/>
                </a:cubicBezTo>
                <a:cubicBezTo>
                  <a:pt x="10511744" y="2427986"/>
                  <a:pt x="10400133" y="2524650"/>
                  <a:pt x="10282297" y="2613924"/>
                </a:cubicBezTo>
                <a:cubicBezTo>
                  <a:pt x="10200945" y="2675472"/>
                  <a:pt x="10115907" y="2731189"/>
                  <a:pt x="10029596" y="2784832"/>
                </a:cubicBezTo>
                <a:lnTo>
                  <a:pt x="9991462" y="2784832"/>
                </a:lnTo>
                <a:cubicBezTo>
                  <a:pt x="9972394" y="2768245"/>
                  <a:pt x="9954978" y="2749846"/>
                  <a:pt x="9939343" y="2729893"/>
                </a:cubicBezTo>
                <a:cubicBezTo>
                  <a:pt x="9919513" y="2699444"/>
                  <a:pt x="9902866" y="2667051"/>
                  <a:pt x="9889770" y="2632972"/>
                </a:cubicBezTo>
                <a:cubicBezTo>
                  <a:pt x="9843120" y="2509358"/>
                  <a:pt x="9803334" y="2383412"/>
                  <a:pt x="9767105" y="2256170"/>
                </a:cubicBezTo>
                <a:cubicBezTo>
                  <a:pt x="9703418" y="2032786"/>
                  <a:pt x="9662236" y="1803441"/>
                  <a:pt x="9644441" y="1571507"/>
                </a:cubicBezTo>
                <a:lnTo>
                  <a:pt x="9643084" y="1417288"/>
                </a:lnTo>
                <a:lnTo>
                  <a:pt x="1409630" y="1417288"/>
                </a:lnTo>
                <a:lnTo>
                  <a:pt x="1167008" y="1660765"/>
                </a:lnTo>
                <a:cubicBezTo>
                  <a:pt x="1078155" y="1743255"/>
                  <a:pt x="986156" y="1822230"/>
                  <a:pt x="891202" y="1897511"/>
                </a:cubicBezTo>
                <a:cubicBezTo>
                  <a:pt x="628329" y="2106385"/>
                  <a:pt x="342446" y="2283382"/>
                  <a:pt x="39535" y="2425004"/>
                </a:cubicBezTo>
                <a:cubicBezTo>
                  <a:pt x="29109" y="2429930"/>
                  <a:pt x="18303" y="2433947"/>
                  <a:pt x="0" y="2441720"/>
                </a:cubicBezTo>
                <a:cubicBezTo>
                  <a:pt x="20593" y="2401165"/>
                  <a:pt x="36865" y="2369935"/>
                  <a:pt x="52500" y="2338061"/>
                </a:cubicBezTo>
                <a:cubicBezTo>
                  <a:pt x="173641" y="2096926"/>
                  <a:pt x="249910" y="1835056"/>
                  <a:pt x="277492" y="1565546"/>
                </a:cubicBezTo>
                <a:cubicBezTo>
                  <a:pt x="314099" y="1193021"/>
                  <a:pt x="249781" y="838376"/>
                  <a:pt x="98896" y="499024"/>
                </a:cubicBezTo>
                <a:cubicBezTo>
                  <a:pt x="69277" y="432421"/>
                  <a:pt x="35339" y="367894"/>
                  <a:pt x="3815" y="302332"/>
                </a:cubicBezTo>
                <a:cubicBezTo>
                  <a:pt x="67372" y="332392"/>
                  <a:pt x="133216" y="359732"/>
                  <a:pt x="195758" y="393034"/>
                </a:cubicBezTo>
                <a:cubicBezTo>
                  <a:pt x="641801" y="625359"/>
                  <a:pt x="1045644" y="933744"/>
                  <a:pt x="1389617" y="1304841"/>
                </a:cubicBezTo>
                <a:lnTo>
                  <a:pt x="1418653" y="1332672"/>
                </a:lnTo>
                <a:lnTo>
                  <a:pt x="9642340" y="1332672"/>
                </a:lnTo>
                <a:lnTo>
                  <a:pt x="9641263" y="1210253"/>
                </a:lnTo>
                <a:cubicBezTo>
                  <a:pt x="9650288" y="1058783"/>
                  <a:pt x="9669864" y="908219"/>
                  <a:pt x="9699862" y="759597"/>
                </a:cubicBezTo>
                <a:cubicBezTo>
                  <a:pt x="9746257" y="537248"/>
                  <a:pt x="9815916" y="320732"/>
                  <a:pt x="9907565" y="113544"/>
                </a:cubicBezTo>
                <a:cubicBezTo>
                  <a:pt x="9920916" y="84261"/>
                  <a:pt x="9937568" y="56659"/>
                  <a:pt x="9957137" y="31264"/>
                </a:cubicBezTo>
                <a:cubicBezTo>
                  <a:pt x="9970231" y="13772"/>
                  <a:pt x="9983769" y="3860"/>
                  <a:pt x="9998722" y="929"/>
                </a:cubicBezTo>
                <a:close/>
              </a:path>
            </a:pathLst>
          </a:custGeom>
          <a:gradFill flip="none" rotWithShape="1">
            <a:gsLst>
              <a:gs pos="0">
                <a:schemeClr val="accent1"/>
              </a:gs>
              <a:gs pos="100000">
                <a:schemeClr val="accent1">
                  <a:lumMod val="60000"/>
                  <a:lumOff val="4000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Arial" panose="020F0502020204030204"/>
              <a:ea typeface="微软雅黑"/>
              <a:cs typeface="+mn-cs"/>
            </a:endParaRPr>
          </a:p>
        </p:txBody>
      </p:sp>
      <p:sp>
        <p:nvSpPr>
          <p:cNvPr id="87" name="任意多边形: 形状 86">
            <a:extLst>
              <a:ext uri="{FF2B5EF4-FFF2-40B4-BE49-F238E27FC236}">
                <a16:creationId xmlns:a16="http://schemas.microsoft.com/office/drawing/2014/main" id="{3EB6F65D-E048-4831-BED9-567B68B6BB25}"/>
              </a:ext>
            </a:extLst>
          </p:cNvPr>
          <p:cNvSpPr/>
          <p:nvPr/>
        </p:nvSpPr>
        <p:spPr>
          <a:xfrm>
            <a:off x="2207176" y="2317036"/>
            <a:ext cx="456883" cy="3079702"/>
          </a:xfrm>
          <a:custGeom>
            <a:avLst/>
            <a:gdLst>
              <a:gd name="connsiteX0" fmla="*/ 333685 w 342353"/>
              <a:gd name="connsiteY0" fmla="*/ 2261730 h 2263901"/>
              <a:gd name="connsiteX1" fmla="*/ 272726 w 342353"/>
              <a:gd name="connsiteY1" fmla="*/ 2160669 h 2263901"/>
              <a:gd name="connsiteX2" fmla="*/ 183094 w 342353"/>
              <a:gd name="connsiteY2" fmla="*/ 1991316 h 2263901"/>
              <a:gd name="connsiteX3" fmla="*/ 34601 w 342353"/>
              <a:gd name="connsiteY3" fmla="*/ 1530781 h 2263901"/>
              <a:gd name="connsiteX4" fmla="*/ -1976 w 342353"/>
              <a:gd name="connsiteY4" fmla="*/ 1049483 h 2263901"/>
              <a:gd name="connsiteX5" fmla="*/ 132325 w 342353"/>
              <a:gd name="connsiteY5" fmla="*/ 376066 h 2263901"/>
              <a:gd name="connsiteX6" fmla="*/ 189475 w 342353"/>
              <a:gd name="connsiteY6" fmla="*/ 253859 h 2263901"/>
              <a:gd name="connsiteX7" fmla="*/ 300634 w 342353"/>
              <a:gd name="connsiteY7" fmla="*/ 47835 h 2263901"/>
              <a:gd name="connsiteX8" fmla="*/ 338734 w 342353"/>
              <a:gd name="connsiteY8" fmla="*/ -2172 h 2263901"/>
              <a:gd name="connsiteX9" fmla="*/ 338734 w 342353"/>
              <a:gd name="connsiteY9" fmla="*/ 7353 h 2263901"/>
              <a:gd name="connsiteX10" fmla="*/ 330922 w 342353"/>
              <a:gd name="connsiteY10" fmla="*/ 21450 h 2263901"/>
              <a:gd name="connsiteX11" fmla="*/ 158045 w 342353"/>
              <a:gd name="connsiteY11" fmla="*/ 714585 h 2263901"/>
              <a:gd name="connsiteX12" fmla="*/ 134232 w 342353"/>
              <a:gd name="connsiteY12" fmla="*/ 1270748 h 2263901"/>
              <a:gd name="connsiteX13" fmla="*/ 323493 w 342353"/>
              <a:gd name="connsiteY13" fmla="*/ 2212961 h 2263901"/>
              <a:gd name="connsiteX14" fmla="*/ 338734 w 342353"/>
              <a:gd name="connsiteY14" fmla="*/ 2252205 h 2263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42353" h="2263901">
                <a:moveTo>
                  <a:pt x="333685" y="2261730"/>
                </a:moveTo>
                <a:cubicBezTo>
                  <a:pt x="313300" y="2228106"/>
                  <a:pt x="291681" y="2195055"/>
                  <a:pt x="272726" y="2160669"/>
                </a:cubicBezTo>
                <a:cubicBezTo>
                  <a:pt x="241958" y="2104758"/>
                  <a:pt x="212623" y="2047989"/>
                  <a:pt x="183094" y="1991316"/>
                </a:cubicBezTo>
                <a:cubicBezTo>
                  <a:pt x="107848" y="1846439"/>
                  <a:pt x="66127" y="1690134"/>
                  <a:pt x="34601" y="1530781"/>
                </a:cubicBezTo>
                <a:cubicBezTo>
                  <a:pt x="3833" y="1372286"/>
                  <a:pt x="-8357" y="1210836"/>
                  <a:pt x="-1976" y="1049483"/>
                </a:cubicBezTo>
                <a:cubicBezTo>
                  <a:pt x="6119" y="819264"/>
                  <a:pt x="51458" y="591806"/>
                  <a:pt x="132325" y="376066"/>
                </a:cubicBezTo>
                <a:cubicBezTo>
                  <a:pt x="148901" y="334250"/>
                  <a:pt x="168044" y="293389"/>
                  <a:pt x="189475" y="253859"/>
                </a:cubicBezTo>
                <a:cubicBezTo>
                  <a:pt x="225480" y="184612"/>
                  <a:pt x="262534" y="115937"/>
                  <a:pt x="300634" y="47835"/>
                </a:cubicBezTo>
                <a:cubicBezTo>
                  <a:pt x="312063" y="30308"/>
                  <a:pt x="324827" y="13544"/>
                  <a:pt x="338734" y="-2172"/>
                </a:cubicBezTo>
                <a:lnTo>
                  <a:pt x="338734" y="7353"/>
                </a:lnTo>
                <a:cubicBezTo>
                  <a:pt x="335780" y="11830"/>
                  <a:pt x="333208" y="16592"/>
                  <a:pt x="330922" y="21450"/>
                </a:cubicBezTo>
                <a:cubicBezTo>
                  <a:pt x="249388" y="245860"/>
                  <a:pt x="191477" y="478173"/>
                  <a:pt x="158045" y="714585"/>
                </a:cubicBezTo>
                <a:cubicBezTo>
                  <a:pt x="133469" y="898892"/>
                  <a:pt x="125563" y="1085011"/>
                  <a:pt x="134232" y="1270748"/>
                </a:cubicBezTo>
                <a:cubicBezTo>
                  <a:pt x="147948" y="1594598"/>
                  <a:pt x="214718" y="1908256"/>
                  <a:pt x="323493" y="2212961"/>
                </a:cubicBezTo>
                <a:cubicBezTo>
                  <a:pt x="328160" y="2226202"/>
                  <a:pt x="333685" y="2239154"/>
                  <a:pt x="338734" y="2252205"/>
                </a:cubicBezTo>
                <a:close/>
              </a:path>
            </a:pathLst>
          </a:custGeom>
          <a:gradFill>
            <a:gsLst>
              <a:gs pos="0">
                <a:schemeClr val="accent1"/>
              </a:gs>
              <a:gs pos="100000">
                <a:schemeClr val="accent1">
                  <a:lumMod val="60000"/>
                  <a:lumOff val="40000"/>
                </a:schemeClr>
              </a:gs>
            </a:gsLst>
            <a:lin ang="16200000" scaled="1"/>
          </a:gra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panose="020F0502020204030204"/>
              <a:ea typeface="微软雅黑"/>
              <a:cs typeface="+mn-cs"/>
            </a:endParaRPr>
          </a:p>
        </p:txBody>
      </p:sp>
      <p:sp>
        <p:nvSpPr>
          <p:cNvPr id="142" name="任意多边形: 形状 141">
            <a:extLst>
              <a:ext uri="{FF2B5EF4-FFF2-40B4-BE49-F238E27FC236}">
                <a16:creationId xmlns:a16="http://schemas.microsoft.com/office/drawing/2014/main" id="{0B351A0D-3889-402A-BAD7-5764F44EFDC2}"/>
              </a:ext>
            </a:extLst>
          </p:cNvPr>
          <p:cNvSpPr>
            <a:spLocks/>
          </p:cNvSpPr>
          <p:nvPr/>
        </p:nvSpPr>
        <p:spPr>
          <a:xfrm>
            <a:off x="3683000" y="2108200"/>
            <a:ext cx="508075" cy="3487988"/>
          </a:xfrm>
          <a:custGeom>
            <a:avLst/>
            <a:gdLst>
              <a:gd name="connsiteX0" fmla="*/ 371530 w 380833"/>
              <a:gd name="connsiteY0" fmla="*/ -2193 h 2564034"/>
              <a:gd name="connsiteX1" fmla="*/ 284279 w 380833"/>
              <a:gd name="connsiteY1" fmla="*/ 277650 h 2564034"/>
              <a:gd name="connsiteX2" fmla="*/ 209795 w 380833"/>
              <a:gd name="connsiteY2" fmla="*/ 1979767 h 2564034"/>
              <a:gd name="connsiteX3" fmla="*/ 364386 w 380833"/>
              <a:gd name="connsiteY3" fmla="*/ 2513167 h 2564034"/>
              <a:gd name="connsiteX4" fmla="*/ 376957 w 380833"/>
              <a:gd name="connsiteY4" fmla="*/ 2561841 h 2564034"/>
              <a:gd name="connsiteX5" fmla="*/ 335811 w 380833"/>
              <a:gd name="connsiteY5" fmla="*/ 2502882 h 2564034"/>
              <a:gd name="connsiteX6" fmla="*/ 1578 w 380833"/>
              <a:gd name="connsiteY6" fmla="*/ 1436082 h 2564034"/>
              <a:gd name="connsiteX7" fmla="*/ -3661 w 380833"/>
              <a:gd name="connsiteY7" fmla="*/ 1373311 h 2564034"/>
              <a:gd name="connsiteX8" fmla="*/ -3661 w 380833"/>
              <a:gd name="connsiteY8" fmla="*/ 1311589 h 2564034"/>
              <a:gd name="connsiteX9" fmla="*/ -3661 w 380833"/>
              <a:gd name="connsiteY9" fmla="*/ 1187764 h 2564034"/>
              <a:gd name="connsiteX10" fmla="*/ 1387 w 380833"/>
              <a:gd name="connsiteY10" fmla="*/ 1110706 h 2564034"/>
              <a:gd name="connsiteX11" fmla="*/ 334762 w 380833"/>
              <a:gd name="connsiteY11" fmla="*/ 44669 h 2564034"/>
              <a:gd name="connsiteX12" fmla="*/ 371530 w 380833"/>
              <a:gd name="connsiteY12" fmla="*/ -2193 h 2564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80833" h="2564034">
                <a:moveTo>
                  <a:pt x="371530" y="-2193"/>
                </a:moveTo>
                <a:cubicBezTo>
                  <a:pt x="342478" y="91152"/>
                  <a:pt x="312949" y="184209"/>
                  <a:pt x="284279" y="277650"/>
                </a:cubicBezTo>
                <a:cubicBezTo>
                  <a:pt x="113020" y="829054"/>
                  <a:pt x="87398" y="1415506"/>
                  <a:pt x="209795" y="1979767"/>
                </a:cubicBezTo>
                <a:cubicBezTo>
                  <a:pt x="247895" y="2160742"/>
                  <a:pt x="312189" y="2335718"/>
                  <a:pt x="364386" y="2513167"/>
                </a:cubicBezTo>
                <a:cubicBezTo>
                  <a:pt x="367337" y="2522692"/>
                  <a:pt x="369623" y="2533457"/>
                  <a:pt x="376957" y="2561841"/>
                </a:cubicBezTo>
                <a:cubicBezTo>
                  <a:pt x="356098" y="2531934"/>
                  <a:pt x="345810" y="2517551"/>
                  <a:pt x="335811" y="2502882"/>
                </a:cubicBezTo>
                <a:cubicBezTo>
                  <a:pt x="117306" y="2181699"/>
                  <a:pt x="31011" y="1818128"/>
                  <a:pt x="1578" y="1436082"/>
                </a:cubicBezTo>
                <a:cubicBezTo>
                  <a:pt x="910" y="1427699"/>
                  <a:pt x="-3661" y="1385980"/>
                  <a:pt x="-3661" y="1373311"/>
                </a:cubicBezTo>
                <a:cubicBezTo>
                  <a:pt x="-4329" y="1366167"/>
                  <a:pt x="-3185" y="1316161"/>
                  <a:pt x="-3661" y="1311589"/>
                </a:cubicBezTo>
                <a:lnTo>
                  <a:pt x="-3661" y="1187764"/>
                </a:lnTo>
                <a:cubicBezTo>
                  <a:pt x="-3661" y="1170333"/>
                  <a:pt x="815" y="1119089"/>
                  <a:pt x="1387" y="1110706"/>
                </a:cubicBezTo>
                <a:cubicBezTo>
                  <a:pt x="29962" y="729136"/>
                  <a:pt x="116545" y="365852"/>
                  <a:pt x="334762" y="44669"/>
                </a:cubicBezTo>
                <a:cubicBezTo>
                  <a:pt x="345715" y="28954"/>
                  <a:pt x="359147" y="13808"/>
                  <a:pt x="371530" y="-2193"/>
                </a:cubicBezTo>
                <a:close/>
              </a:path>
            </a:pathLst>
          </a:custGeom>
          <a:gradFill>
            <a:gsLst>
              <a:gs pos="0">
                <a:schemeClr val="accent1"/>
              </a:gs>
              <a:gs pos="100000">
                <a:schemeClr val="accent1">
                  <a:lumMod val="60000"/>
                  <a:lumOff val="40000"/>
                </a:schemeClr>
              </a:gs>
            </a:gsLst>
            <a:lin ang="16200000" scaled="1"/>
          </a:gradFill>
          <a:ln w="952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panose="020F0502020204030204"/>
              <a:ea typeface="微软雅黑"/>
              <a:cs typeface="+mn-cs"/>
            </a:endParaRPr>
          </a:p>
        </p:txBody>
      </p:sp>
      <p:sp>
        <p:nvSpPr>
          <p:cNvPr id="89" name="任意多边形: 形状 88">
            <a:extLst>
              <a:ext uri="{FF2B5EF4-FFF2-40B4-BE49-F238E27FC236}">
                <a16:creationId xmlns:a16="http://schemas.microsoft.com/office/drawing/2014/main" id="{3A537ED6-B619-4946-8CC2-75C9F7156EFC}"/>
              </a:ext>
            </a:extLst>
          </p:cNvPr>
          <p:cNvSpPr/>
          <p:nvPr/>
        </p:nvSpPr>
        <p:spPr>
          <a:xfrm>
            <a:off x="5460841" y="1828800"/>
            <a:ext cx="529141" cy="4051246"/>
          </a:xfrm>
          <a:custGeom>
            <a:avLst/>
            <a:gdLst>
              <a:gd name="connsiteX0" fmla="*/ 392615 w 396498"/>
              <a:gd name="connsiteY0" fmla="*/ 2975916 h 2978087"/>
              <a:gd name="connsiteX1" fmla="*/ 387378 w 396498"/>
              <a:gd name="connsiteY1" fmla="*/ 2971535 h 2978087"/>
              <a:gd name="connsiteX2" fmla="*/ 257074 w 396498"/>
              <a:gd name="connsiteY2" fmla="*/ 2707312 h 2978087"/>
              <a:gd name="connsiteX3" fmla="*/ 122678 w 396498"/>
              <a:gd name="connsiteY3" fmla="*/ 2349838 h 2978087"/>
              <a:gd name="connsiteX4" fmla="*/ 51905 w 396498"/>
              <a:gd name="connsiteY4" fmla="*/ 2064088 h 2978087"/>
              <a:gd name="connsiteX5" fmla="*/ 24570 w 396498"/>
              <a:gd name="connsiteY5" fmla="*/ 1907686 h 2978087"/>
              <a:gd name="connsiteX6" fmla="*/ 13901 w 396498"/>
              <a:gd name="connsiteY6" fmla="*/ 1813485 h 2978087"/>
              <a:gd name="connsiteX7" fmla="*/ 471 w 396498"/>
              <a:gd name="connsiteY7" fmla="*/ 1667085 h 2978087"/>
              <a:gd name="connsiteX8" fmla="*/ 471 w 396498"/>
              <a:gd name="connsiteY8" fmla="*/ 1659941 h 2978087"/>
              <a:gd name="connsiteX9" fmla="*/ -3529 w 396498"/>
              <a:gd name="connsiteY9" fmla="*/ 1415054 h 2978087"/>
              <a:gd name="connsiteX10" fmla="*/ 5996 w 396498"/>
              <a:gd name="connsiteY10" fmla="*/ 1237222 h 2978087"/>
              <a:gd name="connsiteX11" fmla="*/ 25046 w 396498"/>
              <a:gd name="connsiteY11" fmla="*/ 1065200 h 2978087"/>
              <a:gd name="connsiteX12" fmla="*/ 62193 w 396498"/>
              <a:gd name="connsiteY12" fmla="*/ 859936 h 2978087"/>
              <a:gd name="connsiteX13" fmla="*/ 164968 w 396498"/>
              <a:gd name="connsiteY13" fmla="*/ 489796 h 2978087"/>
              <a:gd name="connsiteX14" fmla="*/ 271648 w 396498"/>
              <a:gd name="connsiteY14" fmla="*/ 233477 h 2978087"/>
              <a:gd name="connsiteX15" fmla="*/ 378041 w 396498"/>
              <a:gd name="connsiteY15" fmla="*/ 18308 h 2978087"/>
              <a:gd name="connsiteX16" fmla="*/ 392805 w 396498"/>
              <a:gd name="connsiteY16" fmla="*/ -2172 h 2978087"/>
              <a:gd name="connsiteX17" fmla="*/ 375946 w 396498"/>
              <a:gd name="connsiteY17" fmla="*/ 59076 h 2978087"/>
              <a:gd name="connsiteX18" fmla="*/ 251456 w 396498"/>
              <a:gd name="connsiteY18" fmla="*/ 462458 h 2978087"/>
              <a:gd name="connsiteX19" fmla="*/ 191067 w 396498"/>
              <a:gd name="connsiteY19" fmla="*/ 730588 h 2978087"/>
              <a:gd name="connsiteX20" fmla="*/ 166015 w 396498"/>
              <a:gd name="connsiteY20" fmla="*/ 884893 h 2978087"/>
              <a:gd name="connsiteX21" fmla="*/ 143060 w 396498"/>
              <a:gd name="connsiteY21" fmla="*/ 1063487 h 2978087"/>
              <a:gd name="connsiteX22" fmla="*/ 137251 w 396498"/>
              <a:gd name="connsiteY22" fmla="*/ 1136733 h 2978087"/>
              <a:gd name="connsiteX23" fmla="*/ 124582 w 396498"/>
              <a:gd name="connsiteY23" fmla="*/ 1299898 h 2978087"/>
              <a:gd name="connsiteX24" fmla="*/ 124010 w 396498"/>
              <a:gd name="connsiteY24" fmla="*/ 1314090 h 2978087"/>
              <a:gd name="connsiteX25" fmla="*/ 124010 w 396498"/>
              <a:gd name="connsiteY25" fmla="*/ 1654418 h 2978087"/>
              <a:gd name="connsiteX26" fmla="*/ 131535 w 396498"/>
              <a:gd name="connsiteY26" fmla="*/ 1748905 h 2978087"/>
              <a:gd name="connsiteX27" fmla="*/ 136775 w 396498"/>
              <a:gd name="connsiteY27" fmla="*/ 1822247 h 2978087"/>
              <a:gd name="connsiteX28" fmla="*/ 150490 w 396498"/>
              <a:gd name="connsiteY28" fmla="*/ 1963790 h 2978087"/>
              <a:gd name="connsiteX29" fmla="*/ 189922 w 396498"/>
              <a:gd name="connsiteY29" fmla="*/ 2233252 h 2978087"/>
              <a:gd name="connsiteX30" fmla="*/ 224309 w 396498"/>
              <a:gd name="connsiteY30" fmla="*/ 2397940 h 2978087"/>
              <a:gd name="connsiteX31" fmla="*/ 313178 w 396498"/>
              <a:gd name="connsiteY31" fmla="*/ 2725122 h 2978087"/>
              <a:gd name="connsiteX32" fmla="*/ 385662 w 396498"/>
              <a:gd name="connsiteY32" fmla="*/ 2938577 h 2978087"/>
              <a:gd name="connsiteX33" fmla="*/ 392615 w 396498"/>
              <a:gd name="connsiteY33" fmla="*/ 2975916 h 2978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96498" h="2978087">
                <a:moveTo>
                  <a:pt x="392615" y="2975916"/>
                </a:moveTo>
                <a:cubicBezTo>
                  <a:pt x="390806" y="2974486"/>
                  <a:pt x="388329" y="2973440"/>
                  <a:pt x="387378" y="2971535"/>
                </a:cubicBezTo>
                <a:cubicBezTo>
                  <a:pt x="343848" y="2883524"/>
                  <a:pt x="299841" y="2795702"/>
                  <a:pt x="257074" y="2707312"/>
                </a:cubicBezTo>
                <a:cubicBezTo>
                  <a:pt x="202878" y="2591868"/>
                  <a:pt x="157920" y="2472329"/>
                  <a:pt x="122678" y="2349838"/>
                </a:cubicBezTo>
                <a:cubicBezTo>
                  <a:pt x="94198" y="2255826"/>
                  <a:pt x="70576" y="2160480"/>
                  <a:pt x="51905" y="2064088"/>
                </a:cubicBezTo>
                <a:cubicBezTo>
                  <a:pt x="42380" y="2012178"/>
                  <a:pt x="32855" y="1959978"/>
                  <a:pt x="24570" y="1907686"/>
                </a:cubicBezTo>
                <a:cubicBezTo>
                  <a:pt x="19617" y="1876539"/>
                  <a:pt x="16949" y="1844918"/>
                  <a:pt x="13901" y="1813485"/>
                </a:cubicBezTo>
                <a:cubicBezTo>
                  <a:pt x="9138" y="1764716"/>
                  <a:pt x="4948" y="1715854"/>
                  <a:pt x="471" y="1667085"/>
                </a:cubicBezTo>
                <a:cubicBezTo>
                  <a:pt x="471" y="1664703"/>
                  <a:pt x="471" y="1662322"/>
                  <a:pt x="471" y="1659941"/>
                </a:cubicBezTo>
                <a:cubicBezTo>
                  <a:pt x="-1052" y="1578313"/>
                  <a:pt x="-4196" y="1496683"/>
                  <a:pt x="-3529" y="1415054"/>
                </a:cubicBezTo>
                <a:cubicBezTo>
                  <a:pt x="-3529" y="1355713"/>
                  <a:pt x="948" y="1296372"/>
                  <a:pt x="5996" y="1237222"/>
                </a:cubicBezTo>
                <a:cubicBezTo>
                  <a:pt x="10568" y="1180072"/>
                  <a:pt x="16187" y="1122160"/>
                  <a:pt x="25046" y="1065200"/>
                </a:cubicBezTo>
                <a:cubicBezTo>
                  <a:pt x="35427" y="996430"/>
                  <a:pt x="48573" y="928137"/>
                  <a:pt x="62193" y="859936"/>
                </a:cubicBezTo>
                <a:cubicBezTo>
                  <a:pt x="88673" y="734493"/>
                  <a:pt x="122964" y="610858"/>
                  <a:pt x="164968" y="489796"/>
                </a:cubicBezTo>
                <a:cubicBezTo>
                  <a:pt x="195162" y="402262"/>
                  <a:pt x="230785" y="316632"/>
                  <a:pt x="271648" y="233477"/>
                </a:cubicBezTo>
                <a:cubicBezTo>
                  <a:pt x="306415" y="161374"/>
                  <a:pt x="342322" y="89937"/>
                  <a:pt x="378041" y="18308"/>
                </a:cubicBezTo>
                <a:cubicBezTo>
                  <a:pt x="382425" y="11069"/>
                  <a:pt x="387283" y="4212"/>
                  <a:pt x="392805" y="-2172"/>
                </a:cubicBezTo>
                <a:cubicBezTo>
                  <a:pt x="393854" y="20118"/>
                  <a:pt x="383280" y="39263"/>
                  <a:pt x="375946" y="59076"/>
                </a:cubicBezTo>
                <a:cubicBezTo>
                  <a:pt x="326798" y="191091"/>
                  <a:pt x="285172" y="325776"/>
                  <a:pt x="251456" y="462458"/>
                </a:cubicBezTo>
                <a:cubicBezTo>
                  <a:pt x="230025" y="551327"/>
                  <a:pt x="209926" y="640766"/>
                  <a:pt x="191067" y="730588"/>
                </a:cubicBezTo>
                <a:cubicBezTo>
                  <a:pt x="180493" y="781546"/>
                  <a:pt x="173349" y="833363"/>
                  <a:pt x="166015" y="884893"/>
                </a:cubicBezTo>
                <a:cubicBezTo>
                  <a:pt x="157538" y="944329"/>
                  <a:pt x="150204" y="1003860"/>
                  <a:pt x="143060" y="1063487"/>
                </a:cubicBezTo>
                <a:cubicBezTo>
                  <a:pt x="140202" y="1087776"/>
                  <a:pt x="139156" y="1112349"/>
                  <a:pt x="137251" y="1136733"/>
                </a:cubicBezTo>
                <a:cubicBezTo>
                  <a:pt x="133059" y="1191121"/>
                  <a:pt x="128868" y="1245508"/>
                  <a:pt x="124582" y="1299898"/>
                </a:cubicBezTo>
                <a:cubicBezTo>
                  <a:pt x="124582" y="1304565"/>
                  <a:pt x="124010" y="1309423"/>
                  <a:pt x="124010" y="1314090"/>
                </a:cubicBezTo>
                <a:cubicBezTo>
                  <a:pt x="124010" y="1427532"/>
                  <a:pt x="123438" y="1540974"/>
                  <a:pt x="124010" y="1654418"/>
                </a:cubicBezTo>
                <a:cubicBezTo>
                  <a:pt x="124010" y="1685946"/>
                  <a:pt x="129059" y="1717377"/>
                  <a:pt x="131535" y="1748905"/>
                </a:cubicBezTo>
                <a:cubicBezTo>
                  <a:pt x="133440" y="1773385"/>
                  <a:pt x="134489" y="1797865"/>
                  <a:pt x="136775" y="1822247"/>
                </a:cubicBezTo>
                <a:cubicBezTo>
                  <a:pt x="141060" y="1869872"/>
                  <a:pt x="146965" y="1916546"/>
                  <a:pt x="150490" y="1963790"/>
                </a:cubicBezTo>
                <a:cubicBezTo>
                  <a:pt x="157348" y="2054563"/>
                  <a:pt x="175635" y="2143621"/>
                  <a:pt x="189922" y="2233252"/>
                </a:cubicBezTo>
                <a:cubicBezTo>
                  <a:pt x="198782" y="2288591"/>
                  <a:pt x="211735" y="2343360"/>
                  <a:pt x="224309" y="2397940"/>
                </a:cubicBezTo>
                <a:cubicBezTo>
                  <a:pt x="249740" y="2508143"/>
                  <a:pt x="277364" y="2617776"/>
                  <a:pt x="313178" y="2725122"/>
                </a:cubicBezTo>
                <a:cubicBezTo>
                  <a:pt x="336990" y="2796369"/>
                  <a:pt x="361849" y="2867330"/>
                  <a:pt x="385662" y="2938577"/>
                </a:cubicBezTo>
                <a:cubicBezTo>
                  <a:pt x="388806" y="2950864"/>
                  <a:pt x="391187" y="2963343"/>
                  <a:pt x="392615" y="2975916"/>
                </a:cubicBezTo>
                <a:close/>
              </a:path>
            </a:pathLst>
          </a:custGeom>
          <a:gradFill>
            <a:gsLst>
              <a:gs pos="0">
                <a:schemeClr val="accent1"/>
              </a:gs>
              <a:gs pos="100000">
                <a:schemeClr val="accent1">
                  <a:lumMod val="60000"/>
                  <a:lumOff val="40000"/>
                </a:schemeClr>
              </a:gs>
            </a:gsLst>
            <a:lin ang="16200000" scaled="1"/>
          </a:gra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panose="020F0502020204030204"/>
              <a:ea typeface="微软雅黑"/>
              <a:cs typeface="+mn-cs"/>
            </a:endParaRPr>
          </a:p>
        </p:txBody>
      </p:sp>
      <p:sp>
        <p:nvSpPr>
          <p:cNvPr id="90" name="任意多边形: 形状 89">
            <a:extLst>
              <a:ext uri="{FF2B5EF4-FFF2-40B4-BE49-F238E27FC236}">
                <a16:creationId xmlns:a16="http://schemas.microsoft.com/office/drawing/2014/main" id="{9980B1A5-974A-41CF-8E62-C4486C65AD40}"/>
              </a:ext>
            </a:extLst>
          </p:cNvPr>
          <p:cNvSpPr/>
          <p:nvPr/>
        </p:nvSpPr>
        <p:spPr>
          <a:xfrm>
            <a:off x="7036794" y="2109329"/>
            <a:ext cx="503000" cy="3482418"/>
          </a:xfrm>
          <a:custGeom>
            <a:avLst/>
            <a:gdLst>
              <a:gd name="connsiteX0" fmla="*/ 372909 w 376910"/>
              <a:gd name="connsiteY0" fmla="*/ 2557768 h 2559939"/>
              <a:gd name="connsiteX1" fmla="*/ 306709 w 376910"/>
              <a:gd name="connsiteY1" fmla="*/ 2460136 h 2559939"/>
              <a:gd name="connsiteX2" fmla="*/ 240513 w 376910"/>
              <a:gd name="connsiteY2" fmla="*/ 2342406 h 2559939"/>
              <a:gd name="connsiteX3" fmla="*/ 54012 w 376910"/>
              <a:gd name="connsiteY3" fmla="*/ 1812818 h 2559939"/>
              <a:gd name="connsiteX4" fmla="*/ -1519 w 376910"/>
              <a:gd name="connsiteY4" fmla="*/ 1179975 h 2559939"/>
              <a:gd name="connsiteX5" fmla="*/ 83350 w 376910"/>
              <a:gd name="connsiteY5" fmla="*/ 612382 h 2559939"/>
              <a:gd name="connsiteX6" fmla="*/ 180884 w 376910"/>
              <a:gd name="connsiteY6" fmla="*/ 319869 h 2559939"/>
              <a:gd name="connsiteX7" fmla="*/ 247559 w 376910"/>
              <a:gd name="connsiteY7" fmla="*/ 200139 h 2559939"/>
              <a:gd name="connsiteX8" fmla="*/ 339953 w 376910"/>
              <a:gd name="connsiteY8" fmla="*/ 39928 h 2559939"/>
              <a:gd name="connsiteX9" fmla="*/ 373291 w 376910"/>
              <a:gd name="connsiteY9" fmla="*/ -2172 h 2559939"/>
              <a:gd name="connsiteX10" fmla="*/ 373291 w 376910"/>
              <a:gd name="connsiteY10" fmla="*/ 16878 h 2559939"/>
              <a:gd name="connsiteX11" fmla="*/ 289947 w 376910"/>
              <a:gd name="connsiteY11" fmla="*/ 266624 h 2559939"/>
              <a:gd name="connsiteX12" fmla="*/ 223272 w 376910"/>
              <a:gd name="connsiteY12" fmla="*/ 516750 h 2559939"/>
              <a:gd name="connsiteX13" fmla="*/ 170215 w 376910"/>
              <a:gd name="connsiteY13" fmla="*/ 791166 h 2559939"/>
              <a:gd name="connsiteX14" fmla="*/ 143928 w 376910"/>
              <a:gd name="connsiteY14" fmla="*/ 1057866 h 2559939"/>
              <a:gd name="connsiteX15" fmla="*/ 139258 w 376910"/>
              <a:gd name="connsiteY15" fmla="*/ 1392955 h 2559939"/>
              <a:gd name="connsiteX16" fmla="*/ 164503 w 376910"/>
              <a:gd name="connsiteY16" fmla="*/ 1716805 h 2559939"/>
              <a:gd name="connsiteX17" fmla="*/ 209175 w 376910"/>
              <a:gd name="connsiteY17" fmla="*/ 1981314 h 2559939"/>
              <a:gd name="connsiteX18" fmla="*/ 367291 w 376910"/>
              <a:gd name="connsiteY18" fmla="*/ 2523000 h 2559939"/>
              <a:gd name="connsiteX19" fmla="*/ 373002 w 376910"/>
              <a:gd name="connsiteY19" fmla="*/ 2533097 h 2559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76910" h="2559939">
                <a:moveTo>
                  <a:pt x="372909" y="2557768"/>
                </a:moveTo>
                <a:cubicBezTo>
                  <a:pt x="350715" y="2525286"/>
                  <a:pt x="327186" y="2493664"/>
                  <a:pt x="306709" y="2460136"/>
                </a:cubicBezTo>
                <a:cubicBezTo>
                  <a:pt x="283278" y="2422036"/>
                  <a:pt x="264516" y="2380316"/>
                  <a:pt x="240513" y="2342406"/>
                </a:cubicBezTo>
                <a:cubicBezTo>
                  <a:pt x="138021" y="2180481"/>
                  <a:pt x="94875" y="1996744"/>
                  <a:pt x="54012" y="1812818"/>
                </a:cubicBezTo>
                <a:cubicBezTo>
                  <a:pt x="8387" y="1605172"/>
                  <a:pt x="-10281" y="1392478"/>
                  <a:pt x="-1519" y="1179975"/>
                </a:cubicBezTo>
                <a:cubicBezTo>
                  <a:pt x="6099" y="988238"/>
                  <a:pt x="34581" y="797928"/>
                  <a:pt x="83350" y="612382"/>
                </a:cubicBezTo>
                <a:cubicBezTo>
                  <a:pt x="107921" y="512369"/>
                  <a:pt x="140593" y="414547"/>
                  <a:pt x="180884" y="319869"/>
                </a:cubicBezTo>
                <a:cubicBezTo>
                  <a:pt x="199269" y="278244"/>
                  <a:pt x="224602" y="239762"/>
                  <a:pt x="247559" y="200139"/>
                </a:cubicBezTo>
                <a:cubicBezTo>
                  <a:pt x="278134" y="146512"/>
                  <a:pt x="308425" y="92888"/>
                  <a:pt x="339953" y="39928"/>
                </a:cubicBezTo>
                <a:cubicBezTo>
                  <a:pt x="350050" y="25164"/>
                  <a:pt x="361194" y="11067"/>
                  <a:pt x="373291" y="-2172"/>
                </a:cubicBezTo>
                <a:lnTo>
                  <a:pt x="373291" y="16878"/>
                </a:lnTo>
                <a:cubicBezTo>
                  <a:pt x="345288" y="100031"/>
                  <a:pt x="315090" y="182612"/>
                  <a:pt x="289947" y="266624"/>
                </a:cubicBezTo>
                <a:cubicBezTo>
                  <a:pt x="264800" y="350635"/>
                  <a:pt x="248131" y="434169"/>
                  <a:pt x="223272" y="516750"/>
                </a:cubicBezTo>
                <a:cubicBezTo>
                  <a:pt x="196408" y="606666"/>
                  <a:pt x="182409" y="698772"/>
                  <a:pt x="170215" y="791166"/>
                </a:cubicBezTo>
                <a:cubicBezTo>
                  <a:pt x="158406" y="879842"/>
                  <a:pt x="148216" y="968997"/>
                  <a:pt x="143928" y="1057866"/>
                </a:cubicBezTo>
                <a:cubicBezTo>
                  <a:pt x="138500" y="1169403"/>
                  <a:pt x="135831" y="1281322"/>
                  <a:pt x="139258" y="1392955"/>
                </a:cubicBezTo>
                <a:cubicBezTo>
                  <a:pt x="142593" y="1501253"/>
                  <a:pt x="152118" y="1609553"/>
                  <a:pt x="164503" y="1716805"/>
                </a:cubicBezTo>
                <a:cubicBezTo>
                  <a:pt x="174121" y="1805769"/>
                  <a:pt x="188981" y="1894159"/>
                  <a:pt x="209175" y="1981314"/>
                </a:cubicBezTo>
                <a:cubicBezTo>
                  <a:pt x="252991" y="2164385"/>
                  <a:pt x="299946" y="2346787"/>
                  <a:pt x="367291" y="2523000"/>
                </a:cubicBezTo>
                <a:cubicBezTo>
                  <a:pt x="368910" y="2526525"/>
                  <a:pt x="370812" y="2529860"/>
                  <a:pt x="373002" y="2533097"/>
                </a:cubicBezTo>
                <a:close/>
              </a:path>
            </a:pathLst>
          </a:custGeom>
          <a:gradFill>
            <a:gsLst>
              <a:gs pos="0">
                <a:schemeClr val="accent1"/>
              </a:gs>
              <a:gs pos="100000">
                <a:schemeClr val="accent1">
                  <a:lumMod val="60000"/>
                  <a:lumOff val="40000"/>
                </a:schemeClr>
              </a:gs>
            </a:gsLst>
            <a:lin ang="16200000" scaled="1"/>
          </a:gra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panose="020F0502020204030204"/>
              <a:ea typeface="微软雅黑"/>
              <a:cs typeface="+mn-cs"/>
            </a:endParaRPr>
          </a:p>
        </p:txBody>
      </p:sp>
      <p:sp>
        <p:nvSpPr>
          <p:cNvPr id="143" name="任意多边形: 形状 142">
            <a:extLst>
              <a:ext uri="{FF2B5EF4-FFF2-40B4-BE49-F238E27FC236}">
                <a16:creationId xmlns:a16="http://schemas.microsoft.com/office/drawing/2014/main" id="{FDB9A01E-0CC8-4389-8D1E-3E11371DBDA4}"/>
              </a:ext>
            </a:extLst>
          </p:cNvPr>
          <p:cNvSpPr>
            <a:spLocks/>
          </p:cNvSpPr>
          <p:nvPr/>
        </p:nvSpPr>
        <p:spPr>
          <a:xfrm>
            <a:off x="8559800" y="2349500"/>
            <a:ext cx="474897" cy="2995738"/>
          </a:xfrm>
          <a:custGeom>
            <a:avLst/>
            <a:gdLst>
              <a:gd name="connsiteX0" fmla="*/ 351693 w 355662"/>
              <a:gd name="connsiteY0" fmla="*/ 25905 h 2201893"/>
              <a:gd name="connsiteX1" fmla="*/ 348837 w 355662"/>
              <a:gd name="connsiteY1" fmla="*/ 29619 h 2201893"/>
              <a:gd name="connsiteX2" fmla="*/ 239392 w 355662"/>
              <a:gd name="connsiteY2" fmla="*/ 367282 h 2201893"/>
              <a:gd name="connsiteX3" fmla="*/ 172717 w 355662"/>
              <a:gd name="connsiteY3" fmla="*/ 714182 h 2201893"/>
              <a:gd name="connsiteX4" fmla="*/ 156523 w 355662"/>
              <a:gd name="connsiteY4" fmla="*/ 893538 h 2201893"/>
              <a:gd name="connsiteX5" fmla="*/ 148905 w 355662"/>
              <a:gd name="connsiteY5" fmla="*/ 1168905 h 2201893"/>
              <a:gd name="connsiteX6" fmla="*/ 163099 w 355662"/>
              <a:gd name="connsiteY6" fmla="*/ 1398554 h 2201893"/>
              <a:gd name="connsiteX7" fmla="*/ 276730 w 355662"/>
              <a:gd name="connsiteY7" fmla="*/ 1967387 h 2201893"/>
              <a:gd name="connsiteX8" fmla="*/ 318546 w 355662"/>
              <a:gd name="connsiteY8" fmla="*/ 2096069 h 2201893"/>
              <a:gd name="connsiteX9" fmla="*/ 351595 w 355662"/>
              <a:gd name="connsiteY9" fmla="*/ 2171125 h 2201893"/>
              <a:gd name="connsiteX10" fmla="*/ 351595 w 355662"/>
              <a:gd name="connsiteY10" fmla="*/ 2199700 h 2201893"/>
              <a:gd name="connsiteX11" fmla="*/ 309784 w 355662"/>
              <a:gd name="connsiteY11" fmla="*/ 2167221 h 2201893"/>
              <a:gd name="connsiteX12" fmla="*/ 208436 w 355662"/>
              <a:gd name="connsiteY12" fmla="*/ 2018344 h 2201893"/>
              <a:gd name="connsiteX13" fmla="*/ 137473 w 355662"/>
              <a:gd name="connsiteY13" fmla="*/ 1881852 h 2201893"/>
              <a:gd name="connsiteX14" fmla="*/ 45465 w 355662"/>
              <a:gd name="connsiteY14" fmla="*/ 1565716 h 2201893"/>
              <a:gd name="connsiteX15" fmla="*/ 16220 w 355662"/>
              <a:gd name="connsiteY15" fmla="*/ 1400077 h 2201893"/>
              <a:gd name="connsiteX16" fmla="*/ 793 w 355662"/>
              <a:gd name="connsiteY16" fmla="*/ 1235008 h 2201893"/>
              <a:gd name="connsiteX17" fmla="*/ -3876 w 355662"/>
              <a:gd name="connsiteY17" fmla="*/ 1181860 h 2201893"/>
              <a:gd name="connsiteX18" fmla="*/ -3876 w 355662"/>
              <a:gd name="connsiteY18" fmla="*/ 1024886 h 2201893"/>
              <a:gd name="connsiteX19" fmla="*/ 505 w 355662"/>
              <a:gd name="connsiteY19" fmla="*/ 971738 h 2201893"/>
              <a:gd name="connsiteX20" fmla="*/ 14508 w 355662"/>
              <a:gd name="connsiteY20" fmla="*/ 822956 h 2201893"/>
              <a:gd name="connsiteX21" fmla="*/ 52608 w 355662"/>
              <a:gd name="connsiteY21" fmla="*/ 603312 h 2201893"/>
              <a:gd name="connsiteX22" fmla="*/ 104233 w 355662"/>
              <a:gd name="connsiteY22" fmla="*/ 415667 h 2201893"/>
              <a:gd name="connsiteX23" fmla="*/ 148621 w 355662"/>
              <a:gd name="connsiteY23" fmla="*/ 293082 h 2201893"/>
              <a:gd name="connsiteX24" fmla="*/ 347214 w 355662"/>
              <a:gd name="connsiteY24" fmla="*/ -2193 h 2201893"/>
              <a:gd name="connsiteX25" fmla="*/ 351786 w 355662"/>
              <a:gd name="connsiteY25" fmla="*/ 188 h 2201893"/>
              <a:gd name="connsiteX26" fmla="*/ 351693 w 355662"/>
              <a:gd name="connsiteY26" fmla="*/ 25905 h 22018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55662" h="2201893">
                <a:moveTo>
                  <a:pt x="351693" y="25905"/>
                </a:moveTo>
                <a:cubicBezTo>
                  <a:pt x="350646" y="27049"/>
                  <a:pt x="349595" y="28286"/>
                  <a:pt x="348837" y="29619"/>
                </a:cubicBezTo>
                <a:cubicBezTo>
                  <a:pt x="303779" y="139252"/>
                  <a:pt x="267205" y="252124"/>
                  <a:pt x="239392" y="367282"/>
                </a:cubicBezTo>
                <a:cubicBezTo>
                  <a:pt x="210724" y="481582"/>
                  <a:pt x="188530" y="597405"/>
                  <a:pt x="172717" y="714182"/>
                </a:cubicBezTo>
                <a:cubicBezTo>
                  <a:pt x="164620" y="773617"/>
                  <a:pt x="161476" y="833721"/>
                  <a:pt x="156523" y="893538"/>
                </a:cubicBezTo>
                <a:cubicBezTo>
                  <a:pt x="148431" y="985072"/>
                  <a:pt x="145859" y="1077085"/>
                  <a:pt x="148905" y="1168905"/>
                </a:cubicBezTo>
                <a:cubicBezTo>
                  <a:pt x="151858" y="1245582"/>
                  <a:pt x="155193" y="1322354"/>
                  <a:pt x="163099" y="1398554"/>
                </a:cubicBezTo>
                <a:cubicBezTo>
                  <a:pt x="182335" y="1591435"/>
                  <a:pt x="220342" y="1781935"/>
                  <a:pt x="276730" y="1967387"/>
                </a:cubicBezTo>
                <a:cubicBezTo>
                  <a:pt x="289873" y="2010535"/>
                  <a:pt x="303403" y="2053586"/>
                  <a:pt x="318546" y="2096069"/>
                </a:cubicBezTo>
                <a:cubicBezTo>
                  <a:pt x="328071" y="2121786"/>
                  <a:pt x="340451" y="2146171"/>
                  <a:pt x="351595" y="2171125"/>
                </a:cubicBezTo>
                <a:lnTo>
                  <a:pt x="351595" y="2199700"/>
                </a:lnTo>
                <a:cubicBezTo>
                  <a:pt x="334452" y="2193701"/>
                  <a:pt x="319783" y="2182269"/>
                  <a:pt x="309784" y="2167221"/>
                </a:cubicBezTo>
                <a:cubicBezTo>
                  <a:pt x="275683" y="2117787"/>
                  <a:pt x="239774" y="2069494"/>
                  <a:pt x="208436" y="2018344"/>
                </a:cubicBezTo>
                <a:cubicBezTo>
                  <a:pt x="180717" y="1975100"/>
                  <a:pt x="157002" y="1929382"/>
                  <a:pt x="137473" y="1881852"/>
                </a:cubicBezTo>
                <a:cubicBezTo>
                  <a:pt x="97945" y="1779268"/>
                  <a:pt x="67180" y="1673539"/>
                  <a:pt x="45465" y="1565716"/>
                </a:cubicBezTo>
                <a:cubicBezTo>
                  <a:pt x="34414" y="1510756"/>
                  <a:pt x="23745" y="1455608"/>
                  <a:pt x="16220" y="1400077"/>
                </a:cubicBezTo>
                <a:cubicBezTo>
                  <a:pt x="8695" y="1344545"/>
                  <a:pt x="5937" y="1290063"/>
                  <a:pt x="793" y="1235008"/>
                </a:cubicBezTo>
                <a:cubicBezTo>
                  <a:pt x="314" y="1229864"/>
                  <a:pt x="-3876" y="1194527"/>
                  <a:pt x="-3876" y="1181860"/>
                </a:cubicBezTo>
                <a:lnTo>
                  <a:pt x="-3876" y="1024886"/>
                </a:lnTo>
                <a:cubicBezTo>
                  <a:pt x="-3876" y="1010598"/>
                  <a:pt x="123" y="975261"/>
                  <a:pt x="505" y="971738"/>
                </a:cubicBezTo>
                <a:cubicBezTo>
                  <a:pt x="5365" y="922113"/>
                  <a:pt x="10030" y="872486"/>
                  <a:pt x="14508" y="822956"/>
                </a:cubicBezTo>
                <a:cubicBezTo>
                  <a:pt x="22034" y="748947"/>
                  <a:pt x="34796" y="675510"/>
                  <a:pt x="52608" y="603312"/>
                </a:cubicBezTo>
                <a:cubicBezTo>
                  <a:pt x="67659" y="540255"/>
                  <a:pt x="85467" y="477770"/>
                  <a:pt x="104233" y="415667"/>
                </a:cubicBezTo>
                <a:cubicBezTo>
                  <a:pt x="115567" y="373663"/>
                  <a:pt x="130427" y="332610"/>
                  <a:pt x="148621" y="293082"/>
                </a:cubicBezTo>
                <a:cubicBezTo>
                  <a:pt x="201958" y="186116"/>
                  <a:pt x="260252" y="81911"/>
                  <a:pt x="347214" y="-2193"/>
                </a:cubicBezTo>
                <a:cubicBezTo>
                  <a:pt x="348837" y="-1433"/>
                  <a:pt x="351786" y="-670"/>
                  <a:pt x="351786" y="188"/>
                </a:cubicBezTo>
                <a:cubicBezTo>
                  <a:pt x="351786" y="8283"/>
                  <a:pt x="351693" y="17047"/>
                  <a:pt x="351693" y="25905"/>
                </a:cubicBezTo>
                <a:close/>
              </a:path>
            </a:pathLst>
          </a:custGeom>
          <a:gradFill>
            <a:gsLst>
              <a:gs pos="0">
                <a:schemeClr val="accent1"/>
              </a:gs>
              <a:gs pos="100000">
                <a:schemeClr val="accent1">
                  <a:lumMod val="60000"/>
                  <a:lumOff val="40000"/>
                </a:schemeClr>
              </a:gs>
            </a:gsLst>
            <a:lin ang="16200000" scaled="1"/>
          </a:gradFill>
          <a:ln w="952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panose="020F0502020204030204"/>
              <a:ea typeface="微软雅黑"/>
              <a:cs typeface="+mn-cs"/>
            </a:endParaRPr>
          </a:p>
        </p:txBody>
      </p:sp>
      <p:sp>
        <p:nvSpPr>
          <p:cNvPr id="8" name="Object 107">
            <a:extLst>
              <a:ext uri="{FF2B5EF4-FFF2-40B4-BE49-F238E27FC236}">
                <a16:creationId xmlns:a16="http://schemas.microsoft.com/office/drawing/2014/main" id="{D114297C-7111-43C1-B640-F35AA303E0B4}"/>
              </a:ext>
            </a:extLst>
          </p:cNvPr>
          <p:cNvSpPr txBox="1"/>
          <p:nvPr/>
        </p:nvSpPr>
        <p:spPr>
          <a:xfrm>
            <a:off x="670213" y="1044225"/>
            <a:ext cx="4043763" cy="260555"/>
          </a:xfrm>
          <a:prstGeom prst="rect">
            <a:avLst/>
          </a:prstGeom>
        </p:spPr>
        <p:txBody>
          <a:bodyPr vert="horz" lIns="0" tIns="0" rIns="0" bIns="0"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200" b="0" i="0" u="none" strike="noStrike" kern="1200" cap="none" spc="0" normalizeH="0" baseline="0" noProof="0" dirty="0">
                <a:ln>
                  <a:noFill/>
                </a:ln>
                <a:solidFill>
                  <a:srgbClr val="535353"/>
                </a:solidFill>
                <a:effectLst/>
                <a:uLnTx/>
                <a:uFillTx/>
                <a:latin typeface="OPPOSans R" panose="00020600040101010101" pitchFamily="18" charset="-122"/>
                <a:ea typeface="OPPOSans R" panose="00020600040101010101" pitchFamily="18" charset="-122"/>
                <a:cs typeface="OPPOSans R" panose="00020600040101010101" pitchFamily="18" charset="-122"/>
              </a:rPr>
              <a:t>Analysis of marketing problems</a:t>
            </a:r>
            <a:endParaRPr kumimoji="0" lang="zh-CN" altLang="en-US" sz="800" b="0" i="0" u="none" strike="noStrike" kern="1200" cap="none" spc="0" normalizeH="0" baseline="0" noProof="0" dirty="0">
              <a:ln>
                <a:noFill/>
              </a:ln>
              <a:solidFill>
                <a:srgbClr val="000000"/>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p:txBody>
      </p:sp>
      <p:sp>
        <p:nvSpPr>
          <p:cNvPr id="9" name="Object 108">
            <a:extLst>
              <a:ext uri="{FF2B5EF4-FFF2-40B4-BE49-F238E27FC236}">
                <a16:creationId xmlns:a16="http://schemas.microsoft.com/office/drawing/2014/main" id="{9F52309C-7659-4B04-8107-5F2267D2950A}"/>
              </a:ext>
            </a:extLst>
          </p:cNvPr>
          <p:cNvSpPr txBox="1"/>
          <p:nvPr/>
        </p:nvSpPr>
        <p:spPr>
          <a:xfrm>
            <a:off x="670213" y="657225"/>
            <a:ext cx="4062433" cy="394008"/>
          </a:xfrm>
          <a:prstGeom prst="rect">
            <a:avLst/>
          </a:prstGeom>
        </p:spPr>
        <p:txBody>
          <a:bodyPr vert="horz" lIns="0" tIns="0" rIns="0" bIns="0"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2400" b="0" i="0" u="none" strike="noStrike" kern="1200" cap="none" spc="0" normalizeH="0" baseline="0" noProof="0" dirty="0">
                <a:ln>
                  <a:noFill/>
                </a:ln>
                <a:solidFill>
                  <a:srgbClr val="1B1B1B"/>
                </a:solidFill>
                <a:effectLst/>
                <a:uLnTx/>
                <a:uFillTx/>
                <a:latin typeface="OPPOSans B" panose="00020600040101010101" pitchFamily="18" charset="-122"/>
                <a:ea typeface="OPPOSans B" panose="00020600040101010101" pitchFamily="18" charset="-122"/>
                <a:cs typeface="OPPOSans B" panose="00020600040101010101" pitchFamily="18" charset="-122"/>
              </a:rPr>
              <a:t>市场营销问题分析</a:t>
            </a:r>
            <a:endParaRPr kumimoji="0" lang="zh-CN" altLang="en-US" sz="800" b="0" i="0" u="none" strike="noStrike" kern="1200" cap="none" spc="0" normalizeH="0" baseline="0" noProof="0" dirty="0">
              <a:ln>
                <a:noFill/>
              </a:ln>
              <a:solidFill>
                <a:srgbClr val="000000"/>
              </a:solidFill>
              <a:effectLst/>
              <a:uLnTx/>
              <a:uFillTx/>
              <a:latin typeface="OPPOSans B" panose="00020600040101010101" pitchFamily="18" charset="-122"/>
              <a:ea typeface="OPPOSans B" panose="00020600040101010101" pitchFamily="18" charset="-122"/>
              <a:cs typeface="OPPOSans B" panose="00020600040101010101" pitchFamily="18" charset="-122"/>
            </a:endParaRPr>
          </a:p>
        </p:txBody>
      </p:sp>
      <p:grpSp>
        <p:nvGrpSpPr>
          <p:cNvPr id="120" name="组合 119">
            <a:extLst>
              <a:ext uri="{FF2B5EF4-FFF2-40B4-BE49-F238E27FC236}">
                <a16:creationId xmlns:a16="http://schemas.microsoft.com/office/drawing/2014/main" id="{0A673013-8EAA-4433-B605-C4BF8BDB6B05}"/>
              </a:ext>
            </a:extLst>
          </p:cNvPr>
          <p:cNvGrpSpPr/>
          <p:nvPr/>
        </p:nvGrpSpPr>
        <p:grpSpPr>
          <a:xfrm>
            <a:off x="2260600" y="2578100"/>
            <a:ext cx="320963" cy="2302163"/>
            <a:chOff x="2260600" y="2578100"/>
            <a:chExt cx="320963" cy="2302163"/>
          </a:xfrm>
        </p:grpSpPr>
        <p:sp>
          <p:nvSpPr>
            <p:cNvPr id="114" name="椭圆 113">
              <a:extLst>
                <a:ext uri="{FF2B5EF4-FFF2-40B4-BE49-F238E27FC236}">
                  <a16:creationId xmlns:a16="http://schemas.microsoft.com/office/drawing/2014/main" id="{026486E2-F3C9-47DF-A248-F7206C30DA88}"/>
                </a:ext>
              </a:extLst>
            </p:cNvPr>
            <p:cNvSpPr>
              <a:spLocks/>
            </p:cNvSpPr>
            <p:nvPr/>
          </p:nvSpPr>
          <p:spPr>
            <a:xfrm>
              <a:off x="2476500" y="2578100"/>
              <a:ext cx="105063" cy="10506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Arial" panose="020F0502020204030204"/>
                <a:ea typeface="微软雅黑"/>
                <a:cs typeface="+mn-cs"/>
              </a:endParaRPr>
            </a:p>
          </p:txBody>
        </p:sp>
        <p:sp>
          <p:nvSpPr>
            <p:cNvPr id="117" name="椭圆 116">
              <a:extLst>
                <a:ext uri="{FF2B5EF4-FFF2-40B4-BE49-F238E27FC236}">
                  <a16:creationId xmlns:a16="http://schemas.microsoft.com/office/drawing/2014/main" id="{9C132792-AA78-4535-B902-899E5324130C}"/>
                </a:ext>
              </a:extLst>
            </p:cNvPr>
            <p:cNvSpPr>
              <a:spLocks/>
            </p:cNvSpPr>
            <p:nvPr/>
          </p:nvSpPr>
          <p:spPr>
            <a:xfrm>
              <a:off x="2387600" y="4775200"/>
              <a:ext cx="105063" cy="10506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Arial" panose="020F0502020204030204"/>
                <a:ea typeface="微软雅黑"/>
                <a:cs typeface="+mn-cs"/>
              </a:endParaRPr>
            </a:p>
          </p:txBody>
        </p:sp>
        <p:sp>
          <p:nvSpPr>
            <p:cNvPr id="115" name="椭圆 114">
              <a:extLst>
                <a:ext uri="{FF2B5EF4-FFF2-40B4-BE49-F238E27FC236}">
                  <a16:creationId xmlns:a16="http://schemas.microsoft.com/office/drawing/2014/main" id="{8F900A7E-83E8-4497-9CA4-A452EC96CD38}"/>
                </a:ext>
              </a:extLst>
            </p:cNvPr>
            <p:cNvSpPr>
              <a:spLocks/>
            </p:cNvSpPr>
            <p:nvPr/>
          </p:nvSpPr>
          <p:spPr>
            <a:xfrm>
              <a:off x="2286000" y="3238500"/>
              <a:ext cx="105063" cy="10506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Arial" panose="020F0502020204030204"/>
                <a:ea typeface="微软雅黑"/>
                <a:cs typeface="+mn-cs"/>
              </a:endParaRPr>
            </a:p>
          </p:txBody>
        </p:sp>
        <p:sp>
          <p:nvSpPr>
            <p:cNvPr id="116" name="椭圆 115">
              <a:extLst>
                <a:ext uri="{FF2B5EF4-FFF2-40B4-BE49-F238E27FC236}">
                  <a16:creationId xmlns:a16="http://schemas.microsoft.com/office/drawing/2014/main" id="{D068ECD4-65C2-4140-AF78-3AAEAA297AAC}"/>
                </a:ext>
              </a:extLst>
            </p:cNvPr>
            <p:cNvSpPr>
              <a:spLocks/>
            </p:cNvSpPr>
            <p:nvPr/>
          </p:nvSpPr>
          <p:spPr>
            <a:xfrm>
              <a:off x="2260600" y="4102100"/>
              <a:ext cx="105063" cy="10506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Arial" panose="020F0502020204030204"/>
                <a:ea typeface="微软雅黑"/>
                <a:cs typeface="+mn-cs"/>
              </a:endParaRPr>
            </a:p>
          </p:txBody>
        </p:sp>
      </p:grpSp>
      <p:sp>
        <p:nvSpPr>
          <p:cNvPr id="16" name="Object 1015">
            <a:extLst>
              <a:ext uri="{FF2B5EF4-FFF2-40B4-BE49-F238E27FC236}">
                <a16:creationId xmlns:a16="http://schemas.microsoft.com/office/drawing/2014/main" id="{14AAAF90-426D-442D-88A8-ACB45F39D76E}"/>
              </a:ext>
            </a:extLst>
          </p:cNvPr>
          <p:cNvSpPr txBox="1"/>
          <p:nvPr/>
        </p:nvSpPr>
        <p:spPr>
          <a:xfrm>
            <a:off x="2512715" y="1902795"/>
            <a:ext cx="1272881" cy="368590"/>
          </a:xfrm>
          <a:prstGeom prst="rect">
            <a:avLst/>
          </a:prstGeom>
        </p:spPr>
        <p:txBody>
          <a:bodyPr vert="horz" lIns="0" tIns="0" rIns="0" bIns="0"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2400" b="0" i="0" u="none" strike="noStrike" kern="1200" cap="none" spc="48" normalizeH="0" baseline="0" noProof="0" dirty="0">
                <a:ln>
                  <a:noFill/>
                </a:ln>
                <a:solidFill>
                  <a:srgbClr val="313131"/>
                </a:solidFill>
                <a:effectLst/>
                <a:uLnTx/>
                <a:uFillTx/>
                <a:latin typeface="OPPOSans B" panose="00020600040101010101" pitchFamily="18" charset="-122"/>
                <a:ea typeface="OPPOSans B" panose="00020600040101010101" pitchFamily="18" charset="-122"/>
                <a:cs typeface="OPPOSans B" panose="00020600040101010101" pitchFamily="18" charset="-122"/>
              </a:rPr>
              <a:t>人员</a:t>
            </a:r>
            <a:endParaRPr kumimoji="0" lang="zh-CN" altLang="en-US" sz="1000" b="0" i="0" u="none" strike="noStrike" kern="1200" cap="none" spc="0" normalizeH="0" baseline="0" noProof="0">
              <a:ln>
                <a:noFill/>
              </a:ln>
              <a:solidFill>
                <a:srgbClr val="000000"/>
              </a:solidFill>
              <a:effectLst/>
              <a:uLnTx/>
              <a:uFillTx/>
              <a:latin typeface="OPPOSans B" panose="00020600040101010101" pitchFamily="18" charset="-122"/>
              <a:ea typeface="OPPOSans B" panose="00020600040101010101" pitchFamily="18" charset="-122"/>
              <a:cs typeface="OPPOSans B" panose="00020600040101010101" pitchFamily="18" charset="-122"/>
            </a:endParaRPr>
          </a:p>
        </p:txBody>
      </p:sp>
      <p:sp>
        <p:nvSpPr>
          <p:cNvPr id="17" name="Object 1016">
            <a:extLst>
              <a:ext uri="{FF2B5EF4-FFF2-40B4-BE49-F238E27FC236}">
                <a16:creationId xmlns:a16="http://schemas.microsoft.com/office/drawing/2014/main" id="{12781364-5FFC-4037-BFEA-80B5668429E4}"/>
              </a:ext>
            </a:extLst>
          </p:cNvPr>
          <p:cNvSpPr txBox="1"/>
          <p:nvPr/>
        </p:nvSpPr>
        <p:spPr>
          <a:xfrm>
            <a:off x="2512715" y="5541345"/>
            <a:ext cx="1185233" cy="368590"/>
          </a:xfrm>
          <a:prstGeom prst="rect">
            <a:avLst/>
          </a:prstGeom>
        </p:spPr>
        <p:txBody>
          <a:bodyPr vert="horz" lIns="0" tIns="0" rIns="0" bIns="0"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2400" b="0" i="0" u="none" strike="noStrike" kern="1200" cap="none" spc="48" normalizeH="0" baseline="0" noProof="0" dirty="0">
                <a:ln>
                  <a:noFill/>
                </a:ln>
                <a:solidFill>
                  <a:srgbClr val="313131"/>
                </a:solidFill>
                <a:effectLst/>
                <a:uLnTx/>
                <a:uFillTx/>
                <a:latin typeface="OPPOSans B" panose="00020600040101010101" pitchFamily="18" charset="-122"/>
                <a:ea typeface="OPPOSans B" panose="00020600040101010101" pitchFamily="18" charset="-122"/>
                <a:cs typeface="OPPOSans B" panose="00020600040101010101" pitchFamily="18" charset="-122"/>
              </a:rPr>
              <a:t>人员</a:t>
            </a:r>
            <a:endParaRPr kumimoji="0" lang="zh-CN" altLang="en-US" sz="1000" b="0" i="0" u="none" strike="noStrike" kern="1200" cap="none" spc="0" normalizeH="0" baseline="0" noProof="0">
              <a:ln>
                <a:noFill/>
              </a:ln>
              <a:solidFill>
                <a:srgbClr val="000000"/>
              </a:solidFill>
              <a:effectLst/>
              <a:uLnTx/>
              <a:uFillTx/>
              <a:latin typeface="OPPOSans B" panose="00020600040101010101" pitchFamily="18" charset="-122"/>
              <a:ea typeface="OPPOSans B" panose="00020600040101010101" pitchFamily="18" charset="-122"/>
              <a:cs typeface="OPPOSans B" panose="00020600040101010101" pitchFamily="18" charset="-122"/>
            </a:endParaRPr>
          </a:p>
        </p:txBody>
      </p:sp>
      <p:sp>
        <p:nvSpPr>
          <p:cNvPr id="18" name="Object 1017">
            <a:extLst>
              <a:ext uri="{FF2B5EF4-FFF2-40B4-BE49-F238E27FC236}">
                <a16:creationId xmlns:a16="http://schemas.microsoft.com/office/drawing/2014/main" id="{BCD432D6-238F-4021-9E8E-7B75838C94A5}"/>
              </a:ext>
            </a:extLst>
          </p:cNvPr>
          <p:cNvSpPr txBox="1"/>
          <p:nvPr/>
        </p:nvSpPr>
        <p:spPr>
          <a:xfrm>
            <a:off x="2674541" y="2547024"/>
            <a:ext cx="1110930" cy="482980"/>
          </a:xfrm>
          <a:prstGeom prst="rect">
            <a:avLst/>
          </a:prstGeom>
        </p:spPr>
        <p:txBody>
          <a:bodyPr vert="horz" lIns="0" tIns="0" rIns="0" bIns="0" rtlCol="0" anchor="t" anchorCtr="0">
            <a:noAutofit/>
          </a:bodyPr>
          <a:lstStyle/>
          <a:p>
            <a:pPr marL="0" marR="0" lvl="0" indent="0" algn="l" defTabSz="914400" rtl="0" eaLnBrk="1" fontAlgn="auto" latinLnBrk="0" hangingPunct="1">
              <a:lnSpc>
                <a:spcPct val="113333"/>
              </a:lnSpc>
              <a:spcBef>
                <a:spcPts val="0"/>
              </a:spcBef>
              <a:spcAft>
                <a:spcPts val="0"/>
              </a:spcAft>
              <a:buClrTx/>
              <a:buSzTx/>
              <a:buFontTx/>
              <a:buNone/>
              <a:tabLst/>
              <a:defRPr/>
            </a:pPr>
            <a:r>
              <a:rPr kumimoji="0" lang="zh-CN" altLang="en-US" sz="1200" b="0" i="0" u="none" strike="noStrike" kern="1200" cap="none" spc="28" normalizeH="0" baseline="0" noProof="0" dirty="0">
                <a:ln>
                  <a:noFill/>
                </a:ln>
                <a:solidFill>
                  <a:srgbClr val="626262"/>
                </a:solidFill>
                <a:effectLst/>
                <a:uLnTx/>
                <a:uFillTx/>
                <a:latin typeface="OPPOSans R" panose="00020600040101010101" pitchFamily="18" charset="-122"/>
                <a:ea typeface="OPPOSans R" panose="00020600040101010101" pitchFamily="18" charset="-122"/>
                <a:cs typeface="OPPOSans R" panose="00020600040101010101" pitchFamily="18" charset="-122"/>
              </a:rPr>
              <a:t>企业地推</a:t>
            </a:r>
            <a:endParaRPr kumimoji="0" lang="zh-CN" altLang="en-US" sz="1200" b="0" i="0" u="none" strike="noStrike" kern="1200" cap="none" spc="0" normalizeH="0" baseline="0" noProof="0">
              <a:ln>
                <a:noFill/>
              </a:ln>
              <a:solidFill>
                <a:srgbClr val="000000"/>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a:p>
            <a:pPr marL="0" marR="0" lvl="0" indent="0" algn="l" defTabSz="914400" rtl="0" eaLnBrk="1" fontAlgn="auto" latinLnBrk="0" hangingPunct="1">
              <a:lnSpc>
                <a:spcPct val="113333"/>
              </a:lnSpc>
              <a:spcBef>
                <a:spcPts val="0"/>
              </a:spcBef>
              <a:spcAft>
                <a:spcPts val="0"/>
              </a:spcAft>
              <a:buClrTx/>
              <a:buSzTx/>
              <a:buFontTx/>
              <a:buNone/>
              <a:tabLst/>
              <a:defRPr/>
            </a:pPr>
            <a:r>
              <a:rPr kumimoji="0" lang="zh-CN" altLang="en-US" sz="1200" b="0" i="0" u="none" strike="noStrike" kern="1200" cap="none" spc="28" normalizeH="0" baseline="0" noProof="0" dirty="0">
                <a:ln>
                  <a:noFill/>
                </a:ln>
                <a:solidFill>
                  <a:srgbClr val="626262"/>
                </a:solidFill>
                <a:effectLst/>
                <a:uLnTx/>
                <a:uFillTx/>
                <a:latin typeface="OPPOSans R" panose="00020600040101010101" pitchFamily="18" charset="-122"/>
                <a:ea typeface="OPPOSans R" panose="00020600040101010101" pitchFamily="18" charset="-122"/>
                <a:cs typeface="OPPOSans R" panose="00020600040101010101" pitchFamily="18" charset="-122"/>
              </a:rPr>
              <a:t>人员数量少</a:t>
            </a:r>
            <a:endParaRPr kumimoji="0" lang="zh-CN" altLang="en-US" sz="1000" b="0" i="0" u="none" strike="noStrike" kern="1200" cap="none" spc="0" normalizeH="0" baseline="0" noProof="0">
              <a:ln>
                <a:noFill/>
              </a:ln>
              <a:solidFill>
                <a:srgbClr val="000000"/>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p:txBody>
      </p:sp>
      <p:sp>
        <p:nvSpPr>
          <p:cNvPr id="19" name="Object 1018">
            <a:extLst>
              <a:ext uri="{FF2B5EF4-FFF2-40B4-BE49-F238E27FC236}">
                <a16:creationId xmlns:a16="http://schemas.microsoft.com/office/drawing/2014/main" id="{822961FD-1FA4-4961-9A7C-0C770E9B00C7}"/>
              </a:ext>
            </a:extLst>
          </p:cNvPr>
          <p:cNvSpPr txBox="1"/>
          <p:nvPr/>
        </p:nvSpPr>
        <p:spPr>
          <a:xfrm>
            <a:off x="2523927" y="3208515"/>
            <a:ext cx="1261665" cy="482980"/>
          </a:xfrm>
          <a:prstGeom prst="rect">
            <a:avLst/>
          </a:prstGeom>
        </p:spPr>
        <p:txBody>
          <a:bodyPr vert="horz" lIns="0" tIns="0" rIns="0" bIns="0" rtlCol="0" anchor="t" anchorCtr="0">
            <a:noAutofit/>
          </a:bodyPr>
          <a:lstStyle/>
          <a:p>
            <a:pPr marL="0" marR="0" lvl="0" indent="0" algn="l" defTabSz="914400" rtl="0" eaLnBrk="1" fontAlgn="auto" latinLnBrk="0" hangingPunct="1">
              <a:lnSpc>
                <a:spcPct val="113333"/>
              </a:lnSpc>
              <a:spcBef>
                <a:spcPts val="0"/>
              </a:spcBef>
              <a:spcAft>
                <a:spcPts val="0"/>
              </a:spcAft>
              <a:buClrTx/>
              <a:buSzTx/>
              <a:buFontTx/>
              <a:buNone/>
              <a:tabLst/>
              <a:defRPr/>
            </a:pPr>
            <a:r>
              <a:rPr kumimoji="0" lang="zh-CN" altLang="en-US" sz="1200" b="0" i="0" u="none" strike="noStrike" kern="1200" cap="none" spc="28" normalizeH="0" baseline="0" noProof="0" dirty="0">
                <a:ln>
                  <a:noFill/>
                </a:ln>
                <a:solidFill>
                  <a:srgbClr val="626262"/>
                </a:solidFill>
                <a:effectLst/>
                <a:uLnTx/>
                <a:uFillTx/>
                <a:latin typeface="OPPOSans R" panose="00020600040101010101" pitchFamily="18" charset="-122"/>
                <a:ea typeface="OPPOSans R" panose="00020600040101010101" pitchFamily="18" charset="-122"/>
                <a:cs typeface="OPPOSans R" panose="00020600040101010101" pitchFamily="18" charset="-122"/>
              </a:rPr>
              <a:t>销售人员</a:t>
            </a:r>
            <a:endParaRPr kumimoji="0" lang="zh-CN" altLang="en-US" sz="1200" b="0" i="0" u="none" strike="noStrike" kern="1200" cap="none" spc="0" normalizeH="0" baseline="0" noProof="0">
              <a:ln>
                <a:noFill/>
              </a:ln>
              <a:solidFill>
                <a:srgbClr val="000000"/>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a:p>
            <a:pPr marL="0" marR="0" lvl="0" indent="0" algn="l" defTabSz="914400" rtl="0" eaLnBrk="1" fontAlgn="auto" latinLnBrk="0" hangingPunct="1">
              <a:lnSpc>
                <a:spcPct val="113333"/>
              </a:lnSpc>
              <a:spcBef>
                <a:spcPts val="0"/>
              </a:spcBef>
              <a:spcAft>
                <a:spcPts val="0"/>
              </a:spcAft>
              <a:buClrTx/>
              <a:buSzTx/>
              <a:buFontTx/>
              <a:buNone/>
              <a:tabLst/>
              <a:defRPr/>
            </a:pPr>
            <a:r>
              <a:rPr kumimoji="0" lang="zh-CN" altLang="en-US" sz="1200" b="0" i="0" u="none" strike="noStrike" kern="1200" cap="none" spc="28" normalizeH="0" baseline="0" noProof="0" dirty="0">
                <a:ln>
                  <a:noFill/>
                </a:ln>
                <a:solidFill>
                  <a:srgbClr val="626262"/>
                </a:solidFill>
                <a:effectLst/>
                <a:uLnTx/>
                <a:uFillTx/>
                <a:latin typeface="OPPOSans R" panose="00020600040101010101" pitchFamily="18" charset="-122"/>
                <a:ea typeface="OPPOSans R" panose="00020600040101010101" pitchFamily="18" charset="-122"/>
                <a:cs typeface="OPPOSans R" panose="00020600040101010101" pitchFamily="18" charset="-122"/>
              </a:rPr>
              <a:t>专业知识不足</a:t>
            </a:r>
            <a:endParaRPr kumimoji="0" lang="zh-CN" altLang="en-US" sz="1000" b="0" i="0" u="none" strike="noStrike" kern="1200" cap="none" spc="0" normalizeH="0" baseline="0" noProof="0">
              <a:ln>
                <a:noFill/>
              </a:ln>
              <a:solidFill>
                <a:srgbClr val="000000"/>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p:txBody>
      </p:sp>
      <p:sp>
        <p:nvSpPr>
          <p:cNvPr id="20" name="Object 1019">
            <a:extLst>
              <a:ext uri="{FF2B5EF4-FFF2-40B4-BE49-F238E27FC236}">
                <a16:creationId xmlns:a16="http://schemas.microsoft.com/office/drawing/2014/main" id="{C918E66D-3D3A-4692-BF9C-41E1758A822A}"/>
              </a:ext>
            </a:extLst>
          </p:cNvPr>
          <p:cNvSpPr txBox="1"/>
          <p:nvPr/>
        </p:nvSpPr>
        <p:spPr>
          <a:xfrm>
            <a:off x="2522141" y="4071024"/>
            <a:ext cx="1175796" cy="482980"/>
          </a:xfrm>
          <a:prstGeom prst="rect">
            <a:avLst/>
          </a:prstGeom>
        </p:spPr>
        <p:txBody>
          <a:bodyPr vert="horz" lIns="0" tIns="0" rIns="0" bIns="0" rtlCol="0" anchor="t" anchorCtr="0">
            <a:noAutofit/>
          </a:bodyPr>
          <a:lstStyle/>
          <a:p>
            <a:pPr marL="0" marR="0" lvl="0" indent="0" algn="l" defTabSz="914400" rtl="0" eaLnBrk="1" fontAlgn="auto" latinLnBrk="0" hangingPunct="1">
              <a:lnSpc>
                <a:spcPct val="113333"/>
              </a:lnSpc>
              <a:spcBef>
                <a:spcPts val="0"/>
              </a:spcBef>
              <a:spcAft>
                <a:spcPts val="0"/>
              </a:spcAft>
              <a:buClrTx/>
              <a:buSzTx/>
              <a:buFontTx/>
              <a:buNone/>
              <a:tabLst/>
              <a:defRPr/>
            </a:pPr>
            <a:r>
              <a:rPr kumimoji="0" lang="zh-CN" altLang="en-US" sz="1200" b="0" i="0" u="none" strike="noStrike" kern="1200" cap="none" spc="28" normalizeH="0" baseline="0" noProof="0" dirty="0">
                <a:ln>
                  <a:noFill/>
                </a:ln>
                <a:solidFill>
                  <a:srgbClr val="626262"/>
                </a:solidFill>
                <a:effectLst/>
                <a:uLnTx/>
                <a:uFillTx/>
                <a:latin typeface="OPPOSans R" panose="00020600040101010101" pitchFamily="18" charset="-122"/>
                <a:ea typeface="OPPOSans R" panose="00020600040101010101" pitchFamily="18" charset="-122"/>
                <a:cs typeface="OPPOSans R" panose="00020600040101010101" pitchFamily="18" charset="-122"/>
              </a:rPr>
              <a:t>企业地推</a:t>
            </a:r>
            <a:endParaRPr kumimoji="0" lang="zh-CN" altLang="en-US" sz="1200" b="0" i="0" u="none" strike="noStrike" kern="1200" cap="none" spc="0" normalizeH="0" baseline="0" noProof="0">
              <a:ln>
                <a:noFill/>
              </a:ln>
              <a:solidFill>
                <a:srgbClr val="000000"/>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a:p>
            <a:pPr marL="0" marR="0" lvl="0" indent="0" algn="l" defTabSz="914400" rtl="0" eaLnBrk="1" fontAlgn="auto" latinLnBrk="0" hangingPunct="1">
              <a:lnSpc>
                <a:spcPct val="113333"/>
              </a:lnSpc>
              <a:spcBef>
                <a:spcPts val="0"/>
              </a:spcBef>
              <a:spcAft>
                <a:spcPts val="0"/>
              </a:spcAft>
              <a:buClrTx/>
              <a:buSzTx/>
              <a:buFontTx/>
              <a:buNone/>
              <a:tabLst/>
              <a:defRPr/>
            </a:pPr>
            <a:r>
              <a:rPr kumimoji="0" lang="zh-CN" altLang="en-US" sz="1200" b="0" i="0" u="none" strike="noStrike" kern="1200" cap="none" spc="28" normalizeH="0" baseline="0" noProof="0" dirty="0">
                <a:ln>
                  <a:noFill/>
                </a:ln>
                <a:solidFill>
                  <a:srgbClr val="626262"/>
                </a:solidFill>
                <a:effectLst/>
                <a:uLnTx/>
                <a:uFillTx/>
                <a:latin typeface="OPPOSans R" panose="00020600040101010101" pitchFamily="18" charset="-122"/>
                <a:ea typeface="OPPOSans R" panose="00020600040101010101" pitchFamily="18" charset="-122"/>
                <a:cs typeface="OPPOSans R" panose="00020600040101010101" pitchFamily="18" charset="-122"/>
              </a:rPr>
              <a:t>人员数量少</a:t>
            </a:r>
            <a:endParaRPr kumimoji="0" lang="zh-CN" altLang="en-US" sz="1000" b="0" i="0" u="none" strike="noStrike" kern="1200" cap="none" spc="0" normalizeH="0" baseline="0" noProof="0">
              <a:ln>
                <a:noFill/>
              </a:ln>
              <a:solidFill>
                <a:srgbClr val="000000"/>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p:txBody>
      </p:sp>
      <p:sp>
        <p:nvSpPr>
          <p:cNvPr id="21" name="Object 1020">
            <a:extLst>
              <a:ext uri="{FF2B5EF4-FFF2-40B4-BE49-F238E27FC236}">
                <a16:creationId xmlns:a16="http://schemas.microsoft.com/office/drawing/2014/main" id="{BEF1F785-331E-40D2-A02C-4D0CFDA48B5D}"/>
              </a:ext>
            </a:extLst>
          </p:cNvPr>
          <p:cNvSpPr txBox="1"/>
          <p:nvPr/>
        </p:nvSpPr>
        <p:spPr>
          <a:xfrm>
            <a:off x="2682677" y="4732515"/>
            <a:ext cx="1181941" cy="482980"/>
          </a:xfrm>
          <a:prstGeom prst="rect">
            <a:avLst/>
          </a:prstGeom>
        </p:spPr>
        <p:txBody>
          <a:bodyPr vert="horz" lIns="0" tIns="0" rIns="0" bIns="0" rtlCol="0" anchor="t" anchorCtr="0">
            <a:noAutofit/>
          </a:bodyPr>
          <a:lstStyle/>
          <a:p>
            <a:pPr marL="0" marR="0" lvl="0" indent="0" algn="l" defTabSz="914400" rtl="0" eaLnBrk="1" fontAlgn="auto" latinLnBrk="0" hangingPunct="1">
              <a:lnSpc>
                <a:spcPct val="113333"/>
              </a:lnSpc>
              <a:spcBef>
                <a:spcPts val="0"/>
              </a:spcBef>
              <a:spcAft>
                <a:spcPts val="0"/>
              </a:spcAft>
              <a:buClrTx/>
              <a:buSzTx/>
              <a:buFontTx/>
              <a:buNone/>
              <a:tabLst/>
              <a:defRPr/>
            </a:pPr>
            <a:r>
              <a:rPr kumimoji="0" lang="zh-CN" altLang="en-US" sz="1200" b="0" i="0" u="none" strike="noStrike" kern="1200" cap="none" spc="28" normalizeH="0" baseline="0" noProof="0" dirty="0">
                <a:ln>
                  <a:noFill/>
                </a:ln>
                <a:solidFill>
                  <a:srgbClr val="626262"/>
                </a:solidFill>
                <a:effectLst/>
                <a:uLnTx/>
                <a:uFillTx/>
                <a:latin typeface="OPPOSans R" panose="00020600040101010101" pitchFamily="18" charset="-122"/>
                <a:ea typeface="OPPOSans R" panose="00020600040101010101" pitchFamily="18" charset="-122"/>
                <a:cs typeface="OPPOSans R" panose="00020600040101010101" pitchFamily="18" charset="-122"/>
              </a:rPr>
              <a:t>销售人员</a:t>
            </a:r>
            <a:endParaRPr kumimoji="0" lang="zh-CN" altLang="en-US" sz="1200" b="0" i="0" u="none" strike="noStrike" kern="1200" cap="none" spc="0" normalizeH="0" baseline="0" noProof="0">
              <a:ln>
                <a:noFill/>
              </a:ln>
              <a:solidFill>
                <a:srgbClr val="000000"/>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a:p>
            <a:pPr marL="0" marR="0" lvl="0" indent="0" algn="l" defTabSz="914400" rtl="0" eaLnBrk="1" fontAlgn="auto" latinLnBrk="0" hangingPunct="1">
              <a:lnSpc>
                <a:spcPct val="113333"/>
              </a:lnSpc>
              <a:spcBef>
                <a:spcPts val="0"/>
              </a:spcBef>
              <a:spcAft>
                <a:spcPts val="0"/>
              </a:spcAft>
              <a:buClrTx/>
              <a:buSzTx/>
              <a:buFontTx/>
              <a:buNone/>
              <a:tabLst/>
              <a:defRPr/>
            </a:pPr>
            <a:r>
              <a:rPr kumimoji="0" lang="zh-CN" altLang="en-US" sz="1200" b="0" i="0" u="none" strike="noStrike" kern="1200" cap="none" spc="28" normalizeH="0" baseline="0" noProof="0" dirty="0">
                <a:ln>
                  <a:noFill/>
                </a:ln>
                <a:solidFill>
                  <a:srgbClr val="626262"/>
                </a:solidFill>
                <a:effectLst/>
                <a:uLnTx/>
                <a:uFillTx/>
                <a:latin typeface="OPPOSans R" panose="00020600040101010101" pitchFamily="18" charset="-122"/>
                <a:ea typeface="OPPOSans R" panose="00020600040101010101" pitchFamily="18" charset="-122"/>
                <a:cs typeface="OPPOSans R" panose="00020600040101010101" pitchFamily="18" charset="-122"/>
              </a:rPr>
              <a:t>专业知识不足</a:t>
            </a:r>
            <a:endParaRPr kumimoji="0" lang="zh-CN" altLang="en-US" sz="1000" b="0" i="0" u="none" strike="noStrike" kern="1200" cap="none" spc="0" normalizeH="0" baseline="0" noProof="0">
              <a:ln>
                <a:noFill/>
              </a:ln>
              <a:solidFill>
                <a:srgbClr val="000000"/>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p:txBody>
      </p:sp>
      <p:grpSp>
        <p:nvGrpSpPr>
          <p:cNvPr id="121" name="组合 120">
            <a:extLst>
              <a:ext uri="{FF2B5EF4-FFF2-40B4-BE49-F238E27FC236}">
                <a16:creationId xmlns:a16="http://schemas.microsoft.com/office/drawing/2014/main" id="{19C3EF50-9729-4399-A5E6-7F557DC91AC7}"/>
              </a:ext>
            </a:extLst>
          </p:cNvPr>
          <p:cNvGrpSpPr>
            <a:grpSpLocks/>
          </p:cNvGrpSpPr>
          <p:nvPr/>
        </p:nvGrpSpPr>
        <p:grpSpPr>
          <a:xfrm>
            <a:off x="3733800" y="2565400"/>
            <a:ext cx="290193" cy="2302163"/>
            <a:chOff x="2260600" y="2578100"/>
            <a:chExt cx="290193" cy="2302163"/>
          </a:xfrm>
        </p:grpSpPr>
        <p:sp>
          <p:nvSpPr>
            <p:cNvPr id="122" name="椭圆 121">
              <a:extLst>
                <a:ext uri="{FF2B5EF4-FFF2-40B4-BE49-F238E27FC236}">
                  <a16:creationId xmlns:a16="http://schemas.microsoft.com/office/drawing/2014/main" id="{BB755BDB-F4B7-45B4-A147-07A5556E2A34}"/>
                </a:ext>
              </a:extLst>
            </p:cNvPr>
            <p:cNvSpPr>
              <a:spLocks/>
            </p:cNvSpPr>
            <p:nvPr/>
          </p:nvSpPr>
          <p:spPr>
            <a:xfrm>
              <a:off x="2445730" y="2578100"/>
              <a:ext cx="105063" cy="10506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Arial" panose="020F0502020204030204"/>
                <a:ea typeface="微软雅黑"/>
                <a:cs typeface="+mn-cs"/>
              </a:endParaRPr>
            </a:p>
          </p:txBody>
        </p:sp>
        <p:sp>
          <p:nvSpPr>
            <p:cNvPr id="123" name="椭圆 122">
              <a:extLst>
                <a:ext uri="{FF2B5EF4-FFF2-40B4-BE49-F238E27FC236}">
                  <a16:creationId xmlns:a16="http://schemas.microsoft.com/office/drawing/2014/main" id="{BED60C6F-1287-4FD8-BCE4-1941F55009AD}"/>
                </a:ext>
              </a:extLst>
            </p:cNvPr>
            <p:cNvSpPr>
              <a:spLocks/>
            </p:cNvSpPr>
            <p:nvPr/>
          </p:nvSpPr>
          <p:spPr>
            <a:xfrm>
              <a:off x="2378128" y="4775200"/>
              <a:ext cx="105063" cy="10506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Arial" panose="020F0502020204030204"/>
                <a:ea typeface="微软雅黑"/>
                <a:cs typeface="+mn-cs"/>
              </a:endParaRPr>
            </a:p>
          </p:txBody>
        </p:sp>
        <p:sp>
          <p:nvSpPr>
            <p:cNvPr id="124" name="椭圆 123">
              <a:extLst>
                <a:ext uri="{FF2B5EF4-FFF2-40B4-BE49-F238E27FC236}">
                  <a16:creationId xmlns:a16="http://schemas.microsoft.com/office/drawing/2014/main" id="{220CD9D7-5CC4-4AA5-9366-B458F44F8E75}"/>
                </a:ext>
              </a:extLst>
            </p:cNvPr>
            <p:cNvSpPr>
              <a:spLocks/>
            </p:cNvSpPr>
            <p:nvPr/>
          </p:nvSpPr>
          <p:spPr>
            <a:xfrm>
              <a:off x="2286000" y="3238500"/>
              <a:ext cx="105063" cy="10506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Arial" panose="020F0502020204030204"/>
                <a:ea typeface="微软雅黑"/>
                <a:cs typeface="+mn-cs"/>
              </a:endParaRPr>
            </a:p>
          </p:txBody>
        </p:sp>
        <p:sp>
          <p:nvSpPr>
            <p:cNvPr id="125" name="椭圆 124">
              <a:extLst>
                <a:ext uri="{FF2B5EF4-FFF2-40B4-BE49-F238E27FC236}">
                  <a16:creationId xmlns:a16="http://schemas.microsoft.com/office/drawing/2014/main" id="{6BB5DF3D-9CB7-4795-A1E2-B2A101936C69}"/>
                </a:ext>
              </a:extLst>
            </p:cNvPr>
            <p:cNvSpPr>
              <a:spLocks/>
            </p:cNvSpPr>
            <p:nvPr/>
          </p:nvSpPr>
          <p:spPr>
            <a:xfrm>
              <a:off x="2260600" y="4102100"/>
              <a:ext cx="105063" cy="10506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Arial" panose="020F0502020204030204"/>
                <a:ea typeface="微软雅黑"/>
                <a:cs typeface="+mn-cs"/>
              </a:endParaRPr>
            </a:p>
          </p:txBody>
        </p:sp>
      </p:grpSp>
      <p:sp>
        <p:nvSpPr>
          <p:cNvPr id="28" name="Object 1027">
            <a:extLst>
              <a:ext uri="{FF2B5EF4-FFF2-40B4-BE49-F238E27FC236}">
                <a16:creationId xmlns:a16="http://schemas.microsoft.com/office/drawing/2014/main" id="{F4F6D370-A8EF-4A16-A473-0967AF06821A}"/>
              </a:ext>
            </a:extLst>
          </p:cNvPr>
          <p:cNvSpPr txBox="1"/>
          <p:nvPr/>
        </p:nvSpPr>
        <p:spPr>
          <a:xfrm>
            <a:off x="4079082" y="1712295"/>
            <a:ext cx="1531555" cy="368590"/>
          </a:xfrm>
          <a:prstGeom prst="rect">
            <a:avLst/>
          </a:prstGeom>
        </p:spPr>
        <p:txBody>
          <a:bodyPr vert="horz" lIns="0" tIns="0" rIns="0" bIns="0"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2400" b="0" i="0" u="none" strike="noStrike" kern="1200" cap="none" spc="48" normalizeH="0" baseline="0" noProof="0" dirty="0">
                <a:ln>
                  <a:noFill/>
                </a:ln>
                <a:solidFill>
                  <a:srgbClr val="313131"/>
                </a:solidFill>
                <a:effectLst/>
                <a:uLnTx/>
                <a:uFillTx/>
                <a:latin typeface="OPPOSans B" panose="00020600040101010101" pitchFamily="18" charset="-122"/>
                <a:ea typeface="OPPOSans B" panose="00020600040101010101" pitchFamily="18" charset="-122"/>
                <a:cs typeface="OPPOSans B" panose="00020600040101010101" pitchFamily="18" charset="-122"/>
              </a:rPr>
              <a:t>推广</a:t>
            </a:r>
            <a:endParaRPr kumimoji="0" lang="zh-CN" altLang="en-US" sz="1000" b="0" i="0" u="none" strike="noStrike" kern="1200" cap="none" spc="0" normalizeH="0" baseline="0" noProof="0">
              <a:ln>
                <a:noFill/>
              </a:ln>
              <a:solidFill>
                <a:srgbClr val="000000"/>
              </a:solidFill>
              <a:effectLst/>
              <a:uLnTx/>
              <a:uFillTx/>
              <a:latin typeface="OPPOSans B" panose="00020600040101010101" pitchFamily="18" charset="-122"/>
              <a:ea typeface="OPPOSans B" panose="00020600040101010101" pitchFamily="18" charset="-122"/>
              <a:cs typeface="OPPOSans B" panose="00020600040101010101" pitchFamily="18" charset="-122"/>
            </a:endParaRPr>
          </a:p>
        </p:txBody>
      </p:sp>
      <p:sp>
        <p:nvSpPr>
          <p:cNvPr id="29" name="Object 1028">
            <a:extLst>
              <a:ext uri="{FF2B5EF4-FFF2-40B4-BE49-F238E27FC236}">
                <a16:creationId xmlns:a16="http://schemas.microsoft.com/office/drawing/2014/main" id="{B6886993-4517-4F35-A7E1-6731401DF888}"/>
              </a:ext>
            </a:extLst>
          </p:cNvPr>
          <p:cNvSpPr txBox="1"/>
          <p:nvPr/>
        </p:nvSpPr>
        <p:spPr>
          <a:xfrm>
            <a:off x="4079082" y="5712795"/>
            <a:ext cx="1531555" cy="368590"/>
          </a:xfrm>
          <a:prstGeom prst="rect">
            <a:avLst/>
          </a:prstGeom>
        </p:spPr>
        <p:txBody>
          <a:bodyPr vert="horz" lIns="0" tIns="0" rIns="0" bIns="0"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2400" b="0" i="0" u="none" strike="noStrike" kern="1200" cap="none" spc="48" normalizeH="0" baseline="0" noProof="0" dirty="0">
                <a:ln>
                  <a:noFill/>
                </a:ln>
                <a:solidFill>
                  <a:srgbClr val="313131"/>
                </a:solidFill>
                <a:effectLst/>
                <a:uLnTx/>
                <a:uFillTx/>
                <a:latin typeface="OPPOSans B" panose="00020600040101010101" pitchFamily="18" charset="-122"/>
                <a:ea typeface="OPPOSans B" panose="00020600040101010101" pitchFamily="18" charset="-122"/>
                <a:cs typeface="OPPOSans B" panose="00020600040101010101" pitchFamily="18" charset="-122"/>
              </a:rPr>
              <a:t>推广</a:t>
            </a:r>
            <a:endParaRPr kumimoji="0" lang="zh-CN" altLang="en-US" sz="1000" b="0" i="0" u="none" strike="noStrike" kern="1200" cap="none" spc="0" normalizeH="0" baseline="0" noProof="0">
              <a:ln>
                <a:noFill/>
              </a:ln>
              <a:solidFill>
                <a:srgbClr val="000000"/>
              </a:solidFill>
              <a:effectLst/>
              <a:uLnTx/>
              <a:uFillTx/>
              <a:latin typeface="OPPOSans B" panose="00020600040101010101" pitchFamily="18" charset="-122"/>
              <a:ea typeface="OPPOSans B" panose="00020600040101010101" pitchFamily="18" charset="-122"/>
              <a:cs typeface="OPPOSans B" panose="00020600040101010101" pitchFamily="18" charset="-122"/>
            </a:endParaRPr>
          </a:p>
        </p:txBody>
      </p:sp>
      <p:sp>
        <p:nvSpPr>
          <p:cNvPr id="30" name="Object 1029">
            <a:extLst>
              <a:ext uri="{FF2B5EF4-FFF2-40B4-BE49-F238E27FC236}">
                <a16:creationId xmlns:a16="http://schemas.microsoft.com/office/drawing/2014/main" id="{15E8A800-840B-4F04-9F27-17A708435420}"/>
              </a:ext>
            </a:extLst>
          </p:cNvPr>
          <p:cNvSpPr txBox="1"/>
          <p:nvPr/>
        </p:nvSpPr>
        <p:spPr>
          <a:xfrm>
            <a:off x="4172447" y="2548810"/>
            <a:ext cx="1391745" cy="241490"/>
          </a:xfrm>
          <a:prstGeom prst="rect">
            <a:avLst/>
          </a:prstGeom>
        </p:spPr>
        <p:txBody>
          <a:bodyPr vert="horz" lIns="0" tIns="0" rIns="0" bIns="0" rtlCol="0" anchor="t" anchorCtr="0">
            <a:noAutofit/>
          </a:bodyPr>
          <a:lstStyle/>
          <a:p>
            <a:pPr marL="0" marR="0" lvl="0" indent="0" algn="l" defTabSz="914400" rtl="0" eaLnBrk="1" fontAlgn="auto" latinLnBrk="0" hangingPunct="1">
              <a:lnSpc>
                <a:spcPct val="113333"/>
              </a:lnSpc>
              <a:spcBef>
                <a:spcPts val="0"/>
              </a:spcBef>
              <a:spcAft>
                <a:spcPts val="0"/>
              </a:spcAft>
              <a:buClrTx/>
              <a:buSzTx/>
              <a:buFontTx/>
              <a:buNone/>
              <a:tabLst/>
              <a:defRPr/>
            </a:pPr>
            <a:r>
              <a:rPr kumimoji="0" lang="zh-CN" altLang="en-US" sz="1200" b="0" i="0" u="none" strike="noStrike" kern="1200" cap="none" spc="28" normalizeH="0" baseline="0" noProof="0" dirty="0">
                <a:ln>
                  <a:noFill/>
                </a:ln>
                <a:solidFill>
                  <a:srgbClr val="626262"/>
                </a:solidFill>
                <a:effectLst/>
                <a:uLnTx/>
                <a:uFillTx/>
                <a:latin typeface="OPPOSans R" panose="00020600040101010101" pitchFamily="18" charset="-122"/>
                <a:ea typeface="OPPOSans R" panose="00020600040101010101" pitchFamily="18" charset="-122"/>
                <a:cs typeface="OPPOSans R" panose="00020600040101010101" pitchFamily="18" charset="-122"/>
              </a:rPr>
              <a:t>推广渠道较少</a:t>
            </a:r>
            <a:endParaRPr kumimoji="0" lang="zh-CN" altLang="en-US" sz="1000" b="0" i="0" u="none" strike="noStrike" kern="1200" cap="none" spc="0" normalizeH="0" baseline="0" noProof="0">
              <a:ln>
                <a:noFill/>
              </a:ln>
              <a:solidFill>
                <a:srgbClr val="000000"/>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p:txBody>
      </p:sp>
      <p:sp>
        <p:nvSpPr>
          <p:cNvPr id="31" name="Object 1030">
            <a:extLst>
              <a:ext uri="{FF2B5EF4-FFF2-40B4-BE49-F238E27FC236}">
                <a16:creationId xmlns:a16="http://schemas.microsoft.com/office/drawing/2014/main" id="{6A6ABFFF-32E6-4091-90C6-6E2450FD7219}"/>
              </a:ext>
            </a:extLst>
          </p:cNvPr>
          <p:cNvSpPr txBox="1"/>
          <p:nvPr/>
        </p:nvSpPr>
        <p:spPr>
          <a:xfrm>
            <a:off x="4015780" y="3209507"/>
            <a:ext cx="1391745" cy="216070"/>
          </a:xfrm>
          <a:prstGeom prst="rect">
            <a:avLst/>
          </a:prstGeom>
        </p:spPr>
        <p:txBody>
          <a:bodyPr vert="horz" lIns="0" tIns="0" rIns="0" bIns="0"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200" b="0" i="0" u="none" strike="noStrike" kern="1200" cap="none" spc="28" normalizeH="0" baseline="0" noProof="0" dirty="0">
                <a:ln>
                  <a:noFill/>
                </a:ln>
                <a:solidFill>
                  <a:srgbClr val="626262"/>
                </a:solidFill>
                <a:effectLst/>
                <a:uLnTx/>
                <a:uFillTx/>
                <a:latin typeface="OPPOSans R" panose="00020600040101010101" pitchFamily="18" charset="-122"/>
                <a:ea typeface="OPPOSans R" panose="00020600040101010101" pitchFamily="18" charset="-122"/>
                <a:cs typeface="OPPOSans R" panose="00020600040101010101" pitchFamily="18" charset="-122"/>
              </a:rPr>
              <a:t>宣传效果差</a:t>
            </a:r>
            <a:endParaRPr kumimoji="0" lang="zh-CN" altLang="en-US" sz="1000" b="0" i="0" u="none" strike="noStrike" kern="1200" cap="none" spc="0" normalizeH="0" baseline="0" noProof="0">
              <a:ln>
                <a:noFill/>
              </a:ln>
              <a:solidFill>
                <a:srgbClr val="000000"/>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p:txBody>
      </p:sp>
      <p:sp>
        <p:nvSpPr>
          <p:cNvPr id="32" name="Object 1031">
            <a:extLst>
              <a:ext uri="{FF2B5EF4-FFF2-40B4-BE49-F238E27FC236}">
                <a16:creationId xmlns:a16="http://schemas.microsoft.com/office/drawing/2014/main" id="{A8B14763-3D56-415A-B992-33F4A2EF480D}"/>
              </a:ext>
            </a:extLst>
          </p:cNvPr>
          <p:cNvSpPr txBox="1"/>
          <p:nvPr/>
        </p:nvSpPr>
        <p:spPr>
          <a:xfrm>
            <a:off x="4019451" y="4071024"/>
            <a:ext cx="1391745" cy="241490"/>
          </a:xfrm>
          <a:prstGeom prst="rect">
            <a:avLst/>
          </a:prstGeom>
        </p:spPr>
        <p:txBody>
          <a:bodyPr vert="horz" lIns="0" tIns="0" rIns="0" bIns="0" rtlCol="0" anchor="t" anchorCtr="0">
            <a:noAutofit/>
          </a:bodyPr>
          <a:lstStyle/>
          <a:p>
            <a:pPr marL="0" marR="0" lvl="0" indent="0" algn="l" defTabSz="914400" rtl="0" eaLnBrk="1" fontAlgn="auto" latinLnBrk="0" hangingPunct="1">
              <a:lnSpc>
                <a:spcPct val="113333"/>
              </a:lnSpc>
              <a:spcBef>
                <a:spcPts val="0"/>
              </a:spcBef>
              <a:spcAft>
                <a:spcPts val="0"/>
              </a:spcAft>
              <a:buClrTx/>
              <a:buSzTx/>
              <a:buFontTx/>
              <a:buNone/>
              <a:tabLst/>
              <a:defRPr/>
            </a:pPr>
            <a:r>
              <a:rPr kumimoji="0" lang="zh-CN" altLang="en-US" sz="1200" b="0" i="0" u="none" strike="noStrike" kern="1200" cap="none" spc="28" normalizeH="0" baseline="0" noProof="0" dirty="0">
                <a:ln>
                  <a:noFill/>
                </a:ln>
                <a:solidFill>
                  <a:srgbClr val="626262"/>
                </a:solidFill>
                <a:effectLst/>
                <a:uLnTx/>
                <a:uFillTx/>
                <a:latin typeface="OPPOSans R" panose="00020600040101010101" pitchFamily="18" charset="-122"/>
                <a:ea typeface="OPPOSans R" panose="00020600040101010101" pitchFamily="18" charset="-122"/>
                <a:cs typeface="OPPOSans R" panose="00020600040101010101" pitchFamily="18" charset="-122"/>
              </a:rPr>
              <a:t>文案能力不足</a:t>
            </a:r>
            <a:endParaRPr kumimoji="0" lang="zh-CN" altLang="en-US" sz="1000" b="0" i="0" u="none" strike="noStrike" kern="1200" cap="none" spc="0" normalizeH="0" baseline="0" noProof="0">
              <a:ln>
                <a:noFill/>
              </a:ln>
              <a:solidFill>
                <a:srgbClr val="000000"/>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p:txBody>
      </p:sp>
      <p:sp>
        <p:nvSpPr>
          <p:cNvPr id="33" name="Object 1032">
            <a:extLst>
              <a:ext uri="{FF2B5EF4-FFF2-40B4-BE49-F238E27FC236}">
                <a16:creationId xmlns:a16="http://schemas.microsoft.com/office/drawing/2014/main" id="{39B4339C-08AA-49F6-9026-BEED4A107BAF}"/>
              </a:ext>
            </a:extLst>
          </p:cNvPr>
          <p:cNvSpPr txBox="1"/>
          <p:nvPr/>
        </p:nvSpPr>
        <p:spPr>
          <a:xfrm>
            <a:off x="4173340" y="4730729"/>
            <a:ext cx="1391745" cy="216070"/>
          </a:xfrm>
          <a:prstGeom prst="rect">
            <a:avLst/>
          </a:prstGeom>
        </p:spPr>
        <p:txBody>
          <a:bodyPr vert="horz" lIns="0" tIns="0" rIns="0" bIns="0"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200" b="0" i="0" u="none" strike="noStrike" kern="1200" cap="none" spc="28" normalizeH="0" baseline="0" noProof="0" dirty="0">
                <a:ln>
                  <a:noFill/>
                </a:ln>
                <a:solidFill>
                  <a:srgbClr val="626262"/>
                </a:solidFill>
                <a:effectLst/>
                <a:uLnTx/>
                <a:uFillTx/>
                <a:latin typeface="OPPOSans R" panose="00020600040101010101" pitchFamily="18" charset="-122"/>
                <a:ea typeface="OPPOSans R" panose="00020600040101010101" pitchFamily="18" charset="-122"/>
                <a:cs typeface="OPPOSans R" panose="00020600040101010101" pitchFamily="18" charset="-122"/>
              </a:rPr>
              <a:t>投入较低</a:t>
            </a:r>
            <a:endParaRPr kumimoji="0" lang="zh-CN" altLang="en-US" sz="1000" b="0" i="0" u="none" strike="noStrike" kern="1200" cap="none" spc="0" normalizeH="0" baseline="0" noProof="0">
              <a:ln>
                <a:noFill/>
              </a:ln>
              <a:solidFill>
                <a:srgbClr val="000000"/>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p:txBody>
      </p:sp>
      <p:grpSp>
        <p:nvGrpSpPr>
          <p:cNvPr id="126" name="组合 125">
            <a:extLst>
              <a:ext uri="{FF2B5EF4-FFF2-40B4-BE49-F238E27FC236}">
                <a16:creationId xmlns:a16="http://schemas.microsoft.com/office/drawing/2014/main" id="{D691FF20-0B73-4FBB-9FB5-CD248425F9C3}"/>
              </a:ext>
            </a:extLst>
          </p:cNvPr>
          <p:cNvGrpSpPr>
            <a:grpSpLocks/>
          </p:cNvGrpSpPr>
          <p:nvPr/>
        </p:nvGrpSpPr>
        <p:grpSpPr>
          <a:xfrm>
            <a:off x="5498118" y="2565400"/>
            <a:ext cx="255270" cy="2302163"/>
            <a:chOff x="2297718" y="2578100"/>
            <a:chExt cx="255270" cy="2302163"/>
          </a:xfrm>
        </p:grpSpPr>
        <p:sp>
          <p:nvSpPr>
            <p:cNvPr id="127" name="椭圆 126">
              <a:extLst>
                <a:ext uri="{FF2B5EF4-FFF2-40B4-BE49-F238E27FC236}">
                  <a16:creationId xmlns:a16="http://schemas.microsoft.com/office/drawing/2014/main" id="{A7E70C38-9B50-4393-BD4D-C349667F5B2D}"/>
                </a:ext>
              </a:extLst>
            </p:cNvPr>
            <p:cNvSpPr>
              <a:spLocks/>
            </p:cNvSpPr>
            <p:nvPr/>
          </p:nvSpPr>
          <p:spPr>
            <a:xfrm>
              <a:off x="2447925" y="2578100"/>
              <a:ext cx="105063" cy="10506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Arial" panose="020F0502020204030204"/>
                <a:ea typeface="微软雅黑"/>
                <a:cs typeface="+mn-cs"/>
              </a:endParaRPr>
            </a:p>
          </p:txBody>
        </p:sp>
        <p:sp>
          <p:nvSpPr>
            <p:cNvPr id="128" name="椭圆 127">
              <a:extLst>
                <a:ext uri="{FF2B5EF4-FFF2-40B4-BE49-F238E27FC236}">
                  <a16:creationId xmlns:a16="http://schemas.microsoft.com/office/drawing/2014/main" id="{20920792-D684-4B3D-9823-9BA1B8CDA4A9}"/>
                </a:ext>
              </a:extLst>
            </p:cNvPr>
            <p:cNvSpPr>
              <a:spLocks/>
            </p:cNvSpPr>
            <p:nvPr/>
          </p:nvSpPr>
          <p:spPr>
            <a:xfrm>
              <a:off x="2387600" y="4775200"/>
              <a:ext cx="105063" cy="10506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Arial" panose="020F0502020204030204"/>
                <a:ea typeface="微软雅黑"/>
                <a:cs typeface="+mn-cs"/>
              </a:endParaRPr>
            </a:p>
          </p:txBody>
        </p:sp>
        <p:sp>
          <p:nvSpPr>
            <p:cNvPr id="129" name="椭圆 128">
              <a:extLst>
                <a:ext uri="{FF2B5EF4-FFF2-40B4-BE49-F238E27FC236}">
                  <a16:creationId xmlns:a16="http://schemas.microsoft.com/office/drawing/2014/main" id="{3FB7A505-4E45-49A6-BE85-69C4CAED0A8D}"/>
                </a:ext>
              </a:extLst>
            </p:cNvPr>
            <p:cNvSpPr>
              <a:spLocks/>
            </p:cNvSpPr>
            <p:nvPr/>
          </p:nvSpPr>
          <p:spPr>
            <a:xfrm>
              <a:off x="2321693" y="3238500"/>
              <a:ext cx="105063" cy="10506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Arial" panose="020F0502020204030204"/>
                <a:ea typeface="微软雅黑"/>
                <a:cs typeface="+mn-cs"/>
              </a:endParaRPr>
            </a:p>
          </p:txBody>
        </p:sp>
        <p:sp>
          <p:nvSpPr>
            <p:cNvPr id="130" name="椭圆 129">
              <a:extLst>
                <a:ext uri="{FF2B5EF4-FFF2-40B4-BE49-F238E27FC236}">
                  <a16:creationId xmlns:a16="http://schemas.microsoft.com/office/drawing/2014/main" id="{54391B8D-BA2D-46D6-936E-D9E23BACAB06}"/>
                </a:ext>
              </a:extLst>
            </p:cNvPr>
            <p:cNvSpPr>
              <a:spLocks/>
            </p:cNvSpPr>
            <p:nvPr/>
          </p:nvSpPr>
          <p:spPr>
            <a:xfrm>
              <a:off x="2297718" y="4102100"/>
              <a:ext cx="105063" cy="10506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Arial" panose="020F0502020204030204"/>
                <a:ea typeface="微软雅黑"/>
                <a:cs typeface="+mn-cs"/>
              </a:endParaRPr>
            </a:p>
          </p:txBody>
        </p:sp>
      </p:grpSp>
      <p:sp>
        <p:nvSpPr>
          <p:cNvPr id="40" name="Object 1039">
            <a:extLst>
              <a:ext uri="{FF2B5EF4-FFF2-40B4-BE49-F238E27FC236}">
                <a16:creationId xmlns:a16="http://schemas.microsoft.com/office/drawing/2014/main" id="{AA174647-B0D2-4288-912D-F9FFF8C08080}"/>
              </a:ext>
            </a:extLst>
          </p:cNvPr>
          <p:cNvSpPr txBox="1"/>
          <p:nvPr/>
        </p:nvSpPr>
        <p:spPr>
          <a:xfrm>
            <a:off x="5890220" y="1412655"/>
            <a:ext cx="1207450" cy="368590"/>
          </a:xfrm>
          <a:prstGeom prst="rect">
            <a:avLst/>
          </a:prstGeom>
        </p:spPr>
        <p:txBody>
          <a:bodyPr vert="horz" lIns="0" tIns="0" rIns="0" bIns="0"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2400" b="0" i="0" u="none" strike="noStrike" kern="1200" cap="none" spc="48" normalizeH="0" baseline="0" noProof="0" dirty="0">
                <a:ln>
                  <a:noFill/>
                </a:ln>
                <a:solidFill>
                  <a:srgbClr val="313131"/>
                </a:solidFill>
                <a:effectLst/>
                <a:uLnTx/>
                <a:uFillTx/>
                <a:latin typeface="OPPOSans B" panose="00020600040101010101" pitchFamily="18" charset="-122"/>
                <a:ea typeface="OPPOSans B" panose="00020600040101010101" pitchFamily="18" charset="-122"/>
                <a:cs typeface="OPPOSans B" panose="00020600040101010101" pitchFamily="18" charset="-122"/>
              </a:rPr>
              <a:t>竞品</a:t>
            </a:r>
            <a:endParaRPr kumimoji="0" lang="zh-CN" altLang="en-US" sz="1000" b="0" i="0" u="none" strike="noStrike" kern="1200" cap="none" spc="0" normalizeH="0" baseline="0" noProof="0">
              <a:ln>
                <a:noFill/>
              </a:ln>
              <a:solidFill>
                <a:srgbClr val="000000"/>
              </a:solidFill>
              <a:effectLst/>
              <a:uLnTx/>
              <a:uFillTx/>
              <a:latin typeface="OPPOSans B" panose="00020600040101010101" pitchFamily="18" charset="-122"/>
              <a:ea typeface="OPPOSans B" panose="00020600040101010101" pitchFamily="18" charset="-122"/>
              <a:cs typeface="OPPOSans B" panose="00020600040101010101" pitchFamily="18" charset="-122"/>
            </a:endParaRPr>
          </a:p>
        </p:txBody>
      </p:sp>
      <p:sp>
        <p:nvSpPr>
          <p:cNvPr id="41" name="Object 1040">
            <a:extLst>
              <a:ext uri="{FF2B5EF4-FFF2-40B4-BE49-F238E27FC236}">
                <a16:creationId xmlns:a16="http://schemas.microsoft.com/office/drawing/2014/main" id="{E303F6D0-3E99-4667-AF63-B999B0120328}"/>
              </a:ext>
            </a:extLst>
          </p:cNvPr>
          <p:cNvSpPr txBox="1"/>
          <p:nvPr/>
        </p:nvSpPr>
        <p:spPr>
          <a:xfrm>
            <a:off x="5890220" y="6016405"/>
            <a:ext cx="1207450" cy="368590"/>
          </a:xfrm>
          <a:prstGeom prst="rect">
            <a:avLst/>
          </a:prstGeom>
        </p:spPr>
        <p:txBody>
          <a:bodyPr vert="horz" lIns="0" tIns="0" rIns="0" bIns="0"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2400" b="0" i="0" u="none" strike="noStrike" kern="1200" cap="none" spc="48" normalizeH="0" baseline="0" noProof="0" dirty="0">
                <a:ln>
                  <a:noFill/>
                </a:ln>
                <a:solidFill>
                  <a:srgbClr val="313131"/>
                </a:solidFill>
                <a:effectLst/>
                <a:uLnTx/>
                <a:uFillTx/>
                <a:latin typeface="OPPOSans B" panose="00020600040101010101" pitchFamily="18" charset="-122"/>
                <a:ea typeface="OPPOSans B" panose="00020600040101010101" pitchFamily="18" charset="-122"/>
                <a:cs typeface="OPPOSans B" panose="00020600040101010101" pitchFamily="18" charset="-122"/>
              </a:rPr>
              <a:t>竞品</a:t>
            </a:r>
            <a:endParaRPr kumimoji="0" lang="zh-CN" altLang="en-US" sz="1000" b="0" i="0" u="none" strike="noStrike" kern="1200" cap="none" spc="0" normalizeH="0" baseline="0" noProof="0" dirty="0">
              <a:ln>
                <a:noFill/>
              </a:ln>
              <a:solidFill>
                <a:srgbClr val="000000"/>
              </a:solidFill>
              <a:effectLst/>
              <a:uLnTx/>
              <a:uFillTx/>
              <a:latin typeface="OPPOSans B" panose="00020600040101010101" pitchFamily="18" charset="-122"/>
              <a:ea typeface="OPPOSans B" panose="00020600040101010101" pitchFamily="18" charset="-122"/>
              <a:cs typeface="OPPOSans B" panose="00020600040101010101" pitchFamily="18" charset="-122"/>
            </a:endParaRPr>
          </a:p>
        </p:txBody>
      </p:sp>
      <p:sp>
        <p:nvSpPr>
          <p:cNvPr id="42" name="Object 1041">
            <a:extLst>
              <a:ext uri="{FF2B5EF4-FFF2-40B4-BE49-F238E27FC236}">
                <a16:creationId xmlns:a16="http://schemas.microsoft.com/office/drawing/2014/main" id="{D1FCFF85-9ED9-4A4E-BDBF-634E926285B8}"/>
              </a:ext>
            </a:extLst>
          </p:cNvPr>
          <p:cNvSpPr txBox="1"/>
          <p:nvPr/>
        </p:nvSpPr>
        <p:spPr>
          <a:xfrm>
            <a:off x="5914430" y="2547024"/>
            <a:ext cx="1123081" cy="216070"/>
          </a:xfrm>
          <a:prstGeom prst="rect">
            <a:avLst/>
          </a:prstGeom>
        </p:spPr>
        <p:txBody>
          <a:bodyPr vert="horz" lIns="0" tIns="0" rIns="0" bIns="0"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200" b="0" i="0" u="none" strike="noStrike" kern="1200" cap="none" spc="28" normalizeH="0" baseline="0" noProof="0" dirty="0">
                <a:ln>
                  <a:noFill/>
                </a:ln>
                <a:solidFill>
                  <a:srgbClr val="626262"/>
                </a:solidFill>
                <a:effectLst/>
                <a:uLnTx/>
                <a:uFillTx/>
                <a:latin typeface="OPPOSans R" panose="00020600040101010101" pitchFamily="18" charset="-122"/>
                <a:ea typeface="OPPOSans R" panose="00020600040101010101" pitchFamily="18" charset="-122"/>
                <a:cs typeface="OPPOSans R" panose="00020600040101010101" pitchFamily="18" charset="-122"/>
              </a:rPr>
              <a:t>宣传到位</a:t>
            </a:r>
            <a:endParaRPr kumimoji="0" lang="zh-CN" altLang="en-US" sz="1000" b="0" i="0" u="none" strike="noStrike" kern="1200" cap="none" spc="0" normalizeH="0" baseline="0" noProof="0" dirty="0">
              <a:ln>
                <a:noFill/>
              </a:ln>
              <a:solidFill>
                <a:srgbClr val="000000"/>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p:txBody>
      </p:sp>
      <p:sp>
        <p:nvSpPr>
          <p:cNvPr id="43" name="Object 1042">
            <a:extLst>
              <a:ext uri="{FF2B5EF4-FFF2-40B4-BE49-F238E27FC236}">
                <a16:creationId xmlns:a16="http://schemas.microsoft.com/office/drawing/2014/main" id="{B47DB34F-1791-41A8-89BF-F1933CBCB319}"/>
              </a:ext>
            </a:extLst>
          </p:cNvPr>
          <p:cNvSpPr txBox="1"/>
          <p:nvPr/>
        </p:nvSpPr>
        <p:spPr>
          <a:xfrm>
            <a:off x="5766098" y="3206730"/>
            <a:ext cx="1271527" cy="216070"/>
          </a:xfrm>
          <a:prstGeom prst="rect">
            <a:avLst/>
          </a:prstGeom>
        </p:spPr>
        <p:txBody>
          <a:bodyPr vert="horz" lIns="0" tIns="0" rIns="0" bIns="0"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200" b="0" i="0" u="none" strike="noStrike" kern="1200" cap="none" spc="28" normalizeH="0" baseline="0" noProof="0" dirty="0">
                <a:ln>
                  <a:noFill/>
                </a:ln>
                <a:solidFill>
                  <a:srgbClr val="626262"/>
                </a:solidFill>
                <a:effectLst/>
                <a:uLnTx/>
                <a:uFillTx/>
                <a:latin typeface="OPPOSans R" panose="00020600040101010101" pitchFamily="18" charset="-122"/>
                <a:ea typeface="OPPOSans R" panose="00020600040101010101" pitchFamily="18" charset="-122"/>
                <a:cs typeface="OPPOSans R" panose="00020600040101010101" pitchFamily="18" charset="-122"/>
              </a:rPr>
              <a:t>质量较好</a:t>
            </a:r>
            <a:endParaRPr kumimoji="0" lang="zh-CN" altLang="en-US" sz="1000" b="0" i="0" u="none" strike="noStrike" kern="1200" cap="none" spc="0" normalizeH="0" baseline="0" noProof="0">
              <a:ln>
                <a:noFill/>
              </a:ln>
              <a:solidFill>
                <a:srgbClr val="000000"/>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p:txBody>
      </p:sp>
      <p:sp>
        <p:nvSpPr>
          <p:cNvPr id="44" name="Object 1043">
            <a:extLst>
              <a:ext uri="{FF2B5EF4-FFF2-40B4-BE49-F238E27FC236}">
                <a16:creationId xmlns:a16="http://schemas.microsoft.com/office/drawing/2014/main" id="{3BCD179A-92FD-4E15-80E6-7B363D27396D}"/>
              </a:ext>
            </a:extLst>
          </p:cNvPr>
          <p:cNvSpPr txBox="1"/>
          <p:nvPr/>
        </p:nvSpPr>
        <p:spPr>
          <a:xfrm>
            <a:off x="5762724" y="4071322"/>
            <a:ext cx="1274908" cy="216070"/>
          </a:xfrm>
          <a:prstGeom prst="rect">
            <a:avLst/>
          </a:prstGeom>
        </p:spPr>
        <p:txBody>
          <a:bodyPr vert="horz" lIns="0" tIns="0" rIns="0" bIns="0"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200" b="0" i="0" u="none" strike="noStrike" kern="1200" cap="none" spc="28" normalizeH="0" baseline="0" noProof="0" dirty="0">
                <a:ln>
                  <a:noFill/>
                </a:ln>
                <a:solidFill>
                  <a:srgbClr val="626262"/>
                </a:solidFill>
                <a:effectLst/>
                <a:uLnTx/>
                <a:uFillTx/>
                <a:latin typeface="OPPOSans R" panose="00020600040101010101" pitchFamily="18" charset="-122"/>
                <a:ea typeface="OPPOSans R" panose="00020600040101010101" pitchFamily="18" charset="-122"/>
                <a:cs typeface="OPPOSans R" panose="00020600040101010101" pitchFamily="18" charset="-122"/>
              </a:rPr>
              <a:t>品牌意识强</a:t>
            </a:r>
            <a:endParaRPr kumimoji="0" lang="zh-CN" altLang="en-US" sz="1000" b="0" i="0" u="none" strike="noStrike" kern="1200" cap="none" spc="0" normalizeH="0" baseline="0" noProof="0" dirty="0">
              <a:ln>
                <a:noFill/>
              </a:ln>
              <a:solidFill>
                <a:srgbClr val="000000"/>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p:txBody>
      </p:sp>
      <p:sp>
        <p:nvSpPr>
          <p:cNvPr id="45" name="Object 1044">
            <a:extLst>
              <a:ext uri="{FF2B5EF4-FFF2-40B4-BE49-F238E27FC236}">
                <a16:creationId xmlns:a16="http://schemas.microsoft.com/office/drawing/2014/main" id="{F805FDCD-0B5C-4D48-8D2D-9359045E234E}"/>
              </a:ext>
            </a:extLst>
          </p:cNvPr>
          <p:cNvSpPr txBox="1"/>
          <p:nvPr/>
        </p:nvSpPr>
        <p:spPr>
          <a:xfrm>
            <a:off x="5921474" y="4731722"/>
            <a:ext cx="1116033" cy="241490"/>
          </a:xfrm>
          <a:prstGeom prst="rect">
            <a:avLst/>
          </a:prstGeom>
        </p:spPr>
        <p:txBody>
          <a:bodyPr vert="horz" lIns="0" tIns="0" rIns="0" bIns="0" rtlCol="0" anchor="t" anchorCtr="0">
            <a:noAutofit/>
          </a:bodyPr>
          <a:lstStyle/>
          <a:p>
            <a:pPr marL="0" marR="0" lvl="0" indent="0" algn="l" defTabSz="914400" rtl="0" eaLnBrk="1" fontAlgn="auto" latinLnBrk="0" hangingPunct="1">
              <a:lnSpc>
                <a:spcPct val="113333"/>
              </a:lnSpc>
              <a:spcBef>
                <a:spcPts val="0"/>
              </a:spcBef>
              <a:spcAft>
                <a:spcPts val="0"/>
              </a:spcAft>
              <a:buClrTx/>
              <a:buSzTx/>
              <a:buFontTx/>
              <a:buNone/>
              <a:tabLst/>
              <a:defRPr/>
            </a:pPr>
            <a:r>
              <a:rPr kumimoji="0" lang="zh-CN" altLang="en-US" sz="1200" b="0" i="0" u="none" strike="noStrike" kern="1200" cap="none" spc="28" normalizeH="0" baseline="0" noProof="0" dirty="0">
                <a:ln>
                  <a:noFill/>
                </a:ln>
                <a:solidFill>
                  <a:srgbClr val="626262"/>
                </a:solidFill>
                <a:effectLst/>
                <a:uLnTx/>
                <a:uFillTx/>
                <a:latin typeface="OPPOSans R" panose="00020600040101010101" pitchFamily="18" charset="-122"/>
                <a:ea typeface="OPPOSans R" panose="00020600040101010101" pitchFamily="18" charset="-122"/>
                <a:cs typeface="OPPOSans R" panose="00020600040101010101" pitchFamily="18" charset="-122"/>
              </a:rPr>
              <a:t>品牌知名度高</a:t>
            </a:r>
            <a:endParaRPr kumimoji="0" lang="zh-CN" altLang="en-US" sz="1000" b="0" i="0" u="none" strike="noStrike" kern="1200" cap="none" spc="0" normalizeH="0" baseline="0" noProof="0">
              <a:ln>
                <a:noFill/>
              </a:ln>
              <a:solidFill>
                <a:srgbClr val="000000"/>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p:txBody>
      </p:sp>
      <p:grpSp>
        <p:nvGrpSpPr>
          <p:cNvPr id="131" name="组合 130">
            <a:extLst>
              <a:ext uri="{FF2B5EF4-FFF2-40B4-BE49-F238E27FC236}">
                <a16:creationId xmlns:a16="http://schemas.microsoft.com/office/drawing/2014/main" id="{A1C56529-CBFA-449C-8E36-A6A0C80A8D9B}"/>
              </a:ext>
            </a:extLst>
          </p:cNvPr>
          <p:cNvGrpSpPr>
            <a:grpSpLocks/>
          </p:cNvGrpSpPr>
          <p:nvPr/>
        </p:nvGrpSpPr>
        <p:grpSpPr>
          <a:xfrm>
            <a:off x="7073900" y="2578100"/>
            <a:ext cx="297841" cy="1629063"/>
            <a:chOff x="2260600" y="2578100"/>
            <a:chExt cx="297841" cy="1629063"/>
          </a:xfrm>
        </p:grpSpPr>
        <p:sp>
          <p:nvSpPr>
            <p:cNvPr id="132" name="椭圆 131">
              <a:extLst>
                <a:ext uri="{FF2B5EF4-FFF2-40B4-BE49-F238E27FC236}">
                  <a16:creationId xmlns:a16="http://schemas.microsoft.com/office/drawing/2014/main" id="{C26B8FD1-FD77-46A4-BF63-AF3FD64E5E2C}"/>
                </a:ext>
              </a:extLst>
            </p:cNvPr>
            <p:cNvSpPr>
              <a:spLocks/>
            </p:cNvSpPr>
            <p:nvPr/>
          </p:nvSpPr>
          <p:spPr>
            <a:xfrm>
              <a:off x="2453378" y="2578100"/>
              <a:ext cx="105063" cy="10506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Arial" panose="020F0502020204030204"/>
                <a:ea typeface="微软雅黑"/>
                <a:cs typeface="+mn-cs"/>
              </a:endParaRPr>
            </a:p>
          </p:txBody>
        </p:sp>
        <p:sp>
          <p:nvSpPr>
            <p:cNvPr id="134" name="椭圆 133">
              <a:extLst>
                <a:ext uri="{FF2B5EF4-FFF2-40B4-BE49-F238E27FC236}">
                  <a16:creationId xmlns:a16="http://schemas.microsoft.com/office/drawing/2014/main" id="{FE045C01-8385-4B2D-8DC1-160FC88C42D9}"/>
                </a:ext>
              </a:extLst>
            </p:cNvPr>
            <p:cNvSpPr>
              <a:spLocks/>
            </p:cNvSpPr>
            <p:nvPr/>
          </p:nvSpPr>
          <p:spPr>
            <a:xfrm>
              <a:off x="2295684" y="3238500"/>
              <a:ext cx="105063" cy="10506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Arial" panose="020F0502020204030204"/>
                <a:ea typeface="微软雅黑"/>
                <a:cs typeface="+mn-cs"/>
              </a:endParaRPr>
            </a:p>
          </p:txBody>
        </p:sp>
        <p:sp>
          <p:nvSpPr>
            <p:cNvPr id="135" name="椭圆 134">
              <a:extLst>
                <a:ext uri="{FF2B5EF4-FFF2-40B4-BE49-F238E27FC236}">
                  <a16:creationId xmlns:a16="http://schemas.microsoft.com/office/drawing/2014/main" id="{9CFB1644-7009-40C6-B5F9-100DEF6DAFDE}"/>
                </a:ext>
              </a:extLst>
            </p:cNvPr>
            <p:cNvSpPr>
              <a:spLocks/>
            </p:cNvSpPr>
            <p:nvPr/>
          </p:nvSpPr>
          <p:spPr>
            <a:xfrm>
              <a:off x="2260600" y="4102100"/>
              <a:ext cx="105063" cy="10506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Arial" panose="020F0502020204030204"/>
                <a:ea typeface="微软雅黑"/>
                <a:cs typeface="+mn-cs"/>
              </a:endParaRPr>
            </a:p>
          </p:txBody>
        </p:sp>
      </p:grpSp>
      <p:sp>
        <p:nvSpPr>
          <p:cNvPr id="51" name="Object 1050">
            <a:extLst>
              <a:ext uri="{FF2B5EF4-FFF2-40B4-BE49-F238E27FC236}">
                <a16:creationId xmlns:a16="http://schemas.microsoft.com/office/drawing/2014/main" id="{08527415-058F-408E-A8EB-17834CDEF546}"/>
              </a:ext>
            </a:extLst>
          </p:cNvPr>
          <p:cNvSpPr txBox="1"/>
          <p:nvPr/>
        </p:nvSpPr>
        <p:spPr>
          <a:xfrm>
            <a:off x="7383165" y="1713883"/>
            <a:ext cx="1207450" cy="368590"/>
          </a:xfrm>
          <a:prstGeom prst="rect">
            <a:avLst/>
          </a:prstGeom>
        </p:spPr>
        <p:txBody>
          <a:bodyPr vert="horz" lIns="0" tIns="0" rIns="0" bIns="0"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2400" b="0" i="0" u="none" strike="noStrike" kern="1200" cap="none" spc="48" normalizeH="0" baseline="0" noProof="0" dirty="0">
                <a:ln>
                  <a:noFill/>
                </a:ln>
                <a:solidFill>
                  <a:srgbClr val="313131"/>
                </a:solidFill>
                <a:effectLst/>
                <a:uLnTx/>
                <a:uFillTx/>
                <a:latin typeface="OPPOSans B" panose="00020600040101010101" pitchFamily="18" charset="-122"/>
                <a:ea typeface="OPPOSans B" panose="00020600040101010101" pitchFamily="18" charset="-122"/>
                <a:cs typeface="OPPOSans B" panose="00020600040101010101" pitchFamily="18" charset="-122"/>
              </a:rPr>
              <a:t>企业</a:t>
            </a:r>
            <a:endParaRPr kumimoji="0" lang="zh-CN" altLang="en-US" sz="1000" b="0" i="0" u="none" strike="noStrike" kern="1200" cap="none" spc="0" normalizeH="0" baseline="0" noProof="0">
              <a:ln>
                <a:noFill/>
              </a:ln>
              <a:solidFill>
                <a:srgbClr val="000000"/>
              </a:solidFill>
              <a:effectLst/>
              <a:uLnTx/>
              <a:uFillTx/>
              <a:latin typeface="OPPOSans B" panose="00020600040101010101" pitchFamily="18" charset="-122"/>
              <a:ea typeface="OPPOSans B" panose="00020600040101010101" pitchFamily="18" charset="-122"/>
              <a:cs typeface="OPPOSans B" panose="00020600040101010101" pitchFamily="18" charset="-122"/>
            </a:endParaRPr>
          </a:p>
        </p:txBody>
      </p:sp>
      <p:sp>
        <p:nvSpPr>
          <p:cNvPr id="52" name="Object 1051">
            <a:extLst>
              <a:ext uri="{FF2B5EF4-FFF2-40B4-BE49-F238E27FC236}">
                <a16:creationId xmlns:a16="http://schemas.microsoft.com/office/drawing/2014/main" id="{F6B88114-B440-472D-84A0-3C3689A860CD}"/>
              </a:ext>
            </a:extLst>
          </p:cNvPr>
          <p:cNvSpPr txBox="1"/>
          <p:nvPr/>
        </p:nvSpPr>
        <p:spPr>
          <a:xfrm>
            <a:off x="7383165" y="5714383"/>
            <a:ext cx="1207450" cy="368590"/>
          </a:xfrm>
          <a:prstGeom prst="rect">
            <a:avLst/>
          </a:prstGeom>
        </p:spPr>
        <p:txBody>
          <a:bodyPr vert="horz" lIns="0" tIns="0" rIns="0" bIns="0"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2400" b="0" i="0" u="none" strike="noStrike" kern="1200" cap="none" spc="48" normalizeH="0" baseline="0" noProof="0" dirty="0">
                <a:ln>
                  <a:noFill/>
                </a:ln>
                <a:solidFill>
                  <a:srgbClr val="313131"/>
                </a:solidFill>
                <a:effectLst/>
                <a:uLnTx/>
                <a:uFillTx/>
                <a:latin typeface="OPPOSans B" panose="00020600040101010101" pitchFamily="18" charset="-122"/>
                <a:ea typeface="OPPOSans B" panose="00020600040101010101" pitchFamily="18" charset="-122"/>
                <a:cs typeface="OPPOSans B" panose="00020600040101010101" pitchFamily="18" charset="-122"/>
              </a:rPr>
              <a:t>企业</a:t>
            </a:r>
            <a:endParaRPr kumimoji="0" lang="zh-CN" altLang="en-US" sz="1000" b="0" i="0" u="none" strike="noStrike" kern="1200" cap="none" spc="0" normalizeH="0" baseline="0" noProof="0">
              <a:ln>
                <a:noFill/>
              </a:ln>
              <a:solidFill>
                <a:srgbClr val="000000"/>
              </a:solidFill>
              <a:effectLst/>
              <a:uLnTx/>
              <a:uFillTx/>
              <a:latin typeface="OPPOSans B" panose="00020600040101010101" pitchFamily="18" charset="-122"/>
              <a:ea typeface="OPPOSans B" panose="00020600040101010101" pitchFamily="18" charset="-122"/>
              <a:cs typeface="OPPOSans B" panose="00020600040101010101" pitchFamily="18" charset="-122"/>
            </a:endParaRPr>
          </a:p>
        </p:txBody>
      </p:sp>
      <p:sp>
        <p:nvSpPr>
          <p:cNvPr id="53" name="Object 1052">
            <a:extLst>
              <a:ext uri="{FF2B5EF4-FFF2-40B4-BE49-F238E27FC236}">
                <a16:creationId xmlns:a16="http://schemas.microsoft.com/office/drawing/2014/main" id="{8E26EA1A-055C-4191-A360-18EEA1B312B9}"/>
              </a:ext>
            </a:extLst>
          </p:cNvPr>
          <p:cNvSpPr txBox="1"/>
          <p:nvPr/>
        </p:nvSpPr>
        <p:spPr>
          <a:xfrm>
            <a:off x="7509272" y="2547322"/>
            <a:ext cx="1172459" cy="241490"/>
          </a:xfrm>
          <a:prstGeom prst="rect">
            <a:avLst/>
          </a:prstGeom>
        </p:spPr>
        <p:txBody>
          <a:bodyPr vert="horz" lIns="0" tIns="0" rIns="0" bIns="0" rtlCol="0" anchor="t" anchorCtr="0">
            <a:noAutofit/>
          </a:bodyPr>
          <a:lstStyle/>
          <a:p>
            <a:pPr marL="0" marR="0" lvl="0" indent="0" algn="l" defTabSz="914400" rtl="0" eaLnBrk="1" fontAlgn="auto" latinLnBrk="0" hangingPunct="1">
              <a:lnSpc>
                <a:spcPct val="113333"/>
              </a:lnSpc>
              <a:spcBef>
                <a:spcPts val="0"/>
              </a:spcBef>
              <a:spcAft>
                <a:spcPts val="0"/>
              </a:spcAft>
              <a:buClrTx/>
              <a:buSzTx/>
              <a:buFontTx/>
              <a:buNone/>
              <a:tabLst/>
              <a:defRPr/>
            </a:pPr>
            <a:r>
              <a:rPr kumimoji="0" lang="zh-CN" altLang="en-US" sz="1200" b="0" i="0" u="none" strike="noStrike" kern="1200" cap="none" spc="28" normalizeH="0" baseline="0" noProof="0" dirty="0">
                <a:ln>
                  <a:noFill/>
                </a:ln>
                <a:solidFill>
                  <a:srgbClr val="626262"/>
                </a:solidFill>
                <a:effectLst/>
                <a:uLnTx/>
                <a:uFillTx/>
                <a:latin typeface="OPPOSans R" panose="00020600040101010101" pitchFamily="18" charset="-122"/>
                <a:ea typeface="OPPOSans R" panose="00020600040101010101" pitchFamily="18" charset="-122"/>
                <a:cs typeface="OPPOSans R" panose="00020600040101010101" pitchFamily="18" charset="-122"/>
              </a:rPr>
              <a:t>战略眼光不足</a:t>
            </a:r>
            <a:endParaRPr kumimoji="0" lang="zh-CN" altLang="en-US" sz="1000" b="0" i="0" u="none" strike="noStrike" kern="1200" cap="none" spc="0" normalizeH="0" baseline="0" noProof="0">
              <a:ln>
                <a:noFill/>
              </a:ln>
              <a:solidFill>
                <a:srgbClr val="000000"/>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p:txBody>
      </p:sp>
      <p:sp>
        <p:nvSpPr>
          <p:cNvPr id="54" name="Object 1053">
            <a:extLst>
              <a:ext uri="{FF2B5EF4-FFF2-40B4-BE49-F238E27FC236}">
                <a16:creationId xmlns:a16="http://schemas.microsoft.com/office/drawing/2014/main" id="{026E7B12-5119-41B8-98E6-1D0339D05BAD}"/>
              </a:ext>
            </a:extLst>
          </p:cNvPr>
          <p:cNvSpPr txBox="1"/>
          <p:nvPr/>
        </p:nvSpPr>
        <p:spPr>
          <a:xfrm>
            <a:off x="7355880" y="3207722"/>
            <a:ext cx="1325971" cy="482980"/>
          </a:xfrm>
          <a:prstGeom prst="rect">
            <a:avLst/>
          </a:prstGeom>
        </p:spPr>
        <p:txBody>
          <a:bodyPr vert="horz" lIns="0" tIns="0" rIns="0" bIns="0" rtlCol="0" anchor="t" anchorCtr="0">
            <a:noAutofit/>
          </a:bodyPr>
          <a:lstStyle/>
          <a:p>
            <a:pPr marL="0" marR="0" lvl="0" indent="0" algn="l" defTabSz="914400" rtl="0" eaLnBrk="1" fontAlgn="auto" latinLnBrk="0" hangingPunct="1">
              <a:lnSpc>
                <a:spcPct val="113333"/>
              </a:lnSpc>
              <a:spcBef>
                <a:spcPts val="0"/>
              </a:spcBef>
              <a:spcAft>
                <a:spcPts val="0"/>
              </a:spcAft>
              <a:buClrTx/>
              <a:buSzTx/>
              <a:buFontTx/>
              <a:buNone/>
              <a:tabLst/>
              <a:defRPr/>
            </a:pPr>
            <a:r>
              <a:rPr kumimoji="0" lang="zh-CN" altLang="en-US" sz="1200" b="0" i="0" u="none" strike="noStrike" kern="1200" cap="none" spc="28" normalizeH="0" baseline="0" noProof="0" dirty="0">
                <a:ln>
                  <a:noFill/>
                </a:ln>
                <a:solidFill>
                  <a:srgbClr val="626262"/>
                </a:solidFill>
                <a:effectLst/>
                <a:uLnTx/>
                <a:uFillTx/>
                <a:latin typeface="OPPOSans R" panose="00020600040101010101" pitchFamily="18" charset="-122"/>
                <a:ea typeface="OPPOSans R" panose="00020600040101010101" pitchFamily="18" charset="-122"/>
                <a:cs typeface="OPPOSans R" panose="00020600040101010101" pitchFamily="18" charset="-122"/>
              </a:rPr>
              <a:t>对员工奖励</a:t>
            </a:r>
            <a:endParaRPr kumimoji="0" lang="zh-CN" altLang="en-US" sz="1200" b="0" i="0" u="none" strike="noStrike" kern="1200" cap="none" spc="0" normalizeH="0" baseline="0" noProof="0">
              <a:ln>
                <a:noFill/>
              </a:ln>
              <a:solidFill>
                <a:srgbClr val="000000"/>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a:p>
            <a:pPr marL="0" marR="0" lvl="0" indent="0" algn="l" defTabSz="914400" rtl="0" eaLnBrk="1" fontAlgn="auto" latinLnBrk="0" hangingPunct="1">
              <a:lnSpc>
                <a:spcPct val="113333"/>
              </a:lnSpc>
              <a:spcBef>
                <a:spcPts val="0"/>
              </a:spcBef>
              <a:spcAft>
                <a:spcPts val="0"/>
              </a:spcAft>
              <a:buClrTx/>
              <a:buSzTx/>
              <a:buFontTx/>
              <a:buNone/>
              <a:tabLst/>
              <a:defRPr/>
            </a:pPr>
            <a:r>
              <a:rPr kumimoji="0" lang="zh-CN" altLang="en-US" sz="1200" b="0" i="0" u="none" strike="noStrike" kern="1200" cap="none" spc="28" normalizeH="0" baseline="0" noProof="0" dirty="0">
                <a:ln>
                  <a:noFill/>
                </a:ln>
                <a:solidFill>
                  <a:srgbClr val="626262"/>
                </a:solidFill>
                <a:effectLst/>
                <a:uLnTx/>
                <a:uFillTx/>
                <a:latin typeface="OPPOSans R" panose="00020600040101010101" pitchFamily="18" charset="-122"/>
                <a:ea typeface="OPPOSans R" panose="00020600040101010101" pitchFamily="18" charset="-122"/>
                <a:cs typeface="OPPOSans R" panose="00020600040101010101" pitchFamily="18" charset="-122"/>
              </a:rPr>
              <a:t>较低</a:t>
            </a:r>
            <a:endParaRPr kumimoji="0" lang="zh-CN" altLang="en-US" sz="1000" b="0" i="0" u="none" strike="noStrike" kern="1200" cap="none" spc="0" normalizeH="0" baseline="0" noProof="0">
              <a:ln>
                <a:noFill/>
              </a:ln>
              <a:solidFill>
                <a:srgbClr val="000000"/>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p:txBody>
      </p:sp>
      <p:sp>
        <p:nvSpPr>
          <p:cNvPr id="55" name="Object 1054">
            <a:extLst>
              <a:ext uri="{FF2B5EF4-FFF2-40B4-BE49-F238E27FC236}">
                <a16:creationId xmlns:a16="http://schemas.microsoft.com/office/drawing/2014/main" id="{4C6ECA34-1A86-492B-ACFC-A8F7C2151B4F}"/>
              </a:ext>
            </a:extLst>
          </p:cNvPr>
          <p:cNvSpPr txBox="1"/>
          <p:nvPr/>
        </p:nvSpPr>
        <p:spPr>
          <a:xfrm>
            <a:off x="7355880" y="4071322"/>
            <a:ext cx="1325971" cy="241490"/>
          </a:xfrm>
          <a:prstGeom prst="rect">
            <a:avLst/>
          </a:prstGeom>
        </p:spPr>
        <p:txBody>
          <a:bodyPr vert="horz" lIns="0" tIns="0" rIns="0" bIns="0" rtlCol="0" anchor="t" anchorCtr="0">
            <a:noAutofit/>
          </a:bodyPr>
          <a:lstStyle/>
          <a:p>
            <a:pPr marL="0" marR="0" lvl="0" indent="0" algn="l" defTabSz="914400" rtl="0" eaLnBrk="1" fontAlgn="auto" latinLnBrk="0" hangingPunct="1">
              <a:lnSpc>
                <a:spcPct val="113333"/>
              </a:lnSpc>
              <a:spcBef>
                <a:spcPts val="0"/>
              </a:spcBef>
              <a:spcAft>
                <a:spcPts val="0"/>
              </a:spcAft>
              <a:buClrTx/>
              <a:buSzTx/>
              <a:buFontTx/>
              <a:buNone/>
              <a:tabLst/>
              <a:defRPr/>
            </a:pPr>
            <a:r>
              <a:rPr kumimoji="0" lang="zh-CN" altLang="en-US" sz="1200" b="0" i="0" u="none" strike="noStrike" kern="1200" cap="none" spc="28" normalizeH="0" baseline="0" noProof="0" dirty="0">
                <a:ln>
                  <a:noFill/>
                </a:ln>
                <a:solidFill>
                  <a:srgbClr val="626262"/>
                </a:solidFill>
                <a:effectLst/>
                <a:uLnTx/>
                <a:uFillTx/>
                <a:latin typeface="OPPOSans R" panose="00020600040101010101" pitchFamily="18" charset="-122"/>
                <a:ea typeface="OPPOSans R" panose="00020600040101010101" pitchFamily="18" charset="-122"/>
                <a:cs typeface="OPPOSans R" panose="00020600040101010101" pitchFamily="18" charset="-122"/>
              </a:rPr>
              <a:t>研发资金较少</a:t>
            </a:r>
            <a:endParaRPr kumimoji="0" lang="zh-CN" altLang="en-US" sz="1000" b="0" i="0" u="none" strike="noStrike" kern="1200" cap="none" spc="0" normalizeH="0" baseline="0" noProof="0" dirty="0">
              <a:ln>
                <a:noFill/>
              </a:ln>
              <a:solidFill>
                <a:srgbClr val="000000"/>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p:txBody>
      </p:sp>
      <p:sp>
        <p:nvSpPr>
          <p:cNvPr id="136" name="椭圆 135">
            <a:extLst>
              <a:ext uri="{FF2B5EF4-FFF2-40B4-BE49-F238E27FC236}">
                <a16:creationId xmlns:a16="http://schemas.microsoft.com/office/drawing/2014/main" id="{D1E8C602-4959-4DD0-A02E-579333D29C70}"/>
              </a:ext>
            </a:extLst>
          </p:cNvPr>
          <p:cNvSpPr>
            <a:spLocks/>
          </p:cNvSpPr>
          <p:nvPr/>
        </p:nvSpPr>
        <p:spPr>
          <a:xfrm>
            <a:off x="8830468" y="2578100"/>
            <a:ext cx="105063" cy="10506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Arial" panose="020F0502020204030204"/>
              <a:ea typeface="微软雅黑"/>
              <a:cs typeface="+mn-cs"/>
            </a:endParaRPr>
          </a:p>
        </p:txBody>
      </p:sp>
      <p:sp>
        <p:nvSpPr>
          <p:cNvPr id="59" name="Object 1058">
            <a:extLst>
              <a:ext uri="{FF2B5EF4-FFF2-40B4-BE49-F238E27FC236}">
                <a16:creationId xmlns:a16="http://schemas.microsoft.com/office/drawing/2014/main" id="{1215C9FA-A944-4DB5-9B0F-0DA5C6924D29}"/>
              </a:ext>
            </a:extLst>
          </p:cNvPr>
          <p:cNvSpPr txBox="1"/>
          <p:nvPr/>
        </p:nvSpPr>
        <p:spPr>
          <a:xfrm>
            <a:off x="8899029" y="1903688"/>
            <a:ext cx="1207450" cy="368590"/>
          </a:xfrm>
          <a:prstGeom prst="rect">
            <a:avLst/>
          </a:prstGeom>
        </p:spPr>
        <p:txBody>
          <a:bodyPr vert="horz" lIns="0" tIns="0" rIns="0" bIns="0"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2400" b="0" i="0" u="none" strike="noStrike" kern="1200" cap="none" spc="48" normalizeH="0" baseline="0" noProof="0" dirty="0">
                <a:ln>
                  <a:noFill/>
                </a:ln>
                <a:solidFill>
                  <a:srgbClr val="313131"/>
                </a:solidFill>
                <a:effectLst/>
                <a:uLnTx/>
                <a:uFillTx/>
                <a:latin typeface="OPPOSans B" panose="00020600040101010101" pitchFamily="18" charset="-122"/>
                <a:ea typeface="OPPOSans B" panose="00020600040101010101" pitchFamily="18" charset="-122"/>
                <a:cs typeface="OPPOSans B" panose="00020600040101010101" pitchFamily="18" charset="-122"/>
              </a:rPr>
              <a:t>客户</a:t>
            </a:r>
            <a:endParaRPr kumimoji="0" lang="zh-CN" altLang="en-US" sz="1000" b="0" i="0" u="none" strike="noStrike" kern="1200" cap="none" spc="0" normalizeH="0" baseline="0" noProof="0">
              <a:ln>
                <a:noFill/>
              </a:ln>
              <a:solidFill>
                <a:srgbClr val="000000"/>
              </a:solidFill>
              <a:effectLst/>
              <a:uLnTx/>
              <a:uFillTx/>
              <a:latin typeface="OPPOSans B" panose="00020600040101010101" pitchFamily="18" charset="-122"/>
              <a:ea typeface="OPPOSans B" panose="00020600040101010101" pitchFamily="18" charset="-122"/>
              <a:cs typeface="OPPOSans B" panose="00020600040101010101" pitchFamily="18" charset="-122"/>
            </a:endParaRPr>
          </a:p>
        </p:txBody>
      </p:sp>
      <p:sp>
        <p:nvSpPr>
          <p:cNvPr id="60" name="Object 1059">
            <a:extLst>
              <a:ext uri="{FF2B5EF4-FFF2-40B4-BE49-F238E27FC236}">
                <a16:creationId xmlns:a16="http://schemas.microsoft.com/office/drawing/2014/main" id="{3F370FAC-C0DB-49E3-958C-52FBED1D43DB}"/>
              </a:ext>
            </a:extLst>
          </p:cNvPr>
          <p:cNvSpPr txBox="1"/>
          <p:nvPr/>
        </p:nvSpPr>
        <p:spPr>
          <a:xfrm>
            <a:off x="8899029" y="5542238"/>
            <a:ext cx="1531555" cy="368590"/>
          </a:xfrm>
          <a:prstGeom prst="rect">
            <a:avLst/>
          </a:prstGeom>
        </p:spPr>
        <p:txBody>
          <a:bodyPr vert="horz" lIns="0" tIns="0" rIns="0" bIns="0"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2400" b="0" i="0" u="none" strike="noStrike" kern="1200" cap="none" spc="48" normalizeH="0" baseline="0" noProof="0" dirty="0">
                <a:ln>
                  <a:noFill/>
                </a:ln>
                <a:solidFill>
                  <a:srgbClr val="313131"/>
                </a:solidFill>
                <a:effectLst/>
                <a:uLnTx/>
                <a:uFillTx/>
                <a:latin typeface="OPPOSans B" panose="00020600040101010101" pitchFamily="18" charset="-122"/>
                <a:ea typeface="OPPOSans B" panose="00020600040101010101" pitchFamily="18" charset="-122"/>
                <a:cs typeface="OPPOSans B" panose="00020600040101010101" pitchFamily="18" charset="-122"/>
              </a:rPr>
              <a:t>客户</a:t>
            </a:r>
            <a:endParaRPr kumimoji="0" lang="zh-CN" altLang="en-US" sz="1000" b="0" i="0" u="none" strike="noStrike" kern="1200" cap="none" spc="0" normalizeH="0" baseline="0" noProof="0" dirty="0">
              <a:ln>
                <a:noFill/>
              </a:ln>
              <a:solidFill>
                <a:srgbClr val="000000"/>
              </a:solidFill>
              <a:effectLst/>
              <a:uLnTx/>
              <a:uFillTx/>
              <a:latin typeface="OPPOSans B" panose="00020600040101010101" pitchFamily="18" charset="-122"/>
              <a:ea typeface="OPPOSans B" panose="00020600040101010101" pitchFamily="18" charset="-122"/>
              <a:cs typeface="OPPOSans B" panose="00020600040101010101" pitchFamily="18" charset="-122"/>
            </a:endParaRPr>
          </a:p>
        </p:txBody>
      </p:sp>
      <p:sp>
        <p:nvSpPr>
          <p:cNvPr id="61" name="Object 1060">
            <a:extLst>
              <a:ext uri="{FF2B5EF4-FFF2-40B4-BE49-F238E27FC236}">
                <a16:creationId xmlns:a16="http://schemas.microsoft.com/office/drawing/2014/main" id="{2C0D7AD1-E789-41AF-B2C2-4AE8EF308187}"/>
              </a:ext>
            </a:extLst>
          </p:cNvPr>
          <p:cNvSpPr txBox="1"/>
          <p:nvPr/>
        </p:nvSpPr>
        <p:spPr>
          <a:xfrm>
            <a:off x="9094590" y="2547520"/>
            <a:ext cx="1181267" cy="241490"/>
          </a:xfrm>
          <a:prstGeom prst="rect">
            <a:avLst/>
          </a:prstGeom>
        </p:spPr>
        <p:txBody>
          <a:bodyPr vert="horz" lIns="0" tIns="0" rIns="0" bIns="0" rtlCol="0" anchor="t" anchorCtr="0">
            <a:noAutofit/>
          </a:bodyPr>
          <a:lstStyle/>
          <a:p>
            <a:pPr marL="0" marR="0" lvl="0" indent="0" algn="l" defTabSz="914400" rtl="0" eaLnBrk="1" fontAlgn="auto" latinLnBrk="0" hangingPunct="1">
              <a:lnSpc>
                <a:spcPct val="113333"/>
              </a:lnSpc>
              <a:spcBef>
                <a:spcPts val="0"/>
              </a:spcBef>
              <a:spcAft>
                <a:spcPts val="0"/>
              </a:spcAft>
              <a:buClrTx/>
              <a:buSzTx/>
              <a:buFontTx/>
              <a:buNone/>
              <a:tabLst/>
              <a:defRPr/>
            </a:pPr>
            <a:r>
              <a:rPr kumimoji="0" lang="zh-CN" altLang="en-US" sz="1200" b="0" i="0" u="none" strike="noStrike" kern="1200" cap="none" spc="28" normalizeH="0" baseline="0" noProof="0" dirty="0">
                <a:ln>
                  <a:noFill/>
                </a:ln>
                <a:solidFill>
                  <a:srgbClr val="626262"/>
                </a:solidFill>
                <a:effectLst/>
                <a:uLnTx/>
                <a:uFillTx/>
                <a:latin typeface="OPPOSans R" panose="00020600040101010101" pitchFamily="18" charset="-122"/>
                <a:ea typeface="OPPOSans R" panose="00020600040101010101" pitchFamily="18" charset="-122"/>
                <a:cs typeface="OPPOSans R" panose="00020600040101010101" pitchFamily="18" charset="-122"/>
              </a:rPr>
              <a:t>客户偏好问题</a:t>
            </a:r>
            <a:endParaRPr kumimoji="0" lang="zh-CN" altLang="en-US" sz="1000" b="0" i="0" u="none" strike="noStrike" kern="1200" cap="none" spc="0" normalizeH="0" baseline="0" noProof="0">
              <a:ln>
                <a:noFill/>
              </a:ln>
              <a:solidFill>
                <a:srgbClr val="000000"/>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p:txBody>
      </p:sp>
      <p:sp>
        <p:nvSpPr>
          <p:cNvPr id="118" name="椭圆 117">
            <a:extLst>
              <a:ext uri="{FF2B5EF4-FFF2-40B4-BE49-F238E27FC236}">
                <a16:creationId xmlns:a16="http://schemas.microsoft.com/office/drawing/2014/main" id="{AD2CA4F8-E52D-43A1-BC6A-3714822FABA3}"/>
              </a:ext>
            </a:extLst>
          </p:cNvPr>
          <p:cNvSpPr>
            <a:spLocks/>
          </p:cNvSpPr>
          <p:nvPr/>
        </p:nvSpPr>
        <p:spPr>
          <a:xfrm>
            <a:off x="10595964" y="3248444"/>
            <a:ext cx="401536" cy="401536"/>
          </a:xfrm>
          <a:prstGeom prst="ellipse">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Arial" panose="020F0502020204030204"/>
              <a:ea typeface="微软雅黑"/>
              <a:cs typeface="+mn-cs"/>
            </a:endParaRPr>
          </a:p>
        </p:txBody>
      </p:sp>
    </p:spTree>
    <p:extLst>
      <p:ext uri="{BB962C8B-B14F-4D97-AF65-F5344CB8AC3E}">
        <p14:creationId xmlns:p14="http://schemas.microsoft.com/office/powerpoint/2010/main" val="3946912399"/>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6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4" name="组合 123">
            <a:extLst>
              <a:ext uri="{FF2B5EF4-FFF2-40B4-BE49-F238E27FC236}">
                <a16:creationId xmlns:a16="http://schemas.microsoft.com/office/drawing/2014/main" id="{79AA0BD8-8C03-4AC2-9235-8DBB8E27D9F8}"/>
              </a:ext>
            </a:extLst>
          </p:cNvPr>
          <p:cNvGrpSpPr/>
          <p:nvPr/>
        </p:nvGrpSpPr>
        <p:grpSpPr>
          <a:xfrm>
            <a:off x="3385868" y="3085649"/>
            <a:ext cx="601971" cy="1625070"/>
            <a:chOff x="3454594" y="3085649"/>
            <a:chExt cx="601971" cy="1625070"/>
          </a:xfrm>
        </p:grpSpPr>
        <p:cxnSp>
          <p:nvCxnSpPr>
            <p:cNvPr id="109" name="直接连接符 108">
              <a:extLst>
                <a:ext uri="{FF2B5EF4-FFF2-40B4-BE49-F238E27FC236}">
                  <a16:creationId xmlns:a16="http://schemas.microsoft.com/office/drawing/2014/main" id="{7907A8D2-CF46-4934-B101-EF5F5AF6950D}"/>
                </a:ext>
              </a:extLst>
            </p:cNvPr>
            <p:cNvCxnSpPr>
              <a:cxnSpLocks/>
            </p:cNvCxnSpPr>
            <p:nvPr/>
          </p:nvCxnSpPr>
          <p:spPr>
            <a:xfrm>
              <a:off x="3454594" y="3085649"/>
              <a:ext cx="601971" cy="772532"/>
            </a:xfrm>
            <a:prstGeom prst="line">
              <a:avLst/>
            </a:prstGeom>
            <a:ln w="25400">
              <a:solidFill>
                <a:schemeClr val="accent1">
                  <a:lumMod val="8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10" name="直接连接符 109">
              <a:extLst>
                <a:ext uri="{FF2B5EF4-FFF2-40B4-BE49-F238E27FC236}">
                  <a16:creationId xmlns:a16="http://schemas.microsoft.com/office/drawing/2014/main" id="{0955854F-4F50-4794-8402-F8843520D02C}"/>
                </a:ext>
              </a:extLst>
            </p:cNvPr>
            <p:cNvCxnSpPr>
              <a:cxnSpLocks/>
            </p:cNvCxnSpPr>
            <p:nvPr/>
          </p:nvCxnSpPr>
          <p:spPr>
            <a:xfrm flipV="1">
              <a:off x="3454594" y="3938187"/>
              <a:ext cx="601971" cy="772532"/>
            </a:xfrm>
            <a:prstGeom prst="line">
              <a:avLst/>
            </a:prstGeom>
            <a:ln w="25400">
              <a:solidFill>
                <a:schemeClr val="accent1">
                  <a:lumMod val="85000"/>
                </a:schemeClr>
              </a:solidFill>
              <a:prstDash val="sysDot"/>
            </a:ln>
          </p:spPr>
          <p:style>
            <a:lnRef idx="1">
              <a:schemeClr val="accent1"/>
            </a:lnRef>
            <a:fillRef idx="0">
              <a:schemeClr val="accent1"/>
            </a:fillRef>
            <a:effectRef idx="0">
              <a:schemeClr val="accent1"/>
            </a:effectRef>
            <a:fontRef idx="minor">
              <a:schemeClr val="tx1"/>
            </a:fontRef>
          </p:style>
        </p:cxnSp>
      </p:grpSp>
      <p:grpSp>
        <p:nvGrpSpPr>
          <p:cNvPr id="123" name="组合 122">
            <a:extLst>
              <a:ext uri="{FF2B5EF4-FFF2-40B4-BE49-F238E27FC236}">
                <a16:creationId xmlns:a16="http://schemas.microsoft.com/office/drawing/2014/main" id="{D3933126-6DEA-4217-99CF-58D21377648C}"/>
              </a:ext>
            </a:extLst>
          </p:cNvPr>
          <p:cNvGrpSpPr/>
          <p:nvPr/>
        </p:nvGrpSpPr>
        <p:grpSpPr>
          <a:xfrm>
            <a:off x="5065929" y="3085649"/>
            <a:ext cx="601971" cy="1625070"/>
            <a:chOff x="5065929" y="3085649"/>
            <a:chExt cx="601971" cy="1625070"/>
          </a:xfrm>
        </p:grpSpPr>
        <p:cxnSp>
          <p:nvCxnSpPr>
            <p:cNvPr id="115" name="直接连接符 114">
              <a:extLst>
                <a:ext uri="{FF2B5EF4-FFF2-40B4-BE49-F238E27FC236}">
                  <a16:creationId xmlns:a16="http://schemas.microsoft.com/office/drawing/2014/main" id="{12795F2B-173C-47DA-90D2-A2839B3BEC92}"/>
                </a:ext>
              </a:extLst>
            </p:cNvPr>
            <p:cNvCxnSpPr>
              <a:cxnSpLocks/>
            </p:cNvCxnSpPr>
            <p:nvPr/>
          </p:nvCxnSpPr>
          <p:spPr>
            <a:xfrm>
              <a:off x="5065929" y="3085649"/>
              <a:ext cx="601971" cy="772532"/>
            </a:xfrm>
            <a:prstGeom prst="line">
              <a:avLst/>
            </a:prstGeom>
            <a:ln w="25400">
              <a:solidFill>
                <a:schemeClr val="accent1">
                  <a:lumMod val="8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16" name="直接连接符 115">
              <a:extLst>
                <a:ext uri="{FF2B5EF4-FFF2-40B4-BE49-F238E27FC236}">
                  <a16:creationId xmlns:a16="http://schemas.microsoft.com/office/drawing/2014/main" id="{1BDC33F5-863D-4BCC-AF29-0CCCD148B587}"/>
                </a:ext>
              </a:extLst>
            </p:cNvPr>
            <p:cNvCxnSpPr>
              <a:cxnSpLocks/>
            </p:cNvCxnSpPr>
            <p:nvPr/>
          </p:nvCxnSpPr>
          <p:spPr>
            <a:xfrm flipV="1">
              <a:off x="5065929" y="3938187"/>
              <a:ext cx="601971" cy="772532"/>
            </a:xfrm>
            <a:prstGeom prst="line">
              <a:avLst/>
            </a:prstGeom>
            <a:ln w="25400">
              <a:solidFill>
                <a:schemeClr val="accent1">
                  <a:lumMod val="85000"/>
                </a:schemeClr>
              </a:solidFill>
              <a:prstDash val="sysDot"/>
            </a:ln>
          </p:spPr>
          <p:style>
            <a:lnRef idx="1">
              <a:schemeClr val="accent1"/>
            </a:lnRef>
            <a:fillRef idx="0">
              <a:schemeClr val="accent1"/>
            </a:fillRef>
            <a:effectRef idx="0">
              <a:schemeClr val="accent1"/>
            </a:effectRef>
            <a:fontRef idx="minor">
              <a:schemeClr val="tx1"/>
            </a:fontRef>
          </p:style>
        </p:cxnSp>
      </p:grpSp>
      <p:grpSp>
        <p:nvGrpSpPr>
          <p:cNvPr id="122" name="组合 121">
            <a:extLst>
              <a:ext uri="{FF2B5EF4-FFF2-40B4-BE49-F238E27FC236}">
                <a16:creationId xmlns:a16="http://schemas.microsoft.com/office/drawing/2014/main" id="{5DC29C5F-3729-4F55-957F-463570D4F659}"/>
              </a:ext>
            </a:extLst>
          </p:cNvPr>
          <p:cNvGrpSpPr/>
          <p:nvPr/>
        </p:nvGrpSpPr>
        <p:grpSpPr>
          <a:xfrm>
            <a:off x="6890333" y="3085649"/>
            <a:ext cx="601971" cy="1625070"/>
            <a:chOff x="6813368" y="3085649"/>
            <a:chExt cx="601971" cy="1625070"/>
          </a:xfrm>
        </p:grpSpPr>
        <p:cxnSp>
          <p:nvCxnSpPr>
            <p:cNvPr id="117" name="直接连接符 116">
              <a:extLst>
                <a:ext uri="{FF2B5EF4-FFF2-40B4-BE49-F238E27FC236}">
                  <a16:creationId xmlns:a16="http://schemas.microsoft.com/office/drawing/2014/main" id="{D4981633-67B5-4AF4-9694-738A79908E6F}"/>
                </a:ext>
              </a:extLst>
            </p:cNvPr>
            <p:cNvCxnSpPr>
              <a:cxnSpLocks/>
            </p:cNvCxnSpPr>
            <p:nvPr/>
          </p:nvCxnSpPr>
          <p:spPr>
            <a:xfrm>
              <a:off x="6813368" y="3085649"/>
              <a:ext cx="601971" cy="772532"/>
            </a:xfrm>
            <a:prstGeom prst="line">
              <a:avLst/>
            </a:prstGeom>
            <a:ln w="25400">
              <a:solidFill>
                <a:schemeClr val="accent1">
                  <a:lumMod val="8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18" name="直接连接符 117">
              <a:extLst>
                <a:ext uri="{FF2B5EF4-FFF2-40B4-BE49-F238E27FC236}">
                  <a16:creationId xmlns:a16="http://schemas.microsoft.com/office/drawing/2014/main" id="{3D02272A-842A-411A-AE56-637E1598DD84}"/>
                </a:ext>
              </a:extLst>
            </p:cNvPr>
            <p:cNvCxnSpPr>
              <a:cxnSpLocks/>
            </p:cNvCxnSpPr>
            <p:nvPr/>
          </p:nvCxnSpPr>
          <p:spPr>
            <a:xfrm flipV="1">
              <a:off x="6813368" y="3938187"/>
              <a:ext cx="601971" cy="772532"/>
            </a:xfrm>
            <a:prstGeom prst="line">
              <a:avLst/>
            </a:prstGeom>
            <a:ln w="25400">
              <a:solidFill>
                <a:schemeClr val="accent1">
                  <a:lumMod val="85000"/>
                </a:schemeClr>
              </a:solidFill>
              <a:prstDash val="sysDot"/>
            </a:ln>
          </p:spPr>
          <p:style>
            <a:lnRef idx="1">
              <a:schemeClr val="accent1"/>
            </a:lnRef>
            <a:fillRef idx="0">
              <a:schemeClr val="accent1"/>
            </a:fillRef>
            <a:effectRef idx="0">
              <a:schemeClr val="accent1"/>
            </a:effectRef>
            <a:fontRef idx="minor">
              <a:schemeClr val="tx1"/>
            </a:fontRef>
          </p:style>
        </p:cxnSp>
      </p:grpSp>
      <p:grpSp>
        <p:nvGrpSpPr>
          <p:cNvPr id="121" name="组合 120">
            <a:extLst>
              <a:ext uri="{FF2B5EF4-FFF2-40B4-BE49-F238E27FC236}">
                <a16:creationId xmlns:a16="http://schemas.microsoft.com/office/drawing/2014/main" id="{98964F51-1911-4397-8CE3-9845DCFF3DC2}"/>
              </a:ext>
            </a:extLst>
          </p:cNvPr>
          <p:cNvGrpSpPr/>
          <p:nvPr/>
        </p:nvGrpSpPr>
        <p:grpSpPr>
          <a:xfrm>
            <a:off x="8805704" y="3085649"/>
            <a:ext cx="601971" cy="1625070"/>
            <a:chOff x="8492755" y="3085649"/>
            <a:chExt cx="601971" cy="1625070"/>
          </a:xfrm>
        </p:grpSpPr>
        <p:cxnSp>
          <p:nvCxnSpPr>
            <p:cNvPr id="119" name="直接连接符 118">
              <a:extLst>
                <a:ext uri="{FF2B5EF4-FFF2-40B4-BE49-F238E27FC236}">
                  <a16:creationId xmlns:a16="http://schemas.microsoft.com/office/drawing/2014/main" id="{CFB3A50B-4481-4830-8779-636D60FBF947}"/>
                </a:ext>
              </a:extLst>
            </p:cNvPr>
            <p:cNvCxnSpPr>
              <a:cxnSpLocks/>
            </p:cNvCxnSpPr>
            <p:nvPr/>
          </p:nvCxnSpPr>
          <p:spPr>
            <a:xfrm>
              <a:off x="8492755" y="3085649"/>
              <a:ext cx="601971" cy="772532"/>
            </a:xfrm>
            <a:prstGeom prst="line">
              <a:avLst/>
            </a:prstGeom>
            <a:ln w="25400">
              <a:solidFill>
                <a:schemeClr val="accent1">
                  <a:lumMod val="8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20" name="直接连接符 119">
              <a:extLst>
                <a:ext uri="{FF2B5EF4-FFF2-40B4-BE49-F238E27FC236}">
                  <a16:creationId xmlns:a16="http://schemas.microsoft.com/office/drawing/2014/main" id="{81EE2205-74F4-4E2E-A6B9-01DFD7541570}"/>
                </a:ext>
              </a:extLst>
            </p:cNvPr>
            <p:cNvCxnSpPr>
              <a:cxnSpLocks/>
            </p:cNvCxnSpPr>
            <p:nvPr/>
          </p:nvCxnSpPr>
          <p:spPr>
            <a:xfrm flipV="1">
              <a:off x="8492755" y="3938187"/>
              <a:ext cx="601971" cy="772532"/>
            </a:xfrm>
            <a:prstGeom prst="line">
              <a:avLst/>
            </a:prstGeom>
            <a:ln w="25400">
              <a:solidFill>
                <a:schemeClr val="accent1">
                  <a:lumMod val="85000"/>
                </a:schemeClr>
              </a:solidFill>
              <a:prstDash val="sysDot"/>
            </a:ln>
          </p:spPr>
          <p:style>
            <a:lnRef idx="1">
              <a:schemeClr val="accent1"/>
            </a:lnRef>
            <a:fillRef idx="0">
              <a:schemeClr val="accent1"/>
            </a:fillRef>
            <a:effectRef idx="0">
              <a:schemeClr val="accent1"/>
            </a:effectRef>
            <a:fontRef idx="minor">
              <a:schemeClr val="tx1"/>
            </a:fontRef>
          </p:style>
        </p:cxnSp>
      </p:grpSp>
      <p:sp>
        <p:nvSpPr>
          <p:cNvPr id="125" name="任意多边形: 形状 124">
            <a:extLst>
              <a:ext uri="{FF2B5EF4-FFF2-40B4-BE49-F238E27FC236}">
                <a16:creationId xmlns:a16="http://schemas.microsoft.com/office/drawing/2014/main" id="{6FDBA93D-F135-42EF-AAD7-4A0061301BA7}"/>
              </a:ext>
            </a:extLst>
          </p:cNvPr>
          <p:cNvSpPr>
            <a:spLocks/>
          </p:cNvSpPr>
          <p:nvPr/>
        </p:nvSpPr>
        <p:spPr>
          <a:xfrm flipH="1">
            <a:off x="812235" y="2717505"/>
            <a:ext cx="10570139" cy="2413756"/>
          </a:xfrm>
          <a:custGeom>
            <a:avLst/>
            <a:gdLst>
              <a:gd name="connsiteX0" fmla="*/ 1739899 w 10570139"/>
              <a:gd name="connsiteY0" fmla="*/ 0 h 2413756"/>
              <a:gd name="connsiteX1" fmla="*/ 938043 w 10570139"/>
              <a:gd name="connsiteY1" fmla="*/ 0 h 2413756"/>
              <a:gd name="connsiteX2" fmla="*/ 0 w 10570139"/>
              <a:gd name="connsiteY2" fmla="*/ 1206502 h 2413756"/>
              <a:gd name="connsiteX3" fmla="*/ 28575 w 10570139"/>
              <a:gd name="connsiteY3" fmla="*/ 1206502 h 2413756"/>
              <a:gd name="connsiteX4" fmla="*/ 28575 w 10570139"/>
              <a:gd name="connsiteY4" fmla="*/ 1207254 h 2413756"/>
              <a:gd name="connsiteX5" fmla="*/ 0 w 10570139"/>
              <a:gd name="connsiteY5" fmla="*/ 1207254 h 2413756"/>
              <a:gd name="connsiteX6" fmla="*/ 938043 w 10570139"/>
              <a:gd name="connsiteY6" fmla="*/ 2413756 h 2413756"/>
              <a:gd name="connsiteX7" fmla="*/ 1739899 w 10570139"/>
              <a:gd name="connsiteY7" fmla="*/ 2413756 h 2413756"/>
              <a:gd name="connsiteX8" fmla="*/ 824295 w 10570139"/>
              <a:gd name="connsiteY8" fmla="*/ 1236115 h 2413756"/>
              <a:gd name="connsiteX9" fmla="*/ 9298691 w 10570139"/>
              <a:gd name="connsiteY9" fmla="*/ 1236115 h 2413756"/>
              <a:gd name="connsiteX10" fmla="*/ 10570139 w 10570139"/>
              <a:gd name="connsiteY10" fmla="*/ 2270987 h 2413756"/>
              <a:gd name="connsiteX11" fmla="*/ 10079354 w 10570139"/>
              <a:gd name="connsiteY11" fmla="*/ 1206708 h 2413756"/>
              <a:gd name="connsiteX12" fmla="*/ 10079354 w 10570139"/>
              <a:gd name="connsiteY12" fmla="*/ 1204274 h 2413756"/>
              <a:gd name="connsiteX13" fmla="*/ 10570139 w 10570139"/>
              <a:gd name="connsiteY13" fmla="*/ 139995 h 2413756"/>
              <a:gd name="connsiteX14" fmla="*/ 9279612 w 10570139"/>
              <a:gd name="connsiteY14" fmla="*/ 1190396 h 2413756"/>
              <a:gd name="connsiteX15" fmla="*/ 814378 w 10570139"/>
              <a:gd name="connsiteY15" fmla="*/ 1190396 h 2413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570139" h="2413756">
                <a:moveTo>
                  <a:pt x="1739899" y="0"/>
                </a:moveTo>
                <a:lnTo>
                  <a:pt x="938043" y="0"/>
                </a:lnTo>
                <a:lnTo>
                  <a:pt x="0" y="1206502"/>
                </a:lnTo>
                <a:lnTo>
                  <a:pt x="28575" y="1206502"/>
                </a:lnTo>
                <a:lnTo>
                  <a:pt x="28575" y="1207254"/>
                </a:lnTo>
                <a:lnTo>
                  <a:pt x="0" y="1207254"/>
                </a:lnTo>
                <a:lnTo>
                  <a:pt x="938043" y="2413756"/>
                </a:lnTo>
                <a:lnTo>
                  <a:pt x="1739899" y="2413756"/>
                </a:lnTo>
                <a:lnTo>
                  <a:pt x="824295" y="1236115"/>
                </a:lnTo>
                <a:lnTo>
                  <a:pt x="9298691" y="1236115"/>
                </a:lnTo>
                <a:lnTo>
                  <a:pt x="10570139" y="2270987"/>
                </a:lnTo>
                <a:lnTo>
                  <a:pt x="10079354" y="1206708"/>
                </a:lnTo>
                <a:lnTo>
                  <a:pt x="10079354" y="1204274"/>
                </a:lnTo>
                <a:lnTo>
                  <a:pt x="10570139" y="139995"/>
                </a:lnTo>
                <a:lnTo>
                  <a:pt x="9279612" y="1190396"/>
                </a:lnTo>
                <a:lnTo>
                  <a:pt x="814378" y="1190396"/>
                </a:lnTo>
                <a:close/>
              </a:path>
            </a:pathLst>
          </a:custGeom>
          <a:solidFill>
            <a:schemeClr val="accent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Arial" panose="020F0502020204030204"/>
              <a:ea typeface="微软雅黑"/>
              <a:cs typeface="+mn-cs"/>
            </a:endParaRPr>
          </a:p>
        </p:txBody>
      </p:sp>
      <p:sp>
        <p:nvSpPr>
          <p:cNvPr id="11" name="Object 1010">
            <a:extLst>
              <a:ext uri="{FF2B5EF4-FFF2-40B4-BE49-F238E27FC236}">
                <a16:creationId xmlns:a16="http://schemas.microsoft.com/office/drawing/2014/main" id="{D0501E78-0301-471A-8B2D-AC2DABD61665}"/>
              </a:ext>
            </a:extLst>
          </p:cNvPr>
          <p:cNvSpPr txBox="1"/>
          <p:nvPr/>
        </p:nvSpPr>
        <p:spPr>
          <a:xfrm>
            <a:off x="676374" y="1044225"/>
            <a:ext cx="4115295" cy="260555"/>
          </a:xfrm>
          <a:prstGeom prst="rect">
            <a:avLst/>
          </a:prstGeom>
        </p:spPr>
        <p:txBody>
          <a:bodyPr vert="horz" lIns="0" tIns="0" rIns="0" bIns="0"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200" b="0" i="0" u="none" strike="noStrike" kern="1200" cap="none" spc="0" normalizeH="0" baseline="0" noProof="0" dirty="0">
                <a:ln>
                  <a:noFill/>
                </a:ln>
                <a:solidFill>
                  <a:srgbClr val="535353"/>
                </a:solidFill>
                <a:effectLst/>
                <a:uLnTx/>
                <a:uFillTx/>
                <a:latin typeface="OPPOSans R" panose="00020600040101010101" pitchFamily="18" charset="-122"/>
                <a:ea typeface="OPPOSans R" panose="00020600040101010101" pitchFamily="18" charset="-122"/>
                <a:cs typeface="OPPOSans R" panose="00020600040101010101" pitchFamily="18" charset="-122"/>
              </a:rPr>
              <a:t>Analysis of employee turnover rate</a:t>
            </a:r>
            <a:endParaRPr kumimoji="0" lang="zh-CN" altLang="en-US" sz="800" b="0" i="0" u="none" strike="noStrike" kern="1200" cap="none" spc="0" normalizeH="0" baseline="0" noProof="0" dirty="0">
              <a:ln>
                <a:noFill/>
              </a:ln>
              <a:solidFill>
                <a:srgbClr val="000000"/>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p:txBody>
      </p:sp>
      <p:sp>
        <p:nvSpPr>
          <p:cNvPr id="12" name="Object 1011">
            <a:extLst>
              <a:ext uri="{FF2B5EF4-FFF2-40B4-BE49-F238E27FC236}">
                <a16:creationId xmlns:a16="http://schemas.microsoft.com/office/drawing/2014/main" id="{F93480F8-5026-44B6-A725-2CEA4A12EC0F}"/>
              </a:ext>
            </a:extLst>
          </p:cNvPr>
          <p:cNvSpPr txBox="1"/>
          <p:nvPr/>
        </p:nvSpPr>
        <p:spPr>
          <a:xfrm>
            <a:off x="660400" y="648710"/>
            <a:ext cx="4131277" cy="400638"/>
          </a:xfrm>
          <a:prstGeom prst="rect">
            <a:avLst/>
          </a:prstGeom>
        </p:spPr>
        <p:txBody>
          <a:bodyPr vert="horz" lIns="0" tIns="0" rIns="0" bIns="0"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2400" b="0" i="0" u="none" strike="noStrike" kern="1200" cap="none" spc="0" normalizeH="0" baseline="0" noProof="0" dirty="0">
                <a:ln>
                  <a:noFill/>
                </a:ln>
                <a:solidFill>
                  <a:srgbClr val="1B1B1B"/>
                </a:solidFill>
                <a:effectLst/>
                <a:uLnTx/>
                <a:uFillTx/>
                <a:latin typeface="OPPOSans B" panose="00020600040101010101" pitchFamily="18" charset="-122"/>
                <a:ea typeface="OPPOSans B" panose="00020600040101010101" pitchFamily="18" charset="-122"/>
                <a:cs typeface="OPPOSans B" panose="00020600040101010101" pitchFamily="18" charset="-122"/>
              </a:rPr>
              <a:t>员工流失率分析</a:t>
            </a:r>
            <a:endParaRPr kumimoji="0" lang="zh-CN" altLang="en-US" sz="800" b="0" i="0" u="none" strike="noStrike" kern="1200" cap="none" spc="0" normalizeH="0" baseline="0" noProof="0" dirty="0">
              <a:ln>
                <a:noFill/>
              </a:ln>
              <a:solidFill>
                <a:srgbClr val="000000"/>
              </a:solidFill>
              <a:effectLst/>
              <a:uLnTx/>
              <a:uFillTx/>
              <a:latin typeface="OPPOSans B" panose="00020600040101010101" pitchFamily="18" charset="-122"/>
              <a:ea typeface="OPPOSans B" panose="00020600040101010101" pitchFamily="18" charset="-122"/>
              <a:cs typeface="OPPOSans B" panose="00020600040101010101" pitchFamily="18" charset="-122"/>
            </a:endParaRPr>
          </a:p>
        </p:txBody>
      </p:sp>
      <p:sp>
        <p:nvSpPr>
          <p:cNvPr id="89" name="椭圆 88">
            <a:extLst>
              <a:ext uri="{FF2B5EF4-FFF2-40B4-BE49-F238E27FC236}">
                <a16:creationId xmlns:a16="http://schemas.microsoft.com/office/drawing/2014/main" id="{F45A9080-E266-470F-8133-4068C5314186}"/>
              </a:ext>
            </a:extLst>
          </p:cNvPr>
          <p:cNvSpPr>
            <a:spLocks/>
          </p:cNvSpPr>
          <p:nvPr/>
        </p:nvSpPr>
        <p:spPr>
          <a:xfrm>
            <a:off x="7302500" y="1600200"/>
            <a:ext cx="2127249" cy="2130734"/>
          </a:xfrm>
          <a:prstGeom prst="ellipse">
            <a:avLst/>
          </a:prstGeom>
          <a:gradFill flip="none" rotWithShape="1">
            <a:gsLst>
              <a:gs pos="0">
                <a:schemeClr val="accent1">
                  <a:lumMod val="100000"/>
                </a:schemeClr>
              </a:gs>
              <a:gs pos="100000">
                <a:schemeClr val="accent1">
                  <a:lumMod val="60000"/>
                  <a:lumOff val="40000"/>
                </a:schemeClr>
              </a:gs>
            </a:gsLst>
            <a:lin ang="16200000" scaled="1"/>
            <a:tileRect/>
          </a:gradFill>
          <a:ln>
            <a:noFill/>
          </a:ln>
          <a:effectLst>
            <a:outerShdw blurRad="330200" dist="203200" dir="5400000" sx="90000" sy="90000" algn="t" rotWithShape="0">
              <a:schemeClr val="accent1">
                <a:lumMod val="50000"/>
                <a:alpha val="2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Arial" panose="020F0502020204030204"/>
              <a:ea typeface="微软雅黑"/>
              <a:cs typeface="+mn-cs"/>
            </a:endParaRPr>
          </a:p>
        </p:txBody>
      </p:sp>
      <p:sp>
        <p:nvSpPr>
          <p:cNvPr id="16" name="Object 1015">
            <a:extLst>
              <a:ext uri="{FF2B5EF4-FFF2-40B4-BE49-F238E27FC236}">
                <a16:creationId xmlns:a16="http://schemas.microsoft.com/office/drawing/2014/main" id="{99BB5E13-455A-4AC3-AC36-D17DB86D2646}"/>
              </a:ext>
            </a:extLst>
          </p:cNvPr>
          <p:cNvSpPr txBox="1"/>
          <p:nvPr/>
        </p:nvSpPr>
        <p:spPr>
          <a:xfrm>
            <a:off x="7692095" y="2084604"/>
            <a:ext cx="1417165" cy="394010"/>
          </a:xfrm>
          <a:prstGeom prst="rect">
            <a:avLst/>
          </a:prstGeom>
        </p:spPr>
        <p:txBody>
          <a:bodyPr vert="horz" lIns="0" tIns="0" rIns="0" bIns="0" rtlCol="0" anchor="t"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2800" b="0" i="0" u="none" strike="noStrike" kern="1200" cap="none" spc="52" normalizeH="0" baseline="0" noProof="0" dirty="0">
                <a:ln>
                  <a:noFill/>
                </a:ln>
                <a:solidFill>
                  <a:srgbClr val="FFFFFF"/>
                </a:solidFill>
                <a:effectLst>
                  <a:outerShdw blurRad="101600" dist="38100" dir="2700000" algn="tl" rotWithShape="0">
                    <a:prstClr val="black">
                      <a:alpha val="15000"/>
                    </a:prstClr>
                  </a:outerShdw>
                </a:effectLst>
                <a:uLnTx/>
                <a:uFillTx/>
                <a:latin typeface="OPPOSans B" panose="00020600040101010101" pitchFamily="18" charset="-122"/>
                <a:ea typeface="OPPOSans B" panose="00020600040101010101" pitchFamily="18" charset="-122"/>
                <a:cs typeface="OPPOSans B" panose="00020600040101010101" pitchFamily="18" charset="-122"/>
              </a:rPr>
              <a:t>培训</a:t>
            </a:r>
            <a:endParaRPr kumimoji="0" lang="zh-CN" altLang="en-US" sz="1000" b="0" i="0" u="none" strike="noStrike" kern="1200" cap="none" spc="0" normalizeH="0" baseline="0" noProof="0">
              <a:ln>
                <a:noFill/>
              </a:ln>
              <a:solidFill>
                <a:srgbClr val="000000"/>
              </a:solidFill>
              <a:effectLst>
                <a:outerShdw blurRad="101600" dist="38100" dir="2700000" algn="tl" rotWithShape="0">
                  <a:prstClr val="black">
                    <a:alpha val="15000"/>
                  </a:prstClr>
                </a:outerShdw>
              </a:effectLst>
              <a:uLnTx/>
              <a:uFillTx/>
              <a:latin typeface="OPPOSans B" panose="00020600040101010101" pitchFamily="18" charset="-122"/>
              <a:ea typeface="OPPOSans B" panose="00020600040101010101" pitchFamily="18" charset="-122"/>
              <a:cs typeface="OPPOSans B" panose="00020600040101010101" pitchFamily="18" charset="-122"/>
            </a:endParaRPr>
          </a:p>
        </p:txBody>
      </p:sp>
      <p:sp>
        <p:nvSpPr>
          <p:cNvPr id="17" name="Object 1016">
            <a:extLst>
              <a:ext uri="{FF2B5EF4-FFF2-40B4-BE49-F238E27FC236}">
                <a16:creationId xmlns:a16="http://schemas.microsoft.com/office/drawing/2014/main" id="{2FD9F791-9E3D-4171-AAE9-2DD778B72087}"/>
              </a:ext>
            </a:extLst>
          </p:cNvPr>
          <p:cNvSpPr txBox="1"/>
          <p:nvPr/>
        </p:nvSpPr>
        <p:spPr>
          <a:xfrm>
            <a:off x="7693501" y="2594351"/>
            <a:ext cx="1417165" cy="216070"/>
          </a:xfrm>
          <a:prstGeom prst="rect">
            <a:avLst/>
          </a:prstGeom>
        </p:spPr>
        <p:txBody>
          <a:bodyPr vert="horz" lIns="0" tIns="0" rIns="0" bIns="0" rtlCol="0" anchor="t"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200" b="0" i="0" u="none" strike="noStrike" kern="1200" cap="none" spc="28" normalizeH="0" baseline="0" noProof="0" dirty="0">
                <a:ln>
                  <a:noFill/>
                </a:ln>
                <a:solidFill>
                  <a:srgbClr val="FFFFFF"/>
                </a:solidFill>
                <a:effectLst>
                  <a:outerShdw blurRad="101600" dist="38100" dir="2700000" algn="tl" rotWithShape="0">
                    <a:prstClr val="black">
                      <a:alpha val="15000"/>
                    </a:prstClr>
                  </a:outerShdw>
                </a:effectLst>
                <a:uLnTx/>
                <a:uFillTx/>
                <a:latin typeface="OPPOSans R" panose="00020600040101010101" pitchFamily="18" charset="-122"/>
                <a:ea typeface="OPPOSans R" panose="00020600040101010101" pitchFamily="18" charset="-122"/>
                <a:cs typeface="OPPOSans R" panose="00020600040101010101" pitchFamily="18" charset="-122"/>
              </a:rPr>
              <a:t>培训不恰当</a:t>
            </a:r>
            <a:endParaRPr kumimoji="0" lang="zh-CN" altLang="en-US" sz="1000" b="0" i="0" u="none" strike="noStrike" kern="1200" cap="none" spc="0" normalizeH="0" baseline="0" noProof="0">
              <a:ln>
                <a:noFill/>
              </a:ln>
              <a:solidFill>
                <a:srgbClr val="000000"/>
              </a:solidFill>
              <a:effectLst>
                <a:outerShdw blurRad="101600" dist="38100" dir="2700000" algn="tl" rotWithShape="0">
                  <a:prstClr val="black">
                    <a:alpha val="15000"/>
                  </a:prstClr>
                </a:outerShdw>
              </a:effectLst>
              <a:uLnTx/>
              <a:uFillTx/>
              <a:latin typeface="OPPOSans R" panose="00020600040101010101" pitchFamily="18" charset="-122"/>
              <a:ea typeface="OPPOSans R" panose="00020600040101010101" pitchFamily="18" charset="-122"/>
              <a:cs typeface="OPPOSans R" panose="00020600040101010101" pitchFamily="18" charset="-122"/>
            </a:endParaRPr>
          </a:p>
        </p:txBody>
      </p:sp>
      <p:sp>
        <p:nvSpPr>
          <p:cNvPr id="18" name="Object 1017">
            <a:extLst>
              <a:ext uri="{FF2B5EF4-FFF2-40B4-BE49-F238E27FC236}">
                <a16:creationId xmlns:a16="http://schemas.microsoft.com/office/drawing/2014/main" id="{AE1AB275-050F-48D2-9216-4F73F48838E1}"/>
              </a:ext>
            </a:extLst>
          </p:cNvPr>
          <p:cNvSpPr txBox="1"/>
          <p:nvPr/>
        </p:nvSpPr>
        <p:spPr>
          <a:xfrm>
            <a:off x="7437895" y="2886749"/>
            <a:ext cx="1919210" cy="241490"/>
          </a:xfrm>
          <a:prstGeom prst="rect">
            <a:avLst/>
          </a:prstGeom>
        </p:spPr>
        <p:txBody>
          <a:bodyPr vert="horz" lIns="0" tIns="0" rIns="0" bIns="0" rtlCol="0" anchor="t" anchorCtr="0">
            <a:noAutofit/>
          </a:bodyPr>
          <a:lstStyle/>
          <a:p>
            <a:pPr marL="0" marR="0" lvl="0" indent="0" algn="ctr" defTabSz="914400" rtl="0" eaLnBrk="1" fontAlgn="auto" latinLnBrk="0" hangingPunct="1">
              <a:lnSpc>
                <a:spcPct val="113333"/>
              </a:lnSpc>
              <a:spcBef>
                <a:spcPts val="0"/>
              </a:spcBef>
              <a:spcAft>
                <a:spcPts val="0"/>
              </a:spcAft>
              <a:buClrTx/>
              <a:buSzTx/>
              <a:buFontTx/>
              <a:buNone/>
              <a:tabLst/>
              <a:defRPr/>
            </a:pPr>
            <a:r>
              <a:rPr kumimoji="0" lang="zh-CN" altLang="en-US" sz="1200" b="0" i="0" u="none" strike="noStrike" kern="1200" cap="none" spc="28" normalizeH="0" baseline="0" noProof="0" dirty="0">
                <a:ln>
                  <a:noFill/>
                </a:ln>
                <a:solidFill>
                  <a:srgbClr val="FFFFFF"/>
                </a:solidFill>
                <a:effectLst>
                  <a:outerShdw blurRad="101600" dist="38100" dir="2700000" algn="tl" rotWithShape="0">
                    <a:prstClr val="black">
                      <a:alpha val="15000"/>
                    </a:prstClr>
                  </a:outerShdw>
                </a:effectLst>
                <a:uLnTx/>
                <a:uFillTx/>
                <a:latin typeface="OPPOSans R" panose="00020600040101010101" pitchFamily="18" charset="-122"/>
                <a:ea typeface="OPPOSans R" panose="00020600040101010101" pitchFamily="18" charset="-122"/>
                <a:cs typeface="OPPOSans R" panose="00020600040101010101" pitchFamily="18" charset="-122"/>
              </a:rPr>
              <a:t>管理人员培训问题</a:t>
            </a:r>
            <a:endParaRPr kumimoji="0" lang="zh-CN" altLang="en-US" sz="1000" b="0" i="0" u="none" strike="noStrike" kern="1200" cap="none" spc="0" normalizeH="0" baseline="0" noProof="0">
              <a:ln>
                <a:noFill/>
              </a:ln>
              <a:solidFill>
                <a:srgbClr val="000000"/>
              </a:solidFill>
              <a:effectLst>
                <a:outerShdw blurRad="101600" dist="38100" dir="2700000" algn="tl" rotWithShape="0">
                  <a:prstClr val="black">
                    <a:alpha val="15000"/>
                  </a:prstClr>
                </a:outerShdw>
              </a:effectLst>
              <a:uLnTx/>
              <a:uFillTx/>
              <a:latin typeface="OPPOSans R" panose="00020600040101010101" pitchFamily="18" charset="-122"/>
              <a:ea typeface="OPPOSans R" panose="00020600040101010101" pitchFamily="18" charset="-122"/>
              <a:cs typeface="OPPOSans R" panose="00020600040101010101" pitchFamily="18" charset="-122"/>
            </a:endParaRPr>
          </a:p>
        </p:txBody>
      </p:sp>
      <p:sp>
        <p:nvSpPr>
          <p:cNvPr id="90" name="椭圆 89">
            <a:extLst>
              <a:ext uri="{FF2B5EF4-FFF2-40B4-BE49-F238E27FC236}">
                <a16:creationId xmlns:a16="http://schemas.microsoft.com/office/drawing/2014/main" id="{57C04DA4-93C9-4335-B1F4-709BD0AEA928}"/>
              </a:ext>
            </a:extLst>
          </p:cNvPr>
          <p:cNvSpPr>
            <a:spLocks/>
          </p:cNvSpPr>
          <p:nvPr/>
        </p:nvSpPr>
        <p:spPr>
          <a:xfrm>
            <a:off x="7302500" y="4191000"/>
            <a:ext cx="2127249" cy="2130734"/>
          </a:xfrm>
          <a:prstGeom prst="ellipse">
            <a:avLst/>
          </a:prstGeom>
          <a:gradFill flip="none" rotWithShape="1">
            <a:gsLst>
              <a:gs pos="0">
                <a:schemeClr val="accent1">
                  <a:lumMod val="100000"/>
                </a:schemeClr>
              </a:gs>
              <a:gs pos="100000">
                <a:schemeClr val="accent1">
                  <a:lumMod val="60000"/>
                  <a:lumOff val="40000"/>
                </a:schemeClr>
              </a:gs>
            </a:gsLst>
            <a:lin ang="16200000" scaled="1"/>
            <a:tileRect/>
          </a:gradFill>
          <a:ln>
            <a:noFill/>
          </a:ln>
          <a:effectLst>
            <a:outerShdw blurRad="330200" dist="203200" dir="5400000" sx="90000" sy="90000" algn="t" rotWithShape="0">
              <a:schemeClr val="accent1">
                <a:lumMod val="50000"/>
                <a:alpha val="2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Arial" panose="020F0502020204030204"/>
              <a:ea typeface="微软雅黑"/>
              <a:cs typeface="+mn-cs"/>
            </a:endParaRPr>
          </a:p>
        </p:txBody>
      </p:sp>
      <p:sp>
        <p:nvSpPr>
          <p:cNvPr id="22" name="Object 1021">
            <a:extLst>
              <a:ext uri="{FF2B5EF4-FFF2-40B4-BE49-F238E27FC236}">
                <a16:creationId xmlns:a16="http://schemas.microsoft.com/office/drawing/2014/main" id="{98968AEE-B64B-4DE3-8BFC-7F59CEC50B8E}"/>
              </a:ext>
            </a:extLst>
          </p:cNvPr>
          <p:cNvSpPr txBox="1"/>
          <p:nvPr/>
        </p:nvSpPr>
        <p:spPr>
          <a:xfrm>
            <a:off x="7692095" y="4675404"/>
            <a:ext cx="1417165" cy="394010"/>
          </a:xfrm>
          <a:prstGeom prst="rect">
            <a:avLst/>
          </a:prstGeom>
        </p:spPr>
        <p:txBody>
          <a:bodyPr vert="horz" lIns="0" tIns="0" rIns="0" bIns="0" rtlCol="0" anchor="t"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2800" b="0" i="0" u="none" strike="noStrike" kern="1200" cap="none" spc="52" normalizeH="0" baseline="0" noProof="0" dirty="0">
                <a:ln>
                  <a:noFill/>
                </a:ln>
                <a:solidFill>
                  <a:srgbClr val="FFFFFF"/>
                </a:solidFill>
                <a:effectLst>
                  <a:outerShdw blurRad="101600" dist="38100" dir="2700000" algn="tl" rotWithShape="0">
                    <a:prstClr val="black">
                      <a:alpha val="15000"/>
                    </a:prstClr>
                  </a:outerShdw>
                </a:effectLst>
                <a:uLnTx/>
                <a:uFillTx/>
                <a:latin typeface="OPPOSans B" panose="00020600040101010101" pitchFamily="18" charset="-122"/>
                <a:ea typeface="OPPOSans B" panose="00020600040101010101" pitchFamily="18" charset="-122"/>
                <a:cs typeface="OPPOSans B" panose="00020600040101010101" pitchFamily="18" charset="-122"/>
              </a:rPr>
              <a:t>培训</a:t>
            </a:r>
            <a:endParaRPr kumimoji="0" lang="zh-CN" altLang="en-US" sz="1000" b="0" i="0" u="none" strike="noStrike" kern="1200" cap="none" spc="0" normalizeH="0" baseline="0" noProof="0">
              <a:ln>
                <a:noFill/>
              </a:ln>
              <a:solidFill>
                <a:srgbClr val="000000"/>
              </a:solidFill>
              <a:effectLst>
                <a:outerShdw blurRad="101600" dist="38100" dir="2700000" algn="tl" rotWithShape="0">
                  <a:prstClr val="black">
                    <a:alpha val="15000"/>
                  </a:prstClr>
                </a:outerShdw>
              </a:effectLst>
              <a:uLnTx/>
              <a:uFillTx/>
              <a:latin typeface="OPPOSans B" panose="00020600040101010101" pitchFamily="18" charset="-122"/>
              <a:ea typeface="OPPOSans B" panose="00020600040101010101" pitchFamily="18" charset="-122"/>
              <a:cs typeface="OPPOSans B" panose="00020600040101010101" pitchFamily="18" charset="-122"/>
            </a:endParaRPr>
          </a:p>
        </p:txBody>
      </p:sp>
      <p:sp>
        <p:nvSpPr>
          <p:cNvPr id="23" name="Object 1022">
            <a:extLst>
              <a:ext uri="{FF2B5EF4-FFF2-40B4-BE49-F238E27FC236}">
                <a16:creationId xmlns:a16="http://schemas.microsoft.com/office/drawing/2014/main" id="{4D236A4D-3856-4D19-9EE8-956B3EAFB231}"/>
              </a:ext>
            </a:extLst>
          </p:cNvPr>
          <p:cNvSpPr txBox="1"/>
          <p:nvPr/>
        </p:nvSpPr>
        <p:spPr>
          <a:xfrm>
            <a:off x="7691716" y="5185846"/>
            <a:ext cx="1417165" cy="216070"/>
          </a:xfrm>
          <a:prstGeom prst="rect">
            <a:avLst/>
          </a:prstGeom>
        </p:spPr>
        <p:txBody>
          <a:bodyPr vert="horz" lIns="0" tIns="0" rIns="0" bIns="0" rtlCol="0" anchor="t"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200" b="0" i="0" u="none" strike="noStrike" kern="1200" cap="none" spc="28" normalizeH="0" baseline="0" noProof="0" dirty="0">
                <a:ln>
                  <a:noFill/>
                </a:ln>
                <a:solidFill>
                  <a:srgbClr val="FFFFFF"/>
                </a:solidFill>
                <a:effectLst>
                  <a:outerShdw blurRad="101600" dist="38100" dir="2700000" algn="tl" rotWithShape="0">
                    <a:prstClr val="black">
                      <a:alpha val="15000"/>
                    </a:prstClr>
                  </a:outerShdw>
                </a:effectLst>
                <a:uLnTx/>
                <a:uFillTx/>
                <a:latin typeface="OPPOSans R" panose="00020600040101010101" pitchFamily="18" charset="-122"/>
                <a:ea typeface="OPPOSans R" panose="00020600040101010101" pitchFamily="18" charset="-122"/>
                <a:cs typeface="OPPOSans R" panose="00020600040101010101" pitchFamily="18" charset="-122"/>
              </a:rPr>
              <a:t>认同度较低</a:t>
            </a:r>
            <a:endParaRPr kumimoji="0" lang="zh-CN" altLang="en-US" sz="1000" b="0" i="0" u="none" strike="noStrike" kern="1200" cap="none" spc="0" normalizeH="0" baseline="0" noProof="0">
              <a:ln>
                <a:noFill/>
              </a:ln>
              <a:solidFill>
                <a:srgbClr val="000000"/>
              </a:solidFill>
              <a:effectLst>
                <a:outerShdw blurRad="101600" dist="38100" dir="2700000" algn="tl" rotWithShape="0">
                  <a:prstClr val="black">
                    <a:alpha val="15000"/>
                  </a:prstClr>
                </a:outerShdw>
              </a:effectLst>
              <a:uLnTx/>
              <a:uFillTx/>
              <a:latin typeface="OPPOSans R" panose="00020600040101010101" pitchFamily="18" charset="-122"/>
              <a:ea typeface="OPPOSans R" panose="00020600040101010101" pitchFamily="18" charset="-122"/>
              <a:cs typeface="OPPOSans R" panose="00020600040101010101" pitchFamily="18" charset="-122"/>
            </a:endParaRPr>
          </a:p>
        </p:txBody>
      </p:sp>
      <p:sp>
        <p:nvSpPr>
          <p:cNvPr id="24" name="Object 1023">
            <a:extLst>
              <a:ext uri="{FF2B5EF4-FFF2-40B4-BE49-F238E27FC236}">
                <a16:creationId xmlns:a16="http://schemas.microsoft.com/office/drawing/2014/main" id="{D4982BAF-3F14-42E1-9D90-FBCDEAE7649D}"/>
              </a:ext>
            </a:extLst>
          </p:cNvPr>
          <p:cNvSpPr txBox="1"/>
          <p:nvPr/>
        </p:nvSpPr>
        <p:spPr>
          <a:xfrm>
            <a:off x="7438602" y="5472588"/>
            <a:ext cx="1919210" cy="216070"/>
          </a:xfrm>
          <a:prstGeom prst="rect">
            <a:avLst/>
          </a:prstGeom>
        </p:spPr>
        <p:txBody>
          <a:bodyPr vert="horz" lIns="0" tIns="0" rIns="0" bIns="0" rtlCol="0" anchor="t"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200" b="0" i="0" u="none" strike="noStrike" kern="1200" cap="none" spc="28" normalizeH="0" baseline="0" noProof="0" dirty="0">
                <a:ln>
                  <a:noFill/>
                </a:ln>
                <a:solidFill>
                  <a:srgbClr val="FFFFFF"/>
                </a:solidFill>
                <a:effectLst>
                  <a:outerShdw blurRad="101600" dist="38100" dir="2700000" algn="tl" rotWithShape="0">
                    <a:prstClr val="black">
                      <a:alpha val="15000"/>
                    </a:prstClr>
                  </a:outerShdw>
                </a:effectLst>
                <a:uLnTx/>
                <a:uFillTx/>
                <a:latin typeface="OPPOSans R" panose="00020600040101010101" pitchFamily="18" charset="-122"/>
                <a:ea typeface="OPPOSans R" panose="00020600040101010101" pitchFamily="18" charset="-122"/>
                <a:cs typeface="OPPOSans R" panose="00020600040101010101" pitchFamily="18" charset="-122"/>
              </a:rPr>
              <a:t>领导性格不合</a:t>
            </a:r>
            <a:endParaRPr kumimoji="0" lang="zh-CN" altLang="en-US" sz="1000" b="0" i="0" u="none" strike="noStrike" kern="1200" cap="none" spc="0" normalizeH="0" baseline="0" noProof="0">
              <a:ln>
                <a:noFill/>
              </a:ln>
              <a:solidFill>
                <a:srgbClr val="000000"/>
              </a:solidFill>
              <a:effectLst>
                <a:outerShdw blurRad="101600" dist="38100" dir="2700000" algn="tl" rotWithShape="0">
                  <a:prstClr val="black">
                    <a:alpha val="15000"/>
                  </a:prstClr>
                </a:outerShdw>
              </a:effectLst>
              <a:uLnTx/>
              <a:uFillTx/>
              <a:latin typeface="OPPOSans R" panose="00020600040101010101" pitchFamily="18" charset="-122"/>
              <a:ea typeface="OPPOSans R" panose="00020600040101010101" pitchFamily="18" charset="-122"/>
              <a:cs typeface="OPPOSans R" panose="00020600040101010101" pitchFamily="18" charset="-122"/>
            </a:endParaRPr>
          </a:p>
        </p:txBody>
      </p:sp>
      <p:sp>
        <p:nvSpPr>
          <p:cNvPr id="96" name="椭圆 95">
            <a:extLst>
              <a:ext uri="{FF2B5EF4-FFF2-40B4-BE49-F238E27FC236}">
                <a16:creationId xmlns:a16="http://schemas.microsoft.com/office/drawing/2014/main" id="{58F7E53A-B2E8-4996-8B3E-3379D6F179AA}"/>
              </a:ext>
            </a:extLst>
          </p:cNvPr>
          <p:cNvSpPr>
            <a:spLocks/>
          </p:cNvSpPr>
          <p:nvPr/>
        </p:nvSpPr>
        <p:spPr>
          <a:xfrm>
            <a:off x="9156700" y="3657600"/>
            <a:ext cx="495300" cy="495300"/>
          </a:xfrm>
          <a:prstGeom prst="ellipse">
            <a:avLst/>
          </a:prstGeom>
          <a:solidFill>
            <a:schemeClr val="accent1">
              <a:lumMod val="100000"/>
            </a:schemeClr>
          </a:solidFill>
          <a:ln w="25400">
            <a:solidFill>
              <a:schemeClr val="accent1">
                <a:lumMod val="10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Arial" panose="020F0502020204030204"/>
              <a:ea typeface="微软雅黑"/>
              <a:cs typeface="+mn-cs"/>
            </a:endParaRPr>
          </a:p>
        </p:txBody>
      </p:sp>
      <p:sp>
        <p:nvSpPr>
          <p:cNvPr id="33" name="Object 1032">
            <a:extLst>
              <a:ext uri="{FF2B5EF4-FFF2-40B4-BE49-F238E27FC236}">
                <a16:creationId xmlns:a16="http://schemas.microsoft.com/office/drawing/2014/main" id="{B74CD1F3-240E-4F87-8162-CDD06443A110}"/>
              </a:ext>
            </a:extLst>
          </p:cNvPr>
          <p:cNvSpPr txBox="1"/>
          <p:nvPr/>
        </p:nvSpPr>
        <p:spPr>
          <a:xfrm>
            <a:off x="9112223" y="3733665"/>
            <a:ext cx="603278" cy="343170"/>
          </a:xfrm>
          <a:prstGeom prst="rect">
            <a:avLst/>
          </a:prstGeom>
        </p:spPr>
        <p:txBody>
          <a:bodyPr vert="horz" lIns="90000" tIns="46800" rIns="90000" bIns="46800" rtlCol="0" anchor="t"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2000" b="0" i="0" u="none" strike="noStrike" kern="1200" cap="none" spc="45" normalizeH="0" baseline="0" noProof="0" dirty="0">
                <a:ln>
                  <a:noFill/>
                </a:ln>
                <a:solidFill>
                  <a:srgbClr val="313131"/>
                </a:solidFill>
                <a:effectLst/>
                <a:uLnTx/>
                <a:uFillTx/>
                <a:latin typeface="OPPOSans B" panose="00020600040101010101" pitchFamily="18" charset="-122"/>
                <a:ea typeface="OPPOSans B" panose="00020600040101010101" pitchFamily="18" charset="-122"/>
                <a:cs typeface="OPPOSans B" panose="00020600040101010101" pitchFamily="18" charset="-122"/>
              </a:rPr>
              <a:t>04</a:t>
            </a:r>
            <a:endParaRPr kumimoji="0" lang="zh-CN" altLang="en-US" sz="900" b="0" i="0" u="none" strike="noStrike" kern="1200" cap="none" spc="0" normalizeH="0" baseline="0" noProof="0" dirty="0">
              <a:ln>
                <a:noFill/>
              </a:ln>
              <a:solidFill>
                <a:srgbClr val="000000"/>
              </a:solidFill>
              <a:effectLst/>
              <a:uLnTx/>
              <a:uFillTx/>
              <a:latin typeface="OPPOSans B" panose="00020600040101010101" pitchFamily="18" charset="-122"/>
              <a:ea typeface="OPPOSans B" panose="00020600040101010101" pitchFamily="18" charset="-122"/>
              <a:cs typeface="OPPOSans B" panose="00020600040101010101" pitchFamily="18" charset="-122"/>
            </a:endParaRPr>
          </a:p>
        </p:txBody>
      </p:sp>
      <p:sp>
        <p:nvSpPr>
          <p:cNvPr id="88" name="椭圆 87">
            <a:extLst>
              <a:ext uri="{FF2B5EF4-FFF2-40B4-BE49-F238E27FC236}">
                <a16:creationId xmlns:a16="http://schemas.microsoft.com/office/drawing/2014/main" id="{94F0975A-E7B6-4C54-8E87-BB18641502A2}"/>
              </a:ext>
            </a:extLst>
          </p:cNvPr>
          <p:cNvSpPr>
            <a:spLocks/>
          </p:cNvSpPr>
          <p:nvPr/>
        </p:nvSpPr>
        <p:spPr>
          <a:xfrm>
            <a:off x="5549900" y="1536700"/>
            <a:ext cx="2076449" cy="2079001"/>
          </a:xfrm>
          <a:prstGeom prst="ellipse">
            <a:avLst/>
          </a:prstGeom>
          <a:gradFill flip="none" rotWithShape="1">
            <a:gsLst>
              <a:gs pos="0">
                <a:schemeClr val="accent1">
                  <a:lumMod val="100000"/>
                </a:schemeClr>
              </a:gs>
              <a:gs pos="100000">
                <a:schemeClr val="accent1">
                  <a:lumMod val="60000"/>
                  <a:lumOff val="40000"/>
                </a:schemeClr>
              </a:gs>
            </a:gsLst>
            <a:lin ang="16200000" scaled="1"/>
            <a:tileRect/>
          </a:gradFill>
          <a:ln>
            <a:noFill/>
          </a:ln>
          <a:effectLst>
            <a:outerShdw blurRad="330200" dist="203200" dir="5400000" sx="90000" sy="90000" algn="t" rotWithShape="0">
              <a:schemeClr val="accent1">
                <a:lumMod val="50000"/>
                <a:alpha val="2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Arial" panose="020F0502020204030204"/>
              <a:ea typeface="微软雅黑"/>
              <a:cs typeface="+mn-cs"/>
            </a:endParaRPr>
          </a:p>
        </p:txBody>
      </p:sp>
      <p:sp>
        <p:nvSpPr>
          <p:cNvPr id="37" name="Object 1036">
            <a:extLst>
              <a:ext uri="{FF2B5EF4-FFF2-40B4-BE49-F238E27FC236}">
                <a16:creationId xmlns:a16="http://schemas.microsoft.com/office/drawing/2014/main" id="{64B3CD2B-8836-41CA-AFE5-11F9301D684D}"/>
              </a:ext>
            </a:extLst>
          </p:cNvPr>
          <p:cNvSpPr txBox="1"/>
          <p:nvPr/>
        </p:nvSpPr>
        <p:spPr>
          <a:xfrm>
            <a:off x="5904669" y="1881404"/>
            <a:ext cx="1417165" cy="394010"/>
          </a:xfrm>
          <a:prstGeom prst="rect">
            <a:avLst/>
          </a:prstGeom>
        </p:spPr>
        <p:txBody>
          <a:bodyPr vert="horz" lIns="0" tIns="0" rIns="0" bIns="0" rtlCol="0" anchor="t"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2800" b="0" i="0" u="none" strike="noStrike" kern="1200" cap="none" spc="52" normalizeH="0" baseline="0" noProof="0" dirty="0">
                <a:ln>
                  <a:noFill/>
                </a:ln>
                <a:solidFill>
                  <a:srgbClr val="FFFFFF"/>
                </a:solidFill>
                <a:effectLst>
                  <a:outerShdw blurRad="101600" dist="38100" dir="2700000" algn="tl" rotWithShape="0">
                    <a:prstClr val="black">
                      <a:alpha val="15000"/>
                    </a:prstClr>
                  </a:outerShdw>
                </a:effectLst>
                <a:uLnTx/>
                <a:uFillTx/>
                <a:latin typeface="OPPOSans B" panose="00020600040101010101" pitchFamily="18" charset="-122"/>
                <a:ea typeface="OPPOSans B" panose="00020600040101010101" pitchFamily="18" charset="-122"/>
                <a:cs typeface="OPPOSans B" panose="00020600040101010101" pitchFamily="18" charset="-122"/>
              </a:rPr>
              <a:t>企业</a:t>
            </a:r>
            <a:endParaRPr kumimoji="0" lang="zh-CN" altLang="en-US" sz="1000" b="0" i="0" u="none" strike="noStrike" kern="1200" cap="none" spc="0" normalizeH="0" baseline="0" noProof="0">
              <a:ln>
                <a:noFill/>
              </a:ln>
              <a:solidFill>
                <a:srgbClr val="000000"/>
              </a:solidFill>
              <a:effectLst>
                <a:outerShdw blurRad="101600" dist="38100" dir="2700000" algn="tl" rotWithShape="0">
                  <a:prstClr val="black">
                    <a:alpha val="15000"/>
                  </a:prstClr>
                </a:outerShdw>
              </a:effectLst>
              <a:uLnTx/>
              <a:uFillTx/>
              <a:latin typeface="OPPOSans B" panose="00020600040101010101" pitchFamily="18" charset="-122"/>
              <a:ea typeface="OPPOSans B" panose="00020600040101010101" pitchFamily="18" charset="-122"/>
              <a:cs typeface="OPPOSans B" panose="00020600040101010101" pitchFamily="18" charset="-122"/>
            </a:endParaRPr>
          </a:p>
        </p:txBody>
      </p:sp>
      <p:sp>
        <p:nvSpPr>
          <p:cNvPr id="38" name="Object 1037">
            <a:extLst>
              <a:ext uri="{FF2B5EF4-FFF2-40B4-BE49-F238E27FC236}">
                <a16:creationId xmlns:a16="http://schemas.microsoft.com/office/drawing/2014/main" id="{5F480C3C-074F-4013-BEF1-565C8291B0C3}"/>
              </a:ext>
            </a:extLst>
          </p:cNvPr>
          <p:cNvSpPr txBox="1"/>
          <p:nvPr/>
        </p:nvSpPr>
        <p:spPr>
          <a:xfrm>
            <a:off x="5909542" y="2391845"/>
            <a:ext cx="1417165" cy="241490"/>
          </a:xfrm>
          <a:prstGeom prst="rect">
            <a:avLst/>
          </a:prstGeom>
        </p:spPr>
        <p:txBody>
          <a:bodyPr vert="horz" lIns="0" tIns="0" rIns="0" bIns="0" rtlCol="0" anchor="t" anchorCtr="0">
            <a:noAutofit/>
          </a:bodyPr>
          <a:lstStyle/>
          <a:p>
            <a:pPr marL="0" marR="0" lvl="0" indent="0" algn="ctr" defTabSz="914400" rtl="0" eaLnBrk="1" fontAlgn="auto" latinLnBrk="0" hangingPunct="1">
              <a:lnSpc>
                <a:spcPct val="113333"/>
              </a:lnSpc>
              <a:spcBef>
                <a:spcPts val="0"/>
              </a:spcBef>
              <a:spcAft>
                <a:spcPts val="0"/>
              </a:spcAft>
              <a:buClrTx/>
              <a:buSzTx/>
              <a:buFontTx/>
              <a:buNone/>
              <a:tabLst/>
              <a:defRPr/>
            </a:pPr>
            <a:r>
              <a:rPr kumimoji="0" lang="zh-CN" altLang="en-US" sz="1200" b="0" i="0" u="none" strike="noStrike" kern="1200" cap="none" spc="28" normalizeH="0" baseline="0" noProof="0" dirty="0">
                <a:ln>
                  <a:noFill/>
                </a:ln>
                <a:solidFill>
                  <a:srgbClr val="FFFFFF"/>
                </a:solidFill>
                <a:effectLst>
                  <a:outerShdw blurRad="101600" dist="38100" dir="2700000" algn="tl" rotWithShape="0">
                    <a:prstClr val="black">
                      <a:alpha val="15000"/>
                    </a:prstClr>
                  </a:outerShdw>
                </a:effectLst>
                <a:uLnTx/>
                <a:uFillTx/>
                <a:latin typeface="OPPOSans R" panose="00020600040101010101" pitchFamily="18" charset="-122"/>
                <a:ea typeface="OPPOSans R" panose="00020600040101010101" pitchFamily="18" charset="-122"/>
                <a:cs typeface="OPPOSans R" panose="00020600040101010101" pitchFamily="18" charset="-122"/>
              </a:rPr>
              <a:t>缺乏企业文化</a:t>
            </a:r>
            <a:endParaRPr kumimoji="0" lang="zh-CN" altLang="en-US" sz="1000" b="0" i="0" u="none" strike="noStrike" kern="1200" cap="none" spc="0" normalizeH="0" baseline="0" noProof="0">
              <a:ln>
                <a:noFill/>
              </a:ln>
              <a:solidFill>
                <a:srgbClr val="000000"/>
              </a:solidFill>
              <a:effectLst>
                <a:outerShdw blurRad="101600" dist="38100" dir="2700000" algn="tl" rotWithShape="0">
                  <a:prstClr val="black">
                    <a:alpha val="15000"/>
                  </a:prstClr>
                </a:outerShdw>
              </a:effectLst>
              <a:uLnTx/>
              <a:uFillTx/>
              <a:latin typeface="OPPOSans R" panose="00020600040101010101" pitchFamily="18" charset="-122"/>
              <a:ea typeface="OPPOSans R" panose="00020600040101010101" pitchFamily="18" charset="-122"/>
              <a:cs typeface="OPPOSans R" panose="00020600040101010101" pitchFamily="18" charset="-122"/>
            </a:endParaRPr>
          </a:p>
        </p:txBody>
      </p:sp>
      <p:sp>
        <p:nvSpPr>
          <p:cNvPr id="39" name="Object 1038">
            <a:extLst>
              <a:ext uri="{FF2B5EF4-FFF2-40B4-BE49-F238E27FC236}">
                <a16:creationId xmlns:a16="http://schemas.microsoft.com/office/drawing/2014/main" id="{D0A68EDB-9240-4F9C-9F24-1E985A77B765}"/>
              </a:ext>
            </a:extLst>
          </p:cNvPr>
          <p:cNvSpPr txBox="1"/>
          <p:nvPr/>
        </p:nvSpPr>
        <p:spPr>
          <a:xfrm>
            <a:off x="5654041" y="2684045"/>
            <a:ext cx="1919210" cy="241490"/>
          </a:xfrm>
          <a:prstGeom prst="rect">
            <a:avLst/>
          </a:prstGeom>
        </p:spPr>
        <p:txBody>
          <a:bodyPr vert="horz" lIns="0" tIns="0" rIns="0" bIns="0" rtlCol="0" anchor="t" anchorCtr="0">
            <a:noAutofit/>
          </a:bodyPr>
          <a:lstStyle/>
          <a:p>
            <a:pPr marL="0" marR="0" lvl="0" indent="0" algn="ctr" defTabSz="914400" rtl="0" eaLnBrk="1" fontAlgn="auto" latinLnBrk="0" hangingPunct="1">
              <a:lnSpc>
                <a:spcPct val="113333"/>
              </a:lnSpc>
              <a:spcBef>
                <a:spcPts val="0"/>
              </a:spcBef>
              <a:spcAft>
                <a:spcPts val="0"/>
              </a:spcAft>
              <a:buClrTx/>
              <a:buSzTx/>
              <a:buFontTx/>
              <a:buNone/>
              <a:tabLst/>
              <a:defRPr/>
            </a:pPr>
            <a:r>
              <a:rPr kumimoji="0" lang="zh-CN" altLang="en-US" sz="1200" b="0" i="0" u="none" strike="noStrike" kern="1200" cap="none" spc="28" normalizeH="0" baseline="0" noProof="0" dirty="0">
                <a:ln>
                  <a:noFill/>
                </a:ln>
                <a:solidFill>
                  <a:srgbClr val="FFFFFF"/>
                </a:solidFill>
                <a:effectLst>
                  <a:outerShdw blurRad="101600" dist="38100" dir="2700000" algn="tl" rotWithShape="0">
                    <a:prstClr val="black">
                      <a:alpha val="15000"/>
                    </a:prstClr>
                  </a:outerShdw>
                </a:effectLst>
                <a:uLnTx/>
                <a:uFillTx/>
                <a:latin typeface="OPPOSans R" panose="00020600040101010101" pitchFamily="18" charset="-122"/>
                <a:ea typeface="OPPOSans R" panose="00020600040101010101" pitchFamily="18" charset="-122"/>
                <a:cs typeface="OPPOSans R" panose="00020600040101010101" pitchFamily="18" charset="-122"/>
              </a:rPr>
              <a:t>缺乏未来战略管理</a:t>
            </a:r>
            <a:endParaRPr kumimoji="0" lang="zh-CN" altLang="en-US" sz="1000" b="0" i="0" u="none" strike="noStrike" kern="1200" cap="none" spc="0" normalizeH="0" baseline="0" noProof="0">
              <a:ln>
                <a:noFill/>
              </a:ln>
              <a:solidFill>
                <a:srgbClr val="000000"/>
              </a:solidFill>
              <a:effectLst>
                <a:outerShdw blurRad="101600" dist="38100" dir="2700000" algn="tl" rotWithShape="0">
                  <a:prstClr val="black">
                    <a:alpha val="15000"/>
                  </a:prstClr>
                </a:outerShdw>
              </a:effectLst>
              <a:uLnTx/>
              <a:uFillTx/>
              <a:latin typeface="OPPOSans R" panose="00020600040101010101" pitchFamily="18" charset="-122"/>
              <a:ea typeface="OPPOSans R" panose="00020600040101010101" pitchFamily="18" charset="-122"/>
              <a:cs typeface="OPPOSans R" panose="00020600040101010101" pitchFamily="18" charset="-122"/>
            </a:endParaRPr>
          </a:p>
        </p:txBody>
      </p:sp>
      <p:sp>
        <p:nvSpPr>
          <p:cNvPr id="40" name="Object 1039">
            <a:extLst>
              <a:ext uri="{FF2B5EF4-FFF2-40B4-BE49-F238E27FC236}">
                <a16:creationId xmlns:a16="http://schemas.microsoft.com/office/drawing/2014/main" id="{3475EB8E-A26D-4C62-82F0-AEAB37BF1892}"/>
              </a:ext>
            </a:extLst>
          </p:cNvPr>
          <p:cNvSpPr txBox="1"/>
          <p:nvPr/>
        </p:nvSpPr>
        <p:spPr>
          <a:xfrm>
            <a:off x="5655740" y="2976542"/>
            <a:ext cx="1919210" cy="216070"/>
          </a:xfrm>
          <a:prstGeom prst="rect">
            <a:avLst/>
          </a:prstGeom>
        </p:spPr>
        <p:txBody>
          <a:bodyPr vert="horz" lIns="0" tIns="0" rIns="0" bIns="0" rtlCol="0" anchor="t"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200" b="0" i="0" u="none" strike="noStrike" kern="1200" cap="none" spc="28" normalizeH="0" baseline="0" noProof="0" dirty="0">
                <a:ln>
                  <a:noFill/>
                </a:ln>
                <a:solidFill>
                  <a:srgbClr val="FFFFFF"/>
                </a:solidFill>
                <a:effectLst>
                  <a:outerShdw blurRad="101600" dist="38100" dir="2700000" algn="tl" rotWithShape="0">
                    <a:prstClr val="black">
                      <a:alpha val="15000"/>
                    </a:prstClr>
                  </a:outerShdw>
                </a:effectLst>
                <a:uLnTx/>
                <a:uFillTx/>
                <a:latin typeface="OPPOSans R" panose="00020600040101010101" pitchFamily="18" charset="-122"/>
                <a:ea typeface="OPPOSans R" panose="00020600040101010101" pitchFamily="18" charset="-122"/>
                <a:cs typeface="OPPOSans R" panose="00020600040101010101" pitchFamily="18" charset="-122"/>
              </a:rPr>
              <a:t>工作环境不好</a:t>
            </a:r>
            <a:endParaRPr kumimoji="0" lang="zh-CN" altLang="en-US" sz="1000" b="0" i="0" u="none" strike="noStrike" kern="1200" cap="none" spc="0" normalizeH="0" baseline="0" noProof="0">
              <a:ln>
                <a:noFill/>
              </a:ln>
              <a:solidFill>
                <a:srgbClr val="000000"/>
              </a:solidFill>
              <a:effectLst>
                <a:outerShdw blurRad="101600" dist="38100" dir="2700000" algn="tl" rotWithShape="0">
                  <a:prstClr val="black">
                    <a:alpha val="15000"/>
                  </a:prstClr>
                </a:outerShdw>
              </a:effectLst>
              <a:uLnTx/>
              <a:uFillTx/>
              <a:latin typeface="OPPOSans R" panose="00020600040101010101" pitchFamily="18" charset="-122"/>
              <a:ea typeface="OPPOSans R" panose="00020600040101010101" pitchFamily="18" charset="-122"/>
              <a:cs typeface="OPPOSans R" panose="00020600040101010101" pitchFamily="18" charset="-122"/>
            </a:endParaRPr>
          </a:p>
        </p:txBody>
      </p:sp>
      <p:sp>
        <p:nvSpPr>
          <p:cNvPr id="91" name="椭圆 90">
            <a:extLst>
              <a:ext uri="{FF2B5EF4-FFF2-40B4-BE49-F238E27FC236}">
                <a16:creationId xmlns:a16="http://schemas.microsoft.com/office/drawing/2014/main" id="{DE9E7466-F5DC-4637-BCA9-FFAA33E500F0}"/>
              </a:ext>
            </a:extLst>
          </p:cNvPr>
          <p:cNvSpPr>
            <a:spLocks/>
          </p:cNvSpPr>
          <p:nvPr/>
        </p:nvSpPr>
        <p:spPr>
          <a:xfrm>
            <a:off x="5549900" y="4292600"/>
            <a:ext cx="2076449" cy="2079001"/>
          </a:xfrm>
          <a:prstGeom prst="ellipse">
            <a:avLst/>
          </a:prstGeom>
          <a:gradFill flip="none" rotWithShape="1">
            <a:gsLst>
              <a:gs pos="0">
                <a:schemeClr val="accent1">
                  <a:lumMod val="100000"/>
                </a:schemeClr>
              </a:gs>
              <a:gs pos="100000">
                <a:schemeClr val="accent1">
                  <a:lumMod val="60000"/>
                  <a:lumOff val="40000"/>
                </a:schemeClr>
              </a:gs>
            </a:gsLst>
            <a:lin ang="16200000" scaled="1"/>
            <a:tileRect/>
          </a:gradFill>
          <a:ln>
            <a:noFill/>
          </a:ln>
          <a:effectLst>
            <a:outerShdw blurRad="330200" dist="203200" dir="5400000" sx="90000" sy="90000" algn="t" rotWithShape="0">
              <a:schemeClr val="accent1">
                <a:lumMod val="50000"/>
                <a:alpha val="2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Arial" panose="020F0502020204030204"/>
              <a:ea typeface="微软雅黑"/>
              <a:cs typeface="+mn-cs"/>
            </a:endParaRPr>
          </a:p>
        </p:txBody>
      </p:sp>
      <p:sp>
        <p:nvSpPr>
          <p:cNvPr id="44" name="Object 1043">
            <a:extLst>
              <a:ext uri="{FF2B5EF4-FFF2-40B4-BE49-F238E27FC236}">
                <a16:creationId xmlns:a16="http://schemas.microsoft.com/office/drawing/2014/main" id="{E33A3F09-728B-4BFD-8608-187B7F8AF706}"/>
              </a:ext>
            </a:extLst>
          </p:cNvPr>
          <p:cNvSpPr txBox="1"/>
          <p:nvPr/>
        </p:nvSpPr>
        <p:spPr>
          <a:xfrm>
            <a:off x="5904669" y="4618254"/>
            <a:ext cx="1417165" cy="394010"/>
          </a:xfrm>
          <a:prstGeom prst="rect">
            <a:avLst/>
          </a:prstGeom>
        </p:spPr>
        <p:txBody>
          <a:bodyPr vert="horz" lIns="0" tIns="0" rIns="0" bIns="0" rtlCol="0" anchor="t"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2800" b="0" i="0" u="none" strike="noStrike" kern="1200" cap="none" spc="52" normalizeH="0" baseline="0" noProof="0" dirty="0">
                <a:ln>
                  <a:noFill/>
                </a:ln>
                <a:solidFill>
                  <a:srgbClr val="FFFFFF"/>
                </a:solidFill>
                <a:effectLst>
                  <a:outerShdw blurRad="101600" dist="38100" dir="2700000" algn="tl" rotWithShape="0">
                    <a:prstClr val="black">
                      <a:alpha val="15000"/>
                    </a:prstClr>
                  </a:outerShdw>
                </a:effectLst>
                <a:uLnTx/>
                <a:uFillTx/>
                <a:latin typeface="OPPOSans B" panose="00020600040101010101" pitchFamily="18" charset="-122"/>
                <a:ea typeface="OPPOSans B" panose="00020600040101010101" pitchFamily="18" charset="-122"/>
                <a:cs typeface="OPPOSans B" panose="00020600040101010101" pitchFamily="18" charset="-122"/>
              </a:rPr>
              <a:t>企业</a:t>
            </a:r>
            <a:endParaRPr kumimoji="0" lang="zh-CN" altLang="en-US" sz="1000" b="0" i="0" u="none" strike="noStrike" kern="1200" cap="none" spc="0" normalizeH="0" baseline="0" noProof="0">
              <a:ln>
                <a:noFill/>
              </a:ln>
              <a:solidFill>
                <a:srgbClr val="000000"/>
              </a:solidFill>
              <a:effectLst>
                <a:outerShdw blurRad="101600" dist="38100" dir="2700000" algn="tl" rotWithShape="0">
                  <a:prstClr val="black">
                    <a:alpha val="15000"/>
                  </a:prstClr>
                </a:outerShdw>
              </a:effectLst>
              <a:uLnTx/>
              <a:uFillTx/>
              <a:latin typeface="OPPOSans B" panose="00020600040101010101" pitchFamily="18" charset="-122"/>
              <a:ea typeface="OPPOSans B" panose="00020600040101010101" pitchFamily="18" charset="-122"/>
              <a:cs typeface="OPPOSans B" panose="00020600040101010101" pitchFamily="18" charset="-122"/>
            </a:endParaRPr>
          </a:p>
        </p:txBody>
      </p:sp>
      <p:sp>
        <p:nvSpPr>
          <p:cNvPr id="45" name="Object 1044">
            <a:extLst>
              <a:ext uri="{FF2B5EF4-FFF2-40B4-BE49-F238E27FC236}">
                <a16:creationId xmlns:a16="http://schemas.microsoft.com/office/drawing/2014/main" id="{3AE70A31-7605-4C7F-BEFE-1E24E40F8A1D}"/>
              </a:ext>
            </a:extLst>
          </p:cNvPr>
          <p:cNvSpPr txBox="1"/>
          <p:nvPr/>
        </p:nvSpPr>
        <p:spPr>
          <a:xfrm>
            <a:off x="5910627" y="5166399"/>
            <a:ext cx="1417165" cy="241490"/>
          </a:xfrm>
          <a:prstGeom prst="rect">
            <a:avLst/>
          </a:prstGeom>
        </p:spPr>
        <p:txBody>
          <a:bodyPr vert="horz" lIns="0" tIns="0" rIns="0" bIns="0" rtlCol="0" anchor="t" anchorCtr="0">
            <a:noAutofit/>
          </a:bodyPr>
          <a:lstStyle/>
          <a:p>
            <a:pPr marL="0" marR="0" lvl="0" indent="0" algn="ctr" defTabSz="914400" rtl="0" eaLnBrk="1" fontAlgn="auto" latinLnBrk="0" hangingPunct="1">
              <a:lnSpc>
                <a:spcPct val="113333"/>
              </a:lnSpc>
              <a:spcBef>
                <a:spcPts val="0"/>
              </a:spcBef>
              <a:spcAft>
                <a:spcPts val="0"/>
              </a:spcAft>
              <a:buClrTx/>
              <a:buSzTx/>
              <a:buFontTx/>
              <a:buNone/>
              <a:tabLst/>
              <a:defRPr/>
            </a:pPr>
            <a:r>
              <a:rPr kumimoji="0" lang="zh-CN" altLang="en-US" sz="1200" b="0" i="0" u="none" strike="noStrike" kern="1200" cap="none" spc="28" normalizeH="0" baseline="0" noProof="0" dirty="0">
                <a:ln>
                  <a:noFill/>
                </a:ln>
                <a:solidFill>
                  <a:srgbClr val="FFFFFF"/>
                </a:solidFill>
                <a:effectLst>
                  <a:outerShdw blurRad="101600" dist="38100" dir="2700000" algn="tl" rotWithShape="0">
                    <a:prstClr val="black">
                      <a:alpha val="15000"/>
                    </a:prstClr>
                  </a:outerShdw>
                </a:effectLst>
                <a:uLnTx/>
                <a:uFillTx/>
                <a:latin typeface="OPPOSans R" panose="00020600040101010101" pitchFamily="18" charset="-122"/>
                <a:ea typeface="OPPOSans R" panose="00020600040101010101" pitchFamily="18" charset="-122"/>
                <a:cs typeface="OPPOSans R" panose="00020600040101010101" pitchFamily="18" charset="-122"/>
              </a:rPr>
              <a:t>组织管理不健全</a:t>
            </a:r>
            <a:endParaRPr kumimoji="0" lang="zh-CN" altLang="en-US" sz="1000" b="0" i="0" u="none" strike="noStrike" kern="1200" cap="none" spc="0" normalizeH="0" baseline="0" noProof="0">
              <a:ln>
                <a:noFill/>
              </a:ln>
              <a:solidFill>
                <a:srgbClr val="000000"/>
              </a:solidFill>
              <a:effectLst>
                <a:outerShdw blurRad="101600" dist="38100" dir="2700000" algn="tl" rotWithShape="0">
                  <a:prstClr val="black">
                    <a:alpha val="15000"/>
                  </a:prstClr>
                </a:outerShdw>
              </a:effectLst>
              <a:uLnTx/>
              <a:uFillTx/>
              <a:latin typeface="OPPOSans R" panose="00020600040101010101" pitchFamily="18" charset="-122"/>
              <a:ea typeface="OPPOSans R" panose="00020600040101010101" pitchFamily="18" charset="-122"/>
              <a:cs typeface="OPPOSans R" panose="00020600040101010101" pitchFamily="18" charset="-122"/>
            </a:endParaRPr>
          </a:p>
        </p:txBody>
      </p:sp>
      <p:sp>
        <p:nvSpPr>
          <p:cNvPr id="46" name="Object 1045">
            <a:extLst>
              <a:ext uri="{FF2B5EF4-FFF2-40B4-BE49-F238E27FC236}">
                <a16:creationId xmlns:a16="http://schemas.microsoft.com/office/drawing/2014/main" id="{4FEEFFA8-261A-4238-BBB1-B8E9F8448384}"/>
              </a:ext>
            </a:extLst>
          </p:cNvPr>
          <p:cNvSpPr txBox="1"/>
          <p:nvPr/>
        </p:nvSpPr>
        <p:spPr>
          <a:xfrm>
            <a:off x="5653849" y="5464849"/>
            <a:ext cx="1919210" cy="216070"/>
          </a:xfrm>
          <a:prstGeom prst="rect">
            <a:avLst/>
          </a:prstGeom>
        </p:spPr>
        <p:txBody>
          <a:bodyPr vert="horz" lIns="0" tIns="0" rIns="0" bIns="0" rtlCol="0" anchor="t"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200" b="0" i="0" u="none" strike="noStrike" kern="1200" cap="none" spc="28" normalizeH="0" baseline="0" noProof="0" dirty="0">
                <a:ln>
                  <a:noFill/>
                </a:ln>
                <a:solidFill>
                  <a:srgbClr val="FFFFFF"/>
                </a:solidFill>
                <a:effectLst>
                  <a:outerShdw blurRad="101600" dist="38100" dir="2700000" algn="tl" rotWithShape="0">
                    <a:prstClr val="black">
                      <a:alpha val="15000"/>
                    </a:prstClr>
                  </a:outerShdw>
                </a:effectLst>
                <a:uLnTx/>
                <a:uFillTx/>
                <a:latin typeface="OPPOSans R" panose="00020600040101010101" pitchFamily="18" charset="-122"/>
                <a:ea typeface="OPPOSans R" panose="00020600040101010101" pitchFamily="18" charset="-122"/>
                <a:cs typeface="OPPOSans R" panose="00020600040101010101" pitchFamily="18" charset="-122"/>
              </a:rPr>
              <a:t>绩效管理不科学</a:t>
            </a:r>
            <a:endParaRPr kumimoji="0" lang="zh-CN" altLang="en-US" sz="1000" b="0" i="0" u="none" strike="noStrike" kern="1200" cap="none" spc="0" normalizeH="0" baseline="0" noProof="0">
              <a:ln>
                <a:noFill/>
              </a:ln>
              <a:solidFill>
                <a:srgbClr val="000000"/>
              </a:solidFill>
              <a:effectLst>
                <a:outerShdw blurRad="101600" dist="38100" dir="2700000" algn="tl" rotWithShape="0">
                  <a:prstClr val="black">
                    <a:alpha val="15000"/>
                  </a:prstClr>
                </a:outerShdw>
              </a:effectLst>
              <a:uLnTx/>
              <a:uFillTx/>
              <a:latin typeface="OPPOSans R" panose="00020600040101010101" pitchFamily="18" charset="-122"/>
              <a:ea typeface="OPPOSans R" panose="00020600040101010101" pitchFamily="18" charset="-122"/>
              <a:cs typeface="OPPOSans R" panose="00020600040101010101" pitchFamily="18" charset="-122"/>
            </a:endParaRPr>
          </a:p>
        </p:txBody>
      </p:sp>
      <p:sp>
        <p:nvSpPr>
          <p:cNvPr id="95" name="椭圆 94">
            <a:extLst>
              <a:ext uri="{FF2B5EF4-FFF2-40B4-BE49-F238E27FC236}">
                <a16:creationId xmlns:a16="http://schemas.microsoft.com/office/drawing/2014/main" id="{59645121-3806-44D4-B1D9-E0D21710F214}"/>
              </a:ext>
            </a:extLst>
          </p:cNvPr>
          <p:cNvSpPr>
            <a:spLocks/>
          </p:cNvSpPr>
          <p:nvPr/>
        </p:nvSpPr>
        <p:spPr>
          <a:xfrm>
            <a:off x="7251700" y="3657600"/>
            <a:ext cx="495300" cy="495300"/>
          </a:xfrm>
          <a:prstGeom prst="ellipse">
            <a:avLst/>
          </a:prstGeom>
          <a:solidFill>
            <a:schemeClr val="accent1">
              <a:lumMod val="100000"/>
            </a:schemeClr>
          </a:solidFill>
          <a:ln w="25400">
            <a:solidFill>
              <a:schemeClr val="accent1">
                <a:lumMod val="10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Arial" panose="020F0502020204030204"/>
              <a:ea typeface="微软雅黑"/>
              <a:cs typeface="+mn-cs"/>
            </a:endParaRPr>
          </a:p>
        </p:txBody>
      </p:sp>
      <p:sp>
        <p:nvSpPr>
          <p:cNvPr id="49" name="Object 1048">
            <a:extLst>
              <a:ext uri="{FF2B5EF4-FFF2-40B4-BE49-F238E27FC236}">
                <a16:creationId xmlns:a16="http://schemas.microsoft.com/office/drawing/2014/main" id="{741A8624-9C20-4D58-B0B2-5B3BD87D8A07}"/>
              </a:ext>
            </a:extLst>
          </p:cNvPr>
          <p:cNvSpPr txBox="1"/>
          <p:nvPr/>
        </p:nvSpPr>
        <p:spPr>
          <a:xfrm>
            <a:off x="7220365" y="3733665"/>
            <a:ext cx="583786" cy="343170"/>
          </a:xfrm>
          <a:prstGeom prst="rect">
            <a:avLst/>
          </a:prstGeom>
        </p:spPr>
        <p:txBody>
          <a:bodyPr vert="horz" lIns="90000" tIns="46800" rIns="90000" bIns="46800" rtlCol="0" anchor="t"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2000" b="0" i="0" u="none" strike="noStrike" kern="1200" cap="none" spc="45" normalizeH="0" baseline="0" noProof="0" dirty="0">
                <a:ln>
                  <a:noFill/>
                </a:ln>
                <a:solidFill>
                  <a:srgbClr val="313131"/>
                </a:solidFill>
                <a:effectLst/>
                <a:uLnTx/>
                <a:uFillTx/>
                <a:latin typeface="OPPOSans B" panose="00020600040101010101" pitchFamily="18" charset="-122"/>
                <a:ea typeface="OPPOSans B" panose="00020600040101010101" pitchFamily="18" charset="-122"/>
                <a:cs typeface="OPPOSans B" panose="00020600040101010101" pitchFamily="18" charset="-122"/>
              </a:rPr>
              <a:t>03</a:t>
            </a:r>
            <a:endParaRPr kumimoji="0" lang="zh-CN" altLang="en-US" sz="900" b="0" i="0" u="none" strike="noStrike" kern="1200" cap="none" spc="0" normalizeH="0" baseline="0" noProof="0" dirty="0">
              <a:ln>
                <a:noFill/>
              </a:ln>
              <a:solidFill>
                <a:srgbClr val="000000"/>
              </a:solidFill>
              <a:effectLst/>
              <a:uLnTx/>
              <a:uFillTx/>
              <a:latin typeface="OPPOSans B" panose="00020600040101010101" pitchFamily="18" charset="-122"/>
              <a:ea typeface="OPPOSans B" panose="00020600040101010101" pitchFamily="18" charset="-122"/>
              <a:cs typeface="OPPOSans B" panose="00020600040101010101" pitchFamily="18" charset="-122"/>
            </a:endParaRPr>
          </a:p>
        </p:txBody>
      </p:sp>
      <p:sp>
        <p:nvSpPr>
          <p:cNvPr id="87" name="椭圆 86">
            <a:extLst>
              <a:ext uri="{FF2B5EF4-FFF2-40B4-BE49-F238E27FC236}">
                <a16:creationId xmlns:a16="http://schemas.microsoft.com/office/drawing/2014/main" id="{874026E0-6982-497F-A30A-C70AE0C64738}"/>
              </a:ext>
            </a:extLst>
          </p:cNvPr>
          <p:cNvSpPr>
            <a:spLocks/>
          </p:cNvSpPr>
          <p:nvPr/>
        </p:nvSpPr>
        <p:spPr>
          <a:xfrm>
            <a:off x="3886200" y="1701800"/>
            <a:ext cx="1911348" cy="1917702"/>
          </a:xfrm>
          <a:prstGeom prst="ellipse">
            <a:avLst/>
          </a:prstGeom>
          <a:gradFill flip="none" rotWithShape="1">
            <a:gsLst>
              <a:gs pos="0">
                <a:schemeClr val="accent1">
                  <a:lumMod val="100000"/>
                </a:schemeClr>
              </a:gs>
              <a:gs pos="100000">
                <a:schemeClr val="accent1">
                  <a:lumMod val="60000"/>
                  <a:lumOff val="40000"/>
                </a:schemeClr>
              </a:gs>
            </a:gsLst>
            <a:lin ang="16200000" scaled="1"/>
            <a:tileRect/>
          </a:gradFill>
          <a:ln>
            <a:noFill/>
          </a:ln>
          <a:effectLst>
            <a:outerShdw blurRad="330200" dist="203200" dir="5400000" sx="90000" sy="90000" algn="t" rotWithShape="0">
              <a:schemeClr val="accent1">
                <a:lumMod val="50000"/>
                <a:alpha val="2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Arial" panose="020F0502020204030204"/>
              <a:ea typeface="微软雅黑"/>
              <a:cs typeface="+mn-cs"/>
            </a:endParaRPr>
          </a:p>
        </p:txBody>
      </p:sp>
      <p:sp>
        <p:nvSpPr>
          <p:cNvPr id="53" name="Object 1052">
            <a:extLst>
              <a:ext uri="{FF2B5EF4-FFF2-40B4-BE49-F238E27FC236}">
                <a16:creationId xmlns:a16="http://schemas.microsoft.com/office/drawing/2014/main" id="{0F23F397-AB3C-43B9-8003-B509D71D5BE0}"/>
              </a:ext>
            </a:extLst>
          </p:cNvPr>
          <p:cNvSpPr txBox="1"/>
          <p:nvPr/>
        </p:nvSpPr>
        <p:spPr>
          <a:xfrm>
            <a:off x="4134210" y="2084604"/>
            <a:ext cx="1417165" cy="394010"/>
          </a:xfrm>
          <a:prstGeom prst="rect">
            <a:avLst/>
          </a:prstGeom>
        </p:spPr>
        <p:txBody>
          <a:bodyPr vert="horz" lIns="0" tIns="0" rIns="0" bIns="0" rtlCol="0" anchor="t"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2800" b="0" i="0" u="none" strike="noStrike" kern="1200" cap="none" spc="52" normalizeH="0" baseline="0" noProof="0" dirty="0">
                <a:ln>
                  <a:noFill/>
                </a:ln>
                <a:solidFill>
                  <a:srgbClr val="FFFFFF"/>
                </a:solidFill>
                <a:effectLst>
                  <a:outerShdw blurRad="101600" dist="38100" dir="2700000" algn="tl" rotWithShape="0">
                    <a:prstClr val="black">
                      <a:alpha val="15000"/>
                    </a:prstClr>
                  </a:outerShdw>
                </a:effectLst>
                <a:uLnTx/>
                <a:uFillTx/>
                <a:latin typeface="OPPOSans B" panose="00020600040101010101" pitchFamily="18" charset="-122"/>
                <a:ea typeface="OPPOSans B" panose="00020600040101010101" pitchFamily="18" charset="-122"/>
                <a:cs typeface="OPPOSans B" panose="00020600040101010101" pitchFamily="18" charset="-122"/>
              </a:rPr>
              <a:t>员工</a:t>
            </a:r>
            <a:endParaRPr kumimoji="0" lang="zh-CN" altLang="en-US" sz="1000" b="0" i="0" u="none" strike="noStrike" kern="1200" cap="none" spc="0" normalizeH="0" baseline="0" noProof="0">
              <a:ln>
                <a:noFill/>
              </a:ln>
              <a:solidFill>
                <a:srgbClr val="000000"/>
              </a:solidFill>
              <a:effectLst>
                <a:outerShdw blurRad="101600" dist="38100" dir="2700000" algn="tl" rotWithShape="0">
                  <a:prstClr val="black">
                    <a:alpha val="15000"/>
                  </a:prstClr>
                </a:outerShdw>
              </a:effectLst>
              <a:uLnTx/>
              <a:uFillTx/>
              <a:latin typeface="OPPOSans B" panose="00020600040101010101" pitchFamily="18" charset="-122"/>
              <a:ea typeface="OPPOSans B" panose="00020600040101010101" pitchFamily="18" charset="-122"/>
              <a:cs typeface="OPPOSans B" panose="00020600040101010101" pitchFamily="18" charset="-122"/>
            </a:endParaRPr>
          </a:p>
        </p:txBody>
      </p:sp>
      <p:sp>
        <p:nvSpPr>
          <p:cNvPr id="54" name="Object 1053">
            <a:extLst>
              <a:ext uri="{FF2B5EF4-FFF2-40B4-BE49-F238E27FC236}">
                <a16:creationId xmlns:a16="http://schemas.microsoft.com/office/drawing/2014/main" id="{AD77F582-C626-439F-8E27-A85EF88C3D00}"/>
              </a:ext>
            </a:extLst>
          </p:cNvPr>
          <p:cNvSpPr txBox="1"/>
          <p:nvPr/>
        </p:nvSpPr>
        <p:spPr>
          <a:xfrm>
            <a:off x="4135620" y="2595046"/>
            <a:ext cx="1417165" cy="216070"/>
          </a:xfrm>
          <a:prstGeom prst="rect">
            <a:avLst/>
          </a:prstGeom>
        </p:spPr>
        <p:txBody>
          <a:bodyPr vert="horz" lIns="0" tIns="0" rIns="0" bIns="0" rtlCol="0" anchor="t"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200" b="0" i="0" u="none" strike="noStrike" kern="1200" cap="none" spc="28" normalizeH="0" baseline="0" noProof="0" dirty="0">
                <a:ln>
                  <a:noFill/>
                </a:ln>
                <a:solidFill>
                  <a:srgbClr val="FFFFFF"/>
                </a:solidFill>
                <a:effectLst>
                  <a:outerShdw blurRad="101600" dist="38100" dir="2700000" algn="tl" rotWithShape="0">
                    <a:prstClr val="black">
                      <a:alpha val="15000"/>
                    </a:prstClr>
                  </a:outerShdw>
                </a:effectLst>
                <a:uLnTx/>
                <a:uFillTx/>
                <a:latin typeface="OPPOSans R" panose="00020600040101010101" pitchFamily="18" charset="-122"/>
                <a:ea typeface="OPPOSans R" panose="00020600040101010101" pitchFamily="18" charset="-122"/>
                <a:cs typeface="OPPOSans R" panose="00020600040101010101" pitchFamily="18" charset="-122"/>
              </a:rPr>
              <a:t>家庭变故</a:t>
            </a:r>
            <a:endParaRPr kumimoji="0" lang="zh-CN" altLang="en-US" sz="1000" b="0" i="0" u="none" strike="noStrike" kern="1200" cap="none" spc="0" normalizeH="0" baseline="0" noProof="0">
              <a:ln>
                <a:noFill/>
              </a:ln>
              <a:solidFill>
                <a:srgbClr val="000000"/>
              </a:solidFill>
              <a:effectLst>
                <a:outerShdw blurRad="101600" dist="38100" dir="2700000" algn="tl" rotWithShape="0">
                  <a:prstClr val="black">
                    <a:alpha val="15000"/>
                  </a:prstClr>
                </a:outerShdw>
              </a:effectLst>
              <a:uLnTx/>
              <a:uFillTx/>
              <a:latin typeface="OPPOSans R" panose="00020600040101010101" pitchFamily="18" charset="-122"/>
              <a:ea typeface="OPPOSans R" panose="00020600040101010101" pitchFamily="18" charset="-122"/>
              <a:cs typeface="OPPOSans R" panose="00020600040101010101" pitchFamily="18" charset="-122"/>
            </a:endParaRPr>
          </a:p>
        </p:txBody>
      </p:sp>
      <p:sp>
        <p:nvSpPr>
          <p:cNvPr id="55" name="Object 1054">
            <a:extLst>
              <a:ext uri="{FF2B5EF4-FFF2-40B4-BE49-F238E27FC236}">
                <a16:creationId xmlns:a16="http://schemas.microsoft.com/office/drawing/2014/main" id="{085F49F0-3950-4630-919D-88D2B6B0775C}"/>
              </a:ext>
            </a:extLst>
          </p:cNvPr>
          <p:cNvSpPr txBox="1"/>
          <p:nvPr/>
        </p:nvSpPr>
        <p:spPr>
          <a:xfrm>
            <a:off x="3885986" y="2883872"/>
            <a:ext cx="1919210" cy="216070"/>
          </a:xfrm>
          <a:prstGeom prst="rect">
            <a:avLst/>
          </a:prstGeom>
        </p:spPr>
        <p:txBody>
          <a:bodyPr vert="horz" lIns="0" tIns="0" rIns="0" bIns="0" rtlCol="0" anchor="t"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200" b="0" i="0" u="none" strike="noStrike" kern="1200" cap="none" spc="28" normalizeH="0" baseline="0" noProof="0" dirty="0">
                <a:ln>
                  <a:noFill/>
                </a:ln>
                <a:solidFill>
                  <a:srgbClr val="FFFFFF"/>
                </a:solidFill>
                <a:effectLst>
                  <a:outerShdw blurRad="101600" dist="38100" dir="2700000" algn="tl" rotWithShape="0">
                    <a:prstClr val="black">
                      <a:alpha val="15000"/>
                    </a:prstClr>
                  </a:outerShdw>
                </a:effectLst>
                <a:uLnTx/>
                <a:uFillTx/>
                <a:latin typeface="OPPOSans R" panose="00020600040101010101" pitchFamily="18" charset="-122"/>
                <a:ea typeface="OPPOSans R" panose="00020600040101010101" pitchFamily="18" charset="-122"/>
                <a:cs typeface="OPPOSans R" panose="00020600040101010101" pitchFamily="18" charset="-122"/>
              </a:rPr>
              <a:t>同事矛盾</a:t>
            </a:r>
            <a:endParaRPr kumimoji="0" lang="zh-CN" altLang="en-US" sz="1000" b="0" i="0" u="none" strike="noStrike" kern="1200" cap="none" spc="0" normalizeH="0" baseline="0" noProof="0">
              <a:ln>
                <a:noFill/>
              </a:ln>
              <a:solidFill>
                <a:srgbClr val="000000"/>
              </a:solidFill>
              <a:effectLst>
                <a:outerShdw blurRad="101600" dist="38100" dir="2700000" algn="tl" rotWithShape="0">
                  <a:prstClr val="black">
                    <a:alpha val="15000"/>
                  </a:prstClr>
                </a:outerShdw>
              </a:effectLst>
              <a:uLnTx/>
              <a:uFillTx/>
              <a:latin typeface="OPPOSans R" panose="00020600040101010101" pitchFamily="18" charset="-122"/>
              <a:ea typeface="OPPOSans R" panose="00020600040101010101" pitchFamily="18" charset="-122"/>
              <a:cs typeface="OPPOSans R" panose="00020600040101010101" pitchFamily="18" charset="-122"/>
            </a:endParaRPr>
          </a:p>
        </p:txBody>
      </p:sp>
      <p:sp>
        <p:nvSpPr>
          <p:cNvPr id="92" name="椭圆 91">
            <a:extLst>
              <a:ext uri="{FF2B5EF4-FFF2-40B4-BE49-F238E27FC236}">
                <a16:creationId xmlns:a16="http://schemas.microsoft.com/office/drawing/2014/main" id="{B1000759-19EA-44C8-8FCA-4F03481010DF}"/>
              </a:ext>
            </a:extLst>
          </p:cNvPr>
          <p:cNvSpPr>
            <a:spLocks/>
          </p:cNvSpPr>
          <p:nvPr/>
        </p:nvSpPr>
        <p:spPr>
          <a:xfrm>
            <a:off x="3886200" y="4292600"/>
            <a:ext cx="1911348" cy="1917702"/>
          </a:xfrm>
          <a:prstGeom prst="ellipse">
            <a:avLst/>
          </a:prstGeom>
          <a:gradFill flip="none" rotWithShape="1">
            <a:gsLst>
              <a:gs pos="0">
                <a:schemeClr val="accent1">
                  <a:lumMod val="100000"/>
                </a:schemeClr>
              </a:gs>
              <a:gs pos="100000">
                <a:schemeClr val="accent1">
                  <a:lumMod val="60000"/>
                  <a:lumOff val="40000"/>
                </a:schemeClr>
              </a:gs>
            </a:gsLst>
            <a:lin ang="16200000" scaled="1"/>
            <a:tileRect/>
          </a:gradFill>
          <a:ln>
            <a:noFill/>
          </a:ln>
          <a:effectLst>
            <a:outerShdw blurRad="330200" dist="203200" dir="5400000" sx="90000" sy="90000" algn="t" rotWithShape="0">
              <a:schemeClr val="accent1">
                <a:lumMod val="50000"/>
                <a:alpha val="2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Arial" panose="020F0502020204030204"/>
              <a:ea typeface="微软雅黑"/>
              <a:cs typeface="+mn-cs"/>
            </a:endParaRPr>
          </a:p>
        </p:txBody>
      </p:sp>
      <p:sp>
        <p:nvSpPr>
          <p:cNvPr id="59" name="Object 1058">
            <a:extLst>
              <a:ext uri="{FF2B5EF4-FFF2-40B4-BE49-F238E27FC236}">
                <a16:creationId xmlns:a16="http://schemas.microsoft.com/office/drawing/2014/main" id="{464834FA-5ED3-4796-B4F2-A86AE51EBED7}"/>
              </a:ext>
            </a:extLst>
          </p:cNvPr>
          <p:cNvSpPr txBox="1"/>
          <p:nvPr/>
        </p:nvSpPr>
        <p:spPr>
          <a:xfrm>
            <a:off x="4134210" y="4675404"/>
            <a:ext cx="1417165" cy="394010"/>
          </a:xfrm>
          <a:prstGeom prst="rect">
            <a:avLst/>
          </a:prstGeom>
        </p:spPr>
        <p:txBody>
          <a:bodyPr vert="horz" lIns="0" tIns="0" rIns="0" bIns="0" rtlCol="0" anchor="t"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2800" b="0" i="0" u="none" strike="noStrike" kern="1200" cap="none" spc="52" normalizeH="0" baseline="0" noProof="0" dirty="0">
                <a:ln>
                  <a:noFill/>
                </a:ln>
                <a:solidFill>
                  <a:srgbClr val="FFFFFF"/>
                </a:solidFill>
                <a:effectLst>
                  <a:outerShdw blurRad="101600" dist="38100" dir="2700000" algn="tl" rotWithShape="0">
                    <a:prstClr val="black">
                      <a:alpha val="15000"/>
                    </a:prstClr>
                  </a:outerShdw>
                </a:effectLst>
                <a:uLnTx/>
                <a:uFillTx/>
                <a:latin typeface="OPPOSans B" panose="00020600040101010101" pitchFamily="18" charset="-122"/>
                <a:ea typeface="OPPOSans B" panose="00020600040101010101" pitchFamily="18" charset="-122"/>
                <a:cs typeface="OPPOSans B" panose="00020600040101010101" pitchFamily="18" charset="-122"/>
              </a:rPr>
              <a:t>员工</a:t>
            </a:r>
            <a:endParaRPr kumimoji="0" lang="zh-CN" altLang="en-US" sz="1000" b="0" i="0" u="none" strike="noStrike" kern="1200" cap="none" spc="0" normalizeH="0" baseline="0" noProof="0">
              <a:ln>
                <a:noFill/>
              </a:ln>
              <a:solidFill>
                <a:srgbClr val="000000"/>
              </a:solidFill>
              <a:effectLst>
                <a:outerShdw blurRad="101600" dist="38100" dir="2700000" algn="tl" rotWithShape="0">
                  <a:prstClr val="black">
                    <a:alpha val="15000"/>
                  </a:prstClr>
                </a:outerShdw>
              </a:effectLst>
              <a:uLnTx/>
              <a:uFillTx/>
              <a:latin typeface="OPPOSans B" panose="00020600040101010101" pitchFamily="18" charset="-122"/>
              <a:ea typeface="OPPOSans B" panose="00020600040101010101" pitchFamily="18" charset="-122"/>
              <a:cs typeface="OPPOSans B" panose="00020600040101010101" pitchFamily="18" charset="-122"/>
            </a:endParaRPr>
          </a:p>
        </p:txBody>
      </p:sp>
      <p:sp>
        <p:nvSpPr>
          <p:cNvPr id="60" name="Object 1059">
            <a:extLst>
              <a:ext uri="{FF2B5EF4-FFF2-40B4-BE49-F238E27FC236}">
                <a16:creationId xmlns:a16="http://schemas.microsoft.com/office/drawing/2014/main" id="{A8B250E6-6DC9-4472-ADC8-5CA5E462D626}"/>
              </a:ext>
            </a:extLst>
          </p:cNvPr>
          <p:cNvSpPr txBox="1"/>
          <p:nvPr/>
        </p:nvSpPr>
        <p:spPr>
          <a:xfrm>
            <a:off x="4134838" y="5184060"/>
            <a:ext cx="1417165" cy="216070"/>
          </a:xfrm>
          <a:prstGeom prst="rect">
            <a:avLst/>
          </a:prstGeom>
        </p:spPr>
        <p:txBody>
          <a:bodyPr vert="horz" lIns="0" tIns="0" rIns="0" bIns="0" rtlCol="0" anchor="t"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200" b="0" i="0" u="none" strike="noStrike" kern="1200" cap="none" spc="28" normalizeH="0" baseline="0" noProof="0" dirty="0">
                <a:ln>
                  <a:noFill/>
                </a:ln>
                <a:solidFill>
                  <a:srgbClr val="FFFFFF"/>
                </a:solidFill>
                <a:effectLst>
                  <a:outerShdw blurRad="101600" dist="38100" dir="2700000" algn="tl" rotWithShape="0">
                    <a:prstClr val="black">
                      <a:alpha val="15000"/>
                    </a:prstClr>
                  </a:outerShdw>
                </a:effectLst>
                <a:uLnTx/>
                <a:uFillTx/>
                <a:latin typeface="OPPOSans R" panose="00020600040101010101" pitchFamily="18" charset="-122"/>
                <a:ea typeface="OPPOSans R" panose="00020600040101010101" pitchFamily="18" charset="-122"/>
                <a:cs typeface="OPPOSans R" panose="00020600040101010101" pitchFamily="18" charset="-122"/>
              </a:rPr>
              <a:t>跳槽</a:t>
            </a:r>
            <a:endParaRPr kumimoji="0" lang="zh-CN" altLang="en-US" sz="1000" b="0" i="0" u="none" strike="noStrike" kern="1200" cap="none" spc="0" normalizeH="0" baseline="0" noProof="0">
              <a:ln>
                <a:noFill/>
              </a:ln>
              <a:solidFill>
                <a:srgbClr val="000000"/>
              </a:solidFill>
              <a:effectLst>
                <a:outerShdw blurRad="101600" dist="38100" dir="2700000" algn="tl" rotWithShape="0">
                  <a:prstClr val="black">
                    <a:alpha val="15000"/>
                  </a:prstClr>
                </a:outerShdw>
              </a:effectLst>
              <a:uLnTx/>
              <a:uFillTx/>
              <a:latin typeface="OPPOSans R" panose="00020600040101010101" pitchFamily="18" charset="-122"/>
              <a:ea typeface="OPPOSans R" panose="00020600040101010101" pitchFamily="18" charset="-122"/>
              <a:cs typeface="OPPOSans R" panose="00020600040101010101" pitchFamily="18" charset="-122"/>
            </a:endParaRPr>
          </a:p>
        </p:txBody>
      </p:sp>
      <p:sp>
        <p:nvSpPr>
          <p:cNvPr id="61" name="Object 1060">
            <a:extLst>
              <a:ext uri="{FF2B5EF4-FFF2-40B4-BE49-F238E27FC236}">
                <a16:creationId xmlns:a16="http://schemas.microsoft.com/office/drawing/2014/main" id="{A6E93AE1-3148-4BCD-9897-55C946D497F0}"/>
              </a:ext>
            </a:extLst>
          </p:cNvPr>
          <p:cNvSpPr txBox="1"/>
          <p:nvPr/>
        </p:nvSpPr>
        <p:spPr>
          <a:xfrm>
            <a:off x="3881620" y="5477946"/>
            <a:ext cx="1919210" cy="216070"/>
          </a:xfrm>
          <a:prstGeom prst="rect">
            <a:avLst/>
          </a:prstGeom>
        </p:spPr>
        <p:txBody>
          <a:bodyPr vert="horz" lIns="0" tIns="0" rIns="0" bIns="0" rtlCol="0" anchor="t"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200" b="0" i="0" u="none" strike="noStrike" kern="1200" cap="none" spc="28" normalizeH="0" baseline="0" noProof="0" dirty="0">
                <a:ln>
                  <a:noFill/>
                </a:ln>
                <a:solidFill>
                  <a:srgbClr val="FFFFFF"/>
                </a:solidFill>
                <a:effectLst>
                  <a:outerShdw blurRad="101600" dist="38100" dir="2700000" algn="tl" rotWithShape="0">
                    <a:prstClr val="black">
                      <a:alpha val="15000"/>
                    </a:prstClr>
                  </a:outerShdw>
                </a:effectLst>
                <a:uLnTx/>
                <a:uFillTx/>
                <a:latin typeface="OPPOSans R" panose="00020600040101010101" pitchFamily="18" charset="-122"/>
                <a:ea typeface="OPPOSans R" panose="00020600040101010101" pitchFamily="18" charset="-122"/>
                <a:cs typeface="OPPOSans R" panose="00020600040101010101" pitchFamily="18" charset="-122"/>
              </a:rPr>
              <a:t>子女问题</a:t>
            </a:r>
            <a:endParaRPr kumimoji="0" lang="zh-CN" altLang="en-US" sz="1000" b="0" i="0" u="none" strike="noStrike" kern="1200" cap="none" spc="0" normalizeH="0" baseline="0" noProof="0">
              <a:ln>
                <a:noFill/>
              </a:ln>
              <a:solidFill>
                <a:srgbClr val="000000"/>
              </a:solidFill>
              <a:effectLst>
                <a:outerShdw blurRad="101600" dist="38100" dir="2700000" algn="tl" rotWithShape="0">
                  <a:prstClr val="black">
                    <a:alpha val="15000"/>
                  </a:prstClr>
                </a:outerShdw>
              </a:effectLst>
              <a:uLnTx/>
              <a:uFillTx/>
              <a:latin typeface="OPPOSans R" panose="00020600040101010101" pitchFamily="18" charset="-122"/>
              <a:ea typeface="OPPOSans R" panose="00020600040101010101" pitchFamily="18" charset="-122"/>
              <a:cs typeface="OPPOSans R" panose="00020600040101010101" pitchFamily="18" charset="-122"/>
            </a:endParaRPr>
          </a:p>
        </p:txBody>
      </p:sp>
      <p:sp>
        <p:nvSpPr>
          <p:cNvPr id="94" name="椭圆 93">
            <a:extLst>
              <a:ext uri="{FF2B5EF4-FFF2-40B4-BE49-F238E27FC236}">
                <a16:creationId xmlns:a16="http://schemas.microsoft.com/office/drawing/2014/main" id="{021C28A5-94E0-473B-80DD-15D2A69F5358}"/>
              </a:ext>
            </a:extLst>
          </p:cNvPr>
          <p:cNvSpPr>
            <a:spLocks/>
          </p:cNvSpPr>
          <p:nvPr/>
        </p:nvSpPr>
        <p:spPr>
          <a:xfrm>
            <a:off x="5448300" y="3657600"/>
            <a:ext cx="495300" cy="495300"/>
          </a:xfrm>
          <a:prstGeom prst="ellipse">
            <a:avLst/>
          </a:prstGeom>
          <a:solidFill>
            <a:schemeClr val="accent1">
              <a:lumMod val="100000"/>
            </a:schemeClr>
          </a:solidFill>
          <a:ln w="25400">
            <a:solidFill>
              <a:schemeClr val="accent1">
                <a:lumMod val="10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Arial" panose="020F0502020204030204"/>
              <a:ea typeface="微软雅黑"/>
              <a:cs typeface="+mn-cs"/>
            </a:endParaRPr>
          </a:p>
        </p:txBody>
      </p:sp>
      <p:sp>
        <p:nvSpPr>
          <p:cNvPr id="64" name="Object 1063">
            <a:extLst>
              <a:ext uri="{FF2B5EF4-FFF2-40B4-BE49-F238E27FC236}">
                <a16:creationId xmlns:a16="http://schemas.microsoft.com/office/drawing/2014/main" id="{B2A39EAA-4F1F-4E77-87DB-388F21F15BD4}"/>
              </a:ext>
            </a:extLst>
          </p:cNvPr>
          <p:cNvSpPr txBox="1"/>
          <p:nvPr/>
        </p:nvSpPr>
        <p:spPr>
          <a:xfrm>
            <a:off x="5425494" y="3733665"/>
            <a:ext cx="553972" cy="343170"/>
          </a:xfrm>
          <a:prstGeom prst="rect">
            <a:avLst/>
          </a:prstGeom>
        </p:spPr>
        <p:txBody>
          <a:bodyPr vert="horz" lIns="90000" tIns="46800" rIns="90000" bIns="46800" rtlCol="0" anchor="t"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2000" b="0" i="0" u="none" strike="noStrike" kern="1200" cap="none" spc="45" normalizeH="0" baseline="0" noProof="0" dirty="0">
                <a:ln>
                  <a:noFill/>
                </a:ln>
                <a:solidFill>
                  <a:srgbClr val="313131"/>
                </a:solidFill>
                <a:effectLst/>
                <a:uLnTx/>
                <a:uFillTx/>
                <a:latin typeface="OPPOSans B" panose="00020600040101010101" pitchFamily="18" charset="-122"/>
                <a:ea typeface="OPPOSans B" panose="00020600040101010101" pitchFamily="18" charset="-122"/>
                <a:cs typeface="OPPOSans B" panose="00020600040101010101" pitchFamily="18" charset="-122"/>
              </a:rPr>
              <a:t>02</a:t>
            </a:r>
            <a:endParaRPr kumimoji="0" lang="zh-CN" altLang="en-US" sz="900" b="0" i="0" u="none" strike="noStrike" kern="1200" cap="none" spc="0" normalizeH="0" baseline="0" noProof="0" dirty="0">
              <a:ln>
                <a:noFill/>
              </a:ln>
              <a:solidFill>
                <a:srgbClr val="000000"/>
              </a:solidFill>
              <a:effectLst/>
              <a:uLnTx/>
              <a:uFillTx/>
              <a:latin typeface="OPPOSans B" panose="00020600040101010101" pitchFamily="18" charset="-122"/>
              <a:ea typeface="OPPOSans B" panose="00020600040101010101" pitchFamily="18" charset="-122"/>
              <a:cs typeface="OPPOSans B" panose="00020600040101010101" pitchFamily="18" charset="-122"/>
            </a:endParaRPr>
          </a:p>
        </p:txBody>
      </p:sp>
      <p:sp>
        <p:nvSpPr>
          <p:cNvPr id="82" name="椭圆 81">
            <a:extLst>
              <a:ext uri="{FF2B5EF4-FFF2-40B4-BE49-F238E27FC236}">
                <a16:creationId xmlns:a16="http://schemas.microsoft.com/office/drawing/2014/main" id="{0A1F1EB4-EB1E-4BCA-A03C-D5FFC7C88B43}"/>
              </a:ext>
            </a:extLst>
          </p:cNvPr>
          <p:cNvSpPr>
            <a:spLocks/>
          </p:cNvSpPr>
          <p:nvPr/>
        </p:nvSpPr>
        <p:spPr>
          <a:xfrm>
            <a:off x="2057400" y="1536700"/>
            <a:ext cx="2076450" cy="2079001"/>
          </a:xfrm>
          <a:prstGeom prst="ellipse">
            <a:avLst/>
          </a:prstGeom>
          <a:gradFill flip="none" rotWithShape="1">
            <a:gsLst>
              <a:gs pos="0">
                <a:schemeClr val="accent1">
                  <a:lumMod val="100000"/>
                </a:schemeClr>
              </a:gs>
              <a:gs pos="100000">
                <a:schemeClr val="accent1">
                  <a:lumMod val="60000"/>
                  <a:lumOff val="40000"/>
                </a:schemeClr>
              </a:gs>
            </a:gsLst>
            <a:lin ang="16200000" scaled="1"/>
            <a:tileRect/>
          </a:gradFill>
          <a:ln>
            <a:noFill/>
          </a:ln>
          <a:effectLst>
            <a:outerShdw blurRad="330200" dist="203200" dir="5400000" sx="90000" sy="90000" algn="t" rotWithShape="0">
              <a:schemeClr val="accent1">
                <a:lumMod val="50000"/>
                <a:alpha val="2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Arial" panose="020F0502020204030204"/>
              <a:ea typeface="微软雅黑"/>
              <a:cs typeface="+mn-cs"/>
            </a:endParaRPr>
          </a:p>
        </p:txBody>
      </p:sp>
      <p:sp>
        <p:nvSpPr>
          <p:cNvPr id="68" name="Object 1067">
            <a:extLst>
              <a:ext uri="{FF2B5EF4-FFF2-40B4-BE49-F238E27FC236}">
                <a16:creationId xmlns:a16="http://schemas.microsoft.com/office/drawing/2014/main" id="{5B1A7789-005B-4690-854B-522CBA9BEC75}"/>
              </a:ext>
            </a:extLst>
          </p:cNvPr>
          <p:cNvSpPr txBox="1"/>
          <p:nvPr/>
        </p:nvSpPr>
        <p:spPr>
          <a:xfrm>
            <a:off x="2408895" y="1881404"/>
            <a:ext cx="1417165" cy="394010"/>
          </a:xfrm>
          <a:prstGeom prst="rect">
            <a:avLst/>
          </a:prstGeom>
        </p:spPr>
        <p:txBody>
          <a:bodyPr vert="horz" lIns="0" tIns="0" rIns="0" bIns="0" rtlCol="0" anchor="t"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2800" b="0" i="0" u="none" strike="noStrike" kern="1200" cap="none" spc="52" normalizeH="0" baseline="0" noProof="0" dirty="0">
                <a:ln>
                  <a:noFill/>
                </a:ln>
                <a:solidFill>
                  <a:srgbClr val="FFFFFF"/>
                </a:solidFill>
                <a:effectLst>
                  <a:outerShdw blurRad="101600" dist="38100" dir="2700000" algn="tl" rotWithShape="0">
                    <a:prstClr val="black">
                      <a:alpha val="15000"/>
                    </a:prstClr>
                  </a:outerShdw>
                </a:effectLst>
                <a:uLnTx/>
                <a:uFillTx/>
                <a:latin typeface="OPPOSans B" panose="00020600040101010101" pitchFamily="18" charset="-122"/>
                <a:ea typeface="OPPOSans B" panose="00020600040101010101" pitchFamily="18" charset="-122"/>
                <a:cs typeface="OPPOSans B" panose="00020600040101010101" pitchFamily="18" charset="-122"/>
              </a:rPr>
              <a:t>薪酬</a:t>
            </a:r>
            <a:endParaRPr kumimoji="0" lang="zh-CN" altLang="en-US" sz="1000" b="0" i="0" u="none" strike="noStrike" kern="1200" cap="none" spc="0" normalizeH="0" baseline="0" noProof="0">
              <a:ln>
                <a:noFill/>
              </a:ln>
              <a:solidFill>
                <a:srgbClr val="000000"/>
              </a:solidFill>
              <a:effectLst>
                <a:outerShdw blurRad="101600" dist="38100" dir="2700000" algn="tl" rotWithShape="0">
                  <a:prstClr val="black">
                    <a:alpha val="15000"/>
                  </a:prstClr>
                </a:outerShdw>
              </a:effectLst>
              <a:uLnTx/>
              <a:uFillTx/>
              <a:latin typeface="OPPOSans B" panose="00020600040101010101" pitchFamily="18" charset="-122"/>
              <a:ea typeface="OPPOSans B" panose="00020600040101010101" pitchFamily="18" charset="-122"/>
              <a:cs typeface="OPPOSans B" panose="00020600040101010101" pitchFamily="18" charset="-122"/>
            </a:endParaRPr>
          </a:p>
        </p:txBody>
      </p:sp>
      <p:sp>
        <p:nvSpPr>
          <p:cNvPr id="69" name="Object 1068">
            <a:extLst>
              <a:ext uri="{FF2B5EF4-FFF2-40B4-BE49-F238E27FC236}">
                <a16:creationId xmlns:a16="http://schemas.microsoft.com/office/drawing/2014/main" id="{EF97ED88-649F-4B91-81C1-72AC8498D8B7}"/>
              </a:ext>
            </a:extLst>
          </p:cNvPr>
          <p:cNvSpPr txBox="1"/>
          <p:nvPr/>
        </p:nvSpPr>
        <p:spPr>
          <a:xfrm>
            <a:off x="2412092" y="2392143"/>
            <a:ext cx="1417165" cy="216070"/>
          </a:xfrm>
          <a:prstGeom prst="rect">
            <a:avLst/>
          </a:prstGeom>
        </p:spPr>
        <p:txBody>
          <a:bodyPr vert="horz" lIns="0" tIns="0" rIns="0" bIns="0" rtlCol="0" anchor="t"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200" b="0" i="0" u="none" strike="noStrike" kern="1200" cap="none" spc="28" normalizeH="0" baseline="0" noProof="0" dirty="0">
                <a:ln>
                  <a:noFill/>
                </a:ln>
                <a:solidFill>
                  <a:srgbClr val="FFFFFF"/>
                </a:solidFill>
                <a:effectLst>
                  <a:outerShdw blurRad="101600" dist="38100" dir="2700000" algn="tl" rotWithShape="0">
                    <a:prstClr val="black">
                      <a:alpha val="15000"/>
                    </a:prstClr>
                  </a:outerShdw>
                </a:effectLst>
                <a:uLnTx/>
                <a:uFillTx/>
                <a:latin typeface="OPPOSans R" panose="00020600040101010101" pitchFamily="18" charset="-122"/>
                <a:ea typeface="OPPOSans R" panose="00020600040101010101" pitchFamily="18" charset="-122"/>
                <a:cs typeface="OPPOSans R" panose="00020600040101010101" pitchFamily="18" charset="-122"/>
              </a:rPr>
              <a:t>福利较差</a:t>
            </a:r>
            <a:endParaRPr kumimoji="0" lang="zh-CN" altLang="en-US" sz="1000" b="0" i="0" u="none" strike="noStrike" kern="1200" cap="none" spc="0" normalizeH="0" baseline="0" noProof="0" dirty="0">
              <a:ln>
                <a:noFill/>
              </a:ln>
              <a:solidFill>
                <a:srgbClr val="000000"/>
              </a:solidFill>
              <a:effectLst>
                <a:outerShdw blurRad="101600" dist="38100" dir="2700000" algn="tl" rotWithShape="0">
                  <a:prstClr val="black">
                    <a:alpha val="15000"/>
                  </a:prstClr>
                </a:outerShdw>
              </a:effectLst>
              <a:uLnTx/>
              <a:uFillTx/>
              <a:latin typeface="OPPOSans R" panose="00020600040101010101" pitchFamily="18" charset="-122"/>
              <a:ea typeface="OPPOSans R" panose="00020600040101010101" pitchFamily="18" charset="-122"/>
              <a:cs typeface="OPPOSans R" panose="00020600040101010101" pitchFamily="18" charset="-122"/>
            </a:endParaRPr>
          </a:p>
        </p:txBody>
      </p:sp>
      <p:sp>
        <p:nvSpPr>
          <p:cNvPr id="70" name="Object 1069">
            <a:extLst>
              <a:ext uri="{FF2B5EF4-FFF2-40B4-BE49-F238E27FC236}">
                <a16:creationId xmlns:a16="http://schemas.microsoft.com/office/drawing/2014/main" id="{C7E3BDFD-80FB-45A7-A5D0-44D41879A646}"/>
              </a:ext>
            </a:extLst>
          </p:cNvPr>
          <p:cNvSpPr txBox="1"/>
          <p:nvPr/>
        </p:nvSpPr>
        <p:spPr>
          <a:xfrm>
            <a:off x="2153907" y="2683350"/>
            <a:ext cx="1919210" cy="216070"/>
          </a:xfrm>
          <a:prstGeom prst="rect">
            <a:avLst/>
          </a:prstGeom>
        </p:spPr>
        <p:txBody>
          <a:bodyPr vert="horz" lIns="0" tIns="0" rIns="0" bIns="0" rtlCol="0" anchor="t"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200" b="0" i="0" u="none" strike="noStrike" kern="1200" cap="none" spc="28" normalizeH="0" baseline="0" noProof="0" dirty="0">
                <a:ln>
                  <a:noFill/>
                </a:ln>
                <a:solidFill>
                  <a:srgbClr val="FFFFFF"/>
                </a:solidFill>
                <a:effectLst>
                  <a:outerShdw blurRad="101600" dist="38100" dir="2700000" algn="tl" rotWithShape="0">
                    <a:prstClr val="black">
                      <a:alpha val="15000"/>
                    </a:prstClr>
                  </a:outerShdw>
                </a:effectLst>
                <a:uLnTx/>
                <a:uFillTx/>
                <a:latin typeface="OPPOSans R" panose="00020600040101010101" pitchFamily="18" charset="-122"/>
                <a:ea typeface="OPPOSans R" panose="00020600040101010101" pitchFamily="18" charset="-122"/>
                <a:cs typeface="OPPOSans R" panose="00020600040101010101" pitchFamily="18" charset="-122"/>
              </a:rPr>
              <a:t>薪酬分配不公平</a:t>
            </a:r>
            <a:endParaRPr kumimoji="0" lang="zh-CN" altLang="en-US" sz="1000" b="0" i="0" u="none" strike="noStrike" kern="1200" cap="none" spc="0" normalizeH="0" baseline="0" noProof="0" dirty="0">
              <a:ln>
                <a:noFill/>
              </a:ln>
              <a:solidFill>
                <a:srgbClr val="000000"/>
              </a:solidFill>
              <a:effectLst>
                <a:outerShdw blurRad="101600" dist="38100" dir="2700000" algn="tl" rotWithShape="0">
                  <a:prstClr val="black">
                    <a:alpha val="15000"/>
                  </a:prstClr>
                </a:outerShdw>
              </a:effectLst>
              <a:uLnTx/>
              <a:uFillTx/>
              <a:latin typeface="OPPOSans R" panose="00020600040101010101" pitchFamily="18" charset="-122"/>
              <a:ea typeface="OPPOSans R" panose="00020600040101010101" pitchFamily="18" charset="-122"/>
              <a:cs typeface="OPPOSans R" panose="00020600040101010101" pitchFamily="18" charset="-122"/>
            </a:endParaRPr>
          </a:p>
        </p:txBody>
      </p:sp>
      <p:sp>
        <p:nvSpPr>
          <p:cNvPr id="86" name="椭圆 85">
            <a:extLst>
              <a:ext uri="{FF2B5EF4-FFF2-40B4-BE49-F238E27FC236}">
                <a16:creationId xmlns:a16="http://schemas.microsoft.com/office/drawing/2014/main" id="{C8228894-2C3F-40CB-BC4D-773F1D3BC319}"/>
              </a:ext>
            </a:extLst>
          </p:cNvPr>
          <p:cNvSpPr>
            <a:spLocks/>
          </p:cNvSpPr>
          <p:nvPr/>
        </p:nvSpPr>
        <p:spPr>
          <a:xfrm>
            <a:off x="2057400" y="4292600"/>
            <a:ext cx="2076450" cy="2079001"/>
          </a:xfrm>
          <a:prstGeom prst="ellipse">
            <a:avLst/>
          </a:prstGeom>
          <a:gradFill flip="none" rotWithShape="1">
            <a:gsLst>
              <a:gs pos="0">
                <a:schemeClr val="accent1">
                  <a:lumMod val="100000"/>
                </a:schemeClr>
              </a:gs>
              <a:gs pos="100000">
                <a:schemeClr val="accent1">
                  <a:lumMod val="60000"/>
                  <a:lumOff val="40000"/>
                </a:schemeClr>
              </a:gs>
            </a:gsLst>
            <a:lin ang="16200000" scaled="1"/>
            <a:tileRect/>
          </a:gradFill>
          <a:ln>
            <a:noFill/>
          </a:ln>
          <a:effectLst>
            <a:outerShdw blurRad="330200" dist="203200" dir="5400000" sx="90000" sy="90000" algn="t" rotWithShape="0">
              <a:schemeClr val="accent1">
                <a:lumMod val="50000"/>
                <a:alpha val="2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Arial" panose="020F0502020204030204"/>
              <a:ea typeface="微软雅黑"/>
              <a:cs typeface="+mn-cs"/>
            </a:endParaRPr>
          </a:p>
        </p:txBody>
      </p:sp>
      <p:sp>
        <p:nvSpPr>
          <p:cNvPr id="74" name="Object 1073">
            <a:extLst>
              <a:ext uri="{FF2B5EF4-FFF2-40B4-BE49-F238E27FC236}">
                <a16:creationId xmlns:a16="http://schemas.microsoft.com/office/drawing/2014/main" id="{E96A0DDC-5F8B-44E2-921E-5CFEC8C14320}"/>
              </a:ext>
            </a:extLst>
          </p:cNvPr>
          <p:cNvSpPr txBox="1"/>
          <p:nvPr/>
        </p:nvSpPr>
        <p:spPr>
          <a:xfrm>
            <a:off x="2408895" y="4618254"/>
            <a:ext cx="1417165" cy="394010"/>
          </a:xfrm>
          <a:prstGeom prst="rect">
            <a:avLst/>
          </a:prstGeom>
        </p:spPr>
        <p:txBody>
          <a:bodyPr vert="horz" lIns="0" tIns="0" rIns="0" bIns="0" rtlCol="0" anchor="t"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2800" b="0" i="0" u="none" strike="noStrike" kern="1200" cap="none" spc="52" normalizeH="0" baseline="0" noProof="0" dirty="0">
                <a:ln>
                  <a:noFill/>
                </a:ln>
                <a:solidFill>
                  <a:srgbClr val="FFFFFF"/>
                </a:solidFill>
                <a:effectLst>
                  <a:outerShdw blurRad="101600" dist="38100" dir="2700000" algn="tl" rotWithShape="0">
                    <a:prstClr val="black">
                      <a:alpha val="15000"/>
                    </a:prstClr>
                  </a:outerShdw>
                </a:effectLst>
                <a:uLnTx/>
                <a:uFillTx/>
                <a:latin typeface="OPPOSans B" panose="00020600040101010101" pitchFamily="18" charset="-122"/>
                <a:ea typeface="OPPOSans B" panose="00020600040101010101" pitchFamily="18" charset="-122"/>
                <a:cs typeface="OPPOSans B" panose="00020600040101010101" pitchFamily="18" charset="-122"/>
              </a:rPr>
              <a:t>薪酬</a:t>
            </a:r>
            <a:endParaRPr kumimoji="0" lang="zh-CN" altLang="en-US" sz="1000" b="0" i="0" u="none" strike="noStrike" kern="1200" cap="none" spc="0" normalizeH="0" baseline="0" noProof="0">
              <a:ln>
                <a:noFill/>
              </a:ln>
              <a:solidFill>
                <a:srgbClr val="000000"/>
              </a:solidFill>
              <a:effectLst>
                <a:outerShdw blurRad="101600" dist="38100" dir="2700000" algn="tl" rotWithShape="0">
                  <a:prstClr val="black">
                    <a:alpha val="15000"/>
                  </a:prstClr>
                </a:outerShdw>
              </a:effectLst>
              <a:uLnTx/>
              <a:uFillTx/>
              <a:latin typeface="OPPOSans B" panose="00020600040101010101" pitchFamily="18" charset="-122"/>
              <a:ea typeface="OPPOSans B" panose="00020600040101010101" pitchFamily="18" charset="-122"/>
              <a:cs typeface="OPPOSans B" panose="00020600040101010101" pitchFamily="18" charset="-122"/>
            </a:endParaRPr>
          </a:p>
        </p:txBody>
      </p:sp>
      <p:sp>
        <p:nvSpPr>
          <p:cNvPr id="75" name="Object 1074">
            <a:extLst>
              <a:ext uri="{FF2B5EF4-FFF2-40B4-BE49-F238E27FC236}">
                <a16:creationId xmlns:a16="http://schemas.microsoft.com/office/drawing/2014/main" id="{CF937673-A4F4-4AE0-8BAB-664D2F19873F}"/>
              </a:ext>
            </a:extLst>
          </p:cNvPr>
          <p:cNvSpPr txBox="1"/>
          <p:nvPr/>
        </p:nvSpPr>
        <p:spPr>
          <a:xfrm>
            <a:off x="2408701" y="5161438"/>
            <a:ext cx="1417165" cy="241490"/>
          </a:xfrm>
          <a:prstGeom prst="rect">
            <a:avLst/>
          </a:prstGeom>
        </p:spPr>
        <p:txBody>
          <a:bodyPr vert="horz" lIns="0" tIns="0" rIns="0" bIns="0" rtlCol="0" anchor="t" anchorCtr="0">
            <a:noAutofit/>
          </a:bodyPr>
          <a:lstStyle/>
          <a:p>
            <a:pPr marL="0" marR="0" lvl="0" indent="0" algn="ctr" defTabSz="914400" rtl="0" eaLnBrk="1" fontAlgn="auto" latinLnBrk="0" hangingPunct="1">
              <a:lnSpc>
                <a:spcPct val="113333"/>
              </a:lnSpc>
              <a:spcBef>
                <a:spcPts val="0"/>
              </a:spcBef>
              <a:spcAft>
                <a:spcPts val="0"/>
              </a:spcAft>
              <a:buClrTx/>
              <a:buSzTx/>
              <a:buFontTx/>
              <a:buNone/>
              <a:tabLst/>
              <a:defRPr/>
            </a:pPr>
            <a:r>
              <a:rPr kumimoji="0" lang="zh-CN" altLang="en-US" sz="1200" b="0" i="0" u="none" strike="noStrike" kern="1200" cap="none" spc="28" normalizeH="0" baseline="0" noProof="0" dirty="0">
                <a:ln>
                  <a:noFill/>
                </a:ln>
                <a:solidFill>
                  <a:srgbClr val="FFFFFF"/>
                </a:solidFill>
                <a:effectLst>
                  <a:outerShdw blurRad="101600" dist="38100" dir="2700000" algn="tl" rotWithShape="0">
                    <a:prstClr val="black">
                      <a:alpha val="15000"/>
                    </a:prstClr>
                  </a:outerShdw>
                </a:effectLst>
                <a:uLnTx/>
                <a:uFillTx/>
                <a:latin typeface="OPPOSans R" panose="00020600040101010101" pitchFamily="18" charset="-122"/>
                <a:ea typeface="OPPOSans R" panose="00020600040101010101" pitchFamily="18" charset="-122"/>
                <a:cs typeface="OPPOSans R" panose="00020600040101010101" pitchFamily="18" charset="-122"/>
              </a:rPr>
              <a:t>工资核算不准确</a:t>
            </a:r>
            <a:endParaRPr kumimoji="0" lang="zh-CN" altLang="en-US" sz="1000" b="0" i="0" u="none" strike="noStrike" kern="1200" cap="none" spc="0" normalizeH="0" baseline="0" noProof="0">
              <a:ln>
                <a:noFill/>
              </a:ln>
              <a:solidFill>
                <a:srgbClr val="000000"/>
              </a:solidFill>
              <a:effectLst>
                <a:outerShdw blurRad="101600" dist="38100" dir="2700000" algn="tl" rotWithShape="0">
                  <a:prstClr val="black">
                    <a:alpha val="15000"/>
                  </a:prstClr>
                </a:outerShdw>
              </a:effectLst>
              <a:uLnTx/>
              <a:uFillTx/>
              <a:latin typeface="OPPOSans R" panose="00020600040101010101" pitchFamily="18" charset="-122"/>
              <a:ea typeface="OPPOSans R" panose="00020600040101010101" pitchFamily="18" charset="-122"/>
              <a:cs typeface="OPPOSans R" panose="00020600040101010101" pitchFamily="18" charset="-122"/>
            </a:endParaRPr>
          </a:p>
        </p:txBody>
      </p:sp>
      <p:sp>
        <p:nvSpPr>
          <p:cNvPr id="76" name="Object 1075">
            <a:extLst>
              <a:ext uri="{FF2B5EF4-FFF2-40B4-BE49-F238E27FC236}">
                <a16:creationId xmlns:a16="http://schemas.microsoft.com/office/drawing/2014/main" id="{DC471950-C521-48B7-9FCD-A1587989DFD3}"/>
              </a:ext>
            </a:extLst>
          </p:cNvPr>
          <p:cNvSpPr txBox="1"/>
          <p:nvPr/>
        </p:nvSpPr>
        <p:spPr>
          <a:xfrm>
            <a:off x="2157671" y="5462766"/>
            <a:ext cx="1919210" cy="482980"/>
          </a:xfrm>
          <a:prstGeom prst="rect">
            <a:avLst/>
          </a:prstGeom>
        </p:spPr>
        <p:txBody>
          <a:bodyPr vert="horz" lIns="0" tIns="0" rIns="0" bIns="0" rtlCol="0" anchor="t" anchorCtr="0">
            <a:noAutofit/>
          </a:bodyPr>
          <a:lstStyle/>
          <a:p>
            <a:pPr marL="0" marR="0" lvl="0" indent="0" algn="ctr" defTabSz="914400" rtl="0" eaLnBrk="1" fontAlgn="auto" latinLnBrk="0" hangingPunct="1">
              <a:lnSpc>
                <a:spcPct val="113333"/>
              </a:lnSpc>
              <a:spcBef>
                <a:spcPts val="0"/>
              </a:spcBef>
              <a:spcAft>
                <a:spcPts val="0"/>
              </a:spcAft>
              <a:buClrTx/>
              <a:buSzTx/>
              <a:buFontTx/>
              <a:buNone/>
              <a:tabLst/>
              <a:defRPr/>
            </a:pPr>
            <a:r>
              <a:rPr kumimoji="0" lang="zh-CN" altLang="en-US" sz="1200" b="0" i="0" u="none" strike="noStrike" kern="1200" cap="none" spc="28" normalizeH="0" baseline="0" noProof="0" dirty="0">
                <a:ln>
                  <a:noFill/>
                </a:ln>
                <a:solidFill>
                  <a:srgbClr val="FFFFFF"/>
                </a:solidFill>
                <a:effectLst>
                  <a:outerShdw blurRad="101600" dist="38100" dir="2700000" algn="tl" rotWithShape="0">
                    <a:prstClr val="black">
                      <a:alpha val="15000"/>
                    </a:prstClr>
                  </a:outerShdw>
                </a:effectLst>
                <a:uLnTx/>
                <a:uFillTx/>
                <a:latin typeface="OPPOSans R" panose="00020600040101010101" pitchFamily="18" charset="-122"/>
                <a:ea typeface="OPPOSans R" panose="00020600040101010101" pitchFamily="18" charset="-122"/>
                <a:cs typeface="OPPOSans R" panose="00020600040101010101" pitchFamily="18" charset="-122"/>
              </a:rPr>
              <a:t>与同类型公司</a:t>
            </a:r>
            <a:endParaRPr kumimoji="0" lang="zh-CN" altLang="en-US" sz="1200" b="0" i="0" u="none" strike="noStrike" kern="1200" cap="none" spc="0" normalizeH="0" baseline="0" noProof="0">
              <a:ln>
                <a:noFill/>
              </a:ln>
              <a:solidFill>
                <a:srgbClr val="000000"/>
              </a:solidFill>
              <a:effectLst>
                <a:outerShdw blurRad="101600" dist="38100" dir="2700000" algn="tl" rotWithShape="0">
                  <a:prstClr val="black">
                    <a:alpha val="15000"/>
                  </a:prstClr>
                </a:outerShdw>
              </a:effectLst>
              <a:uLnTx/>
              <a:uFillTx/>
              <a:latin typeface="OPPOSans R" panose="00020600040101010101" pitchFamily="18" charset="-122"/>
              <a:ea typeface="OPPOSans R" panose="00020600040101010101" pitchFamily="18" charset="-122"/>
              <a:cs typeface="OPPOSans R" panose="00020600040101010101" pitchFamily="18" charset="-122"/>
            </a:endParaRPr>
          </a:p>
          <a:p>
            <a:pPr marL="0" marR="0" lvl="0" indent="0" algn="ctr" defTabSz="914400" rtl="0" eaLnBrk="1" fontAlgn="auto" latinLnBrk="0" hangingPunct="1">
              <a:lnSpc>
                <a:spcPct val="113333"/>
              </a:lnSpc>
              <a:spcBef>
                <a:spcPts val="0"/>
              </a:spcBef>
              <a:spcAft>
                <a:spcPts val="0"/>
              </a:spcAft>
              <a:buClrTx/>
              <a:buSzTx/>
              <a:buFontTx/>
              <a:buNone/>
              <a:tabLst/>
              <a:defRPr/>
            </a:pPr>
            <a:r>
              <a:rPr kumimoji="0" lang="zh-CN" altLang="en-US" sz="1200" b="0" i="0" u="none" strike="noStrike" kern="1200" cap="none" spc="28" normalizeH="0" baseline="0" noProof="0" dirty="0">
                <a:ln>
                  <a:noFill/>
                </a:ln>
                <a:solidFill>
                  <a:srgbClr val="FFFFFF"/>
                </a:solidFill>
                <a:effectLst>
                  <a:outerShdw blurRad="101600" dist="38100" dir="2700000" algn="tl" rotWithShape="0">
                    <a:prstClr val="black">
                      <a:alpha val="15000"/>
                    </a:prstClr>
                  </a:outerShdw>
                </a:effectLst>
                <a:uLnTx/>
                <a:uFillTx/>
                <a:latin typeface="OPPOSans R" panose="00020600040101010101" pitchFamily="18" charset="-122"/>
                <a:ea typeface="OPPOSans R" panose="00020600040101010101" pitchFamily="18" charset="-122"/>
                <a:cs typeface="OPPOSans R" panose="00020600040101010101" pitchFamily="18" charset="-122"/>
              </a:rPr>
              <a:t>相比平均水平较低</a:t>
            </a:r>
            <a:endParaRPr kumimoji="0" lang="zh-CN" altLang="en-US" sz="1000" b="0" i="0" u="none" strike="noStrike" kern="1200" cap="none" spc="0" normalizeH="0" baseline="0" noProof="0">
              <a:ln>
                <a:noFill/>
              </a:ln>
              <a:solidFill>
                <a:srgbClr val="000000"/>
              </a:solidFill>
              <a:effectLst>
                <a:outerShdw blurRad="101600" dist="38100" dir="2700000" algn="tl" rotWithShape="0">
                  <a:prstClr val="black">
                    <a:alpha val="15000"/>
                  </a:prstClr>
                </a:outerShdw>
              </a:effectLst>
              <a:uLnTx/>
              <a:uFillTx/>
              <a:latin typeface="OPPOSans R" panose="00020600040101010101" pitchFamily="18" charset="-122"/>
              <a:ea typeface="OPPOSans R" panose="00020600040101010101" pitchFamily="18" charset="-122"/>
              <a:cs typeface="OPPOSans R" panose="00020600040101010101" pitchFamily="18" charset="-122"/>
            </a:endParaRPr>
          </a:p>
        </p:txBody>
      </p:sp>
      <p:sp>
        <p:nvSpPr>
          <p:cNvPr id="93" name="椭圆 92">
            <a:extLst>
              <a:ext uri="{FF2B5EF4-FFF2-40B4-BE49-F238E27FC236}">
                <a16:creationId xmlns:a16="http://schemas.microsoft.com/office/drawing/2014/main" id="{7FE78123-CE68-456C-B4B3-6C63D06D9354}"/>
              </a:ext>
            </a:extLst>
          </p:cNvPr>
          <p:cNvSpPr>
            <a:spLocks/>
          </p:cNvSpPr>
          <p:nvPr/>
        </p:nvSpPr>
        <p:spPr>
          <a:xfrm>
            <a:off x="3733800" y="3657600"/>
            <a:ext cx="495300" cy="495300"/>
          </a:xfrm>
          <a:prstGeom prst="ellipse">
            <a:avLst/>
          </a:prstGeom>
          <a:solidFill>
            <a:schemeClr val="accent1">
              <a:lumMod val="100000"/>
            </a:schemeClr>
          </a:solidFill>
          <a:ln w="25400">
            <a:solidFill>
              <a:schemeClr val="accent1">
                <a:lumMod val="10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Arial" panose="020F0502020204030204"/>
              <a:ea typeface="微软雅黑"/>
              <a:cs typeface="+mn-cs"/>
            </a:endParaRPr>
          </a:p>
        </p:txBody>
      </p:sp>
      <p:sp>
        <p:nvSpPr>
          <p:cNvPr id="79" name="Object 1078">
            <a:extLst>
              <a:ext uri="{FF2B5EF4-FFF2-40B4-BE49-F238E27FC236}">
                <a16:creationId xmlns:a16="http://schemas.microsoft.com/office/drawing/2014/main" id="{EDE754B1-CB8B-4545-84A3-947E31C24447}"/>
              </a:ext>
            </a:extLst>
          </p:cNvPr>
          <p:cNvSpPr txBox="1"/>
          <p:nvPr/>
        </p:nvSpPr>
        <p:spPr>
          <a:xfrm>
            <a:off x="3620612" y="3733665"/>
            <a:ext cx="734854" cy="343170"/>
          </a:xfrm>
          <a:prstGeom prst="rect">
            <a:avLst/>
          </a:prstGeom>
        </p:spPr>
        <p:txBody>
          <a:bodyPr vert="horz" lIns="90000" tIns="46800" rIns="90000" bIns="46800" rtlCol="0" anchor="t"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2000" b="0" i="0" u="none" strike="noStrike" kern="1200" cap="none" spc="45" normalizeH="0" baseline="0" noProof="0" dirty="0">
                <a:ln>
                  <a:noFill/>
                </a:ln>
                <a:solidFill>
                  <a:srgbClr val="313131"/>
                </a:solidFill>
                <a:effectLst/>
                <a:uLnTx/>
                <a:uFillTx/>
                <a:latin typeface="OPPOSans B" panose="00020600040101010101" pitchFamily="18" charset="-122"/>
                <a:ea typeface="OPPOSans B" panose="00020600040101010101" pitchFamily="18" charset="-122"/>
                <a:cs typeface="OPPOSans B" panose="00020600040101010101" pitchFamily="18" charset="-122"/>
              </a:rPr>
              <a:t>01</a:t>
            </a:r>
            <a:endParaRPr kumimoji="0" lang="zh-CN" altLang="en-US" sz="900" b="0" i="0" u="none" strike="noStrike" kern="1200" cap="none" spc="0" normalizeH="0" baseline="0" noProof="0" dirty="0">
              <a:ln>
                <a:noFill/>
              </a:ln>
              <a:solidFill>
                <a:srgbClr val="000000"/>
              </a:solidFill>
              <a:effectLst/>
              <a:uLnTx/>
              <a:uFillTx/>
              <a:latin typeface="OPPOSans B" panose="00020600040101010101" pitchFamily="18" charset="-122"/>
              <a:ea typeface="OPPOSans B" panose="00020600040101010101" pitchFamily="18" charset="-122"/>
              <a:cs typeface="OPPOSans B" panose="00020600040101010101" pitchFamily="18" charset="-122"/>
            </a:endParaRPr>
          </a:p>
        </p:txBody>
      </p:sp>
    </p:spTree>
    <p:extLst>
      <p:ext uri="{BB962C8B-B14F-4D97-AF65-F5344CB8AC3E}">
        <p14:creationId xmlns:p14="http://schemas.microsoft.com/office/powerpoint/2010/main" val="4294573470"/>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6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0" name="矩形 169">
            <a:extLst>
              <a:ext uri="{FF2B5EF4-FFF2-40B4-BE49-F238E27FC236}">
                <a16:creationId xmlns:a16="http://schemas.microsoft.com/office/drawing/2014/main" id="{E5A3884D-E9F7-45B8-A617-AC8B952AC102}"/>
              </a:ext>
            </a:extLst>
          </p:cNvPr>
          <p:cNvSpPr/>
          <p:nvPr/>
        </p:nvSpPr>
        <p:spPr>
          <a:xfrm>
            <a:off x="0" y="0"/>
            <a:ext cx="12192000" cy="6858000"/>
          </a:xfrm>
          <a:prstGeom prst="rect">
            <a:avLst/>
          </a:prstGeom>
          <a:solidFill>
            <a:schemeClr val="accent5">
              <a:alpha val="20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OPPOSans L"/>
              <a:ea typeface="思源宋体 Light"/>
              <a:cs typeface="+mn-cs"/>
            </a:endParaRPr>
          </a:p>
        </p:txBody>
      </p:sp>
      <p:sp>
        <p:nvSpPr>
          <p:cNvPr id="168" name="箭头: 右 1">
            <a:extLst>
              <a:ext uri="{FF2B5EF4-FFF2-40B4-BE49-F238E27FC236}">
                <a16:creationId xmlns:a16="http://schemas.microsoft.com/office/drawing/2014/main" id="{694B4EC4-E419-40F4-B374-CE3E44A7F79C}"/>
              </a:ext>
            </a:extLst>
          </p:cNvPr>
          <p:cNvSpPr/>
          <p:nvPr/>
        </p:nvSpPr>
        <p:spPr>
          <a:xfrm>
            <a:off x="-1944914" y="2127969"/>
            <a:ext cx="14136914" cy="3203354"/>
          </a:xfrm>
          <a:prstGeom prst="rightArrow">
            <a:avLst>
              <a:gd name="adj1" fmla="val 50000"/>
              <a:gd name="adj2" fmla="val 50906"/>
            </a:avLst>
          </a:prstGeom>
          <a:gradFill>
            <a:gsLst>
              <a:gs pos="0">
                <a:schemeClr val="accent3">
                  <a:alpha val="0"/>
                </a:schemeClr>
              </a:gs>
              <a:gs pos="100000">
                <a:schemeClr val="accent3">
                  <a:alpha val="34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white"/>
              </a:solidFill>
              <a:effectLst/>
              <a:uLnTx/>
              <a:uFillTx/>
              <a:latin typeface="OPPOSans L"/>
              <a:ea typeface="OPPOSans L" panose="00020600040101010101" pitchFamily="18" charset="-122"/>
              <a:cs typeface="+mn-cs"/>
            </a:endParaRPr>
          </a:p>
        </p:txBody>
      </p:sp>
      <p:sp>
        <p:nvSpPr>
          <p:cNvPr id="13" name="平行四边形 12">
            <a:extLst>
              <a:ext uri="{FF2B5EF4-FFF2-40B4-BE49-F238E27FC236}">
                <a16:creationId xmlns:a16="http://schemas.microsoft.com/office/drawing/2014/main" id="{EB24D6CC-F7A9-48AB-BAF9-7A39D608567D}"/>
              </a:ext>
            </a:extLst>
          </p:cNvPr>
          <p:cNvSpPr/>
          <p:nvPr/>
        </p:nvSpPr>
        <p:spPr>
          <a:xfrm flipV="1">
            <a:off x="715114" y="1417112"/>
            <a:ext cx="2590061" cy="4625068"/>
          </a:xfrm>
          <a:prstGeom prst="parallelogram">
            <a:avLst>
              <a:gd name="adj" fmla="val 18097"/>
            </a:avLst>
          </a:prstGeom>
          <a:solidFill>
            <a:schemeClr val="bg1">
              <a:alpha val="50000"/>
            </a:schemeClr>
          </a:solidFill>
          <a:ln w="12700">
            <a:gradFill>
              <a:gsLst>
                <a:gs pos="0">
                  <a:schemeClr val="accent2"/>
                </a:gs>
                <a:gs pos="50000">
                  <a:schemeClr val="bg1"/>
                </a:gs>
                <a:gs pos="100000">
                  <a:schemeClr val="accent2"/>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white"/>
              </a:solidFill>
              <a:effectLst/>
              <a:uLnTx/>
              <a:uFillTx/>
              <a:latin typeface="OPPOSans L"/>
              <a:ea typeface="OPPOSans L" panose="00020600040101010101" pitchFamily="18" charset="-122"/>
              <a:cs typeface="+mn-cs"/>
            </a:endParaRPr>
          </a:p>
        </p:txBody>
      </p:sp>
      <p:sp>
        <p:nvSpPr>
          <p:cNvPr id="20" name="稿定PPT-6-4">
            <a:extLst>
              <a:ext uri="{FF2B5EF4-FFF2-40B4-BE49-F238E27FC236}">
                <a16:creationId xmlns:a16="http://schemas.microsoft.com/office/drawing/2014/main" id="{78F31A0D-EDAC-4417-9663-F2A9C47F7D7A}"/>
              </a:ext>
            </a:extLst>
          </p:cNvPr>
          <p:cNvSpPr txBox="1"/>
          <p:nvPr/>
        </p:nvSpPr>
        <p:spPr>
          <a:xfrm>
            <a:off x="1024937" y="1672133"/>
            <a:ext cx="1242862" cy="246221"/>
          </a:xfrm>
          <a:prstGeom prst="rect">
            <a:avLst/>
          </a:prstGeom>
          <a:noFill/>
          <a:ln>
            <a:noFill/>
            <a:prstDash val="sysDot"/>
            <a:miter lim="800000"/>
          </a:ln>
        </p:spPr>
        <p:txBody>
          <a:bodyPr wrap="square" lIns="0" tIns="0" rIns="0" bIns="0" rtlCol="0" anchor="b">
            <a:spAutoFit/>
          </a:bodyPr>
          <a:lstStyle>
            <a:defPPr>
              <a:defRPr lang="zh-CN"/>
            </a:defPPr>
            <a:lvl1pPr>
              <a:defRPr kumimoji="0" b="1" i="0" u="none" strike="noStrike" cap="none" spc="0" normalizeH="0" baseline="0">
                <a:ln>
                  <a:noFill/>
                </a:ln>
                <a:effectLst/>
                <a:uLnTx/>
                <a:uFillTx/>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600" b="0" i="0" u="none" strike="noStrike" kern="1200" cap="none" spc="0" normalizeH="0" baseline="0" noProof="0" dirty="0">
                <a:ln>
                  <a:noFill/>
                </a:ln>
                <a:gradFill>
                  <a:gsLst>
                    <a:gs pos="0">
                      <a:srgbClr val="44312B"/>
                    </a:gs>
                    <a:gs pos="100000">
                      <a:srgbClr val="8F4B28"/>
                    </a:gs>
                  </a:gsLst>
                  <a:lin ang="5400000" scaled="1"/>
                </a:gradFill>
                <a:effectLst/>
                <a:uLnTx/>
                <a:uFillTx/>
                <a:latin typeface="OPPOSans M" panose="00020600040101010101" pitchFamily="18" charset="-122"/>
                <a:ea typeface="OPPOSans M" panose="00020600040101010101" pitchFamily="18" charset="-122"/>
                <a:cs typeface="+mn-cs"/>
              </a:rPr>
              <a:t>秋叶</a:t>
            </a:r>
            <a:r>
              <a:rPr kumimoji="0" lang="en-US" altLang="zh-CN" sz="1600" b="0" i="0" u="none" strike="noStrike" kern="1200" cap="none" spc="0" normalizeH="0" baseline="0" noProof="0" dirty="0">
                <a:ln>
                  <a:noFill/>
                </a:ln>
                <a:gradFill>
                  <a:gsLst>
                    <a:gs pos="0">
                      <a:srgbClr val="44312B"/>
                    </a:gs>
                    <a:gs pos="100000">
                      <a:srgbClr val="8F4B28"/>
                    </a:gs>
                  </a:gsLst>
                  <a:lin ang="5400000" scaled="1"/>
                </a:gradFill>
                <a:effectLst/>
                <a:uLnTx/>
                <a:uFillTx/>
                <a:latin typeface="OPPOSans M" panose="00020600040101010101" pitchFamily="18" charset="-122"/>
                <a:ea typeface="OPPOSans M" panose="00020600040101010101" pitchFamily="18" charset="-122"/>
                <a:cs typeface="+mn-cs"/>
              </a:rPr>
              <a:t>PPT</a:t>
            </a:r>
            <a:endParaRPr kumimoji="0" lang="zh-CN" altLang="en-US" sz="1600" b="0" i="0" u="none" strike="noStrike" kern="1200" cap="none" spc="0" normalizeH="0" baseline="0" noProof="0" dirty="0">
              <a:ln>
                <a:noFill/>
              </a:ln>
              <a:gradFill>
                <a:gsLst>
                  <a:gs pos="0">
                    <a:srgbClr val="44312B"/>
                  </a:gs>
                  <a:gs pos="100000">
                    <a:srgbClr val="8F4B28"/>
                  </a:gs>
                </a:gsLst>
                <a:lin ang="5400000" scaled="1"/>
              </a:gradFill>
              <a:effectLst/>
              <a:uLnTx/>
              <a:uFillTx/>
              <a:latin typeface="OPPOSans M" panose="00020600040101010101" pitchFamily="18" charset="-122"/>
              <a:ea typeface="OPPOSans M" panose="00020600040101010101" pitchFamily="18" charset="-122"/>
              <a:cs typeface="+mn-cs"/>
            </a:endParaRPr>
          </a:p>
        </p:txBody>
      </p:sp>
      <p:sp>
        <p:nvSpPr>
          <p:cNvPr id="21" name="任意多边形: 形状 20">
            <a:extLst>
              <a:ext uri="{FF2B5EF4-FFF2-40B4-BE49-F238E27FC236}">
                <a16:creationId xmlns:a16="http://schemas.microsoft.com/office/drawing/2014/main" id="{ECADC1D8-21C1-4E79-B246-13EF77CDD6A9}"/>
              </a:ext>
            </a:extLst>
          </p:cNvPr>
          <p:cNvSpPr/>
          <p:nvPr/>
        </p:nvSpPr>
        <p:spPr>
          <a:xfrm rot="5400000">
            <a:off x="2150938" y="1741682"/>
            <a:ext cx="135833" cy="88429"/>
          </a:xfrm>
          <a:custGeom>
            <a:avLst/>
            <a:gdLst>
              <a:gd name="connsiteX0" fmla="*/ 0 w 541041"/>
              <a:gd name="connsiteY0" fmla="*/ 352216 h 352216"/>
              <a:gd name="connsiteX1" fmla="*/ 69719 w 541041"/>
              <a:gd name="connsiteY1" fmla="*/ 309979 h 352216"/>
              <a:gd name="connsiteX2" fmla="*/ 242350 w 541041"/>
              <a:gd name="connsiteY2" fmla="*/ 70918 h 352216"/>
              <a:gd name="connsiteX3" fmla="*/ 270901 w 541041"/>
              <a:gd name="connsiteY3" fmla="*/ 0 h 352216"/>
              <a:gd name="connsiteX4" fmla="*/ 314977 w 541041"/>
              <a:gd name="connsiteY4" fmla="*/ 104256 h 352216"/>
              <a:gd name="connsiteX5" fmla="*/ 471321 w 541041"/>
              <a:gd name="connsiteY5" fmla="*/ 309978 h 352216"/>
              <a:gd name="connsiteX6" fmla="*/ 541041 w 541041"/>
              <a:gd name="connsiteY6" fmla="*/ 352216 h 352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1041" h="352216">
                <a:moveTo>
                  <a:pt x="0" y="352216"/>
                </a:moveTo>
                <a:lnTo>
                  <a:pt x="69719" y="309979"/>
                </a:lnTo>
                <a:cubicBezTo>
                  <a:pt x="135921" y="255331"/>
                  <a:pt x="194716" y="173202"/>
                  <a:pt x="242350" y="70918"/>
                </a:cubicBezTo>
                <a:lnTo>
                  <a:pt x="270901" y="0"/>
                </a:lnTo>
                <a:lnTo>
                  <a:pt x="314977" y="104256"/>
                </a:lnTo>
                <a:cubicBezTo>
                  <a:pt x="359482" y="191113"/>
                  <a:pt x="412475" y="261403"/>
                  <a:pt x="471321" y="309978"/>
                </a:cubicBezTo>
                <a:lnTo>
                  <a:pt x="541041" y="352216"/>
                </a:lnTo>
                <a:close/>
              </a:path>
            </a:pathLst>
          </a:custGeom>
          <a:gradFill>
            <a:gsLst>
              <a:gs pos="0">
                <a:schemeClr val="accent2"/>
              </a:gs>
              <a:gs pos="100000">
                <a:schemeClr val="accent4"/>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white"/>
              </a:solidFill>
              <a:effectLst/>
              <a:uLnTx/>
              <a:uFillTx/>
              <a:latin typeface="OPPOSans L"/>
              <a:ea typeface="OPPOSans L" panose="00020600040101010101" pitchFamily="18" charset="-122"/>
              <a:cs typeface="+mn-cs"/>
            </a:endParaRPr>
          </a:p>
        </p:txBody>
      </p:sp>
      <p:sp>
        <p:nvSpPr>
          <p:cNvPr id="22" name="任意多边形: 形状 21">
            <a:extLst>
              <a:ext uri="{FF2B5EF4-FFF2-40B4-BE49-F238E27FC236}">
                <a16:creationId xmlns:a16="http://schemas.microsoft.com/office/drawing/2014/main" id="{519898F6-1BA6-418C-8D08-3148B2D35980}"/>
              </a:ext>
            </a:extLst>
          </p:cNvPr>
          <p:cNvSpPr/>
          <p:nvPr/>
        </p:nvSpPr>
        <p:spPr>
          <a:xfrm rot="5400000">
            <a:off x="2014924" y="1741685"/>
            <a:ext cx="135834" cy="88430"/>
          </a:xfrm>
          <a:custGeom>
            <a:avLst/>
            <a:gdLst>
              <a:gd name="connsiteX0" fmla="*/ 0 w 541041"/>
              <a:gd name="connsiteY0" fmla="*/ 352216 h 352216"/>
              <a:gd name="connsiteX1" fmla="*/ 69719 w 541041"/>
              <a:gd name="connsiteY1" fmla="*/ 309979 h 352216"/>
              <a:gd name="connsiteX2" fmla="*/ 242350 w 541041"/>
              <a:gd name="connsiteY2" fmla="*/ 70918 h 352216"/>
              <a:gd name="connsiteX3" fmla="*/ 270901 w 541041"/>
              <a:gd name="connsiteY3" fmla="*/ 0 h 352216"/>
              <a:gd name="connsiteX4" fmla="*/ 314977 w 541041"/>
              <a:gd name="connsiteY4" fmla="*/ 104256 h 352216"/>
              <a:gd name="connsiteX5" fmla="*/ 471321 w 541041"/>
              <a:gd name="connsiteY5" fmla="*/ 309978 h 352216"/>
              <a:gd name="connsiteX6" fmla="*/ 541041 w 541041"/>
              <a:gd name="connsiteY6" fmla="*/ 352216 h 352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1041" h="352216">
                <a:moveTo>
                  <a:pt x="0" y="352216"/>
                </a:moveTo>
                <a:lnTo>
                  <a:pt x="69719" y="309979"/>
                </a:lnTo>
                <a:cubicBezTo>
                  <a:pt x="135921" y="255331"/>
                  <a:pt x="194716" y="173202"/>
                  <a:pt x="242350" y="70918"/>
                </a:cubicBezTo>
                <a:lnTo>
                  <a:pt x="270901" y="0"/>
                </a:lnTo>
                <a:lnTo>
                  <a:pt x="314977" y="104256"/>
                </a:lnTo>
                <a:cubicBezTo>
                  <a:pt x="359482" y="191113"/>
                  <a:pt x="412475" y="261403"/>
                  <a:pt x="471321" y="309978"/>
                </a:cubicBezTo>
                <a:lnTo>
                  <a:pt x="541041" y="352216"/>
                </a:lnTo>
                <a:close/>
              </a:path>
            </a:pathLst>
          </a:custGeom>
          <a:gradFill>
            <a:gsLst>
              <a:gs pos="0">
                <a:schemeClr val="accent2"/>
              </a:gs>
              <a:gs pos="100000">
                <a:schemeClr val="accent4"/>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white"/>
              </a:solidFill>
              <a:effectLst/>
              <a:uLnTx/>
              <a:uFillTx/>
              <a:latin typeface="OPPOSans L"/>
              <a:ea typeface="OPPOSans L" panose="00020600040101010101" pitchFamily="18" charset="-122"/>
              <a:cs typeface="+mn-cs"/>
            </a:endParaRPr>
          </a:p>
        </p:txBody>
      </p:sp>
      <p:sp>
        <p:nvSpPr>
          <p:cNvPr id="23" name="任意多边形: 形状 22">
            <a:extLst>
              <a:ext uri="{FF2B5EF4-FFF2-40B4-BE49-F238E27FC236}">
                <a16:creationId xmlns:a16="http://schemas.microsoft.com/office/drawing/2014/main" id="{F3A879A6-D8A1-43C2-B086-890556C24223}"/>
              </a:ext>
            </a:extLst>
          </p:cNvPr>
          <p:cNvSpPr/>
          <p:nvPr/>
        </p:nvSpPr>
        <p:spPr>
          <a:xfrm rot="5400000">
            <a:off x="1878906" y="1741685"/>
            <a:ext cx="135834" cy="88430"/>
          </a:xfrm>
          <a:custGeom>
            <a:avLst/>
            <a:gdLst>
              <a:gd name="connsiteX0" fmla="*/ 0 w 541041"/>
              <a:gd name="connsiteY0" fmla="*/ 352216 h 352216"/>
              <a:gd name="connsiteX1" fmla="*/ 69719 w 541041"/>
              <a:gd name="connsiteY1" fmla="*/ 309979 h 352216"/>
              <a:gd name="connsiteX2" fmla="*/ 242350 w 541041"/>
              <a:gd name="connsiteY2" fmla="*/ 70918 h 352216"/>
              <a:gd name="connsiteX3" fmla="*/ 270901 w 541041"/>
              <a:gd name="connsiteY3" fmla="*/ 0 h 352216"/>
              <a:gd name="connsiteX4" fmla="*/ 314977 w 541041"/>
              <a:gd name="connsiteY4" fmla="*/ 104256 h 352216"/>
              <a:gd name="connsiteX5" fmla="*/ 471321 w 541041"/>
              <a:gd name="connsiteY5" fmla="*/ 309978 h 352216"/>
              <a:gd name="connsiteX6" fmla="*/ 541041 w 541041"/>
              <a:gd name="connsiteY6" fmla="*/ 352216 h 352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1041" h="352216">
                <a:moveTo>
                  <a:pt x="0" y="352216"/>
                </a:moveTo>
                <a:lnTo>
                  <a:pt x="69719" y="309979"/>
                </a:lnTo>
                <a:cubicBezTo>
                  <a:pt x="135921" y="255331"/>
                  <a:pt x="194716" y="173202"/>
                  <a:pt x="242350" y="70918"/>
                </a:cubicBezTo>
                <a:lnTo>
                  <a:pt x="270901" y="0"/>
                </a:lnTo>
                <a:lnTo>
                  <a:pt x="314977" y="104256"/>
                </a:lnTo>
                <a:cubicBezTo>
                  <a:pt x="359482" y="191113"/>
                  <a:pt x="412475" y="261403"/>
                  <a:pt x="471321" y="309978"/>
                </a:cubicBezTo>
                <a:lnTo>
                  <a:pt x="541041" y="352216"/>
                </a:lnTo>
                <a:close/>
              </a:path>
            </a:pathLst>
          </a:custGeom>
          <a:gradFill>
            <a:gsLst>
              <a:gs pos="0">
                <a:schemeClr val="accent2"/>
              </a:gs>
              <a:gs pos="100000">
                <a:schemeClr val="accent4"/>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white"/>
              </a:solidFill>
              <a:effectLst/>
              <a:uLnTx/>
              <a:uFillTx/>
              <a:latin typeface="OPPOSans L"/>
              <a:ea typeface="OPPOSans L" panose="00020600040101010101" pitchFamily="18" charset="-122"/>
              <a:cs typeface="+mn-cs"/>
            </a:endParaRPr>
          </a:p>
        </p:txBody>
      </p:sp>
      <p:sp>
        <p:nvSpPr>
          <p:cNvPr id="26" name="稿定PPT-11-2">
            <a:extLst>
              <a:ext uri="{FF2B5EF4-FFF2-40B4-BE49-F238E27FC236}">
                <a16:creationId xmlns:a16="http://schemas.microsoft.com/office/drawing/2014/main" id="{003B12FD-7DE8-4C7A-91D4-E02910C4D3A9}"/>
              </a:ext>
            </a:extLst>
          </p:cNvPr>
          <p:cNvSpPr txBox="1"/>
          <p:nvPr/>
        </p:nvSpPr>
        <p:spPr>
          <a:xfrm>
            <a:off x="987921" y="2158747"/>
            <a:ext cx="1790155" cy="806439"/>
          </a:xfrm>
          <a:prstGeom prst="rect">
            <a:avLst/>
          </a:prstGeom>
          <a:noFill/>
          <a:ln>
            <a:noFill/>
          </a:ln>
        </p:spPr>
        <p:txBody>
          <a:bodyPr wrap="square" lIns="0" tIns="0" rIns="0" bIns="0" anchor="t" anchorCtr="0">
            <a:spAutoFit/>
          </a:bodyPr>
          <a:lstStyle>
            <a:defPPr>
              <a:defRPr lang="zh-CN"/>
            </a:defPPr>
            <a:lvl1pPr marR="0" lvl="0" indent="0" algn="just" defTabSz="913765" fontAlgn="auto">
              <a:lnSpc>
                <a:spcPct val="150000"/>
              </a:lnSpc>
              <a:spcBef>
                <a:spcPts val="0"/>
              </a:spcBef>
              <a:spcAft>
                <a:spcPts val="0"/>
              </a:spcAft>
              <a:buClrTx/>
              <a:buSzPct val="25000"/>
              <a:buFontTx/>
              <a:buNone/>
              <a:tabLst/>
              <a:defRPr kumimoji="0" sz="1400" b="0" i="0" u="none" strike="noStrike" cap="none" spc="0" normalizeH="0" baseline="0">
                <a:ln>
                  <a:noFill/>
                </a:ln>
                <a:solidFill>
                  <a:schemeClr val="tx1">
                    <a:lumMod val="65000"/>
                    <a:lumOff val="35000"/>
                  </a:schemeClr>
                </a:solidFill>
                <a:effectLst/>
                <a:uLnTx/>
                <a:uFillTx/>
                <a:latin typeface="+mn-ea"/>
              </a:defRPr>
            </a:lvl1pPr>
          </a:lstStyle>
          <a:p>
            <a:pPr marL="0" marR="0" lvl="0" indent="0" algn="just" defTabSz="913765" rtl="0" eaLnBrk="1" fontAlgn="auto" latinLnBrk="0" hangingPunct="1">
              <a:lnSpc>
                <a:spcPct val="150000"/>
              </a:lnSpc>
              <a:spcBef>
                <a:spcPts val="0"/>
              </a:spcBef>
              <a:spcAft>
                <a:spcPts val="0"/>
              </a:spcAft>
              <a:buClrTx/>
              <a:buSzPct val="25000"/>
              <a:buFontTx/>
              <a:buNone/>
              <a:tabLst/>
              <a:defRPr/>
            </a:pPr>
            <a:r>
              <a:rPr kumimoji="0" lang="zh-CN" altLang="en-US" sz="1200" b="0" i="0" u="none" strike="noStrike" kern="1200" cap="none" spc="0" normalizeH="0" baseline="0" noProof="0" dirty="0">
                <a:ln>
                  <a:noFill/>
                </a:ln>
                <a:solidFill>
                  <a:prstClr val="black">
                    <a:lumMod val="65000"/>
                    <a:lumOff val="35000"/>
                  </a:prstClr>
                </a:solidFill>
                <a:effectLst/>
                <a:uLnTx/>
                <a:uFillTx/>
                <a:latin typeface="OPPOSans L" panose="00020600040101010101" pitchFamily="18" charset="-122"/>
                <a:ea typeface="OPPOSans L" panose="00020600040101010101" pitchFamily="18" charset="-122"/>
                <a:cs typeface="+mn-cs"/>
              </a:rPr>
              <a:t>不论你是销售、策划、学生、</a:t>
            </a:r>
            <a:r>
              <a:rPr kumimoji="0" lang="en-US" altLang="zh-CN" sz="1200" b="0" i="0" u="none" strike="noStrike" kern="1200" cap="none" spc="0" normalizeH="0" baseline="0" noProof="0" dirty="0">
                <a:ln>
                  <a:noFill/>
                </a:ln>
                <a:solidFill>
                  <a:prstClr val="black">
                    <a:lumMod val="65000"/>
                    <a:lumOff val="35000"/>
                  </a:prstClr>
                </a:solidFill>
                <a:effectLst/>
                <a:uLnTx/>
                <a:uFillTx/>
                <a:latin typeface="OPPOSans L" panose="00020600040101010101" pitchFamily="18" charset="-122"/>
                <a:ea typeface="OPPOSans L" panose="00020600040101010101" pitchFamily="18" charset="-122"/>
                <a:cs typeface="+mn-cs"/>
              </a:rPr>
              <a:t>PPT</a:t>
            </a:r>
            <a:r>
              <a:rPr kumimoji="0" lang="zh-CN" altLang="en-US" sz="1200" b="0" i="0" u="none" strike="noStrike" kern="1200" cap="none" spc="0" normalizeH="0" baseline="0" noProof="0" dirty="0">
                <a:ln>
                  <a:noFill/>
                </a:ln>
                <a:solidFill>
                  <a:prstClr val="black">
                    <a:lumMod val="65000"/>
                    <a:lumOff val="35000"/>
                  </a:prstClr>
                </a:solidFill>
                <a:effectLst/>
                <a:uLnTx/>
                <a:uFillTx/>
                <a:latin typeface="OPPOSans L" panose="00020600040101010101" pitchFamily="18" charset="-122"/>
                <a:ea typeface="OPPOSans L" panose="00020600040101010101" pitchFamily="18" charset="-122"/>
                <a:cs typeface="+mn-cs"/>
              </a:rPr>
              <a:t>爱好者，都能在秋叶</a:t>
            </a:r>
            <a:r>
              <a:rPr kumimoji="0" lang="en-US" altLang="zh-CN" sz="1200" b="0" i="0" u="none" strike="noStrike" kern="1200" cap="none" spc="0" normalizeH="0" baseline="0" noProof="0" dirty="0">
                <a:ln>
                  <a:noFill/>
                </a:ln>
                <a:solidFill>
                  <a:prstClr val="black">
                    <a:lumMod val="65000"/>
                    <a:lumOff val="35000"/>
                  </a:prstClr>
                </a:solidFill>
                <a:effectLst/>
                <a:uLnTx/>
                <a:uFillTx/>
                <a:latin typeface="OPPOSans L" panose="00020600040101010101" pitchFamily="18" charset="-122"/>
                <a:ea typeface="OPPOSans L" panose="00020600040101010101" pitchFamily="18" charset="-122"/>
                <a:cs typeface="+mn-cs"/>
              </a:rPr>
              <a:t>PPT</a:t>
            </a:r>
            <a:r>
              <a:rPr kumimoji="0" lang="zh-CN" altLang="en-US" sz="1200" b="0" i="0" u="none" strike="noStrike" kern="1200" cap="none" spc="0" normalizeH="0" baseline="0" noProof="0" dirty="0">
                <a:ln>
                  <a:noFill/>
                </a:ln>
                <a:solidFill>
                  <a:prstClr val="black">
                    <a:lumMod val="65000"/>
                    <a:lumOff val="35000"/>
                  </a:prstClr>
                </a:solidFill>
                <a:effectLst/>
                <a:uLnTx/>
                <a:uFillTx/>
                <a:latin typeface="OPPOSans L" panose="00020600040101010101" pitchFamily="18" charset="-122"/>
                <a:ea typeface="OPPOSans L" panose="00020600040101010101" pitchFamily="18" charset="-122"/>
                <a:cs typeface="+mn-cs"/>
              </a:rPr>
              <a:t>找到适合的模板。</a:t>
            </a:r>
          </a:p>
        </p:txBody>
      </p:sp>
      <p:sp>
        <p:nvSpPr>
          <p:cNvPr id="28" name="稿定PPT-6-4">
            <a:extLst>
              <a:ext uri="{FF2B5EF4-FFF2-40B4-BE49-F238E27FC236}">
                <a16:creationId xmlns:a16="http://schemas.microsoft.com/office/drawing/2014/main" id="{DAE6D630-BC4E-49E0-B9BE-C5D0522A6A7F}"/>
              </a:ext>
            </a:extLst>
          </p:cNvPr>
          <p:cNvSpPr txBox="1"/>
          <p:nvPr/>
        </p:nvSpPr>
        <p:spPr>
          <a:xfrm flipH="1">
            <a:off x="2048322" y="3308649"/>
            <a:ext cx="957883" cy="184666"/>
          </a:xfrm>
          <a:prstGeom prst="rect">
            <a:avLst/>
          </a:prstGeom>
          <a:noFill/>
          <a:ln>
            <a:noFill/>
            <a:prstDash val="sysDot"/>
            <a:miter lim="800000"/>
          </a:ln>
        </p:spPr>
        <p:txBody>
          <a:bodyPr wrap="square" lIns="0" tIns="0" rIns="0" bIns="0" rtlCol="0" anchor="b">
            <a:spAutoFit/>
          </a:bodyPr>
          <a:lstStyle>
            <a:defPPr>
              <a:defRPr lang="zh-CN"/>
            </a:defPPr>
            <a:lvl1pPr>
              <a:defRPr kumimoji="0" b="1" i="0" u="none" strike="noStrike" cap="none" spc="0" normalizeH="0" baseline="0">
                <a:ln>
                  <a:noFill/>
                </a:ln>
                <a:effectLst/>
                <a:uLnTx/>
                <a:uFillTx/>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200" b="0" i="0" u="none" strike="noStrike" kern="1200" cap="none" spc="0" normalizeH="0" baseline="0" noProof="0" dirty="0">
                <a:ln>
                  <a:noFill/>
                </a:ln>
                <a:gradFill>
                  <a:gsLst>
                    <a:gs pos="0">
                      <a:srgbClr val="44312B"/>
                    </a:gs>
                    <a:gs pos="100000">
                      <a:srgbClr val="8F4B28"/>
                    </a:gs>
                  </a:gsLst>
                  <a:lin ang="5400000" scaled="1"/>
                </a:gradFill>
                <a:effectLst/>
                <a:uLnTx/>
                <a:uFillTx/>
                <a:latin typeface="OPPOSans M" panose="00020600040101010101" pitchFamily="18" charset="-122"/>
                <a:ea typeface="OPPOSans M" panose="00020600040101010101" pitchFamily="18" charset="-122"/>
                <a:cs typeface="+mn-cs"/>
              </a:rPr>
              <a:t>更快更轻松</a:t>
            </a:r>
          </a:p>
        </p:txBody>
      </p:sp>
      <p:sp>
        <p:nvSpPr>
          <p:cNvPr id="30" name="任意多边形: 形状 29">
            <a:extLst>
              <a:ext uri="{FF2B5EF4-FFF2-40B4-BE49-F238E27FC236}">
                <a16:creationId xmlns:a16="http://schemas.microsoft.com/office/drawing/2014/main" id="{96E366B3-562A-499D-A638-8504CA5479E5}"/>
              </a:ext>
            </a:extLst>
          </p:cNvPr>
          <p:cNvSpPr/>
          <p:nvPr/>
        </p:nvSpPr>
        <p:spPr>
          <a:xfrm rot="16200000" flipH="1">
            <a:off x="1721928" y="3363478"/>
            <a:ext cx="86510" cy="56318"/>
          </a:xfrm>
          <a:custGeom>
            <a:avLst/>
            <a:gdLst>
              <a:gd name="connsiteX0" fmla="*/ 0 w 541041"/>
              <a:gd name="connsiteY0" fmla="*/ 352216 h 352216"/>
              <a:gd name="connsiteX1" fmla="*/ 69719 w 541041"/>
              <a:gd name="connsiteY1" fmla="*/ 309979 h 352216"/>
              <a:gd name="connsiteX2" fmla="*/ 242350 w 541041"/>
              <a:gd name="connsiteY2" fmla="*/ 70918 h 352216"/>
              <a:gd name="connsiteX3" fmla="*/ 270901 w 541041"/>
              <a:gd name="connsiteY3" fmla="*/ 0 h 352216"/>
              <a:gd name="connsiteX4" fmla="*/ 314977 w 541041"/>
              <a:gd name="connsiteY4" fmla="*/ 104256 h 352216"/>
              <a:gd name="connsiteX5" fmla="*/ 471321 w 541041"/>
              <a:gd name="connsiteY5" fmla="*/ 309978 h 352216"/>
              <a:gd name="connsiteX6" fmla="*/ 541041 w 541041"/>
              <a:gd name="connsiteY6" fmla="*/ 352216 h 352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1041" h="352216">
                <a:moveTo>
                  <a:pt x="0" y="352216"/>
                </a:moveTo>
                <a:lnTo>
                  <a:pt x="69719" y="309979"/>
                </a:lnTo>
                <a:cubicBezTo>
                  <a:pt x="135921" y="255331"/>
                  <a:pt x="194716" y="173202"/>
                  <a:pt x="242350" y="70918"/>
                </a:cubicBezTo>
                <a:lnTo>
                  <a:pt x="270901" y="0"/>
                </a:lnTo>
                <a:lnTo>
                  <a:pt x="314977" y="104256"/>
                </a:lnTo>
                <a:cubicBezTo>
                  <a:pt x="359482" y="191113"/>
                  <a:pt x="412475" y="261403"/>
                  <a:pt x="471321" y="309978"/>
                </a:cubicBezTo>
                <a:lnTo>
                  <a:pt x="541041" y="352216"/>
                </a:lnTo>
                <a:close/>
              </a:path>
            </a:pathLst>
          </a:custGeom>
          <a:gradFill>
            <a:gsLst>
              <a:gs pos="0">
                <a:schemeClr val="accent2"/>
              </a:gs>
              <a:gs pos="100000">
                <a:schemeClr val="accent4"/>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white"/>
              </a:solidFill>
              <a:effectLst/>
              <a:uLnTx/>
              <a:uFillTx/>
              <a:latin typeface="OPPOSans L"/>
              <a:ea typeface="OPPOSans L" panose="00020600040101010101" pitchFamily="18" charset="-122"/>
              <a:cs typeface="+mn-cs"/>
            </a:endParaRPr>
          </a:p>
        </p:txBody>
      </p:sp>
      <p:sp>
        <p:nvSpPr>
          <p:cNvPr id="31" name="任意多边形: 形状 30">
            <a:extLst>
              <a:ext uri="{FF2B5EF4-FFF2-40B4-BE49-F238E27FC236}">
                <a16:creationId xmlns:a16="http://schemas.microsoft.com/office/drawing/2014/main" id="{59D5D649-61B1-4319-9000-8CFE1FEE57AD}"/>
              </a:ext>
            </a:extLst>
          </p:cNvPr>
          <p:cNvSpPr/>
          <p:nvPr/>
        </p:nvSpPr>
        <p:spPr>
          <a:xfrm rot="16200000" flipH="1">
            <a:off x="1808551" y="3363478"/>
            <a:ext cx="86511" cy="56319"/>
          </a:xfrm>
          <a:custGeom>
            <a:avLst/>
            <a:gdLst>
              <a:gd name="connsiteX0" fmla="*/ 0 w 541041"/>
              <a:gd name="connsiteY0" fmla="*/ 352216 h 352216"/>
              <a:gd name="connsiteX1" fmla="*/ 69719 w 541041"/>
              <a:gd name="connsiteY1" fmla="*/ 309979 h 352216"/>
              <a:gd name="connsiteX2" fmla="*/ 242350 w 541041"/>
              <a:gd name="connsiteY2" fmla="*/ 70918 h 352216"/>
              <a:gd name="connsiteX3" fmla="*/ 270901 w 541041"/>
              <a:gd name="connsiteY3" fmla="*/ 0 h 352216"/>
              <a:gd name="connsiteX4" fmla="*/ 314977 w 541041"/>
              <a:gd name="connsiteY4" fmla="*/ 104256 h 352216"/>
              <a:gd name="connsiteX5" fmla="*/ 471321 w 541041"/>
              <a:gd name="connsiteY5" fmla="*/ 309978 h 352216"/>
              <a:gd name="connsiteX6" fmla="*/ 541041 w 541041"/>
              <a:gd name="connsiteY6" fmla="*/ 352216 h 352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1041" h="352216">
                <a:moveTo>
                  <a:pt x="0" y="352216"/>
                </a:moveTo>
                <a:lnTo>
                  <a:pt x="69719" y="309979"/>
                </a:lnTo>
                <a:cubicBezTo>
                  <a:pt x="135921" y="255331"/>
                  <a:pt x="194716" y="173202"/>
                  <a:pt x="242350" y="70918"/>
                </a:cubicBezTo>
                <a:lnTo>
                  <a:pt x="270901" y="0"/>
                </a:lnTo>
                <a:lnTo>
                  <a:pt x="314977" y="104256"/>
                </a:lnTo>
                <a:cubicBezTo>
                  <a:pt x="359482" y="191113"/>
                  <a:pt x="412475" y="261403"/>
                  <a:pt x="471321" y="309978"/>
                </a:cubicBezTo>
                <a:lnTo>
                  <a:pt x="541041" y="352216"/>
                </a:lnTo>
                <a:close/>
              </a:path>
            </a:pathLst>
          </a:custGeom>
          <a:gradFill>
            <a:gsLst>
              <a:gs pos="0">
                <a:schemeClr val="accent2"/>
              </a:gs>
              <a:gs pos="100000">
                <a:schemeClr val="accent4"/>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white"/>
              </a:solidFill>
              <a:effectLst/>
              <a:uLnTx/>
              <a:uFillTx/>
              <a:latin typeface="OPPOSans L"/>
              <a:ea typeface="OPPOSans L" panose="00020600040101010101" pitchFamily="18" charset="-122"/>
              <a:cs typeface="+mn-cs"/>
            </a:endParaRPr>
          </a:p>
        </p:txBody>
      </p:sp>
      <p:sp>
        <p:nvSpPr>
          <p:cNvPr id="32" name="任意多边形: 形状 31">
            <a:extLst>
              <a:ext uri="{FF2B5EF4-FFF2-40B4-BE49-F238E27FC236}">
                <a16:creationId xmlns:a16="http://schemas.microsoft.com/office/drawing/2014/main" id="{9B0C0B73-FD46-4EDB-A76B-E2950F10970B}"/>
              </a:ext>
            </a:extLst>
          </p:cNvPr>
          <p:cNvSpPr/>
          <p:nvPr/>
        </p:nvSpPr>
        <p:spPr>
          <a:xfrm rot="16200000" flipH="1">
            <a:off x="1895177" y="3363478"/>
            <a:ext cx="86511" cy="56319"/>
          </a:xfrm>
          <a:custGeom>
            <a:avLst/>
            <a:gdLst>
              <a:gd name="connsiteX0" fmla="*/ 0 w 541041"/>
              <a:gd name="connsiteY0" fmla="*/ 352216 h 352216"/>
              <a:gd name="connsiteX1" fmla="*/ 69719 w 541041"/>
              <a:gd name="connsiteY1" fmla="*/ 309979 h 352216"/>
              <a:gd name="connsiteX2" fmla="*/ 242350 w 541041"/>
              <a:gd name="connsiteY2" fmla="*/ 70918 h 352216"/>
              <a:gd name="connsiteX3" fmla="*/ 270901 w 541041"/>
              <a:gd name="connsiteY3" fmla="*/ 0 h 352216"/>
              <a:gd name="connsiteX4" fmla="*/ 314977 w 541041"/>
              <a:gd name="connsiteY4" fmla="*/ 104256 h 352216"/>
              <a:gd name="connsiteX5" fmla="*/ 471321 w 541041"/>
              <a:gd name="connsiteY5" fmla="*/ 309978 h 352216"/>
              <a:gd name="connsiteX6" fmla="*/ 541041 w 541041"/>
              <a:gd name="connsiteY6" fmla="*/ 352216 h 352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1041" h="352216">
                <a:moveTo>
                  <a:pt x="0" y="352216"/>
                </a:moveTo>
                <a:lnTo>
                  <a:pt x="69719" y="309979"/>
                </a:lnTo>
                <a:cubicBezTo>
                  <a:pt x="135921" y="255331"/>
                  <a:pt x="194716" y="173202"/>
                  <a:pt x="242350" y="70918"/>
                </a:cubicBezTo>
                <a:lnTo>
                  <a:pt x="270901" y="0"/>
                </a:lnTo>
                <a:lnTo>
                  <a:pt x="314977" y="104256"/>
                </a:lnTo>
                <a:cubicBezTo>
                  <a:pt x="359482" y="191113"/>
                  <a:pt x="412475" y="261403"/>
                  <a:pt x="471321" y="309978"/>
                </a:cubicBezTo>
                <a:lnTo>
                  <a:pt x="541041" y="352216"/>
                </a:lnTo>
                <a:close/>
              </a:path>
            </a:pathLst>
          </a:custGeom>
          <a:gradFill>
            <a:gsLst>
              <a:gs pos="0">
                <a:schemeClr val="accent2"/>
              </a:gs>
              <a:gs pos="100000">
                <a:schemeClr val="accent4"/>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white"/>
              </a:solidFill>
              <a:effectLst/>
              <a:uLnTx/>
              <a:uFillTx/>
              <a:latin typeface="OPPOSans L"/>
              <a:ea typeface="OPPOSans L" panose="00020600040101010101" pitchFamily="18" charset="-122"/>
              <a:cs typeface="+mn-cs"/>
            </a:endParaRPr>
          </a:p>
        </p:txBody>
      </p:sp>
      <p:sp>
        <p:nvSpPr>
          <p:cNvPr id="44" name="稿定PPT-6-4">
            <a:extLst>
              <a:ext uri="{FF2B5EF4-FFF2-40B4-BE49-F238E27FC236}">
                <a16:creationId xmlns:a16="http://schemas.microsoft.com/office/drawing/2014/main" id="{604A39C0-C24D-462B-B81D-4DA274ED7664}"/>
              </a:ext>
            </a:extLst>
          </p:cNvPr>
          <p:cNvSpPr txBox="1"/>
          <p:nvPr/>
        </p:nvSpPr>
        <p:spPr>
          <a:xfrm flipH="1">
            <a:off x="1730169" y="3972393"/>
            <a:ext cx="1242862" cy="246221"/>
          </a:xfrm>
          <a:prstGeom prst="rect">
            <a:avLst/>
          </a:prstGeom>
          <a:noFill/>
          <a:ln>
            <a:noFill/>
            <a:prstDash val="sysDot"/>
            <a:miter lim="800000"/>
          </a:ln>
        </p:spPr>
        <p:txBody>
          <a:bodyPr wrap="square" lIns="0" tIns="0" rIns="0" bIns="0" rtlCol="0" anchor="b">
            <a:spAutoFit/>
          </a:bodyPr>
          <a:lstStyle>
            <a:defPPr>
              <a:defRPr lang="zh-CN"/>
            </a:defPPr>
            <a:lvl1pPr>
              <a:defRPr kumimoji="0" b="1" i="0" u="none" strike="noStrike" cap="none" spc="0" normalizeH="0" baseline="0">
                <a:ln>
                  <a:noFill/>
                </a:ln>
                <a:effectLst/>
                <a:uLnTx/>
                <a:uFillTx/>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zh-CN" altLang="en-US" sz="1600" b="0" i="0" u="none" strike="noStrike" kern="1200" cap="none" spc="0" normalizeH="0" baseline="0" noProof="0" dirty="0">
                <a:ln>
                  <a:noFill/>
                </a:ln>
                <a:gradFill>
                  <a:gsLst>
                    <a:gs pos="0">
                      <a:srgbClr val="44312B"/>
                    </a:gs>
                    <a:gs pos="100000">
                      <a:srgbClr val="8F4B28"/>
                    </a:gs>
                  </a:gsLst>
                  <a:lin ang="5400000" scaled="1"/>
                </a:gradFill>
                <a:effectLst/>
                <a:uLnTx/>
                <a:uFillTx/>
                <a:latin typeface="OPPOSans M" panose="00020600040101010101" pitchFamily="18" charset="-122"/>
                <a:ea typeface="OPPOSans M" panose="00020600040101010101" pitchFamily="18" charset="-122"/>
                <a:cs typeface="+mn-cs"/>
              </a:rPr>
              <a:t>秋叶</a:t>
            </a:r>
            <a:r>
              <a:rPr kumimoji="0" lang="en-US" altLang="zh-CN" sz="1600" b="0" i="0" u="none" strike="noStrike" kern="1200" cap="none" spc="0" normalizeH="0" baseline="0" noProof="0" dirty="0">
                <a:ln>
                  <a:noFill/>
                </a:ln>
                <a:gradFill>
                  <a:gsLst>
                    <a:gs pos="0">
                      <a:srgbClr val="44312B"/>
                    </a:gs>
                    <a:gs pos="100000">
                      <a:srgbClr val="8F4B28"/>
                    </a:gs>
                  </a:gsLst>
                  <a:lin ang="5400000" scaled="1"/>
                </a:gradFill>
                <a:effectLst/>
                <a:uLnTx/>
                <a:uFillTx/>
                <a:latin typeface="OPPOSans M" panose="00020600040101010101" pitchFamily="18" charset="-122"/>
                <a:ea typeface="OPPOSans M" panose="00020600040101010101" pitchFamily="18" charset="-122"/>
                <a:cs typeface="+mn-cs"/>
              </a:rPr>
              <a:t>PPT</a:t>
            </a:r>
            <a:endParaRPr kumimoji="0" lang="zh-CN" altLang="en-US" sz="1600" b="0" i="0" u="none" strike="noStrike" kern="1200" cap="none" spc="0" normalizeH="0" baseline="0" noProof="0" dirty="0">
              <a:ln>
                <a:noFill/>
              </a:ln>
              <a:gradFill>
                <a:gsLst>
                  <a:gs pos="0">
                    <a:srgbClr val="44312B"/>
                  </a:gs>
                  <a:gs pos="100000">
                    <a:srgbClr val="8F4B28"/>
                  </a:gs>
                </a:gsLst>
                <a:lin ang="5400000" scaled="1"/>
              </a:gradFill>
              <a:effectLst/>
              <a:uLnTx/>
              <a:uFillTx/>
              <a:latin typeface="OPPOSans M" panose="00020600040101010101" pitchFamily="18" charset="-122"/>
              <a:ea typeface="OPPOSans M" panose="00020600040101010101" pitchFamily="18" charset="-122"/>
              <a:cs typeface="+mn-cs"/>
            </a:endParaRPr>
          </a:p>
        </p:txBody>
      </p:sp>
      <p:sp>
        <p:nvSpPr>
          <p:cNvPr id="46" name="任意多边形: 形状 45">
            <a:extLst>
              <a:ext uri="{FF2B5EF4-FFF2-40B4-BE49-F238E27FC236}">
                <a16:creationId xmlns:a16="http://schemas.microsoft.com/office/drawing/2014/main" id="{715F3438-6AC8-4745-AA76-30A9A9ABCF82}"/>
              </a:ext>
            </a:extLst>
          </p:cNvPr>
          <p:cNvSpPr/>
          <p:nvPr/>
        </p:nvSpPr>
        <p:spPr>
          <a:xfrm rot="16200000" flipH="1">
            <a:off x="1692786" y="4054216"/>
            <a:ext cx="135833" cy="88429"/>
          </a:xfrm>
          <a:custGeom>
            <a:avLst/>
            <a:gdLst>
              <a:gd name="connsiteX0" fmla="*/ 0 w 541041"/>
              <a:gd name="connsiteY0" fmla="*/ 352216 h 352216"/>
              <a:gd name="connsiteX1" fmla="*/ 69719 w 541041"/>
              <a:gd name="connsiteY1" fmla="*/ 309979 h 352216"/>
              <a:gd name="connsiteX2" fmla="*/ 242350 w 541041"/>
              <a:gd name="connsiteY2" fmla="*/ 70918 h 352216"/>
              <a:gd name="connsiteX3" fmla="*/ 270901 w 541041"/>
              <a:gd name="connsiteY3" fmla="*/ 0 h 352216"/>
              <a:gd name="connsiteX4" fmla="*/ 314977 w 541041"/>
              <a:gd name="connsiteY4" fmla="*/ 104256 h 352216"/>
              <a:gd name="connsiteX5" fmla="*/ 471321 w 541041"/>
              <a:gd name="connsiteY5" fmla="*/ 309978 h 352216"/>
              <a:gd name="connsiteX6" fmla="*/ 541041 w 541041"/>
              <a:gd name="connsiteY6" fmla="*/ 352216 h 352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1041" h="352216">
                <a:moveTo>
                  <a:pt x="0" y="352216"/>
                </a:moveTo>
                <a:lnTo>
                  <a:pt x="69719" y="309979"/>
                </a:lnTo>
                <a:cubicBezTo>
                  <a:pt x="135921" y="255331"/>
                  <a:pt x="194716" y="173202"/>
                  <a:pt x="242350" y="70918"/>
                </a:cubicBezTo>
                <a:lnTo>
                  <a:pt x="270901" y="0"/>
                </a:lnTo>
                <a:lnTo>
                  <a:pt x="314977" y="104256"/>
                </a:lnTo>
                <a:cubicBezTo>
                  <a:pt x="359482" y="191113"/>
                  <a:pt x="412475" y="261403"/>
                  <a:pt x="471321" y="309978"/>
                </a:cubicBezTo>
                <a:lnTo>
                  <a:pt x="541041" y="352216"/>
                </a:lnTo>
                <a:close/>
              </a:path>
            </a:pathLst>
          </a:custGeom>
          <a:gradFill>
            <a:gsLst>
              <a:gs pos="0">
                <a:schemeClr val="accent2"/>
              </a:gs>
              <a:gs pos="100000">
                <a:schemeClr val="accent4"/>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white"/>
              </a:solidFill>
              <a:effectLst/>
              <a:uLnTx/>
              <a:uFillTx/>
              <a:latin typeface="OPPOSans L"/>
              <a:ea typeface="OPPOSans L" panose="00020600040101010101" pitchFamily="18" charset="-122"/>
              <a:cs typeface="+mn-cs"/>
            </a:endParaRPr>
          </a:p>
        </p:txBody>
      </p:sp>
      <p:sp>
        <p:nvSpPr>
          <p:cNvPr id="47" name="任意多边形: 形状 46">
            <a:extLst>
              <a:ext uri="{FF2B5EF4-FFF2-40B4-BE49-F238E27FC236}">
                <a16:creationId xmlns:a16="http://schemas.microsoft.com/office/drawing/2014/main" id="{F390C0EE-E588-4076-919F-24801C9FDFA9}"/>
              </a:ext>
            </a:extLst>
          </p:cNvPr>
          <p:cNvSpPr/>
          <p:nvPr/>
        </p:nvSpPr>
        <p:spPr>
          <a:xfrm rot="16200000" flipH="1">
            <a:off x="1828799" y="4054219"/>
            <a:ext cx="135834" cy="88430"/>
          </a:xfrm>
          <a:custGeom>
            <a:avLst/>
            <a:gdLst>
              <a:gd name="connsiteX0" fmla="*/ 0 w 541041"/>
              <a:gd name="connsiteY0" fmla="*/ 352216 h 352216"/>
              <a:gd name="connsiteX1" fmla="*/ 69719 w 541041"/>
              <a:gd name="connsiteY1" fmla="*/ 309979 h 352216"/>
              <a:gd name="connsiteX2" fmla="*/ 242350 w 541041"/>
              <a:gd name="connsiteY2" fmla="*/ 70918 h 352216"/>
              <a:gd name="connsiteX3" fmla="*/ 270901 w 541041"/>
              <a:gd name="connsiteY3" fmla="*/ 0 h 352216"/>
              <a:gd name="connsiteX4" fmla="*/ 314977 w 541041"/>
              <a:gd name="connsiteY4" fmla="*/ 104256 h 352216"/>
              <a:gd name="connsiteX5" fmla="*/ 471321 w 541041"/>
              <a:gd name="connsiteY5" fmla="*/ 309978 h 352216"/>
              <a:gd name="connsiteX6" fmla="*/ 541041 w 541041"/>
              <a:gd name="connsiteY6" fmla="*/ 352216 h 352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1041" h="352216">
                <a:moveTo>
                  <a:pt x="0" y="352216"/>
                </a:moveTo>
                <a:lnTo>
                  <a:pt x="69719" y="309979"/>
                </a:lnTo>
                <a:cubicBezTo>
                  <a:pt x="135921" y="255331"/>
                  <a:pt x="194716" y="173202"/>
                  <a:pt x="242350" y="70918"/>
                </a:cubicBezTo>
                <a:lnTo>
                  <a:pt x="270901" y="0"/>
                </a:lnTo>
                <a:lnTo>
                  <a:pt x="314977" y="104256"/>
                </a:lnTo>
                <a:cubicBezTo>
                  <a:pt x="359482" y="191113"/>
                  <a:pt x="412475" y="261403"/>
                  <a:pt x="471321" y="309978"/>
                </a:cubicBezTo>
                <a:lnTo>
                  <a:pt x="541041" y="352216"/>
                </a:lnTo>
                <a:close/>
              </a:path>
            </a:pathLst>
          </a:custGeom>
          <a:gradFill>
            <a:gsLst>
              <a:gs pos="0">
                <a:schemeClr val="accent2"/>
              </a:gs>
              <a:gs pos="100000">
                <a:schemeClr val="accent4"/>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white"/>
              </a:solidFill>
              <a:effectLst/>
              <a:uLnTx/>
              <a:uFillTx/>
              <a:latin typeface="OPPOSans L"/>
              <a:ea typeface="OPPOSans L" panose="00020600040101010101" pitchFamily="18" charset="-122"/>
              <a:cs typeface="+mn-cs"/>
            </a:endParaRPr>
          </a:p>
        </p:txBody>
      </p:sp>
      <p:sp>
        <p:nvSpPr>
          <p:cNvPr id="48" name="任意多边形: 形状 47">
            <a:extLst>
              <a:ext uri="{FF2B5EF4-FFF2-40B4-BE49-F238E27FC236}">
                <a16:creationId xmlns:a16="http://schemas.microsoft.com/office/drawing/2014/main" id="{049AA30F-F008-4AD9-BBF3-79D8447BF7EA}"/>
              </a:ext>
            </a:extLst>
          </p:cNvPr>
          <p:cNvSpPr/>
          <p:nvPr/>
        </p:nvSpPr>
        <p:spPr>
          <a:xfrm rot="16200000" flipH="1">
            <a:off x="1964817" y="4054219"/>
            <a:ext cx="135834" cy="88430"/>
          </a:xfrm>
          <a:custGeom>
            <a:avLst/>
            <a:gdLst>
              <a:gd name="connsiteX0" fmla="*/ 0 w 541041"/>
              <a:gd name="connsiteY0" fmla="*/ 352216 h 352216"/>
              <a:gd name="connsiteX1" fmla="*/ 69719 w 541041"/>
              <a:gd name="connsiteY1" fmla="*/ 309979 h 352216"/>
              <a:gd name="connsiteX2" fmla="*/ 242350 w 541041"/>
              <a:gd name="connsiteY2" fmla="*/ 70918 h 352216"/>
              <a:gd name="connsiteX3" fmla="*/ 270901 w 541041"/>
              <a:gd name="connsiteY3" fmla="*/ 0 h 352216"/>
              <a:gd name="connsiteX4" fmla="*/ 314977 w 541041"/>
              <a:gd name="connsiteY4" fmla="*/ 104256 h 352216"/>
              <a:gd name="connsiteX5" fmla="*/ 471321 w 541041"/>
              <a:gd name="connsiteY5" fmla="*/ 309978 h 352216"/>
              <a:gd name="connsiteX6" fmla="*/ 541041 w 541041"/>
              <a:gd name="connsiteY6" fmla="*/ 352216 h 352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1041" h="352216">
                <a:moveTo>
                  <a:pt x="0" y="352216"/>
                </a:moveTo>
                <a:lnTo>
                  <a:pt x="69719" y="309979"/>
                </a:lnTo>
                <a:cubicBezTo>
                  <a:pt x="135921" y="255331"/>
                  <a:pt x="194716" y="173202"/>
                  <a:pt x="242350" y="70918"/>
                </a:cubicBezTo>
                <a:lnTo>
                  <a:pt x="270901" y="0"/>
                </a:lnTo>
                <a:lnTo>
                  <a:pt x="314977" y="104256"/>
                </a:lnTo>
                <a:cubicBezTo>
                  <a:pt x="359482" y="191113"/>
                  <a:pt x="412475" y="261403"/>
                  <a:pt x="471321" y="309978"/>
                </a:cubicBezTo>
                <a:lnTo>
                  <a:pt x="541041" y="352216"/>
                </a:lnTo>
                <a:close/>
              </a:path>
            </a:pathLst>
          </a:custGeom>
          <a:gradFill>
            <a:gsLst>
              <a:gs pos="0">
                <a:schemeClr val="accent2"/>
              </a:gs>
              <a:gs pos="100000">
                <a:schemeClr val="accent4"/>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white"/>
              </a:solidFill>
              <a:effectLst/>
              <a:uLnTx/>
              <a:uFillTx/>
              <a:latin typeface="OPPOSans L"/>
              <a:ea typeface="OPPOSans L" panose="00020600040101010101" pitchFamily="18" charset="-122"/>
              <a:cs typeface="+mn-cs"/>
            </a:endParaRPr>
          </a:p>
        </p:txBody>
      </p:sp>
      <p:sp>
        <p:nvSpPr>
          <p:cNvPr id="37" name="稿定PPT-11-2">
            <a:extLst>
              <a:ext uri="{FF2B5EF4-FFF2-40B4-BE49-F238E27FC236}">
                <a16:creationId xmlns:a16="http://schemas.microsoft.com/office/drawing/2014/main" id="{CE87054F-C45B-471C-B0B4-FDC7690B946A}"/>
              </a:ext>
            </a:extLst>
          </p:cNvPr>
          <p:cNvSpPr txBox="1"/>
          <p:nvPr/>
        </p:nvSpPr>
        <p:spPr>
          <a:xfrm flipH="1">
            <a:off x="1170610" y="4471280"/>
            <a:ext cx="1790155" cy="806439"/>
          </a:xfrm>
          <a:prstGeom prst="rect">
            <a:avLst/>
          </a:prstGeom>
          <a:noFill/>
          <a:ln>
            <a:noFill/>
          </a:ln>
        </p:spPr>
        <p:txBody>
          <a:bodyPr wrap="square" lIns="0" tIns="0" rIns="0" bIns="0" anchor="t" anchorCtr="0">
            <a:spAutoFit/>
          </a:bodyPr>
          <a:lstStyle>
            <a:defPPr>
              <a:defRPr lang="zh-CN"/>
            </a:defPPr>
            <a:lvl1pPr marR="0" lvl="0" indent="0" algn="just" defTabSz="913765" fontAlgn="auto">
              <a:lnSpc>
                <a:spcPct val="150000"/>
              </a:lnSpc>
              <a:spcBef>
                <a:spcPts val="0"/>
              </a:spcBef>
              <a:spcAft>
                <a:spcPts val="0"/>
              </a:spcAft>
              <a:buClrTx/>
              <a:buSzPct val="25000"/>
              <a:buFontTx/>
              <a:buNone/>
              <a:tabLst/>
              <a:defRPr kumimoji="0" sz="1400" b="0" i="0" u="none" strike="noStrike" cap="none" spc="0" normalizeH="0" baseline="0">
                <a:ln>
                  <a:noFill/>
                </a:ln>
                <a:solidFill>
                  <a:schemeClr val="tx1">
                    <a:lumMod val="65000"/>
                    <a:lumOff val="35000"/>
                  </a:schemeClr>
                </a:solidFill>
                <a:effectLst/>
                <a:uLnTx/>
                <a:uFillTx/>
                <a:latin typeface="+mn-ea"/>
              </a:defRPr>
            </a:lvl1pPr>
          </a:lstStyle>
          <a:p>
            <a:pPr marL="0" marR="0" lvl="0" indent="0" algn="just" defTabSz="913765" rtl="0" eaLnBrk="1" fontAlgn="auto" latinLnBrk="0" hangingPunct="1">
              <a:lnSpc>
                <a:spcPct val="150000"/>
              </a:lnSpc>
              <a:spcBef>
                <a:spcPts val="0"/>
              </a:spcBef>
              <a:spcAft>
                <a:spcPts val="0"/>
              </a:spcAft>
              <a:buClrTx/>
              <a:buSzPct val="25000"/>
              <a:buFontTx/>
              <a:buNone/>
              <a:tabLst/>
              <a:defRPr/>
            </a:pPr>
            <a:r>
              <a:rPr kumimoji="0" lang="zh-CN" altLang="en-US" sz="1200" b="0" i="0" u="none" strike="noStrike" kern="1200" cap="none" spc="0" normalizeH="0" baseline="0" noProof="0" dirty="0">
                <a:ln>
                  <a:noFill/>
                </a:ln>
                <a:solidFill>
                  <a:prstClr val="black">
                    <a:lumMod val="65000"/>
                    <a:lumOff val="35000"/>
                  </a:prstClr>
                </a:solidFill>
                <a:effectLst/>
                <a:uLnTx/>
                <a:uFillTx/>
                <a:latin typeface="OPPOSans L" panose="00020600040101010101" pitchFamily="18" charset="-122"/>
                <a:ea typeface="OPPOSans L" panose="00020600040101010101" pitchFamily="18" charset="-122"/>
                <a:cs typeface="+mn-cs"/>
              </a:rPr>
              <a:t>不论你是销售、策划、学生、</a:t>
            </a:r>
            <a:r>
              <a:rPr kumimoji="0" lang="en-US" altLang="zh-CN" sz="1200" b="0" i="0" u="none" strike="noStrike" kern="1200" cap="none" spc="0" normalizeH="0" baseline="0" noProof="0" dirty="0">
                <a:ln>
                  <a:noFill/>
                </a:ln>
                <a:solidFill>
                  <a:prstClr val="black">
                    <a:lumMod val="65000"/>
                    <a:lumOff val="35000"/>
                  </a:prstClr>
                </a:solidFill>
                <a:effectLst/>
                <a:uLnTx/>
                <a:uFillTx/>
                <a:latin typeface="OPPOSans L" panose="00020600040101010101" pitchFamily="18" charset="-122"/>
                <a:ea typeface="OPPOSans L" panose="00020600040101010101" pitchFamily="18" charset="-122"/>
                <a:cs typeface="+mn-cs"/>
              </a:rPr>
              <a:t>PPT</a:t>
            </a:r>
            <a:r>
              <a:rPr kumimoji="0" lang="zh-CN" altLang="en-US" sz="1200" b="0" i="0" u="none" strike="noStrike" kern="1200" cap="none" spc="0" normalizeH="0" baseline="0" noProof="0" dirty="0">
                <a:ln>
                  <a:noFill/>
                </a:ln>
                <a:solidFill>
                  <a:prstClr val="black">
                    <a:lumMod val="65000"/>
                    <a:lumOff val="35000"/>
                  </a:prstClr>
                </a:solidFill>
                <a:effectLst/>
                <a:uLnTx/>
                <a:uFillTx/>
                <a:latin typeface="OPPOSans L" panose="00020600040101010101" pitchFamily="18" charset="-122"/>
                <a:ea typeface="OPPOSans L" panose="00020600040101010101" pitchFamily="18" charset="-122"/>
                <a:cs typeface="+mn-cs"/>
              </a:rPr>
              <a:t>爱好者，都能在秋叶</a:t>
            </a:r>
            <a:r>
              <a:rPr kumimoji="0" lang="en-US" altLang="zh-CN" sz="1200" b="0" i="0" u="none" strike="noStrike" kern="1200" cap="none" spc="0" normalizeH="0" baseline="0" noProof="0" dirty="0">
                <a:ln>
                  <a:noFill/>
                </a:ln>
                <a:solidFill>
                  <a:prstClr val="black">
                    <a:lumMod val="65000"/>
                    <a:lumOff val="35000"/>
                  </a:prstClr>
                </a:solidFill>
                <a:effectLst/>
                <a:uLnTx/>
                <a:uFillTx/>
                <a:latin typeface="OPPOSans L" panose="00020600040101010101" pitchFamily="18" charset="-122"/>
                <a:ea typeface="OPPOSans L" panose="00020600040101010101" pitchFamily="18" charset="-122"/>
                <a:cs typeface="+mn-cs"/>
              </a:rPr>
              <a:t>PPT</a:t>
            </a:r>
            <a:r>
              <a:rPr kumimoji="0" lang="zh-CN" altLang="en-US" sz="1200" b="0" i="0" u="none" strike="noStrike" kern="1200" cap="none" spc="0" normalizeH="0" baseline="0" noProof="0" dirty="0">
                <a:ln>
                  <a:noFill/>
                </a:ln>
                <a:solidFill>
                  <a:prstClr val="black">
                    <a:lumMod val="65000"/>
                    <a:lumOff val="35000"/>
                  </a:prstClr>
                </a:solidFill>
                <a:effectLst/>
                <a:uLnTx/>
                <a:uFillTx/>
                <a:latin typeface="OPPOSans L" panose="00020600040101010101" pitchFamily="18" charset="-122"/>
                <a:ea typeface="OPPOSans L" panose="00020600040101010101" pitchFamily="18" charset="-122"/>
                <a:cs typeface="+mn-cs"/>
              </a:rPr>
              <a:t>找到适合的模板。</a:t>
            </a:r>
          </a:p>
        </p:txBody>
      </p:sp>
      <p:sp>
        <p:nvSpPr>
          <p:cNvPr id="39" name="稿定PPT-6-4">
            <a:extLst>
              <a:ext uri="{FF2B5EF4-FFF2-40B4-BE49-F238E27FC236}">
                <a16:creationId xmlns:a16="http://schemas.microsoft.com/office/drawing/2014/main" id="{FE112AC9-D7FC-403A-B971-DA0BC2B365E5}"/>
              </a:ext>
            </a:extLst>
          </p:cNvPr>
          <p:cNvSpPr txBox="1"/>
          <p:nvPr/>
        </p:nvSpPr>
        <p:spPr>
          <a:xfrm>
            <a:off x="1212508" y="5615046"/>
            <a:ext cx="957883" cy="184666"/>
          </a:xfrm>
          <a:prstGeom prst="rect">
            <a:avLst/>
          </a:prstGeom>
          <a:noFill/>
          <a:ln>
            <a:noFill/>
            <a:prstDash val="sysDot"/>
            <a:miter lim="800000"/>
          </a:ln>
        </p:spPr>
        <p:txBody>
          <a:bodyPr wrap="square" lIns="0" tIns="0" rIns="0" bIns="0" rtlCol="0" anchor="b">
            <a:spAutoFit/>
          </a:bodyPr>
          <a:lstStyle>
            <a:defPPr>
              <a:defRPr lang="zh-CN"/>
            </a:defPPr>
            <a:lvl1pPr>
              <a:defRPr kumimoji="0" b="1" i="0" u="none" strike="noStrike" cap="none" spc="0" normalizeH="0" baseline="0">
                <a:ln>
                  <a:noFill/>
                </a:ln>
                <a:effectLst/>
                <a:uLnTx/>
                <a:uFillTx/>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zh-CN" altLang="en-US" sz="1200" b="0" i="0" u="none" strike="noStrike" kern="1200" cap="none" spc="0" normalizeH="0" baseline="0" noProof="0" dirty="0">
                <a:ln>
                  <a:noFill/>
                </a:ln>
                <a:gradFill>
                  <a:gsLst>
                    <a:gs pos="0">
                      <a:srgbClr val="44312B"/>
                    </a:gs>
                    <a:gs pos="100000">
                      <a:srgbClr val="8F4B28"/>
                    </a:gs>
                  </a:gsLst>
                  <a:lin ang="5400000" scaled="1"/>
                </a:gradFill>
                <a:effectLst/>
                <a:uLnTx/>
                <a:uFillTx/>
                <a:latin typeface="OPPOSans M" panose="00020600040101010101" pitchFamily="18" charset="-122"/>
                <a:ea typeface="OPPOSans M" panose="00020600040101010101" pitchFamily="18" charset="-122"/>
                <a:cs typeface="+mn-cs"/>
              </a:rPr>
              <a:t>更快更轻松</a:t>
            </a:r>
          </a:p>
        </p:txBody>
      </p:sp>
      <p:sp>
        <p:nvSpPr>
          <p:cNvPr id="41" name="任意多边形: 形状 40">
            <a:extLst>
              <a:ext uri="{FF2B5EF4-FFF2-40B4-BE49-F238E27FC236}">
                <a16:creationId xmlns:a16="http://schemas.microsoft.com/office/drawing/2014/main" id="{FE0C1D7F-B25D-41AD-A4F1-C9344C4D3575}"/>
              </a:ext>
            </a:extLst>
          </p:cNvPr>
          <p:cNvSpPr/>
          <p:nvPr/>
        </p:nvSpPr>
        <p:spPr>
          <a:xfrm rot="5400000">
            <a:off x="2385727" y="5676012"/>
            <a:ext cx="86510" cy="56318"/>
          </a:xfrm>
          <a:custGeom>
            <a:avLst/>
            <a:gdLst>
              <a:gd name="connsiteX0" fmla="*/ 0 w 541041"/>
              <a:gd name="connsiteY0" fmla="*/ 352216 h 352216"/>
              <a:gd name="connsiteX1" fmla="*/ 69719 w 541041"/>
              <a:gd name="connsiteY1" fmla="*/ 309979 h 352216"/>
              <a:gd name="connsiteX2" fmla="*/ 242350 w 541041"/>
              <a:gd name="connsiteY2" fmla="*/ 70918 h 352216"/>
              <a:gd name="connsiteX3" fmla="*/ 270901 w 541041"/>
              <a:gd name="connsiteY3" fmla="*/ 0 h 352216"/>
              <a:gd name="connsiteX4" fmla="*/ 314977 w 541041"/>
              <a:gd name="connsiteY4" fmla="*/ 104256 h 352216"/>
              <a:gd name="connsiteX5" fmla="*/ 471321 w 541041"/>
              <a:gd name="connsiteY5" fmla="*/ 309978 h 352216"/>
              <a:gd name="connsiteX6" fmla="*/ 541041 w 541041"/>
              <a:gd name="connsiteY6" fmla="*/ 352216 h 352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1041" h="352216">
                <a:moveTo>
                  <a:pt x="0" y="352216"/>
                </a:moveTo>
                <a:lnTo>
                  <a:pt x="69719" y="309979"/>
                </a:lnTo>
                <a:cubicBezTo>
                  <a:pt x="135921" y="255331"/>
                  <a:pt x="194716" y="173202"/>
                  <a:pt x="242350" y="70918"/>
                </a:cubicBezTo>
                <a:lnTo>
                  <a:pt x="270901" y="0"/>
                </a:lnTo>
                <a:lnTo>
                  <a:pt x="314977" y="104256"/>
                </a:lnTo>
                <a:cubicBezTo>
                  <a:pt x="359482" y="191113"/>
                  <a:pt x="412475" y="261403"/>
                  <a:pt x="471321" y="309978"/>
                </a:cubicBezTo>
                <a:lnTo>
                  <a:pt x="541041" y="352216"/>
                </a:lnTo>
                <a:close/>
              </a:path>
            </a:pathLst>
          </a:custGeom>
          <a:gradFill>
            <a:gsLst>
              <a:gs pos="0">
                <a:schemeClr val="accent2"/>
              </a:gs>
              <a:gs pos="100000">
                <a:schemeClr val="accent4"/>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white"/>
              </a:solidFill>
              <a:effectLst/>
              <a:uLnTx/>
              <a:uFillTx/>
              <a:latin typeface="OPPOSans L"/>
              <a:ea typeface="OPPOSans L" panose="00020600040101010101" pitchFamily="18" charset="-122"/>
              <a:cs typeface="+mn-cs"/>
            </a:endParaRPr>
          </a:p>
        </p:txBody>
      </p:sp>
      <p:sp>
        <p:nvSpPr>
          <p:cNvPr id="42" name="任意多边形: 形状 41">
            <a:extLst>
              <a:ext uri="{FF2B5EF4-FFF2-40B4-BE49-F238E27FC236}">
                <a16:creationId xmlns:a16="http://schemas.microsoft.com/office/drawing/2014/main" id="{97ECEB34-84F0-429D-8DE1-8DCBD0EE7EED}"/>
              </a:ext>
            </a:extLst>
          </p:cNvPr>
          <p:cNvSpPr/>
          <p:nvPr/>
        </p:nvSpPr>
        <p:spPr>
          <a:xfrm rot="5400000">
            <a:off x="2299103" y="5676012"/>
            <a:ext cx="86511" cy="56319"/>
          </a:xfrm>
          <a:custGeom>
            <a:avLst/>
            <a:gdLst>
              <a:gd name="connsiteX0" fmla="*/ 0 w 541041"/>
              <a:gd name="connsiteY0" fmla="*/ 352216 h 352216"/>
              <a:gd name="connsiteX1" fmla="*/ 69719 w 541041"/>
              <a:gd name="connsiteY1" fmla="*/ 309979 h 352216"/>
              <a:gd name="connsiteX2" fmla="*/ 242350 w 541041"/>
              <a:gd name="connsiteY2" fmla="*/ 70918 h 352216"/>
              <a:gd name="connsiteX3" fmla="*/ 270901 w 541041"/>
              <a:gd name="connsiteY3" fmla="*/ 0 h 352216"/>
              <a:gd name="connsiteX4" fmla="*/ 314977 w 541041"/>
              <a:gd name="connsiteY4" fmla="*/ 104256 h 352216"/>
              <a:gd name="connsiteX5" fmla="*/ 471321 w 541041"/>
              <a:gd name="connsiteY5" fmla="*/ 309978 h 352216"/>
              <a:gd name="connsiteX6" fmla="*/ 541041 w 541041"/>
              <a:gd name="connsiteY6" fmla="*/ 352216 h 352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1041" h="352216">
                <a:moveTo>
                  <a:pt x="0" y="352216"/>
                </a:moveTo>
                <a:lnTo>
                  <a:pt x="69719" y="309979"/>
                </a:lnTo>
                <a:cubicBezTo>
                  <a:pt x="135921" y="255331"/>
                  <a:pt x="194716" y="173202"/>
                  <a:pt x="242350" y="70918"/>
                </a:cubicBezTo>
                <a:lnTo>
                  <a:pt x="270901" y="0"/>
                </a:lnTo>
                <a:lnTo>
                  <a:pt x="314977" y="104256"/>
                </a:lnTo>
                <a:cubicBezTo>
                  <a:pt x="359482" y="191113"/>
                  <a:pt x="412475" y="261403"/>
                  <a:pt x="471321" y="309978"/>
                </a:cubicBezTo>
                <a:lnTo>
                  <a:pt x="541041" y="352216"/>
                </a:lnTo>
                <a:close/>
              </a:path>
            </a:pathLst>
          </a:custGeom>
          <a:gradFill>
            <a:gsLst>
              <a:gs pos="0">
                <a:schemeClr val="accent2"/>
              </a:gs>
              <a:gs pos="100000">
                <a:schemeClr val="accent4"/>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white"/>
              </a:solidFill>
              <a:effectLst/>
              <a:uLnTx/>
              <a:uFillTx/>
              <a:latin typeface="OPPOSans L"/>
              <a:ea typeface="OPPOSans L" panose="00020600040101010101" pitchFamily="18" charset="-122"/>
              <a:cs typeface="+mn-cs"/>
            </a:endParaRPr>
          </a:p>
        </p:txBody>
      </p:sp>
      <p:sp>
        <p:nvSpPr>
          <p:cNvPr id="43" name="任意多边形: 形状 42">
            <a:extLst>
              <a:ext uri="{FF2B5EF4-FFF2-40B4-BE49-F238E27FC236}">
                <a16:creationId xmlns:a16="http://schemas.microsoft.com/office/drawing/2014/main" id="{976EBF09-0D15-46F9-AE6E-5B67AB1E4EB1}"/>
              </a:ext>
            </a:extLst>
          </p:cNvPr>
          <p:cNvSpPr/>
          <p:nvPr/>
        </p:nvSpPr>
        <p:spPr>
          <a:xfrm rot="5400000">
            <a:off x="2212477" y="5676012"/>
            <a:ext cx="86511" cy="56319"/>
          </a:xfrm>
          <a:custGeom>
            <a:avLst/>
            <a:gdLst>
              <a:gd name="connsiteX0" fmla="*/ 0 w 541041"/>
              <a:gd name="connsiteY0" fmla="*/ 352216 h 352216"/>
              <a:gd name="connsiteX1" fmla="*/ 69719 w 541041"/>
              <a:gd name="connsiteY1" fmla="*/ 309979 h 352216"/>
              <a:gd name="connsiteX2" fmla="*/ 242350 w 541041"/>
              <a:gd name="connsiteY2" fmla="*/ 70918 h 352216"/>
              <a:gd name="connsiteX3" fmla="*/ 270901 w 541041"/>
              <a:gd name="connsiteY3" fmla="*/ 0 h 352216"/>
              <a:gd name="connsiteX4" fmla="*/ 314977 w 541041"/>
              <a:gd name="connsiteY4" fmla="*/ 104256 h 352216"/>
              <a:gd name="connsiteX5" fmla="*/ 471321 w 541041"/>
              <a:gd name="connsiteY5" fmla="*/ 309978 h 352216"/>
              <a:gd name="connsiteX6" fmla="*/ 541041 w 541041"/>
              <a:gd name="connsiteY6" fmla="*/ 352216 h 352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1041" h="352216">
                <a:moveTo>
                  <a:pt x="0" y="352216"/>
                </a:moveTo>
                <a:lnTo>
                  <a:pt x="69719" y="309979"/>
                </a:lnTo>
                <a:cubicBezTo>
                  <a:pt x="135921" y="255331"/>
                  <a:pt x="194716" y="173202"/>
                  <a:pt x="242350" y="70918"/>
                </a:cubicBezTo>
                <a:lnTo>
                  <a:pt x="270901" y="0"/>
                </a:lnTo>
                <a:lnTo>
                  <a:pt x="314977" y="104256"/>
                </a:lnTo>
                <a:cubicBezTo>
                  <a:pt x="359482" y="191113"/>
                  <a:pt x="412475" y="261403"/>
                  <a:pt x="471321" y="309978"/>
                </a:cubicBezTo>
                <a:lnTo>
                  <a:pt x="541041" y="352216"/>
                </a:lnTo>
                <a:close/>
              </a:path>
            </a:pathLst>
          </a:custGeom>
          <a:gradFill>
            <a:gsLst>
              <a:gs pos="0">
                <a:schemeClr val="accent2"/>
              </a:gs>
              <a:gs pos="100000">
                <a:schemeClr val="accent4"/>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white"/>
              </a:solidFill>
              <a:effectLst/>
              <a:uLnTx/>
              <a:uFillTx/>
              <a:latin typeface="OPPOSans L"/>
              <a:ea typeface="OPPOSans L" panose="00020600040101010101" pitchFamily="18" charset="-122"/>
              <a:cs typeface="+mn-cs"/>
            </a:endParaRPr>
          </a:p>
        </p:txBody>
      </p:sp>
      <p:sp>
        <p:nvSpPr>
          <p:cNvPr id="70" name="平行四边形 69">
            <a:extLst>
              <a:ext uri="{FF2B5EF4-FFF2-40B4-BE49-F238E27FC236}">
                <a16:creationId xmlns:a16="http://schemas.microsoft.com/office/drawing/2014/main" id="{7B6DC422-CCE7-4AA0-9891-8ED9C91C4E03}"/>
              </a:ext>
            </a:extLst>
          </p:cNvPr>
          <p:cNvSpPr/>
          <p:nvPr/>
        </p:nvSpPr>
        <p:spPr>
          <a:xfrm flipV="1">
            <a:off x="3003724" y="1417112"/>
            <a:ext cx="2590061" cy="4625068"/>
          </a:xfrm>
          <a:prstGeom prst="parallelogram">
            <a:avLst>
              <a:gd name="adj" fmla="val 18097"/>
            </a:avLst>
          </a:prstGeom>
          <a:solidFill>
            <a:schemeClr val="bg1">
              <a:alpha val="50000"/>
            </a:schemeClr>
          </a:solidFill>
          <a:ln w="12700">
            <a:gradFill>
              <a:gsLst>
                <a:gs pos="0">
                  <a:schemeClr val="accent2"/>
                </a:gs>
                <a:gs pos="50000">
                  <a:schemeClr val="bg1"/>
                </a:gs>
                <a:gs pos="100000">
                  <a:schemeClr val="accent2"/>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white"/>
              </a:solidFill>
              <a:effectLst/>
              <a:uLnTx/>
              <a:uFillTx/>
              <a:latin typeface="OPPOSans L"/>
              <a:ea typeface="OPPOSans L" panose="00020600040101010101" pitchFamily="18" charset="-122"/>
              <a:cs typeface="+mn-cs"/>
            </a:endParaRPr>
          </a:p>
        </p:txBody>
      </p:sp>
      <p:sp>
        <p:nvSpPr>
          <p:cNvPr id="94" name="稿定PPT-6-4">
            <a:extLst>
              <a:ext uri="{FF2B5EF4-FFF2-40B4-BE49-F238E27FC236}">
                <a16:creationId xmlns:a16="http://schemas.microsoft.com/office/drawing/2014/main" id="{6618888D-57D3-4798-94AB-22AA5B1A91BF}"/>
              </a:ext>
            </a:extLst>
          </p:cNvPr>
          <p:cNvSpPr txBox="1"/>
          <p:nvPr/>
        </p:nvSpPr>
        <p:spPr>
          <a:xfrm>
            <a:off x="3313547" y="1672133"/>
            <a:ext cx="1242862" cy="246221"/>
          </a:xfrm>
          <a:prstGeom prst="rect">
            <a:avLst/>
          </a:prstGeom>
          <a:noFill/>
          <a:ln>
            <a:noFill/>
            <a:prstDash val="sysDot"/>
            <a:miter lim="800000"/>
          </a:ln>
        </p:spPr>
        <p:txBody>
          <a:bodyPr wrap="square" lIns="0" tIns="0" rIns="0" bIns="0" rtlCol="0" anchor="b">
            <a:spAutoFit/>
          </a:bodyPr>
          <a:lstStyle>
            <a:defPPr>
              <a:defRPr lang="zh-CN"/>
            </a:defPPr>
            <a:lvl1pPr>
              <a:defRPr kumimoji="0" b="1" i="0" u="none" strike="noStrike" cap="none" spc="0" normalizeH="0" baseline="0">
                <a:ln>
                  <a:noFill/>
                </a:ln>
                <a:effectLst/>
                <a:uLnTx/>
                <a:uFillTx/>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600" b="0" i="0" u="none" strike="noStrike" kern="1200" cap="none" spc="0" normalizeH="0" baseline="0" noProof="0" dirty="0">
                <a:ln>
                  <a:noFill/>
                </a:ln>
                <a:gradFill>
                  <a:gsLst>
                    <a:gs pos="0">
                      <a:srgbClr val="44312B"/>
                    </a:gs>
                    <a:gs pos="100000">
                      <a:srgbClr val="8F4B28"/>
                    </a:gs>
                  </a:gsLst>
                  <a:lin ang="5400000" scaled="1"/>
                </a:gradFill>
                <a:effectLst/>
                <a:uLnTx/>
                <a:uFillTx/>
                <a:latin typeface="OPPOSans M" panose="00020600040101010101" pitchFamily="18" charset="-122"/>
                <a:ea typeface="OPPOSans M" panose="00020600040101010101" pitchFamily="18" charset="-122"/>
                <a:cs typeface="+mn-cs"/>
              </a:rPr>
              <a:t>秋叶</a:t>
            </a:r>
            <a:r>
              <a:rPr kumimoji="0" lang="en-US" altLang="zh-CN" sz="1600" b="0" i="0" u="none" strike="noStrike" kern="1200" cap="none" spc="0" normalizeH="0" baseline="0" noProof="0" dirty="0">
                <a:ln>
                  <a:noFill/>
                </a:ln>
                <a:gradFill>
                  <a:gsLst>
                    <a:gs pos="0">
                      <a:srgbClr val="44312B"/>
                    </a:gs>
                    <a:gs pos="100000">
                      <a:srgbClr val="8F4B28"/>
                    </a:gs>
                  </a:gsLst>
                  <a:lin ang="5400000" scaled="1"/>
                </a:gradFill>
                <a:effectLst/>
                <a:uLnTx/>
                <a:uFillTx/>
                <a:latin typeface="OPPOSans M" panose="00020600040101010101" pitchFamily="18" charset="-122"/>
                <a:ea typeface="OPPOSans M" panose="00020600040101010101" pitchFamily="18" charset="-122"/>
                <a:cs typeface="+mn-cs"/>
              </a:rPr>
              <a:t>PPT</a:t>
            </a:r>
            <a:endParaRPr kumimoji="0" lang="zh-CN" altLang="en-US" sz="1600" b="0" i="0" u="none" strike="noStrike" kern="1200" cap="none" spc="0" normalizeH="0" baseline="0" noProof="0" dirty="0">
              <a:ln>
                <a:noFill/>
              </a:ln>
              <a:gradFill>
                <a:gsLst>
                  <a:gs pos="0">
                    <a:srgbClr val="44312B"/>
                  </a:gs>
                  <a:gs pos="100000">
                    <a:srgbClr val="8F4B28"/>
                  </a:gs>
                </a:gsLst>
                <a:lin ang="5400000" scaled="1"/>
              </a:gradFill>
              <a:effectLst/>
              <a:uLnTx/>
              <a:uFillTx/>
              <a:latin typeface="OPPOSans M" panose="00020600040101010101" pitchFamily="18" charset="-122"/>
              <a:ea typeface="OPPOSans M" panose="00020600040101010101" pitchFamily="18" charset="-122"/>
              <a:cs typeface="+mn-cs"/>
            </a:endParaRPr>
          </a:p>
        </p:txBody>
      </p:sp>
      <p:sp>
        <p:nvSpPr>
          <p:cNvPr id="96" name="任意多边形: 形状 95">
            <a:extLst>
              <a:ext uri="{FF2B5EF4-FFF2-40B4-BE49-F238E27FC236}">
                <a16:creationId xmlns:a16="http://schemas.microsoft.com/office/drawing/2014/main" id="{931D7B03-F3FB-46E6-8C8E-E5544BC6A2C9}"/>
              </a:ext>
            </a:extLst>
          </p:cNvPr>
          <p:cNvSpPr/>
          <p:nvPr/>
        </p:nvSpPr>
        <p:spPr>
          <a:xfrm rot="5400000">
            <a:off x="4439548" y="1741682"/>
            <a:ext cx="135833" cy="88429"/>
          </a:xfrm>
          <a:custGeom>
            <a:avLst/>
            <a:gdLst>
              <a:gd name="connsiteX0" fmla="*/ 0 w 541041"/>
              <a:gd name="connsiteY0" fmla="*/ 352216 h 352216"/>
              <a:gd name="connsiteX1" fmla="*/ 69719 w 541041"/>
              <a:gd name="connsiteY1" fmla="*/ 309979 h 352216"/>
              <a:gd name="connsiteX2" fmla="*/ 242350 w 541041"/>
              <a:gd name="connsiteY2" fmla="*/ 70918 h 352216"/>
              <a:gd name="connsiteX3" fmla="*/ 270901 w 541041"/>
              <a:gd name="connsiteY3" fmla="*/ 0 h 352216"/>
              <a:gd name="connsiteX4" fmla="*/ 314977 w 541041"/>
              <a:gd name="connsiteY4" fmla="*/ 104256 h 352216"/>
              <a:gd name="connsiteX5" fmla="*/ 471321 w 541041"/>
              <a:gd name="connsiteY5" fmla="*/ 309978 h 352216"/>
              <a:gd name="connsiteX6" fmla="*/ 541041 w 541041"/>
              <a:gd name="connsiteY6" fmla="*/ 352216 h 352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1041" h="352216">
                <a:moveTo>
                  <a:pt x="0" y="352216"/>
                </a:moveTo>
                <a:lnTo>
                  <a:pt x="69719" y="309979"/>
                </a:lnTo>
                <a:cubicBezTo>
                  <a:pt x="135921" y="255331"/>
                  <a:pt x="194716" y="173202"/>
                  <a:pt x="242350" y="70918"/>
                </a:cubicBezTo>
                <a:lnTo>
                  <a:pt x="270901" y="0"/>
                </a:lnTo>
                <a:lnTo>
                  <a:pt x="314977" y="104256"/>
                </a:lnTo>
                <a:cubicBezTo>
                  <a:pt x="359482" y="191113"/>
                  <a:pt x="412475" y="261403"/>
                  <a:pt x="471321" y="309978"/>
                </a:cubicBezTo>
                <a:lnTo>
                  <a:pt x="541041" y="352216"/>
                </a:lnTo>
                <a:close/>
              </a:path>
            </a:pathLst>
          </a:custGeom>
          <a:gradFill>
            <a:gsLst>
              <a:gs pos="0">
                <a:schemeClr val="accent2"/>
              </a:gs>
              <a:gs pos="100000">
                <a:schemeClr val="accent4"/>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white"/>
              </a:solidFill>
              <a:effectLst/>
              <a:uLnTx/>
              <a:uFillTx/>
              <a:latin typeface="OPPOSans L"/>
              <a:ea typeface="OPPOSans L" panose="00020600040101010101" pitchFamily="18" charset="-122"/>
              <a:cs typeface="+mn-cs"/>
            </a:endParaRPr>
          </a:p>
        </p:txBody>
      </p:sp>
      <p:sp>
        <p:nvSpPr>
          <p:cNvPr id="97" name="任意多边形: 形状 96">
            <a:extLst>
              <a:ext uri="{FF2B5EF4-FFF2-40B4-BE49-F238E27FC236}">
                <a16:creationId xmlns:a16="http://schemas.microsoft.com/office/drawing/2014/main" id="{C1951405-D2D7-49E3-8C52-C81EDCDC6C4E}"/>
              </a:ext>
            </a:extLst>
          </p:cNvPr>
          <p:cNvSpPr/>
          <p:nvPr/>
        </p:nvSpPr>
        <p:spPr>
          <a:xfrm rot="5400000">
            <a:off x="4303534" y="1741685"/>
            <a:ext cx="135834" cy="88430"/>
          </a:xfrm>
          <a:custGeom>
            <a:avLst/>
            <a:gdLst>
              <a:gd name="connsiteX0" fmla="*/ 0 w 541041"/>
              <a:gd name="connsiteY0" fmla="*/ 352216 h 352216"/>
              <a:gd name="connsiteX1" fmla="*/ 69719 w 541041"/>
              <a:gd name="connsiteY1" fmla="*/ 309979 h 352216"/>
              <a:gd name="connsiteX2" fmla="*/ 242350 w 541041"/>
              <a:gd name="connsiteY2" fmla="*/ 70918 h 352216"/>
              <a:gd name="connsiteX3" fmla="*/ 270901 w 541041"/>
              <a:gd name="connsiteY3" fmla="*/ 0 h 352216"/>
              <a:gd name="connsiteX4" fmla="*/ 314977 w 541041"/>
              <a:gd name="connsiteY4" fmla="*/ 104256 h 352216"/>
              <a:gd name="connsiteX5" fmla="*/ 471321 w 541041"/>
              <a:gd name="connsiteY5" fmla="*/ 309978 h 352216"/>
              <a:gd name="connsiteX6" fmla="*/ 541041 w 541041"/>
              <a:gd name="connsiteY6" fmla="*/ 352216 h 352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1041" h="352216">
                <a:moveTo>
                  <a:pt x="0" y="352216"/>
                </a:moveTo>
                <a:lnTo>
                  <a:pt x="69719" y="309979"/>
                </a:lnTo>
                <a:cubicBezTo>
                  <a:pt x="135921" y="255331"/>
                  <a:pt x="194716" y="173202"/>
                  <a:pt x="242350" y="70918"/>
                </a:cubicBezTo>
                <a:lnTo>
                  <a:pt x="270901" y="0"/>
                </a:lnTo>
                <a:lnTo>
                  <a:pt x="314977" y="104256"/>
                </a:lnTo>
                <a:cubicBezTo>
                  <a:pt x="359482" y="191113"/>
                  <a:pt x="412475" y="261403"/>
                  <a:pt x="471321" y="309978"/>
                </a:cubicBezTo>
                <a:lnTo>
                  <a:pt x="541041" y="352216"/>
                </a:lnTo>
                <a:close/>
              </a:path>
            </a:pathLst>
          </a:custGeom>
          <a:gradFill>
            <a:gsLst>
              <a:gs pos="0">
                <a:schemeClr val="accent2"/>
              </a:gs>
              <a:gs pos="100000">
                <a:schemeClr val="accent4"/>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white"/>
              </a:solidFill>
              <a:effectLst/>
              <a:uLnTx/>
              <a:uFillTx/>
              <a:latin typeface="OPPOSans L"/>
              <a:ea typeface="OPPOSans L" panose="00020600040101010101" pitchFamily="18" charset="-122"/>
              <a:cs typeface="+mn-cs"/>
            </a:endParaRPr>
          </a:p>
        </p:txBody>
      </p:sp>
      <p:sp>
        <p:nvSpPr>
          <p:cNvPr id="98" name="任意多边形: 形状 97">
            <a:extLst>
              <a:ext uri="{FF2B5EF4-FFF2-40B4-BE49-F238E27FC236}">
                <a16:creationId xmlns:a16="http://schemas.microsoft.com/office/drawing/2014/main" id="{1EFB3302-4E84-42E5-96CE-8CB061526637}"/>
              </a:ext>
            </a:extLst>
          </p:cNvPr>
          <p:cNvSpPr/>
          <p:nvPr/>
        </p:nvSpPr>
        <p:spPr>
          <a:xfrm rot="5400000">
            <a:off x="4167516" y="1741685"/>
            <a:ext cx="135834" cy="88430"/>
          </a:xfrm>
          <a:custGeom>
            <a:avLst/>
            <a:gdLst>
              <a:gd name="connsiteX0" fmla="*/ 0 w 541041"/>
              <a:gd name="connsiteY0" fmla="*/ 352216 h 352216"/>
              <a:gd name="connsiteX1" fmla="*/ 69719 w 541041"/>
              <a:gd name="connsiteY1" fmla="*/ 309979 h 352216"/>
              <a:gd name="connsiteX2" fmla="*/ 242350 w 541041"/>
              <a:gd name="connsiteY2" fmla="*/ 70918 h 352216"/>
              <a:gd name="connsiteX3" fmla="*/ 270901 w 541041"/>
              <a:gd name="connsiteY3" fmla="*/ 0 h 352216"/>
              <a:gd name="connsiteX4" fmla="*/ 314977 w 541041"/>
              <a:gd name="connsiteY4" fmla="*/ 104256 h 352216"/>
              <a:gd name="connsiteX5" fmla="*/ 471321 w 541041"/>
              <a:gd name="connsiteY5" fmla="*/ 309978 h 352216"/>
              <a:gd name="connsiteX6" fmla="*/ 541041 w 541041"/>
              <a:gd name="connsiteY6" fmla="*/ 352216 h 352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1041" h="352216">
                <a:moveTo>
                  <a:pt x="0" y="352216"/>
                </a:moveTo>
                <a:lnTo>
                  <a:pt x="69719" y="309979"/>
                </a:lnTo>
                <a:cubicBezTo>
                  <a:pt x="135921" y="255331"/>
                  <a:pt x="194716" y="173202"/>
                  <a:pt x="242350" y="70918"/>
                </a:cubicBezTo>
                <a:lnTo>
                  <a:pt x="270901" y="0"/>
                </a:lnTo>
                <a:lnTo>
                  <a:pt x="314977" y="104256"/>
                </a:lnTo>
                <a:cubicBezTo>
                  <a:pt x="359482" y="191113"/>
                  <a:pt x="412475" y="261403"/>
                  <a:pt x="471321" y="309978"/>
                </a:cubicBezTo>
                <a:lnTo>
                  <a:pt x="541041" y="352216"/>
                </a:lnTo>
                <a:close/>
              </a:path>
            </a:pathLst>
          </a:custGeom>
          <a:gradFill>
            <a:gsLst>
              <a:gs pos="0">
                <a:schemeClr val="accent2"/>
              </a:gs>
              <a:gs pos="100000">
                <a:schemeClr val="accent4"/>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white"/>
              </a:solidFill>
              <a:effectLst/>
              <a:uLnTx/>
              <a:uFillTx/>
              <a:latin typeface="OPPOSans L"/>
              <a:ea typeface="OPPOSans L" panose="00020600040101010101" pitchFamily="18" charset="-122"/>
              <a:cs typeface="+mn-cs"/>
            </a:endParaRPr>
          </a:p>
        </p:txBody>
      </p:sp>
      <p:sp>
        <p:nvSpPr>
          <p:cNvPr id="87" name="稿定PPT-11-2">
            <a:extLst>
              <a:ext uri="{FF2B5EF4-FFF2-40B4-BE49-F238E27FC236}">
                <a16:creationId xmlns:a16="http://schemas.microsoft.com/office/drawing/2014/main" id="{08CF39CA-ADD7-4287-BDEF-E5B050B0BFDC}"/>
              </a:ext>
            </a:extLst>
          </p:cNvPr>
          <p:cNvSpPr txBox="1"/>
          <p:nvPr/>
        </p:nvSpPr>
        <p:spPr>
          <a:xfrm>
            <a:off x="3270394" y="2158747"/>
            <a:ext cx="1818799" cy="806439"/>
          </a:xfrm>
          <a:prstGeom prst="rect">
            <a:avLst/>
          </a:prstGeom>
          <a:noFill/>
          <a:ln>
            <a:noFill/>
          </a:ln>
        </p:spPr>
        <p:txBody>
          <a:bodyPr wrap="square" lIns="0" tIns="0" rIns="0" bIns="0" anchor="t" anchorCtr="0">
            <a:spAutoFit/>
          </a:bodyPr>
          <a:lstStyle>
            <a:defPPr>
              <a:defRPr lang="zh-CN"/>
            </a:defPPr>
            <a:lvl1pPr marR="0" lvl="0" indent="0" algn="just" defTabSz="913765" fontAlgn="auto">
              <a:lnSpc>
                <a:spcPct val="150000"/>
              </a:lnSpc>
              <a:spcBef>
                <a:spcPts val="0"/>
              </a:spcBef>
              <a:spcAft>
                <a:spcPts val="0"/>
              </a:spcAft>
              <a:buClrTx/>
              <a:buSzPct val="25000"/>
              <a:buFontTx/>
              <a:buNone/>
              <a:tabLst/>
              <a:defRPr kumimoji="0" sz="1400" b="0" i="0" u="none" strike="noStrike" cap="none" spc="0" normalizeH="0" baseline="0">
                <a:ln>
                  <a:noFill/>
                </a:ln>
                <a:solidFill>
                  <a:schemeClr val="tx1">
                    <a:lumMod val="65000"/>
                    <a:lumOff val="35000"/>
                  </a:schemeClr>
                </a:solidFill>
                <a:effectLst/>
                <a:uLnTx/>
                <a:uFillTx/>
                <a:latin typeface="+mn-ea"/>
              </a:defRPr>
            </a:lvl1pPr>
          </a:lstStyle>
          <a:p>
            <a:pPr marL="0" marR="0" lvl="0" indent="0" algn="just" defTabSz="913765" rtl="0" eaLnBrk="1" fontAlgn="auto" latinLnBrk="0" hangingPunct="1">
              <a:lnSpc>
                <a:spcPct val="150000"/>
              </a:lnSpc>
              <a:spcBef>
                <a:spcPts val="0"/>
              </a:spcBef>
              <a:spcAft>
                <a:spcPts val="0"/>
              </a:spcAft>
              <a:buClrTx/>
              <a:buSzPct val="25000"/>
              <a:buFontTx/>
              <a:buNone/>
              <a:tabLst/>
              <a:defRPr/>
            </a:pPr>
            <a:r>
              <a:rPr kumimoji="0" lang="zh-CN" altLang="en-US" sz="1200" b="0" i="0" u="none" strike="noStrike" kern="1200" cap="none" spc="0" normalizeH="0" baseline="0" noProof="0" dirty="0">
                <a:ln>
                  <a:noFill/>
                </a:ln>
                <a:solidFill>
                  <a:prstClr val="black">
                    <a:lumMod val="65000"/>
                    <a:lumOff val="35000"/>
                  </a:prstClr>
                </a:solidFill>
                <a:effectLst/>
                <a:uLnTx/>
                <a:uFillTx/>
                <a:latin typeface="OPPOSans L" panose="00020600040101010101" pitchFamily="18" charset="-122"/>
                <a:ea typeface="OPPOSans L" panose="00020600040101010101" pitchFamily="18" charset="-122"/>
                <a:cs typeface="+mn-cs"/>
              </a:rPr>
              <a:t>不论你是销售、策划、学生、</a:t>
            </a:r>
            <a:r>
              <a:rPr kumimoji="0" lang="en-US" altLang="zh-CN" sz="1200" b="0" i="0" u="none" strike="noStrike" kern="1200" cap="none" spc="0" normalizeH="0" baseline="0" noProof="0" dirty="0">
                <a:ln>
                  <a:noFill/>
                </a:ln>
                <a:solidFill>
                  <a:prstClr val="black">
                    <a:lumMod val="65000"/>
                    <a:lumOff val="35000"/>
                  </a:prstClr>
                </a:solidFill>
                <a:effectLst/>
                <a:uLnTx/>
                <a:uFillTx/>
                <a:latin typeface="OPPOSans L" panose="00020600040101010101" pitchFamily="18" charset="-122"/>
                <a:ea typeface="OPPOSans L" panose="00020600040101010101" pitchFamily="18" charset="-122"/>
                <a:cs typeface="+mn-cs"/>
              </a:rPr>
              <a:t>PPT</a:t>
            </a:r>
            <a:r>
              <a:rPr kumimoji="0" lang="zh-CN" altLang="en-US" sz="1200" b="0" i="0" u="none" strike="noStrike" kern="1200" cap="none" spc="0" normalizeH="0" baseline="0" noProof="0" dirty="0">
                <a:ln>
                  <a:noFill/>
                </a:ln>
                <a:solidFill>
                  <a:prstClr val="black">
                    <a:lumMod val="65000"/>
                    <a:lumOff val="35000"/>
                  </a:prstClr>
                </a:solidFill>
                <a:effectLst/>
                <a:uLnTx/>
                <a:uFillTx/>
                <a:latin typeface="OPPOSans L" panose="00020600040101010101" pitchFamily="18" charset="-122"/>
                <a:ea typeface="OPPOSans L" panose="00020600040101010101" pitchFamily="18" charset="-122"/>
                <a:cs typeface="+mn-cs"/>
              </a:rPr>
              <a:t>爱好者，都能在秋叶</a:t>
            </a:r>
            <a:r>
              <a:rPr kumimoji="0" lang="en-US" altLang="zh-CN" sz="1200" b="0" i="0" u="none" strike="noStrike" kern="1200" cap="none" spc="0" normalizeH="0" baseline="0" noProof="0" dirty="0">
                <a:ln>
                  <a:noFill/>
                </a:ln>
                <a:solidFill>
                  <a:prstClr val="black">
                    <a:lumMod val="65000"/>
                    <a:lumOff val="35000"/>
                  </a:prstClr>
                </a:solidFill>
                <a:effectLst/>
                <a:uLnTx/>
                <a:uFillTx/>
                <a:latin typeface="OPPOSans L" panose="00020600040101010101" pitchFamily="18" charset="-122"/>
                <a:ea typeface="OPPOSans L" panose="00020600040101010101" pitchFamily="18" charset="-122"/>
                <a:cs typeface="+mn-cs"/>
              </a:rPr>
              <a:t>PPT</a:t>
            </a:r>
            <a:r>
              <a:rPr kumimoji="0" lang="zh-CN" altLang="en-US" sz="1200" b="0" i="0" u="none" strike="noStrike" kern="1200" cap="none" spc="0" normalizeH="0" baseline="0" noProof="0" dirty="0">
                <a:ln>
                  <a:noFill/>
                </a:ln>
                <a:solidFill>
                  <a:prstClr val="black">
                    <a:lumMod val="65000"/>
                    <a:lumOff val="35000"/>
                  </a:prstClr>
                </a:solidFill>
                <a:effectLst/>
                <a:uLnTx/>
                <a:uFillTx/>
                <a:latin typeface="OPPOSans L" panose="00020600040101010101" pitchFamily="18" charset="-122"/>
                <a:ea typeface="OPPOSans L" panose="00020600040101010101" pitchFamily="18" charset="-122"/>
                <a:cs typeface="+mn-cs"/>
              </a:rPr>
              <a:t>找到适合的模板。</a:t>
            </a:r>
          </a:p>
        </p:txBody>
      </p:sp>
      <p:sp>
        <p:nvSpPr>
          <p:cNvPr id="89" name="稿定PPT-6-4">
            <a:extLst>
              <a:ext uri="{FF2B5EF4-FFF2-40B4-BE49-F238E27FC236}">
                <a16:creationId xmlns:a16="http://schemas.microsoft.com/office/drawing/2014/main" id="{FFF3BC84-C72F-42C4-A5AF-3A9330AAFCAF}"/>
              </a:ext>
            </a:extLst>
          </p:cNvPr>
          <p:cNvSpPr txBox="1"/>
          <p:nvPr/>
        </p:nvSpPr>
        <p:spPr>
          <a:xfrm flipH="1">
            <a:off x="4336932" y="3308649"/>
            <a:ext cx="957883" cy="184666"/>
          </a:xfrm>
          <a:prstGeom prst="rect">
            <a:avLst/>
          </a:prstGeom>
          <a:noFill/>
          <a:ln>
            <a:noFill/>
            <a:prstDash val="sysDot"/>
            <a:miter lim="800000"/>
          </a:ln>
        </p:spPr>
        <p:txBody>
          <a:bodyPr wrap="square" lIns="0" tIns="0" rIns="0" bIns="0" rtlCol="0" anchor="b">
            <a:spAutoFit/>
          </a:bodyPr>
          <a:lstStyle>
            <a:defPPr>
              <a:defRPr lang="zh-CN"/>
            </a:defPPr>
            <a:lvl1pPr>
              <a:defRPr kumimoji="0" b="1" i="0" u="none" strike="noStrike" cap="none" spc="0" normalizeH="0" baseline="0">
                <a:ln>
                  <a:noFill/>
                </a:ln>
                <a:effectLst/>
                <a:uLnTx/>
                <a:uFillTx/>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200" b="0" i="0" u="none" strike="noStrike" kern="1200" cap="none" spc="0" normalizeH="0" baseline="0" noProof="0" dirty="0">
                <a:ln>
                  <a:noFill/>
                </a:ln>
                <a:gradFill>
                  <a:gsLst>
                    <a:gs pos="0">
                      <a:srgbClr val="44312B"/>
                    </a:gs>
                    <a:gs pos="100000">
                      <a:srgbClr val="8F4B28"/>
                    </a:gs>
                  </a:gsLst>
                  <a:lin ang="5400000" scaled="1"/>
                </a:gradFill>
                <a:effectLst/>
                <a:uLnTx/>
                <a:uFillTx/>
                <a:latin typeface="OPPOSans M" panose="00020600040101010101" pitchFamily="18" charset="-122"/>
                <a:ea typeface="OPPOSans M" panose="00020600040101010101" pitchFamily="18" charset="-122"/>
                <a:cs typeface="+mn-cs"/>
              </a:rPr>
              <a:t>更快更轻松</a:t>
            </a:r>
          </a:p>
        </p:txBody>
      </p:sp>
      <p:sp>
        <p:nvSpPr>
          <p:cNvPr id="91" name="任意多边形: 形状 90">
            <a:extLst>
              <a:ext uri="{FF2B5EF4-FFF2-40B4-BE49-F238E27FC236}">
                <a16:creationId xmlns:a16="http://schemas.microsoft.com/office/drawing/2014/main" id="{A5D9C401-C579-4DCE-A08C-AA42912FB3AD}"/>
              </a:ext>
            </a:extLst>
          </p:cNvPr>
          <p:cNvSpPr/>
          <p:nvPr/>
        </p:nvSpPr>
        <p:spPr>
          <a:xfrm rot="16200000" flipH="1">
            <a:off x="4010538" y="3363478"/>
            <a:ext cx="86510" cy="56318"/>
          </a:xfrm>
          <a:custGeom>
            <a:avLst/>
            <a:gdLst>
              <a:gd name="connsiteX0" fmla="*/ 0 w 541041"/>
              <a:gd name="connsiteY0" fmla="*/ 352216 h 352216"/>
              <a:gd name="connsiteX1" fmla="*/ 69719 w 541041"/>
              <a:gd name="connsiteY1" fmla="*/ 309979 h 352216"/>
              <a:gd name="connsiteX2" fmla="*/ 242350 w 541041"/>
              <a:gd name="connsiteY2" fmla="*/ 70918 h 352216"/>
              <a:gd name="connsiteX3" fmla="*/ 270901 w 541041"/>
              <a:gd name="connsiteY3" fmla="*/ 0 h 352216"/>
              <a:gd name="connsiteX4" fmla="*/ 314977 w 541041"/>
              <a:gd name="connsiteY4" fmla="*/ 104256 h 352216"/>
              <a:gd name="connsiteX5" fmla="*/ 471321 w 541041"/>
              <a:gd name="connsiteY5" fmla="*/ 309978 h 352216"/>
              <a:gd name="connsiteX6" fmla="*/ 541041 w 541041"/>
              <a:gd name="connsiteY6" fmla="*/ 352216 h 352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1041" h="352216">
                <a:moveTo>
                  <a:pt x="0" y="352216"/>
                </a:moveTo>
                <a:lnTo>
                  <a:pt x="69719" y="309979"/>
                </a:lnTo>
                <a:cubicBezTo>
                  <a:pt x="135921" y="255331"/>
                  <a:pt x="194716" y="173202"/>
                  <a:pt x="242350" y="70918"/>
                </a:cubicBezTo>
                <a:lnTo>
                  <a:pt x="270901" y="0"/>
                </a:lnTo>
                <a:lnTo>
                  <a:pt x="314977" y="104256"/>
                </a:lnTo>
                <a:cubicBezTo>
                  <a:pt x="359482" y="191113"/>
                  <a:pt x="412475" y="261403"/>
                  <a:pt x="471321" y="309978"/>
                </a:cubicBezTo>
                <a:lnTo>
                  <a:pt x="541041" y="352216"/>
                </a:lnTo>
                <a:close/>
              </a:path>
            </a:pathLst>
          </a:custGeom>
          <a:gradFill>
            <a:gsLst>
              <a:gs pos="0">
                <a:schemeClr val="accent2"/>
              </a:gs>
              <a:gs pos="100000">
                <a:schemeClr val="accent4"/>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white"/>
              </a:solidFill>
              <a:effectLst/>
              <a:uLnTx/>
              <a:uFillTx/>
              <a:latin typeface="OPPOSans L"/>
              <a:ea typeface="OPPOSans L" panose="00020600040101010101" pitchFamily="18" charset="-122"/>
              <a:cs typeface="+mn-cs"/>
            </a:endParaRPr>
          </a:p>
        </p:txBody>
      </p:sp>
      <p:sp>
        <p:nvSpPr>
          <p:cNvPr id="92" name="任意多边形: 形状 91">
            <a:extLst>
              <a:ext uri="{FF2B5EF4-FFF2-40B4-BE49-F238E27FC236}">
                <a16:creationId xmlns:a16="http://schemas.microsoft.com/office/drawing/2014/main" id="{56F82CA2-E7A5-44D3-B109-884CC5D0B850}"/>
              </a:ext>
            </a:extLst>
          </p:cNvPr>
          <p:cNvSpPr/>
          <p:nvPr/>
        </p:nvSpPr>
        <p:spPr>
          <a:xfrm rot="16200000" flipH="1">
            <a:off x="4097161" y="3363478"/>
            <a:ext cx="86511" cy="56319"/>
          </a:xfrm>
          <a:custGeom>
            <a:avLst/>
            <a:gdLst>
              <a:gd name="connsiteX0" fmla="*/ 0 w 541041"/>
              <a:gd name="connsiteY0" fmla="*/ 352216 h 352216"/>
              <a:gd name="connsiteX1" fmla="*/ 69719 w 541041"/>
              <a:gd name="connsiteY1" fmla="*/ 309979 h 352216"/>
              <a:gd name="connsiteX2" fmla="*/ 242350 w 541041"/>
              <a:gd name="connsiteY2" fmla="*/ 70918 h 352216"/>
              <a:gd name="connsiteX3" fmla="*/ 270901 w 541041"/>
              <a:gd name="connsiteY3" fmla="*/ 0 h 352216"/>
              <a:gd name="connsiteX4" fmla="*/ 314977 w 541041"/>
              <a:gd name="connsiteY4" fmla="*/ 104256 h 352216"/>
              <a:gd name="connsiteX5" fmla="*/ 471321 w 541041"/>
              <a:gd name="connsiteY5" fmla="*/ 309978 h 352216"/>
              <a:gd name="connsiteX6" fmla="*/ 541041 w 541041"/>
              <a:gd name="connsiteY6" fmla="*/ 352216 h 352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1041" h="352216">
                <a:moveTo>
                  <a:pt x="0" y="352216"/>
                </a:moveTo>
                <a:lnTo>
                  <a:pt x="69719" y="309979"/>
                </a:lnTo>
                <a:cubicBezTo>
                  <a:pt x="135921" y="255331"/>
                  <a:pt x="194716" y="173202"/>
                  <a:pt x="242350" y="70918"/>
                </a:cubicBezTo>
                <a:lnTo>
                  <a:pt x="270901" y="0"/>
                </a:lnTo>
                <a:lnTo>
                  <a:pt x="314977" y="104256"/>
                </a:lnTo>
                <a:cubicBezTo>
                  <a:pt x="359482" y="191113"/>
                  <a:pt x="412475" y="261403"/>
                  <a:pt x="471321" y="309978"/>
                </a:cubicBezTo>
                <a:lnTo>
                  <a:pt x="541041" y="352216"/>
                </a:lnTo>
                <a:close/>
              </a:path>
            </a:pathLst>
          </a:custGeom>
          <a:gradFill>
            <a:gsLst>
              <a:gs pos="0">
                <a:schemeClr val="accent2"/>
              </a:gs>
              <a:gs pos="100000">
                <a:schemeClr val="accent4"/>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white"/>
              </a:solidFill>
              <a:effectLst/>
              <a:uLnTx/>
              <a:uFillTx/>
              <a:latin typeface="OPPOSans L"/>
              <a:ea typeface="OPPOSans L" panose="00020600040101010101" pitchFamily="18" charset="-122"/>
              <a:cs typeface="+mn-cs"/>
            </a:endParaRPr>
          </a:p>
        </p:txBody>
      </p:sp>
      <p:sp>
        <p:nvSpPr>
          <p:cNvPr id="93" name="任意多边形: 形状 92">
            <a:extLst>
              <a:ext uri="{FF2B5EF4-FFF2-40B4-BE49-F238E27FC236}">
                <a16:creationId xmlns:a16="http://schemas.microsoft.com/office/drawing/2014/main" id="{E28D64C9-7377-4987-9B9E-91E11482E7F5}"/>
              </a:ext>
            </a:extLst>
          </p:cNvPr>
          <p:cNvSpPr/>
          <p:nvPr/>
        </p:nvSpPr>
        <p:spPr>
          <a:xfrm rot="16200000" flipH="1">
            <a:off x="4183787" y="3363478"/>
            <a:ext cx="86511" cy="56319"/>
          </a:xfrm>
          <a:custGeom>
            <a:avLst/>
            <a:gdLst>
              <a:gd name="connsiteX0" fmla="*/ 0 w 541041"/>
              <a:gd name="connsiteY0" fmla="*/ 352216 h 352216"/>
              <a:gd name="connsiteX1" fmla="*/ 69719 w 541041"/>
              <a:gd name="connsiteY1" fmla="*/ 309979 h 352216"/>
              <a:gd name="connsiteX2" fmla="*/ 242350 w 541041"/>
              <a:gd name="connsiteY2" fmla="*/ 70918 h 352216"/>
              <a:gd name="connsiteX3" fmla="*/ 270901 w 541041"/>
              <a:gd name="connsiteY3" fmla="*/ 0 h 352216"/>
              <a:gd name="connsiteX4" fmla="*/ 314977 w 541041"/>
              <a:gd name="connsiteY4" fmla="*/ 104256 h 352216"/>
              <a:gd name="connsiteX5" fmla="*/ 471321 w 541041"/>
              <a:gd name="connsiteY5" fmla="*/ 309978 h 352216"/>
              <a:gd name="connsiteX6" fmla="*/ 541041 w 541041"/>
              <a:gd name="connsiteY6" fmla="*/ 352216 h 352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1041" h="352216">
                <a:moveTo>
                  <a:pt x="0" y="352216"/>
                </a:moveTo>
                <a:lnTo>
                  <a:pt x="69719" y="309979"/>
                </a:lnTo>
                <a:cubicBezTo>
                  <a:pt x="135921" y="255331"/>
                  <a:pt x="194716" y="173202"/>
                  <a:pt x="242350" y="70918"/>
                </a:cubicBezTo>
                <a:lnTo>
                  <a:pt x="270901" y="0"/>
                </a:lnTo>
                <a:lnTo>
                  <a:pt x="314977" y="104256"/>
                </a:lnTo>
                <a:cubicBezTo>
                  <a:pt x="359482" y="191113"/>
                  <a:pt x="412475" y="261403"/>
                  <a:pt x="471321" y="309978"/>
                </a:cubicBezTo>
                <a:lnTo>
                  <a:pt x="541041" y="352216"/>
                </a:lnTo>
                <a:close/>
              </a:path>
            </a:pathLst>
          </a:custGeom>
          <a:gradFill>
            <a:gsLst>
              <a:gs pos="0">
                <a:schemeClr val="accent2"/>
              </a:gs>
              <a:gs pos="100000">
                <a:schemeClr val="accent4"/>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white"/>
              </a:solidFill>
              <a:effectLst/>
              <a:uLnTx/>
              <a:uFillTx/>
              <a:latin typeface="OPPOSans L"/>
              <a:ea typeface="OPPOSans L" panose="00020600040101010101" pitchFamily="18" charset="-122"/>
              <a:cs typeface="+mn-cs"/>
            </a:endParaRPr>
          </a:p>
        </p:txBody>
      </p:sp>
      <p:sp>
        <p:nvSpPr>
          <p:cNvPr id="81" name="稿定PPT-6-4">
            <a:extLst>
              <a:ext uri="{FF2B5EF4-FFF2-40B4-BE49-F238E27FC236}">
                <a16:creationId xmlns:a16="http://schemas.microsoft.com/office/drawing/2014/main" id="{C410E6E0-05CE-4994-AE68-F6C498F4E2C0}"/>
              </a:ext>
            </a:extLst>
          </p:cNvPr>
          <p:cNvSpPr txBox="1"/>
          <p:nvPr/>
        </p:nvSpPr>
        <p:spPr>
          <a:xfrm flipH="1">
            <a:off x="4018779" y="3972393"/>
            <a:ext cx="1242862" cy="246221"/>
          </a:xfrm>
          <a:prstGeom prst="rect">
            <a:avLst/>
          </a:prstGeom>
          <a:noFill/>
          <a:ln>
            <a:noFill/>
            <a:prstDash val="sysDot"/>
            <a:miter lim="800000"/>
          </a:ln>
        </p:spPr>
        <p:txBody>
          <a:bodyPr wrap="square" lIns="0" tIns="0" rIns="0" bIns="0" rtlCol="0" anchor="b">
            <a:spAutoFit/>
          </a:bodyPr>
          <a:lstStyle>
            <a:defPPr>
              <a:defRPr lang="zh-CN"/>
            </a:defPPr>
            <a:lvl1pPr>
              <a:defRPr kumimoji="0" b="1" i="0" u="none" strike="noStrike" cap="none" spc="0" normalizeH="0" baseline="0">
                <a:ln>
                  <a:noFill/>
                </a:ln>
                <a:effectLst/>
                <a:uLnTx/>
                <a:uFillTx/>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zh-CN" altLang="en-US" sz="1600" b="0" i="0" u="none" strike="noStrike" kern="1200" cap="none" spc="0" normalizeH="0" baseline="0" noProof="0" dirty="0">
                <a:ln>
                  <a:noFill/>
                </a:ln>
                <a:gradFill>
                  <a:gsLst>
                    <a:gs pos="0">
                      <a:srgbClr val="44312B"/>
                    </a:gs>
                    <a:gs pos="100000">
                      <a:srgbClr val="8F4B28"/>
                    </a:gs>
                  </a:gsLst>
                  <a:lin ang="5400000" scaled="1"/>
                </a:gradFill>
                <a:effectLst/>
                <a:uLnTx/>
                <a:uFillTx/>
                <a:latin typeface="OPPOSans M" panose="00020600040101010101" pitchFamily="18" charset="-122"/>
                <a:ea typeface="OPPOSans M" panose="00020600040101010101" pitchFamily="18" charset="-122"/>
                <a:cs typeface="+mn-cs"/>
              </a:rPr>
              <a:t>秋叶</a:t>
            </a:r>
            <a:r>
              <a:rPr kumimoji="0" lang="en-US" altLang="zh-CN" sz="1600" b="0" i="0" u="none" strike="noStrike" kern="1200" cap="none" spc="0" normalizeH="0" baseline="0" noProof="0" dirty="0">
                <a:ln>
                  <a:noFill/>
                </a:ln>
                <a:gradFill>
                  <a:gsLst>
                    <a:gs pos="0">
                      <a:srgbClr val="44312B"/>
                    </a:gs>
                    <a:gs pos="100000">
                      <a:srgbClr val="8F4B28"/>
                    </a:gs>
                  </a:gsLst>
                  <a:lin ang="5400000" scaled="1"/>
                </a:gradFill>
                <a:effectLst/>
                <a:uLnTx/>
                <a:uFillTx/>
                <a:latin typeface="OPPOSans M" panose="00020600040101010101" pitchFamily="18" charset="-122"/>
                <a:ea typeface="OPPOSans M" panose="00020600040101010101" pitchFamily="18" charset="-122"/>
                <a:cs typeface="+mn-cs"/>
              </a:rPr>
              <a:t>PPT</a:t>
            </a:r>
            <a:endParaRPr kumimoji="0" lang="zh-CN" altLang="en-US" sz="1600" b="0" i="0" u="none" strike="noStrike" kern="1200" cap="none" spc="0" normalizeH="0" baseline="0" noProof="0" dirty="0">
              <a:ln>
                <a:noFill/>
              </a:ln>
              <a:gradFill>
                <a:gsLst>
                  <a:gs pos="0">
                    <a:srgbClr val="44312B"/>
                  </a:gs>
                  <a:gs pos="100000">
                    <a:srgbClr val="8F4B28"/>
                  </a:gs>
                </a:gsLst>
                <a:lin ang="5400000" scaled="1"/>
              </a:gradFill>
              <a:effectLst/>
              <a:uLnTx/>
              <a:uFillTx/>
              <a:latin typeface="OPPOSans M" panose="00020600040101010101" pitchFamily="18" charset="-122"/>
              <a:ea typeface="OPPOSans M" panose="00020600040101010101" pitchFamily="18" charset="-122"/>
              <a:cs typeface="+mn-cs"/>
            </a:endParaRPr>
          </a:p>
        </p:txBody>
      </p:sp>
      <p:sp>
        <p:nvSpPr>
          <p:cNvPr id="83" name="任意多边形: 形状 82">
            <a:extLst>
              <a:ext uri="{FF2B5EF4-FFF2-40B4-BE49-F238E27FC236}">
                <a16:creationId xmlns:a16="http://schemas.microsoft.com/office/drawing/2014/main" id="{8E2F992B-3116-4330-8F37-F27A3E7813A4}"/>
              </a:ext>
            </a:extLst>
          </p:cNvPr>
          <p:cNvSpPr/>
          <p:nvPr/>
        </p:nvSpPr>
        <p:spPr>
          <a:xfrm rot="16200000" flipH="1">
            <a:off x="3981396" y="4054216"/>
            <a:ext cx="135833" cy="88429"/>
          </a:xfrm>
          <a:custGeom>
            <a:avLst/>
            <a:gdLst>
              <a:gd name="connsiteX0" fmla="*/ 0 w 541041"/>
              <a:gd name="connsiteY0" fmla="*/ 352216 h 352216"/>
              <a:gd name="connsiteX1" fmla="*/ 69719 w 541041"/>
              <a:gd name="connsiteY1" fmla="*/ 309979 h 352216"/>
              <a:gd name="connsiteX2" fmla="*/ 242350 w 541041"/>
              <a:gd name="connsiteY2" fmla="*/ 70918 h 352216"/>
              <a:gd name="connsiteX3" fmla="*/ 270901 w 541041"/>
              <a:gd name="connsiteY3" fmla="*/ 0 h 352216"/>
              <a:gd name="connsiteX4" fmla="*/ 314977 w 541041"/>
              <a:gd name="connsiteY4" fmla="*/ 104256 h 352216"/>
              <a:gd name="connsiteX5" fmla="*/ 471321 w 541041"/>
              <a:gd name="connsiteY5" fmla="*/ 309978 h 352216"/>
              <a:gd name="connsiteX6" fmla="*/ 541041 w 541041"/>
              <a:gd name="connsiteY6" fmla="*/ 352216 h 352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1041" h="352216">
                <a:moveTo>
                  <a:pt x="0" y="352216"/>
                </a:moveTo>
                <a:lnTo>
                  <a:pt x="69719" y="309979"/>
                </a:lnTo>
                <a:cubicBezTo>
                  <a:pt x="135921" y="255331"/>
                  <a:pt x="194716" y="173202"/>
                  <a:pt x="242350" y="70918"/>
                </a:cubicBezTo>
                <a:lnTo>
                  <a:pt x="270901" y="0"/>
                </a:lnTo>
                <a:lnTo>
                  <a:pt x="314977" y="104256"/>
                </a:lnTo>
                <a:cubicBezTo>
                  <a:pt x="359482" y="191113"/>
                  <a:pt x="412475" y="261403"/>
                  <a:pt x="471321" y="309978"/>
                </a:cubicBezTo>
                <a:lnTo>
                  <a:pt x="541041" y="352216"/>
                </a:lnTo>
                <a:close/>
              </a:path>
            </a:pathLst>
          </a:custGeom>
          <a:gradFill>
            <a:gsLst>
              <a:gs pos="0">
                <a:schemeClr val="accent2"/>
              </a:gs>
              <a:gs pos="100000">
                <a:schemeClr val="accent4"/>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white"/>
              </a:solidFill>
              <a:effectLst/>
              <a:uLnTx/>
              <a:uFillTx/>
              <a:latin typeface="OPPOSans L"/>
              <a:ea typeface="OPPOSans L" panose="00020600040101010101" pitchFamily="18" charset="-122"/>
              <a:cs typeface="+mn-cs"/>
            </a:endParaRPr>
          </a:p>
        </p:txBody>
      </p:sp>
      <p:sp>
        <p:nvSpPr>
          <p:cNvPr id="84" name="任意多边形: 形状 83">
            <a:extLst>
              <a:ext uri="{FF2B5EF4-FFF2-40B4-BE49-F238E27FC236}">
                <a16:creationId xmlns:a16="http://schemas.microsoft.com/office/drawing/2014/main" id="{9B076132-B668-4D01-A0A4-1B622810A702}"/>
              </a:ext>
            </a:extLst>
          </p:cNvPr>
          <p:cNvSpPr/>
          <p:nvPr/>
        </p:nvSpPr>
        <p:spPr>
          <a:xfrm rot="16200000" flipH="1">
            <a:off x="4117409" y="4054219"/>
            <a:ext cx="135834" cy="88430"/>
          </a:xfrm>
          <a:custGeom>
            <a:avLst/>
            <a:gdLst>
              <a:gd name="connsiteX0" fmla="*/ 0 w 541041"/>
              <a:gd name="connsiteY0" fmla="*/ 352216 h 352216"/>
              <a:gd name="connsiteX1" fmla="*/ 69719 w 541041"/>
              <a:gd name="connsiteY1" fmla="*/ 309979 h 352216"/>
              <a:gd name="connsiteX2" fmla="*/ 242350 w 541041"/>
              <a:gd name="connsiteY2" fmla="*/ 70918 h 352216"/>
              <a:gd name="connsiteX3" fmla="*/ 270901 w 541041"/>
              <a:gd name="connsiteY3" fmla="*/ 0 h 352216"/>
              <a:gd name="connsiteX4" fmla="*/ 314977 w 541041"/>
              <a:gd name="connsiteY4" fmla="*/ 104256 h 352216"/>
              <a:gd name="connsiteX5" fmla="*/ 471321 w 541041"/>
              <a:gd name="connsiteY5" fmla="*/ 309978 h 352216"/>
              <a:gd name="connsiteX6" fmla="*/ 541041 w 541041"/>
              <a:gd name="connsiteY6" fmla="*/ 352216 h 352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1041" h="352216">
                <a:moveTo>
                  <a:pt x="0" y="352216"/>
                </a:moveTo>
                <a:lnTo>
                  <a:pt x="69719" y="309979"/>
                </a:lnTo>
                <a:cubicBezTo>
                  <a:pt x="135921" y="255331"/>
                  <a:pt x="194716" y="173202"/>
                  <a:pt x="242350" y="70918"/>
                </a:cubicBezTo>
                <a:lnTo>
                  <a:pt x="270901" y="0"/>
                </a:lnTo>
                <a:lnTo>
                  <a:pt x="314977" y="104256"/>
                </a:lnTo>
                <a:cubicBezTo>
                  <a:pt x="359482" y="191113"/>
                  <a:pt x="412475" y="261403"/>
                  <a:pt x="471321" y="309978"/>
                </a:cubicBezTo>
                <a:lnTo>
                  <a:pt x="541041" y="352216"/>
                </a:lnTo>
                <a:close/>
              </a:path>
            </a:pathLst>
          </a:custGeom>
          <a:gradFill>
            <a:gsLst>
              <a:gs pos="0">
                <a:schemeClr val="accent2"/>
              </a:gs>
              <a:gs pos="100000">
                <a:schemeClr val="accent4"/>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white"/>
              </a:solidFill>
              <a:effectLst/>
              <a:uLnTx/>
              <a:uFillTx/>
              <a:latin typeface="OPPOSans L"/>
              <a:ea typeface="OPPOSans L" panose="00020600040101010101" pitchFamily="18" charset="-122"/>
              <a:cs typeface="+mn-cs"/>
            </a:endParaRPr>
          </a:p>
        </p:txBody>
      </p:sp>
      <p:sp>
        <p:nvSpPr>
          <p:cNvPr id="85" name="任意多边形: 形状 84">
            <a:extLst>
              <a:ext uri="{FF2B5EF4-FFF2-40B4-BE49-F238E27FC236}">
                <a16:creationId xmlns:a16="http://schemas.microsoft.com/office/drawing/2014/main" id="{8B90EECE-6833-4D80-8E52-CEAB0F8C282B}"/>
              </a:ext>
            </a:extLst>
          </p:cNvPr>
          <p:cNvSpPr/>
          <p:nvPr/>
        </p:nvSpPr>
        <p:spPr>
          <a:xfrm rot="16200000" flipH="1">
            <a:off x="4253427" y="4054219"/>
            <a:ext cx="135834" cy="88430"/>
          </a:xfrm>
          <a:custGeom>
            <a:avLst/>
            <a:gdLst>
              <a:gd name="connsiteX0" fmla="*/ 0 w 541041"/>
              <a:gd name="connsiteY0" fmla="*/ 352216 h 352216"/>
              <a:gd name="connsiteX1" fmla="*/ 69719 w 541041"/>
              <a:gd name="connsiteY1" fmla="*/ 309979 h 352216"/>
              <a:gd name="connsiteX2" fmla="*/ 242350 w 541041"/>
              <a:gd name="connsiteY2" fmla="*/ 70918 h 352216"/>
              <a:gd name="connsiteX3" fmla="*/ 270901 w 541041"/>
              <a:gd name="connsiteY3" fmla="*/ 0 h 352216"/>
              <a:gd name="connsiteX4" fmla="*/ 314977 w 541041"/>
              <a:gd name="connsiteY4" fmla="*/ 104256 h 352216"/>
              <a:gd name="connsiteX5" fmla="*/ 471321 w 541041"/>
              <a:gd name="connsiteY5" fmla="*/ 309978 h 352216"/>
              <a:gd name="connsiteX6" fmla="*/ 541041 w 541041"/>
              <a:gd name="connsiteY6" fmla="*/ 352216 h 352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1041" h="352216">
                <a:moveTo>
                  <a:pt x="0" y="352216"/>
                </a:moveTo>
                <a:lnTo>
                  <a:pt x="69719" y="309979"/>
                </a:lnTo>
                <a:cubicBezTo>
                  <a:pt x="135921" y="255331"/>
                  <a:pt x="194716" y="173202"/>
                  <a:pt x="242350" y="70918"/>
                </a:cubicBezTo>
                <a:lnTo>
                  <a:pt x="270901" y="0"/>
                </a:lnTo>
                <a:lnTo>
                  <a:pt x="314977" y="104256"/>
                </a:lnTo>
                <a:cubicBezTo>
                  <a:pt x="359482" y="191113"/>
                  <a:pt x="412475" y="261403"/>
                  <a:pt x="471321" y="309978"/>
                </a:cubicBezTo>
                <a:lnTo>
                  <a:pt x="541041" y="352216"/>
                </a:lnTo>
                <a:close/>
              </a:path>
            </a:pathLst>
          </a:custGeom>
          <a:gradFill>
            <a:gsLst>
              <a:gs pos="0">
                <a:schemeClr val="accent2"/>
              </a:gs>
              <a:gs pos="100000">
                <a:schemeClr val="accent4"/>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white"/>
              </a:solidFill>
              <a:effectLst/>
              <a:uLnTx/>
              <a:uFillTx/>
              <a:latin typeface="OPPOSans L"/>
              <a:ea typeface="OPPOSans L" panose="00020600040101010101" pitchFamily="18" charset="-122"/>
              <a:cs typeface="+mn-cs"/>
            </a:endParaRPr>
          </a:p>
        </p:txBody>
      </p:sp>
      <p:sp>
        <p:nvSpPr>
          <p:cNvPr id="74" name="稿定PPT-11-2">
            <a:extLst>
              <a:ext uri="{FF2B5EF4-FFF2-40B4-BE49-F238E27FC236}">
                <a16:creationId xmlns:a16="http://schemas.microsoft.com/office/drawing/2014/main" id="{57671E55-6D09-4675-A403-7957F5527E5D}"/>
              </a:ext>
            </a:extLst>
          </p:cNvPr>
          <p:cNvSpPr txBox="1"/>
          <p:nvPr/>
        </p:nvSpPr>
        <p:spPr>
          <a:xfrm flipH="1">
            <a:off x="3453083" y="4471280"/>
            <a:ext cx="1818799" cy="806439"/>
          </a:xfrm>
          <a:prstGeom prst="rect">
            <a:avLst/>
          </a:prstGeom>
          <a:noFill/>
          <a:ln>
            <a:noFill/>
          </a:ln>
        </p:spPr>
        <p:txBody>
          <a:bodyPr wrap="square" lIns="0" tIns="0" rIns="0" bIns="0" anchor="t" anchorCtr="0">
            <a:spAutoFit/>
          </a:bodyPr>
          <a:lstStyle>
            <a:defPPr>
              <a:defRPr lang="zh-CN"/>
            </a:defPPr>
            <a:lvl1pPr marR="0" lvl="0" indent="0" algn="just" defTabSz="913765" fontAlgn="auto">
              <a:lnSpc>
                <a:spcPct val="150000"/>
              </a:lnSpc>
              <a:spcBef>
                <a:spcPts val="0"/>
              </a:spcBef>
              <a:spcAft>
                <a:spcPts val="0"/>
              </a:spcAft>
              <a:buClrTx/>
              <a:buSzPct val="25000"/>
              <a:buFontTx/>
              <a:buNone/>
              <a:tabLst/>
              <a:defRPr kumimoji="0" sz="1400" b="0" i="0" u="none" strike="noStrike" cap="none" spc="0" normalizeH="0" baseline="0">
                <a:ln>
                  <a:noFill/>
                </a:ln>
                <a:solidFill>
                  <a:schemeClr val="tx1">
                    <a:lumMod val="65000"/>
                    <a:lumOff val="35000"/>
                  </a:schemeClr>
                </a:solidFill>
                <a:effectLst/>
                <a:uLnTx/>
                <a:uFillTx/>
                <a:latin typeface="+mn-ea"/>
              </a:defRPr>
            </a:lvl1pPr>
          </a:lstStyle>
          <a:p>
            <a:pPr marL="0" marR="0" lvl="0" indent="0" algn="just" defTabSz="913765" rtl="0" eaLnBrk="1" fontAlgn="auto" latinLnBrk="0" hangingPunct="1">
              <a:lnSpc>
                <a:spcPct val="150000"/>
              </a:lnSpc>
              <a:spcBef>
                <a:spcPts val="0"/>
              </a:spcBef>
              <a:spcAft>
                <a:spcPts val="0"/>
              </a:spcAft>
              <a:buClrTx/>
              <a:buSzPct val="25000"/>
              <a:buFontTx/>
              <a:buNone/>
              <a:tabLst/>
              <a:defRPr/>
            </a:pPr>
            <a:r>
              <a:rPr kumimoji="0" lang="zh-CN" altLang="en-US" sz="1200" b="0" i="0" u="none" strike="noStrike" kern="1200" cap="none" spc="0" normalizeH="0" baseline="0" noProof="0" dirty="0">
                <a:ln>
                  <a:noFill/>
                </a:ln>
                <a:solidFill>
                  <a:prstClr val="black">
                    <a:lumMod val="65000"/>
                    <a:lumOff val="35000"/>
                  </a:prstClr>
                </a:solidFill>
                <a:effectLst/>
                <a:uLnTx/>
                <a:uFillTx/>
                <a:latin typeface="OPPOSans L" panose="00020600040101010101" pitchFamily="18" charset="-122"/>
                <a:ea typeface="OPPOSans L" panose="00020600040101010101" pitchFamily="18" charset="-122"/>
                <a:cs typeface="+mn-cs"/>
              </a:rPr>
              <a:t>不论你是销售、策划、学生、</a:t>
            </a:r>
            <a:r>
              <a:rPr kumimoji="0" lang="en-US" altLang="zh-CN" sz="1200" b="0" i="0" u="none" strike="noStrike" kern="1200" cap="none" spc="0" normalizeH="0" baseline="0" noProof="0" dirty="0">
                <a:ln>
                  <a:noFill/>
                </a:ln>
                <a:solidFill>
                  <a:prstClr val="black">
                    <a:lumMod val="65000"/>
                    <a:lumOff val="35000"/>
                  </a:prstClr>
                </a:solidFill>
                <a:effectLst/>
                <a:uLnTx/>
                <a:uFillTx/>
                <a:latin typeface="OPPOSans L" panose="00020600040101010101" pitchFamily="18" charset="-122"/>
                <a:ea typeface="OPPOSans L" panose="00020600040101010101" pitchFamily="18" charset="-122"/>
                <a:cs typeface="+mn-cs"/>
              </a:rPr>
              <a:t>PPT</a:t>
            </a:r>
            <a:r>
              <a:rPr kumimoji="0" lang="zh-CN" altLang="en-US" sz="1200" b="0" i="0" u="none" strike="noStrike" kern="1200" cap="none" spc="0" normalizeH="0" baseline="0" noProof="0" dirty="0">
                <a:ln>
                  <a:noFill/>
                </a:ln>
                <a:solidFill>
                  <a:prstClr val="black">
                    <a:lumMod val="65000"/>
                    <a:lumOff val="35000"/>
                  </a:prstClr>
                </a:solidFill>
                <a:effectLst/>
                <a:uLnTx/>
                <a:uFillTx/>
                <a:latin typeface="OPPOSans L" panose="00020600040101010101" pitchFamily="18" charset="-122"/>
                <a:ea typeface="OPPOSans L" panose="00020600040101010101" pitchFamily="18" charset="-122"/>
                <a:cs typeface="+mn-cs"/>
              </a:rPr>
              <a:t>爱好者，都能在秋叶</a:t>
            </a:r>
            <a:r>
              <a:rPr kumimoji="0" lang="en-US" altLang="zh-CN" sz="1200" b="0" i="0" u="none" strike="noStrike" kern="1200" cap="none" spc="0" normalizeH="0" baseline="0" noProof="0" dirty="0">
                <a:ln>
                  <a:noFill/>
                </a:ln>
                <a:solidFill>
                  <a:prstClr val="black">
                    <a:lumMod val="65000"/>
                    <a:lumOff val="35000"/>
                  </a:prstClr>
                </a:solidFill>
                <a:effectLst/>
                <a:uLnTx/>
                <a:uFillTx/>
                <a:latin typeface="OPPOSans L" panose="00020600040101010101" pitchFamily="18" charset="-122"/>
                <a:ea typeface="OPPOSans L" panose="00020600040101010101" pitchFamily="18" charset="-122"/>
                <a:cs typeface="+mn-cs"/>
              </a:rPr>
              <a:t>PPT</a:t>
            </a:r>
            <a:r>
              <a:rPr kumimoji="0" lang="zh-CN" altLang="en-US" sz="1200" b="0" i="0" u="none" strike="noStrike" kern="1200" cap="none" spc="0" normalizeH="0" baseline="0" noProof="0" dirty="0">
                <a:ln>
                  <a:noFill/>
                </a:ln>
                <a:solidFill>
                  <a:prstClr val="black">
                    <a:lumMod val="65000"/>
                    <a:lumOff val="35000"/>
                  </a:prstClr>
                </a:solidFill>
                <a:effectLst/>
                <a:uLnTx/>
                <a:uFillTx/>
                <a:latin typeface="OPPOSans L" panose="00020600040101010101" pitchFamily="18" charset="-122"/>
                <a:ea typeface="OPPOSans L" panose="00020600040101010101" pitchFamily="18" charset="-122"/>
                <a:cs typeface="+mn-cs"/>
              </a:rPr>
              <a:t>找到适合的模板。</a:t>
            </a:r>
          </a:p>
        </p:txBody>
      </p:sp>
      <p:sp>
        <p:nvSpPr>
          <p:cNvPr id="76" name="稿定PPT-6-4">
            <a:extLst>
              <a:ext uri="{FF2B5EF4-FFF2-40B4-BE49-F238E27FC236}">
                <a16:creationId xmlns:a16="http://schemas.microsoft.com/office/drawing/2014/main" id="{4787C3F4-2169-45A1-AFE3-1696DABA0A36}"/>
              </a:ext>
            </a:extLst>
          </p:cNvPr>
          <p:cNvSpPr txBox="1"/>
          <p:nvPr/>
        </p:nvSpPr>
        <p:spPr>
          <a:xfrm>
            <a:off x="3501118" y="5615046"/>
            <a:ext cx="957883" cy="184666"/>
          </a:xfrm>
          <a:prstGeom prst="rect">
            <a:avLst/>
          </a:prstGeom>
          <a:noFill/>
          <a:ln>
            <a:noFill/>
            <a:prstDash val="sysDot"/>
            <a:miter lim="800000"/>
          </a:ln>
        </p:spPr>
        <p:txBody>
          <a:bodyPr wrap="square" lIns="0" tIns="0" rIns="0" bIns="0" rtlCol="0" anchor="b">
            <a:spAutoFit/>
          </a:bodyPr>
          <a:lstStyle>
            <a:defPPr>
              <a:defRPr lang="zh-CN"/>
            </a:defPPr>
            <a:lvl1pPr>
              <a:defRPr kumimoji="0" b="1" i="0" u="none" strike="noStrike" cap="none" spc="0" normalizeH="0" baseline="0">
                <a:ln>
                  <a:noFill/>
                </a:ln>
                <a:effectLst/>
                <a:uLnTx/>
                <a:uFillTx/>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zh-CN" altLang="en-US" sz="1200" b="0" i="0" u="none" strike="noStrike" kern="1200" cap="none" spc="0" normalizeH="0" baseline="0" noProof="0" dirty="0">
                <a:ln>
                  <a:noFill/>
                </a:ln>
                <a:gradFill>
                  <a:gsLst>
                    <a:gs pos="0">
                      <a:srgbClr val="44312B"/>
                    </a:gs>
                    <a:gs pos="100000">
                      <a:srgbClr val="8F4B28"/>
                    </a:gs>
                  </a:gsLst>
                  <a:lin ang="5400000" scaled="1"/>
                </a:gradFill>
                <a:effectLst/>
                <a:uLnTx/>
                <a:uFillTx/>
                <a:latin typeface="OPPOSans M" panose="00020600040101010101" pitchFamily="18" charset="-122"/>
                <a:ea typeface="OPPOSans M" panose="00020600040101010101" pitchFamily="18" charset="-122"/>
                <a:cs typeface="+mn-cs"/>
              </a:rPr>
              <a:t>更快更轻松</a:t>
            </a:r>
          </a:p>
        </p:txBody>
      </p:sp>
      <p:sp>
        <p:nvSpPr>
          <p:cNvPr id="78" name="任意多边形: 形状 77">
            <a:extLst>
              <a:ext uri="{FF2B5EF4-FFF2-40B4-BE49-F238E27FC236}">
                <a16:creationId xmlns:a16="http://schemas.microsoft.com/office/drawing/2014/main" id="{64AAF7A6-35E4-4896-9090-E7F8FF8CAC74}"/>
              </a:ext>
            </a:extLst>
          </p:cNvPr>
          <p:cNvSpPr/>
          <p:nvPr/>
        </p:nvSpPr>
        <p:spPr>
          <a:xfrm rot="5400000">
            <a:off x="4674337" y="5676012"/>
            <a:ext cx="86510" cy="56318"/>
          </a:xfrm>
          <a:custGeom>
            <a:avLst/>
            <a:gdLst>
              <a:gd name="connsiteX0" fmla="*/ 0 w 541041"/>
              <a:gd name="connsiteY0" fmla="*/ 352216 h 352216"/>
              <a:gd name="connsiteX1" fmla="*/ 69719 w 541041"/>
              <a:gd name="connsiteY1" fmla="*/ 309979 h 352216"/>
              <a:gd name="connsiteX2" fmla="*/ 242350 w 541041"/>
              <a:gd name="connsiteY2" fmla="*/ 70918 h 352216"/>
              <a:gd name="connsiteX3" fmla="*/ 270901 w 541041"/>
              <a:gd name="connsiteY3" fmla="*/ 0 h 352216"/>
              <a:gd name="connsiteX4" fmla="*/ 314977 w 541041"/>
              <a:gd name="connsiteY4" fmla="*/ 104256 h 352216"/>
              <a:gd name="connsiteX5" fmla="*/ 471321 w 541041"/>
              <a:gd name="connsiteY5" fmla="*/ 309978 h 352216"/>
              <a:gd name="connsiteX6" fmla="*/ 541041 w 541041"/>
              <a:gd name="connsiteY6" fmla="*/ 352216 h 352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1041" h="352216">
                <a:moveTo>
                  <a:pt x="0" y="352216"/>
                </a:moveTo>
                <a:lnTo>
                  <a:pt x="69719" y="309979"/>
                </a:lnTo>
                <a:cubicBezTo>
                  <a:pt x="135921" y="255331"/>
                  <a:pt x="194716" y="173202"/>
                  <a:pt x="242350" y="70918"/>
                </a:cubicBezTo>
                <a:lnTo>
                  <a:pt x="270901" y="0"/>
                </a:lnTo>
                <a:lnTo>
                  <a:pt x="314977" y="104256"/>
                </a:lnTo>
                <a:cubicBezTo>
                  <a:pt x="359482" y="191113"/>
                  <a:pt x="412475" y="261403"/>
                  <a:pt x="471321" y="309978"/>
                </a:cubicBezTo>
                <a:lnTo>
                  <a:pt x="541041" y="352216"/>
                </a:lnTo>
                <a:close/>
              </a:path>
            </a:pathLst>
          </a:custGeom>
          <a:gradFill>
            <a:gsLst>
              <a:gs pos="0">
                <a:schemeClr val="accent2"/>
              </a:gs>
              <a:gs pos="100000">
                <a:schemeClr val="accent4"/>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white"/>
              </a:solidFill>
              <a:effectLst/>
              <a:uLnTx/>
              <a:uFillTx/>
              <a:latin typeface="OPPOSans L"/>
              <a:ea typeface="OPPOSans L" panose="00020600040101010101" pitchFamily="18" charset="-122"/>
              <a:cs typeface="+mn-cs"/>
            </a:endParaRPr>
          </a:p>
        </p:txBody>
      </p:sp>
      <p:sp>
        <p:nvSpPr>
          <p:cNvPr id="79" name="任意多边形: 形状 78">
            <a:extLst>
              <a:ext uri="{FF2B5EF4-FFF2-40B4-BE49-F238E27FC236}">
                <a16:creationId xmlns:a16="http://schemas.microsoft.com/office/drawing/2014/main" id="{6D934A27-D943-4988-A705-AAA0A3776CA8}"/>
              </a:ext>
            </a:extLst>
          </p:cNvPr>
          <p:cNvSpPr/>
          <p:nvPr/>
        </p:nvSpPr>
        <p:spPr>
          <a:xfrm rot="5400000">
            <a:off x="4587713" y="5676012"/>
            <a:ext cx="86511" cy="56319"/>
          </a:xfrm>
          <a:custGeom>
            <a:avLst/>
            <a:gdLst>
              <a:gd name="connsiteX0" fmla="*/ 0 w 541041"/>
              <a:gd name="connsiteY0" fmla="*/ 352216 h 352216"/>
              <a:gd name="connsiteX1" fmla="*/ 69719 w 541041"/>
              <a:gd name="connsiteY1" fmla="*/ 309979 h 352216"/>
              <a:gd name="connsiteX2" fmla="*/ 242350 w 541041"/>
              <a:gd name="connsiteY2" fmla="*/ 70918 h 352216"/>
              <a:gd name="connsiteX3" fmla="*/ 270901 w 541041"/>
              <a:gd name="connsiteY3" fmla="*/ 0 h 352216"/>
              <a:gd name="connsiteX4" fmla="*/ 314977 w 541041"/>
              <a:gd name="connsiteY4" fmla="*/ 104256 h 352216"/>
              <a:gd name="connsiteX5" fmla="*/ 471321 w 541041"/>
              <a:gd name="connsiteY5" fmla="*/ 309978 h 352216"/>
              <a:gd name="connsiteX6" fmla="*/ 541041 w 541041"/>
              <a:gd name="connsiteY6" fmla="*/ 352216 h 352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1041" h="352216">
                <a:moveTo>
                  <a:pt x="0" y="352216"/>
                </a:moveTo>
                <a:lnTo>
                  <a:pt x="69719" y="309979"/>
                </a:lnTo>
                <a:cubicBezTo>
                  <a:pt x="135921" y="255331"/>
                  <a:pt x="194716" y="173202"/>
                  <a:pt x="242350" y="70918"/>
                </a:cubicBezTo>
                <a:lnTo>
                  <a:pt x="270901" y="0"/>
                </a:lnTo>
                <a:lnTo>
                  <a:pt x="314977" y="104256"/>
                </a:lnTo>
                <a:cubicBezTo>
                  <a:pt x="359482" y="191113"/>
                  <a:pt x="412475" y="261403"/>
                  <a:pt x="471321" y="309978"/>
                </a:cubicBezTo>
                <a:lnTo>
                  <a:pt x="541041" y="352216"/>
                </a:lnTo>
                <a:close/>
              </a:path>
            </a:pathLst>
          </a:custGeom>
          <a:gradFill>
            <a:gsLst>
              <a:gs pos="0">
                <a:schemeClr val="accent2"/>
              </a:gs>
              <a:gs pos="100000">
                <a:schemeClr val="accent4"/>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white"/>
              </a:solidFill>
              <a:effectLst/>
              <a:uLnTx/>
              <a:uFillTx/>
              <a:latin typeface="OPPOSans L"/>
              <a:ea typeface="OPPOSans L" panose="00020600040101010101" pitchFamily="18" charset="-122"/>
              <a:cs typeface="+mn-cs"/>
            </a:endParaRPr>
          </a:p>
        </p:txBody>
      </p:sp>
      <p:sp>
        <p:nvSpPr>
          <p:cNvPr id="80" name="任意多边形: 形状 79">
            <a:extLst>
              <a:ext uri="{FF2B5EF4-FFF2-40B4-BE49-F238E27FC236}">
                <a16:creationId xmlns:a16="http://schemas.microsoft.com/office/drawing/2014/main" id="{F82AC18D-9C1F-4B5A-8CE2-686AF5CD7DF3}"/>
              </a:ext>
            </a:extLst>
          </p:cNvPr>
          <p:cNvSpPr/>
          <p:nvPr/>
        </p:nvSpPr>
        <p:spPr>
          <a:xfrm rot="5400000">
            <a:off x="4501087" y="5676012"/>
            <a:ext cx="86511" cy="56319"/>
          </a:xfrm>
          <a:custGeom>
            <a:avLst/>
            <a:gdLst>
              <a:gd name="connsiteX0" fmla="*/ 0 w 541041"/>
              <a:gd name="connsiteY0" fmla="*/ 352216 h 352216"/>
              <a:gd name="connsiteX1" fmla="*/ 69719 w 541041"/>
              <a:gd name="connsiteY1" fmla="*/ 309979 h 352216"/>
              <a:gd name="connsiteX2" fmla="*/ 242350 w 541041"/>
              <a:gd name="connsiteY2" fmla="*/ 70918 h 352216"/>
              <a:gd name="connsiteX3" fmla="*/ 270901 w 541041"/>
              <a:gd name="connsiteY3" fmla="*/ 0 h 352216"/>
              <a:gd name="connsiteX4" fmla="*/ 314977 w 541041"/>
              <a:gd name="connsiteY4" fmla="*/ 104256 h 352216"/>
              <a:gd name="connsiteX5" fmla="*/ 471321 w 541041"/>
              <a:gd name="connsiteY5" fmla="*/ 309978 h 352216"/>
              <a:gd name="connsiteX6" fmla="*/ 541041 w 541041"/>
              <a:gd name="connsiteY6" fmla="*/ 352216 h 352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1041" h="352216">
                <a:moveTo>
                  <a:pt x="0" y="352216"/>
                </a:moveTo>
                <a:lnTo>
                  <a:pt x="69719" y="309979"/>
                </a:lnTo>
                <a:cubicBezTo>
                  <a:pt x="135921" y="255331"/>
                  <a:pt x="194716" y="173202"/>
                  <a:pt x="242350" y="70918"/>
                </a:cubicBezTo>
                <a:lnTo>
                  <a:pt x="270901" y="0"/>
                </a:lnTo>
                <a:lnTo>
                  <a:pt x="314977" y="104256"/>
                </a:lnTo>
                <a:cubicBezTo>
                  <a:pt x="359482" y="191113"/>
                  <a:pt x="412475" y="261403"/>
                  <a:pt x="471321" y="309978"/>
                </a:cubicBezTo>
                <a:lnTo>
                  <a:pt x="541041" y="352216"/>
                </a:lnTo>
                <a:close/>
              </a:path>
            </a:pathLst>
          </a:custGeom>
          <a:gradFill>
            <a:gsLst>
              <a:gs pos="0">
                <a:schemeClr val="accent2"/>
              </a:gs>
              <a:gs pos="100000">
                <a:schemeClr val="accent4"/>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white"/>
              </a:solidFill>
              <a:effectLst/>
              <a:uLnTx/>
              <a:uFillTx/>
              <a:latin typeface="OPPOSans L"/>
              <a:ea typeface="OPPOSans L" panose="00020600040101010101" pitchFamily="18" charset="-122"/>
              <a:cs typeface="+mn-cs"/>
            </a:endParaRPr>
          </a:p>
        </p:txBody>
      </p:sp>
      <p:sp>
        <p:nvSpPr>
          <p:cNvPr id="100" name="平行四边形 99">
            <a:extLst>
              <a:ext uri="{FF2B5EF4-FFF2-40B4-BE49-F238E27FC236}">
                <a16:creationId xmlns:a16="http://schemas.microsoft.com/office/drawing/2014/main" id="{E2804B2C-7CB7-4C50-879E-1FF1768E683E}"/>
              </a:ext>
            </a:extLst>
          </p:cNvPr>
          <p:cNvSpPr/>
          <p:nvPr/>
        </p:nvSpPr>
        <p:spPr>
          <a:xfrm flipV="1">
            <a:off x="5292334" y="1417112"/>
            <a:ext cx="2590061" cy="4625068"/>
          </a:xfrm>
          <a:prstGeom prst="parallelogram">
            <a:avLst>
              <a:gd name="adj" fmla="val 18097"/>
            </a:avLst>
          </a:prstGeom>
          <a:solidFill>
            <a:schemeClr val="bg1">
              <a:alpha val="50000"/>
            </a:schemeClr>
          </a:solidFill>
          <a:ln w="12700">
            <a:gradFill>
              <a:gsLst>
                <a:gs pos="0">
                  <a:schemeClr val="accent2"/>
                </a:gs>
                <a:gs pos="50000">
                  <a:schemeClr val="bg1"/>
                </a:gs>
                <a:gs pos="100000">
                  <a:schemeClr val="accent2"/>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white"/>
              </a:solidFill>
              <a:effectLst/>
              <a:uLnTx/>
              <a:uFillTx/>
              <a:latin typeface="OPPOSans L"/>
              <a:ea typeface="OPPOSans L" panose="00020600040101010101" pitchFamily="18" charset="-122"/>
              <a:cs typeface="+mn-cs"/>
            </a:endParaRPr>
          </a:p>
        </p:txBody>
      </p:sp>
      <p:sp>
        <p:nvSpPr>
          <p:cNvPr id="124" name="稿定PPT-6-4">
            <a:extLst>
              <a:ext uri="{FF2B5EF4-FFF2-40B4-BE49-F238E27FC236}">
                <a16:creationId xmlns:a16="http://schemas.microsoft.com/office/drawing/2014/main" id="{05A4B36E-CD38-4518-ABE6-1898A0397A5C}"/>
              </a:ext>
            </a:extLst>
          </p:cNvPr>
          <p:cNvSpPr txBox="1"/>
          <p:nvPr/>
        </p:nvSpPr>
        <p:spPr>
          <a:xfrm>
            <a:off x="5602157" y="1672133"/>
            <a:ext cx="1242862" cy="246221"/>
          </a:xfrm>
          <a:prstGeom prst="rect">
            <a:avLst/>
          </a:prstGeom>
          <a:noFill/>
          <a:ln>
            <a:noFill/>
            <a:prstDash val="sysDot"/>
            <a:miter lim="800000"/>
          </a:ln>
        </p:spPr>
        <p:txBody>
          <a:bodyPr wrap="square" lIns="0" tIns="0" rIns="0" bIns="0" rtlCol="0" anchor="b">
            <a:spAutoFit/>
          </a:bodyPr>
          <a:lstStyle>
            <a:defPPr>
              <a:defRPr lang="zh-CN"/>
            </a:defPPr>
            <a:lvl1pPr>
              <a:defRPr kumimoji="0" b="1" i="0" u="none" strike="noStrike" cap="none" spc="0" normalizeH="0" baseline="0">
                <a:ln>
                  <a:noFill/>
                </a:ln>
                <a:effectLst/>
                <a:uLnTx/>
                <a:uFillTx/>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600" b="0" i="0" u="none" strike="noStrike" kern="1200" cap="none" spc="0" normalizeH="0" baseline="0" noProof="0" dirty="0">
                <a:ln>
                  <a:noFill/>
                </a:ln>
                <a:gradFill>
                  <a:gsLst>
                    <a:gs pos="0">
                      <a:srgbClr val="44312B"/>
                    </a:gs>
                    <a:gs pos="100000">
                      <a:srgbClr val="8F4B28"/>
                    </a:gs>
                  </a:gsLst>
                  <a:lin ang="5400000" scaled="1"/>
                </a:gradFill>
                <a:effectLst/>
                <a:uLnTx/>
                <a:uFillTx/>
                <a:latin typeface="OPPOSans M" panose="00020600040101010101" pitchFamily="18" charset="-122"/>
                <a:ea typeface="OPPOSans M" panose="00020600040101010101" pitchFamily="18" charset="-122"/>
                <a:cs typeface="+mn-cs"/>
              </a:rPr>
              <a:t>秋叶</a:t>
            </a:r>
            <a:r>
              <a:rPr kumimoji="0" lang="en-US" altLang="zh-CN" sz="1600" b="0" i="0" u="none" strike="noStrike" kern="1200" cap="none" spc="0" normalizeH="0" baseline="0" noProof="0" dirty="0">
                <a:ln>
                  <a:noFill/>
                </a:ln>
                <a:gradFill>
                  <a:gsLst>
                    <a:gs pos="0">
                      <a:srgbClr val="44312B"/>
                    </a:gs>
                    <a:gs pos="100000">
                      <a:srgbClr val="8F4B28"/>
                    </a:gs>
                  </a:gsLst>
                  <a:lin ang="5400000" scaled="1"/>
                </a:gradFill>
                <a:effectLst/>
                <a:uLnTx/>
                <a:uFillTx/>
                <a:latin typeface="OPPOSans M" panose="00020600040101010101" pitchFamily="18" charset="-122"/>
                <a:ea typeface="OPPOSans M" panose="00020600040101010101" pitchFamily="18" charset="-122"/>
                <a:cs typeface="+mn-cs"/>
              </a:rPr>
              <a:t>PPT</a:t>
            </a:r>
            <a:endParaRPr kumimoji="0" lang="zh-CN" altLang="en-US" sz="1600" b="0" i="0" u="none" strike="noStrike" kern="1200" cap="none" spc="0" normalizeH="0" baseline="0" noProof="0" dirty="0">
              <a:ln>
                <a:noFill/>
              </a:ln>
              <a:gradFill>
                <a:gsLst>
                  <a:gs pos="0">
                    <a:srgbClr val="44312B"/>
                  </a:gs>
                  <a:gs pos="100000">
                    <a:srgbClr val="8F4B28"/>
                  </a:gs>
                </a:gsLst>
                <a:lin ang="5400000" scaled="1"/>
              </a:gradFill>
              <a:effectLst/>
              <a:uLnTx/>
              <a:uFillTx/>
              <a:latin typeface="OPPOSans M" panose="00020600040101010101" pitchFamily="18" charset="-122"/>
              <a:ea typeface="OPPOSans M" panose="00020600040101010101" pitchFamily="18" charset="-122"/>
              <a:cs typeface="+mn-cs"/>
            </a:endParaRPr>
          </a:p>
        </p:txBody>
      </p:sp>
      <p:sp>
        <p:nvSpPr>
          <p:cNvPr id="126" name="任意多边形: 形状 125">
            <a:extLst>
              <a:ext uri="{FF2B5EF4-FFF2-40B4-BE49-F238E27FC236}">
                <a16:creationId xmlns:a16="http://schemas.microsoft.com/office/drawing/2014/main" id="{78CA87D0-0CA6-4ABA-93D1-70BC79733F1A}"/>
              </a:ext>
            </a:extLst>
          </p:cNvPr>
          <p:cNvSpPr/>
          <p:nvPr/>
        </p:nvSpPr>
        <p:spPr>
          <a:xfrm rot="5400000">
            <a:off x="6728158" y="1741682"/>
            <a:ext cx="135833" cy="88429"/>
          </a:xfrm>
          <a:custGeom>
            <a:avLst/>
            <a:gdLst>
              <a:gd name="connsiteX0" fmla="*/ 0 w 541041"/>
              <a:gd name="connsiteY0" fmla="*/ 352216 h 352216"/>
              <a:gd name="connsiteX1" fmla="*/ 69719 w 541041"/>
              <a:gd name="connsiteY1" fmla="*/ 309979 h 352216"/>
              <a:gd name="connsiteX2" fmla="*/ 242350 w 541041"/>
              <a:gd name="connsiteY2" fmla="*/ 70918 h 352216"/>
              <a:gd name="connsiteX3" fmla="*/ 270901 w 541041"/>
              <a:gd name="connsiteY3" fmla="*/ 0 h 352216"/>
              <a:gd name="connsiteX4" fmla="*/ 314977 w 541041"/>
              <a:gd name="connsiteY4" fmla="*/ 104256 h 352216"/>
              <a:gd name="connsiteX5" fmla="*/ 471321 w 541041"/>
              <a:gd name="connsiteY5" fmla="*/ 309978 h 352216"/>
              <a:gd name="connsiteX6" fmla="*/ 541041 w 541041"/>
              <a:gd name="connsiteY6" fmla="*/ 352216 h 352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1041" h="352216">
                <a:moveTo>
                  <a:pt x="0" y="352216"/>
                </a:moveTo>
                <a:lnTo>
                  <a:pt x="69719" y="309979"/>
                </a:lnTo>
                <a:cubicBezTo>
                  <a:pt x="135921" y="255331"/>
                  <a:pt x="194716" y="173202"/>
                  <a:pt x="242350" y="70918"/>
                </a:cubicBezTo>
                <a:lnTo>
                  <a:pt x="270901" y="0"/>
                </a:lnTo>
                <a:lnTo>
                  <a:pt x="314977" y="104256"/>
                </a:lnTo>
                <a:cubicBezTo>
                  <a:pt x="359482" y="191113"/>
                  <a:pt x="412475" y="261403"/>
                  <a:pt x="471321" y="309978"/>
                </a:cubicBezTo>
                <a:lnTo>
                  <a:pt x="541041" y="352216"/>
                </a:lnTo>
                <a:close/>
              </a:path>
            </a:pathLst>
          </a:custGeom>
          <a:gradFill>
            <a:gsLst>
              <a:gs pos="0">
                <a:schemeClr val="accent2"/>
              </a:gs>
              <a:gs pos="100000">
                <a:schemeClr val="accent4"/>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white"/>
              </a:solidFill>
              <a:effectLst/>
              <a:uLnTx/>
              <a:uFillTx/>
              <a:latin typeface="OPPOSans L"/>
              <a:ea typeface="OPPOSans L" panose="00020600040101010101" pitchFamily="18" charset="-122"/>
              <a:cs typeface="+mn-cs"/>
            </a:endParaRPr>
          </a:p>
        </p:txBody>
      </p:sp>
      <p:sp>
        <p:nvSpPr>
          <p:cNvPr id="127" name="任意多边形: 形状 126">
            <a:extLst>
              <a:ext uri="{FF2B5EF4-FFF2-40B4-BE49-F238E27FC236}">
                <a16:creationId xmlns:a16="http://schemas.microsoft.com/office/drawing/2014/main" id="{CE6CB108-7495-45E3-A82D-BD02D05C4481}"/>
              </a:ext>
            </a:extLst>
          </p:cNvPr>
          <p:cNvSpPr/>
          <p:nvPr/>
        </p:nvSpPr>
        <p:spPr>
          <a:xfrm rot="5400000">
            <a:off x="6592144" y="1741685"/>
            <a:ext cx="135834" cy="88430"/>
          </a:xfrm>
          <a:custGeom>
            <a:avLst/>
            <a:gdLst>
              <a:gd name="connsiteX0" fmla="*/ 0 w 541041"/>
              <a:gd name="connsiteY0" fmla="*/ 352216 h 352216"/>
              <a:gd name="connsiteX1" fmla="*/ 69719 w 541041"/>
              <a:gd name="connsiteY1" fmla="*/ 309979 h 352216"/>
              <a:gd name="connsiteX2" fmla="*/ 242350 w 541041"/>
              <a:gd name="connsiteY2" fmla="*/ 70918 h 352216"/>
              <a:gd name="connsiteX3" fmla="*/ 270901 w 541041"/>
              <a:gd name="connsiteY3" fmla="*/ 0 h 352216"/>
              <a:gd name="connsiteX4" fmla="*/ 314977 w 541041"/>
              <a:gd name="connsiteY4" fmla="*/ 104256 h 352216"/>
              <a:gd name="connsiteX5" fmla="*/ 471321 w 541041"/>
              <a:gd name="connsiteY5" fmla="*/ 309978 h 352216"/>
              <a:gd name="connsiteX6" fmla="*/ 541041 w 541041"/>
              <a:gd name="connsiteY6" fmla="*/ 352216 h 352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1041" h="352216">
                <a:moveTo>
                  <a:pt x="0" y="352216"/>
                </a:moveTo>
                <a:lnTo>
                  <a:pt x="69719" y="309979"/>
                </a:lnTo>
                <a:cubicBezTo>
                  <a:pt x="135921" y="255331"/>
                  <a:pt x="194716" y="173202"/>
                  <a:pt x="242350" y="70918"/>
                </a:cubicBezTo>
                <a:lnTo>
                  <a:pt x="270901" y="0"/>
                </a:lnTo>
                <a:lnTo>
                  <a:pt x="314977" y="104256"/>
                </a:lnTo>
                <a:cubicBezTo>
                  <a:pt x="359482" y="191113"/>
                  <a:pt x="412475" y="261403"/>
                  <a:pt x="471321" y="309978"/>
                </a:cubicBezTo>
                <a:lnTo>
                  <a:pt x="541041" y="352216"/>
                </a:lnTo>
                <a:close/>
              </a:path>
            </a:pathLst>
          </a:custGeom>
          <a:gradFill>
            <a:gsLst>
              <a:gs pos="0">
                <a:schemeClr val="accent2"/>
              </a:gs>
              <a:gs pos="100000">
                <a:schemeClr val="accent4"/>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white"/>
              </a:solidFill>
              <a:effectLst/>
              <a:uLnTx/>
              <a:uFillTx/>
              <a:latin typeface="OPPOSans L"/>
              <a:ea typeface="OPPOSans L" panose="00020600040101010101" pitchFamily="18" charset="-122"/>
              <a:cs typeface="+mn-cs"/>
            </a:endParaRPr>
          </a:p>
        </p:txBody>
      </p:sp>
      <p:sp>
        <p:nvSpPr>
          <p:cNvPr id="128" name="任意多边形: 形状 127">
            <a:extLst>
              <a:ext uri="{FF2B5EF4-FFF2-40B4-BE49-F238E27FC236}">
                <a16:creationId xmlns:a16="http://schemas.microsoft.com/office/drawing/2014/main" id="{23CD1EEB-A49B-4E20-8B21-25DF6416A276}"/>
              </a:ext>
            </a:extLst>
          </p:cNvPr>
          <p:cNvSpPr/>
          <p:nvPr/>
        </p:nvSpPr>
        <p:spPr>
          <a:xfrm rot="5400000">
            <a:off x="6456126" y="1741685"/>
            <a:ext cx="135834" cy="88430"/>
          </a:xfrm>
          <a:custGeom>
            <a:avLst/>
            <a:gdLst>
              <a:gd name="connsiteX0" fmla="*/ 0 w 541041"/>
              <a:gd name="connsiteY0" fmla="*/ 352216 h 352216"/>
              <a:gd name="connsiteX1" fmla="*/ 69719 w 541041"/>
              <a:gd name="connsiteY1" fmla="*/ 309979 h 352216"/>
              <a:gd name="connsiteX2" fmla="*/ 242350 w 541041"/>
              <a:gd name="connsiteY2" fmla="*/ 70918 h 352216"/>
              <a:gd name="connsiteX3" fmla="*/ 270901 w 541041"/>
              <a:gd name="connsiteY3" fmla="*/ 0 h 352216"/>
              <a:gd name="connsiteX4" fmla="*/ 314977 w 541041"/>
              <a:gd name="connsiteY4" fmla="*/ 104256 h 352216"/>
              <a:gd name="connsiteX5" fmla="*/ 471321 w 541041"/>
              <a:gd name="connsiteY5" fmla="*/ 309978 h 352216"/>
              <a:gd name="connsiteX6" fmla="*/ 541041 w 541041"/>
              <a:gd name="connsiteY6" fmla="*/ 352216 h 352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1041" h="352216">
                <a:moveTo>
                  <a:pt x="0" y="352216"/>
                </a:moveTo>
                <a:lnTo>
                  <a:pt x="69719" y="309979"/>
                </a:lnTo>
                <a:cubicBezTo>
                  <a:pt x="135921" y="255331"/>
                  <a:pt x="194716" y="173202"/>
                  <a:pt x="242350" y="70918"/>
                </a:cubicBezTo>
                <a:lnTo>
                  <a:pt x="270901" y="0"/>
                </a:lnTo>
                <a:lnTo>
                  <a:pt x="314977" y="104256"/>
                </a:lnTo>
                <a:cubicBezTo>
                  <a:pt x="359482" y="191113"/>
                  <a:pt x="412475" y="261403"/>
                  <a:pt x="471321" y="309978"/>
                </a:cubicBezTo>
                <a:lnTo>
                  <a:pt x="541041" y="352216"/>
                </a:lnTo>
                <a:close/>
              </a:path>
            </a:pathLst>
          </a:custGeom>
          <a:gradFill>
            <a:gsLst>
              <a:gs pos="0">
                <a:schemeClr val="accent2"/>
              </a:gs>
              <a:gs pos="100000">
                <a:schemeClr val="accent4"/>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white"/>
              </a:solidFill>
              <a:effectLst/>
              <a:uLnTx/>
              <a:uFillTx/>
              <a:latin typeface="OPPOSans L"/>
              <a:ea typeface="OPPOSans L" panose="00020600040101010101" pitchFamily="18" charset="-122"/>
              <a:cs typeface="+mn-cs"/>
            </a:endParaRPr>
          </a:p>
        </p:txBody>
      </p:sp>
      <p:sp>
        <p:nvSpPr>
          <p:cNvPr id="117" name="稿定PPT-11-2">
            <a:extLst>
              <a:ext uri="{FF2B5EF4-FFF2-40B4-BE49-F238E27FC236}">
                <a16:creationId xmlns:a16="http://schemas.microsoft.com/office/drawing/2014/main" id="{1D1443A1-F941-4F9C-BE94-66D0792B12FF}"/>
              </a:ext>
            </a:extLst>
          </p:cNvPr>
          <p:cNvSpPr txBox="1"/>
          <p:nvPr/>
        </p:nvSpPr>
        <p:spPr>
          <a:xfrm>
            <a:off x="5614237" y="2158747"/>
            <a:ext cx="1797006" cy="806439"/>
          </a:xfrm>
          <a:prstGeom prst="rect">
            <a:avLst/>
          </a:prstGeom>
          <a:noFill/>
          <a:ln>
            <a:noFill/>
          </a:ln>
        </p:spPr>
        <p:txBody>
          <a:bodyPr wrap="square" lIns="0" tIns="0" rIns="0" bIns="0" anchor="t" anchorCtr="0">
            <a:spAutoFit/>
          </a:bodyPr>
          <a:lstStyle>
            <a:defPPr>
              <a:defRPr lang="zh-CN"/>
            </a:defPPr>
            <a:lvl1pPr marR="0" lvl="0" indent="0" algn="just" defTabSz="913765" fontAlgn="auto">
              <a:lnSpc>
                <a:spcPct val="150000"/>
              </a:lnSpc>
              <a:spcBef>
                <a:spcPts val="0"/>
              </a:spcBef>
              <a:spcAft>
                <a:spcPts val="0"/>
              </a:spcAft>
              <a:buClrTx/>
              <a:buSzPct val="25000"/>
              <a:buFontTx/>
              <a:buNone/>
              <a:tabLst/>
              <a:defRPr kumimoji="0" sz="1400" b="0" i="0" u="none" strike="noStrike" cap="none" spc="0" normalizeH="0" baseline="0">
                <a:ln>
                  <a:noFill/>
                </a:ln>
                <a:solidFill>
                  <a:schemeClr val="tx1">
                    <a:lumMod val="65000"/>
                    <a:lumOff val="35000"/>
                  </a:schemeClr>
                </a:solidFill>
                <a:effectLst/>
                <a:uLnTx/>
                <a:uFillTx/>
                <a:latin typeface="+mn-ea"/>
              </a:defRPr>
            </a:lvl1pPr>
          </a:lstStyle>
          <a:p>
            <a:pPr marL="0" marR="0" lvl="0" indent="0" algn="just" defTabSz="913765" rtl="0" eaLnBrk="1" fontAlgn="auto" latinLnBrk="0" hangingPunct="1">
              <a:lnSpc>
                <a:spcPct val="150000"/>
              </a:lnSpc>
              <a:spcBef>
                <a:spcPts val="0"/>
              </a:spcBef>
              <a:spcAft>
                <a:spcPts val="0"/>
              </a:spcAft>
              <a:buClrTx/>
              <a:buSzPct val="25000"/>
              <a:buFontTx/>
              <a:buNone/>
              <a:tabLst/>
              <a:defRPr/>
            </a:pPr>
            <a:r>
              <a:rPr kumimoji="0" lang="zh-CN" altLang="en-US" sz="1200" b="0" i="0" u="none" strike="noStrike" kern="1200" cap="none" spc="0" normalizeH="0" baseline="0" noProof="0" dirty="0">
                <a:ln>
                  <a:noFill/>
                </a:ln>
                <a:solidFill>
                  <a:prstClr val="black">
                    <a:lumMod val="65000"/>
                    <a:lumOff val="35000"/>
                  </a:prstClr>
                </a:solidFill>
                <a:effectLst/>
                <a:uLnTx/>
                <a:uFillTx/>
                <a:latin typeface="OPPOSans L" panose="00020600040101010101" pitchFamily="18" charset="-122"/>
                <a:ea typeface="OPPOSans L" panose="00020600040101010101" pitchFamily="18" charset="-122"/>
                <a:cs typeface="+mn-cs"/>
              </a:rPr>
              <a:t>不论你是销售、策划、学生、</a:t>
            </a:r>
            <a:r>
              <a:rPr kumimoji="0" lang="en-US" altLang="zh-CN" sz="1200" b="0" i="0" u="none" strike="noStrike" kern="1200" cap="none" spc="0" normalizeH="0" baseline="0" noProof="0" dirty="0">
                <a:ln>
                  <a:noFill/>
                </a:ln>
                <a:solidFill>
                  <a:prstClr val="black">
                    <a:lumMod val="65000"/>
                    <a:lumOff val="35000"/>
                  </a:prstClr>
                </a:solidFill>
                <a:effectLst/>
                <a:uLnTx/>
                <a:uFillTx/>
                <a:latin typeface="OPPOSans L" panose="00020600040101010101" pitchFamily="18" charset="-122"/>
                <a:ea typeface="OPPOSans L" panose="00020600040101010101" pitchFamily="18" charset="-122"/>
                <a:cs typeface="+mn-cs"/>
              </a:rPr>
              <a:t>PPT</a:t>
            </a:r>
            <a:r>
              <a:rPr kumimoji="0" lang="zh-CN" altLang="en-US" sz="1200" b="0" i="0" u="none" strike="noStrike" kern="1200" cap="none" spc="0" normalizeH="0" baseline="0" noProof="0" dirty="0">
                <a:ln>
                  <a:noFill/>
                </a:ln>
                <a:solidFill>
                  <a:prstClr val="black">
                    <a:lumMod val="65000"/>
                    <a:lumOff val="35000"/>
                  </a:prstClr>
                </a:solidFill>
                <a:effectLst/>
                <a:uLnTx/>
                <a:uFillTx/>
                <a:latin typeface="OPPOSans L" panose="00020600040101010101" pitchFamily="18" charset="-122"/>
                <a:ea typeface="OPPOSans L" panose="00020600040101010101" pitchFamily="18" charset="-122"/>
                <a:cs typeface="+mn-cs"/>
              </a:rPr>
              <a:t>爱好者，都能在秋叶</a:t>
            </a:r>
            <a:r>
              <a:rPr kumimoji="0" lang="en-US" altLang="zh-CN" sz="1200" b="0" i="0" u="none" strike="noStrike" kern="1200" cap="none" spc="0" normalizeH="0" baseline="0" noProof="0" dirty="0">
                <a:ln>
                  <a:noFill/>
                </a:ln>
                <a:solidFill>
                  <a:prstClr val="black">
                    <a:lumMod val="65000"/>
                    <a:lumOff val="35000"/>
                  </a:prstClr>
                </a:solidFill>
                <a:effectLst/>
                <a:uLnTx/>
                <a:uFillTx/>
                <a:latin typeface="OPPOSans L" panose="00020600040101010101" pitchFamily="18" charset="-122"/>
                <a:ea typeface="OPPOSans L" panose="00020600040101010101" pitchFamily="18" charset="-122"/>
                <a:cs typeface="+mn-cs"/>
              </a:rPr>
              <a:t>PPT</a:t>
            </a:r>
            <a:r>
              <a:rPr kumimoji="0" lang="zh-CN" altLang="en-US" sz="1200" b="0" i="0" u="none" strike="noStrike" kern="1200" cap="none" spc="0" normalizeH="0" baseline="0" noProof="0" dirty="0">
                <a:ln>
                  <a:noFill/>
                </a:ln>
                <a:solidFill>
                  <a:prstClr val="black">
                    <a:lumMod val="65000"/>
                    <a:lumOff val="35000"/>
                  </a:prstClr>
                </a:solidFill>
                <a:effectLst/>
                <a:uLnTx/>
                <a:uFillTx/>
                <a:latin typeface="OPPOSans L" panose="00020600040101010101" pitchFamily="18" charset="-122"/>
                <a:ea typeface="OPPOSans L" panose="00020600040101010101" pitchFamily="18" charset="-122"/>
                <a:cs typeface="+mn-cs"/>
              </a:rPr>
              <a:t>找到适合的模板。</a:t>
            </a:r>
          </a:p>
        </p:txBody>
      </p:sp>
      <p:sp>
        <p:nvSpPr>
          <p:cNvPr id="119" name="稿定PPT-6-4">
            <a:extLst>
              <a:ext uri="{FF2B5EF4-FFF2-40B4-BE49-F238E27FC236}">
                <a16:creationId xmlns:a16="http://schemas.microsoft.com/office/drawing/2014/main" id="{BF5B7C2B-9BC8-4B36-B3CB-A527E99C8D8A}"/>
              </a:ext>
            </a:extLst>
          </p:cNvPr>
          <p:cNvSpPr txBox="1"/>
          <p:nvPr/>
        </p:nvSpPr>
        <p:spPr>
          <a:xfrm flipH="1">
            <a:off x="6625542" y="3308649"/>
            <a:ext cx="957883" cy="184666"/>
          </a:xfrm>
          <a:prstGeom prst="rect">
            <a:avLst/>
          </a:prstGeom>
          <a:noFill/>
          <a:ln>
            <a:noFill/>
            <a:prstDash val="sysDot"/>
            <a:miter lim="800000"/>
          </a:ln>
        </p:spPr>
        <p:txBody>
          <a:bodyPr wrap="square" lIns="0" tIns="0" rIns="0" bIns="0" rtlCol="0" anchor="b">
            <a:spAutoFit/>
          </a:bodyPr>
          <a:lstStyle>
            <a:defPPr>
              <a:defRPr lang="zh-CN"/>
            </a:defPPr>
            <a:lvl1pPr>
              <a:defRPr kumimoji="0" b="1" i="0" u="none" strike="noStrike" cap="none" spc="0" normalizeH="0" baseline="0">
                <a:ln>
                  <a:noFill/>
                </a:ln>
                <a:effectLst/>
                <a:uLnTx/>
                <a:uFillTx/>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200" b="0" i="0" u="none" strike="noStrike" kern="1200" cap="none" spc="0" normalizeH="0" baseline="0" noProof="0" dirty="0">
                <a:ln>
                  <a:noFill/>
                </a:ln>
                <a:gradFill>
                  <a:gsLst>
                    <a:gs pos="0">
                      <a:srgbClr val="44312B"/>
                    </a:gs>
                    <a:gs pos="100000">
                      <a:srgbClr val="8F4B28"/>
                    </a:gs>
                  </a:gsLst>
                  <a:lin ang="5400000" scaled="1"/>
                </a:gradFill>
                <a:effectLst/>
                <a:uLnTx/>
                <a:uFillTx/>
                <a:latin typeface="OPPOSans M" panose="00020600040101010101" pitchFamily="18" charset="-122"/>
                <a:ea typeface="OPPOSans M" panose="00020600040101010101" pitchFamily="18" charset="-122"/>
                <a:cs typeface="+mn-cs"/>
              </a:rPr>
              <a:t>更快更轻松</a:t>
            </a:r>
          </a:p>
        </p:txBody>
      </p:sp>
      <p:sp>
        <p:nvSpPr>
          <p:cNvPr id="121" name="任意多边形: 形状 120">
            <a:extLst>
              <a:ext uri="{FF2B5EF4-FFF2-40B4-BE49-F238E27FC236}">
                <a16:creationId xmlns:a16="http://schemas.microsoft.com/office/drawing/2014/main" id="{FF6608D9-1A95-45FF-8EED-CCD4635C2FFC}"/>
              </a:ext>
            </a:extLst>
          </p:cNvPr>
          <p:cNvSpPr/>
          <p:nvPr/>
        </p:nvSpPr>
        <p:spPr>
          <a:xfrm rot="16200000" flipH="1">
            <a:off x="6299148" y="3363478"/>
            <a:ext cx="86510" cy="56318"/>
          </a:xfrm>
          <a:custGeom>
            <a:avLst/>
            <a:gdLst>
              <a:gd name="connsiteX0" fmla="*/ 0 w 541041"/>
              <a:gd name="connsiteY0" fmla="*/ 352216 h 352216"/>
              <a:gd name="connsiteX1" fmla="*/ 69719 w 541041"/>
              <a:gd name="connsiteY1" fmla="*/ 309979 h 352216"/>
              <a:gd name="connsiteX2" fmla="*/ 242350 w 541041"/>
              <a:gd name="connsiteY2" fmla="*/ 70918 h 352216"/>
              <a:gd name="connsiteX3" fmla="*/ 270901 w 541041"/>
              <a:gd name="connsiteY3" fmla="*/ 0 h 352216"/>
              <a:gd name="connsiteX4" fmla="*/ 314977 w 541041"/>
              <a:gd name="connsiteY4" fmla="*/ 104256 h 352216"/>
              <a:gd name="connsiteX5" fmla="*/ 471321 w 541041"/>
              <a:gd name="connsiteY5" fmla="*/ 309978 h 352216"/>
              <a:gd name="connsiteX6" fmla="*/ 541041 w 541041"/>
              <a:gd name="connsiteY6" fmla="*/ 352216 h 352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1041" h="352216">
                <a:moveTo>
                  <a:pt x="0" y="352216"/>
                </a:moveTo>
                <a:lnTo>
                  <a:pt x="69719" y="309979"/>
                </a:lnTo>
                <a:cubicBezTo>
                  <a:pt x="135921" y="255331"/>
                  <a:pt x="194716" y="173202"/>
                  <a:pt x="242350" y="70918"/>
                </a:cubicBezTo>
                <a:lnTo>
                  <a:pt x="270901" y="0"/>
                </a:lnTo>
                <a:lnTo>
                  <a:pt x="314977" y="104256"/>
                </a:lnTo>
                <a:cubicBezTo>
                  <a:pt x="359482" y="191113"/>
                  <a:pt x="412475" y="261403"/>
                  <a:pt x="471321" y="309978"/>
                </a:cubicBezTo>
                <a:lnTo>
                  <a:pt x="541041" y="352216"/>
                </a:lnTo>
                <a:close/>
              </a:path>
            </a:pathLst>
          </a:custGeom>
          <a:gradFill>
            <a:gsLst>
              <a:gs pos="0">
                <a:schemeClr val="accent2"/>
              </a:gs>
              <a:gs pos="100000">
                <a:schemeClr val="accent4"/>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white"/>
              </a:solidFill>
              <a:effectLst/>
              <a:uLnTx/>
              <a:uFillTx/>
              <a:latin typeface="OPPOSans L"/>
              <a:ea typeface="OPPOSans L" panose="00020600040101010101" pitchFamily="18" charset="-122"/>
              <a:cs typeface="+mn-cs"/>
            </a:endParaRPr>
          </a:p>
        </p:txBody>
      </p:sp>
      <p:sp>
        <p:nvSpPr>
          <p:cNvPr id="122" name="任意多边形: 形状 121">
            <a:extLst>
              <a:ext uri="{FF2B5EF4-FFF2-40B4-BE49-F238E27FC236}">
                <a16:creationId xmlns:a16="http://schemas.microsoft.com/office/drawing/2014/main" id="{DDDBE15F-3894-49FB-9E78-A50F7E5F778F}"/>
              </a:ext>
            </a:extLst>
          </p:cNvPr>
          <p:cNvSpPr/>
          <p:nvPr/>
        </p:nvSpPr>
        <p:spPr>
          <a:xfrm rot="16200000" flipH="1">
            <a:off x="6385771" y="3363478"/>
            <a:ext cx="86511" cy="56319"/>
          </a:xfrm>
          <a:custGeom>
            <a:avLst/>
            <a:gdLst>
              <a:gd name="connsiteX0" fmla="*/ 0 w 541041"/>
              <a:gd name="connsiteY0" fmla="*/ 352216 h 352216"/>
              <a:gd name="connsiteX1" fmla="*/ 69719 w 541041"/>
              <a:gd name="connsiteY1" fmla="*/ 309979 h 352216"/>
              <a:gd name="connsiteX2" fmla="*/ 242350 w 541041"/>
              <a:gd name="connsiteY2" fmla="*/ 70918 h 352216"/>
              <a:gd name="connsiteX3" fmla="*/ 270901 w 541041"/>
              <a:gd name="connsiteY3" fmla="*/ 0 h 352216"/>
              <a:gd name="connsiteX4" fmla="*/ 314977 w 541041"/>
              <a:gd name="connsiteY4" fmla="*/ 104256 h 352216"/>
              <a:gd name="connsiteX5" fmla="*/ 471321 w 541041"/>
              <a:gd name="connsiteY5" fmla="*/ 309978 h 352216"/>
              <a:gd name="connsiteX6" fmla="*/ 541041 w 541041"/>
              <a:gd name="connsiteY6" fmla="*/ 352216 h 352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1041" h="352216">
                <a:moveTo>
                  <a:pt x="0" y="352216"/>
                </a:moveTo>
                <a:lnTo>
                  <a:pt x="69719" y="309979"/>
                </a:lnTo>
                <a:cubicBezTo>
                  <a:pt x="135921" y="255331"/>
                  <a:pt x="194716" y="173202"/>
                  <a:pt x="242350" y="70918"/>
                </a:cubicBezTo>
                <a:lnTo>
                  <a:pt x="270901" y="0"/>
                </a:lnTo>
                <a:lnTo>
                  <a:pt x="314977" y="104256"/>
                </a:lnTo>
                <a:cubicBezTo>
                  <a:pt x="359482" y="191113"/>
                  <a:pt x="412475" y="261403"/>
                  <a:pt x="471321" y="309978"/>
                </a:cubicBezTo>
                <a:lnTo>
                  <a:pt x="541041" y="352216"/>
                </a:lnTo>
                <a:close/>
              </a:path>
            </a:pathLst>
          </a:custGeom>
          <a:gradFill>
            <a:gsLst>
              <a:gs pos="0">
                <a:schemeClr val="accent2"/>
              </a:gs>
              <a:gs pos="100000">
                <a:schemeClr val="accent4"/>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white"/>
              </a:solidFill>
              <a:effectLst/>
              <a:uLnTx/>
              <a:uFillTx/>
              <a:latin typeface="OPPOSans L"/>
              <a:ea typeface="OPPOSans L" panose="00020600040101010101" pitchFamily="18" charset="-122"/>
              <a:cs typeface="+mn-cs"/>
            </a:endParaRPr>
          </a:p>
        </p:txBody>
      </p:sp>
      <p:sp>
        <p:nvSpPr>
          <p:cNvPr id="123" name="任意多边形: 形状 122">
            <a:extLst>
              <a:ext uri="{FF2B5EF4-FFF2-40B4-BE49-F238E27FC236}">
                <a16:creationId xmlns:a16="http://schemas.microsoft.com/office/drawing/2014/main" id="{7445C9A6-2B73-48FE-9FEE-453ACCBCE0DE}"/>
              </a:ext>
            </a:extLst>
          </p:cNvPr>
          <p:cNvSpPr/>
          <p:nvPr/>
        </p:nvSpPr>
        <p:spPr>
          <a:xfrm rot="16200000" flipH="1">
            <a:off x="6472397" y="3363478"/>
            <a:ext cx="86511" cy="56319"/>
          </a:xfrm>
          <a:custGeom>
            <a:avLst/>
            <a:gdLst>
              <a:gd name="connsiteX0" fmla="*/ 0 w 541041"/>
              <a:gd name="connsiteY0" fmla="*/ 352216 h 352216"/>
              <a:gd name="connsiteX1" fmla="*/ 69719 w 541041"/>
              <a:gd name="connsiteY1" fmla="*/ 309979 h 352216"/>
              <a:gd name="connsiteX2" fmla="*/ 242350 w 541041"/>
              <a:gd name="connsiteY2" fmla="*/ 70918 h 352216"/>
              <a:gd name="connsiteX3" fmla="*/ 270901 w 541041"/>
              <a:gd name="connsiteY3" fmla="*/ 0 h 352216"/>
              <a:gd name="connsiteX4" fmla="*/ 314977 w 541041"/>
              <a:gd name="connsiteY4" fmla="*/ 104256 h 352216"/>
              <a:gd name="connsiteX5" fmla="*/ 471321 w 541041"/>
              <a:gd name="connsiteY5" fmla="*/ 309978 h 352216"/>
              <a:gd name="connsiteX6" fmla="*/ 541041 w 541041"/>
              <a:gd name="connsiteY6" fmla="*/ 352216 h 352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1041" h="352216">
                <a:moveTo>
                  <a:pt x="0" y="352216"/>
                </a:moveTo>
                <a:lnTo>
                  <a:pt x="69719" y="309979"/>
                </a:lnTo>
                <a:cubicBezTo>
                  <a:pt x="135921" y="255331"/>
                  <a:pt x="194716" y="173202"/>
                  <a:pt x="242350" y="70918"/>
                </a:cubicBezTo>
                <a:lnTo>
                  <a:pt x="270901" y="0"/>
                </a:lnTo>
                <a:lnTo>
                  <a:pt x="314977" y="104256"/>
                </a:lnTo>
                <a:cubicBezTo>
                  <a:pt x="359482" y="191113"/>
                  <a:pt x="412475" y="261403"/>
                  <a:pt x="471321" y="309978"/>
                </a:cubicBezTo>
                <a:lnTo>
                  <a:pt x="541041" y="352216"/>
                </a:lnTo>
                <a:close/>
              </a:path>
            </a:pathLst>
          </a:custGeom>
          <a:gradFill>
            <a:gsLst>
              <a:gs pos="0">
                <a:schemeClr val="accent2"/>
              </a:gs>
              <a:gs pos="100000">
                <a:schemeClr val="accent4"/>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white"/>
              </a:solidFill>
              <a:effectLst/>
              <a:uLnTx/>
              <a:uFillTx/>
              <a:latin typeface="OPPOSans L"/>
              <a:ea typeface="OPPOSans L" panose="00020600040101010101" pitchFamily="18" charset="-122"/>
              <a:cs typeface="+mn-cs"/>
            </a:endParaRPr>
          </a:p>
        </p:txBody>
      </p:sp>
      <p:sp>
        <p:nvSpPr>
          <p:cNvPr id="111" name="稿定PPT-6-4">
            <a:extLst>
              <a:ext uri="{FF2B5EF4-FFF2-40B4-BE49-F238E27FC236}">
                <a16:creationId xmlns:a16="http://schemas.microsoft.com/office/drawing/2014/main" id="{880E3894-3463-486D-9DEA-D6CD51EAA26A}"/>
              </a:ext>
            </a:extLst>
          </p:cNvPr>
          <p:cNvSpPr txBox="1"/>
          <p:nvPr/>
        </p:nvSpPr>
        <p:spPr>
          <a:xfrm flipH="1">
            <a:off x="6307389" y="3972393"/>
            <a:ext cx="1242862" cy="246221"/>
          </a:xfrm>
          <a:prstGeom prst="rect">
            <a:avLst/>
          </a:prstGeom>
          <a:noFill/>
          <a:ln>
            <a:noFill/>
            <a:prstDash val="sysDot"/>
            <a:miter lim="800000"/>
          </a:ln>
        </p:spPr>
        <p:txBody>
          <a:bodyPr wrap="square" lIns="0" tIns="0" rIns="0" bIns="0" rtlCol="0" anchor="b">
            <a:spAutoFit/>
          </a:bodyPr>
          <a:lstStyle>
            <a:defPPr>
              <a:defRPr lang="zh-CN"/>
            </a:defPPr>
            <a:lvl1pPr>
              <a:defRPr kumimoji="0" b="1" i="0" u="none" strike="noStrike" cap="none" spc="0" normalizeH="0" baseline="0">
                <a:ln>
                  <a:noFill/>
                </a:ln>
                <a:effectLst/>
                <a:uLnTx/>
                <a:uFillTx/>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zh-CN" altLang="en-US" sz="1600" b="0" i="0" u="none" strike="noStrike" kern="1200" cap="none" spc="0" normalizeH="0" baseline="0" noProof="0" dirty="0">
                <a:ln>
                  <a:noFill/>
                </a:ln>
                <a:gradFill>
                  <a:gsLst>
                    <a:gs pos="0">
                      <a:srgbClr val="44312B"/>
                    </a:gs>
                    <a:gs pos="100000">
                      <a:srgbClr val="8F4B28"/>
                    </a:gs>
                  </a:gsLst>
                  <a:lin ang="5400000" scaled="1"/>
                </a:gradFill>
                <a:effectLst/>
                <a:uLnTx/>
                <a:uFillTx/>
                <a:latin typeface="OPPOSans M" panose="00020600040101010101" pitchFamily="18" charset="-122"/>
                <a:ea typeface="OPPOSans M" panose="00020600040101010101" pitchFamily="18" charset="-122"/>
                <a:cs typeface="+mn-cs"/>
              </a:rPr>
              <a:t>秋叶</a:t>
            </a:r>
            <a:r>
              <a:rPr kumimoji="0" lang="en-US" altLang="zh-CN" sz="1600" b="0" i="0" u="none" strike="noStrike" kern="1200" cap="none" spc="0" normalizeH="0" baseline="0" noProof="0" dirty="0">
                <a:ln>
                  <a:noFill/>
                </a:ln>
                <a:gradFill>
                  <a:gsLst>
                    <a:gs pos="0">
                      <a:srgbClr val="44312B"/>
                    </a:gs>
                    <a:gs pos="100000">
                      <a:srgbClr val="8F4B28"/>
                    </a:gs>
                  </a:gsLst>
                  <a:lin ang="5400000" scaled="1"/>
                </a:gradFill>
                <a:effectLst/>
                <a:uLnTx/>
                <a:uFillTx/>
                <a:latin typeface="OPPOSans M" panose="00020600040101010101" pitchFamily="18" charset="-122"/>
                <a:ea typeface="OPPOSans M" panose="00020600040101010101" pitchFamily="18" charset="-122"/>
                <a:cs typeface="+mn-cs"/>
              </a:rPr>
              <a:t>PPT</a:t>
            </a:r>
            <a:endParaRPr kumimoji="0" lang="zh-CN" altLang="en-US" sz="1600" b="0" i="0" u="none" strike="noStrike" kern="1200" cap="none" spc="0" normalizeH="0" baseline="0" noProof="0" dirty="0">
              <a:ln>
                <a:noFill/>
              </a:ln>
              <a:gradFill>
                <a:gsLst>
                  <a:gs pos="0">
                    <a:srgbClr val="44312B"/>
                  </a:gs>
                  <a:gs pos="100000">
                    <a:srgbClr val="8F4B28"/>
                  </a:gs>
                </a:gsLst>
                <a:lin ang="5400000" scaled="1"/>
              </a:gradFill>
              <a:effectLst/>
              <a:uLnTx/>
              <a:uFillTx/>
              <a:latin typeface="OPPOSans M" panose="00020600040101010101" pitchFamily="18" charset="-122"/>
              <a:ea typeface="OPPOSans M" panose="00020600040101010101" pitchFamily="18" charset="-122"/>
              <a:cs typeface="+mn-cs"/>
            </a:endParaRPr>
          </a:p>
        </p:txBody>
      </p:sp>
      <p:sp>
        <p:nvSpPr>
          <p:cNvPr id="113" name="任意多边形: 形状 112">
            <a:extLst>
              <a:ext uri="{FF2B5EF4-FFF2-40B4-BE49-F238E27FC236}">
                <a16:creationId xmlns:a16="http://schemas.microsoft.com/office/drawing/2014/main" id="{A13D270F-B9D7-4D57-A245-34CF2CCB7D97}"/>
              </a:ext>
            </a:extLst>
          </p:cNvPr>
          <p:cNvSpPr/>
          <p:nvPr/>
        </p:nvSpPr>
        <p:spPr>
          <a:xfrm rot="16200000" flipH="1">
            <a:off x="6270006" y="4054216"/>
            <a:ext cx="135833" cy="88429"/>
          </a:xfrm>
          <a:custGeom>
            <a:avLst/>
            <a:gdLst>
              <a:gd name="connsiteX0" fmla="*/ 0 w 541041"/>
              <a:gd name="connsiteY0" fmla="*/ 352216 h 352216"/>
              <a:gd name="connsiteX1" fmla="*/ 69719 w 541041"/>
              <a:gd name="connsiteY1" fmla="*/ 309979 h 352216"/>
              <a:gd name="connsiteX2" fmla="*/ 242350 w 541041"/>
              <a:gd name="connsiteY2" fmla="*/ 70918 h 352216"/>
              <a:gd name="connsiteX3" fmla="*/ 270901 w 541041"/>
              <a:gd name="connsiteY3" fmla="*/ 0 h 352216"/>
              <a:gd name="connsiteX4" fmla="*/ 314977 w 541041"/>
              <a:gd name="connsiteY4" fmla="*/ 104256 h 352216"/>
              <a:gd name="connsiteX5" fmla="*/ 471321 w 541041"/>
              <a:gd name="connsiteY5" fmla="*/ 309978 h 352216"/>
              <a:gd name="connsiteX6" fmla="*/ 541041 w 541041"/>
              <a:gd name="connsiteY6" fmla="*/ 352216 h 352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1041" h="352216">
                <a:moveTo>
                  <a:pt x="0" y="352216"/>
                </a:moveTo>
                <a:lnTo>
                  <a:pt x="69719" y="309979"/>
                </a:lnTo>
                <a:cubicBezTo>
                  <a:pt x="135921" y="255331"/>
                  <a:pt x="194716" y="173202"/>
                  <a:pt x="242350" y="70918"/>
                </a:cubicBezTo>
                <a:lnTo>
                  <a:pt x="270901" y="0"/>
                </a:lnTo>
                <a:lnTo>
                  <a:pt x="314977" y="104256"/>
                </a:lnTo>
                <a:cubicBezTo>
                  <a:pt x="359482" y="191113"/>
                  <a:pt x="412475" y="261403"/>
                  <a:pt x="471321" y="309978"/>
                </a:cubicBezTo>
                <a:lnTo>
                  <a:pt x="541041" y="352216"/>
                </a:lnTo>
                <a:close/>
              </a:path>
            </a:pathLst>
          </a:custGeom>
          <a:gradFill>
            <a:gsLst>
              <a:gs pos="0">
                <a:schemeClr val="accent2"/>
              </a:gs>
              <a:gs pos="100000">
                <a:schemeClr val="accent4"/>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white"/>
              </a:solidFill>
              <a:effectLst/>
              <a:uLnTx/>
              <a:uFillTx/>
              <a:latin typeface="OPPOSans L"/>
              <a:ea typeface="OPPOSans L" panose="00020600040101010101" pitchFamily="18" charset="-122"/>
              <a:cs typeface="+mn-cs"/>
            </a:endParaRPr>
          </a:p>
        </p:txBody>
      </p:sp>
      <p:sp>
        <p:nvSpPr>
          <p:cNvPr id="114" name="任意多边形: 形状 113">
            <a:extLst>
              <a:ext uri="{FF2B5EF4-FFF2-40B4-BE49-F238E27FC236}">
                <a16:creationId xmlns:a16="http://schemas.microsoft.com/office/drawing/2014/main" id="{675DB17A-F869-4953-8354-DEDBE24B885D}"/>
              </a:ext>
            </a:extLst>
          </p:cNvPr>
          <p:cNvSpPr/>
          <p:nvPr/>
        </p:nvSpPr>
        <p:spPr>
          <a:xfrm rot="16200000" flipH="1">
            <a:off x="6406019" y="4054219"/>
            <a:ext cx="135834" cy="88430"/>
          </a:xfrm>
          <a:custGeom>
            <a:avLst/>
            <a:gdLst>
              <a:gd name="connsiteX0" fmla="*/ 0 w 541041"/>
              <a:gd name="connsiteY0" fmla="*/ 352216 h 352216"/>
              <a:gd name="connsiteX1" fmla="*/ 69719 w 541041"/>
              <a:gd name="connsiteY1" fmla="*/ 309979 h 352216"/>
              <a:gd name="connsiteX2" fmla="*/ 242350 w 541041"/>
              <a:gd name="connsiteY2" fmla="*/ 70918 h 352216"/>
              <a:gd name="connsiteX3" fmla="*/ 270901 w 541041"/>
              <a:gd name="connsiteY3" fmla="*/ 0 h 352216"/>
              <a:gd name="connsiteX4" fmla="*/ 314977 w 541041"/>
              <a:gd name="connsiteY4" fmla="*/ 104256 h 352216"/>
              <a:gd name="connsiteX5" fmla="*/ 471321 w 541041"/>
              <a:gd name="connsiteY5" fmla="*/ 309978 h 352216"/>
              <a:gd name="connsiteX6" fmla="*/ 541041 w 541041"/>
              <a:gd name="connsiteY6" fmla="*/ 352216 h 352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1041" h="352216">
                <a:moveTo>
                  <a:pt x="0" y="352216"/>
                </a:moveTo>
                <a:lnTo>
                  <a:pt x="69719" y="309979"/>
                </a:lnTo>
                <a:cubicBezTo>
                  <a:pt x="135921" y="255331"/>
                  <a:pt x="194716" y="173202"/>
                  <a:pt x="242350" y="70918"/>
                </a:cubicBezTo>
                <a:lnTo>
                  <a:pt x="270901" y="0"/>
                </a:lnTo>
                <a:lnTo>
                  <a:pt x="314977" y="104256"/>
                </a:lnTo>
                <a:cubicBezTo>
                  <a:pt x="359482" y="191113"/>
                  <a:pt x="412475" y="261403"/>
                  <a:pt x="471321" y="309978"/>
                </a:cubicBezTo>
                <a:lnTo>
                  <a:pt x="541041" y="352216"/>
                </a:lnTo>
                <a:close/>
              </a:path>
            </a:pathLst>
          </a:custGeom>
          <a:gradFill>
            <a:gsLst>
              <a:gs pos="0">
                <a:schemeClr val="accent2"/>
              </a:gs>
              <a:gs pos="100000">
                <a:schemeClr val="accent4"/>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white"/>
              </a:solidFill>
              <a:effectLst/>
              <a:uLnTx/>
              <a:uFillTx/>
              <a:latin typeface="OPPOSans L"/>
              <a:ea typeface="OPPOSans L" panose="00020600040101010101" pitchFamily="18" charset="-122"/>
              <a:cs typeface="+mn-cs"/>
            </a:endParaRPr>
          </a:p>
        </p:txBody>
      </p:sp>
      <p:sp>
        <p:nvSpPr>
          <p:cNvPr id="115" name="任意多边形: 形状 114">
            <a:extLst>
              <a:ext uri="{FF2B5EF4-FFF2-40B4-BE49-F238E27FC236}">
                <a16:creationId xmlns:a16="http://schemas.microsoft.com/office/drawing/2014/main" id="{AB1F5157-DAD5-4E4C-BFDB-E0FB61C58476}"/>
              </a:ext>
            </a:extLst>
          </p:cNvPr>
          <p:cNvSpPr/>
          <p:nvPr/>
        </p:nvSpPr>
        <p:spPr>
          <a:xfrm rot="16200000" flipH="1">
            <a:off x="6542037" y="4054219"/>
            <a:ext cx="135834" cy="88430"/>
          </a:xfrm>
          <a:custGeom>
            <a:avLst/>
            <a:gdLst>
              <a:gd name="connsiteX0" fmla="*/ 0 w 541041"/>
              <a:gd name="connsiteY0" fmla="*/ 352216 h 352216"/>
              <a:gd name="connsiteX1" fmla="*/ 69719 w 541041"/>
              <a:gd name="connsiteY1" fmla="*/ 309979 h 352216"/>
              <a:gd name="connsiteX2" fmla="*/ 242350 w 541041"/>
              <a:gd name="connsiteY2" fmla="*/ 70918 h 352216"/>
              <a:gd name="connsiteX3" fmla="*/ 270901 w 541041"/>
              <a:gd name="connsiteY3" fmla="*/ 0 h 352216"/>
              <a:gd name="connsiteX4" fmla="*/ 314977 w 541041"/>
              <a:gd name="connsiteY4" fmla="*/ 104256 h 352216"/>
              <a:gd name="connsiteX5" fmla="*/ 471321 w 541041"/>
              <a:gd name="connsiteY5" fmla="*/ 309978 h 352216"/>
              <a:gd name="connsiteX6" fmla="*/ 541041 w 541041"/>
              <a:gd name="connsiteY6" fmla="*/ 352216 h 352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1041" h="352216">
                <a:moveTo>
                  <a:pt x="0" y="352216"/>
                </a:moveTo>
                <a:lnTo>
                  <a:pt x="69719" y="309979"/>
                </a:lnTo>
                <a:cubicBezTo>
                  <a:pt x="135921" y="255331"/>
                  <a:pt x="194716" y="173202"/>
                  <a:pt x="242350" y="70918"/>
                </a:cubicBezTo>
                <a:lnTo>
                  <a:pt x="270901" y="0"/>
                </a:lnTo>
                <a:lnTo>
                  <a:pt x="314977" y="104256"/>
                </a:lnTo>
                <a:cubicBezTo>
                  <a:pt x="359482" y="191113"/>
                  <a:pt x="412475" y="261403"/>
                  <a:pt x="471321" y="309978"/>
                </a:cubicBezTo>
                <a:lnTo>
                  <a:pt x="541041" y="352216"/>
                </a:lnTo>
                <a:close/>
              </a:path>
            </a:pathLst>
          </a:custGeom>
          <a:gradFill>
            <a:gsLst>
              <a:gs pos="0">
                <a:schemeClr val="accent2"/>
              </a:gs>
              <a:gs pos="100000">
                <a:schemeClr val="accent4"/>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white"/>
              </a:solidFill>
              <a:effectLst/>
              <a:uLnTx/>
              <a:uFillTx/>
              <a:latin typeface="OPPOSans L"/>
              <a:ea typeface="OPPOSans L" panose="00020600040101010101" pitchFamily="18" charset="-122"/>
              <a:cs typeface="+mn-cs"/>
            </a:endParaRPr>
          </a:p>
        </p:txBody>
      </p:sp>
      <p:sp>
        <p:nvSpPr>
          <p:cNvPr id="104" name="稿定PPT-11-2">
            <a:extLst>
              <a:ext uri="{FF2B5EF4-FFF2-40B4-BE49-F238E27FC236}">
                <a16:creationId xmlns:a16="http://schemas.microsoft.com/office/drawing/2014/main" id="{930EA35D-A450-4FBB-B736-407EFE78D152}"/>
              </a:ext>
            </a:extLst>
          </p:cNvPr>
          <p:cNvSpPr txBox="1"/>
          <p:nvPr/>
        </p:nvSpPr>
        <p:spPr>
          <a:xfrm flipH="1">
            <a:off x="5796926" y="4471280"/>
            <a:ext cx="1797006" cy="806439"/>
          </a:xfrm>
          <a:prstGeom prst="rect">
            <a:avLst/>
          </a:prstGeom>
          <a:noFill/>
          <a:ln>
            <a:noFill/>
          </a:ln>
        </p:spPr>
        <p:txBody>
          <a:bodyPr wrap="square" lIns="0" tIns="0" rIns="0" bIns="0" anchor="t" anchorCtr="0">
            <a:spAutoFit/>
          </a:bodyPr>
          <a:lstStyle>
            <a:defPPr>
              <a:defRPr lang="zh-CN"/>
            </a:defPPr>
            <a:lvl1pPr marR="0" lvl="0" indent="0" algn="just" defTabSz="913765" fontAlgn="auto">
              <a:lnSpc>
                <a:spcPct val="150000"/>
              </a:lnSpc>
              <a:spcBef>
                <a:spcPts val="0"/>
              </a:spcBef>
              <a:spcAft>
                <a:spcPts val="0"/>
              </a:spcAft>
              <a:buClrTx/>
              <a:buSzPct val="25000"/>
              <a:buFontTx/>
              <a:buNone/>
              <a:tabLst/>
              <a:defRPr kumimoji="0" sz="1400" b="0" i="0" u="none" strike="noStrike" cap="none" spc="0" normalizeH="0" baseline="0">
                <a:ln>
                  <a:noFill/>
                </a:ln>
                <a:solidFill>
                  <a:schemeClr val="tx1">
                    <a:lumMod val="65000"/>
                    <a:lumOff val="35000"/>
                  </a:schemeClr>
                </a:solidFill>
                <a:effectLst/>
                <a:uLnTx/>
                <a:uFillTx/>
                <a:latin typeface="+mn-ea"/>
              </a:defRPr>
            </a:lvl1pPr>
          </a:lstStyle>
          <a:p>
            <a:pPr marL="0" marR="0" lvl="0" indent="0" algn="just" defTabSz="913765" rtl="0" eaLnBrk="1" fontAlgn="auto" latinLnBrk="0" hangingPunct="1">
              <a:lnSpc>
                <a:spcPct val="150000"/>
              </a:lnSpc>
              <a:spcBef>
                <a:spcPts val="0"/>
              </a:spcBef>
              <a:spcAft>
                <a:spcPts val="0"/>
              </a:spcAft>
              <a:buClrTx/>
              <a:buSzPct val="25000"/>
              <a:buFontTx/>
              <a:buNone/>
              <a:tabLst/>
              <a:defRPr/>
            </a:pPr>
            <a:r>
              <a:rPr kumimoji="0" lang="zh-CN" altLang="en-US" sz="1200" b="0" i="0" u="none" strike="noStrike" kern="1200" cap="none" spc="0" normalizeH="0" baseline="0" noProof="0" dirty="0">
                <a:ln>
                  <a:noFill/>
                </a:ln>
                <a:solidFill>
                  <a:prstClr val="black">
                    <a:lumMod val="65000"/>
                    <a:lumOff val="35000"/>
                  </a:prstClr>
                </a:solidFill>
                <a:effectLst/>
                <a:uLnTx/>
                <a:uFillTx/>
                <a:latin typeface="OPPOSans L" panose="00020600040101010101" pitchFamily="18" charset="-122"/>
                <a:ea typeface="OPPOSans L" panose="00020600040101010101" pitchFamily="18" charset="-122"/>
                <a:cs typeface="+mn-cs"/>
              </a:rPr>
              <a:t>不论你是销售、策划、学生、</a:t>
            </a:r>
            <a:r>
              <a:rPr kumimoji="0" lang="en-US" altLang="zh-CN" sz="1200" b="0" i="0" u="none" strike="noStrike" kern="1200" cap="none" spc="0" normalizeH="0" baseline="0" noProof="0" dirty="0">
                <a:ln>
                  <a:noFill/>
                </a:ln>
                <a:solidFill>
                  <a:prstClr val="black">
                    <a:lumMod val="65000"/>
                    <a:lumOff val="35000"/>
                  </a:prstClr>
                </a:solidFill>
                <a:effectLst/>
                <a:uLnTx/>
                <a:uFillTx/>
                <a:latin typeface="OPPOSans L" panose="00020600040101010101" pitchFamily="18" charset="-122"/>
                <a:ea typeface="OPPOSans L" panose="00020600040101010101" pitchFamily="18" charset="-122"/>
                <a:cs typeface="+mn-cs"/>
              </a:rPr>
              <a:t>PPT</a:t>
            </a:r>
            <a:r>
              <a:rPr kumimoji="0" lang="zh-CN" altLang="en-US" sz="1200" b="0" i="0" u="none" strike="noStrike" kern="1200" cap="none" spc="0" normalizeH="0" baseline="0" noProof="0" dirty="0">
                <a:ln>
                  <a:noFill/>
                </a:ln>
                <a:solidFill>
                  <a:prstClr val="black">
                    <a:lumMod val="65000"/>
                    <a:lumOff val="35000"/>
                  </a:prstClr>
                </a:solidFill>
                <a:effectLst/>
                <a:uLnTx/>
                <a:uFillTx/>
                <a:latin typeface="OPPOSans L" panose="00020600040101010101" pitchFamily="18" charset="-122"/>
                <a:ea typeface="OPPOSans L" panose="00020600040101010101" pitchFamily="18" charset="-122"/>
                <a:cs typeface="+mn-cs"/>
              </a:rPr>
              <a:t>爱好者，都能在秋叶</a:t>
            </a:r>
            <a:r>
              <a:rPr kumimoji="0" lang="en-US" altLang="zh-CN" sz="1200" b="0" i="0" u="none" strike="noStrike" kern="1200" cap="none" spc="0" normalizeH="0" baseline="0" noProof="0" dirty="0">
                <a:ln>
                  <a:noFill/>
                </a:ln>
                <a:solidFill>
                  <a:prstClr val="black">
                    <a:lumMod val="65000"/>
                    <a:lumOff val="35000"/>
                  </a:prstClr>
                </a:solidFill>
                <a:effectLst/>
                <a:uLnTx/>
                <a:uFillTx/>
                <a:latin typeface="OPPOSans L" panose="00020600040101010101" pitchFamily="18" charset="-122"/>
                <a:ea typeface="OPPOSans L" panose="00020600040101010101" pitchFamily="18" charset="-122"/>
                <a:cs typeface="+mn-cs"/>
              </a:rPr>
              <a:t>PPT</a:t>
            </a:r>
            <a:r>
              <a:rPr kumimoji="0" lang="zh-CN" altLang="en-US" sz="1200" b="0" i="0" u="none" strike="noStrike" kern="1200" cap="none" spc="0" normalizeH="0" baseline="0" noProof="0" dirty="0">
                <a:ln>
                  <a:noFill/>
                </a:ln>
                <a:solidFill>
                  <a:prstClr val="black">
                    <a:lumMod val="65000"/>
                    <a:lumOff val="35000"/>
                  </a:prstClr>
                </a:solidFill>
                <a:effectLst/>
                <a:uLnTx/>
                <a:uFillTx/>
                <a:latin typeface="OPPOSans L" panose="00020600040101010101" pitchFamily="18" charset="-122"/>
                <a:ea typeface="OPPOSans L" panose="00020600040101010101" pitchFamily="18" charset="-122"/>
                <a:cs typeface="+mn-cs"/>
              </a:rPr>
              <a:t>找到适合的模板。</a:t>
            </a:r>
          </a:p>
        </p:txBody>
      </p:sp>
      <p:sp>
        <p:nvSpPr>
          <p:cNvPr id="106" name="稿定PPT-6-4">
            <a:extLst>
              <a:ext uri="{FF2B5EF4-FFF2-40B4-BE49-F238E27FC236}">
                <a16:creationId xmlns:a16="http://schemas.microsoft.com/office/drawing/2014/main" id="{1FD35865-8DD3-4F91-9440-CFD2E1D3F82B}"/>
              </a:ext>
            </a:extLst>
          </p:cNvPr>
          <p:cNvSpPr txBox="1"/>
          <p:nvPr/>
        </p:nvSpPr>
        <p:spPr>
          <a:xfrm>
            <a:off x="5789728" y="5615046"/>
            <a:ext cx="957883" cy="184666"/>
          </a:xfrm>
          <a:prstGeom prst="rect">
            <a:avLst/>
          </a:prstGeom>
          <a:noFill/>
          <a:ln>
            <a:noFill/>
            <a:prstDash val="sysDot"/>
            <a:miter lim="800000"/>
          </a:ln>
        </p:spPr>
        <p:txBody>
          <a:bodyPr wrap="square" lIns="0" tIns="0" rIns="0" bIns="0" rtlCol="0" anchor="b">
            <a:spAutoFit/>
          </a:bodyPr>
          <a:lstStyle>
            <a:defPPr>
              <a:defRPr lang="zh-CN"/>
            </a:defPPr>
            <a:lvl1pPr>
              <a:defRPr kumimoji="0" b="1" i="0" u="none" strike="noStrike" cap="none" spc="0" normalizeH="0" baseline="0">
                <a:ln>
                  <a:noFill/>
                </a:ln>
                <a:effectLst/>
                <a:uLnTx/>
                <a:uFillTx/>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zh-CN" altLang="en-US" sz="1200" b="0" i="0" u="none" strike="noStrike" kern="1200" cap="none" spc="0" normalizeH="0" baseline="0" noProof="0" dirty="0">
                <a:ln>
                  <a:noFill/>
                </a:ln>
                <a:gradFill>
                  <a:gsLst>
                    <a:gs pos="0">
                      <a:srgbClr val="44312B"/>
                    </a:gs>
                    <a:gs pos="100000">
                      <a:srgbClr val="8F4B28"/>
                    </a:gs>
                  </a:gsLst>
                  <a:lin ang="5400000" scaled="1"/>
                </a:gradFill>
                <a:effectLst/>
                <a:uLnTx/>
                <a:uFillTx/>
                <a:latin typeface="OPPOSans M" panose="00020600040101010101" pitchFamily="18" charset="-122"/>
                <a:ea typeface="OPPOSans M" panose="00020600040101010101" pitchFamily="18" charset="-122"/>
                <a:cs typeface="+mn-cs"/>
              </a:rPr>
              <a:t>更快更轻松</a:t>
            </a:r>
          </a:p>
        </p:txBody>
      </p:sp>
      <p:sp>
        <p:nvSpPr>
          <p:cNvPr id="108" name="任意多边形: 形状 107">
            <a:extLst>
              <a:ext uri="{FF2B5EF4-FFF2-40B4-BE49-F238E27FC236}">
                <a16:creationId xmlns:a16="http://schemas.microsoft.com/office/drawing/2014/main" id="{3E8F0B0A-024C-4B93-A94F-2997D4A06A43}"/>
              </a:ext>
            </a:extLst>
          </p:cNvPr>
          <p:cNvSpPr/>
          <p:nvPr/>
        </p:nvSpPr>
        <p:spPr>
          <a:xfrm rot="5400000">
            <a:off x="6962947" y="5676012"/>
            <a:ext cx="86510" cy="56318"/>
          </a:xfrm>
          <a:custGeom>
            <a:avLst/>
            <a:gdLst>
              <a:gd name="connsiteX0" fmla="*/ 0 w 541041"/>
              <a:gd name="connsiteY0" fmla="*/ 352216 h 352216"/>
              <a:gd name="connsiteX1" fmla="*/ 69719 w 541041"/>
              <a:gd name="connsiteY1" fmla="*/ 309979 h 352216"/>
              <a:gd name="connsiteX2" fmla="*/ 242350 w 541041"/>
              <a:gd name="connsiteY2" fmla="*/ 70918 h 352216"/>
              <a:gd name="connsiteX3" fmla="*/ 270901 w 541041"/>
              <a:gd name="connsiteY3" fmla="*/ 0 h 352216"/>
              <a:gd name="connsiteX4" fmla="*/ 314977 w 541041"/>
              <a:gd name="connsiteY4" fmla="*/ 104256 h 352216"/>
              <a:gd name="connsiteX5" fmla="*/ 471321 w 541041"/>
              <a:gd name="connsiteY5" fmla="*/ 309978 h 352216"/>
              <a:gd name="connsiteX6" fmla="*/ 541041 w 541041"/>
              <a:gd name="connsiteY6" fmla="*/ 352216 h 352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1041" h="352216">
                <a:moveTo>
                  <a:pt x="0" y="352216"/>
                </a:moveTo>
                <a:lnTo>
                  <a:pt x="69719" y="309979"/>
                </a:lnTo>
                <a:cubicBezTo>
                  <a:pt x="135921" y="255331"/>
                  <a:pt x="194716" y="173202"/>
                  <a:pt x="242350" y="70918"/>
                </a:cubicBezTo>
                <a:lnTo>
                  <a:pt x="270901" y="0"/>
                </a:lnTo>
                <a:lnTo>
                  <a:pt x="314977" y="104256"/>
                </a:lnTo>
                <a:cubicBezTo>
                  <a:pt x="359482" y="191113"/>
                  <a:pt x="412475" y="261403"/>
                  <a:pt x="471321" y="309978"/>
                </a:cubicBezTo>
                <a:lnTo>
                  <a:pt x="541041" y="352216"/>
                </a:lnTo>
                <a:close/>
              </a:path>
            </a:pathLst>
          </a:custGeom>
          <a:gradFill>
            <a:gsLst>
              <a:gs pos="0">
                <a:schemeClr val="accent2"/>
              </a:gs>
              <a:gs pos="100000">
                <a:schemeClr val="accent4"/>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white"/>
              </a:solidFill>
              <a:effectLst/>
              <a:uLnTx/>
              <a:uFillTx/>
              <a:latin typeface="OPPOSans L"/>
              <a:ea typeface="OPPOSans L" panose="00020600040101010101" pitchFamily="18" charset="-122"/>
              <a:cs typeface="+mn-cs"/>
            </a:endParaRPr>
          </a:p>
        </p:txBody>
      </p:sp>
      <p:sp>
        <p:nvSpPr>
          <p:cNvPr id="109" name="任意多边形: 形状 108">
            <a:extLst>
              <a:ext uri="{FF2B5EF4-FFF2-40B4-BE49-F238E27FC236}">
                <a16:creationId xmlns:a16="http://schemas.microsoft.com/office/drawing/2014/main" id="{79F83A40-9C8A-438A-B51D-293165CAC32D}"/>
              </a:ext>
            </a:extLst>
          </p:cNvPr>
          <p:cNvSpPr/>
          <p:nvPr/>
        </p:nvSpPr>
        <p:spPr>
          <a:xfrm rot="5400000">
            <a:off x="6876323" y="5676012"/>
            <a:ext cx="86511" cy="56319"/>
          </a:xfrm>
          <a:custGeom>
            <a:avLst/>
            <a:gdLst>
              <a:gd name="connsiteX0" fmla="*/ 0 w 541041"/>
              <a:gd name="connsiteY0" fmla="*/ 352216 h 352216"/>
              <a:gd name="connsiteX1" fmla="*/ 69719 w 541041"/>
              <a:gd name="connsiteY1" fmla="*/ 309979 h 352216"/>
              <a:gd name="connsiteX2" fmla="*/ 242350 w 541041"/>
              <a:gd name="connsiteY2" fmla="*/ 70918 h 352216"/>
              <a:gd name="connsiteX3" fmla="*/ 270901 w 541041"/>
              <a:gd name="connsiteY3" fmla="*/ 0 h 352216"/>
              <a:gd name="connsiteX4" fmla="*/ 314977 w 541041"/>
              <a:gd name="connsiteY4" fmla="*/ 104256 h 352216"/>
              <a:gd name="connsiteX5" fmla="*/ 471321 w 541041"/>
              <a:gd name="connsiteY5" fmla="*/ 309978 h 352216"/>
              <a:gd name="connsiteX6" fmla="*/ 541041 w 541041"/>
              <a:gd name="connsiteY6" fmla="*/ 352216 h 352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1041" h="352216">
                <a:moveTo>
                  <a:pt x="0" y="352216"/>
                </a:moveTo>
                <a:lnTo>
                  <a:pt x="69719" y="309979"/>
                </a:lnTo>
                <a:cubicBezTo>
                  <a:pt x="135921" y="255331"/>
                  <a:pt x="194716" y="173202"/>
                  <a:pt x="242350" y="70918"/>
                </a:cubicBezTo>
                <a:lnTo>
                  <a:pt x="270901" y="0"/>
                </a:lnTo>
                <a:lnTo>
                  <a:pt x="314977" y="104256"/>
                </a:lnTo>
                <a:cubicBezTo>
                  <a:pt x="359482" y="191113"/>
                  <a:pt x="412475" y="261403"/>
                  <a:pt x="471321" y="309978"/>
                </a:cubicBezTo>
                <a:lnTo>
                  <a:pt x="541041" y="352216"/>
                </a:lnTo>
                <a:close/>
              </a:path>
            </a:pathLst>
          </a:custGeom>
          <a:gradFill>
            <a:gsLst>
              <a:gs pos="0">
                <a:schemeClr val="accent2"/>
              </a:gs>
              <a:gs pos="100000">
                <a:schemeClr val="accent4"/>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white"/>
              </a:solidFill>
              <a:effectLst/>
              <a:uLnTx/>
              <a:uFillTx/>
              <a:latin typeface="OPPOSans L"/>
              <a:ea typeface="OPPOSans L" panose="00020600040101010101" pitchFamily="18" charset="-122"/>
              <a:cs typeface="+mn-cs"/>
            </a:endParaRPr>
          </a:p>
        </p:txBody>
      </p:sp>
      <p:sp>
        <p:nvSpPr>
          <p:cNvPr id="110" name="任意多边形: 形状 109">
            <a:extLst>
              <a:ext uri="{FF2B5EF4-FFF2-40B4-BE49-F238E27FC236}">
                <a16:creationId xmlns:a16="http://schemas.microsoft.com/office/drawing/2014/main" id="{0F097C7C-6864-415D-99A7-D19302A20978}"/>
              </a:ext>
            </a:extLst>
          </p:cNvPr>
          <p:cNvSpPr/>
          <p:nvPr/>
        </p:nvSpPr>
        <p:spPr>
          <a:xfrm rot="5400000">
            <a:off x="6789697" y="5676012"/>
            <a:ext cx="86511" cy="56319"/>
          </a:xfrm>
          <a:custGeom>
            <a:avLst/>
            <a:gdLst>
              <a:gd name="connsiteX0" fmla="*/ 0 w 541041"/>
              <a:gd name="connsiteY0" fmla="*/ 352216 h 352216"/>
              <a:gd name="connsiteX1" fmla="*/ 69719 w 541041"/>
              <a:gd name="connsiteY1" fmla="*/ 309979 h 352216"/>
              <a:gd name="connsiteX2" fmla="*/ 242350 w 541041"/>
              <a:gd name="connsiteY2" fmla="*/ 70918 h 352216"/>
              <a:gd name="connsiteX3" fmla="*/ 270901 w 541041"/>
              <a:gd name="connsiteY3" fmla="*/ 0 h 352216"/>
              <a:gd name="connsiteX4" fmla="*/ 314977 w 541041"/>
              <a:gd name="connsiteY4" fmla="*/ 104256 h 352216"/>
              <a:gd name="connsiteX5" fmla="*/ 471321 w 541041"/>
              <a:gd name="connsiteY5" fmla="*/ 309978 h 352216"/>
              <a:gd name="connsiteX6" fmla="*/ 541041 w 541041"/>
              <a:gd name="connsiteY6" fmla="*/ 352216 h 352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1041" h="352216">
                <a:moveTo>
                  <a:pt x="0" y="352216"/>
                </a:moveTo>
                <a:lnTo>
                  <a:pt x="69719" y="309979"/>
                </a:lnTo>
                <a:cubicBezTo>
                  <a:pt x="135921" y="255331"/>
                  <a:pt x="194716" y="173202"/>
                  <a:pt x="242350" y="70918"/>
                </a:cubicBezTo>
                <a:lnTo>
                  <a:pt x="270901" y="0"/>
                </a:lnTo>
                <a:lnTo>
                  <a:pt x="314977" y="104256"/>
                </a:lnTo>
                <a:cubicBezTo>
                  <a:pt x="359482" y="191113"/>
                  <a:pt x="412475" y="261403"/>
                  <a:pt x="471321" y="309978"/>
                </a:cubicBezTo>
                <a:lnTo>
                  <a:pt x="541041" y="352216"/>
                </a:lnTo>
                <a:close/>
              </a:path>
            </a:pathLst>
          </a:custGeom>
          <a:gradFill>
            <a:gsLst>
              <a:gs pos="0">
                <a:schemeClr val="accent2"/>
              </a:gs>
              <a:gs pos="100000">
                <a:schemeClr val="accent4"/>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white"/>
              </a:solidFill>
              <a:effectLst/>
              <a:uLnTx/>
              <a:uFillTx/>
              <a:latin typeface="OPPOSans L"/>
              <a:ea typeface="OPPOSans L" panose="00020600040101010101" pitchFamily="18" charset="-122"/>
              <a:cs typeface="+mn-cs"/>
            </a:endParaRPr>
          </a:p>
        </p:txBody>
      </p:sp>
      <p:sp>
        <p:nvSpPr>
          <p:cNvPr id="130" name="平行四边形 129">
            <a:extLst>
              <a:ext uri="{FF2B5EF4-FFF2-40B4-BE49-F238E27FC236}">
                <a16:creationId xmlns:a16="http://schemas.microsoft.com/office/drawing/2014/main" id="{3B0AF868-2AC9-45B7-AE06-D601B45A70E4}"/>
              </a:ext>
            </a:extLst>
          </p:cNvPr>
          <p:cNvSpPr/>
          <p:nvPr/>
        </p:nvSpPr>
        <p:spPr>
          <a:xfrm flipV="1">
            <a:off x="7580944" y="1417112"/>
            <a:ext cx="2590061" cy="4625068"/>
          </a:xfrm>
          <a:prstGeom prst="parallelogram">
            <a:avLst>
              <a:gd name="adj" fmla="val 18097"/>
            </a:avLst>
          </a:prstGeom>
          <a:solidFill>
            <a:schemeClr val="bg1">
              <a:alpha val="50000"/>
            </a:schemeClr>
          </a:solidFill>
          <a:ln w="12700">
            <a:gradFill>
              <a:gsLst>
                <a:gs pos="0">
                  <a:schemeClr val="accent2"/>
                </a:gs>
                <a:gs pos="50000">
                  <a:schemeClr val="bg1"/>
                </a:gs>
                <a:gs pos="100000">
                  <a:schemeClr val="accent2"/>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white"/>
              </a:solidFill>
              <a:effectLst/>
              <a:uLnTx/>
              <a:uFillTx/>
              <a:latin typeface="OPPOSans L"/>
              <a:ea typeface="OPPOSans L" panose="00020600040101010101" pitchFamily="18" charset="-122"/>
              <a:cs typeface="+mn-cs"/>
            </a:endParaRPr>
          </a:p>
        </p:txBody>
      </p:sp>
      <p:sp>
        <p:nvSpPr>
          <p:cNvPr id="154" name="稿定PPT-6-4">
            <a:extLst>
              <a:ext uri="{FF2B5EF4-FFF2-40B4-BE49-F238E27FC236}">
                <a16:creationId xmlns:a16="http://schemas.microsoft.com/office/drawing/2014/main" id="{0A75290B-16F6-48C9-96C8-58046C800BDA}"/>
              </a:ext>
            </a:extLst>
          </p:cNvPr>
          <p:cNvSpPr txBox="1"/>
          <p:nvPr/>
        </p:nvSpPr>
        <p:spPr>
          <a:xfrm>
            <a:off x="7890767" y="1672133"/>
            <a:ext cx="1242862" cy="246221"/>
          </a:xfrm>
          <a:prstGeom prst="rect">
            <a:avLst/>
          </a:prstGeom>
          <a:noFill/>
          <a:ln>
            <a:noFill/>
            <a:prstDash val="sysDot"/>
            <a:miter lim="800000"/>
          </a:ln>
        </p:spPr>
        <p:txBody>
          <a:bodyPr wrap="square" lIns="0" tIns="0" rIns="0" bIns="0" rtlCol="0" anchor="b">
            <a:spAutoFit/>
          </a:bodyPr>
          <a:lstStyle>
            <a:defPPr>
              <a:defRPr lang="zh-CN"/>
            </a:defPPr>
            <a:lvl1pPr>
              <a:defRPr kumimoji="0" b="1" i="0" u="none" strike="noStrike" cap="none" spc="0" normalizeH="0" baseline="0">
                <a:ln>
                  <a:noFill/>
                </a:ln>
                <a:effectLst/>
                <a:uLnTx/>
                <a:uFillTx/>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600" b="0" i="0" u="none" strike="noStrike" kern="1200" cap="none" spc="0" normalizeH="0" baseline="0" noProof="0" dirty="0">
                <a:ln>
                  <a:noFill/>
                </a:ln>
                <a:gradFill>
                  <a:gsLst>
                    <a:gs pos="0">
                      <a:srgbClr val="44312B"/>
                    </a:gs>
                    <a:gs pos="100000">
                      <a:srgbClr val="8F4B28"/>
                    </a:gs>
                  </a:gsLst>
                  <a:lin ang="5400000" scaled="1"/>
                </a:gradFill>
                <a:effectLst/>
                <a:uLnTx/>
                <a:uFillTx/>
                <a:latin typeface="OPPOSans M" panose="00020600040101010101" pitchFamily="18" charset="-122"/>
                <a:ea typeface="OPPOSans M" panose="00020600040101010101" pitchFamily="18" charset="-122"/>
                <a:cs typeface="+mn-cs"/>
              </a:rPr>
              <a:t>秋叶</a:t>
            </a:r>
            <a:r>
              <a:rPr kumimoji="0" lang="en-US" altLang="zh-CN" sz="1600" b="0" i="0" u="none" strike="noStrike" kern="1200" cap="none" spc="0" normalizeH="0" baseline="0" noProof="0" dirty="0">
                <a:ln>
                  <a:noFill/>
                </a:ln>
                <a:gradFill>
                  <a:gsLst>
                    <a:gs pos="0">
                      <a:srgbClr val="44312B"/>
                    </a:gs>
                    <a:gs pos="100000">
                      <a:srgbClr val="8F4B28"/>
                    </a:gs>
                  </a:gsLst>
                  <a:lin ang="5400000" scaled="1"/>
                </a:gradFill>
                <a:effectLst/>
                <a:uLnTx/>
                <a:uFillTx/>
                <a:latin typeface="OPPOSans M" panose="00020600040101010101" pitchFamily="18" charset="-122"/>
                <a:ea typeface="OPPOSans M" panose="00020600040101010101" pitchFamily="18" charset="-122"/>
                <a:cs typeface="+mn-cs"/>
              </a:rPr>
              <a:t>PPT</a:t>
            </a:r>
            <a:endParaRPr kumimoji="0" lang="zh-CN" altLang="en-US" sz="1600" b="0" i="0" u="none" strike="noStrike" kern="1200" cap="none" spc="0" normalizeH="0" baseline="0" noProof="0" dirty="0">
              <a:ln>
                <a:noFill/>
              </a:ln>
              <a:gradFill>
                <a:gsLst>
                  <a:gs pos="0">
                    <a:srgbClr val="44312B"/>
                  </a:gs>
                  <a:gs pos="100000">
                    <a:srgbClr val="8F4B28"/>
                  </a:gs>
                </a:gsLst>
                <a:lin ang="5400000" scaled="1"/>
              </a:gradFill>
              <a:effectLst/>
              <a:uLnTx/>
              <a:uFillTx/>
              <a:latin typeface="OPPOSans M" panose="00020600040101010101" pitchFamily="18" charset="-122"/>
              <a:ea typeface="OPPOSans M" panose="00020600040101010101" pitchFamily="18" charset="-122"/>
              <a:cs typeface="+mn-cs"/>
            </a:endParaRPr>
          </a:p>
        </p:txBody>
      </p:sp>
      <p:sp>
        <p:nvSpPr>
          <p:cNvPr id="156" name="任意多边形: 形状 155">
            <a:extLst>
              <a:ext uri="{FF2B5EF4-FFF2-40B4-BE49-F238E27FC236}">
                <a16:creationId xmlns:a16="http://schemas.microsoft.com/office/drawing/2014/main" id="{E664A11E-14EC-4293-BB47-8FEF413B6C07}"/>
              </a:ext>
            </a:extLst>
          </p:cNvPr>
          <p:cNvSpPr/>
          <p:nvPr/>
        </p:nvSpPr>
        <p:spPr>
          <a:xfrm rot="5400000">
            <a:off x="9016768" y="1741682"/>
            <a:ext cx="135833" cy="88429"/>
          </a:xfrm>
          <a:custGeom>
            <a:avLst/>
            <a:gdLst>
              <a:gd name="connsiteX0" fmla="*/ 0 w 541041"/>
              <a:gd name="connsiteY0" fmla="*/ 352216 h 352216"/>
              <a:gd name="connsiteX1" fmla="*/ 69719 w 541041"/>
              <a:gd name="connsiteY1" fmla="*/ 309979 h 352216"/>
              <a:gd name="connsiteX2" fmla="*/ 242350 w 541041"/>
              <a:gd name="connsiteY2" fmla="*/ 70918 h 352216"/>
              <a:gd name="connsiteX3" fmla="*/ 270901 w 541041"/>
              <a:gd name="connsiteY3" fmla="*/ 0 h 352216"/>
              <a:gd name="connsiteX4" fmla="*/ 314977 w 541041"/>
              <a:gd name="connsiteY4" fmla="*/ 104256 h 352216"/>
              <a:gd name="connsiteX5" fmla="*/ 471321 w 541041"/>
              <a:gd name="connsiteY5" fmla="*/ 309978 h 352216"/>
              <a:gd name="connsiteX6" fmla="*/ 541041 w 541041"/>
              <a:gd name="connsiteY6" fmla="*/ 352216 h 352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1041" h="352216">
                <a:moveTo>
                  <a:pt x="0" y="352216"/>
                </a:moveTo>
                <a:lnTo>
                  <a:pt x="69719" y="309979"/>
                </a:lnTo>
                <a:cubicBezTo>
                  <a:pt x="135921" y="255331"/>
                  <a:pt x="194716" y="173202"/>
                  <a:pt x="242350" y="70918"/>
                </a:cubicBezTo>
                <a:lnTo>
                  <a:pt x="270901" y="0"/>
                </a:lnTo>
                <a:lnTo>
                  <a:pt x="314977" y="104256"/>
                </a:lnTo>
                <a:cubicBezTo>
                  <a:pt x="359482" y="191113"/>
                  <a:pt x="412475" y="261403"/>
                  <a:pt x="471321" y="309978"/>
                </a:cubicBezTo>
                <a:lnTo>
                  <a:pt x="541041" y="352216"/>
                </a:lnTo>
                <a:close/>
              </a:path>
            </a:pathLst>
          </a:custGeom>
          <a:gradFill>
            <a:gsLst>
              <a:gs pos="0">
                <a:schemeClr val="accent2"/>
              </a:gs>
              <a:gs pos="100000">
                <a:schemeClr val="accent4"/>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white"/>
              </a:solidFill>
              <a:effectLst/>
              <a:uLnTx/>
              <a:uFillTx/>
              <a:latin typeface="OPPOSans L"/>
              <a:ea typeface="OPPOSans L" panose="00020600040101010101" pitchFamily="18" charset="-122"/>
              <a:cs typeface="+mn-cs"/>
            </a:endParaRPr>
          </a:p>
        </p:txBody>
      </p:sp>
      <p:sp>
        <p:nvSpPr>
          <p:cNvPr id="157" name="任意多边形: 形状 156">
            <a:extLst>
              <a:ext uri="{FF2B5EF4-FFF2-40B4-BE49-F238E27FC236}">
                <a16:creationId xmlns:a16="http://schemas.microsoft.com/office/drawing/2014/main" id="{734489F1-F423-4577-A308-4594F287B3BF}"/>
              </a:ext>
            </a:extLst>
          </p:cNvPr>
          <p:cNvSpPr/>
          <p:nvPr/>
        </p:nvSpPr>
        <p:spPr>
          <a:xfrm rot="5400000">
            <a:off x="8880754" y="1741685"/>
            <a:ext cx="135834" cy="88430"/>
          </a:xfrm>
          <a:custGeom>
            <a:avLst/>
            <a:gdLst>
              <a:gd name="connsiteX0" fmla="*/ 0 w 541041"/>
              <a:gd name="connsiteY0" fmla="*/ 352216 h 352216"/>
              <a:gd name="connsiteX1" fmla="*/ 69719 w 541041"/>
              <a:gd name="connsiteY1" fmla="*/ 309979 h 352216"/>
              <a:gd name="connsiteX2" fmla="*/ 242350 w 541041"/>
              <a:gd name="connsiteY2" fmla="*/ 70918 h 352216"/>
              <a:gd name="connsiteX3" fmla="*/ 270901 w 541041"/>
              <a:gd name="connsiteY3" fmla="*/ 0 h 352216"/>
              <a:gd name="connsiteX4" fmla="*/ 314977 w 541041"/>
              <a:gd name="connsiteY4" fmla="*/ 104256 h 352216"/>
              <a:gd name="connsiteX5" fmla="*/ 471321 w 541041"/>
              <a:gd name="connsiteY5" fmla="*/ 309978 h 352216"/>
              <a:gd name="connsiteX6" fmla="*/ 541041 w 541041"/>
              <a:gd name="connsiteY6" fmla="*/ 352216 h 352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1041" h="352216">
                <a:moveTo>
                  <a:pt x="0" y="352216"/>
                </a:moveTo>
                <a:lnTo>
                  <a:pt x="69719" y="309979"/>
                </a:lnTo>
                <a:cubicBezTo>
                  <a:pt x="135921" y="255331"/>
                  <a:pt x="194716" y="173202"/>
                  <a:pt x="242350" y="70918"/>
                </a:cubicBezTo>
                <a:lnTo>
                  <a:pt x="270901" y="0"/>
                </a:lnTo>
                <a:lnTo>
                  <a:pt x="314977" y="104256"/>
                </a:lnTo>
                <a:cubicBezTo>
                  <a:pt x="359482" y="191113"/>
                  <a:pt x="412475" y="261403"/>
                  <a:pt x="471321" y="309978"/>
                </a:cubicBezTo>
                <a:lnTo>
                  <a:pt x="541041" y="352216"/>
                </a:lnTo>
                <a:close/>
              </a:path>
            </a:pathLst>
          </a:custGeom>
          <a:gradFill>
            <a:gsLst>
              <a:gs pos="0">
                <a:schemeClr val="accent2"/>
              </a:gs>
              <a:gs pos="100000">
                <a:schemeClr val="accent4"/>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white"/>
              </a:solidFill>
              <a:effectLst/>
              <a:uLnTx/>
              <a:uFillTx/>
              <a:latin typeface="OPPOSans L"/>
              <a:ea typeface="OPPOSans L" panose="00020600040101010101" pitchFamily="18" charset="-122"/>
              <a:cs typeface="+mn-cs"/>
            </a:endParaRPr>
          </a:p>
        </p:txBody>
      </p:sp>
      <p:sp>
        <p:nvSpPr>
          <p:cNvPr id="158" name="任意多边形: 形状 157">
            <a:extLst>
              <a:ext uri="{FF2B5EF4-FFF2-40B4-BE49-F238E27FC236}">
                <a16:creationId xmlns:a16="http://schemas.microsoft.com/office/drawing/2014/main" id="{FBACC315-43BA-4208-8797-23FC80AB27B0}"/>
              </a:ext>
            </a:extLst>
          </p:cNvPr>
          <p:cNvSpPr/>
          <p:nvPr/>
        </p:nvSpPr>
        <p:spPr>
          <a:xfrm rot="5400000">
            <a:off x="8744736" y="1741685"/>
            <a:ext cx="135834" cy="88430"/>
          </a:xfrm>
          <a:custGeom>
            <a:avLst/>
            <a:gdLst>
              <a:gd name="connsiteX0" fmla="*/ 0 w 541041"/>
              <a:gd name="connsiteY0" fmla="*/ 352216 h 352216"/>
              <a:gd name="connsiteX1" fmla="*/ 69719 w 541041"/>
              <a:gd name="connsiteY1" fmla="*/ 309979 h 352216"/>
              <a:gd name="connsiteX2" fmla="*/ 242350 w 541041"/>
              <a:gd name="connsiteY2" fmla="*/ 70918 h 352216"/>
              <a:gd name="connsiteX3" fmla="*/ 270901 w 541041"/>
              <a:gd name="connsiteY3" fmla="*/ 0 h 352216"/>
              <a:gd name="connsiteX4" fmla="*/ 314977 w 541041"/>
              <a:gd name="connsiteY4" fmla="*/ 104256 h 352216"/>
              <a:gd name="connsiteX5" fmla="*/ 471321 w 541041"/>
              <a:gd name="connsiteY5" fmla="*/ 309978 h 352216"/>
              <a:gd name="connsiteX6" fmla="*/ 541041 w 541041"/>
              <a:gd name="connsiteY6" fmla="*/ 352216 h 352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1041" h="352216">
                <a:moveTo>
                  <a:pt x="0" y="352216"/>
                </a:moveTo>
                <a:lnTo>
                  <a:pt x="69719" y="309979"/>
                </a:lnTo>
                <a:cubicBezTo>
                  <a:pt x="135921" y="255331"/>
                  <a:pt x="194716" y="173202"/>
                  <a:pt x="242350" y="70918"/>
                </a:cubicBezTo>
                <a:lnTo>
                  <a:pt x="270901" y="0"/>
                </a:lnTo>
                <a:lnTo>
                  <a:pt x="314977" y="104256"/>
                </a:lnTo>
                <a:cubicBezTo>
                  <a:pt x="359482" y="191113"/>
                  <a:pt x="412475" y="261403"/>
                  <a:pt x="471321" y="309978"/>
                </a:cubicBezTo>
                <a:lnTo>
                  <a:pt x="541041" y="352216"/>
                </a:lnTo>
                <a:close/>
              </a:path>
            </a:pathLst>
          </a:custGeom>
          <a:gradFill>
            <a:gsLst>
              <a:gs pos="0">
                <a:schemeClr val="accent2"/>
              </a:gs>
              <a:gs pos="100000">
                <a:schemeClr val="accent4"/>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white"/>
              </a:solidFill>
              <a:effectLst/>
              <a:uLnTx/>
              <a:uFillTx/>
              <a:latin typeface="OPPOSans L"/>
              <a:ea typeface="OPPOSans L" panose="00020600040101010101" pitchFamily="18" charset="-122"/>
              <a:cs typeface="+mn-cs"/>
            </a:endParaRPr>
          </a:p>
        </p:txBody>
      </p:sp>
      <p:sp>
        <p:nvSpPr>
          <p:cNvPr id="147" name="稿定PPT-11-2">
            <a:extLst>
              <a:ext uri="{FF2B5EF4-FFF2-40B4-BE49-F238E27FC236}">
                <a16:creationId xmlns:a16="http://schemas.microsoft.com/office/drawing/2014/main" id="{08CEFC75-7A3C-422C-B0EB-05C337759D2B}"/>
              </a:ext>
            </a:extLst>
          </p:cNvPr>
          <p:cNvSpPr txBox="1"/>
          <p:nvPr/>
        </p:nvSpPr>
        <p:spPr>
          <a:xfrm>
            <a:off x="7853751" y="2158747"/>
            <a:ext cx="1818799" cy="806439"/>
          </a:xfrm>
          <a:prstGeom prst="rect">
            <a:avLst/>
          </a:prstGeom>
          <a:noFill/>
          <a:ln>
            <a:noFill/>
          </a:ln>
        </p:spPr>
        <p:txBody>
          <a:bodyPr wrap="square" lIns="0" tIns="0" rIns="0" bIns="0" anchor="t" anchorCtr="0">
            <a:spAutoFit/>
          </a:bodyPr>
          <a:lstStyle>
            <a:defPPr>
              <a:defRPr lang="zh-CN"/>
            </a:defPPr>
            <a:lvl1pPr marR="0" lvl="0" indent="0" algn="just" defTabSz="913765" fontAlgn="auto">
              <a:lnSpc>
                <a:spcPct val="150000"/>
              </a:lnSpc>
              <a:spcBef>
                <a:spcPts val="0"/>
              </a:spcBef>
              <a:spcAft>
                <a:spcPts val="0"/>
              </a:spcAft>
              <a:buClrTx/>
              <a:buSzPct val="25000"/>
              <a:buFontTx/>
              <a:buNone/>
              <a:tabLst/>
              <a:defRPr kumimoji="0" sz="1400" b="0" i="0" u="none" strike="noStrike" cap="none" spc="0" normalizeH="0" baseline="0">
                <a:ln>
                  <a:noFill/>
                </a:ln>
                <a:solidFill>
                  <a:schemeClr val="tx1">
                    <a:lumMod val="65000"/>
                    <a:lumOff val="35000"/>
                  </a:schemeClr>
                </a:solidFill>
                <a:effectLst/>
                <a:uLnTx/>
                <a:uFillTx/>
                <a:latin typeface="+mn-ea"/>
              </a:defRPr>
            </a:lvl1pPr>
          </a:lstStyle>
          <a:p>
            <a:pPr marL="0" marR="0" lvl="0" indent="0" algn="just" defTabSz="913765" rtl="0" eaLnBrk="1" fontAlgn="auto" latinLnBrk="0" hangingPunct="1">
              <a:lnSpc>
                <a:spcPct val="150000"/>
              </a:lnSpc>
              <a:spcBef>
                <a:spcPts val="0"/>
              </a:spcBef>
              <a:spcAft>
                <a:spcPts val="0"/>
              </a:spcAft>
              <a:buClrTx/>
              <a:buSzPct val="25000"/>
              <a:buFontTx/>
              <a:buNone/>
              <a:tabLst/>
              <a:defRPr/>
            </a:pPr>
            <a:r>
              <a:rPr kumimoji="0" lang="zh-CN" altLang="en-US" sz="1200" b="0" i="0" u="none" strike="noStrike" kern="1200" cap="none" spc="0" normalizeH="0" baseline="0" noProof="0" dirty="0">
                <a:ln>
                  <a:noFill/>
                </a:ln>
                <a:solidFill>
                  <a:prstClr val="black">
                    <a:lumMod val="65000"/>
                    <a:lumOff val="35000"/>
                  </a:prstClr>
                </a:solidFill>
                <a:effectLst/>
                <a:uLnTx/>
                <a:uFillTx/>
                <a:latin typeface="OPPOSans L" panose="00020600040101010101" pitchFamily="18" charset="-122"/>
                <a:ea typeface="OPPOSans L" panose="00020600040101010101" pitchFamily="18" charset="-122"/>
                <a:cs typeface="+mn-cs"/>
              </a:rPr>
              <a:t>不论你是销售、策划、学生、</a:t>
            </a:r>
            <a:r>
              <a:rPr kumimoji="0" lang="en-US" altLang="zh-CN" sz="1200" b="0" i="0" u="none" strike="noStrike" kern="1200" cap="none" spc="0" normalizeH="0" baseline="0" noProof="0" dirty="0">
                <a:ln>
                  <a:noFill/>
                </a:ln>
                <a:solidFill>
                  <a:prstClr val="black">
                    <a:lumMod val="65000"/>
                    <a:lumOff val="35000"/>
                  </a:prstClr>
                </a:solidFill>
                <a:effectLst/>
                <a:uLnTx/>
                <a:uFillTx/>
                <a:latin typeface="OPPOSans L" panose="00020600040101010101" pitchFamily="18" charset="-122"/>
                <a:ea typeface="OPPOSans L" panose="00020600040101010101" pitchFamily="18" charset="-122"/>
                <a:cs typeface="+mn-cs"/>
              </a:rPr>
              <a:t>PPT</a:t>
            </a:r>
            <a:r>
              <a:rPr kumimoji="0" lang="zh-CN" altLang="en-US" sz="1200" b="0" i="0" u="none" strike="noStrike" kern="1200" cap="none" spc="0" normalizeH="0" baseline="0" noProof="0" dirty="0">
                <a:ln>
                  <a:noFill/>
                </a:ln>
                <a:solidFill>
                  <a:prstClr val="black">
                    <a:lumMod val="65000"/>
                    <a:lumOff val="35000"/>
                  </a:prstClr>
                </a:solidFill>
                <a:effectLst/>
                <a:uLnTx/>
                <a:uFillTx/>
                <a:latin typeface="OPPOSans L" panose="00020600040101010101" pitchFamily="18" charset="-122"/>
                <a:ea typeface="OPPOSans L" panose="00020600040101010101" pitchFamily="18" charset="-122"/>
                <a:cs typeface="+mn-cs"/>
              </a:rPr>
              <a:t>爱好者，都能在秋叶</a:t>
            </a:r>
            <a:r>
              <a:rPr kumimoji="0" lang="en-US" altLang="zh-CN" sz="1200" b="0" i="0" u="none" strike="noStrike" kern="1200" cap="none" spc="0" normalizeH="0" baseline="0" noProof="0" dirty="0">
                <a:ln>
                  <a:noFill/>
                </a:ln>
                <a:solidFill>
                  <a:prstClr val="black">
                    <a:lumMod val="65000"/>
                    <a:lumOff val="35000"/>
                  </a:prstClr>
                </a:solidFill>
                <a:effectLst/>
                <a:uLnTx/>
                <a:uFillTx/>
                <a:latin typeface="OPPOSans L" panose="00020600040101010101" pitchFamily="18" charset="-122"/>
                <a:ea typeface="OPPOSans L" panose="00020600040101010101" pitchFamily="18" charset="-122"/>
                <a:cs typeface="+mn-cs"/>
              </a:rPr>
              <a:t>PPT</a:t>
            </a:r>
            <a:r>
              <a:rPr kumimoji="0" lang="zh-CN" altLang="en-US" sz="1200" b="0" i="0" u="none" strike="noStrike" kern="1200" cap="none" spc="0" normalizeH="0" baseline="0" noProof="0" dirty="0">
                <a:ln>
                  <a:noFill/>
                </a:ln>
                <a:solidFill>
                  <a:prstClr val="black">
                    <a:lumMod val="65000"/>
                    <a:lumOff val="35000"/>
                  </a:prstClr>
                </a:solidFill>
                <a:effectLst/>
                <a:uLnTx/>
                <a:uFillTx/>
                <a:latin typeface="OPPOSans L" panose="00020600040101010101" pitchFamily="18" charset="-122"/>
                <a:ea typeface="OPPOSans L" panose="00020600040101010101" pitchFamily="18" charset="-122"/>
                <a:cs typeface="+mn-cs"/>
              </a:rPr>
              <a:t>找到适合的模板。</a:t>
            </a:r>
          </a:p>
        </p:txBody>
      </p:sp>
      <p:sp>
        <p:nvSpPr>
          <p:cNvPr id="149" name="稿定PPT-6-4">
            <a:extLst>
              <a:ext uri="{FF2B5EF4-FFF2-40B4-BE49-F238E27FC236}">
                <a16:creationId xmlns:a16="http://schemas.microsoft.com/office/drawing/2014/main" id="{08222EDE-CE49-4C55-B714-0D3C33600B7A}"/>
              </a:ext>
            </a:extLst>
          </p:cNvPr>
          <p:cNvSpPr txBox="1"/>
          <p:nvPr/>
        </p:nvSpPr>
        <p:spPr>
          <a:xfrm flipH="1">
            <a:off x="8914152" y="3308649"/>
            <a:ext cx="957883" cy="184666"/>
          </a:xfrm>
          <a:prstGeom prst="rect">
            <a:avLst/>
          </a:prstGeom>
          <a:noFill/>
          <a:ln>
            <a:noFill/>
            <a:prstDash val="sysDot"/>
            <a:miter lim="800000"/>
          </a:ln>
        </p:spPr>
        <p:txBody>
          <a:bodyPr wrap="square" lIns="0" tIns="0" rIns="0" bIns="0" rtlCol="0" anchor="b">
            <a:spAutoFit/>
          </a:bodyPr>
          <a:lstStyle>
            <a:defPPr>
              <a:defRPr lang="zh-CN"/>
            </a:defPPr>
            <a:lvl1pPr>
              <a:defRPr kumimoji="0" b="1" i="0" u="none" strike="noStrike" cap="none" spc="0" normalizeH="0" baseline="0">
                <a:ln>
                  <a:noFill/>
                </a:ln>
                <a:effectLst/>
                <a:uLnTx/>
                <a:uFillTx/>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200" b="0" i="0" u="none" strike="noStrike" kern="1200" cap="none" spc="0" normalizeH="0" baseline="0" noProof="0" dirty="0">
                <a:ln>
                  <a:noFill/>
                </a:ln>
                <a:gradFill>
                  <a:gsLst>
                    <a:gs pos="0">
                      <a:srgbClr val="44312B"/>
                    </a:gs>
                    <a:gs pos="100000">
                      <a:srgbClr val="8F4B28"/>
                    </a:gs>
                  </a:gsLst>
                  <a:lin ang="5400000" scaled="1"/>
                </a:gradFill>
                <a:effectLst/>
                <a:uLnTx/>
                <a:uFillTx/>
                <a:latin typeface="OPPOSans M" panose="00020600040101010101" pitchFamily="18" charset="-122"/>
                <a:ea typeface="OPPOSans M" panose="00020600040101010101" pitchFamily="18" charset="-122"/>
                <a:cs typeface="+mn-cs"/>
              </a:rPr>
              <a:t>更快更轻松</a:t>
            </a:r>
          </a:p>
        </p:txBody>
      </p:sp>
      <p:sp>
        <p:nvSpPr>
          <p:cNvPr id="151" name="任意多边形: 形状 150">
            <a:extLst>
              <a:ext uri="{FF2B5EF4-FFF2-40B4-BE49-F238E27FC236}">
                <a16:creationId xmlns:a16="http://schemas.microsoft.com/office/drawing/2014/main" id="{DEFB45A1-602B-4324-A197-069DF4721597}"/>
              </a:ext>
            </a:extLst>
          </p:cNvPr>
          <p:cNvSpPr/>
          <p:nvPr/>
        </p:nvSpPr>
        <p:spPr>
          <a:xfrm rot="16200000" flipH="1">
            <a:off x="8587758" y="3363478"/>
            <a:ext cx="86510" cy="56318"/>
          </a:xfrm>
          <a:custGeom>
            <a:avLst/>
            <a:gdLst>
              <a:gd name="connsiteX0" fmla="*/ 0 w 541041"/>
              <a:gd name="connsiteY0" fmla="*/ 352216 h 352216"/>
              <a:gd name="connsiteX1" fmla="*/ 69719 w 541041"/>
              <a:gd name="connsiteY1" fmla="*/ 309979 h 352216"/>
              <a:gd name="connsiteX2" fmla="*/ 242350 w 541041"/>
              <a:gd name="connsiteY2" fmla="*/ 70918 h 352216"/>
              <a:gd name="connsiteX3" fmla="*/ 270901 w 541041"/>
              <a:gd name="connsiteY3" fmla="*/ 0 h 352216"/>
              <a:gd name="connsiteX4" fmla="*/ 314977 w 541041"/>
              <a:gd name="connsiteY4" fmla="*/ 104256 h 352216"/>
              <a:gd name="connsiteX5" fmla="*/ 471321 w 541041"/>
              <a:gd name="connsiteY5" fmla="*/ 309978 h 352216"/>
              <a:gd name="connsiteX6" fmla="*/ 541041 w 541041"/>
              <a:gd name="connsiteY6" fmla="*/ 352216 h 352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1041" h="352216">
                <a:moveTo>
                  <a:pt x="0" y="352216"/>
                </a:moveTo>
                <a:lnTo>
                  <a:pt x="69719" y="309979"/>
                </a:lnTo>
                <a:cubicBezTo>
                  <a:pt x="135921" y="255331"/>
                  <a:pt x="194716" y="173202"/>
                  <a:pt x="242350" y="70918"/>
                </a:cubicBezTo>
                <a:lnTo>
                  <a:pt x="270901" y="0"/>
                </a:lnTo>
                <a:lnTo>
                  <a:pt x="314977" y="104256"/>
                </a:lnTo>
                <a:cubicBezTo>
                  <a:pt x="359482" y="191113"/>
                  <a:pt x="412475" y="261403"/>
                  <a:pt x="471321" y="309978"/>
                </a:cubicBezTo>
                <a:lnTo>
                  <a:pt x="541041" y="352216"/>
                </a:lnTo>
                <a:close/>
              </a:path>
            </a:pathLst>
          </a:custGeom>
          <a:gradFill>
            <a:gsLst>
              <a:gs pos="0">
                <a:schemeClr val="accent2"/>
              </a:gs>
              <a:gs pos="100000">
                <a:schemeClr val="accent4"/>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white"/>
              </a:solidFill>
              <a:effectLst/>
              <a:uLnTx/>
              <a:uFillTx/>
              <a:latin typeface="OPPOSans L"/>
              <a:ea typeface="OPPOSans L" panose="00020600040101010101" pitchFamily="18" charset="-122"/>
              <a:cs typeface="+mn-cs"/>
            </a:endParaRPr>
          </a:p>
        </p:txBody>
      </p:sp>
      <p:sp>
        <p:nvSpPr>
          <p:cNvPr id="152" name="任意多边形: 形状 151">
            <a:extLst>
              <a:ext uri="{FF2B5EF4-FFF2-40B4-BE49-F238E27FC236}">
                <a16:creationId xmlns:a16="http://schemas.microsoft.com/office/drawing/2014/main" id="{58A8B8F3-EA31-4F60-AC1A-C57D5405F0F6}"/>
              </a:ext>
            </a:extLst>
          </p:cNvPr>
          <p:cNvSpPr/>
          <p:nvPr/>
        </p:nvSpPr>
        <p:spPr>
          <a:xfrm rot="16200000" flipH="1">
            <a:off x="8674381" y="3363478"/>
            <a:ext cx="86511" cy="56319"/>
          </a:xfrm>
          <a:custGeom>
            <a:avLst/>
            <a:gdLst>
              <a:gd name="connsiteX0" fmla="*/ 0 w 541041"/>
              <a:gd name="connsiteY0" fmla="*/ 352216 h 352216"/>
              <a:gd name="connsiteX1" fmla="*/ 69719 w 541041"/>
              <a:gd name="connsiteY1" fmla="*/ 309979 h 352216"/>
              <a:gd name="connsiteX2" fmla="*/ 242350 w 541041"/>
              <a:gd name="connsiteY2" fmla="*/ 70918 h 352216"/>
              <a:gd name="connsiteX3" fmla="*/ 270901 w 541041"/>
              <a:gd name="connsiteY3" fmla="*/ 0 h 352216"/>
              <a:gd name="connsiteX4" fmla="*/ 314977 w 541041"/>
              <a:gd name="connsiteY4" fmla="*/ 104256 h 352216"/>
              <a:gd name="connsiteX5" fmla="*/ 471321 w 541041"/>
              <a:gd name="connsiteY5" fmla="*/ 309978 h 352216"/>
              <a:gd name="connsiteX6" fmla="*/ 541041 w 541041"/>
              <a:gd name="connsiteY6" fmla="*/ 352216 h 352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1041" h="352216">
                <a:moveTo>
                  <a:pt x="0" y="352216"/>
                </a:moveTo>
                <a:lnTo>
                  <a:pt x="69719" y="309979"/>
                </a:lnTo>
                <a:cubicBezTo>
                  <a:pt x="135921" y="255331"/>
                  <a:pt x="194716" y="173202"/>
                  <a:pt x="242350" y="70918"/>
                </a:cubicBezTo>
                <a:lnTo>
                  <a:pt x="270901" y="0"/>
                </a:lnTo>
                <a:lnTo>
                  <a:pt x="314977" y="104256"/>
                </a:lnTo>
                <a:cubicBezTo>
                  <a:pt x="359482" y="191113"/>
                  <a:pt x="412475" y="261403"/>
                  <a:pt x="471321" y="309978"/>
                </a:cubicBezTo>
                <a:lnTo>
                  <a:pt x="541041" y="352216"/>
                </a:lnTo>
                <a:close/>
              </a:path>
            </a:pathLst>
          </a:custGeom>
          <a:gradFill>
            <a:gsLst>
              <a:gs pos="0">
                <a:schemeClr val="accent2"/>
              </a:gs>
              <a:gs pos="100000">
                <a:schemeClr val="accent4"/>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white"/>
              </a:solidFill>
              <a:effectLst/>
              <a:uLnTx/>
              <a:uFillTx/>
              <a:latin typeface="OPPOSans L"/>
              <a:ea typeface="OPPOSans L" panose="00020600040101010101" pitchFamily="18" charset="-122"/>
              <a:cs typeface="+mn-cs"/>
            </a:endParaRPr>
          </a:p>
        </p:txBody>
      </p:sp>
      <p:sp>
        <p:nvSpPr>
          <p:cNvPr id="153" name="任意多边形: 形状 152">
            <a:extLst>
              <a:ext uri="{FF2B5EF4-FFF2-40B4-BE49-F238E27FC236}">
                <a16:creationId xmlns:a16="http://schemas.microsoft.com/office/drawing/2014/main" id="{2FE61D24-5520-427C-B4FF-C3C6E442A03E}"/>
              </a:ext>
            </a:extLst>
          </p:cNvPr>
          <p:cNvSpPr/>
          <p:nvPr/>
        </p:nvSpPr>
        <p:spPr>
          <a:xfrm rot="16200000" flipH="1">
            <a:off x="8761007" y="3363478"/>
            <a:ext cx="86511" cy="56319"/>
          </a:xfrm>
          <a:custGeom>
            <a:avLst/>
            <a:gdLst>
              <a:gd name="connsiteX0" fmla="*/ 0 w 541041"/>
              <a:gd name="connsiteY0" fmla="*/ 352216 h 352216"/>
              <a:gd name="connsiteX1" fmla="*/ 69719 w 541041"/>
              <a:gd name="connsiteY1" fmla="*/ 309979 h 352216"/>
              <a:gd name="connsiteX2" fmla="*/ 242350 w 541041"/>
              <a:gd name="connsiteY2" fmla="*/ 70918 h 352216"/>
              <a:gd name="connsiteX3" fmla="*/ 270901 w 541041"/>
              <a:gd name="connsiteY3" fmla="*/ 0 h 352216"/>
              <a:gd name="connsiteX4" fmla="*/ 314977 w 541041"/>
              <a:gd name="connsiteY4" fmla="*/ 104256 h 352216"/>
              <a:gd name="connsiteX5" fmla="*/ 471321 w 541041"/>
              <a:gd name="connsiteY5" fmla="*/ 309978 h 352216"/>
              <a:gd name="connsiteX6" fmla="*/ 541041 w 541041"/>
              <a:gd name="connsiteY6" fmla="*/ 352216 h 352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1041" h="352216">
                <a:moveTo>
                  <a:pt x="0" y="352216"/>
                </a:moveTo>
                <a:lnTo>
                  <a:pt x="69719" y="309979"/>
                </a:lnTo>
                <a:cubicBezTo>
                  <a:pt x="135921" y="255331"/>
                  <a:pt x="194716" y="173202"/>
                  <a:pt x="242350" y="70918"/>
                </a:cubicBezTo>
                <a:lnTo>
                  <a:pt x="270901" y="0"/>
                </a:lnTo>
                <a:lnTo>
                  <a:pt x="314977" y="104256"/>
                </a:lnTo>
                <a:cubicBezTo>
                  <a:pt x="359482" y="191113"/>
                  <a:pt x="412475" y="261403"/>
                  <a:pt x="471321" y="309978"/>
                </a:cubicBezTo>
                <a:lnTo>
                  <a:pt x="541041" y="352216"/>
                </a:lnTo>
                <a:close/>
              </a:path>
            </a:pathLst>
          </a:custGeom>
          <a:gradFill>
            <a:gsLst>
              <a:gs pos="0">
                <a:schemeClr val="accent2"/>
              </a:gs>
              <a:gs pos="100000">
                <a:schemeClr val="accent4"/>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white"/>
              </a:solidFill>
              <a:effectLst/>
              <a:uLnTx/>
              <a:uFillTx/>
              <a:latin typeface="OPPOSans L"/>
              <a:ea typeface="OPPOSans L" panose="00020600040101010101" pitchFamily="18" charset="-122"/>
              <a:cs typeface="+mn-cs"/>
            </a:endParaRPr>
          </a:p>
        </p:txBody>
      </p:sp>
      <p:sp>
        <p:nvSpPr>
          <p:cNvPr id="141" name="稿定PPT-6-4">
            <a:extLst>
              <a:ext uri="{FF2B5EF4-FFF2-40B4-BE49-F238E27FC236}">
                <a16:creationId xmlns:a16="http://schemas.microsoft.com/office/drawing/2014/main" id="{9DD16E1A-6D5E-4783-93F0-2336EA0F0B85}"/>
              </a:ext>
            </a:extLst>
          </p:cNvPr>
          <p:cNvSpPr txBox="1"/>
          <p:nvPr/>
        </p:nvSpPr>
        <p:spPr>
          <a:xfrm flipH="1">
            <a:off x="8595999" y="3972393"/>
            <a:ext cx="1242862" cy="246221"/>
          </a:xfrm>
          <a:prstGeom prst="rect">
            <a:avLst/>
          </a:prstGeom>
          <a:noFill/>
          <a:ln>
            <a:noFill/>
            <a:prstDash val="sysDot"/>
            <a:miter lim="800000"/>
          </a:ln>
        </p:spPr>
        <p:txBody>
          <a:bodyPr wrap="square" lIns="0" tIns="0" rIns="0" bIns="0" rtlCol="0" anchor="b">
            <a:spAutoFit/>
          </a:bodyPr>
          <a:lstStyle>
            <a:defPPr>
              <a:defRPr lang="zh-CN"/>
            </a:defPPr>
            <a:lvl1pPr>
              <a:defRPr kumimoji="0" b="1" i="0" u="none" strike="noStrike" cap="none" spc="0" normalizeH="0" baseline="0">
                <a:ln>
                  <a:noFill/>
                </a:ln>
                <a:effectLst/>
                <a:uLnTx/>
                <a:uFillTx/>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zh-CN" altLang="en-US" sz="1600" b="0" i="0" u="none" strike="noStrike" kern="1200" cap="none" spc="0" normalizeH="0" baseline="0" noProof="0" dirty="0">
                <a:ln>
                  <a:noFill/>
                </a:ln>
                <a:gradFill>
                  <a:gsLst>
                    <a:gs pos="0">
                      <a:srgbClr val="44312B"/>
                    </a:gs>
                    <a:gs pos="100000">
                      <a:srgbClr val="8F4B28"/>
                    </a:gs>
                  </a:gsLst>
                  <a:lin ang="5400000" scaled="1"/>
                </a:gradFill>
                <a:effectLst/>
                <a:uLnTx/>
                <a:uFillTx/>
                <a:latin typeface="OPPOSans M" panose="00020600040101010101" pitchFamily="18" charset="-122"/>
                <a:ea typeface="OPPOSans M" panose="00020600040101010101" pitchFamily="18" charset="-122"/>
                <a:cs typeface="+mn-cs"/>
              </a:rPr>
              <a:t>秋叶</a:t>
            </a:r>
            <a:r>
              <a:rPr kumimoji="0" lang="en-US" altLang="zh-CN" sz="1600" b="0" i="0" u="none" strike="noStrike" kern="1200" cap="none" spc="0" normalizeH="0" baseline="0" noProof="0" dirty="0">
                <a:ln>
                  <a:noFill/>
                </a:ln>
                <a:gradFill>
                  <a:gsLst>
                    <a:gs pos="0">
                      <a:srgbClr val="44312B"/>
                    </a:gs>
                    <a:gs pos="100000">
                      <a:srgbClr val="8F4B28"/>
                    </a:gs>
                  </a:gsLst>
                  <a:lin ang="5400000" scaled="1"/>
                </a:gradFill>
                <a:effectLst/>
                <a:uLnTx/>
                <a:uFillTx/>
                <a:latin typeface="OPPOSans M" panose="00020600040101010101" pitchFamily="18" charset="-122"/>
                <a:ea typeface="OPPOSans M" panose="00020600040101010101" pitchFamily="18" charset="-122"/>
                <a:cs typeface="+mn-cs"/>
              </a:rPr>
              <a:t>PPT</a:t>
            </a:r>
            <a:endParaRPr kumimoji="0" lang="zh-CN" altLang="en-US" sz="1600" b="0" i="0" u="none" strike="noStrike" kern="1200" cap="none" spc="0" normalizeH="0" baseline="0" noProof="0" dirty="0">
              <a:ln>
                <a:noFill/>
              </a:ln>
              <a:gradFill>
                <a:gsLst>
                  <a:gs pos="0">
                    <a:srgbClr val="44312B"/>
                  </a:gs>
                  <a:gs pos="100000">
                    <a:srgbClr val="8F4B28"/>
                  </a:gs>
                </a:gsLst>
                <a:lin ang="5400000" scaled="1"/>
              </a:gradFill>
              <a:effectLst/>
              <a:uLnTx/>
              <a:uFillTx/>
              <a:latin typeface="OPPOSans M" panose="00020600040101010101" pitchFamily="18" charset="-122"/>
              <a:ea typeface="OPPOSans M" panose="00020600040101010101" pitchFamily="18" charset="-122"/>
              <a:cs typeface="+mn-cs"/>
            </a:endParaRPr>
          </a:p>
        </p:txBody>
      </p:sp>
      <p:sp>
        <p:nvSpPr>
          <p:cNvPr id="143" name="任意多边形: 形状 142">
            <a:extLst>
              <a:ext uri="{FF2B5EF4-FFF2-40B4-BE49-F238E27FC236}">
                <a16:creationId xmlns:a16="http://schemas.microsoft.com/office/drawing/2014/main" id="{9FE4DF4B-0CE0-4F1F-B998-7D0129600E9A}"/>
              </a:ext>
            </a:extLst>
          </p:cNvPr>
          <p:cNvSpPr/>
          <p:nvPr/>
        </p:nvSpPr>
        <p:spPr>
          <a:xfrm rot="16200000" flipH="1">
            <a:off x="8558616" y="4054216"/>
            <a:ext cx="135833" cy="88429"/>
          </a:xfrm>
          <a:custGeom>
            <a:avLst/>
            <a:gdLst>
              <a:gd name="connsiteX0" fmla="*/ 0 w 541041"/>
              <a:gd name="connsiteY0" fmla="*/ 352216 h 352216"/>
              <a:gd name="connsiteX1" fmla="*/ 69719 w 541041"/>
              <a:gd name="connsiteY1" fmla="*/ 309979 h 352216"/>
              <a:gd name="connsiteX2" fmla="*/ 242350 w 541041"/>
              <a:gd name="connsiteY2" fmla="*/ 70918 h 352216"/>
              <a:gd name="connsiteX3" fmla="*/ 270901 w 541041"/>
              <a:gd name="connsiteY3" fmla="*/ 0 h 352216"/>
              <a:gd name="connsiteX4" fmla="*/ 314977 w 541041"/>
              <a:gd name="connsiteY4" fmla="*/ 104256 h 352216"/>
              <a:gd name="connsiteX5" fmla="*/ 471321 w 541041"/>
              <a:gd name="connsiteY5" fmla="*/ 309978 h 352216"/>
              <a:gd name="connsiteX6" fmla="*/ 541041 w 541041"/>
              <a:gd name="connsiteY6" fmla="*/ 352216 h 352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1041" h="352216">
                <a:moveTo>
                  <a:pt x="0" y="352216"/>
                </a:moveTo>
                <a:lnTo>
                  <a:pt x="69719" y="309979"/>
                </a:lnTo>
                <a:cubicBezTo>
                  <a:pt x="135921" y="255331"/>
                  <a:pt x="194716" y="173202"/>
                  <a:pt x="242350" y="70918"/>
                </a:cubicBezTo>
                <a:lnTo>
                  <a:pt x="270901" y="0"/>
                </a:lnTo>
                <a:lnTo>
                  <a:pt x="314977" y="104256"/>
                </a:lnTo>
                <a:cubicBezTo>
                  <a:pt x="359482" y="191113"/>
                  <a:pt x="412475" y="261403"/>
                  <a:pt x="471321" y="309978"/>
                </a:cubicBezTo>
                <a:lnTo>
                  <a:pt x="541041" y="352216"/>
                </a:lnTo>
                <a:close/>
              </a:path>
            </a:pathLst>
          </a:custGeom>
          <a:gradFill>
            <a:gsLst>
              <a:gs pos="0">
                <a:schemeClr val="accent2"/>
              </a:gs>
              <a:gs pos="100000">
                <a:schemeClr val="accent4"/>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white"/>
              </a:solidFill>
              <a:effectLst/>
              <a:uLnTx/>
              <a:uFillTx/>
              <a:latin typeface="OPPOSans L"/>
              <a:ea typeface="OPPOSans L" panose="00020600040101010101" pitchFamily="18" charset="-122"/>
              <a:cs typeface="+mn-cs"/>
            </a:endParaRPr>
          </a:p>
        </p:txBody>
      </p:sp>
      <p:sp>
        <p:nvSpPr>
          <p:cNvPr id="144" name="任意多边形: 形状 143">
            <a:extLst>
              <a:ext uri="{FF2B5EF4-FFF2-40B4-BE49-F238E27FC236}">
                <a16:creationId xmlns:a16="http://schemas.microsoft.com/office/drawing/2014/main" id="{26C1ADE5-77A0-4519-964C-CBB40ABD8DD3}"/>
              </a:ext>
            </a:extLst>
          </p:cNvPr>
          <p:cNvSpPr/>
          <p:nvPr/>
        </p:nvSpPr>
        <p:spPr>
          <a:xfrm rot="16200000" flipH="1">
            <a:off x="8694629" y="4054219"/>
            <a:ext cx="135834" cy="88430"/>
          </a:xfrm>
          <a:custGeom>
            <a:avLst/>
            <a:gdLst>
              <a:gd name="connsiteX0" fmla="*/ 0 w 541041"/>
              <a:gd name="connsiteY0" fmla="*/ 352216 h 352216"/>
              <a:gd name="connsiteX1" fmla="*/ 69719 w 541041"/>
              <a:gd name="connsiteY1" fmla="*/ 309979 h 352216"/>
              <a:gd name="connsiteX2" fmla="*/ 242350 w 541041"/>
              <a:gd name="connsiteY2" fmla="*/ 70918 h 352216"/>
              <a:gd name="connsiteX3" fmla="*/ 270901 w 541041"/>
              <a:gd name="connsiteY3" fmla="*/ 0 h 352216"/>
              <a:gd name="connsiteX4" fmla="*/ 314977 w 541041"/>
              <a:gd name="connsiteY4" fmla="*/ 104256 h 352216"/>
              <a:gd name="connsiteX5" fmla="*/ 471321 w 541041"/>
              <a:gd name="connsiteY5" fmla="*/ 309978 h 352216"/>
              <a:gd name="connsiteX6" fmla="*/ 541041 w 541041"/>
              <a:gd name="connsiteY6" fmla="*/ 352216 h 352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1041" h="352216">
                <a:moveTo>
                  <a:pt x="0" y="352216"/>
                </a:moveTo>
                <a:lnTo>
                  <a:pt x="69719" y="309979"/>
                </a:lnTo>
                <a:cubicBezTo>
                  <a:pt x="135921" y="255331"/>
                  <a:pt x="194716" y="173202"/>
                  <a:pt x="242350" y="70918"/>
                </a:cubicBezTo>
                <a:lnTo>
                  <a:pt x="270901" y="0"/>
                </a:lnTo>
                <a:lnTo>
                  <a:pt x="314977" y="104256"/>
                </a:lnTo>
                <a:cubicBezTo>
                  <a:pt x="359482" y="191113"/>
                  <a:pt x="412475" y="261403"/>
                  <a:pt x="471321" y="309978"/>
                </a:cubicBezTo>
                <a:lnTo>
                  <a:pt x="541041" y="352216"/>
                </a:lnTo>
                <a:close/>
              </a:path>
            </a:pathLst>
          </a:custGeom>
          <a:gradFill>
            <a:gsLst>
              <a:gs pos="0">
                <a:schemeClr val="accent2"/>
              </a:gs>
              <a:gs pos="100000">
                <a:schemeClr val="accent4"/>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white"/>
              </a:solidFill>
              <a:effectLst/>
              <a:uLnTx/>
              <a:uFillTx/>
              <a:latin typeface="OPPOSans L"/>
              <a:ea typeface="OPPOSans L" panose="00020600040101010101" pitchFamily="18" charset="-122"/>
              <a:cs typeface="+mn-cs"/>
            </a:endParaRPr>
          </a:p>
        </p:txBody>
      </p:sp>
      <p:sp>
        <p:nvSpPr>
          <p:cNvPr id="145" name="任意多边形: 形状 144">
            <a:extLst>
              <a:ext uri="{FF2B5EF4-FFF2-40B4-BE49-F238E27FC236}">
                <a16:creationId xmlns:a16="http://schemas.microsoft.com/office/drawing/2014/main" id="{A2924F90-EDF7-44E5-9681-CA92C504A257}"/>
              </a:ext>
            </a:extLst>
          </p:cNvPr>
          <p:cNvSpPr/>
          <p:nvPr/>
        </p:nvSpPr>
        <p:spPr>
          <a:xfrm rot="16200000" flipH="1">
            <a:off x="8830647" y="4054219"/>
            <a:ext cx="135834" cy="88430"/>
          </a:xfrm>
          <a:custGeom>
            <a:avLst/>
            <a:gdLst>
              <a:gd name="connsiteX0" fmla="*/ 0 w 541041"/>
              <a:gd name="connsiteY0" fmla="*/ 352216 h 352216"/>
              <a:gd name="connsiteX1" fmla="*/ 69719 w 541041"/>
              <a:gd name="connsiteY1" fmla="*/ 309979 h 352216"/>
              <a:gd name="connsiteX2" fmla="*/ 242350 w 541041"/>
              <a:gd name="connsiteY2" fmla="*/ 70918 h 352216"/>
              <a:gd name="connsiteX3" fmla="*/ 270901 w 541041"/>
              <a:gd name="connsiteY3" fmla="*/ 0 h 352216"/>
              <a:gd name="connsiteX4" fmla="*/ 314977 w 541041"/>
              <a:gd name="connsiteY4" fmla="*/ 104256 h 352216"/>
              <a:gd name="connsiteX5" fmla="*/ 471321 w 541041"/>
              <a:gd name="connsiteY5" fmla="*/ 309978 h 352216"/>
              <a:gd name="connsiteX6" fmla="*/ 541041 w 541041"/>
              <a:gd name="connsiteY6" fmla="*/ 352216 h 352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1041" h="352216">
                <a:moveTo>
                  <a:pt x="0" y="352216"/>
                </a:moveTo>
                <a:lnTo>
                  <a:pt x="69719" y="309979"/>
                </a:lnTo>
                <a:cubicBezTo>
                  <a:pt x="135921" y="255331"/>
                  <a:pt x="194716" y="173202"/>
                  <a:pt x="242350" y="70918"/>
                </a:cubicBezTo>
                <a:lnTo>
                  <a:pt x="270901" y="0"/>
                </a:lnTo>
                <a:lnTo>
                  <a:pt x="314977" y="104256"/>
                </a:lnTo>
                <a:cubicBezTo>
                  <a:pt x="359482" y="191113"/>
                  <a:pt x="412475" y="261403"/>
                  <a:pt x="471321" y="309978"/>
                </a:cubicBezTo>
                <a:lnTo>
                  <a:pt x="541041" y="352216"/>
                </a:lnTo>
                <a:close/>
              </a:path>
            </a:pathLst>
          </a:custGeom>
          <a:gradFill>
            <a:gsLst>
              <a:gs pos="0">
                <a:schemeClr val="accent2"/>
              </a:gs>
              <a:gs pos="100000">
                <a:schemeClr val="accent4"/>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white"/>
              </a:solidFill>
              <a:effectLst/>
              <a:uLnTx/>
              <a:uFillTx/>
              <a:latin typeface="OPPOSans L"/>
              <a:ea typeface="OPPOSans L" panose="00020600040101010101" pitchFamily="18" charset="-122"/>
              <a:cs typeface="+mn-cs"/>
            </a:endParaRPr>
          </a:p>
        </p:txBody>
      </p:sp>
      <p:sp>
        <p:nvSpPr>
          <p:cNvPr id="134" name="稿定PPT-11-2">
            <a:extLst>
              <a:ext uri="{FF2B5EF4-FFF2-40B4-BE49-F238E27FC236}">
                <a16:creationId xmlns:a16="http://schemas.microsoft.com/office/drawing/2014/main" id="{22F66C2A-4421-40B7-A71D-F3E0A777D4CA}"/>
              </a:ext>
            </a:extLst>
          </p:cNvPr>
          <p:cNvSpPr txBox="1"/>
          <p:nvPr/>
        </p:nvSpPr>
        <p:spPr>
          <a:xfrm flipH="1">
            <a:off x="8036440" y="4471280"/>
            <a:ext cx="1818799" cy="806439"/>
          </a:xfrm>
          <a:prstGeom prst="rect">
            <a:avLst/>
          </a:prstGeom>
          <a:noFill/>
          <a:ln>
            <a:noFill/>
          </a:ln>
        </p:spPr>
        <p:txBody>
          <a:bodyPr wrap="square" lIns="0" tIns="0" rIns="0" bIns="0" anchor="t" anchorCtr="0">
            <a:spAutoFit/>
          </a:bodyPr>
          <a:lstStyle>
            <a:defPPr>
              <a:defRPr lang="zh-CN"/>
            </a:defPPr>
            <a:lvl1pPr marR="0" lvl="0" indent="0" algn="just" defTabSz="913765" fontAlgn="auto">
              <a:lnSpc>
                <a:spcPct val="150000"/>
              </a:lnSpc>
              <a:spcBef>
                <a:spcPts val="0"/>
              </a:spcBef>
              <a:spcAft>
                <a:spcPts val="0"/>
              </a:spcAft>
              <a:buClrTx/>
              <a:buSzPct val="25000"/>
              <a:buFontTx/>
              <a:buNone/>
              <a:tabLst/>
              <a:defRPr kumimoji="0" sz="1400" b="0" i="0" u="none" strike="noStrike" cap="none" spc="0" normalizeH="0" baseline="0">
                <a:ln>
                  <a:noFill/>
                </a:ln>
                <a:solidFill>
                  <a:schemeClr val="tx1">
                    <a:lumMod val="65000"/>
                    <a:lumOff val="35000"/>
                  </a:schemeClr>
                </a:solidFill>
                <a:effectLst/>
                <a:uLnTx/>
                <a:uFillTx/>
                <a:latin typeface="+mn-ea"/>
              </a:defRPr>
            </a:lvl1pPr>
          </a:lstStyle>
          <a:p>
            <a:pPr marL="0" marR="0" lvl="0" indent="0" algn="just" defTabSz="913765" rtl="0" eaLnBrk="1" fontAlgn="auto" latinLnBrk="0" hangingPunct="1">
              <a:lnSpc>
                <a:spcPct val="150000"/>
              </a:lnSpc>
              <a:spcBef>
                <a:spcPts val="0"/>
              </a:spcBef>
              <a:spcAft>
                <a:spcPts val="0"/>
              </a:spcAft>
              <a:buClrTx/>
              <a:buSzPct val="25000"/>
              <a:buFontTx/>
              <a:buNone/>
              <a:tabLst/>
              <a:defRPr/>
            </a:pPr>
            <a:r>
              <a:rPr kumimoji="0" lang="zh-CN" altLang="en-US" sz="1200" b="0" i="0" u="none" strike="noStrike" kern="1200" cap="none" spc="0" normalizeH="0" baseline="0" noProof="0" dirty="0">
                <a:ln>
                  <a:noFill/>
                </a:ln>
                <a:solidFill>
                  <a:prstClr val="black">
                    <a:lumMod val="65000"/>
                    <a:lumOff val="35000"/>
                  </a:prstClr>
                </a:solidFill>
                <a:effectLst/>
                <a:uLnTx/>
                <a:uFillTx/>
                <a:latin typeface="OPPOSans L" panose="00020600040101010101" pitchFamily="18" charset="-122"/>
                <a:ea typeface="OPPOSans L" panose="00020600040101010101" pitchFamily="18" charset="-122"/>
                <a:cs typeface="+mn-cs"/>
              </a:rPr>
              <a:t>不论你是销售、策划、学生、</a:t>
            </a:r>
            <a:r>
              <a:rPr kumimoji="0" lang="en-US" altLang="zh-CN" sz="1200" b="0" i="0" u="none" strike="noStrike" kern="1200" cap="none" spc="0" normalizeH="0" baseline="0" noProof="0" dirty="0">
                <a:ln>
                  <a:noFill/>
                </a:ln>
                <a:solidFill>
                  <a:prstClr val="black">
                    <a:lumMod val="65000"/>
                    <a:lumOff val="35000"/>
                  </a:prstClr>
                </a:solidFill>
                <a:effectLst/>
                <a:uLnTx/>
                <a:uFillTx/>
                <a:latin typeface="OPPOSans L" panose="00020600040101010101" pitchFamily="18" charset="-122"/>
                <a:ea typeface="OPPOSans L" panose="00020600040101010101" pitchFamily="18" charset="-122"/>
                <a:cs typeface="+mn-cs"/>
              </a:rPr>
              <a:t>PPT</a:t>
            </a:r>
            <a:r>
              <a:rPr kumimoji="0" lang="zh-CN" altLang="en-US" sz="1200" b="0" i="0" u="none" strike="noStrike" kern="1200" cap="none" spc="0" normalizeH="0" baseline="0" noProof="0" dirty="0">
                <a:ln>
                  <a:noFill/>
                </a:ln>
                <a:solidFill>
                  <a:prstClr val="black">
                    <a:lumMod val="65000"/>
                    <a:lumOff val="35000"/>
                  </a:prstClr>
                </a:solidFill>
                <a:effectLst/>
                <a:uLnTx/>
                <a:uFillTx/>
                <a:latin typeface="OPPOSans L" panose="00020600040101010101" pitchFamily="18" charset="-122"/>
                <a:ea typeface="OPPOSans L" panose="00020600040101010101" pitchFamily="18" charset="-122"/>
                <a:cs typeface="+mn-cs"/>
              </a:rPr>
              <a:t>爱好者，都能在秋叶</a:t>
            </a:r>
            <a:r>
              <a:rPr kumimoji="0" lang="en-US" altLang="zh-CN" sz="1200" b="0" i="0" u="none" strike="noStrike" kern="1200" cap="none" spc="0" normalizeH="0" baseline="0" noProof="0" dirty="0">
                <a:ln>
                  <a:noFill/>
                </a:ln>
                <a:solidFill>
                  <a:prstClr val="black">
                    <a:lumMod val="65000"/>
                    <a:lumOff val="35000"/>
                  </a:prstClr>
                </a:solidFill>
                <a:effectLst/>
                <a:uLnTx/>
                <a:uFillTx/>
                <a:latin typeface="OPPOSans L" panose="00020600040101010101" pitchFamily="18" charset="-122"/>
                <a:ea typeface="OPPOSans L" panose="00020600040101010101" pitchFamily="18" charset="-122"/>
                <a:cs typeface="+mn-cs"/>
              </a:rPr>
              <a:t>PPT</a:t>
            </a:r>
            <a:r>
              <a:rPr kumimoji="0" lang="zh-CN" altLang="en-US" sz="1200" b="0" i="0" u="none" strike="noStrike" kern="1200" cap="none" spc="0" normalizeH="0" baseline="0" noProof="0" dirty="0">
                <a:ln>
                  <a:noFill/>
                </a:ln>
                <a:solidFill>
                  <a:prstClr val="black">
                    <a:lumMod val="65000"/>
                    <a:lumOff val="35000"/>
                  </a:prstClr>
                </a:solidFill>
                <a:effectLst/>
                <a:uLnTx/>
                <a:uFillTx/>
                <a:latin typeface="OPPOSans L" panose="00020600040101010101" pitchFamily="18" charset="-122"/>
                <a:ea typeface="OPPOSans L" panose="00020600040101010101" pitchFamily="18" charset="-122"/>
                <a:cs typeface="+mn-cs"/>
              </a:rPr>
              <a:t>找到适合的模板。</a:t>
            </a:r>
          </a:p>
        </p:txBody>
      </p:sp>
      <p:sp>
        <p:nvSpPr>
          <p:cNvPr id="136" name="稿定PPT-6-4">
            <a:extLst>
              <a:ext uri="{FF2B5EF4-FFF2-40B4-BE49-F238E27FC236}">
                <a16:creationId xmlns:a16="http://schemas.microsoft.com/office/drawing/2014/main" id="{6ECA3270-563A-4357-9FE3-067D6F8001A3}"/>
              </a:ext>
            </a:extLst>
          </p:cNvPr>
          <p:cNvSpPr txBox="1"/>
          <p:nvPr/>
        </p:nvSpPr>
        <p:spPr>
          <a:xfrm>
            <a:off x="8078338" y="5615046"/>
            <a:ext cx="957883" cy="184666"/>
          </a:xfrm>
          <a:prstGeom prst="rect">
            <a:avLst/>
          </a:prstGeom>
          <a:noFill/>
          <a:ln>
            <a:noFill/>
            <a:prstDash val="sysDot"/>
            <a:miter lim="800000"/>
          </a:ln>
        </p:spPr>
        <p:txBody>
          <a:bodyPr wrap="square" lIns="0" tIns="0" rIns="0" bIns="0" rtlCol="0" anchor="b">
            <a:spAutoFit/>
          </a:bodyPr>
          <a:lstStyle>
            <a:defPPr>
              <a:defRPr lang="zh-CN"/>
            </a:defPPr>
            <a:lvl1pPr>
              <a:defRPr kumimoji="0" b="1" i="0" u="none" strike="noStrike" cap="none" spc="0" normalizeH="0" baseline="0">
                <a:ln>
                  <a:noFill/>
                </a:ln>
                <a:effectLst/>
                <a:uLnTx/>
                <a:uFillTx/>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zh-CN" altLang="en-US" sz="1200" b="0" i="0" u="none" strike="noStrike" kern="1200" cap="none" spc="0" normalizeH="0" baseline="0" noProof="0" dirty="0">
                <a:ln>
                  <a:noFill/>
                </a:ln>
                <a:gradFill>
                  <a:gsLst>
                    <a:gs pos="0">
                      <a:srgbClr val="44312B"/>
                    </a:gs>
                    <a:gs pos="100000">
                      <a:srgbClr val="8F4B28"/>
                    </a:gs>
                  </a:gsLst>
                  <a:lin ang="5400000" scaled="1"/>
                </a:gradFill>
                <a:effectLst/>
                <a:uLnTx/>
                <a:uFillTx/>
                <a:latin typeface="OPPOSans M" panose="00020600040101010101" pitchFamily="18" charset="-122"/>
                <a:ea typeface="OPPOSans M" panose="00020600040101010101" pitchFamily="18" charset="-122"/>
                <a:cs typeface="+mn-cs"/>
              </a:rPr>
              <a:t>更快更轻松</a:t>
            </a:r>
          </a:p>
        </p:txBody>
      </p:sp>
      <p:sp>
        <p:nvSpPr>
          <p:cNvPr id="138" name="任意多边形: 形状 137">
            <a:extLst>
              <a:ext uri="{FF2B5EF4-FFF2-40B4-BE49-F238E27FC236}">
                <a16:creationId xmlns:a16="http://schemas.microsoft.com/office/drawing/2014/main" id="{8D6ABD48-3AA3-4534-8414-DB0EA30BD03E}"/>
              </a:ext>
            </a:extLst>
          </p:cNvPr>
          <p:cNvSpPr/>
          <p:nvPr/>
        </p:nvSpPr>
        <p:spPr>
          <a:xfrm rot="5400000">
            <a:off x="9251557" y="5676012"/>
            <a:ext cx="86510" cy="56318"/>
          </a:xfrm>
          <a:custGeom>
            <a:avLst/>
            <a:gdLst>
              <a:gd name="connsiteX0" fmla="*/ 0 w 541041"/>
              <a:gd name="connsiteY0" fmla="*/ 352216 h 352216"/>
              <a:gd name="connsiteX1" fmla="*/ 69719 w 541041"/>
              <a:gd name="connsiteY1" fmla="*/ 309979 h 352216"/>
              <a:gd name="connsiteX2" fmla="*/ 242350 w 541041"/>
              <a:gd name="connsiteY2" fmla="*/ 70918 h 352216"/>
              <a:gd name="connsiteX3" fmla="*/ 270901 w 541041"/>
              <a:gd name="connsiteY3" fmla="*/ 0 h 352216"/>
              <a:gd name="connsiteX4" fmla="*/ 314977 w 541041"/>
              <a:gd name="connsiteY4" fmla="*/ 104256 h 352216"/>
              <a:gd name="connsiteX5" fmla="*/ 471321 w 541041"/>
              <a:gd name="connsiteY5" fmla="*/ 309978 h 352216"/>
              <a:gd name="connsiteX6" fmla="*/ 541041 w 541041"/>
              <a:gd name="connsiteY6" fmla="*/ 352216 h 352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1041" h="352216">
                <a:moveTo>
                  <a:pt x="0" y="352216"/>
                </a:moveTo>
                <a:lnTo>
                  <a:pt x="69719" y="309979"/>
                </a:lnTo>
                <a:cubicBezTo>
                  <a:pt x="135921" y="255331"/>
                  <a:pt x="194716" y="173202"/>
                  <a:pt x="242350" y="70918"/>
                </a:cubicBezTo>
                <a:lnTo>
                  <a:pt x="270901" y="0"/>
                </a:lnTo>
                <a:lnTo>
                  <a:pt x="314977" y="104256"/>
                </a:lnTo>
                <a:cubicBezTo>
                  <a:pt x="359482" y="191113"/>
                  <a:pt x="412475" y="261403"/>
                  <a:pt x="471321" y="309978"/>
                </a:cubicBezTo>
                <a:lnTo>
                  <a:pt x="541041" y="352216"/>
                </a:lnTo>
                <a:close/>
              </a:path>
            </a:pathLst>
          </a:custGeom>
          <a:gradFill>
            <a:gsLst>
              <a:gs pos="0">
                <a:schemeClr val="accent2"/>
              </a:gs>
              <a:gs pos="100000">
                <a:schemeClr val="accent4"/>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white"/>
              </a:solidFill>
              <a:effectLst/>
              <a:uLnTx/>
              <a:uFillTx/>
              <a:latin typeface="OPPOSans L"/>
              <a:ea typeface="OPPOSans L" panose="00020600040101010101" pitchFamily="18" charset="-122"/>
              <a:cs typeface="+mn-cs"/>
            </a:endParaRPr>
          </a:p>
        </p:txBody>
      </p:sp>
      <p:sp>
        <p:nvSpPr>
          <p:cNvPr id="139" name="任意多边形: 形状 138">
            <a:extLst>
              <a:ext uri="{FF2B5EF4-FFF2-40B4-BE49-F238E27FC236}">
                <a16:creationId xmlns:a16="http://schemas.microsoft.com/office/drawing/2014/main" id="{DB7CDCDF-2BD1-444B-9EF7-70F0FD3F5997}"/>
              </a:ext>
            </a:extLst>
          </p:cNvPr>
          <p:cNvSpPr/>
          <p:nvPr/>
        </p:nvSpPr>
        <p:spPr>
          <a:xfrm rot="5400000">
            <a:off x="9164933" y="5676012"/>
            <a:ext cx="86511" cy="56319"/>
          </a:xfrm>
          <a:custGeom>
            <a:avLst/>
            <a:gdLst>
              <a:gd name="connsiteX0" fmla="*/ 0 w 541041"/>
              <a:gd name="connsiteY0" fmla="*/ 352216 h 352216"/>
              <a:gd name="connsiteX1" fmla="*/ 69719 w 541041"/>
              <a:gd name="connsiteY1" fmla="*/ 309979 h 352216"/>
              <a:gd name="connsiteX2" fmla="*/ 242350 w 541041"/>
              <a:gd name="connsiteY2" fmla="*/ 70918 h 352216"/>
              <a:gd name="connsiteX3" fmla="*/ 270901 w 541041"/>
              <a:gd name="connsiteY3" fmla="*/ 0 h 352216"/>
              <a:gd name="connsiteX4" fmla="*/ 314977 w 541041"/>
              <a:gd name="connsiteY4" fmla="*/ 104256 h 352216"/>
              <a:gd name="connsiteX5" fmla="*/ 471321 w 541041"/>
              <a:gd name="connsiteY5" fmla="*/ 309978 h 352216"/>
              <a:gd name="connsiteX6" fmla="*/ 541041 w 541041"/>
              <a:gd name="connsiteY6" fmla="*/ 352216 h 352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1041" h="352216">
                <a:moveTo>
                  <a:pt x="0" y="352216"/>
                </a:moveTo>
                <a:lnTo>
                  <a:pt x="69719" y="309979"/>
                </a:lnTo>
                <a:cubicBezTo>
                  <a:pt x="135921" y="255331"/>
                  <a:pt x="194716" y="173202"/>
                  <a:pt x="242350" y="70918"/>
                </a:cubicBezTo>
                <a:lnTo>
                  <a:pt x="270901" y="0"/>
                </a:lnTo>
                <a:lnTo>
                  <a:pt x="314977" y="104256"/>
                </a:lnTo>
                <a:cubicBezTo>
                  <a:pt x="359482" y="191113"/>
                  <a:pt x="412475" y="261403"/>
                  <a:pt x="471321" y="309978"/>
                </a:cubicBezTo>
                <a:lnTo>
                  <a:pt x="541041" y="352216"/>
                </a:lnTo>
                <a:close/>
              </a:path>
            </a:pathLst>
          </a:custGeom>
          <a:gradFill>
            <a:gsLst>
              <a:gs pos="0">
                <a:schemeClr val="accent2"/>
              </a:gs>
              <a:gs pos="100000">
                <a:schemeClr val="accent4"/>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white"/>
              </a:solidFill>
              <a:effectLst/>
              <a:uLnTx/>
              <a:uFillTx/>
              <a:latin typeface="OPPOSans L"/>
              <a:ea typeface="OPPOSans L" panose="00020600040101010101" pitchFamily="18" charset="-122"/>
              <a:cs typeface="+mn-cs"/>
            </a:endParaRPr>
          </a:p>
        </p:txBody>
      </p:sp>
      <p:sp>
        <p:nvSpPr>
          <p:cNvPr id="140" name="任意多边形: 形状 139">
            <a:extLst>
              <a:ext uri="{FF2B5EF4-FFF2-40B4-BE49-F238E27FC236}">
                <a16:creationId xmlns:a16="http://schemas.microsoft.com/office/drawing/2014/main" id="{96B28FD7-0061-49E9-AA04-88B154AE9A0A}"/>
              </a:ext>
            </a:extLst>
          </p:cNvPr>
          <p:cNvSpPr/>
          <p:nvPr/>
        </p:nvSpPr>
        <p:spPr>
          <a:xfrm rot="5400000">
            <a:off x="9078307" y="5676012"/>
            <a:ext cx="86511" cy="56319"/>
          </a:xfrm>
          <a:custGeom>
            <a:avLst/>
            <a:gdLst>
              <a:gd name="connsiteX0" fmla="*/ 0 w 541041"/>
              <a:gd name="connsiteY0" fmla="*/ 352216 h 352216"/>
              <a:gd name="connsiteX1" fmla="*/ 69719 w 541041"/>
              <a:gd name="connsiteY1" fmla="*/ 309979 h 352216"/>
              <a:gd name="connsiteX2" fmla="*/ 242350 w 541041"/>
              <a:gd name="connsiteY2" fmla="*/ 70918 h 352216"/>
              <a:gd name="connsiteX3" fmla="*/ 270901 w 541041"/>
              <a:gd name="connsiteY3" fmla="*/ 0 h 352216"/>
              <a:gd name="connsiteX4" fmla="*/ 314977 w 541041"/>
              <a:gd name="connsiteY4" fmla="*/ 104256 h 352216"/>
              <a:gd name="connsiteX5" fmla="*/ 471321 w 541041"/>
              <a:gd name="connsiteY5" fmla="*/ 309978 h 352216"/>
              <a:gd name="connsiteX6" fmla="*/ 541041 w 541041"/>
              <a:gd name="connsiteY6" fmla="*/ 352216 h 352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1041" h="352216">
                <a:moveTo>
                  <a:pt x="0" y="352216"/>
                </a:moveTo>
                <a:lnTo>
                  <a:pt x="69719" y="309979"/>
                </a:lnTo>
                <a:cubicBezTo>
                  <a:pt x="135921" y="255331"/>
                  <a:pt x="194716" y="173202"/>
                  <a:pt x="242350" y="70918"/>
                </a:cubicBezTo>
                <a:lnTo>
                  <a:pt x="270901" y="0"/>
                </a:lnTo>
                <a:lnTo>
                  <a:pt x="314977" y="104256"/>
                </a:lnTo>
                <a:cubicBezTo>
                  <a:pt x="359482" y="191113"/>
                  <a:pt x="412475" y="261403"/>
                  <a:pt x="471321" y="309978"/>
                </a:cubicBezTo>
                <a:lnTo>
                  <a:pt x="541041" y="352216"/>
                </a:lnTo>
                <a:close/>
              </a:path>
            </a:pathLst>
          </a:custGeom>
          <a:gradFill>
            <a:gsLst>
              <a:gs pos="0">
                <a:schemeClr val="accent2"/>
              </a:gs>
              <a:gs pos="100000">
                <a:schemeClr val="accent4"/>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white"/>
              </a:solidFill>
              <a:effectLst/>
              <a:uLnTx/>
              <a:uFillTx/>
              <a:latin typeface="OPPOSans L"/>
              <a:ea typeface="OPPOSans L" panose="00020600040101010101" pitchFamily="18" charset="-122"/>
              <a:cs typeface="+mn-cs"/>
            </a:endParaRPr>
          </a:p>
        </p:txBody>
      </p:sp>
      <p:cxnSp>
        <p:nvCxnSpPr>
          <p:cNvPr id="9" name="直接箭头连接符 8">
            <a:extLst>
              <a:ext uri="{FF2B5EF4-FFF2-40B4-BE49-F238E27FC236}">
                <a16:creationId xmlns:a16="http://schemas.microsoft.com/office/drawing/2014/main" id="{C6096F0F-DBDF-406C-A550-F3005CAD219C}"/>
              </a:ext>
            </a:extLst>
          </p:cNvPr>
          <p:cNvCxnSpPr>
            <a:cxnSpLocks/>
          </p:cNvCxnSpPr>
          <p:nvPr/>
        </p:nvCxnSpPr>
        <p:spPr>
          <a:xfrm>
            <a:off x="-696686" y="3729646"/>
            <a:ext cx="11891159" cy="0"/>
          </a:xfrm>
          <a:prstGeom prst="straightConnector1">
            <a:avLst/>
          </a:prstGeom>
          <a:ln w="38100">
            <a:solidFill>
              <a:schemeClr val="accent2"/>
            </a:solidFill>
            <a:tailEnd type="stealth" w="lg" len="med"/>
          </a:ln>
        </p:spPr>
        <p:style>
          <a:lnRef idx="1">
            <a:schemeClr val="accent1"/>
          </a:lnRef>
          <a:fillRef idx="0">
            <a:schemeClr val="accent1"/>
          </a:fillRef>
          <a:effectRef idx="0">
            <a:schemeClr val="accent1"/>
          </a:effectRef>
          <a:fontRef idx="minor">
            <a:schemeClr val="tx1"/>
          </a:fontRef>
        </p:style>
      </p:cxnSp>
      <p:sp>
        <p:nvSpPr>
          <p:cNvPr id="17" name="椭圆 16">
            <a:extLst>
              <a:ext uri="{FF2B5EF4-FFF2-40B4-BE49-F238E27FC236}">
                <a16:creationId xmlns:a16="http://schemas.microsoft.com/office/drawing/2014/main" id="{45662826-6E75-4840-88C1-C4F94B0519DD}"/>
              </a:ext>
            </a:extLst>
          </p:cNvPr>
          <p:cNvSpPr/>
          <p:nvPr/>
        </p:nvSpPr>
        <p:spPr>
          <a:xfrm>
            <a:off x="1905373" y="3624875"/>
            <a:ext cx="209542" cy="209542"/>
          </a:xfrm>
          <a:prstGeom prst="ellipse">
            <a:avLst/>
          </a:prstGeom>
          <a:solidFill>
            <a:schemeClr val="bg1"/>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white"/>
              </a:solidFill>
              <a:effectLst/>
              <a:uLnTx/>
              <a:uFillTx/>
              <a:latin typeface="OPPOSans L"/>
              <a:ea typeface="OPPOSans L" panose="00020600040101010101" pitchFamily="18" charset="-122"/>
              <a:cs typeface="+mn-cs"/>
            </a:endParaRPr>
          </a:p>
        </p:txBody>
      </p:sp>
      <p:sp>
        <p:nvSpPr>
          <p:cNvPr id="18" name="椭圆 17">
            <a:extLst>
              <a:ext uri="{FF2B5EF4-FFF2-40B4-BE49-F238E27FC236}">
                <a16:creationId xmlns:a16="http://schemas.microsoft.com/office/drawing/2014/main" id="{5A477B65-1807-4965-8A07-2DA19DCE747A}"/>
              </a:ext>
            </a:extLst>
          </p:cNvPr>
          <p:cNvSpPr/>
          <p:nvPr/>
        </p:nvSpPr>
        <p:spPr>
          <a:xfrm>
            <a:off x="1957762" y="3677264"/>
            <a:ext cx="104765" cy="104765"/>
          </a:xfrm>
          <a:prstGeom prst="ellipse">
            <a:avLst/>
          </a:prstGeom>
          <a:solidFill>
            <a:schemeClr val="accent3"/>
          </a:solidFill>
          <a:ln w="381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white"/>
              </a:solidFill>
              <a:effectLst/>
              <a:uLnTx/>
              <a:uFillTx/>
              <a:latin typeface="OPPOSans L"/>
              <a:ea typeface="OPPOSans L" panose="00020600040101010101" pitchFamily="18" charset="-122"/>
              <a:cs typeface="+mn-cs"/>
            </a:endParaRPr>
          </a:p>
        </p:txBody>
      </p:sp>
      <p:sp>
        <p:nvSpPr>
          <p:cNvPr id="160" name="椭圆 159">
            <a:extLst>
              <a:ext uri="{FF2B5EF4-FFF2-40B4-BE49-F238E27FC236}">
                <a16:creationId xmlns:a16="http://schemas.microsoft.com/office/drawing/2014/main" id="{557ABA45-2E04-44B4-94A2-BAB2E1CB0593}"/>
              </a:ext>
            </a:extLst>
          </p:cNvPr>
          <p:cNvSpPr/>
          <p:nvPr/>
        </p:nvSpPr>
        <p:spPr>
          <a:xfrm>
            <a:off x="4193983" y="3624875"/>
            <a:ext cx="209542" cy="209542"/>
          </a:xfrm>
          <a:prstGeom prst="ellipse">
            <a:avLst/>
          </a:prstGeom>
          <a:solidFill>
            <a:schemeClr val="bg1"/>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white"/>
              </a:solidFill>
              <a:effectLst/>
              <a:uLnTx/>
              <a:uFillTx/>
              <a:latin typeface="OPPOSans L"/>
              <a:ea typeface="OPPOSans L" panose="00020600040101010101" pitchFamily="18" charset="-122"/>
              <a:cs typeface="+mn-cs"/>
            </a:endParaRPr>
          </a:p>
        </p:txBody>
      </p:sp>
      <p:sp>
        <p:nvSpPr>
          <p:cNvPr id="161" name="椭圆 160">
            <a:extLst>
              <a:ext uri="{FF2B5EF4-FFF2-40B4-BE49-F238E27FC236}">
                <a16:creationId xmlns:a16="http://schemas.microsoft.com/office/drawing/2014/main" id="{4BF2E249-AFF1-4A5D-885A-B7FBD195CDE5}"/>
              </a:ext>
            </a:extLst>
          </p:cNvPr>
          <p:cNvSpPr/>
          <p:nvPr/>
        </p:nvSpPr>
        <p:spPr>
          <a:xfrm>
            <a:off x="4246372" y="3677264"/>
            <a:ext cx="104765" cy="104765"/>
          </a:xfrm>
          <a:prstGeom prst="ellipse">
            <a:avLst/>
          </a:prstGeom>
          <a:solidFill>
            <a:schemeClr val="accent3"/>
          </a:solidFill>
          <a:ln w="381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white"/>
              </a:solidFill>
              <a:effectLst/>
              <a:uLnTx/>
              <a:uFillTx/>
              <a:latin typeface="OPPOSans L"/>
              <a:ea typeface="OPPOSans L" panose="00020600040101010101" pitchFamily="18" charset="-122"/>
              <a:cs typeface="+mn-cs"/>
            </a:endParaRPr>
          </a:p>
        </p:txBody>
      </p:sp>
      <p:sp>
        <p:nvSpPr>
          <p:cNvPr id="163" name="椭圆 162">
            <a:extLst>
              <a:ext uri="{FF2B5EF4-FFF2-40B4-BE49-F238E27FC236}">
                <a16:creationId xmlns:a16="http://schemas.microsoft.com/office/drawing/2014/main" id="{B6A07084-BB04-4B8B-90EC-E1B22E4A040D}"/>
              </a:ext>
            </a:extLst>
          </p:cNvPr>
          <p:cNvSpPr/>
          <p:nvPr/>
        </p:nvSpPr>
        <p:spPr>
          <a:xfrm>
            <a:off x="6482593" y="3624875"/>
            <a:ext cx="209542" cy="209542"/>
          </a:xfrm>
          <a:prstGeom prst="ellipse">
            <a:avLst/>
          </a:prstGeom>
          <a:solidFill>
            <a:schemeClr val="bg1"/>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white"/>
              </a:solidFill>
              <a:effectLst/>
              <a:uLnTx/>
              <a:uFillTx/>
              <a:latin typeface="OPPOSans L"/>
              <a:ea typeface="OPPOSans L" panose="00020600040101010101" pitchFamily="18" charset="-122"/>
              <a:cs typeface="+mn-cs"/>
            </a:endParaRPr>
          </a:p>
        </p:txBody>
      </p:sp>
      <p:sp>
        <p:nvSpPr>
          <p:cNvPr id="164" name="椭圆 163">
            <a:extLst>
              <a:ext uri="{FF2B5EF4-FFF2-40B4-BE49-F238E27FC236}">
                <a16:creationId xmlns:a16="http://schemas.microsoft.com/office/drawing/2014/main" id="{610D5D12-48A3-4D29-8FC9-A064F7DA2786}"/>
              </a:ext>
            </a:extLst>
          </p:cNvPr>
          <p:cNvSpPr/>
          <p:nvPr/>
        </p:nvSpPr>
        <p:spPr>
          <a:xfrm>
            <a:off x="6534982" y="3677264"/>
            <a:ext cx="104765" cy="104765"/>
          </a:xfrm>
          <a:prstGeom prst="ellipse">
            <a:avLst/>
          </a:prstGeom>
          <a:solidFill>
            <a:schemeClr val="accent3"/>
          </a:solidFill>
          <a:ln w="381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white"/>
              </a:solidFill>
              <a:effectLst/>
              <a:uLnTx/>
              <a:uFillTx/>
              <a:latin typeface="OPPOSans L"/>
              <a:ea typeface="OPPOSans L" panose="00020600040101010101" pitchFamily="18" charset="-122"/>
              <a:cs typeface="+mn-cs"/>
            </a:endParaRPr>
          </a:p>
        </p:txBody>
      </p:sp>
      <p:sp>
        <p:nvSpPr>
          <p:cNvPr id="166" name="椭圆 165">
            <a:extLst>
              <a:ext uri="{FF2B5EF4-FFF2-40B4-BE49-F238E27FC236}">
                <a16:creationId xmlns:a16="http://schemas.microsoft.com/office/drawing/2014/main" id="{30E2A2E4-03EA-49A9-AC11-7D2944BBF51E}"/>
              </a:ext>
            </a:extLst>
          </p:cNvPr>
          <p:cNvSpPr/>
          <p:nvPr/>
        </p:nvSpPr>
        <p:spPr>
          <a:xfrm>
            <a:off x="8771203" y="3624875"/>
            <a:ext cx="209542" cy="209542"/>
          </a:xfrm>
          <a:prstGeom prst="ellipse">
            <a:avLst/>
          </a:prstGeom>
          <a:solidFill>
            <a:schemeClr val="bg1"/>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white"/>
              </a:solidFill>
              <a:effectLst/>
              <a:uLnTx/>
              <a:uFillTx/>
              <a:latin typeface="OPPOSans L"/>
              <a:ea typeface="OPPOSans L" panose="00020600040101010101" pitchFamily="18" charset="-122"/>
              <a:cs typeface="+mn-cs"/>
            </a:endParaRPr>
          </a:p>
        </p:txBody>
      </p:sp>
      <p:sp>
        <p:nvSpPr>
          <p:cNvPr id="167" name="椭圆 166">
            <a:extLst>
              <a:ext uri="{FF2B5EF4-FFF2-40B4-BE49-F238E27FC236}">
                <a16:creationId xmlns:a16="http://schemas.microsoft.com/office/drawing/2014/main" id="{A23FF2A4-94D1-4541-AF8F-ED35BA667530}"/>
              </a:ext>
            </a:extLst>
          </p:cNvPr>
          <p:cNvSpPr/>
          <p:nvPr/>
        </p:nvSpPr>
        <p:spPr>
          <a:xfrm>
            <a:off x="8823592" y="3677264"/>
            <a:ext cx="104765" cy="104765"/>
          </a:xfrm>
          <a:prstGeom prst="ellipse">
            <a:avLst/>
          </a:prstGeom>
          <a:solidFill>
            <a:schemeClr val="accent3"/>
          </a:solidFill>
          <a:ln w="381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white"/>
              </a:solidFill>
              <a:effectLst/>
              <a:uLnTx/>
              <a:uFillTx/>
              <a:latin typeface="OPPOSans L"/>
              <a:ea typeface="OPPOSans L" panose="00020600040101010101" pitchFamily="18" charset="-122"/>
              <a:cs typeface="+mn-cs"/>
            </a:endParaRPr>
          </a:p>
        </p:txBody>
      </p:sp>
      <p:sp>
        <p:nvSpPr>
          <p:cNvPr id="171" name="稿定PPT-1">
            <a:extLst>
              <a:ext uri="{FF2B5EF4-FFF2-40B4-BE49-F238E27FC236}">
                <a16:creationId xmlns:a16="http://schemas.microsoft.com/office/drawing/2014/main" id="{AB79C21B-BE6D-4192-A0EF-7281F99EBFEA}"/>
              </a:ext>
            </a:extLst>
          </p:cNvPr>
          <p:cNvSpPr txBox="1"/>
          <p:nvPr/>
        </p:nvSpPr>
        <p:spPr>
          <a:xfrm>
            <a:off x="827765" y="444513"/>
            <a:ext cx="3954935" cy="443182"/>
          </a:xfrm>
          <a:prstGeom prst="rect">
            <a:avLst/>
          </a:prstGeom>
          <a:noFill/>
          <a:ln>
            <a:noFill/>
          </a:ln>
        </p:spPr>
        <p:txBody>
          <a:bodyPr wrap="square" lIns="0" tIns="0" rIns="0" bIns="0" anchor="ctr" anchorCtr="0">
            <a:normAutofit/>
          </a:bodyPr>
          <a:lstStyle/>
          <a:p>
            <a:pPr marL="0" marR="0" lvl="0" indent="0" algn="l" defTabSz="913765" rtl="0" eaLnBrk="1" fontAlgn="auto" latinLnBrk="0" hangingPunct="1">
              <a:lnSpc>
                <a:spcPct val="100000"/>
              </a:lnSpc>
              <a:spcBef>
                <a:spcPts val="0"/>
              </a:spcBef>
              <a:spcAft>
                <a:spcPts val="0"/>
              </a:spcAft>
              <a:buClrTx/>
              <a:buSzPct val="25000"/>
              <a:buFontTx/>
              <a:buNone/>
              <a:tabLst/>
              <a:defRPr/>
            </a:pPr>
            <a:r>
              <a:rPr kumimoji="0" lang="zh-CN" altLang="en-US" sz="2000" b="1" i="0" u="none" strike="noStrike" kern="1200" cap="none" spc="0" normalizeH="0" baseline="0" noProof="0" dirty="0">
                <a:ln>
                  <a:noFill/>
                </a:ln>
                <a:solidFill>
                  <a:prstClr val="black"/>
                </a:solidFill>
                <a:effectLst/>
                <a:uLnTx/>
                <a:uFillTx/>
                <a:latin typeface="OPPOSans H" panose="00020600040101010101" pitchFamily="18" charset="-122"/>
                <a:ea typeface="OPPOSans H" panose="00020600040101010101" pitchFamily="18" charset="-122"/>
                <a:cs typeface="+mn-cs"/>
              </a:rPr>
              <a:t>秋叶</a:t>
            </a:r>
            <a:r>
              <a:rPr kumimoji="0" lang="en-US" altLang="zh-CN" sz="2000" b="1" i="0" u="none" strike="noStrike" kern="1200" cap="none" spc="0" normalizeH="0" baseline="0" noProof="0" dirty="0">
                <a:ln>
                  <a:noFill/>
                </a:ln>
                <a:solidFill>
                  <a:prstClr val="black"/>
                </a:solidFill>
                <a:effectLst/>
                <a:uLnTx/>
                <a:uFillTx/>
                <a:latin typeface="OPPOSans H" panose="00020600040101010101" pitchFamily="18" charset="-122"/>
                <a:ea typeface="OPPOSans H" panose="00020600040101010101" pitchFamily="18" charset="-122"/>
                <a:cs typeface="+mn-cs"/>
              </a:rPr>
              <a:t>PPT</a:t>
            </a:r>
            <a:r>
              <a:rPr kumimoji="0" lang="zh-CN" altLang="en-US" sz="2000" b="1" i="0" u="none" strike="noStrike" kern="1200" cap="none" spc="0" normalizeH="0" baseline="0" noProof="0" dirty="0">
                <a:ln>
                  <a:noFill/>
                </a:ln>
                <a:solidFill>
                  <a:prstClr val="black"/>
                </a:solidFill>
                <a:effectLst/>
                <a:uLnTx/>
                <a:uFillTx/>
                <a:latin typeface="OPPOSans H" panose="00020600040101010101" pitchFamily="18" charset="-122"/>
                <a:ea typeface="OPPOSans H" panose="00020600040101010101" pitchFamily="18" charset="-122"/>
                <a:cs typeface="+mn-cs"/>
              </a:rPr>
              <a:t>，海量素材持续更新</a:t>
            </a:r>
            <a:endParaRPr kumimoji="0" lang="en-US" sz="2000" b="1" i="0" u="none" strike="noStrike" kern="1200" cap="none" spc="0" normalizeH="0" baseline="0" noProof="0" dirty="0">
              <a:ln>
                <a:noFill/>
              </a:ln>
              <a:solidFill>
                <a:prstClr val="black"/>
              </a:solidFill>
              <a:effectLst/>
              <a:uLnTx/>
              <a:uFillTx/>
              <a:latin typeface="OPPOSans H" panose="00020600040101010101" pitchFamily="18" charset="-122"/>
              <a:ea typeface="OPPOSans H" panose="00020600040101010101" pitchFamily="18" charset="-122"/>
              <a:cs typeface="+mn-cs"/>
            </a:endParaRPr>
          </a:p>
        </p:txBody>
      </p:sp>
      <p:sp>
        <p:nvSpPr>
          <p:cNvPr id="172" name="稿定PPT-2">
            <a:extLst>
              <a:ext uri="{FF2B5EF4-FFF2-40B4-BE49-F238E27FC236}">
                <a16:creationId xmlns:a16="http://schemas.microsoft.com/office/drawing/2014/main" id="{859D972E-3D51-4C53-AF9E-7849DE0DDD7A}"/>
              </a:ext>
            </a:extLst>
          </p:cNvPr>
          <p:cNvSpPr txBox="1"/>
          <p:nvPr/>
        </p:nvSpPr>
        <p:spPr>
          <a:xfrm>
            <a:off x="827765" y="829574"/>
            <a:ext cx="6181630" cy="209125"/>
          </a:xfrm>
          <a:prstGeom prst="rect">
            <a:avLst/>
          </a:prstGeom>
          <a:noFill/>
          <a:ln>
            <a:noFill/>
          </a:ln>
        </p:spPr>
        <p:txBody>
          <a:bodyPr wrap="square" lIns="0" tIns="0" rIns="0" bIns="0" anchor="ctr" anchorCtr="0">
            <a:normAutofit/>
          </a:bodyPr>
          <a:lstStyle/>
          <a:p>
            <a:pPr marL="0" marR="0" lvl="0" indent="0" algn="l" defTabSz="913765" rtl="0" eaLnBrk="1" fontAlgn="auto" latinLnBrk="0" hangingPunct="1">
              <a:lnSpc>
                <a:spcPct val="100000"/>
              </a:lnSpc>
              <a:spcBef>
                <a:spcPts val="0"/>
              </a:spcBef>
              <a:spcAft>
                <a:spcPts val="0"/>
              </a:spcAft>
              <a:buClrTx/>
              <a:buSzPct val="25000"/>
              <a:buFontTx/>
              <a:buNone/>
              <a:tabLst/>
              <a:defRPr/>
            </a:pPr>
            <a:r>
              <a:rPr kumimoji="0" lang="en-US" sz="1200" b="0" i="0" u="none" strike="noStrike" kern="1200" cap="none" spc="0" normalizeH="0" baseline="0" noProof="0" dirty="0">
                <a:ln>
                  <a:noFill/>
                </a:ln>
                <a:solidFill>
                  <a:prstClr val="black"/>
                </a:solidFill>
                <a:effectLst/>
                <a:uLnTx/>
                <a:uFillTx/>
                <a:latin typeface="OPPOSans L" panose="00020600040101010101" pitchFamily="18" charset="-122"/>
                <a:ea typeface="OPPOSans L" panose="00020600040101010101" pitchFamily="18" charset="-122"/>
                <a:cs typeface="OPPOSans L" panose="00020600040101010101" pitchFamily="18" charset="-122"/>
              </a:rPr>
              <a:t>Mandamus mediocrem reprehendunt eum eu, cu pertinax ocurreret his. </a:t>
            </a:r>
          </a:p>
        </p:txBody>
      </p:sp>
      <p:sp>
        <p:nvSpPr>
          <p:cNvPr id="173" name="任意多边形: 形状 1">
            <a:extLst>
              <a:ext uri="{FF2B5EF4-FFF2-40B4-BE49-F238E27FC236}">
                <a16:creationId xmlns:a16="http://schemas.microsoft.com/office/drawing/2014/main" id="{91B98E9B-1962-4A42-956F-7153962E4BA9}"/>
              </a:ext>
            </a:extLst>
          </p:cNvPr>
          <p:cNvSpPr/>
          <p:nvPr/>
        </p:nvSpPr>
        <p:spPr>
          <a:xfrm>
            <a:off x="447823" y="554037"/>
            <a:ext cx="267291" cy="267292"/>
          </a:xfrm>
          <a:custGeom>
            <a:avLst/>
            <a:gdLst>
              <a:gd name="connsiteX0" fmla="*/ 111818 w 223634"/>
              <a:gd name="connsiteY0" fmla="*/ 168724 h 223635"/>
              <a:gd name="connsiteX1" fmla="*/ 111818 w 223634"/>
              <a:gd name="connsiteY1" fmla="*/ 168726 h 223635"/>
              <a:gd name="connsiteX2" fmla="*/ 111817 w 223634"/>
              <a:gd name="connsiteY2" fmla="*/ 168727 h 223635"/>
              <a:gd name="connsiteX3" fmla="*/ 23080 w 223634"/>
              <a:gd name="connsiteY3" fmla="*/ 68737 h 223635"/>
              <a:gd name="connsiteX4" fmla="*/ 43982 w 223634"/>
              <a:gd name="connsiteY4" fmla="*/ 80805 h 223635"/>
              <a:gd name="connsiteX5" fmla="*/ 38263 w 223634"/>
              <a:gd name="connsiteY5" fmla="*/ 90150 h 223635"/>
              <a:gd name="connsiteX6" fmla="*/ 45168 w 223634"/>
              <a:gd name="connsiteY6" fmla="*/ 178468 h 223635"/>
              <a:gd name="connsiteX7" fmla="*/ 163489 w 223634"/>
              <a:gd name="connsiteY7" fmla="*/ 163490 h 223635"/>
              <a:gd name="connsiteX8" fmla="*/ 171325 w 223634"/>
              <a:gd name="connsiteY8" fmla="*/ 154326 h 223635"/>
              <a:gd name="connsiteX9" fmla="*/ 192235 w 223634"/>
              <a:gd name="connsiteY9" fmla="*/ 166398 h 223635"/>
              <a:gd name="connsiteX10" fmla="*/ 180326 w 223634"/>
              <a:gd name="connsiteY10" fmla="*/ 180327 h 223635"/>
              <a:gd name="connsiteX11" fmla="*/ 23451 w 223634"/>
              <a:gd name="connsiteY11" fmla="*/ 200184 h 223635"/>
              <a:gd name="connsiteX12" fmla="*/ 14296 w 223634"/>
              <a:gd name="connsiteY12" fmla="*/ 83089 h 223635"/>
              <a:gd name="connsiteX13" fmla="*/ 111818 w 223634"/>
              <a:gd name="connsiteY13" fmla="*/ 54910 h 223635"/>
              <a:gd name="connsiteX14" fmla="*/ 168175 w 223634"/>
              <a:gd name="connsiteY14" fmla="*/ 111267 h 223635"/>
              <a:gd name="connsiteX15" fmla="*/ 168174 w 223634"/>
              <a:gd name="connsiteY15" fmla="*/ 112370 h 223635"/>
              <a:gd name="connsiteX16" fmla="*/ 116246 w 223634"/>
              <a:gd name="connsiteY16" fmla="*/ 146790 h 223635"/>
              <a:gd name="connsiteX17" fmla="*/ 111818 w 223634"/>
              <a:gd name="connsiteY17" fmla="*/ 168724 h 223635"/>
              <a:gd name="connsiteX18" fmla="*/ 107389 w 223634"/>
              <a:gd name="connsiteY18" fmla="*/ 146789 h 223635"/>
              <a:gd name="connsiteX19" fmla="*/ 55461 w 223634"/>
              <a:gd name="connsiteY19" fmla="*/ 112369 h 223635"/>
              <a:gd name="connsiteX20" fmla="*/ 55461 w 223634"/>
              <a:gd name="connsiteY20" fmla="*/ 111267 h 223635"/>
              <a:gd name="connsiteX21" fmla="*/ 111818 w 223634"/>
              <a:gd name="connsiteY21" fmla="*/ 54910 h 223635"/>
              <a:gd name="connsiteX22" fmla="*/ 146788 w 223634"/>
              <a:gd name="connsiteY22" fmla="*/ 239 h 223635"/>
              <a:gd name="connsiteX23" fmla="*/ 200183 w 223634"/>
              <a:gd name="connsiteY23" fmla="*/ 23452 h 223635"/>
              <a:gd name="connsiteX24" fmla="*/ 209338 w 223634"/>
              <a:gd name="connsiteY24" fmla="*/ 140547 h 223635"/>
              <a:gd name="connsiteX25" fmla="*/ 200554 w 223634"/>
              <a:gd name="connsiteY25" fmla="*/ 154899 h 223635"/>
              <a:gd name="connsiteX26" fmla="*/ 179652 w 223634"/>
              <a:gd name="connsiteY26" fmla="*/ 142831 h 223635"/>
              <a:gd name="connsiteX27" fmla="*/ 185372 w 223634"/>
              <a:gd name="connsiteY27" fmla="*/ 133487 h 223635"/>
              <a:gd name="connsiteX28" fmla="*/ 178467 w 223634"/>
              <a:gd name="connsiteY28" fmla="*/ 45169 h 223635"/>
              <a:gd name="connsiteX29" fmla="*/ 138193 w 223634"/>
              <a:gd name="connsiteY29" fmla="*/ 27661 h 223635"/>
              <a:gd name="connsiteX30" fmla="*/ 60145 w 223634"/>
              <a:gd name="connsiteY30" fmla="*/ 60146 h 223635"/>
              <a:gd name="connsiteX31" fmla="*/ 52309 w 223634"/>
              <a:gd name="connsiteY31" fmla="*/ 69310 h 223635"/>
              <a:gd name="connsiteX32" fmla="*/ 31399 w 223634"/>
              <a:gd name="connsiteY32" fmla="*/ 57238 h 223635"/>
              <a:gd name="connsiteX33" fmla="*/ 43308 w 223634"/>
              <a:gd name="connsiteY33" fmla="*/ 43309 h 223635"/>
              <a:gd name="connsiteX34" fmla="*/ 146788 w 223634"/>
              <a:gd name="connsiteY34" fmla="*/ 239 h 223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23634" h="223635">
                <a:moveTo>
                  <a:pt x="111818" y="168724"/>
                </a:moveTo>
                <a:lnTo>
                  <a:pt x="111818" y="168726"/>
                </a:lnTo>
                <a:lnTo>
                  <a:pt x="111817" y="168727"/>
                </a:lnTo>
                <a:close/>
                <a:moveTo>
                  <a:pt x="23080" y="68737"/>
                </a:moveTo>
                <a:lnTo>
                  <a:pt x="43982" y="80805"/>
                </a:lnTo>
                <a:lnTo>
                  <a:pt x="38263" y="90150"/>
                </a:lnTo>
                <a:cubicBezTo>
                  <a:pt x="22185" y="121915"/>
                  <a:pt x="23764" y="157065"/>
                  <a:pt x="45168" y="178468"/>
                </a:cubicBezTo>
                <a:cubicBezTo>
                  <a:pt x="73705" y="207005"/>
                  <a:pt x="126680" y="200300"/>
                  <a:pt x="163489" y="163490"/>
                </a:cubicBezTo>
                <a:lnTo>
                  <a:pt x="171325" y="154326"/>
                </a:lnTo>
                <a:lnTo>
                  <a:pt x="192235" y="166398"/>
                </a:lnTo>
                <a:lnTo>
                  <a:pt x="180326" y="180327"/>
                </a:lnTo>
                <a:cubicBezTo>
                  <a:pt x="131522" y="229130"/>
                  <a:pt x="61287" y="238021"/>
                  <a:pt x="23451" y="200184"/>
                </a:cubicBezTo>
                <a:cubicBezTo>
                  <a:pt x="-4927" y="171807"/>
                  <a:pt x="-7020" y="125206"/>
                  <a:pt x="14296" y="83089"/>
                </a:cubicBezTo>
                <a:close/>
                <a:moveTo>
                  <a:pt x="111818" y="54910"/>
                </a:moveTo>
                <a:cubicBezTo>
                  <a:pt x="111818" y="86035"/>
                  <a:pt x="137050" y="111267"/>
                  <a:pt x="168175" y="111267"/>
                </a:cubicBezTo>
                <a:cubicBezTo>
                  <a:pt x="168175" y="111635"/>
                  <a:pt x="168174" y="112002"/>
                  <a:pt x="168174" y="112370"/>
                </a:cubicBezTo>
                <a:cubicBezTo>
                  <a:pt x="144830" y="112370"/>
                  <a:pt x="124801" y="126563"/>
                  <a:pt x="116246" y="146790"/>
                </a:cubicBezTo>
                <a:lnTo>
                  <a:pt x="111818" y="168724"/>
                </a:lnTo>
                <a:lnTo>
                  <a:pt x="107389" y="146789"/>
                </a:lnTo>
                <a:cubicBezTo>
                  <a:pt x="98834" y="126562"/>
                  <a:pt x="78805" y="112369"/>
                  <a:pt x="55461" y="112369"/>
                </a:cubicBezTo>
                <a:lnTo>
                  <a:pt x="55461" y="111267"/>
                </a:lnTo>
                <a:cubicBezTo>
                  <a:pt x="86586" y="111267"/>
                  <a:pt x="111818" y="86035"/>
                  <a:pt x="111818" y="54910"/>
                </a:cubicBezTo>
                <a:close/>
                <a:moveTo>
                  <a:pt x="146788" y="239"/>
                </a:moveTo>
                <a:cubicBezTo>
                  <a:pt x="167250" y="1645"/>
                  <a:pt x="185995" y="9263"/>
                  <a:pt x="200183" y="23452"/>
                </a:cubicBezTo>
                <a:cubicBezTo>
                  <a:pt x="228561" y="51829"/>
                  <a:pt x="230654" y="98431"/>
                  <a:pt x="209338" y="140547"/>
                </a:cubicBezTo>
                <a:lnTo>
                  <a:pt x="200554" y="154899"/>
                </a:lnTo>
                <a:lnTo>
                  <a:pt x="179652" y="142831"/>
                </a:lnTo>
                <a:lnTo>
                  <a:pt x="185372" y="133487"/>
                </a:lnTo>
                <a:cubicBezTo>
                  <a:pt x="201449" y="101721"/>
                  <a:pt x="199870" y="66572"/>
                  <a:pt x="178467" y="45169"/>
                </a:cubicBezTo>
                <a:cubicBezTo>
                  <a:pt x="167765" y="34467"/>
                  <a:pt x="153627" y="28721"/>
                  <a:pt x="138193" y="27661"/>
                </a:cubicBezTo>
                <a:cubicBezTo>
                  <a:pt x="112471" y="25894"/>
                  <a:pt x="83151" y="37140"/>
                  <a:pt x="60145" y="60146"/>
                </a:cubicBezTo>
                <a:lnTo>
                  <a:pt x="52309" y="69310"/>
                </a:lnTo>
                <a:lnTo>
                  <a:pt x="31399" y="57238"/>
                </a:lnTo>
                <a:lnTo>
                  <a:pt x="43308" y="43309"/>
                </a:lnTo>
                <a:cubicBezTo>
                  <a:pt x="73811" y="12807"/>
                  <a:pt x="112684" y="-2104"/>
                  <a:pt x="146788" y="239"/>
                </a:cubicBezTo>
                <a:close/>
              </a:path>
            </a:pathLst>
          </a:custGeom>
          <a:gradFill>
            <a:gsLst>
              <a:gs pos="0">
                <a:schemeClr val="accent2"/>
              </a:gs>
              <a:gs pos="61000">
                <a:schemeClr val="accent3"/>
              </a:gs>
              <a:gs pos="100000">
                <a:schemeClr val="accent4"/>
              </a:gs>
            </a:gsLst>
            <a:path path="circle">
              <a:fillToRect t="100000" r="10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white"/>
              </a:solidFill>
              <a:effectLst/>
              <a:uLnTx/>
              <a:uFillTx/>
              <a:latin typeface="OPPOSans L"/>
              <a:ea typeface="OPPOSans L" panose="00020600040101010101" pitchFamily="18" charset="-122"/>
              <a:cs typeface="+mn-cs"/>
            </a:endParaRPr>
          </a:p>
        </p:txBody>
      </p:sp>
    </p:spTree>
    <p:extLst>
      <p:ext uri="{BB962C8B-B14F-4D97-AF65-F5344CB8AC3E}">
        <p14:creationId xmlns:p14="http://schemas.microsoft.com/office/powerpoint/2010/main" val="2799361496"/>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693.xml><?xml version="1.0" encoding="utf-8"?>
<p:sld xmlns:a="http://schemas.openxmlformats.org/drawingml/2006/main" xmlns:r="http://schemas.openxmlformats.org/officeDocument/2006/relationships" xmlns:p="http://schemas.openxmlformats.org/presentationml/2006/main">
  <p:cSld>
    <p:bg>
      <p:bgPr>
        <a:gradFill>
          <a:gsLst>
            <a:gs pos="85000">
              <a:schemeClr val="bg1">
                <a:alpha val="0"/>
              </a:schemeClr>
            </a:gs>
            <a:gs pos="15000">
              <a:schemeClr val="bg1">
                <a:alpha val="10000"/>
              </a:schemeClr>
            </a:gs>
            <a:gs pos="50000">
              <a:schemeClr val="bg1"/>
            </a:gs>
            <a:gs pos="0">
              <a:schemeClr val="accent1">
                <a:alpha val="30000"/>
              </a:schemeClr>
            </a:gs>
            <a:gs pos="100000">
              <a:schemeClr val="accent1">
                <a:alpha val="30000"/>
              </a:schemeClr>
            </a:gs>
          </a:gsLst>
          <a:lin ang="5400000" scaled="1"/>
        </a:gradFill>
        <a:effectLst/>
      </p:bgPr>
    </p:bg>
    <p:spTree>
      <p:nvGrpSpPr>
        <p:cNvPr id="1" name=""/>
        <p:cNvGrpSpPr/>
        <p:nvPr/>
      </p:nvGrpSpPr>
      <p:grpSpPr>
        <a:xfrm>
          <a:off x="0" y="0"/>
          <a:ext cx="0" cy="0"/>
          <a:chOff x="0" y="0"/>
          <a:chExt cx="0" cy="0"/>
        </a:xfrm>
      </p:grpSpPr>
      <p:sp>
        <p:nvSpPr>
          <p:cNvPr id="66" name="箭头: 五边形 1">
            <a:extLst>
              <a:ext uri="{FF2B5EF4-FFF2-40B4-BE49-F238E27FC236}">
                <a16:creationId xmlns:a16="http://schemas.microsoft.com/office/drawing/2014/main" id="{37F0831A-0A0C-49FF-822A-57B1BA80D2FD}"/>
              </a:ext>
            </a:extLst>
          </p:cNvPr>
          <p:cNvSpPr/>
          <p:nvPr/>
        </p:nvSpPr>
        <p:spPr>
          <a:xfrm>
            <a:off x="-12691" y="1666527"/>
            <a:ext cx="11857037" cy="4369755"/>
          </a:xfrm>
          <a:prstGeom prst="homePlate">
            <a:avLst>
              <a:gd name="adj" fmla="val 15456"/>
            </a:avLst>
          </a:prstGeom>
          <a:solidFill>
            <a:schemeClr val="accent1">
              <a:alpha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white"/>
              </a:solidFill>
              <a:effectLst/>
              <a:uLnTx/>
              <a:uFillTx/>
              <a:latin typeface="OPPOSans L"/>
              <a:ea typeface="思源宋体 Light" panose="02020300000000000000" pitchFamily="18" charset="-122"/>
              <a:cs typeface="+mn-cs"/>
            </a:endParaRPr>
          </a:p>
        </p:txBody>
      </p:sp>
      <p:sp>
        <p:nvSpPr>
          <p:cNvPr id="18" name="矩形 1">
            <a:extLst>
              <a:ext uri="{FF2B5EF4-FFF2-40B4-BE49-F238E27FC236}">
                <a16:creationId xmlns:a16="http://schemas.microsoft.com/office/drawing/2014/main" id="{318626F9-E54A-4895-A34F-CD4EA144AEC7}"/>
              </a:ext>
            </a:extLst>
          </p:cNvPr>
          <p:cNvSpPr/>
          <p:nvPr/>
        </p:nvSpPr>
        <p:spPr>
          <a:xfrm>
            <a:off x="9832258" y="3512192"/>
            <a:ext cx="1720645" cy="67842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white"/>
              </a:solidFill>
              <a:effectLst/>
              <a:uLnTx/>
              <a:uFillTx/>
              <a:latin typeface="OPPOSans L"/>
              <a:ea typeface="思源宋体 Light" panose="02020300000000000000" pitchFamily="18" charset="-122"/>
              <a:cs typeface="+mn-cs"/>
            </a:endParaRPr>
          </a:p>
        </p:txBody>
      </p:sp>
      <p:sp>
        <p:nvSpPr>
          <p:cNvPr id="10" name="矩形 2">
            <a:extLst>
              <a:ext uri="{FF2B5EF4-FFF2-40B4-BE49-F238E27FC236}">
                <a16:creationId xmlns:a16="http://schemas.microsoft.com/office/drawing/2014/main" id="{2F67C863-A238-46E5-99F2-23D30FC92831}"/>
              </a:ext>
            </a:extLst>
          </p:cNvPr>
          <p:cNvSpPr/>
          <p:nvPr/>
        </p:nvSpPr>
        <p:spPr>
          <a:xfrm>
            <a:off x="762369" y="3797405"/>
            <a:ext cx="10418018" cy="10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white"/>
              </a:solidFill>
              <a:effectLst/>
              <a:uLnTx/>
              <a:uFillTx/>
              <a:latin typeface="OPPOSans L"/>
              <a:ea typeface="思源宋体 Light" panose="02020300000000000000" pitchFamily="18" charset="-122"/>
              <a:cs typeface="+mn-cs"/>
            </a:endParaRPr>
          </a:p>
        </p:txBody>
      </p:sp>
      <p:sp>
        <p:nvSpPr>
          <p:cNvPr id="13" name="箭头: V 形 1">
            <a:extLst>
              <a:ext uri="{FF2B5EF4-FFF2-40B4-BE49-F238E27FC236}">
                <a16:creationId xmlns:a16="http://schemas.microsoft.com/office/drawing/2014/main" id="{1D26A321-E93E-4EA0-8752-E395A6E9AE13}"/>
              </a:ext>
            </a:extLst>
          </p:cNvPr>
          <p:cNvSpPr/>
          <p:nvPr/>
        </p:nvSpPr>
        <p:spPr>
          <a:xfrm>
            <a:off x="563539" y="3402155"/>
            <a:ext cx="412788" cy="898500"/>
          </a:xfrm>
          <a:prstGeom prst="chevron">
            <a:avLst>
              <a:gd name="adj" fmla="val 36450"/>
            </a:avLst>
          </a:prstGeom>
          <a:gradFill flip="none" rotWithShape="1">
            <a:gsLst>
              <a:gs pos="100000">
                <a:schemeClr val="accent4"/>
              </a:gs>
              <a:gs pos="0">
                <a:schemeClr val="accent3"/>
              </a:gs>
            </a:gsLst>
            <a:lin ang="10800000" scaled="1"/>
            <a:tileRect/>
          </a:gradFill>
          <a:ln>
            <a:noFill/>
          </a:ln>
          <a:effectLst>
            <a:outerShdw blurRad="381000" dist="127000" dir="5400000" algn="ctr" rotWithShape="0">
              <a:schemeClr val="accent4">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2000" b="0" i="0" u="none" strike="noStrike" kern="1200" cap="none" spc="0" normalizeH="0" baseline="0" noProof="0" dirty="0">
              <a:ln>
                <a:noFill/>
              </a:ln>
              <a:solidFill>
                <a:srgbClr val="465867"/>
              </a:solidFill>
              <a:effectLst/>
              <a:uLnTx/>
              <a:uFillTx/>
              <a:latin typeface="思源宋体 Medium" panose="02020500000000000000" pitchFamily="18" charset="-122"/>
              <a:ea typeface="思源宋体 Medium" panose="02020500000000000000" pitchFamily="18" charset="-122"/>
              <a:cs typeface="+mn-cs"/>
            </a:endParaRPr>
          </a:p>
        </p:txBody>
      </p:sp>
      <p:sp>
        <p:nvSpPr>
          <p:cNvPr id="17" name="箭头: V 形 2">
            <a:extLst>
              <a:ext uri="{FF2B5EF4-FFF2-40B4-BE49-F238E27FC236}">
                <a16:creationId xmlns:a16="http://schemas.microsoft.com/office/drawing/2014/main" id="{7580A473-5A38-443B-8FF9-E46ADA9BE6FA}"/>
              </a:ext>
            </a:extLst>
          </p:cNvPr>
          <p:cNvSpPr/>
          <p:nvPr/>
        </p:nvSpPr>
        <p:spPr>
          <a:xfrm>
            <a:off x="11297146" y="3402155"/>
            <a:ext cx="412788" cy="898500"/>
          </a:xfrm>
          <a:prstGeom prst="chevron">
            <a:avLst>
              <a:gd name="adj" fmla="val 36450"/>
            </a:avLst>
          </a:prstGeom>
          <a:gradFill flip="none" rotWithShape="1">
            <a:gsLst>
              <a:gs pos="100000">
                <a:schemeClr val="accent4"/>
              </a:gs>
              <a:gs pos="0">
                <a:schemeClr val="accent3"/>
              </a:gs>
            </a:gsLst>
            <a:lin ang="10800000" scaled="1"/>
            <a:tileRect/>
          </a:gradFill>
          <a:ln>
            <a:noFill/>
          </a:ln>
          <a:effectLst>
            <a:outerShdw blurRad="381000" dist="127000" dir="5400000" algn="ctr" rotWithShape="0">
              <a:schemeClr val="accent4">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2000" b="0" i="0" u="none" strike="noStrike" kern="1200" cap="none" spc="0" normalizeH="0" baseline="0" noProof="0" dirty="0">
              <a:ln>
                <a:noFill/>
              </a:ln>
              <a:solidFill>
                <a:srgbClr val="465867"/>
              </a:solidFill>
              <a:effectLst/>
              <a:uLnTx/>
              <a:uFillTx/>
              <a:latin typeface="思源宋体 Medium" panose="02020500000000000000" pitchFamily="18" charset="-122"/>
              <a:ea typeface="思源宋体 Medium" panose="02020500000000000000" pitchFamily="18" charset="-122"/>
              <a:cs typeface="+mn-cs"/>
            </a:endParaRPr>
          </a:p>
        </p:txBody>
      </p:sp>
      <p:sp>
        <p:nvSpPr>
          <p:cNvPr id="19" name="文本框 1">
            <a:extLst>
              <a:ext uri="{FF2B5EF4-FFF2-40B4-BE49-F238E27FC236}">
                <a16:creationId xmlns:a16="http://schemas.microsoft.com/office/drawing/2014/main" id="{1A89667C-FC69-4B3C-90F5-5C42057B41FF}"/>
              </a:ext>
            </a:extLst>
          </p:cNvPr>
          <p:cNvSpPr txBox="1"/>
          <p:nvPr/>
        </p:nvSpPr>
        <p:spPr>
          <a:xfrm>
            <a:off x="10101214" y="3666739"/>
            <a:ext cx="1195932" cy="276999"/>
          </a:xfrm>
          <a:prstGeom prst="rect">
            <a:avLst/>
          </a:prstGeom>
          <a:noFill/>
        </p:spPr>
        <p:txBody>
          <a:bodyPr wrap="square" lIns="0" tIns="0" rIns="0" bIns="0" rtlCol="0">
            <a:spAutoFit/>
          </a:bodyPr>
          <a:lstStyle>
            <a:defPPr>
              <a:defRPr lang="zh-CN"/>
            </a:defPPr>
            <a:lvl1pPr algn="ctr">
              <a:defRPr>
                <a:solidFill>
                  <a:schemeClr val="bg1"/>
                </a:solidFill>
                <a:latin typeface="思源宋体 Medium" panose="02020500000000000000" pitchFamily="18" charset="-122"/>
                <a:ea typeface="思源宋体 Medium" panose="02020500000000000000" pitchFamily="18" charset="-122"/>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800" b="0" i="0" u="none" strike="noStrike" kern="1200" cap="none" spc="0" normalizeH="0" baseline="0" noProof="0" dirty="0">
                <a:ln>
                  <a:noFill/>
                </a:ln>
                <a:solidFill>
                  <a:prstClr val="white"/>
                </a:solidFill>
                <a:effectLst/>
                <a:uLnTx/>
                <a:uFillTx/>
                <a:latin typeface="思源宋体 Heavy" panose="02020900000000000000" pitchFamily="18" charset="-122"/>
                <a:ea typeface="思源宋体 Heavy" panose="02020900000000000000" pitchFamily="18" charset="-122"/>
                <a:cs typeface="+mn-cs"/>
              </a:rPr>
              <a:t>秋叶</a:t>
            </a:r>
            <a:r>
              <a:rPr kumimoji="0" lang="en-US" altLang="zh-CN" sz="1800" b="0" i="0" u="none" strike="noStrike" kern="1200" cap="none" spc="0" normalizeH="0" baseline="0" noProof="0" dirty="0">
                <a:ln>
                  <a:noFill/>
                </a:ln>
                <a:solidFill>
                  <a:prstClr val="white"/>
                </a:solidFill>
                <a:effectLst/>
                <a:uLnTx/>
                <a:uFillTx/>
                <a:latin typeface="思源宋体 Heavy" panose="02020900000000000000" pitchFamily="18" charset="-122"/>
                <a:ea typeface="思源宋体 Heavy" panose="02020900000000000000" pitchFamily="18" charset="-122"/>
                <a:cs typeface="+mn-cs"/>
              </a:rPr>
              <a:t>PPT</a:t>
            </a:r>
            <a:endParaRPr kumimoji="0" lang="zh-CN" altLang="en-US" sz="1800" b="0" i="0" u="none" strike="noStrike" kern="1200" cap="none" spc="0" normalizeH="0" baseline="0" noProof="0" dirty="0">
              <a:ln>
                <a:noFill/>
              </a:ln>
              <a:solidFill>
                <a:prstClr val="white"/>
              </a:solidFill>
              <a:effectLst/>
              <a:uLnTx/>
              <a:uFillTx/>
              <a:latin typeface="思源宋体 Heavy" panose="02020900000000000000" pitchFamily="18" charset="-122"/>
              <a:ea typeface="思源宋体 Heavy" panose="02020900000000000000" pitchFamily="18" charset="-122"/>
              <a:cs typeface="+mn-cs"/>
            </a:endParaRPr>
          </a:p>
        </p:txBody>
      </p:sp>
      <p:sp>
        <p:nvSpPr>
          <p:cNvPr id="20" name="椭圆 19">
            <a:extLst>
              <a:ext uri="{FF2B5EF4-FFF2-40B4-BE49-F238E27FC236}">
                <a16:creationId xmlns:a16="http://schemas.microsoft.com/office/drawing/2014/main" id="{0A0B1320-C004-49D0-813A-03875B419F9A}"/>
              </a:ext>
            </a:extLst>
          </p:cNvPr>
          <p:cNvSpPr/>
          <p:nvPr/>
        </p:nvSpPr>
        <p:spPr>
          <a:xfrm>
            <a:off x="2850029" y="3500405"/>
            <a:ext cx="702000" cy="702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800" b="0" i="0" u="none" strike="noStrike" kern="1200" cap="none" spc="0" normalizeH="0" baseline="0" noProof="0" dirty="0">
                <a:ln>
                  <a:noFill/>
                </a:ln>
                <a:solidFill>
                  <a:prstClr val="white"/>
                </a:solidFill>
                <a:effectLst/>
                <a:uLnTx/>
                <a:uFillTx/>
                <a:latin typeface="OPPOSans B"/>
                <a:ea typeface="思源宋体 Light" panose="02020300000000000000" pitchFamily="18" charset="-122"/>
                <a:cs typeface="+mn-cs"/>
              </a:rPr>
              <a:t>01</a:t>
            </a:r>
            <a:endParaRPr kumimoji="0" lang="zh-CN" altLang="en-US" sz="1800" b="0" i="0" u="none" strike="noStrike" kern="1200" cap="none" spc="0" normalizeH="0" baseline="0" noProof="0" dirty="0">
              <a:ln>
                <a:noFill/>
              </a:ln>
              <a:solidFill>
                <a:prstClr val="white"/>
              </a:solidFill>
              <a:effectLst/>
              <a:uLnTx/>
              <a:uFillTx/>
              <a:latin typeface="OPPOSans B"/>
              <a:ea typeface="思源宋体 Light" panose="02020300000000000000" pitchFamily="18" charset="-122"/>
              <a:cs typeface="+mn-cs"/>
            </a:endParaRPr>
          </a:p>
        </p:txBody>
      </p:sp>
      <p:sp>
        <p:nvSpPr>
          <p:cNvPr id="21" name="椭圆 20">
            <a:extLst>
              <a:ext uri="{FF2B5EF4-FFF2-40B4-BE49-F238E27FC236}">
                <a16:creationId xmlns:a16="http://schemas.microsoft.com/office/drawing/2014/main" id="{550F4FB9-13CD-411D-8D18-6BD1EE0C703F}"/>
              </a:ext>
            </a:extLst>
          </p:cNvPr>
          <p:cNvSpPr/>
          <p:nvPr/>
        </p:nvSpPr>
        <p:spPr>
          <a:xfrm>
            <a:off x="2924871" y="3575247"/>
            <a:ext cx="552318" cy="552318"/>
          </a:xfrm>
          <a:prstGeom prst="ellipse">
            <a:avLst/>
          </a:prstGeom>
          <a:noFill/>
          <a:ln w="19050">
            <a:solidFill>
              <a:schemeClr val="bg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white"/>
              </a:solidFill>
              <a:effectLst/>
              <a:uLnTx/>
              <a:uFillTx/>
              <a:latin typeface="OPPOSans L"/>
              <a:ea typeface="思源宋体 Light" panose="02020300000000000000" pitchFamily="18" charset="-122"/>
              <a:cs typeface="+mn-cs"/>
            </a:endParaRPr>
          </a:p>
        </p:txBody>
      </p:sp>
      <p:sp>
        <p:nvSpPr>
          <p:cNvPr id="24" name="椭圆 23">
            <a:extLst>
              <a:ext uri="{FF2B5EF4-FFF2-40B4-BE49-F238E27FC236}">
                <a16:creationId xmlns:a16="http://schemas.microsoft.com/office/drawing/2014/main" id="{F2FEB96C-1579-42F1-9A38-753A7131FE52}"/>
              </a:ext>
            </a:extLst>
          </p:cNvPr>
          <p:cNvSpPr/>
          <p:nvPr/>
        </p:nvSpPr>
        <p:spPr>
          <a:xfrm>
            <a:off x="5840986" y="3500405"/>
            <a:ext cx="702000" cy="702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800" b="0" i="0" u="none" strike="noStrike" kern="1200" cap="none" spc="0" normalizeH="0" baseline="0" noProof="0" dirty="0">
                <a:ln>
                  <a:noFill/>
                </a:ln>
                <a:solidFill>
                  <a:prstClr val="white"/>
                </a:solidFill>
                <a:effectLst/>
                <a:uLnTx/>
                <a:uFillTx/>
                <a:latin typeface="OPPOSans B"/>
                <a:ea typeface="思源宋体 Light" panose="02020300000000000000" pitchFamily="18" charset="-122"/>
                <a:cs typeface="+mn-cs"/>
              </a:rPr>
              <a:t>02</a:t>
            </a:r>
            <a:endParaRPr kumimoji="0" lang="zh-CN" altLang="en-US" sz="1800" b="0" i="0" u="none" strike="noStrike" kern="1200" cap="none" spc="0" normalizeH="0" baseline="0" noProof="0" dirty="0">
              <a:ln>
                <a:noFill/>
              </a:ln>
              <a:solidFill>
                <a:prstClr val="white"/>
              </a:solidFill>
              <a:effectLst/>
              <a:uLnTx/>
              <a:uFillTx/>
              <a:latin typeface="OPPOSans B"/>
              <a:ea typeface="思源宋体 Light" panose="02020300000000000000" pitchFamily="18" charset="-122"/>
              <a:cs typeface="+mn-cs"/>
            </a:endParaRPr>
          </a:p>
        </p:txBody>
      </p:sp>
      <p:sp>
        <p:nvSpPr>
          <p:cNvPr id="25" name="椭圆 24">
            <a:extLst>
              <a:ext uri="{FF2B5EF4-FFF2-40B4-BE49-F238E27FC236}">
                <a16:creationId xmlns:a16="http://schemas.microsoft.com/office/drawing/2014/main" id="{95250CD1-0B3B-4936-BE6D-F11BC11AEEF0}"/>
              </a:ext>
            </a:extLst>
          </p:cNvPr>
          <p:cNvSpPr/>
          <p:nvPr/>
        </p:nvSpPr>
        <p:spPr>
          <a:xfrm>
            <a:off x="5915828" y="3575247"/>
            <a:ext cx="552318" cy="552318"/>
          </a:xfrm>
          <a:prstGeom prst="ellipse">
            <a:avLst/>
          </a:prstGeom>
          <a:noFill/>
          <a:ln w="19050">
            <a:solidFill>
              <a:schemeClr val="bg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white"/>
              </a:solidFill>
              <a:effectLst/>
              <a:uLnTx/>
              <a:uFillTx/>
              <a:latin typeface="OPPOSans L"/>
              <a:ea typeface="思源宋体 Light" panose="02020300000000000000" pitchFamily="18" charset="-122"/>
              <a:cs typeface="+mn-cs"/>
            </a:endParaRPr>
          </a:p>
        </p:txBody>
      </p:sp>
      <p:sp>
        <p:nvSpPr>
          <p:cNvPr id="27" name="椭圆 26">
            <a:extLst>
              <a:ext uri="{FF2B5EF4-FFF2-40B4-BE49-F238E27FC236}">
                <a16:creationId xmlns:a16="http://schemas.microsoft.com/office/drawing/2014/main" id="{DFE43606-CED3-4B75-AA4D-7F2867AA6167}"/>
              </a:ext>
            </a:extLst>
          </p:cNvPr>
          <p:cNvSpPr/>
          <p:nvPr/>
        </p:nvSpPr>
        <p:spPr>
          <a:xfrm>
            <a:off x="9003055" y="3500405"/>
            <a:ext cx="702000" cy="702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800" b="0" i="0" u="none" strike="noStrike" kern="1200" cap="none" spc="0" normalizeH="0" baseline="0" noProof="0" dirty="0">
                <a:ln>
                  <a:noFill/>
                </a:ln>
                <a:solidFill>
                  <a:prstClr val="white"/>
                </a:solidFill>
                <a:effectLst/>
                <a:uLnTx/>
                <a:uFillTx/>
                <a:latin typeface="OPPOSans B"/>
                <a:ea typeface="思源宋体 Light" panose="02020300000000000000" pitchFamily="18" charset="-122"/>
                <a:cs typeface="+mn-cs"/>
              </a:rPr>
              <a:t>03</a:t>
            </a:r>
            <a:endParaRPr kumimoji="0" lang="zh-CN" altLang="en-US" sz="1800" b="0" i="0" u="none" strike="noStrike" kern="1200" cap="none" spc="0" normalizeH="0" baseline="0" noProof="0" dirty="0">
              <a:ln>
                <a:noFill/>
              </a:ln>
              <a:solidFill>
                <a:prstClr val="white"/>
              </a:solidFill>
              <a:effectLst/>
              <a:uLnTx/>
              <a:uFillTx/>
              <a:latin typeface="OPPOSans B"/>
              <a:ea typeface="思源宋体 Light" panose="02020300000000000000" pitchFamily="18" charset="-122"/>
              <a:cs typeface="+mn-cs"/>
            </a:endParaRPr>
          </a:p>
        </p:txBody>
      </p:sp>
      <p:sp>
        <p:nvSpPr>
          <p:cNvPr id="28" name="椭圆 27">
            <a:extLst>
              <a:ext uri="{FF2B5EF4-FFF2-40B4-BE49-F238E27FC236}">
                <a16:creationId xmlns:a16="http://schemas.microsoft.com/office/drawing/2014/main" id="{69AD262B-A1B7-48E7-BEB1-7D71E4B04F35}"/>
              </a:ext>
            </a:extLst>
          </p:cNvPr>
          <p:cNvSpPr/>
          <p:nvPr/>
        </p:nvSpPr>
        <p:spPr>
          <a:xfrm>
            <a:off x="9077897" y="3575247"/>
            <a:ext cx="552318" cy="552318"/>
          </a:xfrm>
          <a:prstGeom prst="ellipse">
            <a:avLst/>
          </a:prstGeom>
          <a:noFill/>
          <a:ln w="19050">
            <a:solidFill>
              <a:schemeClr val="bg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white"/>
              </a:solidFill>
              <a:effectLst/>
              <a:uLnTx/>
              <a:uFillTx/>
              <a:latin typeface="OPPOSans L"/>
              <a:ea typeface="思源宋体 Light" panose="02020300000000000000" pitchFamily="18" charset="-122"/>
              <a:cs typeface="+mn-cs"/>
            </a:endParaRPr>
          </a:p>
        </p:txBody>
      </p:sp>
      <p:sp>
        <p:nvSpPr>
          <p:cNvPr id="14" name="箭头: V 形 3">
            <a:extLst>
              <a:ext uri="{FF2B5EF4-FFF2-40B4-BE49-F238E27FC236}">
                <a16:creationId xmlns:a16="http://schemas.microsoft.com/office/drawing/2014/main" id="{746E7634-7F8B-4E37-BA76-9E2B73F9C64E}"/>
              </a:ext>
            </a:extLst>
          </p:cNvPr>
          <p:cNvSpPr/>
          <p:nvPr/>
        </p:nvSpPr>
        <p:spPr>
          <a:xfrm>
            <a:off x="3142649" y="2861405"/>
            <a:ext cx="702000" cy="1980000"/>
          </a:xfrm>
          <a:prstGeom prst="chevron">
            <a:avLst>
              <a:gd name="adj" fmla="val 45962"/>
            </a:avLst>
          </a:prstGeom>
          <a:gradFill flip="none" rotWithShape="1">
            <a:gsLst>
              <a:gs pos="100000">
                <a:schemeClr val="accent4"/>
              </a:gs>
              <a:gs pos="0">
                <a:schemeClr val="accent3"/>
              </a:gs>
            </a:gsLst>
            <a:lin ang="10800000" scaled="1"/>
            <a:tileRect/>
          </a:gradFill>
          <a:ln>
            <a:noFill/>
          </a:ln>
          <a:effectLst>
            <a:outerShdw blurRad="381000" dist="127000" dir="5400000" algn="ctr" rotWithShape="0">
              <a:schemeClr val="accent4">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2000" b="0" i="0" u="none" strike="noStrike" kern="1200" cap="none" spc="0" normalizeH="0" baseline="0" noProof="0" dirty="0">
              <a:ln>
                <a:noFill/>
              </a:ln>
              <a:solidFill>
                <a:srgbClr val="465867"/>
              </a:solidFill>
              <a:effectLst/>
              <a:uLnTx/>
              <a:uFillTx/>
              <a:latin typeface="思源宋体 Medium" panose="02020500000000000000" pitchFamily="18" charset="-122"/>
              <a:ea typeface="思源宋体 Medium" panose="02020500000000000000" pitchFamily="18" charset="-122"/>
              <a:cs typeface="+mn-cs"/>
            </a:endParaRPr>
          </a:p>
        </p:txBody>
      </p:sp>
      <p:sp>
        <p:nvSpPr>
          <p:cNvPr id="15" name="箭头: V 形 4">
            <a:extLst>
              <a:ext uri="{FF2B5EF4-FFF2-40B4-BE49-F238E27FC236}">
                <a16:creationId xmlns:a16="http://schemas.microsoft.com/office/drawing/2014/main" id="{6804358B-7488-4332-B853-B305072CD161}"/>
              </a:ext>
            </a:extLst>
          </p:cNvPr>
          <p:cNvSpPr/>
          <p:nvPr/>
        </p:nvSpPr>
        <p:spPr>
          <a:xfrm>
            <a:off x="6010971" y="2501405"/>
            <a:ext cx="882000" cy="2700000"/>
          </a:xfrm>
          <a:prstGeom prst="chevron">
            <a:avLst>
              <a:gd name="adj" fmla="val 50486"/>
            </a:avLst>
          </a:prstGeom>
          <a:gradFill flip="none" rotWithShape="1">
            <a:gsLst>
              <a:gs pos="100000">
                <a:schemeClr val="accent4"/>
              </a:gs>
              <a:gs pos="0">
                <a:schemeClr val="accent3"/>
              </a:gs>
            </a:gsLst>
            <a:lin ang="10800000" scaled="1"/>
            <a:tileRect/>
          </a:gradFill>
          <a:ln>
            <a:noFill/>
          </a:ln>
          <a:effectLst>
            <a:outerShdw blurRad="381000" dist="127000" dir="5400000" algn="ctr" rotWithShape="0">
              <a:schemeClr val="accent4">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2000" b="0" i="0" u="none" strike="noStrike" kern="1200" cap="none" spc="0" normalizeH="0" baseline="0" noProof="0" dirty="0">
              <a:ln>
                <a:noFill/>
              </a:ln>
              <a:solidFill>
                <a:srgbClr val="465867"/>
              </a:solidFill>
              <a:effectLst/>
              <a:uLnTx/>
              <a:uFillTx/>
              <a:latin typeface="思源宋体 Medium" panose="02020500000000000000" pitchFamily="18" charset="-122"/>
              <a:ea typeface="思源宋体 Medium" panose="02020500000000000000" pitchFamily="18" charset="-122"/>
              <a:cs typeface="+mn-cs"/>
            </a:endParaRPr>
          </a:p>
        </p:txBody>
      </p:sp>
      <p:sp>
        <p:nvSpPr>
          <p:cNvPr id="16" name="箭头: V 形 5">
            <a:extLst>
              <a:ext uri="{FF2B5EF4-FFF2-40B4-BE49-F238E27FC236}">
                <a16:creationId xmlns:a16="http://schemas.microsoft.com/office/drawing/2014/main" id="{111F67DF-7801-48FF-91FB-3376185C0EDE}"/>
              </a:ext>
            </a:extLst>
          </p:cNvPr>
          <p:cNvSpPr/>
          <p:nvPr/>
        </p:nvSpPr>
        <p:spPr>
          <a:xfrm>
            <a:off x="9059293" y="2141405"/>
            <a:ext cx="1062000" cy="3420000"/>
          </a:xfrm>
          <a:prstGeom prst="chevron">
            <a:avLst>
              <a:gd name="adj" fmla="val 53713"/>
            </a:avLst>
          </a:prstGeom>
          <a:gradFill flip="none" rotWithShape="1">
            <a:gsLst>
              <a:gs pos="100000">
                <a:schemeClr val="accent1">
                  <a:lumMod val="75000"/>
                </a:schemeClr>
              </a:gs>
              <a:gs pos="0">
                <a:schemeClr val="accent3"/>
              </a:gs>
            </a:gsLst>
            <a:lin ang="10800000" scaled="1"/>
            <a:tileRect/>
          </a:gradFill>
          <a:ln>
            <a:noFill/>
          </a:ln>
          <a:effectLst>
            <a:outerShdw blurRad="381000" dist="127000" dir="5400000" algn="ctr" rotWithShape="0">
              <a:schemeClr val="accent4">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2000" b="0" i="0" u="none" strike="noStrike" kern="1200" cap="none" spc="0" normalizeH="0" baseline="0" noProof="0" dirty="0">
              <a:ln>
                <a:noFill/>
              </a:ln>
              <a:solidFill>
                <a:srgbClr val="465867"/>
              </a:solidFill>
              <a:effectLst/>
              <a:uLnTx/>
              <a:uFillTx/>
              <a:latin typeface="思源宋体 Medium" panose="02020500000000000000" pitchFamily="18" charset="-122"/>
              <a:ea typeface="思源宋体 Medium" panose="02020500000000000000" pitchFamily="18" charset="-122"/>
              <a:cs typeface="+mn-cs"/>
            </a:endParaRPr>
          </a:p>
        </p:txBody>
      </p:sp>
      <p:sp>
        <p:nvSpPr>
          <p:cNvPr id="29" name="文本框 28">
            <a:extLst>
              <a:ext uri="{FF2B5EF4-FFF2-40B4-BE49-F238E27FC236}">
                <a16:creationId xmlns:a16="http://schemas.microsoft.com/office/drawing/2014/main" id="{E7CAF4EB-0870-423C-9BDD-F8D8EA5F39D3}"/>
              </a:ext>
            </a:extLst>
          </p:cNvPr>
          <p:cNvSpPr txBox="1"/>
          <p:nvPr/>
        </p:nvSpPr>
        <p:spPr>
          <a:xfrm>
            <a:off x="1508454" y="2476966"/>
            <a:ext cx="1304757" cy="276999"/>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zh-CN" altLang="en-US" sz="1800" b="0" i="0" u="none" strike="noStrike" kern="1200" cap="none" spc="0" normalizeH="0" baseline="0" noProof="0" dirty="0">
                <a:ln>
                  <a:noFill/>
                </a:ln>
                <a:solidFill>
                  <a:srgbClr val="465867"/>
                </a:solidFill>
                <a:effectLst/>
                <a:uLnTx/>
                <a:uFillTx/>
                <a:latin typeface="思源宋体 Heavy" panose="02020900000000000000" pitchFamily="18" charset="-122"/>
                <a:ea typeface="思源宋体 Heavy" panose="02020900000000000000" pitchFamily="18" charset="-122"/>
                <a:cs typeface="+mn-cs"/>
              </a:rPr>
              <a:t>秋叶</a:t>
            </a:r>
            <a:r>
              <a:rPr kumimoji="0" lang="en-US" altLang="zh-CN" sz="1800" b="0" i="0" u="none" strike="noStrike" kern="1200" cap="none" spc="0" normalizeH="0" baseline="0" noProof="0" dirty="0">
                <a:ln>
                  <a:noFill/>
                </a:ln>
                <a:solidFill>
                  <a:srgbClr val="465867"/>
                </a:solidFill>
                <a:effectLst/>
                <a:uLnTx/>
                <a:uFillTx/>
                <a:latin typeface="思源宋体 Heavy" panose="02020900000000000000" pitchFamily="18" charset="-122"/>
                <a:ea typeface="思源宋体 Heavy" panose="02020900000000000000" pitchFamily="18" charset="-122"/>
                <a:cs typeface="+mn-cs"/>
              </a:rPr>
              <a:t>PPT</a:t>
            </a:r>
            <a:endParaRPr kumimoji="0" lang="zh-CN" altLang="en-US" sz="1800" b="0" i="0" u="none" strike="noStrike" kern="1200" cap="none" spc="0" normalizeH="0" baseline="0" noProof="0" dirty="0">
              <a:ln>
                <a:noFill/>
              </a:ln>
              <a:solidFill>
                <a:srgbClr val="465867"/>
              </a:solidFill>
              <a:effectLst/>
              <a:uLnTx/>
              <a:uFillTx/>
              <a:latin typeface="思源宋体 Heavy" panose="02020900000000000000" pitchFamily="18" charset="-122"/>
              <a:ea typeface="思源宋体 Heavy" panose="02020900000000000000" pitchFamily="18" charset="-122"/>
              <a:cs typeface="+mn-cs"/>
            </a:endParaRPr>
          </a:p>
        </p:txBody>
      </p:sp>
      <p:sp>
        <p:nvSpPr>
          <p:cNvPr id="30" name="文本框 29">
            <a:extLst>
              <a:ext uri="{FF2B5EF4-FFF2-40B4-BE49-F238E27FC236}">
                <a16:creationId xmlns:a16="http://schemas.microsoft.com/office/drawing/2014/main" id="{5A3B23FD-96EB-4CD8-B344-5C046FC43CF3}"/>
              </a:ext>
            </a:extLst>
          </p:cNvPr>
          <p:cNvSpPr txBox="1"/>
          <p:nvPr/>
        </p:nvSpPr>
        <p:spPr>
          <a:xfrm>
            <a:off x="1254822" y="2811828"/>
            <a:ext cx="1526245" cy="521489"/>
          </a:xfrm>
          <a:prstGeom prst="rect">
            <a:avLst/>
          </a:prstGeom>
          <a:noFill/>
        </p:spPr>
        <p:txBody>
          <a:bodyPr wrap="square" lIns="0" tIns="0" rIns="0" bIns="0" rtlCol="0">
            <a:spAutoFit/>
          </a:bodyPr>
          <a:lstStyle>
            <a:defPPr>
              <a:defRPr lang="zh-CN"/>
            </a:defPPr>
            <a:lvl1pPr algn="ctr">
              <a:defRPr>
                <a:solidFill>
                  <a:schemeClr val="accent6"/>
                </a:solidFill>
                <a:latin typeface="思源宋体 Medium" panose="02020500000000000000" pitchFamily="18" charset="-122"/>
                <a:ea typeface="思源宋体 Medium" panose="02020500000000000000" pitchFamily="18" charset="-122"/>
              </a:defRPr>
            </a:lvl1pPr>
          </a:lstStyle>
          <a:p>
            <a:pPr marL="0" marR="0" lvl="0" indent="0" algn="r" defTabSz="914400" rtl="0" eaLnBrk="1" fontAlgn="auto" latinLnBrk="0" hangingPunct="1">
              <a:lnSpc>
                <a:spcPct val="150000"/>
              </a:lnSpc>
              <a:spcBef>
                <a:spcPts val="0"/>
              </a:spcBef>
              <a:spcAft>
                <a:spcPts val="0"/>
              </a:spcAft>
              <a:buClrTx/>
              <a:buSzTx/>
              <a:buFontTx/>
              <a:buNone/>
              <a:tabLst/>
              <a:defRPr/>
            </a:pPr>
            <a:r>
              <a:rPr kumimoji="0" lang="zh-CN" altLang="en-US" sz="1200" b="0" i="0" u="none" strike="noStrike" kern="1200" cap="none" spc="0" normalizeH="0" baseline="0" noProof="0" dirty="0">
                <a:ln>
                  <a:noFill/>
                </a:ln>
                <a:solidFill>
                  <a:srgbClr val="465867"/>
                </a:solidFill>
                <a:effectLst/>
                <a:uLnTx/>
                <a:uFillTx/>
                <a:latin typeface="思源宋体 Light" panose="02020300000000000000" pitchFamily="18" charset="-122"/>
                <a:ea typeface="思源宋体 Light" panose="02020300000000000000" pitchFamily="18" charset="-122"/>
                <a:cs typeface="+mn-cs"/>
              </a:rPr>
              <a:t>上千款模板素材</a:t>
            </a:r>
            <a:endParaRPr kumimoji="0" lang="en-US" altLang="zh-CN" sz="1200" b="0" i="0" u="none" strike="noStrike" kern="1200" cap="none" spc="0" normalizeH="0" baseline="0" noProof="0" dirty="0">
              <a:ln>
                <a:noFill/>
              </a:ln>
              <a:solidFill>
                <a:srgbClr val="465867"/>
              </a:solidFill>
              <a:effectLst/>
              <a:uLnTx/>
              <a:uFillTx/>
              <a:latin typeface="思源宋体 Light" panose="02020300000000000000" pitchFamily="18" charset="-122"/>
              <a:ea typeface="思源宋体 Light" panose="02020300000000000000" pitchFamily="18" charset="-122"/>
              <a:cs typeface="+mn-cs"/>
            </a:endParaRPr>
          </a:p>
          <a:p>
            <a:pPr marL="0" marR="0" lvl="0" indent="0" algn="r" defTabSz="914400" rtl="0" eaLnBrk="1" fontAlgn="auto" latinLnBrk="0" hangingPunct="1">
              <a:lnSpc>
                <a:spcPct val="150000"/>
              </a:lnSpc>
              <a:spcBef>
                <a:spcPts val="0"/>
              </a:spcBef>
              <a:spcAft>
                <a:spcPts val="0"/>
              </a:spcAft>
              <a:buClrTx/>
              <a:buSzTx/>
              <a:buFontTx/>
              <a:buNone/>
              <a:tabLst/>
              <a:defRPr/>
            </a:pPr>
            <a:r>
              <a:rPr kumimoji="0" lang="zh-CN" altLang="en-US" sz="1200" b="0" i="0" u="none" strike="noStrike" kern="1200" cap="none" spc="0" normalizeH="0" baseline="0" noProof="0" dirty="0">
                <a:ln>
                  <a:noFill/>
                </a:ln>
                <a:solidFill>
                  <a:srgbClr val="465867"/>
                </a:solidFill>
                <a:effectLst/>
                <a:uLnTx/>
                <a:uFillTx/>
                <a:latin typeface="思源宋体 Light" panose="02020300000000000000" pitchFamily="18" charset="-122"/>
                <a:ea typeface="思源宋体 Light" panose="02020300000000000000" pitchFamily="18" charset="-122"/>
                <a:cs typeface="+mn-cs"/>
              </a:rPr>
              <a:t>总有一款适合你</a:t>
            </a:r>
            <a:endParaRPr kumimoji="0" lang="en-US" altLang="zh-CN" sz="1200" b="0" i="0" u="none" strike="noStrike" kern="1200" cap="none" spc="0" normalizeH="0" baseline="0" noProof="0" dirty="0">
              <a:ln>
                <a:noFill/>
              </a:ln>
              <a:solidFill>
                <a:srgbClr val="465867"/>
              </a:solidFill>
              <a:effectLst/>
              <a:uLnTx/>
              <a:uFillTx/>
              <a:latin typeface="思源宋体 Light" panose="02020300000000000000" pitchFamily="18" charset="-122"/>
              <a:ea typeface="思源宋体 Light" panose="02020300000000000000" pitchFamily="18" charset="-122"/>
              <a:cs typeface="+mn-cs"/>
            </a:endParaRPr>
          </a:p>
        </p:txBody>
      </p:sp>
      <p:sp>
        <p:nvSpPr>
          <p:cNvPr id="33" name="文本框 32">
            <a:extLst>
              <a:ext uri="{FF2B5EF4-FFF2-40B4-BE49-F238E27FC236}">
                <a16:creationId xmlns:a16="http://schemas.microsoft.com/office/drawing/2014/main" id="{1B89FE5E-0215-46D1-B5AC-973BED2C6458}"/>
              </a:ext>
            </a:extLst>
          </p:cNvPr>
          <p:cNvSpPr txBox="1"/>
          <p:nvPr/>
        </p:nvSpPr>
        <p:spPr>
          <a:xfrm>
            <a:off x="1476310" y="5167217"/>
            <a:ext cx="1304757" cy="276999"/>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zh-CN" altLang="en-US" sz="1800" b="0" i="0" u="none" strike="noStrike" kern="1200" cap="none" spc="0" normalizeH="0" baseline="0" noProof="0" dirty="0">
                <a:ln>
                  <a:noFill/>
                </a:ln>
                <a:solidFill>
                  <a:srgbClr val="465867"/>
                </a:solidFill>
                <a:effectLst/>
                <a:uLnTx/>
                <a:uFillTx/>
                <a:latin typeface="思源宋体 Heavy" panose="02020900000000000000" pitchFamily="18" charset="-122"/>
                <a:ea typeface="思源宋体 Heavy" panose="02020900000000000000" pitchFamily="18" charset="-122"/>
                <a:cs typeface="+mn-cs"/>
              </a:rPr>
              <a:t>秋叶</a:t>
            </a:r>
            <a:r>
              <a:rPr kumimoji="0" lang="en-US" altLang="zh-CN" sz="1800" b="0" i="0" u="none" strike="noStrike" kern="1200" cap="none" spc="0" normalizeH="0" baseline="0" noProof="0" dirty="0">
                <a:ln>
                  <a:noFill/>
                </a:ln>
                <a:solidFill>
                  <a:srgbClr val="465867"/>
                </a:solidFill>
                <a:effectLst/>
                <a:uLnTx/>
                <a:uFillTx/>
                <a:latin typeface="思源宋体 Heavy" panose="02020900000000000000" pitchFamily="18" charset="-122"/>
                <a:ea typeface="思源宋体 Heavy" panose="02020900000000000000" pitchFamily="18" charset="-122"/>
                <a:cs typeface="+mn-cs"/>
              </a:rPr>
              <a:t>PPT</a:t>
            </a:r>
            <a:endParaRPr kumimoji="0" lang="zh-CN" altLang="en-US" sz="1800" b="0" i="0" u="none" strike="noStrike" kern="1200" cap="none" spc="0" normalizeH="0" baseline="0" noProof="0" dirty="0">
              <a:ln>
                <a:noFill/>
              </a:ln>
              <a:solidFill>
                <a:srgbClr val="465867"/>
              </a:solidFill>
              <a:effectLst/>
              <a:uLnTx/>
              <a:uFillTx/>
              <a:latin typeface="思源宋体 Heavy" panose="02020900000000000000" pitchFamily="18" charset="-122"/>
              <a:ea typeface="思源宋体 Heavy" panose="02020900000000000000" pitchFamily="18" charset="-122"/>
              <a:cs typeface="+mn-cs"/>
            </a:endParaRPr>
          </a:p>
        </p:txBody>
      </p:sp>
      <p:sp>
        <p:nvSpPr>
          <p:cNvPr id="34" name="文本框 33">
            <a:extLst>
              <a:ext uri="{FF2B5EF4-FFF2-40B4-BE49-F238E27FC236}">
                <a16:creationId xmlns:a16="http://schemas.microsoft.com/office/drawing/2014/main" id="{059A4E17-7691-4FC4-8190-A31AD38DA8EA}"/>
              </a:ext>
            </a:extLst>
          </p:cNvPr>
          <p:cNvSpPr txBox="1"/>
          <p:nvPr/>
        </p:nvSpPr>
        <p:spPr>
          <a:xfrm>
            <a:off x="1254822" y="4525076"/>
            <a:ext cx="1526245" cy="521489"/>
          </a:xfrm>
          <a:prstGeom prst="rect">
            <a:avLst/>
          </a:prstGeom>
          <a:noFill/>
        </p:spPr>
        <p:txBody>
          <a:bodyPr wrap="square" lIns="0" tIns="0" rIns="0" bIns="0" rtlCol="0">
            <a:spAutoFit/>
          </a:bodyPr>
          <a:lstStyle>
            <a:defPPr>
              <a:defRPr lang="zh-CN"/>
            </a:defPPr>
            <a:lvl1pPr algn="ctr">
              <a:defRPr>
                <a:solidFill>
                  <a:schemeClr val="accent6"/>
                </a:solidFill>
                <a:latin typeface="思源宋体 Medium" panose="02020500000000000000" pitchFamily="18" charset="-122"/>
                <a:ea typeface="思源宋体 Medium" panose="02020500000000000000" pitchFamily="18" charset="-122"/>
              </a:defRPr>
            </a:lvl1pPr>
          </a:lstStyle>
          <a:p>
            <a:pPr marL="0" marR="0" lvl="0" indent="0" algn="r" defTabSz="914400" rtl="0" eaLnBrk="1" fontAlgn="auto" latinLnBrk="0" hangingPunct="1">
              <a:lnSpc>
                <a:spcPct val="150000"/>
              </a:lnSpc>
              <a:spcBef>
                <a:spcPts val="0"/>
              </a:spcBef>
              <a:spcAft>
                <a:spcPts val="0"/>
              </a:spcAft>
              <a:buClrTx/>
              <a:buSzTx/>
              <a:buFontTx/>
              <a:buNone/>
              <a:tabLst/>
              <a:defRPr/>
            </a:pPr>
            <a:r>
              <a:rPr kumimoji="0" lang="zh-CN" altLang="en-US" sz="1200" b="0" i="0" u="none" strike="noStrike" kern="1200" cap="none" spc="0" normalizeH="0" baseline="0" noProof="0" dirty="0">
                <a:ln>
                  <a:noFill/>
                </a:ln>
                <a:solidFill>
                  <a:srgbClr val="465867"/>
                </a:solidFill>
                <a:effectLst/>
                <a:uLnTx/>
                <a:uFillTx/>
                <a:latin typeface="思源宋体 Light" panose="02020300000000000000" pitchFamily="18" charset="-122"/>
                <a:ea typeface="思源宋体 Light" panose="02020300000000000000" pitchFamily="18" charset="-122"/>
                <a:cs typeface="+mn-cs"/>
              </a:rPr>
              <a:t>上千款模板素材</a:t>
            </a:r>
            <a:endParaRPr kumimoji="0" lang="en-US" altLang="zh-CN" sz="1200" b="0" i="0" u="none" strike="noStrike" kern="1200" cap="none" spc="0" normalizeH="0" baseline="0" noProof="0" dirty="0">
              <a:ln>
                <a:noFill/>
              </a:ln>
              <a:solidFill>
                <a:srgbClr val="465867"/>
              </a:solidFill>
              <a:effectLst/>
              <a:uLnTx/>
              <a:uFillTx/>
              <a:latin typeface="思源宋体 Light" panose="02020300000000000000" pitchFamily="18" charset="-122"/>
              <a:ea typeface="思源宋体 Light" panose="02020300000000000000" pitchFamily="18" charset="-122"/>
              <a:cs typeface="+mn-cs"/>
            </a:endParaRPr>
          </a:p>
          <a:p>
            <a:pPr marL="0" marR="0" lvl="0" indent="0" algn="r" defTabSz="914400" rtl="0" eaLnBrk="1" fontAlgn="auto" latinLnBrk="0" hangingPunct="1">
              <a:lnSpc>
                <a:spcPct val="150000"/>
              </a:lnSpc>
              <a:spcBef>
                <a:spcPts val="0"/>
              </a:spcBef>
              <a:spcAft>
                <a:spcPts val="0"/>
              </a:spcAft>
              <a:buClrTx/>
              <a:buSzTx/>
              <a:buFontTx/>
              <a:buNone/>
              <a:tabLst/>
              <a:defRPr/>
            </a:pPr>
            <a:r>
              <a:rPr kumimoji="0" lang="zh-CN" altLang="en-US" sz="1200" b="0" i="0" u="none" strike="noStrike" kern="1200" cap="none" spc="0" normalizeH="0" baseline="0" noProof="0" dirty="0">
                <a:ln>
                  <a:noFill/>
                </a:ln>
                <a:solidFill>
                  <a:srgbClr val="465867"/>
                </a:solidFill>
                <a:effectLst/>
                <a:uLnTx/>
                <a:uFillTx/>
                <a:latin typeface="思源宋体 Light" panose="02020300000000000000" pitchFamily="18" charset="-122"/>
                <a:ea typeface="思源宋体 Light" panose="02020300000000000000" pitchFamily="18" charset="-122"/>
                <a:cs typeface="+mn-cs"/>
              </a:rPr>
              <a:t>总有一款适合你</a:t>
            </a:r>
            <a:endParaRPr kumimoji="0" lang="en-US" altLang="zh-CN" sz="1200" b="0" i="0" u="none" strike="noStrike" kern="1200" cap="none" spc="0" normalizeH="0" baseline="0" noProof="0" dirty="0">
              <a:ln>
                <a:noFill/>
              </a:ln>
              <a:solidFill>
                <a:srgbClr val="465867"/>
              </a:solidFill>
              <a:effectLst/>
              <a:uLnTx/>
              <a:uFillTx/>
              <a:latin typeface="思源宋体 Light" panose="02020300000000000000" pitchFamily="18" charset="-122"/>
              <a:ea typeface="思源宋体 Light" panose="02020300000000000000" pitchFamily="18" charset="-122"/>
              <a:cs typeface="+mn-cs"/>
            </a:endParaRPr>
          </a:p>
        </p:txBody>
      </p:sp>
      <p:sp>
        <p:nvSpPr>
          <p:cNvPr id="36" name="文本框 35">
            <a:extLst>
              <a:ext uri="{FF2B5EF4-FFF2-40B4-BE49-F238E27FC236}">
                <a16:creationId xmlns:a16="http://schemas.microsoft.com/office/drawing/2014/main" id="{F1F1A764-F3E7-4DF8-B03C-4BA327148FB0}"/>
              </a:ext>
            </a:extLst>
          </p:cNvPr>
          <p:cNvSpPr txBox="1"/>
          <p:nvPr/>
        </p:nvSpPr>
        <p:spPr>
          <a:xfrm>
            <a:off x="4504300" y="2118119"/>
            <a:ext cx="1304757" cy="276999"/>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zh-CN" altLang="en-US" sz="1800" b="0" i="0" u="none" strike="noStrike" kern="1200" cap="none" spc="0" normalizeH="0" baseline="0" noProof="0" dirty="0">
                <a:ln>
                  <a:noFill/>
                </a:ln>
                <a:solidFill>
                  <a:srgbClr val="465867"/>
                </a:solidFill>
                <a:effectLst/>
                <a:uLnTx/>
                <a:uFillTx/>
                <a:latin typeface="思源宋体 Heavy" panose="02020900000000000000" pitchFamily="18" charset="-122"/>
                <a:ea typeface="思源宋体 Heavy" panose="02020900000000000000" pitchFamily="18" charset="-122"/>
                <a:cs typeface="+mn-cs"/>
              </a:rPr>
              <a:t>秋叶</a:t>
            </a:r>
            <a:r>
              <a:rPr kumimoji="0" lang="en-US" altLang="zh-CN" sz="1800" b="0" i="0" u="none" strike="noStrike" kern="1200" cap="none" spc="0" normalizeH="0" baseline="0" noProof="0" dirty="0">
                <a:ln>
                  <a:noFill/>
                </a:ln>
                <a:solidFill>
                  <a:srgbClr val="465867"/>
                </a:solidFill>
                <a:effectLst/>
                <a:uLnTx/>
                <a:uFillTx/>
                <a:latin typeface="思源宋体 Heavy" panose="02020900000000000000" pitchFamily="18" charset="-122"/>
                <a:ea typeface="思源宋体 Heavy" panose="02020900000000000000" pitchFamily="18" charset="-122"/>
                <a:cs typeface="+mn-cs"/>
              </a:rPr>
              <a:t>PPT</a:t>
            </a:r>
            <a:endParaRPr kumimoji="0" lang="zh-CN" altLang="en-US" sz="1800" b="0" i="0" u="none" strike="noStrike" kern="1200" cap="none" spc="0" normalizeH="0" baseline="0" noProof="0" dirty="0">
              <a:ln>
                <a:noFill/>
              </a:ln>
              <a:solidFill>
                <a:srgbClr val="465867"/>
              </a:solidFill>
              <a:effectLst/>
              <a:uLnTx/>
              <a:uFillTx/>
              <a:latin typeface="思源宋体 Heavy" panose="02020900000000000000" pitchFamily="18" charset="-122"/>
              <a:ea typeface="思源宋体 Heavy" panose="02020900000000000000" pitchFamily="18" charset="-122"/>
              <a:cs typeface="+mn-cs"/>
            </a:endParaRPr>
          </a:p>
        </p:txBody>
      </p:sp>
      <p:sp>
        <p:nvSpPr>
          <p:cNvPr id="37" name="文本框 36">
            <a:extLst>
              <a:ext uri="{FF2B5EF4-FFF2-40B4-BE49-F238E27FC236}">
                <a16:creationId xmlns:a16="http://schemas.microsoft.com/office/drawing/2014/main" id="{A323127B-BACE-48B5-AEE3-A44706CFA246}"/>
              </a:ext>
            </a:extLst>
          </p:cNvPr>
          <p:cNvSpPr txBox="1"/>
          <p:nvPr/>
        </p:nvSpPr>
        <p:spPr>
          <a:xfrm>
            <a:off x="3858232" y="2488662"/>
            <a:ext cx="1843588" cy="798488"/>
          </a:xfrm>
          <a:prstGeom prst="rect">
            <a:avLst/>
          </a:prstGeom>
          <a:noFill/>
        </p:spPr>
        <p:txBody>
          <a:bodyPr wrap="square" lIns="0" tIns="0" rIns="0" bIns="0" rtlCol="0">
            <a:spAutoFit/>
          </a:bodyPr>
          <a:lstStyle>
            <a:defPPr>
              <a:defRPr lang="zh-CN"/>
            </a:defPPr>
            <a:lvl1pPr algn="r">
              <a:lnSpc>
                <a:spcPct val="150000"/>
              </a:lnSpc>
              <a:defRPr sz="1400">
                <a:solidFill>
                  <a:schemeClr val="accent6"/>
                </a:solidFill>
                <a:latin typeface="思源宋体 Light" panose="02020300000000000000" pitchFamily="18" charset="-122"/>
                <a:ea typeface="思源宋体 Light" panose="02020300000000000000" pitchFamily="18" charset="-122"/>
              </a:defRPr>
            </a:lvl1pPr>
          </a:lstStyle>
          <a:p>
            <a:pPr marL="0" marR="0" lvl="0" indent="0" algn="r" defTabSz="914400" rtl="0" eaLnBrk="1" fontAlgn="auto" latinLnBrk="0" hangingPunct="1">
              <a:lnSpc>
                <a:spcPct val="150000"/>
              </a:lnSpc>
              <a:spcBef>
                <a:spcPts val="0"/>
              </a:spcBef>
              <a:spcAft>
                <a:spcPts val="0"/>
              </a:spcAft>
              <a:buClrTx/>
              <a:buSzTx/>
              <a:buFontTx/>
              <a:buNone/>
              <a:tabLst/>
              <a:defRPr/>
            </a:pPr>
            <a:r>
              <a:rPr kumimoji="0" lang="zh-CN" altLang="en-US" sz="1200" b="0" i="0" u="none" strike="noStrike" kern="1200" cap="none" spc="0" normalizeH="0" baseline="0" noProof="0" dirty="0">
                <a:ln>
                  <a:noFill/>
                </a:ln>
                <a:solidFill>
                  <a:srgbClr val="465867"/>
                </a:solidFill>
                <a:effectLst/>
                <a:uLnTx/>
                <a:uFillTx/>
                <a:latin typeface="思源宋体 Light" panose="02020300000000000000" pitchFamily="18" charset="-122"/>
                <a:ea typeface="思源宋体 Light" panose="02020300000000000000" pitchFamily="18" charset="-122"/>
                <a:cs typeface="+mn-cs"/>
              </a:rPr>
              <a:t>不论你是销售、策划、学生、</a:t>
            </a:r>
            <a:r>
              <a:rPr kumimoji="0" lang="en-US" altLang="zh-CN" sz="1200" b="0" i="0" u="none" strike="noStrike" kern="1200" cap="none" spc="0" normalizeH="0" baseline="0" noProof="0" dirty="0">
                <a:ln>
                  <a:noFill/>
                </a:ln>
                <a:solidFill>
                  <a:srgbClr val="465867"/>
                </a:solidFill>
                <a:effectLst/>
                <a:uLnTx/>
                <a:uFillTx/>
                <a:latin typeface="思源宋体 Light" panose="02020300000000000000" pitchFamily="18" charset="-122"/>
                <a:ea typeface="思源宋体 Light" panose="02020300000000000000" pitchFamily="18" charset="-122"/>
                <a:cs typeface="+mn-cs"/>
              </a:rPr>
              <a:t>PPT</a:t>
            </a:r>
            <a:r>
              <a:rPr kumimoji="0" lang="zh-CN" altLang="en-US" sz="1200" b="0" i="0" u="none" strike="noStrike" kern="1200" cap="none" spc="0" normalizeH="0" baseline="0" noProof="0" dirty="0">
                <a:ln>
                  <a:noFill/>
                </a:ln>
                <a:solidFill>
                  <a:srgbClr val="465867"/>
                </a:solidFill>
                <a:effectLst/>
                <a:uLnTx/>
                <a:uFillTx/>
                <a:latin typeface="思源宋体 Light" panose="02020300000000000000" pitchFamily="18" charset="-122"/>
                <a:ea typeface="思源宋体 Light" panose="02020300000000000000" pitchFamily="18" charset="-122"/>
                <a:cs typeface="+mn-cs"/>
              </a:rPr>
              <a:t>爱好者，都能在秋叶</a:t>
            </a:r>
            <a:r>
              <a:rPr kumimoji="0" lang="en-US" altLang="zh-CN" sz="1200" b="0" i="0" u="none" strike="noStrike" kern="1200" cap="none" spc="0" normalizeH="0" baseline="0" noProof="0" dirty="0">
                <a:ln>
                  <a:noFill/>
                </a:ln>
                <a:solidFill>
                  <a:srgbClr val="465867"/>
                </a:solidFill>
                <a:effectLst/>
                <a:uLnTx/>
                <a:uFillTx/>
                <a:latin typeface="思源宋体 Light" panose="02020300000000000000" pitchFamily="18" charset="-122"/>
                <a:ea typeface="思源宋体 Light" panose="02020300000000000000" pitchFamily="18" charset="-122"/>
                <a:cs typeface="+mn-cs"/>
              </a:rPr>
              <a:t>PPT</a:t>
            </a:r>
            <a:r>
              <a:rPr kumimoji="0" lang="zh-CN" altLang="en-US" sz="1200" b="0" i="0" u="none" strike="noStrike" kern="1200" cap="none" spc="0" normalizeH="0" baseline="0" noProof="0" dirty="0">
                <a:ln>
                  <a:noFill/>
                </a:ln>
                <a:solidFill>
                  <a:srgbClr val="465867"/>
                </a:solidFill>
                <a:effectLst/>
                <a:uLnTx/>
                <a:uFillTx/>
                <a:latin typeface="思源宋体 Light" panose="02020300000000000000" pitchFamily="18" charset="-122"/>
                <a:ea typeface="思源宋体 Light" panose="02020300000000000000" pitchFamily="18" charset="-122"/>
                <a:cs typeface="+mn-cs"/>
              </a:rPr>
              <a:t>找到适合的模板。</a:t>
            </a:r>
          </a:p>
        </p:txBody>
      </p:sp>
      <p:sp>
        <p:nvSpPr>
          <p:cNvPr id="46" name="文本框 45">
            <a:extLst>
              <a:ext uri="{FF2B5EF4-FFF2-40B4-BE49-F238E27FC236}">
                <a16:creationId xmlns:a16="http://schemas.microsoft.com/office/drawing/2014/main" id="{A7BA168F-0E5B-4F44-AD2B-77D689BEA081}"/>
              </a:ext>
            </a:extLst>
          </p:cNvPr>
          <p:cNvSpPr txBox="1"/>
          <p:nvPr/>
        </p:nvSpPr>
        <p:spPr>
          <a:xfrm>
            <a:off x="4504300" y="5466703"/>
            <a:ext cx="1304757" cy="276999"/>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zh-CN" altLang="en-US" sz="1800" b="0" i="0" u="none" strike="noStrike" kern="1200" cap="none" spc="0" normalizeH="0" baseline="0" noProof="0" dirty="0">
                <a:ln>
                  <a:noFill/>
                </a:ln>
                <a:solidFill>
                  <a:srgbClr val="465867"/>
                </a:solidFill>
                <a:effectLst/>
                <a:uLnTx/>
                <a:uFillTx/>
                <a:latin typeface="思源宋体 Heavy" panose="02020900000000000000" pitchFamily="18" charset="-122"/>
                <a:ea typeface="思源宋体 Heavy" panose="02020900000000000000" pitchFamily="18" charset="-122"/>
                <a:cs typeface="+mn-cs"/>
              </a:rPr>
              <a:t>秋叶</a:t>
            </a:r>
            <a:r>
              <a:rPr kumimoji="0" lang="en-US" altLang="zh-CN" sz="1800" b="0" i="0" u="none" strike="noStrike" kern="1200" cap="none" spc="0" normalizeH="0" baseline="0" noProof="0" dirty="0">
                <a:ln>
                  <a:noFill/>
                </a:ln>
                <a:solidFill>
                  <a:srgbClr val="465867"/>
                </a:solidFill>
                <a:effectLst/>
                <a:uLnTx/>
                <a:uFillTx/>
                <a:latin typeface="思源宋体 Heavy" panose="02020900000000000000" pitchFamily="18" charset="-122"/>
                <a:ea typeface="思源宋体 Heavy" panose="02020900000000000000" pitchFamily="18" charset="-122"/>
                <a:cs typeface="+mn-cs"/>
              </a:rPr>
              <a:t>PPT</a:t>
            </a:r>
            <a:endParaRPr kumimoji="0" lang="zh-CN" altLang="en-US" sz="1800" b="0" i="0" u="none" strike="noStrike" kern="1200" cap="none" spc="0" normalizeH="0" baseline="0" noProof="0" dirty="0">
              <a:ln>
                <a:noFill/>
              </a:ln>
              <a:solidFill>
                <a:srgbClr val="465867"/>
              </a:solidFill>
              <a:effectLst/>
              <a:uLnTx/>
              <a:uFillTx/>
              <a:latin typeface="思源宋体 Heavy" panose="02020900000000000000" pitchFamily="18" charset="-122"/>
              <a:ea typeface="思源宋体 Heavy" panose="02020900000000000000" pitchFamily="18" charset="-122"/>
              <a:cs typeface="+mn-cs"/>
            </a:endParaRPr>
          </a:p>
        </p:txBody>
      </p:sp>
      <p:sp>
        <p:nvSpPr>
          <p:cNvPr id="47" name="文本框 46">
            <a:extLst>
              <a:ext uri="{FF2B5EF4-FFF2-40B4-BE49-F238E27FC236}">
                <a16:creationId xmlns:a16="http://schemas.microsoft.com/office/drawing/2014/main" id="{7DEF8514-F832-4937-9FAD-E1017A32FED4}"/>
              </a:ext>
            </a:extLst>
          </p:cNvPr>
          <p:cNvSpPr txBox="1"/>
          <p:nvPr/>
        </p:nvSpPr>
        <p:spPr>
          <a:xfrm>
            <a:off x="3920575" y="4525076"/>
            <a:ext cx="1843588" cy="798488"/>
          </a:xfrm>
          <a:prstGeom prst="rect">
            <a:avLst/>
          </a:prstGeom>
          <a:noFill/>
        </p:spPr>
        <p:txBody>
          <a:bodyPr wrap="square" lIns="0" tIns="0" rIns="0" bIns="0" rtlCol="0">
            <a:spAutoFit/>
          </a:bodyPr>
          <a:lstStyle>
            <a:defPPr>
              <a:defRPr lang="zh-CN"/>
            </a:defPPr>
            <a:lvl1pPr algn="r">
              <a:lnSpc>
                <a:spcPct val="150000"/>
              </a:lnSpc>
              <a:defRPr sz="1400">
                <a:solidFill>
                  <a:schemeClr val="accent6"/>
                </a:solidFill>
                <a:latin typeface="思源宋体 Light" panose="02020300000000000000" pitchFamily="18" charset="-122"/>
                <a:ea typeface="思源宋体 Light" panose="02020300000000000000" pitchFamily="18" charset="-122"/>
              </a:defRPr>
            </a:lvl1pPr>
          </a:lstStyle>
          <a:p>
            <a:pPr marL="0" marR="0" lvl="0" indent="0" algn="r" defTabSz="914400" rtl="0" eaLnBrk="1" fontAlgn="auto" latinLnBrk="0" hangingPunct="1">
              <a:lnSpc>
                <a:spcPct val="150000"/>
              </a:lnSpc>
              <a:spcBef>
                <a:spcPts val="0"/>
              </a:spcBef>
              <a:spcAft>
                <a:spcPts val="0"/>
              </a:spcAft>
              <a:buClrTx/>
              <a:buSzTx/>
              <a:buFontTx/>
              <a:buNone/>
              <a:tabLst/>
              <a:defRPr/>
            </a:pPr>
            <a:r>
              <a:rPr kumimoji="0" lang="zh-CN" altLang="en-US" sz="1200" b="0" i="0" u="none" strike="noStrike" kern="1200" cap="none" spc="0" normalizeH="0" baseline="0" noProof="0" dirty="0">
                <a:ln>
                  <a:noFill/>
                </a:ln>
                <a:solidFill>
                  <a:srgbClr val="465867"/>
                </a:solidFill>
                <a:effectLst/>
                <a:uLnTx/>
                <a:uFillTx/>
                <a:latin typeface="思源宋体 Light" panose="02020300000000000000" pitchFamily="18" charset="-122"/>
                <a:ea typeface="思源宋体 Light" panose="02020300000000000000" pitchFamily="18" charset="-122"/>
                <a:cs typeface="+mn-cs"/>
              </a:rPr>
              <a:t>不论你是销售、策划、学生、</a:t>
            </a:r>
            <a:r>
              <a:rPr kumimoji="0" lang="en-US" altLang="zh-CN" sz="1200" b="0" i="0" u="none" strike="noStrike" kern="1200" cap="none" spc="0" normalizeH="0" baseline="0" noProof="0" dirty="0">
                <a:ln>
                  <a:noFill/>
                </a:ln>
                <a:solidFill>
                  <a:srgbClr val="465867"/>
                </a:solidFill>
                <a:effectLst/>
                <a:uLnTx/>
                <a:uFillTx/>
                <a:latin typeface="思源宋体 Light" panose="02020300000000000000" pitchFamily="18" charset="-122"/>
                <a:ea typeface="思源宋体 Light" panose="02020300000000000000" pitchFamily="18" charset="-122"/>
                <a:cs typeface="+mn-cs"/>
              </a:rPr>
              <a:t>PPT</a:t>
            </a:r>
            <a:r>
              <a:rPr kumimoji="0" lang="zh-CN" altLang="en-US" sz="1200" b="0" i="0" u="none" strike="noStrike" kern="1200" cap="none" spc="0" normalizeH="0" baseline="0" noProof="0" dirty="0">
                <a:ln>
                  <a:noFill/>
                </a:ln>
                <a:solidFill>
                  <a:srgbClr val="465867"/>
                </a:solidFill>
                <a:effectLst/>
                <a:uLnTx/>
                <a:uFillTx/>
                <a:latin typeface="思源宋体 Light" panose="02020300000000000000" pitchFamily="18" charset="-122"/>
                <a:ea typeface="思源宋体 Light" panose="02020300000000000000" pitchFamily="18" charset="-122"/>
                <a:cs typeface="+mn-cs"/>
              </a:rPr>
              <a:t>爱好者，都能在秋叶</a:t>
            </a:r>
            <a:r>
              <a:rPr kumimoji="0" lang="en-US" altLang="zh-CN" sz="1200" b="0" i="0" u="none" strike="noStrike" kern="1200" cap="none" spc="0" normalizeH="0" baseline="0" noProof="0" dirty="0">
                <a:ln>
                  <a:noFill/>
                </a:ln>
                <a:solidFill>
                  <a:srgbClr val="465867"/>
                </a:solidFill>
                <a:effectLst/>
                <a:uLnTx/>
                <a:uFillTx/>
                <a:latin typeface="思源宋体 Light" panose="02020300000000000000" pitchFamily="18" charset="-122"/>
                <a:ea typeface="思源宋体 Light" panose="02020300000000000000" pitchFamily="18" charset="-122"/>
                <a:cs typeface="+mn-cs"/>
              </a:rPr>
              <a:t>PPT</a:t>
            </a:r>
            <a:r>
              <a:rPr kumimoji="0" lang="zh-CN" altLang="en-US" sz="1200" b="0" i="0" u="none" strike="noStrike" kern="1200" cap="none" spc="0" normalizeH="0" baseline="0" noProof="0" dirty="0">
                <a:ln>
                  <a:noFill/>
                </a:ln>
                <a:solidFill>
                  <a:srgbClr val="465867"/>
                </a:solidFill>
                <a:effectLst/>
                <a:uLnTx/>
                <a:uFillTx/>
                <a:latin typeface="思源宋体 Light" panose="02020300000000000000" pitchFamily="18" charset="-122"/>
                <a:ea typeface="思源宋体 Light" panose="02020300000000000000" pitchFamily="18" charset="-122"/>
                <a:cs typeface="+mn-cs"/>
              </a:rPr>
              <a:t>找到适合的模板。</a:t>
            </a:r>
          </a:p>
        </p:txBody>
      </p:sp>
      <p:sp>
        <p:nvSpPr>
          <p:cNvPr id="49" name="文本框 48">
            <a:extLst>
              <a:ext uri="{FF2B5EF4-FFF2-40B4-BE49-F238E27FC236}">
                <a16:creationId xmlns:a16="http://schemas.microsoft.com/office/drawing/2014/main" id="{904E7768-7047-4123-A4F7-7EB5F4E5B045}"/>
              </a:ext>
            </a:extLst>
          </p:cNvPr>
          <p:cNvSpPr txBox="1"/>
          <p:nvPr/>
        </p:nvSpPr>
        <p:spPr>
          <a:xfrm>
            <a:off x="7501823" y="1831020"/>
            <a:ext cx="1304757" cy="276999"/>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zh-CN" altLang="en-US" sz="1800" b="0" i="0" u="none" strike="noStrike" kern="1200" cap="none" spc="0" normalizeH="0" baseline="0" noProof="0" dirty="0">
                <a:ln>
                  <a:noFill/>
                </a:ln>
                <a:solidFill>
                  <a:srgbClr val="465867"/>
                </a:solidFill>
                <a:effectLst/>
                <a:uLnTx/>
                <a:uFillTx/>
                <a:latin typeface="思源宋体 Heavy" panose="02020900000000000000" pitchFamily="18" charset="-122"/>
                <a:ea typeface="思源宋体 Heavy" panose="02020900000000000000" pitchFamily="18" charset="-122"/>
                <a:cs typeface="+mn-cs"/>
              </a:rPr>
              <a:t>秋叶</a:t>
            </a:r>
            <a:r>
              <a:rPr kumimoji="0" lang="en-US" altLang="zh-CN" sz="1800" b="0" i="0" u="none" strike="noStrike" kern="1200" cap="none" spc="0" normalizeH="0" baseline="0" noProof="0" dirty="0">
                <a:ln>
                  <a:noFill/>
                </a:ln>
                <a:solidFill>
                  <a:srgbClr val="465867"/>
                </a:solidFill>
                <a:effectLst/>
                <a:uLnTx/>
                <a:uFillTx/>
                <a:latin typeface="思源宋体 Heavy" panose="02020900000000000000" pitchFamily="18" charset="-122"/>
                <a:ea typeface="思源宋体 Heavy" panose="02020900000000000000" pitchFamily="18" charset="-122"/>
                <a:cs typeface="+mn-cs"/>
              </a:rPr>
              <a:t>PPT</a:t>
            </a:r>
            <a:endParaRPr kumimoji="0" lang="zh-CN" altLang="en-US" sz="1800" b="0" i="0" u="none" strike="noStrike" kern="1200" cap="none" spc="0" normalizeH="0" baseline="0" noProof="0" dirty="0">
              <a:ln>
                <a:noFill/>
              </a:ln>
              <a:solidFill>
                <a:srgbClr val="465867"/>
              </a:solidFill>
              <a:effectLst/>
              <a:uLnTx/>
              <a:uFillTx/>
              <a:latin typeface="思源宋体 Heavy" panose="02020900000000000000" pitchFamily="18" charset="-122"/>
              <a:ea typeface="思源宋体 Heavy" panose="02020900000000000000" pitchFamily="18" charset="-122"/>
              <a:cs typeface="+mn-cs"/>
            </a:endParaRPr>
          </a:p>
        </p:txBody>
      </p:sp>
      <p:sp>
        <p:nvSpPr>
          <p:cNvPr id="50" name="文本框 49">
            <a:extLst>
              <a:ext uri="{FF2B5EF4-FFF2-40B4-BE49-F238E27FC236}">
                <a16:creationId xmlns:a16="http://schemas.microsoft.com/office/drawing/2014/main" id="{A9C94B15-E39C-4C9A-B6F2-59E1187A184D}"/>
              </a:ext>
            </a:extLst>
          </p:cNvPr>
          <p:cNvSpPr txBox="1"/>
          <p:nvPr/>
        </p:nvSpPr>
        <p:spPr>
          <a:xfrm>
            <a:off x="6836291" y="2165882"/>
            <a:ext cx="1968273" cy="1075487"/>
          </a:xfrm>
          <a:prstGeom prst="rect">
            <a:avLst/>
          </a:prstGeom>
          <a:noFill/>
        </p:spPr>
        <p:txBody>
          <a:bodyPr wrap="square" lIns="0" tIns="0" rIns="0" bIns="0" rtlCol="0">
            <a:spAutoFit/>
          </a:bodyPr>
          <a:lstStyle>
            <a:defPPr>
              <a:defRPr lang="zh-CN"/>
            </a:defPPr>
            <a:lvl1pPr algn="r">
              <a:lnSpc>
                <a:spcPct val="150000"/>
              </a:lnSpc>
              <a:defRPr sz="1400">
                <a:solidFill>
                  <a:schemeClr val="accent6"/>
                </a:solidFill>
                <a:latin typeface="思源宋体 Light" panose="02020300000000000000" pitchFamily="18" charset="-122"/>
                <a:ea typeface="思源宋体 Light" panose="02020300000000000000" pitchFamily="18" charset="-122"/>
              </a:defRPr>
            </a:lvl1pPr>
          </a:lstStyle>
          <a:p>
            <a:pPr marL="0" marR="0" lvl="0" indent="0" algn="r" defTabSz="914400" rtl="0" eaLnBrk="1" fontAlgn="auto" latinLnBrk="0" hangingPunct="1">
              <a:lnSpc>
                <a:spcPct val="150000"/>
              </a:lnSpc>
              <a:spcBef>
                <a:spcPts val="0"/>
              </a:spcBef>
              <a:spcAft>
                <a:spcPts val="0"/>
              </a:spcAft>
              <a:buClrTx/>
              <a:buSzTx/>
              <a:buFontTx/>
              <a:buNone/>
              <a:tabLst/>
              <a:defRPr/>
            </a:pPr>
            <a:r>
              <a:rPr kumimoji="0" lang="zh-CN" altLang="en-US" sz="1200" b="0" i="0" u="none" strike="noStrike" kern="1200" cap="none" spc="0" normalizeH="0" baseline="0" noProof="0" dirty="0">
                <a:ln>
                  <a:noFill/>
                </a:ln>
                <a:solidFill>
                  <a:srgbClr val="465867"/>
                </a:solidFill>
                <a:effectLst/>
                <a:uLnTx/>
                <a:uFillTx/>
                <a:latin typeface="思源宋体 Light" panose="02020300000000000000" pitchFamily="18" charset="-122"/>
                <a:ea typeface="思源宋体 Light" panose="02020300000000000000" pitchFamily="18" charset="-122"/>
                <a:cs typeface="+mn-cs"/>
              </a:rPr>
              <a:t>借助秋叶</a:t>
            </a:r>
            <a:r>
              <a:rPr kumimoji="0" lang="en-US" altLang="zh-CN" sz="1200" b="0" i="0" u="none" strike="noStrike" kern="1200" cap="none" spc="0" normalizeH="0" baseline="0" noProof="0" dirty="0">
                <a:ln>
                  <a:noFill/>
                </a:ln>
                <a:solidFill>
                  <a:srgbClr val="465867"/>
                </a:solidFill>
                <a:effectLst/>
                <a:uLnTx/>
                <a:uFillTx/>
                <a:latin typeface="思源宋体 Light" panose="02020300000000000000" pitchFamily="18" charset="-122"/>
                <a:ea typeface="思源宋体 Light" panose="02020300000000000000" pitchFamily="18" charset="-122"/>
                <a:cs typeface="+mn-cs"/>
              </a:rPr>
              <a:t>PPT</a:t>
            </a:r>
            <a:r>
              <a:rPr kumimoji="0" lang="zh-CN" altLang="en-US" sz="1200" b="0" i="0" u="none" strike="noStrike" kern="1200" cap="none" spc="0" normalizeH="0" baseline="0" noProof="0" dirty="0">
                <a:ln>
                  <a:noFill/>
                </a:ln>
                <a:solidFill>
                  <a:srgbClr val="465867"/>
                </a:solidFill>
                <a:effectLst/>
                <a:uLnTx/>
                <a:uFillTx/>
                <a:latin typeface="思源宋体 Light" panose="02020300000000000000" pitchFamily="18" charset="-122"/>
                <a:ea typeface="思源宋体 Light" panose="02020300000000000000" pitchFamily="18" charset="-122"/>
                <a:cs typeface="+mn-cs"/>
              </a:rPr>
              <a:t>插件，通过添加图片等素材，用强大的视觉表现力打动听众，讲述生动的演示故事。</a:t>
            </a:r>
          </a:p>
        </p:txBody>
      </p:sp>
      <p:sp>
        <p:nvSpPr>
          <p:cNvPr id="52" name="文本框 51">
            <a:extLst>
              <a:ext uri="{FF2B5EF4-FFF2-40B4-BE49-F238E27FC236}">
                <a16:creationId xmlns:a16="http://schemas.microsoft.com/office/drawing/2014/main" id="{DF8C75F3-8C7F-4242-8672-95305DC6233B}"/>
              </a:ext>
            </a:extLst>
          </p:cNvPr>
          <p:cNvSpPr txBox="1"/>
          <p:nvPr/>
        </p:nvSpPr>
        <p:spPr>
          <a:xfrm>
            <a:off x="7501823" y="5719905"/>
            <a:ext cx="1304757" cy="276999"/>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zh-CN" altLang="en-US" sz="1800" b="0" i="0" u="none" strike="noStrike" kern="1200" cap="none" spc="0" normalizeH="0" baseline="0" noProof="0" dirty="0">
                <a:ln>
                  <a:noFill/>
                </a:ln>
                <a:solidFill>
                  <a:srgbClr val="465867"/>
                </a:solidFill>
                <a:effectLst/>
                <a:uLnTx/>
                <a:uFillTx/>
                <a:latin typeface="思源宋体 Heavy" panose="02020900000000000000" pitchFamily="18" charset="-122"/>
                <a:ea typeface="思源宋体 Heavy" panose="02020900000000000000" pitchFamily="18" charset="-122"/>
                <a:cs typeface="+mn-cs"/>
              </a:rPr>
              <a:t>秋叶</a:t>
            </a:r>
            <a:r>
              <a:rPr kumimoji="0" lang="en-US" altLang="zh-CN" sz="1800" b="0" i="0" u="none" strike="noStrike" kern="1200" cap="none" spc="0" normalizeH="0" baseline="0" noProof="0" dirty="0">
                <a:ln>
                  <a:noFill/>
                </a:ln>
                <a:solidFill>
                  <a:srgbClr val="465867"/>
                </a:solidFill>
                <a:effectLst/>
                <a:uLnTx/>
                <a:uFillTx/>
                <a:latin typeface="思源宋体 Heavy" panose="02020900000000000000" pitchFamily="18" charset="-122"/>
                <a:ea typeface="思源宋体 Heavy" panose="02020900000000000000" pitchFamily="18" charset="-122"/>
                <a:cs typeface="+mn-cs"/>
              </a:rPr>
              <a:t>PPT</a:t>
            </a:r>
            <a:endParaRPr kumimoji="0" lang="zh-CN" altLang="en-US" sz="1800" b="0" i="0" u="none" strike="noStrike" kern="1200" cap="none" spc="0" normalizeH="0" baseline="0" noProof="0" dirty="0">
              <a:ln>
                <a:noFill/>
              </a:ln>
              <a:solidFill>
                <a:srgbClr val="465867"/>
              </a:solidFill>
              <a:effectLst/>
              <a:uLnTx/>
              <a:uFillTx/>
              <a:latin typeface="思源宋体 Heavy" panose="02020900000000000000" pitchFamily="18" charset="-122"/>
              <a:ea typeface="思源宋体 Heavy" panose="02020900000000000000" pitchFamily="18" charset="-122"/>
              <a:cs typeface="+mn-cs"/>
            </a:endParaRPr>
          </a:p>
        </p:txBody>
      </p:sp>
      <p:sp>
        <p:nvSpPr>
          <p:cNvPr id="53" name="文本框 52">
            <a:extLst>
              <a:ext uri="{FF2B5EF4-FFF2-40B4-BE49-F238E27FC236}">
                <a16:creationId xmlns:a16="http://schemas.microsoft.com/office/drawing/2014/main" id="{FE6F137A-C0C9-4DD6-85FE-974DB93DE50D}"/>
              </a:ext>
            </a:extLst>
          </p:cNvPr>
          <p:cNvSpPr txBox="1"/>
          <p:nvPr/>
        </p:nvSpPr>
        <p:spPr>
          <a:xfrm>
            <a:off x="6836291" y="4525076"/>
            <a:ext cx="1968273" cy="1075487"/>
          </a:xfrm>
          <a:prstGeom prst="rect">
            <a:avLst/>
          </a:prstGeom>
          <a:noFill/>
        </p:spPr>
        <p:txBody>
          <a:bodyPr wrap="square" lIns="0" tIns="0" rIns="0" bIns="0" rtlCol="0">
            <a:spAutoFit/>
          </a:bodyPr>
          <a:lstStyle>
            <a:defPPr>
              <a:defRPr lang="zh-CN"/>
            </a:defPPr>
            <a:lvl1pPr algn="r">
              <a:lnSpc>
                <a:spcPct val="150000"/>
              </a:lnSpc>
              <a:defRPr sz="1400">
                <a:solidFill>
                  <a:schemeClr val="accent6"/>
                </a:solidFill>
                <a:latin typeface="思源宋体 Light" panose="02020300000000000000" pitchFamily="18" charset="-122"/>
                <a:ea typeface="思源宋体 Light" panose="02020300000000000000" pitchFamily="18" charset="-122"/>
              </a:defRPr>
            </a:lvl1pPr>
          </a:lstStyle>
          <a:p>
            <a:pPr marL="0" marR="0" lvl="0" indent="0" algn="r" defTabSz="914400" rtl="0" eaLnBrk="1" fontAlgn="auto" latinLnBrk="0" hangingPunct="1">
              <a:lnSpc>
                <a:spcPct val="150000"/>
              </a:lnSpc>
              <a:spcBef>
                <a:spcPts val="0"/>
              </a:spcBef>
              <a:spcAft>
                <a:spcPts val="0"/>
              </a:spcAft>
              <a:buClrTx/>
              <a:buSzTx/>
              <a:buFontTx/>
              <a:buNone/>
              <a:tabLst/>
              <a:defRPr/>
            </a:pPr>
            <a:r>
              <a:rPr kumimoji="0" lang="zh-CN" altLang="en-US" sz="1200" b="0" i="0" u="none" strike="noStrike" kern="1200" cap="none" spc="0" normalizeH="0" baseline="0" noProof="0" dirty="0">
                <a:ln>
                  <a:noFill/>
                </a:ln>
                <a:solidFill>
                  <a:srgbClr val="465867"/>
                </a:solidFill>
                <a:effectLst/>
                <a:uLnTx/>
                <a:uFillTx/>
                <a:latin typeface="思源宋体 Light" panose="02020300000000000000" pitchFamily="18" charset="-122"/>
                <a:ea typeface="思源宋体 Light" panose="02020300000000000000" pitchFamily="18" charset="-122"/>
                <a:cs typeface="+mn-cs"/>
              </a:rPr>
              <a:t>借助秋叶</a:t>
            </a:r>
            <a:r>
              <a:rPr kumimoji="0" lang="en-US" altLang="zh-CN" sz="1200" b="0" i="0" u="none" strike="noStrike" kern="1200" cap="none" spc="0" normalizeH="0" baseline="0" noProof="0" dirty="0">
                <a:ln>
                  <a:noFill/>
                </a:ln>
                <a:solidFill>
                  <a:srgbClr val="465867"/>
                </a:solidFill>
                <a:effectLst/>
                <a:uLnTx/>
                <a:uFillTx/>
                <a:latin typeface="思源宋体 Light" panose="02020300000000000000" pitchFamily="18" charset="-122"/>
                <a:ea typeface="思源宋体 Light" panose="02020300000000000000" pitchFamily="18" charset="-122"/>
                <a:cs typeface="+mn-cs"/>
              </a:rPr>
              <a:t>PPT</a:t>
            </a:r>
            <a:r>
              <a:rPr kumimoji="0" lang="zh-CN" altLang="en-US" sz="1200" b="0" i="0" u="none" strike="noStrike" kern="1200" cap="none" spc="0" normalizeH="0" baseline="0" noProof="0" dirty="0">
                <a:ln>
                  <a:noFill/>
                </a:ln>
                <a:solidFill>
                  <a:srgbClr val="465867"/>
                </a:solidFill>
                <a:effectLst/>
                <a:uLnTx/>
                <a:uFillTx/>
                <a:latin typeface="思源宋体 Light" panose="02020300000000000000" pitchFamily="18" charset="-122"/>
                <a:ea typeface="思源宋体 Light" panose="02020300000000000000" pitchFamily="18" charset="-122"/>
                <a:cs typeface="+mn-cs"/>
              </a:rPr>
              <a:t>插件，通过添加图片等素材，用强大的视觉表现力打动听众，讲述生动的演示故事。</a:t>
            </a:r>
          </a:p>
        </p:txBody>
      </p:sp>
      <p:sp>
        <p:nvSpPr>
          <p:cNvPr id="57" name="任意多边形: 形状 56">
            <a:extLst>
              <a:ext uri="{FF2B5EF4-FFF2-40B4-BE49-F238E27FC236}">
                <a16:creationId xmlns:a16="http://schemas.microsoft.com/office/drawing/2014/main" id="{4557336F-D303-49BA-9457-D37339594A34}"/>
              </a:ext>
            </a:extLst>
          </p:cNvPr>
          <p:cNvSpPr/>
          <p:nvPr/>
        </p:nvSpPr>
        <p:spPr>
          <a:xfrm>
            <a:off x="3122362" y="2329930"/>
            <a:ext cx="407281" cy="407281"/>
          </a:xfrm>
          <a:custGeom>
            <a:avLst/>
            <a:gdLst>
              <a:gd name="connsiteX0" fmla="*/ 30450 w 730800"/>
              <a:gd name="connsiteY0" fmla="*/ 669900 h 730800"/>
              <a:gd name="connsiteX1" fmla="*/ 274050 w 730800"/>
              <a:gd name="connsiteY1" fmla="*/ 669900 h 730800"/>
              <a:gd name="connsiteX2" fmla="*/ 304500 w 730800"/>
              <a:gd name="connsiteY2" fmla="*/ 700350 h 730800"/>
              <a:gd name="connsiteX3" fmla="*/ 274050 w 730800"/>
              <a:gd name="connsiteY3" fmla="*/ 730800 h 730800"/>
              <a:gd name="connsiteX4" fmla="*/ 30450 w 730800"/>
              <a:gd name="connsiteY4" fmla="*/ 730800 h 730800"/>
              <a:gd name="connsiteX5" fmla="*/ 0 w 730800"/>
              <a:gd name="connsiteY5" fmla="*/ 700350 h 730800"/>
              <a:gd name="connsiteX6" fmla="*/ 30450 w 730800"/>
              <a:gd name="connsiteY6" fmla="*/ 669900 h 730800"/>
              <a:gd name="connsiteX7" fmla="*/ 30450 w 730800"/>
              <a:gd name="connsiteY7" fmla="*/ 548100 h 730800"/>
              <a:gd name="connsiteX8" fmla="*/ 213150 w 730800"/>
              <a:gd name="connsiteY8" fmla="*/ 548100 h 730800"/>
              <a:gd name="connsiteX9" fmla="*/ 243600 w 730800"/>
              <a:gd name="connsiteY9" fmla="*/ 578550 h 730800"/>
              <a:gd name="connsiteX10" fmla="*/ 213150 w 730800"/>
              <a:gd name="connsiteY10" fmla="*/ 609000 h 730800"/>
              <a:gd name="connsiteX11" fmla="*/ 30450 w 730800"/>
              <a:gd name="connsiteY11" fmla="*/ 609000 h 730800"/>
              <a:gd name="connsiteX12" fmla="*/ 0 w 730800"/>
              <a:gd name="connsiteY12" fmla="*/ 578550 h 730800"/>
              <a:gd name="connsiteX13" fmla="*/ 30450 w 730800"/>
              <a:gd name="connsiteY13" fmla="*/ 548100 h 730800"/>
              <a:gd name="connsiteX14" fmla="*/ 30450 w 730800"/>
              <a:gd name="connsiteY14" fmla="*/ 426300 h 730800"/>
              <a:gd name="connsiteX15" fmla="*/ 152250 w 730800"/>
              <a:gd name="connsiteY15" fmla="*/ 426300 h 730800"/>
              <a:gd name="connsiteX16" fmla="*/ 182700 w 730800"/>
              <a:gd name="connsiteY16" fmla="*/ 456750 h 730800"/>
              <a:gd name="connsiteX17" fmla="*/ 152250 w 730800"/>
              <a:gd name="connsiteY17" fmla="*/ 487200 h 730800"/>
              <a:gd name="connsiteX18" fmla="*/ 30450 w 730800"/>
              <a:gd name="connsiteY18" fmla="*/ 487200 h 730800"/>
              <a:gd name="connsiteX19" fmla="*/ 0 w 730800"/>
              <a:gd name="connsiteY19" fmla="*/ 456750 h 730800"/>
              <a:gd name="connsiteX20" fmla="*/ 30450 w 730800"/>
              <a:gd name="connsiteY20" fmla="*/ 426300 h 730800"/>
              <a:gd name="connsiteX21" fmla="*/ 365400 w 730800"/>
              <a:gd name="connsiteY21" fmla="*/ 182700 h 730800"/>
              <a:gd name="connsiteX22" fmla="*/ 334950 w 730800"/>
              <a:gd name="connsiteY22" fmla="*/ 213150 h 730800"/>
              <a:gd name="connsiteX23" fmla="*/ 334950 w 730800"/>
              <a:gd name="connsiteY23" fmla="*/ 365400 h 730800"/>
              <a:gd name="connsiteX24" fmla="*/ 343872 w 730800"/>
              <a:gd name="connsiteY24" fmla="*/ 386928 h 730800"/>
              <a:gd name="connsiteX25" fmla="*/ 435222 w 730800"/>
              <a:gd name="connsiteY25" fmla="*/ 478278 h 730800"/>
              <a:gd name="connsiteX26" fmla="*/ 478278 w 730800"/>
              <a:gd name="connsiteY26" fmla="*/ 478278 h 730800"/>
              <a:gd name="connsiteX27" fmla="*/ 478278 w 730800"/>
              <a:gd name="connsiteY27" fmla="*/ 435222 h 730800"/>
              <a:gd name="connsiteX28" fmla="*/ 395850 w 730800"/>
              <a:gd name="connsiteY28" fmla="*/ 352794 h 730800"/>
              <a:gd name="connsiteX29" fmla="*/ 395850 w 730800"/>
              <a:gd name="connsiteY29" fmla="*/ 213150 h 730800"/>
              <a:gd name="connsiteX30" fmla="*/ 365400 w 730800"/>
              <a:gd name="connsiteY30" fmla="*/ 182700 h 730800"/>
              <a:gd name="connsiteX31" fmla="*/ 365400 w 730800"/>
              <a:gd name="connsiteY31" fmla="*/ 0 h 730800"/>
              <a:gd name="connsiteX32" fmla="*/ 730800 w 730800"/>
              <a:gd name="connsiteY32" fmla="*/ 365400 h 730800"/>
              <a:gd name="connsiteX33" fmla="*/ 365400 w 730800"/>
              <a:gd name="connsiteY33" fmla="*/ 730800 h 730800"/>
              <a:gd name="connsiteX34" fmla="*/ 359889 w 730800"/>
              <a:gd name="connsiteY34" fmla="*/ 730526 h 730800"/>
              <a:gd name="connsiteX35" fmla="*/ 362617 w 730800"/>
              <a:gd name="connsiteY35" fmla="*/ 721738 h 730800"/>
              <a:gd name="connsiteX36" fmla="*/ 297801 w 730800"/>
              <a:gd name="connsiteY36" fmla="*/ 612532 h 730800"/>
              <a:gd name="connsiteX37" fmla="*/ 301529 w 730800"/>
              <a:gd name="connsiteY37" fmla="*/ 601348 h 730800"/>
              <a:gd name="connsiteX38" fmla="*/ 236901 w 730800"/>
              <a:gd name="connsiteY38" fmla="*/ 490732 h 730800"/>
              <a:gd name="connsiteX39" fmla="*/ 243603 w 730800"/>
              <a:gd name="connsiteY39" fmla="*/ 456138 h 730800"/>
              <a:gd name="connsiteX40" fmla="*/ 152250 w 730800"/>
              <a:gd name="connsiteY40" fmla="*/ 365400 h 730800"/>
              <a:gd name="connsiteX41" fmla="*/ 30450 w 730800"/>
              <a:gd name="connsiteY41" fmla="*/ 365400 h 730800"/>
              <a:gd name="connsiteX42" fmla="*/ 274 w 730800"/>
              <a:gd name="connsiteY42" fmla="*/ 370911 h 730800"/>
              <a:gd name="connsiteX43" fmla="*/ 0 w 730800"/>
              <a:gd name="connsiteY43" fmla="*/ 365400 h 730800"/>
              <a:gd name="connsiteX44" fmla="*/ 365400 w 730800"/>
              <a:gd name="connsiteY44" fmla="*/ 0 h 730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730800" h="730800">
                <a:moveTo>
                  <a:pt x="30450" y="669900"/>
                </a:moveTo>
                <a:lnTo>
                  <a:pt x="274050" y="669900"/>
                </a:lnTo>
                <a:cubicBezTo>
                  <a:pt x="290867" y="669900"/>
                  <a:pt x="304500" y="683532"/>
                  <a:pt x="304500" y="700350"/>
                </a:cubicBezTo>
                <a:cubicBezTo>
                  <a:pt x="304500" y="717168"/>
                  <a:pt x="290867" y="730800"/>
                  <a:pt x="274050" y="730800"/>
                </a:cubicBezTo>
                <a:lnTo>
                  <a:pt x="30450" y="730800"/>
                </a:lnTo>
                <a:cubicBezTo>
                  <a:pt x="13633" y="730800"/>
                  <a:pt x="0" y="717168"/>
                  <a:pt x="0" y="700350"/>
                </a:cubicBezTo>
                <a:cubicBezTo>
                  <a:pt x="0" y="683532"/>
                  <a:pt x="13633" y="669900"/>
                  <a:pt x="30450" y="669900"/>
                </a:cubicBezTo>
                <a:close/>
                <a:moveTo>
                  <a:pt x="30450" y="548100"/>
                </a:moveTo>
                <a:lnTo>
                  <a:pt x="213150" y="548100"/>
                </a:lnTo>
                <a:cubicBezTo>
                  <a:pt x="229967" y="548100"/>
                  <a:pt x="243600" y="561732"/>
                  <a:pt x="243600" y="578550"/>
                </a:cubicBezTo>
                <a:cubicBezTo>
                  <a:pt x="243600" y="595368"/>
                  <a:pt x="229967" y="609000"/>
                  <a:pt x="213150" y="609000"/>
                </a:cubicBezTo>
                <a:lnTo>
                  <a:pt x="30450" y="609000"/>
                </a:lnTo>
                <a:cubicBezTo>
                  <a:pt x="13633" y="609000"/>
                  <a:pt x="0" y="595368"/>
                  <a:pt x="0" y="578550"/>
                </a:cubicBezTo>
                <a:cubicBezTo>
                  <a:pt x="0" y="561732"/>
                  <a:pt x="13633" y="548100"/>
                  <a:pt x="30450" y="548100"/>
                </a:cubicBezTo>
                <a:close/>
                <a:moveTo>
                  <a:pt x="30450" y="426300"/>
                </a:moveTo>
                <a:lnTo>
                  <a:pt x="152250" y="426300"/>
                </a:lnTo>
                <a:cubicBezTo>
                  <a:pt x="169067" y="426300"/>
                  <a:pt x="182700" y="439932"/>
                  <a:pt x="182700" y="456750"/>
                </a:cubicBezTo>
                <a:cubicBezTo>
                  <a:pt x="182700" y="473568"/>
                  <a:pt x="169067" y="487200"/>
                  <a:pt x="152250" y="487200"/>
                </a:cubicBezTo>
                <a:lnTo>
                  <a:pt x="30450" y="487200"/>
                </a:lnTo>
                <a:cubicBezTo>
                  <a:pt x="13633" y="487200"/>
                  <a:pt x="0" y="473568"/>
                  <a:pt x="0" y="456750"/>
                </a:cubicBezTo>
                <a:cubicBezTo>
                  <a:pt x="0" y="439932"/>
                  <a:pt x="13633" y="426300"/>
                  <a:pt x="30450" y="426300"/>
                </a:cubicBezTo>
                <a:close/>
                <a:moveTo>
                  <a:pt x="365400" y="182700"/>
                </a:moveTo>
                <a:cubicBezTo>
                  <a:pt x="348582" y="182700"/>
                  <a:pt x="334950" y="196333"/>
                  <a:pt x="334950" y="213150"/>
                </a:cubicBezTo>
                <a:lnTo>
                  <a:pt x="334950" y="365400"/>
                </a:lnTo>
                <a:cubicBezTo>
                  <a:pt x="334953" y="373475"/>
                  <a:pt x="338162" y="381219"/>
                  <a:pt x="343872" y="386928"/>
                </a:cubicBezTo>
                <a:lnTo>
                  <a:pt x="435222" y="478278"/>
                </a:lnTo>
                <a:cubicBezTo>
                  <a:pt x="447113" y="490166"/>
                  <a:pt x="466387" y="490166"/>
                  <a:pt x="478278" y="478278"/>
                </a:cubicBezTo>
                <a:cubicBezTo>
                  <a:pt x="490166" y="466387"/>
                  <a:pt x="490166" y="447113"/>
                  <a:pt x="478278" y="435222"/>
                </a:cubicBezTo>
                <a:lnTo>
                  <a:pt x="395850" y="352794"/>
                </a:lnTo>
                <a:lnTo>
                  <a:pt x="395850" y="213150"/>
                </a:lnTo>
                <a:cubicBezTo>
                  <a:pt x="395850" y="196333"/>
                  <a:pt x="382218" y="182700"/>
                  <a:pt x="365400" y="182700"/>
                </a:cubicBezTo>
                <a:close/>
                <a:moveTo>
                  <a:pt x="365400" y="0"/>
                </a:moveTo>
                <a:cubicBezTo>
                  <a:pt x="567204" y="0"/>
                  <a:pt x="730800" y="163595"/>
                  <a:pt x="730800" y="365400"/>
                </a:cubicBezTo>
                <a:cubicBezTo>
                  <a:pt x="730800" y="567204"/>
                  <a:pt x="567204" y="730800"/>
                  <a:pt x="365400" y="730800"/>
                </a:cubicBezTo>
                <a:cubicBezTo>
                  <a:pt x="363543" y="730800"/>
                  <a:pt x="361746" y="730526"/>
                  <a:pt x="359889" y="730526"/>
                </a:cubicBezTo>
                <a:cubicBezTo>
                  <a:pt x="360948" y="727645"/>
                  <a:pt x="361859" y="724713"/>
                  <a:pt x="362617" y="721738"/>
                </a:cubicBezTo>
                <a:cubicBezTo>
                  <a:pt x="374876" y="673682"/>
                  <a:pt x="345857" y="624791"/>
                  <a:pt x="297801" y="612532"/>
                </a:cubicBezTo>
                <a:cubicBezTo>
                  <a:pt x="299285" y="608890"/>
                  <a:pt x="300531" y="605154"/>
                  <a:pt x="301529" y="601348"/>
                </a:cubicBezTo>
                <a:cubicBezTo>
                  <a:pt x="314229" y="552957"/>
                  <a:pt x="285293" y="503430"/>
                  <a:pt x="236901" y="490732"/>
                </a:cubicBezTo>
                <a:cubicBezTo>
                  <a:pt x="241367" y="479746"/>
                  <a:pt x="243644" y="467995"/>
                  <a:pt x="243603" y="456138"/>
                </a:cubicBezTo>
                <a:cubicBezTo>
                  <a:pt x="243433" y="405853"/>
                  <a:pt x="202533" y="365229"/>
                  <a:pt x="152250" y="365400"/>
                </a:cubicBezTo>
                <a:lnTo>
                  <a:pt x="30450" y="365400"/>
                </a:lnTo>
                <a:cubicBezTo>
                  <a:pt x="20151" y="365504"/>
                  <a:pt x="9945" y="367367"/>
                  <a:pt x="274" y="370911"/>
                </a:cubicBezTo>
                <a:cubicBezTo>
                  <a:pt x="244" y="369054"/>
                  <a:pt x="0" y="367257"/>
                  <a:pt x="0" y="365400"/>
                </a:cubicBezTo>
                <a:cubicBezTo>
                  <a:pt x="0" y="163595"/>
                  <a:pt x="163595" y="0"/>
                  <a:pt x="365400" y="0"/>
                </a:cubicBezTo>
                <a:close/>
              </a:path>
            </a:pathLst>
          </a:custGeom>
          <a:gradFill flip="none" rotWithShape="1">
            <a:gsLst>
              <a:gs pos="0">
                <a:schemeClr val="accent1"/>
              </a:gs>
              <a:gs pos="100000">
                <a:schemeClr val="accent2">
                  <a:alpha val="10000"/>
                </a:schemeClr>
              </a:gs>
            </a:gsLst>
            <a:path path="circle">
              <a:fillToRect l="100000" t="100000"/>
            </a:path>
            <a:tileRect r="-100000" b="-100000"/>
          </a:gradFill>
          <a:ln w="3016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black"/>
              </a:solidFill>
              <a:effectLst/>
              <a:uLnTx/>
              <a:uFillTx/>
              <a:latin typeface="OPPOSans L"/>
              <a:ea typeface="思源宋体 Light" panose="02020300000000000000" pitchFamily="18" charset="-122"/>
              <a:cs typeface="+mn-cs"/>
            </a:endParaRPr>
          </a:p>
        </p:txBody>
      </p:sp>
      <p:sp>
        <p:nvSpPr>
          <p:cNvPr id="58" name="任意多边形: 形状 57">
            <a:extLst>
              <a:ext uri="{FF2B5EF4-FFF2-40B4-BE49-F238E27FC236}">
                <a16:creationId xmlns:a16="http://schemas.microsoft.com/office/drawing/2014/main" id="{81E067AB-0272-4C65-B3F3-80275098F0A5}"/>
              </a:ext>
            </a:extLst>
          </p:cNvPr>
          <p:cNvSpPr/>
          <p:nvPr/>
        </p:nvSpPr>
        <p:spPr>
          <a:xfrm>
            <a:off x="3122362" y="4965599"/>
            <a:ext cx="407281" cy="407281"/>
          </a:xfrm>
          <a:custGeom>
            <a:avLst/>
            <a:gdLst>
              <a:gd name="connsiteX0" fmla="*/ 30450 w 730800"/>
              <a:gd name="connsiteY0" fmla="*/ 669900 h 730800"/>
              <a:gd name="connsiteX1" fmla="*/ 274050 w 730800"/>
              <a:gd name="connsiteY1" fmla="*/ 669900 h 730800"/>
              <a:gd name="connsiteX2" fmla="*/ 304500 w 730800"/>
              <a:gd name="connsiteY2" fmla="*/ 700350 h 730800"/>
              <a:gd name="connsiteX3" fmla="*/ 274050 w 730800"/>
              <a:gd name="connsiteY3" fmla="*/ 730800 h 730800"/>
              <a:gd name="connsiteX4" fmla="*/ 30450 w 730800"/>
              <a:gd name="connsiteY4" fmla="*/ 730800 h 730800"/>
              <a:gd name="connsiteX5" fmla="*/ 0 w 730800"/>
              <a:gd name="connsiteY5" fmla="*/ 700350 h 730800"/>
              <a:gd name="connsiteX6" fmla="*/ 30450 w 730800"/>
              <a:gd name="connsiteY6" fmla="*/ 669900 h 730800"/>
              <a:gd name="connsiteX7" fmla="*/ 30450 w 730800"/>
              <a:gd name="connsiteY7" fmla="*/ 548100 h 730800"/>
              <a:gd name="connsiteX8" fmla="*/ 213150 w 730800"/>
              <a:gd name="connsiteY8" fmla="*/ 548100 h 730800"/>
              <a:gd name="connsiteX9" fmla="*/ 243600 w 730800"/>
              <a:gd name="connsiteY9" fmla="*/ 578550 h 730800"/>
              <a:gd name="connsiteX10" fmla="*/ 213150 w 730800"/>
              <a:gd name="connsiteY10" fmla="*/ 609000 h 730800"/>
              <a:gd name="connsiteX11" fmla="*/ 30450 w 730800"/>
              <a:gd name="connsiteY11" fmla="*/ 609000 h 730800"/>
              <a:gd name="connsiteX12" fmla="*/ 0 w 730800"/>
              <a:gd name="connsiteY12" fmla="*/ 578550 h 730800"/>
              <a:gd name="connsiteX13" fmla="*/ 30450 w 730800"/>
              <a:gd name="connsiteY13" fmla="*/ 548100 h 730800"/>
              <a:gd name="connsiteX14" fmla="*/ 30450 w 730800"/>
              <a:gd name="connsiteY14" fmla="*/ 426300 h 730800"/>
              <a:gd name="connsiteX15" fmla="*/ 152250 w 730800"/>
              <a:gd name="connsiteY15" fmla="*/ 426300 h 730800"/>
              <a:gd name="connsiteX16" fmla="*/ 182700 w 730800"/>
              <a:gd name="connsiteY16" fmla="*/ 456750 h 730800"/>
              <a:gd name="connsiteX17" fmla="*/ 152250 w 730800"/>
              <a:gd name="connsiteY17" fmla="*/ 487200 h 730800"/>
              <a:gd name="connsiteX18" fmla="*/ 30450 w 730800"/>
              <a:gd name="connsiteY18" fmla="*/ 487200 h 730800"/>
              <a:gd name="connsiteX19" fmla="*/ 0 w 730800"/>
              <a:gd name="connsiteY19" fmla="*/ 456750 h 730800"/>
              <a:gd name="connsiteX20" fmla="*/ 30450 w 730800"/>
              <a:gd name="connsiteY20" fmla="*/ 426300 h 730800"/>
              <a:gd name="connsiteX21" fmla="*/ 365400 w 730800"/>
              <a:gd name="connsiteY21" fmla="*/ 182700 h 730800"/>
              <a:gd name="connsiteX22" fmla="*/ 334950 w 730800"/>
              <a:gd name="connsiteY22" fmla="*/ 213150 h 730800"/>
              <a:gd name="connsiteX23" fmla="*/ 334950 w 730800"/>
              <a:gd name="connsiteY23" fmla="*/ 365400 h 730800"/>
              <a:gd name="connsiteX24" fmla="*/ 343872 w 730800"/>
              <a:gd name="connsiteY24" fmla="*/ 386928 h 730800"/>
              <a:gd name="connsiteX25" fmla="*/ 435222 w 730800"/>
              <a:gd name="connsiteY25" fmla="*/ 478278 h 730800"/>
              <a:gd name="connsiteX26" fmla="*/ 478278 w 730800"/>
              <a:gd name="connsiteY26" fmla="*/ 478278 h 730800"/>
              <a:gd name="connsiteX27" fmla="*/ 478278 w 730800"/>
              <a:gd name="connsiteY27" fmla="*/ 435222 h 730800"/>
              <a:gd name="connsiteX28" fmla="*/ 395850 w 730800"/>
              <a:gd name="connsiteY28" fmla="*/ 352794 h 730800"/>
              <a:gd name="connsiteX29" fmla="*/ 395850 w 730800"/>
              <a:gd name="connsiteY29" fmla="*/ 213150 h 730800"/>
              <a:gd name="connsiteX30" fmla="*/ 365400 w 730800"/>
              <a:gd name="connsiteY30" fmla="*/ 182700 h 730800"/>
              <a:gd name="connsiteX31" fmla="*/ 365400 w 730800"/>
              <a:gd name="connsiteY31" fmla="*/ 0 h 730800"/>
              <a:gd name="connsiteX32" fmla="*/ 730800 w 730800"/>
              <a:gd name="connsiteY32" fmla="*/ 365400 h 730800"/>
              <a:gd name="connsiteX33" fmla="*/ 365400 w 730800"/>
              <a:gd name="connsiteY33" fmla="*/ 730800 h 730800"/>
              <a:gd name="connsiteX34" fmla="*/ 359889 w 730800"/>
              <a:gd name="connsiteY34" fmla="*/ 730526 h 730800"/>
              <a:gd name="connsiteX35" fmla="*/ 362617 w 730800"/>
              <a:gd name="connsiteY35" fmla="*/ 721738 h 730800"/>
              <a:gd name="connsiteX36" fmla="*/ 297801 w 730800"/>
              <a:gd name="connsiteY36" fmla="*/ 612532 h 730800"/>
              <a:gd name="connsiteX37" fmla="*/ 301529 w 730800"/>
              <a:gd name="connsiteY37" fmla="*/ 601348 h 730800"/>
              <a:gd name="connsiteX38" fmla="*/ 236901 w 730800"/>
              <a:gd name="connsiteY38" fmla="*/ 490732 h 730800"/>
              <a:gd name="connsiteX39" fmla="*/ 243603 w 730800"/>
              <a:gd name="connsiteY39" fmla="*/ 456138 h 730800"/>
              <a:gd name="connsiteX40" fmla="*/ 152250 w 730800"/>
              <a:gd name="connsiteY40" fmla="*/ 365400 h 730800"/>
              <a:gd name="connsiteX41" fmla="*/ 30450 w 730800"/>
              <a:gd name="connsiteY41" fmla="*/ 365400 h 730800"/>
              <a:gd name="connsiteX42" fmla="*/ 274 w 730800"/>
              <a:gd name="connsiteY42" fmla="*/ 370911 h 730800"/>
              <a:gd name="connsiteX43" fmla="*/ 0 w 730800"/>
              <a:gd name="connsiteY43" fmla="*/ 365400 h 730800"/>
              <a:gd name="connsiteX44" fmla="*/ 365400 w 730800"/>
              <a:gd name="connsiteY44" fmla="*/ 0 h 730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730800" h="730800">
                <a:moveTo>
                  <a:pt x="30450" y="669900"/>
                </a:moveTo>
                <a:lnTo>
                  <a:pt x="274050" y="669900"/>
                </a:lnTo>
                <a:cubicBezTo>
                  <a:pt x="290867" y="669900"/>
                  <a:pt x="304500" y="683532"/>
                  <a:pt x="304500" y="700350"/>
                </a:cubicBezTo>
                <a:cubicBezTo>
                  <a:pt x="304500" y="717168"/>
                  <a:pt x="290867" y="730800"/>
                  <a:pt x="274050" y="730800"/>
                </a:cubicBezTo>
                <a:lnTo>
                  <a:pt x="30450" y="730800"/>
                </a:lnTo>
                <a:cubicBezTo>
                  <a:pt x="13633" y="730800"/>
                  <a:pt x="0" y="717168"/>
                  <a:pt x="0" y="700350"/>
                </a:cubicBezTo>
                <a:cubicBezTo>
                  <a:pt x="0" y="683532"/>
                  <a:pt x="13633" y="669900"/>
                  <a:pt x="30450" y="669900"/>
                </a:cubicBezTo>
                <a:close/>
                <a:moveTo>
                  <a:pt x="30450" y="548100"/>
                </a:moveTo>
                <a:lnTo>
                  <a:pt x="213150" y="548100"/>
                </a:lnTo>
                <a:cubicBezTo>
                  <a:pt x="229967" y="548100"/>
                  <a:pt x="243600" y="561732"/>
                  <a:pt x="243600" y="578550"/>
                </a:cubicBezTo>
                <a:cubicBezTo>
                  <a:pt x="243600" y="595368"/>
                  <a:pt x="229967" y="609000"/>
                  <a:pt x="213150" y="609000"/>
                </a:cubicBezTo>
                <a:lnTo>
                  <a:pt x="30450" y="609000"/>
                </a:lnTo>
                <a:cubicBezTo>
                  <a:pt x="13633" y="609000"/>
                  <a:pt x="0" y="595368"/>
                  <a:pt x="0" y="578550"/>
                </a:cubicBezTo>
                <a:cubicBezTo>
                  <a:pt x="0" y="561732"/>
                  <a:pt x="13633" y="548100"/>
                  <a:pt x="30450" y="548100"/>
                </a:cubicBezTo>
                <a:close/>
                <a:moveTo>
                  <a:pt x="30450" y="426300"/>
                </a:moveTo>
                <a:lnTo>
                  <a:pt x="152250" y="426300"/>
                </a:lnTo>
                <a:cubicBezTo>
                  <a:pt x="169067" y="426300"/>
                  <a:pt x="182700" y="439932"/>
                  <a:pt x="182700" y="456750"/>
                </a:cubicBezTo>
                <a:cubicBezTo>
                  <a:pt x="182700" y="473568"/>
                  <a:pt x="169067" y="487200"/>
                  <a:pt x="152250" y="487200"/>
                </a:cubicBezTo>
                <a:lnTo>
                  <a:pt x="30450" y="487200"/>
                </a:lnTo>
                <a:cubicBezTo>
                  <a:pt x="13633" y="487200"/>
                  <a:pt x="0" y="473568"/>
                  <a:pt x="0" y="456750"/>
                </a:cubicBezTo>
                <a:cubicBezTo>
                  <a:pt x="0" y="439932"/>
                  <a:pt x="13633" y="426300"/>
                  <a:pt x="30450" y="426300"/>
                </a:cubicBezTo>
                <a:close/>
                <a:moveTo>
                  <a:pt x="365400" y="182700"/>
                </a:moveTo>
                <a:cubicBezTo>
                  <a:pt x="348582" y="182700"/>
                  <a:pt x="334950" y="196333"/>
                  <a:pt x="334950" y="213150"/>
                </a:cubicBezTo>
                <a:lnTo>
                  <a:pt x="334950" y="365400"/>
                </a:lnTo>
                <a:cubicBezTo>
                  <a:pt x="334953" y="373475"/>
                  <a:pt x="338162" y="381219"/>
                  <a:pt x="343872" y="386928"/>
                </a:cubicBezTo>
                <a:lnTo>
                  <a:pt x="435222" y="478278"/>
                </a:lnTo>
                <a:cubicBezTo>
                  <a:pt x="447113" y="490166"/>
                  <a:pt x="466387" y="490166"/>
                  <a:pt x="478278" y="478278"/>
                </a:cubicBezTo>
                <a:cubicBezTo>
                  <a:pt x="490166" y="466387"/>
                  <a:pt x="490166" y="447113"/>
                  <a:pt x="478278" y="435222"/>
                </a:cubicBezTo>
                <a:lnTo>
                  <a:pt x="395850" y="352794"/>
                </a:lnTo>
                <a:lnTo>
                  <a:pt x="395850" y="213150"/>
                </a:lnTo>
                <a:cubicBezTo>
                  <a:pt x="395850" y="196333"/>
                  <a:pt x="382218" y="182700"/>
                  <a:pt x="365400" y="182700"/>
                </a:cubicBezTo>
                <a:close/>
                <a:moveTo>
                  <a:pt x="365400" y="0"/>
                </a:moveTo>
                <a:cubicBezTo>
                  <a:pt x="567204" y="0"/>
                  <a:pt x="730800" y="163595"/>
                  <a:pt x="730800" y="365400"/>
                </a:cubicBezTo>
                <a:cubicBezTo>
                  <a:pt x="730800" y="567204"/>
                  <a:pt x="567204" y="730800"/>
                  <a:pt x="365400" y="730800"/>
                </a:cubicBezTo>
                <a:cubicBezTo>
                  <a:pt x="363543" y="730800"/>
                  <a:pt x="361746" y="730526"/>
                  <a:pt x="359889" y="730526"/>
                </a:cubicBezTo>
                <a:cubicBezTo>
                  <a:pt x="360948" y="727645"/>
                  <a:pt x="361859" y="724713"/>
                  <a:pt x="362617" y="721738"/>
                </a:cubicBezTo>
                <a:cubicBezTo>
                  <a:pt x="374876" y="673682"/>
                  <a:pt x="345857" y="624791"/>
                  <a:pt x="297801" y="612532"/>
                </a:cubicBezTo>
                <a:cubicBezTo>
                  <a:pt x="299285" y="608890"/>
                  <a:pt x="300531" y="605154"/>
                  <a:pt x="301529" y="601348"/>
                </a:cubicBezTo>
                <a:cubicBezTo>
                  <a:pt x="314229" y="552957"/>
                  <a:pt x="285293" y="503430"/>
                  <a:pt x="236901" y="490732"/>
                </a:cubicBezTo>
                <a:cubicBezTo>
                  <a:pt x="241367" y="479746"/>
                  <a:pt x="243644" y="467995"/>
                  <a:pt x="243603" y="456138"/>
                </a:cubicBezTo>
                <a:cubicBezTo>
                  <a:pt x="243433" y="405853"/>
                  <a:pt x="202533" y="365229"/>
                  <a:pt x="152250" y="365400"/>
                </a:cubicBezTo>
                <a:lnTo>
                  <a:pt x="30450" y="365400"/>
                </a:lnTo>
                <a:cubicBezTo>
                  <a:pt x="20151" y="365504"/>
                  <a:pt x="9945" y="367367"/>
                  <a:pt x="274" y="370911"/>
                </a:cubicBezTo>
                <a:cubicBezTo>
                  <a:pt x="244" y="369054"/>
                  <a:pt x="0" y="367257"/>
                  <a:pt x="0" y="365400"/>
                </a:cubicBezTo>
                <a:cubicBezTo>
                  <a:pt x="0" y="163595"/>
                  <a:pt x="163595" y="0"/>
                  <a:pt x="365400" y="0"/>
                </a:cubicBezTo>
                <a:close/>
              </a:path>
            </a:pathLst>
          </a:custGeom>
          <a:gradFill flip="none" rotWithShape="1">
            <a:gsLst>
              <a:gs pos="0">
                <a:schemeClr val="accent1"/>
              </a:gs>
              <a:gs pos="100000">
                <a:schemeClr val="accent2">
                  <a:alpha val="10000"/>
                </a:schemeClr>
              </a:gs>
            </a:gsLst>
            <a:path path="circle">
              <a:fillToRect l="100000" t="100000"/>
            </a:path>
            <a:tileRect r="-100000" b="-100000"/>
          </a:gradFill>
          <a:ln w="3016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black"/>
              </a:solidFill>
              <a:effectLst/>
              <a:uLnTx/>
              <a:uFillTx/>
              <a:latin typeface="OPPOSans L"/>
              <a:ea typeface="思源宋体 Light" panose="02020300000000000000" pitchFamily="18" charset="-122"/>
              <a:cs typeface="+mn-cs"/>
            </a:endParaRPr>
          </a:p>
        </p:txBody>
      </p:sp>
      <p:sp>
        <p:nvSpPr>
          <p:cNvPr id="59" name="任意多边形: 形状 58">
            <a:extLst>
              <a:ext uri="{FF2B5EF4-FFF2-40B4-BE49-F238E27FC236}">
                <a16:creationId xmlns:a16="http://schemas.microsoft.com/office/drawing/2014/main" id="{D2CA865D-CB2B-43B2-9857-2EE6184693E4}"/>
              </a:ext>
            </a:extLst>
          </p:cNvPr>
          <p:cNvSpPr/>
          <p:nvPr/>
        </p:nvSpPr>
        <p:spPr>
          <a:xfrm>
            <a:off x="6051864" y="1959108"/>
            <a:ext cx="406800" cy="406800"/>
          </a:xfrm>
          <a:custGeom>
            <a:avLst/>
            <a:gdLst>
              <a:gd name="connsiteX0" fmla="*/ 274050 w 730865"/>
              <a:gd name="connsiteY0" fmla="*/ 426299 h 730799"/>
              <a:gd name="connsiteX1" fmla="*/ 548099 w 730865"/>
              <a:gd name="connsiteY1" fmla="*/ 700349 h 730799"/>
              <a:gd name="connsiteX2" fmla="*/ 517649 w 730865"/>
              <a:gd name="connsiteY2" fmla="*/ 730799 h 730799"/>
              <a:gd name="connsiteX3" fmla="*/ 30450 w 730865"/>
              <a:gd name="connsiteY3" fmla="*/ 730799 h 730799"/>
              <a:gd name="connsiteX4" fmla="*/ 0 w 730865"/>
              <a:gd name="connsiteY4" fmla="*/ 700349 h 730799"/>
              <a:gd name="connsiteX5" fmla="*/ 274050 w 730865"/>
              <a:gd name="connsiteY5" fmla="*/ 426299 h 730799"/>
              <a:gd name="connsiteX6" fmla="*/ 548098 w 730865"/>
              <a:gd name="connsiteY6" fmla="*/ 239794 h 730799"/>
              <a:gd name="connsiteX7" fmla="*/ 608998 w 730865"/>
              <a:gd name="connsiteY7" fmla="*/ 306784 h 730799"/>
              <a:gd name="connsiteX8" fmla="*/ 669899 w 730865"/>
              <a:gd name="connsiteY8" fmla="*/ 239794 h 730799"/>
              <a:gd name="connsiteX9" fmla="*/ 730798 w 730865"/>
              <a:gd name="connsiteY9" fmla="*/ 306784 h 730799"/>
              <a:gd name="connsiteX10" fmla="*/ 627876 w 730865"/>
              <a:gd name="connsiteY10" fmla="*/ 448650 h 730799"/>
              <a:gd name="connsiteX11" fmla="*/ 590119 w 730865"/>
              <a:gd name="connsiteY11" fmla="*/ 448650 h 730799"/>
              <a:gd name="connsiteX12" fmla="*/ 487197 w 730865"/>
              <a:gd name="connsiteY12" fmla="*/ 306784 h 730799"/>
              <a:gd name="connsiteX13" fmla="*/ 548098 w 730865"/>
              <a:gd name="connsiteY13" fmla="*/ 239794 h 730799"/>
              <a:gd name="connsiteX14" fmla="*/ 274050 w 730865"/>
              <a:gd name="connsiteY14" fmla="*/ 0 h 730799"/>
              <a:gd name="connsiteX15" fmla="*/ 456750 w 730865"/>
              <a:gd name="connsiteY15" fmla="*/ 182700 h 730799"/>
              <a:gd name="connsiteX16" fmla="*/ 274050 w 730865"/>
              <a:gd name="connsiteY16" fmla="*/ 365400 h 730799"/>
              <a:gd name="connsiteX17" fmla="*/ 91350 w 730865"/>
              <a:gd name="connsiteY17" fmla="*/ 182700 h 730799"/>
              <a:gd name="connsiteX18" fmla="*/ 274050 w 730865"/>
              <a:gd name="connsiteY18" fmla="*/ 0 h 730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730865" h="730799">
                <a:moveTo>
                  <a:pt x="274050" y="426299"/>
                </a:moveTo>
                <a:cubicBezTo>
                  <a:pt x="425327" y="426485"/>
                  <a:pt x="547916" y="549072"/>
                  <a:pt x="548099" y="700349"/>
                </a:cubicBezTo>
                <a:cubicBezTo>
                  <a:pt x="548099" y="717166"/>
                  <a:pt x="534466" y="730799"/>
                  <a:pt x="517649" y="730799"/>
                </a:cubicBezTo>
                <a:lnTo>
                  <a:pt x="30450" y="730799"/>
                </a:lnTo>
                <a:cubicBezTo>
                  <a:pt x="13633" y="730799"/>
                  <a:pt x="0" y="717166"/>
                  <a:pt x="0" y="700349"/>
                </a:cubicBezTo>
                <a:cubicBezTo>
                  <a:pt x="184" y="549072"/>
                  <a:pt x="122773" y="426485"/>
                  <a:pt x="274050" y="426299"/>
                </a:cubicBezTo>
                <a:close/>
                <a:moveTo>
                  <a:pt x="548098" y="239794"/>
                </a:moveTo>
                <a:cubicBezTo>
                  <a:pt x="583379" y="241551"/>
                  <a:pt x="610601" y="271497"/>
                  <a:pt x="608998" y="306784"/>
                </a:cubicBezTo>
                <a:cubicBezTo>
                  <a:pt x="607395" y="271497"/>
                  <a:pt x="634619" y="241551"/>
                  <a:pt x="669899" y="239794"/>
                </a:cubicBezTo>
                <a:cubicBezTo>
                  <a:pt x="705180" y="241551"/>
                  <a:pt x="732402" y="271495"/>
                  <a:pt x="730798" y="306784"/>
                </a:cubicBezTo>
                <a:cubicBezTo>
                  <a:pt x="730798" y="359462"/>
                  <a:pt x="662103" y="421245"/>
                  <a:pt x="627876" y="448650"/>
                </a:cubicBezTo>
                <a:cubicBezTo>
                  <a:pt x="616842" y="457485"/>
                  <a:pt x="601154" y="457485"/>
                  <a:pt x="590119" y="448650"/>
                </a:cubicBezTo>
                <a:cubicBezTo>
                  <a:pt x="555892" y="421184"/>
                  <a:pt x="487197" y="359462"/>
                  <a:pt x="487197" y="306784"/>
                </a:cubicBezTo>
                <a:cubicBezTo>
                  <a:pt x="485594" y="271497"/>
                  <a:pt x="512818" y="241551"/>
                  <a:pt x="548098" y="239794"/>
                </a:cubicBezTo>
                <a:close/>
                <a:moveTo>
                  <a:pt x="274050" y="0"/>
                </a:moveTo>
                <a:cubicBezTo>
                  <a:pt x="374952" y="0"/>
                  <a:pt x="456750" y="81798"/>
                  <a:pt x="456750" y="182700"/>
                </a:cubicBezTo>
                <a:cubicBezTo>
                  <a:pt x="456750" y="283602"/>
                  <a:pt x="374952" y="365400"/>
                  <a:pt x="274050" y="365400"/>
                </a:cubicBezTo>
                <a:cubicBezTo>
                  <a:pt x="173148" y="365400"/>
                  <a:pt x="91350" y="283602"/>
                  <a:pt x="91350" y="182700"/>
                </a:cubicBezTo>
                <a:cubicBezTo>
                  <a:pt x="91350" y="81798"/>
                  <a:pt x="173148" y="0"/>
                  <a:pt x="274050" y="0"/>
                </a:cubicBezTo>
                <a:close/>
              </a:path>
            </a:pathLst>
          </a:custGeom>
          <a:gradFill flip="none" rotWithShape="1">
            <a:gsLst>
              <a:gs pos="0">
                <a:schemeClr val="accent1"/>
              </a:gs>
              <a:gs pos="100000">
                <a:schemeClr val="accent2">
                  <a:alpha val="10000"/>
                </a:schemeClr>
              </a:gs>
            </a:gsLst>
            <a:path path="circle">
              <a:fillToRect l="100000" t="100000"/>
            </a:path>
            <a:tileRect r="-100000" b="-100000"/>
          </a:gradFill>
          <a:ln w="3016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black"/>
              </a:solidFill>
              <a:effectLst/>
              <a:uLnTx/>
              <a:uFillTx/>
              <a:latin typeface="OPPOSans L"/>
              <a:ea typeface="思源宋体 Light" panose="02020300000000000000" pitchFamily="18" charset="-122"/>
              <a:cs typeface="+mn-cs"/>
            </a:endParaRPr>
          </a:p>
        </p:txBody>
      </p:sp>
      <p:sp>
        <p:nvSpPr>
          <p:cNvPr id="60" name="任意多边形: 形状 59">
            <a:extLst>
              <a:ext uri="{FF2B5EF4-FFF2-40B4-BE49-F238E27FC236}">
                <a16:creationId xmlns:a16="http://schemas.microsoft.com/office/drawing/2014/main" id="{D8497CB9-62AF-4B56-9C78-628778BDEAC8}"/>
              </a:ext>
            </a:extLst>
          </p:cNvPr>
          <p:cNvSpPr/>
          <p:nvPr/>
        </p:nvSpPr>
        <p:spPr>
          <a:xfrm>
            <a:off x="6051864" y="5336902"/>
            <a:ext cx="406800" cy="406800"/>
          </a:xfrm>
          <a:custGeom>
            <a:avLst/>
            <a:gdLst>
              <a:gd name="connsiteX0" fmla="*/ 274050 w 730865"/>
              <a:gd name="connsiteY0" fmla="*/ 426299 h 730799"/>
              <a:gd name="connsiteX1" fmla="*/ 548099 w 730865"/>
              <a:gd name="connsiteY1" fmla="*/ 700349 h 730799"/>
              <a:gd name="connsiteX2" fmla="*/ 517649 w 730865"/>
              <a:gd name="connsiteY2" fmla="*/ 730799 h 730799"/>
              <a:gd name="connsiteX3" fmla="*/ 30450 w 730865"/>
              <a:gd name="connsiteY3" fmla="*/ 730799 h 730799"/>
              <a:gd name="connsiteX4" fmla="*/ 0 w 730865"/>
              <a:gd name="connsiteY4" fmla="*/ 700349 h 730799"/>
              <a:gd name="connsiteX5" fmla="*/ 274050 w 730865"/>
              <a:gd name="connsiteY5" fmla="*/ 426299 h 730799"/>
              <a:gd name="connsiteX6" fmla="*/ 548098 w 730865"/>
              <a:gd name="connsiteY6" fmla="*/ 239794 h 730799"/>
              <a:gd name="connsiteX7" fmla="*/ 608998 w 730865"/>
              <a:gd name="connsiteY7" fmla="*/ 306784 h 730799"/>
              <a:gd name="connsiteX8" fmla="*/ 669899 w 730865"/>
              <a:gd name="connsiteY8" fmla="*/ 239794 h 730799"/>
              <a:gd name="connsiteX9" fmla="*/ 730798 w 730865"/>
              <a:gd name="connsiteY9" fmla="*/ 306784 h 730799"/>
              <a:gd name="connsiteX10" fmla="*/ 627876 w 730865"/>
              <a:gd name="connsiteY10" fmla="*/ 448650 h 730799"/>
              <a:gd name="connsiteX11" fmla="*/ 590119 w 730865"/>
              <a:gd name="connsiteY11" fmla="*/ 448650 h 730799"/>
              <a:gd name="connsiteX12" fmla="*/ 487197 w 730865"/>
              <a:gd name="connsiteY12" fmla="*/ 306784 h 730799"/>
              <a:gd name="connsiteX13" fmla="*/ 548098 w 730865"/>
              <a:gd name="connsiteY13" fmla="*/ 239794 h 730799"/>
              <a:gd name="connsiteX14" fmla="*/ 274050 w 730865"/>
              <a:gd name="connsiteY14" fmla="*/ 0 h 730799"/>
              <a:gd name="connsiteX15" fmla="*/ 456750 w 730865"/>
              <a:gd name="connsiteY15" fmla="*/ 182700 h 730799"/>
              <a:gd name="connsiteX16" fmla="*/ 274050 w 730865"/>
              <a:gd name="connsiteY16" fmla="*/ 365400 h 730799"/>
              <a:gd name="connsiteX17" fmla="*/ 91350 w 730865"/>
              <a:gd name="connsiteY17" fmla="*/ 182700 h 730799"/>
              <a:gd name="connsiteX18" fmla="*/ 274050 w 730865"/>
              <a:gd name="connsiteY18" fmla="*/ 0 h 730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730865" h="730799">
                <a:moveTo>
                  <a:pt x="274050" y="426299"/>
                </a:moveTo>
                <a:cubicBezTo>
                  <a:pt x="425327" y="426485"/>
                  <a:pt x="547916" y="549072"/>
                  <a:pt x="548099" y="700349"/>
                </a:cubicBezTo>
                <a:cubicBezTo>
                  <a:pt x="548099" y="717166"/>
                  <a:pt x="534466" y="730799"/>
                  <a:pt x="517649" y="730799"/>
                </a:cubicBezTo>
                <a:lnTo>
                  <a:pt x="30450" y="730799"/>
                </a:lnTo>
                <a:cubicBezTo>
                  <a:pt x="13633" y="730799"/>
                  <a:pt x="0" y="717166"/>
                  <a:pt x="0" y="700349"/>
                </a:cubicBezTo>
                <a:cubicBezTo>
                  <a:pt x="184" y="549072"/>
                  <a:pt x="122773" y="426485"/>
                  <a:pt x="274050" y="426299"/>
                </a:cubicBezTo>
                <a:close/>
                <a:moveTo>
                  <a:pt x="548098" y="239794"/>
                </a:moveTo>
                <a:cubicBezTo>
                  <a:pt x="583379" y="241551"/>
                  <a:pt x="610601" y="271497"/>
                  <a:pt x="608998" y="306784"/>
                </a:cubicBezTo>
                <a:cubicBezTo>
                  <a:pt x="607395" y="271497"/>
                  <a:pt x="634619" y="241551"/>
                  <a:pt x="669899" y="239794"/>
                </a:cubicBezTo>
                <a:cubicBezTo>
                  <a:pt x="705180" y="241551"/>
                  <a:pt x="732402" y="271495"/>
                  <a:pt x="730798" y="306784"/>
                </a:cubicBezTo>
                <a:cubicBezTo>
                  <a:pt x="730798" y="359462"/>
                  <a:pt x="662103" y="421245"/>
                  <a:pt x="627876" y="448650"/>
                </a:cubicBezTo>
                <a:cubicBezTo>
                  <a:pt x="616842" y="457485"/>
                  <a:pt x="601154" y="457485"/>
                  <a:pt x="590119" y="448650"/>
                </a:cubicBezTo>
                <a:cubicBezTo>
                  <a:pt x="555892" y="421184"/>
                  <a:pt x="487197" y="359462"/>
                  <a:pt x="487197" y="306784"/>
                </a:cubicBezTo>
                <a:cubicBezTo>
                  <a:pt x="485594" y="271497"/>
                  <a:pt x="512818" y="241551"/>
                  <a:pt x="548098" y="239794"/>
                </a:cubicBezTo>
                <a:close/>
                <a:moveTo>
                  <a:pt x="274050" y="0"/>
                </a:moveTo>
                <a:cubicBezTo>
                  <a:pt x="374952" y="0"/>
                  <a:pt x="456750" y="81798"/>
                  <a:pt x="456750" y="182700"/>
                </a:cubicBezTo>
                <a:cubicBezTo>
                  <a:pt x="456750" y="283602"/>
                  <a:pt x="374952" y="365400"/>
                  <a:pt x="274050" y="365400"/>
                </a:cubicBezTo>
                <a:cubicBezTo>
                  <a:pt x="173148" y="365400"/>
                  <a:pt x="91350" y="283602"/>
                  <a:pt x="91350" y="182700"/>
                </a:cubicBezTo>
                <a:cubicBezTo>
                  <a:pt x="91350" y="81798"/>
                  <a:pt x="173148" y="0"/>
                  <a:pt x="274050" y="0"/>
                </a:cubicBezTo>
                <a:close/>
              </a:path>
            </a:pathLst>
          </a:custGeom>
          <a:gradFill flip="none" rotWithShape="1">
            <a:gsLst>
              <a:gs pos="0">
                <a:schemeClr val="accent1"/>
              </a:gs>
              <a:gs pos="100000">
                <a:schemeClr val="accent2">
                  <a:alpha val="10000"/>
                </a:schemeClr>
              </a:gs>
            </a:gsLst>
            <a:path path="circle">
              <a:fillToRect l="100000" t="100000"/>
            </a:path>
            <a:tileRect r="-100000" b="-100000"/>
          </a:gradFill>
          <a:ln w="3016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black"/>
              </a:solidFill>
              <a:effectLst/>
              <a:uLnTx/>
              <a:uFillTx/>
              <a:latin typeface="OPPOSans L"/>
              <a:ea typeface="思源宋体 Light" panose="02020300000000000000" pitchFamily="18" charset="-122"/>
              <a:cs typeface="+mn-cs"/>
            </a:endParaRPr>
          </a:p>
        </p:txBody>
      </p:sp>
      <p:sp>
        <p:nvSpPr>
          <p:cNvPr id="61" name="任意多边形: 形状 60">
            <a:extLst>
              <a:ext uri="{FF2B5EF4-FFF2-40B4-BE49-F238E27FC236}">
                <a16:creationId xmlns:a16="http://schemas.microsoft.com/office/drawing/2014/main" id="{67E31B4D-35F4-4C26-A8CC-9E4B17EF3C26}"/>
              </a:ext>
            </a:extLst>
          </p:cNvPr>
          <p:cNvSpPr/>
          <p:nvPr/>
        </p:nvSpPr>
        <p:spPr>
          <a:xfrm>
            <a:off x="9077897" y="1653193"/>
            <a:ext cx="406800" cy="406800"/>
          </a:xfrm>
          <a:custGeom>
            <a:avLst/>
            <a:gdLst>
              <a:gd name="connsiteX0" fmla="*/ 245303 w 518401"/>
              <a:gd name="connsiteY0" fmla="*/ 264602 h 518367"/>
              <a:gd name="connsiteX1" fmla="*/ 151892 w 518401"/>
              <a:gd name="connsiteY1" fmla="*/ 345016 h 518367"/>
              <a:gd name="connsiteX2" fmla="*/ 167335 w 518401"/>
              <a:gd name="connsiteY2" fmla="*/ 371390 h 518367"/>
              <a:gd name="connsiteX3" fmla="*/ 193709 w 518401"/>
              <a:gd name="connsiteY3" fmla="*/ 355946 h 518367"/>
              <a:gd name="connsiteX4" fmla="*/ 239171 w 518401"/>
              <a:gd name="connsiteY4" fmla="*/ 310484 h 518367"/>
              <a:gd name="connsiteX5" fmla="*/ 324670 w 518401"/>
              <a:gd name="connsiteY5" fmla="*/ 355946 h 518367"/>
              <a:gd name="connsiteX6" fmla="*/ 324709 w 518401"/>
              <a:gd name="connsiteY6" fmla="*/ 356103 h 518367"/>
              <a:gd name="connsiteX7" fmla="*/ 350979 w 518401"/>
              <a:gd name="connsiteY7" fmla="*/ 371693 h 518367"/>
              <a:gd name="connsiteX8" fmla="*/ 366531 w 518401"/>
              <a:gd name="connsiteY8" fmla="*/ 345016 h 518367"/>
              <a:gd name="connsiteX9" fmla="*/ 289453 w 518401"/>
              <a:gd name="connsiteY9" fmla="*/ 267939 h 518367"/>
              <a:gd name="connsiteX10" fmla="*/ 245303 w 518401"/>
              <a:gd name="connsiteY10" fmla="*/ 264602 h 518367"/>
              <a:gd name="connsiteX11" fmla="*/ 259200 w 518401"/>
              <a:gd name="connsiteY11" fmla="*/ 105823 h 518367"/>
              <a:gd name="connsiteX12" fmla="*/ 292097 w 518401"/>
              <a:gd name="connsiteY12" fmla="*/ 138720 h 518367"/>
              <a:gd name="connsiteX13" fmla="*/ 259200 w 518401"/>
              <a:gd name="connsiteY13" fmla="*/ 171617 h 518367"/>
              <a:gd name="connsiteX14" fmla="*/ 226303 w 518401"/>
              <a:gd name="connsiteY14" fmla="*/ 138720 h 518367"/>
              <a:gd name="connsiteX15" fmla="*/ 259200 w 518401"/>
              <a:gd name="connsiteY15" fmla="*/ 105823 h 518367"/>
              <a:gd name="connsiteX16" fmla="*/ 259201 w 518401"/>
              <a:gd name="connsiteY16" fmla="*/ 65707 h 518367"/>
              <a:gd name="connsiteX17" fmla="*/ 259201 w 518401"/>
              <a:gd name="connsiteY17" fmla="*/ 219068 h 518367"/>
              <a:gd name="connsiteX18" fmla="*/ 259201 w 518401"/>
              <a:gd name="connsiteY18" fmla="*/ 65707 h 518367"/>
              <a:gd name="connsiteX19" fmla="*/ 86400 w 518401"/>
              <a:gd name="connsiteY19" fmla="*/ 0 h 518367"/>
              <a:gd name="connsiteX20" fmla="*/ 432001 w 518401"/>
              <a:gd name="connsiteY20" fmla="*/ 0 h 518367"/>
              <a:gd name="connsiteX21" fmla="*/ 518400 w 518401"/>
              <a:gd name="connsiteY21" fmla="*/ 87610 h 518367"/>
              <a:gd name="connsiteX22" fmla="*/ 518400 w 518401"/>
              <a:gd name="connsiteY22" fmla="*/ 350460 h 518367"/>
              <a:gd name="connsiteX23" fmla="*/ 432000 w 518401"/>
              <a:gd name="connsiteY23" fmla="*/ 438091 h 518367"/>
              <a:gd name="connsiteX24" fmla="*/ 370375 w 518401"/>
              <a:gd name="connsiteY24" fmla="*/ 438091 h 518367"/>
              <a:gd name="connsiteX25" fmla="*/ 287323 w 518401"/>
              <a:gd name="connsiteY25" fmla="*/ 507729 h 518367"/>
              <a:gd name="connsiteX26" fmla="*/ 230493 w 518401"/>
              <a:gd name="connsiteY26" fmla="*/ 507232 h 518367"/>
              <a:gd name="connsiteX27" fmla="*/ 149537 w 518401"/>
              <a:gd name="connsiteY27" fmla="*/ 438112 h 518367"/>
              <a:gd name="connsiteX28" fmla="*/ 86400 w 518401"/>
              <a:gd name="connsiteY28" fmla="*/ 438112 h 518367"/>
              <a:gd name="connsiteX29" fmla="*/ 1 w 518401"/>
              <a:gd name="connsiteY29" fmla="*/ 350481 h 518367"/>
              <a:gd name="connsiteX30" fmla="*/ 1 w 518401"/>
              <a:gd name="connsiteY30" fmla="*/ 87610 h 518367"/>
              <a:gd name="connsiteX31" fmla="*/ 86400 w 518401"/>
              <a:gd name="connsiteY31" fmla="*/ 0 h 5183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518401" h="518367">
                <a:moveTo>
                  <a:pt x="245303" y="264602"/>
                </a:moveTo>
                <a:cubicBezTo>
                  <a:pt x="202193" y="270039"/>
                  <a:pt x="164418" y="300564"/>
                  <a:pt x="151892" y="345016"/>
                </a:cubicBezTo>
                <a:cubicBezTo>
                  <a:pt x="148874" y="356564"/>
                  <a:pt x="155788" y="368372"/>
                  <a:pt x="167335" y="371390"/>
                </a:cubicBezTo>
                <a:cubicBezTo>
                  <a:pt x="178883" y="374408"/>
                  <a:pt x="190691" y="367494"/>
                  <a:pt x="193709" y="355946"/>
                </a:cubicBezTo>
                <a:cubicBezTo>
                  <a:pt x="200364" y="334178"/>
                  <a:pt x="217403" y="317139"/>
                  <a:pt x="239171" y="310484"/>
                </a:cubicBezTo>
                <a:cubicBezTo>
                  <a:pt x="275335" y="299429"/>
                  <a:pt x="313614" y="319783"/>
                  <a:pt x="324670" y="355946"/>
                </a:cubicBezTo>
                <a:cubicBezTo>
                  <a:pt x="324683" y="355999"/>
                  <a:pt x="324696" y="356051"/>
                  <a:pt x="324709" y="356103"/>
                </a:cubicBezTo>
                <a:cubicBezTo>
                  <a:pt x="327659" y="367662"/>
                  <a:pt x="339420" y="374642"/>
                  <a:pt x="350979" y="371693"/>
                </a:cubicBezTo>
                <a:cubicBezTo>
                  <a:pt x="362600" y="368568"/>
                  <a:pt x="369538" y="356668"/>
                  <a:pt x="366531" y="345016"/>
                </a:cubicBezTo>
                <a:cubicBezTo>
                  <a:pt x="356004" y="307660"/>
                  <a:pt x="326809" y="278466"/>
                  <a:pt x="289453" y="267939"/>
                </a:cubicBezTo>
                <a:cubicBezTo>
                  <a:pt x="274636" y="263764"/>
                  <a:pt x="259673" y="262789"/>
                  <a:pt x="245303" y="264602"/>
                </a:cubicBezTo>
                <a:close/>
                <a:moveTo>
                  <a:pt x="259200" y="105823"/>
                </a:moveTo>
                <a:cubicBezTo>
                  <a:pt x="277368" y="105823"/>
                  <a:pt x="292097" y="120552"/>
                  <a:pt x="292097" y="138720"/>
                </a:cubicBezTo>
                <a:cubicBezTo>
                  <a:pt x="292097" y="156888"/>
                  <a:pt x="277368" y="171617"/>
                  <a:pt x="259200" y="171617"/>
                </a:cubicBezTo>
                <a:cubicBezTo>
                  <a:pt x="241032" y="171617"/>
                  <a:pt x="226303" y="156888"/>
                  <a:pt x="226303" y="138720"/>
                </a:cubicBezTo>
                <a:cubicBezTo>
                  <a:pt x="226303" y="120552"/>
                  <a:pt x="241032" y="105823"/>
                  <a:pt x="259200" y="105823"/>
                </a:cubicBezTo>
                <a:close/>
                <a:moveTo>
                  <a:pt x="259201" y="65707"/>
                </a:moveTo>
                <a:cubicBezTo>
                  <a:pt x="159538" y="68407"/>
                  <a:pt x="159517" y="216410"/>
                  <a:pt x="259201" y="219068"/>
                </a:cubicBezTo>
                <a:cubicBezTo>
                  <a:pt x="358863" y="216411"/>
                  <a:pt x="358884" y="68343"/>
                  <a:pt x="259201" y="65707"/>
                </a:cubicBezTo>
                <a:close/>
                <a:moveTo>
                  <a:pt x="86400" y="0"/>
                </a:moveTo>
                <a:lnTo>
                  <a:pt x="432001" y="0"/>
                </a:lnTo>
                <a:cubicBezTo>
                  <a:pt x="480033" y="380"/>
                  <a:pt x="518688" y="39577"/>
                  <a:pt x="518400" y="87610"/>
                </a:cubicBezTo>
                <a:lnTo>
                  <a:pt x="518400" y="350460"/>
                </a:lnTo>
                <a:cubicBezTo>
                  <a:pt x="518687" y="398496"/>
                  <a:pt x="480035" y="437699"/>
                  <a:pt x="432000" y="438091"/>
                </a:cubicBezTo>
                <a:lnTo>
                  <a:pt x="370375" y="438091"/>
                </a:lnTo>
                <a:lnTo>
                  <a:pt x="287323" y="507729"/>
                </a:lnTo>
                <a:cubicBezTo>
                  <a:pt x="271033" y="522102"/>
                  <a:pt x="246529" y="521887"/>
                  <a:pt x="230493" y="507232"/>
                </a:cubicBezTo>
                <a:lnTo>
                  <a:pt x="149537" y="438112"/>
                </a:lnTo>
                <a:lnTo>
                  <a:pt x="86400" y="438112"/>
                </a:lnTo>
                <a:cubicBezTo>
                  <a:pt x="38365" y="437720"/>
                  <a:pt x="-287" y="398517"/>
                  <a:pt x="1" y="350481"/>
                </a:cubicBezTo>
                <a:lnTo>
                  <a:pt x="1" y="87610"/>
                </a:lnTo>
                <a:cubicBezTo>
                  <a:pt x="-287" y="39577"/>
                  <a:pt x="38368" y="380"/>
                  <a:pt x="86400" y="0"/>
                </a:cubicBezTo>
                <a:close/>
              </a:path>
            </a:pathLst>
          </a:custGeom>
          <a:gradFill flip="none" rotWithShape="1">
            <a:gsLst>
              <a:gs pos="0">
                <a:schemeClr val="accent1"/>
              </a:gs>
              <a:gs pos="100000">
                <a:schemeClr val="accent2">
                  <a:alpha val="10000"/>
                </a:schemeClr>
              </a:gs>
            </a:gsLst>
            <a:path path="circle">
              <a:fillToRect l="100000" t="100000"/>
            </a:path>
            <a:tileRect r="-100000" b="-100000"/>
          </a:gradFill>
          <a:ln w="3016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black"/>
              </a:solidFill>
              <a:effectLst/>
              <a:uLnTx/>
              <a:uFillTx/>
              <a:latin typeface="OPPOSans L"/>
              <a:ea typeface="思源宋体 Light" panose="02020300000000000000" pitchFamily="18" charset="-122"/>
              <a:cs typeface="+mn-cs"/>
            </a:endParaRPr>
          </a:p>
        </p:txBody>
      </p:sp>
      <p:sp>
        <p:nvSpPr>
          <p:cNvPr id="62" name="任意多边形: 形状 61">
            <a:extLst>
              <a:ext uri="{FF2B5EF4-FFF2-40B4-BE49-F238E27FC236}">
                <a16:creationId xmlns:a16="http://schemas.microsoft.com/office/drawing/2014/main" id="{25C0C40D-4D1B-4B20-8B7A-7308DE5E1F2F}"/>
              </a:ext>
            </a:extLst>
          </p:cNvPr>
          <p:cNvSpPr/>
          <p:nvPr/>
        </p:nvSpPr>
        <p:spPr>
          <a:xfrm>
            <a:off x="9077897" y="5642817"/>
            <a:ext cx="406800" cy="406800"/>
          </a:xfrm>
          <a:custGeom>
            <a:avLst/>
            <a:gdLst>
              <a:gd name="connsiteX0" fmla="*/ 245303 w 518401"/>
              <a:gd name="connsiteY0" fmla="*/ 264602 h 518367"/>
              <a:gd name="connsiteX1" fmla="*/ 151892 w 518401"/>
              <a:gd name="connsiteY1" fmla="*/ 345016 h 518367"/>
              <a:gd name="connsiteX2" fmla="*/ 167335 w 518401"/>
              <a:gd name="connsiteY2" fmla="*/ 371390 h 518367"/>
              <a:gd name="connsiteX3" fmla="*/ 193709 w 518401"/>
              <a:gd name="connsiteY3" fmla="*/ 355946 h 518367"/>
              <a:gd name="connsiteX4" fmla="*/ 239171 w 518401"/>
              <a:gd name="connsiteY4" fmla="*/ 310484 h 518367"/>
              <a:gd name="connsiteX5" fmla="*/ 324670 w 518401"/>
              <a:gd name="connsiteY5" fmla="*/ 355946 h 518367"/>
              <a:gd name="connsiteX6" fmla="*/ 324709 w 518401"/>
              <a:gd name="connsiteY6" fmla="*/ 356103 h 518367"/>
              <a:gd name="connsiteX7" fmla="*/ 350979 w 518401"/>
              <a:gd name="connsiteY7" fmla="*/ 371693 h 518367"/>
              <a:gd name="connsiteX8" fmla="*/ 366531 w 518401"/>
              <a:gd name="connsiteY8" fmla="*/ 345016 h 518367"/>
              <a:gd name="connsiteX9" fmla="*/ 289453 w 518401"/>
              <a:gd name="connsiteY9" fmla="*/ 267939 h 518367"/>
              <a:gd name="connsiteX10" fmla="*/ 245303 w 518401"/>
              <a:gd name="connsiteY10" fmla="*/ 264602 h 518367"/>
              <a:gd name="connsiteX11" fmla="*/ 259200 w 518401"/>
              <a:gd name="connsiteY11" fmla="*/ 105823 h 518367"/>
              <a:gd name="connsiteX12" fmla="*/ 292097 w 518401"/>
              <a:gd name="connsiteY12" fmla="*/ 138720 h 518367"/>
              <a:gd name="connsiteX13" fmla="*/ 259200 w 518401"/>
              <a:gd name="connsiteY13" fmla="*/ 171617 h 518367"/>
              <a:gd name="connsiteX14" fmla="*/ 226303 w 518401"/>
              <a:gd name="connsiteY14" fmla="*/ 138720 h 518367"/>
              <a:gd name="connsiteX15" fmla="*/ 259200 w 518401"/>
              <a:gd name="connsiteY15" fmla="*/ 105823 h 518367"/>
              <a:gd name="connsiteX16" fmla="*/ 259201 w 518401"/>
              <a:gd name="connsiteY16" fmla="*/ 65707 h 518367"/>
              <a:gd name="connsiteX17" fmla="*/ 259201 w 518401"/>
              <a:gd name="connsiteY17" fmla="*/ 219068 h 518367"/>
              <a:gd name="connsiteX18" fmla="*/ 259201 w 518401"/>
              <a:gd name="connsiteY18" fmla="*/ 65707 h 518367"/>
              <a:gd name="connsiteX19" fmla="*/ 86400 w 518401"/>
              <a:gd name="connsiteY19" fmla="*/ 0 h 518367"/>
              <a:gd name="connsiteX20" fmla="*/ 432001 w 518401"/>
              <a:gd name="connsiteY20" fmla="*/ 0 h 518367"/>
              <a:gd name="connsiteX21" fmla="*/ 518400 w 518401"/>
              <a:gd name="connsiteY21" fmla="*/ 87610 h 518367"/>
              <a:gd name="connsiteX22" fmla="*/ 518400 w 518401"/>
              <a:gd name="connsiteY22" fmla="*/ 350460 h 518367"/>
              <a:gd name="connsiteX23" fmla="*/ 432000 w 518401"/>
              <a:gd name="connsiteY23" fmla="*/ 438091 h 518367"/>
              <a:gd name="connsiteX24" fmla="*/ 370375 w 518401"/>
              <a:gd name="connsiteY24" fmla="*/ 438091 h 518367"/>
              <a:gd name="connsiteX25" fmla="*/ 287323 w 518401"/>
              <a:gd name="connsiteY25" fmla="*/ 507729 h 518367"/>
              <a:gd name="connsiteX26" fmla="*/ 230493 w 518401"/>
              <a:gd name="connsiteY26" fmla="*/ 507232 h 518367"/>
              <a:gd name="connsiteX27" fmla="*/ 149537 w 518401"/>
              <a:gd name="connsiteY27" fmla="*/ 438112 h 518367"/>
              <a:gd name="connsiteX28" fmla="*/ 86400 w 518401"/>
              <a:gd name="connsiteY28" fmla="*/ 438112 h 518367"/>
              <a:gd name="connsiteX29" fmla="*/ 1 w 518401"/>
              <a:gd name="connsiteY29" fmla="*/ 350481 h 518367"/>
              <a:gd name="connsiteX30" fmla="*/ 1 w 518401"/>
              <a:gd name="connsiteY30" fmla="*/ 87610 h 518367"/>
              <a:gd name="connsiteX31" fmla="*/ 86400 w 518401"/>
              <a:gd name="connsiteY31" fmla="*/ 0 h 5183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518401" h="518367">
                <a:moveTo>
                  <a:pt x="245303" y="264602"/>
                </a:moveTo>
                <a:cubicBezTo>
                  <a:pt x="202193" y="270039"/>
                  <a:pt x="164418" y="300564"/>
                  <a:pt x="151892" y="345016"/>
                </a:cubicBezTo>
                <a:cubicBezTo>
                  <a:pt x="148874" y="356564"/>
                  <a:pt x="155788" y="368372"/>
                  <a:pt x="167335" y="371390"/>
                </a:cubicBezTo>
                <a:cubicBezTo>
                  <a:pt x="178883" y="374408"/>
                  <a:pt x="190691" y="367494"/>
                  <a:pt x="193709" y="355946"/>
                </a:cubicBezTo>
                <a:cubicBezTo>
                  <a:pt x="200364" y="334178"/>
                  <a:pt x="217403" y="317139"/>
                  <a:pt x="239171" y="310484"/>
                </a:cubicBezTo>
                <a:cubicBezTo>
                  <a:pt x="275335" y="299429"/>
                  <a:pt x="313614" y="319783"/>
                  <a:pt x="324670" y="355946"/>
                </a:cubicBezTo>
                <a:cubicBezTo>
                  <a:pt x="324683" y="355999"/>
                  <a:pt x="324696" y="356051"/>
                  <a:pt x="324709" y="356103"/>
                </a:cubicBezTo>
                <a:cubicBezTo>
                  <a:pt x="327659" y="367662"/>
                  <a:pt x="339420" y="374642"/>
                  <a:pt x="350979" y="371693"/>
                </a:cubicBezTo>
                <a:cubicBezTo>
                  <a:pt x="362600" y="368568"/>
                  <a:pt x="369538" y="356668"/>
                  <a:pt x="366531" y="345016"/>
                </a:cubicBezTo>
                <a:cubicBezTo>
                  <a:pt x="356004" y="307660"/>
                  <a:pt x="326809" y="278466"/>
                  <a:pt x="289453" y="267939"/>
                </a:cubicBezTo>
                <a:cubicBezTo>
                  <a:pt x="274636" y="263764"/>
                  <a:pt x="259673" y="262789"/>
                  <a:pt x="245303" y="264602"/>
                </a:cubicBezTo>
                <a:close/>
                <a:moveTo>
                  <a:pt x="259200" y="105823"/>
                </a:moveTo>
                <a:cubicBezTo>
                  <a:pt x="277368" y="105823"/>
                  <a:pt x="292097" y="120552"/>
                  <a:pt x="292097" y="138720"/>
                </a:cubicBezTo>
                <a:cubicBezTo>
                  <a:pt x="292097" y="156888"/>
                  <a:pt x="277368" y="171617"/>
                  <a:pt x="259200" y="171617"/>
                </a:cubicBezTo>
                <a:cubicBezTo>
                  <a:pt x="241032" y="171617"/>
                  <a:pt x="226303" y="156888"/>
                  <a:pt x="226303" y="138720"/>
                </a:cubicBezTo>
                <a:cubicBezTo>
                  <a:pt x="226303" y="120552"/>
                  <a:pt x="241032" y="105823"/>
                  <a:pt x="259200" y="105823"/>
                </a:cubicBezTo>
                <a:close/>
                <a:moveTo>
                  <a:pt x="259201" y="65707"/>
                </a:moveTo>
                <a:cubicBezTo>
                  <a:pt x="159538" y="68407"/>
                  <a:pt x="159517" y="216410"/>
                  <a:pt x="259201" y="219068"/>
                </a:cubicBezTo>
                <a:cubicBezTo>
                  <a:pt x="358863" y="216411"/>
                  <a:pt x="358884" y="68343"/>
                  <a:pt x="259201" y="65707"/>
                </a:cubicBezTo>
                <a:close/>
                <a:moveTo>
                  <a:pt x="86400" y="0"/>
                </a:moveTo>
                <a:lnTo>
                  <a:pt x="432001" y="0"/>
                </a:lnTo>
                <a:cubicBezTo>
                  <a:pt x="480033" y="380"/>
                  <a:pt x="518688" y="39577"/>
                  <a:pt x="518400" y="87610"/>
                </a:cubicBezTo>
                <a:lnTo>
                  <a:pt x="518400" y="350460"/>
                </a:lnTo>
                <a:cubicBezTo>
                  <a:pt x="518687" y="398496"/>
                  <a:pt x="480035" y="437699"/>
                  <a:pt x="432000" y="438091"/>
                </a:cubicBezTo>
                <a:lnTo>
                  <a:pt x="370375" y="438091"/>
                </a:lnTo>
                <a:lnTo>
                  <a:pt x="287323" y="507729"/>
                </a:lnTo>
                <a:cubicBezTo>
                  <a:pt x="271033" y="522102"/>
                  <a:pt x="246529" y="521887"/>
                  <a:pt x="230493" y="507232"/>
                </a:cubicBezTo>
                <a:lnTo>
                  <a:pt x="149537" y="438112"/>
                </a:lnTo>
                <a:lnTo>
                  <a:pt x="86400" y="438112"/>
                </a:lnTo>
                <a:cubicBezTo>
                  <a:pt x="38365" y="437720"/>
                  <a:pt x="-287" y="398517"/>
                  <a:pt x="1" y="350481"/>
                </a:cubicBezTo>
                <a:lnTo>
                  <a:pt x="1" y="87610"/>
                </a:lnTo>
                <a:cubicBezTo>
                  <a:pt x="-287" y="39577"/>
                  <a:pt x="38368" y="380"/>
                  <a:pt x="86400" y="0"/>
                </a:cubicBezTo>
                <a:close/>
              </a:path>
            </a:pathLst>
          </a:custGeom>
          <a:gradFill flip="none" rotWithShape="1">
            <a:gsLst>
              <a:gs pos="0">
                <a:schemeClr val="accent1"/>
              </a:gs>
              <a:gs pos="100000">
                <a:schemeClr val="accent2">
                  <a:alpha val="10000"/>
                </a:schemeClr>
              </a:gs>
            </a:gsLst>
            <a:path path="circle">
              <a:fillToRect l="100000" t="100000"/>
            </a:path>
            <a:tileRect r="-100000" b="-100000"/>
          </a:gradFill>
          <a:ln w="3016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black"/>
              </a:solidFill>
              <a:effectLst/>
              <a:uLnTx/>
              <a:uFillTx/>
              <a:latin typeface="OPPOSans L"/>
              <a:ea typeface="思源宋体 Light" panose="02020300000000000000" pitchFamily="18" charset="-122"/>
              <a:cs typeface="+mn-cs"/>
            </a:endParaRPr>
          </a:p>
        </p:txBody>
      </p:sp>
      <p:sp>
        <p:nvSpPr>
          <p:cNvPr id="67" name="稿定PPT-1">
            <a:extLst>
              <a:ext uri="{FF2B5EF4-FFF2-40B4-BE49-F238E27FC236}">
                <a16:creationId xmlns:a16="http://schemas.microsoft.com/office/drawing/2014/main" id="{8E90CF48-33FE-46C8-9E1E-972F36FEDE68}"/>
              </a:ext>
            </a:extLst>
          </p:cNvPr>
          <p:cNvSpPr txBox="1"/>
          <p:nvPr/>
        </p:nvSpPr>
        <p:spPr>
          <a:xfrm>
            <a:off x="793916" y="476356"/>
            <a:ext cx="3781482" cy="346872"/>
          </a:xfrm>
          <a:prstGeom prst="rect">
            <a:avLst/>
          </a:prstGeom>
          <a:noFill/>
          <a:ln>
            <a:noFill/>
          </a:ln>
        </p:spPr>
        <p:txBody>
          <a:bodyPr wrap="square" lIns="0" tIns="0" rIns="0" bIns="0" anchor="ctr" anchorCtr="0">
            <a:normAutofit/>
          </a:bodyPr>
          <a:lstStyle/>
          <a:p>
            <a:pPr marL="0" marR="0" lvl="0" indent="0" algn="l" defTabSz="913765" rtl="0" eaLnBrk="1" fontAlgn="auto" latinLnBrk="0" hangingPunct="1">
              <a:lnSpc>
                <a:spcPct val="100000"/>
              </a:lnSpc>
              <a:spcBef>
                <a:spcPts val="0"/>
              </a:spcBef>
              <a:spcAft>
                <a:spcPts val="0"/>
              </a:spcAft>
              <a:buClrTx/>
              <a:buSzPct val="25000"/>
              <a:buFontTx/>
              <a:buNone/>
              <a:tabLst/>
              <a:defRPr/>
            </a:pPr>
            <a:r>
              <a:rPr kumimoji="0" lang="zh-CN" altLang="en-US" sz="2000" b="0" i="0" u="none" strike="noStrike" kern="1200" cap="none" spc="0" normalizeH="0" baseline="0" noProof="0" dirty="0">
                <a:ln>
                  <a:noFill/>
                </a:ln>
                <a:solidFill>
                  <a:prstClr val="black"/>
                </a:solidFill>
                <a:effectLst/>
                <a:uLnTx/>
                <a:uFillTx/>
                <a:latin typeface="思源宋体 Heavy" panose="02020900000000000000" pitchFamily="18" charset="-122"/>
                <a:ea typeface="思源宋体 Heavy" panose="02020900000000000000" pitchFamily="18" charset="-122"/>
                <a:cs typeface="+mn-cs"/>
              </a:rPr>
              <a:t>秋叶</a:t>
            </a:r>
            <a:r>
              <a:rPr kumimoji="0" lang="en-US" altLang="zh-CN" sz="2000" b="0" i="0" u="none" strike="noStrike" kern="1200" cap="none" spc="0" normalizeH="0" baseline="0" noProof="0" dirty="0">
                <a:ln>
                  <a:noFill/>
                </a:ln>
                <a:solidFill>
                  <a:prstClr val="black"/>
                </a:solidFill>
                <a:effectLst/>
                <a:uLnTx/>
                <a:uFillTx/>
                <a:latin typeface="思源宋体 Heavy" panose="02020900000000000000" pitchFamily="18" charset="-122"/>
                <a:ea typeface="思源宋体 Heavy" panose="02020900000000000000" pitchFamily="18" charset="-122"/>
                <a:cs typeface="+mn-cs"/>
              </a:rPr>
              <a:t>PPT</a:t>
            </a:r>
            <a:r>
              <a:rPr kumimoji="0" lang="zh-CN" altLang="en-US" sz="2000" b="0" i="0" u="none" strike="noStrike" kern="1200" cap="none" spc="0" normalizeH="0" baseline="0" noProof="0" dirty="0">
                <a:ln>
                  <a:noFill/>
                </a:ln>
                <a:solidFill>
                  <a:prstClr val="black"/>
                </a:solidFill>
                <a:effectLst/>
                <a:uLnTx/>
                <a:uFillTx/>
                <a:latin typeface="思源宋体 Heavy" panose="02020900000000000000" pitchFamily="18" charset="-122"/>
                <a:ea typeface="思源宋体 Heavy" panose="02020900000000000000" pitchFamily="18" charset="-122"/>
                <a:cs typeface="+mn-cs"/>
              </a:rPr>
              <a:t>，海量素材持续更新</a:t>
            </a:r>
            <a:endParaRPr kumimoji="0" lang="en-US" sz="2000" b="0" i="0" u="none" strike="noStrike" kern="1200" cap="none" spc="0" normalizeH="0" baseline="0" noProof="0" dirty="0">
              <a:ln>
                <a:noFill/>
              </a:ln>
              <a:solidFill>
                <a:prstClr val="black"/>
              </a:solidFill>
              <a:effectLst/>
              <a:uLnTx/>
              <a:uFillTx/>
              <a:latin typeface="思源宋体 Heavy" panose="02020900000000000000" pitchFamily="18" charset="-122"/>
              <a:ea typeface="思源宋体 Heavy" panose="02020900000000000000" pitchFamily="18" charset="-122"/>
              <a:cs typeface="+mn-cs"/>
            </a:endParaRPr>
          </a:p>
        </p:txBody>
      </p:sp>
      <p:sp>
        <p:nvSpPr>
          <p:cNvPr id="68" name="稿定PPT-2">
            <a:extLst>
              <a:ext uri="{FF2B5EF4-FFF2-40B4-BE49-F238E27FC236}">
                <a16:creationId xmlns:a16="http://schemas.microsoft.com/office/drawing/2014/main" id="{D855C679-F5FD-4C30-80CB-479295DCF883}"/>
              </a:ext>
            </a:extLst>
          </p:cNvPr>
          <p:cNvSpPr txBox="1"/>
          <p:nvPr/>
        </p:nvSpPr>
        <p:spPr>
          <a:xfrm>
            <a:off x="793916" y="794342"/>
            <a:ext cx="5494713" cy="265028"/>
          </a:xfrm>
          <a:prstGeom prst="rect">
            <a:avLst/>
          </a:prstGeom>
          <a:noFill/>
          <a:ln>
            <a:noFill/>
          </a:ln>
        </p:spPr>
        <p:txBody>
          <a:bodyPr wrap="square" lIns="0" tIns="0" rIns="0" bIns="0" anchor="ctr" anchorCtr="0">
            <a:normAutofit/>
          </a:bodyPr>
          <a:lstStyle/>
          <a:p>
            <a:pPr marL="0" marR="0" lvl="0" indent="0" algn="l" defTabSz="913765" rtl="0" eaLnBrk="1" fontAlgn="auto" latinLnBrk="0" hangingPunct="1">
              <a:lnSpc>
                <a:spcPct val="100000"/>
              </a:lnSpc>
              <a:spcBef>
                <a:spcPts val="0"/>
              </a:spcBef>
              <a:spcAft>
                <a:spcPts val="0"/>
              </a:spcAft>
              <a:buClrTx/>
              <a:buSzPct val="25000"/>
              <a:buFontTx/>
              <a:buNone/>
              <a:tabLst/>
              <a:defRPr/>
            </a:pPr>
            <a:r>
              <a:rPr kumimoji="0" lang="en-US" sz="1000" b="0" i="0" u="none" strike="noStrike" kern="1200" cap="none" spc="0" normalizeH="0" baseline="0" noProof="0" dirty="0">
                <a:ln>
                  <a:noFill/>
                </a:ln>
                <a:solidFill>
                  <a:prstClr val="black"/>
                </a:solidFill>
                <a:effectLst/>
                <a:uLnTx/>
                <a:uFillTx/>
                <a:latin typeface="OPPOSans L" panose="00020600040101010101" pitchFamily="18" charset="-122"/>
                <a:ea typeface="OPPOSans L" panose="00020600040101010101" pitchFamily="18" charset="-122"/>
                <a:cs typeface="OPPOSans L" panose="00020600040101010101" pitchFamily="18" charset="-122"/>
              </a:rPr>
              <a:t>Mandamus mediocrem reprehendunt eum eu, cu pertinax ocurreret his. </a:t>
            </a:r>
          </a:p>
        </p:txBody>
      </p:sp>
      <p:sp>
        <p:nvSpPr>
          <p:cNvPr id="70" name="平行四边形 1">
            <a:extLst>
              <a:ext uri="{FF2B5EF4-FFF2-40B4-BE49-F238E27FC236}">
                <a16:creationId xmlns:a16="http://schemas.microsoft.com/office/drawing/2014/main" id="{71F36124-4B8E-4D08-91E3-C560160C9446}"/>
              </a:ext>
            </a:extLst>
          </p:cNvPr>
          <p:cNvSpPr/>
          <p:nvPr/>
        </p:nvSpPr>
        <p:spPr>
          <a:xfrm rot="5400000">
            <a:off x="342916" y="683320"/>
            <a:ext cx="263882" cy="59121"/>
          </a:xfrm>
          <a:prstGeom prst="parallelogram">
            <a:avLst>
              <a:gd name="adj" fmla="val 76220"/>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white"/>
              </a:solidFill>
              <a:effectLst/>
              <a:uLnTx/>
              <a:uFillTx/>
              <a:latin typeface="OPPOSans L"/>
              <a:ea typeface="思源宋体 Light" panose="02020300000000000000" pitchFamily="18" charset="-122"/>
              <a:cs typeface="+mn-cs"/>
            </a:endParaRPr>
          </a:p>
        </p:txBody>
      </p:sp>
      <p:sp>
        <p:nvSpPr>
          <p:cNvPr id="71" name="平行四边形 2">
            <a:extLst>
              <a:ext uri="{FF2B5EF4-FFF2-40B4-BE49-F238E27FC236}">
                <a16:creationId xmlns:a16="http://schemas.microsoft.com/office/drawing/2014/main" id="{4428EB5F-D4C0-42B2-868B-479B40655795}"/>
              </a:ext>
            </a:extLst>
          </p:cNvPr>
          <p:cNvSpPr/>
          <p:nvPr/>
        </p:nvSpPr>
        <p:spPr>
          <a:xfrm rot="16200000" flipH="1">
            <a:off x="402038" y="660548"/>
            <a:ext cx="263882" cy="59121"/>
          </a:xfrm>
          <a:prstGeom prst="parallelogram">
            <a:avLst>
              <a:gd name="adj" fmla="val 7622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white"/>
              </a:solidFill>
              <a:effectLst/>
              <a:uLnTx/>
              <a:uFillTx/>
              <a:latin typeface="OPPOSans L"/>
              <a:ea typeface="思源宋体 Light" panose="02020300000000000000" pitchFamily="18" charset="-122"/>
              <a:cs typeface="+mn-cs"/>
            </a:endParaRPr>
          </a:p>
        </p:txBody>
      </p:sp>
      <p:sp>
        <p:nvSpPr>
          <p:cNvPr id="72" name="平行四边形 3">
            <a:extLst>
              <a:ext uri="{FF2B5EF4-FFF2-40B4-BE49-F238E27FC236}">
                <a16:creationId xmlns:a16="http://schemas.microsoft.com/office/drawing/2014/main" id="{18D60EBF-6D46-4F74-8D2E-C302793BFB8B}"/>
              </a:ext>
            </a:extLst>
          </p:cNvPr>
          <p:cNvSpPr/>
          <p:nvPr/>
        </p:nvSpPr>
        <p:spPr>
          <a:xfrm rot="5400000">
            <a:off x="461159" y="683320"/>
            <a:ext cx="263882" cy="59121"/>
          </a:xfrm>
          <a:prstGeom prst="parallelogram">
            <a:avLst>
              <a:gd name="adj" fmla="val 76220"/>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white"/>
              </a:solidFill>
              <a:effectLst/>
              <a:uLnTx/>
              <a:uFillTx/>
              <a:latin typeface="OPPOSans L"/>
              <a:ea typeface="思源宋体 Light" panose="02020300000000000000" pitchFamily="18" charset="-122"/>
              <a:cs typeface="+mn-cs"/>
            </a:endParaRPr>
          </a:p>
        </p:txBody>
      </p:sp>
      <p:sp>
        <p:nvSpPr>
          <p:cNvPr id="73" name="平行四边形 4">
            <a:extLst>
              <a:ext uri="{FF2B5EF4-FFF2-40B4-BE49-F238E27FC236}">
                <a16:creationId xmlns:a16="http://schemas.microsoft.com/office/drawing/2014/main" id="{62A8B0CA-ED3B-4B31-B181-E2E5D45F2340}"/>
              </a:ext>
            </a:extLst>
          </p:cNvPr>
          <p:cNvSpPr/>
          <p:nvPr/>
        </p:nvSpPr>
        <p:spPr>
          <a:xfrm rot="16200000" flipH="1">
            <a:off x="520280" y="660548"/>
            <a:ext cx="263882" cy="59121"/>
          </a:xfrm>
          <a:prstGeom prst="parallelogram">
            <a:avLst>
              <a:gd name="adj" fmla="val 7622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white"/>
              </a:solidFill>
              <a:effectLst/>
              <a:uLnTx/>
              <a:uFillTx/>
              <a:latin typeface="OPPOSans L"/>
              <a:ea typeface="思源宋体 Light" panose="02020300000000000000" pitchFamily="18" charset="-122"/>
              <a:cs typeface="+mn-cs"/>
            </a:endParaRPr>
          </a:p>
        </p:txBody>
      </p:sp>
    </p:spTree>
    <p:extLst>
      <p:ext uri="{BB962C8B-B14F-4D97-AF65-F5344CB8AC3E}">
        <p14:creationId xmlns:p14="http://schemas.microsoft.com/office/powerpoint/2010/main" val="3738459474"/>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6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 name="gaoding-1">
            <a:extLst>
              <a:ext uri="{FF2B5EF4-FFF2-40B4-BE49-F238E27FC236}">
                <a16:creationId xmlns:a16="http://schemas.microsoft.com/office/drawing/2014/main" id="{3680B0E0-6957-42AD-BA0F-12F80FC69567}"/>
              </a:ext>
            </a:extLst>
          </p:cNvPr>
          <p:cNvSpPr/>
          <p:nvPr/>
        </p:nvSpPr>
        <p:spPr>
          <a:xfrm>
            <a:off x="0" y="0"/>
            <a:ext cx="12192000"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5720" rIns="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srgbClr val="FFFFFF"/>
              </a:solidFill>
              <a:effectLst/>
              <a:uLnTx/>
              <a:uFillTx/>
              <a:latin typeface="OPPOSans R"/>
              <a:ea typeface="OPPOSans R"/>
              <a:cs typeface="+mn-cs"/>
            </a:endParaRPr>
          </a:p>
        </p:txBody>
      </p:sp>
      <p:grpSp>
        <p:nvGrpSpPr>
          <p:cNvPr id="60" name="gaoding-2">
            <a:extLst>
              <a:ext uri="{FF2B5EF4-FFF2-40B4-BE49-F238E27FC236}">
                <a16:creationId xmlns:a16="http://schemas.microsoft.com/office/drawing/2014/main" id="{EB9CC8B6-5D8A-4922-A6E2-620D7B567D1D}"/>
              </a:ext>
            </a:extLst>
          </p:cNvPr>
          <p:cNvGrpSpPr/>
          <p:nvPr/>
        </p:nvGrpSpPr>
        <p:grpSpPr>
          <a:xfrm>
            <a:off x="1" y="-3168"/>
            <a:ext cx="12191999" cy="6864337"/>
            <a:chOff x="6383" y="0"/>
            <a:chExt cx="12191999" cy="6864337"/>
          </a:xfrm>
        </p:grpSpPr>
        <p:sp>
          <p:nvSpPr>
            <p:cNvPr id="62" name="gaoding-2-1">
              <a:extLst>
                <a:ext uri="{FF2B5EF4-FFF2-40B4-BE49-F238E27FC236}">
                  <a16:creationId xmlns:a16="http://schemas.microsoft.com/office/drawing/2014/main" id="{902C2D8D-D6B5-426E-9F03-972B96EA1438}"/>
                </a:ext>
              </a:extLst>
            </p:cNvPr>
            <p:cNvSpPr/>
            <p:nvPr/>
          </p:nvSpPr>
          <p:spPr>
            <a:xfrm>
              <a:off x="12766" y="6851661"/>
              <a:ext cx="12179233" cy="12676"/>
            </a:xfrm>
            <a:custGeom>
              <a:avLst/>
              <a:gdLst>
                <a:gd name="connsiteX0" fmla="*/ 0 w 12179233"/>
                <a:gd name="connsiteY0" fmla="*/ 0 h 12676"/>
                <a:gd name="connsiteX1" fmla="*/ 12179234 w 12179233"/>
                <a:gd name="connsiteY1" fmla="*/ 0 h 12676"/>
              </a:gdLst>
              <a:ahLst/>
              <a:cxnLst>
                <a:cxn ang="0">
                  <a:pos x="connsiteX0" y="connsiteY0"/>
                </a:cxn>
                <a:cxn ang="0">
                  <a:pos x="connsiteX1" y="connsiteY1"/>
                </a:cxn>
              </a:cxnLst>
              <a:rect l="l" t="t" r="r" b="b"/>
              <a:pathLst>
                <a:path w="12179233" h="12676">
                  <a:moveTo>
                    <a:pt x="0" y="0"/>
                  </a:moveTo>
                  <a:lnTo>
                    <a:pt x="12179234" y="0"/>
                  </a:lnTo>
                </a:path>
              </a:pathLst>
            </a:custGeom>
            <a:ln w="6350" cap="flat">
              <a:gradFill>
                <a:gsLst>
                  <a:gs pos="0">
                    <a:schemeClr val="bg1">
                      <a:lumMod val="50000"/>
                      <a:alpha val="0"/>
                    </a:schemeClr>
                  </a:gs>
                  <a:gs pos="100000">
                    <a:schemeClr val="bg1">
                      <a:lumMod val="50000"/>
                      <a:alpha val="10000"/>
                    </a:schemeClr>
                  </a:gs>
                </a:gsLst>
                <a:lin ang="5400000" scaled="1"/>
              </a:gra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OPPOSans R"/>
                <a:ea typeface="OPPOSans R"/>
                <a:cs typeface="+mn-cs"/>
              </a:endParaRPr>
            </a:p>
          </p:txBody>
        </p:sp>
        <p:sp>
          <p:nvSpPr>
            <p:cNvPr id="63" name="gaoding-2-2">
              <a:extLst>
                <a:ext uri="{FF2B5EF4-FFF2-40B4-BE49-F238E27FC236}">
                  <a16:creationId xmlns:a16="http://schemas.microsoft.com/office/drawing/2014/main" id="{AFD172E5-A7EC-4DEC-88DF-E0375989919A}"/>
                </a:ext>
              </a:extLst>
            </p:cNvPr>
            <p:cNvSpPr/>
            <p:nvPr/>
          </p:nvSpPr>
          <p:spPr>
            <a:xfrm>
              <a:off x="12766" y="6623484"/>
              <a:ext cx="12179233" cy="12676"/>
            </a:xfrm>
            <a:custGeom>
              <a:avLst/>
              <a:gdLst>
                <a:gd name="connsiteX0" fmla="*/ 0 w 12179233"/>
                <a:gd name="connsiteY0" fmla="*/ 0 h 12676"/>
                <a:gd name="connsiteX1" fmla="*/ 12179234 w 12179233"/>
                <a:gd name="connsiteY1" fmla="*/ 0 h 12676"/>
              </a:gdLst>
              <a:ahLst/>
              <a:cxnLst>
                <a:cxn ang="0">
                  <a:pos x="connsiteX0" y="connsiteY0"/>
                </a:cxn>
                <a:cxn ang="0">
                  <a:pos x="connsiteX1" y="connsiteY1"/>
                </a:cxn>
              </a:cxnLst>
              <a:rect l="l" t="t" r="r" b="b"/>
              <a:pathLst>
                <a:path w="12179233" h="12676">
                  <a:moveTo>
                    <a:pt x="0" y="0"/>
                  </a:moveTo>
                  <a:lnTo>
                    <a:pt x="12179234" y="0"/>
                  </a:lnTo>
                </a:path>
              </a:pathLst>
            </a:custGeom>
            <a:ln w="6350" cap="flat">
              <a:gradFill>
                <a:gsLst>
                  <a:gs pos="0">
                    <a:schemeClr val="bg1">
                      <a:lumMod val="50000"/>
                      <a:alpha val="0"/>
                    </a:schemeClr>
                  </a:gs>
                  <a:gs pos="100000">
                    <a:schemeClr val="bg1">
                      <a:lumMod val="50000"/>
                      <a:alpha val="10000"/>
                    </a:schemeClr>
                  </a:gs>
                </a:gsLst>
                <a:lin ang="5400000" scaled="1"/>
              </a:gra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OPPOSans R"/>
                <a:ea typeface="OPPOSans R"/>
                <a:cs typeface="+mn-cs"/>
              </a:endParaRPr>
            </a:p>
          </p:txBody>
        </p:sp>
        <p:sp>
          <p:nvSpPr>
            <p:cNvPr id="64" name="gaoding-2-3">
              <a:extLst>
                <a:ext uri="{FF2B5EF4-FFF2-40B4-BE49-F238E27FC236}">
                  <a16:creationId xmlns:a16="http://schemas.microsoft.com/office/drawing/2014/main" id="{F78E8637-99AE-4FAD-91F3-AF719C2C5E4E}"/>
                </a:ext>
              </a:extLst>
            </p:cNvPr>
            <p:cNvSpPr/>
            <p:nvPr/>
          </p:nvSpPr>
          <p:spPr>
            <a:xfrm>
              <a:off x="12766" y="6395306"/>
              <a:ext cx="12179233" cy="12676"/>
            </a:xfrm>
            <a:custGeom>
              <a:avLst/>
              <a:gdLst>
                <a:gd name="connsiteX0" fmla="*/ 0 w 12179233"/>
                <a:gd name="connsiteY0" fmla="*/ 0 h 12676"/>
                <a:gd name="connsiteX1" fmla="*/ 12179234 w 12179233"/>
                <a:gd name="connsiteY1" fmla="*/ 0 h 12676"/>
              </a:gdLst>
              <a:ahLst/>
              <a:cxnLst>
                <a:cxn ang="0">
                  <a:pos x="connsiteX0" y="connsiteY0"/>
                </a:cxn>
                <a:cxn ang="0">
                  <a:pos x="connsiteX1" y="connsiteY1"/>
                </a:cxn>
              </a:cxnLst>
              <a:rect l="l" t="t" r="r" b="b"/>
              <a:pathLst>
                <a:path w="12179233" h="12676">
                  <a:moveTo>
                    <a:pt x="0" y="0"/>
                  </a:moveTo>
                  <a:lnTo>
                    <a:pt x="12179234" y="0"/>
                  </a:lnTo>
                </a:path>
              </a:pathLst>
            </a:custGeom>
            <a:ln w="6350" cap="flat">
              <a:gradFill>
                <a:gsLst>
                  <a:gs pos="0">
                    <a:schemeClr val="bg1">
                      <a:lumMod val="50000"/>
                      <a:alpha val="0"/>
                    </a:schemeClr>
                  </a:gs>
                  <a:gs pos="100000">
                    <a:schemeClr val="bg1">
                      <a:lumMod val="50000"/>
                      <a:alpha val="10000"/>
                    </a:schemeClr>
                  </a:gs>
                </a:gsLst>
                <a:lin ang="5400000" scaled="1"/>
              </a:gra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OPPOSans R"/>
                <a:ea typeface="OPPOSans R"/>
                <a:cs typeface="+mn-cs"/>
              </a:endParaRPr>
            </a:p>
          </p:txBody>
        </p:sp>
        <p:sp>
          <p:nvSpPr>
            <p:cNvPr id="65" name="gaoding-2-4">
              <a:extLst>
                <a:ext uri="{FF2B5EF4-FFF2-40B4-BE49-F238E27FC236}">
                  <a16:creationId xmlns:a16="http://schemas.microsoft.com/office/drawing/2014/main" id="{E900E7B9-5A52-4A58-B144-927B5E0A1DE6}"/>
                </a:ext>
              </a:extLst>
            </p:cNvPr>
            <p:cNvSpPr/>
            <p:nvPr/>
          </p:nvSpPr>
          <p:spPr>
            <a:xfrm>
              <a:off x="12766" y="6167129"/>
              <a:ext cx="12179233" cy="12676"/>
            </a:xfrm>
            <a:custGeom>
              <a:avLst/>
              <a:gdLst>
                <a:gd name="connsiteX0" fmla="*/ 0 w 12179233"/>
                <a:gd name="connsiteY0" fmla="*/ 0 h 12676"/>
                <a:gd name="connsiteX1" fmla="*/ 12179234 w 12179233"/>
                <a:gd name="connsiteY1" fmla="*/ 0 h 12676"/>
              </a:gdLst>
              <a:ahLst/>
              <a:cxnLst>
                <a:cxn ang="0">
                  <a:pos x="connsiteX0" y="connsiteY0"/>
                </a:cxn>
                <a:cxn ang="0">
                  <a:pos x="connsiteX1" y="connsiteY1"/>
                </a:cxn>
              </a:cxnLst>
              <a:rect l="l" t="t" r="r" b="b"/>
              <a:pathLst>
                <a:path w="12179233" h="12676">
                  <a:moveTo>
                    <a:pt x="0" y="0"/>
                  </a:moveTo>
                  <a:lnTo>
                    <a:pt x="12179234" y="0"/>
                  </a:lnTo>
                </a:path>
              </a:pathLst>
            </a:custGeom>
            <a:ln w="6350" cap="flat">
              <a:gradFill>
                <a:gsLst>
                  <a:gs pos="0">
                    <a:schemeClr val="bg1">
                      <a:lumMod val="50000"/>
                      <a:alpha val="0"/>
                    </a:schemeClr>
                  </a:gs>
                  <a:gs pos="100000">
                    <a:schemeClr val="bg1">
                      <a:lumMod val="50000"/>
                      <a:alpha val="10000"/>
                    </a:schemeClr>
                  </a:gs>
                </a:gsLst>
                <a:lin ang="5400000" scaled="1"/>
              </a:gra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OPPOSans R"/>
                <a:ea typeface="OPPOSans R"/>
                <a:cs typeface="+mn-cs"/>
              </a:endParaRPr>
            </a:p>
          </p:txBody>
        </p:sp>
        <p:sp>
          <p:nvSpPr>
            <p:cNvPr id="66" name="gaoding-2-5">
              <a:extLst>
                <a:ext uri="{FF2B5EF4-FFF2-40B4-BE49-F238E27FC236}">
                  <a16:creationId xmlns:a16="http://schemas.microsoft.com/office/drawing/2014/main" id="{E379AF45-7D71-4B2D-A83A-B3864B01DFE1}"/>
                </a:ext>
              </a:extLst>
            </p:cNvPr>
            <p:cNvSpPr/>
            <p:nvPr/>
          </p:nvSpPr>
          <p:spPr>
            <a:xfrm>
              <a:off x="12766" y="5938951"/>
              <a:ext cx="12179233" cy="12676"/>
            </a:xfrm>
            <a:custGeom>
              <a:avLst/>
              <a:gdLst>
                <a:gd name="connsiteX0" fmla="*/ 0 w 12179233"/>
                <a:gd name="connsiteY0" fmla="*/ 0 h 12676"/>
                <a:gd name="connsiteX1" fmla="*/ 12179234 w 12179233"/>
                <a:gd name="connsiteY1" fmla="*/ 0 h 12676"/>
              </a:gdLst>
              <a:ahLst/>
              <a:cxnLst>
                <a:cxn ang="0">
                  <a:pos x="connsiteX0" y="connsiteY0"/>
                </a:cxn>
                <a:cxn ang="0">
                  <a:pos x="connsiteX1" y="connsiteY1"/>
                </a:cxn>
              </a:cxnLst>
              <a:rect l="l" t="t" r="r" b="b"/>
              <a:pathLst>
                <a:path w="12179233" h="12676">
                  <a:moveTo>
                    <a:pt x="0" y="0"/>
                  </a:moveTo>
                  <a:lnTo>
                    <a:pt x="12179234" y="0"/>
                  </a:lnTo>
                </a:path>
              </a:pathLst>
            </a:custGeom>
            <a:ln w="6350" cap="flat">
              <a:gradFill>
                <a:gsLst>
                  <a:gs pos="0">
                    <a:schemeClr val="bg1">
                      <a:lumMod val="50000"/>
                      <a:alpha val="0"/>
                    </a:schemeClr>
                  </a:gs>
                  <a:gs pos="100000">
                    <a:schemeClr val="bg1">
                      <a:lumMod val="50000"/>
                      <a:alpha val="10000"/>
                    </a:schemeClr>
                  </a:gs>
                </a:gsLst>
                <a:lin ang="5400000" scaled="1"/>
              </a:gra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OPPOSans R"/>
                <a:ea typeface="OPPOSans R"/>
                <a:cs typeface="+mn-cs"/>
              </a:endParaRPr>
            </a:p>
          </p:txBody>
        </p:sp>
        <p:sp>
          <p:nvSpPr>
            <p:cNvPr id="67" name="gaoding-2-6">
              <a:extLst>
                <a:ext uri="{FF2B5EF4-FFF2-40B4-BE49-F238E27FC236}">
                  <a16:creationId xmlns:a16="http://schemas.microsoft.com/office/drawing/2014/main" id="{4587B13C-3604-4B0A-879B-8CAC4982E8A9}"/>
                </a:ext>
              </a:extLst>
            </p:cNvPr>
            <p:cNvSpPr/>
            <p:nvPr/>
          </p:nvSpPr>
          <p:spPr>
            <a:xfrm>
              <a:off x="12766" y="5710774"/>
              <a:ext cx="12179233" cy="12676"/>
            </a:xfrm>
            <a:custGeom>
              <a:avLst/>
              <a:gdLst>
                <a:gd name="connsiteX0" fmla="*/ 0 w 12179233"/>
                <a:gd name="connsiteY0" fmla="*/ 0 h 12676"/>
                <a:gd name="connsiteX1" fmla="*/ 12179234 w 12179233"/>
                <a:gd name="connsiteY1" fmla="*/ 0 h 12676"/>
              </a:gdLst>
              <a:ahLst/>
              <a:cxnLst>
                <a:cxn ang="0">
                  <a:pos x="connsiteX0" y="connsiteY0"/>
                </a:cxn>
                <a:cxn ang="0">
                  <a:pos x="connsiteX1" y="connsiteY1"/>
                </a:cxn>
              </a:cxnLst>
              <a:rect l="l" t="t" r="r" b="b"/>
              <a:pathLst>
                <a:path w="12179233" h="12676">
                  <a:moveTo>
                    <a:pt x="0" y="0"/>
                  </a:moveTo>
                  <a:lnTo>
                    <a:pt x="12179234" y="0"/>
                  </a:lnTo>
                </a:path>
              </a:pathLst>
            </a:custGeom>
            <a:ln w="6350" cap="flat">
              <a:gradFill>
                <a:gsLst>
                  <a:gs pos="0">
                    <a:schemeClr val="bg1">
                      <a:lumMod val="50000"/>
                      <a:alpha val="0"/>
                    </a:schemeClr>
                  </a:gs>
                  <a:gs pos="100000">
                    <a:schemeClr val="bg1">
                      <a:lumMod val="50000"/>
                      <a:alpha val="10000"/>
                    </a:schemeClr>
                  </a:gs>
                </a:gsLst>
                <a:lin ang="5400000" scaled="1"/>
              </a:gra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OPPOSans R"/>
                <a:ea typeface="OPPOSans R"/>
                <a:cs typeface="+mn-cs"/>
              </a:endParaRPr>
            </a:p>
          </p:txBody>
        </p:sp>
        <p:sp>
          <p:nvSpPr>
            <p:cNvPr id="68" name="gaoding-2-7">
              <a:extLst>
                <a:ext uri="{FF2B5EF4-FFF2-40B4-BE49-F238E27FC236}">
                  <a16:creationId xmlns:a16="http://schemas.microsoft.com/office/drawing/2014/main" id="{60AA2B29-0A9E-4B30-B410-6C2E0B0E41F8}"/>
                </a:ext>
              </a:extLst>
            </p:cNvPr>
            <p:cNvSpPr/>
            <p:nvPr/>
          </p:nvSpPr>
          <p:spPr>
            <a:xfrm>
              <a:off x="12766" y="5482597"/>
              <a:ext cx="12179233" cy="12676"/>
            </a:xfrm>
            <a:custGeom>
              <a:avLst/>
              <a:gdLst>
                <a:gd name="connsiteX0" fmla="*/ 0 w 12179233"/>
                <a:gd name="connsiteY0" fmla="*/ 0 h 12676"/>
                <a:gd name="connsiteX1" fmla="*/ 12179234 w 12179233"/>
                <a:gd name="connsiteY1" fmla="*/ 0 h 12676"/>
              </a:gdLst>
              <a:ahLst/>
              <a:cxnLst>
                <a:cxn ang="0">
                  <a:pos x="connsiteX0" y="connsiteY0"/>
                </a:cxn>
                <a:cxn ang="0">
                  <a:pos x="connsiteX1" y="connsiteY1"/>
                </a:cxn>
              </a:cxnLst>
              <a:rect l="l" t="t" r="r" b="b"/>
              <a:pathLst>
                <a:path w="12179233" h="12676">
                  <a:moveTo>
                    <a:pt x="0" y="0"/>
                  </a:moveTo>
                  <a:lnTo>
                    <a:pt x="12179234" y="0"/>
                  </a:lnTo>
                </a:path>
              </a:pathLst>
            </a:custGeom>
            <a:ln w="6350" cap="flat">
              <a:gradFill>
                <a:gsLst>
                  <a:gs pos="0">
                    <a:schemeClr val="bg1">
                      <a:lumMod val="50000"/>
                      <a:alpha val="0"/>
                    </a:schemeClr>
                  </a:gs>
                  <a:gs pos="100000">
                    <a:schemeClr val="bg1">
                      <a:lumMod val="50000"/>
                      <a:alpha val="10000"/>
                    </a:schemeClr>
                  </a:gs>
                </a:gsLst>
                <a:lin ang="5400000" scaled="1"/>
              </a:gra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OPPOSans R"/>
                <a:ea typeface="OPPOSans R"/>
                <a:cs typeface="+mn-cs"/>
              </a:endParaRPr>
            </a:p>
          </p:txBody>
        </p:sp>
        <p:sp>
          <p:nvSpPr>
            <p:cNvPr id="69" name="gaoding-2-8">
              <a:extLst>
                <a:ext uri="{FF2B5EF4-FFF2-40B4-BE49-F238E27FC236}">
                  <a16:creationId xmlns:a16="http://schemas.microsoft.com/office/drawing/2014/main" id="{997B47A2-E85B-4836-BE0A-F8AECFA037F7}"/>
                </a:ext>
              </a:extLst>
            </p:cNvPr>
            <p:cNvSpPr/>
            <p:nvPr/>
          </p:nvSpPr>
          <p:spPr>
            <a:xfrm>
              <a:off x="12766" y="5254419"/>
              <a:ext cx="12179233" cy="12676"/>
            </a:xfrm>
            <a:custGeom>
              <a:avLst/>
              <a:gdLst>
                <a:gd name="connsiteX0" fmla="*/ 0 w 12179233"/>
                <a:gd name="connsiteY0" fmla="*/ 0 h 12676"/>
                <a:gd name="connsiteX1" fmla="*/ 12179234 w 12179233"/>
                <a:gd name="connsiteY1" fmla="*/ 0 h 12676"/>
              </a:gdLst>
              <a:ahLst/>
              <a:cxnLst>
                <a:cxn ang="0">
                  <a:pos x="connsiteX0" y="connsiteY0"/>
                </a:cxn>
                <a:cxn ang="0">
                  <a:pos x="connsiteX1" y="connsiteY1"/>
                </a:cxn>
              </a:cxnLst>
              <a:rect l="l" t="t" r="r" b="b"/>
              <a:pathLst>
                <a:path w="12179233" h="12676">
                  <a:moveTo>
                    <a:pt x="0" y="0"/>
                  </a:moveTo>
                  <a:lnTo>
                    <a:pt x="12179234" y="0"/>
                  </a:lnTo>
                </a:path>
              </a:pathLst>
            </a:custGeom>
            <a:ln w="6350" cap="flat">
              <a:gradFill>
                <a:gsLst>
                  <a:gs pos="0">
                    <a:schemeClr val="bg1">
                      <a:lumMod val="50000"/>
                      <a:alpha val="0"/>
                    </a:schemeClr>
                  </a:gs>
                  <a:gs pos="100000">
                    <a:schemeClr val="bg1">
                      <a:lumMod val="50000"/>
                      <a:alpha val="10000"/>
                    </a:schemeClr>
                  </a:gs>
                </a:gsLst>
                <a:lin ang="5400000" scaled="1"/>
              </a:gra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OPPOSans R"/>
                <a:ea typeface="OPPOSans R"/>
                <a:cs typeface="+mn-cs"/>
              </a:endParaRPr>
            </a:p>
          </p:txBody>
        </p:sp>
        <p:sp>
          <p:nvSpPr>
            <p:cNvPr id="70" name="gaoding-2-9">
              <a:extLst>
                <a:ext uri="{FF2B5EF4-FFF2-40B4-BE49-F238E27FC236}">
                  <a16:creationId xmlns:a16="http://schemas.microsoft.com/office/drawing/2014/main" id="{FA584B84-A389-45B4-A1F6-4BDA7350651F}"/>
                </a:ext>
              </a:extLst>
            </p:cNvPr>
            <p:cNvSpPr/>
            <p:nvPr/>
          </p:nvSpPr>
          <p:spPr>
            <a:xfrm>
              <a:off x="12766" y="5026242"/>
              <a:ext cx="12179233" cy="12676"/>
            </a:xfrm>
            <a:custGeom>
              <a:avLst/>
              <a:gdLst>
                <a:gd name="connsiteX0" fmla="*/ 0 w 12179233"/>
                <a:gd name="connsiteY0" fmla="*/ 0 h 12676"/>
                <a:gd name="connsiteX1" fmla="*/ 12179234 w 12179233"/>
                <a:gd name="connsiteY1" fmla="*/ 0 h 12676"/>
              </a:gdLst>
              <a:ahLst/>
              <a:cxnLst>
                <a:cxn ang="0">
                  <a:pos x="connsiteX0" y="connsiteY0"/>
                </a:cxn>
                <a:cxn ang="0">
                  <a:pos x="connsiteX1" y="connsiteY1"/>
                </a:cxn>
              </a:cxnLst>
              <a:rect l="l" t="t" r="r" b="b"/>
              <a:pathLst>
                <a:path w="12179233" h="12676">
                  <a:moveTo>
                    <a:pt x="0" y="0"/>
                  </a:moveTo>
                  <a:lnTo>
                    <a:pt x="12179234" y="0"/>
                  </a:lnTo>
                </a:path>
              </a:pathLst>
            </a:custGeom>
            <a:ln w="6350" cap="flat">
              <a:gradFill>
                <a:gsLst>
                  <a:gs pos="0">
                    <a:schemeClr val="bg1">
                      <a:lumMod val="50000"/>
                      <a:alpha val="0"/>
                    </a:schemeClr>
                  </a:gs>
                  <a:gs pos="100000">
                    <a:schemeClr val="bg1">
                      <a:lumMod val="50000"/>
                      <a:alpha val="10000"/>
                    </a:schemeClr>
                  </a:gs>
                </a:gsLst>
                <a:lin ang="5400000" scaled="1"/>
              </a:gra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OPPOSans R"/>
                <a:ea typeface="OPPOSans R"/>
                <a:cs typeface="+mn-cs"/>
              </a:endParaRPr>
            </a:p>
          </p:txBody>
        </p:sp>
        <p:sp>
          <p:nvSpPr>
            <p:cNvPr id="77" name="gaoding-2-10">
              <a:extLst>
                <a:ext uri="{FF2B5EF4-FFF2-40B4-BE49-F238E27FC236}">
                  <a16:creationId xmlns:a16="http://schemas.microsoft.com/office/drawing/2014/main" id="{1181D2D8-E128-4F12-A811-ED65F99C3013}"/>
                </a:ext>
              </a:extLst>
            </p:cNvPr>
            <p:cNvSpPr/>
            <p:nvPr/>
          </p:nvSpPr>
          <p:spPr>
            <a:xfrm>
              <a:off x="12766" y="4798064"/>
              <a:ext cx="12179233" cy="12676"/>
            </a:xfrm>
            <a:custGeom>
              <a:avLst/>
              <a:gdLst>
                <a:gd name="connsiteX0" fmla="*/ 0 w 12179233"/>
                <a:gd name="connsiteY0" fmla="*/ 0 h 12676"/>
                <a:gd name="connsiteX1" fmla="*/ 12179234 w 12179233"/>
                <a:gd name="connsiteY1" fmla="*/ 0 h 12676"/>
              </a:gdLst>
              <a:ahLst/>
              <a:cxnLst>
                <a:cxn ang="0">
                  <a:pos x="connsiteX0" y="connsiteY0"/>
                </a:cxn>
                <a:cxn ang="0">
                  <a:pos x="connsiteX1" y="connsiteY1"/>
                </a:cxn>
              </a:cxnLst>
              <a:rect l="l" t="t" r="r" b="b"/>
              <a:pathLst>
                <a:path w="12179233" h="12676">
                  <a:moveTo>
                    <a:pt x="0" y="0"/>
                  </a:moveTo>
                  <a:lnTo>
                    <a:pt x="12179234" y="0"/>
                  </a:lnTo>
                </a:path>
              </a:pathLst>
            </a:custGeom>
            <a:ln w="6350" cap="flat">
              <a:gradFill>
                <a:gsLst>
                  <a:gs pos="0">
                    <a:schemeClr val="bg1">
                      <a:lumMod val="50000"/>
                      <a:alpha val="0"/>
                    </a:schemeClr>
                  </a:gs>
                  <a:gs pos="100000">
                    <a:schemeClr val="bg1">
                      <a:lumMod val="50000"/>
                      <a:alpha val="10000"/>
                    </a:schemeClr>
                  </a:gs>
                </a:gsLst>
                <a:lin ang="5400000" scaled="1"/>
              </a:gra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OPPOSans R"/>
                <a:ea typeface="OPPOSans R"/>
                <a:cs typeface="+mn-cs"/>
              </a:endParaRPr>
            </a:p>
          </p:txBody>
        </p:sp>
        <p:sp>
          <p:nvSpPr>
            <p:cNvPr id="78" name="gaoding-2-11">
              <a:extLst>
                <a:ext uri="{FF2B5EF4-FFF2-40B4-BE49-F238E27FC236}">
                  <a16:creationId xmlns:a16="http://schemas.microsoft.com/office/drawing/2014/main" id="{07DF2FD4-EF7A-4D42-B422-C4F68B6FD1EE}"/>
                </a:ext>
              </a:extLst>
            </p:cNvPr>
            <p:cNvSpPr/>
            <p:nvPr/>
          </p:nvSpPr>
          <p:spPr>
            <a:xfrm>
              <a:off x="12766" y="4569887"/>
              <a:ext cx="12179233" cy="12676"/>
            </a:xfrm>
            <a:custGeom>
              <a:avLst/>
              <a:gdLst>
                <a:gd name="connsiteX0" fmla="*/ 0 w 12179233"/>
                <a:gd name="connsiteY0" fmla="*/ 0 h 12676"/>
                <a:gd name="connsiteX1" fmla="*/ 12179234 w 12179233"/>
                <a:gd name="connsiteY1" fmla="*/ 0 h 12676"/>
              </a:gdLst>
              <a:ahLst/>
              <a:cxnLst>
                <a:cxn ang="0">
                  <a:pos x="connsiteX0" y="connsiteY0"/>
                </a:cxn>
                <a:cxn ang="0">
                  <a:pos x="connsiteX1" y="connsiteY1"/>
                </a:cxn>
              </a:cxnLst>
              <a:rect l="l" t="t" r="r" b="b"/>
              <a:pathLst>
                <a:path w="12179233" h="12676">
                  <a:moveTo>
                    <a:pt x="0" y="0"/>
                  </a:moveTo>
                  <a:lnTo>
                    <a:pt x="12179234" y="0"/>
                  </a:lnTo>
                </a:path>
              </a:pathLst>
            </a:custGeom>
            <a:ln w="6350" cap="flat">
              <a:gradFill>
                <a:gsLst>
                  <a:gs pos="0">
                    <a:schemeClr val="bg1">
                      <a:lumMod val="50000"/>
                      <a:alpha val="0"/>
                    </a:schemeClr>
                  </a:gs>
                  <a:gs pos="100000">
                    <a:schemeClr val="bg1">
                      <a:lumMod val="50000"/>
                      <a:alpha val="10000"/>
                    </a:schemeClr>
                  </a:gs>
                </a:gsLst>
                <a:lin ang="5400000" scaled="1"/>
              </a:gra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OPPOSans R"/>
                <a:ea typeface="OPPOSans R"/>
                <a:cs typeface="+mn-cs"/>
              </a:endParaRPr>
            </a:p>
          </p:txBody>
        </p:sp>
        <p:sp>
          <p:nvSpPr>
            <p:cNvPr id="79" name="gaoding-2-12">
              <a:extLst>
                <a:ext uri="{FF2B5EF4-FFF2-40B4-BE49-F238E27FC236}">
                  <a16:creationId xmlns:a16="http://schemas.microsoft.com/office/drawing/2014/main" id="{D62DB572-0D44-4A84-AB29-C07FBF2770B6}"/>
                </a:ext>
              </a:extLst>
            </p:cNvPr>
            <p:cNvSpPr/>
            <p:nvPr/>
          </p:nvSpPr>
          <p:spPr>
            <a:xfrm>
              <a:off x="12766" y="4341709"/>
              <a:ext cx="12179233" cy="12676"/>
            </a:xfrm>
            <a:custGeom>
              <a:avLst/>
              <a:gdLst>
                <a:gd name="connsiteX0" fmla="*/ 0 w 12179233"/>
                <a:gd name="connsiteY0" fmla="*/ 0 h 12676"/>
                <a:gd name="connsiteX1" fmla="*/ 12179234 w 12179233"/>
                <a:gd name="connsiteY1" fmla="*/ 0 h 12676"/>
              </a:gdLst>
              <a:ahLst/>
              <a:cxnLst>
                <a:cxn ang="0">
                  <a:pos x="connsiteX0" y="connsiteY0"/>
                </a:cxn>
                <a:cxn ang="0">
                  <a:pos x="connsiteX1" y="connsiteY1"/>
                </a:cxn>
              </a:cxnLst>
              <a:rect l="l" t="t" r="r" b="b"/>
              <a:pathLst>
                <a:path w="12179233" h="12676">
                  <a:moveTo>
                    <a:pt x="0" y="0"/>
                  </a:moveTo>
                  <a:lnTo>
                    <a:pt x="12179234" y="0"/>
                  </a:lnTo>
                </a:path>
              </a:pathLst>
            </a:custGeom>
            <a:ln w="6350" cap="flat">
              <a:gradFill>
                <a:gsLst>
                  <a:gs pos="0">
                    <a:schemeClr val="bg1">
                      <a:lumMod val="50000"/>
                      <a:alpha val="0"/>
                    </a:schemeClr>
                  </a:gs>
                  <a:gs pos="100000">
                    <a:schemeClr val="bg1">
                      <a:lumMod val="50000"/>
                      <a:alpha val="10000"/>
                    </a:schemeClr>
                  </a:gs>
                </a:gsLst>
                <a:lin ang="5400000" scaled="1"/>
              </a:gra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OPPOSans R"/>
                <a:ea typeface="OPPOSans R"/>
                <a:cs typeface="+mn-cs"/>
              </a:endParaRPr>
            </a:p>
          </p:txBody>
        </p:sp>
        <p:sp>
          <p:nvSpPr>
            <p:cNvPr id="84" name="gaoding-2-13">
              <a:extLst>
                <a:ext uri="{FF2B5EF4-FFF2-40B4-BE49-F238E27FC236}">
                  <a16:creationId xmlns:a16="http://schemas.microsoft.com/office/drawing/2014/main" id="{930BB99C-E396-40E0-A630-8B403FE4F9CB}"/>
                </a:ext>
              </a:extLst>
            </p:cNvPr>
            <p:cNvSpPr/>
            <p:nvPr/>
          </p:nvSpPr>
          <p:spPr>
            <a:xfrm>
              <a:off x="12766" y="4113532"/>
              <a:ext cx="12179233" cy="12676"/>
            </a:xfrm>
            <a:custGeom>
              <a:avLst/>
              <a:gdLst>
                <a:gd name="connsiteX0" fmla="*/ 0 w 12179233"/>
                <a:gd name="connsiteY0" fmla="*/ 0 h 12676"/>
                <a:gd name="connsiteX1" fmla="*/ 12179234 w 12179233"/>
                <a:gd name="connsiteY1" fmla="*/ 0 h 12676"/>
              </a:gdLst>
              <a:ahLst/>
              <a:cxnLst>
                <a:cxn ang="0">
                  <a:pos x="connsiteX0" y="connsiteY0"/>
                </a:cxn>
                <a:cxn ang="0">
                  <a:pos x="connsiteX1" y="connsiteY1"/>
                </a:cxn>
              </a:cxnLst>
              <a:rect l="l" t="t" r="r" b="b"/>
              <a:pathLst>
                <a:path w="12179233" h="12676">
                  <a:moveTo>
                    <a:pt x="0" y="0"/>
                  </a:moveTo>
                  <a:lnTo>
                    <a:pt x="12179234" y="0"/>
                  </a:lnTo>
                </a:path>
              </a:pathLst>
            </a:custGeom>
            <a:ln w="6350" cap="flat">
              <a:gradFill>
                <a:gsLst>
                  <a:gs pos="0">
                    <a:schemeClr val="bg1">
                      <a:lumMod val="50000"/>
                      <a:alpha val="0"/>
                    </a:schemeClr>
                  </a:gs>
                  <a:gs pos="100000">
                    <a:schemeClr val="bg1">
                      <a:lumMod val="50000"/>
                      <a:alpha val="10000"/>
                    </a:schemeClr>
                  </a:gs>
                </a:gsLst>
                <a:lin ang="5400000" scaled="1"/>
              </a:gra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OPPOSans R"/>
                <a:ea typeface="OPPOSans R"/>
                <a:cs typeface="+mn-cs"/>
              </a:endParaRPr>
            </a:p>
          </p:txBody>
        </p:sp>
        <p:sp>
          <p:nvSpPr>
            <p:cNvPr id="87" name="gaoding-2-14">
              <a:extLst>
                <a:ext uri="{FF2B5EF4-FFF2-40B4-BE49-F238E27FC236}">
                  <a16:creationId xmlns:a16="http://schemas.microsoft.com/office/drawing/2014/main" id="{6BCD5056-5663-4DD5-BF58-DF81B6476D0B}"/>
                </a:ext>
              </a:extLst>
            </p:cNvPr>
            <p:cNvSpPr/>
            <p:nvPr/>
          </p:nvSpPr>
          <p:spPr>
            <a:xfrm>
              <a:off x="12766" y="3885354"/>
              <a:ext cx="12179233" cy="12676"/>
            </a:xfrm>
            <a:custGeom>
              <a:avLst/>
              <a:gdLst>
                <a:gd name="connsiteX0" fmla="*/ 0 w 12179233"/>
                <a:gd name="connsiteY0" fmla="*/ 0 h 12676"/>
                <a:gd name="connsiteX1" fmla="*/ 12179234 w 12179233"/>
                <a:gd name="connsiteY1" fmla="*/ 0 h 12676"/>
              </a:gdLst>
              <a:ahLst/>
              <a:cxnLst>
                <a:cxn ang="0">
                  <a:pos x="connsiteX0" y="connsiteY0"/>
                </a:cxn>
                <a:cxn ang="0">
                  <a:pos x="connsiteX1" y="connsiteY1"/>
                </a:cxn>
              </a:cxnLst>
              <a:rect l="l" t="t" r="r" b="b"/>
              <a:pathLst>
                <a:path w="12179233" h="12676">
                  <a:moveTo>
                    <a:pt x="0" y="0"/>
                  </a:moveTo>
                  <a:lnTo>
                    <a:pt x="12179234" y="0"/>
                  </a:lnTo>
                </a:path>
              </a:pathLst>
            </a:custGeom>
            <a:ln w="6350" cap="flat">
              <a:gradFill>
                <a:gsLst>
                  <a:gs pos="0">
                    <a:schemeClr val="bg1">
                      <a:lumMod val="50000"/>
                      <a:alpha val="0"/>
                    </a:schemeClr>
                  </a:gs>
                  <a:gs pos="100000">
                    <a:schemeClr val="bg1">
                      <a:lumMod val="50000"/>
                      <a:alpha val="10000"/>
                    </a:schemeClr>
                  </a:gs>
                </a:gsLst>
                <a:lin ang="5400000" scaled="1"/>
              </a:gra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OPPOSans R"/>
                <a:ea typeface="OPPOSans R"/>
                <a:cs typeface="+mn-cs"/>
              </a:endParaRPr>
            </a:p>
          </p:txBody>
        </p:sp>
        <p:sp>
          <p:nvSpPr>
            <p:cNvPr id="88" name="gaoding-2-15">
              <a:extLst>
                <a:ext uri="{FF2B5EF4-FFF2-40B4-BE49-F238E27FC236}">
                  <a16:creationId xmlns:a16="http://schemas.microsoft.com/office/drawing/2014/main" id="{6BC1B0E6-548F-41BB-89FB-A53507F185EB}"/>
                </a:ext>
              </a:extLst>
            </p:cNvPr>
            <p:cNvSpPr/>
            <p:nvPr/>
          </p:nvSpPr>
          <p:spPr>
            <a:xfrm>
              <a:off x="12766" y="3657177"/>
              <a:ext cx="12179233" cy="12676"/>
            </a:xfrm>
            <a:custGeom>
              <a:avLst/>
              <a:gdLst>
                <a:gd name="connsiteX0" fmla="*/ 0 w 12179233"/>
                <a:gd name="connsiteY0" fmla="*/ 0 h 12676"/>
                <a:gd name="connsiteX1" fmla="*/ 12179234 w 12179233"/>
                <a:gd name="connsiteY1" fmla="*/ 0 h 12676"/>
              </a:gdLst>
              <a:ahLst/>
              <a:cxnLst>
                <a:cxn ang="0">
                  <a:pos x="connsiteX0" y="connsiteY0"/>
                </a:cxn>
                <a:cxn ang="0">
                  <a:pos x="connsiteX1" y="connsiteY1"/>
                </a:cxn>
              </a:cxnLst>
              <a:rect l="l" t="t" r="r" b="b"/>
              <a:pathLst>
                <a:path w="12179233" h="12676">
                  <a:moveTo>
                    <a:pt x="0" y="0"/>
                  </a:moveTo>
                  <a:lnTo>
                    <a:pt x="12179234" y="0"/>
                  </a:lnTo>
                </a:path>
              </a:pathLst>
            </a:custGeom>
            <a:ln w="6350" cap="flat">
              <a:gradFill>
                <a:gsLst>
                  <a:gs pos="0">
                    <a:schemeClr val="bg1">
                      <a:lumMod val="50000"/>
                      <a:alpha val="0"/>
                    </a:schemeClr>
                  </a:gs>
                  <a:gs pos="100000">
                    <a:schemeClr val="bg1">
                      <a:lumMod val="50000"/>
                      <a:alpha val="10000"/>
                    </a:schemeClr>
                  </a:gs>
                </a:gsLst>
                <a:lin ang="5400000" scaled="1"/>
              </a:gra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OPPOSans R"/>
                <a:ea typeface="OPPOSans R"/>
                <a:cs typeface="+mn-cs"/>
              </a:endParaRPr>
            </a:p>
          </p:txBody>
        </p:sp>
        <p:sp>
          <p:nvSpPr>
            <p:cNvPr id="89" name="gaoding-2-16">
              <a:extLst>
                <a:ext uri="{FF2B5EF4-FFF2-40B4-BE49-F238E27FC236}">
                  <a16:creationId xmlns:a16="http://schemas.microsoft.com/office/drawing/2014/main" id="{6932964B-682B-4F33-B61F-2855A3F8334C}"/>
                </a:ext>
              </a:extLst>
            </p:cNvPr>
            <p:cNvSpPr/>
            <p:nvPr/>
          </p:nvSpPr>
          <p:spPr>
            <a:xfrm>
              <a:off x="12766" y="3429000"/>
              <a:ext cx="12179233" cy="12676"/>
            </a:xfrm>
            <a:custGeom>
              <a:avLst/>
              <a:gdLst>
                <a:gd name="connsiteX0" fmla="*/ 0 w 12179233"/>
                <a:gd name="connsiteY0" fmla="*/ 0 h 12676"/>
                <a:gd name="connsiteX1" fmla="*/ 12179234 w 12179233"/>
                <a:gd name="connsiteY1" fmla="*/ 0 h 12676"/>
              </a:gdLst>
              <a:ahLst/>
              <a:cxnLst>
                <a:cxn ang="0">
                  <a:pos x="connsiteX0" y="connsiteY0"/>
                </a:cxn>
                <a:cxn ang="0">
                  <a:pos x="connsiteX1" y="connsiteY1"/>
                </a:cxn>
              </a:cxnLst>
              <a:rect l="l" t="t" r="r" b="b"/>
              <a:pathLst>
                <a:path w="12179233" h="12676">
                  <a:moveTo>
                    <a:pt x="0" y="0"/>
                  </a:moveTo>
                  <a:lnTo>
                    <a:pt x="12179234" y="0"/>
                  </a:lnTo>
                </a:path>
              </a:pathLst>
            </a:custGeom>
            <a:ln w="6350" cap="flat">
              <a:gradFill>
                <a:gsLst>
                  <a:gs pos="0">
                    <a:schemeClr val="bg1">
                      <a:lumMod val="50000"/>
                      <a:alpha val="0"/>
                    </a:schemeClr>
                  </a:gs>
                  <a:gs pos="100000">
                    <a:schemeClr val="bg1">
                      <a:lumMod val="50000"/>
                      <a:alpha val="10000"/>
                    </a:schemeClr>
                  </a:gs>
                </a:gsLst>
                <a:lin ang="5400000" scaled="1"/>
              </a:gra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OPPOSans R"/>
                <a:ea typeface="OPPOSans R"/>
                <a:cs typeface="+mn-cs"/>
              </a:endParaRPr>
            </a:p>
          </p:txBody>
        </p:sp>
        <p:sp>
          <p:nvSpPr>
            <p:cNvPr id="99" name="gaoding-2-17">
              <a:extLst>
                <a:ext uri="{FF2B5EF4-FFF2-40B4-BE49-F238E27FC236}">
                  <a16:creationId xmlns:a16="http://schemas.microsoft.com/office/drawing/2014/main" id="{0D23B9EB-EDE9-4F2E-BCA5-BD4D24D35BFF}"/>
                </a:ext>
              </a:extLst>
            </p:cNvPr>
            <p:cNvSpPr/>
            <p:nvPr/>
          </p:nvSpPr>
          <p:spPr>
            <a:xfrm>
              <a:off x="12766" y="3200822"/>
              <a:ext cx="12179233" cy="12676"/>
            </a:xfrm>
            <a:custGeom>
              <a:avLst/>
              <a:gdLst>
                <a:gd name="connsiteX0" fmla="*/ 0 w 12179233"/>
                <a:gd name="connsiteY0" fmla="*/ 0 h 12676"/>
                <a:gd name="connsiteX1" fmla="*/ 12179234 w 12179233"/>
                <a:gd name="connsiteY1" fmla="*/ 0 h 12676"/>
              </a:gdLst>
              <a:ahLst/>
              <a:cxnLst>
                <a:cxn ang="0">
                  <a:pos x="connsiteX0" y="connsiteY0"/>
                </a:cxn>
                <a:cxn ang="0">
                  <a:pos x="connsiteX1" y="connsiteY1"/>
                </a:cxn>
              </a:cxnLst>
              <a:rect l="l" t="t" r="r" b="b"/>
              <a:pathLst>
                <a:path w="12179233" h="12676">
                  <a:moveTo>
                    <a:pt x="0" y="0"/>
                  </a:moveTo>
                  <a:lnTo>
                    <a:pt x="12179234" y="0"/>
                  </a:lnTo>
                </a:path>
              </a:pathLst>
            </a:custGeom>
            <a:ln w="6350" cap="flat">
              <a:gradFill>
                <a:gsLst>
                  <a:gs pos="0">
                    <a:schemeClr val="bg1">
                      <a:lumMod val="50000"/>
                      <a:alpha val="0"/>
                    </a:schemeClr>
                  </a:gs>
                  <a:gs pos="100000">
                    <a:schemeClr val="bg1">
                      <a:lumMod val="50000"/>
                      <a:alpha val="10000"/>
                    </a:schemeClr>
                  </a:gs>
                </a:gsLst>
                <a:lin ang="5400000" scaled="1"/>
              </a:gra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OPPOSans R"/>
                <a:ea typeface="OPPOSans R"/>
                <a:cs typeface="+mn-cs"/>
              </a:endParaRPr>
            </a:p>
          </p:txBody>
        </p:sp>
        <p:sp>
          <p:nvSpPr>
            <p:cNvPr id="100" name="gaoding-2-18">
              <a:extLst>
                <a:ext uri="{FF2B5EF4-FFF2-40B4-BE49-F238E27FC236}">
                  <a16:creationId xmlns:a16="http://schemas.microsoft.com/office/drawing/2014/main" id="{ACD76FEA-A8D2-410E-B04E-58E6F33C782E}"/>
                </a:ext>
              </a:extLst>
            </p:cNvPr>
            <p:cNvSpPr/>
            <p:nvPr/>
          </p:nvSpPr>
          <p:spPr>
            <a:xfrm>
              <a:off x="12766" y="2972645"/>
              <a:ext cx="12179233" cy="12676"/>
            </a:xfrm>
            <a:custGeom>
              <a:avLst/>
              <a:gdLst>
                <a:gd name="connsiteX0" fmla="*/ 0 w 12179233"/>
                <a:gd name="connsiteY0" fmla="*/ 0 h 12676"/>
                <a:gd name="connsiteX1" fmla="*/ 12179234 w 12179233"/>
                <a:gd name="connsiteY1" fmla="*/ 0 h 12676"/>
              </a:gdLst>
              <a:ahLst/>
              <a:cxnLst>
                <a:cxn ang="0">
                  <a:pos x="connsiteX0" y="connsiteY0"/>
                </a:cxn>
                <a:cxn ang="0">
                  <a:pos x="connsiteX1" y="connsiteY1"/>
                </a:cxn>
              </a:cxnLst>
              <a:rect l="l" t="t" r="r" b="b"/>
              <a:pathLst>
                <a:path w="12179233" h="12676">
                  <a:moveTo>
                    <a:pt x="0" y="0"/>
                  </a:moveTo>
                  <a:lnTo>
                    <a:pt x="12179234" y="0"/>
                  </a:lnTo>
                </a:path>
              </a:pathLst>
            </a:custGeom>
            <a:ln w="6350" cap="flat">
              <a:gradFill>
                <a:gsLst>
                  <a:gs pos="0">
                    <a:schemeClr val="bg1">
                      <a:lumMod val="50000"/>
                      <a:alpha val="0"/>
                    </a:schemeClr>
                  </a:gs>
                  <a:gs pos="100000">
                    <a:schemeClr val="bg1">
                      <a:lumMod val="50000"/>
                      <a:alpha val="10000"/>
                    </a:schemeClr>
                  </a:gs>
                </a:gsLst>
                <a:lin ang="5400000" scaled="1"/>
              </a:gra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OPPOSans R"/>
                <a:ea typeface="OPPOSans R"/>
                <a:cs typeface="+mn-cs"/>
              </a:endParaRPr>
            </a:p>
          </p:txBody>
        </p:sp>
        <p:sp>
          <p:nvSpPr>
            <p:cNvPr id="101" name="gaoding-2-19">
              <a:extLst>
                <a:ext uri="{FF2B5EF4-FFF2-40B4-BE49-F238E27FC236}">
                  <a16:creationId xmlns:a16="http://schemas.microsoft.com/office/drawing/2014/main" id="{F3B64318-0AB0-42B8-A441-33C1506FFE9D}"/>
                </a:ext>
              </a:extLst>
            </p:cNvPr>
            <p:cNvSpPr/>
            <p:nvPr/>
          </p:nvSpPr>
          <p:spPr>
            <a:xfrm>
              <a:off x="12766" y="2744467"/>
              <a:ext cx="12179233" cy="12676"/>
            </a:xfrm>
            <a:custGeom>
              <a:avLst/>
              <a:gdLst>
                <a:gd name="connsiteX0" fmla="*/ 0 w 12179233"/>
                <a:gd name="connsiteY0" fmla="*/ 0 h 12676"/>
                <a:gd name="connsiteX1" fmla="*/ 12179234 w 12179233"/>
                <a:gd name="connsiteY1" fmla="*/ 0 h 12676"/>
              </a:gdLst>
              <a:ahLst/>
              <a:cxnLst>
                <a:cxn ang="0">
                  <a:pos x="connsiteX0" y="connsiteY0"/>
                </a:cxn>
                <a:cxn ang="0">
                  <a:pos x="connsiteX1" y="connsiteY1"/>
                </a:cxn>
              </a:cxnLst>
              <a:rect l="l" t="t" r="r" b="b"/>
              <a:pathLst>
                <a:path w="12179233" h="12676">
                  <a:moveTo>
                    <a:pt x="0" y="0"/>
                  </a:moveTo>
                  <a:lnTo>
                    <a:pt x="12179234" y="0"/>
                  </a:lnTo>
                </a:path>
              </a:pathLst>
            </a:custGeom>
            <a:ln w="6350" cap="flat">
              <a:gradFill>
                <a:gsLst>
                  <a:gs pos="0">
                    <a:schemeClr val="bg1">
                      <a:lumMod val="50000"/>
                      <a:alpha val="0"/>
                    </a:schemeClr>
                  </a:gs>
                  <a:gs pos="100000">
                    <a:schemeClr val="bg1">
                      <a:lumMod val="50000"/>
                      <a:alpha val="10000"/>
                    </a:schemeClr>
                  </a:gs>
                </a:gsLst>
                <a:lin ang="5400000" scaled="1"/>
              </a:gra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OPPOSans R"/>
                <a:ea typeface="OPPOSans R"/>
                <a:cs typeface="+mn-cs"/>
              </a:endParaRPr>
            </a:p>
          </p:txBody>
        </p:sp>
        <p:sp>
          <p:nvSpPr>
            <p:cNvPr id="102" name="gaoding-2-20">
              <a:extLst>
                <a:ext uri="{FF2B5EF4-FFF2-40B4-BE49-F238E27FC236}">
                  <a16:creationId xmlns:a16="http://schemas.microsoft.com/office/drawing/2014/main" id="{33E68447-430C-456E-A4FA-EC1262E5140C}"/>
                </a:ext>
              </a:extLst>
            </p:cNvPr>
            <p:cNvSpPr/>
            <p:nvPr/>
          </p:nvSpPr>
          <p:spPr>
            <a:xfrm>
              <a:off x="12766" y="2516290"/>
              <a:ext cx="12179233" cy="12676"/>
            </a:xfrm>
            <a:custGeom>
              <a:avLst/>
              <a:gdLst>
                <a:gd name="connsiteX0" fmla="*/ 0 w 12179233"/>
                <a:gd name="connsiteY0" fmla="*/ 0 h 12676"/>
                <a:gd name="connsiteX1" fmla="*/ 12179234 w 12179233"/>
                <a:gd name="connsiteY1" fmla="*/ 0 h 12676"/>
              </a:gdLst>
              <a:ahLst/>
              <a:cxnLst>
                <a:cxn ang="0">
                  <a:pos x="connsiteX0" y="connsiteY0"/>
                </a:cxn>
                <a:cxn ang="0">
                  <a:pos x="connsiteX1" y="connsiteY1"/>
                </a:cxn>
              </a:cxnLst>
              <a:rect l="l" t="t" r="r" b="b"/>
              <a:pathLst>
                <a:path w="12179233" h="12676">
                  <a:moveTo>
                    <a:pt x="0" y="0"/>
                  </a:moveTo>
                  <a:lnTo>
                    <a:pt x="12179234" y="0"/>
                  </a:lnTo>
                </a:path>
              </a:pathLst>
            </a:custGeom>
            <a:ln w="6350" cap="flat">
              <a:gradFill>
                <a:gsLst>
                  <a:gs pos="0">
                    <a:schemeClr val="bg1">
                      <a:lumMod val="50000"/>
                      <a:alpha val="0"/>
                    </a:schemeClr>
                  </a:gs>
                  <a:gs pos="100000">
                    <a:schemeClr val="bg1">
                      <a:lumMod val="50000"/>
                      <a:alpha val="10000"/>
                    </a:schemeClr>
                  </a:gs>
                </a:gsLst>
                <a:lin ang="5400000" scaled="1"/>
              </a:gra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OPPOSans R"/>
                <a:ea typeface="OPPOSans R"/>
                <a:cs typeface="+mn-cs"/>
              </a:endParaRPr>
            </a:p>
          </p:txBody>
        </p:sp>
        <p:sp>
          <p:nvSpPr>
            <p:cNvPr id="103" name="gaoding-2-21">
              <a:extLst>
                <a:ext uri="{FF2B5EF4-FFF2-40B4-BE49-F238E27FC236}">
                  <a16:creationId xmlns:a16="http://schemas.microsoft.com/office/drawing/2014/main" id="{A57AA4F4-9CA1-4470-83A1-1C480E1E5497}"/>
                </a:ext>
              </a:extLst>
            </p:cNvPr>
            <p:cNvSpPr/>
            <p:nvPr/>
          </p:nvSpPr>
          <p:spPr>
            <a:xfrm>
              <a:off x="12766" y="2288112"/>
              <a:ext cx="12179233" cy="12676"/>
            </a:xfrm>
            <a:custGeom>
              <a:avLst/>
              <a:gdLst>
                <a:gd name="connsiteX0" fmla="*/ 0 w 12179233"/>
                <a:gd name="connsiteY0" fmla="*/ 0 h 12676"/>
                <a:gd name="connsiteX1" fmla="*/ 12179234 w 12179233"/>
                <a:gd name="connsiteY1" fmla="*/ 0 h 12676"/>
              </a:gdLst>
              <a:ahLst/>
              <a:cxnLst>
                <a:cxn ang="0">
                  <a:pos x="connsiteX0" y="connsiteY0"/>
                </a:cxn>
                <a:cxn ang="0">
                  <a:pos x="connsiteX1" y="connsiteY1"/>
                </a:cxn>
              </a:cxnLst>
              <a:rect l="l" t="t" r="r" b="b"/>
              <a:pathLst>
                <a:path w="12179233" h="12676">
                  <a:moveTo>
                    <a:pt x="0" y="0"/>
                  </a:moveTo>
                  <a:lnTo>
                    <a:pt x="12179234" y="0"/>
                  </a:lnTo>
                </a:path>
              </a:pathLst>
            </a:custGeom>
            <a:ln w="6350" cap="flat">
              <a:gradFill>
                <a:gsLst>
                  <a:gs pos="0">
                    <a:schemeClr val="bg1">
                      <a:lumMod val="50000"/>
                      <a:alpha val="0"/>
                    </a:schemeClr>
                  </a:gs>
                  <a:gs pos="100000">
                    <a:schemeClr val="bg1">
                      <a:lumMod val="50000"/>
                      <a:alpha val="10000"/>
                    </a:schemeClr>
                  </a:gs>
                </a:gsLst>
                <a:lin ang="5400000" scaled="1"/>
              </a:gra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OPPOSans R"/>
                <a:ea typeface="OPPOSans R"/>
                <a:cs typeface="+mn-cs"/>
              </a:endParaRPr>
            </a:p>
          </p:txBody>
        </p:sp>
        <p:sp>
          <p:nvSpPr>
            <p:cNvPr id="106" name="gaoding-2-22">
              <a:extLst>
                <a:ext uri="{FF2B5EF4-FFF2-40B4-BE49-F238E27FC236}">
                  <a16:creationId xmlns:a16="http://schemas.microsoft.com/office/drawing/2014/main" id="{4DAED8EF-9352-4274-BC3F-14E665DEF77B}"/>
                </a:ext>
              </a:extLst>
            </p:cNvPr>
            <p:cNvSpPr/>
            <p:nvPr/>
          </p:nvSpPr>
          <p:spPr>
            <a:xfrm>
              <a:off x="12766" y="2059935"/>
              <a:ext cx="12179233" cy="12676"/>
            </a:xfrm>
            <a:custGeom>
              <a:avLst/>
              <a:gdLst>
                <a:gd name="connsiteX0" fmla="*/ 0 w 12179233"/>
                <a:gd name="connsiteY0" fmla="*/ 0 h 12676"/>
                <a:gd name="connsiteX1" fmla="*/ 12179234 w 12179233"/>
                <a:gd name="connsiteY1" fmla="*/ 0 h 12676"/>
              </a:gdLst>
              <a:ahLst/>
              <a:cxnLst>
                <a:cxn ang="0">
                  <a:pos x="connsiteX0" y="connsiteY0"/>
                </a:cxn>
                <a:cxn ang="0">
                  <a:pos x="connsiteX1" y="connsiteY1"/>
                </a:cxn>
              </a:cxnLst>
              <a:rect l="l" t="t" r="r" b="b"/>
              <a:pathLst>
                <a:path w="12179233" h="12676">
                  <a:moveTo>
                    <a:pt x="0" y="0"/>
                  </a:moveTo>
                  <a:lnTo>
                    <a:pt x="12179234" y="0"/>
                  </a:lnTo>
                </a:path>
              </a:pathLst>
            </a:custGeom>
            <a:ln w="6350" cap="flat">
              <a:gradFill>
                <a:gsLst>
                  <a:gs pos="0">
                    <a:schemeClr val="bg1">
                      <a:lumMod val="50000"/>
                      <a:alpha val="0"/>
                    </a:schemeClr>
                  </a:gs>
                  <a:gs pos="100000">
                    <a:schemeClr val="bg1">
                      <a:lumMod val="50000"/>
                      <a:alpha val="10000"/>
                    </a:schemeClr>
                  </a:gs>
                </a:gsLst>
                <a:lin ang="5400000" scaled="1"/>
              </a:gra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OPPOSans R"/>
                <a:ea typeface="OPPOSans R"/>
                <a:cs typeface="+mn-cs"/>
              </a:endParaRPr>
            </a:p>
          </p:txBody>
        </p:sp>
        <p:sp>
          <p:nvSpPr>
            <p:cNvPr id="108" name="gaoding-2-23">
              <a:extLst>
                <a:ext uri="{FF2B5EF4-FFF2-40B4-BE49-F238E27FC236}">
                  <a16:creationId xmlns:a16="http://schemas.microsoft.com/office/drawing/2014/main" id="{9D2D153A-E4D0-4B7E-A150-5AA61F4340BA}"/>
                </a:ext>
              </a:extLst>
            </p:cNvPr>
            <p:cNvSpPr/>
            <p:nvPr/>
          </p:nvSpPr>
          <p:spPr>
            <a:xfrm>
              <a:off x="12766" y="1831757"/>
              <a:ext cx="12179233" cy="12676"/>
            </a:xfrm>
            <a:custGeom>
              <a:avLst/>
              <a:gdLst>
                <a:gd name="connsiteX0" fmla="*/ 0 w 12179233"/>
                <a:gd name="connsiteY0" fmla="*/ 0 h 12676"/>
                <a:gd name="connsiteX1" fmla="*/ 12179234 w 12179233"/>
                <a:gd name="connsiteY1" fmla="*/ 0 h 12676"/>
              </a:gdLst>
              <a:ahLst/>
              <a:cxnLst>
                <a:cxn ang="0">
                  <a:pos x="connsiteX0" y="connsiteY0"/>
                </a:cxn>
                <a:cxn ang="0">
                  <a:pos x="connsiteX1" y="connsiteY1"/>
                </a:cxn>
              </a:cxnLst>
              <a:rect l="l" t="t" r="r" b="b"/>
              <a:pathLst>
                <a:path w="12179233" h="12676">
                  <a:moveTo>
                    <a:pt x="0" y="0"/>
                  </a:moveTo>
                  <a:lnTo>
                    <a:pt x="12179234" y="0"/>
                  </a:lnTo>
                </a:path>
              </a:pathLst>
            </a:custGeom>
            <a:ln w="6350" cap="flat">
              <a:gradFill>
                <a:gsLst>
                  <a:gs pos="0">
                    <a:schemeClr val="bg1">
                      <a:lumMod val="50000"/>
                      <a:alpha val="0"/>
                    </a:schemeClr>
                  </a:gs>
                  <a:gs pos="100000">
                    <a:schemeClr val="bg1">
                      <a:lumMod val="50000"/>
                      <a:alpha val="10000"/>
                    </a:schemeClr>
                  </a:gs>
                </a:gsLst>
                <a:lin ang="5400000" scaled="1"/>
              </a:gra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OPPOSans R"/>
                <a:ea typeface="OPPOSans R"/>
                <a:cs typeface="+mn-cs"/>
              </a:endParaRPr>
            </a:p>
          </p:txBody>
        </p:sp>
        <p:sp>
          <p:nvSpPr>
            <p:cNvPr id="113" name="gaoding-2-24">
              <a:extLst>
                <a:ext uri="{FF2B5EF4-FFF2-40B4-BE49-F238E27FC236}">
                  <a16:creationId xmlns:a16="http://schemas.microsoft.com/office/drawing/2014/main" id="{A34FC9F2-BCF8-43A2-BCAD-29DC149A18A9}"/>
                </a:ext>
              </a:extLst>
            </p:cNvPr>
            <p:cNvSpPr/>
            <p:nvPr/>
          </p:nvSpPr>
          <p:spPr>
            <a:xfrm>
              <a:off x="12766" y="1603580"/>
              <a:ext cx="12179233" cy="12676"/>
            </a:xfrm>
            <a:custGeom>
              <a:avLst/>
              <a:gdLst>
                <a:gd name="connsiteX0" fmla="*/ 0 w 12179233"/>
                <a:gd name="connsiteY0" fmla="*/ 0 h 12676"/>
                <a:gd name="connsiteX1" fmla="*/ 12179234 w 12179233"/>
                <a:gd name="connsiteY1" fmla="*/ 0 h 12676"/>
              </a:gdLst>
              <a:ahLst/>
              <a:cxnLst>
                <a:cxn ang="0">
                  <a:pos x="connsiteX0" y="connsiteY0"/>
                </a:cxn>
                <a:cxn ang="0">
                  <a:pos x="connsiteX1" y="connsiteY1"/>
                </a:cxn>
              </a:cxnLst>
              <a:rect l="l" t="t" r="r" b="b"/>
              <a:pathLst>
                <a:path w="12179233" h="12676">
                  <a:moveTo>
                    <a:pt x="0" y="0"/>
                  </a:moveTo>
                  <a:lnTo>
                    <a:pt x="12179234" y="0"/>
                  </a:lnTo>
                </a:path>
              </a:pathLst>
            </a:custGeom>
            <a:ln w="6350" cap="flat">
              <a:gradFill>
                <a:gsLst>
                  <a:gs pos="0">
                    <a:schemeClr val="bg1">
                      <a:lumMod val="50000"/>
                      <a:alpha val="0"/>
                    </a:schemeClr>
                  </a:gs>
                  <a:gs pos="100000">
                    <a:schemeClr val="bg1">
                      <a:lumMod val="50000"/>
                      <a:alpha val="10000"/>
                    </a:schemeClr>
                  </a:gs>
                </a:gsLst>
                <a:lin ang="5400000" scaled="1"/>
              </a:gra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OPPOSans R"/>
                <a:ea typeface="OPPOSans R"/>
                <a:cs typeface="+mn-cs"/>
              </a:endParaRPr>
            </a:p>
          </p:txBody>
        </p:sp>
        <p:sp>
          <p:nvSpPr>
            <p:cNvPr id="114" name="gaoding-2-25">
              <a:extLst>
                <a:ext uri="{FF2B5EF4-FFF2-40B4-BE49-F238E27FC236}">
                  <a16:creationId xmlns:a16="http://schemas.microsoft.com/office/drawing/2014/main" id="{97D7B950-DA0C-4755-BDB0-217E483093CF}"/>
                </a:ext>
              </a:extLst>
            </p:cNvPr>
            <p:cNvSpPr/>
            <p:nvPr/>
          </p:nvSpPr>
          <p:spPr>
            <a:xfrm>
              <a:off x="12766" y="1375402"/>
              <a:ext cx="12179233" cy="12676"/>
            </a:xfrm>
            <a:custGeom>
              <a:avLst/>
              <a:gdLst>
                <a:gd name="connsiteX0" fmla="*/ 0 w 12179233"/>
                <a:gd name="connsiteY0" fmla="*/ 0 h 12676"/>
                <a:gd name="connsiteX1" fmla="*/ 12179234 w 12179233"/>
                <a:gd name="connsiteY1" fmla="*/ 0 h 12676"/>
              </a:gdLst>
              <a:ahLst/>
              <a:cxnLst>
                <a:cxn ang="0">
                  <a:pos x="connsiteX0" y="connsiteY0"/>
                </a:cxn>
                <a:cxn ang="0">
                  <a:pos x="connsiteX1" y="connsiteY1"/>
                </a:cxn>
              </a:cxnLst>
              <a:rect l="l" t="t" r="r" b="b"/>
              <a:pathLst>
                <a:path w="12179233" h="12676">
                  <a:moveTo>
                    <a:pt x="0" y="0"/>
                  </a:moveTo>
                  <a:lnTo>
                    <a:pt x="12179234" y="0"/>
                  </a:lnTo>
                </a:path>
              </a:pathLst>
            </a:custGeom>
            <a:ln w="6350" cap="flat">
              <a:gradFill>
                <a:gsLst>
                  <a:gs pos="0">
                    <a:schemeClr val="bg1">
                      <a:lumMod val="50000"/>
                      <a:alpha val="0"/>
                    </a:schemeClr>
                  </a:gs>
                  <a:gs pos="100000">
                    <a:schemeClr val="bg1">
                      <a:lumMod val="50000"/>
                      <a:alpha val="10000"/>
                    </a:schemeClr>
                  </a:gs>
                </a:gsLst>
                <a:lin ang="5400000" scaled="1"/>
              </a:gra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OPPOSans R"/>
                <a:ea typeface="OPPOSans R"/>
                <a:cs typeface="+mn-cs"/>
              </a:endParaRPr>
            </a:p>
          </p:txBody>
        </p:sp>
        <p:sp>
          <p:nvSpPr>
            <p:cNvPr id="119" name="gaoding-2-26">
              <a:extLst>
                <a:ext uri="{FF2B5EF4-FFF2-40B4-BE49-F238E27FC236}">
                  <a16:creationId xmlns:a16="http://schemas.microsoft.com/office/drawing/2014/main" id="{C9C3A9D7-4D3F-4DFE-9EAF-36ACCD0D50CB}"/>
                </a:ext>
              </a:extLst>
            </p:cNvPr>
            <p:cNvSpPr/>
            <p:nvPr/>
          </p:nvSpPr>
          <p:spPr>
            <a:xfrm>
              <a:off x="12766" y="1147225"/>
              <a:ext cx="12179233" cy="12676"/>
            </a:xfrm>
            <a:custGeom>
              <a:avLst/>
              <a:gdLst>
                <a:gd name="connsiteX0" fmla="*/ 0 w 12179233"/>
                <a:gd name="connsiteY0" fmla="*/ 0 h 12676"/>
                <a:gd name="connsiteX1" fmla="*/ 12179234 w 12179233"/>
                <a:gd name="connsiteY1" fmla="*/ 0 h 12676"/>
              </a:gdLst>
              <a:ahLst/>
              <a:cxnLst>
                <a:cxn ang="0">
                  <a:pos x="connsiteX0" y="connsiteY0"/>
                </a:cxn>
                <a:cxn ang="0">
                  <a:pos x="connsiteX1" y="connsiteY1"/>
                </a:cxn>
              </a:cxnLst>
              <a:rect l="l" t="t" r="r" b="b"/>
              <a:pathLst>
                <a:path w="12179233" h="12676">
                  <a:moveTo>
                    <a:pt x="0" y="0"/>
                  </a:moveTo>
                  <a:lnTo>
                    <a:pt x="12179234" y="0"/>
                  </a:lnTo>
                </a:path>
              </a:pathLst>
            </a:custGeom>
            <a:ln w="6350" cap="flat">
              <a:gradFill>
                <a:gsLst>
                  <a:gs pos="0">
                    <a:schemeClr val="bg1">
                      <a:lumMod val="50000"/>
                      <a:alpha val="0"/>
                    </a:schemeClr>
                  </a:gs>
                  <a:gs pos="100000">
                    <a:schemeClr val="bg1">
                      <a:lumMod val="50000"/>
                      <a:alpha val="10000"/>
                    </a:schemeClr>
                  </a:gs>
                </a:gsLst>
                <a:lin ang="5400000" scaled="1"/>
              </a:gra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OPPOSans R"/>
                <a:ea typeface="OPPOSans R"/>
                <a:cs typeface="+mn-cs"/>
              </a:endParaRPr>
            </a:p>
          </p:txBody>
        </p:sp>
        <p:sp>
          <p:nvSpPr>
            <p:cNvPr id="124" name="gaoding-2-27">
              <a:extLst>
                <a:ext uri="{FF2B5EF4-FFF2-40B4-BE49-F238E27FC236}">
                  <a16:creationId xmlns:a16="http://schemas.microsoft.com/office/drawing/2014/main" id="{F24084E5-BBFC-4D9F-B360-8132B3711D9C}"/>
                </a:ext>
              </a:extLst>
            </p:cNvPr>
            <p:cNvSpPr/>
            <p:nvPr/>
          </p:nvSpPr>
          <p:spPr>
            <a:xfrm>
              <a:off x="12766" y="919048"/>
              <a:ext cx="12179233" cy="12676"/>
            </a:xfrm>
            <a:custGeom>
              <a:avLst/>
              <a:gdLst>
                <a:gd name="connsiteX0" fmla="*/ 0 w 12179233"/>
                <a:gd name="connsiteY0" fmla="*/ 0 h 12676"/>
                <a:gd name="connsiteX1" fmla="*/ 12179234 w 12179233"/>
                <a:gd name="connsiteY1" fmla="*/ 0 h 12676"/>
              </a:gdLst>
              <a:ahLst/>
              <a:cxnLst>
                <a:cxn ang="0">
                  <a:pos x="connsiteX0" y="connsiteY0"/>
                </a:cxn>
                <a:cxn ang="0">
                  <a:pos x="connsiteX1" y="connsiteY1"/>
                </a:cxn>
              </a:cxnLst>
              <a:rect l="l" t="t" r="r" b="b"/>
              <a:pathLst>
                <a:path w="12179233" h="12676">
                  <a:moveTo>
                    <a:pt x="0" y="0"/>
                  </a:moveTo>
                  <a:lnTo>
                    <a:pt x="12179234" y="0"/>
                  </a:lnTo>
                </a:path>
              </a:pathLst>
            </a:custGeom>
            <a:ln w="6350" cap="flat">
              <a:gradFill>
                <a:gsLst>
                  <a:gs pos="0">
                    <a:schemeClr val="bg1">
                      <a:lumMod val="50000"/>
                      <a:alpha val="0"/>
                    </a:schemeClr>
                  </a:gs>
                  <a:gs pos="100000">
                    <a:schemeClr val="bg1">
                      <a:lumMod val="50000"/>
                      <a:alpha val="10000"/>
                    </a:schemeClr>
                  </a:gs>
                </a:gsLst>
                <a:lin ang="5400000" scaled="1"/>
              </a:gra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OPPOSans R"/>
                <a:ea typeface="OPPOSans R"/>
                <a:cs typeface="+mn-cs"/>
              </a:endParaRPr>
            </a:p>
          </p:txBody>
        </p:sp>
        <p:sp>
          <p:nvSpPr>
            <p:cNvPr id="126" name="gaoding-2-29">
              <a:extLst>
                <a:ext uri="{FF2B5EF4-FFF2-40B4-BE49-F238E27FC236}">
                  <a16:creationId xmlns:a16="http://schemas.microsoft.com/office/drawing/2014/main" id="{C6F75D22-BD30-4113-8765-52EFDE20D81A}"/>
                </a:ext>
              </a:extLst>
            </p:cNvPr>
            <p:cNvSpPr/>
            <p:nvPr/>
          </p:nvSpPr>
          <p:spPr>
            <a:xfrm>
              <a:off x="12766" y="462693"/>
              <a:ext cx="12179233" cy="12676"/>
            </a:xfrm>
            <a:custGeom>
              <a:avLst/>
              <a:gdLst>
                <a:gd name="connsiteX0" fmla="*/ 0 w 12179233"/>
                <a:gd name="connsiteY0" fmla="*/ 0 h 12676"/>
                <a:gd name="connsiteX1" fmla="*/ 12179234 w 12179233"/>
                <a:gd name="connsiteY1" fmla="*/ 0 h 12676"/>
              </a:gdLst>
              <a:ahLst/>
              <a:cxnLst>
                <a:cxn ang="0">
                  <a:pos x="connsiteX0" y="connsiteY0"/>
                </a:cxn>
                <a:cxn ang="0">
                  <a:pos x="connsiteX1" y="connsiteY1"/>
                </a:cxn>
              </a:cxnLst>
              <a:rect l="l" t="t" r="r" b="b"/>
              <a:pathLst>
                <a:path w="12179233" h="12676">
                  <a:moveTo>
                    <a:pt x="0" y="0"/>
                  </a:moveTo>
                  <a:lnTo>
                    <a:pt x="12179234" y="0"/>
                  </a:lnTo>
                </a:path>
              </a:pathLst>
            </a:custGeom>
            <a:ln w="6350" cap="flat">
              <a:gradFill>
                <a:gsLst>
                  <a:gs pos="0">
                    <a:schemeClr val="bg1">
                      <a:lumMod val="50000"/>
                      <a:alpha val="0"/>
                    </a:schemeClr>
                  </a:gs>
                  <a:gs pos="100000">
                    <a:schemeClr val="bg1">
                      <a:lumMod val="50000"/>
                      <a:alpha val="10000"/>
                    </a:schemeClr>
                  </a:gs>
                </a:gsLst>
                <a:lin ang="5400000" scaled="1"/>
              </a:gra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OPPOSans R"/>
                <a:ea typeface="OPPOSans R"/>
                <a:cs typeface="+mn-cs"/>
              </a:endParaRPr>
            </a:p>
          </p:txBody>
        </p:sp>
        <p:sp>
          <p:nvSpPr>
            <p:cNvPr id="127" name="gaoding-2-30">
              <a:extLst>
                <a:ext uri="{FF2B5EF4-FFF2-40B4-BE49-F238E27FC236}">
                  <a16:creationId xmlns:a16="http://schemas.microsoft.com/office/drawing/2014/main" id="{9928DC20-84CA-4F69-A5A2-DB0BFBE9B849}"/>
                </a:ext>
              </a:extLst>
            </p:cNvPr>
            <p:cNvSpPr/>
            <p:nvPr/>
          </p:nvSpPr>
          <p:spPr>
            <a:xfrm>
              <a:off x="12766" y="234515"/>
              <a:ext cx="12179233" cy="12676"/>
            </a:xfrm>
            <a:custGeom>
              <a:avLst/>
              <a:gdLst>
                <a:gd name="connsiteX0" fmla="*/ 0 w 12179233"/>
                <a:gd name="connsiteY0" fmla="*/ 0 h 12676"/>
                <a:gd name="connsiteX1" fmla="*/ 12179234 w 12179233"/>
                <a:gd name="connsiteY1" fmla="*/ 0 h 12676"/>
              </a:gdLst>
              <a:ahLst/>
              <a:cxnLst>
                <a:cxn ang="0">
                  <a:pos x="connsiteX0" y="connsiteY0"/>
                </a:cxn>
                <a:cxn ang="0">
                  <a:pos x="connsiteX1" y="connsiteY1"/>
                </a:cxn>
              </a:cxnLst>
              <a:rect l="l" t="t" r="r" b="b"/>
              <a:pathLst>
                <a:path w="12179233" h="12676">
                  <a:moveTo>
                    <a:pt x="0" y="0"/>
                  </a:moveTo>
                  <a:lnTo>
                    <a:pt x="12179234" y="0"/>
                  </a:lnTo>
                </a:path>
              </a:pathLst>
            </a:custGeom>
            <a:ln w="6350" cap="flat">
              <a:gradFill>
                <a:gsLst>
                  <a:gs pos="0">
                    <a:schemeClr val="bg1">
                      <a:lumMod val="50000"/>
                      <a:alpha val="0"/>
                    </a:schemeClr>
                  </a:gs>
                  <a:gs pos="100000">
                    <a:schemeClr val="bg1">
                      <a:lumMod val="50000"/>
                      <a:alpha val="10000"/>
                    </a:schemeClr>
                  </a:gs>
                </a:gsLst>
                <a:lin ang="5400000" scaled="1"/>
              </a:gra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OPPOSans R"/>
                <a:ea typeface="OPPOSans R"/>
                <a:cs typeface="+mn-cs"/>
              </a:endParaRPr>
            </a:p>
          </p:txBody>
        </p:sp>
        <p:sp>
          <p:nvSpPr>
            <p:cNvPr id="128" name="gaoding-2-31">
              <a:extLst>
                <a:ext uri="{FF2B5EF4-FFF2-40B4-BE49-F238E27FC236}">
                  <a16:creationId xmlns:a16="http://schemas.microsoft.com/office/drawing/2014/main" id="{A76915DF-AD81-4510-BCEC-4369B3A8EC0E}"/>
                </a:ext>
              </a:extLst>
            </p:cNvPr>
            <p:cNvSpPr/>
            <p:nvPr/>
          </p:nvSpPr>
          <p:spPr>
            <a:xfrm>
              <a:off x="12766" y="6338"/>
              <a:ext cx="12179233" cy="12676"/>
            </a:xfrm>
            <a:custGeom>
              <a:avLst/>
              <a:gdLst>
                <a:gd name="connsiteX0" fmla="*/ 0 w 12179233"/>
                <a:gd name="connsiteY0" fmla="*/ 0 h 12676"/>
                <a:gd name="connsiteX1" fmla="*/ 12179234 w 12179233"/>
                <a:gd name="connsiteY1" fmla="*/ 0 h 12676"/>
              </a:gdLst>
              <a:ahLst/>
              <a:cxnLst>
                <a:cxn ang="0">
                  <a:pos x="connsiteX0" y="connsiteY0"/>
                </a:cxn>
                <a:cxn ang="0">
                  <a:pos x="connsiteX1" y="connsiteY1"/>
                </a:cxn>
              </a:cxnLst>
              <a:rect l="l" t="t" r="r" b="b"/>
              <a:pathLst>
                <a:path w="12179233" h="12676">
                  <a:moveTo>
                    <a:pt x="0" y="0"/>
                  </a:moveTo>
                  <a:lnTo>
                    <a:pt x="12179234" y="0"/>
                  </a:lnTo>
                </a:path>
              </a:pathLst>
            </a:custGeom>
            <a:ln w="6350" cap="flat">
              <a:gradFill>
                <a:gsLst>
                  <a:gs pos="0">
                    <a:schemeClr val="bg1">
                      <a:lumMod val="50000"/>
                      <a:alpha val="0"/>
                    </a:schemeClr>
                  </a:gs>
                  <a:gs pos="100000">
                    <a:schemeClr val="bg1">
                      <a:lumMod val="50000"/>
                      <a:alpha val="10000"/>
                    </a:schemeClr>
                  </a:gs>
                </a:gsLst>
                <a:lin ang="5400000" scaled="1"/>
              </a:gra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OPPOSans R"/>
                <a:ea typeface="OPPOSans R"/>
                <a:cs typeface="+mn-cs"/>
              </a:endParaRPr>
            </a:p>
          </p:txBody>
        </p:sp>
        <p:sp>
          <p:nvSpPr>
            <p:cNvPr id="129" name="gaoding-2-32">
              <a:extLst>
                <a:ext uri="{FF2B5EF4-FFF2-40B4-BE49-F238E27FC236}">
                  <a16:creationId xmlns:a16="http://schemas.microsoft.com/office/drawing/2014/main" id="{0FAAB238-8F2F-4B8F-83D1-F27622310E39}"/>
                </a:ext>
              </a:extLst>
            </p:cNvPr>
            <p:cNvSpPr/>
            <p:nvPr/>
          </p:nvSpPr>
          <p:spPr>
            <a:xfrm>
              <a:off x="12185616" y="0"/>
              <a:ext cx="12766" cy="6858000"/>
            </a:xfrm>
            <a:custGeom>
              <a:avLst/>
              <a:gdLst>
                <a:gd name="connsiteX0" fmla="*/ 0 w 12766"/>
                <a:gd name="connsiteY0" fmla="*/ 6858000 h 6858000"/>
                <a:gd name="connsiteX1" fmla="*/ 0 w 12766"/>
                <a:gd name="connsiteY1" fmla="*/ 0 h 6858000"/>
              </a:gdLst>
              <a:ahLst/>
              <a:cxnLst>
                <a:cxn ang="0">
                  <a:pos x="connsiteX0" y="connsiteY0"/>
                </a:cxn>
                <a:cxn ang="0">
                  <a:pos x="connsiteX1" y="connsiteY1"/>
                </a:cxn>
              </a:cxnLst>
              <a:rect l="l" t="t" r="r" b="b"/>
              <a:pathLst>
                <a:path w="12766" h="6858000">
                  <a:moveTo>
                    <a:pt x="0" y="6858000"/>
                  </a:moveTo>
                  <a:lnTo>
                    <a:pt x="0" y="0"/>
                  </a:lnTo>
                </a:path>
              </a:pathLst>
            </a:custGeom>
            <a:ln w="6350" cap="flat">
              <a:gradFill>
                <a:gsLst>
                  <a:gs pos="0">
                    <a:schemeClr val="bg1">
                      <a:lumMod val="50000"/>
                      <a:alpha val="0"/>
                    </a:schemeClr>
                  </a:gs>
                  <a:gs pos="100000">
                    <a:schemeClr val="bg1">
                      <a:lumMod val="50000"/>
                      <a:alpha val="10000"/>
                    </a:schemeClr>
                  </a:gs>
                </a:gsLst>
                <a:lin ang="5400000" scaled="1"/>
              </a:gra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OPPOSans R"/>
                <a:ea typeface="OPPOSans R"/>
                <a:cs typeface="+mn-cs"/>
              </a:endParaRPr>
            </a:p>
          </p:txBody>
        </p:sp>
        <p:sp>
          <p:nvSpPr>
            <p:cNvPr id="130" name="gaoding-2-33">
              <a:extLst>
                <a:ext uri="{FF2B5EF4-FFF2-40B4-BE49-F238E27FC236}">
                  <a16:creationId xmlns:a16="http://schemas.microsoft.com/office/drawing/2014/main" id="{C9F0FC23-CB3C-4F0B-B2A7-030D874386D8}"/>
                </a:ext>
              </a:extLst>
            </p:cNvPr>
            <p:cNvSpPr/>
            <p:nvPr/>
          </p:nvSpPr>
          <p:spPr>
            <a:xfrm>
              <a:off x="11955819" y="0"/>
              <a:ext cx="12766" cy="6858000"/>
            </a:xfrm>
            <a:custGeom>
              <a:avLst/>
              <a:gdLst>
                <a:gd name="connsiteX0" fmla="*/ 0 w 12766"/>
                <a:gd name="connsiteY0" fmla="*/ 6858000 h 6858000"/>
                <a:gd name="connsiteX1" fmla="*/ 0 w 12766"/>
                <a:gd name="connsiteY1" fmla="*/ 0 h 6858000"/>
              </a:gdLst>
              <a:ahLst/>
              <a:cxnLst>
                <a:cxn ang="0">
                  <a:pos x="connsiteX0" y="connsiteY0"/>
                </a:cxn>
                <a:cxn ang="0">
                  <a:pos x="connsiteX1" y="connsiteY1"/>
                </a:cxn>
              </a:cxnLst>
              <a:rect l="l" t="t" r="r" b="b"/>
              <a:pathLst>
                <a:path w="12766" h="6858000">
                  <a:moveTo>
                    <a:pt x="0" y="6858000"/>
                  </a:moveTo>
                  <a:lnTo>
                    <a:pt x="0" y="0"/>
                  </a:lnTo>
                </a:path>
              </a:pathLst>
            </a:custGeom>
            <a:ln w="6350" cap="flat">
              <a:gradFill>
                <a:gsLst>
                  <a:gs pos="0">
                    <a:schemeClr val="bg1">
                      <a:lumMod val="50000"/>
                      <a:alpha val="0"/>
                    </a:schemeClr>
                  </a:gs>
                  <a:gs pos="100000">
                    <a:schemeClr val="bg1">
                      <a:lumMod val="50000"/>
                      <a:alpha val="10000"/>
                    </a:schemeClr>
                  </a:gs>
                </a:gsLst>
                <a:lin ang="5400000" scaled="1"/>
              </a:gra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OPPOSans R"/>
                <a:ea typeface="OPPOSans R"/>
                <a:cs typeface="+mn-cs"/>
              </a:endParaRPr>
            </a:p>
          </p:txBody>
        </p:sp>
        <p:sp>
          <p:nvSpPr>
            <p:cNvPr id="131" name="gaoding-2-34">
              <a:extLst>
                <a:ext uri="{FF2B5EF4-FFF2-40B4-BE49-F238E27FC236}">
                  <a16:creationId xmlns:a16="http://schemas.microsoft.com/office/drawing/2014/main" id="{4A10BCEE-114F-4E53-A733-11B2F687DEE6}"/>
                </a:ext>
              </a:extLst>
            </p:cNvPr>
            <p:cNvSpPr/>
            <p:nvPr/>
          </p:nvSpPr>
          <p:spPr>
            <a:xfrm>
              <a:off x="11726023" y="0"/>
              <a:ext cx="12766" cy="6858000"/>
            </a:xfrm>
            <a:custGeom>
              <a:avLst/>
              <a:gdLst>
                <a:gd name="connsiteX0" fmla="*/ 0 w 12766"/>
                <a:gd name="connsiteY0" fmla="*/ 6858000 h 6858000"/>
                <a:gd name="connsiteX1" fmla="*/ 0 w 12766"/>
                <a:gd name="connsiteY1" fmla="*/ 0 h 6858000"/>
              </a:gdLst>
              <a:ahLst/>
              <a:cxnLst>
                <a:cxn ang="0">
                  <a:pos x="connsiteX0" y="connsiteY0"/>
                </a:cxn>
                <a:cxn ang="0">
                  <a:pos x="connsiteX1" y="connsiteY1"/>
                </a:cxn>
              </a:cxnLst>
              <a:rect l="l" t="t" r="r" b="b"/>
              <a:pathLst>
                <a:path w="12766" h="6858000">
                  <a:moveTo>
                    <a:pt x="0" y="6858000"/>
                  </a:moveTo>
                  <a:lnTo>
                    <a:pt x="0" y="0"/>
                  </a:lnTo>
                </a:path>
              </a:pathLst>
            </a:custGeom>
            <a:ln w="6350" cap="flat">
              <a:gradFill>
                <a:gsLst>
                  <a:gs pos="0">
                    <a:schemeClr val="bg1">
                      <a:lumMod val="50000"/>
                      <a:alpha val="0"/>
                    </a:schemeClr>
                  </a:gs>
                  <a:gs pos="100000">
                    <a:schemeClr val="bg1">
                      <a:lumMod val="50000"/>
                      <a:alpha val="10000"/>
                    </a:schemeClr>
                  </a:gs>
                </a:gsLst>
                <a:lin ang="5400000" scaled="1"/>
              </a:gra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OPPOSans R"/>
                <a:ea typeface="OPPOSans R"/>
                <a:cs typeface="+mn-cs"/>
              </a:endParaRPr>
            </a:p>
          </p:txBody>
        </p:sp>
        <p:sp>
          <p:nvSpPr>
            <p:cNvPr id="132" name="gaoding-2-35">
              <a:extLst>
                <a:ext uri="{FF2B5EF4-FFF2-40B4-BE49-F238E27FC236}">
                  <a16:creationId xmlns:a16="http://schemas.microsoft.com/office/drawing/2014/main" id="{D6D55230-3896-4C62-972F-3A5842172762}"/>
                </a:ext>
              </a:extLst>
            </p:cNvPr>
            <p:cNvSpPr/>
            <p:nvPr/>
          </p:nvSpPr>
          <p:spPr>
            <a:xfrm>
              <a:off x="11496226" y="0"/>
              <a:ext cx="12766" cy="6858000"/>
            </a:xfrm>
            <a:custGeom>
              <a:avLst/>
              <a:gdLst>
                <a:gd name="connsiteX0" fmla="*/ 0 w 12766"/>
                <a:gd name="connsiteY0" fmla="*/ 6858000 h 6858000"/>
                <a:gd name="connsiteX1" fmla="*/ 0 w 12766"/>
                <a:gd name="connsiteY1" fmla="*/ 0 h 6858000"/>
              </a:gdLst>
              <a:ahLst/>
              <a:cxnLst>
                <a:cxn ang="0">
                  <a:pos x="connsiteX0" y="connsiteY0"/>
                </a:cxn>
                <a:cxn ang="0">
                  <a:pos x="connsiteX1" y="connsiteY1"/>
                </a:cxn>
              </a:cxnLst>
              <a:rect l="l" t="t" r="r" b="b"/>
              <a:pathLst>
                <a:path w="12766" h="6858000">
                  <a:moveTo>
                    <a:pt x="0" y="6858000"/>
                  </a:moveTo>
                  <a:lnTo>
                    <a:pt x="0" y="0"/>
                  </a:lnTo>
                </a:path>
              </a:pathLst>
            </a:custGeom>
            <a:ln w="6350" cap="flat">
              <a:gradFill>
                <a:gsLst>
                  <a:gs pos="0">
                    <a:schemeClr val="bg1">
                      <a:lumMod val="50000"/>
                      <a:alpha val="0"/>
                    </a:schemeClr>
                  </a:gs>
                  <a:gs pos="100000">
                    <a:schemeClr val="bg1">
                      <a:lumMod val="50000"/>
                      <a:alpha val="10000"/>
                    </a:schemeClr>
                  </a:gs>
                </a:gsLst>
                <a:lin ang="5400000" scaled="1"/>
              </a:gra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OPPOSans R"/>
                <a:ea typeface="OPPOSans R"/>
                <a:cs typeface="+mn-cs"/>
              </a:endParaRPr>
            </a:p>
          </p:txBody>
        </p:sp>
        <p:sp>
          <p:nvSpPr>
            <p:cNvPr id="133" name="gaoding-2-36">
              <a:extLst>
                <a:ext uri="{FF2B5EF4-FFF2-40B4-BE49-F238E27FC236}">
                  <a16:creationId xmlns:a16="http://schemas.microsoft.com/office/drawing/2014/main" id="{38649855-2F2F-499B-B0F2-B7CAC0C73C47}"/>
                </a:ext>
              </a:extLst>
            </p:cNvPr>
            <p:cNvSpPr/>
            <p:nvPr/>
          </p:nvSpPr>
          <p:spPr>
            <a:xfrm>
              <a:off x="11266429" y="0"/>
              <a:ext cx="12766" cy="6858000"/>
            </a:xfrm>
            <a:custGeom>
              <a:avLst/>
              <a:gdLst>
                <a:gd name="connsiteX0" fmla="*/ 0 w 12766"/>
                <a:gd name="connsiteY0" fmla="*/ 6858000 h 6858000"/>
                <a:gd name="connsiteX1" fmla="*/ 0 w 12766"/>
                <a:gd name="connsiteY1" fmla="*/ 0 h 6858000"/>
              </a:gdLst>
              <a:ahLst/>
              <a:cxnLst>
                <a:cxn ang="0">
                  <a:pos x="connsiteX0" y="connsiteY0"/>
                </a:cxn>
                <a:cxn ang="0">
                  <a:pos x="connsiteX1" y="connsiteY1"/>
                </a:cxn>
              </a:cxnLst>
              <a:rect l="l" t="t" r="r" b="b"/>
              <a:pathLst>
                <a:path w="12766" h="6858000">
                  <a:moveTo>
                    <a:pt x="0" y="6858000"/>
                  </a:moveTo>
                  <a:lnTo>
                    <a:pt x="0" y="0"/>
                  </a:lnTo>
                </a:path>
              </a:pathLst>
            </a:custGeom>
            <a:ln w="6350" cap="flat">
              <a:gradFill>
                <a:gsLst>
                  <a:gs pos="0">
                    <a:schemeClr val="bg1">
                      <a:lumMod val="50000"/>
                      <a:alpha val="0"/>
                    </a:schemeClr>
                  </a:gs>
                  <a:gs pos="100000">
                    <a:schemeClr val="bg1">
                      <a:lumMod val="50000"/>
                      <a:alpha val="10000"/>
                    </a:schemeClr>
                  </a:gs>
                </a:gsLst>
                <a:lin ang="5400000" scaled="1"/>
              </a:gra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OPPOSans R"/>
                <a:ea typeface="OPPOSans R"/>
                <a:cs typeface="+mn-cs"/>
              </a:endParaRPr>
            </a:p>
          </p:txBody>
        </p:sp>
        <p:sp>
          <p:nvSpPr>
            <p:cNvPr id="134" name="gaoding-2-37">
              <a:extLst>
                <a:ext uri="{FF2B5EF4-FFF2-40B4-BE49-F238E27FC236}">
                  <a16:creationId xmlns:a16="http://schemas.microsoft.com/office/drawing/2014/main" id="{4E02F02B-4578-4101-91D9-77EEF74B0AF0}"/>
                </a:ext>
              </a:extLst>
            </p:cNvPr>
            <p:cNvSpPr/>
            <p:nvPr/>
          </p:nvSpPr>
          <p:spPr>
            <a:xfrm>
              <a:off x="11036632" y="0"/>
              <a:ext cx="12766" cy="6858000"/>
            </a:xfrm>
            <a:custGeom>
              <a:avLst/>
              <a:gdLst>
                <a:gd name="connsiteX0" fmla="*/ 0 w 12766"/>
                <a:gd name="connsiteY0" fmla="*/ 6858000 h 6858000"/>
                <a:gd name="connsiteX1" fmla="*/ 0 w 12766"/>
                <a:gd name="connsiteY1" fmla="*/ 0 h 6858000"/>
              </a:gdLst>
              <a:ahLst/>
              <a:cxnLst>
                <a:cxn ang="0">
                  <a:pos x="connsiteX0" y="connsiteY0"/>
                </a:cxn>
                <a:cxn ang="0">
                  <a:pos x="connsiteX1" y="connsiteY1"/>
                </a:cxn>
              </a:cxnLst>
              <a:rect l="l" t="t" r="r" b="b"/>
              <a:pathLst>
                <a:path w="12766" h="6858000">
                  <a:moveTo>
                    <a:pt x="0" y="6858000"/>
                  </a:moveTo>
                  <a:lnTo>
                    <a:pt x="0" y="0"/>
                  </a:lnTo>
                </a:path>
              </a:pathLst>
            </a:custGeom>
            <a:ln w="6350" cap="flat">
              <a:gradFill>
                <a:gsLst>
                  <a:gs pos="0">
                    <a:schemeClr val="bg1">
                      <a:lumMod val="50000"/>
                      <a:alpha val="0"/>
                    </a:schemeClr>
                  </a:gs>
                  <a:gs pos="100000">
                    <a:schemeClr val="bg1">
                      <a:lumMod val="50000"/>
                      <a:alpha val="10000"/>
                    </a:schemeClr>
                  </a:gs>
                </a:gsLst>
                <a:lin ang="5400000" scaled="1"/>
              </a:gra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OPPOSans R"/>
                <a:ea typeface="OPPOSans R"/>
                <a:cs typeface="+mn-cs"/>
              </a:endParaRPr>
            </a:p>
          </p:txBody>
        </p:sp>
        <p:sp>
          <p:nvSpPr>
            <p:cNvPr id="135" name="gaoding-2-38">
              <a:extLst>
                <a:ext uri="{FF2B5EF4-FFF2-40B4-BE49-F238E27FC236}">
                  <a16:creationId xmlns:a16="http://schemas.microsoft.com/office/drawing/2014/main" id="{CFDB1BEA-C1B2-4C51-BF71-C05DC89A8365}"/>
                </a:ext>
              </a:extLst>
            </p:cNvPr>
            <p:cNvSpPr/>
            <p:nvPr/>
          </p:nvSpPr>
          <p:spPr>
            <a:xfrm>
              <a:off x="10806835" y="0"/>
              <a:ext cx="12766" cy="6858000"/>
            </a:xfrm>
            <a:custGeom>
              <a:avLst/>
              <a:gdLst>
                <a:gd name="connsiteX0" fmla="*/ 0 w 12766"/>
                <a:gd name="connsiteY0" fmla="*/ 6858000 h 6858000"/>
                <a:gd name="connsiteX1" fmla="*/ 0 w 12766"/>
                <a:gd name="connsiteY1" fmla="*/ 0 h 6858000"/>
              </a:gdLst>
              <a:ahLst/>
              <a:cxnLst>
                <a:cxn ang="0">
                  <a:pos x="connsiteX0" y="connsiteY0"/>
                </a:cxn>
                <a:cxn ang="0">
                  <a:pos x="connsiteX1" y="connsiteY1"/>
                </a:cxn>
              </a:cxnLst>
              <a:rect l="l" t="t" r="r" b="b"/>
              <a:pathLst>
                <a:path w="12766" h="6858000">
                  <a:moveTo>
                    <a:pt x="0" y="6858000"/>
                  </a:moveTo>
                  <a:lnTo>
                    <a:pt x="0" y="0"/>
                  </a:lnTo>
                </a:path>
              </a:pathLst>
            </a:custGeom>
            <a:ln w="6350" cap="flat">
              <a:gradFill>
                <a:gsLst>
                  <a:gs pos="0">
                    <a:schemeClr val="bg1">
                      <a:lumMod val="50000"/>
                      <a:alpha val="0"/>
                    </a:schemeClr>
                  </a:gs>
                  <a:gs pos="100000">
                    <a:schemeClr val="bg1">
                      <a:lumMod val="50000"/>
                      <a:alpha val="10000"/>
                    </a:schemeClr>
                  </a:gs>
                </a:gsLst>
                <a:lin ang="5400000" scaled="1"/>
              </a:gra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OPPOSans R"/>
                <a:ea typeface="OPPOSans R"/>
                <a:cs typeface="+mn-cs"/>
              </a:endParaRPr>
            </a:p>
          </p:txBody>
        </p:sp>
        <p:sp>
          <p:nvSpPr>
            <p:cNvPr id="136" name="gaoding-2-39">
              <a:extLst>
                <a:ext uri="{FF2B5EF4-FFF2-40B4-BE49-F238E27FC236}">
                  <a16:creationId xmlns:a16="http://schemas.microsoft.com/office/drawing/2014/main" id="{4DA7D558-B35E-4BDE-923E-ABC05A0812BA}"/>
                </a:ext>
              </a:extLst>
            </p:cNvPr>
            <p:cNvSpPr/>
            <p:nvPr/>
          </p:nvSpPr>
          <p:spPr>
            <a:xfrm>
              <a:off x="10577038" y="0"/>
              <a:ext cx="12766" cy="6858000"/>
            </a:xfrm>
            <a:custGeom>
              <a:avLst/>
              <a:gdLst>
                <a:gd name="connsiteX0" fmla="*/ 0 w 12766"/>
                <a:gd name="connsiteY0" fmla="*/ 6858000 h 6858000"/>
                <a:gd name="connsiteX1" fmla="*/ 0 w 12766"/>
                <a:gd name="connsiteY1" fmla="*/ 0 h 6858000"/>
              </a:gdLst>
              <a:ahLst/>
              <a:cxnLst>
                <a:cxn ang="0">
                  <a:pos x="connsiteX0" y="connsiteY0"/>
                </a:cxn>
                <a:cxn ang="0">
                  <a:pos x="connsiteX1" y="connsiteY1"/>
                </a:cxn>
              </a:cxnLst>
              <a:rect l="l" t="t" r="r" b="b"/>
              <a:pathLst>
                <a:path w="12766" h="6858000">
                  <a:moveTo>
                    <a:pt x="0" y="6858000"/>
                  </a:moveTo>
                  <a:lnTo>
                    <a:pt x="0" y="0"/>
                  </a:lnTo>
                </a:path>
              </a:pathLst>
            </a:custGeom>
            <a:ln w="6350" cap="flat">
              <a:gradFill>
                <a:gsLst>
                  <a:gs pos="0">
                    <a:schemeClr val="bg1">
                      <a:lumMod val="50000"/>
                      <a:alpha val="0"/>
                    </a:schemeClr>
                  </a:gs>
                  <a:gs pos="100000">
                    <a:schemeClr val="bg1">
                      <a:lumMod val="50000"/>
                      <a:alpha val="10000"/>
                    </a:schemeClr>
                  </a:gs>
                </a:gsLst>
                <a:lin ang="5400000" scaled="1"/>
              </a:gra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OPPOSans R"/>
                <a:ea typeface="OPPOSans R"/>
                <a:cs typeface="+mn-cs"/>
              </a:endParaRPr>
            </a:p>
          </p:txBody>
        </p:sp>
        <p:sp>
          <p:nvSpPr>
            <p:cNvPr id="138" name="gaoding-2-40">
              <a:extLst>
                <a:ext uri="{FF2B5EF4-FFF2-40B4-BE49-F238E27FC236}">
                  <a16:creationId xmlns:a16="http://schemas.microsoft.com/office/drawing/2014/main" id="{4B82F34A-5DBB-4E9F-9DA5-F612E7A93F77}"/>
                </a:ext>
              </a:extLst>
            </p:cNvPr>
            <p:cNvSpPr/>
            <p:nvPr/>
          </p:nvSpPr>
          <p:spPr>
            <a:xfrm>
              <a:off x="10347241" y="0"/>
              <a:ext cx="12766" cy="6858000"/>
            </a:xfrm>
            <a:custGeom>
              <a:avLst/>
              <a:gdLst>
                <a:gd name="connsiteX0" fmla="*/ 0 w 12766"/>
                <a:gd name="connsiteY0" fmla="*/ 6858000 h 6858000"/>
                <a:gd name="connsiteX1" fmla="*/ 0 w 12766"/>
                <a:gd name="connsiteY1" fmla="*/ 0 h 6858000"/>
              </a:gdLst>
              <a:ahLst/>
              <a:cxnLst>
                <a:cxn ang="0">
                  <a:pos x="connsiteX0" y="connsiteY0"/>
                </a:cxn>
                <a:cxn ang="0">
                  <a:pos x="connsiteX1" y="connsiteY1"/>
                </a:cxn>
              </a:cxnLst>
              <a:rect l="l" t="t" r="r" b="b"/>
              <a:pathLst>
                <a:path w="12766" h="6858000">
                  <a:moveTo>
                    <a:pt x="0" y="6858000"/>
                  </a:moveTo>
                  <a:lnTo>
                    <a:pt x="0" y="0"/>
                  </a:lnTo>
                </a:path>
              </a:pathLst>
            </a:custGeom>
            <a:ln w="6350" cap="flat">
              <a:gradFill>
                <a:gsLst>
                  <a:gs pos="0">
                    <a:schemeClr val="bg1">
                      <a:lumMod val="50000"/>
                      <a:alpha val="0"/>
                    </a:schemeClr>
                  </a:gs>
                  <a:gs pos="100000">
                    <a:schemeClr val="bg1">
                      <a:lumMod val="50000"/>
                      <a:alpha val="10000"/>
                    </a:schemeClr>
                  </a:gs>
                </a:gsLst>
                <a:lin ang="5400000" scaled="1"/>
              </a:gra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OPPOSans R"/>
                <a:ea typeface="OPPOSans R"/>
                <a:cs typeface="+mn-cs"/>
              </a:endParaRPr>
            </a:p>
          </p:txBody>
        </p:sp>
        <p:sp>
          <p:nvSpPr>
            <p:cNvPr id="141" name="gaoding-2-41">
              <a:extLst>
                <a:ext uri="{FF2B5EF4-FFF2-40B4-BE49-F238E27FC236}">
                  <a16:creationId xmlns:a16="http://schemas.microsoft.com/office/drawing/2014/main" id="{53EA3FEF-539D-4FC4-A5B7-2225171363A6}"/>
                </a:ext>
              </a:extLst>
            </p:cNvPr>
            <p:cNvSpPr/>
            <p:nvPr/>
          </p:nvSpPr>
          <p:spPr>
            <a:xfrm>
              <a:off x="10117445" y="0"/>
              <a:ext cx="12766" cy="6858000"/>
            </a:xfrm>
            <a:custGeom>
              <a:avLst/>
              <a:gdLst>
                <a:gd name="connsiteX0" fmla="*/ 0 w 12766"/>
                <a:gd name="connsiteY0" fmla="*/ 6858000 h 6858000"/>
                <a:gd name="connsiteX1" fmla="*/ 0 w 12766"/>
                <a:gd name="connsiteY1" fmla="*/ 0 h 6858000"/>
              </a:gdLst>
              <a:ahLst/>
              <a:cxnLst>
                <a:cxn ang="0">
                  <a:pos x="connsiteX0" y="connsiteY0"/>
                </a:cxn>
                <a:cxn ang="0">
                  <a:pos x="connsiteX1" y="connsiteY1"/>
                </a:cxn>
              </a:cxnLst>
              <a:rect l="l" t="t" r="r" b="b"/>
              <a:pathLst>
                <a:path w="12766" h="6858000">
                  <a:moveTo>
                    <a:pt x="0" y="6858000"/>
                  </a:moveTo>
                  <a:lnTo>
                    <a:pt x="0" y="0"/>
                  </a:lnTo>
                </a:path>
              </a:pathLst>
            </a:custGeom>
            <a:ln w="6350" cap="flat">
              <a:gradFill>
                <a:gsLst>
                  <a:gs pos="0">
                    <a:schemeClr val="bg1">
                      <a:lumMod val="50000"/>
                      <a:alpha val="0"/>
                    </a:schemeClr>
                  </a:gs>
                  <a:gs pos="100000">
                    <a:schemeClr val="bg1">
                      <a:lumMod val="50000"/>
                      <a:alpha val="10000"/>
                    </a:schemeClr>
                  </a:gs>
                </a:gsLst>
                <a:lin ang="5400000" scaled="1"/>
              </a:gra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OPPOSans R"/>
                <a:ea typeface="OPPOSans R"/>
                <a:cs typeface="+mn-cs"/>
              </a:endParaRPr>
            </a:p>
          </p:txBody>
        </p:sp>
        <p:sp>
          <p:nvSpPr>
            <p:cNvPr id="142" name="gaoding-2-42">
              <a:extLst>
                <a:ext uri="{FF2B5EF4-FFF2-40B4-BE49-F238E27FC236}">
                  <a16:creationId xmlns:a16="http://schemas.microsoft.com/office/drawing/2014/main" id="{E0B81C33-AB1D-405C-B9F6-5BCDF7C1F18D}"/>
                </a:ext>
              </a:extLst>
            </p:cNvPr>
            <p:cNvSpPr/>
            <p:nvPr/>
          </p:nvSpPr>
          <p:spPr>
            <a:xfrm>
              <a:off x="9887648" y="0"/>
              <a:ext cx="12766" cy="6858000"/>
            </a:xfrm>
            <a:custGeom>
              <a:avLst/>
              <a:gdLst>
                <a:gd name="connsiteX0" fmla="*/ 0 w 12766"/>
                <a:gd name="connsiteY0" fmla="*/ 6858000 h 6858000"/>
                <a:gd name="connsiteX1" fmla="*/ 0 w 12766"/>
                <a:gd name="connsiteY1" fmla="*/ 0 h 6858000"/>
              </a:gdLst>
              <a:ahLst/>
              <a:cxnLst>
                <a:cxn ang="0">
                  <a:pos x="connsiteX0" y="connsiteY0"/>
                </a:cxn>
                <a:cxn ang="0">
                  <a:pos x="connsiteX1" y="connsiteY1"/>
                </a:cxn>
              </a:cxnLst>
              <a:rect l="l" t="t" r="r" b="b"/>
              <a:pathLst>
                <a:path w="12766" h="6858000">
                  <a:moveTo>
                    <a:pt x="0" y="6858000"/>
                  </a:moveTo>
                  <a:lnTo>
                    <a:pt x="0" y="0"/>
                  </a:lnTo>
                </a:path>
              </a:pathLst>
            </a:custGeom>
            <a:ln w="6350" cap="flat">
              <a:gradFill>
                <a:gsLst>
                  <a:gs pos="0">
                    <a:schemeClr val="bg1">
                      <a:lumMod val="50000"/>
                      <a:alpha val="0"/>
                    </a:schemeClr>
                  </a:gs>
                  <a:gs pos="100000">
                    <a:schemeClr val="bg1">
                      <a:lumMod val="50000"/>
                      <a:alpha val="10000"/>
                    </a:schemeClr>
                  </a:gs>
                </a:gsLst>
                <a:lin ang="5400000" scaled="1"/>
              </a:gra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OPPOSans R"/>
                <a:ea typeface="OPPOSans R"/>
                <a:cs typeface="+mn-cs"/>
              </a:endParaRPr>
            </a:p>
          </p:txBody>
        </p:sp>
        <p:sp>
          <p:nvSpPr>
            <p:cNvPr id="143" name="gaoding-2-43">
              <a:extLst>
                <a:ext uri="{FF2B5EF4-FFF2-40B4-BE49-F238E27FC236}">
                  <a16:creationId xmlns:a16="http://schemas.microsoft.com/office/drawing/2014/main" id="{219CC76B-6176-4AA8-BFA2-04C673736F05}"/>
                </a:ext>
              </a:extLst>
            </p:cNvPr>
            <p:cNvSpPr/>
            <p:nvPr/>
          </p:nvSpPr>
          <p:spPr>
            <a:xfrm>
              <a:off x="9657851" y="0"/>
              <a:ext cx="12766" cy="6858000"/>
            </a:xfrm>
            <a:custGeom>
              <a:avLst/>
              <a:gdLst>
                <a:gd name="connsiteX0" fmla="*/ 0 w 12766"/>
                <a:gd name="connsiteY0" fmla="*/ 6858000 h 6858000"/>
                <a:gd name="connsiteX1" fmla="*/ 0 w 12766"/>
                <a:gd name="connsiteY1" fmla="*/ 0 h 6858000"/>
              </a:gdLst>
              <a:ahLst/>
              <a:cxnLst>
                <a:cxn ang="0">
                  <a:pos x="connsiteX0" y="connsiteY0"/>
                </a:cxn>
                <a:cxn ang="0">
                  <a:pos x="connsiteX1" y="connsiteY1"/>
                </a:cxn>
              </a:cxnLst>
              <a:rect l="l" t="t" r="r" b="b"/>
              <a:pathLst>
                <a:path w="12766" h="6858000">
                  <a:moveTo>
                    <a:pt x="0" y="6858000"/>
                  </a:moveTo>
                  <a:lnTo>
                    <a:pt x="0" y="0"/>
                  </a:lnTo>
                </a:path>
              </a:pathLst>
            </a:custGeom>
            <a:ln w="6350" cap="flat">
              <a:gradFill>
                <a:gsLst>
                  <a:gs pos="0">
                    <a:schemeClr val="bg1">
                      <a:lumMod val="50000"/>
                      <a:alpha val="0"/>
                    </a:schemeClr>
                  </a:gs>
                  <a:gs pos="100000">
                    <a:schemeClr val="bg1">
                      <a:lumMod val="50000"/>
                      <a:alpha val="10000"/>
                    </a:schemeClr>
                  </a:gs>
                </a:gsLst>
                <a:lin ang="5400000" scaled="1"/>
              </a:gra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OPPOSans R"/>
                <a:ea typeface="OPPOSans R"/>
                <a:cs typeface="+mn-cs"/>
              </a:endParaRPr>
            </a:p>
          </p:txBody>
        </p:sp>
        <p:sp>
          <p:nvSpPr>
            <p:cNvPr id="144" name="gaoding-2-44">
              <a:extLst>
                <a:ext uri="{FF2B5EF4-FFF2-40B4-BE49-F238E27FC236}">
                  <a16:creationId xmlns:a16="http://schemas.microsoft.com/office/drawing/2014/main" id="{9C35748C-AAD3-4BD1-A6E7-9676C459541C}"/>
                </a:ext>
              </a:extLst>
            </p:cNvPr>
            <p:cNvSpPr/>
            <p:nvPr/>
          </p:nvSpPr>
          <p:spPr>
            <a:xfrm>
              <a:off x="9428054" y="0"/>
              <a:ext cx="12766" cy="6858000"/>
            </a:xfrm>
            <a:custGeom>
              <a:avLst/>
              <a:gdLst>
                <a:gd name="connsiteX0" fmla="*/ 0 w 12766"/>
                <a:gd name="connsiteY0" fmla="*/ 6858000 h 6858000"/>
                <a:gd name="connsiteX1" fmla="*/ 0 w 12766"/>
                <a:gd name="connsiteY1" fmla="*/ 0 h 6858000"/>
              </a:gdLst>
              <a:ahLst/>
              <a:cxnLst>
                <a:cxn ang="0">
                  <a:pos x="connsiteX0" y="connsiteY0"/>
                </a:cxn>
                <a:cxn ang="0">
                  <a:pos x="connsiteX1" y="connsiteY1"/>
                </a:cxn>
              </a:cxnLst>
              <a:rect l="l" t="t" r="r" b="b"/>
              <a:pathLst>
                <a:path w="12766" h="6858000">
                  <a:moveTo>
                    <a:pt x="0" y="6858000"/>
                  </a:moveTo>
                  <a:lnTo>
                    <a:pt x="0" y="0"/>
                  </a:lnTo>
                </a:path>
              </a:pathLst>
            </a:custGeom>
            <a:ln w="6350" cap="flat">
              <a:gradFill>
                <a:gsLst>
                  <a:gs pos="0">
                    <a:schemeClr val="bg1">
                      <a:lumMod val="50000"/>
                      <a:alpha val="0"/>
                    </a:schemeClr>
                  </a:gs>
                  <a:gs pos="100000">
                    <a:schemeClr val="bg1">
                      <a:lumMod val="50000"/>
                      <a:alpha val="10000"/>
                    </a:schemeClr>
                  </a:gs>
                </a:gsLst>
                <a:lin ang="5400000" scaled="1"/>
              </a:gra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OPPOSans R"/>
                <a:ea typeface="OPPOSans R"/>
                <a:cs typeface="+mn-cs"/>
              </a:endParaRPr>
            </a:p>
          </p:txBody>
        </p:sp>
        <p:sp>
          <p:nvSpPr>
            <p:cNvPr id="145" name="gaoding-2-45">
              <a:extLst>
                <a:ext uri="{FF2B5EF4-FFF2-40B4-BE49-F238E27FC236}">
                  <a16:creationId xmlns:a16="http://schemas.microsoft.com/office/drawing/2014/main" id="{C91331B1-A120-4B60-91CB-1D7DB8285BD5}"/>
                </a:ext>
              </a:extLst>
            </p:cNvPr>
            <p:cNvSpPr/>
            <p:nvPr/>
          </p:nvSpPr>
          <p:spPr>
            <a:xfrm>
              <a:off x="9198257" y="0"/>
              <a:ext cx="12766" cy="6858000"/>
            </a:xfrm>
            <a:custGeom>
              <a:avLst/>
              <a:gdLst>
                <a:gd name="connsiteX0" fmla="*/ 0 w 12766"/>
                <a:gd name="connsiteY0" fmla="*/ 6858000 h 6858000"/>
                <a:gd name="connsiteX1" fmla="*/ 0 w 12766"/>
                <a:gd name="connsiteY1" fmla="*/ 0 h 6858000"/>
              </a:gdLst>
              <a:ahLst/>
              <a:cxnLst>
                <a:cxn ang="0">
                  <a:pos x="connsiteX0" y="connsiteY0"/>
                </a:cxn>
                <a:cxn ang="0">
                  <a:pos x="connsiteX1" y="connsiteY1"/>
                </a:cxn>
              </a:cxnLst>
              <a:rect l="l" t="t" r="r" b="b"/>
              <a:pathLst>
                <a:path w="12766" h="6858000">
                  <a:moveTo>
                    <a:pt x="0" y="6858000"/>
                  </a:moveTo>
                  <a:lnTo>
                    <a:pt x="0" y="0"/>
                  </a:lnTo>
                </a:path>
              </a:pathLst>
            </a:custGeom>
            <a:ln w="6350" cap="flat">
              <a:gradFill>
                <a:gsLst>
                  <a:gs pos="0">
                    <a:schemeClr val="bg1">
                      <a:lumMod val="50000"/>
                      <a:alpha val="0"/>
                    </a:schemeClr>
                  </a:gs>
                  <a:gs pos="100000">
                    <a:schemeClr val="bg1">
                      <a:lumMod val="50000"/>
                      <a:alpha val="10000"/>
                    </a:schemeClr>
                  </a:gs>
                </a:gsLst>
                <a:lin ang="5400000" scaled="1"/>
              </a:gra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OPPOSans R"/>
                <a:ea typeface="OPPOSans R"/>
                <a:cs typeface="+mn-cs"/>
              </a:endParaRPr>
            </a:p>
          </p:txBody>
        </p:sp>
        <p:sp>
          <p:nvSpPr>
            <p:cNvPr id="146" name="gaoding-2-46">
              <a:extLst>
                <a:ext uri="{FF2B5EF4-FFF2-40B4-BE49-F238E27FC236}">
                  <a16:creationId xmlns:a16="http://schemas.microsoft.com/office/drawing/2014/main" id="{D15F2047-1D5F-4482-8742-A8E0D66DE2E4}"/>
                </a:ext>
              </a:extLst>
            </p:cNvPr>
            <p:cNvSpPr/>
            <p:nvPr/>
          </p:nvSpPr>
          <p:spPr>
            <a:xfrm>
              <a:off x="8968460" y="0"/>
              <a:ext cx="12766" cy="6858000"/>
            </a:xfrm>
            <a:custGeom>
              <a:avLst/>
              <a:gdLst>
                <a:gd name="connsiteX0" fmla="*/ 0 w 12766"/>
                <a:gd name="connsiteY0" fmla="*/ 6858000 h 6858000"/>
                <a:gd name="connsiteX1" fmla="*/ 0 w 12766"/>
                <a:gd name="connsiteY1" fmla="*/ 0 h 6858000"/>
              </a:gdLst>
              <a:ahLst/>
              <a:cxnLst>
                <a:cxn ang="0">
                  <a:pos x="connsiteX0" y="connsiteY0"/>
                </a:cxn>
                <a:cxn ang="0">
                  <a:pos x="connsiteX1" y="connsiteY1"/>
                </a:cxn>
              </a:cxnLst>
              <a:rect l="l" t="t" r="r" b="b"/>
              <a:pathLst>
                <a:path w="12766" h="6858000">
                  <a:moveTo>
                    <a:pt x="0" y="6858000"/>
                  </a:moveTo>
                  <a:lnTo>
                    <a:pt x="0" y="0"/>
                  </a:lnTo>
                </a:path>
              </a:pathLst>
            </a:custGeom>
            <a:ln w="6350" cap="flat">
              <a:gradFill>
                <a:gsLst>
                  <a:gs pos="0">
                    <a:schemeClr val="bg1">
                      <a:lumMod val="50000"/>
                      <a:alpha val="0"/>
                    </a:schemeClr>
                  </a:gs>
                  <a:gs pos="100000">
                    <a:schemeClr val="bg1">
                      <a:lumMod val="50000"/>
                      <a:alpha val="10000"/>
                    </a:schemeClr>
                  </a:gs>
                </a:gsLst>
                <a:lin ang="5400000" scaled="1"/>
              </a:gra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OPPOSans R"/>
                <a:ea typeface="OPPOSans R"/>
                <a:cs typeface="+mn-cs"/>
              </a:endParaRPr>
            </a:p>
          </p:txBody>
        </p:sp>
        <p:sp>
          <p:nvSpPr>
            <p:cNvPr id="147" name="gaoding-2-47">
              <a:extLst>
                <a:ext uri="{FF2B5EF4-FFF2-40B4-BE49-F238E27FC236}">
                  <a16:creationId xmlns:a16="http://schemas.microsoft.com/office/drawing/2014/main" id="{1EA0545B-87D9-4F6A-A083-109A04B71F4B}"/>
                </a:ext>
              </a:extLst>
            </p:cNvPr>
            <p:cNvSpPr/>
            <p:nvPr/>
          </p:nvSpPr>
          <p:spPr>
            <a:xfrm>
              <a:off x="8738663" y="0"/>
              <a:ext cx="12766" cy="6858000"/>
            </a:xfrm>
            <a:custGeom>
              <a:avLst/>
              <a:gdLst>
                <a:gd name="connsiteX0" fmla="*/ 0 w 12766"/>
                <a:gd name="connsiteY0" fmla="*/ 6858000 h 6858000"/>
                <a:gd name="connsiteX1" fmla="*/ 0 w 12766"/>
                <a:gd name="connsiteY1" fmla="*/ 0 h 6858000"/>
              </a:gdLst>
              <a:ahLst/>
              <a:cxnLst>
                <a:cxn ang="0">
                  <a:pos x="connsiteX0" y="connsiteY0"/>
                </a:cxn>
                <a:cxn ang="0">
                  <a:pos x="connsiteX1" y="connsiteY1"/>
                </a:cxn>
              </a:cxnLst>
              <a:rect l="l" t="t" r="r" b="b"/>
              <a:pathLst>
                <a:path w="12766" h="6858000">
                  <a:moveTo>
                    <a:pt x="0" y="6858000"/>
                  </a:moveTo>
                  <a:lnTo>
                    <a:pt x="0" y="0"/>
                  </a:lnTo>
                </a:path>
              </a:pathLst>
            </a:custGeom>
            <a:ln w="6350" cap="flat">
              <a:gradFill>
                <a:gsLst>
                  <a:gs pos="0">
                    <a:schemeClr val="bg1">
                      <a:lumMod val="50000"/>
                      <a:alpha val="0"/>
                    </a:schemeClr>
                  </a:gs>
                  <a:gs pos="100000">
                    <a:schemeClr val="bg1">
                      <a:lumMod val="50000"/>
                      <a:alpha val="10000"/>
                    </a:schemeClr>
                  </a:gs>
                </a:gsLst>
                <a:lin ang="5400000" scaled="1"/>
              </a:gra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OPPOSans R"/>
                <a:ea typeface="OPPOSans R"/>
                <a:cs typeface="+mn-cs"/>
              </a:endParaRPr>
            </a:p>
          </p:txBody>
        </p:sp>
        <p:sp>
          <p:nvSpPr>
            <p:cNvPr id="148" name="gaoding-2-48">
              <a:extLst>
                <a:ext uri="{FF2B5EF4-FFF2-40B4-BE49-F238E27FC236}">
                  <a16:creationId xmlns:a16="http://schemas.microsoft.com/office/drawing/2014/main" id="{EB5DE8C4-F305-49DB-9458-CB6084EFD8EC}"/>
                </a:ext>
              </a:extLst>
            </p:cNvPr>
            <p:cNvSpPr/>
            <p:nvPr/>
          </p:nvSpPr>
          <p:spPr>
            <a:xfrm>
              <a:off x="8508867" y="0"/>
              <a:ext cx="12766" cy="6858000"/>
            </a:xfrm>
            <a:custGeom>
              <a:avLst/>
              <a:gdLst>
                <a:gd name="connsiteX0" fmla="*/ 0 w 12766"/>
                <a:gd name="connsiteY0" fmla="*/ 6858000 h 6858000"/>
                <a:gd name="connsiteX1" fmla="*/ 0 w 12766"/>
                <a:gd name="connsiteY1" fmla="*/ 0 h 6858000"/>
              </a:gdLst>
              <a:ahLst/>
              <a:cxnLst>
                <a:cxn ang="0">
                  <a:pos x="connsiteX0" y="connsiteY0"/>
                </a:cxn>
                <a:cxn ang="0">
                  <a:pos x="connsiteX1" y="connsiteY1"/>
                </a:cxn>
              </a:cxnLst>
              <a:rect l="l" t="t" r="r" b="b"/>
              <a:pathLst>
                <a:path w="12766" h="6858000">
                  <a:moveTo>
                    <a:pt x="0" y="6858000"/>
                  </a:moveTo>
                  <a:lnTo>
                    <a:pt x="0" y="0"/>
                  </a:lnTo>
                </a:path>
              </a:pathLst>
            </a:custGeom>
            <a:ln w="6350" cap="flat">
              <a:gradFill>
                <a:gsLst>
                  <a:gs pos="0">
                    <a:schemeClr val="bg1">
                      <a:lumMod val="50000"/>
                      <a:alpha val="0"/>
                    </a:schemeClr>
                  </a:gs>
                  <a:gs pos="100000">
                    <a:schemeClr val="bg1">
                      <a:lumMod val="50000"/>
                      <a:alpha val="10000"/>
                    </a:schemeClr>
                  </a:gs>
                </a:gsLst>
                <a:lin ang="5400000" scaled="1"/>
              </a:gra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OPPOSans R"/>
                <a:ea typeface="OPPOSans R"/>
                <a:cs typeface="+mn-cs"/>
              </a:endParaRPr>
            </a:p>
          </p:txBody>
        </p:sp>
        <p:sp>
          <p:nvSpPr>
            <p:cNvPr id="149" name="gaoding-2-49">
              <a:extLst>
                <a:ext uri="{FF2B5EF4-FFF2-40B4-BE49-F238E27FC236}">
                  <a16:creationId xmlns:a16="http://schemas.microsoft.com/office/drawing/2014/main" id="{0230FC18-7DE0-40C7-96BB-0D2E7AF10582}"/>
                </a:ext>
              </a:extLst>
            </p:cNvPr>
            <p:cNvSpPr/>
            <p:nvPr/>
          </p:nvSpPr>
          <p:spPr>
            <a:xfrm>
              <a:off x="8279070" y="0"/>
              <a:ext cx="12766" cy="6858000"/>
            </a:xfrm>
            <a:custGeom>
              <a:avLst/>
              <a:gdLst>
                <a:gd name="connsiteX0" fmla="*/ 0 w 12766"/>
                <a:gd name="connsiteY0" fmla="*/ 6858000 h 6858000"/>
                <a:gd name="connsiteX1" fmla="*/ 0 w 12766"/>
                <a:gd name="connsiteY1" fmla="*/ 0 h 6858000"/>
              </a:gdLst>
              <a:ahLst/>
              <a:cxnLst>
                <a:cxn ang="0">
                  <a:pos x="connsiteX0" y="connsiteY0"/>
                </a:cxn>
                <a:cxn ang="0">
                  <a:pos x="connsiteX1" y="connsiteY1"/>
                </a:cxn>
              </a:cxnLst>
              <a:rect l="l" t="t" r="r" b="b"/>
              <a:pathLst>
                <a:path w="12766" h="6858000">
                  <a:moveTo>
                    <a:pt x="0" y="6858000"/>
                  </a:moveTo>
                  <a:lnTo>
                    <a:pt x="0" y="0"/>
                  </a:lnTo>
                </a:path>
              </a:pathLst>
            </a:custGeom>
            <a:ln w="6350" cap="flat">
              <a:gradFill>
                <a:gsLst>
                  <a:gs pos="0">
                    <a:schemeClr val="bg1">
                      <a:lumMod val="50000"/>
                      <a:alpha val="0"/>
                    </a:schemeClr>
                  </a:gs>
                  <a:gs pos="100000">
                    <a:schemeClr val="bg1">
                      <a:lumMod val="50000"/>
                      <a:alpha val="10000"/>
                    </a:schemeClr>
                  </a:gs>
                </a:gsLst>
                <a:lin ang="5400000" scaled="1"/>
              </a:gra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OPPOSans R"/>
                <a:ea typeface="OPPOSans R"/>
                <a:cs typeface="+mn-cs"/>
              </a:endParaRPr>
            </a:p>
          </p:txBody>
        </p:sp>
        <p:sp>
          <p:nvSpPr>
            <p:cNvPr id="158" name="gaoding-2-50">
              <a:extLst>
                <a:ext uri="{FF2B5EF4-FFF2-40B4-BE49-F238E27FC236}">
                  <a16:creationId xmlns:a16="http://schemas.microsoft.com/office/drawing/2014/main" id="{7C3833C8-BFC6-43B7-AEA2-2F1135E2B371}"/>
                </a:ext>
              </a:extLst>
            </p:cNvPr>
            <p:cNvSpPr/>
            <p:nvPr/>
          </p:nvSpPr>
          <p:spPr>
            <a:xfrm>
              <a:off x="8049273" y="0"/>
              <a:ext cx="12766" cy="6858000"/>
            </a:xfrm>
            <a:custGeom>
              <a:avLst/>
              <a:gdLst>
                <a:gd name="connsiteX0" fmla="*/ 0 w 12766"/>
                <a:gd name="connsiteY0" fmla="*/ 6858000 h 6858000"/>
                <a:gd name="connsiteX1" fmla="*/ 0 w 12766"/>
                <a:gd name="connsiteY1" fmla="*/ 0 h 6858000"/>
              </a:gdLst>
              <a:ahLst/>
              <a:cxnLst>
                <a:cxn ang="0">
                  <a:pos x="connsiteX0" y="connsiteY0"/>
                </a:cxn>
                <a:cxn ang="0">
                  <a:pos x="connsiteX1" y="connsiteY1"/>
                </a:cxn>
              </a:cxnLst>
              <a:rect l="l" t="t" r="r" b="b"/>
              <a:pathLst>
                <a:path w="12766" h="6858000">
                  <a:moveTo>
                    <a:pt x="0" y="6858000"/>
                  </a:moveTo>
                  <a:lnTo>
                    <a:pt x="0" y="0"/>
                  </a:lnTo>
                </a:path>
              </a:pathLst>
            </a:custGeom>
            <a:ln w="6350" cap="flat">
              <a:gradFill>
                <a:gsLst>
                  <a:gs pos="0">
                    <a:schemeClr val="bg1">
                      <a:lumMod val="50000"/>
                      <a:alpha val="0"/>
                    </a:schemeClr>
                  </a:gs>
                  <a:gs pos="100000">
                    <a:schemeClr val="bg1">
                      <a:lumMod val="50000"/>
                      <a:alpha val="10000"/>
                    </a:schemeClr>
                  </a:gs>
                </a:gsLst>
                <a:lin ang="5400000" scaled="1"/>
              </a:gra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OPPOSans R"/>
                <a:ea typeface="OPPOSans R"/>
                <a:cs typeface="+mn-cs"/>
              </a:endParaRPr>
            </a:p>
          </p:txBody>
        </p:sp>
        <p:sp>
          <p:nvSpPr>
            <p:cNvPr id="159" name="gaoding-2-51">
              <a:extLst>
                <a:ext uri="{FF2B5EF4-FFF2-40B4-BE49-F238E27FC236}">
                  <a16:creationId xmlns:a16="http://schemas.microsoft.com/office/drawing/2014/main" id="{5D1B91CC-CCE3-461C-9D65-26FD03037BDE}"/>
                </a:ext>
              </a:extLst>
            </p:cNvPr>
            <p:cNvSpPr/>
            <p:nvPr/>
          </p:nvSpPr>
          <p:spPr>
            <a:xfrm>
              <a:off x="7819476" y="0"/>
              <a:ext cx="12766" cy="6858000"/>
            </a:xfrm>
            <a:custGeom>
              <a:avLst/>
              <a:gdLst>
                <a:gd name="connsiteX0" fmla="*/ 0 w 12766"/>
                <a:gd name="connsiteY0" fmla="*/ 6858000 h 6858000"/>
                <a:gd name="connsiteX1" fmla="*/ 0 w 12766"/>
                <a:gd name="connsiteY1" fmla="*/ 0 h 6858000"/>
              </a:gdLst>
              <a:ahLst/>
              <a:cxnLst>
                <a:cxn ang="0">
                  <a:pos x="connsiteX0" y="connsiteY0"/>
                </a:cxn>
                <a:cxn ang="0">
                  <a:pos x="connsiteX1" y="connsiteY1"/>
                </a:cxn>
              </a:cxnLst>
              <a:rect l="l" t="t" r="r" b="b"/>
              <a:pathLst>
                <a:path w="12766" h="6858000">
                  <a:moveTo>
                    <a:pt x="0" y="6858000"/>
                  </a:moveTo>
                  <a:lnTo>
                    <a:pt x="0" y="0"/>
                  </a:lnTo>
                </a:path>
              </a:pathLst>
            </a:custGeom>
            <a:ln w="6350" cap="flat">
              <a:gradFill>
                <a:gsLst>
                  <a:gs pos="0">
                    <a:schemeClr val="bg1">
                      <a:lumMod val="50000"/>
                      <a:alpha val="0"/>
                    </a:schemeClr>
                  </a:gs>
                  <a:gs pos="100000">
                    <a:schemeClr val="bg1">
                      <a:lumMod val="50000"/>
                      <a:alpha val="10000"/>
                    </a:schemeClr>
                  </a:gs>
                </a:gsLst>
                <a:lin ang="5400000" scaled="1"/>
              </a:gra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OPPOSans R"/>
                <a:ea typeface="OPPOSans R"/>
                <a:cs typeface="+mn-cs"/>
              </a:endParaRPr>
            </a:p>
          </p:txBody>
        </p:sp>
        <p:sp>
          <p:nvSpPr>
            <p:cNvPr id="160" name="gaoding-2-52">
              <a:extLst>
                <a:ext uri="{FF2B5EF4-FFF2-40B4-BE49-F238E27FC236}">
                  <a16:creationId xmlns:a16="http://schemas.microsoft.com/office/drawing/2014/main" id="{C07ECDC0-4987-4A89-A525-CBA197319506}"/>
                </a:ext>
              </a:extLst>
            </p:cNvPr>
            <p:cNvSpPr/>
            <p:nvPr/>
          </p:nvSpPr>
          <p:spPr>
            <a:xfrm>
              <a:off x="7589679" y="0"/>
              <a:ext cx="12766" cy="6858000"/>
            </a:xfrm>
            <a:custGeom>
              <a:avLst/>
              <a:gdLst>
                <a:gd name="connsiteX0" fmla="*/ 0 w 12766"/>
                <a:gd name="connsiteY0" fmla="*/ 6858000 h 6858000"/>
                <a:gd name="connsiteX1" fmla="*/ 0 w 12766"/>
                <a:gd name="connsiteY1" fmla="*/ 0 h 6858000"/>
              </a:gdLst>
              <a:ahLst/>
              <a:cxnLst>
                <a:cxn ang="0">
                  <a:pos x="connsiteX0" y="connsiteY0"/>
                </a:cxn>
                <a:cxn ang="0">
                  <a:pos x="connsiteX1" y="connsiteY1"/>
                </a:cxn>
              </a:cxnLst>
              <a:rect l="l" t="t" r="r" b="b"/>
              <a:pathLst>
                <a:path w="12766" h="6858000">
                  <a:moveTo>
                    <a:pt x="0" y="6858000"/>
                  </a:moveTo>
                  <a:lnTo>
                    <a:pt x="0" y="0"/>
                  </a:lnTo>
                </a:path>
              </a:pathLst>
            </a:custGeom>
            <a:ln w="6350" cap="flat">
              <a:gradFill>
                <a:gsLst>
                  <a:gs pos="0">
                    <a:schemeClr val="bg1">
                      <a:lumMod val="50000"/>
                      <a:alpha val="0"/>
                    </a:schemeClr>
                  </a:gs>
                  <a:gs pos="100000">
                    <a:schemeClr val="bg1">
                      <a:lumMod val="50000"/>
                      <a:alpha val="10000"/>
                    </a:schemeClr>
                  </a:gs>
                </a:gsLst>
                <a:lin ang="5400000" scaled="1"/>
              </a:gra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OPPOSans R"/>
                <a:ea typeface="OPPOSans R"/>
                <a:cs typeface="+mn-cs"/>
              </a:endParaRPr>
            </a:p>
          </p:txBody>
        </p:sp>
        <p:sp>
          <p:nvSpPr>
            <p:cNvPr id="161" name="gaoding-2-53">
              <a:extLst>
                <a:ext uri="{FF2B5EF4-FFF2-40B4-BE49-F238E27FC236}">
                  <a16:creationId xmlns:a16="http://schemas.microsoft.com/office/drawing/2014/main" id="{AE341E75-356C-42FC-898A-220650A7FB36}"/>
                </a:ext>
              </a:extLst>
            </p:cNvPr>
            <p:cNvSpPr/>
            <p:nvPr/>
          </p:nvSpPr>
          <p:spPr>
            <a:xfrm>
              <a:off x="7359882" y="0"/>
              <a:ext cx="12766" cy="6858000"/>
            </a:xfrm>
            <a:custGeom>
              <a:avLst/>
              <a:gdLst>
                <a:gd name="connsiteX0" fmla="*/ 0 w 12766"/>
                <a:gd name="connsiteY0" fmla="*/ 6858000 h 6858000"/>
                <a:gd name="connsiteX1" fmla="*/ 0 w 12766"/>
                <a:gd name="connsiteY1" fmla="*/ 0 h 6858000"/>
              </a:gdLst>
              <a:ahLst/>
              <a:cxnLst>
                <a:cxn ang="0">
                  <a:pos x="connsiteX0" y="connsiteY0"/>
                </a:cxn>
                <a:cxn ang="0">
                  <a:pos x="connsiteX1" y="connsiteY1"/>
                </a:cxn>
              </a:cxnLst>
              <a:rect l="l" t="t" r="r" b="b"/>
              <a:pathLst>
                <a:path w="12766" h="6858000">
                  <a:moveTo>
                    <a:pt x="0" y="6858000"/>
                  </a:moveTo>
                  <a:lnTo>
                    <a:pt x="0" y="0"/>
                  </a:lnTo>
                </a:path>
              </a:pathLst>
            </a:custGeom>
            <a:ln w="6350" cap="flat">
              <a:gradFill>
                <a:gsLst>
                  <a:gs pos="0">
                    <a:schemeClr val="bg1">
                      <a:lumMod val="50000"/>
                      <a:alpha val="0"/>
                    </a:schemeClr>
                  </a:gs>
                  <a:gs pos="100000">
                    <a:schemeClr val="bg1">
                      <a:lumMod val="50000"/>
                      <a:alpha val="10000"/>
                    </a:schemeClr>
                  </a:gs>
                </a:gsLst>
                <a:lin ang="5400000" scaled="1"/>
              </a:gra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OPPOSans R"/>
                <a:ea typeface="OPPOSans R"/>
                <a:cs typeface="+mn-cs"/>
              </a:endParaRPr>
            </a:p>
          </p:txBody>
        </p:sp>
        <p:sp>
          <p:nvSpPr>
            <p:cNvPr id="162" name="gaoding-2-54">
              <a:extLst>
                <a:ext uri="{FF2B5EF4-FFF2-40B4-BE49-F238E27FC236}">
                  <a16:creationId xmlns:a16="http://schemas.microsoft.com/office/drawing/2014/main" id="{BF7A6DE8-3C7B-4971-93A7-B42B6A6936B8}"/>
                </a:ext>
              </a:extLst>
            </p:cNvPr>
            <p:cNvSpPr/>
            <p:nvPr/>
          </p:nvSpPr>
          <p:spPr>
            <a:xfrm>
              <a:off x="7130085" y="0"/>
              <a:ext cx="12766" cy="6858000"/>
            </a:xfrm>
            <a:custGeom>
              <a:avLst/>
              <a:gdLst>
                <a:gd name="connsiteX0" fmla="*/ 0 w 12766"/>
                <a:gd name="connsiteY0" fmla="*/ 6858000 h 6858000"/>
                <a:gd name="connsiteX1" fmla="*/ 0 w 12766"/>
                <a:gd name="connsiteY1" fmla="*/ 0 h 6858000"/>
              </a:gdLst>
              <a:ahLst/>
              <a:cxnLst>
                <a:cxn ang="0">
                  <a:pos x="connsiteX0" y="connsiteY0"/>
                </a:cxn>
                <a:cxn ang="0">
                  <a:pos x="connsiteX1" y="connsiteY1"/>
                </a:cxn>
              </a:cxnLst>
              <a:rect l="l" t="t" r="r" b="b"/>
              <a:pathLst>
                <a:path w="12766" h="6858000">
                  <a:moveTo>
                    <a:pt x="0" y="6858000"/>
                  </a:moveTo>
                  <a:lnTo>
                    <a:pt x="0" y="0"/>
                  </a:lnTo>
                </a:path>
              </a:pathLst>
            </a:custGeom>
            <a:ln w="6350" cap="flat">
              <a:gradFill>
                <a:gsLst>
                  <a:gs pos="0">
                    <a:schemeClr val="bg1">
                      <a:lumMod val="50000"/>
                      <a:alpha val="0"/>
                    </a:schemeClr>
                  </a:gs>
                  <a:gs pos="100000">
                    <a:schemeClr val="bg1">
                      <a:lumMod val="50000"/>
                      <a:alpha val="10000"/>
                    </a:schemeClr>
                  </a:gs>
                </a:gsLst>
                <a:lin ang="5400000" scaled="1"/>
              </a:gra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OPPOSans R"/>
                <a:ea typeface="OPPOSans R"/>
                <a:cs typeface="+mn-cs"/>
              </a:endParaRPr>
            </a:p>
          </p:txBody>
        </p:sp>
        <p:sp>
          <p:nvSpPr>
            <p:cNvPr id="163" name="gaoding-2-55">
              <a:extLst>
                <a:ext uri="{FF2B5EF4-FFF2-40B4-BE49-F238E27FC236}">
                  <a16:creationId xmlns:a16="http://schemas.microsoft.com/office/drawing/2014/main" id="{9B291A6F-5A89-4B04-84FB-B978E6F7E14C}"/>
                </a:ext>
              </a:extLst>
            </p:cNvPr>
            <p:cNvSpPr/>
            <p:nvPr/>
          </p:nvSpPr>
          <p:spPr>
            <a:xfrm>
              <a:off x="6900289" y="0"/>
              <a:ext cx="12766" cy="6858000"/>
            </a:xfrm>
            <a:custGeom>
              <a:avLst/>
              <a:gdLst>
                <a:gd name="connsiteX0" fmla="*/ 0 w 12766"/>
                <a:gd name="connsiteY0" fmla="*/ 6858000 h 6858000"/>
                <a:gd name="connsiteX1" fmla="*/ 0 w 12766"/>
                <a:gd name="connsiteY1" fmla="*/ 0 h 6858000"/>
              </a:gdLst>
              <a:ahLst/>
              <a:cxnLst>
                <a:cxn ang="0">
                  <a:pos x="connsiteX0" y="connsiteY0"/>
                </a:cxn>
                <a:cxn ang="0">
                  <a:pos x="connsiteX1" y="connsiteY1"/>
                </a:cxn>
              </a:cxnLst>
              <a:rect l="l" t="t" r="r" b="b"/>
              <a:pathLst>
                <a:path w="12766" h="6858000">
                  <a:moveTo>
                    <a:pt x="0" y="6858000"/>
                  </a:moveTo>
                  <a:lnTo>
                    <a:pt x="0" y="0"/>
                  </a:lnTo>
                </a:path>
              </a:pathLst>
            </a:custGeom>
            <a:ln w="6350" cap="flat">
              <a:gradFill>
                <a:gsLst>
                  <a:gs pos="0">
                    <a:schemeClr val="bg1">
                      <a:lumMod val="50000"/>
                      <a:alpha val="0"/>
                    </a:schemeClr>
                  </a:gs>
                  <a:gs pos="100000">
                    <a:schemeClr val="bg1">
                      <a:lumMod val="50000"/>
                      <a:alpha val="10000"/>
                    </a:schemeClr>
                  </a:gs>
                </a:gsLst>
                <a:lin ang="5400000" scaled="1"/>
              </a:gra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OPPOSans R"/>
                <a:ea typeface="OPPOSans R"/>
                <a:cs typeface="+mn-cs"/>
              </a:endParaRPr>
            </a:p>
          </p:txBody>
        </p:sp>
        <p:sp>
          <p:nvSpPr>
            <p:cNvPr id="164" name="gaoding-2-56">
              <a:extLst>
                <a:ext uri="{FF2B5EF4-FFF2-40B4-BE49-F238E27FC236}">
                  <a16:creationId xmlns:a16="http://schemas.microsoft.com/office/drawing/2014/main" id="{19C8AFCF-DDEE-48EE-BF82-4F556FFF450C}"/>
                </a:ext>
              </a:extLst>
            </p:cNvPr>
            <p:cNvSpPr/>
            <p:nvPr/>
          </p:nvSpPr>
          <p:spPr>
            <a:xfrm>
              <a:off x="6670492" y="0"/>
              <a:ext cx="12766" cy="6858000"/>
            </a:xfrm>
            <a:custGeom>
              <a:avLst/>
              <a:gdLst>
                <a:gd name="connsiteX0" fmla="*/ 0 w 12766"/>
                <a:gd name="connsiteY0" fmla="*/ 6858000 h 6858000"/>
                <a:gd name="connsiteX1" fmla="*/ 0 w 12766"/>
                <a:gd name="connsiteY1" fmla="*/ 0 h 6858000"/>
              </a:gdLst>
              <a:ahLst/>
              <a:cxnLst>
                <a:cxn ang="0">
                  <a:pos x="connsiteX0" y="connsiteY0"/>
                </a:cxn>
                <a:cxn ang="0">
                  <a:pos x="connsiteX1" y="connsiteY1"/>
                </a:cxn>
              </a:cxnLst>
              <a:rect l="l" t="t" r="r" b="b"/>
              <a:pathLst>
                <a:path w="12766" h="6858000">
                  <a:moveTo>
                    <a:pt x="0" y="6858000"/>
                  </a:moveTo>
                  <a:lnTo>
                    <a:pt x="0" y="0"/>
                  </a:lnTo>
                </a:path>
              </a:pathLst>
            </a:custGeom>
            <a:ln w="6350" cap="flat">
              <a:gradFill>
                <a:gsLst>
                  <a:gs pos="0">
                    <a:schemeClr val="bg1">
                      <a:lumMod val="50000"/>
                      <a:alpha val="0"/>
                    </a:schemeClr>
                  </a:gs>
                  <a:gs pos="100000">
                    <a:schemeClr val="bg1">
                      <a:lumMod val="50000"/>
                      <a:alpha val="10000"/>
                    </a:schemeClr>
                  </a:gs>
                </a:gsLst>
                <a:lin ang="5400000" scaled="1"/>
              </a:gra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OPPOSans R"/>
                <a:ea typeface="OPPOSans R"/>
                <a:cs typeface="+mn-cs"/>
              </a:endParaRPr>
            </a:p>
          </p:txBody>
        </p:sp>
        <p:sp>
          <p:nvSpPr>
            <p:cNvPr id="165" name="gaoding-2-57">
              <a:extLst>
                <a:ext uri="{FF2B5EF4-FFF2-40B4-BE49-F238E27FC236}">
                  <a16:creationId xmlns:a16="http://schemas.microsoft.com/office/drawing/2014/main" id="{68DA36B2-8C58-41A7-8B8B-8D2D9B13F176}"/>
                </a:ext>
              </a:extLst>
            </p:cNvPr>
            <p:cNvSpPr/>
            <p:nvPr/>
          </p:nvSpPr>
          <p:spPr>
            <a:xfrm>
              <a:off x="6440695" y="0"/>
              <a:ext cx="12766" cy="6858000"/>
            </a:xfrm>
            <a:custGeom>
              <a:avLst/>
              <a:gdLst>
                <a:gd name="connsiteX0" fmla="*/ 0 w 12766"/>
                <a:gd name="connsiteY0" fmla="*/ 6858000 h 6858000"/>
                <a:gd name="connsiteX1" fmla="*/ 0 w 12766"/>
                <a:gd name="connsiteY1" fmla="*/ 0 h 6858000"/>
              </a:gdLst>
              <a:ahLst/>
              <a:cxnLst>
                <a:cxn ang="0">
                  <a:pos x="connsiteX0" y="connsiteY0"/>
                </a:cxn>
                <a:cxn ang="0">
                  <a:pos x="connsiteX1" y="connsiteY1"/>
                </a:cxn>
              </a:cxnLst>
              <a:rect l="l" t="t" r="r" b="b"/>
              <a:pathLst>
                <a:path w="12766" h="6858000">
                  <a:moveTo>
                    <a:pt x="0" y="6858000"/>
                  </a:moveTo>
                  <a:lnTo>
                    <a:pt x="0" y="0"/>
                  </a:lnTo>
                </a:path>
              </a:pathLst>
            </a:custGeom>
            <a:ln w="6350" cap="flat">
              <a:gradFill>
                <a:gsLst>
                  <a:gs pos="0">
                    <a:schemeClr val="bg1">
                      <a:lumMod val="50000"/>
                      <a:alpha val="0"/>
                    </a:schemeClr>
                  </a:gs>
                  <a:gs pos="100000">
                    <a:schemeClr val="bg1">
                      <a:lumMod val="50000"/>
                      <a:alpha val="10000"/>
                    </a:schemeClr>
                  </a:gs>
                </a:gsLst>
                <a:lin ang="5400000" scaled="1"/>
              </a:gra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OPPOSans R"/>
                <a:ea typeface="OPPOSans R"/>
                <a:cs typeface="+mn-cs"/>
              </a:endParaRPr>
            </a:p>
          </p:txBody>
        </p:sp>
        <p:sp>
          <p:nvSpPr>
            <p:cNvPr id="166" name="gaoding-2-58">
              <a:extLst>
                <a:ext uri="{FF2B5EF4-FFF2-40B4-BE49-F238E27FC236}">
                  <a16:creationId xmlns:a16="http://schemas.microsoft.com/office/drawing/2014/main" id="{4C4DEFAB-1744-4B50-80BC-D6EA123E4329}"/>
                </a:ext>
              </a:extLst>
            </p:cNvPr>
            <p:cNvSpPr/>
            <p:nvPr/>
          </p:nvSpPr>
          <p:spPr>
            <a:xfrm>
              <a:off x="6210898" y="0"/>
              <a:ext cx="12766" cy="6858000"/>
            </a:xfrm>
            <a:custGeom>
              <a:avLst/>
              <a:gdLst>
                <a:gd name="connsiteX0" fmla="*/ 0 w 12766"/>
                <a:gd name="connsiteY0" fmla="*/ 6858000 h 6858000"/>
                <a:gd name="connsiteX1" fmla="*/ 0 w 12766"/>
                <a:gd name="connsiteY1" fmla="*/ 0 h 6858000"/>
              </a:gdLst>
              <a:ahLst/>
              <a:cxnLst>
                <a:cxn ang="0">
                  <a:pos x="connsiteX0" y="connsiteY0"/>
                </a:cxn>
                <a:cxn ang="0">
                  <a:pos x="connsiteX1" y="connsiteY1"/>
                </a:cxn>
              </a:cxnLst>
              <a:rect l="l" t="t" r="r" b="b"/>
              <a:pathLst>
                <a:path w="12766" h="6858000">
                  <a:moveTo>
                    <a:pt x="0" y="6858000"/>
                  </a:moveTo>
                  <a:lnTo>
                    <a:pt x="0" y="0"/>
                  </a:lnTo>
                </a:path>
              </a:pathLst>
            </a:custGeom>
            <a:ln w="6350" cap="flat">
              <a:gradFill>
                <a:gsLst>
                  <a:gs pos="0">
                    <a:schemeClr val="bg1">
                      <a:lumMod val="50000"/>
                      <a:alpha val="0"/>
                    </a:schemeClr>
                  </a:gs>
                  <a:gs pos="100000">
                    <a:schemeClr val="bg1">
                      <a:lumMod val="50000"/>
                      <a:alpha val="10000"/>
                    </a:schemeClr>
                  </a:gs>
                </a:gsLst>
                <a:lin ang="5400000" scaled="1"/>
              </a:gra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OPPOSans R"/>
                <a:ea typeface="OPPOSans R"/>
                <a:cs typeface="+mn-cs"/>
              </a:endParaRPr>
            </a:p>
          </p:txBody>
        </p:sp>
        <p:sp>
          <p:nvSpPr>
            <p:cNvPr id="167" name="gaoding-2-59">
              <a:extLst>
                <a:ext uri="{FF2B5EF4-FFF2-40B4-BE49-F238E27FC236}">
                  <a16:creationId xmlns:a16="http://schemas.microsoft.com/office/drawing/2014/main" id="{809C85DD-0870-4D9E-BBE8-C30A9D83A610}"/>
                </a:ext>
              </a:extLst>
            </p:cNvPr>
            <p:cNvSpPr/>
            <p:nvPr/>
          </p:nvSpPr>
          <p:spPr>
            <a:xfrm>
              <a:off x="5981101" y="0"/>
              <a:ext cx="12766" cy="6858000"/>
            </a:xfrm>
            <a:custGeom>
              <a:avLst/>
              <a:gdLst>
                <a:gd name="connsiteX0" fmla="*/ 0 w 12766"/>
                <a:gd name="connsiteY0" fmla="*/ 6858000 h 6858000"/>
                <a:gd name="connsiteX1" fmla="*/ 0 w 12766"/>
                <a:gd name="connsiteY1" fmla="*/ 0 h 6858000"/>
              </a:gdLst>
              <a:ahLst/>
              <a:cxnLst>
                <a:cxn ang="0">
                  <a:pos x="connsiteX0" y="connsiteY0"/>
                </a:cxn>
                <a:cxn ang="0">
                  <a:pos x="connsiteX1" y="connsiteY1"/>
                </a:cxn>
              </a:cxnLst>
              <a:rect l="l" t="t" r="r" b="b"/>
              <a:pathLst>
                <a:path w="12766" h="6858000">
                  <a:moveTo>
                    <a:pt x="0" y="6858000"/>
                  </a:moveTo>
                  <a:lnTo>
                    <a:pt x="0" y="0"/>
                  </a:lnTo>
                </a:path>
              </a:pathLst>
            </a:custGeom>
            <a:ln w="6350" cap="flat">
              <a:gradFill>
                <a:gsLst>
                  <a:gs pos="0">
                    <a:schemeClr val="bg1">
                      <a:lumMod val="50000"/>
                      <a:alpha val="0"/>
                    </a:schemeClr>
                  </a:gs>
                  <a:gs pos="100000">
                    <a:schemeClr val="bg1">
                      <a:lumMod val="50000"/>
                      <a:alpha val="10000"/>
                    </a:schemeClr>
                  </a:gs>
                </a:gsLst>
                <a:lin ang="5400000" scaled="1"/>
              </a:gra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OPPOSans R"/>
                <a:ea typeface="OPPOSans R"/>
                <a:cs typeface="+mn-cs"/>
              </a:endParaRPr>
            </a:p>
          </p:txBody>
        </p:sp>
        <p:sp>
          <p:nvSpPr>
            <p:cNvPr id="168" name="gaoding-2-60">
              <a:extLst>
                <a:ext uri="{FF2B5EF4-FFF2-40B4-BE49-F238E27FC236}">
                  <a16:creationId xmlns:a16="http://schemas.microsoft.com/office/drawing/2014/main" id="{B942E044-4DBA-4389-B13F-F0A05414D7CB}"/>
                </a:ext>
              </a:extLst>
            </p:cNvPr>
            <p:cNvSpPr/>
            <p:nvPr/>
          </p:nvSpPr>
          <p:spPr>
            <a:xfrm>
              <a:off x="5751304" y="0"/>
              <a:ext cx="12766" cy="6858000"/>
            </a:xfrm>
            <a:custGeom>
              <a:avLst/>
              <a:gdLst>
                <a:gd name="connsiteX0" fmla="*/ 0 w 12766"/>
                <a:gd name="connsiteY0" fmla="*/ 6858000 h 6858000"/>
                <a:gd name="connsiteX1" fmla="*/ 0 w 12766"/>
                <a:gd name="connsiteY1" fmla="*/ 0 h 6858000"/>
              </a:gdLst>
              <a:ahLst/>
              <a:cxnLst>
                <a:cxn ang="0">
                  <a:pos x="connsiteX0" y="connsiteY0"/>
                </a:cxn>
                <a:cxn ang="0">
                  <a:pos x="connsiteX1" y="connsiteY1"/>
                </a:cxn>
              </a:cxnLst>
              <a:rect l="l" t="t" r="r" b="b"/>
              <a:pathLst>
                <a:path w="12766" h="6858000">
                  <a:moveTo>
                    <a:pt x="0" y="6858000"/>
                  </a:moveTo>
                  <a:lnTo>
                    <a:pt x="0" y="0"/>
                  </a:lnTo>
                </a:path>
              </a:pathLst>
            </a:custGeom>
            <a:ln w="6350" cap="flat">
              <a:gradFill>
                <a:gsLst>
                  <a:gs pos="0">
                    <a:schemeClr val="bg1">
                      <a:lumMod val="50000"/>
                      <a:alpha val="0"/>
                    </a:schemeClr>
                  </a:gs>
                  <a:gs pos="100000">
                    <a:schemeClr val="bg1">
                      <a:lumMod val="50000"/>
                      <a:alpha val="10000"/>
                    </a:schemeClr>
                  </a:gs>
                </a:gsLst>
                <a:lin ang="5400000" scaled="1"/>
              </a:gra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OPPOSans R"/>
                <a:ea typeface="OPPOSans R"/>
                <a:cs typeface="+mn-cs"/>
              </a:endParaRPr>
            </a:p>
          </p:txBody>
        </p:sp>
        <p:sp>
          <p:nvSpPr>
            <p:cNvPr id="169" name="gaoding-2-61">
              <a:extLst>
                <a:ext uri="{FF2B5EF4-FFF2-40B4-BE49-F238E27FC236}">
                  <a16:creationId xmlns:a16="http://schemas.microsoft.com/office/drawing/2014/main" id="{A32B5040-F492-4C97-B506-75FB5A1936EA}"/>
                </a:ext>
              </a:extLst>
            </p:cNvPr>
            <p:cNvSpPr/>
            <p:nvPr/>
          </p:nvSpPr>
          <p:spPr>
            <a:xfrm>
              <a:off x="5521507" y="0"/>
              <a:ext cx="12766" cy="6858000"/>
            </a:xfrm>
            <a:custGeom>
              <a:avLst/>
              <a:gdLst>
                <a:gd name="connsiteX0" fmla="*/ 0 w 12766"/>
                <a:gd name="connsiteY0" fmla="*/ 6858000 h 6858000"/>
                <a:gd name="connsiteX1" fmla="*/ 0 w 12766"/>
                <a:gd name="connsiteY1" fmla="*/ 0 h 6858000"/>
              </a:gdLst>
              <a:ahLst/>
              <a:cxnLst>
                <a:cxn ang="0">
                  <a:pos x="connsiteX0" y="connsiteY0"/>
                </a:cxn>
                <a:cxn ang="0">
                  <a:pos x="connsiteX1" y="connsiteY1"/>
                </a:cxn>
              </a:cxnLst>
              <a:rect l="l" t="t" r="r" b="b"/>
              <a:pathLst>
                <a:path w="12766" h="6858000">
                  <a:moveTo>
                    <a:pt x="0" y="6858000"/>
                  </a:moveTo>
                  <a:lnTo>
                    <a:pt x="0" y="0"/>
                  </a:lnTo>
                </a:path>
              </a:pathLst>
            </a:custGeom>
            <a:ln w="6350" cap="flat">
              <a:gradFill>
                <a:gsLst>
                  <a:gs pos="0">
                    <a:schemeClr val="bg1">
                      <a:lumMod val="50000"/>
                      <a:alpha val="0"/>
                    </a:schemeClr>
                  </a:gs>
                  <a:gs pos="100000">
                    <a:schemeClr val="bg1">
                      <a:lumMod val="50000"/>
                      <a:alpha val="10000"/>
                    </a:schemeClr>
                  </a:gs>
                </a:gsLst>
                <a:lin ang="5400000" scaled="1"/>
              </a:gra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OPPOSans R"/>
                <a:ea typeface="OPPOSans R"/>
                <a:cs typeface="+mn-cs"/>
              </a:endParaRPr>
            </a:p>
          </p:txBody>
        </p:sp>
        <p:sp>
          <p:nvSpPr>
            <p:cNvPr id="170" name="gaoding-2-62">
              <a:extLst>
                <a:ext uri="{FF2B5EF4-FFF2-40B4-BE49-F238E27FC236}">
                  <a16:creationId xmlns:a16="http://schemas.microsoft.com/office/drawing/2014/main" id="{76541F8F-2EB8-4D7D-A0D0-3C0EA8201123}"/>
                </a:ext>
              </a:extLst>
            </p:cNvPr>
            <p:cNvSpPr/>
            <p:nvPr/>
          </p:nvSpPr>
          <p:spPr>
            <a:xfrm>
              <a:off x="5291710" y="0"/>
              <a:ext cx="12766" cy="6858000"/>
            </a:xfrm>
            <a:custGeom>
              <a:avLst/>
              <a:gdLst>
                <a:gd name="connsiteX0" fmla="*/ 0 w 12766"/>
                <a:gd name="connsiteY0" fmla="*/ 6858000 h 6858000"/>
                <a:gd name="connsiteX1" fmla="*/ 0 w 12766"/>
                <a:gd name="connsiteY1" fmla="*/ 0 h 6858000"/>
              </a:gdLst>
              <a:ahLst/>
              <a:cxnLst>
                <a:cxn ang="0">
                  <a:pos x="connsiteX0" y="connsiteY0"/>
                </a:cxn>
                <a:cxn ang="0">
                  <a:pos x="connsiteX1" y="connsiteY1"/>
                </a:cxn>
              </a:cxnLst>
              <a:rect l="l" t="t" r="r" b="b"/>
              <a:pathLst>
                <a:path w="12766" h="6858000">
                  <a:moveTo>
                    <a:pt x="0" y="6858000"/>
                  </a:moveTo>
                  <a:lnTo>
                    <a:pt x="0" y="0"/>
                  </a:lnTo>
                </a:path>
              </a:pathLst>
            </a:custGeom>
            <a:ln w="6350" cap="flat">
              <a:gradFill>
                <a:gsLst>
                  <a:gs pos="0">
                    <a:schemeClr val="bg1">
                      <a:lumMod val="50000"/>
                      <a:alpha val="0"/>
                    </a:schemeClr>
                  </a:gs>
                  <a:gs pos="100000">
                    <a:schemeClr val="bg1">
                      <a:lumMod val="50000"/>
                      <a:alpha val="10000"/>
                    </a:schemeClr>
                  </a:gs>
                </a:gsLst>
                <a:lin ang="5400000" scaled="1"/>
              </a:gra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OPPOSans R"/>
                <a:ea typeface="OPPOSans R"/>
                <a:cs typeface="+mn-cs"/>
              </a:endParaRPr>
            </a:p>
          </p:txBody>
        </p:sp>
        <p:sp>
          <p:nvSpPr>
            <p:cNvPr id="171" name="gaoding-2-63">
              <a:extLst>
                <a:ext uri="{FF2B5EF4-FFF2-40B4-BE49-F238E27FC236}">
                  <a16:creationId xmlns:a16="http://schemas.microsoft.com/office/drawing/2014/main" id="{DB721026-3911-4B71-A130-22DA3F450772}"/>
                </a:ext>
              </a:extLst>
            </p:cNvPr>
            <p:cNvSpPr/>
            <p:nvPr/>
          </p:nvSpPr>
          <p:spPr>
            <a:xfrm>
              <a:off x="5061914" y="0"/>
              <a:ext cx="12766" cy="6858000"/>
            </a:xfrm>
            <a:custGeom>
              <a:avLst/>
              <a:gdLst>
                <a:gd name="connsiteX0" fmla="*/ 0 w 12766"/>
                <a:gd name="connsiteY0" fmla="*/ 6858000 h 6858000"/>
                <a:gd name="connsiteX1" fmla="*/ 0 w 12766"/>
                <a:gd name="connsiteY1" fmla="*/ 0 h 6858000"/>
              </a:gdLst>
              <a:ahLst/>
              <a:cxnLst>
                <a:cxn ang="0">
                  <a:pos x="connsiteX0" y="connsiteY0"/>
                </a:cxn>
                <a:cxn ang="0">
                  <a:pos x="connsiteX1" y="connsiteY1"/>
                </a:cxn>
              </a:cxnLst>
              <a:rect l="l" t="t" r="r" b="b"/>
              <a:pathLst>
                <a:path w="12766" h="6858000">
                  <a:moveTo>
                    <a:pt x="0" y="6858000"/>
                  </a:moveTo>
                  <a:lnTo>
                    <a:pt x="0" y="0"/>
                  </a:lnTo>
                </a:path>
              </a:pathLst>
            </a:custGeom>
            <a:ln w="6350" cap="flat">
              <a:gradFill>
                <a:gsLst>
                  <a:gs pos="0">
                    <a:schemeClr val="bg1">
                      <a:lumMod val="50000"/>
                      <a:alpha val="0"/>
                    </a:schemeClr>
                  </a:gs>
                  <a:gs pos="100000">
                    <a:schemeClr val="bg1">
                      <a:lumMod val="50000"/>
                      <a:alpha val="10000"/>
                    </a:schemeClr>
                  </a:gs>
                </a:gsLst>
                <a:lin ang="5400000" scaled="1"/>
              </a:gra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OPPOSans R"/>
                <a:ea typeface="OPPOSans R"/>
                <a:cs typeface="+mn-cs"/>
              </a:endParaRPr>
            </a:p>
          </p:txBody>
        </p:sp>
        <p:sp>
          <p:nvSpPr>
            <p:cNvPr id="172" name="gaoding-2-64">
              <a:extLst>
                <a:ext uri="{FF2B5EF4-FFF2-40B4-BE49-F238E27FC236}">
                  <a16:creationId xmlns:a16="http://schemas.microsoft.com/office/drawing/2014/main" id="{C7AA6433-AB9B-4C56-AE46-B0FAB437FF87}"/>
                </a:ext>
              </a:extLst>
            </p:cNvPr>
            <p:cNvSpPr/>
            <p:nvPr/>
          </p:nvSpPr>
          <p:spPr>
            <a:xfrm>
              <a:off x="4832117" y="0"/>
              <a:ext cx="12766" cy="6858000"/>
            </a:xfrm>
            <a:custGeom>
              <a:avLst/>
              <a:gdLst>
                <a:gd name="connsiteX0" fmla="*/ 0 w 12766"/>
                <a:gd name="connsiteY0" fmla="*/ 6858000 h 6858000"/>
                <a:gd name="connsiteX1" fmla="*/ 0 w 12766"/>
                <a:gd name="connsiteY1" fmla="*/ 0 h 6858000"/>
              </a:gdLst>
              <a:ahLst/>
              <a:cxnLst>
                <a:cxn ang="0">
                  <a:pos x="connsiteX0" y="connsiteY0"/>
                </a:cxn>
                <a:cxn ang="0">
                  <a:pos x="connsiteX1" y="connsiteY1"/>
                </a:cxn>
              </a:cxnLst>
              <a:rect l="l" t="t" r="r" b="b"/>
              <a:pathLst>
                <a:path w="12766" h="6858000">
                  <a:moveTo>
                    <a:pt x="0" y="6858000"/>
                  </a:moveTo>
                  <a:lnTo>
                    <a:pt x="0" y="0"/>
                  </a:lnTo>
                </a:path>
              </a:pathLst>
            </a:custGeom>
            <a:ln w="6350" cap="flat">
              <a:gradFill>
                <a:gsLst>
                  <a:gs pos="0">
                    <a:schemeClr val="bg1">
                      <a:lumMod val="50000"/>
                      <a:alpha val="0"/>
                    </a:schemeClr>
                  </a:gs>
                  <a:gs pos="100000">
                    <a:schemeClr val="bg1">
                      <a:lumMod val="50000"/>
                      <a:alpha val="10000"/>
                    </a:schemeClr>
                  </a:gs>
                </a:gsLst>
                <a:lin ang="5400000" scaled="1"/>
              </a:gra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OPPOSans R"/>
                <a:ea typeface="OPPOSans R"/>
                <a:cs typeface="+mn-cs"/>
              </a:endParaRPr>
            </a:p>
          </p:txBody>
        </p:sp>
        <p:sp>
          <p:nvSpPr>
            <p:cNvPr id="173" name="gaoding-2-65">
              <a:extLst>
                <a:ext uri="{FF2B5EF4-FFF2-40B4-BE49-F238E27FC236}">
                  <a16:creationId xmlns:a16="http://schemas.microsoft.com/office/drawing/2014/main" id="{91273F19-7DB1-4A05-A020-12AD98B1CCC6}"/>
                </a:ext>
              </a:extLst>
            </p:cNvPr>
            <p:cNvSpPr/>
            <p:nvPr/>
          </p:nvSpPr>
          <p:spPr>
            <a:xfrm>
              <a:off x="4602320" y="0"/>
              <a:ext cx="12766" cy="6858000"/>
            </a:xfrm>
            <a:custGeom>
              <a:avLst/>
              <a:gdLst>
                <a:gd name="connsiteX0" fmla="*/ 0 w 12766"/>
                <a:gd name="connsiteY0" fmla="*/ 6858000 h 6858000"/>
                <a:gd name="connsiteX1" fmla="*/ 0 w 12766"/>
                <a:gd name="connsiteY1" fmla="*/ 0 h 6858000"/>
              </a:gdLst>
              <a:ahLst/>
              <a:cxnLst>
                <a:cxn ang="0">
                  <a:pos x="connsiteX0" y="connsiteY0"/>
                </a:cxn>
                <a:cxn ang="0">
                  <a:pos x="connsiteX1" y="connsiteY1"/>
                </a:cxn>
              </a:cxnLst>
              <a:rect l="l" t="t" r="r" b="b"/>
              <a:pathLst>
                <a:path w="12766" h="6858000">
                  <a:moveTo>
                    <a:pt x="0" y="6858000"/>
                  </a:moveTo>
                  <a:lnTo>
                    <a:pt x="0" y="0"/>
                  </a:lnTo>
                </a:path>
              </a:pathLst>
            </a:custGeom>
            <a:ln w="6350" cap="flat">
              <a:gradFill>
                <a:gsLst>
                  <a:gs pos="0">
                    <a:schemeClr val="bg1">
                      <a:lumMod val="50000"/>
                      <a:alpha val="0"/>
                    </a:schemeClr>
                  </a:gs>
                  <a:gs pos="100000">
                    <a:schemeClr val="bg1">
                      <a:lumMod val="50000"/>
                      <a:alpha val="10000"/>
                    </a:schemeClr>
                  </a:gs>
                </a:gsLst>
                <a:lin ang="5400000" scaled="1"/>
              </a:gra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OPPOSans R"/>
                <a:ea typeface="OPPOSans R"/>
                <a:cs typeface="+mn-cs"/>
              </a:endParaRPr>
            </a:p>
          </p:txBody>
        </p:sp>
        <p:sp>
          <p:nvSpPr>
            <p:cNvPr id="174" name="gaoding-2-66">
              <a:extLst>
                <a:ext uri="{FF2B5EF4-FFF2-40B4-BE49-F238E27FC236}">
                  <a16:creationId xmlns:a16="http://schemas.microsoft.com/office/drawing/2014/main" id="{9A4BD23F-DA1C-4958-99E6-881254B44A96}"/>
                </a:ext>
              </a:extLst>
            </p:cNvPr>
            <p:cNvSpPr/>
            <p:nvPr/>
          </p:nvSpPr>
          <p:spPr>
            <a:xfrm>
              <a:off x="4372523" y="0"/>
              <a:ext cx="12766" cy="6858000"/>
            </a:xfrm>
            <a:custGeom>
              <a:avLst/>
              <a:gdLst>
                <a:gd name="connsiteX0" fmla="*/ 0 w 12766"/>
                <a:gd name="connsiteY0" fmla="*/ 6858000 h 6858000"/>
                <a:gd name="connsiteX1" fmla="*/ 0 w 12766"/>
                <a:gd name="connsiteY1" fmla="*/ 0 h 6858000"/>
              </a:gdLst>
              <a:ahLst/>
              <a:cxnLst>
                <a:cxn ang="0">
                  <a:pos x="connsiteX0" y="connsiteY0"/>
                </a:cxn>
                <a:cxn ang="0">
                  <a:pos x="connsiteX1" y="connsiteY1"/>
                </a:cxn>
              </a:cxnLst>
              <a:rect l="l" t="t" r="r" b="b"/>
              <a:pathLst>
                <a:path w="12766" h="6858000">
                  <a:moveTo>
                    <a:pt x="0" y="6858000"/>
                  </a:moveTo>
                  <a:lnTo>
                    <a:pt x="0" y="0"/>
                  </a:lnTo>
                </a:path>
              </a:pathLst>
            </a:custGeom>
            <a:ln w="6350" cap="flat">
              <a:gradFill>
                <a:gsLst>
                  <a:gs pos="0">
                    <a:schemeClr val="bg1">
                      <a:lumMod val="50000"/>
                      <a:alpha val="0"/>
                    </a:schemeClr>
                  </a:gs>
                  <a:gs pos="100000">
                    <a:schemeClr val="bg1">
                      <a:lumMod val="50000"/>
                      <a:alpha val="10000"/>
                    </a:schemeClr>
                  </a:gs>
                </a:gsLst>
                <a:lin ang="5400000" scaled="1"/>
              </a:gra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OPPOSans R"/>
                <a:ea typeface="OPPOSans R"/>
                <a:cs typeface="+mn-cs"/>
              </a:endParaRPr>
            </a:p>
          </p:txBody>
        </p:sp>
        <p:sp>
          <p:nvSpPr>
            <p:cNvPr id="175" name="gaoding-2-67">
              <a:extLst>
                <a:ext uri="{FF2B5EF4-FFF2-40B4-BE49-F238E27FC236}">
                  <a16:creationId xmlns:a16="http://schemas.microsoft.com/office/drawing/2014/main" id="{E0E37590-CC5E-414F-9F8B-54D18AF13CEC}"/>
                </a:ext>
              </a:extLst>
            </p:cNvPr>
            <p:cNvSpPr/>
            <p:nvPr/>
          </p:nvSpPr>
          <p:spPr>
            <a:xfrm>
              <a:off x="4142726" y="0"/>
              <a:ext cx="12766" cy="6858000"/>
            </a:xfrm>
            <a:custGeom>
              <a:avLst/>
              <a:gdLst>
                <a:gd name="connsiteX0" fmla="*/ 0 w 12766"/>
                <a:gd name="connsiteY0" fmla="*/ 6858000 h 6858000"/>
                <a:gd name="connsiteX1" fmla="*/ 0 w 12766"/>
                <a:gd name="connsiteY1" fmla="*/ 0 h 6858000"/>
              </a:gdLst>
              <a:ahLst/>
              <a:cxnLst>
                <a:cxn ang="0">
                  <a:pos x="connsiteX0" y="connsiteY0"/>
                </a:cxn>
                <a:cxn ang="0">
                  <a:pos x="connsiteX1" y="connsiteY1"/>
                </a:cxn>
              </a:cxnLst>
              <a:rect l="l" t="t" r="r" b="b"/>
              <a:pathLst>
                <a:path w="12766" h="6858000">
                  <a:moveTo>
                    <a:pt x="0" y="6858000"/>
                  </a:moveTo>
                  <a:lnTo>
                    <a:pt x="0" y="0"/>
                  </a:lnTo>
                </a:path>
              </a:pathLst>
            </a:custGeom>
            <a:ln w="6350" cap="flat">
              <a:gradFill>
                <a:gsLst>
                  <a:gs pos="0">
                    <a:schemeClr val="bg1">
                      <a:lumMod val="50000"/>
                      <a:alpha val="0"/>
                    </a:schemeClr>
                  </a:gs>
                  <a:gs pos="100000">
                    <a:schemeClr val="bg1">
                      <a:lumMod val="50000"/>
                      <a:alpha val="10000"/>
                    </a:schemeClr>
                  </a:gs>
                </a:gsLst>
                <a:lin ang="5400000" scaled="1"/>
              </a:gra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OPPOSans R"/>
                <a:ea typeface="OPPOSans R"/>
                <a:cs typeface="+mn-cs"/>
              </a:endParaRPr>
            </a:p>
          </p:txBody>
        </p:sp>
        <p:sp>
          <p:nvSpPr>
            <p:cNvPr id="176" name="gaoding-2-68">
              <a:extLst>
                <a:ext uri="{FF2B5EF4-FFF2-40B4-BE49-F238E27FC236}">
                  <a16:creationId xmlns:a16="http://schemas.microsoft.com/office/drawing/2014/main" id="{354FDA65-2690-41A9-BCC7-E8F1D4C6C520}"/>
                </a:ext>
              </a:extLst>
            </p:cNvPr>
            <p:cNvSpPr/>
            <p:nvPr/>
          </p:nvSpPr>
          <p:spPr>
            <a:xfrm>
              <a:off x="3912929" y="0"/>
              <a:ext cx="12766" cy="6858000"/>
            </a:xfrm>
            <a:custGeom>
              <a:avLst/>
              <a:gdLst>
                <a:gd name="connsiteX0" fmla="*/ 0 w 12766"/>
                <a:gd name="connsiteY0" fmla="*/ 6858000 h 6858000"/>
                <a:gd name="connsiteX1" fmla="*/ 0 w 12766"/>
                <a:gd name="connsiteY1" fmla="*/ 0 h 6858000"/>
              </a:gdLst>
              <a:ahLst/>
              <a:cxnLst>
                <a:cxn ang="0">
                  <a:pos x="connsiteX0" y="connsiteY0"/>
                </a:cxn>
                <a:cxn ang="0">
                  <a:pos x="connsiteX1" y="connsiteY1"/>
                </a:cxn>
              </a:cxnLst>
              <a:rect l="l" t="t" r="r" b="b"/>
              <a:pathLst>
                <a:path w="12766" h="6858000">
                  <a:moveTo>
                    <a:pt x="0" y="6858000"/>
                  </a:moveTo>
                  <a:lnTo>
                    <a:pt x="0" y="0"/>
                  </a:lnTo>
                </a:path>
              </a:pathLst>
            </a:custGeom>
            <a:ln w="6350" cap="flat">
              <a:gradFill>
                <a:gsLst>
                  <a:gs pos="0">
                    <a:schemeClr val="bg1">
                      <a:lumMod val="50000"/>
                      <a:alpha val="0"/>
                    </a:schemeClr>
                  </a:gs>
                  <a:gs pos="100000">
                    <a:schemeClr val="bg1">
                      <a:lumMod val="50000"/>
                      <a:alpha val="10000"/>
                    </a:schemeClr>
                  </a:gs>
                </a:gsLst>
                <a:lin ang="5400000" scaled="1"/>
              </a:gra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OPPOSans R"/>
                <a:ea typeface="OPPOSans R"/>
                <a:cs typeface="+mn-cs"/>
              </a:endParaRPr>
            </a:p>
          </p:txBody>
        </p:sp>
        <p:sp>
          <p:nvSpPr>
            <p:cNvPr id="177" name="gaoding-2-69">
              <a:extLst>
                <a:ext uri="{FF2B5EF4-FFF2-40B4-BE49-F238E27FC236}">
                  <a16:creationId xmlns:a16="http://schemas.microsoft.com/office/drawing/2014/main" id="{3E0AE0C6-2F55-4E8A-AE03-021D4EC83D4E}"/>
                </a:ext>
              </a:extLst>
            </p:cNvPr>
            <p:cNvSpPr/>
            <p:nvPr/>
          </p:nvSpPr>
          <p:spPr>
            <a:xfrm>
              <a:off x="3683132" y="0"/>
              <a:ext cx="12766" cy="6858000"/>
            </a:xfrm>
            <a:custGeom>
              <a:avLst/>
              <a:gdLst>
                <a:gd name="connsiteX0" fmla="*/ 0 w 12766"/>
                <a:gd name="connsiteY0" fmla="*/ 6858000 h 6858000"/>
                <a:gd name="connsiteX1" fmla="*/ 0 w 12766"/>
                <a:gd name="connsiteY1" fmla="*/ 0 h 6858000"/>
              </a:gdLst>
              <a:ahLst/>
              <a:cxnLst>
                <a:cxn ang="0">
                  <a:pos x="connsiteX0" y="connsiteY0"/>
                </a:cxn>
                <a:cxn ang="0">
                  <a:pos x="connsiteX1" y="connsiteY1"/>
                </a:cxn>
              </a:cxnLst>
              <a:rect l="l" t="t" r="r" b="b"/>
              <a:pathLst>
                <a:path w="12766" h="6858000">
                  <a:moveTo>
                    <a:pt x="0" y="6858000"/>
                  </a:moveTo>
                  <a:lnTo>
                    <a:pt x="0" y="0"/>
                  </a:lnTo>
                </a:path>
              </a:pathLst>
            </a:custGeom>
            <a:ln w="6350" cap="flat">
              <a:gradFill>
                <a:gsLst>
                  <a:gs pos="0">
                    <a:schemeClr val="bg1">
                      <a:lumMod val="50000"/>
                      <a:alpha val="0"/>
                    </a:schemeClr>
                  </a:gs>
                  <a:gs pos="100000">
                    <a:schemeClr val="bg1">
                      <a:lumMod val="50000"/>
                      <a:alpha val="10000"/>
                    </a:schemeClr>
                  </a:gs>
                </a:gsLst>
                <a:lin ang="5400000" scaled="1"/>
              </a:gra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OPPOSans R"/>
                <a:ea typeface="OPPOSans R"/>
                <a:cs typeface="+mn-cs"/>
              </a:endParaRPr>
            </a:p>
          </p:txBody>
        </p:sp>
        <p:sp>
          <p:nvSpPr>
            <p:cNvPr id="178" name="gaoding-2-70">
              <a:extLst>
                <a:ext uri="{FF2B5EF4-FFF2-40B4-BE49-F238E27FC236}">
                  <a16:creationId xmlns:a16="http://schemas.microsoft.com/office/drawing/2014/main" id="{92DC6455-1B33-49BA-A7FC-179300EEED0C}"/>
                </a:ext>
              </a:extLst>
            </p:cNvPr>
            <p:cNvSpPr/>
            <p:nvPr/>
          </p:nvSpPr>
          <p:spPr>
            <a:xfrm>
              <a:off x="3453336" y="0"/>
              <a:ext cx="12766" cy="6858000"/>
            </a:xfrm>
            <a:custGeom>
              <a:avLst/>
              <a:gdLst>
                <a:gd name="connsiteX0" fmla="*/ 0 w 12766"/>
                <a:gd name="connsiteY0" fmla="*/ 6858000 h 6858000"/>
                <a:gd name="connsiteX1" fmla="*/ 0 w 12766"/>
                <a:gd name="connsiteY1" fmla="*/ 0 h 6858000"/>
              </a:gdLst>
              <a:ahLst/>
              <a:cxnLst>
                <a:cxn ang="0">
                  <a:pos x="connsiteX0" y="connsiteY0"/>
                </a:cxn>
                <a:cxn ang="0">
                  <a:pos x="connsiteX1" y="connsiteY1"/>
                </a:cxn>
              </a:cxnLst>
              <a:rect l="l" t="t" r="r" b="b"/>
              <a:pathLst>
                <a:path w="12766" h="6858000">
                  <a:moveTo>
                    <a:pt x="0" y="6858000"/>
                  </a:moveTo>
                  <a:lnTo>
                    <a:pt x="0" y="0"/>
                  </a:lnTo>
                </a:path>
              </a:pathLst>
            </a:custGeom>
            <a:ln w="6350" cap="flat">
              <a:gradFill>
                <a:gsLst>
                  <a:gs pos="0">
                    <a:schemeClr val="bg1">
                      <a:lumMod val="50000"/>
                      <a:alpha val="0"/>
                    </a:schemeClr>
                  </a:gs>
                  <a:gs pos="100000">
                    <a:schemeClr val="bg1">
                      <a:lumMod val="50000"/>
                      <a:alpha val="10000"/>
                    </a:schemeClr>
                  </a:gs>
                </a:gsLst>
                <a:lin ang="5400000" scaled="1"/>
              </a:gra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OPPOSans R"/>
                <a:ea typeface="OPPOSans R"/>
                <a:cs typeface="+mn-cs"/>
              </a:endParaRPr>
            </a:p>
          </p:txBody>
        </p:sp>
        <p:sp>
          <p:nvSpPr>
            <p:cNvPr id="179" name="gaoding-2-71">
              <a:extLst>
                <a:ext uri="{FF2B5EF4-FFF2-40B4-BE49-F238E27FC236}">
                  <a16:creationId xmlns:a16="http://schemas.microsoft.com/office/drawing/2014/main" id="{04576A5F-5513-4DC8-8F73-23B573428ADE}"/>
                </a:ext>
              </a:extLst>
            </p:cNvPr>
            <p:cNvSpPr/>
            <p:nvPr/>
          </p:nvSpPr>
          <p:spPr>
            <a:xfrm>
              <a:off x="3223539" y="0"/>
              <a:ext cx="12766" cy="6858000"/>
            </a:xfrm>
            <a:custGeom>
              <a:avLst/>
              <a:gdLst>
                <a:gd name="connsiteX0" fmla="*/ 0 w 12766"/>
                <a:gd name="connsiteY0" fmla="*/ 6858000 h 6858000"/>
                <a:gd name="connsiteX1" fmla="*/ 0 w 12766"/>
                <a:gd name="connsiteY1" fmla="*/ 0 h 6858000"/>
              </a:gdLst>
              <a:ahLst/>
              <a:cxnLst>
                <a:cxn ang="0">
                  <a:pos x="connsiteX0" y="connsiteY0"/>
                </a:cxn>
                <a:cxn ang="0">
                  <a:pos x="connsiteX1" y="connsiteY1"/>
                </a:cxn>
              </a:cxnLst>
              <a:rect l="l" t="t" r="r" b="b"/>
              <a:pathLst>
                <a:path w="12766" h="6858000">
                  <a:moveTo>
                    <a:pt x="0" y="6858000"/>
                  </a:moveTo>
                  <a:lnTo>
                    <a:pt x="0" y="0"/>
                  </a:lnTo>
                </a:path>
              </a:pathLst>
            </a:custGeom>
            <a:ln w="6350" cap="flat">
              <a:gradFill>
                <a:gsLst>
                  <a:gs pos="0">
                    <a:schemeClr val="bg1">
                      <a:lumMod val="50000"/>
                      <a:alpha val="0"/>
                    </a:schemeClr>
                  </a:gs>
                  <a:gs pos="100000">
                    <a:schemeClr val="bg1">
                      <a:lumMod val="50000"/>
                      <a:alpha val="10000"/>
                    </a:schemeClr>
                  </a:gs>
                </a:gsLst>
                <a:lin ang="5400000" scaled="1"/>
              </a:gra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OPPOSans R"/>
                <a:ea typeface="OPPOSans R"/>
                <a:cs typeface="+mn-cs"/>
              </a:endParaRPr>
            </a:p>
          </p:txBody>
        </p:sp>
        <p:sp>
          <p:nvSpPr>
            <p:cNvPr id="180" name="gaoding-2-72">
              <a:extLst>
                <a:ext uri="{FF2B5EF4-FFF2-40B4-BE49-F238E27FC236}">
                  <a16:creationId xmlns:a16="http://schemas.microsoft.com/office/drawing/2014/main" id="{AE7A38CA-4E8C-4BE5-AE19-74386E091A28}"/>
                </a:ext>
              </a:extLst>
            </p:cNvPr>
            <p:cNvSpPr/>
            <p:nvPr/>
          </p:nvSpPr>
          <p:spPr>
            <a:xfrm>
              <a:off x="2993742" y="0"/>
              <a:ext cx="12766" cy="6858000"/>
            </a:xfrm>
            <a:custGeom>
              <a:avLst/>
              <a:gdLst>
                <a:gd name="connsiteX0" fmla="*/ 0 w 12766"/>
                <a:gd name="connsiteY0" fmla="*/ 6858000 h 6858000"/>
                <a:gd name="connsiteX1" fmla="*/ 0 w 12766"/>
                <a:gd name="connsiteY1" fmla="*/ 0 h 6858000"/>
              </a:gdLst>
              <a:ahLst/>
              <a:cxnLst>
                <a:cxn ang="0">
                  <a:pos x="connsiteX0" y="connsiteY0"/>
                </a:cxn>
                <a:cxn ang="0">
                  <a:pos x="connsiteX1" y="connsiteY1"/>
                </a:cxn>
              </a:cxnLst>
              <a:rect l="l" t="t" r="r" b="b"/>
              <a:pathLst>
                <a:path w="12766" h="6858000">
                  <a:moveTo>
                    <a:pt x="0" y="6858000"/>
                  </a:moveTo>
                  <a:lnTo>
                    <a:pt x="0" y="0"/>
                  </a:lnTo>
                </a:path>
              </a:pathLst>
            </a:custGeom>
            <a:ln w="6350" cap="flat">
              <a:gradFill>
                <a:gsLst>
                  <a:gs pos="0">
                    <a:schemeClr val="bg1">
                      <a:lumMod val="50000"/>
                      <a:alpha val="0"/>
                    </a:schemeClr>
                  </a:gs>
                  <a:gs pos="100000">
                    <a:schemeClr val="bg1">
                      <a:lumMod val="50000"/>
                      <a:alpha val="10000"/>
                    </a:schemeClr>
                  </a:gs>
                </a:gsLst>
                <a:lin ang="5400000" scaled="1"/>
              </a:gra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OPPOSans R"/>
                <a:ea typeface="OPPOSans R"/>
                <a:cs typeface="+mn-cs"/>
              </a:endParaRPr>
            </a:p>
          </p:txBody>
        </p:sp>
        <p:sp>
          <p:nvSpPr>
            <p:cNvPr id="181" name="gaoding-2-73">
              <a:extLst>
                <a:ext uri="{FF2B5EF4-FFF2-40B4-BE49-F238E27FC236}">
                  <a16:creationId xmlns:a16="http://schemas.microsoft.com/office/drawing/2014/main" id="{1A5D3633-E9D5-4D38-AF30-D8046683CB53}"/>
                </a:ext>
              </a:extLst>
            </p:cNvPr>
            <p:cNvSpPr/>
            <p:nvPr/>
          </p:nvSpPr>
          <p:spPr>
            <a:xfrm>
              <a:off x="2763945" y="0"/>
              <a:ext cx="12766" cy="6858000"/>
            </a:xfrm>
            <a:custGeom>
              <a:avLst/>
              <a:gdLst>
                <a:gd name="connsiteX0" fmla="*/ 0 w 12766"/>
                <a:gd name="connsiteY0" fmla="*/ 6858000 h 6858000"/>
                <a:gd name="connsiteX1" fmla="*/ 0 w 12766"/>
                <a:gd name="connsiteY1" fmla="*/ 0 h 6858000"/>
              </a:gdLst>
              <a:ahLst/>
              <a:cxnLst>
                <a:cxn ang="0">
                  <a:pos x="connsiteX0" y="connsiteY0"/>
                </a:cxn>
                <a:cxn ang="0">
                  <a:pos x="connsiteX1" y="connsiteY1"/>
                </a:cxn>
              </a:cxnLst>
              <a:rect l="l" t="t" r="r" b="b"/>
              <a:pathLst>
                <a:path w="12766" h="6858000">
                  <a:moveTo>
                    <a:pt x="0" y="6858000"/>
                  </a:moveTo>
                  <a:lnTo>
                    <a:pt x="0" y="0"/>
                  </a:lnTo>
                </a:path>
              </a:pathLst>
            </a:custGeom>
            <a:ln w="6350" cap="flat">
              <a:gradFill>
                <a:gsLst>
                  <a:gs pos="0">
                    <a:schemeClr val="bg1">
                      <a:lumMod val="50000"/>
                      <a:alpha val="0"/>
                    </a:schemeClr>
                  </a:gs>
                  <a:gs pos="100000">
                    <a:schemeClr val="bg1">
                      <a:lumMod val="50000"/>
                      <a:alpha val="10000"/>
                    </a:schemeClr>
                  </a:gs>
                </a:gsLst>
                <a:lin ang="5400000" scaled="1"/>
              </a:gra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OPPOSans R"/>
                <a:ea typeface="OPPOSans R"/>
                <a:cs typeface="+mn-cs"/>
              </a:endParaRPr>
            </a:p>
          </p:txBody>
        </p:sp>
        <p:sp>
          <p:nvSpPr>
            <p:cNvPr id="182" name="gaoding-2-74">
              <a:extLst>
                <a:ext uri="{FF2B5EF4-FFF2-40B4-BE49-F238E27FC236}">
                  <a16:creationId xmlns:a16="http://schemas.microsoft.com/office/drawing/2014/main" id="{19D4DFA1-F134-43E5-8EEE-46035A044746}"/>
                </a:ext>
              </a:extLst>
            </p:cNvPr>
            <p:cNvSpPr/>
            <p:nvPr/>
          </p:nvSpPr>
          <p:spPr>
            <a:xfrm>
              <a:off x="2534148" y="0"/>
              <a:ext cx="12766" cy="6858000"/>
            </a:xfrm>
            <a:custGeom>
              <a:avLst/>
              <a:gdLst>
                <a:gd name="connsiteX0" fmla="*/ 0 w 12766"/>
                <a:gd name="connsiteY0" fmla="*/ 6858000 h 6858000"/>
                <a:gd name="connsiteX1" fmla="*/ 0 w 12766"/>
                <a:gd name="connsiteY1" fmla="*/ 0 h 6858000"/>
              </a:gdLst>
              <a:ahLst/>
              <a:cxnLst>
                <a:cxn ang="0">
                  <a:pos x="connsiteX0" y="connsiteY0"/>
                </a:cxn>
                <a:cxn ang="0">
                  <a:pos x="connsiteX1" y="connsiteY1"/>
                </a:cxn>
              </a:cxnLst>
              <a:rect l="l" t="t" r="r" b="b"/>
              <a:pathLst>
                <a:path w="12766" h="6858000">
                  <a:moveTo>
                    <a:pt x="0" y="6858000"/>
                  </a:moveTo>
                  <a:lnTo>
                    <a:pt x="0" y="0"/>
                  </a:lnTo>
                </a:path>
              </a:pathLst>
            </a:custGeom>
            <a:ln w="6350" cap="flat">
              <a:gradFill>
                <a:gsLst>
                  <a:gs pos="0">
                    <a:schemeClr val="bg1">
                      <a:lumMod val="50000"/>
                      <a:alpha val="0"/>
                    </a:schemeClr>
                  </a:gs>
                  <a:gs pos="100000">
                    <a:schemeClr val="bg1">
                      <a:lumMod val="50000"/>
                      <a:alpha val="10000"/>
                    </a:schemeClr>
                  </a:gs>
                </a:gsLst>
                <a:lin ang="5400000" scaled="1"/>
              </a:gra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OPPOSans R"/>
                <a:ea typeface="OPPOSans R"/>
                <a:cs typeface="+mn-cs"/>
              </a:endParaRPr>
            </a:p>
          </p:txBody>
        </p:sp>
        <p:sp>
          <p:nvSpPr>
            <p:cNvPr id="183" name="gaoding-2-75">
              <a:extLst>
                <a:ext uri="{FF2B5EF4-FFF2-40B4-BE49-F238E27FC236}">
                  <a16:creationId xmlns:a16="http://schemas.microsoft.com/office/drawing/2014/main" id="{F42F883F-EB07-4AB6-85B3-639FA2E707A6}"/>
                </a:ext>
              </a:extLst>
            </p:cNvPr>
            <p:cNvSpPr/>
            <p:nvPr/>
          </p:nvSpPr>
          <p:spPr>
            <a:xfrm>
              <a:off x="2304351" y="0"/>
              <a:ext cx="12766" cy="6858000"/>
            </a:xfrm>
            <a:custGeom>
              <a:avLst/>
              <a:gdLst>
                <a:gd name="connsiteX0" fmla="*/ 0 w 12766"/>
                <a:gd name="connsiteY0" fmla="*/ 6858000 h 6858000"/>
                <a:gd name="connsiteX1" fmla="*/ 0 w 12766"/>
                <a:gd name="connsiteY1" fmla="*/ 0 h 6858000"/>
              </a:gdLst>
              <a:ahLst/>
              <a:cxnLst>
                <a:cxn ang="0">
                  <a:pos x="connsiteX0" y="connsiteY0"/>
                </a:cxn>
                <a:cxn ang="0">
                  <a:pos x="connsiteX1" y="connsiteY1"/>
                </a:cxn>
              </a:cxnLst>
              <a:rect l="l" t="t" r="r" b="b"/>
              <a:pathLst>
                <a:path w="12766" h="6858000">
                  <a:moveTo>
                    <a:pt x="0" y="6858000"/>
                  </a:moveTo>
                  <a:lnTo>
                    <a:pt x="0" y="0"/>
                  </a:lnTo>
                </a:path>
              </a:pathLst>
            </a:custGeom>
            <a:ln w="6350" cap="flat">
              <a:gradFill>
                <a:gsLst>
                  <a:gs pos="0">
                    <a:schemeClr val="bg1">
                      <a:lumMod val="50000"/>
                      <a:alpha val="0"/>
                    </a:schemeClr>
                  </a:gs>
                  <a:gs pos="100000">
                    <a:schemeClr val="bg1">
                      <a:lumMod val="50000"/>
                      <a:alpha val="10000"/>
                    </a:schemeClr>
                  </a:gs>
                </a:gsLst>
                <a:lin ang="5400000" scaled="1"/>
              </a:gra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OPPOSans R"/>
                <a:ea typeface="OPPOSans R"/>
                <a:cs typeface="+mn-cs"/>
              </a:endParaRPr>
            </a:p>
          </p:txBody>
        </p:sp>
        <p:sp>
          <p:nvSpPr>
            <p:cNvPr id="184" name="gaoding-2-76">
              <a:extLst>
                <a:ext uri="{FF2B5EF4-FFF2-40B4-BE49-F238E27FC236}">
                  <a16:creationId xmlns:a16="http://schemas.microsoft.com/office/drawing/2014/main" id="{34D1AEF9-2FF4-4D01-B6DE-1CDD426A3800}"/>
                </a:ext>
              </a:extLst>
            </p:cNvPr>
            <p:cNvSpPr/>
            <p:nvPr/>
          </p:nvSpPr>
          <p:spPr>
            <a:xfrm>
              <a:off x="2074554" y="0"/>
              <a:ext cx="12766" cy="6858000"/>
            </a:xfrm>
            <a:custGeom>
              <a:avLst/>
              <a:gdLst>
                <a:gd name="connsiteX0" fmla="*/ 0 w 12766"/>
                <a:gd name="connsiteY0" fmla="*/ 6858000 h 6858000"/>
                <a:gd name="connsiteX1" fmla="*/ 0 w 12766"/>
                <a:gd name="connsiteY1" fmla="*/ 0 h 6858000"/>
              </a:gdLst>
              <a:ahLst/>
              <a:cxnLst>
                <a:cxn ang="0">
                  <a:pos x="connsiteX0" y="connsiteY0"/>
                </a:cxn>
                <a:cxn ang="0">
                  <a:pos x="connsiteX1" y="connsiteY1"/>
                </a:cxn>
              </a:cxnLst>
              <a:rect l="l" t="t" r="r" b="b"/>
              <a:pathLst>
                <a:path w="12766" h="6858000">
                  <a:moveTo>
                    <a:pt x="0" y="6858000"/>
                  </a:moveTo>
                  <a:lnTo>
                    <a:pt x="0" y="0"/>
                  </a:lnTo>
                </a:path>
              </a:pathLst>
            </a:custGeom>
            <a:ln w="6350" cap="flat">
              <a:gradFill>
                <a:gsLst>
                  <a:gs pos="0">
                    <a:schemeClr val="bg1">
                      <a:lumMod val="50000"/>
                      <a:alpha val="0"/>
                    </a:schemeClr>
                  </a:gs>
                  <a:gs pos="100000">
                    <a:schemeClr val="bg1">
                      <a:lumMod val="50000"/>
                      <a:alpha val="10000"/>
                    </a:schemeClr>
                  </a:gs>
                </a:gsLst>
                <a:lin ang="5400000" scaled="1"/>
              </a:gra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OPPOSans R"/>
                <a:ea typeface="OPPOSans R"/>
                <a:cs typeface="+mn-cs"/>
              </a:endParaRPr>
            </a:p>
          </p:txBody>
        </p:sp>
        <p:sp>
          <p:nvSpPr>
            <p:cNvPr id="185" name="gaoding-2-77">
              <a:extLst>
                <a:ext uri="{FF2B5EF4-FFF2-40B4-BE49-F238E27FC236}">
                  <a16:creationId xmlns:a16="http://schemas.microsoft.com/office/drawing/2014/main" id="{229C09A2-A01E-41E3-8FE2-101B8CB22C3A}"/>
                </a:ext>
              </a:extLst>
            </p:cNvPr>
            <p:cNvSpPr/>
            <p:nvPr/>
          </p:nvSpPr>
          <p:spPr>
            <a:xfrm>
              <a:off x="1844758" y="0"/>
              <a:ext cx="12766" cy="6858000"/>
            </a:xfrm>
            <a:custGeom>
              <a:avLst/>
              <a:gdLst>
                <a:gd name="connsiteX0" fmla="*/ 0 w 12766"/>
                <a:gd name="connsiteY0" fmla="*/ 6858000 h 6858000"/>
                <a:gd name="connsiteX1" fmla="*/ 0 w 12766"/>
                <a:gd name="connsiteY1" fmla="*/ 0 h 6858000"/>
              </a:gdLst>
              <a:ahLst/>
              <a:cxnLst>
                <a:cxn ang="0">
                  <a:pos x="connsiteX0" y="connsiteY0"/>
                </a:cxn>
                <a:cxn ang="0">
                  <a:pos x="connsiteX1" y="connsiteY1"/>
                </a:cxn>
              </a:cxnLst>
              <a:rect l="l" t="t" r="r" b="b"/>
              <a:pathLst>
                <a:path w="12766" h="6858000">
                  <a:moveTo>
                    <a:pt x="0" y="6858000"/>
                  </a:moveTo>
                  <a:lnTo>
                    <a:pt x="0" y="0"/>
                  </a:lnTo>
                </a:path>
              </a:pathLst>
            </a:custGeom>
            <a:ln w="6350" cap="flat">
              <a:gradFill>
                <a:gsLst>
                  <a:gs pos="0">
                    <a:schemeClr val="bg1">
                      <a:lumMod val="50000"/>
                      <a:alpha val="0"/>
                    </a:schemeClr>
                  </a:gs>
                  <a:gs pos="100000">
                    <a:schemeClr val="bg1">
                      <a:lumMod val="50000"/>
                      <a:alpha val="10000"/>
                    </a:schemeClr>
                  </a:gs>
                </a:gsLst>
                <a:lin ang="5400000" scaled="1"/>
              </a:gra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OPPOSans R"/>
                <a:ea typeface="OPPOSans R"/>
                <a:cs typeface="+mn-cs"/>
              </a:endParaRPr>
            </a:p>
          </p:txBody>
        </p:sp>
        <p:sp>
          <p:nvSpPr>
            <p:cNvPr id="186" name="gaoding-2-78">
              <a:extLst>
                <a:ext uri="{FF2B5EF4-FFF2-40B4-BE49-F238E27FC236}">
                  <a16:creationId xmlns:a16="http://schemas.microsoft.com/office/drawing/2014/main" id="{C0F7BC8D-446C-455D-98D8-A1F2F8B29122}"/>
                </a:ext>
              </a:extLst>
            </p:cNvPr>
            <p:cNvSpPr/>
            <p:nvPr/>
          </p:nvSpPr>
          <p:spPr>
            <a:xfrm>
              <a:off x="1614961" y="0"/>
              <a:ext cx="12766" cy="6858000"/>
            </a:xfrm>
            <a:custGeom>
              <a:avLst/>
              <a:gdLst>
                <a:gd name="connsiteX0" fmla="*/ 0 w 12766"/>
                <a:gd name="connsiteY0" fmla="*/ 6858000 h 6858000"/>
                <a:gd name="connsiteX1" fmla="*/ 0 w 12766"/>
                <a:gd name="connsiteY1" fmla="*/ 0 h 6858000"/>
              </a:gdLst>
              <a:ahLst/>
              <a:cxnLst>
                <a:cxn ang="0">
                  <a:pos x="connsiteX0" y="connsiteY0"/>
                </a:cxn>
                <a:cxn ang="0">
                  <a:pos x="connsiteX1" y="connsiteY1"/>
                </a:cxn>
              </a:cxnLst>
              <a:rect l="l" t="t" r="r" b="b"/>
              <a:pathLst>
                <a:path w="12766" h="6858000">
                  <a:moveTo>
                    <a:pt x="0" y="6858000"/>
                  </a:moveTo>
                  <a:lnTo>
                    <a:pt x="0" y="0"/>
                  </a:lnTo>
                </a:path>
              </a:pathLst>
            </a:custGeom>
            <a:ln w="6350" cap="flat">
              <a:gradFill>
                <a:gsLst>
                  <a:gs pos="0">
                    <a:schemeClr val="bg1">
                      <a:lumMod val="50000"/>
                      <a:alpha val="0"/>
                    </a:schemeClr>
                  </a:gs>
                  <a:gs pos="100000">
                    <a:schemeClr val="bg1">
                      <a:lumMod val="50000"/>
                      <a:alpha val="10000"/>
                    </a:schemeClr>
                  </a:gs>
                </a:gsLst>
                <a:lin ang="5400000" scaled="1"/>
              </a:gra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OPPOSans R"/>
                <a:ea typeface="OPPOSans R"/>
                <a:cs typeface="+mn-cs"/>
              </a:endParaRPr>
            </a:p>
          </p:txBody>
        </p:sp>
        <p:sp>
          <p:nvSpPr>
            <p:cNvPr id="187" name="gaoding-2-79">
              <a:extLst>
                <a:ext uri="{FF2B5EF4-FFF2-40B4-BE49-F238E27FC236}">
                  <a16:creationId xmlns:a16="http://schemas.microsoft.com/office/drawing/2014/main" id="{D11BFCD1-D40C-4621-9AB2-84D5BA8D582E}"/>
                </a:ext>
              </a:extLst>
            </p:cNvPr>
            <p:cNvSpPr/>
            <p:nvPr/>
          </p:nvSpPr>
          <p:spPr>
            <a:xfrm>
              <a:off x="1385164" y="0"/>
              <a:ext cx="12766" cy="6858000"/>
            </a:xfrm>
            <a:custGeom>
              <a:avLst/>
              <a:gdLst>
                <a:gd name="connsiteX0" fmla="*/ 0 w 12766"/>
                <a:gd name="connsiteY0" fmla="*/ 6858000 h 6858000"/>
                <a:gd name="connsiteX1" fmla="*/ 0 w 12766"/>
                <a:gd name="connsiteY1" fmla="*/ 0 h 6858000"/>
              </a:gdLst>
              <a:ahLst/>
              <a:cxnLst>
                <a:cxn ang="0">
                  <a:pos x="connsiteX0" y="connsiteY0"/>
                </a:cxn>
                <a:cxn ang="0">
                  <a:pos x="connsiteX1" y="connsiteY1"/>
                </a:cxn>
              </a:cxnLst>
              <a:rect l="l" t="t" r="r" b="b"/>
              <a:pathLst>
                <a:path w="12766" h="6858000">
                  <a:moveTo>
                    <a:pt x="0" y="6858000"/>
                  </a:moveTo>
                  <a:lnTo>
                    <a:pt x="0" y="0"/>
                  </a:lnTo>
                </a:path>
              </a:pathLst>
            </a:custGeom>
            <a:ln w="6350" cap="flat">
              <a:gradFill>
                <a:gsLst>
                  <a:gs pos="0">
                    <a:schemeClr val="bg1">
                      <a:lumMod val="50000"/>
                      <a:alpha val="0"/>
                    </a:schemeClr>
                  </a:gs>
                  <a:gs pos="100000">
                    <a:schemeClr val="bg1">
                      <a:lumMod val="50000"/>
                      <a:alpha val="10000"/>
                    </a:schemeClr>
                  </a:gs>
                </a:gsLst>
                <a:lin ang="5400000" scaled="1"/>
              </a:gra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OPPOSans R"/>
                <a:ea typeface="OPPOSans R"/>
                <a:cs typeface="+mn-cs"/>
              </a:endParaRPr>
            </a:p>
          </p:txBody>
        </p:sp>
        <p:sp>
          <p:nvSpPr>
            <p:cNvPr id="188" name="gaoding-2-80">
              <a:extLst>
                <a:ext uri="{FF2B5EF4-FFF2-40B4-BE49-F238E27FC236}">
                  <a16:creationId xmlns:a16="http://schemas.microsoft.com/office/drawing/2014/main" id="{EB57E7C3-2643-444A-8BBC-5E358A57330D}"/>
                </a:ext>
              </a:extLst>
            </p:cNvPr>
            <p:cNvSpPr/>
            <p:nvPr/>
          </p:nvSpPr>
          <p:spPr>
            <a:xfrm>
              <a:off x="1155367" y="0"/>
              <a:ext cx="12766" cy="6858000"/>
            </a:xfrm>
            <a:custGeom>
              <a:avLst/>
              <a:gdLst>
                <a:gd name="connsiteX0" fmla="*/ 0 w 12766"/>
                <a:gd name="connsiteY0" fmla="*/ 6858000 h 6858000"/>
                <a:gd name="connsiteX1" fmla="*/ 0 w 12766"/>
                <a:gd name="connsiteY1" fmla="*/ 0 h 6858000"/>
              </a:gdLst>
              <a:ahLst/>
              <a:cxnLst>
                <a:cxn ang="0">
                  <a:pos x="connsiteX0" y="connsiteY0"/>
                </a:cxn>
                <a:cxn ang="0">
                  <a:pos x="connsiteX1" y="connsiteY1"/>
                </a:cxn>
              </a:cxnLst>
              <a:rect l="l" t="t" r="r" b="b"/>
              <a:pathLst>
                <a:path w="12766" h="6858000">
                  <a:moveTo>
                    <a:pt x="0" y="6858000"/>
                  </a:moveTo>
                  <a:lnTo>
                    <a:pt x="0" y="0"/>
                  </a:lnTo>
                </a:path>
              </a:pathLst>
            </a:custGeom>
            <a:ln w="6350" cap="flat">
              <a:gradFill>
                <a:gsLst>
                  <a:gs pos="0">
                    <a:schemeClr val="bg1">
                      <a:lumMod val="50000"/>
                      <a:alpha val="0"/>
                    </a:schemeClr>
                  </a:gs>
                  <a:gs pos="100000">
                    <a:schemeClr val="bg1">
                      <a:lumMod val="50000"/>
                      <a:alpha val="10000"/>
                    </a:schemeClr>
                  </a:gs>
                </a:gsLst>
                <a:lin ang="5400000" scaled="1"/>
              </a:gra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OPPOSans R"/>
                <a:ea typeface="OPPOSans R"/>
                <a:cs typeface="+mn-cs"/>
              </a:endParaRPr>
            </a:p>
          </p:txBody>
        </p:sp>
        <p:sp>
          <p:nvSpPr>
            <p:cNvPr id="189" name="gaoding-2-81">
              <a:extLst>
                <a:ext uri="{FF2B5EF4-FFF2-40B4-BE49-F238E27FC236}">
                  <a16:creationId xmlns:a16="http://schemas.microsoft.com/office/drawing/2014/main" id="{4A160350-7B71-4688-9E0D-99FF9106A066}"/>
                </a:ext>
              </a:extLst>
            </p:cNvPr>
            <p:cNvSpPr/>
            <p:nvPr/>
          </p:nvSpPr>
          <p:spPr>
            <a:xfrm>
              <a:off x="925570" y="0"/>
              <a:ext cx="12766" cy="6858000"/>
            </a:xfrm>
            <a:custGeom>
              <a:avLst/>
              <a:gdLst>
                <a:gd name="connsiteX0" fmla="*/ 0 w 12766"/>
                <a:gd name="connsiteY0" fmla="*/ 6858000 h 6858000"/>
                <a:gd name="connsiteX1" fmla="*/ 0 w 12766"/>
                <a:gd name="connsiteY1" fmla="*/ 0 h 6858000"/>
              </a:gdLst>
              <a:ahLst/>
              <a:cxnLst>
                <a:cxn ang="0">
                  <a:pos x="connsiteX0" y="connsiteY0"/>
                </a:cxn>
                <a:cxn ang="0">
                  <a:pos x="connsiteX1" y="connsiteY1"/>
                </a:cxn>
              </a:cxnLst>
              <a:rect l="l" t="t" r="r" b="b"/>
              <a:pathLst>
                <a:path w="12766" h="6858000">
                  <a:moveTo>
                    <a:pt x="0" y="6858000"/>
                  </a:moveTo>
                  <a:lnTo>
                    <a:pt x="0" y="0"/>
                  </a:lnTo>
                </a:path>
              </a:pathLst>
            </a:custGeom>
            <a:ln w="6350" cap="flat">
              <a:gradFill>
                <a:gsLst>
                  <a:gs pos="0">
                    <a:schemeClr val="bg1">
                      <a:lumMod val="50000"/>
                      <a:alpha val="0"/>
                    </a:schemeClr>
                  </a:gs>
                  <a:gs pos="100000">
                    <a:schemeClr val="bg1">
                      <a:lumMod val="50000"/>
                      <a:alpha val="10000"/>
                    </a:schemeClr>
                  </a:gs>
                </a:gsLst>
                <a:lin ang="5400000" scaled="1"/>
              </a:gra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OPPOSans R"/>
                <a:ea typeface="OPPOSans R"/>
                <a:cs typeface="+mn-cs"/>
              </a:endParaRPr>
            </a:p>
          </p:txBody>
        </p:sp>
        <p:sp>
          <p:nvSpPr>
            <p:cNvPr id="190" name="gaoding-2-82">
              <a:extLst>
                <a:ext uri="{FF2B5EF4-FFF2-40B4-BE49-F238E27FC236}">
                  <a16:creationId xmlns:a16="http://schemas.microsoft.com/office/drawing/2014/main" id="{D45920F0-CC3E-4ADE-9E55-330D4476DB14}"/>
                </a:ext>
              </a:extLst>
            </p:cNvPr>
            <p:cNvSpPr/>
            <p:nvPr/>
          </p:nvSpPr>
          <p:spPr>
            <a:xfrm>
              <a:off x="695773" y="0"/>
              <a:ext cx="12766" cy="6858000"/>
            </a:xfrm>
            <a:custGeom>
              <a:avLst/>
              <a:gdLst>
                <a:gd name="connsiteX0" fmla="*/ 0 w 12766"/>
                <a:gd name="connsiteY0" fmla="*/ 6858000 h 6858000"/>
                <a:gd name="connsiteX1" fmla="*/ 0 w 12766"/>
                <a:gd name="connsiteY1" fmla="*/ 0 h 6858000"/>
              </a:gdLst>
              <a:ahLst/>
              <a:cxnLst>
                <a:cxn ang="0">
                  <a:pos x="connsiteX0" y="connsiteY0"/>
                </a:cxn>
                <a:cxn ang="0">
                  <a:pos x="connsiteX1" y="connsiteY1"/>
                </a:cxn>
              </a:cxnLst>
              <a:rect l="l" t="t" r="r" b="b"/>
              <a:pathLst>
                <a:path w="12766" h="6858000">
                  <a:moveTo>
                    <a:pt x="0" y="6858000"/>
                  </a:moveTo>
                  <a:lnTo>
                    <a:pt x="0" y="0"/>
                  </a:lnTo>
                </a:path>
              </a:pathLst>
            </a:custGeom>
            <a:ln w="6350" cap="flat">
              <a:gradFill>
                <a:gsLst>
                  <a:gs pos="0">
                    <a:schemeClr val="bg1">
                      <a:lumMod val="50000"/>
                      <a:alpha val="0"/>
                    </a:schemeClr>
                  </a:gs>
                  <a:gs pos="100000">
                    <a:schemeClr val="bg1">
                      <a:lumMod val="50000"/>
                      <a:alpha val="10000"/>
                    </a:schemeClr>
                  </a:gs>
                </a:gsLst>
                <a:lin ang="5400000" scaled="1"/>
              </a:gra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OPPOSans R"/>
                <a:ea typeface="OPPOSans R"/>
                <a:cs typeface="+mn-cs"/>
              </a:endParaRPr>
            </a:p>
          </p:txBody>
        </p:sp>
        <p:sp>
          <p:nvSpPr>
            <p:cNvPr id="191" name="gaoding-2-83">
              <a:extLst>
                <a:ext uri="{FF2B5EF4-FFF2-40B4-BE49-F238E27FC236}">
                  <a16:creationId xmlns:a16="http://schemas.microsoft.com/office/drawing/2014/main" id="{26581025-E4A0-4827-801E-2A306D669C67}"/>
                </a:ext>
              </a:extLst>
            </p:cNvPr>
            <p:cNvSpPr/>
            <p:nvPr/>
          </p:nvSpPr>
          <p:spPr>
            <a:xfrm>
              <a:off x="465976" y="0"/>
              <a:ext cx="12766" cy="6858000"/>
            </a:xfrm>
            <a:custGeom>
              <a:avLst/>
              <a:gdLst>
                <a:gd name="connsiteX0" fmla="*/ 0 w 12766"/>
                <a:gd name="connsiteY0" fmla="*/ 6858000 h 6858000"/>
                <a:gd name="connsiteX1" fmla="*/ 0 w 12766"/>
                <a:gd name="connsiteY1" fmla="*/ 0 h 6858000"/>
              </a:gdLst>
              <a:ahLst/>
              <a:cxnLst>
                <a:cxn ang="0">
                  <a:pos x="connsiteX0" y="connsiteY0"/>
                </a:cxn>
                <a:cxn ang="0">
                  <a:pos x="connsiteX1" y="connsiteY1"/>
                </a:cxn>
              </a:cxnLst>
              <a:rect l="l" t="t" r="r" b="b"/>
              <a:pathLst>
                <a:path w="12766" h="6858000">
                  <a:moveTo>
                    <a:pt x="0" y="6858000"/>
                  </a:moveTo>
                  <a:lnTo>
                    <a:pt x="0" y="0"/>
                  </a:lnTo>
                </a:path>
              </a:pathLst>
            </a:custGeom>
            <a:ln w="6350" cap="flat">
              <a:gradFill>
                <a:gsLst>
                  <a:gs pos="0">
                    <a:schemeClr val="bg1">
                      <a:lumMod val="50000"/>
                      <a:alpha val="0"/>
                    </a:schemeClr>
                  </a:gs>
                  <a:gs pos="100000">
                    <a:schemeClr val="bg1">
                      <a:lumMod val="50000"/>
                      <a:alpha val="10000"/>
                    </a:schemeClr>
                  </a:gs>
                </a:gsLst>
                <a:lin ang="5400000" scaled="1"/>
              </a:gra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OPPOSans R"/>
                <a:ea typeface="OPPOSans R"/>
                <a:cs typeface="+mn-cs"/>
              </a:endParaRPr>
            </a:p>
          </p:txBody>
        </p:sp>
        <p:sp>
          <p:nvSpPr>
            <p:cNvPr id="192" name="gaoding-2-84">
              <a:extLst>
                <a:ext uri="{FF2B5EF4-FFF2-40B4-BE49-F238E27FC236}">
                  <a16:creationId xmlns:a16="http://schemas.microsoft.com/office/drawing/2014/main" id="{F851F486-D14E-4AEA-8057-780BAF83BDF2}"/>
                </a:ext>
              </a:extLst>
            </p:cNvPr>
            <p:cNvSpPr/>
            <p:nvPr/>
          </p:nvSpPr>
          <p:spPr>
            <a:xfrm>
              <a:off x="236180" y="0"/>
              <a:ext cx="12766" cy="6858000"/>
            </a:xfrm>
            <a:custGeom>
              <a:avLst/>
              <a:gdLst>
                <a:gd name="connsiteX0" fmla="*/ 0 w 12766"/>
                <a:gd name="connsiteY0" fmla="*/ 6858000 h 6858000"/>
                <a:gd name="connsiteX1" fmla="*/ 0 w 12766"/>
                <a:gd name="connsiteY1" fmla="*/ 0 h 6858000"/>
              </a:gdLst>
              <a:ahLst/>
              <a:cxnLst>
                <a:cxn ang="0">
                  <a:pos x="connsiteX0" y="connsiteY0"/>
                </a:cxn>
                <a:cxn ang="0">
                  <a:pos x="connsiteX1" y="connsiteY1"/>
                </a:cxn>
              </a:cxnLst>
              <a:rect l="l" t="t" r="r" b="b"/>
              <a:pathLst>
                <a:path w="12766" h="6858000">
                  <a:moveTo>
                    <a:pt x="0" y="6858000"/>
                  </a:moveTo>
                  <a:lnTo>
                    <a:pt x="0" y="0"/>
                  </a:lnTo>
                </a:path>
              </a:pathLst>
            </a:custGeom>
            <a:ln w="6350" cap="flat">
              <a:gradFill>
                <a:gsLst>
                  <a:gs pos="0">
                    <a:schemeClr val="bg1">
                      <a:lumMod val="50000"/>
                      <a:alpha val="0"/>
                    </a:schemeClr>
                  </a:gs>
                  <a:gs pos="100000">
                    <a:schemeClr val="bg1">
                      <a:lumMod val="50000"/>
                      <a:alpha val="10000"/>
                    </a:schemeClr>
                  </a:gs>
                </a:gsLst>
                <a:lin ang="5400000" scaled="1"/>
              </a:gra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OPPOSans R"/>
                <a:ea typeface="OPPOSans R"/>
                <a:cs typeface="+mn-cs"/>
              </a:endParaRPr>
            </a:p>
          </p:txBody>
        </p:sp>
        <p:sp>
          <p:nvSpPr>
            <p:cNvPr id="193" name="gaoding-2-85">
              <a:extLst>
                <a:ext uri="{FF2B5EF4-FFF2-40B4-BE49-F238E27FC236}">
                  <a16:creationId xmlns:a16="http://schemas.microsoft.com/office/drawing/2014/main" id="{84829294-8921-4804-9699-9FAA5534F602}"/>
                </a:ext>
              </a:extLst>
            </p:cNvPr>
            <p:cNvSpPr/>
            <p:nvPr/>
          </p:nvSpPr>
          <p:spPr>
            <a:xfrm>
              <a:off x="6383" y="0"/>
              <a:ext cx="12766" cy="6858000"/>
            </a:xfrm>
            <a:custGeom>
              <a:avLst/>
              <a:gdLst>
                <a:gd name="connsiteX0" fmla="*/ 0 w 12766"/>
                <a:gd name="connsiteY0" fmla="*/ 6858000 h 6858000"/>
                <a:gd name="connsiteX1" fmla="*/ 0 w 12766"/>
                <a:gd name="connsiteY1" fmla="*/ 0 h 6858000"/>
              </a:gdLst>
              <a:ahLst/>
              <a:cxnLst>
                <a:cxn ang="0">
                  <a:pos x="connsiteX0" y="connsiteY0"/>
                </a:cxn>
                <a:cxn ang="0">
                  <a:pos x="connsiteX1" y="connsiteY1"/>
                </a:cxn>
              </a:cxnLst>
              <a:rect l="l" t="t" r="r" b="b"/>
              <a:pathLst>
                <a:path w="12766" h="6858000">
                  <a:moveTo>
                    <a:pt x="0" y="6858000"/>
                  </a:moveTo>
                  <a:lnTo>
                    <a:pt x="0" y="0"/>
                  </a:lnTo>
                </a:path>
              </a:pathLst>
            </a:custGeom>
            <a:ln w="6350" cap="flat">
              <a:gradFill>
                <a:gsLst>
                  <a:gs pos="0">
                    <a:schemeClr val="bg1">
                      <a:lumMod val="50000"/>
                      <a:alpha val="0"/>
                    </a:schemeClr>
                  </a:gs>
                  <a:gs pos="100000">
                    <a:schemeClr val="bg1">
                      <a:lumMod val="50000"/>
                      <a:alpha val="10000"/>
                    </a:schemeClr>
                  </a:gs>
                </a:gsLst>
                <a:lin ang="5400000" scaled="1"/>
              </a:gra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OPPOSans R"/>
                <a:ea typeface="OPPOSans R"/>
                <a:cs typeface="+mn-cs"/>
              </a:endParaRPr>
            </a:p>
          </p:txBody>
        </p:sp>
      </p:grpSp>
      <p:sp>
        <p:nvSpPr>
          <p:cNvPr id="110" name="gaoding-3">
            <a:extLst>
              <a:ext uri="{FF2B5EF4-FFF2-40B4-BE49-F238E27FC236}">
                <a16:creationId xmlns:a16="http://schemas.microsoft.com/office/drawing/2014/main" id="{548CA053-DDCB-4B66-9B00-4F3D056D65DB}"/>
              </a:ext>
            </a:extLst>
          </p:cNvPr>
          <p:cNvSpPr/>
          <p:nvPr/>
        </p:nvSpPr>
        <p:spPr>
          <a:xfrm rot="21374557">
            <a:off x="2804018" y="2101202"/>
            <a:ext cx="1510912" cy="1734337"/>
          </a:xfrm>
          <a:custGeom>
            <a:avLst/>
            <a:gdLst>
              <a:gd name="connsiteX0" fmla="*/ 112109 w 1510912"/>
              <a:gd name="connsiteY0" fmla="*/ 0 h 1734337"/>
              <a:gd name="connsiteX1" fmla="*/ 522319 w 1510912"/>
              <a:gd name="connsiteY1" fmla="*/ 366302 h 1734337"/>
              <a:gd name="connsiteX2" fmla="*/ 375634 w 1510912"/>
              <a:gd name="connsiteY2" fmla="*/ 414637 h 1734337"/>
              <a:gd name="connsiteX3" fmla="*/ 376229 w 1510912"/>
              <a:gd name="connsiteY3" fmla="*/ 415675 h 1734337"/>
              <a:gd name="connsiteX4" fmla="*/ 1510912 w 1510912"/>
              <a:gd name="connsiteY4" fmla="*/ 1734337 h 1734337"/>
              <a:gd name="connsiteX5" fmla="*/ 717049 w 1510912"/>
              <a:gd name="connsiteY5" fmla="*/ 1686104 h 1734337"/>
              <a:gd name="connsiteX6" fmla="*/ 171590 w 1510912"/>
              <a:gd name="connsiteY6" fmla="*/ 517930 h 1734337"/>
              <a:gd name="connsiteX7" fmla="*/ 161888 w 1510912"/>
              <a:gd name="connsiteY7" fmla="*/ 485069 h 1734337"/>
              <a:gd name="connsiteX8" fmla="*/ 0 w 1510912"/>
              <a:gd name="connsiteY8" fmla="*/ 538414 h 1734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10912" h="1734337">
                <a:moveTo>
                  <a:pt x="112109" y="0"/>
                </a:moveTo>
                <a:lnTo>
                  <a:pt x="522319" y="366302"/>
                </a:lnTo>
                <a:lnTo>
                  <a:pt x="375634" y="414637"/>
                </a:lnTo>
                <a:lnTo>
                  <a:pt x="376229" y="415675"/>
                </a:lnTo>
                <a:cubicBezTo>
                  <a:pt x="539542" y="695200"/>
                  <a:pt x="937807" y="1307592"/>
                  <a:pt x="1510912" y="1734337"/>
                </a:cubicBezTo>
                <a:lnTo>
                  <a:pt x="717049" y="1686104"/>
                </a:lnTo>
                <a:cubicBezTo>
                  <a:pt x="717049" y="1686104"/>
                  <a:pt x="369634" y="1107374"/>
                  <a:pt x="171590" y="517930"/>
                </a:cubicBezTo>
                <a:lnTo>
                  <a:pt x="161888" y="485069"/>
                </a:lnTo>
                <a:lnTo>
                  <a:pt x="0" y="538414"/>
                </a:lnTo>
                <a:close/>
              </a:path>
            </a:pathLst>
          </a:custGeom>
          <a:solidFill>
            <a:schemeClr val="bg1">
              <a:lumMod val="85000"/>
              <a:alpha val="20000"/>
            </a:schemeClr>
          </a:solidFill>
          <a:ln w="5015" cap="flat">
            <a:noFill/>
            <a:prstDash val="solid"/>
            <a:miter/>
          </a:ln>
        </p:spPr>
        <p:txBody>
          <a:bodyPr lIns="0" tIns="45720" rIns="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OPPOSans R"/>
              <a:ea typeface="OPPOSans R"/>
              <a:cs typeface="+mn-cs"/>
            </a:endParaRPr>
          </a:p>
        </p:txBody>
      </p:sp>
      <p:sp>
        <p:nvSpPr>
          <p:cNvPr id="111" name="gaoding-4">
            <a:extLst>
              <a:ext uri="{FF2B5EF4-FFF2-40B4-BE49-F238E27FC236}">
                <a16:creationId xmlns:a16="http://schemas.microsoft.com/office/drawing/2014/main" id="{53A0A8B4-AAC5-49B3-9CC1-BE6D167FE78B}"/>
              </a:ext>
            </a:extLst>
          </p:cNvPr>
          <p:cNvSpPr/>
          <p:nvPr/>
        </p:nvSpPr>
        <p:spPr>
          <a:xfrm rot="21374557">
            <a:off x="5926992" y="2116052"/>
            <a:ext cx="1510912" cy="1734337"/>
          </a:xfrm>
          <a:custGeom>
            <a:avLst/>
            <a:gdLst>
              <a:gd name="connsiteX0" fmla="*/ 112109 w 1510912"/>
              <a:gd name="connsiteY0" fmla="*/ 0 h 1734337"/>
              <a:gd name="connsiteX1" fmla="*/ 522319 w 1510912"/>
              <a:gd name="connsiteY1" fmla="*/ 366302 h 1734337"/>
              <a:gd name="connsiteX2" fmla="*/ 375634 w 1510912"/>
              <a:gd name="connsiteY2" fmla="*/ 414637 h 1734337"/>
              <a:gd name="connsiteX3" fmla="*/ 376229 w 1510912"/>
              <a:gd name="connsiteY3" fmla="*/ 415675 h 1734337"/>
              <a:gd name="connsiteX4" fmla="*/ 1510912 w 1510912"/>
              <a:gd name="connsiteY4" fmla="*/ 1734337 h 1734337"/>
              <a:gd name="connsiteX5" fmla="*/ 717049 w 1510912"/>
              <a:gd name="connsiteY5" fmla="*/ 1686104 h 1734337"/>
              <a:gd name="connsiteX6" fmla="*/ 171590 w 1510912"/>
              <a:gd name="connsiteY6" fmla="*/ 517930 h 1734337"/>
              <a:gd name="connsiteX7" fmla="*/ 161888 w 1510912"/>
              <a:gd name="connsiteY7" fmla="*/ 485069 h 1734337"/>
              <a:gd name="connsiteX8" fmla="*/ 0 w 1510912"/>
              <a:gd name="connsiteY8" fmla="*/ 538414 h 1734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10912" h="1734337">
                <a:moveTo>
                  <a:pt x="112109" y="0"/>
                </a:moveTo>
                <a:lnTo>
                  <a:pt x="522319" y="366302"/>
                </a:lnTo>
                <a:lnTo>
                  <a:pt x="375634" y="414637"/>
                </a:lnTo>
                <a:lnTo>
                  <a:pt x="376229" y="415675"/>
                </a:lnTo>
                <a:cubicBezTo>
                  <a:pt x="539542" y="695200"/>
                  <a:pt x="937807" y="1307592"/>
                  <a:pt x="1510912" y="1734337"/>
                </a:cubicBezTo>
                <a:lnTo>
                  <a:pt x="717049" y="1686104"/>
                </a:lnTo>
                <a:cubicBezTo>
                  <a:pt x="717049" y="1686104"/>
                  <a:pt x="369634" y="1107374"/>
                  <a:pt x="171590" y="517930"/>
                </a:cubicBezTo>
                <a:lnTo>
                  <a:pt x="161888" y="485069"/>
                </a:lnTo>
                <a:lnTo>
                  <a:pt x="0" y="538414"/>
                </a:lnTo>
                <a:close/>
              </a:path>
            </a:pathLst>
          </a:custGeom>
          <a:solidFill>
            <a:schemeClr val="bg1">
              <a:lumMod val="85000"/>
              <a:alpha val="20000"/>
            </a:schemeClr>
          </a:solidFill>
          <a:ln w="5015" cap="flat">
            <a:noFill/>
            <a:prstDash val="solid"/>
            <a:miter/>
          </a:ln>
        </p:spPr>
        <p:txBody>
          <a:bodyPr lIns="0" tIns="45720" rIns="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OPPOSans R"/>
              <a:ea typeface="OPPOSans R"/>
              <a:cs typeface="+mn-cs"/>
            </a:endParaRPr>
          </a:p>
        </p:txBody>
      </p:sp>
      <p:sp>
        <p:nvSpPr>
          <p:cNvPr id="112" name="gaoding-5">
            <a:extLst>
              <a:ext uri="{FF2B5EF4-FFF2-40B4-BE49-F238E27FC236}">
                <a16:creationId xmlns:a16="http://schemas.microsoft.com/office/drawing/2014/main" id="{095CCEE7-7642-4228-A13A-8D1469D6D5E0}"/>
              </a:ext>
            </a:extLst>
          </p:cNvPr>
          <p:cNvSpPr/>
          <p:nvPr/>
        </p:nvSpPr>
        <p:spPr>
          <a:xfrm rot="21374557">
            <a:off x="9121838" y="2177187"/>
            <a:ext cx="1510912" cy="1734337"/>
          </a:xfrm>
          <a:custGeom>
            <a:avLst/>
            <a:gdLst>
              <a:gd name="connsiteX0" fmla="*/ 112109 w 1510912"/>
              <a:gd name="connsiteY0" fmla="*/ 0 h 1734337"/>
              <a:gd name="connsiteX1" fmla="*/ 522319 w 1510912"/>
              <a:gd name="connsiteY1" fmla="*/ 366302 h 1734337"/>
              <a:gd name="connsiteX2" fmla="*/ 375634 w 1510912"/>
              <a:gd name="connsiteY2" fmla="*/ 414637 h 1734337"/>
              <a:gd name="connsiteX3" fmla="*/ 376229 w 1510912"/>
              <a:gd name="connsiteY3" fmla="*/ 415675 h 1734337"/>
              <a:gd name="connsiteX4" fmla="*/ 1510912 w 1510912"/>
              <a:gd name="connsiteY4" fmla="*/ 1734337 h 1734337"/>
              <a:gd name="connsiteX5" fmla="*/ 717049 w 1510912"/>
              <a:gd name="connsiteY5" fmla="*/ 1686104 h 1734337"/>
              <a:gd name="connsiteX6" fmla="*/ 171590 w 1510912"/>
              <a:gd name="connsiteY6" fmla="*/ 517930 h 1734337"/>
              <a:gd name="connsiteX7" fmla="*/ 161888 w 1510912"/>
              <a:gd name="connsiteY7" fmla="*/ 485069 h 1734337"/>
              <a:gd name="connsiteX8" fmla="*/ 0 w 1510912"/>
              <a:gd name="connsiteY8" fmla="*/ 538414 h 1734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10912" h="1734337">
                <a:moveTo>
                  <a:pt x="112109" y="0"/>
                </a:moveTo>
                <a:lnTo>
                  <a:pt x="522319" y="366302"/>
                </a:lnTo>
                <a:lnTo>
                  <a:pt x="375634" y="414637"/>
                </a:lnTo>
                <a:lnTo>
                  <a:pt x="376229" y="415675"/>
                </a:lnTo>
                <a:cubicBezTo>
                  <a:pt x="539542" y="695200"/>
                  <a:pt x="937807" y="1307592"/>
                  <a:pt x="1510912" y="1734337"/>
                </a:cubicBezTo>
                <a:lnTo>
                  <a:pt x="717049" y="1686104"/>
                </a:lnTo>
                <a:cubicBezTo>
                  <a:pt x="717049" y="1686104"/>
                  <a:pt x="369634" y="1107374"/>
                  <a:pt x="171590" y="517930"/>
                </a:cubicBezTo>
                <a:lnTo>
                  <a:pt x="161888" y="485069"/>
                </a:lnTo>
                <a:lnTo>
                  <a:pt x="0" y="538414"/>
                </a:lnTo>
                <a:close/>
              </a:path>
            </a:pathLst>
          </a:custGeom>
          <a:solidFill>
            <a:schemeClr val="bg1">
              <a:lumMod val="85000"/>
              <a:alpha val="20000"/>
            </a:schemeClr>
          </a:solidFill>
          <a:ln w="5015" cap="flat">
            <a:noFill/>
            <a:prstDash val="solid"/>
            <a:miter/>
          </a:ln>
        </p:spPr>
        <p:txBody>
          <a:bodyPr lIns="0" tIns="45720" rIns="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OPPOSans R"/>
              <a:ea typeface="OPPOSans R"/>
              <a:cs typeface="+mn-cs"/>
            </a:endParaRPr>
          </a:p>
        </p:txBody>
      </p:sp>
      <p:sp>
        <p:nvSpPr>
          <p:cNvPr id="115" name="gaoding-6">
            <a:extLst>
              <a:ext uri="{FF2B5EF4-FFF2-40B4-BE49-F238E27FC236}">
                <a16:creationId xmlns:a16="http://schemas.microsoft.com/office/drawing/2014/main" id="{A0C2F9B0-FBD0-433B-9C4D-96A8EBA21F55}"/>
              </a:ext>
            </a:extLst>
          </p:cNvPr>
          <p:cNvSpPr/>
          <p:nvPr/>
        </p:nvSpPr>
        <p:spPr>
          <a:xfrm rot="225443" flipV="1">
            <a:off x="2804018" y="4140117"/>
            <a:ext cx="1510912" cy="1734337"/>
          </a:xfrm>
          <a:custGeom>
            <a:avLst/>
            <a:gdLst>
              <a:gd name="connsiteX0" fmla="*/ 112109 w 1510912"/>
              <a:gd name="connsiteY0" fmla="*/ 0 h 1734337"/>
              <a:gd name="connsiteX1" fmla="*/ 522319 w 1510912"/>
              <a:gd name="connsiteY1" fmla="*/ 366302 h 1734337"/>
              <a:gd name="connsiteX2" fmla="*/ 375634 w 1510912"/>
              <a:gd name="connsiteY2" fmla="*/ 414637 h 1734337"/>
              <a:gd name="connsiteX3" fmla="*/ 376229 w 1510912"/>
              <a:gd name="connsiteY3" fmla="*/ 415675 h 1734337"/>
              <a:gd name="connsiteX4" fmla="*/ 1510912 w 1510912"/>
              <a:gd name="connsiteY4" fmla="*/ 1734337 h 1734337"/>
              <a:gd name="connsiteX5" fmla="*/ 717049 w 1510912"/>
              <a:gd name="connsiteY5" fmla="*/ 1686104 h 1734337"/>
              <a:gd name="connsiteX6" fmla="*/ 171590 w 1510912"/>
              <a:gd name="connsiteY6" fmla="*/ 517930 h 1734337"/>
              <a:gd name="connsiteX7" fmla="*/ 161888 w 1510912"/>
              <a:gd name="connsiteY7" fmla="*/ 485069 h 1734337"/>
              <a:gd name="connsiteX8" fmla="*/ 0 w 1510912"/>
              <a:gd name="connsiteY8" fmla="*/ 538414 h 1734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10912" h="1734337">
                <a:moveTo>
                  <a:pt x="112109" y="0"/>
                </a:moveTo>
                <a:lnTo>
                  <a:pt x="522319" y="366302"/>
                </a:lnTo>
                <a:lnTo>
                  <a:pt x="375634" y="414637"/>
                </a:lnTo>
                <a:lnTo>
                  <a:pt x="376229" y="415675"/>
                </a:lnTo>
                <a:cubicBezTo>
                  <a:pt x="539542" y="695200"/>
                  <a:pt x="937807" y="1307592"/>
                  <a:pt x="1510912" y="1734337"/>
                </a:cubicBezTo>
                <a:lnTo>
                  <a:pt x="717049" y="1686104"/>
                </a:lnTo>
                <a:cubicBezTo>
                  <a:pt x="717049" y="1686104"/>
                  <a:pt x="369634" y="1107374"/>
                  <a:pt x="171590" y="517930"/>
                </a:cubicBezTo>
                <a:lnTo>
                  <a:pt x="161888" y="485069"/>
                </a:lnTo>
                <a:lnTo>
                  <a:pt x="0" y="538414"/>
                </a:lnTo>
                <a:close/>
              </a:path>
            </a:pathLst>
          </a:custGeom>
          <a:solidFill>
            <a:schemeClr val="bg1">
              <a:lumMod val="85000"/>
              <a:alpha val="20000"/>
            </a:schemeClr>
          </a:solidFill>
          <a:ln w="5015" cap="flat">
            <a:noFill/>
            <a:prstDash val="solid"/>
            <a:miter/>
          </a:ln>
        </p:spPr>
        <p:txBody>
          <a:bodyPr lIns="0" tIns="45720" rIns="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OPPOSans R"/>
              <a:ea typeface="OPPOSans R"/>
              <a:cs typeface="+mn-cs"/>
            </a:endParaRPr>
          </a:p>
        </p:txBody>
      </p:sp>
      <p:sp>
        <p:nvSpPr>
          <p:cNvPr id="116" name="gaoding-7">
            <a:extLst>
              <a:ext uri="{FF2B5EF4-FFF2-40B4-BE49-F238E27FC236}">
                <a16:creationId xmlns:a16="http://schemas.microsoft.com/office/drawing/2014/main" id="{5EFF2B95-3582-4F04-9CBC-54BF238BD2F0}"/>
              </a:ext>
            </a:extLst>
          </p:cNvPr>
          <p:cNvSpPr/>
          <p:nvPr/>
        </p:nvSpPr>
        <p:spPr>
          <a:xfrm rot="225443" flipV="1">
            <a:off x="5926992" y="4125267"/>
            <a:ext cx="1510912" cy="1734337"/>
          </a:xfrm>
          <a:custGeom>
            <a:avLst/>
            <a:gdLst>
              <a:gd name="connsiteX0" fmla="*/ 112109 w 1510912"/>
              <a:gd name="connsiteY0" fmla="*/ 0 h 1734337"/>
              <a:gd name="connsiteX1" fmla="*/ 522319 w 1510912"/>
              <a:gd name="connsiteY1" fmla="*/ 366302 h 1734337"/>
              <a:gd name="connsiteX2" fmla="*/ 375634 w 1510912"/>
              <a:gd name="connsiteY2" fmla="*/ 414637 h 1734337"/>
              <a:gd name="connsiteX3" fmla="*/ 376229 w 1510912"/>
              <a:gd name="connsiteY3" fmla="*/ 415675 h 1734337"/>
              <a:gd name="connsiteX4" fmla="*/ 1510912 w 1510912"/>
              <a:gd name="connsiteY4" fmla="*/ 1734337 h 1734337"/>
              <a:gd name="connsiteX5" fmla="*/ 717049 w 1510912"/>
              <a:gd name="connsiteY5" fmla="*/ 1686104 h 1734337"/>
              <a:gd name="connsiteX6" fmla="*/ 171590 w 1510912"/>
              <a:gd name="connsiteY6" fmla="*/ 517930 h 1734337"/>
              <a:gd name="connsiteX7" fmla="*/ 161888 w 1510912"/>
              <a:gd name="connsiteY7" fmla="*/ 485069 h 1734337"/>
              <a:gd name="connsiteX8" fmla="*/ 0 w 1510912"/>
              <a:gd name="connsiteY8" fmla="*/ 538414 h 1734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10912" h="1734337">
                <a:moveTo>
                  <a:pt x="112109" y="0"/>
                </a:moveTo>
                <a:lnTo>
                  <a:pt x="522319" y="366302"/>
                </a:lnTo>
                <a:lnTo>
                  <a:pt x="375634" y="414637"/>
                </a:lnTo>
                <a:lnTo>
                  <a:pt x="376229" y="415675"/>
                </a:lnTo>
                <a:cubicBezTo>
                  <a:pt x="539542" y="695200"/>
                  <a:pt x="937807" y="1307592"/>
                  <a:pt x="1510912" y="1734337"/>
                </a:cubicBezTo>
                <a:lnTo>
                  <a:pt x="717049" y="1686104"/>
                </a:lnTo>
                <a:cubicBezTo>
                  <a:pt x="717049" y="1686104"/>
                  <a:pt x="369634" y="1107374"/>
                  <a:pt x="171590" y="517930"/>
                </a:cubicBezTo>
                <a:lnTo>
                  <a:pt x="161888" y="485069"/>
                </a:lnTo>
                <a:lnTo>
                  <a:pt x="0" y="538414"/>
                </a:lnTo>
                <a:close/>
              </a:path>
            </a:pathLst>
          </a:custGeom>
          <a:solidFill>
            <a:schemeClr val="bg1">
              <a:lumMod val="85000"/>
              <a:alpha val="20000"/>
            </a:schemeClr>
          </a:solidFill>
          <a:ln w="5015" cap="flat">
            <a:noFill/>
            <a:prstDash val="solid"/>
            <a:miter/>
          </a:ln>
        </p:spPr>
        <p:txBody>
          <a:bodyPr lIns="0" tIns="45720" rIns="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OPPOSans R"/>
              <a:ea typeface="OPPOSans R"/>
              <a:cs typeface="+mn-cs"/>
            </a:endParaRPr>
          </a:p>
        </p:txBody>
      </p:sp>
      <p:sp>
        <p:nvSpPr>
          <p:cNvPr id="117" name="gaoding-8">
            <a:extLst>
              <a:ext uri="{FF2B5EF4-FFF2-40B4-BE49-F238E27FC236}">
                <a16:creationId xmlns:a16="http://schemas.microsoft.com/office/drawing/2014/main" id="{F9DF27D1-3132-4A2E-A807-3100A2C741C3}"/>
              </a:ext>
            </a:extLst>
          </p:cNvPr>
          <p:cNvSpPr/>
          <p:nvPr/>
        </p:nvSpPr>
        <p:spPr>
          <a:xfrm rot="225443" flipV="1">
            <a:off x="9121838" y="4064132"/>
            <a:ext cx="1510912" cy="1734337"/>
          </a:xfrm>
          <a:custGeom>
            <a:avLst/>
            <a:gdLst>
              <a:gd name="connsiteX0" fmla="*/ 112109 w 1510912"/>
              <a:gd name="connsiteY0" fmla="*/ 0 h 1734337"/>
              <a:gd name="connsiteX1" fmla="*/ 522319 w 1510912"/>
              <a:gd name="connsiteY1" fmla="*/ 366302 h 1734337"/>
              <a:gd name="connsiteX2" fmla="*/ 375634 w 1510912"/>
              <a:gd name="connsiteY2" fmla="*/ 414637 h 1734337"/>
              <a:gd name="connsiteX3" fmla="*/ 376229 w 1510912"/>
              <a:gd name="connsiteY3" fmla="*/ 415675 h 1734337"/>
              <a:gd name="connsiteX4" fmla="*/ 1510912 w 1510912"/>
              <a:gd name="connsiteY4" fmla="*/ 1734337 h 1734337"/>
              <a:gd name="connsiteX5" fmla="*/ 717049 w 1510912"/>
              <a:gd name="connsiteY5" fmla="*/ 1686104 h 1734337"/>
              <a:gd name="connsiteX6" fmla="*/ 171590 w 1510912"/>
              <a:gd name="connsiteY6" fmla="*/ 517930 h 1734337"/>
              <a:gd name="connsiteX7" fmla="*/ 161888 w 1510912"/>
              <a:gd name="connsiteY7" fmla="*/ 485069 h 1734337"/>
              <a:gd name="connsiteX8" fmla="*/ 0 w 1510912"/>
              <a:gd name="connsiteY8" fmla="*/ 538414 h 1734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10912" h="1734337">
                <a:moveTo>
                  <a:pt x="112109" y="0"/>
                </a:moveTo>
                <a:lnTo>
                  <a:pt x="522319" y="366302"/>
                </a:lnTo>
                <a:lnTo>
                  <a:pt x="375634" y="414637"/>
                </a:lnTo>
                <a:lnTo>
                  <a:pt x="376229" y="415675"/>
                </a:lnTo>
                <a:cubicBezTo>
                  <a:pt x="539542" y="695200"/>
                  <a:pt x="937807" y="1307592"/>
                  <a:pt x="1510912" y="1734337"/>
                </a:cubicBezTo>
                <a:lnTo>
                  <a:pt x="717049" y="1686104"/>
                </a:lnTo>
                <a:cubicBezTo>
                  <a:pt x="717049" y="1686104"/>
                  <a:pt x="369634" y="1107374"/>
                  <a:pt x="171590" y="517930"/>
                </a:cubicBezTo>
                <a:lnTo>
                  <a:pt x="161888" y="485069"/>
                </a:lnTo>
                <a:lnTo>
                  <a:pt x="0" y="538414"/>
                </a:lnTo>
                <a:close/>
              </a:path>
            </a:pathLst>
          </a:custGeom>
          <a:solidFill>
            <a:schemeClr val="bg1">
              <a:lumMod val="85000"/>
              <a:alpha val="20000"/>
            </a:schemeClr>
          </a:solidFill>
          <a:ln w="5015" cap="flat">
            <a:noFill/>
            <a:prstDash val="solid"/>
            <a:miter/>
          </a:ln>
        </p:spPr>
        <p:txBody>
          <a:bodyPr lIns="0" tIns="45720" rIns="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OPPOSans R"/>
              <a:ea typeface="OPPOSans R"/>
              <a:cs typeface="+mn-cs"/>
            </a:endParaRPr>
          </a:p>
        </p:txBody>
      </p:sp>
      <p:sp>
        <p:nvSpPr>
          <p:cNvPr id="8" name="gaoding-9">
            <a:extLst>
              <a:ext uri="{FF2B5EF4-FFF2-40B4-BE49-F238E27FC236}">
                <a16:creationId xmlns:a16="http://schemas.microsoft.com/office/drawing/2014/main" id="{6D25C12A-F7B3-44A8-A728-9838FCBED62B}"/>
              </a:ext>
            </a:extLst>
          </p:cNvPr>
          <p:cNvSpPr/>
          <p:nvPr/>
        </p:nvSpPr>
        <p:spPr>
          <a:xfrm>
            <a:off x="2677390" y="1741155"/>
            <a:ext cx="1276168" cy="1883362"/>
          </a:xfrm>
          <a:custGeom>
            <a:avLst/>
            <a:gdLst>
              <a:gd name="connsiteX0" fmla="*/ -5467 w 1276168"/>
              <a:gd name="connsiteY0" fmla="*/ 843 h 1883362"/>
              <a:gd name="connsiteX1" fmla="*/ 1270702 w 1276168"/>
              <a:gd name="connsiteY1" fmla="*/ 1884206 h 1883362"/>
            </a:gdLst>
            <a:ahLst/>
            <a:cxnLst>
              <a:cxn ang="0">
                <a:pos x="connsiteX0" y="connsiteY0"/>
              </a:cxn>
              <a:cxn ang="0">
                <a:pos x="connsiteX1" y="connsiteY1"/>
              </a:cxn>
            </a:cxnLst>
            <a:rect l="l" t="t" r="r" b="b"/>
            <a:pathLst>
              <a:path w="1276168" h="1883362">
                <a:moveTo>
                  <a:pt x="-5467" y="843"/>
                </a:moveTo>
                <a:cubicBezTo>
                  <a:pt x="-5467" y="843"/>
                  <a:pt x="344197" y="1037027"/>
                  <a:pt x="1270702" y="1884206"/>
                </a:cubicBezTo>
              </a:path>
            </a:pathLst>
          </a:custGeom>
          <a:noFill/>
          <a:ln w="25400" cap="flat">
            <a:solidFill>
              <a:schemeClr val="accent1"/>
            </a:solidFill>
            <a:prstDash val="dash"/>
            <a:miter/>
            <a:headEnd type="arrow"/>
          </a:ln>
          <a:effectLst>
            <a:outerShdw blurRad="50800" dist="76200" algn="tl" rotWithShape="0">
              <a:schemeClr val="accent1">
                <a:lumMod val="50000"/>
                <a:alpha val="20000"/>
              </a:schemeClr>
            </a:outerShdw>
          </a:effectLst>
        </p:spPr>
        <p:txBody>
          <a:bodyPr lIns="0" tIns="45720" rIns="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OPPOSans R"/>
              <a:ea typeface="OPPOSans R"/>
              <a:cs typeface="+mn-cs"/>
            </a:endParaRPr>
          </a:p>
        </p:txBody>
      </p:sp>
      <p:sp>
        <p:nvSpPr>
          <p:cNvPr id="9" name="gaoding-10">
            <a:extLst>
              <a:ext uri="{FF2B5EF4-FFF2-40B4-BE49-F238E27FC236}">
                <a16:creationId xmlns:a16="http://schemas.microsoft.com/office/drawing/2014/main" id="{DAFDF317-BD3E-4363-96DD-4B796BA5C52C}"/>
              </a:ext>
            </a:extLst>
          </p:cNvPr>
          <p:cNvSpPr/>
          <p:nvPr/>
        </p:nvSpPr>
        <p:spPr>
          <a:xfrm>
            <a:off x="5858769" y="1872437"/>
            <a:ext cx="1276219" cy="1883362"/>
          </a:xfrm>
          <a:custGeom>
            <a:avLst/>
            <a:gdLst>
              <a:gd name="connsiteX0" fmla="*/ -5467 w 1276219"/>
              <a:gd name="connsiteY0" fmla="*/ 843 h 1883362"/>
              <a:gd name="connsiteX1" fmla="*/ 1270752 w 1276219"/>
              <a:gd name="connsiteY1" fmla="*/ 1884206 h 1883362"/>
            </a:gdLst>
            <a:ahLst/>
            <a:cxnLst>
              <a:cxn ang="0">
                <a:pos x="connsiteX0" y="connsiteY0"/>
              </a:cxn>
              <a:cxn ang="0">
                <a:pos x="connsiteX1" y="connsiteY1"/>
              </a:cxn>
            </a:cxnLst>
            <a:rect l="l" t="t" r="r" b="b"/>
            <a:pathLst>
              <a:path w="1276219" h="1883362">
                <a:moveTo>
                  <a:pt x="-5467" y="843"/>
                </a:moveTo>
                <a:cubicBezTo>
                  <a:pt x="-5467" y="843"/>
                  <a:pt x="344197" y="1037027"/>
                  <a:pt x="1270752" y="1884206"/>
                </a:cubicBezTo>
              </a:path>
            </a:pathLst>
          </a:custGeom>
          <a:noFill/>
          <a:ln w="25400" cap="flat">
            <a:solidFill>
              <a:schemeClr val="accent2"/>
            </a:solidFill>
            <a:prstDash val="dash"/>
            <a:miter/>
            <a:headEnd type="arrow"/>
          </a:ln>
          <a:effectLst>
            <a:outerShdw blurRad="50800" dist="76200" dir="2700000" algn="tl" rotWithShape="0">
              <a:prstClr val="black">
                <a:alpha val="20000"/>
              </a:prstClr>
            </a:outerShdw>
          </a:effectLst>
        </p:spPr>
        <p:txBody>
          <a:bodyPr lIns="0" tIns="45720" rIns="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OPPOSans R"/>
              <a:ea typeface="OPPOSans R"/>
              <a:cs typeface="+mn-cs"/>
            </a:endParaRPr>
          </a:p>
        </p:txBody>
      </p:sp>
      <p:sp>
        <p:nvSpPr>
          <p:cNvPr id="10" name="gaoding-11">
            <a:extLst>
              <a:ext uri="{FF2B5EF4-FFF2-40B4-BE49-F238E27FC236}">
                <a16:creationId xmlns:a16="http://schemas.microsoft.com/office/drawing/2014/main" id="{79872C1E-0528-49A9-B57C-A70EAA15140B}"/>
              </a:ext>
            </a:extLst>
          </p:cNvPr>
          <p:cNvSpPr/>
          <p:nvPr/>
        </p:nvSpPr>
        <p:spPr>
          <a:xfrm>
            <a:off x="9075046" y="1949564"/>
            <a:ext cx="1276219" cy="1883362"/>
          </a:xfrm>
          <a:custGeom>
            <a:avLst/>
            <a:gdLst>
              <a:gd name="connsiteX0" fmla="*/ -5467 w 1276219"/>
              <a:gd name="connsiteY0" fmla="*/ 843 h 1883362"/>
              <a:gd name="connsiteX1" fmla="*/ 1270752 w 1276219"/>
              <a:gd name="connsiteY1" fmla="*/ 1884206 h 1883362"/>
            </a:gdLst>
            <a:ahLst/>
            <a:cxnLst>
              <a:cxn ang="0">
                <a:pos x="connsiteX0" y="connsiteY0"/>
              </a:cxn>
              <a:cxn ang="0">
                <a:pos x="connsiteX1" y="connsiteY1"/>
              </a:cxn>
            </a:cxnLst>
            <a:rect l="l" t="t" r="r" b="b"/>
            <a:pathLst>
              <a:path w="1276219" h="1883362">
                <a:moveTo>
                  <a:pt x="-5467" y="843"/>
                </a:moveTo>
                <a:cubicBezTo>
                  <a:pt x="-5467" y="843"/>
                  <a:pt x="344197" y="1037027"/>
                  <a:pt x="1270752" y="1884206"/>
                </a:cubicBezTo>
              </a:path>
            </a:pathLst>
          </a:custGeom>
          <a:noFill/>
          <a:ln w="25400" cap="flat">
            <a:solidFill>
              <a:schemeClr val="accent1"/>
            </a:solidFill>
            <a:prstDash val="dash"/>
            <a:miter/>
            <a:headEnd type="arrow"/>
          </a:ln>
          <a:effectLst>
            <a:outerShdw blurRad="50800" dist="76200" algn="tl" rotWithShape="0">
              <a:schemeClr val="accent1">
                <a:lumMod val="50000"/>
                <a:alpha val="20000"/>
              </a:schemeClr>
            </a:outerShdw>
          </a:effectLst>
        </p:spPr>
        <p:txBody>
          <a:bodyPr lIns="0" tIns="45720" rIns="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lumMod val="75000"/>
                  <a:lumOff val="25000"/>
                </a:srgbClr>
              </a:solidFill>
              <a:effectLst/>
              <a:uLnTx/>
              <a:uFillTx/>
              <a:latin typeface="OPPOSans R"/>
              <a:ea typeface="OPPOSans R"/>
              <a:cs typeface="+mn-cs"/>
            </a:endParaRPr>
          </a:p>
        </p:txBody>
      </p:sp>
      <p:sp>
        <p:nvSpPr>
          <p:cNvPr id="11" name="gaoding-12">
            <a:extLst>
              <a:ext uri="{FF2B5EF4-FFF2-40B4-BE49-F238E27FC236}">
                <a16:creationId xmlns:a16="http://schemas.microsoft.com/office/drawing/2014/main" id="{36AA827D-1099-40ED-8661-691DD5945C21}"/>
              </a:ext>
            </a:extLst>
          </p:cNvPr>
          <p:cNvSpPr/>
          <p:nvPr/>
        </p:nvSpPr>
        <p:spPr>
          <a:xfrm>
            <a:off x="2677390" y="4352338"/>
            <a:ext cx="1276168" cy="1883362"/>
          </a:xfrm>
          <a:custGeom>
            <a:avLst/>
            <a:gdLst>
              <a:gd name="connsiteX0" fmla="*/ -5467 w 1276168"/>
              <a:gd name="connsiteY0" fmla="*/ 1884206 h 1883362"/>
              <a:gd name="connsiteX1" fmla="*/ 1270702 w 1276168"/>
              <a:gd name="connsiteY1" fmla="*/ 843 h 1883362"/>
            </a:gdLst>
            <a:ahLst/>
            <a:cxnLst>
              <a:cxn ang="0">
                <a:pos x="connsiteX0" y="connsiteY0"/>
              </a:cxn>
              <a:cxn ang="0">
                <a:pos x="connsiteX1" y="connsiteY1"/>
              </a:cxn>
            </a:cxnLst>
            <a:rect l="l" t="t" r="r" b="b"/>
            <a:pathLst>
              <a:path w="1276168" h="1883362">
                <a:moveTo>
                  <a:pt x="-5467" y="1884206"/>
                </a:moveTo>
                <a:cubicBezTo>
                  <a:pt x="-5467" y="1884206"/>
                  <a:pt x="344197" y="848022"/>
                  <a:pt x="1270702" y="843"/>
                </a:cubicBezTo>
              </a:path>
            </a:pathLst>
          </a:custGeom>
          <a:noFill/>
          <a:ln w="25400" cap="flat">
            <a:solidFill>
              <a:schemeClr val="accent1"/>
            </a:solidFill>
            <a:prstDash val="dash"/>
            <a:miter/>
            <a:headEnd type="arrow"/>
          </a:ln>
          <a:effectLst>
            <a:outerShdw blurRad="50800" dist="76200" dir="2700000" algn="tl" rotWithShape="0">
              <a:schemeClr val="accent1">
                <a:lumMod val="50000"/>
                <a:alpha val="20000"/>
              </a:schemeClr>
            </a:outerShdw>
          </a:effectLst>
        </p:spPr>
        <p:txBody>
          <a:bodyPr lIns="0" tIns="45720" rIns="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OPPOSans R"/>
              <a:ea typeface="OPPOSans R"/>
              <a:cs typeface="+mn-cs"/>
            </a:endParaRPr>
          </a:p>
        </p:txBody>
      </p:sp>
      <p:sp>
        <p:nvSpPr>
          <p:cNvPr id="12" name="gaoding-13">
            <a:extLst>
              <a:ext uri="{FF2B5EF4-FFF2-40B4-BE49-F238E27FC236}">
                <a16:creationId xmlns:a16="http://schemas.microsoft.com/office/drawing/2014/main" id="{278332CC-94AB-4B4E-A8E0-DC29C88F80D1}"/>
              </a:ext>
            </a:extLst>
          </p:cNvPr>
          <p:cNvSpPr/>
          <p:nvPr/>
        </p:nvSpPr>
        <p:spPr>
          <a:xfrm>
            <a:off x="5858769" y="4221007"/>
            <a:ext cx="1276219" cy="1883362"/>
          </a:xfrm>
          <a:custGeom>
            <a:avLst/>
            <a:gdLst>
              <a:gd name="connsiteX0" fmla="*/ -5467 w 1276219"/>
              <a:gd name="connsiteY0" fmla="*/ 1884206 h 1883362"/>
              <a:gd name="connsiteX1" fmla="*/ 1270752 w 1276219"/>
              <a:gd name="connsiteY1" fmla="*/ 843 h 1883362"/>
            </a:gdLst>
            <a:ahLst/>
            <a:cxnLst>
              <a:cxn ang="0">
                <a:pos x="connsiteX0" y="connsiteY0"/>
              </a:cxn>
              <a:cxn ang="0">
                <a:pos x="connsiteX1" y="connsiteY1"/>
              </a:cxn>
            </a:cxnLst>
            <a:rect l="l" t="t" r="r" b="b"/>
            <a:pathLst>
              <a:path w="1276219" h="1883362">
                <a:moveTo>
                  <a:pt x="-5467" y="1884206"/>
                </a:moveTo>
                <a:cubicBezTo>
                  <a:pt x="-5467" y="1884206"/>
                  <a:pt x="344197" y="848021"/>
                  <a:pt x="1270752" y="843"/>
                </a:cubicBezTo>
              </a:path>
            </a:pathLst>
          </a:custGeom>
          <a:noFill/>
          <a:ln w="25400" cap="flat">
            <a:solidFill>
              <a:schemeClr val="accent2"/>
            </a:solidFill>
            <a:prstDash val="dash"/>
            <a:miter/>
            <a:headEnd type="arrow"/>
          </a:ln>
          <a:effectLst>
            <a:outerShdw blurRad="50800" dist="76200" dir="5400000" algn="tl" rotWithShape="0">
              <a:schemeClr val="accent2">
                <a:lumMod val="50000"/>
                <a:alpha val="20000"/>
              </a:schemeClr>
            </a:outerShdw>
          </a:effectLst>
        </p:spPr>
        <p:txBody>
          <a:bodyPr lIns="0" tIns="45720" rIns="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OPPOSans R"/>
              <a:ea typeface="OPPOSans R"/>
              <a:cs typeface="+mn-cs"/>
            </a:endParaRPr>
          </a:p>
        </p:txBody>
      </p:sp>
      <p:sp>
        <p:nvSpPr>
          <p:cNvPr id="13" name="gaoding-14">
            <a:extLst>
              <a:ext uri="{FF2B5EF4-FFF2-40B4-BE49-F238E27FC236}">
                <a16:creationId xmlns:a16="http://schemas.microsoft.com/office/drawing/2014/main" id="{A7D2CFF9-177E-446B-80A6-14B395C30E82}"/>
              </a:ext>
            </a:extLst>
          </p:cNvPr>
          <p:cNvSpPr/>
          <p:nvPr/>
        </p:nvSpPr>
        <p:spPr>
          <a:xfrm>
            <a:off x="9075046" y="4143929"/>
            <a:ext cx="1276219" cy="1883313"/>
          </a:xfrm>
          <a:custGeom>
            <a:avLst/>
            <a:gdLst>
              <a:gd name="connsiteX0" fmla="*/ -5467 w 1276219"/>
              <a:gd name="connsiteY0" fmla="*/ 1884157 h 1883313"/>
              <a:gd name="connsiteX1" fmla="*/ 1270752 w 1276219"/>
              <a:gd name="connsiteY1" fmla="*/ 843 h 1883313"/>
            </a:gdLst>
            <a:ahLst/>
            <a:cxnLst>
              <a:cxn ang="0">
                <a:pos x="connsiteX0" y="connsiteY0"/>
              </a:cxn>
              <a:cxn ang="0">
                <a:pos x="connsiteX1" y="connsiteY1"/>
              </a:cxn>
            </a:cxnLst>
            <a:rect l="l" t="t" r="r" b="b"/>
            <a:pathLst>
              <a:path w="1276219" h="1883313">
                <a:moveTo>
                  <a:pt x="-5467" y="1884157"/>
                </a:moveTo>
                <a:cubicBezTo>
                  <a:pt x="-5467" y="1884157"/>
                  <a:pt x="344197" y="847973"/>
                  <a:pt x="1270752" y="843"/>
                </a:cubicBezTo>
              </a:path>
            </a:pathLst>
          </a:custGeom>
          <a:noFill/>
          <a:ln w="25400" cap="flat">
            <a:solidFill>
              <a:schemeClr val="accent1"/>
            </a:solidFill>
            <a:prstDash val="dash"/>
            <a:miter/>
            <a:headEnd type="arrow"/>
          </a:ln>
          <a:effectLst>
            <a:outerShdw blurRad="50800" dist="76200" dir="2700000" algn="tl" rotWithShape="0">
              <a:schemeClr val="accent1">
                <a:lumMod val="50000"/>
                <a:alpha val="20000"/>
              </a:schemeClr>
            </a:outerShdw>
          </a:effectLst>
        </p:spPr>
        <p:txBody>
          <a:bodyPr lIns="0" tIns="45720" rIns="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OPPOSans R"/>
              <a:ea typeface="OPPOSans R"/>
              <a:cs typeface="+mn-cs"/>
            </a:endParaRPr>
          </a:p>
        </p:txBody>
      </p:sp>
      <p:sp>
        <p:nvSpPr>
          <p:cNvPr id="72" name="gaoding-15">
            <a:extLst>
              <a:ext uri="{FF2B5EF4-FFF2-40B4-BE49-F238E27FC236}">
                <a16:creationId xmlns:a16="http://schemas.microsoft.com/office/drawing/2014/main" id="{D742A1B3-0729-4581-AEB8-30C64B9CFE3B}"/>
              </a:ext>
            </a:extLst>
          </p:cNvPr>
          <p:cNvSpPr txBox="1"/>
          <p:nvPr/>
        </p:nvSpPr>
        <p:spPr>
          <a:xfrm>
            <a:off x="649949" y="2403305"/>
            <a:ext cx="2075754" cy="832156"/>
          </a:xfrm>
          <a:prstGeom prst="rect">
            <a:avLst/>
          </a:prstGeom>
          <a:noFill/>
          <a:ln>
            <a:noFill/>
          </a:ln>
          <a:effectLst/>
        </p:spPr>
        <p:txBody>
          <a:bodyPr wrap="square" lIns="0" tIns="45720" rIns="0" bIns="45720" anchor="t" anchorCtr="0">
            <a:noAutofit/>
          </a:bodyPr>
          <a:lstStyle/>
          <a:p>
            <a:pPr marL="0" marR="0" lvl="0" indent="0" algn="r" defTabSz="914400" rtl="0" eaLnBrk="1" fontAlgn="auto" latinLnBrk="0" hangingPunct="1">
              <a:lnSpc>
                <a:spcPct val="130000"/>
              </a:lnSpc>
              <a:spcBef>
                <a:spcPts val="0"/>
              </a:spcBef>
              <a:spcAft>
                <a:spcPts val="0"/>
              </a:spcAft>
              <a:buClrTx/>
              <a:buSzPct val="25000"/>
              <a:buFontTx/>
              <a:buNone/>
              <a:tabLst/>
              <a:defRPr/>
            </a:pPr>
            <a:r>
              <a:rPr kumimoji="0" lang="zh-CN" altLang="en-US" sz="1200" b="0" i="0" u="none" strike="noStrike" kern="1200" cap="none" spc="0" normalizeH="0" baseline="0" noProof="0" dirty="0">
                <a:ln>
                  <a:noFill/>
                </a:ln>
                <a:solidFill>
                  <a:srgbClr val="000000">
                    <a:lumMod val="75000"/>
                    <a:lumOff val="25000"/>
                  </a:srgbClr>
                </a:solidFill>
                <a:effectLst/>
                <a:uLnTx/>
                <a:uFillTx/>
                <a:latin typeface="OPPOSans R"/>
                <a:ea typeface="OPPOSans R"/>
                <a:cs typeface="+mn-cs"/>
              </a:rPr>
              <a:t>秋叶</a:t>
            </a:r>
            <a:r>
              <a:rPr kumimoji="0" lang="en-US" altLang="zh-CN" sz="1200" b="0" i="0" u="none" strike="noStrike" kern="1200" cap="none" spc="0" normalizeH="0" baseline="0" noProof="0" dirty="0">
                <a:ln>
                  <a:noFill/>
                </a:ln>
                <a:solidFill>
                  <a:srgbClr val="000000">
                    <a:lumMod val="75000"/>
                    <a:lumOff val="25000"/>
                  </a:srgbClr>
                </a:solidFill>
                <a:effectLst/>
                <a:uLnTx/>
                <a:uFillTx/>
                <a:latin typeface="OPPOSans R"/>
                <a:ea typeface="OPPOSans R"/>
                <a:cs typeface="+mn-cs"/>
              </a:rPr>
              <a:t>PPT</a:t>
            </a:r>
            <a:r>
              <a:rPr kumimoji="0" lang="zh-CN" altLang="en-US" sz="1200" b="0" i="0" u="none" strike="noStrike" kern="1200" cap="none" spc="0" normalizeH="0" baseline="0" noProof="0" dirty="0">
                <a:ln>
                  <a:noFill/>
                </a:ln>
                <a:solidFill>
                  <a:srgbClr val="000000">
                    <a:lumMod val="75000"/>
                    <a:lumOff val="25000"/>
                  </a:srgbClr>
                </a:solidFill>
                <a:effectLst/>
                <a:uLnTx/>
                <a:uFillTx/>
                <a:latin typeface="OPPOSans R"/>
                <a:ea typeface="OPPOSans R"/>
                <a:cs typeface="+mn-cs"/>
              </a:rPr>
              <a:t>拥有千余款模板线上到插件同步上新，覆盖商务、教育、金融等多用途场景</a:t>
            </a:r>
          </a:p>
        </p:txBody>
      </p:sp>
      <p:sp>
        <p:nvSpPr>
          <p:cNvPr id="74" name="gaoding-16">
            <a:extLst>
              <a:ext uri="{FF2B5EF4-FFF2-40B4-BE49-F238E27FC236}">
                <a16:creationId xmlns:a16="http://schemas.microsoft.com/office/drawing/2014/main" id="{BC6555B9-281F-4C8A-B164-C0A94F04D81B}"/>
              </a:ext>
            </a:extLst>
          </p:cNvPr>
          <p:cNvSpPr txBox="1"/>
          <p:nvPr/>
        </p:nvSpPr>
        <p:spPr>
          <a:xfrm>
            <a:off x="3793458" y="2396853"/>
            <a:ext cx="1926304" cy="838608"/>
          </a:xfrm>
          <a:prstGeom prst="rect">
            <a:avLst/>
          </a:prstGeom>
          <a:noFill/>
          <a:ln>
            <a:noFill/>
          </a:ln>
          <a:effectLst/>
        </p:spPr>
        <p:txBody>
          <a:bodyPr wrap="square" lIns="0" tIns="45720" rIns="0" bIns="45720" anchor="t" anchorCtr="0">
            <a:noAutofit/>
          </a:bodyPr>
          <a:lstStyle/>
          <a:p>
            <a:pPr marL="0" marR="0" lvl="0" indent="0" algn="r" defTabSz="914400" rtl="0" eaLnBrk="1" fontAlgn="auto" latinLnBrk="0" hangingPunct="1">
              <a:lnSpc>
                <a:spcPct val="130000"/>
              </a:lnSpc>
              <a:spcBef>
                <a:spcPts val="0"/>
              </a:spcBef>
              <a:spcAft>
                <a:spcPts val="0"/>
              </a:spcAft>
              <a:buClrTx/>
              <a:buSzPct val="25000"/>
              <a:buFontTx/>
              <a:buNone/>
              <a:tabLst/>
              <a:defRPr/>
            </a:pPr>
            <a:r>
              <a:rPr kumimoji="0" lang="zh-CN" altLang="en-US" sz="1200" b="0" i="0" u="none" strike="noStrike" kern="1200" cap="none" spc="0" normalizeH="0" baseline="0" noProof="0" dirty="0">
                <a:ln>
                  <a:noFill/>
                </a:ln>
                <a:solidFill>
                  <a:srgbClr val="000000">
                    <a:lumMod val="75000"/>
                    <a:lumOff val="25000"/>
                  </a:srgbClr>
                </a:solidFill>
                <a:effectLst/>
                <a:uLnTx/>
                <a:uFillTx/>
                <a:latin typeface="OPPOSans R"/>
                <a:ea typeface="OPPOSans R"/>
                <a:cs typeface="+mn-cs"/>
              </a:rPr>
              <a:t>借助秋叶</a:t>
            </a:r>
            <a:r>
              <a:rPr kumimoji="0" lang="en-US" altLang="zh-CN" sz="1200" b="0" i="0" u="none" strike="noStrike" kern="1200" cap="none" spc="0" normalizeH="0" baseline="0" noProof="0" dirty="0">
                <a:ln>
                  <a:noFill/>
                </a:ln>
                <a:solidFill>
                  <a:srgbClr val="000000">
                    <a:lumMod val="75000"/>
                    <a:lumOff val="25000"/>
                  </a:srgbClr>
                </a:solidFill>
                <a:effectLst/>
                <a:uLnTx/>
                <a:uFillTx/>
                <a:latin typeface="OPPOSans R"/>
                <a:ea typeface="OPPOSans R"/>
                <a:cs typeface="+mn-cs"/>
              </a:rPr>
              <a:t>PPT</a:t>
            </a:r>
            <a:r>
              <a:rPr kumimoji="0" lang="zh-CN" altLang="en-US" sz="1200" b="0" i="0" u="none" strike="noStrike" kern="1200" cap="none" spc="0" normalizeH="0" baseline="0" noProof="0" dirty="0">
                <a:ln>
                  <a:noFill/>
                </a:ln>
                <a:solidFill>
                  <a:srgbClr val="000000">
                    <a:lumMod val="75000"/>
                    <a:lumOff val="25000"/>
                  </a:srgbClr>
                </a:solidFill>
                <a:effectLst/>
                <a:uLnTx/>
                <a:uFillTx/>
                <a:latin typeface="OPPOSans R"/>
                <a:ea typeface="OPPOSans R"/>
                <a:cs typeface="+mn-cs"/>
              </a:rPr>
              <a:t>插件，通过添加图片等素材，用强大的视觉表现力打动听众</a:t>
            </a:r>
          </a:p>
        </p:txBody>
      </p:sp>
      <p:sp>
        <p:nvSpPr>
          <p:cNvPr id="76" name="gaoding-17">
            <a:extLst>
              <a:ext uri="{FF2B5EF4-FFF2-40B4-BE49-F238E27FC236}">
                <a16:creationId xmlns:a16="http://schemas.microsoft.com/office/drawing/2014/main" id="{6E2D13A0-7F5D-4152-8D30-FDD677337329}"/>
              </a:ext>
            </a:extLst>
          </p:cNvPr>
          <p:cNvSpPr txBox="1"/>
          <p:nvPr/>
        </p:nvSpPr>
        <p:spPr>
          <a:xfrm>
            <a:off x="6966388" y="2386963"/>
            <a:ext cx="1926304" cy="848498"/>
          </a:xfrm>
          <a:prstGeom prst="rect">
            <a:avLst/>
          </a:prstGeom>
          <a:noFill/>
          <a:ln>
            <a:noFill/>
          </a:ln>
          <a:effectLst/>
        </p:spPr>
        <p:txBody>
          <a:bodyPr wrap="square" lIns="0" tIns="45720" rIns="0" bIns="45720" anchor="t" anchorCtr="0">
            <a:noAutofit/>
          </a:bodyPr>
          <a:lstStyle/>
          <a:p>
            <a:pPr marL="0" marR="0" lvl="0" indent="0" algn="r" defTabSz="914400" rtl="0" eaLnBrk="1" fontAlgn="auto" latinLnBrk="0" hangingPunct="1">
              <a:lnSpc>
                <a:spcPct val="130000"/>
              </a:lnSpc>
              <a:spcBef>
                <a:spcPts val="0"/>
              </a:spcBef>
              <a:spcAft>
                <a:spcPts val="0"/>
              </a:spcAft>
              <a:buClrTx/>
              <a:buSzPct val="25000"/>
              <a:buFontTx/>
              <a:buNone/>
              <a:tabLst/>
              <a:defRPr/>
            </a:pPr>
            <a:r>
              <a:rPr kumimoji="0" lang="zh-CN" altLang="en-US" sz="1200" b="0" i="0" u="none" strike="noStrike" kern="1200" cap="none" spc="0" normalizeH="0" baseline="0" noProof="0" dirty="0">
                <a:ln>
                  <a:noFill/>
                </a:ln>
                <a:solidFill>
                  <a:srgbClr val="000000">
                    <a:lumMod val="75000"/>
                    <a:lumOff val="25000"/>
                  </a:srgbClr>
                </a:solidFill>
                <a:effectLst/>
                <a:uLnTx/>
                <a:uFillTx/>
                <a:latin typeface="OPPOSans R"/>
                <a:ea typeface="OPPOSans R"/>
                <a:cs typeface="+mn-cs"/>
              </a:rPr>
              <a:t>秋叶</a:t>
            </a:r>
            <a:r>
              <a:rPr kumimoji="0" lang="en-US" altLang="zh-CN" sz="1200" b="0" i="0" u="none" strike="noStrike" kern="1200" cap="none" spc="0" normalizeH="0" baseline="0" noProof="0" dirty="0">
                <a:ln>
                  <a:noFill/>
                </a:ln>
                <a:solidFill>
                  <a:srgbClr val="000000">
                    <a:lumMod val="75000"/>
                    <a:lumOff val="25000"/>
                  </a:srgbClr>
                </a:solidFill>
                <a:effectLst/>
                <a:uLnTx/>
                <a:uFillTx/>
                <a:latin typeface="OPPOSans R"/>
                <a:ea typeface="OPPOSans R"/>
                <a:cs typeface="+mn-cs"/>
              </a:rPr>
              <a:t>PPT</a:t>
            </a:r>
            <a:r>
              <a:rPr kumimoji="0" lang="zh-CN" altLang="en-US" sz="1200" b="0" i="0" u="none" strike="noStrike" kern="1200" cap="none" spc="0" normalizeH="0" baseline="0" noProof="0" dirty="0">
                <a:ln>
                  <a:noFill/>
                </a:ln>
                <a:solidFill>
                  <a:srgbClr val="000000">
                    <a:lumMod val="75000"/>
                    <a:lumOff val="25000"/>
                  </a:srgbClr>
                </a:solidFill>
                <a:effectLst/>
                <a:uLnTx/>
                <a:uFillTx/>
                <a:latin typeface="OPPOSans R"/>
                <a:ea typeface="OPPOSans R"/>
                <a:cs typeface="+mn-cs"/>
              </a:rPr>
              <a:t>，科技为创作赋能无需重复劳动，更多时间留给演示创作</a:t>
            </a:r>
            <a:endParaRPr kumimoji="0" lang="en-US" altLang="zh-CN" sz="1200" b="0" i="0" u="none" strike="noStrike" kern="1200" cap="none" spc="0" normalizeH="0" baseline="0" noProof="0" dirty="0">
              <a:ln>
                <a:noFill/>
              </a:ln>
              <a:solidFill>
                <a:srgbClr val="000000">
                  <a:lumMod val="75000"/>
                  <a:lumOff val="25000"/>
                </a:srgbClr>
              </a:solidFill>
              <a:effectLst/>
              <a:uLnTx/>
              <a:uFillTx/>
              <a:latin typeface="OPPOSans R"/>
              <a:ea typeface="OPPOSans R"/>
              <a:cs typeface="+mn-cs"/>
            </a:endParaRPr>
          </a:p>
        </p:txBody>
      </p:sp>
      <p:sp>
        <p:nvSpPr>
          <p:cNvPr id="80" name="gaoding-18">
            <a:extLst>
              <a:ext uri="{FF2B5EF4-FFF2-40B4-BE49-F238E27FC236}">
                <a16:creationId xmlns:a16="http://schemas.microsoft.com/office/drawing/2014/main" id="{B09DF25A-81DB-4C68-AEB9-70EDB07E52CD}"/>
              </a:ext>
            </a:extLst>
          </p:cNvPr>
          <p:cNvSpPr txBox="1"/>
          <p:nvPr/>
        </p:nvSpPr>
        <p:spPr>
          <a:xfrm>
            <a:off x="765956" y="5169166"/>
            <a:ext cx="1959747" cy="858076"/>
          </a:xfrm>
          <a:prstGeom prst="rect">
            <a:avLst/>
          </a:prstGeom>
          <a:noFill/>
          <a:ln>
            <a:noFill/>
          </a:ln>
          <a:effectLst/>
        </p:spPr>
        <p:txBody>
          <a:bodyPr wrap="square" lIns="0" tIns="45720" rIns="0" bIns="45720" anchor="t" anchorCtr="0">
            <a:noAutofit/>
          </a:bodyPr>
          <a:lstStyle/>
          <a:p>
            <a:pPr marL="0" marR="0" lvl="0" indent="0" algn="r" defTabSz="914400" rtl="0" eaLnBrk="1" fontAlgn="auto" latinLnBrk="0" hangingPunct="1">
              <a:lnSpc>
                <a:spcPct val="130000"/>
              </a:lnSpc>
              <a:spcBef>
                <a:spcPts val="0"/>
              </a:spcBef>
              <a:spcAft>
                <a:spcPts val="0"/>
              </a:spcAft>
              <a:buClrTx/>
              <a:buSzPct val="25000"/>
              <a:buFontTx/>
              <a:buNone/>
              <a:tabLst/>
              <a:defRPr/>
            </a:pPr>
            <a:r>
              <a:rPr kumimoji="0" lang="zh-CN" altLang="en-US" sz="1200" b="0" i="0" u="none" strike="noStrike" kern="1200" cap="none" spc="0" normalizeH="0" baseline="0" noProof="0" dirty="0">
                <a:ln>
                  <a:noFill/>
                </a:ln>
                <a:solidFill>
                  <a:srgbClr val="000000">
                    <a:lumMod val="75000"/>
                    <a:lumOff val="25000"/>
                  </a:srgbClr>
                </a:solidFill>
                <a:effectLst/>
                <a:uLnTx/>
                <a:uFillTx/>
                <a:latin typeface="OPPOSans R"/>
                <a:ea typeface="OPPOSans R"/>
                <a:cs typeface="+mn-cs"/>
              </a:rPr>
              <a:t>秋叶</a:t>
            </a:r>
            <a:r>
              <a:rPr kumimoji="0" lang="en-US" altLang="zh-CN" sz="1200" b="0" i="0" u="none" strike="noStrike" kern="1200" cap="none" spc="0" normalizeH="0" baseline="0" noProof="0" dirty="0">
                <a:ln>
                  <a:noFill/>
                </a:ln>
                <a:solidFill>
                  <a:srgbClr val="000000">
                    <a:lumMod val="75000"/>
                    <a:lumOff val="25000"/>
                  </a:srgbClr>
                </a:solidFill>
                <a:effectLst/>
                <a:uLnTx/>
                <a:uFillTx/>
                <a:latin typeface="OPPOSans R"/>
                <a:ea typeface="OPPOSans R"/>
                <a:cs typeface="+mn-cs"/>
              </a:rPr>
              <a:t>PPT</a:t>
            </a:r>
            <a:r>
              <a:rPr kumimoji="0" lang="zh-CN" altLang="en-US" sz="1200" b="0" i="0" u="none" strike="noStrike" kern="1200" cap="none" spc="0" normalizeH="0" baseline="0" noProof="0" dirty="0">
                <a:ln>
                  <a:noFill/>
                </a:ln>
                <a:solidFill>
                  <a:srgbClr val="000000">
                    <a:lumMod val="75000"/>
                    <a:lumOff val="25000"/>
                  </a:srgbClr>
                </a:solidFill>
                <a:effectLst/>
                <a:uLnTx/>
                <a:uFillTx/>
                <a:latin typeface="OPPOSans R"/>
                <a:ea typeface="OPPOSans R"/>
                <a:cs typeface="+mn-cs"/>
              </a:rPr>
              <a:t>丰富的信息图表覆盖并列</a:t>
            </a:r>
            <a:r>
              <a:rPr kumimoji="0" lang="en-US" altLang="zh-CN" sz="1200" b="0" i="0" u="none" strike="noStrike" kern="1200" cap="none" spc="0" normalizeH="0" baseline="0" noProof="0" dirty="0">
                <a:ln>
                  <a:noFill/>
                </a:ln>
                <a:solidFill>
                  <a:srgbClr val="000000">
                    <a:lumMod val="75000"/>
                    <a:lumOff val="25000"/>
                  </a:srgbClr>
                </a:solidFill>
                <a:effectLst/>
                <a:uLnTx/>
                <a:uFillTx/>
                <a:latin typeface="OPPOSans R"/>
                <a:ea typeface="OPPOSans R"/>
                <a:cs typeface="+mn-cs"/>
              </a:rPr>
              <a:t>/</a:t>
            </a:r>
            <a:r>
              <a:rPr kumimoji="0" lang="zh-CN" altLang="en-US" sz="1200" b="0" i="0" u="none" strike="noStrike" kern="1200" cap="none" spc="0" normalizeH="0" baseline="0" noProof="0" dirty="0">
                <a:ln>
                  <a:noFill/>
                </a:ln>
                <a:solidFill>
                  <a:srgbClr val="000000">
                    <a:lumMod val="75000"/>
                    <a:lumOff val="25000"/>
                  </a:srgbClr>
                </a:solidFill>
                <a:effectLst/>
                <a:uLnTx/>
                <a:uFillTx/>
                <a:latin typeface="OPPOSans R"/>
                <a:ea typeface="OPPOSans R"/>
                <a:cs typeface="+mn-cs"/>
              </a:rPr>
              <a:t>流程</a:t>
            </a:r>
            <a:r>
              <a:rPr kumimoji="0" lang="en-US" altLang="zh-CN" sz="1200" b="0" i="0" u="none" strike="noStrike" kern="1200" cap="none" spc="0" normalizeH="0" baseline="0" noProof="0" dirty="0">
                <a:ln>
                  <a:noFill/>
                </a:ln>
                <a:solidFill>
                  <a:srgbClr val="000000">
                    <a:lumMod val="75000"/>
                    <a:lumOff val="25000"/>
                  </a:srgbClr>
                </a:solidFill>
                <a:effectLst/>
                <a:uLnTx/>
                <a:uFillTx/>
                <a:latin typeface="OPPOSans R"/>
                <a:ea typeface="OPPOSans R"/>
                <a:cs typeface="+mn-cs"/>
              </a:rPr>
              <a:t>/</a:t>
            </a:r>
            <a:r>
              <a:rPr kumimoji="0" lang="zh-CN" altLang="en-US" sz="1200" b="0" i="0" u="none" strike="noStrike" kern="1200" cap="none" spc="0" normalizeH="0" baseline="0" noProof="0" dirty="0">
                <a:ln>
                  <a:noFill/>
                </a:ln>
                <a:solidFill>
                  <a:srgbClr val="000000">
                    <a:lumMod val="75000"/>
                    <a:lumOff val="25000"/>
                  </a:srgbClr>
                </a:solidFill>
                <a:effectLst/>
                <a:uLnTx/>
                <a:uFillTx/>
                <a:latin typeface="OPPOSans R"/>
                <a:ea typeface="OPPOSans R"/>
                <a:cs typeface="+mn-cs"/>
              </a:rPr>
              <a:t>层级等多种逻辑关系</a:t>
            </a:r>
          </a:p>
        </p:txBody>
      </p:sp>
      <p:sp>
        <p:nvSpPr>
          <p:cNvPr id="81" name="gaoding-19">
            <a:extLst>
              <a:ext uri="{FF2B5EF4-FFF2-40B4-BE49-F238E27FC236}">
                <a16:creationId xmlns:a16="http://schemas.microsoft.com/office/drawing/2014/main" id="{09171889-0984-481F-AEB0-87B3D380D449}"/>
              </a:ext>
            </a:extLst>
          </p:cNvPr>
          <p:cNvSpPr txBox="1"/>
          <p:nvPr/>
        </p:nvSpPr>
        <p:spPr>
          <a:xfrm>
            <a:off x="3793458" y="5188634"/>
            <a:ext cx="1926304" cy="838608"/>
          </a:xfrm>
          <a:prstGeom prst="rect">
            <a:avLst/>
          </a:prstGeom>
          <a:noFill/>
          <a:ln>
            <a:noFill/>
          </a:ln>
          <a:effectLst/>
        </p:spPr>
        <p:txBody>
          <a:bodyPr wrap="square" lIns="0" tIns="45720" rIns="0" bIns="45720" anchor="t" anchorCtr="0">
            <a:noAutofit/>
          </a:bodyPr>
          <a:lstStyle/>
          <a:p>
            <a:pPr marL="0" marR="0" lvl="0" indent="0" algn="r" defTabSz="914400" rtl="0" eaLnBrk="1" fontAlgn="auto" latinLnBrk="0" hangingPunct="1">
              <a:lnSpc>
                <a:spcPct val="130000"/>
              </a:lnSpc>
              <a:spcBef>
                <a:spcPts val="0"/>
              </a:spcBef>
              <a:spcAft>
                <a:spcPts val="0"/>
              </a:spcAft>
              <a:buClrTx/>
              <a:buSzPct val="25000"/>
              <a:buFontTx/>
              <a:buNone/>
              <a:tabLst/>
              <a:defRPr/>
            </a:pPr>
            <a:r>
              <a:rPr kumimoji="0" lang="zh-CN" altLang="en-US" sz="1200" b="0" i="0" u="none" strike="noStrike" kern="1200" cap="none" spc="0" normalizeH="0" baseline="0" noProof="0" dirty="0">
                <a:ln>
                  <a:noFill/>
                </a:ln>
                <a:solidFill>
                  <a:srgbClr val="000000">
                    <a:lumMod val="75000"/>
                    <a:lumOff val="25000"/>
                  </a:srgbClr>
                </a:solidFill>
                <a:effectLst/>
                <a:uLnTx/>
                <a:uFillTx/>
                <a:latin typeface="OPPOSans R"/>
                <a:ea typeface="OPPOSans R"/>
                <a:cs typeface="+mn-cs"/>
              </a:rPr>
              <a:t>不论你是销售、策划、学生、</a:t>
            </a:r>
            <a:r>
              <a:rPr kumimoji="0" lang="en-US" altLang="zh-CN" sz="1200" b="0" i="0" u="none" strike="noStrike" kern="1200" cap="none" spc="0" normalizeH="0" baseline="0" noProof="0" dirty="0">
                <a:ln>
                  <a:noFill/>
                </a:ln>
                <a:solidFill>
                  <a:srgbClr val="000000">
                    <a:lumMod val="75000"/>
                    <a:lumOff val="25000"/>
                  </a:srgbClr>
                </a:solidFill>
                <a:effectLst/>
                <a:uLnTx/>
                <a:uFillTx/>
                <a:latin typeface="OPPOSans R"/>
                <a:ea typeface="OPPOSans R"/>
                <a:cs typeface="+mn-cs"/>
              </a:rPr>
              <a:t>PPT</a:t>
            </a:r>
            <a:r>
              <a:rPr kumimoji="0" lang="zh-CN" altLang="en-US" sz="1200" b="0" i="0" u="none" strike="noStrike" kern="1200" cap="none" spc="0" normalizeH="0" baseline="0" noProof="0" dirty="0">
                <a:ln>
                  <a:noFill/>
                </a:ln>
                <a:solidFill>
                  <a:srgbClr val="000000">
                    <a:lumMod val="75000"/>
                    <a:lumOff val="25000"/>
                  </a:srgbClr>
                </a:solidFill>
                <a:effectLst/>
                <a:uLnTx/>
                <a:uFillTx/>
                <a:latin typeface="OPPOSans R"/>
                <a:ea typeface="OPPOSans R"/>
                <a:cs typeface="+mn-cs"/>
              </a:rPr>
              <a:t>爱好者，都能在秋叶</a:t>
            </a:r>
            <a:r>
              <a:rPr kumimoji="0" lang="en-US" altLang="zh-CN" sz="1200" b="0" i="0" u="none" strike="noStrike" kern="1200" cap="none" spc="0" normalizeH="0" baseline="0" noProof="0" dirty="0">
                <a:ln>
                  <a:noFill/>
                </a:ln>
                <a:solidFill>
                  <a:srgbClr val="000000">
                    <a:lumMod val="75000"/>
                    <a:lumOff val="25000"/>
                  </a:srgbClr>
                </a:solidFill>
                <a:effectLst/>
                <a:uLnTx/>
                <a:uFillTx/>
                <a:latin typeface="OPPOSans R"/>
                <a:ea typeface="OPPOSans R"/>
                <a:cs typeface="+mn-cs"/>
              </a:rPr>
              <a:t>PPT</a:t>
            </a:r>
            <a:r>
              <a:rPr kumimoji="0" lang="zh-CN" altLang="en-US" sz="1200" b="0" i="0" u="none" strike="noStrike" kern="1200" cap="none" spc="0" normalizeH="0" baseline="0" noProof="0" dirty="0">
                <a:ln>
                  <a:noFill/>
                </a:ln>
                <a:solidFill>
                  <a:srgbClr val="000000">
                    <a:lumMod val="75000"/>
                    <a:lumOff val="25000"/>
                  </a:srgbClr>
                </a:solidFill>
                <a:effectLst/>
                <a:uLnTx/>
                <a:uFillTx/>
                <a:latin typeface="OPPOSans R"/>
                <a:ea typeface="OPPOSans R"/>
                <a:cs typeface="+mn-cs"/>
              </a:rPr>
              <a:t>找到适合的模板</a:t>
            </a:r>
          </a:p>
        </p:txBody>
      </p:sp>
      <p:sp>
        <p:nvSpPr>
          <p:cNvPr id="82" name="gaoding-20">
            <a:extLst>
              <a:ext uri="{FF2B5EF4-FFF2-40B4-BE49-F238E27FC236}">
                <a16:creationId xmlns:a16="http://schemas.microsoft.com/office/drawing/2014/main" id="{D921F0DA-4D58-409B-9308-5AE9A575D9C8}"/>
              </a:ext>
            </a:extLst>
          </p:cNvPr>
          <p:cNvSpPr txBox="1"/>
          <p:nvPr/>
        </p:nvSpPr>
        <p:spPr>
          <a:xfrm>
            <a:off x="6966388" y="5178744"/>
            <a:ext cx="1926304" cy="848498"/>
          </a:xfrm>
          <a:prstGeom prst="rect">
            <a:avLst/>
          </a:prstGeom>
          <a:noFill/>
          <a:ln>
            <a:noFill/>
          </a:ln>
          <a:effectLst/>
        </p:spPr>
        <p:txBody>
          <a:bodyPr wrap="square" lIns="0" tIns="45720" rIns="0" bIns="45720" anchor="t" anchorCtr="0">
            <a:noAutofit/>
          </a:bodyPr>
          <a:lstStyle/>
          <a:p>
            <a:pPr marL="0" marR="0" lvl="0" indent="0" algn="r" defTabSz="914400" rtl="0" eaLnBrk="1" fontAlgn="auto" latinLnBrk="0" hangingPunct="1">
              <a:lnSpc>
                <a:spcPct val="130000"/>
              </a:lnSpc>
              <a:spcBef>
                <a:spcPts val="0"/>
              </a:spcBef>
              <a:spcAft>
                <a:spcPts val="0"/>
              </a:spcAft>
              <a:buClrTx/>
              <a:buSzPct val="25000"/>
              <a:buFontTx/>
              <a:buNone/>
              <a:tabLst/>
              <a:defRPr/>
            </a:pPr>
            <a:r>
              <a:rPr kumimoji="0" lang="zh-CN" altLang="en-US" sz="1200" b="0" i="0" u="none" strike="noStrike" kern="1200" cap="none" spc="0" normalizeH="0" baseline="0" noProof="0" dirty="0">
                <a:ln>
                  <a:noFill/>
                </a:ln>
                <a:solidFill>
                  <a:srgbClr val="000000">
                    <a:lumMod val="75000"/>
                    <a:lumOff val="25000"/>
                  </a:srgbClr>
                </a:solidFill>
                <a:effectLst/>
                <a:uLnTx/>
                <a:uFillTx/>
                <a:latin typeface="OPPOSans R"/>
                <a:ea typeface="OPPOSans R"/>
                <a:cs typeface="+mn-cs"/>
              </a:rPr>
              <a:t>聚焦商业设计的多场景在线设计平台，我们打破了软硬件间的技术限制</a:t>
            </a:r>
            <a:endParaRPr kumimoji="0" lang="en-US" altLang="zh-CN" sz="1200" b="0" i="0" u="none" strike="noStrike" kern="1200" cap="none" spc="0" normalizeH="0" baseline="0" noProof="0" dirty="0">
              <a:ln>
                <a:noFill/>
              </a:ln>
              <a:solidFill>
                <a:srgbClr val="000000">
                  <a:lumMod val="75000"/>
                  <a:lumOff val="25000"/>
                </a:srgbClr>
              </a:solidFill>
              <a:effectLst/>
              <a:uLnTx/>
              <a:uFillTx/>
              <a:latin typeface="OPPOSans R"/>
              <a:ea typeface="OPPOSans R"/>
              <a:cs typeface="+mn-cs"/>
            </a:endParaRPr>
          </a:p>
        </p:txBody>
      </p:sp>
      <p:sp>
        <p:nvSpPr>
          <p:cNvPr id="83" name="gaoding-21-1">
            <a:extLst>
              <a:ext uri="{FF2B5EF4-FFF2-40B4-BE49-F238E27FC236}">
                <a16:creationId xmlns:a16="http://schemas.microsoft.com/office/drawing/2014/main" id="{D6DA68EE-455E-47E5-A84F-FDB3534DCFF2}"/>
              </a:ext>
            </a:extLst>
          </p:cNvPr>
          <p:cNvSpPr/>
          <p:nvPr/>
        </p:nvSpPr>
        <p:spPr>
          <a:xfrm>
            <a:off x="1960211" y="2068409"/>
            <a:ext cx="694032" cy="287204"/>
          </a:xfrm>
          <a:prstGeom prst="roundRect">
            <a:avLst/>
          </a:prstGeom>
          <a:solidFill>
            <a:schemeClr val="accent1"/>
          </a:solidFill>
          <a:ln>
            <a:noFill/>
          </a:ln>
          <a:effectLst>
            <a:outerShdw blurRad="50800" dist="76200" dir="2700000" algn="tl" rotWithShape="0">
              <a:schemeClr val="accent1">
                <a:lumMod val="50000"/>
                <a:alpha val="1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0" tIns="45720" rIns="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srgbClr val="FFFFFF"/>
              </a:solidFill>
              <a:effectLst/>
              <a:uLnTx/>
              <a:uFillTx/>
              <a:latin typeface="OPPOSans R"/>
              <a:ea typeface="OPPOSans R"/>
              <a:cs typeface="+mn-cs"/>
            </a:endParaRPr>
          </a:p>
        </p:txBody>
      </p:sp>
      <p:sp>
        <p:nvSpPr>
          <p:cNvPr id="71" name="gaoding-21-2">
            <a:extLst>
              <a:ext uri="{FF2B5EF4-FFF2-40B4-BE49-F238E27FC236}">
                <a16:creationId xmlns:a16="http://schemas.microsoft.com/office/drawing/2014/main" id="{9FC4D091-A05C-433C-BB3B-3CE4D7EA5E7F}"/>
              </a:ext>
            </a:extLst>
          </p:cNvPr>
          <p:cNvSpPr txBox="1"/>
          <p:nvPr/>
        </p:nvSpPr>
        <p:spPr>
          <a:xfrm>
            <a:off x="1991930" y="2042734"/>
            <a:ext cx="630594" cy="338554"/>
          </a:xfrm>
          <a:prstGeom prst="rect">
            <a:avLst/>
          </a:prstGeom>
          <a:noFill/>
        </p:spPr>
        <p:txBody>
          <a:bodyPr wrap="square" lIns="0" tIns="45720" rIns="0" b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600" b="1" i="0" u="none" strike="noStrike" kern="1200" cap="none" spc="0" normalizeH="0" baseline="0" noProof="0" dirty="0">
                <a:ln>
                  <a:noFill/>
                </a:ln>
                <a:solidFill>
                  <a:srgbClr val="FFFFFF"/>
                </a:solidFill>
                <a:effectLst/>
                <a:uLnTx/>
                <a:uFillTx/>
                <a:latin typeface="OPPOSans B"/>
                <a:ea typeface="OPPOSans B"/>
                <a:cs typeface="OPPOSans R"/>
                <a:sym typeface="+mn-lt"/>
              </a:rPr>
              <a:t>轻松</a:t>
            </a:r>
          </a:p>
        </p:txBody>
      </p:sp>
      <p:sp>
        <p:nvSpPr>
          <p:cNvPr id="85" name="gaoding-22">
            <a:extLst>
              <a:ext uri="{FF2B5EF4-FFF2-40B4-BE49-F238E27FC236}">
                <a16:creationId xmlns:a16="http://schemas.microsoft.com/office/drawing/2014/main" id="{BE71210E-CCDB-4C02-8A7C-3C96643A5725}"/>
              </a:ext>
            </a:extLst>
          </p:cNvPr>
          <p:cNvSpPr/>
          <p:nvPr/>
        </p:nvSpPr>
        <p:spPr>
          <a:xfrm>
            <a:off x="4971649" y="2068409"/>
            <a:ext cx="694032" cy="287204"/>
          </a:xfrm>
          <a:prstGeom prst="roundRect">
            <a:avLst/>
          </a:prstGeom>
          <a:solidFill>
            <a:schemeClr val="accent2"/>
          </a:solidFill>
          <a:ln>
            <a:noFill/>
          </a:ln>
          <a:effectLst>
            <a:outerShdw blurRad="50800" dist="76200" dir="2700000" algn="tl" rotWithShape="0">
              <a:schemeClr val="accent2">
                <a:lumMod val="50000"/>
                <a:alpha val="1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0" tIns="45720" rIns="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srgbClr val="FFFFFF"/>
              </a:solidFill>
              <a:effectLst/>
              <a:uLnTx/>
              <a:uFillTx/>
              <a:latin typeface="OPPOSans R"/>
              <a:ea typeface="OPPOSans R"/>
              <a:cs typeface="+mn-cs"/>
            </a:endParaRPr>
          </a:p>
        </p:txBody>
      </p:sp>
      <p:sp>
        <p:nvSpPr>
          <p:cNvPr id="73" name="gaoding-23">
            <a:extLst>
              <a:ext uri="{FF2B5EF4-FFF2-40B4-BE49-F238E27FC236}">
                <a16:creationId xmlns:a16="http://schemas.microsoft.com/office/drawing/2014/main" id="{54CE21BC-749D-40F3-BE0D-07C69DE5D4BE}"/>
              </a:ext>
            </a:extLst>
          </p:cNvPr>
          <p:cNvSpPr txBox="1"/>
          <p:nvPr/>
        </p:nvSpPr>
        <p:spPr>
          <a:xfrm>
            <a:off x="5011456" y="2042734"/>
            <a:ext cx="614419" cy="338554"/>
          </a:xfrm>
          <a:prstGeom prst="rect">
            <a:avLst/>
          </a:prstGeom>
          <a:noFill/>
        </p:spPr>
        <p:txBody>
          <a:bodyPr wrap="square" lIns="0" tIns="45720" rIns="0" b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600" b="1" i="0" u="none" strike="noStrike" kern="1200" cap="none" spc="0" normalizeH="0" baseline="0" noProof="0" dirty="0">
                <a:ln>
                  <a:noFill/>
                </a:ln>
                <a:solidFill>
                  <a:srgbClr val="FFFFFF"/>
                </a:solidFill>
                <a:effectLst/>
                <a:uLnTx/>
                <a:uFillTx/>
                <a:latin typeface="OPPOSans B"/>
                <a:ea typeface="OPPOSans B"/>
                <a:cs typeface="OPPOSans R"/>
                <a:sym typeface="+mn-lt"/>
              </a:rPr>
              <a:t>便捷</a:t>
            </a:r>
          </a:p>
        </p:txBody>
      </p:sp>
      <p:sp>
        <p:nvSpPr>
          <p:cNvPr id="86" name="gaoding-24-1">
            <a:extLst>
              <a:ext uri="{FF2B5EF4-FFF2-40B4-BE49-F238E27FC236}">
                <a16:creationId xmlns:a16="http://schemas.microsoft.com/office/drawing/2014/main" id="{D700C4C2-1A0E-4FD0-85F2-88F9B96FEF3D}"/>
              </a:ext>
            </a:extLst>
          </p:cNvPr>
          <p:cNvSpPr/>
          <p:nvPr/>
        </p:nvSpPr>
        <p:spPr>
          <a:xfrm>
            <a:off x="8132798" y="2068409"/>
            <a:ext cx="694032" cy="287204"/>
          </a:xfrm>
          <a:prstGeom prst="roundRect">
            <a:avLst/>
          </a:prstGeom>
          <a:solidFill>
            <a:schemeClr val="accent1"/>
          </a:solidFill>
          <a:ln>
            <a:noFill/>
          </a:ln>
          <a:effectLst>
            <a:outerShdw blurRad="50800" dist="76200" dir="2700000" algn="tl" rotWithShape="0">
              <a:schemeClr val="accent1">
                <a:lumMod val="50000"/>
                <a:alpha val="1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0" tIns="45720" rIns="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srgbClr val="FFFFFF"/>
              </a:solidFill>
              <a:effectLst/>
              <a:uLnTx/>
              <a:uFillTx/>
              <a:latin typeface="OPPOSans R"/>
              <a:ea typeface="OPPOSans R"/>
              <a:cs typeface="+mn-cs"/>
            </a:endParaRPr>
          </a:p>
        </p:txBody>
      </p:sp>
      <p:sp>
        <p:nvSpPr>
          <p:cNvPr id="75" name="gaoding-24-2">
            <a:extLst>
              <a:ext uri="{FF2B5EF4-FFF2-40B4-BE49-F238E27FC236}">
                <a16:creationId xmlns:a16="http://schemas.microsoft.com/office/drawing/2014/main" id="{00B6AB69-47F0-4E79-B801-20F4806844F5}"/>
              </a:ext>
            </a:extLst>
          </p:cNvPr>
          <p:cNvSpPr txBox="1"/>
          <p:nvPr/>
        </p:nvSpPr>
        <p:spPr>
          <a:xfrm>
            <a:off x="8172605" y="2042734"/>
            <a:ext cx="614419" cy="338554"/>
          </a:xfrm>
          <a:prstGeom prst="rect">
            <a:avLst/>
          </a:prstGeom>
          <a:noFill/>
        </p:spPr>
        <p:txBody>
          <a:bodyPr wrap="square" lIns="0" tIns="45720" rIns="0" b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600" b="1" i="0" u="none" strike="noStrike" kern="1200" cap="none" spc="0" normalizeH="0" baseline="0" noProof="0" dirty="0">
                <a:ln>
                  <a:noFill/>
                </a:ln>
                <a:solidFill>
                  <a:srgbClr val="FFFFFF"/>
                </a:solidFill>
                <a:effectLst/>
                <a:uLnTx/>
                <a:uFillTx/>
                <a:latin typeface="OPPOSans B"/>
                <a:ea typeface="OPPOSans B"/>
                <a:cs typeface="OPPOSans R"/>
                <a:sym typeface="+mn-lt"/>
              </a:rPr>
              <a:t>商业</a:t>
            </a:r>
          </a:p>
        </p:txBody>
      </p:sp>
      <p:sp>
        <p:nvSpPr>
          <p:cNvPr id="91" name="gaoding-25-1">
            <a:extLst>
              <a:ext uri="{FF2B5EF4-FFF2-40B4-BE49-F238E27FC236}">
                <a16:creationId xmlns:a16="http://schemas.microsoft.com/office/drawing/2014/main" id="{B376F452-7BB0-4F1E-812D-DADA8A1A000B}"/>
              </a:ext>
            </a:extLst>
          </p:cNvPr>
          <p:cNvSpPr/>
          <p:nvPr/>
        </p:nvSpPr>
        <p:spPr>
          <a:xfrm>
            <a:off x="1960211" y="4875755"/>
            <a:ext cx="694032" cy="287204"/>
          </a:xfrm>
          <a:prstGeom prst="roundRect">
            <a:avLst/>
          </a:prstGeom>
          <a:solidFill>
            <a:schemeClr val="accent1"/>
          </a:solidFill>
          <a:ln>
            <a:noFill/>
          </a:ln>
          <a:effectLst>
            <a:outerShdw blurRad="50800" dist="76200" dir="2700000" algn="tl" rotWithShape="0">
              <a:schemeClr val="accent1">
                <a:lumMod val="50000"/>
                <a:alpha val="1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0" tIns="45720" rIns="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srgbClr val="FFFFFF"/>
              </a:solidFill>
              <a:effectLst/>
              <a:uLnTx/>
              <a:uFillTx/>
              <a:latin typeface="OPPOSans R"/>
              <a:ea typeface="OPPOSans R"/>
              <a:cs typeface="+mn-cs"/>
            </a:endParaRPr>
          </a:p>
        </p:txBody>
      </p:sp>
      <p:sp>
        <p:nvSpPr>
          <p:cNvPr id="92" name="gaoding-25-2">
            <a:extLst>
              <a:ext uri="{FF2B5EF4-FFF2-40B4-BE49-F238E27FC236}">
                <a16:creationId xmlns:a16="http://schemas.microsoft.com/office/drawing/2014/main" id="{7CC3373D-B593-4200-9882-26F7A1459656}"/>
              </a:ext>
            </a:extLst>
          </p:cNvPr>
          <p:cNvSpPr txBox="1"/>
          <p:nvPr/>
        </p:nvSpPr>
        <p:spPr>
          <a:xfrm>
            <a:off x="1991930" y="4850080"/>
            <a:ext cx="630594" cy="338554"/>
          </a:xfrm>
          <a:prstGeom prst="rect">
            <a:avLst/>
          </a:prstGeom>
          <a:noFill/>
        </p:spPr>
        <p:txBody>
          <a:bodyPr wrap="square" lIns="0" tIns="45720" rIns="0" b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600" b="1" i="0" u="none" strike="noStrike" kern="1200" cap="none" spc="0" normalizeH="0" baseline="0" noProof="0" dirty="0">
                <a:ln>
                  <a:noFill/>
                </a:ln>
                <a:solidFill>
                  <a:srgbClr val="FFFFFF"/>
                </a:solidFill>
                <a:effectLst/>
                <a:uLnTx/>
                <a:uFillTx/>
                <a:latin typeface="OPPOSans B"/>
                <a:ea typeface="OPPOSans B"/>
                <a:cs typeface="OPPOSans R"/>
                <a:sym typeface="+mn-lt"/>
              </a:rPr>
              <a:t>专业</a:t>
            </a:r>
          </a:p>
        </p:txBody>
      </p:sp>
      <p:sp>
        <p:nvSpPr>
          <p:cNvPr id="94" name="gaoding-26">
            <a:extLst>
              <a:ext uri="{FF2B5EF4-FFF2-40B4-BE49-F238E27FC236}">
                <a16:creationId xmlns:a16="http://schemas.microsoft.com/office/drawing/2014/main" id="{37D93326-1BED-49B3-8C83-F9B6157A09D0}"/>
              </a:ext>
            </a:extLst>
          </p:cNvPr>
          <p:cNvSpPr/>
          <p:nvPr/>
        </p:nvSpPr>
        <p:spPr>
          <a:xfrm>
            <a:off x="4971649" y="4875755"/>
            <a:ext cx="694032" cy="287204"/>
          </a:xfrm>
          <a:prstGeom prst="roundRect">
            <a:avLst/>
          </a:prstGeom>
          <a:solidFill>
            <a:schemeClr val="accent2"/>
          </a:solidFill>
          <a:ln>
            <a:noFill/>
          </a:ln>
          <a:effectLst>
            <a:outerShdw blurRad="50800" dist="76200" dir="2700000" algn="tl" rotWithShape="0">
              <a:schemeClr val="accent2">
                <a:lumMod val="50000"/>
                <a:alpha val="1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0" tIns="45720" rIns="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srgbClr val="FFFFFF"/>
              </a:solidFill>
              <a:effectLst/>
              <a:uLnTx/>
              <a:uFillTx/>
              <a:latin typeface="OPPOSans R"/>
              <a:ea typeface="OPPOSans R"/>
              <a:cs typeface="+mn-cs"/>
            </a:endParaRPr>
          </a:p>
        </p:txBody>
      </p:sp>
      <p:sp>
        <p:nvSpPr>
          <p:cNvPr id="95" name="gaoding-27">
            <a:extLst>
              <a:ext uri="{FF2B5EF4-FFF2-40B4-BE49-F238E27FC236}">
                <a16:creationId xmlns:a16="http://schemas.microsoft.com/office/drawing/2014/main" id="{B55A67D3-9C2C-4FEE-87E8-0BACD9F3843D}"/>
              </a:ext>
            </a:extLst>
          </p:cNvPr>
          <p:cNvSpPr txBox="1"/>
          <p:nvPr/>
        </p:nvSpPr>
        <p:spPr>
          <a:xfrm>
            <a:off x="5011456" y="4850080"/>
            <a:ext cx="614419" cy="338554"/>
          </a:xfrm>
          <a:prstGeom prst="rect">
            <a:avLst/>
          </a:prstGeom>
          <a:noFill/>
        </p:spPr>
        <p:txBody>
          <a:bodyPr wrap="square" lIns="0" tIns="45720" rIns="0" b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600" b="1" i="0" u="none" strike="noStrike" kern="1200" cap="none" spc="0" normalizeH="0" baseline="0" noProof="0" dirty="0">
                <a:ln>
                  <a:noFill/>
                </a:ln>
                <a:solidFill>
                  <a:srgbClr val="FFFFFF"/>
                </a:solidFill>
                <a:effectLst/>
                <a:uLnTx/>
                <a:uFillTx/>
                <a:latin typeface="OPPOSans B"/>
                <a:ea typeface="OPPOSans B"/>
                <a:cs typeface="OPPOSans R"/>
                <a:sym typeface="+mn-lt"/>
              </a:rPr>
              <a:t>场景</a:t>
            </a:r>
          </a:p>
        </p:txBody>
      </p:sp>
      <p:sp>
        <p:nvSpPr>
          <p:cNvPr id="97" name="gaoding-28-1">
            <a:extLst>
              <a:ext uri="{FF2B5EF4-FFF2-40B4-BE49-F238E27FC236}">
                <a16:creationId xmlns:a16="http://schemas.microsoft.com/office/drawing/2014/main" id="{6C99B33F-C808-466D-97A6-33E26DF5F5E0}"/>
              </a:ext>
            </a:extLst>
          </p:cNvPr>
          <p:cNvSpPr/>
          <p:nvPr/>
        </p:nvSpPr>
        <p:spPr>
          <a:xfrm>
            <a:off x="8132798" y="4875755"/>
            <a:ext cx="694032" cy="287204"/>
          </a:xfrm>
          <a:prstGeom prst="roundRect">
            <a:avLst/>
          </a:prstGeom>
          <a:solidFill>
            <a:schemeClr val="accent1"/>
          </a:solidFill>
          <a:ln>
            <a:noFill/>
          </a:ln>
          <a:effectLst>
            <a:outerShdw blurRad="50800" dist="76200" dir="2700000" algn="tl" rotWithShape="0">
              <a:schemeClr val="accent1">
                <a:lumMod val="50000"/>
                <a:alpha val="1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0" tIns="45720" rIns="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srgbClr val="FFFFFF"/>
              </a:solidFill>
              <a:effectLst/>
              <a:uLnTx/>
              <a:uFillTx/>
              <a:latin typeface="OPPOSans R"/>
              <a:ea typeface="OPPOSans R"/>
              <a:cs typeface="+mn-cs"/>
            </a:endParaRPr>
          </a:p>
        </p:txBody>
      </p:sp>
      <p:sp>
        <p:nvSpPr>
          <p:cNvPr id="98" name="gaoding-28-2">
            <a:extLst>
              <a:ext uri="{FF2B5EF4-FFF2-40B4-BE49-F238E27FC236}">
                <a16:creationId xmlns:a16="http://schemas.microsoft.com/office/drawing/2014/main" id="{0224F75F-22FC-467F-A786-B445763A5216}"/>
              </a:ext>
            </a:extLst>
          </p:cNvPr>
          <p:cNvSpPr txBox="1"/>
          <p:nvPr/>
        </p:nvSpPr>
        <p:spPr>
          <a:xfrm>
            <a:off x="8172605" y="4850080"/>
            <a:ext cx="614419" cy="338554"/>
          </a:xfrm>
          <a:prstGeom prst="rect">
            <a:avLst/>
          </a:prstGeom>
          <a:noFill/>
        </p:spPr>
        <p:txBody>
          <a:bodyPr wrap="square" lIns="0" tIns="45720" rIns="0" b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600" b="1" i="0" u="none" strike="noStrike" kern="1200" cap="none" spc="0" normalizeH="0" baseline="0" noProof="0" dirty="0">
                <a:ln>
                  <a:noFill/>
                </a:ln>
                <a:solidFill>
                  <a:srgbClr val="FFFFFF"/>
                </a:solidFill>
                <a:effectLst/>
                <a:uLnTx/>
                <a:uFillTx/>
                <a:latin typeface="OPPOSans B"/>
                <a:ea typeface="OPPOSans B"/>
                <a:cs typeface="OPPOSans R"/>
                <a:sym typeface="+mn-lt"/>
              </a:rPr>
              <a:t>安全</a:t>
            </a:r>
          </a:p>
        </p:txBody>
      </p:sp>
      <p:sp>
        <p:nvSpPr>
          <p:cNvPr id="105" name="gaoding-29-1">
            <a:extLst>
              <a:ext uri="{FF2B5EF4-FFF2-40B4-BE49-F238E27FC236}">
                <a16:creationId xmlns:a16="http://schemas.microsoft.com/office/drawing/2014/main" id="{40A8007F-A2D8-4A0F-BAC0-C98334F2DF81}"/>
              </a:ext>
            </a:extLst>
          </p:cNvPr>
          <p:cNvSpPr txBox="1"/>
          <p:nvPr/>
        </p:nvSpPr>
        <p:spPr>
          <a:xfrm>
            <a:off x="3736767" y="559505"/>
            <a:ext cx="4718466" cy="640012"/>
          </a:xfrm>
          <a:prstGeom prst="rect">
            <a:avLst/>
          </a:prstGeom>
          <a:noFill/>
          <a:ln>
            <a:noFill/>
          </a:ln>
          <a:effectLst/>
        </p:spPr>
        <p:txBody>
          <a:bodyPr wrap="square" lIns="0" tIns="45720" rIns="0" bIns="45720" anchor="t" anchorCtr="0">
            <a:noAutofit/>
          </a:bodyPr>
          <a:lstStyle/>
          <a:p>
            <a:pPr marL="0" marR="0" lvl="0" indent="0" algn="ctr" defTabSz="914400" rtl="0" eaLnBrk="1" fontAlgn="auto" latinLnBrk="0" hangingPunct="1">
              <a:lnSpc>
                <a:spcPct val="100000"/>
              </a:lnSpc>
              <a:spcBef>
                <a:spcPts val="0"/>
              </a:spcBef>
              <a:spcAft>
                <a:spcPts val="0"/>
              </a:spcAft>
              <a:buClrTx/>
              <a:buSzPct val="25000"/>
              <a:buFontTx/>
              <a:buNone/>
              <a:tabLst/>
              <a:defRPr/>
            </a:pPr>
            <a:r>
              <a:rPr kumimoji="0" lang="en-US" altLang="zh-CN" sz="4000" b="1" i="0" u="none" strike="noStrike" kern="1200" cap="none" spc="600" normalizeH="0" baseline="0" noProof="0" dirty="0">
                <a:ln>
                  <a:noFill/>
                </a:ln>
                <a:solidFill>
                  <a:srgbClr val="2254F4">
                    <a:lumMod val="20000"/>
                    <a:lumOff val="80000"/>
                    <a:alpha val="40000"/>
                  </a:srgbClr>
                </a:solidFill>
                <a:effectLst/>
                <a:uLnTx/>
                <a:uFillTx/>
                <a:latin typeface="Arial"/>
                <a:ea typeface="OPPOSans B"/>
                <a:cs typeface="+mn-cs"/>
              </a:rPr>
              <a:t>MANDAMUS</a:t>
            </a:r>
            <a:endParaRPr kumimoji="0" lang="zh-CN" altLang="en-US" sz="4000" b="1" i="0" u="none" strike="noStrike" kern="1200" cap="none" spc="600" normalizeH="0" baseline="0" noProof="0" dirty="0">
              <a:ln>
                <a:noFill/>
              </a:ln>
              <a:solidFill>
                <a:srgbClr val="2254F4">
                  <a:lumMod val="20000"/>
                  <a:lumOff val="80000"/>
                  <a:alpha val="40000"/>
                </a:srgbClr>
              </a:solidFill>
              <a:effectLst/>
              <a:uLnTx/>
              <a:uFillTx/>
              <a:latin typeface="Arial"/>
              <a:ea typeface="OPPOSans B"/>
              <a:cs typeface="+mn-cs"/>
            </a:endParaRPr>
          </a:p>
        </p:txBody>
      </p:sp>
      <p:sp>
        <p:nvSpPr>
          <p:cNvPr id="107" name="gaoding-29-2">
            <a:extLst>
              <a:ext uri="{FF2B5EF4-FFF2-40B4-BE49-F238E27FC236}">
                <a16:creationId xmlns:a16="http://schemas.microsoft.com/office/drawing/2014/main" id="{8FE1AB67-9B01-4F45-8C9D-A14D8CB3288F}"/>
              </a:ext>
            </a:extLst>
          </p:cNvPr>
          <p:cNvSpPr txBox="1"/>
          <p:nvPr/>
        </p:nvSpPr>
        <p:spPr>
          <a:xfrm>
            <a:off x="5284247" y="590295"/>
            <a:ext cx="1623507" cy="378473"/>
          </a:xfrm>
          <a:prstGeom prst="rect">
            <a:avLst/>
          </a:prstGeom>
          <a:noFill/>
        </p:spPr>
        <p:txBody>
          <a:bodyPr wrap="square" lIns="0" tIns="45720" rIns="0" bIns="4572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2400" b="1" i="0" u="none" strike="noStrike" kern="1200" cap="none" spc="0" normalizeH="0" baseline="0" noProof="0" dirty="0">
                <a:ln>
                  <a:noFill/>
                </a:ln>
                <a:solidFill>
                  <a:srgbClr val="2254F4"/>
                </a:solidFill>
                <a:effectLst/>
                <a:uLnTx/>
                <a:uFillTx/>
                <a:latin typeface="OPPOSans B"/>
                <a:ea typeface="OPPOSans B"/>
                <a:cs typeface="OPPOSans R"/>
                <a:sym typeface="+mn-lt"/>
              </a:rPr>
              <a:t>秋叶</a:t>
            </a:r>
            <a:r>
              <a:rPr kumimoji="0" lang="en-US" altLang="zh-CN" sz="2400" b="1" i="0" u="none" strike="noStrike" kern="1200" cap="none" spc="0" normalizeH="0" baseline="0" noProof="0" dirty="0">
                <a:ln>
                  <a:noFill/>
                </a:ln>
                <a:solidFill>
                  <a:srgbClr val="2254F4"/>
                </a:solidFill>
                <a:effectLst/>
                <a:uLnTx/>
                <a:uFillTx/>
                <a:latin typeface="OPPOSans B"/>
                <a:ea typeface="OPPOSans B"/>
                <a:cs typeface="OPPOSans R"/>
                <a:sym typeface="+mn-lt"/>
              </a:rPr>
              <a:t>PPT</a:t>
            </a:r>
            <a:endParaRPr kumimoji="0" lang="zh-CN" altLang="en-US" sz="2400" b="1" i="0" u="none" strike="noStrike" kern="1200" cap="none" spc="0" normalizeH="0" baseline="0" noProof="0" dirty="0">
              <a:ln>
                <a:noFill/>
              </a:ln>
              <a:solidFill>
                <a:srgbClr val="2254F4"/>
              </a:solidFill>
              <a:effectLst/>
              <a:uLnTx/>
              <a:uFillTx/>
              <a:latin typeface="OPPOSans B"/>
              <a:ea typeface="OPPOSans B"/>
              <a:cs typeface="OPPOSans R"/>
              <a:sym typeface="+mn-lt"/>
            </a:endParaRPr>
          </a:p>
        </p:txBody>
      </p:sp>
      <p:sp>
        <p:nvSpPr>
          <p:cNvPr id="109" name="gaoding-29-3">
            <a:extLst>
              <a:ext uri="{FF2B5EF4-FFF2-40B4-BE49-F238E27FC236}">
                <a16:creationId xmlns:a16="http://schemas.microsoft.com/office/drawing/2014/main" id="{46B16FD5-7BC4-4A84-B8D0-AD3F805AC0A1}"/>
              </a:ext>
            </a:extLst>
          </p:cNvPr>
          <p:cNvSpPr txBox="1"/>
          <p:nvPr/>
        </p:nvSpPr>
        <p:spPr>
          <a:xfrm>
            <a:off x="5324887" y="951821"/>
            <a:ext cx="1623507" cy="298056"/>
          </a:xfrm>
          <a:prstGeom prst="rect">
            <a:avLst/>
          </a:prstGeom>
          <a:noFill/>
        </p:spPr>
        <p:txBody>
          <a:bodyPr wrap="square" lIns="0" tIns="45720" rIns="0" bIns="4572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200" b="0" i="0" u="none" strike="noStrike" kern="1200" cap="none" spc="800" normalizeH="0" baseline="0" noProof="0" dirty="0">
                <a:ln>
                  <a:noFill/>
                </a:ln>
                <a:solidFill>
                  <a:srgbClr val="2254F4"/>
                </a:solidFill>
                <a:effectLst/>
                <a:uLnTx/>
                <a:uFillTx/>
                <a:latin typeface="OPPOSans R"/>
                <a:ea typeface="OPPOSans R"/>
                <a:cs typeface="OPPOSans R"/>
                <a:sym typeface="+mn-lt"/>
              </a:rPr>
              <a:t>更快更轻松</a:t>
            </a:r>
          </a:p>
        </p:txBody>
      </p:sp>
      <p:sp>
        <p:nvSpPr>
          <p:cNvPr id="30" name="gaoding-30">
            <a:extLst>
              <a:ext uri="{FF2B5EF4-FFF2-40B4-BE49-F238E27FC236}">
                <a16:creationId xmlns:a16="http://schemas.microsoft.com/office/drawing/2014/main" id="{FCC277BB-48BD-4D80-85C3-B2D9A3EC9B02}"/>
              </a:ext>
            </a:extLst>
          </p:cNvPr>
          <p:cNvSpPr/>
          <p:nvPr/>
        </p:nvSpPr>
        <p:spPr>
          <a:xfrm>
            <a:off x="2484120" y="1422400"/>
            <a:ext cx="306731" cy="306731"/>
          </a:xfrm>
          <a:prstGeom prst="ellipse">
            <a:avLst/>
          </a:prstGeom>
          <a:no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45720" rIns="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OPPOSans R"/>
              <a:ea typeface="OPPOSans R"/>
              <a:cs typeface="+mn-cs"/>
            </a:endParaRPr>
          </a:p>
        </p:txBody>
      </p:sp>
      <p:sp>
        <p:nvSpPr>
          <p:cNvPr id="120" name="gaoding-31">
            <a:extLst>
              <a:ext uri="{FF2B5EF4-FFF2-40B4-BE49-F238E27FC236}">
                <a16:creationId xmlns:a16="http://schemas.microsoft.com/office/drawing/2014/main" id="{6C8CF3B2-0C27-4413-8312-9DA99DAE0F39}"/>
              </a:ext>
            </a:extLst>
          </p:cNvPr>
          <p:cNvSpPr/>
          <p:nvPr/>
        </p:nvSpPr>
        <p:spPr>
          <a:xfrm>
            <a:off x="5705403" y="1539307"/>
            <a:ext cx="306731" cy="306731"/>
          </a:xfrm>
          <a:prstGeom prst="ellipse">
            <a:avLst/>
          </a:prstGeom>
          <a:noFill/>
          <a:ln w="254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0" tIns="45720" rIns="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OPPOSans R"/>
              <a:ea typeface="OPPOSans R"/>
              <a:cs typeface="+mn-cs"/>
            </a:endParaRPr>
          </a:p>
        </p:txBody>
      </p:sp>
      <p:sp>
        <p:nvSpPr>
          <p:cNvPr id="121" name="gaoding-32">
            <a:extLst>
              <a:ext uri="{FF2B5EF4-FFF2-40B4-BE49-F238E27FC236}">
                <a16:creationId xmlns:a16="http://schemas.microsoft.com/office/drawing/2014/main" id="{5A2A1B20-D1BC-4E3F-9DF8-CEF37E8E3384}"/>
              </a:ext>
            </a:extLst>
          </p:cNvPr>
          <p:cNvSpPr/>
          <p:nvPr/>
        </p:nvSpPr>
        <p:spPr>
          <a:xfrm>
            <a:off x="8913268" y="1616328"/>
            <a:ext cx="306731" cy="306731"/>
          </a:xfrm>
          <a:prstGeom prst="ellipse">
            <a:avLst/>
          </a:prstGeom>
          <a:no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45720" rIns="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OPPOSans R"/>
              <a:ea typeface="OPPOSans R"/>
              <a:cs typeface="+mn-cs"/>
            </a:endParaRPr>
          </a:p>
        </p:txBody>
      </p:sp>
      <p:sp>
        <p:nvSpPr>
          <p:cNvPr id="122" name="gaoding-33">
            <a:extLst>
              <a:ext uri="{FF2B5EF4-FFF2-40B4-BE49-F238E27FC236}">
                <a16:creationId xmlns:a16="http://schemas.microsoft.com/office/drawing/2014/main" id="{6E152593-3212-4AF2-8217-0555DE431E84}"/>
              </a:ext>
            </a:extLst>
          </p:cNvPr>
          <p:cNvSpPr/>
          <p:nvPr/>
        </p:nvSpPr>
        <p:spPr>
          <a:xfrm>
            <a:off x="2484120" y="6254595"/>
            <a:ext cx="306731" cy="306731"/>
          </a:xfrm>
          <a:prstGeom prst="ellipse">
            <a:avLst/>
          </a:prstGeom>
          <a:no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45720" rIns="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OPPOSans R"/>
              <a:ea typeface="OPPOSans R"/>
              <a:cs typeface="+mn-cs"/>
            </a:endParaRPr>
          </a:p>
        </p:txBody>
      </p:sp>
      <p:sp>
        <p:nvSpPr>
          <p:cNvPr id="123" name="gaoding-34">
            <a:extLst>
              <a:ext uri="{FF2B5EF4-FFF2-40B4-BE49-F238E27FC236}">
                <a16:creationId xmlns:a16="http://schemas.microsoft.com/office/drawing/2014/main" id="{A41F8D08-3D1B-42B0-9DA7-F8F9822360B7}"/>
              </a:ext>
            </a:extLst>
          </p:cNvPr>
          <p:cNvSpPr/>
          <p:nvPr/>
        </p:nvSpPr>
        <p:spPr>
          <a:xfrm>
            <a:off x="5705403" y="6137255"/>
            <a:ext cx="306731" cy="306731"/>
          </a:xfrm>
          <a:prstGeom prst="ellipse">
            <a:avLst/>
          </a:prstGeom>
          <a:noFill/>
          <a:ln w="254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0" tIns="45720" rIns="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OPPOSans R"/>
              <a:ea typeface="OPPOSans R"/>
              <a:cs typeface="+mn-cs"/>
            </a:endParaRPr>
          </a:p>
        </p:txBody>
      </p:sp>
      <p:sp>
        <p:nvSpPr>
          <p:cNvPr id="137" name="gaoding-35">
            <a:extLst>
              <a:ext uri="{FF2B5EF4-FFF2-40B4-BE49-F238E27FC236}">
                <a16:creationId xmlns:a16="http://schemas.microsoft.com/office/drawing/2014/main" id="{A809B2B0-EC53-4C30-9002-257040A360EA}"/>
              </a:ext>
            </a:extLst>
          </p:cNvPr>
          <p:cNvSpPr/>
          <p:nvPr/>
        </p:nvSpPr>
        <p:spPr>
          <a:xfrm>
            <a:off x="8913268" y="6059036"/>
            <a:ext cx="306731" cy="306731"/>
          </a:xfrm>
          <a:prstGeom prst="ellipse">
            <a:avLst/>
          </a:prstGeom>
          <a:no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45720" rIns="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OPPOSans R"/>
              <a:ea typeface="OPPOSans R"/>
              <a:cs typeface="+mn-cs"/>
            </a:endParaRPr>
          </a:p>
        </p:txBody>
      </p:sp>
      <p:sp>
        <p:nvSpPr>
          <p:cNvPr id="139" name="gaoding-36">
            <a:extLst>
              <a:ext uri="{FF2B5EF4-FFF2-40B4-BE49-F238E27FC236}">
                <a16:creationId xmlns:a16="http://schemas.microsoft.com/office/drawing/2014/main" id="{7AD51257-1ABB-4425-8028-FC1CF6DC1FDB}"/>
              </a:ext>
            </a:extLst>
          </p:cNvPr>
          <p:cNvSpPr/>
          <p:nvPr/>
        </p:nvSpPr>
        <p:spPr>
          <a:xfrm>
            <a:off x="0" y="3183065"/>
            <a:ext cx="6096000" cy="1602296"/>
          </a:xfrm>
          <a:custGeom>
            <a:avLst/>
            <a:gdLst>
              <a:gd name="connsiteX0" fmla="*/ 0 w 5858769"/>
              <a:gd name="connsiteY0" fmla="*/ 0 h 1602296"/>
              <a:gd name="connsiteX1" fmla="*/ 5481532 w 5858769"/>
              <a:gd name="connsiteY1" fmla="*/ 475633 h 1602296"/>
              <a:gd name="connsiteX2" fmla="*/ 5858769 w 5858769"/>
              <a:gd name="connsiteY2" fmla="*/ 490781 h 1602296"/>
              <a:gd name="connsiteX3" fmla="*/ 5858769 w 5858769"/>
              <a:gd name="connsiteY3" fmla="*/ 1111515 h 1602296"/>
              <a:gd name="connsiteX4" fmla="*/ 5481532 w 5858769"/>
              <a:gd name="connsiteY4" fmla="*/ 1126663 h 1602296"/>
              <a:gd name="connsiteX5" fmla="*/ 0 w 5858769"/>
              <a:gd name="connsiteY5" fmla="*/ 1602296 h 1602296"/>
              <a:gd name="connsiteX6" fmla="*/ 0 w 5858769"/>
              <a:gd name="connsiteY6" fmla="*/ 802005 h 1602296"/>
              <a:gd name="connsiteX7" fmla="*/ 0 w 5858769"/>
              <a:gd name="connsiteY7" fmla="*/ 800291 h 1602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858769" h="1602296">
                <a:moveTo>
                  <a:pt x="0" y="0"/>
                </a:moveTo>
                <a:cubicBezTo>
                  <a:pt x="0" y="0"/>
                  <a:pt x="1784302" y="317089"/>
                  <a:pt x="5481532" y="475633"/>
                </a:cubicBezTo>
                <a:lnTo>
                  <a:pt x="5858769" y="490781"/>
                </a:lnTo>
                <a:lnTo>
                  <a:pt x="5858769" y="1111515"/>
                </a:lnTo>
                <a:lnTo>
                  <a:pt x="5481532" y="1126663"/>
                </a:lnTo>
                <a:cubicBezTo>
                  <a:pt x="1784302" y="1285207"/>
                  <a:pt x="0" y="1602296"/>
                  <a:pt x="0" y="1602296"/>
                </a:cubicBezTo>
                <a:lnTo>
                  <a:pt x="0" y="802005"/>
                </a:lnTo>
                <a:lnTo>
                  <a:pt x="0" y="800291"/>
                </a:lnTo>
                <a:close/>
              </a:path>
            </a:pathLst>
          </a:custGeom>
          <a:gradFill>
            <a:gsLst>
              <a:gs pos="100000">
                <a:schemeClr val="accent1"/>
              </a:gs>
              <a:gs pos="0">
                <a:schemeClr val="accent1">
                  <a:lumMod val="50000"/>
                </a:schemeClr>
              </a:gs>
            </a:gsLst>
            <a:lin ang="10800000" scaled="0"/>
          </a:gradFill>
          <a:ln w="4888" cap="flat">
            <a:noFill/>
            <a:prstDash val="solid"/>
            <a:miter/>
          </a:ln>
        </p:spPr>
        <p:txBody>
          <a:bodyPr lIns="0" tIns="45720" rIns="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OPPOSans R"/>
              <a:ea typeface="OPPOSans R"/>
              <a:cs typeface="+mn-cs"/>
            </a:endParaRPr>
          </a:p>
        </p:txBody>
      </p:sp>
      <p:sp>
        <p:nvSpPr>
          <p:cNvPr id="140" name="gaoding-37">
            <a:extLst>
              <a:ext uri="{FF2B5EF4-FFF2-40B4-BE49-F238E27FC236}">
                <a16:creationId xmlns:a16="http://schemas.microsoft.com/office/drawing/2014/main" id="{9E7AE432-0D47-4507-940C-D44A2739E27D}"/>
              </a:ext>
            </a:extLst>
          </p:cNvPr>
          <p:cNvSpPr/>
          <p:nvPr/>
        </p:nvSpPr>
        <p:spPr>
          <a:xfrm>
            <a:off x="6096001" y="3183065"/>
            <a:ext cx="6096000" cy="1602296"/>
          </a:xfrm>
          <a:custGeom>
            <a:avLst/>
            <a:gdLst>
              <a:gd name="connsiteX0" fmla="*/ 0 w 5858769"/>
              <a:gd name="connsiteY0" fmla="*/ 0 h 1602296"/>
              <a:gd name="connsiteX1" fmla="*/ 5481532 w 5858769"/>
              <a:gd name="connsiteY1" fmla="*/ 475633 h 1602296"/>
              <a:gd name="connsiteX2" fmla="*/ 5858769 w 5858769"/>
              <a:gd name="connsiteY2" fmla="*/ 490781 h 1602296"/>
              <a:gd name="connsiteX3" fmla="*/ 5858769 w 5858769"/>
              <a:gd name="connsiteY3" fmla="*/ 1111515 h 1602296"/>
              <a:gd name="connsiteX4" fmla="*/ 5481532 w 5858769"/>
              <a:gd name="connsiteY4" fmla="*/ 1126663 h 1602296"/>
              <a:gd name="connsiteX5" fmla="*/ 0 w 5858769"/>
              <a:gd name="connsiteY5" fmla="*/ 1602296 h 1602296"/>
              <a:gd name="connsiteX6" fmla="*/ 0 w 5858769"/>
              <a:gd name="connsiteY6" fmla="*/ 802005 h 1602296"/>
              <a:gd name="connsiteX7" fmla="*/ 0 w 5858769"/>
              <a:gd name="connsiteY7" fmla="*/ 800291 h 1602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858769" h="1602296">
                <a:moveTo>
                  <a:pt x="0" y="0"/>
                </a:moveTo>
                <a:cubicBezTo>
                  <a:pt x="0" y="0"/>
                  <a:pt x="1784302" y="317089"/>
                  <a:pt x="5481532" y="475633"/>
                </a:cubicBezTo>
                <a:lnTo>
                  <a:pt x="5858769" y="490781"/>
                </a:lnTo>
                <a:lnTo>
                  <a:pt x="5858769" y="1111515"/>
                </a:lnTo>
                <a:lnTo>
                  <a:pt x="5481532" y="1126663"/>
                </a:lnTo>
                <a:cubicBezTo>
                  <a:pt x="1784302" y="1285207"/>
                  <a:pt x="0" y="1602296"/>
                  <a:pt x="0" y="1602296"/>
                </a:cubicBezTo>
                <a:lnTo>
                  <a:pt x="0" y="802005"/>
                </a:lnTo>
                <a:lnTo>
                  <a:pt x="0" y="800291"/>
                </a:lnTo>
                <a:close/>
              </a:path>
            </a:pathLst>
          </a:custGeom>
          <a:gradFill>
            <a:gsLst>
              <a:gs pos="100000">
                <a:schemeClr val="accent2"/>
              </a:gs>
              <a:gs pos="0">
                <a:schemeClr val="accent2">
                  <a:lumMod val="50000"/>
                </a:schemeClr>
              </a:gs>
            </a:gsLst>
            <a:lin ang="10800000" scaled="0"/>
          </a:gradFill>
          <a:ln w="4888" cap="flat">
            <a:noFill/>
            <a:prstDash val="solid"/>
            <a:miter/>
          </a:ln>
        </p:spPr>
        <p:txBody>
          <a:bodyPr lIns="0" tIns="45720" rIns="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OPPOSans R"/>
              <a:ea typeface="OPPOSans R"/>
              <a:cs typeface="+mn-cs"/>
            </a:endParaRPr>
          </a:p>
        </p:txBody>
      </p:sp>
      <p:sp>
        <p:nvSpPr>
          <p:cNvPr id="118" name="gaoding-38">
            <a:extLst>
              <a:ext uri="{FF2B5EF4-FFF2-40B4-BE49-F238E27FC236}">
                <a16:creationId xmlns:a16="http://schemas.microsoft.com/office/drawing/2014/main" id="{A0ED7F74-9D4A-4779-9C9B-8593BF6450EA}"/>
              </a:ext>
            </a:extLst>
          </p:cNvPr>
          <p:cNvSpPr txBox="1"/>
          <p:nvPr/>
        </p:nvSpPr>
        <p:spPr>
          <a:xfrm>
            <a:off x="1019629" y="3810682"/>
            <a:ext cx="4723592" cy="347060"/>
          </a:xfrm>
          <a:prstGeom prst="rect">
            <a:avLst/>
          </a:prstGeom>
          <a:noFill/>
          <a:ln>
            <a:noFill/>
          </a:ln>
          <a:effectLst/>
        </p:spPr>
        <p:txBody>
          <a:bodyPr wrap="square" lIns="0" tIns="45720" rIns="0" bIns="45720" anchor="t" anchorCtr="0">
            <a:noAutofit/>
          </a:bodyPr>
          <a:lstStyle/>
          <a:p>
            <a:pPr marL="0" marR="0" lvl="0" indent="0" algn="l" defTabSz="914400" rtl="0" eaLnBrk="1" fontAlgn="auto" latinLnBrk="0" hangingPunct="1">
              <a:lnSpc>
                <a:spcPct val="100000"/>
              </a:lnSpc>
              <a:spcBef>
                <a:spcPts val="0"/>
              </a:spcBef>
              <a:spcAft>
                <a:spcPts val="0"/>
              </a:spcAft>
              <a:buClrTx/>
              <a:buSzPct val="25000"/>
              <a:buFontTx/>
              <a:buNone/>
              <a:tabLst/>
              <a:defRPr/>
            </a:pPr>
            <a:r>
              <a:rPr kumimoji="0" lang="en-US" altLang="zh-CN" sz="1800" b="0" i="0" u="none" strike="noStrike" kern="1200" cap="none" spc="600" normalizeH="0" baseline="0" noProof="0" dirty="0">
                <a:ln>
                  <a:noFill/>
                </a:ln>
                <a:solidFill>
                  <a:srgbClr val="FFFFFF">
                    <a:lumMod val="85000"/>
                    <a:alpha val="50000"/>
                  </a:srgbClr>
                </a:solidFill>
                <a:effectLst/>
                <a:uLnTx/>
                <a:uFillTx/>
                <a:latin typeface="OPPOSans B"/>
                <a:ea typeface="OPPOSans B"/>
                <a:cs typeface="+mn-cs"/>
              </a:rPr>
              <a:t>MANDAMUS MEDIOCREM </a:t>
            </a:r>
            <a:endParaRPr kumimoji="0" lang="zh-CN" altLang="en-US" sz="1800" b="0" i="0" u="none" strike="noStrike" kern="1200" cap="none" spc="600" normalizeH="0" baseline="0" noProof="0" dirty="0">
              <a:ln>
                <a:noFill/>
              </a:ln>
              <a:solidFill>
                <a:srgbClr val="FFFFFF">
                  <a:lumMod val="85000"/>
                  <a:alpha val="50000"/>
                </a:srgbClr>
              </a:solidFill>
              <a:effectLst/>
              <a:uLnTx/>
              <a:uFillTx/>
              <a:latin typeface="OPPOSans B"/>
              <a:ea typeface="OPPOSans B"/>
              <a:cs typeface="+mn-cs"/>
            </a:endParaRPr>
          </a:p>
        </p:txBody>
      </p:sp>
      <p:sp>
        <p:nvSpPr>
          <p:cNvPr id="150" name="gaoding-39">
            <a:extLst>
              <a:ext uri="{FF2B5EF4-FFF2-40B4-BE49-F238E27FC236}">
                <a16:creationId xmlns:a16="http://schemas.microsoft.com/office/drawing/2014/main" id="{0A7067EF-0DD5-4701-B836-99F9644DC9E5}"/>
              </a:ext>
            </a:extLst>
          </p:cNvPr>
          <p:cNvSpPr/>
          <p:nvPr/>
        </p:nvSpPr>
        <p:spPr>
          <a:xfrm>
            <a:off x="6390542" y="3700527"/>
            <a:ext cx="567369" cy="567369"/>
          </a:xfrm>
          <a:prstGeom prst="ellipse">
            <a:avLst/>
          </a:prstGeom>
          <a:gradFill>
            <a:gsLst>
              <a:gs pos="100000">
                <a:schemeClr val="accent2"/>
              </a:gs>
              <a:gs pos="0">
                <a:schemeClr val="accent2">
                  <a:lumMod val="50000"/>
                </a:schemeClr>
              </a:gs>
            </a:gsLst>
            <a:lin ang="10800000" scaled="0"/>
          </a:gra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45720" rIns="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OPPOSans R"/>
              <a:ea typeface="OPPOSans R"/>
              <a:cs typeface="+mn-cs"/>
            </a:endParaRPr>
          </a:p>
        </p:txBody>
      </p:sp>
      <p:sp>
        <p:nvSpPr>
          <p:cNvPr id="151" name="gaoding-40">
            <a:extLst>
              <a:ext uri="{FF2B5EF4-FFF2-40B4-BE49-F238E27FC236}">
                <a16:creationId xmlns:a16="http://schemas.microsoft.com/office/drawing/2014/main" id="{C428DB2B-70BA-4C63-B5B7-EAF68E445600}"/>
              </a:ext>
            </a:extLst>
          </p:cNvPr>
          <p:cNvSpPr/>
          <p:nvPr>
            <p:custDataLst>
              <p:tags r:id="rId3"/>
            </p:custDataLst>
          </p:nvPr>
        </p:nvSpPr>
        <p:spPr>
          <a:xfrm>
            <a:off x="6537967" y="3868118"/>
            <a:ext cx="244576" cy="232894"/>
          </a:xfrm>
          <a:custGeom>
            <a:avLst/>
            <a:gdLst>
              <a:gd name="connsiteX0" fmla="*/ 240290 w 406175"/>
              <a:gd name="connsiteY0" fmla="*/ 216853 h 386775"/>
              <a:gd name="connsiteX1" fmla="*/ 240290 w 406175"/>
              <a:gd name="connsiteY1" fmla="*/ 306301 h 386775"/>
              <a:gd name="connsiteX2" fmla="*/ 306737 w 406175"/>
              <a:gd name="connsiteY2" fmla="*/ 306301 h 386775"/>
              <a:gd name="connsiteX3" fmla="*/ 306766 w 406175"/>
              <a:gd name="connsiteY3" fmla="*/ 306301 h 386775"/>
              <a:gd name="connsiteX4" fmla="*/ 306766 w 406175"/>
              <a:gd name="connsiteY4" fmla="*/ 216853 h 386775"/>
              <a:gd name="connsiteX5" fmla="*/ 240290 w 406175"/>
              <a:gd name="connsiteY5" fmla="*/ 139574 h 386775"/>
              <a:gd name="connsiteX6" fmla="*/ 240290 w 406175"/>
              <a:gd name="connsiteY6" fmla="*/ 179477 h 386775"/>
              <a:gd name="connsiteX7" fmla="*/ 306766 w 406175"/>
              <a:gd name="connsiteY7" fmla="*/ 179477 h 386775"/>
              <a:gd name="connsiteX8" fmla="*/ 306766 w 406175"/>
              <a:gd name="connsiteY8" fmla="*/ 139574 h 386775"/>
              <a:gd name="connsiteX9" fmla="*/ 204830 w 406175"/>
              <a:gd name="connsiteY9" fmla="*/ 102197 h 386775"/>
              <a:gd name="connsiteX10" fmla="*/ 240290 w 406175"/>
              <a:gd name="connsiteY10" fmla="*/ 102197 h 386775"/>
              <a:gd name="connsiteX11" fmla="*/ 306737 w 406175"/>
              <a:gd name="connsiteY11" fmla="*/ 102197 h 386775"/>
              <a:gd name="connsiteX12" fmla="*/ 342197 w 406175"/>
              <a:gd name="connsiteY12" fmla="*/ 102197 h 386775"/>
              <a:gd name="connsiteX13" fmla="*/ 342197 w 406175"/>
              <a:gd name="connsiteY13" fmla="*/ 139574 h 386775"/>
              <a:gd name="connsiteX14" fmla="*/ 342197 w 406175"/>
              <a:gd name="connsiteY14" fmla="*/ 179477 h 386775"/>
              <a:gd name="connsiteX15" fmla="*/ 368799 w 406175"/>
              <a:gd name="connsiteY15" fmla="*/ 179477 h 386775"/>
              <a:gd name="connsiteX16" fmla="*/ 406175 w 406175"/>
              <a:gd name="connsiteY16" fmla="*/ 179477 h 386775"/>
              <a:gd name="connsiteX17" fmla="*/ 406175 w 406175"/>
              <a:gd name="connsiteY17" fmla="*/ 216853 h 386775"/>
              <a:gd name="connsiteX18" fmla="*/ 406175 w 406175"/>
              <a:gd name="connsiteY18" fmla="*/ 386775 h 386775"/>
              <a:gd name="connsiteX19" fmla="*/ 368799 w 406175"/>
              <a:gd name="connsiteY19" fmla="*/ 386775 h 386775"/>
              <a:gd name="connsiteX20" fmla="*/ 368799 w 406175"/>
              <a:gd name="connsiteY20" fmla="*/ 216853 h 386775"/>
              <a:gd name="connsiteX21" fmla="*/ 342197 w 406175"/>
              <a:gd name="connsiteY21" fmla="*/ 216853 h 386775"/>
              <a:gd name="connsiteX22" fmla="*/ 342197 w 406175"/>
              <a:gd name="connsiteY22" fmla="*/ 306301 h 386775"/>
              <a:gd name="connsiteX23" fmla="*/ 342313 w 406175"/>
              <a:gd name="connsiteY23" fmla="*/ 306301 h 386775"/>
              <a:gd name="connsiteX24" fmla="*/ 342313 w 406175"/>
              <a:gd name="connsiteY24" fmla="*/ 343678 h 386775"/>
              <a:gd name="connsiteX25" fmla="*/ 204946 w 406175"/>
              <a:gd name="connsiteY25" fmla="*/ 343678 h 386775"/>
              <a:gd name="connsiteX26" fmla="*/ 204946 w 406175"/>
              <a:gd name="connsiteY26" fmla="*/ 339728 h 386775"/>
              <a:gd name="connsiteX27" fmla="*/ 204830 w 406175"/>
              <a:gd name="connsiteY27" fmla="*/ 339728 h 386775"/>
              <a:gd name="connsiteX28" fmla="*/ 204830 w 406175"/>
              <a:gd name="connsiteY28" fmla="*/ 216853 h 386775"/>
              <a:gd name="connsiteX29" fmla="*/ 178460 w 406175"/>
              <a:gd name="connsiteY29" fmla="*/ 216853 h 386775"/>
              <a:gd name="connsiteX30" fmla="*/ 178460 w 406175"/>
              <a:gd name="connsiteY30" fmla="*/ 386775 h 386775"/>
              <a:gd name="connsiteX31" fmla="*/ 141084 w 406175"/>
              <a:gd name="connsiteY31" fmla="*/ 386775 h 386775"/>
              <a:gd name="connsiteX32" fmla="*/ 141084 w 406175"/>
              <a:gd name="connsiteY32" fmla="*/ 216853 h 386775"/>
              <a:gd name="connsiteX33" fmla="*/ 141084 w 406175"/>
              <a:gd name="connsiteY33" fmla="*/ 179477 h 386775"/>
              <a:gd name="connsiteX34" fmla="*/ 178460 w 406175"/>
              <a:gd name="connsiteY34" fmla="*/ 179477 h 386775"/>
              <a:gd name="connsiteX35" fmla="*/ 204830 w 406175"/>
              <a:gd name="connsiteY35" fmla="*/ 179477 h 386775"/>
              <a:gd name="connsiteX36" fmla="*/ 204830 w 406175"/>
              <a:gd name="connsiteY36" fmla="*/ 139574 h 386775"/>
              <a:gd name="connsiteX37" fmla="*/ 227976 w 406175"/>
              <a:gd name="connsiteY37" fmla="*/ 0 h 386775"/>
              <a:gd name="connsiteX38" fmla="*/ 272787 w 406175"/>
              <a:gd name="connsiteY38" fmla="*/ 0 h 386775"/>
              <a:gd name="connsiteX39" fmla="*/ 286466 w 406175"/>
              <a:gd name="connsiteY39" fmla="*/ 34733 h 386775"/>
              <a:gd name="connsiteX40" fmla="*/ 406175 w 406175"/>
              <a:gd name="connsiteY40" fmla="*/ 34733 h 386775"/>
              <a:gd name="connsiteX41" fmla="*/ 406175 w 406175"/>
              <a:gd name="connsiteY41" fmla="*/ 72110 h 386775"/>
              <a:gd name="connsiteX42" fmla="*/ 141084 w 406175"/>
              <a:gd name="connsiteY42" fmla="*/ 72110 h 386775"/>
              <a:gd name="connsiteX43" fmla="*/ 141084 w 406175"/>
              <a:gd name="connsiteY43" fmla="*/ 46757 h 386775"/>
              <a:gd name="connsiteX44" fmla="*/ 104811 w 406175"/>
              <a:gd name="connsiteY44" fmla="*/ 52681 h 386775"/>
              <a:gd name="connsiteX45" fmla="*/ 104811 w 406175"/>
              <a:gd name="connsiteY45" fmla="*/ 114830 h 386775"/>
              <a:gd name="connsiteX46" fmla="*/ 141084 w 406175"/>
              <a:gd name="connsiteY46" fmla="*/ 114830 h 386775"/>
              <a:gd name="connsiteX47" fmla="*/ 141084 w 406175"/>
              <a:gd name="connsiteY47" fmla="*/ 149274 h 386775"/>
              <a:gd name="connsiteX48" fmla="*/ 104811 w 406175"/>
              <a:gd name="connsiteY48" fmla="*/ 149274 h 386775"/>
              <a:gd name="connsiteX49" fmla="*/ 104811 w 406175"/>
              <a:gd name="connsiteY49" fmla="*/ 386775 h 386775"/>
              <a:gd name="connsiteX50" fmla="*/ 67434 w 406175"/>
              <a:gd name="connsiteY50" fmla="*/ 386775 h 386775"/>
              <a:gd name="connsiteX51" fmla="*/ 67434 w 406175"/>
              <a:gd name="connsiteY51" fmla="*/ 236979 h 386775"/>
              <a:gd name="connsiteX52" fmla="*/ 35082 w 406175"/>
              <a:gd name="connsiteY52" fmla="*/ 339409 h 386775"/>
              <a:gd name="connsiteX53" fmla="*/ 0 w 406175"/>
              <a:gd name="connsiteY53" fmla="*/ 339380 h 386775"/>
              <a:gd name="connsiteX54" fmla="*/ 59477 w 406175"/>
              <a:gd name="connsiteY54" fmla="*/ 149274 h 386775"/>
              <a:gd name="connsiteX55" fmla="*/ 13853 w 406175"/>
              <a:gd name="connsiteY55" fmla="*/ 149274 h 386775"/>
              <a:gd name="connsiteX56" fmla="*/ 13853 w 406175"/>
              <a:gd name="connsiteY56" fmla="*/ 114830 h 386775"/>
              <a:gd name="connsiteX57" fmla="*/ 67434 w 406175"/>
              <a:gd name="connsiteY57" fmla="*/ 114830 h 386775"/>
              <a:gd name="connsiteX58" fmla="*/ 67434 w 406175"/>
              <a:gd name="connsiteY58" fmla="*/ 58780 h 386775"/>
              <a:gd name="connsiteX59" fmla="*/ 13882 w 406175"/>
              <a:gd name="connsiteY59" fmla="*/ 67550 h 386775"/>
              <a:gd name="connsiteX60" fmla="*/ 13882 w 406175"/>
              <a:gd name="connsiteY60" fmla="*/ 32759 h 386775"/>
              <a:gd name="connsiteX61" fmla="*/ 141084 w 406175"/>
              <a:gd name="connsiteY61" fmla="*/ 11994 h 386775"/>
              <a:gd name="connsiteX62" fmla="*/ 141084 w 406175"/>
              <a:gd name="connsiteY62" fmla="*/ 34733 h 386775"/>
              <a:gd name="connsiteX63" fmla="*/ 241713 w 406175"/>
              <a:gd name="connsiteY63" fmla="*/ 34733 h 38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406175" h="386775">
                <a:moveTo>
                  <a:pt x="240290" y="216853"/>
                </a:moveTo>
                <a:lnTo>
                  <a:pt x="240290" y="306301"/>
                </a:lnTo>
                <a:lnTo>
                  <a:pt x="306737" y="306301"/>
                </a:lnTo>
                <a:lnTo>
                  <a:pt x="306766" y="306301"/>
                </a:lnTo>
                <a:lnTo>
                  <a:pt x="306766" y="216853"/>
                </a:lnTo>
                <a:close/>
                <a:moveTo>
                  <a:pt x="240290" y="139574"/>
                </a:moveTo>
                <a:lnTo>
                  <a:pt x="240290" y="179477"/>
                </a:lnTo>
                <a:lnTo>
                  <a:pt x="306766" y="179477"/>
                </a:lnTo>
                <a:lnTo>
                  <a:pt x="306766" y="139574"/>
                </a:lnTo>
                <a:close/>
                <a:moveTo>
                  <a:pt x="204830" y="102197"/>
                </a:moveTo>
                <a:lnTo>
                  <a:pt x="240290" y="102197"/>
                </a:lnTo>
                <a:lnTo>
                  <a:pt x="306737" y="102197"/>
                </a:lnTo>
                <a:lnTo>
                  <a:pt x="342197" y="102197"/>
                </a:lnTo>
                <a:lnTo>
                  <a:pt x="342197" y="139574"/>
                </a:lnTo>
                <a:lnTo>
                  <a:pt x="342197" y="179477"/>
                </a:lnTo>
                <a:lnTo>
                  <a:pt x="368799" y="179477"/>
                </a:lnTo>
                <a:lnTo>
                  <a:pt x="406175" y="179477"/>
                </a:lnTo>
                <a:lnTo>
                  <a:pt x="406175" y="216853"/>
                </a:lnTo>
                <a:lnTo>
                  <a:pt x="406175" y="386775"/>
                </a:lnTo>
                <a:lnTo>
                  <a:pt x="368799" y="386775"/>
                </a:lnTo>
                <a:lnTo>
                  <a:pt x="368799" y="216853"/>
                </a:lnTo>
                <a:lnTo>
                  <a:pt x="342197" y="216853"/>
                </a:lnTo>
                <a:lnTo>
                  <a:pt x="342197" y="306301"/>
                </a:lnTo>
                <a:lnTo>
                  <a:pt x="342313" y="306301"/>
                </a:lnTo>
                <a:lnTo>
                  <a:pt x="342313" y="343678"/>
                </a:lnTo>
                <a:lnTo>
                  <a:pt x="204946" y="343678"/>
                </a:lnTo>
                <a:lnTo>
                  <a:pt x="204946" y="339728"/>
                </a:lnTo>
                <a:lnTo>
                  <a:pt x="204830" y="339728"/>
                </a:lnTo>
                <a:lnTo>
                  <a:pt x="204830" y="216853"/>
                </a:lnTo>
                <a:lnTo>
                  <a:pt x="178460" y="216853"/>
                </a:lnTo>
                <a:lnTo>
                  <a:pt x="178460" y="386775"/>
                </a:lnTo>
                <a:lnTo>
                  <a:pt x="141084" y="386775"/>
                </a:lnTo>
                <a:lnTo>
                  <a:pt x="141084" y="216853"/>
                </a:lnTo>
                <a:lnTo>
                  <a:pt x="141084" y="179477"/>
                </a:lnTo>
                <a:lnTo>
                  <a:pt x="178460" y="179477"/>
                </a:lnTo>
                <a:lnTo>
                  <a:pt x="204830" y="179477"/>
                </a:lnTo>
                <a:lnTo>
                  <a:pt x="204830" y="139574"/>
                </a:lnTo>
                <a:close/>
                <a:moveTo>
                  <a:pt x="227976" y="0"/>
                </a:moveTo>
                <a:lnTo>
                  <a:pt x="272787" y="0"/>
                </a:lnTo>
                <a:lnTo>
                  <a:pt x="286466" y="34733"/>
                </a:lnTo>
                <a:lnTo>
                  <a:pt x="406175" y="34733"/>
                </a:lnTo>
                <a:lnTo>
                  <a:pt x="406175" y="72110"/>
                </a:lnTo>
                <a:lnTo>
                  <a:pt x="141084" y="72110"/>
                </a:lnTo>
                <a:lnTo>
                  <a:pt x="141084" y="46757"/>
                </a:lnTo>
                <a:lnTo>
                  <a:pt x="104811" y="52681"/>
                </a:lnTo>
                <a:lnTo>
                  <a:pt x="104811" y="114830"/>
                </a:lnTo>
                <a:lnTo>
                  <a:pt x="141084" y="114830"/>
                </a:lnTo>
                <a:lnTo>
                  <a:pt x="141084" y="149274"/>
                </a:lnTo>
                <a:lnTo>
                  <a:pt x="104811" y="149274"/>
                </a:lnTo>
                <a:lnTo>
                  <a:pt x="104811" y="386775"/>
                </a:lnTo>
                <a:lnTo>
                  <a:pt x="67434" y="386775"/>
                </a:lnTo>
                <a:lnTo>
                  <a:pt x="67434" y="236979"/>
                </a:lnTo>
                <a:lnTo>
                  <a:pt x="35082" y="339409"/>
                </a:lnTo>
                <a:lnTo>
                  <a:pt x="0" y="339380"/>
                </a:lnTo>
                <a:lnTo>
                  <a:pt x="59477" y="149274"/>
                </a:lnTo>
                <a:lnTo>
                  <a:pt x="13853" y="149274"/>
                </a:lnTo>
                <a:lnTo>
                  <a:pt x="13853" y="114830"/>
                </a:lnTo>
                <a:lnTo>
                  <a:pt x="67434" y="114830"/>
                </a:lnTo>
                <a:lnTo>
                  <a:pt x="67434" y="58780"/>
                </a:lnTo>
                <a:lnTo>
                  <a:pt x="13882" y="67550"/>
                </a:lnTo>
                <a:lnTo>
                  <a:pt x="13882" y="32759"/>
                </a:lnTo>
                <a:lnTo>
                  <a:pt x="141084" y="11994"/>
                </a:lnTo>
                <a:lnTo>
                  <a:pt x="141084" y="34733"/>
                </a:lnTo>
                <a:lnTo>
                  <a:pt x="241713" y="34733"/>
                </a:lnTo>
                <a:close/>
              </a:path>
            </a:pathLst>
          </a:custGeom>
          <a:solidFill>
            <a:schemeClr val="bg1"/>
          </a:solidFill>
          <a:ln w="23540" cap="flat">
            <a:noFill/>
            <a:prstDash val="solid"/>
            <a:miter/>
          </a:ln>
          <a:effectLst>
            <a:outerShdw blurRad="50800" dist="76200" dir="2700000" algn="tl" rotWithShape="0">
              <a:schemeClr val="accent1">
                <a:lumMod val="50000"/>
                <a:alpha val="20000"/>
              </a:schemeClr>
            </a:outerShdw>
          </a:effectLst>
        </p:spPr>
        <p:txBody>
          <a:bodyPr lIns="0" tIns="45720" rIns="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600" b="0" i="0" u="none" strike="noStrike" kern="1200" cap="none" spc="0" normalizeH="0" baseline="0" noProof="0">
              <a:ln>
                <a:noFill/>
              </a:ln>
              <a:solidFill>
                <a:srgbClr val="000000"/>
              </a:solidFill>
              <a:effectLst/>
              <a:uLnTx/>
              <a:uFillTx/>
              <a:latin typeface="Arial"/>
              <a:ea typeface="OPPOSans M"/>
              <a:cs typeface="+mn-cs"/>
            </a:endParaRPr>
          </a:p>
        </p:txBody>
      </p:sp>
      <p:sp>
        <p:nvSpPr>
          <p:cNvPr id="152" name="gaoding-41">
            <a:extLst>
              <a:ext uri="{FF2B5EF4-FFF2-40B4-BE49-F238E27FC236}">
                <a16:creationId xmlns:a16="http://schemas.microsoft.com/office/drawing/2014/main" id="{C39C3D36-2A60-4E5D-BEBF-6D56026E86B2}"/>
              </a:ext>
            </a:extLst>
          </p:cNvPr>
          <p:cNvSpPr txBox="1"/>
          <p:nvPr/>
        </p:nvSpPr>
        <p:spPr>
          <a:xfrm>
            <a:off x="2283654" y="1439271"/>
            <a:ext cx="707661" cy="276999"/>
          </a:xfrm>
          <a:prstGeom prst="rect">
            <a:avLst/>
          </a:prstGeom>
          <a:noFill/>
        </p:spPr>
        <p:txBody>
          <a:bodyPr wrap="square" lIns="0" tIns="45720" rIns="0" b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200" b="0" i="0" u="none" strike="noStrike" kern="1200" cap="none" spc="0" normalizeH="0" baseline="0" noProof="0" dirty="0">
                <a:ln>
                  <a:noFill/>
                </a:ln>
                <a:solidFill>
                  <a:srgbClr val="2254F4"/>
                </a:solidFill>
                <a:effectLst/>
                <a:uLnTx/>
                <a:uFillTx/>
                <a:latin typeface="OPPOSans B"/>
                <a:ea typeface="OPPOSans B"/>
                <a:cs typeface="OPPOSans R"/>
                <a:sym typeface="+mn-lt"/>
              </a:rPr>
              <a:t>01</a:t>
            </a:r>
            <a:endParaRPr kumimoji="0" lang="zh-CN" altLang="en-US" sz="1200" b="0" i="0" u="none" strike="noStrike" kern="1200" cap="none" spc="0" normalizeH="0" baseline="0" noProof="0" dirty="0">
              <a:ln>
                <a:noFill/>
              </a:ln>
              <a:solidFill>
                <a:srgbClr val="2254F4"/>
              </a:solidFill>
              <a:effectLst/>
              <a:uLnTx/>
              <a:uFillTx/>
              <a:latin typeface="OPPOSans B"/>
              <a:ea typeface="OPPOSans B"/>
              <a:cs typeface="OPPOSans R"/>
              <a:sym typeface="+mn-lt"/>
            </a:endParaRPr>
          </a:p>
        </p:txBody>
      </p:sp>
      <p:sp>
        <p:nvSpPr>
          <p:cNvPr id="153" name="gaoding-42">
            <a:extLst>
              <a:ext uri="{FF2B5EF4-FFF2-40B4-BE49-F238E27FC236}">
                <a16:creationId xmlns:a16="http://schemas.microsoft.com/office/drawing/2014/main" id="{FC163083-0603-4771-9BB1-59441DDF3B71}"/>
              </a:ext>
            </a:extLst>
          </p:cNvPr>
          <p:cNvSpPr txBox="1"/>
          <p:nvPr/>
        </p:nvSpPr>
        <p:spPr>
          <a:xfrm>
            <a:off x="5504937" y="1560363"/>
            <a:ext cx="707661" cy="276999"/>
          </a:xfrm>
          <a:prstGeom prst="rect">
            <a:avLst/>
          </a:prstGeom>
          <a:noFill/>
        </p:spPr>
        <p:txBody>
          <a:bodyPr wrap="square" lIns="0" tIns="45720" rIns="0" b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200" b="0" i="0" u="none" strike="noStrike" kern="1200" cap="none" spc="0" normalizeH="0" baseline="0" noProof="0" dirty="0">
                <a:ln>
                  <a:noFill/>
                </a:ln>
                <a:solidFill>
                  <a:srgbClr val="795FE5"/>
                </a:solidFill>
                <a:effectLst/>
                <a:uLnTx/>
                <a:uFillTx/>
                <a:latin typeface="OPPOSans B"/>
                <a:ea typeface="OPPOSans B"/>
                <a:cs typeface="OPPOSans R"/>
                <a:sym typeface="+mn-lt"/>
              </a:rPr>
              <a:t>02</a:t>
            </a:r>
            <a:endParaRPr kumimoji="0" lang="zh-CN" altLang="en-US" sz="1200" b="0" i="0" u="none" strike="noStrike" kern="1200" cap="none" spc="0" normalizeH="0" baseline="0" noProof="0" dirty="0">
              <a:ln>
                <a:noFill/>
              </a:ln>
              <a:solidFill>
                <a:srgbClr val="795FE5"/>
              </a:solidFill>
              <a:effectLst/>
              <a:uLnTx/>
              <a:uFillTx/>
              <a:latin typeface="OPPOSans B"/>
              <a:ea typeface="OPPOSans B"/>
              <a:cs typeface="OPPOSans R"/>
              <a:sym typeface="+mn-lt"/>
            </a:endParaRPr>
          </a:p>
        </p:txBody>
      </p:sp>
      <p:sp>
        <p:nvSpPr>
          <p:cNvPr id="154" name="gaoding-43">
            <a:extLst>
              <a:ext uri="{FF2B5EF4-FFF2-40B4-BE49-F238E27FC236}">
                <a16:creationId xmlns:a16="http://schemas.microsoft.com/office/drawing/2014/main" id="{5168B167-6CF2-4491-A727-8533F9D0B6BF}"/>
              </a:ext>
            </a:extLst>
          </p:cNvPr>
          <p:cNvSpPr txBox="1"/>
          <p:nvPr/>
        </p:nvSpPr>
        <p:spPr>
          <a:xfrm>
            <a:off x="8706706" y="1627419"/>
            <a:ext cx="707661" cy="276999"/>
          </a:xfrm>
          <a:prstGeom prst="rect">
            <a:avLst/>
          </a:prstGeom>
          <a:noFill/>
        </p:spPr>
        <p:txBody>
          <a:bodyPr wrap="square" lIns="0" tIns="45720" rIns="0" b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200" b="0" i="0" u="none" strike="noStrike" kern="1200" cap="none" spc="0" normalizeH="0" baseline="0" noProof="0" dirty="0">
                <a:ln>
                  <a:noFill/>
                </a:ln>
                <a:solidFill>
                  <a:srgbClr val="2254F4"/>
                </a:solidFill>
                <a:effectLst/>
                <a:uLnTx/>
                <a:uFillTx/>
                <a:latin typeface="OPPOSans B"/>
                <a:ea typeface="OPPOSans B"/>
                <a:cs typeface="OPPOSans R"/>
                <a:sym typeface="+mn-lt"/>
              </a:rPr>
              <a:t>03</a:t>
            </a:r>
            <a:endParaRPr kumimoji="0" lang="zh-CN" altLang="en-US" sz="1200" b="0" i="0" u="none" strike="noStrike" kern="1200" cap="none" spc="0" normalizeH="0" baseline="0" noProof="0" dirty="0">
              <a:ln>
                <a:noFill/>
              </a:ln>
              <a:solidFill>
                <a:srgbClr val="2254F4"/>
              </a:solidFill>
              <a:effectLst/>
              <a:uLnTx/>
              <a:uFillTx/>
              <a:latin typeface="OPPOSans B"/>
              <a:ea typeface="OPPOSans B"/>
              <a:cs typeface="OPPOSans R"/>
              <a:sym typeface="+mn-lt"/>
            </a:endParaRPr>
          </a:p>
        </p:txBody>
      </p:sp>
      <p:sp>
        <p:nvSpPr>
          <p:cNvPr id="155" name="gaoding-44">
            <a:extLst>
              <a:ext uri="{FF2B5EF4-FFF2-40B4-BE49-F238E27FC236}">
                <a16:creationId xmlns:a16="http://schemas.microsoft.com/office/drawing/2014/main" id="{2CAC1E99-41DC-4E50-9FEF-DA2B78ACA865}"/>
              </a:ext>
            </a:extLst>
          </p:cNvPr>
          <p:cNvSpPr txBox="1"/>
          <p:nvPr/>
        </p:nvSpPr>
        <p:spPr>
          <a:xfrm>
            <a:off x="2283654" y="6274879"/>
            <a:ext cx="707661" cy="276999"/>
          </a:xfrm>
          <a:prstGeom prst="rect">
            <a:avLst/>
          </a:prstGeom>
          <a:noFill/>
        </p:spPr>
        <p:txBody>
          <a:bodyPr wrap="square" lIns="0" tIns="45720" rIns="0" b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200" b="0" i="0" u="none" strike="noStrike" kern="1200" cap="none" spc="0" normalizeH="0" baseline="0" noProof="0" dirty="0">
                <a:ln>
                  <a:noFill/>
                </a:ln>
                <a:solidFill>
                  <a:srgbClr val="2254F4"/>
                </a:solidFill>
                <a:effectLst/>
                <a:uLnTx/>
                <a:uFillTx/>
                <a:latin typeface="OPPOSans B"/>
                <a:ea typeface="OPPOSans B"/>
                <a:cs typeface="OPPOSans R"/>
                <a:sym typeface="+mn-lt"/>
              </a:rPr>
              <a:t>04</a:t>
            </a:r>
            <a:endParaRPr kumimoji="0" lang="zh-CN" altLang="en-US" sz="1200" b="0" i="0" u="none" strike="noStrike" kern="1200" cap="none" spc="0" normalizeH="0" baseline="0" noProof="0" dirty="0">
              <a:ln>
                <a:noFill/>
              </a:ln>
              <a:solidFill>
                <a:srgbClr val="2254F4"/>
              </a:solidFill>
              <a:effectLst/>
              <a:uLnTx/>
              <a:uFillTx/>
              <a:latin typeface="OPPOSans B"/>
              <a:ea typeface="OPPOSans B"/>
              <a:cs typeface="OPPOSans R"/>
              <a:sym typeface="+mn-lt"/>
            </a:endParaRPr>
          </a:p>
        </p:txBody>
      </p:sp>
      <p:sp>
        <p:nvSpPr>
          <p:cNvPr id="156" name="gaoding-45">
            <a:extLst>
              <a:ext uri="{FF2B5EF4-FFF2-40B4-BE49-F238E27FC236}">
                <a16:creationId xmlns:a16="http://schemas.microsoft.com/office/drawing/2014/main" id="{1B2C6608-19F6-43CD-B4AF-4185D7DA2746}"/>
              </a:ext>
            </a:extLst>
          </p:cNvPr>
          <p:cNvSpPr txBox="1"/>
          <p:nvPr/>
        </p:nvSpPr>
        <p:spPr>
          <a:xfrm>
            <a:off x="5504937" y="6155779"/>
            <a:ext cx="707661" cy="276999"/>
          </a:xfrm>
          <a:prstGeom prst="rect">
            <a:avLst/>
          </a:prstGeom>
          <a:noFill/>
        </p:spPr>
        <p:txBody>
          <a:bodyPr wrap="square" lIns="0" tIns="45720" rIns="0" b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200" b="0" i="0" u="none" strike="noStrike" kern="1200" cap="none" spc="0" normalizeH="0" baseline="0" noProof="0" dirty="0">
                <a:ln>
                  <a:noFill/>
                </a:ln>
                <a:solidFill>
                  <a:srgbClr val="795FE5"/>
                </a:solidFill>
                <a:effectLst/>
                <a:uLnTx/>
                <a:uFillTx/>
                <a:latin typeface="OPPOSans B"/>
                <a:ea typeface="OPPOSans B"/>
                <a:cs typeface="OPPOSans R"/>
                <a:sym typeface="+mn-lt"/>
              </a:rPr>
              <a:t>05</a:t>
            </a:r>
            <a:endParaRPr kumimoji="0" lang="zh-CN" altLang="en-US" sz="1200" b="0" i="0" u="none" strike="noStrike" kern="1200" cap="none" spc="0" normalizeH="0" baseline="0" noProof="0" dirty="0">
              <a:ln>
                <a:noFill/>
              </a:ln>
              <a:solidFill>
                <a:srgbClr val="795FE5"/>
              </a:solidFill>
              <a:effectLst/>
              <a:uLnTx/>
              <a:uFillTx/>
              <a:latin typeface="OPPOSans B"/>
              <a:ea typeface="OPPOSans B"/>
              <a:cs typeface="OPPOSans R"/>
              <a:sym typeface="+mn-lt"/>
            </a:endParaRPr>
          </a:p>
        </p:txBody>
      </p:sp>
      <p:sp>
        <p:nvSpPr>
          <p:cNvPr id="157" name="gaoding-46">
            <a:extLst>
              <a:ext uri="{FF2B5EF4-FFF2-40B4-BE49-F238E27FC236}">
                <a16:creationId xmlns:a16="http://schemas.microsoft.com/office/drawing/2014/main" id="{7D7634EC-2630-4534-BC26-243534DA05E8}"/>
              </a:ext>
            </a:extLst>
          </p:cNvPr>
          <p:cNvSpPr txBox="1"/>
          <p:nvPr/>
        </p:nvSpPr>
        <p:spPr>
          <a:xfrm>
            <a:off x="8706706" y="6073901"/>
            <a:ext cx="707661" cy="276999"/>
          </a:xfrm>
          <a:prstGeom prst="rect">
            <a:avLst/>
          </a:prstGeom>
          <a:noFill/>
        </p:spPr>
        <p:txBody>
          <a:bodyPr wrap="square" lIns="0" tIns="45720" rIns="0" b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200" b="0" i="0" u="none" strike="noStrike" kern="1200" cap="none" spc="0" normalizeH="0" baseline="0" noProof="0" dirty="0">
                <a:ln>
                  <a:noFill/>
                </a:ln>
                <a:solidFill>
                  <a:srgbClr val="2254F4"/>
                </a:solidFill>
                <a:effectLst/>
                <a:uLnTx/>
                <a:uFillTx/>
                <a:latin typeface="OPPOSans B"/>
                <a:ea typeface="OPPOSans B"/>
                <a:cs typeface="OPPOSans R"/>
                <a:sym typeface="+mn-lt"/>
              </a:rPr>
              <a:t>06</a:t>
            </a:r>
            <a:endParaRPr kumimoji="0" lang="zh-CN" altLang="en-US" sz="1200" b="0" i="0" u="none" strike="noStrike" kern="1200" cap="none" spc="0" normalizeH="0" baseline="0" noProof="0" dirty="0">
              <a:ln>
                <a:noFill/>
              </a:ln>
              <a:solidFill>
                <a:srgbClr val="2254F4"/>
              </a:solidFill>
              <a:effectLst/>
              <a:uLnTx/>
              <a:uFillTx/>
              <a:latin typeface="OPPOSans B"/>
              <a:ea typeface="OPPOSans B"/>
              <a:cs typeface="OPPOSans R"/>
              <a:sym typeface="+mn-lt"/>
            </a:endParaRPr>
          </a:p>
        </p:txBody>
      </p:sp>
    </p:spTree>
    <p:custDataLst>
      <p:tags r:id="rId2"/>
    </p:custDataLst>
    <p:extLst>
      <p:ext uri="{BB962C8B-B14F-4D97-AF65-F5344CB8AC3E}">
        <p14:creationId xmlns:p14="http://schemas.microsoft.com/office/powerpoint/2010/main" val="516338418"/>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6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矩形 15">
            <a:extLst>
              <a:ext uri="{FF2B5EF4-FFF2-40B4-BE49-F238E27FC236}">
                <a16:creationId xmlns:a16="http://schemas.microsoft.com/office/drawing/2014/main" id="{3466C79B-3A78-4BF8-B89B-48B501DBF518}"/>
              </a:ext>
            </a:extLst>
          </p:cNvPr>
          <p:cNvSpPr/>
          <p:nvPr/>
        </p:nvSpPr>
        <p:spPr>
          <a:xfrm>
            <a:off x="0" y="0"/>
            <a:ext cx="12192000" cy="6858000"/>
          </a:xfrm>
          <a:prstGeom prst="rect">
            <a:avLst/>
          </a:prstGeom>
          <a:solidFill>
            <a:schemeClr val="bg1">
              <a:lumMod val="95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OPPOSans M"/>
              <a:ea typeface="思源黑体 CN Light"/>
              <a:cs typeface="+mn-cs"/>
            </a:endParaRPr>
          </a:p>
        </p:txBody>
      </p:sp>
      <p:sp>
        <p:nvSpPr>
          <p:cNvPr id="23" name="平行四边形 1">
            <a:extLst>
              <a:ext uri="{FF2B5EF4-FFF2-40B4-BE49-F238E27FC236}">
                <a16:creationId xmlns:a16="http://schemas.microsoft.com/office/drawing/2014/main" id="{F18A643C-76EE-4850-AFE4-F9F3AC4F9F0E}"/>
              </a:ext>
            </a:extLst>
          </p:cNvPr>
          <p:cNvSpPr/>
          <p:nvPr/>
        </p:nvSpPr>
        <p:spPr>
          <a:xfrm rot="5400000">
            <a:off x="-675449" y="2957033"/>
            <a:ext cx="4508070" cy="1728000"/>
          </a:xfrm>
          <a:prstGeom prst="parallelogram">
            <a:avLst>
              <a:gd name="adj" fmla="val 20039"/>
            </a:avLst>
          </a:prstGeom>
          <a:solidFill>
            <a:schemeClr val="bg1"/>
          </a:solidFill>
          <a:ln>
            <a:noFill/>
          </a:ln>
          <a:effectLst>
            <a:outerShdw blurRad="127000" dist="76200" dir="5400000" algn="ctr" rotWithShape="0">
              <a:schemeClr val="accent1">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white"/>
              </a:solidFill>
              <a:effectLst/>
              <a:uLnTx/>
              <a:uFillTx/>
              <a:latin typeface="OPPOSans M"/>
              <a:ea typeface="OPPOSans L" panose="00020600040101010101" pitchFamily="18" charset="-122"/>
              <a:cs typeface="+mn-cs"/>
            </a:endParaRPr>
          </a:p>
        </p:txBody>
      </p:sp>
      <p:sp>
        <p:nvSpPr>
          <p:cNvPr id="36" name="文本框 1">
            <a:extLst>
              <a:ext uri="{FF2B5EF4-FFF2-40B4-BE49-F238E27FC236}">
                <a16:creationId xmlns:a16="http://schemas.microsoft.com/office/drawing/2014/main" id="{730BAE90-6FDE-4CF8-A3DD-0C8253C8D3A7}"/>
              </a:ext>
            </a:extLst>
          </p:cNvPr>
          <p:cNvSpPr txBox="1"/>
          <p:nvPr/>
        </p:nvSpPr>
        <p:spPr>
          <a:xfrm>
            <a:off x="837666" y="2070030"/>
            <a:ext cx="1135389" cy="276999"/>
          </a:xfrm>
          <a:prstGeom prst="rect">
            <a:avLst/>
          </a:prstGeom>
          <a:noFill/>
        </p:spPr>
        <p:txBody>
          <a:bodyPr wrap="square" lIns="0" tIns="0" rIns="0" bIns="0" rtlCol="0">
            <a:spAutoFit/>
          </a:bodyPr>
          <a:lstStyle>
            <a:defPPr>
              <a:defRPr lang="zh-CN"/>
            </a:defPPr>
            <a:lvl1pPr marR="0" lvl="0" indent="0" fontAlgn="auto">
              <a:lnSpc>
                <a:spcPct val="100000"/>
              </a:lnSpc>
              <a:spcBef>
                <a:spcPts val="0"/>
              </a:spcBef>
              <a:spcAft>
                <a:spcPts val="0"/>
              </a:spcAft>
              <a:buClrTx/>
              <a:buSzTx/>
              <a:buFontTx/>
              <a:buNone/>
              <a:tabLst/>
              <a:defRPr kumimoji="0" sz="6600" b="0" i="0" u="none" strike="noStrike" cap="none" spc="0" normalizeH="0" baseline="0">
                <a:ln w="3175">
                  <a:noFill/>
                </a:ln>
                <a:gradFill flip="none" rotWithShape="1">
                  <a:gsLst>
                    <a:gs pos="0">
                      <a:schemeClr val="accent1"/>
                    </a:gs>
                    <a:gs pos="100000">
                      <a:schemeClr val="accent3"/>
                    </a:gs>
                  </a:gsLst>
                  <a:lin ang="0" scaled="1"/>
                  <a:tileRect/>
                </a:gradFill>
                <a:effectLst/>
                <a:uLnTx/>
                <a:uFillTx/>
                <a:latin typeface="思源黑体 CN Heavy" panose="020B0A00000000000000" pitchFamily="34" charset="-122"/>
                <a:ea typeface="思源黑体 CN Heavy" panose="020B0A00000000000000" pitchFamily="34" charset="-122"/>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800" b="0" i="0" u="none" strike="noStrike" kern="1200" cap="none" spc="0" normalizeH="0" baseline="0" noProof="0" dirty="0">
                <a:ln w="3175">
                  <a:noFill/>
                </a:ln>
                <a:gradFill flip="none" rotWithShape="1">
                  <a:gsLst>
                    <a:gs pos="0">
                      <a:srgbClr val="176F58"/>
                    </a:gs>
                    <a:gs pos="100000">
                      <a:srgbClr val="6FBA2C"/>
                    </a:gs>
                  </a:gsLst>
                  <a:lin ang="0" scaled="1"/>
                  <a:tileRect/>
                </a:gradFill>
                <a:effectLst>
                  <a:reflection blurRad="76200" stA="49000" endPos="50000" dist="12700" dir="5400000" sy="-100000" algn="bl" rotWithShape="0"/>
                </a:effectLst>
                <a:uLnTx/>
                <a:uFillTx/>
                <a:latin typeface="OPPOSans B" panose="00020600040101010101" pitchFamily="18" charset="-122"/>
                <a:ea typeface="OPPOSans B" panose="00020600040101010101" pitchFamily="18" charset="-122"/>
                <a:cs typeface="+mn-cs"/>
              </a:rPr>
              <a:t>秋叶</a:t>
            </a:r>
            <a:r>
              <a:rPr kumimoji="0" lang="en-US" altLang="zh-CN" sz="1800" b="0" i="0" u="none" strike="noStrike" kern="1200" cap="none" spc="0" normalizeH="0" baseline="0" noProof="0" dirty="0">
                <a:ln w="3175">
                  <a:noFill/>
                </a:ln>
                <a:gradFill flip="none" rotWithShape="1">
                  <a:gsLst>
                    <a:gs pos="0">
                      <a:srgbClr val="176F58"/>
                    </a:gs>
                    <a:gs pos="100000">
                      <a:srgbClr val="6FBA2C"/>
                    </a:gs>
                  </a:gsLst>
                  <a:lin ang="0" scaled="1"/>
                  <a:tileRect/>
                </a:gradFill>
                <a:effectLst>
                  <a:reflection blurRad="76200" stA="49000" endPos="50000" dist="12700" dir="5400000" sy="-100000" algn="bl" rotWithShape="0"/>
                </a:effectLst>
                <a:uLnTx/>
                <a:uFillTx/>
                <a:latin typeface="OPPOSans B" panose="00020600040101010101" pitchFamily="18" charset="-122"/>
                <a:ea typeface="OPPOSans B" panose="00020600040101010101" pitchFamily="18" charset="-122"/>
                <a:cs typeface="+mn-cs"/>
              </a:rPr>
              <a:t>PPT</a:t>
            </a:r>
            <a:endParaRPr kumimoji="0" lang="zh-CN" altLang="en-US" sz="1800" b="0" i="0" u="none" strike="noStrike" kern="1200" cap="none" spc="0" normalizeH="0" baseline="0" noProof="0" dirty="0">
              <a:ln w="3175">
                <a:noFill/>
              </a:ln>
              <a:gradFill flip="none" rotWithShape="1">
                <a:gsLst>
                  <a:gs pos="0">
                    <a:srgbClr val="176F58"/>
                  </a:gs>
                  <a:gs pos="100000">
                    <a:srgbClr val="6FBA2C"/>
                  </a:gs>
                </a:gsLst>
                <a:lin ang="0" scaled="1"/>
                <a:tileRect/>
              </a:gradFill>
              <a:effectLst>
                <a:reflection blurRad="76200" stA="49000" endPos="50000" dist="12700" dir="5400000" sy="-100000" algn="bl" rotWithShape="0"/>
              </a:effectLst>
              <a:uLnTx/>
              <a:uFillTx/>
              <a:latin typeface="OPPOSans B" panose="00020600040101010101" pitchFamily="18" charset="-122"/>
              <a:ea typeface="OPPOSans B" panose="00020600040101010101" pitchFamily="18" charset="-122"/>
              <a:cs typeface="+mn-cs"/>
            </a:endParaRPr>
          </a:p>
        </p:txBody>
      </p:sp>
      <p:sp>
        <p:nvSpPr>
          <p:cNvPr id="37" name="稿定PPT-10-2">
            <a:extLst>
              <a:ext uri="{FF2B5EF4-FFF2-40B4-BE49-F238E27FC236}">
                <a16:creationId xmlns:a16="http://schemas.microsoft.com/office/drawing/2014/main" id="{6066A93F-CF3A-4E5E-9915-38181E8DC041}"/>
              </a:ext>
            </a:extLst>
          </p:cNvPr>
          <p:cNvSpPr txBox="1"/>
          <p:nvPr/>
        </p:nvSpPr>
        <p:spPr>
          <a:xfrm>
            <a:off x="837666" y="2438303"/>
            <a:ext cx="1481840" cy="980931"/>
          </a:xfrm>
          <a:prstGeom prst="rect">
            <a:avLst/>
          </a:prstGeom>
          <a:noFill/>
          <a:ln>
            <a:noFill/>
          </a:ln>
          <a:effectLst/>
        </p:spPr>
        <p:txBody>
          <a:bodyPr wrap="square" lIns="0" tIns="0" rIns="0" bIns="0" anchor="t" anchorCtr="0">
            <a:noAutofit/>
          </a:bodyPr>
          <a:lstStyle>
            <a:defPPr>
              <a:defRPr lang="zh-CN"/>
            </a:defPPr>
            <a:lvl1pPr marR="0" lvl="0" indent="0" algn="just" fontAlgn="auto">
              <a:lnSpc>
                <a:spcPct val="130000"/>
              </a:lnSpc>
              <a:spcBef>
                <a:spcPts val="0"/>
              </a:spcBef>
              <a:spcAft>
                <a:spcPts val="0"/>
              </a:spcAft>
              <a:buClrTx/>
              <a:buSzPct val="25000"/>
              <a:buFontTx/>
              <a:buNone/>
              <a:tabLst/>
              <a:defRPr kumimoji="0" sz="1000" b="0" i="0" u="none" strike="noStrike" cap="none" spc="0" normalizeH="0" baseline="0">
                <a:ln>
                  <a:noFill/>
                </a:ln>
                <a:solidFill>
                  <a:schemeClr val="tx2"/>
                </a:solidFill>
                <a:effectLst/>
                <a:uLnTx/>
                <a:uFillTx/>
                <a:latin typeface="+mn-ea"/>
              </a:defRPr>
            </a:lvl1pPr>
          </a:lstStyle>
          <a:p>
            <a:pPr marL="0" marR="0" lvl="0" indent="0" algn="just" defTabSz="914400" rtl="0" eaLnBrk="1" fontAlgn="auto" latinLnBrk="0" hangingPunct="1">
              <a:lnSpc>
                <a:spcPct val="130000"/>
              </a:lnSpc>
              <a:spcBef>
                <a:spcPts val="0"/>
              </a:spcBef>
              <a:spcAft>
                <a:spcPts val="0"/>
              </a:spcAft>
              <a:buClrTx/>
              <a:buSzPct val="25000"/>
              <a:buFontTx/>
              <a:buNone/>
              <a:tabLst/>
              <a:defRPr/>
            </a:pPr>
            <a:r>
              <a:rPr kumimoji="0" lang="zh-CN" altLang="en-US" sz="1000" b="0" i="0" u="none" strike="noStrike" kern="1200" cap="none" spc="0" normalizeH="0" baseline="0" noProof="0" dirty="0">
                <a:ln>
                  <a:noFill/>
                </a:ln>
                <a:solidFill>
                  <a:srgbClr val="44546A"/>
                </a:solidFill>
                <a:effectLst/>
                <a:uLnTx/>
                <a:uFillTx/>
                <a:latin typeface="OPPOSans L" panose="00020600040101010101" pitchFamily="18" charset="-122"/>
                <a:ea typeface="OPPOSans L" panose="00020600040101010101" pitchFamily="18" charset="-122"/>
                <a:cs typeface="+mn-cs"/>
              </a:rPr>
              <a:t>借助秋叶</a:t>
            </a:r>
            <a:r>
              <a:rPr kumimoji="0" lang="en-US" altLang="zh-CN" sz="1000" b="0" i="0" u="none" strike="noStrike" kern="1200" cap="none" spc="0" normalizeH="0" baseline="0" noProof="0" dirty="0">
                <a:ln>
                  <a:noFill/>
                </a:ln>
                <a:solidFill>
                  <a:srgbClr val="44546A"/>
                </a:solidFill>
                <a:effectLst/>
                <a:uLnTx/>
                <a:uFillTx/>
                <a:latin typeface="OPPOSans L" panose="00020600040101010101" pitchFamily="18" charset="-122"/>
                <a:ea typeface="OPPOSans L" panose="00020600040101010101" pitchFamily="18" charset="-122"/>
                <a:cs typeface="+mn-cs"/>
              </a:rPr>
              <a:t>PPT</a:t>
            </a:r>
            <a:r>
              <a:rPr kumimoji="0" lang="zh-CN" altLang="en-US" sz="1000" b="0" i="0" u="none" strike="noStrike" kern="1200" cap="none" spc="0" normalizeH="0" baseline="0" noProof="0" dirty="0">
                <a:ln>
                  <a:noFill/>
                </a:ln>
                <a:solidFill>
                  <a:srgbClr val="44546A"/>
                </a:solidFill>
                <a:effectLst/>
                <a:uLnTx/>
                <a:uFillTx/>
                <a:latin typeface="OPPOSans L" panose="00020600040101010101" pitchFamily="18" charset="-122"/>
                <a:ea typeface="OPPOSans L" panose="00020600040101010101" pitchFamily="18" charset="-122"/>
                <a:cs typeface="+mn-cs"/>
              </a:rPr>
              <a:t>插件，通过添加图片等素材，用强大的视觉表现力打动听众，讲述生动的演示故事。</a:t>
            </a:r>
          </a:p>
        </p:txBody>
      </p:sp>
      <p:sp>
        <p:nvSpPr>
          <p:cNvPr id="46" name="文本框 1">
            <a:extLst>
              <a:ext uri="{FF2B5EF4-FFF2-40B4-BE49-F238E27FC236}">
                <a16:creationId xmlns:a16="http://schemas.microsoft.com/office/drawing/2014/main" id="{8A196E57-5D68-4CBB-B5FB-3E8F49542EA6}"/>
              </a:ext>
            </a:extLst>
          </p:cNvPr>
          <p:cNvSpPr txBox="1"/>
          <p:nvPr/>
        </p:nvSpPr>
        <p:spPr>
          <a:xfrm>
            <a:off x="837666" y="4186082"/>
            <a:ext cx="1135389" cy="276999"/>
          </a:xfrm>
          <a:prstGeom prst="rect">
            <a:avLst/>
          </a:prstGeom>
          <a:noFill/>
        </p:spPr>
        <p:txBody>
          <a:bodyPr wrap="square" lIns="0" tIns="0" rIns="0" bIns="0" rtlCol="0">
            <a:spAutoFit/>
          </a:bodyPr>
          <a:lstStyle>
            <a:defPPr>
              <a:defRPr lang="zh-CN"/>
            </a:defPPr>
            <a:lvl1pPr marR="0" lvl="0" indent="0" fontAlgn="auto">
              <a:lnSpc>
                <a:spcPct val="100000"/>
              </a:lnSpc>
              <a:spcBef>
                <a:spcPts val="0"/>
              </a:spcBef>
              <a:spcAft>
                <a:spcPts val="0"/>
              </a:spcAft>
              <a:buClrTx/>
              <a:buSzTx/>
              <a:buFontTx/>
              <a:buNone/>
              <a:tabLst/>
              <a:defRPr kumimoji="0" sz="6600" b="0" i="0" u="none" strike="noStrike" cap="none" spc="0" normalizeH="0" baseline="0">
                <a:ln w="3175">
                  <a:noFill/>
                </a:ln>
                <a:gradFill flip="none" rotWithShape="1">
                  <a:gsLst>
                    <a:gs pos="0">
                      <a:schemeClr val="accent1"/>
                    </a:gs>
                    <a:gs pos="100000">
                      <a:schemeClr val="accent3"/>
                    </a:gs>
                  </a:gsLst>
                  <a:lin ang="0" scaled="1"/>
                  <a:tileRect/>
                </a:gradFill>
                <a:effectLst/>
                <a:uLnTx/>
                <a:uFillTx/>
                <a:latin typeface="思源黑体 CN Heavy" panose="020B0A00000000000000" pitchFamily="34" charset="-122"/>
                <a:ea typeface="思源黑体 CN Heavy" panose="020B0A00000000000000" pitchFamily="34" charset="-122"/>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800" b="0" i="0" u="none" strike="noStrike" kern="1200" cap="none" spc="0" normalizeH="0" baseline="0" noProof="0" dirty="0">
                <a:ln w="3175">
                  <a:noFill/>
                </a:ln>
                <a:gradFill flip="none" rotWithShape="1">
                  <a:gsLst>
                    <a:gs pos="0">
                      <a:srgbClr val="176F58"/>
                    </a:gs>
                    <a:gs pos="100000">
                      <a:srgbClr val="6FBA2C"/>
                    </a:gs>
                  </a:gsLst>
                  <a:lin ang="0" scaled="1"/>
                  <a:tileRect/>
                </a:gradFill>
                <a:effectLst>
                  <a:reflection blurRad="76200" stA="49000" endPos="50000" dist="12700" dir="5400000" sy="-100000" algn="bl" rotWithShape="0"/>
                </a:effectLst>
                <a:uLnTx/>
                <a:uFillTx/>
                <a:latin typeface="OPPOSans B" panose="00020600040101010101" pitchFamily="18" charset="-122"/>
                <a:ea typeface="OPPOSans B" panose="00020600040101010101" pitchFamily="18" charset="-122"/>
                <a:cs typeface="+mn-cs"/>
              </a:rPr>
              <a:t>秋叶</a:t>
            </a:r>
            <a:r>
              <a:rPr kumimoji="0" lang="en-US" altLang="zh-CN" sz="1800" b="0" i="0" u="none" strike="noStrike" kern="1200" cap="none" spc="0" normalizeH="0" baseline="0" noProof="0" dirty="0">
                <a:ln w="3175">
                  <a:noFill/>
                </a:ln>
                <a:gradFill flip="none" rotWithShape="1">
                  <a:gsLst>
                    <a:gs pos="0">
                      <a:srgbClr val="176F58"/>
                    </a:gs>
                    <a:gs pos="100000">
                      <a:srgbClr val="6FBA2C"/>
                    </a:gs>
                  </a:gsLst>
                  <a:lin ang="0" scaled="1"/>
                  <a:tileRect/>
                </a:gradFill>
                <a:effectLst>
                  <a:reflection blurRad="76200" stA="49000" endPos="50000" dist="12700" dir="5400000" sy="-100000" algn="bl" rotWithShape="0"/>
                </a:effectLst>
                <a:uLnTx/>
                <a:uFillTx/>
                <a:latin typeface="OPPOSans B" panose="00020600040101010101" pitchFamily="18" charset="-122"/>
                <a:ea typeface="OPPOSans B" panose="00020600040101010101" pitchFamily="18" charset="-122"/>
                <a:cs typeface="+mn-cs"/>
              </a:rPr>
              <a:t>PPT</a:t>
            </a:r>
            <a:endParaRPr kumimoji="0" lang="zh-CN" altLang="en-US" sz="1800" b="0" i="0" u="none" strike="noStrike" kern="1200" cap="none" spc="0" normalizeH="0" baseline="0" noProof="0" dirty="0">
              <a:ln w="3175">
                <a:noFill/>
              </a:ln>
              <a:gradFill flip="none" rotWithShape="1">
                <a:gsLst>
                  <a:gs pos="0">
                    <a:srgbClr val="176F58"/>
                  </a:gs>
                  <a:gs pos="100000">
                    <a:srgbClr val="6FBA2C"/>
                  </a:gs>
                </a:gsLst>
                <a:lin ang="0" scaled="1"/>
                <a:tileRect/>
              </a:gradFill>
              <a:effectLst>
                <a:reflection blurRad="76200" stA="49000" endPos="50000" dist="12700" dir="5400000" sy="-100000" algn="bl" rotWithShape="0"/>
              </a:effectLst>
              <a:uLnTx/>
              <a:uFillTx/>
              <a:latin typeface="OPPOSans B" panose="00020600040101010101" pitchFamily="18" charset="-122"/>
              <a:ea typeface="OPPOSans B" panose="00020600040101010101" pitchFamily="18" charset="-122"/>
              <a:cs typeface="+mn-cs"/>
            </a:endParaRPr>
          </a:p>
        </p:txBody>
      </p:sp>
      <p:sp>
        <p:nvSpPr>
          <p:cNvPr id="47" name="稿定PPT-10-2">
            <a:extLst>
              <a:ext uri="{FF2B5EF4-FFF2-40B4-BE49-F238E27FC236}">
                <a16:creationId xmlns:a16="http://schemas.microsoft.com/office/drawing/2014/main" id="{AD904269-6E6B-47CA-A140-2C37D2CF64AC}"/>
              </a:ext>
            </a:extLst>
          </p:cNvPr>
          <p:cNvSpPr txBox="1"/>
          <p:nvPr/>
        </p:nvSpPr>
        <p:spPr>
          <a:xfrm>
            <a:off x="837666" y="4554355"/>
            <a:ext cx="1481840" cy="980931"/>
          </a:xfrm>
          <a:prstGeom prst="rect">
            <a:avLst/>
          </a:prstGeom>
          <a:noFill/>
          <a:ln>
            <a:noFill/>
          </a:ln>
          <a:effectLst/>
        </p:spPr>
        <p:txBody>
          <a:bodyPr wrap="square" lIns="0" tIns="0" rIns="0" bIns="0" anchor="t" anchorCtr="0">
            <a:noAutofit/>
          </a:bodyPr>
          <a:lstStyle>
            <a:defPPr>
              <a:defRPr lang="zh-CN"/>
            </a:defPPr>
            <a:lvl1pPr marR="0" lvl="0" indent="0" algn="just" fontAlgn="auto">
              <a:lnSpc>
                <a:spcPct val="130000"/>
              </a:lnSpc>
              <a:spcBef>
                <a:spcPts val="0"/>
              </a:spcBef>
              <a:spcAft>
                <a:spcPts val="0"/>
              </a:spcAft>
              <a:buClrTx/>
              <a:buSzPct val="25000"/>
              <a:buFontTx/>
              <a:buNone/>
              <a:tabLst/>
              <a:defRPr kumimoji="0" sz="1000" b="0" i="0" u="none" strike="noStrike" cap="none" spc="0" normalizeH="0" baseline="0">
                <a:ln>
                  <a:noFill/>
                </a:ln>
                <a:solidFill>
                  <a:schemeClr val="tx2"/>
                </a:solidFill>
                <a:effectLst/>
                <a:uLnTx/>
                <a:uFillTx/>
                <a:latin typeface="+mn-ea"/>
              </a:defRPr>
            </a:lvl1pPr>
          </a:lstStyle>
          <a:p>
            <a:pPr marL="0" marR="0" lvl="0" indent="0" algn="just" defTabSz="914400" rtl="0" eaLnBrk="1" fontAlgn="auto" latinLnBrk="0" hangingPunct="1">
              <a:lnSpc>
                <a:spcPct val="130000"/>
              </a:lnSpc>
              <a:spcBef>
                <a:spcPts val="0"/>
              </a:spcBef>
              <a:spcAft>
                <a:spcPts val="0"/>
              </a:spcAft>
              <a:buClrTx/>
              <a:buSzPct val="25000"/>
              <a:buFontTx/>
              <a:buNone/>
              <a:tabLst/>
              <a:defRPr/>
            </a:pPr>
            <a:r>
              <a:rPr kumimoji="0" lang="zh-CN" altLang="en-US" sz="1000" b="0" i="0" u="none" strike="noStrike" kern="1200" cap="none" spc="0" normalizeH="0" baseline="0" noProof="0" dirty="0">
                <a:ln>
                  <a:noFill/>
                </a:ln>
                <a:solidFill>
                  <a:srgbClr val="44546A"/>
                </a:solidFill>
                <a:effectLst/>
                <a:uLnTx/>
                <a:uFillTx/>
                <a:latin typeface="OPPOSans L" panose="00020600040101010101" pitchFamily="18" charset="-122"/>
                <a:ea typeface="OPPOSans L" panose="00020600040101010101" pitchFamily="18" charset="-122"/>
                <a:cs typeface="+mn-cs"/>
              </a:rPr>
              <a:t>秋叶</a:t>
            </a:r>
            <a:r>
              <a:rPr kumimoji="0" lang="en-US" altLang="zh-CN" sz="1000" b="0" i="0" u="none" strike="noStrike" kern="1200" cap="none" spc="0" normalizeH="0" baseline="0" noProof="0" dirty="0">
                <a:ln>
                  <a:noFill/>
                </a:ln>
                <a:solidFill>
                  <a:srgbClr val="44546A"/>
                </a:solidFill>
                <a:effectLst/>
                <a:uLnTx/>
                <a:uFillTx/>
                <a:latin typeface="OPPOSans L" panose="00020600040101010101" pitchFamily="18" charset="-122"/>
                <a:ea typeface="OPPOSans L" panose="00020600040101010101" pitchFamily="18" charset="-122"/>
                <a:cs typeface="+mn-cs"/>
              </a:rPr>
              <a:t>PPT</a:t>
            </a:r>
            <a:r>
              <a:rPr kumimoji="0" lang="zh-CN" altLang="en-US" sz="1000" b="0" i="0" u="none" strike="noStrike" kern="1200" cap="none" spc="0" normalizeH="0" baseline="0" noProof="0" dirty="0">
                <a:ln>
                  <a:noFill/>
                </a:ln>
                <a:solidFill>
                  <a:srgbClr val="44546A"/>
                </a:solidFill>
                <a:effectLst/>
                <a:uLnTx/>
                <a:uFillTx/>
                <a:latin typeface="OPPOSans L" panose="00020600040101010101" pitchFamily="18" charset="-122"/>
                <a:ea typeface="OPPOSans L" panose="00020600040101010101" pitchFamily="18" charset="-122"/>
                <a:cs typeface="+mn-cs"/>
              </a:rPr>
              <a:t>丰富的信息图表覆盖并列</a:t>
            </a:r>
            <a:r>
              <a:rPr kumimoji="0" lang="en-US" altLang="zh-CN" sz="1000" b="0" i="0" u="none" strike="noStrike" kern="1200" cap="none" spc="0" normalizeH="0" baseline="0" noProof="0" dirty="0">
                <a:ln>
                  <a:noFill/>
                </a:ln>
                <a:solidFill>
                  <a:srgbClr val="44546A"/>
                </a:solidFill>
                <a:effectLst/>
                <a:uLnTx/>
                <a:uFillTx/>
                <a:latin typeface="OPPOSans L" panose="00020600040101010101" pitchFamily="18" charset="-122"/>
                <a:ea typeface="OPPOSans L" panose="00020600040101010101" pitchFamily="18" charset="-122"/>
                <a:cs typeface="+mn-cs"/>
              </a:rPr>
              <a:t>/</a:t>
            </a:r>
            <a:r>
              <a:rPr kumimoji="0" lang="zh-CN" altLang="en-US" sz="1000" b="0" i="0" u="none" strike="noStrike" kern="1200" cap="none" spc="0" normalizeH="0" baseline="0" noProof="0" dirty="0">
                <a:ln>
                  <a:noFill/>
                </a:ln>
                <a:solidFill>
                  <a:srgbClr val="44546A"/>
                </a:solidFill>
                <a:effectLst/>
                <a:uLnTx/>
                <a:uFillTx/>
                <a:latin typeface="OPPOSans L" panose="00020600040101010101" pitchFamily="18" charset="-122"/>
                <a:ea typeface="OPPOSans L" panose="00020600040101010101" pitchFamily="18" charset="-122"/>
                <a:cs typeface="+mn-cs"/>
              </a:rPr>
              <a:t>流程</a:t>
            </a:r>
            <a:r>
              <a:rPr kumimoji="0" lang="en-US" altLang="zh-CN" sz="1000" b="0" i="0" u="none" strike="noStrike" kern="1200" cap="none" spc="0" normalizeH="0" baseline="0" noProof="0" dirty="0">
                <a:ln>
                  <a:noFill/>
                </a:ln>
                <a:solidFill>
                  <a:srgbClr val="44546A"/>
                </a:solidFill>
                <a:effectLst/>
                <a:uLnTx/>
                <a:uFillTx/>
                <a:latin typeface="OPPOSans L" panose="00020600040101010101" pitchFamily="18" charset="-122"/>
                <a:ea typeface="OPPOSans L" panose="00020600040101010101" pitchFamily="18" charset="-122"/>
                <a:cs typeface="+mn-cs"/>
              </a:rPr>
              <a:t>/</a:t>
            </a:r>
            <a:r>
              <a:rPr kumimoji="0" lang="zh-CN" altLang="en-US" sz="1000" b="0" i="0" u="none" strike="noStrike" kern="1200" cap="none" spc="0" normalizeH="0" baseline="0" noProof="0" dirty="0">
                <a:ln>
                  <a:noFill/>
                </a:ln>
                <a:solidFill>
                  <a:srgbClr val="44546A"/>
                </a:solidFill>
                <a:effectLst/>
                <a:uLnTx/>
                <a:uFillTx/>
                <a:latin typeface="OPPOSans L" panose="00020600040101010101" pitchFamily="18" charset="-122"/>
                <a:ea typeface="OPPOSans L" panose="00020600040101010101" pitchFamily="18" charset="-122"/>
                <a:cs typeface="+mn-cs"/>
              </a:rPr>
              <a:t>层级等多种逻辑关系，帮助有效梳理页面内容。</a:t>
            </a:r>
          </a:p>
        </p:txBody>
      </p:sp>
      <p:sp>
        <p:nvSpPr>
          <p:cNvPr id="24" name="平行四边形 2">
            <a:extLst>
              <a:ext uri="{FF2B5EF4-FFF2-40B4-BE49-F238E27FC236}">
                <a16:creationId xmlns:a16="http://schemas.microsoft.com/office/drawing/2014/main" id="{835F7A53-E6E8-423A-AD20-B158D5C8C222}"/>
              </a:ext>
            </a:extLst>
          </p:cNvPr>
          <p:cNvSpPr/>
          <p:nvPr/>
        </p:nvSpPr>
        <p:spPr>
          <a:xfrm rot="5400000">
            <a:off x="1174901" y="2772773"/>
            <a:ext cx="4428922" cy="1728000"/>
          </a:xfrm>
          <a:prstGeom prst="parallelogram">
            <a:avLst>
              <a:gd name="adj" fmla="val 20039"/>
            </a:avLst>
          </a:prstGeom>
          <a:solidFill>
            <a:schemeClr val="bg1"/>
          </a:solidFill>
          <a:ln>
            <a:noFill/>
          </a:ln>
          <a:effectLst>
            <a:outerShdw blurRad="127000" dist="76200" dir="5400000" algn="ctr" rotWithShape="0">
              <a:schemeClr val="accent1">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white"/>
              </a:solidFill>
              <a:effectLst/>
              <a:uLnTx/>
              <a:uFillTx/>
              <a:latin typeface="OPPOSans M"/>
              <a:ea typeface="OPPOSans L" panose="00020600040101010101" pitchFamily="18" charset="-122"/>
              <a:cs typeface="+mn-cs"/>
            </a:endParaRPr>
          </a:p>
        </p:txBody>
      </p:sp>
      <p:sp>
        <p:nvSpPr>
          <p:cNvPr id="49" name="文本框 1">
            <a:extLst>
              <a:ext uri="{FF2B5EF4-FFF2-40B4-BE49-F238E27FC236}">
                <a16:creationId xmlns:a16="http://schemas.microsoft.com/office/drawing/2014/main" id="{8A2CE79A-379F-4920-9F40-367F5F75D9A6}"/>
              </a:ext>
            </a:extLst>
          </p:cNvPr>
          <p:cNvSpPr txBox="1"/>
          <p:nvPr/>
        </p:nvSpPr>
        <p:spPr>
          <a:xfrm>
            <a:off x="2648442" y="1948883"/>
            <a:ext cx="1135389" cy="276999"/>
          </a:xfrm>
          <a:prstGeom prst="rect">
            <a:avLst/>
          </a:prstGeom>
          <a:noFill/>
        </p:spPr>
        <p:txBody>
          <a:bodyPr wrap="square" lIns="0" tIns="0" rIns="0" bIns="0" rtlCol="0">
            <a:spAutoFit/>
          </a:bodyPr>
          <a:lstStyle>
            <a:defPPr>
              <a:defRPr lang="zh-CN"/>
            </a:defPPr>
            <a:lvl1pPr marR="0" lvl="0" indent="0" fontAlgn="auto">
              <a:lnSpc>
                <a:spcPct val="100000"/>
              </a:lnSpc>
              <a:spcBef>
                <a:spcPts val="0"/>
              </a:spcBef>
              <a:spcAft>
                <a:spcPts val="0"/>
              </a:spcAft>
              <a:buClrTx/>
              <a:buSzTx/>
              <a:buFontTx/>
              <a:buNone/>
              <a:tabLst/>
              <a:defRPr kumimoji="0" sz="6600" b="0" i="0" u="none" strike="noStrike" cap="none" spc="0" normalizeH="0" baseline="0">
                <a:ln w="3175">
                  <a:noFill/>
                </a:ln>
                <a:gradFill flip="none" rotWithShape="1">
                  <a:gsLst>
                    <a:gs pos="0">
                      <a:schemeClr val="accent1"/>
                    </a:gs>
                    <a:gs pos="100000">
                      <a:schemeClr val="accent3"/>
                    </a:gs>
                  </a:gsLst>
                  <a:lin ang="0" scaled="1"/>
                  <a:tileRect/>
                </a:gradFill>
                <a:effectLst/>
                <a:uLnTx/>
                <a:uFillTx/>
                <a:latin typeface="思源黑体 CN Heavy" panose="020B0A00000000000000" pitchFamily="34" charset="-122"/>
                <a:ea typeface="思源黑体 CN Heavy" panose="020B0A00000000000000" pitchFamily="34" charset="-122"/>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800" b="0" i="0" u="none" strike="noStrike" kern="1200" cap="none" spc="0" normalizeH="0" baseline="0" noProof="0" dirty="0">
                <a:ln w="3175">
                  <a:noFill/>
                </a:ln>
                <a:gradFill flip="none" rotWithShape="1">
                  <a:gsLst>
                    <a:gs pos="0">
                      <a:srgbClr val="176F58"/>
                    </a:gs>
                    <a:gs pos="100000">
                      <a:srgbClr val="6FBA2C"/>
                    </a:gs>
                  </a:gsLst>
                  <a:lin ang="0" scaled="1"/>
                  <a:tileRect/>
                </a:gradFill>
                <a:effectLst>
                  <a:reflection blurRad="76200" stA="49000" endPos="50000" dist="12700" dir="5400000" sy="-100000" algn="bl" rotWithShape="0"/>
                </a:effectLst>
                <a:uLnTx/>
                <a:uFillTx/>
                <a:latin typeface="OPPOSans B" panose="00020600040101010101" pitchFamily="18" charset="-122"/>
                <a:ea typeface="OPPOSans B" panose="00020600040101010101" pitchFamily="18" charset="-122"/>
                <a:cs typeface="+mn-cs"/>
              </a:rPr>
              <a:t>秋叶</a:t>
            </a:r>
            <a:r>
              <a:rPr kumimoji="0" lang="en-US" altLang="zh-CN" sz="1800" b="0" i="0" u="none" strike="noStrike" kern="1200" cap="none" spc="0" normalizeH="0" baseline="0" noProof="0" dirty="0">
                <a:ln w="3175">
                  <a:noFill/>
                </a:ln>
                <a:gradFill flip="none" rotWithShape="1">
                  <a:gsLst>
                    <a:gs pos="0">
                      <a:srgbClr val="176F58"/>
                    </a:gs>
                    <a:gs pos="100000">
                      <a:srgbClr val="6FBA2C"/>
                    </a:gs>
                  </a:gsLst>
                  <a:lin ang="0" scaled="1"/>
                  <a:tileRect/>
                </a:gradFill>
                <a:effectLst>
                  <a:reflection blurRad="76200" stA="49000" endPos="50000" dist="12700" dir="5400000" sy="-100000" algn="bl" rotWithShape="0"/>
                </a:effectLst>
                <a:uLnTx/>
                <a:uFillTx/>
                <a:latin typeface="OPPOSans B" panose="00020600040101010101" pitchFamily="18" charset="-122"/>
                <a:ea typeface="OPPOSans B" panose="00020600040101010101" pitchFamily="18" charset="-122"/>
                <a:cs typeface="+mn-cs"/>
              </a:rPr>
              <a:t>PPT</a:t>
            </a:r>
            <a:endParaRPr kumimoji="0" lang="zh-CN" altLang="en-US" sz="1800" b="0" i="0" u="none" strike="noStrike" kern="1200" cap="none" spc="0" normalizeH="0" baseline="0" noProof="0" dirty="0">
              <a:ln w="3175">
                <a:noFill/>
              </a:ln>
              <a:gradFill flip="none" rotWithShape="1">
                <a:gsLst>
                  <a:gs pos="0">
                    <a:srgbClr val="176F58"/>
                  </a:gs>
                  <a:gs pos="100000">
                    <a:srgbClr val="6FBA2C"/>
                  </a:gs>
                </a:gsLst>
                <a:lin ang="0" scaled="1"/>
                <a:tileRect/>
              </a:gradFill>
              <a:effectLst>
                <a:reflection blurRad="76200" stA="49000" endPos="50000" dist="12700" dir="5400000" sy="-100000" algn="bl" rotWithShape="0"/>
              </a:effectLst>
              <a:uLnTx/>
              <a:uFillTx/>
              <a:latin typeface="OPPOSans B" panose="00020600040101010101" pitchFamily="18" charset="-122"/>
              <a:ea typeface="OPPOSans B" panose="00020600040101010101" pitchFamily="18" charset="-122"/>
              <a:cs typeface="+mn-cs"/>
            </a:endParaRPr>
          </a:p>
        </p:txBody>
      </p:sp>
      <p:sp>
        <p:nvSpPr>
          <p:cNvPr id="50" name="稿定PPT-10-2">
            <a:extLst>
              <a:ext uri="{FF2B5EF4-FFF2-40B4-BE49-F238E27FC236}">
                <a16:creationId xmlns:a16="http://schemas.microsoft.com/office/drawing/2014/main" id="{9D573432-3F9C-460C-8CB0-B86A3C88201C}"/>
              </a:ext>
            </a:extLst>
          </p:cNvPr>
          <p:cNvSpPr txBox="1"/>
          <p:nvPr/>
        </p:nvSpPr>
        <p:spPr>
          <a:xfrm>
            <a:off x="2648442" y="2317156"/>
            <a:ext cx="1481840" cy="980931"/>
          </a:xfrm>
          <a:prstGeom prst="rect">
            <a:avLst/>
          </a:prstGeom>
          <a:noFill/>
          <a:ln>
            <a:noFill/>
          </a:ln>
          <a:effectLst/>
        </p:spPr>
        <p:txBody>
          <a:bodyPr wrap="square" lIns="0" tIns="0" rIns="0" bIns="0" anchor="t" anchorCtr="0">
            <a:noAutofit/>
          </a:bodyPr>
          <a:lstStyle>
            <a:defPPr>
              <a:defRPr lang="zh-CN"/>
            </a:defPPr>
            <a:lvl1pPr marR="0" lvl="0" indent="0" algn="just" fontAlgn="auto">
              <a:lnSpc>
                <a:spcPct val="130000"/>
              </a:lnSpc>
              <a:spcBef>
                <a:spcPts val="0"/>
              </a:spcBef>
              <a:spcAft>
                <a:spcPts val="0"/>
              </a:spcAft>
              <a:buClrTx/>
              <a:buSzPct val="25000"/>
              <a:buFontTx/>
              <a:buNone/>
              <a:tabLst/>
              <a:defRPr kumimoji="0" sz="1000" b="0" i="0" u="none" strike="noStrike" cap="none" spc="0" normalizeH="0" baseline="0">
                <a:ln>
                  <a:noFill/>
                </a:ln>
                <a:solidFill>
                  <a:schemeClr val="tx2"/>
                </a:solidFill>
                <a:effectLst/>
                <a:uLnTx/>
                <a:uFillTx/>
                <a:latin typeface="+mn-ea"/>
              </a:defRPr>
            </a:lvl1pPr>
          </a:lstStyle>
          <a:p>
            <a:pPr marL="0" marR="0" lvl="0" indent="0" algn="just" defTabSz="914400" rtl="0" eaLnBrk="1" fontAlgn="auto" latinLnBrk="0" hangingPunct="1">
              <a:lnSpc>
                <a:spcPct val="130000"/>
              </a:lnSpc>
              <a:spcBef>
                <a:spcPts val="0"/>
              </a:spcBef>
              <a:spcAft>
                <a:spcPts val="0"/>
              </a:spcAft>
              <a:buClrTx/>
              <a:buSzPct val="25000"/>
              <a:buFontTx/>
              <a:buNone/>
              <a:tabLst/>
              <a:defRPr/>
            </a:pPr>
            <a:r>
              <a:rPr kumimoji="0" lang="zh-CN" altLang="en-US" sz="1000" b="0" i="0" u="none" strike="noStrike" kern="1200" cap="none" spc="0" normalizeH="0" baseline="0" noProof="0" dirty="0">
                <a:ln>
                  <a:noFill/>
                </a:ln>
                <a:solidFill>
                  <a:srgbClr val="44546A"/>
                </a:solidFill>
                <a:effectLst/>
                <a:uLnTx/>
                <a:uFillTx/>
                <a:latin typeface="OPPOSans L" panose="00020600040101010101" pitchFamily="18" charset="-122"/>
                <a:ea typeface="OPPOSans L" panose="00020600040101010101" pitchFamily="18" charset="-122"/>
                <a:cs typeface="+mn-cs"/>
              </a:rPr>
              <a:t>秋叶</a:t>
            </a:r>
            <a:r>
              <a:rPr kumimoji="0" lang="en-US" altLang="zh-CN" sz="1000" b="0" i="0" u="none" strike="noStrike" kern="1200" cap="none" spc="0" normalizeH="0" baseline="0" noProof="0" dirty="0">
                <a:ln>
                  <a:noFill/>
                </a:ln>
                <a:solidFill>
                  <a:srgbClr val="44546A"/>
                </a:solidFill>
                <a:effectLst/>
                <a:uLnTx/>
                <a:uFillTx/>
                <a:latin typeface="OPPOSans L" panose="00020600040101010101" pitchFamily="18" charset="-122"/>
                <a:ea typeface="OPPOSans L" panose="00020600040101010101" pitchFamily="18" charset="-122"/>
                <a:cs typeface="+mn-cs"/>
              </a:rPr>
              <a:t>PPT</a:t>
            </a:r>
            <a:r>
              <a:rPr kumimoji="0" lang="zh-CN" altLang="en-US" sz="1000" b="0" i="0" u="none" strike="noStrike" kern="1200" cap="none" spc="0" normalizeH="0" baseline="0" noProof="0" dirty="0">
                <a:ln>
                  <a:noFill/>
                </a:ln>
                <a:solidFill>
                  <a:srgbClr val="44546A"/>
                </a:solidFill>
                <a:effectLst/>
                <a:uLnTx/>
                <a:uFillTx/>
                <a:latin typeface="OPPOSans L" panose="00020600040101010101" pitchFamily="18" charset="-122"/>
                <a:ea typeface="OPPOSans L" panose="00020600040101010101" pitchFamily="18" charset="-122"/>
                <a:cs typeface="+mn-cs"/>
              </a:rPr>
              <a:t>，科技为创作赋能，无需重复劳动，更多时间留给演示创作。只要会打字，就能制作专业的演示效果。</a:t>
            </a:r>
          </a:p>
        </p:txBody>
      </p:sp>
      <p:sp>
        <p:nvSpPr>
          <p:cNvPr id="52" name="文本框 1">
            <a:extLst>
              <a:ext uri="{FF2B5EF4-FFF2-40B4-BE49-F238E27FC236}">
                <a16:creationId xmlns:a16="http://schemas.microsoft.com/office/drawing/2014/main" id="{90E9036D-7A0B-4E69-8204-B032C4782A1E}"/>
              </a:ext>
            </a:extLst>
          </p:cNvPr>
          <p:cNvSpPr txBox="1"/>
          <p:nvPr/>
        </p:nvSpPr>
        <p:spPr>
          <a:xfrm>
            <a:off x="2648442" y="4047843"/>
            <a:ext cx="1135389" cy="276999"/>
          </a:xfrm>
          <a:prstGeom prst="rect">
            <a:avLst/>
          </a:prstGeom>
          <a:noFill/>
        </p:spPr>
        <p:txBody>
          <a:bodyPr wrap="square" lIns="0" tIns="0" rIns="0" bIns="0" rtlCol="0">
            <a:spAutoFit/>
          </a:bodyPr>
          <a:lstStyle>
            <a:defPPr>
              <a:defRPr lang="zh-CN"/>
            </a:defPPr>
            <a:lvl1pPr marR="0" lvl="0" indent="0" fontAlgn="auto">
              <a:lnSpc>
                <a:spcPct val="100000"/>
              </a:lnSpc>
              <a:spcBef>
                <a:spcPts val="0"/>
              </a:spcBef>
              <a:spcAft>
                <a:spcPts val="0"/>
              </a:spcAft>
              <a:buClrTx/>
              <a:buSzTx/>
              <a:buFontTx/>
              <a:buNone/>
              <a:tabLst/>
              <a:defRPr kumimoji="0" sz="6600" b="0" i="0" u="none" strike="noStrike" cap="none" spc="0" normalizeH="0" baseline="0">
                <a:ln w="3175">
                  <a:noFill/>
                </a:ln>
                <a:gradFill flip="none" rotWithShape="1">
                  <a:gsLst>
                    <a:gs pos="0">
                      <a:schemeClr val="accent1"/>
                    </a:gs>
                    <a:gs pos="100000">
                      <a:schemeClr val="accent3"/>
                    </a:gs>
                  </a:gsLst>
                  <a:lin ang="0" scaled="1"/>
                  <a:tileRect/>
                </a:gradFill>
                <a:effectLst/>
                <a:uLnTx/>
                <a:uFillTx/>
                <a:latin typeface="思源黑体 CN Heavy" panose="020B0A00000000000000" pitchFamily="34" charset="-122"/>
                <a:ea typeface="思源黑体 CN Heavy" panose="020B0A00000000000000" pitchFamily="34" charset="-122"/>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800" b="0" i="0" u="none" strike="noStrike" kern="1200" cap="none" spc="0" normalizeH="0" baseline="0" noProof="0" dirty="0">
                <a:ln w="3175">
                  <a:noFill/>
                </a:ln>
                <a:gradFill flip="none" rotWithShape="1">
                  <a:gsLst>
                    <a:gs pos="0">
                      <a:srgbClr val="176F58"/>
                    </a:gs>
                    <a:gs pos="100000">
                      <a:srgbClr val="6FBA2C"/>
                    </a:gs>
                  </a:gsLst>
                  <a:lin ang="0" scaled="1"/>
                  <a:tileRect/>
                </a:gradFill>
                <a:effectLst>
                  <a:reflection blurRad="76200" stA="49000" endPos="50000" dist="12700" dir="5400000" sy="-100000" algn="bl" rotWithShape="0"/>
                </a:effectLst>
                <a:uLnTx/>
                <a:uFillTx/>
                <a:latin typeface="OPPOSans B" panose="00020600040101010101" pitchFamily="18" charset="-122"/>
                <a:ea typeface="OPPOSans B" panose="00020600040101010101" pitchFamily="18" charset="-122"/>
                <a:cs typeface="+mn-cs"/>
              </a:rPr>
              <a:t>秋叶</a:t>
            </a:r>
            <a:r>
              <a:rPr kumimoji="0" lang="en-US" altLang="zh-CN" sz="1800" b="0" i="0" u="none" strike="noStrike" kern="1200" cap="none" spc="0" normalizeH="0" baseline="0" noProof="0" dirty="0">
                <a:ln w="3175">
                  <a:noFill/>
                </a:ln>
                <a:gradFill flip="none" rotWithShape="1">
                  <a:gsLst>
                    <a:gs pos="0">
                      <a:srgbClr val="176F58"/>
                    </a:gs>
                    <a:gs pos="100000">
                      <a:srgbClr val="6FBA2C"/>
                    </a:gs>
                  </a:gsLst>
                  <a:lin ang="0" scaled="1"/>
                  <a:tileRect/>
                </a:gradFill>
                <a:effectLst>
                  <a:reflection blurRad="76200" stA="49000" endPos="50000" dist="12700" dir="5400000" sy="-100000" algn="bl" rotWithShape="0"/>
                </a:effectLst>
                <a:uLnTx/>
                <a:uFillTx/>
                <a:latin typeface="OPPOSans B" panose="00020600040101010101" pitchFamily="18" charset="-122"/>
                <a:ea typeface="OPPOSans B" panose="00020600040101010101" pitchFamily="18" charset="-122"/>
                <a:cs typeface="+mn-cs"/>
              </a:rPr>
              <a:t>PPT</a:t>
            </a:r>
            <a:endParaRPr kumimoji="0" lang="zh-CN" altLang="en-US" sz="1800" b="0" i="0" u="none" strike="noStrike" kern="1200" cap="none" spc="0" normalizeH="0" baseline="0" noProof="0" dirty="0">
              <a:ln w="3175">
                <a:noFill/>
              </a:ln>
              <a:gradFill flip="none" rotWithShape="1">
                <a:gsLst>
                  <a:gs pos="0">
                    <a:srgbClr val="176F58"/>
                  </a:gs>
                  <a:gs pos="100000">
                    <a:srgbClr val="6FBA2C"/>
                  </a:gs>
                </a:gsLst>
                <a:lin ang="0" scaled="1"/>
                <a:tileRect/>
              </a:gradFill>
              <a:effectLst>
                <a:reflection blurRad="76200" stA="49000" endPos="50000" dist="12700" dir="5400000" sy="-100000" algn="bl" rotWithShape="0"/>
              </a:effectLst>
              <a:uLnTx/>
              <a:uFillTx/>
              <a:latin typeface="OPPOSans B" panose="00020600040101010101" pitchFamily="18" charset="-122"/>
              <a:ea typeface="OPPOSans B" panose="00020600040101010101" pitchFamily="18" charset="-122"/>
              <a:cs typeface="+mn-cs"/>
            </a:endParaRPr>
          </a:p>
        </p:txBody>
      </p:sp>
      <p:sp>
        <p:nvSpPr>
          <p:cNvPr id="53" name="稿定PPT-10-2">
            <a:extLst>
              <a:ext uri="{FF2B5EF4-FFF2-40B4-BE49-F238E27FC236}">
                <a16:creationId xmlns:a16="http://schemas.microsoft.com/office/drawing/2014/main" id="{A644C5BE-FC98-449C-858D-EDAFEFCE809E}"/>
              </a:ext>
            </a:extLst>
          </p:cNvPr>
          <p:cNvSpPr txBox="1"/>
          <p:nvPr/>
        </p:nvSpPr>
        <p:spPr>
          <a:xfrm>
            <a:off x="2648442" y="4416116"/>
            <a:ext cx="1481840" cy="980931"/>
          </a:xfrm>
          <a:prstGeom prst="rect">
            <a:avLst/>
          </a:prstGeom>
          <a:noFill/>
          <a:ln>
            <a:noFill/>
          </a:ln>
          <a:effectLst/>
        </p:spPr>
        <p:txBody>
          <a:bodyPr wrap="square" lIns="0" tIns="0" rIns="0" bIns="0" anchor="t" anchorCtr="0">
            <a:noAutofit/>
          </a:bodyPr>
          <a:lstStyle>
            <a:defPPr>
              <a:defRPr lang="zh-CN"/>
            </a:defPPr>
            <a:lvl1pPr marR="0" lvl="0" indent="0" algn="just" fontAlgn="auto">
              <a:lnSpc>
                <a:spcPct val="130000"/>
              </a:lnSpc>
              <a:spcBef>
                <a:spcPts val="0"/>
              </a:spcBef>
              <a:spcAft>
                <a:spcPts val="0"/>
              </a:spcAft>
              <a:buClrTx/>
              <a:buSzPct val="25000"/>
              <a:buFontTx/>
              <a:buNone/>
              <a:tabLst/>
              <a:defRPr kumimoji="0" sz="1000" b="0" i="0" u="none" strike="noStrike" cap="none" spc="0" normalizeH="0" baseline="0">
                <a:ln>
                  <a:noFill/>
                </a:ln>
                <a:solidFill>
                  <a:schemeClr val="tx2"/>
                </a:solidFill>
                <a:effectLst/>
                <a:uLnTx/>
                <a:uFillTx/>
                <a:latin typeface="+mn-ea"/>
              </a:defRPr>
            </a:lvl1pPr>
          </a:lstStyle>
          <a:p>
            <a:pPr marL="0" marR="0" lvl="0" indent="0" algn="just" defTabSz="914400" rtl="0" eaLnBrk="1" fontAlgn="auto" latinLnBrk="0" hangingPunct="1">
              <a:lnSpc>
                <a:spcPct val="130000"/>
              </a:lnSpc>
              <a:spcBef>
                <a:spcPts val="0"/>
              </a:spcBef>
              <a:spcAft>
                <a:spcPts val="0"/>
              </a:spcAft>
              <a:buClrTx/>
              <a:buSzPct val="25000"/>
              <a:buFontTx/>
              <a:buNone/>
              <a:tabLst/>
              <a:defRPr/>
            </a:pPr>
            <a:r>
              <a:rPr kumimoji="0" lang="zh-CN" altLang="en-US" sz="1000" b="0" i="0" u="none" strike="noStrike" kern="1200" cap="none" spc="0" normalizeH="0" baseline="0" noProof="0" dirty="0">
                <a:ln>
                  <a:noFill/>
                </a:ln>
                <a:solidFill>
                  <a:srgbClr val="44546A"/>
                </a:solidFill>
                <a:effectLst/>
                <a:uLnTx/>
                <a:uFillTx/>
                <a:latin typeface="OPPOSans L" panose="00020600040101010101" pitchFamily="18" charset="-122"/>
                <a:ea typeface="OPPOSans L" panose="00020600040101010101" pitchFamily="18" charset="-122"/>
                <a:cs typeface="+mn-cs"/>
              </a:rPr>
              <a:t>不论你是销售、策划、学生、</a:t>
            </a:r>
            <a:r>
              <a:rPr kumimoji="0" lang="en-US" altLang="zh-CN" sz="1000" b="0" i="0" u="none" strike="noStrike" kern="1200" cap="none" spc="0" normalizeH="0" baseline="0" noProof="0" dirty="0">
                <a:ln>
                  <a:noFill/>
                </a:ln>
                <a:solidFill>
                  <a:srgbClr val="44546A"/>
                </a:solidFill>
                <a:effectLst/>
                <a:uLnTx/>
                <a:uFillTx/>
                <a:latin typeface="OPPOSans L" panose="00020600040101010101" pitchFamily="18" charset="-122"/>
                <a:ea typeface="OPPOSans L" panose="00020600040101010101" pitchFamily="18" charset="-122"/>
                <a:cs typeface="+mn-cs"/>
              </a:rPr>
              <a:t>PPT</a:t>
            </a:r>
            <a:r>
              <a:rPr kumimoji="0" lang="zh-CN" altLang="en-US" sz="1000" b="0" i="0" u="none" strike="noStrike" kern="1200" cap="none" spc="0" normalizeH="0" baseline="0" noProof="0" dirty="0">
                <a:ln>
                  <a:noFill/>
                </a:ln>
                <a:solidFill>
                  <a:srgbClr val="44546A"/>
                </a:solidFill>
                <a:effectLst/>
                <a:uLnTx/>
                <a:uFillTx/>
                <a:latin typeface="OPPOSans L" panose="00020600040101010101" pitchFamily="18" charset="-122"/>
                <a:ea typeface="OPPOSans L" panose="00020600040101010101" pitchFamily="18" charset="-122"/>
                <a:cs typeface="+mn-cs"/>
              </a:rPr>
              <a:t>爱好者，都能在秋叶</a:t>
            </a:r>
            <a:r>
              <a:rPr kumimoji="0" lang="en-US" altLang="zh-CN" sz="1000" b="0" i="0" u="none" strike="noStrike" kern="1200" cap="none" spc="0" normalizeH="0" baseline="0" noProof="0" dirty="0">
                <a:ln>
                  <a:noFill/>
                </a:ln>
                <a:solidFill>
                  <a:srgbClr val="44546A"/>
                </a:solidFill>
                <a:effectLst/>
                <a:uLnTx/>
                <a:uFillTx/>
                <a:latin typeface="OPPOSans L" panose="00020600040101010101" pitchFamily="18" charset="-122"/>
                <a:ea typeface="OPPOSans L" panose="00020600040101010101" pitchFamily="18" charset="-122"/>
                <a:cs typeface="+mn-cs"/>
              </a:rPr>
              <a:t>PPT</a:t>
            </a:r>
            <a:r>
              <a:rPr kumimoji="0" lang="zh-CN" altLang="en-US" sz="1000" b="0" i="0" u="none" strike="noStrike" kern="1200" cap="none" spc="0" normalizeH="0" baseline="0" noProof="0" dirty="0">
                <a:ln>
                  <a:noFill/>
                </a:ln>
                <a:solidFill>
                  <a:srgbClr val="44546A"/>
                </a:solidFill>
                <a:effectLst/>
                <a:uLnTx/>
                <a:uFillTx/>
                <a:latin typeface="OPPOSans L" panose="00020600040101010101" pitchFamily="18" charset="-122"/>
                <a:ea typeface="OPPOSans L" panose="00020600040101010101" pitchFamily="18" charset="-122"/>
                <a:cs typeface="+mn-cs"/>
              </a:rPr>
              <a:t>找到适合的模板。</a:t>
            </a:r>
          </a:p>
        </p:txBody>
      </p:sp>
      <p:sp>
        <p:nvSpPr>
          <p:cNvPr id="26" name="平行四边形 3">
            <a:extLst>
              <a:ext uri="{FF2B5EF4-FFF2-40B4-BE49-F238E27FC236}">
                <a16:creationId xmlns:a16="http://schemas.microsoft.com/office/drawing/2014/main" id="{7B04A268-6F80-4444-B147-DB1F946F55A5}"/>
              </a:ext>
            </a:extLst>
          </p:cNvPr>
          <p:cNvSpPr/>
          <p:nvPr/>
        </p:nvSpPr>
        <p:spPr>
          <a:xfrm rot="5400000">
            <a:off x="2818988" y="3339512"/>
            <a:ext cx="4762299" cy="1728000"/>
          </a:xfrm>
          <a:prstGeom prst="parallelogram">
            <a:avLst>
              <a:gd name="adj" fmla="val 20039"/>
            </a:avLst>
          </a:prstGeom>
          <a:solidFill>
            <a:schemeClr val="bg1"/>
          </a:solidFill>
          <a:ln>
            <a:noFill/>
          </a:ln>
          <a:effectLst>
            <a:outerShdw blurRad="127000" dist="76200" dir="5400000" algn="ctr" rotWithShape="0">
              <a:schemeClr val="accent1">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white"/>
              </a:solidFill>
              <a:effectLst/>
              <a:uLnTx/>
              <a:uFillTx/>
              <a:latin typeface="OPPOSans M"/>
              <a:ea typeface="OPPOSans L" panose="00020600040101010101" pitchFamily="18" charset="-122"/>
              <a:cs typeface="+mn-cs"/>
            </a:endParaRPr>
          </a:p>
        </p:txBody>
      </p:sp>
      <p:sp>
        <p:nvSpPr>
          <p:cNvPr id="55" name="文本框 1">
            <a:extLst>
              <a:ext uri="{FF2B5EF4-FFF2-40B4-BE49-F238E27FC236}">
                <a16:creationId xmlns:a16="http://schemas.microsoft.com/office/drawing/2014/main" id="{CDE5EF38-0F25-4EC8-9BE0-B4537E2E3970}"/>
              </a:ext>
            </a:extLst>
          </p:cNvPr>
          <p:cNvSpPr txBox="1"/>
          <p:nvPr/>
        </p:nvSpPr>
        <p:spPr>
          <a:xfrm>
            <a:off x="4459217" y="2341197"/>
            <a:ext cx="1135389" cy="276999"/>
          </a:xfrm>
          <a:prstGeom prst="rect">
            <a:avLst/>
          </a:prstGeom>
          <a:noFill/>
        </p:spPr>
        <p:txBody>
          <a:bodyPr wrap="square" lIns="0" tIns="0" rIns="0" bIns="0" rtlCol="0">
            <a:spAutoFit/>
          </a:bodyPr>
          <a:lstStyle>
            <a:defPPr>
              <a:defRPr lang="zh-CN"/>
            </a:defPPr>
            <a:lvl1pPr marR="0" lvl="0" indent="0" fontAlgn="auto">
              <a:lnSpc>
                <a:spcPct val="100000"/>
              </a:lnSpc>
              <a:spcBef>
                <a:spcPts val="0"/>
              </a:spcBef>
              <a:spcAft>
                <a:spcPts val="0"/>
              </a:spcAft>
              <a:buClrTx/>
              <a:buSzTx/>
              <a:buFontTx/>
              <a:buNone/>
              <a:tabLst/>
              <a:defRPr kumimoji="0" sz="6600" b="0" i="0" u="none" strike="noStrike" cap="none" spc="0" normalizeH="0" baseline="0">
                <a:ln w="3175">
                  <a:noFill/>
                </a:ln>
                <a:gradFill flip="none" rotWithShape="1">
                  <a:gsLst>
                    <a:gs pos="0">
                      <a:schemeClr val="accent1"/>
                    </a:gs>
                    <a:gs pos="100000">
                      <a:schemeClr val="accent3"/>
                    </a:gs>
                  </a:gsLst>
                  <a:lin ang="0" scaled="1"/>
                  <a:tileRect/>
                </a:gradFill>
                <a:effectLst/>
                <a:uLnTx/>
                <a:uFillTx/>
                <a:latin typeface="思源黑体 CN Heavy" panose="020B0A00000000000000" pitchFamily="34" charset="-122"/>
                <a:ea typeface="思源黑体 CN Heavy" panose="020B0A00000000000000" pitchFamily="34" charset="-122"/>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800" b="0" i="0" u="none" strike="noStrike" kern="1200" cap="none" spc="0" normalizeH="0" baseline="0" noProof="0" dirty="0">
                <a:ln w="3175">
                  <a:noFill/>
                </a:ln>
                <a:gradFill flip="none" rotWithShape="1">
                  <a:gsLst>
                    <a:gs pos="0">
                      <a:srgbClr val="176F58"/>
                    </a:gs>
                    <a:gs pos="100000">
                      <a:srgbClr val="6FBA2C"/>
                    </a:gs>
                  </a:gsLst>
                  <a:lin ang="0" scaled="1"/>
                  <a:tileRect/>
                </a:gradFill>
                <a:effectLst>
                  <a:reflection blurRad="76200" stA="49000" endPos="50000" dist="12700" dir="5400000" sy="-100000" algn="bl" rotWithShape="0"/>
                </a:effectLst>
                <a:uLnTx/>
                <a:uFillTx/>
                <a:latin typeface="OPPOSans B" panose="00020600040101010101" pitchFamily="18" charset="-122"/>
                <a:ea typeface="OPPOSans B" panose="00020600040101010101" pitchFamily="18" charset="-122"/>
                <a:cs typeface="+mn-cs"/>
              </a:rPr>
              <a:t>秋叶</a:t>
            </a:r>
            <a:r>
              <a:rPr kumimoji="0" lang="en-US" altLang="zh-CN" sz="1800" b="0" i="0" u="none" strike="noStrike" kern="1200" cap="none" spc="0" normalizeH="0" baseline="0" noProof="0" dirty="0">
                <a:ln w="3175">
                  <a:noFill/>
                </a:ln>
                <a:gradFill flip="none" rotWithShape="1">
                  <a:gsLst>
                    <a:gs pos="0">
                      <a:srgbClr val="176F58"/>
                    </a:gs>
                    <a:gs pos="100000">
                      <a:srgbClr val="6FBA2C"/>
                    </a:gs>
                  </a:gsLst>
                  <a:lin ang="0" scaled="1"/>
                  <a:tileRect/>
                </a:gradFill>
                <a:effectLst>
                  <a:reflection blurRad="76200" stA="49000" endPos="50000" dist="12700" dir="5400000" sy="-100000" algn="bl" rotWithShape="0"/>
                </a:effectLst>
                <a:uLnTx/>
                <a:uFillTx/>
                <a:latin typeface="OPPOSans B" panose="00020600040101010101" pitchFamily="18" charset="-122"/>
                <a:ea typeface="OPPOSans B" panose="00020600040101010101" pitchFamily="18" charset="-122"/>
                <a:cs typeface="+mn-cs"/>
              </a:rPr>
              <a:t>PPT</a:t>
            </a:r>
            <a:endParaRPr kumimoji="0" lang="zh-CN" altLang="en-US" sz="1800" b="0" i="0" u="none" strike="noStrike" kern="1200" cap="none" spc="0" normalizeH="0" baseline="0" noProof="0" dirty="0">
              <a:ln w="3175">
                <a:noFill/>
              </a:ln>
              <a:gradFill flip="none" rotWithShape="1">
                <a:gsLst>
                  <a:gs pos="0">
                    <a:srgbClr val="176F58"/>
                  </a:gs>
                  <a:gs pos="100000">
                    <a:srgbClr val="6FBA2C"/>
                  </a:gs>
                </a:gsLst>
                <a:lin ang="0" scaled="1"/>
                <a:tileRect/>
              </a:gradFill>
              <a:effectLst>
                <a:reflection blurRad="76200" stA="49000" endPos="50000" dist="12700" dir="5400000" sy="-100000" algn="bl" rotWithShape="0"/>
              </a:effectLst>
              <a:uLnTx/>
              <a:uFillTx/>
              <a:latin typeface="OPPOSans B" panose="00020600040101010101" pitchFamily="18" charset="-122"/>
              <a:ea typeface="OPPOSans B" panose="00020600040101010101" pitchFamily="18" charset="-122"/>
              <a:cs typeface="+mn-cs"/>
            </a:endParaRPr>
          </a:p>
        </p:txBody>
      </p:sp>
      <p:sp>
        <p:nvSpPr>
          <p:cNvPr id="56" name="稿定PPT-10-2">
            <a:extLst>
              <a:ext uri="{FF2B5EF4-FFF2-40B4-BE49-F238E27FC236}">
                <a16:creationId xmlns:a16="http://schemas.microsoft.com/office/drawing/2014/main" id="{5E199032-186E-425C-A816-4A5BBC31B940}"/>
              </a:ext>
            </a:extLst>
          </p:cNvPr>
          <p:cNvSpPr txBox="1"/>
          <p:nvPr/>
        </p:nvSpPr>
        <p:spPr>
          <a:xfrm>
            <a:off x="4459217" y="2709470"/>
            <a:ext cx="1481840" cy="980931"/>
          </a:xfrm>
          <a:prstGeom prst="rect">
            <a:avLst/>
          </a:prstGeom>
          <a:noFill/>
          <a:ln>
            <a:noFill/>
          </a:ln>
          <a:effectLst/>
        </p:spPr>
        <p:txBody>
          <a:bodyPr wrap="square" lIns="0" tIns="0" rIns="0" bIns="0" anchor="t" anchorCtr="0">
            <a:noAutofit/>
          </a:bodyPr>
          <a:lstStyle>
            <a:defPPr>
              <a:defRPr lang="zh-CN"/>
            </a:defPPr>
            <a:lvl1pPr marR="0" lvl="0" indent="0" algn="just" fontAlgn="auto">
              <a:lnSpc>
                <a:spcPct val="130000"/>
              </a:lnSpc>
              <a:spcBef>
                <a:spcPts val="0"/>
              </a:spcBef>
              <a:spcAft>
                <a:spcPts val="0"/>
              </a:spcAft>
              <a:buClrTx/>
              <a:buSzPct val="25000"/>
              <a:buFontTx/>
              <a:buNone/>
              <a:tabLst/>
              <a:defRPr kumimoji="0" sz="1000" b="0" i="0" u="none" strike="noStrike" cap="none" spc="0" normalizeH="0" baseline="0">
                <a:ln>
                  <a:noFill/>
                </a:ln>
                <a:solidFill>
                  <a:schemeClr val="tx2"/>
                </a:solidFill>
                <a:effectLst/>
                <a:uLnTx/>
                <a:uFillTx/>
                <a:latin typeface="+mn-ea"/>
              </a:defRPr>
            </a:lvl1pPr>
          </a:lstStyle>
          <a:p>
            <a:pPr marL="0" marR="0" lvl="0" indent="0" algn="just" defTabSz="914400" rtl="0" eaLnBrk="1" fontAlgn="auto" latinLnBrk="0" hangingPunct="1">
              <a:lnSpc>
                <a:spcPct val="130000"/>
              </a:lnSpc>
              <a:spcBef>
                <a:spcPts val="0"/>
              </a:spcBef>
              <a:spcAft>
                <a:spcPts val="0"/>
              </a:spcAft>
              <a:buClrTx/>
              <a:buSzPct val="25000"/>
              <a:buFontTx/>
              <a:buNone/>
              <a:tabLst/>
              <a:defRPr/>
            </a:pPr>
            <a:r>
              <a:rPr kumimoji="0" lang="zh-CN" altLang="en-US" sz="1000" b="0" i="0" u="none" strike="noStrike" kern="1200" cap="none" spc="0" normalizeH="0" baseline="0" noProof="0" dirty="0">
                <a:ln>
                  <a:noFill/>
                </a:ln>
                <a:solidFill>
                  <a:srgbClr val="44546A"/>
                </a:solidFill>
                <a:effectLst/>
                <a:uLnTx/>
                <a:uFillTx/>
                <a:latin typeface="OPPOSans L" panose="00020600040101010101" pitchFamily="18" charset="-122"/>
                <a:ea typeface="OPPOSans L" panose="00020600040101010101" pitchFamily="18" charset="-122"/>
                <a:cs typeface="+mn-cs"/>
              </a:rPr>
              <a:t>秋叶</a:t>
            </a:r>
            <a:r>
              <a:rPr kumimoji="0" lang="en-US" altLang="zh-CN" sz="1000" b="0" i="0" u="none" strike="noStrike" kern="1200" cap="none" spc="0" normalizeH="0" baseline="0" noProof="0" dirty="0">
                <a:ln>
                  <a:noFill/>
                </a:ln>
                <a:solidFill>
                  <a:srgbClr val="44546A"/>
                </a:solidFill>
                <a:effectLst/>
                <a:uLnTx/>
                <a:uFillTx/>
                <a:latin typeface="OPPOSans L" panose="00020600040101010101" pitchFamily="18" charset="-122"/>
                <a:ea typeface="OPPOSans L" panose="00020600040101010101" pitchFamily="18" charset="-122"/>
                <a:cs typeface="+mn-cs"/>
              </a:rPr>
              <a:t>PPT</a:t>
            </a:r>
            <a:r>
              <a:rPr kumimoji="0" lang="zh-CN" altLang="en-US" sz="1000" b="0" i="0" u="none" strike="noStrike" kern="1200" cap="none" spc="0" normalizeH="0" baseline="0" noProof="0" dirty="0">
                <a:ln>
                  <a:noFill/>
                </a:ln>
                <a:solidFill>
                  <a:srgbClr val="44546A"/>
                </a:solidFill>
                <a:effectLst/>
                <a:uLnTx/>
                <a:uFillTx/>
                <a:latin typeface="OPPOSans L" panose="00020600040101010101" pitchFamily="18" charset="-122"/>
                <a:ea typeface="OPPOSans L" panose="00020600040101010101" pitchFamily="18" charset="-122"/>
                <a:cs typeface="+mn-cs"/>
              </a:rPr>
              <a:t>拥有千余款模板线上到插件同步上新，覆盖商务、教育、金融等多用途场景。</a:t>
            </a:r>
          </a:p>
        </p:txBody>
      </p:sp>
      <p:sp>
        <p:nvSpPr>
          <p:cNvPr id="58" name="文本框 1">
            <a:extLst>
              <a:ext uri="{FF2B5EF4-FFF2-40B4-BE49-F238E27FC236}">
                <a16:creationId xmlns:a16="http://schemas.microsoft.com/office/drawing/2014/main" id="{AD6F07B9-7CBF-4A4E-8E2E-25A1AE00D0FA}"/>
              </a:ext>
            </a:extLst>
          </p:cNvPr>
          <p:cNvSpPr txBox="1"/>
          <p:nvPr/>
        </p:nvSpPr>
        <p:spPr>
          <a:xfrm>
            <a:off x="4459217" y="4370748"/>
            <a:ext cx="1135389" cy="276999"/>
          </a:xfrm>
          <a:prstGeom prst="rect">
            <a:avLst/>
          </a:prstGeom>
          <a:noFill/>
        </p:spPr>
        <p:txBody>
          <a:bodyPr wrap="square" lIns="0" tIns="0" rIns="0" bIns="0" rtlCol="0">
            <a:spAutoFit/>
          </a:bodyPr>
          <a:lstStyle>
            <a:defPPr>
              <a:defRPr lang="zh-CN"/>
            </a:defPPr>
            <a:lvl1pPr marR="0" lvl="0" indent="0" fontAlgn="auto">
              <a:lnSpc>
                <a:spcPct val="100000"/>
              </a:lnSpc>
              <a:spcBef>
                <a:spcPts val="0"/>
              </a:spcBef>
              <a:spcAft>
                <a:spcPts val="0"/>
              </a:spcAft>
              <a:buClrTx/>
              <a:buSzTx/>
              <a:buFontTx/>
              <a:buNone/>
              <a:tabLst/>
              <a:defRPr kumimoji="0" sz="6600" b="0" i="0" u="none" strike="noStrike" cap="none" spc="0" normalizeH="0" baseline="0">
                <a:ln w="3175">
                  <a:noFill/>
                </a:ln>
                <a:gradFill flip="none" rotWithShape="1">
                  <a:gsLst>
                    <a:gs pos="0">
                      <a:schemeClr val="accent1"/>
                    </a:gs>
                    <a:gs pos="100000">
                      <a:schemeClr val="accent3"/>
                    </a:gs>
                  </a:gsLst>
                  <a:lin ang="0" scaled="1"/>
                  <a:tileRect/>
                </a:gradFill>
                <a:effectLst/>
                <a:uLnTx/>
                <a:uFillTx/>
                <a:latin typeface="思源黑体 CN Heavy" panose="020B0A00000000000000" pitchFamily="34" charset="-122"/>
                <a:ea typeface="思源黑体 CN Heavy" panose="020B0A00000000000000" pitchFamily="34" charset="-122"/>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800" b="0" i="0" u="none" strike="noStrike" kern="1200" cap="none" spc="0" normalizeH="0" baseline="0" noProof="0" dirty="0">
                <a:ln w="3175">
                  <a:noFill/>
                </a:ln>
                <a:gradFill flip="none" rotWithShape="1">
                  <a:gsLst>
                    <a:gs pos="0">
                      <a:srgbClr val="176F58"/>
                    </a:gs>
                    <a:gs pos="100000">
                      <a:srgbClr val="6FBA2C"/>
                    </a:gs>
                  </a:gsLst>
                  <a:lin ang="0" scaled="1"/>
                  <a:tileRect/>
                </a:gradFill>
                <a:effectLst>
                  <a:reflection blurRad="76200" stA="49000" endPos="50000" dist="12700" dir="5400000" sy="-100000" algn="bl" rotWithShape="0"/>
                </a:effectLst>
                <a:uLnTx/>
                <a:uFillTx/>
                <a:latin typeface="OPPOSans B" panose="00020600040101010101" pitchFamily="18" charset="-122"/>
                <a:ea typeface="OPPOSans B" panose="00020600040101010101" pitchFamily="18" charset="-122"/>
                <a:cs typeface="+mn-cs"/>
              </a:rPr>
              <a:t>秋叶</a:t>
            </a:r>
            <a:r>
              <a:rPr kumimoji="0" lang="en-US" altLang="zh-CN" sz="1800" b="0" i="0" u="none" strike="noStrike" kern="1200" cap="none" spc="0" normalizeH="0" baseline="0" noProof="0" dirty="0">
                <a:ln w="3175">
                  <a:noFill/>
                </a:ln>
                <a:gradFill flip="none" rotWithShape="1">
                  <a:gsLst>
                    <a:gs pos="0">
                      <a:srgbClr val="176F58"/>
                    </a:gs>
                    <a:gs pos="100000">
                      <a:srgbClr val="6FBA2C"/>
                    </a:gs>
                  </a:gsLst>
                  <a:lin ang="0" scaled="1"/>
                  <a:tileRect/>
                </a:gradFill>
                <a:effectLst>
                  <a:reflection blurRad="76200" stA="49000" endPos="50000" dist="12700" dir="5400000" sy="-100000" algn="bl" rotWithShape="0"/>
                </a:effectLst>
                <a:uLnTx/>
                <a:uFillTx/>
                <a:latin typeface="OPPOSans B" panose="00020600040101010101" pitchFamily="18" charset="-122"/>
                <a:ea typeface="OPPOSans B" panose="00020600040101010101" pitchFamily="18" charset="-122"/>
                <a:cs typeface="+mn-cs"/>
              </a:rPr>
              <a:t>PPT</a:t>
            </a:r>
            <a:endParaRPr kumimoji="0" lang="zh-CN" altLang="en-US" sz="1800" b="0" i="0" u="none" strike="noStrike" kern="1200" cap="none" spc="0" normalizeH="0" baseline="0" noProof="0" dirty="0">
              <a:ln w="3175">
                <a:noFill/>
              </a:ln>
              <a:gradFill flip="none" rotWithShape="1">
                <a:gsLst>
                  <a:gs pos="0">
                    <a:srgbClr val="176F58"/>
                  </a:gs>
                  <a:gs pos="100000">
                    <a:srgbClr val="6FBA2C"/>
                  </a:gs>
                </a:gsLst>
                <a:lin ang="0" scaled="1"/>
                <a:tileRect/>
              </a:gradFill>
              <a:effectLst>
                <a:reflection blurRad="76200" stA="49000" endPos="50000" dist="12700" dir="5400000" sy="-100000" algn="bl" rotWithShape="0"/>
              </a:effectLst>
              <a:uLnTx/>
              <a:uFillTx/>
              <a:latin typeface="OPPOSans B" panose="00020600040101010101" pitchFamily="18" charset="-122"/>
              <a:ea typeface="OPPOSans B" panose="00020600040101010101" pitchFamily="18" charset="-122"/>
              <a:cs typeface="+mn-cs"/>
            </a:endParaRPr>
          </a:p>
        </p:txBody>
      </p:sp>
      <p:sp>
        <p:nvSpPr>
          <p:cNvPr id="59" name="稿定PPT-10-2">
            <a:extLst>
              <a:ext uri="{FF2B5EF4-FFF2-40B4-BE49-F238E27FC236}">
                <a16:creationId xmlns:a16="http://schemas.microsoft.com/office/drawing/2014/main" id="{F5F7BD0E-73E6-496F-A1DE-BAB7B7233353}"/>
              </a:ext>
            </a:extLst>
          </p:cNvPr>
          <p:cNvSpPr txBox="1"/>
          <p:nvPr/>
        </p:nvSpPr>
        <p:spPr>
          <a:xfrm>
            <a:off x="4459217" y="4739021"/>
            <a:ext cx="1481840" cy="980931"/>
          </a:xfrm>
          <a:prstGeom prst="rect">
            <a:avLst/>
          </a:prstGeom>
          <a:noFill/>
          <a:ln>
            <a:noFill/>
          </a:ln>
          <a:effectLst/>
        </p:spPr>
        <p:txBody>
          <a:bodyPr wrap="square" lIns="0" tIns="0" rIns="0" bIns="0" anchor="t" anchorCtr="0">
            <a:noAutofit/>
          </a:bodyPr>
          <a:lstStyle>
            <a:defPPr>
              <a:defRPr lang="zh-CN"/>
            </a:defPPr>
            <a:lvl1pPr marR="0" lvl="0" indent="0" algn="just" fontAlgn="auto">
              <a:lnSpc>
                <a:spcPct val="130000"/>
              </a:lnSpc>
              <a:spcBef>
                <a:spcPts val="0"/>
              </a:spcBef>
              <a:spcAft>
                <a:spcPts val="0"/>
              </a:spcAft>
              <a:buClrTx/>
              <a:buSzPct val="25000"/>
              <a:buFontTx/>
              <a:buNone/>
              <a:tabLst/>
              <a:defRPr kumimoji="0" sz="1000" b="0" i="0" u="none" strike="noStrike" cap="none" spc="0" normalizeH="0" baseline="0">
                <a:ln>
                  <a:noFill/>
                </a:ln>
                <a:solidFill>
                  <a:schemeClr val="tx2"/>
                </a:solidFill>
                <a:effectLst/>
                <a:uLnTx/>
                <a:uFillTx/>
                <a:latin typeface="+mn-ea"/>
              </a:defRPr>
            </a:lvl1pPr>
          </a:lstStyle>
          <a:p>
            <a:pPr marL="0" marR="0" lvl="0" indent="0" algn="just" defTabSz="914400" rtl="0" eaLnBrk="1" fontAlgn="auto" latinLnBrk="0" hangingPunct="1">
              <a:lnSpc>
                <a:spcPct val="130000"/>
              </a:lnSpc>
              <a:spcBef>
                <a:spcPts val="0"/>
              </a:spcBef>
              <a:spcAft>
                <a:spcPts val="0"/>
              </a:spcAft>
              <a:buClrTx/>
              <a:buSzPct val="25000"/>
              <a:buFontTx/>
              <a:buNone/>
              <a:tabLst/>
              <a:defRPr/>
            </a:pPr>
            <a:r>
              <a:rPr kumimoji="0" lang="zh-CN" altLang="en-US" sz="1000" b="0" i="0" u="none" strike="noStrike" kern="1200" cap="none" spc="0" normalizeH="0" baseline="0" noProof="0" dirty="0">
                <a:ln>
                  <a:noFill/>
                </a:ln>
                <a:solidFill>
                  <a:srgbClr val="44546A"/>
                </a:solidFill>
                <a:effectLst/>
                <a:uLnTx/>
                <a:uFillTx/>
                <a:latin typeface="OPPOSans L" panose="00020600040101010101" pitchFamily="18" charset="-122"/>
                <a:ea typeface="OPPOSans L" panose="00020600040101010101" pitchFamily="18" charset="-122"/>
                <a:cs typeface="+mn-cs"/>
              </a:rPr>
              <a:t>秋叶</a:t>
            </a:r>
            <a:r>
              <a:rPr kumimoji="0" lang="en-US" altLang="zh-CN" sz="1000" b="0" i="0" u="none" strike="noStrike" kern="1200" cap="none" spc="0" normalizeH="0" baseline="0" noProof="0" dirty="0">
                <a:ln>
                  <a:noFill/>
                </a:ln>
                <a:solidFill>
                  <a:srgbClr val="44546A"/>
                </a:solidFill>
                <a:effectLst/>
                <a:uLnTx/>
                <a:uFillTx/>
                <a:latin typeface="OPPOSans L" panose="00020600040101010101" pitchFamily="18" charset="-122"/>
                <a:ea typeface="OPPOSans L" panose="00020600040101010101" pitchFamily="18" charset="-122"/>
                <a:cs typeface="+mn-cs"/>
              </a:rPr>
              <a:t>PPT</a:t>
            </a:r>
            <a:r>
              <a:rPr kumimoji="0" lang="zh-CN" altLang="en-US" sz="1000" b="0" i="0" u="none" strike="noStrike" kern="1200" cap="none" spc="0" normalizeH="0" baseline="0" noProof="0" dirty="0">
                <a:ln>
                  <a:noFill/>
                </a:ln>
                <a:solidFill>
                  <a:srgbClr val="44546A"/>
                </a:solidFill>
                <a:effectLst/>
                <a:uLnTx/>
                <a:uFillTx/>
                <a:latin typeface="OPPOSans L" panose="00020600040101010101" pitchFamily="18" charset="-122"/>
                <a:ea typeface="OPPOSans L" panose="00020600040101010101" pitchFamily="18" charset="-122"/>
                <a:cs typeface="+mn-cs"/>
              </a:rPr>
              <a:t>支持在线</a:t>
            </a:r>
            <a:r>
              <a:rPr kumimoji="0" lang="en-US" altLang="zh-CN" sz="1000" b="0" i="0" u="none" strike="noStrike" kern="1200" cap="none" spc="0" normalizeH="0" baseline="0" noProof="0" dirty="0">
                <a:ln>
                  <a:noFill/>
                </a:ln>
                <a:solidFill>
                  <a:srgbClr val="44546A"/>
                </a:solidFill>
                <a:effectLst/>
                <a:uLnTx/>
                <a:uFillTx/>
                <a:latin typeface="OPPOSans L" panose="00020600040101010101" pitchFamily="18" charset="-122"/>
                <a:ea typeface="OPPOSans L" panose="00020600040101010101" pitchFamily="18" charset="-122"/>
                <a:cs typeface="+mn-cs"/>
              </a:rPr>
              <a:t>/</a:t>
            </a:r>
            <a:r>
              <a:rPr kumimoji="0" lang="zh-CN" altLang="en-US" sz="1000" b="0" i="0" u="none" strike="noStrike" kern="1200" cap="none" spc="0" normalizeH="0" baseline="0" noProof="0" dirty="0">
                <a:ln>
                  <a:noFill/>
                </a:ln>
                <a:solidFill>
                  <a:srgbClr val="44546A"/>
                </a:solidFill>
                <a:effectLst/>
                <a:uLnTx/>
                <a:uFillTx/>
                <a:latin typeface="OPPOSans L" panose="00020600040101010101" pitchFamily="18" charset="-122"/>
                <a:ea typeface="OPPOSans L" panose="00020600040101010101" pitchFamily="18" charset="-122"/>
                <a:cs typeface="+mn-cs"/>
              </a:rPr>
              <a:t>离线多种编辑模式，告别</a:t>
            </a:r>
            <a:r>
              <a:rPr kumimoji="0" lang="en-US" altLang="zh-CN" sz="1000" b="0" i="0" u="none" strike="noStrike" kern="1200" cap="none" spc="0" normalizeH="0" baseline="0" noProof="0" dirty="0">
                <a:ln>
                  <a:noFill/>
                </a:ln>
                <a:solidFill>
                  <a:srgbClr val="44546A"/>
                </a:solidFill>
                <a:effectLst/>
                <a:uLnTx/>
                <a:uFillTx/>
                <a:latin typeface="OPPOSans L" panose="00020600040101010101" pitchFamily="18" charset="-122"/>
                <a:ea typeface="OPPOSans L" panose="00020600040101010101" pitchFamily="18" charset="-122"/>
                <a:cs typeface="+mn-cs"/>
              </a:rPr>
              <a:t>PPT</a:t>
            </a:r>
            <a:r>
              <a:rPr kumimoji="0" lang="zh-CN" altLang="en-US" sz="1000" b="0" i="0" u="none" strike="noStrike" kern="1200" cap="none" spc="0" normalizeH="0" baseline="0" noProof="0" dirty="0">
                <a:ln>
                  <a:noFill/>
                </a:ln>
                <a:solidFill>
                  <a:srgbClr val="44546A"/>
                </a:solidFill>
                <a:effectLst/>
                <a:uLnTx/>
                <a:uFillTx/>
                <a:latin typeface="OPPOSans L" panose="00020600040101010101" pitchFamily="18" charset="-122"/>
                <a:ea typeface="OPPOSans L" panose="00020600040101010101" pitchFamily="18" charset="-122"/>
                <a:cs typeface="+mn-cs"/>
              </a:rPr>
              <a:t>传统制作，多端多设备随时随地开启演示创作。</a:t>
            </a:r>
          </a:p>
        </p:txBody>
      </p:sp>
      <p:sp>
        <p:nvSpPr>
          <p:cNvPr id="82" name="平行四边形 1">
            <a:extLst>
              <a:ext uri="{FF2B5EF4-FFF2-40B4-BE49-F238E27FC236}">
                <a16:creationId xmlns:a16="http://schemas.microsoft.com/office/drawing/2014/main" id="{D7D70DB9-D66D-49EC-A957-8799B0A07F8A}"/>
              </a:ext>
            </a:extLst>
          </p:cNvPr>
          <p:cNvSpPr/>
          <p:nvPr/>
        </p:nvSpPr>
        <p:spPr>
          <a:xfrm rot="5400000">
            <a:off x="4756879" y="2957033"/>
            <a:ext cx="4508070" cy="1728000"/>
          </a:xfrm>
          <a:prstGeom prst="parallelogram">
            <a:avLst>
              <a:gd name="adj" fmla="val 20039"/>
            </a:avLst>
          </a:prstGeom>
          <a:solidFill>
            <a:schemeClr val="bg1"/>
          </a:solidFill>
          <a:ln>
            <a:noFill/>
          </a:ln>
          <a:effectLst>
            <a:outerShdw blurRad="127000" dist="76200" dir="5400000" algn="ctr" rotWithShape="0">
              <a:schemeClr val="accent1">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white"/>
              </a:solidFill>
              <a:effectLst/>
              <a:uLnTx/>
              <a:uFillTx/>
              <a:latin typeface="OPPOSans M"/>
              <a:ea typeface="OPPOSans L" panose="00020600040101010101" pitchFamily="18" charset="-122"/>
              <a:cs typeface="+mn-cs"/>
            </a:endParaRPr>
          </a:p>
        </p:txBody>
      </p:sp>
      <p:sp>
        <p:nvSpPr>
          <p:cNvPr id="87" name="文本框 1">
            <a:extLst>
              <a:ext uri="{FF2B5EF4-FFF2-40B4-BE49-F238E27FC236}">
                <a16:creationId xmlns:a16="http://schemas.microsoft.com/office/drawing/2014/main" id="{54AFFC65-5EE3-4906-BB08-6220F847A59E}"/>
              </a:ext>
            </a:extLst>
          </p:cNvPr>
          <p:cNvSpPr txBox="1"/>
          <p:nvPr/>
        </p:nvSpPr>
        <p:spPr>
          <a:xfrm>
            <a:off x="6269994" y="2070030"/>
            <a:ext cx="1135389" cy="276999"/>
          </a:xfrm>
          <a:prstGeom prst="rect">
            <a:avLst/>
          </a:prstGeom>
          <a:noFill/>
        </p:spPr>
        <p:txBody>
          <a:bodyPr wrap="square" lIns="0" tIns="0" rIns="0" bIns="0" rtlCol="0">
            <a:spAutoFit/>
          </a:bodyPr>
          <a:lstStyle>
            <a:defPPr>
              <a:defRPr lang="zh-CN"/>
            </a:defPPr>
            <a:lvl1pPr marR="0" lvl="0" indent="0" fontAlgn="auto">
              <a:lnSpc>
                <a:spcPct val="100000"/>
              </a:lnSpc>
              <a:spcBef>
                <a:spcPts val="0"/>
              </a:spcBef>
              <a:spcAft>
                <a:spcPts val="0"/>
              </a:spcAft>
              <a:buClrTx/>
              <a:buSzTx/>
              <a:buFontTx/>
              <a:buNone/>
              <a:tabLst/>
              <a:defRPr kumimoji="0" sz="6600" b="0" i="0" u="none" strike="noStrike" cap="none" spc="0" normalizeH="0" baseline="0">
                <a:ln w="3175">
                  <a:noFill/>
                </a:ln>
                <a:gradFill flip="none" rotWithShape="1">
                  <a:gsLst>
                    <a:gs pos="0">
                      <a:schemeClr val="accent1"/>
                    </a:gs>
                    <a:gs pos="100000">
                      <a:schemeClr val="accent3"/>
                    </a:gs>
                  </a:gsLst>
                  <a:lin ang="0" scaled="1"/>
                  <a:tileRect/>
                </a:gradFill>
                <a:effectLst/>
                <a:uLnTx/>
                <a:uFillTx/>
                <a:latin typeface="思源黑体 CN Heavy" panose="020B0A00000000000000" pitchFamily="34" charset="-122"/>
                <a:ea typeface="思源黑体 CN Heavy" panose="020B0A00000000000000" pitchFamily="34" charset="-122"/>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800" b="0" i="0" u="none" strike="noStrike" kern="1200" cap="none" spc="0" normalizeH="0" baseline="0" noProof="0" dirty="0">
                <a:ln w="3175">
                  <a:noFill/>
                </a:ln>
                <a:gradFill flip="none" rotWithShape="1">
                  <a:gsLst>
                    <a:gs pos="0">
                      <a:srgbClr val="176F58"/>
                    </a:gs>
                    <a:gs pos="100000">
                      <a:srgbClr val="6FBA2C"/>
                    </a:gs>
                  </a:gsLst>
                  <a:lin ang="0" scaled="1"/>
                  <a:tileRect/>
                </a:gradFill>
                <a:effectLst>
                  <a:reflection blurRad="76200" stA="49000" endPos="50000" dist="12700" dir="5400000" sy="-100000" algn="bl" rotWithShape="0"/>
                </a:effectLst>
                <a:uLnTx/>
                <a:uFillTx/>
                <a:latin typeface="OPPOSans B" panose="00020600040101010101" pitchFamily="18" charset="-122"/>
                <a:ea typeface="OPPOSans B" panose="00020600040101010101" pitchFamily="18" charset="-122"/>
                <a:cs typeface="+mn-cs"/>
              </a:rPr>
              <a:t>秋叶</a:t>
            </a:r>
            <a:r>
              <a:rPr kumimoji="0" lang="en-US" altLang="zh-CN" sz="1800" b="0" i="0" u="none" strike="noStrike" kern="1200" cap="none" spc="0" normalizeH="0" baseline="0" noProof="0" dirty="0">
                <a:ln w="3175">
                  <a:noFill/>
                </a:ln>
                <a:gradFill flip="none" rotWithShape="1">
                  <a:gsLst>
                    <a:gs pos="0">
                      <a:srgbClr val="176F58"/>
                    </a:gs>
                    <a:gs pos="100000">
                      <a:srgbClr val="6FBA2C"/>
                    </a:gs>
                  </a:gsLst>
                  <a:lin ang="0" scaled="1"/>
                  <a:tileRect/>
                </a:gradFill>
                <a:effectLst>
                  <a:reflection blurRad="76200" stA="49000" endPos="50000" dist="12700" dir="5400000" sy="-100000" algn="bl" rotWithShape="0"/>
                </a:effectLst>
                <a:uLnTx/>
                <a:uFillTx/>
                <a:latin typeface="OPPOSans B" panose="00020600040101010101" pitchFamily="18" charset="-122"/>
                <a:ea typeface="OPPOSans B" panose="00020600040101010101" pitchFamily="18" charset="-122"/>
                <a:cs typeface="+mn-cs"/>
              </a:rPr>
              <a:t>PPT</a:t>
            </a:r>
            <a:endParaRPr kumimoji="0" lang="zh-CN" altLang="en-US" sz="1800" b="0" i="0" u="none" strike="noStrike" kern="1200" cap="none" spc="0" normalizeH="0" baseline="0" noProof="0" dirty="0">
              <a:ln w="3175">
                <a:noFill/>
              </a:ln>
              <a:gradFill flip="none" rotWithShape="1">
                <a:gsLst>
                  <a:gs pos="0">
                    <a:srgbClr val="176F58"/>
                  </a:gs>
                  <a:gs pos="100000">
                    <a:srgbClr val="6FBA2C"/>
                  </a:gs>
                </a:gsLst>
                <a:lin ang="0" scaled="1"/>
                <a:tileRect/>
              </a:gradFill>
              <a:effectLst>
                <a:reflection blurRad="76200" stA="49000" endPos="50000" dist="12700" dir="5400000" sy="-100000" algn="bl" rotWithShape="0"/>
              </a:effectLst>
              <a:uLnTx/>
              <a:uFillTx/>
              <a:latin typeface="OPPOSans B" panose="00020600040101010101" pitchFamily="18" charset="-122"/>
              <a:ea typeface="OPPOSans B" panose="00020600040101010101" pitchFamily="18" charset="-122"/>
              <a:cs typeface="+mn-cs"/>
            </a:endParaRPr>
          </a:p>
        </p:txBody>
      </p:sp>
      <p:sp>
        <p:nvSpPr>
          <p:cNvPr id="88" name="稿定PPT-10-2">
            <a:extLst>
              <a:ext uri="{FF2B5EF4-FFF2-40B4-BE49-F238E27FC236}">
                <a16:creationId xmlns:a16="http://schemas.microsoft.com/office/drawing/2014/main" id="{3E3D9B1F-A3FB-49C9-9EAA-34F41F0EBE91}"/>
              </a:ext>
            </a:extLst>
          </p:cNvPr>
          <p:cNvSpPr txBox="1"/>
          <p:nvPr/>
        </p:nvSpPr>
        <p:spPr>
          <a:xfrm>
            <a:off x="6269994" y="2438303"/>
            <a:ext cx="1481840" cy="980931"/>
          </a:xfrm>
          <a:prstGeom prst="rect">
            <a:avLst/>
          </a:prstGeom>
          <a:noFill/>
          <a:ln>
            <a:noFill/>
          </a:ln>
          <a:effectLst/>
        </p:spPr>
        <p:txBody>
          <a:bodyPr wrap="square" lIns="0" tIns="0" rIns="0" bIns="0" anchor="t" anchorCtr="0">
            <a:noAutofit/>
          </a:bodyPr>
          <a:lstStyle>
            <a:defPPr>
              <a:defRPr lang="zh-CN"/>
            </a:defPPr>
            <a:lvl1pPr marR="0" lvl="0" indent="0" algn="just" fontAlgn="auto">
              <a:lnSpc>
                <a:spcPct val="130000"/>
              </a:lnSpc>
              <a:spcBef>
                <a:spcPts val="0"/>
              </a:spcBef>
              <a:spcAft>
                <a:spcPts val="0"/>
              </a:spcAft>
              <a:buClrTx/>
              <a:buSzPct val="25000"/>
              <a:buFontTx/>
              <a:buNone/>
              <a:tabLst/>
              <a:defRPr kumimoji="0" sz="1000" b="0" i="0" u="none" strike="noStrike" cap="none" spc="0" normalizeH="0" baseline="0">
                <a:ln>
                  <a:noFill/>
                </a:ln>
                <a:solidFill>
                  <a:schemeClr val="tx2"/>
                </a:solidFill>
                <a:effectLst/>
                <a:uLnTx/>
                <a:uFillTx/>
                <a:latin typeface="+mn-ea"/>
              </a:defRPr>
            </a:lvl1pPr>
          </a:lstStyle>
          <a:p>
            <a:pPr marL="0" marR="0" lvl="0" indent="0" algn="just" defTabSz="914400" rtl="0" eaLnBrk="1" fontAlgn="auto" latinLnBrk="0" hangingPunct="1">
              <a:lnSpc>
                <a:spcPct val="130000"/>
              </a:lnSpc>
              <a:spcBef>
                <a:spcPts val="0"/>
              </a:spcBef>
              <a:spcAft>
                <a:spcPts val="0"/>
              </a:spcAft>
              <a:buClrTx/>
              <a:buSzPct val="25000"/>
              <a:buFontTx/>
              <a:buNone/>
              <a:tabLst/>
              <a:defRPr/>
            </a:pPr>
            <a:r>
              <a:rPr kumimoji="0" lang="zh-CN" altLang="en-US" sz="1000" b="0" i="0" u="none" strike="noStrike" kern="1200" cap="none" spc="0" normalizeH="0" baseline="0" noProof="0" dirty="0">
                <a:ln>
                  <a:noFill/>
                </a:ln>
                <a:solidFill>
                  <a:srgbClr val="44546A"/>
                </a:solidFill>
                <a:effectLst/>
                <a:uLnTx/>
                <a:uFillTx/>
                <a:latin typeface="OPPOSans L" panose="00020600040101010101" pitchFamily="18" charset="-122"/>
                <a:ea typeface="OPPOSans L" panose="00020600040101010101" pitchFamily="18" charset="-122"/>
                <a:cs typeface="+mn-cs"/>
              </a:rPr>
              <a:t>借助秋叶</a:t>
            </a:r>
            <a:r>
              <a:rPr kumimoji="0" lang="en-US" altLang="zh-CN" sz="1000" b="0" i="0" u="none" strike="noStrike" kern="1200" cap="none" spc="0" normalizeH="0" baseline="0" noProof="0" dirty="0">
                <a:ln>
                  <a:noFill/>
                </a:ln>
                <a:solidFill>
                  <a:srgbClr val="44546A"/>
                </a:solidFill>
                <a:effectLst/>
                <a:uLnTx/>
                <a:uFillTx/>
                <a:latin typeface="OPPOSans L" panose="00020600040101010101" pitchFamily="18" charset="-122"/>
                <a:ea typeface="OPPOSans L" panose="00020600040101010101" pitchFamily="18" charset="-122"/>
                <a:cs typeface="+mn-cs"/>
              </a:rPr>
              <a:t>PPT</a:t>
            </a:r>
            <a:r>
              <a:rPr kumimoji="0" lang="zh-CN" altLang="en-US" sz="1000" b="0" i="0" u="none" strike="noStrike" kern="1200" cap="none" spc="0" normalizeH="0" baseline="0" noProof="0" dirty="0">
                <a:ln>
                  <a:noFill/>
                </a:ln>
                <a:solidFill>
                  <a:srgbClr val="44546A"/>
                </a:solidFill>
                <a:effectLst/>
                <a:uLnTx/>
                <a:uFillTx/>
                <a:latin typeface="OPPOSans L" panose="00020600040101010101" pitchFamily="18" charset="-122"/>
                <a:ea typeface="OPPOSans L" panose="00020600040101010101" pitchFamily="18" charset="-122"/>
                <a:cs typeface="+mn-cs"/>
              </a:rPr>
              <a:t>插件，通过添加图片等素材，用强大的视觉表现力打动听众，讲述生动的演示故事。</a:t>
            </a:r>
          </a:p>
        </p:txBody>
      </p:sp>
      <p:sp>
        <p:nvSpPr>
          <p:cNvPr id="85" name="文本框 1">
            <a:extLst>
              <a:ext uri="{FF2B5EF4-FFF2-40B4-BE49-F238E27FC236}">
                <a16:creationId xmlns:a16="http://schemas.microsoft.com/office/drawing/2014/main" id="{134DDA91-A04B-4CFF-94DC-4DD46D1F2CD3}"/>
              </a:ext>
            </a:extLst>
          </p:cNvPr>
          <p:cNvSpPr txBox="1"/>
          <p:nvPr/>
        </p:nvSpPr>
        <p:spPr>
          <a:xfrm>
            <a:off x="6269994" y="4186082"/>
            <a:ext cx="1135389" cy="276999"/>
          </a:xfrm>
          <a:prstGeom prst="rect">
            <a:avLst/>
          </a:prstGeom>
          <a:noFill/>
        </p:spPr>
        <p:txBody>
          <a:bodyPr wrap="square" lIns="0" tIns="0" rIns="0" bIns="0" rtlCol="0">
            <a:spAutoFit/>
          </a:bodyPr>
          <a:lstStyle>
            <a:defPPr>
              <a:defRPr lang="zh-CN"/>
            </a:defPPr>
            <a:lvl1pPr marR="0" lvl="0" indent="0" fontAlgn="auto">
              <a:lnSpc>
                <a:spcPct val="100000"/>
              </a:lnSpc>
              <a:spcBef>
                <a:spcPts val="0"/>
              </a:spcBef>
              <a:spcAft>
                <a:spcPts val="0"/>
              </a:spcAft>
              <a:buClrTx/>
              <a:buSzTx/>
              <a:buFontTx/>
              <a:buNone/>
              <a:tabLst/>
              <a:defRPr kumimoji="0" sz="6600" b="0" i="0" u="none" strike="noStrike" cap="none" spc="0" normalizeH="0" baseline="0">
                <a:ln w="3175">
                  <a:noFill/>
                </a:ln>
                <a:gradFill flip="none" rotWithShape="1">
                  <a:gsLst>
                    <a:gs pos="0">
                      <a:schemeClr val="accent1"/>
                    </a:gs>
                    <a:gs pos="100000">
                      <a:schemeClr val="accent3"/>
                    </a:gs>
                  </a:gsLst>
                  <a:lin ang="0" scaled="1"/>
                  <a:tileRect/>
                </a:gradFill>
                <a:effectLst/>
                <a:uLnTx/>
                <a:uFillTx/>
                <a:latin typeface="思源黑体 CN Heavy" panose="020B0A00000000000000" pitchFamily="34" charset="-122"/>
                <a:ea typeface="思源黑体 CN Heavy" panose="020B0A00000000000000" pitchFamily="34" charset="-122"/>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800" b="0" i="0" u="none" strike="noStrike" kern="1200" cap="none" spc="0" normalizeH="0" baseline="0" noProof="0" dirty="0">
                <a:ln w="3175">
                  <a:noFill/>
                </a:ln>
                <a:gradFill flip="none" rotWithShape="1">
                  <a:gsLst>
                    <a:gs pos="0">
                      <a:srgbClr val="176F58"/>
                    </a:gs>
                    <a:gs pos="100000">
                      <a:srgbClr val="6FBA2C"/>
                    </a:gs>
                  </a:gsLst>
                  <a:lin ang="0" scaled="1"/>
                  <a:tileRect/>
                </a:gradFill>
                <a:effectLst>
                  <a:reflection blurRad="76200" stA="49000" endPos="50000" dist="12700" dir="5400000" sy="-100000" algn="bl" rotWithShape="0"/>
                </a:effectLst>
                <a:uLnTx/>
                <a:uFillTx/>
                <a:latin typeface="OPPOSans B" panose="00020600040101010101" pitchFamily="18" charset="-122"/>
                <a:ea typeface="OPPOSans B" panose="00020600040101010101" pitchFamily="18" charset="-122"/>
                <a:cs typeface="+mn-cs"/>
              </a:rPr>
              <a:t>秋叶</a:t>
            </a:r>
            <a:r>
              <a:rPr kumimoji="0" lang="en-US" altLang="zh-CN" sz="1800" b="0" i="0" u="none" strike="noStrike" kern="1200" cap="none" spc="0" normalizeH="0" baseline="0" noProof="0" dirty="0">
                <a:ln w="3175">
                  <a:noFill/>
                </a:ln>
                <a:gradFill flip="none" rotWithShape="1">
                  <a:gsLst>
                    <a:gs pos="0">
                      <a:srgbClr val="176F58"/>
                    </a:gs>
                    <a:gs pos="100000">
                      <a:srgbClr val="6FBA2C"/>
                    </a:gs>
                  </a:gsLst>
                  <a:lin ang="0" scaled="1"/>
                  <a:tileRect/>
                </a:gradFill>
                <a:effectLst>
                  <a:reflection blurRad="76200" stA="49000" endPos="50000" dist="12700" dir="5400000" sy="-100000" algn="bl" rotWithShape="0"/>
                </a:effectLst>
                <a:uLnTx/>
                <a:uFillTx/>
                <a:latin typeface="OPPOSans B" panose="00020600040101010101" pitchFamily="18" charset="-122"/>
                <a:ea typeface="OPPOSans B" panose="00020600040101010101" pitchFamily="18" charset="-122"/>
                <a:cs typeface="+mn-cs"/>
              </a:rPr>
              <a:t>PPT</a:t>
            </a:r>
            <a:endParaRPr kumimoji="0" lang="zh-CN" altLang="en-US" sz="1800" b="0" i="0" u="none" strike="noStrike" kern="1200" cap="none" spc="0" normalizeH="0" baseline="0" noProof="0" dirty="0">
              <a:ln w="3175">
                <a:noFill/>
              </a:ln>
              <a:gradFill flip="none" rotWithShape="1">
                <a:gsLst>
                  <a:gs pos="0">
                    <a:srgbClr val="176F58"/>
                  </a:gs>
                  <a:gs pos="100000">
                    <a:srgbClr val="6FBA2C"/>
                  </a:gs>
                </a:gsLst>
                <a:lin ang="0" scaled="1"/>
                <a:tileRect/>
              </a:gradFill>
              <a:effectLst>
                <a:reflection blurRad="76200" stA="49000" endPos="50000" dist="12700" dir="5400000" sy="-100000" algn="bl" rotWithShape="0"/>
              </a:effectLst>
              <a:uLnTx/>
              <a:uFillTx/>
              <a:latin typeface="OPPOSans B" panose="00020600040101010101" pitchFamily="18" charset="-122"/>
              <a:ea typeface="OPPOSans B" panose="00020600040101010101" pitchFamily="18" charset="-122"/>
              <a:cs typeface="+mn-cs"/>
            </a:endParaRPr>
          </a:p>
        </p:txBody>
      </p:sp>
      <p:sp>
        <p:nvSpPr>
          <p:cNvPr id="86" name="稿定PPT-10-2">
            <a:extLst>
              <a:ext uri="{FF2B5EF4-FFF2-40B4-BE49-F238E27FC236}">
                <a16:creationId xmlns:a16="http://schemas.microsoft.com/office/drawing/2014/main" id="{452BD72D-2EDB-45CE-803F-103C904FABAC}"/>
              </a:ext>
            </a:extLst>
          </p:cNvPr>
          <p:cNvSpPr txBox="1"/>
          <p:nvPr/>
        </p:nvSpPr>
        <p:spPr>
          <a:xfrm>
            <a:off x="6269994" y="4554355"/>
            <a:ext cx="1481840" cy="980931"/>
          </a:xfrm>
          <a:prstGeom prst="rect">
            <a:avLst/>
          </a:prstGeom>
          <a:noFill/>
          <a:ln>
            <a:noFill/>
          </a:ln>
          <a:effectLst/>
        </p:spPr>
        <p:txBody>
          <a:bodyPr wrap="square" lIns="0" tIns="0" rIns="0" bIns="0" anchor="t" anchorCtr="0">
            <a:noAutofit/>
          </a:bodyPr>
          <a:lstStyle>
            <a:defPPr>
              <a:defRPr lang="zh-CN"/>
            </a:defPPr>
            <a:lvl1pPr marR="0" lvl="0" indent="0" algn="just" fontAlgn="auto">
              <a:lnSpc>
                <a:spcPct val="130000"/>
              </a:lnSpc>
              <a:spcBef>
                <a:spcPts val="0"/>
              </a:spcBef>
              <a:spcAft>
                <a:spcPts val="0"/>
              </a:spcAft>
              <a:buClrTx/>
              <a:buSzPct val="25000"/>
              <a:buFontTx/>
              <a:buNone/>
              <a:tabLst/>
              <a:defRPr kumimoji="0" sz="1000" b="0" i="0" u="none" strike="noStrike" cap="none" spc="0" normalizeH="0" baseline="0">
                <a:ln>
                  <a:noFill/>
                </a:ln>
                <a:solidFill>
                  <a:schemeClr val="tx2"/>
                </a:solidFill>
                <a:effectLst/>
                <a:uLnTx/>
                <a:uFillTx/>
                <a:latin typeface="+mn-ea"/>
              </a:defRPr>
            </a:lvl1pPr>
          </a:lstStyle>
          <a:p>
            <a:pPr marL="0" marR="0" lvl="0" indent="0" algn="just" defTabSz="914400" rtl="0" eaLnBrk="1" fontAlgn="auto" latinLnBrk="0" hangingPunct="1">
              <a:lnSpc>
                <a:spcPct val="130000"/>
              </a:lnSpc>
              <a:spcBef>
                <a:spcPts val="0"/>
              </a:spcBef>
              <a:spcAft>
                <a:spcPts val="0"/>
              </a:spcAft>
              <a:buClrTx/>
              <a:buSzPct val="25000"/>
              <a:buFontTx/>
              <a:buNone/>
              <a:tabLst/>
              <a:defRPr/>
            </a:pPr>
            <a:r>
              <a:rPr kumimoji="0" lang="zh-CN" altLang="en-US" sz="1000" b="0" i="0" u="none" strike="noStrike" kern="1200" cap="none" spc="0" normalizeH="0" baseline="0" noProof="0" dirty="0">
                <a:ln>
                  <a:noFill/>
                </a:ln>
                <a:solidFill>
                  <a:srgbClr val="44546A"/>
                </a:solidFill>
                <a:effectLst/>
                <a:uLnTx/>
                <a:uFillTx/>
                <a:latin typeface="OPPOSans L" panose="00020600040101010101" pitchFamily="18" charset="-122"/>
                <a:ea typeface="OPPOSans L" panose="00020600040101010101" pitchFamily="18" charset="-122"/>
                <a:cs typeface="+mn-cs"/>
              </a:rPr>
              <a:t>秋叶</a:t>
            </a:r>
            <a:r>
              <a:rPr kumimoji="0" lang="en-US" altLang="zh-CN" sz="1000" b="0" i="0" u="none" strike="noStrike" kern="1200" cap="none" spc="0" normalizeH="0" baseline="0" noProof="0" dirty="0">
                <a:ln>
                  <a:noFill/>
                </a:ln>
                <a:solidFill>
                  <a:srgbClr val="44546A"/>
                </a:solidFill>
                <a:effectLst/>
                <a:uLnTx/>
                <a:uFillTx/>
                <a:latin typeface="OPPOSans L" panose="00020600040101010101" pitchFamily="18" charset="-122"/>
                <a:ea typeface="OPPOSans L" panose="00020600040101010101" pitchFamily="18" charset="-122"/>
                <a:cs typeface="+mn-cs"/>
              </a:rPr>
              <a:t>PPT</a:t>
            </a:r>
            <a:r>
              <a:rPr kumimoji="0" lang="zh-CN" altLang="en-US" sz="1000" b="0" i="0" u="none" strike="noStrike" kern="1200" cap="none" spc="0" normalizeH="0" baseline="0" noProof="0" dirty="0">
                <a:ln>
                  <a:noFill/>
                </a:ln>
                <a:solidFill>
                  <a:srgbClr val="44546A"/>
                </a:solidFill>
                <a:effectLst/>
                <a:uLnTx/>
                <a:uFillTx/>
                <a:latin typeface="OPPOSans L" panose="00020600040101010101" pitchFamily="18" charset="-122"/>
                <a:ea typeface="OPPOSans L" panose="00020600040101010101" pitchFamily="18" charset="-122"/>
                <a:cs typeface="+mn-cs"/>
              </a:rPr>
              <a:t>丰富的信息图表覆盖并列</a:t>
            </a:r>
            <a:r>
              <a:rPr kumimoji="0" lang="en-US" altLang="zh-CN" sz="1000" b="0" i="0" u="none" strike="noStrike" kern="1200" cap="none" spc="0" normalizeH="0" baseline="0" noProof="0" dirty="0">
                <a:ln>
                  <a:noFill/>
                </a:ln>
                <a:solidFill>
                  <a:srgbClr val="44546A"/>
                </a:solidFill>
                <a:effectLst/>
                <a:uLnTx/>
                <a:uFillTx/>
                <a:latin typeface="OPPOSans L" panose="00020600040101010101" pitchFamily="18" charset="-122"/>
                <a:ea typeface="OPPOSans L" panose="00020600040101010101" pitchFamily="18" charset="-122"/>
                <a:cs typeface="+mn-cs"/>
              </a:rPr>
              <a:t>/</a:t>
            </a:r>
            <a:r>
              <a:rPr kumimoji="0" lang="zh-CN" altLang="en-US" sz="1000" b="0" i="0" u="none" strike="noStrike" kern="1200" cap="none" spc="0" normalizeH="0" baseline="0" noProof="0" dirty="0">
                <a:ln>
                  <a:noFill/>
                </a:ln>
                <a:solidFill>
                  <a:srgbClr val="44546A"/>
                </a:solidFill>
                <a:effectLst/>
                <a:uLnTx/>
                <a:uFillTx/>
                <a:latin typeface="OPPOSans L" panose="00020600040101010101" pitchFamily="18" charset="-122"/>
                <a:ea typeface="OPPOSans L" panose="00020600040101010101" pitchFamily="18" charset="-122"/>
                <a:cs typeface="+mn-cs"/>
              </a:rPr>
              <a:t>流程</a:t>
            </a:r>
            <a:r>
              <a:rPr kumimoji="0" lang="en-US" altLang="zh-CN" sz="1000" b="0" i="0" u="none" strike="noStrike" kern="1200" cap="none" spc="0" normalizeH="0" baseline="0" noProof="0" dirty="0">
                <a:ln>
                  <a:noFill/>
                </a:ln>
                <a:solidFill>
                  <a:srgbClr val="44546A"/>
                </a:solidFill>
                <a:effectLst/>
                <a:uLnTx/>
                <a:uFillTx/>
                <a:latin typeface="OPPOSans L" panose="00020600040101010101" pitchFamily="18" charset="-122"/>
                <a:ea typeface="OPPOSans L" panose="00020600040101010101" pitchFamily="18" charset="-122"/>
                <a:cs typeface="+mn-cs"/>
              </a:rPr>
              <a:t>/</a:t>
            </a:r>
            <a:r>
              <a:rPr kumimoji="0" lang="zh-CN" altLang="en-US" sz="1000" b="0" i="0" u="none" strike="noStrike" kern="1200" cap="none" spc="0" normalizeH="0" baseline="0" noProof="0" dirty="0">
                <a:ln>
                  <a:noFill/>
                </a:ln>
                <a:solidFill>
                  <a:srgbClr val="44546A"/>
                </a:solidFill>
                <a:effectLst/>
                <a:uLnTx/>
                <a:uFillTx/>
                <a:latin typeface="OPPOSans L" panose="00020600040101010101" pitchFamily="18" charset="-122"/>
                <a:ea typeface="OPPOSans L" panose="00020600040101010101" pitchFamily="18" charset="-122"/>
                <a:cs typeface="+mn-cs"/>
              </a:rPr>
              <a:t>层级等多种逻辑关系，帮助有效梳理页面内容。</a:t>
            </a:r>
          </a:p>
        </p:txBody>
      </p:sp>
      <p:sp>
        <p:nvSpPr>
          <p:cNvPr id="75" name="平行四边形 2">
            <a:extLst>
              <a:ext uri="{FF2B5EF4-FFF2-40B4-BE49-F238E27FC236}">
                <a16:creationId xmlns:a16="http://schemas.microsoft.com/office/drawing/2014/main" id="{CAF0762A-89C7-4B9A-A0E5-73BD853A197E}"/>
              </a:ext>
            </a:extLst>
          </p:cNvPr>
          <p:cNvSpPr/>
          <p:nvPr/>
        </p:nvSpPr>
        <p:spPr>
          <a:xfrm rot="5400000">
            <a:off x="6607229" y="2772773"/>
            <a:ext cx="4428922" cy="1728000"/>
          </a:xfrm>
          <a:prstGeom prst="parallelogram">
            <a:avLst>
              <a:gd name="adj" fmla="val 20039"/>
            </a:avLst>
          </a:prstGeom>
          <a:solidFill>
            <a:schemeClr val="bg1"/>
          </a:solidFill>
          <a:ln>
            <a:noFill/>
          </a:ln>
          <a:effectLst>
            <a:outerShdw blurRad="127000" dist="76200" dir="5400000" algn="ctr" rotWithShape="0">
              <a:schemeClr val="accent1">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white"/>
              </a:solidFill>
              <a:effectLst/>
              <a:uLnTx/>
              <a:uFillTx/>
              <a:latin typeface="OPPOSans M"/>
              <a:ea typeface="OPPOSans L" panose="00020600040101010101" pitchFamily="18" charset="-122"/>
              <a:cs typeface="+mn-cs"/>
            </a:endParaRPr>
          </a:p>
        </p:txBody>
      </p:sp>
      <p:sp>
        <p:nvSpPr>
          <p:cNvPr id="80" name="文本框 1">
            <a:extLst>
              <a:ext uri="{FF2B5EF4-FFF2-40B4-BE49-F238E27FC236}">
                <a16:creationId xmlns:a16="http://schemas.microsoft.com/office/drawing/2014/main" id="{175A81A7-E117-4069-AD79-BAF981E0567B}"/>
              </a:ext>
            </a:extLst>
          </p:cNvPr>
          <p:cNvSpPr txBox="1"/>
          <p:nvPr/>
        </p:nvSpPr>
        <p:spPr>
          <a:xfrm>
            <a:off x="8080770" y="1948883"/>
            <a:ext cx="1135389" cy="276999"/>
          </a:xfrm>
          <a:prstGeom prst="rect">
            <a:avLst/>
          </a:prstGeom>
          <a:noFill/>
        </p:spPr>
        <p:txBody>
          <a:bodyPr wrap="square" lIns="0" tIns="0" rIns="0" bIns="0" rtlCol="0">
            <a:spAutoFit/>
          </a:bodyPr>
          <a:lstStyle>
            <a:defPPr>
              <a:defRPr lang="zh-CN"/>
            </a:defPPr>
            <a:lvl1pPr marR="0" lvl="0" indent="0" fontAlgn="auto">
              <a:lnSpc>
                <a:spcPct val="100000"/>
              </a:lnSpc>
              <a:spcBef>
                <a:spcPts val="0"/>
              </a:spcBef>
              <a:spcAft>
                <a:spcPts val="0"/>
              </a:spcAft>
              <a:buClrTx/>
              <a:buSzTx/>
              <a:buFontTx/>
              <a:buNone/>
              <a:tabLst/>
              <a:defRPr kumimoji="0" sz="6600" b="0" i="0" u="none" strike="noStrike" cap="none" spc="0" normalizeH="0" baseline="0">
                <a:ln w="3175">
                  <a:noFill/>
                </a:ln>
                <a:gradFill flip="none" rotWithShape="1">
                  <a:gsLst>
                    <a:gs pos="0">
                      <a:schemeClr val="accent1"/>
                    </a:gs>
                    <a:gs pos="100000">
                      <a:schemeClr val="accent3"/>
                    </a:gs>
                  </a:gsLst>
                  <a:lin ang="0" scaled="1"/>
                  <a:tileRect/>
                </a:gradFill>
                <a:effectLst/>
                <a:uLnTx/>
                <a:uFillTx/>
                <a:latin typeface="思源黑体 CN Heavy" panose="020B0A00000000000000" pitchFamily="34" charset="-122"/>
                <a:ea typeface="思源黑体 CN Heavy" panose="020B0A00000000000000" pitchFamily="34" charset="-122"/>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800" b="0" i="0" u="none" strike="noStrike" kern="1200" cap="none" spc="0" normalizeH="0" baseline="0" noProof="0" dirty="0">
                <a:ln w="3175">
                  <a:noFill/>
                </a:ln>
                <a:gradFill flip="none" rotWithShape="1">
                  <a:gsLst>
                    <a:gs pos="0">
                      <a:srgbClr val="176F58"/>
                    </a:gs>
                    <a:gs pos="100000">
                      <a:srgbClr val="6FBA2C"/>
                    </a:gs>
                  </a:gsLst>
                  <a:lin ang="0" scaled="1"/>
                  <a:tileRect/>
                </a:gradFill>
                <a:effectLst>
                  <a:reflection blurRad="76200" stA="49000" endPos="50000" dist="12700" dir="5400000" sy="-100000" algn="bl" rotWithShape="0"/>
                </a:effectLst>
                <a:uLnTx/>
                <a:uFillTx/>
                <a:latin typeface="OPPOSans B" panose="00020600040101010101" pitchFamily="18" charset="-122"/>
                <a:ea typeface="OPPOSans B" panose="00020600040101010101" pitchFamily="18" charset="-122"/>
                <a:cs typeface="+mn-cs"/>
              </a:rPr>
              <a:t>秋叶</a:t>
            </a:r>
            <a:r>
              <a:rPr kumimoji="0" lang="en-US" altLang="zh-CN" sz="1800" b="0" i="0" u="none" strike="noStrike" kern="1200" cap="none" spc="0" normalizeH="0" baseline="0" noProof="0" dirty="0">
                <a:ln w="3175">
                  <a:noFill/>
                </a:ln>
                <a:gradFill flip="none" rotWithShape="1">
                  <a:gsLst>
                    <a:gs pos="0">
                      <a:srgbClr val="176F58"/>
                    </a:gs>
                    <a:gs pos="100000">
                      <a:srgbClr val="6FBA2C"/>
                    </a:gs>
                  </a:gsLst>
                  <a:lin ang="0" scaled="1"/>
                  <a:tileRect/>
                </a:gradFill>
                <a:effectLst>
                  <a:reflection blurRad="76200" stA="49000" endPos="50000" dist="12700" dir="5400000" sy="-100000" algn="bl" rotWithShape="0"/>
                </a:effectLst>
                <a:uLnTx/>
                <a:uFillTx/>
                <a:latin typeface="OPPOSans B" panose="00020600040101010101" pitchFamily="18" charset="-122"/>
                <a:ea typeface="OPPOSans B" panose="00020600040101010101" pitchFamily="18" charset="-122"/>
                <a:cs typeface="+mn-cs"/>
              </a:rPr>
              <a:t>PPT</a:t>
            </a:r>
            <a:endParaRPr kumimoji="0" lang="zh-CN" altLang="en-US" sz="1800" b="0" i="0" u="none" strike="noStrike" kern="1200" cap="none" spc="0" normalizeH="0" baseline="0" noProof="0" dirty="0">
              <a:ln w="3175">
                <a:noFill/>
              </a:ln>
              <a:gradFill flip="none" rotWithShape="1">
                <a:gsLst>
                  <a:gs pos="0">
                    <a:srgbClr val="176F58"/>
                  </a:gs>
                  <a:gs pos="100000">
                    <a:srgbClr val="6FBA2C"/>
                  </a:gs>
                </a:gsLst>
                <a:lin ang="0" scaled="1"/>
                <a:tileRect/>
              </a:gradFill>
              <a:effectLst>
                <a:reflection blurRad="76200" stA="49000" endPos="50000" dist="12700" dir="5400000" sy="-100000" algn="bl" rotWithShape="0"/>
              </a:effectLst>
              <a:uLnTx/>
              <a:uFillTx/>
              <a:latin typeface="OPPOSans B" panose="00020600040101010101" pitchFamily="18" charset="-122"/>
              <a:ea typeface="OPPOSans B" panose="00020600040101010101" pitchFamily="18" charset="-122"/>
              <a:cs typeface="+mn-cs"/>
            </a:endParaRPr>
          </a:p>
        </p:txBody>
      </p:sp>
      <p:sp>
        <p:nvSpPr>
          <p:cNvPr id="81" name="稿定PPT-10-2">
            <a:extLst>
              <a:ext uri="{FF2B5EF4-FFF2-40B4-BE49-F238E27FC236}">
                <a16:creationId xmlns:a16="http://schemas.microsoft.com/office/drawing/2014/main" id="{26447F27-2D29-412B-A95B-3D4C35173764}"/>
              </a:ext>
            </a:extLst>
          </p:cNvPr>
          <p:cNvSpPr txBox="1"/>
          <p:nvPr/>
        </p:nvSpPr>
        <p:spPr>
          <a:xfrm>
            <a:off x="8080770" y="2317156"/>
            <a:ext cx="1481840" cy="980931"/>
          </a:xfrm>
          <a:prstGeom prst="rect">
            <a:avLst/>
          </a:prstGeom>
          <a:noFill/>
          <a:ln>
            <a:noFill/>
          </a:ln>
          <a:effectLst/>
        </p:spPr>
        <p:txBody>
          <a:bodyPr wrap="square" lIns="0" tIns="0" rIns="0" bIns="0" anchor="t" anchorCtr="0">
            <a:noAutofit/>
          </a:bodyPr>
          <a:lstStyle>
            <a:defPPr>
              <a:defRPr lang="zh-CN"/>
            </a:defPPr>
            <a:lvl1pPr marR="0" lvl="0" indent="0" algn="just" fontAlgn="auto">
              <a:lnSpc>
                <a:spcPct val="130000"/>
              </a:lnSpc>
              <a:spcBef>
                <a:spcPts val="0"/>
              </a:spcBef>
              <a:spcAft>
                <a:spcPts val="0"/>
              </a:spcAft>
              <a:buClrTx/>
              <a:buSzPct val="25000"/>
              <a:buFontTx/>
              <a:buNone/>
              <a:tabLst/>
              <a:defRPr kumimoji="0" sz="1000" b="0" i="0" u="none" strike="noStrike" cap="none" spc="0" normalizeH="0" baseline="0">
                <a:ln>
                  <a:noFill/>
                </a:ln>
                <a:solidFill>
                  <a:schemeClr val="tx2"/>
                </a:solidFill>
                <a:effectLst/>
                <a:uLnTx/>
                <a:uFillTx/>
                <a:latin typeface="+mn-ea"/>
              </a:defRPr>
            </a:lvl1pPr>
          </a:lstStyle>
          <a:p>
            <a:pPr marL="0" marR="0" lvl="0" indent="0" algn="just" defTabSz="914400" rtl="0" eaLnBrk="1" fontAlgn="auto" latinLnBrk="0" hangingPunct="1">
              <a:lnSpc>
                <a:spcPct val="130000"/>
              </a:lnSpc>
              <a:spcBef>
                <a:spcPts val="0"/>
              </a:spcBef>
              <a:spcAft>
                <a:spcPts val="0"/>
              </a:spcAft>
              <a:buClrTx/>
              <a:buSzPct val="25000"/>
              <a:buFontTx/>
              <a:buNone/>
              <a:tabLst/>
              <a:defRPr/>
            </a:pPr>
            <a:r>
              <a:rPr kumimoji="0" lang="zh-CN" altLang="en-US" sz="1000" b="0" i="0" u="none" strike="noStrike" kern="1200" cap="none" spc="0" normalizeH="0" baseline="0" noProof="0" dirty="0">
                <a:ln>
                  <a:noFill/>
                </a:ln>
                <a:solidFill>
                  <a:srgbClr val="44546A"/>
                </a:solidFill>
                <a:effectLst/>
                <a:uLnTx/>
                <a:uFillTx/>
                <a:latin typeface="OPPOSans L" panose="00020600040101010101" pitchFamily="18" charset="-122"/>
                <a:ea typeface="OPPOSans L" panose="00020600040101010101" pitchFamily="18" charset="-122"/>
                <a:cs typeface="+mn-cs"/>
              </a:rPr>
              <a:t>秋叶</a:t>
            </a:r>
            <a:r>
              <a:rPr kumimoji="0" lang="en-US" altLang="zh-CN" sz="1000" b="0" i="0" u="none" strike="noStrike" kern="1200" cap="none" spc="0" normalizeH="0" baseline="0" noProof="0" dirty="0">
                <a:ln>
                  <a:noFill/>
                </a:ln>
                <a:solidFill>
                  <a:srgbClr val="44546A"/>
                </a:solidFill>
                <a:effectLst/>
                <a:uLnTx/>
                <a:uFillTx/>
                <a:latin typeface="OPPOSans L" panose="00020600040101010101" pitchFamily="18" charset="-122"/>
                <a:ea typeface="OPPOSans L" panose="00020600040101010101" pitchFamily="18" charset="-122"/>
                <a:cs typeface="+mn-cs"/>
              </a:rPr>
              <a:t>PPT</a:t>
            </a:r>
            <a:r>
              <a:rPr kumimoji="0" lang="zh-CN" altLang="en-US" sz="1000" b="0" i="0" u="none" strike="noStrike" kern="1200" cap="none" spc="0" normalizeH="0" baseline="0" noProof="0" dirty="0">
                <a:ln>
                  <a:noFill/>
                </a:ln>
                <a:solidFill>
                  <a:srgbClr val="44546A"/>
                </a:solidFill>
                <a:effectLst/>
                <a:uLnTx/>
                <a:uFillTx/>
                <a:latin typeface="OPPOSans L" panose="00020600040101010101" pitchFamily="18" charset="-122"/>
                <a:ea typeface="OPPOSans L" panose="00020600040101010101" pitchFamily="18" charset="-122"/>
                <a:cs typeface="+mn-cs"/>
              </a:rPr>
              <a:t>，科技为创作赋能，无需重复劳动，更多时间留给演示创作。只要会打字，就能制作专业的演示效果。</a:t>
            </a:r>
          </a:p>
        </p:txBody>
      </p:sp>
      <p:sp>
        <p:nvSpPr>
          <p:cNvPr id="78" name="文本框 1">
            <a:extLst>
              <a:ext uri="{FF2B5EF4-FFF2-40B4-BE49-F238E27FC236}">
                <a16:creationId xmlns:a16="http://schemas.microsoft.com/office/drawing/2014/main" id="{27DFDAB2-CBD1-40DC-B9E1-5AD376718B8F}"/>
              </a:ext>
            </a:extLst>
          </p:cNvPr>
          <p:cNvSpPr txBox="1"/>
          <p:nvPr/>
        </p:nvSpPr>
        <p:spPr>
          <a:xfrm>
            <a:off x="8080770" y="4047843"/>
            <a:ext cx="1135389" cy="276999"/>
          </a:xfrm>
          <a:prstGeom prst="rect">
            <a:avLst/>
          </a:prstGeom>
          <a:noFill/>
        </p:spPr>
        <p:txBody>
          <a:bodyPr wrap="square" lIns="0" tIns="0" rIns="0" bIns="0" rtlCol="0">
            <a:spAutoFit/>
          </a:bodyPr>
          <a:lstStyle>
            <a:defPPr>
              <a:defRPr lang="zh-CN"/>
            </a:defPPr>
            <a:lvl1pPr marR="0" lvl="0" indent="0" fontAlgn="auto">
              <a:lnSpc>
                <a:spcPct val="100000"/>
              </a:lnSpc>
              <a:spcBef>
                <a:spcPts val="0"/>
              </a:spcBef>
              <a:spcAft>
                <a:spcPts val="0"/>
              </a:spcAft>
              <a:buClrTx/>
              <a:buSzTx/>
              <a:buFontTx/>
              <a:buNone/>
              <a:tabLst/>
              <a:defRPr kumimoji="0" sz="6600" b="0" i="0" u="none" strike="noStrike" cap="none" spc="0" normalizeH="0" baseline="0">
                <a:ln w="3175">
                  <a:noFill/>
                </a:ln>
                <a:gradFill flip="none" rotWithShape="1">
                  <a:gsLst>
                    <a:gs pos="0">
                      <a:schemeClr val="accent1"/>
                    </a:gs>
                    <a:gs pos="100000">
                      <a:schemeClr val="accent3"/>
                    </a:gs>
                  </a:gsLst>
                  <a:lin ang="0" scaled="1"/>
                  <a:tileRect/>
                </a:gradFill>
                <a:effectLst/>
                <a:uLnTx/>
                <a:uFillTx/>
                <a:latin typeface="思源黑体 CN Heavy" panose="020B0A00000000000000" pitchFamily="34" charset="-122"/>
                <a:ea typeface="思源黑体 CN Heavy" panose="020B0A00000000000000" pitchFamily="34" charset="-122"/>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800" b="0" i="0" u="none" strike="noStrike" kern="1200" cap="none" spc="0" normalizeH="0" baseline="0" noProof="0" dirty="0">
                <a:ln w="3175">
                  <a:noFill/>
                </a:ln>
                <a:gradFill flip="none" rotWithShape="1">
                  <a:gsLst>
                    <a:gs pos="0">
                      <a:srgbClr val="176F58"/>
                    </a:gs>
                    <a:gs pos="100000">
                      <a:srgbClr val="6FBA2C"/>
                    </a:gs>
                  </a:gsLst>
                  <a:lin ang="0" scaled="1"/>
                  <a:tileRect/>
                </a:gradFill>
                <a:effectLst>
                  <a:reflection blurRad="76200" stA="49000" endPos="50000" dist="12700" dir="5400000" sy="-100000" algn="bl" rotWithShape="0"/>
                </a:effectLst>
                <a:uLnTx/>
                <a:uFillTx/>
                <a:latin typeface="OPPOSans B" panose="00020600040101010101" pitchFamily="18" charset="-122"/>
                <a:ea typeface="OPPOSans B" panose="00020600040101010101" pitchFamily="18" charset="-122"/>
                <a:cs typeface="+mn-cs"/>
              </a:rPr>
              <a:t>秋叶</a:t>
            </a:r>
            <a:r>
              <a:rPr kumimoji="0" lang="en-US" altLang="zh-CN" sz="1800" b="0" i="0" u="none" strike="noStrike" kern="1200" cap="none" spc="0" normalizeH="0" baseline="0" noProof="0" dirty="0">
                <a:ln w="3175">
                  <a:noFill/>
                </a:ln>
                <a:gradFill flip="none" rotWithShape="1">
                  <a:gsLst>
                    <a:gs pos="0">
                      <a:srgbClr val="176F58"/>
                    </a:gs>
                    <a:gs pos="100000">
                      <a:srgbClr val="6FBA2C"/>
                    </a:gs>
                  </a:gsLst>
                  <a:lin ang="0" scaled="1"/>
                  <a:tileRect/>
                </a:gradFill>
                <a:effectLst>
                  <a:reflection blurRad="76200" stA="49000" endPos="50000" dist="12700" dir="5400000" sy="-100000" algn="bl" rotWithShape="0"/>
                </a:effectLst>
                <a:uLnTx/>
                <a:uFillTx/>
                <a:latin typeface="OPPOSans B" panose="00020600040101010101" pitchFamily="18" charset="-122"/>
                <a:ea typeface="OPPOSans B" panose="00020600040101010101" pitchFamily="18" charset="-122"/>
                <a:cs typeface="+mn-cs"/>
              </a:rPr>
              <a:t>PPT</a:t>
            </a:r>
            <a:endParaRPr kumimoji="0" lang="zh-CN" altLang="en-US" sz="1800" b="0" i="0" u="none" strike="noStrike" kern="1200" cap="none" spc="0" normalizeH="0" baseline="0" noProof="0" dirty="0">
              <a:ln w="3175">
                <a:noFill/>
              </a:ln>
              <a:gradFill flip="none" rotWithShape="1">
                <a:gsLst>
                  <a:gs pos="0">
                    <a:srgbClr val="176F58"/>
                  </a:gs>
                  <a:gs pos="100000">
                    <a:srgbClr val="6FBA2C"/>
                  </a:gs>
                </a:gsLst>
                <a:lin ang="0" scaled="1"/>
                <a:tileRect/>
              </a:gradFill>
              <a:effectLst>
                <a:reflection blurRad="76200" stA="49000" endPos="50000" dist="12700" dir="5400000" sy="-100000" algn="bl" rotWithShape="0"/>
              </a:effectLst>
              <a:uLnTx/>
              <a:uFillTx/>
              <a:latin typeface="OPPOSans B" panose="00020600040101010101" pitchFamily="18" charset="-122"/>
              <a:ea typeface="OPPOSans B" panose="00020600040101010101" pitchFamily="18" charset="-122"/>
              <a:cs typeface="+mn-cs"/>
            </a:endParaRPr>
          </a:p>
        </p:txBody>
      </p:sp>
      <p:sp>
        <p:nvSpPr>
          <p:cNvPr id="79" name="稿定PPT-10-2">
            <a:extLst>
              <a:ext uri="{FF2B5EF4-FFF2-40B4-BE49-F238E27FC236}">
                <a16:creationId xmlns:a16="http://schemas.microsoft.com/office/drawing/2014/main" id="{89100139-6FA3-4A69-80A0-67959DAE023B}"/>
              </a:ext>
            </a:extLst>
          </p:cNvPr>
          <p:cNvSpPr txBox="1"/>
          <p:nvPr/>
        </p:nvSpPr>
        <p:spPr>
          <a:xfrm>
            <a:off x="8080770" y="4416116"/>
            <a:ext cx="1481840" cy="980931"/>
          </a:xfrm>
          <a:prstGeom prst="rect">
            <a:avLst/>
          </a:prstGeom>
          <a:noFill/>
          <a:ln>
            <a:noFill/>
          </a:ln>
          <a:effectLst/>
        </p:spPr>
        <p:txBody>
          <a:bodyPr wrap="square" lIns="0" tIns="0" rIns="0" bIns="0" anchor="t" anchorCtr="0">
            <a:noAutofit/>
          </a:bodyPr>
          <a:lstStyle>
            <a:defPPr>
              <a:defRPr lang="zh-CN"/>
            </a:defPPr>
            <a:lvl1pPr marR="0" lvl="0" indent="0" algn="just" fontAlgn="auto">
              <a:lnSpc>
                <a:spcPct val="130000"/>
              </a:lnSpc>
              <a:spcBef>
                <a:spcPts val="0"/>
              </a:spcBef>
              <a:spcAft>
                <a:spcPts val="0"/>
              </a:spcAft>
              <a:buClrTx/>
              <a:buSzPct val="25000"/>
              <a:buFontTx/>
              <a:buNone/>
              <a:tabLst/>
              <a:defRPr kumimoji="0" sz="1000" b="0" i="0" u="none" strike="noStrike" cap="none" spc="0" normalizeH="0" baseline="0">
                <a:ln>
                  <a:noFill/>
                </a:ln>
                <a:solidFill>
                  <a:schemeClr val="tx2"/>
                </a:solidFill>
                <a:effectLst/>
                <a:uLnTx/>
                <a:uFillTx/>
                <a:latin typeface="+mn-ea"/>
              </a:defRPr>
            </a:lvl1pPr>
          </a:lstStyle>
          <a:p>
            <a:pPr marL="0" marR="0" lvl="0" indent="0" algn="just" defTabSz="914400" rtl="0" eaLnBrk="1" fontAlgn="auto" latinLnBrk="0" hangingPunct="1">
              <a:lnSpc>
                <a:spcPct val="130000"/>
              </a:lnSpc>
              <a:spcBef>
                <a:spcPts val="0"/>
              </a:spcBef>
              <a:spcAft>
                <a:spcPts val="0"/>
              </a:spcAft>
              <a:buClrTx/>
              <a:buSzPct val="25000"/>
              <a:buFontTx/>
              <a:buNone/>
              <a:tabLst/>
              <a:defRPr/>
            </a:pPr>
            <a:r>
              <a:rPr kumimoji="0" lang="zh-CN" altLang="en-US" sz="1000" b="0" i="0" u="none" strike="noStrike" kern="1200" cap="none" spc="0" normalizeH="0" baseline="0" noProof="0" dirty="0">
                <a:ln>
                  <a:noFill/>
                </a:ln>
                <a:solidFill>
                  <a:srgbClr val="44546A"/>
                </a:solidFill>
                <a:effectLst/>
                <a:uLnTx/>
                <a:uFillTx/>
                <a:latin typeface="OPPOSans L" panose="00020600040101010101" pitchFamily="18" charset="-122"/>
                <a:ea typeface="OPPOSans L" panose="00020600040101010101" pitchFamily="18" charset="-122"/>
                <a:cs typeface="+mn-cs"/>
              </a:rPr>
              <a:t>不论你是销售、策划、学生、</a:t>
            </a:r>
            <a:r>
              <a:rPr kumimoji="0" lang="en-US" altLang="zh-CN" sz="1000" b="0" i="0" u="none" strike="noStrike" kern="1200" cap="none" spc="0" normalizeH="0" baseline="0" noProof="0" dirty="0">
                <a:ln>
                  <a:noFill/>
                </a:ln>
                <a:solidFill>
                  <a:srgbClr val="44546A"/>
                </a:solidFill>
                <a:effectLst/>
                <a:uLnTx/>
                <a:uFillTx/>
                <a:latin typeface="OPPOSans L" panose="00020600040101010101" pitchFamily="18" charset="-122"/>
                <a:ea typeface="OPPOSans L" panose="00020600040101010101" pitchFamily="18" charset="-122"/>
                <a:cs typeface="+mn-cs"/>
              </a:rPr>
              <a:t>PPT</a:t>
            </a:r>
            <a:r>
              <a:rPr kumimoji="0" lang="zh-CN" altLang="en-US" sz="1000" b="0" i="0" u="none" strike="noStrike" kern="1200" cap="none" spc="0" normalizeH="0" baseline="0" noProof="0" dirty="0">
                <a:ln>
                  <a:noFill/>
                </a:ln>
                <a:solidFill>
                  <a:srgbClr val="44546A"/>
                </a:solidFill>
                <a:effectLst/>
                <a:uLnTx/>
                <a:uFillTx/>
                <a:latin typeface="OPPOSans L" panose="00020600040101010101" pitchFamily="18" charset="-122"/>
                <a:ea typeface="OPPOSans L" panose="00020600040101010101" pitchFamily="18" charset="-122"/>
                <a:cs typeface="+mn-cs"/>
              </a:rPr>
              <a:t>爱好者，都能在秋叶</a:t>
            </a:r>
            <a:r>
              <a:rPr kumimoji="0" lang="en-US" altLang="zh-CN" sz="1000" b="0" i="0" u="none" strike="noStrike" kern="1200" cap="none" spc="0" normalizeH="0" baseline="0" noProof="0" dirty="0">
                <a:ln>
                  <a:noFill/>
                </a:ln>
                <a:solidFill>
                  <a:srgbClr val="44546A"/>
                </a:solidFill>
                <a:effectLst/>
                <a:uLnTx/>
                <a:uFillTx/>
                <a:latin typeface="OPPOSans L" panose="00020600040101010101" pitchFamily="18" charset="-122"/>
                <a:ea typeface="OPPOSans L" panose="00020600040101010101" pitchFamily="18" charset="-122"/>
                <a:cs typeface="+mn-cs"/>
              </a:rPr>
              <a:t>PPT</a:t>
            </a:r>
            <a:r>
              <a:rPr kumimoji="0" lang="zh-CN" altLang="en-US" sz="1000" b="0" i="0" u="none" strike="noStrike" kern="1200" cap="none" spc="0" normalizeH="0" baseline="0" noProof="0" dirty="0">
                <a:ln>
                  <a:noFill/>
                </a:ln>
                <a:solidFill>
                  <a:srgbClr val="44546A"/>
                </a:solidFill>
                <a:effectLst/>
                <a:uLnTx/>
                <a:uFillTx/>
                <a:latin typeface="OPPOSans L" panose="00020600040101010101" pitchFamily="18" charset="-122"/>
                <a:ea typeface="OPPOSans L" panose="00020600040101010101" pitchFamily="18" charset="-122"/>
                <a:cs typeface="+mn-cs"/>
              </a:rPr>
              <a:t>找到适合的模板。</a:t>
            </a:r>
          </a:p>
        </p:txBody>
      </p:sp>
      <p:sp>
        <p:nvSpPr>
          <p:cNvPr id="68" name="平行四边形 3">
            <a:extLst>
              <a:ext uri="{FF2B5EF4-FFF2-40B4-BE49-F238E27FC236}">
                <a16:creationId xmlns:a16="http://schemas.microsoft.com/office/drawing/2014/main" id="{DB4E7704-360D-46EB-8675-6E070FD354D1}"/>
              </a:ext>
            </a:extLst>
          </p:cNvPr>
          <p:cNvSpPr/>
          <p:nvPr/>
        </p:nvSpPr>
        <p:spPr>
          <a:xfrm rot="5400000">
            <a:off x="8251316" y="3339512"/>
            <a:ext cx="4762299" cy="1728000"/>
          </a:xfrm>
          <a:prstGeom prst="parallelogram">
            <a:avLst>
              <a:gd name="adj" fmla="val 20039"/>
            </a:avLst>
          </a:prstGeom>
          <a:solidFill>
            <a:schemeClr val="bg1"/>
          </a:solidFill>
          <a:ln>
            <a:noFill/>
          </a:ln>
          <a:effectLst>
            <a:outerShdw blurRad="127000" dist="76200" dir="5400000" algn="ctr" rotWithShape="0">
              <a:schemeClr val="accent1">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white"/>
              </a:solidFill>
              <a:effectLst/>
              <a:uLnTx/>
              <a:uFillTx/>
              <a:latin typeface="OPPOSans M"/>
              <a:ea typeface="OPPOSans L" panose="00020600040101010101" pitchFamily="18" charset="-122"/>
              <a:cs typeface="+mn-cs"/>
            </a:endParaRPr>
          </a:p>
        </p:txBody>
      </p:sp>
      <p:sp>
        <p:nvSpPr>
          <p:cNvPr id="73" name="文本框 1">
            <a:extLst>
              <a:ext uri="{FF2B5EF4-FFF2-40B4-BE49-F238E27FC236}">
                <a16:creationId xmlns:a16="http://schemas.microsoft.com/office/drawing/2014/main" id="{54A1A4C8-B797-497A-9F6D-D7CA1A73CB7B}"/>
              </a:ext>
            </a:extLst>
          </p:cNvPr>
          <p:cNvSpPr txBox="1"/>
          <p:nvPr/>
        </p:nvSpPr>
        <p:spPr>
          <a:xfrm>
            <a:off x="9891545" y="2341197"/>
            <a:ext cx="1135389" cy="276999"/>
          </a:xfrm>
          <a:prstGeom prst="rect">
            <a:avLst/>
          </a:prstGeom>
          <a:noFill/>
        </p:spPr>
        <p:txBody>
          <a:bodyPr wrap="square" lIns="0" tIns="0" rIns="0" bIns="0" rtlCol="0">
            <a:spAutoFit/>
          </a:bodyPr>
          <a:lstStyle>
            <a:defPPr>
              <a:defRPr lang="zh-CN"/>
            </a:defPPr>
            <a:lvl1pPr marR="0" lvl="0" indent="0" fontAlgn="auto">
              <a:lnSpc>
                <a:spcPct val="100000"/>
              </a:lnSpc>
              <a:spcBef>
                <a:spcPts val="0"/>
              </a:spcBef>
              <a:spcAft>
                <a:spcPts val="0"/>
              </a:spcAft>
              <a:buClrTx/>
              <a:buSzTx/>
              <a:buFontTx/>
              <a:buNone/>
              <a:tabLst/>
              <a:defRPr kumimoji="0" sz="6600" b="0" i="0" u="none" strike="noStrike" cap="none" spc="0" normalizeH="0" baseline="0">
                <a:ln w="3175">
                  <a:noFill/>
                </a:ln>
                <a:gradFill flip="none" rotWithShape="1">
                  <a:gsLst>
                    <a:gs pos="0">
                      <a:schemeClr val="accent1"/>
                    </a:gs>
                    <a:gs pos="100000">
                      <a:schemeClr val="accent3"/>
                    </a:gs>
                  </a:gsLst>
                  <a:lin ang="0" scaled="1"/>
                  <a:tileRect/>
                </a:gradFill>
                <a:effectLst/>
                <a:uLnTx/>
                <a:uFillTx/>
                <a:latin typeface="思源黑体 CN Heavy" panose="020B0A00000000000000" pitchFamily="34" charset="-122"/>
                <a:ea typeface="思源黑体 CN Heavy" panose="020B0A00000000000000" pitchFamily="34" charset="-122"/>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800" b="0" i="0" u="none" strike="noStrike" kern="1200" cap="none" spc="0" normalizeH="0" baseline="0" noProof="0" dirty="0">
                <a:ln w="3175">
                  <a:noFill/>
                </a:ln>
                <a:gradFill flip="none" rotWithShape="1">
                  <a:gsLst>
                    <a:gs pos="0">
                      <a:srgbClr val="176F58"/>
                    </a:gs>
                    <a:gs pos="100000">
                      <a:srgbClr val="6FBA2C"/>
                    </a:gs>
                  </a:gsLst>
                  <a:lin ang="0" scaled="1"/>
                  <a:tileRect/>
                </a:gradFill>
                <a:effectLst>
                  <a:reflection blurRad="76200" stA="49000" endPos="50000" dist="12700" dir="5400000" sy="-100000" algn="bl" rotWithShape="0"/>
                </a:effectLst>
                <a:uLnTx/>
                <a:uFillTx/>
                <a:latin typeface="OPPOSans B" panose="00020600040101010101" pitchFamily="18" charset="-122"/>
                <a:ea typeface="OPPOSans B" panose="00020600040101010101" pitchFamily="18" charset="-122"/>
                <a:cs typeface="+mn-cs"/>
              </a:rPr>
              <a:t>秋叶</a:t>
            </a:r>
            <a:r>
              <a:rPr kumimoji="0" lang="en-US" altLang="zh-CN" sz="1800" b="0" i="0" u="none" strike="noStrike" kern="1200" cap="none" spc="0" normalizeH="0" baseline="0" noProof="0" dirty="0">
                <a:ln w="3175">
                  <a:noFill/>
                </a:ln>
                <a:gradFill flip="none" rotWithShape="1">
                  <a:gsLst>
                    <a:gs pos="0">
                      <a:srgbClr val="176F58"/>
                    </a:gs>
                    <a:gs pos="100000">
                      <a:srgbClr val="6FBA2C"/>
                    </a:gs>
                  </a:gsLst>
                  <a:lin ang="0" scaled="1"/>
                  <a:tileRect/>
                </a:gradFill>
                <a:effectLst>
                  <a:reflection blurRad="76200" stA="49000" endPos="50000" dist="12700" dir="5400000" sy="-100000" algn="bl" rotWithShape="0"/>
                </a:effectLst>
                <a:uLnTx/>
                <a:uFillTx/>
                <a:latin typeface="OPPOSans B" panose="00020600040101010101" pitchFamily="18" charset="-122"/>
                <a:ea typeface="OPPOSans B" panose="00020600040101010101" pitchFamily="18" charset="-122"/>
                <a:cs typeface="+mn-cs"/>
              </a:rPr>
              <a:t>PPT</a:t>
            </a:r>
            <a:endParaRPr kumimoji="0" lang="zh-CN" altLang="en-US" sz="1800" b="0" i="0" u="none" strike="noStrike" kern="1200" cap="none" spc="0" normalizeH="0" baseline="0" noProof="0" dirty="0">
              <a:ln w="3175">
                <a:noFill/>
              </a:ln>
              <a:gradFill flip="none" rotWithShape="1">
                <a:gsLst>
                  <a:gs pos="0">
                    <a:srgbClr val="176F58"/>
                  </a:gs>
                  <a:gs pos="100000">
                    <a:srgbClr val="6FBA2C"/>
                  </a:gs>
                </a:gsLst>
                <a:lin ang="0" scaled="1"/>
                <a:tileRect/>
              </a:gradFill>
              <a:effectLst>
                <a:reflection blurRad="76200" stA="49000" endPos="50000" dist="12700" dir="5400000" sy="-100000" algn="bl" rotWithShape="0"/>
              </a:effectLst>
              <a:uLnTx/>
              <a:uFillTx/>
              <a:latin typeface="OPPOSans B" panose="00020600040101010101" pitchFamily="18" charset="-122"/>
              <a:ea typeface="OPPOSans B" panose="00020600040101010101" pitchFamily="18" charset="-122"/>
              <a:cs typeface="+mn-cs"/>
            </a:endParaRPr>
          </a:p>
        </p:txBody>
      </p:sp>
      <p:sp>
        <p:nvSpPr>
          <p:cNvPr id="74" name="稿定PPT-10-2">
            <a:extLst>
              <a:ext uri="{FF2B5EF4-FFF2-40B4-BE49-F238E27FC236}">
                <a16:creationId xmlns:a16="http://schemas.microsoft.com/office/drawing/2014/main" id="{195DE87F-1B09-4370-B528-DB8E11D3AFEE}"/>
              </a:ext>
            </a:extLst>
          </p:cNvPr>
          <p:cNvSpPr txBox="1"/>
          <p:nvPr/>
        </p:nvSpPr>
        <p:spPr>
          <a:xfrm>
            <a:off x="9891545" y="2709470"/>
            <a:ext cx="1481840" cy="980931"/>
          </a:xfrm>
          <a:prstGeom prst="rect">
            <a:avLst/>
          </a:prstGeom>
          <a:noFill/>
          <a:ln>
            <a:noFill/>
          </a:ln>
          <a:effectLst/>
        </p:spPr>
        <p:txBody>
          <a:bodyPr wrap="square" lIns="0" tIns="0" rIns="0" bIns="0" anchor="t" anchorCtr="0">
            <a:noAutofit/>
          </a:bodyPr>
          <a:lstStyle>
            <a:defPPr>
              <a:defRPr lang="zh-CN"/>
            </a:defPPr>
            <a:lvl1pPr marR="0" lvl="0" indent="0" algn="just" fontAlgn="auto">
              <a:lnSpc>
                <a:spcPct val="130000"/>
              </a:lnSpc>
              <a:spcBef>
                <a:spcPts val="0"/>
              </a:spcBef>
              <a:spcAft>
                <a:spcPts val="0"/>
              </a:spcAft>
              <a:buClrTx/>
              <a:buSzPct val="25000"/>
              <a:buFontTx/>
              <a:buNone/>
              <a:tabLst/>
              <a:defRPr kumimoji="0" sz="1000" b="0" i="0" u="none" strike="noStrike" cap="none" spc="0" normalizeH="0" baseline="0">
                <a:ln>
                  <a:noFill/>
                </a:ln>
                <a:solidFill>
                  <a:schemeClr val="tx2"/>
                </a:solidFill>
                <a:effectLst/>
                <a:uLnTx/>
                <a:uFillTx/>
                <a:latin typeface="+mn-ea"/>
              </a:defRPr>
            </a:lvl1pPr>
          </a:lstStyle>
          <a:p>
            <a:pPr marL="0" marR="0" lvl="0" indent="0" algn="just" defTabSz="914400" rtl="0" eaLnBrk="1" fontAlgn="auto" latinLnBrk="0" hangingPunct="1">
              <a:lnSpc>
                <a:spcPct val="130000"/>
              </a:lnSpc>
              <a:spcBef>
                <a:spcPts val="0"/>
              </a:spcBef>
              <a:spcAft>
                <a:spcPts val="0"/>
              </a:spcAft>
              <a:buClrTx/>
              <a:buSzPct val="25000"/>
              <a:buFontTx/>
              <a:buNone/>
              <a:tabLst/>
              <a:defRPr/>
            </a:pPr>
            <a:r>
              <a:rPr kumimoji="0" lang="zh-CN" altLang="en-US" sz="1000" b="0" i="0" u="none" strike="noStrike" kern="1200" cap="none" spc="0" normalizeH="0" baseline="0" noProof="0" dirty="0">
                <a:ln>
                  <a:noFill/>
                </a:ln>
                <a:solidFill>
                  <a:srgbClr val="44546A"/>
                </a:solidFill>
                <a:effectLst/>
                <a:uLnTx/>
                <a:uFillTx/>
                <a:latin typeface="OPPOSans L" panose="00020600040101010101" pitchFamily="18" charset="-122"/>
                <a:ea typeface="OPPOSans L" panose="00020600040101010101" pitchFamily="18" charset="-122"/>
                <a:cs typeface="+mn-cs"/>
              </a:rPr>
              <a:t>秋叶</a:t>
            </a:r>
            <a:r>
              <a:rPr kumimoji="0" lang="en-US" altLang="zh-CN" sz="1000" b="0" i="0" u="none" strike="noStrike" kern="1200" cap="none" spc="0" normalizeH="0" baseline="0" noProof="0" dirty="0">
                <a:ln>
                  <a:noFill/>
                </a:ln>
                <a:solidFill>
                  <a:srgbClr val="44546A"/>
                </a:solidFill>
                <a:effectLst/>
                <a:uLnTx/>
                <a:uFillTx/>
                <a:latin typeface="OPPOSans L" panose="00020600040101010101" pitchFamily="18" charset="-122"/>
                <a:ea typeface="OPPOSans L" panose="00020600040101010101" pitchFamily="18" charset="-122"/>
                <a:cs typeface="+mn-cs"/>
              </a:rPr>
              <a:t>PPT</a:t>
            </a:r>
            <a:r>
              <a:rPr kumimoji="0" lang="zh-CN" altLang="en-US" sz="1000" b="0" i="0" u="none" strike="noStrike" kern="1200" cap="none" spc="0" normalizeH="0" baseline="0" noProof="0" dirty="0">
                <a:ln>
                  <a:noFill/>
                </a:ln>
                <a:solidFill>
                  <a:srgbClr val="44546A"/>
                </a:solidFill>
                <a:effectLst/>
                <a:uLnTx/>
                <a:uFillTx/>
                <a:latin typeface="OPPOSans L" panose="00020600040101010101" pitchFamily="18" charset="-122"/>
                <a:ea typeface="OPPOSans L" panose="00020600040101010101" pitchFamily="18" charset="-122"/>
                <a:cs typeface="+mn-cs"/>
              </a:rPr>
              <a:t>拥有千余款模板线上到插件同步上新，覆盖商务、教育、金融等多用途场景。</a:t>
            </a:r>
          </a:p>
        </p:txBody>
      </p:sp>
      <p:sp>
        <p:nvSpPr>
          <p:cNvPr id="71" name="文本框 1">
            <a:extLst>
              <a:ext uri="{FF2B5EF4-FFF2-40B4-BE49-F238E27FC236}">
                <a16:creationId xmlns:a16="http://schemas.microsoft.com/office/drawing/2014/main" id="{62065F6A-2EC9-4F16-8605-C7A44D6FAEA7}"/>
              </a:ext>
            </a:extLst>
          </p:cNvPr>
          <p:cNvSpPr txBox="1"/>
          <p:nvPr/>
        </p:nvSpPr>
        <p:spPr>
          <a:xfrm>
            <a:off x="9891545" y="4370748"/>
            <a:ext cx="1135389" cy="276999"/>
          </a:xfrm>
          <a:prstGeom prst="rect">
            <a:avLst/>
          </a:prstGeom>
          <a:noFill/>
        </p:spPr>
        <p:txBody>
          <a:bodyPr wrap="square" lIns="0" tIns="0" rIns="0" bIns="0" rtlCol="0">
            <a:spAutoFit/>
          </a:bodyPr>
          <a:lstStyle>
            <a:defPPr>
              <a:defRPr lang="zh-CN"/>
            </a:defPPr>
            <a:lvl1pPr marR="0" lvl="0" indent="0" fontAlgn="auto">
              <a:lnSpc>
                <a:spcPct val="100000"/>
              </a:lnSpc>
              <a:spcBef>
                <a:spcPts val="0"/>
              </a:spcBef>
              <a:spcAft>
                <a:spcPts val="0"/>
              </a:spcAft>
              <a:buClrTx/>
              <a:buSzTx/>
              <a:buFontTx/>
              <a:buNone/>
              <a:tabLst/>
              <a:defRPr kumimoji="0" sz="6600" b="0" i="0" u="none" strike="noStrike" cap="none" spc="0" normalizeH="0" baseline="0">
                <a:ln w="3175">
                  <a:noFill/>
                </a:ln>
                <a:gradFill flip="none" rotWithShape="1">
                  <a:gsLst>
                    <a:gs pos="0">
                      <a:schemeClr val="accent1"/>
                    </a:gs>
                    <a:gs pos="100000">
                      <a:schemeClr val="accent3"/>
                    </a:gs>
                  </a:gsLst>
                  <a:lin ang="0" scaled="1"/>
                  <a:tileRect/>
                </a:gradFill>
                <a:effectLst/>
                <a:uLnTx/>
                <a:uFillTx/>
                <a:latin typeface="思源黑体 CN Heavy" panose="020B0A00000000000000" pitchFamily="34" charset="-122"/>
                <a:ea typeface="思源黑体 CN Heavy" panose="020B0A00000000000000" pitchFamily="34" charset="-122"/>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800" b="0" i="0" u="none" strike="noStrike" kern="1200" cap="none" spc="0" normalizeH="0" baseline="0" noProof="0" dirty="0">
                <a:ln w="3175">
                  <a:noFill/>
                </a:ln>
                <a:gradFill flip="none" rotWithShape="1">
                  <a:gsLst>
                    <a:gs pos="0">
                      <a:srgbClr val="176F58"/>
                    </a:gs>
                    <a:gs pos="100000">
                      <a:srgbClr val="6FBA2C"/>
                    </a:gs>
                  </a:gsLst>
                  <a:lin ang="0" scaled="1"/>
                  <a:tileRect/>
                </a:gradFill>
                <a:effectLst>
                  <a:reflection blurRad="76200" stA="49000" endPos="50000" dist="12700" dir="5400000" sy="-100000" algn="bl" rotWithShape="0"/>
                </a:effectLst>
                <a:uLnTx/>
                <a:uFillTx/>
                <a:latin typeface="OPPOSans B" panose="00020600040101010101" pitchFamily="18" charset="-122"/>
                <a:ea typeface="OPPOSans B" panose="00020600040101010101" pitchFamily="18" charset="-122"/>
                <a:cs typeface="+mn-cs"/>
              </a:rPr>
              <a:t>秋叶</a:t>
            </a:r>
            <a:r>
              <a:rPr kumimoji="0" lang="en-US" altLang="zh-CN" sz="1800" b="0" i="0" u="none" strike="noStrike" kern="1200" cap="none" spc="0" normalizeH="0" baseline="0" noProof="0" dirty="0">
                <a:ln w="3175">
                  <a:noFill/>
                </a:ln>
                <a:gradFill flip="none" rotWithShape="1">
                  <a:gsLst>
                    <a:gs pos="0">
                      <a:srgbClr val="176F58"/>
                    </a:gs>
                    <a:gs pos="100000">
                      <a:srgbClr val="6FBA2C"/>
                    </a:gs>
                  </a:gsLst>
                  <a:lin ang="0" scaled="1"/>
                  <a:tileRect/>
                </a:gradFill>
                <a:effectLst>
                  <a:reflection blurRad="76200" stA="49000" endPos="50000" dist="12700" dir="5400000" sy="-100000" algn="bl" rotWithShape="0"/>
                </a:effectLst>
                <a:uLnTx/>
                <a:uFillTx/>
                <a:latin typeface="OPPOSans B" panose="00020600040101010101" pitchFamily="18" charset="-122"/>
                <a:ea typeface="OPPOSans B" panose="00020600040101010101" pitchFamily="18" charset="-122"/>
                <a:cs typeface="+mn-cs"/>
              </a:rPr>
              <a:t>PPT</a:t>
            </a:r>
            <a:endParaRPr kumimoji="0" lang="zh-CN" altLang="en-US" sz="1800" b="0" i="0" u="none" strike="noStrike" kern="1200" cap="none" spc="0" normalizeH="0" baseline="0" noProof="0" dirty="0">
              <a:ln w="3175">
                <a:noFill/>
              </a:ln>
              <a:gradFill flip="none" rotWithShape="1">
                <a:gsLst>
                  <a:gs pos="0">
                    <a:srgbClr val="176F58"/>
                  </a:gs>
                  <a:gs pos="100000">
                    <a:srgbClr val="6FBA2C"/>
                  </a:gs>
                </a:gsLst>
                <a:lin ang="0" scaled="1"/>
                <a:tileRect/>
              </a:gradFill>
              <a:effectLst>
                <a:reflection blurRad="76200" stA="49000" endPos="50000" dist="12700" dir="5400000" sy="-100000" algn="bl" rotWithShape="0"/>
              </a:effectLst>
              <a:uLnTx/>
              <a:uFillTx/>
              <a:latin typeface="OPPOSans B" panose="00020600040101010101" pitchFamily="18" charset="-122"/>
              <a:ea typeface="OPPOSans B" panose="00020600040101010101" pitchFamily="18" charset="-122"/>
              <a:cs typeface="+mn-cs"/>
            </a:endParaRPr>
          </a:p>
        </p:txBody>
      </p:sp>
      <p:sp>
        <p:nvSpPr>
          <p:cNvPr id="72" name="稿定PPT-10-2">
            <a:extLst>
              <a:ext uri="{FF2B5EF4-FFF2-40B4-BE49-F238E27FC236}">
                <a16:creationId xmlns:a16="http://schemas.microsoft.com/office/drawing/2014/main" id="{F6269B70-77CC-4996-9C84-7F3D4505DFB6}"/>
              </a:ext>
            </a:extLst>
          </p:cNvPr>
          <p:cNvSpPr txBox="1"/>
          <p:nvPr/>
        </p:nvSpPr>
        <p:spPr>
          <a:xfrm>
            <a:off x="9891545" y="4739021"/>
            <a:ext cx="1481840" cy="980931"/>
          </a:xfrm>
          <a:prstGeom prst="rect">
            <a:avLst/>
          </a:prstGeom>
          <a:noFill/>
          <a:ln>
            <a:noFill/>
          </a:ln>
          <a:effectLst/>
        </p:spPr>
        <p:txBody>
          <a:bodyPr wrap="square" lIns="0" tIns="0" rIns="0" bIns="0" anchor="t" anchorCtr="0">
            <a:noAutofit/>
          </a:bodyPr>
          <a:lstStyle>
            <a:defPPr>
              <a:defRPr lang="zh-CN"/>
            </a:defPPr>
            <a:lvl1pPr marR="0" lvl="0" indent="0" algn="just" fontAlgn="auto">
              <a:lnSpc>
                <a:spcPct val="130000"/>
              </a:lnSpc>
              <a:spcBef>
                <a:spcPts val="0"/>
              </a:spcBef>
              <a:spcAft>
                <a:spcPts val="0"/>
              </a:spcAft>
              <a:buClrTx/>
              <a:buSzPct val="25000"/>
              <a:buFontTx/>
              <a:buNone/>
              <a:tabLst/>
              <a:defRPr kumimoji="0" sz="1000" b="0" i="0" u="none" strike="noStrike" cap="none" spc="0" normalizeH="0" baseline="0">
                <a:ln>
                  <a:noFill/>
                </a:ln>
                <a:solidFill>
                  <a:schemeClr val="tx2"/>
                </a:solidFill>
                <a:effectLst/>
                <a:uLnTx/>
                <a:uFillTx/>
                <a:latin typeface="+mn-ea"/>
              </a:defRPr>
            </a:lvl1pPr>
          </a:lstStyle>
          <a:p>
            <a:pPr marL="0" marR="0" lvl="0" indent="0" algn="just" defTabSz="914400" rtl="0" eaLnBrk="1" fontAlgn="auto" latinLnBrk="0" hangingPunct="1">
              <a:lnSpc>
                <a:spcPct val="130000"/>
              </a:lnSpc>
              <a:spcBef>
                <a:spcPts val="0"/>
              </a:spcBef>
              <a:spcAft>
                <a:spcPts val="0"/>
              </a:spcAft>
              <a:buClrTx/>
              <a:buSzPct val="25000"/>
              <a:buFontTx/>
              <a:buNone/>
              <a:tabLst/>
              <a:defRPr/>
            </a:pPr>
            <a:r>
              <a:rPr kumimoji="0" lang="zh-CN" altLang="en-US" sz="1000" b="0" i="0" u="none" strike="noStrike" kern="1200" cap="none" spc="0" normalizeH="0" baseline="0" noProof="0" dirty="0">
                <a:ln>
                  <a:noFill/>
                </a:ln>
                <a:solidFill>
                  <a:srgbClr val="44546A"/>
                </a:solidFill>
                <a:effectLst/>
                <a:uLnTx/>
                <a:uFillTx/>
                <a:latin typeface="OPPOSans L" panose="00020600040101010101" pitchFamily="18" charset="-122"/>
                <a:ea typeface="OPPOSans L" panose="00020600040101010101" pitchFamily="18" charset="-122"/>
                <a:cs typeface="+mn-cs"/>
              </a:rPr>
              <a:t>秋叶</a:t>
            </a:r>
            <a:r>
              <a:rPr kumimoji="0" lang="en-US" altLang="zh-CN" sz="1000" b="0" i="0" u="none" strike="noStrike" kern="1200" cap="none" spc="0" normalizeH="0" baseline="0" noProof="0" dirty="0">
                <a:ln>
                  <a:noFill/>
                </a:ln>
                <a:solidFill>
                  <a:srgbClr val="44546A"/>
                </a:solidFill>
                <a:effectLst/>
                <a:uLnTx/>
                <a:uFillTx/>
                <a:latin typeface="OPPOSans L" panose="00020600040101010101" pitchFamily="18" charset="-122"/>
                <a:ea typeface="OPPOSans L" panose="00020600040101010101" pitchFamily="18" charset="-122"/>
                <a:cs typeface="+mn-cs"/>
              </a:rPr>
              <a:t>PPT</a:t>
            </a:r>
            <a:r>
              <a:rPr kumimoji="0" lang="zh-CN" altLang="en-US" sz="1000" b="0" i="0" u="none" strike="noStrike" kern="1200" cap="none" spc="0" normalizeH="0" baseline="0" noProof="0" dirty="0">
                <a:ln>
                  <a:noFill/>
                </a:ln>
                <a:solidFill>
                  <a:srgbClr val="44546A"/>
                </a:solidFill>
                <a:effectLst/>
                <a:uLnTx/>
                <a:uFillTx/>
                <a:latin typeface="OPPOSans L" panose="00020600040101010101" pitchFamily="18" charset="-122"/>
                <a:ea typeface="OPPOSans L" panose="00020600040101010101" pitchFamily="18" charset="-122"/>
                <a:cs typeface="+mn-cs"/>
              </a:rPr>
              <a:t>支持在线</a:t>
            </a:r>
            <a:r>
              <a:rPr kumimoji="0" lang="en-US" altLang="zh-CN" sz="1000" b="0" i="0" u="none" strike="noStrike" kern="1200" cap="none" spc="0" normalizeH="0" baseline="0" noProof="0" dirty="0">
                <a:ln>
                  <a:noFill/>
                </a:ln>
                <a:solidFill>
                  <a:srgbClr val="44546A"/>
                </a:solidFill>
                <a:effectLst/>
                <a:uLnTx/>
                <a:uFillTx/>
                <a:latin typeface="OPPOSans L" panose="00020600040101010101" pitchFamily="18" charset="-122"/>
                <a:ea typeface="OPPOSans L" panose="00020600040101010101" pitchFamily="18" charset="-122"/>
                <a:cs typeface="+mn-cs"/>
              </a:rPr>
              <a:t>/</a:t>
            </a:r>
            <a:r>
              <a:rPr kumimoji="0" lang="zh-CN" altLang="en-US" sz="1000" b="0" i="0" u="none" strike="noStrike" kern="1200" cap="none" spc="0" normalizeH="0" baseline="0" noProof="0" dirty="0">
                <a:ln>
                  <a:noFill/>
                </a:ln>
                <a:solidFill>
                  <a:srgbClr val="44546A"/>
                </a:solidFill>
                <a:effectLst/>
                <a:uLnTx/>
                <a:uFillTx/>
                <a:latin typeface="OPPOSans L" panose="00020600040101010101" pitchFamily="18" charset="-122"/>
                <a:ea typeface="OPPOSans L" panose="00020600040101010101" pitchFamily="18" charset="-122"/>
                <a:cs typeface="+mn-cs"/>
              </a:rPr>
              <a:t>离线多种编辑模式，告别</a:t>
            </a:r>
            <a:r>
              <a:rPr kumimoji="0" lang="en-US" altLang="zh-CN" sz="1000" b="0" i="0" u="none" strike="noStrike" kern="1200" cap="none" spc="0" normalizeH="0" baseline="0" noProof="0" dirty="0">
                <a:ln>
                  <a:noFill/>
                </a:ln>
                <a:solidFill>
                  <a:srgbClr val="44546A"/>
                </a:solidFill>
                <a:effectLst/>
                <a:uLnTx/>
                <a:uFillTx/>
                <a:latin typeface="OPPOSans L" panose="00020600040101010101" pitchFamily="18" charset="-122"/>
                <a:ea typeface="OPPOSans L" panose="00020600040101010101" pitchFamily="18" charset="-122"/>
                <a:cs typeface="+mn-cs"/>
              </a:rPr>
              <a:t>PPT</a:t>
            </a:r>
            <a:r>
              <a:rPr kumimoji="0" lang="zh-CN" altLang="en-US" sz="1000" b="0" i="0" u="none" strike="noStrike" kern="1200" cap="none" spc="0" normalizeH="0" baseline="0" noProof="0" dirty="0">
                <a:ln>
                  <a:noFill/>
                </a:ln>
                <a:solidFill>
                  <a:srgbClr val="44546A"/>
                </a:solidFill>
                <a:effectLst/>
                <a:uLnTx/>
                <a:uFillTx/>
                <a:latin typeface="OPPOSans L" panose="00020600040101010101" pitchFamily="18" charset="-122"/>
                <a:ea typeface="OPPOSans L" panose="00020600040101010101" pitchFamily="18" charset="-122"/>
                <a:cs typeface="+mn-cs"/>
              </a:rPr>
              <a:t>传统制作，多端多设备随时随地开启演示创作。</a:t>
            </a:r>
          </a:p>
        </p:txBody>
      </p:sp>
      <p:cxnSp>
        <p:nvCxnSpPr>
          <p:cNvPr id="17" name="直接连接符 1">
            <a:extLst>
              <a:ext uri="{FF2B5EF4-FFF2-40B4-BE49-F238E27FC236}">
                <a16:creationId xmlns:a16="http://schemas.microsoft.com/office/drawing/2014/main" id="{331AA43E-ED8E-4A71-A7F1-9F90A55EA2C0}"/>
              </a:ext>
            </a:extLst>
          </p:cNvPr>
          <p:cNvCxnSpPr>
            <a:cxnSpLocks/>
          </p:cNvCxnSpPr>
          <p:nvPr/>
        </p:nvCxnSpPr>
        <p:spPr>
          <a:xfrm>
            <a:off x="0" y="3790950"/>
            <a:ext cx="12192000" cy="0"/>
          </a:xfrm>
          <a:prstGeom prst="line">
            <a:avLst/>
          </a:prstGeom>
          <a:ln w="38100" cap="rnd">
            <a:gradFill flip="none" rotWithShape="1">
              <a:gsLst>
                <a:gs pos="0">
                  <a:schemeClr val="accent3"/>
                </a:gs>
                <a:gs pos="100000">
                  <a:schemeClr val="accent1"/>
                </a:gs>
              </a:gsLst>
              <a:lin ang="0" scaled="1"/>
              <a:tileRect/>
            </a:gradFill>
            <a:round/>
            <a:headEnd type="none"/>
            <a:tailEnd type="stealth" w="med" len="med"/>
          </a:ln>
        </p:spPr>
        <p:style>
          <a:lnRef idx="1">
            <a:schemeClr val="accent1"/>
          </a:lnRef>
          <a:fillRef idx="0">
            <a:schemeClr val="accent1"/>
          </a:fillRef>
          <a:effectRef idx="0">
            <a:schemeClr val="accent1"/>
          </a:effectRef>
          <a:fontRef idx="minor">
            <a:schemeClr val="tx1"/>
          </a:fontRef>
        </p:style>
      </p:cxnSp>
      <p:sp>
        <p:nvSpPr>
          <p:cNvPr id="38" name="椭圆 1">
            <a:extLst>
              <a:ext uri="{FF2B5EF4-FFF2-40B4-BE49-F238E27FC236}">
                <a16:creationId xmlns:a16="http://schemas.microsoft.com/office/drawing/2014/main" id="{2B4AB485-07F2-465C-912D-60F1A42B63C5}"/>
              </a:ext>
            </a:extLst>
          </p:cNvPr>
          <p:cNvSpPr/>
          <p:nvPr/>
        </p:nvSpPr>
        <p:spPr>
          <a:xfrm>
            <a:off x="1063390" y="3631112"/>
            <a:ext cx="180000" cy="180000"/>
          </a:xfrm>
          <a:prstGeom prst="ellipse">
            <a:avLst/>
          </a:prstGeom>
          <a:gradFill flip="none" rotWithShape="1">
            <a:gsLst>
              <a:gs pos="0">
                <a:schemeClr val="accent3"/>
              </a:gs>
              <a:gs pos="100000">
                <a:schemeClr val="accent1"/>
              </a:gs>
            </a:gsLst>
            <a:lin ang="18900000" scaled="1"/>
            <a:tileRect/>
          </a:gradFill>
          <a:ln>
            <a:solidFill>
              <a:schemeClr val="bg1"/>
            </a:solidFill>
          </a:ln>
          <a:effectLst>
            <a:outerShdw blurRad="76200" dist="76200" dir="5400000" algn="ctr" rotWithShape="0">
              <a:schemeClr val="accent1">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white"/>
              </a:solidFill>
              <a:effectLst/>
              <a:uLnTx/>
              <a:uFillTx/>
              <a:latin typeface="OPPOSans M"/>
              <a:ea typeface="OPPOSans L" panose="00020600040101010101" pitchFamily="18" charset="-122"/>
              <a:cs typeface="+mn-cs"/>
            </a:endParaRPr>
          </a:p>
        </p:txBody>
      </p:sp>
      <p:sp>
        <p:nvSpPr>
          <p:cNvPr id="39" name="箭头: V 形 1">
            <a:extLst>
              <a:ext uri="{FF2B5EF4-FFF2-40B4-BE49-F238E27FC236}">
                <a16:creationId xmlns:a16="http://schemas.microsoft.com/office/drawing/2014/main" id="{6AF65D94-9C10-487C-8700-F7007E821C19}"/>
              </a:ext>
            </a:extLst>
          </p:cNvPr>
          <p:cNvSpPr/>
          <p:nvPr/>
        </p:nvSpPr>
        <p:spPr>
          <a:xfrm rot="16200000">
            <a:off x="1108391" y="3676797"/>
            <a:ext cx="89999" cy="88630"/>
          </a:xfrm>
          <a:prstGeom prst="chevron">
            <a:avLst>
              <a:gd name="adj" fmla="val 48392"/>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black"/>
              </a:solidFill>
              <a:effectLst/>
              <a:uLnTx/>
              <a:uFillTx/>
              <a:latin typeface="OPPOSans M"/>
              <a:ea typeface="OPPOSans L" panose="00020600040101010101" pitchFamily="18" charset="-122"/>
              <a:cs typeface="+mn-cs"/>
            </a:endParaRPr>
          </a:p>
        </p:txBody>
      </p:sp>
      <p:sp>
        <p:nvSpPr>
          <p:cNvPr id="42" name="椭圆 1">
            <a:extLst>
              <a:ext uri="{FF2B5EF4-FFF2-40B4-BE49-F238E27FC236}">
                <a16:creationId xmlns:a16="http://schemas.microsoft.com/office/drawing/2014/main" id="{FC20038E-BA43-4113-B3C2-348E724D8C5B}"/>
              </a:ext>
            </a:extLst>
          </p:cNvPr>
          <p:cNvSpPr/>
          <p:nvPr/>
        </p:nvSpPr>
        <p:spPr>
          <a:xfrm flipV="1">
            <a:off x="1913782" y="3786283"/>
            <a:ext cx="180000" cy="180000"/>
          </a:xfrm>
          <a:prstGeom prst="ellipse">
            <a:avLst/>
          </a:prstGeom>
          <a:gradFill flip="none" rotWithShape="1">
            <a:gsLst>
              <a:gs pos="0">
                <a:schemeClr val="accent3"/>
              </a:gs>
              <a:gs pos="100000">
                <a:schemeClr val="accent1"/>
              </a:gs>
            </a:gsLst>
            <a:lin ang="18900000" scaled="1"/>
            <a:tileRect/>
          </a:gradFill>
          <a:ln>
            <a:solidFill>
              <a:schemeClr val="bg1"/>
            </a:solidFill>
          </a:ln>
          <a:effectLst>
            <a:outerShdw blurRad="76200" dist="76200" dir="16200000" algn="ctr" rotWithShape="0">
              <a:schemeClr val="accent1">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white"/>
              </a:solidFill>
              <a:effectLst/>
              <a:uLnTx/>
              <a:uFillTx/>
              <a:latin typeface="OPPOSans M"/>
              <a:ea typeface="OPPOSans L" panose="00020600040101010101" pitchFamily="18" charset="-122"/>
              <a:cs typeface="+mn-cs"/>
            </a:endParaRPr>
          </a:p>
        </p:txBody>
      </p:sp>
      <p:sp>
        <p:nvSpPr>
          <p:cNvPr id="43" name="箭头: V 形 1">
            <a:extLst>
              <a:ext uri="{FF2B5EF4-FFF2-40B4-BE49-F238E27FC236}">
                <a16:creationId xmlns:a16="http://schemas.microsoft.com/office/drawing/2014/main" id="{0296F7C4-97B1-4F0F-A88D-A6E14E03E030}"/>
              </a:ext>
            </a:extLst>
          </p:cNvPr>
          <p:cNvSpPr/>
          <p:nvPr/>
        </p:nvSpPr>
        <p:spPr>
          <a:xfrm rot="5400000" flipV="1">
            <a:off x="1958783" y="3831968"/>
            <a:ext cx="89999" cy="88630"/>
          </a:xfrm>
          <a:prstGeom prst="chevron">
            <a:avLst>
              <a:gd name="adj" fmla="val 48392"/>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black"/>
              </a:solidFill>
              <a:effectLst/>
              <a:uLnTx/>
              <a:uFillTx/>
              <a:latin typeface="OPPOSans M"/>
              <a:ea typeface="OPPOSans L" panose="00020600040101010101" pitchFamily="18" charset="-122"/>
              <a:cs typeface="+mn-cs"/>
            </a:endParaRPr>
          </a:p>
        </p:txBody>
      </p:sp>
      <p:sp>
        <p:nvSpPr>
          <p:cNvPr id="95" name="椭圆 1">
            <a:extLst>
              <a:ext uri="{FF2B5EF4-FFF2-40B4-BE49-F238E27FC236}">
                <a16:creationId xmlns:a16="http://schemas.microsoft.com/office/drawing/2014/main" id="{C6E1FF00-FF0A-4BB5-8A8A-86CBF79773D8}"/>
              </a:ext>
            </a:extLst>
          </p:cNvPr>
          <p:cNvSpPr/>
          <p:nvPr/>
        </p:nvSpPr>
        <p:spPr>
          <a:xfrm>
            <a:off x="2874166" y="3631112"/>
            <a:ext cx="180000" cy="180000"/>
          </a:xfrm>
          <a:prstGeom prst="ellipse">
            <a:avLst/>
          </a:prstGeom>
          <a:gradFill flip="none" rotWithShape="1">
            <a:gsLst>
              <a:gs pos="0">
                <a:schemeClr val="accent3"/>
              </a:gs>
              <a:gs pos="100000">
                <a:schemeClr val="accent1"/>
              </a:gs>
            </a:gsLst>
            <a:lin ang="18900000" scaled="1"/>
            <a:tileRect/>
          </a:gradFill>
          <a:ln>
            <a:solidFill>
              <a:schemeClr val="bg1"/>
            </a:solidFill>
          </a:ln>
          <a:effectLst>
            <a:outerShdw blurRad="76200" dist="76200" dir="5400000" algn="ctr" rotWithShape="0">
              <a:schemeClr val="accent1">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white"/>
              </a:solidFill>
              <a:effectLst/>
              <a:uLnTx/>
              <a:uFillTx/>
              <a:latin typeface="OPPOSans M"/>
              <a:ea typeface="OPPOSans L" panose="00020600040101010101" pitchFamily="18" charset="-122"/>
              <a:cs typeface="+mn-cs"/>
            </a:endParaRPr>
          </a:p>
        </p:txBody>
      </p:sp>
      <p:sp>
        <p:nvSpPr>
          <p:cNvPr id="96" name="箭头: V 形 1">
            <a:extLst>
              <a:ext uri="{FF2B5EF4-FFF2-40B4-BE49-F238E27FC236}">
                <a16:creationId xmlns:a16="http://schemas.microsoft.com/office/drawing/2014/main" id="{BB418C6C-F532-402C-84AD-37079C6C26BF}"/>
              </a:ext>
            </a:extLst>
          </p:cNvPr>
          <p:cNvSpPr/>
          <p:nvPr/>
        </p:nvSpPr>
        <p:spPr>
          <a:xfrm rot="16200000">
            <a:off x="2919167" y="3676797"/>
            <a:ext cx="89999" cy="88630"/>
          </a:xfrm>
          <a:prstGeom prst="chevron">
            <a:avLst>
              <a:gd name="adj" fmla="val 48392"/>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black"/>
              </a:solidFill>
              <a:effectLst/>
              <a:uLnTx/>
              <a:uFillTx/>
              <a:latin typeface="OPPOSans M"/>
              <a:ea typeface="OPPOSans L" panose="00020600040101010101" pitchFamily="18" charset="-122"/>
              <a:cs typeface="+mn-cs"/>
            </a:endParaRPr>
          </a:p>
        </p:txBody>
      </p:sp>
      <p:sp>
        <p:nvSpPr>
          <p:cNvPr id="93" name="椭圆 1">
            <a:extLst>
              <a:ext uri="{FF2B5EF4-FFF2-40B4-BE49-F238E27FC236}">
                <a16:creationId xmlns:a16="http://schemas.microsoft.com/office/drawing/2014/main" id="{F69F5B4C-DB86-4A05-B55F-9D62FCA9DCC1}"/>
              </a:ext>
            </a:extLst>
          </p:cNvPr>
          <p:cNvSpPr/>
          <p:nvPr/>
        </p:nvSpPr>
        <p:spPr>
          <a:xfrm flipV="1">
            <a:off x="3724558" y="3786283"/>
            <a:ext cx="180000" cy="180000"/>
          </a:xfrm>
          <a:prstGeom prst="ellipse">
            <a:avLst/>
          </a:prstGeom>
          <a:gradFill flip="none" rotWithShape="1">
            <a:gsLst>
              <a:gs pos="0">
                <a:schemeClr val="accent3"/>
              </a:gs>
              <a:gs pos="100000">
                <a:schemeClr val="accent1"/>
              </a:gs>
            </a:gsLst>
            <a:lin ang="18900000" scaled="1"/>
            <a:tileRect/>
          </a:gradFill>
          <a:ln>
            <a:solidFill>
              <a:schemeClr val="bg1"/>
            </a:solidFill>
          </a:ln>
          <a:effectLst>
            <a:outerShdw blurRad="76200" dist="76200" dir="16200000" algn="ctr" rotWithShape="0">
              <a:schemeClr val="accent1">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white"/>
              </a:solidFill>
              <a:effectLst/>
              <a:uLnTx/>
              <a:uFillTx/>
              <a:latin typeface="OPPOSans M"/>
              <a:ea typeface="OPPOSans L" panose="00020600040101010101" pitchFamily="18" charset="-122"/>
              <a:cs typeface="+mn-cs"/>
            </a:endParaRPr>
          </a:p>
        </p:txBody>
      </p:sp>
      <p:sp>
        <p:nvSpPr>
          <p:cNvPr id="94" name="箭头: V 形 1">
            <a:extLst>
              <a:ext uri="{FF2B5EF4-FFF2-40B4-BE49-F238E27FC236}">
                <a16:creationId xmlns:a16="http://schemas.microsoft.com/office/drawing/2014/main" id="{EE56D8F1-5F56-4761-8F53-5EFF93D77AF7}"/>
              </a:ext>
            </a:extLst>
          </p:cNvPr>
          <p:cNvSpPr/>
          <p:nvPr/>
        </p:nvSpPr>
        <p:spPr>
          <a:xfrm rot="5400000" flipV="1">
            <a:off x="3769559" y="3831968"/>
            <a:ext cx="89999" cy="88630"/>
          </a:xfrm>
          <a:prstGeom prst="chevron">
            <a:avLst>
              <a:gd name="adj" fmla="val 48392"/>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black"/>
              </a:solidFill>
              <a:effectLst/>
              <a:uLnTx/>
              <a:uFillTx/>
              <a:latin typeface="OPPOSans M"/>
              <a:ea typeface="OPPOSans L" panose="00020600040101010101" pitchFamily="18" charset="-122"/>
              <a:cs typeface="+mn-cs"/>
            </a:endParaRPr>
          </a:p>
        </p:txBody>
      </p:sp>
      <p:sp>
        <p:nvSpPr>
          <p:cNvPr id="102" name="椭圆 1">
            <a:extLst>
              <a:ext uri="{FF2B5EF4-FFF2-40B4-BE49-F238E27FC236}">
                <a16:creationId xmlns:a16="http://schemas.microsoft.com/office/drawing/2014/main" id="{3E3A7A4D-1362-476E-8B92-836F73807B99}"/>
              </a:ext>
            </a:extLst>
          </p:cNvPr>
          <p:cNvSpPr/>
          <p:nvPr/>
        </p:nvSpPr>
        <p:spPr>
          <a:xfrm>
            <a:off x="4684942" y="3631112"/>
            <a:ext cx="180000" cy="180000"/>
          </a:xfrm>
          <a:prstGeom prst="ellipse">
            <a:avLst/>
          </a:prstGeom>
          <a:gradFill flip="none" rotWithShape="1">
            <a:gsLst>
              <a:gs pos="0">
                <a:schemeClr val="accent3"/>
              </a:gs>
              <a:gs pos="100000">
                <a:schemeClr val="accent1"/>
              </a:gs>
            </a:gsLst>
            <a:lin ang="18900000" scaled="1"/>
            <a:tileRect/>
          </a:gradFill>
          <a:ln>
            <a:solidFill>
              <a:schemeClr val="bg1"/>
            </a:solidFill>
          </a:ln>
          <a:effectLst>
            <a:outerShdw blurRad="76200" dist="76200" dir="5400000" algn="ctr" rotWithShape="0">
              <a:schemeClr val="accent1">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white"/>
              </a:solidFill>
              <a:effectLst/>
              <a:uLnTx/>
              <a:uFillTx/>
              <a:latin typeface="OPPOSans M"/>
              <a:ea typeface="OPPOSans L" panose="00020600040101010101" pitchFamily="18" charset="-122"/>
              <a:cs typeface="+mn-cs"/>
            </a:endParaRPr>
          </a:p>
        </p:txBody>
      </p:sp>
      <p:sp>
        <p:nvSpPr>
          <p:cNvPr id="103" name="箭头: V 形 1">
            <a:extLst>
              <a:ext uri="{FF2B5EF4-FFF2-40B4-BE49-F238E27FC236}">
                <a16:creationId xmlns:a16="http://schemas.microsoft.com/office/drawing/2014/main" id="{810E3F94-CC6C-48A7-B042-72DA931128F5}"/>
              </a:ext>
            </a:extLst>
          </p:cNvPr>
          <p:cNvSpPr/>
          <p:nvPr/>
        </p:nvSpPr>
        <p:spPr>
          <a:xfrm rot="16200000">
            <a:off x="4729943" y="3676797"/>
            <a:ext cx="89999" cy="88630"/>
          </a:xfrm>
          <a:prstGeom prst="chevron">
            <a:avLst>
              <a:gd name="adj" fmla="val 48392"/>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black"/>
              </a:solidFill>
              <a:effectLst/>
              <a:uLnTx/>
              <a:uFillTx/>
              <a:latin typeface="OPPOSans M"/>
              <a:ea typeface="OPPOSans L" panose="00020600040101010101" pitchFamily="18" charset="-122"/>
              <a:cs typeface="+mn-cs"/>
            </a:endParaRPr>
          </a:p>
        </p:txBody>
      </p:sp>
      <p:sp>
        <p:nvSpPr>
          <p:cNvPr id="100" name="椭圆 1">
            <a:extLst>
              <a:ext uri="{FF2B5EF4-FFF2-40B4-BE49-F238E27FC236}">
                <a16:creationId xmlns:a16="http://schemas.microsoft.com/office/drawing/2014/main" id="{0286133D-86F1-4B63-A8BC-9D0272D5602A}"/>
              </a:ext>
            </a:extLst>
          </p:cNvPr>
          <p:cNvSpPr/>
          <p:nvPr/>
        </p:nvSpPr>
        <p:spPr>
          <a:xfrm flipV="1">
            <a:off x="5535334" y="3786283"/>
            <a:ext cx="180000" cy="180000"/>
          </a:xfrm>
          <a:prstGeom prst="ellipse">
            <a:avLst/>
          </a:prstGeom>
          <a:gradFill flip="none" rotWithShape="1">
            <a:gsLst>
              <a:gs pos="0">
                <a:schemeClr val="accent3"/>
              </a:gs>
              <a:gs pos="100000">
                <a:schemeClr val="accent1"/>
              </a:gs>
            </a:gsLst>
            <a:lin ang="18900000" scaled="1"/>
            <a:tileRect/>
          </a:gradFill>
          <a:ln>
            <a:solidFill>
              <a:schemeClr val="bg1"/>
            </a:solidFill>
          </a:ln>
          <a:effectLst>
            <a:outerShdw blurRad="76200" dist="76200" dir="16200000" algn="ctr" rotWithShape="0">
              <a:schemeClr val="accent1">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white"/>
              </a:solidFill>
              <a:effectLst/>
              <a:uLnTx/>
              <a:uFillTx/>
              <a:latin typeface="OPPOSans M"/>
              <a:ea typeface="OPPOSans L" panose="00020600040101010101" pitchFamily="18" charset="-122"/>
              <a:cs typeface="+mn-cs"/>
            </a:endParaRPr>
          </a:p>
        </p:txBody>
      </p:sp>
      <p:sp>
        <p:nvSpPr>
          <p:cNvPr id="101" name="箭头: V 形 1">
            <a:extLst>
              <a:ext uri="{FF2B5EF4-FFF2-40B4-BE49-F238E27FC236}">
                <a16:creationId xmlns:a16="http://schemas.microsoft.com/office/drawing/2014/main" id="{922E73DA-5EBC-4197-AEFB-87B4422281B2}"/>
              </a:ext>
            </a:extLst>
          </p:cNvPr>
          <p:cNvSpPr/>
          <p:nvPr/>
        </p:nvSpPr>
        <p:spPr>
          <a:xfrm rot="5400000" flipV="1">
            <a:off x="5580335" y="3831968"/>
            <a:ext cx="89999" cy="88630"/>
          </a:xfrm>
          <a:prstGeom prst="chevron">
            <a:avLst>
              <a:gd name="adj" fmla="val 48392"/>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black"/>
              </a:solidFill>
              <a:effectLst/>
              <a:uLnTx/>
              <a:uFillTx/>
              <a:latin typeface="OPPOSans M"/>
              <a:ea typeface="OPPOSans L" panose="00020600040101010101" pitchFamily="18" charset="-122"/>
              <a:cs typeface="+mn-cs"/>
            </a:endParaRPr>
          </a:p>
        </p:txBody>
      </p:sp>
      <p:sp>
        <p:nvSpPr>
          <p:cNvPr id="109" name="椭圆 1">
            <a:extLst>
              <a:ext uri="{FF2B5EF4-FFF2-40B4-BE49-F238E27FC236}">
                <a16:creationId xmlns:a16="http://schemas.microsoft.com/office/drawing/2014/main" id="{A465B37B-F3AE-4CE7-AE86-488DC8CFCCEA}"/>
              </a:ext>
            </a:extLst>
          </p:cNvPr>
          <p:cNvSpPr/>
          <p:nvPr/>
        </p:nvSpPr>
        <p:spPr>
          <a:xfrm>
            <a:off x="6495718" y="3631112"/>
            <a:ext cx="180000" cy="180000"/>
          </a:xfrm>
          <a:prstGeom prst="ellipse">
            <a:avLst/>
          </a:prstGeom>
          <a:gradFill flip="none" rotWithShape="1">
            <a:gsLst>
              <a:gs pos="0">
                <a:schemeClr val="accent3"/>
              </a:gs>
              <a:gs pos="100000">
                <a:schemeClr val="accent1"/>
              </a:gs>
            </a:gsLst>
            <a:lin ang="18900000" scaled="1"/>
            <a:tileRect/>
          </a:gradFill>
          <a:ln>
            <a:solidFill>
              <a:schemeClr val="bg1"/>
            </a:solidFill>
          </a:ln>
          <a:effectLst>
            <a:outerShdw blurRad="76200" dist="76200" dir="5400000" algn="ctr" rotWithShape="0">
              <a:schemeClr val="accent1">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white"/>
              </a:solidFill>
              <a:effectLst/>
              <a:uLnTx/>
              <a:uFillTx/>
              <a:latin typeface="OPPOSans M"/>
              <a:ea typeface="OPPOSans L" panose="00020600040101010101" pitchFamily="18" charset="-122"/>
              <a:cs typeface="+mn-cs"/>
            </a:endParaRPr>
          </a:p>
        </p:txBody>
      </p:sp>
      <p:sp>
        <p:nvSpPr>
          <p:cNvPr id="110" name="箭头: V 形 1">
            <a:extLst>
              <a:ext uri="{FF2B5EF4-FFF2-40B4-BE49-F238E27FC236}">
                <a16:creationId xmlns:a16="http://schemas.microsoft.com/office/drawing/2014/main" id="{6691B18A-60CF-4D31-A216-DD5EA1A3ADE8}"/>
              </a:ext>
            </a:extLst>
          </p:cNvPr>
          <p:cNvSpPr/>
          <p:nvPr/>
        </p:nvSpPr>
        <p:spPr>
          <a:xfrm rot="16200000">
            <a:off x="6540719" y="3676797"/>
            <a:ext cx="89999" cy="88630"/>
          </a:xfrm>
          <a:prstGeom prst="chevron">
            <a:avLst>
              <a:gd name="adj" fmla="val 48392"/>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black"/>
              </a:solidFill>
              <a:effectLst/>
              <a:uLnTx/>
              <a:uFillTx/>
              <a:latin typeface="OPPOSans M"/>
              <a:ea typeface="OPPOSans L" panose="00020600040101010101" pitchFamily="18" charset="-122"/>
              <a:cs typeface="+mn-cs"/>
            </a:endParaRPr>
          </a:p>
        </p:txBody>
      </p:sp>
      <p:sp>
        <p:nvSpPr>
          <p:cNvPr id="107" name="椭圆 1">
            <a:extLst>
              <a:ext uri="{FF2B5EF4-FFF2-40B4-BE49-F238E27FC236}">
                <a16:creationId xmlns:a16="http://schemas.microsoft.com/office/drawing/2014/main" id="{7B520009-AE85-4385-AD21-9186083CCAEB}"/>
              </a:ext>
            </a:extLst>
          </p:cNvPr>
          <p:cNvSpPr/>
          <p:nvPr/>
        </p:nvSpPr>
        <p:spPr>
          <a:xfrm flipV="1">
            <a:off x="7346110" y="3786283"/>
            <a:ext cx="180000" cy="180000"/>
          </a:xfrm>
          <a:prstGeom prst="ellipse">
            <a:avLst/>
          </a:prstGeom>
          <a:gradFill flip="none" rotWithShape="1">
            <a:gsLst>
              <a:gs pos="0">
                <a:schemeClr val="accent3"/>
              </a:gs>
              <a:gs pos="100000">
                <a:schemeClr val="accent1"/>
              </a:gs>
            </a:gsLst>
            <a:lin ang="18900000" scaled="1"/>
            <a:tileRect/>
          </a:gradFill>
          <a:ln>
            <a:solidFill>
              <a:schemeClr val="bg1"/>
            </a:solidFill>
          </a:ln>
          <a:effectLst>
            <a:outerShdw blurRad="76200" dist="76200" dir="16200000" algn="ctr" rotWithShape="0">
              <a:schemeClr val="accent1">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white"/>
              </a:solidFill>
              <a:effectLst/>
              <a:uLnTx/>
              <a:uFillTx/>
              <a:latin typeface="OPPOSans M"/>
              <a:ea typeface="OPPOSans L" panose="00020600040101010101" pitchFamily="18" charset="-122"/>
              <a:cs typeface="+mn-cs"/>
            </a:endParaRPr>
          </a:p>
        </p:txBody>
      </p:sp>
      <p:sp>
        <p:nvSpPr>
          <p:cNvPr id="108" name="箭头: V 形 1">
            <a:extLst>
              <a:ext uri="{FF2B5EF4-FFF2-40B4-BE49-F238E27FC236}">
                <a16:creationId xmlns:a16="http://schemas.microsoft.com/office/drawing/2014/main" id="{B68D2D30-A8F7-4598-B693-9B33B76E4629}"/>
              </a:ext>
            </a:extLst>
          </p:cNvPr>
          <p:cNvSpPr/>
          <p:nvPr/>
        </p:nvSpPr>
        <p:spPr>
          <a:xfrm rot="5400000" flipV="1">
            <a:off x="7391111" y="3831968"/>
            <a:ext cx="89999" cy="88630"/>
          </a:xfrm>
          <a:prstGeom prst="chevron">
            <a:avLst>
              <a:gd name="adj" fmla="val 48392"/>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black"/>
              </a:solidFill>
              <a:effectLst/>
              <a:uLnTx/>
              <a:uFillTx/>
              <a:latin typeface="OPPOSans M"/>
              <a:ea typeface="OPPOSans L" panose="00020600040101010101" pitchFamily="18" charset="-122"/>
              <a:cs typeface="+mn-cs"/>
            </a:endParaRPr>
          </a:p>
        </p:txBody>
      </p:sp>
      <p:sp>
        <p:nvSpPr>
          <p:cNvPr id="116" name="椭圆 1">
            <a:extLst>
              <a:ext uri="{FF2B5EF4-FFF2-40B4-BE49-F238E27FC236}">
                <a16:creationId xmlns:a16="http://schemas.microsoft.com/office/drawing/2014/main" id="{1804119E-6AED-49E9-9705-D2307ED8B36F}"/>
              </a:ext>
            </a:extLst>
          </p:cNvPr>
          <p:cNvSpPr/>
          <p:nvPr/>
        </p:nvSpPr>
        <p:spPr>
          <a:xfrm>
            <a:off x="8306494" y="3631112"/>
            <a:ext cx="180000" cy="180000"/>
          </a:xfrm>
          <a:prstGeom prst="ellipse">
            <a:avLst/>
          </a:prstGeom>
          <a:gradFill flip="none" rotWithShape="1">
            <a:gsLst>
              <a:gs pos="0">
                <a:schemeClr val="accent3"/>
              </a:gs>
              <a:gs pos="100000">
                <a:schemeClr val="accent1"/>
              </a:gs>
            </a:gsLst>
            <a:lin ang="18900000" scaled="1"/>
            <a:tileRect/>
          </a:gradFill>
          <a:ln>
            <a:solidFill>
              <a:schemeClr val="bg1"/>
            </a:solidFill>
          </a:ln>
          <a:effectLst>
            <a:outerShdw blurRad="76200" dist="76200" dir="5400000" algn="ctr" rotWithShape="0">
              <a:schemeClr val="accent1">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white"/>
              </a:solidFill>
              <a:effectLst/>
              <a:uLnTx/>
              <a:uFillTx/>
              <a:latin typeface="OPPOSans M"/>
              <a:ea typeface="OPPOSans L" panose="00020600040101010101" pitchFamily="18" charset="-122"/>
              <a:cs typeface="+mn-cs"/>
            </a:endParaRPr>
          </a:p>
        </p:txBody>
      </p:sp>
      <p:sp>
        <p:nvSpPr>
          <p:cNvPr id="117" name="箭头: V 形 1">
            <a:extLst>
              <a:ext uri="{FF2B5EF4-FFF2-40B4-BE49-F238E27FC236}">
                <a16:creationId xmlns:a16="http://schemas.microsoft.com/office/drawing/2014/main" id="{E6F5127B-CEFE-4053-BEDF-5AC071E43E0C}"/>
              </a:ext>
            </a:extLst>
          </p:cNvPr>
          <p:cNvSpPr/>
          <p:nvPr/>
        </p:nvSpPr>
        <p:spPr>
          <a:xfrm rot="16200000">
            <a:off x="8351495" y="3676797"/>
            <a:ext cx="89999" cy="88630"/>
          </a:xfrm>
          <a:prstGeom prst="chevron">
            <a:avLst>
              <a:gd name="adj" fmla="val 48392"/>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black"/>
              </a:solidFill>
              <a:effectLst/>
              <a:uLnTx/>
              <a:uFillTx/>
              <a:latin typeface="OPPOSans M"/>
              <a:ea typeface="OPPOSans L" panose="00020600040101010101" pitchFamily="18" charset="-122"/>
              <a:cs typeface="+mn-cs"/>
            </a:endParaRPr>
          </a:p>
        </p:txBody>
      </p:sp>
      <p:sp>
        <p:nvSpPr>
          <p:cNvPr id="114" name="椭圆 1">
            <a:extLst>
              <a:ext uri="{FF2B5EF4-FFF2-40B4-BE49-F238E27FC236}">
                <a16:creationId xmlns:a16="http://schemas.microsoft.com/office/drawing/2014/main" id="{7DD2A6CD-72AB-4DEE-9D9A-2302E9654AF1}"/>
              </a:ext>
            </a:extLst>
          </p:cNvPr>
          <p:cNvSpPr/>
          <p:nvPr/>
        </p:nvSpPr>
        <p:spPr>
          <a:xfrm flipV="1">
            <a:off x="9156886" y="3786283"/>
            <a:ext cx="180000" cy="180000"/>
          </a:xfrm>
          <a:prstGeom prst="ellipse">
            <a:avLst/>
          </a:prstGeom>
          <a:gradFill flip="none" rotWithShape="1">
            <a:gsLst>
              <a:gs pos="0">
                <a:schemeClr val="accent3"/>
              </a:gs>
              <a:gs pos="100000">
                <a:schemeClr val="accent1"/>
              </a:gs>
            </a:gsLst>
            <a:lin ang="18900000" scaled="1"/>
            <a:tileRect/>
          </a:gradFill>
          <a:ln>
            <a:solidFill>
              <a:schemeClr val="bg1"/>
            </a:solidFill>
          </a:ln>
          <a:effectLst>
            <a:outerShdw blurRad="76200" dist="76200" dir="16200000" algn="ctr" rotWithShape="0">
              <a:schemeClr val="accent1">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white"/>
              </a:solidFill>
              <a:effectLst/>
              <a:uLnTx/>
              <a:uFillTx/>
              <a:latin typeface="OPPOSans M"/>
              <a:ea typeface="OPPOSans L" panose="00020600040101010101" pitchFamily="18" charset="-122"/>
              <a:cs typeface="+mn-cs"/>
            </a:endParaRPr>
          </a:p>
        </p:txBody>
      </p:sp>
      <p:sp>
        <p:nvSpPr>
          <p:cNvPr id="115" name="箭头: V 形 1">
            <a:extLst>
              <a:ext uri="{FF2B5EF4-FFF2-40B4-BE49-F238E27FC236}">
                <a16:creationId xmlns:a16="http://schemas.microsoft.com/office/drawing/2014/main" id="{C73C1590-7A15-44EC-9466-2C0D054807A5}"/>
              </a:ext>
            </a:extLst>
          </p:cNvPr>
          <p:cNvSpPr/>
          <p:nvPr/>
        </p:nvSpPr>
        <p:spPr>
          <a:xfrm rot="5400000" flipV="1">
            <a:off x="9201887" y="3831968"/>
            <a:ext cx="89999" cy="88630"/>
          </a:xfrm>
          <a:prstGeom prst="chevron">
            <a:avLst>
              <a:gd name="adj" fmla="val 48392"/>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black"/>
              </a:solidFill>
              <a:effectLst/>
              <a:uLnTx/>
              <a:uFillTx/>
              <a:latin typeface="OPPOSans M"/>
              <a:ea typeface="OPPOSans L" panose="00020600040101010101" pitchFamily="18" charset="-122"/>
              <a:cs typeface="+mn-cs"/>
            </a:endParaRPr>
          </a:p>
        </p:txBody>
      </p:sp>
      <p:sp>
        <p:nvSpPr>
          <p:cNvPr id="123" name="椭圆 1">
            <a:extLst>
              <a:ext uri="{FF2B5EF4-FFF2-40B4-BE49-F238E27FC236}">
                <a16:creationId xmlns:a16="http://schemas.microsoft.com/office/drawing/2014/main" id="{B9A278D4-9BFF-46A9-8D7B-F1D71FCB67CB}"/>
              </a:ext>
            </a:extLst>
          </p:cNvPr>
          <p:cNvSpPr/>
          <p:nvPr/>
        </p:nvSpPr>
        <p:spPr>
          <a:xfrm>
            <a:off x="10117270" y="3631112"/>
            <a:ext cx="180000" cy="180000"/>
          </a:xfrm>
          <a:prstGeom prst="ellipse">
            <a:avLst/>
          </a:prstGeom>
          <a:gradFill flip="none" rotWithShape="1">
            <a:gsLst>
              <a:gs pos="0">
                <a:schemeClr val="accent3"/>
              </a:gs>
              <a:gs pos="100000">
                <a:schemeClr val="accent1"/>
              </a:gs>
            </a:gsLst>
            <a:lin ang="18900000" scaled="1"/>
            <a:tileRect/>
          </a:gradFill>
          <a:ln>
            <a:solidFill>
              <a:schemeClr val="bg1"/>
            </a:solidFill>
          </a:ln>
          <a:effectLst>
            <a:outerShdw blurRad="76200" dist="76200" dir="5400000" algn="ctr" rotWithShape="0">
              <a:schemeClr val="accent1">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white"/>
              </a:solidFill>
              <a:effectLst/>
              <a:uLnTx/>
              <a:uFillTx/>
              <a:latin typeface="OPPOSans M"/>
              <a:ea typeface="OPPOSans L" panose="00020600040101010101" pitchFamily="18" charset="-122"/>
              <a:cs typeface="+mn-cs"/>
            </a:endParaRPr>
          </a:p>
        </p:txBody>
      </p:sp>
      <p:sp>
        <p:nvSpPr>
          <p:cNvPr id="124" name="箭头: V 形 1">
            <a:extLst>
              <a:ext uri="{FF2B5EF4-FFF2-40B4-BE49-F238E27FC236}">
                <a16:creationId xmlns:a16="http://schemas.microsoft.com/office/drawing/2014/main" id="{AAFB8C27-A85A-427C-BA15-D47CC39DCA3E}"/>
              </a:ext>
            </a:extLst>
          </p:cNvPr>
          <p:cNvSpPr/>
          <p:nvPr/>
        </p:nvSpPr>
        <p:spPr>
          <a:xfrm rot="16200000">
            <a:off x="10162271" y="3676797"/>
            <a:ext cx="89999" cy="88630"/>
          </a:xfrm>
          <a:prstGeom prst="chevron">
            <a:avLst>
              <a:gd name="adj" fmla="val 48392"/>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black"/>
              </a:solidFill>
              <a:effectLst/>
              <a:uLnTx/>
              <a:uFillTx/>
              <a:latin typeface="OPPOSans M"/>
              <a:ea typeface="OPPOSans L" panose="00020600040101010101" pitchFamily="18" charset="-122"/>
              <a:cs typeface="+mn-cs"/>
            </a:endParaRPr>
          </a:p>
        </p:txBody>
      </p:sp>
      <p:sp>
        <p:nvSpPr>
          <p:cNvPr id="121" name="椭圆 1">
            <a:extLst>
              <a:ext uri="{FF2B5EF4-FFF2-40B4-BE49-F238E27FC236}">
                <a16:creationId xmlns:a16="http://schemas.microsoft.com/office/drawing/2014/main" id="{ADA0D7DB-A414-4C02-BCED-6A9CA2C9A46B}"/>
              </a:ext>
            </a:extLst>
          </p:cNvPr>
          <p:cNvSpPr/>
          <p:nvPr/>
        </p:nvSpPr>
        <p:spPr>
          <a:xfrm flipV="1">
            <a:off x="10967662" y="3786283"/>
            <a:ext cx="180000" cy="180000"/>
          </a:xfrm>
          <a:prstGeom prst="ellipse">
            <a:avLst/>
          </a:prstGeom>
          <a:gradFill flip="none" rotWithShape="1">
            <a:gsLst>
              <a:gs pos="0">
                <a:schemeClr val="accent3"/>
              </a:gs>
              <a:gs pos="100000">
                <a:schemeClr val="accent1"/>
              </a:gs>
            </a:gsLst>
            <a:lin ang="18900000" scaled="1"/>
            <a:tileRect/>
          </a:gradFill>
          <a:ln>
            <a:solidFill>
              <a:schemeClr val="bg1"/>
            </a:solidFill>
          </a:ln>
          <a:effectLst>
            <a:outerShdw blurRad="76200" dist="76200" dir="16200000" algn="ctr" rotWithShape="0">
              <a:schemeClr val="accent1">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white"/>
              </a:solidFill>
              <a:effectLst/>
              <a:uLnTx/>
              <a:uFillTx/>
              <a:latin typeface="OPPOSans M"/>
              <a:ea typeface="OPPOSans L" panose="00020600040101010101" pitchFamily="18" charset="-122"/>
              <a:cs typeface="+mn-cs"/>
            </a:endParaRPr>
          </a:p>
        </p:txBody>
      </p:sp>
      <p:sp>
        <p:nvSpPr>
          <p:cNvPr id="122" name="箭头: V 形 1">
            <a:extLst>
              <a:ext uri="{FF2B5EF4-FFF2-40B4-BE49-F238E27FC236}">
                <a16:creationId xmlns:a16="http://schemas.microsoft.com/office/drawing/2014/main" id="{100E155F-C089-480F-84BF-140631AF816D}"/>
              </a:ext>
            </a:extLst>
          </p:cNvPr>
          <p:cNvSpPr/>
          <p:nvPr/>
        </p:nvSpPr>
        <p:spPr>
          <a:xfrm rot="5400000" flipV="1">
            <a:off x="11012663" y="3831968"/>
            <a:ext cx="89999" cy="88630"/>
          </a:xfrm>
          <a:prstGeom prst="chevron">
            <a:avLst>
              <a:gd name="adj" fmla="val 48392"/>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black"/>
              </a:solidFill>
              <a:effectLst/>
              <a:uLnTx/>
              <a:uFillTx/>
              <a:latin typeface="OPPOSans M"/>
              <a:ea typeface="OPPOSans L" panose="00020600040101010101" pitchFamily="18" charset="-122"/>
              <a:cs typeface="+mn-cs"/>
            </a:endParaRPr>
          </a:p>
        </p:txBody>
      </p:sp>
      <p:sp>
        <p:nvSpPr>
          <p:cNvPr id="125" name="稿定PPT-4">
            <a:extLst>
              <a:ext uri="{FF2B5EF4-FFF2-40B4-BE49-F238E27FC236}">
                <a16:creationId xmlns:a16="http://schemas.microsoft.com/office/drawing/2014/main" id="{7E318C92-A55B-403E-883A-B83DEC84B91C}"/>
              </a:ext>
            </a:extLst>
          </p:cNvPr>
          <p:cNvSpPr txBox="1"/>
          <p:nvPr/>
        </p:nvSpPr>
        <p:spPr>
          <a:xfrm>
            <a:off x="1092496" y="711595"/>
            <a:ext cx="3770999" cy="396928"/>
          </a:xfrm>
          <a:prstGeom prst="rect">
            <a:avLst/>
          </a:prstGeom>
          <a:noFill/>
          <a:ln>
            <a:noFill/>
          </a:ln>
        </p:spPr>
        <p:txBody>
          <a:bodyPr wrap="square" lIns="0" tIns="0" rIns="0" bIns="0" anchor="ctr" anchorCtr="0">
            <a:normAutofit/>
          </a:bodyPr>
          <a:lstStyle/>
          <a:p>
            <a:pPr marL="0" marR="0" lvl="0" indent="0" algn="l" defTabSz="913765" rtl="0" eaLnBrk="1" fontAlgn="auto" latinLnBrk="0" hangingPunct="1">
              <a:lnSpc>
                <a:spcPct val="100000"/>
              </a:lnSpc>
              <a:spcBef>
                <a:spcPts val="0"/>
              </a:spcBef>
              <a:spcAft>
                <a:spcPts val="0"/>
              </a:spcAft>
              <a:buClrTx/>
              <a:buSzPct val="25000"/>
              <a:buFontTx/>
              <a:buNone/>
              <a:tabLst/>
              <a:defRPr/>
            </a:pPr>
            <a:r>
              <a:rPr kumimoji="0" lang="zh-CN" altLang="en-US" sz="1800" b="1" i="0" u="none" strike="noStrike" kern="1200" cap="none" spc="0" normalizeH="0" baseline="0" noProof="0" dirty="0">
                <a:ln>
                  <a:noFill/>
                </a:ln>
                <a:solidFill>
                  <a:srgbClr val="000000"/>
                </a:solidFill>
                <a:effectLst/>
                <a:uLnTx/>
                <a:uFillTx/>
                <a:latin typeface="OPPOSans B" panose="00020600040101010101" pitchFamily="18" charset="-122"/>
                <a:ea typeface="OPPOSans B" panose="00020600040101010101" pitchFamily="18" charset="-122"/>
                <a:cs typeface="+mn-cs"/>
              </a:rPr>
              <a:t>秋叶</a:t>
            </a:r>
            <a:r>
              <a:rPr kumimoji="0" lang="en-US" altLang="zh-CN" sz="1800" b="1" i="0" u="none" strike="noStrike" kern="1200" cap="none" spc="0" normalizeH="0" baseline="0" noProof="0" dirty="0">
                <a:ln>
                  <a:noFill/>
                </a:ln>
                <a:solidFill>
                  <a:srgbClr val="000000"/>
                </a:solidFill>
                <a:effectLst/>
                <a:uLnTx/>
                <a:uFillTx/>
                <a:latin typeface="OPPOSans B" panose="00020600040101010101" pitchFamily="18" charset="-122"/>
                <a:ea typeface="OPPOSans B" panose="00020600040101010101" pitchFamily="18" charset="-122"/>
                <a:cs typeface="+mn-cs"/>
              </a:rPr>
              <a:t>PPT</a:t>
            </a:r>
            <a:r>
              <a:rPr kumimoji="0" lang="zh-CN" altLang="en-US" sz="1800" b="1" i="0" u="none" strike="noStrike" kern="1200" cap="none" spc="0" normalizeH="0" baseline="0" noProof="0" dirty="0">
                <a:ln>
                  <a:noFill/>
                </a:ln>
                <a:solidFill>
                  <a:srgbClr val="000000"/>
                </a:solidFill>
                <a:effectLst/>
                <a:uLnTx/>
                <a:uFillTx/>
                <a:latin typeface="OPPOSans B" panose="00020600040101010101" pitchFamily="18" charset="-122"/>
                <a:ea typeface="OPPOSans B" panose="00020600040101010101" pitchFamily="18" charset="-122"/>
                <a:cs typeface="+mn-cs"/>
              </a:rPr>
              <a:t>，海量素材持续更新</a:t>
            </a:r>
            <a:endParaRPr kumimoji="0" lang="en-US" sz="1800" b="1" i="0" u="none" strike="noStrike" kern="1200" cap="none" spc="0" normalizeH="0" baseline="0" noProof="0" dirty="0">
              <a:ln>
                <a:noFill/>
              </a:ln>
              <a:solidFill>
                <a:srgbClr val="000000"/>
              </a:solidFill>
              <a:effectLst/>
              <a:uLnTx/>
              <a:uFillTx/>
              <a:latin typeface="OPPOSans B" panose="00020600040101010101" pitchFamily="18" charset="-122"/>
              <a:ea typeface="OPPOSans B" panose="00020600040101010101" pitchFamily="18" charset="-122"/>
              <a:cs typeface="+mn-cs"/>
            </a:endParaRPr>
          </a:p>
        </p:txBody>
      </p:sp>
      <p:sp>
        <p:nvSpPr>
          <p:cNvPr id="126" name="稿定PPT-4">
            <a:extLst>
              <a:ext uri="{FF2B5EF4-FFF2-40B4-BE49-F238E27FC236}">
                <a16:creationId xmlns:a16="http://schemas.microsoft.com/office/drawing/2014/main" id="{EE63F8FD-C15D-41C4-A227-BF7831A374F3}"/>
              </a:ext>
            </a:extLst>
          </p:cNvPr>
          <p:cNvSpPr txBox="1"/>
          <p:nvPr/>
        </p:nvSpPr>
        <p:spPr>
          <a:xfrm>
            <a:off x="1092496" y="1017435"/>
            <a:ext cx="5372971" cy="239438"/>
          </a:xfrm>
          <a:prstGeom prst="rect">
            <a:avLst/>
          </a:prstGeom>
          <a:noFill/>
          <a:ln>
            <a:noFill/>
          </a:ln>
        </p:spPr>
        <p:txBody>
          <a:bodyPr wrap="square" lIns="0" tIns="0" rIns="0" bIns="0" anchor="ctr" anchorCtr="0">
            <a:normAutofit/>
          </a:bodyPr>
          <a:lstStyle/>
          <a:p>
            <a:pPr marL="0" marR="0" lvl="0" indent="0" algn="l" defTabSz="913765" rtl="0" eaLnBrk="1" fontAlgn="auto" latinLnBrk="0" hangingPunct="1">
              <a:lnSpc>
                <a:spcPct val="100000"/>
              </a:lnSpc>
              <a:spcBef>
                <a:spcPts val="0"/>
              </a:spcBef>
              <a:spcAft>
                <a:spcPts val="0"/>
              </a:spcAft>
              <a:buClrTx/>
              <a:buSzPct val="25000"/>
              <a:buFontTx/>
              <a:buNone/>
              <a:tabLst/>
              <a:defRPr/>
            </a:pPr>
            <a:r>
              <a:rPr kumimoji="0" lang="en-US" sz="1000" b="0" i="0" u="none" strike="noStrike" kern="1200" cap="none" spc="0" normalizeH="0" baseline="0" noProof="0" dirty="0">
                <a:ln>
                  <a:noFill/>
                </a:ln>
                <a:solidFill>
                  <a:srgbClr val="44546A"/>
                </a:solidFill>
                <a:effectLst/>
                <a:uLnTx/>
                <a:uFillTx/>
                <a:latin typeface="OPPOSans L" panose="00020600040101010101" pitchFamily="18" charset="-122"/>
                <a:ea typeface="OPPOSans L" panose="00020600040101010101" pitchFamily="18" charset="-122"/>
                <a:cs typeface="OPPOSans L" panose="00020600040101010101" pitchFamily="18" charset="-122"/>
              </a:rPr>
              <a:t>Mandamus mediocrem reprehendunt eum eu, cu pertinax ocurreret his. </a:t>
            </a:r>
          </a:p>
        </p:txBody>
      </p:sp>
      <p:sp>
        <p:nvSpPr>
          <p:cNvPr id="127" name="矩形: 圆角 126">
            <a:extLst>
              <a:ext uri="{FF2B5EF4-FFF2-40B4-BE49-F238E27FC236}">
                <a16:creationId xmlns:a16="http://schemas.microsoft.com/office/drawing/2014/main" id="{8559D279-1584-4C95-A759-1AD116A69345}"/>
              </a:ext>
            </a:extLst>
          </p:cNvPr>
          <p:cNvSpPr/>
          <p:nvPr/>
        </p:nvSpPr>
        <p:spPr>
          <a:xfrm rot="18900000">
            <a:off x="672494" y="797603"/>
            <a:ext cx="288000" cy="108000"/>
          </a:xfrm>
          <a:prstGeom prst="roundRect">
            <a:avLst>
              <a:gd name="adj" fmla="val 50000"/>
            </a:avLst>
          </a:prstGeom>
          <a:solidFill>
            <a:srgbClr val="6FBA2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white"/>
              </a:solidFill>
              <a:effectLst/>
              <a:uLnTx/>
              <a:uFillTx/>
              <a:latin typeface="OPPOSans M"/>
              <a:ea typeface="OPPOSans L" panose="00020600040101010101" pitchFamily="18" charset="-122"/>
              <a:cs typeface="+mn-cs"/>
            </a:endParaRPr>
          </a:p>
        </p:txBody>
      </p:sp>
      <p:sp>
        <p:nvSpPr>
          <p:cNvPr id="128" name="矩形: 圆角 127">
            <a:extLst>
              <a:ext uri="{FF2B5EF4-FFF2-40B4-BE49-F238E27FC236}">
                <a16:creationId xmlns:a16="http://schemas.microsoft.com/office/drawing/2014/main" id="{D4B57CEE-2D14-4E05-9D3C-D86EC32D1D60}"/>
              </a:ext>
            </a:extLst>
          </p:cNvPr>
          <p:cNvSpPr/>
          <p:nvPr/>
        </p:nvSpPr>
        <p:spPr>
          <a:xfrm>
            <a:off x="697525" y="863509"/>
            <a:ext cx="288000" cy="108000"/>
          </a:xfrm>
          <a:prstGeom prst="roundRect">
            <a:avLst>
              <a:gd name="adj" fmla="val 50000"/>
            </a:avLst>
          </a:prstGeom>
          <a:gradFill flip="none" rotWithShape="1">
            <a:gsLst>
              <a:gs pos="0">
                <a:schemeClr val="accent1"/>
              </a:gs>
              <a:gs pos="100000">
                <a:schemeClr val="accent2"/>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white"/>
              </a:solidFill>
              <a:effectLst/>
              <a:uLnTx/>
              <a:uFillTx/>
              <a:latin typeface="OPPOSans M"/>
              <a:ea typeface="OPPOSans L" panose="00020600040101010101" pitchFamily="18" charset="-122"/>
              <a:cs typeface="+mn-cs"/>
            </a:endParaRPr>
          </a:p>
        </p:txBody>
      </p:sp>
      <p:cxnSp>
        <p:nvCxnSpPr>
          <p:cNvPr id="129" name="直接连接符 128">
            <a:extLst>
              <a:ext uri="{FF2B5EF4-FFF2-40B4-BE49-F238E27FC236}">
                <a16:creationId xmlns:a16="http://schemas.microsoft.com/office/drawing/2014/main" id="{DB9DDC13-8014-4347-AA49-28FC71B7F387}"/>
              </a:ext>
            </a:extLst>
          </p:cNvPr>
          <p:cNvCxnSpPr>
            <a:cxnSpLocks/>
          </p:cNvCxnSpPr>
          <p:nvPr/>
        </p:nvCxnSpPr>
        <p:spPr>
          <a:xfrm>
            <a:off x="702936" y="1079769"/>
            <a:ext cx="252147" cy="0"/>
          </a:xfrm>
          <a:prstGeom prst="line">
            <a:avLst/>
          </a:prstGeom>
          <a:ln w="12700" cap="rnd">
            <a:gradFill flip="none" rotWithShape="1">
              <a:gsLst>
                <a:gs pos="0">
                  <a:schemeClr val="accent1"/>
                </a:gs>
                <a:gs pos="100000">
                  <a:schemeClr val="accent3"/>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130" name="直接连接符 129">
            <a:extLst>
              <a:ext uri="{FF2B5EF4-FFF2-40B4-BE49-F238E27FC236}">
                <a16:creationId xmlns:a16="http://schemas.microsoft.com/office/drawing/2014/main" id="{D071B7BA-BF30-4EE1-AAAB-B07193014FF5}"/>
              </a:ext>
            </a:extLst>
          </p:cNvPr>
          <p:cNvCxnSpPr>
            <a:cxnSpLocks/>
          </p:cNvCxnSpPr>
          <p:nvPr/>
        </p:nvCxnSpPr>
        <p:spPr>
          <a:xfrm>
            <a:off x="702936" y="1160943"/>
            <a:ext cx="252147" cy="0"/>
          </a:xfrm>
          <a:prstGeom prst="line">
            <a:avLst/>
          </a:prstGeom>
          <a:ln w="12700" cap="rnd">
            <a:gradFill flip="none" rotWithShape="1">
              <a:gsLst>
                <a:gs pos="0">
                  <a:schemeClr val="accent1"/>
                </a:gs>
                <a:gs pos="100000">
                  <a:schemeClr val="accent3"/>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131" name="直接连接符 130">
            <a:extLst>
              <a:ext uri="{FF2B5EF4-FFF2-40B4-BE49-F238E27FC236}">
                <a16:creationId xmlns:a16="http://schemas.microsoft.com/office/drawing/2014/main" id="{BCE88DD1-3F95-43E2-8AFA-99FDA2525732}"/>
              </a:ext>
            </a:extLst>
          </p:cNvPr>
          <p:cNvCxnSpPr/>
          <p:nvPr/>
        </p:nvCxnSpPr>
        <p:spPr>
          <a:xfrm>
            <a:off x="702936" y="1120356"/>
            <a:ext cx="108000" cy="0"/>
          </a:xfrm>
          <a:prstGeom prst="line">
            <a:avLst/>
          </a:prstGeom>
          <a:ln w="12700" cap="rnd">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32" name="直接连接符 131">
            <a:extLst>
              <a:ext uri="{FF2B5EF4-FFF2-40B4-BE49-F238E27FC236}">
                <a16:creationId xmlns:a16="http://schemas.microsoft.com/office/drawing/2014/main" id="{319B7557-87E4-4986-9C37-55C495C3D0A3}"/>
              </a:ext>
            </a:extLst>
          </p:cNvPr>
          <p:cNvCxnSpPr/>
          <p:nvPr/>
        </p:nvCxnSpPr>
        <p:spPr>
          <a:xfrm>
            <a:off x="847083" y="1120356"/>
            <a:ext cx="108000" cy="0"/>
          </a:xfrm>
          <a:prstGeom prst="line">
            <a:avLst/>
          </a:prstGeom>
          <a:ln w="12700" cap="rnd">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02188140"/>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6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0" name="箭头: 五边形 1">
            <a:extLst>
              <a:ext uri="{FF2B5EF4-FFF2-40B4-BE49-F238E27FC236}">
                <a16:creationId xmlns:a16="http://schemas.microsoft.com/office/drawing/2014/main" id="{4C1D4A2F-1E4E-4EB6-B1EB-9EFC7E6B94DE}"/>
              </a:ext>
            </a:extLst>
          </p:cNvPr>
          <p:cNvSpPr/>
          <p:nvPr/>
        </p:nvSpPr>
        <p:spPr>
          <a:xfrm>
            <a:off x="-762000" y="1598403"/>
            <a:ext cx="12782550" cy="4490450"/>
          </a:xfrm>
          <a:prstGeom prst="homePlate">
            <a:avLst>
              <a:gd name="adj" fmla="val 49989"/>
            </a:avLst>
          </a:prstGeom>
          <a:noFill/>
          <a:ln w="9525">
            <a:gradFill flip="none" rotWithShape="1">
              <a:gsLst>
                <a:gs pos="20000">
                  <a:schemeClr val="accent1">
                    <a:lumMod val="20000"/>
                    <a:lumOff val="80000"/>
                    <a:alpha val="0"/>
                  </a:schemeClr>
                </a:gs>
                <a:gs pos="65000">
                  <a:schemeClr val="accent1"/>
                </a:gs>
                <a:gs pos="100000">
                  <a:schemeClr val="accent1"/>
                </a:gs>
              </a:gsLst>
              <a:lin ang="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white"/>
              </a:solidFill>
              <a:effectLst/>
              <a:uLnTx/>
              <a:uFillTx/>
              <a:latin typeface="OPPOSans L" panose="00020600040101010101" pitchFamily="18" charset="-122"/>
              <a:ea typeface="OPPOSans L" panose="00020600040101010101" pitchFamily="18" charset="-122"/>
              <a:cs typeface="+mn-cs"/>
            </a:endParaRPr>
          </a:p>
        </p:txBody>
      </p:sp>
      <p:sp>
        <p:nvSpPr>
          <p:cNvPr id="9" name="弧形 8">
            <a:extLst>
              <a:ext uri="{FF2B5EF4-FFF2-40B4-BE49-F238E27FC236}">
                <a16:creationId xmlns:a16="http://schemas.microsoft.com/office/drawing/2014/main" id="{C8A13F70-30C6-426A-ADA2-EEDF44A84E02}"/>
              </a:ext>
            </a:extLst>
          </p:cNvPr>
          <p:cNvSpPr/>
          <p:nvPr/>
        </p:nvSpPr>
        <p:spPr>
          <a:xfrm rot="5400000">
            <a:off x="1088031" y="1092676"/>
            <a:ext cx="2700000" cy="2700000"/>
          </a:xfrm>
          <a:prstGeom prst="arc">
            <a:avLst/>
          </a:prstGeom>
          <a:ln w="38100">
            <a:headEnd type="triangle"/>
          </a:ln>
        </p:spPr>
        <p:style>
          <a:lnRef idx="1">
            <a:schemeClr val="accent1"/>
          </a:lnRef>
          <a:fillRef idx="0">
            <a:schemeClr val="accent1"/>
          </a:fillRef>
          <a:effectRef idx="0">
            <a:schemeClr val="accent1"/>
          </a:effectRef>
          <a:fontRef idx="minor">
            <a:schemeClr val="tx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black"/>
              </a:solidFill>
              <a:effectLst/>
              <a:uLnTx/>
              <a:uFillTx/>
              <a:latin typeface="OPPOSans L" panose="00020600040101010101" pitchFamily="18" charset="-122"/>
              <a:ea typeface="OPPOSans L" panose="00020600040101010101" pitchFamily="18" charset="-122"/>
              <a:cs typeface="+mn-cs"/>
            </a:endParaRPr>
          </a:p>
        </p:txBody>
      </p:sp>
      <p:sp>
        <p:nvSpPr>
          <p:cNvPr id="10" name="文本框 9">
            <a:extLst>
              <a:ext uri="{FF2B5EF4-FFF2-40B4-BE49-F238E27FC236}">
                <a16:creationId xmlns:a16="http://schemas.microsoft.com/office/drawing/2014/main" id="{F00E483F-382D-4B18-88A7-9A75EBA56C3F}"/>
              </a:ext>
            </a:extLst>
          </p:cNvPr>
          <p:cNvSpPr txBox="1"/>
          <p:nvPr/>
        </p:nvSpPr>
        <p:spPr>
          <a:xfrm>
            <a:off x="1161391" y="2118796"/>
            <a:ext cx="2174539" cy="246221"/>
          </a:xfrm>
          <a:prstGeom prst="rect">
            <a:avLst/>
          </a:prstGeom>
          <a:noFill/>
        </p:spPr>
        <p:txBody>
          <a:bodyPr wrap="square" lIns="0" tIns="0" rIns="0" bIns="0" rtlCol="0">
            <a:spAutoFit/>
          </a:bodyPr>
          <a:lstStyle>
            <a:defPPr>
              <a:defRPr lang="zh-CN"/>
            </a:defPPr>
            <a:lvl1pPr algn="ctr">
              <a:defRPr>
                <a:gradFill>
                  <a:gsLst>
                    <a:gs pos="0">
                      <a:schemeClr val="accent1"/>
                    </a:gs>
                    <a:gs pos="100000">
                      <a:schemeClr val="accent2"/>
                    </a:gs>
                  </a:gsLst>
                  <a:path path="circle">
                    <a:fillToRect r="100000" b="100000"/>
                  </a:path>
                </a:gradFill>
                <a:latin typeface="+mj-ea"/>
                <a:ea typeface="+mj-ea"/>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zh-CN" altLang="en-US" sz="1600" b="0" i="0" u="none" strike="noStrike" kern="1200" cap="none" spc="0" normalizeH="0" baseline="0" noProof="0" dirty="0">
                <a:ln>
                  <a:noFill/>
                </a:ln>
                <a:gradFill flip="none" rotWithShape="1">
                  <a:gsLst>
                    <a:gs pos="0">
                      <a:schemeClr val="accent1"/>
                    </a:gs>
                    <a:gs pos="100000">
                      <a:srgbClr val="3B6D47"/>
                    </a:gs>
                  </a:gsLst>
                  <a:path path="circle">
                    <a:fillToRect r="100000" b="100000"/>
                  </a:path>
                  <a:tileRect/>
                </a:gradFill>
                <a:effectLst/>
                <a:uLnTx/>
                <a:uFillTx/>
                <a:latin typeface="OPPOSans H" panose="00020600040101010101" pitchFamily="18" charset="-122"/>
                <a:ea typeface="OPPOSans H" panose="00020600040101010101" pitchFamily="18" charset="-122"/>
                <a:cs typeface="+mn-cs"/>
              </a:rPr>
              <a:t>秋叶</a:t>
            </a:r>
            <a:r>
              <a:rPr kumimoji="0" lang="en-US" altLang="zh-CN" sz="1600" b="0" i="0" u="none" strike="noStrike" kern="1200" cap="none" spc="0" normalizeH="0" baseline="0" noProof="0" dirty="0">
                <a:ln>
                  <a:noFill/>
                </a:ln>
                <a:gradFill flip="none" rotWithShape="1">
                  <a:gsLst>
                    <a:gs pos="0">
                      <a:schemeClr val="accent1"/>
                    </a:gs>
                    <a:gs pos="100000">
                      <a:srgbClr val="3B6D47"/>
                    </a:gs>
                  </a:gsLst>
                  <a:path path="circle">
                    <a:fillToRect r="100000" b="100000"/>
                  </a:path>
                  <a:tileRect/>
                </a:gradFill>
                <a:effectLst/>
                <a:uLnTx/>
                <a:uFillTx/>
                <a:latin typeface="OPPOSans H" panose="00020600040101010101" pitchFamily="18" charset="-122"/>
                <a:ea typeface="OPPOSans H" panose="00020600040101010101" pitchFamily="18" charset="-122"/>
                <a:cs typeface="+mn-cs"/>
              </a:rPr>
              <a:t>PPT</a:t>
            </a:r>
            <a:r>
              <a:rPr kumimoji="0" lang="zh-CN" altLang="en-US" sz="1600" b="0" i="0" u="none" strike="noStrike" kern="1200" cap="none" spc="0" normalizeH="0" baseline="0" noProof="0" dirty="0">
                <a:ln>
                  <a:noFill/>
                </a:ln>
                <a:gradFill flip="none" rotWithShape="1">
                  <a:gsLst>
                    <a:gs pos="0">
                      <a:schemeClr val="accent1"/>
                    </a:gs>
                    <a:gs pos="100000">
                      <a:srgbClr val="3B6D47"/>
                    </a:gs>
                  </a:gsLst>
                  <a:path path="circle">
                    <a:fillToRect r="100000" b="100000"/>
                  </a:path>
                  <a:tileRect/>
                </a:gradFill>
                <a:effectLst/>
                <a:uLnTx/>
                <a:uFillTx/>
                <a:latin typeface="OPPOSans H" panose="00020600040101010101" pitchFamily="18" charset="-122"/>
                <a:ea typeface="OPPOSans H" panose="00020600040101010101" pitchFamily="18" charset="-122"/>
                <a:cs typeface="+mn-cs"/>
              </a:rPr>
              <a:t>更快更轻松</a:t>
            </a:r>
          </a:p>
        </p:txBody>
      </p:sp>
      <p:sp>
        <p:nvSpPr>
          <p:cNvPr id="11" name="稿定PPT-10-2">
            <a:extLst>
              <a:ext uri="{FF2B5EF4-FFF2-40B4-BE49-F238E27FC236}">
                <a16:creationId xmlns:a16="http://schemas.microsoft.com/office/drawing/2014/main" id="{EDBBF80D-B0C9-46C7-8BDC-A03190795032}"/>
              </a:ext>
            </a:extLst>
          </p:cNvPr>
          <p:cNvSpPr txBox="1"/>
          <p:nvPr/>
        </p:nvSpPr>
        <p:spPr>
          <a:xfrm>
            <a:off x="1220722" y="2491252"/>
            <a:ext cx="2115208" cy="745698"/>
          </a:xfrm>
          <a:prstGeom prst="rect">
            <a:avLst/>
          </a:prstGeom>
          <a:noFill/>
          <a:ln>
            <a:noFill/>
          </a:ln>
          <a:effectLst/>
        </p:spPr>
        <p:txBody>
          <a:bodyPr wrap="square" lIns="0" tIns="0" rIns="0" bIns="0" anchor="t" anchorCtr="0">
            <a:noAutofit/>
          </a:bodyPr>
          <a:lstStyle>
            <a:defPPr>
              <a:defRPr lang="zh-CN"/>
            </a:defPPr>
            <a:lvl1pPr marR="0" lvl="0" indent="0" algn="just" fontAlgn="auto">
              <a:lnSpc>
                <a:spcPct val="130000"/>
              </a:lnSpc>
              <a:spcBef>
                <a:spcPts val="0"/>
              </a:spcBef>
              <a:spcAft>
                <a:spcPts val="0"/>
              </a:spcAft>
              <a:buClrTx/>
              <a:buSzPct val="25000"/>
              <a:buFontTx/>
              <a:buNone/>
              <a:tabLst/>
              <a:defRPr kumimoji="0" sz="1400" b="0" i="0" u="none" strike="noStrike" cap="none" spc="0" normalizeH="0" baseline="0">
                <a:ln>
                  <a:noFill/>
                </a:ln>
                <a:solidFill>
                  <a:schemeClr val="tx1">
                    <a:lumMod val="75000"/>
                    <a:lumOff val="25000"/>
                  </a:schemeClr>
                </a:solidFill>
                <a:effectLst/>
                <a:uLnTx/>
                <a:uFillTx/>
                <a:latin typeface="+mn-ea"/>
              </a:defRPr>
            </a:lvl1pPr>
          </a:lstStyle>
          <a:p>
            <a:pPr marL="0" marR="0" lvl="0" indent="0" algn="r" defTabSz="914400" rtl="0" eaLnBrk="1" fontAlgn="auto" latinLnBrk="0" hangingPunct="1">
              <a:lnSpc>
                <a:spcPct val="130000"/>
              </a:lnSpc>
              <a:spcBef>
                <a:spcPts val="0"/>
              </a:spcBef>
              <a:spcAft>
                <a:spcPts val="0"/>
              </a:spcAft>
              <a:buClrTx/>
              <a:buSzPct val="25000"/>
              <a:buFontTx/>
              <a:buNone/>
              <a:tabLst/>
              <a:defRPr/>
            </a:pPr>
            <a:r>
              <a:rPr kumimoji="0" lang="zh-CN" altLang="en-US" sz="1200" b="0" i="0" u="none" strike="noStrike" kern="1200" cap="none" spc="0" normalizeH="0" baseline="0" noProof="0" dirty="0">
                <a:ln>
                  <a:noFill/>
                </a:ln>
                <a:solidFill>
                  <a:schemeClr val="accent1"/>
                </a:solidFill>
                <a:effectLst/>
                <a:uLnTx/>
                <a:uFillTx/>
                <a:latin typeface="OPPOSans L" panose="00020600040101010101" pitchFamily="18" charset="-122"/>
                <a:ea typeface="OPPOSans L" panose="00020600040101010101" pitchFamily="18" charset="-122"/>
                <a:cs typeface="+mn-cs"/>
              </a:rPr>
              <a:t>秋叶</a:t>
            </a:r>
            <a:r>
              <a:rPr kumimoji="0" lang="en-US" altLang="zh-CN" sz="1200" b="0" i="0" u="none" strike="noStrike" kern="1200" cap="none" spc="0" normalizeH="0" baseline="0" noProof="0" dirty="0">
                <a:ln>
                  <a:noFill/>
                </a:ln>
                <a:solidFill>
                  <a:schemeClr val="accent1"/>
                </a:solidFill>
                <a:effectLst/>
                <a:uLnTx/>
                <a:uFillTx/>
                <a:latin typeface="OPPOSans L" panose="00020600040101010101" pitchFamily="18" charset="-122"/>
                <a:ea typeface="OPPOSans L" panose="00020600040101010101" pitchFamily="18" charset="-122"/>
                <a:cs typeface="+mn-cs"/>
              </a:rPr>
              <a:t>PPT</a:t>
            </a:r>
            <a:r>
              <a:rPr kumimoji="0" lang="zh-CN" altLang="en-US" sz="1200" b="0" i="0" u="none" strike="noStrike" kern="1200" cap="none" spc="0" normalizeH="0" baseline="0" noProof="0" dirty="0">
                <a:ln>
                  <a:noFill/>
                </a:ln>
                <a:solidFill>
                  <a:schemeClr val="accent1"/>
                </a:solidFill>
                <a:effectLst/>
                <a:uLnTx/>
                <a:uFillTx/>
                <a:latin typeface="OPPOSans L" panose="00020600040101010101" pitchFamily="18" charset="-122"/>
                <a:ea typeface="OPPOSans L" panose="00020600040101010101" pitchFamily="18" charset="-122"/>
                <a:cs typeface="+mn-cs"/>
              </a:rPr>
              <a:t>拥有千余款模板，线上到插件同步上新，覆盖商务、教育、金融等多用途场景。</a:t>
            </a:r>
          </a:p>
        </p:txBody>
      </p:sp>
      <p:sp>
        <p:nvSpPr>
          <p:cNvPr id="14" name="弧形 13">
            <a:extLst>
              <a:ext uri="{FF2B5EF4-FFF2-40B4-BE49-F238E27FC236}">
                <a16:creationId xmlns:a16="http://schemas.microsoft.com/office/drawing/2014/main" id="{1EAF92BB-8CB2-4128-A916-56B69AED3F63}"/>
              </a:ext>
            </a:extLst>
          </p:cNvPr>
          <p:cNvSpPr/>
          <p:nvPr/>
        </p:nvSpPr>
        <p:spPr>
          <a:xfrm rot="16200000" flipV="1">
            <a:off x="1088031" y="3912076"/>
            <a:ext cx="2700000" cy="2700000"/>
          </a:xfrm>
          <a:prstGeom prst="arc">
            <a:avLst/>
          </a:prstGeom>
          <a:ln w="38100">
            <a:headEnd type="triangle"/>
          </a:ln>
        </p:spPr>
        <p:style>
          <a:lnRef idx="1">
            <a:schemeClr val="accent1"/>
          </a:lnRef>
          <a:fillRef idx="0">
            <a:schemeClr val="accent1"/>
          </a:fillRef>
          <a:effectRef idx="0">
            <a:schemeClr val="accent1"/>
          </a:effectRef>
          <a:fontRef idx="minor">
            <a:schemeClr val="tx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black"/>
              </a:solidFill>
              <a:effectLst/>
              <a:uLnTx/>
              <a:uFillTx/>
              <a:latin typeface="OPPOSans L" panose="00020600040101010101" pitchFamily="18" charset="-122"/>
              <a:ea typeface="OPPOSans L" panose="00020600040101010101" pitchFamily="18" charset="-122"/>
              <a:cs typeface="+mn-cs"/>
            </a:endParaRPr>
          </a:p>
        </p:txBody>
      </p:sp>
      <p:sp>
        <p:nvSpPr>
          <p:cNvPr id="15" name="文本框 14">
            <a:extLst>
              <a:ext uri="{FF2B5EF4-FFF2-40B4-BE49-F238E27FC236}">
                <a16:creationId xmlns:a16="http://schemas.microsoft.com/office/drawing/2014/main" id="{46C64ED6-6489-439B-BDBD-61BAEB245102}"/>
              </a:ext>
            </a:extLst>
          </p:cNvPr>
          <p:cNvSpPr txBox="1"/>
          <p:nvPr/>
        </p:nvSpPr>
        <p:spPr>
          <a:xfrm>
            <a:off x="1161391" y="5247402"/>
            <a:ext cx="2174539" cy="246221"/>
          </a:xfrm>
          <a:prstGeom prst="rect">
            <a:avLst/>
          </a:prstGeom>
          <a:noFill/>
        </p:spPr>
        <p:txBody>
          <a:bodyPr wrap="square" lIns="0" tIns="0" rIns="0" bIns="0" rtlCol="0">
            <a:spAutoFit/>
          </a:bodyPr>
          <a:lstStyle>
            <a:defPPr>
              <a:defRPr lang="zh-CN"/>
            </a:defPPr>
            <a:lvl1pPr algn="ctr">
              <a:defRPr>
                <a:gradFill>
                  <a:gsLst>
                    <a:gs pos="0">
                      <a:schemeClr val="accent1"/>
                    </a:gs>
                    <a:gs pos="100000">
                      <a:schemeClr val="accent2"/>
                    </a:gs>
                  </a:gsLst>
                  <a:path path="circle">
                    <a:fillToRect r="100000" b="100000"/>
                  </a:path>
                </a:gradFill>
                <a:latin typeface="+mj-ea"/>
                <a:ea typeface="+mj-ea"/>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zh-CN" altLang="en-US" sz="1600" b="0" i="0" u="none" strike="noStrike" kern="1200" cap="none" spc="0" normalizeH="0" baseline="0" noProof="0" dirty="0">
                <a:ln>
                  <a:noFill/>
                </a:ln>
                <a:gradFill flip="none" rotWithShape="1">
                  <a:gsLst>
                    <a:gs pos="0">
                      <a:schemeClr val="accent1"/>
                    </a:gs>
                    <a:gs pos="100000">
                      <a:srgbClr val="3B6D47"/>
                    </a:gs>
                  </a:gsLst>
                  <a:path path="circle">
                    <a:fillToRect r="100000" b="100000"/>
                  </a:path>
                  <a:tileRect/>
                </a:gradFill>
                <a:effectLst/>
                <a:uLnTx/>
                <a:uFillTx/>
                <a:latin typeface="OPPOSans H" panose="00020600040101010101" pitchFamily="18" charset="-122"/>
                <a:ea typeface="OPPOSans H" panose="00020600040101010101" pitchFamily="18" charset="-122"/>
                <a:cs typeface="+mn-cs"/>
              </a:rPr>
              <a:t>秋叶</a:t>
            </a:r>
            <a:r>
              <a:rPr kumimoji="0" lang="en-US" altLang="zh-CN" sz="1600" b="0" i="0" u="none" strike="noStrike" kern="1200" cap="none" spc="0" normalizeH="0" baseline="0" noProof="0" dirty="0">
                <a:ln>
                  <a:noFill/>
                </a:ln>
                <a:gradFill flip="none" rotWithShape="1">
                  <a:gsLst>
                    <a:gs pos="0">
                      <a:schemeClr val="accent1"/>
                    </a:gs>
                    <a:gs pos="100000">
                      <a:srgbClr val="3B6D47"/>
                    </a:gs>
                  </a:gsLst>
                  <a:path path="circle">
                    <a:fillToRect r="100000" b="100000"/>
                  </a:path>
                  <a:tileRect/>
                </a:gradFill>
                <a:effectLst/>
                <a:uLnTx/>
                <a:uFillTx/>
                <a:latin typeface="OPPOSans H" panose="00020600040101010101" pitchFamily="18" charset="-122"/>
                <a:ea typeface="OPPOSans H" panose="00020600040101010101" pitchFamily="18" charset="-122"/>
                <a:cs typeface="+mn-cs"/>
              </a:rPr>
              <a:t>PPT</a:t>
            </a:r>
            <a:r>
              <a:rPr kumimoji="0" lang="zh-CN" altLang="en-US" sz="1600" b="0" i="0" u="none" strike="noStrike" kern="1200" cap="none" spc="0" normalizeH="0" baseline="0" noProof="0" dirty="0">
                <a:ln>
                  <a:noFill/>
                </a:ln>
                <a:gradFill flip="none" rotWithShape="1">
                  <a:gsLst>
                    <a:gs pos="0">
                      <a:schemeClr val="accent1"/>
                    </a:gs>
                    <a:gs pos="100000">
                      <a:srgbClr val="3B6D47"/>
                    </a:gs>
                  </a:gsLst>
                  <a:path path="circle">
                    <a:fillToRect r="100000" b="100000"/>
                  </a:path>
                  <a:tileRect/>
                </a:gradFill>
                <a:effectLst/>
                <a:uLnTx/>
                <a:uFillTx/>
                <a:latin typeface="OPPOSans H" panose="00020600040101010101" pitchFamily="18" charset="-122"/>
                <a:ea typeface="OPPOSans H" panose="00020600040101010101" pitchFamily="18" charset="-122"/>
                <a:cs typeface="+mn-cs"/>
              </a:rPr>
              <a:t>更快更轻松</a:t>
            </a:r>
          </a:p>
        </p:txBody>
      </p:sp>
      <p:sp>
        <p:nvSpPr>
          <p:cNvPr id="16" name="稿定PPT-10-2">
            <a:extLst>
              <a:ext uri="{FF2B5EF4-FFF2-40B4-BE49-F238E27FC236}">
                <a16:creationId xmlns:a16="http://schemas.microsoft.com/office/drawing/2014/main" id="{BC3930CD-6DD1-476E-A780-1B58E4FBDC47}"/>
              </a:ext>
            </a:extLst>
          </p:cNvPr>
          <p:cNvSpPr txBox="1"/>
          <p:nvPr/>
        </p:nvSpPr>
        <p:spPr>
          <a:xfrm>
            <a:off x="1220722" y="4424938"/>
            <a:ext cx="2115208" cy="745698"/>
          </a:xfrm>
          <a:prstGeom prst="rect">
            <a:avLst/>
          </a:prstGeom>
          <a:noFill/>
          <a:ln>
            <a:noFill/>
          </a:ln>
          <a:effectLst/>
        </p:spPr>
        <p:txBody>
          <a:bodyPr wrap="square" lIns="0" tIns="0" rIns="0" bIns="0" anchor="t" anchorCtr="0">
            <a:noAutofit/>
          </a:bodyPr>
          <a:lstStyle>
            <a:defPPr>
              <a:defRPr lang="zh-CN"/>
            </a:defPPr>
            <a:lvl1pPr marR="0" lvl="0" indent="0" algn="just" fontAlgn="auto">
              <a:lnSpc>
                <a:spcPct val="130000"/>
              </a:lnSpc>
              <a:spcBef>
                <a:spcPts val="0"/>
              </a:spcBef>
              <a:spcAft>
                <a:spcPts val="0"/>
              </a:spcAft>
              <a:buClrTx/>
              <a:buSzPct val="25000"/>
              <a:buFontTx/>
              <a:buNone/>
              <a:tabLst/>
              <a:defRPr kumimoji="0" sz="1400" b="0" i="0" u="none" strike="noStrike" cap="none" spc="0" normalizeH="0" baseline="0">
                <a:ln>
                  <a:noFill/>
                </a:ln>
                <a:solidFill>
                  <a:schemeClr val="tx1">
                    <a:lumMod val="75000"/>
                    <a:lumOff val="25000"/>
                  </a:schemeClr>
                </a:solidFill>
                <a:effectLst/>
                <a:uLnTx/>
                <a:uFillTx/>
                <a:latin typeface="+mn-ea"/>
              </a:defRPr>
            </a:lvl1pPr>
          </a:lstStyle>
          <a:p>
            <a:pPr marL="0" marR="0" lvl="0" indent="0" algn="r" defTabSz="914400" rtl="0" eaLnBrk="1" fontAlgn="auto" latinLnBrk="0" hangingPunct="1">
              <a:lnSpc>
                <a:spcPct val="130000"/>
              </a:lnSpc>
              <a:spcBef>
                <a:spcPts val="0"/>
              </a:spcBef>
              <a:spcAft>
                <a:spcPts val="0"/>
              </a:spcAft>
              <a:buClrTx/>
              <a:buSzPct val="25000"/>
              <a:buFontTx/>
              <a:buNone/>
              <a:tabLst/>
              <a:defRPr/>
            </a:pPr>
            <a:r>
              <a:rPr kumimoji="0" lang="zh-CN" altLang="en-US" sz="1200" b="0" i="0" u="none" strike="noStrike" kern="1200" cap="none" spc="0" normalizeH="0" baseline="0" noProof="0" dirty="0">
                <a:ln>
                  <a:noFill/>
                </a:ln>
                <a:solidFill>
                  <a:schemeClr val="accent1"/>
                </a:solidFill>
                <a:effectLst/>
                <a:uLnTx/>
                <a:uFillTx/>
                <a:latin typeface="OPPOSans L" panose="00020600040101010101" pitchFamily="18" charset="-122"/>
                <a:ea typeface="OPPOSans L" panose="00020600040101010101" pitchFamily="18" charset="-122"/>
                <a:cs typeface="+mn-cs"/>
              </a:rPr>
              <a:t>秋叶</a:t>
            </a:r>
            <a:r>
              <a:rPr kumimoji="0" lang="en-US" altLang="zh-CN" sz="1200" b="0" i="0" u="none" strike="noStrike" kern="1200" cap="none" spc="0" normalizeH="0" baseline="0" noProof="0" dirty="0">
                <a:ln>
                  <a:noFill/>
                </a:ln>
                <a:solidFill>
                  <a:schemeClr val="accent1"/>
                </a:solidFill>
                <a:effectLst/>
                <a:uLnTx/>
                <a:uFillTx/>
                <a:latin typeface="OPPOSans L" panose="00020600040101010101" pitchFamily="18" charset="-122"/>
                <a:ea typeface="OPPOSans L" panose="00020600040101010101" pitchFamily="18" charset="-122"/>
                <a:cs typeface="+mn-cs"/>
              </a:rPr>
              <a:t>PPT</a:t>
            </a:r>
            <a:r>
              <a:rPr kumimoji="0" lang="zh-CN" altLang="en-US" sz="1200" b="0" i="0" u="none" strike="noStrike" kern="1200" cap="none" spc="0" normalizeH="0" baseline="0" noProof="0" dirty="0">
                <a:ln>
                  <a:noFill/>
                </a:ln>
                <a:solidFill>
                  <a:schemeClr val="accent1"/>
                </a:solidFill>
                <a:effectLst/>
                <a:uLnTx/>
                <a:uFillTx/>
                <a:latin typeface="OPPOSans L" panose="00020600040101010101" pitchFamily="18" charset="-122"/>
                <a:ea typeface="OPPOSans L" panose="00020600040101010101" pitchFamily="18" charset="-122"/>
                <a:cs typeface="+mn-cs"/>
              </a:rPr>
              <a:t>拥有千余款模板，线上到插件同步上新，覆盖商务、教育、金融等多用途场景。</a:t>
            </a:r>
          </a:p>
        </p:txBody>
      </p:sp>
      <p:sp>
        <p:nvSpPr>
          <p:cNvPr id="34" name="弧形 33">
            <a:extLst>
              <a:ext uri="{FF2B5EF4-FFF2-40B4-BE49-F238E27FC236}">
                <a16:creationId xmlns:a16="http://schemas.microsoft.com/office/drawing/2014/main" id="{CBE4F03B-A443-43B2-88D8-0A3E47B08667}"/>
              </a:ext>
            </a:extLst>
          </p:cNvPr>
          <p:cNvSpPr/>
          <p:nvPr/>
        </p:nvSpPr>
        <p:spPr>
          <a:xfrm rot="5400000">
            <a:off x="3970931" y="1092676"/>
            <a:ext cx="2700000" cy="2700000"/>
          </a:xfrm>
          <a:prstGeom prst="arc">
            <a:avLst/>
          </a:prstGeom>
          <a:ln w="38100">
            <a:headEnd type="triangle"/>
          </a:ln>
        </p:spPr>
        <p:style>
          <a:lnRef idx="1">
            <a:schemeClr val="accent1"/>
          </a:lnRef>
          <a:fillRef idx="0">
            <a:schemeClr val="accent1"/>
          </a:fillRef>
          <a:effectRef idx="0">
            <a:schemeClr val="accent1"/>
          </a:effectRef>
          <a:fontRef idx="minor">
            <a:schemeClr val="tx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black"/>
              </a:solidFill>
              <a:effectLst/>
              <a:uLnTx/>
              <a:uFillTx/>
              <a:latin typeface="OPPOSans L" panose="00020600040101010101" pitchFamily="18" charset="-122"/>
              <a:ea typeface="OPPOSans L" panose="00020600040101010101" pitchFamily="18" charset="-122"/>
              <a:cs typeface="+mn-cs"/>
            </a:endParaRPr>
          </a:p>
        </p:txBody>
      </p:sp>
      <p:sp>
        <p:nvSpPr>
          <p:cNvPr id="35" name="文本框 34">
            <a:extLst>
              <a:ext uri="{FF2B5EF4-FFF2-40B4-BE49-F238E27FC236}">
                <a16:creationId xmlns:a16="http://schemas.microsoft.com/office/drawing/2014/main" id="{F3F3B085-4967-4DA7-A8E0-E4AED141CEBF}"/>
              </a:ext>
            </a:extLst>
          </p:cNvPr>
          <p:cNvSpPr txBox="1"/>
          <p:nvPr/>
        </p:nvSpPr>
        <p:spPr>
          <a:xfrm>
            <a:off x="4044291" y="2118796"/>
            <a:ext cx="2174539" cy="246221"/>
          </a:xfrm>
          <a:prstGeom prst="rect">
            <a:avLst/>
          </a:prstGeom>
          <a:noFill/>
        </p:spPr>
        <p:txBody>
          <a:bodyPr wrap="square" lIns="0" tIns="0" rIns="0" bIns="0" rtlCol="0">
            <a:spAutoFit/>
          </a:bodyPr>
          <a:lstStyle>
            <a:defPPr>
              <a:defRPr lang="zh-CN"/>
            </a:defPPr>
            <a:lvl1pPr algn="ctr">
              <a:defRPr>
                <a:gradFill>
                  <a:gsLst>
                    <a:gs pos="0">
                      <a:schemeClr val="accent1"/>
                    </a:gs>
                    <a:gs pos="100000">
                      <a:schemeClr val="accent2"/>
                    </a:gs>
                  </a:gsLst>
                  <a:path path="circle">
                    <a:fillToRect r="100000" b="100000"/>
                  </a:path>
                </a:gradFill>
                <a:latin typeface="+mj-ea"/>
                <a:ea typeface="+mj-ea"/>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zh-CN" altLang="en-US" sz="1600" b="0" i="0" u="none" strike="noStrike" kern="1200" cap="none" spc="0" normalizeH="0" baseline="0" noProof="0" dirty="0">
                <a:ln>
                  <a:noFill/>
                </a:ln>
                <a:gradFill flip="none" rotWithShape="1">
                  <a:gsLst>
                    <a:gs pos="0">
                      <a:schemeClr val="accent1"/>
                    </a:gs>
                    <a:gs pos="100000">
                      <a:srgbClr val="3B6D47"/>
                    </a:gs>
                  </a:gsLst>
                  <a:path path="circle">
                    <a:fillToRect r="100000" b="100000"/>
                  </a:path>
                  <a:tileRect/>
                </a:gradFill>
                <a:effectLst/>
                <a:uLnTx/>
                <a:uFillTx/>
                <a:latin typeface="OPPOSans H" panose="00020600040101010101" pitchFamily="18" charset="-122"/>
                <a:ea typeface="OPPOSans H" panose="00020600040101010101" pitchFamily="18" charset="-122"/>
                <a:cs typeface="+mn-cs"/>
              </a:rPr>
              <a:t>秋叶</a:t>
            </a:r>
            <a:r>
              <a:rPr kumimoji="0" lang="en-US" altLang="zh-CN" sz="1600" b="0" i="0" u="none" strike="noStrike" kern="1200" cap="none" spc="0" normalizeH="0" baseline="0" noProof="0" dirty="0">
                <a:ln>
                  <a:noFill/>
                </a:ln>
                <a:gradFill flip="none" rotWithShape="1">
                  <a:gsLst>
                    <a:gs pos="0">
                      <a:schemeClr val="accent1"/>
                    </a:gs>
                    <a:gs pos="100000">
                      <a:srgbClr val="3B6D47"/>
                    </a:gs>
                  </a:gsLst>
                  <a:path path="circle">
                    <a:fillToRect r="100000" b="100000"/>
                  </a:path>
                  <a:tileRect/>
                </a:gradFill>
                <a:effectLst/>
                <a:uLnTx/>
                <a:uFillTx/>
                <a:latin typeface="OPPOSans H" panose="00020600040101010101" pitchFamily="18" charset="-122"/>
                <a:ea typeface="OPPOSans H" panose="00020600040101010101" pitchFamily="18" charset="-122"/>
                <a:cs typeface="+mn-cs"/>
              </a:rPr>
              <a:t>PPT</a:t>
            </a:r>
            <a:r>
              <a:rPr kumimoji="0" lang="zh-CN" altLang="en-US" sz="1600" b="0" i="0" u="none" strike="noStrike" kern="1200" cap="none" spc="0" normalizeH="0" baseline="0" noProof="0" dirty="0">
                <a:ln>
                  <a:noFill/>
                </a:ln>
                <a:gradFill flip="none" rotWithShape="1">
                  <a:gsLst>
                    <a:gs pos="0">
                      <a:schemeClr val="accent1"/>
                    </a:gs>
                    <a:gs pos="100000">
                      <a:srgbClr val="3B6D47"/>
                    </a:gs>
                  </a:gsLst>
                  <a:path path="circle">
                    <a:fillToRect r="100000" b="100000"/>
                  </a:path>
                  <a:tileRect/>
                </a:gradFill>
                <a:effectLst/>
                <a:uLnTx/>
                <a:uFillTx/>
                <a:latin typeface="OPPOSans H" panose="00020600040101010101" pitchFamily="18" charset="-122"/>
                <a:ea typeface="OPPOSans H" panose="00020600040101010101" pitchFamily="18" charset="-122"/>
                <a:cs typeface="+mn-cs"/>
              </a:rPr>
              <a:t>更快更轻松</a:t>
            </a:r>
          </a:p>
        </p:txBody>
      </p:sp>
      <p:sp>
        <p:nvSpPr>
          <p:cNvPr id="36" name="稿定PPT-10-2">
            <a:extLst>
              <a:ext uri="{FF2B5EF4-FFF2-40B4-BE49-F238E27FC236}">
                <a16:creationId xmlns:a16="http://schemas.microsoft.com/office/drawing/2014/main" id="{B6C2A641-7E48-4094-A25A-15A2DCC5A9C1}"/>
              </a:ext>
            </a:extLst>
          </p:cNvPr>
          <p:cNvSpPr txBox="1"/>
          <p:nvPr/>
        </p:nvSpPr>
        <p:spPr>
          <a:xfrm>
            <a:off x="4103622" y="2491252"/>
            <a:ext cx="2115208" cy="745698"/>
          </a:xfrm>
          <a:prstGeom prst="rect">
            <a:avLst/>
          </a:prstGeom>
          <a:noFill/>
          <a:ln>
            <a:noFill/>
          </a:ln>
          <a:effectLst/>
        </p:spPr>
        <p:txBody>
          <a:bodyPr wrap="square" lIns="0" tIns="0" rIns="0" bIns="0" anchor="t" anchorCtr="0">
            <a:noAutofit/>
          </a:bodyPr>
          <a:lstStyle>
            <a:defPPr>
              <a:defRPr lang="zh-CN"/>
            </a:defPPr>
            <a:lvl1pPr marR="0" lvl="0" indent="0" algn="just" fontAlgn="auto">
              <a:lnSpc>
                <a:spcPct val="130000"/>
              </a:lnSpc>
              <a:spcBef>
                <a:spcPts val="0"/>
              </a:spcBef>
              <a:spcAft>
                <a:spcPts val="0"/>
              </a:spcAft>
              <a:buClrTx/>
              <a:buSzPct val="25000"/>
              <a:buFontTx/>
              <a:buNone/>
              <a:tabLst/>
              <a:defRPr kumimoji="0" sz="1400" b="0" i="0" u="none" strike="noStrike" cap="none" spc="0" normalizeH="0" baseline="0">
                <a:ln>
                  <a:noFill/>
                </a:ln>
                <a:solidFill>
                  <a:schemeClr val="tx1">
                    <a:lumMod val="75000"/>
                    <a:lumOff val="25000"/>
                  </a:schemeClr>
                </a:solidFill>
                <a:effectLst/>
                <a:uLnTx/>
                <a:uFillTx/>
                <a:latin typeface="+mn-ea"/>
              </a:defRPr>
            </a:lvl1pPr>
          </a:lstStyle>
          <a:p>
            <a:pPr marL="0" marR="0" lvl="0" indent="0" algn="r" defTabSz="914400" rtl="0" eaLnBrk="1" fontAlgn="auto" latinLnBrk="0" hangingPunct="1">
              <a:lnSpc>
                <a:spcPct val="130000"/>
              </a:lnSpc>
              <a:spcBef>
                <a:spcPts val="0"/>
              </a:spcBef>
              <a:spcAft>
                <a:spcPts val="0"/>
              </a:spcAft>
              <a:buClrTx/>
              <a:buSzPct val="25000"/>
              <a:buFontTx/>
              <a:buNone/>
              <a:tabLst/>
              <a:defRPr/>
            </a:pPr>
            <a:r>
              <a:rPr kumimoji="0" lang="zh-CN" altLang="en-US" sz="1200" b="0" i="0" u="none" strike="noStrike" kern="1200" cap="none" spc="0" normalizeH="0" baseline="0" noProof="0" dirty="0">
                <a:ln>
                  <a:noFill/>
                </a:ln>
                <a:solidFill>
                  <a:schemeClr val="accent1"/>
                </a:solidFill>
                <a:effectLst/>
                <a:uLnTx/>
                <a:uFillTx/>
                <a:latin typeface="OPPOSans L" panose="00020600040101010101" pitchFamily="18" charset="-122"/>
                <a:ea typeface="OPPOSans L" panose="00020600040101010101" pitchFamily="18" charset="-122"/>
                <a:cs typeface="+mn-cs"/>
              </a:rPr>
              <a:t>秋叶</a:t>
            </a:r>
            <a:r>
              <a:rPr kumimoji="0" lang="en-US" altLang="zh-CN" sz="1200" b="0" i="0" u="none" strike="noStrike" kern="1200" cap="none" spc="0" normalizeH="0" baseline="0" noProof="0" dirty="0">
                <a:ln>
                  <a:noFill/>
                </a:ln>
                <a:solidFill>
                  <a:schemeClr val="accent1"/>
                </a:solidFill>
                <a:effectLst/>
                <a:uLnTx/>
                <a:uFillTx/>
                <a:latin typeface="OPPOSans L" panose="00020600040101010101" pitchFamily="18" charset="-122"/>
                <a:ea typeface="OPPOSans L" panose="00020600040101010101" pitchFamily="18" charset="-122"/>
                <a:cs typeface="+mn-cs"/>
              </a:rPr>
              <a:t>PPT</a:t>
            </a:r>
            <a:r>
              <a:rPr kumimoji="0" lang="zh-CN" altLang="en-US" sz="1200" b="0" i="0" u="none" strike="noStrike" kern="1200" cap="none" spc="0" normalizeH="0" baseline="0" noProof="0" dirty="0">
                <a:ln>
                  <a:noFill/>
                </a:ln>
                <a:solidFill>
                  <a:schemeClr val="accent1"/>
                </a:solidFill>
                <a:effectLst/>
                <a:uLnTx/>
                <a:uFillTx/>
                <a:latin typeface="OPPOSans L" panose="00020600040101010101" pitchFamily="18" charset="-122"/>
                <a:ea typeface="OPPOSans L" panose="00020600040101010101" pitchFamily="18" charset="-122"/>
                <a:cs typeface="+mn-cs"/>
              </a:rPr>
              <a:t>拥有千余款模板，线上到插件同步上新，覆盖商务、教育、金融等多用途场景。</a:t>
            </a:r>
          </a:p>
        </p:txBody>
      </p:sp>
      <p:sp>
        <p:nvSpPr>
          <p:cNvPr id="31" name="弧形 30">
            <a:extLst>
              <a:ext uri="{FF2B5EF4-FFF2-40B4-BE49-F238E27FC236}">
                <a16:creationId xmlns:a16="http://schemas.microsoft.com/office/drawing/2014/main" id="{EE7CCC33-1502-4F00-AE18-EFE1D3097651}"/>
              </a:ext>
            </a:extLst>
          </p:cNvPr>
          <p:cNvSpPr/>
          <p:nvPr/>
        </p:nvSpPr>
        <p:spPr>
          <a:xfrm rot="16200000" flipV="1">
            <a:off x="3970931" y="3912076"/>
            <a:ext cx="2700000" cy="2700000"/>
          </a:xfrm>
          <a:prstGeom prst="arc">
            <a:avLst/>
          </a:prstGeom>
          <a:ln w="38100">
            <a:headEnd type="triangle"/>
          </a:ln>
        </p:spPr>
        <p:style>
          <a:lnRef idx="1">
            <a:schemeClr val="accent1"/>
          </a:lnRef>
          <a:fillRef idx="0">
            <a:schemeClr val="accent1"/>
          </a:fillRef>
          <a:effectRef idx="0">
            <a:schemeClr val="accent1"/>
          </a:effectRef>
          <a:fontRef idx="minor">
            <a:schemeClr val="tx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black"/>
              </a:solidFill>
              <a:effectLst/>
              <a:uLnTx/>
              <a:uFillTx/>
              <a:latin typeface="OPPOSans L" panose="00020600040101010101" pitchFamily="18" charset="-122"/>
              <a:ea typeface="OPPOSans L" panose="00020600040101010101" pitchFamily="18" charset="-122"/>
              <a:cs typeface="+mn-cs"/>
            </a:endParaRPr>
          </a:p>
        </p:txBody>
      </p:sp>
      <p:sp>
        <p:nvSpPr>
          <p:cNvPr id="32" name="文本框 31">
            <a:extLst>
              <a:ext uri="{FF2B5EF4-FFF2-40B4-BE49-F238E27FC236}">
                <a16:creationId xmlns:a16="http://schemas.microsoft.com/office/drawing/2014/main" id="{A55432AB-979F-4DE1-B8D4-243EA4DB561C}"/>
              </a:ext>
            </a:extLst>
          </p:cNvPr>
          <p:cNvSpPr txBox="1"/>
          <p:nvPr/>
        </p:nvSpPr>
        <p:spPr>
          <a:xfrm>
            <a:off x="4044291" y="5247402"/>
            <a:ext cx="2174539" cy="246221"/>
          </a:xfrm>
          <a:prstGeom prst="rect">
            <a:avLst/>
          </a:prstGeom>
          <a:noFill/>
        </p:spPr>
        <p:txBody>
          <a:bodyPr wrap="square" lIns="0" tIns="0" rIns="0" bIns="0" rtlCol="0">
            <a:spAutoFit/>
          </a:bodyPr>
          <a:lstStyle>
            <a:defPPr>
              <a:defRPr lang="zh-CN"/>
            </a:defPPr>
            <a:lvl1pPr algn="ctr">
              <a:defRPr>
                <a:gradFill>
                  <a:gsLst>
                    <a:gs pos="0">
                      <a:schemeClr val="accent1"/>
                    </a:gs>
                    <a:gs pos="100000">
                      <a:schemeClr val="accent2"/>
                    </a:gs>
                  </a:gsLst>
                  <a:path path="circle">
                    <a:fillToRect r="100000" b="100000"/>
                  </a:path>
                </a:gradFill>
                <a:latin typeface="+mj-ea"/>
                <a:ea typeface="+mj-ea"/>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zh-CN" altLang="en-US" sz="1600" b="0" i="0" u="none" strike="noStrike" kern="1200" cap="none" spc="0" normalizeH="0" baseline="0" noProof="0" dirty="0">
                <a:ln>
                  <a:noFill/>
                </a:ln>
                <a:gradFill flip="none" rotWithShape="1">
                  <a:gsLst>
                    <a:gs pos="0">
                      <a:schemeClr val="accent1"/>
                    </a:gs>
                    <a:gs pos="100000">
                      <a:srgbClr val="3B6D47"/>
                    </a:gs>
                  </a:gsLst>
                  <a:path path="circle">
                    <a:fillToRect r="100000" b="100000"/>
                  </a:path>
                  <a:tileRect/>
                </a:gradFill>
                <a:effectLst/>
                <a:uLnTx/>
                <a:uFillTx/>
                <a:latin typeface="OPPOSans H" panose="00020600040101010101" pitchFamily="18" charset="-122"/>
                <a:ea typeface="OPPOSans H" panose="00020600040101010101" pitchFamily="18" charset="-122"/>
                <a:cs typeface="+mn-cs"/>
              </a:rPr>
              <a:t>秋叶</a:t>
            </a:r>
            <a:r>
              <a:rPr kumimoji="0" lang="en-US" altLang="zh-CN" sz="1600" b="0" i="0" u="none" strike="noStrike" kern="1200" cap="none" spc="0" normalizeH="0" baseline="0" noProof="0" dirty="0">
                <a:ln>
                  <a:noFill/>
                </a:ln>
                <a:gradFill flip="none" rotWithShape="1">
                  <a:gsLst>
                    <a:gs pos="0">
                      <a:schemeClr val="accent1"/>
                    </a:gs>
                    <a:gs pos="100000">
                      <a:srgbClr val="3B6D47"/>
                    </a:gs>
                  </a:gsLst>
                  <a:path path="circle">
                    <a:fillToRect r="100000" b="100000"/>
                  </a:path>
                  <a:tileRect/>
                </a:gradFill>
                <a:effectLst/>
                <a:uLnTx/>
                <a:uFillTx/>
                <a:latin typeface="OPPOSans H" panose="00020600040101010101" pitchFamily="18" charset="-122"/>
                <a:ea typeface="OPPOSans H" panose="00020600040101010101" pitchFamily="18" charset="-122"/>
                <a:cs typeface="+mn-cs"/>
              </a:rPr>
              <a:t>PPT</a:t>
            </a:r>
            <a:r>
              <a:rPr kumimoji="0" lang="zh-CN" altLang="en-US" sz="1600" b="0" i="0" u="none" strike="noStrike" kern="1200" cap="none" spc="0" normalizeH="0" baseline="0" noProof="0" dirty="0">
                <a:ln>
                  <a:noFill/>
                </a:ln>
                <a:gradFill flip="none" rotWithShape="1">
                  <a:gsLst>
                    <a:gs pos="0">
                      <a:schemeClr val="accent1"/>
                    </a:gs>
                    <a:gs pos="100000">
                      <a:srgbClr val="3B6D47"/>
                    </a:gs>
                  </a:gsLst>
                  <a:path path="circle">
                    <a:fillToRect r="100000" b="100000"/>
                  </a:path>
                  <a:tileRect/>
                </a:gradFill>
                <a:effectLst/>
                <a:uLnTx/>
                <a:uFillTx/>
                <a:latin typeface="OPPOSans H" panose="00020600040101010101" pitchFamily="18" charset="-122"/>
                <a:ea typeface="OPPOSans H" panose="00020600040101010101" pitchFamily="18" charset="-122"/>
                <a:cs typeface="+mn-cs"/>
              </a:rPr>
              <a:t>更快更轻松</a:t>
            </a:r>
          </a:p>
        </p:txBody>
      </p:sp>
      <p:sp>
        <p:nvSpPr>
          <p:cNvPr id="33" name="稿定PPT-10-2">
            <a:extLst>
              <a:ext uri="{FF2B5EF4-FFF2-40B4-BE49-F238E27FC236}">
                <a16:creationId xmlns:a16="http://schemas.microsoft.com/office/drawing/2014/main" id="{7DDE93E2-F2FA-47BD-B343-CC99B18007ED}"/>
              </a:ext>
            </a:extLst>
          </p:cNvPr>
          <p:cNvSpPr txBox="1"/>
          <p:nvPr/>
        </p:nvSpPr>
        <p:spPr>
          <a:xfrm>
            <a:off x="4103622" y="4424938"/>
            <a:ext cx="2115208" cy="745698"/>
          </a:xfrm>
          <a:prstGeom prst="rect">
            <a:avLst/>
          </a:prstGeom>
          <a:noFill/>
          <a:ln>
            <a:noFill/>
          </a:ln>
          <a:effectLst/>
        </p:spPr>
        <p:txBody>
          <a:bodyPr wrap="square" lIns="0" tIns="0" rIns="0" bIns="0" anchor="t" anchorCtr="0">
            <a:noAutofit/>
          </a:bodyPr>
          <a:lstStyle>
            <a:defPPr>
              <a:defRPr lang="zh-CN"/>
            </a:defPPr>
            <a:lvl1pPr marR="0" lvl="0" indent="0" algn="just" fontAlgn="auto">
              <a:lnSpc>
                <a:spcPct val="130000"/>
              </a:lnSpc>
              <a:spcBef>
                <a:spcPts val="0"/>
              </a:spcBef>
              <a:spcAft>
                <a:spcPts val="0"/>
              </a:spcAft>
              <a:buClrTx/>
              <a:buSzPct val="25000"/>
              <a:buFontTx/>
              <a:buNone/>
              <a:tabLst/>
              <a:defRPr kumimoji="0" sz="1400" b="0" i="0" u="none" strike="noStrike" cap="none" spc="0" normalizeH="0" baseline="0">
                <a:ln>
                  <a:noFill/>
                </a:ln>
                <a:solidFill>
                  <a:schemeClr val="tx1">
                    <a:lumMod val="75000"/>
                    <a:lumOff val="25000"/>
                  </a:schemeClr>
                </a:solidFill>
                <a:effectLst/>
                <a:uLnTx/>
                <a:uFillTx/>
                <a:latin typeface="+mn-ea"/>
              </a:defRPr>
            </a:lvl1pPr>
          </a:lstStyle>
          <a:p>
            <a:pPr marL="0" marR="0" lvl="0" indent="0" algn="r" defTabSz="914400" rtl="0" eaLnBrk="1" fontAlgn="auto" latinLnBrk="0" hangingPunct="1">
              <a:lnSpc>
                <a:spcPct val="130000"/>
              </a:lnSpc>
              <a:spcBef>
                <a:spcPts val="0"/>
              </a:spcBef>
              <a:spcAft>
                <a:spcPts val="0"/>
              </a:spcAft>
              <a:buClrTx/>
              <a:buSzPct val="25000"/>
              <a:buFontTx/>
              <a:buNone/>
              <a:tabLst/>
              <a:defRPr/>
            </a:pPr>
            <a:r>
              <a:rPr kumimoji="0" lang="zh-CN" altLang="en-US" sz="1200" b="0" i="0" u="none" strike="noStrike" kern="1200" cap="none" spc="0" normalizeH="0" baseline="0" noProof="0" dirty="0">
                <a:ln>
                  <a:noFill/>
                </a:ln>
                <a:solidFill>
                  <a:schemeClr val="accent1"/>
                </a:solidFill>
                <a:effectLst/>
                <a:uLnTx/>
                <a:uFillTx/>
                <a:latin typeface="OPPOSans L" panose="00020600040101010101" pitchFamily="18" charset="-122"/>
                <a:ea typeface="OPPOSans L" panose="00020600040101010101" pitchFamily="18" charset="-122"/>
                <a:cs typeface="+mn-cs"/>
              </a:rPr>
              <a:t>秋叶</a:t>
            </a:r>
            <a:r>
              <a:rPr kumimoji="0" lang="en-US" altLang="zh-CN" sz="1200" b="0" i="0" u="none" strike="noStrike" kern="1200" cap="none" spc="0" normalizeH="0" baseline="0" noProof="0" dirty="0">
                <a:ln>
                  <a:noFill/>
                </a:ln>
                <a:solidFill>
                  <a:schemeClr val="accent1"/>
                </a:solidFill>
                <a:effectLst/>
                <a:uLnTx/>
                <a:uFillTx/>
                <a:latin typeface="OPPOSans L" panose="00020600040101010101" pitchFamily="18" charset="-122"/>
                <a:ea typeface="OPPOSans L" panose="00020600040101010101" pitchFamily="18" charset="-122"/>
                <a:cs typeface="+mn-cs"/>
              </a:rPr>
              <a:t>PPT</a:t>
            </a:r>
            <a:r>
              <a:rPr kumimoji="0" lang="zh-CN" altLang="en-US" sz="1200" b="0" i="0" u="none" strike="noStrike" kern="1200" cap="none" spc="0" normalizeH="0" baseline="0" noProof="0" dirty="0">
                <a:ln>
                  <a:noFill/>
                </a:ln>
                <a:solidFill>
                  <a:schemeClr val="accent1"/>
                </a:solidFill>
                <a:effectLst/>
                <a:uLnTx/>
                <a:uFillTx/>
                <a:latin typeface="OPPOSans L" panose="00020600040101010101" pitchFamily="18" charset="-122"/>
                <a:ea typeface="OPPOSans L" panose="00020600040101010101" pitchFamily="18" charset="-122"/>
                <a:cs typeface="+mn-cs"/>
              </a:rPr>
              <a:t>拥有千余款模板，线上到插件同步上新，覆盖商务、教育、金融等多用途场景。</a:t>
            </a:r>
          </a:p>
        </p:txBody>
      </p:sp>
      <p:sp>
        <p:nvSpPr>
          <p:cNvPr id="52" name="弧形 51">
            <a:extLst>
              <a:ext uri="{FF2B5EF4-FFF2-40B4-BE49-F238E27FC236}">
                <a16:creationId xmlns:a16="http://schemas.microsoft.com/office/drawing/2014/main" id="{B56E04EC-B2AA-4CBF-8B46-0D896ACF22F6}"/>
              </a:ext>
            </a:extLst>
          </p:cNvPr>
          <p:cNvSpPr/>
          <p:nvPr/>
        </p:nvSpPr>
        <p:spPr>
          <a:xfrm rot="5400000">
            <a:off x="6885581" y="1092676"/>
            <a:ext cx="2700000" cy="2700000"/>
          </a:xfrm>
          <a:prstGeom prst="arc">
            <a:avLst/>
          </a:prstGeom>
          <a:ln w="38100">
            <a:headEnd type="triangle"/>
          </a:ln>
        </p:spPr>
        <p:style>
          <a:lnRef idx="1">
            <a:schemeClr val="accent1"/>
          </a:lnRef>
          <a:fillRef idx="0">
            <a:schemeClr val="accent1"/>
          </a:fillRef>
          <a:effectRef idx="0">
            <a:schemeClr val="accent1"/>
          </a:effectRef>
          <a:fontRef idx="minor">
            <a:schemeClr val="tx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black"/>
              </a:solidFill>
              <a:effectLst/>
              <a:uLnTx/>
              <a:uFillTx/>
              <a:latin typeface="OPPOSans L" panose="00020600040101010101" pitchFamily="18" charset="-122"/>
              <a:ea typeface="OPPOSans L" panose="00020600040101010101" pitchFamily="18" charset="-122"/>
              <a:cs typeface="+mn-cs"/>
            </a:endParaRPr>
          </a:p>
        </p:txBody>
      </p:sp>
      <p:sp>
        <p:nvSpPr>
          <p:cNvPr id="53" name="文本框 52">
            <a:extLst>
              <a:ext uri="{FF2B5EF4-FFF2-40B4-BE49-F238E27FC236}">
                <a16:creationId xmlns:a16="http://schemas.microsoft.com/office/drawing/2014/main" id="{9D44A964-76C7-4AF7-8A43-E0DD19EB1A03}"/>
              </a:ext>
            </a:extLst>
          </p:cNvPr>
          <p:cNvSpPr txBox="1"/>
          <p:nvPr/>
        </p:nvSpPr>
        <p:spPr>
          <a:xfrm>
            <a:off x="6958941" y="2118796"/>
            <a:ext cx="2174539" cy="246221"/>
          </a:xfrm>
          <a:prstGeom prst="rect">
            <a:avLst/>
          </a:prstGeom>
          <a:noFill/>
        </p:spPr>
        <p:txBody>
          <a:bodyPr wrap="square" lIns="0" tIns="0" rIns="0" bIns="0" rtlCol="0">
            <a:spAutoFit/>
          </a:bodyPr>
          <a:lstStyle>
            <a:defPPr>
              <a:defRPr lang="zh-CN"/>
            </a:defPPr>
            <a:lvl1pPr algn="ctr">
              <a:defRPr>
                <a:gradFill>
                  <a:gsLst>
                    <a:gs pos="0">
                      <a:schemeClr val="accent1"/>
                    </a:gs>
                    <a:gs pos="100000">
                      <a:schemeClr val="accent2"/>
                    </a:gs>
                  </a:gsLst>
                  <a:path path="circle">
                    <a:fillToRect r="100000" b="100000"/>
                  </a:path>
                </a:gradFill>
                <a:latin typeface="+mj-ea"/>
                <a:ea typeface="+mj-ea"/>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zh-CN" altLang="en-US" sz="1600" b="0" i="0" u="none" strike="noStrike" kern="1200" cap="none" spc="0" normalizeH="0" baseline="0" noProof="0" dirty="0">
                <a:ln>
                  <a:noFill/>
                </a:ln>
                <a:gradFill flip="none" rotWithShape="1">
                  <a:gsLst>
                    <a:gs pos="0">
                      <a:schemeClr val="accent1"/>
                    </a:gs>
                    <a:gs pos="100000">
                      <a:srgbClr val="3B6D47"/>
                    </a:gs>
                  </a:gsLst>
                  <a:path path="circle">
                    <a:fillToRect r="100000" b="100000"/>
                  </a:path>
                  <a:tileRect/>
                </a:gradFill>
                <a:effectLst/>
                <a:uLnTx/>
                <a:uFillTx/>
                <a:latin typeface="OPPOSans H" panose="00020600040101010101" pitchFamily="18" charset="-122"/>
                <a:ea typeface="OPPOSans H" panose="00020600040101010101" pitchFamily="18" charset="-122"/>
                <a:cs typeface="+mn-cs"/>
              </a:rPr>
              <a:t>秋叶</a:t>
            </a:r>
            <a:r>
              <a:rPr kumimoji="0" lang="en-US" altLang="zh-CN" sz="1600" b="0" i="0" u="none" strike="noStrike" kern="1200" cap="none" spc="0" normalizeH="0" baseline="0" noProof="0" dirty="0">
                <a:ln>
                  <a:noFill/>
                </a:ln>
                <a:gradFill flip="none" rotWithShape="1">
                  <a:gsLst>
                    <a:gs pos="0">
                      <a:schemeClr val="accent1"/>
                    </a:gs>
                    <a:gs pos="100000">
                      <a:srgbClr val="3B6D47"/>
                    </a:gs>
                  </a:gsLst>
                  <a:path path="circle">
                    <a:fillToRect r="100000" b="100000"/>
                  </a:path>
                  <a:tileRect/>
                </a:gradFill>
                <a:effectLst/>
                <a:uLnTx/>
                <a:uFillTx/>
                <a:latin typeface="OPPOSans H" panose="00020600040101010101" pitchFamily="18" charset="-122"/>
                <a:ea typeface="OPPOSans H" panose="00020600040101010101" pitchFamily="18" charset="-122"/>
                <a:cs typeface="+mn-cs"/>
              </a:rPr>
              <a:t>PPT</a:t>
            </a:r>
            <a:r>
              <a:rPr kumimoji="0" lang="zh-CN" altLang="en-US" sz="1600" b="0" i="0" u="none" strike="noStrike" kern="1200" cap="none" spc="0" normalizeH="0" baseline="0" noProof="0" dirty="0">
                <a:ln>
                  <a:noFill/>
                </a:ln>
                <a:gradFill flip="none" rotWithShape="1">
                  <a:gsLst>
                    <a:gs pos="0">
                      <a:schemeClr val="accent1"/>
                    </a:gs>
                    <a:gs pos="100000">
                      <a:srgbClr val="3B6D47"/>
                    </a:gs>
                  </a:gsLst>
                  <a:path path="circle">
                    <a:fillToRect r="100000" b="100000"/>
                  </a:path>
                  <a:tileRect/>
                </a:gradFill>
                <a:effectLst/>
                <a:uLnTx/>
                <a:uFillTx/>
                <a:latin typeface="OPPOSans H" panose="00020600040101010101" pitchFamily="18" charset="-122"/>
                <a:ea typeface="OPPOSans H" panose="00020600040101010101" pitchFamily="18" charset="-122"/>
                <a:cs typeface="+mn-cs"/>
              </a:rPr>
              <a:t>更快更轻松</a:t>
            </a:r>
          </a:p>
        </p:txBody>
      </p:sp>
      <p:sp>
        <p:nvSpPr>
          <p:cNvPr id="54" name="稿定PPT-10-2">
            <a:extLst>
              <a:ext uri="{FF2B5EF4-FFF2-40B4-BE49-F238E27FC236}">
                <a16:creationId xmlns:a16="http://schemas.microsoft.com/office/drawing/2014/main" id="{FDDE5964-105F-4A18-9270-35E5582911D7}"/>
              </a:ext>
            </a:extLst>
          </p:cNvPr>
          <p:cNvSpPr txBox="1"/>
          <p:nvPr/>
        </p:nvSpPr>
        <p:spPr>
          <a:xfrm>
            <a:off x="7018272" y="2491252"/>
            <a:ext cx="2115208" cy="745698"/>
          </a:xfrm>
          <a:prstGeom prst="rect">
            <a:avLst/>
          </a:prstGeom>
          <a:noFill/>
          <a:ln>
            <a:noFill/>
          </a:ln>
          <a:effectLst/>
        </p:spPr>
        <p:txBody>
          <a:bodyPr wrap="square" lIns="0" tIns="0" rIns="0" bIns="0" anchor="t" anchorCtr="0">
            <a:noAutofit/>
          </a:bodyPr>
          <a:lstStyle>
            <a:defPPr>
              <a:defRPr lang="zh-CN"/>
            </a:defPPr>
            <a:lvl1pPr marR="0" lvl="0" indent="0" algn="just" fontAlgn="auto">
              <a:lnSpc>
                <a:spcPct val="130000"/>
              </a:lnSpc>
              <a:spcBef>
                <a:spcPts val="0"/>
              </a:spcBef>
              <a:spcAft>
                <a:spcPts val="0"/>
              </a:spcAft>
              <a:buClrTx/>
              <a:buSzPct val="25000"/>
              <a:buFontTx/>
              <a:buNone/>
              <a:tabLst/>
              <a:defRPr kumimoji="0" sz="1400" b="0" i="0" u="none" strike="noStrike" cap="none" spc="0" normalizeH="0" baseline="0">
                <a:ln>
                  <a:noFill/>
                </a:ln>
                <a:solidFill>
                  <a:schemeClr val="tx1">
                    <a:lumMod val="75000"/>
                    <a:lumOff val="25000"/>
                  </a:schemeClr>
                </a:solidFill>
                <a:effectLst/>
                <a:uLnTx/>
                <a:uFillTx/>
                <a:latin typeface="+mn-ea"/>
              </a:defRPr>
            </a:lvl1pPr>
          </a:lstStyle>
          <a:p>
            <a:pPr marL="0" marR="0" lvl="0" indent="0" algn="r" defTabSz="914400" rtl="0" eaLnBrk="1" fontAlgn="auto" latinLnBrk="0" hangingPunct="1">
              <a:lnSpc>
                <a:spcPct val="130000"/>
              </a:lnSpc>
              <a:spcBef>
                <a:spcPts val="0"/>
              </a:spcBef>
              <a:spcAft>
                <a:spcPts val="0"/>
              </a:spcAft>
              <a:buClrTx/>
              <a:buSzPct val="25000"/>
              <a:buFontTx/>
              <a:buNone/>
              <a:tabLst/>
              <a:defRPr/>
            </a:pPr>
            <a:r>
              <a:rPr kumimoji="0" lang="zh-CN" altLang="en-US" sz="1200" b="0" i="0" u="none" strike="noStrike" kern="1200" cap="none" spc="0" normalizeH="0" baseline="0" noProof="0" dirty="0">
                <a:ln>
                  <a:noFill/>
                </a:ln>
                <a:solidFill>
                  <a:schemeClr val="accent1"/>
                </a:solidFill>
                <a:effectLst/>
                <a:uLnTx/>
                <a:uFillTx/>
                <a:latin typeface="OPPOSans L" panose="00020600040101010101" pitchFamily="18" charset="-122"/>
                <a:ea typeface="OPPOSans L" panose="00020600040101010101" pitchFamily="18" charset="-122"/>
                <a:cs typeface="+mn-cs"/>
              </a:rPr>
              <a:t>秋叶</a:t>
            </a:r>
            <a:r>
              <a:rPr kumimoji="0" lang="en-US" altLang="zh-CN" sz="1200" b="0" i="0" u="none" strike="noStrike" kern="1200" cap="none" spc="0" normalizeH="0" baseline="0" noProof="0" dirty="0">
                <a:ln>
                  <a:noFill/>
                </a:ln>
                <a:solidFill>
                  <a:schemeClr val="accent1"/>
                </a:solidFill>
                <a:effectLst/>
                <a:uLnTx/>
                <a:uFillTx/>
                <a:latin typeface="OPPOSans L" panose="00020600040101010101" pitchFamily="18" charset="-122"/>
                <a:ea typeface="OPPOSans L" panose="00020600040101010101" pitchFamily="18" charset="-122"/>
                <a:cs typeface="+mn-cs"/>
              </a:rPr>
              <a:t>PPT</a:t>
            </a:r>
            <a:r>
              <a:rPr kumimoji="0" lang="zh-CN" altLang="en-US" sz="1200" b="0" i="0" u="none" strike="noStrike" kern="1200" cap="none" spc="0" normalizeH="0" baseline="0" noProof="0" dirty="0">
                <a:ln>
                  <a:noFill/>
                </a:ln>
                <a:solidFill>
                  <a:schemeClr val="accent1"/>
                </a:solidFill>
                <a:effectLst/>
                <a:uLnTx/>
                <a:uFillTx/>
                <a:latin typeface="OPPOSans L" panose="00020600040101010101" pitchFamily="18" charset="-122"/>
                <a:ea typeface="OPPOSans L" panose="00020600040101010101" pitchFamily="18" charset="-122"/>
                <a:cs typeface="+mn-cs"/>
              </a:rPr>
              <a:t>拥有千余款模板，线上到插件同步上新，覆盖商务、教育、金融等多用途场景。</a:t>
            </a:r>
          </a:p>
        </p:txBody>
      </p:sp>
      <p:sp>
        <p:nvSpPr>
          <p:cNvPr id="49" name="弧形 48">
            <a:extLst>
              <a:ext uri="{FF2B5EF4-FFF2-40B4-BE49-F238E27FC236}">
                <a16:creationId xmlns:a16="http://schemas.microsoft.com/office/drawing/2014/main" id="{0811053F-275C-437F-AED6-AE01C693E2FD}"/>
              </a:ext>
            </a:extLst>
          </p:cNvPr>
          <p:cNvSpPr/>
          <p:nvPr/>
        </p:nvSpPr>
        <p:spPr>
          <a:xfrm rot="16200000" flipV="1">
            <a:off x="6885581" y="3912076"/>
            <a:ext cx="2700000" cy="2700000"/>
          </a:xfrm>
          <a:prstGeom prst="arc">
            <a:avLst/>
          </a:prstGeom>
          <a:ln w="38100">
            <a:headEnd type="triangle"/>
          </a:ln>
        </p:spPr>
        <p:style>
          <a:lnRef idx="1">
            <a:schemeClr val="accent1"/>
          </a:lnRef>
          <a:fillRef idx="0">
            <a:schemeClr val="accent1"/>
          </a:fillRef>
          <a:effectRef idx="0">
            <a:schemeClr val="accent1"/>
          </a:effectRef>
          <a:fontRef idx="minor">
            <a:schemeClr val="tx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black"/>
              </a:solidFill>
              <a:effectLst/>
              <a:uLnTx/>
              <a:uFillTx/>
              <a:latin typeface="OPPOSans L" panose="00020600040101010101" pitchFamily="18" charset="-122"/>
              <a:ea typeface="OPPOSans L" panose="00020600040101010101" pitchFamily="18" charset="-122"/>
              <a:cs typeface="+mn-cs"/>
            </a:endParaRPr>
          </a:p>
        </p:txBody>
      </p:sp>
      <p:sp>
        <p:nvSpPr>
          <p:cNvPr id="50" name="文本框 49">
            <a:extLst>
              <a:ext uri="{FF2B5EF4-FFF2-40B4-BE49-F238E27FC236}">
                <a16:creationId xmlns:a16="http://schemas.microsoft.com/office/drawing/2014/main" id="{1FE06698-D778-4493-A553-A79374AEB20C}"/>
              </a:ext>
            </a:extLst>
          </p:cNvPr>
          <p:cNvSpPr txBox="1"/>
          <p:nvPr/>
        </p:nvSpPr>
        <p:spPr>
          <a:xfrm>
            <a:off x="6958941" y="5247402"/>
            <a:ext cx="2174539" cy="246221"/>
          </a:xfrm>
          <a:prstGeom prst="rect">
            <a:avLst/>
          </a:prstGeom>
          <a:noFill/>
        </p:spPr>
        <p:txBody>
          <a:bodyPr wrap="square" lIns="0" tIns="0" rIns="0" bIns="0" rtlCol="0">
            <a:spAutoFit/>
          </a:bodyPr>
          <a:lstStyle>
            <a:defPPr>
              <a:defRPr lang="zh-CN"/>
            </a:defPPr>
            <a:lvl1pPr algn="ctr">
              <a:defRPr>
                <a:gradFill>
                  <a:gsLst>
                    <a:gs pos="0">
                      <a:schemeClr val="accent1"/>
                    </a:gs>
                    <a:gs pos="100000">
                      <a:schemeClr val="accent2"/>
                    </a:gs>
                  </a:gsLst>
                  <a:path path="circle">
                    <a:fillToRect r="100000" b="100000"/>
                  </a:path>
                </a:gradFill>
                <a:latin typeface="+mj-ea"/>
                <a:ea typeface="+mj-ea"/>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zh-CN" altLang="en-US" sz="1600" b="0" i="0" u="none" strike="noStrike" kern="1200" cap="none" spc="0" normalizeH="0" baseline="0" noProof="0" dirty="0">
                <a:ln>
                  <a:noFill/>
                </a:ln>
                <a:gradFill flip="none" rotWithShape="1">
                  <a:gsLst>
                    <a:gs pos="0">
                      <a:schemeClr val="accent1"/>
                    </a:gs>
                    <a:gs pos="100000">
                      <a:srgbClr val="3B6D47"/>
                    </a:gs>
                  </a:gsLst>
                  <a:path path="circle">
                    <a:fillToRect r="100000" b="100000"/>
                  </a:path>
                  <a:tileRect/>
                </a:gradFill>
                <a:effectLst/>
                <a:uLnTx/>
                <a:uFillTx/>
                <a:latin typeface="OPPOSans H" panose="00020600040101010101" pitchFamily="18" charset="-122"/>
                <a:ea typeface="OPPOSans H" panose="00020600040101010101" pitchFamily="18" charset="-122"/>
                <a:cs typeface="+mn-cs"/>
              </a:rPr>
              <a:t>秋叶</a:t>
            </a:r>
            <a:r>
              <a:rPr kumimoji="0" lang="en-US" altLang="zh-CN" sz="1600" b="0" i="0" u="none" strike="noStrike" kern="1200" cap="none" spc="0" normalizeH="0" baseline="0" noProof="0" dirty="0">
                <a:ln>
                  <a:noFill/>
                </a:ln>
                <a:gradFill flip="none" rotWithShape="1">
                  <a:gsLst>
                    <a:gs pos="0">
                      <a:schemeClr val="accent1"/>
                    </a:gs>
                    <a:gs pos="100000">
                      <a:srgbClr val="3B6D47"/>
                    </a:gs>
                  </a:gsLst>
                  <a:path path="circle">
                    <a:fillToRect r="100000" b="100000"/>
                  </a:path>
                  <a:tileRect/>
                </a:gradFill>
                <a:effectLst/>
                <a:uLnTx/>
                <a:uFillTx/>
                <a:latin typeface="OPPOSans H" panose="00020600040101010101" pitchFamily="18" charset="-122"/>
                <a:ea typeface="OPPOSans H" panose="00020600040101010101" pitchFamily="18" charset="-122"/>
                <a:cs typeface="+mn-cs"/>
              </a:rPr>
              <a:t>PPT</a:t>
            </a:r>
            <a:r>
              <a:rPr kumimoji="0" lang="zh-CN" altLang="en-US" sz="1600" b="0" i="0" u="none" strike="noStrike" kern="1200" cap="none" spc="0" normalizeH="0" baseline="0" noProof="0" dirty="0">
                <a:ln>
                  <a:noFill/>
                </a:ln>
                <a:gradFill flip="none" rotWithShape="1">
                  <a:gsLst>
                    <a:gs pos="0">
                      <a:schemeClr val="accent1"/>
                    </a:gs>
                    <a:gs pos="100000">
                      <a:srgbClr val="3B6D47"/>
                    </a:gs>
                  </a:gsLst>
                  <a:path path="circle">
                    <a:fillToRect r="100000" b="100000"/>
                  </a:path>
                  <a:tileRect/>
                </a:gradFill>
                <a:effectLst/>
                <a:uLnTx/>
                <a:uFillTx/>
                <a:latin typeface="OPPOSans H" panose="00020600040101010101" pitchFamily="18" charset="-122"/>
                <a:ea typeface="OPPOSans H" panose="00020600040101010101" pitchFamily="18" charset="-122"/>
                <a:cs typeface="+mn-cs"/>
              </a:rPr>
              <a:t>更快更轻松</a:t>
            </a:r>
          </a:p>
        </p:txBody>
      </p:sp>
      <p:sp>
        <p:nvSpPr>
          <p:cNvPr id="51" name="稿定PPT-10-2">
            <a:extLst>
              <a:ext uri="{FF2B5EF4-FFF2-40B4-BE49-F238E27FC236}">
                <a16:creationId xmlns:a16="http://schemas.microsoft.com/office/drawing/2014/main" id="{0D40B12C-E6DE-4DC4-A74E-DCB3ADDBF855}"/>
              </a:ext>
            </a:extLst>
          </p:cNvPr>
          <p:cNvSpPr txBox="1"/>
          <p:nvPr/>
        </p:nvSpPr>
        <p:spPr>
          <a:xfrm>
            <a:off x="7018272" y="4424938"/>
            <a:ext cx="2115208" cy="745698"/>
          </a:xfrm>
          <a:prstGeom prst="rect">
            <a:avLst/>
          </a:prstGeom>
          <a:noFill/>
          <a:ln>
            <a:noFill/>
          </a:ln>
          <a:effectLst/>
        </p:spPr>
        <p:txBody>
          <a:bodyPr wrap="square" lIns="0" tIns="0" rIns="0" bIns="0" anchor="t" anchorCtr="0">
            <a:noAutofit/>
          </a:bodyPr>
          <a:lstStyle>
            <a:defPPr>
              <a:defRPr lang="zh-CN"/>
            </a:defPPr>
            <a:lvl1pPr marR="0" lvl="0" indent="0" algn="just" fontAlgn="auto">
              <a:lnSpc>
                <a:spcPct val="130000"/>
              </a:lnSpc>
              <a:spcBef>
                <a:spcPts val="0"/>
              </a:spcBef>
              <a:spcAft>
                <a:spcPts val="0"/>
              </a:spcAft>
              <a:buClrTx/>
              <a:buSzPct val="25000"/>
              <a:buFontTx/>
              <a:buNone/>
              <a:tabLst/>
              <a:defRPr kumimoji="0" sz="1400" b="0" i="0" u="none" strike="noStrike" cap="none" spc="0" normalizeH="0" baseline="0">
                <a:ln>
                  <a:noFill/>
                </a:ln>
                <a:solidFill>
                  <a:schemeClr val="tx1">
                    <a:lumMod val="75000"/>
                    <a:lumOff val="25000"/>
                  </a:schemeClr>
                </a:solidFill>
                <a:effectLst/>
                <a:uLnTx/>
                <a:uFillTx/>
                <a:latin typeface="+mn-ea"/>
              </a:defRPr>
            </a:lvl1pPr>
          </a:lstStyle>
          <a:p>
            <a:pPr marL="0" marR="0" lvl="0" indent="0" algn="r" defTabSz="914400" rtl="0" eaLnBrk="1" fontAlgn="auto" latinLnBrk="0" hangingPunct="1">
              <a:lnSpc>
                <a:spcPct val="130000"/>
              </a:lnSpc>
              <a:spcBef>
                <a:spcPts val="0"/>
              </a:spcBef>
              <a:spcAft>
                <a:spcPts val="0"/>
              </a:spcAft>
              <a:buClrTx/>
              <a:buSzPct val="25000"/>
              <a:buFontTx/>
              <a:buNone/>
              <a:tabLst/>
              <a:defRPr/>
            </a:pPr>
            <a:r>
              <a:rPr kumimoji="0" lang="zh-CN" altLang="en-US" sz="1200" b="0" i="0" u="none" strike="noStrike" kern="1200" cap="none" spc="0" normalizeH="0" baseline="0" noProof="0" dirty="0">
                <a:ln>
                  <a:noFill/>
                </a:ln>
                <a:solidFill>
                  <a:schemeClr val="accent1"/>
                </a:solidFill>
                <a:effectLst/>
                <a:uLnTx/>
                <a:uFillTx/>
                <a:latin typeface="OPPOSans L" panose="00020600040101010101" pitchFamily="18" charset="-122"/>
                <a:ea typeface="OPPOSans L" panose="00020600040101010101" pitchFamily="18" charset="-122"/>
                <a:cs typeface="+mn-cs"/>
              </a:rPr>
              <a:t>秋叶</a:t>
            </a:r>
            <a:r>
              <a:rPr kumimoji="0" lang="en-US" altLang="zh-CN" sz="1200" b="0" i="0" u="none" strike="noStrike" kern="1200" cap="none" spc="0" normalizeH="0" baseline="0" noProof="0" dirty="0">
                <a:ln>
                  <a:noFill/>
                </a:ln>
                <a:solidFill>
                  <a:schemeClr val="accent1"/>
                </a:solidFill>
                <a:effectLst/>
                <a:uLnTx/>
                <a:uFillTx/>
                <a:latin typeface="OPPOSans L" panose="00020600040101010101" pitchFamily="18" charset="-122"/>
                <a:ea typeface="OPPOSans L" panose="00020600040101010101" pitchFamily="18" charset="-122"/>
                <a:cs typeface="+mn-cs"/>
              </a:rPr>
              <a:t>PPT</a:t>
            </a:r>
            <a:r>
              <a:rPr kumimoji="0" lang="zh-CN" altLang="en-US" sz="1200" b="0" i="0" u="none" strike="noStrike" kern="1200" cap="none" spc="0" normalizeH="0" baseline="0" noProof="0" dirty="0">
                <a:ln>
                  <a:noFill/>
                </a:ln>
                <a:solidFill>
                  <a:schemeClr val="accent1"/>
                </a:solidFill>
                <a:effectLst/>
                <a:uLnTx/>
                <a:uFillTx/>
                <a:latin typeface="OPPOSans L" panose="00020600040101010101" pitchFamily="18" charset="-122"/>
                <a:ea typeface="OPPOSans L" panose="00020600040101010101" pitchFamily="18" charset="-122"/>
                <a:cs typeface="+mn-cs"/>
              </a:rPr>
              <a:t>拥有千余款模板，线上到插件同步上新，覆盖商务、教育、金融等多用途场景。</a:t>
            </a:r>
          </a:p>
        </p:txBody>
      </p:sp>
      <p:sp>
        <p:nvSpPr>
          <p:cNvPr id="8" name="箭头: 五边形 7">
            <a:extLst>
              <a:ext uri="{FF2B5EF4-FFF2-40B4-BE49-F238E27FC236}">
                <a16:creationId xmlns:a16="http://schemas.microsoft.com/office/drawing/2014/main" id="{6A37719B-C7C0-4BDC-85F2-E48922E06CD1}"/>
              </a:ext>
            </a:extLst>
          </p:cNvPr>
          <p:cNvSpPr/>
          <p:nvPr/>
        </p:nvSpPr>
        <p:spPr>
          <a:xfrm>
            <a:off x="0" y="3751304"/>
            <a:ext cx="11525250" cy="184648"/>
          </a:xfrm>
          <a:prstGeom prst="homePlate">
            <a:avLst>
              <a:gd name="adj" fmla="val 76189"/>
            </a:avLst>
          </a:prstGeom>
          <a:gradFill flip="none" rotWithShape="1">
            <a:gsLst>
              <a:gs pos="0">
                <a:schemeClr val="accent1"/>
              </a:gs>
              <a:gs pos="100000">
                <a:schemeClr val="accent1">
                  <a:lumMod val="10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white"/>
              </a:solidFill>
              <a:effectLst/>
              <a:uLnTx/>
              <a:uFillTx/>
              <a:latin typeface="OPPOSans L" panose="00020600040101010101" pitchFamily="18" charset="-122"/>
              <a:ea typeface="OPPOSans L" panose="00020600040101010101" pitchFamily="18" charset="-122"/>
              <a:cs typeface="+mn-cs"/>
            </a:endParaRPr>
          </a:p>
        </p:txBody>
      </p:sp>
      <p:sp>
        <p:nvSpPr>
          <p:cNvPr id="55" name="椭圆 54">
            <a:extLst>
              <a:ext uri="{FF2B5EF4-FFF2-40B4-BE49-F238E27FC236}">
                <a16:creationId xmlns:a16="http://schemas.microsoft.com/office/drawing/2014/main" id="{AC8030A7-D399-457E-A33E-F85BCA4AB65F}"/>
              </a:ext>
            </a:extLst>
          </p:cNvPr>
          <p:cNvSpPr/>
          <p:nvPr/>
        </p:nvSpPr>
        <p:spPr>
          <a:xfrm>
            <a:off x="1055067" y="3810666"/>
            <a:ext cx="65925" cy="6592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white"/>
              </a:solidFill>
              <a:effectLst/>
              <a:uLnTx/>
              <a:uFillTx/>
              <a:latin typeface="OPPOSans L" panose="00020600040101010101" pitchFamily="18" charset="-122"/>
              <a:ea typeface="OPPOSans L" panose="00020600040101010101" pitchFamily="18" charset="-122"/>
              <a:cs typeface="+mn-cs"/>
            </a:endParaRPr>
          </a:p>
        </p:txBody>
      </p:sp>
      <p:sp>
        <p:nvSpPr>
          <p:cNvPr id="57" name="椭圆 56">
            <a:extLst>
              <a:ext uri="{FF2B5EF4-FFF2-40B4-BE49-F238E27FC236}">
                <a16:creationId xmlns:a16="http://schemas.microsoft.com/office/drawing/2014/main" id="{A1C7E335-C0AC-4F5E-8EAE-7AC6B512D33D}"/>
              </a:ext>
            </a:extLst>
          </p:cNvPr>
          <p:cNvSpPr/>
          <p:nvPr/>
        </p:nvSpPr>
        <p:spPr>
          <a:xfrm>
            <a:off x="1220722" y="3810666"/>
            <a:ext cx="65925" cy="6592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white"/>
              </a:solidFill>
              <a:effectLst/>
              <a:uLnTx/>
              <a:uFillTx/>
              <a:latin typeface="OPPOSans L" panose="00020600040101010101" pitchFamily="18" charset="-122"/>
              <a:ea typeface="OPPOSans L" panose="00020600040101010101" pitchFamily="18" charset="-122"/>
              <a:cs typeface="+mn-cs"/>
            </a:endParaRPr>
          </a:p>
        </p:txBody>
      </p:sp>
      <p:sp>
        <p:nvSpPr>
          <p:cNvPr id="58" name="椭圆 57">
            <a:extLst>
              <a:ext uri="{FF2B5EF4-FFF2-40B4-BE49-F238E27FC236}">
                <a16:creationId xmlns:a16="http://schemas.microsoft.com/office/drawing/2014/main" id="{58F42B96-B375-4F9E-BD85-4EE69EA779FE}"/>
              </a:ext>
            </a:extLst>
          </p:cNvPr>
          <p:cNvSpPr/>
          <p:nvPr/>
        </p:nvSpPr>
        <p:spPr>
          <a:xfrm>
            <a:off x="1386377" y="3810666"/>
            <a:ext cx="65925" cy="6592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white"/>
              </a:solidFill>
              <a:effectLst/>
              <a:uLnTx/>
              <a:uFillTx/>
              <a:latin typeface="OPPOSans L" panose="00020600040101010101" pitchFamily="18" charset="-122"/>
              <a:ea typeface="OPPOSans L" panose="00020600040101010101" pitchFamily="18" charset="-122"/>
              <a:cs typeface="+mn-cs"/>
            </a:endParaRPr>
          </a:p>
        </p:txBody>
      </p:sp>
      <p:sp>
        <p:nvSpPr>
          <p:cNvPr id="59" name="椭圆 58">
            <a:extLst>
              <a:ext uri="{FF2B5EF4-FFF2-40B4-BE49-F238E27FC236}">
                <a16:creationId xmlns:a16="http://schemas.microsoft.com/office/drawing/2014/main" id="{0617F7FD-89C4-4D65-98BD-EE4DC16F8F77}"/>
              </a:ext>
            </a:extLst>
          </p:cNvPr>
          <p:cNvSpPr/>
          <p:nvPr/>
        </p:nvSpPr>
        <p:spPr>
          <a:xfrm>
            <a:off x="1552032" y="3810666"/>
            <a:ext cx="65925" cy="6592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white"/>
              </a:solidFill>
              <a:effectLst/>
              <a:uLnTx/>
              <a:uFillTx/>
              <a:latin typeface="OPPOSans L" panose="00020600040101010101" pitchFamily="18" charset="-122"/>
              <a:ea typeface="OPPOSans L" panose="00020600040101010101" pitchFamily="18" charset="-122"/>
              <a:cs typeface="+mn-cs"/>
            </a:endParaRPr>
          </a:p>
        </p:txBody>
      </p:sp>
      <p:sp>
        <p:nvSpPr>
          <p:cNvPr id="60" name="箭头: V 形 59">
            <a:extLst>
              <a:ext uri="{FF2B5EF4-FFF2-40B4-BE49-F238E27FC236}">
                <a16:creationId xmlns:a16="http://schemas.microsoft.com/office/drawing/2014/main" id="{CA6A9683-2BC3-4131-859D-8C33082D17BD}"/>
              </a:ext>
            </a:extLst>
          </p:cNvPr>
          <p:cNvSpPr/>
          <p:nvPr/>
        </p:nvSpPr>
        <p:spPr>
          <a:xfrm>
            <a:off x="1704975" y="3787669"/>
            <a:ext cx="65925" cy="111919"/>
          </a:xfrm>
          <a:prstGeom prst="chevron">
            <a:avLst>
              <a:gd name="adj" fmla="val 84883"/>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black"/>
              </a:solidFill>
              <a:effectLst/>
              <a:uLnTx/>
              <a:uFillTx/>
              <a:latin typeface="OPPOSans L" panose="00020600040101010101" pitchFamily="18" charset="-122"/>
              <a:ea typeface="OPPOSans L" panose="00020600040101010101" pitchFamily="18" charset="-122"/>
              <a:cs typeface="+mn-cs"/>
            </a:endParaRPr>
          </a:p>
        </p:txBody>
      </p:sp>
      <p:sp>
        <p:nvSpPr>
          <p:cNvPr id="61" name="箭头: V 形 60">
            <a:extLst>
              <a:ext uri="{FF2B5EF4-FFF2-40B4-BE49-F238E27FC236}">
                <a16:creationId xmlns:a16="http://schemas.microsoft.com/office/drawing/2014/main" id="{1FE94634-7618-422C-B41B-FA951B042BE4}"/>
              </a:ext>
            </a:extLst>
          </p:cNvPr>
          <p:cNvSpPr/>
          <p:nvPr/>
        </p:nvSpPr>
        <p:spPr>
          <a:xfrm>
            <a:off x="1782501" y="3787669"/>
            <a:ext cx="65925" cy="111919"/>
          </a:xfrm>
          <a:prstGeom prst="chevron">
            <a:avLst>
              <a:gd name="adj" fmla="val 84883"/>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black"/>
              </a:solidFill>
              <a:effectLst/>
              <a:uLnTx/>
              <a:uFillTx/>
              <a:latin typeface="OPPOSans L" panose="00020600040101010101" pitchFamily="18" charset="-122"/>
              <a:ea typeface="OPPOSans L" panose="00020600040101010101" pitchFamily="18" charset="-122"/>
              <a:cs typeface="+mn-cs"/>
            </a:endParaRPr>
          </a:p>
        </p:txBody>
      </p:sp>
      <p:sp>
        <p:nvSpPr>
          <p:cNvPr id="62" name="箭头: V 形 61">
            <a:extLst>
              <a:ext uri="{FF2B5EF4-FFF2-40B4-BE49-F238E27FC236}">
                <a16:creationId xmlns:a16="http://schemas.microsoft.com/office/drawing/2014/main" id="{1C8A79D8-EDF5-49C3-B293-7E2D89536EB2}"/>
              </a:ext>
            </a:extLst>
          </p:cNvPr>
          <p:cNvSpPr/>
          <p:nvPr/>
        </p:nvSpPr>
        <p:spPr>
          <a:xfrm>
            <a:off x="1860027" y="3787669"/>
            <a:ext cx="65925" cy="111919"/>
          </a:xfrm>
          <a:prstGeom prst="chevron">
            <a:avLst>
              <a:gd name="adj" fmla="val 84883"/>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black"/>
              </a:solidFill>
              <a:effectLst/>
              <a:uLnTx/>
              <a:uFillTx/>
              <a:latin typeface="OPPOSans L" panose="00020600040101010101" pitchFamily="18" charset="-122"/>
              <a:ea typeface="OPPOSans L" panose="00020600040101010101" pitchFamily="18" charset="-122"/>
              <a:cs typeface="+mn-cs"/>
            </a:endParaRPr>
          </a:p>
        </p:txBody>
      </p:sp>
      <p:sp>
        <p:nvSpPr>
          <p:cNvPr id="63" name="箭头: V 形 62">
            <a:extLst>
              <a:ext uri="{FF2B5EF4-FFF2-40B4-BE49-F238E27FC236}">
                <a16:creationId xmlns:a16="http://schemas.microsoft.com/office/drawing/2014/main" id="{7EEF757B-6D4F-4C69-A941-2894F713BE20}"/>
              </a:ext>
            </a:extLst>
          </p:cNvPr>
          <p:cNvSpPr/>
          <p:nvPr/>
        </p:nvSpPr>
        <p:spPr>
          <a:xfrm>
            <a:off x="1937553" y="3787669"/>
            <a:ext cx="65925" cy="111919"/>
          </a:xfrm>
          <a:prstGeom prst="chevron">
            <a:avLst>
              <a:gd name="adj" fmla="val 84883"/>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black"/>
              </a:solidFill>
              <a:effectLst/>
              <a:uLnTx/>
              <a:uFillTx/>
              <a:latin typeface="OPPOSans L" panose="00020600040101010101" pitchFamily="18" charset="-122"/>
              <a:ea typeface="OPPOSans L" panose="00020600040101010101" pitchFamily="18" charset="-122"/>
              <a:cs typeface="+mn-cs"/>
            </a:endParaRPr>
          </a:p>
        </p:txBody>
      </p:sp>
      <p:sp>
        <p:nvSpPr>
          <p:cNvPr id="64" name="箭头: V 形 63">
            <a:extLst>
              <a:ext uri="{FF2B5EF4-FFF2-40B4-BE49-F238E27FC236}">
                <a16:creationId xmlns:a16="http://schemas.microsoft.com/office/drawing/2014/main" id="{E119365B-F65D-4F10-AEE0-107177E674AF}"/>
              </a:ext>
            </a:extLst>
          </p:cNvPr>
          <p:cNvSpPr/>
          <p:nvPr/>
        </p:nvSpPr>
        <p:spPr>
          <a:xfrm>
            <a:off x="2015079" y="3787669"/>
            <a:ext cx="65925" cy="111919"/>
          </a:xfrm>
          <a:prstGeom prst="chevron">
            <a:avLst>
              <a:gd name="adj" fmla="val 84883"/>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black"/>
              </a:solidFill>
              <a:effectLst/>
              <a:uLnTx/>
              <a:uFillTx/>
              <a:latin typeface="OPPOSans L" panose="00020600040101010101" pitchFamily="18" charset="-122"/>
              <a:ea typeface="OPPOSans L" panose="00020600040101010101" pitchFamily="18" charset="-122"/>
              <a:cs typeface="+mn-cs"/>
            </a:endParaRPr>
          </a:p>
        </p:txBody>
      </p:sp>
      <p:sp>
        <p:nvSpPr>
          <p:cNvPr id="76" name="椭圆 75">
            <a:extLst>
              <a:ext uri="{FF2B5EF4-FFF2-40B4-BE49-F238E27FC236}">
                <a16:creationId xmlns:a16="http://schemas.microsoft.com/office/drawing/2014/main" id="{AF6DE02A-621F-485D-94D3-E4E5D524D49B}"/>
              </a:ext>
            </a:extLst>
          </p:cNvPr>
          <p:cNvSpPr/>
          <p:nvPr/>
        </p:nvSpPr>
        <p:spPr>
          <a:xfrm>
            <a:off x="4001897" y="3810666"/>
            <a:ext cx="65925" cy="6592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white"/>
              </a:solidFill>
              <a:effectLst/>
              <a:uLnTx/>
              <a:uFillTx/>
              <a:latin typeface="OPPOSans L" panose="00020600040101010101" pitchFamily="18" charset="-122"/>
              <a:ea typeface="OPPOSans L" panose="00020600040101010101" pitchFamily="18" charset="-122"/>
              <a:cs typeface="+mn-cs"/>
            </a:endParaRPr>
          </a:p>
        </p:txBody>
      </p:sp>
      <p:sp>
        <p:nvSpPr>
          <p:cNvPr id="77" name="椭圆 76">
            <a:extLst>
              <a:ext uri="{FF2B5EF4-FFF2-40B4-BE49-F238E27FC236}">
                <a16:creationId xmlns:a16="http://schemas.microsoft.com/office/drawing/2014/main" id="{DE4C19F3-7ECA-495C-970C-3076FBEF7D4C}"/>
              </a:ext>
            </a:extLst>
          </p:cNvPr>
          <p:cNvSpPr/>
          <p:nvPr/>
        </p:nvSpPr>
        <p:spPr>
          <a:xfrm>
            <a:off x="4167552" y="3810666"/>
            <a:ext cx="65925" cy="6592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white"/>
              </a:solidFill>
              <a:effectLst/>
              <a:uLnTx/>
              <a:uFillTx/>
              <a:latin typeface="OPPOSans L" panose="00020600040101010101" pitchFamily="18" charset="-122"/>
              <a:ea typeface="OPPOSans L" panose="00020600040101010101" pitchFamily="18" charset="-122"/>
              <a:cs typeface="+mn-cs"/>
            </a:endParaRPr>
          </a:p>
        </p:txBody>
      </p:sp>
      <p:sp>
        <p:nvSpPr>
          <p:cNvPr id="78" name="椭圆 77">
            <a:extLst>
              <a:ext uri="{FF2B5EF4-FFF2-40B4-BE49-F238E27FC236}">
                <a16:creationId xmlns:a16="http://schemas.microsoft.com/office/drawing/2014/main" id="{F376BF73-9CFD-47C3-88A4-CA3E34ABAF06}"/>
              </a:ext>
            </a:extLst>
          </p:cNvPr>
          <p:cNvSpPr/>
          <p:nvPr/>
        </p:nvSpPr>
        <p:spPr>
          <a:xfrm>
            <a:off x="4333207" y="3810666"/>
            <a:ext cx="65925" cy="6592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white"/>
              </a:solidFill>
              <a:effectLst/>
              <a:uLnTx/>
              <a:uFillTx/>
              <a:latin typeface="OPPOSans L" panose="00020600040101010101" pitchFamily="18" charset="-122"/>
              <a:ea typeface="OPPOSans L" panose="00020600040101010101" pitchFamily="18" charset="-122"/>
              <a:cs typeface="+mn-cs"/>
            </a:endParaRPr>
          </a:p>
        </p:txBody>
      </p:sp>
      <p:sp>
        <p:nvSpPr>
          <p:cNvPr id="79" name="椭圆 78">
            <a:extLst>
              <a:ext uri="{FF2B5EF4-FFF2-40B4-BE49-F238E27FC236}">
                <a16:creationId xmlns:a16="http://schemas.microsoft.com/office/drawing/2014/main" id="{55153525-7027-48CB-A5B5-2948C7787B69}"/>
              </a:ext>
            </a:extLst>
          </p:cNvPr>
          <p:cNvSpPr/>
          <p:nvPr/>
        </p:nvSpPr>
        <p:spPr>
          <a:xfrm>
            <a:off x="4498862" y="3810666"/>
            <a:ext cx="65925" cy="6592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white"/>
              </a:solidFill>
              <a:effectLst/>
              <a:uLnTx/>
              <a:uFillTx/>
              <a:latin typeface="OPPOSans L" panose="00020600040101010101" pitchFamily="18" charset="-122"/>
              <a:ea typeface="OPPOSans L" panose="00020600040101010101" pitchFamily="18" charset="-122"/>
              <a:cs typeface="+mn-cs"/>
            </a:endParaRPr>
          </a:p>
        </p:txBody>
      </p:sp>
      <p:sp>
        <p:nvSpPr>
          <p:cNvPr id="71" name="箭头: V 形 70">
            <a:extLst>
              <a:ext uri="{FF2B5EF4-FFF2-40B4-BE49-F238E27FC236}">
                <a16:creationId xmlns:a16="http://schemas.microsoft.com/office/drawing/2014/main" id="{D789BEC7-A9FC-4331-A5CE-FF712DF0C760}"/>
              </a:ext>
            </a:extLst>
          </p:cNvPr>
          <p:cNvSpPr/>
          <p:nvPr/>
        </p:nvSpPr>
        <p:spPr>
          <a:xfrm>
            <a:off x="4651805" y="3787669"/>
            <a:ext cx="65925" cy="111919"/>
          </a:xfrm>
          <a:prstGeom prst="chevron">
            <a:avLst>
              <a:gd name="adj" fmla="val 84883"/>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black"/>
              </a:solidFill>
              <a:effectLst/>
              <a:uLnTx/>
              <a:uFillTx/>
              <a:latin typeface="OPPOSans L" panose="00020600040101010101" pitchFamily="18" charset="-122"/>
              <a:ea typeface="OPPOSans L" panose="00020600040101010101" pitchFamily="18" charset="-122"/>
              <a:cs typeface="+mn-cs"/>
            </a:endParaRPr>
          </a:p>
        </p:txBody>
      </p:sp>
      <p:sp>
        <p:nvSpPr>
          <p:cNvPr id="72" name="箭头: V 形 71">
            <a:extLst>
              <a:ext uri="{FF2B5EF4-FFF2-40B4-BE49-F238E27FC236}">
                <a16:creationId xmlns:a16="http://schemas.microsoft.com/office/drawing/2014/main" id="{57E03741-ACFA-4E98-8133-EACB17581A91}"/>
              </a:ext>
            </a:extLst>
          </p:cNvPr>
          <p:cNvSpPr/>
          <p:nvPr/>
        </p:nvSpPr>
        <p:spPr>
          <a:xfrm>
            <a:off x="4729331" y="3787669"/>
            <a:ext cx="65925" cy="111919"/>
          </a:xfrm>
          <a:prstGeom prst="chevron">
            <a:avLst>
              <a:gd name="adj" fmla="val 84883"/>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black"/>
              </a:solidFill>
              <a:effectLst/>
              <a:uLnTx/>
              <a:uFillTx/>
              <a:latin typeface="OPPOSans L" panose="00020600040101010101" pitchFamily="18" charset="-122"/>
              <a:ea typeface="OPPOSans L" panose="00020600040101010101" pitchFamily="18" charset="-122"/>
              <a:cs typeface="+mn-cs"/>
            </a:endParaRPr>
          </a:p>
        </p:txBody>
      </p:sp>
      <p:sp>
        <p:nvSpPr>
          <p:cNvPr id="73" name="箭头: V 形 72">
            <a:extLst>
              <a:ext uri="{FF2B5EF4-FFF2-40B4-BE49-F238E27FC236}">
                <a16:creationId xmlns:a16="http://schemas.microsoft.com/office/drawing/2014/main" id="{99AAA9E9-6CFD-4147-852C-DD27AB831162}"/>
              </a:ext>
            </a:extLst>
          </p:cNvPr>
          <p:cNvSpPr/>
          <p:nvPr/>
        </p:nvSpPr>
        <p:spPr>
          <a:xfrm>
            <a:off x="4806857" y="3787669"/>
            <a:ext cx="65925" cy="111919"/>
          </a:xfrm>
          <a:prstGeom prst="chevron">
            <a:avLst>
              <a:gd name="adj" fmla="val 84883"/>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black"/>
              </a:solidFill>
              <a:effectLst/>
              <a:uLnTx/>
              <a:uFillTx/>
              <a:latin typeface="OPPOSans L" panose="00020600040101010101" pitchFamily="18" charset="-122"/>
              <a:ea typeface="OPPOSans L" panose="00020600040101010101" pitchFamily="18" charset="-122"/>
              <a:cs typeface="+mn-cs"/>
            </a:endParaRPr>
          </a:p>
        </p:txBody>
      </p:sp>
      <p:sp>
        <p:nvSpPr>
          <p:cNvPr id="74" name="箭头: V 形 73">
            <a:extLst>
              <a:ext uri="{FF2B5EF4-FFF2-40B4-BE49-F238E27FC236}">
                <a16:creationId xmlns:a16="http://schemas.microsoft.com/office/drawing/2014/main" id="{ED2F7AEA-1296-4BC8-8EB5-5D10A3475EE2}"/>
              </a:ext>
            </a:extLst>
          </p:cNvPr>
          <p:cNvSpPr/>
          <p:nvPr/>
        </p:nvSpPr>
        <p:spPr>
          <a:xfrm>
            <a:off x="4884383" y="3787669"/>
            <a:ext cx="65925" cy="111919"/>
          </a:xfrm>
          <a:prstGeom prst="chevron">
            <a:avLst>
              <a:gd name="adj" fmla="val 84883"/>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black"/>
              </a:solidFill>
              <a:effectLst/>
              <a:uLnTx/>
              <a:uFillTx/>
              <a:latin typeface="OPPOSans L" panose="00020600040101010101" pitchFamily="18" charset="-122"/>
              <a:ea typeface="OPPOSans L" panose="00020600040101010101" pitchFamily="18" charset="-122"/>
              <a:cs typeface="+mn-cs"/>
            </a:endParaRPr>
          </a:p>
        </p:txBody>
      </p:sp>
      <p:sp>
        <p:nvSpPr>
          <p:cNvPr id="75" name="箭头: V 形 74">
            <a:extLst>
              <a:ext uri="{FF2B5EF4-FFF2-40B4-BE49-F238E27FC236}">
                <a16:creationId xmlns:a16="http://schemas.microsoft.com/office/drawing/2014/main" id="{362E56BB-F220-406D-BDAF-8D1B070B7A30}"/>
              </a:ext>
            </a:extLst>
          </p:cNvPr>
          <p:cNvSpPr/>
          <p:nvPr/>
        </p:nvSpPr>
        <p:spPr>
          <a:xfrm>
            <a:off x="4961909" y="3787669"/>
            <a:ext cx="65925" cy="111919"/>
          </a:xfrm>
          <a:prstGeom prst="chevron">
            <a:avLst>
              <a:gd name="adj" fmla="val 84883"/>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black"/>
              </a:solidFill>
              <a:effectLst/>
              <a:uLnTx/>
              <a:uFillTx/>
              <a:latin typeface="OPPOSans L" panose="00020600040101010101" pitchFamily="18" charset="-122"/>
              <a:ea typeface="OPPOSans L" panose="00020600040101010101" pitchFamily="18" charset="-122"/>
              <a:cs typeface="+mn-cs"/>
            </a:endParaRPr>
          </a:p>
        </p:txBody>
      </p:sp>
      <p:sp>
        <p:nvSpPr>
          <p:cNvPr id="88" name="椭圆 87">
            <a:extLst>
              <a:ext uri="{FF2B5EF4-FFF2-40B4-BE49-F238E27FC236}">
                <a16:creationId xmlns:a16="http://schemas.microsoft.com/office/drawing/2014/main" id="{391D5F61-8FAA-4C37-9751-8216B8C54A34}"/>
              </a:ext>
            </a:extLst>
          </p:cNvPr>
          <p:cNvSpPr/>
          <p:nvPr/>
        </p:nvSpPr>
        <p:spPr>
          <a:xfrm>
            <a:off x="6948727" y="3810666"/>
            <a:ext cx="65925" cy="6592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white"/>
              </a:solidFill>
              <a:effectLst/>
              <a:uLnTx/>
              <a:uFillTx/>
              <a:latin typeface="OPPOSans L" panose="00020600040101010101" pitchFamily="18" charset="-122"/>
              <a:ea typeface="OPPOSans L" panose="00020600040101010101" pitchFamily="18" charset="-122"/>
              <a:cs typeface="+mn-cs"/>
            </a:endParaRPr>
          </a:p>
        </p:txBody>
      </p:sp>
      <p:sp>
        <p:nvSpPr>
          <p:cNvPr id="89" name="椭圆 88">
            <a:extLst>
              <a:ext uri="{FF2B5EF4-FFF2-40B4-BE49-F238E27FC236}">
                <a16:creationId xmlns:a16="http://schemas.microsoft.com/office/drawing/2014/main" id="{8C28CD25-BA02-4610-A5DB-40DF95BFDDC4}"/>
              </a:ext>
            </a:extLst>
          </p:cNvPr>
          <p:cNvSpPr/>
          <p:nvPr/>
        </p:nvSpPr>
        <p:spPr>
          <a:xfrm>
            <a:off x="7114382" y="3810666"/>
            <a:ext cx="65925" cy="6592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white"/>
              </a:solidFill>
              <a:effectLst/>
              <a:uLnTx/>
              <a:uFillTx/>
              <a:latin typeface="OPPOSans L" panose="00020600040101010101" pitchFamily="18" charset="-122"/>
              <a:ea typeface="OPPOSans L" panose="00020600040101010101" pitchFamily="18" charset="-122"/>
              <a:cs typeface="+mn-cs"/>
            </a:endParaRPr>
          </a:p>
        </p:txBody>
      </p:sp>
      <p:sp>
        <p:nvSpPr>
          <p:cNvPr id="90" name="椭圆 89">
            <a:extLst>
              <a:ext uri="{FF2B5EF4-FFF2-40B4-BE49-F238E27FC236}">
                <a16:creationId xmlns:a16="http://schemas.microsoft.com/office/drawing/2014/main" id="{6231489F-1E91-4B31-A7CB-956B9C2CDA76}"/>
              </a:ext>
            </a:extLst>
          </p:cNvPr>
          <p:cNvSpPr/>
          <p:nvPr/>
        </p:nvSpPr>
        <p:spPr>
          <a:xfrm>
            <a:off x="7280037" y="3810666"/>
            <a:ext cx="65925" cy="6592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white"/>
              </a:solidFill>
              <a:effectLst/>
              <a:uLnTx/>
              <a:uFillTx/>
              <a:latin typeface="OPPOSans L" panose="00020600040101010101" pitchFamily="18" charset="-122"/>
              <a:ea typeface="OPPOSans L" panose="00020600040101010101" pitchFamily="18" charset="-122"/>
              <a:cs typeface="+mn-cs"/>
            </a:endParaRPr>
          </a:p>
        </p:txBody>
      </p:sp>
      <p:sp>
        <p:nvSpPr>
          <p:cNvPr id="91" name="椭圆 90">
            <a:extLst>
              <a:ext uri="{FF2B5EF4-FFF2-40B4-BE49-F238E27FC236}">
                <a16:creationId xmlns:a16="http://schemas.microsoft.com/office/drawing/2014/main" id="{7294C6B0-30DE-4BE0-835E-675E9546F061}"/>
              </a:ext>
            </a:extLst>
          </p:cNvPr>
          <p:cNvSpPr/>
          <p:nvPr/>
        </p:nvSpPr>
        <p:spPr>
          <a:xfrm>
            <a:off x="7445692" y="3810666"/>
            <a:ext cx="65925" cy="6592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white"/>
              </a:solidFill>
              <a:effectLst/>
              <a:uLnTx/>
              <a:uFillTx/>
              <a:latin typeface="OPPOSans L" panose="00020600040101010101" pitchFamily="18" charset="-122"/>
              <a:ea typeface="OPPOSans L" panose="00020600040101010101" pitchFamily="18" charset="-122"/>
              <a:cs typeface="+mn-cs"/>
            </a:endParaRPr>
          </a:p>
        </p:txBody>
      </p:sp>
      <p:sp>
        <p:nvSpPr>
          <p:cNvPr id="83" name="箭头: V 形 82">
            <a:extLst>
              <a:ext uri="{FF2B5EF4-FFF2-40B4-BE49-F238E27FC236}">
                <a16:creationId xmlns:a16="http://schemas.microsoft.com/office/drawing/2014/main" id="{FEF959E0-D1FB-4A72-8C01-B71D2DC61873}"/>
              </a:ext>
            </a:extLst>
          </p:cNvPr>
          <p:cNvSpPr/>
          <p:nvPr/>
        </p:nvSpPr>
        <p:spPr>
          <a:xfrm>
            <a:off x="7598635" y="3787669"/>
            <a:ext cx="65925" cy="111919"/>
          </a:xfrm>
          <a:prstGeom prst="chevron">
            <a:avLst>
              <a:gd name="adj" fmla="val 84883"/>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black"/>
              </a:solidFill>
              <a:effectLst/>
              <a:uLnTx/>
              <a:uFillTx/>
              <a:latin typeface="OPPOSans L" panose="00020600040101010101" pitchFamily="18" charset="-122"/>
              <a:ea typeface="OPPOSans L" panose="00020600040101010101" pitchFamily="18" charset="-122"/>
              <a:cs typeface="+mn-cs"/>
            </a:endParaRPr>
          </a:p>
        </p:txBody>
      </p:sp>
      <p:sp>
        <p:nvSpPr>
          <p:cNvPr id="84" name="箭头: V 形 83">
            <a:extLst>
              <a:ext uri="{FF2B5EF4-FFF2-40B4-BE49-F238E27FC236}">
                <a16:creationId xmlns:a16="http://schemas.microsoft.com/office/drawing/2014/main" id="{248FA321-0DF0-4E49-A4F3-3604503B3662}"/>
              </a:ext>
            </a:extLst>
          </p:cNvPr>
          <p:cNvSpPr/>
          <p:nvPr/>
        </p:nvSpPr>
        <p:spPr>
          <a:xfrm>
            <a:off x="7676161" y="3787669"/>
            <a:ext cx="65925" cy="111919"/>
          </a:xfrm>
          <a:prstGeom prst="chevron">
            <a:avLst>
              <a:gd name="adj" fmla="val 84883"/>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black"/>
              </a:solidFill>
              <a:effectLst/>
              <a:uLnTx/>
              <a:uFillTx/>
              <a:latin typeface="OPPOSans L" panose="00020600040101010101" pitchFamily="18" charset="-122"/>
              <a:ea typeface="OPPOSans L" panose="00020600040101010101" pitchFamily="18" charset="-122"/>
              <a:cs typeface="+mn-cs"/>
            </a:endParaRPr>
          </a:p>
        </p:txBody>
      </p:sp>
      <p:sp>
        <p:nvSpPr>
          <p:cNvPr id="85" name="箭头: V 形 84">
            <a:extLst>
              <a:ext uri="{FF2B5EF4-FFF2-40B4-BE49-F238E27FC236}">
                <a16:creationId xmlns:a16="http://schemas.microsoft.com/office/drawing/2014/main" id="{406C0F5E-1B0C-4C38-A50D-41835FD69BC7}"/>
              </a:ext>
            </a:extLst>
          </p:cNvPr>
          <p:cNvSpPr/>
          <p:nvPr/>
        </p:nvSpPr>
        <p:spPr>
          <a:xfrm>
            <a:off x="7753687" y="3787669"/>
            <a:ext cx="65925" cy="111919"/>
          </a:xfrm>
          <a:prstGeom prst="chevron">
            <a:avLst>
              <a:gd name="adj" fmla="val 84883"/>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black"/>
              </a:solidFill>
              <a:effectLst/>
              <a:uLnTx/>
              <a:uFillTx/>
              <a:latin typeface="OPPOSans L" panose="00020600040101010101" pitchFamily="18" charset="-122"/>
              <a:ea typeface="OPPOSans L" panose="00020600040101010101" pitchFamily="18" charset="-122"/>
              <a:cs typeface="+mn-cs"/>
            </a:endParaRPr>
          </a:p>
        </p:txBody>
      </p:sp>
      <p:sp>
        <p:nvSpPr>
          <p:cNvPr id="86" name="箭头: V 形 85">
            <a:extLst>
              <a:ext uri="{FF2B5EF4-FFF2-40B4-BE49-F238E27FC236}">
                <a16:creationId xmlns:a16="http://schemas.microsoft.com/office/drawing/2014/main" id="{8FEFA5AA-6168-4C1D-8FC3-A7D6FE8899FC}"/>
              </a:ext>
            </a:extLst>
          </p:cNvPr>
          <p:cNvSpPr/>
          <p:nvPr/>
        </p:nvSpPr>
        <p:spPr>
          <a:xfrm>
            <a:off x="7831213" y="3787669"/>
            <a:ext cx="65925" cy="111919"/>
          </a:xfrm>
          <a:prstGeom prst="chevron">
            <a:avLst>
              <a:gd name="adj" fmla="val 84883"/>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black"/>
              </a:solidFill>
              <a:effectLst/>
              <a:uLnTx/>
              <a:uFillTx/>
              <a:latin typeface="OPPOSans L" panose="00020600040101010101" pitchFamily="18" charset="-122"/>
              <a:ea typeface="OPPOSans L" panose="00020600040101010101" pitchFamily="18" charset="-122"/>
              <a:cs typeface="+mn-cs"/>
            </a:endParaRPr>
          </a:p>
        </p:txBody>
      </p:sp>
      <p:sp>
        <p:nvSpPr>
          <p:cNvPr id="87" name="箭头: V 形 86">
            <a:extLst>
              <a:ext uri="{FF2B5EF4-FFF2-40B4-BE49-F238E27FC236}">
                <a16:creationId xmlns:a16="http://schemas.microsoft.com/office/drawing/2014/main" id="{0126FA72-768E-495B-AD27-F1D50B7C473A}"/>
              </a:ext>
            </a:extLst>
          </p:cNvPr>
          <p:cNvSpPr/>
          <p:nvPr/>
        </p:nvSpPr>
        <p:spPr>
          <a:xfrm>
            <a:off x="7908739" y="3787669"/>
            <a:ext cx="65925" cy="111919"/>
          </a:xfrm>
          <a:prstGeom prst="chevron">
            <a:avLst>
              <a:gd name="adj" fmla="val 84883"/>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black"/>
              </a:solidFill>
              <a:effectLst/>
              <a:uLnTx/>
              <a:uFillTx/>
              <a:latin typeface="OPPOSans L" panose="00020600040101010101" pitchFamily="18" charset="-122"/>
              <a:ea typeface="OPPOSans L" panose="00020600040101010101" pitchFamily="18" charset="-122"/>
              <a:cs typeface="+mn-cs"/>
            </a:endParaRPr>
          </a:p>
        </p:txBody>
      </p:sp>
      <p:sp>
        <p:nvSpPr>
          <p:cNvPr id="100" name="椭圆 99">
            <a:extLst>
              <a:ext uri="{FF2B5EF4-FFF2-40B4-BE49-F238E27FC236}">
                <a16:creationId xmlns:a16="http://schemas.microsoft.com/office/drawing/2014/main" id="{A8B70E03-A17A-4999-BEC5-D239FE741F6B}"/>
              </a:ext>
            </a:extLst>
          </p:cNvPr>
          <p:cNvSpPr/>
          <p:nvPr/>
        </p:nvSpPr>
        <p:spPr>
          <a:xfrm>
            <a:off x="9895557" y="3810666"/>
            <a:ext cx="65925" cy="6592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white"/>
              </a:solidFill>
              <a:effectLst/>
              <a:uLnTx/>
              <a:uFillTx/>
              <a:latin typeface="OPPOSans L" panose="00020600040101010101" pitchFamily="18" charset="-122"/>
              <a:ea typeface="OPPOSans L" panose="00020600040101010101" pitchFamily="18" charset="-122"/>
              <a:cs typeface="+mn-cs"/>
            </a:endParaRPr>
          </a:p>
        </p:txBody>
      </p:sp>
      <p:sp>
        <p:nvSpPr>
          <p:cNvPr id="101" name="椭圆 100">
            <a:extLst>
              <a:ext uri="{FF2B5EF4-FFF2-40B4-BE49-F238E27FC236}">
                <a16:creationId xmlns:a16="http://schemas.microsoft.com/office/drawing/2014/main" id="{1FB50811-1C3C-48C9-8583-5CAADE796BF5}"/>
              </a:ext>
            </a:extLst>
          </p:cNvPr>
          <p:cNvSpPr/>
          <p:nvPr/>
        </p:nvSpPr>
        <p:spPr>
          <a:xfrm>
            <a:off x="10061212" y="3810666"/>
            <a:ext cx="65925" cy="6592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white"/>
              </a:solidFill>
              <a:effectLst/>
              <a:uLnTx/>
              <a:uFillTx/>
              <a:latin typeface="OPPOSans L" panose="00020600040101010101" pitchFamily="18" charset="-122"/>
              <a:ea typeface="OPPOSans L" panose="00020600040101010101" pitchFamily="18" charset="-122"/>
              <a:cs typeface="+mn-cs"/>
            </a:endParaRPr>
          </a:p>
        </p:txBody>
      </p:sp>
      <p:sp>
        <p:nvSpPr>
          <p:cNvPr id="102" name="椭圆 101">
            <a:extLst>
              <a:ext uri="{FF2B5EF4-FFF2-40B4-BE49-F238E27FC236}">
                <a16:creationId xmlns:a16="http://schemas.microsoft.com/office/drawing/2014/main" id="{844275B2-39F0-48CB-8F24-E9E7BEB59A2C}"/>
              </a:ext>
            </a:extLst>
          </p:cNvPr>
          <p:cNvSpPr/>
          <p:nvPr/>
        </p:nvSpPr>
        <p:spPr>
          <a:xfrm>
            <a:off x="10226867" y="3810666"/>
            <a:ext cx="65925" cy="6592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white"/>
              </a:solidFill>
              <a:effectLst/>
              <a:uLnTx/>
              <a:uFillTx/>
              <a:latin typeface="OPPOSans L" panose="00020600040101010101" pitchFamily="18" charset="-122"/>
              <a:ea typeface="OPPOSans L" panose="00020600040101010101" pitchFamily="18" charset="-122"/>
              <a:cs typeface="+mn-cs"/>
            </a:endParaRPr>
          </a:p>
        </p:txBody>
      </p:sp>
      <p:sp>
        <p:nvSpPr>
          <p:cNvPr id="103" name="椭圆 102">
            <a:extLst>
              <a:ext uri="{FF2B5EF4-FFF2-40B4-BE49-F238E27FC236}">
                <a16:creationId xmlns:a16="http://schemas.microsoft.com/office/drawing/2014/main" id="{9E8A02AE-E21C-4F66-BDE6-1F1BA9C70E8E}"/>
              </a:ext>
            </a:extLst>
          </p:cNvPr>
          <p:cNvSpPr/>
          <p:nvPr/>
        </p:nvSpPr>
        <p:spPr>
          <a:xfrm>
            <a:off x="10392522" y="3810666"/>
            <a:ext cx="65925" cy="6592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white"/>
              </a:solidFill>
              <a:effectLst/>
              <a:uLnTx/>
              <a:uFillTx/>
              <a:latin typeface="OPPOSans L" panose="00020600040101010101" pitchFamily="18" charset="-122"/>
              <a:ea typeface="OPPOSans L" panose="00020600040101010101" pitchFamily="18" charset="-122"/>
              <a:cs typeface="+mn-cs"/>
            </a:endParaRPr>
          </a:p>
        </p:txBody>
      </p:sp>
      <p:sp>
        <p:nvSpPr>
          <p:cNvPr id="95" name="箭头: V 形 94">
            <a:extLst>
              <a:ext uri="{FF2B5EF4-FFF2-40B4-BE49-F238E27FC236}">
                <a16:creationId xmlns:a16="http://schemas.microsoft.com/office/drawing/2014/main" id="{A60B9BE8-1E17-4DF9-8A87-647321C5E9F7}"/>
              </a:ext>
            </a:extLst>
          </p:cNvPr>
          <p:cNvSpPr/>
          <p:nvPr/>
        </p:nvSpPr>
        <p:spPr>
          <a:xfrm>
            <a:off x="10545465" y="3787669"/>
            <a:ext cx="65925" cy="111919"/>
          </a:xfrm>
          <a:prstGeom prst="chevron">
            <a:avLst>
              <a:gd name="adj" fmla="val 84883"/>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black"/>
              </a:solidFill>
              <a:effectLst/>
              <a:uLnTx/>
              <a:uFillTx/>
              <a:latin typeface="OPPOSans L" panose="00020600040101010101" pitchFamily="18" charset="-122"/>
              <a:ea typeface="OPPOSans L" panose="00020600040101010101" pitchFamily="18" charset="-122"/>
              <a:cs typeface="+mn-cs"/>
            </a:endParaRPr>
          </a:p>
        </p:txBody>
      </p:sp>
      <p:sp>
        <p:nvSpPr>
          <p:cNvPr id="96" name="箭头: V 形 95">
            <a:extLst>
              <a:ext uri="{FF2B5EF4-FFF2-40B4-BE49-F238E27FC236}">
                <a16:creationId xmlns:a16="http://schemas.microsoft.com/office/drawing/2014/main" id="{FCD1E1E5-B0D1-4AE1-9ECC-3C6B46118600}"/>
              </a:ext>
            </a:extLst>
          </p:cNvPr>
          <p:cNvSpPr/>
          <p:nvPr/>
        </p:nvSpPr>
        <p:spPr>
          <a:xfrm>
            <a:off x="10622991" y="3787669"/>
            <a:ext cx="65925" cy="111919"/>
          </a:xfrm>
          <a:prstGeom prst="chevron">
            <a:avLst>
              <a:gd name="adj" fmla="val 84883"/>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black"/>
              </a:solidFill>
              <a:effectLst/>
              <a:uLnTx/>
              <a:uFillTx/>
              <a:latin typeface="OPPOSans L" panose="00020600040101010101" pitchFamily="18" charset="-122"/>
              <a:ea typeface="OPPOSans L" panose="00020600040101010101" pitchFamily="18" charset="-122"/>
              <a:cs typeface="+mn-cs"/>
            </a:endParaRPr>
          </a:p>
        </p:txBody>
      </p:sp>
      <p:sp>
        <p:nvSpPr>
          <p:cNvPr id="97" name="箭头: V 形 96">
            <a:extLst>
              <a:ext uri="{FF2B5EF4-FFF2-40B4-BE49-F238E27FC236}">
                <a16:creationId xmlns:a16="http://schemas.microsoft.com/office/drawing/2014/main" id="{6E64FF00-26D8-4A33-874B-36F50DE17307}"/>
              </a:ext>
            </a:extLst>
          </p:cNvPr>
          <p:cNvSpPr/>
          <p:nvPr/>
        </p:nvSpPr>
        <p:spPr>
          <a:xfrm>
            <a:off x="10700517" y="3787669"/>
            <a:ext cx="65925" cy="111919"/>
          </a:xfrm>
          <a:prstGeom prst="chevron">
            <a:avLst>
              <a:gd name="adj" fmla="val 84883"/>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black"/>
              </a:solidFill>
              <a:effectLst/>
              <a:uLnTx/>
              <a:uFillTx/>
              <a:latin typeface="OPPOSans L" panose="00020600040101010101" pitchFamily="18" charset="-122"/>
              <a:ea typeface="OPPOSans L" panose="00020600040101010101" pitchFamily="18" charset="-122"/>
              <a:cs typeface="+mn-cs"/>
            </a:endParaRPr>
          </a:p>
        </p:txBody>
      </p:sp>
      <p:sp>
        <p:nvSpPr>
          <p:cNvPr id="98" name="箭头: V 形 97">
            <a:extLst>
              <a:ext uri="{FF2B5EF4-FFF2-40B4-BE49-F238E27FC236}">
                <a16:creationId xmlns:a16="http://schemas.microsoft.com/office/drawing/2014/main" id="{AE07D465-45D5-4F8E-BE78-BE54881F40B1}"/>
              </a:ext>
            </a:extLst>
          </p:cNvPr>
          <p:cNvSpPr/>
          <p:nvPr/>
        </p:nvSpPr>
        <p:spPr>
          <a:xfrm>
            <a:off x="10778043" y="3787669"/>
            <a:ext cx="65925" cy="111919"/>
          </a:xfrm>
          <a:prstGeom prst="chevron">
            <a:avLst>
              <a:gd name="adj" fmla="val 84883"/>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black"/>
              </a:solidFill>
              <a:effectLst/>
              <a:uLnTx/>
              <a:uFillTx/>
              <a:latin typeface="OPPOSans L" panose="00020600040101010101" pitchFamily="18" charset="-122"/>
              <a:ea typeface="OPPOSans L" panose="00020600040101010101" pitchFamily="18" charset="-122"/>
              <a:cs typeface="+mn-cs"/>
            </a:endParaRPr>
          </a:p>
        </p:txBody>
      </p:sp>
      <p:sp>
        <p:nvSpPr>
          <p:cNvPr id="99" name="箭头: V 形 98">
            <a:extLst>
              <a:ext uri="{FF2B5EF4-FFF2-40B4-BE49-F238E27FC236}">
                <a16:creationId xmlns:a16="http://schemas.microsoft.com/office/drawing/2014/main" id="{987845CF-32BD-4CF9-9973-324D37F3D310}"/>
              </a:ext>
            </a:extLst>
          </p:cNvPr>
          <p:cNvSpPr/>
          <p:nvPr/>
        </p:nvSpPr>
        <p:spPr>
          <a:xfrm>
            <a:off x="10855569" y="3787669"/>
            <a:ext cx="65925" cy="111919"/>
          </a:xfrm>
          <a:prstGeom prst="chevron">
            <a:avLst>
              <a:gd name="adj" fmla="val 84883"/>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black"/>
              </a:solidFill>
              <a:effectLst/>
              <a:uLnTx/>
              <a:uFillTx/>
              <a:latin typeface="OPPOSans L" panose="00020600040101010101" pitchFamily="18" charset="-122"/>
              <a:ea typeface="OPPOSans L" panose="00020600040101010101" pitchFamily="18" charset="-122"/>
              <a:cs typeface="+mn-cs"/>
            </a:endParaRPr>
          </a:p>
        </p:txBody>
      </p:sp>
      <p:sp>
        <p:nvSpPr>
          <p:cNvPr id="106" name="椭圆 105">
            <a:extLst>
              <a:ext uri="{FF2B5EF4-FFF2-40B4-BE49-F238E27FC236}">
                <a16:creationId xmlns:a16="http://schemas.microsoft.com/office/drawing/2014/main" id="{431A6FF9-1E7B-4300-9879-BCC57E71E0B8}"/>
              </a:ext>
            </a:extLst>
          </p:cNvPr>
          <p:cNvSpPr/>
          <p:nvPr/>
        </p:nvSpPr>
        <p:spPr>
          <a:xfrm>
            <a:off x="3455189" y="1465195"/>
            <a:ext cx="659596" cy="659596"/>
          </a:xfrm>
          <a:prstGeom prst="ellipse">
            <a:avLst/>
          </a:prstGeom>
          <a:solidFill>
            <a:schemeClr val="bg1"/>
          </a:solidFill>
          <a:ln w="9525">
            <a:gradFill flip="none" rotWithShape="1">
              <a:gsLst>
                <a:gs pos="0">
                  <a:schemeClr val="accent2"/>
                </a:gs>
                <a:gs pos="100000">
                  <a:schemeClr val="accent1">
                    <a:lumMod val="20000"/>
                    <a:lumOff val="80000"/>
                    <a:alpha val="0"/>
                  </a:schemeClr>
                </a:gs>
              </a:gsLst>
              <a:lin ang="5400000" scaled="1"/>
              <a:tileRect/>
            </a:gradFill>
          </a:ln>
          <a:effectLst>
            <a:outerShdw blurRad="101600" dist="38100" dir="5400000" algn="t" rotWithShape="0">
              <a:schemeClr val="accent1">
                <a:lumMod val="100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white"/>
              </a:solidFill>
              <a:effectLst/>
              <a:uLnTx/>
              <a:uFillTx/>
              <a:latin typeface="OPPOSans L" panose="00020600040101010101" pitchFamily="18" charset="-122"/>
              <a:ea typeface="OPPOSans L" panose="00020600040101010101" pitchFamily="18" charset="-122"/>
              <a:cs typeface="+mn-cs"/>
            </a:endParaRPr>
          </a:p>
        </p:txBody>
      </p:sp>
      <p:sp>
        <p:nvSpPr>
          <p:cNvPr id="109" name="弧形 108">
            <a:extLst>
              <a:ext uri="{FF2B5EF4-FFF2-40B4-BE49-F238E27FC236}">
                <a16:creationId xmlns:a16="http://schemas.microsoft.com/office/drawing/2014/main" id="{71901AAD-D0FC-4238-859F-B8817029419B}"/>
              </a:ext>
            </a:extLst>
          </p:cNvPr>
          <p:cNvSpPr/>
          <p:nvPr/>
        </p:nvSpPr>
        <p:spPr>
          <a:xfrm>
            <a:off x="3397987" y="1407993"/>
            <a:ext cx="774000" cy="774000"/>
          </a:xfrm>
          <a:prstGeom prst="arc">
            <a:avLst>
              <a:gd name="adj1" fmla="val 5400004"/>
              <a:gd name="adj2" fmla="val 0"/>
            </a:avLst>
          </a:prstGeom>
          <a:ln w="9525">
            <a:headEnd type="oval" w="sm" len="sm"/>
            <a:tailEnd type="oval" w="sm" len="sm"/>
          </a:ln>
        </p:spPr>
        <p:style>
          <a:lnRef idx="1">
            <a:schemeClr val="accent1"/>
          </a:lnRef>
          <a:fillRef idx="0">
            <a:schemeClr val="accent1"/>
          </a:fillRef>
          <a:effectRef idx="0">
            <a:schemeClr val="accent1"/>
          </a:effectRef>
          <a:fontRef idx="minor">
            <a:schemeClr val="tx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black"/>
              </a:solidFill>
              <a:effectLst/>
              <a:uLnTx/>
              <a:uFillTx/>
              <a:latin typeface="OPPOSans L" panose="00020600040101010101" pitchFamily="18" charset="-122"/>
              <a:ea typeface="OPPOSans L" panose="00020600040101010101" pitchFamily="18" charset="-122"/>
              <a:cs typeface="+mn-cs"/>
            </a:endParaRPr>
          </a:p>
        </p:txBody>
      </p:sp>
      <p:sp>
        <p:nvSpPr>
          <p:cNvPr id="111" name="弧形 110">
            <a:extLst>
              <a:ext uri="{FF2B5EF4-FFF2-40B4-BE49-F238E27FC236}">
                <a16:creationId xmlns:a16="http://schemas.microsoft.com/office/drawing/2014/main" id="{82D9B31D-1295-4AF4-8A94-119A091DB86C}"/>
              </a:ext>
            </a:extLst>
          </p:cNvPr>
          <p:cNvSpPr/>
          <p:nvPr/>
        </p:nvSpPr>
        <p:spPr>
          <a:xfrm>
            <a:off x="3397987" y="1407993"/>
            <a:ext cx="774000" cy="774000"/>
          </a:xfrm>
          <a:prstGeom prst="arc">
            <a:avLst>
              <a:gd name="adj1" fmla="val 368536"/>
              <a:gd name="adj2" fmla="val 5113948"/>
            </a:avLst>
          </a:prstGeom>
          <a:ln w="9525">
            <a:prstDash val="sysDot"/>
          </a:ln>
        </p:spPr>
        <p:style>
          <a:lnRef idx="1">
            <a:schemeClr val="accent1"/>
          </a:lnRef>
          <a:fillRef idx="0">
            <a:schemeClr val="accent1"/>
          </a:fillRef>
          <a:effectRef idx="0">
            <a:schemeClr val="accent1"/>
          </a:effectRef>
          <a:fontRef idx="minor">
            <a:schemeClr val="tx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black"/>
              </a:solidFill>
              <a:effectLst/>
              <a:uLnTx/>
              <a:uFillTx/>
              <a:latin typeface="OPPOSans L" panose="00020600040101010101" pitchFamily="18" charset="-122"/>
              <a:ea typeface="OPPOSans L" panose="00020600040101010101" pitchFamily="18" charset="-122"/>
              <a:cs typeface="+mn-cs"/>
            </a:endParaRPr>
          </a:p>
        </p:txBody>
      </p:sp>
      <p:sp>
        <p:nvSpPr>
          <p:cNvPr id="114" name="椭圆 113">
            <a:extLst>
              <a:ext uri="{FF2B5EF4-FFF2-40B4-BE49-F238E27FC236}">
                <a16:creationId xmlns:a16="http://schemas.microsoft.com/office/drawing/2014/main" id="{4E8425EB-12DC-4093-8901-3D20A4047B81}"/>
              </a:ext>
            </a:extLst>
          </p:cNvPr>
          <p:cNvSpPr/>
          <p:nvPr/>
        </p:nvSpPr>
        <p:spPr>
          <a:xfrm>
            <a:off x="6355486" y="1465195"/>
            <a:ext cx="659596" cy="659596"/>
          </a:xfrm>
          <a:prstGeom prst="ellipse">
            <a:avLst/>
          </a:prstGeom>
          <a:solidFill>
            <a:schemeClr val="bg1"/>
          </a:solidFill>
          <a:ln w="9525">
            <a:gradFill flip="none" rotWithShape="1">
              <a:gsLst>
                <a:gs pos="0">
                  <a:schemeClr val="accent2"/>
                </a:gs>
                <a:gs pos="100000">
                  <a:schemeClr val="accent1">
                    <a:lumMod val="20000"/>
                    <a:lumOff val="80000"/>
                    <a:alpha val="0"/>
                  </a:schemeClr>
                </a:gs>
              </a:gsLst>
              <a:lin ang="5400000" scaled="1"/>
              <a:tileRect/>
            </a:gradFill>
          </a:ln>
          <a:effectLst>
            <a:outerShdw blurRad="101600" dist="38100" dir="5400000" algn="t" rotWithShape="0">
              <a:schemeClr val="accent1">
                <a:lumMod val="100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white"/>
              </a:solidFill>
              <a:effectLst/>
              <a:uLnTx/>
              <a:uFillTx/>
              <a:latin typeface="OPPOSans L" panose="00020600040101010101" pitchFamily="18" charset="-122"/>
              <a:ea typeface="OPPOSans L" panose="00020600040101010101" pitchFamily="18" charset="-122"/>
              <a:cs typeface="+mn-cs"/>
            </a:endParaRPr>
          </a:p>
        </p:txBody>
      </p:sp>
      <p:sp>
        <p:nvSpPr>
          <p:cNvPr id="115" name="弧形 114">
            <a:extLst>
              <a:ext uri="{FF2B5EF4-FFF2-40B4-BE49-F238E27FC236}">
                <a16:creationId xmlns:a16="http://schemas.microsoft.com/office/drawing/2014/main" id="{C197E378-0710-4CFB-869A-6D850254F39F}"/>
              </a:ext>
            </a:extLst>
          </p:cNvPr>
          <p:cNvSpPr/>
          <p:nvPr/>
        </p:nvSpPr>
        <p:spPr>
          <a:xfrm>
            <a:off x="6298284" y="1407993"/>
            <a:ext cx="774000" cy="774000"/>
          </a:xfrm>
          <a:prstGeom prst="arc">
            <a:avLst>
              <a:gd name="adj1" fmla="val 5400004"/>
              <a:gd name="adj2" fmla="val 0"/>
            </a:avLst>
          </a:prstGeom>
          <a:ln w="9525">
            <a:headEnd type="oval" w="sm" len="sm"/>
            <a:tailEnd type="oval" w="sm" len="sm"/>
          </a:ln>
        </p:spPr>
        <p:style>
          <a:lnRef idx="1">
            <a:schemeClr val="accent1"/>
          </a:lnRef>
          <a:fillRef idx="0">
            <a:schemeClr val="accent1"/>
          </a:fillRef>
          <a:effectRef idx="0">
            <a:schemeClr val="accent1"/>
          </a:effectRef>
          <a:fontRef idx="minor">
            <a:schemeClr val="tx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black"/>
              </a:solidFill>
              <a:effectLst/>
              <a:uLnTx/>
              <a:uFillTx/>
              <a:latin typeface="OPPOSans L" panose="00020600040101010101" pitchFamily="18" charset="-122"/>
              <a:ea typeface="OPPOSans L" panose="00020600040101010101" pitchFamily="18" charset="-122"/>
              <a:cs typeface="+mn-cs"/>
            </a:endParaRPr>
          </a:p>
        </p:txBody>
      </p:sp>
      <p:sp>
        <p:nvSpPr>
          <p:cNvPr id="117" name="弧形 116">
            <a:extLst>
              <a:ext uri="{FF2B5EF4-FFF2-40B4-BE49-F238E27FC236}">
                <a16:creationId xmlns:a16="http://schemas.microsoft.com/office/drawing/2014/main" id="{FA93A8AF-2B79-4B79-BA31-969C3A612E5B}"/>
              </a:ext>
            </a:extLst>
          </p:cNvPr>
          <p:cNvSpPr/>
          <p:nvPr/>
        </p:nvSpPr>
        <p:spPr>
          <a:xfrm>
            <a:off x="6298284" y="1407993"/>
            <a:ext cx="774000" cy="774000"/>
          </a:xfrm>
          <a:prstGeom prst="arc">
            <a:avLst>
              <a:gd name="adj1" fmla="val 368536"/>
              <a:gd name="adj2" fmla="val 5113948"/>
            </a:avLst>
          </a:prstGeom>
          <a:ln w="9525">
            <a:prstDash val="sysDot"/>
          </a:ln>
        </p:spPr>
        <p:style>
          <a:lnRef idx="1">
            <a:schemeClr val="accent1"/>
          </a:lnRef>
          <a:fillRef idx="0">
            <a:schemeClr val="accent1"/>
          </a:fillRef>
          <a:effectRef idx="0">
            <a:schemeClr val="accent1"/>
          </a:effectRef>
          <a:fontRef idx="minor">
            <a:schemeClr val="tx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black"/>
              </a:solidFill>
              <a:effectLst/>
              <a:uLnTx/>
              <a:uFillTx/>
              <a:latin typeface="OPPOSans L" panose="00020600040101010101" pitchFamily="18" charset="-122"/>
              <a:ea typeface="OPPOSans L" panose="00020600040101010101" pitchFamily="18" charset="-122"/>
              <a:cs typeface="+mn-cs"/>
            </a:endParaRPr>
          </a:p>
        </p:txBody>
      </p:sp>
      <p:sp>
        <p:nvSpPr>
          <p:cNvPr id="119" name="椭圆 118">
            <a:extLst>
              <a:ext uri="{FF2B5EF4-FFF2-40B4-BE49-F238E27FC236}">
                <a16:creationId xmlns:a16="http://schemas.microsoft.com/office/drawing/2014/main" id="{D8265B17-36C5-429C-811D-547C9EE32630}"/>
              </a:ext>
            </a:extLst>
          </p:cNvPr>
          <p:cNvSpPr/>
          <p:nvPr/>
        </p:nvSpPr>
        <p:spPr>
          <a:xfrm>
            <a:off x="9255783" y="1465195"/>
            <a:ext cx="659596" cy="659596"/>
          </a:xfrm>
          <a:prstGeom prst="ellipse">
            <a:avLst/>
          </a:prstGeom>
          <a:solidFill>
            <a:schemeClr val="bg1"/>
          </a:solidFill>
          <a:ln w="9525">
            <a:gradFill flip="none" rotWithShape="1">
              <a:gsLst>
                <a:gs pos="0">
                  <a:schemeClr val="accent2"/>
                </a:gs>
                <a:gs pos="100000">
                  <a:schemeClr val="accent1">
                    <a:lumMod val="20000"/>
                    <a:lumOff val="80000"/>
                    <a:alpha val="0"/>
                  </a:schemeClr>
                </a:gs>
              </a:gsLst>
              <a:lin ang="5400000" scaled="1"/>
              <a:tileRect/>
            </a:gradFill>
          </a:ln>
          <a:effectLst>
            <a:outerShdw blurRad="101600" dist="38100" dir="5400000" algn="t" rotWithShape="0">
              <a:schemeClr val="accent1">
                <a:lumMod val="100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white"/>
              </a:solidFill>
              <a:effectLst/>
              <a:uLnTx/>
              <a:uFillTx/>
              <a:latin typeface="OPPOSans L" panose="00020600040101010101" pitchFamily="18" charset="-122"/>
              <a:ea typeface="OPPOSans L" panose="00020600040101010101" pitchFamily="18" charset="-122"/>
              <a:cs typeface="+mn-cs"/>
            </a:endParaRPr>
          </a:p>
        </p:txBody>
      </p:sp>
      <p:sp>
        <p:nvSpPr>
          <p:cNvPr id="120" name="弧形 119">
            <a:extLst>
              <a:ext uri="{FF2B5EF4-FFF2-40B4-BE49-F238E27FC236}">
                <a16:creationId xmlns:a16="http://schemas.microsoft.com/office/drawing/2014/main" id="{C79DAE8D-AC12-41FF-86A6-A2998070D1F4}"/>
              </a:ext>
            </a:extLst>
          </p:cNvPr>
          <p:cNvSpPr/>
          <p:nvPr/>
        </p:nvSpPr>
        <p:spPr>
          <a:xfrm>
            <a:off x="9198581" y="1407993"/>
            <a:ext cx="774000" cy="774000"/>
          </a:xfrm>
          <a:prstGeom prst="arc">
            <a:avLst>
              <a:gd name="adj1" fmla="val 5400004"/>
              <a:gd name="adj2" fmla="val 0"/>
            </a:avLst>
          </a:prstGeom>
          <a:ln w="9525">
            <a:headEnd type="oval" w="sm" len="sm"/>
            <a:tailEnd type="oval" w="sm" len="sm"/>
          </a:ln>
        </p:spPr>
        <p:style>
          <a:lnRef idx="1">
            <a:schemeClr val="accent1"/>
          </a:lnRef>
          <a:fillRef idx="0">
            <a:schemeClr val="accent1"/>
          </a:fillRef>
          <a:effectRef idx="0">
            <a:schemeClr val="accent1"/>
          </a:effectRef>
          <a:fontRef idx="minor">
            <a:schemeClr val="tx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black"/>
              </a:solidFill>
              <a:effectLst/>
              <a:uLnTx/>
              <a:uFillTx/>
              <a:latin typeface="OPPOSans L" panose="00020600040101010101" pitchFamily="18" charset="-122"/>
              <a:ea typeface="OPPOSans L" panose="00020600040101010101" pitchFamily="18" charset="-122"/>
              <a:cs typeface="+mn-cs"/>
            </a:endParaRPr>
          </a:p>
        </p:txBody>
      </p:sp>
      <p:sp>
        <p:nvSpPr>
          <p:cNvPr id="122" name="弧形 121">
            <a:extLst>
              <a:ext uri="{FF2B5EF4-FFF2-40B4-BE49-F238E27FC236}">
                <a16:creationId xmlns:a16="http://schemas.microsoft.com/office/drawing/2014/main" id="{ACB9A571-1D70-4755-B16C-92F1CD958A29}"/>
              </a:ext>
            </a:extLst>
          </p:cNvPr>
          <p:cNvSpPr/>
          <p:nvPr/>
        </p:nvSpPr>
        <p:spPr>
          <a:xfrm>
            <a:off x="9198581" y="1407993"/>
            <a:ext cx="774000" cy="774000"/>
          </a:xfrm>
          <a:prstGeom prst="arc">
            <a:avLst>
              <a:gd name="adj1" fmla="val 368536"/>
              <a:gd name="adj2" fmla="val 5113948"/>
            </a:avLst>
          </a:prstGeom>
          <a:ln w="9525">
            <a:prstDash val="sysDot"/>
          </a:ln>
        </p:spPr>
        <p:style>
          <a:lnRef idx="1">
            <a:schemeClr val="accent1"/>
          </a:lnRef>
          <a:fillRef idx="0">
            <a:schemeClr val="accent1"/>
          </a:fillRef>
          <a:effectRef idx="0">
            <a:schemeClr val="accent1"/>
          </a:effectRef>
          <a:fontRef idx="minor">
            <a:schemeClr val="tx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black"/>
              </a:solidFill>
              <a:effectLst/>
              <a:uLnTx/>
              <a:uFillTx/>
              <a:latin typeface="OPPOSans L" panose="00020600040101010101" pitchFamily="18" charset="-122"/>
              <a:ea typeface="OPPOSans L" panose="00020600040101010101" pitchFamily="18" charset="-122"/>
              <a:cs typeface="+mn-cs"/>
            </a:endParaRPr>
          </a:p>
        </p:txBody>
      </p:sp>
      <p:sp>
        <p:nvSpPr>
          <p:cNvPr id="136" name="椭圆 135">
            <a:extLst>
              <a:ext uri="{FF2B5EF4-FFF2-40B4-BE49-F238E27FC236}">
                <a16:creationId xmlns:a16="http://schemas.microsoft.com/office/drawing/2014/main" id="{635F7F39-8F6E-47C3-8E09-C0A3F006854B}"/>
              </a:ext>
            </a:extLst>
          </p:cNvPr>
          <p:cNvSpPr/>
          <p:nvPr/>
        </p:nvSpPr>
        <p:spPr>
          <a:xfrm>
            <a:off x="3455189" y="5541895"/>
            <a:ext cx="659596" cy="659596"/>
          </a:xfrm>
          <a:prstGeom prst="ellipse">
            <a:avLst/>
          </a:prstGeom>
          <a:solidFill>
            <a:schemeClr val="bg1"/>
          </a:solidFill>
          <a:ln w="9525">
            <a:gradFill flip="none" rotWithShape="1">
              <a:gsLst>
                <a:gs pos="0">
                  <a:schemeClr val="accent2"/>
                </a:gs>
                <a:gs pos="100000">
                  <a:schemeClr val="accent1">
                    <a:lumMod val="20000"/>
                    <a:lumOff val="80000"/>
                    <a:alpha val="0"/>
                  </a:schemeClr>
                </a:gs>
              </a:gsLst>
              <a:lin ang="5400000" scaled="1"/>
              <a:tileRect/>
            </a:gradFill>
          </a:ln>
          <a:effectLst>
            <a:outerShdw blurRad="101600" dist="38100" dir="5400000" algn="t" rotWithShape="0">
              <a:schemeClr val="accent1">
                <a:lumMod val="100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white"/>
              </a:solidFill>
              <a:effectLst/>
              <a:uLnTx/>
              <a:uFillTx/>
              <a:latin typeface="OPPOSans L" panose="00020600040101010101" pitchFamily="18" charset="-122"/>
              <a:ea typeface="OPPOSans L" panose="00020600040101010101" pitchFamily="18" charset="-122"/>
              <a:cs typeface="+mn-cs"/>
            </a:endParaRPr>
          </a:p>
        </p:txBody>
      </p:sp>
      <p:sp>
        <p:nvSpPr>
          <p:cNvPr id="137" name="弧形 136">
            <a:extLst>
              <a:ext uri="{FF2B5EF4-FFF2-40B4-BE49-F238E27FC236}">
                <a16:creationId xmlns:a16="http://schemas.microsoft.com/office/drawing/2014/main" id="{311E8E0A-9759-4EF2-98B6-0D00783BF835}"/>
              </a:ext>
            </a:extLst>
          </p:cNvPr>
          <p:cNvSpPr/>
          <p:nvPr/>
        </p:nvSpPr>
        <p:spPr>
          <a:xfrm>
            <a:off x="3397987" y="5484693"/>
            <a:ext cx="774000" cy="774000"/>
          </a:xfrm>
          <a:prstGeom prst="arc">
            <a:avLst>
              <a:gd name="adj1" fmla="val 5400004"/>
              <a:gd name="adj2" fmla="val 0"/>
            </a:avLst>
          </a:prstGeom>
          <a:ln w="9525">
            <a:headEnd type="oval" w="sm" len="sm"/>
            <a:tailEnd type="oval" w="sm" len="sm"/>
          </a:ln>
        </p:spPr>
        <p:style>
          <a:lnRef idx="1">
            <a:schemeClr val="accent1"/>
          </a:lnRef>
          <a:fillRef idx="0">
            <a:schemeClr val="accent1"/>
          </a:fillRef>
          <a:effectRef idx="0">
            <a:schemeClr val="accent1"/>
          </a:effectRef>
          <a:fontRef idx="minor">
            <a:schemeClr val="tx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black"/>
              </a:solidFill>
              <a:effectLst/>
              <a:uLnTx/>
              <a:uFillTx/>
              <a:latin typeface="OPPOSans L" panose="00020600040101010101" pitchFamily="18" charset="-122"/>
              <a:ea typeface="OPPOSans L" panose="00020600040101010101" pitchFamily="18" charset="-122"/>
              <a:cs typeface="+mn-cs"/>
            </a:endParaRPr>
          </a:p>
        </p:txBody>
      </p:sp>
      <p:sp>
        <p:nvSpPr>
          <p:cNvPr id="139" name="弧形 138">
            <a:extLst>
              <a:ext uri="{FF2B5EF4-FFF2-40B4-BE49-F238E27FC236}">
                <a16:creationId xmlns:a16="http://schemas.microsoft.com/office/drawing/2014/main" id="{CCAE15FE-F3C5-4704-B33A-8FFE5683213D}"/>
              </a:ext>
            </a:extLst>
          </p:cNvPr>
          <p:cNvSpPr/>
          <p:nvPr/>
        </p:nvSpPr>
        <p:spPr>
          <a:xfrm>
            <a:off x="3397987" y="5484693"/>
            <a:ext cx="774000" cy="774000"/>
          </a:xfrm>
          <a:prstGeom prst="arc">
            <a:avLst>
              <a:gd name="adj1" fmla="val 368536"/>
              <a:gd name="adj2" fmla="val 5113948"/>
            </a:avLst>
          </a:prstGeom>
          <a:ln w="9525">
            <a:prstDash val="sysDot"/>
          </a:ln>
        </p:spPr>
        <p:style>
          <a:lnRef idx="1">
            <a:schemeClr val="accent1"/>
          </a:lnRef>
          <a:fillRef idx="0">
            <a:schemeClr val="accent1"/>
          </a:fillRef>
          <a:effectRef idx="0">
            <a:schemeClr val="accent1"/>
          </a:effectRef>
          <a:fontRef idx="minor">
            <a:schemeClr val="tx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black"/>
              </a:solidFill>
              <a:effectLst/>
              <a:uLnTx/>
              <a:uFillTx/>
              <a:latin typeface="OPPOSans L" panose="00020600040101010101" pitchFamily="18" charset="-122"/>
              <a:ea typeface="OPPOSans L" panose="00020600040101010101" pitchFamily="18" charset="-122"/>
              <a:cs typeface="+mn-cs"/>
            </a:endParaRPr>
          </a:p>
        </p:txBody>
      </p:sp>
      <p:sp>
        <p:nvSpPr>
          <p:cNvPr id="132" name="椭圆 131">
            <a:extLst>
              <a:ext uri="{FF2B5EF4-FFF2-40B4-BE49-F238E27FC236}">
                <a16:creationId xmlns:a16="http://schemas.microsoft.com/office/drawing/2014/main" id="{BB44F605-FCD2-47C7-B8D0-8E178ACC197F}"/>
              </a:ext>
            </a:extLst>
          </p:cNvPr>
          <p:cNvSpPr/>
          <p:nvPr/>
        </p:nvSpPr>
        <p:spPr>
          <a:xfrm>
            <a:off x="6355486" y="5541895"/>
            <a:ext cx="659596" cy="659596"/>
          </a:xfrm>
          <a:prstGeom prst="ellipse">
            <a:avLst/>
          </a:prstGeom>
          <a:solidFill>
            <a:schemeClr val="bg1"/>
          </a:solidFill>
          <a:ln w="9525">
            <a:gradFill flip="none" rotWithShape="1">
              <a:gsLst>
                <a:gs pos="0">
                  <a:schemeClr val="accent2"/>
                </a:gs>
                <a:gs pos="100000">
                  <a:schemeClr val="accent1">
                    <a:lumMod val="20000"/>
                    <a:lumOff val="80000"/>
                    <a:alpha val="0"/>
                  </a:schemeClr>
                </a:gs>
              </a:gsLst>
              <a:lin ang="5400000" scaled="1"/>
              <a:tileRect/>
            </a:gradFill>
          </a:ln>
          <a:effectLst>
            <a:outerShdw blurRad="101600" dist="38100" dir="5400000" algn="t" rotWithShape="0">
              <a:schemeClr val="accent1">
                <a:lumMod val="100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white"/>
              </a:solidFill>
              <a:effectLst/>
              <a:uLnTx/>
              <a:uFillTx/>
              <a:latin typeface="OPPOSans L" panose="00020600040101010101" pitchFamily="18" charset="-122"/>
              <a:ea typeface="OPPOSans L" panose="00020600040101010101" pitchFamily="18" charset="-122"/>
              <a:cs typeface="+mn-cs"/>
            </a:endParaRPr>
          </a:p>
        </p:txBody>
      </p:sp>
      <p:sp>
        <p:nvSpPr>
          <p:cNvPr id="133" name="弧形 132">
            <a:extLst>
              <a:ext uri="{FF2B5EF4-FFF2-40B4-BE49-F238E27FC236}">
                <a16:creationId xmlns:a16="http://schemas.microsoft.com/office/drawing/2014/main" id="{6D3EF6C4-2857-4053-87C3-20B604FE7B5D}"/>
              </a:ext>
            </a:extLst>
          </p:cNvPr>
          <p:cNvSpPr/>
          <p:nvPr/>
        </p:nvSpPr>
        <p:spPr>
          <a:xfrm>
            <a:off x="6298284" y="5484693"/>
            <a:ext cx="774000" cy="774000"/>
          </a:xfrm>
          <a:prstGeom prst="arc">
            <a:avLst>
              <a:gd name="adj1" fmla="val 5400004"/>
              <a:gd name="adj2" fmla="val 0"/>
            </a:avLst>
          </a:prstGeom>
          <a:ln w="9525">
            <a:headEnd type="oval" w="sm" len="sm"/>
            <a:tailEnd type="oval" w="sm" len="sm"/>
          </a:ln>
        </p:spPr>
        <p:style>
          <a:lnRef idx="1">
            <a:schemeClr val="accent1"/>
          </a:lnRef>
          <a:fillRef idx="0">
            <a:schemeClr val="accent1"/>
          </a:fillRef>
          <a:effectRef idx="0">
            <a:schemeClr val="accent1"/>
          </a:effectRef>
          <a:fontRef idx="minor">
            <a:schemeClr val="tx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black"/>
              </a:solidFill>
              <a:effectLst/>
              <a:uLnTx/>
              <a:uFillTx/>
              <a:latin typeface="OPPOSans L" panose="00020600040101010101" pitchFamily="18" charset="-122"/>
              <a:ea typeface="OPPOSans L" panose="00020600040101010101" pitchFamily="18" charset="-122"/>
              <a:cs typeface="+mn-cs"/>
            </a:endParaRPr>
          </a:p>
        </p:txBody>
      </p:sp>
      <p:sp>
        <p:nvSpPr>
          <p:cNvPr id="135" name="弧形 134">
            <a:extLst>
              <a:ext uri="{FF2B5EF4-FFF2-40B4-BE49-F238E27FC236}">
                <a16:creationId xmlns:a16="http://schemas.microsoft.com/office/drawing/2014/main" id="{9CC317EB-B01F-4C0C-85C5-E1F87427AD7D}"/>
              </a:ext>
            </a:extLst>
          </p:cNvPr>
          <p:cNvSpPr/>
          <p:nvPr/>
        </p:nvSpPr>
        <p:spPr>
          <a:xfrm>
            <a:off x="6298284" y="5484693"/>
            <a:ext cx="774000" cy="774000"/>
          </a:xfrm>
          <a:prstGeom prst="arc">
            <a:avLst>
              <a:gd name="adj1" fmla="val 368536"/>
              <a:gd name="adj2" fmla="val 5113948"/>
            </a:avLst>
          </a:prstGeom>
          <a:ln w="9525">
            <a:prstDash val="sysDot"/>
          </a:ln>
        </p:spPr>
        <p:style>
          <a:lnRef idx="1">
            <a:schemeClr val="accent1"/>
          </a:lnRef>
          <a:fillRef idx="0">
            <a:schemeClr val="accent1"/>
          </a:fillRef>
          <a:effectRef idx="0">
            <a:schemeClr val="accent1"/>
          </a:effectRef>
          <a:fontRef idx="minor">
            <a:schemeClr val="tx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black"/>
              </a:solidFill>
              <a:effectLst/>
              <a:uLnTx/>
              <a:uFillTx/>
              <a:latin typeface="OPPOSans L" panose="00020600040101010101" pitchFamily="18" charset="-122"/>
              <a:ea typeface="OPPOSans L" panose="00020600040101010101" pitchFamily="18" charset="-122"/>
              <a:cs typeface="+mn-cs"/>
            </a:endParaRPr>
          </a:p>
        </p:txBody>
      </p:sp>
      <p:sp>
        <p:nvSpPr>
          <p:cNvPr id="128" name="椭圆 127">
            <a:extLst>
              <a:ext uri="{FF2B5EF4-FFF2-40B4-BE49-F238E27FC236}">
                <a16:creationId xmlns:a16="http://schemas.microsoft.com/office/drawing/2014/main" id="{48A63158-0978-40B5-8672-D2FFF9B55376}"/>
              </a:ext>
            </a:extLst>
          </p:cNvPr>
          <p:cNvSpPr/>
          <p:nvPr/>
        </p:nvSpPr>
        <p:spPr>
          <a:xfrm>
            <a:off x="9255783" y="5541895"/>
            <a:ext cx="659596" cy="659596"/>
          </a:xfrm>
          <a:prstGeom prst="ellipse">
            <a:avLst/>
          </a:prstGeom>
          <a:solidFill>
            <a:schemeClr val="bg1"/>
          </a:solidFill>
          <a:ln w="9525">
            <a:gradFill flip="none" rotWithShape="1">
              <a:gsLst>
                <a:gs pos="0">
                  <a:schemeClr val="accent2"/>
                </a:gs>
                <a:gs pos="100000">
                  <a:schemeClr val="accent1">
                    <a:lumMod val="20000"/>
                    <a:lumOff val="80000"/>
                    <a:alpha val="0"/>
                  </a:schemeClr>
                </a:gs>
              </a:gsLst>
              <a:lin ang="5400000" scaled="1"/>
              <a:tileRect/>
            </a:gradFill>
          </a:ln>
          <a:effectLst>
            <a:outerShdw blurRad="101600" dist="38100" dir="5400000" algn="t" rotWithShape="0">
              <a:schemeClr val="accent1">
                <a:lumMod val="100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white"/>
              </a:solidFill>
              <a:effectLst/>
              <a:uLnTx/>
              <a:uFillTx/>
              <a:latin typeface="OPPOSans L" panose="00020600040101010101" pitchFamily="18" charset="-122"/>
              <a:ea typeface="OPPOSans L" panose="00020600040101010101" pitchFamily="18" charset="-122"/>
              <a:cs typeface="+mn-cs"/>
            </a:endParaRPr>
          </a:p>
        </p:txBody>
      </p:sp>
      <p:sp>
        <p:nvSpPr>
          <p:cNvPr id="129" name="弧形 128">
            <a:extLst>
              <a:ext uri="{FF2B5EF4-FFF2-40B4-BE49-F238E27FC236}">
                <a16:creationId xmlns:a16="http://schemas.microsoft.com/office/drawing/2014/main" id="{E6C52FF0-9A27-4ACD-BDB9-3F3FEEBA3DDA}"/>
              </a:ext>
            </a:extLst>
          </p:cNvPr>
          <p:cNvSpPr/>
          <p:nvPr/>
        </p:nvSpPr>
        <p:spPr>
          <a:xfrm>
            <a:off x="9198581" y="5484693"/>
            <a:ext cx="774000" cy="774000"/>
          </a:xfrm>
          <a:prstGeom prst="arc">
            <a:avLst>
              <a:gd name="adj1" fmla="val 5400004"/>
              <a:gd name="adj2" fmla="val 0"/>
            </a:avLst>
          </a:prstGeom>
          <a:ln w="9525">
            <a:headEnd type="oval" w="sm" len="sm"/>
            <a:tailEnd type="oval" w="sm" len="sm"/>
          </a:ln>
        </p:spPr>
        <p:style>
          <a:lnRef idx="1">
            <a:schemeClr val="accent1"/>
          </a:lnRef>
          <a:fillRef idx="0">
            <a:schemeClr val="accent1"/>
          </a:fillRef>
          <a:effectRef idx="0">
            <a:schemeClr val="accent1"/>
          </a:effectRef>
          <a:fontRef idx="minor">
            <a:schemeClr val="tx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black"/>
              </a:solidFill>
              <a:effectLst/>
              <a:uLnTx/>
              <a:uFillTx/>
              <a:latin typeface="OPPOSans L" panose="00020600040101010101" pitchFamily="18" charset="-122"/>
              <a:ea typeface="OPPOSans L" panose="00020600040101010101" pitchFamily="18" charset="-122"/>
              <a:cs typeface="+mn-cs"/>
            </a:endParaRPr>
          </a:p>
        </p:txBody>
      </p:sp>
      <p:sp>
        <p:nvSpPr>
          <p:cNvPr id="131" name="弧形 130">
            <a:extLst>
              <a:ext uri="{FF2B5EF4-FFF2-40B4-BE49-F238E27FC236}">
                <a16:creationId xmlns:a16="http://schemas.microsoft.com/office/drawing/2014/main" id="{0A8D2022-FFCC-4884-B913-F799526B53C7}"/>
              </a:ext>
            </a:extLst>
          </p:cNvPr>
          <p:cNvSpPr/>
          <p:nvPr/>
        </p:nvSpPr>
        <p:spPr>
          <a:xfrm>
            <a:off x="9198581" y="5484693"/>
            <a:ext cx="774000" cy="774000"/>
          </a:xfrm>
          <a:prstGeom prst="arc">
            <a:avLst>
              <a:gd name="adj1" fmla="val 368536"/>
              <a:gd name="adj2" fmla="val 5113948"/>
            </a:avLst>
          </a:prstGeom>
          <a:ln w="9525">
            <a:prstDash val="sysDot"/>
          </a:ln>
        </p:spPr>
        <p:style>
          <a:lnRef idx="1">
            <a:schemeClr val="accent1"/>
          </a:lnRef>
          <a:fillRef idx="0">
            <a:schemeClr val="accent1"/>
          </a:fillRef>
          <a:effectRef idx="0">
            <a:schemeClr val="accent1"/>
          </a:effectRef>
          <a:fontRef idx="minor">
            <a:schemeClr val="tx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black"/>
              </a:solidFill>
              <a:effectLst/>
              <a:uLnTx/>
              <a:uFillTx/>
              <a:latin typeface="OPPOSans L" panose="00020600040101010101" pitchFamily="18" charset="-122"/>
              <a:ea typeface="OPPOSans L" panose="00020600040101010101" pitchFamily="18" charset="-122"/>
              <a:cs typeface="+mn-cs"/>
            </a:endParaRPr>
          </a:p>
        </p:txBody>
      </p:sp>
      <p:sp>
        <p:nvSpPr>
          <p:cNvPr id="7" name="任意多边形: 形状 6">
            <a:extLst>
              <a:ext uri="{FF2B5EF4-FFF2-40B4-BE49-F238E27FC236}">
                <a16:creationId xmlns:a16="http://schemas.microsoft.com/office/drawing/2014/main" id="{3F21DF0C-9FC7-42E0-8995-25973895AA66}"/>
              </a:ext>
            </a:extLst>
          </p:cNvPr>
          <p:cNvSpPr/>
          <p:nvPr/>
        </p:nvSpPr>
        <p:spPr>
          <a:xfrm rot="900000">
            <a:off x="8939385" y="-22145"/>
            <a:ext cx="4597400" cy="2273300"/>
          </a:xfrm>
          <a:custGeom>
            <a:avLst/>
            <a:gdLst>
              <a:gd name="connsiteX0" fmla="*/ 0 w 4597400"/>
              <a:gd name="connsiteY0" fmla="*/ 0 h 2273300"/>
              <a:gd name="connsiteX1" fmla="*/ 965200 w 4597400"/>
              <a:gd name="connsiteY1" fmla="*/ 1193800 h 2273300"/>
              <a:gd name="connsiteX2" fmla="*/ 2870200 w 4597400"/>
              <a:gd name="connsiteY2" fmla="*/ 1358900 h 2273300"/>
              <a:gd name="connsiteX3" fmla="*/ 4597400 w 4597400"/>
              <a:gd name="connsiteY3" fmla="*/ 2273300 h 2273300"/>
              <a:gd name="connsiteX4" fmla="*/ 4597400 w 4597400"/>
              <a:gd name="connsiteY4" fmla="*/ 2273300 h 2273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97400" h="2273300">
                <a:moveTo>
                  <a:pt x="0" y="0"/>
                </a:moveTo>
                <a:cubicBezTo>
                  <a:pt x="243416" y="483658"/>
                  <a:pt x="486833" y="967317"/>
                  <a:pt x="965200" y="1193800"/>
                </a:cubicBezTo>
                <a:cubicBezTo>
                  <a:pt x="1443567" y="1420283"/>
                  <a:pt x="2264833" y="1178983"/>
                  <a:pt x="2870200" y="1358900"/>
                </a:cubicBezTo>
                <a:cubicBezTo>
                  <a:pt x="3475567" y="1538817"/>
                  <a:pt x="4597400" y="2273300"/>
                  <a:pt x="4597400" y="2273300"/>
                </a:cubicBezTo>
                <a:lnTo>
                  <a:pt x="4597400" y="2273300"/>
                </a:lnTo>
              </a:path>
            </a:pathLst>
          </a:custGeom>
          <a:noFill/>
          <a:ln w="6350">
            <a:solidFill>
              <a:schemeClr val="accent1">
                <a:shade val="50000"/>
                <a:alpha val="3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white"/>
              </a:solidFill>
              <a:effectLst/>
              <a:uLnTx/>
              <a:uFillTx/>
              <a:latin typeface="OPPOSans L" panose="00020600040101010101" pitchFamily="18" charset="-122"/>
              <a:ea typeface="OPPOSans L" panose="00020600040101010101" pitchFamily="18" charset="-122"/>
              <a:cs typeface="+mn-cs"/>
            </a:endParaRPr>
          </a:p>
        </p:txBody>
      </p:sp>
      <p:sp>
        <p:nvSpPr>
          <p:cNvPr id="141" name="任意多边形: 形状 140">
            <a:extLst>
              <a:ext uri="{FF2B5EF4-FFF2-40B4-BE49-F238E27FC236}">
                <a16:creationId xmlns:a16="http://schemas.microsoft.com/office/drawing/2014/main" id="{370FCF56-EFB9-4C58-83A6-B53F299B5AC4}"/>
              </a:ext>
            </a:extLst>
          </p:cNvPr>
          <p:cNvSpPr/>
          <p:nvPr/>
        </p:nvSpPr>
        <p:spPr>
          <a:xfrm rot="900000">
            <a:off x="9030212" y="-109465"/>
            <a:ext cx="4597400" cy="2273300"/>
          </a:xfrm>
          <a:custGeom>
            <a:avLst/>
            <a:gdLst>
              <a:gd name="connsiteX0" fmla="*/ 0 w 4597400"/>
              <a:gd name="connsiteY0" fmla="*/ 0 h 2273300"/>
              <a:gd name="connsiteX1" fmla="*/ 965200 w 4597400"/>
              <a:gd name="connsiteY1" fmla="*/ 1193800 h 2273300"/>
              <a:gd name="connsiteX2" fmla="*/ 2870200 w 4597400"/>
              <a:gd name="connsiteY2" fmla="*/ 1358900 h 2273300"/>
              <a:gd name="connsiteX3" fmla="*/ 4597400 w 4597400"/>
              <a:gd name="connsiteY3" fmla="*/ 2273300 h 2273300"/>
              <a:gd name="connsiteX4" fmla="*/ 4597400 w 4597400"/>
              <a:gd name="connsiteY4" fmla="*/ 2273300 h 2273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97400" h="2273300">
                <a:moveTo>
                  <a:pt x="0" y="0"/>
                </a:moveTo>
                <a:cubicBezTo>
                  <a:pt x="243416" y="483658"/>
                  <a:pt x="486833" y="967317"/>
                  <a:pt x="965200" y="1193800"/>
                </a:cubicBezTo>
                <a:cubicBezTo>
                  <a:pt x="1443567" y="1420283"/>
                  <a:pt x="2264833" y="1178983"/>
                  <a:pt x="2870200" y="1358900"/>
                </a:cubicBezTo>
                <a:cubicBezTo>
                  <a:pt x="3475567" y="1538817"/>
                  <a:pt x="4597400" y="2273300"/>
                  <a:pt x="4597400" y="2273300"/>
                </a:cubicBezTo>
                <a:lnTo>
                  <a:pt x="4597400" y="2273300"/>
                </a:lnTo>
              </a:path>
            </a:pathLst>
          </a:custGeom>
          <a:noFill/>
          <a:ln w="6350">
            <a:solidFill>
              <a:schemeClr val="accent1">
                <a:shade val="50000"/>
                <a:alpha val="3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white"/>
              </a:solidFill>
              <a:effectLst/>
              <a:uLnTx/>
              <a:uFillTx/>
              <a:latin typeface="OPPOSans L" panose="00020600040101010101" pitchFamily="18" charset="-122"/>
              <a:ea typeface="OPPOSans L" panose="00020600040101010101" pitchFamily="18" charset="-122"/>
              <a:cs typeface="+mn-cs"/>
            </a:endParaRPr>
          </a:p>
        </p:txBody>
      </p:sp>
      <p:sp>
        <p:nvSpPr>
          <p:cNvPr id="142" name="任意多边形: 形状 141">
            <a:extLst>
              <a:ext uri="{FF2B5EF4-FFF2-40B4-BE49-F238E27FC236}">
                <a16:creationId xmlns:a16="http://schemas.microsoft.com/office/drawing/2014/main" id="{C8A33BD0-1033-4E18-B2BB-544C26BC3066}"/>
              </a:ext>
            </a:extLst>
          </p:cNvPr>
          <p:cNvSpPr/>
          <p:nvPr/>
        </p:nvSpPr>
        <p:spPr>
          <a:xfrm rot="900000">
            <a:off x="9121039" y="-196780"/>
            <a:ext cx="4597400" cy="2273300"/>
          </a:xfrm>
          <a:custGeom>
            <a:avLst/>
            <a:gdLst>
              <a:gd name="connsiteX0" fmla="*/ 0 w 4597400"/>
              <a:gd name="connsiteY0" fmla="*/ 0 h 2273300"/>
              <a:gd name="connsiteX1" fmla="*/ 965200 w 4597400"/>
              <a:gd name="connsiteY1" fmla="*/ 1193800 h 2273300"/>
              <a:gd name="connsiteX2" fmla="*/ 2870200 w 4597400"/>
              <a:gd name="connsiteY2" fmla="*/ 1358900 h 2273300"/>
              <a:gd name="connsiteX3" fmla="*/ 4597400 w 4597400"/>
              <a:gd name="connsiteY3" fmla="*/ 2273300 h 2273300"/>
              <a:gd name="connsiteX4" fmla="*/ 4597400 w 4597400"/>
              <a:gd name="connsiteY4" fmla="*/ 2273300 h 2273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97400" h="2273300">
                <a:moveTo>
                  <a:pt x="0" y="0"/>
                </a:moveTo>
                <a:cubicBezTo>
                  <a:pt x="243416" y="483658"/>
                  <a:pt x="486833" y="967317"/>
                  <a:pt x="965200" y="1193800"/>
                </a:cubicBezTo>
                <a:cubicBezTo>
                  <a:pt x="1443567" y="1420283"/>
                  <a:pt x="2264833" y="1178983"/>
                  <a:pt x="2870200" y="1358900"/>
                </a:cubicBezTo>
                <a:cubicBezTo>
                  <a:pt x="3475567" y="1538817"/>
                  <a:pt x="4597400" y="2273300"/>
                  <a:pt x="4597400" y="2273300"/>
                </a:cubicBezTo>
                <a:lnTo>
                  <a:pt x="4597400" y="2273300"/>
                </a:lnTo>
              </a:path>
            </a:pathLst>
          </a:custGeom>
          <a:noFill/>
          <a:ln w="6350">
            <a:solidFill>
              <a:schemeClr val="accent1">
                <a:shade val="50000"/>
                <a:alpha val="3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white"/>
              </a:solidFill>
              <a:effectLst/>
              <a:uLnTx/>
              <a:uFillTx/>
              <a:latin typeface="OPPOSans L" panose="00020600040101010101" pitchFamily="18" charset="-122"/>
              <a:ea typeface="OPPOSans L" panose="00020600040101010101" pitchFamily="18" charset="-122"/>
              <a:cs typeface="+mn-cs"/>
            </a:endParaRPr>
          </a:p>
        </p:txBody>
      </p:sp>
      <p:sp>
        <p:nvSpPr>
          <p:cNvPr id="143" name="任意多边形: 形状 142">
            <a:extLst>
              <a:ext uri="{FF2B5EF4-FFF2-40B4-BE49-F238E27FC236}">
                <a16:creationId xmlns:a16="http://schemas.microsoft.com/office/drawing/2014/main" id="{DA15E334-6259-42CF-A194-D3DC76C8D705}"/>
              </a:ext>
            </a:extLst>
          </p:cNvPr>
          <p:cNvSpPr/>
          <p:nvPr/>
        </p:nvSpPr>
        <p:spPr>
          <a:xfrm rot="900000">
            <a:off x="9211866" y="-284096"/>
            <a:ext cx="4597400" cy="2273300"/>
          </a:xfrm>
          <a:custGeom>
            <a:avLst/>
            <a:gdLst>
              <a:gd name="connsiteX0" fmla="*/ 0 w 4597400"/>
              <a:gd name="connsiteY0" fmla="*/ 0 h 2273300"/>
              <a:gd name="connsiteX1" fmla="*/ 965200 w 4597400"/>
              <a:gd name="connsiteY1" fmla="*/ 1193800 h 2273300"/>
              <a:gd name="connsiteX2" fmla="*/ 2870200 w 4597400"/>
              <a:gd name="connsiteY2" fmla="*/ 1358900 h 2273300"/>
              <a:gd name="connsiteX3" fmla="*/ 4597400 w 4597400"/>
              <a:gd name="connsiteY3" fmla="*/ 2273300 h 2273300"/>
              <a:gd name="connsiteX4" fmla="*/ 4597400 w 4597400"/>
              <a:gd name="connsiteY4" fmla="*/ 2273300 h 2273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97400" h="2273300">
                <a:moveTo>
                  <a:pt x="0" y="0"/>
                </a:moveTo>
                <a:cubicBezTo>
                  <a:pt x="243416" y="483658"/>
                  <a:pt x="486833" y="967317"/>
                  <a:pt x="965200" y="1193800"/>
                </a:cubicBezTo>
                <a:cubicBezTo>
                  <a:pt x="1443567" y="1420283"/>
                  <a:pt x="2264833" y="1178983"/>
                  <a:pt x="2870200" y="1358900"/>
                </a:cubicBezTo>
                <a:cubicBezTo>
                  <a:pt x="3475567" y="1538817"/>
                  <a:pt x="4597400" y="2273300"/>
                  <a:pt x="4597400" y="2273300"/>
                </a:cubicBezTo>
                <a:lnTo>
                  <a:pt x="4597400" y="2273300"/>
                </a:lnTo>
              </a:path>
            </a:pathLst>
          </a:custGeom>
          <a:noFill/>
          <a:ln w="6350">
            <a:solidFill>
              <a:schemeClr val="accent1">
                <a:shade val="50000"/>
                <a:alpha val="3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white"/>
              </a:solidFill>
              <a:effectLst/>
              <a:uLnTx/>
              <a:uFillTx/>
              <a:latin typeface="OPPOSans L" panose="00020600040101010101" pitchFamily="18" charset="-122"/>
              <a:ea typeface="OPPOSans L" panose="00020600040101010101" pitchFamily="18" charset="-122"/>
              <a:cs typeface="+mn-cs"/>
            </a:endParaRPr>
          </a:p>
        </p:txBody>
      </p:sp>
      <p:sp>
        <p:nvSpPr>
          <p:cNvPr id="144" name="任意多边形: 形状 143">
            <a:extLst>
              <a:ext uri="{FF2B5EF4-FFF2-40B4-BE49-F238E27FC236}">
                <a16:creationId xmlns:a16="http://schemas.microsoft.com/office/drawing/2014/main" id="{B96D2E09-AF69-43DE-AACE-6CBA2C4118CE}"/>
              </a:ext>
            </a:extLst>
          </p:cNvPr>
          <p:cNvSpPr/>
          <p:nvPr/>
        </p:nvSpPr>
        <p:spPr>
          <a:xfrm rot="900000">
            <a:off x="9302693" y="-371411"/>
            <a:ext cx="4597400" cy="2273300"/>
          </a:xfrm>
          <a:custGeom>
            <a:avLst/>
            <a:gdLst>
              <a:gd name="connsiteX0" fmla="*/ 0 w 4597400"/>
              <a:gd name="connsiteY0" fmla="*/ 0 h 2273300"/>
              <a:gd name="connsiteX1" fmla="*/ 965200 w 4597400"/>
              <a:gd name="connsiteY1" fmla="*/ 1193800 h 2273300"/>
              <a:gd name="connsiteX2" fmla="*/ 2870200 w 4597400"/>
              <a:gd name="connsiteY2" fmla="*/ 1358900 h 2273300"/>
              <a:gd name="connsiteX3" fmla="*/ 4597400 w 4597400"/>
              <a:gd name="connsiteY3" fmla="*/ 2273300 h 2273300"/>
              <a:gd name="connsiteX4" fmla="*/ 4597400 w 4597400"/>
              <a:gd name="connsiteY4" fmla="*/ 2273300 h 2273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97400" h="2273300">
                <a:moveTo>
                  <a:pt x="0" y="0"/>
                </a:moveTo>
                <a:cubicBezTo>
                  <a:pt x="243416" y="483658"/>
                  <a:pt x="486833" y="967317"/>
                  <a:pt x="965200" y="1193800"/>
                </a:cubicBezTo>
                <a:cubicBezTo>
                  <a:pt x="1443567" y="1420283"/>
                  <a:pt x="2264833" y="1178983"/>
                  <a:pt x="2870200" y="1358900"/>
                </a:cubicBezTo>
                <a:cubicBezTo>
                  <a:pt x="3475567" y="1538817"/>
                  <a:pt x="4597400" y="2273300"/>
                  <a:pt x="4597400" y="2273300"/>
                </a:cubicBezTo>
                <a:lnTo>
                  <a:pt x="4597400" y="2273300"/>
                </a:lnTo>
              </a:path>
            </a:pathLst>
          </a:custGeom>
          <a:noFill/>
          <a:ln w="6350">
            <a:solidFill>
              <a:schemeClr val="accent1">
                <a:shade val="50000"/>
                <a:alpha val="3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white"/>
              </a:solidFill>
              <a:effectLst/>
              <a:uLnTx/>
              <a:uFillTx/>
              <a:latin typeface="OPPOSans L" panose="00020600040101010101" pitchFamily="18" charset="-122"/>
              <a:ea typeface="OPPOSans L" panose="00020600040101010101" pitchFamily="18" charset="-122"/>
              <a:cs typeface="+mn-cs"/>
            </a:endParaRPr>
          </a:p>
        </p:txBody>
      </p:sp>
      <p:sp>
        <p:nvSpPr>
          <p:cNvPr id="145" name="任意多边形: 形状 144">
            <a:extLst>
              <a:ext uri="{FF2B5EF4-FFF2-40B4-BE49-F238E27FC236}">
                <a16:creationId xmlns:a16="http://schemas.microsoft.com/office/drawing/2014/main" id="{DD7A1BB2-F2C0-4E27-A5B0-92D1095DCC86}"/>
              </a:ext>
            </a:extLst>
          </p:cNvPr>
          <p:cNvSpPr/>
          <p:nvPr/>
        </p:nvSpPr>
        <p:spPr>
          <a:xfrm rot="900000">
            <a:off x="9393520" y="-458727"/>
            <a:ext cx="4597400" cy="2273300"/>
          </a:xfrm>
          <a:custGeom>
            <a:avLst/>
            <a:gdLst>
              <a:gd name="connsiteX0" fmla="*/ 0 w 4597400"/>
              <a:gd name="connsiteY0" fmla="*/ 0 h 2273300"/>
              <a:gd name="connsiteX1" fmla="*/ 965200 w 4597400"/>
              <a:gd name="connsiteY1" fmla="*/ 1193800 h 2273300"/>
              <a:gd name="connsiteX2" fmla="*/ 2870200 w 4597400"/>
              <a:gd name="connsiteY2" fmla="*/ 1358900 h 2273300"/>
              <a:gd name="connsiteX3" fmla="*/ 4597400 w 4597400"/>
              <a:gd name="connsiteY3" fmla="*/ 2273300 h 2273300"/>
              <a:gd name="connsiteX4" fmla="*/ 4597400 w 4597400"/>
              <a:gd name="connsiteY4" fmla="*/ 2273300 h 2273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97400" h="2273300">
                <a:moveTo>
                  <a:pt x="0" y="0"/>
                </a:moveTo>
                <a:cubicBezTo>
                  <a:pt x="243416" y="483658"/>
                  <a:pt x="486833" y="967317"/>
                  <a:pt x="965200" y="1193800"/>
                </a:cubicBezTo>
                <a:cubicBezTo>
                  <a:pt x="1443567" y="1420283"/>
                  <a:pt x="2264833" y="1178983"/>
                  <a:pt x="2870200" y="1358900"/>
                </a:cubicBezTo>
                <a:cubicBezTo>
                  <a:pt x="3475567" y="1538817"/>
                  <a:pt x="4597400" y="2273300"/>
                  <a:pt x="4597400" y="2273300"/>
                </a:cubicBezTo>
                <a:lnTo>
                  <a:pt x="4597400" y="2273300"/>
                </a:lnTo>
              </a:path>
            </a:pathLst>
          </a:custGeom>
          <a:noFill/>
          <a:ln w="6350">
            <a:solidFill>
              <a:schemeClr val="accent1">
                <a:shade val="50000"/>
                <a:alpha val="3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white"/>
              </a:solidFill>
              <a:effectLst/>
              <a:uLnTx/>
              <a:uFillTx/>
              <a:latin typeface="OPPOSans L" panose="00020600040101010101" pitchFamily="18" charset="-122"/>
              <a:ea typeface="OPPOSans L" panose="00020600040101010101" pitchFamily="18" charset="-122"/>
              <a:cs typeface="+mn-cs"/>
            </a:endParaRPr>
          </a:p>
        </p:txBody>
      </p:sp>
      <p:sp>
        <p:nvSpPr>
          <p:cNvPr id="146" name="任意多边形: 形状 145">
            <a:extLst>
              <a:ext uri="{FF2B5EF4-FFF2-40B4-BE49-F238E27FC236}">
                <a16:creationId xmlns:a16="http://schemas.microsoft.com/office/drawing/2014/main" id="{00E00B13-9A17-4648-A386-B1637628B101}"/>
              </a:ext>
            </a:extLst>
          </p:cNvPr>
          <p:cNvSpPr/>
          <p:nvPr/>
        </p:nvSpPr>
        <p:spPr>
          <a:xfrm rot="900000">
            <a:off x="9484346" y="-546042"/>
            <a:ext cx="4597400" cy="2273300"/>
          </a:xfrm>
          <a:custGeom>
            <a:avLst/>
            <a:gdLst>
              <a:gd name="connsiteX0" fmla="*/ 0 w 4597400"/>
              <a:gd name="connsiteY0" fmla="*/ 0 h 2273300"/>
              <a:gd name="connsiteX1" fmla="*/ 965200 w 4597400"/>
              <a:gd name="connsiteY1" fmla="*/ 1193800 h 2273300"/>
              <a:gd name="connsiteX2" fmla="*/ 2870200 w 4597400"/>
              <a:gd name="connsiteY2" fmla="*/ 1358900 h 2273300"/>
              <a:gd name="connsiteX3" fmla="*/ 4597400 w 4597400"/>
              <a:gd name="connsiteY3" fmla="*/ 2273300 h 2273300"/>
              <a:gd name="connsiteX4" fmla="*/ 4597400 w 4597400"/>
              <a:gd name="connsiteY4" fmla="*/ 2273300 h 2273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97400" h="2273300">
                <a:moveTo>
                  <a:pt x="0" y="0"/>
                </a:moveTo>
                <a:cubicBezTo>
                  <a:pt x="243416" y="483658"/>
                  <a:pt x="486833" y="967317"/>
                  <a:pt x="965200" y="1193800"/>
                </a:cubicBezTo>
                <a:cubicBezTo>
                  <a:pt x="1443567" y="1420283"/>
                  <a:pt x="2264833" y="1178983"/>
                  <a:pt x="2870200" y="1358900"/>
                </a:cubicBezTo>
                <a:cubicBezTo>
                  <a:pt x="3475567" y="1538817"/>
                  <a:pt x="4597400" y="2273300"/>
                  <a:pt x="4597400" y="2273300"/>
                </a:cubicBezTo>
                <a:lnTo>
                  <a:pt x="4597400" y="2273300"/>
                </a:lnTo>
              </a:path>
            </a:pathLst>
          </a:custGeom>
          <a:noFill/>
          <a:ln w="6350">
            <a:solidFill>
              <a:schemeClr val="accent1">
                <a:shade val="50000"/>
                <a:alpha val="3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white"/>
              </a:solidFill>
              <a:effectLst/>
              <a:uLnTx/>
              <a:uFillTx/>
              <a:latin typeface="OPPOSans L" panose="00020600040101010101" pitchFamily="18" charset="-122"/>
              <a:ea typeface="OPPOSans L" panose="00020600040101010101" pitchFamily="18" charset="-122"/>
              <a:cs typeface="+mn-cs"/>
            </a:endParaRPr>
          </a:p>
        </p:txBody>
      </p:sp>
      <p:sp>
        <p:nvSpPr>
          <p:cNvPr id="147" name="任意多边形: 形状 146">
            <a:extLst>
              <a:ext uri="{FF2B5EF4-FFF2-40B4-BE49-F238E27FC236}">
                <a16:creationId xmlns:a16="http://schemas.microsoft.com/office/drawing/2014/main" id="{97A46E67-0720-4B4B-840D-CEB86B5DFBF0}"/>
              </a:ext>
            </a:extLst>
          </p:cNvPr>
          <p:cNvSpPr/>
          <p:nvPr/>
        </p:nvSpPr>
        <p:spPr>
          <a:xfrm rot="900000">
            <a:off x="9575173" y="-633358"/>
            <a:ext cx="4597400" cy="2273300"/>
          </a:xfrm>
          <a:custGeom>
            <a:avLst/>
            <a:gdLst>
              <a:gd name="connsiteX0" fmla="*/ 0 w 4597400"/>
              <a:gd name="connsiteY0" fmla="*/ 0 h 2273300"/>
              <a:gd name="connsiteX1" fmla="*/ 965200 w 4597400"/>
              <a:gd name="connsiteY1" fmla="*/ 1193800 h 2273300"/>
              <a:gd name="connsiteX2" fmla="*/ 2870200 w 4597400"/>
              <a:gd name="connsiteY2" fmla="*/ 1358900 h 2273300"/>
              <a:gd name="connsiteX3" fmla="*/ 4597400 w 4597400"/>
              <a:gd name="connsiteY3" fmla="*/ 2273300 h 2273300"/>
              <a:gd name="connsiteX4" fmla="*/ 4597400 w 4597400"/>
              <a:gd name="connsiteY4" fmla="*/ 2273300 h 2273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97400" h="2273300">
                <a:moveTo>
                  <a:pt x="0" y="0"/>
                </a:moveTo>
                <a:cubicBezTo>
                  <a:pt x="243416" y="483658"/>
                  <a:pt x="486833" y="967317"/>
                  <a:pt x="965200" y="1193800"/>
                </a:cubicBezTo>
                <a:cubicBezTo>
                  <a:pt x="1443567" y="1420283"/>
                  <a:pt x="2264833" y="1178983"/>
                  <a:pt x="2870200" y="1358900"/>
                </a:cubicBezTo>
                <a:cubicBezTo>
                  <a:pt x="3475567" y="1538817"/>
                  <a:pt x="4597400" y="2273300"/>
                  <a:pt x="4597400" y="2273300"/>
                </a:cubicBezTo>
                <a:lnTo>
                  <a:pt x="4597400" y="2273300"/>
                </a:lnTo>
              </a:path>
            </a:pathLst>
          </a:custGeom>
          <a:noFill/>
          <a:ln w="6350">
            <a:solidFill>
              <a:schemeClr val="accent1">
                <a:shade val="50000"/>
                <a:alpha val="3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white"/>
              </a:solidFill>
              <a:effectLst/>
              <a:uLnTx/>
              <a:uFillTx/>
              <a:latin typeface="OPPOSans L" panose="00020600040101010101" pitchFamily="18" charset="-122"/>
              <a:ea typeface="OPPOSans L" panose="00020600040101010101" pitchFamily="18" charset="-122"/>
              <a:cs typeface="+mn-cs"/>
            </a:endParaRPr>
          </a:p>
        </p:txBody>
      </p:sp>
      <p:sp>
        <p:nvSpPr>
          <p:cNvPr id="148" name="任意多边形: 形状 147">
            <a:extLst>
              <a:ext uri="{FF2B5EF4-FFF2-40B4-BE49-F238E27FC236}">
                <a16:creationId xmlns:a16="http://schemas.microsoft.com/office/drawing/2014/main" id="{267A95B0-4922-4193-A393-B2CE41FD6337}"/>
              </a:ext>
            </a:extLst>
          </p:cNvPr>
          <p:cNvSpPr/>
          <p:nvPr/>
        </p:nvSpPr>
        <p:spPr>
          <a:xfrm rot="900000">
            <a:off x="9666000" y="-720673"/>
            <a:ext cx="4597400" cy="2273300"/>
          </a:xfrm>
          <a:custGeom>
            <a:avLst/>
            <a:gdLst>
              <a:gd name="connsiteX0" fmla="*/ 0 w 4597400"/>
              <a:gd name="connsiteY0" fmla="*/ 0 h 2273300"/>
              <a:gd name="connsiteX1" fmla="*/ 965200 w 4597400"/>
              <a:gd name="connsiteY1" fmla="*/ 1193800 h 2273300"/>
              <a:gd name="connsiteX2" fmla="*/ 2870200 w 4597400"/>
              <a:gd name="connsiteY2" fmla="*/ 1358900 h 2273300"/>
              <a:gd name="connsiteX3" fmla="*/ 4597400 w 4597400"/>
              <a:gd name="connsiteY3" fmla="*/ 2273300 h 2273300"/>
              <a:gd name="connsiteX4" fmla="*/ 4597400 w 4597400"/>
              <a:gd name="connsiteY4" fmla="*/ 2273300 h 2273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97400" h="2273300">
                <a:moveTo>
                  <a:pt x="0" y="0"/>
                </a:moveTo>
                <a:cubicBezTo>
                  <a:pt x="243416" y="483658"/>
                  <a:pt x="486833" y="967317"/>
                  <a:pt x="965200" y="1193800"/>
                </a:cubicBezTo>
                <a:cubicBezTo>
                  <a:pt x="1443567" y="1420283"/>
                  <a:pt x="2264833" y="1178983"/>
                  <a:pt x="2870200" y="1358900"/>
                </a:cubicBezTo>
                <a:cubicBezTo>
                  <a:pt x="3475567" y="1538817"/>
                  <a:pt x="4597400" y="2273300"/>
                  <a:pt x="4597400" y="2273300"/>
                </a:cubicBezTo>
                <a:lnTo>
                  <a:pt x="4597400" y="2273300"/>
                </a:lnTo>
              </a:path>
            </a:pathLst>
          </a:custGeom>
          <a:noFill/>
          <a:ln w="6350">
            <a:solidFill>
              <a:schemeClr val="accent1">
                <a:shade val="50000"/>
                <a:alpha val="3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white"/>
              </a:solidFill>
              <a:effectLst/>
              <a:uLnTx/>
              <a:uFillTx/>
              <a:latin typeface="OPPOSans L" panose="00020600040101010101" pitchFamily="18" charset="-122"/>
              <a:ea typeface="OPPOSans L" panose="00020600040101010101" pitchFamily="18" charset="-122"/>
              <a:cs typeface="+mn-cs"/>
            </a:endParaRPr>
          </a:p>
        </p:txBody>
      </p:sp>
      <p:sp>
        <p:nvSpPr>
          <p:cNvPr id="149" name="任意多边形: 形状 148">
            <a:extLst>
              <a:ext uri="{FF2B5EF4-FFF2-40B4-BE49-F238E27FC236}">
                <a16:creationId xmlns:a16="http://schemas.microsoft.com/office/drawing/2014/main" id="{51FFC354-05A0-4C32-AA69-028120CDD005}"/>
              </a:ext>
            </a:extLst>
          </p:cNvPr>
          <p:cNvSpPr/>
          <p:nvPr/>
        </p:nvSpPr>
        <p:spPr>
          <a:xfrm rot="900000">
            <a:off x="9756827" y="-807989"/>
            <a:ext cx="4597400" cy="2273300"/>
          </a:xfrm>
          <a:custGeom>
            <a:avLst/>
            <a:gdLst>
              <a:gd name="connsiteX0" fmla="*/ 0 w 4597400"/>
              <a:gd name="connsiteY0" fmla="*/ 0 h 2273300"/>
              <a:gd name="connsiteX1" fmla="*/ 965200 w 4597400"/>
              <a:gd name="connsiteY1" fmla="*/ 1193800 h 2273300"/>
              <a:gd name="connsiteX2" fmla="*/ 2870200 w 4597400"/>
              <a:gd name="connsiteY2" fmla="*/ 1358900 h 2273300"/>
              <a:gd name="connsiteX3" fmla="*/ 4597400 w 4597400"/>
              <a:gd name="connsiteY3" fmla="*/ 2273300 h 2273300"/>
              <a:gd name="connsiteX4" fmla="*/ 4597400 w 4597400"/>
              <a:gd name="connsiteY4" fmla="*/ 2273300 h 2273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97400" h="2273300">
                <a:moveTo>
                  <a:pt x="0" y="0"/>
                </a:moveTo>
                <a:cubicBezTo>
                  <a:pt x="243416" y="483658"/>
                  <a:pt x="486833" y="967317"/>
                  <a:pt x="965200" y="1193800"/>
                </a:cubicBezTo>
                <a:cubicBezTo>
                  <a:pt x="1443567" y="1420283"/>
                  <a:pt x="2264833" y="1178983"/>
                  <a:pt x="2870200" y="1358900"/>
                </a:cubicBezTo>
                <a:cubicBezTo>
                  <a:pt x="3475567" y="1538817"/>
                  <a:pt x="4597400" y="2273300"/>
                  <a:pt x="4597400" y="2273300"/>
                </a:cubicBezTo>
                <a:lnTo>
                  <a:pt x="4597400" y="2273300"/>
                </a:lnTo>
              </a:path>
            </a:pathLst>
          </a:custGeom>
          <a:noFill/>
          <a:ln w="6350">
            <a:solidFill>
              <a:schemeClr val="accent1">
                <a:shade val="50000"/>
                <a:alpha val="3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white"/>
              </a:solidFill>
              <a:effectLst/>
              <a:uLnTx/>
              <a:uFillTx/>
              <a:latin typeface="OPPOSans L" panose="00020600040101010101" pitchFamily="18" charset="-122"/>
              <a:ea typeface="OPPOSans L" panose="00020600040101010101" pitchFamily="18" charset="-122"/>
              <a:cs typeface="+mn-cs"/>
            </a:endParaRPr>
          </a:p>
        </p:txBody>
      </p:sp>
      <p:sp>
        <p:nvSpPr>
          <p:cNvPr id="150" name="任意多边形: 形状 149">
            <a:extLst>
              <a:ext uri="{FF2B5EF4-FFF2-40B4-BE49-F238E27FC236}">
                <a16:creationId xmlns:a16="http://schemas.microsoft.com/office/drawing/2014/main" id="{DF6AF2EC-C02E-449C-BA57-3B1CFDF415DE}"/>
              </a:ext>
            </a:extLst>
          </p:cNvPr>
          <p:cNvSpPr/>
          <p:nvPr/>
        </p:nvSpPr>
        <p:spPr>
          <a:xfrm rot="900000">
            <a:off x="9847653" y="-895304"/>
            <a:ext cx="4597400" cy="2273300"/>
          </a:xfrm>
          <a:custGeom>
            <a:avLst/>
            <a:gdLst>
              <a:gd name="connsiteX0" fmla="*/ 0 w 4597400"/>
              <a:gd name="connsiteY0" fmla="*/ 0 h 2273300"/>
              <a:gd name="connsiteX1" fmla="*/ 965200 w 4597400"/>
              <a:gd name="connsiteY1" fmla="*/ 1193800 h 2273300"/>
              <a:gd name="connsiteX2" fmla="*/ 2870200 w 4597400"/>
              <a:gd name="connsiteY2" fmla="*/ 1358900 h 2273300"/>
              <a:gd name="connsiteX3" fmla="*/ 4597400 w 4597400"/>
              <a:gd name="connsiteY3" fmla="*/ 2273300 h 2273300"/>
              <a:gd name="connsiteX4" fmla="*/ 4597400 w 4597400"/>
              <a:gd name="connsiteY4" fmla="*/ 2273300 h 2273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97400" h="2273300">
                <a:moveTo>
                  <a:pt x="0" y="0"/>
                </a:moveTo>
                <a:cubicBezTo>
                  <a:pt x="243416" y="483658"/>
                  <a:pt x="486833" y="967317"/>
                  <a:pt x="965200" y="1193800"/>
                </a:cubicBezTo>
                <a:cubicBezTo>
                  <a:pt x="1443567" y="1420283"/>
                  <a:pt x="2264833" y="1178983"/>
                  <a:pt x="2870200" y="1358900"/>
                </a:cubicBezTo>
                <a:cubicBezTo>
                  <a:pt x="3475567" y="1538817"/>
                  <a:pt x="4597400" y="2273300"/>
                  <a:pt x="4597400" y="2273300"/>
                </a:cubicBezTo>
                <a:lnTo>
                  <a:pt x="4597400" y="2273300"/>
                </a:lnTo>
              </a:path>
            </a:pathLst>
          </a:custGeom>
          <a:noFill/>
          <a:ln w="6350">
            <a:solidFill>
              <a:schemeClr val="accent1">
                <a:shade val="50000"/>
                <a:alpha val="3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white"/>
              </a:solidFill>
              <a:effectLst/>
              <a:uLnTx/>
              <a:uFillTx/>
              <a:latin typeface="OPPOSans L" panose="00020600040101010101" pitchFamily="18" charset="-122"/>
              <a:ea typeface="OPPOSans L" panose="00020600040101010101" pitchFamily="18" charset="-122"/>
              <a:cs typeface="+mn-cs"/>
            </a:endParaRPr>
          </a:p>
        </p:txBody>
      </p:sp>
      <p:sp>
        <p:nvSpPr>
          <p:cNvPr id="151" name="任意多边形: 形状 150">
            <a:extLst>
              <a:ext uri="{FF2B5EF4-FFF2-40B4-BE49-F238E27FC236}">
                <a16:creationId xmlns:a16="http://schemas.microsoft.com/office/drawing/2014/main" id="{F53E39DD-687D-4ACC-953E-C50465F481F4}"/>
              </a:ext>
            </a:extLst>
          </p:cNvPr>
          <p:cNvSpPr/>
          <p:nvPr/>
        </p:nvSpPr>
        <p:spPr>
          <a:xfrm rot="900000">
            <a:off x="9938475" y="-982621"/>
            <a:ext cx="4597400" cy="2273300"/>
          </a:xfrm>
          <a:custGeom>
            <a:avLst/>
            <a:gdLst>
              <a:gd name="connsiteX0" fmla="*/ 0 w 4597400"/>
              <a:gd name="connsiteY0" fmla="*/ 0 h 2273300"/>
              <a:gd name="connsiteX1" fmla="*/ 965200 w 4597400"/>
              <a:gd name="connsiteY1" fmla="*/ 1193800 h 2273300"/>
              <a:gd name="connsiteX2" fmla="*/ 2870200 w 4597400"/>
              <a:gd name="connsiteY2" fmla="*/ 1358900 h 2273300"/>
              <a:gd name="connsiteX3" fmla="*/ 4597400 w 4597400"/>
              <a:gd name="connsiteY3" fmla="*/ 2273300 h 2273300"/>
              <a:gd name="connsiteX4" fmla="*/ 4597400 w 4597400"/>
              <a:gd name="connsiteY4" fmla="*/ 2273300 h 2273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97400" h="2273300">
                <a:moveTo>
                  <a:pt x="0" y="0"/>
                </a:moveTo>
                <a:cubicBezTo>
                  <a:pt x="243416" y="483658"/>
                  <a:pt x="486833" y="967317"/>
                  <a:pt x="965200" y="1193800"/>
                </a:cubicBezTo>
                <a:cubicBezTo>
                  <a:pt x="1443567" y="1420283"/>
                  <a:pt x="2264833" y="1178983"/>
                  <a:pt x="2870200" y="1358900"/>
                </a:cubicBezTo>
                <a:cubicBezTo>
                  <a:pt x="3475567" y="1538817"/>
                  <a:pt x="4597400" y="2273300"/>
                  <a:pt x="4597400" y="2273300"/>
                </a:cubicBezTo>
                <a:lnTo>
                  <a:pt x="4597400" y="2273300"/>
                </a:lnTo>
              </a:path>
            </a:pathLst>
          </a:custGeom>
          <a:noFill/>
          <a:ln w="6350">
            <a:solidFill>
              <a:schemeClr val="accent1">
                <a:shade val="50000"/>
                <a:alpha val="3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white"/>
              </a:solidFill>
              <a:effectLst/>
              <a:uLnTx/>
              <a:uFillTx/>
              <a:latin typeface="OPPOSans L" panose="00020600040101010101" pitchFamily="18" charset="-122"/>
              <a:ea typeface="OPPOSans L" panose="00020600040101010101" pitchFamily="18" charset="-122"/>
              <a:cs typeface="+mn-cs"/>
            </a:endParaRPr>
          </a:p>
        </p:txBody>
      </p:sp>
      <p:sp>
        <p:nvSpPr>
          <p:cNvPr id="110" name="文本框 109">
            <a:extLst>
              <a:ext uri="{FF2B5EF4-FFF2-40B4-BE49-F238E27FC236}">
                <a16:creationId xmlns:a16="http://schemas.microsoft.com/office/drawing/2014/main" id="{5E7B4B0D-D20A-4977-844A-529AB3F21018}"/>
              </a:ext>
            </a:extLst>
          </p:cNvPr>
          <p:cNvSpPr txBox="1"/>
          <p:nvPr/>
        </p:nvSpPr>
        <p:spPr>
          <a:xfrm>
            <a:off x="3455189" y="1579421"/>
            <a:ext cx="659596"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2800" b="0" i="0" u="none" strike="noStrike" kern="1200" cap="none" spc="0" normalizeH="0" baseline="0" noProof="0" dirty="0">
                <a:ln>
                  <a:noFill/>
                </a:ln>
                <a:gradFill flip="none" rotWithShape="1">
                  <a:gsLst>
                    <a:gs pos="0">
                      <a:schemeClr val="accent1"/>
                    </a:gs>
                    <a:gs pos="100000">
                      <a:srgbClr val="428675">
                        <a:lumMod val="40000"/>
                        <a:lumOff val="60000"/>
                        <a:alpha val="20000"/>
                      </a:srgbClr>
                    </a:gs>
                  </a:gsLst>
                  <a:path path="circle">
                    <a:fillToRect r="100000" b="100000"/>
                  </a:path>
                  <a:tileRect/>
                </a:gradFill>
                <a:effectLst/>
                <a:uLnTx/>
                <a:uFillTx/>
                <a:latin typeface="Roboto Black" panose="02000000000000000000" pitchFamily="2" charset="0"/>
                <a:ea typeface="OPPOSans L" panose="00020600040101010101" pitchFamily="18" charset="-122"/>
                <a:cs typeface="+mn-cs"/>
              </a:rPr>
              <a:t>01</a:t>
            </a:r>
            <a:endParaRPr kumimoji="0" lang="zh-CN" altLang="en-US" sz="2800" b="0" i="0" u="none" strike="noStrike" kern="1200" cap="none" spc="0" normalizeH="0" baseline="0" noProof="0" dirty="0">
              <a:ln>
                <a:noFill/>
              </a:ln>
              <a:gradFill flip="none" rotWithShape="1">
                <a:gsLst>
                  <a:gs pos="0">
                    <a:schemeClr val="accent1"/>
                  </a:gs>
                  <a:gs pos="100000">
                    <a:srgbClr val="428675">
                      <a:lumMod val="40000"/>
                      <a:lumOff val="60000"/>
                      <a:alpha val="20000"/>
                    </a:srgbClr>
                  </a:gs>
                </a:gsLst>
                <a:path path="circle">
                  <a:fillToRect r="100000" b="100000"/>
                </a:path>
                <a:tileRect/>
              </a:gradFill>
              <a:effectLst/>
              <a:uLnTx/>
              <a:uFillTx/>
              <a:latin typeface="Roboto Black" panose="02000000000000000000" pitchFamily="2" charset="0"/>
              <a:ea typeface="OPPOSans L" panose="00020600040101010101" pitchFamily="18" charset="-122"/>
              <a:cs typeface="+mn-cs"/>
            </a:endParaRPr>
          </a:p>
        </p:txBody>
      </p:sp>
      <p:sp>
        <p:nvSpPr>
          <p:cNvPr id="116" name="文本框 115">
            <a:extLst>
              <a:ext uri="{FF2B5EF4-FFF2-40B4-BE49-F238E27FC236}">
                <a16:creationId xmlns:a16="http://schemas.microsoft.com/office/drawing/2014/main" id="{66A62571-9C9C-461A-9F60-A240F0E4E5E0}"/>
              </a:ext>
            </a:extLst>
          </p:cNvPr>
          <p:cNvSpPr txBox="1"/>
          <p:nvPr/>
        </p:nvSpPr>
        <p:spPr>
          <a:xfrm>
            <a:off x="6355486" y="1579421"/>
            <a:ext cx="659596"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2800" b="0" i="0" u="none" strike="noStrike" kern="1200" cap="none" spc="0" normalizeH="0" baseline="0" noProof="0" dirty="0">
                <a:ln>
                  <a:noFill/>
                </a:ln>
                <a:gradFill flip="none" rotWithShape="1">
                  <a:gsLst>
                    <a:gs pos="0">
                      <a:schemeClr val="accent1"/>
                    </a:gs>
                    <a:gs pos="100000">
                      <a:srgbClr val="428675">
                        <a:lumMod val="40000"/>
                        <a:lumOff val="60000"/>
                        <a:alpha val="20000"/>
                      </a:srgbClr>
                    </a:gs>
                  </a:gsLst>
                  <a:path path="circle">
                    <a:fillToRect r="100000" b="100000"/>
                  </a:path>
                  <a:tileRect/>
                </a:gradFill>
                <a:effectLst/>
                <a:uLnTx/>
                <a:uFillTx/>
                <a:latin typeface="Roboto Black" panose="02000000000000000000" pitchFamily="2" charset="0"/>
                <a:ea typeface="OPPOSans L" panose="00020600040101010101" pitchFamily="18" charset="-122"/>
                <a:cs typeface="+mn-cs"/>
              </a:rPr>
              <a:t>02</a:t>
            </a:r>
            <a:endParaRPr kumimoji="0" lang="zh-CN" altLang="en-US" sz="2800" b="0" i="0" u="none" strike="noStrike" kern="1200" cap="none" spc="0" normalizeH="0" baseline="0" noProof="0" dirty="0">
              <a:ln>
                <a:noFill/>
              </a:ln>
              <a:gradFill flip="none" rotWithShape="1">
                <a:gsLst>
                  <a:gs pos="0">
                    <a:schemeClr val="accent1"/>
                  </a:gs>
                  <a:gs pos="100000">
                    <a:srgbClr val="428675">
                      <a:lumMod val="40000"/>
                      <a:lumOff val="60000"/>
                      <a:alpha val="20000"/>
                    </a:srgbClr>
                  </a:gs>
                </a:gsLst>
                <a:path path="circle">
                  <a:fillToRect r="100000" b="100000"/>
                </a:path>
                <a:tileRect/>
              </a:gradFill>
              <a:effectLst/>
              <a:uLnTx/>
              <a:uFillTx/>
              <a:latin typeface="Roboto Black" panose="02000000000000000000" pitchFamily="2" charset="0"/>
              <a:ea typeface="OPPOSans L" panose="00020600040101010101" pitchFamily="18" charset="-122"/>
              <a:cs typeface="+mn-cs"/>
            </a:endParaRPr>
          </a:p>
        </p:txBody>
      </p:sp>
      <p:sp>
        <p:nvSpPr>
          <p:cNvPr id="121" name="文本框 120">
            <a:extLst>
              <a:ext uri="{FF2B5EF4-FFF2-40B4-BE49-F238E27FC236}">
                <a16:creationId xmlns:a16="http://schemas.microsoft.com/office/drawing/2014/main" id="{644EDD54-5AA1-459F-B913-CE78F1044597}"/>
              </a:ext>
            </a:extLst>
          </p:cNvPr>
          <p:cNvSpPr txBox="1"/>
          <p:nvPr/>
        </p:nvSpPr>
        <p:spPr>
          <a:xfrm>
            <a:off x="9255783" y="1579421"/>
            <a:ext cx="659596"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2800" b="0" i="0" u="none" strike="noStrike" kern="1200" cap="none" spc="0" normalizeH="0" baseline="0" noProof="0" dirty="0">
                <a:ln>
                  <a:noFill/>
                </a:ln>
                <a:gradFill flip="none" rotWithShape="1">
                  <a:gsLst>
                    <a:gs pos="0">
                      <a:schemeClr val="accent1"/>
                    </a:gs>
                    <a:gs pos="100000">
                      <a:srgbClr val="428675">
                        <a:lumMod val="40000"/>
                        <a:lumOff val="60000"/>
                        <a:alpha val="20000"/>
                      </a:srgbClr>
                    </a:gs>
                  </a:gsLst>
                  <a:path path="circle">
                    <a:fillToRect r="100000" b="100000"/>
                  </a:path>
                  <a:tileRect/>
                </a:gradFill>
                <a:effectLst/>
                <a:uLnTx/>
                <a:uFillTx/>
                <a:latin typeface="Roboto Black" panose="02000000000000000000" pitchFamily="2" charset="0"/>
                <a:ea typeface="OPPOSans L" panose="00020600040101010101" pitchFamily="18" charset="-122"/>
                <a:cs typeface="+mn-cs"/>
              </a:rPr>
              <a:t>03</a:t>
            </a:r>
            <a:endParaRPr kumimoji="0" lang="zh-CN" altLang="en-US" sz="2800" b="0" i="0" u="none" strike="noStrike" kern="1200" cap="none" spc="0" normalizeH="0" baseline="0" noProof="0" dirty="0">
              <a:ln>
                <a:noFill/>
              </a:ln>
              <a:gradFill flip="none" rotWithShape="1">
                <a:gsLst>
                  <a:gs pos="0">
                    <a:schemeClr val="accent1"/>
                  </a:gs>
                  <a:gs pos="100000">
                    <a:srgbClr val="428675">
                      <a:lumMod val="40000"/>
                      <a:lumOff val="60000"/>
                      <a:alpha val="20000"/>
                    </a:srgbClr>
                  </a:gs>
                </a:gsLst>
                <a:path path="circle">
                  <a:fillToRect r="100000" b="100000"/>
                </a:path>
                <a:tileRect/>
              </a:gradFill>
              <a:effectLst/>
              <a:uLnTx/>
              <a:uFillTx/>
              <a:latin typeface="Roboto Black" panose="02000000000000000000" pitchFamily="2" charset="0"/>
              <a:ea typeface="OPPOSans L" panose="00020600040101010101" pitchFamily="18" charset="-122"/>
              <a:cs typeface="+mn-cs"/>
            </a:endParaRPr>
          </a:p>
        </p:txBody>
      </p:sp>
      <p:sp>
        <p:nvSpPr>
          <p:cNvPr id="138" name="文本框 137">
            <a:extLst>
              <a:ext uri="{FF2B5EF4-FFF2-40B4-BE49-F238E27FC236}">
                <a16:creationId xmlns:a16="http://schemas.microsoft.com/office/drawing/2014/main" id="{76FF017F-B3F2-4211-A549-021A3DA754FB}"/>
              </a:ext>
            </a:extLst>
          </p:cNvPr>
          <p:cNvSpPr txBox="1"/>
          <p:nvPr/>
        </p:nvSpPr>
        <p:spPr>
          <a:xfrm>
            <a:off x="3455189" y="5656121"/>
            <a:ext cx="659596"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2800" b="0" i="0" u="none" strike="noStrike" kern="1200" cap="none" spc="0" normalizeH="0" baseline="0" noProof="0" dirty="0">
                <a:ln>
                  <a:noFill/>
                </a:ln>
                <a:gradFill flip="none" rotWithShape="1">
                  <a:gsLst>
                    <a:gs pos="0">
                      <a:schemeClr val="accent1"/>
                    </a:gs>
                    <a:gs pos="100000">
                      <a:srgbClr val="428675">
                        <a:lumMod val="40000"/>
                        <a:lumOff val="60000"/>
                        <a:alpha val="20000"/>
                      </a:srgbClr>
                    </a:gs>
                  </a:gsLst>
                  <a:path path="circle">
                    <a:fillToRect r="100000" b="100000"/>
                  </a:path>
                  <a:tileRect/>
                </a:gradFill>
                <a:effectLst/>
                <a:uLnTx/>
                <a:uFillTx/>
                <a:latin typeface="Roboto Black" panose="02000000000000000000" pitchFamily="2" charset="0"/>
                <a:ea typeface="OPPOSans L" panose="00020600040101010101" pitchFamily="18" charset="-122"/>
                <a:cs typeface="+mn-cs"/>
              </a:rPr>
              <a:t>04</a:t>
            </a:r>
            <a:endParaRPr kumimoji="0" lang="zh-CN" altLang="en-US" sz="2800" b="0" i="0" u="none" strike="noStrike" kern="1200" cap="none" spc="0" normalizeH="0" baseline="0" noProof="0" dirty="0">
              <a:ln>
                <a:noFill/>
              </a:ln>
              <a:gradFill flip="none" rotWithShape="1">
                <a:gsLst>
                  <a:gs pos="0">
                    <a:schemeClr val="accent1"/>
                  </a:gs>
                  <a:gs pos="100000">
                    <a:srgbClr val="428675">
                      <a:lumMod val="40000"/>
                      <a:lumOff val="60000"/>
                      <a:alpha val="20000"/>
                    </a:srgbClr>
                  </a:gs>
                </a:gsLst>
                <a:path path="circle">
                  <a:fillToRect r="100000" b="100000"/>
                </a:path>
                <a:tileRect/>
              </a:gradFill>
              <a:effectLst/>
              <a:uLnTx/>
              <a:uFillTx/>
              <a:latin typeface="Roboto Black" panose="02000000000000000000" pitchFamily="2" charset="0"/>
              <a:ea typeface="OPPOSans L" panose="00020600040101010101" pitchFamily="18" charset="-122"/>
              <a:cs typeface="+mn-cs"/>
            </a:endParaRPr>
          </a:p>
        </p:txBody>
      </p:sp>
      <p:sp>
        <p:nvSpPr>
          <p:cNvPr id="134" name="文本框 133">
            <a:extLst>
              <a:ext uri="{FF2B5EF4-FFF2-40B4-BE49-F238E27FC236}">
                <a16:creationId xmlns:a16="http://schemas.microsoft.com/office/drawing/2014/main" id="{2E41F93A-1736-423A-B9BB-DEB858F93565}"/>
              </a:ext>
            </a:extLst>
          </p:cNvPr>
          <p:cNvSpPr txBox="1"/>
          <p:nvPr/>
        </p:nvSpPr>
        <p:spPr>
          <a:xfrm>
            <a:off x="6355486" y="5656121"/>
            <a:ext cx="659596"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2800" b="0" i="0" u="none" strike="noStrike" kern="1200" cap="none" spc="0" normalizeH="0" baseline="0" noProof="0" dirty="0">
                <a:ln>
                  <a:noFill/>
                </a:ln>
                <a:gradFill flip="none" rotWithShape="1">
                  <a:gsLst>
                    <a:gs pos="0">
                      <a:schemeClr val="accent1"/>
                    </a:gs>
                    <a:gs pos="100000">
                      <a:srgbClr val="428675">
                        <a:lumMod val="40000"/>
                        <a:lumOff val="60000"/>
                        <a:alpha val="20000"/>
                      </a:srgbClr>
                    </a:gs>
                  </a:gsLst>
                  <a:path path="circle">
                    <a:fillToRect r="100000" b="100000"/>
                  </a:path>
                  <a:tileRect/>
                </a:gradFill>
                <a:effectLst/>
                <a:uLnTx/>
                <a:uFillTx/>
                <a:latin typeface="Roboto Black" panose="02000000000000000000" pitchFamily="2" charset="0"/>
                <a:ea typeface="OPPOSans L" panose="00020600040101010101" pitchFamily="18" charset="-122"/>
                <a:cs typeface="+mn-cs"/>
              </a:rPr>
              <a:t>05</a:t>
            </a:r>
            <a:endParaRPr kumimoji="0" lang="zh-CN" altLang="en-US" sz="2800" b="0" i="0" u="none" strike="noStrike" kern="1200" cap="none" spc="0" normalizeH="0" baseline="0" noProof="0" dirty="0">
              <a:ln>
                <a:noFill/>
              </a:ln>
              <a:gradFill flip="none" rotWithShape="1">
                <a:gsLst>
                  <a:gs pos="0">
                    <a:schemeClr val="accent1"/>
                  </a:gs>
                  <a:gs pos="100000">
                    <a:srgbClr val="428675">
                      <a:lumMod val="40000"/>
                      <a:lumOff val="60000"/>
                      <a:alpha val="20000"/>
                    </a:srgbClr>
                  </a:gs>
                </a:gsLst>
                <a:path path="circle">
                  <a:fillToRect r="100000" b="100000"/>
                </a:path>
                <a:tileRect/>
              </a:gradFill>
              <a:effectLst/>
              <a:uLnTx/>
              <a:uFillTx/>
              <a:latin typeface="Roboto Black" panose="02000000000000000000" pitchFamily="2" charset="0"/>
              <a:ea typeface="OPPOSans L" panose="00020600040101010101" pitchFamily="18" charset="-122"/>
              <a:cs typeface="+mn-cs"/>
            </a:endParaRPr>
          </a:p>
        </p:txBody>
      </p:sp>
      <p:sp>
        <p:nvSpPr>
          <p:cNvPr id="130" name="文本框 129">
            <a:extLst>
              <a:ext uri="{FF2B5EF4-FFF2-40B4-BE49-F238E27FC236}">
                <a16:creationId xmlns:a16="http://schemas.microsoft.com/office/drawing/2014/main" id="{8D5C5C70-5093-4D2E-8016-61927B2C138F}"/>
              </a:ext>
            </a:extLst>
          </p:cNvPr>
          <p:cNvSpPr txBox="1"/>
          <p:nvPr/>
        </p:nvSpPr>
        <p:spPr>
          <a:xfrm>
            <a:off x="9255783" y="5656121"/>
            <a:ext cx="659596"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2800" b="0" i="0" u="none" strike="noStrike" kern="1200" cap="none" spc="0" normalizeH="0" baseline="0" noProof="0" dirty="0">
                <a:ln>
                  <a:noFill/>
                </a:ln>
                <a:gradFill flip="none" rotWithShape="1">
                  <a:gsLst>
                    <a:gs pos="0">
                      <a:schemeClr val="accent1"/>
                    </a:gs>
                    <a:gs pos="100000">
                      <a:srgbClr val="428675">
                        <a:lumMod val="40000"/>
                        <a:lumOff val="60000"/>
                        <a:alpha val="20000"/>
                      </a:srgbClr>
                    </a:gs>
                  </a:gsLst>
                  <a:path path="circle">
                    <a:fillToRect r="100000" b="100000"/>
                  </a:path>
                  <a:tileRect/>
                </a:gradFill>
                <a:effectLst/>
                <a:uLnTx/>
                <a:uFillTx/>
                <a:latin typeface="Roboto Black" panose="02000000000000000000" pitchFamily="2" charset="0"/>
                <a:ea typeface="OPPOSans L" panose="00020600040101010101" pitchFamily="18" charset="-122"/>
                <a:cs typeface="+mn-cs"/>
              </a:rPr>
              <a:t>06</a:t>
            </a:r>
            <a:endParaRPr kumimoji="0" lang="zh-CN" altLang="en-US" sz="2800" b="0" i="0" u="none" strike="noStrike" kern="1200" cap="none" spc="0" normalizeH="0" baseline="0" noProof="0" dirty="0">
              <a:ln>
                <a:noFill/>
              </a:ln>
              <a:gradFill flip="none" rotWithShape="1">
                <a:gsLst>
                  <a:gs pos="0">
                    <a:schemeClr val="accent1"/>
                  </a:gs>
                  <a:gs pos="100000">
                    <a:srgbClr val="428675">
                      <a:lumMod val="40000"/>
                      <a:lumOff val="60000"/>
                      <a:alpha val="20000"/>
                    </a:srgbClr>
                  </a:gs>
                </a:gsLst>
                <a:path path="circle">
                  <a:fillToRect r="100000" b="100000"/>
                </a:path>
                <a:tileRect/>
              </a:gradFill>
              <a:effectLst/>
              <a:uLnTx/>
              <a:uFillTx/>
              <a:latin typeface="Roboto Black" panose="02000000000000000000" pitchFamily="2" charset="0"/>
              <a:ea typeface="OPPOSans L" panose="00020600040101010101" pitchFamily="18" charset="-122"/>
              <a:cs typeface="+mn-cs"/>
            </a:endParaRPr>
          </a:p>
        </p:txBody>
      </p:sp>
    </p:spTree>
    <p:extLst>
      <p:ext uri="{BB962C8B-B14F-4D97-AF65-F5344CB8AC3E}">
        <p14:creationId xmlns:p14="http://schemas.microsoft.com/office/powerpoint/2010/main" val="1012519966"/>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6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2" name="组合 71">
            <a:extLst>
              <a:ext uri="{FF2B5EF4-FFF2-40B4-BE49-F238E27FC236}">
                <a16:creationId xmlns:a16="http://schemas.microsoft.com/office/drawing/2014/main" id="{028BF1F7-0636-4CED-AFC7-7A7CFE86E384}"/>
              </a:ext>
            </a:extLst>
          </p:cNvPr>
          <p:cNvGrpSpPr/>
          <p:nvPr/>
        </p:nvGrpSpPr>
        <p:grpSpPr>
          <a:xfrm>
            <a:off x="-1944707" y="-2"/>
            <a:ext cx="16081414" cy="6858002"/>
            <a:chOff x="-1944707" y="-2"/>
            <a:chExt cx="16081414" cy="6858002"/>
          </a:xfrm>
        </p:grpSpPr>
        <p:sp>
          <p:nvSpPr>
            <p:cNvPr id="22" name="矩形 21">
              <a:extLst>
                <a:ext uri="{FF2B5EF4-FFF2-40B4-BE49-F238E27FC236}">
                  <a16:creationId xmlns:a16="http://schemas.microsoft.com/office/drawing/2014/main" id="{4F7A3D57-F45C-4B35-91BA-A84E104DDE7D}"/>
                </a:ext>
              </a:extLst>
            </p:cNvPr>
            <p:cNvSpPr/>
            <p:nvPr/>
          </p:nvSpPr>
          <p:spPr>
            <a:xfrm>
              <a:off x="-1944707" y="0"/>
              <a:ext cx="16081414" cy="6858000"/>
            </a:xfrm>
            <a:prstGeom prst="rect">
              <a:avLst/>
            </a:prstGeom>
            <a:gradFill flip="none" rotWithShape="1">
              <a:gsLst>
                <a:gs pos="0">
                  <a:schemeClr val="accent1"/>
                </a:gs>
                <a:gs pos="100000">
                  <a:schemeClr val="accent1">
                    <a:lumMod val="80000"/>
                    <a:lumOff val="20000"/>
                  </a:schemeClr>
                </a:gs>
              </a:gsLst>
              <a:lin ang="8100000" scaled="1"/>
              <a:tileRect/>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Arial"/>
                <a:cs typeface="+mn-cs"/>
              </a:endParaRPr>
            </a:p>
          </p:txBody>
        </p:sp>
        <p:cxnSp>
          <p:nvCxnSpPr>
            <p:cNvPr id="6" name="Straight Connector 28">
              <a:extLst>
                <a:ext uri="{FF2B5EF4-FFF2-40B4-BE49-F238E27FC236}">
                  <a16:creationId xmlns:a16="http://schemas.microsoft.com/office/drawing/2014/main" id="{F534488C-970F-4545-B708-6984DD1AECEB}"/>
                </a:ext>
              </a:extLst>
            </p:cNvPr>
            <p:cNvCxnSpPr>
              <a:cxnSpLocks/>
            </p:cNvCxnSpPr>
            <p:nvPr/>
          </p:nvCxnSpPr>
          <p:spPr>
            <a:xfrm>
              <a:off x="6411968" y="2463800"/>
              <a:ext cx="0" cy="3330590"/>
            </a:xfrm>
            <a:prstGeom prst="line">
              <a:avLst/>
            </a:prstGeom>
            <a:ln w="19050" cap="rnd">
              <a:solidFill>
                <a:schemeClr val="accent2">
                  <a:lumMod val="20000"/>
                  <a:lumOff val="80000"/>
                </a:schemeClr>
              </a:solidFill>
              <a:prstDash val="sysDot"/>
              <a:round/>
              <a:headEnd type="oval"/>
              <a:tailEnd type="oval"/>
            </a:ln>
          </p:spPr>
          <p:style>
            <a:lnRef idx="1">
              <a:schemeClr val="accent1"/>
            </a:lnRef>
            <a:fillRef idx="0">
              <a:schemeClr val="accent1"/>
            </a:fillRef>
            <a:effectRef idx="0">
              <a:schemeClr val="accent1"/>
            </a:effectRef>
            <a:fontRef idx="minor">
              <a:schemeClr val="tx1"/>
            </a:fontRef>
          </p:style>
        </p:cxnSp>
        <p:cxnSp>
          <p:nvCxnSpPr>
            <p:cNvPr id="7" name="Straight Connector 29">
              <a:extLst>
                <a:ext uri="{FF2B5EF4-FFF2-40B4-BE49-F238E27FC236}">
                  <a16:creationId xmlns:a16="http://schemas.microsoft.com/office/drawing/2014/main" id="{F293D840-A7F4-4741-9300-4CBF9DDD5F07}"/>
                </a:ext>
              </a:extLst>
            </p:cNvPr>
            <p:cNvCxnSpPr>
              <a:cxnSpLocks/>
            </p:cNvCxnSpPr>
            <p:nvPr/>
          </p:nvCxnSpPr>
          <p:spPr>
            <a:xfrm>
              <a:off x="7290255" y="2183519"/>
              <a:ext cx="0" cy="3836347"/>
            </a:xfrm>
            <a:prstGeom prst="line">
              <a:avLst/>
            </a:prstGeom>
            <a:ln w="19050" cap="rnd">
              <a:solidFill>
                <a:schemeClr val="accent2">
                  <a:lumMod val="20000"/>
                  <a:lumOff val="80000"/>
                </a:schemeClr>
              </a:solidFill>
              <a:prstDash val="sysDot"/>
              <a:round/>
              <a:headEnd type="oval"/>
              <a:tailEnd type="oval"/>
            </a:ln>
          </p:spPr>
          <p:style>
            <a:lnRef idx="1">
              <a:schemeClr val="accent1"/>
            </a:lnRef>
            <a:fillRef idx="0">
              <a:schemeClr val="accent1"/>
            </a:fillRef>
            <a:effectRef idx="0">
              <a:schemeClr val="accent1"/>
            </a:effectRef>
            <a:fontRef idx="minor">
              <a:schemeClr val="tx1"/>
            </a:fontRef>
          </p:style>
        </p:cxnSp>
        <p:cxnSp>
          <p:nvCxnSpPr>
            <p:cNvPr id="8" name="Straight Connector 32">
              <a:extLst>
                <a:ext uri="{FF2B5EF4-FFF2-40B4-BE49-F238E27FC236}">
                  <a16:creationId xmlns:a16="http://schemas.microsoft.com/office/drawing/2014/main" id="{87E02272-2BB4-422F-BA31-E5480726B816}"/>
                </a:ext>
              </a:extLst>
            </p:cNvPr>
            <p:cNvCxnSpPr>
              <a:cxnSpLocks/>
            </p:cNvCxnSpPr>
            <p:nvPr/>
          </p:nvCxnSpPr>
          <p:spPr>
            <a:xfrm>
              <a:off x="8185750" y="2463800"/>
              <a:ext cx="0" cy="2769863"/>
            </a:xfrm>
            <a:prstGeom prst="line">
              <a:avLst/>
            </a:prstGeom>
            <a:ln w="19050" cap="rnd">
              <a:solidFill>
                <a:schemeClr val="accent2">
                  <a:lumMod val="20000"/>
                  <a:lumOff val="80000"/>
                </a:schemeClr>
              </a:solidFill>
              <a:prstDash val="sysDot"/>
              <a:round/>
              <a:headEnd type="oval"/>
              <a:tailEnd type="oval"/>
            </a:ln>
          </p:spPr>
          <p:style>
            <a:lnRef idx="1">
              <a:schemeClr val="accent1"/>
            </a:lnRef>
            <a:fillRef idx="0">
              <a:schemeClr val="accent1"/>
            </a:fillRef>
            <a:effectRef idx="0">
              <a:schemeClr val="accent1"/>
            </a:effectRef>
            <a:fontRef idx="minor">
              <a:schemeClr val="tx1"/>
            </a:fontRef>
          </p:style>
        </p:cxnSp>
        <p:cxnSp>
          <p:nvCxnSpPr>
            <p:cNvPr id="9" name="Straight Connector 23">
              <a:extLst>
                <a:ext uri="{FF2B5EF4-FFF2-40B4-BE49-F238E27FC236}">
                  <a16:creationId xmlns:a16="http://schemas.microsoft.com/office/drawing/2014/main" id="{E959683E-34DC-499E-B918-E2FB6FDADAC2}"/>
                </a:ext>
              </a:extLst>
            </p:cNvPr>
            <p:cNvCxnSpPr>
              <a:cxnSpLocks/>
            </p:cNvCxnSpPr>
            <p:nvPr/>
          </p:nvCxnSpPr>
          <p:spPr>
            <a:xfrm>
              <a:off x="5554438" y="2946400"/>
              <a:ext cx="0" cy="2133259"/>
            </a:xfrm>
            <a:prstGeom prst="line">
              <a:avLst/>
            </a:prstGeom>
            <a:ln w="19050" cap="rnd">
              <a:solidFill>
                <a:schemeClr val="accent2">
                  <a:lumMod val="20000"/>
                  <a:lumOff val="80000"/>
                </a:schemeClr>
              </a:solidFill>
              <a:prstDash val="sysDot"/>
              <a:round/>
              <a:headEnd type="oval"/>
              <a:tailEnd type="oval"/>
            </a:ln>
          </p:spPr>
          <p:style>
            <a:lnRef idx="1">
              <a:schemeClr val="accent1"/>
            </a:lnRef>
            <a:fillRef idx="0">
              <a:schemeClr val="accent1"/>
            </a:fillRef>
            <a:effectRef idx="0">
              <a:schemeClr val="accent1"/>
            </a:effectRef>
            <a:fontRef idx="minor">
              <a:schemeClr val="tx1"/>
            </a:fontRef>
          </p:style>
        </p:cxnSp>
        <p:sp>
          <p:nvSpPr>
            <p:cNvPr id="10" name="Graphic 7">
              <a:extLst>
                <a:ext uri="{FF2B5EF4-FFF2-40B4-BE49-F238E27FC236}">
                  <a16:creationId xmlns:a16="http://schemas.microsoft.com/office/drawing/2014/main" id="{92E94E8A-8A76-4E65-8F86-307BCA20A1CD}"/>
                </a:ext>
              </a:extLst>
            </p:cNvPr>
            <p:cNvSpPr/>
            <p:nvPr/>
          </p:nvSpPr>
          <p:spPr>
            <a:xfrm>
              <a:off x="2778547" y="2183519"/>
              <a:ext cx="8299517" cy="2712214"/>
            </a:xfrm>
            <a:custGeom>
              <a:avLst/>
              <a:gdLst>
                <a:gd name="connsiteX0" fmla="*/ 6145081 w 6560989"/>
                <a:gd name="connsiteY0" fmla="*/ 1644185 h 3060886"/>
                <a:gd name="connsiteX1" fmla="*/ 4508497 w 6560989"/>
                <a:gd name="connsiteY1" fmla="*/ 2590154 h 3060886"/>
                <a:gd name="connsiteX2" fmla="*/ 4508497 w 6560989"/>
                <a:gd name="connsiteY2" fmla="*/ 225231 h 3060886"/>
                <a:gd name="connsiteX3" fmla="*/ 6086471 w 6560989"/>
                <a:gd name="connsiteY3" fmla="*/ 866013 h 3060886"/>
                <a:gd name="connsiteX4" fmla="*/ 6560990 w 6560989"/>
                <a:gd name="connsiteY4" fmla="*/ 1406566 h 3060886"/>
                <a:gd name="connsiteX5" fmla="*/ 5635621 w 6560989"/>
                <a:gd name="connsiteY5" fmla="*/ 1406566 h 3060886"/>
                <a:gd name="connsiteX6" fmla="*/ 6143954 w 6560989"/>
                <a:gd name="connsiteY6" fmla="*/ 1644185 h 3060886"/>
                <a:gd name="connsiteX7" fmla="*/ 0 w 6560989"/>
                <a:gd name="connsiteY7" fmla="*/ 324332 h 3060886"/>
                <a:gd name="connsiteX8" fmla="*/ 1127124 w 6560989"/>
                <a:gd name="connsiteY8" fmla="*/ 1259040 h 3060886"/>
                <a:gd name="connsiteX9" fmla="*/ 1653491 w 6560989"/>
                <a:gd name="connsiteY9" fmla="*/ 1259040 h 3060886"/>
                <a:gd name="connsiteX10" fmla="*/ 1653491 w 6560989"/>
                <a:gd name="connsiteY10" fmla="*/ 1072099 h 3060886"/>
                <a:gd name="connsiteX11" fmla="*/ 1942035 w 6560989"/>
                <a:gd name="connsiteY11" fmla="*/ 653169 h 3060886"/>
                <a:gd name="connsiteX12" fmla="*/ 1942035 w 6560989"/>
                <a:gd name="connsiteY12" fmla="*/ 1259040 h 3060886"/>
                <a:gd name="connsiteX13" fmla="*/ 2291443 w 6560989"/>
                <a:gd name="connsiteY13" fmla="*/ 1259040 h 3060886"/>
                <a:gd name="connsiteX14" fmla="*/ 2291443 w 6560989"/>
                <a:gd name="connsiteY14" fmla="*/ 675692 h 3060886"/>
                <a:gd name="connsiteX15" fmla="*/ 2585623 w 6560989"/>
                <a:gd name="connsiteY15" fmla="*/ 256763 h 3060886"/>
                <a:gd name="connsiteX16" fmla="*/ 2585623 w 6560989"/>
                <a:gd name="connsiteY16" fmla="*/ 1254536 h 3060886"/>
                <a:gd name="connsiteX17" fmla="*/ 2936158 w 6560989"/>
                <a:gd name="connsiteY17" fmla="*/ 1254536 h 3060886"/>
                <a:gd name="connsiteX18" fmla="*/ 2936158 w 6560989"/>
                <a:gd name="connsiteY18" fmla="*/ 418929 h 3060886"/>
                <a:gd name="connsiteX19" fmla="*/ 3229211 w 6560989"/>
                <a:gd name="connsiteY19" fmla="*/ 0 h 3060886"/>
                <a:gd name="connsiteX20" fmla="*/ 3229211 w 6560989"/>
                <a:gd name="connsiteY20" fmla="*/ 1259040 h 3060886"/>
                <a:gd name="connsiteX21" fmla="*/ 3579746 w 6560989"/>
                <a:gd name="connsiteY21" fmla="*/ 1259040 h 3060886"/>
                <a:gd name="connsiteX22" fmla="*/ 3579746 w 6560989"/>
                <a:gd name="connsiteY22" fmla="*/ 808579 h 3060886"/>
                <a:gd name="connsiteX23" fmla="*/ 3873926 w 6560989"/>
                <a:gd name="connsiteY23" fmla="*/ 389649 h 3060886"/>
                <a:gd name="connsiteX24" fmla="*/ 3873926 w 6560989"/>
                <a:gd name="connsiteY24" fmla="*/ 1256788 h 3060886"/>
                <a:gd name="connsiteX25" fmla="*/ 4500607 w 6560989"/>
                <a:gd name="connsiteY25" fmla="*/ 1256788 h 3060886"/>
                <a:gd name="connsiteX26" fmla="*/ 4500607 w 6560989"/>
                <a:gd name="connsiteY26" fmla="*/ 1550714 h 3060886"/>
                <a:gd name="connsiteX27" fmla="*/ 715724 w 6560989"/>
                <a:gd name="connsiteY27" fmla="*/ 1550714 h 3060886"/>
                <a:gd name="connsiteX28" fmla="*/ 1014412 w 6560989"/>
                <a:gd name="connsiteY28" fmla="*/ 1639680 h 3060886"/>
                <a:gd name="connsiteX29" fmla="*/ 0 w 6560989"/>
                <a:gd name="connsiteY29" fmla="*/ 2487674 h 3060886"/>
                <a:gd name="connsiteX30" fmla="*/ 144272 w 6560989"/>
                <a:gd name="connsiteY30" fmla="*/ 1670087 h 3060886"/>
                <a:gd name="connsiteX31" fmla="*/ 518477 w 6560989"/>
                <a:gd name="connsiteY31" fmla="*/ 1406566 h 3060886"/>
                <a:gd name="connsiteX32" fmla="*/ 308832 w 6560989"/>
                <a:gd name="connsiteY32" fmla="*/ 1259040 h 3060886"/>
                <a:gd name="connsiteX33" fmla="*/ 308832 w 6560989"/>
                <a:gd name="connsiteY33" fmla="*/ 1259040 h 3060886"/>
                <a:gd name="connsiteX34" fmla="*/ 143145 w 6560989"/>
                <a:gd name="connsiteY34" fmla="*/ 1146425 h 3060886"/>
                <a:gd name="connsiteX35" fmla="*/ 0 w 6560989"/>
                <a:gd name="connsiteY35" fmla="*/ 324332 h 3060886"/>
                <a:gd name="connsiteX36" fmla="*/ 1942035 w 6560989"/>
                <a:gd name="connsiteY36" fmla="*/ 2405465 h 3060886"/>
                <a:gd name="connsiteX37" fmla="*/ 1942035 w 6560989"/>
                <a:gd name="connsiteY37" fmla="*/ 1801847 h 3060886"/>
                <a:gd name="connsiteX38" fmla="*/ 1647856 w 6560989"/>
                <a:gd name="connsiteY38" fmla="*/ 1801847 h 3060886"/>
                <a:gd name="connsiteX39" fmla="*/ 1647856 w 6560989"/>
                <a:gd name="connsiteY39" fmla="*/ 1989914 h 3060886"/>
                <a:gd name="connsiteX40" fmla="*/ 1942035 w 6560989"/>
                <a:gd name="connsiteY40" fmla="*/ 2408844 h 3060886"/>
                <a:gd name="connsiteX41" fmla="*/ 3873926 w 6560989"/>
                <a:gd name="connsiteY41" fmla="*/ 2665607 h 3060886"/>
                <a:gd name="connsiteX42" fmla="*/ 3873926 w 6560989"/>
                <a:gd name="connsiteY42" fmla="*/ 1801847 h 3060886"/>
                <a:gd name="connsiteX43" fmla="*/ 3579746 w 6560989"/>
                <a:gd name="connsiteY43" fmla="*/ 1801847 h 3060886"/>
                <a:gd name="connsiteX44" fmla="*/ 3579746 w 6560989"/>
                <a:gd name="connsiteY44" fmla="*/ 2252308 h 3060886"/>
                <a:gd name="connsiteX45" fmla="*/ 3873926 w 6560989"/>
                <a:gd name="connsiteY45" fmla="*/ 2670111 h 3060886"/>
                <a:gd name="connsiteX46" fmla="*/ 3229211 w 6560989"/>
                <a:gd name="connsiteY46" fmla="*/ 3057508 h 3060886"/>
                <a:gd name="connsiteX47" fmla="*/ 3229211 w 6560989"/>
                <a:gd name="connsiteY47" fmla="*/ 1801847 h 3060886"/>
                <a:gd name="connsiteX48" fmla="*/ 2936158 w 6560989"/>
                <a:gd name="connsiteY48" fmla="*/ 1801847 h 3060886"/>
                <a:gd name="connsiteX49" fmla="*/ 2936158 w 6560989"/>
                <a:gd name="connsiteY49" fmla="*/ 2641957 h 3060886"/>
                <a:gd name="connsiteX50" fmla="*/ 3229211 w 6560989"/>
                <a:gd name="connsiteY50" fmla="*/ 3060887 h 3060886"/>
                <a:gd name="connsiteX51" fmla="*/ 2585623 w 6560989"/>
                <a:gd name="connsiteY51" fmla="*/ 2796241 h 3060886"/>
                <a:gd name="connsiteX52" fmla="*/ 2585623 w 6560989"/>
                <a:gd name="connsiteY52" fmla="*/ 1801847 h 3060886"/>
                <a:gd name="connsiteX53" fmla="*/ 2291443 w 6560989"/>
                <a:gd name="connsiteY53" fmla="*/ 1801847 h 3060886"/>
                <a:gd name="connsiteX54" fmla="*/ 2291443 w 6560989"/>
                <a:gd name="connsiteY54" fmla="*/ 2380690 h 3060886"/>
                <a:gd name="connsiteX55" fmla="*/ 2585623 w 6560989"/>
                <a:gd name="connsiteY55" fmla="*/ 2799619 h 3060886"/>
                <a:gd name="connsiteX56" fmla="*/ 5478951 w 6560989"/>
                <a:gd name="connsiteY56" fmla="*/ 855877 h 3060886"/>
                <a:gd name="connsiteX57" fmla="*/ 5591663 w 6560989"/>
                <a:gd name="connsiteY57" fmla="*/ 968493 h 3060886"/>
                <a:gd name="connsiteX58" fmla="*/ 5478951 w 6560989"/>
                <a:gd name="connsiteY58" fmla="*/ 1081108 h 3060886"/>
                <a:gd name="connsiteX59" fmla="*/ 5366238 w 6560989"/>
                <a:gd name="connsiteY59" fmla="*/ 968493 h 3060886"/>
                <a:gd name="connsiteX60" fmla="*/ 5478951 w 6560989"/>
                <a:gd name="connsiteY60" fmla="*/ 855877 h 3060886"/>
                <a:gd name="connsiteX0" fmla="*/ 6145081 w 6560990"/>
                <a:gd name="connsiteY0" fmla="*/ 1644185 h 3060887"/>
                <a:gd name="connsiteX1" fmla="*/ 4508497 w 6560990"/>
                <a:gd name="connsiteY1" fmla="*/ 2590154 h 3060887"/>
                <a:gd name="connsiteX2" fmla="*/ 4508497 w 6560990"/>
                <a:gd name="connsiteY2" fmla="*/ 225231 h 3060887"/>
                <a:gd name="connsiteX3" fmla="*/ 6086471 w 6560990"/>
                <a:gd name="connsiteY3" fmla="*/ 866013 h 3060887"/>
                <a:gd name="connsiteX4" fmla="*/ 6560990 w 6560990"/>
                <a:gd name="connsiteY4" fmla="*/ 1406566 h 3060887"/>
                <a:gd name="connsiteX5" fmla="*/ 6254317 w 6560990"/>
                <a:gd name="connsiteY5" fmla="*/ 1191576 h 3060887"/>
                <a:gd name="connsiteX6" fmla="*/ 6143954 w 6560990"/>
                <a:gd name="connsiteY6" fmla="*/ 1644185 h 3060887"/>
                <a:gd name="connsiteX7" fmla="*/ 6145081 w 6560990"/>
                <a:gd name="connsiteY7" fmla="*/ 1644185 h 3060887"/>
                <a:gd name="connsiteX8" fmla="*/ 0 w 6560990"/>
                <a:gd name="connsiteY8" fmla="*/ 324332 h 3060887"/>
                <a:gd name="connsiteX9" fmla="*/ 1127124 w 6560990"/>
                <a:gd name="connsiteY9" fmla="*/ 1259040 h 3060887"/>
                <a:gd name="connsiteX10" fmla="*/ 1653491 w 6560990"/>
                <a:gd name="connsiteY10" fmla="*/ 1259040 h 3060887"/>
                <a:gd name="connsiteX11" fmla="*/ 1653491 w 6560990"/>
                <a:gd name="connsiteY11" fmla="*/ 1072099 h 3060887"/>
                <a:gd name="connsiteX12" fmla="*/ 1942035 w 6560990"/>
                <a:gd name="connsiteY12" fmla="*/ 653169 h 3060887"/>
                <a:gd name="connsiteX13" fmla="*/ 1942035 w 6560990"/>
                <a:gd name="connsiteY13" fmla="*/ 1259040 h 3060887"/>
                <a:gd name="connsiteX14" fmla="*/ 2291443 w 6560990"/>
                <a:gd name="connsiteY14" fmla="*/ 1259040 h 3060887"/>
                <a:gd name="connsiteX15" fmla="*/ 2291443 w 6560990"/>
                <a:gd name="connsiteY15" fmla="*/ 675692 h 3060887"/>
                <a:gd name="connsiteX16" fmla="*/ 2585623 w 6560990"/>
                <a:gd name="connsiteY16" fmla="*/ 256763 h 3060887"/>
                <a:gd name="connsiteX17" fmla="*/ 2585623 w 6560990"/>
                <a:gd name="connsiteY17" fmla="*/ 1254536 h 3060887"/>
                <a:gd name="connsiteX18" fmla="*/ 2936158 w 6560990"/>
                <a:gd name="connsiteY18" fmla="*/ 1254536 h 3060887"/>
                <a:gd name="connsiteX19" fmla="*/ 2936158 w 6560990"/>
                <a:gd name="connsiteY19" fmla="*/ 418929 h 3060887"/>
                <a:gd name="connsiteX20" fmla="*/ 3229211 w 6560990"/>
                <a:gd name="connsiteY20" fmla="*/ 0 h 3060887"/>
                <a:gd name="connsiteX21" fmla="*/ 3229211 w 6560990"/>
                <a:gd name="connsiteY21" fmla="*/ 1259040 h 3060887"/>
                <a:gd name="connsiteX22" fmla="*/ 3579746 w 6560990"/>
                <a:gd name="connsiteY22" fmla="*/ 1259040 h 3060887"/>
                <a:gd name="connsiteX23" fmla="*/ 3579746 w 6560990"/>
                <a:gd name="connsiteY23" fmla="*/ 808579 h 3060887"/>
                <a:gd name="connsiteX24" fmla="*/ 3873926 w 6560990"/>
                <a:gd name="connsiteY24" fmla="*/ 389649 h 3060887"/>
                <a:gd name="connsiteX25" fmla="*/ 3873926 w 6560990"/>
                <a:gd name="connsiteY25" fmla="*/ 1256788 h 3060887"/>
                <a:gd name="connsiteX26" fmla="*/ 4500607 w 6560990"/>
                <a:gd name="connsiteY26" fmla="*/ 1256788 h 3060887"/>
                <a:gd name="connsiteX27" fmla="*/ 4500607 w 6560990"/>
                <a:gd name="connsiteY27" fmla="*/ 1550714 h 3060887"/>
                <a:gd name="connsiteX28" fmla="*/ 715724 w 6560990"/>
                <a:gd name="connsiteY28" fmla="*/ 1550714 h 3060887"/>
                <a:gd name="connsiteX29" fmla="*/ 1014412 w 6560990"/>
                <a:gd name="connsiteY29" fmla="*/ 1639680 h 3060887"/>
                <a:gd name="connsiteX30" fmla="*/ 0 w 6560990"/>
                <a:gd name="connsiteY30" fmla="*/ 2487674 h 3060887"/>
                <a:gd name="connsiteX31" fmla="*/ 144272 w 6560990"/>
                <a:gd name="connsiteY31" fmla="*/ 1670087 h 3060887"/>
                <a:gd name="connsiteX32" fmla="*/ 518477 w 6560990"/>
                <a:gd name="connsiteY32" fmla="*/ 1406566 h 3060887"/>
                <a:gd name="connsiteX33" fmla="*/ 308832 w 6560990"/>
                <a:gd name="connsiteY33" fmla="*/ 1259040 h 3060887"/>
                <a:gd name="connsiteX34" fmla="*/ 308832 w 6560990"/>
                <a:gd name="connsiteY34" fmla="*/ 1259040 h 3060887"/>
                <a:gd name="connsiteX35" fmla="*/ 143145 w 6560990"/>
                <a:gd name="connsiteY35" fmla="*/ 1146425 h 3060887"/>
                <a:gd name="connsiteX36" fmla="*/ 0 w 6560990"/>
                <a:gd name="connsiteY36" fmla="*/ 324332 h 3060887"/>
                <a:gd name="connsiteX37" fmla="*/ 1942035 w 6560990"/>
                <a:gd name="connsiteY37" fmla="*/ 2405465 h 3060887"/>
                <a:gd name="connsiteX38" fmla="*/ 1942035 w 6560990"/>
                <a:gd name="connsiteY38" fmla="*/ 1801847 h 3060887"/>
                <a:gd name="connsiteX39" fmla="*/ 1647856 w 6560990"/>
                <a:gd name="connsiteY39" fmla="*/ 1801847 h 3060887"/>
                <a:gd name="connsiteX40" fmla="*/ 1647856 w 6560990"/>
                <a:gd name="connsiteY40" fmla="*/ 1989914 h 3060887"/>
                <a:gd name="connsiteX41" fmla="*/ 1942035 w 6560990"/>
                <a:gd name="connsiteY41" fmla="*/ 2408844 h 3060887"/>
                <a:gd name="connsiteX42" fmla="*/ 1942035 w 6560990"/>
                <a:gd name="connsiteY42" fmla="*/ 2405465 h 3060887"/>
                <a:gd name="connsiteX43" fmla="*/ 3873926 w 6560990"/>
                <a:gd name="connsiteY43" fmla="*/ 2665607 h 3060887"/>
                <a:gd name="connsiteX44" fmla="*/ 3873926 w 6560990"/>
                <a:gd name="connsiteY44" fmla="*/ 1801847 h 3060887"/>
                <a:gd name="connsiteX45" fmla="*/ 3579746 w 6560990"/>
                <a:gd name="connsiteY45" fmla="*/ 1801847 h 3060887"/>
                <a:gd name="connsiteX46" fmla="*/ 3579746 w 6560990"/>
                <a:gd name="connsiteY46" fmla="*/ 2252308 h 3060887"/>
                <a:gd name="connsiteX47" fmla="*/ 3873926 w 6560990"/>
                <a:gd name="connsiteY47" fmla="*/ 2670111 h 3060887"/>
                <a:gd name="connsiteX48" fmla="*/ 3873926 w 6560990"/>
                <a:gd name="connsiteY48" fmla="*/ 2665607 h 3060887"/>
                <a:gd name="connsiteX49" fmla="*/ 3229211 w 6560990"/>
                <a:gd name="connsiteY49" fmla="*/ 3057508 h 3060887"/>
                <a:gd name="connsiteX50" fmla="*/ 3229211 w 6560990"/>
                <a:gd name="connsiteY50" fmla="*/ 1801847 h 3060887"/>
                <a:gd name="connsiteX51" fmla="*/ 2936158 w 6560990"/>
                <a:gd name="connsiteY51" fmla="*/ 1801847 h 3060887"/>
                <a:gd name="connsiteX52" fmla="*/ 2936158 w 6560990"/>
                <a:gd name="connsiteY52" fmla="*/ 2641957 h 3060887"/>
                <a:gd name="connsiteX53" fmla="*/ 3229211 w 6560990"/>
                <a:gd name="connsiteY53" fmla="*/ 3060887 h 3060887"/>
                <a:gd name="connsiteX54" fmla="*/ 3229211 w 6560990"/>
                <a:gd name="connsiteY54" fmla="*/ 3057508 h 3060887"/>
                <a:gd name="connsiteX55" fmla="*/ 2585623 w 6560990"/>
                <a:gd name="connsiteY55" fmla="*/ 2796241 h 3060887"/>
                <a:gd name="connsiteX56" fmla="*/ 2585623 w 6560990"/>
                <a:gd name="connsiteY56" fmla="*/ 1801847 h 3060887"/>
                <a:gd name="connsiteX57" fmla="*/ 2291443 w 6560990"/>
                <a:gd name="connsiteY57" fmla="*/ 1801847 h 3060887"/>
                <a:gd name="connsiteX58" fmla="*/ 2291443 w 6560990"/>
                <a:gd name="connsiteY58" fmla="*/ 2380690 h 3060887"/>
                <a:gd name="connsiteX59" fmla="*/ 2585623 w 6560990"/>
                <a:gd name="connsiteY59" fmla="*/ 2799619 h 3060887"/>
                <a:gd name="connsiteX60" fmla="*/ 2585623 w 6560990"/>
                <a:gd name="connsiteY60" fmla="*/ 2796241 h 3060887"/>
                <a:gd name="connsiteX61" fmla="*/ 5478951 w 6560990"/>
                <a:gd name="connsiteY61" fmla="*/ 855877 h 3060887"/>
                <a:gd name="connsiteX62" fmla="*/ 5591663 w 6560990"/>
                <a:gd name="connsiteY62" fmla="*/ 968493 h 3060887"/>
                <a:gd name="connsiteX63" fmla="*/ 5478951 w 6560990"/>
                <a:gd name="connsiteY63" fmla="*/ 1081108 h 3060887"/>
                <a:gd name="connsiteX64" fmla="*/ 5366238 w 6560990"/>
                <a:gd name="connsiteY64" fmla="*/ 968493 h 3060887"/>
                <a:gd name="connsiteX65" fmla="*/ 5478951 w 6560990"/>
                <a:gd name="connsiteY65" fmla="*/ 855877 h 3060887"/>
                <a:gd name="connsiteX0" fmla="*/ 6145081 w 6560990"/>
                <a:gd name="connsiteY0" fmla="*/ 1644185 h 3060887"/>
                <a:gd name="connsiteX1" fmla="*/ 4508497 w 6560990"/>
                <a:gd name="connsiteY1" fmla="*/ 2590154 h 3060887"/>
                <a:gd name="connsiteX2" fmla="*/ 4508497 w 6560990"/>
                <a:gd name="connsiteY2" fmla="*/ 225231 h 3060887"/>
                <a:gd name="connsiteX3" fmla="*/ 6086471 w 6560990"/>
                <a:gd name="connsiteY3" fmla="*/ 866013 h 3060887"/>
                <a:gd name="connsiteX4" fmla="*/ 6560990 w 6560990"/>
                <a:gd name="connsiteY4" fmla="*/ 1406566 h 3060887"/>
                <a:gd name="connsiteX5" fmla="*/ 6300489 w 6560990"/>
                <a:gd name="connsiteY5" fmla="*/ 1191576 h 3060887"/>
                <a:gd name="connsiteX6" fmla="*/ 6143954 w 6560990"/>
                <a:gd name="connsiteY6" fmla="*/ 1644185 h 3060887"/>
                <a:gd name="connsiteX7" fmla="*/ 6145081 w 6560990"/>
                <a:gd name="connsiteY7" fmla="*/ 1644185 h 3060887"/>
                <a:gd name="connsiteX8" fmla="*/ 0 w 6560990"/>
                <a:gd name="connsiteY8" fmla="*/ 324332 h 3060887"/>
                <a:gd name="connsiteX9" fmla="*/ 1127124 w 6560990"/>
                <a:gd name="connsiteY9" fmla="*/ 1259040 h 3060887"/>
                <a:gd name="connsiteX10" fmla="*/ 1653491 w 6560990"/>
                <a:gd name="connsiteY10" fmla="*/ 1259040 h 3060887"/>
                <a:gd name="connsiteX11" fmla="*/ 1653491 w 6560990"/>
                <a:gd name="connsiteY11" fmla="*/ 1072099 h 3060887"/>
                <a:gd name="connsiteX12" fmla="*/ 1942035 w 6560990"/>
                <a:gd name="connsiteY12" fmla="*/ 653169 h 3060887"/>
                <a:gd name="connsiteX13" fmla="*/ 1942035 w 6560990"/>
                <a:gd name="connsiteY13" fmla="*/ 1259040 h 3060887"/>
                <a:gd name="connsiteX14" fmla="*/ 2291443 w 6560990"/>
                <a:gd name="connsiteY14" fmla="*/ 1259040 h 3060887"/>
                <a:gd name="connsiteX15" fmla="*/ 2291443 w 6560990"/>
                <a:gd name="connsiteY15" fmla="*/ 675692 h 3060887"/>
                <a:gd name="connsiteX16" fmla="*/ 2585623 w 6560990"/>
                <a:gd name="connsiteY16" fmla="*/ 256763 h 3060887"/>
                <a:gd name="connsiteX17" fmla="*/ 2585623 w 6560990"/>
                <a:gd name="connsiteY17" fmla="*/ 1254536 h 3060887"/>
                <a:gd name="connsiteX18" fmla="*/ 2936158 w 6560990"/>
                <a:gd name="connsiteY18" fmla="*/ 1254536 h 3060887"/>
                <a:gd name="connsiteX19" fmla="*/ 2936158 w 6560990"/>
                <a:gd name="connsiteY19" fmla="*/ 418929 h 3060887"/>
                <a:gd name="connsiteX20" fmla="*/ 3229211 w 6560990"/>
                <a:gd name="connsiteY20" fmla="*/ 0 h 3060887"/>
                <a:gd name="connsiteX21" fmla="*/ 3229211 w 6560990"/>
                <a:gd name="connsiteY21" fmla="*/ 1259040 h 3060887"/>
                <a:gd name="connsiteX22" fmla="*/ 3579746 w 6560990"/>
                <a:gd name="connsiteY22" fmla="*/ 1259040 h 3060887"/>
                <a:gd name="connsiteX23" fmla="*/ 3579746 w 6560990"/>
                <a:gd name="connsiteY23" fmla="*/ 808579 h 3060887"/>
                <a:gd name="connsiteX24" fmla="*/ 3873926 w 6560990"/>
                <a:gd name="connsiteY24" fmla="*/ 389649 h 3060887"/>
                <a:gd name="connsiteX25" fmla="*/ 3873926 w 6560990"/>
                <a:gd name="connsiteY25" fmla="*/ 1256788 h 3060887"/>
                <a:gd name="connsiteX26" fmla="*/ 4500607 w 6560990"/>
                <a:gd name="connsiteY26" fmla="*/ 1256788 h 3060887"/>
                <a:gd name="connsiteX27" fmla="*/ 4500607 w 6560990"/>
                <a:gd name="connsiteY27" fmla="*/ 1550714 h 3060887"/>
                <a:gd name="connsiteX28" fmla="*/ 715724 w 6560990"/>
                <a:gd name="connsiteY28" fmla="*/ 1550714 h 3060887"/>
                <a:gd name="connsiteX29" fmla="*/ 1014412 w 6560990"/>
                <a:gd name="connsiteY29" fmla="*/ 1639680 h 3060887"/>
                <a:gd name="connsiteX30" fmla="*/ 0 w 6560990"/>
                <a:gd name="connsiteY30" fmla="*/ 2487674 h 3060887"/>
                <a:gd name="connsiteX31" fmla="*/ 144272 w 6560990"/>
                <a:gd name="connsiteY31" fmla="*/ 1670087 h 3060887"/>
                <a:gd name="connsiteX32" fmla="*/ 518477 w 6560990"/>
                <a:gd name="connsiteY32" fmla="*/ 1406566 h 3060887"/>
                <a:gd name="connsiteX33" fmla="*/ 308832 w 6560990"/>
                <a:gd name="connsiteY33" fmla="*/ 1259040 h 3060887"/>
                <a:gd name="connsiteX34" fmla="*/ 308832 w 6560990"/>
                <a:gd name="connsiteY34" fmla="*/ 1259040 h 3060887"/>
                <a:gd name="connsiteX35" fmla="*/ 143145 w 6560990"/>
                <a:gd name="connsiteY35" fmla="*/ 1146425 h 3060887"/>
                <a:gd name="connsiteX36" fmla="*/ 0 w 6560990"/>
                <a:gd name="connsiteY36" fmla="*/ 324332 h 3060887"/>
                <a:gd name="connsiteX37" fmla="*/ 1942035 w 6560990"/>
                <a:gd name="connsiteY37" fmla="*/ 2405465 h 3060887"/>
                <a:gd name="connsiteX38" fmla="*/ 1942035 w 6560990"/>
                <a:gd name="connsiteY38" fmla="*/ 1801847 h 3060887"/>
                <a:gd name="connsiteX39" fmla="*/ 1647856 w 6560990"/>
                <a:gd name="connsiteY39" fmla="*/ 1801847 h 3060887"/>
                <a:gd name="connsiteX40" fmla="*/ 1647856 w 6560990"/>
                <a:gd name="connsiteY40" fmla="*/ 1989914 h 3060887"/>
                <a:gd name="connsiteX41" fmla="*/ 1942035 w 6560990"/>
                <a:gd name="connsiteY41" fmla="*/ 2408844 h 3060887"/>
                <a:gd name="connsiteX42" fmla="*/ 1942035 w 6560990"/>
                <a:gd name="connsiteY42" fmla="*/ 2405465 h 3060887"/>
                <a:gd name="connsiteX43" fmla="*/ 3873926 w 6560990"/>
                <a:gd name="connsiteY43" fmla="*/ 2665607 h 3060887"/>
                <a:gd name="connsiteX44" fmla="*/ 3873926 w 6560990"/>
                <a:gd name="connsiteY44" fmla="*/ 1801847 h 3060887"/>
                <a:gd name="connsiteX45" fmla="*/ 3579746 w 6560990"/>
                <a:gd name="connsiteY45" fmla="*/ 1801847 h 3060887"/>
                <a:gd name="connsiteX46" fmla="*/ 3579746 w 6560990"/>
                <a:gd name="connsiteY46" fmla="*/ 2252308 h 3060887"/>
                <a:gd name="connsiteX47" fmla="*/ 3873926 w 6560990"/>
                <a:gd name="connsiteY47" fmla="*/ 2670111 h 3060887"/>
                <a:gd name="connsiteX48" fmla="*/ 3873926 w 6560990"/>
                <a:gd name="connsiteY48" fmla="*/ 2665607 h 3060887"/>
                <a:gd name="connsiteX49" fmla="*/ 3229211 w 6560990"/>
                <a:gd name="connsiteY49" fmla="*/ 3057508 h 3060887"/>
                <a:gd name="connsiteX50" fmla="*/ 3229211 w 6560990"/>
                <a:gd name="connsiteY50" fmla="*/ 1801847 h 3060887"/>
                <a:gd name="connsiteX51" fmla="*/ 2936158 w 6560990"/>
                <a:gd name="connsiteY51" fmla="*/ 1801847 h 3060887"/>
                <a:gd name="connsiteX52" fmla="*/ 2936158 w 6560990"/>
                <a:gd name="connsiteY52" fmla="*/ 2641957 h 3060887"/>
                <a:gd name="connsiteX53" fmla="*/ 3229211 w 6560990"/>
                <a:gd name="connsiteY53" fmla="*/ 3060887 h 3060887"/>
                <a:gd name="connsiteX54" fmla="*/ 3229211 w 6560990"/>
                <a:gd name="connsiteY54" fmla="*/ 3057508 h 3060887"/>
                <a:gd name="connsiteX55" fmla="*/ 2585623 w 6560990"/>
                <a:gd name="connsiteY55" fmla="*/ 2796241 h 3060887"/>
                <a:gd name="connsiteX56" fmla="*/ 2585623 w 6560990"/>
                <a:gd name="connsiteY56" fmla="*/ 1801847 h 3060887"/>
                <a:gd name="connsiteX57" fmla="*/ 2291443 w 6560990"/>
                <a:gd name="connsiteY57" fmla="*/ 1801847 h 3060887"/>
                <a:gd name="connsiteX58" fmla="*/ 2291443 w 6560990"/>
                <a:gd name="connsiteY58" fmla="*/ 2380690 h 3060887"/>
                <a:gd name="connsiteX59" fmla="*/ 2585623 w 6560990"/>
                <a:gd name="connsiteY59" fmla="*/ 2799619 h 3060887"/>
                <a:gd name="connsiteX60" fmla="*/ 2585623 w 6560990"/>
                <a:gd name="connsiteY60" fmla="*/ 2796241 h 3060887"/>
                <a:gd name="connsiteX61" fmla="*/ 5478951 w 6560990"/>
                <a:gd name="connsiteY61" fmla="*/ 855877 h 3060887"/>
                <a:gd name="connsiteX62" fmla="*/ 5591663 w 6560990"/>
                <a:gd name="connsiteY62" fmla="*/ 968493 h 3060887"/>
                <a:gd name="connsiteX63" fmla="*/ 5478951 w 6560990"/>
                <a:gd name="connsiteY63" fmla="*/ 1081108 h 3060887"/>
                <a:gd name="connsiteX64" fmla="*/ 5366238 w 6560990"/>
                <a:gd name="connsiteY64" fmla="*/ 968493 h 3060887"/>
                <a:gd name="connsiteX65" fmla="*/ 5478951 w 6560990"/>
                <a:gd name="connsiteY65" fmla="*/ 855877 h 3060887"/>
                <a:gd name="connsiteX0" fmla="*/ 6542154 w 6560990"/>
                <a:gd name="connsiteY0" fmla="*/ 1386197 h 3060887"/>
                <a:gd name="connsiteX1" fmla="*/ 4508497 w 6560990"/>
                <a:gd name="connsiteY1" fmla="*/ 2590154 h 3060887"/>
                <a:gd name="connsiteX2" fmla="*/ 4508497 w 6560990"/>
                <a:gd name="connsiteY2" fmla="*/ 225231 h 3060887"/>
                <a:gd name="connsiteX3" fmla="*/ 6086471 w 6560990"/>
                <a:gd name="connsiteY3" fmla="*/ 866013 h 3060887"/>
                <a:gd name="connsiteX4" fmla="*/ 6560990 w 6560990"/>
                <a:gd name="connsiteY4" fmla="*/ 1406566 h 3060887"/>
                <a:gd name="connsiteX5" fmla="*/ 6300489 w 6560990"/>
                <a:gd name="connsiteY5" fmla="*/ 1191576 h 3060887"/>
                <a:gd name="connsiteX6" fmla="*/ 6143954 w 6560990"/>
                <a:gd name="connsiteY6" fmla="*/ 1644185 h 3060887"/>
                <a:gd name="connsiteX7" fmla="*/ 6542154 w 6560990"/>
                <a:gd name="connsiteY7" fmla="*/ 1386197 h 3060887"/>
                <a:gd name="connsiteX8" fmla="*/ 0 w 6560990"/>
                <a:gd name="connsiteY8" fmla="*/ 324332 h 3060887"/>
                <a:gd name="connsiteX9" fmla="*/ 1127124 w 6560990"/>
                <a:gd name="connsiteY9" fmla="*/ 1259040 h 3060887"/>
                <a:gd name="connsiteX10" fmla="*/ 1653491 w 6560990"/>
                <a:gd name="connsiteY10" fmla="*/ 1259040 h 3060887"/>
                <a:gd name="connsiteX11" fmla="*/ 1653491 w 6560990"/>
                <a:gd name="connsiteY11" fmla="*/ 1072099 h 3060887"/>
                <a:gd name="connsiteX12" fmla="*/ 1942035 w 6560990"/>
                <a:gd name="connsiteY12" fmla="*/ 653169 h 3060887"/>
                <a:gd name="connsiteX13" fmla="*/ 1942035 w 6560990"/>
                <a:gd name="connsiteY13" fmla="*/ 1259040 h 3060887"/>
                <a:gd name="connsiteX14" fmla="*/ 2291443 w 6560990"/>
                <a:gd name="connsiteY14" fmla="*/ 1259040 h 3060887"/>
                <a:gd name="connsiteX15" fmla="*/ 2291443 w 6560990"/>
                <a:gd name="connsiteY15" fmla="*/ 675692 h 3060887"/>
                <a:gd name="connsiteX16" fmla="*/ 2585623 w 6560990"/>
                <a:gd name="connsiteY16" fmla="*/ 256763 h 3060887"/>
                <a:gd name="connsiteX17" fmla="*/ 2585623 w 6560990"/>
                <a:gd name="connsiteY17" fmla="*/ 1254536 h 3060887"/>
                <a:gd name="connsiteX18" fmla="*/ 2936158 w 6560990"/>
                <a:gd name="connsiteY18" fmla="*/ 1254536 h 3060887"/>
                <a:gd name="connsiteX19" fmla="*/ 2936158 w 6560990"/>
                <a:gd name="connsiteY19" fmla="*/ 418929 h 3060887"/>
                <a:gd name="connsiteX20" fmla="*/ 3229211 w 6560990"/>
                <a:gd name="connsiteY20" fmla="*/ 0 h 3060887"/>
                <a:gd name="connsiteX21" fmla="*/ 3229211 w 6560990"/>
                <a:gd name="connsiteY21" fmla="*/ 1259040 h 3060887"/>
                <a:gd name="connsiteX22" fmla="*/ 3579746 w 6560990"/>
                <a:gd name="connsiteY22" fmla="*/ 1259040 h 3060887"/>
                <a:gd name="connsiteX23" fmla="*/ 3579746 w 6560990"/>
                <a:gd name="connsiteY23" fmla="*/ 808579 h 3060887"/>
                <a:gd name="connsiteX24" fmla="*/ 3873926 w 6560990"/>
                <a:gd name="connsiteY24" fmla="*/ 389649 h 3060887"/>
                <a:gd name="connsiteX25" fmla="*/ 3873926 w 6560990"/>
                <a:gd name="connsiteY25" fmla="*/ 1256788 h 3060887"/>
                <a:gd name="connsiteX26" fmla="*/ 4500607 w 6560990"/>
                <a:gd name="connsiteY26" fmla="*/ 1256788 h 3060887"/>
                <a:gd name="connsiteX27" fmla="*/ 4500607 w 6560990"/>
                <a:gd name="connsiteY27" fmla="*/ 1550714 h 3060887"/>
                <a:gd name="connsiteX28" fmla="*/ 715724 w 6560990"/>
                <a:gd name="connsiteY28" fmla="*/ 1550714 h 3060887"/>
                <a:gd name="connsiteX29" fmla="*/ 1014412 w 6560990"/>
                <a:gd name="connsiteY29" fmla="*/ 1639680 h 3060887"/>
                <a:gd name="connsiteX30" fmla="*/ 0 w 6560990"/>
                <a:gd name="connsiteY30" fmla="*/ 2487674 h 3060887"/>
                <a:gd name="connsiteX31" fmla="*/ 144272 w 6560990"/>
                <a:gd name="connsiteY31" fmla="*/ 1670087 h 3060887"/>
                <a:gd name="connsiteX32" fmla="*/ 518477 w 6560990"/>
                <a:gd name="connsiteY32" fmla="*/ 1406566 h 3060887"/>
                <a:gd name="connsiteX33" fmla="*/ 308832 w 6560990"/>
                <a:gd name="connsiteY33" fmla="*/ 1259040 h 3060887"/>
                <a:gd name="connsiteX34" fmla="*/ 308832 w 6560990"/>
                <a:gd name="connsiteY34" fmla="*/ 1259040 h 3060887"/>
                <a:gd name="connsiteX35" fmla="*/ 143145 w 6560990"/>
                <a:gd name="connsiteY35" fmla="*/ 1146425 h 3060887"/>
                <a:gd name="connsiteX36" fmla="*/ 0 w 6560990"/>
                <a:gd name="connsiteY36" fmla="*/ 324332 h 3060887"/>
                <a:gd name="connsiteX37" fmla="*/ 1942035 w 6560990"/>
                <a:gd name="connsiteY37" fmla="*/ 2405465 h 3060887"/>
                <a:gd name="connsiteX38" fmla="*/ 1942035 w 6560990"/>
                <a:gd name="connsiteY38" fmla="*/ 1801847 h 3060887"/>
                <a:gd name="connsiteX39" fmla="*/ 1647856 w 6560990"/>
                <a:gd name="connsiteY39" fmla="*/ 1801847 h 3060887"/>
                <a:gd name="connsiteX40" fmla="*/ 1647856 w 6560990"/>
                <a:gd name="connsiteY40" fmla="*/ 1989914 h 3060887"/>
                <a:gd name="connsiteX41" fmla="*/ 1942035 w 6560990"/>
                <a:gd name="connsiteY41" fmla="*/ 2408844 h 3060887"/>
                <a:gd name="connsiteX42" fmla="*/ 1942035 w 6560990"/>
                <a:gd name="connsiteY42" fmla="*/ 2405465 h 3060887"/>
                <a:gd name="connsiteX43" fmla="*/ 3873926 w 6560990"/>
                <a:gd name="connsiteY43" fmla="*/ 2665607 h 3060887"/>
                <a:gd name="connsiteX44" fmla="*/ 3873926 w 6560990"/>
                <a:gd name="connsiteY44" fmla="*/ 1801847 h 3060887"/>
                <a:gd name="connsiteX45" fmla="*/ 3579746 w 6560990"/>
                <a:gd name="connsiteY45" fmla="*/ 1801847 h 3060887"/>
                <a:gd name="connsiteX46" fmla="*/ 3579746 w 6560990"/>
                <a:gd name="connsiteY46" fmla="*/ 2252308 h 3060887"/>
                <a:gd name="connsiteX47" fmla="*/ 3873926 w 6560990"/>
                <a:gd name="connsiteY47" fmla="*/ 2670111 h 3060887"/>
                <a:gd name="connsiteX48" fmla="*/ 3873926 w 6560990"/>
                <a:gd name="connsiteY48" fmla="*/ 2665607 h 3060887"/>
                <a:gd name="connsiteX49" fmla="*/ 3229211 w 6560990"/>
                <a:gd name="connsiteY49" fmla="*/ 3057508 h 3060887"/>
                <a:gd name="connsiteX50" fmla="*/ 3229211 w 6560990"/>
                <a:gd name="connsiteY50" fmla="*/ 1801847 h 3060887"/>
                <a:gd name="connsiteX51" fmla="*/ 2936158 w 6560990"/>
                <a:gd name="connsiteY51" fmla="*/ 1801847 h 3060887"/>
                <a:gd name="connsiteX52" fmla="*/ 2936158 w 6560990"/>
                <a:gd name="connsiteY52" fmla="*/ 2641957 h 3060887"/>
                <a:gd name="connsiteX53" fmla="*/ 3229211 w 6560990"/>
                <a:gd name="connsiteY53" fmla="*/ 3060887 h 3060887"/>
                <a:gd name="connsiteX54" fmla="*/ 3229211 w 6560990"/>
                <a:gd name="connsiteY54" fmla="*/ 3057508 h 3060887"/>
                <a:gd name="connsiteX55" fmla="*/ 2585623 w 6560990"/>
                <a:gd name="connsiteY55" fmla="*/ 2796241 h 3060887"/>
                <a:gd name="connsiteX56" fmla="*/ 2585623 w 6560990"/>
                <a:gd name="connsiteY56" fmla="*/ 1801847 h 3060887"/>
                <a:gd name="connsiteX57" fmla="*/ 2291443 w 6560990"/>
                <a:gd name="connsiteY57" fmla="*/ 1801847 h 3060887"/>
                <a:gd name="connsiteX58" fmla="*/ 2291443 w 6560990"/>
                <a:gd name="connsiteY58" fmla="*/ 2380690 h 3060887"/>
                <a:gd name="connsiteX59" fmla="*/ 2585623 w 6560990"/>
                <a:gd name="connsiteY59" fmla="*/ 2799619 h 3060887"/>
                <a:gd name="connsiteX60" fmla="*/ 2585623 w 6560990"/>
                <a:gd name="connsiteY60" fmla="*/ 2796241 h 3060887"/>
                <a:gd name="connsiteX61" fmla="*/ 5478951 w 6560990"/>
                <a:gd name="connsiteY61" fmla="*/ 855877 h 3060887"/>
                <a:gd name="connsiteX62" fmla="*/ 5591663 w 6560990"/>
                <a:gd name="connsiteY62" fmla="*/ 968493 h 3060887"/>
                <a:gd name="connsiteX63" fmla="*/ 5478951 w 6560990"/>
                <a:gd name="connsiteY63" fmla="*/ 1081108 h 3060887"/>
                <a:gd name="connsiteX64" fmla="*/ 5366238 w 6560990"/>
                <a:gd name="connsiteY64" fmla="*/ 968493 h 3060887"/>
                <a:gd name="connsiteX65" fmla="*/ 5478951 w 6560990"/>
                <a:gd name="connsiteY65" fmla="*/ 855877 h 3060887"/>
                <a:gd name="connsiteX0" fmla="*/ 6542154 w 6560990"/>
                <a:gd name="connsiteY0" fmla="*/ 1386197 h 3060887"/>
                <a:gd name="connsiteX1" fmla="*/ 4508497 w 6560990"/>
                <a:gd name="connsiteY1" fmla="*/ 2590154 h 3060887"/>
                <a:gd name="connsiteX2" fmla="*/ 4508497 w 6560990"/>
                <a:gd name="connsiteY2" fmla="*/ 225231 h 3060887"/>
                <a:gd name="connsiteX3" fmla="*/ 6086471 w 6560990"/>
                <a:gd name="connsiteY3" fmla="*/ 866013 h 3060887"/>
                <a:gd name="connsiteX4" fmla="*/ 6560990 w 6560990"/>
                <a:gd name="connsiteY4" fmla="*/ 1406566 h 3060887"/>
                <a:gd name="connsiteX5" fmla="*/ 6143954 w 6560990"/>
                <a:gd name="connsiteY5" fmla="*/ 1644185 h 3060887"/>
                <a:gd name="connsiteX6" fmla="*/ 6542154 w 6560990"/>
                <a:gd name="connsiteY6" fmla="*/ 1386197 h 3060887"/>
                <a:gd name="connsiteX7" fmla="*/ 0 w 6560990"/>
                <a:gd name="connsiteY7" fmla="*/ 324332 h 3060887"/>
                <a:gd name="connsiteX8" fmla="*/ 1127124 w 6560990"/>
                <a:gd name="connsiteY8" fmla="*/ 1259040 h 3060887"/>
                <a:gd name="connsiteX9" fmla="*/ 1653491 w 6560990"/>
                <a:gd name="connsiteY9" fmla="*/ 1259040 h 3060887"/>
                <a:gd name="connsiteX10" fmla="*/ 1653491 w 6560990"/>
                <a:gd name="connsiteY10" fmla="*/ 1072099 h 3060887"/>
                <a:gd name="connsiteX11" fmla="*/ 1942035 w 6560990"/>
                <a:gd name="connsiteY11" fmla="*/ 653169 h 3060887"/>
                <a:gd name="connsiteX12" fmla="*/ 1942035 w 6560990"/>
                <a:gd name="connsiteY12" fmla="*/ 1259040 h 3060887"/>
                <a:gd name="connsiteX13" fmla="*/ 2291443 w 6560990"/>
                <a:gd name="connsiteY13" fmla="*/ 1259040 h 3060887"/>
                <a:gd name="connsiteX14" fmla="*/ 2291443 w 6560990"/>
                <a:gd name="connsiteY14" fmla="*/ 675692 h 3060887"/>
                <a:gd name="connsiteX15" fmla="*/ 2585623 w 6560990"/>
                <a:gd name="connsiteY15" fmla="*/ 256763 h 3060887"/>
                <a:gd name="connsiteX16" fmla="*/ 2585623 w 6560990"/>
                <a:gd name="connsiteY16" fmla="*/ 1254536 h 3060887"/>
                <a:gd name="connsiteX17" fmla="*/ 2936158 w 6560990"/>
                <a:gd name="connsiteY17" fmla="*/ 1254536 h 3060887"/>
                <a:gd name="connsiteX18" fmla="*/ 2936158 w 6560990"/>
                <a:gd name="connsiteY18" fmla="*/ 418929 h 3060887"/>
                <a:gd name="connsiteX19" fmla="*/ 3229211 w 6560990"/>
                <a:gd name="connsiteY19" fmla="*/ 0 h 3060887"/>
                <a:gd name="connsiteX20" fmla="*/ 3229211 w 6560990"/>
                <a:gd name="connsiteY20" fmla="*/ 1259040 h 3060887"/>
                <a:gd name="connsiteX21" fmla="*/ 3579746 w 6560990"/>
                <a:gd name="connsiteY21" fmla="*/ 1259040 h 3060887"/>
                <a:gd name="connsiteX22" fmla="*/ 3579746 w 6560990"/>
                <a:gd name="connsiteY22" fmla="*/ 808579 h 3060887"/>
                <a:gd name="connsiteX23" fmla="*/ 3873926 w 6560990"/>
                <a:gd name="connsiteY23" fmla="*/ 389649 h 3060887"/>
                <a:gd name="connsiteX24" fmla="*/ 3873926 w 6560990"/>
                <a:gd name="connsiteY24" fmla="*/ 1256788 h 3060887"/>
                <a:gd name="connsiteX25" fmla="*/ 4500607 w 6560990"/>
                <a:gd name="connsiteY25" fmla="*/ 1256788 h 3060887"/>
                <a:gd name="connsiteX26" fmla="*/ 4500607 w 6560990"/>
                <a:gd name="connsiteY26" fmla="*/ 1550714 h 3060887"/>
                <a:gd name="connsiteX27" fmla="*/ 715724 w 6560990"/>
                <a:gd name="connsiteY27" fmla="*/ 1550714 h 3060887"/>
                <a:gd name="connsiteX28" fmla="*/ 1014412 w 6560990"/>
                <a:gd name="connsiteY28" fmla="*/ 1639680 h 3060887"/>
                <a:gd name="connsiteX29" fmla="*/ 0 w 6560990"/>
                <a:gd name="connsiteY29" fmla="*/ 2487674 h 3060887"/>
                <a:gd name="connsiteX30" fmla="*/ 144272 w 6560990"/>
                <a:gd name="connsiteY30" fmla="*/ 1670087 h 3060887"/>
                <a:gd name="connsiteX31" fmla="*/ 518477 w 6560990"/>
                <a:gd name="connsiteY31" fmla="*/ 1406566 h 3060887"/>
                <a:gd name="connsiteX32" fmla="*/ 308832 w 6560990"/>
                <a:gd name="connsiteY32" fmla="*/ 1259040 h 3060887"/>
                <a:gd name="connsiteX33" fmla="*/ 308832 w 6560990"/>
                <a:gd name="connsiteY33" fmla="*/ 1259040 h 3060887"/>
                <a:gd name="connsiteX34" fmla="*/ 143145 w 6560990"/>
                <a:gd name="connsiteY34" fmla="*/ 1146425 h 3060887"/>
                <a:gd name="connsiteX35" fmla="*/ 0 w 6560990"/>
                <a:gd name="connsiteY35" fmla="*/ 324332 h 3060887"/>
                <a:gd name="connsiteX36" fmla="*/ 1942035 w 6560990"/>
                <a:gd name="connsiteY36" fmla="*/ 2405465 h 3060887"/>
                <a:gd name="connsiteX37" fmla="*/ 1942035 w 6560990"/>
                <a:gd name="connsiteY37" fmla="*/ 1801847 h 3060887"/>
                <a:gd name="connsiteX38" fmla="*/ 1647856 w 6560990"/>
                <a:gd name="connsiteY38" fmla="*/ 1801847 h 3060887"/>
                <a:gd name="connsiteX39" fmla="*/ 1647856 w 6560990"/>
                <a:gd name="connsiteY39" fmla="*/ 1989914 h 3060887"/>
                <a:gd name="connsiteX40" fmla="*/ 1942035 w 6560990"/>
                <a:gd name="connsiteY40" fmla="*/ 2408844 h 3060887"/>
                <a:gd name="connsiteX41" fmla="*/ 1942035 w 6560990"/>
                <a:gd name="connsiteY41" fmla="*/ 2405465 h 3060887"/>
                <a:gd name="connsiteX42" fmla="*/ 3873926 w 6560990"/>
                <a:gd name="connsiteY42" fmla="*/ 2665607 h 3060887"/>
                <a:gd name="connsiteX43" fmla="*/ 3873926 w 6560990"/>
                <a:gd name="connsiteY43" fmla="*/ 1801847 h 3060887"/>
                <a:gd name="connsiteX44" fmla="*/ 3579746 w 6560990"/>
                <a:gd name="connsiteY44" fmla="*/ 1801847 h 3060887"/>
                <a:gd name="connsiteX45" fmla="*/ 3579746 w 6560990"/>
                <a:gd name="connsiteY45" fmla="*/ 2252308 h 3060887"/>
                <a:gd name="connsiteX46" fmla="*/ 3873926 w 6560990"/>
                <a:gd name="connsiteY46" fmla="*/ 2670111 h 3060887"/>
                <a:gd name="connsiteX47" fmla="*/ 3873926 w 6560990"/>
                <a:gd name="connsiteY47" fmla="*/ 2665607 h 3060887"/>
                <a:gd name="connsiteX48" fmla="*/ 3229211 w 6560990"/>
                <a:gd name="connsiteY48" fmla="*/ 3057508 h 3060887"/>
                <a:gd name="connsiteX49" fmla="*/ 3229211 w 6560990"/>
                <a:gd name="connsiteY49" fmla="*/ 1801847 h 3060887"/>
                <a:gd name="connsiteX50" fmla="*/ 2936158 w 6560990"/>
                <a:gd name="connsiteY50" fmla="*/ 1801847 h 3060887"/>
                <a:gd name="connsiteX51" fmla="*/ 2936158 w 6560990"/>
                <a:gd name="connsiteY51" fmla="*/ 2641957 h 3060887"/>
                <a:gd name="connsiteX52" fmla="*/ 3229211 w 6560990"/>
                <a:gd name="connsiteY52" fmla="*/ 3060887 h 3060887"/>
                <a:gd name="connsiteX53" fmla="*/ 3229211 w 6560990"/>
                <a:gd name="connsiteY53" fmla="*/ 3057508 h 3060887"/>
                <a:gd name="connsiteX54" fmla="*/ 2585623 w 6560990"/>
                <a:gd name="connsiteY54" fmla="*/ 2796241 h 3060887"/>
                <a:gd name="connsiteX55" fmla="*/ 2585623 w 6560990"/>
                <a:gd name="connsiteY55" fmla="*/ 1801847 h 3060887"/>
                <a:gd name="connsiteX56" fmla="*/ 2291443 w 6560990"/>
                <a:gd name="connsiteY56" fmla="*/ 1801847 h 3060887"/>
                <a:gd name="connsiteX57" fmla="*/ 2291443 w 6560990"/>
                <a:gd name="connsiteY57" fmla="*/ 2380690 h 3060887"/>
                <a:gd name="connsiteX58" fmla="*/ 2585623 w 6560990"/>
                <a:gd name="connsiteY58" fmla="*/ 2799619 h 3060887"/>
                <a:gd name="connsiteX59" fmla="*/ 2585623 w 6560990"/>
                <a:gd name="connsiteY59" fmla="*/ 2796241 h 3060887"/>
                <a:gd name="connsiteX60" fmla="*/ 5478951 w 6560990"/>
                <a:gd name="connsiteY60" fmla="*/ 855877 h 3060887"/>
                <a:gd name="connsiteX61" fmla="*/ 5591663 w 6560990"/>
                <a:gd name="connsiteY61" fmla="*/ 968493 h 3060887"/>
                <a:gd name="connsiteX62" fmla="*/ 5478951 w 6560990"/>
                <a:gd name="connsiteY62" fmla="*/ 1081108 h 3060887"/>
                <a:gd name="connsiteX63" fmla="*/ 5366238 w 6560990"/>
                <a:gd name="connsiteY63" fmla="*/ 968493 h 3060887"/>
                <a:gd name="connsiteX64" fmla="*/ 5478951 w 6560990"/>
                <a:gd name="connsiteY64" fmla="*/ 855877 h 3060887"/>
                <a:gd name="connsiteX0" fmla="*/ 6143954 w 6560990"/>
                <a:gd name="connsiteY0" fmla="*/ 1644185 h 3060887"/>
                <a:gd name="connsiteX1" fmla="*/ 4508497 w 6560990"/>
                <a:gd name="connsiteY1" fmla="*/ 2590154 h 3060887"/>
                <a:gd name="connsiteX2" fmla="*/ 4508497 w 6560990"/>
                <a:gd name="connsiteY2" fmla="*/ 225231 h 3060887"/>
                <a:gd name="connsiteX3" fmla="*/ 6086471 w 6560990"/>
                <a:gd name="connsiteY3" fmla="*/ 866013 h 3060887"/>
                <a:gd name="connsiteX4" fmla="*/ 6560990 w 6560990"/>
                <a:gd name="connsiteY4" fmla="*/ 1406566 h 3060887"/>
                <a:gd name="connsiteX5" fmla="*/ 6143954 w 6560990"/>
                <a:gd name="connsiteY5" fmla="*/ 1644185 h 3060887"/>
                <a:gd name="connsiteX6" fmla="*/ 0 w 6560990"/>
                <a:gd name="connsiteY6" fmla="*/ 324332 h 3060887"/>
                <a:gd name="connsiteX7" fmla="*/ 1127124 w 6560990"/>
                <a:gd name="connsiteY7" fmla="*/ 1259040 h 3060887"/>
                <a:gd name="connsiteX8" fmla="*/ 1653491 w 6560990"/>
                <a:gd name="connsiteY8" fmla="*/ 1259040 h 3060887"/>
                <a:gd name="connsiteX9" fmla="*/ 1653491 w 6560990"/>
                <a:gd name="connsiteY9" fmla="*/ 1072099 h 3060887"/>
                <a:gd name="connsiteX10" fmla="*/ 1942035 w 6560990"/>
                <a:gd name="connsiteY10" fmla="*/ 653169 h 3060887"/>
                <a:gd name="connsiteX11" fmla="*/ 1942035 w 6560990"/>
                <a:gd name="connsiteY11" fmla="*/ 1259040 h 3060887"/>
                <a:gd name="connsiteX12" fmla="*/ 2291443 w 6560990"/>
                <a:gd name="connsiteY12" fmla="*/ 1259040 h 3060887"/>
                <a:gd name="connsiteX13" fmla="*/ 2291443 w 6560990"/>
                <a:gd name="connsiteY13" fmla="*/ 675692 h 3060887"/>
                <a:gd name="connsiteX14" fmla="*/ 2585623 w 6560990"/>
                <a:gd name="connsiteY14" fmla="*/ 256763 h 3060887"/>
                <a:gd name="connsiteX15" fmla="*/ 2585623 w 6560990"/>
                <a:gd name="connsiteY15" fmla="*/ 1254536 h 3060887"/>
                <a:gd name="connsiteX16" fmla="*/ 2936158 w 6560990"/>
                <a:gd name="connsiteY16" fmla="*/ 1254536 h 3060887"/>
                <a:gd name="connsiteX17" fmla="*/ 2936158 w 6560990"/>
                <a:gd name="connsiteY17" fmla="*/ 418929 h 3060887"/>
                <a:gd name="connsiteX18" fmla="*/ 3229211 w 6560990"/>
                <a:gd name="connsiteY18" fmla="*/ 0 h 3060887"/>
                <a:gd name="connsiteX19" fmla="*/ 3229211 w 6560990"/>
                <a:gd name="connsiteY19" fmla="*/ 1259040 h 3060887"/>
                <a:gd name="connsiteX20" fmla="*/ 3579746 w 6560990"/>
                <a:gd name="connsiteY20" fmla="*/ 1259040 h 3060887"/>
                <a:gd name="connsiteX21" fmla="*/ 3579746 w 6560990"/>
                <a:gd name="connsiteY21" fmla="*/ 808579 h 3060887"/>
                <a:gd name="connsiteX22" fmla="*/ 3873926 w 6560990"/>
                <a:gd name="connsiteY22" fmla="*/ 389649 h 3060887"/>
                <a:gd name="connsiteX23" fmla="*/ 3873926 w 6560990"/>
                <a:gd name="connsiteY23" fmla="*/ 1256788 h 3060887"/>
                <a:gd name="connsiteX24" fmla="*/ 4500607 w 6560990"/>
                <a:gd name="connsiteY24" fmla="*/ 1256788 h 3060887"/>
                <a:gd name="connsiteX25" fmla="*/ 4500607 w 6560990"/>
                <a:gd name="connsiteY25" fmla="*/ 1550714 h 3060887"/>
                <a:gd name="connsiteX26" fmla="*/ 715724 w 6560990"/>
                <a:gd name="connsiteY26" fmla="*/ 1550714 h 3060887"/>
                <a:gd name="connsiteX27" fmla="*/ 1014412 w 6560990"/>
                <a:gd name="connsiteY27" fmla="*/ 1639680 h 3060887"/>
                <a:gd name="connsiteX28" fmla="*/ 0 w 6560990"/>
                <a:gd name="connsiteY28" fmla="*/ 2487674 h 3060887"/>
                <a:gd name="connsiteX29" fmla="*/ 144272 w 6560990"/>
                <a:gd name="connsiteY29" fmla="*/ 1670087 h 3060887"/>
                <a:gd name="connsiteX30" fmla="*/ 518477 w 6560990"/>
                <a:gd name="connsiteY30" fmla="*/ 1406566 h 3060887"/>
                <a:gd name="connsiteX31" fmla="*/ 308832 w 6560990"/>
                <a:gd name="connsiteY31" fmla="*/ 1259040 h 3060887"/>
                <a:gd name="connsiteX32" fmla="*/ 308832 w 6560990"/>
                <a:gd name="connsiteY32" fmla="*/ 1259040 h 3060887"/>
                <a:gd name="connsiteX33" fmla="*/ 143145 w 6560990"/>
                <a:gd name="connsiteY33" fmla="*/ 1146425 h 3060887"/>
                <a:gd name="connsiteX34" fmla="*/ 0 w 6560990"/>
                <a:gd name="connsiteY34" fmla="*/ 324332 h 3060887"/>
                <a:gd name="connsiteX35" fmla="*/ 1942035 w 6560990"/>
                <a:gd name="connsiteY35" fmla="*/ 2405465 h 3060887"/>
                <a:gd name="connsiteX36" fmla="*/ 1942035 w 6560990"/>
                <a:gd name="connsiteY36" fmla="*/ 1801847 h 3060887"/>
                <a:gd name="connsiteX37" fmla="*/ 1647856 w 6560990"/>
                <a:gd name="connsiteY37" fmla="*/ 1801847 h 3060887"/>
                <a:gd name="connsiteX38" fmla="*/ 1647856 w 6560990"/>
                <a:gd name="connsiteY38" fmla="*/ 1989914 h 3060887"/>
                <a:gd name="connsiteX39" fmla="*/ 1942035 w 6560990"/>
                <a:gd name="connsiteY39" fmla="*/ 2408844 h 3060887"/>
                <a:gd name="connsiteX40" fmla="*/ 1942035 w 6560990"/>
                <a:gd name="connsiteY40" fmla="*/ 2405465 h 3060887"/>
                <a:gd name="connsiteX41" fmla="*/ 3873926 w 6560990"/>
                <a:gd name="connsiteY41" fmla="*/ 2665607 h 3060887"/>
                <a:gd name="connsiteX42" fmla="*/ 3873926 w 6560990"/>
                <a:gd name="connsiteY42" fmla="*/ 1801847 h 3060887"/>
                <a:gd name="connsiteX43" fmla="*/ 3579746 w 6560990"/>
                <a:gd name="connsiteY43" fmla="*/ 1801847 h 3060887"/>
                <a:gd name="connsiteX44" fmla="*/ 3579746 w 6560990"/>
                <a:gd name="connsiteY44" fmla="*/ 2252308 h 3060887"/>
                <a:gd name="connsiteX45" fmla="*/ 3873926 w 6560990"/>
                <a:gd name="connsiteY45" fmla="*/ 2670111 h 3060887"/>
                <a:gd name="connsiteX46" fmla="*/ 3873926 w 6560990"/>
                <a:gd name="connsiteY46" fmla="*/ 2665607 h 3060887"/>
                <a:gd name="connsiteX47" fmla="*/ 3229211 w 6560990"/>
                <a:gd name="connsiteY47" fmla="*/ 3057508 h 3060887"/>
                <a:gd name="connsiteX48" fmla="*/ 3229211 w 6560990"/>
                <a:gd name="connsiteY48" fmla="*/ 1801847 h 3060887"/>
                <a:gd name="connsiteX49" fmla="*/ 2936158 w 6560990"/>
                <a:gd name="connsiteY49" fmla="*/ 1801847 h 3060887"/>
                <a:gd name="connsiteX50" fmla="*/ 2936158 w 6560990"/>
                <a:gd name="connsiteY50" fmla="*/ 2641957 h 3060887"/>
                <a:gd name="connsiteX51" fmla="*/ 3229211 w 6560990"/>
                <a:gd name="connsiteY51" fmla="*/ 3060887 h 3060887"/>
                <a:gd name="connsiteX52" fmla="*/ 3229211 w 6560990"/>
                <a:gd name="connsiteY52" fmla="*/ 3057508 h 3060887"/>
                <a:gd name="connsiteX53" fmla="*/ 2585623 w 6560990"/>
                <a:gd name="connsiteY53" fmla="*/ 2796241 h 3060887"/>
                <a:gd name="connsiteX54" fmla="*/ 2585623 w 6560990"/>
                <a:gd name="connsiteY54" fmla="*/ 1801847 h 3060887"/>
                <a:gd name="connsiteX55" fmla="*/ 2291443 w 6560990"/>
                <a:gd name="connsiteY55" fmla="*/ 1801847 h 3060887"/>
                <a:gd name="connsiteX56" fmla="*/ 2291443 w 6560990"/>
                <a:gd name="connsiteY56" fmla="*/ 2380690 h 3060887"/>
                <a:gd name="connsiteX57" fmla="*/ 2585623 w 6560990"/>
                <a:gd name="connsiteY57" fmla="*/ 2799619 h 3060887"/>
                <a:gd name="connsiteX58" fmla="*/ 2585623 w 6560990"/>
                <a:gd name="connsiteY58" fmla="*/ 2796241 h 3060887"/>
                <a:gd name="connsiteX59" fmla="*/ 5478951 w 6560990"/>
                <a:gd name="connsiteY59" fmla="*/ 855877 h 3060887"/>
                <a:gd name="connsiteX60" fmla="*/ 5591663 w 6560990"/>
                <a:gd name="connsiteY60" fmla="*/ 968493 h 3060887"/>
                <a:gd name="connsiteX61" fmla="*/ 5478951 w 6560990"/>
                <a:gd name="connsiteY61" fmla="*/ 1081108 h 3060887"/>
                <a:gd name="connsiteX62" fmla="*/ 5366238 w 6560990"/>
                <a:gd name="connsiteY62" fmla="*/ 968493 h 3060887"/>
                <a:gd name="connsiteX63" fmla="*/ 5478951 w 6560990"/>
                <a:gd name="connsiteY63" fmla="*/ 855877 h 3060887"/>
                <a:gd name="connsiteX0" fmla="*/ 6171657 w 6560990"/>
                <a:gd name="connsiteY0" fmla="*/ 1443528 h 3060887"/>
                <a:gd name="connsiteX1" fmla="*/ 4508497 w 6560990"/>
                <a:gd name="connsiteY1" fmla="*/ 2590154 h 3060887"/>
                <a:gd name="connsiteX2" fmla="*/ 4508497 w 6560990"/>
                <a:gd name="connsiteY2" fmla="*/ 225231 h 3060887"/>
                <a:gd name="connsiteX3" fmla="*/ 6086471 w 6560990"/>
                <a:gd name="connsiteY3" fmla="*/ 866013 h 3060887"/>
                <a:gd name="connsiteX4" fmla="*/ 6560990 w 6560990"/>
                <a:gd name="connsiteY4" fmla="*/ 1406566 h 3060887"/>
                <a:gd name="connsiteX5" fmla="*/ 6171657 w 6560990"/>
                <a:gd name="connsiteY5" fmla="*/ 1443528 h 3060887"/>
                <a:gd name="connsiteX6" fmla="*/ 0 w 6560990"/>
                <a:gd name="connsiteY6" fmla="*/ 324332 h 3060887"/>
                <a:gd name="connsiteX7" fmla="*/ 1127124 w 6560990"/>
                <a:gd name="connsiteY7" fmla="*/ 1259040 h 3060887"/>
                <a:gd name="connsiteX8" fmla="*/ 1653491 w 6560990"/>
                <a:gd name="connsiteY8" fmla="*/ 1259040 h 3060887"/>
                <a:gd name="connsiteX9" fmla="*/ 1653491 w 6560990"/>
                <a:gd name="connsiteY9" fmla="*/ 1072099 h 3060887"/>
                <a:gd name="connsiteX10" fmla="*/ 1942035 w 6560990"/>
                <a:gd name="connsiteY10" fmla="*/ 653169 h 3060887"/>
                <a:gd name="connsiteX11" fmla="*/ 1942035 w 6560990"/>
                <a:gd name="connsiteY11" fmla="*/ 1259040 h 3060887"/>
                <a:gd name="connsiteX12" fmla="*/ 2291443 w 6560990"/>
                <a:gd name="connsiteY12" fmla="*/ 1259040 h 3060887"/>
                <a:gd name="connsiteX13" fmla="*/ 2291443 w 6560990"/>
                <a:gd name="connsiteY13" fmla="*/ 675692 h 3060887"/>
                <a:gd name="connsiteX14" fmla="*/ 2585623 w 6560990"/>
                <a:gd name="connsiteY14" fmla="*/ 256763 h 3060887"/>
                <a:gd name="connsiteX15" fmla="*/ 2585623 w 6560990"/>
                <a:gd name="connsiteY15" fmla="*/ 1254536 h 3060887"/>
                <a:gd name="connsiteX16" fmla="*/ 2936158 w 6560990"/>
                <a:gd name="connsiteY16" fmla="*/ 1254536 h 3060887"/>
                <a:gd name="connsiteX17" fmla="*/ 2936158 w 6560990"/>
                <a:gd name="connsiteY17" fmla="*/ 418929 h 3060887"/>
                <a:gd name="connsiteX18" fmla="*/ 3229211 w 6560990"/>
                <a:gd name="connsiteY18" fmla="*/ 0 h 3060887"/>
                <a:gd name="connsiteX19" fmla="*/ 3229211 w 6560990"/>
                <a:gd name="connsiteY19" fmla="*/ 1259040 h 3060887"/>
                <a:gd name="connsiteX20" fmla="*/ 3579746 w 6560990"/>
                <a:gd name="connsiteY20" fmla="*/ 1259040 h 3060887"/>
                <a:gd name="connsiteX21" fmla="*/ 3579746 w 6560990"/>
                <a:gd name="connsiteY21" fmla="*/ 808579 h 3060887"/>
                <a:gd name="connsiteX22" fmla="*/ 3873926 w 6560990"/>
                <a:gd name="connsiteY22" fmla="*/ 389649 h 3060887"/>
                <a:gd name="connsiteX23" fmla="*/ 3873926 w 6560990"/>
                <a:gd name="connsiteY23" fmla="*/ 1256788 h 3060887"/>
                <a:gd name="connsiteX24" fmla="*/ 4500607 w 6560990"/>
                <a:gd name="connsiteY24" fmla="*/ 1256788 h 3060887"/>
                <a:gd name="connsiteX25" fmla="*/ 4500607 w 6560990"/>
                <a:gd name="connsiteY25" fmla="*/ 1550714 h 3060887"/>
                <a:gd name="connsiteX26" fmla="*/ 715724 w 6560990"/>
                <a:gd name="connsiteY26" fmla="*/ 1550714 h 3060887"/>
                <a:gd name="connsiteX27" fmla="*/ 1014412 w 6560990"/>
                <a:gd name="connsiteY27" fmla="*/ 1639680 h 3060887"/>
                <a:gd name="connsiteX28" fmla="*/ 0 w 6560990"/>
                <a:gd name="connsiteY28" fmla="*/ 2487674 h 3060887"/>
                <a:gd name="connsiteX29" fmla="*/ 144272 w 6560990"/>
                <a:gd name="connsiteY29" fmla="*/ 1670087 h 3060887"/>
                <a:gd name="connsiteX30" fmla="*/ 518477 w 6560990"/>
                <a:gd name="connsiteY30" fmla="*/ 1406566 h 3060887"/>
                <a:gd name="connsiteX31" fmla="*/ 308832 w 6560990"/>
                <a:gd name="connsiteY31" fmla="*/ 1259040 h 3060887"/>
                <a:gd name="connsiteX32" fmla="*/ 308832 w 6560990"/>
                <a:gd name="connsiteY32" fmla="*/ 1259040 h 3060887"/>
                <a:gd name="connsiteX33" fmla="*/ 143145 w 6560990"/>
                <a:gd name="connsiteY33" fmla="*/ 1146425 h 3060887"/>
                <a:gd name="connsiteX34" fmla="*/ 0 w 6560990"/>
                <a:gd name="connsiteY34" fmla="*/ 324332 h 3060887"/>
                <a:gd name="connsiteX35" fmla="*/ 1942035 w 6560990"/>
                <a:gd name="connsiteY35" fmla="*/ 2405465 h 3060887"/>
                <a:gd name="connsiteX36" fmla="*/ 1942035 w 6560990"/>
                <a:gd name="connsiteY36" fmla="*/ 1801847 h 3060887"/>
                <a:gd name="connsiteX37" fmla="*/ 1647856 w 6560990"/>
                <a:gd name="connsiteY37" fmla="*/ 1801847 h 3060887"/>
                <a:gd name="connsiteX38" fmla="*/ 1647856 w 6560990"/>
                <a:gd name="connsiteY38" fmla="*/ 1989914 h 3060887"/>
                <a:gd name="connsiteX39" fmla="*/ 1942035 w 6560990"/>
                <a:gd name="connsiteY39" fmla="*/ 2408844 h 3060887"/>
                <a:gd name="connsiteX40" fmla="*/ 1942035 w 6560990"/>
                <a:gd name="connsiteY40" fmla="*/ 2405465 h 3060887"/>
                <a:gd name="connsiteX41" fmla="*/ 3873926 w 6560990"/>
                <a:gd name="connsiteY41" fmla="*/ 2665607 h 3060887"/>
                <a:gd name="connsiteX42" fmla="*/ 3873926 w 6560990"/>
                <a:gd name="connsiteY42" fmla="*/ 1801847 h 3060887"/>
                <a:gd name="connsiteX43" fmla="*/ 3579746 w 6560990"/>
                <a:gd name="connsiteY43" fmla="*/ 1801847 h 3060887"/>
                <a:gd name="connsiteX44" fmla="*/ 3579746 w 6560990"/>
                <a:gd name="connsiteY44" fmla="*/ 2252308 h 3060887"/>
                <a:gd name="connsiteX45" fmla="*/ 3873926 w 6560990"/>
                <a:gd name="connsiteY45" fmla="*/ 2670111 h 3060887"/>
                <a:gd name="connsiteX46" fmla="*/ 3873926 w 6560990"/>
                <a:gd name="connsiteY46" fmla="*/ 2665607 h 3060887"/>
                <a:gd name="connsiteX47" fmla="*/ 3229211 w 6560990"/>
                <a:gd name="connsiteY47" fmla="*/ 3057508 h 3060887"/>
                <a:gd name="connsiteX48" fmla="*/ 3229211 w 6560990"/>
                <a:gd name="connsiteY48" fmla="*/ 1801847 h 3060887"/>
                <a:gd name="connsiteX49" fmla="*/ 2936158 w 6560990"/>
                <a:gd name="connsiteY49" fmla="*/ 1801847 h 3060887"/>
                <a:gd name="connsiteX50" fmla="*/ 2936158 w 6560990"/>
                <a:gd name="connsiteY50" fmla="*/ 2641957 h 3060887"/>
                <a:gd name="connsiteX51" fmla="*/ 3229211 w 6560990"/>
                <a:gd name="connsiteY51" fmla="*/ 3060887 h 3060887"/>
                <a:gd name="connsiteX52" fmla="*/ 3229211 w 6560990"/>
                <a:gd name="connsiteY52" fmla="*/ 3057508 h 3060887"/>
                <a:gd name="connsiteX53" fmla="*/ 2585623 w 6560990"/>
                <a:gd name="connsiteY53" fmla="*/ 2796241 h 3060887"/>
                <a:gd name="connsiteX54" fmla="*/ 2585623 w 6560990"/>
                <a:gd name="connsiteY54" fmla="*/ 1801847 h 3060887"/>
                <a:gd name="connsiteX55" fmla="*/ 2291443 w 6560990"/>
                <a:gd name="connsiteY55" fmla="*/ 1801847 h 3060887"/>
                <a:gd name="connsiteX56" fmla="*/ 2291443 w 6560990"/>
                <a:gd name="connsiteY56" fmla="*/ 2380690 h 3060887"/>
                <a:gd name="connsiteX57" fmla="*/ 2585623 w 6560990"/>
                <a:gd name="connsiteY57" fmla="*/ 2799619 h 3060887"/>
                <a:gd name="connsiteX58" fmla="*/ 2585623 w 6560990"/>
                <a:gd name="connsiteY58" fmla="*/ 2796241 h 3060887"/>
                <a:gd name="connsiteX59" fmla="*/ 5478951 w 6560990"/>
                <a:gd name="connsiteY59" fmla="*/ 855877 h 3060887"/>
                <a:gd name="connsiteX60" fmla="*/ 5591663 w 6560990"/>
                <a:gd name="connsiteY60" fmla="*/ 968493 h 3060887"/>
                <a:gd name="connsiteX61" fmla="*/ 5478951 w 6560990"/>
                <a:gd name="connsiteY61" fmla="*/ 1081108 h 3060887"/>
                <a:gd name="connsiteX62" fmla="*/ 5366238 w 6560990"/>
                <a:gd name="connsiteY62" fmla="*/ 968493 h 3060887"/>
                <a:gd name="connsiteX63" fmla="*/ 5478951 w 6560990"/>
                <a:gd name="connsiteY63" fmla="*/ 855877 h 3060887"/>
                <a:gd name="connsiteX0" fmla="*/ 6208594 w 6560990"/>
                <a:gd name="connsiteY0" fmla="*/ 1658518 h 3060887"/>
                <a:gd name="connsiteX1" fmla="*/ 4508497 w 6560990"/>
                <a:gd name="connsiteY1" fmla="*/ 2590154 h 3060887"/>
                <a:gd name="connsiteX2" fmla="*/ 4508497 w 6560990"/>
                <a:gd name="connsiteY2" fmla="*/ 225231 h 3060887"/>
                <a:gd name="connsiteX3" fmla="*/ 6086471 w 6560990"/>
                <a:gd name="connsiteY3" fmla="*/ 866013 h 3060887"/>
                <a:gd name="connsiteX4" fmla="*/ 6560990 w 6560990"/>
                <a:gd name="connsiteY4" fmla="*/ 1406566 h 3060887"/>
                <a:gd name="connsiteX5" fmla="*/ 6208594 w 6560990"/>
                <a:gd name="connsiteY5" fmla="*/ 1658518 h 3060887"/>
                <a:gd name="connsiteX6" fmla="*/ 0 w 6560990"/>
                <a:gd name="connsiteY6" fmla="*/ 324332 h 3060887"/>
                <a:gd name="connsiteX7" fmla="*/ 1127124 w 6560990"/>
                <a:gd name="connsiteY7" fmla="*/ 1259040 h 3060887"/>
                <a:gd name="connsiteX8" fmla="*/ 1653491 w 6560990"/>
                <a:gd name="connsiteY8" fmla="*/ 1259040 h 3060887"/>
                <a:gd name="connsiteX9" fmla="*/ 1653491 w 6560990"/>
                <a:gd name="connsiteY9" fmla="*/ 1072099 h 3060887"/>
                <a:gd name="connsiteX10" fmla="*/ 1942035 w 6560990"/>
                <a:gd name="connsiteY10" fmla="*/ 653169 h 3060887"/>
                <a:gd name="connsiteX11" fmla="*/ 1942035 w 6560990"/>
                <a:gd name="connsiteY11" fmla="*/ 1259040 h 3060887"/>
                <a:gd name="connsiteX12" fmla="*/ 2291443 w 6560990"/>
                <a:gd name="connsiteY12" fmla="*/ 1259040 h 3060887"/>
                <a:gd name="connsiteX13" fmla="*/ 2291443 w 6560990"/>
                <a:gd name="connsiteY13" fmla="*/ 675692 h 3060887"/>
                <a:gd name="connsiteX14" fmla="*/ 2585623 w 6560990"/>
                <a:gd name="connsiteY14" fmla="*/ 256763 h 3060887"/>
                <a:gd name="connsiteX15" fmla="*/ 2585623 w 6560990"/>
                <a:gd name="connsiteY15" fmla="*/ 1254536 h 3060887"/>
                <a:gd name="connsiteX16" fmla="*/ 2936158 w 6560990"/>
                <a:gd name="connsiteY16" fmla="*/ 1254536 h 3060887"/>
                <a:gd name="connsiteX17" fmla="*/ 2936158 w 6560990"/>
                <a:gd name="connsiteY17" fmla="*/ 418929 h 3060887"/>
                <a:gd name="connsiteX18" fmla="*/ 3229211 w 6560990"/>
                <a:gd name="connsiteY18" fmla="*/ 0 h 3060887"/>
                <a:gd name="connsiteX19" fmla="*/ 3229211 w 6560990"/>
                <a:gd name="connsiteY19" fmla="*/ 1259040 h 3060887"/>
                <a:gd name="connsiteX20" fmla="*/ 3579746 w 6560990"/>
                <a:gd name="connsiteY20" fmla="*/ 1259040 h 3060887"/>
                <a:gd name="connsiteX21" fmla="*/ 3579746 w 6560990"/>
                <a:gd name="connsiteY21" fmla="*/ 808579 h 3060887"/>
                <a:gd name="connsiteX22" fmla="*/ 3873926 w 6560990"/>
                <a:gd name="connsiteY22" fmla="*/ 389649 h 3060887"/>
                <a:gd name="connsiteX23" fmla="*/ 3873926 w 6560990"/>
                <a:gd name="connsiteY23" fmla="*/ 1256788 h 3060887"/>
                <a:gd name="connsiteX24" fmla="*/ 4500607 w 6560990"/>
                <a:gd name="connsiteY24" fmla="*/ 1256788 h 3060887"/>
                <a:gd name="connsiteX25" fmla="*/ 4500607 w 6560990"/>
                <a:gd name="connsiteY25" fmla="*/ 1550714 h 3060887"/>
                <a:gd name="connsiteX26" fmla="*/ 715724 w 6560990"/>
                <a:gd name="connsiteY26" fmla="*/ 1550714 h 3060887"/>
                <a:gd name="connsiteX27" fmla="*/ 1014412 w 6560990"/>
                <a:gd name="connsiteY27" fmla="*/ 1639680 h 3060887"/>
                <a:gd name="connsiteX28" fmla="*/ 0 w 6560990"/>
                <a:gd name="connsiteY28" fmla="*/ 2487674 h 3060887"/>
                <a:gd name="connsiteX29" fmla="*/ 144272 w 6560990"/>
                <a:gd name="connsiteY29" fmla="*/ 1670087 h 3060887"/>
                <a:gd name="connsiteX30" fmla="*/ 518477 w 6560990"/>
                <a:gd name="connsiteY30" fmla="*/ 1406566 h 3060887"/>
                <a:gd name="connsiteX31" fmla="*/ 308832 w 6560990"/>
                <a:gd name="connsiteY31" fmla="*/ 1259040 h 3060887"/>
                <a:gd name="connsiteX32" fmla="*/ 308832 w 6560990"/>
                <a:gd name="connsiteY32" fmla="*/ 1259040 h 3060887"/>
                <a:gd name="connsiteX33" fmla="*/ 143145 w 6560990"/>
                <a:gd name="connsiteY33" fmla="*/ 1146425 h 3060887"/>
                <a:gd name="connsiteX34" fmla="*/ 0 w 6560990"/>
                <a:gd name="connsiteY34" fmla="*/ 324332 h 3060887"/>
                <a:gd name="connsiteX35" fmla="*/ 1942035 w 6560990"/>
                <a:gd name="connsiteY35" fmla="*/ 2405465 h 3060887"/>
                <a:gd name="connsiteX36" fmla="*/ 1942035 w 6560990"/>
                <a:gd name="connsiteY36" fmla="*/ 1801847 h 3060887"/>
                <a:gd name="connsiteX37" fmla="*/ 1647856 w 6560990"/>
                <a:gd name="connsiteY37" fmla="*/ 1801847 h 3060887"/>
                <a:gd name="connsiteX38" fmla="*/ 1647856 w 6560990"/>
                <a:gd name="connsiteY38" fmla="*/ 1989914 h 3060887"/>
                <a:gd name="connsiteX39" fmla="*/ 1942035 w 6560990"/>
                <a:gd name="connsiteY39" fmla="*/ 2408844 h 3060887"/>
                <a:gd name="connsiteX40" fmla="*/ 1942035 w 6560990"/>
                <a:gd name="connsiteY40" fmla="*/ 2405465 h 3060887"/>
                <a:gd name="connsiteX41" fmla="*/ 3873926 w 6560990"/>
                <a:gd name="connsiteY41" fmla="*/ 2665607 h 3060887"/>
                <a:gd name="connsiteX42" fmla="*/ 3873926 w 6560990"/>
                <a:gd name="connsiteY42" fmla="*/ 1801847 h 3060887"/>
                <a:gd name="connsiteX43" fmla="*/ 3579746 w 6560990"/>
                <a:gd name="connsiteY43" fmla="*/ 1801847 h 3060887"/>
                <a:gd name="connsiteX44" fmla="*/ 3579746 w 6560990"/>
                <a:gd name="connsiteY44" fmla="*/ 2252308 h 3060887"/>
                <a:gd name="connsiteX45" fmla="*/ 3873926 w 6560990"/>
                <a:gd name="connsiteY45" fmla="*/ 2670111 h 3060887"/>
                <a:gd name="connsiteX46" fmla="*/ 3873926 w 6560990"/>
                <a:gd name="connsiteY46" fmla="*/ 2665607 h 3060887"/>
                <a:gd name="connsiteX47" fmla="*/ 3229211 w 6560990"/>
                <a:gd name="connsiteY47" fmla="*/ 3057508 h 3060887"/>
                <a:gd name="connsiteX48" fmla="*/ 3229211 w 6560990"/>
                <a:gd name="connsiteY48" fmla="*/ 1801847 h 3060887"/>
                <a:gd name="connsiteX49" fmla="*/ 2936158 w 6560990"/>
                <a:gd name="connsiteY49" fmla="*/ 1801847 h 3060887"/>
                <a:gd name="connsiteX50" fmla="*/ 2936158 w 6560990"/>
                <a:gd name="connsiteY50" fmla="*/ 2641957 h 3060887"/>
                <a:gd name="connsiteX51" fmla="*/ 3229211 w 6560990"/>
                <a:gd name="connsiteY51" fmla="*/ 3060887 h 3060887"/>
                <a:gd name="connsiteX52" fmla="*/ 3229211 w 6560990"/>
                <a:gd name="connsiteY52" fmla="*/ 3057508 h 3060887"/>
                <a:gd name="connsiteX53" fmla="*/ 2585623 w 6560990"/>
                <a:gd name="connsiteY53" fmla="*/ 2796241 h 3060887"/>
                <a:gd name="connsiteX54" fmla="*/ 2585623 w 6560990"/>
                <a:gd name="connsiteY54" fmla="*/ 1801847 h 3060887"/>
                <a:gd name="connsiteX55" fmla="*/ 2291443 w 6560990"/>
                <a:gd name="connsiteY55" fmla="*/ 1801847 h 3060887"/>
                <a:gd name="connsiteX56" fmla="*/ 2291443 w 6560990"/>
                <a:gd name="connsiteY56" fmla="*/ 2380690 h 3060887"/>
                <a:gd name="connsiteX57" fmla="*/ 2585623 w 6560990"/>
                <a:gd name="connsiteY57" fmla="*/ 2799619 h 3060887"/>
                <a:gd name="connsiteX58" fmla="*/ 2585623 w 6560990"/>
                <a:gd name="connsiteY58" fmla="*/ 2796241 h 3060887"/>
                <a:gd name="connsiteX59" fmla="*/ 5478951 w 6560990"/>
                <a:gd name="connsiteY59" fmla="*/ 855877 h 3060887"/>
                <a:gd name="connsiteX60" fmla="*/ 5591663 w 6560990"/>
                <a:gd name="connsiteY60" fmla="*/ 968493 h 3060887"/>
                <a:gd name="connsiteX61" fmla="*/ 5478951 w 6560990"/>
                <a:gd name="connsiteY61" fmla="*/ 1081108 h 3060887"/>
                <a:gd name="connsiteX62" fmla="*/ 5366238 w 6560990"/>
                <a:gd name="connsiteY62" fmla="*/ 968493 h 3060887"/>
                <a:gd name="connsiteX63" fmla="*/ 5478951 w 6560990"/>
                <a:gd name="connsiteY63" fmla="*/ 855877 h 3060887"/>
                <a:gd name="connsiteX0" fmla="*/ 6208594 w 6208594"/>
                <a:gd name="connsiteY0" fmla="*/ 1658518 h 3060887"/>
                <a:gd name="connsiteX1" fmla="*/ 4508497 w 6208594"/>
                <a:gd name="connsiteY1" fmla="*/ 2590154 h 3060887"/>
                <a:gd name="connsiteX2" fmla="*/ 4508497 w 6208594"/>
                <a:gd name="connsiteY2" fmla="*/ 225231 h 3060887"/>
                <a:gd name="connsiteX3" fmla="*/ 6086471 w 6208594"/>
                <a:gd name="connsiteY3" fmla="*/ 866013 h 3060887"/>
                <a:gd name="connsiteX4" fmla="*/ 5988466 w 6208594"/>
                <a:gd name="connsiteY4" fmla="*/ 1148578 h 3060887"/>
                <a:gd name="connsiteX5" fmla="*/ 6208594 w 6208594"/>
                <a:gd name="connsiteY5" fmla="*/ 1658518 h 3060887"/>
                <a:gd name="connsiteX6" fmla="*/ 0 w 6208594"/>
                <a:gd name="connsiteY6" fmla="*/ 324332 h 3060887"/>
                <a:gd name="connsiteX7" fmla="*/ 1127124 w 6208594"/>
                <a:gd name="connsiteY7" fmla="*/ 1259040 h 3060887"/>
                <a:gd name="connsiteX8" fmla="*/ 1653491 w 6208594"/>
                <a:gd name="connsiteY8" fmla="*/ 1259040 h 3060887"/>
                <a:gd name="connsiteX9" fmla="*/ 1653491 w 6208594"/>
                <a:gd name="connsiteY9" fmla="*/ 1072099 h 3060887"/>
                <a:gd name="connsiteX10" fmla="*/ 1942035 w 6208594"/>
                <a:gd name="connsiteY10" fmla="*/ 653169 h 3060887"/>
                <a:gd name="connsiteX11" fmla="*/ 1942035 w 6208594"/>
                <a:gd name="connsiteY11" fmla="*/ 1259040 h 3060887"/>
                <a:gd name="connsiteX12" fmla="*/ 2291443 w 6208594"/>
                <a:gd name="connsiteY12" fmla="*/ 1259040 h 3060887"/>
                <a:gd name="connsiteX13" fmla="*/ 2291443 w 6208594"/>
                <a:gd name="connsiteY13" fmla="*/ 675692 h 3060887"/>
                <a:gd name="connsiteX14" fmla="*/ 2585623 w 6208594"/>
                <a:gd name="connsiteY14" fmla="*/ 256763 h 3060887"/>
                <a:gd name="connsiteX15" fmla="*/ 2585623 w 6208594"/>
                <a:gd name="connsiteY15" fmla="*/ 1254536 h 3060887"/>
                <a:gd name="connsiteX16" fmla="*/ 2936158 w 6208594"/>
                <a:gd name="connsiteY16" fmla="*/ 1254536 h 3060887"/>
                <a:gd name="connsiteX17" fmla="*/ 2936158 w 6208594"/>
                <a:gd name="connsiteY17" fmla="*/ 418929 h 3060887"/>
                <a:gd name="connsiteX18" fmla="*/ 3229211 w 6208594"/>
                <a:gd name="connsiteY18" fmla="*/ 0 h 3060887"/>
                <a:gd name="connsiteX19" fmla="*/ 3229211 w 6208594"/>
                <a:gd name="connsiteY19" fmla="*/ 1259040 h 3060887"/>
                <a:gd name="connsiteX20" fmla="*/ 3579746 w 6208594"/>
                <a:gd name="connsiteY20" fmla="*/ 1259040 h 3060887"/>
                <a:gd name="connsiteX21" fmla="*/ 3579746 w 6208594"/>
                <a:gd name="connsiteY21" fmla="*/ 808579 h 3060887"/>
                <a:gd name="connsiteX22" fmla="*/ 3873926 w 6208594"/>
                <a:gd name="connsiteY22" fmla="*/ 389649 h 3060887"/>
                <a:gd name="connsiteX23" fmla="*/ 3873926 w 6208594"/>
                <a:gd name="connsiteY23" fmla="*/ 1256788 h 3060887"/>
                <a:gd name="connsiteX24" fmla="*/ 4500607 w 6208594"/>
                <a:gd name="connsiteY24" fmla="*/ 1256788 h 3060887"/>
                <a:gd name="connsiteX25" fmla="*/ 4500607 w 6208594"/>
                <a:gd name="connsiteY25" fmla="*/ 1550714 h 3060887"/>
                <a:gd name="connsiteX26" fmla="*/ 715724 w 6208594"/>
                <a:gd name="connsiteY26" fmla="*/ 1550714 h 3060887"/>
                <a:gd name="connsiteX27" fmla="*/ 1014412 w 6208594"/>
                <a:gd name="connsiteY27" fmla="*/ 1639680 h 3060887"/>
                <a:gd name="connsiteX28" fmla="*/ 0 w 6208594"/>
                <a:gd name="connsiteY28" fmla="*/ 2487674 h 3060887"/>
                <a:gd name="connsiteX29" fmla="*/ 144272 w 6208594"/>
                <a:gd name="connsiteY29" fmla="*/ 1670087 h 3060887"/>
                <a:gd name="connsiteX30" fmla="*/ 518477 w 6208594"/>
                <a:gd name="connsiteY30" fmla="*/ 1406566 h 3060887"/>
                <a:gd name="connsiteX31" fmla="*/ 308832 w 6208594"/>
                <a:gd name="connsiteY31" fmla="*/ 1259040 h 3060887"/>
                <a:gd name="connsiteX32" fmla="*/ 308832 w 6208594"/>
                <a:gd name="connsiteY32" fmla="*/ 1259040 h 3060887"/>
                <a:gd name="connsiteX33" fmla="*/ 143145 w 6208594"/>
                <a:gd name="connsiteY33" fmla="*/ 1146425 h 3060887"/>
                <a:gd name="connsiteX34" fmla="*/ 0 w 6208594"/>
                <a:gd name="connsiteY34" fmla="*/ 324332 h 3060887"/>
                <a:gd name="connsiteX35" fmla="*/ 1942035 w 6208594"/>
                <a:gd name="connsiteY35" fmla="*/ 2405465 h 3060887"/>
                <a:gd name="connsiteX36" fmla="*/ 1942035 w 6208594"/>
                <a:gd name="connsiteY36" fmla="*/ 1801847 h 3060887"/>
                <a:gd name="connsiteX37" fmla="*/ 1647856 w 6208594"/>
                <a:gd name="connsiteY37" fmla="*/ 1801847 h 3060887"/>
                <a:gd name="connsiteX38" fmla="*/ 1647856 w 6208594"/>
                <a:gd name="connsiteY38" fmla="*/ 1989914 h 3060887"/>
                <a:gd name="connsiteX39" fmla="*/ 1942035 w 6208594"/>
                <a:gd name="connsiteY39" fmla="*/ 2408844 h 3060887"/>
                <a:gd name="connsiteX40" fmla="*/ 1942035 w 6208594"/>
                <a:gd name="connsiteY40" fmla="*/ 2405465 h 3060887"/>
                <a:gd name="connsiteX41" fmla="*/ 3873926 w 6208594"/>
                <a:gd name="connsiteY41" fmla="*/ 2665607 h 3060887"/>
                <a:gd name="connsiteX42" fmla="*/ 3873926 w 6208594"/>
                <a:gd name="connsiteY42" fmla="*/ 1801847 h 3060887"/>
                <a:gd name="connsiteX43" fmla="*/ 3579746 w 6208594"/>
                <a:gd name="connsiteY43" fmla="*/ 1801847 h 3060887"/>
                <a:gd name="connsiteX44" fmla="*/ 3579746 w 6208594"/>
                <a:gd name="connsiteY44" fmla="*/ 2252308 h 3060887"/>
                <a:gd name="connsiteX45" fmla="*/ 3873926 w 6208594"/>
                <a:gd name="connsiteY45" fmla="*/ 2670111 h 3060887"/>
                <a:gd name="connsiteX46" fmla="*/ 3873926 w 6208594"/>
                <a:gd name="connsiteY46" fmla="*/ 2665607 h 3060887"/>
                <a:gd name="connsiteX47" fmla="*/ 3229211 w 6208594"/>
                <a:gd name="connsiteY47" fmla="*/ 3057508 h 3060887"/>
                <a:gd name="connsiteX48" fmla="*/ 3229211 w 6208594"/>
                <a:gd name="connsiteY48" fmla="*/ 1801847 h 3060887"/>
                <a:gd name="connsiteX49" fmla="*/ 2936158 w 6208594"/>
                <a:gd name="connsiteY49" fmla="*/ 1801847 h 3060887"/>
                <a:gd name="connsiteX50" fmla="*/ 2936158 w 6208594"/>
                <a:gd name="connsiteY50" fmla="*/ 2641957 h 3060887"/>
                <a:gd name="connsiteX51" fmla="*/ 3229211 w 6208594"/>
                <a:gd name="connsiteY51" fmla="*/ 3060887 h 3060887"/>
                <a:gd name="connsiteX52" fmla="*/ 3229211 w 6208594"/>
                <a:gd name="connsiteY52" fmla="*/ 3057508 h 3060887"/>
                <a:gd name="connsiteX53" fmla="*/ 2585623 w 6208594"/>
                <a:gd name="connsiteY53" fmla="*/ 2796241 h 3060887"/>
                <a:gd name="connsiteX54" fmla="*/ 2585623 w 6208594"/>
                <a:gd name="connsiteY54" fmla="*/ 1801847 h 3060887"/>
                <a:gd name="connsiteX55" fmla="*/ 2291443 w 6208594"/>
                <a:gd name="connsiteY55" fmla="*/ 1801847 h 3060887"/>
                <a:gd name="connsiteX56" fmla="*/ 2291443 w 6208594"/>
                <a:gd name="connsiteY56" fmla="*/ 2380690 h 3060887"/>
                <a:gd name="connsiteX57" fmla="*/ 2585623 w 6208594"/>
                <a:gd name="connsiteY57" fmla="*/ 2799619 h 3060887"/>
                <a:gd name="connsiteX58" fmla="*/ 2585623 w 6208594"/>
                <a:gd name="connsiteY58" fmla="*/ 2796241 h 3060887"/>
                <a:gd name="connsiteX59" fmla="*/ 5478951 w 6208594"/>
                <a:gd name="connsiteY59" fmla="*/ 855877 h 3060887"/>
                <a:gd name="connsiteX60" fmla="*/ 5591663 w 6208594"/>
                <a:gd name="connsiteY60" fmla="*/ 968493 h 3060887"/>
                <a:gd name="connsiteX61" fmla="*/ 5478951 w 6208594"/>
                <a:gd name="connsiteY61" fmla="*/ 1081108 h 3060887"/>
                <a:gd name="connsiteX62" fmla="*/ 5366238 w 6208594"/>
                <a:gd name="connsiteY62" fmla="*/ 968493 h 3060887"/>
                <a:gd name="connsiteX63" fmla="*/ 5478951 w 6208594"/>
                <a:gd name="connsiteY63" fmla="*/ 855877 h 3060887"/>
                <a:gd name="connsiteX0" fmla="*/ 5968503 w 6086471"/>
                <a:gd name="connsiteY0" fmla="*/ 1658518 h 3060887"/>
                <a:gd name="connsiteX1" fmla="*/ 4508497 w 6086471"/>
                <a:gd name="connsiteY1" fmla="*/ 2590154 h 3060887"/>
                <a:gd name="connsiteX2" fmla="*/ 4508497 w 6086471"/>
                <a:gd name="connsiteY2" fmla="*/ 225231 h 3060887"/>
                <a:gd name="connsiteX3" fmla="*/ 6086471 w 6086471"/>
                <a:gd name="connsiteY3" fmla="*/ 866013 h 3060887"/>
                <a:gd name="connsiteX4" fmla="*/ 5988466 w 6086471"/>
                <a:gd name="connsiteY4" fmla="*/ 1148578 h 3060887"/>
                <a:gd name="connsiteX5" fmla="*/ 5968503 w 6086471"/>
                <a:gd name="connsiteY5" fmla="*/ 1658518 h 3060887"/>
                <a:gd name="connsiteX6" fmla="*/ 0 w 6086471"/>
                <a:gd name="connsiteY6" fmla="*/ 324332 h 3060887"/>
                <a:gd name="connsiteX7" fmla="*/ 1127124 w 6086471"/>
                <a:gd name="connsiteY7" fmla="*/ 1259040 h 3060887"/>
                <a:gd name="connsiteX8" fmla="*/ 1653491 w 6086471"/>
                <a:gd name="connsiteY8" fmla="*/ 1259040 h 3060887"/>
                <a:gd name="connsiteX9" fmla="*/ 1653491 w 6086471"/>
                <a:gd name="connsiteY9" fmla="*/ 1072099 h 3060887"/>
                <a:gd name="connsiteX10" fmla="*/ 1942035 w 6086471"/>
                <a:gd name="connsiteY10" fmla="*/ 653169 h 3060887"/>
                <a:gd name="connsiteX11" fmla="*/ 1942035 w 6086471"/>
                <a:gd name="connsiteY11" fmla="*/ 1259040 h 3060887"/>
                <a:gd name="connsiteX12" fmla="*/ 2291443 w 6086471"/>
                <a:gd name="connsiteY12" fmla="*/ 1259040 h 3060887"/>
                <a:gd name="connsiteX13" fmla="*/ 2291443 w 6086471"/>
                <a:gd name="connsiteY13" fmla="*/ 675692 h 3060887"/>
                <a:gd name="connsiteX14" fmla="*/ 2585623 w 6086471"/>
                <a:gd name="connsiteY14" fmla="*/ 256763 h 3060887"/>
                <a:gd name="connsiteX15" fmla="*/ 2585623 w 6086471"/>
                <a:gd name="connsiteY15" fmla="*/ 1254536 h 3060887"/>
                <a:gd name="connsiteX16" fmla="*/ 2936158 w 6086471"/>
                <a:gd name="connsiteY16" fmla="*/ 1254536 h 3060887"/>
                <a:gd name="connsiteX17" fmla="*/ 2936158 w 6086471"/>
                <a:gd name="connsiteY17" fmla="*/ 418929 h 3060887"/>
                <a:gd name="connsiteX18" fmla="*/ 3229211 w 6086471"/>
                <a:gd name="connsiteY18" fmla="*/ 0 h 3060887"/>
                <a:gd name="connsiteX19" fmla="*/ 3229211 w 6086471"/>
                <a:gd name="connsiteY19" fmla="*/ 1259040 h 3060887"/>
                <a:gd name="connsiteX20" fmla="*/ 3579746 w 6086471"/>
                <a:gd name="connsiteY20" fmla="*/ 1259040 h 3060887"/>
                <a:gd name="connsiteX21" fmla="*/ 3579746 w 6086471"/>
                <a:gd name="connsiteY21" fmla="*/ 808579 h 3060887"/>
                <a:gd name="connsiteX22" fmla="*/ 3873926 w 6086471"/>
                <a:gd name="connsiteY22" fmla="*/ 389649 h 3060887"/>
                <a:gd name="connsiteX23" fmla="*/ 3873926 w 6086471"/>
                <a:gd name="connsiteY23" fmla="*/ 1256788 h 3060887"/>
                <a:gd name="connsiteX24" fmla="*/ 4500607 w 6086471"/>
                <a:gd name="connsiteY24" fmla="*/ 1256788 h 3060887"/>
                <a:gd name="connsiteX25" fmla="*/ 4500607 w 6086471"/>
                <a:gd name="connsiteY25" fmla="*/ 1550714 h 3060887"/>
                <a:gd name="connsiteX26" fmla="*/ 715724 w 6086471"/>
                <a:gd name="connsiteY26" fmla="*/ 1550714 h 3060887"/>
                <a:gd name="connsiteX27" fmla="*/ 1014412 w 6086471"/>
                <a:gd name="connsiteY27" fmla="*/ 1639680 h 3060887"/>
                <a:gd name="connsiteX28" fmla="*/ 0 w 6086471"/>
                <a:gd name="connsiteY28" fmla="*/ 2487674 h 3060887"/>
                <a:gd name="connsiteX29" fmla="*/ 144272 w 6086471"/>
                <a:gd name="connsiteY29" fmla="*/ 1670087 h 3060887"/>
                <a:gd name="connsiteX30" fmla="*/ 518477 w 6086471"/>
                <a:gd name="connsiteY30" fmla="*/ 1406566 h 3060887"/>
                <a:gd name="connsiteX31" fmla="*/ 308832 w 6086471"/>
                <a:gd name="connsiteY31" fmla="*/ 1259040 h 3060887"/>
                <a:gd name="connsiteX32" fmla="*/ 308832 w 6086471"/>
                <a:gd name="connsiteY32" fmla="*/ 1259040 h 3060887"/>
                <a:gd name="connsiteX33" fmla="*/ 143145 w 6086471"/>
                <a:gd name="connsiteY33" fmla="*/ 1146425 h 3060887"/>
                <a:gd name="connsiteX34" fmla="*/ 0 w 6086471"/>
                <a:gd name="connsiteY34" fmla="*/ 324332 h 3060887"/>
                <a:gd name="connsiteX35" fmla="*/ 1942035 w 6086471"/>
                <a:gd name="connsiteY35" fmla="*/ 2405465 h 3060887"/>
                <a:gd name="connsiteX36" fmla="*/ 1942035 w 6086471"/>
                <a:gd name="connsiteY36" fmla="*/ 1801847 h 3060887"/>
                <a:gd name="connsiteX37" fmla="*/ 1647856 w 6086471"/>
                <a:gd name="connsiteY37" fmla="*/ 1801847 h 3060887"/>
                <a:gd name="connsiteX38" fmla="*/ 1647856 w 6086471"/>
                <a:gd name="connsiteY38" fmla="*/ 1989914 h 3060887"/>
                <a:gd name="connsiteX39" fmla="*/ 1942035 w 6086471"/>
                <a:gd name="connsiteY39" fmla="*/ 2408844 h 3060887"/>
                <a:gd name="connsiteX40" fmla="*/ 1942035 w 6086471"/>
                <a:gd name="connsiteY40" fmla="*/ 2405465 h 3060887"/>
                <a:gd name="connsiteX41" fmla="*/ 3873926 w 6086471"/>
                <a:gd name="connsiteY41" fmla="*/ 2665607 h 3060887"/>
                <a:gd name="connsiteX42" fmla="*/ 3873926 w 6086471"/>
                <a:gd name="connsiteY42" fmla="*/ 1801847 h 3060887"/>
                <a:gd name="connsiteX43" fmla="*/ 3579746 w 6086471"/>
                <a:gd name="connsiteY43" fmla="*/ 1801847 h 3060887"/>
                <a:gd name="connsiteX44" fmla="*/ 3579746 w 6086471"/>
                <a:gd name="connsiteY44" fmla="*/ 2252308 h 3060887"/>
                <a:gd name="connsiteX45" fmla="*/ 3873926 w 6086471"/>
                <a:gd name="connsiteY45" fmla="*/ 2670111 h 3060887"/>
                <a:gd name="connsiteX46" fmla="*/ 3873926 w 6086471"/>
                <a:gd name="connsiteY46" fmla="*/ 2665607 h 3060887"/>
                <a:gd name="connsiteX47" fmla="*/ 3229211 w 6086471"/>
                <a:gd name="connsiteY47" fmla="*/ 3057508 h 3060887"/>
                <a:gd name="connsiteX48" fmla="*/ 3229211 w 6086471"/>
                <a:gd name="connsiteY48" fmla="*/ 1801847 h 3060887"/>
                <a:gd name="connsiteX49" fmla="*/ 2936158 w 6086471"/>
                <a:gd name="connsiteY49" fmla="*/ 1801847 h 3060887"/>
                <a:gd name="connsiteX50" fmla="*/ 2936158 w 6086471"/>
                <a:gd name="connsiteY50" fmla="*/ 2641957 h 3060887"/>
                <a:gd name="connsiteX51" fmla="*/ 3229211 w 6086471"/>
                <a:gd name="connsiteY51" fmla="*/ 3060887 h 3060887"/>
                <a:gd name="connsiteX52" fmla="*/ 3229211 w 6086471"/>
                <a:gd name="connsiteY52" fmla="*/ 3057508 h 3060887"/>
                <a:gd name="connsiteX53" fmla="*/ 2585623 w 6086471"/>
                <a:gd name="connsiteY53" fmla="*/ 2796241 h 3060887"/>
                <a:gd name="connsiteX54" fmla="*/ 2585623 w 6086471"/>
                <a:gd name="connsiteY54" fmla="*/ 1801847 h 3060887"/>
                <a:gd name="connsiteX55" fmla="*/ 2291443 w 6086471"/>
                <a:gd name="connsiteY55" fmla="*/ 1801847 h 3060887"/>
                <a:gd name="connsiteX56" fmla="*/ 2291443 w 6086471"/>
                <a:gd name="connsiteY56" fmla="*/ 2380690 h 3060887"/>
                <a:gd name="connsiteX57" fmla="*/ 2585623 w 6086471"/>
                <a:gd name="connsiteY57" fmla="*/ 2799619 h 3060887"/>
                <a:gd name="connsiteX58" fmla="*/ 2585623 w 6086471"/>
                <a:gd name="connsiteY58" fmla="*/ 2796241 h 3060887"/>
                <a:gd name="connsiteX59" fmla="*/ 5478951 w 6086471"/>
                <a:gd name="connsiteY59" fmla="*/ 855877 h 3060887"/>
                <a:gd name="connsiteX60" fmla="*/ 5591663 w 6086471"/>
                <a:gd name="connsiteY60" fmla="*/ 968493 h 3060887"/>
                <a:gd name="connsiteX61" fmla="*/ 5478951 w 6086471"/>
                <a:gd name="connsiteY61" fmla="*/ 1081108 h 3060887"/>
                <a:gd name="connsiteX62" fmla="*/ 5366238 w 6086471"/>
                <a:gd name="connsiteY62" fmla="*/ 968493 h 3060887"/>
                <a:gd name="connsiteX63" fmla="*/ 5478951 w 6086471"/>
                <a:gd name="connsiteY63" fmla="*/ 855877 h 3060887"/>
                <a:gd name="connsiteX0" fmla="*/ 5968503 w 6086471"/>
                <a:gd name="connsiteY0" fmla="*/ 1658518 h 3060887"/>
                <a:gd name="connsiteX1" fmla="*/ 4508497 w 6086471"/>
                <a:gd name="connsiteY1" fmla="*/ 2590154 h 3060887"/>
                <a:gd name="connsiteX2" fmla="*/ 4508497 w 6086471"/>
                <a:gd name="connsiteY2" fmla="*/ 225231 h 3060887"/>
                <a:gd name="connsiteX3" fmla="*/ 6086471 w 6086471"/>
                <a:gd name="connsiteY3" fmla="*/ 866013 h 3060887"/>
                <a:gd name="connsiteX4" fmla="*/ 6080809 w 6086471"/>
                <a:gd name="connsiteY4" fmla="*/ 1119913 h 3060887"/>
                <a:gd name="connsiteX5" fmla="*/ 5968503 w 6086471"/>
                <a:gd name="connsiteY5" fmla="*/ 1658518 h 3060887"/>
                <a:gd name="connsiteX6" fmla="*/ 0 w 6086471"/>
                <a:gd name="connsiteY6" fmla="*/ 324332 h 3060887"/>
                <a:gd name="connsiteX7" fmla="*/ 1127124 w 6086471"/>
                <a:gd name="connsiteY7" fmla="*/ 1259040 h 3060887"/>
                <a:gd name="connsiteX8" fmla="*/ 1653491 w 6086471"/>
                <a:gd name="connsiteY8" fmla="*/ 1259040 h 3060887"/>
                <a:gd name="connsiteX9" fmla="*/ 1653491 w 6086471"/>
                <a:gd name="connsiteY9" fmla="*/ 1072099 h 3060887"/>
                <a:gd name="connsiteX10" fmla="*/ 1942035 w 6086471"/>
                <a:gd name="connsiteY10" fmla="*/ 653169 h 3060887"/>
                <a:gd name="connsiteX11" fmla="*/ 1942035 w 6086471"/>
                <a:gd name="connsiteY11" fmla="*/ 1259040 h 3060887"/>
                <a:gd name="connsiteX12" fmla="*/ 2291443 w 6086471"/>
                <a:gd name="connsiteY12" fmla="*/ 1259040 h 3060887"/>
                <a:gd name="connsiteX13" fmla="*/ 2291443 w 6086471"/>
                <a:gd name="connsiteY13" fmla="*/ 675692 h 3060887"/>
                <a:gd name="connsiteX14" fmla="*/ 2585623 w 6086471"/>
                <a:gd name="connsiteY14" fmla="*/ 256763 h 3060887"/>
                <a:gd name="connsiteX15" fmla="*/ 2585623 w 6086471"/>
                <a:gd name="connsiteY15" fmla="*/ 1254536 h 3060887"/>
                <a:gd name="connsiteX16" fmla="*/ 2936158 w 6086471"/>
                <a:gd name="connsiteY16" fmla="*/ 1254536 h 3060887"/>
                <a:gd name="connsiteX17" fmla="*/ 2936158 w 6086471"/>
                <a:gd name="connsiteY17" fmla="*/ 418929 h 3060887"/>
                <a:gd name="connsiteX18" fmla="*/ 3229211 w 6086471"/>
                <a:gd name="connsiteY18" fmla="*/ 0 h 3060887"/>
                <a:gd name="connsiteX19" fmla="*/ 3229211 w 6086471"/>
                <a:gd name="connsiteY19" fmla="*/ 1259040 h 3060887"/>
                <a:gd name="connsiteX20" fmla="*/ 3579746 w 6086471"/>
                <a:gd name="connsiteY20" fmla="*/ 1259040 h 3060887"/>
                <a:gd name="connsiteX21" fmla="*/ 3579746 w 6086471"/>
                <a:gd name="connsiteY21" fmla="*/ 808579 h 3060887"/>
                <a:gd name="connsiteX22" fmla="*/ 3873926 w 6086471"/>
                <a:gd name="connsiteY22" fmla="*/ 389649 h 3060887"/>
                <a:gd name="connsiteX23" fmla="*/ 3873926 w 6086471"/>
                <a:gd name="connsiteY23" fmla="*/ 1256788 h 3060887"/>
                <a:gd name="connsiteX24" fmla="*/ 4500607 w 6086471"/>
                <a:gd name="connsiteY24" fmla="*/ 1256788 h 3060887"/>
                <a:gd name="connsiteX25" fmla="*/ 4500607 w 6086471"/>
                <a:gd name="connsiteY25" fmla="*/ 1550714 h 3060887"/>
                <a:gd name="connsiteX26" fmla="*/ 715724 w 6086471"/>
                <a:gd name="connsiteY26" fmla="*/ 1550714 h 3060887"/>
                <a:gd name="connsiteX27" fmla="*/ 1014412 w 6086471"/>
                <a:gd name="connsiteY27" fmla="*/ 1639680 h 3060887"/>
                <a:gd name="connsiteX28" fmla="*/ 0 w 6086471"/>
                <a:gd name="connsiteY28" fmla="*/ 2487674 h 3060887"/>
                <a:gd name="connsiteX29" fmla="*/ 144272 w 6086471"/>
                <a:gd name="connsiteY29" fmla="*/ 1670087 h 3060887"/>
                <a:gd name="connsiteX30" fmla="*/ 518477 w 6086471"/>
                <a:gd name="connsiteY30" fmla="*/ 1406566 h 3060887"/>
                <a:gd name="connsiteX31" fmla="*/ 308832 w 6086471"/>
                <a:gd name="connsiteY31" fmla="*/ 1259040 h 3060887"/>
                <a:gd name="connsiteX32" fmla="*/ 308832 w 6086471"/>
                <a:gd name="connsiteY32" fmla="*/ 1259040 h 3060887"/>
                <a:gd name="connsiteX33" fmla="*/ 143145 w 6086471"/>
                <a:gd name="connsiteY33" fmla="*/ 1146425 h 3060887"/>
                <a:gd name="connsiteX34" fmla="*/ 0 w 6086471"/>
                <a:gd name="connsiteY34" fmla="*/ 324332 h 3060887"/>
                <a:gd name="connsiteX35" fmla="*/ 1942035 w 6086471"/>
                <a:gd name="connsiteY35" fmla="*/ 2405465 h 3060887"/>
                <a:gd name="connsiteX36" fmla="*/ 1942035 w 6086471"/>
                <a:gd name="connsiteY36" fmla="*/ 1801847 h 3060887"/>
                <a:gd name="connsiteX37" fmla="*/ 1647856 w 6086471"/>
                <a:gd name="connsiteY37" fmla="*/ 1801847 h 3060887"/>
                <a:gd name="connsiteX38" fmla="*/ 1647856 w 6086471"/>
                <a:gd name="connsiteY38" fmla="*/ 1989914 h 3060887"/>
                <a:gd name="connsiteX39" fmla="*/ 1942035 w 6086471"/>
                <a:gd name="connsiteY39" fmla="*/ 2408844 h 3060887"/>
                <a:gd name="connsiteX40" fmla="*/ 1942035 w 6086471"/>
                <a:gd name="connsiteY40" fmla="*/ 2405465 h 3060887"/>
                <a:gd name="connsiteX41" fmla="*/ 3873926 w 6086471"/>
                <a:gd name="connsiteY41" fmla="*/ 2665607 h 3060887"/>
                <a:gd name="connsiteX42" fmla="*/ 3873926 w 6086471"/>
                <a:gd name="connsiteY42" fmla="*/ 1801847 h 3060887"/>
                <a:gd name="connsiteX43" fmla="*/ 3579746 w 6086471"/>
                <a:gd name="connsiteY43" fmla="*/ 1801847 h 3060887"/>
                <a:gd name="connsiteX44" fmla="*/ 3579746 w 6086471"/>
                <a:gd name="connsiteY44" fmla="*/ 2252308 h 3060887"/>
                <a:gd name="connsiteX45" fmla="*/ 3873926 w 6086471"/>
                <a:gd name="connsiteY45" fmla="*/ 2670111 h 3060887"/>
                <a:gd name="connsiteX46" fmla="*/ 3873926 w 6086471"/>
                <a:gd name="connsiteY46" fmla="*/ 2665607 h 3060887"/>
                <a:gd name="connsiteX47" fmla="*/ 3229211 w 6086471"/>
                <a:gd name="connsiteY47" fmla="*/ 3057508 h 3060887"/>
                <a:gd name="connsiteX48" fmla="*/ 3229211 w 6086471"/>
                <a:gd name="connsiteY48" fmla="*/ 1801847 h 3060887"/>
                <a:gd name="connsiteX49" fmla="*/ 2936158 w 6086471"/>
                <a:gd name="connsiteY49" fmla="*/ 1801847 h 3060887"/>
                <a:gd name="connsiteX50" fmla="*/ 2936158 w 6086471"/>
                <a:gd name="connsiteY50" fmla="*/ 2641957 h 3060887"/>
                <a:gd name="connsiteX51" fmla="*/ 3229211 w 6086471"/>
                <a:gd name="connsiteY51" fmla="*/ 3060887 h 3060887"/>
                <a:gd name="connsiteX52" fmla="*/ 3229211 w 6086471"/>
                <a:gd name="connsiteY52" fmla="*/ 3057508 h 3060887"/>
                <a:gd name="connsiteX53" fmla="*/ 2585623 w 6086471"/>
                <a:gd name="connsiteY53" fmla="*/ 2796241 h 3060887"/>
                <a:gd name="connsiteX54" fmla="*/ 2585623 w 6086471"/>
                <a:gd name="connsiteY54" fmla="*/ 1801847 h 3060887"/>
                <a:gd name="connsiteX55" fmla="*/ 2291443 w 6086471"/>
                <a:gd name="connsiteY55" fmla="*/ 1801847 h 3060887"/>
                <a:gd name="connsiteX56" fmla="*/ 2291443 w 6086471"/>
                <a:gd name="connsiteY56" fmla="*/ 2380690 h 3060887"/>
                <a:gd name="connsiteX57" fmla="*/ 2585623 w 6086471"/>
                <a:gd name="connsiteY57" fmla="*/ 2799619 h 3060887"/>
                <a:gd name="connsiteX58" fmla="*/ 2585623 w 6086471"/>
                <a:gd name="connsiteY58" fmla="*/ 2796241 h 3060887"/>
                <a:gd name="connsiteX59" fmla="*/ 5478951 w 6086471"/>
                <a:gd name="connsiteY59" fmla="*/ 855877 h 3060887"/>
                <a:gd name="connsiteX60" fmla="*/ 5591663 w 6086471"/>
                <a:gd name="connsiteY60" fmla="*/ 968493 h 3060887"/>
                <a:gd name="connsiteX61" fmla="*/ 5478951 w 6086471"/>
                <a:gd name="connsiteY61" fmla="*/ 1081108 h 3060887"/>
                <a:gd name="connsiteX62" fmla="*/ 5366238 w 6086471"/>
                <a:gd name="connsiteY62" fmla="*/ 968493 h 3060887"/>
                <a:gd name="connsiteX63" fmla="*/ 5478951 w 6086471"/>
                <a:gd name="connsiteY63" fmla="*/ 855877 h 3060887"/>
                <a:gd name="connsiteX0" fmla="*/ 5913097 w 6086471"/>
                <a:gd name="connsiteY0" fmla="*/ 1529524 h 3060887"/>
                <a:gd name="connsiteX1" fmla="*/ 4508497 w 6086471"/>
                <a:gd name="connsiteY1" fmla="*/ 2590154 h 3060887"/>
                <a:gd name="connsiteX2" fmla="*/ 4508497 w 6086471"/>
                <a:gd name="connsiteY2" fmla="*/ 225231 h 3060887"/>
                <a:gd name="connsiteX3" fmla="*/ 6086471 w 6086471"/>
                <a:gd name="connsiteY3" fmla="*/ 866013 h 3060887"/>
                <a:gd name="connsiteX4" fmla="*/ 6080809 w 6086471"/>
                <a:gd name="connsiteY4" fmla="*/ 1119913 h 3060887"/>
                <a:gd name="connsiteX5" fmla="*/ 5913097 w 6086471"/>
                <a:gd name="connsiteY5" fmla="*/ 1529524 h 3060887"/>
                <a:gd name="connsiteX6" fmla="*/ 0 w 6086471"/>
                <a:gd name="connsiteY6" fmla="*/ 324332 h 3060887"/>
                <a:gd name="connsiteX7" fmla="*/ 1127124 w 6086471"/>
                <a:gd name="connsiteY7" fmla="*/ 1259040 h 3060887"/>
                <a:gd name="connsiteX8" fmla="*/ 1653491 w 6086471"/>
                <a:gd name="connsiteY8" fmla="*/ 1259040 h 3060887"/>
                <a:gd name="connsiteX9" fmla="*/ 1653491 w 6086471"/>
                <a:gd name="connsiteY9" fmla="*/ 1072099 h 3060887"/>
                <a:gd name="connsiteX10" fmla="*/ 1942035 w 6086471"/>
                <a:gd name="connsiteY10" fmla="*/ 653169 h 3060887"/>
                <a:gd name="connsiteX11" fmla="*/ 1942035 w 6086471"/>
                <a:gd name="connsiteY11" fmla="*/ 1259040 h 3060887"/>
                <a:gd name="connsiteX12" fmla="*/ 2291443 w 6086471"/>
                <a:gd name="connsiteY12" fmla="*/ 1259040 h 3060887"/>
                <a:gd name="connsiteX13" fmla="*/ 2291443 w 6086471"/>
                <a:gd name="connsiteY13" fmla="*/ 675692 h 3060887"/>
                <a:gd name="connsiteX14" fmla="*/ 2585623 w 6086471"/>
                <a:gd name="connsiteY14" fmla="*/ 256763 h 3060887"/>
                <a:gd name="connsiteX15" fmla="*/ 2585623 w 6086471"/>
                <a:gd name="connsiteY15" fmla="*/ 1254536 h 3060887"/>
                <a:gd name="connsiteX16" fmla="*/ 2936158 w 6086471"/>
                <a:gd name="connsiteY16" fmla="*/ 1254536 h 3060887"/>
                <a:gd name="connsiteX17" fmla="*/ 2936158 w 6086471"/>
                <a:gd name="connsiteY17" fmla="*/ 418929 h 3060887"/>
                <a:gd name="connsiteX18" fmla="*/ 3229211 w 6086471"/>
                <a:gd name="connsiteY18" fmla="*/ 0 h 3060887"/>
                <a:gd name="connsiteX19" fmla="*/ 3229211 w 6086471"/>
                <a:gd name="connsiteY19" fmla="*/ 1259040 h 3060887"/>
                <a:gd name="connsiteX20" fmla="*/ 3579746 w 6086471"/>
                <a:gd name="connsiteY20" fmla="*/ 1259040 h 3060887"/>
                <a:gd name="connsiteX21" fmla="*/ 3579746 w 6086471"/>
                <a:gd name="connsiteY21" fmla="*/ 808579 h 3060887"/>
                <a:gd name="connsiteX22" fmla="*/ 3873926 w 6086471"/>
                <a:gd name="connsiteY22" fmla="*/ 389649 h 3060887"/>
                <a:gd name="connsiteX23" fmla="*/ 3873926 w 6086471"/>
                <a:gd name="connsiteY23" fmla="*/ 1256788 h 3060887"/>
                <a:gd name="connsiteX24" fmla="*/ 4500607 w 6086471"/>
                <a:gd name="connsiteY24" fmla="*/ 1256788 h 3060887"/>
                <a:gd name="connsiteX25" fmla="*/ 4500607 w 6086471"/>
                <a:gd name="connsiteY25" fmla="*/ 1550714 h 3060887"/>
                <a:gd name="connsiteX26" fmla="*/ 715724 w 6086471"/>
                <a:gd name="connsiteY26" fmla="*/ 1550714 h 3060887"/>
                <a:gd name="connsiteX27" fmla="*/ 1014412 w 6086471"/>
                <a:gd name="connsiteY27" fmla="*/ 1639680 h 3060887"/>
                <a:gd name="connsiteX28" fmla="*/ 0 w 6086471"/>
                <a:gd name="connsiteY28" fmla="*/ 2487674 h 3060887"/>
                <a:gd name="connsiteX29" fmla="*/ 144272 w 6086471"/>
                <a:gd name="connsiteY29" fmla="*/ 1670087 h 3060887"/>
                <a:gd name="connsiteX30" fmla="*/ 518477 w 6086471"/>
                <a:gd name="connsiteY30" fmla="*/ 1406566 h 3060887"/>
                <a:gd name="connsiteX31" fmla="*/ 308832 w 6086471"/>
                <a:gd name="connsiteY31" fmla="*/ 1259040 h 3060887"/>
                <a:gd name="connsiteX32" fmla="*/ 308832 w 6086471"/>
                <a:gd name="connsiteY32" fmla="*/ 1259040 h 3060887"/>
                <a:gd name="connsiteX33" fmla="*/ 143145 w 6086471"/>
                <a:gd name="connsiteY33" fmla="*/ 1146425 h 3060887"/>
                <a:gd name="connsiteX34" fmla="*/ 0 w 6086471"/>
                <a:gd name="connsiteY34" fmla="*/ 324332 h 3060887"/>
                <a:gd name="connsiteX35" fmla="*/ 1942035 w 6086471"/>
                <a:gd name="connsiteY35" fmla="*/ 2405465 h 3060887"/>
                <a:gd name="connsiteX36" fmla="*/ 1942035 w 6086471"/>
                <a:gd name="connsiteY36" fmla="*/ 1801847 h 3060887"/>
                <a:gd name="connsiteX37" fmla="*/ 1647856 w 6086471"/>
                <a:gd name="connsiteY37" fmla="*/ 1801847 h 3060887"/>
                <a:gd name="connsiteX38" fmla="*/ 1647856 w 6086471"/>
                <a:gd name="connsiteY38" fmla="*/ 1989914 h 3060887"/>
                <a:gd name="connsiteX39" fmla="*/ 1942035 w 6086471"/>
                <a:gd name="connsiteY39" fmla="*/ 2408844 h 3060887"/>
                <a:gd name="connsiteX40" fmla="*/ 1942035 w 6086471"/>
                <a:gd name="connsiteY40" fmla="*/ 2405465 h 3060887"/>
                <a:gd name="connsiteX41" fmla="*/ 3873926 w 6086471"/>
                <a:gd name="connsiteY41" fmla="*/ 2665607 h 3060887"/>
                <a:gd name="connsiteX42" fmla="*/ 3873926 w 6086471"/>
                <a:gd name="connsiteY42" fmla="*/ 1801847 h 3060887"/>
                <a:gd name="connsiteX43" fmla="*/ 3579746 w 6086471"/>
                <a:gd name="connsiteY43" fmla="*/ 1801847 h 3060887"/>
                <a:gd name="connsiteX44" fmla="*/ 3579746 w 6086471"/>
                <a:gd name="connsiteY44" fmla="*/ 2252308 h 3060887"/>
                <a:gd name="connsiteX45" fmla="*/ 3873926 w 6086471"/>
                <a:gd name="connsiteY45" fmla="*/ 2670111 h 3060887"/>
                <a:gd name="connsiteX46" fmla="*/ 3873926 w 6086471"/>
                <a:gd name="connsiteY46" fmla="*/ 2665607 h 3060887"/>
                <a:gd name="connsiteX47" fmla="*/ 3229211 w 6086471"/>
                <a:gd name="connsiteY47" fmla="*/ 3057508 h 3060887"/>
                <a:gd name="connsiteX48" fmla="*/ 3229211 w 6086471"/>
                <a:gd name="connsiteY48" fmla="*/ 1801847 h 3060887"/>
                <a:gd name="connsiteX49" fmla="*/ 2936158 w 6086471"/>
                <a:gd name="connsiteY49" fmla="*/ 1801847 h 3060887"/>
                <a:gd name="connsiteX50" fmla="*/ 2936158 w 6086471"/>
                <a:gd name="connsiteY50" fmla="*/ 2641957 h 3060887"/>
                <a:gd name="connsiteX51" fmla="*/ 3229211 w 6086471"/>
                <a:gd name="connsiteY51" fmla="*/ 3060887 h 3060887"/>
                <a:gd name="connsiteX52" fmla="*/ 3229211 w 6086471"/>
                <a:gd name="connsiteY52" fmla="*/ 3057508 h 3060887"/>
                <a:gd name="connsiteX53" fmla="*/ 2585623 w 6086471"/>
                <a:gd name="connsiteY53" fmla="*/ 2796241 h 3060887"/>
                <a:gd name="connsiteX54" fmla="*/ 2585623 w 6086471"/>
                <a:gd name="connsiteY54" fmla="*/ 1801847 h 3060887"/>
                <a:gd name="connsiteX55" fmla="*/ 2291443 w 6086471"/>
                <a:gd name="connsiteY55" fmla="*/ 1801847 h 3060887"/>
                <a:gd name="connsiteX56" fmla="*/ 2291443 w 6086471"/>
                <a:gd name="connsiteY56" fmla="*/ 2380690 h 3060887"/>
                <a:gd name="connsiteX57" fmla="*/ 2585623 w 6086471"/>
                <a:gd name="connsiteY57" fmla="*/ 2799619 h 3060887"/>
                <a:gd name="connsiteX58" fmla="*/ 2585623 w 6086471"/>
                <a:gd name="connsiteY58" fmla="*/ 2796241 h 3060887"/>
                <a:gd name="connsiteX59" fmla="*/ 5478951 w 6086471"/>
                <a:gd name="connsiteY59" fmla="*/ 855877 h 3060887"/>
                <a:gd name="connsiteX60" fmla="*/ 5591663 w 6086471"/>
                <a:gd name="connsiteY60" fmla="*/ 968493 h 3060887"/>
                <a:gd name="connsiteX61" fmla="*/ 5478951 w 6086471"/>
                <a:gd name="connsiteY61" fmla="*/ 1081108 h 3060887"/>
                <a:gd name="connsiteX62" fmla="*/ 5366238 w 6086471"/>
                <a:gd name="connsiteY62" fmla="*/ 968493 h 3060887"/>
                <a:gd name="connsiteX63" fmla="*/ 5478951 w 6086471"/>
                <a:gd name="connsiteY63" fmla="*/ 855877 h 3060887"/>
                <a:gd name="connsiteX0" fmla="*/ 5913097 w 6080809"/>
                <a:gd name="connsiteY0" fmla="*/ 1529524 h 3060887"/>
                <a:gd name="connsiteX1" fmla="*/ 4508497 w 6080809"/>
                <a:gd name="connsiteY1" fmla="*/ 2590154 h 3060887"/>
                <a:gd name="connsiteX2" fmla="*/ 4508497 w 6080809"/>
                <a:gd name="connsiteY2" fmla="*/ 225231 h 3060887"/>
                <a:gd name="connsiteX3" fmla="*/ 5744803 w 6080809"/>
                <a:gd name="connsiteY3" fmla="*/ 894678 h 3060887"/>
                <a:gd name="connsiteX4" fmla="*/ 6080809 w 6080809"/>
                <a:gd name="connsiteY4" fmla="*/ 1119913 h 3060887"/>
                <a:gd name="connsiteX5" fmla="*/ 5913097 w 6080809"/>
                <a:gd name="connsiteY5" fmla="*/ 1529524 h 3060887"/>
                <a:gd name="connsiteX6" fmla="*/ 0 w 6080809"/>
                <a:gd name="connsiteY6" fmla="*/ 324332 h 3060887"/>
                <a:gd name="connsiteX7" fmla="*/ 1127124 w 6080809"/>
                <a:gd name="connsiteY7" fmla="*/ 1259040 h 3060887"/>
                <a:gd name="connsiteX8" fmla="*/ 1653491 w 6080809"/>
                <a:gd name="connsiteY8" fmla="*/ 1259040 h 3060887"/>
                <a:gd name="connsiteX9" fmla="*/ 1653491 w 6080809"/>
                <a:gd name="connsiteY9" fmla="*/ 1072099 h 3060887"/>
                <a:gd name="connsiteX10" fmla="*/ 1942035 w 6080809"/>
                <a:gd name="connsiteY10" fmla="*/ 653169 h 3060887"/>
                <a:gd name="connsiteX11" fmla="*/ 1942035 w 6080809"/>
                <a:gd name="connsiteY11" fmla="*/ 1259040 h 3060887"/>
                <a:gd name="connsiteX12" fmla="*/ 2291443 w 6080809"/>
                <a:gd name="connsiteY12" fmla="*/ 1259040 h 3060887"/>
                <a:gd name="connsiteX13" fmla="*/ 2291443 w 6080809"/>
                <a:gd name="connsiteY13" fmla="*/ 675692 h 3060887"/>
                <a:gd name="connsiteX14" fmla="*/ 2585623 w 6080809"/>
                <a:gd name="connsiteY14" fmla="*/ 256763 h 3060887"/>
                <a:gd name="connsiteX15" fmla="*/ 2585623 w 6080809"/>
                <a:gd name="connsiteY15" fmla="*/ 1254536 h 3060887"/>
                <a:gd name="connsiteX16" fmla="*/ 2936158 w 6080809"/>
                <a:gd name="connsiteY16" fmla="*/ 1254536 h 3060887"/>
                <a:gd name="connsiteX17" fmla="*/ 2936158 w 6080809"/>
                <a:gd name="connsiteY17" fmla="*/ 418929 h 3060887"/>
                <a:gd name="connsiteX18" fmla="*/ 3229211 w 6080809"/>
                <a:gd name="connsiteY18" fmla="*/ 0 h 3060887"/>
                <a:gd name="connsiteX19" fmla="*/ 3229211 w 6080809"/>
                <a:gd name="connsiteY19" fmla="*/ 1259040 h 3060887"/>
                <a:gd name="connsiteX20" fmla="*/ 3579746 w 6080809"/>
                <a:gd name="connsiteY20" fmla="*/ 1259040 h 3060887"/>
                <a:gd name="connsiteX21" fmla="*/ 3579746 w 6080809"/>
                <a:gd name="connsiteY21" fmla="*/ 808579 h 3060887"/>
                <a:gd name="connsiteX22" fmla="*/ 3873926 w 6080809"/>
                <a:gd name="connsiteY22" fmla="*/ 389649 h 3060887"/>
                <a:gd name="connsiteX23" fmla="*/ 3873926 w 6080809"/>
                <a:gd name="connsiteY23" fmla="*/ 1256788 h 3060887"/>
                <a:gd name="connsiteX24" fmla="*/ 4500607 w 6080809"/>
                <a:gd name="connsiteY24" fmla="*/ 1256788 h 3060887"/>
                <a:gd name="connsiteX25" fmla="*/ 4500607 w 6080809"/>
                <a:gd name="connsiteY25" fmla="*/ 1550714 h 3060887"/>
                <a:gd name="connsiteX26" fmla="*/ 715724 w 6080809"/>
                <a:gd name="connsiteY26" fmla="*/ 1550714 h 3060887"/>
                <a:gd name="connsiteX27" fmla="*/ 1014412 w 6080809"/>
                <a:gd name="connsiteY27" fmla="*/ 1639680 h 3060887"/>
                <a:gd name="connsiteX28" fmla="*/ 0 w 6080809"/>
                <a:gd name="connsiteY28" fmla="*/ 2487674 h 3060887"/>
                <a:gd name="connsiteX29" fmla="*/ 144272 w 6080809"/>
                <a:gd name="connsiteY29" fmla="*/ 1670087 h 3060887"/>
                <a:gd name="connsiteX30" fmla="*/ 518477 w 6080809"/>
                <a:gd name="connsiteY30" fmla="*/ 1406566 h 3060887"/>
                <a:gd name="connsiteX31" fmla="*/ 308832 w 6080809"/>
                <a:gd name="connsiteY31" fmla="*/ 1259040 h 3060887"/>
                <a:gd name="connsiteX32" fmla="*/ 308832 w 6080809"/>
                <a:gd name="connsiteY32" fmla="*/ 1259040 h 3060887"/>
                <a:gd name="connsiteX33" fmla="*/ 143145 w 6080809"/>
                <a:gd name="connsiteY33" fmla="*/ 1146425 h 3060887"/>
                <a:gd name="connsiteX34" fmla="*/ 0 w 6080809"/>
                <a:gd name="connsiteY34" fmla="*/ 324332 h 3060887"/>
                <a:gd name="connsiteX35" fmla="*/ 1942035 w 6080809"/>
                <a:gd name="connsiteY35" fmla="*/ 2405465 h 3060887"/>
                <a:gd name="connsiteX36" fmla="*/ 1942035 w 6080809"/>
                <a:gd name="connsiteY36" fmla="*/ 1801847 h 3060887"/>
                <a:gd name="connsiteX37" fmla="*/ 1647856 w 6080809"/>
                <a:gd name="connsiteY37" fmla="*/ 1801847 h 3060887"/>
                <a:gd name="connsiteX38" fmla="*/ 1647856 w 6080809"/>
                <a:gd name="connsiteY38" fmla="*/ 1989914 h 3060887"/>
                <a:gd name="connsiteX39" fmla="*/ 1942035 w 6080809"/>
                <a:gd name="connsiteY39" fmla="*/ 2408844 h 3060887"/>
                <a:gd name="connsiteX40" fmla="*/ 1942035 w 6080809"/>
                <a:gd name="connsiteY40" fmla="*/ 2405465 h 3060887"/>
                <a:gd name="connsiteX41" fmla="*/ 3873926 w 6080809"/>
                <a:gd name="connsiteY41" fmla="*/ 2665607 h 3060887"/>
                <a:gd name="connsiteX42" fmla="*/ 3873926 w 6080809"/>
                <a:gd name="connsiteY42" fmla="*/ 1801847 h 3060887"/>
                <a:gd name="connsiteX43" fmla="*/ 3579746 w 6080809"/>
                <a:gd name="connsiteY43" fmla="*/ 1801847 h 3060887"/>
                <a:gd name="connsiteX44" fmla="*/ 3579746 w 6080809"/>
                <a:gd name="connsiteY44" fmla="*/ 2252308 h 3060887"/>
                <a:gd name="connsiteX45" fmla="*/ 3873926 w 6080809"/>
                <a:gd name="connsiteY45" fmla="*/ 2670111 h 3060887"/>
                <a:gd name="connsiteX46" fmla="*/ 3873926 w 6080809"/>
                <a:gd name="connsiteY46" fmla="*/ 2665607 h 3060887"/>
                <a:gd name="connsiteX47" fmla="*/ 3229211 w 6080809"/>
                <a:gd name="connsiteY47" fmla="*/ 3057508 h 3060887"/>
                <a:gd name="connsiteX48" fmla="*/ 3229211 w 6080809"/>
                <a:gd name="connsiteY48" fmla="*/ 1801847 h 3060887"/>
                <a:gd name="connsiteX49" fmla="*/ 2936158 w 6080809"/>
                <a:gd name="connsiteY49" fmla="*/ 1801847 h 3060887"/>
                <a:gd name="connsiteX50" fmla="*/ 2936158 w 6080809"/>
                <a:gd name="connsiteY50" fmla="*/ 2641957 h 3060887"/>
                <a:gd name="connsiteX51" fmla="*/ 3229211 w 6080809"/>
                <a:gd name="connsiteY51" fmla="*/ 3060887 h 3060887"/>
                <a:gd name="connsiteX52" fmla="*/ 3229211 w 6080809"/>
                <a:gd name="connsiteY52" fmla="*/ 3057508 h 3060887"/>
                <a:gd name="connsiteX53" fmla="*/ 2585623 w 6080809"/>
                <a:gd name="connsiteY53" fmla="*/ 2796241 h 3060887"/>
                <a:gd name="connsiteX54" fmla="*/ 2585623 w 6080809"/>
                <a:gd name="connsiteY54" fmla="*/ 1801847 h 3060887"/>
                <a:gd name="connsiteX55" fmla="*/ 2291443 w 6080809"/>
                <a:gd name="connsiteY55" fmla="*/ 1801847 h 3060887"/>
                <a:gd name="connsiteX56" fmla="*/ 2291443 w 6080809"/>
                <a:gd name="connsiteY56" fmla="*/ 2380690 h 3060887"/>
                <a:gd name="connsiteX57" fmla="*/ 2585623 w 6080809"/>
                <a:gd name="connsiteY57" fmla="*/ 2799619 h 3060887"/>
                <a:gd name="connsiteX58" fmla="*/ 2585623 w 6080809"/>
                <a:gd name="connsiteY58" fmla="*/ 2796241 h 3060887"/>
                <a:gd name="connsiteX59" fmla="*/ 5478951 w 6080809"/>
                <a:gd name="connsiteY59" fmla="*/ 855877 h 3060887"/>
                <a:gd name="connsiteX60" fmla="*/ 5591663 w 6080809"/>
                <a:gd name="connsiteY60" fmla="*/ 968493 h 3060887"/>
                <a:gd name="connsiteX61" fmla="*/ 5478951 w 6080809"/>
                <a:gd name="connsiteY61" fmla="*/ 1081108 h 3060887"/>
                <a:gd name="connsiteX62" fmla="*/ 5366238 w 6080809"/>
                <a:gd name="connsiteY62" fmla="*/ 968493 h 3060887"/>
                <a:gd name="connsiteX63" fmla="*/ 5478951 w 6080809"/>
                <a:gd name="connsiteY63" fmla="*/ 855877 h 3060887"/>
                <a:gd name="connsiteX0" fmla="*/ 5913097 w 5942295"/>
                <a:gd name="connsiteY0" fmla="*/ 1529524 h 3060887"/>
                <a:gd name="connsiteX1" fmla="*/ 4508497 w 5942295"/>
                <a:gd name="connsiteY1" fmla="*/ 2590154 h 3060887"/>
                <a:gd name="connsiteX2" fmla="*/ 4508497 w 5942295"/>
                <a:gd name="connsiteY2" fmla="*/ 225231 h 3060887"/>
                <a:gd name="connsiteX3" fmla="*/ 5744803 w 5942295"/>
                <a:gd name="connsiteY3" fmla="*/ 894678 h 3060887"/>
                <a:gd name="connsiteX4" fmla="*/ 5942295 w 5942295"/>
                <a:gd name="connsiteY4" fmla="*/ 1105580 h 3060887"/>
                <a:gd name="connsiteX5" fmla="*/ 5913097 w 5942295"/>
                <a:gd name="connsiteY5" fmla="*/ 1529524 h 3060887"/>
                <a:gd name="connsiteX6" fmla="*/ 0 w 5942295"/>
                <a:gd name="connsiteY6" fmla="*/ 324332 h 3060887"/>
                <a:gd name="connsiteX7" fmla="*/ 1127124 w 5942295"/>
                <a:gd name="connsiteY7" fmla="*/ 1259040 h 3060887"/>
                <a:gd name="connsiteX8" fmla="*/ 1653491 w 5942295"/>
                <a:gd name="connsiteY8" fmla="*/ 1259040 h 3060887"/>
                <a:gd name="connsiteX9" fmla="*/ 1653491 w 5942295"/>
                <a:gd name="connsiteY9" fmla="*/ 1072099 h 3060887"/>
                <a:gd name="connsiteX10" fmla="*/ 1942035 w 5942295"/>
                <a:gd name="connsiteY10" fmla="*/ 653169 h 3060887"/>
                <a:gd name="connsiteX11" fmla="*/ 1942035 w 5942295"/>
                <a:gd name="connsiteY11" fmla="*/ 1259040 h 3060887"/>
                <a:gd name="connsiteX12" fmla="*/ 2291443 w 5942295"/>
                <a:gd name="connsiteY12" fmla="*/ 1259040 h 3060887"/>
                <a:gd name="connsiteX13" fmla="*/ 2291443 w 5942295"/>
                <a:gd name="connsiteY13" fmla="*/ 675692 h 3060887"/>
                <a:gd name="connsiteX14" fmla="*/ 2585623 w 5942295"/>
                <a:gd name="connsiteY14" fmla="*/ 256763 h 3060887"/>
                <a:gd name="connsiteX15" fmla="*/ 2585623 w 5942295"/>
                <a:gd name="connsiteY15" fmla="*/ 1254536 h 3060887"/>
                <a:gd name="connsiteX16" fmla="*/ 2936158 w 5942295"/>
                <a:gd name="connsiteY16" fmla="*/ 1254536 h 3060887"/>
                <a:gd name="connsiteX17" fmla="*/ 2936158 w 5942295"/>
                <a:gd name="connsiteY17" fmla="*/ 418929 h 3060887"/>
                <a:gd name="connsiteX18" fmla="*/ 3229211 w 5942295"/>
                <a:gd name="connsiteY18" fmla="*/ 0 h 3060887"/>
                <a:gd name="connsiteX19" fmla="*/ 3229211 w 5942295"/>
                <a:gd name="connsiteY19" fmla="*/ 1259040 h 3060887"/>
                <a:gd name="connsiteX20" fmla="*/ 3579746 w 5942295"/>
                <a:gd name="connsiteY20" fmla="*/ 1259040 h 3060887"/>
                <a:gd name="connsiteX21" fmla="*/ 3579746 w 5942295"/>
                <a:gd name="connsiteY21" fmla="*/ 808579 h 3060887"/>
                <a:gd name="connsiteX22" fmla="*/ 3873926 w 5942295"/>
                <a:gd name="connsiteY22" fmla="*/ 389649 h 3060887"/>
                <a:gd name="connsiteX23" fmla="*/ 3873926 w 5942295"/>
                <a:gd name="connsiteY23" fmla="*/ 1256788 h 3060887"/>
                <a:gd name="connsiteX24" fmla="*/ 4500607 w 5942295"/>
                <a:gd name="connsiteY24" fmla="*/ 1256788 h 3060887"/>
                <a:gd name="connsiteX25" fmla="*/ 4500607 w 5942295"/>
                <a:gd name="connsiteY25" fmla="*/ 1550714 h 3060887"/>
                <a:gd name="connsiteX26" fmla="*/ 715724 w 5942295"/>
                <a:gd name="connsiteY26" fmla="*/ 1550714 h 3060887"/>
                <a:gd name="connsiteX27" fmla="*/ 1014412 w 5942295"/>
                <a:gd name="connsiteY27" fmla="*/ 1639680 h 3060887"/>
                <a:gd name="connsiteX28" fmla="*/ 0 w 5942295"/>
                <a:gd name="connsiteY28" fmla="*/ 2487674 h 3060887"/>
                <a:gd name="connsiteX29" fmla="*/ 144272 w 5942295"/>
                <a:gd name="connsiteY29" fmla="*/ 1670087 h 3060887"/>
                <a:gd name="connsiteX30" fmla="*/ 518477 w 5942295"/>
                <a:gd name="connsiteY30" fmla="*/ 1406566 h 3060887"/>
                <a:gd name="connsiteX31" fmla="*/ 308832 w 5942295"/>
                <a:gd name="connsiteY31" fmla="*/ 1259040 h 3060887"/>
                <a:gd name="connsiteX32" fmla="*/ 308832 w 5942295"/>
                <a:gd name="connsiteY32" fmla="*/ 1259040 h 3060887"/>
                <a:gd name="connsiteX33" fmla="*/ 143145 w 5942295"/>
                <a:gd name="connsiteY33" fmla="*/ 1146425 h 3060887"/>
                <a:gd name="connsiteX34" fmla="*/ 0 w 5942295"/>
                <a:gd name="connsiteY34" fmla="*/ 324332 h 3060887"/>
                <a:gd name="connsiteX35" fmla="*/ 1942035 w 5942295"/>
                <a:gd name="connsiteY35" fmla="*/ 2405465 h 3060887"/>
                <a:gd name="connsiteX36" fmla="*/ 1942035 w 5942295"/>
                <a:gd name="connsiteY36" fmla="*/ 1801847 h 3060887"/>
                <a:gd name="connsiteX37" fmla="*/ 1647856 w 5942295"/>
                <a:gd name="connsiteY37" fmla="*/ 1801847 h 3060887"/>
                <a:gd name="connsiteX38" fmla="*/ 1647856 w 5942295"/>
                <a:gd name="connsiteY38" fmla="*/ 1989914 h 3060887"/>
                <a:gd name="connsiteX39" fmla="*/ 1942035 w 5942295"/>
                <a:gd name="connsiteY39" fmla="*/ 2408844 h 3060887"/>
                <a:gd name="connsiteX40" fmla="*/ 1942035 w 5942295"/>
                <a:gd name="connsiteY40" fmla="*/ 2405465 h 3060887"/>
                <a:gd name="connsiteX41" fmla="*/ 3873926 w 5942295"/>
                <a:gd name="connsiteY41" fmla="*/ 2665607 h 3060887"/>
                <a:gd name="connsiteX42" fmla="*/ 3873926 w 5942295"/>
                <a:gd name="connsiteY42" fmla="*/ 1801847 h 3060887"/>
                <a:gd name="connsiteX43" fmla="*/ 3579746 w 5942295"/>
                <a:gd name="connsiteY43" fmla="*/ 1801847 h 3060887"/>
                <a:gd name="connsiteX44" fmla="*/ 3579746 w 5942295"/>
                <a:gd name="connsiteY44" fmla="*/ 2252308 h 3060887"/>
                <a:gd name="connsiteX45" fmla="*/ 3873926 w 5942295"/>
                <a:gd name="connsiteY45" fmla="*/ 2670111 h 3060887"/>
                <a:gd name="connsiteX46" fmla="*/ 3873926 w 5942295"/>
                <a:gd name="connsiteY46" fmla="*/ 2665607 h 3060887"/>
                <a:gd name="connsiteX47" fmla="*/ 3229211 w 5942295"/>
                <a:gd name="connsiteY47" fmla="*/ 3057508 h 3060887"/>
                <a:gd name="connsiteX48" fmla="*/ 3229211 w 5942295"/>
                <a:gd name="connsiteY48" fmla="*/ 1801847 h 3060887"/>
                <a:gd name="connsiteX49" fmla="*/ 2936158 w 5942295"/>
                <a:gd name="connsiteY49" fmla="*/ 1801847 h 3060887"/>
                <a:gd name="connsiteX50" fmla="*/ 2936158 w 5942295"/>
                <a:gd name="connsiteY50" fmla="*/ 2641957 h 3060887"/>
                <a:gd name="connsiteX51" fmla="*/ 3229211 w 5942295"/>
                <a:gd name="connsiteY51" fmla="*/ 3060887 h 3060887"/>
                <a:gd name="connsiteX52" fmla="*/ 3229211 w 5942295"/>
                <a:gd name="connsiteY52" fmla="*/ 3057508 h 3060887"/>
                <a:gd name="connsiteX53" fmla="*/ 2585623 w 5942295"/>
                <a:gd name="connsiteY53" fmla="*/ 2796241 h 3060887"/>
                <a:gd name="connsiteX54" fmla="*/ 2585623 w 5942295"/>
                <a:gd name="connsiteY54" fmla="*/ 1801847 h 3060887"/>
                <a:gd name="connsiteX55" fmla="*/ 2291443 w 5942295"/>
                <a:gd name="connsiteY55" fmla="*/ 1801847 h 3060887"/>
                <a:gd name="connsiteX56" fmla="*/ 2291443 w 5942295"/>
                <a:gd name="connsiteY56" fmla="*/ 2380690 h 3060887"/>
                <a:gd name="connsiteX57" fmla="*/ 2585623 w 5942295"/>
                <a:gd name="connsiteY57" fmla="*/ 2799619 h 3060887"/>
                <a:gd name="connsiteX58" fmla="*/ 2585623 w 5942295"/>
                <a:gd name="connsiteY58" fmla="*/ 2796241 h 3060887"/>
                <a:gd name="connsiteX59" fmla="*/ 5478951 w 5942295"/>
                <a:gd name="connsiteY59" fmla="*/ 855877 h 3060887"/>
                <a:gd name="connsiteX60" fmla="*/ 5591663 w 5942295"/>
                <a:gd name="connsiteY60" fmla="*/ 968493 h 3060887"/>
                <a:gd name="connsiteX61" fmla="*/ 5478951 w 5942295"/>
                <a:gd name="connsiteY61" fmla="*/ 1081108 h 3060887"/>
                <a:gd name="connsiteX62" fmla="*/ 5366238 w 5942295"/>
                <a:gd name="connsiteY62" fmla="*/ 968493 h 3060887"/>
                <a:gd name="connsiteX63" fmla="*/ 5478951 w 5942295"/>
                <a:gd name="connsiteY63" fmla="*/ 855877 h 3060887"/>
                <a:gd name="connsiteX0" fmla="*/ 5913097 w 6034638"/>
                <a:gd name="connsiteY0" fmla="*/ 1529524 h 3060887"/>
                <a:gd name="connsiteX1" fmla="*/ 4508497 w 6034638"/>
                <a:gd name="connsiteY1" fmla="*/ 2590154 h 3060887"/>
                <a:gd name="connsiteX2" fmla="*/ 4508497 w 6034638"/>
                <a:gd name="connsiteY2" fmla="*/ 225231 h 3060887"/>
                <a:gd name="connsiteX3" fmla="*/ 5744803 w 6034638"/>
                <a:gd name="connsiteY3" fmla="*/ 894678 h 3060887"/>
                <a:gd name="connsiteX4" fmla="*/ 6034638 w 6034638"/>
                <a:gd name="connsiteY4" fmla="*/ 1291905 h 3060887"/>
                <a:gd name="connsiteX5" fmla="*/ 5913097 w 6034638"/>
                <a:gd name="connsiteY5" fmla="*/ 1529524 h 3060887"/>
                <a:gd name="connsiteX6" fmla="*/ 0 w 6034638"/>
                <a:gd name="connsiteY6" fmla="*/ 324332 h 3060887"/>
                <a:gd name="connsiteX7" fmla="*/ 1127124 w 6034638"/>
                <a:gd name="connsiteY7" fmla="*/ 1259040 h 3060887"/>
                <a:gd name="connsiteX8" fmla="*/ 1653491 w 6034638"/>
                <a:gd name="connsiteY8" fmla="*/ 1259040 h 3060887"/>
                <a:gd name="connsiteX9" fmla="*/ 1653491 w 6034638"/>
                <a:gd name="connsiteY9" fmla="*/ 1072099 h 3060887"/>
                <a:gd name="connsiteX10" fmla="*/ 1942035 w 6034638"/>
                <a:gd name="connsiteY10" fmla="*/ 653169 h 3060887"/>
                <a:gd name="connsiteX11" fmla="*/ 1942035 w 6034638"/>
                <a:gd name="connsiteY11" fmla="*/ 1259040 h 3060887"/>
                <a:gd name="connsiteX12" fmla="*/ 2291443 w 6034638"/>
                <a:gd name="connsiteY12" fmla="*/ 1259040 h 3060887"/>
                <a:gd name="connsiteX13" fmla="*/ 2291443 w 6034638"/>
                <a:gd name="connsiteY13" fmla="*/ 675692 h 3060887"/>
                <a:gd name="connsiteX14" fmla="*/ 2585623 w 6034638"/>
                <a:gd name="connsiteY14" fmla="*/ 256763 h 3060887"/>
                <a:gd name="connsiteX15" fmla="*/ 2585623 w 6034638"/>
                <a:gd name="connsiteY15" fmla="*/ 1254536 h 3060887"/>
                <a:gd name="connsiteX16" fmla="*/ 2936158 w 6034638"/>
                <a:gd name="connsiteY16" fmla="*/ 1254536 h 3060887"/>
                <a:gd name="connsiteX17" fmla="*/ 2936158 w 6034638"/>
                <a:gd name="connsiteY17" fmla="*/ 418929 h 3060887"/>
                <a:gd name="connsiteX18" fmla="*/ 3229211 w 6034638"/>
                <a:gd name="connsiteY18" fmla="*/ 0 h 3060887"/>
                <a:gd name="connsiteX19" fmla="*/ 3229211 w 6034638"/>
                <a:gd name="connsiteY19" fmla="*/ 1259040 h 3060887"/>
                <a:gd name="connsiteX20" fmla="*/ 3579746 w 6034638"/>
                <a:gd name="connsiteY20" fmla="*/ 1259040 h 3060887"/>
                <a:gd name="connsiteX21" fmla="*/ 3579746 w 6034638"/>
                <a:gd name="connsiteY21" fmla="*/ 808579 h 3060887"/>
                <a:gd name="connsiteX22" fmla="*/ 3873926 w 6034638"/>
                <a:gd name="connsiteY22" fmla="*/ 389649 h 3060887"/>
                <a:gd name="connsiteX23" fmla="*/ 3873926 w 6034638"/>
                <a:gd name="connsiteY23" fmla="*/ 1256788 h 3060887"/>
                <a:gd name="connsiteX24" fmla="*/ 4500607 w 6034638"/>
                <a:gd name="connsiteY24" fmla="*/ 1256788 h 3060887"/>
                <a:gd name="connsiteX25" fmla="*/ 4500607 w 6034638"/>
                <a:gd name="connsiteY25" fmla="*/ 1550714 h 3060887"/>
                <a:gd name="connsiteX26" fmla="*/ 715724 w 6034638"/>
                <a:gd name="connsiteY26" fmla="*/ 1550714 h 3060887"/>
                <a:gd name="connsiteX27" fmla="*/ 1014412 w 6034638"/>
                <a:gd name="connsiteY27" fmla="*/ 1639680 h 3060887"/>
                <a:gd name="connsiteX28" fmla="*/ 0 w 6034638"/>
                <a:gd name="connsiteY28" fmla="*/ 2487674 h 3060887"/>
                <a:gd name="connsiteX29" fmla="*/ 144272 w 6034638"/>
                <a:gd name="connsiteY29" fmla="*/ 1670087 h 3060887"/>
                <a:gd name="connsiteX30" fmla="*/ 518477 w 6034638"/>
                <a:gd name="connsiteY30" fmla="*/ 1406566 h 3060887"/>
                <a:gd name="connsiteX31" fmla="*/ 308832 w 6034638"/>
                <a:gd name="connsiteY31" fmla="*/ 1259040 h 3060887"/>
                <a:gd name="connsiteX32" fmla="*/ 308832 w 6034638"/>
                <a:gd name="connsiteY32" fmla="*/ 1259040 h 3060887"/>
                <a:gd name="connsiteX33" fmla="*/ 143145 w 6034638"/>
                <a:gd name="connsiteY33" fmla="*/ 1146425 h 3060887"/>
                <a:gd name="connsiteX34" fmla="*/ 0 w 6034638"/>
                <a:gd name="connsiteY34" fmla="*/ 324332 h 3060887"/>
                <a:gd name="connsiteX35" fmla="*/ 1942035 w 6034638"/>
                <a:gd name="connsiteY35" fmla="*/ 2405465 h 3060887"/>
                <a:gd name="connsiteX36" fmla="*/ 1942035 w 6034638"/>
                <a:gd name="connsiteY36" fmla="*/ 1801847 h 3060887"/>
                <a:gd name="connsiteX37" fmla="*/ 1647856 w 6034638"/>
                <a:gd name="connsiteY37" fmla="*/ 1801847 h 3060887"/>
                <a:gd name="connsiteX38" fmla="*/ 1647856 w 6034638"/>
                <a:gd name="connsiteY38" fmla="*/ 1989914 h 3060887"/>
                <a:gd name="connsiteX39" fmla="*/ 1942035 w 6034638"/>
                <a:gd name="connsiteY39" fmla="*/ 2408844 h 3060887"/>
                <a:gd name="connsiteX40" fmla="*/ 1942035 w 6034638"/>
                <a:gd name="connsiteY40" fmla="*/ 2405465 h 3060887"/>
                <a:gd name="connsiteX41" fmla="*/ 3873926 w 6034638"/>
                <a:gd name="connsiteY41" fmla="*/ 2665607 h 3060887"/>
                <a:gd name="connsiteX42" fmla="*/ 3873926 w 6034638"/>
                <a:gd name="connsiteY42" fmla="*/ 1801847 h 3060887"/>
                <a:gd name="connsiteX43" fmla="*/ 3579746 w 6034638"/>
                <a:gd name="connsiteY43" fmla="*/ 1801847 h 3060887"/>
                <a:gd name="connsiteX44" fmla="*/ 3579746 w 6034638"/>
                <a:gd name="connsiteY44" fmla="*/ 2252308 h 3060887"/>
                <a:gd name="connsiteX45" fmla="*/ 3873926 w 6034638"/>
                <a:gd name="connsiteY45" fmla="*/ 2670111 h 3060887"/>
                <a:gd name="connsiteX46" fmla="*/ 3873926 w 6034638"/>
                <a:gd name="connsiteY46" fmla="*/ 2665607 h 3060887"/>
                <a:gd name="connsiteX47" fmla="*/ 3229211 w 6034638"/>
                <a:gd name="connsiteY47" fmla="*/ 3057508 h 3060887"/>
                <a:gd name="connsiteX48" fmla="*/ 3229211 w 6034638"/>
                <a:gd name="connsiteY48" fmla="*/ 1801847 h 3060887"/>
                <a:gd name="connsiteX49" fmla="*/ 2936158 w 6034638"/>
                <a:gd name="connsiteY49" fmla="*/ 1801847 h 3060887"/>
                <a:gd name="connsiteX50" fmla="*/ 2936158 w 6034638"/>
                <a:gd name="connsiteY50" fmla="*/ 2641957 h 3060887"/>
                <a:gd name="connsiteX51" fmla="*/ 3229211 w 6034638"/>
                <a:gd name="connsiteY51" fmla="*/ 3060887 h 3060887"/>
                <a:gd name="connsiteX52" fmla="*/ 3229211 w 6034638"/>
                <a:gd name="connsiteY52" fmla="*/ 3057508 h 3060887"/>
                <a:gd name="connsiteX53" fmla="*/ 2585623 w 6034638"/>
                <a:gd name="connsiteY53" fmla="*/ 2796241 h 3060887"/>
                <a:gd name="connsiteX54" fmla="*/ 2585623 w 6034638"/>
                <a:gd name="connsiteY54" fmla="*/ 1801847 h 3060887"/>
                <a:gd name="connsiteX55" fmla="*/ 2291443 w 6034638"/>
                <a:gd name="connsiteY55" fmla="*/ 1801847 h 3060887"/>
                <a:gd name="connsiteX56" fmla="*/ 2291443 w 6034638"/>
                <a:gd name="connsiteY56" fmla="*/ 2380690 h 3060887"/>
                <a:gd name="connsiteX57" fmla="*/ 2585623 w 6034638"/>
                <a:gd name="connsiteY57" fmla="*/ 2799619 h 3060887"/>
                <a:gd name="connsiteX58" fmla="*/ 2585623 w 6034638"/>
                <a:gd name="connsiteY58" fmla="*/ 2796241 h 3060887"/>
                <a:gd name="connsiteX59" fmla="*/ 5478951 w 6034638"/>
                <a:gd name="connsiteY59" fmla="*/ 855877 h 3060887"/>
                <a:gd name="connsiteX60" fmla="*/ 5591663 w 6034638"/>
                <a:gd name="connsiteY60" fmla="*/ 968493 h 3060887"/>
                <a:gd name="connsiteX61" fmla="*/ 5478951 w 6034638"/>
                <a:gd name="connsiteY61" fmla="*/ 1081108 h 3060887"/>
                <a:gd name="connsiteX62" fmla="*/ 5366238 w 6034638"/>
                <a:gd name="connsiteY62" fmla="*/ 968493 h 3060887"/>
                <a:gd name="connsiteX63" fmla="*/ 5478951 w 6034638"/>
                <a:gd name="connsiteY63" fmla="*/ 855877 h 3060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6034638" h="3060887">
                  <a:moveTo>
                    <a:pt x="5913097" y="1529524"/>
                  </a:moveTo>
                  <a:lnTo>
                    <a:pt x="4508497" y="2590154"/>
                  </a:lnTo>
                  <a:lnTo>
                    <a:pt x="4508497" y="225231"/>
                  </a:lnTo>
                  <a:lnTo>
                    <a:pt x="5744803" y="894678"/>
                  </a:lnTo>
                  <a:lnTo>
                    <a:pt x="6034638" y="1291905"/>
                  </a:lnTo>
                  <a:lnTo>
                    <a:pt x="5913097" y="1529524"/>
                  </a:lnTo>
                  <a:close/>
                  <a:moveTo>
                    <a:pt x="0" y="324332"/>
                  </a:moveTo>
                  <a:lnTo>
                    <a:pt x="1127124" y="1259040"/>
                  </a:lnTo>
                  <a:lnTo>
                    <a:pt x="1653491" y="1259040"/>
                  </a:lnTo>
                  <a:lnTo>
                    <a:pt x="1653491" y="1072099"/>
                  </a:lnTo>
                  <a:lnTo>
                    <a:pt x="1942035" y="653169"/>
                  </a:lnTo>
                  <a:lnTo>
                    <a:pt x="1942035" y="1259040"/>
                  </a:lnTo>
                  <a:lnTo>
                    <a:pt x="2291443" y="1259040"/>
                  </a:lnTo>
                  <a:lnTo>
                    <a:pt x="2291443" y="675692"/>
                  </a:lnTo>
                  <a:lnTo>
                    <a:pt x="2585623" y="256763"/>
                  </a:lnTo>
                  <a:lnTo>
                    <a:pt x="2585623" y="1254536"/>
                  </a:lnTo>
                  <a:lnTo>
                    <a:pt x="2936158" y="1254536"/>
                  </a:lnTo>
                  <a:lnTo>
                    <a:pt x="2936158" y="418929"/>
                  </a:lnTo>
                  <a:lnTo>
                    <a:pt x="3229211" y="0"/>
                  </a:lnTo>
                  <a:lnTo>
                    <a:pt x="3229211" y="1259040"/>
                  </a:lnTo>
                  <a:lnTo>
                    <a:pt x="3579746" y="1259040"/>
                  </a:lnTo>
                  <a:lnTo>
                    <a:pt x="3579746" y="808579"/>
                  </a:lnTo>
                  <a:lnTo>
                    <a:pt x="3873926" y="389649"/>
                  </a:lnTo>
                  <a:lnTo>
                    <a:pt x="3873926" y="1256788"/>
                  </a:lnTo>
                  <a:lnTo>
                    <a:pt x="4500607" y="1256788"/>
                  </a:lnTo>
                  <a:lnTo>
                    <a:pt x="4500607" y="1550714"/>
                  </a:lnTo>
                  <a:lnTo>
                    <a:pt x="715724" y="1550714"/>
                  </a:lnTo>
                  <a:lnTo>
                    <a:pt x="1014412" y="1639680"/>
                  </a:lnTo>
                  <a:lnTo>
                    <a:pt x="0" y="2487674"/>
                  </a:lnTo>
                  <a:lnTo>
                    <a:pt x="144272" y="1670087"/>
                  </a:lnTo>
                  <a:lnTo>
                    <a:pt x="518477" y="1406566"/>
                  </a:lnTo>
                  <a:lnTo>
                    <a:pt x="308832" y="1259040"/>
                  </a:lnTo>
                  <a:lnTo>
                    <a:pt x="308832" y="1259040"/>
                  </a:lnTo>
                  <a:lnTo>
                    <a:pt x="143145" y="1146425"/>
                  </a:lnTo>
                  <a:lnTo>
                    <a:pt x="0" y="324332"/>
                  </a:lnTo>
                  <a:close/>
                  <a:moveTo>
                    <a:pt x="1942035" y="2405465"/>
                  </a:moveTo>
                  <a:lnTo>
                    <a:pt x="1942035" y="1801847"/>
                  </a:lnTo>
                  <a:lnTo>
                    <a:pt x="1647856" y="1801847"/>
                  </a:lnTo>
                  <a:lnTo>
                    <a:pt x="1647856" y="1989914"/>
                  </a:lnTo>
                  <a:lnTo>
                    <a:pt x="1942035" y="2408844"/>
                  </a:lnTo>
                  <a:lnTo>
                    <a:pt x="1942035" y="2405465"/>
                  </a:lnTo>
                  <a:close/>
                  <a:moveTo>
                    <a:pt x="3873926" y="2665607"/>
                  </a:moveTo>
                  <a:lnTo>
                    <a:pt x="3873926" y="1801847"/>
                  </a:lnTo>
                  <a:lnTo>
                    <a:pt x="3579746" y="1801847"/>
                  </a:lnTo>
                  <a:lnTo>
                    <a:pt x="3579746" y="2252308"/>
                  </a:lnTo>
                  <a:lnTo>
                    <a:pt x="3873926" y="2670111"/>
                  </a:lnTo>
                  <a:lnTo>
                    <a:pt x="3873926" y="2665607"/>
                  </a:lnTo>
                  <a:close/>
                  <a:moveTo>
                    <a:pt x="3229211" y="3057508"/>
                  </a:moveTo>
                  <a:lnTo>
                    <a:pt x="3229211" y="1801847"/>
                  </a:lnTo>
                  <a:lnTo>
                    <a:pt x="2936158" y="1801847"/>
                  </a:lnTo>
                  <a:lnTo>
                    <a:pt x="2936158" y="2641957"/>
                  </a:lnTo>
                  <a:lnTo>
                    <a:pt x="3229211" y="3060887"/>
                  </a:lnTo>
                  <a:lnTo>
                    <a:pt x="3229211" y="3057508"/>
                  </a:lnTo>
                  <a:close/>
                  <a:moveTo>
                    <a:pt x="2585623" y="2796241"/>
                  </a:moveTo>
                  <a:lnTo>
                    <a:pt x="2585623" y="1801847"/>
                  </a:lnTo>
                  <a:lnTo>
                    <a:pt x="2291443" y="1801847"/>
                  </a:lnTo>
                  <a:lnTo>
                    <a:pt x="2291443" y="2380690"/>
                  </a:lnTo>
                  <a:lnTo>
                    <a:pt x="2585623" y="2799619"/>
                  </a:lnTo>
                  <a:lnTo>
                    <a:pt x="2585623" y="2796241"/>
                  </a:lnTo>
                  <a:close/>
                  <a:moveTo>
                    <a:pt x="5478951" y="855877"/>
                  </a:moveTo>
                  <a:cubicBezTo>
                    <a:pt x="5541200" y="855877"/>
                    <a:pt x="5591663" y="906297"/>
                    <a:pt x="5591663" y="968493"/>
                  </a:cubicBezTo>
                  <a:cubicBezTo>
                    <a:pt x="5591663" y="1030688"/>
                    <a:pt x="5541200" y="1081108"/>
                    <a:pt x="5478951" y="1081108"/>
                  </a:cubicBezTo>
                  <a:cubicBezTo>
                    <a:pt x="5416701" y="1081108"/>
                    <a:pt x="5366238" y="1030688"/>
                    <a:pt x="5366238" y="968493"/>
                  </a:cubicBezTo>
                  <a:cubicBezTo>
                    <a:pt x="5366238" y="906297"/>
                    <a:pt x="5416701" y="855877"/>
                    <a:pt x="5478951" y="855877"/>
                  </a:cubicBezTo>
                  <a:close/>
                </a:path>
              </a:pathLst>
            </a:custGeom>
            <a:solidFill>
              <a:schemeClr val="accent6"/>
            </a:solidFill>
            <a:ln w="1126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EG" sz="1800" b="0" i="0" u="none" strike="noStrike" kern="1200" cap="none" spc="0" normalizeH="0" baseline="0" noProof="0" dirty="0">
                <a:ln>
                  <a:noFill/>
                </a:ln>
                <a:solidFill>
                  <a:srgbClr val="000000"/>
                </a:solidFill>
                <a:effectLst/>
                <a:uLnTx/>
                <a:uFillTx/>
                <a:latin typeface="Arial"/>
                <a:cs typeface="+mn-cs"/>
              </a:endParaRPr>
            </a:p>
          </p:txBody>
        </p:sp>
        <p:sp>
          <p:nvSpPr>
            <p:cNvPr id="11" name="Rectangle 11">
              <a:extLst>
                <a:ext uri="{FF2B5EF4-FFF2-40B4-BE49-F238E27FC236}">
                  <a16:creationId xmlns:a16="http://schemas.microsoft.com/office/drawing/2014/main" id="{48EE4611-4A95-4539-93B0-B202B3618615}"/>
                </a:ext>
              </a:extLst>
            </p:cNvPr>
            <p:cNvSpPr/>
            <p:nvPr/>
          </p:nvSpPr>
          <p:spPr>
            <a:xfrm flipH="1">
              <a:off x="1685992" y="5401701"/>
              <a:ext cx="1952363" cy="507831"/>
            </a:xfrm>
            <a:prstGeom prst="rect">
              <a:avLst/>
            </a:prstGeom>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rPr>
                <a:t>Insert Title Her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Lorem ipsum dolor sit amet, </a:t>
              </a:r>
              <a:r>
                <a:rPr kumimoji="0" lang="en-US" sz="1050" b="0" i="0" u="none" strike="noStrike" kern="1200" cap="none" spc="0" normalizeH="0" baseline="0" noProof="0" dirty="0" err="1">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consectetuer</a:t>
              </a:r>
              <a:r>
                <a:rPr kumimoji="0" lang="en-US" sz="1050" b="0" i="0" u="none" strike="noStrike" kern="1200" cap="none" spc="0" normalizeH="0" baseline="0" noProof="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US" sz="1050" b="0" i="0" u="none" strike="noStrike" kern="1200" cap="none" spc="0" normalizeH="0" baseline="0" noProof="0" dirty="0" err="1">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adipiscing</a:t>
              </a:r>
              <a:r>
                <a:rPr kumimoji="0" lang="en-US" sz="1050" b="0" i="0" u="none" strike="noStrike" kern="1200" cap="none" spc="0" normalizeH="0" baseline="0" noProof="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US" sz="1050" b="0" i="0" u="none" strike="noStrike" kern="1200" cap="none" spc="0" normalizeH="0" baseline="0" noProof="0" dirty="0" err="1">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elit</a:t>
              </a:r>
              <a:r>
                <a:rPr kumimoji="0" lang="en-US" sz="1050" b="0" i="0" u="none" strike="noStrike" kern="1200" cap="none" spc="0" normalizeH="0" baseline="0" noProof="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a:t>
              </a:r>
              <a:endParaRPr kumimoji="0" lang="en-US" sz="1050" b="1" i="0" u="none" strike="noStrike" kern="1200" cap="none" spc="0" normalizeH="0" baseline="0" noProof="0" dirty="0">
                <a:ln>
                  <a:noFill/>
                </a:ln>
                <a:solidFill>
                  <a:srgbClr val="FFFFFF"/>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endParaRPr>
            </a:p>
          </p:txBody>
        </p:sp>
        <p:sp>
          <p:nvSpPr>
            <p:cNvPr id="12" name="Rectangle 12">
              <a:extLst>
                <a:ext uri="{FF2B5EF4-FFF2-40B4-BE49-F238E27FC236}">
                  <a16:creationId xmlns:a16="http://schemas.microsoft.com/office/drawing/2014/main" id="{3E2CFDE5-043D-4DC2-94D9-92510B7F1E70}"/>
                </a:ext>
              </a:extLst>
            </p:cNvPr>
            <p:cNvSpPr/>
            <p:nvPr/>
          </p:nvSpPr>
          <p:spPr>
            <a:xfrm flipH="1">
              <a:off x="3483423" y="4422616"/>
              <a:ext cx="1952363" cy="507831"/>
            </a:xfrm>
            <a:prstGeom prst="rect">
              <a:avLst/>
            </a:prstGeom>
          </p:spPr>
          <p:txBody>
            <a:bodyPr wrap="square" lIns="0" tIns="0" rIns="0" bIns="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rPr>
                <a:t>Insert Title Here</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Lorem ipsum dolor sit amet, </a:t>
              </a:r>
              <a:r>
                <a:rPr kumimoji="0" lang="en-US" sz="1050" b="0" i="0" u="none" strike="noStrike" kern="1200" cap="none" spc="0" normalizeH="0" baseline="0" noProof="0" dirty="0" err="1">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consectetuer</a:t>
              </a:r>
              <a:r>
                <a:rPr kumimoji="0" lang="en-US" sz="1050" b="0" i="0" u="none" strike="noStrike" kern="1200" cap="none" spc="0" normalizeH="0" baseline="0" noProof="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US" sz="1050" b="0" i="0" u="none" strike="noStrike" kern="1200" cap="none" spc="0" normalizeH="0" baseline="0" noProof="0" dirty="0" err="1">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adipiscing</a:t>
              </a:r>
              <a:r>
                <a:rPr kumimoji="0" lang="en-US" sz="1050" b="0" i="0" u="none" strike="noStrike" kern="1200" cap="none" spc="0" normalizeH="0" baseline="0" noProof="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US" sz="1050" b="0" i="0" u="none" strike="noStrike" kern="1200" cap="none" spc="0" normalizeH="0" baseline="0" noProof="0" dirty="0" err="1">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elit</a:t>
              </a:r>
              <a:r>
                <a:rPr kumimoji="0" lang="en-US" sz="1050" b="0" i="0" u="none" strike="noStrike" kern="1200" cap="none" spc="0" normalizeH="0" baseline="0" noProof="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a:t>
              </a:r>
              <a:endParaRPr kumimoji="0" lang="en-US" sz="1050" b="1" i="0" u="none" strike="noStrike" kern="1200" cap="none" spc="0" normalizeH="0" baseline="0" noProof="0" dirty="0">
                <a:ln>
                  <a:noFill/>
                </a:ln>
                <a:solidFill>
                  <a:srgbClr val="FFFFFF"/>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endParaRPr>
            </a:p>
          </p:txBody>
        </p:sp>
        <p:sp>
          <p:nvSpPr>
            <p:cNvPr id="13" name="Rectangle 17">
              <a:extLst>
                <a:ext uri="{FF2B5EF4-FFF2-40B4-BE49-F238E27FC236}">
                  <a16:creationId xmlns:a16="http://schemas.microsoft.com/office/drawing/2014/main" id="{E22E45F8-CCB2-4D9C-BFEA-9EE50176F7EE}"/>
                </a:ext>
              </a:extLst>
            </p:cNvPr>
            <p:cNvSpPr/>
            <p:nvPr/>
          </p:nvSpPr>
          <p:spPr>
            <a:xfrm flipH="1">
              <a:off x="4353451" y="5184884"/>
              <a:ext cx="1952363" cy="507831"/>
            </a:xfrm>
            <a:prstGeom prst="rect">
              <a:avLst/>
            </a:prstGeom>
          </p:spPr>
          <p:txBody>
            <a:bodyPr wrap="square" lIns="0" tIns="0" rIns="0" bIns="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rPr>
                <a:t>Insert Title Here</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Lorem ipsum dolor sit amet, </a:t>
              </a:r>
              <a:r>
                <a:rPr kumimoji="0" lang="en-US" sz="1050" b="0" i="0" u="none" strike="noStrike" kern="1200" cap="none" spc="0" normalizeH="0" baseline="0" noProof="0" dirty="0" err="1">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consectetuer</a:t>
              </a:r>
              <a:r>
                <a:rPr kumimoji="0" lang="en-US" sz="1050" b="0" i="0" u="none" strike="noStrike" kern="1200" cap="none" spc="0" normalizeH="0" baseline="0" noProof="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US" sz="1050" b="0" i="0" u="none" strike="noStrike" kern="1200" cap="none" spc="0" normalizeH="0" baseline="0" noProof="0" dirty="0" err="1">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adipiscing</a:t>
              </a:r>
              <a:r>
                <a:rPr kumimoji="0" lang="en-US" sz="1050" b="0" i="0" u="none" strike="noStrike" kern="1200" cap="none" spc="0" normalizeH="0" baseline="0" noProof="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US" sz="1050" b="0" i="0" u="none" strike="noStrike" kern="1200" cap="none" spc="0" normalizeH="0" baseline="0" noProof="0" dirty="0" err="1">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elit</a:t>
              </a:r>
              <a:r>
                <a:rPr kumimoji="0" lang="en-US" sz="1050" b="0" i="0" u="none" strike="noStrike" kern="1200" cap="none" spc="0" normalizeH="0" baseline="0" noProof="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a:t>
              </a:r>
              <a:endParaRPr kumimoji="0" lang="en-US" sz="1050" b="1" i="0" u="none" strike="noStrike" kern="1200" cap="none" spc="0" normalizeH="0" baseline="0" noProof="0" dirty="0">
                <a:ln>
                  <a:noFill/>
                </a:ln>
                <a:solidFill>
                  <a:srgbClr val="FFFFFF"/>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endParaRPr>
            </a:p>
          </p:txBody>
        </p:sp>
        <p:sp>
          <p:nvSpPr>
            <p:cNvPr id="14" name="Rectangle 19">
              <a:extLst>
                <a:ext uri="{FF2B5EF4-FFF2-40B4-BE49-F238E27FC236}">
                  <a16:creationId xmlns:a16="http://schemas.microsoft.com/office/drawing/2014/main" id="{DDD3E181-3EB7-48C0-9F9D-9FCE270D5DAB}"/>
                </a:ext>
              </a:extLst>
            </p:cNvPr>
            <p:cNvSpPr/>
            <p:nvPr/>
          </p:nvSpPr>
          <p:spPr>
            <a:xfrm flipH="1">
              <a:off x="7391796" y="5401701"/>
              <a:ext cx="1952363" cy="507831"/>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rPr>
                <a:t>Insert Title Her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Lorem ipsum dolor sit amet, </a:t>
              </a:r>
              <a:r>
                <a:rPr kumimoji="0" lang="en-US" sz="1050" b="0" i="0" u="none" strike="noStrike" kern="1200" cap="none" spc="0" normalizeH="0" baseline="0" noProof="0" dirty="0" err="1">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consectetuer</a:t>
              </a:r>
              <a:r>
                <a:rPr kumimoji="0" lang="en-US" sz="1050" b="0" i="0" u="none" strike="noStrike" kern="1200" cap="none" spc="0" normalizeH="0" baseline="0" noProof="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US" sz="1050" b="0" i="0" u="none" strike="noStrike" kern="1200" cap="none" spc="0" normalizeH="0" baseline="0" noProof="0" dirty="0" err="1">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adipiscing</a:t>
              </a:r>
              <a:r>
                <a:rPr kumimoji="0" lang="en-US" sz="1050" b="0" i="0" u="none" strike="noStrike" kern="1200" cap="none" spc="0" normalizeH="0" baseline="0" noProof="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US" sz="1050" b="0" i="0" u="none" strike="noStrike" kern="1200" cap="none" spc="0" normalizeH="0" baseline="0" noProof="0" dirty="0" err="1">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elit</a:t>
              </a:r>
              <a:r>
                <a:rPr kumimoji="0" lang="en-US" sz="1050" b="0" i="0" u="none" strike="noStrike" kern="1200" cap="none" spc="0" normalizeH="0" baseline="0" noProof="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a:t>
              </a:r>
              <a:endParaRPr kumimoji="0" lang="en-US" sz="1050" b="1" i="0" u="none" strike="noStrike" kern="1200" cap="none" spc="0" normalizeH="0" baseline="0" noProof="0" dirty="0">
                <a:ln>
                  <a:noFill/>
                </a:ln>
                <a:solidFill>
                  <a:srgbClr val="FFFFFF"/>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endParaRPr>
            </a:p>
          </p:txBody>
        </p:sp>
        <p:sp>
          <p:nvSpPr>
            <p:cNvPr id="15" name="Rectangle 20">
              <a:extLst>
                <a:ext uri="{FF2B5EF4-FFF2-40B4-BE49-F238E27FC236}">
                  <a16:creationId xmlns:a16="http://schemas.microsoft.com/office/drawing/2014/main" id="{25B9BCB1-9819-4662-BA4F-D8A228C4BB6D}"/>
                </a:ext>
              </a:extLst>
            </p:cNvPr>
            <p:cNvSpPr/>
            <p:nvPr/>
          </p:nvSpPr>
          <p:spPr>
            <a:xfrm flipH="1">
              <a:off x="8301944" y="4660646"/>
              <a:ext cx="1952363" cy="507831"/>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rPr>
                <a:t>Insert Title Her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Lorem ipsum dolor sit amet, </a:t>
              </a:r>
              <a:r>
                <a:rPr kumimoji="0" lang="en-US" sz="1050" b="0" i="0" u="none" strike="noStrike" kern="1200" cap="none" spc="0" normalizeH="0" baseline="0" noProof="0" dirty="0" err="1">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consectetuer</a:t>
              </a:r>
              <a:r>
                <a:rPr kumimoji="0" lang="en-US" sz="1050" b="0" i="0" u="none" strike="noStrike" kern="1200" cap="none" spc="0" normalizeH="0" baseline="0" noProof="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US" sz="1050" b="0" i="0" u="none" strike="noStrike" kern="1200" cap="none" spc="0" normalizeH="0" baseline="0" noProof="0" dirty="0" err="1">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adipiscing</a:t>
              </a:r>
              <a:r>
                <a:rPr kumimoji="0" lang="en-US" sz="1050" b="0" i="0" u="none" strike="noStrike" kern="1200" cap="none" spc="0" normalizeH="0" baseline="0" noProof="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US" sz="1050" b="0" i="0" u="none" strike="noStrike" kern="1200" cap="none" spc="0" normalizeH="0" baseline="0" noProof="0" dirty="0" err="1">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elit</a:t>
              </a:r>
              <a:r>
                <a:rPr kumimoji="0" lang="en-US" sz="1050" b="0" i="0" u="none" strike="noStrike" kern="1200" cap="none" spc="0" normalizeH="0" baseline="0" noProof="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a:t>
              </a:r>
              <a:endParaRPr kumimoji="0" lang="en-US" sz="1050" b="1" i="0" u="none" strike="noStrike" kern="1200" cap="none" spc="0" normalizeH="0" baseline="0" noProof="0" dirty="0">
                <a:ln>
                  <a:noFill/>
                </a:ln>
                <a:solidFill>
                  <a:srgbClr val="FFFFFF"/>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endParaRPr>
            </a:p>
          </p:txBody>
        </p:sp>
        <p:cxnSp>
          <p:nvCxnSpPr>
            <p:cNvPr id="16" name="Straight Connector 33">
              <a:extLst>
                <a:ext uri="{FF2B5EF4-FFF2-40B4-BE49-F238E27FC236}">
                  <a16:creationId xmlns:a16="http://schemas.microsoft.com/office/drawing/2014/main" id="{859C8EDA-4578-41C5-966B-8FFCB2C3E6BA}"/>
                </a:ext>
              </a:extLst>
            </p:cNvPr>
            <p:cNvCxnSpPr>
              <a:cxnSpLocks/>
            </p:cNvCxnSpPr>
            <p:nvPr/>
          </p:nvCxnSpPr>
          <p:spPr>
            <a:xfrm>
              <a:off x="2658526" y="2578100"/>
              <a:ext cx="0" cy="2655563"/>
            </a:xfrm>
            <a:prstGeom prst="line">
              <a:avLst/>
            </a:prstGeom>
            <a:ln w="19050" cap="rnd">
              <a:solidFill>
                <a:schemeClr val="accent2">
                  <a:lumMod val="20000"/>
                  <a:lumOff val="80000"/>
                </a:schemeClr>
              </a:solidFill>
              <a:prstDash val="sysDot"/>
              <a:round/>
              <a:headEnd type="oval"/>
              <a:tailEnd type="oval"/>
            </a:ln>
          </p:spPr>
          <p:style>
            <a:lnRef idx="1">
              <a:schemeClr val="accent1"/>
            </a:lnRef>
            <a:fillRef idx="0">
              <a:schemeClr val="accent1"/>
            </a:fillRef>
            <a:effectRef idx="0">
              <a:schemeClr val="accent1"/>
            </a:effectRef>
            <a:fontRef idx="minor">
              <a:schemeClr val="tx1"/>
            </a:fontRef>
          </p:style>
        </p:cxnSp>
        <p:sp>
          <p:nvSpPr>
            <p:cNvPr id="28" name="Кружок">
              <a:extLst>
                <a:ext uri="{FF2B5EF4-FFF2-40B4-BE49-F238E27FC236}">
                  <a16:creationId xmlns:a16="http://schemas.microsoft.com/office/drawing/2014/main" id="{B65A6ED4-8715-47BD-BFCE-72CBCBAF525D}"/>
                </a:ext>
              </a:extLst>
            </p:cNvPr>
            <p:cNvSpPr/>
            <p:nvPr/>
          </p:nvSpPr>
          <p:spPr>
            <a:xfrm>
              <a:off x="12445850" y="1590982"/>
              <a:ext cx="229765" cy="229765"/>
            </a:xfrm>
            <a:prstGeom prst="ellipse">
              <a:avLst/>
            </a:prstGeom>
            <a:solidFill>
              <a:schemeClr val="accent1">
                <a:lumMod val="20000"/>
                <a:lumOff val="80000"/>
                <a:alpha val="20000"/>
              </a:schemeClr>
            </a:solidFill>
            <a:ln w="25400">
              <a:noFill/>
              <a:miter lim="400000"/>
            </a:ln>
          </p:spPr>
          <p:txBody>
            <a:bodyPr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1600" b="0" i="0" u="none" strike="noStrike" kern="1200" cap="none" spc="0" normalizeH="0" baseline="0" noProof="0">
                <a:ln>
                  <a:noFill/>
                </a:ln>
                <a:solidFill>
                  <a:srgbClr val="FFFFFF"/>
                </a:solidFill>
                <a:effectLst/>
                <a:uLnTx/>
                <a:uFillTx/>
                <a:latin typeface="Arial"/>
                <a:cs typeface="+mn-ea"/>
                <a:sym typeface="+mn-lt"/>
              </a:endParaRPr>
            </a:p>
          </p:txBody>
        </p:sp>
        <p:sp>
          <p:nvSpPr>
            <p:cNvPr id="29" name="Кружок">
              <a:extLst>
                <a:ext uri="{FF2B5EF4-FFF2-40B4-BE49-F238E27FC236}">
                  <a16:creationId xmlns:a16="http://schemas.microsoft.com/office/drawing/2014/main" id="{9E675E15-080A-43C4-A08A-E0A35AC2ED71}"/>
                </a:ext>
              </a:extLst>
            </p:cNvPr>
            <p:cNvSpPr/>
            <p:nvPr/>
          </p:nvSpPr>
          <p:spPr>
            <a:xfrm flipH="1">
              <a:off x="12082644" y="1705865"/>
              <a:ext cx="119515" cy="119515"/>
            </a:xfrm>
            <a:prstGeom prst="ellipse">
              <a:avLst/>
            </a:prstGeom>
            <a:solidFill>
              <a:schemeClr val="accent1">
                <a:lumMod val="20000"/>
                <a:lumOff val="80000"/>
                <a:alpha val="20000"/>
              </a:schemeClr>
            </a:solidFill>
            <a:ln w="25400">
              <a:noFill/>
              <a:miter lim="400000"/>
            </a:ln>
          </p:spPr>
          <p:txBody>
            <a:bodyPr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1600" b="0" i="0" u="none" strike="noStrike" kern="1200" cap="none" spc="0" normalizeH="0" baseline="0" noProof="0">
                <a:ln>
                  <a:noFill/>
                </a:ln>
                <a:solidFill>
                  <a:srgbClr val="FFFFFF"/>
                </a:solidFill>
                <a:effectLst/>
                <a:uLnTx/>
                <a:uFillTx/>
                <a:latin typeface="Arial"/>
                <a:cs typeface="+mn-ea"/>
                <a:sym typeface="+mn-lt"/>
              </a:endParaRPr>
            </a:p>
          </p:txBody>
        </p:sp>
        <p:sp>
          <p:nvSpPr>
            <p:cNvPr id="30" name="Кружок">
              <a:extLst>
                <a:ext uri="{FF2B5EF4-FFF2-40B4-BE49-F238E27FC236}">
                  <a16:creationId xmlns:a16="http://schemas.microsoft.com/office/drawing/2014/main" id="{2D6EB03B-DF3C-4F9B-826C-ACD657B90658}"/>
                </a:ext>
              </a:extLst>
            </p:cNvPr>
            <p:cNvSpPr/>
            <p:nvPr/>
          </p:nvSpPr>
          <p:spPr>
            <a:xfrm>
              <a:off x="11334759" y="2370912"/>
              <a:ext cx="98207" cy="98207"/>
            </a:xfrm>
            <a:prstGeom prst="ellipse">
              <a:avLst/>
            </a:prstGeom>
            <a:solidFill>
              <a:schemeClr val="accent1">
                <a:lumMod val="20000"/>
                <a:lumOff val="80000"/>
                <a:alpha val="20000"/>
              </a:schemeClr>
            </a:solidFill>
            <a:ln w="25400">
              <a:noFill/>
              <a:miter lim="400000"/>
            </a:ln>
          </p:spPr>
          <p:txBody>
            <a:bodyPr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1600" b="0" i="0" u="none" strike="noStrike" kern="1200" cap="none" spc="0" normalizeH="0" baseline="0" noProof="0">
                <a:ln>
                  <a:noFill/>
                </a:ln>
                <a:solidFill>
                  <a:srgbClr val="FFFFFF"/>
                </a:solidFill>
                <a:effectLst/>
                <a:uLnTx/>
                <a:uFillTx/>
                <a:latin typeface="Arial"/>
                <a:cs typeface="+mn-ea"/>
                <a:sym typeface="+mn-lt"/>
              </a:endParaRPr>
            </a:p>
          </p:txBody>
        </p:sp>
        <p:sp>
          <p:nvSpPr>
            <p:cNvPr id="31" name="Кружок">
              <a:extLst>
                <a:ext uri="{FF2B5EF4-FFF2-40B4-BE49-F238E27FC236}">
                  <a16:creationId xmlns:a16="http://schemas.microsoft.com/office/drawing/2014/main" id="{9A27836B-CB1E-4119-8A67-518385B65951}"/>
                </a:ext>
              </a:extLst>
            </p:cNvPr>
            <p:cNvSpPr/>
            <p:nvPr/>
          </p:nvSpPr>
          <p:spPr>
            <a:xfrm>
              <a:off x="12394036" y="2245072"/>
              <a:ext cx="229765" cy="229765"/>
            </a:xfrm>
            <a:prstGeom prst="ellipse">
              <a:avLst/>
            </a:prstGeom>
            <a:solidFill>
              <a:schemeClr val="accent1">
                <a:lumMod val="20000"/>
                <a:lumOff val="80000"/>
                <a:alpha val="20000"/>
              </a:schemeClr>
            </a:solidFill>
            <a:ln w="25400">
              <a:noFill/>
              <a:miter lim="400000"/>
            </a:ln>
          </p:spPr>
          <p:txBody>
            <a:bodyPr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1600" b="0" i="0" u="none" strike="noStrike" kern="1200" cap="none" spc="0" normalizeH="0" baseline="0" noProof="0">
                <a:ln>
                  <a:noFill/>
                </a:ln>
                <a:solidFill>
                  <a:srgbClr val="FFFFFF"/>
                </a:solidFill>
                <a:effectLst/>
                <a:uLnTx/>
                <a:uFillTx/>
                <a:latin typeface="Arial"/>
                <a:cs typeface="+mn-ea"/>
                <a:sym typeface="+mn-lt"/>
              </a:endParaRPr>
            </a:p>
          </p:txBody>
        </p:sp>
        <p:sp>
          <p:nvSpPr>
            <p:cNvPr id="32" name="Кружок">
              <a:extLst>
                <a:ext uri="{FF2B5EF4-FFF2-40B4-BE49-F238E27FC236}">
                  <a16:creationId xmlns:a16="http://schemas.microsoft.com/office/drawing/2014/main" id="{78322E22-7E75-4B17-B14F-6BF4C3528489}"/>
                </a:ext>
              </a:extLst>
            </p:cNvPr>
            <p:cNvSpPr/>
            <p:nvPr/>
          </p:nvSpPr>
          <p:spPr>
            <a:xfrm>
              <a:off x="11376661" y="1532554"/>
              <a:ext cx="397842" cy="397842"/>
            </a:xfrm>
            <a:prstGeom prst="ellipse">
              <a:avLst/>
            </a:prstGeom>
            <a:solidFill>
              <a:schemeClr val="accent1">
                <a:lumMod val="20000"/>
                <a:lumOff val="80000"/>
                <a:alpha val="20000"/>
              </a:schemeClr>
            </a:solidFill>
            <a:ln w="25400">
              <a:noFill/>
              <a:miter lim="400000"/>
            </a:ln>
          </p:spPr>
          <p:txBody>
            <a:bodyPr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1600" b="0" i="0" u="none" strike="noStrike" kern="1200" cap="none" spc="0" normalizeH="0" baseline="0" noProof="0">
                <a:ln>
                  <a:noFill/>
                </a:ln>
                <a:solidFill>
                  <a:srgbClr val="FFFFFF"/>
                </a:solidFill>
                <a:effectLst/>
                <a:uLnTx/>
                <a:uFillTx/>
                <a:latin typeface="Arial"/>
                <a:cs typeface="+mn-ea"/>
                <a:sym typeface="+mn-lt"/>
              </a:endParaRPr>
            </a:p>
          </p:txBody>
        </p:sp>
        <p:sp>
          <p:nvSpPr>
            <p:cNvPr id="33" name="Кружок">
              <a:extLst>
                <a:ext uri="{FF2B5EF4-FFF2-40B4-BE49-F238E27FC236}">
                  <a16:creationId xmlns:a16="http://schemas.microsoft.com/office/drawing/2014/main" id="{BCE6DD65-9CF3-4F84-BA2A-CF892AB850AF}"/>
                </a:ext>
              </a:extLst>
            </p:cNvPr>
            <p:cNvSpPr/>
            <p:nvPr/>
          </p:nvSpPr>
          <p:spPr>
            <a:xfrm>
              <a:off x="11671159" y="2503513"/>
              <a:ext cx="397842" cy="397842"/>
            </a:xfrm>
            <a:prstGeom prst="ellipse">
              <a:avLst/>
            </a:prstGeom>
            <a:solidFill>
              <a:schemeClr val="accent1">
                <a:lumMod val="20000"/>
                <a:lumOff val="80000"/>
                <a:alpha val="20000"/>
              </a:schemeClr>
            </a:solidFill>
            <a:ln w="25400">
              <a:noFill/>
              <a:miter lim="400000"/>
            </a:ln>
          </p:spPr>
          <p:txBody>
            <a:bodyPr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1600" b="0" i="0" u="none" strike="noStrike" kern="1200" cap="none" spc="0" normalizeH="0" baseline="0" noProof="0">
                <a:ln>
                  <a:noFill/>
                </a:ln>
                <a:solidFill>
                  <a:srgbClr val="FFFFFF"/>
                </a:solidFill>
                <a:effectLst/>
                <a:uLnTx/>
                <a:uFillTx/>
                <a:latin typeface="Arial"/>
                <a:cs typeface="+mn-ea"/>
                <a:sym typeface="+mn-lt"/>
              </a:endParaRPr>
            </a:p>
          </p:txBody>
        </p:sp>
        <p:grpSp>
          <p:nvGrpSpPr>
            <p:cNvPr id="43" name="组合 42">
              <a:extLst>
                <a:ext uri="{FF2B5EF4-FFF2-40B4-BE49-F238E27FC236}">
                  <a16:creationId xmlns:a16="http://schemas.microsoft.com/office/drawing/2014/main" id="{214C1462-55FD-4430-99B8-AD1454751C57}"/>
                </a:ext>
              </a:extLst>
            </p:cNvPr>
            <p:cNvGrpSpPr/>
            <p:nvPr/>
          </p:nvGrpSpPr>
          <p:grpSpPr>
            <a:xfrm>
              <a:off x="-652842" y="5095992"/>
              <a:ext cx="522123" cy="611418"/>
              <a:chOff x="-505626" y="5137184"/>
              <a:chExt cx="522123" cy="611418"/>
            </a:xfrm>
          </p:grpSpPr>
          <p:sp>
            <p:nvSpPr>
              <p:cNvPr id="35" name="Oval 123">
                <a:extLst>
                  <a:ext uri="{FF2B5EF4-FFF2-40B4-BE49-F238E27FC236}">
                    <a16:creationId xmlns:a16="http://schemas.microsoft.com/office/drawing/2014/main" id="{546CB02D-4499-4C82-AB3D-15FD77ABA87F}"/>
                  </a:ext>
                </a:extLst>
              </p:cNvPr>
              <p:cNvSpPr/>
              <p:nvPr/>
            </p:nvSpPr>
            <p:spPr>
              <a:xfrm>
                <a:off x="-338785" y="5137184"/>
                <a:ext cx="332828" cy="332828"/>
              </a:xfrm>
              <a:prstGeom prst="ellipse">
                <a:avLst/>
              </a:prstGeom>
              <a:solidFill>
                <a:schemeClr val="accent4">
                  <a:lumMod val="10000"/>
                  <a:lumOff val="90000"/>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677C7"/>
                  </a:solidFill>
                  <a:effectLst/>
                  <a:uLnTx/>
                  <a:uFillTx/>
                  <a:latin typeface="Arial"/>
                  <a:cs typeface="+mn-cs"/>
                </a:endParaRPr>
              </a:p>
            </p:txBody>
          </p:sp>
          <p:sp>
            <p:nvSpPr>
              <p:cNvPr id="36" name="Oval 124">
                <a:extLst>
                  <a:ext uri="{FF2B5EF4-FFF2-40B4-BE49-F238E27FC236}">
                    <a16:creationId xmlns:a16="http://schemas.microsoft.com/office/drawing/2014/main" id="{F3BA2B7E-DB30-4019-B55E-46C7C3D3BC63}"/>
                  </a:ext>
                </a:extLst>
              </p:cNvPr>
              <p:cNvSpPr/>
              <p:nvPr/>
            </p:nvSpPr>
            <p:spPr>
              <a:xfrm>
                <a:off x="-172371" y="5333480"/>
                <a:ext cx="188868" cy="188868"/>
              </a:xfrm>
              <a:prstGeom prst="ellipse">
                <a:avLst/>
              </a:prstGeom>
              <a:solidFill>
                <a:schemeClr val="accent4">
                  <a:lumMod val="10000"/>
                  <a:lumOff val="90000"/>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677C7"/>
                  </a:solidFill>
                  <a:effectLst/>
                  <a:uLnTx/>
                  <a:uFillTx/>
                  <a:latin typeface="Arial"/>
                  <a:cs typeface="+mn-cs"/>
                </a:endParaRPr>
              </a:p>
            </p:txBody>
          </p:sp>
          <p:sp>
            <p:nvSpPr>
              <p:cNvPr id="37" name="Oval 125">
                <a:extLst>
                  <a:ext uri="{FF2B5EF4-FFF2-40B4-BE49-F238E27FC236}">
                    <a16:creationId xmlns:a16="http://schemas.microsoft.com/office/drawing/2014/main" id="{8C587611-AE0D-4A20-89F2-7054372A43FA}"/>
                  </a:ext>
                </a:extLst>
              </p:cNvPr>
              <p:cNvSpPr/>
              <p:nvPr/>
            </p:nvSpPr>
            <p:spPr>
              <a:xfrm>
                <a:off x="-505626" y="5506662"/>
                <a:ext cx="238821" cy="238821"/>
              </a:xfrm>
              <a:prstGeom prst="ellipse">
                <a:avLst/>
              </a:prstGeom>
              <a:solidFill>
                <a:schemeClr val="accent4">
                  <a:lumMod val="10000"/>
                  <a:lumOff val="90000"/>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677C7"/>
                  </a:solidFill>
                  <a:effectLst/>
                  <a:uLnTx/>
                  <a:uFillTx/>
                  <a:latin typeface="Arial"/>
                  <a:cs typeface="+mn-cs"/>
                </a:endParaRPr>
              </a:p>
            </p:txBody>
          </p:sp>
          <p:sp>
            <p:nvSpPr>
              <p:cNvPr id="38" name="Oval 126">
                <a:extLst>
                  <a:ext uri="{FF2B5EF4-FFF2-40B4-BE49-F238E27FC236}">
                    <a16:creationId xmlns:a16="http://schemas.microsoft.com/office/drawing/2014/main" id="{6DD7EC51-6B9F-418F-9569-95E8C890BBA1}"/>
                  </a:ext>
                </a:extLst>
              </p:cNvPr>
              <p:cNvSpPr/>
              <p:nvPr/>
            </p:nvSpPr>
            <p:spPr>
              <a:xfrm>
                <a:off x="-231906" y="5629533"/>
                <a:ext cx="119069" cy="119069"/>
              </a:xfrm>
              <a:prstGeom prst="ellipse">
                <a:avLst/>
              </a:prstGeom>
              <a:solidFill>
                <a:schemeClr val="accent4">
                  <a:lumMod val="10000"/>
                  <a:lumOff val="90000"/>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677C7"/>
                  </a:solidFill>
                  <a:effectLst/>
                  <a:uLnTx/>
                  <a:uFillTx/>
                  <a:latin typeface="Arial"/>
                  <a:cs typeface="+mn-cs"/>
                </a:endParaRPr>
              </a:p>
            </p:txBody>
          </p:sp>
        </p:grpSp>
        <p:grpSp>
          <p:nvGrpSpPr>
            <p:cNvPr id="44" name="组合 43">
              <a:extLst>
                <a:ext uri="{FF2B5EF4-FFF2-40B4-BE49-F238E27FC236}">
                  <a16:creationId xmlns:a16="http://schemas.microsoft.com/office/drawing/2014/main" id="{1EBFB57A-1743-4E3D-BE0C-FDAD9D7C1FBC}"/>
                </a:ext>
              </a:extLst>
            </p:cNvPr>
            <p:cNvGrpSpPr/>
            <p:nvPr/>
          </p:nvGrpSpPr>
          <p:grpSpPr>
            <a:xfrm>
              <a:off x="737434" y="3272666"/>
              <a:ext cx="811946" cy="497838"/>
              <a:chOff x="85105" y="3591877"/>
              <a:chExt cx="990864" cy="607540"/>
            </a:xfrm>
          </p:grpSpPr>
          <p:sp>
            <p:nvSpPr>
              <p:cNvPr id="39" name="Freeform 90">
                <a:extLst>
                  <a:ext uri="{FF2B5EF4-FFF2-40B4-BE49-F238E27FC236}">
                    <a16:creationId xmlns:a16="http://schemas.microsoft.com/office/drawing/2014/main" id="{26B8E939-7099-40C0-9B20-E0BA026BEE96}"/>
                  </a:ext>
                </a:extLst>
              </p:cNvPr>
              <p:cNvSpPr/>
              <p:nvPr/>
            </p:nvSpPr>
            <p:spPr>
              <a:xfrm flipV="1">
                <a:off x="415393" y="3961351"/>
                <a:ext cx="660576" cy="238066"/>
              </a:xfrm>
              <a:custGeom>
                <a:avLst/>
                <a:gdLst>
                  <a:gd name="connsiteX0" fmla="*/ 4824565 w 8389608"/>
                  <a:gd name="connsiteY0" fmla="*/ 2503843 h 3023545"/>
                  <a:gd name="connsiteX1" fmla="*/ 4799462 w 8389608"/>
                  <a:gd name="connsiteY1" fmla="*/ 2503501 h 3023545"/>
                  <a:gd name="connsiteX2" fmla="*/ 4852826 w 8389608"/>
                  <a:gd name="connsiteY2" fmla="*/ 2502501 h 3023545"/>
                  <a:gd name="connsiteX3" fmla="*/ 4013587 w 8389608"/>
                  <a:gd name="connsiteY3" fmla="*/ 3023129 h 3023545"/>
                  <a:gd name="connsiteX4" fmla="*/ 5356639 w 8389608"/>
                  <a:gd name="connsiteY4" fmla="*/ 2584955 h 3023545"/>
                  <a:gd name="connsiteX5" fmla="*/ 5463093 w 8389608"/>
                  <a:gd name="connsiteY5" fmla="*/ 2477611 h 3023545"/>
                  <a:gd name="connsiteX6" fmla="*/ 5619697 w 8389608"/>
                  <a:gd name="connsiteY6" fmla="*/ 2468698 h 3023545"/>
                  <a:gd name="connsiteX7" fmla="*/ 7921832 w 8389608"/>
                  <a:gd name="connsiteY7" fmla="*/ 1970527 h 3023545"/>
                  <a:gd name="connsiteX8" fmla="*/ 7994163 w 8389608"/>
                  <a:gd name="connsiteY8" fmla="*/ 1929993 h 3023545"/>
                  <a:gd name="connsiteX9" fmla="*/ 8014712 w 8389608"/>
                  <a:gd name="connsiteY9" fmla="*/ 1919925 h 3023545"/>
                  <a:gd name="connsiteX10" fmla="*/ 8030939 w 8389608"/>
                  <a:gd name="connsiteY10" fmla="*/ 1909384 h 3023545"/>
                  <a:gd name="connsiteX11" fmla="*/ 8081923 w 8389608"/>
                  <a:gd name="connsiteY11" fmla="*/ 1880813 h 3023545"/>
                  <a:gd name="connsiteX12" fmla="*/ 8133596 w 8389608"/>
                  <a:gd name="connsiteY12" fmla="*/ 1842701 h 3023545"/>
                  <a:gd name="connsiteX13" fmla="*/ 8174648 w 8389608"/>
                  <a:gd name="connsiteY13" fmla="*/ 1816035 h 3023545"/>
                  <a:gd name="connsiteX14" fmla="*/ 8193502 w 8389608"/>
                  <a:gd name="connsiteY14" fmla="*/ 1798516 h 3023545"/>
                  <a:gd name="connsiteX15" fmla="*/ 8209765 w 8389608"/>
                  <a:gd name="connsiteY15" fmla="*/ 1786521 h 3023545"/>
                  <a:gd name="connsiteX16" fmla="*/ 8235573 w 8389608"/>
                  <a:gd name="connsiteY16" fmla="*/ 1759426 h 3023545"/>
                  <a:gd name="connsiteX17" fmla="*/ 8292256 w 8389608"/>
                  <a:gd name="connsiteY17" fmla="*/ 1706758 h 3023545"/>
                  <a:gd name="connsiteX18" fmla="*/ 8389608 w 8389608"/>
                  <a:gd name="connsiteY18" fmla="*/ 1474982 h 3023545"/>
                  <a:gd name="connsiteX19" fmla="*/ 7521469 w 8389608"/>
                  <a:gd name="connsiteY19" fmla="*/ 822160 h 3023545"/>
                  <a:gd name="connsiteX20" fmla="*/ 7307007 w 8389608"/>
                  <a:gd name="connsiteY20" fmla="*/ 758460 h 3023545"/>
                  <a:gd name="connsiteX21" fmla="*/ 7295927 w 8389608"/>
                  <a:gd name="connsiteY21" fmla="*/ 765818 h 3023545"/>
                  <a:gd name="connsiteX22" fmla="*/ 7234731 w 8389608"/>
                  <a:gd name="connsiteY22" fmla="*/ 746973 h 3023545"/>
                  <a:gd name="connsiteX23" fmla="*/ 5709445 w 8389608"/>
                  <a:gd name="connsiteY23" fmla="*/ 501171 h 3023545"/>
                  <a:gd name="connsiteX24" fmla="*/ 5371664 w 8389608"/>
                  <a:gd name="connsiteY24" fmla="*/ 477725 h 3023545"/>
                  <a:gd name="connsiteX25" fmla="*/ 5275791 w 8389608"/>
                  <a:gd name="connsiteY25" fmla="*/ 381051 h 3023545"/>
                  <a:gd name="connsiteX26" fmla="*/ 4108936 w 8389608"/>
                  <a:gd name="connsiteY26" fmla="*/ 361 h 3023545"/>
                  <a:gd name="connsiteX27" fmla="*/ 4513244 w 8389608"/>
                  <a:gd name="connsiteY27" fmla="*/ 440938 h 3023545"/>
                  <a:gd name="connsiteX28" fmla="*/ 4526150 w 8389608"/>
                  <a:gd name="connsiteY28" fmla="*/ 455439 h 3023545"/>
                  <a:gd name="connsiteX29" fmla="*/ 4813521 w 8389608"/>
                  <a:gd name="connsiteY29" fmla="*/ 451522 h 3023545"/>
                  <a:gd name="connsiteX30" fmla="*/ 4983493 w 8389608"/>
                  <a:gd name="connsiteY30" fmla="*/ 459591 h 3023545"/>
                  <a:gd name="connsiteX31" fmla="*/ 5051396 w 8389608"/>
                  <a:gd name="connsiteY31" fmla="*/ 463781 h 3023545"/>
                  <a:gd name="connsiteX32" fmla="*/ 4967624 w 8389608"/>
                  <a:gd name="connsiteY32" fmla="*/ 460330 h 3023545"/>
                  <a:gd name="connsiteX33" fmla="*/ 4578915 w 8389608"/>
                  <a:gd name="connsiteY33" fmla="*/ 455031 h 3023545"/>
                  <a:gd name="connsiteX34" fmla="*/ 1426428 w 8389608"/>
                  <a:gd name="connsiteY34" fmla="*/ 907517 h 3023545"/>
                  <a:gd name="connsiteX35" fmla="*/ 1253650 w 8389608"/>
                  <a:gd name="connsiteY35" fmla="*/ 984292 h 3023545"/>
                  <a:gd name="connsiteX36" fmla="*/ 198320 w 8389608"/>
                  <a:gd name="connsiteY36" fmla="*/ 796503 h 3023545"/>
                  <a:gd name="connsiteX37" fmla="*/ 777185 w 8389608"/>
                  <a:gd name="connsiteY37" fmla="*/ 1490381 h 3023545"/>
                  <a:gd name="connsiteX38" fmla="*/ 0 w 8389608"/>
                  <a:gd name="connsiteY38" fmla="*/ 2421982 h 3023545"/>
                  <a:gd name="connsiteX39" fmla="*/ 1561940 w 8389608"/>
                  <a:gd name="connsiteY39" fmla="*/ 2104065 h 3023545"/>
                  <a:gd name="connsiteX40" fmla="*/ 1645285 w 8389608"/>
                  <a:gd name="connsiteY40" fmla="*/ 2134153 h 3023545"/>
                  <a:gd name="connsiteX41" fmla="*/ 4142368 w 8389608"/>
                  <a:gd name="connsiteY41" fmla="*/ 2500938 h 3023545"/>
                  <a:gd name="connsiteX42" fmla="*/ 4487662 w 8389608"/>
                  <a:gd name="connsiteY42" fmla="*/ 2506232 h 3023545"/>
                  <a:gd name="connsiteX43" fmla="*/ 4478946 w 8389608"/>
                  <a:gd name="connsiteY43" fmla="*/ 2516025 h 3023545"/>
                  <a:gd name="connsiteX44" fmla="*/ 4013587 w 8389608"/>
                  <a:gd name="connsiteY44" fmla="*/ 3023129 h 3023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8389608" h="3023545">
                    <a:moveTo>
                      <a:pt x="4824565" y="2503843"/>
                    </a:moveTo>
                    <a:lnTo>
                      <a:pt x="4799462" y="2503501"/>
                    </a:lnTo>
                    <a:lnTo>
                      <a:pt x="4852826" y="2502501"/>
                    </a:lnTo>
                    <a:close/>
                    <a:moveTo>
                      <a:pt x="4013587" y="3023129"/>
                    </a:moveTo>
                    <a:cubicBezTo>
                      <a:pt x="4534369" y="3028376"/>
                      <a:pt x="4992271" y="2989607"/>
                      <a:pt x="5356639" y="2584955"/>
                    </a:cubicBezTo>
                    <a:lnTo>
                      <a:pt x="5463093" y="2477611"/>
                    </a:lnTo>
                    <a:lnTo>
                      <a:pt x="5619697" y="2468698"/>
                    </a:lnTo>
                    <a:cubicBezTo>
                      <a:pt x="6611999" y="2392619"/>
                      <a:pt x="7438990" y="2210469"/>
                      <a:pt x="7921832" y="1970527"/>
                    </a:cubicBezTo>
                    <a:lnTo>
                      <a:pt x="7994163" y="1929993"/>
                    </a:lnTo>
                    <a:lnTo>
                      <a:pt x="8014712" y="1919925"/>
                    </a:lnTo>
                    <a:lnTo>
                      <a:pt x="8030939" y="1909384"/>
                    </a:lnTo>
                    <a:lnTo>
                      <a:pt x="8081923" y="1880813"/>
                    </a:lnTo>
                    <a:lnTo>
                      <a:pt x="8133596" y="1842701"/>
                    </a:lnTo>
                    <a:lnTo>
                      <a:pt x="8174648" y="1816035"/>
                    </a:lnTo>
                    <a:lnTo>
                      <a:pt x="8193502" y="1798516"/>
                    </a:lnTo>
                    <a:lnTo>
                      <a:pt x="8209765" y="1786521"/>
                    </a:lnTo>
                    <a:lnTo>
                      <a:pt x="8235573" y="1759426"/>
                    </a:lnTo>
                    <a:lnTo>
                      <a:pt x="8292256" y="1706758"/>
                    </a:lnTo>
                    <a:cubicBezTo>
                      <a:pt x="8355948" y="1632275"/>
                      <a:pt x="8389608" y="1554689"/>
                      <a:pt x="8389608" y="1474982"/>
                    </a:cubicBezTo>
                    <a:cubicBezTo>
                      <a:pt x="8389608" y="1227002"/>
                      <a:pt x="8063814" y="999565"/>
                      <a:pt x="7521469" y="822160"/>
                    </a:cubicBezTo>
                    <a:lnTo>
                      <a:pt x="7307007" y="758460"/>
                    </a:lnTo>
                    <a:lnTo>
                      <a:pt x="7295927" y="765818"/>
                    </a:lnTo>
                    <a:lnTo>
                      <a:pt x="7234731" y="746973"/>
                    </a:lnTo>
                    <a:cubicBezTo>
                      <a:pt x="6810517" y="635154"/>
                      <a:pt x="6289788" y="549899"/>
                      <a:pt x="5709445" y="501171"/>
                    </a:cubicBezTo>
                    <a:lnTo>
                      <a:pt x="5371664" y="477725"/>
                    </a:lnTo>
                    <a:lnTo>
                      <a:pt x="5275791" y="381051"/>
                    </a:lnTo>
                    <a:cubicBezTo>
                      <a:pt x="4959225" y="29486"/>
                      <a:pt x="4561396" y="-4197"/>
                      <a:pt x="4108936" y="361"/>
                    </a:cubicBezTo>
                    <a:cubicBezTo>
                      <a:pt x="4242671" y="160667"/>
                      <a:pt x="4378474" y="294079"/>
                      <a:pt x="4513244" y="440938"/>
                    </a:cubicBezTo>
                    <a:lnTo>
                      <a:pt x="4526150" y="455439"/>
                    </a:lnTo>
                    <a:lnTo>
                      <a:pt x="4813521" y="451522"/>
                    </a:lnTo>
                    <a:cubicBezTo>
                      <a:pt x="4870527" y="451522"/>
                      <a:pt x="4927196" y="455366"/>
                      <a:pt x="4983493" y="459591"/>
                    </a:cubicBezTo>
                    <a:lnTo>
                      <a:pt x="5051396" y="463781"/>
                    </a:lnTo>
                    <a:lnTo>
                      <a:pt x="4967624" y="460330"/>
                    </a:lnTo>
                    <a:cubicBezTo>
                      <a:pt x="4839820" y="456826"/>
                      <a:pt x="4710144" y="455031"/>
                      <a:pt x="4578915" y="455031"/>
                    </a:cubicBezTo>
                    <a:cubicBezTo>
                      <a:pt x="3266628" y="455031"/>
                      <a:pt x="2109634" y="634519"/>
                      <a:pt x="1426428" y="907517"/>
                    </a:cubicBezTo>
                    <a:lnTo>
                      <a:pt x="1253650" y="984292"/>
                    </a:lnTo>
                    <a:lnTo>
                      <a:pt x="198320" y="796503"/>
                    </a:lnTo>
                    <a:lnTo>
                      <a:pt x="777185" y="1490381"/>
                    </a:lnTo>
                    <a:lnTo>
                      <a:pt x="0" y="2421982"/>
                    </a:lnTo>
                    <a:lnTo>
                      <a:pt x="1561940" y="2104065"/>
                    </a:lnTo>
                    <a:lnTo>
                      <a:pt x="1645285" y="2134153"/>
                    </a:lnTo>
                    <a:cubicBezTo>
                      <a:pt x="2255423" y="2333734"/>
                      <a:pt x="3139632" y="2469992"/>
                      <a:pt x="4142368" y="2500938"/>
                    </a:cubicBezTo>
                    <a:lnTo>
                      <a:pt x="4487662" y="2506232"/>
                    </a:lnTo>
                    <a:lnTo>
                      <a:pt x="4478946" y="2516025"/>
                    </a:lnTo>
                    <a:cubicBezTo>
                      <a:pt x="4323826" y="2685060"/>
                      <a:pt x="4167516" y="2838617"/>
                      <a:pt x="4013587" y="3023129"/>
                    </a:cubicBezTo>
                    <a:close/>
                  </a:path>
                </a:pathLst>
              </a:custGeom>
              <a:solidFill>
                <a:schemeClr val="accent4">
                  <a:lumMod val="10000"/>
                  <a:lumOff val="90000"/>
                  <a:alpha val="2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cs typeface="+mn-cs"/>
                </a:endParaRPr>
              </a:p>
            </p:txBody>
          </p:sp>
          <p:sp>
            <p:nvSpPr>
              <p:cNvPr id="40" name="Freeform 129">
                <a:extLst>
                  <a:ext uri="{FF2B5EF4-FFF2-40B4-BE49-F238E27FC236}">
                    <a16:creationId xmlns:a16="http://schemas.microsoft.com/office/drawing/2014/main" id="{9192B136-167B-4A04-A273-4AD70947A112}"/>
                  </a:ext>
                </a:extLst>
              </p:cNvPr>
              <p:cNvSpPr/>
              <p:nvPr/>
            </p:nvSpPr>
            <p:spPr>
              <a:xfrm flipV="1">
                <a:off x="85105" y="3718350"/>
                <a:ext cx="515099" cy="185637"/>
              </a:xfrm>
              <a:custGeom>
                <a:avLst/>
                <a:gdLst>
                  <a:gd name="connsiteX0" fmla="*/ 4824565 w 8389608"/>
                  <a:gd name="connsiteY0" fmla="*/ 2503843 h 3023545"/>
                  <a:gd name="connsiteX1" fmla="*/ 4799462 w 8389608"/>
                  <a:gd name="connsiteY1" fmla="*/ 2503501 h 3023545"/>
                  <a:gd name="connsiteX2" fmla="*/ 4852826 w 8389608"/>
                  <a:gd name="connsiteY2" fmla="*/ 2502501 h 3023545"/>
                  <a:gd name="connsiteX3" fmla="*/ 4013587 w 8389608"/>
                  <a:gd name="connsiteY3" fmla="*/ 3023129 h 3023545"/>
                  <a:gd name="connsiteX4" fmla="*/ 5356639 w 8389608"/>
                  <a:gd name="connsiteY4" fmla="*/ 2584955 h 3023545"/>
                  <a:gd name="connsiteX5" fmla="*/ 5463093 w 8389608"/>
                  <a:gd name="connsiteY5" fmla="*/ 2477611 h 3023545"/>
                  <a:gd name="connsiteX6" fmla="*/ 5619697 w 8389608"/>
                  <a:gd name="connsiteY6" fmla="*/ 2468698 h 3023545"/>
                  <a:gd name="connsiteX7" fmla="*/ 7921832 w 8389608"/>
                  <a:gd name="connsiteY7" fmla="*/ 1970527 h 3023545"/>
                  <a:gd name="connsiteX8" fmla="*/ 7994163 w 8389608"/>
                  <a:gd name="connsiteY8" fmla="*/ 1929993 h 3023545"/>
                  <a:gd name="connsiteX9" fmla="*/ 8014712 w 8389608"/>
                  <a:gd name="connsiteY9" fmla="*/ 1919925 h 3023545"/>
                  <a:gd name="connsiteX10" fmla="*/ 8030939 w 8389608"/>
                  <a:gd name="connsiteY10" fmla="*/ 1909384 h 3023545"/>
                  <a:gd name="connsiteX11" fmla="*/ 8081923 w 8389608"/>
                  <a:gd name="connsiteY11" fmla="*/ 1880813 h 3023545"/>
                  <a:gd name="connsiteX12" fmla="*/ 8133596 w 8389608"/>
                  <a:gd name="connsiteY12" fmla="*/ 1842701 h 3023545"/>
                  <a:gd name="connsiteX13" fmla="*/ 8174648 w 8389608"/>
                  <a:gd name="connsiteY13" fmla="*/ 1816035 h 3023545"/>
                  <a:gd name="connsiteX14" fmla="*/ 8193502 w 8389608"/>
                  <a:gd name="connsiteY14" fmla="*/ 1798516 h 3023545"/>
                  <a:gd name="connsiteX15" fmla="*/ 8209765 w 8389608"/>
                  <a:gd name="connsiteY15" fmla="*/ 1786521 h 3023545"/>
                  <a:gd name="connsiteX16" fmla="*/ 8235573 w 8389608"/>
                  <a:gd name="connsiteY16" fmla="*/ 1759426 h 3023545"/>
                  <a:gd name="connsiteX17" fmla="*/ 8292256 w 8389608"/>
                  <a:gd name="connsiteY17" fmla="*/ 1706758 h 3023545"/>
                  <a:gd name="connsiteX18" fmla="*/ 8389608 w 8389608"/>
                  <a:gd name="connsiteY18" fmla="*/ 1474982 h 3023545"/>
                  <a:gd name="connsiteX19" fmla="*/ 7521469 w 8389608"/>
                  <a:gd name="connsiteY19" fmla="*/ 822160 h 3023545"/>
                  <a:gd name="connsiteX20" fmla="*/ 7307007 w 8389608"/>
                  <a:gd name="connsiteY20" fmla="*/ 758460 h 3023545"/>
                  <a:gd name="connsiteX21" fmla="*/ 7295927 w 8389608"/>
                  <a:gd name="connsiteY21" fmla="*/ 765818 h 3023545"/>
                  <a:gd name="connsiteX22" fmla="*/ 7234731 w 8389608"/>
                  <a:gd name="connsiteY22" fmla="*/ 746973 h 3023545"/>
                  <a:gd name="connsiteX23" fmla="*/ 5709445 w 8389608"/>
                  <a:gd name="connsiteY23" fmla="*/ 501171 h 3023545"/>
                  <a:gd name="connsiteX24" fmla="*/ 5371664 w 8389608"/>
                  <a:gd name="connsiteY24" fmla="*/ 477725 h 3023545"/>
                  <a:gd name="connsiteX25" fmla="*/ 5275791 w 8389608"/>
                  <a:gd name="connsiteY25" fmla="*/ 381051 h 3023545"/>
                  <a:gd name="connsiteX26" fmla="*/ 4108936 w 8389608"/>
                  <a:gd name="connsiteY26" fmla="*/ 361 h 3023545"/>
                  <a:gd name="connsiteX27" fmla="*/ 4513244 w 8389608"/>
                  <a:gd name="connsiteY27" fmla="*/ 440938 h 3023545"/>
                  <a:gd name="connsiteX28" fmla="*/ 4526150 w 8389608"/>
                  <a:gd name="connsiteY28" fmla="*/ 455439 h 3023545"/>
                  <a:gd name="connsiteX29" fmla="*/ 4813521 w 8389608"/>
                  <a:gd name="connsiteY29" fmla="*/ 451522 h 3023545"/>
                  <a:gd name="connsiteX30" fmla="*/ 4983493 w 8389608"/>
                  <a:gd name="connsiteY30" fmla="*/ 459591 h 3023545"/>
                  <a:gd name="connsiteX31" fmla="*/ 5051396 w 8389608"/>
                  <a:gd name="connsiteY31" fmla="*/ 463781 h 3023545"/>
                  <a:gd name="connsiteX32" fmla="*/ 4967624 w 8389608"/>
                  <a:gd name="connsiteY32" fmla="*/ 460330 h 3023545"/>
                  <a:gd name="connsiteX33" fmla="*/ 4578915 w 8389608"/>
                  <a:gd name="connsiteY33" fmla="*/ 455031 h 3023545"/>
                  <a:gd name="connsiteX34" fmla="*/ 1426428 w 8389608"/>
                  <a:gd name="connsiteY34" fmla="*/ 907517 h 3023545"/>
                  <a:gd name="connsiteX35" fmla="*/ 1253650 w 8389608"/>
                  <a:gd name="connsiteY35" fmla="*/ 984292 h 3023545"/>
                  <a:gd name="connsiteX36" fmla="*/ 198320 w 8389608"/>
                  <a:gd name="connsiteY36" fmla="*/ 796503 h 3023545"/>
                  <a:gd name="connsiteX37" fmla="*/ 777185 w 8389608"/>
                  <a:gd name="connsiteY37" fmla="*/ 1490381 h 3023545"/>
                  <a:gd name="connsiteX38" fmla="*/ 0 w 8389608"/>
                  <a:gd name="connsiteY38" fmla="*/ 2421982 h 3023545"/>
                  <a:gd name="connsiteX39" fmla="*/ 1561940 w 8389608"/>
                  <a:gd name="connsiteY39" fmla="*/ 2104065 h 3023545"/>
                  <a:gd name="connsiteX40" fmla="*/ 1645285 w 8389608"/>
                  <a:gd name="connsiteY40" fmla="*/ 2134153 h 3023545"/>
                  <a:gd name="connsiteX41" fmla="*/ 4142368 w 8389608"/>
                  <a:gd name="connsiteY41" fmla="*/ 2500938 h 3023545"/>
                  <a:gd name="connsiteX42" fmla="*/ 4487662 w 8389608"/>
                  <a:gd name="connsiteY42" fmla="*/ 2506232 h 3023545"/>
                  <a:gd name="connsiteX43" fmla="*/ 4478946 w 8389608"/>
                  <a:gd name="connsiteY43" fmla="*/ 2516025 h 3023545"/>
                  <a:gd name="connsiteX44" fmla="*/ 4013587 w 8389608"/>
                  <a:gd name="connsiteY44" fmla="*/ 3023129 h 3023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8389608" h="3023545">
                    <a:moveTo>
                      <a:pt x="4824565" y="2503843"/>
                    </a:moveTo>
                    <a:lnTo>
                      <a:pt x="4799462" y="2503501"/>
                    </a:lnTo>
                    <a:lnTo>
                      <a:pt x="4852826" y="2502501"/>
                    </a:lnTo>
                    <a:close/>
                    <a:moveTo>
                      <a:pt x="4013587" y="3023129"/>
                    </a:moveTo>
                    <a:cubicBezTo>
                      <a:pt x="4534369" y="3028376"/>
                      <a:pt x="4992271" y="2989607"/>
                      <a:pt x="5356639" y="2584955"/>
                    </a:cubicBezTo>
                    <a:lnTo>
                      <a:pt x="5463093" y="2477611"/>
                    </a:lnTo>
                    <a:lnTo>
                      <a:pt x="5619697" y="2468698"/>
                    </a:lnTo>
                    <a:cubicBezTo>
                      <a:pt x="6611999" y="2392619"/>
                      <a:pt x="7438990" y="2210469"/>
                      <a:pt x="7921832" y="1970527"/>
                    </a:cubicBezTo>
                    <a:lnTo>
                      <a:pt x="7994163" y="1929993"/>
                    </a:lnTo>
                    <a:lnTo>
                      <a:pt x="8014712" y="1919925"/>
                    </a:lnTo>
                    <a:lnTo>
                      <a:pt x="8030939" y="1909384"/>
                    </a:lnTo>
                    <a:lnTo>
                      <a:pt x="8081923" y="1880813"/>
                    </a:lnTo>
                    <a:lnTo>
                      <a:pt x="8133596" y="1842701"/>
                    </a:lnTo>
                    <a:lnTo>
                      <a:pt x="8174648" y="1816035"/>
                    </a:lnTo>
                    <a:lnTo>
                      <a:pt x="8193502" y="1798516"/>
                    </a:lnTo>
                    <a:lnTo>
                      <a:pt x="8209765" y="1786521"/>
                    </a:lnTo>
                    <a:lnTo>
                      <a:pt x="8235573" y="1759426"/>
                    </a:lnTo>
                    <a:lnTo>
                      <a:pt x="8292256" y="1706758"/>
                    </a:lnTo>
                    <a:cubicBezTo>
                      <a:pt x="8355948" y="1632275"/>
                      <a:pt x="8389608" y="1554689"/>
                      <a:pt x="8389608" y="1474982"/>
                    </a:cubicBezTo>
                    <a:cubicBezTo>
                      <a:pt x="8389608" y="1227002"/>
                      <a:pt x="8063814" y="999565"/>
                      <a:pt x="7521469" y="822160"/>
                    </a:cubicBezTo>
                    <a:lnTo>
                      <a:pt x="7307007" y="758460"/>
                    </a:lnTo>
                    <a:lnTo>
                      <a:pt x="7295927" y="765818"/>
                    </a:lnTo>
                    <a:lnTo>
                      <a:pt x="7234731" y="746973"/>
                    </a:lnTo>
                    <a:cubicBezTo>
                      <a:pt x="6810517" y="635154"/>
                      <a:pt x="6289788" y="549899"/>
                      <a:pt x="5709445" y="501171"/>
                    </a:cubicBezTo>
                    <a:lnTo>
                      <a:pt x="5371664" y="477725"/>
                    </a:lnTo>
                    <a:lnTo>
                      <a:pt x="5275791" y="381051"/>
                    </a:lnTo>
                    <a:cubicBezTo>
                      <a:pt x="4959225" y="29486"/>
                      <a:pt x="4561396" y="-4197"/>
                      <a:pt x="4108936" y="361"/>
                    </a:cubicBezTo>
                    <a:cubicBezTo>
                      <a:pt x="4242671" y="160667"/>
                      <a:pt x="4378474" y="294079"/>
                      <a:pt x="4513244" y="440938"/>
                    </a:cubicBezTo>
                    <a:lnTo>
                      <a:pt x="4526150" y="455439"/>
                    </a:lnTo>
                    <a:lnTo>
                      <a:pt x="4813521" y="451522"/>
                    </a:lnTo>
                    <a:cubicBezTo>
                      <a:pt x="4870527" y="451522"/>
                      <a:pt x="4927196" y="455366"/>
                      <a:pt x="4983493" y="459591"/>
                    </a:cubicBezTo>
                    <a:lnTo>
                      <a:pt x="5051396" y="463781"/>
                    </a:lnTo>
                    <a:lnTo>
                      <a:pt x="4967624" y="460330"/>
                    </a:lnTo>
                    <a:cubicBezTo>
                      <a:pt x="4839820" y="456826"/>
                      <a:pt x="4710144" y="455031"/>
                      <a:pt x="4578915" y="455031"/>
                    </a:cubicBezTo>
                    <a:cubicBezTo>
                      <a:pt x="3266628" y="455031"/>
                      <a:pt x="2109634" y="634519"/>
                      <a:pt x="1426428" y="907517"/>
                    </a:cubicBezTo>
                    <a:lnTo>
                      <a:pt x="1253650" y="984292"/>
                    </a:lnTo>
                    <a:lnTo>
                      <a:pt x="198320" y="796503"/>
                    </a:lnTo>
                    <a:lnTo>
                      <a:pt x="777185" y="1490381"/>
                    </a:lnTo>
                    <a:lnTo>
                      <a:pt x="0" y="2421982"/>
                    </a:lnTo>
                    <a:lnTo>
                      <a:pt x="1561940" y="2104065"/>
                    </a:lnTo>
                    <a:lnTo>
                      <a:pt x="1645285" y="2134153"/>
                    </a:lnTo>
                    <a:cubicBezTo>
                      <a:pt x="2255423" y="2333734"/>
                      <a:pt x="3139632" y="2469992"/>
                      <a:pt x="4142368" y="2500938"/>
                    </a:cubicBezTo>
                    <a:lnTo>
                      <a:pt x="4487662" y="2506232"/>
                    </a:lnTo>
                    <a:lnTo>
                      <a:pt x="4478946" y="2516025"/>
                    </a:lnTo>
                    <a:cubicBezTo>
                      <a:pt x="4323826" y="2685060"/>
                      <a:pt x="4167516" y="2838617"/>
                      <a:pt x="4013587" y="3023129"/>
                    </a:cubicBezTo>
                    <a:close/>
                  </a:path>
                </a:pathLst>
              </a:custGeom>
              <a:solidFill>
                <a:schemeClr val="accent4">
                  <a:lumMod val="10000"/>
                  <a:lumOff val="90000"/>
                  <a:alpha val="2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cs typeface="+mn-cs"/>
                </a:endParaRPr>
              </a:p>
            </p:txBody>
          </p:sp>
          <p:sp>
            <p:nvSpPr>
              <p:cNvPr id="41" name="Freeform 130">
                <a:extLst>
                  <a:ext uri="{FF2B5EF4-FFF2-40B4-BE49-F238E27FC236}">
                    <a16:creationId xmlns:a16="http://schemas.microsoft.com/office/drawing/2014/main" id="{64A46AC6-A5A6-483B-AF1E-429B5D8813BE}"/>
                  </a:ext>
                </a:extLst>
              </p:cNvPr>
              <p:cNvSpPr/>
              <p:nvPr/>
            </p:nvSpPr>
            <p:spPr>
              <a:xfrm flipV="1">
                <a:off x="738816" y="3591877"/>
                <a:ext cx="337153" cy="121507"/>
              </a:xfrm>
              <a:custGeom>
                <a:avLst/>
                <a:gdLst>
                  <a:gd name="connsiteX0" fmla="*/ 4824565 w 8389608"/>
                  <a:gd name="connsiteY0" fmla="*/ 2503843 h 3023545"/>
                  <a:gd name="connsiteX1" fmla="*/ 4799462 w 8389608"/>
                  <a:gd name="connsiteY1" fmla="*/ 2503501 h 3023545"/>
                  <a:gd name="connsiteX2" fmla="*/ 4852826 w 8389608"/>
                  <a:gd name="connsiteY2" fmla="*/ 2502501 h 3023545"/>
                  <a:gd name="connsiteX3" fmla="*/ 4013587 w 8389608"/>
                  <a:gd name="connsiteY3" fmla="*/ 3023129 h 3023545"/>
                  <a:gd name="connsiteX4" fmla="*/ 5356639 w 8389608"/>
                  <a:gd name="connsiteY4" fmla="*/ 2584955 h 3023545"/>
                  <a:gd name="connsiteX5" fmla="*/ 5463093 w 8389608"/>
                  <a:gd name="connsiteY5" fmla="*/ 2477611 h 3023545"/>
                  <a:gd name="connsiteX6" fmla="*/ 5619697 w 8389608"/>
                  <a:gd name="connsiteY6" fmla="*/ 2468698 h 3023545"/>
                  <a:gd name="connsiteX7" fmla="*/ 7921832 w 8389608"/>
                  <a:gd name="connsiteY7" fmla="*/ 1970527 h 3023545"/>
                  <a:gd name="connsiteX8" fmla="*/ 7994163 w 8389608"/>
                  <a:gd name="connsiteY8" fmla="*/ 1929993 h 3023545"/>
                  <a:gd name="connsiteX9" fmla="*/ 8014712 w 8389608"/>
                  <a:gd name="connsiteY9" fmla="*/ 1919925 h 3023545"/>
                  <a:gd name="connsiteX10" fmla="*/ 8030939 w 8389608"/>
                  <a:gd name="connsiteY10" fmla="*/ 1909384 h 3023545"/>
                  <a:gd name="connsiteX11" fmla="*/ 8081923 w 8389608"/>
                  <a:gd name="connsiteY11" fmla="*/ 1880813 h 3023545"/>
                  <a:gd name="connsiteX12" fmla="*/ 8133596 w 8389608"/>
                  <a:gd name="connsiteY12" fmla="*/ 1842701 h 3023545"/>
                  <a:gd name="connsiteX13" fmla="*/ 8174648 w 8389608"/>
                  <a:gd name="connsiteY13" fmla="*/ 1816035 h 3023545"/>
                  <a:gd name="connsiteX14" fmla="*/ 8193502 w 8389608"/>
                  <a:gd name="connsiteY14" fmla="*/ 1798516 h 3023545"/>
                  <a:gd name="connsiteX15" fmla="*/ 8209765 w 8389608"/>
                  <a:gd name="connsiteY15" fmla="*/ 1786521 h 3023545"/>
                  <a:gd name="connsiteX16" fmla="*/ 8235573 w 8389608"/>
                  <a:gd name="connsiteY16" fmla="*/ 1759426 h 3023545"/>
                  <a:gd name="connsiteX17" fmla="*/ 8292256 w 8389608"/>
                  <a:gd name="connsiteY17" fmla="*/ 1706758 h 3023545"/>
                  <a:gd name="connsiteX18" fmla="*/ 8389608 w 8389608"/>
                  <a:gd name="connsiteY18" fmla="*/ 1474982 h 3023545"/>
                  <a:gd name="connsiteX19" fmla="*/ 7521469 w 8389608"/>
                  <a:gd name="connsiteY19" fmla="*/ 822160 h 3023545"/>
                  <a:gd name="connsiteX20" fmla="*/ 7307007 w 8389608"/>
                  <a:gd name="connsiteY20" fmla="*/ 758460 h 3023545"/>
                  <a:gd name="connsiteX21" fmla="*/ 7295927 w 8389608"/>
                  <a:gd name="connsiteY21" fmla="*/ 765818 h 3023545"/>
                  <a:gd name="connsiteX22" fmla="*/ 7234731 w 8389608"/>
                  <a:gd name="connsiteY22" fmla="*/ 746973 h 3023545"/>
                  <a:gd name="connsiteX23" fmla="*/ 5709445 w 8389608"/>
                  <a:gd name="connsiteY23" fmla="*/ 501171 h 3023545"/>
                  <a:gd name="connsiteX24" fmla="*/ 5371664 w 8389608"/>
                  <a:gd name="connsiteY24" fmla="*/ 477725 h 3023545"/>
                  <a:gd name="connsiteX25" fmla="*/ 5275791 w 8389608"/>
                  <a:gd name="connsiteY25" fmla="*/ 381051 h 3023545"/>
                  <a:gd name="connsiteX26" fmla="*/ 4108936 w 8389608"/>
                  <a:gd name="connsiteY26" fmla="*/ 361 h 3023545"/>
                  <a:gd name="connsiteX27" fmla="*/ 4513244 w 8389608"/>
                  <a:gd name="connsiteY27" fmla="*/ 440938 h 3023545"/>
                  <a:gd name="connsiteX28" fmla="*/ 4526150 w 8389608"/>
                  <a:gd name="connsiteY28" fmla="*/ 455439 h 3023545"/>
                  <a:gd name="connsiteX29" fmla="*/ 4813521 w 8389608"/>
                  <a:gd name="connsiteY29" fmla="*/ 451522 h 3023545"/>
                  <a:gd name="connsiteX30" fmla="*/ 4983493 w 8389608"/>
                  <a:gd name="connsiteY30" fmla="*/ 459591 h 3023545"/>
                  <a:gd name="connsiteX31" fmla="*/ 5051396 w 8389608"/>
                  <a:gd name="connsiteY31" fmla="*/ 463781 h 3023545"/>
                  <a:gd name="connsiteX32" fmla="*/ 4967624 w 8389608"/>
                  <a:gd name="connsiteY32" fmla="*/ 460330 h 3023545"/>
                  <a:gd name="connsiteX33" fmla="*/ 4578915 w 8389608"/>
                  <a:gd name="connsiteY33" fmla="*/ 455031 h 3023545"/>
                  <a:gd name="connsiteX34" fmla="*/ 1426428 w 8389608"/>
                  <a:gd name="connsiteY34" fmla="*/ 907517 h 3023545"/>
                  <a:gd name="connsiteX35" fmla="*/ 1253650 w 8389608"/>
                  <a:gd name="connsiteY35" fmla="*/ 984292 h 3023545"/>
                  <a:gd name="connsiteX36" fmla="*/ 198320 w 8389608"/>
                  <a:gd name="connsiteY36" fmla="*/ 796503 h 3023545"/>
                  <a:gd name="connsiteX37" fmla="*/ 777185 w 8389608"/>
                  <a:gd name="connsiteY37" fmla="*/ 1490381 h 3023545"/>
                  <a:gd name="connsiteX38" fmla="*/ 0 w 8389608"/>
                  <a:gd name="connsiteY38" fmla="*/ 2421982 h 3023545"/>
                  <a:gd name="connsiteX39" fmla="*/ 1561940 w 8389608"/>
                  <a:gd name="connsiteY39" fmla="*/ 2104065 h 3023545"/>
                  <a:gd name="connsiteX40" fmla="*/ 1645285 w 8389608"/>
                  <a:gd name="connsiteY40" fmla="*/ 2134153 h 3023545"/>
                  <a:gd name="connsiteX41" fmla="*/ 4142368 w 8389608"/>
                  <a:gd name="connsiteY41" fmla="*/ 2500938 h 3023545"/>
                  <a:gd name="connsiteX42" fmla="*/ 4487662 w 8389608"/>
                  <a:gd name="connsiteY42" fmla="*/ 2506232 h 3023545"/>
                  <a:gd name="connsiteX43" fmla="*/ 4478946 w 8389608"/>
                  <a:gd name="connsiteY43" fmla="*/ 2516025 h 3023545"/>
                  <a:gd name="connsiteX44" fmla="*/ 4013587 w 8389608"/>
                  <a:gd name="connsiteY44" fmla="*/ 3023129 h 3023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8389608" h="3023545">
                    <a:moveTo>
                      <a:pt x="4824565" y="2503843"/>
                    </a:moveTo>
                    <a:lnTo>
                      <a:pt x="4799462" y="2503501"/>
                    </a:lnTo>
                    <a:lnTo>
                      <a:pt x="4852826" y="2502501"/>
                    </a:lnTo>
                    <a:close/>
                    <a:moveTo>
                      <a:pt x="4013587" y="3023129"/>
                    </a:moveTo>
                    <a:cubicBezTo>
                      <a:pt x="4534369" y="3028376"/>
                      <a:pt x="4992271" y="2989607"/>
                      <a:pt x="5356639" y="2584955"/>
                    </a:cubicBezTo>
                    <a:lnTo>
                      <a:pt x="5463093" y="2477611"/>
                    </a:lnTo>
                    <a:lnTo>
                      <a:pt x="5619697" y="2468698"/>
                    </a:lnTo>
                    <a:cubicBezTo>
                      <a:pt x="6611999" y="2392619"/>
                      <a:pt x="7438990" y="2210469"/>
                      <a:pt x="7921832" y="1970527"/>
                    </a:cubicBezTo>
                    <a:lnTo>
                      <a:pt x="7994163" y="1929993"/>
                    </a:lnTo>
                    <a:lnTo>
                      <a:pt x="8014712" y="1919925"/>
                    </a:lnTo>
                    <a:lnTo>
                      <a:pt x="8030939" y="1909384"/>
                    </a:lnTo>
                    <a:lnTo>
                      <a:pt x="8081923" y="1880813"/>
                    </a:lnTo>
                    <a:lnTo>
                      <a:pt x="8133596" y="1842701"/>
                    </a:lnTo>
                    <a:lnTo>
                      <a:pt x="8174648" y="1816035"/>
                    </a:lnTo>
                    <a:lnTo>
                      <a:pt x="8193502" y="1798516"/>
                    </a:lnTo>
                    <a:lnTo>
                      <a:pt x="8209765" y="1786521"/>
                    </a:lnTo>
                    <a:lnTo>
                      <a:pt x="8235573" y="1759426"/>
                    </a:lnTo>
                    <a:lnTo>
                      <a:pt x="8292256" y="1706758"/>
                    </a:lnTo>
                    <a:cubicBezTo>
                      <a:pt x="8355948" y="1632275"/>
                      <a:pt x="8389608" y="1554689"/>
                      <a:pt x="8389608" y="1474982"/>
                    </a:cubicBezTo>
                    <a:cubicBezTo>
                      <a:pt x="8389608" y="1227002"/>
                      <a:pt x="8063814" y="999565"/>
                      <a:pt x="7521469" y="822160"/>
                    </a:cubicBezTo>
                    <a:lnTo>
                      <a:pt x="7307007" y="758460"/>
                    </a:lnTo>
                    <a:lnTo>
                      <a:pt x="7295927" y="765818"/>
                    </a:lnTo>
                    <a:lnTo>
                      <a:pt x="7234731" y="746973"/>
                    </a:lnTo>
                    <a:cubicBezTo>
                      <a:pt x="6810517" y="635154"/>
                      <a:pt x="6289788" y="549899"/>
                      <a:pt x="5709445" y="501171"/>
                    </a:cubicBezTo>
                    <a:lnTo>
                      <a:pt x="5371664" y="477725"/>
                    </a:lnTo>
                    <a:lnTo>
                      <a:pt x="5275791" y="381051"/>
                    </a:lnTo>
                    <a:cubicBezTo>
                      <a:pt x="4959225" y="29486"/>
                      <a:pt x="4561396" y="-4197"/>
                      <a:pt x="4108936" y="361"/>
                    </a:cubicBezTo>
                    <a:cubicBezTo>
                      <a:pt x="4242671" y="160667"/>
                      <a:pt x="4378474" y="294079"/>
                      <a:pt x="4513244" y="440938"/>
                    </a:cubicBezTo>
                    <a:lnTo>
                      <a:pt x="4526150" y="455439"/>
                    </a:lnTo>
                    <a:lnTo>
                      <a:pt x="4813521" y="451522"/>
                    </a:lnTo>
                    <a:cubicBezTo>
                      <a:pt x="4870527" y="451522"/>
                      <a:pt x="4927196" y="455366"/>
                      <a:pt x="4983493" y="459591"/>
                    </a:cubicBezTo>
                    <a:lnTo>
                      <a:pt x="5051396" y="463781"/>
                    </a:lnTo>
                    <a:lnTo>
                      <a:pt x="4967624" y="460330"/>
                    </a:lnTo>
                    <a:cubicBezTo>
                      <a:pt x="4839820" y="456826"/>
                      <a:pt x="4710144" y="455031"/>
                      <a:pt x="4578915" y="455031"/>
                    </a:cubicBezTo>
                    <a:cubicBezTo>
                      <a:pt x="3266628" y="455031"/>
                      <a:pt x="2109634" y="634519"/>
                      <a:pt x="1426428" y="907517"/>
                    </a:cubicBezTo>
                    <a:lnTo>
                      <a:pt x="1253650" y="984292"/>
                    </a:lnTo>
                    <a:lnTo>
                      <a:pt x="198320" y="796503"/>
                    </a:lnTo>
                    <a:lnTo>
                      <a:pt x="777185" y="1490381"/>
                    </a:lnTo>
                    <a:lnTo>
                      <a:pt x="0" y="2421982"/>
                    </a:lnTo>
                    <a:lnTo>
                      <a:pt x="1561940" y="2104065"/>
                    </a:lnTo>
                    <a:lnTo>
                      <a:pt x="1645285" y="2134153"/>
                    </a:lnTo>
                    <a:cubicBezTo>
                      <a:pt x="2255423" y="2333734"/>
                      <a:pt x="3139632" y="2469992"/>
                      <a:pt x="4142368" y="2500938"/>
                    </a:cubicBezTo>
                    <a:lnTo>
                      <a:pt x="4487662" y="2506232"/>
                    </a:lnTo>
                    <a:lnTo>
                      <a:pt x="4478946" y="2516025"/>
                    </a:lnTo>
                    <a:cubicBezTo>
                      <a:pt x="4323826" y="2685060"/>
                      <a:pt x="4167516" y="2838617"/>
                      <a:pt x="4013587" y="3023129"/>
                    </a:cubicBezTo>
                    <a:close/>
                  </a:path>
                </a:pathLst>
              </a:custGeom>
              <a:solidFill>
                <a:schemeClr val="accent4">
                  <a:lumMod val="10000"/>
                  <a:lumOff val="90000"/>
                  <a:alpha val="2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cs typeface="+mn-cs"/>
                </a:endParaRPr>
              </a:p>
            </p:txBody>
          </p:sp>
        </p:grpSp>
        <p:grpSp>
          <p:nvGrpSpPr>
            <p:cNvPr id="45" name="组合 44">
              <a:extLst>
                <a:ext uri="{FF2B5EF4-FFF2-40B4-BE49-F238E27FC236}">
                  <a16:creationId xmlns:a16="http://schemas.microsoft.com/office/drawing/2014/main" id="{A8DD71DE-2DB1-45F6-86BC-BC8687016030}"/>
                </a:ext>
              </a:extLst>
            </p:cNvPr>
            <p:cNvGrpSpPr/>
            <p:nvPr/>
          </p:nvGrpSpPr>
          <p:grpSpPr>
            <a:xfrm>
              <a:off x="12075158" y="4468241"/>
              <a:ext cx="548643" cy="642474"/>
              <a:chOff x="-505626" y="5137184"/>
              <a:chExt cx="522123" cy="611418"/>
            </a:xfrm>
          </p:grpSpPr>
          <p:sp>
            <p:nvSpPr>
              <p:cNvPr id="46" name="Oval 123">
                <a:extLst>
                  <a:ext uri="{FF2B5EF4-FFF2-40B4-BE49-F238E27FC236}">
                    <a16:creationId xmlns:a16="http://schemas.microsoft.com/office/drawing/2014/main" id="{2B6BD722-BEF1-4ECB-8D6D-0B5DFC214B3E}"/>
                  </a:ext>
                </a:extLst>
              </p:cNvPr>
              <p:cNvSpPr/>
              <p:nvPr/>
            </p:nvSpPr>
            <p:spPr>
              <a:xfrm>
                <a:off x="-338785" y="5137184"/>
                <a:ext cx="332828" cy="332828"/>
              </a:xfrm>
              <a:prstGeom prst="ellipse">
                <a:avLst/>
              </a:prstGeom>
              <a:solidFill>
                <a:schemeClr val="accent4">
                  <a:lumMod val="10000"/>
                  <a:lumOff val="90000"/>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677C7"/>
                  </a:solidFill>
                  <a:effectLst/>
                  <a:uLnTx/>
                  <a:uFillTx/>
                  <a:latin typeface="Arial"/>
                  <a:cs typeface="+mn-cs"/>
                </a:endParaRPr>
              </a:p>
            </p:txBody>
          </p:sp>
          <p:sp>
            <p:nvSpPr>
              <p:cNvPr id="47" name="Oval 124">
                <a:extLst>
                  <a:ext uri="{FF2B5EF4-FFF2-40B4-BE49-F238E27FC236}">
                    <a16:creationId xmlns:a16="http://schemas.microsoft.com/office/drawing/2014/main" id="{1EA79C57-048A-4A74-A43F-7EF69804CCC3}"/>
                  </a:ext>
                </a:extLst>
              </p:cNvPr>
              <p:cNvSpPr/>
              <p:nvPr/>
            </p:nvSpPr>
            <p:spPr>
              <a:xfrm>
                <a:off x="-172371" y="5333480"/>
                <a:ext cx="188868" cy="188868"/>
              </a:xfrm>
              <a:prstGeom prst="ellipse">
                <a:avLst/>
              </a:prstGeom>
              <a:solidFill>
                <a:schemeClr val="accent4">
                  <a:lumMod val="10000"/>
                  <a:lumOff val="90000"/>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677C7"/>
                  </a:solidFill>
                  <a:effectLst/>
                  <a:uLnTx/>
                  <a:uFillTx/>
                  <a:latin typeface="Arial"/>
                  <a:cs typeface="+mn-cs"/>
                </a:endParaRPr>
              </a:p>
            </p:txBody>
          </p:sp>
          <p:sp>
            <p:nvSpPr>
              <p:cNvPr id="48" name="Oval 125">
                <a:extLst>
                  <a:ext uri="{FF2B5EF4-FFF2-40B4-BE49-F238E27FC236}">
                    <a16:creationId xmlns:a16="http://schemas.microsoft.com/office/drawing/2014/main" id="{784FDB34-A4F4-4B8F-8498-A04ED1C6B343}"/>
                  </a:ext>
                </a:extLst>
              </p:cNvPr>
              <p:cNvSpPr/>
              <p:nvPr/>
            </p:nvSpPr>
            <p:spPr>
              <a:xfrm>
                <a:off x="-505626" y="5506662"/>
                <a:ext cx="238821" cy="238821"/>
              </a:xfrm>
              <a:prstGeom prst="ellipse">
                <a:avLst/>
              </a:prstGeom>
              <a:solidFill>
                <a:schemeClr val="accent4">
                  <a:lumMod val="10000"/>
                  <a:lumOff val="90000"/>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677C7"/>
                  </a:solidFill>
                  <a:effectLst/>
                  <a:uLnTx/>
                  <a:uFillTx/>
                  <a:latin typeface="Arial"/>
                  <a:cs typeface="+mn-cs"/>
                </a:endParaRPr>
              </a:p>
            </p:txBody>
          </p:sp>
          <p:sp>
            <p:nvSpPr>
              <p:cNvPr id="49" name="Oval 126">
                <a:extLst>
                  <a:ext uri="{FF2B5EF4-FFF2-40B4-BE49-F238E27FC236}">
                    <a16:creationId xmlns:a16="http://schemas.microsoft.com/office/drawing/2014/main" id="{F87824C1-9477-4C31-A9DE-114741693A20}"/>
                  </a:ext>
                </a:extLst>
              </p:cNvPr>
              <p:cNvSpPr/>
              <p:nvPr/>
            </p:nvSpPr>
            <p:spPr>
              <a:xfrm>
                <a:off x="-231906" y="5629533"/>
                <a:ext cx="119069" cy="119069"/>
              </a:xfrm>
              <a:prstGeom prst="ellipse">
                <a:avLst/>
              </a:prstGeom>
              <a:solidFill>
                <a:schemeClr val="accent4">
                  <a:lumMod val="10000"/>
                  <a:lumOff val="90000"/>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677C7"/>
                  </a:solidFill>
                  <a:effectLst/>
                  <a:uLnTx/>
                  <a:uFillTx/>
                  <a:latin typeface="Arial"/>
                  <a:cs typeface="+mn-cs"/>
                </a:endParaRPr>
              </a:p>
            </p:txBody>
          </p:sp>
        </p:grpSp>
        <p:sp>
          <p:nvSpPr>
            <p:cNvPr id="50" name="平行四边形 49">
              <a:extLst>
                <a:ext uri="{FF2B5EF4-FFF2-40B4-BE49-F238E27FC236}">
                  <a16:creationId xmlns:a16="http://schemas.microsoft.com/office/drawing/2014/main" id="{EED97EED-F085-4FED-8ED4-4575E1F3DC2B}"/>
                </a:ext>
              </a:extLst>
            </p:cNvPr>
            <p:cNvSpPr/>
            <p:nvPr/>
          </p:nvSpPr>
          <p:spPr>
            <a:xfrm rot="10800000">
              <a:off x="403002" y="4047177"/>
              <a:ext cx="3413024" cy="2810823"/>
            </a:xfrm>
            <a:prstGeom prst="parallelogram">
              <a:avLst>
                <a:gd name="adj" fmla="val 50096"/>
              </a:avLst>
            </a:prstGeom>
            <a:gradFill flip="none" rotWithShape="1">
              <a:gsLst>
                <a:gs pos="0">
                  <a:schemeClr val="bg2">
                    <a:alpha val="0"/>
                  </a:schemeClr>
                </a:gs>
                <a:gs pos="100000">
                  <a:schemeClr val="accent4">
                    <a:lumMod val="10000"/>
                    <a:lumOff val="90000"/>
                    <a:alpha val="10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Arial"/>
                <a:cs typeface="+mn-cs"/>
              </a:endParaRPr>
            </a:p>
          </p:txBody>
        </p:sp>
        <p:sp>
          <p:nvSpPr>
            <p:cNvPr id="51" name="平行四边形 50">
              <a:extLst>
                <a:ext uri="{FF2B5EF4-FFF2-40B4-BE49-F238E27FC236}">
                  <a16:creationId xmlns:a16="http://schemas.microsoft.com/office/drawing/2014/main" id="{A046F18F-C32E-4D9E-9EBB-426A7233CA6E}"/>
                </a:ext>
              </a:extLst>
            </p:cNvPr>
            <p:cNvSpPr/>
            <p:nvPr/>
          </p:nvSpPr>
          <p:spPr>
            <a:xfrm>
              <a:off x="1932358" y="-2"/>
              <a:ext cx="8327283" cy="6858001"/>
            </a:xfrm>
            <a:prstGeom prst="parallelogram">
              <a:avLst>
                <a:gd name="adj" fmla="val 50096"/>
              </a:avLst>
            </a:prstGeom>
            <a:gradFill flip="none" rotWithShape="1">
              <a:gsLst>
                <a:gs pos="0">
                  <a:schemeClr val="bg2">
                    <a:alpha val="0"/>
                  </a:schemeClr>
                </a:gs>
                <a:gs pos="100000">
                  <a:schemeClr val="accent1">
                    <a:lumMod val="20000"/>
                    <a:lumOff val="80000"/>
                    <a:alpha val="10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Arial"/>
                <a:cs typeface="+mn-cs"/>
              </a:endParaRPr>
            </a:p>
          </p:txBody>
        </p:sp>
        <p:sp>
          <p:nvSpPr>
            <p:cNvPr id="52" name="任意多边形: 形状 51">
              <a:extLst>
                <a:ext uri="{FF2B5EF4-FFF2-40B4-BE49-F238E27FC236}">
                  <a16:creationId xmlns:a16="http://schemas.microsoft.com/office/drawing/2014/main" id="{DBE6BB08-4C21-48D9-93F1-0F9CD75EB938}"/>
                </a:ext>
              </a:extLst>
            </p:cNvPr>
            <p:cNvSpPr/>
            <p:nvPr/>
          </p:nvSpPr>
          <p:spPr>
            <a:xfrm rot="10800000">
              <a:off x="10012754" y="0"/>
              <a:ext cx="4112493" cy="6857999"/>
            </a:xfrm>
            <a:custGeom>
              <a:avLst/>
              <a:gdLst>
                <a:gd name="connsiteX0" fmla="*/ 676910 w 4112493"/>
                <a:gd name="connsiteY0" fmla="*/ 6857999 h 6857999"/>
                <a:gd name="connsiteX1" fmla="*/ 0 w 4112493"/>
                <a:gd name="connsiteY1" fmla="*/ 6857999 h 6857999"/>
                <a:gd name="connsiteX2" fmla="*/ 0 w 4112493"/>
                <a:gd name="connsiteY2" fmla="*/ 0 h 6857999"/>
                <a:gd name="connsiteX3" fmla="*/ 4112493 w 4112493"/>
                <a:gd name="connsiteY3" fmla="*/ 0 h 6857999"/>
              </a:gdLst>
              <a:ahLst/>
              <a:cxnLst>
                <a:cxn ang="0">
                  <a:pos x="connsiteX0" y="connsiteY0"/>
                </a:cxn>
                <a:cxn ang="0">
                  <a:pos x="connsiteX1" y="connsiteY1"/>
                </a:cxn>
                <a:cxn ang="0">
                  <a:pos x="connsiteX2" y="connsiteY2"/>
                </a:cxn>
                <a:cxn ang="0">
                  <a:pos x="connsiteX3" y="connsiteY3"/>
                </a:cxn>
              </a:cxnLst>
              <a:rect l="l" t="t" r="r" b="b"/>
              <a:pathLst>
                <a:path w="4112493" h="6857999">
                  <a:moveTo>
                    <a:pt x="676910" y="6857999"/>
                  </a:moveTo>
                  <a:lnTo>
                    <a:pt x="0" y="6857999"/>
                  </a:lnTo>
                  <a:lnTo>
                    <a:pt x="0" y="0"/>
                  </a:lnTo>
                  <a:lnTo>
                    <a:pt x="4112493" y="0"/>
                  </a:lnTo>
                  <a:close/>
                </a:path>
              </a:pathLst>
            </a:custGeom>
            <a:gradFill flip="none" rotWithShape="1">
              <a:gsLst>
                <a:gs pos="0">
                  <a:schemeClr val="bg2">
                    <a:alpha val="0"/>
                  </a:schemeClr>
                </a:gs>
                <a:gs pos="100000">
                  <a:schemeClr val="bg1">
                    <a:alpha val="10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Arial"/>
                <a:cs typeface="+mn-cs"/>
              </a:endParaRPr>
            </a:p>
          </p:txBody>
        </p:sp>
        <p:sp>
          <p:nvSpPr>
            <p:cNvPr id="53" name="平行四边形 52">
              <a:extLst>
                <a:ext uri="{FF2B5EF4-FFF2-40B4-BE49-F238E27FC236}">
                  <a16:creationId xmlns:a16="http://schemas.microsoft.com/office/drawing/2014/main" id="{4E670777-E7A8-49D6-BFBA-59196A763235}"/>
                </a:ext>
              </a:extLst>
            </p:cNvPr>
            <p:cNvSpPr/>
            <p:nvPr/>
          </p:nvSpPr>
          <p:spPr>
            <a:xfrm rot="10800000">
              <a:off x="9344158" y="3575422"/>
              <a:ext cx="2906313" cy="3282575"/>
            </a:xfrm>
            <a:prstGeom prst="parallelogram">
              <a:avLst>
                <a:gd name="adj" fmla="val 50096"/>
              </a:avLst>
            </a:prstGeom>
            <a:gradFill flip="none" rotWithShape="1">
              <a:gsLst>
                <a:gs pos="0">
                  <a:schemeClr val="bg2">
                    <a:alpha val="0"/>
                  </a:schemeClr>
                </a:gs>
                <a:gs pos="100000">
                  <a:schemeClr val="accent4">
                    <a:lumMod val="10000"/>
                    <a:lumOff val="90000"/>
                    <a:alpha val="10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Arial"/>
                <a:cs typeface="+mn-cs"/>
              </a:endParaRPr>
            </a:p>
          </p:txBody>
        </p:sp>
        <p:sp>
          <p:nvSpPr>
            <p:cNvPr id="54" name="平行四边形 53">
              <a:extLst>
                <a:ext uri="{FF2B5EF4-FFF2-40B4-BE49-F238E27FC236}">
                  <a16:creationId xmlns:a16="http://schemas.microsoft.com/office/drawing/2014/main" id="{8B2E5B7D-1B20-41DC-A680-5787449A3C57}"/>
                </a:ext>
              </a:extLst>
            </p:cNvPr>
            <p:cNvSpPr/>
            <p:nvPr/>
          </p:nvSpPr>
          <p:spPr>
            <a:xfrm>
              <a:off x="8743950" y="-2"/>
              <a:ext cx="1953932" cy="1845591"/>
            </a:xfrm>
            <a:prstGeom prst="parallelogram">
              <a:avLst>
                <a:gd name="adj" fmla="val 50096"/>
              </a:avLst>
            </a:prstGeom>
            <a:gradFill flip="none" rotWithShape="1">
              <a:gsLst>
                <a:gs pos="0">
                  <a:schemeClr val="bg2">
                    <a:alpha val="0"/>
                  </a:schemeClr>
                </a:gs>
                <a:gs pos="100000">
                  <a:schemeClr val="accent1">
                    <a:lumMod val="20000"/>
                    <a:lumOff val="80000"/>
                    <a:alpha val="10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Arial"/>
                <a:cs typeface="+mn-cs"/>
              </a:endParaRPr>
            </a:p>
          </p:txBody>
        </p:sp>
        <p:sp>
          <p:nvSpPr>
            <p:cNvPr id="55" name="任意多边形: 形状 54">
              <a:extLst>
                <a:ext uri="{FF2B5EF4-FFF2-40B4-BE49-F238E27FC236}">
                  <a16:creationId xmlns:a16="http://schemas.microsoft.com/office/drawing/2014/main" id="{48FA7029-36AD-4E73-B31E-354420972043}"/>
                </a:ext>
              </a:extLst>
            </p:cNvPr>
            <p:cNvSpPr/>
            <p:nvPr/>
          </p:nvSpPr>
          <p:spPr>
            <a:xfrm>
              <a:off x="-1940836" y="3094"/>
              <a:ext cx="2261036" cy="3770506"/>
            </a:xfrm>
            <a:custGeom>
              <a:avLst/>
              <a:gdLst>
                <a:gd name="connsiteX0" fmla="*/ 676910 w 4112493"/>
                <a:gd name="connsiteY0" fmla="*/ 6857999 h 6857999"/>
                <a:gd name="connsiteX1" fmla="*/ 0 w 4112493"/>
                <a:gd name="connsiteY1" fmla="*/ 6857999 h 6857999"/>
                <a:gd name="connsiteX2" fmla="*/ 0 w 4112493"/>
                <a:gd name="connsiteY2" fmla="*/ 0 h 6857999"/>
                <a:gd name="connsiteX3" fmla="*/ 4112493 w 4112493"/>
                <a:gd name="connsiteY3" fmla="*/ 0 h 6857999"/>
              </a:gdLst>
              <a:ahLst/>
              <a:cxnLst>
                <a:cxn ang="0">
                  <a:pos x="connsiteX0" y="connsiteY0"/>
                </a:cxn>
                <a:cxn ang="0">
                  <a:pos x="connsiteX1" y="connsiteY1"/>
                </a:cxn>
                <a:cxn ang="0">
                  <a:pos x="connsiteX2" y="connsiteY2"/>
                </a:cxn>
                <a:cxn ang="0">
                  <a:pos x="connsiteX3" y="connsiteY3"/>
                </a:cxn>
              </a:cxnLst>
              <a:rect l="l" t="t" r="r" b="b"/>
              <a:pathLst>
                <a:path w="4112493" h="6857999">
                  <a:moveTo>
                    <a:pt x="676910" y="6857999"/>
                  </a:moveTo>
                  <a:lnTo>
                    <a:pt x="0" y="6857999"/>
                  </a:lnTo>
                  <a:lnTo>
                    <a:pt x="0" y="0"/>
                  </a:lnTo>
                  <a:lnTo>
                    <a:pt x="4112493" y="0"/>
                  </a:lnTo>
                  <a:close/>
                </a:path>
              </a:pathLst>
            </a:custGeom>
            <a:gradFill flip="none" rotWithShape="1">
              <a:gsLst>
                <a:gs pos="0">
                  <a:schemeClr val="bg2">
                    <a:alpha val="0"/>
                  </a:schemeClr>
                </a:gs>
                <a:gs pos="100000">
                  <a:schemeClr val="bg1">
                    <a:alpha val="10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Arial"/>
                <a:cs typeface="+mn-cs"/>
              </a:endParaRPr>
            </a:p>
          </p:txBody>
        </p:sp>
        <p:sp>
          <p:nvSpPr>
            <p:cNvPr id="56" name="平行四边形 55">
              <a:extLst>
                <a:ext uri="{FF2B5EF4-FFF2-40B4-BE49-F238E27FC236}">
                  <a16:creationId xmlns:a16="http://schemas.microsoft.com/office/drawing/2014/main" id="{A82865DA-0708-4B94-9E2E-C2DCBBD9FE17}"/>
                </a:ext>
              </a:extLst>
            </p:cNvPr>
            <p:cNvSpPr/>
            <p:nvPr/>
          </p:nvSpPr>
          <p:spPr>
            <a:xfrm>
              <a:off x="-1320681" y="1"/>
              <a:ext cx="1967458" cy="2222173"/>
            </a:xfrm>
            <a:prstGeom prst="parallelogram">
              <a:avLst>
                <a:gd name="adj" fmla="val 55538"/>
              </a:avLst>
            </a:prstGeom>
            <a:gradFill flip="none" rotWithShape="1">
              <a:gsLst>
                <a:gs pos="0">
                  <a:schemeClr val="bg2">
                    <a:alpha val="0"/>
                  </a:schemeClr>
                </a:gs>
                <a:gs pos="100000">
                  <a:schemeClr val="accent4">
                    <a:lumMod val="10000"/>
                    <a:lumOff val="90000"/>
                    <a:alpha val="10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Arial"/>
                <a:cs typeface="+mn-cs"/>
              </a:endParaRPr>
            </a:p>
          </p:txBody>
        </p:sp>
        <p:pic>
          <p:nvPicPr>
            <p:cNvPr id="5" name="图片 4">
              <a:extLst>
                <a:ext uri="{FF2B5EF4-FFF2-40B4-BE49-F238E27FC236}">
                  <a16:creationId xmlns:a16="http://schemas.microsoft.com/office/drawing/2014/main" id="{23856909-2FD2-485B-8346-1DD98D492FCC}"/>
                </a:ext>
              </a:extLst>
            </p:cNvPr>
            <p:cNvPicPr>
              <a:picLocks noChangeAspect="1"/>
            </p:cNvPicPr>
            <p:nvPr/>
          </p:nvPicPr>
          <p:blipFill rotWithShape="1">
            <a:blip r:embed="rId4">
              <a:extLst>
                <a:ext uri="{28A0092B-C50C-407E-A947-70E740481C1C}">
                  <a14:useLocalDpi xmlns:a14="http://schemas.microsoft.com/office/drawing/2010/main" val="0"/>
                </a:ext>
              </a:extLst>
            </a:blip>
            <a:srcRect b="54074"/>
            <a:stretch/>
          </p:blipFill>
          <p:spPr>
            <a:xfrm>
              <a:off x="-12700" y="279400"/>
              <a:ext cx="11673191" cy="3149600"/>
            </a:xfrm>
            <a:prstGeom prst="rect">
              <a:avLst/>
            </a:prstGeom>
          </p:spPr>
        </p:pic>
        <p:sp>
          <p:nvSpPr>
            <p:cNvPr id="61" name="文本框 60">
              <a:extLst>
                <a:ext uri="{FF2B5EF4-FFF2-40B4-BE49-F238E27FC236}">
                  <a16:creationId xmlns:a16="http://schemas.microsoft.com/office/drawing/2014/main" id="{E41C7B6D-62C2-4100-866F-28A019E3E459}"/>
                </a:ext>
              </a:extLst>
            </p:cNvPr>
            <p:cNvSpPr txBox="1"/>
            <p:nvPr/>
          </p:nvSpPr>
          <p:spPr>
            <a:xfrm rot="5400000">
              <a:off x="-4885883" y="3271362"/>
              <a:ext cx="6391355"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800" b="0" i="0" u="none" strike="noStrike" kern="1200" cap="none" spc="0" normalizeH="0" baseline="0" noProof="0">
                  <a:ln>
                    <a:noFill/>
                  </a:ln>
                  <a:solidFill>
                    <a:srgbClr val="009FDE">
                      <a:lumMod val="40000"/>
                      <a:lumOff val="60000"/>
                    </a:srgbClr>
                  </a:solidFill>
                  <a:effectLst/>
                  <a:uLnTx/>
                  <a:uFillTx/>
                  <a:latin typeface="阿里巴巴普惠体 L" panose="00020600040101010101" pitchFamily="18" charset="-122"/>
                  <a:ea typeface="阿里巴巴普惠体 L" panose="00020600040101010101" pitchFamily="18" charset="-122"/>
                  <a:cs typeface="阿里巴巴普惠体 L" panose="00020600040101010101" pitchFamily="18" charset="-122"/>
                </a:rPr>
                <a:t>FISHBONE</a:t>
              </a:r>
              <a:endParaRPr kumimoji="0" lang="zh-CN" altLang="en-US" sz="1800" b="0" i="0" u="none" strike="noStrike" kern="1200" cap="none" spc="0" normalizeH="0" baseline="0" noProof="0">
                <a:ln>
                  <a:noFill/>
                </a:ln>
                <a:solidFill>
                  <a:srgbClr val="009FDE">
                    <a:lumMod val="40000"/>
                    <a:lumOff val="60000"/>
                  </a:srgbClr>
                </a:solidFill>
                <a:effectLst/>
                <a:uLnTx/>
                <a:uFillTx/>
                <a:latin typeface="阿里巴巴普惠体 L" panose="00020600040101010101" pitchFamily="18" charset="-122"/>
                <a:ea typeface="阿里巴巴普惠体 L" panose="00020600040101010101" pitchFamily="18" charset="-122"/>
                <a:cs typeface="阿里巴巴普惠体 L" panose="00020600040101010101" pitchFamily="18" charset="-122"/>
              </a:endParaRPr>
            </a:p>
          </p:txBody>
        </p:sp>
        <p:cxnSp>
          <p:nvCxnSpPr>
            <p:cNvPr id="63" name="直接连接符 62">
              <a:extLst>
                <a:ext uri="{FF2B5EF4-FFF2-40B4-BE49-F238E27FC236}">
                  <a16:creationId xmlns:a16="http://schemas.microsoft.com/office/drawing/2014/main" id="{E41A0D0E-E258-4AA4-B136-7876527D9AD8}"/>
                </a:ext>
              </a:extLst>
            </p:cNvPr>
            <p:cNvCxnSpPr/>
            <p:nvPr/>
          </p:nvCxnSpPr>
          <p:spPr>
            <a:xfrm>
              <a:off x="-1760572" y="1797374"/>
              <a:ext cx="0" cy="4741246"/>
            </a:xfrm>
            <a:prstGeom prst="line">
              <a:avLst/>
            </a:prstGeom>
            <a:ln cap="rnd">
              <a:solidFill>
                <a:schemeClr val="accent1">
                  <a:lumMod val="40000"/>
                  <a:lumOff val="60000"/>
                </a:schemeClr>
              </a:solidFill>
              <a:round/>
              <a:tailEnd type="oval"/>
            </a:ln>
          </p:spPr>
          <p:style>
            <a:lnRef idx="1">
              <a:schemeClr val="accent1"/>
            </a:lnRef>
            <a:fillRef idx="0">
              <a:schemeClr val="accent1"/>
            </a:fillRef>
            <a:effectRef idx="0">
              <a:schemeClr val="accent1"/>
            </a:effectRef>
            <a:fontRef idx="minor">
              <a:schemeClr val="tx1"/>
            </a:fontRef>
          </p:style>
        </p:cxnSp>
        <p:sp>
          <p:nvSpPr>
            <p:cNvPr id="64" name="文本框 63">
              <a:extLst>
                <a:ext uri="{FF2B5EF4-FFF2-40B4-BE49-F238E27FC236}">
                  <a16:creationId xmlns:a16="http://schemas.microsoft.com/office/drawing/2014/main" id="{D0496D99-38C6-46E3-8D51-C478E1DF3777}"/>
                </a:ext>
              </a:extLst>
            </p:cNvPr>
            <p:cNvSpPr txBox="1"/>
            <p:nvPr/>
          </p:nvSpPr>
          <p:spPr>
            <a:xfrm>
              <a:off x="-1695647" y="6323787"/>
              <a:ext cx="1356807" cy="369332"/>
            </a:xfrm>
            <a:prstGeom prst="rect">
              <a:avLst/>
            </a:prstGeom>
            <a:noFill/>
          </p:spPr>
          <p:txBody>
            <a:bodyPr wrap="square" rtlCol="0">
              <a:spAutoFit/>
            </a:bodyPr>
            <a:lstStyle>
              <a:defPPr>
                <a:defRPr lang="zh-CN"/>
              </a:defPPr>
              <a:lvl1pPr>
                <a:defRPr>
                  <a:solidFill>
                    <a:schemeClr val="accent1">
                      <a:lumMod val="40000"/>
                      <a:lumOff val="60000"/>
                    </a:schemeClr>
                  </a:solidFill>
                  <a:latin typeface="阿里巴巴普惠体 L" panose="00020600040101010101" pitchFamily="18" charset="-122"/>
                  <a:ea typeface="阿里巴巴普惠体 L" panose="00020600040101010101" pitchFamily="18" charset="-122"/>
                  <a:cs typeface="阿里巴巴普惠体 L" panose="00020600040101010101" pitchFamily="18" charset="-122"/>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800" b="0" i="0" u="none" strike="noStrike" kern="1200" cap="none" spc="0" normalizeH="0" baseline="0" noProof="0">
                  <a:ln>
                    <a:noFill/>
                  </a:ln>
                  <a:solidFill>
                    <a:srgbClr val="009FDE">
                      <a:lumMod val="40000"/>
                      <a:lumOff val="60000"/>
                    </a:srgbClr>
                  </a:solidFill>
                  <a:effectLst/>
                  <a:uLnTx/>
                  <a:uFillTx/>
                  <a:ea typeface="阿里巴巴普惠体 L" panose="00020600040101010101" pitchFamily="18" charset="-122"/>
                </a:rPr>
                <a:t>YINLVPPT</a:t>
              </a:r>
              <a:endParaRPr kumimoji="0" lang="zh-CN" altLang="en-US" sz="1800" b="0" i="0" u="none" strike="noStrike" kern="1200" cap="none" spc="0" normalizeH="0" baseline="0" noProof="0">
                <a:ln>
                  <a:noFill/>
                </a:ln>
                <a:solidFill>
                  <a:srgbClr val="009FDE">
                    <a:lumMod val="40000"/>
                    <a:lumOff val="60000"/>
                  </a:srgbClr>
                </a:solidFill>
                <a:effectLst/>
                <a:uLnTx/>
                <a:uFillTx/>
                <a:ea typeface="阿里巴巴普惠体 L" panose="00020600040101010101" pitchFamily="18" charset="-122"/>
              </a:endParaRPr>
            </a:p>
          </p:txBody>
        </p:sp>
        <p:grpSp>
          <p:nvGrpSpPr>
            <p:cNvPr id="65" name="Group 4">
              <a:extLst>
                <a:ext uri="{FF2B5EF4-FFF2-40B4-BE49-F238E27FC236}">
                  <a16:creationId xmlns:a16="http://schemas.microsoft.com/office/drawing/2014/main" id="{02F95D98-8959-45DD-9C08-D00D87E3D75E}"/>
                </a:ext>
              </a:extLst>
            </p:cNvPr>
            <p:cNvGrpSpPr>
              <a:grpSpLocks noChangeAspect="1"/>
            </p:cNvGrpSpPr>
            <p:nvPr/>
          </p:nvGrpSpPr>
          <p:grpSpPr bwMode="auto">
            <a:xfrm>
              <a:off x="13554567" y="279400"/>
              <a:ext cx="454198" cy="403226"/>
              <a:chOff x="7087" y="140"/>
              <a:chExt cx="401" cy="356"/>
            </a:xfrm>
            <a:solidFill>
              <a:schemeClr val="accent1">
                <a:lumMod val="40000"/>
                <a:lumOff val="60000"/>
                <a:alpha val="50000"/>
              </a:schemeClr>
            </a:solidFill>
          </p:grpSpPr>
          <p:sp>
            <p:nvSpPr>
              <p:cNvPr id="66" name="Freeform 5">
                <a:extLst>
                  <a:ext uri="{FF2B5EF4-FFF2-40B4-BE49-F238E27FC236}">
                    <a16:creationId xmlns:a16="http://schemas.microsoft.com/office/drawing/2014/main" id="{144D3FA2-284F-43F1-9851-17AECA0954BB}"/>
                  </a:ext>
                </a:extLst>
              </p:cNvPr>
              <p:cNvSpPr>
                <a:spLocks noEditPoints="1"/>
              </p:cNvSpPr>
              <p:nvPr userDrawn="1"/>
            </p:nvSpPr>
            <p:spPr bwMode="auto">
              <a:xfrm>
                <a:off x="7087" y="209"/>
                <a:ext cx="401" cy="287"/>
              </a:xfrm>
              <a:custGeom>
                <a:avLst/>
                <a:gdLst>
                  <a:gd name="T0" fmla="*/ 302 w 401"/>
                  <a:gd name="T1" fmla="*/ 283 h 287"/>
                  <a:gd name="T2" fmla="*/ 275 w 401"/>
                  <a:gd name="T3" fmla="*/ 273 h 287"/>
                  <a:gd name="T4" fmla="*/ 156 w 401"/>
                  <a:gd name="T5" fmla="*/ 166 h 287"/>
                  <a:gd name="T6" fmla="*/ 96 w 401"/>
                  <a:gd name="T7" fmla="*/ 195 h 287"/>
                  <a:gd name="T8" fmla="*/ 156 w 401"/>
                  <a:gd name="T9" fmla="*/ 166 h 287"/>
                  <a:gd name="T10" fmla="*/ 96 w 401"/>
                  <a:gd name="T11" fmla="*/ 130 h 287"/>
                  <a:gd name="T12" fmla="*/ 156 w 401"/>
                  <a:gd name="T13" fmla="*/ 138 h 287"/>
                  <a:gd name="T14" fmla="*/ 317 w 401"/>
                  <a:gd name="T15" fmla="*/ 84 h 287"/>
                  <a:gd name="T16" fmla="*/ 302 w 401"/>
                  <a:gd name="T17" fmla="*/ 99 h 287"/>
                  <a:gd name="T18" fmla="*/ 317 w 401"/>
                  <a:gd name="T19" fmla="*/ 84 h 287"/>
                  <a:gd name="T20" fmla="*/ 186 w 401"/>
                  <a:gd name="T21" fmla="*/ 209 h 287"/>
                  <a:gd name="T22" fmla="*/ 66 w 401"/>
                  <a:gd name="T23" fmla="*/ 219 h 287"/>
                  <a:gd name="T24" fmla="*/ 96 w 401"/>
                  <a:gd name="T25" fmla="*/ 90 h 287"/>
                  <a:gd name="T26" fmla="*/ 156 w 401"/>
                  <a:gd name="T27" fmla="*/ 92 h 287"/>
                  <a:gd name="T28" fmla="*/ 186 w 401"/>
                  <a:gd name="T29" fmla="*/ 73 h 287"/>
                  <a:gd name="T30" fmla="*/ 242 w 401"/>
                  <a:gd name="T31" fmla="*/ 95 h 287"/>
                  <a:gd name="T32" fmla="*/ 236 w 401"/>
                  <a:gd name="T33" fmla="*/ 224 h 287"/>
                  <a:gd name="T34" fmla="*/ 213 w 401"/>
                  <a:gd name="T35" fmla="*/ 100 h 287"/>
                  <a:gd name="T36" fmla="*/ 199 w 401"/>
                  <a:gd name="T37" fmla="*/ 77 h 287"/>
                  <a:gd name="T38" fmla="*/ 317 w 401"/>
                  <a:gd name="T39" fmla="*/ 45 h 287"/>
                  <a:gd name="T40" fmla="*/ 302 w 401"/>
                  <a:gd name="T41" fmla="*/ 61 h 287"/>
                  <a:gd name="T42" fmla="*/ 317 w 401"/>
                  <a:gd name="T43" fmla="*/ 45 h 287"/>
                  <a:gd name="T44" fmla="*/ 186 w 401"/>
                  <a:gd name="T45" fmla="*/ 66 h 287"/>
                  <a:gd name="T46" fmla="*/ 0 w 401"/>
                  <a:gd name="T47" fmla="*/ 75 h 287"/>
                  <a:gd name="T48" fmla="*/ 242 w 401"/>
                  <a:gd name="T49" fmla="*/ 31 h 287"/>
                  <a:gd name="T50" fmla="*/ 199 w 401"/>
                  <a:gd name="T51" fmla="*/ 64 h 287"/>
                  <a:gd name="T52" fmla="*/ 242 w 401"/>
                  <a:gd name="T53" fmla="*/ 31 h 287"/>
                  <a:gd name="T54" fmla="*/ 96 w 401"/>
                  <a:gd name="T55" fmla="*/ 41 h 287"/>
                  <a:gd name="T56" fmla="*/ 66 w 401"/>
                  <a:gd name="T57" fmla="*/ 22 h 287"/>
                  <a:gd name="T58" fmla="*/ 302 w 401"/>
                  <a:gd name="T59" fmla="*/ 0 h 287"/>
                  <a:gd name="T60" fmla="*/ 343 w 401"/>
                  <a:gd name="T61" fmla="*/ 21 h 287"/>
                  <a:gd name="T62" fmla="*/ 357 w 401"/>
                  <a:gd name="T63" fmla="*/ 53 h 287"/>
                  <a:gd name="T64" fmla="*/ 343 w 401"/>
                  <a:gd name="T65" fmla="*/ 80 h 287"/>
                  <a:gd name="T66" fmla="*/ 302 w 401"/>
                  <a:gd name="T67" fmla="*/ 127 h 287"/>
                  <a:gd name="T68" fmla="*/ 343 w 401"/>
                  <a:gd name="T69" fmla="*/ 137 h 287"/>
                  <a:gd name="T70" fmla="*/ 302 w 401"/>
                  <a:gd name="T71" fmla="*/ 169 h 287"/>
                  <a:gd name="T72" fmla="*/ 401 w 401"/>
                  <a:gd name="T73" fmla="*/ 172 h 287"/>
                  <a:gd name="T74" fmla="*/ 302 w 401"/>
                  <a:gd name="T75" fmla="*/ 213 h 287"/>
                  <a:gd name="T76" fmla="*/ 275 w 401"/>
                  <a:gd name="T77" fmla="*/ 270 h 287"/>
                  <a:gd name="T78" fmla="*/ 244 w 401"/>
                  <a:gd name="T79" fmla="*/ 222 h 287"/>
                  <a:gd name="T80" fmla="*/ 244 w 401"/>
                  <a:gd name="T81" fmla="*/ 197 h 287"/>
                  <a:gd name="T82" fmla="*/ 275 w 401"/>
                  <a:gd name="T83" fmla="*/ 192 h 287"/>
                  <a:gd name="T84" fmla="*/ 249 w 401"/>
                  <a:gd name="T85" fmla="*/ 177 h 287"/>
                  <a:gd name="T86" fmla="*/ 275 w 401"/>
                  <a:gd name="T87" fmla="*/ 148 h 287"/>
                  <a:gd name="T88" fmla="*/ 266 w 401"/>
                  <a:gd name="T89" fmla="*/ 133 h 287"/>
                  <a:gd name="T90" fmla="*/ 249 w 401"/>
                  <a:gd name="T91" fmla="*/ 107 h 287"/>
                  <a:gd name="T92" fmla="*/ 269 w 401"/>
                  <a:gd name="T93" fmla="*/ 104 h 287"/>
                  <a:gd name="T94" fmla="*/ 275 w 401"/>
                  <a:gd name="T95" fmla="*/ 103 h 287"/>
                  <a:gd name="T96" fmla="*/ 275 w 401"/>
                  <a:gd name="T97" fmla="*/ 90 h 287"/>
                  <a:gd name="T98" fmla="*/ 249 w 401"/>
                  <a:gd name="T99" fmla="*/ 69 h 287"/>
                  <a:gd name="T100" fmla="*/ 269 w 401"/>
                  <a:gd name="T101" fmla="*/ 66 h 287"/>
                  <a:gd name="T102" fmla="*/ 275 w 401"/>
                  <a:gd name="T103" fmla="*/ 65 h 287"/>
                  <a:gd name="T104" fmla="*/ 275 w 401"/>
                  <a:gd name="T105" fmla="*/ 52 h 287"/>
                  <a:gd name="T106" fmla="*/ 249 w 401"/>
                  <a:gd name="T107" fmla="*/ 30 h 287"/>
                  <a:gd name="T108" fmla="*/ 275 w 401"/>
                  <a:gd name="T109" fmla="*/ 4 h 287"/>
                  <a:gd name="T110" fmla="*/ 186 w 401"/>
                  <a:gd name="T111" fmla="*/ 0 h 287"/>
                  <a:gd name="T112" fmla="*/ 100 w 401"/>
                  <a:gd name="T113" fmla="*/ 40 h 287"/>
                  <a:gd name="T114" fmla="*/ 186 w 401"/>
                  <a:gd name="T115" fmla="*/ 0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01" h="287">
                    <a:moveTo>
                      <a:pt x="302" y="269"/>
                    </a:moveTo>
                    <a:lnTo>
                      <a:pt x="302" y="283"/>
                    </a:lnTo>
                    <a:lnTo>
                      <a:pt x="275" y="287"/>
                    </a:lnTo>
                    <a:lnTo>
                      <a:pt x="275" y="273"/>
                    </a:lnTo>
                    <a:lnTo>
                      <a:pt x="302" y="269"/>
                    </a:lnTo>
                    <a:close/>
                    <a:moveTo>
                      <a:pt x="156" y="166"/>
                    </a:moveTo>
                    <a:lnTo>
                      <a:pt x="96" y="177"/>
                    </a:lnTo>
                    <a:lnTo>
                      <a:pt x="96" y="195"/>
                    </a:lnTo>
                    <a:lnTo>
                      <a:pt x="156" y="185"/>
                    </a:lnTo>
                    <a:lnTo>
                      <a:pt x="156" y="166"/>
                    </a:lnTo>
                    <a:close/>
                    <a:moveTo>
                      <a:pt x="156" y="120"/>
                    </a:moveTo>
                    <a:lnTo>
                      <a:pt x="96" y="130"/>
                    </a:lnTo>
                    <a:lnTo>
                      <a:pt x="96" y="149"/>
                    </a:lnTo>
                    <a:lnTo>
                      <a:pt x="156" y="138"/>
                    </a:lnTo>
                    <a:lnTo>
                      <a:pt x="156" y="120"/>
                    </a:lnTo>
                    <a:close/>
                    <a:moveTo>
                      <a:pt x="317" y="84"/>
                    </a:moveTo>
                    <a:lnTo>
                      <a:pt x="302" y="86"/>
                    </a:lnTo>
                    <a:lnTo>
                      <a:pt x="302" y="99"/>
                    </a:lnTo>
                    <a:lnTo>
                      <a:pt x="317" y="97"/>
                    </a:lnTo>
                    <a:lnTo>
                      <a:pt x="317" y="84"/>
                    </a:lnTo>
                    <a:close/>
                    <a:moveTo>
                      <a:pt x="186" y="73"/>
                    </a:moveTo>
                    <a:lnTo>
                      <a:pt x="186" y="209"/>
                    </a:lnTo>
                    <a:lnTo>
                      <a:pt x="132" y="219"/>
                    </a:lnTo>
                    <a:lnTo>
                      <a:pt x="66" y="219"/>
                    </a:lnTo>
                    <a:lnTo>
                      <a:pt x="66" y="95"/>
                    </a:lnTo>
                    <a:lnTo>
                      <a:pt x="96" y="90"/>
                    </a:lnTo>
                    <a:lnTo>
                      <a:pt x="96" y="103"/>
                    </a:lnTo>
                    <a:lnTo>
                      <a:pt x="156" y="92"/>
                    </a:lnTo>
                    <a:lnTo>
                      <a:pt x="156" y="78"/>
                    </a:lnTo>
                    <a:lnTo>
                      <a:pt x="186" y="73"/>
                    </a:lnTo>
                    <a:close/>
                    <a:moveTo>
                      <a:pt x="242" y="70"/>
                    </a:moveTo>
                    <a:lnTo>
                      <a:pt x="242" y="95"/>
                    </a:lnTo>
                    <a:lnTo>
                      <a:pt x="236" y="96"/>
                    </a:lnTo>
                    <a:lnTo>
                      <a:pt x="236" y="224"/>
                    </a:lnTo>
                    <a:lnTo>
                      <a:pt x="213" y="228"/>
                    </a:lnTo>
                    <a:lnTo>
                      <a:pt x="213" y="100"/>
                    </a:lnTo>
                    <a:lnTo>
                      <a:pt x="199" y="102"/>
                    </a:lnTo>
                    <a:lnTo>
                      <a:pt x="199" y="77"/>
                    </a:lnTo>
                    <a:lnTo>
                      <a:pt x="242" y="70"/>
                    </a:lnTo>
                    <a:close/>
                    <a:moveTo>
                      <a:pt x="317" y="45"/>
                    </a:moveTo>
                    <a:lnTo>
                      <a:pt x="302" y="48"/>
                    </a:lnTo>
                    <a:lnTo>
                      <a:pt x="302" y="61"/>
                    </a:lnTo>
                    <a:lnTo>
                      <a:pt x="317" y="58"/>
                    </a:lnTo>
                    <a:lnTo>
                      <a:pt x="317" y="45"/>
                    </a:lnTo>
                    <a:close/>
                    <a:moveTo>
                      <a:pt x="186" y="41"/>
                    </a:moveTo>
                    <a:lnTo>
                      <a:pt x="186" y="66"/>
                    </a:lnTo>
                    <a:lnTo>
                      <a:pt x="0" y="99"/>
                    </a:lnTo>
                    <a:lnTo>
                      <a:pt x="0" y="75"/>
                    </a:lnTo>
                    <a:lnTo>
                      <a:pt x="186" y="41"/>
                    </a:lnTo>
                    <a:close/>
                    <a:moveTo>
                      <a:pt x="242" y="31"/>
                    </a:moveTo>
                    <a:lnTo>
                      <a:pt x="242" y="56"/>
                    </a:lnTo>
                    <a:lnTo>
                      <a:pt x="199" y="64"/>
                    </a:lnTo>
                    <a:lnTo>
                      <a:pt x="199" y="39"/>
                    </a:lnTo>
                    <a:lnTo>
                      <a:pt x="242" y="31"/>
                    </a:lnTo>
                    <a:close/>
                    <a:moveTo>
                      <a:pt x="96" y="16"/>
                    </a:moveTo>
                    <a:lnTo>
                      <a:pt x="96" y="41"/>
                    </a:lnTo>
                    <a:lnTo>
                      <a:pt x="66" y="47"/>
                    </a:lnTo>
                    <a:lnTo>
                      <a:pt x="66" y="22"/>
                    </a:lnTo>
                    <a:lnTo>
                      <a:pt x="96" y="16"/>
                    </a:lnTo>
                    <a:close/>
                    <a:moveTo>
                      <a:pt x="302" y="0"/>
                    </a:moveTo>
                    <a:lnTo>
                      <a:pt x="302" y="21"/>
                    </a:lnTo>
                    <a:lnTo>
                      <a:pt x="343" y="21"/>
                    </a:lnTo>
                    <a:lnTo>
                      <a:pt x="343" y="55"/>
                    </a:lnTo>
                    <a:lnTo>
                      <a:pt x="357" y="53"/>
                    </a:lnTo>
                    <a:lnTo>
                      <a:pt x="357" y="78"/>
                    </a:lnTo>
                    <a:lnTo>
                      <a:pt x="343" y="80"/>
                    </a:lnTo>
                    <a:lnTo>
                      <a:pt x="343" y="121"/>
                    </a:lnTo>
                    <a:lnTo>
                      <a:pt x="302" y="127"/>
                    </a:lnTo>
                    <a:lnTo>
                      <a:pt x="302" y="144"/>
                    </a:lnTo>
                    <a:lnTo>
                      <a:pt x="343" y="137"/>
                    </a:lnTo>
                    <a:lnTo>
                      <a:pt x="343" y="162"/>
                    </a:lnTo>
                    <a:lnTo>
                      <a:pt x="302" y="169"/>
                    </a:lnTo>
                    <a:lnTo>
                      <a:pt x="302" y="188"/>
                    </a:lnTo>
                    <a:lnTo>
                      <a:pt x="401" y="172"/>
                    </a:lnTo>
                    <a:lnTo>
                      <a:pt x="401" y="198"/>
                    </a:lnTo>
                    <a:lnTo>
                      <a:pt x="302" y="213"/>
                    </a:lnTo>
                    <a:lnTo>
                      <a:pt x="302" y="266"/>
                    </a:lnTo>
                    <a:lnTo>
                      <a:pt x="275" y="270"/>
                    </a:lnTo>
                    <a:lnTo>
                      <a:pt x="275" y="217"/>
                    </a:lnTo>
                    <a:lnTo>
                      <a:pt x="244" y="222"/>
                    </a:lnTo>
                    <a:lnTo>
                      <a:pt x="244" y="222"/>
                    </a:lnTo>
                    <a:lnTo>
                      <a:pt x="244" y="197"/>
                    </a:lnTo>
                    <a:lnTo>
                      <a:pt x="244" y="197"/>
                    </a:lnTo>
                    <a:lnTo>
                      <a:pt x="275" y="192"/>
                    </a:lnTo>
                    <a:lnTo>
                      <a:pt x="275" y="173"/>
                    </a:lnTo>
                    <a:lnTo>
                      <a:pt x="249" y="177"/>
                    </a:lnTo>
                    <a:lnTo>
                      <a:pt x="249" y="152"/>
                    </a:lnTo>
                    <a:lnTo>
                      <a:pt x="275" y="148"/>
                    </a:lnTo>
                    <a:lnTo>
                      <a:pt x="275" y="131"/>
                    </a:lnTo>
                    <a:lnTo>
                      <a:pt x="266" y="133"/>
                    </a:lnTo>
                    <a:lnTo>
                      <a:pt x="249" y="133"/>
                    </a:lnTo>
                    <a:lnTo>
                      <a:pt x="249" y="107"/>
                    </a:lnTo>
                    <a:lnTo>
                      <a:pt x="269" y="104"/>
                    </a:lnTo>
                    <a:lnTo>
                      <a:pt x="269" y="104"/>
                    </a:lnTo>
                    <a:lnTo>
                      <a:pt x="275" y="103"/>
                    </a:lnTo>
                    <a:lnTo>
                      <a:pt x="275" y="103"/>
                    </a:lnTo>
                    <a:lnTo>
                      <a:pt x="275" y="90"/>
                    </a:lnTo>
                    <a:lnTo>
                      <a:pt x="275" y="90"/>
                    </a:lnTo>
                    <a:lnTo>
                      <a:pt x="249" y="94"/>
                    </a:lnTo>
                    <a:lnTo>
                      <a:pt x="249" y="69"/>
                    </a:lnTo>
                    <a:lnTo>
                      <a:pt x="269" y="65"/>
                    </a:lnTo>
                    <a:lnTo>
                      <a:pt x="269" y="66"/>
                    </a:lnTo>
                    <a:lnTo>
                      <a:pt x="275" y="65"/>
                    </a:lnTo>
                    <a:lnTo>
                      <a:pt x="275" y="65"/>
                    </a:lnTo>
                    <a:lnTo>
                      <a:pt x="275" y="52"/>
                    </a:lnTo>
                    <a:lnTo>
                      <a:pt x="275" y="52"/>
                    </a:lnTo>
                    <a:lnTo>
                      <a:pt x="249" y="56"/>
                    </a:lnTo>
                    <a:lnTo>
                      <a:pt x="249" y="30"/>
                    </a:lnTo>
                    <a:lnTo>
                      <a:pt x="275" y="25"/>
                    </a:lnTo>
                    <a:lnTo>
                      <a:pt x="275" y="4"/>
                    </a:lnTo>
                    <a:lnTo>
                      <a:pt x="302" y="0"/>
                    </a:lnTo>
                    <a:close/>
                    <a:moveTo>
                      <a:pt x="186" y="0"/>
                    </a:moveTo>
                    <a:lnTo>
                      <a:pt x="186" y="25"/>
                    </a:lnTo>
                    <a:lnTo>
                      <a:pt x="100" y="40"/>
                    </a:lnTo>
                    <a:lnTo>
                      <a:pt x="100" y="15"/>
                    </a:lnTo>
                    <a:lnTo>
                      <a:pt x="18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600" b="0" i="0" u="none" strike="noStrike" kern="1200" cap="none" spc="0" normalizeH="0" baseline="0" noProof="0">
                  <a:ln>
                    <a:noFill/>
                  </a:ln>
                  <a:solidFill>
                    <a:srgbClr val="000000"/>
                  </a:solidFill>
                  <a:effectLst/>
                  <a:uLnTx/>
                  <a:uFillTx/>
                  <a:latin typeface="Arial"/>
                  <a:cs typeface="+mn-cs"/>
                </a:endParaRPr>
              </a:p>
            </p:txBody>
          </p:sp>
          <p:sp>
            <p:nvSpPr>
              <p:cNvPr id="67" name="Freeform 6">
                <a:extLst>
                  <a:ext uri="{FF2B5EF4-FFF2-40B4-BE49-F238E27FC236}">
                    <a16:creationId xmlns:a16="http://schemas.microsoft.com/office/drawing/2014/main" id="{02E9234C-7CEB-4A89-8687-91826C82C799}"/>
                  </a:ext>
                </a:extLst>
              </p:cNvPr>
              <p:cNvSpPr>
                <a:spLocks/>
              </p:cNvSpPr>
              <p:nvPr userDrawn="1"/>
            </p:nvSpPr>
            <p:spPr bwMode="auto">
              <a:xfrm>
                <a:off x="7138" y="176"/>
                <a:ext cx="92" cy="41"/>
              </a:xfrm>
              <a:custGeom>
                <a:avLst/>
                <a:gdLst>
                  <a:gd name="T0" fmla="*/ 92 w 92"/>
                  <a:gd name="T1" fmla="*/ 0 h 41"/>
                  <a:gd name="T2" fmla="*/ 92 w 92"/>
                  <a:gd name="T3" fmla="*/ 25 h 41"/>
                  <a:gd name="T4" fmla="*/ 0 w 92"/>
                  <a:gd name="T5" fmla="*/ 41 h 41"/>
                  <a:gd name="T6" fmla="*/ 0 w 92"/>
                  <a:gd name="T7" fmla="*/ 17 h 41"/>
                  <a:gd name="T8" fmla="*/ 92 w 92"/>
                  <a:gd name="T9" fmla="*/ 0 h 41"/>
                </a:gdLst>
                <a:ahLst/>
                <a:cxnLst>
                  <a:cxn ang="0">
                    <a:pos x="T0" y="T1"/>
                  </a:cxn>
                  <a:cxn ang="0">
                    <a:pos x="T2" y="T3"/>
                  </a:cxn>
                  <a:cxn ang="0">
                    <a:pos x="T4" y="T5"/>
                  </a:cxn>
                  <a:cxn ang="0">
                    <a:pos x="T6" y="T7"/>
                  </a:cxn>
                  <a:cxn ang="0">
                    <a:pos x="T8" y="T9"/>
                  </a:cxn>
                </a:cxnLst>
                <a:rect l="0" t="0" r="r" b="b"/>
                <a:pathLst>
                  <a:path w="92" h="41">
                    <a:moveTo>
                      <a:pt x="92" y="0"/>
                    </a:moveTo>
                    <a:lnTo>
                      <a:pt x="92" y="25"/>
                    </a:lnTo>
                    <a:lnTo>
                      <a:pt x="0" y="41"/>
                    </a:lnTo>
                    <a:lnTo>
                      <a:pt x="0" y="17"/>
                    </a:lnTo>
                    <a:lnTo>
                      <a:pt x="9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600" b="0" i="0" u="none" strike="noStrike" kern="1200" cap="none" spc="0" normalizeH="0" baseline="0" noProof="0">
                  <a:ln>
                    <a:noFill/>
                  </a:ln>
                  <a:solidFill>
                    <a:srgbClr val="000000"/>
                  </a:solidFill>
                  <a:effectLst/>
                  <a:uLnTx/>
                  <a:uFillTx/>
                  <a:latin typeface="Arial"/>
                  <a:cs typeface="+mn-cs"/>
                </a:endParaRPr>
              </a:p>
            </p:txBody>
          </p:sp>
          <p:sp>
            <p:nvSpPr>
              <p:cNvPr id="68" name="Freeform 7">
                <a:extLst>
                  <a:ext uri="{FF2B5EF4-FFF2-40B4-BE49-F238E27FC236}">
                    <a16:creationId xmlns:a16="http://schemas.microsoft.com/office/drawing/2014/main" id="{482D8246-DA79-4E48-832C-E40DD6CBE0F8}"/>
                  </a:ext>
                </a:extLst>
              </p:cNvPr>
              <p:cNvSpPr>
                <a:spLocks/>
              </p:cNvSpPr>
              <p:nvPr userDrawn="1"/>
            </p:nvSpPr>
            <p:spPr bwMode="auto">
              <a:xfrm>
                <a:off x="7187" y="140"/>
                <a:ext cx="29" cy="30"/>
              </a:xfrm>
              <a:custGeom>
                <a:avLst/>
                <a:gdLst>
                  <a:gd name="T0" fmla="*/ 29 w 29"/>
                  <a:gd name="T1" fmla="*/ 0 h 30"/>
                  <a:gd name="T2" fmla="*/ 29 w 29"/>
                  <a:gd name="T3" fmla="*/ 25 h 30"/>
                  <a:gd name="T4" fmla="*/ 0 w 29"/>
                  <a:gd name="T5" fmla="*/ 30 h 30"/>
                  <a:gd name="T6" fmla="*/ 0 w 29"/>
                  <a:gd name="T7" fmla="*/ 6 h 30"/>
                  <a:gd name="T8" fmla="*/ 29 w 29"/>
                  <a:gd name="T9" fmla="*/ 0 h 30"/>
                </a:gdLst>
                <a:ahLst/>
                <a:cxnLst>
                  <a:cxn ang="0">
                    <a:pos x="T0" y="T1"/>
                  </a:cxn>
                  <a:cxn ang="0">
                    <a:pos x="T2" y="T3"/>
                  </a:cxn>
                  <a:cxn ang="0">
                    <a:pos x="T4" y="T5"/>
                  </a:cxn>
                  <a:cxn ang="0">
                    <a:pos x="T6" y="T7"/>
                  </a:cxn>
                  <a:cxn ang="0">
                    <a:pos x="T8" y="T9"/>
                  </a:cxn>
                </a:cxnLst>
                <a:rect l="0" t="0" r="r" b="b"/>
                <a:pathLst>
                  <a:path w="29" h="30">
                    <a:moveTo>
                      <a:pt x="29" y="0"/>
                    </a:moveTo>
                    <a:lnTo>
                      <a:pt x="29" y="25"/>
                    </a:lnTo>
                    <a:lnTo>
                      <a:pt x="0" y="30"/>
                    </a:lnTo>
                    <a:lnTo>
                      <a:pt x="0" y="6"/>
                    </a:lnTo>
                    <a:lnTo>
                      <a:pt x="2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600" b="0" i="0" u="none" strike="noStrike" kern="1200" cap="none" spc="0" normalizeH="0" baseline="0" noProof="0">
                  <a:ln>
                    <a:noFill/>
                  </a:ln>
                  <a:solidFill>
                    <a:srgbClr val="000000"/>
                  </a:solidFill>
                  <a:effectLst/>
                  <a:uLnTx/>
                  <a:uFillTx/>
                  <a:latin typeface="Arial"/>
                  <a:cs typeface="+mn-cs"/>
                </a:endParaRPr>
              </a:p>
            </p:txBody>
          </p:sp>
        </p:grpSp>
        <p:cxnSp>
          <p:nvCxnSpPr>
            <p:cNvPr id="69" name="直接连接符 68">
              <a:extLst>
                <a:ext uri="{FF2B5EF4-FFF2-40B4-BE49-F238E27FC236}">
                  <a16:creationId xmlns:a16="http://schemas.microsoft.com/office/drawing/2014/main" id="{9103AD95-3EA4-465A-B53A-FD968E9253D6}"/>
                </a:ext>
              </a:extLst>
            </p:cNvPr>
            <p:cNvCxnSpPr>
              <a:cxnSpLocks/>
            </p:cNvCxnSpPr>
            <p:nvPr/>
          </p:nvCxnSpPr>
          <p:spPr>
            <a:xfrm>
              <a:off x="13881679" y="779463"/>
              <a:ext cx="0" cy="309915"/>
            </a:xfrm>
            <a:prstGeom prst="line">
              <a:avLst/>
            </a:prstGeom>
            <a:ln cap="rnd">
              <a:solidFill>
                <a:schemeClr val="accent1">
                  <a:lumMod val="40000"/>
                  <a:lumOff val="60000"/>
                  <a:alpha val="70000"/>
                </a:schemeClr>
              </a:solidFill>
              <a:round/>
              <a:tailEnd type="none"/>
            </a:ln>
          </p:spPr>
          <p:style>
            <a:lnRef idx="1">
              <a:schemeClr val="accent1"/>
            </a:lnRef>
            <a:fillRef idx="0">
              <a:schemeClr val="accent1"/>
            </a:fillRef>
            <a:effectRef idx="0">
              <a:schemeClr val="accent1"/>
            </a:effectRef>
            <a:fontRef idx="minor">
              <a:schemeClr val="tx1"/>
            </a:fontRef>
          </p:style>
        </p:cxnSp>
        <p:sp>
          <p:nvSpPr>
            <p:cNvPr id="71" name="文本框 70">
              <a:extLst>
                <a:ext uri="{FF2B5EF4-FFF2-40B4-BE49-F238E27FC236}">
                  <a16:creationId xmlns:a16="http://schemas.microsoft.com/office/drawing/2014/main" id="{06D691BB-5E72-432A-8792-E149FA452270}"/>
                </a:ext>
              </a:extLst>
            </p:cNvPr>
            <p:cNvSpPr txBox="1"/>
            <p:nvPr/>
          </p:nvSpPr>
          <p:spPr>
            <a:xfrm>
              <a:off x="12694473" y="6323787"/>
              <a:ext cx="1356807" cy="369332"/>
            </a:xfrm>
            <a:prstGeom prst="rect">
              <a:avLst/>
            </a:prstGeom>
            <a:noFill/>
          </p:spPr>
          <p:txBody>
            <a:bodyPr wrap="square" rtlCol="0">
              <a:spAutoFit/>
            </a:bodyPr>
            <a:lstStyle>
              <a:defPPr>
                <a:defRPr lang="zh-CN"/>
              </a:defPPr>
              <a:lvl1pPr>
                <a:defRPr>
                  <a:solidFill>
                    <a:schemeClr val="accent1">
                      <a:lumMod val="40000"/>
                      <a:lumOff val="60000"/>
                    </a:schemeClr>
                  </a:solidFill>
                  <a:latin typeface="阿里巴巴普惠体 L" panose="00020600040101010101" pitchFamily="18" charset="-122"/>
                  <a:ea typeface="阿里巴巴普惠体 L" panose="00020600040101010101" pitchFamily="18" charset="-122"/>
                  <a:cs typeface="阿里巴巴普惠体 L" panose="00020600040101010101" pitchFamily="18" charset="-122"/>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zh-CN" altLang="en-US" sz="1800" b="0" i="0" u="none" strike="noStrike" kern="1200" cap="none" spc="0" normalizeH="0" baseline="0" noProof="0">
                  <a:ln>
                    <a:noFill/>
                  </a:ln>
                  <a:solidFill>
                    <a:srgbClr val="009FDE">
                      <a:lumMod val="40000"/>
                      <a:lumOff val="60000"/>
                    </a:srgbClr>
                  </a:solidFill>
                  <a:effectLst/>
                  <a:uLnTx/>
                  <a:uFillTx/>
                  <a:ea typeface="阿里巴巴普惠体 L" panose="00020600040101010101" pitchFamily="18" charset="-122"/>
                </a:rPr>
                <a:t>鱼骨图</a:t>
              </a:r>
            </a:p>
          </p:txBody>
        </p:sp>
      </p:grpSp>
    </p:spTree>
    <p:extLst>
      <p:ext uri="{BB962C8B-B14F-4D97-AF65-F5344CB8AC3E}">
        <p14:creationId xmlns:p14="http://schemas.microsoft.com/office/powerpoint/2010/main" val="3004256310"/>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6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Freeform 14">
            <a:extLst>
              <a:ext uri="{FF2B5EF4-FFF2-40B4-BE49-F238E27FC236}">
                <a16:creationId xmlns:a16="http://schemas.microsoft.com/office/drawing/2014/main" id="{678FBC28-4FCF-4F34-8D05-5937D710F89A}"/>
              </a:ext>
            </a:extLst>
          </p:cNvPr>
          <p:cNvSpPr>
            <a:spLocks/>
          </p:cNvSpPr>
          <p:nvPr/>
        </p:nvSpPr>
        <p:spPr bwMode="auto">
          <a:xfrm>
            <a:off x="7591425" y="1535640"/>
            <a:ext cx="1189567" cy="3837517"/>
          </a:xfrm>
          <a:custGeom>
            <a:avLst/>
            <a:gdLst>
              <a:gd name="T0" fmla="*/ 25 w 405"/>
              <a:gd name="T1" fmla="*/ 1290 h 1305"/>
              <a:gd name="T2" fmla="*/ 53 w 405"/>
              <a:gd name="T3" fmla="*/ 1272 h 1305"/>
              <a:gd name="T4" fmla="*/ 137 w 405"/>
              <a:gd name="T5" fmla="*/ 1200 h 1305"/>
              <a:gd name="T6" fmla="*/ 154 w 405"/>
              <a:gd name="T7" fmla="*/ 1182 h 1305"/>
              <a:gd name="T8" fmla="*/ 171 w 405"/>
              <a:gd name="T9" fmla="*/ 1163 h 1305"/>
              <a:gd name="T10" fmla="*/ 221 w 405"/>
              <a:gd name="T11" fmla="*/ 1095 h 1305"/>
              <a:gd name="T12" fmla="*/ 263 w 405"/>
              <a:gd name="T13" fmla="*/ 1022 h 1305"/>
              <a:gd name="T14" fmla="*/ 279 w 405"/>
              <a:gd name="T15" fmla="*/ 986 h 1305"/>
              <a:gd name="T16" fmla="*/ 292 w 405"/>
              <a:gd name="T17" fmla="*/ 956 h 1305"/>
              <a:gd name="T18" fmla="*/ 303 w 405"/>
              <a:gd name="T19" fmla="*/ 925 h 1305"/>
              <a:gd name="T20" fmla="*/ 316 w 405"/>
              <a:gd name="T21" fmla="*/ 885 h 1305"/>
              <a:gd name="T22" fmla="*/ 326 w 405"/>
              <a:gd name="T23" fmla="*/ 843 h 1305"/>
              <a:gd name="T24" fmla="*/ 333 w 405"/>
              <a:gd name="T25" fmla="*/ 809 h 1305"/>
              <a:gd name="T26" fmla="*/ 339 w 405"/>
              <a:gd name="T27" fmla="*/ 775 h 1305"/>
              <a:gd name="T28" fmla="*/ 344 w 405"/>
              <a:gd name="T29" fmla="*/ 731 h 1305"/>
              <a:gd name="T30" fmla="*/ 346 w 405"/>
              <a:gd name="T31" fmla="*/ 687 h 1305"/>
              <a:gd name="T32" fmla="*/ 347 w 405"/>
              <a:gd name="T33" fmla="*/ 653 h 1305"/>
              <a:gd name="T34" fmla="*/ 346 w 405"/>
              <a:gd name="T35" fmla="*/ 617 h 1305"/>
              <a:gd name="T36" fmla="*/ 344 w 405"/>
              <a:gd name="T37" fmla="*/ 573 h 1305"/>
              <a:gd name="T38" fmla="*/ 339 w 405"/>
              <a:gd name="T39" fmla="*/ 529 h 1305"/>
              <a:gd name="T40" fmla="*/ 333 w 405"/>
              <a:gd name="T41" fmla="*/ 495 h 1305"/>
              <a:gd name="T42" fmla="*/ 326 w 405"/>
              <a:gd name="T43" fmla="*/ 461 h 1305"/>
              <a:gd name="T44" fmla="*/ 316 w 405"/>
              <a:gd name="T45" fmla="*/ 420 h 1305"/>
              <a:gd name="T46" fmla="*/ 303 w 405"/>
              <a:gd name="T47" fmla="*/ 380 h 1305"/>
              <a:gd name="T48" fmla="*/ 292 w 405"/>
              <a:gd name="T49" fmla="*/ 348 h 1305"/>
              <a:gd name="T50" fmla="*/ 279 w 405"/>
              <a:gd name="T51" fmla="*/ 318 h 1305"/>
              <a:gd name="T52" fmla="*/ 263 w 405"/>
              <a:gd name="T53" fmla="*/ 282 h 1305"/>
              <a:gd name="T54" fmla="*/ 221 w 405"/>
              <a:gd name="T55" fmla="*/ 209 h 1305"/>
              <a:gd name="T56" fmla="*/ 171 w 405"/>
              <a:gd name="T57" fmla="*/ 142 h 1305"/>
              <a:gd name="T58" fmla="*/ 146 w 405"/>
              <a:gd name="T59" fmla="*/ 113 h 1305"/>
              <a:gd name="T60" fmla="*/ 120 w 405"/>
              <a:gd name="T61" fmla="*/ 88 h 1305"/>
              <a:gd name="T62" fmla="*/ 46 w 405"/>
              <a:gd name="T63" fmla="*/ 28 h 1305"/>
              <a:gd name="T64" fmla="*/ 16 w 405"/>
              <a:gd name="T65" fmla="*/ 9 h 1305"/>
              <a:gd name="T66" fmla="*/ 17 w 405"/>
              <a:gd name="T67" fmla="*/ 6 h 1305"/>
              <a:gd name="T68" fmla="*/ 51 w 405"/>
              <a:gd name="T69" fmla="*/ 21 h 1305"/>
              <a:gd name="T70" fmla="*/ 82 w 405"/>
              <a:gd name="T71" fmla="*/ 37 h 1305"/>
              <a:gd name="T72" fmla="*/ 107 w 405"/>
              <a:gd name="T73" fmla="*/ 53 h 1305"/>
              <a:gd name="T74" fmla="*/ 214 w 405"/>
              <a:gd name="T75" fmla="*/ 144 h 1305"/>
              <a:gd name="T76" fmla="*/ 234 w 405"/>
              <a:gd name="T77" fmla="*/ 166 h 1305"/>
              <a:gd name="T78" fmla="*/ 290 w 405"/>
              <a:gd name="T79" fmla="*/ 242 h 1305"/>
              <a:gd name="T80" fmla="*/ 307 w 405"/>
              <a:gd name="T81" fmla="*/ 271 h 1305"/>
              <a:gd name="T82" fmla="*/ 327 w 405"/>
              <a:gd name="T83" fmla="*/ 309 h 1305"/>
              <a:gd name="T84" fmla="*/ 345 w 405"/>
              <a:gd name="T85" fmla="*/ 348 h 1305"/>
              <a:gd name="T86" fmla="*/ 358 w 405"/>
              <a:gd name="T87" fmla="*/ 381 h 1305"/>
              <a:gd name="T88" fmla="*/ 369 w 405"/>
              <a:gd name="T89" fmla="*/ 415 h 1305"/>
              <a:gd name="T90" fmla="*/ 393 w 405"/>
              <a:gd name="T91" fmla="*/ 513 h 1305"/>
              <a:gd name="T92" fmla="*/ 401 w 405"/>
              <a:gd name="T93" fmla="*/ 578 h 1305"/>
              <a:gd name="T94" fmla="*/ 404 w 405"/>
              <a:gd name="T95" fmla="*/ 625 h 1305"/>
              <a:gd name="T96" fmla="*/ 404 w 405"/>
              <a:gd name="T97" fmla="*/ 671 h 1305"/>
              <a:gd name="T98" fmla="*/ 403 w 405"/>
              <a:gd name="T99" fmla="*/ 708 h 1305"/>
              <a:gd name="T100" fmla="*/ 394 w 405"/>
              <a:gd name="T101" fmla="*/ 782 h 1305"/>
              <a:gd name="T102" fmla="*/ 374 w 405"/>
              <a:gd name="T103" fmla="*/ 872 h 1305"/>
              <a:gd name="T104" fmla="*/ 363 w 405"/>
              <a:gd name="T105" fmla="*/ 906 h 1305"/>
              <a:gd name="T106" fmla="*/ 348 w 405"/>
              <a:gd name="T107" fmla="*/ 948 h 1305"/>
              <a:gd name="T108" fmla="*/ 330 w 405"/>
              <a:gd name="T109" fmla="*/ 988 h 1305"/>
              <a:gd name="T110" fmla="*/ 315 w 405"/>
              <a:gd name="T111" fmla="*/ 1019 h 1305"/>
              <a:gd name="T112" fmla="*/ 298 w 405"/>
              <a:gd name="T113" fmla="*/ 1048 h 1305"/>
              <a:gd name="T114" fmla="*/ 135 w 405"/>
              <a:gd name="T115" fmla="*/ 1231 h 1305"/>
              <a:gd name="T116" fmla="*/ 103 w 405"/>
              <a:gd name="T117" fmla="*/ 1254 h 1305"/>
              <a:gd name="T118" fmla="*/ 66 w 405"/>
              <a:gd name="T119" fmla="*/ 1276 h 1305"/>
              <a:gd name="T120" fmla="*/ 38 w 405"/>
              <a:gd name="T121" fmla="*/ 1289 h 1305"/>
              <a:gd name="T122" fmla="*/ 0 w 405"/>
              <a:gd name="T123" fmla="*/ 1305 h 1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05" h="1305">
                <a:moveTo>
                  <a:pt x="0" y="1305"/>
                </a:moveTo>
                <a:cubicBezTo>
                  <a:pt x="0" y="1305"/>
                  <a:pt x="5" y="1302"/>
                  <a:pt x="16" y="1295"/>
                </a:cubicBezTo>
                <a:cubicBezTo>
                  <a:pt x="19" y="1294"/>
                  <a:pt x="21" y="1292"/>
                  <a:pt x="25" y="1290"/>
                </a:cubicBezTo>
                <a:cubicBezTo>
                  <a:pt x="28" y="1288"/>
                  <a:pt x="31" y="1286"/>
                  <a:pt x="35" y="1284"/>
                </a:cubicBezTo>
                <a:cubicBezTo>
                  <a:pt x="38" y="1282"/>
                  <a:pt x="42" y="1279"/>
                  <a:pt x="46" y="1276"/>
                </a:cubicBezTo>
                <a:cubicBezTo>
                  <a:pt x="48" y="1275"/>
                  <a:pt x="50" y="1273"/>
                  <a:pt x="53" y="1272"/>
                </a:cubicBezTo>
                <a:cubicBezTo>
                  <a:pt x="55" y="1270"/>
                  <a:pt x="57" y="1269"/>
                  <a:pt x="59" y="1267"/>
                </a:cubicBezTo>
                <a:cubicBezTo>
                  <a:pt x="77" y="1254"/>
                  <a:pt x="98" y="1237"/>
                  <a:pt x="120" y="1216"/>
                </a:cubicBezTo>
                <a:cubicBezTo>
                  <a:pt x="126" y="1211"/>
                  <a:pt x="131" y="1206"/>
                  <a:pt x="137" y="1200"/>
                </a:cubicBezTo>
                <a:cubicBezTo>
                  <a:pt x="139" y="1199"/>
                  <a:pt x="140" y="1197"/>
                  <a:pt x="141" y="1196"/>
                </a:cubicBezTo>
                <a:cubicBezTo>
                  <a:pt x="143" y="1194"/>
                  <a:pt x="144" y="1193"/>
                  <a:pt x="146" y="1191"/>
                </a:cubicBezTo>
                <a:cubicBezTo>
                  <a:pt x="148" y="1188"/>
                  <a:pt x="151" y="1185"/>
                  <a:pt x="154" y="1182"/>
                </a:cubicBezTo>
                <a:cubicBezTo>
                  <a:pt x="156" y="1180"/>
                  <a:pt x="157" y="1179"/>
                  <a:pt x="158" y="1177"/>
                </a:cubicBezTo>
                <a:cubicBezTo>
                  <a:pt x="160" y="1176"/>
                  <a:pt x="161" y="1174"/>
                  <a:pt x="163" y="1172"/>
                </a:cubicBezTo>
                <a:cubicBezTo>
                  <a:pt x="165" y="1169"/>
                  <a:pt x="168" y="1166"/>
                  <a:pt x="171" y="1163"/>
                </a:cubicBezTo>
                <a:cubicBezTo>
                  <a:pt x="174" y="1159"/>
                  <a:pt x="177" y="1156"/>
                  <a:pt x="180" y="1152"/>
                </a:cubicBezTo>
                <a:cubicBezTo>
                  <a:pt x="182" y="1149"/>
                  <a:pt x="185" y="1145"/>
                  <a:pt x="188" y="1142"/>
                </a:cubicBezTo>
                <a:cubicBezTo>
                  <a:pt x="199" y="1127"/>
                  <a:pt x="210" y="1112"/>
                  <a:pt x="221" y="1095"/>
                </a:cubicBezTo>
                <a:cubicBezTo>
                  <a:pt x="232" y="1079"/>
                  <a:pt x="242" y="1061"/>
                  <a:pt x="252" y="1043"/>
                </a:cubicBezTo>
                <a:cubicBezTo>
                  <a:pt x="254" y="1039"/>
                  <a:pt x="257" y="1034"/>
                  <a:pt x="259" y="1029"/>
                </a:cubicBezTo>
                <a:cubicBezTo>
                  <a:pt x="260" y="1027"/>
                  <a:pt x="261" y="1025"/>
                  <a:pt x="263" y="1022"/>
                </a:cubicBezTo>
                <a:cubicBezTo>
                  <a:pt x="264" y="1020"/>
                  <a:pt x="265" y="1018"/>
                  <a:pt x="266" y="1015"/>
                </a:cubicBezTo>
                <a:cubicBezTo>
                  <a:pt x="268" y="1011"/>
                  <a:pt x="271" y="1006"/>
                  <a:pt x="273" y="1001"/>
                </a:cubicBezTo>
                <a:cubicBezTo>
                  <a:pt x="275" y="996"/>
                  <a:pt x="277" y="991"/>
                  <a:pt x="279" y="986"/>
                </a:cubicBezTo>
                <a:cubicBezTo>
                  <a:pt x="280" y="984"/>
                  <a:pt x="282" y="981"/>
                  <a:pt x="283" y="979"/>
                </a:cubicBezTo>
                <a:cubicBezTo>
                  <a:pt x="284" y="976"/>
                  <a:pt x="285" y="974"/>
                  <a:pt x="286" y="971"/>
                </a:cubicBezTo>
                <a:cubicBezTo>
                  <a:pt x="288" y="966"/>
                  <a:pt x="290" y="961"/>
                  <a:pt x="292" y="956"/>
                </a:cubicBezTo>
                <a:cubicBezTo>
                  <a:pt x="294" y="951"/>
                  <a:pt x="296" y="946"/>
                  <a:pt x="298" y="941"/>
                </a:cubicBezTo>
                <a:cubicBezTo>
                  <a:pt x="298" y="938"/>
                  <a:pt x="299" y="935"/>
                  <a:pt x="300" y="933"/>
                </a:cubicBezTo>
                <a:cubicBezTo>
                  <a:pt x="301" y="930"/>
                  <a:pt x="302" y="927"/>
                  <a:pt x="303" y="925"/>
                </a:cubicBezTo>
                <a:cubicBezTo>
                  <a:pt x="305" y="920"/>
                  <a:pt x="307" y="914"/>
                  <a:pt x="308" y="909"/>
                </a:cubicBezTo>
                <a:cubicBezTo>
                  <a:pt x="310" y="904"/>
                  <a:pt x="312" y="898"/>
                  <a:pt x="313" y="893"/>
                </a:cubicBezTo>
                <a:cubicBezTo>
                  <a:pt x="314" y="890"/>
                  <a:pt x="315" y="887"/>
                  <a:pt x="316" y="885"/>
                </a:cubicBezTo>
                <a:cubicBezTo>
                  <a:pt x="316" y="882"/>
                  <a:pt x="317" y="879"/>
                  <a:pt x="318" y="876"/>
                </a:cubicBezTo>
                <a:cubicBezTo>
                  <a:pt x="319" y="871"/>
                  <a:pt x="321" y="865"/>
                  <a:pt x="322" y="860"/>
                </a:cubicBezTo>
                <a:cubicBezTo>
                  <a:pt x="323" y="854"/>
                  <a:pt x="325" y="849"/>
                  <a:pt x="326" y="843"/>
                </a:cubicBezTo>
                <a:cubicBezTo>
                  <a:pt x="327" y="840"/>
                  <a:pt x="327" y="838"/>
                  <a:pt x="328" y="835"/>
                </a:cubicBezTo>
                <a:cubicBezTo>
                  <a:pt x="328" y="832"/>
                  <a:pt x="329" y="829"/>
                  <a:pt x="330" y="826"/>
                </a:cubicBezTo>
                <a:cubicBezTo>
                  <a:pt x="331" y="821"/>
                  <a:pt x="332" y="815"/>
                  <a:pt x="333" y="809"/>
                </a:cubicBezTo>
                <a:cubicBezTo>
                  <a:pt x="334" y="804"/>
                  <a:pt x="335" y="798"/>
                  <a:pt x="336" y="792"/>
                </a:cubicBezTo>
                <a:cubicBezTo>
                  <a:pt x="336" y="789"/>
                  <a:pt x="337" y="787"/>
                  <a:pt x="337" y="784"/>
                </a:cubicBezTo>
                <a:cubicBezTo>
                  <a:pt x="339" y="775"/>
                  <a:pt x="339" y="775"/>
                  <a:pt x="339" y="775"/>
                </a:cubicBezTo>
                <a:cubicBezTo>
                  <a:pt x="339" y="769"/>
                  <a:pt x="340" y="763"/>
                  <a:pt x="341" y="758"/>
                </a:cubicBezTo>
                <a:cubicBezTo>
                  <a:pt x="341" y="752"/>
                  <a:pt x="342" y="746"/>
                  <a:pt x="343" y="740"/>
                </a:cubicBezTo>
                <a:cubicBezTo>
                  <a:pt x="343" y="737"/>
                  <a:pt x="343" y="734"/>
                  <a:pt x="344" y="731"/>
                </a:cubicBezTo>
                <a:cubicBezTo>
                  <a:pt x="344" y="723"/>
                  <a:pt x="344" y="723"/>
                  <a:pt x="344" y="723"/>
                </a:cubicBezTo>
                <a:cubicBezTo>
                  <a:pt x="345" y="717"/>
                  <a:pt x="345" y="711"/>
                  <a:pt x="346" y="705"/>
                </a:cubicBezTo>
                <a:cubicBezTo>
                  <a:pt x="346" y="699"/>
                  <a:pt x="346" y="693"/>
                  <a:pt x="346" y="687"/>
                </a:cubicBezTo>
                <a:cubicBezTo>
                  <a:pt x="347" y="679"/>
                  <a:pt x="347" y="679"/>
                  <a:pt x="347" y="679"/>
                </a:cubicBezTo>
                <a:cubicBezTo>
                  <a:pt x="347" y="670"/>
                  <a:pt x="347" y="670"/>
                  <a:pt x="347" y="670"/>
                </a:cubicBezTo>
                <a:cubicBezTo>
                  <a:pt x="347" y="653"/>
                  <a:pt x="347" y="653"/>
                  <a:pt x="347" y="653"/>
                </a:cubicBezTo>
                <a:cubicBezTo>
                  <a:pt x="347" y="634"/>
                  <a:pt x="347" y="634"/>
                  <a:pt x="347" y="634"/>
                </a:cubicBezTo>
                <a:cubicBezTo>
                  <a:pt x="347" y="625"/>
                  <a:pt x="347" y="625"/>
                  <a:pt x="347" y="625"/>
                </a:cubicBezTo>
                <a:cubicBezTo>
                  <a:pt x="346" y="617"/>
                  <a:pt x="346" y="617"/>
                  <a:pt x="346" y="617"/>
                </a:cubicBezTo>
                <a:cubicBezTo>
                  <a:pt x="346" y="611"/>
                  <a:pt x="346" y="605"/>
                  <a:pt x="346" y="599"/>
                </a:cubicBezTo>
                <a:cubicBezTo>
                  <a:pt x="345" y="593"/>
                  <a:pt x="345" y="588"/>
                  <a:pt x="344" y="582"/>
                </a:cubicBezTo>
                <a:cubicBezTo>
                  <a:pt x="344" y="573"/>
                  <a:pt x="344" y="573"/>
                  <a:pt x="344" y="573"/>
                </a:cubicBezTo>
                <a:cubicBezTo>
                  <a:pt x="343" y="570"/>
                  <a:pt x="343" y="567"/>
                  <a:pt x="343" y="564"/>
                </a:cubicBezTo>
                <a:cubicBezTo>
                  <a:pt x="342" y="558"/>
                  <a:pt x="341" y="553"/>
                  <a:pt x="341" y="547"/>
                </a:cubicBezTo>
                <a:cubicBezTo>
                  <a:pt x="340" y="541"/>
                  <a:pt x="339" y="535"/>
                  <a:pt x="339" y="529"/>
                </a:cubicBezTo>
                <a:cubicBezTo>
                  <a:pt x="337" y="521"/>
                  <a:pt x="337" y="521"/>
                  <a:pt x="337" y="521"/>
                </a:cubicBezTo>
                <a:cubicBezTo>
                  <a:pt x="337" y="518"/>
                  <a:pt x="336" y="515"/>
                  <a:pt x="336" y="512"/>
                </a:cubicBezTo>
                <a:cubicBezTo>
                  <a:pt x="335" y="506"/>
                  <a:pt x="334" y="501"/>
                  <a:pt x="333" y="495"/>
                </a:cubicBezTo>
                <a:cubicBezTo>
                  <a:pt x="332" y="489"/>
                  <a:pt x="331" y="484"/>
                  <a:pt x="330" y="478"/>
                </a:cubicBezTo>
                <a:cubicBezTo>
                  <a:pt x="329" y="475"/>
                  <a:pt x="328" y="472"/>
                  <a:pt x="328" y="470"/>
                </a:cubicBezTo>
                <a:cubicBezTo>
                  <a:pt x="327" y="467"/>
                  <a:pt x="327" y="464"/>
                  <a:pt x="326" y="461"/>
                </a:cubicBezTo>
                <a:cubicBezTo>
                  <a:pt x="325" y="456"/>
                  <a:pt x="323" y="450"/>
                  <a:pt x="322" y="444"/>
                </a:cubicBezTo>
                <a:cubicBezTo>
                  <a:pt x="321" y="439"/>
                  <a:pt x="319" y="433"/>
                  <a:pt x="318" y="428"/>
                </a:cubicBezTo>
                <a:cubicBezTo>
                  <a:pt x="317" y="425"/>
                  <a:pt x="316" y="422"/>
                  <a:pt x="316" y="420"/>
                </a:cubicBezTo>
                <a:cubicBezTo>
                  <a:pt x="315" y="417"/>
                  <a:pt x="314" y="414"/>
                  <a:pt x="313" y="412"/>
                </a:cubicBezTo>
                <a:cubicBezTo>
                  <a:pt x="311" y="406"/>
                  <a:pt x="310" y="401"/>
                  <a:pt x="308" y="395"/>
                </a:cubicBezTo>
                <a:cubicBezTo>
                  <a:pt x="306" y="390"/>
                  <a:pt x="305" y="385"/>
                  <a:pt x="303" y="380"/>
                </a:cubicBezTo>
                <a:cubicBezTo>
                  <a:pt x="302" y="377"/>
                  <a:pt x="301" y="374"/>
                  <a:pt x="300" y="372"/>
                </a:cubicBezTo>
                <a:cubicBezTo>
                  <a:pt x="299" y="369"/>
                  <a:pt x="298" y="366"/>
                  <a:pt x="297" y="364"/>
                </a:cubicBezTo>
                <a:cubicBezTo>
                  <a:pt x="296" y="359"/>
                  <a:pt x="294" y="353"/>
                  <a:pt x="292" y="348"/>
                </a:cubicBezTo>
                <a:cubicBezTo>
                  <a:pt x="290" y="343"/>
                  <a:pt x="288" y="338"/>
                  <a:pt x="286" y="333"/>
                </a:cubicBezTo>
                <a:cubicBezTo>
                  <a:pt x="285" y="331"/>
                  <a:pt x="284" y="328"/>
                  <a:pt x="283" y="326"/>
                </a:cubicBezTo>
                <a:cubicBezTo>
                  <a:pt x="281" y="323"/>
                  <a:pt x="280" y="321"/>
                  <a:pt x="279" y="318"/>
                </a:cubicBezTo>
                <a:cubicBezTo>
                  <a:pt x="277" y="313"/>
                  <a:pt x="275" y="308"/>
                  <a:pt x="273" y="303"/>
                </a:cubicBezTo>
                <a:cubicBezTo>
                  <a:pt x="271" y="299"/>
                  <a:pt x="268" y="294"/>
                  <a:pt x="266" y="289"/>
                </a:cubicBezTo>
                <a:cubicBezTo>
                  <a:pt x="265" y="287"/>
                  <a:pt x="264" y="284"/>
                  <a:pt x="263" y="282"/>
                </a:cubicBezTo>
                <a:cubicBezTo>
                  <a:pt x="261" y="280"/>
                  <a:pt x="260" y="277"/>
                  <a:pt x="259" y="275"/>
                </a:cubicBezTo>
                <a:cubicBezTo>
                  <a:pt x="256" y="270"/>
                  <a:pt x="254" y="266"/>
                  <a:pt x="252" y="261"/>
                </a:cubicBezTo>
                <a:cubicBezTo>
                  <a:pt x="242" y="243"/>
                  <a:pt x="232" y="226"/>
                  <a:pt x="221" y="209"/>
                </a:cubicBezTo>
                <a:cubicBezTo>
                  <a:pt x="210" y="193"/>
                  <a:pt x="199" y="177"/>
                  <a:pt x="188" y="163"/>
                </a:cubicBezTo>
                <a:cubicBezTo>
                  <a:pt x="185" y="159"/>
                  <a:pt x="182" y="156"/>
                  <a:pt x="180" y="152"/>
                </a:cubicBezTo>
                <a:cubicBezTo>
                  <a:pt x="177" y="149"/>
                  <a:pt x="174" y="145"/>
                  <a:pt x="171" y="142"/>
                </a:cubicBezTo>
                <a:cubicBezTo>
                  <a:pt x="168" y="138"/>
                  <a:pt x="165" y="135"/>
                  <a:pt x="163" y="132"/>
                </a:cubicBezTo>
                <a:cubicBezTo>
                  <a:pt x="160" y="129"/>
                  <a:pt x="157" y="125"/>
                  <a:pt x="154" y="122"/>
                </a:cubicBezTo>
                <a:cubicBezTo>
                  <a:pt x="151" y="119"/>
                  <a:pt x="148" y="116"/>
                  <a:pt x="146" y="113"/>
                </a:cubicBezTo>
                <a:cubicBezTo>
                  <a:pt x="144" y="112"/>
                  <a:pt x="143" y="110"/>
                  <a:pt x="141" y="109"/>
                </a:cubicBezTo>
                <a:cubicBezTo>
                  <a:pt x="140" y="107"/>
                  <a:pt x="139" y="106"/>
                  <a:pt x="137" y="104"/>
                </a:cubicBezTo>
                <a:cubicBezTo>
                  <a:pt x="131" y="99"/>
                  <a:pt x="126" y="93"/>
                  <a:pt x="120" y="88"/>
                </a:cubicBezTo>
                <a:cubicBezTo>
                  <a:pt x="98" y="67"/>
                  <a:pt x="77" y="50"/>
                  <a:pt x="59" y="37"/>
                </a:cubicBezTo>
                <a:cubicBezTo>
                  <a:pt x="57" y="36"/>
                  <a:pt x="55" y="34"/>
                  <a:pt x="53" y="33"/>
                </a:cubicBezTo>
                <a:cubicBezTo>
                  <a:pt x="50" y="31"/>
                  <a:pt x="48" y="30"/>
                  <a:pt x="46" y="28"/>
                </a:cubicBezTo>
                <a:cubicBezTo>
                  <a:pt x="42" y="26"/>
                  <a:pt x="38" y="23"/>
                  <a:pt x="35" y="21"/>
                </a:cubicBezTo>
                <a:cubicBezTo>
                  <a:pt x="31" y="18"/>
                  <a:pt x="28" y="16"/>
                  <a:pt x="24" y="14"/>
                </a:cubicBezTo>
                <a:cubicBezTo>
                  <a:pt x="21" y="12"/>
                  <a:pt x="18" y="10"/>
                  <a:pt x="16" y="9"/>
                </a:cubicBezTo>
                <a:cubicBezTo>
                  <a:pt x="5" y="3"/>
                  <a:pt x="0" y="0"/>
                  <a:pt x="0" y="0"/>
                </a:cubicBezTo>
                <a:cubicBezTo>
                  <a:pt x="0" y="0"/>
                  <a:pt x="1" y="0"/>
                  <a:pt x="4" y="1"/>
                </a:cubicBezTo>
                <a:cubicBezTo>
                  <a:pt x="7" y="2"/>
                  <a:pt x="12" y="4"/>
                  <a:pt x="17" y="6"/>
                </a:cubicBezTo>
                <a:cubicBezTo>
                  <a:pt x="20" y="7"/>
                  <a:pt x="23" y="9"/>
                  <a:pt x="27" y="10"/>
                </a:cubicBezTo>
                <a:cubicBezTo>
                  <a:pt x="30" y="12"/>
                  <a:pt x="34" y="13"/>
                  <a:pt x="38" y="15"/>
                </a:cubicBezTo>
                <a:cubicBezTo>
                  <a:pt x="42" y="17"/>
                  <a:pt x="47" y="19"/>
                  <a:pt x="51" y="21"/>
                </a:cubicBezTo>
                <a:cubicBezTo>
                  <a:pt x="54" y="22"/>
                  <a:pt x="56" y="24"/>
                  <a:pt x="58" y="25"/>
                </a:cubicBezTo>
                <a:cubicBezTo>
                  <a:pt x="61" y="26"/>
                  <a:pt x="63" y="27"/>
                  <a:pt x="66" y="29"/>
                </a:cubicBezTo>
                <a:cubicBezTo>
                  <a:pt x="71" y="31"/>
                  <a:pt x="76" y="34"/>
                  <a:pt x="82" y="37"/>
                </a:cubicBezTo>
                <a:cubicBezTo>
                  <a:pt x="87" y="41"/>
                  <a:pt x="93" y="44"/>
                  <a:pt x="99" y="48"/>
                </a:cubicBezTo>
                <a:cubicBezTo>
                  <a:pt x="100" y="49"/>
                  <a:pt x="102" y="50"/>
                  <a:pt x="103" y="51"/>
                </a:cubicBezTo>
                <a:cubicBezTo>
                  <a:pt x="105" y="51"/>
                  <a:pt x="106" y="52"/>
                  <a:pt x="107" y="53"/>
                </a:cubicBezTo>
                <a:cubicBezTo>
                  <a:pt x="110" y="55"/>
                  <a:pt x="113" y="58"/>
                  <a:pt x="117" y="60"/>
                </a:cubicBezTo>
                <a:cubicBezTo>
                  <a:pt x="123" y="64"/>
                  <a:pt x="129" y="68"/>
                  <a:pt x="135" y="73"/>
                </a:cubicBezTo>
                <a:cubicBezTo>
                  <a:pt x="161" y="92"/>
                  <a:pt x="188" y="116"/>
                  <a:pt x="214" y="144"/>
                </a:cubicBezTo>
                <a:cubicBezTo>
                  <a:pt x="217" y="148"/>
                  <a:pt x="221" y="151"/>
                  <a:pt x="224" y="155"/>
                </a:cubicBezTo>
                <a:cubicBezTo>
                  <a:pt x="226" y="157"/>
                  <a:pt x="227" y="159"/>
                  <a:pt x="229" y="160"/>
                </a:cubicBezTo>
                <a:cubicBezTo>
                  <a:pt x="231" y="162"/>
                  <a:pt x="232" y="164"/>
                  <a:pt x="234" y="166"/>
                </a:cubicBezTo>
                <a:cubicBezTo>
                  <a:pt x="237" y="170"/>
                  <a:pt x="240" y="174"/>
                  <a:pt x="244" y="178"/>
                </a:cubicBezTo>
                <a:cubicBezTo>
                  <a:pt x="247" y="182"/>
                  <a:pt x="250" y="186"/>
                  <a:pt x="253" y="190"/>
                </a:cubicBezTo>
                <a:cubicBezTo>
                  <a:pt x="266" y="206"/>
                  <a:pt x="278" y="224"/>
                  <a:pt x="290" y="242"/>
                </a:cubicBezTo>
                <a:cubicBezTo>
                  <a:pt x="293" y="247"/>
                  <a:pt x="296" y="252"/>
                  <a:pt x="298" y="257"/>
                </a:cubicBezTo>
                <a:cubicBezTo>
                  <a:pt x="300" y="259"/>
                  <a:pt x="301" y="261"/>
                  <a:pt x="303" y="264"/>
                </a:cubicBezTo>
                <a:cubicBezTo>
                  <a:pt x="304" y="266"/>
                  <a:pt x="305" y="269"/>
                  <a:pt x="307" y="271"/>
                </a:cubicBezTo>
                <a:cubicBezTo>
                  <a:pt x="310" y="276"/>
                  <a:pt x="312" y="281"/>
                  <a:pt x="315" y="286"/>
                </a:cubicBezTo>
                <a:cubicBezTo>
                  <a:pt x="318" y="291"/>
                  <a:pt x="320" y="296"/>
                  <a:pt x="323" y="301"/>
                </a:cubicBezTo>
                <a:cubicBezTo>
                  <a:pt x="324" y="304"/>
                  <a:pt x="325" y="306"/>
                  <a:pt x="327" y="309"/>
                </a:cubicBezTo>
                <a:cubicBezTo>
                  <a:pt x="328" y="311"/>
                  <a:pt x="329" y="314"/>
                  <a:pt x="330" y="316"/>
                </a:cubicBezTo>
                <a:cubicBezTo>
                  <a:pt x="333" y="322"/>
                  <a:pt x="335" y="327"/>
                  <a:pt x="338" y="332"/>
                </a:cubicBezTo>
                <a:cubicBezTo>
                  <a:pt x="340" y="338"/>
                  <a:pt x="342" y="343"/>
                  <a:pt x="345" y="348"/>
                </a:cubicBezTo>
                <a:cubicBezTo>
                  <a:pt x="346" y="351"/>
                  <a:pt x="347" y="354"/>
                  <a:pt x="348" y="356"/>
                </a:cubicBezTo>
                <a:cubicBezTo>
                  <a:pt x="349" y="359"/>
                  <a:pt x="350" y="362"/>
                  <a:pt x="351" y="365"/>
                </a:cubicBezTo>
                <a:cubicBezTo>
                  <a:pt x="353" y="370"/>
                  <a:pt x="355" y="376"/>
                  <a:pt x="358" y="381"/>
                </a:cubicBezTo>
                <a:cubicBezTo>
                  <a:pt x="360" y="387"/>
                  <a:pt x="361" y="393"/>
                  <a:pt x="363" y="398"/>
                </a:cubicBezTo>
                <a:cubicBezTo>
                  <a:pt x="364" y="401"/>
                  <a:pt x="365" y="404"/>
                  <a:pt x="366" y="407"/>
                </a:cubicBezTo>
                <a:cubicBezTo>
                  <a:pt x="367" y="410"/>
                  <a:pt x="368" y="412"/>
                  <a:pt x="369" y="415"/>
                </a:cubicBezTo>
                <a:cubicBezTo>
                  <a:pt x="371" y="421"/>
                  <a:pt x="372" y="427"/>
                  <a:pt x="374" y="433"/>
                </a:cubicBezTo>
                <a:cubicBezTo>
                  <a:pt x="381" y="456"/>
                  <a:pt x="387" y="480"/>
                  <a:pt x="391" y="504"/>
                </a:cubicBezTo>
                <a:cubicBezTo>
                  <a:pt x="391" y="507"/>
                  <a:pt x="392" y="510"/>
                  <a:pt x="393" y="513"/>
                </a:cubicBezTo>
                <a:cubicBezTo>
                  <a:pt x="394" y="522"/>
                  <a:pt x="394" y="522"/>
                  <a:pt x="394" y="522"/>
                </a:cubicBezTo>
                <a:cubicBezTo>
                  <a:pt x="395" y="528"/>
                  <a:pt x="396" y="534"/>
                  <a:pt x="397" y="541"/>
                </a:cubicBezTo>
                <a:cubicBezTo>
                  <a:pt x="398" y="553"/>
                  <a:pt x="400" y="565"/>
                  <a:pt x="401" y="578"/>
                </a:cubicBezTo>
                <a:cubicBezTo>
                  <a:pt x="402" y="584"/>
                  <a:pt x="402" y="590"/>
                  <a:pt x="403" y="596"/>
                </a:cubicBezTo>
                <a:cubicBezTo>
                  <a:pt x="403" y="602"/>
                  <a:pt x="403" y="609"/>
                  <a:pt x="404" y="615"/>
                </a:cubicBezTo>
                <a:cubicBezTo>
                  <a:pt x="404" y="625"/>
                  <a:pt x="404" y="625"/>
                  <a:pt x="404" y="625"/>
                </a:cubicBezTo>
                <a:cubicBezTo>
                  <a:pt x="404" y="634"/>
                  <a:pt x="404" y="634"/>
                  <a:pt x="404" y="634"/>
                </a:cubicBezTo>
                <a:cubicBezTo>
                  <a:pt x="405" y="652"/>
                  <a:pt x="405" y="652"/>
                  <a:pt x="405" y="652"/>
                </a:cubicBezTo>
                <a:cubicBezTo>
                  <a:pt x="404" y="671"/>
                  <a:pt x="404" y="671"/>
                  <a:pt x="404" y="671"/>
                </a:cubicBezTo>
                <a:cubicBezTo>
                  <a:pt x="404" y="680"/>
                  <a:pt x="404" y="680"/>
                  <a:pt x="404" y="680"/>
                </a:cubicBezTo>
                <a:cubicBezTo>
                  <a:pt x="404" y="690"/>
                  <a:pt x="404" y="690"/>
                  <a:pt x="404" y="690"/>
                </a:cubicBezTo>
                <a:cubicBezTo>
                  <a:pt x="403" y="696"/>
                  <a:pt x="403" y="702"/>
                  <a:pt x="403" y="708"/>
                </a:cubicBezTo>
                <a:cubicBezTo>
                  <a:pt x="402" y="714"/>
                  <a:pt x="402" y="721"/>
                  <a:pt x="401" y="727"/>
                </a:cubicBezTo>
                <a:cubicBezTo>
                  <a:pt x="400" y="739"/>
                  <a:pt x="398" y="751"/>
                  <a:pt x="397" y="764"/>
                </a:cubicBezTo>
                <a:cubicBezTo>
                  <a:pt x="396" y="770"/>
                  <a:pt x="395" y="776"/>
                  <a:pt x="394" y="782"/>
                </a:cubicBezTo>
                <a:cubicBezTo>
                  <a:pt x="393" y="791"/>
                  <a:pt x="393" y="791"/>
                  <a:pt x="393" y="791"/>
                </a:cubicBezTo>
                <a:cubicBezTo>
                  <a:pt x="392" y="794"/>
                  <a:pt x="391" y="797"/>
                  <a:pt x="391" y="800"/>
                </a:cubicBezTo>
                <a:cubicBezTo>
                  <a:pt x="387" y="825"/>
                  <a:pt x="381" y="848"/>
                  <a:pt x="374" y="872"/>
                </a:cubicBezTo>
                <a:cubicBezTo>
                  <a:pt x="372" y="877"/>
                  <a:pt x="371" y="883"/>
                  <a:pt x="369" y="889"/>
                </a:cubicBezTo>
                <a:cubicBezTo>
                  <a:pt x="368" y="892"/>
                  <a:pt x="367" y="895"/>
                  <a:pt x="366" y="898"/>
                </a:cubicBezTo>
                <a:cubicBezTo>
                  <a:pt x="365" y="900"/>
                  <a:pt x="364" y="903"/>
                  <a:pt x="363" y="906"/>
                </a:cubicBezTo>
                <a:cubicBezTo>
                  <a:pt x="361" y="912"/>
                  <a:pt x="359" y="917"/>
                  <a:pt x="358" y="923"/>
                </a:cubicBezTo>
                <a:cubicBezTo>
                  <a:pt x="355" y="929"/>
                  <a:pt x="353" y="934"/>
                  <a:pt x="351" y="940"/>
                </a:cubicBezTo>
                <a:cubicBezTo>
                  <a:pt x="350" y="942"/>
                  <a:pt x="349" y="945"/>
                  <a:pt x="348" y="948"/>
                </a:cubicBezTo>
                <a:cubicBezTo>
                  <a:pt x="347" y="951"/>
                  <a:pt x="346" y="953"/>
                  <a:pt x="345" y="956"/>
                </a:cubicBezTo>
                <a:cubicBezTo>
                  <a:pt x="342" y="961"/>
                  <a:pt x="340" y="967"/>
                  <a:pt x="338" y="972"/>
                </a:cubicBezTo>
                <a:cubicBezTo>
                  <a:pt x="335" y="977"/>
                  <a:pt x="333" y="983"/>
                  <a:pt x="330" y="988"/>
                </a:cubicBezTo>
                <a:cubicBezTo>
                  <a:pt x="329" y="990"/>
                  <a:pt x="328" y="993"/>
                  <a:pt x="327" y="996"/>
                </a:cubicBezTo>
                <a:cubicBezTo>
                  <a:pt x="325" y="998"/>
                  <a:pt x="324" y="1001"/>
                  <a:pt x="323" y="1003"/>
                </a:cubicBezTo>
                <a:cubicBezTo>
                  <a:pt x="320" y="1008"/>
                  <a:pt x="318" y="1013"/>
                  <a:pt x="315" y="1019"/>
                </a:cubicBezTo>
                <a:cubicBezTo>
                  <a:pt x="312" y="1023"/>
                  <a:pt x="309" y="1028"/>
                  <a:pt x="307" y="1033"/>
                </a:cubicBezTo>
                <a:cubicBezTo>
                  <a:pt x="305" y="1036"/>
                  <a:pt x="304" y="1038"/>
                  <a:pt x="303" y="1041"/>
                </a:cubicBezTo>
                <a:cubicBezTo>
                  <a:pt x="301" y="1043"/>
                  <a:pt x="300" y="1045"/>
                  <a:pt x="298" y="1048"/>
                </a:cubicBezTo>
                <a:cubicBezTo>
                  <a:pt x="295" y="1052"/>
                  <a:pt x="293" y="1057"/>
                  <a:pt x="290" y="1062"/>
                </a:cubicBezTo>
                <a:cubicBezTo>
                  <a:pt x="266" y="1099"/>
                  <a:pt x="240" y="1132"/>
                  <a:pt x="214" y="1160"/>
                </a:cubicBezTo>
                <a:cubicBezTo>
                  <a:pt x="188" y="1189"/>
                  <a:pt x="161" y="1212"/>
                  <a:pt x="135" y="1231"/>
                </a:cubicBezTo>
                <a:cubicBezTo>
                  <a:pt x="129" y="1236"/>
                  <a:pt x="123" y="1241"/>
                  <a:pt x="117" y="1245"/>
                </a:cubicBezTo>
                <a:cubicBezTo>
                  <a:pt x="113" y="1247"/>
                  <a:pt x="110" y="1249"/>
                  <a:pt x="107" y="1251"/>
                </a:cubicBezTo>
                <a:cubicBezTo>
                  <a:pt x="106" y="1252"/>
                  <a:pt x="104" y="1253"/>
                  <a:pt x="103" y="1254"/>
                </a:cubicBezTo>
                <a:cubicBezTo>
                  <a:pt x="102" y="1255"/>
                  <a:pt x="100" y="1256"/>
                  <a:pt x="99" y="1257"/>
                </a:cubicBezTo>
                <a:cubicBezTo>
                  <a:pt x="93" y="1260"/>
                  <a:pt x="87" y="1264"/>
                  <a:pt x="82" y="1267"/>
                </a:cubicBezTo>
                <a:cubicBezTo>
                  <a:pt x="76" y="1270"/>
                  <a:pt x="71" y="1273"/>
                  <a:pt x="66" y="1276"/>
                </a:cubicBezTo>
                <a:cubicBezTo>
                  <a:pt x="63" y="1277"/>
                  <a:pt x="61" y="1278"/>
                  <a:pt x="58" y="1280"/>
                </a:cubicBezTo>
                <a:cubicBezTo>
                  <a:pt x="56" y="1281"/>
                  <a:pt x="54" y="1282"/>
                  <a:pt x="51" y="1283"/>
                </a:cubicBezTo>
                <a:cubicBezTo>
                  <a:pt x="47" y="1285"/>
                  <a:pt x="42" y="1287"/>
                  <a:pt x="38" y="1289"/>
                </a:cubicBezTo>
                <a:cubicBezTo>
                  <a:pt x="34" y="1291"/>
                  <a:pt x="30" y="1293"/>
                  <a:pt x="27" y="1294"/>
                </a:cubicBezTo>
                <a:cubicBezTo>
                  <a:pt x="23" y="1296"/>
                  <a:pt x="20" y="1297"/>
                  <a:pt x="17" y="1298"/>
                </a:cubicBezTo>
                <a:cubicBezTo>
                  <a:pt x="6" y="1303"/>
                  <a:pt x="0" y="1305"/>
                  <a:pt x="0" y="1305"/>
                </a:cubicBezTo>
                <a:close/>
              </a:path>
            </a:pathLst>
          </a:custGeom>
          <a:solidFill>
            <a:schemeClr val="tx1">
              <a:lumMod val="40000"/>
              <a:lumOff val="60000"/>
            </a:schemeClr>
          </a:solidFill>
          <a:ln>
            <a:noFill/>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2400" b="0" i="0" u="none" strike="noStrike" kern="1200" cap="none" spc="0" normalizeH="0" baseline="0" noProof="0">
              <a:ln>
                <a:noFill/>
              </a:ln>
              <a:solidFill>
                <a:srgbClr val="000000"/>
              </a:solidFill>
              <a:effectLst/>
              <a:uLnTx/>
              <a:uFillTx/>
              <a:latin typeface="Arial"/>
              <a:cs typeface="+mn-ea"/>
              <a:sym typeface="+mn-lt"/>
            </a:endParaRPr>
          </a:p>
        </p:txBody>
      </p:sp>
      <p:sp>
        <p:nvSpPr>
          <p:cNvPr id="12" name="Freeform 15">
            <a:extLst>
              <a:ext uri="{FF2B5EF4-FFF2-40B4-BE49-F238E27FC236}">
                <a16:creationId xmlns:a16="http://schemas.microsoft.com/office/drawing/2014/main" id="{0D55297B-FCAE-4002-96D4-D1FB0E71E60C}"/>
              </a:ext>
            </a:extLst>
          </p:cNvPr>
          <p:cNvSpPr>
            <a:spLocks/>
          </p:cNvSpPr>
          <p:nvPr/>
        </p:nvSpPr>
        <p:spPr bwMode="auto">
          <a:xfrm>
            <a:off x="5866341" y="1692273"/>
            <a:ext cx="1092200" cy="3524251"/>
          </a:xfrm>
          <a:custGeom>
            <a:avLst/>
            <a:gdLst>
              <a:gd name="T0" fmla="*/ 23 w 372"/>
              <a:gd name="T1" fmla="*/ 1185 h 1199"/>
              <a:gd name="T2" fmla="*/ 49 w 372"/>
              <a:gd name="T3" fmla="*/ 1168 h 1199"/>
              <a:gd name="T4" fmla="*/ 142 w 372"/>
              <a:gd name="T5" fmla="*/ 1086 h 1199"/>
              <a:gd name="T6" fmla="*/ 165 w 372"/>
              <a:gd name="T7" fmla="*/ 1058 h 1199"/>
              <a:gd name="T8" fmla="*/ 231 w 372"/>
              <a:gd name="T9" fmla="*/ 958 h 1199"/>
              <a:gd name="T10" fmla="*/ 244 w 372"/>
              <a:gd name="T11" fmla="*/ 933 h 1199"/>
              <a:gd name="T12" fmla="*/ 260 w 372"/>
              <a:gd name="T13" fmla="*/ 899 h 1199"/>
              <a:gd name="T14" fmla="*/ 273 w 372"/>
              <a:gd name="T15" fmla="*/ 864 h 1199"/>
              <a:gd name="T16" fmla="*/ 283 w 372"/>
              <a:gd name="T17" fmla="*/ 835 h 1199"/>
              <a:gd name="T18" fmla="*/ 292 w 372"/>
              <a:gd name="T19" fmla="*/ 805 h 1199"/>
              <a:gd name="T20" fmla="*/ 301 w 372"/>
              <a:gd name="T21" fmla="*/ 767 h 1199"/>
              <a:gd name="T22" fmla="*/ 309 w 372"/>
              <a:gd name="T23" fmla="*/ 728 h 1199"/>
              <a:gd name="T24" fmla="*/ 313 w 372"/>
              <a:gd name="T25" fmla="*/ 696 h 1199"/>
              <a:gd name="T26" fmla="*/ 316 w 372"/>
              <a:gd name="T27" fmla="*/ 664 h 1199"/>
              <a:gd name="T28" fmla="*/ 319 w 372"/>
              <a:gd name="T29" fmla="*/ 624 h 1199"/>
              <a:gd name="T30" fmla="*/ 319 w 372"/>
              <a:gd name="T31" fmla="*/ 583 h 1199"/>
              <a:gd name="T32" fmla="*/ 317 w 372"/>
              <a:gd name="T33" fmla="*/ 551 h 1199"/>
              <a:gd name="T34" fmla="*/ 315 w 372"/>
              <a:gd name="T35" fmla="*/ 518 h 1199"/>
              <a:gd name="T36" fmla="*/ 310 w 372"/>
              <a:gd name="T37" fmla="*/ 478 h 1199"/>
              <a:gd name="T38" fmla="*/ 303 w 372"/>
              <a:gd name="T39" fmla="*/ 439 h 1199"/>
              <a:gd name="T40" fmla="*/ 296 w 372"/>
              <a:gd name="T41" fmla="*/ 408 h 1199"/>
              <a:gd name="T42" fmla="*/ 288 w 372"/>
              <a:gd name="T43" fmla="*/ 378 h 1199"/>
              <a:gd name="T44" fmla="*/ 276 w 372"/>
              <a:gd name="T45" fmla="*/ 342 h 1199"/>
              <a:gd name="T46" fmla="*/ 262 w 372"/>
              <a:gd name="T47" fmla="*/ 306 h 1199"/>
              <a:gd name="T48" fmla="*/ 251 w 372"/>
              <a:gd name="T49" fmla="*/ 279 h 1199"/>
              <a:gd name="T50" fmla="*/ 238 w 372"/>
              <a:gd name="T51" fmla="*/ 253 h 1199"/>
              <a:gd name="T52" fmla="*/ 173 w 372"/>
              <a:gd name="T53" fmla="*/ 150 h 1199"/>
              <a:gd name="T54" fmla="*/ 149 w 372"/>
              <a:gd name="T55" fmla="*/ 121 h 1199"/>
              <a:gd name="T56" fmla="*/ 55 w 372"/>
              <a:gd name="T57" fmla="*/ 35 h 1199"/>
              <a:gd name="T58" fmla="*/ 32 w 372"/>
              <a:gd name="T59" fmla="*/ 19 h 1199"/>
              <a:gd name="T60" fmla="*/ 0 w 372"/>
              <a:gd name="T61" fmla="*/ 0 h 1199"/>
              <a:gd name="T62" fmla="*/ 25 w 372"/>
              <a:gd name="T63" fmla="*/ 9 h 1199"/>
              <a:gd name="T64" fmla="*/ 54 w 372"/>
              <a:gd name="T65" fmla="*/ 23 h 1199"/>
              <a:gd name="T66" fmla="*/ 91 w 372"/>
              <a:gd name="T67" fmla="*/ 44 h 1199"/>
              <a:gd name="T68" fmla="*/ 107 w 372"/>
              <a:gd name="T69" fmla="*/ 55 h 1199"/>
              <a:gd name="T70" fmla="*/ 206 w 372"/>
              <a:gd name="T71" fmla="*/ 142 h 1199"/>
              <a:gd name="T72" fmla="*/ 224 w 372"/>
              <a:gd name="T73" fmla="*/ 163 h 1199"/>
              <a:gd name="T74" fmla="*/ 275 w 372"/>
              <a:gd name="T75" fmla="*/ 236 h 1199"/>
              <a:gd name="T76" fmla="*/ 290 w 372"/>
              <a:gd name="T77" fmla="*/ 263 h 1199"/>
              <a:gd name="T78" fmla="*/ 304 w 372"/>
              <a:gd name="T79" fmla="*/ 291 h 1199"/>
              <a:gd name="T80" fmla="*/ 320 w 372"/>
              <a:gd name="T81" fmla="*/ 327 h 1199"/>
              <a:gd name="T82" fmla="*/ 361 w 372"/>
              <a:gd name="T83" fmla="*/ 471 h 1199"/>
              <a:gd name="T84" fmla="*/ 369 w 372"/>
              <a:gd name="T85" fmla="*/ 531 h 1199"/>
              <a:gd name="T86" fmla="*/ 372 w 372"/>
              <a:gd name="T87" fmla="*/ 574 h 1199"/>
              <a:gd name="T88" fmla="*/ 372 w 372"/>
              <a:gd name="T89" fmla="*/ 616 h 1199"/>
              <a:gd name="T90" fmla="*/ 371 w 372"/>
              <a:gd name="T91" fmla="*/ 651 h 1199"/>
              <a:gd name="T92" fmla="*/ 363 w 372"/>
              <a:gd name="T93" fmla="*/ 719 h 1199"/>
              <a:gd name="T94" fmla="*/ 344 w 372"/>
              <a:gd name="T95" fmla="*/ 801 h 1199"/>
              <a:gd name="T96" fmla="*/ 335 w 372"/>
              <a:gd name="T97" fmla="*/ 833 h 1199"/>
              <a:gd name="T98" fmla="*/ 320 w 372"/>
              <a:gd name="T99" fmla="*/ 871 h 1199"/>
              <a:gd name="T100" fmla="*/ 304 w 372"/>
              <a:gd name="T101" fmla="*/ 908 h 1199"/>
              <a:gd name="T102" fmla="*/ 290 w 372"/>
              <a:gd name="T103" fmla="*/ 936 h 1199"/>
              <a:gd name="T104" fmla="*/ 275 w 372"/>
              <a:gd name="T105" fmla="*/ 963 h 1199"/>
              <a:gd name="T106" fmla="*/ 125 w 372"/>
              <a:gd name="T107" fmla="*/ 1131 h 1199"/>
              <a:gd name="T108" fmla="*/ 95 w 372"/>
              <a:gd name="T109" fmla="*/ 1152 h 1199"/>
              <a:gd name="T110" fmla="*/ 61 w 372"/>
              <a:gd name="T111" fmla="*/ 1172 h 1199"/>
              <a:gd name="T112" fmla="*/ 35 w 372"/>
              <a:gd name="T113" fmla="*/ 1184 h 1199"/>
              <a:gd name="T114" fmla="*/ 0 w 372"/>
              <a:gd name="T115" fmla="*/ 1199 h 1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72" h="1199">
                <a:moveTo>
                  <a:pt x="0" y="1199"/>
                </a:moveTo>
                <a:cubicBezTo>
                  <a:pt x="0" y="1199"/>
                  <a:pt x="5" y="1196"/>
                  <a:pt x="15" y="1190"/>
                </a:cubicBezTo>
                <a:cubicBezTo>
                  <a:pt x="17" y="1189"/>
                  <a:pt x="20" y="1187"/>
                  <a:pt x="23" y="1185"/>
                </a:cubicBezTo>
                <a:cubicBezTo>
                  <a:pt x="26" y="1183"/>
                  <a:pt x="29" y="1181"/>
                  <a:pt x="32" y="1179"/>
                </a:cubicBezTo>
                <a:cubicBezTo>
                  <a:pt x="36" y="1177"/>
                  <a:pt x="39" y="1175"/>
                  <a:pt x="43" y="1172"/>
                </a:cubicBezTo>
                <a:cubicBezTo>
                  <a:pt x="45" y="1171"/>
                  <a:pt x="47" y="1170"/>
                  <a:pt x="49" y="1168"/>
                </a:cubicBezTo>
                <a:cubicBezTo>
                  <a:pt x="51" y="1167"/>
                  <a:pt x="53" y="1165"/>
                  <a:pt x="55" y="1164"/>
                </a:cubicBezTo>
                <a:cubicBezTo>
                  <a:pt x="71" y="1152"/>
                  <a:pt x="91" y="1136"/>
                  <a:pt x="111" y="1117"/>
                </a:cubicBezTo>
                <a:cubicBezTo>
                  <a:pt x="121" y="1108"/>
                  <a:pt x="131" y="1097"/>
                  <a:pt x="142" y="1086"/>
                </a:cubicBezTo>
                <a:cubicBezTo>
                  <a:pt x="144" y="1083"/>
                  <a:pt x="147" y="1080"/>
                  <a:pt x="150" y="1077"/>
                </a:cubicBezTo>
                <a:cubicBezTo>
                  <a:pt x="152" y="1074"/>
                  <a:pt x="155" y="1071"/>
                  <a:pt x="157" y="1068"/>
                </a:cubicBezTo>
                <a:cubicBezTo>
                  <a:pt x="160" y="1065"/>
                  <a:pt x="163" y="1062"/>
                  <a:pt x="165" y="1058"/>
                </a:cubicBezTo>
                <a:cubicBezTo>
                  <a:pt x="168" y="1055"/>
                  <a:pt x="170" y="1052"/>
                  <a:pt x="173" y="1049"/>
                </a:cubicBezTo>
                <a:cubicBezTo>
                  <a:pt x="183" y="1035"/>
                  <a:pt x="193" y="1021"/>
                  <a:pt x="203" y="1006"/>
                </a:cubicBezTo>
                <a:cubicBezTo>
                  <a:pt x="213" y="991"/>
                  <a:pt x="222" y="975"/>
                  <a:pt x="231" y="958"/>
                </a:cubicBezTo>
                <a:cubicBezTo>
                  <a:pt x="234" y="954"/>
                  <a:pt x="236" y="950"/>
                  <a:pt x="238" y="946"/>
                </a:cubicBezTo>
                <a:cubicBezTo>
                  <a:pt x="239" y="943"/>
                  <a:pt x="240" y="941"/>
                  <a:pt x="241" y="939"/>
                </a:cubicBezTo>
                <a:cubicBezTo>
                  <a:pt x="242" y="937"/>
                  <a:pt x="243" y="935"/>
                  <a:pt x="244" y="933"/>
                </a:cubicBezTo>
                <a:cubicBezTo>
                  <a:pt x="246" y="928"/>
                  <a:pt x="249" y="924"/>
                  <a:pt x="251" y="919"/>
                </a:cubicBezTo>
                <a:cubicBezTo>
                  <a:pt x="253" y="915"/>
                  <a:pt x="255" y="910"/>
                  <a:pt x="257" y="906"/>
                </a:cubicBezTo>
                <a:cubicBezTo>
                  <a:pt x="258" y="904"/>
                  <a:pt x="259" y="901"/>
                  <a:pt x="260" y="899"/>
                </a:cubicBezTo>
                <a:cubicBezTo>
                  <a:pt x="261" y="897"/>
                  <a:pt x="261" y="894"/>
                  <a:pt x="262" y="892"/>
                </a:cubicBezTo>
                <a:cubicBezTo>
                  <a:pt x="264" y="888"/>
                  <a:pt x="266" y="883"/>
                  <a:pt x="268" y="878"/>
                </a:cubicBezTo>
                <a:cubicBezTo>
                  <a:pt x="270" y="873"/>
                  <a:pt x="272" y="869"/>
                  <a:pt x="273" y="864"/>
                </a:cubicBezTo>
                <a:cubicBezTo>
                  <a:pt x="274" y="862"/>
                  <a:pt x="275" y="859"/>
                  <a:pt x="276" y="857"/>
                </a:cubicBezTo>
                <a:cubicBezTo>
                  <a:pt x="277" y="854"/>
                  <a:pt x="278" y="852"/>
                  <a:pt x="278" y="850"/>
                </a:cubicBezTo>
                <a:cubicBezTo>
                  <a:pt x="280" y="845"/>
                  <a:pt x="282" y="840"/>
                  <a:pt x="283" y="835"/>
                </a:cubicBezTo>
                <a:cubicBezTo>
                  <a:pt x="285" y="830"/>
                  <a:pt x="286" y="825"/>
                  <a:pt x="288" y="820"/>
                </a:cubicBezTo>
                <a:cubicBezTo>
                  <a:pt x="288" y="818"/>
                  <a:pt x="289" y="815"/>
                  <a:pt x="290" y="813"/>
                </a:cubicBezTo>
                <a:cubicBezTo>
                  <a:pt x="290" y="810"/>
                  <a:pt x="291" y="808"/>
                  <a:pt x="292" y="805"/>
                </a:cubicBezTo>
                <a:cubicBezTo>
                  <a:pt x="293" y="800"/>
                  <a:pt x="295" y="795"/>
                  <a:pt x="296" y="790"/>
                </a:cubicBezTo>
                <a:cubicBezTo>
                  <a:pt x="297" y="785"/>
                  <a:pt x="298" y="780"/>
                  <a:pt x="299" y="775"/>
                </a:cubicBezTo>
                <a:cubicBezTo>
                  <a:pt x="300" y="772"/>
                  <a:pt x="301" y="769"/>
                  <a:pt x="301" y="767"/>
                </a:cubicBezTo>
                <a:cubicBezTo>
                  <a:pt x="302" y="764"/>
                  <a:pt x="302" y="762"/>
                  <a:pt x="303" y="759"/>
                </a:cubicBezTo>
                <a:cubicBezTo>
                  <a:pt x="304" y="754"/>
                  <a:pt x="305" y="749"/>
                  <a:pt x="306" y="744"/>
                </a:cubicBezTo>
                <a:cubicBezTo>
                  <a:pt x="307" y="738"/>
                  <a:pt x="308" y="733"/>
                  <a:pt x="309" y="728"/>
                </a:cubicBezTo>
                <a:cubicBezTo>
                  <a:pt x="309" y="725"/>
                  <a:pt x="309" y="723"/>
                  <a:pt x="310" y="720"/>
                </a:cubicBezTo>
                <a:cubicBezTo>
                  <a:pt x="311" y="712"/>
                  <a:pt x="311" y="712"/>
                  <a:pt x="311" y="712"/>
                </a:cubicBezTo>
                <a:cubicBezTo>
                  <a:pt x="312" y="707"/>
                  <a:pt x="312" y="701"/>
                  <a:pt x="313" y="696"/>
                </a:cubicBezTo>
                <a:cubicBezTo>
                  <a:pt x="314" y="691"/>
                  <a:pt x="314" y="685"/>
                  <a:pt x="315" y="680"/>
                </a:cubicBezTo>
                <a:cubicBezTo>
                  <a:pt x="315" y="677"/>
                  <a:pt x="315" y="675"/>
                  <a:pt x="316" y="672"/>
                </a:cubicBezTo>
                <a:cubicBezTo>
                  <a:pt x="316" y="664"/>
                  <a:pt x="316" y="664"/>
                  <a:pt x="316" y="664"/>
                </a:cubicBezTo>
                <a:cubicBezTo>
                  <a:pt x="317" y="659"/>
                  <a:pt x="317" y="653"/>
                  <a:pt x="317" y="648"/>
                </a:cubicBezTo>
                <a:cubicBezTo>
                  <a:pt x="318" y="642"/>
                  <a:pt x="318" y="637"/>
                  <a:pt x="318" y="632"/>
                </a:cubicBezTo>
                <a:cubicBezTo>
                  <a:pt x="319" y="624"/>
                  <a:pt x="319" y="624"/>
                  <a:pt x="319" y="624"/>
                </a:cubicBezTo>
                <a:cubicBezTo>
                  <a:pt x="319" y="615"/>
                  <a:pt x="319" y="615"/>
                  <a:pt x="319" y="615"/>
                </a:cubicBezTo>
                <a:cubicBezTo>
                  <a:pt x="319" y="600"/>
                  <a:pt x="319" y="600"/>
                  <a:pt x="319" y="600"/>
                </a:cubicBezTo>
                <a:cubicBezTo>
                  <a:pt x="319" y="583"/>
                  <a:pt x="319" y="583"/>
                  <a:pt x="319" y="583"/>
                </a:cubicBezTo>
                <a:cubicBezTo>
                  <a:pt x="318" y="574"/>
                  <a:pt x="318" y="574"/>
                  <a:pt x="318" y="574"/>
                </a:cubicBezTo>
                <a:cubicBezTo>
                  <a:pt x="318" y="566"/>
                  <a:pt x="318" y="566"/>
                  <a:pt x="318" y="566"/>
                </a:cubicBezTo>
                <a:cubicBezTo>
                  <a:pt x="318" y="561"/>
                  <a:pt x="318" y="556"/>
                  <a:pt x="317" y="551"/>
                </a:cubicBezTo>
                <a:cubicBezTo>
                  <a:pt x="317" y="545"/>
                  <a:pt x="317" y="540"/>
                  <a:pt x="316" y="534"/>
                </a:cubicBezTo>
                <a:cubicBezTo>
                  <a:pt x="316" y="526"/>
                  <a:pt x="316" y="526"/>
                  <a:pt x="316" y="526"/>
                </a:cubicBezTo>
                <a:cubicBezTo>
                  <a:pt x="315" y="524"/>
                  <a:pt x="315" y="521"/>
                  <a:pt x="315" y="518"/>
                </a:cubicBezTo>
                <a:cubicBezTo>
                  <a:pt x="314" y="513"/>
                  <a:pt x="314" y="508"/>
                  <a:pt x="313" y="502"/>
                </a:cubicBezTo>
                <a:cubicBezTo>
                  <a:pt x="312" y="497"/>
                  <a:pt x="312" y="492"/>
                  <a:pt x="311" y="486"/>
                </a:cubicBezTo>
                <a:cubicBezTo>
                  <a:pt x="310" y="478"/>
                  <a:pt x="310" y="478"/>
                  <a:pt x="310" y="478"/>
                </a:cubicBezTo>
                <a:cubicBezTo>
                  <a:pt x="309" y="476"/>
                  <a:pt x="309" y="473"/>
                  <a:pt x="308" y="471"/>
                </a:cubicBezTo>
                <a:cubicBezTo>
                  <a:pt x="308" y="465"/>
                  <a:pt x="307" y="460"/>
                  <a:pt x="306" y="455"/>
                </a:cubicBezTo>
                <a:cubicBezTo>
                  <a:pt x="305" y="450"/>
                  <a:pt x="304" y="444"/>
                  <a:pt x="303" y="439"/>
                </a:cubicBezTo>
                <a:cubicBezTo>
                  <a:pt x="302" y="437"/>
                  <a:pt x="302" y="434"/>
                  <a:pt x="301" y="431"/>
                </a:cubicBezTo>
                <a:cubicBezTo>
                  <a:pt x="301" y="429"/>
                  <a:pt x="300" y="426"/>
                  <a:pt x="299" y="424"/>
                </a:cubicBezTo>
                <a:cubicBezTo>
                  <a:pt x="298" y="419"/>
                  <a:pt x="297" y="414"/>
                  <a:pt x="296" y="408"/>
                </a:cubicBezTo>
                <a:cubicBezTo>
                  <a:pt x="294" y="403"/>
                  <a:pt x="293" y="398"/>
                  <a:pt x="292" y="393"/>
                </a:cubicBezTo>
                <a:cubicBezTo>
                  <a:pt x="291" y="391"/>
                  <a:pt x="290" y="388"/>
                  <a:pt x="290" y="386"/>
                </a:cubicBezTo>
                <a:cubicBezTo>
                  <a:pt x="289" y="383"/>
                  <a:pt x="288" y="381"/>
                  <a:pt x="288" y="378"/>
                </a:cubicBezTo>
                <a:cubicBezTo>
                  <a:pt x="286" y="373"/>
                  <a:pt x="285" y="368"/>
                  <a:pt x="283" y="363"/>
                </a:cubicBezTo>
                <a:cubicBezTo>
                  <a:pt x="281" y="359"/>
                  <a:pt x="280" y="354"/>
                  <a:pt x="278" y="349"/>
                </a:cubicBezTo>
                <a:cubicBezTo>
                  <a:pt x="277" y="346"/>
                  <a:pt x="277" y="344"/>
                  <a:pt x="276" y="342"/>
                </a:cubicBezTo>
                <a:cubicBezTo>
                  <a:pt x="275" y="339"/>
                  <a:pt x="274" y="337"/>
                  <a:pt x="273" y="334"/>
                </a:cubicBezTo>
                <a:cubicBezTo>
                  <a:pt x="271" y="330"/>
                  <a:pt x="270" y="325"/>
                  <a:pt x="268" y="320"/>
                </a:cubicBezTo>
                <a:cubicBezTo>
                  <a:pt x="266" y="316"/>
                  <a:pt x="264" y="311"/>
                  <a:pt x="262" y="306"/>
                </a:cubicBezTo>
                <a:cubicBezTo>
                  <a:pt x="261" y="304"/>
                  <a:pt x="260" y="302"/>
                  <a:pt x="260" y="299"/>
                </a:cubicBezTo>
                <a:cubicBezTo>
                  <a:pt x="259" y="297"/>
                  <a:pt x="258" y="295"/>
                  <a:pt x="257" y="292"/>
                </a:cubicBezTo>
                <a:cubicBezTo>
                  <a:pt x="255" y="288"/>
                  <a:pt x="253" y="283"/>
                  <a:pt x="251" y="279"/>
                </a:cubicBezTo>
                <a:cubicBezTo>
                  <a:pt x="249" y="275"/>
                  <a:pt x="246" y="270"/>
                  <a:pt x="244" y="266"/>
                </a:cubicBezTo>
                <a:cubicBezTo>
                  <a:pt x="243" y="264"/>
                  <a:pt x="242" y="261"/>
                  <a:pt x="241" y="259"/>
                </a:cubicBezTo>
                <a:cubicBezTo>
                  <a:pt x="240" y="257"/>
                  <a:pt x="239" y="255"/>
                  <a:pt x="238" y="253"/>
                </a:cubicBezTo>
                <a:cubicBezTo>
                  <a:pt x="236" y="249"/>
                  <a:pt x="233" y="244"/>
                  <a:pt x="231" y="240"/>
                </a:cubicBezTo>
                <a:cubicBezTo>
                  <a:pt x="222" y="223"/>
                  <a:pt x="213" y="207"/>
                  <a:pt x="203" y="192"/>
                </a:cubicBezTo>
                <a:cubicBezTo>
                  <a:pt x="193" y="177"/>
                  <a:pt x="183" y="163"/>
                  <a:pt x="173" y="150"/>
                </a:cubicBezTo>
                <a:cubicBezTo>
                  <a:pt x="170" y="146"/>
                  <a:pt x="168" y="143"/>
                  <a:pt x="165" y="140"/>
                </a:cubicBezTo>
                <a:cubicBezTo>
                  <a:pt x="162" y="137"/>
                  <a:pt x="160" y="134"/>
                  <a:pt x="157" y="130"/>
                </a:cubicBezTo>
                <a:cubicBezTo>
                  <a:pt x="155" y="127"/>
                  <a:pt x="152" y="124"/>
                  <a:pt x="149" y="121"/>
                </a:cubicBezTo>
                <a:cubicBezTo>
                  <a:pt x="147" y="118"/>
                  <a:pt x="144" y="115"/>
                  <a:pt x="142" y="113"/>
                </a:cubicBezTo>
                <a:cubicBezTo>
                  <a:pt x="131" y="101"/>
                  <a:pt x="121" y="91"/>
                  <a:pt x="111" y="81"/>
                </a:cubicBezTo>
                <a:cubicBezTo>
                  <a:pt x="90" y="62"/>
                  <a:pt x="71" y="46"/>
                  <a:pt x="55" y="35"/>
                </a:cubicBezTo>
                <a:cubicBezTo>
                  <a:pt x="53" y="33"/>
                  <a:pt x="51" y="32"/>
                  <a:pt x="49" y="30"/>
                </a:cubicBezTo>
                <a:cubicBezTo>
                  <a:pt x="47" y="29"/>
                  <a:pt x="45" y="28"/>
                  <a:pt x="43" y="26"/>
                </a:cubicBezTo>
                <a:cubicBezTo>
                  <a:pt x="39" y="24"/>
                  <a:pt x="36" y="21"/>
                  <a:pt x="32" y="19"/>
                </a:cubicBezTo>
                <a:cubicBezTo>
                  <a:pt x="29" y="17"/>
                  <a:pt x="26" y="15"/>
                  <a:pt x="23" y="13"/>
                </a:cubicBezTo>
                <a:cubicBezTo>
                  <a:pt x="20" y="11"/>
                  <a:pt x="17" y="10"/>
                  <a:pt x="15" y="8"/>
                </a:cubicBezTo>
                <a:cubicBezTo>
                  <a:pt x="5" y="3"/>
                  <a:pt x="0" y="0"/>
                  <a:pt x="0" y="0"/>
                </a:cubicBezTo>
                <a:cubicBezTo>
                  <a:pt x="0" y="0"/>
                  <a:pt x="2" y="0"/>
                  <a:pt x="4" y="1"/>
                </a:cubicBezTo>
                <a:cubicBezTo>
                  <a:pt x="7" y="2"/>
                  <a:pt x="11" y="4"/>
                  <a:pt x="16" y="6"/>
                </a:cubicBezTo>
                <a:cubicBezTo>
                  <a:pt x="19" y="7"/>
                  <a:pt x="22" y="8"/>
                  <a:pt x="25" y="9"/>
                </a:cubicBezTo>
                <a:cubicBezTo>
                  <a:pt x="28" y="11"/>
                  <a:pt x="32" y="12"/>
                  <a:pt x="35" y="14"/>
                </a:cubicBezTo>
                <a:cubicBezTo>
                  <a:pt x="39" y="16"/>
                  <a:pt x="43" y="18"/>
                  <a:pt x="47" y="20"/>
                </a:cubicBezTo>
                <a:cubicBezTo>
                  <a:pt x="50" y="21"/>
                  <a:pt x="52" y="22"/>
                  <a:pt x="54" y="23"/>
                </a:cubicBezTo>
                <a:cubicBezTo>
                  <a:pt x="56" y="24"/>
                  <a:pt x="58" y="25"/>
                  <a:pt x="61" y="26"/>
                </a:cubicBezTo>
                <a:cubicBezTo>
                  <a:pt x="65" y="29"/>
                  <a:pt x="70" y="32"/>
                  <a:pt x="75" y="34"/>
                </a:cubicBezTo>
                <a:cubicBezTo>
                  <a:pt x="80" y="37"/>
                  <a:pt x="86" y="41"/>
                  <a:pt x="91" y="44"/>
                </a:cubicBezTo>
                <a:cubicBezTo>
                  <a:pt x="92" y="45"/>
                  <a:pt x="94" y="46"/>
                  <a:pt x="95" y="46"/>
                </a:cubicBezTo>
                <a:cubicBezTo>
                  <a:pt x="96" y="47"/>
                  <a:pt x="98" y="48"/>
                  <a:pt x="99" y="49"/>
                </a:cubicBezTo>
                <a:cubicBezTo>
                  <a:pt x="102" y="51"/>
                  <a:pt x="105" y="53"/>
                  <a:pt x="107" y="55"/>
                </a:cubicBezTo>
                <a:cubicBezTo>
                  <a:pt x="113" y="58"/>
                  <a:pt x="119" y="63"/>
                  <a:pt x="125" y="67"/>
                </a:cubicBezTo>
                <a:cubicBezTo>
                  <a:pt x="148" y="85"/>
                  <a:pt x="173" y="106"/>
                  <a:pt x="197" y="132"/>
                </a:cubicBezTo>
                <a:cubicBezTo>
                  <a:pt x="200" y="136"/>
                  <a:pt x="203" y="139"/>
                  <a:pt x="206" y="142"/>
                </a:cubicBezTo>
                <a:cubicBezTo>
                  <a:pt x="208" y="144"/>
                  <a:pt x="209" y="146"/>
                  <a:pt x="211" y="147"/>
                </a:cubicBezTo>
                <a:cubicBezTo>
                  <a:pt x="212" y="149"/>
                  <a:pt x="214" y="151"/>
                  <a:pt x="215" y="153"/>
                </a:cubicBezTo>
                <a:cubicBezTo>
                  <a:pt x="218" y="156"/>
                  <a:pt x="221" y="160"/>
                  <a:pt x="224" y="163"/>
                </a:cubicBezTo>
                <a:cubicBezTo>
                  <a:pt x="227" y="167"/>
                  <a:pt x="230" y="171"/>
                  <a:pt x="233" y="174"/>
                </a:cubicBezTo>
                <a:cubicBezTo>
                  <a:pt x="245" y="189"/>
                  <a:pt x="256" y="206"/>
                  <a:pt x="267" y="223"/>
                </a:cubicBezTo>
                <a:cubicBezTo>
                  <a:pt x="269" y="227"/>
                  <a:pt x="272" y="231"/>
                  <a:pt x="275" y="236"/>
                </a:cubicBezTo>
                <a:cubicBezTo>
                  <a:pt x="276" y="238"/>
                  <a:pt x="277" y="240"/>
                  <a:pt x="279" y="242"/>
                </a:cubicBezTo>
                <a:cubicBezTo>
                  <a:pt x="280" y="244"/>
                  <a:pt x="281" y="247"/>
                  <a:pt x="282" y="249"/>
                </a:cubicBezTo>
                <a:cubicBezTo>
                  <a:pt x="285" y="253"/>
                  <a:pt x="287" y="258"/>
                  <a:pt x="290" y="263"/>
                </a:cubicBezTo>
                <a:cubicBezTo>
                  <a:pt x="292" y="267"/>
                  <a:pt x="295" y="272"/>
                  <a:pt x="297" y="276"/>
                </a:cubicBezTo>
                <a:cubicBezTo>
                  <a:pt x="298" y="279"/>
                  <a:pt x="300" y="281"/>
                  <a:pt x="301" y="283"/>
                </a:cubicBezTo>
                <a:cubicBezTo>
                  <a:pt x="302" y="286"/>
                  <a:pt x="303" y="288"/>
                  <a:pt x="304" y="291"/>
                </a:cubicBezTo>
                <a:cubicBezTo>
                  <a:pt x="306" y="295"/>
                  <a:pt x="309" y="300"/>
                  <a:pt x="311" y="305"/>
                </a:cubicBezTo>
                <a:cubicBezTo>
                  <a:pt x="313" y="310"/>
                  <a:pt x="315" y="315"/>
                  <a:pt x="317" y="320"/>
                </a:cubicBezTo>
                <a:cubicBezTo>
                  <a:pt x="318" y="322"/>
                  <a:pt x="319" y="325"/>
                  <a:pt x="320" y="327"/>
                </a:cubicBezTo>
                <a:cubicBezTo>
                  <a:pt x="321" y="330"/>
                  <a:pt x="322" y="332"/>
                  <a:pt x="323" y="335"/>
                </a:cubicBezTo>
                <a:cubicBezTo>
                  <a:pt x="339" y="375"/>
                  <a:pt x="352" y="419"/>
                  <a:pt x="360" y="463"/>
                </a:cubicBezTo>
                <a:cubicBezTo>
                  <a:pt x="360" y="466"/>
                  <a:pt x="361" y="469"/>
                  <a:pt x="361" y="471"/>
                </a:cubicBezTo>
                <a:cubicBezTo>
                  <a:pt x="363" y="480"/>
                  <a:pt x="363" y="480"/>
                  <a:pt x="363" y="480"/>
                </a:cubicBezTo>
                <a:cubicBezTo>
                  <a:pt x="364" y="485"/>
                  <a:pt x="365" y="491"/>
                  <a:pt x="365" y="497"/>
                </a:cubicBezTo>
                <a:cubicBezTo>
                  <a:pt x="367" y="508"/>
                  <a:pt x="368" y="519"/>
                  <a:pt x="369" y="531"/>
                </a:cubicBezTo>
                <a:cubicBezTo>
                  <a:pt x="370" y="536"/>
                  <a:pt x="370" y="542"/>
                  <a:pt x="371" y="548"/>
                </a:cubicBezTo>
                <a:cubicBezTo>
                  <a:pt x="371" y="554"/>
                  <a:pt x="371" y="559"/>
                  <a:pt x="371" y="565"/>
                </a:cubicBezTo>
                <a:cubicBezTo>
                  <a:pt x="372" y="574"/>
                  <a:pt x="372" y="574"/>
                  <a:pt x="372" y="574"/>
                </a:cubicBezTo>
                <a:cubicBezTo>
                  <a:pt x="372" y="582"/>
                  <a:pt x="372" y="582"/>
                  <a:pt x="372" y="582"/>
                </a:cubicBezTo>
                <a:cubicBezTo>
                  <a:pt x="372" y="599"/>
                  <a:pt x="372" y="599"/>
                  <a:pt x="372" y="599"/>
                </a:cubicBezTo>
                <a:cubicBezTo>
                  <a:pt x="372" y="616"/>
                  <a:pt x="372" y="616"/>
                  <a:pt x="372" y="616"/>
                </a:cubicBezTo>
                <a:cubicBezTo>
                  <a:pt x="372" y="625"/>
                  <a:pt x="372" y="625"/>
                  <a:pt x="372" y="625"/>
                </a:cubicBezTo>
                <a:cubicBezTo>
                  <a:pt x="371" y="634"/>
                  <a:pt x="371" y="634"/>
                  <a:pt x="371" y="634"/>
                </a:cubicBezTo>
                <a:cubicBezTo>
                  <a:pt x="371" y="639"/>
                  <a:pt x="371" y="645"/>
                  <a:pt x="371" y="651"/>
                </a:cubicBezTo>
                <a:cubicBezTo>
                  <a:pt x="370" y="656"/>
                  <a:pt x="370" y="662"/>
                  <a:pt x="369" y="668"/>
                </a:cubicBezTo>
                <a:cubicBezTo>
                  <a:pt x="368" y="679"/>
                  <a:pt x="367" y="690"/>
                  <a:pt x="365" y="702"/>
                </a:cubicBezTo>
                <a:cubicBezTo>
                  <a:pt x="364" y="707"/>
                  <a:pt x="364" y="713"/>
                  <a:pt x="363" y="719"/>
                </a:cubicBezTo>
                <a:cubicBezTo>
                  <a:pt x="361" y="727"/>
                  <a:pt x="361" y="727"/>
                  <a:pt x="361" y="727"/>
                </a:cubicBezTo>
                <a:cubicBezTo>
                  <a:pt x="361" y="730"/>
                  <a:pt x="360" y="733"/>
                  <a:pt x="360" y="735"/>
                </a:cubicBezTo>
                <a:cubicBezTo>
                  <a:pt x="356" y="758"/>
                  <a:pt x="350" y="779"/>
                  <a:pt x="344" y="801"/>
                </a:cubicBezTo>
                <a:cubicBezTo>
                  <a:pt x="343" y="806"/>
                  <a:pt x="341" y="811"/>
                  <a:pt x="340" y="817"/>
                </a:cubicBezTo>
                <a:cubicBezTo>
                  <a:pt x="339" y="819"/>
                  <a:pt x="338" y="822"/>
                  <a:pt x="337" y="825"/>
                </a:cubicBezTo>
                <a:cubicBezTo>
                  <a:pt x="336" y="827"/>
                  <a:pt x="335" y="830"/>
                  <a:pt x="335" y="833"/>
                </a:cubicBezTo>
                <a:cubicBezTo>
                  <a:pt x="333" y="838"/>
                  <a:pt x="331" y="843"/>
                  <a:pt x="329" y="848"/>
                </a:cubicBezTo>
                <a:cubicBezTo>
                  <a:pt x="327" y="853"/>
                  <a:pt x="325" y="858"/>
                  <a:pt x="323" y="863"/>
                </a:cubicBezTo>
                <a:cubicBezTo>
                  <a:pt x="322" y="866"/>
                  <a:pt x="321" y="868"/>
                  <a:pt x="320" y="871"/>
                </a:cubicBezTo>
                <a:cubicBezTo>
                  <a:pt x="319" y="873"/>
                  <a:pt x="318" y="876"/>
                  <a:pt x="317" y="878"/>
                </a:cubicBezTo>
                <a:cubicBezTo>
                  <a:pt x="315" y="883"/>
                  <a:pt x="313" y="888"/>
                  <a:pt x="311" y="893"/>
                </a:cubicBezTo>
                <a:cubicBezTo>
                  <a:pt x="309" y="898"/>
                  <a:pt x="306" y="903"/>
                  <a:pt x="304" y="908"/>
                </a:cubicBezTo>
                <a:cubicBezTo>
                  <a:pt x="303" y="910"/>
                  <a:pt x="302" y="912"/>
                  <a:pt x="301" y="915"/>
                </a:cubicBezTo>
                <a:cubicBezTo>
                  <a:pt x="300" y="917"/>
                  <a:pt x="298" y="920"/>
                  <a:pt x="297" y="922"/>
                </a:cubicBezTo>
                <a:cubicBezTo>
                  <a:pt x="295" y="927"/>
                  <a:pt x="292" y="931"/>
                  <a:pt x="290" y="936"/>
                </a:cubicBezTo>
                <a:cubicBezTo>
                  <a:pt x="287" y="940"/>
                  <a:pt x="285" y="945"/>
                  <a:pt x="282" y="949"/>
                </a:cubicBezTo>
                <a:cubicBezTo>
                  <a:pt x="281" y="952"/>
                  <a:pt x="280" y="954"/>
                  <a:pt x="279" y="956"/>
                </a:cubicBezTo>
                <a:cubicBezTo>
                  <a:pt x="277" y="958"/>
                  <a:pt x="276" y="961"/>
                  <a:pt x="275" y="963"/>
                </a:cubicBezTo>
                <a:cubicBezTo>
                  <a:pt x="272" y="967"/>
                  <a:pt x="269" y="971"/>
                  <a:pt x="267" y="976"/>
                </a:cubicBezTo>
                <a:cubicBezTo>
                  <a:pt x="245" y="1010"/>
                  <a:pt x="221" y="1040"/>
                  <a:pt x="197" y="1066"/>
                </a:cubicBezTo>
                <a:cubicBezTo>
                  <a:pt x="173" y="1092"/>
                  <a:pt x="148" y="1114"/>
                  <a:pt x="125" y="1131"/>
                </a:cubicBezTo>
                <a:cubicBezTo>
                  <a:pt x="119" y="1136"/>
                  <a:pt x="113" y="1140"/>
                  <a:pt x="107" y="1144"/>
                </a:cubicBezTo>
                <a:cubicBezTo>
                  <a:pt x="105" y="1145"/>
                  <a:pt x="102" y="1147"/>
                  <a:pt x="99" y="1149"/>
                </a:cubicBezTo>
                <a:cubicBezTo>
                  <a:pt x="98" y="1150"/>
                  <a:pt x="96" y="1151"/>
                  <a:pt x="95" y="1152"/>
                </a:cubicBezTo>
                <a:cubicBezTo>
                  <a:pt x="94" y="1153"/>
                  <a:pt x="92" y="1154"/>
                  <a:pt x="91" y="1154"/>
                </a:cubicBezTo>
                <a:cubicBezTo>
                  <a:pt x="86" y="1158"/>
                  <a:pt x="80" y="1161"/>
                  <a:pt x="75" y="1164"/>
                </a:cubicBezTo>
                <a:cubicBezTo>
                  <a:pt x="70" y="1167"/>
                  <a:pt x="65" y="1169"/>
                  <a:pt x="61" y="1172"/>
                </a:cubicBezTo>
                <a:cubicBezTo>
                  <a:pt x="58" y="1173"/>
                  <a:pt x="56" y="1174"/>
                  <a:pt x="54" y="1176"/>
                </a:cubicBezTo>
                <a:cubicBezTo>
                  <a:pt x="52" y="1177"/>
                  <a:pt x="50" y="1178"/>
                  <a:pt x="47" y="1179"/>
                </a:cubicBezTo>
                <a:cubicBezTo>
                  <a:pt x="43" y="1181"/>
                  <a:pt x="39" y="1183"/>
                  <a:pt x="35" y="1184"/>
                </a:cubicBezTo>
                <a:cubicBezTo>
                  <a:pt x="32" y="1186"/>
                  <a:pt x="28" y="1188"/>
                  <a:pt x="25" y="1189"/>
                </a:cubicBezTo>
                <a:cubicBezTo>
                  <a:pt x="22" y="1190"/>
                  <a:pt x="19" y="1192"/>
                  <a:pt x="16" y="1193"/>
                </a:cubicBezTo>
                <a:cubicBezTo>
                  <a:pt x="6" y="1197"/>
                  <a:pt x="0" y="1199"/>
                  <a:pt x="0" y="1199"/>
                </a:cubicBezTo>
                <a:close/>
              </a:path>
            </a:pathLst>
          </a:custGeom>
          <a:solidFill>
            <a:schemeClr val="tx1">
              <a:lumMod val="40000"/>
              <a:lumOff val="60000"/>
            </a:schemeClr>
          </a:solidFill>
          <a:ln>
            <a:noFill/>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2400" b="0" i="0" u="none" strike="noStrike" kern="1200" cap="none" spc="0" normalizeH="0" baseline="0" noProof="0">
              <a:ln>
                <a:noFill/>
              </a:ln>
              <a:solidFill>
                <a:srgbClr val="000000"/>
              </a:solidFill>
              <a:effectLst/>
              <a:uLnTx/>
              <a:uFillTx/>
              <a:latin typeface="Arial"/>
              <a:cs typeface="+mn-ea"/>
              <a:sym typeface="+mn-lt"/>
            </a:endParaRPr>
          </a:p>
        </p:txBody>
      </p:sp>
      <p:sp>
        <p:nvSpPr>
          <p:cNvPr id="13" name="Freeform 16">
            <a:extLst>
              <a:ext uri="{FF2B5EF4-FFF2-40B4-BE49-F238E27FC236}">
                <a16:creationId xmlns:a16="http://schemas.microsoft.com/office/drawing/2014/main" id="{E427353B-1449-4E63-A11E-9BD1EE4A6915}"/>
              </a:ext>
            </a:extLst>
          </p:cNvPr>
          <p:cNvSpPr>
            <a:spLocks/>
          </p:cNvSpPr>
          <p:nvPr/>
        </p:nvSpPr>
        <p:spPr bwMode="auto">
          <a:xfrm>
            <a:off x="4179357" y="1846792"/>
            <a:ext cx="999067" cy="3215217"/>
          </a:xfrm>
          <a:custGeom>
            <a:avLst/>
            <a:gdLst>
              <a:gd name="T0" fmla="*/ 21 w 340"/>
              <a:gd name="T1" fmla="*/ 1080 h 1093"/>
              <a:gd name="T2" fmla="*/ 44 w 340"/>
              <a:gd name="T3" fmla="*/ 1065 h 1093"/>
              <a:gd name="T4" fmla="*/ 157 w 340"/>
              <a:gd name="T5" fmla="*/ 956 h 1093"/>
              <a:gd name="T6" fmla="*/ 217 w 340"/>
              <a:gd name="T7" fmla="*/ 862 h 1093"/>
              <a:gd name="T8" fmla="*/ 228 w 340"/>
              <a:gd name="T9" fmla="*/ 838 h 1093"/>
              <a:gd name="T10" fmla="*/ 239 w 340"/>
              <a:gd name="T11" fmla="*/ 813 h 1093"/>
              <a:gd name="T12" fmla="*/ 251 w 340"/>
              <a:gd name="T13" fmla="*/ 781 h 1093"/>
              <a:gd name="T14" fmla="*/ 262 w 340"/>
              <a:gd name="T15" fmla="*/ 747 h 1093"/>
              <a:gd name="T16" fmla="*/ 269 w 340"/>
              <a:gd name="T17" fmla="*/ 720 h 1093"/>
              <a:gd name="T18" fmla="*/ 276 w 340"/>
              <a:gd name="T19" fmla="*/ 692 h 1093"/>
              <a:gd name="T20" fmla="*/ 282 w 340"/>
              <a:gd name="T21" fmla="*/ 656 h 1093"/>
              <a:gd name="T22" fmla="*/ 286 w 340"/>
              <a:gd name="T23" fmla="*/ 620 h 1093"/>
              <a:gd name="T24" fmla="*/ 289 w 340"/>
              <a:gd name="T25" fmla="*/ 590 h 1093"/>
              <a:gd name="T26" fmla="*/ 290 w 340"/>
              <a:gd name="T27" fmla="*/ 561 h 1093"/>
              <a:gd name="T28" fmla="*/ 290 w 340"/>
              <a:gd name="T29" fmla="*/ 524 h 1093"/>
              <a:gd name="T30" fmla="*/ 288 w 340"/>
              <a:gd name="T31" fmla="*/ 487 h 1093"/>
              <a:gd name="T32" fmla="*/ 285 w 340"/>
              <a:gd name="T33" fmla="*/ 458 h 1093"/>
              <a:gd name="T34" fmla="*/ 281 w 340"/>
              <a:gd name="T35" fmla="*/ 429 h 1093"/>
              <a:gd name="T36" fmla="*/ 274 w 340"/>
              <a:gd name="T37" fmla="*/ 393 h 1093"/>
              <a:gd name="T38" fmla="*/ 266 w 340"/>
              <a:gd name="T39" fmla="*/ 359 h 1093"/>
              <a:gd name="T40" fmla="*/ 258 w 340"/>
              <a:gd name="T41" fmla="*/ 331 h 1093"/>
              <a:gd name="T42" fmla="*/ 249 w 340"/>
              <a:gd name="T43" fmla="*/ 305 h 1093"/>
              <a:gd name="T44" fmla="*/ 236 w 340"/>
              <a:gd name="T45" fmla="*/ 273 h 1093"/>
              <a:gd name="T46" fmla="*/ 222 w 340"/>
              <a:gd name="T47" fmla="*/ 242 h 1093"/>
              <a:gd name="T48" fmla="*/ 211 w 340"/>
              <a:gd name="T49" fmla="*/ 219 h 1093"/>
              <a:gd name="T50" fmla="*/ 150 w 340"/>
              <a:gd name="T51" fmla="*/ 128 h 1093"/>
              <a:gd name="T52" fmla="*/ 129 w 340"/>
              <a:gd name="T53" fmla="*/ 103 h 1093"/>
              <a:gd name="T54" fmla="*/ 44 w 340"/>
              <a:gd name="T55" fmla="*/ 28 h 1093"/>
              <a:gd name="T56" fmla="*/ 21 w 340"/>
              <a:gd name="T57" fmla="*/ 12 h 1093"/>
              <a:gd name="T58" fmla="*/ 4 w 340"/>
              <a:gd name="T59" fmla="*/ 1 h 1093"/>
              <a:gd name="T60" fmla="*/ 32 w 340"/>
              <a:gd name="T61" fmla="*/ 13 h 1093"/>
              <a:gd name="T62" fmla="*/ 56 w 340"/>
              <a:gd name="T63" fmla="*/ 24 h 1093"/>
              <a:gd name="T64" fmla="*/ 87 w 340"/>
              <a:gd name="T65" fmla="*/ 42 h 1093"/>
              <a:gd name="T66" fmla="*/ 114 w 340"/>
              <a:gd name="T67" fmla="*/ 61 h 1093"/>
              <a:gd name="T68" fmla="*/ 193 w 340"/>
              <a:gd name="T69" fmla="*/ 134 h 1093"/>
              <a:gd name="T70" fmla="*/ 213 w 340"/>
              <a:gd name="T71" fmla="*/ 159 h 1093"/>
              <a:gd name="T72" fmla="*/ 254 w 340"/>
              <a:gd name="T73" fmla="*/ 221 h 1093"/>
              <a:gd name="T74" fmla="*/ 271 w 340"/>
              <a:gd name="T75" fmla="*/ 252 h 1093"/>
              <a:gd name="T76" fmla="*/ 284 w 340"/>
              <a:gd name="T77" fmla="*/ 278 h 1093"/>
              <a:gd name="T78" fmla="*/ 295 w 340"/>
              <a:gd name="T79" fmla="*/ 305 h 1093"/>
              <a:gd name="T80" fmla="*/ 331 w 340"/>
              <a:gd name="T81" fmla="*/ 437 h 1093"/>
              <a:gd name="T82" fmla="*/ 338 w 340"/>
              <a:gd name="T83" fmla="*/ 499 h 1093"/>
              <a:gd name="T84" fmla="*/ 340 w 340"/>
              <a:gd name="T85" fmla="*/ 531 h 1093"/>
              <a:gd name="T86" fmla="*/ 339 w 340"/>
              <a:gd name="T87" fmla="*/ 570 h 1093"/>
              <a:gd name="T88" fmla="*/ 337 w 340"/>
              <a:gd name="T89" fmla="*/ 609 h 1093"/>
              <a:gd name="T90" fmla="*/ 330 w 340"/>
              <a:gd name="T91" fmla="*/ 663 h 1093"/>
              <a:gd name="T92" fmla="*/ 292 w 340"/>
              <a:gd name="T93" fmla="*/ 794 h 1093"/>
              <a:gd name="T94" fmla="*/ 278 w 340"/>
              <a:gd name="T95" fmla="*/ 827 h 1093"/>
              <a:gd name="T96" fmla="*/ 265 w 340"/>
              <a:gd name="T97" fmla="*/ 853 h 1093"/>
              <a:gd name="T98" fmla="*/ 251 w 340"/>
              <a:gd name="T99" fmla="*/ 878 h 1093"/>
              <a:gd name="T100" fmla="*/ 114 w 340"/>
              <a:gd name="T101" fmla="*/ 1031 h 1093"/>
              <a:gd name="T102" fmla="*/ 87 w 340"/>
              <a:gd name="T103" fmla="*/ 1050 h 1093"/>
              <a:gd name="T104" fmla="*/ 56 w 340"/>
              <a:gd name="T105" fmla="*/ 1068 h 1093"/>
              <a:gd name="T106" fmla="*/ 32 w 340"/>
              <a:gd name="T107" fmla="*/ 1080 h 1093"/>
              <a:gd name="T108" fmla="*/ 0 w 340"/>
              <a:gd name="T109" fmla="*/ 1093 h 10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40" h="1093">
                <a:moveTo>
                  <a:pt x="0" y="1093"/>
                </a:moveTo>
                <a:cubicBezTo>
                  <a:pt x="0" y="1093"/>
                  <a:pt x="5" y="1090"/>
                  <a:pt x="14" y="1085"/>
                </a:cubicBezTo>
                <a:cubicBezTo>
                  <a:pt x="16" y="1084"/>
                  <a:pt x="18" y="1082"/>
                  <a:pt x="21" y="1080"/>
                </a:cubicBezTo>
                <a:cubicBezTo>
                  <a:pt x="23" y="1079"/>
                  <a:pt x="26" y="1077"/>
                  <a:pt x="29" y="1075"/>
                </a:cubicBezTo>
                <a:cubicBezTo>
                  <a:pt x="33" y="1073"/>
                  <a:pt x="36" y="1071"/>
                  <a:pt x="39" y="1068"/>
                </a:cubicBezTo>
                <a:cubicBezTo>
                  <a:pt x="41" y="1067"/>
                  <a:pt x="43" y="1066"/>
                  <a:pt x="44" y="1065"/>
                </a:cubicBezTo>
                <a:cubicBezTo>
                  <a:pt x="46" y="1063"/>
                  <a:pt x="48" y="1062"/>
                  <a:pt x="50" y="1061"/>
                </a:cubicBezTo>
                <a:cubicBezTo>
                  <a:pt x="65" y="1050"/>
                  <a:pt x="83" y="1036"/>
                  <a:pt x="101" y="1018"/>
                </a:cubicBezTo>
                <a:cubicBezTo>
                  <a:pt x="119" y="1001"/>
                  <a:pt x="139" y="980"/>
                  <a:pt x="157" y="956"/>
                </a:cubicBezTo>
                <a:cubicBezTo>
                  <a:pt x="167" y="943"/>
                  <a:pt x="176" y="931"/>
                  <a:pt x="185" y="917"/>
                </a:cubicBezTo>
                <a:cubicBezTo>
                  <a:pt x="194" y="903"/>
                  <a:pt x="202" y="888"/>
                  <a:pt x="211" y="873"/>
                </a:cubicBezTo>
                <a:cubicBezTo>
                  <a:pt x="213" y="869"/>
                  <a:pt x="215" y="866"/>
                  <a:pt x="217" y="862"/>
                </a:cubicBezTo>
                <a:cubicBezTo>
                  <a:pt x="218" y="860"/>
                  <a:pt x="219" y="858"/>
                  <a:pt x="220" y="856"/>
                </a:cubicBezTo>
                <a:cubicBezTo>
                  <a:pt x="221" y="854"/>
                  <a:pt x="222" y="852"/>
                  <a:pt x="223" y="850"/>
                </a:cubicBezTo>
                <a:cubicBezTo>
                  <a:pt x="224" y="846"/>
                  <a:pt x="226" y="842"/>
                  <a:pt x="228" y="838"/>
                </a:cubicBezTo>
                <a:cubicBezTo>
                  <a:pt x="230" y="834"/>
                  <a:pt x="232" y="830"/>
                  <a:pt x="234" y="826"/>
                </a:cubicBezTo>
                <a:cubicBezTo>
                  <a:pt x="235" y="824"/>
                  <a:pt x="235" y="821"/>
                  <a:pt x="236" y="819"/>
                </a:cubicBezTo>
                <a:cubicBezTo>
                  <a:pt x="237" y="817"/>
                  <a:pt x="238" y="815"/>
                  <a:pt x="239" y="813"/>
                </a:cubicBezTo>
                <a:cubicBezTo>
                  <a:pt x="241" y="809"/>
                  <a:pt x="242" y="805"/>
                  <a:pt x="244" y="800"/>
                </a:cubicBezTo>
                <a:cubicBezTo>
                  <a:pt x="246" y="796"/>
                  <a:pt x="247" y="792"/>
                  <a:pt x="249" y="787"/>
                </a:cubicBezTo>
                <a:cubicBezTo>
                  <a:pt x="250" y="785"/>
                  <a:pt x="250" y="783"/>
                  <a:pt x="251" y="781"/>
                </a:cubicBezTo>
                <a:cubicBezTo>
                  <a:pt x="252" y="779"/>
                  <a:pt x="253" y="776"/>
                  <a:pt x="253" y="774"/>
                </a:cubicBezTo>
                <a:cubicBezTo>
                  <a:pt x="255" y="770"/>
                  <a:pt x="256" y="765"/>
                  <a:pt x="258" y="761"/>
                </a:cubicBezTo>
                <a:cubicBezTo>
                  <a:pt x="259" y="756"/>
                  <a:pt x="260" y="752"/>
                  <a:pt x="262" y="747"/>
                </a:cubicBezTo>
                <a:cubicBezTo>
                  <a:pt x="262" y="745"/>
                  <a:pt x="263" y="743"/>
                  <a:pt x="264" y="741"/>
                </a:cubicBezTo>
                <a:cubicBezTo>
                  <a:pt x="264" y="738"/>
                  <a:pt x="265" y="736"/>
                  <a:pt x="266" y="734"/>
                </a:cubicBezTo>
                <a:cubicBezTo>
                  <a:pt x="267" y="729"/>
                  <a:pt x="268" y="725"/>
                  <a:pt x="269" y="720"/>
                </a:cubicBezTo>
                <a:cubicBezTo>
                  <a:pt x="270" y="715"/>
                  <a:pt x="271" y="711"/>
                  <a:pt x="273" y="706"/>
                </a:cubicBezTo>
                <a:cubicBezTo>
                  <a:pt x="273" y="704"/>
                  <a:pt x="274" y="701"/>
                  <a:pt x="274" y="699"/>
                </a:cubicBezTo>
                <a:cubicBezTo>
                  <a:pt x="275" y="697"/>
                  <a:pt x="275" y="694"/>
                  <a:pt x="276" y="692"/>
                </a:cubicBezTo>
                <a:cubicBezTo>
                  <a:pt x="276" y="687"/>
                  <a:pt x="277" y="682"/>
                  <a:pt x="278" y="678"/>
                </a:cubicBezTo>
                <a:cubicBezTo>
                  <a:pt x="279" y="673"/>
                  <a:pt x="280" y="668"/>
                  <a:pt x="281" y="663"/>
                </a:cubicBezTo>
                <a:cubicBezTo>
                  <a:pt x="281" y="661"/>
                  <a:pt x="282" y="659"/>
                  <a:pt x="282" y="656"/>
                </a:cubicBezTo>
                <a:cubicBezTo>
                  <a:pt x="283" y="649"/>
                  <a:pt x="283" y="649"/>
                  <a:pt x="283" y="649"/>
                </a:cubicBezTo>
                <a:cubicBezTo>
                  <a:pt x="284" y="644"/>
                  <a:pt x="284" y="639"/>
                  <a:pt x="285" y="634"/>
                </a:cubicBezTo>
                <a:cubicBezTo>
                  <a:pt x="285" y="630"/>
                  <a:pt x="286" y="625"/>
                  <a:pt x="286" y="620"/>
                </a:cubicBezTo>
                <a:cubicBezTo>
                  <a:pt x="287" y="617"/>
                  <a:pt x="287" y="615"/>
                  <a:pt x="287" y="612"/>
                </a:cubicBezTo>
                <a:cubicBezTo>
                  <a:pt x="288" y="605"/>
                  <a:pt x="288" y="605"/>
                  <a:pt x="288" y="605"/>
                </a:cubicBezTo>
                <a:cubicBezTo>
                  <a:pt x="288" y="600"/>
                  <a:pt x="289" y="595"/>
                  <a:pt x="289" y="590"/>
                </a:cubicBezTo>
                <a:cubicBezTo>
                  <a:pt x="289" y="586"/>
                  <a:pt x="289" y="581"/>
                  <a:pt x="290" y="576"/>
                </a:cubicBezTo>
                <a:cubicBezTo>
                  <a:pt x="290" y="568"/>
                  <a:pt x="290" y="568"/>
                  <a:pt x="290" y="568"/>
                </a:cubicBezTo>
                <a:cubicBezTo>
                  <a:pt x="290" y="561"/>
                  <a:pt x="290" y="561"/>
                  <a:pt x="290" y="561"/>
                </a:cubicBezTo>
                <a:cubicBezTo>
                  <a:pt x="290" y="547"/>
                  <a:pt x="290" y="547"/>
                  <a:pt x="290" y="547"/>
                </a:cubicBezTo>
                <a:cubicBezTo>
                  <a:pt x="290" y="531"/>
                  <a:pt x="290" y="531"/>
                  <a:pt x="290" y="531"/>
                </a:cubicBezTo>
                <a:cubicBezTo>
                  <a:pt x="290" y="524"/>
                  <a:pt x="290" y="524"/>
                  <a:pt x="290" y="524"/>
                </a:cubicBezTo>
                <a:cubicBezTo>
                  <a:pt x="290" y="516"/>
                  <a:pt x="290" y="516"/>
                  <a:pt x="290" y="516"/>
                </a:cubicBezTo>
                <a:cubicBezTo>
                  <a:pt x="289" y="512"/>
                  <a:pt x="289" y="507"/>
                  <a:pt x="289" y="502"/>
                </a:cubicBezTo>
                <a:cubicBezTo>
                  <a:pt x="289" y="497"/>
                  <a:pt x="288" y="492"/>
                  <a:pt x="288" y="487"/>
                </a:cubicBezTo>
                <a:cubicBezTo>
                  <a:pt x="287" y="480"/>
                  <a:pt x="287" y="480"/>
                  <a:pt x="287" y="480"/>
                </a:cubicBezTo>
                <a:cubicBezTo>
                  <a:pt x="287" y="477"/>
                  <a:pt x="287" y="475"/>
                  <a:pt x="286" y="473"/>
                </a:cubicBezTo>
                <a:cubicBezTo>
                  <a:pt x="286" y="468"/>
                  <a:pt x="285" y="463"/>
                  <a:pt x="285" y="458"/>
                </a:cubicBezTo>
                <a:cubicBezTo>
                  <a:pt x="284" y="453"/>
                  <a:pt x="284" y="448"/>
                  <a:pt x="283" y="443"/>
                </a:cubicBezTo>
                <a:cubicBezTo>
                  <a:pt x="282" y="436"/>
                  <a:pt x="282" y="436"/>
                  <a:pt x="282" y="436"/>
                </a:cubicBezTo>
                <a:cubicBezTo>
                  <a:pt x="282" y="434"/>
                  <a:pt x="281" y="431"/>
                  <a:pt x="281" y="429"/>
                </a:cubicBezTo>
                <a:cubicBezTo>
                  <a:pt x="280" y="424"/>
                  <a:pt x="279" y="419"/>
                  <a:pt x="278" y="415"/>
                </a:cubicBezTo>
                <a:cubicBezTo>
                  <a:pt x="277" y="410"/>
                  <a:pt x="276" y="405"/>
                  <a:pt x="275" y="401"/>
                </a:cubicBezTo>
                <a:cubicBezTo>
                  <a:pt x="275" y="398"/>
                  <a:pt x="275" y="396"/>
                  <a:pt x="274" y="393"/>
                </a:cubicBezTo>
                <a:cubicBezTo>
                  <a:pt x="274" y="391"/>
                  <a:pt x="273" y="389"/>
                  <a:pt x="272" y="386"/>
                </a:cubicBezTo>
                <a:cubicBezTo>
                  <a:pt x="271" y="382"/>
                  <a:pt x="270" y="377"/>
                  <a:pt x="269" y="372"/>
                </a:cubicBezTo>
                <a:cubicBezTo>
                  <a:pt x="268" y="368"/>
                  <a:pt x="267" y="363"/>
                  <a:pt x="266" y="359"/>
                </a:cubicBezTo>
                <a:cubicBezTo>
                  <a:pt x="265" y="356"/>
                  <a:pt x="264" y="354"/>
                  <a:pt x="264" y="352"/>
                </a:cubicBezTo>
                <a:cubicBezTo>
                  <a:pt x="263" y="349"/>
                  <a:pt x="262" y="347"/>
                  <a:pt x="262" y="345"/>
                </a:cubicBezTo>
                <a:cubicBezTo>
                  <a:pt x="260" y="340"/>
                  <a:pt x="259" y="336"/>
                  <a:pt x="258" y="331"/>
                </a:cubicBezTo>
                <a:cubicBezTo>
                  <a:pt x="256" y="327"/>
                  <a:pt x="255" y="323"/>
                  <a:pt x="253" y="318"/>
                </a:cubicBezTo>
                <a:cubicBezTo>
                  <a:pt x="253" y="316"/>
                  <a:pt x="252" y="314"/>
                  <a:pt x="251" y="311"/>
                </a:cubicBezTo>
                <a:cubicBezTo>
                  <a:pt x="250" y="309"/>
                  <a:pt x="250" y="307"/>
                  <a:pt x="249" y="305"/>
                </a:cubicBezTo>
                <a:cubicBezTo>
                  <a:pt x="247" y="301"/>
                  <a:pt x="246" y="296"/>
                  <a:pt x="244" y="292"/>
                </a:cubicBezTo>
                <a:cubicBezTo>
                  <a:pt x="242" y="288"/>
                  <a:pt x="241" y="284"/>
                  <a:pt x="239" y="279"/>
                </a:cubicBezTo>
                <a:cubicBezTo>
                  <a:pt x="238" y="277"/>
                  <a:pt x="237" y="275"/>
                  <a:pt x="236" y="273"/>
                </a:cubicBezTo>
                <a:cubicBezTo>
                  <a:pt x="235" y="271"/>
                  <a:pt x="234" y="269"/>
                  <a:pt x="234" y="267"/>
                </a:cubicBezTo>
                <a:cubicBezTo>
                  <a:pt x="232" y="263"/>
                  <a:pt x="230" y="259"/>
                  <a:pt x="228" y="254"/>
                </a:cubicBezTo>
                <a:cubicBezTo>
                  <a:pt x="226" y="250"/>
                  <a:pt x="224" y="246"/>
                  <a:pt x="222" y="242"/>
                </a:cubicBezTo>
                <a:cubicBezTo>
                  <a:pt x="221" y="240"/>
                  <a:pt x="221" y="238"/>
                  <a:pt x="220" y="237"/>
                </a:cubicBezTo>
                <a:cubicBezTo>
                  <a:pt x="219" y="235"/>
                  <a:pt x="218" y="233"/>
                  <a:pt x="217" y="231"/>
                </a:cubicBezTo>
                <a:cubicBezTo>
                  <a:pt x="215" y="227"/>
                  <a:pt x="213" y="223"/>
                  <a:pt x="211" y="219"/>
                </a:cubicBezTo>
                <a:cubicBezTo>
                  <a:pt x="202" y="204"/>
                  <a:pt x="194" y="189"/>
                  <a:pt x="185" y="176"/>
                </a:cubicBezTo>
                <a:cubicBezTo>
                  <a:pt x="176" y="162"/>
                  <a:pt x="167" y="149"/>
                  <a:pt x="157" y="137"/>
                </a:cubicBezTo>
                <a:cubicBezTo>
                  <a:pt x="155" y="134"/>
                  <a:pt x="153" y="131"/>
                  <a:pt x="150" y="128"/>
                </a:cubicBezTo>
                <a:cubicBezTo>
                  <a:pt x="148" y="125"/>
                  <a:pt x="146" y="122"/>
                  <a:pt x="143" y="119"/>
                </a:cubicBezTo>
                <a:cubicBezTo>
                  <a:pt x="141" y="116"/>
                  <a:pt x="139" y="114"/>
                  <a:pt x="136" y="111"/>
                </a:cubicBezTo>
                <a:cubicBezTo>
                  <a:pt x="134" y="108"/>
                  <a:pt x="132" y="105"/>
                  <a:pt x="129" y="103"/>
                </a:cubicBezTo>
                <a:cubicBezTo>
                  <a:pt x="120" y="92"/>
                  <a:pt x="110" y="83"/>
                  <a:pt x="101" y="74"/>
                </a:cubicBezTo>
                <a:cubicBezTo>
                  <a:pt x="82" y="57"/>
                  <a:pt x="65" y="43"/>
                  <a:pt x="50" y="32"/>
                </a:cubicBezTo>
                <a:cubicBezTo>
                  <a:pt x="48" y="30"/>
                  <a:pt x="46" y="29"/>
                  <a:pt x="44" y="28"/>
                </a:cubicBezTo>
                <a:cubicBezTo>
                  <a:pt x="43" y="26"/>
                  <a:pt x="41" y="25"/>
                  <a:pt x="39" y="24"/>
                </a:cubicBezTo>
                <a:cubicBezTo>
                  <a:pt x="36" y="22"/>
                  <a:pt x="33" y="19"/>
                  <a:pt x="29" y="17"/>
                </a:cubicBezTo>
                <a:cubicBezTo>
                  <a:pt x="26" y="16"/>
                  <a:pt x="23" y="14"/>
                  <a:pt x="21" y="12"/>
                </a:cubicBezTo>
                <a:cubicBezTo>
                  <a:pt x="18" y="10"/>
                  <a:pt x="16" y="9"/>
                  <a:pt x="14" y="8"/>
                </a:cubicBezTo>
                <a:cubicBezTo>
                  <a:pt x="5" y="2"/>
                  <a:pt x="0" y="0"/>
                  <a:pt x="0" y="0"/>
                </a:cubicBezTo>
                <a:cubicBezTo>
                  <a:pt x="0" y="0"/>
                  <a:pt x="1" y="0"/>
                  <a:pt x="4" y="1"/>
                </a:cubicBezTo>
                <a:cubicBezTo>
                  <a:pt x="6" y="2"/>
                  <a:pt x="10" y="3"/>
                  <a:pt x="15" y="5"/>
                </a:cubicBezTo>
                <a:cubicBezTo>
                  <a:pt x="17" y="6"/>
                  <a:pt x="20" y="7"/>
                  <a:pt x="23" y="9"/>
                </a:cubicBezTo>
                <a:cubicBezTo>
                  <a:pt x="26" y="10"/>
                  <a:pt x="29" y="11"/>
                  <a:pt x="32" y="13"/>
                </a:cubicBezTo>
                <a:cubicBezTo>
                  <a:pt x="36" y="14"/>
                  <a:pt x="39" y="16"/>
                  <a:pt x="43" y="18"/>
                </a:cubicBezTo>
                <a:cubicBezTo>
                  <a:pt x="45" y="19"/>
                  <a:pt x="47" y="20"/>
                  <a:pt x="49" y="21"/>
                </a:cubicBezTo>
                <a:cubicBezTo>
                  <a:pt x="51" y="22"/>
                  <a:pt x="53" y="23"/>
                  <a:pt x="56" y="24"/>
                </a:cubicBezTo>
                <a:cubicBezTo>
                  <a:pt x="60" y="26"/>
                  <a:pt x="64" y="29"/>
                  <a:pt x="69" y="31"/>
                </a:cubicBezTo>
                <a:cubicBezTo>
                  <a:pt x="73" y="34"/>
                  <a:pt x="78" y="37"/>
                  <a:pt x="83" y="40"/>
                </a:cubicBezTo>
                <a:cubicBezTo>
                  <a:pt x="84" y="41"/>
                  <a:pt x="86" y="41"/>
                  <a:pt x="87" y="42"/>
                </a:cubicBezTo>
                <a:cubicBezTo>
                  <a:pt x="88" y="43"/>
                  <a:pt x="89" y="44"/>
                  <a:pt x="91" y="45"/>
                </a:cubicBezTo>
                <a:cubicBezTo>
                  <a:pt x="93" y="46"/>
                  <a:pt x="96" y="48"/>
                  <a:pt x="98" y="50"/>
                </a:cubicBezTo>
                <a:cubicBezTo>
                  <a:pt x="103" y="53"/>
                  <a:pt x="109" y="57"/>
                  <a:pt x="114" y="61"/>
                </a:cubicBezTo>
                <a:cubicBezTo>
                  <a:pt x="135" y="77"/>
                  <a:pt x="158" y="97"/>
                  <a:pt x="180" y="120"/>
                </a:cubicBezTo>
                <a:cubicBezTo>
                  <a:pt x="183" y="123"/>
                  <a:pt x="186" y="127"/>
                  <a:pt x="188" y="130"/>
                </a:cubicBezTo>
                <a:cubicBezTo>
                  <a:pt x="190" y="131"/>
                  <a:pt x="191" y="133"/>
                  <a:pt x="193" y="134"/>
                </a:cubicBezTo>
                <a:cubicBezTo>
                  <a:pt x="194" y="136"/>
                  <a:pt x="195" y="137"/>
                  <a:pt x="197" y="139"/>
                </a:cubicBezTo>
                <a:cubicBezTo>
                  <a:pt x="199" y="142"/>
                  <a:pt x="202" y="146"/>
                  <a:pt x="205" y="149"/>
                </a:cubicBezTo>
                <a:cubicBezTo>
                  <a:pt x="208" y="152"/>
                  <a:pt x="210" y="156"/>
                  <a:pt x="213" y="159"/>
                </a:cubicBezTo>
                <a:cubicBezTo>
                  <a:pt x="224" y="173"/>
                  <a:pt x="234" y="187"/>
                  <a:pt x="244" y="203"/>
                </a:cubicBezTo>
                <a:cubicBezTo>
                  <a:pt x="246" y="207"/>
                  <a:pt x="248" y="211"/>
                  <a:pt x="251" y="215"/>
                </a:cubicBezTo>
                <a:cubicBezTo>
                  <a:pt x="252" y="217"/>
                  <a:pt x="253" y="219"/>
                  <a:pt x="254" y="221"/>
                </a:cubicBezTo>
                <a:cubicBezTo>
                  <a:pt x="256" y="223"/>
                  <a:pt x="257" y="225"/>
                  <a:pt x="258" y="227"/>
                </a:cubicBezTo>
                <a:cubicBezTo>
                  <a:pt x="260" y="231"/>
                  <a:pt x="262" y="235"/>
                  <a:pt x="265" y="239"/>
                </a:cubicBezTo>
                <a:cubicBezTo>
                  <a:pt x="267" y="243"/>
                  <a:pt x="269" y="248"/>
                  <a:pt x="271" y="252"/>
                </a:cubicBezTo>
                <a:cubicBezTo>
                  <a:pt x="272" y="254"/>
                  <a:pt x="274" y="256"/>
                  <a:pt x="275" y="258"/>
                </a:cubicBezTo>
                <a:cubicBezTo>
                  <a:pt x="276" y="260"/>
                  <a:pt x="277" y="263"/>
                  <a:pt x="278" y="265"/>
                </a:cubicBezTo>
                <a:cubicBezTo>
                  <a:pt x="280" y="269"/>
                  <a:pt x="282" y="274"/>
                  <a:pt x="284" y="278"/>
                </a:cubicBezTo>
                <a:cubicBezTo>
                  <a:pt x="286" y="283"/>
                  <a:pt x="288" y="287"/>
                  <a:pt x="290" y="292"/>
                </a:cubicBezTo>
                <a:cubicBezTo>
                  <a:pt x="291" y="294"/>
                  <a:pt x="292" y="296"/>
                  <a:pt x="292" y="298"/>
                </a:cubicBezTo>
                <a:cubicBezTo>
                  <a:pt x="293" y="301"/>
                  <a:pt x="294" y="303"/>
                  <a:pt x="295" y="305"/>
                </a:cubicBezTo>
                <a:cubicBezTo>
                  <a:pt x="310" y="342"/>
                  <a:pt x="321" y="381"/>
                  <a:pt x="328" y="422"/>
                </a:cubicBezTo>
                <a:cubicBezTo>
                  <a:pt x="329" y="425"/>
                  <a:pt x="329" y="427"/>
                  <a:pt x="330" y="430"/>
                </a:cubicBezTo>
                <a:cubicBezTo>
                  <a:pt x="331" y="437"/>
                  <a:pt x="331" y="437"/>
                  <a:pt x="331" y="437"/>
                </a:cubicBezTo>
                <a:cubicBezTo>
                  <a:pt x="332" y="442"/>
                  <a:pt x="333" y="448"/>
                  <a:pt x="333" y="453"/>
                </a:cubicBezTo>
                <a:cubicBezTo>
                  <a:pt x="335" y="463"/>
                  <a:pt x="336" y="473"/>
                  <a:pt x="337" y="484"/>
                </a:cubicBezTo>
                <a:cubicBezTo>
                  <a:pt x="337" y="489"/>
                  <a:pt x="338" y="494"/>
                  <a:pt x="338" y="499"/>
                </a:cubicBezTo>
                <a:cubicBezTo>
                  <a:pt x="339" y="505"/>
                  <a:pt x="339" y="510"/>
                  <a:pt x="339" y="515"/>
                </a:cubicBezTo>
                <a:cubicBezTo>
                  <a:pt x="339" y="523"/>
                  <a:pt x="339" y="523"/>
                  <a:pt x="339" y="523"/>
                </a:cubicBezTo>
                <a:cubicBezTo>
                  <a:pt x="340" y="531"/>
                  <a:pt x="340" y="531"/>
                  <a:pt x="340" y="531"/>
                </a:cubicBezTo>
                <a:cubicBezTo>
                  <a:pt x="340" y="546"/>
                  <a:pt x="340" y="546"/>
                  <a:pt x="340" y="546"/>
                </a:cubicBezTo>
                <a:cubicBezTo>
                  <a:pt x="340" y="562"/>
                  <a:pt x="340" y="562"/>
                  <a:pt x="340" y="562"/>
                </a:cubicBezTo>
                <a:cubicBezTo>
                  <a:pt x="339" y="570"/>
                  <a:pt x="339" y="570"/>
                  <a:pt x="339" y="570"/>
                </a:cubicBezTo>
                <a:cubicBezTo>
                  <a:pt x="339" y="577"/>
                  <a:pt x="339" y="577"/>
                  <a:pt x="339" y="577"/>
                </a:cubicBezTo>
                <a:cubicBezTo>
                  <a:pt x="339" y="583"/>
                  <a:pt x="339" y="588"/>
                  <a:pt x="338" y="593"/>
                </a:cubicBezTo>
                <a:cubicBezTo>
                  <a:pt x="338" y="598"/>
                  <a:pt x="337" y="604"/>
                  <a:pt x="337" y="609"/>
                </a:cubicBezTo>
                <a:cubicBezTo>
                  <a:pt x="336" y="619"/>
                  <a:pt x="335" y="629"/>
                  <a:pt x="333" y="640"/>
                </a:cubicBezTo>
                <a:cubicBezTo>
                  <a:pt x="333" y="645"/>
                  <a:pt x="332" y="650"/>
                  <a:pt x="331" y="655"/>
                </a:cubicBezTo>
                <a:cubicBezTo>
                  <a:pt x="330" y="663"/>
                  <a:pt x="330" y="663"/>
                  <a:pt x="330" y="663"/>
                </a:cubicBezTo>
                <a:cubicBezTo>
                  <a:pt x="329" y="665"/>
                  <a:pt x="329" y="668"/>
                  <a:pt x="328" y="670"/>
                </a:cubicBezTo>
                <a:cubicBezTo>
                  <a:pt x="321" y="711"/>
                  <a:pt x="310" y="750"/>
                  <a:pt x="295" y="787"/>
                </a:cubicBezTo>
                <a:cubicBezTo>
                  <a:pt x="294" y="789"/>
                  <a:pt x="293" y="792"/>
                  <a:pt x="292" y="794"/>
                </a:cubicBezTo>
                <a:cubicBezTo>
                  <a:pt x="291" y="796"/>
                  <a:pt x="290" y="799"/>
                  <a:pt x="290" y="801"/>
                </a:cubicBezTo>
                <a:cubicBezTo>
                  <a:pt x="288" y="805"/>
                  <a:pt x="286" y="810"/>
                  <a:pt x="284" y="814"/>
                </a:cubicBezTo>
                <a:cubicBezTo>
                  <a:pt x="282" y="819"/>
                  <a:pt x="280" y="823"/>
                  <a:pt x="278" y="827"/>
                </a:cubicBezTo>
                <a:cubicBezTo>
                  <a:pt x="277" y="830"/>
                  <a:pt x="276" y="832"/>
                  <a:pt x="275" y="834"/>
                </a:cubicBezTo>
                <a:cubicBezTo>
                  <a:pt x="273" y="836"/>
                  <a:pt x="272" y="838"/>
                  <a:pt x="271" y="840"/>
                </a:cubicBezTo>
                <a:cubicBezTo>
                  <a:pt x="269" y="845"/>
                  <a:pt x="267" y="849"/>
                  <a:pt x="265" y="853"/>
                </a:cubicBezTo>
                <a:cubicBezTo>
                  <a:pt x="262" y="857"/>
                  <a:pt x="260" y="861"/>
                  <a:pt x="258" y="866"/>
                </a:cubicBezTo>
                <a:cubicBezTo>
                  <a:pt x="257" y="868"/>
                  <a:pt x="256" y="870"/>
                  <a:pt x="254" y="872"/>
                </a:cubicBezTo>
                <a:cubicBezTo>
                  <a:pt x="253" y="874"/>
                  <a:pt x="252" y="876"/>
                  <a:pt x="251" y="878"/>
                </a:cubicBezTo>
                <a:cubicBezTo>
                  <a:pt x="248" y="882"/>
                  <a:pt x="246" y="886"/>
                  <a:pt x="244" y="889"/>
                </a:cubicBezTo>
                <a:cubicBezTo>
                  <a:pt x="224" y="920"/>
                  <a:pt x="202" y="948"/>
                  <a:pt x="180" y="972"/>
                </a:cubicBezTo>
                <a:cubicBezTo>
                  <a:pt x="158" y="996"/>
                  <a:pt x="135" y="1015"/>
                  <a:pt x="114" y="1031"/>
                </a:cubicBezTo>
                <a:cubicBezTo>
                  <a:pt x="108" y="1035"/>
                  <a:pt x="103" y="1039"/>
                  <a:pt x="98" y="1042"/>
                </a:cubicBezTo>
                <a:cubicBezTo>
                  <a:pt x="96" y="1044"/>
                  <a:pt x="93" y="1046"/>
                  <a:pt x="91" y="1048"/>
                </a:cubicBezTo>
                <a:cubicBezTo>
                  <a:pt x="89" y="1048"/>
                  <a:pt x="88" y="1049"/>
                  <a:pt x="87" y="1050"/>
                </a:cubicBezTo>
                <a:cubicBezTo>
                  <a:pt x="86" y="1051"/>
                  <a:pt x="84" y="1052"/>
                  <a:pt x="83" y="1052"/>
                </a:cubicBezTo>
                <a:cubicBezTo>
                  <a:pt x="78" y="1055"/>
                  <a:pt x="73" y="1058"/>
                  <a:pt x="69" y="1061"/>
                </a:cubicBezTo>
                <a:cubicBezTo>
                  <a:pt x="64" y="1064"/>
                  <a:pt x="60" y="1066"/>
                  <a:pt x="56" y="1068"/>
                </a:cubicBezTo>
                <a:cubicBezTo>
                  <a:pt x="53" y="1069"/>
                  <a:pt x="51" y="1071"/>
                  <a:pt x="49" y="1072"/>
                </a:cubicBezTo>
                <a:cubicBezTo>
                  <a:pt x="47" y="1073"/>
                  <a:pt x="45" y="1074"/>
                  <a:pt x="43" y="1074"/>
                </a:cubicBezTo>
                <a:cubicBezTo>
                  <a:pt x="39" y="1076"/>
                  <a:pt x="36" y="1078"/>
                  <a:pt x="32" y="1080"/>
                </a:cubicBezTo>
                <a:cubicBezTo>
                  <a:pt x="29" y="1081"/>
                  <a:pt x="26" y="1082"/>
                  <a:pt x="23" y="1084"/>
                </a:cubicBezTo>
                <a:cubicBezTo>
                  <a:pt x="20" y="1085"/>
                  <a:pt x="17" y="1086"/>
                  <a:pt x="15" y="1087"/>
                </a:cubicBezTo>
                <a:cubicBezTo>
                  <a:pt x="5" y="1091"/>
                  <a:pt x="0" y="1093"/>
                  <a:pt x="0" y="1093"/>
                </a:cubicBezTo>
                <a:close/>
              </a:path>
            </a:pathLst>
          </a:custGeom>
          <a:solidFill>
            <a:schemeClr val="tx1">
              <a:lumMod val="40000"/>
              <a:lumOff val="60000"/>
            </a:schemeClr>
          </a:solidFill>
          <a:ln>
            <a:noFill/>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2400" b="0" i="0" u="none" strike="noStrike" kern="1200" cap="none" spc="0" normalizeH="0" baseline="0" noProof="0">
              <a:ln>
                <a:noFill/>
              </a:ln>
              <a:solidFill>
                <a:srgbClr val="000000"/>
              </a:solidFill>
              <a:effectLst/>
              <a:uLnTx/>
              <a:uFillTx/>
              <a:latin typeface="Arial"/>
              <a:cs typeface="+mn-ea"/>
              <a:sym typeface="+mn-lt"/>
            </a:endParaRPr>
          </a:p>
        </p:txBody>
      </p:sp>
      <p:sp>
        <p:nvSpPr>
          <p:cNvPr id="14" name="Freeform 17">
            <a:extLst>
              <a:ext uri="{FF2B5EF4-FFF2-40B4-BE49-F238E27FC236}">
                <a16:creationId xmlns:a16="http://schemas.microsoft.com/office/drawing/2014/main" id="{366F25B6-C472-4CDA-8838-241E06BCD21A}"/>
              </a:ext>
            </a:extLst>
          </p:cNvPr>
          <p:cNvSpPr>
            <a:spLocks/>
          </p:cNvSpPr>
          <p:nvPr/>
        </p:nvSpPr>
        <p:spPr bwMode="auto">
          <a:xfrm>
            <a:off x="2660650" y="2191807"/>
            <a:ext cx="783167" cy="2525184"/>
          </a:xfrm>
          <a:custGeom>
            <a:avLst/>
            <a:gdLst>
              <a:gd name="T0" fmla="*/ 16 w 267"/>
              <a:gd name="T1" fmla="*/ 849 h 859"/>
              <a:gd name="T2" fmla="*/ 35 w 267"/>
              <a:gd name="T3" fmla="*/ 837 h 859"/>
              <a:gd name="T4" fmla="*/ 124 w 267"/>
              <a:gd name="T5" fmla="*/ 751 h 859"/>
              <a:gd name="T6" fmla="*/ 170 w 267"/>
              <a:gd name="T7" fmla="*/ 677 h 859"/>
              <a:gd name="T8" fmla="*/ 179 w 267"/>
              <a:gd name="T9" fmla="*/ 658 h 859"/>
              <a:gd name="T10" fmla="*/ 188 w 267"/>
              <a:gd name="T11" fmla="*/ 639 h 859"/>
              <a:gd name="T12" fmla="*/ 197 w 267"/>
              <a:gd name="T13" fmla="*/ 614 h 859"/>
              <a:gd name="T14" fmla="*/ 206 w 267"/>
              <a:gd name="T15" fmla="*/ 587 h 859"/>
              <a:gd name="T16" fmla="*/ 212 w 267"/>
              <a:gd name="T17" fmla="*/ 566 h 859"/>
              <a:gd name="T18" fmla="*/ 217 w 267"/>
              <a:gd name="T19" fmla="*/ 544 h 859"/>
              <a:gd name="T20" fmla="*/ 222 w 267"/>
              <a:gd name="T21" fmla="*/ 516 h 859"/>
              <a:gd name="T22" fmla="*/ 225 w 267"/>
              <a:gd name="T23" fmla="*/ 487 h 859"/>
              <a:gd name="T24" fmla="*/ 227 w 267"/>
              <a:gd name="T25" fmla="*/ 464 h 859"/>
              <a:gd name="T26" fmla="*/ 228 w 267"/>
              <a:gd name="T27" fmla="*/ 441 h 859"/>
              <a:gd name="T28" fmla="*/ 228 w 267"/>
              <a:gd name="T29" fmla="*/ 412 h 859"/>
              <a:gd name="T30" fmla="*/ 226 w 267"/>
              <a:gd name="T31" fmla="*/ 383 h 859"/>
              <a:gd name="T32" fmla="*/ 224 w 267"/>
              <a:gd name="T33" fmla="*/ 360 h 859"/>
              <a:gd name="T34" fmla="*/ 221 w 267"/>
              <a:gd name="T35" fmla="*/ 337 h 859"/>
              <a:gd name="T36" fmla="*/ 215 w 267"/>
              <a:gd name="T37" fmla="*/ 309 h 859"/>
              <a:gd name="T38" fmla="*/ 209 w 267"/>
              <a:gd name="T39" fmla="*/ 282 h 859"/>
              <a:gd name="T40" fmla="*/ 203 w 267"/>
              <a:gd name="T41" fmla="*/ 260 h 859"/>
              <a:gd name="T42" fmla="*/ 196 w 267"/>
              <a:gd name="T43" fmla="*/ 240 h 859"/>
              <a:gd name="T44" fmla="*/ 186 w 267"/>
              <a:gd name="T45" fmla="*/ 214 h 859"/>
              <a:gd name="T46" fmla="*/ 175 w 267"/>
              <a:gd name="T47" fmla="*/ 190 h 859"/>
              <a:gd name="T48" fmla="*/ 166 w 267"/>
              <a:gd name="T49" fmla="*/ 172 h 859"/>
              <a:gd name="T50" fmla="*/ 118 w 267"/>
              <a:gd name="T51" fmla="*/ 100 h 859"/>
              <a:gd name="T52" fmla="*/ 101 w 267"/>
              <a:gd name="T53" fmla="*/ 81 h 859"/>
              <a:gd name="T54" fmla="*/ 35 w 267"/>
              <a:gd name="T55" fmla="*/ 22 h 859"/>
              <a:gd name="T56" fmla="*/ 16 w 267"/>
              <a:gd name="T57" fmla="*/ 9 h 859"/>
              <a:gd name="T58" fmla="*/ 3 w 267"/>
              <a:gd name="T59" fmla="*/ 1 h 859"/>
              <a:gd name="T60" fmla="*/ 26 w 267"/>
              <a:gd name="T61" fmla="*/ 10 h 859"/>
              <a:gd name="T62" fmla="*/ 44 w 267"/>
              <a:gd name="T63" fmla="*/ 19 h 859"/>
              <a:gd name="T64" fmla="*/ 68 w 267"/>
              <a:gd name="T65" fmla="*/ 33 h 859"/>
              <a:gd name="T66" fmla="*/ 90 w 267"/>
              <a:gd name="T67" fmla="*/ 48 h 859"/>
              <a:gd name="T68" fmla="*/ 151 w 267"/>
              <a:gd name="T69" fmla="*/ 105 h 859"/>
              <a:gd name="T70" fmla="*/ 167 w 267"/>
              <a:gd name="T71" fmla="*/ 125 h 859"/>
              <a:gd name="T72" fmla="*/ 200 w 267"/>
              <a:gd name="T73" fmla="*/ 173 h 859"/>
              <a:gd name="T74" fmla="*/ 213 w 267"/>
              <a:gd name="T75" fmla="*/ 198 h 859"/>
              <a:gd name="T76" fmla="*/ 223 w 267"/>
              <a:gd name="T77" fmla="*/ 218 h 859"/>
              <a:gd name="T78" fmla="*/ 232 w 267"/>
              <a:gd name="T79" fmla="*/ 240 h 859"/>
              <a:gd name="T80" fmla="*/ 260 w 267"/>
              <a:gd name="T81" fmla="*/ 344 h 859"/>
              <a:gd name="T82" fmla="*/ 266 w 267"/>
              <a:gd name="T83" fmla="*/ 392 h 859"/>
              <a:gd name="T84" fmla="*/ 267 w 267"/>
              <a:gd name="T85" fmla="*/ 417 h 859"/>
              <a:gd name="T86" fmla="*/ 267 w 267"/>
              <a:gd name="T87" fmla="*/ 448 h 859"/>
              <a:gd name="T88" fmla="*/ 265 w 267"/>
              <a:gd name="T89" fmla="*/ 478 h 859"/>
              <a:gd name="T90" fmla="*/ 259 w 267"/>
              <a:gd name="T91" fmla="*/ 521 h 859"/>
              <a:gd name="T92" fmla="*/ 230 w 267"/>
              <a:gd name="T93" fmla="*/ 624 h 859"/>
              <a:gd name="T94" fmla="*/ 218 w 267"/>
              <a:gd name="T95" fmla="*/ 650 h 859"/>
              <a:gd name="T96" fmla="*/ 208 w 267"/>
              <a:gd name="T97" fmla="*/ 670 h 859"/>
              <a:gd name="T98" fmla="*/ 197 w 267"/>
              <a:gd name="T99" fmla="*/ 690 h 859"/>
              <a:gd name="T100" fmla="*/ 90 w 267"/>
              <a:gd name="T101" fmla="*/ 810 h 859"/>
              <a:gd name="T102" fmla="*/ 68 w 267"/>
              <a:gd name="T103" fmla="*/ 825 h 859"/>
              <a:gd name="T104" fmla="*/ 44 w 267"/>
              <a:gd name="T105" fmla="*/ 840 h 859"/>
              <a:gd name="T106" fmla="*/ 26 w 267"/>
              <a:gd name="T107" fmla="*/ 848 h 859"/>
              <a:gd name="T108" fmla="*/ 0 w 267"/>
              <a:gd name="T109" fmla="*/ 859 h 8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67" h="859">
                <a:moveTo>
                  <a:pt x="0" y="859"/>
                </a:moveTo>
                <a:cubicBezTo>
                  <a:pt x="0" y="859"/>
                  <a:pt x="4" y="857"/>
                  <a:pt x="11" y="853"/>
                </a:cubicBezTo>
                <a:cubicBezTo>
                  <a:pt x="13" y="852"/>
                  <a:pt x="14" y="850"/>
                  <a:pt x="16" y="849"/>
                </a:cubicBezTo>
                <a:cubicBezTo>
                  <a:pt x="18" y="848"/>
                  <a:pt x="21" y="846"/>
                  <a:pt x="23" y="845"/>
                </a:cubicBezTo>
                <a:cubicBezTo>
                  <a:pt x="26" y="843"/>
                  <a:pt x="28" y="841"/>
                  <a:pt x="31" y="840"/>
                </a:cubicBezTo>
                <a:cubicBezTo>
                  <a:pt x="32" y="839"/>
                  <a:pt x="33" y="838"/>
                  <a:pt x="35" y="837"/>
                </a:cubicBezTo>
                <a:cubicBezTo>
                  <a:pt x="36" y="836"/>
                  <a:pt x="38" y="835"/>
                  <a:pt x="39" y="834"/>
                </a:cubicBezTo>
                <a:cubicBezTo>
                  <a:pt x="51" y="825"/>
                  <a:pt x="65" y="814"/>
                  <a:pt x="79" y="800"/>
                </a:cubicBezTo>
                <a:cubicBezTo>
                  <a:pt x="94" y="787"/>
                  <a:pt x="109" y="770"/>
                  <a:pt x="124" y="751"/>
                </a:cubicBezTo>
                <a:cubicBezTo>
                  <a:pt x="131" y="741"/>
                  <a:pt x="139" y="731"/>
                  <a:pt x="145" y="720"/>
                </a:cubicBezTo>
                <a:cubicBezTo>
                  <a:pt x="152" y="710"/>
                  <a:pt x="159" y="698"/>
                  <a:pt x="166" y="686"/>
                </a:cubicBezTo>
                <a:cubicBezTo>
                  <a:pt x="167" y="683"/>
                  <a:pt x="169" y="680"/>
                  <a:pt x="170" y="677"/>
                </a:cubicBezTo>
                <a:cubicBezTo>
                  <a:pt x="171" y="676"/>
                  <a:pt x="172" y="674"/>
                  <a:pt x="173" y="673"/>
                </a:cubicBezTo>
                <a:cubicBezTo>
                  <a:pt x="173" y="671"/>
                  <a:pt x="174" y="669"/>
                  <a:pt x="175" y="668"/>
                </a:cubicBezTo>
                <a:cubicBezTo>
                  <a:pt x="176" y="665"/>
                  <a:pt x="178" y="662"/>
                  <a:pt x="179" y="658"/>
                </a:cubicBezTo>
                <a:cubicBezTo>
                  <a:pt x="181" y="655"/>
                  <a:pt x="182" y="652"/>
                  <a:pt x="184" y="649"/>
                </a:cubicBezTo>
                <a:cubicBezTo>
                  <a:pt x="184" y="647"/>
                  <a:pt x="185" y="646"/>
                  <a:pt x="186" y="644"/>
                </a:cubicBezTo>
                <a:cubicBezTo>
                  <a:pt x="186" y="642"/>
                  <a:pt x="187" y="641"/>
                  <a:pt x="188" y="639"/>
                </a:cubicBezTo>
                <a:cubicBezTo>
                  <a:pt x="189" y="636"/>
                  <a:pt x="190" y="632"/>
                  <a:pt x="192" y="629"/>
                </a:cubicBezTo>
                <a:cubicBezTo>
                  <a:pt x="193" y="626"/>
                  <a:pt x="194" y="622"/>
                  <a:pt x="196" y="619"/>
                </a:cubicBezTo>
                <a:cubicBezTo>
                  <a:pt x="196" y="617"/>
                  <a:pt x="197" y="615"/>
                  <a:pt x="197" y="614"/>
                </a:cubicBezTo>
                <a:cubicBezTo>
                  <a:pt x="198" y="612"/>
                  <a:pt x="199" y="610"/>
                  <a:pt x="199" y="608"/>
                </a:cubicBezTo>
                <a:cubicBezTo>
                  <a:pt x="200" y="605"/>
                  <a:pt x="202" y="601"/>
                  <a:pt x="203" y="598"/>
                </a:cubicBezTo>
                <a:cubicBezTo>
                  <a:pt x="204" y="594"/>
                  <a:pt x="205" y="591"/>
                  <a:pt x="206" y="587"/>
                </a:cubicBezTo>
                <a:cubicBezTo>
                  <a:pt x="206" y="586"/>
                  <a:pt x="207" y="584"/>
                  <a:pt x="207" y="582"/>
                </a:cubicBezTo>
                <a:cubicBezTo>
                  <a:pt x="208" y="580"/>
                  <a:pt x="208" y="578"/>
                  <a:pt x="209" y="577"/>
                </a:cubicBezTo>
                <a:cubicBezTo>
                  <a:pt x="210" y="573"/>
                  <a:pt x="211" y="569"/>
                  <a:pt x="212" y="566"/>
                </a:cubicBezTo>
                <a:cubicBezTo>
                  <a:pt x="213" y="562"/>
                  <a:pt x="213" y="558"/>
                  <a:pt x="214" y="555"/>
                </a:cubicBezTo>
                <a:cubicBezTo>
                  <a:pt x="215" y="553"/>
                  <a:pt x="215" y="551"/>
                  <a:pt x="216" y="549"/>
                </a:cubicBezTo>
                <a:cubicBezTo>
                  <a:pt x="216" y="547"/>
                  <a:pt x="216" y="546"/>
                  <a:pt x="217" y="544"/>
                </a:cubicBezTo>
                <a:cubicBezTo>
                  <a:pt x="217" y="540"/>
                  <a:pt x="218" y="536"/>
                  <a:pt x="219" y="533"/>
                </a:cubicBezTo>
                <a:cubicBezTo>
                  <a:pt x="219" y="529"/>
                  <a:pt x="220" y="525"/>
                  <a:pt x="221" y="521"/>
                </a:cubicBezTo>
                <a:cubicBezTo>
                  <a:pt x="221" y="519"/>
                  <a:pt x="221" y="517"/>
                  <a:pt x="222" y="516"/>
                </a:cubicBezTo>
                <a:cubicBezTo>
                  <a:pt x="222" y="510"/>
                  <a:pt x="222" y="510"/>
                  <a:pt x="222" y="510"/>
                </a:cubicBezTo>
                <a:cubicBezTo>
                  <a:pt x="223" y="506"/>
                  <a:pt x="224" y="502"/>
                  <a:pt x="224" y="499"/>
                </a:cubicBezTo>
                <a:cubicBezTo>
                  <a:pt x="224" y="495"/>
                  <a:pt x="225" y="491"/>
                  <a:pt x="225" y="487"/>
                </a:cubicBezTo>
                <a:cubicBezTo>
                  <a:pt x="225" y="485"/>
                  <a:pt x="226" y="483"/>
                  <a:pt x="226" y="481"/>
                </a:cubicBezTo>
                <a:cubicBezTo>
                  <a:pt x="226" y="476"/>
                  <a:pt x="226" y="476"/>
                  <a:pt x="226" y="476"/>
                </a:cubicBezTo>
                <a:cubicBezTo>
                  <a:pt x="227" y="472"/>
                  <a:pt x="227" y="468"/>
                  <a:pt x="227" y="464"/>
                </a:cubicBezTo>
                <a:cubicBezTo>
                  <a:pt x="227" y="460"/>
                  <a:pt x="227" y="456"/>
                  <a:pt x="228" y="452"/>
                </a:cubicBezTo>
                <a:cubicBezTo>
                  <a:pt x="228" y="447"/>
                  <a:pt x="228" y="447"/>
                  <a:pt x="228" y="447"/>
                </a:cubicBezTo>
                <a:cubicBezTo>
                  <a:pt x="228" y="441"/>
                  <a:pt x="228" y="441"/>
                  <a:pt x="228" y="441"/>
                </a:cubicBezTo>
                <a:cubicBezTo>
                  <a:pt x="228" y="429"/>
                  <a:pt x="228" y="429"/>
                  <a:pt x="228" y="429"/>
                </a:cubicBezTo>
                <a:cubicBezTo>
                  <a:pt x="228" y="417"/>
                  <a:pt x="228" y="417"/>
                  <a:pt x="228" y="417"/>
                </a:cubicBezTo>
                <a:cubicBezTo>
                  <a:pt x="228" y="412"/>
                  <a:pt x="228" y="412"/>
                  <a:pt x="228" y="412"/>
                </a:cubicBezTo>
                <a:cubicBezTo>
                  <a:pt x="228" y="406"/>
                  <a:pt x="228" y="406"/>
                  <a:pt x="228" y="406"/>
                </a:cubicBezTo>
                <a:cubicBezTo>
                  <a:pt x="227" y="402"/>
                  <a:pt x="227" y="398"/>
                  <a:pt x="227" y="394"/>
                </a:cubicBezTo>
                <a:cubicBezTo>
                  <a:pt x="227" y="391"/>
                  <a:pt x="227" y="387"/>
                  <a:pt x="226" y="383"/>
                </a:cubicBezTo>
                <a:cubicBezTo>
                  <a:pt x="226" y="377"/>
                  <a:pt x="226" y="377"/>
                  <a:pt x="226" y="377"/>
                </a:cubicBezTo>
                <a:cubicBezTo>
                  <a:pt x="226" y="375"/>
                  <a:pt x="225" y="373"/>
                  <a:pt x="225" y="371"/>
                </a:cubicBezTo>
                <a:cubicBezTo>
                  <a:pt x="225" y="367"/>
                  <a:pt x="224" y="364"/>
                  <a:pt x="224" y="360"/>
                </a:cubicBezTo>
                <a:cubicBezTo>
                  <a:pt x="224" y="356"/>
                  <a:pt x="223" y="352"/>
                  <a:pt x="222" y="348"/>
                </a:cubicBezTo>
                <a:cubicBezTo>
                  <a:pt x="222" y="343"/>
                  <a:pt x="222" y="343"/>
                  <a:pt x="222" y="343"/>
                </a:cubicBezTo>
                <a:cubicBezTo>
                  <a:pt x="221" y="341"/>
                  <a:pt x="221" y="339"/>
                  <a:pt x="221" y="337"/>
                </a:cubicBezTo>
                <a:cubicBezTo>
                  <a:pt x="220" y="333"/>
                  <a:pt x="219" y="330"/>
                  <a:pt x="219" y="326"/>
                </a:cubicBezTo>
                <a:cubicBezTo>
                  <a:pt x="218" y="322"/>
                  <a:pt x="217" y="318"/>
                  <a:pt x="217" y="315"/>
                </a:cubicBezTo>
                <a:cubicBezTo>
                  <a:pt x="216" y="313"/>
                  <a:pt x="216" y="311"/>
                  <a:pt x="215" y="309"/>
                </a:cubicBezTo>
                <a:cubicBezTo>
                  <a:pt x="215" y="307"/>
                  <a:pt x="215" y="305"/>
                  <a:pt x="214" y="304"/>
                </a:cubicBezTo>
                <a:cubicBezTo>
                  <a:pt x="213" y="300"/>
                  <a:pt x="213" y="296"/>
                  <a:pt x="212" y="293"/>
                </a:cubicBezTo>
                <a:cubicBezTo>
                  <a:pt x="211" y="289"/>
                  <a:pt x="210" y="285"/>
                  <a:pt x="209" y="282"/>
                </a:cubicBezTo>
                <a:cubicBezTo>
                  <a:pt x="208" y="280"/>
                  <a:pt x="208" y="278"/>
                  <a:pt x="207" y="276"/>
                </a:cubicBezTo>
                <a:cubicBezTo>
                  <a:pt x="207" y="275"/>
                  <a:pt x="206" y="273"/>
                  <a:pt x="206" y="271"/>
                </a:cubicBezTo>
                <a:cubicBezTo>
                  <a:pt x="205" y="267"/>
                  <a:pt x="204" y="264"/>
                  <a:pt x="203" y="260"/>
                </a:cubicBezTo>
                <a:cubicBezTo>
                  <a:pt x="201" y="257"/>
                  <a:pt x="200" y="253"/>
                  <a:pt x="199" y="250"/>
                </a:cubicBezTo>
                <a:cubicBezTo>
                  <a:pt x="199" y="248"/>
                  <a:pt x="198" y="246"/>
                  <a:pt x="197" y="245"/>
                </a:cubicBezTo>
                <a:cubicBezTo>
                  <a:pt x="197" y="243"/>
                  <a:pt x="196" y="241"/>
                  <a:pt x="196" y="240"/>
                </a:cubicBezTo>
                <a:cubicBezTo>
                  <a:pt x="194" y="236"/>
                  <a:pt x="193" y="233"/>
                  <a:pt x="192" y="229"/>
                </a:cubicBezTo>
                <a:cubicBezTo>
                  <a:pt x="190" y="226"/>
                  <a:pt x="189" y="223"/>
                  <a:pt x="188" y="219"/>
                </a:cubicBezTo>
                <a:cubicBezTo>
                  <a:pt x="187" y="218"/>
                  <a:pt x="186" y="216"/>
                  <a:pt x="186" y="214"/>
                </a:cubicBezTo>
                <a:cubicBezTo>
                  <a:pt x="185" y="213"/>
                  <a:pt x="184" y="211"/>
                  <a:pt x="184" y="210"/>
                </a:cubicBezTo>
                <a:cubicBezTo>
                  <a:pt x="182" y="206"/>
                  <a:pt x="181" y="203"/>
                  <a:pt x="179" y="200"/>
                </a:cubicBezTo>
                <a:cubicBezTo>
                  <a:pt x="178" y="197"/>
                  <a:pt x="176" y="194"/>
                  <a:pt x="175" y="190"/>
                </a:cubicBezTo>
                <a:cubicBezTo>
                  <a:pt x="174" y="189"/>
                  <a:pt x="173" y="187"/>
                  <a:pt x="173" y="186"/>
                </a:cubicBezTo>
                <a:cubicBezTo>
                  <a:pt x="172" y="184"/>
                  <a:pt x="171" y="183"/>
                  <a:pt x="170" y="181"/>
                </a:cubicBezTo>
                <a:cubicBezTo>
                  <a:pt x="169" y="178"/>
                  <a:pt x="167" y="175"/>
                  <a:pt x="166" y="172"/>
                </a:cubicBezTo>
                <a:cubicBezTo>
                  <a:pt x="159" y="160"/>
                  <a:pt x="152" y="149"/>
                  <a:pt x="145" y="138"/>
                </a:cubicBezTo>
                <a:cubicBezTo>
                  <a:pt x="138" y="127"/>
                  <a:pt x="131" y="117"/>
                  <a:pt x="124" y="107"/>
                </a:cubicBezTo>
                <a:cubicBezTo>
                  <a:pt x="122" y="105"/>
                  <a:pt x="120" y="103"/>
                  <a:pt x="118" y="100"/>
                </a:cubicBezTo>
                <a:cubicBezTo>
                  <a:pt x="116" y="98"/>
                  <a:pt x="115" y="96"/>
                  <a:pt x="113" y="94"/>
                </a:cubicBezTo>
                <a:cubicBezTo>
                  <a:pt x="111" y="91"/>
                  <a:pt x="109" y="89"/>
                  <a:pt x="107" y="87"/>
                </a:cubicBezTo>
                <a:cubicBezTo>
                  <a:pt x="105" y="85"/>
                  <a:pt x="103" y="83"/>
                  <a:pt x="101" y="81"/>
                </a:cubicBezTo>
                <a:cubicBezTo>
                  <a:pt x="94" y="73"/>
                  <a:pt x="87" y="65"/>
                  <a:pt x="79" y="58"/>
                </a:cubicBezTo>
                <a:cubicBezTo>
                  <a:pt x="65" y="44"/>
                  <a:pt x="51" y="33"/>
                  <a:pt x="39" y="25"/>
                </a:cubicBezTo>
                <a:cubicBezTo>
                  <a:pt x="38" y="24"/>
                  <a:pt x="36" y="23"/>
                  <a:pt x="35" y="22"/>
                </a:cubicBezTo>
                <a:cubicBezTo>
                  <a:pt x="33" y="21"/>
                  <a:pt x="32" y="20"/>
                  <a:pt x="31" y="19"/>
                </a:cubicBezTo>
                <a:cubicBezTo>
                  <a:pt x="28" y="17"/>
                  <a:pt x="26" y="15"/>
                  <a:pt x="23" y="14"/>
                </a:cubicBezTo>
                <a:cubicBezTo>
                  <a:pt x="21" y="12"/>
                  <a:pt x="18" y="11"/>
                  <a:pt x="16" y="9"/>
                </a:cubicBezTo>
                <a:cubicBezTo>
                  <a:pt x="14" y="8"/>
                  <a:pt x="12" y="7"/>
                  <a:pt x="11" y="6"/>
                </a:cubicBezTo>
                <a:cubicBezTo>
                  <a:pt x="4" y="2"/>
                  <a:pt x="0" y="0"/>
                  <a:pt x="0" y="0"/>
                </a:cubicBezTo>
                <a:cubicBezTo>
                  <a:pt x="0" y="0"/>
                  <a:pt x="1" y="0"/>
                  <a:pt x="3" y="1"/>
                </a:cubicBezTo>
                <a:cubicBezTo>
                  <a:pt x="5" y="1"/>
                  <a:pt x="8" y="3"/>
                  <a:pt x="12" y="4"/>
                </a:cubicBezTo>
                <a:cubicBezTo>
                  <a:pt x="14" y="5"/>
                  <a:pt x="16" y="6"/>
                  <a:pt x="18" y="7"/>
                </a:cubicBezTo>
                <a:cubicBezTo>
                  <a:pt x="20" y="8"/>
                  <a:pt x="23" y="9"/>
                  <a:pt x="26" y="10"/>
                </a:cubicBezTo>
                <a:cubicBezTo>
                  <a:pt x="28" y="11"/>
                  <a:pt x="31" y="12"/>
                  <a:pt x="34" y="14"/>
                </a:cubicBezTo>
                <a:cubicBezTo>
                  <a:pt x="36" y="15"/>
                  <a:pt x="37" y="15"/>
                  <a:pt x="39" y="16"/>
                </a:cubicBezTo>
                <a:cubicBezTo>
                  <a:pt x="40" y="17"/>
                  <a:pt x="42" y="18"/>
                  <a:pt x="44" y="19"/>
                </a:cubicBezTo>
                <a:cubicBezTo>
                  <a:pt x="47" y="21"/>
                  <a:pt x="50" y="23"/>
                  <a:pt x="54" y="25"/>
                </a:cubicBezTo>
                <a:cubicBezTo>
                  <a:pt x="58" y="27"/>
                  <a:pt x="61" y="29"/>
                  <a:pt x="65" y="31"/>
                </a:cubicBezTo>
                <a:cubicBezTo>
                  <a:pt x="66" y="32"/>
                  <a:pt x="67" y="32"/>
                  <a:pt x="68" y="33"/>
                </a:cubicBezTo>
                <a:cubicBezTo>
                  <a:pt x="69" y="34"/>
                  <a:pt x="70" y="34"/>
                  <a:pt x="71" y="35"/>
                </a:cubicBezTo>
                <a:cubicBezTo>
                  <a:pt x="73" y="36"/>
                  <a:pt x="75" y="38"/>
                  <a:pt x="77" y="39"/>
                </a:cubicBezTo>
                <a:cubicBezTo>
                  <a:pt x="81" y="42"/>
                  <a:pt x="85" y="45"/>
                  <a:pt x="90" y="48"/>
                </a:cubicBezTo>
                <a:cubicBezTo>
                  <a:pt x="106" y="60"/>
                  <a:pt x="124" y="76"/>
                  <a:pt x="142" y="95"/>
                </a:cubicBezTo>
                <a:cubicBezTo>
                  <a:pt x="144" y="97"/>
                  <a:pt x="146" y="99"/>
                  <a:pt x="148" y="102"/>
                </a:cubicBezTo>
                <a:cubicBezTo>
                  <a:pt x="149" y="103"/>
                  <a:pt x="150" y="104"/>
                  <a:pt x="151" y="105"/>
                </a:cubicBezTo>
                <a:cubicBezTo>
                  <a:pt x="152" y="107"/>
                  <a:pt x="154" y="108"/>
                  <a:pt x="155" y="109"/>
                </a:cubicBezTo>
                <a:cubicBezTo>
                  <a:pt x="157" y="112"/>
                  <a:pt x="159" y="114"/>
                  <a:pt x="161" y="117"/>
                </a:cubicBezTo>
                <a:cubicBezTo>
                  <a:pt x="163" y="119"/>
                  <a:pt x="165" y="122"/>
                  <a:pt x="167" y="125"/>
                </a:cubicBezTo>
                <a:cubicBezTo>
                  <a:pt x="176" y="136"/>
                  <a:pt x="184" y="147"/>
                  <a:pt x="192" y="159"/>
                </a:cubicBezTo>
                <a:cubicBezTo>
                  <a:pt x="193" y="162"/>
                  <a:pt x="195" y="166"/>
                  <a:pt x="197" y="169"/>
                </a:cubicBezTo>
                <a:cubicBezTo>
                  <a:pt x="198" y="170"/>
                  <a:pt x="199" y="172"/>
                  <a:pt x="200" y="173"/>
                </a:cubicBezTo>
                <a:cubicBezTo>
                  <a:pt x="201" y="175"/>
                  <a:pt x="202" y="177"/>
                  <a:pt x="203" y="178"/>
                </a:cubicBezTo>
                <a:cubicBezTo>
                  <a:pt x="205" y="181"/>
                  <a:pt x="206" y="185"/>
                  <a:pt x="208" y="188"/>
                </a:cubicBezTo>
                <a:cubicBezTo>
                  <a:pt x="210" y="191"/>
                  <a:pt x="212" y="195"/>
                  <a:pt x="213" y="198"/>
                </a:cubicBezTo>
                <a:cubicBezTo>
                  <a:pt x="214" y="200"/>
                  <a:pt x="215" y="201"/>
                  <a:pt x="216" y="203"/>
                </a:cubicBezTo>
                <a:cubicBezTo>
                  <a:pt x="217" y="205"/>
                  <a:pt x="218" y="206"/>
                  <a:pt x="218" y="208"/>
                </a:cubicBezTo>
                <a:cubicBezTo>
                  <a:pt x="220" y="211"/>
                  <a:pt x="222" y="215"/>
                  <a:pt x="223" y="218"/>
                </a:cubicBezTo>
                <a:cubicBezTo>
                  <a:pt x="225" y="222"/>
                  <a:pt x="226" y="225"/>
                  <a:pt x="228" y="229"/>
                </a:cubicBezTo>
                <a:cubicBezTo>
                  <a:pt x="228" y="231"/>
                  <a:pt x="229" y="233"/>
                  <a:pt x="230" y="234"/>
                </a:cubicBezTo>
                <a:cubicBezTo>
                  <a:pt x="231" y="236"/>
                  <a:pt x="231" y="238"/>
                  <a:pt x="232" y="240"/>
                </a:cubicBezTo>
                <a:cubicBezTo>
                  <a:pt x="243" y="269"/>
                  <a:pt x="252" y="300"/>
                  <a:pt x="258" y="332"/>
                </a:cubicBezTo>
                <a:cubicBezTo>
                  <a:pt x="259" y="334"/>
                  <a:pt x="259" y="336"/>
                  <a:pt x="259" y="338"/>
                </a:cubicBezTo>
                <a:cubicBezTo>
                  <a:pt x="260" y="344"/>
                  <a:pt x="260" y="344"/>
                  <a:pt x="260" y="344"/>
                </a:cubicBezTo>
                <a:cubicBezTo>
                  <a:pt x="261" y="348"/>
                  <a:pt x="262" y="352"/>
                  <a:pt x="262" y="356"/>
                </a:cubicBezTo>
                <a:cubicBezTo>
                  <a:pt x="263" y="364"/>
                  <a:pt x="264" y="372"/>
                  <a:pt x="265" y="380"/>
                </a:cubicBezTo>
                <a:cubicBezTo>
                  <a:pt x="265" y="384"/>
                  <a:pt x="266" y="388"/>
                  <a:pt x="266" y="392"/>
                </a:cubicBezTo>
                <a:cubicBezTo>
                  <a:pt x="266" y="396"/>
                  <a:pt x="266" y="401"/>
                  <a:pt x="267" y="405"/>
                </a:cubicBezTo>
                <a:cubicBezTo>
                  <a:pt x="267" y="411"/>
                  <a:pt x="267" y="411"/>
                  <a:pt x="267" y="411"/>
                </a:cubicBezTo>
                <a:cubicBezTo>
                  <a:pt x="267" y="417"/>
                  <a:pt x="267" y="417"/>
                  <a:pt x="267" y="417"/>
                </a:cubicBezTo>
                <a:cubicBezTo>
                  <a:pt x="267" y="429"/>
                  <a:pt x="267" y="429"/>
                  <a:pt x="267" y="429"/>
                </a:cubicBezTo>
                <a:cubicBezTo>
                  <a:pt x="267" y="441"/>
                  <a:pt x="267" y="441"/>
                  <a:pt x="267" y="441"/>
                </a:cubicBezTo>
                <a:cubicBezTo>
                  <a:pt x="267" y="448"/>
                  <a:pt x="267" y="448"/>
                  <a:pt x="267" y="448"/>
                </a:cubicBezTo>
                <a:cubicBezTo>
                  <a:pt x="267" y="454"/>
                  <a:pt x="267" y="454"/>
                  <a:pt x="267" y="454"/>
                </a:cubicBezTo>
                <a:cubicBezTo>
                  <a:pt x="266" y="458"/>
                  <a:pt x="266" y="462"/>
                  <a:pt x="266" y="466"/>
                </a:cubicBezTo>
                <a:cubicBezTo>
                  <a:pt x="266" y="470"/>
                  <a:pt x="265" y="474"/>
                  <a:pt x="265" y="478"/>
                </a:cubicBezTo>
                <a:cubicBezTo>
                  <a:pt x="264" y="486"/>
                  <a:pt x="263" y="495"/>
                  <a:pt x="262" y="503"/>
                </a:cubicBezTo>
                <a:cubicBezTo>
                  <a:pt x="262" y="507"/>
                  <a:pt x="261" y="511"/>
                  <a:pt x="260" y="515"/>
                </a:cubicBezTo>
                <a:cubicBezTo>
                  <a:pt x="259" y="521"/>
                  <a:pt x="259" y="521"/>
                  <a:pt x="259" y="521"/>
                </a:cubicBezTo>
                <a:cubicBezTo>
                  <a:pt x="259" y="523"/>
                  <a:pt x="259" y="525"/>
                  <a:pt x="258" y="527"/>
                </a:cubicBezTo>
                <a:cubicBezTo>
                  <a:pt x="252" y="559"/>
                  <a:pt x="243" y="590"/>
                  <a:pt x="232" y="619"/>
                </a:cubicBezTo>
                <a:cubicBezTo>
                  <a:pt x="231" y="620"/>
                  <a:pt x="231" y="622"/>
                  <a:pt x="230" y="624"/>
                </a:cubicBezTo>
                <a:cubicBezTo>
                  <a:pt x="229" y="626"/>
                  <a:pt x="228" y="628"/>
                  <a:pt x="228" y="629"/>
                </a:cubicBezTo>
                <a:cubicBezTo>
                  <a:pt x="226" y="633"/>
                  <a:pt x="225" y="636"/>
                  <a:pt x="223" y="640"/>
                </a:cubicBezTo>
                <a:cubicBezTo>
                  <a:pt x="221" y="643"/>
                  <a:pt x="220" y="647"/>
                  <a:pt x="218" y="650"/>
                </a:cubicBezTo>
                <a:cubicBezTo>
                  <a:pt x="217" y="652"/>
                  <a:pt x="217" y="654"/>
                  <a:pt x="216" y="655"/>
                </a:cubicBezTo>
                <a:cubicBezTo>
                  <a:pt x="215" y="657"/>
                  <a:pt x="214" y="659"/>
                  <a:pt x="213" y="660"/>
                </a:cubicBezTo>
                <a:cubicBezTo>
                  <a:pt x="212" y="664"/>
                  <a:pt x="210" y="667"/>
                  <a:pt x="208" y="670"/>
                </a:cubicBezTo>
                <a:cubicBezTo>
                  <a:pt x="206" y="674"/>
                  <a:pt x="204" y="677"/>
                  <a:pt x="203" y="680"/>
                </a:cubicBezTo>
                <a:cubicBezTo>
                  <a:pt x="202" y="682"/>
                  <a:pt x="201" y="683"/>
                  <a:pt x="200" y="685"/>
                </a:cubicBezTo>
                <a:cubicBezTo>
                  <a:pt x="199" y="687"/>
                  <a:pt x="198" y="688"/>
                  <a:pt x="197" y="690"/>
                </a:cubicBezTo>
                <a:cubicBezTo>
                  <a:pt x="195" y="693"/>
                  <a:pt x="193" y="696"/>
                  <a:pt x="191" y="699"/>
                </a:cubicBezTo>
                <a:cubicBezTo>
                  <a:pt x="176" y="723"/>
                  <a:pt x="159" y="745"/>
                  <a:pt x="142" y="764"/>
                </a:cubicBezTo>
                <a:cubicBezTo>
                  <a:pt x="124" y="782"/>
                  <a:pt x="106" y="798"/>
                  <a:pt x="90" y="810"/>
                </a:cubicBezTo>
                <a:cubicBezTo>
                  <a:pt x="85" y="814"/>
                  <a:pt x="81" y="817"/>
                  <a:pt x="77" y="819"/>
                </a:cubicBezTo>
                <a:cubicBezTo>
                  <a:pt x="75" y="821"/>
                  <a:pt x="73" y="822"/>
                  <a:pt x="71" y="823"/>
                </a:cubicBezTo>
                <a:cubicBezTo>
                  <a:pt x="70" y="824"/>
                  <a:pt x="69" y="825"/>
                  <a:pt x="68" y="825"/>
                </a:cubicBezTo>
                <a:cubicBezTo>
                  <a:pt x="67" y="826"/>
                  <a:pt x="66" y="826"/>
                  <a:pt x="65" y="827"/>
                </a:cubicBezTo>
                <a:cubicBezTo>
                  <a:pt x="61" y="829"/>
                  <a:pt x="58" y="832"/>
                  <a:pt x="54" y="834"/>
                </a:cubicBezTo>
                <a:cubicBezTo>
                  <a:pt x="50" y="836"/>
                  <a:pt x="47" y="838"/>
                  <a:pt x="44" y="840"/>
                </a:cubicBezTo>
                <a:cubicBezTo>
                  <a:pt x="42" y="841"/>
                  <a:pt x="40" y="841"/>
                  <a:pt x="39" y="842"/>
                </a:cubicBezTo>
                <a:cubicBezTo>
                  <a:pt x="37" y="843"/>
                  <a:pt x="36" y="844"/>
                  <a:pt x="34" y="844"/>
                </a:cubicBezTo>
                <a:cubicBezTo>
                  <a:pt x="31" y="846"/>
                  <a:pt x="28" y="847"/>
                  <a:pt x="26" y="848"/>
                </a:cubicBezTo>
                <a:cubicBezTo>
                  <a:pt x="23" y="850"/>
                  <a:pt x="20" y="851"/>
                  <a:pt x="18" y="852"/>
                </a:cubicBezTo>
                <a:cubicBezTo>
                  <a:pt x="16" y="853"/>
                  <a:pt x="14" y="854"/>
                  <a:pt x="12" y="854"/>
                </a:cubicBezTo>
                <a:cubicBezTo>
                  <a:pt x="4" y="857"/>
                  <a:pt x="0" y="859"/>
                  <a:pt x="0" y="859"/>
                </a:cubicBezTo>
                <a:close/>
              </a:path>
            </a:pathLst>
          </a:custGeom>
          <a:solidFill>
            <a:schemeClr val="tx1">
              <a:lumMod val="40000"/>
              <a:lumOff val="60000"/>
            </a:schemeClr>
          </a:solidFill>
          <a:ln>
            <a:noFill/>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2400" b="0" i="0" u="none" strike="noStrike" kern="1200" cap="none" spc="0" normalizeH="0" baseline="0" noProof="0">
              <a:ln>
                <a:noFill/>
              </a:ln>
              <a:solidFill>
                <a:srgbClr val="000000"/>
              </a:solidFill>
              <a:effectLst/>
              <a:uLnTx/>
              <a:uFillTx/>
              <a:latin typeface="Arial"/>
              <a:cs typeface="+mn-ea"/>
              <a:sym typeface="+mn-lt"/>
            </a:endParaRPr>
          </a:p>
        </p:txBody>
      </p:sp>
      <p:grpSp>
        <p:nvGrpSpPr>
          <p:cNvPr id="15" name="Group 7">
            <a:extLst>
              <a:ext uri="{FF2B5EF4-FFF2-40B4-BE49-F238E27FC236}">
                <a16:creationId xmlns:a16="http://schemas.microsoft.com/office/drawing/2014/main" id="{283D1199-1BBE-4FA7-8026-450F2E11399D}"/>
              </a:ext>
            </a:extLst>
          </p:cNvPr>
          <p:cNvGrpSpPr/>
          <p:nvPr/>
        </p:nvGrpSpPr>
        <p:grpSpPr>
          <a:xfrm>
            <a:off x="609070" y="2323041"/>
            <a:ext cx="10962748" cy="2258484"/>
            <a:chOff x="456802" y="2333625"/>
            <a:chExt cx="8222061" cy="1693863"/>
          </a:xfrm>
          <a:solidFill>
            <a:schemeClr val="tx1">
              <a:lumMod val="40000"/>
              <a:lumOff val="60000"/>
            </a:schemeClr>
          </a:solidFill>
        </p:grpSpPr>
        <p:sp>
          <p:nvSpPr>
            <p:cNvPr id="16" name="Freeform 12">
              <a:extLst>
                <a:ext uri="{FF2B5EF4-FFF2-40B4-BE49-F238E27FC236}">
                  <a16:creationId xmlns:a16="http://schemas.microsoft.com/office/drawing/2014/main" id="{B212128C-38AA-4303-93C2-6C8C797F587A}"/>
                </a:ext>
              </a:extLst>
            </p:cNvPr>
            <p:cNvSpPr>
              <a:spLocks/>
            </p:cNvSpPr>
            <p:nvPr/>
          </p:nvSpPr>
          <p:spPr bwMode="auto">
            <a:xfrm>
              <a:off x="456802" y="2609850"/>
              <a:ext cx="1073150" cy="1143000"/>
            </a:xfrm>
            <a:custGeom>
              <a:avLst/>
              <a:gdLst>
                <a:gd name="T0" fmla="*/ 143 w 487"/>
                <a:gd name="T1" fmla="*/ 0 h 518"/>
                <a:gd name="T2" fmla="*/ 483 w 487"/>
                <a:gd name="T3" fmla="*/ 242 h 518"/>
                <a:gd name="T4" fmla="*/ 487 w 487"/>
                <a:gd name="T5" fmla="*/ 242 h 518"/>
                <a:gd name="T6" fmla="*/ 487 w 487"/>
                <a:gd name="T7" fmla="*/ 276 h 518"/>
                <a:gd name="T8" fmla="*/ 483 w 487"/>
                <a:gd name="T9" fmla="*/ 276 h 518"/>
                <a:gd name="T10" fmla="*/ 143 w 487"/>
                <a:gd name="T11" fmla="*/ 518 h 518"/>
                <a:gd name="T12" fmla="*/ 144 w 487"/>
                <a:gd name="T13" fmla="*/ 259 h 518"/>
                <a:gd name="T14" fmla="*/ 143 w 487"/>
                <a:gd name="T15" fmla="*/ 0 h 5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7" h="518">
                  <a:moveTo>
                    <a:pt x="143" y="0"/>
                  </a:moveTo>
                  <a:cubicBezTo>
                    <a:pt x="264" y="0"/>
                    <a:pt x="433" y="185"/>
                    <a:pt x="483" y="242"/>
                  </a:cubicBezTo>
                  <a:cubicBezTo>
                    <a:pt x="487" y="242"/>
                    <a:pt x="487" y="242"/>
                    <a:pt x="487" y="242"/>
                  </a:cubicBezTo>
                  <a:cubicBezTo>
                    <a:pt x="487" y="276"/>
                    <a:pt x="487" y="276"/>
                    <a:pt x="487" y="276"/>
                  </a:cubicBezTo>
                  <a:cubicBezTo>
                    <a:pt x="483" y="276"/>
                    <a:pt x="483" y="276"/>
                    <a:pt x="483" y="276"/>
                  </a:cubicBezTo>
                  <a:cubicBezTo>
                    <a:pt x="433" y="333"/>
                    <a:pt x="264" y="518"/>
                    <a:pt x="143" y="518"/>
                  </a:cubicBezTo>
                  <a:cubicBezTo>
                    <a:pt x="0" y="518"/>
                    <a:pt x="144" y="402"/>
                    <a:pt x="144" y="259"/>
                  </a:cubicBezTo>
                  <a:cubicBezTo>
                    <a:pt x="144" y="116"/>
                    <a:pt x="0" y="0"/>
                    <a:pt x="143" y="0"/>
                  </a:cubicBezTo>
                  <a:close/>
                </a:path>
              </a:pathLst>
            </a:custGeom>
            <a:grpFill/>
            <a:ln>
              <a:noFill/>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2400" b="0" i="0" u="none" strike="noStrike" kern="1200" cap="none" spc="0" normalizeH="0" baseline="0" noProof="0">
                <a:ln>
                  <a:noFill/>
                </a:ln>
                <a:solidFill>
                  <a:srgbClr val="000000"/>
                </a:solidFill>
                <a:effectLst/>
                <a:uLnTx/>
                <a:uFillTx/>
                <a:latin typeface="Arial"/>
                <a:cs typeface="+mn-ea"/>
                <a:sym typeface="+mn-lt"/>
              </a:endParaRPr>
            </a:p>
          </p:txBody>
        </p:sp>
        <p:sp>
          <p:nvSpPr>
            <p:cNvPr id="17" name="Freeform 13">
              <a:extLst>
                <a:ext uri="{FF2B5EF4-FFF2-40B4-BE49-F238E27FC236}">
                  <a16:creationId xmlns:a16="http://schemas.microsoft.com/office/drawing/2014/main" id="{AE0759E6-B92D-41B0-849C-169CA686A3EE}"/>
                </a:ext>
              </a:extLst>
            </p:cNvPr>
            <p:cNvSpPr>
              <a:spLocks noEditPoints="1"/>
            </p:cNvSpPr>
            <p:nvPr/>
          </p:nvSpPr>
          <p:spPr bwMode="auto">
            <a:xfrm>
              <a:off x="6784975" y="2333625"/>
              <a:ext cx="1893888" cy="1693863"/>
            </a:xfrm>
            <a:custGeom>
              <a:avLst/>
              <a:gdLst>
                <a:gd name="T0" fmla="*/ 90 w 860"/>
                <a:gd name="T1" fmla="*/ 435 h 768"/>
                <a:gd name="T2" fmla="*/ 195 w 860"/>
                <a:gd name="T3" fmla="*/ 768 h 768"/>
                <a:gd name="T4" fmla="*/ 860 w 860"/>
                <a:gd name="T5" fmla="*/ 454 h 768"/>
                <a:gd name="T6" fmla="*/ 195 w 860"/>
                <a:gd name="T7" fmla="*/ 0 h 768"/>
                <a:gd name="T8" fmla="*/ 90 w 860"/>
                <a:gd name="T9" fmla="*/ 333 h 768"/>
                <a:gd name="T10" fmla="*/ 27 w 860"/>
                <a:gd name="T11" fmla="*/ 335 h 768"/>
                <a:gd name="T12" fmla="*/ 27 w 860"/>
                <a:gd name="T13" fmla="*/ 433 h 768"/>
                <a:gd name="T14" fmla="*/ 90 w 860"/>
                <a:gd name="T15" fmla="*/ 435 h 768"/>
                <a:gd name="T16" fmla="*/ 444 w 860"/>
                <a:gd name="T17" fmla="*/ 265 h 768"/>
                <a:gd name="T18" fmla="*/ 505 w 860"/>
                <a:gd name="T19" fmla="*/ 203 h 768"/>
                <a:gd name="T20" fmla="*/ 566 w 860"/>
                <a:gd name="T21" fmla="*/ 265 h 768"/>
                <a:gd name="T22" fmla="*/ 505 w 860"/>
                <a:gd name="T23" fmla="*/ 326 h 768"/>
                <a:gd name="T24" fmla="*/ 444 w 860"/>
                <a:gd name="T25" fmla="*/ 265 h 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60" h="768">
                  <a:moveTo>
                    <a:pt x="90" y="435"/>
                  </a:moveTo>
                  <a:cubicBezTo>
                    <a:pt x="76" y="623"/>
                    <a:pt x="0" y="768"/>
                    <a:pt x="195" y="768"/>
                  </a:cubicBezTo>
                  <a:cubicBezTo>
                    <a:pt x="407" y="768"/>
                    <a:pt x="860" y="454"/>
                    <a:pt x="860" y="454"/>
                  </a:cubicBezTo>
                  <a:cubicBezTo>
                    <a:pt x="860" y="243"/>
                    <a:pt x="407" y="0"/>
                    <a:pt x="195" y="0"/>
                  </a:cubicBezTo>
                  <a:cubicBezTo>
                    <a:pt x="0" y="0"/>
                    <a:pt x="76" y="146"/>
                    <a:pt x="90" y="333"/>
                  </a:cubicBezTo>
                  <a:cubicBezTo>
                    <a:pt x="27" y="335"/>
                    <a:pt x="27" y="335"/>
                    <a:pt x="27" y="335"/>
                  </a:cubicBezTo>
                  <a:cubicBezTo>
                    <a:pt x="27" y="433"/>
                    <a:pt x="27" y="433"/>
                    <a:pt x="27" y="433"/>
                  </a:cubicBezTo>
                  <a:lnTo>
                    <a:pt x="90" y="435"/>
                  </a:lnTo>
                  <a:close/>
                  <a:moveTo>
                    <a:pt x="444" y="265"/>
                  </a:moveTo>
                  <a:cubicBezTo>
                    <a:pt x="444" y="231"/>
                    <a:pt x="471" y="203"/>
                    <a:pt x="505" y="203"/>
                  </a:cubicBezTo>
                  <a:cubicBezTo>
                    <a:pt x="539" y="203"/>
                    <a:pt x="566" y="231"/>
                    <a:pt x="566" y="265"/>
                  </a:cubicBezTo>
                  <a:cubicBezTo>
                    <a:pt x="566" y="298"/>
                    <a:pt x="539" y="326"/>
                    <a:pt x="505" y="326"/>
                  </a:cubicBezTo>
                  <a:cubicBezTo>
                    <a:pt x="471" y="326"/>
                    <a:pt x="444" y="298"/>
                    <a:pt x="444" y="265"/>
                  </a:cubicBezTo>
                  <a:close/>
                </a:path>
              </a:pathLst>
            </a:custGeom>
            <a:grpFill/>
            <a:ln>
              <a:noFill/>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2400" b="0" i="0" u="none" strike="noStrike" kern="1200" cap="none" spc="0" normalizeH="0" baseline="0" noProof="0">
                <a:ln>
                  <a:noFill/>
                </a:ln>
                <a:solidFill>
                  <a:srgbClr val="000000"/>
                </a:solidFill>
                <a:effectLst/>
                <a:uLnTx/>
                <a:uFillTx/>
                <a:latin typeface="Arial"/>
                <a:cs typeface="+mn-ea"/>
                <a:sym typeface="+mn-lt"/>
              </a:endParaRPr>
            </a:p>
          </p:txBody>
        </p:sp>
        <p:sp>
          <p:nvSpPr>
            <p:cNvPr id="18" name="Freeform 18">
              <a:extLst>
                <a:ext uri="{FF2B5EF4-FFF2-40B4-BE49-F238E27FC236}">
                  <a16:creationId xmlns:a16="http://schemas.microsoft.com/office/drawing/2014/main" id="{46325C83-4102-4033-844F-AEF46094A6A4}"/>
                </a:ext>
              </a:extLst>
            </p:cNvPr>
            <p:cNvSpPr>
              <a:spLocks/>
            </p:cNvSpPr>
            <p:nvPr/>
          </p:nvSpPr>
          <p:spPr bwMode="auto">
            <a:xfrm>
              <a:off x="1054893" y="2892425"/>
              <a:ext cx="6161088" cy="577850"/>
            </a:xfrm>
            <a:custGeom>
              <a:avLst/>
              <a:gdLst>
                <a:gd name="T0" fmla="*/ 2797 w 2797"/>
                <a:gd name="T1" fmla="*/ 12 h 262"/>
                <a:gd name="T2" fmla="*/ 2684 w 2797"/>
                <a:gd name="T3" fmla="*/ 0 h 262"/>
                <a:gd name="T4" fmla="*/ 0 w 2797"/>
                <a:gd name="T5" fmla="*/ 104 h 262"/>
                <a:gd name="T6" fmla="*/ 0 w 2797"/>
                <a:gd name="T7" fmla="*/ 158 h 262"/>
                <a:gd name="T8" fmla="*/ 2684 w 2797"/>
                <a:gd name="T9" fmla="*/ 262 h 262"/>
                <a:gd name="T10" fmla="*/ 2797 w 2797"/>
                <a:gd name="T11" fmla="*/ 251 h 262"/>
                <a:gd name="T12" fmla="*/ 2797 w 2797"/>
                <a:gd name="T13" fmla="*/ 12 h 262"/>
              </a:gdLst>
              <a:ahLst/>
              <a:cxnLst>
                <a:cxn ang="0">
                  <a:pos x="T0" y="T1"/>
                </a:cxn>
                <a:cxn ang="0">
                  <a:pos x="T2" y="T3"/>
                </a:cxn>
                <a:cxn ang="0">
                  <a:pos x="T4" y="T5"/>
                </a:cxn>
                <a:cxn ang="0">
                  <a:pos x="T6" y="T7"/>
                </a:cxn>
                <a:cxn ang="0">
                  <a:pos x="T8" y="T9"/>
                </a:cxn>
                <a:cxn ang="0">
                  <a:pos x="T10" y="T11"/>
                </a:cxn>
                <a:cxn ang="0">
                  <a:pos x="T12" y="T13"/>
                </a:cxn>
              </a:cxnLst>
              <a:rect l="0" t="0" r="r" b="b"/>
              <a:pathLst>
                <a:path w="2797" h="262">
                  <a:moveTo>
                    <a:pt x="2797" y="12"/>
                  </a:moveTo>
                  <a:cubicBezTo>
                    <a:pt x="2761" y="8"/>
                    <a:pt x="2724" y="4"/>
                    <a:pt x="2684" y="0"/>
                  </a:cubicBezTo>
                  <a:cubicBezTo>
                    <a:pt x="1789" y="35"/>
                    <a:pt x="895" y="69"/>
                    <a:pt x="0" y="104"/>
                  </a:cubicBezTo>
                  <a:cubicBezTo>
                    <a:pt x="0" y="158"/>
                    <a:pt x="0" y="158"/>
                    <a:pt x="0" y="158"/>
                  </a:cubicBezTo>
                  <a:cubicBezTo>
                    <a:pt x="895" y="193"/>
                    <a:pt x="1790" y="228"/>
                    <a:pt x="2684" y="262"/>
                  </a:cubicBezTo>
                  <a:cubicBezTo>
                    <a:pt x="2724" y="258"/>
                    <a:pt x="2761" y="255"/>
                    <a:pt x="2797" y="251"/>
                  </a:cubicBezTo>
                  <a:lnTo>
                    <a:pt x="2797" y="12"/>
                  </a:lnTo>
                  <a:close/>
                </a:path>
              </a:pathLst>
            </a:custGeom>
            <a:grpFill/>
            <a:ln>
              <a:noFill/>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2400" b="0" i="0" u="none" strike="noStrike" kern="1200" cap="none" spc="0" normalizeH="0" baseline="0" noProof="0">
                <a:ln>
                  <a:noFill/>
                </a:ln>
                <a:solidFill>
                  <a:srgbClr val="000000"/>
                </a:solidFill>
                <a:effectLst/>
                <a:uLnTx/>
                <a:uFillTx/>
                <a:latin typeface="Arial"/>
                <a:cs typeface="+mn-ea"/>
                <a:sym typeface="+mn-lt"/>
              </a:endParaRPr>
            </a:p>
          </p:txBody>
        </p:sp>
      </p:grpSp>
      <p:cxnSp>
        <p:nvCxnSpPr>
          <p:cNvPr id="19" name="Straight Arrow Connector 11">
            <a:extLst>
              <a:ext uri="{FF2B5EF4-FFF2-40B4-BE49-F238E27FC236}">
                <a16:creationId xmlns:a16="http://schemas.microsoft.com/office/drawing/2014/main" id="{085961D6-EA13-4053-A6BD-0E58C16EAD2D}"/>
              </a:ext>
            </a:extLst>
          </p:cNvPr>
          <p:cNvCxnSpPr/>
          <p:nvPr/>
        </p:nvCxnSpPr>
        <p:spPr>
          <a:xfrm>
            <a:off x="1880040" y="3061035"/>
            <a:ext cx="1200000" cy="0"/>
          </a:xfrm>
          <a:prstGeom prst="straightConnector1">
            <a:avLst/>
          </a:prstGeom>
          <a:ln w="12700">
            <a:solidFill>
              <a:schemeClr val="tx1">
                <a:lumMod val="60000"/>
                <a:lumOff val="40000"/>
              </a:schemeClr>
            </a:solidFill>
            <a:prstDash val="sysDash"/>
            <a:headEnd type="none"/>
            <a:tailEnd type="oval"/>
          </a:ln>
        </p:spPr>
        <p:style>
          <a:lnRef idx="1">
            <a:schemeClr val="accent1"/>
          </a:lnRef>
          <a:fillRef idx="0">
            <a:schemeClr val="accent1"/>
          </a:fillRef>
          <a:effectRef idx="0">
            <a:schemeClr val="accent1"/>
          </a:effectRef>
          <a:fontRef idx="minor">
            <a:schemeClr val="tx1"/>
          </a:fontRef>
        </p:style>
      </p:cxnSp>
      <p:sp>
        <p:nvSpPr>
          <p:cNvPr id="20" name="TextBox 12">
            <a:extLst>
              <a:ext uri="{FF2B5EF4-FFF2-40B4-BE49-F238E27FC236}">
                <a16:creationId xmlns:a16="http://schemas.microsoft.com/office/drawing/2014/main" id="{8D03D4BC-6673-47C8-845A-FD8B42DC5D00}"/>
              </a:ext>
            </a:extLst>
          </p:cNvPr>
          <p:cNvSpPr txBox="1"/>
          <p:nvPr/>
        </p:nvSpPr>
        <p:spPr>
          <a:xfrm>
            <a:off x="2101602" y="2743368"/>
            <a:ext cx="887102" cy="297454"/>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id-ID" sz="1333" b="0" i="0" u="none" strike="noStrike" kern="1200" cap="none" spc="0" normalizeH="0" baseline="0" noProof="0" dirty="0">
                <a:ln>
                  <a:noFill/>
                </a:ln>
                <a:solidFill>
                  <a:srgbClr val="778495"/>
                </a:solidFill>
                <a:effectLst/>
                <a:uLnTx/>
                <a:uFillTx/>
                <a:latin typeface="Arial"/>
                <a:cs typeface="+mn-ea"/>
                <a:sym typeface="+mn-lt"/>
              </a:rPr>
              <a:t>Text here</a:t>
            </a:r>
          </a:p>
        </p:txBody>
      </p:sp>
      <p:cxnSp>
        <p:nvCxnSpPr>
          <p:cNvPr id="21" name="Straight Arrow Connector 13">
            <a:extLst>
              <a:ext uri="{FF2B5EF4-FFF2-40B4-BE49-F238E27FC236}">
                <a16:creationId xmlns:a16="http://schemas.microsoft.com/office/drawing/2014/main" id="{823BE69B-8A36-4C11-94EA-9681E29E6310}"/>
              </a:ext>
            </a:extLst>
          </p:cNvPr>
          <p:cNvCxnSpPr/>
          <p:nvPr/>
        </p:nvCxnSpPr>
        <p:spPr>
          <a:xfrm>
            <a:off x="1860021" y="3997604"/>
            <a:ext cx="1200000" cy="0"/>
          </a:xfrm>
          <a:prstGeom prst="straightConnector1">
            <a:avLst/>
          </a:prstGeom>
          <a:ln w="12700">
            <a:solidFill>
              <a:schemeClr val="tx1">
                <a:lumMod val="60000"/>
                <a:lumOff val="40000"/>
              </a:schemeClr>
            </a:solidFill>
            <a:prstDash val="sysDash"/>
            <a:headEnd type="none"/>
            <a:tailEnd type="oval"/>
          </a:ln>
        </p:spPr>
        <p:style>
          <a:lnRef idx="1">
            <a:schemeClr val="accent1"/>
          </a:lnRef>
          <a:fillRef idx="0">
            <a:schemeClr val="accent1"/>
          </a:fillRef>
          <a:effectRef idx="0">
            <a:schemeClr val="accent1"/>
          </a:effectRef>
          <a:fontRef idx="minor">
            <a:schemeClr val="tx1"/>
          </a:fontRef>
        </p:style>
      </p:cxnSp>
      <p:sp>
        <p:nvSpPr>
          <p:cNvPr id="22" name="TextBox 14">
            <a:extLst>
              <a:ext uri="{FF2B5EF4-FFF2-40B4-BE49-F238E27FC236}">
                <a16:creationId xmlns:a16="http://schemas.microsoft.com/office/drawing/2014/main" id="{2CBA932D-1E2F-40CA-9672-A151135830F5}"/>
              </a:ext>
            </a:extLst>
          </p:cNvPr>
          <p:cNvSpPr txBox="1"/>
          <p:nvPr/>
        </p:nvSpPr>
        <p:spPr>
          <a:xfrm>
            <a:off x="2081583" y="3679938"/>
            <a:ext cx="887102" cy="297454"/>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id-ID" sz="1333" b="0" i="0" u="none" strike="noStrike" kern="1200" cap="none" spc="0" normalizeH="0" baseline="0" noProof="0">
                <a:ln>
                  <a:noFill/>
                </a:ln>
                <a:solidFill>
                  <a:srgbClr val="778495"/>
                </a:solidFill>
                <a:effectLst/>
                <a:uLnTx/>
                <a:uFillTx/>
                <a:latin typeface="Arial"/>
                <a:cs typeface="+mn-ea"/>
                <a:sym typeface="+mn-lt"/>
              </a:rPr>
              <a:t>Text here</a:t>
            </a:r>
            <a:endParaRPr kumimoji="0" lang="id-ID" sz="1333" b="0" i="0" u="none" strike="noStrike" kern="1200" cap="none" spc="0" normalizeH="0" baseline="0" noProof="0" dirty="0">
              <a:ln>
                <a:noFill/>
              </a:ln>
              <a:solidFill>
                <a:srgbClr val="778495"/>
              </a:solidFill>
              <a:effectLst/>
              <a:uLnTx/>
              <a:uFillTx/>
              <a:latin typeface="Arial"/>
              <a:cs typeface="+mn-ea"/>
              <a:sym typeface="+mn-lt"/>
            </a:endParaRPr>
          </a:p>
        </p:txBody>
      </p:sp>
      <p:cxnSp>
        <p:nvCxnSpPr>
          <p:cNvPr id="23" name="Straight Arrow Connector 15">
            <a:extLst>
              <a:ext uri="{FF2B5EF4-FFF2-40B4-BE49-F238E27FC236}">
                <a16:creationId xmlns:a16="http://schemas.microsoft.com/office/drawing/2014/main" id="{59FA0D54-E670-49B9-B336-251C63267389}"/>
              </a:ext>
            </a:extLst>
          </p:cNvPr>
          <p:cNvCxnSpPr/>
          <p:nvPr/>
        </p:nvCxnSpPr>
        <p:spPr>
          <a:xfrm>
            <a:off x="3543328" y="2781579"/>
            <a:ext cx="1200000" cy="0"/>
          </a:xfrm>
          <a:prstGeom prst="straightConnector1">
            <a:avLst/>
          </a:prstGeom>
          <a:ln w="12700">
            <a:solidFill>
              <a:schemeClr val="tx1">
                <a:lumMod val="60000"/>
                <a:lumOff val="40000"/>
              </a:schemeClr>
            </a:solidFill>
            <a:prstDash val="sysDash"/>
            <a:headEnd type="none"/>
            <a:tailEnd type="oval"/>
          </a:ln>
        </p:spPr>
        <p:style>
          <a:lnRef idx="1">
            <a:schemeClr val="accent1"/>
          </a:lnRef>
          <a:fillRef idx="0">
            <a:schemeClr val="accent1"/>
          </a:fillRef>
          <a:effectRef idx="0">
            <a:schemeClr val="accent1"/>
          </a:effectRef>
          <a:fontRef idx="minor">
            <a:schemeClr val="tx1"/>
          </a:fontRef>
        </p:style>
      </p:cxnSp>
      <p:sp>
        <p:nvSpPr>
          <p:cNvPr id="24" name="TextBox 16">
            <a:extLst>
              <a:ext uri="{FF2B5EF4-FFF2-40B4-BE49-F238E27FC236}">
                <a16:creationId xmlns:a16="http://schemas.microsoft.com/office/drawing/2014/main" id="{7EB2F185-7A56-486B-B45B-DD4984E0231A}"/>
              </a:ext>
            </a:extLst>
          </p:cNvPr>
          <p:cNvSpPr txBox="1"/>
          <p:nvPr/>
        </p:nvSpPr>
        <p:spPr>
          <a:xfrm>
            <a:off x="3764890" y="2463912"/>
            <a:ext cx="887102" cy="297454"/>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id-ID" sz="1333" b="0" i="0" u="none" strike="noStrike" kern="1200" cap="none" spc="0" normalizeH="0" baseline="0" noProof="0">
                <a:ln>
                  <a:noFill/>
                </a:ln>
                <a:solidFill>
                  <a:srgbClr val="778495"/>
                </a:solidFill>
                <a:effectLst/>
                <a:uLnTx/>
                <a:uFillTx/>
                <a:latin typeface="Arial"/>
                <a:cs typeface="+mn-ea"/>
                <a:sym typeface="+mn-lt"/>
              </a:rPr>
              <a:t>Text here</a:t>
            </a:r>
            <a:endParaRPr kumimoji="0" lang="id-ID" sz="1333" b="0" i="0" u="none" strike="noStrike" kern="1200" cap="none" spc="0" normalizeH="0" baseline="0" noProof="0" dirty="0">
              <a:ln>
                <a:noFill/>
              </a:ln>
              <a:solidFill>
                <a:srgbClr val="778495"/>
              </a:solidFill>
              <a:effectLst/>
              <a:uLnTx/>
              <a:uFillTx/>
              <a:latin typeface="Arial"/>
              <a:cs typeface="+mn-ea"/>
              <a:sym typeface="+mn-lt"/>
            </a:endParaRPr>
          </a:p>
        </p:txBody>
      </p:sp>
      <p:cxnSp>
        <p:nvCxnSpPr>
          <p:cNvPr id="25" name="Straight Arrow Connector 17">
            <a:extLst>
              <a:ext uri="{FF2B5EF4-FFF2-40B4-BE49-F238E27FC236}">
                <a16:creationId xmlns:a16="http://schemas.microsoft.com/office/drawing/2014/main" id="{C1554106-433B-4FF6-8ABC-8FA7D8787026}"/>
              </a:ext>
            </a:extLst>
          </p:cNvPr>
          <p:cNvCxnSpPr/>
          <p:nvPr/>
        </p:nvCxnSpPr>
        <p:spPr>
          <a:xfrm>
            <a:off x="3536009" y="4289648"/>
            <a:ext cx="1200000" cy="0"/>
          </a:xfrm>
          <a:prstGeom prst="straightConnector1">
            <a:avLst/>
          </a:prstGeom>
          <a:ln w="12700">
            <a:solidFill>
              <a:schemeClr val="tx1">
                <a:lumMod val="60000"/>
                <a:lumOff val="40000"/>
              </a:schemeClr>
            </a:solidFill>
            <a:prstDash val="sysDash"/>
            <a:headEnd type="none"/>
            <a:tailEnd type="oval"/>
          </a:ln>
        </p:spPr>
        <p:style>
          <a:lnRef idx="1">
            <a:schemeClr val="accent1"/>
          </a:lnRef>
          <a:fillRef idx="0">
            <a:schemeClr val="accent1"/>
          </a:fillRef>
          <a:effectRef idx="0">
            <a:schemeClr val="accent1"/>
          </a:effectRef>
          <a:fontRef idx="minor">
            <a:schemeClr val="tx1"/>
          </a:fontRef>
        </p:style>
      </p:cxnSp>
      <p:sp>
        <p:nvSpPr>
          <p:cNvPr id="26" name="TextBox 18">
            <a:extLst>
              <a:ext uri="{FF2B5EF4-FFF2-40B4-BE49-F238E27FC236}">
                <a16:creationId xmlns:a16="http://schemas.microsoft.com/office/drawing/2014/main" id="{2FF3B684-9801-4799-8C8E-F0724FB4E922}"/>
              </a:ext>
            </a:extLst>
          </p:cNvPr>
          <p:cNvSpPr txBox="1"/>
          <p:nvPr/>
        </p:nvSpPr>
        <p:spPr>
          <a:xfrm>
            <a:off x="3757571" y="3971982"/>
            <a:ext cx="887102" cy="297454"/>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id-ID" sz="1333" b="0" i="0" u="none" strike="noStrike" kern="1200" cap="none" spc="0" normalizeH="0" baseline="0" noProof="0">
                <a:ln>
                  <a:noFill/>
                </a:ln>
                <a:solidFill>
                  <a:srgbClr val="778495"/>
                </a:solidFill>
                <a:effectLst/>
                <a:uLnTx/>
                <a:uFillTx/>
                <a:latin typeface="Arial"/>
                <a:cs typeface="+mn-ea"/>
                <a:sym typeface="+mn-lt"/>
              </a:rPr>
              <a:t>Text here</a:t>
            </a:r>
            <a:endParaRPr kumimoji="0" lang="id-ID" sz="1333" b="0" i="0" u="none" strike="noStrike" kern="1200" cap="none" spc="0" normalizeH="0" baseline="0" noProof="0" dirty="0">
              <a:ln>
                <a:noFill/>
              </a:ln>
              <a:solidFill>
                <a:srgbClr val="778495"/>
              </a:solidFill>
              <a:effectLst/>
              <a:uLnTx/>
              <a:uFillTx/>
              <a:latin typeface="Arial"/>
              <a:cs typeface="+mn-ea"/>
              <a:sym typeface="+mn-lt"/>
            </a:endParaRPr>
          </a:p>
        </p:txBody>
      </p:sp>
      <p:sp>
        <p:nvSpPr>
          <p:cNvPr id="27" name="TextBox 19">
            <a:extLst>
              <a:ext uri="{FF2B5EF4-FFF2-40B4-BE49-F238E27FC236}">
                <a16:creationId xmlns:a16="http://schemas.microsoft.com/office/drawing/2014/main" id="{E8885221-07AE-4200-9D8F-21D8A263DA22}"/>
              </a:ext>
            </a:extLst>
          </p:cNvPr>
          <p:cNvSpPr txBox="1"/>
          <p:nvPr/>
        </p:nvSpPr>
        <p:spPr>
          <a:xfrm>
            <a:off x="9204397" y="3246047"/>
            <a:ext cx="1135247"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d-ID" sz="1600" b="0" i="0" u="none" strike="noStrike" kern="1200" cap="none" spc="0" normalizeH="0" baseline="0" noProof="0" dirty="0">
                <a:ln>
                  <a:noFill/>
                </a:ln>
                <a:solidFill>
                  <a:srgbClr val="FFFFFF"/>
                </a:solidFill>
                <a:effectLst/>
                <a:uLnTx/>
                <a:uFillTx/>
                <a:latin typeface="Arial"/>
                <a:cs typeface="+mn-ea"/>
                <a:sym typeface="+mn-lt"/>
              </a:rPr>
              <a:t>Insert Text</a:t>
            </a:r>
          </a:p>
        </p:txBody>
      </p:sp>
      <p:sp>
        <p:nvSpPr>
          <p:cNvPr id="28" name="TextBox 20">
            <a:extLst>
              <a:ext uri="{FF2B5EF4-FFF2-40B4-BE49-F238E27FC236}">
                <a16:creationId xmlns:a16="http://schemas.microsoft.com/office/drawing/2014/main" id="{2548E30E-3996-48D4-8DD8-5F4F6F7D4665}"/>
              </a:ext>
            </a:extLst>
          </p:cNvPr>
          <p:cNvSpPr txBox="1"/>
          <p:nvPr/>
        </p:nvSpPr>
        <p:spPr>
          <a:xfrm>
            <a:off x="1104199" y="3132907"/>
            <a:ext cx="699230" cy="584775"/>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d-ID" sz="1600" b="0" i="0" u="none" strike="noStrike" kern="1200" cap="none" spc="0" normalizeH="0" baseline="0" noProof="0" dirty="0">
                <a:ln>
                  <a:noFill/>
                </a:ln>
                <a:solidFill>
                  <a:srgbClr val="FFFFFF"/>
                </a:solidFill>
                <a:effectLst/>
                <a:uLnTx/>
                <a:uFillTx/>
                <a:latin typeface="Arial"/>
                <a:cs typeface="+mn-ea"/>
                <a:sym typeface="+mn-lt"/>
              </a:rPr>
              <a:t>Inser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d-ID" sz="1600" b="0" i="0" u="none" strike="noStrike" kern="1200" cap="none" spc="0" normalizeH="0" baseline="0" noProof="0" dirty="0">
                <a:ln>
                  <a:noFill/>
                </a:ln>
                <a:solidFill>
                  <a:srgbClr val="FFFFFF"/>
                </a:solidFill>
                <a:effectLst/>
                <a:uLnTx/>
                <a:uFillTx/>
                <a:latin typeface="Arial"/>
                <a:cs typeface="+mn-ea"/>
                <a:sym typeface="+mn-lt"/>
              </a:rPr>
              <a:t>Text</a:t>
            </a:r>
          </a:p>
        </p:txBody>
      </p:sp>
      <p:cxnSp>
        <p:nvCxnSpPr>
          <p:cNvPr id="29" name="Straight Arrow Connector 21">
            <a:extLst>
              <a:ext uri="{FF2B5EF4-FFF2-40B4-BE49-F238E27FC236}">
                <a16:creationId xmlns:a16="http://schemas.microsoft.com/office/drawing/2014/main" id="{98F415E4-5870-427E-B6D8-64565C2FE93C}"/>
              </a:ext>
            </a:extLst>
          </p:cNvPr>
          <p:cNvCxnSpPr/>
          <p:nvPr/>
        </p:nvCxnSpPr>
        <p:spPr>
          <a:xfrm>
            <a:off x="5237809" y="2563476"/>
            <a:ext cx="1200000" cy="0"/>
          </a:xfrm>
          <a:prstGeom prst="straightConnector1">
            <a:avLst/>
          </a:prstGeom>
          <a:ln w="12700">
            <a:solidFill>
              <a:schemeClr val="tx1">
                <a:lumMod val="60000"/>
                <a:lumOff val="40000"/>
              </a:schemeClr>
            </a:solidFill>
            <a:prstDash val="sysDash"/>
            <a:headEnd type="none"/>
            <a:tailEnd type="oval"/>
          </a:ln>
        </p:spPr>
        <p:style>
          <a:lnRef idx="1">
            <a:schemeClr val="accent1"/>
          </a:lnRef>
          <a:fillRef idx="0">
            <a:schemeClr val="accent1"/>
          </a:fillRef>
          <a:effectRef idx="0">
            <a:schemeClr val="accent1"/>
          </a:effectRef>
          <a:fontRef idx="minor">
            <a:schemeClr val="tx1"/>
          </a:fontRef>
        </p:style>
      </p:cxnSp>
      <p:sp>
        <p:nvSpPr>
          <p:cNvPr id="30" name="TextBox 22">
            <a:extLst>
              <a:ext uri="{FF2B5EF4-FFF2-40B4-BE49-F238E27FC236}">
                <a16:creationId xmlns:a16="http://schemas.microsoft.com/office/drawing/2014/main" id="{F0A6A23D-4A1E-476E-8345-04084FAEF97D}"/>
              </a:ext>
            </a:extLst>
          </p:cNvPr>
          <p:cNvSpPr txBox="1"/>
          <p:nvPr/>
        </p:nvSpPr>
        <p:spPr>
          <a:xfrm>
            <a:off x="5459371" y="2245810"/>
            <a:ext cx="887102" cy="297454"/>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id-ID" sz="1333" b="0" i="0" u="none" strike="noStrike" kern="1200" cap="none" spc="0" normalizeH="0" baseline="0" noProof="0">
                <a:ln>
                  <a:noFill/>
                </a:ln>
                <a:solidFill>
                  <a:srgbClr val="778495"/>
                </a:solidFill>
                <a:effectLst/>
                <a:uLnTx/>
                <a:uFillTx/>
                <a:latin typeface="Arial"/>
                <a:cs typeface="+mn-ea"/>
                <a:sym typeface="+mn-lt"/>
              </a:rPr>
              <a:t>Text here</a:t>
            </a:r>
            <a:endParaRPr kumimoji="0" lang="id-ID" sz="1333" b="0" i="0" u="none" strike="noStrike" kern="1200" cap="none" spc="0" normalizeH="0" baseline="0" noProof="0" dirty="0">
              <a:ln>
                <a:noFill/>
              </a:ln>
              <a:solidFill>
                <a:srgbClr val="778495"/>
              </a:solidFill>
              <a:effectLst/>
              <a:uLnTx/>
              <a:uFillTx/>
              <a:latin typeface="Arial"/>
              <a:cs typeface="+mn-ea"/>
              <a:sym typeface="+mn-lt"/>
            </a:endParaRPr>
          </a:p>
        </p:txBody>
      </p:sp>
      <p:cxnSp>
        <p:nvCxnSpPr>
          <p:cNvPr id="31" name="Straight Arrow Connector 23">
            <a:extLst>
              <a:ext uri="{FF2B5EF4-FFF2-40B4-BE49-F238E27FC236}">
                <a16:creationId xmlns:a16="http://schemas.microsoft.com/office/drawing/2014/main" id="{5AC6DAD3-E966-40EB-A181-79AF62FB0D79}"/>
              </a:ext>
            </a:extLst>
          </p:cNvPr>
          <p:cNvCxnSpPr/>
          <p:nvPr/>
        </p:nvCxnSpPr>
        <p:spPr>
          <a:xfrm>
            <a:off x="5237809" y="4556348"/>
            <a:ext cx="1200000" cy="0"/>
          </a:xfrm>
          <a:prstGeom prst="straightConnector1">
            <a:avLst/>
          </a:prstGeom>
          <a:ln w="12700">
            <a:solidFill>
              <a:schemeClr val="tx1">
                <a:lumMod val="60000"/>
                <a:lumOff val="40000"/>
              </a:schemeClr>
            </a:solidFill>
            <a:prstDash val="sysDash"/>
            <a:headEnd type="none"/>
            <a:tailEnd type="oval"/>
          </a:ln>
        </p:spPr>
        <p:style>
          <a:lnRef idx="1">
            <a:schemeClr val="accent1"/>
          </a:lnRef>
          <a:fillRef idx="0">
            <a:schemeClr val="accent1"/>
          </a:fillRef>
          <a:effectRef idx="0">
            <a:schemeClr val="accent1"/>
          </a:effectRef>
          <a:fontRef idx="minor">
            <a:schemeClr val="tx1"/>
          </a:fontRef>
        </p:style>
      </p:cxnSp>
      <p:sp>
        <p:nvSpPr>
          <p:cNvPr id="32" name="TextBox 24">
            <a:extLst>
              <a:ext uri="{FF2B5EF4-FFF2-40B4-BE49-F238E27FC236}">
                <a16:creationId xmlns:a16="http://schemas.microsoft.com/office/drawing/2014/main" id="{1A8D302D-1E65-45B4-A097-926E5CC448F5}"/>
              </a:ext>
            </a:extLst>
          </p:cNvPr>
          <p:cNvSpPr txBox="1"/>
          <p:nvPr/>
        </p:nvSpPr>
        <p:spPr>
          <a:xfrm>
            <a:off x="5459371" y="4238682"/>
            <a:ext cx="887102" cy="297454"/>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id-ID" sz="1333" b="0" i="0" u="none" strike="noStrike" kern="1200" cap="none" spc="0" normalizeH="0" baseline="0" noProof="0">
                <a:ln>
                  <a:noFill/>
                </a:ln>
                <a:solidFill>
                  <a:srgbClr val="778495"/>
                </a:solidFill>
                <a:effectLst/>
                <a:uLnTx/>
                <a:uFillTx/>
                <a:latin typeface="Arial"/>
                <a:cs typeface="+mn-ea"/>
                <a:sym typeface="+mn-lt"/>
              </a:rPr>
              <a:t>Text here</a:t>
            </a:r>
            <a:endParaRPr kumimoji="0" lang="id-ID" sz="1333" b="0" i="0" u="none" strike="noStrike" kern="1200" cap="none" spc="0" normalizeH="0" baseline="0" noProof="0" dirty="0">
              <a:ln>
                <a:noFill/>
              </a:ln>
              <a:solidFill>
                <a:srgbClr val="778495"/>
              </a:solidFill>
              <a:effectLst/>
              <a:uLnTx/>
              <a:uFillTx/>
              <a:latin typeface="Arial"/>
              <a:cs typeface="+mn-ea"/>
              <a:sym typeface="+mn-lt"/>
            </a:endParaRPr>
          </a:p>
        </p:txBody>
      </p:sp>
      <p:cxnSp>
        <p:nvCxnSpPr>
          <p:cNvPr id="33" name="Straight Arrow Connector 25">
            <a:extLst>
              <a:ext uri="{FF2B5EF4-FFF2-40B4-BE49-F238E27FC236}">
                <a16:creationId xmlns:a16="http://schemas.microsoft.com/office/drawing/2014/main" id="{C7E298BC-FBF9-45E8-924E-222FB7C700AE}"/>
              </a:ext>
            </a:extLst>
          </p:cNvPr>
          <p:cNvCxnSpPr/>
          <p:nvPr/>
        </p:nvCxnSpPr>
        <p:spPr>
          <a:xfrm>
            <a:off x="7129933" y="2852899"/>
            <a:ext cx="1200000" cy="0"/>
          </a:xfrm>
          <a:prstGeom prst="straightConnector1">
            <a:avLst/>
          </a:prstGeom>
          <a:ln w="12700">
            <a:solidFill>
              <a:schemeClr val="tx1">
                <a:lumMod val="60000"/>
                <a:lumOff val="40000"/>
              </a:schemeClr>
            </a:solidFill>
            <a:prstDash val="sysDash"/>
            <a:headEnd type="none"/>
            <a:tailEnd type="oval"/>
          </a:ln>
        </p:spPr>
        <p:style>
          <a:lnRef idx="1">
            <a:schemeClr val="accent1"/>
          </a:lnRef>
          <a:fillRef idx="0">
            <a:schemeClr val="accent1"/>
          </a:fillRef>
          <a:effectRef idx="0">
            <a:schemeClr val="accent1"/>
          </a:effectRef>
          <a:fontRef idx="minor">
            <a:schemeClr val="tx1"/>
          </a:fontRef>
        </p:style>
      </p:cxnSp>
      <p:sp>
        <p:nvSpPr>
          <p:cNvPr id="34" name="TextBox 26">
            <a:extLst>
              <a:ext uri="{FF2B5EF4-FFF2-40B4-BE49-F238E27FC236}">
                <a16:creationId xmlns:a16="http://schemas.microsoft.com/office/drawing/2014/main" id="{F00B6E89-C1C6-4B74-B84A-7740F4D5F885}"/>
              </a:ext>
            </a:extLst>
          </p:cNvPr>
          <p:cNvSpPr txBox="1"/>
          <p:nvPr/>
        </p:nvSpPr>
        <p:spPr>
          <a:xfrm>
            <a:off x="7343800" y="2535232"/>
            <a:ext cx="894797" cy="297454"/>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id-ID" sz="1333" b="0" i="0" u="none" strike="noStrike" kern="1200" cap="none" spc="0" normalizeH="0" baseline="0" noProof="0">
                <a:ln>
                  <a:noFill/>
                </a:ln>
                <a:solidFill>
                  <a:srgbClr val="000000"/>
                </a:solidFill>
                <a:effectLst/>
                <a:uLnTx/>
                <a:uFillTx/>
                <a:latin typeface="Arial"/>
                <a:cs typeface="+mn-ea"/>
                <a:sym typeface="+mn-lt"/>
              </a:rPr>
              <a:t>Text here</a:t>
            </a:r>
            <a:endParaRPr kumimoji="0" lang="id-ID" sz="1333" b="0" i="0" u="none" strike="noStrike" kern="1200" cap="none" spc="0" normalizeH="0" baseline="0" noProof="0" dirty="0">
              <a:ln>
                <a:noFill/>
              </a:ln>
              <a:solidFill>
                <a:srgbClr val="000000"/>
              </a:solidFill>
              <a:effectLst/>
              <a:uLnTx/>
              <a:uFillTx/>
              <a:latin typeface="Arial"/>
              <a:cs typeface="+mn-ea"/>
              <a:sym typeface="+mn-lt"/>
            </a:endParaRPr>
          </a:p>
        </p:txBody>
      </p:sp>
      <p:cxnSp>
        <p:nvCxnSpPr>
          <p:cNvPr id="35" name="Straight Arrow Connector 27">
            <a:extLst>
              <a:ext uri="{FF2B5EF4-FFF2-40B4-BE49-F238E27FC236}">
                <a16:creationId xmlns:a16="http://schemas.microsoft.com/office/drawing/2014/main" id="{665CCB60-3B15-4BC1-A294-F6E5FA00E963}"/>
              </a:ext>
            </a:extLst>
          </p:cNvPr>
          <p:cNvCxnSpPr/>
          <p:nvPr/>
        </p:nvCxnSpPr>
        <p:spPr>
          <a:xfrm>
            <a:off x="6812433" y="4845771"/>
            <a:ext cx="1200000" cy="0"/>
          </a:xfrm>
          <a:prstGeom prst="straightConnector1">
            <a:avLst/>
          </a:prstGeom>
          <a:ln w="12700">
            <a:solidFill>
              <a:schemeClr val="tx1">
                <a:lumMod val="60000"/>
                <a:lumOff val="40000"/>
              </a:schemeClr>
            </a:solidFill>
            <a:prstDash val="sysDash"/>
            <a:headEnd type="none"/>
            <a:tailEnd type="oval"/>
          </a:ln>
        </p:spPr>
        <p:style>
          <a:lnRef idx="1">
            <a:schemeClr val="accent1"/>
          </a:lnRef>
          <a:fillRef idx="0">
            <a:schemeClr val="accent1"/>
          </a:fillRef>
          <a:effectRef idx="0">
            <a:schemeClr val="accent1"/>
          </a:effectRef>
          <a:fontRef idx="minor">
            <a:schemeClr val="tx1"/>
          </a:fontRef>
        </p:style>
      </p:cxnSp>
      <p:sp>
        <p:nvSpPr>
          <p:cNvPr id="36" name="TextBox 28">
            <a:extLst>
              <a:ext uri="{FF2B5EF4-FFF2-40B4-BE49-F238E27FC236}">
                <a16:creationId xmlns:a16="http://schemas.microsoft.com/office/drawing/2014/main" id="{E3750FC8-21D4-4066-AC40-6C6AF51EA3D3}"/>
              </a:ext>
            </a:extLst>
          </p:cNvPr>
          <p:cNvSpPr txBox="1"/>
          <p:nvPr/>
        </p:nvSpPr>
        <p:spPr>
          <a:xfrm>
            <a:off x="7026300" y="4528104"/>
            <a:ext cx="894797" cy="297454"/>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id-ID" sz="1333" b="0" i="0" u="none" strike="noStrike" kern="1200" cap="none" spc="0" normalizeH="0" baseline="0" noProof="0">
                <a:ln>
                  <a:noFill/>
                </a:ln>
                <a:solidFill>
                  <a:srgbClr val="000000"/>
                </a:solidFill>
                <a:effectLst/>
                <a:uLnTx/>
                <a:uFillTx/>
                <a:latin typeface="Arial"/>
                <a:cs typeface="+mn-ea"/>
                <a:sym typeface="+mn-lt"/>
              </a:rPr>
              <a:t>Text here</a:t>
            </a:r>
            <a:endParaRPr kumimoji="0" lang="id-ID" sz="1333" b="0" i="0" u="none" strike="noStrike" kern="1200" cap="none" spc="0" normalizeH="0" baseline="0" noProof="0" dirty="0">
              <a:ln>
                <a:noFill/>
              </a:ln>
              <a:solidFill>
                <a:srgbClr val="000000"/>
              </a:solidFill>
              <a:effectLst/>
              <a:uLnTx/>
              <a:uFillTx/>
              <a:latin typeface="Arial"/>
              <a:cs typeface="+mn-ea"/>
              <a:sym typeface="+mn-lt"/>
            </a:endParaRPr>
          </a:p>
        </p:txBody>
      </p:sp>
      <p:cxnSp>
        <p:nvCxnSpPr>
          <p:cNvPr id="37" name="Straight Arrow Connector 29">
            <a:extLst>
              <a:ext uri="{FF2B5EF4-FFF2-40B4-BE49-F238E27FC236}">
                <a16:creationId xmlns:a16="http://schemas.microsoft.com/office/drawing/2014/main" id="{971AA02B-B842-4D10-9507-9DE980E7CF27}"/>
              </a:ext>
            </a:extLst>
          </p:cNvPr>
          <p:cNvCxnSpPr/>
          <p:nvPr/>
        </p:nvCxnSpPr>
        <p:spPr>
          <a:xfrm>
            <a:off x="6913564" y="2257184"/>
            <a:ext cx="1200000" cy="0"/>
          </a:xfrm>
          <a:prstGeom prst="straightConnector1">
            <a:avLst/>
          </a:prstGeom>
          <a:ln w="12700">
            <a:solidFill>
              <a:schemeClr val="tx1">
                <a:lumMod val="60000"/>
                <a:lumOff val="40000"/>
              </a:schemeClr>
            </a:solidFill>
            <a:prstDash val="sysDash"/>
            <a:headEnd type="none"/>
            <a:tailEnd type="oval"/>
          </a:ln>
        </p:spPr>
        <p:style>
          <a:lnRef idx="1">
            <a:schemeClr val="accent1"/>
          </a:lnRef>
          <a:fillRef idx="0">
            <a:schemeClr val="accent1"/>
          </a:fillRef>
          <a:effectRef idx="0">
            <a:schemeClr val="accent1"/>
          </a:effectRef>
          <a:fontRef idx="minor">
            <a:schemeClr val="tx1"/>
          </a:fontRef>
        </p:style>
      </p:cxnSp>
      <p:sp>
        <p:nvSpPr>
          <p:cNvPr id="38" name="TextBox 30">
            <a:extLst>
              <a:ext uri="{FF2B5EF4-FFF2-40B4-BE49-F238E27FC236}">
                <a16:creationId xmlns:a16="http://schemas.microsoft.com/office/drawing/2014/main" id="{BF079718-81E1-4E12-9C24-CDD42551AD5E}"/>
              </a:ext>
            </a:extLst>
          </p:cNvPr>
          <p:cNvSpPr txBox="1"/>
          <p:nvPr/>
        </p:nvSpPr>
        <p:spPr>
          <a:xfrm>
            <a:off x="7127431" y="1939518"/>
            <a:ext cx="894797" cy="297454"/>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id-ID" sz="1333" b="0" i="0" u="none" strike="noStrike" kern="1200" cap="none" spc="0" normalizeH="0" baseline="0" noProof="0" dirty="0">
                <a:ln>
                  <a:noFill/>
                </a:ln>
                <a:solidFill>
                  <a:srgbClr val="000000"/>
                </a:solidFill>
                <a:effectLst/>
                <a:uLnTx/>
                <a:uFillTx/>
                <a:latin typeface="Arial"/>
                <a:cs typeface="+mn-ea"/>
                <a:sym typeface="+mn-lt"/>
              </a:rPr>
              <a:t>Text here</a:t>
            </a:r>
          </a:p>
        </p:txBody>
      </p:sp>
      <p:cxnSp>
        <p:nvCxnSpPr>
          <p:cNvPr id="39" name="Straight Arrow Connector 31">
            <a:extLst>
              <a:ext uri="{FF2B5EF4-FFF2-40B4-BE49-F238E27FC236}">
                <a16:creationId xmlns:a16="http://schemas.microsoft.com/office/drawing/2014/main" id="{92967880-07DA-4A87-988C-A7D05C54F0CD}"/>
              </a:ext>
            </a:extLst>
          </p:cNvPr>
          <p:cNvCxnSpPr/>
          <p:nvPr/>
        </p:nvCxnSpPr>
        <p:spPr>
          <a:xfrm>
            <a:off x="7015164" y="4250056"/>
            <a:ext cx="1200000" cy="0"/>
          </a:xfrm>
          <a:prstGeom prst="straightConnector1">
            <a:avLst/>
          </a:prstGeom>
          <a:ln w="12700">
            <a:solidFill>
              <a:schemeClr val="tx1">
                <a:lumMod val="60000"/>
                <a:lumOff val="40000"/>
              </a:schemeClr>
            </a:solidFill>
            <a:prstDash val="sysDash"/>
            <a:headEnd type="none"/>
            <a:tailEnd type="oval"/>
          </a:ln>
        </p:spPr>
        <p:style>
          <a:lnRef idx="1">
            <a:schemeClr val="accent1"/>
          </a:lnRef>
          <a:fillRef idx="0">
            <a:schemeClr val="accent1"/>
          </a:fillRef>
          <a:effectRef idx="0">
            <a:schemeClr val="accent1"/>
          </a:effectRef>
          <a:fontRef idx="minor">
            <a:schemeClr val="tx1"/>
          </a:fontRef>
        </p:style>
      </p:cxnSp>
      <p:sp>
        <p:nvSpPr>
          <p:cNvPr id="40" name="TextBox 32">
            <a:extLst>
              <a:ext uri="{FF2B5EF4-FFF2-40B4-BE49-F238E27FC236}">
                <a16:creationId xmlns:a16="http://schemas.microsoft.com/office/drawing/2014/main" id="{10F17F99-6046-4322-8BCB-B33802DC7FEB}"/>
              </a:ext>
            </a:extLst>
          </p:cNvPr>
          <p:cNvSpPr txBox="1"/>
          <p:nvPr/>
        </p:nvSpPr>
        <p:spPr>
          <a:xfrm>
            <a:off x="7229031" y="3932390"/>
            <a:ext cx="894797" cy="297454"/>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id-ID" sz="1333" b="0" i="0" u="none" strike="noStrike" kern="1200" cap="none" spc="0" normalizeH="0" baseline="0" noProof="0" dirty="0">
                <a:ln>
                  <a:noFill/>
                </a:ln>
                <a:solidFill>
                  <a:srgbClr val="000000"/>
                </a:solidFill>
                <a:effectLst/>
                <a:uLnTx/>
                <a:uFillTx/>
                <a:latin typeface="Arial"/>
                <a:cs typeface="+mn-ea"/>
                <a:sym typeface="+mn-lt"/>
              </a:rPr>
              <a:t>Text here</a:t>
            </a:r>
          </a:p>
        </p:txBody>
      </p:sp>
      <p:grpSp>
        <p:nvGrpSpPr>
          <p:cNvPr id="41" name="Group 33">
            <a:extLst>
              <a:ext uri="{FF2B5EF4-FFF2-40B4-BE49-F238E27FC236}">
                <a16:creationId xmlns:a16="http://schemas.microsoft.com/office/drawing/2014/main" id="{12440067-DB1F-4280-9AF1-110CDC1C84B7}"/>
              </a:ext>
            </a:extLst>
          </p:cNvPr>
          <p:cNvGrpSpPr/>
          <p:nvPr/>
        </p:nvGrpSpPr>
        <p:grpSpPr>
          <a:xfrm>
            <a:off x="1885948" y="4297892"/>
            <a:ext cx="1321859" cy="488951"/>
            <a:chOff x="1414461" y="3814762"/>
            <a:chExt cx="991394" cy="366713"/>
          </a:xfrm>
        </p:grpSpPr>
        <p:sp>
          <p:nvSpPr>
            <p:cNvPr id="42" name="Rounded Rectangle 34">
              <a:extLst>
                <a:ext uri="{FF2B5EF4-FFF2-40B4-BE49-F238E27FC236}">
                  <a16:creationId xmlns:a16="http://schemas.microsoft.com/office/drawing/2014/main" id="{BEB3B2F4-FD40-405B-A9B0-1865458E0846}"/>
                </a:ext>
              </a:extLst>
            </p:cNvPr>
            <p:cNvSpPr/>
            <p:nvPr/>
          </p:nvSpPr>
          <p:spPr>
            <a:xfrm>
              <a:off x="1414461" y="3814762"/>
              <a:ext cx="991394" cy="366713"/>
            </a:xfrm>
            <a:prstGeom prst="roundRect">
              <a:avLst/>
            </a:prstGeom>
            <a:solidFill>
              <a:schemeClr val="accent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2400" b="0" i="0" u="none" strike="noStrike" kern="1200" cap="none" spc="0" normalizeH="0" baseline="0" noProof="0">
                <a:ln>
                  <a:noFill/>
                </a:ln>
                <a:solidFill>
                  <a:srgbClr val="FFFFFF"/>
                </a:solidFill>
                <a:effectLst/>
                <a:uLnTx/>
                <a:uFillTx/>
                <a:latin typeface="Arial"/>
                <a:cs typeface="+mn-ea"/>
                <a:sym typeface="+mn-lt"/>
              </a:endParaRPr>
            </a:p>
          </p:txBody>
        </p:sp>
        <p:sp>
          <p:nvSpPr>
            <p:cNvPr id="43" name="TextBox 35">
              <a:extLst>
                <a:ext uri="{FF2B5EF4-FFF2-40B4-BE49-F238E27FC236}">
                  <a16:creationId xmlns:a16="http://schemas.microsoft.com/office/drawing/2014/main" id="{FACD5311-1580-44AF-AC22-AAB61305C1DD}"/>
                </a:ext>
              </a:extLst>
            </p:cNvPr>
            <p:cNvSpPr txBox="1"/>
            <p:nvPr/>
          </p:nvSpPr>
          <p:spPr>
            <a:xfrm>
              <a:off x="1473213" y="3855660"/>
              <a:ext cx="847204" cy="25391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d-ID" sz="1600" b="0" i="0" u="none" strike="noStrike" kern="1200" cap="none" spc="0" normalizeH="0" baseline="0" noProof="0" dirty="0">
                  <a:ln>
                    <a:noFill/>
                  </a:ln>
                  <a:solidFill>
                    <a:srgbClr val="F0F0F0"/>
                  </a:solidFill>
                  <a:effectLst/>
                  <a:uLnTx/>
                  <a:uFillTx/>
                  <a:latin typeface="Arial"/>
                  <a:cs typeface="+mn-ea"/>
                  <a:sym typeface="+mn-lt"/>
                </a:rPr>
                <a:t>Insert Text</a:t>
              </a:r>
            </a:p>
          </p:txBody>
        </p:sp>
      </p:grpSp>
      <p:grpSp>
        <p:nvGrpSpPr>
          <p:cNvPr id="44" name="Group 36">
            <a:extLst>
              <a:ext uri="{FF2B5EF4-FFF2-40B4-BE49-F238E27FC236}">
                <a16:creationId xmlns:a16="http://schemas.microsoft.com/office/drawing/2014/main" id="{81A34B5F-1A57-41BE-A1CE-8CA1752F45F6}"/>
              </a:ext>
            </a:extLst>
          </p:cNvPr>
          <p:cNvGrpSpPr/>
          <p:nvPr/>
        </p:nvGrpSpPr>
        <p:grpSpPr>
          <a:xfrm>
            <a:off x="1885948" y="2161645"/>
            <a:ext cx="1321859" cy="488951"/>
            <a:chOff x="1414461" y="2212579"/>
            <a:chExt cx="991394" cy="366713"/>
          </a:xfrm>
        </p:grpSpPr>
        <p:sp>
          <p:nvSpPr>
            <p:cNvPr id="45" name="Rounded Rectangle 37">
              <a:extLst>
                <a:ext uri="{FF2B5EF4-FFF2-40B4-BE49-F238E27FC236}">
                  <a16:creationId xmlns:a16="http://schemas.microsoft.com/office/drawing/2014/main" id="{B66BEBB8-75D9-447E-8B3D-3D8B27C88D5D}"/>
                </a:ext>
              </a:extLst>
            </p:cNvPr>
            <p:cNvSpPr/>
            <p:nvPr/>
          </p:nvSpPr>
          <p:spPr>
            <a:xfrm>
              <a:off x="1414461" y="2212579"/>
              <a:ext cx="991394" cy="366713"/>
            </a:xfrm>
            <a:prstGeom prst="roundRect">
              <a:avLst/>
            </a:prstGeom>
            <a:solidFill>
              <a:schemeClr val="accent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2400" b="0" i="0" u="none" strike="noStrike" kern="1200" cap="none" spc="0" normalizeH="0" baseline="0" noProof="0">
                <a:ln>
                  <a:noFill/>
                </a:ln>
                <a:solidFill>
                  <a:srgbClr val="FFFFFF"/>
                </a:solidFill>
                <a:effectLst/>
                <a:uLnTx/>
                <a:uFillTx/>
                <a:latin typeface="Arial"/>
                <a:cs typeface="+mn-ea"/>
                <a:sym typeface="+mn-lt"/>
              </a:endParaRPr>
            </a:p>
          </p:txBody>
        </p:sp>
        <p:sp>
          <p:nvSpPr>
            <p:cNvPr id="46" name="TextBox 38">
              <a:extLst>
                <a:ext uri="{FF2B5EF4-FFF2-40B4-BE49-F238E27FC236}">
                  <a16:creationId xmlns:a16="http://schemas.microsoft.com/office/drawing/2014/main" id="{EBAE2D13-5E73-412A-8382-18D2608FBB6B}"/>
                </a:ext>
              </a:extLst>
            </p:cNvPr>
            <p:cNvSpPr txBox="1"/>
            <p:nvPr/>
          </p:nvSpPr>
          <p:spPr>
            <a:xfrm>
              <a:off x="1473213" y="2254901"/>
              <a:ext cx="847204" cy="25391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d-ID" sz="1600" b="0" i="0" u="none" strike="noStrike" kern="1200" cap="none" spc="0" normalizeH="0" baseline="0" noProof="0" dirty="0">
                  <a:ln>
                    <a:noFill/>
                  </a:ln>
                  <a:solidFill>
                    <a:srgbClr val="F0F0F0"/>
                  </a:solidFill>
                  <a:effectLst/>
                  <a:uLnTx/>
                  <a:uFillTx/>
                  <a:latin typeface="Arial"/>
                  <a:cs typeface="+mn-ea"/>
                  <a:sym typeface="+mn-lt"/>
                </a:rPr>
                <a:t>Insert Text</a:t>
              </a:r>
            </a:p>
          </p:txBody>
        </p:sp>
      </p:grpSp>
      <p:grpSp>
        <p:nvGrpSpPr>
          <p:cNvPr id="47" name="Group 39">
            <a:extLst>
              <a:ext uri="{FF2B5EF4-FFF2-40B4-BE49-F238E27FC236}">
                <a16:creationId xmlns:a16="http://schemas.microsoft.com/office/drawing/2014/main" id="{590F2652-718A-476D-9FE9-7E3BC46DC97F}"/>
              </a:ext>
            </a:extLst>
          </p:cNvPr>
          <p:cNvGrpSpPr/>
          <p:nvPr/>
        </p:nvGrpSpPr>
        <p:grpSpPr>
          <a:xfrm>
            <a:off x="3340628" y="4716986"/>
            <a:ext cx="1321859" cy="488950"/>
            <a:chOff x="2505471" y="4129087"/>
            <a:chExt cx="991394" cy="366713"/>
          </a:xfrm>
        </p:grpSpPr>
        <p:sp>
          <p:nvSpPr>
            <p:cNvPr id="48" name="Rounded Rectangle 40">
              <a:extLst>
                <a:ext uri="{FF2B5EF4-FFF2-40B4-BE49-F238E27FC236}">
                  <a16:creationId xmlns:a16="http://schemas.microsoft.com/office/drawing/2014/main" id="{DAD262C0-5144-4847-BF90-44157421F72E}"/>
                </a:ext>
              </a:extLst>
            </p:cNvPr>
            <p:cNvSpPr/>
            <p:nvPr/>
          </p:nvSpPr>
          <p:spPr>
            <a:xfrm>
              <a:off x="2505471" y="4129087"/>
              <a:ext cx="991394" cy="366713"/>
            </a:xfrm>
            <a:prstGeom prst="roundRect">
              <a:avLst/>
            </a:prstGeom>
            <a:solidFill>
              <a:schemeClr val="accent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2400" b="0" i="0" u="none" strike="noStrike" kern="1200" cap="none" spc="0" normalizeH="0" baseline="0" noProof="0">
                <a:ln>
                  <a:noFill/>
                </a:ln>
                <a:solidFill>
                  <a:srgbClr val="FFFFFF"/>
                </a:solidFill>
                <a:effectLst/>
                <a:uLnTx/>
                <a:uFillTx/>
                <a:latin typeface="Arial"/>
                <a:cs typeface="+mn-ea"/>
                <a:sym typeface="+mn-lt"/>
              </a:endParaRPr>
            </a:p>
          </p:txBody>
        </p:sp>
        <p:sp>
          <p:nvSpPr>
            <p:cNvPr id="49" name="TextBox 41">
              <a:extLst>
                <a:ext uri="{FF2B5EF4-FFF2-40B4-BE49-F238E27FC236}">
                  <a16:creationId xmlns:a16="http://schemas.microsoft.com/office/drawing/2014/main" id="{BEC81E79-4143-4079-8208-104EC16BD526}"/>
                </a:ext>
              </a:extLst>
            </p:cNvPr>
            <p:cNvSpPr txBox="1"/>
            <p:nvPr/>
          </p:nvSpPr>
          <p:spPr>
            <a:xfrm>
              <a:off x="2569143" y="4174063"/>
              <a:ext cx="847204" cy="25391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d-ID" sz="1600" b="0" i="0" u="none" strike="noStrike" kern="1200" cap="none" spc="0" normalizeH="0" baseline="0" noProof="0" dirty="0">
                  <a:ln>
                    <a:noFill/>
                  </a:ln>
                  <a:solidFill>
                    <a:srgbClr val="F0F0F0"/>
                  </a:solidFill>
                  <a:effectLst/>
                  <a:uLnTx/>
                  <a:uFillTx/>
                  <a:latin typeface="Arial"/>
                  <a:cs typeface="+mn-ea"/>
                  <a:sym typeface="+mn-lt"/>
                </a:rPr>
                <a:t>Insert Text</a:t>
              </a:r>
            </a:p>
          </p:txBody>
        </p:sp>
      </p:grpSp>
      <p:grpSp>
        <p:nvGrpSpPr>
          <p:cNvPr id="50" name="Group 42">
            <a:extLst>
              <a:ext uri="{FF2B5EF4-FFF2-40B4-BE49-F238E27FC236}">
                <a16:creationId xmlns:a16="http://schemas.microsoft.com/office/drawing/2014/main" id="{21259239-1741-45A3-9A6D-4EB8BECB9692}"/>
              </a:ext>
            </a:extLst>
          </p:cNvPr>
          <p:cNvGrpSpPr/>
          <p:nvPr/>
        </p:nvGrpSpPr>
        <p:grpSpPr>
          <a:xfrm>
            <a:off x="3340628" y="1727726"/>
            <a:ext cx="1321859" cy="488950"/>
            <a:chOff x="2505471" y="1887141"/>
            <a:chExt cx="991394" cy="366713"/>
          </a:xfrm>
        </p:grpSpPr>
        <p:sp>
          <p:nvSpPr>
            <p:cNvPr id="51" name="Rounded Rectangle 43">
              <a:extLst>
                <a:ext uri="{FF2B5EF4-FFF2-40B4-BE49-F238E27FC236}">
                  <a16:creationId xmlns:a16="http://schemas.microsoft.com/office/drawing/2014/main" id="{1C4D9CF5-928F-4FC6-AFA3-F6DF0B90AEE5}"/>
                </a:ext>
              </a:extLst>
            </p:cNvPr>
            <p:cNvSpPr/>
            <p:nvPr/>
          </p:nvSpPr>
          <p:spPr>
            <a:xfrm>
              <a:off x="2505471" y="1887141"/>
              <a:ext cx="991394" cy="366713"/>
            </a:xfrm>
            <a:prstGeom prst="roundRect">
              <a:avLst/>
            </a:prstGeom>
            <a:solidFill>
              <a:schemeClr val="accent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2400" b="0" i="0" u="none" strike="noStrike" kern="1200" cap="none" spc="0" normalizeH="0" baseline="0" noProof="0">
                <a:ln>
                  <a:noFill/>
                </a:ln>
                <a:solidFill>
                  <a:srgbClr val="FFFFFF"/>
                </a:solidFill>
                <a:effectLst/>
                <a:uLnTx/>
                <a:uFillTx/>
                <a:latin typeface="Arial"/>
                <a:cs typeface="+mn-ea"/>
                <a:sym typeface="+mn-lt"/>
              </a:endParaRPr>
            </a:p>
          </p:txBody>
        </p:sp>
        <p:sp>
          <p:nvSpPr>
            <p:cNvPr id="52" name="TextBox 44">
              <a:extLst>
                <a:ext uri="{FF2B5EF4-FFF2-40B4-BE49-F238E27FC236}">
                  <a16:creationId xmlns:a16="http://schemas.microsoft.com/office/drawing/2014/main" id="{812E8E9F-409A-4031-A58D-81CE7D235B74}"/>
                </a:ext>
              </a:extLst>
            </p:cNvPr>
            <p:cNvSpPr txBox="1"/>
            <p:nvPr/>
          </p:nvSpPr>
          <p:spPr>
            <a:xfrm>
              <a:off x="2569143" y="1935129"/>
              <a:ext cx="847204" cy="25391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d-ID" sz="1600" b="0" i="0" u="none" strike="noStrike" kern="1200" cap="none" spc="0" normalizeH="0" baseline="0" noProof="0" dirty="0">
                  <a:ln>
                    <a:noFill/>
                  </a:ln>
                  <a:solidFill>
                    <a:srgbClr val="F0F0F0"/>
                  </a:solidFill>
                  <a:effectLst/>
                  <a:uLnTx/>
                  <a:uFillTx/>
                  <a:latin typeface="Arial"/>
                  <a:cs typeface="+mn-ea"/>
                  <a:sym typeface="+mn-lt"/>
                </a:rPr>
                <a:t>Insert Text</a:t>
              </a:r>
            </a:p>
          </p:txBody>
        </p:sp>
      </p:grpSp>
      <p:grpSp>
        <p:nvGrpSpPr>
          <p:cNvPr id="53" name="Group 45">
            <a:extLst>
              <a:ext uri="{FF2B5EF4-FFF2-40B4-BE49-F238E27FC236}">
                <a16:creationId xmlns:a16="http://schemas.microsoft.com/office/drawing/2014/main" id="{92D961CC-669F-45F9-B615-BA65D1AF36A6}"/>
              </a:ext>
            </a:extLst>
          </p:cNvPr>
          <p:cNvGrpSpPr/>
          <p:nvPr/>
        </p:nvGrpSpPr>
        <p:grpSpPr>
          <a:xfrm>
            <a:off x="5057244" y="4869394"/>
            <a:ext cx="1321858" cy="488951"/>
            <a:chOff x="3792933" y="4243387"/>
            <a:chExt cx="991394" cy="366713"/>
          </a:xfrm>
        </p:grpSpPr>
        <p:sp>
          <p:nvSpPr>
            <p:cNvPr id="54" name="Rounded Rectangle 46">
              <a:extLst>
                <a:ext uri="{FF2B5EF4-FFF2-40B4-BE49-F238E27FC236}">
                  <a16:creationId xmlns:a16="http://schemas.microsoft.com/office/drawing/2014/main" id="{0EDA843B-E733-4102-9CCA-1446C5FAC3F9}"/>
                </a:ext>
              </a:extLst>
            </p:cNvPr>
            <p:cNvSpPr/>
            <p:nvPr/>
          </p:nvSpPr>
          <p:spPr>
            <a:xfrm>
              <a:off x="3792933" y="4243387"/>
              <a:ext cx="991394" cy="366713"/>
            </a:xfrm>
            <a:prstGeom prst="roundRect">
              <a:avLst/>
            </a:prstGeom>
            <a:solidFill>
              <a:schemeClr val="accent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2400" b="0" i="0" u="none" strike="noStrike" kern="1200" cap="none" spc="0" normalizeH="0" baseline="0" noProof="0">
                <a:ln>
                  <a:noFill/>
                </a:ln>
                <a:solidFill>
                  <a:srgbClr val="FFFFFF"/>
                </a:solidFill>
                <a:effectLst/>
                <a:uLnTx/>
                <a:uFillTx/>
                <a:latin typeface="Arial"/>
                <a:cs typeface="+mn-ea"/>
                <a:sym typeface="+mn-lt"/>
              </a:endParaRPr>
            </a:p>
          </p:txBody>
        </p:sp>
        <p:sp>
          <p:nvSpPr>
            <p:cNvPr id="55" name="TextBox 47">
              <a:extLst>
                <a:ext uri="{FF2B5EF4-FFF2-40B4-BE49-F238E27FC236}">
                  <a16:creationId xmlns:a16="http://schemas.microsoft.com/office/drawing/2014/main" id="{4CF120BF-593A-46D0-932F-84F0B4D1FBA2}"/>
                </a:ext>
              </a:extLst>
            </p:cNvPr>
            <p:cNvSpPr txBox="1"/>
            <p:nvPr/>
          </p:nvSpPr>
          <p:spPr>
            <a:xfrm>
              <a:off x="3863660" y="4283790"/>
              <a:ext cx="847204" cy="25391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d-ID" sz="1600" b="0" i="0" u="none" strike="noStrike" kern="1200" cap="none" spc="0" normalizeH="0" baseline="0" noProof="0" dirty="0">
                  <a:ln>
                    <a:noFill/>
                  </a:ln>
                  <a:solidFill>
                    <a:srgbClr val="F0F0F0"/>
                  </a:solidFill>
                  <a:effectLst/>
                  <a:uLnTx/>
                  <a:uFillTx/>
                  <a:latin typeface="Arial"/>
                  <a:cs typeface="+mn-ea"/>
                  <a:sym typeface="+mn-lt"/>
                </a:rPr>
                <a:t>Insert Text</a:t>
              </a:r>
            </a:p>
          </p:txBody>
        </p:sp>
      </p:grpSp>
      <p:grpSp>
        <p:nvGrpSpPr>
          <p:cNvPr id="56" name="Group 48">
            <a:extLst>
              <a:ext uri="{FF2B5EF4-FFF2-40B4-BE49-F238E27FC236}">
                <a16:creationId xmlns:a16="http://schemas.microsoft.com/office/drawing/2014/main" id="{CE8D33C4-A6B2-46E0-973D-DAAABC3709AD}"/>
              </a:ext>
            </a:extLst>
          </p:cNvPr>
          <p:cNvGrpSpPr/>
          <p:nvPr/>
        </p:nvGrpSpPr>
        <p:grpSpPr>
          <a:xfrm>
            <a:off x="5057243" y="1562630"/>
            <a:ext cx="1321858" cy="488951"/>
            <a:chOff x="3792933" y="1763316"/>
            <a:chExt cx="991394" cy="366713"/>
          </a:xfrm>
        </p:grpSpPr>
        <p:sp>
          <p:nvSpPr>
            <p:cNvPr id="57" name="Rounded Rectangle 49">
              <a:extLst>
                <a:ext uri="{FF2B5EF4-FFF2-40B4-BE49-F238E27FC236}">
                  <a16:creationId xmlns:a16="http://schemas.microsoft.com/office/drawing/2014/main" id="{42D1198D-85EF-431A-9C8D-E8E694496814}"/>
                </a:ext>
              </a:extLst>
            </p:cNvPr>
            <p:cNvSpPr/>
            <p:nvPr/>
          </p:nvSpPr>
          <p:spPr>
            <a:xfrm>
              <a:off x="3792933" y="1763316"/>
              <a:ext cx="991394" cy="366713"/>
            </a:xfrm>
            <a:prstGeom prst="roundRect">
              <a:avLst/>
            </a:prstGeom>
            <a:solidFill>
              <a:schemeClr val="accent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2400" b="0" i="0" u="none" strike="noStrike" kern="1200" cap="none" spc="0" normalizeH="0" baseline="0" noProof="0">
                <a:ln>
                  <a:noFill/>
                </a:ln>
                <a:solidFill>
                  <a:srgbClr val="FFFFFF"/>
                </a:solidFill>
                <a:effectLst/>
                <a:uLnTx/>
                <a:uFillTx/>
                <a:latin typeface="Arial"/>
                <a:cs typeface="+mn-ea"/>
                <a:sym typeface="+mn-lt"/>
              </a:endParaRPr>
            </a:p>
          </p:txBody>
        </p:sp>
        <p:sp>
          <p:nvSpPr>
            <p:cNvPr id="58" name="TextBox 50">
              <a:extLst>
                <a:ext uri="{FF2B5EF4-FFF2-40B4-BE49-F238E27FC236}">
                  <a16:creationId xmlns:a16="http://schemas.microsoft.com/office/drawing/2014/main" id="{C307D394-2FED-4AF1-9FF5-9C6F44A9D071}"/>
                </a:ext>
              </a:extLst>
            </p:cNvPr>
            <p:cNvSpPr txBox="1"/>
            <p:nvPr/>
          </p:nvSpPr>
          <p:spPr>
            <a:xfrm>
              <a:off x="3854135" y="1816256"/>
              <a:ext cx="847204" cy="25391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d-ID" sz="1600" b="0" i="0" u="none" strike="noStrike" kern="1200" cap="none" spc="0" normalizeH="0" baseline="0" noProof="0" dirty="0">
                  <a:ln>
                    <a:noFill/>
                  </a:ln>
                  <a:solidFill>
                    <a:srgbClr val="F0F0F0"/>
                  </a:solidFill>
                  <a:effectLst/>
                  <a:uLnTx/>
                  <a:uFillTx/>
                  <a:latin typeface="Arial"/>
                  <a:cs typeface="+mn-ea"/>
                  <a:sym typeface="+mn-lt"/>
                </a:rPr>
                <a:t>Insert Text</a:t>
              </a:r>
            </a:p>
          </p:txBody>
        </p:sp>
      </p:grpSp>
      <p:grpSp>
        <p:nvGrpSpPr>
          <p:cNvPr id="59" name="Group 51">
            <a:extLst>
              <a:ext uri="{FF2B5EF4-FFF2-40B4-BE49-F238E27FC236}">
                <a16:creationId xmlns:a16="http://schemas.microsoft.com/office/drawing/2014/main" id="{9AB286B4-6057-4B87-BB09-B6A2960D8430}"/>
              </a:ext>
            </a:extLst>
          </p:cNvPr>
          <p:cNvGrpSpPr/>
          <p:nvPr/>
        </p:nvGrpSpPr>
        <p:grpSpPr>
          <a:xfrm>
            <a:off x="6784442" y="5011207"/>
            <a:ext cx="1321858" cy="488951"/>
            <a:chOff x="5088333" y="4349750"/>
            <a:chExt cx="991394" cy="366713"/>
          </a:xfrm>
        </p:grpSpPr>
        <p:sp>
          <p:nvSpPr>
            <p:cNvPr id="60" name="Rounded Rectangle 52">
              <a:extLst>
                <a:ext uri="{FF2B5EF4-FFF2-40B4-BE49-F238E27FC236}">
                  <a16:creationId xmlns:a16="http://schemas.microsoft.com/office/drawing/2014/main" id="{9368C4FA-AD68-4073-8C7E-6AC85BDAEB51}"/>
                </a:ext>
              </a:extLst>
            </p:cNvPr>
            <p:cNvSpPr/>
            <p:nvPr/>
          </p:nvSpPr>
          <p:spPr>
            <a:xfrm>
              <a:off x="5088333" y="4349750"/>
              <a:ext cx="991394" cy="366713"/>
            </a:xfrm>
            <a:prstGeom prst="roundRect">
              <a:avLst/>
            </a:prstGeom>
            <a:solidFill>
              <a:schemeClr val="accent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2400" b="0" i="0" u="none" strike="noStrike" kern="1200" cap="none" spc="0" normalizeH="0" baseline="0" noProof="0">
                <a:ln>
                  <a:noFill/>
                </a:ln>
                <a:solidFill>
                  <a:srgbClr val="FFFFFF"/>
                </a:solidFill>
                <a:effectLst/>
                <a:uLnTx/>
                <a:uFillTx/>
                <a:latin typeface="Arial"/>
                <a:cs typeface="+mn-ea"/>
                <a:sym typeface="+mn-lt"/>
              </a:endParaRPr>
            </a:p>
          </p:txBody>
        </p:sp>
        <p:sp>
          <p:nvSpPr>
            <p:cNvPr id="61" name="TextBox 53">
              <a:extLst>
                <a:ext uri="{FF2B5EF4-FFF2-40B4-BE49-F238E27FC236}">
                  <a16:creationId xmlns:a16="http://schemas.microsoft.com/office/drawing/2014/main" id="{7E6D7CC6-ED36-468E-8F47-8C28C90EA6DA}"/>
                </a:ext>
              </a:extLst>
            </p:cNvPr>
            <p:cNvSpPr txBox="1"/>
            <p:nvPr/>
          </p:nvSpPr>
          <p:spPr>
            <a:xfrm>
              <a:off x="5149535" y="4388565"/>
              <a:ext cx="847204" cy="25391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d-ID" sz="1600" b="0" i="0" u="none" strike="noStrike" kern="1200" cap="none" spc="0" normalizeH="0" baseline="0" noProof="0" dirty="0">
                  <a:ln>
                    <a:noFill/>
                  </a:ln>
                  <a:solidFill>
                    <a:srgbClr val="F0F0F0"/>
                  </a:solidFill>
                  <a:effectLst/>
                  <a:uLnTx/>
                  <a:uFillTx/>
                  <a:latin typeface="Arial"/>
                  <a:cs typeface="+mn-ea"/>
                  <a:sym typeface="+mn-lt"/>
                </a:rPr>
                <a:t>Insert Text</a:t>
              </a:r>
            </a:p>
          </p:txBody>
        </p:sp>
      </p:grpSp>
      <p:grpSp>
        <p:nvGrpSpPr>
          <p:cNvPr id="62" name="Group 54">
            <a:extLst>
              <a:ext uri="{FF2B5EF4-FFF2-40B4-BE49-F238E27FC236}">
                <a16:creationId xmlns:a16="http://schemas.microsoft.com/office/drawing/2014/main" id="{0D734280-E33A-40EF-8DE7-428E560F0B3C}"/>
              </a:ext>
            </a:extLst>
          </p:cNvPr>
          <p:cNvGrpSpPr/>
          <p:nvPr/>
        </p:nvGrpSpPr>
        <p:grpSpPr>
          <a:xfrm>
            <a:off x="6784443" y="1357841"/>
            <a:ext cx="1321858" cy="488951"/>
            <a:chOff x="5088333" y="1609725"/>
            <a:chExt cx="991394" cy="366713"/>
          </a:xfrm>
        </p:grpSpPr>
        <p:sp>
          <p:nvSpPr>
            <p:cNvPr id="63" name="Rounded Rectangle 55">
              <a:extLst>
                <a:ext uri="{FF2B5EF4-FFF2-40B4-BE49-F238E27FC236}">
                  <a16:creationId xmlns:a16="http://schemas.microsoft.com/office/drawing/2014/main" id="{22393E1E-F41B-4D42-8542-A08E18BBC38E}"/>
                </a:ext>
              </a:extLst>
            </p:cNvPr>
            <p:cNvSpPr/>
            <p:nvPr/>
          </p:nvSpPr>
          <p:spPr>
            <a:xfrm>
              <a:off x="5088333" y="1609725"/>
              <a:ext cx="991394" cy="366713"/>
            </a:xfrm>
            <a:prstGeom prst="roundRect">
              <a:avLst/>
            </a:prstGeom>
            <a:solidFill>
              <a:schemeClr val="accent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2400" b="0" i="0" u="none" strike="noStrike" kern="1200" cap="none" spc="0" normalizeH="0" baseline="0" noProof="0">
                <a:ln>
                  <a:noFill/>
                </a:ln>
                <a:solidFill>
                  <a:srgbClr val="FFFFFF"/>
                </a:solidFill>
                <a:effectLst/>
                <a:uLnTx/>
                <a:uFillTx/>
                <a:latin typeface="Arial"/>
                <a:cs typeface="+mn-ea"/>
                <a:sym typeface="+mn-lt"/>
              </a:endParaRPr>
            </a:p>
          </p:txBody>
        </p:sp>
        <p:sp>
          <p:nvSpPr>
            <p:cNvPr id="64" name="TextBox 56">
              <a:extLst>
                <a:ext uri="{FF2B5EF4-FFF2-40B4-BE49-F238E27FC236}">
                  <a16:creationId xmlns:a16="http://schemas.microsoft.com/office/drawing/2014/main" id="{F3511061-3968-496B-8612-F77793169468}"/>
                </a:ext>
              </a:extLst>
            </p:cNvPr>
            <p:cNvSpPr txBox="1"/>
            <p:nvPr/>
          </p:nvSpPr>
          <p:spPr>
            <a:xfrm>
              <a:off x="5140010" y="1654331"/>
              <a:ext cx="847204" cy="25391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d-ID" sz="1600" b="0" i="0" u="none" strike="noStrike" kern="1200" cap="none" spc="0" normalizeH="0" baseline="0" noProof="0" dirty="0">
                  <a:ln>
                    <a:noFill/>
                  </a:ln>
                  <a:solidFill>
                    <a:srgbClr val="F0F0F0"/>
                  </a:solidFill>
                  <a:effectLst/>
                  <a:uLnTx/>
                  <a:uFillTx/>
                  <a:latin typeface="Arial"/>
                  <a:cs typeface="+mn-ea"/>
                  <a:sym typeface="+mn-lt"/>
                </a:rPr>
                <a:t>Insert Text</a:t>
              </a:r>
            </a:p>
          </p:txBody>
        </p:sp>
      </p:grpSp>
    </p:spTree>
    <p:extLst>
      <p:ext uri="{BB962C8B-B14F-4D97-AF65-F5344CB8AC3E}">
        <p14:creationId xmlns:p14="http://schemas.microsoft.com/office/powerpoint/2010/main" val="514843628"/>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6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îṥ1íḋê">
            <a:extLst>
              <a:ext uri="{FF2B5EF4-FFF2-40B4-BE49-F238E27FC236}">
                <a16:creationId xmlns:a16="http://schemas.microsoft.com/office/drawing/2014/main" id="{6D497399-F424-4540-8D67-538E9FE34F1F}"/>
              </a:ext>
            </a:extLst>
          </p:cNvPr>
          <p:cNvSpPr/>
          <p:nvPr/>
        </p:nvSpPr>
        <p:spPr>
          <a:xfrm>
            <a:off x="671265" y="1375266"/>
            <a:ext cx="10849471" cy="4731656"/>
          </a:xfrm>
          <a:prstGeom prst="rightArrow">
            <a:avLst>
              <a:gd name="adj1" fmla="val 72347"/>
              <a:gd name="adj2" fmla="val 46463"/>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FFFF"/>
              </a:solidFill>
              <a:effectLst/>
              <a:uLnTx/>
              <a:uFillTx/>
              <a:latin typeface="Arial"/>
              <a:cs typeface="+mn-ea"/>
              <a:sym typeface="+mn-lt"/>
            </a:endParaRPr>
          </a:p>
        </p:txBody>
      </p:sp>
      <p:sp>
        <p:nvSpPr>
          <p:cNvPr id="44" name="ïS1îḓê">
            <a:extLst>
              <a:ext uri="{FF2B5EF4-FFF2-40B4-BE49-F238E27FC236}">
                <a16:creationId xmlns:a16="http://schemas.microsoft.com/office/drawing/2014/main" id="{596EB9A2-A5D3-42CF-8EFA-049419CA3D43}"/>
              </a:ext>
            </a:extLst>
          </p:cNvPr>
          <p:cNvSpPr/>
          <p:nvPr/>
        </p:nvSpPr>
        <p:spPr>
          <a:xfrm flipH="1">
            <a:off x="1860565" y="2108651"/>
            <a:ext cx="1589987" cy="590292"/>
          </a:xfrm>
          <a:prstGeom prst="parallelogram">
            <a:avLst>
              <a:gd name="adj" fmla="val 69357"/>
            </a:avLst>
          </a:prstGeom>
          <a:solidFill>
            <a:schemeClr val="accent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a:cs typeface="+mn-ea"/>
              <a:sym typeface="+mn-lt"/>
            </a:endParaRPr>
          </a:p>
        </p:txBody>
      </p:sp>
      <p:sp>
        <p:nvSpPr>
          <p:cNvPr id="45" name="îṣľïḓê">
            <a:extLst>
              <a:ext uri="{FF2B5EF4-FFF2-40B4-BE49-F238E27FC236}">
                <a16:creationId xmlns:a16="http://schemas.microsoft.com/office/drawing/2014/main" id="{DA8CD0DA-7D2A-4159-8809-1235E1B462D8}"/>
              </a:ext>
            </a:extLst>
          </p:cNvPr>
          <p:cNvSpPr/>
          <p:nvPr/>
        </p:nvSpPr>
        <p:spPr>
          <a:xfrm flipH="1">
            <a:off x="4375866" y="2108651"/>
            <a:ext cx="1589987" cy="590292"/>
          </a:xfrm>
          <a:prstGeom prst="parallelogram">
            <a:avLst>
              <a:gd name="adj" fmla="val 66188"/>
            </a:avLst>
          </a:prstGeom>
          <a:solidFill>
            <a:schemeClr val="accent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a:cs typeface="+mn-ea"/>
              <a:sym typeface="+mn-lt"/>
            </a:endParaRPr>
          </a:p>
        </p:txBody>
      </p:sp>
      <p:sp>
        <p:nvSpPr>
          <p:cNvPr id="46" name="îṣlíďe">
            <a:extLst>
              <a:ext uri="{FF2B5EF4-FFF2-40B4-BE49-F238E27FC236}">
                <a16:creationId xmlns:a16="http://schemas.microsoft.com/office/drawing/2014/main" id="{3ADAA5D4-C567-4F74-B067-0EAFB394DD5B}"/>
              </a:ext>
            </a:extLst>
          </p:cNvPr>
          <p:cNvSpPr/>
          <p:nvPr/>
        </p:nvSpPr>
        <p:spPr>
          <a:xfrm flipH="1">
            <a:off x="7009731" y="2108651"/>
            <a:ext cx="1589987" cy="590292"/>
          </a:xfrm>
          <a:prstGeom prst="parallelogram">
            <a:avLst>
              <a:gd name="adj" fmla="val 69357"/>
            </a:avLst>
          </a:prstGeom>
          <a:solidFill>
            <a:schemeClr val="accent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a:cs typeface="+mn-ea"/>
              <a:sym typeface="+mn-lt"/>
            </a:endParaRPr>
          </a:p>
        </p:txBody>
      </p:sp>
      <p:sp>
        <p:nvSpPr>
          <p:cNvPr id="47" name="íṩ1ide">
            <a:extLst>
              <a:ext uri="{FF2B5EF4-FFF2-40B4-BE49-F238E27FC236}">
                <a16:creationId xmlns:a16="http://schemas.microsoft.com/office/drawing/2014/main" id="{46C5A918-A72A-45E5-AB13-5C442BC9EFD4}"/>
              </a:ext>
            </a:extLst>
          </p:cNvPr>
          <p:cNvSpPr/>
          <p:nvPr/>
        </p:nvSpPr>
        <p:spPr>
          <a:xfrm flipH="1" flipV="1">
            <a:off x="1860565" y="4740783"/>
            <a:ext cx="1589987" cy="590292"/>
          </a:xfrm>
          <a:prstGeom prst="parallelogram">
            <a:avLst>
              <a:gd name="adj" fmla="val 69357"/>
            </a:avLst>
          </a:prstGeom>
          <a:solidFill>
            <a:schemeClr val="accent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a:cs typeface="+mn-ea"/>
              <a:sym typeface="+mn-lt"/>
            </a:endParaRPr>
          </a:p>
        </p:txBody>
      </p:sp>
      <p:sp>
        <p:nvSpPr>
          <p:cNvPr id="48" name="î$ḻíďe">
            <a:extLst>
              <a:ext uri="{FF2B5EF4-FFF2-40B4-BE49-F238E27FC236}">
                <a16:creationId xmlns:a16="http://schemas.microsoft.com/office/drawing/2014/main" id="{741D8B36-5B12-4CB4-BEBF-B9A184E48A76}"/>
              </a:ext>
            </a:extLst>
          </p:cNvPr>
          <p:cNvSpPr/>
          <p:nvPr/>
        </p:nvSpPr>
        <p:spPr>
          <a:xfrm flipH="1" flipV="1">
            <a:off x="4375866" y="4740783"/>
            <a:ext cx="1589987" cy="590292"/>
          </a:xfrm>
          <a:prstGeom prst="parallelogram">
            <a:avLst>
              <a:gd name="adj" fmla="val 66188"/>
            </a:avLst>
          </a:prstGeom>
          <a:solidFill>
            <a:schemeClr val="accent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a:cs typeface="+mn-ea"/>
              <a:sym typeface="+mn-lt"/>
            </a:endParaRPr>
          </a:p>
        </p:txBody>
      </p:sp>
      <p:sp>
        <p:nvSpPr>
          <p:cNvPr id="49" name="iṡḻîḓé">
            <a:extLst>
              <a:ext uri="{FF2B5EF4-FFF2-40B4-BE49-F238E27FC236}">
                <a16:creationId xmlns:a16="http://schemas.microsoft.com/office/drawing/2014/main" id="{A821DFEC-3FAD-4F4B-B0A6-710E7C45AE8A}"/>
              </a:ext>
            </a:extLst>
          </p:cNvPr>
          <p:cNvSpPr/>
          <p:nvPr/>
        </p:nvSpPr>
        <p:spPr>
          <a:xfrm flipH="1" flipV="1">
            <a:off x="7009731" y="4740783"/>
            <a:ext cx="1589987" cy="590292"/>
          </a:xfrm>
          <a:prstGeom prst="parallelogram">
            <a:avLst>
              <a:gd name="adj" fmla="val 69357"/>
            </a:avLst>
          </a:prstGeom>
          <a:solidFill>
            <a:schemeClr val="accent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a:cs typeface="+mn-ea"/>
              <a:sym typeface="+mn-lt"/>
            </a:endParaRPr>
          </a:p>
        </p:txBody>
      </p:sp>
      <p:sp>
        <p:nvSpPr>
          <p:cNvPr id="50" name="iśḷîdé">
            <a:extLst>
              <a:ext uri="{FF2B5EF4-FFF2-40B4-BE49-F238E27FC236}">
                <a16:creationId xmlns:a16="http://schemas.microsoft.com/office/drawing/2014/main" id="{B27DC151-C190-408B-B457-4A4E88D54F52}"/>
              </a:ext>
            </a:extLst>
          </p:cNvPr>
          <p:cNvSpPr txBox="1"/>
          <p:nvPr/>
        </p:nvSpPr>
        <p:spPr>
          <a:xfrm>
            <a:off x="1922198" y="1560854"/>
            <a:ext cx="1850400" cy="458270"/>
          </a:xfrm>
          <a:prstGeom prst="rect">
            <a:avLst/>
          </a:prstGeom>
          <a:noFill/>
        </p:spPr>
        <p:txBody>
          <a:bodyPr wrap="none" anchor="ctr">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600" b="1" i="0" u="none" strike="noStrike" kern="1200" cap="none" spc="0" normalizeH="0" baseline="0" noProof="0">
                <a:ln>
                  <a:noFill/>
                </a:ln>
                <a:solidFill>
                  <a:srgbClr val="000000"/>
                </a:solidFill>
                <a:effectLst/>
                <a:uLnTx/>
                <a:uFillTx/>
                <a:latin typeface="Arial"/>
                <a:cs typeface="+mn-ea"/>
                <a:sym typeface="+mn-lt"/>
              </a:rPr>
              <a:t>Tex</a:t>
            </a:r>
            <a:r>
              <a:rPr kumimoji="0" lang="en-US" altLang="zh-CN" sz="100" b="1" i="0" u="none" strike="noStrike" kern="1200" cap="none" spc="0" normalizeH="0" baseline="0" noProof="0">
                <a:ln>
                  <a:noFill/>
                </a:ln>
                <a:solidFill>
                  <a:srgbClr val="000000"/>
                </a:solidFill>
                <a:effectLst/>
                <a:uLnTx/>
                <a:uFillTx/>
                <a:latin typeface="Arial"/>
                <a:cs typeface="+mn-ea"/>
                <a:sym typeface="+mn-lt"/>
              </a:rPr>
              <a:t> </a:t>
            </a:r>
            <a:r>
              <a:rPr kumimoji="0" lang="en-US" altLang="zh-CN" sz="1600" b="1" i="0" u="none" strike="noStrike" kern="1200" cap="none" spc="0" normalizeH="0" baseline="0" noProof="0">
                <a:ln>
                  <a:noFill/>
                </a:ln>
                <a:solidFill>
                  <a:srgbClr val="000000"/>
                </a:solidFill>
                <a:effectLst/>
                <a:uLnTx/>
                <a:uFillTx/>
                <a:latin typeface="Arial"/>
                <a:cs typeface="+mn-ea"/>
                <a:sym typeface="+mn-lt"/>
              </a:rPr>
              <a:t>t </a:t>
            </a:r>
            <a:r>
              <a:rPr kumimoji="0" lang="en-US" altLang="zh-CN" sz="1600" b="1" i="0" u="none" strike="noStrike" kern="1200" cap="none" spc="0" normalizeH="0" baseline="0" noProof="0" dirty="0">
                <a:ln>
                  <a:noFill/>
                </a:ln>
                <a:solidFill>
                  <a:srgbClr val="000000"/>
                </a:solidFill>
                <a:effectLst/>
                <a:uLnTx/>
                <a:uFillTx/>
                <a:latin typeface="Arial"/>
                <a:cs typeface="+mn-ea"/>
                <a:sym typeface="+mn-lt"/>
              </a:rPr>
              <a:t>here</a:t>
            </a:r>
            <a:endParaRPr kumimoji="0" lang="zh-CN" altLang="en-US" sz="1600" b="1" i="0" u="none" strike="noStrike" kern="1200" cap="none" spc="0" normalizeH="0" baseline="0" noProof="0" dirty="0">
              <a:ln>
                <a:noFill/>
              </a:ln>
              <a:solidFill>
                <a:srgbClr val="000000"/>
              </a:solidFill>
              <a:effectLst/>
              <a:uLnTx/>
              <a:uFillTx/>
              <a:latin typeface="Arial"/>
              <a:cs typeface="+mn-ea"/>
              <a:sym typeface="+mn-lt"/>
            </a:endParaRPr>
          </a:p>
        </p:txBody>
      </p:sp>
      <p:sp>
        <p:nvSpPr>
          <p:cNvPr id="51" name="is1ïdê">
            <a:extLst>
              <a:ext uri="{FF2B5EF4-FFF2-40B4-BE49-F238E27FC236}">
                <a16:creationId xmlns:a16="http://schemas.microsoft.com/office/drawing/2014/main" id="{51708AA4-3861-4D89-B95D-161CBF455180}"/>
              </a:ext>
            </a:extLst>
          </p:cNvPr>
          <p:cNvSpPr txBox="1"/>
          <p:nvPr/>
        </p:nvSpPr>
        <p:spPr>
          <a:xfrm>
            <a:off x="1912869" y="5404052"/>
            <a:ext cx="1850400" cy="458270"/>
          </a:xfrm>
          <a:prstGeom prst="rect">
            <a:avLst/>
          </a:prstGeom>
          <a:noFill/>
        </p:spPr>
        <p:txBody>
          <a:bodyPr wrap="none" anchor="ctr">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600" b="1" i="0" u="none" strike="noStrike" kern="1200" cap="none" spc="0" normalizeH="0" baseline="0" noProof="0">
                <a:ln>
                  <a:noFill/>
                </a:ln>
                <a:solidFill>
                  <a:srgbClr val="000000"/>
                </a:solidFill>
                <a:effectLst/>
                <a:uLnTx/>
                <a:uFillTx/>
                <a:latin typeface="Arial"/>
                <a:cs typeface="+mn-ea"/>
                <a:sym typeface="+mn-lt"/>
              </a:rPr>
              <a:t>Tex</a:t>
            </a:r>
            <a:r>
              <a:rPr kumimoji="0" lang="en-US" altLang="zh-CN" sz="100" b="1" i="0" u="none" strike="noStrike" kern="1200" cap="none" spc="0" normalizeH="0" baseline="0" noProof="0">
                <a:ln>
                  <a:noFill/>
                </a:ln>
                <a:solidFill>
                  <a:srgbClr val="000000"/>
                </a:solidFill>
                <a:effectLst/>
                <a:uLnTx/>
                <a:uFillTx/>
                <a:latin typeface="Arial"/>
                <a:cs typeface="+mn-ea"/>
                <a:sym typeface="+mn-lt"/>
              </a:rPr>
              <a:t> </a:t>
            </a:r>
            <a:r>
              <a:rPr kumimoji="0" lang="en-US" altLang="zh-CN" sz="1600" b="1" i="0" u="none" strike="noStrike" kern="1200" cap="none" spc="0" normalizeH="0" baseline="0" noProof="0">
                <a:ln>
                  <a:noFill/>
                </a:ln>
                <a:solidFill>
                  <a:srgbClr val="000000"/>
                </a:solidFill>
                <a:effectLst/>
                <a:uLnTx/>
                <a:uFillTx/>
                <a:latin typeface="Arial"/>
                <a:cs typeface="+mn-ea"/>
                <a:sym typeface="+mn-lt"/>
              </a:rPr>
              <a:t>t </a:t>
            </a:r>
            <a:r>
              <a:rPr kumimoji="0" lang="en-US" altLang="zh-CN" sz="1600" b="1" i="0" u="none" strike="noStrike" kern="1200" cap="none" spc="0" normalizeH="0" baseline="0" noProof="0" dirty="0">
                <a:ln>
                  <a:noFill/>
                </a:ln>
                <a:solidFill>
                  <a:srgbClr val="000000"/>
                </a:solidFill>
                <a:effectLst/>
                <a:uLnTx/>
                <a:uFillTx/>
                <a:latin typeface="Arial"/>
                <a:cs typeface="+mn-ea"/>
                <a:sym typeface="+mn-lt"/>
              </a:rPr>
              <a:t>here</a:t>
            </a:r>
            <a:endParaRPr kumimoji="0" lang="zh-CN" altLang="en-US" sz="1600" b="1" i="0" u="none" strike="noStrike" kern="1200" cap="none" spc="0" normalizeH="0" baseline="0" noProof="0" dirty="0">
              <a:ln>
                <a:noFill/>
              </a:ln>
              <a:solidFill>
                <a:srgbClr val="000000"/>
              </a:solidFill>
              <a:effectLst/>
              <a:uLnTx/>
              <a:uFillTx/>
              <a:latin typeface="Arial"/>
              <a:cs typeface="+mn-ea"/>
              <a:sym typeface="+mn-lt"/>
            </a:endParaRPr>
          </a:p>
        </p:txBody>
      </p:sp>
      <p:sp>
        <p:nvSpPr>
          <p:cNvPr id="52" name="iṡḷidê">
            <a:extLst>
              <a:ext uri="{FF2B5EF4-FFF2-40B4-BE49-F238E27FC236}">
                <a16:creationId xmlns:a16="http://schemas.microsoft.com/office/drawing/2014/main" id="{2657E0A6-6633-43EB-AE70-25B49B13A705}"/>
              </a:ext>
            </a:extLst>
          </p:cNvPr>
          <p:cNvSpPr txBox="1"/>
          <p:nvPr/>
        </p:nvSpPr>
        <p:spPr>
          <a:xfrm>
            <a:off x="4394099" y="1551968"/>
            <a:ext cx="1850400" cy="458270"/>
          </a:xfrm>
          <a:prstGeom prst="rect">
            <a:avLst/>
          </a:prstGeom>
          <a:noFill/>
        </p:spPr>
        <p:txBody>
          <a:bodyPr wrap="none" anchor="ctr">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600" b="1" i="0" u="none" strike="noStrike" kern="1200" cap="none" spc="0" normalizeH="0" baseline="0" noProof="0">
                <a:ln>
                  <a:noFill/>
                </a:ln>
                <a:solidFill>
                  <a:srgbClr val="000000"/>
                </a:solidFill>
                <a:effectLst/>
                <a:uLnTx/>
                <a:uFillTx/>
                <a:latin typeface="Arial"/>
                <a:cs typeface="+mn-ea"/>
                <a:sym typeface="+mn-lt"/>
              </a:rPr>
              <a:t>Tex</a:t>
            </a:r>
            <a:r>
              <a:rPr kumimoji="0" lang="en-US" altLang="zh-CN" sz="100" b="1" i="0" u="none" strike="noStrike" kern="1200" cap="none" spc="0" normalizeH="0" baseline="0" noProof="0">
                <a:ln>
                  <a:noFill/>
                </a:ln>
                <a:solidFill>
                  <a:srgbClr val="000000"/>
                </a:solidFill>
                <a:effectLst/>
                <a:uLnTx/>
                <a:uFillTx/>
                <a:latin typeface="Arial"/>
                <a:cs typeface="+mn-ea"/>
                <a:sym typeface="+mn-lt"/>
              </a:rPr>
              <a:t> </a:t>
            </a:r>
            <a:r>
              <a:rPr kumimoji="0" lang="en-US" altLang="zh-CN" sz="1600" b="1" i="0" u="none" strike="noStrike" kern="1200" cap="none" spc="0" normalizeH="0" baseline="0" noProof="0">
                <a:ln>
                  <a:noFill/>
                </a:ln>
                <a:solidFill>
                  <a:srgbClr val="000000"/>
                </a:solidFill>
                <a:effectLst/>
                <a:uLnTx/>
                <a:uFillTx/>
                <a:latin typeface="Arial"/>
                <a:cs typeface="+mn-ea"/>
                <a:sym typeface="+mn-lt"/>
              </a:rPr>
              <a:t>t </a:t>
            </a:r>
            <a:r>
              <a:rPr kumimoji="0" lang="en-US" altLang="zh-CN" sz="1600" b="1" i="0" u="none" strike="noStrike" kern="1200" cap="none" spc="0" normalizeH="0" baseline="0" noProof="0" dirty="0">
                <a:ln>
                  <a:noFill/>
                </a:ln>
                <a:solidFill>
                  <a:srgbClr val="000000"/>
                </a:solidFill>
                <a:effectLst/>
                <a:uLnTx/>
                <a:uFillTx/>
                <a:latin typeface="Arial"/>
                <a:cs typeface="+mn-ea"/>
                <a:sym typeface="+mn-lt"/>
              </a:rPr>
              <a:t>here</a:t>
            </a:r>
            <a:endParaRPr kumimoji="0" lang="zh-CN" altLang="en-US" sz="1600" b="1" i="0" u="none" strike="noStrike" kern="1200" cap="none" spc="0" normalizeH="0" baseline="0" noProof="0" dirty="0">
              <a:ln>
                <a:noFill/>
              </a:ln>
              <a:solidFill>
                <a:srgbClr val="000000"/>
              </a:solidFill>
              <a:effectLst/>
              <a:uLnTx/>
              <a:uFillTx/>
              <a:latin typeface="Arial"/>
              <a:cs typeface="+mn-ea"/>
              <a:sym typeface="+mn-lt"/>
            </a:endParaRPr>
          </a:p>
        </p:txBody>
      </p:sp>
      <p:sp>
        <p:nvSpPr>
          <p:cNvPr id="53" name="ïşḻïďé">
            <a:extLst>
              <a:ext uri="{FF2B5EF4-FFF2-40B4-BE49-F238E27FC236}">
                <a16:creationId xmlns:a16="http://schemas.microsoft.com/office/drawing/2014/main" id="{31E0B340-DF4E-45AA-A3AD-A554C0EE46B6}"/>
              </a:ext>
            </a:extLst>
          </p:cNvPr>
          <p:cNvSpPr txBox="1"/>
          <p:nvPr/>
        </p:nvSpPr>
        <p:spPr>
          <a:xfrm>
            <a:off x="4384770" y="5395166"/>
            <a:ext cx="1850400" cy="458270"/>
          </a:xfrm>
          <a:prstGeom prst="rect">
            <a:avLst/>
          </a:prstGeom>
          <a:noFill/>
        </p:spPr>
        <p:txBody>
          <a:bodyPr wrap="none" anchor="ctr">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600" b="1" i="0" u="none" strike="noStrike" kern="1200" cap="none" spc="0" normalizeH="0" baseline="0" noProof="0">
                <a:ln>
                  <a:noFill/>
                </a:ln>
                <a:solidFill>
                  <a:srgbClr val="000000"/>
                </a:solidFill>
                <a:effectLst/>
                <a:uLnTx/>
                <a:uFillTx/>
                <a:latin typeface="Arial"/>
                <a:cs typeface="+mn-ea"/>
                <a:sym typeface="+mn-lt"/>
              </a:rPr>
              <a:t>Tex</a:t>
            </a:r>
            <a:r>
              <a:rPr kumimoji="0" lang="en-US" altLang="zh-CN" sz="100" b="1" i="0" u="none" strike="noStrike" kern="1200" cap="none" spc="0" normalizeH="0" baseline="0" noProof="0">
                <a:ln>
                  <a:noFill/>
                </a:ln>
                <a:solidFill>
                  <a:srgbClr val="000000"/>
                </a:solidFill>
                <a:effectLst/>
                <a:uLnTx/>
                <a:uFillTx/>
                <a:latin typeface="Arial"/>
                <a:cs typeface="+mn-ea"/>
                <a:sym typeface="+mn-lt"/>
              </a:rPr>
              <a:t> </a:t>
            </a:r>
            <a:r>
              <a:rPr kumimoji="0" lang="en-US" altLang="zh-CN" sz="1600" b="1" i="0" u="none" strike="noStrike" kern="1200" cap="none" spc="0" normalizeH="0" baseline="0" noProof="0">
                <a:ln>
                  <a:noFill/>
                </a:ln>
                <a:solidFill>
                  <a:srgbClr val="000000"/>
                </a:solidFill>
                <a:effectLst/>
                <a:uLnTx/>
                <a:uFillTx/>
                <a:latin typeface="Arial"/>
                <a:cs typeface="+mn-ea"/>
                <a:sym typeface="+mn-lt"/>
              </a:rPr>
              <a:t>t </a:t>
            </a:r>
            <a:r>
              <a:rPr kumimoji="0" lang="en-US" altLang="zh-CN" sz="1600" b="1" i="0" u="none" strike="noStrike" kern="1200" cap="none" spc="0" normalizeH="0" baseline="0" noProof="0" dirty="0">
                <a:ln>
                  <a:noFill/>
                </a:ln>
                <a:solidFill>
                  <a:srgbClr val="000000"/>
                </a:solidFill>
                <a:effectLst/>
                <a:uLnTx/>
                <a:uFillTx/>
                <a:latin typeface="Arial"/>
                <a:cs typeface="+mn-ea"/>
                <a:sym typeface="+mn-lt"/>
              </a:rPr>
              <a:t>here</a:t>
            </a:r>
            <a:endParaRPr kumimoji="0" lang="zh-CN" altLang="en-US" sz="1600" b="1" i="0" u="none" strike="noStrike" kern="1200" cap="none" spc="0" normalizeH="0" baseline="0" noProof="0" dirty="0">
              <a:ln>
                <a:noFill/>
              </a:ln>
              <a:solidFill>
                <a:srgbClr val="000000"/>
              </a:solidFill>
              <a:effectLst/>
              <a:uLnTx/>
              <a:uFillTx/>
              <a:latin typeface="Arial"/>
              <a:cs typeface="+mn-ea"/>
              <a:sym typeface="+mn-lt"/>
            </a:endParaRPr>
          </a:p>
        </p:txBody>
      </p:sp>
      <p:sp>
        <p:nvSpPr>
          <p:cNvPr id="54" name="ï$ḷíḓè">
            <a:extLst>
              <a:ext uri="{FF2B5EF4-FFF2-40B4-BE49-F238E27FC236}">
                <a16:creationId xmlns:a16="http://schemas.microsoft.com/office/drawing/2014/main" id="{2C14E88F-95FE-4CA1-A6E8-130D8983B58F}"/>
              </a:ext>
            </a:extLst>
          </p:cNvPr>
          <p:cNvSpPr txBox="1"/>
          <p:nvPr/>
        </p:nvSpPr>
        <p:spPr>
          <a:xfrm>
            <a:off x="7012786" y="1560853"/>
            <a:ext cx="1850400" cy="458270"/>
          </a:xfrm>
          <a:prstGeom prst="rect">
            <a:avLst/>
          </a:prstGeom>
          <a:noFill/>
        </p:spPr>
        <p:txBody>
          <a:bodyPr wrap="none" anchor="ctr">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600" b="1" i="0" u="none" strike="noStrike" kern="1200" cap="none" spc="0" normalizeH="0" baseline="0" noProof="0">
                <a:ln>
                  <a:noFill/>
                </a:ln>
                <a:solidFill>
                  <a:srgbClr val="000000"/>
                </a:solidFill>
                <a:effectLst/>
                <a:uLnTx/>
                <a:uFillTx/>
                <a:latin typeface="Arial"/>
                <a:cs typeface="+mn-ea"/>
                <a:sym typeface="+mn-lt"/>
              </a:rPr>
              <a:t>Tex</a:t>
            </a:r>
            <a:r>
              <a:rPr kumimoji="0" lang="en-US" altLang="zh-CN" sz="100" b="1" i="0" u="none" strike="noStrike" kern="1200" cap="none" spc="0" normalizeH="0" baseline="0" noProof="0">
                <a:ln>
                  <a:noFill/>
                </a:ln>
                <a:solidFill>
                  <a:srgbClr val="000000"/>
                </a:solidFill>
                <a:effectLst/>
                <a:uLnTx/>
                <a:uFillTx/>
                <a:latin typeface="Arial"/>
                <a:cs typeface="+mn-ea"/>
                <a:sym typeface="+mn-lt"/>
              </a:rPr>
              <a:t> </a:t>
            </a:r>
            <a:r>
              <a:rPr kumimoji="0" lang="en-US" altLang="zh-CN" sz="1600" b="1" i="0" u="none" strike="noStrike" kern="1200" cap="none" spc="0" normalizeH="0" baseline="0" noProof="0">
                <a:ln>
                  <a:noFill/>
                </a:ln>
                <a:solidFill>
                  <a:srgbClr val="000000"/>
                </a:solidFill>
                <a:effectLst/>
                <a:uLnTx/>
                <a:uFillTx/>
                <a:latin typeface="Arial"/>
                <a:cs typeface="+mn-ea"/>
                <a:sym typeface="+mn-lt"/>
              </a:rPr>
              <a:t>t </a:t>
            </a:r>
            <a:r>
              <a:rPr kumimoji="0" lang="en-US" altLang="zh-CN" sz="1600" b="1" i="0" u="none" strike="noStrike" kern="1200" cap="none" spc="0" normalizeH="0" baseline="0" noProof="0" dirty="0">
                <a:ln>
                  <a:noFill/>
                </a:ln>
                <a:solidFill>
                  <a:srgbClr val="000000"/>
                </a:solidFill>
                <a:effectLst/>
                <a:uLnTx/>
                <a:uFillTx/>
                <a:latin typeface="Arial"/>
                <a:cs typeface="+mn-ea"/>
                <a:sym typeface="+mn-lt"/>
              </a:rPr>
              <a:t>here</a:t>
            </a:r>
            <a:endParaRPr kumimoji="0" lang="zh-CN" altLang="en-US" sz="1600" b="1" i="0" u="none" strike="noStrike" kern="1200" cap="none" spc="0" normalizeH="0" baseline="0" noProof="0" dirty="0">
              <a:ln>
                <a:noFill/>
              </a:ln>
              <a:solidFill>
                <a:srgbClr val="000000"/>
              </a:solidFill>
              <a:effectLst/>
              <a:uLnTx/>
              <a:uFillTx/>
              <a:latin typeface="Arial"/>
              <a:cs typeface="+mn-ea"/>
              <a:sym typeface="+mn-lt"/>
            </a:endParaRPr>
          </a:p>
        </p:txBody>
      </p:sp>
      <p:sp>
        <p:nvSpPr>
          <p:cNvPr id="55" name="ïşḻîḋé">
            <a:extLst>
              <a:ext uri="{FF2B5EF4-FFF2-40B4-BE49-F238E27FC236}">
                <a16:creationId xmlns:a16="http://schemas.microsoft.com/office/drawing/2014/main" id="{D1577DB4-82A3-4EA5-B2A8-6015A99499A7}"/>
              </a:ext>
            </a:extLst>
          </p:cNvPr>
          <p:cNvSpPr txBox="1"/>
          <p:nvPr/>
        </p:nvSpPr>
        <p:spPr>
          <a:xfrm>
            <a:off x="7003457" y="5404051"/>
            <a:ext cx="1850400" cy="458270"/>
          </a:xfrm>
          <a:prstGeom prst="rect">
            <a:avLst/>
          </a:prstGeom>
          <a:noFill/>
        </p:spPr>
        <p:txBody>
          <a:bodyPr wrap="none" anchor="ctr">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600" b="1" i="0" u="none" strike="noStrike" kern="1200" cap="none" spc="0" normalizeH="0" baseline="0" noProof="0">
                <a:ln>
                  <a:noFill/>
                </a:ln>
                <a:solidFill>
                  <a:srgbClr val="000000"/>
                </a:solidFill>
                <a:effectLst/>
                <a:uLnTx/>
                <a:uFillTx/>
                <a:latin typeface="Arial"/>
                <a:cs typeface="+mn-ea"/>
                <a:sym typeface="+mn-lt"/>
              </a:rPr>
              <a:t>Tex</a:t>
            </a:r>
            <a:r>
              <a:rPr kumimoji="0" lang="en-US" altLang="zh-CN" sz="100" b="1" i="0" u="none" strike="noStrike" kern="1200" cap="none" spc="0" normalizeH="0" baseline="0" noProof="0">
                <a:ln>
                  <a:noFill/>
                </a:ln>
                <a:solidFill>
                  <a:srgbClr val="000000"/>
                </a:solidFill>
                <a:effectLst/>
                <a:uLnTx/>
                <a:uFillTx/>
                <a:latin typeface="Arial"/>
                <a:cs typeface="+mn-ea"/>
                <a:sym typeface="+mn-lt"/>
              </a:rPr>
              <a:t> </a:t>
            </a:r>
            <a:r>
              <a:rPr kumimoji="0" lang="en-US" altLang="zh-CN" sz="1600" b="1" i="0" u="none" strike="noStrike" kern="1200" cap="none" spc="0" normalizeH="0" baseline="0" noProof="0">
                <a:ln>
                  <a:noFill/>
                </a:ln>
                <a:solidFill>
                  <a:srgbClr val="000000"/>
                </a:solidFill>
                <a:effectLst/>
                <a:uLnTx/>
                <a:uFillTx/>
                <a:latin typeface="Arial"/>
                <a:cs typeface="+mn-ea"/>
                <a:sym typeface="+mn-lt"/>
              </a:rPr>
              <a:t>t </a:t>
            </a:r>
            <a:r>
              <a:rPr kumimoji="0" lang="en-US" altLang="zh-CN" sz="1600" b="1" i="0" u="none" strike="noStrike" kern="1200" cap="none" spc="0" normalizeH="0" baseline="0" noProof="0" dirty="0">
                <a:ln>
                  <a:noFill/>
                </a:ln>
                <a:solidFill>
                  <a:srgbClr val="000000"/>
                </a:solidFill>
                <a:effectLst/>
                <a:uLnTx/>
                <a:uFillTx/>
                <a:latin typeface="Arial"/>
                <a:cs typeface="+mn-ea"/>
                <a:sym typeface="+mn-lt"/>
              </a:rPr>
              <a:t>here</a:t>
            </a:r>
            <a:endParaRPr kumimoji="0" lang="zh-CN" altLang="en-US" sz="1600" b="1" i="0" u="none" strike="noStrike" kern="1200" cap="none" spc="0" normalizeH="0" baseline="0" noProof="0" dirty="0">
              <a:ln>
                <a:noFill/>
              </a:ln>
              <a:solidFill>
                <a:srgbClr val="000000"/>
              </a:solidFill>
              <a:effectLst/>
              <a:uLnTx/>
              <a:uFillTx/>
              <a:latin typeface="Arial"/>
              <a:cs typeface="+mn-ea"/>
              <a:sym typeface="+mn-lt"/>
            </a:endParaRPr>
          </a:p>
        </p:txBody>
      </p:sp>
      <p:sp>
        <p:nvSpPr>
          <p:cNvPr id="56" name="íṧľíďê">
            <a:extLst>
              <a:ext uri="{FF2B5EF4-FFF2-40B4-BE49-F238E27FC236}">
                <a16:creationId xmlns:a16="http://schemas.microsoft.com/office/drawing/2014/main" id="{0C611251-9315-46DE-8196-20A17C9E8FA1}"/>
              </a:ext>
            </a:extLst>
          </p:cNvPr>
          <p:cNvSpPr/>
          <p:nvPr/>
        </p:nvSpPr>
        <p:spPr>
          <a:xfrm>
            <a:off x="1924017" y="2723530"/>
            <a:ext cx="1848581" cy="631649"/>
          </a:xfrm>
          <a:prstGeom prst="rect">
            <a:avLst/>
          </a:prstGeom>
        </p:spPr>
        <p:txBody>
          <a:bodyPr wrap="square" anchor="ctr">
            <a:normAutofit/>
          </a:body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0" lang="en-US" altLang="zh-CN" sz="1000" b="0" i="0" u="none" strike="noStrike" kern="1200" cap="none" spc="0" normalizeH="0" baseline="0" noProof="0" dirty="0">
                <a:ln>
                  <a:noFill/>
                </a:ln>
                <a:solidFill>
                  <a:srgbClr val="000000"/>
                </a:solidFill>
                <a:effectLst/>
                <a:uLnTx/>
                <a:uFillTx/>
                <a:latin typeface="Arial"/>
                <a:cs typeface="+mn-ea"/>
                <a:sym typeface="+mn-lt"/>
              </a:rPr>
              <a:t>Copy </a:t>
            </a:r>
            <a:r>
              <a:rPr kumimoji="0" lang="en-US" altLang="zh-CN" sz="1000" b="0" i="0" u="none" strike="noStrike" kern="1200" cap="none" spc="0" normalizeH="0" baseline="0" noProof="0">
                <a:ln>
                  <a:noFill/>
                </a:ln>
                <a:solidFill>
                  <a:srgbClr val="000000"/>
                </a:solidFill>
                <a:effectLst/>
                <a:uLnTx/>
                <a:uFillTx/>
                <a:latin typeface="Arial"/>
                <a:cs typeface="+mn-ea"/>
                <a:sym typeface="+mn-lt"/>
              </a:rPr>
              <a:t>paste fonts</a:t>
            </a:r>
            <a:r>
              <a:rPr kumimoji="0" lang="en-US" altLang="zh-CN" sz="100" b="0" i="0" u="none" strike="noStrike" kern="1200" cap="none" spc="0" normalizeH="0" baseline="0" noProof="0">
                <a:ln>
                  <a:noFill/>
                </a:ln>
                <a:solidFill>
                  <a:srgbClr val="000000"/>
                </a:solidFill>
                <a:effectLst/>
                <a:uLnTx/>
                <a:uFillTx/>
                <a:latin typeface="Arial"/>
                <a:cs typeface="+mn-ea"/>
                <a:sym typeface="+mn-lt"/>
              </a:rPr>
              <a:t> </a:t>
            </a:r>
            <a:r>
              <a:rPr kumimoji="0" lang="en-US" altLang="zh-CN" sz="1000" b="0" i="0" u="none" strike="noStrike" kern="1200" cap="none" spc="0" normalizeH="0" baseline="0" noProof="0">
                <a:ln>
                  <a:noFill/>
                </a:ln>
                <a:solidFill>
                  <a:srgbClr val="000000"/>
                </a:solidFill>
                <a:effectLst/>
                <a:uLnTx/>
                <a:uFillTx/>
                <a:latin typeface="Arial"/>
                <a:cs typeface="+mn-ea"/>
                <a:sym typeface="+mn-lt"/>
              </a:rPr>
              <a:t>. </a:t>
            </a:r>
            <a:r>
              <a:rPr kumimoji="0" lang="en-US" altLang="zh-CN" sz="1000" b="0" i="0" u="none" strike="noStrike" kern="1200" cap="none" spc="0" normalizeH="0" baseline="0" noProof="0" dirty="0">
                <a:ln>
                  <a:noFill/>
                </a:ln>
                <a:solidFill>
                  <a:srgbClr val="000000"/>
                </a:solidFill>
                <a:effectLst/>
                <a:uLnTx/>
                <a:uFillTx/>
                <a:latin typeface="Arial"/>
                <a:cs typeface="+mn-ea"/>
                <a:sym typeface="+mn-lt"/>
              </a:rPr>
              <a:t>Choose the only option to retain text.</a:t>
            </a:r>
          </a:p>
        </p:txBody>
      </p:sp>
      <p:grpSp>
        <p:nvGrpSpPr>
          <p:cNvPr id="57" name="iślîďê">
            <a:extLst>
              <a:ext uri="{FF2B5EF4-FFF2-40B4-BE49-F238E27FC236}">
                <a16:creationId xmlns:a16="http://schemas.microsoft.com/office/drawing/2014/main" id="{08A9C2A0-178C-4D24-A9D7-E22F028DAB4B}"/>
              </a:ext>
            </a:extLst>
          </p:cNvPr>
          <p:cNvGrpSpPr/>
          <p:nvPr/>
        </p:nvGrpSpPr>
        <p:grpSpPr>
          <a:xfrm>
            <a:off x="4975409" y="4835917"/>
            <a:ext cx="390902" cy="400024"/>
            <a:chOff x="2437300" y="3542332"/>
            <a:chExt cx="400024" cy="400024"/>
          </a:xfrm>
          <a:solidFill>
            <a:schemeClr val="bg2"/>
          </a:solidFill>
        </p:grpSpPr>
        <p:sp>
          <p:nvSpPr>
            <p:cNvPr id="82" name="iš1ïḍé">
              <a:extLst>
                <a:ext uri="{FF2B5EF4-FFF2-40B4-BE49-F238E27FC236}">
                  <a16:creationId xmlns:a16="http://schemas.microsoft.com/office/drawing/2014/main" id="{213C0E65-7E01-4732-919F-702DC248F646}"/>
                </a:ext>
              </a:extLst>
            </p:cNvPr>
            <p:cNvSpPr/>
            <p:nvPr/>
          </p:nvSpPr>
          <p:spPr bwMode="auto">
            <a:xfrm>
              <a:off x="2437300" y="3542332"/>
              <a:ext cx="400024" cy="400024"/>
            </a:xfrm>
            <a:custGeom>
              <a:avLst/>
              <a:gdLst>
                <a:gd name="T0" fmla="*/ 83 w 128"/>
                <a:gd name="T1" fmla="*/ 40 h 128"/>
                <a:gd name="T2" fmla="*/ 64 w 128"/>
                <a:gd name="T3" fmla="*/ 0 h 128"/>
                <a:gd name="T4" fmla="*/ 36 w 128"/>
                <a:gd name="T5" fmla="*/ 41 h 128"/>
                <a:gd name="T6" fmla="*/ 32 w 128"/>
                <a:gd name="T7" fmla="*/ 43 h 128"/>
                <a:gd name="T8" fmla="*/ 12 w 128"/>
                <a:gd name="T9" fmla="*/ 40 h 128"/>
                <a:gd name="T10" fmla="*/ 0 w 128"/>
                <a:gd name="T11" fmla="*/ 116 h 128"/>
                <a:gd name="T12" fmla="*/ 24 w 128"/>
                <a:gd name="T13" fmla="*/ 128 h 128"/>
                <a:gd name="T14" fmla="*/ 35 w 128"/>
                <a:gd name="T15" fmla="*/ 121 h 128"/>
                <a:gd name="T16" fmla="*/ 36 w 128"/>
                <a:gd name="T17" fmla="*/ 121 h 128"/>
                <a:gd name="T18" fmla="*/ 76 w 128"/>
                <a:gd name="T19" fmla="*/ 128 h 128"/>
                <a:gd name="T20" fmla="*/ 112 w 128"/>
                <a:gd name="T21" fmla="*/ 120 h 128"/>
                <a:gd name="T22" fmla="*/ 114 w 128"/>
                <a:gd name="T23" fmla="*/ 109 h 128"/>
                <a:gd name="T24" fmla="*/ 121 w 128"/>
                <a:gd name="T25" fmla="*/ 88 h 128"/>
                <a:gd name="T26" fmla="*/ 124 w 128"/>
                <a:gd name="T27" fmla="*/ 67 h 128"/>
                <a:gd name="T28" fmla="*/ 128 w 128"/>
                <a:gd name="T29" fmla="*/ 58 h 128"/>
                <a:gd name="T30" fmla="*/ 117 w 128"/>
                <a:gd name="T31" fmla="*/ 42 h 128"/>
                <a:gd name="T32" fmla="*/ 24 w 128"/>
                <a:gd name="T33" fmla="*/ 120 h 128"/>
                <a:gd name="T34" fmla="*/ 8 w 128"/>
                <a:gd name="T35" fmla="*/ 116 h 128"/>
                <a:gd name="T36" fmla="*/ 12 w 128"/>
                <a:gd name="T37" fmla="*/ 48 h 128"/>
                <a:gd name="T38" fmla="*/ 28 w 128"/>
                <a:gd name="T39" fmla="*/ 52 h 128"/>
                <a:gd name="T40" fmla="*/ 120 w 128"/>
                <a:gd name="T41" fmla="*/ 58 h 128"/>
                <a:gd name="T42" fmla="*/ 104 w 128"/>
                <a:gd name="T43" fmla="*/ 64 h 128"/>
                <a:gd name="T44" fmla="*/ 104 w 128"/>
                <a:gd name="T45" fmla="*/ 68 h 128"/>
                <a:gd name="T46" fmla="*/ 118 w 128"/>
                <a:gd name="T47" fmla="*/ 75 h 128"/>
                <a:gd name="T48" fmla="*/ 100 w 128"/>
                <a:gd name="T49" fmla="*/ 84 h 128"/>
                <a:gd name="T50" fmla="*/ 100 w 128"/>
                <a:gd name="T51" fmla="*/ 88 h 128"/>
                <a:gd name="T52" fmla="*/ 113 w 128"/>
                <a:gd name="T53" fmla="*/ 96 h 128"/>
                <a:gd name="T54" fmla="*/ 96 w 128"/>
                <a:gd name="T55" fmla="*/ 104 h 128"/>
                <a:gd name="T56" fmla="*/ 96 w 128"/>
                <a:gd name="T57" fmla="*/ 108 h 128"/>
                <a:gd name="T58" fmla="*/ 106 w 128"/>
                <a:gd name="T59" fmla="*/ 114 h 128"/>
                <a:gd name="T60" fmla="*/ 98 w 128"/>
                <a:gd name="T61" fmla="*/ 120 h 128"/>
                <a:gd name="T62" fmla="*/ 54 w 128"/>
                <a:gd name="T63" fmla="*/ 117 h 128"/>
                <a:gd name="T64" fmla="*/ 32 w 128"/>
                <a:gd name="T65" fmla="*/ 110 h 128"/>
                <a:gd name="T66" fmla="*/ 35 w 128"/>
                <a:gd name="T67" fmla="*/ 50 h 128"/>
                <a:gd name="T68" fmla="*/ 60 w 128"/>
                <a:gd name="T69" fmla="*/ 12 h 128"/>
                <a:gd name="T70" fmla="*/ 76 w 128"/>
                <a:gd name="T71" fmla="*/ 27 h 128"/>
                <a:gd name="T72" fmla="*/ 115 w 128"/>
                <a:gd name="T73" fmla="*/ 50 h 128"/>
                <a:gd name="T74" fmla="*/ 120 w 128"/>
                <a:gd name="T75" fmla="*/ 5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8" h="128">
                  <a:moveTo>
                    <a:pt x="117" y="42"/>
                  </a:moveTo>
                  <a:cubicBezTo>
                    <a:pt x="112" y="41"/>
                    <a:pt x="100" y="41"/>
                    <a:pt x="83" y="40"/>
                  </a:cubicBezTo>
                  <a:cubicBezTo>
                    <a:pt x="84" y="36"/>
                    <a:pt x="84" y="33"/>
                    <a:pt x="84" y="27"/>
                  </a:cubicBezTo>
                  <a:cubicBezTo>
                    <a:pt x="84" y="13"/>
                    <a:pt x="73" y="0"/>
                    <a:pt x="64" y="0"/>
                  </a:cubicBezTo>
                  <a:cubicBezTo>
                    <a:pt x="57" y="0"/>
                    <a:pt x="52" y="5"/>
                    <a:pt x="52" y="12"/>
                  </a:cubicBezTo>
                  <a:cubicBezTo>
                    <a:pt x="52" y="20"/>
                    <a:pt x="49" y="34"/>
                    <a:pt x="36" y="41"/>
                  </a:cubicBezTo>
                  <a:cubicBezTo>
                    <a:pt x="35" y="41"/>
                    <a:pt x="32" y="43"/>
                    <a:pt x="32" y="43"/>
                  </a:cubicBezTo>
                  <a:cubicBezTo>
                    <a:pt x="32" y="43"/>
                    <a:pt x="32" y="43"/>
                    <a:pt x="32" y="43"/>
                  </a:cubicBezTo>
                  <a:cubicBezTo>
                    <a:pt x="30" y="41"/>
                    <a:pt x="27" y="40"/>
                    <a:pt x="24" y="40"/>
                  </a:cubicBezTo>
                  <a:cubicBezTo>
                    <a:pt x="12" y="40"/>
                    <a:pt x="12" y="40"/>
                    <a:pt x="12" y="40"/>
                  </a:cubicBezTo>
                  <a:cubicBezTo>
                    <a:pt x="5" y="40"/>
                    <a:pt x="0" y="45"/>
                    <a:pt x="0" y="52"/>
                  </a:cubicBezTo>
                  <a:cubicBezTo>
                    <a:pt x="0" y="116"/>
                    <a:pt x="0" y="116"/>
                    <a:pt x="0" y="116"/>
                  </a:cubicBezTo>
                  <a:cubicBezTo>
                    <a:pt x="0" y="123"/>
                    <a:pt x="5" y="128"/>
                    <a:pt x="12" y="128"/>
                  </a:cubicBezTo>
                  <a:cubicBezTo>
                    <a:pt x="24" y="128"/>
                    <a:pt x="24" y="128"/>
                    <a:pt x="24" y="128"/>
                  </a:cubicBezTo>
                  <a:cubicBezTo>
                    <a:pt x="29" y="128"/>
                    <a:pt x="33" y="125"/>
                    <a:pt x="35" y="121"/>
                  </a:cubicBezTo>
                  <a:cubicBezTo>
                    <a:pt x="35" y="121"/>
                    <a:pt x="35" y="121"/>
                    <a:pt x="35" y="121"/>
                  </a:cubicBezTo>
                  <a:cubicBezTo>
                    <a:pt x="35" y="121"/>
                    <a:pt x="35" y="121"/>
                    <a:pt x="36" y="121"/>
                  </a:cubicBezTo>
                  <a:cubicBezTo>
                    <a:pt x="36" y="121"/>
                    <a:pt x="36" y="121"/>
                    <a:pt x="36" y="121"/>
                  </a:cubicBezTo>
                  <a:cubicBezTo>
                    <a:pt x="38" y="122"/>
                    <a:pt x="43" y="123"/>
                    <a:pt x="52" y="125"/>
                  </a:cubicBezTo>
                  <a:cubicBezTo>
                    <a:pt x="54" y="126"/>
                    <a:pt x="65" y="128"/>
                    <a:pt x="76" y="128"/>
                  </a:cubicBezTo>
                  <a:cubicBezTo>
                    <a:pt x="98" y="128"/>
                    <a:pt x="98" y="128"/>
                    <a:pt x="98" y="128"/>
                  </a:cubicBezTo>
                  <a:cubicBezTo>
                    <a:pt x="105" y="128"/>
                    <a:pt x="109" y="125"/>
                    <a:pt x="112" y="120"/>
                  </a:cubicBezTo>
                  <a:cubicBezTo>
                    <a:pt x="112" y="120"/>
                    <a:pt x="113" y="118"/>
                    <a:pt x="114" y="116"/>
                  </a:cubicBezTo>
                  <a:cubicBezTo>
                    <a:pt x="115" y="114"/>
                    <a:pt x="115" y="112"/>
                    <a:pt x="114" y="109"/>
                  </a:cubicBezTo>
                  <a:cubicBezTo>
                    <a:pt x="118" y="106"/>
                    <a:pt x="120" y="102"/>
                    <a:pt x="121" y="99"/>
                  </a:cubicBezTo>
                  <a:cubicBezTo>
                    <a:pt x="122" y="94"/>
                    <a:pt x="122" y="90"/>
                    <a:pt x="121" y="88"/>
                  </a:cubicBezTo>
                  <a:cubicBezTo>
                    <a:pt x="123" y="85"/>
                    <a:pt x="125" y="82"/>
                    <a:pt x="126" y="77"/>
                  </a:cubicBezTo>
                  <a:cubicBezTo>
                    <a:pt x="127" y="73"/>
                    <a:pt x="126" y="70"/>
                    <a:pt x="124" y="67"/>
                  </a:cubicBezTo>
                  <a:cubicBezTo>
                    <a:pt x="127" y="65"/>
                    <a:pt x="128" y="61"/>
                    <a:pt x="128" y="58"/>
                  </a:cubicBezTo>
                  <a:cubicBezTo>
                    <a:pt x="128" y="58"/>
                    <a:pt x="128" y="58"/>
                    <a:pt x="128" y="58"/>
                  </a:cubicBezTo>
                  <a:cubicBezTo>
                    <a:pt x="128" y="57"/>
                    <a:pt x="128" y="57"/>
                    <a:pt x="128" y="56"/>
                  </a:cubicBezTo>
                  <a:cubicBezTo>
                    <a:pt x="128" y="51"/>
                    <a:pt x="125" y="44"/>
                    <a:pt x="117" y="42"/>
                  </a:cubicBezTo>
                  <a:close/>
                  <a:moveTo>
                    <a:pt x="28" y="116"/>
                  </a:moveTo>
                  <a:cubicBezTo>
                    <a:pt x="28" y="118"/>
                    <a:pt x="26" y="120"/>
                    <a:pt x="24" y="120"/>
                  </a:cubicBezTo>
                  <a:cubicBezTo>
                    <a:pt x="12" y="120"/>
                    <a:pt x="12" y="120"/>
                    <a:pt x="12" y="120"/>
                  </a:cubicBezTo>
                  <a:cubicBezTo>
                    <a:pt x="10" y="120"/>
                    <a:pt x="8" y="118"/>
                    <a:pt x="8" y="116"/>
                  </a:cubicBezTo>
                  <a:cubicBezTo>
                    <a:pt x="8" y="52"/>
                    <a:pt x="8" y="52"/>
                    <a:pt x="8" y="52"/>
                  </a:cubicBezTo>
                  <a:cubicBezTo>
                    <a:pt x="8" y="50"/>
                    <a:pt x="10" y="48"/>
                    <a:pt x="12" y="48"/>
                  </a:cubicBezTo>
                  <a:cubicBezTo>
                    <a:pt x="24" y="48"/>
                    <a:pt x="24" y="48"/>
                    <a:pt x="24" y="48"/>
                  </a:cubicBezTo>
                  <a:cubicBezTo>
                    <a:pt x="26" y="48"/>
                    <a:pt x="28" y="50"/>
                    <a:pt x="28" y="52"/>
                  </a:cubicBezTo>
                  <a:lnTo>
                    <a:pt x="28" y="116"/>
                  </a:lnTo>
                  <a:close/>
                  <a:moveTo>
                    <a:pt x="120" y="58"/>
                  </a:moveTo>
                  <a:cubicBezTo>
                    <a:pt x="120" y="60"/>
                    <a:pt x="119" y="64"/>
                    <a:pt x="112" y="64"/>
                  </a:cubicBezTo>
                  <a:cubicBezTo>
                    <a:pt x="106" y="64"/>
                    <a:pt x="104" y="64"/>
                    <a:pt x="104" y="64"/>
                  </a:cubicBezTo>
                  <a:cubicBezTo>
                    <a:pt x="103" y="64"/>
                    <a:pt x="102" y="65"/>
                    <a:pt x="102" y="66"/>
                  </a:cubicBezTo>
                  <a:cubicBezTo>
                    <a:pt x="102" y="67"/>
                    <a:pt x="103" y="68"/>
                    <a:pt x="104" y="68"/>
                  </a:cubicBezTo>
                  <a:cubicBezTo>
                    <a:pt x="104" y="68"/>
                    <a:pt x="106" y="68"/>
                    <a:pt x="112" y="68"/>
                  </a:cubicBezTo>
                  <a:cubicBezTo>
                    <a:pt x="118" y="68"/>
                    <a:pt x="119" y="73"/>
                    <a:pt x="118" y="75"/>
                  </a:cubicBezTo>
                  <a:cubicBezTo>
                    <a:pt x="118" y="78"/>
                    <a:pt x="116" y="84"/>
                    <a:pt x="110" y="84"/>
                  </a:cubicBezTo>
                  <a:cubicBezTo>
                    <a:pt x="103" y="84"/>
                    <a:pt x="100" y="84"/>
                    <a:pt x="100" y="84"/>
                  </a:cubicBezTo>
                  <a:cubicBezTo>
                    <a:pt x="99" y="84"/>
                    <a:pt x="98" y="85"/>
                    <a:pt x="98" y="86"/>
                  </a:cubicBezTo>
                  <a:cubicBezTo>
                    <a:pt x="98" y="87"/>
                    <a:pt x="99" y="88"/>
                    <a:pt x="100" y="88"/>
                  </a:cubicBezTo>
                  <a:cubicBezTo>
                    <a:pt x="100" y="88"/>
                    <a:pt x="105" y="88"/>
                    <a:pt x="108" y="88"/>
                  </a:cubicBezTo>
                  <a:cubicBezTo>
                    <a:pt x="115" y="88"/>
                    <a:pt x="114" y="93"/>
                    <a:pt x="113" y="96"/>
                  </a:cubicBezTo>
                  <a:cubicBezTo>
                    <a:pt x="112" y="100"/>
                    <a:pt x="111" y="104"/>
                    <a:pt x="103" y="104"/>
                  </a:cubicBezTo>
                  <a:cubicBezTo>
                    <a:pt x="100" y="104"/>
                    <a:pt x="96" y="104"/>
                    <a:pt x="96" y="104"/>
                  </a:cubicBezTo>
                  <a:cubicBezTo>
                    <a:pt x="95" y="104"/>
                    <a:pt x="94" y="105"/>
                    <a:pt x="94" y="106"/>
                  </a:cubicBezTo>
                  <a:cubicBezTo>
                    <a:pt x="94" y="107"/>
                    <a:pt x="95" y="108"/>
                    <a:pt x="96" y="108"/>
                  </a:cubicBezTo>
                  <a:cubicBezTo>
                    <a:pt x="96" y="108"/>
                    <a:pt x="99" y="108"/>
                    <a:pt x="102" y="108"/>
                  </a:cubicBezTo>
                  <a:cubicBezTo>
                    <a:pt x="107" y="108"/>
                    <a:pt x="107" y="112"/>
                    <a:pt x="106" y="114"/>
                  </a:cubicBezTo>
                  <a:cubicBezTo>
                    <a:pt x="106" y="115"/>
                    <a:pt x="105" y="116"/>
                    <a:pt x="105" y="117"/>
                  </a:cubicBezTo>
                  <a:cubicBezTo>
                    <a:pt x="104" y="119"/>
                    <a:pt x="102" y="120"/>
                    <a:pt x="98" y="120"/>
                  </a:cubicBezTo>
                  <a:cubicBezTo>
                    <a:pt x="76" y="120"/>
                    <a:pt x="76" y="120"/>
                    <a:pt x="76" y="120"/>
                  </a:cubicBezTo>
                  <a:cubicBezTo>
                    <a:pt x="65" y="120"/>
                    <a:pt x="54" y="118"/>
                    <a:pt x="54" y="117"/>
                  </a:cubicBezTo>
                  <a:cubicBezTo>
                    <a:pt x="37" y="114"/>
                    <a:pt x="36" y="113"/>
                    <a:pt x="35" y="113"/>
                  </a:cubicBezTo>
                  <a:cubicBezTo>
                    <a:pt x="35" y="113"/>
                    <a:pt x="32" y="112"/>
                    <a:pt x="32" y="110"/>
                  </a:cubicBezTo>
                  <a:cubicBezTo>
                    <a:pt x="32" y="54"/>
                    <a:pt x="32" y="54"/>
                    <a:pt x="32" y="54"/>
                  </a:cubicBezTo>
                  <a:cubicBezTo>
                    <a:pt x="32" y="52"/>
                    <a:pt x="33" y="51"/>
                    <a:pt x="35" y="50"/>
                  </a:cubicBezTo>
                  <a:cubicBezTo>
                    <a:pt x="35" y="50"/>
                    <a:pt x="36" y="50"/>
                    <a:pt x="36" y="50"/>
                  </a:cubicBezTo>
                  <a:cubicBezTo>
                    <a:pt x="54" y="42"/>
                    <a:pt x="60" y="26"/>
                    <a:pt x="60" y="12"/>
                  </a:cubicBezTo>
                  <a:cubicBezTo>
                    <a:pt x="60" y="10"/>
                    <a:pt x="62" y="8"/>
                    <a:pt x="64" y="8"/>
                  </a:cubicBezTo>
                  <a:cubicBezTo>
                    <a:pt x="68" y="8"/>
                    <a:pt x="76" y="16"/>
                    <a:pt x="76" y="27"/>
                  </a:cubicBezTo>
                  <a:cubicBezTo>
                    <a:pt x="76" y="36"/>
                    <a:pt x="75" y="38"/>
                    <a:pt x="72" y="48"/>
                  </a:cubicBezTo>
                  <a:cubicBezTo>
                    <a:pt x="112" y="48"/>
                    <a:pt x="112" y="49"/>
                    <a:pt x="115" y="50"/>
                  </a:cubicBezTo>
                  <a:cubicBezTo>
                    <a:pt x="120" y="51"/>
                    <a:pt x="120" y="54"/>
                    <a:pt x="120" y="56"/>
                  </a:cubicBezTo>
                  <a:cubicBezTo>
                    <a:pt x="120" y="57"/>
                    <a:pt x="120" y="57"/>
                    <a:pt x="120" y="5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a:cs typeface="+mn-ea"/>
                <a:sym typeface="+mn-lt"/>
              </a:endParaRPr>
            </a:p>
          </p:txBody>
        </p:sp>
        <p:sp>
          <p:nvSpPr>
            <p:cNvPr id="83" name="ísliďê">
              <a:extLst>
                <a:ext uri="{FF2B5EF4-FFF2-40B4-BE49-F238E27FC236}">
                  <a16:creationId xmlns:a16="http://schemas.microsoft.com/office/drawing/2014/main" id="{65FCA74A-24ED-45F5-9F14-DB52EEDB92FC}"/>
                </a:ext>
              </a:extLst>
            </p:cNvPr>
            <p:cNvSpPr/>
            <p:nvPr/>
          </p:nvSpPr>
          <p:spPr bwMode="auto">
            <a:xfrm>
              <a:off x="2474265" y="3867103"/>
              <a:ext cx="38287" cy="38287"/>
            </a:xfrm>
            <a:custGeom>
              <a:avLst/>
              <a:gdLst>
                <a:gd name="T0" fmla="*/ 6 w 12"/>
                <a:gd name="T1" fmla="*/ 0 h 12"/>
                <a:gd name="T2" fmla="*/ 0 w 12"/>
                <a:gd name="T3" fmla="*/ 6 h 12"/>
                <a:gd name="T4" fmla="*/ 6 w 12"/>
                <a:gd name="T5" fmla="*/ 12 h 12"/>
                <a:gd name="T6" fmla="*/ 12 w 12"/>
                <a:gd name="T7" fmla="*/ 6 h 12"/>
                <a:gd name="T8" fmla="*/ 6 w 12"/>
                <a:gd name="T9" fmla="*/ 0 h 12"/>
                <a:gd name="T10" fmla="*/ 6 w 12"/>
                <a:gd name="T11" fmla="*/ 8 h 12"/>
                <a:gd name="T12" fmla="*/ 4 w 12"/>
                <a:gd name="T13" fmla="*/ 6 h 12"/>
                <a:gd name="T14" fmla="*/ 6 w 12"/>
                <a:gd name="T15" fmla="*/ 4 h 12"/>
                <a:gd name="T16" fmla="*/ 8 w 12"/>
                <a:gd name="T17" fmla="*/ 6 h 12"/>
                <a:gd name="T18" fmla="*/ 6 w 12"/>
                <a:gd name="T19" fmla="*/ 8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12">
                  <a:moveTo>
                    <a:pt x="6" y="0"/>
                  </a:moveTo>
                  <a:cubicBezTo>
                    <a:pt x="3" y="0"/>
                    <a:pt x="0" y="3"/>
                    <a:pt x="0" y="6"/>
                  </a:cubicBezTo>
                  <a:cubicBezTo>
                    <a:pt x="0" y="9"/>
                    <a:pt x="3" y="12"/>
                    <a:pt x="6" y="12"/>
                  </a:cubicBezTo>
                  <a:cubicBezTo>
                    <a:pt x="9" y="12"/>
                    <a:pt x="12" y="9"/>
                    <a:pt x="12" y="6"/>
                  </a:cubicBezTo>
                  <a:cubicBezTo>
                    <a:pt x="12" y="3"/>
                    <a:pt x="9" y="0"/>
                    <a:pt x="6" y="0"/>
                  </a:cubicBezTo>
                  <a:close/>
                  <a:moveTo>
                    <a:pt x="6" y="8"/>
                  </a:moveTo>
                  <a:cubicBezTo>
                    <a:pt x="5" y="8"/>
                    <a:pt x="4" y="7"/>
                    <a:pt x="4" y="6"/>
                  </a:cubicBezTo>
                  <a:cubicBezTo>
                    <a:pt x="4" y="5"/>
                    <a:pt x="5" y="4"/>
                    <a:pt x="6" y="4"/>
                  </a:cubicBezTo>
                  <a:cubicBezTo>
                    <a:pt x="7" y="4"/>
                    <a:pt x="8" y="5"/>
                    <a:pt x="8" y="6"/>
                  </a:cubicBezTo>
                  <a:cubicBezTo>
                    <a:pt x="8" y="7"/>
                    <a:pt x="7" y="8"/>
                    <a:pt x="6"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a:cs typeface="+mn-ea"/>
                <a:sym typeface="+mn-lt"/>
              </a:endParaRPr>
            </a:p>
          </p:txBody>
        </p:sp>
      </p:grpSp>
      <p:grpSp>
        <p:nvGrpSpPr>
          <p:cNvPr id="58" name="íśliḋê">
            <a:extLst>
              <a:ext uri="{FF2B5EF4-FFF2-40B4-BE49-F238E27FC236}">
                <a16:creationId xmlns:a16="http://schemas.microsoft.com/office/drawing/2014/main" id="{0006571E-4D78-4E9C-9793-2EBCC5624C18}"/>
              </a:ext>
            </a:extLst>
          </p:cNvPr>
          <p:cNvGrpSpPr/>
          <p:nvPr/>
        </p:nvGrpSpPr>
        <p:grpSpPr>
          <a:xfrm>
            <a:off x="2460101" y="4861001"/>
            <a:ext cx="390901" cy="349856"/>
            <a:chOff x="2437300" y="2768688"/>
            <a:chExt cx="400024" cy="349856"/>
          </a:xfrm>
          <a:solidFill>
            <a:schemeClr val="bg2"/>
          </a:solidFill>
        </p:grpSpPr>
        <p:sp>
          <p:nvSpPr>
            <p:cNvPr id="80" name="îśľiḑê">
              <a:extLst>
                <a:ext uri="{FF2B5EF4-FFF2-40B4-BE49-F238E27FC236}">
                  <a16:creationId xmlns:a16="http://schemas.microsoft.com/office/drawing/2014/main" id="{003E6FA4-B115-4C32-A18D-997E45277285}"/>
                </a:ext>
              </a:extLst>
            </p:cNvPr>
            <p:cNvSpPr/>
            <p:nvPr/>
          </p:nvSpPr>
          <p:spPr bwMode="auto">
            <a:xfrm>
              <a:off x="2499350" y="2830738"/>
              <a:ext cx="143903" cy="93735"/>
            </a:xfrm>
            <a:custGeom>
              <a:avLst/>
              <a:gdLst>
                <a:gd name="T0" fmla="*/ 44 w 46"/>
                <a:gd name="T1" fmla="*/ 0 h 30"/>
                <a:gd name="T2" fmla="*/ 0 w 46"/>
                <a:gd name="T3" fmla="*/ 28 h 30"/>
                <a:gd name="T4" fmla="*/ 2 w 46"/>
                <a:gd name="T5" fmla="*/ 30 h 30"/>
                <a:gd name="T6" fmla="*/ 4 w 46"/>
                <a:gd name="T7" fmla="*/ 28 h 30"/>
                <a:gd name="T8" fmla="*/ 44 w 46"/>
                <a:gd name="T9" fmla="*/ 4 h 30"/>
                <a:gd name="T10" fmla="*/ 46 w 46"/>
                <a:gd name="T11" fmla="*/ 2 h 30"/>
                <a:gd name="T12" fmla="*/ 44 w 46"/>
                <a:gd name="T13" fmla="*/ 0 h 30"/>
              </a:gdLst>
              <a:ahLst/>
              <a:cxnLst>
                <a:cxn ang="0">
                  <a:pos x="T0" y="T1"/>
                </a:cxn>
                <a:cxn ang="0">
                  <a:pos x="T2" y="T3"/>
                </a:cxn>
                <a:cxn ang="0">
                  <a:pos x="T4" y="T5"/>
                </a:cxn>
                <a:cxn ang="0">
                  <a:pos x="T6" y="T7"/>
                </a:cxn>
                <a:cxn ang="0">
                  <a:pos x="T8" y="T9"/>
                </a:cxn>
                <a:cxn ang="0">
                  <a:pos x="T10" y="T11"/>
                </a:cxn>
                <a:cxn ang="0">
                  <a:pos x="T12" y="T13"/>
                </a:cxn>
              </a:cxnLst>
              <a:rect l="0" t="0" r="r" b="b"/>
              <a:pathLst>
                <a:path w="46" h="30">
                  <a:moveTo>
                    <a:pt x="44" y="0"/>
                  </a:moveTo>
                  <a:cubicBezTo>
                    <a:pt x="20" y="0"/>
                    <a:pt x="0" y="13"/>
                    <a:pt x="0" y="28"/>
                  </a:cubicBezTo>
                  <a:cubicBezTo>
                    <a:pt x="0" y="29"/>
                    <a:pt x="1" y="30"/>
                    <a:pt x="2" y="30"/>
                  </a:cubicBezTo>
                  <a:cubicBezTo>
                    <a:pt x="3" y="30"/>
                    <a:pt x="4" y="29"/>
                    <a:pt x="4" y="28"/>
                  </a:cubicBezTo>
                  <a:cubicBezTo>
                    <a:pt x="4" y="15"/>
                    <a:pt x="23" y="4"/>
                    <a:pt x="44" y="4"/>
                  </a:cubicBezTo>
                  <a:cubicBezTo>
                    <a:pt x="45" y="4"/>
                    <a:pt x="46" y="3"/>
                    <a:pt x="46" y="2"/>
                  </a:cubicBezTo>
                  <a:cubicBezTo>
                    <a:pt x="46" y="1"/>
                    <a:pt x="45" y="0"/>
                    <a:pt x="4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a:cs typeface="+mn-ea"/>
                <a:sym typeface="+mn-lt"/>
              </a:endParaRPr>
            </a:p>
          </p:txBody>
        </p:sp>
        <p:sp>
          <p:nvSpPr>
            <p:cNvPr id="81" name="iŝľîďe">
              <a:extLst>
                <a:ext uri="{FF2B5EF4-FFF2-40B4-BE49-F238E27FC236}">
                  <a16:creationId xmlns:a16="http://schemas.microsoft.com/office/drawing/2014/main" id="{2E283841-328B-4498-9B8B-E623766E6C89}"/>
                </a:ext>
              </a:extLst>
            </p:cNvPr>
            <p:cNvSpPr/>
            <p:nvPr/>
          </p:nvSpPr>
          <p:spPr bwMode="auto">
            <a:xfrm>
              <a:off x="2437300" y="2768688"/>
              <a:ext cx="400024" cy="349856"/>
            </a:xfrm>
            <a:custGeom>
              <a:avLst/>
              <a:gdLst>
                <a:gd name="T0" fmla="*/ 64 w 128"/>
                <a:gd name="T1" fmla="*/ 0 h 112"/>
                <a:gd name="T2" fmla="*/ 0 w 128"/>
                <a:gd name="T3" fmla="*/ 48 h 112"/>
                <a:gd name="T4" fmla="*/ 28 w 128"/>
                <a:gd name="T5" fmla="*/ 88 h 112"/>
                <a:gd name="T6" fmla="*/ 28 w 128"/>
                <a:gd name="T7" fmla="*/ 88 h 112"/>
                <a:gd name="T8" fmla="*/ 20 w 128"/>
                <a:gd name="T9" fmla="*/ 107 h 112"/>
                <a:gd name="T10" fmla="*/ 20 w 128"/>
                <a:gd name="T11" fmla="*/ 107 h 112"/>
                <a:gd name="T12" fmla="*/ 20 w 128"/>
                <a:gd name="T13" fmla="*/ 108 h 112"/>
                <a:gd name="T14" fmla="*/ 24 w 128"/>
                <a:gd name="T15" fmla="*/ 112 h 112"/>
                <a:gd name="T16" fmla="*/ 25 w 128"/>
                <a:gd name="T17" fmla="*/ 112 h 112"/>
                <a:gd name="T18" fmla="*/ 52 w 128"/>
                <a:gd name="T19" fmla="*/ 95 h 112"/>
                <a:gd name="T20" fmla="*/ 64 w 128"/>
                <a:gd name="T21" fmla="*/ 96 h 112"/>
                <a:gd name="T22" fmla="*/ 128 w 128"/>
                <a:gd name="T23" fmla="*/ 48 h 112"/>
                <a:gd name="T24" fmla="*/ 64 w 128"/>
                <a:gd name="T25" fmla="*/ 0 h 112"/>
                <a:gd name="T26" fmla="*/ 64 w 128"/>
                <a:gd name="T27" fmla="*/ 88 h 112"/>
                <a:gd name="T28" fmla="*/ 53 w 128"/>
                <a:gd name="T29" fmla="*/ 87 h 112"/>
                <a:gd name="T30" fmla="*/ 52 w 128"/>
                <a:gd name="T31" fmla="*/ 87 h 112"/>
                <a:gd name="T32" fmla="*/ 45 w 128"/>
                <a:gd name="T33" fmla="*/ 90 h 112"/>
                <a:gd name="T34" fmla="*/ 33 w 128"/>
                <a:gd name="T35" fmla="*/ 100 h 112"/>
                <a:gd name="T36" fmla="*/ 36 w 128"/>
                <a:gd name="T37" fmla="*/ 88 h 112"/>
                <a:gd name="T38" fmla="*/ 36 w 128"/>
                <a:gd name="T39" fmla="*/ 88 h 112"/>
                <a:gd name="T40" fmla="*/ 32 w 128"/>
                <a:gd name="T41" fmla="*/ 81 h 112"/>
                <a:gd name="T42" fmla="*/ 8 w 128"/>
                <a:gd name="T43" fmla="*/ 48 h 112"/>
                <a:gd name="T44" fmla="*/ 64 w 128"/>
                <a:gd name="T45" fmla="*/ 8 h 112"/>
                <a:gd name="T46" fmla="*/ 120 w 128"/>
                <a:gd name="T47" fmla="*/ 48 h 112"/>
                <a:gd name="T48" fmla="*/ 64 w 128"/>
                <a:gd name="T49" fmla="*/ 88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8" h="112">
                  <a:moveTo>
                    <a:pt x="64" y="0"/>
                  </a:moveTo>
                  <a:cubicBezTo>
                    <a:pt x="29" y="0"/>
                    <a:pt x="0" y="21"/>
                    <a:pt x="0" y="48"/>
                  </a:cubicBezTo>
                  <a:cubicBezTo>
                    <a:pt x="0" y="65"/>
                    <a:pt x="11" y="79"/>
                    <a:pt x="28" y="88"/>
                  </a:cubicBezTo>
                  <a:cubicBezTo>
                    <a:pt x="28" y="88"/>
                    <a:pt x="28" y="88"/>
                    <a:pt x="28" y="88"/>
                  </a:cubicBezTo>
                  <a:cubicBezTo>
                    <a:pt x="28" y="95"/>
                    <a:pt x="23" y="103"/>
                    <a:pt x="20" y="107"/>
                  </a:cubicBezTo>
                  <a:cubicBezTo>
                    <a:pt x="20" y="107"/>
                    <a:pt x="20" y="107"/>
                    <a:pt x="20" y="107"/>
                  </a:cubicBezTo>
                  <a:cubicBezTo>
                    <a:pt x="20" y="107"/>
                    <a:pt x="20" y="108"/>
                    <a:pt x="20" y="108"/>
                  </a:cubicBezTo>
                  <a:cubicBezTo>
                    <a:pt x="20" y="110"/>
                    <a:pt x="22" y="112"/>
                    <a:pt x="24" y="112"/>
                  </a:cubicBezTo>
                  <a:cubicBezTo>
                    <a:pt x="24" y="112"/>
                    <a:pt x="25" y="112"/>
                    <a:pt x="25" y="112"/>
                  </a:cubicBezTo>
                  <a:cubicBezTo>
                    <a:pt x="37" y="110"/>
                    <a:pt x="49" y="98"/>
                    <a:pt x="52" y="95"/>
                  </a:cubicBezTo>
                  <a:cubicBezTo>
                    <a:pt x="56" y="96"/>
                    <a:pt x="60" y="96"/>
                    <a:pt x="64" y="96"/>
                  </a:cubicBezTo>
                  <a:cubicBezTo>
                    <a:pt x="99" y="96"/>
                    <a:pt x="128" y="75"/>
                    <a:pt x="128" y="48"/>
                  </a:cubicBezTo>
                  <a:cubicBezTo>
                    <a:pt x="128" y="21"/>
                    <a:pt x="99" y="0"/>
                    <a:pt x="64" y="0"/>
                  </a:cubicBezTo>
                  <a:close/>
                  <a:moveTo>
                    <a:pt x="64" y="88"/>
                  </a:moveTo>
                  <a:cubicBezTo>
                    <a:pt x="60" y="88"/>
                    <a:pt x="57" y="88"/>
                    <a:pt x="53" y="87"/>
                  </a:cubicBezTo>
                  <a:cubicBezTo>
                    <a:pt x="52" y="87"/>
                    <a:pt x="52" y="87"/>
                    <a:pt x="52" y="87"/>
                  </a:cubicBezTo>
                  <a:cubicBezTo>
                    <a:pt x="49" y="87"/>
                    <a:pt x="47" y="88"/>
                    <a:pt x="45" y="90"/>
                  </a:cubicBezTo>
                  <a:cubicBezTo>
                    <a:pt x="44" y="92"/>
                    <a:pt x="39" y="97"/>
                    <a:pt x="33" y="100"/>
                  </a:cubicBezTo>
                  <a:cubicBezTo>
                    <a:pt x="35" y="97"/>
                    <a:pt x="36" y="93"/>
                    <a:pt x="36" y="88"/>
                  </a:cubicBezTo>
                  <a:cubicBezTo>
                    <a:pt x="36" y="88"/>
                    <a:pt x="36" y="88"/>
                    <a:pt x="36" y="88"/>
                  </a:cubicBezTo>
                  <a:cubicBezTo>
                    <a:pt x="36" y="85"/>
                    <a:pt x="34" y="82"/>
                    <a:pt x="32" y="81"/>
                  </a:cubicBezTo>
                  <a:cubicBezTo>
                    <a:pt x="17" y="73"/>
                    <a:pt x="8" y="61"/>
                    <a:pt x="8" y="48"/>
                  </a:cubicBezTo>
                  <a:cubicBezTo>
                    <a:pt x="8" y="26"/>
                    <a:pt x="33" y="8"/>
                    <a:pt x="64" y="8"/>
                  </a:cubicBezTo>
                  <a:cubicBezTo>
                    <a:pt x="95" y="8"/>
                    <a:pt x="120" y="26"/>
                    <a:pt x="120" y="48"/>
                  </a:cubicBezTo>
                  <a:cubicBezTo>
                    <a:pt x="120" y="70"/>
                    <a:pt x="95" y="88"/>
                    <a:pt x="64"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a:cs typeface="+mn-ea"/>
                <a:sym typeface="+mn-lt"/>
              </a:endParaRPr>
            </a:p>
          </p:txBody>
        </p:sp>
      </p:grpSp>
      <p:sp>
        <p:nvSpPr>
          <p:cNvPr id="59" name="iṡliḓè">
            <a:extLst>
              <a:ext uri="{FF2B5EF4-FFF2-40B4-BE49-F238E27FC236}">
                <a16:creationId xmlns:a16="http://schemas.microsoft.com/office/drawing/2014/main" id="{D698738B-1C74-4EAC-87AA-6B135651DC8C}"/>
              </a:ext>
            </a:extLst>
          </p:cNvPr>
          <p:cNvSpPr/>
          <p:nvPr/>
        </p:nvSpPr>
        <p:spPr bwMode="auto">
          <a:xfrm>
            <a:off x="4969604" y="2203785"/>
            <a:ext cx="402513" cy="400024"/>
          </a:xfrm>
          <a:custGeom>
            <a:avLst/>
            <a:gdLst>
              <a:gd name="T0" fmla="*/ 94 w 132"/>
              <a:gd name="T1" fmla="*/ 0 h 128"/>
              <a:gd name="T2" fmla="*/ 56 w 132"/>
              <a:gd name="T3" fmla="*/ 27 h 128"/>
              <a:gd name="T4" fmla="*/ 55 w 132"/>
              <a:gd name="T5" fmla="*/ 27 h 128"/>
              <a:gd name="T6" fmla="*/ 14 w 132"/>
              <a:gd name="T7" fmla="*/ 69 h 128"/>
              <a:gd name="T8" fmla="*/ 1 w 132"/>
              <a:gd name="T9" fmla="*/ 110 h 128"/>
              <a:gd name="T10" fmla="*/ 14 w 132"/>
              <a:gd name="T11" fmla="*/ 128 h 128"/>
              <a:gd name="T12" fmla="*/ 53 w 132"/>
              <a:gd name="T13" fmla="*/ 118 h 128"/>
              <a:gd name="T14" fmla="*/ 120 w 132"/>
              <a:gd name="T15" fmla="*/ 53 h 128"/>
              <a:gd name="T16" fmla="*/ 64 w 132"/>
              <a:gd name="T17" fmla="*/ 95 h 128"/>
              <a:gd name="T18" fmla="*/ 99 w 132"/>
              <a:gd name="T19" fmla="*/ 47 h 128"/>
              <a:gd name="T20" fmla="*/ 95 w 132"/>
              <a:gd name="T21" fmla="*/ 67 h 128"/>
              <a:gd name="T22" fmla="*/ 64 w 132"/>
              <a:gd name="T23" fmla="*/ 98 h 128"/>
              <a:gd name="T24" fmla="*/ 59 w 132"/>
              <a:gd name="T25" fmla="*/ 81 h 128"/>
              <a:gd name="T26" fmla="*/ 46 w 132"/>
              <a:gd name="T27" fmla="*/ 68 h 128"/>
              <a:gd name="T28" fmla="*/ 92 w 132"/>
              <a:gd name="T29" fmla="*/ 36 h 128"/>
              <a:gd name="T30" fmla="*/ 59 w 132"/>
              <a:gd name="T31" fmla="*/ 81 h 128"/>
              <a:gd name="T32" fmla="*/ 30 w 132"/>
              <a:gd name="T33" fmla="*/ 64 h 128"/>
              <a:gd name="T34" fmla="*/ 80 w 132"/>
              <a:gd name="T35" fmla="*/ 29 h 128"/>
              <a:gd name="T36" fmla="*/ 17 w 132"/>
              <a:gd name="T37" fmla="*/ 119 h 128"/>
              <a:gd name="T38" fmla="*/ 8 w 132"/>
              <a:gd name="T39" fmla="*/ 114 h 128"/>
              <a:gd name="T40" fmla="*/ 13 w 132"/>
              <a:gd name="T41" fmla="*/ 96 h 128"/>
              <a:gd name="T42" fmla="*/ 32 w 132"/>
              <a:gd name="T43" fmla="*/ 116 h 128"/>
              <a:gd name="T44" fmla="*/ 35 w 132"/>
              <a:gd name="T45" fmla="*/ 115 h 128"/>
              <a:gd name="T46" fmla="*/ 14 w 132"/>
              <a:gd name="T47" fmla="*/ 92 h 128"/>
              <a:gd name="T48" fmla="*/ 19 w 132"/>
              <a:gd name="T49" fmla="*/ 75 h 128"/>
              <a:gd name="T50" fmla="*/ 52 w 132"/>
              <a:gd name="T51" fmla="*/ 110 h 128"/>
              <a:gd name="T52" fmla="*/ 35 w 132"/>
              <a:gd name="T53" fmla="*/ 115 h 128"/>
              <a:gd name="T54" fmla="*/ 108 w 132"/>
              <a:gd name="T55" fmla="*/ 54 h 128"/>
              <a:gd name="T56" fmla="*/ 98 w 132"/>
              <a:gd name="T57" fmla="*/ 30 h 128"/>
              <a:gd name="T58" fmla="*/ 81 w 132"/>
              <a:gd name="T59" fmla="*/ 13 h 128"/>
              <a:gd name="T60" fmla="*/ 112 w 132"/>
              <a:gd name="T61" fmla="*/ 16 h 128"/>
              <a:gd name="T62" fmla="*/ 115 w 132"/>
              <a:gd name="T63" fmla="*/ 47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32" h="128">
                <a:moveTo>
                  <a:pt x="118" y="10"/>
                </a:moveTo>
                <a:cubicBezTo>
                  <a:pt x="111" y="4"/>
                  <a:pt x="102" y="0"/>
                  <a:pt x="94" y="0"/>
                </a:cubicBezTo>
                <a:cubicBezTo>
                  <a:pt x="87" y="0"/>
                  <a:pt x="80" y="3"/>
                  <a:pt x="75" y="8"/>
                </a:cubicBezTo>
                <a:cubicBezTo>
                  <a:pt x="56" y="27"/>
                  <a:pt x="56" y="27"/>
                  <a:pt x="56" y="27"/>
                </a:cubicBezTo>
                <a:cubicBezTo>
                  <a:pt x="56" y="27"/>
                  <a:pt x="56" y="27"/>
                  <a:pt x="55" y="27"/>
                </a:cubicBezTo>
                <a:cubicBezTo>
                  <a:pt x="55" y="27"/>
                  <a:pt x="55" y="27"/>
                  <a:pt x="55" y="27"/>
                </a:cubicBezTo>
                <a:cubicBezTo>
                  <a:pt x="55" y="27"/>
                  <a:pt x="55" y="27"/>
                  <a:pt x="55" y="27"/>
                </a:cubicBezTo>
                <a:cubicBezTo>
                  <a:pt x="14" y="69"/>
                  <a:pt x="14" y="69"/>
                  <a:pt x="14" y="69"/>
                </a:cubicBezTo>
                <a:cubicBezTo>
                  <a:pt x="12" y="71"/>
                  <a:pt x="11" y="73"/>
                  <a:pt x="10" y="76"/>
                </a:cubicBezTo>
                <a:cubicBezTo>
                  <a:pt x="1" y="110"/>
                  <a:pt x="1" y="110"/>
                  <a:pt x="1" y="110"/>
                </a:cubicBezTo>
                <a:cubicBezTo>
                  <a:pt x="1" y="110"/>
                  <a:pt x="0" y="113"/>
                  <a:pt x="0" y="114"/>
                </a:cubicBezTo>
                <a:cubicBezTo>
                  <a:pt x="0" y="122"/>
                  <a:pt x="6" y="128"/>
                  <a:pt x="14" y="128"/>
                </a:cubicBezTo>
                <a:cubicBezTo>
                  <a:pt x="16" y="128"/>
                  <a:pt x="19" y="127"/>
                  <a:pt x="19" y="127"/>
                </a:cubicBezTo>
                <a:cubicBezTo>
                  <a:pt x="53" y="118"/>
                  <a:pt x="53" y="118"/>
                  <a:pt x="53" y="118"/>
                </a:cubicBezTo>
                <a:cubicBezTo>
                  <a:pt x="55" y="118"/>
                  <a:pt x="57" y="116"/>
                  <a:pt x="59" y="114"/>
                </a:cubicBezTo>
                <a:cubicBezTo>
                  <a:pt x="120" y="53"/>
                  <a:pt x="120" y="53"/>
                  <a:pt x="120" y="53"/>
                </a:cubicBezTo>
                <a:cubicBezTo>
                  <a:pt x="132" y="42"/>
                  <a:pt x="130" y="23"/>
                  <a:pt x="118" y="10"/>
                </a:cubicBezTo>
                <a:close/>
                <a:moveTo>
                  <a:pt x="64" y="95"/>
                </a:moveTo>
                <a:cubicBezTo>
                  <a:pt x="64" y="92"/>
                  <a:pt x="63" y="88"/>
                  <a:pt x="61" y="85"/>
                </a:cubicBezTo>
                <a:cubicBezTo>
                  <a:pt x="99" y="47"/>
                  <a:pt x="99" y="47"/>
                  <a:pt x="99" y="47"/>
                </a:cubicBezTo>
                <a:cubicBezTo>
                  <a:pt x="101" y="54"/>
                  <a:pt x="100" y="62"/>
                  <a:pt x="95" y="67"/>
                </a:cubicBezTo>
                <a:cubicBezTo>
                  <a:pt x="95" y="67"/>
                  <a:pt x="95" y="67"/>
                  <a:pt x="95" y="67"/>
                </a:cubicBezTo>
                <a:cubicBezTo>
                  <a:pt x="95" y="67"/>
                  <a:pt x="95" y="67"/>
                  <a:pt x="95" y="67"/>
                </a:cubicBezTo>
                <a:cubicBezTo>
                  <a:pt x="64" y="98"/>
                  <a:pt x="64" y="98"/>
                  <a:pt x="64" y="98"/>
                </a:cubicBezTo>
                <a:cubicBezTo>
                  <a:pt x="64" y="97"/>
                  <a:pt x="64" y="96"/>
                  <a:pt x="64" y="95"/>
                </a:cubicBezTo>
                <a:close/>
                <a:moveTo>
                  <a:pt x="59" y="81"/>
                </a:moveTo>
                <a:cubicBezTo>
                  <a:pt x="58" y="79"/>
                  <a:pt x="56" y="76"/>
                  <a:pt x="54" y="74"/>
                </a:cubicBezTo>
                <a:cubicBezTo>
                  <a:pt x="51" y="72"/>
                  <a:pt x="49" y="70"/>
                  <a:pt x="46" y="68"/>
                </a:cubicBezTo>
                <a:cubicBezTo>
                  <a:pt x="84" y="30"/>
                  <a:pt x="84" y="30"/>
                  <a:pt x="84" y="30"/>
                </a:cubicBezTo>
                <a:cubicBezTo>
                  <a:pt x="87" y="31"/>
                  <a:pt x="90" y="33"/>
                  <a:pt x="92" y="36"/>
                </a:cubicBezTo>
                <a:cubicBezTo>
                  <a:pt x="94" y="38"/>
                  <a:pt x="96" y="40"/>
                  <a:pt x="97" y="43"/>
                </a:cubicBezTo>
                <a:lnTo>
                  <a:pt x="59" y="81"/>
                </a:lnTo>
                <a:close/>
                <a:moveTo>
                  <a:pt x="42" y="66"/>
                </a:moveTo>
                <a:cubicBezTo>
                  <a:pt x="38" y="65"/>
                  <a:pt x="34" y="64"/>
                  <a:pt x="30" y="64"/>
                </a:cubicBezTo>
                <a:cubicBezTo>
                  <a:pt x="61" y="33"/>
                  <a:pt x="61" y="33"/>
                  <a:pt x="61" y="33"/>
                </a:cubicBezTo>
                <a:cubicBezTo>
                  <a:pt x="66" y="28"/>
                  <a:pt x="73" y="27"/>
                  <a:pt x="80" y="29"/>
                </a:cubicBezTo>
                <a:lnTo>
                  <a:pt x="42" y="66"/>
                </a:lnTo>
                <a:close/>
                <a:moveTo>
                  <a:pt x="17" y="119"/>
                </a:moveTo>
                <a:cubicBezTo>
                  <a:pt x="16" y="120"/>
                  <a:pt x="15" y="120"/>
                  <a:pt x="14" y="120"/>
                </a:cubicBezTo>
                <a:cubicBezTo>
                  <a:pt x="11" y="120"/>
                  <a:pt x="8" y="117"/>
                  <a:pt x="8" y="114"/>
                </a:cubicBezTo>
                <a:cubicBezTo>
                  <a:pt x="8" y="113"/>
                  <a:pt x="8" y="112"/>
                  <a:pt x="8" y="112"/>
                </a:cubicBezTo>
                <a:cubicBezTo>
                  <a:pt x="13" y="96"/>
                  <a:pt x="13" y="96"/>
                  <a:pt x="13" y="96"/>
                </a:cubicBezTo>
                <a:cubicBezTo>
                  <a:pt x="17" y="96"/>
                  <a:pt x="22" y="98"/>
                  <a:pt x="26" y="102"/>
                </a:cubicBezTo>
                <a:cubicBezTo>
                  <a:pt x="30" y="106"/>
                  <a:pt x="32" y="111"/>
                  <a:pt x="32" y="116"/>
                </a:cubicBezTo>
                <a:lnTo>
                  <a:pt x="17" y="119"/>
                </a:lnTo>
                <a:close/>
                <a:moveTo>
                  <a:pt x="35" y="115"/>
                </a:moveTo>
                <a:cubicBezTo>
                  <a:pt x="35" y="109"/>
                  <a:pt x="33" y="104"/>
                  <a:pt x="29" y="99"/>
                </a:cubicBezTo>
                <a:cubicBezTo>
                  <a:pt x="25" y="95"/>
                  <a:pt x="19" y="93"/>
                  <a:pt x="14" y="92"/>
                </a:cubicBezTo>
                <a:cubicBezTo>
                  <a:pt x="18" y="78"/>
                  <a:pt x="18" y="78"/>
                  <a:pt x="18" y="78"/>
                </a:cubicBezTo>
                <a:cubicBezTo>
                  <a:pt x="18" y="77"/>
                  <a:pt x="19" y="76"/>
                  <a:pt x="19" y="75"/>
                </a:cubicBezTo>
                <a:cubicBezTo>
                  <a:pt x="27" y="69"/>
                  <a:pt x="40" y="71"/>
                  <a:pt x="48" y="80"/>
                </a:cubicBezTo>
                <a:cubicBezTo>
                  <a:pt x="57" y="89"/>
                  <a:pt x="59" y="102"/>
                  <a:pt x="52" y="110"/>
                </a:cubicBezTo>
                <a:cubicBezTo>
                  <a:pt x="51" y="110"/>
                  <a:pt x="51" y="111"/>
                  <a:pt x="50" y="111"/>
                </a:cubicBezTo>
                <a:lnTo>
                  <a:pt x="35" y="115"/>
                </a:lnTo>
                <a:close/>
                <a:moveTo>
                  <a:pt x="115" y="47"/>
                </a:moveTo>
                <a:cubicBezTo>
                  <a:pt x="108" y="54"/>
                  <a:pt x="108" y="54"/>
                  <a:pt x="108" y="54"/>
                </a:cubicBezTo>
                <a:cubicBezTo>
                  <a:pt x="108" y="53"/>
                  <a:pt x="108" y="52"/>
                  <a:pt x="108" y="51"/>
                </a:cubicBezTo>
                <a:cubicBezTo>
                  <a:pt x="107" y="43"/>
                  <a:pt x="104" y="36"/>
                  <a:pt x="98" y="30"/>
                </a:cubicBezTo>
                <a:cubicBezTo>
                  <a:pt x="91" y="24"/>
                  <a:pt x="83" y="20"/>
                  <a:pt x="74" y="20"/>
                </a:cubicBezTo>
                <a:cubicBezTo>
                  <a:pt x="81" y="13"/>
                  <a:pt x="81" y="13"/>
                  <a:pt x="81" y="13"/>
                </a:cubicBezTo>
                <a:cubicBezTo>
                  <a:pt x="84" y="10"/>
                  <a:pt x="89" y="8"/>
                  <a:pt x="94" y="8"/>
                </a:cubicBezTo>
                <a:cubicBezTo>
                  <a:pt x="100" y="8"/>
                  <a:pt x="107" y="11"/>
                  <a:pt x="112" y="16"/>
                </a:cubicBezTo>
                <a:cubicBezTo>
                  <a:pt x="117" y="21"/>
                  <a:pt x="120" y="27"/>
                  <a:pt x="120" y="33"/>
                </a:cubicBezTo>
                <a:cubicBezTo>
                  <a:pt x="120" y="38"/>
                  <a:pt x="118" y="43"/>
                  <a:pt x="115" y="47"/>
                </a:cubicBezTo>
                <a:close/>
              </a:path>
            </a:pathLst>
          </a:custGeom>
          <a:solidFill>
            <a:schemeClr val="bg2"/>
          </a:solidFill>
          <a:ln>
            <a:noFill/>
          </a:ln>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a:cs typeface="+mn-ea"/>
              <a:sym typeface="+mn-lt"/>
            </a:endParaRPr>
          </a:p>
        </p:txBody>
      </p:sp>
      <p:grpSp>
        <p:nvGrpSpPr>
          <p:cNvPr id="60" name="îṩľiḍe">
            <a:extLst>
              <a:ext uri="{FF2B5EF4-FFF2-40B4-BE49-F238E27FC236}">
                <a16:creationId xmlns:a16="http://schemas.microsoft.com/office/drawing/2014/main" id="{EEE04A3F-55CA-40D5-A3B1-51EC88ED1A86}"/>
              </a:ext>
            </a:extLst>
          </p:cNvPr>
          <p:cNvGrpSpPr/>
          <p:nvPr/>
        </p:nvGrpSpPr>
        <p:grpSpPr>
          <a:xfrm>
            <a:off x="7670554" y="2203785"/>
            <a:ext cx="268342" cy="400024"/>
            <a:chOff x="3299397" y="1943557"/>
            <a:chExt cx="274604" cy="400024"/>
          </a:xfrm>
          <a:solidFill>
            <a:schemeClr val="bg2"/>
          </a:solidFill>
        </p:grpSpPr>
        <p:sp>
          <p:nvSpPr>
            <p:cNvPr id="78" name="íṩḻiḑe">
              <a:extLst>
                <a:ext uri="{FF2B5EF4-FFF2-40B4-BE49-F238E27FC236}">
                  <a16:creationId xmlns:a16="http://schemas.microsoft.com/office/drawing/2014/main" id="{55D1EF3E-49A9-4421-A441-A68A67121C79}"/>
                </a:ext>
              </a:extLst>
            </p:cNvPr>
            <p:cNvSpPr/>
            <p:nvPr/>
          </p:nvSpPr>
          <p:spPr bwMode="auto">
            <a:xfrm>
              <a:off x="3299397" y="1943557"/>
              <a:ext cx="274604" cy="400024"/>
            </a:xfrm>
            <a:custGeom>
              <a:avLst/>
              <a:gdLst>
                <a:gd name="T0" fmla="*/ 44 w 88"/>
                <a:gd name="T1" fmla="*/ 0 h 128"/>
                <a:gd name="T2" fmla="*/ 0 w 88"/>
                <a:gd name="T3" fmla="*/ 44 h 128"/>
                <a:gd name="T4" fmla="*/ 20 w 88"/>
                <a:gd name="T5" fmla="*/ 92 h 128"/>
                <a:gd name="T6" fmla="*/ 44 w 88"/>
                <a:gd name="T7" fmla="*/ 128 h 128"/>
                <a:gd name="T8" fmla="*/ 68 w 88"/>
                <a:gd name="T9" fmla="*/ 92 h 128"/>
                <a:gd name="T10" fmla="*/ 88 w 88"/>
                <a:gd name="T11" fmla="*/ 44 h 128"/>
                <a:gd name="T12" fmla="*/ 44 w 88"/>
                <a:gd name="T13" fmla="*/ 0 h 128"/>
                <a:gd name="T14" fmla="*/ 54 w 88"/>
                <a:gd name="T15" fmla="*/ 109 h 128"/>
                <a:gd name="T16" fmla="*/ 35 w 88"/>
                <a:gd name="T17" fmla="*/ 111 h 128"/>
                <a:gd name="T18" fmla="*/ 32 w 88"/>
                <a:gd name="T19" fmla="*/ 104 h 128"/>
                <a:gd name="T20" fmla="*/ 32 w 88"/>
                <a:gd name="T21" fmla="*/ 103 h 128"/>
                <a:gd name="T22" fmla="*/ 57 w 88"/>
                <a:gd name="T23" fmla="*/ 100 h 128"/>
                <a:gd name="T24" fmla="*/ 56 w 88"/>
                <a:gd name="T25" fmla="*/ 104 h 128"/>
                <a:gd name="T26" fmla="*/ 54 w 88"/>
                <a:gd name="T27" fmla="*/ 109 h 128"/>
                <a:gd name="T28" fmla="*/ 31 w 88"/>
                <a:gd name="T29" fmla="*/ 100 h 128"/>
                <a:gd name="T30" fmla="*/ 28 w 88"/>
                <a:gd name="T31" fmla="*/ 92 h 128"/>
                <a:gd name="T32" fmla="*/ 60 w 88"/>
                <a:gd name="T33" fmla="*/ 92 h 128"/>
                <a:gd name="T34" fmla="*/ 58 w 88"/>
                <a:gd name="T35" fmla="*/ 96 h 128"/>
                <a:gd name="T36" fmla="*/ 31 w 88"/>
                <a:gd name="T37" fmla="*/ 100 h 128"/>
                <a:gd name="T38" fmla="*/ 44 w 88"/>
                <a:gd name="T39" fmla="*/ 120 h 128"/>
                <a:gd name="T40" fmla="*/ 36 w 88"/>
                <a:gd name="T41" fmla="*/ 115 h 128"/>
                <a:gd name="T42" fmla="*/ 53 w 88"/>
                <a:gd name="T43" fmla="*/ 113 h 128"/>
                <a:gd name="T44" fmla="*/ 44 w 88"/>
                <a:gd name="T45" fmla="*/ 120 h 128"/>
                <a:gd name="T46" fmla="*/ 63 w 88"/>
                <a:gd name="T47" fmla="*/ 84 h 128"/>
                <a:gd name="T48" fmla="*/ 25 w 88"/>
                <a:gd name="T49" fmla="*/ 84 h 128"/>
                <a:gd name="T50" fmla="*/ 19 w 88"/>
                <a:gd name="T51" fmla="*/ 71 h 128"/>
                <a:gd name="T52" fmla="*/ 8 w 88"/>
                <a:gd name="T53" fmla="*/ 44 h 128"/>
                <a:gd name="T54" fmla="*/ 44 w 88"/>
                <a:gd name="T55" fmla="*/ 8 h 128"/>
                <a:gd name="T56" fmla="*/ 80 w 88"/>
                <a:gd name="T57" fmla="*/ 44 h 128"/>
                <a:gd name="T58" fmla="*/ 69 w 88"/>
                <a:gd name="T59" fmla="*/ 71 h 128"/>
                <a:gd name="T60" fmla="*/ 63 w 88"/>
                <a:gd name="T61" fmla="*/ 84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88" h="128">
                  <a:moveTo>
                    <a:pt x="44" y="0"/>
                  </a:moveTo>
                  <a:cubicBezTo>
                    <a:pt x="20" y="0"/>
                    <a:pt x="0" y="20"/>
                    <a:pt x="0" y="44"/>
                  </a:cubicBezTo>
                  <a:cubicBezTo>
                    <a:pt x="0" y="60"/>
                    <a:pt x="15" y="77"/>
                    <a:pt x="20" y="92"/>
                  </a:cubicBezTo>
                  <a:cubicBezTo>
                    <a:pt x="28" y="115"/>
                    <a:pt x="27" y="128"/>
                    <a:pt x="44" y="128"/>
                  </a:cubicBezTo>
                  <a:cubicBezTo>
                    <a:pt x="61" y="128"/>
                    <a:pt x="60" y="115"/>
                    <a:pt x="68" y="92"/>
                  </a:cubicBezTo>
                  <a:cubicBezTo>
                    <a:pt x="73" y="77"/>
                    <a:pt x="88" y="60"/>
                    <a:pt x="88" y="44"/>
                  </a:cubicBezTo>
                  <a:cubicBezTo>
                    <a:pt x="88" y="20"/>
                    <a:pt x="68" y="0"/>
                    <a:pt x="44" y="0"/>
                  </a:cubicBezTo>
                  <a:close/>
                  <a:moveTo>
                    <a:pt x="54" y="109"/>
                  </a:moveTo>
                  <a:cubicBezTo>
                    <a:pt x="35" y="111"/>
                    <a:pt x="35" y="111"/>
                    <a:pt x="35" y="111"/>
                  </a:cubicBezTo>
                  <a:cubicBezTo>
                    <a:pt x="34" y="109"/>
                    <a:pt x="33" y="107"/>
                    <a:pt x="32" y="104"/>
                  </a:cubicBezTo>
                  <a:cubicBezTo>
                    <a:pt x="32" y="104"/>
                    <a:pt x="32" y="104"/>
                    <a:pt x="32" y="103"/>
                  </a:cubicBezTo>
                  <a:cubicBezTo>
                    <a:pt x="57" y="100"/>
                    <a:pt x="57" y="100"/>
                    <a:pt x="57" y="100"/>
                  </a:cubicBezTo>
                  <a:cubicBezTo>
                    <a:pt x="57" y="102"/>
                    <a:pt x="56" y="103"/>
                    <a:pt x="56" y="104"/>
                  </a:cubicBezTo>
                  <a:cubicBezTo>
                    <a:pt x="55" y="106"/>
                    <a:pt x="55" y="107"/>
                    <a:pt x="54" y="109"/>
                  </a:cubicBezTo>
                  <a:close/>
                  <a:moveTo>
                    <a:pt x="31" y="100"/>
                  </a:moveTo>
                  <a:cubicBezTo>
                    <a:pt x="30" y="97"/>
                    <a:pt x="29" y="95"/>
                    <a:pt x="28" y="92"/>
                  </a:cubicBezTo>
                  <a:cubicBezTo>
                    <a:pt x="60" y="92"/>
                    <a:pt x="60" y="92"/>
                    <a:pt x="60" y="92"/>
                  </a:cubicBezTo>
                  <a:cubicBezTo>
                    <a:pt x="59" y="93"/>
                    <a:pt x="59" y="95"/>
                    <a:pt x="58" y="96"/>
                  </a:cubicBezTo>
                  <a:lnTo>
                    <a:pt x="31" y="100"/>
                  </a:lnTo>
                  <a:close/>
                  <a:moveTo>
                    <a:pt x="44" y="120"/>
                  </a:moveTo>
                  <a:cubicBezTo>
                    <a:pt x="40" y="120"/>
                    <a:pt x="38" y="120"/>
                    <a:pt x="36" y="115"/>
                  </a:cubicBezTo>
                  <a:cubicBezTo>
                    <a:pt x="53" y="113"/>
                    <a:pt x="53" y="113"/>
                    <a:pt x="53" y="113"/>
                  </a:cubicBezTo>
                  <a:cubicBezTo>
                    <a:pt x="51" y="119"/>
                    <a:pt x="49" y="120"/>
                    <a:pt x="44" y="120"/>
                  </a:cubicBezTo>
                  <a:close/>
                  <a:moveTo>
                    <a:pt x="63" y="84"/>
                  </a:moveTo>
                  <a:cubicBezTo>
                    <a:pt x="25" y="84"/>
                    <a:pt x="25" y="84"/>
                    <a:pt x="25" y="84"/>
                  </a:cubicBezTo>
                  <a:cubicBezTo>
                    <a:pt x="23" y="80"/>
                    <a:pt x="21" y="75"/>
                    <a:pt x="19" y="71"/>
                  </a:cubicBezTo>
                  <a:cubicBezTo>
                    <a:pt x="13" y="62"/>
                    <a:pt x="8" y="52"/>
                    <a:pt x="8" y="44"/>
                  </a:cubicBezTo>
                  <a:cubicBezTo>
                    <a:pt x="8" y="24"/>
                    <a:pt x="24" y="8"/>
                    <a:pt x="44" y="8"/>
                  </a:cubicBezTo>
                  <a:cubicBezTo>
                    <a:pt x="64" y="8"/>
                    <a:pt x="80" y="24"/>
                    <a:pt x="80" y="44"/>
                  </a:cubicBezTo>
                  <a:cubicBezTo>
                    <a:pt x="80" y="52"/>
                    <a:pt x="75" y="62"/>
                    <a:pt x="69" y="71"/>
                  </a:cubicBezTo>
                  <a:cubicBezTo>
                    <a:pt x="67" y="75"/>
                    <a:pt x="65" y="80"/>
                    <a:pt x="63"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a:cs typeface="+mn-ea"/>
                <a:sym typeface="+mn-lt"/>
              </a:endParaRPr>
            </a:p>
          </p:txBody>
        </p:sp>
        <p:sp>
          <p:nvSpPr>
            <p:cNvPr id="79" name="îsḻidé">
              <a:extLst>
                <a:ext uri="{FF2B5EF4-FFF2-40B4-BE49-F238E27FC236}">
                  <a16:creationId xmlns:a16="http://schemas.microsoft.com/office/drawing/2014/main" id="{62BE5563-0BDE-490C-984B-7930BB211268}"/>
                </a:ext>
              </a:extLst>
            </p:cNvPr>
            <p:cNvSpPr/>
            <p:nvPr/>
          </p:nvSpPr>
          <p:spPr bwMode="auto">
            <a:xfrm>
              <a:off x="3361447" y="2006927"/>
              <a:ext cx="81853" cy="80533"/>
            </a:xfrm>
            <a:custGeom>
              <a:avLst/>
              <a:gdLst>
                <a:gd name="T0" fmla="*/ 24 w 26"/>
                <a:gd name="T1" fmla="*/ 0 h 26"/>
                <a:gd name="T2" fmla="*/ 0 w 26"/>
                <a:gd name="T3" fmla="*/ 24 h 26"/>
                <a:gd name="T4" fmla="*/ 2 w 26"/>
                <a:gd name="T5" fmla="*/ 26 h 26"/>
                <a:gd name="T6" fmla="*/ 4 w 26"/>
                <a:gd name="T7" fmla="*/ 24 h 26"/>
                <a:gd name="T8" fmla="*/ 24 w 26"/>
                <a:gd name="T9" fmla="*/ 4 h 26"/>
                <a:gd name="T10" fmla="*/ 26 w 26"/>
                <a:gd name="T11" fmla="*/ 2 h 26"/>
                <a:gd name="T12" fmla="*/ 24 w 26"/>
                <a:gd name="T13" fmla="*/ 0 h 26"/>
              </a:gdLst>
              <a:ahLst/>
              <a:cxnLst>
                <a:cxn ang="0">
                  <a:pos x="T0" y="T1"/>
                </a:cxn>
                <a:cxn ang="0">
                  <a:pos x="T2" y="T3"/>
                </a:cxn>
                <a:cxn ang="0">
                  <a:pos x="T4" y="T5"/>
                </a:cxn>
                <a:cxn ang="0">
                  <a:pos x="T6" y="T7"/>
                </a:cxn>
                <a:cxn ang="0">
                  <a:pos x="T8" y="T9"/>
                </a:cxn>
                <a:cxn ang="0">
                  <a:pos x="T10" y="T11"/>
                </a:cxn>
                <a:cxn ang="0">
                  <a:pos x="T12" y="T13"/>
                </a:cxn>
              </a:cxnLst>
              <a:rect l="0" t="0" r="r" b="b"/>
              <a:pathLst>
                <a:path w="26" h="26">
                  <a:moveTo>
                    <a:pt x="24" y="0"/>
                  </a:moveTo>
                  <a:cubicBezTo>
                    <a:pt x="11" y="0"/>
                    <a:pt x="0" y="11"/>
                    <a:pt x="0" y="24"/>
                  </a:cubicBezTo>
                  <a:cubicBezTo>
                    <a:pt x="0" y="25"/>
                    <a:pt x="1" y="26"/>
                    <a:pt x="2" y="26"/>
                  </a:cubicBezTo>
                  <a:cubicBezTo>
                    <a:pt x="3" y="26"/>
                    <a:pt x="4" y="25"/>
                    <a:pt x="4" y="24"/>
                  </a:cubicBezTo>
                  <a:cubicBezTo>
                    <a:pt x="4" y="13"/>
                    <a:pt x="13" y="4"/>
                    <a:pt x="24" y="4"/>
                  </a:cubicBezTo>
                  <a:cubicBezTo>
                    <a:pt x="25" y="4"/>
                    <a:pt x="26" y="3"/>
                    <a:pt x="26" y="2"/>
                  </a:cubicBezTo>
                  <a:cubicBezTo>
                    <a:pt x="26" y="1"/>
                    <a:pt x="25" y="0"/>
                    <a:pt x="2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a:cs typeface="+mn-ea"/>
                <a:sym typeface="+mn-lt"/>
              </a:endParaRPr>
            </a:p>
          </p:txBody>
        </p:sp>
      </p:grpSp>
      <p:grpSp>
        <p:nvGrpSpPr>
          <p:cNvPr id="61" name="îṧḻîḑè">
            <a:extLst>
              <a:ext uri="{FF2B5EF4-FFF2-40B4-BE49-F238E27FC236}">
                <a16:creationId xmlns:a16="http://schemas.microsoft.com/office/drawing/2014/main" id="{6E95C32A-1451-4884-82ED-15584FA47D83}"/>
              </a:ext>
            </a:extLst>
          </p:cNvPr>
          <p:cNvGrpSpPr/>
          <p:nvPr/>
        </p:nvGrpSpPr>
        <p:grpSpPr>
          <a:xfrm>
            <a:off x="7658298" y="4835917"/>
            <a:ext cx="292854" cy="400024"/>
            <a:chOff x="2487468" y="1943557"/>
            <a:chExt cx="299688" cy="400024"/>
          </a:xfrm>
          <a:solidFill>
            <a:schemeClr val="bg2"/>
          </a:solidFill>
        </p:grpSpPr>
        <p:sp>
          <p:nvSpPr>
            <p:cNvPr id="76" name="iš1idê">
              <a:extLst>
                <a:ext uri="{FF2B5EF4-FFF2-40B4-BE49-F238E27FC236}">
                  <a16:creationId xmlns:a16="http://schemas.microsoft.com/office/drawing/2014/main" id="{AF396197-3365-4FBE-9DD8-A2F62F6307B1}"/>
                </a:ext>
              </a:extLst>
            </p:cNvPr>
            <p:cNvSpPr/>
            <p:nvPr/>
          </p:nvSpPr>
          <p:spPr bwMode="auto">
            <a:xfrm>
              <a:off x="2487468" y="1943557"/>
              <a:ext cx="299688" cy="400024"/>
            </a:xfrm>
            <a:custGeom>
              <a:avLst/>
              <a:gdLst>
                <a:gd name="T0" fmla="*/ 84 w 96"/>
                <a:gd name="T1" fmla="*/ 52 h 128"/>
                <a:gd name="T2" fmla="*/ 84 w 96"/>
                <a:gd name="T3" fmla="*/ 36 h 128"/>
                <a:gd name="T4" fmla="*/ 48 w 96"/>
                <a:gd name="T5" fmla="*/ 0 h 128"/>
                <a:gd name="T6" fmla="*/ 12 w 96"/>
                <a:gd name="T7" fmla="*/ 36 h 128"/>
                <a:gd name="T8" fmla="*/ 12 w 96"/>
                <a:gd name="T9" fmla="*/ 52 h 128"/>
                <a:gd name="T10" fmla="*/ 0 w 96"/>
                <a:gd name="T11" fmla="*/ 64 h 128"/>
                <a:gd name="T12" fmla="*/ 0 w 96"/>
                <a:gd name="T13" fmla="*/ 76 h 128"/>
                <a:gd name="T14" fmla="*/ 0 w 96"/>
                <a:gd name="T15" fmla="*/ 80 h 128"/>
                <a:gd name="T16" fmla="*/ 0 w 96"/>
                <a:gd name="T17" fmla="*/ 88 h 128"/>
                <a:gd name="T18" fmla="*/ 0 w 96"/>
                <a:gd name="T19" fmla="*/ 92 h 128"/>
                <a:gd name="T20" fmla="*/ 36 w 96"/>
                <a:gd name="T21" fmla="*/ 128 h 128"/>
                <a:gd name="T22" fmla="*/ 60 w 96"/>
                <a:gd name="T23" fmla="*/ 128 h 128"/>
                <a:gd name="T24" fmla="*/ 96 w 96"/>
                <a:gd name="T25" fmla="*/ 92 h 128"/>
                <a:gd name="T26" fmla="*/ 96 w 96"/>
                <a:gd name="T27" fmla="*/ 88 h 128"/>
                <a:gd name="T28" fmla="*/ 96 w 96"/>
                <a:gd name="T29" fmla="*/ 80 h 128"/>
                <a:gd name="T30" fmla="*/ 96 w 96"/>
                <a:gd name="T31" fmla="*/ 76 h 128"/>
                <a:gd name="T32" fmla="*/ 96 w 96"/>
                <a:gd name="T33" fmla="*/ 64 h 128"/>
                <a:gd name="T34" fmla="*/ 84 w 96"/>
                <a:gd name="T35" fmla="*/ 52 h 128"/>
                <a:gd name="T36" fmla="*/ 20 w 96"/>
                <a:gd name="T37" fmla="*/ 36 h 128"/>
                <a:gd name="T38" fmla="*/ 48 w 96"/>
                <a:gd name="T39" fmla="*/ 8 h 128"/>
                <a:gd name="T40" fmla="*/ 76 w 96"/>
                <a:gd name="T41" fmla="*/ 36 h 128"/>
                <a:gd name="T42" fmla="*/ 76 w 96"/>
                <a:gd name="T43" fmla="*/ 52 h 128"/>
                <a:gd name="T44" fmla="*/ 68 w 96"/>
                <a:gd name="T45" fmla="*/ 52 h 128"/>
                <a:gd name="T46" fmla="*/ 68 w 96"/>
                <a:gd name="T47" fmla="*/ 36 h 128"/>
                <a:gd name="T48" fmla="*/ 48 w 96"/>
                <a:gd name="T49" fmla="*/ 16 h 128"/>
                <a:gd name="T50" fmla="*/ 28 w 96"/>
                <a:gd name="T51" fmla="*/ 36 h 128"/>
                <a:gd name="T52" fmla="*/ 28 w 96"/>
                <a:gd name="T53" fmla="*/ 52 h 128"/>
                <a:gd name="T54" fmla="*/ 20 w 96"/>
                <a:gd name="T55" fmla="*/ 52 h 128"/>
                <a:gd name="T56" fmla="*/ 20 w 96"/>
                <a:gd name="T57" fmla="*/ 36 h 128"/>
                <a:gd name="T58" fmla="*/ 64 w 96"/>
                <a:gd name="T59" fmla="*/ 36 h 128"/>
                <a:gd name="T60" fmla="*/ 64 w 96"/>
                <a:gd name="T61" fmla="*/ 36 h 128"/>
                <a:gd name="T62" fmla="*/ 64 w 96"/>
                <a:gd name="T63" fmla="*/ 52 h 128"/>
                <a:gd name="T64" fmla="*/ 32 w 96"/>
                <a:gd name="T65" fmla="*/ 52 h 128"/>
                <a:gd name="T66" fmla="*/ 32 w 96"/>
                <a:gd name="T67" fmla="*/ 36 h 128"/>
                <a:gd name="T68" fmla="*/ 32 w 96"/>
                <a:gd name="T69" fmla="*/ 36 h 128"/>
                <a:gd name="T70" fmla="*/ 48 w 96"/>
                <a:gd name="T71" fmla="*/ 20 h 128"/>
                <a:gd name="T72" fmla="*/ 64 w 96"/>
                <a:gd name="T73" fmla="*/ 36 h 128"/>
                <a:gd name="T74" fmla="*/ 88 w 96"/>
                <a:gd name="T75" fmla="*/ 76 h 128"/>
                <a:gd name="T76" fmla="*/ 88 w 96"/>
                <a:gd name="T77" fmla="*/ 80 h 128"/>
                <a:gd name="T78" fmla="*/ 88 w 96"/>
                <a:gd name="T79" fmla="*/ 88 h 128"/>
                <a:gd name="T80" fmla="*/ 88 w 96"/>
                <a:gd name="T81" fmla="*/ 92 h 128"/>
                <a:gd name="T82" fmla="*/ 60 w 96"/>
                <a:gd name="T83" fmla="*/ 120 h 128"/>
                <a:gd name="T84" fmla="*/ 36 w 96"/>
                <a:gd name="T85" fmla="*/ 120 h 128"/>
                <a:gd name="T86" fmla="*/ 8 w 96"/>
                <a:gd name="T87" fmla="*/ 92 h 128"/>
                <a:gd name="T88" fmla="*/ 8 w 96"/>
                <a:gd name="T89" fmla="*/ 88 h 128"/>
                <a:gd name="T90" fmla="*/ 8 w 96"/>
                <a:gd name="T91" fmla="*/ 80 h 128"/>
                <a:gd name="T92" fmla="*/ 8 w 96"/>
                <a:gd name="T93" fmla="*/ 76 h 128"/>
                <a:gd name="T94" fmla="*/ 8 w 96"/>
                <a:gd name="T95" fmla="*/ 64 h 128"/>
                <a:gd name="T96" fmla="*/ 12 w 96"/>
                <a:gd name="T97" fmla="*/ 60 h 128"/>
                <a:gd name="T98" fmla="*/ 20 w 96"/>
                <a:gd name="T99" fmla="*/ 60 h 128"/>
                <a:gd name="T100" fmla="*/ 76 w 96"/>
                <a:gd name="T101" fmla="*/ 60 h 128"/>
                <a:gd name="T102" fmla="*/ 84 w 96"/>
                <a:gd name="T103" fmla="*/ 60 h 128"/>
                <a:gd name="T104" fmla="*/ 88 w 96"/>
                <a:gd name="T105" fmla="*/ 64 h 128"/>
                <a:gd name="T106" fmla="*/ 88 w 96"/>
                <a:gd name="T107" fmla="*/ 76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96" h="128">
                  <a:moveTo>
                    <a:pt x="84" y="52"/>
                  </a:moveTo>
                  <a:cubicBezTo>
                    <a:pt x="84" y="36"/>
                    <a:pt x="84" y="36"/>
                    <a:pt x="84" y="36"/>
                  </a:cubicBezTo>
                  <a:cubicBezTo>
                    <a:pt x="84" y="16"/>
                    <a:pt x="68" y="0"/>
                    <a:pt x="48" y="0"/>
                  </a:cubicBezTo>
                  <a:cubicBezTo>
                    <a:pt x="28" y="0"/>
                    <a:pt x="12" y="16"/>
                    <a:pt x="12" y="36"/>
                  </a:cubicBezTo>
                  <a:cubicBezTo>
                    <a:pt x="12" y="52"/>
                    <a:pt x="12" y="52"/>
                    <a:pt x="12" y="52"/>
                  </a:cubicBezTo>
                  <a:cubicBezTo>
                    <a:pt x="5" y="52"/>
                    <a:pt x="0" y="57"/>
                    <a:pt x="0" y="64"/>
                  </a:cubicBezTo>
                  <a:cubicBezTo>
                    <a:pt x="0" y="76"/>
                    <a:pt x="0" y="76"/>
                    <a:pt x="0" y="76"/>
                  </a:cubicBezTo>
                  <a:cubicBezTo>
                    <a:pt x="0" y="80"/>
                    <a:pt x="0" y="80"/>
                    <a:pt x="0" y="80"/>
                  </a:cubicBezTo>
                  <a:cubicBezTo>
                    <a:pt x="0" y="88"/>
                    <a:pt x="0" y="88"/>
                    <a:pt x="0" y="88"/>
                  </a:cubicBezTo>
                  <a:cubicBezTo>
                    <a:pt x="0" y="92"/>
                    <a:pt x="0" y="92"/>
                    <a:pt x="0" y="92"/>
                  </a:cubicBezTo>
                  <a:cubicBezTo>
                    <a:pt x="0" y="112"/>
                    <a:pt x="16" y="128"/>
                    <a:pt x="36" y="128"/>
                  </a:cubicBezTo>
                  <a:cubicBezTo>
                    <a:pt x="60" y="128"/>
                    <a:pt x="60" y="128"/>
                    <a:pt x="60" y="128"/>
                  </a:cubicBezTo>
                  <a:cubicBezTo>
                    <a:pt x="80" y="128"/>
                    <a:pt x="96" y="112"/>
                    <a:pt x="96" y="92"/>
                  </a:cubicBezTo>
                  <a:cubicBezTo>
                    <a:pt x="96" y="88"/>
                    <a:pt x="96" y="88"/>
                    <a:pt x="96" y="88"/>
                  </a:cubicBezTo>
                  <a:cubicBezTo>
                    <a:pt x="96" y="80"/>
                    <a:pt x="96" y="80"/>
                    <a:pt x="96" y="80"/>
                  </a:cubicBezTo>
                  <a:cubicBezTo>
                    <a:pt x="96" y="76"/>
                    <a:pt x="96" y="76"/>
                    <a:pt x="96" y="76"/>
                  </a:cubicBezTo>
                  <a:cubicBezTo>
                    <a:pt x="96" y="64"/>
                    <a:pt x="96" y="64"/>
                    <a:pt x="96" y="64"/>
                  </a:cubicBezTo>
                  <a:cubicBezTo>
                    <a:pt x="96" y="57"/>
                    <a:pt x="91" y="52"/>
                    <a:pt x="84" y="52"/>
                  </a:cubicBezTo>
                  <a:close/>
                  <a:moveTo>
                    <a:pt x="20" y="36"/>
                  </a:moveTo>
                  <a:cubicBezTo>
                    <a:pt x="20" y="21"/>
                    <a:pt x="33" y="8"/>
                    <a:pt x="48" y="8"/>
                  </a:cubicBezTo>
                  <a:cubicBezTo>
                    <a:pt x="63" y="8"/>
                    <a:pt x="76" y="21"/>
                    <a:pt x="76" y="36"/>
                  </a:cubicBezTo>
                  <a:cubicBezTo>
                    <a:pt x="76" y="52"/>
                    <a:pt x="76" y="52"/>
                    <a:pt x="76" y="52"/>
                  </a:cubicBezTo>
                  <a:cubicBezTo>
                    <a:pt x="68" y="52"/>
                    <a:pt x="68" y="52"/>
                    <a:pt x="68" y="52"/>
                  </a:cubicBezTo>
                  <a:cubicBezTo>
                    <a:pt x="68" y="36"/>
                    <a:pt x="68" y="36"/>
                    <a:pt x="68" y="36"/>
                  </a:cubicBezTo>
                  <a:cubicBezTo>
                    <a:pt x="68" y="25"/>
                    <a:pt x="59" y="16"/>
                    <a:pt x="48" y="16"/>
                  </a:cubicBezTo>
                  <a:cubicBezTo>
                    <a:pt x="37" y="16"/>
                    <a:pt x="28" y="25"/>
                    <a:pt x="28" y="36"/>
                  </a:cubicBezTo>
                  <a:cubicBezTo>
                    <a:pt x="28" y="52"/>
                    <a:pt x="28" y="52"/>
                    <a:pt x="28" y="52"/>
                  </a:cubicBezTo>
                  <a:cubicBezTo>
                    <a:pt x="20" y="52"/>
                    <a:pt x="20" y="52"/>
                    <a:pt x="20" y="52"/>
                  </a:cubicBezTo>
                  <a:lnTo>
                    <a:pt x="20" y="36"/>
                  </a:lnTo>
                  <a:close/>
                  <a:moveTo>
                    <a:pt x="64" y="36"/>
                  </a:moveTo>
                  <a:cubicBezTo>
                    <a:pt x="64" y="36"/>
                    <a:pt x="64" y="36"/>
                    <a:pt x="64" y="36"/>
                  </a:cubicBezTo>
                  <a:cubicBezTo>
                    <a:pt x="64" y="52"/>
                    <a:pt x="64" y="52"/>
                    <a:pt x="64" y="52"/>
                  </a:cubicBezTo>
                  <a:cubicBezTo>
                    <a:pt x="32" y="52"/>
                    <a:pt x="32" y="52"/>
                    <a:pt x="32" y="52"/>
                  </a:cubicBezTo>
                  <a:cubicBezTo>
                    <a:pt x="32" y="36"/>
                    <a:pt x="32" y="36"/>
                    <a:pt x="32" y="36"/>
                  </a:cubicBezTo>
                  <a:cubicBezTo>
                    <a:pt x="32" y="36"/>
                    <a:pt x="32" y="36"/>
                    <a:pt x="32" y="36"/>
                  </a:cubicBezTo>
                  <a:cubicBezTo>
                    <a:pt x="32" y="27"/>
                    <a:pt x="39" y="20"/>
                    <a:pt x="48" y="20"/>
                  </a:cubicBezTo>
                  <a:cubicBezTo>
                    <a:pt x="57" y="20"/>
                    <a:pt x="64" y="27"/>
                    <a:pt x="64" y="36"/>
                  </a:cubicBezTo>
                  <a:close/>
                  <a:moveTo>
                    <a:pt x="88" y="76"/>
                  </a:moveTo>
                  <a:cubicBezTo>
                    <a:pt x="88" y="80"/>
                    <a:pt x="88" y="80"/>
                    <a:pt x="88" y="80"/>
                  </a:cubicBezTo>
                  <a:cubicBezTo>
                    <a:pt x="88" y="88"/>
                    <a:pt x="88" y="88"/>
                    <a:pt x="88" y="88"/>
                  </a:cubicBezTo>
                  <a:cubicBezTo>
                    <a:pt x="88" y="92"/>
                    <a:pt x="88" y="92"/>
                    <a:pt x="88" y="92"/>
                  </a:cubicBezTo>
                  <a:cubicBezTo>
                    <a:pt x="88" y="107"/>
                    <a:pt x="75" y="120"/>
                    <a:pt x="60" y="120"/>
                  </a:cubicBezTo>
                  <a:cubicBezTo>
                    <a:pt x="36" y="120"/>
                    <a:pt x="36" y="120"/>
                    <a:pt x="36" y="120"/>
                  </a:cubicBezTo>
                  <a:cubicBezTo>
                    <a:pt x="21" y="120"/>
                    <a:pt x="8" y="107"/>
                    <a:pt x="8" y="92"/>
                  </a:cubicBezTo>
                  <a:cubicBezTo>
                    <a:pt x="8" y="88"/>
                    <a:pt x="8" y="88"/>
                    <a:pt x="8" y="88"/>
                  </a:cubicBezTo>
                  <a:cubicBezTo>
                    <a:pt x="8" y="80"/>
                    <a:pt x="8" y="80"/>
                    <a:pt x="8" y="80"/>
                  </a:cubicBezTo>
                  <a:cubicBezTo>
                    <a:pt x="8" y="76"/>
                    <a:pt x="8" y="76"/>
                    <a:pt x="8" y="76"/>
                  </a:cubicBezTo>
                  <a:cubicBezTo>
                    <a:pt x="8" y="64"/>
                    <a:pt x="8" y="64"/>
                    <a:pt x="8" y="64"/>
                  </a:cubicBezTo>
                  <a:cubicBezTo>
                    <a:pt x="8" y="62"/>
                    <a:pt x="10" y="60"/>
                    <a:pt x="12" y="60"/>
                  </a:cubicBezTo>
                  <a:cubicBezTo>
                    <a:pt x="15" y="60"/>
                    <a:pt x="17" y="60"/>
                    <a:pt x="20" y="60"/>
                  </a:cubicBezTo>
                  <a:cubicBezTo>
                    <a:pt x="76" y="60"/>
                    <a:pt x="76" y="60"/>
                    <a:pt x="76" y="60"/>
                  </a:cubicBezTo>
                  <a:cubicBezTo>
                    <a:pt x="79" y="60"/>
                    <a:pt x="81" y="60"/>
                    <a:pt x="84" y="60"/>
                  </a:cubicBezTo>
                  <a:cubicBezTo>
                    <a:pt x="86" y="60"/>
                    <a:pt x="88" y="62"/>
                    <a:pt x="88" y="64"/>
                  </a:cubicBezTo>
                  <a:lnTo>
                    <a:pt x="88"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a:cs typeface="+mn-ea"/>
                <a:sym typeface="+mn-lt"/>
              </a:endParaRPr>
            </a:p>
          </p:txBody>
        </p:sp>
        <p:sp>
          <p:nvSpPr>
            <p:cNvPr id="77" name="islîḍè">
              <a:extLst>
                <a:ext uri="{FF2B5EF4-FFF2-40B4-BE49-F238E27FC236}">
                  <a16:creationId xmlns:a16="http://schemas.microsoft.com/office/drawing/2014/main" id="{C26A9F29-40FB-4860-92BF-8CFF0EA57C9A}"/>
                </a:ext>
              </a:extLst>
            </p:cNvPr>
            <p:cNvSpPr/>
            <p:nvPr/>
          </p:nvSpPr>
          <p:spPr bwMode="auto">
            <a:xfrm>
              <a:off x="2611567" y="2181195"/>
              <a:ext cx="50168" cy="75252"/>
            </a:xfrm>
            <a:custGeom>
              <a:avLst/>
              <a:gdLst>
                <a:gd name="T0" fmla="*/ 8 w 16"/>
                <a:gd name="T1" fmla="*/ 0 h 24"/>
                <a:gd name="T2" fmla="*/ 0 w 16"/>
                <a:gd name="T3" fmla="*/ 8 h 24"/>
                <a:gd name="T4" fmla="*/ 3 w 16"/>
                <a:gd name="T5" fmla="*/ 19 h 24"/>
                <a:gd name="T6" fmla="*/ 8 w 16"/>
                <a:gd name="T7" fmla="*/ 24 h 24"/>
                <a:gd name="T8" fmla="*/ 13 w 16"/>
                <a:gd name="T9" fmla="*/ 19 h 24"/>
                <a:gd name="T10" fmla="*/ 16 w 16"/>
                <a:gd name="T11" fmla="*/ 8 h 24"/>
                <a:gd name="T12" fmla="*/ 8 w 16"/>
                <a:gd name="T13" fmla="*/ 0 h 24"/>
              </a:gdLst>
              <a:ahLst/>
              <a:cxnLst>
                <a:cxn ang="0">
                  <a:pos x="T0" y="T1"/>
                </a:cxn>
                <a:cxn ang="0">
                  <a:pos x="T2" y="T3"/>
                </a:cxn>
                <a:cxn ang="0">
                  <a:pos x="T4" y="T5"/>
                </a:cxn>
                <a:cxn ang="0">
                  <a:pos x="T6" y="T7"/>
                </a:cxn>
                <a:cxn ang="0">
                  <a:pos x="T8" y="T9"/>
                </a:cxn>
                <a:cxn ang="0">
                  <a:pos x="T10" y="T11"/>
                </a:cxn>
                <a:cxn ang="0">
                  <a:pos x="T12" y="T13"/>
                </a:cxn>
              </a:cxnLst>
              <a:rect l="0" t="0" r="r" b="b"/>
              <a:pathLst>
                <a:path w="16" h="24">
                  <a:moveTo>
                    <a:pt x="8" y="0"/>
                  </a:moveTo>
                  <a:cubicBezTo>
                    <a:pt x="4" y="0"/>
                    <a:pt x="0" y="4"/>
                    <a:pt x="0" y="8"/>
                  </a:cubicBezTo>
                  <a:cubicBezTo>
                    <a:pt x="0" y="10"/>
                    <a:pt x="1" y="15"/>
                    <a:pt x="3" y="19"/>
                  </a:cubicBezTo>
                  <a:cubicBezTo>
                    <a:pt x="4" y="22"/>
                    <a:pt x="5" y="24"/>
                    <a:pt x="8" y="24"/>
                  </a:cubicBezTo>
                  <a:cubicBezTo>
                    <a:pt x="11" y="24"/>
                    <a:pt x="12" y="22"/>
                    <a:pt x="13" y="19"/>
                  </a:cubicBezTo>
                  <a:cubicBezTo>
                    <a:pt x="15" y="15"/>
                    <a:pt x="16" y="10"/>
                    <a:pt x="16" y="8"/>
                  </a:cubicBezTo>
                  <a:cubicBezTo>
                    <a:pt x="16" y="4"/>
                    <a:pt x="12" y="0"/>
                    <a:pt x="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a:cs typeface="+mn-ea"/>
                <a:sym typeface="+mn-lt"/>
              </a:endParaRPr>
            </a:p>
          </p:txBody>
        </p:sp>
      </p:grpSp>
      <p:sp>
        <p:nvSpPr>
          <p:cNvPr id="62" name="îṩḻïďê">
            <a:extLst>
              <a:ext uri="{FF2B5EF4-FFF2-40B4-BE49-F238E27FC236}">
                <a16:creationId xmlns:a16="http://schemas.microsoft.com/office/drawing/2014/main" id="{4883AD8E-2390-4F2B-959E-93418C6BDD94}"/>
              </a:ext>
            </a:extLst>
          </p:cNvPr>
          <p:cNvSpPr/>
          <p:nvPr/>
        </p:nvSpPr>
        <p:spPr bwMode="auto">
          <a:xfrm>
            <a:off x="2460107" y="2253953"/>
            <a:ext cx="390902" cy="299688"/>
          </a:xfrm>
          <a:custGeom>
            <a:avLst/>
            <a:gdLst>
              <a:gd name="T0" fmla="*/ 105 w 128"/>
              <a:gd name="T1" fmla="*/ 2 h 96"/>
              <a:gd name="T2" fmla="*/ 28 w 128"/>
              <a:gd name="T3" fmla="*/ 0 h 96"/>
              <a:gd name="T4" fmla="*/ 2 w 128"/>
              <a:gd name="T5" fmla="*/ 23 h 96"/>
              <a:gd name="T6" fmla="*/ 2 w 128"/>
              <a:gd name="T7" fmla="*/ 34 h 96"/>
              <a:gd name="T8" fmla="*/ 64 w 128"/>
              <a:gd name="T9" fmla="*/ 96 h 96"/>
              <a:gd name="T10" fmla="*/ 126 w 128"/>
              <a:gd name="T11" fmla="*/ 34 h 96"/>
              <a:gd name="T12" fmla="*/ 126 w 128"/>
              <a:gd name="T13" fmla="*/ 23 h 96"/>
              <a:gd name="T14" fmla="*/ 55 w 128"/>
              <a:gd name="T15" fmla="*/ 28 h 96"/>
              <a:gd name="T16" fmla="*/ 73 w 128"/>
              <a:gd name="T17" fmla="*/ 28 h 96"/>
              <a:gd name="T18" fmla="*/ 78 w 128"/>
              <a:gd name="T19" fmla="*/ 9 h 96"/>
              <a:gd name="T20" fmla="*/ 76 w 128"/>
              <a:gd name="T21" fmla="*/ 25 h 96"/>
              <a:gd name="T22" fmla="*/ 52 w 128"/>
              <a:gd name="T23" fmla="*/ 25 h 96"/>
              <a:gd name="T24" fmla="*/ 50 w 128"/>
              <a:gd name="T25" fmla="*/ 9 h 96"/>
              <a:gd name="T26" fmla="*/ 52 w 128"/>
              <a:gd name="T27" fmla="*/ 25 h 96"/>
              <a:gd name="T28" fmla="*/ 64 w 128"/>
              <a:gd name="T29" fmla="*/ 82 h 96"/>
              <a:gd name="T30" fmla="*/ 74 w 128"/>
              <a:gd name="T31" fmla="*/ 32 h 96"/>
              <a:gd name="T32" fmla="*/ 98 w 128"/>
              <a:gd name="T33" fmla="*/ 32 h 96"/>
              <a:gd name="T34" fmla="*/ 78 w 128"/>
              <a:gd name="T35" fmla="*/ 32 h 96"/>
              <a:gd name="T36" fmla="*/ 89 w 128"/>
              <a:gd name="T37" fmla="*/ 20 h 96"/>
              <a:gd name="T38" fmla="*/ 79 w 128"/>
              <a:gd name="T39" fmla="*/ 28 h 96"/>
              <a:gd name="T40" fmla="*/ 97 w 128"/>
              <a:gd name="T41" fmla="*/ 8 h 96"/>
              <a:gd name="T42" fmla="*/ 83 w 128"/>
              <a:gd name="T43" fmla="*/ 8 h 96"/>
              <a:gd name="T44" fmla="*/ 55 w 128"/>
              <a:gd name="T45" fmla="*/ 8 h 96"/>
              <a:gd name="T46" fmla="*/ 64 w 128"/>
              <a:gd name="T47" fmla="*/ 15 h 96"/>
              <a:gd name="T48" fmla="*/ 31 w 128"/>
              <a:gd name="T49" fmla="*/ 8 h 96"/>
              <a:gd name="T50" fmla="*/ 39 w 128"/>
              <a:gd name="T51" fmla="*/ 14 h 96"/>
              <a:gd name="T52" fmla="*/ 49 w 128"/>
              <a:gd name="T53" fmla="*/ 28 h 96"/>
              <a:gd name="T54" fmla="*/ 39 w 128"/>
              <a:gd name="T55" fmla="*/ 20 h 96"/>
              <a:gd name="T56" fmla="*/ 60 w 128"/>
              <a:gd name="T57" fmla="*/ 81 h 96"/>
              <a:gd name="T58" fmla="*/ 50 w 128"/>
              <a:gd name="T59" fmla="*/ 32 h 96"/>
              <a:gd name="T60" fmla="*/ 11 w 128"/>
              <a:gd name="T61" fmla="*/ 32 h 96"/>
              <a:gd name="T62" fmla="*/ 51 w 128"/>
              <a:gd name="T63" fmla="*/ 74 h 96"/>
              <a:gd name="T64" fmla="*/ 117 w 128"/>
              <a:gd name="T65" fmla="*/ 32 h 96"/>
              <a:gd name="T66" fmla="*/ 102 w 128"/>
              <a:gd name="T67" fmla="*/ 32 h 96"/>
              <a:gd name="T68" fmla="*/ 92 w 128"/>
              <a:gd name="T69" fmla="*/ 17 h 96"/>
              <a:gd name="T70" fmla="*/ 120 w 128"/>
              <a:gd name="T71" fmla="*/ 28 h 96"/>
              <a:gd name="T72" fmla="*/ 27 w 128"/>
              <a:gd name="T73" fmla="*/ 10 h 96"/>
              <a:gd name="T74" fmla="*/ 25 w 128"/>
              <a:gd name="T75" fmla="*/ 28 h 96"/>
              <a:gd name="T76" fmla="*/ 27 w 128"/>
              <a:gd name="T77" fmla="*/ 1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8" h="96">
                <a:moveTo>
                  <a:pt x="126" y="23"/>
                </a:moveTo>
                <a:cubicBezTo>
                  <a:pt x="105" y="2"/>
                  <a:pt x="105" y="2"/>
                  <a:pt x="105" y="2"/>
                </a:cubicBezTo>
                <a:cubicBezTo>
                  <a:pt x="104" y="1"/>
                  <a:pt x="102" y="0"/>
                  <a:pt x="100" y="0"/>
                </a:cubicBezTo>
                <a:cubicBezTo>
                  <a:pt x="28" y="0"/>
                  <a:pt x="28" y="0"/>
                  <a:pt x="28" y="0"/>
                </a:cubicBezTo>
                <a:cubicBezTo>
                  <a:pt x="26" y="0"/>
                  <a:pt x="24" y="1"/>
                  <a:pt x="23" y="2"/>
                </a:cubicBezTo>
                <a:cubicBezTo>
                  <a:pt x="2" y="23"/>
                  <a:pt x="2" y="23"/>
                  <a:pt x="2" y="23"/>
                </a:cubicBezTo>
                <a:cubicBezTo>
                  <a:pt x="1" y="24"/>
                  <a:pt x="0" y="26"/>
                  <a:pt x="0" y="28"/>
                </a:cubicBezTo>
                <a:cubicBezTo>
                  <a:pt x="0" y="30"/>
                  <a:pt x="1" y="32"/>
                  <a:pt x="2" y="34"/>
                </a:cubicBezTo>
                <a:cubicBezTo>
                  <a:pt x="58" y="93"/>
                  <a:pt x="58" y="93"/>
                  <a:pt x="58" y="93"/>
                </a:cubicBezTo>
                <a:cubicBezTo>
                  <a:pt x="60" y="95"/>
                  <a:pt x="62" y="96"/>
                  <a:pt x="64" y="96"/>
                </a:cubicBezTo>
                <a:cubicBezTo>
                  <a:pt x="66" y="96"/>
                  <a:pt x="68" y="95"/>
                  <a:pt x="70" y="93"/>
                </a:cubicBezTo>
                <a:cubicBezTo>
                  <a:pt x="126" y="34"/>
                  <a:pt x="126" y="34"/>
                  <a:pt x="126" y="34"/>
                </a:cubicBezTo>
                <a:cubicBezTo>
                  <a:pt x="127" y="32"/>
                  <a:pt x="128" y="30"/>
                  <a:pt x="128" y="28"/>
                </a:cubicBezTo>
                <a:cubicBezTo>
                  <a:pt x="128" y="26"/>
                  <a:pt x="127" y="24"/>
                  <a:pt x="126" y="23"/>
                </a:cubicBezTo>
                <a:close/>
                <a:moveTo>
                  <a:pt x="73" y="28"/>
                </a:moveTo>
                <a:cubicBezTo>
                  <a:pt x="55" y="28"/>
                  <a:pt x="55" y="28"/>
                  <a:pt x="55" y="28"/>
                </a:cubicBezTo>
                <a:cubicBezTo>
                  <a:pt x="64" y="21"/>
                  <a:pt x="64" y="21"/>
                  <a:pt x="64" y="21"/>
                </a:cubicBezTo>
                <a:lnTo>
                  <a:pt x="73" y="28"/>
                </a:lnTo>
                <a:close/>
                <a:moveTo>
                  <a:pt x="67" y="18"/>
                </a:moveTo>
                <a:cubicBezTo>
                  <a:pt x="78" y="9"/>
                  <a:pt x="78" y="9"/>
                  <a:pt x="78" y="9"/>
                </a:cubicBezTo>
                <a:cubicBezTo>
                  <a:pt x="86" y="17"/>
                  <a:pt x="86" y="17"/>
                  <a:pt x="86" y="17"/>
                </a:cubicBezTo>
                <a:cubicBezTo>
                  <a:pt x="76" y="25"/>
                  <a:pt x="76" y="25"/>
                  <a:pt x="76" y="25"/>
                </a:cubicBezTo>
                <a:lnTo>
                  <a:pt x="67" y="18"/>
                </a:lnTo>
                <a:close/>
                <a:moveTo>
                  <a:pt x="52" y="25"/>
                </a:moveTo>
                <a:cubicBezTo>
                  <a:pt x="42" y="17"/>
                  <a:pt x="42" y="17"/>
                  <a:pt x="42" y="17"/>
                </a:cubicBezTo>
                <a:cubicBezTo>
                  <a:pt x="50" y="9"/>
                  <a:pt x="50" y="9"/>
                  <a:pt x="50" y="9"/>
                </a:cubicBezTo>
                <a:cubicBezTo>
                  <a:pt x="61" y="18"/>
                  <a:pt x="61" y="18"/>
                  <a:pt x="61" y="18"/>
                </a:cubicBezTo>
                <a:lnTo>
                  <a:pt x="52" y="25"/>
                </a:lnTo>
                <a:close/>
                <a:moveTo>
                  <a:pt x="74" y="32"/>
                </a:moveTo>
                <a:cubicBezTo>
                  <a:pt x="64" y="82"/>
                  <a:pt x="64" y="82"/>
                  <a:pt x="64" y="82"/>
                </a:cubicBezTo>
                <a:cubicBezTo>
                  <a:pt x="54" y="32"/>
                  <a:pt x="54" y="32"/>
                  <a:pt x="54" y="32"/>
                </a:cubicBezTo>
                <a:lnTo>
                  <a:pt x="74" y="32"/>
                </a:lnTo>
                <a:close/>
                <a:moveTo>
                  <a:pt x="78" y="32"/>
                </a:moveTo>
                <a:cubicBezTo>
                  <a:pt x="98" y="32"/>
                  <a:pt x="98" y="32"/>
                  <a:pt x="98" y="32"/>
                </a:cubicBezTo>
                <a:cubicBezTo>
                  <a:pt x="68" y="81"/>
                  <a:pt x="68" y="81"/>
                  <a:pt x="68" y="81"/>
                </a:cubicBezTo>
                <a:lnTo>
                  <a:pt x="78" y="32"/>
                </a:lnTo>
                <a:close/>
                <a:moveTo>
                  <a:pt x="79" y="28"/>
                </a:moveTo>
                <a:cubicBezTo>
                  <a:pt x="89" y="20"/>
                  <a:pt x="89" y="20"/>
                  <a:pt x="89" y="20"/>
                </a:cubicBezTo>
                <a:cubicBezTo>
                  <a:pt x="97" y="28"/>
                  <a:pt x="97" y="28"/>
                  <a:pt x="97" y="28"/>
                </a:cubicBezTo>
                <a:lnTo>
                  <a:pt x="79" y="28"/>
                </a:lnTo>
                <a:close/>
                <a:moveTo>
                  <a:pt x="83" y="8"/>
                </a:moveTo>
                <a:cubicBezTo>
                  <a:pt x="97" y="8"/>
                  <a:pt x="97" y="8"/>
                  <a:pt x="97" y="8"/>
                </a:cubicBezTo>
                <a:cubicBezTo>
                  <a:pt x="89" y="14"/>
                  <a:pt x="89" y="14"/>
                  <a:pt x="89" y="14"/>
                </a:cubicBezTo>
                <a:lnTo>
                  <a:pt x="83" y="8"/>
                </a:lnTo>
                <a:close/>
                <a:moveTo>
                  <a:pt x="64" y="15"/>
                </a:moveTo>
                <a:cubicBezTo>
                  <a:pt x="55" y="8"/>
                  <a:pt x="55" y="8"/>
                  <a:pt x="55" y="8"/>
                </a:cubicBezTo>
                <a:cubicBezTo>
                  <a:pt x="73" y="8"/>
                  <a:pt x="73" y="8"/>
                  <a:pt x="73" y="8"/>
                </a:cubicBezTo>
                <a:lnTo>
                  <a:pt x="64" y="15"/>
                </a:lnTo>
                <a:close/>
                <a:moveTo>
                  <a:pt x="39" y="14"/>
                </a:moveTo>
                <a:cubicBezTo>
                  <a:pt x="31" y="8"/>
                  <a:pt x="31" y="8"/>
                  <a:pt x="31" y="8"/>
                </a:cubicBezTo>
                <a:cubicBezTo>
                  <a:pt x="45" y="8"/>
                  <a:pt x="45" y="8"/>
                  <a:pt x="45" y="8"/>
                </a:cubicBezTo>
                <a:lnTo>
                  <a:pt x="39" y="14"/>
                </a:lnTo>
                <a:close/>
                <a:moveTo>
                  <a:pt x="39" y="20"/>
                </a:moveTo>
                <a:cubicBezTo>
                  <a:pt x="49" y="28"/>
                  <a:pt x="49" y="28"/>
                  <a:pt x="49" y="28"/>
                </a:cubicBezTo>
                <a:cubicBezTo>
                  <a:pt x="31" y="28"/>
                  <a:pt x="31" y="28"/>
                  <a:pt x="31" y="28"/>
                </a:cubicBezTo>
                <a:lnTo>
                  <a:pt x="39" y="20"/>
                </a:lnTo>
                <a:close/>
                <a:moveTo>
                  <a:pt x="50" y="32"/>
                </a:moveTo>
                <a:cubicBezTo>
                  <a:pt x="60" y="81"/>
                  <a:pt x="60" y="81"/>
                  <a:pt x="60" y="81"/>
                </a:cubicBezTo>
                <a:cubicBezTo>
                  <a:pt x="30" y="32"/>
                  <a:pt x="30" y="32"/>
                  <a:pt x="30" y="32"/>
                </a:cubicBezTo>
                <a:lnTo>
                  <a:pt x="50" y="32"/>
                </a:lnTo>
                <a:close/>
                <a:moveTo>
                  <a:pt x="51" y="74"/>
                </a:moveTo>
                <a:cubicBezTo>
                  <a:pt x="11" y="32"/>
                  <a:pt x="11" y="32"/>
                  <a:pt x="11" y="32"/>
                </a:cubicBezTo>
                <a:cubicBezTo>
                  <a:pt x="26" y="32"/>
                  <a:pt x="26" y="32"/>
                  <a:pt x="26" y="32"/>
                </a:cubicBezTo>
                <a:lnTo>
                  <a:pt x="51" y="74"/>
                </a:lnTo>
                <a:close/>
                <a:moveTo>
                  <a:pt x="102" y="32"/>
                </a:moveTo>
                <a:cubicBezTo>
                  <a:pt x="117" y="32"/>
                  <a:pt x="117" y="32"/>
                  <a:pt x="117" y="32"/>
                </a:cubicBezTo>
                <a:cubicBezTo>
                  <a:pt x="77" y="74"/>
                  <a:pt x="77" y="74"/>
                  <a:pt x="77" y="74"/>
                </a:cubicBezTo>
                <a:lnTo>
                  <a:pt x="102" y="32"/>
                </a:lnTo>
                <a:close/>
                <a:moveTo>
                  <a:pt x="103" y="28"/>
                </a:moveTo>
                <a:cubicBezTo>
                  <a:pt x="92" y="17"/>
                  <a:pt x="92" y="17"/>
                  <a:pt x="92" y="17"/>
                </a:cubicBezTo>
                <a:cubicBezTo>
                  <a:pt x="101" y="10"/>
                  <a:pt x="101" y="10"/>
                  <a:pt x="101" y="10"/>
                </a:cubicBezTo>
                <a:cubicBezTo>
                  <a:pt x="120" y="28"/>
                  <a:pt x="120" y="28"/>
                  <a:pt x="120" y="28"/>
                </a:cubicBezTo>
                <a:lnTo>
                  <a:pt x="103" y="28"/>
                </a:lnTo>
                <a:close/>
                <a:moveTo>
                  <a:pt x="27" y="10"/>
                </a:moveTo>
                <a:cubicBezTo>
                  <a:pt x="36" y="17"/>
                  <a:pt x="36" y="17"/>
                  <a:pt x="36" y="17"/>
                </a:cubicBezTo>
                <a:cubicBezTo>
                  <a:pt x="25" y="28"/>
                  <a:pt x="25" y="28"/>
                  <a:pt x="25" y="28"/>
                </a:cubicBezTo>
                <a:cubicBezTo>
                  <a:pt x="8" y="28"/>
                  <a:pt x="8" y="28"/>
                  <a:pt x="8" y="28"/>
                </a:cubicBezTo>
                <a:lnTo>
                  <a:pt x="27" y="10"/>
                </a:lnTo>
                <a:close/>
              </a:path>
            </a:pathLst>
          </a:custGeom>
          <a:solidFill>
            <a:schemeClr val="bg2"/>
          </a:solidFill>
          <a:ln>
            <a:noFill/>
          </a:ln>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a:cs typeface="+mn-ea"/>
              <a:sym typeface="+mn-lt"/>
            </a:endParaRPr>
          </a:p>
        </p:txBody>
      </p:sp>
      <p:sp>
        <p:nvSpPr>
          <p:cNvPr id="63" name="í$ľïḓè">
            <a:extLst>
              <a:ext uri="{FF2B5EF4-FFF2-40B4-BE49-F238E27FC236}">
                <a16:creationId xmlns:a16="http://schemas.microsoft.com/office/drawing/2014/main" id="{5E1520C8-0407-4A33-BB1E-73688CA0D520}"/>
              </a:ext>
            </a:extLst>
          </p:cNvPr>
          <p:cNvSpPr/>
          <p:nvPr/>
        </p:nvSpPr>
        <p:spPr>
          <a:xfrm>
            <a:off x="1914688" y="4098348"/>
            <a:ext cx="1848581" cy="614443"/>
          </a:xfrm>
          <a:prstGeom prst="rect">
            <a:avLst/>
          </a:prstGeom>
        </p:spPr>
        <p:txBody>
          <a:bodyPr wrap="square" anchor="ctr">
            <a:normAutofit/>
          </a:body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0" lang="en-US" altLang="zh-CN" sz="1000" b="0" i="0" u="none" strike="noStrike" kern="1200" cap="none" spc="0" normalizeH="0" baseline="0" noProof="0" dirty="0">
                <a:ln>
                  <a:noFill/>
                </a:ln>
                <a:solidFill>
                  <a:srgbClr val="000000"/>
                </a:solidFill>
                <a:effectLst/>
                <a:uLnTx/>
                <a:uFillTx/>
                <a:latin typeface="Arial"/>
                <a:cs typeface="+mn-ea"/>
                <a:sym typeface="+mn-lt"/>
              </a:rPr>
              <a:t>Copy </a:t>
            </a:r>
            <a:r>
              <a:rPr kumimoji="0" lang="en-US" altLang="zh-CN" sz="1000" b="0" i="0" u="none" strike="noStrike" kern="1200" cap="none" spc="0" normalizeH="0" baseline="0" noProof="0">
                <a:ln>
                  <a:noFill/>
                </a:ln>
                <a:solidFill>
                  <a:srgbClr val="000000"/>
                </a:solidFill>
                <a:effectLst/>
                <a:uLnTx/>
                <a:uFillTx/>
                <a:latin typeface="Arial"/>
                <a:cs typeface="+mn-ea"/>
                <a:sym typeface="+mn-lt"/>
              </a:rPr>
              <a:t>paste fonts</a:t>
            </a:r>
            <a:r>
              <a:rPr kumimoji="0" lang="en-US" altLang="zh-CN" sz="100" b="0" i="0" u="none" strike="noStrike" kern="1200" cap="none" spc="0" normalizeH="0" baseline="0" noProof="0">
                <a:ln>
                  <a:noFill/>
                </a:ln>
                <a:solidFill>
                  <a:srgbClr val="000000"/>
                </a:solidFill>
                <a:effectLst/>
                <a:uLnTx/>
                <a:uFillTx/>
                <a:latin typeface="Arial"/>
                <a:cs typeface="+mn-ea"/>
                <a:sym typeface="+mn-lt"/>
              </a:rPr>
              <a:t> </a:t>
            </a:r>
            <a:r>
              <a:rPr kumimoji="0" lang="en-US" altLang="zh-CN" sz="1000" b="0" i="0" u="none" strike="noStrike" kern="1200" cap="none" spc="0" normalizeH="0" baseline="0" noProof="0">
                <a:ln>
                  <a:noFill/>
                </a:ln>
                <a:solidFill>
                  <a:srgbClr val="000000"/>
                </a:solidFill>
                <a:effectLst/>
                <a:uLnTx/>
                <a:uFillTx/>
                <a:latin typeface="Arial"/>
                <a:cs typeface="+mn-ea"/>
                <a:sym typeface="+mn-lt"/>
              </a:rPr>
              <a:t>. </a:t>
            </a:r>
            <a:r>
              <a:rPr kumimoji="0" lang="en-US" altLang="zh-CN" sz="1000" b="0" i="0" u="none" strike="noStrike" kern="1200" cap="none" spc="0" normalizeH="0" baseline="0" noProof="0" dirty="0">
                <a:ln>
                  <a:noFill/>
                </a:ln>
                <a:solidFill>
                  <a:srgbClr val="000000"/>
                </a:solidFill>
                <a:effectLst/>
                <a:uLnTx/>
                <a:uFillTx/>
                <a:latin typeface="Arial"/>
                <a:cs typeface="+mn-ea"/>
                <a:sym typeface="+mn-lt"/>
              </a:rPr>
              <a:t>Choose the only option to retain text.</a:t>
            </a:r>
          </a:p>
        </p:txBody>
      </p:sp>
      <p:sp>
        <p:nvSpPr>
          <p:cNvPr id="64" name="ïṥļiḑè">
            <a:extLst>
              <a:ext uri="{FF2B5EF4-FFF2-40B4-BE49-F238E27FC236}">
                <a16:creationId xmlns:a16="http://schemas.microsoft.com/office/drawing/2014/main" id="{1223A4FE-8205-4CD4-85C5-23088F88D0A6}"/>
              </a:ext>
            </a:extLst>
          </p:cNvPr>
          <p:cNvSpPr/>
          <p:nvPr/>
        </p:nvSpPr>
        <p:spPr>
          <a:xfrm>
            <a:off x="4395918" y="2731481"/>
            <a:ext cx="1848581" cy="609892"/>
          </a:xfrm>
          <a:prstGeom prst="rect">
            <a:avLst/>
          </a:prstGeom>
        </p:spPr>
        <p:txBody>
          <a:bodyPr wrap="square" anchor="ctr">
            <a:normAutofit/>
          </a:body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0" lang="en-US" altLang="zh-CN" sz="1000" b="0" i="0" u="none" strike="noStrike" kern="1200" cap="none" spc="0" normalizeH="0" baseline="0" noProof="0" dirty="0">
                <a:ln>
                  <a:noFill/>
                </a:ln>
                <a:solidFill>
                  <a:srgbClr val="000000"/>
                </a:solidFill>
                <a:effectLst/>
                <a:uLnTx/>
                <a:uFillTx/>
                <a:latin typeface="Arial"/>
                <a:cs typeface="+mn-ea"/>
                <a:sym typeface="+mn-lt"/>
              </a:rPr>
              <a:t>Copy </a:t>
            </a:r>
            <a:r>
              <a:rPr kumimoji="0" lang="en-US" altLang="zh-CN" sz="1000" b="0" i="0" u="none" strike="noStrike" kern="1200" cap="none" spc="0" normalizeH="0" baseline="0" noProof="0">
                <a:ln>
                  <a:noFill/>
                </a:ln>
                <a:solidFill>
                  <a:srgbClr val="000000"/>
                </a:solidFill>
                <a:effectLst/>
                <a:uLnTx/>
                <a:uFillTx/>
                <a:latin typeface="Arial"/>
                <a:cs typeface="+mn-ea"/>
                <a:sym typeface="+mn-lt"/>
              </a:rPr>
              <a:t>paste fonts</a:t>
            </a:r>
            <a:r>
              <a:rPr kumimoji="0" lang="en-US" altLang="zh-CN" sz="100" b="0" i="0" u="none" strike="noStrike" kern="1200" cap="none" spc="0" normalizeH="0" baseline="0" noProof="0">
                <a:ln>
                  <a:noFill/>
                </a:ln>
                <a:solidFill>
                  <a:srgbClr val="000000"/>
                </a:solidFill>
                <a:effectLst/>
                <a:uLnTx/>
                <a:uFillTx/>
                <a:latin typeface="Arial"/>
                <a:cs typeface="+mn-ea"/>
                <a:sym typeface="+mn-lt"/>
              </a:rPr>
              <a:t> </a:t>
            </a:r>
            <a:r>
              <a:rPr kumimoji="0" lang="en-US" altLang="zh-CN" sz="1000" b="0" i="0" u="none" strike="noStrike" kern="1200" cap="none" spc="0" normalizeH="0" baseline="0" noProof="0">
                <a:ln>
                  <a:noFill/>
                </a:ln>
                <a:solidFill>
                  <a:srgbClr val="000000"/>
                </a:solidFill>
                <a:effectLst/>
                <a:uLnTx/>
                <a:uFillTx/>
                <a:latin typeface="Arial"/>
                <a:cs typeface="+mn-ea"/>
                <a:sym typeface="+mn-lt"/>
              </a:rPr>
              <a:t>. </a:t>
            </a:r>
            <a:r>
              <a:rPr kumimoji="0" lang="en-US" altLang="zh-CN" sz="1000" b="0" i="0" u="none" strike="noStrike" kern="1200" cap="none" spc="0" normalizeH="0" baseline="0" noProof="0" dirty="0">
                <a:ln>
                  <a:noFill/>
                </a:ln>
                <a:solidFill>
                  <a:srgbClr val="000000"/>
                </a:solidFill>
                <a:effectLst/>
                <a:uLnTx/>
                <a:uFillTx/>
                <a:latin typeface="Arial"/>
                <a:cs typeface="+mn-ea"/>
                <a:sym typeface="+mn-lt"/>
              </a:rPr>
              <a:t>Choose the only option to retain text.</a:t>
            </a:r>
          </a:p>
        </p:txBody>
      </p:sp>
      <p:sp>
        <p:nvSpPr>
          <p:cNvPr id="65" name="ïšļïḑe">
            <a:extLst>
              <a:ext uri="{FF2B5EF4-FFF2-40B4-BE49-F238E27FC236}">
                <a16:creationId xmlns:a16="http://schemas.microsoft.com/office/drawing/2014/main" id="{9CBF171F-EA06-48CD-8303-3D40FAFA0D88}"/>
              </a:ext>
            </a:extLst>
          </p:cNvPr>
          <p:cNvSpPr/>
          <p:nvPr/>
        </p:nvSpPr>
        <p:spPr>
          <a:xfrm>
            <a:off x="4386589" y="4098348"/>
            <a:ext cx="1848581" cy="614443"/>
          </a:xfrm>
          <a:prstGeom prst="rect">
            <a:avLst/>
          </a:prstGeom>
        </p:spPr>
        <p:txBody>
          <a:bodyPr wrap="square" anchor="ctr">
            <a:normAutofit/>
          </a:body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0" lang="en-US" altLang="zh-CN" sz="1000" b="0" i="0" u="none" strike="noStrike" kern="1200" cap="none" spc="0" normalizeH="0" baseline="0" noProof="0">
                <a:ln>
                  <a:noFill/>
                </a:ln>
                <a:solidFill>
                  <a:srgbClr val="000000"/>
                </a:solidFill>
                <a:effectLst/>
                <a:uLnTx/>
                <a:uFillTx/>
                <a:latin typeface="Arial"/>
                <a:cs typeface="+mn-ea"/>
                <a:sym typeface="+mn-lt"/>
              </a:rPr>
              <a:t>Copy pa</a:t>
            </a:r>
            <a:r>
              <a:rPr kumimoji="0" lang="en-US" altLang="zh-CN" sz="100" b="0" i="0" u="none" strike="noStrike" kern="1200" cap="none" spc="0" normalizeH="0" baseline="0" noProof="0">
                <a:ln>
                  <a:noFill/>
                </a:ln>
                <a:solidFill>
                  <a:srgbClr val="000000"/>
                </a:solidFill>
                <a:effectLst/>
                <a:uLnTx/>
                <a:uFillTx/>
                <a:latin typeface="Arial"/>
                <a:cs typeface="+mn-ea"/>
                <a:sym typeface="+mn-lt"/>
              </a:rPr>
              <a:t> </a:t>
            </a:r>
            <a:r>
              <a:rPr kumimoji="0" lang="en-US" altLang="zh-CN" sz="1000" b="0" i="0" u="none" strike="noStrike" kern="1200" cap="none" spc="0" normalizeH="0" baseline="0" noProof="0">
                <a:ln>
                  <a:noFill/>
                </a:ln>
                <a:solidFill>
                  <a:srgbClr val="000000"/>
                </a:solidFill>
                <a:effectLst/>
                <a:uLnTx/>
                <a:uFillTx/>
                <a:latin typeface="Arial"/>
                <a:cs typeface="+mn-ea"/>
                <a:sym typeface="+mn-lt"/>
              </a:rPr>
              <a:t>ste </a:t>
            </a:r>
            <a:r>
              <a:rPr kumimoji="0" lang="en-US" altLang="zh-CN" sz="1000" b="0" i="0" u="none" strike="noStrike" kern="1200" cap="none" spc="0" normalizeH="0" baseline="0" noProof="0" dirty="0">
                <a:ln>
                  <a:noFill/>
                </a:ln>
                <a:solidFill>
                  <a:srgbClr val="000000"/>
                </a:solidFill>
                <a:effectLst/>
                <a:uLnTx/>
                <a:uFillTx/>
                <a:latin typeface="Arial"/>
                <a:cs typeface="+mn-ea"/>
                <a:sym typeface="+mn-lt"/>
              </a:rPr>
              <a:t>fonts. Choose the only option to retain text.</a:t>
            </a:r>
          </a:p>
        </p:txBody>
      </p:sp>
      <p:sp>
        <p:nvSpPr>
          <p:cNvPr id="66" name="išlíďé">
            <a:extLst>
              <a:ext uri="{FF2B5EF4-FFF2-40B4-BE49-F238E27FC236}">
                <a16:creationId xmlns:a16="http://schemas.microsoft.com/office/drawing/2014/main" id="{D327A58D-11C6-4165-9B3E-69AB8DC3CD43}"/>
              </a:ext>
            </a:extLst>
          </p:cNvPr>
          <p:cNvSpPr/>
          <p:nvPr/>
        </p:nvSpPr>
        <p:spPr>
          <a:xfrm>
            <a:off x="7014605" y="2731481"/>
            <a:ext cx="1848581" cy="609892"/>
          </a:xfrm>
          <a:prstGeom prst="rect">
            <a:avLst/>
          </a:prstGeom>
        </p:spPr>
        <p:txBody>
          <a:bodyPr wrap="square" anchor="ctr">
            <a:normAutofit/>
          </a:body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0" lang="en-US" altLang="zh-CN" sz="1000" b="0" i="0" u="none" strike="noStrike" kern="1200" cap="none" spc="0" normalizeH="0" baseline="0" noProof="0">
                <a:ln>
                  <a:noFill/>
                </a:ln>
                <a:solidFill>
                  <a:srgbClr val="000000"/>
                </a:solidFill>
                <a:effectLst/>
                <a:uLnTx/>
                <a:uFillTx/>
                <a:latin typeface="Arial"/>
                <a:cs typeface="+mn-ea"/>
                <a:sym typeface="+mn-lt"/>
              </a:rPr>
              <a:t>Copy pa</a:t>
            </a:r>
            <a:r>
              <a:rPr kumimoji="0" lang="en-US" altLang="zh-CN" sz="100" b="0" i="0" u="none" strike="noStrike" kern="1200" cap="none" spc="0" normalizeH="0" baseline="0" noProof="0">
                <a:ln>
                  <a:noFill/>
                </a:ln>
                <a:solidFill>
                  <a:srgbClr val="000000"/>
                </a:solidFill>
                <a:effectLst/>
                <a:uLnTx/>
                <a:uFillTx/>
                <a:latin typeface="Arial"/>
                <a:cs typeface="+mn-ea"/>
                <a:sym typeface="+mn-lt"/>
              </a:rPr>
              <a:t> </a:t>
            </a:r>
            <a:r>
              <a:rPr kumimoji="0" lang="en-US" altLang="zh-CN" sz="1000" b="0" i="0" u="none" strike="noStrike" kern="1200" cap="none" spc="0" normalizeH="0" baseline="0" noProof="0">
                <a:ln>
                  <a:noFill/>
                </a:ln>
                <a:solidFill>
                  <a:srgbClr val="000000"/>
                </a:solidFill>
                <a:effectLst/>
                <a:uLnTx/>
                <a:uFillTx/>
                <a:latin typeface="Arial"/>
                <a:cs typeface="+mn-ea"/>
                <a:sym typeface="+mn-lt"/>
              </a:rPr>
              <a:t>ste </a:t>
            </a:r>
            <a:r>
              <a:rPr kumimoji="0" lang="en-US" altLang="zh-CN" sz="1000" b="0" i="0" u="none" strike="noStrike" kern="1200" cap="none" spc="0" normalizeH="0" baseline="0" noProof="0" dirty="0">
                <a:ln>
                  <a:noFill/>
                </a:ln>
                <a:solidFill>
                  <a:srgbClr val="000000"/>
                </a:solidFill>
                <a:effectLst/>
                <a:uLnTx/>
                <a:uFillTx/>
                <a:latin typeface="Arial"/>
                <a:cs typeface="+mn-ea"/>
                <a:sym typeface="+mn-lt"/>
              </a:rPr>
              <a:t>fonts. Choose the only option to retain text.</a:t>
            </a:r>
          </a:p>
        </p:txBody>
      </p:sp>
      <p:sp>
        <p:nvSpPr>
          <p:cNvPr id="67" name="iš1îḍe">
            <a:extLst>
              <a:ext uri="{FF2B5EF4-FFF2-40B4-BE49-F238E27FC236}">
                <a16:creationId xmlns:a16="http://schemas.microsoft.com/office/drawing/2014/main" id="{AC76154C-5BBA-4CFF-9154-C51603433FFD}"/>
              </a:ext>
            </a:extLst>
          </p:cNvPr>
          <p:cNvSpPr/>
          <p:nvPr/>
        </p:nvSpPr>
        <p:spPr>
          <a:xfrm>
            <a:off x="7005276" y="4098348"/>
            <a:ext cx="1848581" cy="614443"/>
          </a:xfrm>
          <a:prstGeom prst="rect">
            <a:avLst/>
          </a:prstGeom>
        </p:spPr>
        <p:txBody>
          <a:bodyPr wrap="square" anchor="ctr">
            <a:normAutofit/>
          </a:body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0" lang="en-US" altLang="zh-CN" sz="1000" b="0" i="0" u="none" strike="noStrike" kern="1200" cap="none" spc="0" normalizeH="0" baseline="0" noProof="0">
                <a:ln>
                  <a:noFill/>
                </a:ln>
                <a:solidFill>
                  <a:srgbClr val="000000"/>
                </a:solidFill>
                <a:effectLst/>
                <a:uLnTx/>
                <a:uFillTx/>
                <a:latin typeface="Arial"/>
                <a:cs typeface="+mn-ea"/>
                <a:sym typeface="+mn-lt"/>
              </a:rPr>
              <a:t>Copy pa</a:t>
            </a:r>
            <a:r>
              <a:rPr kumimoji="0" lang="en-US" altLang="zh-CN" sz="100" b="0" i="0" u="none" strike="noStrike" kern="1200" cap="none" spc="0" normalizeH="0" baseline="0" noProof="0">
                <a:ln>
                  <a:noFill/>
                </a:ln>
                <a:solidFill>
                  <a:srgbClr val="000000"/>
                </a:solidFill>
                <a:effectLst/>
                <a:uLnTx/>
                <a:uFillTx/>
                <a:latin typeface="Arial"/>
                <a:cs typeface="+mn-ea"/>
                <a:sym typeface="+mn-lt"/>
              </a:rPr>
              <a:t> </a:t>
            </a:r>
            <a:r>
              <a:rPr kumimoji="0" lang="en-US" altLang="zh-CN" sz="1000" b="0" i="0" u="none" strike="noStrike" kern="1200" cap="none" spc="0" normalizeH="0" baseline="0" noProof="0">
                <a:ln>
                  <a:noFill/>
                </a:ln>
                <a:solidFill>
                  <a:srgbClr val="000000"/>
                </a:solidFill>
                <a:effectLst/>
                <a:uLnTx/>
                <a:uFillTx/>
                <a:latin typeface="Arial"/>
                <a:cs typeface="+mn-ea"/>
                <a:sym typeface="+mn-lt"/>
              </a:rPr>
              <a:t>ste </a:t>
            </a:r>
            <a:r>
              <a:rPr kumimoji="0" lang="en-US" altLang="zh-CN" sz="1000" b="0" i="0" u="none" strike="noStrike" kern="1200" cap="none" spc="0" normalizeH="0" baseline="0" noProof="0" dirty="0">
                <a:ln>
                  <a:noFill/>
                </a:ln>
                <a:solidFill>
                  <a:srgbClr val="000000"/>
                </a:solidFill>
                <a:effectLst/>
                <a:uLnTx/>
                <a:uFillTx/>
                <a:latin typeface="Arial"/>
                <a:cs typeface="+mn-ea"/>
                <a:sym typeface="+mn-lt"/>
              </a:rPr>
              <a:t>fonts. Choose the only option to retain text.</a:t>
            </a:r>
          </a:p>
        </p:txBody>
      </p:sp>
      <p:sp>
        <p:nvSpPr>
          <p:cNvPr id="68" name="iṧlïḓê">
            <a:extLst>
              <a:ext uri="{FF2B5EF4-FFF2-40B4-BE49-F238E27FC236}">
                <a16:creationId xmlns:a16="http://schemas.microsoft.com/office/drawing/2014/main" id="{2441B1D3-FF0C-4C90-BD44-F2DD34745728}"/>
              </a:ext>
            </a:extLst>
          </p:cNvPr>
          <p:cNvSpPr/>
          <p:nvPr/>
        </p:nvSpPr>
        <p:spPr>
          <a:xfrm rot="5400000">
            <a:off x="9930514" y="3339026"/>
            <a:ext cx="1758009" cy="804131"/>
          </a:xfrm>
          <a:prstGeom prst="triangle">
            <a:avLst/>
          </a:prstGeom>
          <a:solidFill>
            <a:schemeClr val="tx1">
              <a:lumMod val="60000"/>
              <a:lumOff val="40000"/>
              <a:alpha val="3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FFFF"/>
              </a:solidFill>
              <a:effectLst/>
              <a:uLnTx/>
              <a:uFillTx/>
              <a:latin typeface="Arial"/>
              <a:cs typeface="+mn-ea"/>
              <a:sym typeface="+mn-lt"/>
            </a:endParaRPr>
          </a:p>
        </p:txBody>
      </p:sp>
      <p:sp>
        <p:nvSpPr>
          <p:cNvPr id="69" name="i$1îḋé">
            <a:extLst>
              <a:ext uri="{FF2B5EF4-FFF2-40B4-BE49-F238E27FC236}">
                <a16:creationId xmlns:a16="http://schemas.microsoft.com/office/drawing/2014/main" id="{B262F8C8-82C6-44E6-B4C0-C903872B4266}"/>
              </a:ext>
            </a:extLst>
          </p:cNvPr>
          <p:cNvSpPr/>
          <p:nvPr/>
        </p:nvSpPr>
        <p:spPr>
          <a:xfrm rot="5400000">
            <a:off x="8680990" y="3447031"/>
            <a:ext cx="1285778" cy="588128"/>
          </a:xfrm>
          <a:prstGeom prst="triangle">
            <a:avLst/>
          </a:prstGeom>
          <a:solidFill>
            <a:schemeClr val="tx1">
              <a:lumMod val="60000"/>
              <a:lumOff val="40000"/>
              <a:alpha val="3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FFFF"/>
              </a:solidFill>
              <a:effectLst/>
              <a:uLnTx/>
              <a:uFillTx/>
              <a:latin typeface="Arial"/>
              <a:cs typeface="+mn-ea"/>
              <a:sym typeface="+mn-lt"/>
            </a:endParaRPr>
          </a:p>
        </p:txBody>
      </p:sp>
      <p:sp>
        <p:nvSpPr>
          <p:cNvPr id="70" name="íSļïḑè">
            <a:extLst>
              <a:ext uri="{FF2B5EF4-FFF2-40B4-BE49-F238E27FC236}">
                <a16:creationId xmlns:a16="http://schemas.microsoft.com/office/drawing/2014/main" id="{859922C6-D345-438A-8DDC-82C79CB6BFB5}"/>
              </a:ext>
            </a:extLst>
          </p:cNvPr>
          <p:cNvSpPr/>
          <p:nvPr/>
        </p:nvSpPr>
        <p:spPr bwMode="auto">
          <a:xfrm>
            <a:off x="8338828" y="2077628"/>
            <a:ext cx="1381972" cy="3256523"/>
          </a:xfrm>
          <a:custGeom>
            <a:avLst/>
            <a:gdLst>
              <a:gd name="T0" fmla="*/ 538 w 1077"/>
              <a:gd name="T1" fmla="*/ 621 h 2480"/>
              <a:gd name="T2" fmla="*/ 0 w 1077"/>
              <a:gd name="T3" fmla="*/ 0 h 2480"/>
              <a:gd name="T4" fmla="*/ 0 w 1077"/>
              <a:gd name="T5" fmla="*/ 45 h 2480"/>
              <a:gd name="T6" fmla="*/ 281 w 1077"/>
              <a:gd name="T7" fmla="*/ 455 h 2480"/>
              <a:gd name="T8" fmla="*/ 818 w 1077"/>
              <a:gd name="T9" fmla="*/ 1241 h 2480"/>
              <a:gd name="T10" fmla="*/ 281 w 1077"/>
              <a:gd name="T11" fmla="*/ 2025 h 2480"/>
              <a:gd name="T12" fmla="*/ 0 w 1077"/>
              <a:gd name="T13" fmla="*/ 2435 h 2480"/>
              <a:gd name="T14" fmla="*/ 0 w 1077"/>
              <a:gd name="T15" fmla="*/ 2480 h 2480"/>
              <a:gd name="T16" fmla="*/ 538 w 1077"/>
              <a:gd name="T17" fmla="*/ 1862 h 2480"/>
              <a:gd name="T18" fmla="*/ 1077 w 1077"/>
              <a:gd name="T19" fmla="*/ 1241 h 2480"/>
              <a:gd name="T20" fmla="*/ 538 w 1077"/>
              <a:gd name="T21" fmla="*/ 621 h 24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77" h="2480">
                <a:moveTo>
                  <a:pt x="538" y="621"/>
                </a:moveTo>
                <a:lnTo>
                  <a:pt x="0" y="0"/>
                </a:lnTo>
                <a:lnTo>
                  <a:pt x="0" y="45"/>
                </a:lnTo>
                <a:lnTo>
                  <a:pt x="281" y="455"/>
                </a:lnTo>
                <a:lnTo>
                  <a:pt x="818" y="1241"/>
                </a:lnTo>
                <a:lnTo>
                  <a:pt x="281" y="2025"/>
                </a:lnTo>
                <a:lnTo>
                  <a:pt x="0" y="2435"/>
                </a:lnTo>
                <a:lnTo>
                  <a:pt x="0" y="2480"/>
                </a:lnTo>
                <a:lnTo>
                  <a:pt x="538" y="1862"/>
                </a:lnTo>
                <a:lnTo>
                  <a:pt x="1077" y="1241"/>
                </a:lnTo>
                <a:lnTo>
                  <a:pt x="538" y="621"/>
                </a:lnTo>
                <a:close/>
              </a:path>
            </a:pathLst>
          </a:custGeom>
          <a:solidFill>
            <a:schemeClr val="tx1">
              <a:lumMod val="60000"/>
              <a:lumOff val="40000"/>
              <a:alpha val="31000"/>
            </a:schemeClr>
          </a:solidFill>
          <a:ln>
            <a:noFill/>
          </a:ln>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a:cs typeface="+mn-ea"/>
              <a:sym typeface="+mn-lt"/>
            </a:endParaRPr>
          </a:p>
        </p:txBody>
      </p:sp>
      <p:sp>
        <p:nvSpPr>
          <p:cNvPr id="71" name="îŝḷïḑê">
            <a:extLst>
              <a:ext uri="{FF2B5EF4-FFF2-40B4-BE49-F238E27FC236}">
                <a16:creationId xmlns:a16="http://schemas.microsoft.com/office/drawing/2014/main" id="{D7FA5BB7-07FC-4930-86BF-E8FB4833658E}"/>
              </a:ext>
            </a:extLst>
          </p:cNvPr>
          <p:cNvSpPr/>
          <p:nvPr/>
        </p:nvSpPr>
        <p:spPr>
          <a:xfrm rot="5400000">
            <a:off x="6053079" y="3447031"/>
            <a:ext cx="1285778" cy="588128"/>
          </a:xfrm>
          <a:prstGeom prst="triangle">
            <a:avLst/>
          </a:prstGeom>
          <a:solidFill>
            <a:schemeClr val="tx1">
              <a:lumMod val="60000"/>
              <a:lumOff val="40000"/>
              <a:alpha val="3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FFFF"/>
              </a:solidFill>
              <a:effectLst/>
              <a:uLnTx/>
              <a:uFillTx/>
              <a:latin typeface="Arial"/>
              <a:cs typeface="+mn-ea"/>
              <a:sym typeface="+mn-lt"/>
            </a:endParaRPr>
          </a:p>
        </p:txBody>
      </p:sp>
      <p:sp>
        <p:nvSpPr>
          <p:cNvPr id="72" name="îSlîḓê">
            <a:extLst>
              <a:ext uri="{FF2B5EF4-FFF2-40B4-BE49-F238E27FC236}">
                <a16:creationId xmlns:a16="http://schemas.microsoft.com/office/drawing/2014/main" id="{65974509-FBF5-4BCD-9A15-58BDFBDA4EC7}"/>
              </a:ext>
            </a:extLst>
          </p:cNvPr>
          <p:cNvSpPr/>
          <p:nvPr/>
        </p:nvSpPr>
        <p:spPr bwMode="auto">
          <a:xfrm>
            <a:off x="5710917" y="2077626"/>
            <a:ext cx="1381972" cy="3256523"/>
          </a:xfrm>
          <a:custGeom>
            <a:avLst/>
            <a:gdLst>
              <a:gd name="T0" fmla="*/ 538 w 1077"/>
              <a:gd name="T1" fmla="*/ 621 h 2480"/>
              <a:gd name="T2" fmla="*/ 0 w 1077"/>
              <a:gd name="T3" fmla="*/ 0 h 2480"/>
              <a:gd name="T4" fmla="*/ 0 w 1077"/>
              <a:gd name="T5" fmla="*/ 45 h 2480"/>
              <a:gd name="T6" fmla="*/ 281 w 1077"/>
              <a:gd name="T7" fmla="*/ 455 h 2480"/>
              <a:gd name="T8" fmla="*/ 818 w 1077"/>
              <a:gd name="T9" fmla="*/ 1241 h 2480"/>
              <a:gd name="T10" fmla="*/ 281 w 1077"/>
              <a:gd name="T11" fmla="*/ 2025 h 2480"/>
              <a:gd name="T12" fmla="*/ 0 w 1077"/>
              <a:gd name="T13" fmla="*/ 2435 h 2480"/>
              <a:gd name="T14" fmla="*/ 0 w 1077"/>
              <a:gd name="T15" fmla="*/ 2480 h 2480"/>
              <a:gd name="T16" fmla="*/ 538 w 1077"/>
              <a:gd name="T17" fmla="*/ 1862 h 2480"/>
              <a:gd name="T18" fmla="*/ 1077 w 1077"/>
              <a:gd name="T19" fmla="*/ 1241 h 2480"/>
              <a:gd name="T20" fmla="*/ 538 w 1077"/>
              <a:gd name="T21" fmla="*/ 621 h 24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77" h="2480">
                <a:moveTo>
                  <a:pt x="538" y="621"/>
                </a:moveTo>
                <a:lnTo>
                  <a:pt x="0" y="0"/>
                </a:lnTo>
                <a:lnTo>
                  <a:pt x="0" y="45"/>
                </a:lnTo>
                <a:lnTo>
                  <a:pt x="281" y="455"/>
                </a:lnTo>
                <a:lnTo>
                  <a:pt x="818" y="1241"/>
                </a:lnTo>
                <a:lnTo>
                  <a:pt x="281" y="2025"/>
                </a:lnTo>
                <a:lnTo>
                  <a:pt x="0" y="2435"/>
                </a:lnTo>
                <a:lnTo>
                  <a:pt x="0" y="2480"/>
                </a:lnTo>
                <a:lnTo>
                  <a:pt x="538" y="1862"/>
                </a:lnTo>
                <a:lnTo>
                  <a:pt x="1077" y="1241"/>
                </a:lnTo>
                <a:lnTo>
                  <a:pt x="538" y="621"/>
                </a:lnTo>
                <a:close/>
              </a:path>
            </a:pathLst>
          </a:custGeom>
          <a:solidFill>
            <a:schemeClr val="tx1">
              <a:lumMod val="60000"/>
              <a:lumOff val="40000"/>
              <a:alpha val="31000"/>
            </a:schemeClr>
          </a:solidFill>
          <a:ln>
            <a:noFill/>
          </a:ln>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a:cs typeface="+mn-ea"/>
              <a:sym typeface="+mn-lt"/>
            </a:endParaRPr>
          </a:p>
        </p:txBody>
      </p:sp>
      <p:sp>
        <p:nvSpPr>
          <p:cNvPr id="73" name="i$1îdê">
            <a:extLst>
              <a:ext uri="{FF2B5EF4-FFF2-40B4-BE49-F238E27FC236}">
                <a16:creationId xmlns:a16="http://schemas.microsoft.com/office/drawing/2014/main" id="{F85804E0-3BAB-4807-AD92-5AE4FA102DB9}"/>
              </a:ext>
            </a:extLst>
          </p:cNvPr>
          <p:cNvSpPr/>
          <p:nvPr/>
        </p:nvSpPr>
        <p:spPr>
          <a:xfrm rot="5400000">
            <a:off x="3526632" y="3411827"/>
            <a:ext cx="1285778" cy="588128"/>
          </a:xfrm>
          <a:prstGeom prst="triangle">
            <a:avLst/>
          </a:prstGeom>
          <a:solidFill>
            <a:schemeClr val="tx1">
              <a:lumMod val="60000"/>
              <a:lumOff val="40000"/>
              <a:alpha val="3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FFFF"/>
              </a:solidFill>
              <a:effectLst/>
              <a:uLnTx/>
              <a:uFillTx/>
              <a:latin typeface="Arial"/>
              <a:cs typeface="+mn-ea"/>
              <a:sym typeface="+mn-lt"/>
            </a:endParaRPr>
          </a:p>
        </p:txBody>
      </p:sp>
      <p:sp>
        <p:nvSpPr>
          <p:cNvPr id="74" name="iS1îḑè">
            <a:extLst>
              <a:ext uri="{FF2B5EF4-FFF2-40B4-BE49-F238E27FC236}">
                <a16:creationId xmlns:a16="http://schemas.microsoft.com/office/drawing/2014/main" id="{B9E00008-7750-415C-B930-BC65E6F6098A}"/>
              </a:ext>
            </a:extLst>
          </p:cNvPr>
          <p:cNvSpPr/>
          <p:nvPr/>
        </p:nvSpPr>
        <p:spPr bwMode="auto">
          <a:xfrm>
            <a:off x="3184472" y="2112831"/>
            <a:ext cx="1381972" cy="3256523"/>
          </a:xfrm>
          <a:custGeom>
            <a:avLst/>
            <a:gdLst>
              <a:gd name="T0" fmla="*/ 538 w 1077"/>
              <a:gd name="T1" fmla="*/ 621 h 2480"/>
              <a:gd name="T2" fmla="*/ 0 w 1077"/>
              <a:gd name="T3" fmla="*/ 0 h 2480"/>
              <a:gd name="T4" fmla="*/ 0 w 1077"/>
              <a:gd name="T5" fmla="*/ 45 h 2480"/>
              <a:gd name="T6" fmla="*/ 281 w 1077"/>
              <a:gd name="T7" fmla="*/ 455 h 2480"/>
              <a:gd name="T8" fmla="*/ 818 w 1077"/>
              <a:gd name="T9" fmla="*/ 1241 h 2480"/>
              <a:gd name="T10" fmla="*/ 281 w 1077"/>
              <a:gd name="T11" fmla="*/ 2025 h 2480"/>
              <a:gd name="T12" fmla="*/ 0 w 1077"/>
              <a:gd name="T13" fmla="*/ 2435 h 2480"/>
              <a:gd name="T14" fmla="*/ 0 w 1077"/>
              <a:gd name="T15" fmla="*/ 2480 h 2480"/>
              <a:gd name="T16" fmla="*/ 538 w 1077"/>
              <a:gd name="T17" fmla="*/ 1862 h 2480"/>
              <a:gd name="T18" fmla="*/ 1077 w 1077"/>
              <a:gd name="T19" fmla="*/ 1241 h 2480"/>
              <a:gd name="T20" fmla="*/ 538 w 1077"/>
              <a:gd name="T21" fmla="*/ 621 h 24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77" h="2480">
                <a:moveTo>
                  <a:pt x="538" y="621"/>
                </a:moveTo>
                <a:lnTo>
                  <a:pt x="0" y="0"/>
                </a:lnTo>
                <a:lnTo>
                  <a:pt x="0" y="45"/>
                </a:lnTo>
                <a:lnTo>
                  <a:pt x="281" y="455"/>
                </a:lnTo>
                <a:lnTo>
                  <a:pt x="818" y="1241"/>
                </a:lnTo>
                <a:lnTo>
                  <a:pt x="281" y="2025"/>
                </a:lnTo>
                <a:lnTo>
                  <a:pt x="0" y="2435"/>
                </a:lnTo>
                <a:lnTo>
                  <a:pt x="0" y="2480"/>
                </a:lnTo>
                <a:lnTo>
                  <a:pt x="538" y="1862"/>
                </a:lnTo>
                <a:lnTo>
                  <a:pt x="1077" y="1241"/>
                </a:lnTo>
                <a:lnTo>
                  <a:pt x="538" y="621"/>
                </a:lnTo>
                <a:close/>
              </a:path>
            </a:pathLst>
          </a:custGeom>
          <a:solidFill>
            <a:schemeClr val="tx1">
              <a:lumMod val="60000"/>
              <a:lumOff val="40000"/>
              <a:alpha val="31000"/>
            </a:schemeClr>
          </a:solidFill>
          <a:ln>
            <a:noFill/>
          </a:ln>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a:cs typeface="+mn-ea"/>
              <a:sym typeface="+mn-lt"/>
            </a:endParaRPr>
          </a:p>
        </p:txBody>
      </p:sp>
      <p:sp>
        <p:nvSpPr>
          <p:cNvPr id="75" name="ïṥļîďê">
            <a:extLst>
              <a:ext uri="{FF2B5EF4-FFF2-40B4-BE49-F238E27FC236}">
                <a16:creationId xmlns:a16="http://schemas.microsoft.com/office/drawing/2014/main" id="{E24F9E67-75CF-4025-84E8-42BE9C706142}"/>
              </a:ext>
            </a:extLst>
          </p:cNvPr>
          <p:cNvSpPr/>
          <p:nvPr/>
        </p:nvSpPr>
        <p:spPr bwMode="auto">
          <a:xfrm>
            <a:off x="777521" y="1375266"/>
            <a:ext cx="10743214" cy="4731656"/>
          </a:xfrm>
          <a:custGeom>
            <a:avLst/>
            <a:gdLst>
              <a:gd name="T0" fmla="*/ 7710 w 8561"/>
              <a:gd name="T1" fmla="*/ 987 h 3943"/>
              <a:gd name="T2" fmla="*/ 6859 w 8561"/>
              <a:gd name="T3" fmla="*/ 0 h 3943"/>
              <a:gd name="T4" fmla="*/ 6859 w 8561"/>
              <a:gd name="T5" fmla="*/ 71 h 3943"/>
              <a:gd name="T6" fmla="*/ 7303 w 8561"/>
              <a:gd name="T7" fmla="*/ 724 h 3943"/>
              <a:gd name="T8" fmla="*/ 8112 w 8561"/>
              <a:gd name="T9" fmla="*/ 1908 h 3943"/>
              <a:gd name="T10" fmla="*/ 1033 w 8561"/>
              <a:gd name="T11" fmla="*/ 1908 h 3943"/>
              <a:gd name="T12" fmla="*/ 572 w 8561"/>
              <a:gd name="T13" fmla="*/ 1640 h 3943"/>
              <a:gd name="T14" fmla="*/ 0 w 8561"/>
              <a:gd name="T15" fmla="*/ 1311 h 3943"/>
              <a:gd name="T16" fmla="*/ 0 w 8561"/>
              <a:gd name="T17" fmla="*/ 1972 h 3943"/>
              <a:gd name="T18" fmla="*/ 0 w 8561"/>
              <a:gd name="T19" fmla="*/ 2632 h 3943"/>
              <a:gd name="T20" fmla="*/ 572 w 8561"/>
              <a:gd name="T21" fmla="*/ 2303 h 3943"/>
              <a:gd name="T22" fmla="*/ 1033 w 8561"/>
              <a:gd name="T23" fmla="*/ 2036 h 3943"/>
              <a:gd name="T24" fmla="*/ 8112 w 8561"/>
              <a:gd name="T25" fmla="*/ 2036 h 3943"/>
              <a:gd name="T26" fmla="*/ 7303 w 8561"/>
              <a:gd name="T27" fmla="*/ 3219 h 3943"/>
              <a:gd name="T28" fmla="*/ 6859 w 8561"/>
              <a:gd name="T29" fmla="*/ 3872 h 3943"/>
              <a:gd name="T30" fmla="*/ 6859 w 8561"/>
              <a:gd name="T31" fmla="*/ 3943 h 3943"/>
              <a:gd name="T32" fmla="*/ 7710 w 8561"/>
              <a:gd name="T33" fmla="*/ 2956 h 3943"/>
              <a:gd name="T34" fmla="*/ 8561 w 8561"/>
              <a:gd name="T35" fmla="*/ 1972 h 3943"/>
              <a:gd name="T36" fmla="*/ 7710 w 8561"/>
              <a:gd name="T37" fmla="*/ 987 h 39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561" h="3943">
                <a:moveTo>
                  <a:pt x="7710" y="987"/>
                </a:moveTo>
                <a:lnTo>
                  <a:pt x="6859" y="0"/>
                </a:lnTo>
                <a:lnTo>
                  <a:pt x="6859" y="71"/>
                </a:lnTo>
                <a:lnTo>
                  <a:pt x="7303" y="724"/>
                </a:lnTo>
                <a:lnTo>
                  <a:pt x="8112" y="1908"/>
                </a:lnTo>
                <a:lnTo>
                  <a:pt x="1033" y="1908"/>
                </a:lnTo>
                <a:lnTo>
                  <a:pt x="572" y="1640"/>
                </a:lnTo>
                <a:lnTo>
                  <a:pt x="0" y="1311"/>
                </a:lnTo>
                <a:lnTo>
                  <a:pt x="0" y="1972"/>
                </a:lnTo>
                <a:lnTo>
                  <a:pt x="0" y="2632"/>
                </a:lnTo>
                <a:lnTo>
                  <a:pt x="572" y="2303"/>
                </a:lnTo>
                <a:lnTo>
                  <a:pt x="1033" y="2036"/>
                </a:lnTo>
                <a:lnTo>
                  <a:pt x="8112" y="2036"/>
                </a:lnTo>
                <a:lnTo>
                  <a:pt x="7303" y="3219"/>
                </a:lnTo>
                <a:lnTo>
                  <a:pt x="6859" y="3872"/>
                </a:lnTo>
                <a:lnTo>
                  <a:pt x="6859" y="3943"/>
                </a:lnTo>
                <a:lnTo>
                  <a:pt x="7710" y="2956"/>
                </a:lnTo>
                <a:lnTo>
                  <a:pt x="8561" y="1972"/>
                </a:lnTo>
                <a:lnTo>
                  <a:pt x="7710" y="987"/>
                </a:lnTo>
                <a:close/>
              </a:path>
            </a:pathLst>
          </a:custGeom>
          <a:solidFill>
            <a:schemeClr val="tx1">
              <a:lumMod val="60000"/>
              <a:lumOff val="40000"/>
              <a:alpha val="31000"/>
            </a:schemeClr>
          </a:solidFill>
          <a:ln>
            <a:noFill/>
          </a:ln>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a:cs typeface="+mn-ea"/>
              <a:sym typeface="+mn-lt"/>
            </a:endParaRPr>
          </a:p>
        </p:txBody>
      </p:sp>
    </p:spTree>
    <p:extLst>
      <p:ext uri="{BB962C8B-B14F-4D97-AF65-F5344CB8AC3E}">
        <p14:creationId xmlns:p14="http://schemas.microsoft.com/office/powerpoint/2010/main" val="197640282"/>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文本框 10">
            <a:extLst>
              <a:ext uri="{FF2B5EF4-FFF2-40B4-BE49-F238E27FC236}">
                <a16:creationId xmlns:a16="http://schemas.microsoft.com/office/drawing/2014/main" id="{E4393356-E9A7-46D9-B5F5-0D21EC991A29}"/>
              </a:ext>
            </a:extLst>
          </p:cNvPr>
          <p:cNvSpPr txBox="1"/>
          <p:nvPr/>
        </p:nvSpPr>
        <p:spPr>
          <a:xfrm>
            <a:off x="1941017" y="2813447"/>
            <a:ext cx="8309967" cy="1107996"/>
          </a:xfrm>
          <a:prstGeom prst="rect">
            <a:avLst/>
          </a:prstGeom>
          <a:noFill/>
        </p:spPr>
        <p:txBody>
          <a:bodyPr wrap="none" lIns="0" tIns="0" rIns="0" bIns="0" rtlCol="0" anchor="t">
            <a:spAutoFit/>
          </a:bodyPr>
          <a:lstStyle/>
          <a:p>
            <a:pPr algn="ctr"/>
            <a:r>
              <a:rPr lang="zh-CN" altLang="en-US" sz="7200" dirty="0">
                <a:solidFill>
                  <a:schemeClr val="accent1">
                    <a:lumMod val="100000"/>
                  </a:schemeClr>
                </a:solidFill>
                <a:latin typeface="+mj-ea"/>
                <a:ea typeface="+mj-ea"/>
              </a:rPr>
              <a:t>输入你的封面大标题</a:t>
            </a:r>
          </a:p>
        </p:txBody>
      </p:sp>
      <p:grpSp>
        <p:nvGrpSpPr>
          <p:cNvPr id="18" name="组合 17">
            <a:extLst>
              <a:ext uri="{FF2B5EF4-FFF2-40B4-BE49-F238E27FC236}">
                <a16:creationId xmlns:a16="http://schemas.microsoft.com/office/drawing/2014/main" id="{FC799265-AC15-410F-82A2-679AB60B288F}"/>
              </a:ext>
            </a:extLst>
          </p:cNvPr>
          <p:cNvGrpSpPr/>
          <p:nvPr/>
        </p:nvGrpSpPr>
        <p:grpSpPr>
          <a:xfrm>
            <a:off x="2029968" y="4628864"/>
            <a:ext cx="1475214" cy="246221"/>
            <a:chOff x="4095451" y="4640913"/>
            <a:chExt cx="1475214" cy="246221"/>
          </a:xfrm>
        </p:grpSpPr>
        <p:sp>
          <p:nvSpPr>
            <p:cNvPr id="16" name="矩形 15">
              <a:extLst>
                <a:ext uri="{FF2B5EF4-FFF2-40B4-BE49-F238E27FC236}">
                  <a16:creationId xmlns:a16="http://schemas.microsoft.com/office/drawing/2014/main" id="{74C493E7-1B47-4349-BC5B-BF3163490795}"/>
                </a:ext>
              </a:extLst>
            </p:cNvPr>
            <p:cNvSpPr/>
            <p:nvPr/>
          </p:nvSpPr>
          <p:spPr>
            <a:xfrm>
              <a:off x="4095451" y="4672584"/>
              <a:ext cx="164592" cy="164592"/>
            </a:xfrm>
            <a:prstGeom prst="rect">
              <a:avLst/>
            </a:prstGeom>
            <a:solidFill>
              <a:schemeClr val="accent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p>
          </p:txBody>
        </p:sp>
        <p:sp>
          <p:nvSpPr>
            <p:cNvPr id="17" name="文本框 16">
              <a:extLst>
                <a:ext uri="{FF2B5EF4-FFF2-40B4-BE49-F238E27FC236}">
                  <a16:creationId xmlns:a16="http://schemas.microsoft.com/office/drawing/2014/main" id="{B804F6AA-7656-4EF8-84F0-3B3FB5CF0922}"/>
                </a:ext>
              </a:extLst>
            </p:cNvPr>
            <p:cNvSpPr txBox="1"/>
            <p:nvPr/>
          </p:nvSpPr>
          <p:spPr>
            <a:xfrm>
              <a:off x="4408487" y="4640913"/>
              <a:ext cx="1162178" cy="246221"/>
            </a:xfrm>
            <a:prstGeom prst="rect">
              <a:avLst/>
            </a:prstGeom>
            <a:noFill/>
          </p:spPr>
          <p:txBody>
            <a:bodyPr wrap="none" lIns="0" tIns="0" rIns="0" bIns="0" rtlCol="0" anchor="t">
              <a:spAutoFit/>
            </a:bodyPr>
            <a:lstStyle/>
            <a:p>
              <a:r>
                <a:rPr lang="zh-CN" altLang="en-US" sz="1600" dirty="0">
                  <a:solidFill>
                    <a:schemeClr val="accent1">
                      <a:lumMod val="100000"/>
                    </a:schemeClr>
                  </a:solidFill>
                  <a:latin typeface="+mn-ea"/>
                </a:rPr>
                <a:t>汇报人：</a:t>
              </a:r>
              <a:r>
                <a:rPr lang="en-US" altLang="zh-CN" sz="1600" dirty="0">
                  <a:solidFill>
                    <a:schemeClr val="accent1">
                      <a:lumMod val="100000"/>
                    </a:schemeClr>
                  </a:solidFill>
                  <a:latin typeface="+mn-ea"/>
                </a:rPr>
                <a:t>xxx</a:t>
              </a:r>
              <a:endParaRPr lang="zh-CN" altLang="en-US" sz="1600" dirty="0">
                <a:solidFill>
                  <a:schemeClr val="accent1">
                    <a:lumMod val="100000"/>
                  </a:schemeClr>
                </a:solidFill>
                <a:latin typeface="+mn-ea"/>
              </a:endParaRPr>
            </a:p>
          </p:txBody>
        </p:sp>
      </p:grpSp>
      <p:grpSp>
        <p:nvGrpSpPr>
          <p:cNvPr id="19" name="组合 18">
            <a:extLst>
              <a:ext uri="{FF2B5EF4-FFF2-40B4-BE49-F238E27FC236}">
                <a16:creationId xmlns:a16="http://schemas.microsoft.com/office/drawing/2014/main" id="{482B1619-178E-45D1-BC39-C5F4314075B6}"/>
              </a:ext>
            </a:extLst>
          </p:cNvPr>
          <p:cNvGrpSpPr/>
          <p:nvPr/>
        </p:nvGrpSpPr>
        <p:grpSpPr>
          <a:xfrm>
            <a:off x="4288536" y="4628864"/>
            <a:ext cx="1270029" cy="246221"/>
            <a:chOff x="4095451" y="4640913"/>
            <a:chExt cx="1270029" cy="246221"/>
          </a:xfrm>
        </p:grpSpPr>
        <p:sp>
          <p:nvSpPr>
            <p:cNvPr id="20" name="矩形 19">
              <a:extLst>
                <a:ext uri="{FF2B5EF4-FFF2-40B4-BE49-F238E27FC236}">
                  <a16:creationId xmlns:a16="http://schemas.microsoft.com/office/drawing/2014/main" id="{3A1AE345-38CE-49BE-9E58-2C20078777A3}"/>
                </a:ext>
              </a:extLst>
            </p:cNvPr>
            <p:cNvSpPr/>
            <p:nvPr/>
          </p:nvSpPr>
          <p:spPr>
            <a:xfrm>
              <a:off x="4095451" y="4672584"/>
              <a:ext cx="164592" cy="164592"/>
            </a:xfrm>
            <a:prstGeom prst="rect">
              <a:avLst/>
            </a:prstGeom>
            <a:solidFill>
              <a:schemeClr val="accent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p>
          </p:txBody>
        </p:sp>
        <p:sp>
          <p:nvSpPr>
            <p:cNvPr id="21" name="文本框 20">
              <a:extLst>
                <a:ext uri="{FF2B5EF4-FFF2-40B4-BE49-F238E27FC236}">
                  <a16:creationId xmlns:a16="http://schemas.microsoft.com/office/drawing/2014/main" id="{FCC3031D-C171-43E7-B549-82FC96054817}"/>
                </a:ext>
              </a:extLst>
            </p:cNvPr>
            <p:cNvSpPr txBox="1"/>
            <p:nvPr/>
          </p:nvSpPr>
          <p:spPr>
            <a:xfrm>
              <a:off x="4408487" y="4640913"/>
              <a:ext cx="956993" cy="246221"/>
            </a:xfrm>
            <a:prstGeom prst="rect">
              <a:avLst/>
            </a:prstGeom>
            <a:noFill/>
          </p:spPr>
          <p:txBody>
            <a:bodyPr wrap="none" lIns="0" tIns="0" rIns="0" bIns="0" rtlCol="0" anchor="t">
              <a:spAutoFit/>
            </a:bodyPr>
            <a:lstStyle/>
            <a:p>
              <a:r>
                <a:rPr lang="zh-CN" altLang="en-US" sz="1600" dirty="0">
                  <a:solidFill>
                    <a:schemeClr val="accent1">
                      <a:lumMod val="100000"/>
                    </a:schemeClr>
                  </a:solidFill>
                  <a:latin typeface="+mn-ea"/>
                </a:rPr>
                <a:t>单位：</a:t>
              </a:r>
              <a:r>
                <a:rPr lang="en-US" altLang="zh-CN" sz="1600" dirty="0">
                  <a:solidFill>
                    <a:schemeClr val="accent1">
                      <a:lumMod val="100000"/>
                    </a:schemeClr>
                  </a:solidFill>
                  <a:latin typeface="+mn-ea"/>
                </a:rPr>
                <a:t>xxx</a:t>
              </a:r>
              <a:endParaRPr lang="zh-CN" altLang="en-US" sz="1600" dirty="0">
                <a:solidFill>
                  <a:schemeClr val="accent1">
                    <a:lumMod val="100000"/>
                  </a:schemeClr>
                </a:solidFill>
                <a:latin typeface="+mn-ea"/>
              </a:endParaRPr>
            </a:p>
          </p:txBody>
        </p:sp>
      </p:grpSp>
      <p:cxnSp>
        <p:nvCxnSpPr>
          <p:cNvPr id="13" name="直接连接符 12">
            <a:extLst>
              <a:ext uri="{FF2B5EF4-FFF2-40B4-BE49-F238E27FC236}">
                <a16:creationId xmlns:a16="http://schemas.microsoft.com/office/drawing/2014/main" id="{EE069617-9A4C-4041-858D-2D3DE3F35FA4}"/>
              </a:ext>
            </a:extLst>
          </p:cNvPr>
          <p:cNvCxnSpPr>
            <a:cxnSpLocks/>
          </p:cNvCxnSpPr>
          <p:nvPr/>
        </p:nvCxnSpPr>
        <p:spPr>
          <a:xfrm flipH="1">
            <a:off x="2029968" y="4246602"/>
            <a:ext cx="667512" cy="0"/>
          </a:xfrm>
          <a:prstGeom prst="line">
            <a:avLst/>
          </a:prstGeom>
          <a:ln w="57150">
            <a:solidFill>
              <a:schemeClr val="accent1">
                <a:lumMod val="100000"/>
              </a:schemeClr>
            </a:solidFill>
          </a:ln>
        </p:spPr>
        <p:style>
          <a:lnRef idx="1">
            <a:schemeClr val="accent1"/>
          </a:lnRef>
          <a:fillRef idx="0">
            <a:schemeClr val="accent1"/>
          </a:fillRef>
          <a:effectRef idx="0">
            <a:schemeClr val="accent1"/>
          </a:effectRef>
          <a:fontRef idx="minor">
            <a:schemeClr val="tx1"/>
          </a:fontRef>
        </p:style>
      </p:cxnSp>
      <p:sp>
        <p:nvSpPr>
          <p:cNvPr id="2" name="矩形: 圆角 1">
            <a:extLst>
              <a:ext uri="{FF2B5EF4-FFF2-40B4-BE49-F238E27FC236}">
                <a16:creationId xmlns:a16="http://schemas.microsoft.com/office/drawing/2014/main" id="{52F90B16-433E-4995-85FC-86B349782C9D}"/>
              </a:ext>
            </a:extLst>
          </p:cNvPr>
          <p:cNvSpPr/>
          <p:nvPr/>
        </p:nvSpPr>
        <p:spPr>
          <a:xfrm>
            <a:off x="2029968" y="1980117"/>
            <a:ext cx="2511552" cy="594360"/>
          </a:xfrm>
          <a:prstGeom prst="roundRect">
            <a:avLst>
              <a:gd name="adj" fmla="val 50000"/>
            </a:avLst>
          </a:prstGeom>
          <a:solidFill>
            <a:schemeClr val="accent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000" dirty="0">
                <a:latin typeface="+mn-ea"/>
              </a:rPr>
              <a:t>副标题或</a:t>
            </a:r>
            <a:r>
              <a:rPr lang="en-US" altLang="zh-CN" sz="2000" dirty="0">
                <a:latin typeface="+mn-ea"/>
              </a:rPr>
              <a:t>logo</a:t>
            </a:r>
            <a:endParaRPr lang="zh-CN" altLang="en-US" sz="2000" dirty="0">
              <a:latin typeface="+mn-ea"/>
            </a:endParaRPr>
          </a:p>
        </p:txBody>
      </p:sp>
    </p:spTree>
    <p:extLst>
      <p:ext uri="{BB962C8B-B14F-4D97-AF65-F5344CB8AC3E}">
        <p14:creationId xmlns:p14="http://schemas.microsoft.com/office/powerpoint/2010/main" val="4155702109"/>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任意多边形: 形状 7">
            <a:extLst>
              <a:ext uri="{FF2B5EF4-FFF2-40B4-BE49-F238E27FC236}">
                <a16:creationId xmlns:a16="http://schemas.microsoft.com/office/drawing/2014/main" id="{B5CD6303-8A52-475A-93E8-512BB443982D}"/>
              </a:ext>
            </a:extLst>
          </p:cNvPr>
          <p:cNvSpPr/>
          <p:nvPr/>
        </p:nvSpPr>
        <p:spPr>
          <a:xfrm rot="2700000">
            <a:off x="-1953086" y="-134170"/>
            <a:ext cx="6789073" cy="6986639"/>
          </a:xfrm>
          <a:custGeom>
            <a:avLst/>
            <a:gdLst>
              <a:gd name="connsiteX0" fmla="*/ 0 w 6789073"/>
              <a:gd name="connsiteY0" fmla="*/ 2137301 h 6986639"/>
              <a:gd name="connsiteX1" fmla="*/ 2137302 w 6789073"/>
              <a:gd name="connsiteY1" fmla="*/ 0 h 6986639"/>
              <a:gd name="connsiteX2" fmla="*/ 6250258 w 6789073"/>
              <a:gd name="connsiteY2" fmla="*/ 0 h 6986639"/>
              <a:gd name="connsiteX3" fmla="*/ 6789073 w 6789073"/>
              <a:gd name="connsiteY3" fmla="*/ 538815 h 6986639"/>
              <a:gd name="connsiteX4" fmla="*/ 6789073 w 6789073"/>
              <a:gd name="connsiteY4" fmla="*/ 5046904 h 6986639"/>
              <a:gd name="connsiteX5" fmla="*/ 6429863 w 6789073"/>
              <a:gd name="connsiteY5" fmla="*/ 5406114 h 6986639"/>
              <a:gd name="connsiteX6" fmla="*/ 5855127 w 6789073"/>
              <a:gd name="connsiteY6" fmla="*/ 5980850 h 6986639"/>
              <a:gd name="connsiteX7" fmla="*/ 4849338 w 6789073"/>
              <a:gd name="connsiteY7" fmla="*/ 6986639 h 6986639"/>
              <a:gd name="connsiteX8" fmla="*/ 3843549 w 6789073"/>
              <a:gd name="connsiteY8" fmla="*/ 5980850 h 6986639"/>
              <a:gd name="connsiteX9" fmla="*/ 808223 w 6789073"/>
              <a:gd name="connsiteY9" fmla="*/ 2945524 h 69866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789073" h="6986639">
                <a:moveTo>
                  <a:pt x="0" y="2137301"/>
                </a:moveTo>
                <a:lnTo>
                  <a:pt x="2137302" y="0"/>
                </a:lnTo>
                <a:lnTo>
                  <a:pt x="6250258" y="0"/>
                </a:lnTo>
                <a:cubicBezTo>
                  <a:pt x="6547837" y="0"/>
                  <a:pt x="6789073" y="241236"/>
                  <a:pt x="6789073" y="538815"/>
                </a:cubicBezTo>
                <a:lnTo>
                  <a:pt x="6789073" y="5046904"/>
                </a:lnTo>
                <a:lnTo>
                  <a:pt x="6429863" y="5406114"/>
                </a:lnTo>
                <a:lnTo>
                  <a:pt x="5855127" y="5980850"/>
                </a:lnTo>
                <a:lnTo>
                  <a:pt x="4849338" y="6986639"/>
                </a:lnTo>
                <a:lnTo>
                  <a:pt x="3843549" y="5980850"/>
                </a:lnTo>
                <a:lnTo>
                  <a:pt x="808223" y="2945524"/>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6000" dirty="0"/>
          </a:p>
        </p:txBody>
      </p:sp>
      <p:sp>
        <p:nvSpPr>
          <p:cNvPr id="10" name="文本框 9">
            <a:extLst>
              <a:ext uri="{FF2B5EF4-FFF2-40B4-BE49-F238E27FC236}">
                <a16:creationId xmlns:a16="http://schemas.microsoft.com/office/drawing/2014/main" id="{74F290C4-BBC3-4987-874C-5DB1800A24D8}"/>
              </a:ext>
            </a:extLst>
          </p:cNvPr>
          <p:cNvSpPr txBox="1"/>
          <p:nvPr/>
        </p:nvSpPr>
        <p:spPr>
          <a:xfrm>
            <a:off x="1985518" y="3749132"/>
            <a:ext cx="1837944" cy="307777"/>
          </a:xfrm>
          <a:prstGeom prst="rect">
            <a:avLst/>
          </a:prstGeom>
          <a:noFill/>
        </p:spPr>
        <p:txBody>
          <a:bodyPr wrap="square" lIns="0" tIns="0" rIns="0" bIns="0" rtlCol="0" anchor="t">
            <a:spAutoFit/>
          </a:bodyPr>
          <a:lstStyle/>
          <a:p>
            <a:pPr algn="dist"/>
            <a:r>
              <a:rPr lang="en-US" altLang="zh-CN" sz="2000" dirty="0">
                <a:solidFill>
                  <a:schemeClr val="bg1"/>
                </a:solidFill>
                <a:latin typeface="+mj-ea"/>
                <a:ea typeface="+mj-ea"/>
              </a:rPr>
              <a:t>ONTENTS</a:t>
            </a:r>
            <a:endParaRPr lang="zh-CN" altLang="en-US" sz="2000" dirty="0">
              <a:solidFill>
                <a:schemeClr val="bg1"/>
              </a:solidFill>
              <a:latin typeface="+mj-ea"/>
              <a:ea typeface="+mj-ea"/>
            </a:endParaRPr>
          </a:p>
        </p:txBody>
      </p:sp>
      <p:sp>
        <p:nvSpPr>
          <p:cNvPr id="11" name="文本框 10">
            <a:extLst>
              <a:ext uri="{FF2B5EF4-FFF2-40B4-BE49-F238E27FC236}">
                <a16:creationId xmlns:a16="http://schemas.microsoft.com/office/drawing/2014/main" id="{46DFBD46-7738-4172-9D30-A15E955B2EE2}"/>
              </a:ext>
            </a:extLst>
          </p:cNvPr>
          <p:cNvSpPr txBox="1"/>
          <p:nvPr/>
        </p:nvSpPr>
        <p:spPr>
          <a:xfrm>
            <a:off x="1878838" y="2661389"/>
            <a:ext cx="1944624" cy="1107996"/>
          </a:xfrm>
          <a:prstGeom prst="rect">
            <a:avLst/>
          </a:prstGeom>
          <a:noFill/>
        </p:spPr>
        <p:txBody>
          <a:bodyPr wrap="square" lIns="0" tIns="0" rIns="0" bIns="0" rtlCol="0" anchor="t">
            <a:spAutoFit/>
          </a:bodyPr>
          <a:lstStyle/>
          <a:p>
            <a:pPr algn="dist"/>
            <a:r>
              <a:rPr lang="zh-CN" altLang="en-US" sz="7200" dirty="0">
                <a:solidFill>
                  <a:schemeClr val="bg1"/>
                </a:solidFill>
                <a:latin typeface="+mj-ea"/>
                <a:ea typeface="+mj-ea"/>
              </a:rPr>
              <a:t>目录</a:t>
            </a:r>
          </a:p>
        </p:txBody>
      </p:sp>
      <p:sp>
        <p:nvSpPr>
          <p:cNvPr id="12" name="文本框 11">
            <a:extLst>
              <a:ext uri="{FF2B5EF4-FFF2-40B4-BE49-F238E27FC236}">
                <a16:creationId xmlns:a16="http://schemas.microsoft.com/office/drawing/2014/main" id="{7B849EAC-160A-453A-9B61-B662F3C18597}"/>
              </a:ext>
            </a:extLst>
          </p:cNvPr>
          <p:cNvSpPr txBox="1"/>
          <p:nvPr/>
        </p:nvSpPr>
        <p:spPr>
          <a:xfrm>
            <a:off x="482854" y="2544142"/>
            <a:ext cx="1502664" cy="1769715"/>
          </a:xfrm>
          <a:prstGeom prst="rect">
            <a:avLst/>
          </a:prstGeom>
          <a:noFill/>
        </p:spPr>
        <p:txBody>
          <a:bodyPr wrap="square" lIns="0" tIns="0" rIns="0" bIns="0" rtlCol="0" anchor="t">
            <a:spAutoFit/>
          </a:bodyPr>
          <a:lstStyle/>
          <a:p>
            <a:pPr algn="dist"/>
            <a:r>
              <a:rPr lang="en-US" altLang="zh-CN" sz="11500" dirty="0">
                <a:solidFill>
                  <a:schemeClr val="bg1"/>
                </a:solidFill>
                <a:latin typeface="+mj-ea"/>
                <a:ea typeface="+mj-ea"/>
              </a:rPr>
              <a:t>C</a:t>
            </a:r>
            <a:endParaRPr lang="zh-CN" altLang="en-US" sz="11500" dirty="0">
              <a:solidFill>
                <a:schemeClr val="bg1"/>
              </a:solidFill>
              <a:latin typeface="+mj-ea"/>
              <a:ea typeface="+mj-ea"/>
            </a:endParaRPr>
          </a:p>
        </p:txBody>
      </p:sp>
      <p:sp>
        <p:nvSpPr>
          <p:cNvPr id="13" name="矩形: 圆角 12">
            <a:extLst>
              <a:ext uri="{FF2B5EF4-FFF2-40B4-BE49-F238E27FC236}">
                <a16:creationId xmlns:a16="http://schemas.microsoft.com/office/drawing/2014/main" id="{4F2F3ECB-ADF1-47DE-AF06-A00A3BE01805}"/>
              </a:ext>
            </a:extLst>
          </p:cNvPr>
          <p:cNvSpPr/>
          <p:nvPr/>
        </p:nvSpPr>
        <p:spPr>
          <a:xfrm>
            <a:off x="6904495" y="1282328"/>
            <a:ext cx="505955" cy="505955"/>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600" dirty="0"/>
              <a:t>01</a:t>
            </a:r>
            <a:endParaRPr lang="zh-CN" altLang="en-US" sz="1600" dirty="0"/>
          </a:p>
        </p:txBody>
      </p:sp>
      <p:sp>
        <p:nvSpPr>
          <p:cNvPr id="14" name="文本框 13">
            <a:extLst>
              <a:ext uri="{FF2B5EF4-FFF2-40B4-BE49-F238E27FC236}">
                <a16:creationId xmlns:a16="http://schemas.microsoft.com/office/drawing/2014/main" id="{D017CC7B-6B26-4868-ADF7-2BDFB013FCF1}"/>
              </a:ext>
            </a:extLst>
          </p:cNvPr>
          <p:cNvSpPr txBox="1"/>
          <p:nvPr/>
        </p:nvSpPr>
        <p:spPr>
          <a:xfrm>
            <a:off x="7600950" y="1319862"/>
            <a:ext cx="2872581" cy="430887"/>
          </a:xfrm>
          <a:prstGeom prst="rect">
            <a:avLst/>
          </a:prstGeom>
          <a:noFill/>
        </p:spPr>
        <p:txBody>
          <a:bodyPr wrap="none" lIns="0" tIns="0" rIns="0" bIns="0" rtlCol="0" anchor="t">
            <a:spAutoFit/>
          </a:bodyPr>
          <a:lstStyle/>
          <a:p>
            <a:pPr algn="l"/>
            <a:r>
              <a:rPr lang="zh-CN" altLang="en-US" sz="2800" dirty="0">
                <a:solidFill>
                  <a:schemeClr val="accent1"/>
                </a:solidFill>
                <a:latin typeface="+mj-ea"/>
                <a:ea typeface="+mj-ea"/>
              </a:rPr>
              <a:t>输入你的目录标题</a:t>
            </a:r>
          </a:p>
        </p:txBody>
      </p:sp>
      <p:sp>
        <p:nvSpPr>
          <p:cNvPr id="15" name="矩形: 圆角 14">
            <a:extLst>
              <a:ext uri="{FF2B5EF4-FFF2-40B4-BE49-F238E27FC236}">
                <a16:creationId xmlns:a16="http://schemas.microsoft.com/office/drawing/2014/main" id="{D96F92F2-A963-4BEE-BDD5-35DE0AEDB840}"/>
              </a:ext>
            </a:extLst>
          </p:cNvPr>
          <p:cNvSpPr/>
          <p:nvPr/>
        </p:nvSpPr>
        <p:spPr>
          <a:xfrm>
            <a:off x="6904495" y="2544791"/>
            <a:ext cx="505955" cy="505955"/>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600" dirty="0"/>
              <a:t>02</a:t>
            </a:r>
            <a:endParaRPr lang="zh-CN" altLang="en-US" sz="1600" dirty="0"/>
          </a:p>
        </p:txBody>
      </p:sp>
      <p:sp>
        <p:nvSpPr>
          <p:cNvPr id="16" name="文本框 15">
            <a:extLst>
              <a:ext uri="{FF2B5EF4-FFF2-40B4-BE49-F238E27FC236}">
                <a16:creationId xmlns:a16="http://schemas.microsoft.com/office/drawing/2014/main" id="{D52333E8-81B3-41EE-B20F-8966C7C5A51A}"/>
              </a:ext>
            </a:extLst>
          </p:cNvPr>
          <p:cNvSpPr txBox="1"/>
          <p:nvPr/>
        </p:nvSpPr>
        <p:spPr>
          <a:xfrm>
            <a:off x="7600950" y="2582325"/>
            <a:ext cx="2872581" cy="430887"/>
          </a:xfrm>
          <a:prstGeom prst="rect">
            <a:avLst/>
          </a:prstGeom>
          <a:noFill/>
        </p:spPr>
        <p:txBody>
          <a:bodyPr wrap="none" lIns="0" tIns="0" rIns="0" bIns="0" rtlCol="0" anchor="t">
            <a:spAutoFit/>
          </a:bodyPr>
          <a:lstStyle/>
          <a:p>
            <a:pPr algn="l"/>
            <a:r>
              <a:rPr lang="zh-CN" altLang="en-US" sz="2800" dirty="0">
                <a:solidFill>
                  <a:schemeClr val="accent1"/>
                </a:solidFill>
                <a:latin typeface="+mj-ea"/>
                <a:ea typeface="+mj-ea"/>
              </a:rPr>
              <a:t>输入你的目录标题</a:t>
            </a:r>
          </a:p>
        </p:txBody>
      </p:sp>
      <p:sp>
        <p:nvSpPr>
          <p:cNvPr id="17" name="矩形: 圆角 16">
            <a:extLst>
              <a:ext uri="{FF2B5EF4-FFF2-40B4-BE49-F238E27FC236}">
                <a16:creationId xmlns:a16="http://schemas.microsoft.com/office/drawing/2014/main" id="{0D8C1DDB-EFAF-4F9A-9377-64180CD68EE2}"/>
              </a:ext>
            </a:extLst>
          </p:cNvPr>
          <p:cNvSpPr/>
          <p:nvPr/>
        </p:nvSpPr>
        <p:spPr>
          <a:xfrm>
            <a:off x="6904495" y="3807254"/>
            <a:ext cx="505955" cy="505955"/>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600" dirty="0"/>
              <a:t>03</a:t>
            </a:r>
            <a:endParaRPr lang="zh-CN" altLang="en-US" sz="1600" dirty="0"/>
          </a:p>
        </p:txBody>
      </p:sp>
      <p:sp>
        <p:nvSpPr>
          <p:cNvPr id="18" name="文本框 17">
            <a:extLst>
              <a:ext uri="{FF2B5EF4-FFF2-40B4-BE49-F238E27FC236}">
                <a16:creationId xmlns:a16="http://schemas.microsoft.com/office/drawing/2014/main" id="{F9179A54-D2D9-441C-99EE-F2A723856AEF}"/>
              </a:ext>
            </a:extLst>
          </p:cNvPr>
          <p:cNvSpPr txBox="1"/>
          <p:nvPr/>
        </p:nvSpPr>
        <p:spPr>
          <a:xfrm>
            <a:off x="7600950" y="3844788"/>
            <a:ext cx="2872581" cy="430887"/>
          </a:xfrm>
          <a:prstGeom prst="rect">
            <a:avLst/>
          </a:prstGeom>
          <a:noFill/>
        </p:spPr>
        <p:txBody>
          <a:bodyPr wrap="none" lIns="0" tIns="0" rIns="0" bIns="0" rtlCol="0" anchor="t">
            <a:spAutoFit/>
          </a:bodyPr>
          <a:lstStyle/>
          <a:p>
            <a:pPr algn="l"/>
            <a:r>
              <a:rPr lang="zh-CN" altLang="en-US" sz="2800" dirty="0">
                <a:solidFill>
                  <a:schemeClr val="accent1"/>
                </a:solidFill>
                <a:latin typeface="+mj-ea"/>
                <a:ea typeface="+mj-ea"/>
              </a:rPr>
              <a:t>输入你的目录标题</a:t>
            </a:r>
          </a:p>
        </p:txBody>
      </p:sp>
      <p:sp>
        <p:nvSpPr>
          <p:cNvPr id="19" name="矩形: 圆角 18">
            <a:extLst>
              <a:ext uri="{FF2B5EF4-FFF2-40B4-BE49-F238E27FC236}">
                <a16:creationId xmlns:a16="http://schemas.microsoft.com/office/drawing/2014/main" id="{0F896158-AB18-4E60-81FB-8A1AF1C9E722}"/>
              </a:ext>
            </a:extLst>
          </p:cNvPr>
          <p:cNvSpPr/>
          <p:nvPr/>
        </p:nvSpPr>
        <p:spPr>
          <a:xfrm>
            <a:off x="6904495" y="5069717"/>
            <a:ext cx="505955" cy="505955"/>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600" dirty="0"/>
              <a:t>04</a:t>
            </a:r>
            <a:endParaRPr lang="zh-CN" altLang="en-US" sz="1600" dirty="0"/>
          </a:p>
        </p:txBody>
      </p:sp>
      <p:sp>
        <p:nvSpPr>
          <p:cNvPr id="20" name="文本框 19">
            <a:extLst>
              <a:ext uri="{FF2B5EF4-FFF2-40B4-BE49-F238E27FC236}">
                <a16:creationId xmlns:a16="http://schemas.microsoft.com/office/drawing/2014/main" id="{AA5524A9-15DA-4059-A6A6-589D2D27BF55}"/>
              </a:ext>
            </a:extLst>
          </p:cNvPr>
          <p:cNvSpPr txBox="1"/>
          <p:nvPr/>
        </p:nvSpPr>
        <p:spPr>
          <a:xfrm>
            <a:off x="7600950" y="5107251"/>
            <a:ext cx="2872581" cy="430887"/>
          </a:xfrm>
          <a:prstGeom prst="rect">
            <a:avLst/>
          </a:prstGeom>
          <a:noFill/>
        </p:spPr>
        <p:txBody>
          <a:bodyPr wrap="none" lIns="0" tIns="0" rIns="0" bIns="0" rtlCol="0" anchor="t">
            <a:spAutoFit/>
          </a:bodyPr>
          <a:lstStyle/>
          <a:p>
            <a:pPr algn="l"/>
            <a:r>
              <a:rPr lang="zh-CN" altLang="en-US" sz="2800" dirty="0">
                <a:solidFill>
                  <a:schemeClr val="accent1"/>
                </a:solidFill>
                <a:latin typeface="+mj-ea"/>
                <a:ea typeface="+mj-ea"/>
              </a:rPr>
              <a:t>输入你的目录标题</a:t>
            </a:r>
          </a:p>
        </p:txBody>
      </p:sp>
      <p:cxnSp>
        <p:nvCxnSpPr>
          <p:cNvPr id="21" name="直接连接符 20">
            <a:extLst>
              <a:ext uri="{FF2B5EF4-FFF2-40B4-BE49-F238E27FC236}">
                <a16:creationId xmlns:a16="http://schemas.microsoft.com/office/drawing/2014/main" id="{A2ED882B-6C73-4865-867E-B57605C86A7A}"/>
              </a:ext>
            </a:extLst>
          </p:cNvPr>
          <p:cNvCxnSpPr>
            <a:cxnSpLocks/>
          </p:cNvCxnSpPr>
          <p:nvPr/>
        </p:nvCxnSpPr>
        <p:spPr>
          <a:xfrm>
            <a:off x="6904495" y="2114550"/>
            <a:ext cx="3569036" cy="0"/>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22" name="直接连接符 21">
            <a:extLst>
              <a:ext uri="{FF2B5EF4-FFF2-40B4-BE49-F238E27FC236}">
                <a16:creationId xmlns:a16="http://schemas.microsoft.com/office/drawing/2014/main" id="{8BA71D64-3321-45E2-BDDD-FF7A2EE0D2D4}"/>
              </a:ext>
            </a:extLst>
          </p:cNvPr>
          <p:cNvCxnSpPr>
            <a:cxnSpLocks/>
          </p:cNvCxnSpPr>
          <p:nvPr/>
        </p:nvCxnSpPr>
        <p:spPr>
          <a:xfrm>
            <a:off x="6904495" y="3429000"/>
            <a:ext cx="3569036" cy="0"/>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23" name="直接连接符 22">
            <a:extLst>
              <a:ext uri="{FF2B5EF4-FFF2-40B4-BE49-F238E27FC236}">
                <a16:creationId xmlns:a16="http://schemas.microsoft.com/office/drawing/2014/main" id="{DC055662-F8B0-4D6D-AE85-0CE5B55DB675}"/>
              </a:ext>
            </a:extLst>
          </p:cNvPr>
          <p:cNvCxnSpPr>
            <a:cxnSpLocks/>
          </p:cNvCxnSpPr>
          <p:nvPr/>
        </p:nvCxnSpPr>
        <p:spPr>
          <a:xfrm>
            <a:off x="6904495" y="4724400"/>
            <a:ext cx="3569036" cy="0"/>
          </a:xfrm>
          <a:prstGeom prst="line">
            <a:avLst/>
          </a:prstGeom>
          <a:ln w="1270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36831113"/>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7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5">
            <a:extLst>
              <a:ext uri="{FF2B5EF4-FFF2-40B4-BE49-F238E27FC236}">
                <a16:creationId xmlns:a16="http://schemas.microsoft.com/office/drawing/2014/main" id="{8C190992-4DE5-4357-B661-0069FE7CA8FC}"/>
              </a:ext>
            </a:extLst>
          </p:cNvPr>
          <p:cNvSpPr>
            <a:spLocks/>
          </p:cNvSpPr>
          <p:nvPr/>
        </p:nvSpPr>
        <p:spPr bwMode="auto">
          <a:xfrm flipH="1">
            <a:off x="599324" y="977899"/>
            <a:ext cx="11041814" cy="4902202"/>
          </a:xfrm>
          <a:custGeom>
            <a:avLst/>
            <a:gdLst>
              <a:gd name="T0" fmla="*/ 16 w 1514"/>
              <a:gd name="T1" fmla="*/ 312 h 627"/>
              <a:gd name="T2" fmla="*/ 138 w 1514"/>
              <a:gd name="T3" fmla="*/ 398 h 627"/>
              <a:gd name="T4" fmla="*/ 163 w 1514"/>
              <a:gd name="T5" fmla="*/ 426 h 627"/>
              <a:gd name="T6" fmla="*/ 507 w 1514"/>
              <a:gd name="T7" fmla="*/ 499 h 627"/>
              <a:gd name="T8" fmla="*/ 706 w 1514"/>
              <a:gd name="T9" fmla="*/ 627 h 627"/>
              <a:gd name="T10" fmla="*/ 627 w 1514"/>
              <a:gd name="T11" fmla="*/ 506 h 627"/>
              <a:gd name="T12" fmla="*/ 1062 w 1514"/>
              <a:gd name="T13" fmla="*/ 409 h 627"/>
              <a:gd name="T14" fmla="*/ 1147 w 1514"/>
              <a:gd name="T15" fmla="*/ 443 h 627"/>
              <a:gd name="T16" fmla="*/ 1187 w 1514"/>
              <a:gd name="T17" fmla="*/ 390 h 627"/>
              <a:gd name="T18" fmla="*/ 1262 w 1514"/>
              <a:gd name="T19" fmla="*/ 415 h 627"/>
              <a:gd name="T20" fmla="*/ 1278 w 1514"/>
              <a:gd name="T21" fmla="*/ 394 h 627"/>
              <a:gd name="T22" fmla="*/ 1324 w 1514"/>
              <a:gd name="T23" fmla="*/ 413 h 627"/>
              <a:gd name="T24" fmla="*/ 1421 w 1514"/>
              <a:gd name="T25" fmla="*/ 491 h 627"/>
              <a:gd name="T26" fmla="*/ 1409 w 1514"/>
              <a:gd name="T27" fmla="*/ 298 h 627"/>
              <a:gd name="T28" fmla="*/ 1514 w 1514"/>
              <a:gd name="T29" fmla="*/ 179 h 627"/>
              <a:gd name="T30" fmla="*/ 1433 w 1514"/>
              <a:gd name="T31" fmla="*/ 228 h 627"/>
              <a:gd name="T32" fmla="*/ 1299 w 1514"/>
              <a:gd name="T33" fmla="*/ 310 h 627"/>
              <a:gd name="T34" fmla="*/ 1212 w 1514"/>
              <a:gd name="T35" fmla="*/ 246 h 627"/>
              <a:gd name="T36" fmla="*/ 1131 w 1514"/>
              <a:gd name="T37" fmla="*/ 279 h 627"/>
              <a:gd name="T38" fmla="*/ 748 w 1514"/>
              <a:gd name="T39" fmla="*/ 191 h 627"/>
              <a:gd name="T40" fmla="*/ 780 w 1514"/>
              <a:gd name="T41" fmla="*/ 0 h 627"/>
              <a:gd name="T42" fmla="*/ 578 w 1514"/>
              <a:gd name="T43" fmla="*/ 138 h 627"/>
              <a:gd name="T44" fmla="*/ 494 w 1514"/>
              <a:gd name="T45" fmla="*/ 169 h 627"/>
              <a:gd name="T46" fmla="*/ 46 w 1514"/>
              <a:gd name="T47" fmla="*/ 280 h 627"/>
              <a:gd name="T48" fmla="*/ 16 w 1514"/>
              <a:gd name="T49" fmla="*/ 312 h 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14" h="627">
                <a:moveTo>
                  <a:pt x="16" y="312"/>
                </a:moveTo>
                <a:cubicBezTo>
                  <a:pt x="16" y="312"/>
                  <a:pt x="118" y="389"/>
                  <a:pt x="138" y="398"/>
                </a:cubicBezTo>
                <a:cubicBezTo>
                  <a:pt x="158" y="407"/>
                  <a:pt x="146" y="414"/>
                  <a:pt x="163" y="426"/>
                </a:cubicBezTo>
                <a:cubicBezTo>
                  <a:pt x="180" y="438"/>
                  <a:pt x="296" y="480"/>
                  <a:pt x="507" y="499"/>
                </a:cubicBezTo>
                <a:cubicBezTo>
                  <a:pt x="507" y="499"/>
                  <a:pt x="646" y="597"/>
                  <a:pt x="706" y="627"/>
                </a:cubicBezTo>
                <a:cubicBezTo>
                  <a:pt x="706" y="627"/>
                  <a:pt x="649" y="568"/>
                  <a:pt x="627" y="506"/>
                </a:cubicBezTo>
                <a:cubicBezTo>
                  <a:pt x="627" y="506"/>
                  <a:pt x="987" y="430"/>
                  <a:pt x="1062" y="409"/>
                </a:cubicBezTo>
                <a:cubicBezTo>
                  <a:pt x="1062" y="409"/>
                  <a:pt x="1106" y="440"/>
                  <a:pt x="1147" y="443"/>
                </a:cubicBezTo>
                <a:cubicBezTo>
                  <a:pt x="1147" y="443"/>
                  <a:pt x="1139" y="376"/>
                  <a:pt x="1187" y="390"/>
                </a:cubicBezTo>
                <a:cubicBezTo>
                  <a:pt x="1234" y="403"/>
                  <a:pt x="1245" y="415"/>
                  <a:pt x="1262" y="415"/>
                </a:cubicBezTo>
                <a:cubicBezTo>
                  <a:pt x="1262" y="415"/>
                  <a:pt x="1274" y="395"/>
                  <a:pt x="1278" y="394"/>
                </a:cubicBezTo>
                <a:cubicBezTo>
                  <a:pt x="1283" y="392"/>
                  <a:pt x="1300" y="395"/>
                  <a:pt x="1324" y="413"/>
                </a:cubicBezTo>
                <a:cubicBezTo>
                  <a:pt x="1349" y="431"/>
                  <a:pt x="1393" y="483"/>
                  <a:pt x="1421" y="491"/>
                </a:cubicBezTo>
                <a:cubicBezTo>
                  <a:pt x="1421" y="491"/>
                  <a:pt x="1342" y="387"/>
                  <a:pt x="1409" y="298"/>
                </a:cubicBezTo>
                <a:cubicBezTo>
                  <a:pt x="1476" y="209"/>
                  <a:pt x="1514" y="179"/>
                  <a:pt x="1514" y="179"/>
                </a:cubicBezTo>
                <a:cubicBezTo>
                  <a:pt x="1514" y="179"/>
                  <a:pt x="1468" y="203"/>
                  <a:pt x="1433" y="228"/>
                </a:cubicBezTo>
                <a:cubicBezTo>
                  <a:pt x="1398" y="253"/>
                  <a:pt x="1356" y="297"/>
                  <a:pt x="1299" y="310"/>
                </a:cubicBezTo>
                <a:cubicBezTo>
                  <a:pt x="1243" y="322"/>
                  <a:pt x="1203" y="298"/>
                  <a:pt x="1212" y="246"/>
                </a:cubicBezTo>
                <a:cubicBezTo>
                  <a:pt x="1212" y="246"/>
                  <a:pt x="1160" y="262"/>
                  <a:pt x="1131" y="279"/>
                </a:cubicBezTo>
                <a:cubicBezTo>
                  <a:pt x="1131" y="279"/>
                  <a:pt x="787" y="209"/>
                  <a:pt x="748" y="191"/>
                </a:cubicBezTo>
                <a:cubicBezTo>
                  <a:pt x="748" y="191"/>
                  <a:pt x="711" y="124"/>
                  <a:pt x="780" y="0"/>
                </a:cubicBezTo>
                <a:cubicBezTo>
                  <a:pt x="780" y="0"/>
                  <a:pt x="651" y="51"/>
                  <a:pt x="578" y="138"/>
                </a:cubicBezTo>
                <a:cubicBezTo>
                  <a:pt x="578" y="138"/>
                  <a:pt x="554" y="169"/>
                  <a:pt x="494" y="169"/>
                </a:cubicBezTo>
                <a:cubicBezTo>
                  <a:pt x="435" y="169"/>
                  <a:pt x="256" y="169"/>
                  <a:pt x="46" y="280"/>
                </a:cubicBezTo>
                <a:cubicBezTo>
                  <a:pt x="46" y="280"/>
                  <a:pt x="0" y="294"/>
                  <a:pt x="16" y="312"/>
                </a:cubicBezTo>
                <a:close/>
              </a:path>
            </a:pathLst>
          </a:custGeom>
          <a:solidFill>
            <a:schemeClr val="accent1">
              <a:lumMod val="100000"/>
              <a:alpha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677C7"/>
              </a:solidFill>
              <a:effectLst/>
              <a:uLnTx/>
              <a:uFillTx/>
              <a:latin typeface="Arial"/>
              <a:cs typeface="+mn-ea"/>
              <a:sym typeface="+mn-lt"/>
            </a:endParaRPr>
          </a:p>
        </p:txBody>
      </p:sp>
    </p:spTree>
    <p:extLst>
      <p:ext uri="{BB962C8B-B14F-4D97-AF65-F5344CB8AC3E}">
        <p14:creationId xmlns:p14="http://schemas.microsoft.com/office/powerpoint/2010/main" val="3904066490"/>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7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5">
            <a:extLst>
              <a:ext uri="{FF2B5EF4-FFF2-40B4-BE49-F238E27FC236}">
                <a16:creationId xmlns:a16="http://schemas.microsoft.com/office/drawing/2014/main" id="{B277A796-F786-4C7F-85D0-8B3F912480AF}"/>
              </a:ext>
            </a:extLst>
          </p:cNvPr>
          <p:cNvSpPr>
            <a:spLocks noEditPoints="1"/>
          </p:cNvSpPr>
          <p:nvPr/>
        </p:nvSpPr>
        <p:spPr bwMode="auto">
          <a:xfrm>
            <a:off x="969484" y="668419"/>
            <a:ext cx="10011981" cy="5521162"/>
          </a:xfrm>
          <a:custGeom>
            <a:avLst/>
            <a:gdLst>
              <a:gd name="T0" fmla="*/ 2010 w 2051"/>
              <a:gd name="T1" fmla="*/ 480 h 1128"/>
              <a:gd name="T2" fmla="*/ 731 w 2051"/>
              <a:gd name="T3" fmla="*/ 304 h 1128"/>
              <a:gd name="T4" fmla="*/ 479 w 2051"/>
              <a:gd name="T5" fmla="*/ 431 h 1128"/>
              <a:gd name="T6" fmla="*/ 344 w 2051"/>
              <a:gd name="T7" fmla="*/ 414 h 1128"/>
              <a:gd name="T8" fmla="*/ 0 w 2051"/>
              <a:gd name="T9" fmla="*/ 196 h 1128"/>
              <a:gd name="T10" fmla="*/ 109 w 2051"/>
              <a:gd name="T11" fmla="*/ 564 h 1128"/>
              <a:gd name="T12" fmla="*/ 0 w 2051"/>
              <a:gd name="T13" fmla="*/ 932 h 1128"/>
              <a:gd name="T14" fmla="*/ 344 w 2051"/>
              <a:gd name="T15" fmla="*/ 714 h 1128"/>
              <a:gd name="T16" fmla="*/ 479 w 2051"/>
              <a:gd name="T17" fmla="*/ 697 h 1128"/>
              <a:gd name="T18" fmla="*/ 731 w 2051"/>
              <a:gd name="T19" fmla="*/ 824 h 1128"/>
              <a:gd name="T20" fmla="*/ 2010 w 2051"/>
              <a:gd name="T21" fmla="*/ 648 h 1128"/>
              <a:gd name="T22" fmla="*/ 2010 w 2051"/>
              <a:gd name="T23" fmla="*/ 480 h 1128"/>
              <a:gd name="T24" fmla="*/ 1820 w 2051"/>
              <a:gd name="T25" fmla="*/ 568 h 1128"/>
              <a:gd name="T26" fmla="*/ 1772 w 2051"/>
              <a:gd name="T27" fmla="*/ 512 h 1128"/>
              <a:gd name="T28" fmla="*/ 1820 w 2051"/>
              <a:gd name="T29" fmla="*/ 456 h 1128"/>
              <a:gd name="T30" fmla="*/ 1868 w 2051"/>
              <a:gd name="T31" fmla="*/ 512 h 1128"/>
              <a:gd name="T32" fmla="*/ 1820 w 2051"/>
              <a:gd name="T33" fmla="*/ 568 h 1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51" h="1128">
                <a:moveTo>
                  <a:pt x="2010" y="480"/>
                </a:moveTo>
                <a:cubicBezTo>
                  <a:pt x="1615" y="0"/>
                  <a:pt x="919" y="213"/>
                  <a:pt x="731" y="304"/>
                </a:cubicBezTo>
                <a:cubicBezTo>
                  <a:pt x="644" y="346"/>
                  <a:pt x="546" y="396"/>
                  <a:pt x="479" y="431"/>
                </a:cubicBezTo>
                <a:cubicBezTo>
                  <a:pt x="435" y="453"/>
                  <a:pt x="382" y="447"/>
                  <a:pt x="344" y="414"/>
                </a:cubicBezTo>
                <a:cubicBezTo>
                  <a:pt x="223" y="309"/>
                  <a:pt x="0" y="196"/>
                  <a:pt x="0" y="196"/>
                </a:cubicBezTo>
                <a:cubicBezTo>
                  <a:pt x="0" y="328"/>
                  <a:pt x="109" y="564"/>
                  <a:pt x="109" y="564"/>
                </a:cubicBezTo>
                <a:cubicBezTo>
                  <a:pt x="109" y="564"/>
                  <a:pt x="0" y="800"/>
                  <a:pt x="0" y="932"/>
                </a:cubicBezTo>
                <a:cubicBezTo>
                  <a:pt x="0" y="932"/>
                  <a:pt x="223" y="819"/>
                  <a:pt x="344" y="714"/>
                </a:cubicBezTo>
                <a:cubicBezTo>
                  <a:pt x="382" y="681"/>
                  <a:pt x="435" y="675"/>
                  <a:pt x="479" y="697"/>
                </a:cubicBezTo>
                <a:cubicBezTo>
                  <a:pt x="546" y="732"/>
                  <a:pt x="644" y="782"/>
                  <a:pt x="731" y="824"/>
                </a:cubicBezTo>
                <a:cubicBezTo>
                  <a:pt x="919" y="915"/>
                  <a:pt x="1615" y="1128"/>
                  <a:pt x="2010" y="648"/>
                </a:cubicBezTo>
                <a:cubicBezTo>
                  <a:pt x="2051" y="599"/>
                  <a:pt x="2051" y="529"/>
                  <a:pt x="2010" y="480"/>
                </a:cubicBezTo>
                <a:close/>
                <a:moveTo>
                  <a:pt x="1820" y="568"/>
                </a:moveTo>
                <a:cubicBezTo>
                  <a:pt x="1793" y="568"/>
                  <a:pt x="1772" y="543"/>
                  <a:pt x="1772" y="512"/>
                </a:cubicBezTo>
                <a:cubicBezTo>
                  <a:pt x="1772" y="481"/>
                  <a:pt x="1793" y="456"/>
                  <a:pt x="1820" y="456"/>
                </a:cubicBezTo>
                <a:cubicBezTo>
                  <a:pt x="1847" y="456"/>
                  <a:pt x="1868" y="481"/>
                  <a:pt x="1868" y="512"/>
                </a:cubicBezTo>
                <a:cubicBezTo>
                  <a:pt x="1868" y="543"/>
                  <a:pt x="1847" y="568"/>
                  <a:pt x="1820" y="568"/>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cs typeface="+mn-ea"/>
              <a:sym typeface="+mn-lt"/>
            </a:endParaRPr>
          </a:p>
        </p:txBody>
      </p:sp>
      <p:sp>
        <p:nvSpPr>
          <p:cNvPr id="3" name="TextBox 9">
            <a:extLst>
              <a:ext uri="{FF2B5EF4-FFF2-40B4-BE49-F238E27FC236}">
                <a16:creationId xmlns:a16="http://schemas.microsoft.com/office/drawing/2014/main" id="{35DFE0C7-7935-4A86-961C-973832CCF740}"/>
              </a:ext>
            </a:extLst>
          </p:cNvPr>
          <p:cNvSpPr txBox="1"/>
          <p:nvPr/>
        </p:nvSpPr>
        <p:spPr>
          <a:xfrm>
            <a:off x="1746980" y="3106091"/>
            <a:ext cx="1396536" cy="58477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0F0F0"/>
                </a:solidFill>
                <a:effectLst/>
                <a:uLnTx/>
                <a:uFillTx/>
                <a:latin typeface="Arial"/>
                <a:cs typeface="+mn-ea"/>
                <a:sym typeface="+mn-lt"/>
              </a:rPr>
              <a:t>Placeholde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0F0F0"/>
                </a:solidFill>
                <a:effectLst/>
                <a:uLnTx/>
                <a:uFillTx/>
                <a:latin typeface="Arial"/>
                <a:cs typeface="+mn-ea"/>
                <a:sym typeface="+mn-lt"/>
              </a:rPr>
              <a:t>For Text</a:t>
            </a:r>
          </a:p>
        </p:txBody>
      </p:sp>
      <p:cxnSp>
        <p:nvCxnSpPr>
          <p:cNvPr id="4" name="Straight Arrow Connector 13">
            <a:extLst>
              <a:ext uri="{FF2B5EF4-FFF2-40B4-BE49-F238E27FC236}">
                <a16:creationId xmlns:a16="http://schemas.microsoft.com/office/drawing/2014/main" id="{5E26D796-F44A-48A1-A074-F39A1032C09E}"/>
              </a:ext>
            </a:extLst>
          </p:cNvPr>
          <p:cNvCxnSpPr/>
          <p:nvPr/>
        </p:nvCxnSpPr>
        <p:spPr>
          <a:xfrm>
            <a:off x="3387597" y="3462946"/>
            <a:ext cx="5873995" cy="0"/>
          </a:xfrm>
          <a:prstGeom prst="straightConnector1">
            <a:avLst/>
          </a:prstGeom>
          <a:ln w="38100">
            <a:solidFill>
              <a:schemeClr val="bg2"/>
            </a:solidFill>
            <a:prstDash val="dash"/>
            <a:tailEnd type="triangle"/>
          </a:ln>
        </p:spPr>
        <p:style>
          <a:lnRef idx="3">
            <a:schemeClr val="accent2"/>
          </a:lnRef>
          <a:fillRef idx="0">
            <a:schemeClr val="accent2"/>
          </a:fillRef>
          <a:effectRef idx="2">
            <a:schemeClr val="accent2"/>
          </a:effectRef>
          <a:fontRef idx="minor">
            <a:schemeClr val="tx1"/>
          </a:fontRef>
        </p:style>
      </p:cxnSp>
      <p:cxnSp>
        <p:nvCxnSpPr>
          <p:cNvPr id="5" name="Straight Connector 15">
            <a:extLst>
              <a:ext uri="{FF2B5EF4-FFF2-40B4-BE49-F238E27FC236}">
                <a16:creationId xmlns:a16="http://schemas.microsoft.com/office/drawing/2014/main" id="{040496E4-2E0F-4FD0-8228-154511A1A591}"/>
              </a:ext>
            </a:extLst>
          </p:cNvPr>
          <p:cNvCxnSpPr/>
          <p:nvPr/>
        </p:nvCxnSpPr>
        <p:spPr>
          <a:xfrm flipH="1" flipV="1">
            <a:off x="3927057" y="2615993"/>
            <a:ext cx="940025" cy="733302"/>
          </a:xfrm>
          <a:prstGeom prst="line">
            <a:avLst/>
          </a:prstGeom>
          <a:ln w="28575">
            <a:solidFill>
              <a:schemeClr val="bg2"/>
            </a:solidFill>
            <a:prstDash val="dash"/>
          </a:ln>
        </p:spPr>
        <p:style>
          <a:lnRef idx="3">
            <a:schemeClr val="accent2"/>
          </a:lnRef>
          <a:fillRef idx="0">
            <a:schemeClr val="accent2"/>
          </a:fillRef>
          <a:effectRef idx="2">
            <a:schemeClr val="accent2"/>
          </a:effectRef>
          <a:fontRef idx="minor">
            <a:schemeClr val="tx1"/>
          </a:fontRef>
        </p:style>
      </p:cxnSp>
      <p:cxnSp>
        <p:nvCxnSpPr>
          <p:cNvPr id="6" name="Straight Connector 22">
            <a:extLst>
              <a:ext uri="{FF2B5EF4-FFF2-40B4-BE49-F238E27FC236}">
                <a16:creationId xmlns:a16="http://schemas.microsoft.com/office/drawing/2014/main" id="{28E98C39-CC5A-4847-A53D-F0D10E261707}"/>
              </a:ext>
            </a:extLst>
          </p:cNvPr>
          <p:cNvCxnSpPr/>
          <p:nvPr/>
        </p:nvCxnSpPr>
        <p:spPr>
          <a:xfrm flipH="1" flipV="1">
            <a:off x="4911027" y="2236019"/>
            <a:ext cx="1335222" cy="1113277"/>
          </a:xfrm>
          <a:prstGeom prst="line">
            <a:avLst/>
          </a:prstGeom>
          <a:ln w="28575">
            <a:solidFill>
              <a:schemeClr val="bg2"/>
            </a:solidFill>
            <a:prstDash val="dash"/>
          </a:ln>
        </p:spPr>
        <p:style>
          <a:lnRef idx="3">
            <a:schemeClr val="accent2"/>
          </a:lnRef>
          <a:fillRef idx="0">
            <a:schemeClr val="accent2"/>
          </a:fillRef>
          <a:effectRef idx="2">
            <a:schemeClr val="accent2"/>
          </a:effectRef>
          <a:fontRef idx="minor">
            <a:schemeClr val="tx1"/>
          </a:fontRef>
        </p:style>
      </p:cxnSp>
      <p:cxnSp>
        <p:nvCxnSpPr>
          <p:cNvPr id="7" name="Straight Connector 28">
            <a:extLst>
              <a:ext uri="{FF2B5EF4-FFF2-40B4-BE49-F238E27FC236}">
                <a16:creationId xmlns:a16="http://schemas.microsoft.com/office/drawing/2014/main" id="{F3FFBC8C-F592-4ECB-B864-23FCDC2AC083}"/>
              </a:ext>
            </a:extLst>
          </p:cNvPr>
          <p:cNvCxnSpPr/>
          <p:nvPr/>
        </p:nvCxnSpPr>
        <p:spPr>
          <a:xfrm flipH="1" flipV="1">
            <a:off x="6107134" y="1943051"/>
            <a:ext cx="1644280" cy="1406244"/>
          </a:xfrm>
          <a:prstGeom prst="line">
            <a:avLst/>
          </a:prstGeom>
          <a:ln w="28575">
            <a:solidFill>
              <a:schemeClr val="bg2"/>
            </a:solidFill>
            <a:prstDash val="dash"/>
          </a:ln>
        </p:spPr>
        <p:style>
          <a:lnRef idx="3">
            <a:schemeClr val="accent2"/>
          </a:lnRef>
          <a:fillRef idx="0">
            <a:schemeClr val="accent2"/>
          </a:fillRef>
          <a:effectRef idx="2">
            <a:schemeClr val="accent2"/>
          </a:effectRef>
          <a:fontRef idx="minor">
            <a:schemeClr val="tx1"/>
          </a:fontRef>
        </p:style>
      </p:cxnSp>
      <p:cxnSp>
        <p:nvCxnSpPr>
          <p:cNvPr id="8" name="Straight Connector 30">
            <a:extLst>
              <a:ext uri="{FF2B5EF4-FFF2-40B4-BE49-F238E27FC236}">
                <a16:creationId xmlns:a16="http://schemas.microsoft.com/office/drawing/2014/main" id="{CD730ACD-2446-45D6-A68C-093A8AE73C74}"/>
              </a:ext>
            </a:extLst>
          </p:cNvPr>
          <p:cNvCxnSpPr/>
          <p:nvPr/>
        </p:nvCxnSpPr>
        <p:spPr>
          <a:xfrm flipH="1" flipV="1">
            <a:off x="7369113" y="1756158"/>
            <a:ext cx="1578408" cy="1593137"/>
          </a:xfrm>
          <a:prstGeom prst="line">
            <a:avLst/>
          </a:prstGeom>
          <a:ln w="28575">
            <a:solidFill>
              <a:schemeClr val="bg2"/>
            </a:solidFill>
            <a:prstDash val="dash"/>
          </a:ln>
        </p:spPr>
        <p:style>
          <a:lnRef idx="3">
            <a:schemeClr val="accent2"/>
          </a:lnRef>
          <a:fillRef idx="0">
            <a:schemeClr val="accent2"/>
          </a:fillRef>
          <a:effectRef idx="2">
            <a:schemeClr val="accent2"/>
          </a:effectRef>
          <a:fontRef idx="minor">
            <a:schemeClr val="tx1"/>
          </a:fontRef>
        </p:style>
      </p:cxnSp>
      <p:cxnSp>
        <p:nvCxnSpPr>
          <p:cNvPr id="9" name="Straight Connector 45">
            <a:extLst>
              <a:ext uri="{FF2B5EF4-FFF2-40B4-BE49-F238E27FC236}">
                <a16:creationId xmlns:a16="http://schemas.microsoft.com/office/drawing/2014/main" id="{B10978A7-70F2-4C25-BB68-B552D6D6CC4A}"/>
              </a:ext>
            </a:extLst>
          </p:cNvPr>
          <p:cNvCxnSpPr/>
          <p:nvPr/>
        </p:nvCxnSpPr>
        <p:spPr>
          <a:xfrm flipH="1">
            <a:off x="3954911" y="3606518"/>
            <a:ext cx="940025" cy="733302"/>
          </a:xfrm>
          <a:prstGeom prst="line">
            <a:avLst/>
          </a:prstGeom>
          <a:ln w="28575">
            <a:solidFill>
              <a:schemeClr val="bg2"/>
            </a:solidFill>
            <a:prstDash val="dash"/>
          </a:ln>
        </p:spPr>
        <p:style>
          <a:lnRef idx="3">
            <a:schemeClr val="accent2"/>
          </a:lnRef>
          <a:fillRef idx="0">
            <a:schemeClr val="accent2"/>
          </a:fillRef>
          <a:effectRef idx="2">
            <a:schemeClr val="accent2"/>
          </a:effectRef>
          <a:fontRef idx="minor">
            <a:schemeClr val="tx1"/>
          </a:fontRef>
        </p:style>
      </p:cxnSp>
      <p:cxnSp>
        <p:nvCxnSpPr>
          <p:cNvPr id="10" name="Straight Connector 46">
            <a:extLst>
              <a:ext uri="{FF2B5EF4-FFF2-40B4-BE49-F238E27FC236}">
                <a16:creationId xmlns:a16="http://schemas.microsoft.com/office/drawing/2014/main" id="{73EDD77C-302B-4F25-9DBF-2FB37F2CC06E}"/>
              </a:ext>
            </a:extLst>
          </p:cNvPr>
          <p:cNvCxnSpPr/>
          <p:nvPr/>
        </p:nvCxnSpPr>
        <p:spPr>
          <a:xfrm flipH="1">
            <a:off x="4983980" y="3646930"/>
            <a:ext cx="1335222" cy="1113277"/>
          </a:xfrm>
          <a:prstGeom prst="line">
            <a:avLst/>
          </a:prstGeom>
          <a:ln w="28575">
            <a:solidFill>
              <a:schemeClr val="bg2"/>
            </a:solidFill>
            <a:prstDash val="dash"/>
          </a:ln>
        </p:spPr>
        <p:style>
          <a:lnRef idx="3">
            <a:schemeClr val="accent2"/>
          </a:lnRef>
          <a:fillRef idx="0">
            <a:schemeClr val="accent2"/>
          </a:fillRef>
          <a:effectRef idx="2">
            <a:schemeClr val="accent2"/>
          </a:effectRef>
          <a:fontRef idx="minor">
            <a:schemeClr val="tx1"/>
          </a:fontRef>
        </p:style>
      </p:cxnSp>
      <p:cxnSp>
        <p:nvCxnSpPr>
          <p:cNvPr id="11" name="Straight Connector 47">
            <a:extLst>
              <a:ext uri="{FF2B5EF4-FFF2-40B4-BE49-F238E27FC236}">
                <a16:creationId xmlns:a16="http://schemas.microsoft.com/office/drawing/2014/main" id="{A4770CD9-D17D-40E6-A308-6F40F8F17701}"/>
              </a:ext>
            </a:extLst>
          </p:cNvPr>
          <p:cNvCxnSpPr/>
          <p:nvPr/>
        </p:nvCxnSpPr>
        <p:spPr>
          <a:xfrm flipH="1">
            <a:off x="6180376" y="3648950"/>
            <a:ext cx="1644280" cy="1406244"/>
          </a:xfrm>
          <a:prstGeom prst="line">
            <a:avLst/>
          </a:prstGeom>
          <a:ln w="28575">
            <a:solidFill>
              <a:schemeClr val="bg2"/>
            </a:solidFill>
            <a:prstDash val="dash"/>
          </a:ln>
        </p:spPr>
        <p:style>
          <a:lnRef idx="3">
            <a:schemeClr val="accent2"/>
          </a:lnRef>
          <a:fillRef idx="0">
            <a:schemeClr val="accent2"/>
          </a:fillRef>
          <a:effectRef idx="2">
            <a:schemeClr val="accent2"/>
          </a:effectRef>
          <a:fontRef idx="minor">
            <a:schemeClr val="tx1"/>
          </a:fontRef>
        </p:style>
      </p:cxnSp>
      <p:cxnSp>
        <p:nvCxnSpPr>
          <p:cNvPr id="12" name="Straight Connector 48">
            <a:extLst>
              <a:ext uri="{FF2B5EF4-FFF2-40B4-BE49-F238E27FC236}">
                <a16:creationId xmlns:a16="http://schemas.microsoft.com/office/drawing/2014/main" id="{CB1781EC-89E2-4AF0-A508-D585CF1241EE}"/>
              </a:ext>
            </a:extLst>
          </p:cNvPr>
          <p:cNvCxnSpPr/>
          <p:nvPr/>
        </p:nvCxnSpPr>
        <p:spPr>
          <a:xfrm flipH="1">
            <a:off x="7369113" y="3606518"/>
            <a:ext cx="1578408" cy="1593137"/>
          </a:xfrm>
          <a:prstGeom prst="line">
            <a:avLst/>
          </a:prstGeom>
          <a:ln w="28575">
            <a:solidFill>
              <a:schemeClr val="bg2"/>
            </a:solidFill>
            <a:prstDash val="dash"/>
          </a:ln>
        </p:spPr>
        <p:style>
          <a:lnRef idx="3">
            <a:schemeClr val="accent2"/>
          </a:lnRef>
          <a:fillRef idx="0">
            <a:schemeClr val="accent2"/>
          </a:fillRef>
          <a:effectRef idx="2">
            <a:schemeClr val="accent2"/>
          </a:effectRef>
          <a:fontRef idx="minor">
            <a:schemeClr val="tx1"/>
          </a:fontRef>
        </p:style>
      </p:cxnSp>
      <p:sp>
        <p:nvSpPr>
          <p:cNvPr id="13" name="TextBox 49">
            <a:extLst>
              <a:ext uri="{FF2B5EF4-FFF2-40B4-BE49-F238E27FC236}">
                <a16:creationId xmlns:a16="http://schemas.microsoft.com/office/drawing/2014/main" id="{27766F05-66F7-40A5-BEC5-3042EB64EC85}"/>
              </a:ext>
            </a:extLst>
          </p:cNvPr>
          <p:cNvSpPr txBox="1"/>
          <p:nvPr/>
        </p:nvSpPr>
        <p:spPr>
          <a:xfrm rot="2462305">
            <a:off x="4571019" y="2887093"/>
            <a:ext cx="527580"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0F0F0"/>
                </a:solidFill>
                <a:effectLst/>
                <a:uLnTx/>
                <a:uFillTx/>
                <a:latin typeface="Arial"/>
                <a:cs typeface="+mn-ea"/>
                <a:sym typeface="+mn-lt"/>
              </a:rPr>
              <a:t>Text</a:t>
            </a:r>
          </a:p>
        </p:txBody>
      </p:sp>
      <p:sp>
        <p:nvSpPr>
          <p:cNvPr id="14" name="TextBox 16">
            <a:extLst>
              <a:ext uri="{FF2B5EF4-FFF2-40B4-BE49-F238E27FC236}">
                <a16:creationId xmlns:a16="http://schemas.microsoft.com/office/drawing/2014/main" id="{B0A8AA96-8CE2-475B-A4E0-2714E1A0969C}"/>
              </a:ext>
            </a:extLst>
          </p:cNvPr>
          <p:cNvSpPr txBox="1"/>
          <p:nvPr/>
        </p:nvSpPr>
        <p:spPr>
          <a:xfrm rot="2443297">
            <a:off x="6707192" y="2518428"/>
            <a:ext cx="1305999"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0F0F0"/>
                </a:solidFill>
                <a:effectLst/>
                <a:uLnTx/>
                <a:uFillTx/>
                <a:latin typeface="Arial"/>
                <a:cs typeface="+mn-ea"/>
                <a:sym typeface="+mn-lt"/>
              </a:rPr>
              <a:t>Example Text</a:t>
            </a:r>
          </a:p>
        </p:txBody>
      </p:sp>
      <p:sp>
        <p:nvSpPr>
          <p:cNvPr id="15" name="TextBox 17">
            <a:extLst>
              <a:ext uri="{FF2B5EF4-FFF2-40B4-BE49-F238E27FC236}">
                <a16:creationId xmlns:a16="http://schemas.microsoft.com/office/drawing/2014/main" id="{C477D88F-ECC1-4A12-A088-A98590614786}"/>
              </a:ext>
            </a:extLst>
          </p:cNvPr>
          <p:cNvSpPr txBox="1"/>
          <p:nvPr/>
        </p:nvSpPr>
        <p:spPr>
          <a:xfrm rot="2476893">
            <a:off x="5177708" y="2530034"/>
            <a:ext cx="1305999"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0F0F0"/>
                </a:solidFill>
                <a:effectLst/>
                <a:uLnTx/>
                <a:uFillTx/>
                <a:latin typeface="Arial"/>
                <a:cs typeface="+mn-ea"/>
                <a:sym typeface="+mn-lt"/>
              </a:rPr>
              <a:t>Example Text</a:t>
            </a:r>
          </a:p>
        </p:txBody>
      </p:sp>
      <p:sp>
        <p:nvSpPr>
          <p:cNvPr id="16" name="TextBox 18">
            <a:extLst>
              <a:ext uri="{FF2B5EF4-FFF2-40B4-BE49-F238E27FC236}">
                <a16:creationId xmlns:a16="http://schemas.microsoft.com/office/drawing/2014/main" id="{C0BE5CB5-C4BA-49E1-9B75-441C5253DE3E}"/>
              </a:ext>
            </a:extLst>
          </p:cNvPr>
          <p:cNvSpPr txBox="1"/>
          <p:nvPr/>
        </p:nvSpPr>
        <p:spPr>
          <a:xfrm rot="2725904">
            <a:off x="8281128" y="2654151"/>
            <a:ext cx="920893"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0F0F0"/>
                </a:solidFill>
                <a:effectLst/>
                <a:uLnTx/>
                <a:uFillTx/>
                <a:latin typeface="Arial"/>
                <a:cs typeface="+mn-ea"/>
                <a:sym typeface="+mn-lt"/>
              </a:rPr>
              <a:t>Your Text</a:t>
            </a:r>
          </a:p>
        </p:txBody>
      </p:sp>
      <p:sp>
        <p:nvSpPr>
          <p:cNvPr id="17" name="TextBox 19">
            <a:extLst>
              <a:ext uri="{FF2B5EF4-FFF2-40B4-BE49-F238E27FC236}">
                <a16:creationId xmlns:a16="http://schemas.microsoft.com/office/drawing/2014/main" id="{E73CD508-79E6-40BA-95F6-09A78570B47B}"/>
              </a:ext>
            </a:extLst>
          </p:cNvPr>
          <p:cNvSpPr txBox="1"/>
          <p:nvPr/>
        </p:nvSpPr>
        <p:spPr>
          <a:xfrm rot="19044096">
            <a:off x="4664718" y="4209187"/>
            <a:ext cx="920893"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0F0F0"/>
                </a:solidFill>
                <a:effectLst/>
                <a:uLnTx/>
                <a:uFillTx/>
                <a:latin typeface="Arial"/>
                <a:cs typeface="+mn-ea"/>
                <a:sym typeface="+mn-lt"/>
              </a:rPr>
              <a:t>Your Text</a:t>
            </a:r>
          </a:p>
        </p:txBody>
      </p:sp>
      <p:sp>
        <p:nvSpPr>
          <p:cNvPr id="18" name="TextBox 20">
            <a:extLst>
              <a:ext uri="{FF2B5EF4-FFF2-40B4-BE49-F238E27FC236}">
                <a16:creationId xmlns:a16="http://schemas.microsoft.com/office/drawing/2014/main" id="{7DADFB5E-61ED-4B44-B278-EE095DD00D20}"/>
              </a:ext>
            </a:extLst>
          </p:cNvPr>
          <p:cNvSpPr txBox="1"/>
          <p:nvPr/>
        </p:nvSpPr>
        <p:spPr>
          <a:xfrm rot="19136100">
            <a:off x="5900661" y="4400731"/>
            <a:ext cx="920893"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0F0F0"/>
                </a:solidFill>
                <a:effectLst/>
                <a:uLnTx/>
                <a:uFillTx/>
                <a:latin typeface="Arial"/>
                <a:cs typeface="+mn-ea"/>
                <a:sym typeface="+mn-lt"/>
              </a:rPr>
              <a:t>Your Text</a:t>
            </a:r>
          </a:p>
        </p:txBody>
      </p:sp>
      <p:sp>
        <p:nvSpPr>
          <p:cNvPr id="19" name="TextBox 21">
            <a:extLst>
              <a:ext uri="{FF2B5EF4-FFF2-40B4-BE49-F238E27FC236}">
                <a16:creationId xmlns:a16="http://schemas.microsoft.com/office/drawing/2014/main" id="{B7DBC557-D820-4DB5-B31E-5E6EAE312475}"/>
              </a:ext>
            </a:extLst>
          </p:cNvPr>
          <p:cNvSpPr txBox="1"/>
          <p:nvPr/>
        </p:nvSpPr>
        <p:spPr>
          <a:xfrm rot="18826367">
            <a:off x="6944620" y="4474660"/>
            <a:ext cx="1305999"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0F0F0"/>
                </a:solidFill>
                <a:effectLst/>
                <a:uLnTx/>
                <a:uFillTx/>
                <a:latin typeface="Arial"/>
                <a:cs typeface="+mn-ea"/>
                <a:sym typeface="+mn-lt"/>
              </a:rPr>
              <a:t>Example Text</a:t>
            </a:r>
          </a:p>
        </p:txBody>
      </p:sp>
      <p:sp>
        <p:nvSpPr>
          <p:cNvPr id="20" name="TextBox 25">
            <a:extLst>
              <a:ext uri="{FF2B5EF4-FFF2-40B4-BE49-F238E27FC236}">
                <a16:creationId xmlns:a16="http://schemas.microsoft.com/office/drawing/2014/main" id="{1F184C66-958E-4F92-8218-3C79FC363A54}"/>
              </a:ext>
            </a:extLst>
          </p:cNvPr>
          <p:cNvSpPr txBox="1"/>
          <p:nvPr/>
        </p:nvSpPr>
        <p:spPr>
          <a:xfrm rot="19044096">
            <a:off x="3716242" y="3723896"/>
            <a:ext cx="920893"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0F0F0"/>
                </a:solidFill>
                <a:effectLst/>
                <a:uLnTx/>
                <a:uFillTx/>
                <a:latin typeface="Arial"/>
                <a:cs typeface="+mn-ea"/>
                <a:sym typeface="+mn-lt"/>
              </a:rPr>
              <a:t>Your Text</a:t>
            </a:r>
          </a:p>
        </p:txBody>
      </p:sp>
    </p:spTree>
    <p:extLst>
      <p:ext uri="{BB962C8B-B14F-4D97-AF65-F5344CB8AC3E}">
        <p14:creationId xmlns:p14="http://schemas.microsoft.com/office/powerpoint/2010/main" val="19146533"/>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7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21">
            <a:extLst>
              <a:ext uri="{FF2B5EF4-FFF2-40B4-BE49-F238E27FC236}">
                <a16:creationId xmlns:a16="http://schemas.microsoft.com/office/drawing/2014/main" id="{794D55BF-6D5F-4194-A8F9-418EEE365BE5}"/>
              </a:ext>
            </a:extLst>
          </p:cNvPr>
          <p:cNvGrpSpPr/>
          <p:nvPr/>
        </p:nvGrpSpPr>
        <p:grpSpPr>
          <a:xfrm>
            <a:off x="892998" y="432481"/>
            <a:ext cx="8887392" cy="5993038"/>
            <a:chOff x="2393950" y="1547812"/>
            <a:chExt cx="7112001" cy="4795838"/>
          </a:xfrm>
          <a:solidFill>
            <a:schemeClr val="accent1"/>
          </a:solidFill>
        </p:grpSpPr>
        <p:sp>
          <p:nvSpPr>
            <p:cNvPr id="3" name="Freeform 5">
              <a:extLst>
                <a:ext uri="{FF2B5EF4-FFF2-40B4-BE49-F238E27FC236}">
                  <a16:creationId xmlns:a16="http://schemas.microsoft.com/office/drawing/2014/main" id="{A64ECBCF-FA10-442B-BA71-63406B14749F}"/>
                </a:ext>
              </a:extLst>
            </p:cNvPr>
            <p:cNvSpPr>
              <a:spLocks noEditPoints="1"/>
            </p:cNvSpPr>
            <p:nvPr/>
          </p:nvSpPr>
          <p:spPr bwMode="auto">
            <a:xfrm>
              <a:off x="2393950" y="1547812"/>
              <a:ext cx="7112001" cy="4795838"/>
            </a:xfrm>
            <a:custGeom>
              <a:avLst/>
              <a:gdLst>
                <a:gd name="T0" fmla="*/ 1994 w 2160"/>
                <a:gd name="T1" fmla="*/ 712 h 1456"/>
                <a:gd name="T2" fmla="*/ 2122 w 2160"/>
                <a:gd name="T3" fmla="*/ 594 h 1456"/>
                <a:gd name="T4" fmla="*/ 2090 w 2160"/>
                <a:gd name="T5" fmla="*/ 542 h 1456"/>
                <a:gd name="T6" fmla="*/ 1578 w 2160"/>
                <a:gd name="T7" fmla="*/ 184 h 1456"/>
                <a:gd name="T8" fmla="*/ 1478 w 2160"/>
                <a:gd name="T9" fmla="*/ 56 h 1456"/>
                <a:gd name="T10" fmla="*/ 1514 w 2160"/>
                <a:gd name="T11" fmla="*/ 168 h 1456"/>
                <a:gd name="T12" fmla="*/ 1436 w 2160"/>
                <a:gd name="T13" fmla="*/ 44 h 1456"/>
                <a:gd name="T14" fmla="*/ 1378 w 2160"/>
                <a:gd name="T15" fmla="*/ 28 h 1456"/>
                <a:gd name="T16" fmla="*/ 1432 w 2160"/>
                <a:gd name="T17" fmla="*/ 160 h 1456"/>
                <a:gd name="T18" fmla="*/ 1334 w 2160"/>
                <a:gd name="T19" fmla="*/ 16 h 1456"/>
                <a:gd name="T20" fmla="*/ 1280 w 2160"/>
                <a:gd name="T21" fmla="*/ 16 h 1456"/>
                <a:gd name="T22" fmla="*/ 1346 w 2160"/>
                <a:gd name="T23" fmla="*/ 148 h 1456"/>
                <a:gd name="T24" fmla="*/ 1214 w 2160"/>
                <a:gd name="T25" fmla="*/ 14 h 1456"/>
                <a:gd name="T26" fmla="*/ 760 w 2160"/>
                <a:gd name="T27" fmla="*/ 62 h 1456"/>
                <a:gd name="T28" fmla="*/ 868 w 2160"/>
                <a:gd name="T29" fmla="*/ 168 h 1456"/>
                <a:gd name="T30" fmla="*/ 406 w 2160"/>
                <a:gd name="T31" fmla="*/ 426 h 1456"/>
                <a:gd name="T32" fmla="*/ 32 w 2160"/>
                <a:gd name="T33" fmla="*/ 242 h 1456"/>
                <a:gd name="T34" fmla="*/ 56 w 2160"/>
                <a:gd name="T35" fmla="*/ 276 h 1456"/>
                <a:gd name="T36" fmla="*/ 370 w 2160"/>
                <a:gd name="T37" fmla="*/ 482 h 1456"/>
                <a:gd name="T38" fmla="*/ 85 w 2160"/>
                <a:gd name="T39" fmla="*/ 324 h 1456"/>
                <a:gd name="T40" fmla="*/ 120 w 2160"/>
                <a:gd name="T41" fmla="*/ 394 h 1456"/>
                <a:gd name="T42" fmla="*/ 342 w 2160"/>
                <a:gd name="T43" fmla="*/ 510 h 1456"/>
                <a:gd name="T44" fmla="*/ 135 w 2160"/>
                <a:gd name="T45" fmla="*/ 433 h 1456"/>
                <a:gd name="T46" fmla="*/ 150 w 2160"/>
                <a:gd name="T47" fmla="*/ 495 h 1456"/>
                <a:gd name="T48" fmla="*/ 378 w 2160"/>
                <a:gd name="T49" fmla="*/ 601 h 1456"/>
                <a:gd name="T50" fmla="*/ 161 w 2160"/>
                <a:gd name="T51" fmla="*/ 548 h 1456"/>
                <a:gd name="T52" fmla="*/ 272 w 2160"/>
                <a:gd name="T53" fmla="*/ 710 h 1456"/>
                <a:gd name="T54" fmla="*/ 183 w 2160"/>
                <a:gd name="T55" fmla="*/ 859 h 1456"/>
                <a:gd name="T56" fmla="*/ 378 w 2160"/>
                <a:gd name="T57" fmla="*/ 805 h 1456"/>
                <a:gd name="T58" fmla="*/ 163 w 2160"/>
                <a:gd name="T59" fmla="*/ 911 h 1456"/>
                <a:gd name="T60" fmla="*/ 150 w 2160"/>
                <a:gd name="T61" fmla="*/ 950 h 1456"/>
                <a:gd name="T62" fmla="*/ 142 w 2160"/>
                <a:gd name="T63" fmla="*/ 973 h 1456"/>
                <a:gd name="T64" fmla="*/ 342 w 2160"/>
                <a:gd name="T65" fmla="*/ 896 h 1456"/>
                <a:gd name="T66" fmla="*/ 126 w 2160"/>
                <a:gd name="T67" fmla="*/ 1012 h 1456"/>
                <a:gd name="T68" fmla="*/ 86 w 2160"/>
                <a:gd name="T69" fmla="*/ 1082 h 1456"/>
                <a:gd name="T70" fmla="*/ 370 w 2160"/>
                <a:gd name="T71" fmla="*/ 924 h 1456"/>
                <a:gd name="T72" fmla="*/ 47 w 2160"/>
                <a:gd name="T73" fmla="*/ 1131 h 1456"/>
                <a:gd name="T74" fmla="*/ 0 w 2160"/>
                <a:gd name="T75" fmla="*/ 1174 h 1456"/>
                <a:gd name="T76" fmla="*/ 400 w 2160"/>
                <a:gd name="T77" fmla="*/ 974 h 1456"/>
                <a:gd name="T78" fmla="*/ 640 w 2160"/>
                <a:gd name="T79" fmla="*/ 1158 h 1456"/>
                <a:gd name="T80" fmla="*/ 514 w 2160"/>
                <a:gd name="T81" fmla="*/ 1280 h 1456"/>
                <a:gd name="T82" fmla="*/ 766 w 2160"/>
                <a:gd name="T83" fmla="*/ 1208 h 1456"/>
                <a:gd name="T84" fmla="*/ 1124 w 2160"/>
                <a:gd name="T85" fmla="*/ 1270 h 1456"/>
                <a:gd name="T86" fmla="*/ 1040 w 2160"/>
                <a:gd name="T87" fmla="*/ 1438 h 1456"/>
                <a:gd name="T88" fmla="*/ 1332 w 2160"/>
                <a:gd name="T89" fmla="*/ 1276 h 1456"/>
                <a:gd name="T90" fmla="*/ 2050 w 2160"/>
                <a:gd name="T91" fmla="*/ 918 h 1456"/>
                <a:gd name="T92" fmla="*/ 2052 w 2160"/>
                <a:gd name="T93" fmla="*/ 881 h 1456"/>
                <a:gd name="T94" fmla="*/ 2020 w 2160"/>
                <a:gd name="T95" fmla="*/ 828 h 1456"/>
                <a:gd name="T96" fmla="*/ 2144 w 2160"/>
                <a:gd name="T97" fmla="*/ 872 h 1456"/>
                <a:gd name="T98" fmla="*/ 1994 w 2160"/>
                <a:gd name="T99" fmla="*/ 712 h 1456"/>
                <a:gd name="T100" fmla="*/ 1906 w 2160"/>
                <a:gd name="T101" fmla="*/ 580 h 1456"/>
                <a:gd name="T102" fmla="*/ 1830 w 2160"/>
                <a:gd name="T103" fmla="*/ 515 h 1456"/>
                <a:gd name="T104" fmla="*/ 1906 w 2160"/>
                <a:gd name="T105" fmla="*/ 450 h 1456"/>
                <a:gd name="T106" fmla="*/ 1982 w 2160"/>
                <a:gd name="T107" fmla="*/ 515 h 1456"/>
                <a:gd name="T108" fmla="*/ 1906 w 2160"/>
                <a:gd name="T109" fmla="*/ 580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160" h="1456">
                  <a:moveTo>
                    <a:pt x="1994" y="712"/>
                  </a:moveTo>
                  <a:cubicBezTo>
                    <a:pt x="2000" y="624"/>
                    <a:pt x="2096" y="618"/>
                    <a:pt x="2122" y="594"/>
                  </a:cubicBezTo>
                  <a:cubicBezTo>
                    <a:pt x="2148" y="570"/>
                    <a:pt x="2158" y="558"/>
                    <a:pt x="2090" y="542"/>
                  </a:cubicBezTo>
                  <a:cubicBezTo>
                    <a:pt x="2022" y="526"/>
                    <a:pt x="1938" y="224"/>
                    <a:pt x="1578" y="184"/>
                  </a:cubicBezTo>
                  <a:cubicBezTo>
                    <a:pt x="1578" y="184"/>
                    <a:pt x="1554" y="98"/>
                    <a:pt x="1478" y="56"/>
                  </a:cubicBezTo>
                  <a:cubicBezTo>
                    <a:pt x="1514" y="168"/>
                    <a:pt x="1514" y="168"/>
                    <a:pt x="1514" y="168"/>
                  </a:cubicBezTo>
                  <a:cubicBezTo>
                    <a:pt x="1514" y="168"/>
                    <a:pt x="1456" y="48"/>
                    <a:pt x="1436" y="44"/>
                  </a:cubicBezTo>
                  <a:cubicBezTo>
                    <a:pt x="1416" y="40"/>
                    <a:pt x="1378" y="28"/>
                    <a:pt x="1378" y="28"/>
                  </a:cubicBezTo>
                  <a:cubicBezTo>
                    <a:pt x="1432" y="160"/>
                    <a:pt x="1432" y="160"/>
                    <a:pt x="1432" y="160"/>
                  </a:cubicBezTo>
                  <a:cubicBezTo>
                    <a:pt x="1432" y="160"/>
                    <a:pt x="1342" y="20"/>
                    <a:pt x="1334" y="16"/>
                  </a:cubicBezTo>
                  <a:cubicBezTo>
                    <a:pt x="1326" y="12"/>
                    <a:pt x="1280" y="16"/>
                    <a:pt x="1280" y="16"/>
                  </a:cubicBezTo>
                  <a:cubicBezTo>
                    <a:pt x="1280" y="16"/>
                    <a:pt x="1342" y="130"/>
                    <a:pt x="1346" y="148"/>
                  </a:cubicBezTo>
                  <a:cubicBezTo>
                    <a:pt x="1346" y="148"/>
                    <a:pt x="1254" y="32"/>
                    <a:pt x="1214" y="14"/>
                  </a:cubicBezTo>
                  <a:cubicBezTo>
                    <a:pt x="1214" y="14"/>
                    <a:pt x="874" y="0"/>
                    <a:pt x="760" y="62"/>
                  </a:cubicBezTo>
                  <a:cubicBezTo>
                    <a:pt x="760" y="62"/>
                    <a:pt x="848" y="124"/>
                    <a:pt x="868" y="168"/>
                  </a:cubicBezTo>
                  <a:cubicBezTo>
                    <a:pt x="868" y="168"/>
                    <a:pt x="568" y="238"/>
                    <a:pt x="406" y="426"/>
                  </a:cubicBezTo>
                  <a:cubicBezTo>
                    <a:pt x="406" y="426"/>
                    <a:pt x="284" y="204"/>
                    <a:pt x="32" y="242"/>
                  </a:cubicBezTo>
                  <a:cubicBezTo>
                    <a:pt x="32" y="242"/>
                    <a:pt x="42" y="255"/>
                    <a:pt x="56" y="276"/>
                  </a:cubicBezTo>
                  <a:cubicBezTo>
                    <a:pt x="292" y="286"/>
                    <a:pt x="370" y="482"/>
                    <a:pt x="370" y="482"/>
                  </a:cubicBezTo>
                  <a:cubicBezTo>
                    <a:pt x="242" y="333"/>
                    <a:pt x="126" y="323"/>
                    <a:pt x="85" y="324"/>
                  </a:cubicBezTo>
                  <a:cubicBezTo>
                    <a:pt x="97" y="345"/>
                    <a:pt x="109" y="369"/>
                    <a:pt x="120" y="394"/>
                  </a:cubicBezTo>
                  <a:cubicBezTo>
                    <a:pt x="269" y="405"/>
                    <a:pt x="342" y="510"/>
                    <a:pt x="342" y="510"/>
                  </a:cubicBezTo>
                  <a:cubicBezTo>
                    <a:pt x="247" y="442"/>
                    <a:pt x="172" y="433"/>
                    <a:pt x="135" y="433"/>
                  </a:cubicBezTo>
                  <a:cubicBezTo>
                    <a:pt x="142" y="454"/>
                    <a:pt x="147" y="475"/>
                    <a:pt x="150" y="495"/>
                  </a:cubicBezTo>
                  <a:cubicBezTo>
                    <a:pt x="290" y="489"/>
                    <a:pt x="378" y="601"/>
                    <a:pt x="378" y="601"/>
                  </a:cubicBezTo>
                  <a:cubicBezTo>
                    <a:pt x="285" y="545"/>
                    <a:pt x="192" y="546"/>
                    <a:pt x="161" y="548"/>
                  </a:cubicBezTo>
                  <a:cubicBezTo>
                    <a:pt x="193" y="653"/>
                    <a:pt x="272" y="710"/>
                    <a:pt x="272" y="710"/>
                  </a:cubicBezTo>
                  <a:cubicBezTo>
                    <a:pt x="272" y="710"/>
                    <a:pt x="228" y="754"/>
                    <a:pt x="183" y="859"/>
                  </a:cubicBezTo>
                  <a:cubicBezTo>
                    <a:pt x="225" y="859"/>
                    <a:pt x="302" y="852"/>
                    <a:pt x="378" y="805"/>
                  </a:cubicBezTo>
                  <a:cubicBezTo>
                    <a:pt x="378" y="805"/>
                    <a:pt x="296" y="910"/>
                    <a:pt x="163" y="911"/>
                  </a:cubicBezTo>
                  <a:cubicBezTo>
                    <a:pt x="159" y="924"/>
                    <a:pt x="154" y="936"/>
                    <a:pt x="150" y="950"/>
                  </a:cubicBezTo>
                  <a:cubicBezTo>
                    <a:pt x="148" y="958"/>
                    <a:pt x="145" y="966"/>
                    <a:pt x="142" y="973"/>
                  </a:cubicBezTo>
                  <a:cubicBezTo>
                    <a:pt x="181" y="972"/>
                    <a:pt x="253" y="960"/>
                    <a:pt x="342" y="896"/>
                  </a:cubicBezTo>
                  <a:cubicBezTo>
                    <a:pt x="342" y="896"/>
                    <a:pt x="271" y="998"/>
                    <a:pt x="126" y="1012"/>
                  </a:cubicBezTo>
                  <a:cubicBezTo>
                    <a:pt x="114" y="1039"/>
                    <a:pt x="100" y="1062"/>
                    <a:pt x="86" y="1082"/>
                  </a:cubicBezTo>
                  <a:cubicBezTo>
                    <a:pt x="127" y="1084"/>
                    <a:pt x="242" y="1073"/>
                    <a:pt x="370" y="924"/>
                  </a:cubicBezTo>
                  <a:cubicBezTo>
                    <a:pt x="370" y="924"/>
                    <a:pt x="290" y="1125"/>
                    <a:pt x="47" y="1131"/>
                  </a:cubicBezTo>
                  <a:cubicBezTo>
                    <a:pt x="20" y="1160"/>
                    <a:pt x="0" y="1174"/>
                    <a:pt x="0" y="1174"/>
                  </a:cubicBezTo>
                  <a:cubicBezTo>
                    <a:pt x="0" y="1174"/>
                    <a:pt x="268" y="1214"/>
                    <a:pt x="400" y="974"/>
                  </a:cubicBezTo>
                  <a:cubicBezTo>
                    <a:pt x="400" y="974"/>
                    <a:pt x="576" y="1110"/>
                    <a:pt x="640" y="1158"/>
                  </a:cubicBezTo>
                  <a:cubicBezTo>
                    <a:pt x="640" y="1158"/>
                    <a:pt x="620" y="1222"/>
                    <a:pt x="514" y="1280"/>
                  </a:cubicBezTo>
                  <a:cubicBezTo>
                    <a:pt x="514" y="1280"/>
                    <a:pt x="600" y="1330"/>
                    <a:pt x="766" y="1208"/>
                  </a:cubicBezTo>
                  <a:cubicBezTo>
                    <a:pt x="766" y="1208"/>
                    <a:pt x="976" y="1274"/>
                    <a:pt x="1124" y="1270"/>
                  </a:cubicBezTo>
                  <a:cubicBezTo>
                    <a:pt x="1124" y="1270"/>
                    <a:pt x="1118" y="1354"/>
                    <a:pt x="1040" y="1438"/>
                  </a:cubicBezTo>
                  <a:cubicBezTo>
                    <a:pt x="1040" y="1438"/>
                    <a:pt x="1222" y="1456"/>
                    <a:pt x="1332" y="1276"/>
                  </a:cubicBezTo>
                  <a:cubicBezTo>
                    <a:pt x="1332" y="1276"/>
                    <a:pt x="1745" y="1297"/>
                    <a:pt x="2050" y="918"/>
                  </a:cubicBezTo>
                  <a:cubicBezTo>
                    <a:pt x="2058" y="907"/>
                    <a:pt x="2059" y="892"/>
                    <a:pt x="2052" y="881"/>
                  </a:cubicBezTo>
                  <a:cubicBezTo>
                    <a:pt x="2020" y="828"/>
                    <a:pt x="2020" y="828"/>
                    <a:pt x="2020" y="828"/>
                  </a:cubicBezTo>
                  <a:cubicBezTo>
                    <a:pt x="2020" y="828"/>
                    <a:pt x="2128" y="898"/>
                    <a:pt x="2144" y="872"/>
                  </a:cubicBezTo>
                  <a:cubicBezTo>
                    <a:pt x="2160" y="846"/>
                    <a:pt x="1988" y="800"/>
                    <a:pt x="1994" y="712"/>
                  </a:cubicBezTo>
                  <a:close/>
                  <a:moveTo>
                    <a:pt x="1906" y="580"/>
                  </a:moveTo>
                  <a:cubicBezTo>
                    <a:pt x="1864" y="580"/>
                    <a:pt x="1830" y="551"/>
                    <a:pt x="1830" y="515"/>
                  </a:cubicBezTo>
                  <a:cubicBezTo>
                    <a:pt x="1830" y="479"/>
                    <a:pt x="1864" y="450"/>
                    <a:pt x="1906" y="450"/>
                  </a:cubicBezTo>
                  <a:cubicBezTo>
                    <a:pt x="1948" y="450"/>
                    <a:pt x="1982" y="479"/>
                    <a:pt x="1982" y="515"/>
                  </a:cubicBezTo>
                  <a:cubicBezTo>
                    <a:pt x="1982" y="551"/>
                    <a:pt x="1948" y="580"/>
                    <a:pt x="1906" y="5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cs typeface="+mn-ea"/>
                <a:sym typeface="+mn-lt"/>
              </a:endParaRPr>
            </a:p>
          </p:txBody>
        </p:sp>
        <p:sp>
          <p:nvSpPr>
            <p:cNvPr id="4" name="Freeform 6">
              <a:extLst>
                <a:ext uri="{FF2B5EF4-FFF2-40B4-BE49-F238E27FC236}">
                  <a16:creationId xmlns:a16="http://schemas.microsoft.com/office/drawing/2014/main" id="{478E5AD4-51D8-41B5-B12F-A158BA8388F5}"/>
                </a:ext>
              </a:extLst>
            </p:cNvPr>
            <p:cNvSpPr>
              <a:spLocks noEditPoints="1"/>
            </p:cNvSpPr>
            <p:nvPr/>
          </p:nvSpPr>
          <p:spPr bwMode="auto">
            <a:xfrm>
              <a:off x="8499475" y="3082925"/>
              <a:ext cx="381000" cy="349250"/>
            </a:xfrm>
            <a:custGeom>
              <a:avLst/>
              <a:gdLst>
                <a:gd name="T0" fmla="*/ 58 w 116"/>
                <a:gd name="T1" fmla="*/ 0 h 106"/>
                <a:gd name="T2" fmla="*/ 0 w 116"/>
                <a:gd name="T3" fmla="*/ 53 h 106"/>
                <a:gd name="T4" fmla="*/ 58 w 116"/>
                <a:gd name="T5" fmla="*/ 106 h 106"/>
                <a:gd name="T6" fmla="*/ 116 w 116"/>
                <a:gd name="T7" fmla="*/ 53 h 106"/>
                <a:gd name="T8" fmla="*/ 58 w 116"/>
                <a:gd name="T9" fmla="*/ 0 h 106"/>
                <a:gd name="T10" fmla="*/ 69 w 116"/>
                <a:gd name="T11" fmla="*/ 89 h 106"/>
                <a:gd name="T12" fmla="*/ 40 w 116"/>
                <a:gd name="T13" fmla="*/ 62 h 106"/>
                <a:gd name="T14" fmla="*/ 69 w 116"/>
                <a:gd name="T15" fmla="*/ 35 h 106"/>
                <a:gd name="T16" fmla="*/ 97 w 116"/>
                <a:gd name="T17" fmla="*/ 62 h 106"/>
                <a:gd name="T18" fmla="*/ 69 w 116"/>
                <a:gd name="T19" fmla="*/ 89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6" h="106">
                  <a:moveTo>
                    <a:pt x="58" y="0"/>
                  </a:moveTo>
                  <a:cubicBezTo>
                    <a:pt x="26" y="0"/>
                    <a:pt x="0" y="24"/>
                    <a:pt x="0" y="53"/>
                  </a:cubicBezTo>
                  <a:cubicBezTo>
                    <a:pt x="0" y="82"/>
                    <a:pt x="26" y="106"/>
                    <a:pt x="58" y="106"/>
                  </a:cubicBezTo>
                  <a:cubicBezTo>
                    <a:pt x="90" y="106"/>
                    <a:pt x="116" y="82"/>
                    <a:pt x="116" y="53"/>
                  </a:cubicBezTo>
                  <a:cubicBezTo>
                    <a:pt x="116" y="24"/>
                    <a:pt x="90" y="0"/>
                    <a:pt x="58" y="0"/>
                  </a:cubicBezTo>
                  <a:close/>
                  <a:moveTo>
                    <a:pt x="69" y="89"/>
                  </a:moveTo>
                  <a:cubicBezTo>
                    <a:pt x="53" y="89"/>
                    <a:pt x="40" y="77"/>
                    <a:pt x="40" y="62"/>
                  </a:cubicBezTo>
                  <a:cubicBezTo>
                    <a:pt x="40" y="47"/>
                    <a:pt x="53" y="35"/>
                    <a:pt x="69" y="35"/>
                  </a:cubicBezTo>
                  <a:cubicBezTo>
                    <a:pt x="84" y="35"/>
                    <a:pt x="97" y="47"/>
                    <a:pt x="97" y="62"/>
                  </a:cubicBezTo>
                  <a:cubicBezTo>
                    <a:pt x="97" y="77"/>
                    <a:pt x="84" y="89"/>
                    <a:pt x="69" y="8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cs typeface="+mn-ea"/>
                <a:sym typeface="+mn-lt"/>
              </a:endParaRPr>
            </a:p>
          </p:txBody>
        </p:sp>
      </p:grpSp>
      <p:grpSp>
        <p:nvGrpSpPr>
          <p:cNvPr id="5" name="Group 3">
            <a:extLst>
              <a:ext uri="{FF2B5EF4-FFF2-40B4-BE49-F238E27FC236}">
                <a16:creationId xmlns:a16="http://schemas.microsoft.com/office/drawing/2014/main" id="{C8B27CF3-19AE-49EF-8890-DDE50680BD55}"/>
              </a:ext>
            </a:extLst>
          </p:cNvPr>
          <p:cNvGrpSpPr/>
          <p:nvPr/>
        </p:nvGrpSpPr>
        <p:grpSpPr>
          <a:xfrm>
            <a:off x="4644610" y="1556733"/>
            <a:ext cx="1357038" cy="3489684"/>
            <a:chOff x="1954213" y="1341438"/>
            <a:chExt cx="1919288" cy="4935537"/>
          </a:xfrm>
          <a:solidFill>
            <a:schemeClr val="bg1"/>
          </a:solidFill>
        </p:grpSpPr>
        <p:sp>
          <p:nvSpPr>
            <p:cNvPr id="6" name="Freeform 5">
              <a:extLst>
                <a:ext uri="{FF2B5EF4-FFF2-40B4-BE49-F238E27FC236}">
                  <a16:creationId xmlns:a16="http://schemas.microsoft.com/office/drawing/2014/main" id="{93014233-F1D0-4408-A764-DCFFAD73467C}"/>
                </a:ext>
              </a:extLst>
            </p:cNvPr>
            <p:cNvSpPr>
              <a:spLocks/>
            </p:cNvSpPr>
            <p:nvPr/>
          </p:nvSpPr>
          <p:spPr bwMode="auto">
            <a:xfrm>
              <a:off x="1954213" y="1341438"/>
              <a:ext cx="1919288" cy="2489201"/>
            </a:xfrm>
            <a:custGeom>
              <a:avLst/>
              <a:gdLst>
                <a:gd name="T0" fmla="*/ 1171 w 1209"/>
                <a:gd name="T1" fmla="*/ 1568 h 1568"/>
                <a:gd name="T2" fmla="*/ 0 w 1209"/>
                <a:gd name="T3" fmla="*/ 29 h 1568"/>
                <a:gd name="T4" fmla="*/ 36 w 1209"/>
                <a:gd name="T5" fmla="*/ 0 h 1568"/>
                <a:gd name="T6" fmla="*/ 1209 w 1209"/>
                <a:gd name="T7" fmla="*/ 1539 h 1568"/>
                <a:gd name="T8" fmla="*/ 1171 w 1209"/>
                <a:gd name="T9" fmla="*/ 1568 h 1568"/>
              </a:gdLst>
              <a:ahLst/>
              <a:cxnLst>
                <a:cxn ang="0">
                  <a:pos x="T0" y="T1"/>
                </a:cxn>
                <a:cxn ang="0">
                  <a:pos x="T2" y="T3"/>
                </a:cxn>
                <a:cxn ang="0">
                  <a:pos x="T4" y="T5"/>
                </a:cxn>
                <a:cxn ang="0">
                  <a:pos x="T6" y="T7"/>
                </a:cxn>
                <a:cxn ang="0">
                  <a:pos x="T8" y="T9"/>
                </a:cxn>
              </a:cxnLst>
              <a:rect l="0" t="0" r="r" b="b"/>
              <a:pathLst>
                <a:path w="1209" h="1568">
                  <a:moveTo>
                    <a:pt x="1171" y="1568"/>
                  </a:moveTo>
                  <a:lnTo>
                    <a:pt x="0" y="29"/>
                  </a:lnTo>
                  <a:lnTo>
                    <a:pt x="36" y="0"/>
                  </a:lnTo>
                  <a:lnTo>
                    <a:pt x="1209" y="1539"/>
                  </a:lnTo>
                  <a:lnTo>
                    <a:pt x="1171" y="15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cs typeface="+mn-ea"/>
                <a:sym typeface="+mn-lt"/>
              </a:endParaRPr>
            </a:p>
          </p:txBody>
        </p:sp>
        <p:sp>
          <p:nvSpPr>
            <p:cNvPr id="7" name="Freeform 6">
              <a:extLst>
                <a:ext uri="{FF2B5EF4-FFF2-40B4-BE49-F238E27FC236}">
                  <a16:creationId xmlns:a16="http://schemas.microsoft.com/office/drawing/2014/main" id="{FA33A31C-35CF-47F2-879C-16C96EC79D24}"/>
                </a:ext>
              </a:extLst>
            </p:cNvPr>
            <p:cNvSpPr>
              <a:spLocks/>
            </p:cNvSpPr>
            <p:nvPr/>
          </p:nvSpPr>
          <p:spPr bwMode="auto">
            <a:xfrm>
              <a:off x="1954213" y="3784600"/>
              <a:ext cx="1919288" cy="2492375"/>
            </a:xfrm>
            <a:custGeom>
              <a:avLst/>
              <a:gdLst>
                <a:gd name="T0" fmla="*/ 1171 w 1209"/>
                <a:gd name="T1" fmla="*/ 0 h 1570"/>
                <a:gd name="T2" fmla="*/ 0 w 1209"/>
                <a:gd name="T3" fmla="*/ 1539 h 1570"/>
                <a:gd name="T4" fmla="*/ 36 w 1209"/>
                <a:gd name="T5" fmla="*/ 1570 h 1570"/>
                <a:gd name="T6" fmla="*/ 1209 w 1209"/>
                <a:gd name="T7" fmla="*/ 29 h 1570"/>
                <a:gd name="T8" fmla="*/ 1171 w 1209"/>
                <a:gd name="T9" fmla="*/ 0 h 1570"/>
              </a:gdLst>
              <a:ahLst/>
              <a:cxnLst>
                <a:cxn ang="0">
                  <a:pos x="T0" y="T1"/>
                </a:cxn>
                <a:cxn ang="0">
                  <a:pos x="T2" y="T3"/>
                </a:cxn>
                <a:cxn ang="0">
                  <a:pos x="T4" y="T5"/>
                </a:cxn>
                <a:cxn ang="0">
                  <a:pos x="T6" y="T7"/>
                </a:cxn>
                <a:cxn ang="0">
                  <a:pos x="T8" y="T9"/>
                </a:cxn>
              </a:cxnLst>
              <a:rect l="0" t="0" r="r" b="b"/>
              <a:pathLst>
                <a:path w="1209" h="1570">
                  <a:moveTo>
                    <a:pt x="1171" y="0"/>
                  </a:moveTo>
                  <a:lnTo>
                    <a:pt x="0" y="1539"/>
                  </a:lnTo>
                  <a:lnTo>
                    <a:pt x="36" y="1570"/>
                  </a:lnTo>
                  <a:lnTo>
                    <a:pt x="1209" y="29"/>
                  </a:lnTo>
                  <a:lnTo>
                    <a:pt x="117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cs typeface="+mn-ea"/>
                <a:sym typeface="+mn-lt"/>
              </a:endParaRPr>
            </a:p>
          </p:txBody>
        </p:sp>
      </p:grpSp>
      <p:grpSp>
        <p:nvGrpSpPr>
          <p:cNvPr id="8" name="Group 6">
            <a:extLst>
              <a:ext uri="{FF2B5EF4-FFF2-40B4-BE49-F238E27FC236}">
                <a16:creationId xmlns:a16="http://schemas.microsoft.com/office/drawing/2014/main" id="{CDAB9A1B-87B1-413C-B685-0C0DC0C6631E}"/>
              </a:ext>
            </a:extLst>
          </p:cNvPr>
          <p:cNvGrpSpPr/>
          <p:nvPr/>
        </p:nvGrpSpPr>
        <p:grpSpPr>
          <a:xfrm>
            <a:off x="7299195" y="1556733"/>
            <a:ext cx="1359283" cy="3489684"/>
            <a:chOff x="5708651" y="1341438"/>
            <a:chExt cx="1922463" cy="4935537"/>
          </a:xfrm>
          <a:solidFill>
            <a:schemeClr val="bg1"/>
          </a:solidFill>
        </p:grpSpPr>
        <p:sp>
          <p:nvSpPr>
            <p:cNvPr id="9" name="Freeform 7">
              <a:extLst>
                <a:ext uri="{FF2B5EF4-FFF2-40B4-BE49-F238E27FC236}">
                  <a16:creationId xmlns:a16="http://schemas.microsoft.com/office/drawing/2014/main" id="{0FB7B988-585C-4815-947E-DADCE78320B2}"/>
                </a:ext>
              </a:extLst>
            </p:cNvPr>
            <p:cNvSpPr>
              <a:spLocks/>
            </p:cNvSpPr>
            <p:nvPr/>
          </p:nvSpPr>
          <p:spPr bwMode="auto">
            <a:xfrm>
              <a:off x="5708651" y="1341438"/>
              <a:ext cx="1922463" cy="2489201"/>
            </a:xfrm>
            <a:custGeom>
              <a:avLst/>
              <a:gdLst>
                <a:gd name="T0" fmla="*/ 1173 w 1211"/>
                <a:gd name="T1" fmla="*/ 1568 h 1568"/>
                <a:gd name="T2" fmla="*/ 0 w 1211"/>
                <a:gd name="T3" fmla="*/ 29 h 1568"/>
                <a:gd name="T4" fmla="*/ 38 w 1211"/>
                <a:gd name="T5" fmla="*/ 0 h 1568"/>
                <a:gd name="T6" fmla="*/ 1211 w 1211"/>
                <a:gd name="T7" fmla="*/ 1539 h 1568"/>
                <a:gd name="T8" fmla="*/ 1173 w 1211"/>
                <a:gd name="T9" fmla="*/ 1568 h 1568"/>
              </a:gdLst>
              <a:ahLst/>
              <a:cxnLst>
                <a:cxn ang="0">
                  <a:pos x="T0" y="T1"/>
                </a:cxn>
                <a:cxn ang="0">
                  <a:pos x="T2" y="T3"/>
                </a:cxn>
                <a:cxn ang="0">
                  <a:pos x="T4" y="T5"/>
                </a:cxn>
                <a:cxn ang="0">
                  <a:pos x="T6" y="T7"/>
                </a:cxn>
                <a:cxn ang="0">
                  <a:pos x="T8" y="T9"/>
                </a:cxn>
              </a:cxnLst>
              <a:rect l="0" t="0" r="r" b="b"/>
              <a:pathLst>
                <a:path w="1211" h="1568">
                  <a:moveTo>
                    <a:pt x="1173" y="1568"/>
                  </a:moveTo>
                  <a:lnTo>
                    <a:pt x="0" y="29"/>
                  </a:lnTo>
                  <a:lnTo>
                    <a:pt x="38" y="0"/>
                  </a:lnTo>
                  <a:lnTo>
                    <a:pt x="1211" y="1539"/>
                  </a:lnTo>
                  <a:lnTo>
                    <a:pt x="1173" y="15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cs typeface="+mn-ea"/>
                <a:sym typeface="+mn-lt"/>
              </a:endParaRPr>
            </a:p>
          </p:txBody>
        </p:sp>
        <p:sp>
          <p:nvSpPr>
            <p:cNvPr id="10" name="Freeform 8">
              <a:extLst>
                <a:ext uri="{FF2B5EF4-FFF2-40B4-BE49-F238E27FC236}">
                  <a16:creationId xmlns:a16="http://schemas.microsoft.com/office/drawing/2014/main" id="{2648D4FB-F702-4047-97AC-85B367A45A42}"/>
                </a:ext>
              </a:extLst>
            </p:cNvPr>
            <p:cNvSpPr>
              <a:spLocks/>
            </p:cNvSpPr>
            <p:nvPr/>
          </p:nvSpPr>
          <p:spPr bwMode="auto">
            <a:xfrm>
              <a:off x="5708651" y="3784600"/>
              <a:ext cx="1922463" cy="2492375"/>
            </a:xfrm>
            <a:custGeom>
              <a:avLst/>
              <a:gdLst>
                <a:gd name="T0" fmla="*/ 1173 w 1211"/>
                <a:gd name="T1" fmla="*/ 0 h 1570"/>
                <a:gd name="T2" fmla="*/ 0 w 1211"/>
                <a:gd name="T3" fmla="*/ 1539 h 1570"/>
                <a:gd name="T4" fmla="*/ 38 w 1211"/>
                <a:gd name="T5" fmla="*/ 1570 h 1570"/>
                <a:gd name="T6" fmla="*/ 1211 w 1211"/>
                <a:gd name="T7" fmla="*/ 29 h 1570"/>
                <a:gd name="T8" fmla="*/ 1173 w 1211"/>
                <a:gd name="T9" fmla="*/ 0 h 1570"/>
              </a:gdLst>
              <a:ahLst/>
              <a:cxnLst>
                <a:cxn ang="0">
                  <a:pos x="T0" y="T1"/>
                </a:cxn>
                <a:cxn ang="0">
                  <a:pos x="T2" y="T3"/>
                </a:cxn>
                <a:cxn ang="0">
                  <a:pos x="T4" y="T5"/>
                </a:cxn>
                <a:cxn ang="0">
                  <a:pos x="T6" y="T7"/>
                </a:cxn>
                <a:cxn ang="0">
                  <a:pos x="T8" y="T9"/>
                </a:cxn>
              </a:cxnLst>
              <a:rect l="0" t="0" r="r" b="b"/>
              <a:pathLst>
                <a:path w="1211" h="1570">
                  <a:moveTo>
                    <a:pt x="1173" y="0"/>
                  </a:moveTo>
                  <a:lnTo>
                    <a:pt x="0" y="1539"/>
                  </a:lnTo>
                  <a:lnTo>
                    <a:pt x="38" y="1570"/>
                  </a:lnTo>
                  <a:lnTo>
                    <a:pt x="1211" y="29"/>
                  </a:lnTo>
                  <a:lnTo>
                    <a:pt x="117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cs typeface="+mn-ea"/>
                <a:sym typeface="+mn-lt"/>
              </a:endParaRPr>
            </a:p>
          </p:txBody>
        </p:sp>
      </p:grpSp>
      <p:sp>
        <p:nvSpPr>
          <p:cNvPr id="11" name="Freeform 9">
            <a:extLst>
              <a:ext uri="{FF2B5EF4-FFF2-40B4-BE49-F238E27FC236}">
                <a16:creationId xmlns:a16="http://schemas.microsoft.com/office/drawing/2014/main" id="{993DF4FE-335A-4E2C-8864-D524249DCB51}"/>
              </a:ext>
            </a:extLst>
          </p:cNvPr>
          <p:cNvSpPr>
            <a:spLocks/>
          </p:cNvSpPr>
          <p:nvPr/>
        </p:nvSpPr>
        <p:spPr bwMode="auto">
          <a:xfrm>
            <a:off x="2253082" y="3268463"/>
            <a:ext cx="7770119" cy="63979"/>
          </a:xfrm>
          <a:custGeom>
            <a:avLst/>
            <a:gdLst>
              <a:gd name="T0" fmla="*/ 1898 w 1910"/>
              <a:gd name="T1" fmla="*/ 24 h 24"/>
              <a:gd name="T2" fmla="*/ 12 w 1910"/>
              <a:gd name="T3" fmla="*/ 24 h 24"/>
              <a:gd name="T4" fmla="*/ 0 w 1910"/>
              <a:gd name="T5" fmla="*/ 12 h 24"/>
              <a:gd name="T6" fmla="*/ 0 w 1910"/>
              <a:gd name="T7" fmla="*/ 12 h 24"/>
              <a:gd name="T8" fmla="*/ 12 w 1910"/>
              <a:gd name="T9" fmla="*/ 0 h 24"/>
              <a:gd name="T10" fmla="*/ 1898 w 1910"/>
              <a:gd name="T11" fmla="*/ 0 h 24"/>
              <a:gd name="T12" fmla="*/ 1910 w 1910"/>
              <a:gd name="T13" fmla="*/ 12 h 24"/>
              <a:gd name="T14" fmla="*/ 1910 w 1910"/>
              <a:gd name="T15" fmla="*/ 12 h 24"/>
              <a:gd name="T16" fmla="*/ 1898 w 1910"/>
              <a:gd name="T17"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10" h="24">
                <a:moveTo>
                  <a:pt x="1898" y="24"/>
                </a:moveTo>
                <a:cubicBezTo>
                  <a:pt x="12" y="24"/>
                  <a:pt x="12" y="24"/>
                  <a:pt x="12" y="24"/>
                </a:cubicBezTo>
                <a:cubicBezTo>
                  <a:pt x="5" y="24"/>
                  <a:pt x="0" y="18"/>
                  <a:pt x="0" y="12"/>
                </a:cubicBezTo>
                <a:cubicBezTo>
                  <a:pt x="0" y="12"/>
                  <a:pt x="0" y="12"/>
                  <a:pt x="0" y="12"/>
                </a:cubicBezTo>
                <a:cubicBezTo>
                  <a:pt x="0" y="6"/>
                  <a:pt x="5" y="0"/>
                  <a:pt x="12" y="0"/>
                </a:cubicBezTo>
                <a:cubicBezTo>
                  <a:pt x="1898" y="0"/>
                  <a:pt x="1898" y="0"/>
                  <a:pt x="1898" y="0"/>
                </a:cubicBezTo>
                <a:cubicBezTo>
                  <a:pt x="1905" y="0"/>
                  <a:pt x="1910" y="6"/>
                  <a:pt x="1910" y="12"/>
                </a:cubicBezTo>
                <a:cubicBezTo>
                  <a:pt x="1910" y="12"/>
                  <a:pt x="1910" y="12"/>
                  <a:pt x="1910" y="12"/>
                </a:cubicBezTo>
                <a:cubicBezTo>
                  <a:pt x="1910" y="18"/>
                  <a:pt x="1905" y="24"/>
                  <a:pt x="1898" y="2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cs typeface="+mn-ea"/>
              <a:sym typeface="+mn-lt"/>
            </a:endParaRPr>
          </a:p>
        </p:txBody>
      </p:sp>
      <p:sp>
        <p:nvSpPr>
          <p:cNvPr id="12" name="Parallelogram 10">
            <a:extLst>
              <a:ext uri="{FF2B5EF4-FFF2-40B4-BE49-F238E27FC236}">
                <a16:creationId xmlns:a16="http://schemas.microsoft.com/office/drawing/2014/main" id="{F3290449-6987-4643-B371-1A54CA447E37}"/>
              </a:ext>
            </a:extLst>
          </p:cNvPr>
          <p:cNvSpPr/>
          <p:nvPr/>
        </p:nvSpPr>
        <p:spPr>
          <a:xfrm flipV="1">
            <a:off x="6241810" y="1539417"/>
            <a:ext cx="1351743" cy="338658"/>
          </a:xfrm>
          <a:prstGeom prst="parallelogram">
            <a:avLst>
              <a:gd name="adj" fmla="val 7045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cs typeface="+mn-ea"/>
              <a:sym typeface="+mn-lt"/>
            </a:endParaRPr>
          </a:p>
        </p:txBody>
      </p:sp>
      <p:sp>
        <p:nvSpPr>
          <p:cNvPr id="13" name="Parallelogram 11">
            <a:extLst>
              <a:ext uri="{FF2B5EF4-FFF2-40B4-BE49-F238E27FC236}">
                <a16:creationId xmlns:a16="http://schemas.microsoft.com/office/drawing/2014/main" id="{5EB49ED6-D76B-466A-A9E4-72D59550D5FE}"/>
              </a:ext>
            </a:extLst>
          </p:cNvPr>
          <p:cNvSpPr/>
          <p:nvPr/>
        </p:nvSpPr>
        <p:spPr>
          <a:xfrm>
            <a:off x="6247225" y="4707760"/>
            <a:ext cx="1351743" cy="338658"/>
          </a:xfrm>
          <a:prstGeom prst="parallelogram">
            <a:avLst>
              <a:gd name="adj" fmla="val 7045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cs typeface="+mn-ea"/>
              <a:sym typeface="+mn-lt"/>
            </a:endParaRPr>
          </a:p>
        </p:txBody>
      </p:sp>
      <p:sp>
        <p:nvSpPr>
          <p:cNvPr id="14" name="Parallelogram 12">
            <a:extLst>
              <a:ext uri="{FF2B5EF4-FFF2-40B4-BE49-F238E27FC236}">
                <a16:creationId xmlns:a16="http://schemas.microsoft.com/office/drawing/2014/main" id="{DCE76C2D-43A5-4887-96B7-CA3F45B04CD4}"/>
              </a:ext>
            </a:extLst>
          </p:cNvPr>
          <p:cNvSpPr/>
          <p:nvPr/>
        </p:nvSpPr>
        <p:spPr>
          <a:xfrm>
            <a:off x="3443580" y="4707760"/>
            <a:ext cx="1506098" cy="338658"/>
          </a:xfrm>
          <a:prstGeom prst="parallelogram">
            <a:avLst>
              <a:gd name="adj" fmla="val 7045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cs typeface="+mn-ea"/>
              <a:sym typeface="+mn-lt"/>
            </a:endParaRPr>
          </a:p>
        </p:txBody>
      </p:sp>
      <p:sp>
        <p:nvSpPr>
          <p:cNvPr id="15" name="Parallelogram 13">
            <a:extLst>
              <a:ext uri="{FF2B5EF4-FFF2-40B4-BE49-F238E27FC236}">
                <a16:creationId xmlns:a16="http://schemas.microsoft.com/office/drawing/2014/main" id="{4E14189F-34B6-4CA9-81AC-683B0AB24099}"/>
              </a:ext>
            </a:extLst>
          </p:cNvPr>
          <p:cNvSpPr/>
          <p:nvPr/>
        </p:nvSpPr>
        <p:spPr>
          <a:xfrm flipV="1">
            <a:off x="3581099" y="1542796"/>
            <a:ext cx="1351743" cy="338658"/>
          </a:xfrm>
          <a:prstGeom prst="parallelogram">
            <a:avLst>
              <a:gd name="adj" fmla="val 7045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cs typeface="+mn-ea"/>
              <a:sym typeface="+mn-lt"/>
            </a:endParaRPr>
          </a:p>
        </p:txBody>
      </p:sp>
      <p:cxnSp>
        <p:nvCxnSpPr>
          <p:cNvPr id="16" name="Straight Arrow Connector 23">
            <a:extLst>
              <a:ext uri="{FF2B5EF4-FFF2-40B4-BE49-F238E27FC236}">
                <a16:creationId xmlns:a16="http://schemas.microsoft.com/office/drawing/2014/main" id="{C47EF7FA-6CE2-4A61-AB18-B53ED93B0D26}"/>
              </a:ext>
            </a:extLst>
          </p:cNvPr>
          <p:cNvCxnSpPr/>
          <p:nvPr/>
        </p:nvCxnSpPr>
        <p:spPr>
          <a:xfrm flipH="1">
            <a:off x="3108825" y="2244589"/>
            <a:ext cx="2066786" cy="0"/>
          </a:xfrm>
          <a:prstGeom prst="straightConnector1">
            <a:avLst/>
          </a:prstGeom>
          <a:ln w="25400">
            <a:solidFill>
              <a:schemeClr val="bg1"/>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17" name="TextBox 24">
            <a:extLst>
              <a:ext uri="{FF2B5EF4-FFF2-40B4-BE49-F238E27FC236}">
                <a16:creationId xmlns:a16="http://schemas.microsoft.com/office/drawing/2014/main" id="{25066A15-AADC-45B2-81D3-3FE511A1E306}"/>
              </a:ext>
            </a:extLst>
          </p:cNvPr>
          <p:cNvSpPr txBox="1"/>
          <p:nvPr/>
        </p:nvSpPr>
        <p:spPr>
          <a:xfrm>
            <a:off x="3199153" y="1933697"/>
            <a:ext cx="1886128"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FFFFF"/>
                </a:solidFill>
                <a:effectLst/>
                <a:uLnTx/>
                <a:uFillTx/>
                <a:latin typeface="Arial"/>
                <a:cs typeface="+mn-ea"/>
                <a:sym typeface="+mn-lt"/>
              </a:rPr>
              <a:t>Place your text here</a:t>
            </a:r>
          </a:p>
        </p:txBody>
      </p:sp>
      <p:cxnSp>
        <p:nvCxnSpPr>
          <p:cNvPr id="18" name="Straight Arrow Connector 27">
            <a:extLst>
              <a:ext uri="{FF2B5EF4-FFF2-40B4-BE49-F238E27FC236}">
                <a16:creationId xmlns:a16="http://schemas.microsoft.com/office/drawing/2014/main" id="{E1C35EBF-B692-4283-B6F7-FBAA9B0DD0BF}"/>
              </a:ext>
            </a:extLst>
          </p:cNvPr>
          <p:cNvCxnSpPr/>
          <p:nvPr/>
        </p:nvCxnSpPr>
        <p:spPr>
          <a:xfrm flipH="1">
            <a:off x="3389955" y="2634542"/>
            <a:ext cx="2066786" cy="0"/>
          </a:xfrm>
          <a:prstGeom prst="straightConnector1">
            <a:avLst/>
          </a:prstGeom>
          <a:ln w="25400">
            <a:solidFill>
              <a:schemeClr val="bg1"/>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19" name="TextBox 28">
            <a:extLst>
              <a:ext uri="{FF2B5EF4-FFF2-40B4-BE49-F238E27FC236}">
                <a16:creationId xmlns:a16="http://schemas.microsoft.com/office/drawing/2014/main" id="{314DAD27-DF5C-4EAE-A83F-7293BC715B70}"/>
              </a:ext>
            </a:extLst>
          </p:cNvPr>
          <p:cNvSpPr txBox="1"/>
          <p:nvPr/>
        </p:nvSpPr>
        <p:spPr>
          <a:xfrm>
            <a:off x="3480283" y="2323650"/>
            <a:ext cx="1886128"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FFFFF"/>
                </a:solidFill>
                <a:effectLst/>
                <a:uLnTx/>
                <a:uFillTx/>
                <a:latin typeface="Arial"/>
                <a:cs typeface="+mn-ea"/>
                <a:sym typeface="+mn-lt"/>
              </a:rPr>
              <a:t>Place your text here</a:t>
            </a:r>
          </a:p>
        </p:txBody>
      </p:sp>
      <p:cxnSp>
        <p:nvCxnSpPr>
          <p:cNvPr id="20" name="Straight Arrow Connector 30">
            <a:extLst>
              <a:ext uri="{FF2B5EF4-FFF2-40B4-BE49-F238E27FC236}">
                <a16:creationId xmlns:a16="http://schemas.microsoft.com/office/drawing/2014/main" id="{676E9D60-9B90-4C13-8EC9-469E603FCE46}"/>
              </a:ext>
            </a:extLst>
          </p:cNvPr>
          <p:cNvCxnSpPr/>
          <p:nvPr/>
        </p:nvCxnSpPr>
        <p:spPr>
          <a:xfrm flipH="1">
            <a:off x="3680150" y="3033569"/>
            <a:ext cx="2066786" cy="0"/>
          </a:xfrm>
          <a:prstGeom prst="straightConnector1">
            <a:avLst/>
          </a:prstGeom>
          <a:ln w="25400">
            <a:solidFill>
              <a:schemeClr val="bg1"/>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21" name="TextBox 31">
            <a:extLst>
              <a:ext uri="{FF2B5EF4-FFF2-40B4-BE49-F238E27FC236}">
                <a16:creationId xmlns:a16="http://schemas.microsoft.com/office/drawing/2014/main" id="{4E8B5F13-C614-4760-8D0C-F24662860C47}"/>
              </a:ext>
            </a:extLst>
          </p:cNvPr>
          <p:cNvSpPr txBox="1"/>
          <p:nvPr/>
        </p:nvSpPr>
        <p:spPr>
          <a:xfrm>
            <a:off x="3770478" y="2722677"/>
            <a:ext cx="1886128"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FFFFF"/>
                </a:solidFill>
                <a:effectLst/>
                <a:uLnTx/>
                <a:uFillTx/>
                <a:latin typeface="Arial"/>
                <a:cs typeface="+mn-ea"/>
                <a:sym typeface="+mn-lt"/>
              </a:rPr>
              <a:t>Place your text here</a:t>
            </a:r>
          </a:p>
        </p:txBody>
      </p:sp>
      <p:cxnSp>
        <p:nvCxnSpPr>
          <p:cNvPr id="22" name="Straight Arrow Connector 33">
            <a:extLst>
              <a:ext uri="{FF2B5EF4-FFF2-40B4-BE49-F238E27FC236}">
                <a16:creationId xmlns:a16="http://schemas.microsoft.com/office/drawing/2014/main" id="{7D692745-076E-4CD5-B9F3-E4E861A74E82}"/>
              </a:ext>
            </a:extLst>
          </p:cNvPr>
          <p:cNvCxnSpPr/>
          <p:nvPr/>
        </p:nvCxnSpPr>
        <p:spPr>
          <a:xfrm flipH="1">
            <a:off x="5720894" y="2215968"/>
            <a:ext cx="2066786" cy="0"/>
          </a:xfrm>
          <a:prstGeom prst="straightConnector1">
            <a:avLst/>
          </a:prstGeom>
          <a:ln w="25400">
            <a:solidFill>
              <a:schemeClr val="bg1"/>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23" name="TextBox 34">
            <a:extLst>
              <a:ext uri="{FF2B5EF4-FFF2-40B4-BE49-F238E27FC236}">
                <a16:creationId xmlns:a16="http://schemas.microsoft.com/office/drawing/2014/main" id="{F766DC7D-CB4B-460F-A9CE-63E324F7B26C}"/>
              </a:ext>
            </a:extLst>
          </p:cNvPr>
          <p:cNvSpPr txBox="1"/>
          <p:nvPr/>
        </p:nvSpPr>
        <p:spPr>
          <a:xfrm>
            <a:off x="5811222" y="1905076"/>
            <a:ext cx="1886128"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FFFFF"/>
                </a:solidFill>
                <a:effectLst/>
                <a:uLnTx/>
                <a:uFillTx/>
                <a:latin typeface="Arial"/>
                <a:cs typeface="+mn-ea"/>
                <a:sym typeface="+mn-lt"/>
              </a:rPr>
              <a:t>Place your text here</a:t>
            </a:r>
          </a:p>
        </p:txBody>
      </p:sp>
      <p:cxnSp>
        <p:nvCxnSpPr>
          <p:cNvPr id="24" name="Straight Arrow Connector 36">
            <a:extLst>
              <a:ext uri="{FF2B5EF4-FFF2-40B4-BE49-F238E27FC236}">
                <a16:creationId xmlns:a16="http://schemas.microsoft.com/office/drawing/2014/main" id="{22183367-98C8-495F-A460-ABD9FEF2DBB5}"/>
              </a:ext>
            </a:extLst>
          </p:cNvPr>
          <p:cNvCxnSpPr/>
          <p:nvPr/>
        </p:nvCxnSpPr>
        <p:spPr>
          <a:xfrm flipH="1">
            <a:off x="6002024" y="2605921"/>
            <a:ext cx="2066786" cy="0"/>
          </a:xfrm>
          <a:prstGeom prst="straightConnector1">
            <a:avLst/>
          </a:prstGeom>
          <a:ln w="25400">
            <a:solidFill>
              <a:schemeClr val="bg1"/>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25" name="TextBox 37">
            <a:extLst>
              <a:ext uri="{FF2B5EF4-FFF2-40B4-BE49-F238E27FC236}">
                <a16:creationId xmlns:a16="http://schemas.microsoft.com/office/drawing/2014/main" id="{763D9E9E-1509-468C-A38F-D667498D3B93}"/>
              </a:ext>
            </a:extLst>
          </p:cNvPr>
          <p:cNvSpPr txBox="1"/>
          <p:nvPr/>
        </p:nvSpPr>
        <p:spPr>
          <a:xfrm>
            <a:off x="6092352" y="2295029"/>
            <a:ext cx="1886128"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FFFFF"/>
                </a:solidFill>
                <a:effectLst/>
                <a:uLnTx/>
                <a:uFillTx/>
                <a:latin typeface="Arial"/>
                <a:cs typeface="+mn-ea"/>
                <a:sym typeface="+mn-lt"/>
              </a:rPr>
              <a:t>Place your text here</a:t>
            </a:r>
          </a:p>
        </p:txBody>
      </p:sp>
      <p:cxnSp>
        <p:nvCxnSpPr>
          <p:cNvPr id="26" name="Straight Arrow Connector 39">
            <a:extLst>
              <a:ext uri="{FF2B5EF4-FFF2-40B4-BE49-F238E27FC236}">
                <a16:creationId xmlns:a16="http://schemas.microsoft.com/office/drawing/2014/main" id="{69E533D9-3129-49CD-9E8A-866B413A3260}"/>
              </a:ext>
            </a:extLst>
          </p:cNvPr>
          <p:cNvCxnSpPr/>
          <p:nvPr/>
        </p:nvCxnSpPr>
        <p:spPr>
          <a:xfrm flipH="1">
            <a:off x="6292219" y="3004949"/>
            <a:ext cx="2066786" cy="0"/>
          </a:xfrm>
          <a:prstGeom prst="straightConnector1">
            <a:avLst/>
          </a:prstGeom>
          <a:ln w="25400">
            <a:solidFill>
              <a:schemeClr val="bg1"/>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27" name="TextBox 40">
            <a:extLst>
              <a:ext uri="{FF2B5EF4-FFF2-40B4-BE49-F238E27FC236}">
                <a16:creationId xmlns:a16="http://schemas.microsoft.com/office/drawing/2014/main" id="{D984C5F9-D134-4C90-A782-C0BF3B0FCAEE}"/>
              </a:ext>
            </a:extLst>
          </p:cNvPr>
          <p:cNvSpPr txBox="1"/>
          <p:nvPr/>
        </p:nvSpPr>
        <p:spPr>
          <a:xfrm>
            <a:off x="6382547" y="2694057"/>
            <a:ext cx="1886128"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FFFFF"/>
                </a:solidFill>
                <a:effectLst/>
                <a:uLnTx/>
                <a:uFillTx/>
                <a:latin typeface="Arial"/>
                <a:cs typeface="+mn-ea"/>
                <a:sym typeface="+mn-lt"/>
              </a:rPr>
              <a:t>Place your text here</a:t>
            </a:r>
          </a:p>
        </p:txBody>
      </p:sp>
      <p:cxnSp>
        <p:nvCxnSpPr>
          <p:cNvPr id="28" name="Straight Arrow Connector 42">
            <a:extLst>
              <a:ext uri="{FF2B5EF4-FFF2-40B4-BE49-F238E27FC236}">
                <a16:creationId xmlns:a16="http://schemas.microsoft.com/office/drawing/2014/main" id="{CE61610E-881C-4FD3-A323-FF3641722C41}"/>
              </a:ext>
            </a:extLst>
          </p:cNvPr>
          <p:cNvCxnSpPr/>
          <p:nvPr/>
        </p:nvCxnSpPr>
        <p:spPr>
          <a:xfrm flipH="1">
            <a:off x="3212193" y="4203800"/>
            <a:ext cx="2066786" cy="0"/>
          </a:xfrm>
          <a:prstGeom prst="straightConnector1">
            <a:avLst/>
          </a:prstGeom>
          <a:ln w="25400">
            <a:solidFill>
              <a:schemeClr val="bg1"/>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29" name="TextBox 43">
            <a:extLst>
              <a:ext uri="{FF2B5EF4-FFF2-40B4-BE49-F238E27FC236}">
                <a16:creationId xmlns:a16="http://schemas.microsoft.com/office/drawing/2014/main" id="{FB6B659E-6BFF-4D5F-890C-FFAFBF076BE5}"/>
              </a:ext>
            </a:extLst>
          </p:cNvPr>
          <p:cNvSpPr txBox="1"/>
          <p:nvPr/>
        </p:nvSpPr>
        <p:spPr>
          <a:xfrm>
            <a:off x="3302521" y="3892908"/>
            <a:ext cx="1886128"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FFFFF"/>
                </a:solidFill>
                <a:effectLst/>
                <a:uLnTx/>
                <a:uFillTx/>
                <a:latin typeface="Arial"/>
                <a:cs typeface="+mn-ea"/>
                <a:sym typeface="+mn-lt"/>
              </a:rPr>
              <a:t>Place your text here</a:t>
            </a:r>
          </a:p>
        </p:txBody>
      </p:sp>
      <p:cxnSp>
        <p:nvCxnSpPr>
          <p:cNvPr id="30" name="Straight Arrow Connector 45">
            <a:extLst>
              <a:ext uri="{FF2B5EF4-FFF2-40B4-BE49-F238E27FC236}">
                <a16:creationId xmlns:a16="http://schemas.microsoft.com/office/drawing/2014/main" id="{E8577799-A42A-4EBD-8A7B-820DAE7A9FA4}"/>
              </a:ext>
            </a:extLst>
          </p:cNvPr>
          <p:cNvCxnSpPr/>
          <p:nvPr/>
        </p:nvCxnSpPr>
        <p:spPr>
          <a:xfrm flipH="1">
            <a:off x="3545141" y="3786580"/>
            <a:ext cx="2066786" cy="0"/>
          </a:xfrm>
          <a:prstGeom prst="straightConnector1">
            <a:avLst/>
          </a:prstGeom>
          <a:ln w="25400">
            <a:solidFill>
              <a:schemeClr val="bg1"/>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31" name="TextBox 46">
            <a:extLst>
              <a:ext uri="{FF2B5EF4-FFF2-40B4-BE49-F238E27FC236}">
                <a16:creationId xmlns:a16="http://schemas.microsoft.com/office/drawing/2014/main" id="{F625D067-6CD5-4B23-B7BB-0EA261063821}"/>
              </a:ext>
            </a:extLst>
          </p:cNvPr>
          <p:cNvSpPr txBox="1"/>
          <p:nvPr/>
        </p:nvSpPr>
        <p:spPr>
          <a:xfrm>
            <a:off x="3635469" y="3475688"/>
            <a:ext cx="1886128"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FFFFF"/>
                </a:solidFill>
                <a:effectLst/>
                <a:uLnTx/>
                <a:uFillTx/>
                <a:latin typeface="Arial"/>
                <a:cs typeface="+mn-ea"/>
                <a:sym typeface="+mn-lt"/>
              </a:rPr>
              <a:t>Place your text here</a:t>
            </a:r>
          </a:p>
        </p:txBody>
      </p:sp>
      <p:cxnSp>
        <p:nvCxnSpPr>
          <p:cNvPr id="32" name="Straight Arrow Connector 48">
            <a:extLst>
              <a:ext uri="{FF2B5EF4-FFF2-40B4-BE49-F238E27FC236}">
                <a16:creationId xmlns:a16="http://schemas.microsoft.com/office/drawing/2014/main" id="{07FE13D8-E32D-4832-8FE0-D8B2A60F5F1A}"/>
              </a:ext>
            </a:extLst>
          </p:cNvPr>
          <p:cNvCxnSpPr/>
          <p:nvPr/>
        </p:nvCxnSpPr>
        <p:spPr>
          <a:xfrm flipH="1">
            <a:off x="5648344" y="4493994"/>
            <a:ext cx="2066786" cy="0"/>
          </a:xfrm>
          <a:prstGeom prst="straightConnector1">
            <a:avLst/>
          </a:prstGeom>
          <a:ln w="25400">
            <a:solidFill>
              <a:schemeClr val="bg1"/>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33" name="TextBox 49">
            <a:extLst>
              <a:ext uri="{FF2B5EF4-FFF2-40B4-BE49-F238E27FC236}">
                <a16:creationId xmlns:a16="http://schemas.microsoft.com/office/drawing/2014/main" id="{A64B1494-3062-4AC5-BE35-3C6FA93844F9}"/>
              </a:ext>
            </a:extLst>
          </p:cNvPr>
          <p:cNvSpPr txBox="1"/>
          <p:nvPr/>
        </p:nvSpPr>
        <p:spPr>
          <a:xfrm>
            <a:off x="5738672" y="4183102"/>
            <a:ext cx="1886128"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FFFFF"/>
                </a:solidFill>
                <a:effectLst/>
                <a:uLnTx/>
                <a:uFillTx/>
                <a:latin typeface="Arial"/>
                <a:cs typeface="+mn-ea"/>
                <a:sym typeface="+mn-lt"/>
              </a:rPr>
              <a:t>Place your text here</a:t>
            </a:r>
          </a:p>
        </p:txBody>
      </p:sp>
      <p:cxnSp>
        <p:nvCxnSpPr>
          <p:cNvPr id="34" name="Straight Arrow Connector 51">
            <a:extLst>
              <a:ext uri="{FF2B5EF4-FFF2-40B4-BE49-F238E27FC236}">
                <a16:creationId xmlns:a16="http://schemas.microsoft.com/office/drawing/2014/main" id="{B8336F8B-08E1-4FF6-BBB0-0F3ECFB948BD}"/>
              </a:ext>
            </a:extLst>
          </p:cNvPr>
          <p:cNvCxnSpPr/>
          <p:nvPr/>
        </p:nvCxnSpPr>
        <p:spPr>
          <a:xfrm flipH="1">
            <a:off x="5956896" y="4078789"/>
            <a:ext cx="2066786" cy="0"/>
          </a:xfrm>
          <a:prstGeom prst="straightConnector1">
            <a:avLst/>
          </a:prstGeom>
          <a:ln w="25400">
            <a:solidFill>
              <a:schemeClr val="bg1"/>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35" name="TextBox 52">
            <a:extLst>
              <a:ext uri="{FF2B5EF4-FFF2-40B4-BE49-F238E27FC236}">
                <a16:creationId xmlns:a16="http://schemas.microsoft.com/office/drawing/2014/main" id="{80C00788-96BC-4FB9-81B9-1DF464010E48}"/>
              </a:ext>
            </a:extLst>
          </p:cNvPr>
          <p:cNvSpPr txBox="1"/>
          <p:nvPr/>
        </p:nvSpPr>
        <p:spPr>
          <a:xfrm>
            <a:off x="6047224" y="3767897"/>
            <a:ext cx="1886128"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FFFFF"/>
                </a:solidFill>
                <a:effectLst/>
                <a:uLnTx/>
                <a:uFillTx/>
                <a:latin typeface="Arial"/>
                <a:cs typeface="+mn-ea"/>
                <a:sym typeface="+mn-lt"/>
              </a:rPr>
              <a:t>Place your text here</a:t>
            </a:r>
          </a:p>
        </p:txBody>
      </p:sp>
      <p:cxnSp>
        <p:nvCxnSpPr>
          <p:cNvPr id="36" name="Straight Arrow Connector 54">
            <a:extLst>
              <a:ext uri="{FF2B5EF4-FFF2-40B4-BE49-F238E27FC236}">
                <a16:creationId xmlns:a16="http://schemas.microsoft.com/office/drawing/2014/main" id="{F840B2BB-E15F-45C1-8B44-FB8EF4CBD975}"/>
              </a:ext>
            </a:extLst>
          </p:cNvPr>
          <p:cNvCxnSpPr/>
          <p:nvPr/>
        </p:nvCxnSpPr>
        <p:spPr>
          <a:xfrm flipH="1">
            <a:off x="6265802" y="3677269"/>
            <a:ext cx="2066786" cy="0"/>
          </a:xfrm>
          <a:prstGeom prst="straightConnector1">
            <a:avLst/>
          </a:prstGeom>
          <a:ln w="25400">
            <a:solidFill>
              <a:schemeClr val="bg1"/>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37" name="TextBox 55">
            <a:extLst>
              <a:ext uri="{FF2B5EF4-FFF2-40B4-BE49-F238E27FC236}">
                <a16:creationId xmlns:a16="http://schemas.microsoft.com/office/drawing/2014/main" id="{081E4037-65F2-47F1-B66B-3578FE371F2E}"/>
              </a:ext>
            </a:extLst>
          </p:cNvPr>
          <p:cNvSpPr txBox="1"/>
          <p:nvPr/>
        </p:nvSpPr>
        <p:spPr>
          <a:xfrm>
            <a:off x="6356130" y="3366377"/>
            <a:ext cx="1886128"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FFFFF"/>
                </a:solidFill>
                <a:effectLst/>
                <a:uLnTx/>
                <a:uFillTx/>
                <a:latin typeface="Arial"/>
                <a:cs typeface="+mn-ea"/>
                <a:sym typeface="+mn-lt"/>
              </a:rPr>
              <a:t>Place your text here</a:t>
            </a:r>
          </a:p>
        </p:txBody>
      </p:sp>
      <p:sp>
        <p:nvSpPr>
          <p:cNvPr id="38" name="Freeform 56">
            <a:extLst>
              <a:ext uri="{FF2B5EF4-FFF2-40B4-BE49-F238E27FC236}">
                <a16:creationId xmlns:a16="http://schemas.microsoft.com/office/drawing/2014/main" id="{D20B5CC9-DE88-4E10-8106-626047CEB79B}"/>
              </a:ext>
            </a:extLst>
          </p:cNvPr>
          <p:cNvSpPr>
            <a:spLocks/>
          </p:cNvSpPr>
          <p:nvPr/>
        </p:nvSpPr>
        <p:spPr bwMode="auto">
          <a:xfrm>
            <a:off x="9145341" y="3277811"/>
            <a:ext cx="914132" cy="63979"/>
          </a:xfrm>
          <a:custGeom>
            <a:avLst/>
            <a:gdLst>
              <a:gd name="T0" fmla="*/ 1898 w 1910"/>
              <a:gd name="T1" fmla="*/ 24 h 24"/>
              <a:gd name="T2" fmla="*/ 12 w 1910"/>
              <a:gd name="T3" fmla="*/ 24 h 24"/>
              <a:gd name="T4" fmla="*/ 0 w 1910"/>
              <a:gd name="T5" fmla="*/ 12 h 24"/>
              <a:gd name="T6" fmla="*/ 0 w 1910"/>
              <a:gd name="T7" fmla="*/ 12 h 24"/>
              <a:gd name="T8" fmla="*/ 12 w 1910"/>
              <a:gd name="T9" fmla="*/ 0 h 24"/>
              <a:gd name="T10" fmla="*/ 1898 w 1910"/>
              <a:gd name="T11" fmla="*/ 0 h 24"/>
              <a:gd name="T12" fmla="*/ 1910 w 1910"/>
              <a:gd name="T13" fmla="*/ 12 h 24"/>
              <a:gd name="T14" fmla="*/ 1910 w 1910"/>
              <a:gd name="T15" fmla="*/ 12 h 24"/>
              <a:gd name="T16" fmla="*/ 1898 w 1910"/>
              <a:gd name="T17"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10" h="24">
                <a:moveTo>
                  <a:pt x="1898" y="24"/>
                </a:moveTo>
                <a:cubicBezTo>
                  <a:pt x="12" y="24"/>
                  <a:pt x="12" y="24"/>
                  <a:pt x="12" y="24"/>
                </a:cubicBezTo>
                <a:cubicBezTo>
                  <a:pt x="5" y="24"/>
                  <a:pt x="0" y="18"/>
                  <a:pt x="0" y="12"/>
                </a:cubicBezTo>
                <a:cubicBezTo>
                  <a:pt x="0" y="12"/>
                  <a:pt x="0" y="12"/>
                  <a:pt x="0" y="12"/>
                </a:cubicBezTo>
                <a:cubicBezTo>
                  <a:pt x="0" y="6"/>
                  <a:pt x="5" y="0"/>
                  <a:pt x="12" y="0"/>
                </a:cubicBezTo>
                <a:cubicBezTo>
                  <a:pt x="1898" y="0"/>
                  <a:pt x="1898" y="0"/>
                  <a:pt x="1898" y="0"/>
                </a:cubicBezTo>
                <a:cubicBezTo>
                  <a:pt x="1905" y="0"/>
                  <a:pt x="1910" y="6"/>
                  <a:pt x="1910" y="12"/>
                </a:cubicBezTo>
                <a:cubicBezTo>
                  <a:pt x="1910" y="12"/>
                  <a:pt x="1910" y="12"/>
                  <a:pt x="1910" y="12"/>
                </a:cubicBezTo>
                <a:cubicBezTo>
                  <a:pt x="1910" y="18"/>
                  <a:pt x="1905" y="24"/>
                  <a:pt x="1898" y="24"/>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cs typeface="+mn-ea"/>
              <a:sym typeface="+mn-lt"/>
            </a:endParaRPr>
          </a:p>
        </p:txBody>
      </p:sp>
      <p:sp>
        <p:nvSpPr>
          <p:cNvPr id="39" name="Rectangle 57">
            <a:extLst>
              <a:ext uri="{FF2B5EF4-FFF2-40B4-BE49-F238E27FC236}">
                <a16:creationId xmlns:a16="http://schemas.microsoft.com/office/drawing/2014/main" id="{62EFC3F5-ECA3-4D8C-ACB9-A56BE83E4589}"/>
              </a:ext>
            </a:extLst>
          </p:cNvPr>
          <p:cNvSpPr/>
          <p:nvPr/>
        </p:nvSpPr>
        <p:spPr>
          <a:xfrm>
            <a:off x="10046445" y="3015431"/>
            <a:ext cx="1396590" cy="60557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cs typeface="+mn-ea"/>
              <a:sym typeface="+mn-lt"/>
            </a:endParaRPr>
          </a:p>
        </p:txBody>
      </p:sp>
      <p:sp>
        <p:nvSpPr>
          <p:cNvPr id="40" name="TextBox 58">
            <a:extLst>
              <a:ext uri="{FF2B5EF4-FFF2-40B4-BE49-F238E27FC236}">
                <a16:creationId xmlns:a16="http://schemas.microsoft.com/office/drawing/2014/main" id="{2B8F5A29-41A8-49E8-A106-8816C4C36D49}"/>
              </a:ext>
            </a:extLst>
          </p:cNvPr>
          <p:cNvSpPr txBox="1"/>
          <p:nvPr/>
        </p:nvSpPr>
        <p:spPr>
          <a:xfrm>
            <a:off x="10203758" y="3164331"/>
            <a:ext cx="1081964" cy="30777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0F0F0"/>
                </a:solidFill>
                <a:effectLst/>
                <a:uLnTx/>
                <a:uFillTx/>
                <a:latin typeface="Arial"/>
                <a:cs typeface="+mn-ea"/>
                <a:sym typeface="+mn-lt"/>
              </a:rPr>
              <a:t>PROBLEM</a:t>
            </a:r>
          </a:p>
        </p:txBody>
      </p:sp>
      <p:sp>
        <p:nvSpPr>
          <p:cNvPr id="41" name="Freeform 59">
            <a:extLst>
              <a:ext uri="{FF2B5EF4-FFF2-40B4-BE49-F238E27FC236}">
                <a16:creationId xmlns:a16="http://schemas.microsoft.com/office/drawing/2014/main" id="{30E66E6C-BA6E-42C6-B7E1-1D9122E7AFFF}"/>
              </a:ext>
            </a:extLst>
          </p:cNvPr>
          <p:cNvSpPr>
            <a:spLocks/>
          </p:cNvSpPr>
          <p:nvPr/>
        </p:nvSpPr>
        <p:spPr bwMode="auto">
          <a:xfrm>
            <a:off x="10052578" y="3754589"/>
            <a:ext cx="1394051" cy="63979"/>
          </a:xfrm>
          <a:custGeom>
            <a:avLst/>
            <a:gdLst>
              <a:gd name="T0" fmla="*/ 1898 w 1910"/>
              <a:gd name="T1" fmla="*/ 24 h 24"/>
              <a:gd name="T2" fmla="*/ 12 w 1910"/>
              <a:gd name="T3" fmla="*/ 24 h 24"/>
              <a:gd name="T4" fmla="*/ 0 w 1910"/>
              <a:gd name="T5" fmla="*/ 12 h 24"/>
              <a:gd name="T6" fmla="*/ 0 w 1910"/>
              <a:gd name="T7" fmla="*/ 12 h 24"/>
              <a:gd name="T8" fmla="*/ 12 w 1910"/>
              <a:gd name="T9" fmla="*/ 0 h 24"/>
              <a:gd name="T10" fmla="*/ 1898 w 1910"/>
              <a:gd name="T11" fmla="*/ 0 h 24"/>
              <a:gd name="T12" fmla="*/ 1910 w 1910"/>
              <a:gd name="T13" fmla="*/ 12 h 24"/>
              <a:gd name="T14" fmla="*/ 1910 w 1910"/>
              <a:gd name="T15" fmla="*/ 12 h 24"/>
              <a:gd name="T16" fmla="*/ 1898 w 1910"/>
              <a:gd name="T17"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10" h="24">
                <a:moveTo>
                  <a:pt x="1898" y="24"/>
                </a:moveTo>
                <a:cubicBezTo>
                  <a:pt x="12" y="24"/>
                  <a:pt x="12" y="24"/>
                  <a:pt x="12" y="24"/>
                </a:cubicBezTo>
                <a:cubicBezTo>
                  <a:pt x="5" y="24"/>
                  <a:pt x="0" y="18"/>
                  <a:pt x="0" y="12"/>
                </a:cubicBezTo>
                <a:cubicBezTo>
                  <a:pt x="0" y="12"/>
                  <a:pt x="0" y="12"/>
                  <a:pt x="0" y="12"/>
                </a:cubicBezTo>
                <a:cubicBezTo>
                  <a:pt x="0" y="6"/>
                  <a:pt x="5" y="0"/>
                  <a:pt x="12" y="0"/>
                </a:cubicBezTo>
                <a:cubicBezTo>
                  <a:pt x="1898" y="0"/>
                  <a:pt x="1898" y="0"/>
                  <a:pt x="1898" y="0"/>
                </a:cubicBezTo>
                <a:cubicBezTo>
                  <a:pt x="1905" y="0"/>
                  <a:pt x="1910" y="6"/>
                  <a:pt x="1910" y="12"/>
                </a:cubicBezTo>
                <a:cubicBezTo>
                  <a:pt x="1910" y="12"/>
                  <a:pt x="1910" y="12"/>
                  <a:pt x="1910" y="12"/>
                </a:cubicBezTo>
                <a:cubicBezTo>
                  <a:pt x="1910" y="18"/>
                  <a:pt x="1905" y="24"/>
                  <a:pt x="1898" y="24"/>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cs typeface="+mn-ea"/>
              <a:sym typeface="+mn-lt"/>
            </a:endParaRPr>
          </a:p>
        </p:txBody>
      </p:sp>
      <p:sp>
        <p:nvSpPr>
          <p:cNvPr id="42" name="Freeform 60">
            <a:extLst>
              <a:ext uri="{FF2B5EF4-FFF2-40B4-BE49-F238E27FC236}">
                <a16:creationId xmlns:a16="http://schemas.microsoft.com/office/drawing/2014/main" id="{B91DA424-C047-4ECC-A84F-115D366C2E90}"/>
              </a:ext>
            </a:extLst>
          </p:cNvPr>
          <p:cNvSpPr>
            <a:spLocks/>
          </p:cNvSpPr>
          <p:nvPr/>
        </p:nvSpPr>
        <p:spPr bwMode="auto">
          <a:xfrm>
            <a:off x="10052578" y="2816730"/>
            <a:ext cx="1394051" cy="63979"/>
          </a:xfrm>
          <a:custGeom>
            <a:avLst/>
            <a:gdLst>
              <a:gd name="T0" fmla="*/ 1898 w 1910"/>
              <a:gd name="T1" fmla="*/ 24 h 24"/>
              <a:gd name="T2" fmla="*/ 12 w 1910"/>
              <a:gd name="T3" fmla="*/ 24 h 24"/>
              <a:gd name="T4" fmla="*/ 0 w 1910"/>
              <a:gd name="T5" fmla="*/ 12 h 24"/>
              <a:gd name="T6" fmla="*/ 0 w 1910"/>
              <a:gd name="T7" fmla="*/ 12 h 24"/>
              <a:gd name="T8" fmla="*/ 12 w 1910"/>
              <a:gd name="T9" fmla="*/ 0 h 24"/>
              <a:gd name="T10" fmla="*/ 1898 w 1910"/>
              <a:gd name="T11" fmla="*/ 0 h 24"/>
              <a:gd name="T12" fmla="*/ 1910 w 1910"/>
              <a:gd name="T13" fmla="*/ 12 h 24"/>
              <a:gd name="T14" fmla="*/ 1910 w 1910"/>
              <a:gd name="T15" fmla="*/ 12 h 24"/>
              <a:gd name="T16" fmla="*/ 1898 w 1910"/>
              <a:gd name="T17"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10" h="24">
                <a:moveTo>
                  <a:pt x="1898" y="24"/>
                </a:moveTo>
                <a:cubicBezTo>
                  <a:pt x="12" y="24"/>
                  <a:pt x="12" y="24"/>
                  <a:pt x="12" y="24"/>
                </a:cubicBezTo>
                <a:cubicBezTo>
                  <a:pt x="5" y="24"/>
                  <a:pt x="0" y="18"/>
                  <a:pt x="0" y="12"/>
                </a:cubicBezTo>
                <a:cubicBezTo>
                  <a:pt x="0" y="12"/>
                  <a:pt x="0" y="12"/>
                  <a:pt x="0" y="12"/>
                </a:cubicBezTo>
                <a:cubicBezTo>
                  <a:pt x="0" y="6"/>
                  <a:pt x="5" y="0"/>
                  <a:pt x="12" y="0"/>
                </a:cubicBezTo>
                <a:cubicBezTo>
                  <a:pt x="1898" y="0"/>
                  <a:pt x="1898" y="0"/>
                  <a:pt x="1898" y="0"/>
                </a:cubicBezTo>
                <a:cubicBezTo>
                  <a:pt x="1905" y="0"/>
                  <a:pt x="1910" y="6"/>
                  <a:pt x="1910" y="12"/>
                </a:cubicBezTo>
                <a:cubicBezTo>
                  <a:pt x="1910" y="12"/>
                  <a:pt x="1910" y="12"/>
                  <a:pt x="1910" y="12"/>
                </a:cubicBezTo>
                <a:cubicBezTo>
                  <a:pt x="1910" y="18"/>
                  <a:pt x="1905" y="24"/>
                  <a:pt x="1898" y="24"/>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cs typeface="+mn-ea"/>
              <a:sym typeface="+mn-lt"/>
            </a:endParaRPr>
          </a:p>
        </p:txBody>
      </p:sp>
      <p:sp>
        <p:nvSpPr>
          <p:cNvPr id="43" name="TextBox 61">
            <a:extLst>
              <a:ext uri="{FF2B5EF4-FFF2-40B4-BE49-F238E27FC236}">
                <a16:creationId xmlns:a16="http://schemas.microsoft.com/office/drawing/2014/main" id="{A273746E-0162-41BF-B717-04F16CDECF73}"/>
              </a:ext>
            </a:extLst>
          </p:cNvPr>
          <p:cNvSpPr txBox="1"/>
          <p:nvPr/>
        </p:nvSpPr>
        <p:spPr>
          <a:xfrm>
            <a:off x="3776844" y="1551085"/>
            <a:ext cx="816249"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0F0F0"/>
                </a:solidFill>
                <a:effectLst/>
                <a:uLnTx/>
                <a:uFillTx/>
                <a:latin typeface="Arial"/>
                <a:cs typeface="+mn-ea"/>
                <a:sym typeface="+mn-lt"/>
              </a:rPr>
              <a:t>Systems</a:t>
            </a:r>
          </a:p>
        </p:txBody>
      </p:sp>
      <p:sp>
        <p:nvSpPr>
          <p:cNvPr id="44" name="TextBox 62">
            <a:extLst>
              <a:ext uri="{FF2B5EF4-FFF2-40B4-BE49-F238E27FC236}">
                <a16:creationId xmlns:a16="http://schemas.microsoft.com/office/drawing/2014/main" id="{ECD4671C-7765-4058-98A2-ACE710E8148D}"/>
              </a:ext>
            </a:extLst>
          </p:cNvPr>
          <p:cNvSpPr txBox="1"/>
          <p:nvPr/>
        </p:nvSpPr>
        <p:spPr>
          <a:xfrm>
            <a:off x="6405167" y="1551601"/>
            <a:ext cx="920445"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0F0F0"/>
                </a:solidFill>
                <a:effectLst/>
                <a:uLnTx/>
                <a:uFillTx/>
                <a:latin typeface="Arial"/>
                <a:cs typeface="+mn-ea"/>
                <a:sym typeface="+mn-lt"/>
              </a:rPr>
              <a:t>Machines</a:t>
            </a:r>
          </a:p>
        </p:txBody>
      </p:sp>
      <p:sp>
        <p:nvSpPr>
          <p:cNvPr id="45" name="TextBox 63">
            <a:extLst>
              <a:ext uri="{FF2B5EF4-FFF2-40B4-BE49-F238E27FC236}">
                <a16:creationId xmlns:a16="http://schemas.microsoft.com/office/drawing/2014/main" id="{6CDD0394-6090-461F-845B-3DE68411E0BF}"/>
              </a:ext>
            </a:extLst>
          </p:cNvPr>
          <p:cNvSpPr txBox="1"/>
          <p:nvPr/>
        </p:nvSpPr>
        <p:spPr>
          <a:xfrm>
            <a:off x="6578877" y="4688593"/>
            <a:ext cx="708527"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0F0F0"/>
                </a:solidFill>
                <a:effectLst/>
                <a:uLnTx/>
                <a:uFillTx/>
                <a:latin typeface="Arial"/>
                <a:cs typeface="+mn-ea"/>
                <a:sym typeface="+mn-lt"/>
              </a:rPr>
              <a:t>People</a:t>
            </a:r>
          </a:p>
        </p:txBody>
      </p:sp>
      <p:sp>
        <p:nvSpPr>
          <p:cNvPr id="46" name="TextBox 64">
            <a:extLst>
              <a:ext uri="{FF2B5EF4-FFF2-40B4-BE49-F238E27FC236}">
                <a16:creationId xmlns:a16="http://schemas.microsoft.com/office/drawing/2014/main" id="{C80A1B9E-660D-4A35-BAE1-B17BCED41C15}"/>
              </a:ext>
            </a:extLst>
          </p:cNvPr>
          <p:cNvSpPr txBox="1"/>
          <p:nvPr/>
        </p:nvSpPr>
        <p:spPr>
          <a:xfrm>
            <a:off x="3900455" y="4697265"/>
            <a:ext cx="595035"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0F0F0"/>
                </a:solidFill>
                <a:effectLst/>
                <a:uLnTx/>
                <a:uFillTx/>
                <a:latin typeface="Arial"/>
                <a:cs typeface="+mn-ea"/>
                <a:sym typeface="+mn-lt"/>
              </a:rPr>
              <a:t>Other</a:t>
            </a:r>
          </a:p>
        </p:txBody>
      </p:sp>
    </p:spTree>
    <p:extLst>
      <p:ext uri="{BB962C8B-B14F-4D97-AF65-F5344CB8AC3E}">
        <p14:creationId xmlns:p14="http://schemas.microsoft.com/office/powerpoint/2010/main" val="1017941277"/>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7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2">
            <a:extLst>
              <a:ext uri="{FF2B5EF4-FFF2-40B4-BE49-F238E27FC236}">
                <a16:creationId xmlns:a16="http://schemas.microsoft.com/office/drawing/2014/main" id="{E8A5F874-B77D-442B-8C88-E30FFC5385B2}"/>
              </a:ext>
            </a:extLst>
          </p:cNvPr>
          <p:cNvSpPr>
            <a:spLocks/>
          </p:cNvSpPr>
          <p:nvPr/>
        </p:nvSpPr>
        <p:spPr bwMode="auto">
          <a:xfrm>
            <a:off x="592138" y="2843212"/>
            <a:ext cx="10086975" cy="1171575"/>
          </a:xfrm>
          <a:custGeom>
            <a:avLst/>
            <a:gdLst>
              <a:gd name="T0" fmla="*/ 98 w 6354"/>
              <a:gd name="T1" fmla="*/ 408 h 738"/>
              <a:gd name="T2" fmla="*/ 190 w 6354"/>
              <a:gd name="T3" fmla="*/ 408 h 738"/>
              <a:gd name="T4" fmla="*/ 0 w 6354"/>
              <a:gd name="T5" fmla="*/ 738 h 738"/>
              <a:gd name="T6" fmla="*/ 89 w 6354"/>
              <a:gd name="T7" fmla="*/ 738 h 738"/>
              <a:gd name="T8" fmla="*/ 279 w 6354"/>
              <a:gd name="T9" fmla="*/ 408 h 738"/>
              <a:gd name="T10" fmla="*/ 368 w 6354"/>
              <a:gd name="T11" fmla="*/ 408 h 738"/>
              <a:gd name="T12" fmla="*/ 178 w 6354"/>
              <a:gd name="T13" fmla="*/ 738 h 738"/>
              <a:gd name="T14" fmla="*/ 267 w 6354"/>
              <a:gd name="T15" fmla="*/ 738 h 738"/>
              <a:gd name="T16" fmla="*/ 457 w 6354"/>
              <a:gd name="T17" fmla="*/ 408 h 738"/>
              <a:gd name="T18" fmla="*/ 547 w 6354"/>
              <a:gd name="T19" fmla="*/ 408 h 738"/>
              <a:gd name="T20" fmla="*/ 356 w 6354"/>
              <a:gd name="T21" fmla="*/ 738 h 738"/>
              <a:gd name="T22" fmla="*/ 445 w 6354"/>
              <a:gd name="T23" fmla="*/ 738 h 738"/>
              <a:gd name="T24" fmla="*/ 636 w 6354"/>
              <a:gd name="T25" fmla="*/ 408 h 738"/>
              <a:gd name="T26" fmla="*/ 5716 w 6354"/>
              <a:gd name="T27" fmla="*/ 408 h 738"/>
              <a:gd name="T28" fmla="*/ 5716 w 6354"/>
              <a:gd name="T29" fmla="*/ 738 h 738"/>
              <a:gd name="T30" fmla="*/ 6354 w 6354"/>
              <a:gd name="T31" fmla="*/ 369 h 738"/>
              <a:gd name="T32" fmla="*/ 5716 w 6354"/>
              <a:gd name="T33" fmla="*/ 0 h 738"/>
              <a:gd name="T34" fmla="*/ 5716 w 6354"/>
              <a:gd name="T35" fmla="*/ 330 h 738"/>
              <a:gd name="T36" fmla="*/ 636 w 6354"/>
              <a:gd name="T37" fmla="*/ 330 h 738"/>
              <a:gd name="T38" fmla="*/ 445 w 6354"/>
              <a:gd name="T39" fmla="*/ 0 h 738"/>
              <a:gd name="T40" fmla="*/ 356 w 6354"/>
              <a:gd name="T41" fmla="*/ 0 h 738"/>
              <a:gd name="T42" fmla="*/ 547 w 6354"/>
              <a:gd name="T43" fmla="*/ 330 h 738"/>
              <a:gd name="T44" fmla="*/ 457 w 6354"/>
              <a:gd name="T45" fmla="*/ 330 h 738"/>
              <a:gd name="T46" fmla="*/ 267 w 6354"/>
              <a:gd name="T47" fmla="*/ 0 h 738"/>
              <a:gd name="T48" fmla="*/ 178 w 6354"/>
              <a:gd name="T49" fmla="*/ 0 h 738"/>
              <a:gd name="T50" fmla="*/ 368 w 6354"/>
              <a:gd name="T51" fmla="*/ 330 h 738"/>
              <a:gd name="T52" fmla="*/ 279 w 6354"/>
              <a:gd name="T53" fmla="*/ 330 h 738"/>
              <a:gd name="T54" fmla="*/ 89 w 6354"/>
              <a:gd name="T55" fmla="*/ 0 h 738"/>
              <a:gd name="T56" fmla="*/ 0 w 6354"/>
              <a:gd name="T57" fmla="*/ 0 h 738"/>
              <a:gd name="T58" fmla="*/ 190 w 6354"/>
              <a:gd name="T59" fmla="*/ 330 h 738"/>
              <a:gd name="T60" fmla="*/ 98 w 6354"/>
              <a:gd name="T61" fmla="*/ 330 h 738"/>
              <a:gd name="T62" fmla="*/ 98 w 6354"/>
              <a:gd name="T63" fmla="*/ 408 h 7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354" h="738">
                <a:moveTo>
                  <a:pt x="98" y="408"/>
                </a:moveTo>
                <a:lnTo>
                  <a:pt x="190" y="408"/>
                </a:lnTo>
                <a:lnTo>
                  <a:pt x="0" y="738"/>
                </a:lnTo>
                <a:lnTo>
                  <a:pt x="89" y="738"/>
                </a:lnTo>
                <a:lnTo>
                  <a:pt x="279" y="408"/>
                </a:lnTo>
                <a:lnTo>
                  <a:pt x="368" y="408"/>
                </a:lnTo>
                <a:lnTo>
                  <a:pt x="178" y="738"/>
                </a:lnTo>
                <a:lnTo>
                  <a:pt x="267" y="738"/>
                </a:lnTo>
                <a:lnTo>
                  <a:pt x="457" y="408"/>
                </a:lnTo>
                <a:lnTo>
                  <a:pt x="547" y="408"/>
                </a:lnTo>
                <a:lnTo>
                  <a:pt x="356" y="738"/>
                </a:lnTo>
                <a:lnTo>
                  <a:pt x="445" y="738"/>
                </a:lnTo>
                <a:lnTo>
                  <a:pt x="636" y="408"/>
                </a:lnTo>
                <a:lnTo>
                  <a:pt x="5716" y="408"/>
                </a:lnTo>
                <a:lnTo>
                  <a:pt x="5716" y="738"/>
                </a:lnTo>
                <a:lnTo>
                  <a:pt x="6354" y="369"/>
                </a:lnTo>
                <a:lnTo>
                  <a:pt x="5716" y="0"/>
                </a:lnTo>
                <a:lnTo>
                  <a:pt x="5716" y="330"/>
                </a:lnTo>
                <a:lnTo>
                  <a:pt x="636" y="330"/>
                </a:lnTo>
                <a:lnTo>
                  <a:pt x="445" y="0"/>
                </a:lnTo>
                <a:lnTo>
                  <a:pt x="356" y="0"/>
                </a:lnTo>
                <a:lnTo>
                  <a:pt x="547" y="330"/>
                </a:lnTo>
                <a:lnTo>
                  <a:pt x="457" y="330"/>
                </a:lnTo>
                <a:lnTo>
                  <a:pt x="267" y="0"/>
                </a:lnTo>
                <a:lnTo>
                  <a:pt x="178" y="0"/>
                </a:lnTo>
                <a:lnTo>
                  <a:pt x="368" y="330"/>
                </a:lnTo>
                <a:lnTo>
                  <a:pt x="279" y="330"/>
                </a:lnTo>
                <a:lnTo>
                  <a:pt x="89" y="0"/>
                </a:lnTo>
                <a:lnTo>
                  <a:pt x="0" y="0"/>
                </a:lnTo>
                <a:lnTo>
                  <a:pt x="190" y="330"/>
                </a:lnTo>
                <a:lnTo>
                  <a:pt x="98" y="330"/>
                </a:lnTo>
                <a:lnTo>
                  <a:pt x="98" y="408"/>
                </a:lnTo>
                <a:close/>
              </a:path>
            </a:pathLst>
          </a:custGeom>
          <a:solidFill>
            <a:schemeClr val="accent1">
              <a:lumMod val="60000"/>
              <a:lumOff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Arial"/>
              <a:cs typeface="+mn-ea"/>
              <a:sym typeface="+mn-lt"/>
            </a:endParaRPr>
          </a:p>
        </p:txBody>
      </p:sp>
      <p:sp>
        <p:nvSpPr>
          <p:cNvPr id="3" name="Freeform 13">
            <a:extLst>
              <a:ext uri="{FF2B5EF4-FFF2-40B4-BE49-F238E27FC236}">
                <a16:creationId xmlns:a16="http://schemas.microsoft.com/office/drawing/2014/main" id="{8C775E4F-2E03-42AD-8A02-1D0903B783C1}"/>
              </a:ext>
            </a:extLst>
          </p:cNvPr>
          <p:cNvSpPr>
            <a:spLocks/>
          </p:cNvSpPr>
          <p:nvPr/>
        </p:nvSpPr>
        <p:spPr bwMode="auto">
          <a:xfrm>
            <a:off x="4894263" y="1966912"/>
            <a:ext cx="1373188" cy="2925763"/>
          </a:xfrm>
          <a:custGeom>
            <a:avLst/>
            <a:gdLst>
              <a:gd name="T0" fmla="*/ 7 w 865"/>
              <a:gd name="T1" fmla="*/ 1843 h 1843"/>
              <a:gd name="T2" fmla="*/ 784 w 865"/>
              <a:gd name="T3" fmla="*/ 926 h 1843"/>
              <a:gd name="T4" fmla="*/ 0 w 865"/>
              <a:gd name="T5" fmla="*/ 0 h 1843"/>
              <a:gd name="T6" fmla="*/ 80 w 865"/>
              <a:gd name="T7" fmla="*/ 0 h 1843"/>
              <a:gd name="T8" fmla="*/ 865 w 865"/>
              <a:gd name="T9" fmla="*/ 926 h 1843"/>
              <a:gd name="T10" fmla="*/ 88 w 865"/>
              <a:gd name="T11" fmla="*/ 1843 h 1843"/>
              <a:gd name="T12" fmla="*/ 7 w 865"/>
              <a:gd name="T13" fmla="*/ 1843 h 1843"/>
            </a:gdLst>
            <a:ahLst/>
            <a:cxnLst>
              <a:cxn ang="0">
                <a:pos x="T0" y="T1"/>
              </a:cxn>
              <a:cxn ang="0">
                <a:pos x="T2" y="T3"/>
              </a:cxn>
              <a:cxn ang="0">
                <a:pos x="T4" y="T5"/>
              </a:cxn>
              <a:cxn ang="0">
                <a:pos x="T6" y="T7"/>
              </a:cxn>
              <a:cxn ang="0">
                <a:pos x="T8" y="T9"/>
              </a:cxn>
              <a:cxn ang="0">
                <a:pos x="T10" y="T11"/>
              </a:cxn>
              <a:cxn ang="0">
                <a:pos x="T12" y="T13"/>
              </a:cxn>
            </a:cxnLst>
            <a:rect l="0" t="0" r="r" b="b"/>
            <a:pathLst>
              <a:path w="865" h="1843">
                <a:moveTo>
                  <a:pt x="7" y="1843"/>
                </a:moveTo>
                <a:lnTo>
                  <a:pt x="784" y="926"/>
                </a:lnTo>
                <a:lnTo>
                  <a:pt x="0" y="0"/>
                </a:lnTo>
                <a:lnTo>
                  <a:pt x="80" y="0"/>
                </a:lnTo>
                <a:lnTo>
                  <a:pt x="865" y="926"/>
                </a:lnTo>
                <a:lnTo>
                  <a:pt x="88" y="1843"/>
                </a:lnTo>
                <a:lnTo>
                  <a:pt x="7" y="1843"/>
                </a:lnTo>
                <a:close/>
              </a:path>
            </a:pathLst>
          </a:custGeom>
          <a:solidFill>
            <a:schemeClr val="accent1">
              <a:lumMod val="60000"/>
              <a:lumOff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Arial"/>
              <a:cs typeface="+mn-ea"/>
              <a:sym typeface="+mn-lt"/>
            </a:endParaRPr>
          </a:p>
        </p:txBody>
      </p:sp>
      <p:sp>
        <p:nvSpPr>
          <p:cNvPr id="4" name="Freeform 14">
            <a:extLst>
              <a:ext uri="{FF2B5EF4-FFF2-40B4-BE49-F238E27FC236}">
                <a16:creationId xmlns:a16="http://schemas.microsoft.com/office/drawing/2014/main" id="{32FEAA34-000B-4BBF-9BE3-7CB1854C659D}"/>
              </a:ext>
            </a:extLst>
          </p:cNvPr>
          <p:cNvSpPr>
            <a:spLocks/>
          </p:cNvSpPr>
          <p:nvPr/>
        </p:nvSpPr>
        <p:spPr bwMode="auto">
          <a:xfrm>
            <a:off x="7432675" y="1966912"/>
            <a:ext cx="1373188" cy="2925763"/>
          </a:xfrm>
          <a:custGeom>
            <a:avLst/>
            <a:gdLst>
              <a:gd name="T0" fmla="*/ 7 w 865"/>
              <a:gd name="T1" fmla="*/ 1843 h 1843"/>
              <a:gd name="T2" fmla="*/ 785 w 865"/>
              <a:gd name="T3" fmla="*/ 926 h 1843"/>
              <a:gd name="T4" fmla="*/ 0 w 865"/>
              <a:gd name="T5" fmla="*/ 0 h 1843"/>
              <a:gd name="T6" fmla="*/ 81 w 865"/>
              <a:gd name="T7" fmla="*/ 0 h 1843"/>
              <a:gd name="T8" fmla="*/ 865 w 865"/>
              <a:gd name="T9" fmla="*/ 926 h 1843"/>
              <a:gd name="T10" fmla="*/ 88 w 865"/>
              <a:gd name="T11" fmla="*/ 1843 h 1843"/>
              <a:gd name="T12" fmla="*/ 7 w 865"/>
              <a:gd name="T13" fmla="*/ 1843 h 1843"/>
            </a:gdLst>
            <a:ahLst/>
            <a:cxnLst>
              <a:cxn ang="0">
                <a:pos x="T0" y="T1"/>
              </a:cxn>
              <a:cxn ang="0">
                <a:pos x="T2" y="T3"/>
              </a:cxn>
              <a:cxn ang="0">
                <a:pos x="T4" y="T5"/>
              </a:cxn>
              <a:cxn ang="0">
                <a:pos x="T6" y="T7"/>
              </a:cxn>
              <a:cxn ang="0">
                <a:pos x="T8" y="T9"/>
              </a:cxn>
              <a:cxn ang="0">
                <a:pos x="T10" y="T11"/>
              </a:cxn>
              <a:cxn ang="0">
                <a:pos x="T12" y="T13"/>
              </a:cxn>
            </a:cxnLst>
            <a:rect l="0" t="0" r="r" b="b"/>
            <a:pathLst>
              <a:path w="865" h="1843">
                <a:moveTo>
                  <a:pt x="7" y="1843"/>
                </a:moveTo>
                <a:lnTo>
                  <a:pt x="785" y="926"/>
                </a:lnTo>
                <a:lnTo>
                  <a:pt x="0" y="0"/>
                </a:lnTo>
                <a:lnTo>
                  <a:pt x="81" y="0"/>
                </a:lnTo>
                <a:lnTo>
                  <a:pt x="865" y="926"/>
                </a:lnTo>
                <a:lnTo>
                  <a:pt x="88" y="1843"/>
                </a:lnTo>
                <a:lnTo>
                  <a:pt x="7" y="1843"/>
                </a:lnTo>
                <a:close/>
              </a:path>
            </a:pathLst>
          </a:custGeom>
          <a:solidFill>
            <a:schemeClr val="accent1">
              <a:lumMod val="60000"/>
              <a:lumOff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Arial"/>
              <a:cs typeface="+mn-ea"/>
              <a:sym typeface="+mn-lt"/>
            </a:endParaRPr>
          </a:p>
        </p:txBody>
      </p:sp>
      <p:sp>
        <p:nvSpPr>
          <p:cNvPr id="5" name="Freeform 15">
            <a:extLst>
              <a:ext uri="{FF2B5EF4-FFF2-40B4-BE49-F238E27FC236}">
                <a16:creationId xmlns:a16="http://schemas.microsoft.com/office/drawing/2014/main" id="{7EE19EE9-066C-454D-8F22-69CB8264250E}"/>
              </a:ext>
            </a:extLst>
          </p:cNvPr>
          <p:cNvSpPr>
            <a:spLocks/>
          </p:cNvSpPr>
          <p:nvPr/>
        </p:nvSpPr>
        <p:spPr bwMode="auto">
          <a:xfrm>
            <a:off x="2387600" y="1966912"/>
            <a:ext cx="1373188" cy="2925763"/>
          </a:xfrm>
          <a:custGeom>
            <a:avLst/>
            <a:gdLst>
              <a:gd name="T0" fmla="*/ 6 w 865"/>
              <a:gd name="T1" fmla="*/ 1843 h 1843"/>
              <a:gd name="T2" fmla="*/ 783 w 865"/>
              <a:gd name="T3" fmla="*/ 926 h 1843"/>
              <a:gd name="T4" fmla="*/ 0 w 865"/>
              <a:gd name="T5" fmla="*/ 0 h 1843"/>
              <a:gd name="T6" fmla="*/ 81 w 865"/>
              <a:gd name="T7" fmla="*/ 0 h 1843"/>
              <a:gd name="T8" fmla="*/ 865 w 865"/>
              <a:gd name="T9" fmla="*/ 926 h 1843"/>
              <a:gd name="T10" fmla="*/ 88 w 865"/>
              <a:gd name="T11" fmla="*/ 1843 h 1843"/>
              <a:gd name="T12" fmla="*/ 6 w 865"/>
              <a:gd name="T13" fmla="*/ 1843 h 1843"/>
            </a:gdLst>
            <a:ahLst/>
            <a:cxnLst>
              <a:cxn ang="0">
                <a:pos x="T0" y="T1"/>
              </a:cxn>
              <a:cxn ang="0">
                <a:pos x="T2" y="T3"/>
              </a:cxn>
              <a:cxn ang="0">
                <a:pos x="T4" y="T5"/>
              </a:cxn>
              <a:cxn ang="0">
                <a:pos x="T6" y="T7"/>
              </a:cxn>
              <a:cxn ang="0">
                <a:pos x="T8" y="T9"/>
              </a:cxn>
              <a:cxn ang="0">
                <a:pos x="T10" y="T11"/>
              </a:cxn>
              <a:cxn ang="0">
                <a:pos x="T12" y="T13"/>
              </a:cxn>
            </a:cxnLst>
            <a:rect l="0" t="0" r="r" b="b"/>
            <a:pathLst>
              <a:path w="865" h="1843">
                <a:moveTo>
                  <a:pt x="6" y="1843"/>
                </a:moveTo>
                <a:lnTo>
                  <a:pt x="783" y="926"/>
                </a:lnTo>
                <a:lnTo>
                  <a:pt x="0" y="0"/>
                </a:lnTo>
                <a:lnTo>
                  <a:pt x="81" y="0"/>
                </a:lnTo>
                <a:lnTo>
                  <a:pt x="865" y="926"/>
                </a:lnTo>
                <a:lnTo>
                  <a:pt x="88" y="1843"/>
                </a:lnTo>
                <a:lnTo>
                  <a:pt x="6" y="1843"/>
                </a:lnTo>
                <a:close/>
              </a:path>
            </a:pathLst>
          </a:custGeom>
          <a:solidFill>
            <a:schemeClr val="accent1">
              <a:lumMod val="60000"/>
              <a:lumOff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Arial"/>
              <a:cs typeface="+mn-ea"/>
              <a:sym typeface="+mn-lt"/>
            </a:endParaRPr>
          </a:p>
        </p:txBody>
      </p:sp>
      <p:sp>
        <p:nvSpPr>
          <p:cNvPr id="6" name="TextBox 7">
            <a:extLst>
              <a:ext uri="{FF2B5EF4-FFF2-40B4-BE49-F238E27FC236}">
                <a16:creationId xmlns:a16="http://schemas.microsoft.com/office/drawing/2014/main" id="{249CF099-0AB8-4B53-B9CF-8628948BCE25}"/>
              </a:ext>
            </a:extLst>
          </p:cNvPr>
          <p:cNvSpPr txBox="1"/>
          <p:nvPr/>
        </p:nvSpPr>
        <p:spPr>
          <a:xfrm>
            <a:off x="1366695" y="1854852"/>
            <a:ext cx="997774" cy="338554"/>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id-ID" sz="1600" b="0" i="0" u="none" strike="noStrike" kern="1200" cap="none" spc="0" normalizeH="0" baseline="0" noProof="0" dirty="0">
                <a:ln>
                  <a:noFill/>
                </a:ln>
                <a:solidFill>
                  <a:schemeClr val="accent1"/>
                </a:solidFill>
                <a:effectLst/>
                <a:uLnTx/>
                <a:uFillTx/>
                <a:latin typeface="Arial"/>
                <a:cs typeface="+mn-ea"/>
                <a:sym typeface="+mn-lt"/>
              </a:rPr>
              <a:t>Trigger 1</a:t>
            </a:r>
          </a:p>
        </p:txBody>
      </p:sp>
      <p:sp>
        <p:nvSpPr>
          <p:cNvPr id="7" name="TextBox 8">
            <a:extLst>
              <a:ext uri="{FF2B5EF4-FFF2-40B4-BE49-F238E27FC236}">
                <a16:creationId xmlns:a16="http://schemas.microsoft.com/office/drawing/2014/main" id="{873C88B6-A243-4FEA-A95D-20A6E2817E3A}"/>
              </a:ext>
            </a:extLst>
          </p:cNvPr>
          <p:cNvSpPr txBox="1"/>
          <p:nvPr/>
        </p:nvSpPr>
        <p:spPr>
          <a:xfrm>
            <a:off x="1970819" y="2595838"/>
            <a:ext cx="997774"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d-ID" sz="1600" b="0" i="0" u="none" strike="noStrike" kern="1200" cap="none" spc="0" normalizeH="0" baseline="0" noProof="0" dirty="0">
                <a:ln>
                  <a:noFill/>
                </a:ln>
                <a:solidFill>
                  <a:schemeClr val="accent1"/>
                </a:solidFill>
                <a:effectLst/>
                <a:uLnTx/>
                <a:uFillTx/>
                <a:latin typeface="Arial"/>
                <a:cs typeface="+mn-ea"/>
                <a:sym typeface="+mn-lt"/>
              </a:rPr>
              <a:t>Trigger 2</a:t>
            </a:r>
          </a:p>
        </p:txBody>
      </p:sp>
      <p:sp>
        <p:nvSpPr>
          <p:cNvPr id="8" name="TextBox 9">
            <a:extLst>
              <a:ext uri="{FF2B5EF4-FFF2-40B4-BE49-F238E27FC236}">
                <a16:creationId xmlns:a16="http://schemas.microsoft.com/office/drawing/2014/main" id="{C87A8EA1-47EE-48FA-848A-31E718BD2192}"/>
              </a:ext>
            </a:extLst>
          </p:cNvPr>
          <p:cNvSpPr txBox="1"/>
          <p:nvPr/>
        </p:nvSpPr>
        <p:spPr>
          <a:xfrm>
            <a:off x="3840020" y="1854852"/>
            <a:ext cx="997774" cy="338554"/>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id-ID" sz="1600" b="0" i="0" u="none" strike="noStrike" kern="1200" cap="none" spc="0" normalizeH="0" baseline="0" noProof="0" dirty="0">
                <a:ln>
                  <a:noFill/>
                </a:ln>
                <a:solidFill>
                  <a:schemeClr val="accent1"/>
                </a:solidFill>
                <a:effectLst/>
                <a:uLnTx/>
                <a:uFillTx/>
                <a:latin typeface="Arial"/>
                <a:cs typeface="+mn-ea"/>
                <a:sym typeface="+mn-lt"/>
              </a:rPr>
              <a:t>Trigger 1</a:t>
            </a:r>
          </a:p>
        </p:txBody>
      </p:sp>
      <p:sp>
        <p:nvSpPr>
          <p:cNvPr id="9" name="TextBox 10">
            <a:extLst>
              <a:ext uri="{FF2B5EF4-FFF2-40B4-BE49-F238E27FC236}">
                <a16:creationId xmlns:a16="http://schemas.microsoft.com/office/drawing/2014/main" id="{4451EC24-89A0-49A7-8E3B-8D4076226BFD}"/>
              </a:ext>
            </a:extLst>
          </p:cNvPr>
          <p:cNvSpPr txBox="1"/>
          <p:nvPr/>
        </p:nvSpPr>
        <p:spPr>
          <a:xfrm>
            <a:off x="4471846" y="2595838"/>
            <a:ext cx="997774" cy="338554"/>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id-ID" sz="1600" b="0" i="0" u="none" strike="noStrike" kern="1200" cap="none" spc="0" normalizeH="0" baseline="0" noProof="0" dirty="0">
                <a:ln>
                  <a:noFill/>
                </a:ln>
                <a:solidFill>
                  <a:schemeClr val="accent1"/>
                </a:solidFill>
                <a:effectLst/>
                <a:uLnTx/>
                <a:uFillTx/>
                <a:latin typeface="Arial"/>
                <a:cs typeface="+mn-ea"/>
                <a:sym typeface="+mn-lt"/>
              </a:rPr>
              <a:t>Trigger 2</a:t>
            </a:r>
          </a:p>
        </p:txBody>
      </p:sp>
      <p:sp>
        <p:nvSpPr>
          <p:cNvPr id="10" name="TextBox 11">
            <a:extLst>
              <a:ext uri="{FF2B5EF4-FFF2-40B4-BE49-F238E27FC236}">
                <a16:creationId xmlns:a16="http://schemas.microsoft.com/office/drawing/2014/main" id="{251DB127-B945-4D4F-8A9B-D1EC7062C18B}"/>
              </a:ext>
            </a:extLst>
          </p:cNvPr>
          <p:cNvSpPr txBox="1"/>
          <p:nvPr/>
        </p:nvSpPr>
        <p:spPr>
          <a:xfrm>
            <a:off x="6399927" y="1854852"/>
            <a:ext cx="997774" cy="338554"/>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id-ID" sz="1600" b="0" i="0" u="none" strike="noStrike" kern="1200" cap="none" spc="0" normalizeH="0" baseline="0" noProof="0" dirty="0">
                <a:ln>
                  <a:noFill/>
                </a:ln>
                <a:solidFill>
                  <a:schemeClr val="accent1"/>
                </a:solidFill>
                <a:effectLst/>
                <a:uLnTx/>
                <a:uFillTx/>
                <a:latin typeface="Arial"/>
                <a:cs typeface="+mn-ea"/>
                <a:sym typeface="+mn-lt"/>
              </a:rPr>
              <a:t>Trigger 1</a:t>
            </a:r>
          </a:p>
        </p:txBody>
      </p:sp>
      <p:sp>
        <p:nvSpPr>
          <p:cNvPr id="11" name="TextBox 12">
            <a:extLst>
              <a:ext uri="{FF2B5EF4-FFF2-40B4-BE49-F238E27FC236}">
                <a16:creationId xmlns:a16="http://schemas.microsoft.com/office/drawing/2014/main" id="{0E39E433-E6F0-487E-BD00-07D0436EBE6D}"/>
              </a:ext>
            </a:extLst>
          </p:cNvPr>
          <p:cNvSpPr txBox="1"/>
          <p:nvPr/>
        </p:nvSpPr>
        <p:spPr>
          <a:xfrm>
            <a:off x="6993653" y="2595838"/>
            <a:ext cx="997774" cy="338554"/>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id-ID" sz="1600" b="0" i="0" u="none" strike="noStrike" kern="1200" cap="none" spc="0" normalizeH="0" baseline="0" noProof="0" dirty="0">
                <a:ln>
                  <a:noFill/>
                </a:ln>
                <a:solidFill>
                  <a:schemeClr val="accent1"/>
                </a:solidFill>
                <a:effectLst/>
                <a:uLnTx/>
                <a:uFillTx/>
                <a:latin typeface="Arial"/>
                <a:cs typeface="+mn-ea"/>
                <a:sym typeface="+mn-lt"/>
              </a:rPr>
              <a:t>Trigger 2</a:t>
            </a:r>
          </a:p>
        </p:txBody>
      </p:sp>
      <p:sp>
        <p:nvSpPr>
          <p:cNvPr id="12" name="TextBox 13">
            <a:extLst>
              <a:ext uri="{FF2B5EF4-FFF2-40B4-BE49-F238E27FC236}">
                <a16:creationId xmlns:a16="http://schemas.microsoft.com/office/drawing/2014/main" id="{D7E05C0B-D73D-419B-AB28-3B0970EA1DF4}"/>
              </a:ext>
            </a:extLst>
          </p:cNvPr>
          <p:cNvSpPr txBox="1"/>
          <p:nvPr/>
        </p:nvSpPr>
        <p:spPr>
          <a:xfrm>
            <a:off x="10778671" y="3196967"/>
            <a:ext cx="1125629"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d-ID" sz="2400" b="1" i="0" u="none" strike="noStrike" kern="1200" cap="none" spc="0" normalizeH="0" baseline="0" noProof="0" dirty="0">
                <a:ln>
                  <a:noFill/>
                </a:ln>
                <a:solidFill>
                  <a:schemeClr val="accent1"/>
                </a:solidFill>
                <a:effectLst/>
                <a:uLnTx/>
                <a:uFillTx/>
                <a:latin typeface="Arial"/>
                <a:cs typeface="+mn-ea"/>
                <a:sym typeface="+mn-lt"/>
              </a:rPr>
              <a:t>Result</a:t>
            </a:r>
          </a:p>
        </p:txBody>
      </p:sp>
      <p:sp>
        <p:nvSpPr>
          <p:cNvPr id="13" name="Oval 14">
            <a:extLst>
              <a:ext uri="{FF2B5EF4-FFF2-40B4-BE49-F238E27FC236}">
                <a16:creationId xmlns:a16="http://schemas.microsoft.com/office/drawing/2014/main" id="{E34A98E0-C9AF-4112-B22A-AD9858F04948}"/>
              </a:ext>
            </a:extLst>
          </p:cNvPr>
          <p:cNvSpPr/>
          <p:nvPr/>
        </p:nvSpPr>
        <p:spPr>
          <a:xfrm>
            <a:off x="2390775" y="1900304"/>
            <a:ext cx="247650" cy="247650"/>
          </a:xfrm>
          <a:prstGeom prst="ellipse">
            <a:avLst/>
          </a:prstGeom>
          <a:solidFill>
            <a:schemeClr val="accent1">
              <a:lumMod val="100000"/>
            </a:schemeClr>
          </a:solidFill>
          <a:ln w="38100">
            <a:solidFill>
              <a:schemeClr val="accent1">
                <a:lumMod val="100000"/>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Arial"/>
              <a:cs typeface="+mn-ea"/>
              <a:sym typeface="+mn-lt"/>
            </a:endParaRPr>
          </a:p>
        </p:txBody>
      </p:sp>
      <p:sp>
        <p:nvSpPr>
          <p:cNvPr id="14" name="Oval 15">
            <a:extLst>
              <a:ext uri="{FF2B5EF4-FFF2-40B4-BE49-F238E27FC236}">
                <a16:creationId xmlns:a16="http://schemas.microsoft.com/office/drawing/2014/main" id="{015E7272-1EEE-41BC-9788-461E2820B998}"/>
              </a:ext>
            </a:extLst>
          </p:cNvPr>
          <p:cNvSpPr/>
          <p:nvPr/>
        </p:nvSpPr>
        <p:spPr>
          <a:xfrm>
            <a:off x="2981325" y="2641290"/>
            <a:ext cx="247650" cy="247650"/>
          </a:xfrm>
          <a:prstGeom prst="ellipse">
            <a:avLst/>
          </a:prstGeom>
          <a:solidFill>
            <a:schemeClr val="accent1">
              <a:lumMod val="100000"/>
            </a:schemeClr>
          </a:solidFill>
          <a:ln w="3810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Arial"/>
              <a:cs typeface="+mn-ea"/>
              <a:sym typeface="+mn-lt"/>
            </a:endParaRPr>
          </a:p>
        </p:txBody>
      </p:sp>
      <p:sp>
        <p:nvSpPr>
          <p:cNvPr id="15" name="Oval 16">
            <a:extLst>
              <a:ext uri="{FF2B5EF4-FFF2-40B4-BE49-F238E27FC236}">
                <a16:creationId xmlns:a16="http://schemas.microsoft.com/office/drawing/2014/main" id="{AC7C2A22-A646-4B8E-88EB-5F311F90E50A}"/>
              </a:ext>
            </a:extLst>
          </p:cNvPr>
          <p:cNvSpPr/>
          <p:nvPr/>
        </p:nvSpPr>
        <p:spPr>
          <a:xfrm>
            <a:off x="4895850" y="1900304"/>
            <a:ext cx="247650" cy="247650"/>
          </a:xfrm>
          <a:prstGeom prst="ellipse">
            <a:avLst/>
          </a:prstGeom>
          <a:solidFill>
            <a:schemeClr val="accent1">
              <a:lumMod val="100000"/>
            </a:schemeClr>
          </a:solidFill>
          <a:ln w="3810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Arial"/>
              <a:cs typeface="+mn-ea"/>
              <a:sym typeface="+mn-lt"/>
            </a:endParaRPr>
          </a:p>
        </p:txBody>
      </p:sp>
      <p:sp>
        <p:nvSpPr>
          <p:cNvPr id="16" name="Oval 17">
            <a:extLst>
              <a:ext uri="{FF2B5EF4-FFF2-40B4-BE49-F238E27FC236}">
                <a16:creationId xmlns:a16="http://schemas.microsoft.com/office/drawing/2014/main" id="{E76DE1ED-31B2-4F57-9DD9-C9B7C5600480}"/>
              </a:ext>
            </a:extLst>
          </p:cNvPr>
          <p:cNvSpPr/>
          <p:nvPr/>
        </p:nvSpPr>
        <p:spPr>
          <a:xfrm>
            <a:off x="5486400" y="2641290"/>
            <a:ext cx="247650" cy="247650"/>
          </a:xfrm>
          <a:prstGeom prst="ellipse">
            <a:avLst/>
          </a:prstGeom>
          <a:solidFill>
            <a:schemeClr val="accent1">
              <a:lumMod val="100000"/>
            </a:schemeClr>
          </a:solidFill>
          <a:ln w="3810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Arial"/>
              <a:cs typeface="+mn-ea"/>
              <a:sym typeface="+mn-lt"/>
            </a:endParaRPr>
          </a:p>
        </p:txBody>
      </p:sp>
      <p:sp>
        <p:nvSpPr>
          <p:cNvPr id="17" name="Oval 18">
            <a:extLst>
              <a:ext uri="{FF2B5EF4-FFF2-40B4-BE49-F238E27FC236}">
                <a16:creationId xmlns:a16="http://schemas.microsoft.com/office/drawing/2014/main" id="{63DC94C7-241E-48FA-83F7-580D28FC9C8F}"/>
              </a:ext>
            </a:extLst>
          </p:cNvPr>
          <p:cNvSpPr/>
          <p:nvPr/>
        </p:nvSpPr>
        <p:spPr>
          <a:xfrm>
            <a:off x="7439025" y="1900304"/>
            <a:ext cx="247650" cy="247650"/>
          </a:xfrm>
          <a:prstGeom prst="ellipse">
            <a:avLst/>
          </a:prstGeom>
          <a:solidFill>
            <a:schemeClr val="accent1">
              <a:lumMod val="100000"/>
            </a:schemeClr>
          </a:solidFill>
          <a:ln w="3810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Arial"/>
              <a:cs typeface="+mn-ea"/>
              <a:sym typeface="+mn-lt"/>
            </a:endParaRPr>
          </a:p>
        </p:txBody>
      </p:sp>
      <p:sp>
        <p:nvSpPr>
          <p:cNvPr id="18" name="Oval 19">
            <a:extLst>
              <a:ext uri="{FF2B5EF4-FFF2-40B4-BE49-F238E27FC236}">
                <a16:creationId xmlns:a16="http://schemas.microsoft.com/office/drawing/2014/main" id="{2DB1C47C-623B-4AA1-8C5F-2E4D830459C5}"/>
              </a:ext>
            </a:extLst>
          </p:cNvPr>
          <p:cNvSpPr/>
          <p:nvPr/>
        </p:nvSpPr>
        <p:spPr>
          <a:xfrm>
            <a:off x="8029575" y="2641290"/>
            <a:ext cx="247650" cy="247650"/>
          </a:xfrm>
          <a:prstGeom prst="ellipse">
            <a:avLst/>
          </a:prstGeom>
          <a:solidFill>
            <a:schemeClr val="accent1">
              <a:lumMod val="100000"/>
            </a:schemeClr>
          </a:solidFill>
          <a:ln w="3810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Arial"/>
              <a:cs typeface="+mn-ea"/>
              <a:sym typeface="+mn-lt"/>
            </a:endParaRPr>
          </a:p>
        </p:txBody>
      </p:sp>
      <p:sp>
        <p:nvSpPr>
          <p:cNvPr id="19" name="TextBox 20">
            <a:extLst>
              <a:ext uri="{FF2B5EF4-FFF2-40B4-BE49-F238E27FC236}">
                <a16:creationId xmlns:a16="http://schemas.microsoft.com/office/drawing/2014/main" id="{DBF6D304-4AF4-49D5-A20F-E4F08B6454AD}"/>
              </a:ext>
            </a:extLst>
          </p:cNvPr>
          <p:cNvSpPr txBox="1"/>
          <p:nvPr/>
        </p:nvSpPr>
        <p:spPr>
          <a:xfrm>
            <a:off x="1995345" y="3931302"/>
            <a:ext cx="997774" cy="338554"/>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id-ID" sz="1600" b="0" i="0" u="none" strike="noStrike" kern="1200" cap="none" spc="0" normalizeH="0" baseline="0" noProof="0" dirty="0">
                <a:ln>
                  <a:noFill/>
                </a:ln>
                <a:solidFill>
                  <a:schemeClr val="accent1"/>
                </a:solidFill>
                <a:effectLst/>
                <a:uLnTx/>
                <a:uFillTx/>
                <a:latin typeface="Arial"/>
                <a:cs typeface="+mn-ea"/>
                <a:sym typeface="+mn-lt"/>
              </a:rPr>
              <a:t>Trigger 1</a:t>
            </a:r>
          </a:p>
        </p:txBody>
      </p:sp>
      <p:sp>
        <p:nvSpPr>
          <p:cNvPr id="20" name="TextBox 21">
            <a:extLst>
              <a:ext uri="{FF2B5EF4-FFF2-40B4-BE49-F238E27FC236}">
                <a16:creationId xmlns:a16="http://schemas.microsoft.com/office/drawing/2014/main" id="{3388BBA2-71E6-4CB2-8F24-4CAA3827077F}"/>
              </a:ext>
            </a:extLst>
          </p:cNvPr>
          <p:cNvSpPr txBox="1"/>
          <p:nvPr/>
        </p:nvSpPr>
        <p:spPr>
          <a:xfrm>
            <a:off x="1360346" y="4672288"/>
            <a:ext cx="997774" cy="338554"/>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id-ID" sz="1600" b="0" i="0" u="none" strike="noStrike" kern="1200" cap="none" spc="0" normalizeH="0" baseline="0" noProof="0" dirty="0">
                <a:ln>
                  <a:noFill/>
                </a:ln>
                <a:solidFill>
                  <a:schemeClr val="accent1"/>
                </a:solidFill>
                <a:effectLst/>
                <a:uLnTx/>
                <a:uFillTx/>
                <a:latin typeface="Arial"/>
                <a:cs typeface="+mn-ea"/>
                <a:sym typeface="+mn-lt"/>
              </a:rPr>
              <a:t>Trigger 2</a:t>
            </a:r>
          </a:p>
        </p:txBody>
      </p:sp>
      <p:sp>
        <p:nvSpPr>
          <p:cNvPr id="21" name="TextBox 22">
            <a:extLst>
              <a:ext uri="{FF2B5EF4-FFF2-40B4-BE49-F238E27FC236}">
                <a16:creationId xmlns:a16="http://schemas.microsoft.com/office/drawing/2014/main" id="{2ED0FEC6-D8D9-4E84-9E2B-B78A6E855054}"/>
              </a:ext>
            </a:extLst>
          </p:cNvPr>
          <p:cNvSpPr txBox="1"/>
          <p:nvPr/>
        </p:nvSpPr>
        <p:spPr>
          <a:xfrm>
            <a:off x="4487720" y="3931302"/>
            <a:ext cx="997774" cy="338554"/>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id-ID" sz="1600" b="0" i="0" u="none" strike="noStrike" kern="1200" cap="none" spc="0" normalizeH="0" baseline="0" noProof="0" dirty="0">
                <a:ln>
                  <a:noFill/>
                </a:ln>
                <a:solidFill>
                  <a:schemeClr val="accent1"/>
                </a:solidFill>
                <a:effectLst/>
                <a:uLnTx/>
                <a:uFillTx/>
                <a:latin typeface="Arial"/>
                <a:cs typeface="+mn-ea"/>
                <a:sym typeface="+mn-lt"/>
              </a:rPr>
              <a:t>Trigger 1</a:t>
            </a:r>
          </a:p>
        </p:txBody>
      </p:sp>
      <p:sp>
        <p:nvSpPr>
          <p:cNvPr id="22" name="TextBox 23">
            <a:extLst>
              <a:ext uri="{FF2B5EF4-FFF2-40B4-BE49-F238E27FC236}">
                <a16:creationId xmlns:a16="http://schemas.microsoft.com/office/drawing/2014/main" id="{4757A59B-87D2-4324-8453-9324C9ACFDDF}"/>
              </a:ext>
            </a:extLst>
          </p:cNvPr>
          <p:cNvSpPr txBox="1"/>
          <p:nvPr/>
        </p:nvSpPr>
        <p:spPr>
          <a:xfrm>
            <a:off x="3862246" y="4672288"/>
            <a:ext cx="997774" cy="338554"/>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id-ID" sz="1600" b="0" i="0" u="none" strike="noStrike" kern="1200" cap="none" spc="0" normalizeH="0" baseline="0" noProof="0" dirty="0">
                <a:ln>
                  <a:noFill/>
                </a:ln>
                <a:solidFill>
                  <a:schemeClr val="accent1"/>
                </a:solidFill>
                <a:effectLst/>
                <a:uLnTx/>
                <a:uFillTx/>
                <a:latin typeface="Arial"/>
                <a:cs typeface="+mn-ea"/>
                <a:sym typeface="+mn-lt"/>
              </a:rPr>
              <a:t>Trigger 2</a:t>
            </a:r>
          </a:p>
        </p:txBody>
      </p:sp>
      <p:sp>
        <p:nvSpPr>
          <p:cNvPr id="23" name="TextBox 24">
            <a:extLst>
              <a:ext uri="{FF2B5EF4-FFF2-40B4-BE49-F238E27FC236}">
                <a16:creationId xmlns:a16="http://schemas.microsoft.com/office/drawing/2014/main" id="{03CAACE1-9747-4DEF-A692-AB08823ABE7A}"/>
              </a:ext>
            </a:extLst>
          </p:cNvPr>
          <p:cNvSpPr txBox="1"/>
          <p:nvPr/>
        </p:nvSpPr>
        <p:spPr>
          <a:xfrm>
            <a:off x="7028577" y="3931302"/>
            <a:ext cx="997774" cy="338554"/>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id-ID" sz="1600" b="0" i="0" u="none" strike="noStrike" kern="1200" cap="none" spc="0" normalizeH="0" baseline="0" noProof="0" dirty="0">
                <a:ln>
                  <a:noFill/>
                </a:ln>
                <a:solidFill>
                  <a:schemeClr val="accent1"/>
                </a:solidFill>
                <a:effectLst/>
                <a:uLnTx/>
                <a:uFillTx/>
                <a:latin typeface="Arial"/>
                <a:cs typeface="+mn-ea"/>
                <a:sym typeface="+mn-lt"/>
              </a:rPr>
              <a:t>Trigger 1</a:t>
            </a:r>
          </a:p>
        </p:txBody>
      </p:sp>
      <p:sp>
        <p:nvSpPr>
          <p:cNvPr id="24" name="TextBox 25">
            <a:extLst>
              <a:ext uri="{FF2B5EF4-FFF2-40B4-BE49-F238E27FC236}">
                <a16:creationId xmlns:a16="http://schemas.microsoft.com/office/drawing/2014/main" id="{279A678B-3504-42F5-8E26-12078E4675F5}"/>
              </a:ext>
            </a:extLst>
          </p:cNvPr>
          <p:cNvSpPr txBox="1"/>
          <p:nvPr/>
        </p:nvSpPr>
        <p:spPr>
          <a:xfrm>
            <a:off x="6422153" y="4672288"/>
            <a:ext cx="997774" cy="338554"/>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id-ID" sz="1600" b="0" i="0" u="none" strike="noStrike" kern="1200" cap="none" spc="0" normalizeH="0" baseline="0" noProof="0" dirty="0">
                <a:ln>
                  <a:noFill/>
                </a:ln>
                <a:solidFill>
                  <a:schemeClr val="accent1"/>
                </a:solidFill>
                <a:effectLst/>
                <a:uLnTx/>
                <a:uFillTx/>
                <a:latin typeface="Arial"/>
                <a:cs typeface="+mn-ea"/>
                <a:sym typeface="+mn-lt"/>
              </a:rPr>
              <a:t>Trigger 2</a:t>
            </a:r>
          </a:p>
        </p:txBody>
      </p:sp>
      <p:sp>
        <p:nvSpPr>
          <p:cNvPr id="25" name="Oval 26">
            <a:extLst>
              <a:ext uri="{FF2B5EF4-FFF2-40B4-BE49-F238E27FC236}">
                <a16:creationId xmlns:a16="http://schemas.microsoft.com/office/drawing/2014/main" id="{665C7764-5BB9-423D-B575-7538E617E1DF}"/>
              </a:ext>
            </a:extLst>
          </p:cNvPr>
          <p:cNvSpPr/>
          <p:nvPr/>
        </p:nvSpPr>
        <p:spPr>
          <a:xfrm>
            <a:off x="3019425" y="3976754"/>
            <a:ext cx="247650" cy="247650"/>
          </a:xfrm>
          <a:prstGeom prst="ellipse">
            <a:avLst/>
          </a:prstGeom>
          <a:solidFill>
            <a:schemeClr val="accent1">
              <a:lumMod val="100000"/>
            </a:schemeClr>
          </a:solidFill>
          <a:ln w="3810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Arial"/>
              <a:cs typeface="+mn-ea"/>
              <a:sym typeface="+mn-lt"/>
            </a:endParaRPr>
          </a:p>
        </p:txBody>
      </p:sp>
      <p:sp>
        <p:nvSpPr>
          <p:cNvPr id="26" name="Oval 27">
            <a:extLst>
              <a:ext uri="{FF2B5EF4-FFF2-40B4-BE49-F238E27FC236}">
                <a16:creationId xmlns:a16="http://schemas.microsoft.com/office/drawing/2014/main" id="{BFEB9687-71AB-4701-A602-AAE7DF8FFDC8}"/>
              </a:ext>
            </a:extLst>
          </p:cNvPr>
          <p:cNvSpPr/>
          <p:nvPr/>
        </p:nvSpPr>
        <p:spPr>
          <a:xfrm>
            <a:off x="2381250" y="4717740"/>
            <a:ext cx="247650" cy="247650"/>
          </a:xfrm>
          <a:prstGeom prst="ellipse">
            <a:avLst/>
          </a:prstGeom>
          <a:solidFill>
            <a:schemeClr val="accent1">
              <a:lumMod val="100000"/>
            </a:schemeClr>
          </a:solidFill>
          <a:ln w="3810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Arial"/>
              <a:cs typeface="+mn-ea"/>
              <a:sym typeface="+mn-lt"/>
            </a:endParaRPr>
          </a:p>
        </p:txBody>
      </p:sp>
      <p:sp>
        <p:nvSpPr>
          <p:cNvPr id="27" name="Oval 28">
            <a:extLst>
              <a:ext uri="{FF2B5EF4-FFF2-40B4-BE49-F238E27FC236}">
                <a16:creationId xmlns:a16="http://schemas.microsoft.com/office/drawing/2014/main" id="{5B37960E-D15D-490D-8E4C-066EB046F243}"/>
              </a:ext>
            </a:extLst>
          </p:cNvPr>
          <p:cNvSpPr/>
          <p:nvPr/>
        </p:nvSpPr>
        <p:spPr>
          <a:xfrm>
            <a:off x="5524500" y="3976754"/>
            <a:ext cx="247650" cy="247650"/>
          </a:xfrm>
          <a:prstGeom prst="ellipse">
            <a:avLst/>
          </a:prstGeom>
          <a:solidFill>
            <a:schemeClr val="accent1">
              <a:lumMod val="100000"/>
            </a:schemeClr>
          </a:solidFill>
          <a:ln w="3810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Arial"/>
              <a:cs typeface="+mn-ea"/>
              <a:sym typeface="+mn-lt"/>
            </a:endParaRPr>
          </a:p>
        </p:txBody>
      </p:sp>
      <p:sp>
        <p:nvSpPr>
          <p:cNvPr id="28" name="Oval 29">
            <a:extLst>
              <a:ext uri="{FF2B5EF4-FFF2-40B4-BE49-F238E27FC236}">
                <a16:creationId xmlns:a16="http://schemas.microsoft.com/office/drawing/2014/main" id="{EE18FF34-CAB2-4C60-B81D-D2E3D1510633}"/>
              </a:ext>
            </a:extLst>
          </p:cNvPr>
          <p:cNvSpPr/>
          <p:nvPr/>
        </p:nvSpPr>
        <p:spPr>
          <a:xfrm>
            <a:off x="4886325" y="4717740"/>
            <a:ext cx="247650" cy="247650"/>
          </a:xfrm>
          <a:prstGeom prst="ellipse">
            <a:avLst/>
          </a:prstGeom>
          <a:solidFill>
            <a:schemeClr val="accent1">
              <a:lumMod val="100000"/>
            </a:schemeClr>
          </a:solidFill>
          <a:ln w="3810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Arial"/>
              <a:cs typeface="+mn-ea"/>
              <a:sym typeface="+mn-lt"/>
            </a:endParaRPr>
          </a:p>
        </p:txBody>
      </p:sp>
      <p:sp>
        <p:nvSpPr>
          <p:cNvPr id="29" name="Oval 30">
            <a:extLst>
              <a:ext uri="{FF2B5EF4-FFF2-40B4-BE49-F238E27FC236}">
                <a16:creationId xmlns:a16="http://schemas.microsoft.com/office/drawing/2014/main" id="{82EA1527-D103-4F21-88AE-FC4676FC0948}"/>
              </a:ext>
            </a:extLst>
          </p:cNvPr>
          <p:cNvSpPr/>
          <p:nvPr/>
        </p:nvSpPr>
        <p:spPr>
          <a:xfrm>
            <a:off x="8067675" y="3976754"/>
            <a:ext cx="247650" cy="247650"/>
          </a:xfrm>
          <a:prstGeom prst="ellipse">
            <a:avLst/>
          </a:prstGeom>
          <a:solidFill>
            <a:schemeClr val="accent1">
              <a:lumMod val="100000"/>
            </a:schemeClr>
          </a:solidFill>
          <a:ln w="3810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Arial"/>
              <a:cs typeface="+mn-ea"/>
              <a:sym typeface="+mn-lt"/>
            </a:endParaRPr>
          </a:p>
        </p:txBody>
      </p:sp>
      <p:sp>
        <p:nvSpPr>
          <p:cNvPr id="30" name="Oval 31">
            <a:extLst>
              <a:ext uri="{FF2B5EF4-FFF2-40B4-BE49-F238E27FC236}">
                <a16:creationId xmlns:a16="http://schemas.microsoft.com/office/drawing/2014/main" id="{1A2F5A84-FDB6-4FCC-BA19-9FB081BE5E8E}"/>
              </a:ext>
            </a:extLst>
          </p:cNvPr>
          <p:cNvSpPr/>
          <p:nvPr/>
        </p:nvSpPr>
        <p:spPr>
          <a:xfrm>
            <a:off x="7429500" y="4717740"/>
            <a:ext cx="247650" cy="247650"/>
          </a:xfrm>
          <a:prstGeom prst="ellipse">
            <a:avLst/>
          </a:prstGeom>
          <a:solidFill>
            <a:schemeClr val="accent1">
              <a:lumMod val="100000"/>
            </a:schemeClr>
          </a:solidFill>
          <a:ln w="3810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Arial"/>
              <a:cs typeface="+mn-ea"/>
              <a:sym typeface="+mn-lt"/>
            </a:endParaRPr>
          </a:p>
        </p:txBody>
      </p:sp>
    </p:spTree>
    <p:extLst>
      <p:ext uri="{BB962C8B-B14F-4D97-AF65-F5344CB8AC3E}">
        <p14:creationId xmlns:p14="http://schemas.microsoft.com/office/powerpoint/2010/main" val="3041806060"/>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0-#ppt_w/2"/>
                                          </p:val>
                                        </p:tav>
                                        <p:tav tm="100000">
                                          <p:val>
                                            <p:strVal val="#ppt_x"/>
                                          </p:val>
                                        </p:tav>
                                      </p:tavLst>
                                    </p:anim>
                                    <p:anim calcmode="lin" valueType="num">
                                      <p:cBhvr additive="base">
                                        <p:cTn id="8" dur="500" fill="hold"/>
                                        <p:tgtEl>
                                          <p:spTgt spid="2"/>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16" presetClass="entr" presetSubtype="42" fill="hold" grpId="0" nodeType="after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barn(outHorizontal)">
                                      <p:cBhvr>
                                        <p:cTn id="12" dur="500"/>
                                        <p:tgtEl>
                                          <p:spTgt spid="5"/>
                                        </p:tgtEl>
                                      </p:cBhvr>
                                    </p:animEffect>
                                  </p:childTnLst>
                                </p:cTn>
                              </p:par>
                            </p:childTnLst>
                          </p:cTn>
                        </p:par>
                        <p:par>
                          <p:cTn id="13" fill="hold">
                            <p:stCondLst>
                              <p:cond delay="1000"/>
                            </p:stCondLst>
                            <p:childTnLst>
                              <p:par>
                                <p:cTn id="14" presetID="53" presetClass="entr" presetSubtype="16" fill="hold" grpId="0" nodeType="afterEffect">
                                  <p:stCondLst>
                                    <p:cond delay="0"/>
                                  </p:stCondLst>
                                  <p:childTnLst>
                                    <p:set>
                                      <p:cBhvr>
                                        <p:cTn id="15" dur="1" fill="hold">
                                          <p:stCondLst>
                                            <p:cond delay="0"/>
                                          </p:stCondLst>
                                        </p:cTn>
                                        <p:tgtEl>
                                          <p:spTgt spid="14"/>
                                        </p:tgtEl>
                                        <p:attrNameLst>
                                          <p:attrName>style.visibility</p:attrName>
                                        </p:attrNameLst>
                                      </p:cBhvr>
                                      <p:to>
                                        <p:strVal val="visible"/>
                                      </p:to>
                                    </p:set>
                                    <p:anim calcmode="lin" valueType="num">
                                      <p:cBhvr>
                                        <p:cTn id="16" dur="500" fill="hold"/>
                                        <p:tgtEl>
                                          <p:spTgt spid="14"/>
                                        </p:tgtEl>
                                        <p:attrNameLst>
                                          <p:attrName>ppt_w</p:attrName>
                                        </p:attrNameLst>
                                      </p:cBhvr>
                                      <p:tavLst>
                                        <p:tav tm="0">
                                          <p:val>
                                            <p:fltVal val="0"/>
                                          </p:val>
                                        </p:tav>
                                        <p:tav tm="100000">
                                          <p:val>
                                            <p:strVal val="#ppt_w"/>
                                          </p:val>
                                        </p:tav>
                                      </p:tavLst>
                                    </p:anim>
                                    <p:anim calcmode="lin" valueType="num">
                                      <p:cBhvr>
                                        <p:cTn id="17" dur="500" fill="hold"/>
                                        <p:tgtEl>
                                          <p:spTgt spid="14"/>
                                        </p:tgtEl>
                                        <p:attrNameLst>
                                          <p:attrName>ppt_h</p:attrName>
                                        </p:attrNameLst>
                                      </p:cBhvr>
                                      <p:tavLst>
                                        <p:tav tm="0">
                                          <p:val>
                                            <p:fltVal val="0"/>
                                          </p:val>
                                        </p:tav>
                                        <p:tav tm="100000">
                                          <p:val>
                                            <p:strVal val="#ppt_h"/>
                                          </p:val>
                                        </p:tav>
                                      </p:tavLst>
                                    </p:anim>
                                    <p:animEffect transition="in" filter="fade">
                                      <p:cBhvr>
                                        <p:cTn id="18" dur="500"/>
                                        <p:tgtEl>
                                          <p:spTgt spid="14"/>
                                        </p:tgtEl>
                                      </p:cBhvr>
                                    </p:animEffect>
                                  </p:childTnLst>
                                </p:cTn>
                              </p:par>
                              <p:par>
                                <p:cTn id="19" presetID="53" presetClass="entr" presetSubtype="16" fill="hold" grpId="0" nodeType="withEffect">
                                  <p:stCondLst>
                                    <p:cond delay="0"/>
                                  </p:stCondLst>
                                  <p:childTnLst>
                                    <p:set>
                                      <p:cBhvr>
                                        <p:cTn id="20" dur="1" fill="hold">
                                          <p:stCondLst>
                                            <p:cond delay="0"/>
                                          </p:stCondLst>
                                        </p:cTn>
                                        <p:tgtEl>
                                          <p:spTgt spid="25"/>
                                        </p:tgtEl>
                                        <p:attrNameLst>
                                          <p:attrName>style.visibility</p:attrName>
                                        </p:attrNameLst>
                                      </p:cBhvr>
                                      <p:to>
                                        <p:strVal val="visible"/>
                                      </p:to>
                                    </p:set>
                                    <p:anim calcmode="lin" valueType="num">
                                      <p:cBhvr>
                                        <p:cTn id="21" dur="500" fill="hold"/>
                                        <p:tgtEl>
                                          <p:spTgt spid="25"/>
                                        </p:tgtEl>
                                        <p:attrNameLst>
                                          <p:attrName>ppt_w</p:attrName>
                                        </p:attrNameLst>
                                      </p:cBhvr>
                                      <p:tavLst>
                                        <p:tav tm="0">
                                          <p:val>
                                            <p:fltVal val="0"/>
                                          </p:val>
                                        </p:tav>
                                        <p:tav tm="100000">
                                          <p:val>
                                            <p:strVal val="#ppt_w"/>
                                          </p:val>
                                        </p:tav>
                                      </p:tavLst>
                                    </p:anim>
                                    <p:anim calcmode="lin" valueType="num">
                                      <p:cBhvr>
                                        <p:cTn id="22" dur="500" fill="hold"/>
                                        <p:tgtEl>
                                          <p:spTgt spid="25"/>
                                        </p:tgtEl>
                                        <p:attrNameLst>
                                          <p:attrName>ppt_h</p:attrName>
                                        </p:attrNameLst>
                                      </p:cBhvr>
                                      <p:tavLst>
                                        <p:tav tm="0">
                                          <p:val>
                                            <p:fltVal val="0"/>
                                          </p:val>
                                        </p:tav>
                                        <p:tav tm="100000">
                                          <p:val>
                                            <p:strVal val="#ppt_h"/>
                                          </p:val>
                                        </p:tav>
                                      </p:tavLst>
                                    </p:anim>
                                    <p:animEffect transition="in" filter="fade">
                                      <p:cBhvr>
                                        <p:cTn id="23" dur="500"/>
                                        <p:tgtEl>
                                          <p:spTgt spid="25"/>
                                        </p:tgtEl>
                                      </p:cBhvr>
                                    </p:animEffect>
                                  </p:childTnLst>
                                </p:cTn>
                              </p:par>
                            </p:childTnLst>
                          </p:cTn>
                        </p:par>
                        <p:par>
                          <p:cTn id="24" fill="hold">
                            <p:stCondLst>
                              <p:cond delay="1500"/>
                            </p:stCondLst>
                            <p:childTnLst>
                              <p:par>
                                <p:cTn id="25" presetID="10" presetClass="entr" presetSubtype="0" fill="hold" grpId="0" nodeType="afterEffect">
                                  <p:stCondLst>
                                    <p:cond delay="0"/>
                                  </p:stCondLst>
                                  <p:childTnLst>
                                    <p:set>
                                      <p:cBhvr>
                                        <p:cTn id="26" dur="1" fill="hold">
                                          <p:stCondLst>
                                            <p:cond delay="0"/>
                                          </p:stCondLst>
                                        </p:cTn>
                                        <p:tgtEl>
                                          <p:spTgt spid="7"/>
                                        </p:tgtEl>
                                        <p:attrNameLst>
                                          <p:attrName>style.visibility</p:attrName>
                                        </p:attrNameLst>
                                      </p:cBhvr>
                                      <p:to>
                                        <p:strVal val="visible"/>
                                      </p:to>
                                    </p:set>
                                    <p:animEffect transition="in" filter="fade">
                                      <p:cBhvr>
                                        <p:cTn id="27" dur="500"/>
                                        <p:tgtEl>
                                          <p:spTgt spid="7"/>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19"/>
                                        </p:tgtEl>
                                        <p:attrNameLst>
                                          <p:attrName>style.visibility</p:attrName>
                                        </p:attrNameLst>
                                      </p:cBhvr>
                                      <p:to>
                                        <p:strVal val="visible"/>
                                      </p:to>
                                    </p:set>
                                    <p:animEffect transition="in" filter="fade">
                                      <p:cBhvr>
                                        <p:cTn id="30" dur="500"/>
                                        <p:tgtEl>
                                          <p:spTgt spid="19"/>
                                        </p:tgtEl>
                                      </p:cBhvr>
                                    </p:animEffect>
                                  </p:childTnLst>
                                </p:cTn>
                              </p:par>
                            </p:childTnLst>
                          </p:cTn>
                        </p:par>
                        <p:par>
                          <p:cTn id="31" fill="hold">
                            <p:stCondLst>
                              <p:cond delay="2000"/>
                            </p:stCondLst>
                            <p:childTnLst>
                              <p:par>
                                <p:cTn id="32" presetID="53" presetClass="entr" presetSubtype="16" fill="hold" grpId="0" nodeType="afterEffect">
                                  <p:stCondLst>
                                    <p:cond delay="0"/>
                                  </p:stCondLst>
                                  <p:childTnLst>
                                    <p:set>
                                      <p:cBhvr>
                                        <p:cTn id="33" dur="1" fill="hold">
                                          <p:stCondLst>
                                            <p:cond delay="0"/>
                                          </p:stCondLst>
                                        </p:cTn>
                                        <p:tgtEl>
                                          <p:spTgt spid="13"/>
                                        </p:tgtEl>
                                        <p:attrNameLst>
                                          <p:attrName>style.visibility</p:attrName>
                                        </p:attrNameLst>
                                      </p:cBhvr>
                                      <p:to>
                                        <p:strVal val="visible"/>
                                      </p:to>
                                    </p:set>
                                    <p:anim calcmode="lin" valueType="num">
                                      <p:cBhvr>
                                        <p:cTn id="34" dur="500" fill="hold"/>
                                        <p:tgtEl>
                                          <p:spTgt spid="13"/>
                                        </p:tgtEl>
                                        <p:attrNameLst>
                                          <p:attrName>ppt_w</p:attrName>
                                        </p:attrNameLst>
                                      </p:cBhvr>
                                      <p:tavLst>
                                        <p:tav tm="0">
                                          <p:val>
                                            <p:fltVal val="0"/>
                                          </p:val>
                                        </p:tav>
                                        <p:tav tm="100000">
                                          <p:val>
                                            <p:strVal val="#ppt_w"/>
                                          </p:val>
                                        </p:tav>
                                      </p:tavLst>
                                    </p:anim>
                                    <p:anim calcmode="lin" valueType="num">
                                      <p:cBhvr>
                                        <p:cTn id="35" dur="500" fill="hold"/>
                                        <p:tgtEl>
                                          <p:spTgt spid="13"/>
                                        </p:tgtEl>
                                        <p:attrNameLst>
                                          <p:attrName>ppt_h</p:attrName>
                                        </p:attrNameLst>
                                      </p:cBhvr>
                                      <p:tavLst>
                                        <p:tav tm="0">
                                          <p:val>
                                            <p:fltVal val="0"/>
                                          </p:val>
                                        </p:tav>
                                        <p:tav tm="100000">
                                          <p:val>
                                            <p:strVal val="#ppt_h"/>
                                          </p:val>
                                        </p:tav>
                                      </p:tavLst>
                                    </p:anim>
                                    <p:animEffect transition="in" filter="fade">
                                      <p:cBhvr>
                                        <p:cTn id="36" dur="500"/>
                                        <p:tgtEl>
                                          <p:spTgt spid="13"/>
                                        </p:tgtEl>
                                      </p:cBhvr>
                                    </p:animEffect>
                                  </p:childTnLst>
                                </p:cTn>
                              </p:par>
                              <p:par>
                                <p:cTn id="37" presetID="53" presetClass="entr" presetSubtype="16" fill="hold" grpId="0" nodeType="withEffect">
                                  <p:stCondLst>
                                    <p:cond delay="0"/>
                                  </p:stCondLst>
                                  <p:childTnLst>
                                    <p:set>
                                      <p:cBhvr>
                                        <p:cTn id="38" dur="1" fill="hold">
                                          <p:stCondLst>
                                            <p:cond delay="0"/>
                                          </p:stCondLst>
                                        </p:cTn>
                                        <p:tgtEl>
                                          <p:spTgt spid="26"/>
                                        </p:tgtEl>
                                        <p:attrNameLst>
                                          <p:attrName>style.visibility</p:attrName>
                                        </p:attrNameLst>
                                      </p:cBhvr>
                                      <p:to>
                                        <p:strVal val="visible"/>
                                      </p:to>
                                    </p:set>
                                    <p:anim calcmode="lin" valueType="num">
                                      <p:cBhvr>
                                        <p:cTn id="39" dur="500" fill="hold"/>
                                        <p:tgtEl>
                                          <p:spTgt spid="26"/>
                                        </p:tgtEl>
                                        <p:attrNameLst>
                                          <p:attrName>ppt_w</p:attrName>
                                        </p:attrNameLst>
                                      </p:cBhvr>
                                      <p:tavLst>
                                        <p:tav tm="0">
                                          <p:val>
                                            <p:fltVal val="0"/>
                                          </p:val>
                                        </p:tav>
                                        <p:tav tm="100000">
                                          <p:val>
                                            <p:strVal val="#ppt_w"/>
                                          </p:val>
                                        </p:tav>
                                      </p:tavLst>
                                    </p:anim>
                                    <p:anim calcmode="lin" valueType="num">
                                      <p:cBhvr>
                                        <p:cTn id="40" dur="500" fill="hold"/>
                                        <p:tgtEl>
                                          <p:spTgt spid="26"/>
                                        </p:tgtEl>
                                        <p:attrNameLst>
                                          <p:attrName>ppt_h</p:attrName>
                                        </p:attrNameLst>
                                      </p:cBhvr>
                                      <p:tavLst>
                                        <p:tav tm="0">
                                          <p:val>
                                            <p:fltVal val="0"/>
                                          </p:val>
                                        </p:tav>
                                        <p:tav tm="100000">
                                          <p:val>
                                            <p:strVal val="#ppt_h"/>
                                          </p:val>
                                        </p:tav>
                                      </p:tavLst>
                                    </p:anim>
                                    <p:animEffect transition="in" filter="fade">
                                      <p:cBhvr>
                                        <p:cTn id="41" dur="500"/>
                                        <p:tgtEl>
                                          <p:spTgt spid="26"/>
                                        </p:tgtEl>
                                      </p:cBhvr>
                                    </p:animEffect>
                                  </p:childTnLst>
                                </p:cTn>
                              </p:par>
                            </p:childTnLst>
                          </p:cTn>
                        </p:par>
                        <p:par>
                          <p:cTn id="42" fill="hold">
                            <p:stCondLst>
                              <p:cond delay="2500"/>
                            </p:stCondLst>
                            <p:childTnLst>
                              <p:par>
                                <p:cTn id="43" presetID="10" presetClass="entr" presetSubtype="0" fill="hold" grpId="0" nodeType="afterEffect">
                                  <p:stCondLst>
                                    <p:cond delay="0"/>
                                  </p:stCondLst>
                                  <p:childTnLst>
                                    <p:set>
                                      <p:cBhvr>
                                        <p:cTn id="44" dur="1" fill="hold">
                                          <p:stCondLst>
                                            <p:cond delay="0"/>
                                          </p:stCondLst>
                                        </p:cTn>
                                        <p:tgtEl>
                                          <p:spTgt spid="6"/>
                                        </p:tgtEl>
                                        <p:attrNameLst>
                                          <p:attrName>style.visibility</p:attrName>
                                        </p:attrNameLst>
                                      </p:cBhvr>
                                      <p:to>
                                        <p:strVal val="visible"/>
                                      </p:to>
                                    </p:set>
                                    <p:animEffect transition="in" filter="fade">
                                      <p:cBhvr>
                                        <p:cTn id="45" dur="500"/>
                                        <p:tgtEl>
                                          <p:spTgt spid="6"/>
                                        </p:tgtEl>
                                      </p:cBhvr>
                                    </p:animEffect>
                                  </p:childTnLst>
                                </p:cTn>
                              </p:par>
                              <p:par>
                                <p:cTn id="46" presetID="10" presetClass="entr" presetSubtype="0" fill="hold" grpId="0" nodeType="withEffect">
                                  <p:stCondLst>
                                    <p:cond delay="0"/>
                                  </p:stCondLst>
                                  <p:childTnLst>
                                    <p:set>
                                      <p:cBhvr>
                                        <p:cTn id="47" dur="1" fill="hold">
                                          <p:stCondLst>
                                            <p:cond delay="0"/>
                                          </p:stCondLst>
                                        </p:cTn>
                                        <p:tgtEl>
                                          <p:spTgt spid="20"/>
                                        </p:tgtEl>
                                        <p:attrNameLst>
                                          <p:attrName>style.visibility</p:attrName>
                                        </p:attrNameLst>
                                      </p:cBhvr>
                                      <p:to>
                                        <p:strVal val="visible"/>
                                      </p:to>
                                    </p:set>
                                    <p:animEffect transition="in" filter="fade">
                                      <p:cBhvr>
                                        <p:cTn id="48" dur="500"/>
                                        <p:tgtEl>
                                          <p:spTgt spid="20"/>
                                        </p:tgtEl>
                                      </p:cBhvr>
                                    </p:animEffect>
                                  </p:childTnLst>
                                </p:cTn>
                              </p:par>
                            </p:childTnLst>
                          </p:cTn>
                        </p:par>
                        <p:par>
                          <p:cTn id="49" fill="hold">
                            <p:stCondLst>
                              <p:cond delay="3000"/>
                            </p:stCondLst>
                            <p:childTnLst>
                              <p:par>
                                <p:cTn id="50" presetID="16" presetClass="entr" presetSubtype="42" fill="hold" grpId="0" nodeType="afterEffect">
                                  <p:stCondLst>
                                    <p:cond delay="0"/>
                                  </p:stCondLst>
                                  <p:childTnLst>
                                    <p:set>
                                      <p:cBhvr>
                                        <p:cTn id="51" dur="1" fill="hold">
                                          <p:stCondLst>
                                            <p:cond delay="0"/>
                                          </p:stCondLst>
                                        </p:cTn>
                                        <p:tgtEl>
                                          <p:spTgt spid="3"/>
                                        </p:tgtEl>
                                        <p:attrNameLst>
                                          <p:attrName>style.visibility</p:attrName>
                                        </p:attrNameLst>
                                      </p:cBhvr>
                                      <p:to>
                                        <p:strVal val="visible"/>
                                      </p:to>
                                    </p:set>
                                    <p:animEffect transition="in" filter="barn(outHorizontal)">
                                      <p:cBhvr>
                                        <p:cTn id="52" dur="500"/>
                                        <p:tgtEl>
                                          <p:spTgt spid="3"/>
                                        </p:tgtEl>
                                      </p:cBhvr>
                                    </p:animEffect>
                                  </p:childTnLst>
                                </p:cTn>
                              </p:par>
                            </p:childTnLst>
                          </p:cTn>
                        </p:par>
                        <p:par>
                          <p:cTn id="53" fill="hold">
                            <p:stCondLst>
                              <p:cond delay="3500"/>
                            </p:stCondLst>
                            <p:childTnLst>
                              <p:par>
                                <p:cTn id="54" presetID="53" presetClass="entr" presetSubtype="16" fill="hold" grpId="0" nodeType="afterEffect">
                                  <p:stCondLst>
                                    <p:cond delay="0"/>
                                  </p:stCondLst>
                                  <p:childTnLst>
                                    <p:set>
                                      <p:cBhvr>
                                        <p:cTn id="55" dur="1" fill="hold">
                                          <p:stCondLst>
                                            <p:cond delay="0"/>
                                          </p:stCondLst>
                                        </p:cTn>
                                        <p:tgtEl>
                                          <p:spTgt spid="27"/>
                                        </p:tgtEl>
                                        <p:attrNameLst>
                                          <p:attrName>style.visibility</p:attrName>
                                        </p:attrNameLst>
                                      </p:cBhvr>
                                      <p:to>
                                        <p:strVal val="visible"/>
                                      </p:to>
                                    </p:set>
                                    <p:anim calcmode="lin" valueType="num">
                                      <p:cBhvr>
                                        <p:cTn id="56" dur="500" fill="hold"/>
                                        <p:tgtEl>
                                          <p:spTgt spid="27"/>
                                        </p:tgtEl>
                                        <p:attrNameLst>
                                          <p:attrName>ppt_w</p:attrName>
                                        </p:attrNameLst>
                                      </p:cBhvr>
                                      <p:tavLst>
                                        <p:tav tm="0">
                                          <p:val>
                                            <p:fltVal val="0"/>
                                          </p:val>
                                        </p:tav>
                                        <p:tav tm="100000">
                                          <p:val>
                                            <p:strVal val="#ppt_w"/>
                                          </p:val>
                                        </p:tav>
                                      </p:tavLst>
                                    </p:anim>
                                    <p:anim calcmode="lin" valueType="num">
                                      <p:cBhvr>
                                        <p:cTn id="57" dur="500" fill="hold"/>
                                        <p:tgtEl>
                                          <p:spTgt spid="27"/>
                                        </p:tgtEl>
                                        <p:attrNameLst>
                                          <p:attrName>ppt_h</p:attrName>
                                        </p:attrNameLst>
                                      </p:cBhvr>
                                      <p:tavLst>
                                        <p:tav tm="0">
                                          <p:val>
                                            <p:fltVal val="0"/>
                                          </p:val>
                                        </p:tav>
                                        <p:tav tm="100000">
                                          <p:val>
                                            <p:strVal val="#ppt_h"/>
                                          </p:val>
                                        </p:tav>
                                      </p:tavLst>
                                    </p:anim>
                                    <p:animEffect transition="in" filter="fade">
                                      <p:cBhvr>
                                        <p:cTn id="58" dur="500"/>
                                        <p:tgtEl>
                                          <p:spTgt spid="27"/>
                                        </p:tgtEl>
                                      </p:cBhvr>
                                    </p:animEffect>
                                  </p:childTnLst>
                                </p:cTn>
                              </p:par>
                              <p:par>
                                <p:cTn id="59" presetID="53" presetClass="entr" presetSubtype="16" fill="hold" grpId="0" nodeType="withEffect">
                                  <p:stCondLst>
                                    <p:cond delay="0"/>
                                  </p:stCondLst>
                                  <p:childTnLst>
                                    <p:set>
                                      <p:cBhvr>
                                        <p:cTn id="60" dur="1" fill="hold">
                                          <p:stCondLst>
                                            <p:cond delay="0"/>
                                          </p:stCondLst>
                                        </p:cTn>
                                        <p:tgtEl>
                                          <p:spTgt spid="16"/>
                                        </p:tgtEl>
                                        <p:attrNameLst>
                                          <p:attrName>style.visibility</p:attrName>
                                        </p:attrNameLst>
                                      </p:cBhvr>
                                      <p:to>
                                        <p:strVal val="visible"/>
                                      </p:to>
                                    </p:set>
                                    <p:anim calcmode="lin" valueType="num">
                                      <p:cBhvr>
                                        <p:cTn id="61" dur="500" fill="hold"/>
                                        <p:tgtEl>
                                          <p:spTgt spid="16"/>
                                        </p:tgtEl>
                                        <p:attrNameLst>
                                          <p:attrName>ppt_w</p:attrName>
                                        </p:attrNameLst>
                                      </p:cBhvr>
                                      <p:tavLst>
                                        <p:tav tm="0">
                                          <p:val>
                                            <p:fltVal val="0"/>
                                          </p:val>
                                        </p:tav>
                                        <p:tav tm="100000">
                                          <p:val>
                                            <p:strVal val="#ppt_w"/>
                                          </p:val>
                                        </p:tav>
                                      </p:tavLst>
                                    </p:anim>
                                    <p:anim calcmode="lin" valueType="num">
                                      <p:cBhvr>
                                        <p:cTn id="62" dur="500" fill="hold"/>
                                        <p:tgtEl>
                                          <p:spTgt spid="16"/>
                                        </p:tgtEl>
                                        <p:attrNameLst>
                                          <p:attrName>ppt_h</p:attrName>
                                        </p:attrNameLst>
                                      </p:cBhvr>
                                      <p:tavLst>
                                        <p:tav tm="0">
                                          <p:val>
                                            <p:fltVal val="0"/>
                                          </p:val>
                                        </p:tav>
                                        <p:tav tm="100000">
                                          <p:val>
                                            <p:strVal val="#ppt_h"/>
                                          </p:val>
                                        </p:tav>
                                      </p:tavLst>
                                    </p:anim>
                                    <p:animEffect transition="in" filter="fade">
                                      <p:cBhvr>
                                        <p:cTn id="63" dur="500"/>
                                        <p:tgtEl>
                                          <p:spTgt spid="16"/>
                                        </p:tgtEl>
                                      </p:cBhvr>
                                    </p:animEffect>
                                  </p:childTnLst>
                                </p:cTn>
                              </p:par>
                            </p:childTnLst>
                          </p:cTn>
                        </p:par>
                        <p:par>
                          <p:cTn id="64" fill="hold">
                            <p:stCondLst>
                              <p:cond delay="4000"/>
                            </p:stCondLst>
                            <p:childTnLst>
                              <p:par>
                                <p:cTn id="65" presetID="10" presetClass="entr" presetSubtype="0" fill="hold" grpId="0" nodeType="afterEffect">
                                  <p:stCondLst>
                                    <p:cond delay="0"/>
                                  </p:stCondLst>
                                  <p:childTnLst>
                                    <p:set>
                                      <p:cBhvr>
                                        <p:cTn id="66" dur="1" fill="hold">
                                          <p:stCondLst>
                                            <p:cond delay="0"/>
                                          </p:stCondLst>
                                        </p:cTn>
                                        <p:tgtEl>
                                          <p:spTgt spid="9"/>
                                        </p:tgtEl>
                                        <p:attrNameLst>
                                          <p:attrName>style.visibility</p:attrName>
                                        </p:attrNameLst>
                                      </p:cBhvr>
                                      <p:to>
                                        <p:strVal val="visible"/>
                                      </p:to>
                                    </p:set>
                                    <p:animEffect transition="in" filter="fade">
                                      <p:cBhvr>
                                        <p:cTn id="67" dur="500"/>
                                        <p:tgtEl>
                                          <p:spTgt spid="9"/>
                                        </p:tgtEl>
                                      </p:cBhvr>
                                    </p:animEffect>
                                  </p:childTnLst>
                                </p:cTn>
                              </p:par>
                              <p:par>
                                <p:cTn id="68" presetID="10" presetClass="entr" presetSubtype="0" fill="hold" grpId="0" nodeType="withEffect">
                                  <p:stCondLst>
                                    <p:cond delay="0"/>
                                  </p:stCondLst>
                                  <p:childTnLst>
                                    <p:set>
                                      <p:cBhvr>
                                        <p:cTn id="69" dur="1" fill="hold">
                                          <p:stCondLst>
                                            <p:cond delay="0"/>
                                          </p:stCondLst>
                                        </p:cTn>
                                        <p:tgtEl>
                                          <p:spTgt spid="21"/>
                                        </p:tgtEl>
                                        <p:attrNameLst>
                                          <p:attrName>style.visibility</p:attrName>
                                        </p:attrNameLst>
                                      </p:cBhvr>
                                      <p:to>
                                        <p:strVal val="visible"/>
                                      </p:to>
                                    </p:set>
                                    <p:animEffect transition="in" filter="fade">
                                      <p:cBhvr>
                                        <p:cTn id="70" dur="500"/>
                                        <p:tgtEl>
                                          <p:spTgt spid="21"/>
                                        </p:tgtEl>
                                      </p:cBhvr>
                                    </p:animEffect>
                                  </p:childTnLst>
                                </p:cTn>
                              </p:par>
                            </p:childTnLst>
                          </p:cTn>
                        </p:par>
                        <p:par>
                          <p:cTn id="71" fill="hold">
                            <p:stCondLst>
                              <p:cond delay="4500"/>
                            </p:stCondLst>
                            <p:childTnLst>
                              <p:par>
                                <p:cTn id="72" presetID="53" presetClass="entr" presetSubtype="16" fill="hold" grpId="0" nodeType="afterEffect">
                                  <p:stCondLst>
                                    <p:cond delay="0"/>
                                  </p:stCondLst>
                                  <p:childTnLst>
                                    <p:set>
                                      <p:cBhvr>
                                        <p:cTn id="73" dur="1" fill="hold">
                                          <p:stCondLst>
                                            <p:cond delay="0"/>
                                          </p:stCondLst>
                                        </p:cTn>
                                        <p:tgtEl>
                                          <p:spTgt spid="28"/>
                                        </p:tgtEl>
                                        <p:attrNameLst>
                                          <p:attrName>style.visibility</p:attrName>
                                        </p:attrNameLst>
                                      </p:cBhvr>
                                      <p:to>
                                        <p:strVal val="visible"/>
                                      </p:to>
                                    </p:set>
                                    <p:anim calcmode="lin" valueType="num">
                                      <p:cBhvr>
                                        <p:cTn id="74" dur="500" fill="hold"/>
                                        <p:tgtEl>
                                          <p:spTgt spid="28"/>
                                        </p:tgtEl>
                                        <p:attrNameLst>
                                          <p:attrName>ppt_w</p:attrName>
                                        </p:attrNameLst>
                                      </p:cBhvr>
                                      <p:tavLst>
                                        <p:tav tm="0">
                                          <p:val>
                                            <p:fltVal val="0"/>
                                          </p:val>
                                        </p:tav>
                                        <p:tav tm="100000">
                                          <p:val>
                                            <p:strVal val="#ppt_w"/>
                                          </p:val>
                                        </p:tav>
                                      </p:tavLst>
                                    </p:anim>
                                    <p:anim calcmode="lin" valueType="num">
                                      <p:cBhvr>
                                        <p:cTn id="75" dur="500" fill="hold"/>
                                        <p:tgtEl>
                                          <p:spTgt spid="28"/>
                                        </p:tgtEl>
                                        <p:attrNameLst>
                                          <p:attrName>ppt_h</p:attrName>
                                        </p:attrNameLst>
                                      </p:cBhvr>
                                      <p:tavLst>
                                        <p:tav tm="0">
                                          <p:val>
                                            <p:fltVal val="0"/>
                                          </p:val>
                                        </p:tav>
                                        <p:tav tm="100000">
                                          <p:val>
                                            <p:strVal val="#ppt_h"/>
                                          </p:val>
                                        </p:tav>
                                      </p:tavLst>
                                    </p:anim>
                                    <p:animEffect transition="in" filter="fade">
                                      <p:cBhvr>
                                        <p:cTn id="76" dur="500"/>
                                        <p:tgtEl>
                                          <p:spTgt spid="28"/>
                                        </p:tgtEl>
                                      </p:cBhvr>
                                    </p:animEffect>
                                  </p:childTnLst>
                                </p:cTn>
                              </p:par>
                              <p:par>
                                <p:cTn id="77" presetID="53" presetClass="entr" presetSubtype="16" fill="hold" grpId="0" nodeType="withEffect">
                                  <p:stCondLst>
                                    <p:cond delay="0"/>
                                  </p:stCondLst>
                                  <p:childTnLst>
                                    <p:set>
                                      <p:cBhvr>
                                        <p:cTn id="78" dur="1" fill="hold">
                                          <p:stCondLst>
                                            <p:cond delay="0"/>
                                          </p:stCondLst>
                                        </p:cTn>
                                        <p:tgtEl>
                                          <p:spTgt spid="15"/>
                                        </p:tgtEl>
                                        <p:attrNameLst>
                                          <p:attrName>style.visibility</p:attrName>
                                        </p:attrNameLst>
                                      </p:cBhvr>
                                      <p:to>
                                        <p:strVal val="visible"/>
                                      </p:to>
                                    </p:set>
                                    <p:anim calcmode="lin" valueType="num">
                                      <p:cBhvr>
                                        <p:cTn id="79" dur="500" fill="hold"/>
                                        <p:tgtEl>
                                          <p:spTgt spid="15"/>
                                        </p:tgtEl>
                                        <p:attrNameLst>
                                          <p:attrName>ppt_w</p:attrName>
                                        </p:attrNameLst>
                                      </p:cBhvr>
                                      <p:tavLst>
                                        <p:tav tm="0">
                                          <p:val>
                                            <p:fltVal val="0"/>
                                          </p:val>
                                        </p:tav>
                                        <p:tav tm="100000">
                                          <p:val>
                                            <p:strVal val="#ppt_w"/>
                                          </p:val>
                                        </p:tav>
                                      </p:tavLst>
                                    </p:anim>
                                    <p:anim calcmode="lin" valueType="num">
                                      <p:cBhvr>
                                        <p:cTn id="80" dur="500" fill="hold"/>
                                        <p:tgtEl>
                                          <p:spTgt spid="15"/>
                                        </p:tgtEl>
                                        <p:attrNameLst>
                                          <p:attrName>ppt_h</p:attrName>
                                        </p:attrNameLst>
                                      </p:cBhvr>
                                      <p:tavLst>
                                        <p:tav tm="0">
                                          <p:val>
                                            <p:fltVal val="0"/>
                                          </p:val>
                                        </p:tav>
                                        <p:tav tm="100000">
                                          <p:val>
                                            <p:strVal val="#ppt_h"/>
                                          </p:val>
                                        </p:tav>
                                      </p:tavLst>
                                    </p:anim>
                                    <p:animEffect transition="in" filter="fade">
                                      <p:cBhvr>
                                        <p:cTn id="81" dur="500"/>
                                        <p:tgtEl>
                                          <p:spTgt spid="15"/>
                                        </p:tgtEl>
                                      </p:cBhvr>
                                    </p:animEffect>
                                  </p:childTnLst>
                                </p:cTn>
                              </p:par>
                            </p:childTnLst>
                          </p:cTn>
                        </p:par>
                        <p:par>
                          <p:cTn id="82" fill="hold">
                            <p:stCondLst>
                              <p:cond delay="5000"/>
                            </p:stCondLst>
                            <p:childTnLst>
                              <p:par>
                                <p:cTn id="83" presetID="10" presetClass="entr" presetSubtype="0" fill="hold" grpId="0" nodeType="afterEffect">
                                  <p:stCondLst>
                                    <p:cond delay="0"/>
                                  </p:stCondLst>
                                  <p:childTnLst>
                                    <p:set>
                                      <p:cBhvr>
                                        <p:cTn id="84" dur="1" fill="hold">
                                          <p:stCondLst>
                                            <p:cond delay="0"/>
                                          </p:stCondLst>
                                        </p:cTn>
                                        <p:tgtEl>
                                          <p:spTgt spid="8"/>
                                        </p:tgtEl>
                                        <p:attrNameLst>
                                          <p:attrName>style.visibility</p:attrName>
                                        </p:attrNameLst>
                                      </p:cBhvr>
                                      <p:to>
                                        <p:strVal val="visible"/>
                                      </p:to>
                                    </p:set>
                                    <p:animEffect transition="in" filter="fade">
                                      <p:cBhvr>
                                        <p:cTn id="85" dur="500"/>
                                        <p:tgtEl>
                                          <p:spTgt spid="8"/>
                                        </p:tgtEl>
                                      </p:cBhvr>
                                    </p:animEffect>
                                  </p:childTnLst>
                                </p:cTn>
                              </p:par>
                              <p:par>
                                <p:cTn id="86" presetID="10" presetClass="entr" presetSubtype="0" fill="hold" grpId="0" nodeType="withEffect">
                                  <p:stCondLst>
                                    <p:cond delay="0"/>
                                  </p:stCondLst>
                                  <p:childTnLst>
                                    <p:set>
                                      <p:cBhvr>
                                        <p:cTn id="87" dur="1" fill="hold">
                                          <p:stCondLst>
                                            <p:cond delay="0"/>
                                          </p:stCondLst>
                                        </p:cTn>
                                        <p:tgtEl>
                                          <p:spTgt spid="22"/>
                                        </p:tgtEl>
                                        <p:attrNameLst>
                                          <p:attrName>style.visibility</p:attrName>
                                        </p:attrNameLst>
                                      </p:cBhvr>
                                      <p:to>
                                        <p:strVal val="visible"/>
                                      </p:to>
                                    </p:set>
                                    <p:animEffect transition="in" filter="fade">
                                      <p:cBhvr>
                                        <p:cTn id="88" dur="500"/>
                                        <p:tgtEl>
                                          <p:spTgt spid="22"/>
                                        </p:tgtEl>
                                      </p:cBhvr>
                                    </p:animEffect>
                                  </p:childTnLst>
                                </p:cTn>
                              </p:par>
                            </p:childTnLst>
                          </p:cTn>
                        </p:par>
                        <p:par>
                          <p:cTn id="89" fill="hold">
                            <p:stCondLst>
                              <p:cond delay="5500"/>
                            </p:stCondLst>
                            <p:childTnLst>
                              <p:par>
                                <p:cTn id="90" presetID="16" presetClass="entr" presetSubtype="42" fill="hold" grpId="0" nodeType="afterEffect">
                                  <p:stCondLst>
                                    <p:cond delay="0"/>
                                  </p:stCondLst>
                                  <p:childTnLst>
                                    <p:set>
                                      <p:cBhvr>
                                        <p:cTn id="91" dur="1" fill="hold">
                                          <p:stCondLst>
                                            <p:cond delay="0"/>
                                          </p:stCondLst>
                                        </p:cTn>
                                        <p:tgtEl>
                                          <p:spTgt spid="4"/>
                                        </p:tgtEl>
                                        <p:attrNameLst>
                                          <p:attrName>style.visibility</p:attrName>
                                        </p:attrNameLst>
                                      </p:cBhvr>
                                      <p:to>
                                        <p:strVal val="visible"/>
                                      </p:to>
                                    </p:set>
                                    <p:animEffect transition="in" filter="barn(outHorizontal)">
                                      <p:cBhvr>
                                        <p:cTn id="92" dur="500"/>
                                        <p:tgtEl>
                                          <p:spTgt spid="4"/>
                                        </p:tgtEl>
                                      </p:cBhvr>
                                    </p:animEffect>
                                  </p:childTnLst>
                                </p:cTn>
                              </p:par>
                            </p:childTnLst>
                          </p:cTn>
                        </p:par>
                        <p:par>
                          <p:cTn id="93" fill="hold">
                            <p:stCondLst>
                              <p:cond delay="6000"/>
                            </p:stCondLst>
                            <p:childTnLst>
                              <p:par>
                                <p:cTn id="94" presetID="53" presetClass="entr" presetSubtype="16" fill="hold" grpId="0" nodeType="afterEffect">
                                  <p:stCondLst>
                                    <p:cond delay="0"/>
                                  </p:stCondLst>
                                  <p:childTnLst>
                                    <p:set>
                                      <p:cBhvr>
                                        <p:cTn id="95" dur="1" fill="hold">
                                          <p:stCondLst>
                                            <p:cond delay="0"/>
                                          </p:stCondLst>
                                        </p:cTn>
                                        <p:tgtEl>
                                          <p:spTgt spid="29"/>
                                        </p:tgtEl>
                                        <p:attrNameLst>
                                          <p:attrName>style.visibility</p:attrName>
                                        </p:attrNameLst>
                                      </p:cBhvr>
                                      <p:to>
                                        <p:strVal val="visible"/>
                                      </p:to>
                                    </p:set>
                                    <p:anim calcmode="lin" valueType="num">
                                      <p:cBhvr>
                                        <p:cTn id="96" dur="500" fill="hold"/>
                                        <p:tgtEl>
                                          <p:spTgt spid="29"/>
                                        </p:tgtEl>
                                        <p:attrNameLst>
                                          <p:attrName>ppt_w</p:attrName>
                                        </p:attrNameLst>
                                      </p:cBhvr>
                                      <p:tavLst>
                                        <p:tav tm="0">
                                          <p:val>
                                            <p:fltVal val="0"/>
                                          </p:val>
                                        </p:tav>
                                        <p:tav tm="100000">
                                          <p:val>
                                            <p:strVal val="#ppt_w"/>
                                          </p:val>
                                        </p:tav>
                                      </p:tavLst>
                                    </p:anim>
                                    <p:anim calcmode="lin" valueType="num">
                                      <p:cBhvr>
                                        <p:cTn id="97" dur="500" fill="hold"/>
                                        <p:tgtEl>
                                          <p:spTgt spid="29"/>
                                        </p:tgtEl>
                                        <p:attrNameLst>
                                          <p:attrName>ppt_h</p:attrName>
                                        </p:attrNameLst>
                                      </p:cBhvr>
                                      <p:tavLst>
                                        <p:tav tm="0">
                                          <p:val>
                                            <p:fltVal val="0"/>
                                          </p:val>
                                        </p:tav>
                                        <p:tav tm="100000">
                                          <p:val>
                                            <p:strVal val="#ppt_h"/>
                                          </p:val>
                                        </p:tav>
                                      </p:tavLst>
                                    </p:anim>
                                    <p:animEffect transition="in" filter="fade">
                                      <p:cBhvr>
                                        <p:cTn id="98" dur="500"/>
                                        <p:tgtEl>
                                          <p:spTgt spid="29"/>
                                        </p:tgtEl>
                                      </p:cBhvr>
                                    </p:animEffect>
                                  </p:childTnLst>
                                </p:cTn>
                              </p:par>
                              <p:par>
                                <p:cTn id="99" presetID="53" presetClass="entr" presetSubtype="16" fill="hold" grpId="0" nodeType="withEffect">
                                  <p:stCondLst>
                                    <p:cond delay="0"/>
                                  </p:stCondLst>
                                  <p:childTnLst>
                                    <p:set>
                                      <p:cBhvr>
                                        <p:cTn id="100" dur="1" fill="hold">
                                          <p:stCondLst>
                                            <p:cond delay="0"/>
                                          </p:stCondLst>
                                        </p:cTn>
                                        <p:tgtEl>
                                          <p:spTgt spid="18"/>
                                        </p:tgtEl>
                                        <p:attrNameLst>
                                          <p:attrName>style.visibility</p:attrName>
                                        </p:attrNameLst>
                                      </p:cBhvr>
                                      <p:to>
                                        <p:strVal val="visible"/>
                                      </p:to>
                                    </p:set>
                                    <p:anim calcmode="lin" valueType="num">
                                      <p:cBhvr>
                                        <p:cTn id="101" dur="500" fill="hold"/>
                                        <p:tgtEl>
                                          <p:spTgt spid="18"/>
                                        </p:tgtEl>
                                        <p:attrNameLst>
                                          <p:attrName>ppt_w</p:attrName>
                                        </p:attrNameLst>
                                      </p:cBhvr>
                                      <p:tavLst>
                                        <p:tav tm="0">
                                          <p:val>
                                            <p:fltVal val="0"/>
                                          </p:val>
                                        </p:tav>
                                        <p:tav tm="100000">
                                          <p:val>
                                            <p:strVal val="#ppt_w"/>
                                          </p:val>
                                        </p:tav>
                                      </p:tavLst>
                                    </p:anim>
                                    <p:anim calcmode="lin" valueType="num">
                                      <p:cBhvr>
                                        <p:cTn id="102" dur="500" fill="hold"/>
                                        <p:tgtEl>
                                          <p:spTgt spid="18"/>
                                        </p:tgtEl>
                                        <p:attrNameLst>
                                          <p:attrName>ppt_h</p:attrName>
                                        </p:attrNameLst>
                                      </p:cBhvr>
                                      <p:tavLst>
                                        <p:tav tm="0">
                                          <p:val>
                                            <p:fltVal val="0"/>
                                          </p:val>
                                        </p:tav>
                                        <p:tav tm="100000">
                                          <p:val>
                                            <p:strVal val="#ppt_h"/>
                                          </p:val>
                                        </p:tav>
                                      </p:tavLst>
                                    </p:anim>
                                    <p:animEffect transition="in" filter="fade">
                                      <p:cBhvr>
                                        <p:cTn id="103" dur="500"/>
                                        <p:tgtEl>
                                          <p:spTgt spid="18"/>
                                        </p:tgtEl>
                                      </p:cBhvr>
                                    </p:animEffect>
                                  </p:childTnLst>
                                </p:cTn>
                              </p:par>
                            </p:childTnLst>
                          </p:cTn>
                        </p:par>
                        <p:par>
                          <p:cTn id="104" fill="hold">
                            <p:stCondLst>
                              <p:cond delay="6500"/>
                            </p:stCondLst>
                            <p:childTnLst>
                              <p:par>
                                <p:cTn id="105" presetID="10" presetClass="entr" presetSubtype="0" fill="hold" grpId="0" nodeType="afterEffect">
                                  <p:stCondLst>
                                    <p:cond delay="0"/>
                                  </p:stCondLst>
                                  <p:childTnLst>
                                    <p:set>
                                      <p:cBhvr>
                                        <p:cTn id="106" dur="1" fill="hold">
                                          <p:stCondLst>
                                            <p:cond delay="0"/>
                                          </p:stCondLst>
                                        </p:cTn>
                                        <p:tgtEl>
                                          <p:spTgt spid="23"/>
                                        </p:tgtEl>
                                        <p:attrNameLst>
                                          <p:attrName>style.visibility</p:attrName>
                                        </p:attrNameLst>
                                      </p:cBhvr>
                                      <p:to>
                                        <p:strVal val="visible"/>
                                      </p:to>
                                    </p:set>
                                    <p:animEffect transition="in" filter="fade">
                                      <p:cBhvr>
                                        <p:cTn id="107" dur="500"/>
                                        <p:tgtEl>
                                          <p:spTgt spid="23"/>
                                        </p:tgtEl>
                                      </p:cBhvr>
                                    </p:animEffect>
                                  </p:childTnLst>
                                </p:cTn>
                              </p:par>
                              <p:par>
                                <p:cTn id="108" presetID="10" presetClass="entr" presetSubtype="0" fill="hold" grpId="0" nodeType="withEffect">
                                  <p:stCondLst>
                                    <p:cond delay="0"/>
                                  </p:stCondLst>
                                  <p:childTnLst>
                                    <p:set>
                                      <p:cBhvr>
                                        <p:cTn id="109" dur="1" fill="hold">
                                          <p:stCondLst>
                                            <p:cond delay="0"/>
                                          </p:stCondLst>
                                        </p:cTn>
                                        <p:tgtEl>
                                          <p:spTgt spid="11"/>
                                        </p:tgtEl>
                                        <p:attrNameLst>
                                          <p:attrName>style.visibility</p:attrName>
                                        </p:attrNameLst>
                                      </p:cBhvr>
                                      <p:to>
                                        <p:strVal val="visible"/>
                                      </p:to>
                                    </p:set>
                                    <p:animEffect transition="in" filter="fade">
                                      <p:cBhvr>
                                        <p:cTn id="110" dur="500"/>
                                        <p:tgtEl>
                                          <p:spTgt spid="11"/>
                                        </p:tgtEl>
                                      </p:cBhvr>
                                    </p:animEffect>
                                  </p:childTnLst>
                                </p:cTn>
                              </p:par>
                            </p:childTnLst>
                          </p:cTn>
                        </p:par>
                        <p:par>
                          <p:cTn id="111" fill="hold">
                            <p:stCondLst>
                              <p:cond delay="7000"/>
                            </p:stCondLst>
                            <p:childTnLst>
                              <p:par>
                                <p:cTn id="112" presetID="53" presetClass="entr" presetSubtype="16" fill="hold" grpId="0" nodeType="afterEffect">
                                  <p:stCondLst>
                                    <p:cond delay="0"/>
                                  </p:stCondLst>
                                  <p:childTnLst>
                                    <p:set>
                                      <p:cBhvr>
                                        <p:cTn id="113" dur="1" fill="hold">
                                          <p:stCondLst>
                                            <p:cond delay="0"/>
                                          </p:stCondLst>
                                        </p:cTn>
                                        <p:tgtEl>
                                          <p:spTgt spid="30"/>
                                        </p:tgtEl>
                                        <p:attrNameLst>
                                          <p:attrName>style.visibility</p:attrName>
                                        </p:attrNameLst>
                                      </p:cBhvr>
                                      <p:to>
                                        <p:strVal val="visible"/>
                                      </p:to>
                                    </p:set>
                                    <p:anim calcmode="lin" valueType="num">
                                      <p:cBhvr>
                                        <p:cTn id="114" dur="500" fill="hold"/>
                                        <p:tgtEl>
                                          <p:spTgt spid="30"/>
                                        </p:tgtEl>
                                        <p:attrNameLst>
                                          <p:attrName>ppt_w</p:attrName>
                                        </p:attrNameLst>
                                      </p:cBhvr>
                                      <p:tavLst>
                                        <p:tav tm="0">
                                          <p:val>
                                            <p:fltVal val="0"/>
                                          </p:val>
                                        </p:tav>
                                        <p:tav tm="100000">
                                          <p:val>
                                            <p:strVal val="#ppt_w"/>
                                          </p:val>
                                        </p:tav>
                                      </p:tavLst>
                                    </p:anim>
                                    <p:anim calcmode="lin" valueType="num">
                                      <p:cBhvr>
                                        <p:cTn id="115" dur="500" fill="hold"/>
                                        <p:tgtEl>
                                          <p:spTgt spid="30"/>
                                        </p:tgtEl>
                                        <p:attrNameLst>
                                          <p:attrName>ppt_h</p:attrName>
                                        </p:attrNameLst>
                                      </p:cBhvr>
                                      <p:tavLst>
                                        <p:tav tm="0">
                                          <p:val>
                                            <p:fltVal val="0"/>
                                          </p:val>
                                        </p:tav>
                                        <p:tav tm="100000">
                                          <p:val>
                                            <p:strVal val="#ppt_h"/>
                                          </p:val>
                                        </p:tav>
                                      </p:tavLst>
                                    </p:anim>
                                    <p:animEffect transition="in" filter="fade">
                                      <p:cBhvr>
                                        <p:cTn id="116" dur="500"/>
                                        <p:tgtEl>
                                          <p:spTgt spid="30"/>
                                        </p:tgtEl>
                                      </p:cBhvr>
                                    </p:animEffect>
                                  </p:childTnLst>
                                </p:cTn>
                              </p:par>
                              <p:par>
                                <p:cTn id="117" presetID="53" presetClass="entr" presetSubtype="16" fill="hold" grpId="0" nodeType="withEffect">
                                  <p:stCondLst>
                                    <p:cond delay="0"/>
                                  </p:stCondLst>
                                  <p:childTnLst>
                                    <p:set>
                                      <p:cBhvr>
                                        <p:cTn id="118" dur="1" fill="hold">
                                          <p:stCondLst>
                                            <p:cond delay="0"/>
                                          </p:stCondLst>
                                        </p:cTn>
                                        <p:tgtEl>
                                          <p:spTgt spid="17"/>
                                        </p:tgtEl>
                                        <p:attrNameLst>
                                          <p:attrName>style.visibility</p:attrName>
                                        </p:attrNameLst>
                                      </p:cBhvr>
                                      <p:to>
                                        <p:strVal val="visible"/>
                                      </p:to>
                                    </p:set>
                                    <p:anim calcmode="lin" valueType="num">
                                      <p:cBhvr>
                                        <p:cTn id="119" dur="500" fill="hold"/>
                                        <p:tgtEl>
                                          <p:spTgt spid="17"/>
                                        </p:tgtEl>
                                        <p:attrNameLst>
                                          <p:attrName>ppt_w</p:attrName>
                                        </p:attrNameLst>
                                      </p:cBhvr>
                                      <p:tavLst>
                                        <p:tav tm="0">
                                          <p:val>
                                            <p:fltVal val="0"/>
                                          </p:val>
                                        </p:tav>
                                        <p:tav tm="100000">
                                          <p:val>
                                            <p:strVal val="#ppt_w"/>
                                          </p:val>
                                        </p:tav>
                                      </p:tavLst>
                                    </p:anim>
                                    <p:anim calcmode="lin" valueType="num">
                                      <p:cBhvr>
                                        <p:cTn id="120" dur="500" fill="hold"/>
                                        <p:tgtEl>
                                          <p:spTgt spid="17"/>
                                        </p:tgtEl>
                                        <p:attrNameLst>
                                          <p:attrName>ppt_h</p:attrName>
                                        </p:attrNameLst>
                                      </p:cBhvr>
                                      <p:tavLst>
                                        <p:tav tm="0">
                                          <p:val>
                                            <p:fltVal val="0"/>
                                          </p:val>
                                        </p:tav>
                                        <p:tav tm="100000">
                                          <p:val>
                                            <p:strVal val="#ppt_h"/>
                                          </p:val>
                                        </p:tav>
                                      </p:tavLst>
                                    </p:anim>
                                    <p:animEffect transition="in" filter="fade">
                                      <p:cBhvr>
                                        <p:cTn id="121" dur="500"/>
                                        <p:tgtEl>
                                          <p:spTgt spid="17"/>
                                        </p:tgtEl>
                                      </p:cBhvr>
                                    </p:animEffect>
                                  </p:childTnLst>
                                </p:cTn>
                              </p:par>
                            </p:childTnLst>
                          </p:cTn>
                        </p:par>
                        <p:par>
                          <p:cTn id="122" fill="hold">
                            <p:stCondLst>
                              <p:cond delay="7500"/>
                            </p:stCondLst>
                            <p:childTnLst>
                              <p:par>
                                <p:cTn id="123" presetID="10" presetClass="entr" presetSubtype="0" fill="hold" grpId="0" nodeType="afterEffect">
                                  <p:stCondLst>
                                    <p:cond delay="0"/>
                                  </p:stCondLst>
                                  <p:childTnLst>
                                    <p:set>
                                      <p:cBhvr>
                                        <p:cTn id="124" dur="1" fill="hold">
                                          <p:stCondLst>
                                            <p:cond delay="0"/>
                                          </p:stCondLst>
                                        </p:cTn>
                                        <p:tgtEl>
                                          <p:spTgt spid="24"/>
                                        </p:tgtEl>
                                        <p:attrNameLst>
                                          <p:attrName>style.visibility</p:attrName>
                                        </p:attrNameLst>
                                      </p:cBhvr>
                                      <p:to>
                                        <p:strVal val="visible"/>
                                      </p:to>
                                    </p:set>
                                    <p:animEffect transition="in" filter="fade">
                                      <p:cBhvr>
                                        <p:cTn id="125" dur="500"/>
                                        <p:tgtEl>
                                          <p:spTgt spid="24"/>
                                        </p:tgtEl>
                                      </p:cBhvr>
                                    </p:animEffect>
                                  </p:childTnLst>
                                </p:cTn>
                              </p:par>
                              <p:par>
                                <p:cTn id="126" presetID="10" presetClass="entr" presetSubtype="0" fill="hold" grpId="0" nodeType="withEffect">
                                  <p:stCondLst>
                                    <p:cond delay="0"/>
                                  </p:stCondLst>
                                  <p:childTnLst>
                                    <p:set>
                                      <p:cBhvr>
                                        <p:cTn id="127" dur="1" fill="hold">
                                          <p:stCondLst>
                                            <p:cond delay="0"/>
                                          </p:stCondLst>
                                        </p:cTn>
                                        <p:tgtEl>
                                          <p:spTgt spid="10"/>
                                        </p:tgtEl>
                                        <p:attrNameLst>
                                          <p:attrName>style.visibility</p:attrName>
                                        </p:attrNameLst>
                                      </p:cBhvr>
                                      <p:to>
                                        <p:strVal val="visible"/>
                                      </p:to>
                                    </p:set>
                                    <p:animEffect transition="in" filter="fade">
                                      <p:cBhvr>
                                        <p:cTn id="128" dur="500"/>
                                        <p:tgtEl>
                                          <p:spTgt spid="10"/>
                                        </p:tgtEl>
                                      </p:cBhvr>
                                    </p:animEffect>
                                  </p:childTnLst>
                                </p:cTn>
                              </p:par>
                            </p:childTnLst>
                          </p:cTn>
                        </p:par>
                        <p:par>
                          <p:cTn id="129" fill="hold">
                            <p:stCondLst>
                              <p:cond delay="8000"/>
                            </p:stCondLst>
                            <p:childTnLst>
                              <p:par>
                                <p:cTn id="130" presetID="53" presetClass="entr" presetSubtype="16" fill="hold" grpId="0" nodeType="afterEffect">
                                  <p:stCondLst>
                                    <p:cond delay="0"/>
                                  </p:stCondLst>
                                  <p:childTnLst>
                                    <p:set>
                                      <p:cBhvr>
                                        <p:cTn id="131" dur="1" fill="hold">
                                          <p:stCondLst>
                                            <p:cond delay="0"/>
                                          </p:stCondLst>
                                        </p:cTn>
                                        <p:tgtEl>
                                          <p:spTgt spid="12"/>
                                        </p:tgtEl>
                                        <p:attrNameLst>
                                          <p:attrName>style.visibility</p:attrName>
                                        </p:attrNameLst>
                                      </p:cBhvr>
                                      <p:to>
                                        <p:strVal val="visible"/>
                                      </p:to>
                                    </p:set>
                                    <p:anim calcmode="lin" valueType="num">
                                      <p:cBhvr>
                                        <p:cTn id="132" dur="500" fill="hold"/>
                                        <p:tgtEl>
                                          <p:spTgt spid="12"/>
                                        </p:tgtEl>
                                        <p:attrNameLst>
                                          <p:attrName>ppt_w</p:attrName>
                                        </p:attrNameLst>
                                      </p:cBhvr>
                                      <p:tavLst>
                                        <p:tav tm="0">
                                          <p:val>
                                            <p:fltVal val="0"/>
                                          </p:val>
                                        </p:tav>
                                        <p:tav tm="100000">
                                          <p:val>
                                            <p:strVal val="#ppt_w"/>
                                          </p:val>
                                        </p:tav>
                                      </p:tavLst>
                                    </p:anim>
                                    <p:anim calcmode="lin" valueType="num">
                                      <p:cBhvr>
                                        <p:cTn id="133" dur="500" fill="hold"/>
                                        <p:tgtEl>
                                          <p:spTgt spid="12"/>
                                        </p:tgtEl>
                                        <p:attrNameLst>
                                          <p:attrName>ppt_h</p:attrName>
                                        </p:attrNameLst>
                                      </p:cBhvr>
                                      <p:tavLst>
                                        <p:tav tm="0">
                                          <p:val>
                                            <p:fltVal val="0"/>
                                          </p:val>
                                        </p:tav>
                                        <p:tav tm="100000">
                                          <p:val>
                                            <p:strVal val="#ppt_h"/>
                                          </p:val>
                                        </p:tav>
                                      </p:tavLst>
                                    </p:anim>
                                    <p:animEffect transition="in" filter="fade">
                                      <p:cBhvr>
                                        <p:cTn id="134"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3" grpId="0" animBg="1"/>
      <p:bldP spid="4" grpId="0" animBg="1"/>
      <p:bldP spid="5" grpId="0" animBg="1"/>
      <p:bldP spid="6" grpId="0"/>
      <p:bldP spid="7" grpId="0"/>
      <p:bldP spid="8" grpId="0"/>
      <p:bldP spid="9" grpId="0"/>
      <p:bldP spid="10" grpId="0"/>
      <p:bldP spid="11" grpId="0"/>
      <p:bldP spid="12" grpId="0"/>
      <p:bldP spid="13" grpId="0" animBg="1"/>
      <p:bldP spid="14" grpId="0" animBg="1"/>
      <p:bldP spid="15" grpId="0" animBg="1"/>
      <p:bldP spid="16" grpId="0" animBg="1"/>
      <p:bldP spid="17" grpId="0" animBg="1"/>
      <p:bldP spid="18" grpId="0" animBg="1"/>
      <p:bldP spid="19" grpId="0"/>
      <p:bldP spid="20" grpId="0"/>
      <p:bldP spid="21" grpId="0"/>
      <p:bldP spid="22" grpId="0"/>
      <p:bldP spid="23" grpId="0"/>
      <p:bldP spid="24" grpId="0"/>
      <p:bldP spid="25" grpId="0" animBg="1"/>
      <p:bldP spid="26" grpId="0" animBg="1"/>
      <p:bldP spid="27" grpId="0" animBg="1"/>
      <p:bldP spid="28" grpId="0" animBg="1"/>
      <p:bldP spid="29" grpId="0" animBg="1"/>
      <p:bldP spid="30" grpId="0" animBg="1"/>
    </p:bldLst>
  </p:timing>
</p:sld>
</file>

<file path=ppt/slides/slide7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8" name="Group 2">
            <a:extLst>
              <a:ext uri="{FF2B5EF4-FFF2-40B4-BE49-F238E27FC236}">
                <a16:creationId xmlns:a16="http://schemas.microsoft.com/office/drawing/2014/main" id="{5E9FEAB2-8429-4002-93A2-FD8947472D43}"/>
              </a:ext>
            </a:extLst>
          </p:cNvPr>
          <p:cNvGrpSpPr/>
          <p:nvPr/>
        </p:nvGrpSpPr>
        <p:grpSpPr>
          <a:xfrm>
            <a:off x="1177031" y="2256419"/>
            <a:ext cx="9837938" cy="2292350"/>
            <a:chOff x="1177031" y="2751001"/>
            <a:chExt cx="9837938" cy="2292350"/>
          </a:xfrm>
        </p:grpSpPr>
        <p:sp>
          <p:nvSpPr>
            <p:cNvPr id="179" name="Freeform 5">
              <a:extLst>
                <a:ext uri="{FF2B5EF4-FFF2-40B4-BE49-F238E27FC236}">
                  <a16:creationId xmlns:a16="http://schemas.microsoft.com/office/drawing/2014/main" id="{8BF625B1-70D3-4285-8123-DE6AD743C6D3}"/>
                </a:ext>
              </a:extLst>
            </p:cNvPr>
            <p:cNvSpPr>
              <a:spLocks/>
            </p:cNvSpPr>
            <p:nvPr/>
          </p:nvSpPr>
          <p:spPr bwMode="auto">
            <a:xfrm>
              <a:off x="1177031" y="2751001"/>
              <a:ext cx="1271588" cy="2292350"/>
            </a:xfrm>
            <a:custGeom>
              <a:avLst/>
              <a:gdLst>
                <a:gd name="T0" fmla="*/ 801 w 801"/>
                <a:gd name="T1" fmla="*/ 720 h 1444"/>
                <a:gd name="T2" fmla="*/ 0 w 801"/>
                <a:gd name="T3" fmla="*/ 1444 h 1444"/>
                <a:gd name="T4" fmla="*/ 191 w 801"/>
                <a:gd name="T5" fmla="*/ 722 h 1444"/>
                <a:gd name="T6" fmla="*/ 19 w 801"/>
                <a:gd name="T7" fmla="*/ 0 h 1444"/>
                <a:gd name="T8" fmla="*/ 801 w 801"/>
                <a:gd name="T9" fmla="*/ 720 h 1444"/>
              </a:gdLst>
              <a:ahLst/>
              <a:cxnLst>
                <a:cxn ang="0">
                  <a:pos x="T0" y="T1"/>
                </a:cxn>
                <a:cxn ang="0">
                  <a:pos x="T2" y="T3"/>
                </a:cxn>
                <a:cxn ang="0">
                  <a:pos x="T4" y="T5"/>
                </a:cxn>
                <a:cxn ang="0">
                  <a:pos x="T6" y="T7"/>
                </a:cxn>
                <a:cxn ang="0">
                  <a:pos x="T8" y="T9"/>
                </a:cxn>
              </a:cxnLst>
              <a:rect l="0" t="0" r="r" b="b"/>
              <a:pathLst>
                <a:path w="801" h="1444">
                  <a:moveTo>
                    <a:pt x="801" y="720"/>
                  </a:moveTo>
                  <a:lnTo>
                    <a:pt x="0" y="1444"/>
                  </a:lnTo>
                  <a:lnTo>
                    <a:pt x="191" y="722"/>
                  </a:lnTo>
                  <a:lnTo>
                    <a:pt x="19" y="0"/>
                  </a:lnTo>
                  <a:lnTo>
                    <a:pt x="801" y="720"/>
                  </a:lnTo>
                  <a:close/>
                </a:path>
              </a:pathLst>
            </a:custGeom>
            <a:solidFill>
              <a:schemeClr val="accent1">
                <a:lumMod val="60000"/>
                <a:lumOff val="40000"/>
              </a:schemeClr>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cs typeface="+mn-ea"/>
                <a:sym typeface="+mn-lt"/>
              </a:endParaRPr>
            </a:p>
          </p:txBody>
        </p:sp>
        <p:sp>
          <p:nvSpPr>
            <p:cNvPr id="180" name="Rectangle 15">
              <a:extLst>
                <a:ext uri="{FF2B5EF4-FFF2-40B4-BE49-F238E27FC236}">
                  <a16:creationId xmlns:a16="http://schemas.microsoft.com/office/drawing/2014/main" id="{726D1A90-67F9-4F65-891F-05BD2A50C583}"/>
                </a:ext>
              </a:extLst>
            </p:cNvPr>
            <p:cNvSpPr/>
            <p:nvPr/>
          </p:nvSpPr>
          <p:spPr>
            <a:xfrm flipV="1">
              <a:off x="2340427" y="3870771"/>
              <a:ext cx="7687525" cy="52811"/>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cs typeface="+mn-ea"/>
                <a:sym typeface="+mn-lt"/>
              </a:endParaRPr>
            </a:p>
          </p:txBody>
        </p:sp>
        <p:sp>
          <p:nvSpPr>
            <p:cNvPr id="181" name="Teardrop 8">
              <a:extLst>
                <a:ext uri="{FF2B5EF4-FFF2-40B4-BE49-F238E27FC236}">
                  <a16:creationId xmlns:a16="http://schemas.microsoft.com/office/drawing/2014/main" id="{B9C9B384-D9F2-422B-9A25-A0980C64C715}"/>
                </a:ext>
              </a:extLst>
            </p:cNvPr>
            <p:cNvSpPr/>
            <p:nvPr/>
          </p:nvSpPr>
          <p:spPr>
            <a:xfrm rot="2626142">
              <a:off x="9792140" y="3285762"/>
              <a:ext cx="1222829" cy="1222829"/>
            </a:xfrm>
            <a:prstGeom prst="teardrop">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cs typeface="+mn-ea"/>
                <a:sym typeface="+mn-lt"/>
              </a:endParaRPr>
            </a:p>
          </p:txBody>
        </p:sp>
      </p:grpSp>
      <p:sp useBgFill="1">
        <p:nvSpPr>
          <p:cNvPr id="182" name="Oval 17">
            <a:extLst>
              <a:ext uri="{FF2B5EF4-FFF2-40B4-BE49-F238E27FC236}">
                <a16:creationId xmlns:a16="http://schemas.microsoft.com/office/drawing/2014/main" id="{75FB961C-7260-4F08-8C00-73149CC4C946}"/>
              </a:ext>
            </a:extLst>
          </p:cNvPr>
          <p:cNvSpPr/>
          <p:nvPr/>
        </p:nvSpPr>
        <p:spPr>
          <a:xfrm>
            <a:off x="10506475" y="3060515"/>
            <a:ext cx="283029" cy="28302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cs typeface="+mn-ea"/>
              <a:sym typeface="+mn-lt"/>
            </a:endParaRPr>
          </a:p>
        </p:txBody>
      </p:sp>
      <p:sp>
        <p:nvSpPr>
          <p:cNvPr id="183" name="Oval 18">
            <a:extLst>
              <a:ext uri="{FF2B5EF4-FFF2-40B4-BE49-F238E27FC236}">
                <a16:creationId xmlns:a16="http://schemas.microsoft.com/office/drawing/2014/main" id="{9D775124-0EC3-4494-AA03-FE5295CC2E2D}"/>
              </a:ext>
            </a:extLst>
          </p:cNvPr>
          <p:cNvSpPr/>
          <p:nvPr/>
        </p:nvSpPr>
        <p:spPr>
          <a:xfrm>
            <a:off x="10605522" y="3104112"/>
            <a:ext cx="141514" cy="141514"/>
          </a:xfrm>
          <a:prstGeom prst="ellips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cs typeface="+mn-ea"/>
              <a:sym typeface="+mn-lt"/>
            </a:endParaRPr>
          </a:p>
        </p:txBody>
      </p:sp>
      <p:sp>
        <p:nvSpPr>
          <p:cNvPr id="184" name="Oval 12">
            <a:extLst>
              <a:ext uri="{FF2B5EF4-FFF2-40B4-BE49-F238E27FC236}">
                <a16:creationId xmlns:a16="http://schemas.microsoft.com/office/drawing/2014/main" id="{56823F8E-9DA4-43AB-869F-0A6978C71B83}"/>
              </a:ext>
            </a:extLst>
          </p:cNvPr>
          <p:cNvSpPr/>
          <p:nvPr/>
        </p:nvSpPr>
        <p:spPr>
          <a:xfrm>
            <a:off x="2900720" y="3048808"/>
            <a:ext cx="640080" cy="640080"/>
          </a:xfrm>
          <a:prstGeom prst="ellipse">
            <a:avLst/>
          </a:prstGeom>
          <a:solidFill>
            <a:schemeClr val="accent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cs typeface="+mn-ea"/>
              <a:sym typeface="+mn-lt"/>
            </a:endParaRPr>
          </a:p>
        </p:txBody>
      </p:sp>
      <p:sp>
        <p:nvSpPr>
          <p:cNvPr id="185" name="Oval 11">
            <a:extLst>
              <a:ext uri="{FF2B5EF4-FFF2-40B4-BE49-F238E27FC236}">
                <a16:creationId xmlns:a16="http://schemas.microsoft.com/office/drawing/2014/main" id="{4A080595-C125-422B-A136-859F4D1DE867}"/>
              </a:ext>
            </a:extLst>
          </p:cNvPr>
          <p:cNvSpPr/>
          <p:nvPr/>
        </p:nvSpPr>
        <p:spPr>
          <a:xfrm>
            <a:off x="4767237" y="3048808"/>
            <a:ext cx="640080" cy="640080"/>
          </a:xfrm>
          <a:prstGeom prst="ellipse">
            <a:avLst/>
          </a:prstGeom>
          <a:solidFill>
            <a:schemeClr val="accent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cs typeface="+mn-ea"/>
              <a:sym typeface="+mn-lt"/>
            </a:endParaRPr>
          </a:p>
        </p:txBody>
      </p:sp>
      <p:sp>
        <p:nvSpPr>
          <p:cNvPr id="186" name="Oval 13">
            <a:extLst>
              <a:ext uri="{FF2B5EF4-FFF2-40B4-BE49-F238E27FC236}">
                <a16:creationId xmlns:a16="http://schemas.microsoft.com/office/drawing/2014/main" id="{5A117824-99BB-4C95-8C68-EF4863436A58}"/>
              </a:ext>
            </a:extLst>
          </p:cNvPr>
          <p:cNvSpPr/>
          <p:nvPr/>
        </p:nvSpPr>
        <p:spPr>
          <a:xfrm>
            <a:off x="6666461" y="3048808"/>
            <a:ext cx="640080" cy="640080"/>
          </a:xfrm>
          <a:prstGeom prst="ellipse">
            <a:avLst/>
          </a:prstGeom>
          <a:solidFill>
            <a:schemeClr val="accent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cs typeface="+mn-ea"/>
              <a:sym typeface="+mn-lt"/>
            </a:endParaRPr>
          </a:p>
        </p:txBody>
      </p:sp>
      <p:sp>
        <p:nvSpPr>
          <p:cNvPr id="187" name="Oval 23">
            <a:extLst>
              <a:ext uri="{FF2B5EF4-FFF2-40B4-BE49-F238E27FC236}">
                <a16:creationId xmlns:a16="http://schemas.microsoft.com/office/drawing/2014/main" id="{9AF9C3F7-50ED-41A5-B405-00C7EDBE09C8}"/>
              </a:ext>
            </a:extLst>
          </p:cNvPr>
          <p:cNvSpPr/>
          <p:nvPr/>
        </p:nvSpPr>
        <p:spPr>
          <a:xfrm>
            <a:off x="8560541" y="3048808"/>
            <a:ext cx="640080" cy="640080"/>
          </a:xfrm>
          <a:prstGeom prst="ellipse">
            <a:avLst/>
          </a:prstGeom>
          <a:solidFill>
            <a:schemeClr val="accent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cs typeface="+mn-ea"/>
              <a:sym typeface="+mn-lt"/>
            </a:endParaRPr>
          </a:p>
        </p:txBody>
      </p:sp>
      <p:cxnSp>
        <p:nvCxnSpPr>
          <p:cNvPr id="188" name="Straight Connector 27">
            <a:extLst>
              <a:ext uri="{FF2B5EF4-FFF2-40B4-BE49-F238E27FC236}">
                <a16:creationId xmlns:a16="http://schemas.microsoft.com/office/drawing/2014/main" id="{3F8CF12B-9110-446E-8954-19E992BAFDF4}"/>
              </a:ext>
            </a:extLst>
          </p:cNvPr>
          <p:cNvCxnSpPr>
            <a:stCxn id="184" idx="2"/>
          </p:cNvCxnSpPr>
          <p:nvPr/>
        </p:nvCxnSpPr>
        <p:spPr>
          <a:xfrm>
            <a:off x="2900720" y="3368848"/>
            <a:ext cx="948375" cy="2004468"/>
          </a:xfrm>
          <a:prstGeom prst="line">
            <a:avLst/>
          </a:prstGeom>
          <a:ln w="19050">
            <a:solidFill>
              <a:schemeClr val="accent1">
                <a:lumMod val="100000"/>
              </a:schemeClr>
            </a:solidFill>
          </a:ln>
        </p:spPr>
        <p:style>
          <a:lnRef idx="1">
            <a:schemeClr val="accent1"/>
          </a:lnRef>
          <a:fillRef idx="0">
            <a:schemeClr val="accent1"/>
          </a:fillRef>
          <a:effectRef idx="0">
            <a:schemeClr val="accent1"/>
          </a:effectRef>
          <a:fontRef idx="minor">
            <a:schemeClr val="tx1"/>
          </a:fontRef>
        </p:style>
      </p:cxnSp>
      <p:cxnSp>
        <p:nvCxnSpPr>
          <p:cNvPr id="189" name="Straight Connector 28">
            <a:extLst>
              <a:ext uri="{FF2B5EF4-FFF2-40B4-BE49-F238E27FC236}">
                <a16:creationId xmlns:a16="http://schemas.microsoft.com/office/drawing/2014/main" id="{355DF69A-9788-4AEA-81DD-1566352F6BF8}"/>
              </a:ext>
            </a:extLst>
          </p:cNvPr>
          <p:cNvCxnSpPr/>
          <p:nvPr/>
        </p:nvCxnSpPr>
        <p:spPr>
          <a:xfrm>
            <a:off x="6704562" y="3376189"/>
            <a:ext cx="966375" cy="2078163"/>
          </a:xfrm>
          <a:prstGeom prst="line">
            <a:avLst/>
          </a:prstGeom>
          <a:ln w="19050">
            <a:solidFill>
              <a:schemeClr val="accent1">
                <a:lumMod val="100000"/>
              </a:schemeClr>
            </a:solidFill>
          </a:ln>
        </p:spPr>
        <p:style>
          <a:lnRef idx="1">
            <a:schemeClr val="accent1"/>
          </a:lnRef>
          <a:fillRef idx="0">
            <a:schemeClr val="accent1"/>
          </a:fillRef>
          <a:effectRef idx="0">
            <a:schemeClr val="accent1"/>
          </a:effectRef>
          <a:fontRef idx="minor">
            <a:schemeClr val="tx1"/>
          </a:fontRef>
        </p:style>
      </p:cxnSp>
      <p:cxnSp>
        <p:nvCxnSpPr>
          <p:cNvPr id="190" name="Straight Connector 29">
            <a:extLst>
              <a:ext uri="{FF2B5EF4-FFF2-40B4-BE49-F238E27FC236}">
                <a16:creationId xmlns:a16="http://schemas.microsoft.com/office/drawing/2014/main" id="{FA781ADB-A3C1-4023-93BF-D02DE4B0A9AE}"/>
              </a:ext>
            </a:extLst>
          </p:cNvPr>
          <p:cNvCxnSpPr/>
          <p:nvPr/>
        </p:nvCxnSpPr>
        <p:spPr>
          <a:xfrm>
            <a:off x="4434240" y="1357911"/>
            <a:ext cx="953239" cy="2049914"/>
          </a:xfrm>
          <a:prstGeom prst="line">
            <a:avLst/>
          </a:prstGeom>
          <a:ln w="19050">
            <a:solidFill>
              <a:schemeClr val="accent1">
                <a:lumMod val="100000"/>
              </a:schemeClr>
            </a:solidFill>
          </a:ln>
        </p:spPr>
        <p:style>
          <a:lnRef idx="1">
            <a:schemeClr val="accent1"/>
          </a:lnRef>
          <a:fillRef idx="0">
            <a:schemeClr val="accent1"/>
          </a:fillRef>
          <a:effectRef idx="0">
            <a:schemeClr val="accent1"/>
          </a:effectRef>
          <a:fontRef idx="minor">
            <a:schemeClr val="tx1"/>
          </a:fontRef>
        </p:style>
      </p:cxnSp>
      <p:cxnSp>
        <p:nvCxnSpPr>
          <p:cNvPr id="191" name="Straight Connector 30">
            <a:extLst>
              <a:ext uri="{FF2B5EF4-FFF2-40B4-BE49-F238E27FC236}">
                <a16:creationId xmlns:a16="http://schemas.microsoft.com/office/drawing/2014/main" id="{6CBD17DB-890F-49D3-B9FD-32AB9F20AC87}"/>
              </a:ext>
            </a:extLst>
          </p:cNvPr>
          <p:cNvCxnSpPr/>
          <p:nvPr/>
        </p:nvCxnSpPr>
        <p:spPr>
          <a:xfrm>
            <a:off x="8217001" y="1357911"/>
            <a:ext cx="963085" cy="2071089"/>
          </a:xfrm>
          <a:prstGeom prst="line">
            <a:avLst/>
          </a:prstGeom>
          <a:ln w="19050">
            <a:solidFill>
              <a:schemeClr val="accent1">
                <a:lumMod val="100000"/>
              </a:schemeClr>
            </a:solidFill>
          </a:ln>
        </p:spPr>
        <p:style>
          <a:lnRef idx="1">
            <a:schemeClr val="accent1"/>
          </a:lnRef>
          <a:fillRef idx="0">
            <a:schemeClr val="accent1"/>
          </a:fillRef>
          <a:effectRef idx="0">
            <a:schemeClr val="accent1"/>
          </a:effectRef>
          <a:fontRef idx="minor">
            <a:schemeClr val="tx1"/>
          </a:fontRef>
        </p:style>
      </p:cxnSp>
      <p:sp>
        <p:nvSpPr>
          <p:cNvPr id="192" name="TextBox 42">
            <a:extLst>
              <a:ext uri="{FF2B5EF4-FFF2-40B4-BE49-F238E27FC236}">
                <a16:creationId xmlns:a16="http://schemas.microsoft.com/office/drawing/2014/main" id="{216A7355-A1E5-4114-9F02-E3F051998F35}"/>
              </a:ext>
            </a:extLst>
          </p:cNvPr>
          <p:cNvSpPr txBox="1"/>
          <p:nvPr/>
        </p:nvSpPr>
        <p:spPr>
          <a:xfrm>
            <a:off x="3689387" y="1194953"/>
            <a:ext cx="639919" cy="58477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13668E"/>
                </a:solidFill>
                <a:effectLst/>
                <a:uLnTx/>
                <a:uFillTx/>
                <a:latin typeface="Arial"/>
                <a:cs typeface="+mn-ea"/>
                <a:sym typeface="+mn-lt"/>
              </a:rPr>
              <a:t>02</a:t>
            </a:r>
          </a:p>
        </p:txBody>
      </p:sp>
      <p:sp>
        <p:nvSpPr>
          <p:cNvPr id="193" name="Rectangle 43">
            <a:extLst>
              <a:ext uri="{FF2B5EF4-FFF2-40B4-BE49-F238E27FC236}">
                <a16:creationId xmlns:a16="http://schemas.microsoft.com/office/drawing/2014/main" id="{BA224226-9C88-48A7-BF48-DBA71E07B956}"/>
              </a:ext>
            </a:extLst>
          </p:cNvPr>
          <p:cNvSpPr/>
          <p:nvPr/>
        </p:nvSpPr>
        <p:spPr>
          <a:xfrm>
            <a:off x="2162737" y="1704299"/>
            <a:ext cx="2192741" cy="1015663"/>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Arial"/>
                <a:cs typeface="+mn-ea"/>
                <a:sym typeface="+mn-lt"/>
              </a:rPr>
              <a:t>Aliquam gravida </a:t>
            </a:r>
            <a:r>
              <a:rPr kumimoji="0" lang="en-US" sz="1200" b="0" i="0" u="none" strike="noStrike" kern="0" cap="none" spc="0" normalizeH="0" baseline="0" noProof="0" dirty="0" err="1">
                <a:ln>
                  <a:noFill/>
                </a:ln>
                <a:solidFill>
                  <a:srgbClr val="000000"/>
                </a:solidFill>
                <a:effectLst/>
                <a:uLnTx/>
                <a:uFillTx/>
                <a:latin typeface="Arial"/>
                <a:cs typeface="+mn-ea"/>
                <a:sym typeface="+mn-lt"/>
              </a:rPr>
              <a:t>eu</a:t>
            </a:r>
            <a:r>
              <a:rPr kumimoji="0" lang="en-US" sz="1200" b="0" i="0" u="none" strike="noStrike" kern="0" cap="none" spc="0" normalizeH="0" baseline="0" noProof="0" dirty="0">
                <a:ln>
                  <a:noFill/>
                </a:ln>
                <a:solidFill>
                  <a:srgbClr val="000000"/>
                </a:solidFill>
                <a:effectLst/>
                <a:uLnTx/>
                <a:uFillTx/>
                <a:latin typeface="Arial"/>
                <a:cs typeface="+mn-ea"/>
                <a:sym typeface="+mn-lt"/>
              </a:rPr>
              <a:t> </a:t>
            </a:r>
            <a:r>
              <a:rPr kumimoji="0" lang="en-US" sz="1200" b="0" i="0" u="none" strike="noStrike" kern="0" cap="none" spc="0" normalizeH="0" baseline="0" noProof="0" dirty="0" err="1">
                <a:ln>
                  <a:noFill/>
                </a:ln>
                <a:solidFill>
                  <a:srgbClr val="000000"/>
                </a:solidFill>
                <a:effectLst/>
                <a:uLnTx/>
                <a:uFillTx/>
                <a:latin typeface="Arial"/>
                <a:cs typeface="+mn-ea"/>
                <a:sym typeface="+mn-lt"/>
              </a:rPr>
              <a:t>enim</a:t>
            </a:r>
            <a:r>
              <a:rPr kumimoji="0" lang="en-US" sz="1200" b="0" i="0" u="none" strike="noStrike" kern="0" cap="none" spc="0" normalizeH="0" baseline="0" noProof="0" dirty="0">
                <a:ln>
                  <a:noFill/>
                </a:ln>
                <a:solidFill>
                  <a:srgbClr val="000000"/>
                </a:solidFill>
                <a:effectLst/>
                <a:uLnTx/>
                <a:uFillTx/>
                <a:latin typeface="Arial"/>
                <a:cs typeface="+mn-ea"/>
                <a:sym typeface="+mn-lt"/>
              </a:rPr>
              <a:t> </a:t>
            </a:r>
            <a:r>
              <a:rPr kumimoji="0" lang="en-US" sz="1200" b="0" i="0" u="none" strike="noStrike" kern="0" cap="none" spc="0" normalizeH="0" baseline="0" noProof="0" dirty="0" err="1">
                <a:ln>
                  <a:noFill/>
                </a:ln>
                <a:solidFill>
                  <a:srgbClr val="000000"/>
                </a:solidFill>
                <a:effectLst/>
                <a:uLnTx/>
                <a:uFillTx/>
                <a:latin typeface="Arial"/>
                <a:cs typeface="+mn-ea"/>
                <a:sym typeface="+mn-lt"/>
              </a:rPr>
              <a:t>ut</a:t>
            </a:r>
            <a:r>
              <a:rPr kumimoji="0" lang="en-US" sz="1200" b="0" i="0" u="none" strike="noStrike" kern="0" cap="none" spc="0" normalizeH="0" baseline="0" noProof="0" dirty="0">
                <a:ln>
                  <a:noFill/>
                </a:ln>
                <a:solidFill>
                  <a:srgbClr val="000000"/>
                </a:solidFill>
                <a:effectLst/>
                <a:uLnTx/>
                <a:uFillTx/>
                <a:latin typeface="Arial"/>
                <a:cs typeface="+mn-ea"/>
                <a:sym typeface="+mn-lt"/>
              </a:rPr>
              <a:t> </a:t>
            </a:r>
            <a:r>
              <a:rPr kumimoji="0" lang="en-US" sz="1200" b="0" i="0" u="none" strike="noStrike" kern="0" cap="none" spc="0" normalizeH="0" baseline="0" noProof="0" dirty="0" err="1">
                <a:ln>
                  <a:noFill/>
                </a:ln>
                <a:solidFill>
                  <a:srgbClr val="000000"/>
                </a:solidFill>
                <a:effectLst/>
                <a:uLnTx/>
                <a:uFillTx/>
                <a:latin typeface="Arial"/>
                <a:cs typeface="+mn-ea"/>
                <a:sym typeface="+mn-lt"/>
              </a:rPr>
              <a:t>molestie</a:t>
            </a:r>
            <a:r>
              <a:rPr kumimoji="0" lang="en-US" sz="1200" b="0" i="0" u="none" strike="noStrike" kern="0" cap="none" spc="0" normalizeH="0" baseline="0" noProof="0" dirty="0">
                <a:ln>
                  <a:noFill/>
                </a:ln>
                <a:solidFill>
                  <a:srgbClr val="000000"/>
                </a:solidFill>
                <a:effectLst/>
                <a:uLnTx/>
                <a:uFillTx/>
                <a:latin typeface="Arial"/>
                <a:cs typeface="+mn-ea"/>
                <a:sym typeface="+mn-lt"/>
              </a:rPr>
              <a:t>. Sed </a:t>
            </a:r>
            <a:r>
              <a:rPr kumimoji="0" lang="en-US" sz="1200" b="0" i="0" u="none" strike="noStrike" kern="0" cap="none" spc="0" normalizeH="0" baseline="0" noProof="0" dirty="0" err="1">
                <a:ln>
                  <a:noFill/>
                </a:ln>
                <a:solidFill>
                  <a:srgbClr val="000000"/>
                </a:solidFill>
                <a:effectLst/>
                <a:uLnTx/>
                <a:uFillTx/>
                <a:latin typeface="Arial"/>
                <a:cs typeface="+mn-ea"/>
                <a:sym typeface="+mn-lt"/>
              </a:rPr>
              <a:t>ut</a:t>
            </a:r>
            <a:r>
              <a:rPr kumimoji="0" lang="en-US" sz="1200" b="0" i="0" u="none" strike="noStrike" kern="0" cap="none" spc="0" normalizeH="0" baseline="0" noProof="0" dirty="0">
                <a:ln>
                  <a:noFill/>
                </a:ln>
                <a:solidFill>
                  <a:srgbClr val="000000"/>
                </a:solidFill>
                <a:effectLst/>
                <a:uLnTx/>
                <a:uFillTx/>
                <a:latin typeface="Arial"/>
                <a:cs typeface="+mn-ea"/>
                <a:sym typeface="+mn-lt"/>
              </a:rPr>
              <a:t> </a:t>
            </a:r>
            <a:r>
              <a:rPr kumimoji="0" lang="en-US" sz="1200" b="0" i="0" u="none" strike="noStrike" kern="0" cap="none" spc="0" normalizeH="0" baseline="0" noProof="0" dirty="0" err="1">
                <a:ln>
                  <a:noFill/>
                </a:ln>
                <a:solidFill>
                  <a:srgbClr val="000000"/>
                </a:solidFill>
                <a:effectLst/>
                <a:uLnTx/>
                <a:uFillTx/>
                <a:latin typeface="Arial"/>
                <a:cs typeface="+mn-ea"/>
                <a:sym typeface="+mn-lt"/>
              </a:rPr>
              <a:t>rhoncus</a:t>
            </a:r>
            <a:r>
              <a:rPr kumimoji="0" lang="en-US" sz="1200" b="0" i="0" u="none" strike="noStrike" kern="0" cap="none" spc="0" normalizeH="0" baseline="0" noProof="0" dirty="0">
                <a:ln>
                  <a:noFill/>
                </a:ln>
                <a:solidFill>
                  <a:srgbClr val="000000"/>
                </a:solidFill>
                <a:effectLst/>
                <a:uLnTx/>
                <a:uFillTx/>
                <a:latin typeface="Arial"/>
                <a:cs typeface="+mn-ea"/>
                <a:sym typeface="+mn-lt"/>
              </a:rPr>
              <a:t> ipsum. </a:t>
            </a:r>
            <a:r>
              <a:rPr kumimoji="0" lang="en-US" sz="1200" b="0" i="0" u="none" strike="noStrike" kern="0" cap="none" spc="0" normalizeH="0" baseline="0" noProof="0" dirty="0" err="1">
                <a:ln>
                  <a:noFill/>
                </a:ln>
                <a:solidFill>
                  <a:srgbClr val="000000"/>
                </a:solidFill>
                <a:effectLst/>
                <a:uLnTx/>
                <a:uFillTx/>
                <a:latin typeface="Arial"/>
                <a:cs typeface="+mn-ea"/>
                <a:sym typeface="+mn-lt"/>
              </a:rPr>
              <a:t>Pellentesque</a:t>
            </a:r>
            <a:r>
              <a:rPr kumimoji="0" lang="en-US" sz="1200" b="0" i="0" u="none" strike="noStrike" kern="0" cap="none" spc="0" normalizeH="0" baseline="0" noProof="0" dirty="0">
                <a:ln>
                  <a:noFill/>
                </a:ln>
                <a:solidFill>
                  <a:srgbClr val="000000"/>
                </a:solidFill>
                <a:effectLst/>
                <a:uLnTx/>
                <a:uFillTx/>
                <a:latin typeface="Arial"/>
                <a:cs typeface="+mn-ea"/>
                <a:sym typeface="+mn-lt"/>
              </a:rPr>
              <a:t> </a:t>
            </a:r>
            <a:r>
              <a:rPr kumimoji="0" lang="en-US" sz="1200" b="0" i="0" u="none" strike="noStrike" kern="0" cap="none" spc="0" normalizeH="0" baseline="0" noProof="0" dirty="0" err="1">
                <a:ln>
                  <a:noFill/>
                </a:ln>
                <a:solidFill>
                  <a:srgbClr val="000000"/>
                </a:solidFill>
                <a:effectLst/>
                <a:uLnTx/>
                <a:uFillTx/>
                <a:latin typeface="Arial"/>
                <a:cs typeface="+mn-ea"/>
                <a:sym typeface="+mn-lt"/>
              </a:rPr>
              <a:t>velit</a:t>
            </a:r>
            <a:r>
              <a:rPr kumimoji="0" lang="en-US" sz="1200" b="0" i="0" u="none" strike="noStrike" kern="0" cap="none" spc="0" normalizeH="0" baseline="0" noProof="0" dirty="0">
                <a:ln>
                  <a:noFill/>
                </a:ln>
                <a:solidFill>
                  <a:srgbClr val="000000"/>
                </a:solidFill>
                <a:effectLst/>
                <a:uLnTx/>
                <a:uFillTx/>
                <a:latin typeface="Arial"/>
                <a:cs typeface="+mn-ea"/>
                <a:sym typeface="+mn-lt"/>
              </a:rPr>
              <a:t> quam, </a:t>
            </a:r>
            <a:r>
              <a:rPr kumimoji="0" lang="en-US" sz="1200" b="0" i="0" u="none" strike="noStrike" kern="0" cap="none" spc="0" normalizeH="0" baseline="0" noProof="0" dirty="0" err="1">
                <a:ln>
                  <a:noFill/>
                </a:ln>
                <a:solidFill>
                  <a:srgbClr val="000000"/>
                </a:solidFill>
                <a:effectLst/>
                <a:uLnTx/>
                <a:uFillTx/>
                <a:latin typeface="Arial"/>
                <a:cs typeface="+mn-ea"/>
                <a:sym typeface="+mn-lt"/>
              </a:rPr>
              <a:t>pretium</a:t>
            </a:r>
            <a:r>
              <a:rPr kumimoji="0" lang="en-US" sz="1200" b="0" i="0" u="none" strike="noStrike" kern="0" cap="none" spc="0" normalizeH="0" baseline="0" noProof="0" dirty="0">
                <a:ln>
                  <a:noFill/>
                </a:ln>
                <a:solidFill>
                  <a:srgbClr val="000000"/>
                </a:solidFill>
                <a:effectLst/>
                <a:uLnTx/>
                <a:uFillTx/>
                <a:latin typeface="Arial"/>
                <a:cs typeface="+mn-ea"/>
                <a:sym typeface="+mn-lt"/>
              </a:rPr>
              <a:t> </a:t>
            </a:r>
            <a:r>
              <a:rPr kumimoji="0" lang="en-US" sz="1200" b="0" i="0" u="none" strike="noStrike" kern="0" cap="none" spc="0" normalizeH="0" baseline="0" noProof="0" dirty="0" err="1">
                <a:ln>
                  <a:noFill/>
                </a:ln>
                <a:solidFill>
                  <a:srgbClr val="000000"/>
                </a:solidFill>
                <a:effectLst/>
                <a:uLnTx/>
                <a:uFillTx/>
                <a:latin typeface="Arial"/>
                <a:cs typeface="+mn-ea"/>
                <a:sym typeface="+mn-lt"/>
              </a:rPr>
              <a:t>nec</a:t>
            </a:r>
            <a:r>
              <a:rPr kumimoji="0" lang="en-US" sz="1200" b="0" i="0" u="none" strike="noStrike" kern="0" cap="none" spc="0" normalizeH="0" baseline="0" noProof="0" dirty="0">
                <a:ln>
                  <a:noFill/>
                </a:ln>
                <a:solidFill>
                  <a:srgbClr val="000000"/>
                </a:solidFill>
                <a:effectLst/>
                <a:uLnTx/>
                <a:uFillTx/>
                <a:latin typeface="Arial"/>
                <a:cs typeface="+mn-ea"/>
                <a:sym typeface="+mn-lt"/>
              </a:rPr>
              <a:t> </a:t>
            </a:r>
            <a:r>
              <a:rPr kumimoji="0" lang="en-US" sz="1200" b="0" i="0" u="none" strike="noStrike" kern="0" cap="none" spc="0" normalizeH="0" baseline="0" noProof="0" dirty="0" err="1">
                <a:ln>
                  <a:noFill/>
                </a:ln>
                <a:solidFill>
                  <a:srgbClr val="000000"/>
                </a:solidFill>
                <a:effectLst/>
                <a:uLnTx/>
                <a:uFillTx/>
                <a:latin typeface="Arial"/>
                <a:cs typeface="+mn-ea"/>
                <a:sym typeface="+mn-lt"/>
              </a:rPr>
              <a:t>purus</a:t>
            </a:r>
            <a:r>
              <a:rPr kumimoji="0" lang="en-US" sz="1200" b="0" i="0" u="none" strike="noStrike" kern="0" cap="none" spc="0" normalizeH="0" baseline="0" noProof="0" dirty="0">
                <a:ln>
                  <a:noFill/>
                </a:ln>
                <a:solidFill>
                  <a:srgbClr val="000000"/>
                </a:solidFill>
                <a:effectLst/>
                <a:uLnTx/>
                <a:uFillTx/>
                <a:latin typeface="Arial"/>
                <a:cs typeface="+mn-ea"/>
                <a:sym typeface="+mn-lt"/>
              </a:rPr>
              <a:t> </a:t>
            </a:r>
            <a:r>
              <a:rPr kumimoji="0" lang="en-US" sz="1200" b="0" i="0" u="none" strike="noStrike" kern="0" cap="none" spc="0" normalizeH="0" baseline="0" noProof="0" dirty="0" err="1">
                <a:ln>
                  <a:noFill/>
                </a:ln>
                <a:solidFill>
                  <a:srgbClr val="000000"/>
                </a:solidFill>
                <a:effectLst/>
                <a:uLnTx/>
                <a:uFillTx/>
                <a:latin typeface="Arial"/>
                <a:cs typeface="+mn-ea"/>
                <a:sym typeface="+mn-lt"/>
              </a:rPr>
              <a:t>eu</a:t>
            </a:r>
            <a:r>
              <a:rPr kumimoji="0" lang="en-US" sz="1200" b="0" i="0" u="none" strike="noStrike" kern="0" cap="none" spc="0" normalizeH="0" baseline="0" noProof="0" dirty="0">
                <a:ln>
                  <a:noFill/>
                </a:ln>
                <a:solidFill>
                  <a:srgbClr val="000000"/>
                </a:solidFill>
                <a:effectLst/>
                <a:uLnTx/>
                <a:uFillTx/>
                <a:latin typeface="Arial"/>
                <a:cs typeface="+mn-ea"/>
                <a:sym typeface="+mn-lt"/>
              </a:rPr>
              <a:t>, </a:t>
            </a:r>
            <a:r>
              <a:rPr kumimoji="0" lang="en-US" sz="1200" b="0" i="0" u="none" strike="noStrike" kern="0" cap="none" spc="0" normalizeH="0" baseline="0" noProof="0" dirty="0" err="1">
                <a:ln>
                  <a:noFill/>
                </a:ln>
                <a:solidFill>
                  <a:srgbClr val="000000"/>
                </a:solidFill>
                <a:effectLst/>
                <a:uLnTx/>
                <a:uFillTx/>
                <a:latin typeface="Arial"/>
                <a:cs typeface="+mn-ea"/>
                <a:sym typeface="+mn-lt"/>
              </a:rPr>
              <a:t>volutpat</a:t>
            </a:r>
            <a:r>
              <a:rPr kumimoji="0" lang="en-US" sz="1200" b="0" i="0" u="none" strike="noStrike" kern="0" cap="none" spc="0" normalizeH="0" baseline="0" noProof="0" dirty="0">
                <a:ln>
                  <a:noFill/>
                </a:ln>
                <a:solidFill>
                  <a:srgbClr val="000000"/>
                </a:solidFill>
                <a:effectLst/>
                <a:uLnTx/>
                <a:uFillTx/>
                <a:latin typeface="Arial"/>
                <a:cs typeface="+mn-ea"/>
                <a:sym typeface="+mn-lt"/>
              </a:rPr>
              <a:t> </a:t>
            </a:r>
            <a:r>
              <a:rPr kumimoji="0" lang="en-US" sz="1200" b="0" i="0" u="none" strike="noStrike" kern="0" cap="none" spc="0" normalizeH="0" baseline="0" noProof="0" dirty="0" err="1">
                <a:ln>
                  <a:noFill/>
                </a:ln>
                <a:solidFill>
                  <a:srgbClr val="000000"/>
                </a:solidFill>
                <a:effectLst/>
                <a:uLnTx/>
                <a:uFillTx/>
                <a:latin typeface="Arial"/>
                <a:cs typeface="+mn-ea"/>
                <a:sym typeface="+mn-lt"/>
              </a:rPr>
              <a:t>vulputate</a:t>
            </a:r>
            <a:r>
              <a:rPr kumimoji="0" lang="en-US" sz="1200" b="0" i="0" u="none" strike="noStrike" kern="0" cap="none" spc="0" normalizeH="0" baseline="0" noProof="0" dirty="0">
                <a:ln>
                  <a:noFill/>
                </a:ln>
                <a:solidFill>
                  <a:srgbClr val="000000"/>
                </a:solidFill>
                <a:effectLst/>
                <a:uLnTx/>
                <a:uFillTx/>
                <a:latin typeface="Arial"/>
                <a:cs typeface="+mn-ea"/>
                <a:sym typeface="+mn-lt"/>
              </a:rPr>
              <a:t> diam. </a:t>
            </a:r>
          </a:p>
        </p:txBody>
      </p:sp>
      <p:sp>
        <p:nvSpPr>
          <p:cNvPr id="194" name="TextBox 44">
            <a:extLst>
              <a:ext uri="{FF2B5EF4-FFF2-40B4-BE49-F238E27FC236}">
                <a16:creationId xmlns:a16="http://schemas.microsoft.com/office/drawing/2014/main" id="{5F5C6538-854E-45ED-89F0-0FD7C6DA25B1}"/>
              </a:ext>
            </a:extLst>
          </p:cNvPr>
          <p:cNvSpPr txBox="1"/>
          <p:nvPr/>
        </p:nvSpPr>
        <p:spPr>
          <a:xfrm>
            <a:off x="4033029" y="3885708"/>
            <a:ext cx="639919" cy="58477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0677C7"/>
                </a:solidFill>
                <a:effectLst/>
                <a:uLnTx/>
                <a:uFillTx/>
                <a:latin typeface="Arial"/>
                <a:cs typeface="+mn-ea"/>
                <a:sym typeface="+mn-lt"/>
              </a:rPr>
              <a:t>01</a:t>
            </a:r>
          </a:p>
        </p:txBody>
      </p:sp>
      <p:sp>
        <p:nvSpPr>
          <p:cNvPr id="195" name="Rectangle 45">
            <a:extLst>
              <a:ext uri="{FF2B5EF4-FFF2-40B4-BE49-F238E27FC236}">
                <a16:creationId xmlns:a16="http://schemas.microsoft.com/office/drawing/2014/main" id="{89D3C8FB-F601-4927-BAB9-E1F657A561C9}"/>
              </a:ext>
            </a:extLst>
          </p:cNvPr>
          <p:cNvSpPr/>
          <p:nvPr/>
        </p:nvSpPr>
        <p:spPr>
          <a:xfrm>
            <a:off x="4033029" y="4466176"/>
            <a:ext cx="2192741" cy="1015663"/>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Arial"/>
                <a:cs typeface="+mn-ea"/>
                <a:sym typeface="+mn-lt"/>
              </a:rPr>
              <a:t>Aliquam gravida </a:t>
            </a:r>
            <a:r>
              <a:rPr kumimoji="0" lang="en-US" sz="1200" b="0" i="0" u="none" strike="noStrike" kern="0" cap="none" spc="0" normalizeH="0" baseline="0" noProof="0" dirty="0" err="1">
                <a:ln>
                  <a:noFill/>
                </a:ln>
                <a:solidFill>
                  <a:srgbClr val="000000"/>
                </a:solidFill>
                <a:effectLst/>
                <a:uLnTx/>
                <a:uFillTx/>
                <a:latin typeface="Arial"/>
                <a:cs typeface="+mn-ea"/>
                <a:sym typeface="+mn-lt"/>
              </a:rPr>
              <a:t>eu</a:t>
            </a:r>
            <a:r>
              <a:rPr kumimoji="0" lang="en-US" sz="1200" b="0" i="0" u="none" strike="noStrike" kern="0" cap="none" spc="0" normalizeH="0" baseline="0" noProof="0" dirty="0">
                <a:ln>
                  <a:noFill/>
                </a:ln>
                <a:solidFill>
                  <a:srgbClr val="000000"/>
                </a:solidFill>
                <a:effectLst/>
                <a:uLnTx/>
                <a:uFillTx/>
                <a:latin typeface="Arial"/>
                <a:cs typeface="+mn-ea"/>
                <a:sym typeface="+mn-lt"/>
              </a:rPr>
              <a:t> </a:t>
            </a:r>
            <a:r>
              <a:rPr kumimoji="0" lang="en-US" sz="1200" b="0" i="0" u="none" strike="noStrike" kern="0" cap="none" spc="0" normalizeH="0" baseline="0" noProof="0" dirty="0" err="1">
                <a:ln>
                  <a:noFill/>
                </a:ln>
                <a:solidFill>
                  <a:srgbClr val="000000"/>
                </a:solidFill>
                <a:effectLst/>
                <a:uLnTx/>
                <a:uFillTx/>
                <a:latin typeface="Arial"/>
                <a:cs typeface="+mn-ea"/>
                <a:sym typeface="+mn-lt"/>
              </a:rPr>
              <a:t>enim</a:t>
            </a:r>
            <a:r>
              <a:rPr kumimoji="0" lang="en-US" sz="1200" b="0" i="0" u="none" strike="noStrike" kern="0" cap="none" spc="0" normalizeH="0" baseline="0" noProof="0" dirty="0">
                <a:ln>
                  <a:noFill/>
                </a:ln>
                <a:solidFill>
                  <a:srgbClr val="000000"/>
                </a:solidFill>
                <a:effectLst/>
                <a:uLnTx/>
                <a:uFillTx/>
                <a:latin typeface="Arial"/>
                <a:cs typeface="+mn-ea"/>
                <a:sym typeface="+mn-lt"/>
              </a:rPr>
              <a:t> </a:t>
            </a:r>
            <a:r>
              <a:rPr kumimoji="0" lang="en-US" sz="1200" b="0" i="0" u="none" strike="noStrike" kern="0" cap="none" spc="0" normalizeH="0" baseline="0" noProof="0" dirty="0" err="1">
                <a:ln>
                  <a:noFill/>
                </a:ln>
                <a:solidFill>
                  <a:srgbClr val="000000"/>
                </a:solidFill>
                <a:effectLst/>
                <a:uLnTx/>
                <a:uFillTx/>
                <a:latin typeface="Arial"/>
                <a:cs typeface="+mn-ea"/>
                <a:sym typeface="+mn-lt"/>
              </a:rPr>
              <a:t>ut</a:t>
            </a:r>
            <a:r>
              <a:rPr kumimoji="0" lang="en-US" sz="1200" b="0" i="0" u="none" strike="noStrike" kern="0" cap="none" spc="0" normalizeH="0" baseline="0" noProof="0" dirty="0">
                <a:ln>
                  <a:noFill/>
                </a:ln>
                <a:solidFill>
                  <a:srgbClr val="000000"/>
                </a:solidFill>
                <a:effectLst/>
                <a:uLnTx/>
                <a:uFillTx/>
                <a:latin typeface="Arial"/>
                <a:cs typeface="+mn-ea"/>
                <a:sym typeface="+mn-lt"/>
              </a:rPr>
              <a:t> </a:t>
            </a:r>
            <a:r>
              <a:rPr kumimoji="0" lang="en-US" sz="1200" b="0" i="0" u="none" strike="noStrike" kern="0" cap="none" spc="0" normalizeH="0" baseline="0" noProof="0" dirty="0" err="1">
                <a:ln>
                  <a:noFill/>
                </a:ln>
                <a:solidFill>
                  <a:srgbClr val="000000"/>
                </a:solidFill>
                <a:effectLst/>
                <a:uLnTx/>
                <a:uFillTx/>
                <a:latin typeface="Arial"/>
                <a:cs typeface="+mn-ea"/>
                <a:sym typeface="+mn-lt"/>
              </a:rPr>
              <a:t>molestie</a:t>
            </a:r>
            <a:r>
              <a:rPr kumimoji="0" lang="en-US" sz="1200" b="0" i="0" u="none" strike="noStrike" kern="0" cap="none" spc="0" normalizeH="0" baseline="0" noProof="0" dirty="0">
                <a:ln>
                  <a:noFill/>
                </a:ln>
                <a:solidFill>
                  <a:srgbClr val="000000"/>
                </a:solidFill>
                <a:effectLst/>
                <a:uLnTx/>
                <a:uFillTx/>
                <a:latin typeface="Arial"/>
                <a:cs typeface="+mn-ea"/>
                <a:sym typeface="+mn-lt"/>
              </a:rPr>
              <a:t>. Sed </a:t>
            </a:r>
            <a:r>
              <a:rPr kumimoji="0" lang="en-US" sz="1200" b="0" i="0" u="none" strike="noStrike" kern="0" cap="none" spc="0" normalizeH="0" baseline="0" noProof="0" dirty="0" err="1">
                <a:ln>
                  <a:noFill/>
                </a:ln>
                <a:solidFill>
                  <a:srgbClr val="000000"/>
                </a:solidFill>
                <a:effectLst/>
                <a:uLnTx/>
                <a:uFillTx/>
                <a:latin typeface="Arial"/>
                <a:cs typeface="+mn-ea"/>
                <a:sym typeface="+mn-lt"/>
              </a:rPr>
              <a:t>ut</a:t>
            </a:r>
            <a:r>
              <a:rPr kumimoji="0" lang="en-US" sz="1200" b="0" i="0" u="none" strike="noStrike" kern="0" cap="none" spc="0" normalizeH="0" baseline="0" noProof="0" dirty="0">
                <a:ln>
                  <a:noFill/>
                </a:ln>
                <a:solidFill>
                  <a:srgbClr val="000000"/>
                </a:solidFill>
                <a:effectLst/>
                <a:uLnTx/>
                <a:uFillTx/>
                <a:latin typeface="Arial"/>
                <a:cs typeface="+mn-ea"/>
                <a:sym typeface="+mn-lt"/>
              </a:rPr>
              <a:t> </a:t>
            </a:r>
            <a:r>
              <a:rPr kumimoji="0" lang="en-US" sz="1200" b="0" i="0" u="none" strike="noStrike" kern="0" cap="none" spc="0" normalizeH="0" baseline="0" noProof="0" dirty="0" err="1">
                <a:ln>
                  <a:noFill/>
                </a:ln>
                <a:solidFill>
                  <a:srgbClr val="000000"/>
                </a:solidFill>
                <a:effectLst/>
                <a:uLnTx/>
                <a:uFillTx/>
                <a:latin typeface="Arial"/>
                <a:cs typeface="+mn-ea"/>
                <a:sym typeface="+mn-lt"/>
              </a:rPr>
              <a:t>rhoncus</a:t>
            </a:r>
            <a:r>
              <a:rPr kumimoji="0" lang="en-US" sz="1200" b="0" i="0" u="none" strike="noStrike" kern="0" cap="none" spc="0" normalizeH="0" baseline="0" noProof="0" dirty="0">
                <a:ln>
                  <a:noFill/>
                </a:ln>
                <a:solidFill>
                  <a:srgbClr val="000000"/>
                </a:solidFill>
                <a:effectLst/>
                <a:uLnTx/>
                <a:uFillTx/>
                <a:latin typeface="Arial"/>
                <a:cs typeface="+mn-ea"/>
                <a:sym typeface="+mn-lt"/>
              </a:rPr>
              <a:t> ipsum. </a:t>
            </a:r>
            <a:r>
              <a:rPr kumimoji="0" lang="en-US" sz="1200" b="0" i="0" u="none" strike="noStrike" kern="0" cap="none" spc="0" normalizeH="0" baseline="0" noProof="0" dirty="0" err="1">
                <a:ln>
                  <a:noFill/>
                </a:ln>
                <a:solidFill>
                  <a:srgbClr val="000000"/>
                </a:solidFill>
                <a:effectLst/>
                <a:uLnTx/>
                <a:uFillTx/>
                <a:latin typeface="Arial"/>
                <a:cs typeface="+mn-ea"/>
                <a:sym typeface="+mn-lt"/>
              </a:rPr>
              <a:t>Pellentesque</a:t>
            </a:r>
            <a:r>
              <a:rPr kumimoji="0" lang="en-US" sz="1200" b="0" i="0" u="none" strike="noStrike" kern="0" cap="none" spc="0" normalizeH="0" baseline="0" noProof="0" dirty="0">
                <a:ln>
                  <a:noFill/>
                </a:ln>
                <a:solidFill>
                  <a:srgbClr val="000000"/>
                </a:solidFill>
                <a:effectLst/>
                <a:uLnTx/>
                <a:uFillTx/>
                <a:latin typeface="Arial"/>
                <a:cs typeface="+mn-ea"/>
                <a:sym typeface="+mn-lt"/>
              </a:rPr>
              <a:t> </a:t>
            </a:r>
            <a:r>
              <a:rPr kumimoji="0" lang="en-US" sz="1200" b="0" i="0" u="none" strike="noStrike" kern="0" cap="none" spc="0" normalizeH="0" baseline="0" noProof="0" dirty="0" err="1">
                <a:ln>
                  <a:noFill/>
                </a:ln>
                <a:solidFill>
                  <a:srgbClr val="000000"/>
                </a:solidFill>
                <a:effectLst/>
                <a:uLnTx/>
                <a:uFillTx/>
                <a:latin typeface="Arial"/>
                <a:cs typeface="+mn-ea"/>
                <a:sym typeface="+mn-lt"/>
              </a:rPr>
              <a:t>velit</a:t>
            </a:r>
            <a:r>
              <a:rPr kumimoji="0" lang="en-US" sz="1200" b="0" i="0" u="none" strike="noStrike" kern="0" cap="none" spc="0" normalizeH="0" baseline="0" noProof="0" dirty="0">
                <a:ln>
                  <a:noFill/>
                </a:ln>
                <a:solidFill>
                  <a:srgbClr val="000000"/>
                </a:solidFill>
                <a:effectLst/>
                <a:uLnTx/>
                <a:uFillTx/>
                <a:latin typeface="Arial"/>
                <a:cs typeface="+mn-ea"/>
                <a:sym typeface="+mn-lt"/>
              </a:rPr>
              <a:t> quam, </a:t>
            </a:r>
            <a:r>
              <a:rPr kumimoji="0" lang="en-US" sz="1200" b="0" i="0" u="none" strike="noStrike" kern="0" cap="none" spc="0" normalizeH="0" baseline="0" noProof="0" dirty="0" err="1">
                <a:ln>
                  <a:noFill/>
                </a:ln>
                <a:solidFill>
                  <a:srgbClr val="000000"/>
                </a:solidFill>
                <a:effectLst/>
                <a:uLnTx/>
                <a:uFillTx/>
                <a:latin typeface="Arial"/>
                <a:cs typeface="+mn-ea"/>
                <a:sym typeface="+mn-lt"/>
              </a:rPr>
              <a:t>pretium</a:t>
            </a:r>
            <a:r>
              <a:rPr kumimoji="0" lang="en-US" sz="1200" b="0" i="0" u="none" strike="noStrike" kern="0" cap="none" spc="0" normalizeH="0" baseline="0" noProof="0" dirty="0">
                <a:ln>
                  <a:noFill/>
                </a:ln>
                <a:solidFill>
                  <a:srgbClr val="000000"/>
                </a:solidFill>
                <a:effectLst/>
                <a:uLnTx/>
                <a:uFillTx/>
                <a:latin typeface="Arial"/>
                <a:cs typeface="+mn-ea"/>
                <a:sym typeface="+mn-lt"/>
              </a:rPr>
              <a:t> </a:t>
            </a:r>
            <a:r>
              <a:rPr kumimoji="0" lang="en-US" sz="1200" b="0" i="0" u="none" strike="noStrike" kern="0" cap="none" spc="0" normalizeH="0" baseline="0" noProof="0" dirty="0" err="1">
                <a:ln>
                  <a:noFill/>
                </a:ln>
                <a:solidFill>
                  <a:srgbClr val="000000"/>
                </a:solidFill>
                <a:effectLst/>
                <a:uLnTx/>
                <a:uFillTx/>
                <a:latin typeface="Arial"/>
                <a:cs typeface="+mn-ea"/>
                <a:sym typeface="+mn-lt"/>
              </a:rPr>
              <a:t>nec</a:t>
            </a:r>
            <a:r>
              <a:rPr kumimoji="0" lang="en-US" sz="1200" b="0" i="0" u="none" strike="noStrike" kern="0" cap="none" spc="0" normalizeH="0" baseline="0" noProof="0" dirty="0">
                <a:ln>
                  <a:noFill/>
                </a:ln>
                <a:solidFill>
                  <a:srgbClr val="000000"/>
                </a:solidFill>
                <a:effectLst/>
                <a:uLnTx/>
                <a:uFillTx/>
                <a:latin typeface="Arial"/>
                <a:cs typeface="+mn-ea"/>
                <a:sym typeface="+mn-lt"/>
              </a:rPr>
              <a:t> </a:t>
            </a:r>
            <a:r>
              <a:rPr kumimoji="0" lang="en-US" sz="1200" b="0" i="0" u="none" strike="noStrike" kern="0" cap="none" spc="0" normalizeH="0" baseline="0" noProof="0" dirty="0" err="1">
                <a:ln>
                  <a:noFill/>
                </a:ln>
                <a:solidFill>
                  <a:srgbClr val="000000"/>
                </a:solidFill>
                <a:effectLst/>
                <a:uLnTx/>
                <a:uFillTx/>
                <a:latin typeface="Arial"/>
                <a:cs typeface="+mn-ea"/>
                <a:sym typeface="+mn-lt"/>
              </a:rPr>
              <a:t>purus</a:t>
            </a:r>
            <a:r>
              <a:rPr kumimoji="0" lang="en-US" sz="1200" b="0" i="0" u="none" strike="noStrike" kern="0" cap="none" spc="0" normalizeH="0" baseline="0" noProof="0" dirty="0">
                <a:ln>
                  <a:noFill/>
                </a:ln>
                <a:solidFill>
                  <a:srgbClr val="000000"/>
                </a:solidFill>
                <a:effectLst/>
                <a:uLnTx/>
                <a:uFillTx/>
                <a:latin typeface="Arial"/>
                <a:cs typeface="+mn-ea"/>
                <a:sym typeface="+mn-lt"/>
              </a:rPr>
              <a:t> </a:t>
            </a:r>
            <a:r>
              <a:rPr kumimoji="0" lang="en-US" sz="1200" b="0" i="0" u="none" strike="noStrike" kern="0" cap="none" spc="0" normalizeH="0" baseline="0" noProof="0" dirty="0" err="1">
                <a:ln>
                  <a:noFill/>
                </a:ln>
                <a:solidFill>
                  <a:srgbClr val="000000"/>
                </a:solidFill>
                <a:effectLst/>
                <a:uLnTx/>
                <a:uFillTx/>
                <a:latin typeface="Arial"/>
                <a:cs typeface="+mn-ea"/>
                <a:sym typeface="+mn-lt"/>
              </a:rPr>
              <a:t>eu</a:t>
            </a:r>
            <a:r>
              <a:rPr kumimoji="0" lang="en-US" sz="1200" b="0" i="0" u="none" strike="noStrike" kern="0" cap="none" spc="0" normalizeH="0" baseline="0" noProof="0" dirty="0">
                <a:ln>
                  <a:noFill/>
                </a:ln>
                <a:solidFill>
                  <a:srgbClr val="000000"/>
                </a:solidFill>
                <a:effectLst/>
                <a:uLnTx/>
                <a:uFillTx/>
                <a:latin typeface="Arial"/>
                <a:cs typeface="+mn-ea"/>
                <a:sym typeface="+mn-lt"/>
              </a:rPr>
              <a:t>, </a:t>
            </a:r>
            <a:r>
              <a:rPr kumimoji="0" lang="en-US" sz="1200" b="0" i="0" u="none" strike="noStrike" kern="0" cap="none" spc="0" normalizeH="0" baseline="0" noProof="0" dirty="0" err="1">
                <a:ln>
                  <a:noFill/>
                </a:ln>
                <a:solidFill>
                  <a:srgbClr val="000000"/>
                </a:solidFill>
                <a:effectLst/>
                <a:uLnTx/>
                <a:uFillTx/>
                <a:latin typeface="Arial"/>
                <a:cs typeface="+mn-ea"/>
                <a:sym typeface="+mn-lt"/>
              </a:rPr>
              <a:t>volutpat</a:t>
            </a:r>
            <a:r>
              <a:rPr kumimoji="0" lang="en-US" sz="1200" b="0" i="0" u="none" strike="noStrike" kern="0" cap="none" spc="0" normalizeH="0" baseline="0" noProof="0" dirty="0">
                <a:ln>
                  <a:noFill/>
                </a:ln>
                <a:solidFill>
                  <a:srgbClr val="000000"/>
                </a:solidFill>
                <a:effectLst/>
                <a:uLnTx/>
                <a:uFillTx/>
                <a:latin typeface="Arial"/>
                <a:cs typeface="+mn-ea"/>
                <a:sym typeface="+mn-lt"/>
              </a:rPr>
              <a:t> </a:t>
            </a:r>
            <a:r>
              <a:rPr kumimoji="0" lang="en-US" sz="1200" b="0" i="0" u="none" strike="noStrike" kern="0" cap="none" spc="0" normalizeH="0" baseline="0" noProof="0" dirty="0" err="1">
                <a:ln>
                  <a:noFill/>
                </a:ln>
                <a:solidFill>
                  <a:srgbClr val="000000"/>
                </a:solidFill>
                <a:effectLst/>
                <a:uLnTx/>
                <a:uFillTx/>
                <a:latin typeface="Arial"/>
                <a:cs typeface="+mn-ea"/>
                <a:sym typeface="+mn-lt"/>
              </a:rPr>
              <a:t>vulputate</a:t>
            </a:r>
            <a:r>
              <a:rPr kumimoji="0" lang="en-US" sz="1200" b="0" i="0" u="none" strike="noStrike" kern="0" cap="none" spc="0" normalizeH="0" baseline="0" noProof="0" dirty="0">
                <a:ln>
                  <a:noFill/>
                </a:ln>
                <a:solidFill>
                  <a:srgbClr val="000000"/>
                </a:solidFill>
                <a:effectLst/>
                <a:uLnTx/>
                <a:uFillTx/>
                <a:latin typeface="Arial"/>
                <a:cs typeface="+mn-ea"/>
                <a:sym typeface="+mn-lt"/>
              </a:rPr>
              <a:t> diam. </a:t>
            </a:r>
          </a:p>
        </p:txBody>
      </p:sp>
      <p:sp>
        <p:nvSpPr>
          <p:cNvPr id="196" name="TextBox 46">
            <a:extLst>
              <a:ext uri="{FF2B5EF4-FFF2-40B4-BE49-F238E27FC236}">
                <a16:creationId xmlns:a16="http://schemas.microsoft.com/office/drawing/2014/main" id="{A5C24F3A-4BAA-456E-885D-3FCBA2BF4D7A}"/>
              </a:ext>
            </a:extLst>
          </p:cNvPr>
          <p:cNvSpPr txBox="1"/>
          <p:nvPr/>
        </p:nvSpPr>
        <p:spPr>
          <a:xfrm>
            <a:off x="7797937" y="3885708"/>
            <a:ext cx="639919" cy="58477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014864"/>
                </a:solidFill>
                <a:effectLst/>
                <a:uLnTx/>
                <a:uFillTx/>
                <a:latin typeface="Arial"/>
                <a:cs typeface="+mn-ea"/>
                <a:sym typeface="+mn-lt"/>
              </a:rPr>
              <a:t>03</a:t>
            </a:r>
          </a:p>
        </p:txBody>
      </p:sp>
      <p:sp>
        <p:nvSpPr>
          <p:cNvPr id="197" name="Rectangle 47">
            <a:extLst>
              <a:ext uri="{FF2B5EF4-FFF2-40B4-BE49-F238E27FC236}">
                <a16:creationId xmlns:a16="http://schemas.microsoft.com/office/drawing/2014/main" id="{FE86BE18-70C3-4989-9B75-48FD45DE0ACA}"/>
              </a:ext>
            </a:extLst>
          </p:cNvPr>
          <p:cNvSpPr/>
          <p:nvPr/>
        </p:nvSpPr>
        <p:spPr>
          <a:xfrm>
            <a:off x="7797937" y="4466176"/>
            <a:ext cx="2192741" cy="1015663"/>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Arial"/>
                <a:cs typeface="+mn-ea"/>
                <a:sym typeface="+mn-lt"/>
              </a:rPr>
              <a:t>Aliquam gravida </a:t>
            </a:r>
            <a:r>
              <a:rPr kumimoji="0" lang="en-US" sz="1200" b="0" i="0" u="none" strike="noStrike" kern="0" cap="none" spc="0" normalizeH="0" baseline="0" noProof="0" dirty="0" err="1">
                <a:ln>
                  <a:noFill/>
                </a:ln>
                <a:solidFill>
                  <a:srgbClr val="000000"/>
                </a:solidFill>
                <a:effectLst/>
                <a:uLnTx/>
                <a:uFillTx/>
                <a:latin typeface="Arial"/>
                <a:cs typeface="+mn-ea"/>
                <a:sym typeface="+mn-lt"/>
              </a:rPr>
              <a:t>eu</a:t>
            </a:r>
            <a:r>
              <a:rPr kumimoji="0" lang="en-US" sz="1200" b="0" i="0" u="none" strike="noStrike" kern="0" cap="none" spc="0" normalizeH="0" baseline="0" noProof="0" dirty="0">
                <a:ln>
                  <a:noFill/>
                </a:ln>
                <a:solidFill>
                  <a:srgbClr val="000000"/>
                </a:solidFill>
                <a:effectLst/>
                <a:uLnTx/>
                <a:uFillTx/>
                <a:latin typeface="Arial"/>
                <a:cs typeface="+mn-ea"/>
                <a:sym typeface="+mn-lt"/>
              </a:rPr>
              <a:t> </a:t>
            </a:r>
            <a:r>
              <a:rPr kumimoji="0" lang="en-US" sz="1200" b="0" i="0" u="none" strike="noStrike" kern="0" cap="none" spc="0" normalizeH="0" baseline="0" noProof="0" dirty="0" err="1">
                <a:ln>
                  <a:noFill/>
                </a:ln>
                <a:solidFill>
                  <a:srgbClr val="000000"/>
                </a:solidFill>
                <a:effectLst/>
                <a:uLnTx/>
                <a:uFillTx/>
                <a:latin typeface="Arial"/>
                <a:cs typeface="+mn-ea"/>
                <a:sym typeface="+mn-lt"/>
              </a:rPr>
              <a:t>enim</a:t>
            </a:r>
            <a:r>
              <a:rPr kumimoji="0" lang="en-US" sz="1200" b="0" i="0" u="none" strike="noStrike" kern="0" cap="none" spc="0" normalizeH="0" baseline="0" noProof="0" dirty="0">
                <a:ln>
                  <a:noFill/>
                </a:ln>
                <a:solidFill>
                  <a:srgbClr val="000000"/>
                </a:solidFill>
                <a:effectLst/>
                <a:uLnTx/>
                <a:uFillTx/>
                <a:latin typeface="Arial"/>
                <a:cs typeface="+mn-ea"/>
                <a:sym typeface="+mn-lt"/>
              </a:rPr>
              <a:t> </a:t>
            </a:r>
            <a:r>
              <a:rPr kumimoji="0" lang="en-US" sz="1200" b="0" i="0" u="none" strike="noStrike" kern="0" cap="none" spc="0" normalizeH="0" baseline="0" noProof="0" dirty="0" err="1">
                <a:ln>
                  <a:noFill/>
                </a:ln>
                <a:solidFill>
                  <a:srgbClr val="000000"/>
                </a:solidFill>
                <a:effectLst/>
                <a:uLnTx/>
                <a:uFillTx/>
                <a:latin typeface="Arial"/>
                <a:cs typeface="+mn-ea"/>
                <a:sym typeface="+mn-lt"/>
              </a:rPr>
              <a:t>ut</a:t>
            </a:r>
            <a:r>
              <a:rPr kumimoji="0" lang="en-US" sz="1200" b="0" i="0" u="none" strike="noStrike" kern="0" cap="none" spc="0" normalizeH="0" baseline="0" noProof="0" dirty="0">
                <a:ln>
                  <a:noFill/>
                </a:ln>
                <a:solidFill>
                  <a:srgbClr val="000000"/>
                </a:solidFill>
                <a:effectLst/>
                <a:uLnTx/>
                <a:uFillTx/>
                <a:latin typeface="Arial"/>
                <a:cs typeface="+mn-ea"/>
                <a:sym typeface="+mn-lt"/>
              </a:rPr>
              <a:t> </a:t>
            </a:r>
            <a:r>
              <a:rPr kumimoji="0" lang="en-US" sz="1200" b="0" i="0" u="none" strike="noStrike" kern="0" cap="none" spc="0" normalizeH="0" baseline="0" noProof="0" dirty="0" err="1">
                <a:ln>
                  <a:noFill/>
                </a:ln>
                <a:solidFill>
                  <a:srgbClr val="000000"/>
                </a:solidFill>
                <a:effectLst/>
                <a:uLnTx/>
                <a:uFillTx/>
                <a:latin typeface="Arial"/>
                <a:cs typeface="+mn-ea"/>
                <a:sym typeface="+mn-lt"/>
              </a:rPr>
              <a:t>molestie</a:t>
            </a:r>
            <a:r>
              <a:rPr kumimoji="0" lang="en-US" sz="1200" b="0" i="0" u="none" strike="noStrike" kern="0" cap="none" spc="0" normalizeH="0" baseline="0" noProof="0" dirty="0">
                <a:ln>
                  <a:noFill/>
                </a:ln>
                <a:solidFill>
                  <a:srgbClr val="000000"/>
                </a:solidFill>
                <a:effectLst/>
                <a:uLnTx/>
                <a:uFillTx/>
                <a:latin typeface="Arial"/>
                <a:cs typeface="+mn-ea"/>
                <a:sym typeface="+mn-lt"/>
              </a:rPr>
              <a:t>. Sed </a:t>
            </a:r>
            <a:r>
              <a:rPr kumimoji="0" lang="en-US" sz="1200" b="0" i="0" u="none" strike="noStrike" kern="0" cap="none" spc="0" normalizeH="0" baseline="0" noProof="0" dirty="0" err="1">
                <a:ln>
                  <a:noFill/>
                </a:ln>
                <a:solidFill>
                  <a:srgbClr val="000000"/>
                </a:solidFill>
                <a:effectLst/>
                <a:uLnTx/>
                <a:uFillTx/>
                <a:latin typeface="Arial"/>
                <a:cs typeface="+mn-ea"/>
                <a:sym typeface="+mn-lt"/>
              </a:rPr>
              <a:t>ut</a:t>
            </a:r>
            <a:r>
              <a:rPr kumimoji="0" lang="en-US" sz="1200" b="0" i="0" u="none" strike="noStrike" kern="0" cap="none" spc="0" normalizeH="0" baseline="0" noProof="0" dirty="0">
                <a:ln>
                  <a:noFill/>
                </a:ln>
                <a:solidFill>
                  <a:srgbClr val="000000"/>
                </a:solidFill>
                <a:effectLst/>
                <a:uLnTx/>
                <a:uFillTx/>
                <a:latin typeface="Arial"/>
                <a:cs typeface="+mn-ea"/>
                <a:sym typeface="+mn-lt"/>
              </a:rPr>
              <a:t> </a:t>
            </a:r>
            <a:r>
              <a:rPr kumimoji="0" lang="en-US" sz="1200" b="0" i="0" u="none" strike="noStrike" kern="0" cap="none" spc="0" normalizeH="0" baseline="0" noProof="0" dirty="0" err="1">
                <a:ln>
                  <a:noFill/>
                </a:ln>
                <a:solidFill>
                  <a:srgbClr val="000000"/>
                </a:solidFill>
                <a:effectLst/>
                <a:uLnTx/>
                <a:uFillTx/>
                <a:latin typeface="Arial"/>
                <a:cs typeface="+mn-ea"/>
                <a:sym typeface="+mn-lt"/>
              </a:rPr>
              <a:t>rhoncus</a:t>
            </a:r>
            <a:r>
              <a:rPr kumimoji="0" lang="en-US" sz="1200" b="0" i="0" u="none" strike="noStrike" kern="0" cap="none" spc="0" normalizeH="0" baseline="0" noProof="0" dirty="0">
                <a:ln>
                  <a:noFill/>
                </a:ln>
                <a:solidFill>
                  <a:srgbClr val="000000"/>
                </a:solidFill>
                <a:effectLst/>
                <a:uLnTx/>
                <a:uFillTx/>
                <a:latin typeface="Arial"/>
                <a:cs typeface="+mn-ea"/>
                <a:sym typeface="+mn-lt"/>
              </a:rPr>
              <a:t> ipsum. </a:t>
            </a:r>
            <a:r>
              <a:rPr kumimoji="0" lang="en-US" sz="1200" b="0" i="0" u="none" strike="noStrike" kern="0" cap="none" spc="0" normalizeH="0" baseline="0" noProof="0" dirty="0" err="1">
                <a:ln>
                  <a:noFill/>
                </a:ln>
                <a:solidFill>
                  <a:srgbClr val="000000"/>
                </a:solidFill>
                <a:effectLst/>
                <a:uLnTx/>
                <a:uFillTx/>
                <a:latin typeface="Arial"/>
                <a:cs typeface="+mn-ea"/>
                <a:sym typeface="+mn-lt"/>
              </a:rPr>
              <a:t>Pellentesque</a:t>
            </a:r>
            <a:r>
              <a:rPr kumimoji="0" lang="en-US" sz="1200" b="0" i="0" u="none" strike="noStrike" kern="0" cap="none" spc="0" normalizeH="0" baseline="0" noProof="0" dirty="0">
                <a:ln>
                  <a:noFill/>
                </a:ln>
                <a:solidFill>
                  <a:srgbClr val="000000"/>
                </a:solidFill>
                <a:effectLst/>
                <a:uLnTx/>
                <a:uFillTx/>
                <a:latin typeface="Arial"/>
                <a:cs typeface="+mn-ea"/>
                <a:sym typeface="+mn-lt"/>
              </a:rPr>
              <a:t> </a:t>
            </a:r>
            <a:r>
              <a:rPr kumimoji="0" lang="en-US" sz="1200" b="0" i="0" u="none" strike="noStrike" kern="0" cap="none" spc="0" normalizeH="0" baseline="0" noProof="0" dirty="0" err="1">
                <a:ln>
                  <a:noFill/>
                </a:ln>
                <a:solidFill>
                  <a:srgbClr val="000000"/>
                </a:solidFill>
                <a:effectLst/>
                <a:uLnTx/>
                <a:uFillTx/>
                <a:latin typeface="Arial"/>
                <a:cs typeface="+mn-ea"/>
                <a:sym typeface="+mn-lt"/>
              </a:rPr>
              <a:t>velit</a:t>
            </a:r>
            <a:r>
              <a:rPr kumimoji="0" lang="en-US" sz="1200" b="0" i="0" u="none" strike="noStrike" kern="0" cap="none" spc="0" normalizeH="0" baseline="0" noProof="0" dirty="0">
                <a:ln>
                  <a:noFill/>
                </a:ln>
                <a:solidFill>
                  <a:srgbClr val="000000"/>
                </a:solidFill>
                <a:effectLst/>
                <a:uLnTx/>
                <a:uFillTx/>
                <a:latin typeface="Arial"/>
                <a:cs typeface="+mn-ea"/>
                <a:sym typeface="+mn-lt"/>
              </a:rPr>
              <a:t> quam, </a:t>
            </a:r>
            <a:r>
              <a:rPr kumimoji="0" lang="en-US" sz="1200" b="0" i="0" u="none" strike="noStrike" kern="0" cap="none" spc="0" normalizeH="0" baseline="0" noProof="0" dirty="0" err="1">
                <a:ln>
                  <a:noFill/>
                </a:ln>
                <a:solidFill>
                  <a:srgbClr val="000000"/>
                </a:solidFill>
                <a:effectLst/>
                <a:uLnTx/>
                <a:uFillTx/>
                <a:latin typeface="Arial"/>
                <a:cs typeface="+mn-ea"/>
                <a:sym typeface="+mn-lt"/>
              </a:rPr>
              <a:t>pretium</a:t>
            </a:r>
            <a:r>
              <a:rPr kumimoji="0" lang="en-US" sz="1200" b="0" i="0" u="none" strike="noStrike" kern="0" cap="none" spc="0" normalizeH="0" baseline="0" noProof="0" dirty="0">
                <a:ln>
                  <a:noFill/>
                </a:ln>
                <a:solidFill>
                  <a:srgbClr val="000000"/>
                </a:solidFill>
                <a:effectLst/>
                <a:uLnTx/>
                <a:uFillTx/>
                <a:latin typeface="Arial"/>
                <a:cs typeface="+mn-ea"/>
                <a:sym typeface="+mn-lt"/>
              </a:rPr>
              <a:t> </a:t>
            </a:r>
            <a:r>
              <a:rPr kumimoji="0" lang="en-US" sz="1200" b="0" i="0" u="none" strike="noStrike" kern="0" cap="none" spc="0" normalizeH="0" baseline="0" noProof="0" dirty="0" err="1">
                <a:ln>
                  <a:noFill/>
                </a:ln>
                <a:solidFill>
                  <a:srgbClr val="000000"/>
                </a:solidFill>
                <a:effectLst/>
                <a:uLnTx/>
                <a:uFillTx/>
                <a:latin typeface="Arial"/>
                <a:cs typeface="+mn-ea"/>
                <a:sym typeface="+mn-lt"/>
              </a:rPr>
              <a:t>nec</a:t>
            </a:r>
            <a:r>
              <a:rPr kumimoji="0" lang="en-US" sz="1200" b="0" i="0" u="none" strike="noStrike" kern="0" cap="none" spc="0" normalizeH="0" baseline="0" noProof="0" dirty="0">
                <a:ln>
                  <a:noFill/>
                </a:ln>
                <a:solidFill>
                  <a:srgbClr val="000000"/>
                </a:solidFill>
                <a:effectLst/>
                <a:uLnTx/>
                <a:uFillTx/>
                <a:latin typeface="Arial"/>
                <a:cs typeface="+mn-ea"/>
                <a:sym typeface="+mn-lt"/>
              </a:rPr>
              <a:t> </a:t>
            </a:r>
            <a:r>
              <a:rPr kumimoji="0" lang="en-US" sz="1200" b="0" i="0" u="none" strike="noStrike" kern="0" cap="none" spc="0" normalizeH="0" baseline="0" noProof="0" dirty="0" err="1">
                <a:ln>
                  <a:noFill/>
                </a:ln>
                <a:solidFill>
                  <a:srgbClr val="000000"/>
                </a:solidFill>
                <a:effectLst/>
                <a:uLnTx/>
                <a:uFillTx/>
                <a:latin typeface="Arial"/>
                <a:cs typeface="+mn-ea"/>
                <a:sym typeface="+mn-lt"/>
              </a:rPr>
              <a:t>purus</a:t>
            </a:r>
            <a:r>
              <a:rPr kumimoji="0" lang="en-US" sz="1200" b="0" i="0" u="none" strike="noStrike" kern="0" cap="none" spc="0" normalizeH="0" baseline="0" noProof="0" dirty="0">
                <a:ln>
                  <a:noFill/>
                </a:ln>
                <a:solidFill>
                  <a:srgbClr val="000000"/>
                </a:solidFill>
                <a:effectLst/>
                <a:uLnTx/>
                <a:uFillTx/>
                <a:latin typeface="Arial"/>
                <a:cs typeface="+mn-ea"/>
                <a:sym typeface="+mn-lt"/>
              </a:rPr>
              <a:t> </a:t>
            </a:r>
            <a:r>
              <a:rPr kumimoji="0" lang="en-US" sz="1200" b="0" i="0" u="none" strike="noStrike" kern="0" cap="none" spc="0" normalizeH="0" baseline="0" noProof="0" dirty="0" err="1">
                <a:ln>
                  <a:noFill/>
                </a:ln>
                <a:solidFill>
                  <a:srgbClr val="000000"/>
                </a:solidFill>
                <a:effectLst/>
                <a:uLnTx/>
                <a:uFillTx/>
                <a:latin typeface="Arial"/>
                <a:cs typeface="+mn-ea"/>
                <a:sym typeface="+mn-lt"/>
              </a:rPr>
              <a:t>eu</a:t>
            </a:r>
            <a:r>
              <a:rPr kumimoji="0" lang="en-US" sz="1200" b="0" i="0" u="none" strike="noStrike" kern="0" cap="none" spc="0" normalizeH="0" baseline="0" noProof="0" dirty="0">
                <a:ln>
                  <a:noFill/>
                </a:ln>
                <a:solidFill>
                  <a:srgbClr val="000000"/>
                </a:solidFill>
                <a:effectLst/>
                <a:uLnTx/>
                <a:uFillTx/>
                <a:latin typeface="Arial"/>
                <a:cs typeface="+mn-ea"/>
                <a:sym typeface="+mn-lt"/>
              </a:rPr>
              <a:t>, </a:t>
            </a:r>
            <a:r>
              <a:rPr kumimoji="0" lang="en-US" sz="1200" b="0" i="0" u="none" strike="noStrike" kern="0" cap="none" spc="0" normalizeH="0" baseline="0" noProof="0" dirty="0" err="1">
                <a:ln>
                  <a:noFill/>
                </a:ln>
                <a:solidFill>
                  <a:srgbClr val="000000"/>
                </a:solidFill>
                <a:effectLst/>
                <a:uLnTx/>
                <a:uFillTx/>
                <a:latin typeface="Arial"/>
                <a:cs typeface="+mn-ea"/>
                <a:sym typeface="+mn-lt"/>
              </a:rPr>
              <a:t>volutpat</a:t>
            </a:r>
            <a:r>
              <a:rPr kumimoji="0" lang="en-US" sz="1200" b="0" i="0" u="none" strike="noStrike" kern="0" cap="none" spc="0" normalizeH="0" baseline="0" noProof="0" dirty="0">
                <a:ln>
                  <a:noFill/>
                </a:ln>
                <a:solidFill>
                  <a:srgbClr val="000000"/>
                </a:solidFill>
                <a:effectLst/>
                <a:uLnTx/>
                <a:uFillTx/>
                <a:latin typeface="Arial"/>
                <a:cs typeface="+mn-ea"/>
                <a:sym typeface="+mn-lt"/>
              </a:rPr>
              <a:t> </a:t>
            </a:r>
            <a:r>
              <a:rPr kumimoji="0" lang="en-US" sz="1200" b="0" i="0" u="none" strike="noStrike" kern="0" cap="none" spc="0" normalizeH="0" baseline="0" noProof="0" dirty="0" err="1">
                <a:ln>
                  <a:noFill/>
                </a:ln>
                <a:solidFill>
                  <a:srgbClr val="000000"/>
                </a:solidFill>
                <a:effectLst/>
                <a:uLnTx/>
                <a:uFillTx/>
                <a:latin typeface="Arial"/>
                <a:cs typeface="+mn-ea"/>
                <a:sym typeface="+mn-lt"/>
              </a:rPr>
              <a:t>vulputate</a:t>
            </a:r>
            <a:r>
              <a:rPr kumimoji="0" lang="en-US" sz="1200" b="0" i="0" u="none" strike="noStrike" kern="0" cap="none" spc="0" normalizeH="0" baseline="0" noProof="0" dirty="0">
                <a:ln>
                  <a:noFill/>
                </a:ln>
                <a:solidFill>
                  <a:srgbClr val="000000"/>
                </a:solidFill>
                <a:effectLst/>
                <a:uLnTx/>
                <a:uFillTx/>
                <a:latin typeface="Arial"/>
                <a:cs typeface="+mn-ea"/>
                <a:sym typeface="+mn-lt"/>
              </a:rPr>
              <a:t> diam. </a:t>
            </a:r>
          </a:p>
        </p:txBody>
      </p:sp>
      <p:sp>
        <p:nvSpPr>
          <p:cNvPr id="198" name="TextBox 48">
            <a:extLst>
              <a:ext uri="{FF2B5EF4-FFF2-40B4-BE49-F238E27FC236}">
                <a16:creationId xmlns:a16="http://schemas.microsoft.com/office/drawing/2014/main" id="{B9A63A18-286D-4D6E-910E-45069F9F61A8}"/>
              </a:ext>
            </a:extLst>
          </p:cNvPr>
          <p:cNvSpPr txBox="1"/>
          <p:nvPr/>
        </p:nvSpPr>
        <p:spPr>
          <a:xfrm>
            <a:off x="7451054" y="1194953"/>
            <a:ext cx="639919" cy="58477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B2B2B2"/>
                </a:solidFill>
                <a:effectLst/>
                <a:uLnTx/>
                <a:uFillTx/>
                <a:latin typeface="Arial"/>
                <a:cs typeface="+mn-ea"/>
                <a:sym typeface="+mn-lt"/>
              </a:rPr>
              <a:t>04</a:t>
            </a:r>
          </a:p>
        </p:txBody>
      </p:sp>
      <p:sp>
        <p:nvSpPr>
          <p:cNvPr id="199" name="Rectangle 49">
            <a:extLst>
              <a:ext uri="{FF2B5EF4-FFF2-40B4-BE49-F238E27FC236}">
                <a16:creationId xmlns:a16="http://schemas.microsoft.com/office/drawing/2014/main" id="{000A1899-FC70-4059-A86B-7E73FC2007B2}"/>
              </a:ext>
            </a:extLst>
          </p:cNvPr>
          <p:cNvSpPr/>
          <p:nvPr/>
        </p:nvSpPr>
        <p:spPr>
          <a:xfrm>
            <a:off x="5924404" y="1704299"/>
            <a:ext cx="2192741" cy="1015663"/>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Arial"/>
                <a:cs typeface="+mn-ea"/>
                <a:sym typeface="+mn-lt"/>
              </a:rPr>
              <a:t>Aliquam gravida </a:t>
            </a:r>
            <a:r>
              <a:rPr kumimoji="0" lang="en-US" sz="1200" b="0" i="0" u="none" strike="noStrike" kern="0" cap="none" spc="0" normalizeH="0" baseline="0" noProof="0" dirty="0" err="1">
                <a:ln>
                  <a:noFill/>
                </a:ln>
                <a:solidFill>
                  <a:srgbClr val="000000"/>
                </a:solidFill>
                <a:effectLst/>
                <a:uLnTx/>
                <a:uFillTx/>
                <a:latin typeface="Arial"/>
                <a:cs typeface="+mn-ea"/>
                <a:sym typeface="+mn-lt"/>
              </a:rPr>
              <a:t>eu</a:t>
            </a:r>
            <a:r>
              <a:rPr kumimoji="0" lang="en-US" sz="1200" b="0" i="0" u="none" strike="noStrike" kern="0" cap="none" spc="0" normalizeH="0" baseline="0" noProof="0" dirty="0">
                <a:ln>
                  <a:noFill/>
                </a:ln>
                <a:solidFill>
                  <a:srgbClr val="000000"/>
                </a:solidFill>
                <a:effectLst/>
                <a:uLnTx/>
                <a:uFillTx/>
                <a:latin typeface="Arial"/>
                <a:cs typeface="+mn-ea"/>
                <a:sym typeface="+mn-lt"/>
              </a:rPr>
              <a:t> </a:t>
            </a:r>
            <a:r>
              <a:rPr kumimoji="0" lang="en-US" sz="1200" b="0" i="0" u="none" strike="noStrike" kern="0" cap="none" spc="0" normalizeH="0" baseline="0" noProof="0" dirty="0" err="1">
                <a:ln>
                  <a:noFill/>
                </a:ln>
                <a:solidFill>
                  <a:srgbClr val="000000"/>
                </a:solidFill>
                <a:effectLst/>
                <a:uLnTx/>
                <a:uFillTx/>
                <a:latin typeface="Arial"/>
                <a:cs typeface="+mn-ea"/>
                <a:sym typeface="+mn-lt"/>
              </a:rPr>
              <a:t>enim</a:t>
            </a:r>
            <a:r>
              <a:rPr kumimoji="0" lang="en-US" sz="1200" b="0" i="0" u="none" strike="noStrike" kern="0" cap="none" spc="0" normalizeH="0" baseline="0" noProof="0" dirty="0">
                <a:ln>
                  <a:noFill/>
                </a:ln>
                <a:solidFill>
                  <a:srgbClr val="000000"/>
                </a:solidFill>
                <a:effectLst/>
                <a:uLnTx/>
                <a:uFillTx/>
                <a:latin typeface="Arial"/>
                <a:cs typeface="+mn-ea"/>
                <a:sym typeface="+mn-lt"/>
              </a:rPr>
              <a:t> </a:t>
            </a:r>
            <a:r>
              <a:rPr kumimoji="0" lang="en-US" sz="1200" b="0" i="0" u="none" strike="noStrike" kern="0" cap="none" spc="0" normalizeH="0" baseline="0" noProof="0" dirty="0" err="1">
                <a:ln>
                  <a:noFill/>
                </a:ln>
                <a:solidFill>
                  <a:srgbClr val="000000"/>
                </a:solidFill>
                <a:effectLst/>
                <a:uLnTx/>
                <a:uFillTx/>
                <a:latin typeface="Arial"/>
                <a:cs typeface="+mn-ea"/>
                <a:sym typeface="+mn-lt"/>
              </a:rPr>
              <a:t>ut</a:t>
            </a:r>
            <a:r>
              <a:rPr kumimoji="0" lang="en-US" sz="1200" b="0" i="0" u="none" strike="noStrike" kern="0" cap="none" spc="0" normalizeH="0" baseline="0" noProof="0" dirty="0">
                <a:ln>
                  <a:noFill/>
                </a:ln>
                <a:solidFill>
                  <a:srgbClr val="000000"/>
                </a:solidFill>
                <a:effectLst/>
                <a:uLnTx/>
                <a:uFillTx/>
                <a:latin typeface="Arial"/>
                <a:cs typeface="+mn-ea"/>
                <a:sym typeface="+mn-lt"/>
              </a:rPr>
              <a:t> </a:t>
            </a:r>
            <a:r>
              <a:rPr kumimoji="0" lang="en-US" sz="1200" b="0" i="0" u="none" strike="noStrike" kern="0" cap="none" spc="0" normalizeH="0" baseline="0" noProof="0" dirty="0" err="1">
                <a:ln>
                  <a:noFill/>
                </a:ln>
                <a:solidFill>
                  <a:srgbClr val="000000"/>
                </a:solidFill>
                <a:effectLst/>
                <a:uLnTx/>
                <a:uFillTx/>
                <a:latin typeface="Arial"/>
                <a:cs typeface="+mn-ea"/>
                <a:sym typeface="+mn-lt"/>
              </a:rPr>
              <a:t>molestie</a:t>
            </a:r>
            <a:r>
              <a:rPr kumimoji="0" lang="en-US" sz="1200" b="0" i="0" u="none" strike="noStrike" kern="0" cap="none" spc="0" normalizeH="0" baseline="0" noProof="0" dirty="0">
                <a:ln>
                  <a:noFill/>
                </a:ln>
                <a:solidFill>
                  <a:srgbClr val="000000"/>
                </a:solidFill>
                <a:effectLst/>
                <a:uLnTx/>
                <a:uFillTx/>
                <a:latin typeface="Arial"/>
                <a:cs typeface="+mn-ea"/>
                <a:sym typeface="+mn-lt"/>
              </a:rPr>
              <a:t>. Sed </a:t>
            </a:r>
            <a:r>
              <a:rPr kumimoji="0" lang="en-US" sz="1200" b="0" i="0" u="none" strike="noStrike" kern="0" cap="none" spc="0" normalizeH="0" baseline="0" noProof="0" dirty="0" err="1">
                <a:ln>
                  <a:noFill/>
                </a:ln>
                <a:solidFill>
                  <a:srgbClr val="000000"/>
                </a:solidFill>
                <a:effectLst/>
                <a:uLnTx/>
                <a:uFillTx/>
                <a:latin typeface="Arial"/>
                <a:cs typeface="+mn-ea"/>
                <a:sym typeface="+mn-lt"/>
              </a:rPr>
              <a:t>ut</a:t>
            </a:r>
            <a:r>
              <a:rPr kumimoji="0" lang="en-US" sz="1200" b="0" i="0" u="none" strike="noStrike" kern="0" cap="none" spc="0" normalizeH="0" baseline="0" noProof="0" dirty="0">
                <a:ln>
                  <a:noFill/>
                </a:ln>
                <a:solidFill>
                  <a:srgbClr val="000000"/>
                </a:solidFill>
                <a:effectLst/>
                <a:uLnTx/>
                <a:uFillTx/>
                <a:latin typeface="Arial"/>
                <a:cs typeface="+mn-ea"/>
                <a:sym typeface="+mn-lt"/>
              </a:rPr>
              <a:t> </a:t>
            </a:r>
            <a:r>
              <a:rPr kumimoji="0" lang="en-US" sz="1200" b="0" i="0" u="none" strike="noStrike" kern="0" cap="none" spc="0" normalizeH="0" baseline="0" noProof="0" dirty="0" err="1">
                <a:ln>
                  <a:noFill/>
                </a:ln>
                <a:solidFill>
                  <a:srgbClr val="000000"/>
                </a:solidFill>
                <a:effectLst/>
                <a:uLnTx/>
                <a:uFillTx/>
                <a:latin typeface="Arial"/>
                <a:cs typeface="+mn-ea"/>
                <a:sym typeface="+mn-lt"/>
              </a:rPr>
              <a:t>rhoncus</a:t>
            </a:r>
            <a:r>
              <a:rPr kumimoji="0" lang="en-US" sz="1200" b="0" i="0" u="none" strike="noStrike" kern="0" cap="none" spc="0" normalizeH="0" baseline="0" noProof="0" dirty="0">
                <a:ln>
                  <a:noFill/>
                </a:ln>
                <a:solidFill>
                  <a:srgbClr val="000000"/>
                </a:solidFill>
                <a:effectLst/>
                <a:uLnTx/>
                <a:uFillTx/>
                <a:latin typeface="Arial"/>
                <a:cs typeface="+mn-ea"/>
                <a:sym typeface="+mn-lt"/>
              </a:rPr>
              <a:t> ipsum. </a:t>
            </a:r>
            <a:r>
              <a:rPr kumimoji="0" lang="en-US" sz="1200" b="0" i="0" u="none" strike="noStrike" kern="0" cap="none" spc="0" normalizeH="0" baseline="0" noProof="0" dirty="0" err="1">
                <a:ln>
                  <a:noFill/>
                </a:ln>
                <a:solidFill>
                  <a:srgbClr val="000000"/>
                </a:solidFill>
                <a:effectLst/>
                <a:uLnTx/>
                <a:uFillTx/>
                <a:latin typeface="Arial"/>
                <a:cs typeface="+mn-ea"/>
                <a:sym typeface="+mn-lt"/>
              </a:rPr>
              <a:t>Pellentesque</a:t>
            </a:r>
            <a:r>
              <a:rPr kumimoji="0" lang="en-US" sz="1200" b="0" i="0" u="none" strike="noStrike" kern="0" cap="none" spc="0" normalizeH="0" baseline="0" noProof="0" dirty="0">
                <a:ln>
                  <a:noFill/>
                </a:ln>
                <a:solidFill>
                  <a:srgbClr val="000000"/>
                </a:solidFill>
                <a:effectLst/>
                <a:uLnTx/>
                <a:uFillTx/>
                <a:latin typeface="Arial"/>
                <a:cs typeface="+mn-ea"/>
                <a:sym typeface="+mn-lt"/>
              </a:rPr>
              <a:t> </a:t>
            </a:r>
            <a:r>
              <a:rPr kumimoji="0" lang="en-US" sz="1200" b="0" i="0" u="none" strike="noStrike" kern="0" cap="none" spc="0" normalizeH="0" baseline="0" noProof="0" dirty="0" err="1">
                <a:ln>
                  <a:noFill/>
                </a:ln>
                <a:solidFill>
                  <a:srgbClr val="000000"/>
                </a:solidFill>
                <a:effectLst/>
                <a:uLnTx/>
                <a:uFillTx/>
                <a:latin typeface="Arial"/>
                <a:cs typeface="+mn-ea"/>
                <a:sym typeface="+mn-lt"/>
              </a:rPr>
              <a:t>velit</a:t>
            </a:r>
            <a:r>
              <a:rPr kumimoji="0" lang="en-US" sz="1200" b="0" i="0" u="none" strike="noStrike" kern="0" cap="none" spc="0" normalizeH="0" baseline="0" noProof="0" dirty="0">
                <a:ln>
                  <a:noFill/>
                </a:ln>
                <a:solidFill>
                  <a:srgbClr val="000000"/>
                </a:solidFill>
                <a:effectLst/>
                <a:uLnTx/>
                <a:uFillTx/>
                <a:latin typeface="Arial"/>
                <a:cs typeface="+mn-ea"/>
                <a:sym typeface="+mn-lt"/>
              </a:rPr>
              <a:t> quam, </a:t>
            </a:r>
            <a:r>
              <a:rPr kumimoji="0" lang="en-US" sz="1200" b="0" i="0" u="none" strike="noStrike" kern="0" cap="none" spc="0" normalizeH="0" baseline="0" noProof="0" dirty="0" err="1">
                <a:ln>
                  <a:noFill/>
                </a:ln>
                <a:solidFill>
                  <a:srgbClr val="000000"/>
                </a:solidFill>
                <a:effectLst/>
                <a:uLnTx/>
                <a:uFillTx/>
                <a:latin typeface="Arial"/>
                <a:cs typeface="+mn-ea"/>
                <a:sym typeface="+mn-lt"/>
              </a:rPr>
              <a:t>pretium</a:t>
            </a:r>
            <a:r>
              <a:rPr kumimoji="0" lang="en-US" sz="1200" b="0" i="0" u="none" strike="noStrike" kern="0" cap="none" spc="0" normalizeH="0" baseline="0" noProof="0" dirty="0">
                <a:ln>
                  <a:noFill/>
                </a:ln>
                <a:solidFill>
                  <a:srgbClr val="000000"/>
                </a:solidFill>
                <a:effectLst/>
                <a:uLnTx/>
                <a:uFillTx/>
                <a:latin typeface="Arial"/>
                <a:cs typeface="+mn-ea"/>
                <a:sym typeface="+mn-lt"/>
              </a:rPr>
              <a:t> </a:t>
            </a:r>
            <a:r>
              <a:rPr kumimoji="0" lang="en-US" sz="1200" b="0" i="0" u="none" strike="noStrike" kern="0" cap="none" spc="0" normalizeH="0" baseline="0" noProof="0" dirty="0" err="1">
                <a:ln>
                  <a:noFill/>
                </a:ln>
                <a:solidFill>
                  <a:srgbClr val="000000"/>
                </a:solidFill>
                <a:effectLst/>
                <a:uLnTx/>
                <a:uFillTx/>
                <a:latin typeface="Arial"/>
                <a:cs typeface="+mn-ea"/>
                <a:sym typeface="+mn-lt"/>
              </a:rPr>
              <a:t>nec</a:t>
            </a:r>
            <a:r>
              <a:rPr kumimoji="0" lang="en-US" sz="1200" b="0" i="0" u="none" strike="noStrike" kern="0" cap="none" spc="0" normalizeH="0" baseline="0" noProof="0" dirty="0">
                <a:ln>
                  <a:noFill/>
                </a:ln>
                <a:solidFill>
                  <a:srgbClr val="000000"/>
                </a:solidFill>
                <a:effectLst/>
                <a:uLnTx/>
                <a:uFillTx/>
                <a:latin typeface="Arial"/>
                <a:cs typeface="+mn-ea"/>
                <a:sym typeface="+mn-lt"/>
              </a:rPr>
              <a:t> </a:t>
            </a:r>
            <a:r>
              <a:rPr kumimoji="0" lang="en-US" sz="1200" b="0" i="0" u="none" strike="noStrike" kern="0" cap="none" spc="0" normalizeH="0" baseline="0" noProof="0" dirty="0" err="1">
                <a:ln>
                  <a:noFill/>
                </a:ln>
                <a:solidFill>
                  <a:srgbClr val="000000"/>
                </a:solidFill>
                <a:effectLst/>
                <a:uLnTx/>
                <a:uFillTx/>
                <a:latin typeface="Arial"/>
                <a:cs typeface="+mn-ea"/>
                <a:sym typeface="+mn-lt"/>
              </a:rPr>
              <a:t>purus</a:t>
            </a:r>
            <a:r>
              <a:rPr kumimoji="0" lang="en-US" sz="1200" b="0" i="0" u="none" strike="noStrike" kern="0" cap="none" spc="0" normalizeH="0" baseline="0" noProof="0" dirty="0">
                <a:ln>
                  <a:noFill/>
                </a:ln>
                <a:solidFill>
                  <a:srgbClr val="000000"/>
                </a:solidFill>
                <a:effectLst/>
                <a:uLnTx/>
                <a:uFillTx/>
                <a:latin typeface="Arial"/>
                <a:cs typeface="+mn-ea"/>
                <a:sym typeface="+mn-lt"/>
              </a:rPr>
              <a:t> </a:t>
            </a:r>
            <a:r>
              <a:rPr kumimoji="0" lang="en-US" sz="1200" b="0" i="0" u="none" strike="noStrike" kern="0" cap="none" spc="0" normalizeH="0" baseline="0" noProof="0" dirty="0" err="1">
                <a:ln>
                  <a:noFill/>
                </a:ln>
                <a:solidFill>
                  <a:srgbClr val="000000"/>
                </a:solidFill>
                <a:effectLst/>
                <a:uLnTx/>
                <a:uFillTx/>
                <a:latin typeface="Arial"/>
                <a:cs typeface="+mn-ea"/>
                <a:sym typeface="+mn-lt"/>
              </a:rPr>
              <a:t>eu</a:t>
            </a:r>
            <a:r>
              <a:rPr kumimoji="0" lang="en-US" sz="1200" b="0" i="0" u="none" strike="noStrike" kern="0" cap="none" spc="0" normalizeH="0" baseline="0" noProof="0" dirty="0">
                <a:ln>
                  <a:noFill/>
                </a:ln>
                <a:solidFill>
                  <a:srgbClr val="000000"/>
                </a:solidFill>
                <a:effectLst/>
                <a:uLnTx/>
                <a:uFillTx/>
                <a:latin typeface="Arial"/>
                <a:cs typeface="+mn-ea"/>
                <a:sym typeface="+mn-lt"/>
              </a:rPr>
              <a:t>, </a:t>
            </a:r>
            <a:r>
              <a:rPr kumimoji="0" lang="en-US" sz="1200" b="0" i="0" u="none" strike="noStrike" kern="0" cap="none" spc="0" normalizeH="0" baseline="0" noProof="0" dirty="0" err="1">
                <a:ln>
                  <a:noFill/>
                </a:ln>
                <a:solidFill>
                  <a:srgbClr val="000000"/>
                </a:solidFill>
                <a:effectLst/>
                <a:uLnTx/>
                <a:uFillTx/>
                <a:latin typeface="Arial"/>
                <a:cs typeface="+mn-ea"/>
                <a:sym typeface="+mn-lt"/>
              </a:rPr>
              <a:t>volutpat</a:t>
            </a:r>
            <a:r>
              <a:rPr kumimoji="0" lang="en-US" sz="1200" b="0" i="0" u="none" strike="noStrike" kern="0" cap="none" spc="0" normalizeH="0" baseline="0" noProof="0" dirty="0">
                <a:ln>
                  <a:noFill/>
                </a:ln>
                <a:solidFill>
                  <a:srgbClr val="000000"/>
                </a:solidFill>
                <a:effectLst/>
                <a:uLnTx/>
                <a:uFillTx/>
                <a:latin typeface="Arial"/>
                <a:cs typeface="+mn-ea"/>
                <a:sym typeface="+mn-lt"/>
              </a:rPr>
              <a:t> </a:t>
            </a:r>
            <a:r>
              <a:rPr kumimoji="0" lang="en-US" sz="1200" b="0" i="0" u="none" strike="noStrike" kern="0" cap="none" spc="0" normalizeH="0" baseline="0" noProof="0" dirty="0" err="1">
                <a:ln>
                  <a:noFill/>
                </a:ln>
                <a:solidFill>
                  <a:srgbClr val="000000"/>
                </a:solidFill>
                <a:effectLst/>
                <a:uLnTx/>
                <a:uFillTx/>
                <a:latin typeface="Arial"/>
                <a:cs typeface="+mn-ea"/>
                <a:sym typeface="+mn-lt"/>
              </a:rPr>
              <a:t>vulputate</a:t>
            </a:r>
            <a:r>
              <a:rPr kumimoji="0" lang="en-US" sz="1200" b="0" i="0" u="none" strike="noStrike" kern="0" cap="none" spc="0" normalizeH="0" baseline="0" noProof="0" dirty="0">
                <a:ln>
                  <a:noFill/>
                </a:ln>
                <a:solidFill>
                  <a:srgbClr val="000000"/>
                </a:solidFill>
                <a:effectLst/>
                <a:uLnTx/>
                <a:uFillTx/>
                <a:latin typeface="Arial"/>
                <a:cs typeface="+mn-ea"/>
                <a:sym typeface="+mn-lt"/>
              </a:rPr>
              <a:t> diam. </a:t>
            </a:r>
          </a:p>
        </p:txBody>
      </p:sp>
      <p:grpSp>
        <p:nvGrpSpPr>
          <p:cNvPr id="200" name="Group 525">
            <a:extLst>
              <a:ext uri="{FF2B5EF4-FFF2-40B4-BE49-F238E27FC236}">
                <a16:creationId xmlns:a16="http://schemas.microsoft.com/office/drawing/2014/main" id="{05239D66-5DD7-494E-B680-FE572382DEDC}"/>
              </a:ext>
            </a:extLst>
          </p:cNvPr>
          <p:cNvGrpSpPr/>
          <p:nvPr/>
        </p:nvGrpSpPr>
        <p:grpSpPr>
          <a:xfrm>
            <a:off x="3064913" y="3207771"/>
            <a:ext cx="311694" cy="322154"/>
            <a:chOff x="4054476" y="1160463"/>
            <a:chExt cx="236537" cy="244475"/>
          </a:xfrm>
          <a:solidFill>
            <a:schemeClr val="bg2"/>
          </a:solidFill>
        </p:grpSpPr>
        <p:sp>
          <p:nvSpPr>
            <p:cNvPr id="201" name="Freeform 58">
              <a:extLst>
                <a:ext uri="{FF2B5EF4-FFF2-40B4-BE49-F238E27FC236}">
                  <a16:creationId xmlns:a16="http://schemas.microsoft.com/office/drawing/2014/main" id="{A5C3BF9D-C36D-40A9-8B5F-78995E74E5F8}"/>
                </a:ext>
              </a:extLst>
            </p:cNvPr>
            <p:cNvSpPr>
              <a:spLocks/>
            </p:cNvSpPr>
            <p:nvPr/>
          </p:nvSpPr>
          <p:spPr bwMode="auto">
            <a:xfrm>
              <a:off x="4144963" y="1160463"/>
              <a:ext cx="146050" cy="146050"/>
            </a:xfrm>
            <a:custGeom>
              <a:avLst/>
              <a:gdLst>
                <a:gd name="T0" fmla="*/ 37 w 39"/>
                <a:gd name="T1" fmla="*/ 2 h 39"/>
                <a:gd name="T2" fmla="*/ 31 w 39"/>
                <a:gd name="T3" fmla="*/ 3 h 39"/>
                <a:gd name="T4" fmla="*/ 12 w 39"/>
                <a:gd name="T5" fmla="*/ 22 h 39"/>
                <a:gd name="T6" fmla="*/ 0 w 39"/>
                <a:gd name="T7" fmla="*/ 29 h 39"/>
                <a:gd name="T8" fmla="*/ 10 w 39"/>
                <a:gd name="T9" fmla="*/ 39 h 39"/>
                <a:gd name="T10" fmla="*/ 17 w 39"/>
                <a:gd name="T11" fmla="*/ 27 h 39"/>
                <a:gd name="T12" fmla="*/ 36 w 39"/>
                <a:gd name="T13" fmla="*/ 8 h 39"/>
                <a:gd name="T14" fmla="*/ 37 w 39"/>
                <a:gd name="T15" fmla="*/ 2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39">
                  <a:moveTo>
                    <a:pt x="37" y="2"/>
                  </a:moveTo>
                  <a:cubicBezTo>
                    <a:pt x="34" y="0"/>
                    <a:pt x="31" y="3"/>
                    <a:pt x="31" y="3"/>
                  </a:cubicBezTo>
                  <a:cubicBezTo>
                    <a:pt x="31" y="3"/>
                    <a:pt x="15" y="19"/>
                    <a:pt x="12" y="22"/>
                  </a:cubicBezTo>
                  <a:cubicBezTo>
                    <a:pt x="9" y="25"/>
                    <a:pt x="0" y="29"/>
                    <a:pt x="0" y="29"/>
                  </a:cubicBezTo>
                  <a:cubicBezTo>
                    <a:pt x="10" y="39"/>
                    <a:pt x="10" y="39"/>
                    <a:pt x="10" y="39"/>
                  </a:cubicBezTo>
                  <a:cubicBezTo>
                    <a:pt x="10" y="39"/>
                    <a:pt x="14" y="30"/>
                    <a:pt x="17" y="27"/>
                  </a:cubicBezTo>
                  <a:cubicBezTo>
                    <a:pt x="20" y="24"/>
                    <a:pt x="36" y="8"/>
                    <a:pt x="36" y="8"/>
                  </a:cubicBezTo>
                  <a:cubicBezTo>
                    <a:pt x="36" y="8"/>
                    <a:pt x="39" y="5"/>
                    <a:pt x="3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dirty="0">
                <a:ln>
                  <a:noFill/>
                </a:ln>
                <a:solidFill>
                  <a:srgbClr val="000000"/>
                </a:solidFill>
                <a:effectLst/>
                <a:uLnTx/>
                <a:uFillTx/>
                <a:latin typeface="Arial"/>
                <a:cs typeface="+mn-ea"/>
                <a:sym typeface="+mn-lt"/>
              </a:endParaRPr>
            </a:p>
          </p:txBody>
        </p:sp>
        <p:sp>
          <p:nvSpPr>
            <p:cNvPr id="202" name="Freeform 59">
              <a:extLst>
                <a:ext uri="{FF2B5EF4-FFF2-40B4-BE49-F238E27FC236}">
                  <a16:creationId xmlns:a16="http://schemas.microsoft.com/office/drawing/2014/main" id="{FE6BFC4C-D351-44D2-90AC-0CB667018193}"/>
                </a:ext>
              </a:extLst>
            </p:cNvPr>
            <p:cNvSpPr>
              <a:spLocks noEditPoints="1"/>
            </p:cNvSpPr>
            <p:nvPr/>
          </p:nvSpPr>
          <p:spPr bwMode="auto">
            <a:xfrm>
              <a:off x="4054476" y="1281113"/>
              <a:ext cx="115888" cy="123825"/>
            </a:xfrm>
            <a:custGeom>
              <a:avLst/>
              <a:gdLst>
                <a:gd name="T0" fmla="*/ 12 w 31"/>
                <a:gd name="T1" fmla="*/ 7 h 33"/>
                <a:gd name="T2" fmla="*/ 0 w 31"/>
                <a:gd name="T3" fmla="*/ 27 h 33"/>
                <a:gd name="T4" fmla="*/ 31 w 31"/>
                <a:gd name="T5" fmla="*/ 10 h 33"/>
                <a:gd name="T6" fmla="*/ 21 w 31"/>
                <a:gd name="T7" fmla="*/ 0 h 33"/>
                <a:gd name="T8" fmla="*/ 12 w 31"/>
                <a:gd name="T9" fmla="*/ 7 h 33"/>
                <a:gd name="T10" fmla="*/ 9 w 31"/>
                <a:gd name="T11" fmla="*/ 24 h 33"/>
                <a:gd name="T12" fmla="*/ 20 w 31"/>
                <a:gd name="T13" fmla="*/ 4 h 33"/>
                <a:gd name="T14" fmla="*/ 9 w 31"/>
                <a:gd name="T15" fmla="*/ 24 h 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1" h="33">
                  <a:moveTo>
                    <a:pt x="12" y="7"/>
                  </a:moveTo>
                  <a:cubicBezTo>
                    <a:pt x="7" y="19"/>
                    <a:pt x="8" y="25"/>
                    <a:pt x="0" y="27"/>
                  </a:cubicBezTo>
                  <a:cubicBezTo>
                    <a:pt x="31" y="33"/>
                    <a:pt x="31" y="10"/>
                    <a:pt x="31" y="10"/>
                  </a:cubicBezTo>
                  <a:cubicBezTo>
                    <a:pt x="21" y="0"/>
                    <a:pt x="21" y="0"/>
                    <a:pt x="21" y="0"/>
                  </a:cubicBezTo>
                  <a:cubicBezTo>
                    <a:pt x="21" y="0"/>
                    <a:pt x="14" y="2"/>
                    <a:pt x="12" y="7"/>
                  </a:cubicBezTo>
                  <a:close/>
                  <a:moveTo>
                    <a:pt x="9" y="24"/>
                  </a:moveTo>
                  <a:cubicBezTo>
                    <a:pt x="11" y="21"/>
                    <a:pt x="15" y="8"/>
                    <a:pt x="20" y="4"/>
                  </a:cubicBezTo>
                  <a:cubicBezTo>
                    <a:pt x="23" y="7"/>
                    <a:pt x="20" y="17"/>
                    <a:pt x="9"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dirty="0">
                <a:ln>
                  <a:noFill/>
                </a:ln>
                <a:solidFill>
                  <a:srgbClr val="000000"/>
                </a:solidFill>
                <a:effectLst/>
                <a:uLnTx/>
                <a:uFillTx/>
                <a:latin typeface="Arial"/>
                <a:cs typeface="+mn-ea"/>
                <a:sym typeface="+mn-lt"/>
              </a:endParaRPr>
            </a:p>
          </p:txBody>
        </p:sp>
      </p:grpSp>
      <p:grpSp>
        <p:nvGrpSpPr>
          <p:cNvPr id="203" name="Group 528">
            <a:extLst>
              <a:ext uri="{FF2B5EF4-FFF2-40B4-BE49-F238E27FC236}">
                <a16:creationId xmlns:a16="http://schemas.microsoft.com/office/drawing/2014/main" id="{E09D1CF1-2CF8-4B2F-9A34-A93167CA3DAC}"/>
              </a:ext>
            </a:extLst>
          </p:cNvPr>
          <p:cNvGrpSpPr/>
          <p:nvPr/>
        </p:nvGrpSpPr>
        <p:grpSpPr>
          <a:xfrm>
            <a:off x="6850526" y="3209863"/>
            <a:ext cx="271950" cy="317971"/>
            <a:chOff x="4535488" y="1625601"/>
            <a:chExt cx="206376" cy="241300"/>
          </a:xfrm>
          <a:solidFill>
            <a:schemeClr val="bg2"/>
          </a:solidFill>
        </p:grpSpPr>
        <p:sp>
          <p:nvSpPr>
            <p:cNvPr id="204" name="Freeform 68">
              <a:extLst>
                <a:ext uri="{FF2B5EF4-FFF2-40B4-BE49-F238E27FC236}">
                  <a16:creationId xmlns:a16="http://schemas.microsoft.com/office/drawing/2014/main" id="{9A1F2540-2D8D-4E9E-A4FF-D666AB4324B0}"/>
                </a:ext>
              </a:extLst>
            </p:cNvPr>
            <p:cNvSpPr>
              <a:spLocks/>
            </p:cNvSpPr>
            <p:nvPr/>
          </p:nvSpPr>
          <p:spPr bwMode="auto">
            <a:xfrm>
              <a:off x="4543426" y="1625601"/>
              <a:ext cx="198438" cy="188913"/>
            </a:xfrm>
            <a:custGeom>
              <a:avLst/>
              <a:gdLst>
                <a:gd name="T0" fmla="*/ 49 w 53"/>
                <a:gd name="T1" fmla="*/ 8 h 50"/>
                <a:gd name="T2" fmla="*/ 53 w 53"/>
                <a:gd name="T3" fmla="*/ 4 h 50"/>
                <a:gd name="T4" fmla="*/ 49 w 53"/>
                <a:gd name="T5" fmla="*/ 0 h 50"/>
                <a:gd name="T6" fmla="*/ 45 w 53"/>
                <a:gd name="T7" fmla="*/ 4 h 50"/>
                <a:gd name="T8" fmla="*/ 45 w 53"/>
                <a:gd name="T9" fmla="*/ 6 h 50"/>
                <a:gd name="T10" fmla="*/ 25 w 53"/>
                <a:gd name="T11" fmla="*/ 20 h 50"/>
                <a:gd name="T12" fmla="*/ 7 w 53"/>
                <a:gd name="T13" fmla="*/ 2 h 50"/>
                <a:gd name="T14" fmla="*/ 3 w 53"/>
                <a:gd name="T15" fmla="*/ 1 h 50"/>
                <a:gd name="T16" fmla="*/ 0 w 53"/>
                <a:gd name="T17" fmla="*/ 4 h 50"/>
                <a:gd name="T18" fmla="*/ 14 w 53"/>
                <a:gd name="T19" fmla="*/ 37 h 50"/>
                <a:gd name="T20" fmla="*/ 46 w 53"/>
                <a:gd name="T21" fmla="*/ 50 h 50"/>
                <a:gd name="T22" fmla="*/ 50 w 53"/>
                <a:gd name="T23" fmla="*/ 48 h 50"/>
                <a:gd name="T24" fmla="*/ 49 w 53"/>
                <a:gd name="T25" fmla="*/ 43 h 50"/>
                <a:gd name="T26" fmla="*/ 33 w 53"/>
                <a:gd name="T27" fmla="*/ 27 h 50"/>
                <a:gd name="T28" fmla="*/ 46 w 53"/>
                <a:gd name="T29" fmla="*/ 7 h 50"/>
                <a:gd name="T30" fmla="*/ 49 w 53"/>
                <a:gd name="T31" fmla="*/ 8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3" h="50">
                  <a:moveTo>
                    <a:pt x="49" y="8"/>
                  </a:moveTo>
                  <a:cubicBezTo>
                    <a:pt x="51" y="8"/>
                    <a:pt x="53" y="6"/>
                    <a:pt x="53" y="4"/>
                  </a:cubicBezTo>
                  <a:cubicBezTo>
                    <a:pt x="53" y="2"/>
                    <a:pt x="51" y="0"/>
                    <a:pt x="49" y="0"/>
                  </a:cubicBezTo>
                  <a:cubicBezTo>
                    <a:pt x="46" y="0"/>
                    <a:pt x="45" y="2"/>
                    <a:pt x="45" y="4"/>
                  </a:cubicBezTo>
                  <a:cubicBezTo>
                    <a:pt x="45" y="5"/>
                    <a:pt x="45" y="6"/>
                    <a:pt x="45" y="6"/>
                  </a:cubicBezTo>
                  <a:cubicBezTo>
                    <a:pt x="25" y="20"/>
                    <a:pt x="25" y="20"/>
                    <a:pt x="25" y="20"/>
                  </a:cubicBezTo>
                  <a:cubicBezTo>
                    <a:pt x="7" y="2"/>
                    <a:pt x="7" y="2"/>
                    <a:pt x="7" y="2"/>
                  </a:cubicBezTo>
                  <a:cubicBezTo>
                    <a:pt x="6" y="0"/>
                    <a:pt x="4" y="0"/>
                    <a:pt x="3" y="1"/>
                  </a:cubicBezTo>
                  <a:cubicBezTo>
                    <a:pt x="1" y="1"/>
                    <a:pt x="0" y="3"/>
                    <a:pt x="0" y="4"/>
                  </a:cubicBezTo>
                  <a:cubicBezTo>
                    <a:pt x="0" y="16"/>
                    <a:pt x="5" y="28"/>
                    <a:pt x="14" y="37"/>
                  </a:cubicBezTo>
                  <a:cubicBezTo>
                    <a:pt x="22" y="46"/>
                    <a:pt x="34" y="50"/>
                    <a:pt x="46" y="50"/>
                  </a:cubicBezTo>
                  <a:cubicBezTo>
                    <a:pt x="48" y="50"/>
                    <a:pt x="49" y="49"/>
                    <a:pt x="50" y="48"/>
                  </a:cubicBezTo>
                  <a:cubicBezTo>
                    <a:pt x="51" y="46"/>
                    <a:pt x="50" y="44"/>
                    <a:pt x="49" y="43"/>
                  </a:cubicBezTo>
                  <a:cubicBezTo>
                    <a:pt x="33" y="27"/>
                    <a:pt x="33" y="27"/>
                    <a:pt x="33" y="27"/>
                  </a:cubicBezTo>
                  <a:cubicBezTo>
                    <a:pt x="46" y="7"/>
                    <a:pt x="46" y="7"/>
                    <a:pt x="46" y="7"/>
                  </a:cubicBezTo>
                  <a:cubicBezTo>
                    <a:pt x="47" y="8"/>
                    <a:pt x="48" y="8"/>
                    <a:pt x="49"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dirty="0">
                <a:ln>
                  <a:noFill/>
                </a:ln>
                <a:solidFill>
                  <a:srgbClr val="000000"/>
                </a:solidFill>
                <a:effectLst/>
                <a:uLnTx/>
                <a:uFillTx/>
                <a:latin typeface="Arial"/>
                <a:cs typeface="+mn-ea"/>
                <a:sym typeface="+mn-lt"/>
              </a:endParaRPr>
            </a:p>
          </p:txBody>
        </p:sp>
        <p:sp>
          <p:nvSpPr>
            <p:cNvPr id="205" name="Freeform 69">
              <a:extLst>
                <a:ext uri="{FF2B5EF4-FFF2-40B4-BE49-F238E27FC236}">
                  <a16:creationId xmlns:a16="http://schemas.microsoft.com/office/drawing/2014/main" id="{E8322DDA-0E8E-45A0-8DB8-0B5FE4E30E52}"/>
                </a:ext>
              </a:extLst>
            </p:cNvPr>
            <p:cNvSpPr>
              <a:spLocks/>
            </p:cNvSpPr>
            <p:nvPr/>
          </p:nvSpPr>
          <p:spPr bwMode="auto">
            <a:xfrm>
              <a:off x="4535488" y="1779588"/>
              <a:ext cx="96838" cy="87313"/>
            </a:xfrm>
            <a:custGeom>
              <a:avLst/>
              <a:gdLst>
                <a:gd name="T0" fmla="*/ 23 w 26"/>
                <a:gd name="T1" fmla="*/ 9 h 23"/>
                <a:gd name="T2" fmla="*/ 22 w 26"/>
                <a:gd name="T3" fmla="*/ 8 h 23"/>
                <a:gd name="T4" fmla="*/ 12 w 26"/>
                <a:gd name="T5" fmla="*/ 0 h 23"/>
                <a:gd name="T6" fmla="*/ 11 w 26"/>
                <a:gd name="T7" fmla="*/ 0 h 23"/>
                <a:gd name="T8" fmla="*/ 11 w 26"/>
                <a:gd name="T9" fmla="*/ 0 h 23"/>
                <a:gd name="T10" fmla="*/ 0 w 26"/>
                <a:gd name="T11" fmla="*/ 20 h 23"/>
                <a:gd name="T12" fmla="*/ 0 w 26"/>
                <a:gd name="T13" fmla="*/ 22 h 23"/>
                <a:gd name="T14" fmla="*/ 2 w 26"/>
                <a:gd name="T15" fmla="*/ 23 h 23"/>
                <a:gd name="T16" fmla="*/ 24 w 26"/>
                <a:gd name="T17" fmla="*/ 23 h 23"/>
                <a:gd name="T18" fmla="*/ 26 w 26"/>
                <a:gd name="T19" fmla="*/ 22 h 23"/>
                <a:gd name="T20" fmla="*/ 26 w 26"/>
                <a:gd name="T21" fmla="*/ 20 h 23"/>
                <a:gd name="T22" fmla="*/ 23 w 26"/>
                <a:gd name="T23" fmla="*/ 9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23">
                  <a:moveTo>
                    <a:pt x="23" y="9"/>
                  </a:moveTo>
                  <a:cubicBezTo>
                    <a:pt x="22" y="8"/>
                    <a:pt x="22" y="8"/>
                    <a:pt x="22" y="8"/>
                  </a:cubicBezTo>
                  <a:cubicBezTo>
                    <a:pt x="18" y="6"/>
                    <a:pt x="15" y="3"/>
                    <a:pt x="12" y="0"/>
                  </a:cubicBezTo>
                  <a:cubicBezTo>
                    <a:pt x="11" y="0"/>
                    <a:pt x="11" y="0"/>
                    <a:pt x="11" y="0"/>
                  </a:cubicBezTo>
                  <a:cubicBezTo>
                    <a:pt x="11" y="0"/>
                    <a:pt x="11" y="0"/>
                    <a:pt x="11" y="0"/>
                  </a:cubicBezTo>
                  <a:cubicBezTo>
                    <a:pt x="0" y="20"/>
                    <a:pt x="0" y="20"/>
                    <a:pt x="0" y="20"/>
                  </a:cubicBezTo>
                  <a:cubicBezTo>
                    <a:pt x="0" y="21"/>
                    <a:pt x="0" y="21"/>
                    <a:pt x="0" y="22"/>
                  </a:cubicBezTo>
                  <a:cubicBezTo>
                    <a:pt x="1" y="23"/>
                    <a:pt x="1" y="23"/>
                    <a:pt x="2" y="23"/>
                  </a:cubicBezTo>
                  <a:cubicBezTo>
                    <a:pt x="24" y="23"/>
                    <a:pt x="24" y="23"/>
                    <a:pt x="24" y="23"/>
                  </a:cubicBezTo>
                  <a:cubicBezTo>
                    <a:pt x="25" y="23"/>
                    <a:pt x="25" y="23"/>
                    <a:pt x="26" y="22"/>
                  </a:cubicBezTo>
                  <a:cubicBezTo>
                    <a:pt x="26" y="22"/>
                    <a:pt x="26" y="21"/>
                    <a:pt x="26" y="20"/>
                  </a:cubicBezTo>
                  <a:lnTo>
                    <a:pt x="23"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dirty="0">
                <a:ln>
                  <a:noFill/>
                </a:ln>
                <a:solidFill>
                  <a:srgbClr val="000000"/>
                </a:solidFill>
                <a:effectLst/>
                <a:uLnTx/>
                <a:uFillTx/>
                <a:latin typeface="Arial"/>
                <a:cs typeface="+mn-ea"/>
                <a:sym typeface="+mn-lt"/>
              </a:endParaRPr>
            </a:p>
          </p:txBody>
        </p:sp>
      </p:grpSp>
      <p:grpSp>
        <p:nvGrpSpPr>
          <p:cNvPr id="206" name="Group 531">
            <a:extLst>
              <a:ext uri="{FF2B5EF4-FFF2-40B4-BE49-F238E27FC236}">
                <a16:creationId xmlns:a16="http://schemas.microsoft.com/office/drawing/2014/main" id="{E28325A3-1669-4E44-A4EC-03DE878037DA}"/>
              </a:ext>
            </a:extLst>
          </p:cNvPr>
          <p:cNvGrpSpPr/>
          <p:nvPr/>
        </p:nvGrpSpPr>
        <p:grpSpPr>
          <a:xfrm>
            <a:off x="8742515" y="3209863"/>
            <a:ext cx="276132" cy="317970"/>
            <a:chOff x="4565651" y="4991101"/>
            <a:chExt cx="209550" cy="241300"/>
          </a:xfrm>
          <a:solidFill>
            <a:schemeClr val="bg2"/>
          </a:solidFill>
        </p:grpSpPr>
        <p:sp>
          <p:nvSpPr>
            <p:cNvPr id="207" name="Freeform 216">
              <a:extLst>
                <a:ext uri="{FF2B5EF4-FFF2-40B4-BE49-F238E27FC236}">
                  <a16:creationId xmlns:a16="http://schemas.microsoft.com/office/drawing/2014/main" id="{44500BB5-5456-480A-B60F-EB2C20A0AED6}"/>
                </a:ext>
              </a:extLst>
            </p:cNvPr>
            <p:cNvSpPr>
              <a:spLocks noEditPoints="1"/>
            </p:cNvSpPr>
            <p:nvPr/>
          </p:nvSpPr>
          <p:spPr bwMode="auto">
            <a:xfrm>
              <a:off x="4610101" y="4991101"/>
              <a:ext cx="120650" cy="60325"/>
            </a:xfrm>
            <a:custGeom>
              <a:avLst/>
              <a:gdLst>
                <a:gd name="T0" fmla="*/ 32 w 32"/>
                <a:gd name="T1" fmla="*/ 8 h 16"/>
                <a:gd name="T2" fmla="*/ 24 w 32"/>
                <a:gd name="T3" fmla="*/ 8 h 16"/>
                <a:gd name="T4" fmla="*/ 16 w 32"/>
                <a:gd name="T5" fmla="*/ 0 h 16"/>
                <a:gd name="T6" fmla="*/ 8 w 32"/>
                <a:gd name="T7" fmla="*/ 8 h 16"/>
                <a:gd name="T8" fmla="*/ 0 w 32"/>
                <a:gd name="T9" fmla="*/ 8 h 16"/>
                <a:gd name="T10" fmla="*/ 0 w 32"/>
                <a:gd name="T11" fmla="*/ 16 h 16"/>
                <a:gd name="T12" fmla="*/ 32 w 32"/>
                <a:gd name="T13" fmla="*/ 16 h 16"/>
                <a:gd name="T14" fmla="*/ 32 w 32"/>
                <a:gd name="T15" fmla="*/ 8 h 16"/>
                <a:gd name="T16" fmla="*/ 16 w 32"/>
                <a:gd name="T17" fmla="*/ 12 h 16"/>
                <a:gd name="T18" fmla="*/ 12 w 32"/>
                <a:gd name="T19" fmla="*/ 8 h 16"/>
                <a:gd name="T20" fmla="*/ 16 w 32"/>
                <a:gd name="T21" fmla="*/ 4 h 16"/>
                <a:gd name="T22" fmla="*/ 20 w 32"/>
                <a:gd name="T23" fmla="*/ 8 h 16"/>
                <a:gd name="T24" fmla="*/ 16 w 32"/>
                <a:gd name="T25" fmla="*/ 12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 h="16">
                  <a:moveTo>
                    <a:pt x="32" y="8"/>
                  </a:moveTo>
                  <a:cubicBezTo>
                    <a:pt x="24" y="8"/>
                    <a:pt x="24" y="8"/>
                    <a:pt x="24" y="8"/>
                  </a:cubicBezTo>
                  <a:cubicBezTo>
                    <a:pt x="24" y="4"/>
                    <a:pt x="20" y="0"/>
                    <a:pt x="16" y="0"/>
                  </a:cubicBezTo>
                  <a:cubicBezTo>
                    <a:pt x="12" y="0"/>
                    <a:pt x="8" y="4"/>
                    <a:pt x="8" y="8"/>
                  </a:cubicBezTo>
                  <a:cubicBezTo>
                    <a:pt x="0" y="8"/>
                    <a:pt x="0" y="8"/>
                    <a:pt x="0" y="8"/>
                  </a:cubicBezTo>
                  <a:cubicBezTo>
                    <a:pt x="0" y="16"/>
                    <a:pt x="0" y="16"/>
                    <a:pt x="0" y="16"/>
                  </a:cubicBezTo>
                  <a:cubicBezTo>
                    <a:pt x="32" y="16"/>
                    <a:pt x="32" y="16"/>
                    <a:pt x="32" y="16"/>
                  </a:cubicBezTo>
                  <a:lnTo>
                    <a:pt x="32" y="8"/>
                  </a:lnTo>
                  <a:close/>
                  <a:moveTo>
                    <a:pt x="16" y="12"/>
                  </a:moveTo>
                  <a:cubicBezTo>
                    <a:pt x="14" y="12"/>
                    <a:pt x="12" y="10"/>
                    <a:pt x="12" y="8"/>
                  </a:cubicBezTo>
                  <a:cubicBezTo>
                    <a:pt x="12" y="6"/>
                    <a:pt x="14" y="4"/>
                    <a:pt x="16" y="4"/>
                  </a:cubicBezTo>
                  <a:cubicBezTo>
                    <a:pt x="18" y="4"/>
                    <a:pt x="20" y="6"/>
                    <a:pt x="20" y="8"/>
                  </a:cubicBezTo>
                  <a:cubicBezTo>
                    <a:pt x="20" y="10"/>
                    <a:pt x="18" y="12"/>
                    <a:pt x="1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dirty="0">
                <a:ln>
                  <a:noFill/>
                </a:ln>
                <a:solidFill>
                  <a:srgbClr val="000000"/>
                </a:solidFill>
                <a:effectLst/>
                <a:uLnTx/>
                <a:uFillTx/>
                <a:latin typeface="Arial"/>
                <a:cs typeface="+mn-ea"/>
                <a:sym typeface="+mn-lt"/>
              </a:endParaRPr>
            </a:p>
          </p:txBody>
        </p:sp>
        <p:sp>
          <p:nvSpPr>
            <p:cNvPr id="208" name="Freeform 217">
              <a:extLst>
                <a:ext uri="{FF2B5EF4-FFF2-40B4-BE49-F238E27FC236}">
                  <a16:creationId xmlns:a16="http://schemas.microsoft.com/office/drawing/2014/main" id="{83A225DF-7967-4B54-838B-E696C5F76D38}"/>
                </a:ext>
              </a:extLst>
            </p:cNvPr>
            <p:cNvSpPr>
              <a:spLocks noEditPoints="1"/>
            </p:cNvSpPr>
            <p:nvPr/>
          </p:nvSpPr>
          <p:spPr bwMode="auto">
            <a:xfrm>
              <a:off x="4565651" y="5021263"/>
              <a:ext cx="209550" cy="211138"/>
            </a:xfrm>
            <a:custGeom>
              <a:avLst/>
              <a:gdLst>
                <a:gd name="T0" fmla="*/ 113 w 132"/>
                <a:gd name="T1" fmla="*/ 0 h 133"/>
                <a:gd name="T2" fmla="*/ 113 w 132"/>
                <a:gd name="T3" fmla="*/ 29 h 133"/>
                <a:gd name="T4" fmla="*/ 19 w 132"/>
                <a:gd name="T5" fmla="*/ 29 h 133"/>
                <a:gd name="T6" fmla="*/ 19 w 132"/>
                <a:gd name="T7" fmla="*/ 0 h 133"/>
                <a:gd name="T8" fmla="*/ 0 w 132"/>
                <a:gd name="T9" fmla="*/ 0 h 133"/>
                <a:gd name="T10" fmla="*/ 0 w 132"/>
                <a:gd name="T11" fmla="*/ 133 h 133"/>
                <a:gd name="T12" fmla="*/ 132 w 132"/>
                <a:gd name="T13" fmla="*/ 133 h 133"/>
                <a:gd name="T14" fmla="*/ 132 w 132"/>
                <a:gd name="T15" fmla="*/ 0 h 133"/>
                <a:gd name="T16" fmla="*/ 113 w 132"/>
                <a:gd name="T17" fmla="*/ 0 h 133"/>
                <a:gd name="T18" fmla="*/ 61 w 132"/>
                <a:gd name="T19" fmla="*/ 111 h 133"/>
                <a:gd name="T20" fmla="*/ 54 w 132"/>
                <a:gd name="T21" fmla="*/ 107 h 133"/>
                <a:gd name="T22" fmla="*/ 28 w 132"/>
                <a:gd name="T23" fmla="*/ 78 h 133"/>
                <a:gd name="T24" fmla="*/ 42 w 132"/>
                <a:gd name="T25" fmla="*/ 66 h 133"/>
                <a:gd name="T26" fmla="*/ 61 w 132"/>
                <a:gd name="T27" fmla="*/ 85 h 133"/>
                <a:gd name="T28" fmla="*/ 99 w 132"/>
                <a:gd name="T29" fmla="*/ 47 h 133"/>
                <a:gd name="T30" fmla="*/ 113 w 132"/>
                <a:gd name="T31" fmla="*/ 62 h 133"/>
                <a:gd name="T32" fmla="*/ 61 w 132"/>
                <a:gd name="T33" fmla="*/ 111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2" h="133">
                  <a:moveTo>
                    <a:pt x="113" y="0"/>
                  </a:moveTo>
                  <a:lnTo>
                    <a:pt x="113" y="29"/>
                  </a:lnTo>
                  <a:lnTo>
                    <a:pt x="19" y="29"/>
                  </a:lnTo>
                  <a:lnTo>
                    <a:pt x="19" y="0"/>
                  </a:lnTo>
                  <a:lnTo>
                    <a:pt x="0" y="0"/>
                  </a:lnTo>
                  <a:lnTo>
                    <a:pt x="0" y="133"/>
                  </a:lnTo>
                  <a:lnTo>
                    <a:pt x="132" y="133"/>
                  </a:lnTo>
                  <a:lnTo>
                    <a:pt x="132" y="0"/>
                  </a:lnTo>
                  <a:lnTo>
                    <a:pt x="113" y="0"/>
                  </a:lnTo>
                  <a:close/>
                  <a:moveTo>
                    <a:pt x="61" y="111"/>
                  </a:moveTo>
                  <a:lnTo>
                    <a:pt x="54" y="107"/>
                  </a:lnTo>
                  <a:lnTo>
                    <a:pt x="28" y="78"/>
                  </a:lnTo>
                  <a:lnTo>
                    <a:pt x="42" y="66"/>
                  </a:lnTo>
                  <a:lnTo>
                    <a:pt x="61" y="85"/>
                  </a:lnTo>
                  <a:lnTo>
                    <a:pt x="99" y="47"/>
                  </a:lnTo>
                  <a:lnTo>
                    <a:pt x="113" y="62"/>
                  </a:lnTo>
                  <a:lnTo>
                    <a:pt x="61"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dirty="0">
                <a:ln>
                  <a:noFill/>
                </a:ln>
                <a:solidFill>
                  <a:srgbClr val="000000"/>
                </a:solidFill>
                <a:effectLst/>
                <a:uLnTx/>
                <a:uFillTx/>
                <a:latin typeface="Arial"/>
                <a:cs typeface="+mn-ea"/>
                <a:sym typeface="+mn-lt"/>
              </a:endParaRPr>
            </a:p>
          </p:txBody>
        </p:sp>
      </p:grpSp>
      <p:grpSp>
        <p:nvGrpSpPr>
          <p:cNvPr id="209" name="Group 534">
            <a:extLst>
              <a:ext uri="{FF2B5EF4-FFF2-40B4-BE49-F238E27FC236}">
                <a16:creationId xmlns:a16="http://schemas.microsoft.com/office/drawing/2014/main" id="{68507BE9-FE62-40EE-A2ED-2CD8822A9F4E}"/>
              </a:ext>
            </a:extLst>
          </p:cNvPr>
          <p:cNvGrpSpPr/>
          <p:nvPr/>
        </p:nvGrpSpPr>
        <p:grpSpPr>
          <a:xfrm>
            <a:off x="4929338" y="3249609"/>
            <a:ext cx="315879" cy="238478"/>
            <a:chOff x="9344026" y="4991101"/>
            <a:chExt cx="239713" cy="180975"/>
          </a:xfrm>
          <a:solidFill>
            <a:schemeClr val="bg2"/>
          </a:solidFill>
        </p:grpSpPr>
        <p:sp>
          <p:nvSpPr>
            <p:cNvPr id="210" name="Freeform 271">
              <a:extLst>
                <a:ext uri="{FF2B5EF4-FFF2-40B4-BE49-F238E27FC236}">
                  <a16:creationId xmlns:a16="http://schemas.microsoft.com/office/drawing/2014/main" id="{BAC89906-63F5-4895-BC4C-3E14E6BE2CCB}"/>
                </a:ext>
              </a:extLst>
            </p:cNvPr>
            <p:cNvSpPr>
              <a:spLocks/>
            </p:cNvSpPr>
            <p:nvPr/>
          </p:nvSpPr>
          <p:spPr bwMode="auto">
            <a:xfrm>
              <a:off x="9344026" y="5141913"/>
              <a:ext cx="239713" cy="30163"/>
            </a:xfrm>
            <a:custGeom>
              <a:avLst/>
              <a:gdLst>
                <a:gd name="T0" fmla="*/ 60 w 64"/>
                <a:gd name="T1" fmla="*/ 0 h 8"/>
                <a:gd name="T2" fmla="*/ 4 w 64"/>
                <a:gd name="T3" fmla="*/ 0 h 8"/>
                <a:gd name="T4" fmla="*/ 0 w 64"/>
                <a:gd name="T5" fmla="*/ 4 h 8"/>
                <a:gd name="T6" fmla="*/ 4 w 64"/>
                <a:gd name="T7" fmla="*/ 8 h 8"/>
                <a:gd name="T8" fmla="*/ 60 w 64"/>
                <a:gd name="T9" fmla="*/ 8 h 8"/>
                <a:gd name="T10" fmla="*/ 64 w 64"/>
                <a:gd name="T11" fmla="*/ 4 h 8"/>
                <a:gd name="T12" fmla="*/ 60 w 64"/>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4" h="8">
                  <a:moveTo>
                    <a:pt x="60" y="0"/>
                  </a:moveTo>
                  <a:cubicBezTo>
                    <a:pt x="4" y="0"/>
                    <a:pt x="4" y="0"/>
                    <a:pt x="4" y="0"/>
                  </a:cubicBezTo>
                  <a:cubicBezTo>
                    <a:pt x="2" y="0"/>
                    <a:pt x="0" y="2"/>
                    <a:pt x="0" y="4"/>
                  </a:cubicBezTo>
                  <a:cubicBezTo>
                    <a:pt x="0" y="6"/>
                    <a:pt x="2" y="8"/>
                    <a:pt x="4" y="8"/>
                  </a:cubicBezTo>
                  <a:cubicBezTo>
                    <a:pt x="60" y="8"/>
                    <a:pt x="60" y="8"/>
                    <a:pt x="60" y="8"/>
                  </a:cubicBezTo>
                  <a:cubicBezTo>
                    <a:pt x="62" y="8"/>
                    <a:pt x="64" y="6"/>
                    <a:pt x="64" y="4"/>
                  </a:cubicBezTo>
                  <a:cubicBezTo>
                    <a:pt x="64" y="2"/>
                    <a:pt x="62" y="0"/>
                    <a:pt x="6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dirty="0">
                <a:ln>
                  <a:noFill/>
                </a:ln>
                <a:solidFill>
                  <a:srgbClr val="000000"/>
                </a:solidFill>
                <a:effectLst/>
                <a:uLnTx/>
                <a:uFillTx/>
                <a:latin typeface="Arial"/>
                <a:cs typeface="+mn-ea"/>
                <a:sym typeface="+mn-lt"/>
              </a:endParaRPr>
            </a:p>
          </p:txBody>
        </p:sp>
        <p:sp>
          <p:nvSpPr>
            <p:cNvPr id="211" name="Freeform 272">
              <a:extLst>
                <a:ext uri="{FF2B5EF4-FFF2-40B4-BE49-F238E27FC236}">
                  <a16:creationId xmlns:a16="http://schemas.microsoft.com/office/drawing/2014/main" id="{6FC6BE4A-6284-47E9-8757-F92F7C116717}"/>
                </a:ext>
              </a:extLst>
            </p:cNvPr>
            <p:cNvSpPr>
              <a:spLocks noEditPoints="1"/>
            </p:cNvSpPr>
            <p:nvPr/>
          </p:nvSpPr>
          <p:spPr bwMode="auto">
            <a:xfrm>
              <a:off x="9388476" y="4991101"/>
              <a:ext cx="195263" cy="134938"/>
            </a:xfrm>
            <a:custGeom>
              <a:avLst/>
              <a:gdLst>
                <a:gd name="T0" fmla="*/ 8 w 52"/>
                <a:gd name="T1" fmla="*/ 36 h 36"/>
                <a:gd name="T2" fmla="*/ 32 w 52"/>
                <a:gd name="T3" fmla="*/ 36 h 36"/>
                <a:gd name="T4" fmla="*/ 40 w 52"/>
                <a:gd name="T5" fmla="*/ 28 h 36"/>
                <a:gd name="T6" fmla="*/ 52 w 52"/>
                <a:gd name="T7" fmla="*/ 16 h 36"/>
                <a:gd name="T8" fmla="*/ 40 w 52"/>
                <a:gd name="T9" fmla="*/ 4 h 36"/>
                <a:gd name="T10" fmla="*/ 40 w 52"/>
                <a:gd name="T11" fmla="*/ 0 h 36"/>
                <a:gd name="T12" fmla="*/ 0 w 52"/>
                <a:gd name="T13" fmla="*/ 0 h 36"/>
                <a:gd name="T14" fmla="*/ 0 w 52"/>
                <a:gd name="T15" fmla="*/ 28 h 36"/>
                <a:gd name="T16" fmla="*/ 8 w 52"/>
                <a:gd name="T17" fmla="*/ 36 h 36"/>
                <a:gd name="T18" fmla="*/ 48 w 52"/>
                <a:gd name="T19" fmla="*/ 16 h 36"/>
                <a:gd name="T20" fmla="*/ 40 w 52"/>
                <a:gd name="T21" fmla="*/ 24 h 36"/>
                <a:gd name="T22" fmla="*/ 40 w 52"/>
                <a:gd name="T23" fmla="*/ 8 h 36"/>
                <a:gd name="T24" fmla="*/ 48 w 52"/>
                <a:gd name="T25" fmla="*/ 16 h 36"/>
                <a:gd name="T26" fmla="*/ 4 w 52"/>
                <a:gd name="T27" fmla="*/ 4 h 36"/>
                <a:gd name="T28" fmla="*/ 8 w 52"/>
                <a:gd name="T29" fmla="*/ 4 h 36"/>
                <a:gd name="T30" fmla="*/ 8 w 52"/>
                <a:gd name="T31" fmla="*/ 32 h 36"/>
                <a:gd name="T32" fmla="*/ 4 w 52"/>
                <a:gd name="T33" fmla="*/ 28 h 36"/>
                <a:gd name="T34" fmla="*/ 4 w 52"/>
                <a:gd name="T35"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2" h="36">
                  <a:moveTo>
                    <a:pt x="8" y="36"/>
                  </a:moveTo>
                  <a:cubicBezTo>
                    <a:pt x="32" y="36"/>
                    <a:pt x="32" y="36"/>
                    <a:pt x="32" y="36"/>
                  </a:cubicBezTo>
                  <a:cubicBezTo>
                    <a:pt x="36" y="36"/>
                    <a:pt x="40" y="32"/>
                    <a:pt x="40" y="28"/>
                  </a:cubicBezTo>
                  <a:cubicBezTo>
                    <a:pt x="47" y="28"/>
                    <a:pt x="52" y="23"/>
                    <a:pt x="52" y="16"/>
                  </a:cubicBezTo>
                  <a:cubicBezTo>
                    <a:pt x="52" y="9"/>
                    <a:pt x="47" y="4"/>
                    <a:pt x="40" y="4"/>
                  </a:cubicBezTo>
                  <a:cubicBezTo>
                    <a:pt x="40" y="0"/>
                    <a:pt x="40" y="0"/>
                    <a:pt x="40" y="0"/>
                  </a:cubicBezTo>
                  <a:cubicBezTo>
                    <a:pt x="0" y="0"/>
                    <a:pt x="0" y="0"/>
                    <a:pt x="0" y="0"/>
                  </a:cubicBezTo>
                  <a:cubicBezTo>
                    <a:pt x="0" y="28"/>
                    <a:pt x="0" y="28"/>
                    <a:pt x="0" y="28"/>
                  </a:cubicBezTo>
                  <a:cubicBezTo>
                    <a:pt x="0" y="32"/>
                    <a:pt x="4" y="36"/>
                    <a:pt x="8" y="36"/>
                  </a:cubicBezTo>
                  <a:close/>
                  <a:moveTo>
                    <a:pt x="48" y="16"/>
                  </a:moveTo>
                  <a:cubicBezTo>
                    <a:pt x="48" y="20"/>
                    <a:pt x="44" y="24"/>
                    <a:pt x="40" y="24"/>
                  </a:cubicBezTo>
                  <a:cubicBezTo>
                    <a:pt x="40" y="8"/>
                    <a:pt x="40" y="8"/>
                    <a:pt x="40" y="8"/>
                  </a:cubicBezTo>
                  <a:cubicBezTo>
                    <a:pt x="44" y="8"/>
                    <a:pt x="48" y="12"/>
                    <a:pt x="48" y="16"/>
                  </a:cubicBezTo>
                  <a:close/>
                  <a:moveTo>
                    <a:pt x="4" y="4"/>
                  </a:moveTo>
                  <a:cubicBezTo>
                    <a:pt x="8" y="4"/>
                    <a:pt x="8" y="4"/>
                    <a:pt x="8" y="4"/>
                  </a:cubicBezTo>
                  <a:cubicBezTo>
                    <a:pt x="8" y="32"/>
                    <a:pt x="8" y="32"/>
                    <a:pt x="8" y="32"/>
                  </a:cubicBezTo>
                  <a:cubicBezTo>
                    <a:pt x="6" y="32"/>
                    <a:pt x="4" y="30"/>
                    <a:pt x="4" y="28"/>
                  </a:cubicBezTo>
                  <a:lnTo>
                    <a:pt x="4"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dirty="0">
                <a:ln>
                  <a:noFill/>
                </a:ln>
                <a:solidFill>
                  <a:srgbClr val="000000"/>
                </a:solidFill>
                <a:effectLst/>
                <a:uLnTx/>
                <a:uFillTx/>
                <a:latin typeface="Arial"/>
                <a:cs typeface="+mn-ea"/>
                <a:sym typeface="+mn-lt"/>
              </a:endParaRPr>
            </a:p>
          </p:txBody>
        </p:sp>
      </p:grpSp>
    </p:spTree>
    <p:extLst>
      <p:ext uri="{BB962C8B-B14F-4D97-AF65-F5344CB8AC3E}">
        <p14:creationId xmlns:p14="http://schemas.microsoft.com/office/powerpoint/2010/main" val="770965036"/>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7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ight Arrow 3">
            <a:extLst>
              <a:ext uri="{FF2B5EF4-FFF2-40B4-BE49-F238E27FC236}">
                <a16:creationId xmlns:a16="http://schemas.microsoft.com/office/drawing/2014/main" id="{8781C683-E2B3-405C-A3C1-E0CD8BFDC5FB}"/>
              </a:ext>
            </a:extLst>
          </p:cNvPr>
          <p:cNvSpPr/>
          <p:nvPr/>
        </p:nvSpPr>
        <p:spPr>
          <a:xfrm>
            <a:off x="579538" y="3060700"/>
            <a:ext cx="10926662" cy="736600"/>
          </a:xfrm>
          <a:prstGeom prst="rightArrow">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cs typeface="+mn-ea"/>
              <a:sym typeface="+mn-lt"/>
            </a:endParaRPr>
          </a:p>
        </p:txBody>
      </p:sp>
      <p:sp>
        <p:nvSpPr>
          <p:cNvPr id="3" name="TextBox 4">
            <a:extLst>
              <a:ext uri="{FF2B5EF4-FFF2-40B4-BE49-F238E27FC236}">
                <a16:creationId xmlns:a16="http://schemas.microsoft.com/office/drawing/2014/main" id="{738F5131-50D2-44B8-A8C7-1A9D6C460708}"/>
              </a:ext>
            </a:extLst>
          </p:cNvPr>
          <p:cNvSpPr txBox="1"/>
          <p:nvPr/>
        </p:nvSpPr>
        <p:spPr>
          <a:xfrm>
            <a:off x="9865735" y="3228945"/>
            <a:ext cx="1257588" cy="369332"/>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err="1">
                <a:ln>
                  <a:noFill/>
                </a:ln>
                <a:solidFill>
                  <a:srgbClr val="FFFFFF"/>
                </a:solidFill>
                <a:effectLst/>
                <a:uLnTx/>
                <a:uFillTx/>
                <a:latin typeface="Arial"/>
                <a:cs typeface="+mn-ea"/>
                <a:sym typeface="+mn-lt"/>
              </a:rPr>
              <a:t>Inser</a:t>
            </a:r>
            <a:r>
              <a:rPr kumimoji="0" lang="en-US" sz="1800" b="1" i="0" u="none" strike="noStrike" kern="1200" cap="none" spc="0" normalizeH="0" baseline="0" noProof="0" dirty="0">
                <a:ln>
                  <a:noFill/>
                </a:ln>
                <a:solidFill>
                  <a:srgbClr val="FFFFFF"/>
                </a:solidFill>
                <a:effectLst/>
                <a:uLnTx/>
                <a:uFillTx/>
                <a:latin typeface="Arial"/>
                <a:cs typeface="+mn-ea"/>
                <a:sym typeface="+mn-lt"/>
              </a:rPr>
              <a:t> Text</a:t>
            </a:r>
            <a:endParaRPr kumimoji="0" lang="id-ID" sz="1800" b="1" i="0" u="none" strike="noStrike" kern="1200" cap="none" spc="0" normalizeH="0" baseline="0" noProof="0" dirty="0">
              <a:ln>
                <a:noFill/>
              </a:ln>
              <a:solidFill>
                <a:srgbClr val="FFFFFF"/>
              </a:solidFill>
              <a:effectLst/>
              <a:uLnTx/>
              <a:uFillTx/>
              <a:latin typeface="Arial"/>
              <a:cs typeface="+mn-ea"/>
              <a:sym typeface="+mn-lt"/>
            </a:endParaRPr>
          </a:p>
        </p:txBody>
      </p:sp>
      <p:sp>
        <p:nvSpPr>
          <p:cNvPr id="4" name="Chevron 5">
            <a:extLst>
              <a:ext uri="{FF2B5EF4-FFF2-40B4-BE49-F238E27FC236}">
                <a16:creationId xmlns:a16="http://schemas.microsoft.com/office/drawing/2014/main" id="{870EA037-96CB-4F9F-AC4D-419427E8FE6C}"/>
              </a:ext>
            </a:extLst>
          </p:cNvPr>
          <p:cNvSpPr/>
          <p:nvPr/>
        </p:nvSpPr>
        <p:spPr>
          <a:xfrm>
            <a:off x="579538" y="1384300"/>
            <a:ext cx="2006600" cy="469900"/>
          </a:xfrm>
          <a:prstGeom prst="chevron">
            <a:avLst/>
          </a:prstGeom>
          <a:solidFill>
            <a:schemeClr val="accent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cs typeface="+mn-ea"/>
              <a:sym typeface="+mn-lt"/>
            </a:endParaRPr>
          </a:p>
        </p:txBody>
      </p:sp>
      <p:sp>
        <p:nvSpPr>
          <p:cNvPr id="5" name="Chevron 6">
            <a:extLst>
              <a:ext uri="{FF2B5EF4-FFF2-40B4-BE49-F238E27FC236}">
                <a16:creationId xmlns:a16="http://schemas.microsoft.com/office/drawing/2014/main" id="{2659D602-A1FC-4E13-AC15-B505CFC93BB5}"/>
              </a:ext>
            </a:extLst>
          </p:cNvPr>
          <p:cNvSpPr/>
          <p:nvPr/>
        </p:nvSpPr>
        <p:spPr>
          <a:xfrm>
            <a:off x="579538" y="4988207"/>
            <a:ext cx="2006600" cy="469900"/>
          </a:xfrm>
          <a:prstGeom prst="chevron">
            <a:avLst/>
          </a:prstGeom>
          <a:solidFill>
            <a:schemeClr val="accent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cs typeface="+mn-ea"/>
              <a:sym typeface="+mn-lt"/>
            </a:endParaRPr>
          </a:p>
        </p:txBody>
      </p:sp>
      <p:cxnSp>
        <p:nvCxnSpPr>
          <p:cNvPr id="6" name="Straight Arrow Connector 8">
            <a:extLst>
              <a:ext uri="{FF2B5EF4-FFF2-40B4-BE49-F238E27FC236}">
                <a16:creationId xmlns:a16="http://schemas.microsoft.com/office/drawing/2014/main" id="{F0E01F1F-6664-49E3-B436-3AE0F2C2DCCF}"/>
              </a:ext>
            </a:extLst>
          </p:cNvPr>
          <p:cNvCxnSpPr/>
          <p:nvPr/>
        </p:nvCxnSpPr>
        <p:spPr>
          <a:xfrm>
            <a:off x="2605188" y="1640310"/>
            <a:ext cx="1528662" cy="1528662"/>
          </a:xfrm>
          <a:prstGeom prst="straightConnector1">
            <a:avLst/>
          </a:prstGeom>
          <a:ln w="19050">
            <a:solidFill>
              <a:schemeClr val="accent1">
                <a:lumMod val="60000"/>
                <a:lumOff val="40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7" name="Straight Arrow Connector 12">
            <a:extLst>
              <a:ext uri="{FF2B5EF4-FFF2-40B4-BE49-F238E27FC236}">
                <a16:creationId xmlns:a16="http://schemas.microsoft.com/office/drawing/2014/main" id="{DC4BD6CF-ACE7-4C56-B670-287029328954}"/>
              </a:ext>
            </a:extLst>
          </p:cNvPr>
          <p:cNvCxnSpPr/>
          <p:nvPr/>
        </p:nvCxnSpPr>
        <p:spPr>
          <a:xfrm flipH="1">
            <a:off x="2605188" y="3658796"/>
            <a:ext cx="1528662" cy="1528662"/>
          </a:xfrm>
          <a:prstGeom prst="straightConnector1">
            <a:avLst/>
          </a:prstGeom>
          <a:ln w="19050">
            <a:solidFill>
              <a:schemeClr val="accent1">
                <a:lumMod val="60000"/>
                <a:lumOff val="40000"/>
              </a:schemeClr>
            </a:solidFill>
            <a:prstDash val="sysDot"/>
            <a:headEnd type="triangle"/>
            <a:tailEnd type="none"/>
          </a:ln>
        </p:spPr>
        <p:style>
          <a:lnRef idx="1">
            <a:schemeClr val="accent1"/>
          </a:lnRef>
          <a:fillRef idx="0">
            <a:schemeClr val="accent1"/>
          </a:fillRef>
          <a:effectRef idx="0">
            <a:schemeClr val="accent1"/>
          </a:effectRef>
          <a:fontRef idx="minor">
            <a:schemeClr val="tx1"/>
          </a:fontRef>
        </p:style>
      </p:cxnSp>
      <p:sp>
        <p:nvSpPr>
          <p:cNvPr id="8" name="Chevron 15">
            <a:extLst>
              <a:ext uri="{FF2B5EF4-FFF2-40B4-BE49-F238E27FC236}">
                <a16:creationId xmlns:a16="http://schemas.microsoft.com/office/drawing/2014/main" id="{E5E0C362-75F4-4C12-8720-20B0B55884FF}"/>
              </a:ext>
            </a:extLst>
          </p:cNvPr>
          <p:cNvSpPr/>
          <p:nvPr/>
        </p:nvSpPr>
        <p:spPr>
          <a:xfrm>
            <a:off x="3702050" y="1384300"/>
            <a:ext cx="2006600" cy="469900"/>
          </a:xfrm>
          <a:prstGeom prst="chevron">
            <a:avLst/>
          </a:prstGeom>
          <a:solidFill>
            <a:schemeClr val="accent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cs typeface="+mn-ea"/>
              <a:sym typeface="+mn-lt"/>
            </a:endParaRPr>
          </a:p>
        </p:txBody>
      </p:sp>
      <p:sp>
        <p:nvSpPr>
          <p:cNvPr id="9" name="Chevron 16">
            <a:extLst>
              <a:ext uri="{FF2B5EF4-FFF2-40B4-BE49-F238E27FC236}">
                <a16:creationId xmlns:a16="http://schemas.microsoft.com/office/drawing/2014/main" id="{3D57D5B5-28BF-48AA-A892-0EABCCCD40F7}"/>
              </a:ext>
            </a:extLst>
          </p:cNvPr>
          <p:cNvSpPr/>
          <p:nvPr/>
        </p:nvSpPr>
        <p:spPr>
          <a:xfrm>
            <a:off x="3702050" y="4988207"/>
            <a:ext cx="2006600" cy="469900"/>
          </a:xfrm>
          <a:prstGeom prst="chevron">
            <a:avLst/>
          </a:prstGeom>
          <a:solidFill>
            <a:schemeClr val="accent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cs typeface="+mn-ea"/>
              <a:sym typeface="+mn-lt"/>
            </a:endParaRPr>
          </a:p>
        </p:txBody>
      </p:sp>
      <p:cxnSp>
        <p:nvCxnSpPr>
          <p:cNvPr id="10" name="Straight Arrow Connector 17">
            <a:extLst>
              <a:ext uri="{FF2B5EF4-FFF2-40B4-BE49-F238E27FC236}">
                <a16:creationId xmlns:a16="http://schemas.microsoft.com/office/drawing/2014/main" id="{625AAC07-9547-4EA1-93E3-90B8FC647AB3}"/>
              </a:ext>
            </a:extLst>
          </p:cNvPr>
          <p:cNvCxnSpPr/>
          <p:nvPr/>
        </p:nvCxnSpPr>
        <p:spPr>
          <a:xfrm>
            <a:off x="5727700" y="1640310"/>
            <a:ext cx="1528662" cy="1528662"/>
          </a:xfrm>
          <a:prstGeom prst="straightConnector1">
            <a:avLst/>
          </a:prstGeom>
          <a:ln w="19050">
            <a:solidFill>
              <a:schemeClr val="accent1">
                <a:lumMod val="60000"/>
                <a:lumOff val="40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8">
            <a:extLst>
              <a:ext uri="{FF2B5EF4-FFF2-40B4-BE49-F238E27FC236}">
                <a16:creationId xmlns:a16="http://schemas.microsoft.com/office/drawing/2014/main" id="{78E58E2F-1253-460B-A250-3C16528FADB3}"/>
              </a:ext>
            </a:extLst>
          </p:cNvPr>
          <p:cNvCxnSpPr/>
          <p:nvPr/>
        </p:nvCxnSpPr>
        <p:spPr>
          <a:xfrm flipH="1">
            <a:off x="5727700" y="3658796"/>
            <a:ext cx="1528662" cy="1528662"/>
          </a:xfrm>
          <a:prstGeom prst="straightConnector1">
            <a:avLst/>
          </a:prstGeom>
          <a:ln w="19050">
            <a:solidFill>
              <a:schemeClr val="accent1">
                <a:lumMod val="60000"/>
                <a:lumOff val="40000"/>
              </a:schemeClr>
            </a:solidFill>
            <a:prstDash val="sysDot"/>
            <a:headEnd type="triangle"/>
            <a:tailEnd type="none"/>
          </a:ln>
        </p:spPr>
        <p:style>
          <a:lnRef idx="1">
            <a:schemeClr val="accent1"/>
          </a:lnRef>
          <a:fillRef idx="0">
            <a:schemeClr val="accent1"/>
          </a:fillRef>
          <a:effectRef idx="0">
            <a:schemeClr val="accent1"/>
          </a:effectRef>
          <a:fontRef idx="minor">
            <a:schemeClr val="tx1"/>
          </a:fontRef>
        </p:style>
      </p:cxnSp>
      <p:sp>
        <p:nvSpPr>
          <p:cNvPr id="12" name="Chevron 20">
            <a:extLst>
              <a:ext uri="{FF2B5EF4-FFF2-40B4-BE49-F238E27FC236}">
                <a16:creationId xmlns:a16="http://schemas.microsoft.com/office/drawing/2014/main" id="{E7FCFA8D-8156-43A1-B0F2-A41C1BA02D0A}"/>
              </a:ext>
            </a:extLst>
          </p:cNvPr>
          <p:cNvSpPr/>
          <p:nvPr/>
        </p:nvSpPr>
        <p:spPr>
          <a:xfrm>
            <a:off x="6819900" y="1384300"/>
            <a:ext cx="2006600" cy="469900"/>
          </a:xfrm>
          <a:prstGeom prst="chevron">
            <a:avLst/>
          </a:prstGeom>
          <a:solidFill>
            <a:schemeClr val="accent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cs typeface="+mn-ea"/>
              <a:sym typeface="+mn-lt"/>
            </a:endParaRPr>
          </a:p>
        </p:txBody>
      </p:sp>
      <p:sp>
        <p:nvSpPr>
          <p:cNvPr id="13" name="Chevron 21">
            <a:extLst>
              <a:ext uri="{FF2B5EF4-FFF2-40B4-BE49-F238E27FC236}">
                <a16:creationId xmlns:a16="http://schemas.microsoft.com/office/drawing/2014/main" id="{8E91C209-9070-4C7F-82D5-45B30F3FA248}"/>
              </a:ext>
            </a:extLst>
          </p:cNvPr>
          <p:cNvSpPr/>
          <p:nvPr/>
        </p:nvSpPr>
        <p:spPr>
          <a:xfrm>
            <a:off x="6819900" y="4988207"/>
            <a:ext cx="2006600" cy="469900"/>
          </a:xfrm>
          <a:prstGeom prst="chevron">
            <a:avLst/>
          </a:prstGeom>
          <a:solidFill>
            <a:schemeClr val="accent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cs typeface="+mn-ea"/>
              <a:sym typeface="+mn-lt"/>
            </a:endParaRPr>
          </a:p>
        </p:txBody>
      </p:sp>
      <p:cxnSp>
        <p:nvCxnSpPr>
          <p:cNvPr id="14" name="Straight Arrow Connector 22">
            <a:extLst>
              <a:ext uri="{FF2B5EF4-FFF2-40B4-BE49-F238E27FC236}">
                <a16:creationId xmlns:a16="http://schemas.microsoft.com/office/drawing/2014/main" id="{8107E1F2-6E5B-47B8-B164-6FB0CF8CBCBD}"/>
              </a:ext>
            </a:extLst>
          </p:cNvPr>
          <p:cNvCxnSpPr/>
          <p:nvPr/>
        </p:nvCxnSpPr>
        <p:spPr>
          <a:xfrm>
            <a:off x="8845550" y="1640310"/>
            <a:ext cx="1528662" cy="1528662"/>
          </a:xfrm>
          <a:prstGeom prst="straightConnector1">
            <a:avLst/>
          </a:prstGeom>
          <a:ln w="19050">
            <a:solidFill>
              <a:schemeClr val="accent1">
                <a:lumMod val="60000"/>
                <a:lumOff val="40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23">
            <a:extLst>
              <a:ext uri="{FF2B5EF4-FFF2-40B4-BE49-F238E27FC236}">
                <a16:creationId xmlns:a16="http://schemas.microsoft.com/office/drawing/2014/main" id="{CA29F04B-CAD4-4194-AEBF-E79CB19C7B71}"/>
              </a:ext>
            </a:extLst>
          </p:cNvPr>
          <p:cNvCxnSpPr/>
          <p:nvPr/>
        </p:nvCxnSpPr>
        <p:spPr>
          <a:xfrm flipH="1">
            <a:off x="8845550" y="3658796"/>
            <a:ext cx="1528662" cy="1528662"/>
          </a:xfrm>
          <a:prstGeom prst="straightConnector1">
            <a:avLst/>
          </a:prstGeom>
          <a:ln w="19050">
            <a:solidFill>
              <a:schemeClr val="accent1">
                <a:lumMod val="60000"/>
                <a:lumOff val="40000"/>
              </a:schemeClr>
            </a:solidFill>
            <a:prstDash val="sysDot"/>
            <a:headEnd type="triangle"/>
            <a:tailEnd type="none"/>
          </a:ln>
        </p:spPr>
        <p:style>
          <a:lnRef idx="1">
            <a:schemeClr val="accent1"/>
          </a:lnRef>
          <a:fillRef idx="0">
            <a:schemeClr val="accent1"/>
          </a:fillRef>
          <a:effectRef idx="0">
            <a:schemeClr val="accent1"/>
          </a:effectRef>
          <a:fontRef idx="minor">
            <a:schemeClr val="tx1"/>
          </a:fontRef>
        </p:style>
      </p:cxnSp>
      <p:sp>
        <p:nvSpPr>
          <p:cNvPr id="16" name="TextBox 25">
            <a:extLst>
              <a:ext uri="{FF2B5EF4-FFF2-40B4-BE49-F238E27FC236}">
                <a16:creationId xmlns:a16="http://schemas.microsoft.com/office/drawing/2014/main" id="{58633CC8-D998-419A-B855-5DE6BF3A2D16}"/>
              </a:ext>
            </a:extLst>
          </p:cNvPr>
          <p:cNvSpPr txBox="1"/>
          <p:nvPr/>
        </p:nvSpPr>
        <p:spPr>
          <a:xfrm>
            <a:off x="1335603" y="2012841"/>
            <a:ext cx="1204176" cy="276999"/>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cs typeface="+mn-ea"/>
                <a:sym typeface="+mn-lt"/>
              </a:rPr>
              <a:t>Insert text here</a:t>
            </a:r>
            <a:endParaRPr kumimoji="0" lang="id-ID" sz="1200" b="0" i="0" u="none" strike="noStrike" kern="1200" cap="none" spc="0" normalizeH="0" baseline="0" noProof="0" dirty="0">
              <a:ln>
                <a:noFill/>
              </a:ln>
              <a:solidFill>
                <a:srgbClr val="000000"/>
              </a:solidFill>
              <a:effectLst/>
              <a:uLnTx/>
              <a:uFillTx/>
              <a:latin typeface="Arial"/>
              <a:cs typeface="+mn-ea"/>
              <a:sym typeface="+mn-lt"/>
            </a:endParaRPr>
          </a:p>
        </p:txBody>
      </p:sp>
      <p:sp>
        <p:nvSpPr>
          <p:cNvPr id="17" name="TextBox 26">
            <a:extLst>
              <a:ext uri="{FF2B5EF4-FFF2-40B4-BE49-F238E27FC236}">
                <a16:creationId xmlns:a16="http://schemas.microsoft.com/office/drawing/2014/main" id="{5549AA6D-F9D7-41E1-A886-0F34955F4DEE}"/>
              </a:ext>
            </a:extLst>
          </p:cNvPr>
          <p:cNvSpPr txBox="1"/>
          <p:nvPr/>
        </p:nvSpPr>
        <p:spPr>
          <a:xfrm>
            <a:off x="1620378" y="2357814"/>
            <a:ext cx="1204176" cy="276999"/>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cs typeface="+mn-ea"/>
                <a:sym typeface="+mn-lt"/>
              </a:rPr>
              <a:t>Insert text here</a:t>
            </a:r>
            <a:endParaRPr kumimoji="0" lang="id-ID" sz="1200" b="0" i="0" u="none" strike="noStrike" kern="1200" cap="none" spc="0" normalizeH="0" baseline="0" noProof="0" dirty="0">
              <a:ln>
                <a:noFill/>
              </a:ln>
              <a:solidFill>
                <a:srgbClr val="000000"/>
              </a:solidFill>
              <a:effectLst/>
              <a:uLnTx/>
              <a:uFillTx/>
              <a:latin typeface="Arial"/>
              <a:cs typeface="+mn-ea"/>
              <a:sym typeface="+mn-lt"/>
            </a:endParaRPr>
          </a:p>
        </p:txBody>
      </p:sp>
      <p:sp>
        <p:nvSpPr>
          <p:cNvPr id="18" name="TextBox 27">
            <a:extLst>
              <a:ext uri="{FF2B5EF4-FFF2-40B4-BE49-F238E27FC236}">
                <a16:creationId xmlns:a16="http://schemas.microsoft.com/office/drawing/2014/main" id="{92201DE1-1F09-4D91-8C0B-17B5FE3ACD61}"/>
              </a:ext>
            </a:extLst>
          </p:cNvPr>
          <p:cNvSpPr txBox="1"/>
          <p:nvPr/>
        </p:nvSpPr>
        <p:spPr>
          <a:xfrm>
            <a:off x="1934447" y="3842924"/>
            <a:ext cx="1204176" cy="276999"/>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cs typeface="+mn-ea"/>
                <a:sym typeface="+mn-lt"/>
              </a:rPr>
              <a:t>Insert text here</a:t>
            </a:r>
            <a:endParaRPr kumimoji="0" lang="id-ID" sz="1200" b="0" i="0" u="none" strike="noStrike" kern="1200" cap="none" spc="0" normalizeH="0" baseline="0" noProof="0" dirty="0">
              <a:ln>
                <a:noFill/>
              </a:ln>
              <a:solidFill>
                <a:srgbClr val="000000"/>
              </a:solidFill>
              <a:effectLst/>
              <a:uLnTx/>
              <a:uFillTx/>
              <a:latin typeface="Arial"/>
              <a:cs typeface="+mn-ea"/>
              <a:sym typeface="+mn-lt"/>
            </a:endParaRPr>
          </a:p>
        </p:txBody>
      </p:sp>
      <p:sp>
        <p:nvSpPr>
          <p:cNvPr id="19" name="TextBox 28">
            <a:extLst>
              <a:ext uri="{FF2B5EF4-FFF2-40B4-BE49-F238E27FC236}">
                <a16:creationId xmlns:a16="http://schemas.microsoft.com/office/drawing/2014/main" id="{802DC4A0-5F22-4039-8FEC-10670CD92CCC}"/>
              </a:ext>
            </a:extLst>
          </p:cNvPr>
          <p:cNvSpPr txBox="1"/>
          <p:nvPr/>
        </p:nvSpPr>
        <p:spPr>
          <a:xfrm>
            <a:off x="1339433" y="4488283"/>
            <a:ext cx="1204176" cy="276999"/>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cs typeface="+mn-ea"/>
                <a:sym typeface="+mn-lt"/>
              </a:rPr>
              <a:t>Insert text here</a:t>
            </a:r>
            <a:endParaRPr kumimoji="0" lang="id-ID" sz="1200" b="0" i="0" u="none" strike="noStrike" kern="1200" cap="none" spc="0" normalizeH="0" baseline="0" noProof="0" dirty="0">
              <a:ln>
                <a:noFill/>
              </a:ln>
              <a:solidFill>
                <a:srgbClr val="000000"/>
              </a:solidFill>
              <a:effectLst/>
              <a:uLnTx/>
              <a:uFillTx/>
              <a:latin typeface="Arial"/>
              <a:cs typeface="+mn-ea"/>
              <a:sym typeface="+mn-lt"/>
            </a:endParaRPr>
          </a:p>
        </p:txBody>
      </p:sp>
      <p:sp>
        <p:nvSpPr>
          <p:cNvPr id="20" name="TextBox 29">
            <a:extLst>
              <a:ext uri="{FF2B5EF4-FFF2-40B4-BE49-F238E27FC236}">
                <a16:creationId xmlns:a16="http://schemas.microsoft.com/office/drawing/2014/main" id="{0DD5C3D8-6E07-46CC-933A-2FB0338F859C}"/>
              </a:ext>
            </a:extLst>
          </p:cNvPr>
          <p:cNvSpPr txBox="1"/>
          <p:nvPr/>
        </p:nvSpPr>
        <p:spPr>
          <a:xfrm>
            <a:off x="2005612" y="2698542"/>
            <a:ext cx="1204176" cy="276999"/>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cs typeface="+mn-ea"/>
                <a:sym typeface="+mn-lt"/>
              </a:rPr>
              <a:t>Insert text here</a:t>
            </a:r>
            <a:endParaRPr kumimoji="0" lang="id-ID" sz="1200" b="0" i="0" u="none" strike="noStrike" kern="1200" cap="none" spc="0" normalizeH="0" baseline="0" noProof="0" dirty="0">
              <a:ln>
                <a:noFill/>
              </a:ln>
              <a:solidFill>
                <a:srgbClr val="000000"/>
              </a:solidFill>
              <a:effectLst/>
              <a:uLnTx/>
              <a:uFillTx/>
              <a:latin typeface="Arial"/>
              <a:cs typeface="+mn-ea"/>
              <a:sym typeface="+mn-lt"/>
            </a:endParaRPr>
          </a:p>
        </p:txBody>
      </p:sp>
      <p:sp>
        <p:nvSpPr>
          <p:cNvPr id="21" name="TextBox 30">
            <a:extLst>
              <a:ext uri="{FF2B5EF4-FFF2-40B4-BE49-F238E27FC236}">
                <a16:creationId xmlns:a16="http://schemas.microsoft.com/office/drawing/2014/main" id="{95A78C74-2BBD-46B9-A78D-8FC6CB5A0695}"/>
              </a:ext>
            </a:extLst>
          </p:cNvPr>
          <p:cNvSpPr txBox="1"/>
          <p:nvPr/>
        </p:nvSpPr>
        <p:spPr>
          <a:xfrm>
            <a:off x="1652490" y="4169623"/>
            <a:ext cx="1204176" cy="276999"/>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cs typeface="+mn-ea"/>
                <a:sym typeface="+mn-lt"/>
              </a:rPr>
              <a:t>Insert text here</a:t>
            </a:r>
            <a:endParaRPr kumimoji="0" lang="id-ID" sz="1200" b="0" i="0" u="none" strike="noStrike" kern="1200" cap="none" spc="0" normalizeH="0" baseline="0" noProof="0" dirty="0">
              <a:ln>
                <a:noFill/>
              </a:ln>
              <a:solidFill>
                <a:srgbClr val="000000"/>
              </a:solidFill>
              <a:effectLst/>
              <a:uLnTx/>
              <a:uFillTx/>
              <a:latin typeface="Arial"/>
              <a:cs typeface="+mn-ea"/>
              <a:sym typeface="+mn-lt"/>
            </a:endParaRPr>
          </a:p>
        </p:txBody>
      </p:sp>
      <p:cxnSp>
        <p:nvCxnSpPr>
          <p:cNvPr id="22" name="Straight Arrow Connector 33">
            <a:extLst>
              <a:ext uri="{FF2B5EF4-FFF2-40B4-BE49-F238E27FC236}">
                <a16:creationId xmlns:a16="http://schemas.microsoft.com/office/drawing/2014/main" id="{1FC7BAD9-95BB-4F45-BA38-D172A60FC4F6}"/>
              </a:ext>
            </a:extLst>
          </p:cNvPr>
          <p:cNvCxnSpPr/>
          <p:nvPr/>
        </p:nvCxnSpPr>
        <p:spPr>
          <a:xfrm>
            <a:off x="2572206" y="2149475"/>
            <a:ext cx="406981" cy="0"/>
          </a:xfrm>
          <a:prstGeom prst="straightConnector1">
            <a:avLst/>
          </a:prstGeom>
          <a:ln w="12700">
            <a:solidFill>
              <a:schemeClr val="accent1">
                <a:lumMod val="60000"/>
                <a:lumOff val="40000"/>
              </a:schemeClr>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34">
            <a:extLst>
              <a:ext uri="{FF2B5EF4-FFF2-40B4-BE49-F238E27FC236}">
                <a16:creationId xmlns:a16="http://schemas.microsoft.com/office/drawing/2014/main" id="{A811A9BA-D956-494A-AEC8-9927B9B7F02E}"/>
              </a:ext>
            </a:extLst>
          </p:cNvPr>
          <p:cNvCxnSpPr/>
          <p:nvPr/>
        </p:nvCxnSpPr>
        <p:spPr>
          <a:xfrm>
            <a:off x="2839943" y="2496313"/>
            <a:ext cx="406981" cy="0"/>
          </a:xfrm>
          <a:prstGeom prst="straightConnector1">
            <a:avLst/>
          </a:prstGeom>
          <a:ln w="12700">
            <a:solidFill>
              <a:schemeClr val="accent1">
                <a:lumMod val="60000"/>
                <a:lumOff val="40000"/>
              </a:schemeClr>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35">
            <a:extLst>
              <a:ext uri="{FF2B5EF4-FFF2-40B4-BE49-F238E27FC236}">
                <a16:creationId xmlns:a16="http://schemas.microsoft.com/office/drawing/2014/main" id="{42D075F0-67F0-4A92-A8A6-DB0CD7D0AE0A}"/>
              </a:ext>
            </a:extLst>
          </p:cNvPr>
          <p:cNvCxnSpPr/>
          <p:nvPr/>
        </p:nvCxnSpPr>
        <p:spPr>
          <a:xfrm>
            <a:off x="3185078" y="2837041"/>
            <a:ext cx="406981" cy="0"/>
          </a:xfrm>
          <a:prstGeom prst="straightConnector1">
            <a:avLst/>
          </a:prstGeom>
          <a:ln w="12700">
            <a:solidFill>
              <a:schemeClr val="accent1">
                <a:lumMod val="60000"/>
                <a:lumOff val="40000"/>
              </a:schemeClr>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36">
            <a:extLst>
              <a:ext uri="{FF2B5EF4-FFF2-40B4-BE49-F238E27FC236}">
                <a16:creationId xmlns:a16="http://schemas.microsoft.com/office/drawing/2014/main" id="{3A4E8673-78F7-47CA-A092-5372DAFCDFD9}"/>
              </a:ext>
            </a:extLst>
          </p:cNvPr>
          <p:cNvCxnSpPr/>
          <p:nvPr/>
        </p:nvCxnSpPr>
        <p:spPr>
          <a:xfrm>
            <a:off x="2550406" y="4634390"/>
            <a:ext cx="406981" cy="0"/>
          </a:xfrm>
          <a:prstGeom prst="straightConnector1">
            <a:avLst/>
          </a:prstGeom>
          <a:ln w="12700">
            <a:solidFill>
              <a:schemeClr val="accent1">
                <a:lumMod val="60000"/>
                <a:lumOff val="40000"/>
              </a:schemeClr>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37">
            <a:extLst>
              <a:ext uri="{FF2B5EF4-FFF2-40B4-BE49-F238E27FC236}">
                <a16:creationId xmlns:a16="http://schemas.microsoft.com/office/drawing/2014/main" id="{07874075-E4A0-4064-A6F0-3550DEEC8880}"/>
              </a:ext>
            </a:extLst>
          </p:cNvPr>
          <p:cNvCxnSpPr/>
          <p:nvPr/>
        </p:nvCxnSpPr>
        <p:spPr>
          <a:xfrm>
            <a:off x="2831367" y="4311766"/>
            <a:ext cx="406981" cy="0"/>
          </a:xfrm>
          <a:prstGeom prst="straightConnector1">
            <a:avLst/>
          </a:prstGeom>
          <a:ln w="12700">
            <a:solidFill>
              <a:schemeClr val="accent1">
                <a:lumMod val="60000"/>
                <a:lumOff val="40000"/>
              </a:schemeClr>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38">
            <a:extLst>
              <a:ext uri="{FF2B5EF4-FFF2-40B4-BE49-F238E27FC236}">
                <a16:creationId xmlns:a16="http://schemas.microsoft.com/office/drawing/2014/main" id="{2A2FDDF1-897C-4BA5-BE82-4748D0429DEB}"/>
              </a:ext>
            </a:extLst>
          </p:cNvPr>
          <p:cNvCxnSpPr/>
          <p:nvPr/>
        </p:nvCxnSpPr>
        <p:spPr>
          <a:xfrm>
            <a:off x="3166028" y="3996187"/>
            <a:ext cx="406981" cy="0"/>
          </a:xfrm>
          <a:prstGeom prst="straightConnector1">
            <a:avLst/>
          </a:prstGeom>
          <a:ln w="12700">
            <a:solidFill>
              <a:schemeClr val="accent1">
                <a:lumMod val="60000"/>
                <a:lumOff val="40000"/>
              </a:schemeClr>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28" name="TextBox 39">
            <a:extLst>
              <a:ext uri="{FF2B5EF4-FFF2-40B4-BE49-F238E27FC236}">
                <a16:creationId xmlns:a16="http://schemas.microsoft.com/office/drawing/2014/main" id="{E7E4783B-3141-4B92-9476-04ED2272A338}"/>
              </a:ext>
            </a:extLst>
          </p:cNvPr>
          <p:cNvSpPr txBox="1"/>
          <p:nvPr/>
        </p:nvSpPr>
        <p:spPr>
          <a:xfrm>
            <a:off x="4327473" y="2012841"/>
            <a:ext cx="1204176" cy="276999"/>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cs typeface="+mn-ea"/>
                <a:sym typeface="+mn-lt"/>
              </a:rPr>
              <a:t>Insert text here</a:t>
            </a:r>
            <a:endParaRPr kumimoji="0" lang="id-ID" sz="1200" b="0" i="0" u="none" strike="noStrike" kern="1200" cap="none" spc="0" normalizeH="0" baseline="0" noProof="0" dirty="0">
              <a:ln>
                <a:noFill/>
              </a:ln>
              <a:solidFill>
                <a:srgbClr val="000000"/>
              </a:solidFill>
              <a:effectLst/>
              <a:uLnTx/>
              <a:uFillTx/>
              <a:latin typeface="Arial"/>
              <a:cs typeface="+mn-ea"/>
              <a:sym typeface="+mn-lt"/>
            </a:endParaRPr>
          </a:p>
        </p:txBody>
      </p:sp>
      <p:sp>
        <p:nvSpPr>
          <p:cNvPr id="29" name="TextBox 40">
            <a:extLst>
              <a:ext uri="{FF2B5EF4-FFF2-40B4-BE49-F238E27FC236}">
                <a16:creationId xmlns:a16="http://schemas.microsoft.com/office/drawing/2014/main" id="{E2416529-7CB1-45EA-BE9E-716EB4C245CC}"/>
              </a:ext>
            </a:extLst>
          </p:cNvPr>
          <p:cNvSpPr txBox="1"/>
          <p:nvPr/>
        </p:nvSpPr>
        <p:spPr>
          <a:xfrm>
            <a:off x="4612248" y="2357814"/>
            <a:ext cx="1204176" cy="276999"/>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cs typeface="+mn-ea"/>
                <a:sym typeface="+mn-lt"/>
              </a:rPr>
              <a:t>Insert text here</a:t>
            </a:r>
            <a:endParaRPr kumimoji="0" lang="id-ID" sz="1200" b="0" i="0" u="none" strike="noStrike" kern="1200" cap="none" spc="0" normalizeH="0" baseline="0" noProof="0" dirty="0">
              <a:ln>
                <a:noFill/>
              </a:ln>
              <a:solidFill>
                <a:srgbClr val="000000"/>
              </a:solidFill>
              <a:effectLst/>
              <a:uLnTx/>
              <a:uFillTx/>
              <a:latin typeface="Arial"/>
              <a:cs typeface="+mn-ea"/>
              <a:sym typeface="+mn-lt"/>
            </a:endParaRPr>
          </a:p>
        </p:txBody>
      </p:sp>
      <p:sp>
        <p:nvSpPr>
          <p:cNvPr id="30" name="TextBox 41">
            <a:extLst>
              <a:ext uri="{FF2B5EF4-FFF2-40B4-BE49-F238E27FC236}">
                <a16:creationId xmlns:a16="http://schemas.microsoft.com/office/drawing/2014/main" id="{DA424F53-EC0B-4F51-976B-580F8236D976}"/>
              </a:ext>
            </a:extLst>
          </p:cNvPr>
          <p:cNvSpPr txBox="1"/>
          <p:nvPr/>
        </p:nvSpPr>
        <p:spPr>
          <a:xfrm>
            <a:off x="4926317" y="3842924"/>
            <a:ext cx="1204176" cy="276999"/>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cs typeface="+mn-ea"/>
                <a:sym typeface="+mn-lt"/>
              </a:rPr>
              <a:t>Insert text here</a:t>
            </a:r>
            <a:endParaRPr kumimoji="0" lang="id-ID" sz="1200" b="0" i="0" u="none" strike="noStrike" kern="1200" cap="none" spc="0" normalizeH="0" baseline="0" noProof="0" dirty="0">
              <a:ln>
                <a:noFill/>
              </a:ln>
              <a:solidFill>
                <a:srgbClr val="000000"/>
              </a:solidFill>
              <a:effectLst/>
              <a:uLnTx/>
              <a:uFillTx/>
              <a:latin typeface="Arial"/>
              <a:cs typeface="+mn-ea"/>
              <a:sym typeface="+mn-lt"/>
            </a:endParaRPr>
          </a:p>
        </p:txBody>
      </p:sp>
      <p:sp>
        <p:nvSpPr>
          <p:cNvPr id="31" name="TextBox 42">
            <a:extLst>
              <a:ext uri="{FF2B5EF4-FFF2-40B4-BE49-F238E27FC236}">
                <a16:creationId xmlns:a16="http://schemas.microsoft.com/office/drawing/2014/main" id="{E5ACFA54-CF76-456A-96B5-7C7885182DB0}"/>
              </a:ext>
            </a:extLst>
          </p:cNvPr>
          <p:cNvSpPr txBox="1"/>
          <p:nvPr/>
        </p:nvSpPr>
        <p:spPr>
          <a:xfrm>
            <a:off x="4331303" y="4488283"/>
            <a:ext cx="1204176" cy="276999"/>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cs typeface="+mn-ea"/>
                <a:sym typeface="+mn-lt"/>
              </a:rPr>
              <a:t>Insert text here</a:t>
            </a:r>
            <a:endParaRPr kumimoji="0" lang="id-ID" sz="1200" b="0" i="0" u="none" strike="noStrike" kern="1200" cap="none" spc="0" normalizeH="0" baseline="0" noProof="0" dirty="0">
              <a:ln>
                <a:noFill/>
              </a:ln>
              <a:solidFill>
                <a:srgbClr val="000000"/>
              </a:solidFill>
              <a:effectLst/>
              <a:uLnTx/>
              <a:uFillTx/>
              <a:latin typeface="Arial"/>
              <a:cs typeface="+mn-ea"/>
              <a:sym typeface="+mn-lt"/>
            </a:endParaRPr>
          </a:p>
        </p:txBody>
      </p:sp>
      <p:sp>
        <p:nvSpPr>
          <p:cNvPr id="32" name="TextBox 43">
            <a:extLst>
              <a:ext uri="{FF2B5EF4-FFF2-40B4-BE49-F238E27FC236}">
                <a16:creationId xmlns:a16="http://schemas.microsoft.com/office/drawing/2014/main" id="{9D5F18B3-E002-4DEE-9B1F-E6FAB5B6BD04}"/>
              </a:ext>
            </a:extLst>
          </p:cNvPr>
          <p:cNvSpPr txBox="1"/>
          <p:nvPr/>
        </p:nvSpPr>
        <p:spPr>
          <a:xfrm>
            <a:off x="4997482" y="2698542"/>
            <a:ext cx="1204176" cy="276999"/>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cs typeface="+mn-ea"/>
                <a:sym typeface="+mn-lt"/>
              </a:rPr>
              <a:t>Insert text here</a:t>
            </a:r>
            <a:endParaRPr kumimoji="0" lang="id-ID" sz="1200" b="0" i="0" u="none" strike="noStrike" kern="1200" cap="none" spc="0" normalizeH="0" baseline="0" noProof="0" dirty="0">
              <a:ln>
                <a:noFill/>
              </a:ln>
              <a:solidFill>
                <a:srgbClr val="000000"/>
              </a:solidFill>
              <a:effectLst/>
              <a:uLnTx/>
              <a:uFillTx/>
              <a:latin typeface="Arial"/>
              <a:cs typeface="+mn-ea"/>
              <a:sym typeface="+mn-lt"/>
            </a:endParaRPr>
          </a:p>
        </p:txBody>
      </p:sp>
      <p:sp>
        <p:nvSpPr>
          <p:cNvPr id="33" name="TextBox 44">
            <a:extLst>
              <a:ext uri="{FF2B5EF4-FFF2-40B4-BE49-F238E27FC236}">
                <a16:creationId xmlns:a16="http://schemas.microsoft.com/office/drawing/2014/main" id="{AFECC5B7-BC58-40D0-AA9C-852ABF93F4F3}"/>
              </a:ext>
            </a:extLst>
          </p:cNvPr>
          <p:cNvSpPr txBox="1"/>
          <p:nvPr/>
        </p:nvSpPr>
        <p:spPr>
          <a:xfrm>
            <a:off x="4644360" y="4169623"/>
            <a:ext cx="1204176" cy="276999"/>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cs typeface="+mn-ea"/>
                <a:sym typeface="+mn-lt"/>
              </a:rPr>
              <a:t>Insert text here</a:t>
            </a:r>
            <a:endParaRPr kumimoji="0" lang="id-ID" sz="1200" b="0" i="0" u="none" strike="noStrike" kern="1200" cap="none" spc="0" normalizeH="0" baseline="0" noProof="0" dirty="0">
              <a:ln>
                <a:noFill/>
              </a:ln>
              <a:solidFill>
                <a:srgbClr val="000000"/>
              </a:solidFill>
              <a:effectLst/>
              <a:uLnTx/>
              <a:uFillTx/>
              <a:latin typeface="Arial"/>
              <a:cs typeface="+mn-ea"/>
              <a:sym typeface="+mn-lt"/>
            </a:endParaRPr>
          </a:p>
        </p:txBody>
      </p:sp>
      <p:cxnSp>
        <p:nvCxnSpPr>
          <p:cNvPr id="34" name="Straight Arrow Connector 45">
            <a:extLst>
              <a:ext uri="{FF2B5EF4-FFF2-40B4-BE49-F238E27FC236}">
                <a16:creationId xmlns:a16="http://schemas.microsoft.com/office/drawing/2014/main" id="{4DF0F4A9-364D-4E23-8BDF-FE2DB0C08D5B}"/>
              </a:ext>
            </a:extLst>
          </p:cNvPr>
          <p:cNvCxnSpPr/>
          <p:nvPr/>
        </p:nvCxnSpPr>
        <p:spPr>
          <a:xfrm>
            <a:off x="5564076" y="2149475"/>
            <a:ext cx="406981" cy="0"/>
          </a:xfrm>
          <a:prstGeom prst="straightConnector1">
            <a:avLst/>
          </a:prstGeom>
          <a:ln w="12700">
            <a:solidFill>
              <a:schemeClr val="accent1">
                <a:lumMod val="60000"/>
                <a:lumOff val="40000"/>
              </a:schemeClr>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35" name="Straight Arrow Connector 46">
            <a:extLst>
              <a:ext uri="{FF2B5EF4-FFF2-40B4-BE49-F238E27FC236}">
                <a16:creationId xmlns:a16="http://schemas.microsoft.com/office/drawing/2014/main" id="{625866B4-052A-49D0-8DEC-0B2FE1762C7F}"/>
              </a:ext>
            </a:extLst>
          </p:cNvPr>
          <p:cNvCxnSpPr/>
          <p:nvPr/>
        </p:nvCxnSpPr>
        <p:spPr>
          <a:xfrm>
            <a:off x="5831813" y="2496313"/>
            <a:ext cx="406981" cy="0"/>
          </a:xfrm>
          <a:prstGeom prst="straightConnector1">
            <a:avLst/>
          </a:prstGeom>
          <a:ln w="12700">
            <a:solidFill>
              <a:schemeClr val="accent1">
                <a:lumMod val="60000"/>
                <a:lumOff val="40000"/>
              </a:schemeClr>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36" name="Straight Arrow Connector 47">
            <a:extLst>
              <a:ext uri="{FF2B5EF4-FFF2-40B4-BE49-F238E27FC236}">
                <a16:creationId xmlns:a16="http://schemas.microsoft.com/office/drawing/2014/main" id="{635CB6BB-60AA-490E-91C5-47FBA14C556D}"/>
              </a:ext>
            </a:extLst>
          </p:cNvPr>
          <p:cNvCxnSpPr/>
          <p:nvPr/>
        </p:nvCxnSpPr>
        <p:spPr>
          <a:xfrm>
            <a:off x="6176948" y="2837041"/>
            <a:ext cx="406981" cy="0"/>
          </a:xfrm>
          <a:prstGeom prst="straightConnector1">
            <a:avLst/>
          </a:prstGeom>
          <a:ln w="12700">
            <a:solidFill>
              <a:schemeClr val="accent1">
                <a:lumMod val="60000"/>
                <a:lumOff val="40000"/>
              </a:schemeClr>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37" name="Straight Arrow Connector 48">
            <a:extLst>
              <a:ext uri="{FF2B5EF4-FFF2-40B4-BE49-F238E27FC236}">
                <a16:creationId xmlns:a16="http://schemas.microsoft.com/office/drawing/2014/main" id="{0B8E8266-BE3F-42A0-B68B-F90963CA3453}"/>
              </a:ext>
            </a:extLst>
          </p:cNvPr>
          <p:cNvCxnSpPr/>
          <p:nvPr/>
        </p:nvCxnSpPr>
        <p:spPr>
          <a:xfrm>
            <a:off x="5542276" y="4634390"/>
            <a:ext cx="406981" cy="0"/>
          </a:xfrm>
          <a:prstGeom prst="straightConnector1">
            <a:avLst/>
          </a:prstGeom>
          <a:ln w="12700">
            <a:solidFill>
              <a:schemeClr val="accent1">
                <a:lumMod val="60000"/>
                <a:lumOff val="40000"/>
              </a:schemeClr>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49">
            <a:extLst>
              <a:ext uri="{FF2B5EF4-FFF2-40B4-BE49-F238E27FC236}">
                <a16:creationId xmlns:a16="http://schemas.microsoft.com/office/drawing/2014/main" id="{C0547783-360C-4BB9-A0A1-5E2FB81A182C}"/>
              </a:ext>
            </a:extLst>
          </p:cNvPr>
          <p:cNvCxnSpPr/>
          <p:nvPr/>
        </p:nvCxnSpPr>
        <p:spPr>
          <a:xfrm>
            <a:off x="5823237" y="4311766"/>
            <a:ext cx="406981" cy="0"/>
          </a:xfrm>
          <a:prstGeom prst="straightConnector1">
            <a:avLst/>
          </a:prstGeom>
          <a:ln w="12700">
            <a:solidFill>
              <a:schemeClr val="accent1">
                <a:lumMod val="60000"/>
                <a:lumOff val="40000"/>
              </a:schemeClr>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39" name="Straight Arrow Connector 50">
            <a:extLst>
              <a:ext uri="{FF2B5EF4-FFF2-40B4-BE49-F238E27FC236}">
                <a16:creationId xmlns:a16="http://schemas.microsoft.com/office/drawing/2014/main" id="{5F32C266-A71F-4979-8CB9-1DE43AEF6612}"/>
              </a:ext>
            </a:extLst>
          </p:cNvPr>
          <p:cNvCxnSpPr/>
          <p:nvPr/>
        </p:nvCxnSpPr>
        <p:spPr>
          <a:xfrm>
            <a:off x="6157898" y="3996187"/>
            <a:ext cx="406981" cy="0"/>
          </a:xfrm>
          <a:prstGeom prst="straightConnector1">
            <a:avLst/>
          </a:prstGeom>
          <a:ln w="12700">
            <a:solidFill>
              <a:schemeClr val="accent1">
                <a:lumMod val="60000"/>
                <a:lumOff val="40000"/>
              </a:schemeClr>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40" name="TextBox 51">
            <a:extLst>
              <a:ext uri="{FF2B5EF4-FFF2-40B4-BE49-F238E27FC236}">
                <a16:creationId xmlns:a16="http://schemas.microsoft.com/office/drawing/2014/main" id="{0DCEC474-8B26-4E95-BDA3-C97C95780517}"/>
              </a:ext>
            </a:extLst>
          </p:cNvPr>
          <p:cNvSpPr txBox="1"/>
          <p:nvPr/>
        </p:nvSpPr>
        <p:spPr>
          <a:xfrm>
            <a:off x="7475680" y="1971180"/>
            <a:ext cx="1204176" cy="276999"/>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cs typeface="+mn-ea"/>
                <a:sym typeface="+mn-lt"/>
              </a:rPr>
              <a:t>Insert text here</a:t>
            </a:r>
            <a:endParaRPr kumimoji="0" lang="id-ID" sz="1200" b="0" i="0" u="none" strike="noStrike" kern="1200" cap="none" spc="0" normalizeH="0" baseline="0" noProof="0" dirty="0">
              <a:ln>
                <a:noFill/>
              </a:ln>
              <a:solidFill>
                <a:srgbClr val="000000"/>
              </a:solidFill>
              <a:effectLst/>
              <a:uLnTx/>
              <a:uFillTx/>
              <a:latin typeface="Arial"/>
              <a:cs typeface="+mn-ea"/>
              <a:sym typeface="+mn-lt"/>
            </a:endParaRPr>
          </a:p>
        </p:txBody>
      </p:sp>
      <p:sp>
        <p:nvSpPr>
          <p:cNvPr id="41" name="TextBox 52">
            <a:extLst>
              <a:ext uri="{FF2B5EF4-FFF2-40B4-BE49-F238E27FC236}">
                <a16:creationId xmlns:a16="http://schemas.microsoft.com/office/drawing/2014/main" id="{2E7128D5-9C3D-4C13-9B33-54F8E09692A7}"/>
              </a:ext>
            </a:extLst>
          </p:cNvPr>
          <p:cNvSpPr txBox="1"/>
          <p:nvPr/>
        </p:nvSpPr>
        <p:spPr>
          <a:xfrm>
            <a:off x="7760455" y="2316153"/>
            <a:ext cx="1204176" cy="276999"/>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cs typeface="+mn-ea"/>
                <a:sym typeface="+mn-lt"/>
              </a:rPr>
              <a:t>Insert text here</a:t>
            </a:r>
            <a:endParaRPr kumimoji="0" lang="id-ID" sz="1200" b="0" i="0" u="none" strike="noStrike" kern="1200" cap="none" spc="0" normalizeH="0" baseline="0" noProof="0" dirty="0">
              <a:ln>
                <a:noFill/>
              </a:ln>
              <a:solidFill>
                <a:srgbClr val="000000"/>
              </a:solidFill>
              <a:effectLst/>
              <a:uLnTx/>
              <a:uFillTx/>
              <a:latin typeface="Arial"/>
              <a:cs typeface="+mn-ea"/>
              <a:sym typeface="+mn-lt"/>
            </a:endParaRPr>
          </a:p>
        </p:txBody>
      </p:sp>
      <p:sp>
        <p:nvSpPr>
          <p:cNvPr id="42" name="TextBox 53">
            <a:extLst>
              <a:ext uri="{FF2B5EF4-FFF2-40B4-BE49-F238E27FC236}">
                <a16:creationId xmlns:a16="http://schemas.microsoft.com/office/drawing/2014/main" id="{2D7B0F0C-C4B5-4DC6-B81D-F8D207877635}"/>
              </a:ext>
            </a:extLst>
          </p:cNvPr>
          <p:cNvSpPr txBox="1"/>
          <p:nvPr/>
        </p:nvSpPr>
        <p:spPr>
          <a:xfrm>
            <a:off x="8074524" y="3801263"/>
            <a:ext cx="1204176" cy="276999"/>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cs typeface="+mn-ea"/>
                <a:sym typeface="+mn-lt"/>
              </a:rPr>
              <a:t>Insert text here</a:t>
            </a:r>
            <a:endParaRPr kumimoji="0" lang="id-ID" sz="1200" b="0" i="0" u="none" strike="noStrike" kern="1200" cap="none" spc="0" normalizeH="0" baseline="0" noProof="0" dirty="0">
              <a:ln>
                <a:noFill/>
              </a:ln>
              <a:solidFill>
                <a:srgbClr val="000000"/>
              </a:solidFill>
              <a:effectLst/>
              <a:uLnTx/>
              <a:uFillTx/>
              <a:latin typeface="Arial"/>
              <a:cs typeface="+mn-ea"/>
              <a:sym typeface="+mn-lt"/>
            </a:endParaRPr>
          </a:p>
        </p:txBody>
      </p:sp>
      <p:sp>
        <p:nvSpPr>
          <p:cNvPr id="43" name="TextBox 54">
            <a:extLst>
              <a:ext uri="{FF2B5EF4-FFF2-40B4-BE49-F238E27FC236}">
                <a16:creationId xmlns:a16="http://schemas.microsoft.com/office/drawing/2014/main" id="{2A1F36C0-57EC-4753-AD63-DE1B15C3AE40}"/>
              </a:ext>
            </a:extLst>
          </p:cNvPr>
          <p:cNvSpPr txBox="1"/>
          <p:nvPr/>
        </p:nvSpPr>
        <p:spPr>
          <a:xfrm>
            <a:off x="7479510" y="4446622"/>
            <a:ext cx="1204176" cy="276999"/>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cs typeface="+mn-ea"/>
                <a:sym typeface="+mn-lt"/>
              </a:rPr>
              <a:t>Insert text here</a:t>
            </a:r>
            <a:endParaRPr kumimoji="0" lang="id-ID" sz="1200" b="0" i="0" u="none" strike="noStrike" kern="1200" cap="none" spc="0" normalizeH="0" baseline="0" noProof="0" dirty="0">
              <a:ln>
                <a:noFill/>
              </a:ln>
              <a:solidFill>
                <a:srgbClr val="000000"/>
              </a:solidFill>
              <a:effectLst/>
              <a:uLnTx/>
              <a:uFillTx/>
              <a:latin typeface="Arial"/>
              <a:cs typeface="+mn-ea"/>
              <a:sym typeface="+mn-lt"/>
            </a:endParaRPr>
          </a:p>
        </p:txBody>
      </p:sp>
      <p:sp>
        <p:nvSpPr>
          <p:cNvPr id="44" name="TextBox 55">
            <a:extLst>
              <a:ext uri="{FF2B5EF4-FFF2-40B4-BE49-F238E27FC236}">
                <a16:creationId xmlns:a16="http://schemas.microsoft.com/office/drawing/2014/main" id="{A2BD75DE-1620-463E-B1C6-39BEBF819226}"/>
              </a:ext>
            </a:extLst>
          </p:cNvPr>
          <p:cNvSpPr txBox="1"/>
          <p:nvPr/>
        </p:nvSpPr>
        <p:spPr>
          <a:xfrm>
            <a:off x="8145689" y="2656881"/>
            <a:ext cx="1204176" cy="276999"/>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cs typeface="+mn-ea"/>
                <a:sym typeface="+mn-lt"/>
              </a:rPr>
              <a:t>Insert text here</a:t>
            </a:r>
            <a:endParaRPr kumimoji="0" lang="id-ID" sz="1200" b="0" i="0" u="none" strike="noStrike" kern="1200" cap="none" spc="0" normalizeH="0" baseline="0" noProof="0" dirty="0">
              <a:ln>
                <a:noFill/>
              </a:ln>
              <a:solidFill>
                <a:srgbClr val="000000"/>
              </a:solidFill>
              <a:effectLst/>
              <a:uLnTx/>
              <a:uFillTx/>
              <a:latin typeface="Arial"/>
              <a:cs typeface="+mn-ea"/>
              <a:sym typeface="+mn-lt"/>
            </a:endParaRPr>
          </a:p>
        </p:txBody>
      </p:sp>
      <p:sp>
        <p:nvSpPr>
          <p:cNvPr id="45" name="TextBox 56">
            <a:extLst>
              <a:ext uri="{FF2B5EF4-FFF2-40B4-BE49-F238E27FC236}">
                <a16:creationId xmlns:a16="http://schemas.microsoft.com/office/drawing/2014/main" id="{85128284-70AD-4059-98E2-7B978B8E1655}"/>
              </a:ext>
            </a:extLst>
          </p:cNvPr>
          <p:cNvSpPr txBox="1"/>
          <p:nvPr/>
        </p:nvSpPr>
        <p:spPr>
          <a:xfrm>
            <a:off x="7792567" y="4127962"/>
            <a:ext cx="1204176" cy="276999"/>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cs typeface="+mn-ea"/>
                <a:sym typeface="+mn-lt"/>
              </a:rPr>
              <a:t>Insert text here</a:t>
            </a:r>
            <a:endParaRPr kumimoji="0" lang="id-ID" sz="1200" b="0" i="0" u="none" strike="noStrike" kern="1200" cap="none" spc="0" normalizeH="0" baseline="0" noProof="0" dirty="0">
              <a:ln>
                <a:noFill/>
              </a:ln>
              <a:solidFill>
                <a:srgbClr val="000000"/>
              </a:solidFill>
              <a:effectLst/>
              <a:uLnTx/>
              <a:uFillTx/>
              <a:latin typeface="Arial"/>
              <a:cs typeface="+mn-ea"/>
              <a:sym typeface="+mn-lt"/>
            </a:endParaRPr>
          </a:p>
        </p:txBody>
      </p:sp>
      <p:cxnSp>
        <p:nvCxnSpPr>
          <p:cNvPr id="46" name="Straight Arrow Connector 57">
            <a:extLst>
              <a:ext uri="{FF2B5EF4-FFF2-40B4-BE49-F238E27FC236}">
                <a16:creationId xmlns:a16="http://schemas.microsoft.com/office/drawing/2014/main" id="{ABEAB3BB-8D0B-47D1-9936-3AAB9904CD25}"/>
              </a:ext>
            </a:extLst>
          </p:cNvPr>
          <p:cNvCxnSpPr/>
          <p:nvPr/>
        </p:nvCxnSpPr>
        <p:spPr>
          <a:xfrm>
            <a:off x="8712283" y="2107814"/>
            <a:ext cx="406981" cy="0"/>
          </a:xfrm>
          <a:prstGeom prst="straightConnector1">
            <a:avLst/>
          </a:prstGeom>
          <a:ln w="12700">
            <a:solidFill>
              <a:schemeClr val="accent1">
                <a:lumMod val="60000"/>
                <a:lumOff val="40000"/>
              </a:schemeClr>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47" name="Straight Arrow Connector 58">
            <a:extLst>
              <a:ext uri="{FF2B5EF4-FFF2-40B4-BE49-F238E27FC236}">
                <a16:creationId xmlns:a16="http://schemas.microsoft.com/office/drawing/2014/main" id="{B2A5ACA8-80D7-4CA2-8B42-DC52CF951780}"/>
              </a:ext>
            </a:extLst>
          </p:cNvPr>
          <p:cNvCxnSpPr/>
          <p:nvPr/>
        </p:nvCxnSpPr>
        <p:spPr>
          <a:xfrm>
            <a:off x="8980020" y="2454652"/>
            <a:ext cx="406981" cy="0"/>
          </a:xfrm>
          <a:prstGeom prst="straightConnector1">
            <a:avLst/>
          </a:prstGeom>
          <a:ln w="12700">
            <a:solidFill>
              <a:schemeClr val="accent1">
                <a:lumMod val="60000"/>
                <a:lumOff val="40000"/>
              </a:schemeClr>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48" name="Straight Arrow Connector 59">
            <a:extLst>
              <a:ext uri="{FF2B5EF4-FFF2-40B4-BE49-F238E27FC236}">
                <a16:creationId xmlns:a16="http://schemas.microsoft.com/office/drawing/2014/main" id="{76DF252F-CEA5-413B-AD91-A555A82D7DAC}"/>
              </a:ext>
            </a:extLst>
          </p:cNvPr>
          <p:cNvCxnSpPr/>
          <p:nvPr/>
        </p:nvCxnSpPr>
        <p:spPr>
          <a:xfrm>
            <a:off x="9325155" y="2795380"/>
            <a:ext cx="406981" cy="0"/>
          </a:xfrm>
          <a:prstGeom prst="straightConnector1">
            <a:avLst/>
          </a:prstGeom>
          <a:ln w="12700">
            <a:solidFill>
              <a:schemeClr val="accent1">
                <a:lumMod val="60000"/>
                <a:lumOff val="40000"/>
              </a:schemeClr>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49" name="Straight Arrow Connector 60">
            <a:extLst>
              <a:ext uri="{FF2B5EF4-FFF2-40B4-BE49-F238E27FC236}">
                <a16:creationId xmlns:a16="http://schemas.microsoft.com/office/drawing/2014/main" id="{4CB156A1-E1EC-42D1-9857-AD846A7DA652}"/>
              </a:ext>
            </a:extLst>
          </p:cNvPr>
          <p:cNvCxnSpPr/>
          <p:nvPr/>
        </p:nvCxnSpPr>
        <p:spPr>
          <a:xfrm>
            <a:off x="8690483" y="4592729"/>
            <a:ext cx="406981" cy="0"/>
          </a:xfrm>
          <a:prstGeom prst="straightConnector1">
            <a:avLst/>
          </a:prstGeom>
          <a:ln w="12700">
            <a:solidFill>
              <a:schemeClr val="accent1">
                <a:lumMod val="60000"/>
                <a:lumOff val="40000"/>
              </a:schemeClr>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50" name="Straight Arrow Connector 61">
            <a:extLst>
              <a:ext uri="{FF2B5EF4-FFF2-40B4-BE49-F238E27FC236}">
                <a16:creationId xmlns:a16="http://schemas.microsoft.com/office/drawing/2014/main" id="{608AC1F3-A674-476B-961D-84E8450F664D}"/>
              </a:ext>
            </a:extLst>
          </p:cNvPr>
          <p:cNvCxnSpPr/>
          <p:nvPr/>
        </p:nvCxnSpPr>
        <p:spPr>
          <a:xfrm>
            <a:off x="8971444" y="4270105"/>
            <a:ext cx="406981" cy="0"/>
          </a:xfrm>
          <a:prstGeom prst="straightConnector1">
            <a:avLst/>
          </a:prstGeom>
          <a:ln w="12700">
            <a:solidFill>
              <a:schemeClr val="accent1">
                <a:lumMod val="60000"/>
                <a:lumOff val="40000"/>
              </a:schemeClr>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51" name="Straight Arrow Connector 62">
            <a:extLst>
              <a:ext uri="{FF2B5EF4-FFF2-40B4-BE49-F238E27FC236}">
                <a16:creationId xmlns:a16="http://schemas.microsoft.com/office/drawing/2014/main" id="{6504C5A0-1335-4CE5-A567-59AB745A280A}"/>
              </a:ext>
            </a:extLst>
          </p:cNvPr>
          <p:cNvCxnSpPr/>
          <p:nvPr/>
        </p:nvCxnSpPr>
        <p:spPr>
          <a:xfrm>
            <a:off x="9306105" y="3954526"/>
            <a:ext cx="406981" cy="0"/>
          </a:xfrm>
          <a:prstGeom prst="straightConnector1">
            <a:avLst/>
          </a:prstGeom>
          <a:ln w="12700">
            <a:solidFill>
              <a:schemeClr val="accent1">
                <a:lumMod val="60000"/>
                <a:lumOff val="40000"/>
              </a:schemeClr>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52" name="TextBox 63">
            <a:extLst>
              <a:ext uri="{FF2B5EF4-FFF2-40B4-BE49-F238E27FC236}">
                <a16:creationId xmlns:a16="http://schemas.microsoft.com/office/drawing/2014/main" id="{E965F29B-F2EA-4374-89E2-4ED14ED883D7}"/>
              </a:ext>
            </a:extLst>
          </p:cNvPr>
          <p:cNvSpPr txBox="1"/>
          <p:nvPr/>
        </p:nvSpPr>
        <p:spPr>
          <a:xfrm>
            <a:off x="931011" y="1450038"/>
            <a:ext cx="1313180" cy="33855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0F0F0"/>
                </a:solidFill>
                <a:effectLst/>
                <a:uLnTx/>
                <a:uFillTx/>
                <a:latin typeface="Arial"/>
                <a:cs typeface="+mn-ea"/>
                <a:sym typeface="+mn-lt"/>
              </a:rPr>
              <a:t>Description</a:t>
            </a:r>
            <a:endParaRPr kumimoji="0" lang="id-ID" sz="1600" b="1" i="0" u="none" strike="noStrike" kern="1200" cap="none" spc="0" normalizeH="0" baseline="0" noProof="0" dirty="0">
              <a:ln>
                <a:noFill/>
              </a:ln>
              <a:solidFill>
                <a:srgbClr val="F0F0F0"/>
              </a:solidFill>
              <a:effectLst/>
              <a:uLnTx/>
              <a:uFillTx/>
              <a:latin typeface="Arial"/>
              <a:cs typeface="+mn-ea"/>
              <a:sym typeface="+mn-lt"/>
            </a:endParaRPr>
          </a:p>
        </p:txBody>
      </p:sp>
      <p:sp>
        <p:nvSpPr>
          <p:cNvPr id="53" name="TextBox 64">
            <a:extLst>
              <a:ext uri="{FF2B5EF4-FFF2-40B4-BE49-F238E27FC236}">
                <a16:creationId xmlns:a16="http://schemas.microsoft.com/office/drawing/2014/main" id="{319DABB6-6E57-40C2-A106-ADE1ACB987A8}"/>
              </a:ext>
            </a:extLst>
          </p:cNvPr>
          <p:cNvSpPr txBox="1"/>
          <p:nvPr/>
        </p:nvSpPr>
        <p:spPr>
          <a:xfrm>
            <a:off x="931011" y="5056281"/>
            <a:ext cx="1313180" cy="33855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0F0F0"/>
                </a:solidFill>
                <a:effectLst/>
                <a:uLnTx/>
                <a:uFillTx/>
                <a:latin typeface="Arial"/>
                <a:cs typeface="+mn-ea"/>
                <a:sym typeface="+mn-lt"/>
              </a:rPr>
              <a:t>Description</a:t>
            </a:r>
            <a:endParaRPr kumimoji="0" lang="id-ID" sz="1600" b="1" i="0" u="none" strike="noStrike" kern="1200" cap="none" spc="0" normalizeH="0" baseline="0" noProof="0" dirty="0">
              <a:ln>
                <a:noFill/>
              </a:ln>
              <a:solidFill>
                <a:srgbClr val="F0F0F0"/>
              </a:solidFill>
              <a:effectLst/>
              <a:uLnTx/>
              <a:uFillTx/>
              <a:latin typeface="Arial"/>
              <a:cs typeface="+mn-ea"/>
              <a:sym typeface="+mn-lt"/>
            </a:endParaRPr>
          </a:p>
        </p:txBody>
      </p:sp>
      <p:sp>
        <p:nvSpPr>
          <p:cNvPr id="54" name="TextBox 65">
            <a:extLst>
              <a:ext uri="{FF2B5EF4-FFF2-40B4-BE49-F238E27FC236}">
                <a16:creationId xmlns:a16="http://schemas.microsoft.com/office/drawing/2014/main" id="{0C90B17E-79D7-4F6E-8016-BC9D1CB1BDD5}"/>
              </a:ext>
            </a:extLst>
          </p:cNvPr>
          <p:cNvSpPr txBox="1"/>
          <p:nvPr/>
        </p:nvSpPr>
        <p:spPr>
          <a:xfrm>
            <a:off x="4064359" y="1450038"/>
            <a:ext cx="1313180" cy="33855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0F0F0"/>
                </a:solidFill>
                <a:effectLst/>
                <a:uLnTx/>
                <a:uFillTx/>
                <a:latin typeface="Arial"/>
                <a:cs typeface="+mn-ea"/>
                <a:sym typeface="+mn-lt"/>
              </a:rPr>
              <a:t>Description</a:t>
            </a:r>
            <a:endParaRPr kumimoji="0" lang="id-ID" sz="1600" b="1" i="0" u="none" strike="noStrike" kern="1200" cap="none" spc="0" normalizeH="0" baseline="0" noProof="0" dirty="0">
              <a:ln>
                <a:noFill/>
              </a:ln>
              <a:solidFill>
                <a:srgbClr val="F0F0F0"/>
              </a:solidFill>
              <a:effectLst/>
              <a:uLnTx/>
              <a:uFillTx/>
              <a:latin typeface="Arial"/>
              <a:cs typeface="+mn-ea"/>
              <a:sym typeface="+mn-lt"/>
            </a:endParaRPr>
          </a:p>
        </p:txBody>
      </p:sp>
      <p:sp>
        <p:nvSpPr>
          <p:cNvPr id="55" name="TextBox 66">
            <a:extLst>
              <a:ext uri="{FF2B5EF4-FFF2-40B4-BE49-F238E27FC236}">
                <a16:creationId xmlns:a16="http://schemas.microsoft.com/office/drawing/2014/main" id="{E775AFF2-3686-4B84-9545-BD883FDFCE7B}"/>
              </a:ext>
            </a:extLst>
          </p:cNvPr>
          <p:cNvSpPr txBox="1"/>
          <p:nvPr/>
        </p:nvSpPr>
        <p:spPr>
          <a:xfrm>
            <a:off x="4064359" y="5056281"/>
            <a:ext cx="1313180" cy="33855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0F0F0"/>
                </a:solidFill>
                <a:effectLst/>
                <a:uLnTx/>
                <a:uFillTx/>
                <a:latin typeface="Arial"/>
                <a:cs typeface="+mn-ea"/>
                <a:sym typeface="+mn-lt"/>
              </a:rPr>
              <a:t>Description</a:t>
            </a:r>
            <a:endParaRPr kumimoji="0" lang="id-ID" sz="1600" b="1" i="0" u="none" strike="noStrike" kern="1200" cap="none" spc="0" normalizeH="0" baseline="0" noProof="0" dirty="0">
              <a:ln>
                <a:noFill/>
              </a:ln>
              <a:solidFill>
                <a:srgbClr val="F0F0F0"/>
              </a:solidFill>
              <a:effectLst/>
              <a:uLnTx/>
              <a:uFillTx/>
              <a:latin typeface="Arial"/>
              <a:cs typeface="+mn-ea"/>
              <a:sym typeface="+mn-lt"/>
            </a:endParaRPr>
          </a:p>
        </p:txBody>
      </p:sp>
      <p:sp>
        <p:nvSpPr>
          <p:cNvPr id="56" name="TextBox 67">
            <a:extLst>
              <a:ext uri="{FF2B5EF4-FFF2-40B4-BE49-F238E27FC236}">
                <a16:creationId xmlns:a16="http://schemas.microsoft.com/office/drawing/2014/main" id="{D9180B3F-9F22-41B3-AB97-543B328866BB}"/>
              </a:ext>
            </a:extLst>
          </p:cNvPr>
          <p:cNvSpPr txBox="1"/>
          <p:nvPr/>
        </p:nvSpPr>
        <p:spPr>
          <a:xfrm>
            <a:off x="7199719" y="1441060"/>
            <a:ext cx="1313180" cy="33855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0F0F0"/>
                </a:solidFill>
                <a:effectLst/>
                <a:uLnTx/>
                <a:uFillTx/>
                <a:latin typeface="Arial"/>
                <a:cs typeface="+mn-ea"/>
                <a:sym typeface="+mn-lt"/>
              </a:rPr>
              <a:t>Description</a:t>
            </a:r>
            <a:endParaRPr kumimoji="0" lang="id-ID" sz="1600" b="1" i="0" u="none" strike="noStrike" kern="1200" cap="none" spc="0" normalizeH="0" baseline="0" noProof="0" dirty="0">
              <a:ln>
                <a:noFill/>
              </a:ln>
              <a:solidFill>
                <a:srgbClr val="F0F0F0"/>
              </a:solidFill>
              <a:effectLst/>
              <a:uLnTx/>
              <a:uFillTx/>
              <a:latin typeface="Arial"/>
              <a:cs typeface="+mn-ea"/>
              <a:sym typeface="+mn-lt"/>
            </a:endParaRPr>
          </a:p>
        </p:txBody>
      </p:sp>
      <p:sp>
        <p:nvSpPr>
          <p:cNvPr id="57" name="TextBox 68">
            <a:extLst>
              <a:ext uri="{FF2B5EF4-FFF2-40B4-BE49-F238E27FC236}">
                <a16:creationId xmlns:a16="http://schemas.microsoft.com/office/drawing/2014/main" id="{C10023E7-F995-434B-974E-2E1285FF55CA}"/>
              </a:ext>
            </a:extLst>
          </p:cNvPr>
          <p:cNvSpPr txBox="1"/>
          <p:nvPr/>
        </p:nvSpPr>
        <p:spPr>
          <a:xfrm>
            <a:off x="7199719" y="5047303"/>
            <a:ext cx="1313180" cy="33855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0F0F0"/>
                </a:solidFill>
                <a:effectLst/>
                <a:uLnTx/>
                <a:uFillTx/>
                <a:latin typeface="Arial"/>
                <a:cs typeface="+mn-ea"/>
                <a:sym typeface="+mn-lt"/>
              </a:rPr>
              <a:t>Description</a:t>
            </a:r>
            <a:endParaRPr kumimoji="0" lang="id-ID" sz="1600" b="1" i="0" u="none" strike="noStrike" kern="1200" cap="none" spc="0" normalizeH="0" baseline="0" noProof="0" dirty="0">
              <a:ln>
                <a:noFill/>
              </a:ln>
              <a:solidFill>
                <a:srgbClr val="F0F0F0"/>
              </a:solidFill>
              <a:effectLst/>
              <a:uLnTx/>
              <a:uFillTx/>
              <a:latin typeface="Arial"/>
              <a:cs typeface="+mn-ea"/>
              <a:sym typeface="+mn-lt"/>
            </a:endParaRPr>
          </a:p>
        </p:txBody>
      </p:sp>
    </p:spTree>
    <p:extLst>
      <p:ext uri="{BB962C8B-B14F-4D97-AF65-F5344CB8AC3E}">
        <p14:creationId xmlns:p14="http://schemas.microsoft.com/office/powerpoint/2010/main" val="2888111842"/>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afterEffect" p14:presetBounceEnd="60000">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14:bounceEnd="60000">
                                          <p:cBhvr additive="base">
                                            <p:cTn id="7" dur="500" fill="hold"/>
                                            <p:tgtEl>
                                              <p:spTgt spid="2"/>
                                            </p:tgtEl>
                                            <p:attrNameLst>
                                              <p:attrName>ppt_x</p:attrName>
                                            </p:attrNameLst>
                                          </p:cBhvr>
                                          <p:tavLst>
                                            <p:tav tm="0">
                                              <p:val>
                                                <p:strVal val="0-#ppt_w/2"/>
                                              </p:val>
                                            </p:tav>
                                            <p:tav tm="100000">
                                              <p:val>
                                                <p:strVal val="#ppt_x"/>
                                              </p:val>
                                            </p:tav>
                                          </p:tavLst>
                                        </p:anim>
                                        <p:anim calcmode="lin" valueType="num" p14:bounceEnd="60000">
                                          <p:cBhvr additive="base">
                                            <p:cTn id="8" dur="500" fill="hold"/>
                                            <p:tgtEl>
                                              <p:spTgt spid="2"/>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10" presetClass="entr" presetSubtype="0" fill="hold" grpId="0" nodeType="after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500"/>
                                            <p:tgtEl>
                                              <p:spTgt spid="3"/>
                                            </p:tgtEl>
                                          </p:cBhvr>
                                        </p:animEffect>
                                      </p:childTnLst>
                                    </p:cTn>
                                  </p:par>
                                </p:childTnLst>
                              </p:cTn>
                            </p:par>
                            <p:par>
                              <p:cTn id="13" fill="hold">
                                <p:stCondLst>
                                  <p:cond delay="1000"/>
                                </p:stCondLst>
                                <p:childTnLst>
                                  <p:par>
                                    <p:cTn id="14" presetID="12" presetClass="entr" presetSubtype="8" fill="hold" grpId="0" nodeType="afterEffect">
                                      <p:stCondLst>
                                        <p:cond delay="0"/>
                                      </p:stCondLst>
                                      <p:childTnLst>
                                        <p:set>
                                          <p:cBhvr>
                                            <p:cTn id="15" dur="1" fill="hold">
                                              <p:stCondLst>
                                                <p:cond delay="0"/>
                                              </p:stCondLst>
                                            </p:cTn>
                                            <p:tgtEl>
                                              <p:spTgt spid="4"/>
                                            </p:tgtEl>
                                            <p:attrNameLst>
                                              <p:attrName>style.visibility</p:attrName>
                                            </p:attrNameLst>
                                          </p:cBhvr>
                                          <p:to>
                                            <p:strVal val="visible"/>
                                          </p:to>
                                        </p:set>
                                        <p:anim calcmode="lin" valueType="num">
                                          <p:cBhvr additive="base">
                                            <p:cTn id="16" dur="500"/>
                                            <p:tgtEl>
                                              <p:spTgt spid="4"/>
                                            </p:tgtEl>
                                            <p:attrNameLst>
                                              <p:attrName>ppt_x</p:attrName>
                                            </p:attrNameLst>
                                          </p:cBhvr>
                                          <p:tavLst>
                                            <p:tav tm="0">
                                              <p:val>
                                                <p:strVal val="#ppt_x-#ppt_w*1.125000"/>
                                              </p:val>
                                            </p:tav>
                                            <p:tav tm="100000">
                                              <p:val>
                                                <p:strVal val="#ppt_x"/>
                                              </p:val>
                                            </p:tav>
                                          </p:tavLst>
                                        </p:anim>
                                        <p:animEffect transition="in" filter="wipe(right)">
                                          <p:cBhvr>
                                            <p:cTn id="17" dur="500"/>
                                            <p:tgtEl>
                                              <p:spTgt spid="4"/>
                                            </p:tgtEl>
                                          </p:cBhvr>
                                        </p:animEffect>
                                      </p:childTnLst>
                                    </p:cTn>
                                  </p:par>
                                  <p:par>
                                    <p:cTn id="18" presetID="12" presetClass="entr" presetSubtype="8" fill="hold" grpId="0" nodeType="withEffect">
                                      <p:stCondLst>
                                        <p:cond delay="0"/>
                                      </p:stCondLst>
                                      <p:childTnLst>
                                        <p:set>
                                          <p:cBhvr>
                                            <p:cTn id="19" dur="1" fill="hold">
                                              <p:stCondLst>
                                                <p:cond delay="0"/>
                                              </p:stCondLst>
                                            </p:cTn>
                                            <p:tgtEl>
                                              <p:spTgt spid="5"/>
                                            </p:tgtEl>
                                            <p:attrNameLst>
                                              <p:attrName>style.visibility</p:attrName>
                                            </p:attrNameLst>
                                          </p:cBhvr>
                                          <p:to>
                                            <p:strVal val="visible"/>
                                          </p:to>
                                        </p:set>
                                        <p:anim calcmode="lin" valueType="num">
                                          <p:cBhvr additive="base">
                                            <p:cTn id="20" dur="500"/>
                                            <p:tgtEl>
                                              <p:spTgt spid="5"/>
                                            </p:tgtEl>
                                            <p:attrNameLst>
                                              <p:attrName>ppt_x</p:attrName>
                                            </p:attrNameLst>
                                          </p:cBhvr>
                                          <p:tavLst>
                                            <p:tav tm="0">
                                              <p:val>
                                                <p:strVal val="#ppt_x-#ppt_w*1.125000"/>
                                              </p:val>
                                            </p:tav>
                                            <p:tav tm="100000">
                                              <p:val>
                                                <p:strVal val="#ppt_x"/>
                                              </p:val>
                                            </p:tav>
                                          </p:tavLst>
                                        </p:anim>
                                        <p:animEffect transition="in" filter="wipe(right)">
                                          <p:cBhvr>
                                            <p:cTn id="21" dur="500"/>
                                            <p:tgtEl>
                                              <p:spTgt spid="5"/>
                                            </p:tgtEl>
                                          </p:cBhvr>
                                        </p:animEffect>
                                      </p:childTnLst>
                                    </p:cTn>
                                  </p:par>
                                </p:childTnLst>
                              </p:cTn>
                            </p:par>
                            <p:par>
                              <p:cTn id="22" fill="hold">
                                <p:stCondLst>
                                  <p:cond delay="1500"/>
                                </p:stCondLst>
                                <p:childTnLst>
                                  <p:par>
                                    <p:cTn id="23" presetID="10" presetClass="entr" presetSubtype="0" fill="hold" grpId="0" nodeType="afterEffect">
                                      <p:stCondLst>
                                        <p:cond delay="0"/>
                                      </p:stCondLst>
                                      <p:childTnLst>
                                        <p:set>
                                          <p:cBhvr>
                                            <p:cTn id="24" dur="1" fill="hold">
                                              <p:stCondLst>
                                                <p:cond delay="0"/>
                                              </p:stCondLst>
                                            </p:cTn>
                                            <p:tgtEl>
                                              <p:spTgt spid="52"/>
                                            </p:tgtEl>
                                            <p:attrNameLst>
                                              <p:attrName>style.visibility</p:attrName>
                                            </p:attrNameLst>
                                          </p:cBhvr>
                                          <p:to>
                                            <p:strVal val="visible"/>
                                          </p:to>
                                        </p:set>
                                        <p:animEffect transition="in" filter="fade">
                                          <p:cBhvr>
                                            <p:cTn id="25" dur="500"/>
                                            <p:tgtEl>
                                              <p:spTgt spid="52"/>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53"/>
                                            </p:tgtEl>
                                            <p:attrNameLst>
                                              <p:attrName>style.visibility</p:attrName>
                                            </p:attrNameLst>
                                          </p:cBhvr>
                                          <p:to>
                                            <p:strVal val="visible"/>
                                          </p:to>
                                        </p:set>
                                        <p:animEffect transition="in" filter="fade">
                                          <p:cBhvr>
                                            <p:cTn id="28" dur="500"/>
                                            <p:tgtEl>
                                              <p:spTgt spid="53"/>
                                            </p:tgtEl>
                                          </p:cBhvr>
                                        </p:animEffect>
                                      </p:childTnLst>
                                    </p:cTn>
                                  </p:par>
                                </p:childTnLst>
                              </p:cTn>
                            </p:par>
                            <p:par>
                              <p:cTn id="29" fill="hold">
                                <p:stCondLst>
                                  <p:cond delay="2000"/>
                                </p:stCondLst>
                                <p:childTnLst>
                                  <p:par>
                                    <p:cTn id="30" presetID="22" presetClass="entr" presetSubtype="1" fill="hold" nodeType="afterEffect">
                                      <p:stCondLst>
                                        <p:cond delay="0"/>
                                      </p:stCondLst>
                                      <p:childTnLst>
                                        <p:set>
                                          <p:cBhvr>
                                            <p:cTn id="31" dur="1" fill="hold">
                                              <p:stCondLst>
                                                <p:cond delay="0"/>
                                              </p:stCondLst>
                                            </p:cTn>
                                            <p:tgtEl>
                                              <p:spTgt spid="6"/>
                                            </p:tgtEl>
                                            <p:attrNameLst>
                                              <p:attrName>style.visibility</p:attrName>
                                            </p:attrNameLst>
                                          </p:cBhvr>
                                          <p:to>
                                            <p:strVal val="visible"/>
                                          </p:to>
                                        </p:set>
                                        <p:animEffect transition="in" filter="wipe(up)">
                                          <p:cBhvr>
                                            <p:cTn id="32" dur="500"/>
                                            <p:tgtEl>
                                              <p:spTgt spid="6"/>
                                            </p:tgtEl>
                                          </p:cBhvr>
                                        </p:animEffect>
                                      </p:childTnLst>
                                    </p:cTn>
                                  </p:par>
                                  <p:par>
                                    <p:cTn id="33" presetID="22" presetClass="entr" presetSubtype="4" fill="hold" nodeType="withEffect">
                                      <p:stCondLst>
                                        <p:cond delay="0"/>
                                      </p:stCondLst>
                                      <p:childTnLst>
                                        <p:set>
                                          <p:cBhvr>
                                            <p:cTn id="34" dur="1" fill="hold">
                                              <p:stCondLst>
                                                <p:cond delay="0"/>
                                              </p:stCondLst>
                                            </p:cTn>
                                            <p:tgtEl>
                                              <p:spTgt spid="7"/>
                                            </p:tgtEl>
                                            <p:attrNameLst>
                                              <p:attrName>style.visibility</p:attrName>
                                            </p:attrNameLst>
                                          </p:cBhvr>
                                          <p:to>
                                            <p:strVal val="visible"/>
                                          </p:to>
                                        </p:set>
                                        <p:animEffect transition="in" filter="wipe(down)">
                                          <p:cBhvr>
                                            <p:cTn id="35" dur="500"/>
                                            <p:tgtEl>
                                              <p:spTgt spid="7"/>
                                            </p:tgtEl>
                                          </p:cBhvr>
                                        </p:animEffect>
                                      </p:childTnLst>
                                    </p:cTn>
                                  </p:par>
                                </p:childTnLst>
                              </p:cTn>
                            </p:par>
                            <p:par>
                              <p:cTn id="36" fill="hold">
                                <p:stCondLst>
                                  <p:cond delay="2500"/>
                                </p:stCondLst>
                                <p:childTnLst>
                                  <p:par>
                                    <p:cTn id="37" presetID="22" presetClass="entr" presetSubtype="8" fill="hold" nodeType="afterEffect">
                                      <p:stCondLst>
                                        <p:cond delay="0"/>
                                      </p:stCondLst>
                                      <p:childTnLst>
                                        <p:set>
                                          <p:cBhvr>
                                            <p:cTn id="38" dur="1" fill="hold">
                                              <p:stCondLst>
                                                <p:cond delay="0"/>
                                              </p:stCondLst>
                                            </p:cTn>
                                            <p:tgtEl>
                                              <p:spTgt spid="22"/>
                                            </p:tgtEl>
                                            <p:attrNameLst>
                                              <p:attrName>style.visibility</p:attrName>
                                            </p:attrNameLst>
                                          </p:cBhvr>
                                          <p:to>
                                            <p:strVal val="visible"/>
                                          </p:to>
                                        </p:set>
                                        <p:animEffect transition="in" filter="wipe(left)">
                                          <p:cBhvr>
                                            <p:cTn id="39" dur="500"/>
                                            <p:tgtEl>
                                              <p:spTgt spid="22"/>
                                            </p:tgtEl>
                                          </p:cBhvr>
                                        </p:animEffect>
                                      </p:childTnLst>
                                    </p:cTn>
                                  </p:par>
                                  <p:par>
                                    <p:cTn id="40" presetID="22" presetClass="entr" presetSubtype="8" fill="hold" nodeType="withEffect">
                                      <p:stCondLst>
                                        <p:cond delay="0"/>
                                      </p:stCondLst>
                                      <p:childTnLst>
                                        <p:set>
                                          <p:cBhvr>
                                            <p:cTn id="41" dur="1" fill="hold">
                                              <p:stCondLst>
                                                <p:cond delay="0"/>
                                              </p:stCondLst>
                                            </p:cTn>
                                            <p:tgtEl>
                                              <p:spTgt spid="23"/>
                                            </p:tgtEl>
                                            <p:attrNameLst>
                                              <p:attrName>style.visibility</p:attrName>
                                            </p:attrNameLst>
                                          </p:cBhvr>
                                          <p:to>
                                            <p:strVal val="visible"/>
                                          </p:to>
                                        </p:set>
                                        <p:animEffect transition="in" filter="wipe(left)">
                                          <p:cBhvr>
                                            <p:cTn id="42" dur="500"/>
                                            <p:tgtEl>
                                              <p:spTgt spid="23"/>
                                            </p:tgtEl>
                                          </p:cBhvr>
                                        </p:animEffect>
                                      </p:childTnLst>
                                    </p:cTn>
                                  </p:par>
                                  <p:par>
                                    <p:cTn id="43" presetID="22" presetClass="entr" presetSubtype="8" fill="hold" nodeType="withEffect">
                                      <p:stCondLst>
                                        <p:cond delay="0"/>
                                      </p:stCondLst>
                                      <p:childTnLst>
                                        <p:set>
                                          <p:cBhvr>
                                            <p:cTn id="44" dur="1" fill="hold">
                                              <p:stCondLst>
                                                <p:cond delay="0"/>
                                              </p:stCondLst>
                                            </p:cTn>
                                            <p:tgtEl>
                                              <p:spTgt spid="24"/>
                                            </p:tgtEl>
                                            <p:attrNameLst>
                                              <p:attrName>style.visibility</p:attrName>
                                            </p:attrNameLst>
                                          </p:cBhvr>
                                          <p:to>
                                            <p:strVal val="visible"/>
                                          </p:to>
                                        </p:set>
                                        <p:animEffect transition="in" filter="wipe(left)">
                                          <p:cBhvr>
                                            <p:cTn id="45" dur="500"/>
                                            <p:tgtEl>
                                              <p:spTgt spid="24"/>
                                            </p:tgtEl>
                                          </p:cBhvr>
                                        </p:animEffect>
                                      </p:childTnLst>
                                    </p:cTn>
                                  </p:par>
                                  <p:par>
                                    <p:cTn id="46" presetID="22" presetClass="entr" presetSubtype="8" fill="hold" nodeType="withEffect">
                                      <p:stCondLst>
                                        <p:cond delay="0"/>
                                      </p:stCondLst>
                                      <p:childTnLst>
                                        <p:set>
                                          <p:cBhvr>
                                            <p:cTn id="47" dur="1" fill="hold">
                                              <p:stCondLst>
                                                <p:cond delay="0"/>
                                              </p:stCondLst>
                                            </p:cTn>
                                            <p:tgtEl>
                                              <p:spTgt spid="27"/>
                                            </p:tgtEl>
                                            <p:attrNameLst>
                                              <p:attrName>style.visibility</p:attrName>
                                            </p:attrNameLst>
                                          </p:cBhvr>
                                          <p:to>
                                            <p:strVal val="visible"/>
                                          </p:to>
                                        </p:set>
                                        <p:animEffect transition="in" filter="wipe(left)">
                                          <p:cBhvr>
                                            <p:cTn id="48" dur="500"/>
                                            <p:tgtEl>
                                              <p:spTgt spid="27"/>
                                            </p:tgtEl>
                                          </p:cBhvr>
                                        </p:animEffect>
                                      </p:childTnLst>
                                    </p:cTn>
                                  </p:par>
                                  <p:par>
                                    <p:cTn id="49" presetID="22" presetClass="entr" presetSubtype="8" fill="hold" nodeType="withEffect">
                                      <p:stCondLst>
                                        <p:cond delay="0"/>
                                      </p:stCondLst>
                                      <p:childTnLst>
                                        <p:set>
                                          <p:cBhvr>
                                            <p:cTn id="50" dur="1" fill="hold">
                                              <p:stCondLst>
                                                <p:cond delay="0"/>
                                              </p:stCondLst>
                                            </p:cTn>
                                            <p:tgtEl>
                                              <p:spTgt spid="26"/>
                                            </p:tgtEl>
                                            <p:attrNameLst>
                                              <p:attrName>style.visibility</p:attrName>
                                            </p:attrNameLst>
                                          </p:cBhvr>
                                          <p:to>
                                            <p:strVal val="visible"/>
                                          </p:to>
                                        </p:set>
                                        <p:animEffect transition="in" filter="wipe(left)">
                                          <p:cBhvr>
                                            <p:cTn id="51" dur="500"/>
                                            <p:tgtEl>
                                              <p:spTgt spid="26"/>
                                            </p:tgtEl>
                                          </p:cBhvr>
                                        </p:animEffect>
                                      </p:childTnLst>
                                    </p:cTn>
                                  </p:par>
                                  <p:par>
                                    <p:cTn id="52" presetID="22" presetClass="entr" presetSubtype="8" fill="hold" nodeType="withEffect">
                                      <p:stCondLst>
                                        <p:cond delay="0"/>
                                      </p:stCondLst>
                                      <p:childTnLst>
                                        <p:set>
                                          <p:cBhvr>
                                            <p:cTn id="53" dur="1" fill="hold">
                                              <p:stCondLst>
                                                <p:cond delay="0"/>
                                              </p:stCondLst>
                                            </p:cTn>
                                            <p:tgtEl>
                                              <p:spTgt spid="25"/>
                                            </p:tgtEl>
                                            <p:attrNameLst>
                                              <p:attrName>style.visibility</p:attrName>
                                            </p:attrNameLst>
                                          </p:cBhvr>
                                          <p:to>
                                            <p:strVal val="visible"/>
                                          </p:to>
                                        </p:set>
                                        <p:animEffect transition="in" filter="wipe(left)">
                                          <p:cBhvr>
                                            <p:cTn id="54" dur="500"/>
                                            <p:tgtEl>
                                              <p:spTgt spid="25"/>
                                            </p:tgtEl>
                                          </p:cBhvr>
                                        </p:animEffect>
                                      </p:childTnLst>
                                    </p:cTn>
                                  </p:par>
                                </p:childTnLst>
                              </p:cTn>
                            </p:par>
                            <p:par>
                              <p:cTn id="55" fill="hold">
                                <p:stCondLst>
                                  <p:cond delay="3000"/>
                                </p:stCondLst>
                                <p:childTnLst>
                                  <p:par>
                                    <p:cTn id="56" presetID="10" presetClass="entr" presetSubtype="0" fill="hold" grpId="0" nodeType="afterEffect">
                                      <p:stCondLst>
                                        <p:cond delay="0"/>
                                      </p:stCondLst>
                                      <p:childTnLst>
                                        <p:set>
                                          <p:cBhvr>
                                            <p:cTn id="57" dur="1" fill="hold">
                                              <p:stCondLst>
                                                <p:cond delay="0"/>
                                              </p:stCondLst>
                                            </p:cTn>
                                            <p:tgtEl>
                                              <p:spTgt spid="16"/>
                                            </p:tgtEl>
                                            <p:attrNameLst>
                                              <p:attrName>style.visibility</p:attrName>
                                            </p:attrNameLst>
                                          </p:cBhvr>
                                          <p:to>
                                            <p:strVal val="visible"/>
                                          </p:to>
                                        </p:set>
                                        <p:animEffect transition="in" filter="fade">
                                          <p:cBhvr>
                                            <p:cTn id="58" dur="500"/>
                                            <p:tgtEl>
                                              <p:spTgt spid="16"/>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17"/>
                                            </p:tgtEl>
                                            <p:attrNameLst>
                                              <p:attrName>style.visibility</p:attrName>
                                            </p:attrNameLst>
                                          </p:cBhvr>
                                          <p:to>
                                            <p:strVal val="visible"/>
                                          </p:to>
                                        </p:set>
                                        <p:animEffect transition="in" filter="fade">
                                          <p:cBhvr>
                                            <p:cTn id="61" dur="500"/>
                                            <p:tgtEl>
                                              <p:spTgt spid="17"/>
                                            </p:tgtEl>
                                          </p:cBhvr>
                                        </p:animEffect>
                                      </p:childTnLst>
                                    </p:cTn>
                                  </p:par>
                                  <p:par>
                                    <p:cTn id="62" presetID="10" presetClass="entr" presetSubtype="0" fill="hold" grpId="0" nodeType="withEffect">
                                      <p:stCondLst>
                                        <p:cond delay="0"/>
                                      </p:stCondLst>
                                      <p:childTnLst>
                                        <p:set>
                                          <p:cBhvr>
                                            <p:cTn id="63" dur="1" fill="hold">
                                              <p:stCondLst>
                                                <p:cond delay="0"/>
                                              </p:stCondLst>
                                            </p:cTn>
                                            <p:tgtEl>
                                              <p:spTgt spid="20"/>
                                            </p:tgtEl>
                                            <p:attrNameLst>
                                              <p:attrName>style.visibility</p:attrName>
                                            </p:attrNameLst>
                                          </p:cBhvr>
                                          <p:to>
                                            <p:strVal val="visible"/>
                                          </p:to>
                                        </p:set>
                                        <p:animEffect transition="in" filter="fade">
                                          <p:cBhvr>
                                            <p:cTn id="64" dur="500"/>
                                            <p:tgtEl>
                                              <p:spTgt spid="20"/>
                                            </p:tgtEl>
                                          </p:cBhvr>
                                        </p:animEffect>
                                      </p:childTnLst>
                                    </p:cTn>
                                  </p:par>
                                  <p:par>
                                    <p:cTn id="65" presetID="10" presetClass="entr" presetSubtype="0" fill="hold" grpId="0" nodeType="withEffect">
                                      <p:stCondLst>
                                        <p:cond delay="0"/>
                                      </p:stCondLst>
                                      <p:childTnLst>
                                        <p:set>
                                          <p:cBhvr>
                                            <p:cTn id="66" dur="1" fill="hold">
                                              <p:stCondLst>
                                                <p:cond delay="0"/>
                                              </p:stCondLst>
                                            </p:cTn>
                                            <p:tgtEl>
                                              <p:spTgt spid="18"/>
                                            </p:tgtEl>
                                            <p:attrNameLst>
                                              <p:attrName>style.visibility</p:attrName>
                                            </p:attrNameLst>
                                          </p:cBhvr>
                                          <p:to>
                                            <p:strVal val="visible"/>
                                          </p:to>
                                        </p:set>
                                        <p:animEffect transition="in" filter="fade">
                                          <p:cBhvr>
                                            <p:cTn id="67" dur="500"/>
                                            <p:tgtEl>
                                              <p:spTgt spid="18"/>
                                            </p:tgtEl>
                                          </p:cBhvr>
                                        </p:animEffect>
                                      </p:childTnLst>
                                    </p:cTn>
                                  </p:par>
                                  <p:par>
                                    <p:cTn id="68" presetID="10" presetClass="entr" presetSubtype="0" fill="hold" grpId="0" nodeType="withEffect">
                                      <p:stCondLst>
                                        <p:cond delay="0"/>
                                      </p:stCondLst>
                                      <p:childTnLst>
                                        <p:set>
                                          <p:cBhvr>
                                            <p:cTn id="69" dur="1" fill="hold">
                                              <p:stCondLst>
                                                <p:cond delay="0"/>
                                              </p:stCondLst>
                                            </p:cTn>
                                            <p:tgtEl>
                                              <p:spTgt spid="21"/>
                                            </p:tgtEl>
                                            <p:attrNameLst>
                                              <p:attrName>style.visibility</p:attrName>
                                            </p:attrNameLst>
                                          </p:cBhvr>
                                          <p:to>
                                            <p:strVal val="visible"/>
                                          </p:to>
                                        </p:set>
                                        <p:animEffect transition="in" filter="fade">
                                          <p:cBhvr>
                                            <p:cTn id="70" dur="500"/>
                                            <p:tgtEl>
                                              <p:spTgt spid="21"/>
                                            </p:tgtEl>
                                          </p:cBhvr>
                                        </p:animEffect>
                                      </p:childTnLst>
                                    </p:cTn>
                                  </p:par>
                                  <p:par>
                                    <p:cTn id="71" presetID="10" presetClass="entr" presetSubtype="0" fill="hold" grpId="0" nodeType="withEffect">
                                      <p:stCondLst>
                                        <p:cond delay="0"/>
                                      </p:stCondLst>
                                      <p:childTnLst>
                                        <p:set>
                                          <p:cBhvr>
                                            <p:cTn id="72" dur="1" fill="hold">
                                              <p:stCondLst>
                                                <p:cond delay="0"/>
                                              </p:stCondLst>
                                            </p:cTn>
                                            <p:tgtEl>
                                              <p:spTgt spid="19"/>
                                            </p:tgtEl>
                                            <p:attrNameLst>
                                              <p:attrName>style.visibility</p:attrName>
                                            </p:attrNameLst>
                                          </p:cBhvr>
                                          <p:to>
                                            <p:strVal val="visible"/>
                                          </p:to>
                                        </p:set>
                                        <p:animEffect transition="in" filter="fade">
                                          <p:cBhvr>
                                            <p:cTn id="73" dur="500"/>
                                            <p:tgtEl>
                                              <p:spTgt spid="19"/>
                                            </p:tgtEl>
                                          </p:cBhvr>
                                        </p:animEffect>
                                      </p:childTnLst>
                                    </p:cTn>
                                  </p:par>
                                </p:childTnLst>
                              </p:cTn>
                            </p:par>
                            <p:par>
                              <p:cTn id="74" fill="hold">
                                <p:stCondLst>
                                  <p:cond delay="3500"/>
                                </p:stCondLst>
                                <p:childTnLst>
                                  <p:par>
                                    <p:cTn id="75" presetID="12" presetClass="entr" presetSubtype="8" fill="hold" grpId="0" nodeType="afterEffect">
                                      <p:stCondLst>
                                        <p:cond delay="0"/>
                                      </p:stCondLst>
                                      <p:childTnLst>
                                        <p:set>
                                          <p:cBhvr>
                                            <p:cTn id="76" dur="1" fill="hold">
                                              <p:stCondLst>
                                                <p:cond delay="0"/>
                                              </p:stCondLst>
                                            </p:cTn>
                                            <p:tgtEl>
                                              <p:spTgt spid="8"/>
                                            </p:tgtEl>
                                            <p:attrNameLst>
                                              <p:attrName>style.visibility</p:attrName>
                                            </p:attrNameLst>
                                          </p:cBhvr>
                                          <p:to>
                                            <p:strVal val="visible"/>
                                          </p:to>
                                        </p:set>
                                        <p:anim calcmode="lin" valueType="num">
                                          <p:cBhvr additive="base">
                                            <p:cTn id="77" dur="500"/>
                                            <p:tgtEl>
                                              <p:spTgt spid="8"/>
                                            </p:tgtEl>
                                            <p:attrNameLst>
                                              <p:attrName>ppt_x</p:attrName>
                                            </p:attrNameLst>
                                          </p:cBhvr>
                                          <p:tavLst>
                                            <p:tav tm="0">
                                              <p:val>
                                                <p:strVal val="#ppt_x-#ppt_w*1.125000"/>
                                              </p:val>
                                            </p:tav>
                                            <p:tav tm="100000">
                                              <p:val>
                                                <p:strVal val="#ppt_x"/>
                                              </p:val>
                                            </p:tav>
                                          </p:tavLst>
                                        </p:anim>
                                        <p:animEffect transition="in" filter="wipe(right)">
                                          <p:cBhvr>
                                            <p:cTn id="78" dur="500"/>
                                            <p:tgtEl>
                                              <p:spTgt spid="8"/>
                                            </p:tgtEl>
                                          </p:cBhvr>
                                        </p:animEffect>
                                      </p:childTnLst>
                                    </p:cTn>
                                  </p:par>
                                  <p:par>
                                    <p:cTn id="79" presetID="12" presetClass="entr" presetSubtype="8" fill="hold" grpId="0" nodeType="withEffect">
                                      <p:stCondLst>
                                        <p:cond delay="0"/>
                                      </p:stCondLst>
                                      <p:childTnLst>
                                        <p:set>
                                          <p:cBhvr>
                                            <p:cTn id="80" dur="1" fill="hold">
                                              <p:stCondLst>
                                                <p:cond delay="0"/>
                                              </p:stCondLst>
                                            </p:cTn>
                                            <p:tgtEl>
                                              <p:spTgt spid="9"/>
                                            </p:tgtEl>
                                            <p:attrNameLst>
                                              <p:attrName>style.visibility</p:attrName>
                                            </p:attrNameLst>
                                          </p:cBhvr>
                                          <p:to>
                                            <p:strVal val="visible"/>
                                          </p:to>
                                        </p:set>
                                        <p:anim calcmode="lin" valueType="num">
                                          <p:cBhvr additive="base">
                                            <p:cTn id="81" dur="500"/>
                                            <p:tgtEl>
                                              <p:spTgt spid="9"/>
                                            </p:tgtEl>
                                            <p:attrNameLst>
                                              <p:attrName>ppt_x</p:attrName>
                                            </p:attrNameLst>
                                          </p:cBhvr>
                                          <p:tavLst>
                                            <p:tav tm="0">
                                              <p:val>
                                                <p:strVal val="#ppt_x-#ppt_w*1.125000"/>
                                              </p:val>
                                            </p:tav>
                                            <p:tav tm="100000">
                                              <p:val>
                                                <p:strVal val="#ppt_x"/>
                                              </p:val>
                                            </p:tav>
                                          </p:tavLst>
                                        </p:anim>
                                        <p:animEffect transition="in" filter="wipe(right)">
                                          <p:cBhvr>
                                            <p:cTn id="82" dur="500"/>
                                            <p:tgtEl>
                                              <p:spTgt spid="9"/>
                                            </p:tgtEl>
                                          </p:cBhvr>
                                        </p:animEffect>
                                      </p:childTnLst>
                                    </p:cTn>
                                  </p:par>
                                </p:childTnLst>
                              </p:cTn>
                            </p:par>
                            <p:par>
                              <p:cTn id="83" fill="hold">
                                <p:stCondLst>
                                  <p:cond delay="4000"/>
                                </p:stCondLst>
                                <p:childTnLst>
                                  <p:par>
                                    <p:cTn id="84" presetID="10" presetClass="entr" presetSubtype="0" fill="hold" grpId="0" nodeType="afterEffect">
                                      <p:stCondLst>
                                        <p:cond delay="0"/>
                                      </p:stCondLst>
                                      <p:childTnLst>
                                        <p:set>
                                          <p:cBhvr>
                                            <p:cTn id="85" dur="1" fill="hold">
                                              <p:stCondLst>
                                                <p:cond delay="0"/>
                                              </p:stCondLst>
                                            </p:cTn>
                                            <p:tgtEl>
                                              <p:spTgt spid="54"/>
                                            </p:tgtEl>
                                            <p:attrNameLst>
                                              <p:attrName>style.visibility</p:attrName>
                                            </p:attrNameLst>
                                          </p:cBhvr>
                                          <p:to>
                                            <p:strVal val="visible"/>
                                          </p:to>
                                        </p:set>
                                        <p:animEffect transition="in" filter="fade">
                                          <p:cBhvr>
                                            <p:cTn id="86" dur="500"/>
                                            <p:tgtEl>
                                              <p:spTgt spid="54"/>
                                            </p:tgtEl>
                                          </p:cBhvr>
                                        </p:animEffect>
                                      </p:childTnLst>
                                    </p:cTn>
                                  </p:par>
                                  <p:par>
                                    <p:cTn id="87" presetID="10" presetClass="entr" presetSubtype="0" fill="hold" grpId="0" nodeType="withEffect">
                                      <p:stCondLst>
                                        <p:cond delay="0"/>
                                      </p:stCondLst>
                                      <p:childTnLst>
                                        <p:set>
                                          <p:cBhvr>
                                            <p:cTn id="88" dur="1" fill="hold">
                                              <p:stCondLst>
                                                <p:cond delay="0"/>
                                              </p:stCondLst>
                                            </p:cTn>
                                            <p:tgtEl>
                                              <p:spTgt spid="55"/>
                                            </p:tgtEl>
                                            <p:attrNameLst>
                                              <p:attrName>style.visibility</p:attrName>
                                            </p:attrNameLst>
                                          </p:cBhvr>
                                          <p:to>
                                            <p:strVal val="visible"/>
                                          </p:to>
                                        </p:set>
                                        <p:animEffect transition="in" filter="fade">
                                          <p:cBhvr>
                                            <p:cTn id="89" dur="500"/>
                                            <p:tgtEl>
                                              <p:spTgt spid="55"/>
                                            </p:tgtEl>
                                          </p:cBhvr>
                                        </p:animEffect>
                                      </p:childTnLst>
                                    </p:cTn>
                                  </p:par>
                                </p:childTnLst>
                              </p:cTn>
                            </p:par>
                            <p:par>
                              <p:cTn id="90" fill="hold">
                                <p:stCondLst>
                                  <p:cond delay="4500"/>
                                </p:stCondLst>
                                <p:childTnLst>
                                  <p:par>
                                    <p:cTn id="91" presetID="22" presetClass="entr" presetSubtype="1" fill="hold" nodeType="afterEffect">
                                      <p:stCondLst>
                                        <p:cond delay="0"/>
                                      </p:stCondLst>
                                      <p:childTnLst>
                                        <p:set>
                                          <p:cBhvr>
                                            <p:cTn id="92" dur="1" fill="hold">
                                              <p:stCondLst>
                                                <p:cond delay="0"/>
                                              </p:stCondLst>
                                            </p:cTn>
                                            <p:tgtEl>
                                              <p:spTgt spid="10"/>
                                            </p:tgtEl>
                                            <p:attrNameLst>
                                              <p:attrName>style.visibility</p:attrName>
                                            </p:attrNameLst>
                                          </p:cBhvr>
                                          <p:to>
                                            <p:strVal val="visible"/>
                                          </p:to>
                                        </p:set>
                                        <p:animEffect transition="in" filter="wipe(up)">
                                          <p:cBhvr>
                                            <p:cTn id="93" dur="500"/>
                                            <p:tgtEl>
                                              <p:spTgt spid="10"/>
                                            </p:tgtEl>
                                          </p:cBhvr>
                                        </p:animEffect>
                                      </p:childTnLst>
                                    </p:cTn>
                                  </p:par>
                                  <p:par>
                                    <p:cTn id="94" presetID="22" presetClass="entr" presetSubtype="4" fill="hold" nodeType="withEffect">
                                      <p:stCondLst>
                                        <p:cond delay="0"/>
                                      </p:stCondLst>
                                      <p:childTnLst>
                                        <p:set>
                                          <p:cBhvr>
                                            <p:cTn id="95" dur="1" fill="hold">
                                              <p:stCondLst>
                                                <p:cond delay="0"/>
                                              </p:stCondLst>
                                            </p:cTn>
                                            <p:tgtEl>
                                              <p:spTgt spid="11"/>
                                            </p:tgtEl>
                                            <p:attrNameLst>
                                              <p:attrName>style.visibility</p:attrName>
                                            </p:attrNameLst>
                                          </p:cBhvr>
                                          <p:to>
                                            <p:strVal val="visible"/>
                                          </p:to>
                                        </p:set>
                                        <p:animEffect transition="in" filter="wipe(down)">
                                          <p:cBhvr>
                                            <p:cTn id="96" dur="500"/>
                                            <p:tgtEl>
                                              <p:spTgt spid="11"/>
                                            </p:tgtEl>
                                          </p:cBhvr>
                                        </p:animEffect>
                                      </p:childTnLst>
                                    </p:cTn>
                                  </p:par>
                                </p:childTnLst>
                              </p:cTn>
                            </p:par>
                            <p:par>
                              <p:cTn id="97" fill="hold">
                                <p:stCondLst>
                                  <p:cond delay="5000"/>
                                </p:stCondLst>
                                <p:childTnLst>
                                  <p:par>
                                    <p:cTn id="98" presetID="22" presetClass="entr" presetSubtype="8" fill="hold" nodeType="afterEffect">
                                      <p:stCondLst>
                                        <p:cond delay="0"/>
                                      </p:stCondLst>
                                      <p:childTnLst>
                                        <p:set>
                                          <p:cBhvr>
                                            <p:cTn id="99" dur="1" fill="hold">
                                              <p:stCondLst>
                                                <p:cond delay="0"/>
                                              </p:stCondLst>
                                            </p:cTn>
                                            <p:tgtEl>
                                              <p:spTgt spid="34"/>
                                            </p:tgtEl>
                                            <p:attrNameLst>
                                              <p:attrName>style.visibility</p:attrName>
                                            </p:attrNameLst>
                                          </p:cBhvr>
                                          <p:to>
                                            <p:strVal val="visible"/>
                                          </p:to>
                                        </p:set>
                                        <p:animEffect transition="in" filter="wipe(left)">
                                          <p:cBhvr>
                                            <p:cTn id="100" dur="500"/>
                                            <p:tgtEl>
                                              <p:spTgt spid="34"/>
                                            </p:tgtEl>
                                          </p:cBhvr>
                                        </p:animEffect>
                                      </p:childTnLst>
                                    </p:cTn>
                                  </p:par>
                                  <p:par>
                                    <p:cTn id="101" presetID="22" presetClass="entr" presetSubtype="8" fill="hold" nodeType="withEffect">
                                      <p:stCondLst>
                                        <p:cond delay="0"/>
                                      </p:stCondLst>
                                      <p:childTnLst>
                                        <p:set>
                                          <p:cBhvr>
                                            <p:cTn id="102" dur="1" fill="hold">
                                              <p:stCondLst>
                                                <p:cond delay="0"/>
                                              </p:stCondLst>
                                            </p:cTn>
                                            <p:tgtEl>
                                              <p:spTgt spid="35"/>
                                            </p:tgtEl>
                                            <p:attrNameLst>
                                              <p:attrName>style.visibility</p:attrName>
                                            </p:attrNameLst>
                                          </p:cBhvr>
                                          <p:to>
                                            <p:strVal val="visible"/>
                                          </p:to>
                                        </p:set>
                                        <p:animEffect transition="in" filter="wipe(left)">
                                          <p:cBhvr>
                                            <p:cTn id="103" dur="500"/>
                                            <p:tgtEl>
                                              <p:spTgt spid="35"/>
                                            </p:tgtEl>
                                          </p:cBhvr>
                                        </p:animEffect>
                                      </p:childTnLst>
                                    </p:cTn>
                                  </p:par>
                                  <p:par>
                                    <p:cTn id="104" presetID="22" presetClass="entr" presetSubtype="8" fill="hold" nodeType="withEffect">
                                      <p:stCondLst>
                                        <p:cond delay="0"/>
                                      </p:stCondLst>
                                      <p:childTnLst>
                                        <p:set>
                                          <p:cBhvr>
                                            <p:cTn id="105" dur="1" fill="hold">
                                              <p:stCondLst>
                                                <p:cond delay="0"/>
                                              </p:stCondLst>
                                            </p:cTn>
                                            <p:tgtEl>
                                              <p:spTgt spid="36"/>
                                            </p:tgtEl>
                                            <p:attrNameLst>
                                              <p:attrName>style.visibility</p:attrName>
                                            </p:attrNameLst>
                                          </p:cBhvr>
                                          <p:to>
                                            <p:strVal val="visible"/>
                                          </p:to>
                                        </p:set>
                                        <p:animEffect transition="in" filter="wipe(left)">
                                          <p:cBhvr>
                                            <p:cTn id="106" dur="500"/>
                                            <p:tgtEl>
                                              <p:spTgt spid="36"/>
                                            </p:tgtEl>
                                          </p:cBhvr>
                                        </p:animEffect>
                                      </p:childTnLst>
                                    </p:cTn>
                                  </p:par>
                                  <p:par>
                                    <p:cTn id="107" presetID="22" presetClass="entr" presetSubtype="8" fill="hold" nodeType="withEffect">
                                      <p:stCondLst>
                                        <p:cond delay="0"/>
                                      </p:stCondLst>
                                      <p:childTnLst>
                                        <p:set>
                                          <p:cBhvr>
                                            <p:cTn id="108" dur="1" fill="hold">
                                              <p:stCondLst>
                                                <p:cond delay="0"/>
                                              </p:stCondLst>
                                            </p:cTn>
                                            <p:tgtEl>
                                              <p:spTgt spid="37"/>
                                            </p:tgtEl>
                                            <p:attrNameLst>
                                              <p:attrName>style.visibility</p:attrName>
                                            </p:attrNameLst>
                                          </p:cBhvr>
                                          <p:to>
                                            <p:strVal val="visible"/>
                                          </p:to>
                                        </p:set>
                                        <p:animEffect transition="in" filter="wipe(left)">
                                          <p:cBhvr>
                                            <p:cTn id="109" dur="500"/>
                                            <p:tgtEl>
                                              <p:spTgt spid="37"/>
                                            </p:tgtEl>
                                          </p:cBhvr>
                                        </p:animEffect>
                                      </p:childTnLst>
                                    </p:cTn>
                                  </p:par>
                                  <p:par>
                                    <p:cTn id="110" presetID="22" presetClass="entr" presetSubtype="8" fill="hold" nodeType="withEffect">
                                      <p:stCondLst>
                                        <p:cond delay="0"/>
                                      </p:stCondLst>
                                      <p:childTnLst>
                                        <p:set>
                                          <p:cBhvr>
                                            <p:cTn id="111" dur="1" fill="hold">
                                              <p:stCondLst>
                                                <p:cond delay="0"/>
                                              </p:stCondLst>
                                            </p:cTn>
                                            <p:tgtEl>
                                              <p:spTgt spid="38"/>
                                            </p:tgtEl>
                                            <p:attrNameLst>
                                              <p:attrName>style.visibility</p:attrName>
                                            </p:attrNameLst>
                                          </p:cBhvr>
                                          <p:to>
                                            <p:strVal val="visible"/>
                                          </p:to>
                                        </p:set>
                                        <p:animEffect transition="in" filter="wipe(left)">
                                          <p:cBhvr>
                                            <p:cTn id="112" dur="500"/>
                                            <p:tgtEl>
                                              <p:spTgt spid="38"/>
                                            </p:tgtEl>
                                          </p:cBhvr>
                                        </p:animEffect>
                                      </p:childTnLst>
                                    </p:cTn>
                                  </p:par>
                                  <p:par>
                                    <p:cTn id="113" presetID="22" presetClass="entr" presetSubtype="8" fill="hold" nodeType="withEffect">
                                      <p:stCondLst>
                                        <p:cond delay="0"/>
                                      </p:stCondLst>
                                      <p:childTnLst>
                                        <p:set>
                                          <p:cBhvr>
                                            <p:cTn id="114" dur="1" fill="hold">
                                              <p:stCondLst>
                                                <p:cond delay="0"/>
                                              </p:stCondLst>
                                            </p:cTn>
                                            <p:tgtEl>
                                              <p:spTgt spid="39"/>
                                            </p:tgtEl>
                                            <p:attrNameLst>
                                              <p:attrName>style.visibility</p:attrName>
                                            </p:attrNameLst>
                                          </p:cBhvr>
                                          <p:to>
                                            <p:strVal val="visible"/>
                                          </p:to>
                                        </p:set>
                                        <p:animEffect transition="in" filter="wipe(left)">
                                          <p:cBhvr>
                                            <p:cTn id="115" dur="500"/>
                                            <p:tgtEl>
                                              <p:spTgt spid="39"/>
                                            </p:tgtEl>
                                          </p:cBhvr>
                                        </p:animEffect>
                                      </p:childTnLst>
                                    </p:cTn>
                                  </p:par>
                                </p:childTnLst>
                              </p:cTn>
                            </p:par>
                            <p:par>
                              <p:cTn id="116" fill="hold">
                                <p:stCondLst>
                                  <p:cond delay="5500"/>
                                </p:stCondLst>
                                <p:childTnLst>
                                  <p:par>
                                    <p:cTn id="117" presetID="10" presetClass="entr" presetSubtype="0" fill="hold" grpId="0" nodeType="afterEffect">
                                      <p:stCondLst>
                                        <p:cond delay="0"/>
                                      </p:stCondLst>
                                      <p:childTnLst>
                                        <p:set>
                                          <p:cBhvr>
                                            <p:cTn id="118" dur="1" fill="hold">
                                              <p:stCondLst>
                                                <p:cond delay="0"/>
                                              </p:stCondLst>
                                            </p:cTn>
                                            <p:tgtEl>
                                              <p:spTgt spid="28"/>
                                            </p:tgtEl>
                                            <p:attrNameLst>
                                              <p:attrName>style.visibility</p:attrName>
                                            </p:attrNameLst>
                                          </p:cBhvr>
                                          <p:to>
                                            <p:strVal val="visible"/>
                                          </p:to>
                                        </p:set>
                                        <p:animEffect transition="in" filter="fade">
                                          <p:cBhvr>
                                            <p:cTn id="119" dur="500"/>
                                            <p:tgtEl>
                                              <p:spTgt spid="28"/>
                                            </p:tgtEl>
                                          </p:cBhvr>
                                        </p:animEffect>
                                      </p:childTnLst>
                                    </p:cTn>
                                  </p:par>
                                  <p:par>
                                    <p:cTn id="120" presetID="10" presetClass="entr" presetSubtype="0" fill="hold" grpId="0" nodeType="withEffect">
                                      <p:stCondLst>
                                        <p:cond delay="0"/>
                                      </p:stCondLst>
                                      <p:childTnLst>
                                        <p:set>
                                          <p:cBhvr>
                                            <p:cTn id="121" dur="1" fill="hold">
                                              <p:stCondLst>
                                                <p:cond delay="0"/>
                                              </p:stCondLst>
                                            </p:cTn>
                                            <p:tgtEl>
                                              <p:spTgt spid="29"/>
                                            </p:tgtEl>
                                            <p:attrNameLst>
                                              <p:attrName>style.visibility</p:attrName>
                                            </p:attrNameLst>
                                          </p:cBhvr>
                                          <p:to>
                                            <p:strVal val="visible"/>
                                          </p:to>
                                        </p:set>
                                        <p:animEffect transition="in" filter="fade">
                                          <p:cBhvr>
                                            <p:cTn id="122" dur="500"/>
                                            <p:tgtEl>
                                              <p:spTgt spid="29"/>
                                            </p:tgtEl>
                                          </p:cBhvr>
                                        </p:animEffect>
                                      </p:childTnLst>
                                    </p:cTn>
                                  </p:par>
                                  <p:par>
                                    <p:cTn id="123" presetID="10" presetClass="entr" presetSubtype="0" fill="hold" grpId="0" nodeType="withEffect">
                                      <p:stCondLst>
                                        <p:cond delay="0"/>
                                      </p:stCondLst>
                                      <p:childTnLst>
                                        <p:set>
                                          <p:cBhvr>
                                            <p:cTn id="124" dur="1" fill="hold">
                                              <p:stCondLst>
                                                <p:cond delay="0"/>
                                              </p:stCondLst>
                                            </p:cTn>
                                            <p:tgtEl>
                                              <p:spTgt spid="32"/>
                                            </p:tgtEl>
                                            <p:attrNameLst>
                                              <p:attrName>style.visibility</p:attrName>
                                            </p:attrNameLst>
                                          </p:cBhvr>
                                          <p:to>
                                            <p:strVal val="visible"/>
                                          </p:to>
                                        </p:set>
                                        <p:animEffect transition="in" filter="fade">
                                          <p:cBhvr>
                                            <p:cTn id="125" dur="500"/>
                                            <p:tgtEl>
                                              <p:spTgt spid="32"/>
                                            </p:tgtEl>
                                          </p:cBhvr>
                                        </p:animEffect>
                                      </p:childTnLst>
                                    </p:cTn>
                                  </p:par>
                                  <p:par>
                                    <p:cTn id="126" presetID="10" presetClass="entr" presetSubtype="0" fill="hold" grpId="0" nodeType="withEffect">
                                      <p:stCondLst>
                                        <p:cond delay="0"/>
                                      </p:stCondLst>
                                      <p:childTnLst>
                                        <p:set>
                                          <p:cBhvr>
                                            <p:cTn id="127" dur="1" fill="hold">
                                              <p:stCondLst>
                                                <p:cond delay="0"/>
                                              </p:stCondLst>
                                            </p:cTn>
                                            <p:tgtEl>
                                              <p:spTgt spid="30"/>
                                            </p:tgtEl>
                                            <p:attrNameLst>
                                              <p:attrName>style.visibility</p:attrName>
                                            </p:attrNameLst>
                                          </p:cBhvr>
                                          <p:to>
                                            <p:strVal val="visible"/>
                                          </p:to>
                                        </p:set>
                                        <p:animEffect transition="in" filter="fade">
                                          <p:cBhvr>
                                            <p:cTn id="128" dur="500"/>
                                            <p:tgtEl>
                                              <p:spTgt spid="30"/>
                                            </p:tgtEl>
                                          </p:cBhvr>
                                        </p:animEffect>
                                      </p:childTnLst>
                                    </p:cTn>
                                  </p:par>
                                  <p:par>
                                    <p:cTn id="129" presetID="10" presetClass="entr" presetSubtype="0" fill="hold" grpId="0" nodeType="withEffect">
                                      <p:stCondLst>
                                        <p:cond delay="0"/>
                                      </p:stCondLst>
                                      <p:childTnLst>
                                        <p:set>
                                          <p:cBhvr>
                                            <p:cTn id="130" dur="1" fill="hold">
                                              <p:stCondLst>
                                                <p:cond delay="0"/>
                                              </p:stCondLst>
                                            </p:cTn>
                                            <p:tgtEl>
                                              <p:spTgt spid="33"/>
                                            </p:tgtEl>
                                            <p:attrNameLst>
                                              <p:attrName>style.visibility</p:attrName>
                                            </p:attrNameLst>
                                          </p:cBhvr>
                                          <p:to>
                                            <p:strVal val="visible"/>
                                          </p:to>
                                        </p:set>
                                        <p:animEffect transition="in" filter="fade">
                                          <p:cBhvr>
                                            <p:cTn id="131" dur="500"/>
                                            <p:tgtEl>
                                              <p:spTgt spid="33"/>
                                            </p:tgtEl>
                                          </p:cBhvr>
                                        </p:animEffect>
                                      </p:childTnLst>
                                    </p:cTn>
                                  </p:par>
                                  <p:par>
                                    <p:cTn id="132" presetID="10" presetClass="entr" presetSubtype="0" fill="hold" grpId="0" nodeType="withEffect">
                                      <p:stCondLst>
                                        <p:cond delay="0"/>
                                      </p:stCondLst>
                                      <p:childTnLst>
                                        <p:set>
                                          <p:cBhvr>
                                            <p:cTn id="133" dur="1" fill="hold">
                                              <p:stCondLst>
                                                <p:cond delay="0"/>
                                              </p:stCondLst>
                                            </p:cTn>
                                            <p:tgtEl>
                                              <p:spTgt spid="31"/>
                                            </p:tgtEl>
                                            <p:attrNameLst>
                                              <p:attrName>style.visibility</p:attrName>
                                            </p:attrNameLst>
                                          </p:cBhvr>
                                          <p:to>
                                            <p:strVal val="visible"/>
                                          </p:to>
                                        </p:set>
                                        <p:animEffect transition="in" filter="fade">
                                          <p:cBhvr>
                                            <p:cTn id="134" dur="500"/>
                                            <p:tgtEl>
                                              <p:spTgt spid="31"/>
                                            </p:tgtEl>
                                          </p:cBhvr>
                                        </p:animEffect>
                                      </p:childTnLst>
                                    </p:cTn>
                                  </p:par>
                                </p:childTnLst>
                              </p:cTn>
                            </p:par>
                            <p:par>
                              <p:cTn id="135" fill="hold">
                                <p:stCondLst>
                                  <p:cond delay="6000"/>
                                </p:stCondLst>
                                <p:childTnLst>
                                  <p:par>
                                    <p:cTn id="136" presetID="12" presetClass="entr" presetSubtype="8" fill="hold" grpId="0" nodeType="afterEffect">
                                      <p:stCondLst>
                                        <p:cond delay="0"/>
                                      </p:stCondLst>
                                      <p:childTnLst>
                                        <p:set>
                                          <p:cBhvr>
                                            <p:cTn id="137" dur="1" fill="hold">
                                              <p:stCondLst>
                                                <p:cond delay="0"/>
                                              </p:stCondLst>
                                            </p:cTn>
                                            <p:tgtEl>
                                              <p:spTgt spid="12"/>
                                            </p:tgtEl>
                                            <p:attrNameLst>
                                              <p:attrName>style.visibility</p:attrName>
                                            </p:attrNameLst>
                                          </p:cBhvr>
                                          <p:to>
                                            <p:strVal val="visible"/>
                                          </p:to>
                                        </p:set>
                                        <p:anim calcmode="lin" valueType="num">
                                          <p:cBhvr additive="base">
                                            <p:cTn id="138" dur="500"/>
                                            <p:tgtEl>
                                              <p:spTgt spid="12"/>
                                            </p:tgtEl>
                                            <p:attrNameLst>
                                              <p:attrName>ppt_x</p:attrName>
                                            </p:attrNameLst>
                                          </p:cBhvr>
                                          <p:tavLst>
                                            <p:tav tm="0">
                                              <p:val>
                                                <p:strVal val="#ppt_x-#ppt_w*1.125000"/>
                                              </p:val>
                                            </p:tav>
                                            <p:tav tm="100000">
                                              <p:val>
                                                <p:strVal val="#ppt_x"/>
                                              </p:val>
                                            </p:tav>
                                          </p:tavLst>
                                        </p:anim>
                                        <p:animEffect transition="in" filter="wipe(right)">
                                          <p:cBhvr>
                                            <p:cTn id="139" dur="500"/>
                                            <p:tgtEl>
                                              <p:spTgt spid="12"/>
                                            </p:tgtEl>
                                          </p:cBhvr>
                                        </p:animEffect>
                                      </p:childTnLst>
                                    </p:cTn>
                                  </p:par>
                                  <p:par>
                                    <p:cTn id="140" presetID="12" presetClass="entr" presetSubtype="8" fill="hold" grpId="0" nodeType="withEffect">
                                      <p:stCondLst>
                                        <p:cond delay="0"/>
                                      </p:stCondLst>
                                      <p:childTnLst>
                                        <p:set>
                                          <p:cBhvr>
                                            <p:cTn id="141" dur="1" fill="hold">
                                              <p:stCondLst>
                                                <p:cond delay="0"/>
                                              </p:stCondLst>
                                            </p:cTn>
                                            <p:tgtEl>
                                              <p:spTgt spid="13"/>
                                            </p:tgtEl>
                                            <p:attrNameLst>
                                              <p:attrName>style.visibility</p:attrName>
                                            </p:attrNameLst>
                                          </p:cBhvr>
                                          <p:to>
                                            <p:strVal val="visible"/>
                                          </p:to>
                                        </p:set>
                                        <p:anim calcmode="lin" valueType="num">
                                          <p:cBhvr additive="base">
                                            <p:cTn id="142" dur="500"/>
                                            <p:tgtEl>
                                              <p:spTgt spid="13"/>
                                            </p:tgtEl>
                                            <p:attrNameLst>
                                              <p:attrName>ppt_x</p:attrName>
                                            </p:attrNameLst>
                                          </p:cBhvr>
                                          <p:tavLst>
                                            <p:tav tm="0">
                                              <p:val>
                                                <p:strVal val="#ppt_x-#ppt_w*1.125000"/>
                                              </p:val>
                                            </p:tav>
                                            <p:tav tm="100000">
                                              <p:val>
                                                <p:strVal val="#ppt_x"/>
                                              </p:val>
                                            </p:tav>
                                          </p:tavLst>
                                        </p:anim>
                                        <p:animEffect transition="in" filter="wipe(right)">
                                          <p:cBhvr>
                                            <p:cTn id="143" dur="500"/>
                                            <p:tgtEl>
                                              <p:spTgt spid="13"/>
                                            </p:tgtEl>
                                          </p:cBhvr>
                                        </p:animEffect>
                                      </p:childTnLst>
                                    </p:cTn>
                                  </p:par>
                                </p:childTnLst>
                              </p:cTn>
                            </p:par>
                            <p:par>
                              <p:cTn id="144" fill="hold">
                                <p:stCondLst>
                                  <p:cond delay="6500"/>
                                </p:stCondLst>
                                <p:childTnLst>
                                  <p:par>
                                    <p:cTn id="145" presetID="10" presetClass="entr" presetSubtype="0" fill="hold" grpId="0" nodeType="afterEffect">
                                      <p:stCondLst>
                                        <p:cond delay="0"/>
                                      </p:stCondLst>
                                      <p:childTnLst>
                                        <p:set>
                                          <p:cBhvr>
                                            <p:cTn id="146" dur="1" fill="hold">
                                              <p:stCondLst>
                                                <p:cond delay="0"/>
                                              </p:stCondLst>
                                            </p:cTn>
                                            <p:tgtEl>
                                              <p:spTgt spid="56"/>
                                            </p:tgtEl>
                                            <p:attrNameLst>
                                              <p:attrName>style.visibility</p:attrName>
                                            </p:attrNameLst>
                                          </p:cBhvr>
                                          <p:to>
                                            <p:strVal val="visible"/>
                                          </p:to>
                                        </p:set>
                                        <p:animEffect transition="in" filter="fade">
                                          <p:cBhvr>
                                            <p:cTn id="147" dur="500"/>
                                            <p:tgtEl>
                                              <p:spTgt spid="56"/>
                                            </p:tgtEl>
                                          </p:cBhvr>
                                        </p:animEffect>
                                      </p:childTnLst>
                                    </p:cTn>
                                  </p:par>
                                  <p:par>
                                    <p:cTn id="148" presetID="10" presetClass="entr" presetSubtype="0" fill="hold" grpId="0" nodeType="withEffect">
                                      <p:stCondLst>
                                        <p:cond delay="0"/>
                                      </p:stCondLst>
                                      <p:childTnLst>
                                        <p:set>
                                          <p:cBhvr>
                                            <p:cTn id="149" dur="1" fill="hold">
                                              <p:stCondLst>
                                                <p:cond delay="0"/>
                                              </p:stCondLst>
                                            </p:cTn>
                                            <p:tgtEl>
                                              <p:spTgt spid="57"/>
                                            </p:tgtEl>
                                            <p:attrNameLst>
                                              <p:attrName>style.visibility</p:attrName>
                                            </p:attrNameLst>
                                          </p:cBhvr>
                                          <p:to>
                                            <p:strVal val="visible"/>
                                          </p:to>
                                        </p:set>
                                        <p:animEffect transition="in" filter="fade">
                                          <p:cBhvr>
                                            <p:cTn id="150" dur="500"/>
                                            <p:tgtEl>
                                              <p:spTgt spid="57"/>
                                            </p:tgtEl>
                                          </p:cBhvr>
                                        </p:animEffect>
                                      </p:childTnLst>
                                    </p:cTn>
                                  </p:par>
                                </p:childTnLst>
                              </p:cTn>
                            </p:par>
                            <p:par>
                              <p:cTn id="151" fill="hold">
                                <p:stCondLst>
                                  <p:cond delay="7000"/>
                                </p:stCondLst>
                                <p:childTnLst>
                                  <p:par>
                                    <p:cTn id="152" presetID="22" presetClass="entr" presetSubtype="1" fill="hold" nodeType="afterEffect">
                                      <p:stCondLst>
                                        <p:cond delay="0"/>
                                      </p:stCondLst>
                                      <p:childTnLst>
                                        <p:set>
                                          <p:cBhvr>
                                            <p:cTn id="153" dur="1" fill="hold">
                                              <p:stCondLst>
                                                <p:cond delay="0"/>
                                              </p:stCondLst>
                                            </p:cTn>
                                            <p:tgtEl>
                                              <p:spTgt spid="14"/>
                                            </p:tgtEl>
                                            <p:attrNameLst>
                                              <p:attrName>style.visibility</p:attrName>
                                            </p:attrNameLst>
                                          </p:cBhvr>
                                          <p:to>
                                            <p:strVal val="visible"/>
                                          </p:to>
                                        </p:set>
                                        <p:animEffect transition="in" filter="wipe(up)">
                                          <p:cBhvr>
                                            <p:cTn id="154" dur="500"/>
                                            <p:tgtEl>
                                              <p:spTgt spid="14"/>
                                            </p:tgtEl>
                                          </p:cBhvr>
                                        </p:animEffect>
                                      </p:childTnLst>
                                    </p:cTn>
                                  </p:par>
                                  <p:par>
                                    <p:cTn id="155" presetID="22" presetClass="entr" presetSubtype="4" fill="hold" nodeType="withEffect">
                                      <p:stCondLst>
                                        <p:cond delay="0"/>
                                      </p:stCondLst>
                                      <p:childTnLst>
                                        <p:set>
                                          <p:cBhvr>
                                            <p:cTn id="156" dur="1" fill="hold">
                                              <p:stCondLst>
                                                <p:cond delay="0"/>
                                              </p:stCondLst>
                                            </p:cTn>
                                            <p:tgtEl>
                                              <p:spTgt spid="15"/>
                                            </p:tgtEl>
                                            <p:attrNameLst>
                                              <p:attrName>style.visibility</p:attrName>
                                            </p:attrNameLst>
                                          </p:cBhvr>
                                          <p:to>
                                            <p:strVal val="visible"/>
                                          </p:to>
                                        </p:set>
                                        <p:animEffect transition="in" filter="wipe(down)">
                                          <p:cBhvr>
                                            <p:cTn id="157" dur="500"/>
                                            <p:tgtEl>
                                              <p:spTgt spid="15"/>
                                            </p:tgtEl>
                                          </p:cBhvr>
                                        </p:animEffect>
                                      </p:childTnLst>
                                    </p:cTn>
                                  </p:par>
                                </p:childTnLst>
                              </p:cTn>
                            </p:par>
                            <p:par>
                              <p:cTn id="158" fill="hold">
                                <p:stCondLst>
                                  <p:cond delay="7500"/>
                                </p:stCondLst>
                                <p:childTnLst>
                                  <p:par>
                                    <p:cTn id="159" presetID="22" presetClass="entr" presetSubtype="8" fill="hold" nodeType="afterEffect">
                                      <p:stCondLst>
                                        <p:cond delay="0"/>
                                      </p:stCondLst>
                                      <p:childTnLst>
                                        <p:set>
                                          <p:cBhvr>
                                            <p:cTn id="160" dur="1" fill="hold">
                                              <p:stCondLst>
                                                <p:cond delay="0"/>
                                              </p:stCondLst>
                                            </p:cTn>
                                            <p:tgtEl>
                                              <p:spTgt spid="46"/>
                                            </p:tgtEl>
                                            <p:attrNameLst>
                                              <p:attrName>style.visibility</p:attrName>
                                            </p:attrNameLst>
                                          </p:cBhvr>
                                          <p:to>
                                            <p:strVal val="visible"/>
                                          </p:to>
                                        </p:set>
                                        <p:animEffect transition="in" filter="wipe(left)">
                                          <p:cBhvr>
                                            <p:cTn id="161" dur="500"/>
                                            <p:tgtEl>
                                              <p:spTgt spid="46"/>
                                            </p:tgtEl>
                                          </p:cBhvr>
                                        </p:animEffect>
                                      </p:childTnLst>
                                    </p:cTn>
                                  </p:par>
                                  <p:par>
                                    <p:cTn id="162" presetID="22" presetClass="entr" presetSubtype="8" fill="hold" nodeType="withEffect">
                                      <p:stCondLst>
                                        <p:cond delay="0"/>
                                      </p:stCondLst>
                                      <p:childTnLst>
                                        <p:set>
                                          <p:cBhvr>
                                            <p:cTn id="163" dur="1" fill="hold">
                                              <p:stCondLst>
                                                <p:cond delay="0"/>
                                              </p:stCondLst>
                                            </p:cTn>
                                            <p:tgtEl>
                                              <p:spTgt spid="47"/>
                                            </p:tgtEl>
                                            <p:attrNameLst>
                                              <p:attrName>style.visibility</p:attrName>
                                            </p:attrNameLst>
                                          </p:cBhvr>
                                          <p:to>
                                            <p:strVal val="visible"/>
                                          </p:to>
                                        </p:set>
                                        <p:animEffect transition="in" filter="wipe(left)">
                                          <p:cBhvr>
                                            <p:cTn id="164" dur="500"/>
                                            <p:tgtEl>
                                              <p:spTgt spid="47"/>
                                            </p:tgtEl>
                                          </p:cBhvr>
                                        </p:animEffect>
                                      </p:childTnLst>
                                    </p:cTn>
                                  </p:par>
                                  <p:par>
                                    <p:cTn id="165" presetID="22" presetClass="entr" presetSubtype="8" fill="hold" nodeType="withEffect">
                                      <p:stCondLst>
                                        <p:cond delay="0"/>
                                      </p:stCondLst>
                                      <p:childTnLst>
                                        <p:set>
                                          <p:cBhvr>
                                            <p:cTn id="166" dur="1" fill="hold">
                                              <p:stCondLst>
                                                <p:cond delay="0"/>
                                              </p:stCondLst>
                                            </p:cTn>
                                            <p:tgtEl>
                                              <p:spTgt spid="48"/>
                                            </p:tgtEl>
                                            <p:attrNameLst>
                                              <p:attrName>style.visibility</p:attrName>
                                            </p:attrNameLst>
                                          </p:cBhvr>
                                          <p:to>
                                            <p:strVal val="visible"/>
                                          </p:to>
                                        </p:set>
                                        <p:animEffect transition="in" filter="wipe(left)">
                                          <p:cBhvr>
                                            <p:cTn id="167" dur="500"/>
                                            <p:tgtEl>
                                              <p:spTgt spid="48"/>
                                            </p:tgtEl>
                                          </p:cBhvr>
                                        </p:animEffect>
                                      </p:childTnLst>
                                    </p:cTn>
                                  </p:par>
                                  <p:par>
                                    <p:cTn id="168" presetID="22" presetClass="entr" presetSubtype="8" fill="hold" nodeType="withEffect">
                                      <p:stCondLst>
                                        <p:cond delay="0"/>
                                      </p:stCondLst>
                                      <p:childTnLst>
                                        <p:set>
                                          <p:cBhvr>
                                            <p:cTn id="169" dur="1" fill="hold">
                                              <p:stCondLst>
                                                <p:cond delay="0"/>
                                              </p:stCondLst>
                                            </p:cTn>
                                            <p:tgtEl>
                                              <p:spTgt spid="49"/>
                                            </p:tgtEl>
                                            <p:attrNameLst>
                                              <p:attrName>style.visibility</p:attrName>
                                            </p:attrNameLst>
                                          </p:cBhvr>
                                          <p:to>
                                            <p:strVal val="visible"/>
                                          </p:to>
                                        </p:set>
                                        <p:animEffect transition="in" filter="wipe(left)">
                                          <p:cBhvr>
                                            <p:cTn id="170" dur="500"/>
                                            <p:tgtEl>
                                              <p:spTgt spid="49"/>
                                            </p:tgtEl>
                                          </p:cBhvr>
                                        </p:animEffect>
                                      </p:childTnLst>
                                    </p:cTn>
                                  </p:par>
                                  <p:par>
                                    <p:cTn id="171" presetID="22" presetClass="entr" presetSubtype="8" fill="hold" nodeType="withEffect">
                                      <p:stCondLst>
                                        <p:cond delay="0"/>
                                      </p:stCondLst>
                                      <p:childTnLst>
                                        <p:set>
                                          <p:cBhvr>
                                            <p:cTn id="172" dur="1" fill="hold">
                                              <p:stCondLst>
                                                <p:cond delay="0"/>
                                              </p:stCondLst>
                                            </p:cTn>
                                            <p:tgtEl>
                                              <p:spTgt spid="50"/>
                                            </p:tgtEl>
                                            <p:attrNameLst>
                                              <p:attrName>style.visibility</p:attrName>
                                            </p:attrNameLst>
                                          </p:cBhvr>
                                          <p:to>
                                            <p:strVal val="visible"/>
                                          </p:to>
                                        </p:set>
                                        <p:animEffect transition="in" filter="wipe(left)">
                                          <p:cBhvr>
                                            <p:cTn id="173" dur="500"/>
                                            <p:tgtEl>
                                              <p:spTgt spid="50"/>
                                            </p:tgtEl>
                                          </p:cBhvr>
                                        </p:animEffect>
                                      </p:childTnLst>
                                    </p:cTn>
                                  </p:par>
                                  <p:par>
                                    <p:cTn id="174" presetID="22" presetClass="entr" presetSubtype="8" fill="hold" nodeType="withEffect">
                                      <p:stCondLst>
                                        <p:cond delay="0"/>
                                      </p:stCondLst>
                                      <p:childTnLst>
                                        <p:set>
                                          <p:cBhvr>
                                            <p:cTn id="175" dur="1" fill="hold">
                                              <p:stCondLst>
                                                <p:cond delay="0"/>
                                              </p:stCondLst>
                                            </p:cTn>
                                            <p:tgtEl>
                                              <p:spTgt spid="51"/>
                                            </p:tgtEl>
                                            <p:attrNameLst>
                                              <p:attrName>style.visibility</p:attrName>
                                            </p:attrNameLst>
                                          </p:cBhvr>
                                          <p:to>
                                            <p:strVal val="visible"/>
                                          </p:to>
                                        </p:set>
                                        <p:animEffect transition="in" filter="wipe(left)">
                                          <p:cBhvr>
                                            <p:cTn id="176" dur="500"/>
                                            <p:tgtEl>
                                              <p:spTgt spid="51"/>
                                            </p:tgtEl>
                                          </p:cBhvr>
                                        </p:animEffect>
                                      </p:childTnLst>
                                    </p:cTn>
                                  </p:par>
                                </p:childTnLst>
                              </p:cTn>
                            </p:par>
                            <p:par>
                              <p:cTn id="177" fill="hold">
                                <p:stCondLst>
                                  <p:cond delay="8000"/>
                                </p:stCondLst>
                                <p:childTnLst>
                                  <p:par>
                                    <p:cTn id="178" presetID="10" presetClass="entr" presetSubtype="0" fill="hold" grpId="0" nodeType="afterEffect">
                                      <p:stCondLst>
                                        <p:cond delay="0"/>
                                      </p:stCondLst>
                                      <p:childTnLst>
                                        <p:set>
                                          <p:cBhvr>
                                            <p:cTn id="179" dur="1" fill="hold">
                                              <p:stCondLst>
                                                <p:cond delay="0"/>
                                              </p:stCondLst>
                                            </p:cTn>
                                            <p:tgtEl>
                                              <p:spTgt spid="40"/>
                                            </p:tgtEl>
                                            <p:attrNameLst>
                                              <p:attrName>style.visibility</p:attrName>
                                            </p:attrNameLst>
                                          </p:cBhvr>
                                          <p:to>
                                            <p:strVal val="visible"/>
                                          </p:to>
                                        </p:set>
                                        <p:animEffect transition="in" filter="fade">
                                          <p:cBhvr>
                                            <p:cTn id="180" dur="500"/>
                                            <p:tgtEl>
                                              <p:spTgt spid="40"/>
                                            </p:tgtEl>
                                          </p:cBhvr>
                                        </p:animEffect>
                                      </p:childTnLst>
                                    </p:cTn>
                                  </p:par>
                                  <p:par>
                                    <p:cTn id="181" presetID="10" presetClass="entr" presetSubtype="0" fill="hold" grpId="0" nodeType="withEffect">
                                      <p:stCondLst>
                                        <p:cond delay="0"/>
                                      </p:stCondLst>
                                      <p:childTnLst>
                                        <p:set>
                                          <p:cBhvr>
                                            <p:cTn id="182" dur="1" fill="hold">
                                              <p:stCondLst>
                                                <p:cond delay="0"/>
                                              </p:stCondLst>
                                            </p:cTn>
                                            <p:tgtEl>
                                              <p:spTgt spid="41"/>
                                            </p:tgtEl>
                                            <p:attrNameLst>
                                              <p:attrName>style.visibility</p:attrName>
                                            </p:attrNameLst>
                                          </p:cBhvr>
                                          <p:to>
                                            <p:strVal val="visible"/>
                                          </p:to>
                                        </p:set>
                                        <p:animEffect transition="in" filter="fade">
                                          <p:cBhvr>
                                            <p:cTn id="183" dur="500"/>
                                            <p:tgtEl>
                                              <p:spTgt spid="41"/>
                                            </p:tgtEl>
                                          </p:cBhvr>
                                        </p:animEffect>
                                      </p:childTnLst>
                                    </p:cTn>
                                  </p:par>
                                  <p:par>
                                    <p:cTn id="184" presetID="10" presetClass="entr" presetSubtype="0" fill="hold" grpId="0" nodeType="withEffect">
                                      <p:stCondLst>
                                        <p:cond delay="0"/>
                                      </p:stCondLst>
                                      <p:childTnLst>
                                        <p:set>
                                          <p:cBhvr>
                                            <p:cTn id="185" dur="1" fill="hold">
                                              <p:stCondLst>
                                                <p:cond delay="0"/>
                                              </p:stCondLst>
                                            </p:cTn>
                                            <p:tgtEl>
                                              <p:spTgt spid="44"/>
                                            </p:tgtEl>
                                            <p:attrNameLst>
                                              <p:attrName>style.visibility</p:attrName>
                                            </p:attrNameLst>
                                          </p:cBhvr>
                                          <p:to>
                                            <p:strVal val="visible"/>
                                          </p:to>
                                        </p:set>
                                        <p:animEffect transition="in" filter="fade">
                                          <p:cBhvr>
                                            <p:cTn id="186" dur="500"/>
                                            <p:tgtEl>
                                              <p:spTgt spid="44"/>
                                            </p:tgtEl>
                                          </p:cBhvr>
                                        </p:animEffect>
                                      </p:childTnLst>
                                    </p:cTn>
                                  </p:par>
                                  <p:par>
                                    <p:cTn id="187" presetID="10" presetClass="entr" presetSubtype="0" fill="hold" grpId="0" nodeType="withEffect">
                                      <p:stCondLst>
                                        <p:cond delay="0"/>
                                      </p:stCondLst>
                                      <p:childTnLst>
                                        <p:set>
                                          <p:cBhvr>
                                            <p:cTn id="188" dur="1" fill="hold">
                                              <p:stCondLst>
                                                <p:cond delay="0"/>
                                              </p:stCondLst>
                                            </p:cTn>
                                            <p:tgtEl>
                                              <p:spTgt spid="42"/>
                                            </p:tgtEl>
                                            <p:attrNameLst>
                                              <p:attrName>style.visibility</p:attrName>
                                            </p:attrNameLst>
                                          </p:cBhvr>
                                          <p:to>
                                            <p:strVal val="visible"/>
                                          </p:to>
                                        </p:set>
                                        <p:animEffect transition="in" filter="fade">
                                          <p:cBhvr>
                                            <p:cTn id="189" dur="500"/>
                                            <p:tgtEl>
                                              <p:spTgt spid="42"/>
                                            </p:tgtEl>
                                          </p:cBhvr>
                                        </p:animEffect>
                                      </p:childTnLst>
                                    </p:cTn>
                                  </p:par>
                                  <p:par>
                                    <p:cTn id="190" presetID="10" presetClass="entr" presetSubtype="0" fill="hold" grpId="0" nodeType="withEffect">
                                      <p:stCondLst>
                                        <p:cond delay="0"/>
                                      </p:stCondLst>
                                      <p:childTnLst>
                                        <p:set>
                                          <p:cBhvr>
                                            <p:cTn id="191" dur="1" fill="hold">
                                              <p:stCondLst>
                                                <p:cond delay="0"/>
                                              </p:stCondLst>
                                            </p:cTn>
                                            <p:tgtEl>
                                              <p:spTgt spid="45"/>
                                            </p:tgtEl>
                                            <p:attrNameLst>
                                              <p:attrName>style.visibility</p:attrName>
                                            </p:attrNameLst>
                                          </p:cBhvr>
                                          <p:to>
                                            <p:strVal val="visible"/>
                                          </p:to>
                                        </p:set>
                                        <p:animEffect transition="in" filter="fade">
                                          <p:cBhvr>
                                            <p:cTn id="192" dur="500"/>
                                            <p:tgtEl>
                                              <p:spTgt spid="45"/>
                                            </p:tgtEl>
                                          </p:cBhvr>
                                        </p:animEffect>
                                      </p:childTnLst>
                                    </p:cTn>
                                  </p:par>
                                  <p:par>
                                    <p:cTn id="193" presetID="10" presetClass="entr" presetSubtype="0" fill="hold" grpId="0" nodeType="withEffect">
                                      <p:stCondLst>
                                        <p:cond delay="0"/>
                                      </p:stCondLst>
                                      <p:childTnLst>
                                        <p:set>
                                          <p:cBhvr>
                                            <p:cTn id="194" dur="1" fill="hold">
                                              <p:stCondLst>
                                                <p:cond delay="0"/>
                                              </p:stCondLst>
                                            </p:cTn>
                                            <p:tgtEl>
                                              <p:spTgt spid="43"/>
                                            </p:tgtEl>
                                            <p:attrNameLst>
                                              <p:attrName>style.visibility</p:attrName>
                                            </p:attrNameLst>
                                          </p:cBhvr>
                                          <p:to>
                                            <p:strVal val="visible"/>
                                          </p:to>
                                        </p:set>
                                        <p:animEffect transition="in" filter="fade">
                                          <p:cBhvr>
                                            <p:cTn id="195" dur="500"/>
                                            <p:tgtEl>
                                              <p:spTgt spid="4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3" grpId="0"/>
          <p:bldP spid="4" grpId="0" animBg="1"/>
          <p:bldP spid="5" grpId="0" animBg="1"/>
          <p:bldP spid="8" grpId="0" animBg="1"/>
          <p:bldP spid="9" grpId="0" animBg="1"/>
          <p:bldP spid="12" grpId="0" animBg="1"/>
          <p:bldP spid="13" grpId="0" animBg="1"/>
          <p:bldP spid="16" grpId="0"/>
          <p:bldP spid="17" grpId="0"/>
          <p:bldP spid="18" grpId="0"/>
          <p:bldP spid="19" grpId="0"/>
          <p:bldP spid="20" grpId="0"/>
          <p:bldP spid="21" grpId="0"/>
          <p:bldP spid="28" grpId="0"/>
          <p:bldP spid="29" grpId="0"/>
          <p:bldP spid="30" grpId="0"/>
          <p:bldP spid="31" grpId="0"/>
          <p:bldP spid="32" grpId="0"/>
          <p:bldP spid="33" grpId="0"/>
          <p:bldP spid="40" grpId="0"/>
          <p:bldP spid="41" grpId="0"/>
          <p:bldP spid="42" grpId="0"/>
          <p:bldP spid="43" grpId="0"/>
          <p:bldP spid="44" grpId="0"/>
          <p:bldP spid="45" grpId="0"/>
          <p:bldP spid="52" grpId="0"/>
          <p:bldP spid="53" grpId="0"/>
          <p:bldP spid="54" grpId="0"/>
          <p:bldP spid="55" grpId="0"/>
          <p:bldP spid="56" grpId="0"/>
          <p:bldP spid="57" grpId="0"/>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0-#ppt_w/2"/>
                                              </p:val>
                                            </p:tav>
                                            <p:tav tm="100000">
                                              <p:val>
                                                <p:strVal val="#ppt_x"/>
                                              </p:val>
                                            </p:tav>
                                          </p:tavLst>
                                        </p:anim>
                                        <p:anim calcmode="lin" valueType="num">
                                          <p:cBhvr additive="base">
                                            <p:cTn id="8" dur="500" fill="hold"/>
                                            <p:tgtEl>
                                              <p:spTgt spid="2"/>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10" presetClass="entr" presetSubtype="0" fill="hold" grpId="0" nodeType="after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500"/>
                                            <p:tgtEl>
                                              <p:spTgt spid="3"/>
                                            </p:tgtEl>
                                          </p:cBhvr>
                                        </p:animEffect>
                                      </p:childTnLst>
                                    </p:cTn>
                                  </p:par>
                                </p:childTnLst>
                              </p:cTn>
                            </p:par>
                            <p:par>
                              <p:cTn id="13" fill="hold">
                                <p:stCondLst>
                                  <p:cond delay="1000"/>
                                </p:stCondLst>
                                <p:childTnLst>
                                  <p:par>
                                    <p:cTn id="14" presetID="12" presetClass="entr" presetSubtype="8" fill="hold" grpId="0" nodeType="afterEffect">
                                      <p:stCondLst>
                                        <p:cond delay="0"/>
                                      </p:stCondLst>
                                      <p:childTnLst>
                                        <p:set>
                                          <p:cBhvr>
                                            <p:cTn id="15" dur="1" fill="hold">
                                              <p:stCondLst>
                                                <p:cond delay="0"/>
                                              </p:stCondLst>
                                            </p:cTn>
                                            <p:tgtEl>
                                              <p:spTgt spid="4"/>
                                            </p:tgtEl>
                                            <p:attrNameLst>
                                              <p:attrName>style.visibility</p:attrName>
                                            </p:attrNameLst>
                                          </p:cBhvr>
                                          <p:to>
                                            <p:strVal val="visible"/>
                                          </p:to>
                                        </p:set>
                                        <p:anim calcmode="lin" valueType="num">
                                          <p:cBhvr additive="base">
                                            <p:cTn id="16" dur="500"/>
                                            <p:tgtEl>
                                              <p:spTgt spid="4"/>
                                            </p:tgtEl>
                                            <p:attrNameLst>
                                              <p:attrName>ppt_x</p:attrName>
                                            </p:attrNameLst>
                                          </p:cBhvr>
                                          <p:tavLst>
                                            <p:tav tm="0">
                                              <p:val>
                                                <p:strVal val="#ppt_x-#ppt_w*1.125000"/>
                                              </p:val>
                                            </p:tav>
                                            <p:tav tm="100000">
                                              <p:val>
                                                <p:strVal val="#ppt_x"/>
                                              </p:val>
                                            </p:tav>
                                          </p:tavLst>
                                        </p:anim>
                                        <p:animEffect transition="in" filter="wipe(right)">
                                          <p:cBhvr>
                                            <p:cTn id="17" dur="500"/>
                                            <p:tgtEl>
                                              <p:spTgt spid="4"/>
                                            </p:tgtEl>
                                          </p:cBhvr>
                                        </p:animEffect>
                                      </p:childTnLst>
                                    </p:cTn>
                                  </p:par>
                                  <p:par>
                                    <p:cTn id="18" presetID="12" presetClass="entr" presetSubtype="8" fill="hold" grpId="0" nodeType="withEffect">
                                      <p:stCondLst>
                                        <p:cond delay="0"/>
                                      </p:stCondLst>
                                      <p:childTnLst>
                                        <p:set>
                                          <p:cBhvr>
                                            <p:cTn id="19" dur="1" fill="hold">
                                              <p:stCondLst>
                                                <p:cond delay="0"/>
                                              </p:stCondLst>
                                            </p:cTn>
                                            <p:tgtEl>
                                              <p:spTgt spid="5"/>
                                            </p:tgtEl>
                                            <p:attrNameLst>
                                              <p:attrName>style.visibility</p:attrName>
                                            </p:attrNameLst>
                                          </p:cBhvr>
                                          <p:to>
                                            <p:strVal val="visible"/>
                                          </p:to>
                                        </p:set>
                                        <p:anim calcmode="lin" valueType="num">
                                          <p:cBhvr additive="base">
                                            <p:cTn id="20" dur="500"/>
                                            <p:tgtEl>
                                              <p:spTgt spid="5"/>
                                            </p:tgtEl>
                                            <p:attrNameLst>
                                              <p:attrName>ppt_x</p:attrName>
                                            </p:attrNameLst>
                                          </p:cBhvr>
                                          <p:tavLst>
                                            <p:tav tm="0">
                                              <p:val>
                                                <p:strVal val="#ppt_x-#ppt_w*1.125000"/>
                                              </p:val>
                                            </p:tav>
                                            <p:tav tm="100000">
                                              <p:val>
                                                <p:strVal val="#ppt_x"/>
                                              </p:val>
                                            </p:tav>
                                          </p:tavLst>
                                        </p:anim>
                                        <p:animEffect transition="in" filter="wipe(right)">
                                          <p:cBhvr>
                                            <p:cTn id="21" dur="500"/>
                                            <p:tgtEl>
                                              <p:spTgt spid="5"/>
                                            </p:tgtEl>
                                          </p:cBhvr>
                                        </p:animEffect>
                                      </p:childTnLst>
                                    </p:cTn>
                                  </p:par>
                                </p:childTnLst>
                              </p:cTn>
                            </p:par>
                            <p:par>
                              <p:cTn id="22" fill="hold">
                                <p:stCondLst>
                                  <p:cond delay="1500"/>
                                </p:stCondLst>
                                <p:childTnLst>
                                  <p:par>
                                    <p:cTn id="23" presetID="10" presetClass="entr" presetSubtype="0" fill="hold" grpId="0" nodeType="afterEffect">
                                      <p:stCondLst>
                                        <p:cond delay="0"/>
                                      </p:stCondLst>
                                      <p:childTnLst>
                                        <p:set>
                                          <p:cBhvr>
                                            <p:cTn id="24" dur="1" fill="hold">
                                              <p:stCondLst>
                                                <p:cond delay="0"/>
                                              </p:stCondLst>
                                            </p:cTn>
                                            <p:tgtEl>
                                              <p:spTgt spid="52"/>
                                            </p:tgtEl>
                                            <p:attrNameLst>
                                              <p:attrName>style.visibility</p:attrName>
                                            </p:attrNameLst>
                                          </p:cBhvr>
                                          <p:to>
                                            <p:strVal val="visible"/>
                                          </p:to>
                                        </p:set>
                                        <p:animEffect transition="in" filter="fade">
                                          <p:cBhvr>
                                            <p:cTn id="25" dur="500"/>
                                            <p:tgtEl>
                                              <p:spTgt spid="52"/>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53"/>
                                            </p:tgtEl>
                                            <p:attrNameLst>
                                              <p:attrName>style.visibility</p:attrName>
                                            </p:attrNameLst>
                                          </p:cBhvr>
                                          <p:to>
                                            <p:strVal val="visible"/>
                                          </p:to>
                                        </p:set>
                                        <p:animEffect transition="in" filter="fade">
                                          <p:cBhvr>
                                            <p:cTn id="28" dur="500"/>
                                            <p:tgtEl>
                                              <p:spTgt spid="53"/>
                                            </p:tgtEl>
                                          </p:cBhvr>
                                        </p:animEffect>
                                      </p:childTnLst>
                                    </p:cTn>
                                  </p:par>
                                </p:childTnLst>
                              </p:cTn>
                            </p:par>
                            <p:par>
                              <p:cTn id="29" fill="hold">
                                <p:stCondLst>
                                  <p:cond delay="2000"/>
                                </p:stCondLst>
                                <p:childTnLst>
                                  <p:par>
                                    <p:cTn id="30" presetID="22" presetClass="entr" presetSubtype="1" fill="hold" nodeType="afterEffect">
                                      <p:stCondLst>
                                        <p:cond delay="0"/>
                                      </p:stCondLst>
                                      <p:childTnLst>
                                        <p:set>
                                          <p:cBhvr>
                                            <p:cTn id="31" dur="1" fill="hold">
                                              <p:stCondLst>
                                                <p:cond delay="0"/>
                                              </p:stCondLst>
                                            </p:cTn>
                                            <p:tgtEl>
                                              <p:spTgt spid="6"/>
                                            </p:tgtEl>
                                            <p:attrNameLst>
                                              <p:attrName>style.visibility</p:attrName>
                                            </p:attrNameLst>
                                          </p:cBhvr>
                                          <p:to>
                                            <p:strVal val="visible"/>
                                          </p:to>
                                        </p:set>
                                        <p:animEffect transition="in" filter="wipe(up)">
                                          <p:cBhvr>
                                            <p:cTn id="32" dur="500"/>
                                            <p:tgtEl>
                                              <p:spTgt spid="6"/>
                                            </p:tgtEl>
                                          </p:cBhvr>
                                        </p:animEffect>
                                      </p:childTnLst>
                                    </p:cTn>
                                  </p:par>
                                  <p:par>
                                    <p:cTn id="33" presetID="22" presetClass="entr" presetSubtype="4" fill="hold" nodeType="withEffect">
                                      <p:stCondLst>
                                        <p:cond delay="0"/>
                                      </p:stCondLst>
                                      <p:childTnLst>
                                        <p:set>
                                          <p:cBhvr>
                                            <p:cTn id="34" dur="1" fill="hold">
                                              <p:stCondLst>
                                                <p:cond delay="0"/>
                                              </p:stCondLst>
                                            </p:cTn>
                                            <p:tgtEl>
                                              <p:spTgt spid="7"/>
                                            </p:tgtEl>
                                            <p:attrNameLst>
                                              <p:attrName>style.visibility</p:attrName>
                                            </p:attrNameLst>
                                          </p:cBhvr>
                                          <p:to>
                                            <p:strVal val="visible"/>
                                          </p:to>
                                        </p:set>
                                        <p:animEffect transition="in" filter="wipe(down)">
                                          <p:cBhvr>
                                            <p:cTn id="35" dur="500"/>
                                            <p:tgtEl>
                                              <p:spTgt spid="7"/>
                                            </p:tgtEl>
                                          </p:cBhvr>
                                        </p:animEffect>
                                      </p:childTnLst>
                                    </p:cTn>
                                  </p:par>
                                </p:childTnLst>
                              </p:cTn>
                            </p:par>
                            <p:par>
                              <p:cTn id="36" fill="hold">
                                <p:stCondLst>
                                  <p:cond delay="2500"/>
                                </p:stCondLst>
                                <p:childTnLst>
                                  <p:par>
                                    <p:cTn id="37" presetID="22" presetClass="entr" presetSubtype="8" fill="hold" nodeType="afterEffect">
                                      <p:stCondLst>
                                        <p:cond delay="0"/>
                                      </p:stCondLst>
                                      <p:childTnLst>
                                        <p:set>
                                          <p:cBhvr>
                                            <p:cTn id="38" dur="1" fill="hold">
                                              <p:stCondLst>
                                                <p:cond delay="0"/>
                                              </p:stCondLst>
                                            </p:cTn>
                                            <p:tgtEl>
                                              <p:spTgt spid="22"/>
                                            </p:tgtEl>
                                            <p:attrNameLst>
                                              <p:attrName>style.visibility</p:attrName>
                                            </p:attrNameLst>
                                          </p:cBhvr>
                                          <p:to>
                                            <p:strVal val="visible"/>
                                          </p:to>
                                        </p:set>
                                        <p:animEffect transition="in" filter="wipe(left)">
                                          <p:cBhvr>
                                            <p:cTn id="39" dur="500"/>
                                            <p:tgtEl>
                                              <p:spTgt spid="22"/>
                                            </p:tgtEl>
                                          </p:cBhvr>
                                        </p:animEffect>
                                      </p:childTnLst>
                                    </p:cTn>
                                  </p:par>
                                  <p:par>
                                    <p:cTn id="40" presetID="22" presetClass="entr" presetSubtype="8" fill="hold" nodeType="withEffect">
                                      <p:stCondLst>
                                        <p:cond delay="0"/>
                                      </p:stCondLst>
                                      <p:childTnLst>
                                        <p:set>
                                          <p:cBhvr>
                                            <p:cTn id="41" dur="1" fill="hold">
                                              <p:stCondLst>
                                                <p:cond delay="0"/>
                                              </p:stCondLst>
                                            </p:cTn>
                                            <p:tgtEl>
                                              <p:spTgt spid="23"/>
                                            </p:tgtEl>
                                            <p:attrNameLst>
                                              <p:attrName>style.visibility</p:attrName>
                                            </p:attrNameLst>
                                          </p:cBhvr>
                                          <p:to>
                                            <p:strVal val="visible"/>
                                          </p:to>
                                        </p:set>
                                        <p:animEffect transition="in" filter="wipe(left)">
                                          <p:cBhvr>
                                            <p:cTn id="42" dur="500"/>
                                            <p:tgtEl>
                                              <p:spTgt spid="23"/>
                                            </p:tgtEl>
                                          </p:cBhvr>
                                        </p:animEffect>
                                      </p:childTnLst>
                                    </p:cTn>
                                  </p:par>
                                  <p:par>
                                    <p:cTn id="43" presetID="22" presetClass="entr" presetSubtype="8" fill="hold" nodeType="withEffect">
                                      <p:stCondLst>
                                        <p:cond delay="0"/>
                                      </p:stCondLst>
                                      <p:childTnLst>
                                        <p:set>
                                          <p:cBhvr>
                                            <p:cTn id="44" dur="1" fill="hold">
                                              <p:stCondLst>
                                                <p:cond delay="0"/>
                                              </p:stCondLst>
                                            </p:cTn>
                                            <p:tgtEl>
                                              <p:spTgt spid="24"/>
                                            </p:tgtEl>
                                            <p:attrNameLst>
                                              <p:attrName>style.visibility</p:attrName>
                                            </p:attrNameLst>
                                          </p:cBhvr>
                                          <p:to>
                                            <p:strVal val="visible"/>
                                          </p:to>
                                        </p:set>
                                        <p:animEffect transition="in" filter="wipe(left)">
                                          <p:cBhvr>
                                            <p:cTn id="45" dur="500"/>
                                            <p:tgtEl>
                                              <p:spTgt spid="24"/>
                                            </p:tgtEl>
                                          </p:cBhvr>
                                        </p:animEffect>
                                      </p:childTnLst>
                                    </p:cTn>
                                  </p:par>
                                  <p:par>
                                    <p:cTn id="46" presetID="22" presetClass="entr" presetSubtype="8" fill="hold" nodeType="withEffect">
                                      <p:stCondLst>
                                        <p:cond delay="0"/>
                                      </p:stCondLst>
                                      <p:childTnLst>
                                        <p:set>
                                          <p:cBhvr>
                                            <p:cTn id="47" dur="1" fill="hold">
                                              <p:stCondLst>
                                                <p:cond delay="0"/>
                                              </p:stCondLst>
                                            </p:cTn>
                                            <p:tgtEl>
                                              <p:spTgt spid="27"/>
                                            </p:tgtEl>
                                            <p:attrNameLst>
                                              <p:attrName>style.visibility</p:attrName>
                                            </p:attrNameLst>
                                          </p:cBhvr>
                                          <p:to>
                                            <p:strVal val="visible"/>
                                          </p:to>
                                        </p:set>
                                        <p:animEffect transition="in" filter="wipe(left)">
                                          <p:cBhvr>
                                            <p:cTn id="48" dur="500"/>
                                            <p:tgtEl>
                                              <p:spTgt spid="27"/>
                                            </p:tgtEl>
                                          </p:cBhvr>
                                        </p:animEffect>
                                      </p:childTnLst>
                                    </p:cTn>
                                  </p:par>
                                  <p:par>
                                    <p:cTn id="49" presetID="22" presetClass="entr" presetSubtype="8" fill="hold" nodeType="withEffect">
                                      <p:stCondLst>
                                        <p:cond delay="0"/>
                                      </p:stCondLst>
                                      <p:childTnLst>
                                        <p:set>
                                          <p:cBhvr>
                                            <p:cTn id="50" dur="1" fill="hold">
                                              <p:stCondLst>
                                                <p:cond delay="0"/>
                                              </p:stCondLst>
                                            </p:cTn>
                                            <p:tgtEl>
                                              <p:spTgt spid="26"/>
                                            </p:tgtEl>
                                            <p:attrNameLst>
                                              <p:attrName>style.visibility</p:attrName>
                                            </p:attrNameLst>
                                          </p:cBhvr>
                                          <p:to>
                                            <p:strVal val="visible"/>
                                          </p:to>
                                        </p:set>
                                        <p:animEffect transition="in" filter="wipe(left)">
                                          <p:cBhvr>
                                            <p:cTn id="51" dur="500"/>
                                            <p:tgtEl>
                                              <p:spTgt spid="26"/>
                                            </p:tgtEl>
                                          </p:cBhvr>
                                        </p:animEffect>
                                      </p:childTnLst>
                                    </p:cTn>
                                  </p:par>
                                  <p:par>
                                    <p:cTn id="52" presetID="22" presetClass="entr" presetSubtype="8" fill="hold" nodeType="withEffect">
                                      <p:stCondLst>
                                        <p:cond delay="0"/>
                                      </p:stCondLst>
                                      <p:childTnLst>
                                        <p:set>
                                          <p:cBhvr>
                                            <p:cTn id="53" dur="1" fill="hold">
                                              <p:stCondLst>
                                                <p:cond delay="0"/>
                                              </p:stCondLst>
                                            </p:cTn>
                                            <p:tgtEl>
                                              <p:spTgt spid="25"/>
                                            </p:tgtEl>
                                            <p:attrNameLst>
                                              <p:attrName>style.visibility</p:attrName>
                                            </p:attrNameLst>
                                          </p:cBhvr>
                                          <p:to>
                                            <p:strVal val="visible"/>
                                          </p:to>
                                        </p:set>
                                        <p:animEffect transition="in" filter="wipe(left)">
                                          <p:cBhvr>
                                            <p:cTn id="54" dur="500"/>
                                            <p:tgtEl>
                                              <p:spTgt spid="25"/>
                                            </p:tgtEl>
                                          </p:cBhvr>
                                        </p:animEffect>
                                      </p:childTnLst>
                                    </p:cTn>
                                  </p:par>
                                </p:childTnLst>
                              </p:cTn>
                            </p:par>
                            <p:par>
                              <p:cTn id="55" fill="hold">
                                <p:stCondLst>
                                  <p:cond delay="3000"/>
                                </p:stCondLst>
                                <p:childTnLst>
                                  <p:par>
                                    <p:cTn id="56" presetID="10" presetClass="entr" presetSubtype="0" fill="hold" grpId="0" nodeType="afterEffect">
                                      <p:stCondLst>
                                        <p:cond delay="0"/>
                                      </p:stCondLst>
                                      <p:childTnLst>
                                        <p:set>
                                          <p:cBhvr>
                                            <p:cTn id="57" dur="1" fill="hold">
                                              <p:stCondLst>
                                                <p:cond delay="0"/>
                                              </p:stCondLst>
                                            </p:cTn>
                                            <p:tgtEl>
                                              <p:spTgt spid="16"/>
                                            </p:tgtEl>
                                            <p:attrNameLst>
                                              <p:attrName>style.visibility</p:attrName>
                                            </p:attrNameLst>
                                          </p:cBhvr>
                                          <p:to>
                                            <p:strVal val="visible"/>
                                          </p:to>
                                        </p:set>
                                        <p:animEffect transition="in" filter="fade">
                                          <p:cBhvr>
                                            <p:cTn id="58" dur="500"/>
                                            <p:tgtEl>
                                              <p:spTgt spid="16"/>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17"/>
                                            </p:tgtEl>
                                            <p:attrNameLst>
                                              <p:attrName>style.visibility</p:attrName>
                                            </p:attrNameLst>
                                          </p:cBhvr>
                                          <p:to>
                                            <p:strVal val="visible"/>
                                          </p:to>
                                        </p:set>
                                        <p:animEffect transition="in" filter="fade">
                                          <p:cBhvr>
                                            <p:cTn id="61" dur="500"/>
                                            <p:tgtEl>
                                              <p:spTgt spid="17"/>
                                            </p:tgtEl>
                                          </p:cBhvr>
                                        </p:animEffect>
                                      </p:childTnLst>
                                    </p:cTn>
                                  </p:par>
                                  <p:par>
                                    <p:cTn id="62" presetID="10" presetClass="entr" presetSubtype="0" fill="hold" grpId="0" nodeType="withEffect">
                                      <p:stCondLst>
                                        <p:cond delay="0"/>
                                      </p:stCondLst>
                                      <p:childTnLst>
                                        <p:set>
                                          <p:cBhvr>
                                            <p:cTn id="63" dur="1" fill="hold">
                                              <p:stCondLst>
                                                <p:cond delay="0"/>
                                              </p:stCondLst>
                                            </p:cTn>
                                            <p:tgtEl>
                                              <p:spTgt spid="20"/>
                                            </p:tgtEl>
                                            <p:attrNameLst>
                                              <p:attrName>style.visibility</p:attrName>
                                            </p:attrNameLst>
                                          </p:cBhvr>
                                          <p:to>
                                            <p:strVal val="visible"/>
                                          </p:to>
                                        </p:set>
                                        <p:animEffect transition="in" filter="fade">
                                          <p:cBhvr>
                                            <p:cTn id="64" dur="500"/>
                                            <p:tgtEl>
                                              <p:spTgt spid="20"/>
                                            </p:tgtEl>
                                          </p:cBhvr>
                                        </p:animEffect>
                                      </p:childTnLst>
                                    </p:cTn>
                                  </p:par>
                                  <p:par>
                                    <p:cTn id="65" presetID="10" presetClass="entr" presetSubtype="0" fill="hold" grpId="0" nodeType="withEffect">
                                      <p:stCondLst>
                                        <p:cond delay="0"/>
                                      </p:stCondLst>
                                      <p:childTnLst>
                                        <p:set>
                                          <p:cBhvr>
                                            <p:cTn id="66" dur="1" fill="hold">
                                              <p:stCondLst>
                                                <p:cond delay="0"/>
                                              </p:stCondLst>
                                            </p:cTn>
                                            <p:tgtEl>
                                              <p:spTgt spid="18"/>
                                            </p:tgtEl>
                                            <p:attrNameLst>
                                              <p:attrName>style.visibility</p:attrName>
                                            </p:attrNameLst>
                                          </p:cBhvr>
                                          <p:to>
                                            <p:strVal val="visible"/>
                                          </p:to>
                                        </p:set>
                                        <p:animEffect transition="in" filter="fade">
                                          <p:cBhvr>
                                            <p:cTn id="67" dur="500"/>
                                            <p:tgtEl>
                                              <p:spTgt spid="18"/>
                                            </p:tgtEl>
                                          </p:cBhvr>
                                        </p:animEffect>
                                      </p:childTnLst>
                                    </p:cTn>
                                  </p:par>
                                  <p:par>
                                    <p:cTn id="68" presetID="10" presetClass="entr" presetSubtype="0" fill="hold" grpId="0" nodeType="withEffect">
                                      <p:stCondLst>
                                        <p:cond delay="0"/>
                                      </p:stCondLst>
                                      <p:childTnLst>
                                        <p:set>
                                          <p:cBhvr>
                                            <p:cTn id="69" dur="1" fill="hold">
                                              <p:stCondLst>
                                                <p:cond delay="0"/>
                                              </p:stCondLst>
                                            </p:cTn>
                                            <p:tgtEl>
                                              <p:spTgt spid="21"/>
                                            </p:tgtEl>
                                            <p:attrNameLst>
                                              <p:attrName>style.visibility</p:attrName>
                                            </p:attrNameLst>
                                          </p:cBhvr>
                                          <p:to>
                                            <p:strVal val="visible"/>
                                          </p:to>
                                        </p:set>
                                        <p:animEffect transition="in" filter="fade">
                                          <p:cBhvr>
                                            <p:cTn id="70" dur="500"/>
                                            <p:tgtEl>
                                              <p:spTgt spid="21"/>
                                            </p:tgtEl>
                                          </p:cBhvr>
                                        </p:animEffect>
                                      </p:childTnLst>
                                    </p:cTn>
                                  </p:par>
                                  <p:par>
                                    <p:cTn id="71" presetID="10" presetClass="entr" presetSubtype="0" fill="hold" grpId="0" nodeType="withEffect">
                                      <p:stCondLst>
                                        <p:cond delay="0"/>
                                      </p:stCondLst>
                                      <p:childTnLst>
                                        <p:set>
                                          <p:cBhvr>
                                            <p:cTn id="72" dur="1" fill="hold">
                                              <p:stCondLst>
                                                <p:cond delay="0"/>
                                              </p:stCondLst>
                                            </p:cTn>
                                            <p:tgtEl>
                                              <p:spTgt spid="19"/>
                                            </p:tgtEl>
                                            <p:attrNameLst>
                                              <p:attrName>style.visibility</p:attrName>
                                            </p:attrNameLst>
                                          </p:cBhvr>
                                          <p:to>
                                            <p:strVal val="visible"/>
                                          </p:to>
                                        </p:set>
                                        <p:animEffect transition="in" filter="fade">
                                          <p:cBhvr>
                                            <p:cTn id="73" dur="500"/>
                                            <p:tgtEl>
                                              <p:spTgt spid="19"/>
                                            </p:tgtEl>
                                          </p:cBhvr>
                                        </p:animEffect>
                                      </p:childTnLst>
                                    </p:cTn>
                                  </p:par>
                                </p:childTnLst>
                              </p:cTn>
                            </p:par>
                            <p:par>
                              <p:cTn id="74" fill="hold">
                                <p:stCondLst>
                                  <p:cond delay="3500"/>
                                </p:stCondLst>
                                <p:childTnLst>
                                  <p:par>
                                    <p:cTn id="75" presetID="12" presetClass="entr" presetSubtype="8" fill="hold" grpId="0" nodeType="afterEffect">
                                      <p:stCondLst>
                                        <p:cond delay="0"/>
                                      </p:stCondLst>
                                      <p:childTnLst>
                                        <p:set>
                                          <p:cBhvr>
                                            <p:cTn id="76" dur="1" fill="hold">
                                              <p:stCondLst>
                                                <p:cond delay="0"/>
                                              </p:stCondLst>
                                            </p:cTn>
                                            <p:tgtEl>
                                              <p:spTgt spid="8"/>
                                            </p:tgtEl>
                                            <p:attrNameLst>
                                              <p:attrName>style.visibility</p:attrName>
                                            </p:attrNameLst>
                                          </p:cBhvr>
                                          <p:to>
                                            <p:strVal val="visible"/>
                                          </p:to>
                                        </p:set>
                                        <p:anim calcmode="lin" valueType="num">
                                          <p:cBhvr additive="base">
                                            <p:cTn id="77" dur="500"/>
                                            <p:tgtEl>
                                              <p:spTgt spid="8"/>
                                            </p:tgtEl>
                                            <p:attrNameLst>
                                              <p:attrName>ppt_x</p:attrName>
                                            </p:attrNameLst>
                                          </p:cBhvr>
                                          <p:tavLst>
                                            <p:tav tm="0">
                                              <p:val>
                                                <p:strVal val="#ppt_x-#ppt_w*1.125000"/>
                                              </p:val>
                                            </p:tav>
                                            <p:tav tm="100000">
                                              <p:val>
                                                <p:strVal val="#ppt_x"/>
                                              </p:val>
                                            </p:tav>
                                          </p:tavLst>
                                        </p:anim>
                                        <p:animEffect transition="in" filter="wipe(right)">
                                          <p:cBhvr>
                                            <p:cTn id="78" dur="500"/>
                                            <p:tgtEl>
                                              <p:spTgt spid="8"/>
                                            </p:tgtEl>
                                          </p:cBhvr>
                                        </p:animEffect>
                                      </p:childTnLst>
                                    </p:cTn>
                                  </p:par>
                                  <p:par>
                                    <p:cTn id="79" presetID="12" presetClass="entr" presetSubtype="8" fill="hold" grpId="0" nodeType="withEffect">
                                      <p:stCondLst>
                                        <p:cond delay="0"/>
                                      </p:stCondLst>
                                      <p:childTnLst>
                                        <p:set>
                                          <p:cBhvr>
                                            <p:cTn id="80" dur="1" fill="hold">
                                              <p:stCondLst>
                                                <p:cond delay="0"/>
                                              </p:stCondLst>
                                            </p:cTn>
                                            <p:tgtEl>
                                              <p:spTgt spid="9"/>
                                            </p:tgtEl>
                                            <p:attrNameLst>
                                              <p:attrName>style.visibility</p:attrName>
                                            </p:attrNameLst>
                                          </p:cBhvr>
                                          <p:to>
                                            <p:strVal val="visible"/>
                                          </p:to>
                                        </p:set>
                                        <p:anim calcmode="lin" valueType="num">
                                          <p:cBhvr additive="base">
                                            <p:cTn id="81" dur="500"/>
                                            <p:tgtEl>
                                              <p:spTgt spid="9"/>
                                            </p:tgtEl>
                                            <p:attrNameLst>
                                              <p:attrName>ppt_x</p:attrName>
                                            </p:attrNameLst>
                                          </p:cBhvr>
                                          <p:tavLst>
                                            <p:tav tm="0">
                                              <p:val>
                                                <p:strVal val="#ppt_x-#ppt_w*1.125000"/>
                                              </p:val>
                                            </p:tav>
                                            <p:tav tm="100000">
                                              <p:val>
                                                <p:strVal val="#ppt_x"/>
                                              </p:val>
                                            </p:tav>
                                          </p:tavLst>
                                        </p:anim>
                                        <p:animEffect transition="in" filter="wipe(right)">
                                          <p:cBhvr>
                                            <p:cTn id="82" dur="500"/>
                                            <p:tgtEl>
                                              <p:spTgt spid="9"/>
                                            </p:tgtEl>
                                          </p:cBhvr>
                                        </p:animEffect>
                                      </p:childTnLst>
                                    </p:cTn>
                                  </p:par>
                                </p:childTnLst>
                              </p:cTn>
                            </p:par>
                            <p:par>
                              <p:cTn id="83" fill="hold">
                                <p:stCondLst>
                                  <p:cond delay="4000"/>
                                </p:stCondLst>
                                <p:childTnLst>
                                  <p:par>
                                    <p:cTn id="84" presetID="10" presetClass="entr" presetSubtype="0" fill="hold" grpId="0" nodeType="afterEffect">
                                      <p:stCondLst>
                                        <p:cond delay="0"/>
                                      </p:stCondLst>
                                      <p:childTnLst>
                                        <p:set>
                                          <p:cBhvr>
                                            <p:cTn id="85" dur="1" fill="hold">
                                              <p:stCondLst>
                                                <p:cond delay="0"/>
                                              </p:stCondLst>
                                            </p:cTn>
                                            <p:tgtEl>
                                              <p:spTgt spid="54"/>
                                            </p:tgtEl>
                                            <p:attrNameLst>
                                              <p:attrName>style.visibility</p:attrName>
                                            </p:attrNameLst>
                                          </p:cBhvr>
                                          <p:to>
                                            <p:strVal val="visible"/>
                                          </p:to>
                                        </p:set>
                                        <p:animEffect transition="in" filter="fade">
                                          <p:cBhvr>
                                            <p:cTn id="86" dur="500"/>
                                            <p:tgtEl>
                                              <p:spTgt spid="54"/>
                                            </p:tgtEl>
                                          </p:cBhvr>
                                        </p:animEffect>
                                      </p:childTnLst>
                                    </p:cTn>
                                  </p:par>
                                  <p:par>
                                    <p:cTn id="87" presetID="10" presetClass="entr" presetSubtype="0" fill="hold" grpId="0" nodeType="withEffect">
                                      <p:stCondLst>
                                        <p:cond delay="0"/>
                                      </p:stCondLst>
                                      <p:childTnLst>
                                        <p:set>
                                          <p:cBhvr>
                                            <p:cTn id="88" dur="1" fill="hold">
                                              <p:stCondLst>
                                                <p:cond delay="0"/>
                                              </p:stCondLst>
                                            </p:cTn>
                                            <p:tgtEl>
                                              <p:spTgt spid="55"/>
                                            </p:tgtEl>
                                            <p:attrNameLst>
                                              <p:attrName>style.visibility</p:attrName>
                                            </p:attrNameLst>
                                          </p:cBhvr>
                                          <p:to>
                                            <p:strVal val="visible"/>
                                          </p:to>
                                        </p:set>
                                        <p:animEffect transition="in" filter="fade">
                                          <p:cBhvr>
                                            <p:cTn id="89" dur="500"/>
                                            <p:tgtEl>
                                              <p:spTgt spid="55"/>
                                            </p:tgtEl>
                                          </p:cBhvr>
                                        </p:animEffect>
                                      </p:childTnLst>
                                    </p:cTn>
                                  </p:par>
                                </p:childTnLst>
                              </p:cTn>
                            </p:par>
                            <p:par>
                              <p:cTn id="90" fill="hold">
                                <p:stCondLst>
                                  <p:cond delay="4500"/>
                                </p:stCondLst>
                                <p:childTnLst>
                                  <p:par>
                                    <p:cTn id="91" presetID="22" presetClass="entr" presetSubtype="1" fill="hold" nodeType="afterEffect">
                                      <p:stCondLst>
                                        <p:cond delay="0"/>
                                      </p:stCondLst>
                                      <p:childTnLst>
                                        <p:set>
                                          <p:cBhvr>
                                            <p:cTn id="92" dur="1" fill="hold">
                                              <p:stCondLst>
                                                <p:cond delay="0"/>
                                              </p:stCondLst>
                                            </p:cTn>
                                            <p:tgtEl>
                                              <p:spTgt spid="10"/>
                                            </p:tgtEl>
                                            <p:attrNameLst>
                                              <p:attrName>style.visibility</p:attrName>
                                            </p:attrNameLst>
                                          </p:cBhvr>
                                          <p:to>
                                            <p:strVal val="visible"/>
                                          </p:to>
                                        </p:set>
                                        <p:animEffect transition="in" filter="wipe(up)">
                                          <p:cBhvr>
                                            <p:cTn id="93" dur="500"/>
                                            <p:tgtEl>
                                              <p:spTgt spid="10"/>
                                            </p:tgtEl>
                                          </p:cBhvr>
                                        </p:animEffect>
                                      </p:childTnLst>
                                    </p:cTn>
                                  </p:par>
                                  <p:par>
                                    <p:cTn id="94" presetID="22" presetClass="entr" presetSubtype="4" fill="hold" nodeType="withEffect">
                                      <p:stCondLst>
                                        <p:cond delay="0"/>
                                      </p:stCondLst>
                                      <p:childTnLst>
                                        <p:set>
                                          <p:cBhvr>
                                            <p:cTn id="95" dur="1" fill="hold">
                                              <p:stCondLst>
                                                <p:cond delay="0"/>
                                              </p:stCondLst>
                                            </p:cTn>
                                            <p:tgtEl>
                                              <p:spTgt spid="11"/>
                                            </p:tgtEl>
                                            <p:attrNameLst>
                                              <p:attrName>style.visibility</p:attrName>
                                            </p:attrNameLst>
                                          </p:cBhvr>
                                          <p:to>
                                            <p:strVal val="visible"/>
                                          </p:to>
                                        </p:set>
                                        <p:animEffect transition="in" filter="wipe(down)">
                                          <p:cBhvr>
                                            <p:cTn id="96" dur="500"/>
                                            <p:tgtEl>
                                              <p:spTgt spid="11"/>
                                            </p:tgtEl>
                                          </p:cBhvr>
                                        </p:animEffect>
                                      </p:childTnLst>
                                    </p:cTn>
                                  </p:par>
                                </p:childTnLst>
                              </p:cTn>
                            </p:par>
                            <p:par>
                              <p:cTn id="97" fill="hold">
                                <p:stCondLst>
                                  <p:cond delay="5000"/>
                                </p:stCondLst>
                                <p:childTnLst>
                                  <p:par>
                                    <p:cTn id="98" presetID="22" presetClass="entr" presetSubtype="8" fill="hold" nodeType="afterEffect">
                                      <p:stCondLst>
                                        <p:cond delay="0"/>
                                      </p:stCondLst>
                                      <p:childTnLst>
                                        <p:set>
                                          <p:cBhvr>
                                            <p:cTn id="99" dur="1" fill="hold">
                                              <p:stCondLst>
                                                <p:cond delay="0"/>
                                              </p:stCondLst>
                                            </p:cTn>
                                            <p:tgtEl>
                                              <p:spTgt spid="34"/>
                                            </p:tgtEl>
                                            <p:attrNameLst>
                                              <p:attrName>style.visibility</p:attrName>
                                            </p:attrNameLst>
                                          </p:cBhvr>
                                          <p:to>
                                            <p:strVal val="visible"/>
                                          </p:to>
                                        </p:set>
                                        <p:animEffect transition="in" filter="wipe(left)">
                                          <p:cBhvr>
                                            <p:cTn id="100" dur="500"/>
                                            <p:tgtEl>
                                              <p:spTgt spid="34"/>
                                            </p:tgtEl>
                                          </p:cBhvr>
                                        </p:animEffect>
                                      </p:childTnLst>
                                    </p:cTn>
                                  </p:par>
                                  <p:par>
                                    <p:cTn id="101" presetID="22" presetClass="entr" presetSubtype="8" fill="hold" nodeType="withEffect">
                                      <p:stCondLst>
                                        <p:cond delay="0"/>
                                      </p:stCondLst>
                                      <p:childTnLst>
                                        <p:set>
                                          <p:cBhvr>
                                            <p:cTn id="102" dur="1" fill="hold">
                                              <p:stCondLst>
                                                <p:cond delay="0"/>
                                              </p:stCondLst>
                                            </p:cTn>
                                            <p:tgtEl>
                                              <p:spTgt spid="35"/>
                                            </p:tgtEl>
                                            <p:attrNameLst>
                                              <p:attrName>style.visibility</p:attrName>
                                            </p:attrNameLst>
                                          </p:cBhvr>
                                          <p:to>
                                            <p:strVal val="visible"/>
                                          </p:to>
                                        </p:set>
                                        <p:animEffect transition="in" filter="wipe(left)">
                                          <p:cBhvr>
                                            <p:cTn id="103" dur="500"/>
                                            <p:tgtEl>
                                              <p:spTgt spid="35"/>
                                            </p:tgtEl>
                                          </p:cBhvr>
                                        </p:animEffect>
                                      </p:childTnLst>
                                    </p:cTn>
                                  </p:par>
                                  <p:par>
                                    <p:cTn id="104" presetID="22" presetClass="entr" presetSubtype="8" fill="hold" nodeType="withEffect">
                                      <p:stCondLst>
                                        <p:cond delay="0"/>
                                      </p:stCondLst>
                                      <p:childTnLst>
                                        <p:set>
                                          <p:cBhvr>
                                            <p:cTn id="105" dur="1" fill="hold">
                                              <p:stCondLst>
                                                <p:cond delay="0"/>
                                              </p:stCondLst>
                                            </p:cTn>
                                            <p:tgtEl>
                                              <p:spTgt spid="36"/>
                                            </p:tgtEl>
                                            <p:attrNameLst>
                                              <p:attrName>style.visibility</p:attrName>
                                            </p:attrNameLst>
                                          </p:cBhvr>
                                          <p:to>
                                            <p:strVal val="visible"/>
                                          </p:to>
                                        </p:set>
                                        <p:animEffect transition="in" filter="wipe(left)">
                                          <p:cBhvr>
                                            <p:cTn id="106" dur="500"/>
                                            <p:tgtEl>
                                              <p:spTgt spid="36"/>
                                            </p:tgtEl>
                                          </p:cBhvr>
                                        </p:animEffect>
                                      </p:childTnLst>
                                    </p:cTn>
                                  </p:par>
                                  <p:par>
                                    <p:cTn id="107" presetID="22" presetClass="entr" presetSubtype="8" fill="hold" nodeType="withEffect">
                                      <p:stCondLst>
                                        <p:cond delay="0"/>
                                      </p:stCondLst>
                                      <p:childTnLst>
                                        <p:set>
                                          <p:cBhvr>
                                            <p:cTn id="108" dur="1" fill="hold">
                                              <p:stCondLst>
                                                <p:cond delay="0"/>
                                              </p:stCondLst>
                                            </p:cTn>
                                            <p:tgtEl>
                                              <p:spTgt spid="37"/>
                                            </p:tgtEl>
                                            <p:attrNameLst>
                                              <p:attrName>style.visibility</p:attrName>
                                            </p:attrNameLst>
                                          </p:cBhvr>
                                          <p:to>
                                            <p:strVal val="visible"/>
                                          </p:to>
                                        </p:set>
                                        <p:animEffect transition="in" filter="wipe(left)">
                                          <p:cBhvr>
                                            <p:cTn id="109" dur="500"/>
                                            <p:tgtEl>
                                              <p:spTgt spid="37"/>
                                            </p:tgtEl>
                                          </p:cBhvr>
                                        </p:animEffect>
                                      </p:childTnLst>
                                    </p:cTn>
                                  </p:par>
                                  <p:par>
                                    <p:cTn id="110" presetID="22" presetClass="entr" presetSubtype="8" fill="hold" nodeType="withEffect">
                                      <p:stCondLst>
                                        <p:cond delay="0"/>
                                      </p:stCondLst>
                                      <p:childTnLst>
                                        <p:set>
                                          <p:cBhvr>
                                            <p:cTn id="111" dur="1" fill="hold">
                                              <p:stCondLst>
                                                <p:cond delay="0"/>
                                              </p:stCondLst>
                                            </p:cTn>
                                            <p:tgtEl>
                                              <p:spTgt spid="38"/>
                                            </p:tgtEl>
                                            <p:attrNameLst>
                                              <p:attrName>style.visibility</p:attrName>
                                            </p:attrNameLst>
                                          </p:cBhvr>
                                          <p:to>
                                            <p:strVal val="visible"/>
                                          </p:to>
                                        </p:set>
                                        <p:animEffect transition="in" filter="wipe(left)">
                                          <p:cBhvr>
                                            <p:cTn id="112" dur="500"/>
                                            <p:tgtEl>
                                              <p:spTgt spid="38"/>
                                            </p:tgtEl>
                                          </p:cBhvr>
                                        </p:animEffect>
                                      </p:childTnLst>
                                    </p:cTn>
                                  </p:par>
                                  <p:par>
                                    <p:cTn id="113" presetID="22" presetClass="entr" presetSubtype="8" fill="hold" nodeType="withEffect">
                                      <p:stCondLst>
                                        <p:cond delay="0"/>
                                      </p:stCondLst>
                                      <p:childTnLst>
                                        <p:set>
                                          <p:cBhvr>
                                            <p:cTn id="114" dur="1" fill="hold">
                                              <p:stCondLst>
                                                <p:cond delay="0"/>
                                              </p:stCondLst>
                                            </p:cTn>
                                            <p:tgtEl>
                                              <p:spTgt spid="39"/>
                                            </p:tgtEl>
                                            <p:attrNameLst>
                                              <p:attrName>style.visibility</p:attrName>
                                            </p:attrNameLst>
                                          </p:cBhvr>
                                          <p:to>
                                            <p:strVal val="visible"/>
                                          </p:to>
                                        </p:set>
                                        <p:animEffect transition="in" filter="wipe(left)">
                                          <p:cBhvr>
                                            <p:cTn id="115" dur="500"/>
                                            <p:tgtEl>
                                              <p:spTgt spid="39"/>
                                            </p:tgtEl>
                                          </p:cBhvr>
                                        </p:animEffect>
                                      </p:childTnLst>
                                    </p:cTn>
                                  </p:par>
                                </p:childTnLst>
                              </p:cTn>
                            </p:par>
                            <p:par>
                              <p:cTn id="116" fill="hold">
                                <p:stCondLst>
                                  <p:cond delay="5500"/>
                                </p:stCondLst>
                                <p:childTnLst>
                                  <p:par>
                                    <p:cTn id="117" presetID="10" presetClass="entr" presetSubtype="0" fill="hold" grpId="0" nodeType="afterEffect">
                                      <p:stCondLst>
                                        <p:cond delay="0"/>
                                      </p:stCondLst>
                                      <p:childTnLst>
                                        <p:set>
                                          <p:cBhvr>
                                            <p:cTn id="118" dur="1" fill="hold">
                                              <p:stCondLst>
                                                <p:cond delay="0"/>
                                              </p:stCondLst>
                                            </p:cTn>
                                            <p:tgtEl>
                                              <p:spTgt spid="28"/>
                                            </p:tgtEl>
                                            <p:attrNameLst>
                                              <p:attrName>style.visibility</p:attrName>
                                            </p:attrNameLst>
                                          </p:cBhvr>
                                          <p:to>
                                            <p:strVal val="visible"/>
                                          </p:to>
                                        </p:set>
                                        <p:animEffect transition="in" filter="fade">
                                          <p:cBhvr>
                                            <p:cTn id="119" dur="500"/>
                                            <p:tgtEl>
                                              <p:spTgt spid="28"/>
                                            </p:tgtEl>
                                          </p:cBhvr>
                                        </p:animEffect>
                                      </p:childTnLst>
                                    </p:cTn>
                                  </p:par>
                                  <p:par>
                                    <p:cTn id="120" presetID="10" presetClass="entr" presetSubtype="0" fill="hold" grpId="0" nodeType="withEffect">
                                      <p:stCondLst>
                                        <p:cond delay="0"/>
                                      </p:stCondLst>
                                      <p:childTnLst>
                                        <p:set>
                                          <p:cBhvr>
                                            <p:cTn id="121" dur="1" fill="hold">
                                              <p:stCondLst>
                                                <p:cond delay="0"/>
                                              </p:stCondLst>
                                            </p:cTn>
                                            <p:tgtEl>
                                              <p:spTgt spid="29"/>
                                            </p:tgtEl>
                                            <p:attrNameLst>
                                              <p:attrName>style.visibility</p:attrName>
                                            </p:attrNameLst>
                                          </p:cBhvr>
                                          <p:to>
                                            <p:strVal val="visible"/>
                                          </p:to>
                                        </p:set>
                                        <p:animEffect transition="in" filter="fade">
                                          <p:cBhvr>
                                            <p:cTn id="122" dur="500"/>
                                            <p:tgtEl>
                                              <p:spTgt spid="29"/>
                                            </p:tgtEl>
                                          </p:cBhvr>
                                        </p:animEffect>
                                      </p:childTnLst>
                                    </p:cTn>
                                  </p:par>
                                  <p:par>
                                    <p:cTn id="123" presetID="10" presetClass="entr" presetSubtype="0" fill="hold" grpId="0" nodeType="withEffect">
                                      <p:stCondLst>
                                        <p:cond delay="0"/>
                                      </p:stCondLst>
                                      <p:childTnLst>
                                        <p:set>
                                          <p:cBhvr>
                                            <p:cTn id="124" dur="1" fill="hold">
                                              <p:stCondLst>
                                                <p:cond delay="0"/>
                                              </p:stCondLst>
                                            </p:cTn>
                                            <p:tgtEl>
                                              <p:spTgt spid="32"/>
                                            </p:tgtEl>
                                            <p:attrNameLst>
                                              <p:attrName>style.visibility</p:attrName>
                                            </p:attrNameLst>
                                          </p:cBhvr>
                                          <p:to>
                                            <p:strVal val="visible"/>
                                          </p:to>
                                        </p:set>
                                        <p:animEffect transition="in" filter="fade">
                                          <p:cBhvr>
                                            <p:cTn id="125" dur="500"/>
                                            <p:tgtEl>
                                              <p:spTgt spid="32"/>
                                            </p:tgtEl>
                                          </p:cBhvr>
                                        </p:animEffect>
                                      </p:childTnLst>
                                    </p:cTn>
                                  </p:par>
                                  <p:par>
                                    <p:cTn id="126" presetID="10" presetClass="entr" presetSubtype="0" fill="hold" grpId="0" nodeType="withEffect">
                                      <p:stCondLst>
                                        <p:cond delay="0"/>
                                      </p:stCondLst>
                                      <p:childTnLst>
                                        <p:set>
                                          <p:cBhvr>
                                            <p:cTn id="127" dur="1" fill="hold">
                                              <p:stCondLst>
                                                <p:cond delay="0"/>
                                              </p:stCondLst>
                                            </p:cTn>
                                            <p:tgtEl>
                                              <p:spTgt spid="30"/>
                                            </p:tgtEl>
                                            <p:attrNameLst>
                                              <p:attrName>style.visibility</p:attrName>
                                            </p:attrNameLst>
                                          </p:cBhvr>
                                          <p:to>
                                            <p:strVal val="visible"/>
                                          </p:to>
                                        </p:set>
                                        <p:animEffect transition="in" filter="fade">
                                          <p:cBhvr>
                                            <p:cTn id="128" dur="500"/>
                                            <p:tgtEl>
                                              <p:spTgt spid="30"/>
                                            </p:tgtEl>
                                          </p:cBhvr>
                                        </p:animEffect>
                                      </p:childTnLst>
                                    </p:cTn>
                                  </p:par>
                                  <p:par>
                                    <p:cTn id="129" presetID="10" presetClass="entr" presetSubtype="0" fill="hold" grpId="0" nodeType="withEffect">
                                      <p:stCondLst>
                                        <p:cond delay="0"/>
                                      </p:stCondLst>
                                      <p:childTnLst>
                                        <p:set>
                                          <p:cBhvr>
                                            <p:cTn id="130" dur="1" fill="hold">
                                              <p:stCondLst>
                                                <p:cond delay="0"/>
                                              </p:stCondLst>
                                            </p:cTn>
                                            <p:tgtEl>
                                              <p:spTgt spid="33"/>
                                            </p:tgtEl>
                                            <p:attrNameLst>
                                              <p:attrName>style.visibility</p:attrName>
                                            </p:attrNameLst>
                                          </p:cBhvr>
                                          <p:to>
                                            <p:strVal val="visible"/>
                                          </p:to>
                                        </p:set>
                                        <p:animEffect transition="in" filter="fade">
                                          <p:cBhvr>
                                            <p:cTn id="131" dur="500"/>
                                            <p:tgtEl>
                                              <p:spTgt spid="33"/>
                                            </p:tgtEl>
                                          </p:cBhvr>
                                        </p:animEffect>
                                      </p:childTnLst>
                                    </p:cTn>
                                  </p:par>
                                  <p:par>
                                    <p:cTn id="132" presetID="10" presetClass="entr" presetSubtype="0" fill="hold" grpId="0" nodeType="withEffect">
                                      <p:stCondLst>
                                        <p:cond delay="0"/>
                                      </p:stCondLst>
                                      <p:childTnLst>
                                        <p:set>
                                          <p:cBhvr>
                                            <p:cTn id="133" dur="1" fill="hold">
                                              <p:stCondLst>
                                                <p:cond delay="0"/>
                                              </p:stCondLst>
                                            </p:cTn>
                                            <p:tgtEl>
                                              <p:spTgt spid="31"/>
                                            </p:tgtEl>
                                            <p:attrNameLst>
                                              <p:attrName>style.visibility</p:attrName>
                                            </p:attrNameLst>
                                          </p:cBhvr>
                                          <p:to>
                                            <p:strVal val="visible"/>
                                          </p:to>
                                        </p:set>
                                        <p:animEffect transition="in" filter="fade">
                                          <p:cBhvr>
                                            <p:cTn id="134" dur="500"/>
                                            <p:tgtEl>
                                              <p:spTgt spid="31"/>
                                            </p:tgtEl>
                                          </p:cBhvr>
                                        </p:animEffect>
                                      </p:childTnLst>
                                    </p:cTn>
                                  </p:par>
                                </p:childTnLst>
                              </p:cTn>
                            </p:par>
                            <p:par>
                              <p:cTn id="135" fill="hold">
                                <p:stCondLst>
                                  <p:cond delay="6000"/>
                                </p:stCondLst>
                                <p:childTnLst>
                                  <p:par>
                                    <p:cTn id="136" presetID="12" presetClass="entr" presetSubtype="8" fill="hold" grpId="0" nodeType="afterEffect">
                                      <p:stCondLst>
                                        <p:cond delay="0"/>
                                      </p:stCondLst>
                                      <p:childTnLst>
                                        <p:set>
                                          <p:cBhvr>
                                            <p:cTn id="137" dur="1" fill="hold">
                                              <p:stCondLst>
                                                <p:cond delay="0"/>
                                              </p:stCondLst>
                                            </p:cTn>
                                            <p:tgtEl>
                                              <p:spTgt spid="12"/>
                                            </p:tgtEl>
                                            <p:attrNameLst>
                                              <p:attrName>style.visibility</p:attrName>
                                            </p:attrNameLst>
                                          </p:cBhvr>
                                          <p:to>
                                            <p:strVal val="visible"/>
                                          </p:to>
                                        </p:set>
                                        <p:anim calcmode="lin" valueType="num">
                                          <p:cBhvr additive="base">
                                            <p:cTn id="138" dur="500"/>
                                            <p:tgtEl>
                                              <p:spTgt spid="12"/>
                                            </p:tgtEl>
                                            <p:attrNameLst>
                                              <p:attrName>ppt_x</p:attrName>
                                            </p:attrNameLst>
                                          </p:cBhvr>
                                          <p:tavLst>
                                            <p:tav tm="0">
                                              <p:val>
                                                <p:strVal val="#ppt_x-#ppt_w*1.125000"/>
                                              </p:val>
                                            </p:tav>
                                            <p:tav tm="100000">
                                              <p:val>
                                                <p:strVal val="#ppt_x"/>
                                              </p:val>
                                            </p:tav>
                                          </p:tavLst>
                                        </p:anim>
                                        <p:animEffect transition="in" filter="wipe(right)">
                                          <p:cBhvr>
                                            <p:cTn id="139" dur="500"/>
                                            <p:tgtEl>
                                              <p:spTgt spid="12"/>
                                            </p:tgtEl>
                                          </p:cBhvr>
                                        </p:animEffect>
                                      </p:childTnLst>
                                    </p:cTn>
                                  </p:par>
                                  <p:par>
                                    <p:cTn id="140" presetID="12" presetClass="entr" presetSubtype="8" fill="hold" grpId="0" nodeType="withEffect">
                                      <p:stCondLst>
                                        <p:cond delay="0"/>
                                      </p:stCondLst>
                                      <p:childTnLst>
                                        <p:set>
                                          <p:cBhvr>
                                            <p:cTn id="141" dur="1" fill="hold">
                                              <p:stCondLst>
                                                <p:cond delay="0"/>
                                              </p:stCondLst>
                                            </p:cTn>
                                            <p:tgtEl>
                                              <p:spTgt spid="13"/>
                                            </p:tgtEl>
                                            <p:attrNameLst>
                                              <p:attrName>style.visibility</p:attrName>
                                            </p:attrNameLst>
                                          </p:cBhvr>
                                          <p:to>
                                            <p:strVal val="visible"/>
                                          </p:to>
                                        </p:set>
                                        <p:anim calcmode="lin" valueType="num">
                                          <p:cBhvr additive="base">
                                            <p:cTn id="142" dur="500"/>
                                            <p:tgtEl>
                                              <p:spTgt spid="13"/>
                                            </p:tgtEl>
                                            <p:attrNameLst>
                                              <p:attrName>ppt_x</p:attrName>
                                            </p:attrNameLst>
                                          </p:cBhvr>
                                          <p:tavLst>
                                            <p:tav tm="0">
                                              <p:val>
                                                <p:strVal val="#ppt_x-#ppt_w*1.125000"/>
                                              </p:val>
                                            </p:tav>
                                            <p:tav tm="100000">
                                              <p:val>
                                                <p:strVal val="#ppt_x"/>
                                              </p:val>
                                            </p:tav>
                                          </p:tavLst>
                                        </p:anim>
                                        <p:animEffect transition="in" filter="wipe(right)">
                                          <p:cBhvr>
                                            <p:cTn id="143" dur="500"/>
                                            <p:tgtEl>
                                              <p:spTgt spid="13"/>
                                            </p:tgtEl>
                                          </p:cBhvr>
                                        </p:animEffect>
                                      </p:childTnLst>
                                    </p:cTn>
                                  </p:par>
                                </p:childTnLst>
                              </p:cTn>
                            </p:par>
                            <p:par>
                              <p:cTn id="144" fill="hold">
                                <p:stCondLst>
                                  <p:cond delay="6500"/>
                                </p:stCondLst>
                                <p:childTnLst>
                                  <p:par>
                                    <p:cTn id="145" presetID="10" presetClass="entr" presetSubtype="0" fill="hold" grpId="0" nodeType="afterEffect">
                                      <p:stCondLst>
                                        <p:cond delay="0"/>
                                      </p:stCondLst>
                                      <p:childTnLst>
                                        <p:set>
                                          <p:cBhvr>
                                            <p:cTn id="146" dur="1" fill="hold">
                                              <p:stCondLst>
                                                <p:cond delay="0"/>
                                              </p:stCondLst>
                                            </p:cTn>
                                            <p:tgtEl>
                                              <p:spTgt spid="56"/>
                                            </p:tgtEl>
                                            <p:attrNameLst>
                                              <p:attrName>style.visibility</p:attrName>
                                            </p:attrNameLst>
                                          </p:cBhvr>
                                          <p:to>
                                            <p:strVal val="visible"/>
                                          </p:to>
                                        </p:set>
                                        <p:animEffect transition="in" filter="fade">
                                          <p:cBhvr>
                                            <p:cTn id="147" dur="500"/>
                                            <p:tgtEl>
                                              <p:spTgt spid="56"/>
                                            </p:tgtEl>
                                          </p:cBhvr>
                                        </p:animEffect>
                                      </p:childTnLst>
                                    </p:cTn>
                                  </p:par>
                                  <p:par>
                                    <p:cTn id="148" presetID="10" presetClass="entr" presetSubtype="0" fill="hold" grpId="0" nodeType="withEffect">
                                      <p:stCondLst>
                                        <p:cond delay="0"/>
                                      </p:stCondLst>
                                      <p:childTnLst>
                                        <p:set>
                                          <p:cBhvr>
                                            <p:cTn id="149" dur="1" fill="hold">
                                              <p:stCondLst>
                                                <p:cond delay="0"/>
                                              </p:stCondLst>
                                            </p:cTn>
                                            <p:tgtEl>
                                              <p:spTgt spid="57"/>
                                            </p:tgtEl>
                                            <p:attrNameLst>
                                              <p:attrName>style.visibility</p:attrName>
                                            </p:attrNameLst>
                                          </p:cBhvr>
                                          <p:to>
                                            <p:strVal val="visible"/>
                                          </p:to>
                                        </p:set>
                                        <p:animEffect transition="in" filter="fade">
                                          <p:cBhvr>
                                            <p:cTn id="150" dur="500"/>
                                            <p:tgtEl>
                                              <p:spTgt spid="57"/>
                                            </p:tgtEl>
                                          </p:cBhvr>
                                        </p:animEffect>
                                      </p:childTnLst>
                                    </p:cTn>
                                  </p:par>
                                </p:childTnLst>
                              </p:cTn>
                            </p:par>
                            <p:par>
                              <p:cTn id="151" fill="hold">
                                <p:stCondLst>
                                  <p:cond delay="7000"/>
                                </p:stCondLst>
                                <p:childTnLst>
                                  <p:par>
                                    <p:cTn id="152" presetID="22" presetClass="entr" presetSubtype="1" fill="hold" nodeType="afterEffect">
                                      <p:stCondLst>
                                        <p:cond delay="0"/>
                                      </p:stCondLst>
                                      <p:childTnLst>
                                        <p:set>
                                          <p:cBhvr>
                                            <p:cTn id="153" dur="1" fill="hold">
                                              <p:stCondLst>
                                                <p:cond delay="0"/>
                                              </p:stCondLst>
                                            </p:cTn>
                                            <p:tgtEl>
                                              <p:spTgt spid="14"/>
                                            </p:tgtEl>
                                            <p:attrNameLst>
                                              <p:attrName>style.visibility</p:attrName>
                                            </p:attrNameLst>
                                          </p:cBhvr>
                                          <p:to>
                                            <p:strVal val="visible"/>
                                          </p:to>
                                        </p:set>
                                        <p:animEffect transition="in" filter="wipe(up)">
                                          <p:cBhvr>
                                            <p:cTn id="154" dur="500"/>
                                            <p:tgtEl>
                                              <p:spTgt spid="14"/>
                                            </p:tgtEl>
                                          </p:cBhvr>
                                        </p:animEffect>
                                      </p:childTnLst>
                                    </p:cTn>
                                  </p:par>
                                  <p:par>
                                    <p:cTn id="155" presetID="22" presetClass="entr" presetSubtype="4" fill="hold" nodeType="withEffect">
                                      <p:stCondLst>
                                        <p:cond delay="0"/>
                                      </p:stCondLst>
                                      <p:childTnLst>
                                        <p:set>
                                          <p:cBhvr>
                                            <p:cTn id="156" dur="1" fill="hold">
                                              <p:stCondLst>
                                                <p:cond delay="0"/>
                                              </p:stCondLst>
                                            </p:cTn>
                                            <p:tgtEl>
                                              <p:spTgt spid="15"/>
                                            </p:tgtEl>
                                            <p:attrNameLst>
                                              <p:attrName>style.visibility</p:attrName>
                                            </p:attrNameLst>
                                          </p:cBhvr>
                                          <p:to>
                                            <p:strVal val="visible"/>
                                          </p:to>
                                        </p:set>
                                        <p:animEffect transition="in" filter="wipe(down)">
                                          <p:cBhvr>
                                            <p:cTn id="157" dur="500"/>
                                            <p:tgtEl>
                                              <p:spTgt spid="15"/>
                                            </p:tgtEl>
                                          </p:cBhvr>
                                        </p:animEffect>
                                      </p:childTnLst>
                                    </p:cTn>
                                  </p:par>
                                </p:childTnLst>
                              </p:cTn>
                            </p:par>
                            <p:par>
                              <p:cTn id="158" fill="hold">
                                <p:stCondLst>
                                  <p:cond delay="7500"/>
                                </p:stCondLst>
                                <p:childTnLst>
                                  <p:par>
                                    <p:cTn id="159" presetID="22" presetClass="entr" presetSubtype="8" fill="hold" nodeType="afterEffect">
                                      <p:stCondLst>
                                        <p:cond delay="0"/>
                                      </p:stCondLst>
                                      <p:childTnLst>
                                        <p:set>
                                          <p:cBhvr>
                                            <p:cTn id="160" dur="1" fill="hold">
                                              <p:stCondLst>
                                                <p:cond delay="0"/>
                                              </p:stCondLst>
                                            </p:cTn>
                                            <p:tgtEl>
                                              <p:spTgt spid="46"/>
                                            </p:tgtEl>
                                            <p:attrNameLst>
                                              <p:attrName>style.visibility</p:attrName>
                                            </p:attrNameLst>
                                          </p:cBhvr>
                                          <p:to>
                                            <p:strVal val="visible"/>
                                          </p:to>
                                        </p:set>
                                        <p:animEffect transition="in" filter="wipe(left)">
                                          <p:cBhvr>
                                            <p:cTn id="161" dur="500"/>
                                            <p:tgtEl>
                                              <p:spTgt spid="46"/>
                                            </p:tgtEl>
                                          </p:cBhvr>
                                        </p:animEffect>
                                      </p:childTnLst>
                                    </p:cTn>
                                  </p:par>
                                  <p:par>
                                    <p:cTn id="162" presetID="22" presetClass="entr" presetSubtype="8" fill="hold" nodeType="withEffect">
                                      <p:stCondLst>
                                        <p:cond delay="0"/>
                                      </p:stCondLst>
                                      <p:childTnLst>
                                        <p:set>
                                          <p:cBhvr>
                                            <p:cTn id="163" dur="1" fill="hold">
                                              <p:stCondLst>
                                                <p:cond delay="0"/>
                                              </p:stCondLst>
                                            </p:cTn>
                                            <p:tgtEl>
                                              <p:spTgt spid="47"/>
                                            </p:tgtEl>
                                            <p:attrNameLst>
                                              <p:attrName>style.visibility</p:attrName>
                                            </p:attrNameLst>
                                          </p:cBhvr>
                                          <p:to>
                                            <p:strVal val="visible"/>
                                          </p:to>
                                        </p:set>
                                        <p:animEffect transition="in" filter="wipe(left)">
                                          <p:cBhvr>
                                            <p:cTn id="164" dur="500"/>
                                            <p:tgtEl>
                                              <p:spTgt spid="47"/>
                                            </p:tgtEl>
                                          </p:cBhvr>
                                        </p:animEffect>
                                      </p:childTnLst>
                                    </p:cTn>
                                  </p:par>
                                  <p:par>
                                    <p:cTn id="165" presetID="22" presetClass="entr" presetSubtype="8" fill="hold" nodeType="withEffect">
                                      <p:stCondLst>
                                        <p:cond delay="0"/>
                                      </p:stCondLst>
                                      <p:childTnLst>
                                        <p:set>
                                          <p:cBhvr>
                                            <p:cTn id="166" dur="1" fill="hold">
                                              <p:stCondLst>
                                                <p:cond delay="0"/>
                                              </p:stCondLst>
                                            </p:cTn>
                                            <p:tgtEl>
                                              <p:spTgt spid="48"/>
                                            </p:tgtEl>
                                            <p:attrNameLst>
                                              <p:attrName>style.visibility</p:attrName>
                                            </p:attrNameLst>
                                          </p:cBhvr>
                                          <p:to>
                                            <p:strVal val="visible"/>
                                          </p:to>
                                        </p:set>
                                        <p:animEffect transition="in" filter="wipe(left)">
                                          <p:cBhvr>
                                            <p:cTn id="167" dur="500"/>
                                            <p:tgtEl>
                                              <p:spTgt spid="48"/>
                                            </p:tgtEl>
                                          </p:cBhvr>
                                        </p:animEffect>
                                      </p:childTnLst>
                                    </p:cTn>
                                  </p:par>
                                  <p:par>
                                    <p:cTn id="168" presetID="22" presetClass="entr" presetSubtype="8" fill="hold" nodeType="withEffect">
                                      <p:stCondLst>
                                        <p:cond delay="0"/>
                                      </p:stCondLst>
                                      <p:childTnLst>
                                        <p:set>
                                          <p:cBhvr>
                                            <p:cTn id="169" dur="1" fill="hold">
                                              <p:stCondLst>
                                                <p:cond delay="0"/>
                                              </p:stCondLst>
                                            </p:cTn>
                                            <p:tgtEl>
                                              <p:spTgt spid="49"/>
                                            </p:tgtEl>
                                            <p:attrNameLst>
                                              <p:attrName>style.visibility</p:attrName>
                                            </p:attrNameLst>
                                          </p:cBhvr>
                                          <p:to>
                                            <p:strVal val="visible"/>
                                          </p:to>
                                        </p:set>
                                        <p:animEffect transition="in" filter="wipe(left)">
                                          <p:cBhvr>
                                            <p:cTn id="170" dur="500"/>
                                            <p:tgtEl>
                                              <p:spTgt spid="49"/>
                                            </p:tgtEl>
                                          </p:cBhvr>
                                        </p:animEffect>
                                      </p:childTnLst>
                                    </p:cTn>
                                  </p:par>
                                  <p:par>
                                    <p:cTn id="171" presetID="22" presetClass="entr" presetSubtype="8" fill="hold" nodeType="withEffect">
                                      <p:stCondLst>
                                        <p:cond delay="0"/>
                                      </p:stCondLst>
                                      <p:childTnLst>
                                        <p:set>
                                          <p:cBhvr>
                                            <p:cTn id="172" dur="1" fill="hold">
                                              <p:stCondLst>
                                                <p:cond delay="0"/>
                                              </p:stCondLst>
                                            </p:cTn>
                                            <p:tgtEl>
                                              <p:spTgt spid="50"/>
                                            </p:tgtEl>
                                            <p:attrNameLst>
                                              <p:attrName>style.visibility</p:attrName>
                                            </p:attrNameLst>
                                          </p:cBhvr>
                                          <p:to>
                                            <p:strVal val="visible"/>
                                          </p:to>
                                        </p:set>
                                        <p:animEffect transition="in" filter="wipe(left)">
                                          <p:cBhvr>
                                            <p:cTn id="173" dur="500"/>
                                            <p:tgtEl>
                                              <p:spTgt spid="50"/>
                                            </p:tgtEl>
                                          </p:cBhvr>
                                        </p:animEffect>
                                      </p:childTnLst>
                                    </p:cTn>
                                  </p:par>
                                  <p:par>
                                    <p:cTn id="174" presetID="22" presetClass="entr" presetSubtype="8" fill="hold" nodeType="withEffect">
                                      <p:stCondLst>
                                        <p:cond delay="0"/>
                                      </p:stCondLst>
                                      <p:childTnLst>
                                        <p:set>
                                          <p:cBhvr>
                                            <p:cTn id="175" dur="1" fill="hold">
                                              <p:stCondLst>
                                                <p:cond delay="0"/>
                                              </p:stCondLst>
                                            </p:cTn>
                                            <p:tgtEl>
                                              <p:spTgt spid="51"/>
                                            </p:tgtEl>
                                            <p:attrNameLst>
                                              <p:attrName>style.visibility</p:attrName>
                                            </p:attrNameLst>
                                          </p:cBhvr>
                                          <p:to>
                                            <p:strVal val="visible"/>
                                          </p:to>
                                        </p:set>
                                        <p:animEffect transition="in" filter="wipe(left)">
                                          <p:cBhvr>
                                            <p:cTn id="176" dur="500"/>
                                            <p:tgtEl>
                                              <p:spTgt spid="51"/>
                                            </p:tgtEl>
                                          </p:cBhvr>
                                        </p:animEffect>
                                      </p:childTnLst>
                                    </p:cTn>
                                  </p:par>
                                </p:childTnLst>
                              </p:cTn>
                            </p:par>
                            <p:par>
                              <p:cTn id="177" fill="hold">
                                <p:stCondLst>
                                  <p:cond delay="8000"/>
                                </p:stCondLst>
                                <p:childTnLst>
                                  <p:par>
                                    <p:cTn id="178" presetID="10" presetClass="entr" presetSubtype="0" fill="hold" grpId="0" nodeType="afterEffect">
                                      <p:stCondLst>
                                        <p:cond delay="0"/>
                                      </p:stCondLst>
                                      <p:childTnLst>
                                        <p:set>
                                          <p:cBhvr>
                                            <p:cTn id="179" dur="1" fill="hold">
                                              <p:stCondLst>
                                                <p:cond delay="0"/>
                                              </p:stCondLst>
                                            </p:cTn>
                                            <p:tgtEl>
                                              <p:spTgt spid="40"/>
                                            </p:tgtEl>
                                            <p:attrNameLst>
                                              <p:attrName>style.visibility</p:attrName>
                                            </p:attrNameLst>
                                          </p:cBhvr>
                                          <p:to>
                                            <p:strVal val="visible"/>
                                          </p:to>
                                        </p:set>
                                        <p:animEffect transition="in" filter="fade">
                                          <p:cBhvr>
                                            <p:cTn id="180" dur="500"/>
                                            <p:tgtEl>
                                              <p:spTgt spid="40"/>
                                            </p:tgtEl>
                                          </p:cBhvr>
                                        </p:animEffect>
                                      </p:childTnLst>
                                    </p:cTn>
                                  </p:par>
                                  <p:par>
                                    <p:cTn id="181" presetID="10" presetClass="entr" presetSubtype="0" fill="hold" grpId="0" nodeType="withEffect">
                                      <p:stCondLst>
                                        <p:cond delay="0"/>
                                      </p:stCondLst>
                                      <p:childTnLst>
                                        <p:set>
                                          <p:cBhvr>
                                            <p:cTn id="182" dur="1" fill="hold">
                                              <p:stCondLst>
                                                <p:cond delay="0"/>
                                              </p:stCondLst>
                                            </p:cTn>
                                            <p:tgtEl>
                                              <p:spTgt spid="41"/>
                                            </p:tgtEl>
                                            <p:attrNameLst>
                                              <p:attrName>style.visibility</p:attrName>
                                            </p:attrNameLst>
                                          </p:cBhvr>
                                          <p:to>
                                            <p:strVal val="visible"/>
                                          </p:to>
                                        </p:set>
                                        <p:animEffect transition="in" filter="fade">
                                          <p:cBhvr>
                                            <p:cTn id="183" dur="500"/>
                                            <p:tgtEl>
                                              <p:spTgt spid="41"/>
                                            </p:tgtEl>
                                          </p:cBhvr>
                                        </p:animEffect>
                                      </p:childTnLst>
                                    </p:cTn>
                                  </p:par>
                                  <p:par>
                                    <p:cTn id="184" presetID="10" presetClass="entr" presetSubtype="0" fill="hold" grpId="0" nodeType="withEffect">
                                      <p:stCondLst>
                                        <p:cond delay="0"/>
                                      </p:stCondLst>
                                      <p:childTnLst>
                                        <p:set>
                                          <p:cBhvr>
                                            <p:cTn id="185" dur="1" fill="hold">
                                              <p:stCondLst>
                                                <p:cond delay="0"/>
                                              </p:stCondLst>
                                            </p:cTn>
                                            <p:tgtEl>
                                              <p:spTgt spid="44"/>
                                            </p:tgtEl>
                                            <p:attrNameLst>
                                              <p:attrName>style.visibility</p:attrName>
                                            </p:attrNameLst>
                                          </p:cBhvr>
                                          <p:to>
                                            <p:strVal val="visible"/>
                                          </p:to>
                                        </p:set>
                                        <p:animEffect transition="in" filter="fade">
                                          <p:cBhvr>
                                            <p:cTn id="186" dur="500"/>
                                            <p:tgtEl>
                                              <p:spTgt spid="44"/>
                                            </p:tgtEl>
                                          </p:cBhvr>
                                        </p:animEffect>
                                      </p:childTnLst>
                                    </p:cTn>
                                  </p:par>
                                  <p:par>
                                    <p:cTn id="187" presetID="10" presetClass="entr" presetSubtype="0" fill="hold" grpId="0" nodeType="withEffect">
                                      <p:stCondLst>
                                        <p:cond delay="0"/>
                                      </p:stCondLst>
                                      <p:childTnLst>
                                        <p:set>
                                          <p:cBhvr>
                                            <p:cTn id="188" dur="1" fill="hold">
                                              <p:stCondLst>
                                                <p:cond delay="0"/>
                                              </p:stCondLst>
                                            </p:cTn>
                                            <p:tgtEl>
                                              <p:spTgt spid="42"/>
                                            </p:tgtEl>
                                            <p:attrNameLst>
                                              <p:attrName>style.visibility</p:attrName>
                                            </p:attrNameLst>
                                          </p:cBhvr>
                                          <p:to>
                                            <p:strVal val="visible"/>
                                          </p:to>
                                        </p:set>
                                        <p:animEffect transition="in" filter="fade">
                                          <p:cBhvr>
                                            <p:cTn id="189" dur="500"/>
                                            <p:tgtEl>
                                              <p:spTgt spid="42"/>
                                            </p:tgtEl>
                                          </p:cBhvr>
                                        </p:animEffect>
                                      </p:childTnLst>
                                    </p:cTn>
                                  </p:par>
                                  <p:par>
                                    <p:cTn id="190" presetID="10" presetClass="entr" presetSubtype="0" fill="hold" grpId="0" nodeType="withEffect">
                                      <p:stCondLst>
                                        <p:cond delay="0"/>
                                      </p:stCondLst>
                                      <p:childTnLst>
                                        <p:set>
                                          <p:cBhvr>
                                            <p:cTn id="191" dur="1" fill="hold">
                                              <p:stCondLst>
                                                <p:cond delay="0"/>
                                              </p:stCondLst>
                                            </p:cTn>
                                            <p:tgtEl>
                                              <p:spTgt spid="45"/>
                                            </p:tgtEl>
                                            <p:attrNameLst>
                                              <p:attrName>style.visibility</p:attrName>
                                            </p:attrNameLst>
                                          </p:cBhvr>
                                          <p:to>
                                            <p:strVal val="visible"/>
                                          </p:to>
                                        </p:set>
                                        <p:animEffect transition="in" filter="fade">
                                          <p:cBhvr>
                                            <p:cTn id="192" dur="500"/>
                                            <p:tgtEl>
                                              <p:spTgt spid="45"/>
                                            </p:tgtEl>
                                          </p:cBhvr>
                                        </p:animEffect>
                                      </p:childTnLst>
                                    </p:cTn>
                                  </p:par>
                                  <p:par>
                                    <p:cTn id="193" presetID="10" presetClass="entr" presetSubtype="0" fill="hold" grpId="0" nodeType="withEffect">
                                      <p:stCondLst>
                                        <p:cond delay="0"/>
                                      </p:stCondLst>
                                      <p:childTnLst>
                                        <p:set>
                                          <p:cBhvr>
                                            <p:cTn id="194" dur="1" fill="hold">
                                              <p:stCondLst>
                                                <p:cond delay="0"/>
                                              </p:stCondLst>
                                            </p:cTn>
                                            <p:tgtEl>
                                              <p:spTgt spid="43"/>
                                            </p:tgtEl>
                                            <p:attrNameLst>
                                              <p:attrName>style.visibility</p:attrName>
                                            </p:attrNameLst>
                                          </p:cBhvr>
                                          <p:to>
                                            <p:strVal val="visible"/>
                                          </p:to>
                                        </p:set>
                                        <p:animEffect transition="in" filter="fade">
                                          <p:cBhvr>
                                            <p:cTn id="195" dur="500"/>
                                            <p:tgtEl>
                                              <p:spTgt spid="4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3" grpId="0"/>
          <p:bldP spid="4" grpId="0" animBg="1"/>
          <p:bldP spid="5" grpId="0" animBg="1"/>
          <p:bldP spid="8" grpId="0" animBg="1"/>
          <p:bldP spid="9" grpId="0" animBg="1"/>
          <p:bldP spid="12" grpId="0" animBg="1"/>
          <p:bldP spid="13" grpId="0" animBg="1"/>
          <p:bldP spid="16" grpId="0"/>
          <p:bldP spid="17" grpId="0"/>
          <p:bldP spid="18" grpId="0"/>
          <p:bldP spid="19" grpId="0"/>
          <p:bldP spid="20" grpId="0"/>
          <p:bldP spid="21" grpId="0"/>
          <p:bldP spid="28" grpId="0"/>
          <p:bldP spid="29" grpId="0"/>
          <p:bldP spid="30" grpId="0"/>
          <p:bldP spid="31" grpId="0"/>
          <p:bldP spid="32" grpId="0"/>
          <p:bldP spid="33" grpId="0"/>
          <p:bldP spid="40" grpId="0"/>
          <p:bldP spid="41" grpId="0"/>
          <p:bldP spid="42" grpId="0"/>
          <p:bldP spid="43" grpId="0"/>
          <p:bldP spid="44" grpId="0"/>
          <p:bldP spid="45" grpId="0"/>
          <p:bldP spid="52" grpId="0"/>
          <p:bldP spid="53" grpId="0"/>
          <p:bldP spid="54" grpId="0"/>
          <p:bldP spid="55" grpId="0"/>
          <p:bldP spid="56" grpId="0"/>
          <p:bldP spid="57" grpId="0"/>
        </p:bldLst>
      </p:timing>
    </mc:Fallback>
  </mc:AlternateContent>
</p:sld>
</file>

<file path=ppt/slides/slide7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7">
            <a:extLst>
              <a:ext uri="{FF2B5EF4-FFF2-40B4-BE49-F238E27FC236}">
                <a16:creationId xmlns:a16="http://schemas.microsoft.com/office/drawing/2014/main" id="{9D433BBB-710E-46D6-90E2-90037431847E}"/>
              </a:ext>
            </a:extLst>
          </p:cNvPr>
          <p:cNvSpPr/>
          <p:nvPr/>
        </p:nvSpPr>
        <p:spPr>
          <a:xfrm>
            <a:off x="1312636" y="3059793"/>
            <a:ext cx="10263188" cy="1082449"/>
          </a:xfrm>
          <a:custGeom>
            <a:avLst/>
            <a:gdLst>
              <a:gd name="connsiteX0" fmla="*/ 9647238 w 10263188"/>
              <a:gd name="connsiteY0" fmla="*/ 0 h 1082449"/>
              <a:gd name="connsiteX1" fmla="*/ 9901238 w 10263188"/>
              <a:gd name="connsiteY1" fmla="*/ 0 h 1082449"/>
              <a:gd name="connsiteX2" fmla="*/ 10263188 w 10263188"/>
              <a:gd name="connsiteY2" fmla="*/ 540260 h 1082449"/>
              <a:gd name="connsiteX3" fmla="*/ 9901238 w 10263188"/>
              <a:gd name="connsiteY3" fmla="*/ 1082449 h 1082449"/>
              <a:gd name="connsiteX4" fmla="*/ 9647238 w 10263188"/>
              <a:gd name="connsiteY4" fmla="*/ 1082449 h 1082449"/>
              <a:gd name="connsiteX5" fmla="*/ 9880787 w 10263188"/>
              <a:gd name="connsiteY5" fmla="*/ 729910 h 1082449"/>
              <a:gd name="connsiteX6" fmla="*/ 0 w 10263188"/>
              <a:gd name="connsiteY6" fmla="*/ 729910 h 1082449"/>
              <a:gd name="connsiteX7" fmla="*/ 0 w 10263188"/>
              <a:gd name="connsiteY7" fmla="*/ 636735 h 1082449"/>
              <a:gd name="connsiteX8" fmla="*/ 0 w 10263188"/>
              <a:gd name="connsiteY8" fmla="*/ 445714 h 1082449"/>
              <a:gd name="connsiteX9" fmla="*/ 0 w 10263188"/>
              <a:gd name="connsiteY9" fmla="*/ 352538 h 1082449"/>
              <a:gd name="connsiteX10" fmla="*/ 9880786 w 10263188"/>
              <a:gd name="connsiteY10" fmla="*/ 352538 h 1082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263188" h="1082449">
                <a:moveTo>
                  <a:pt x="9647238" y="0"/>
                </a:moveTo>
                <a:lnTo>
                  <a:pt x="9901238" y="0"/>
                </a:lnTo>
                <a:lnTo>
                  <a:pt x="10263188" y="540260"/>
                </a:lnTo>
                <a:lnTo>
                  <a:pt x="9901238" y="1082449"/>
                </a:lnTo>
                <a:lnTo>
                  <a:pt x="9647238" y="1082449"/>
                </a:lnTo>
                <a:lnTo>
                  <a:pt x="9880787" y="729910"/>
                </a:lnTo>
                <a:lnTo>
                  <a:pt x="0" y="729910"/>
                </a:lnTo>
                <a:lnTo>
                  <a:pt x="0" y="636735"/>
                </a:lnTo>
                <a:lnTo>
                  <a:pt x="0" y="445714"/>
                </a:lnTo>
                <a:lnTo>
                  <a:pt x="0" y="352538"/>
                </a:lnTo>
                <a:lnTo>
                  <a:pt x="9880786" y="352538"/>
                </a:lnTo>
                <a:close/>
              </a:path>
            </a:pathLst>
          </a:cu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cs typeface="+mn-ea"/>
              <a:sym typeface="+mn-lt"/>
            </a:endParaRPr>
          </a:p>
        </p:txBody>
      </p:sp>
      <p:cxnSp>
        <p:nvCxnSpPr>
          <p:cNvPr id="3" name="Straight Arrow Connector 8">
            <a:extLst>
              <a:ext uri="{FF2B5EF4-FFF2-40B4-BE49-F238E27FC236}">
                <a16:creationId xmlns:a16="http://schemas.microsoft.com/office/drawing/2014/main" id="{3F961691-34A4-48A2-962E-08915CE40A11}"/>
              </a:ext>
            </a:extLst>
          </p:cNvPr>
          <p:cNvCxnSpPr/>
          <p:nvPr/>
        </p:nvCxnSpPr>
        <p:spPr>
          <a:xfrm>
            <a:off x="1981598" y="1996021"/>
            <a:ext cx="811825" cy="1359138"/>
          </a:xfrm>
          <a:prstGeom prst="straightConnector1">
            <a:avLst/>
          </a:prstGeom>
          <a:ln w="25400">
            <a:solidFill>
              <a:schemeClr val="accent1">
                <a:lumMod val="10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 name="Straight Arrow Connector 9">
            <a:extLst>
              <a:ext uri="{FF2B5EF4-FFF2-40B4-BE49-F238E27FC236}">
                <a16:creationId xmlns:a16="http://schemas.microsoft.com/office/drawing/2014/main" id="{DC4E4F98-B28F-4F73-A60D-C9D6696CE380}"/>
              </a:ext>
            </a:extLst>
          </p:cNvPr>
          <p:cNvCxnSpPr/>
          <p:nvPr/>
        </p:nvCxnSpPr>
        <p:spPr>
          <a:xfrm>
            <a:off x="4421943" y="1996021"/>
            <a:ext cx="811825" cy="1359138"/>
          </a:xfrm>
          <a:prstGeom prst="straightConnector1">
            <a:avLst/>
          </a:prstGeom>
          <a:ln w="25400">
            <a:solidFill>
              <a:schemeClr val="accent1">
                <a:lumMod val="10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 name="Straight Arrow Connector 10">
            <a:extLst>
              <a:ext uri="{FF2B5EF4-FFF2-40B4-BE49-F238E27FC236}">
                <a16:creationId xmlns:a16="http://schemas.microsoft.com/office/drawing/2014/main" id="{E3E25F13-1E6D-45D6-A809-C0CB8EFC94BA}"/>
              </a:ext>
            </a:extLst>
          </p:cNvPr>
          <p:cNvCxnSpPr/>
          <p:nvPr/>
        </p:nvCxnSpPr>
        <p:spPr>
          <a:xfrm>
            <a:off x="6860944" y="1996021"/>
            <a:ext cx="811825" cy="1359138"/>
          </a:xfrm>
          <a:prstGeom prst="straightConnector1">
            <a:avLst/>
          </a:prstGeom>
          <a:ln w="25400">
            <a:solidFill>
              <a:schemeClr val="accent1">
                <a:lumMod val="10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6" name="TextBox 11">
            <a:extLst>
              <a:ext uri="{FF2B5EF4-FFF2-40B4-BE49-F238E27FC236}">
                <a16:creationId xmlns:a16="http://schemas.microsoft.com/office/drawing/2014/main" id="{258C91E9-8952-4D03-8388-1AF808F9E116}"/>
              </a:ext>
            </a:extLst>
          </p:cNvPr>
          <p:cNvSpPr txBox="1"/>
          <p:nvPr/>
        </p:nvSpPr>
        <p:spPr>
          <a:xfrm>
            <a:off x="416945" y="2222391"/>
            <a:ext cx="1204176" cy="276999"/>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cs typeface="+mn-ea"/>
                <a:sym typeface="+mn-lt"/>
              </a:rPr>
              <a:t>Insert text here</a:t>
            </a:r>
            <a:endParaRPr kumimoji="0" lang="id-ID" sz="1200" b="0" i="0" u="none" strike="noStrike" kern="1200" cap="none" spc="0" normalizeH="0" baseline="0" noProof="0" dirty="0">
              <a:ln>
                <a:noFill/>
              </a:ln>
              <a:solidFill>
                <a:srgbClr val="000000"/>
              </a:solidFill>
              <a:effectLst/>
              <a:uLnTx/>
              <a:uFillTx/>
              <a:latin typeface="Arial"/>
              <a:cs typeface="+mn-ea"/>
              <a:sym typeface="+mn-lt"/>
            </a:endParaRPr>
          </a:p>
        </p:txBody>
      </p:sp>
      <p:sp>
        <p:nvSpPr>
          <p:cNvPr id="7" name="TextBox 12">
            <a:extLst>
              <a:ext uri="{FF2B5EF4-FFF2-40B4-BE49-F238E27FC236}">
                <a16:creationId xmlns:a16="http://schemas.microsoft.com/office/drawing/2014/main" id="{0167B0AD-D3C4-4032-B451-FAA07631B173}"/>
              </a:ext>
            </a:extLst>
          </p:cNvPr>
          <p:cNvSpPr txBox="1"/>
          <p:nvPr/>
        </p:nvSpPr>
        <p:spPr>
          <a:xfrm>
            <a:off x="625520" y="2567364"/>
            <a:ext cx="1204176" cy="276999"/>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cs typeface="+mn-ea"/>
                <a:sym typeface="+mn-lt"/>
              </a:rPr>
              <a:t>Insert text here</a:t>
            </a:r>
            <a:endParaRPr kumimoji="0" lang="id-ID" sz="1200" b="0" i="0" u="none" strike="noStrike" kern="1200" cap="none" spc="0" normalizeH="0" baseline="0" noProof="0" dirty="0">
              <a:ln>
                <a:noFill/>
              </a:ln>
              <a:solidFill>
                <a:srgbClr val="000000"/>
              </a:solidFill>
              <a:effectLst/>
              <a:uLnTx/>
              <a:uFillTx/>
              <a:latin typeface="Arial"/>
              <a:cs typeface="+mn-ea"/>
              <a:sym typeface="+mn-lt"/>
            </a:endParaRPr>
          </a:p>
        </p:txBody>
      </p:sp>
      <p:sp>
        <p:nvSpPr>
          <p:cNvPr id="8" name="TextBox 13">
            <a:extLst>
              <a:ext uri="{FF2B5EF4-FFF2-40B4-BE49-F238E27FC236}">
                <a16:creationId xmlns:a16="http://schemas.microsoft.com/office/drawing/2014/main" id="{E59987BF-F9D2-4D1E-83B9-1464EB045BA5}"/>
              </a:ext>
            </a:extLst>
          </p:cNvPr>
          <p:cNvSpPr txBox="1"/>
          <p:nvPr/>
        </p:nvSpPr>
        <p:spPr>
          <a:xfrm>
            <a:off x="886929" y="2908092"/>
            <a:ext cx="1204176" cy="276999"/>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cs typeface="+mn-ea"/>
                <a:sym typeface="+mn-lt"/>
              </a:rPr>
              <a:t>Insert text here</a:t>
            </a:r>
            <a:endParaRPr kumimoji="0" lang="id-ID" sz="1200" b="0" i="0" u="none" strike="noStrike" kern="1200" cap="none" spc="0" normalizeH="0" baseline="0" noProof="0" dirty="0">
              <a:ln>
                <a:noFill/>
              </a:ln>
              <a:solidFill>
                <a:srgbClr val="000000"/>
              </a:solidFill>
              <a:effectLst/>
              <a:uLnTx/>
              <a:uFillTx/>
              <a:latin typeface="Arial"/>
              <a:cs typeface="+mn-ea"/>
              <a:sym typeface="+mn-lt"/>
            </a:endParaRPr>
          </a:p>
        </p:txBody>
      </p:sp>
      <p:cxnSp>
        <p:nvCxnSpPr>
          <p:cNvPr id="9" name="Straight Arrow Connector 14">
            <a:extLst>
              <a:ext uri="{FF2B5EF4-FFF2-40B4-BE49-F238E27FC236}">
                <a16:creationId xmlns:a16="http://schemas.microsoft.com/office/drawing/2014/main" id="{EBBA42C7-FC9A-435D-8EB3-A8EACAD555D5}"/>
              </a:ext>
            </a:extLst>
          </p:cNvPr>
          <p:cNvCxnSpPr/>
          <p:nvPr/>
        </p:nvCxnSpPr>
        <p:spPr>
          <a:xfrm>
            <a:off x="1653548" y="2359025"/>
            <a:ext cx="406981" cy="0"/>
          </a:xfrm>
          <a:prstGeom prst="straightConnector1">
            <a:avLst/>
          </a:prstGeom>
          <a:ln w="12700">
            <a:solidFill>
              <a:schemeClr val="accent1">
                <a:lumMod val="60000"/>
                <a:lumOff val="40000"/>
              </a:schemeClr>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10" name="Straight Arrow Connector 15">
            <a:extLst>
              <a:ext uri="{FF2B5EF4-FFF2-40B4-BE49-F238E27FC236}">
                <a16:creationId xmlns:a16="http://schemas.microsoft.com/office/drawing/2014/main" id="{12A4BB8F-A897-48F2-826B-F333CED7337D}"/>
              </a:ext>
            </a:extLst>
          </p:cNvPr>
          <p:cNvCxnSpPr/>
          <p:nvPr/>
        </p:nvCxnSpPr>
        <p:spPr>
          <a:xfrm>
            <a:off x="1845085" y="2705863"/>
            <a:ext cx="406981" cy="0"/>
          </a:xfrm>
          <a:prstGeom prst="straightConnector1">
            <a:avLst/>
          </a:prstGeom>
          <a:ln w="12700">
            <a:solidFill>
              <a:schemeClr val="accent1">
                <a:lumMod val="60000"/>
                <a:lumOff val="40000"/>
              </a:schemeClr>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6">
            <a:extLst>
              <a:ext uri="{FF2B5EF4-FFF2-40B4-BE49-F238E27FC236}">
                <a16:creationId xmlns:a16="http://schemas.microsoft.com/office/drawing/2014/main" id="{C1548FE1-8383-4894-9BC8-2698CB7B2B5D}"/>
              </a:ext>
            </a:extLst>
          </p:cNvPr>
          <p:cNvCxnSpPr/>
          <p:nvPr/>
        </p:nvCxnSpPr>
        <p:spPr>
          <a:xfrm>
            <a:off x="2066395" y="3046591"/>
            <a:ext cx="406981" cy="0"/>
          </a:xfrm>
          <a:prstGeom prst="straightConnector1">
            <a:avLst/>
          </a:prstGeom>
          <a:ln w="12700">
            <a:solidFill>
              <a:schemeClr val="accent1">
                <a:lumMod val="60000"/>
                <a:lumOff val="40000"/>
              </a:schemeClr>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12" name="TextBox 17">
            <a:extLst>
              <a:ext uri="{FF2B5EF4-FFF2-40B4-BE49-F238E27FC236}">
                <a16:creationId xmlns:a16="http://schemas.microsoft.com/office/drawing/2014/main" id="{41A3D11B-3681-4D25-8BF0-DE8A2521DFC1}"/>
              </a:ext>
            </a:extLst>
          </p:cNvPr>
          <p:cNvSpPr txBox="1"/>
          <p:nvPr/>
        </p:nvSpPr>
        <p:spPr>
          <a:xfrm>
            <a:off x="2804409" y="2187266"/>
            <a:ext cx="1204176" cy="276999"/>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cs typeface="+mn-ea"/>
                <a:sym typeface="+mn-lt"/>
              </a:rPr>
              <a:t>Insert text here</a:t>
            </a:r>
            <a:endParaRPr kumimoji="0" lang="id-ID" sz="1200" b="0" i="0" u="none" strike="noStrike" kern="1200" cap="none" spc="0" normalizeH="0" baseline="0" noProof="0" dirty="0">
              <a:ln>
                <a:noFill/>
              </a:ln>
              <a:solidFill>
                <a:srgbClr val="000000"/>
              </a:solidFill>
              <a:effectLst/>
              <a:uLnTx/>
              <a:uFillTx/>
              <a:latin typeface="Arial"/>
              <a:cs typeface="+mn-ea"/>
              <a:sym typeface="+mn-lt"/>
            </a:endParaRPr>
          </a:p>
        </p:txBody>
      </p:sp>
      <p:sp>
        <p:nvSpPr>
          <p:cNvPr id="13" name="TextBox 18">
            <a:extLst>
              <a:ext uri="{FF2B5EF4-FFF2-40B4-BE49-F238E27FC236}">
                <a16:creationId xmlns:a16="http://schemas.microsoft.com/office/drawing/2014/main" id="{A528EC26-2C04-4F99-A75D-DD33AA958DB1}"/>
              </a:ext>
            </a:extLst>
          </p:cNvPr>
          <p:cNvSpPr txBox="1"/>
          <p:nvPr/>
        </p:nvSpPr>
        <p:spPr>
          <a:xfrm>
            <a:off x="3012984" y="2532239"/>
            <a:ext cx="1204176" cy="276999"/>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cs typeface="+mn-ea"/>
                <a:sym typeface="+mn-lt"/>
              </a:rPr>
              <a:t>Insert text here</a:t>
            </a:r>
            <a:endParaRPr kumimoji="0" lang="id-ID" sz="1200" b="0" i="0" u="none" strike="noStrike" kern="1200" cap="none" spc="0" normalizeH="0" baseline="0" noProof="0" dirty="0">
              <a:ln>
                <a:noFill/>
              </a:ln>
              <a:solidFill>
                <a:srgbClr val="000000"/>
              </a:solidFill>
              <a:effectLst/>
              <a:uLnTx/>
              <a:uFillTx/>
              <a:latin typeface="Arial"/>
              <a:cs typeface="+mn-ea"/>
              <a:sym typeface="+mn-lt"/>
            </a:endParaRPr>
          </a:p>
        </p:txBody>
      </p:sp>
      <p:sp>
        <p:nvSpPr>
          <p:cNvPr id="14" name="TextBox 19">
            <a:extLst>
              <a:ext uri="{FF2B5EF4-FFF2-40B4-BE49-F238E27FC236}">
                <a16:creationId xmlns:a16="http://schemas.microsoft.com/office/drawing/2014/main" id="{AFCA2359-185A-455D-B2A0-B2D46B0EC289}"/>
              </a:ext>
            </a:extLst>
          </p:cNvPr>
          <p:cNvSpPr txBox="1"/>
          <p:nvPr/>
        </p:nvSpPr>
        <p:spPr>
          <a:xfrm>
            <a:off x="3274393" y="2872967"/>
            <a:ext cx="1204176" cy="276999"/>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cs typeface="+mn-ea"/>
                <a:sym typeface="+mn-lt"/>
              </a:rPr>
              <a:t>Insert text here</a:t>
            </a:r>
            <a:endParaRPr kumimoji="0" lang="id-ID" sz="1200" b="0" i="0" u="none" strike="noStrike" kern="1200" cap="none" spc="0" normalizeH="0" baseline="0" noProof="0" dirty="0">
              <a:ln>
                <a:noFill/>
              </a:ln>
              <a:solidFill>
                <a:srgbClr val="000000"/>
              </a:solidFill>
              <a:effectLst/>
              <a:uLnTx/>
              <a:uFillTx/>
              <a:latin typeface="Arial"/>
              <a:cs typeface="+mn-ea"/>
              <a:sym typeface="+mn-lt"/>
            </a:endParaRPr>
          </a:p>
        </p:txBody>
      </p:sp>
      <p:cxnSp>
        <p:nvCxnSpPr>
          <p:cNvPr id="15" name="Straight Arrow Connector 20">
            <a:extLst>
              <a:ext uri="{FF2B5EF4-FFF2-40B4-BE49-F238E27FC236}">
                <a16:creationId xmlns:a16="http://schemas.microsoft.com/office/drawing/2014/main" id="{933EABBD-DDD5-4A70-AE5C-B2237C279867}"/>
              </a:ext>
            </a:extLst>
          </p:cNvPr>
          <p:cNvCxnSpPr/>
          <p:nvPr/>
        </p:nvCxnSpPr>
        <p:spPr>
          <a:xfrm>
            <a:off x="4041012" y="2323900"/>
            <a:ext cx="406981" cy="0"/>
          </a:xfrm>
          <a:prstGeom prst="straightConnector1">
            <a:avLst/>
          </a:prstGeom>
          <a:ln w="12700">
            <a:solidFill>
              <a:schemeClr val="accent1">
                <a:lumMod val="60000"/>
                <a:lumOff val="40000"/>
              </a:schemeClr>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21">
            <a:extLst>
              <a:ext uri="{FF2B5EF4-FFF2-40B4-BE49-F238E27FC236}">
                <a16:creationId xmlns:a16="http://schemas.microsoft.com/office/drawing/2014/main" id="{454D8AA7-F9C9-4D5E-B92F-64D4A5096539}"/>
              </a:ext>
            </a:extLst>
          </p:cNvPr>
          <p:cNvCxnSpPr/>
          <p:nvPr/>
        </p:nvCxnSpPr>
        <p:spPr>
          <a:xfrm>
            <a:off x="4232549" y="2670738"/>
            <a:ext cx="406981" cy="0"/>
          </a:xfrm>
          <a:prstGeom prst="straightConnector1">
            <a:avLst/>
          </a:prstGeom>
          <a:ln w="12700">
            <a:solidFill>
              <a:schemeClr val="accent1">
                <a:lumMod val="60000"/>
                <a:lumOff val="40000"/>
              </a:schemeClr>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22">
            <a:extLst>
              <a:ext uri="{FF2B5EF4-FFF2-40B4-BE49-F238E27FC236}">
                <a16:creationId xmlns:a16="http://schemas.microsoft.com/office/drawing/2014/main" id="{CB0C3F68-13C3-4FF6-B1DB-E1ED2B1F44E9}"/>
              </a:ext>
            </a:extLst>
          </p:cNvPr>
          <p:cNvCxnSpPr/>
          <p:nvPr/>
        </p:nvCxnSpPr>
        <p:spPr>
          <a:xfrm>
            <a:off x="4453859" y="3011466"/>
            <a:ext cx="406981" cy="0"/>
          </a:xfrm>
          <a:prstGeom prst="straightConnector1">
            <a:avLst/>
          </a:prstGeom>
          <a:ln w="12700">
            <a:solidFill>
              <a:schemeClr val="accent1">
                <a:lumMod val="60000"/>
                <a:lumOff val="40000"/>
              </a:schemeClr>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18" name="TextBox 23">
            <a:extLst>
              <a:ext uri="{FF2B5EF4-FFF2-40B4-BE49-F238E27FC236}">
                <a16:creationId xmlns:a16="http://schemas.microsoft.com/office/drawing/2014/main" id="{50FC5A5A-2F9E-4220-B6A0-5FCE8E45D4F3}"/>
              </a:ext>
            </a:extLst>
          </p:cNvPr>
          <p:cNvSpPr txBox="1"/>
          <p:nvPr/>
        </p:nvSpPr>
        <p:spPr>
          <a:xfrm>
            <a:off x="5257288" y="2157099"/>
            <a:ext cx="1204176" cy="276999"/>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cs typeface="+mn-ea"/>
                <a:sym typeface="+mn-lt"/>
              </a:rPr>
              <a:t>Insert text here</a:t>
            </a:r>
            <a:endParaRPr kumimoji="0" lang="id-ID" sz="1200" b="0" i="0" u="none" strike="noStrike" kern="1200" cap="none" spc="0" normalizeH="0" baseline="0" noProof="0" dirty="0">
              <a:ln>
                <a:noFill/>
              </a:ln>
              <a:solidFill>
                <a:srgbClr val="000000"/>
              </a:solidFill>
              <a:effectLst/>
              <a:uLnTx/>
              <a:uFillTx/>
              <a:latin typeface="Arial"/>
              <a:cs typeface="+mn-ea"/>
              <a:sym typeface="+mn-lt"/>
            </a:endParaRPr>
          </a:p>
        </p:txBody>
      </p:sp>
      <p:sp>
        <p:nvSpPr>
          <p:cNvPr id="19" name="TextBox 24">
            <a:extLst>
              <a:ext uri="{FF2B5EF4-FFF2-40B4-BE49-F238E27FC236}">
                <a16:creationId xmlns:a16="http://schemas.microsoft.com/office/drawing/2014/main" id="{86224A80-162E-4E33-849F-06E079894647}"/>
              </a:ext>
            </a:extLst>
          </p:cNvPr>
          <p:cNvSpPr txBox="1"/>
          <p:nvPr/>
        </p:nvSpPr>
        <p:spPr>
          <a:xfrm>
            <a:off x="5465863" y="2502072"/>
            <a:ext cx="1204176" cy="276999"/>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cs typeface="+mn-ea"/>
                <a:sym typeface="+mn-lt"/>
              </a:rPr>
              <a:t>Insert text here</a:t>
            </a:r>
            <a:endParaRPr kumimoji="0" lang="id-ID" sz="1200" b="0" i="0" u="none" strike="noStrike" kern="1200" cap="none" spc="0" normalizeH="0" baseline="0" noProof="0" dirty="0">
              <a:ln>
                <a:noFill/>
              </a:ln>
              <a:solidFill>
                <a:srgbClr val="000000"/>
              </a:solidFill>
              <a:effectLst/>
              <a:uLnTx/>
              <a:uFillTx/>
              <a:latin typeface="Arial"/>
              <a:cs typeface="+mn-ea"/>
              <a:sym typeface="+mn-lt"/>
            </a:endParaRPr>
          </a:p>
        </p:txBody>
      </p:sp>
      <p:sp>
        <p:nvSpPr>
          <p:cNvPr id="20" name="TextBox 25">
            <a:extLst>
              <a:ext uri="{FF2B5EF4-FFF2-40B4-BE49-F238E27FC236}">
                <a16:creationId xmlns:a16="http://schemas.microsoft.com/office/drawing/2014/main" id="{95726066-32AC-4CBD-B3E9-485388A78B1D}"/>
              </a:ext>
            </a:extLst>
          </p:cNvPr>
          <p:cNvSpPr txBox="1"/>
          <p:nvPr/>
        </p:nvSpPr>
        <p:spPr>
          <a:xfrm>
            <a:off x="5727272" y="2842800"/>
            <a:ext cx="1204176" cy="276999"/>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cs typeface="+mn-ea"/>
                <a:sym typeface="+mn-lt"/>
              </a:rPr>
              <a:t>Insert text here</a:t>
            </a:r>
            <a:endParaRPr kumimoji="0" lang="id-ID" sz="1200" b="0" i="0" u="none" strike="noStrike" kern="1200" cap="none" spc="0" normalizeH="0" baseline="0" noProof="0" dirty="0">
              <a:ln>
                <a:noFill/>
              </a:ln>
              <a:solidFill>
                <a:srgbClr val="000000"/>
              </a:solidFill>
              <a:effectLst/>
              <a:uLnTx/>
              <a:uFillTx/>
              <a:latin typeface="Arial"/>
              <a:cs typeface="+mn-ea"/>
              <a:sym typeface="+mn-lt"/>
            </a:endParaRPr>
          </a:p>
        </p:txBody>
      </p:sp>
      <p:cxnSp>
        <p:nvCxnSpPr>
          <p:cNvPr id="21" name="Straight Arrow Connector 26">
            <a:extLst>
              <a:ext uri="{FF2B5EF4-FFF2-40B4-BE49-F238E27FC236}">
                <a16:creationId xmlns:a16="http://schemas.microsoft.com/office/drawing/2014/main" id="{EFD9B6AB-04E2-49AD-8F4F-0551BB6879D9}"/>
              </a:ext>
            </a:extLst>
          </p:cNvPr>
          <p:cNvCxnSpPr/>
          <p:nvPr/>
        </p:nvCxnSpPr>
        <p:spPr>
          <a:xfrm>
            <a:off x="6493891" y="2293733"/>
            <a:ext cx="406981" cy="0"/>
          </a:xfrm>
          <a:prstGeom prst="straightConnector1">
            <a:avLst/>
          </a:prstGeom>
          <a:ln w="12700">
            <a:solidFill>
              <a:schemeClr val="accent1">
                <a:lumMod val="60000"/>
                <a:lumOff val="40000"/>
              </a:schemeClr>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7">
            <a:extLst>
              <a:ext uri="{FF2B5EF4-FFF2-40B4-BE49-F238E27FC236}">
                <a16:creationId xmlns:a16="http://schemas.microsoft.com/office/drawing/2014/main" id="{80A71530-2670-4B5A-A63C-5A99226B7899}"/>
              </a:ext>
            </a:extLst>
          </p:cNvPr>
          <p:cNvCxnSpPr/>
          <p:nvPr/>
        </p:nvCxnSpPr>
        <p:spPr>
          <a:xfrm>
            <a:off x="6685428" y="2640571"/>
            <a:ext cx="406981" cy="0"/>
          </a:xfrm>
          <a:prstGeom prst="straightConnector1">
            <a:avLst/>
          </a:prstGeom>
          <a:ln w="12700">
            <a:solidFill>
              <a:schemeClr val="accent1">
                <a:lumMod val="60000"/>
                <a:lumOff val="40000"/>
              </a:schemeClr>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8">
            <a:extLst>
              <a:ext uri="{FF2B5EF4-FFF2-40B4-BE49-F238E27FC236}">
                <a16:creationId xmlns:a16="http://schemas.microsoft.com/office/drawing/2014/main" id="{C46783C8-0847-4157-9809-43D6A5B03354}"/>
              </a:ext>
            </a:extLst>
          </p:cNvPr>
          <p:cNvCxnSpPr/>
          <p:nvPr/>
        </p:nvCxnSpPr>
        <p:spPr>
          <a:xfrm>
            <a:off x="6906738" y="2981299"/>
            <a:ext cx="406981" cy="0"/>
          </a:xfrm>
          <a:prstGeom prst="straightConnector1">
            <a:avLst/>
          </a:prstGeom>
          <a:ln w="12700">
            <a:solidFill>
              <a:schemeClr val="accent1">
                <a:lumMod val="60000"/>
                <a:lumOff val="40000"/>
              </a:schemeClr>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41">
            <a:extLst>
              <a:ext uri="{FF2B5EF4-FFF2-40B4-BE49-F238E27FC236}">
                <a16:creationId xmlns:a16="http://schemas.microsoft.com/office/drawing/2014/main" id="{C40943C0-C955-44B3-A086-2C09DE8605ED}"/>
              </a:ext>
            </a:extLst>
          </p:cNvPr>
          <p:cNvCxnSpPr/>
          <p:nvPr/>
        </p:nvCxnSpPr>
        <p:spPr>
          <a:xfrm>
            <a:off x="9260867" y="1991169"/>
            <a:ext cx="811825" cy="1359138"/>
          </a:xfrm>
          <a:prstGeom prst="straightConnector1">
            <a:avLst/>
          </a:prstGeom>
          <a:ln w="25400">
            <a:solidFill>
              <a:schemeClr val="accent1">
                <a:lumMod val="10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5" name="TextBox 42">
            <a:extLst>
              <a:ext uri="{FF2B5EF4-FFF2-40B4-BE49-F238E27FC236}">
                <a16:creationId xmlns:a16="http://schemas.microsoft.com/office/drawing/2014/main" id="{5D001F7A-17A9-42DB-92C6-F5F37B8C6E3F}"/>
              </a:ext>
            </a:extLst>
          </p:cNvPr>
          <p:cNvSpPr txBox="1"/>
          <p:nvPr/>
        </p:nvSpPr>
        <p:spPr>
          <a:xfrm>
            <a:off x="7720711" y="2152247"/>
            <a:ext cx="1204176" cy="276999"/>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cs typeface="+mn-ea"/>
                <a:sym typeface="+mn-lt"/>
              </a:rPr>
              <a:t>Insert text here</a:t>
            </a:r>
            <a:endParaRPr kumimoji="0" lang="id-ID" sz="1200" b="0" i="0" u="none" strike="noStrike" kern="1200" cap="none" spc="0" normalizeH="0" baseline="0" noProof="0" dirty="0">
              <a:ln>
                <a:noFill/>
              </a:ln>
              <a:solidFill>
                <a:srgbClr val="000000"/>
              </a:solidFill>
              <a:effectLst/>
              <a:uLnTx/>
              <a:uFillTx/>
              <a:latin typeface="Arial"/>
              <a:cs typeface="+mn-ea"/>
              <a:sym typeface="+mn-lt"/>
            </a:endParaRPr>
          </a:p>
        </p:txBody>
      </p:sp>
      <p:sp>
        <p:nvSpPr>
          <p:cNvPr id="26" name="TextBox 43">
            <a:extLst>
              <a:ext uri="{FF2B5EF4-FFF2-40B4-BE49-F238E27FC236}">
                <a16:creationId xmlns:a16="http://schemas.microsoft.com/office/drawing/2014/main" id="{6B1477AE-DBFF-4767-841E-7C8455C0164A}"/>
              </a:ext>
            </a:extLst>
          </p:cNvPr>
          <p:cNvSpPr txBox="1"/>
          <p:nvPr/>
        </p:nvSpPr>
        <p:spPr>
          <a:xfrm>
            <a:off x="7865786" y="2497220"/>
            <a:ext cx="1204176" cy="276999"/>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cs typeface="+mn-ea"/>
                <a:sym typeface="+mn-lt"/>
              </a:rPr>
              <a:t>Insert text here</a:t>
            </a:r>
            <a:endParaRPr kumimoji="0" lang="id-ID" sz="1200" b="0" i="0" u="none" strike="noStrike" kern="1200" cap="none" spc="0" normalizeH="0" baseline="0" noProof="0" dirty="0">
              <a:ln>
                <a:noFill/>
              </a:ln>
              <a:solidFill>
                <a:srgbClr val="000000"/>
              </a:solidFill>
              <a:effectLst/>
              <a:uLnTx/>
              <a:uFillTx/>
              <a:latin typeface="Arial"/>
              <a:cs typeface="+mn-ea"/>
              <a:sym typeface="+mn-lt"/>
            </a:endParaRPr>
          </a:p>
        </p:txBody>
      </p:sp>
      <p:sp>
        <p:nvSpPr>
          <p:cNvPr id="27" name="TextBox 44">
            <a:extLst>
              <a:ext uri="{FF2B5EF4-FFF2-40B4-BE49-F238E27FC236}">
                <a16:creationId xmlns:a16="http://schemas.microsoft.com/office/drawing/2014/main" id="{E41E7D04-9380-4D13-8370-902A91B5C78D}"/>
              </a:ext>
            </a:extLst>
          </p:cNvPr>
          <p:cNvSpPr txBox="1"/>
          <p:nvPr/>
        </p:nvSpPr>
        <p:spPr>
          <a:xfrm>
            <a:off x="8127195" y="2837948"/>
            <a:ext cx="1204176" cy="276999"/>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cs typeface="+mn-ea"/>
                <a:sym typeface="+mn-lt"/>
              </a:rPr>
              <a:t>Insert text here</a:t>
            </a:r>
            <a:endParaRPr kumimoji="0" lang="id-ID" sz="1200" b="0" i="0" u="none" strike="noStrike" kern="1200" cap="none" spc="0" normalizeH="0" baseline="0" noProof="0" dirty="0">
              <a:ln>
                <a:noFill/>
              </a:ln>
              <a:solidFill>
                <a:srgbClr val="000000"/>
              </a:solidFill>
              <a:effectLst/>
              <a:uLnTx/>
              <a:uFillTx/>
              <a:latin typeface="Arial"/>
              <a:cs typeface="+mn-ea"/>
              <a:sym typeface="+mn-lt"/>
            </a:endParaRPr>
          </a:p>
        </p:txBody>
      </p:sp>
      <p:cxnSp>
        <p:nvCxnSpPr>
          <p:cNvPr id="28" name="Straight Arrow Connector 45">
            <a:extLst>
              <a:ext uri="{FF2B5EF4-FFF2-40B4-BE49-F238E27FC236}">
                <a16:creationId xmlns:a16="http://schemas.microsoft.com/office/drawing/2014/main" id="{9F29754C-CFEB-4D31-A132-537B9477AB5E}"/>
              </a:ext>
            </a:extLst>
          </p:cNvPr>
          <p:cNvCxnSpPr/>
          <p:nvPr/>
        </p:nvCxnSpPr>
        <p:spPr>
          <a:xfrm>
            <a:off x="8893814" y="2288881"/>
            <a:ext cx="406981" cy="0"/>
          </a:xfrm>
          <a:prstGeom prst="straightConnector1">
            <a:avLst/>
          </a:prstGeom>
          <a:ln w="12700">
            <a:solidFill>
              <a:schemeClr val="accent1">
                <a:lumMod val="60000"/>
                <a:lumOff val="40000"/>
              </a:schemeClr>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46">
            <a:extLst>
              <a:ext uri="{FF2B5EF4-FFF2-40B4-BE49-F238E27FC236}">
                <a16:creationId xmlns:a16="http://schemas.microsoft.com/office/drawing/2014/main" id="{121F39BE-4F7F-49E0-BA4B-B895F40266E5}"/>
              </a:ext>
            </a:extLst>
          </p:cNvPr>
          <p:cNvCxnSpPr/>
          <p:nvPr/>
        </p:nvCxnSpPr>
        <p:spPr>
          <a:xfrm>
            <a:off x="9085351" y="2635719"/>
            <a:ext cx="406981" cy="0"/>
          </a:xfrm>
          <a:prstGeom prst="straightConnector1">
            <a:avLst/>
          </a:prstGeom>
          <a:ln w="12700">
            <a:solidFill>
              <a:schemeClr val="accent1">
                <a:lumMod val="60000"/>
                <a:lumOff val="40000"/>
              </a:schemeClr>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30" name="Straight Arrow Connector 47">
            <a:extLst>
              <a:ext uri="{FF2B5EF4-FFF2-40B4-BE49-F238E27FC236}">
                <a16:creationId xmlns:a16="http://schemas.microsoft.com/office/drawing/2014/main" id="{35E48526-1CF5-4995-9A2D-1C189AC3902E}"/>
              </a:ext>
            </a:extLst>
          </p:cNvPr>
          <p:cNvCxnSpPr/>
          <p:nvPr/>
        </p:nvCxnSpPr>
        <p:spPr>
          <a:xfrm>
            <a:off x="9306661" y="2976447"/>
            <a:ext cx="406981" cy="0"/>
          </a:xfrm>
          <a:prstGeom prst="straightConnector1">
            <a:avLst/>
          </a:prstGeom>
          <a:ln w="12700">
            <a:solidFill>
              <a:schemeClr val="accent1">
                <a:lumMod val="60000"/>
                <a:lumOff val="40000"/>
              </a:schemeClr>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31" name="TextBox 48">
            <a:extLst>
              <a:ext uri="{FF2B5EF4-FFF2-40B4-BE49-F238E27FC236}">
                <a16:creationId xmlns:a16="http://schemas.microsoft.com/office/drawing/2014/main" id="{5DF082F1-D6DE-4C9A-B307-96DFEC130328}"/>
              </a:ext>
            </a:extLst>
          </p:cNvPr>
          <p:cNvSpPr txBox="1"/>
          <p:nvPr/>
        </p:nvSpPr>
        <p:spPr>
          <a:xfrm>
            <a:off x="9904739" y="3403400"/>
            <a:ext cx="1257588" cy="369332"/>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err="1">
                <a:ln>
                  <a:noFill/>
                </a:ln>
                <a:solidFill>
                  <a:srgbClr val="FFFFFF"/>
                </a:solidFill>
                <a:effectLst/>
                <a:uLnTx/>
                <a:uFillTx/>
                <a:latin typeface="Arial"/>
                <a:cs typeface="+mn-ea"/>
                <a:sym typeface="+mn-lt"/>
              </a:rPr>
              <a:t>Inser</a:t>
            </a:r>
            <a:r>
              <a:rPr kumimoji="0" lang="en-US" sz="1800" b="1" i="0" u="none" strike="noStrike" kern="1200" cap="none" spc="0" normalizeH="0" baseline="0" noProof="0" dirty="0">
                <a:ln>
                  <a:noFill/>
                </a:ln>
                <a:solidFill>
                  <a:srgbClr val="FFFFFF"/>
                </a:solidFill>
                <a:effectLst/>
                <a:uLnTx/>
                <a:uFillTx/>
                <a:latin typeface="Arial"/>
                <a:cs typeface="+mn-ea"/>
                <a:sym typeface="+mn-lt"/>
              </a:rPr>
              <a:t> Text</a:t>
            </a:r>
            <a:endParaRPr kumimoji="0" lang="id-ID" sz="1800" b="1" i="0" u="none" strike="noStrike" kern="1200" cap="none" spc="0" normalizeH="0" baseline="0" noProof="0" dirty="0">
              <a:ln>
                <a:noFill/>
              </a:ln>
              <a:solidFill>
                <a:srgbClr val="FFFFFF"/>
              </a:solidFill>
              <a:effectLst/>
              <a:uLnTx/>
              <a:uFillTx/>
              <a:latin typeface="Arial"/>
              <a:cs typeface="+mn-ea"/>
              <a:sym typeface="+mn-lt"/>
            </a:endParaRPr>
          </a:p>
        </p:txBody>
      </p:sp>
      <p:cxnSp>
        <p:nvCxnSpPr>
          <p:cNvPr id="32" name="Straight Arrow Connector 49">
            <a:extLst>
              <a:ext uri="{FF2B5EF4-FFF2-40B4-BE49-F238E27FC236}">
                <a16:creationId xmlns:a16="http://schemas.microsoft.com/office/drawing/2014/main" id="{34638699-4F08-47A7-AA54-DAFB48F3753A}"/>
              </a:ext>
            </a:extLst>
          </p:cNvPr>
          <p:cNvCxnSpPr/>
          <p:nvPr/>
        </p:nvCxnSpPr>
        <p:spPr>
          <a:xfrm rot="10800000" flipH="1">
            <a:off x="2016523" y="3817706"/>
            <a:ext cx="811825" cy="1359138"/>
          </a:xfrm>
          <a:prstGeom prst="straightConnector1">
            <a:avLst/>
          </a:prstGeom>
          <a:ln w="25400">
            <a:solidFill>
              <a:schemeClr val="accent1">
                <a:lumMod val="10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50">
            <a:extLst>
              <a:ext uri="{FF2B5EF4-FFF2-40B4-BE49-F238E27FC236}">
                <a16:creationId xmlns:a16="http://schemas.microsoft.com/office/drawing/2014/main" id="{F0F6BCB1-046D-40F0-BD4C-D1DB4E1A9CD2}"/>
              </a:ext>
            </a:extLst>
          </p:cNvPr>
          <p:cNvCxnSpPr/>
          <p:nvPr/>
        </p:nvCxnSpPr>
        <p:spPr>
          <a:xfrm rot="10800000" flipH="1">
            <a:off x="4456868" y="3817706"/>
            <a:ext cx="811825" cy="1359138"/>
          </a:xfrm>
          <a:prstGeom prst="straightConnector1">
            <a:avLst/>
          </a:prstGeom>
          <a:ln w="25400">
            <a:solidFill>
              <a:schemeClr val="accent1">
                <a:lumMod val="10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51">
            <a:extLst>
              <a:ext uri="{FF2B5EF4-FFF2-40B4-BE49-F238E27FC236}">
                <a16:creationId xmlns:a16="http://schemas.microsoft.com/office/drawing/2014/main" id="{90B5DE0C-4C70-43C3-8646-2F65BEF7FA7F}"/>
              </a:ext>
            </a:extLst>
          </p:cNvPr>
          <p:cNvCxnSpPr/>
          <p:nvPr/>
        </p:nvCxnSpPr>
        <p:spPr>
          <a:xfrm rot="10800000" flipH="1">
            <a:off x="6895869" y="3817706"/>
            <a:ext cx="811825" cy="1359138"/>
          </a:xfrm>
          <a:prstGeom prst="straightConnector1">
            <a:avLst/>
          </a:prstGeom>
          <a:ln w="25400">
            <a:solidFill>
              <a:schemeClr val="accent1">
                <a:lumMod val="10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35" name="TextBox 52">
            <a:extLst>
              <a:ext uri="{FF2B5EF4-FFF2-40B4-BE49-F238E27FC236}">
                <a16:creationId xmlns:a16="http://schemas.microsoft.com/office/drawing/2014/main" id="{9337DB78-CF06-4BA1-ABA8-C338D889BE29}"/>
              </a:ext>
            </a:extLst>
          </p:cNvPr>
          <p:cNvSpPr txBox="1"/>
          <p:nvPr/>
        </p:nvSpPr>
        <p:spPr>
          <a:xfrm flipH="1">
            <a:off x="451870" y="4673475"/>
            <a:ext cx="1204176" cy="276999"/>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cs typeface="+mn-ea"/>
                <a:sym typeface="+mn-lt"/>
              </a:rPr>
              <a:t>Insert text here</a:t>
            </a:r>
            <a:endParaRPr kumimoji="0" lang="id-ID" sz="1200" b="0" i="0" u="none" strike="noStrike" kern="1200" cap="none" spc="0" normalizeH="0" baseline="0" noProof="0" dirty="0">
              <a:ln>
                <a:noFill/>
              </a:ln>
              <a:solidFill>
                <a:srgbClr val="000000"/>
              </a:solidFill>
              <a:effectLst/>
              <a:uLnTx/>
              <a:uFillTx/>
              <a:latin typeface="Arial"/>
              <a:cs typeface="+mn-ea"/>
              <a:sym typeface="+mn-lt"/>
            </a:endParaRPr>
          </a:p>
        </p:txBody>
      </p:sp>
      <p:sp>
        <p:nvSpPr>
          <p:cNvPr id="36" name="TextBox 53">
            <a:extLst>
              <a:ext uri="{FF2B5EF4-FFF2-40B4-BE49-F238E27FC236}">
                <a16:creationId xmlns:a16="http://schemas.microsoft.com/office/drawing/2014/main" id="{145CB9A3-8EC9-4A9D-989A-908C9D322D0D}"/>
              </a:ext>
            </a:extLst>
          </p:cNvPr>
          <p:cNvSpPr txBox="1"/>
          <p:nvPr/>
        </p:nvSpPr>
        <p:spPr>
          <a:xfrm flipH="1">
            <a:off x="660445" y="4328502"/>
            <a:ext cx="1204176" cy="276999"/>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cs typeface="+mn-ea"/>
                <a:sym typeface="+mn-lt"/>
              </a:rPr>
              <a:t>Insert text here</a:t>
            </a:r>
            <a:endParaRPr kumimoji="0" lang="id-ID" sz="1200" b="0" i="0" u="none" strike="noStrike" kern="1200" cap="none" spc="0" normalizeH="0" baseline="0" noProof="0" dirty="0">
              <a:ln>
                <a:noFill/>
              </a:ln>
              <a:solidFill>
                <a:srgbClr val="000000"/>
              </a:solidFill>
              <a:effectLst/>
              <a:uLnTx/>
              <a:uFillTx/>
              <a:latin typeface="Arial"/>
              <a:cs typeface="+mn-ea"/>
              <a:sym typeface="+mn-lt"/>
            </a:endParaRPr>
          </a:p>
        </p:txBody>
      </p:sp>
      <p:sp>
        <p:nvSpPr>
          <p:cNvPr id="37" name="TextBox 54">
            <a:extLst>
              <a:ext uri="{FF2B5EF4-FFF2-40B4-BE49-F238E27FC236}">
                <a16:creationId xmlns:a16="http://schemas.microsoft.com/office/drawing/2014/main" id="{6CFD0C53-F86D-4CEB-8F9B-250C9526520F}"/>
              </a:ext>
            </a:extLst>
          </p:cNvPr>
          <p:cNvSpPr txBox="1"/>
          <p:nvPr/>
        </p:nvSpPr>
        <p:spPr>
          <a:xfrm flipH="1">
            <a:off x="921854" y="3987774"/>
            <a:ext cx="1204176" cy="276999"/>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cs typeface="+mn-ea"/>
                <a:sym typeface="+mn-lt"/>
              </a:rPr>
              <a:t>Insert text here</a:t>
            </a:r>
            <a:endParaRPr kumimoji="0" lang="id-ID" sz="1200" b="0" i="0" u="none" strike="noStrike" kern="1200" cap="none" spc="0" normalizeH="0" baseline="0" noProof="0" dirty="0">
              <a:ln>
                <a:noFill/>
              </a:ln>
              <a:solidFill>
                <a:srgbClr val="000000"/>
              </a:solidFill>
              <a:effectLst/>
              <a:uLnTx/>
              <a:uFillTx/>
              <a:latin typeface="Arial"/>
              <a:cs typeface="+mn-ea"/>
              <a:sym typeface="+mn-lt"/>
            </a:endParaRPr>
          </a:p>
        </p:txBody>
      </p:sp>
      <p:cxnSp>
        <p:nvCxnSpPr>
          <p:cNvPr id="38" name="Straight Arrow Connector 55">
            <a:extLst>
              <a:ext uri="{FF2B5EF4-FFF2-40B4-BE49-F238E27FC236}">
                <a16:creationId xmlns:a16="http://schemas.microsoft.com/office/drawing/2014/main" id="{ED1B2E65-D5C0-4863-BD6A-BC36DDE1513C}"/>
              </a:ext>
            </a:extLst>
          </p:cNvPr>
          <p:cNvCxnSpPr/>
          <p:nvPr/>
        </p:nvCxnSpPr>
        <p:spPr>
          <a:xfrm rot="10800000" flipH="1">
            <a:off x="1688473" y="4813840"/>
            <a:ext cx="406981" cy="0"/>
          </a:xfrm>
          <a:prstGeom prst="straightConnector1">
            <a:avLst/>
          </a:prstGeom>
          <a:ln w="12700">
            <a:solidFill>
              <a:schemeClr val="accent1">
                <a:lumMod val="60000"/>
                <a:lumOff val="40000"/>
              </a:schemeClr>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39" name="Straight Arrow Connector 56">
            <a:extLst>
              <a:ext uri="{FF2B5EF4-FFF2-40B4-BE49-F238E27FC236}">
                <a16:creationId xmlns:a16="http://schemas.microsoft.com/office/drawing/2014/main" id="{8168ED3C-E615-4D44-AEA5-83B8B96F2CDA}"/>
              </a:ext>
            </a:extLst>
          </p:cNvPr>
          <p:cNvCxnSpPr/>
          <p:nvPr/>
        </p:nvCxnSpPr>
        <p:spPr>
          <a:xfrm rot="10800000" flipH="1">
            <a:off x="1880010" y="4467002"/>
            <a:ext cx="406981" cy="0"/>
          </a:xfrm>
          <a:prstGeom prst="straightConnector1">
            <a:avLst/>
          </a:prstGeom>
          <a:ln w="12700">
            <a:solidFill>
              <a:schemeClr val="accent1">
                <a:lumMod val="60000"/>
                <a:lumOff val="40000"/>
              </a:schemeClr>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40" name="Straight Arrow Connector 57">
            <a:extLst>
              <a:ext uri="{FF2B5EF4-FFF2-40B4-BE49-F238E27FC236}">
                <a16:creationId xmlns:a16="http://schemas.microsoft.com/office/drawing/2014/main" id="{B0E0A5F7-E3C7-4B51-9B4E-C17C21427C98}"/>
              </a:ext>
            </a:extLst>
          </p:cNvPr>
          <p:cNvCxnSpPr/>
          <p:nvPr/>
        </p:nvCxnSpPr>
        <p:spPr>
          <a:xfrm rot="10800000" flipH="1">
            <a:off x="2101320" y="4126274"/>
            <a:ext cx="406981" cy="0"/>
          </a:xfrm>
          <a:prstGeom prst="straightConnector1">
            <a:avLst/>
          </a:prstGeom>
          <a:ln w="12700">
            <a:solidFill>
              <a:schemeClr val="accent1">
                <a:lumMod val="60000"/>
                <a:lumOff val="40000"/>
              </a:schemeClr>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41" name="TextBox 58">
            <a:extLst>
              <a:ext uri="{FF2B5EF4-FFF2-40B4-BE49-F238E27FC236}">
                <a16:creationId xmlns:a16="http://schemas.microsoft.com/office/drawing/2014/main" id="{9454DFCE-855E-403F-A986-3F77B805B366}"/>
              </a:ext>
            </a:extLst>
          </p:cNvPr>
          <p:cNvSpPr txBox="1"/>
          <p:nvPr/>
        </p:nvSpPr>
        <p:spPr>
          <a:xfrm flipH="1">
            <a:off x="2839334" y="4708600"/>
            <a:ext cx="1204176" cy="276999"/>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cs typeface="+mn-ea"/>
                <a:sym typeface="+mn-lt"/>
              </a:rPr>
              <a:t>Insert text here</a:t>
            </a:r>
            <a:endParaRPr kumimoji="0" lang="id-ID" sz="1200" b="0" i="0" u="none" strike="noStrike" kern="1200" cap="none" spc="0" normalizeH="0" baseline="0" noProof="0" dirty="0">
              <a:ln>
                <a:noFill/>
              </a:ln>
              <a:solidFill>
                <a:srgbClr val="000000"/>
              </a:solidFill>
              <a:effectLst/>
              <a:uLnTx/>
              <a:uFillTx/>
              <a:latin typeface="Arial"/>
              <a:cs typeface="+mn-ea"/>
              <a:sym typeface="+mn-lt"/>
            </a:endParaRPr>
          </a:p>
        </p:txBody>
      </p:sp>
      <p:sp>
        <p:nvSpPr>
          <p:cNvPr id="42" name="TextBox 59">
            <a:extLst>
              <a:ext uri="{FF2B5EF4-FFF2-40B4-BE49-F238E27FC236}">
                <a16:creationId xmlns:a16="http://schemas.microsoft.com/office/drawing/2014/main" id="{FB7CC5DD-DCCC-436D-AA18-A4805B133ED2}"/>
              </a:ext>
            </a:extLst>
          </p:cNvPr>
          <p:cNvSpPr txBox="1"/>
          <p:nvPr/>
        </p:nvSpPr>
        <p:spPr>
          <a:xfrm flipH="1">
            <a:off x="3047909" y="4363627"/>
            <a:ext cx="1204176" cy="276999"/>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cs typeface="+mn-ea"/>
                <a:sym typeface="+mn-lt"/>
              </a:rPr>
              <a:t>Insert text here</a:t>
            </a:r>
            <a:endParaRPr kumimoji="0" lang="id-ID" sz="1200" b="0" i="0" u="none" strike="noStrike" kern="1200" cap="none" spc="0" normalizeH="0" baseline="0" noProof="0" dirty="0">
              <a:ln>
                <a:noFill/>
              </a:ln>
              <a:solidFill>
                <a:srgbClr val="000000"/>
              </a:solidFill>
              <a:effectLst/>
              <a:uLnTx/>
              <a:uFillTx/>
              <a:latin typeface="Arial"/>
              <a:cs typeface="+mn-ea"/>
              <a:sym typeface="+mn-lt"/>
            </a:endParaRPr>
          </a:p>
        </p:txBody>
      </p:sp>
      <p:sp>
        <p:nvSpPr>
          <p:cNvPr id="43" name="TextBox 60">
            <a:extLst>
              <a:ext uri="{FF2B5EF4-FFF2-40B4-BE49-F238E27FC236}">
                <a16:creationId xmlns:a16="http://schemas.microsoft.com/office/drawing/2014/main" id="{41146B6A-CA8B-48B4-B42B-B3EFFA1512FE}"/>
              </a:ext>
            </a:extLst>
          </p:cNvPr>
          <p:cNvSpPr txBox="1"/>
          <p:nvPr/>
        </p:nvSpPr>
        <p:spPr>
          <a:xfrm flipH="1">
            <a:off x="3309318" y="4022899"/>
            <a:ext cx="1204176" cy="276999"/>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cs typeface="+mn-ea"/>
                <a:sym typeface="+mn-lt"/>
              </a:rPr>
              <a:t>Insert text here</a:t>
            </a:r>
            <a:endParaRPr kumimoji="0" lang="id-ID" sz="1200" b="0" i="0" u="none" strike="noStrike" kern="1200" cap="none" spc="0" normalizeH="0" baseline="0" noProof="0" dirty="0">
              <a:ln>
                <a:noFill/>
              </a:ln>
              <a:solidFill>
                <a:srgbClr val="000000"/>
              </a:solidFill>
              <a:effectLst/>
              <a:uLnTx/>
              <a:uFillTx/>
              <a:latin typeface="Arial"/>
              <a:cs typeface="+mn-ea"/>
              <a:sym typeface="+mn-lt"/>
            </a:endParaRPr>
          </a:p>
        </p:txBody>
      </p:sp>
      <p:cxnSp>
        <p:nvCxnSpPr>
          <p:cNvPr id="44" name="Straight Arrow Connector 61">
            <a:extLst>
              <a:ext uri="{FF2B5EF4-FFF2-40B4-BE49-F238E27FC236}">
                <a16:creationId xmlns:a16="http://schemas.microsoft.com/office/drawing/2014/main" id="{86D1E532-BAD6-49E8-8ADC-3FFBA3E65EB7}"/>
              </a:ext>
            </a:extLst>
          </p:cNvPr>
          <p:cNvCxnSpPr/>
          <p:nvPr/>
        </p:nvCxnSpPr>
        <p:spPr>
          <a:xfrm rot="10800000" flipH="1">
            <a:off x="4075937" y="4848965"/>
            <a:ext cx="406981" cy="0"/>
          </a:xfrm>
          <a:prstGeom prst="straightConnector1">
            <a:avLst/>
          </a:prstGeom>
          <a:ln w="12700">
            <a:solidFill>
              <a:schemeClr val="accent1">
                <a:lumMod val="60000"/>
                <a:lumOff val="40000"/>
              </a:schemeClr>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45" name="Straight Arrow Connector 62">
            <a:extLst>
              <a:ext uri="{FF2B5EF4-FFF2-40B4-BE49-F238E27FC236}">
                <a16:creationId xmlns:a16="http://schemas.microsoft.com/office/drawing/2014/main" id="{BCCAC320-C29B-414B-9761-7993AEA566FE}"/>
              </a:ext>
            </a:extLst>
          </p:cNvPr>
          <p:cNvCxnSpPr/>
          <p:nvPr/>
        </p:nvCxnSpPr>
        <p:spPr>
          <a:xfrm rot="10800000" flipH="1">
            <a:off x="4267474" y="4502127"/>
            <a:ext cx="406981" cy="0"/>
          </a:xfrm>
          <a:prstGeom prst="straightConnector1">
            <a:avLst/>
          </a:prstGeom>
          <a:ln w="12700">
            <a:solidFill>
              <a:schemeClr val="accent1">
                <a:lumMod val="60000"/>
                <a:lumOff val="40000"/>
              </a:schemeClr>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63">
            <a:extLst>
              <a:ext uri="{FF2B5EF4-FFF2-40B4-BE49-F238E27FC236}">
                <a16:creationId xmlns:a16="http://schemas.microsoft.com/office/drawing/2014/main" id="{74BFCB6F-7288-47E5-8BCA-C63E45BA98A4}"/>
              </a:ext>
            </a:extLst>
          </p:cNvPr>
          <p:cNvCxnSpPr/>
          <p:nvPr/>
        </p:nvCxnSpPr>
        <p:spPr>
          <a:xfrm rot="10800000" flipH="1">
            <a:off x="4488784" y="4161399"/>
            <a:ext cx="406981" cy="0"/>
          </a:xfrm>
          <a:prstGeom prst="straightConnector1">
            <a:avLst/>
          </a:prstGeom>
          <a:ln w="12700">
            <a:solidFill>
              <a:schemeClr val="accent1">
                <a:lumMod val="60000"/>
                <a:lumOff val="40000"/>
              </a:schemeClr>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47" name="TextBox 64">
            <a:extLst>
              <a:ext uri="{FF2B5EF4-FFF2-40B4-BE49-F238E27FC236}">
                <a16:creationId xmlns:a16="http://schemas.microsoft.com/office/drawing/2014/main" id="{06D6B158-7CAB-42AD-9131-EF92D5B0DCBB}"/>
              </a:ext>
            </a:extLst>
          </p:cNvPr>
          <p:cNvSpPr txBox="1"/>
          <p:nvPr/>
        </p:nvSpPr>
        <p:spPr>
          <a:xfrm flipH="1">
            <a:off x="5292213" y="4738767"/>
            <a:ext cx="1204176" cy="276999"/>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cs typeface="+mn-ea"/>
                <a:sym typeface="+mn-lt"/>
              </a:rPr>
              <a:t>Insert text here</a:t>
            </a:r>
            <a:endParaRPr kumimoji="0" lang="id-ID" sz="1200" b="0" i="0" u="none" strike="noStrike" kern="1200" cap="none" spc="0" normalizeH="0" baseline="0" noProof="0" dirty="0">
              <a:ln>
                <a:noFill/>
              </a:ln>
              <a:solidFill>
                <a:srgbClr val="000000"/>
              </a:solidFill>
              <a:effectLst/>
              <a:uLnTx/>
              <a:uFillTx/>
              <a:latin typeface="Arial"/>
              <a:cs typeface="+mn-ea"/>
              <a:sym typeface="+mn-lt"/>
            </a:endParaRPr>
          </a:p>
        </p:txBody>
      </p:sp>
      <p:sp>
        <p:nvSpPr>
          <p:cNvPr id="48" name="TextBox 65">
            <a:extLst>
              <a:ext uri="{FF2B5EF4-FFF2-40B4-BE49-F238E27FC236}">
                <a16:creationId xmlns:a16="http://schemas.microsoft.com/office/drawing/2014/main" id="{9962FBCC-37F9-43F5-9A46-48FA331E0480}"/>
              </a:ext>
            </a:extLst>
          </p:cNvPr>
          <p:cNvSpPr txBox="1"/>
          <p:nvPr/>
        </p:nvSpPr>
        <p:spPr>
          <a:xfrm flipH="1">
            <a:off x="5500788" y="4393794"/>
            <a:ext cx="1204176" cy="276999"/>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cs typeface="+mn-ea"/>
                <a:sym typeface="+mn-lt"/>
              </a:rPr>
              <a:t>Insert text here</a:t>
            </a:r>
            <a:endParaRPr kumimoji="0" lang="id-ID" sz="1200" b="0" i="0" u="none" strike="noStrike" kern="1200" cap="none" spc="0" normalizeH="0" baseline="0" noProof="0" dirty="0">
              <a:ln>
                <a:noFill/>
              </a:ln>
              <a:solidFill>
                <a:srgbClr val="000000"/>
              </a:solidFill>
              <a:effectLst/>
              <a:uLnTx/>
              <a:uFillTx/>
              <a:latin typeface="Arial"/>
              <a:cs typeface="+mn-ea"/>
              <a:sym typeface="+mn-lt"/>
            </a:endParaRPr>
          </a:p>
        </p:txBody>
      </p:sp>
      <p:sp>
        <p:nvSpPr>
          <p:cNvPr id="49" name="TextBox 66">
            <a:extLst>
              <a:ext uri="{FF2B5EF4-FFF2-40B4-BE49-F238E27FC236}">
                <a16:creationId xmlns:a16="http://schemas.microsoft.com/office/drawing/2014/main" id="{C958BF03-82C7-4D94-9885-EB0F2E361E9C}"/>
              </a:ext>
            </a:extLst>
          </p:cNvPr>
          <p:cNvSpPr txBox="1"/>
          <p:nvPr/>
        </p:nvSpPr>
        <p:spPr>
          <a:xfrm flipH="1">
            <a:off x="5762197" y="4053066"/>
            <a:ext cx="1204176" cy="276999"/>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cs typeface="+mn-ea"/>
                <a:sym typeface="+mn-lt"/>
              </a:rPr>
              <a:t>Insert text here</a:t>
            </a:r>
            <a:endParaRPr kumimoji="0" lang="id-ID" sz="1200" b="0" i="0" u="none" strike="noStrike" kern="1200" cap="none" spc="0" normalizeH="0" baseline="0" noProof="0" dirty="0">
              <a:ln>
                <a:noFill/>
              </a:ln>
              <a:solidFill>
                <a:srgbClr val="000000"/>
              </a:solidFill>
              <a:effectLst/>
              <a:uLnTx/>
              <a:uFillTx/>
              <a:latin typeface="Arial"/>
              <a:cs typeface="+mn-ea"/>
              <a:sym typeface="+mn-lt"/>
            </a:endParaRPr>
          </a:p>
        </p:txBody>
      </p:sp>
      <p:cxnSp>
        <p:nvCxnSpPr>
          <p:cNvPr id="50" name="Straight Arrow Connector 67">
            <a:extLst>
              <a:ext uri="{FF2B5EF4-FFF2-40B4-BE49-F238E27FC236}">
                <a16:creationId xmlns:a16="http://schemas.microsoft.com/office/drawing/2014/main" id="{2195949F-AF68-4963-8819-C0709398A122}"/>
              </a:ext>
            </a:extLst>
          </p:cNvPr>
          <p:cNvCxnSpPr/>
          <p:nvPr/>
        </p:nvCxnSpPr>
        <p:spPr>
          <a:xfrm rot="10800000" flipH="1">
            <a:off x="6528816" y="4879132"/>
            <a:ext cx="406981" cy="0"/>
          </a:xfrm>
          <a:prstGeom prst="straightConnector1">
            <a:avLst/>
          </a:prstGeom>
          <a:ln w="12700">
            <a:solidFill>
              <a:schemeClr val="accent1">
                <a:lumMod val="60000"/>
                <a:lumOff val="40000"/>
              </a:schemeClr>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51" name="Straight Arrow Connector 68">
            <a:extLst>
              <a:ext uri="{FF2B5EF4-FFF2-40B4-BE49-F238E27FC236}">
                <a16:creationId xmlns:a16="http://schemas.microsoft.com/office/drawing/2014/main" id="{AFEFB831-1674-4745-A04F-FD0E96DE1F2C}"/>
              </a:ext>
            </a:extLst>
          </p:cNvPr>
          <p:cNvCxnSpPr/>
          <p:nvPr/>
        </p:nvCxnSpPr>
        <p:spPr>
          <a:xfrm rot="10800000" flipH="1">
            <a:off x="6720353" y="4532294"/>
            <a:ext cx="406981" cy="0"/>
          </a:xfrm>
          <a:prstGeom prst="straightConnector1">
            <a:avLst/>
          </a:prstGeom>
          <a:ln w="12700">
            <a:solidFill>
              <a:schemeClr val="accent1">
                <a:lumMod val="60000"/>
                <a:lumOff val="40000"/>
              </a:schemeClr>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52" name="Straight Arrow Connector 69">
            <a:extLst>
              <a:ext uri="{FF2B5EF4-FFF2-40B4-BE49-F238E27FC236}">
                <a16:creationId xmlns:a16="http://schemas.microsoft.com/office/drawing/2014/main" id="{DE07B420-B032-4D11-A50E-F0EECBC02806}"/>
              </a:ext>
            </a:extLst>
          </p:cNvPr>
          <p:cNvCxnSpPr/>
          <p:nvPr/>
        </p:nvCxnSpPr>
        <p:spPr>
          <a:xfrm rot="10800000" flipH="1">
            <a:off x="6941663" y="4191566"/>
            <a:ext cx="406981" cy="0"/>
          </a:xfrm>
          <a:prstGeom prst="straightConnector1">
            <a:avLst/>
          </a:prstGeom>
          <a:ln w="12700">
            <a:solidFill>
              <a:schemeClr val="accent1">
                <a:lumMod val="60000"/>
                <a:lumOff val="40000"/>
              </a:schemeClr>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53" name="Straight Arrow Connector 70">
            <a:extLst>
              <a:ext uri="{FF2B5EF4-FFF2-40B4-BE49-F238E27FC236}">
                <a16:creationId xmlns:a16="http://schemas.microsoft.com/office/drawing/2014/main" id="{EE4808E5-CD5E-4009-BABB-7462E974B789}"/>
              </a:ext>
            </a:extLst>
          </p:cNvPr>
          <p:cNvCxnSpPr/>
          <p:nvPr/>
        </p:nvCxnSpPr>
        <p:spPr>
          <a:xfrm rot="10800000" flipH="1">
            <a:off x="9295792" y="3822558"/>
            <a:ext cx="811825" cy="1359138"/>
          </a:xfrm>
          <a:prstGeom prst="straightConnector1">
            <a:avLst/>
          </a:prstGeom>
          <a:ln w="25400">
            <a:solidFill>
              <a:schemeClr val="accent1">
                <a:lumMod val="10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54" name="TextBox 71">
            <a:extLst>
              <a:ext uri="{FF2B5EF4-FFF2-40B4-BE49-F238E27FC236}">
                <a16:creationId xmlns:a16="http://schemas.microsoft.com/office/drawing/2014/main" id="{8508CBF0-7007-4D36-859C-C618F6EECCAC}"/>
              </a:ext>
            </a:extLst>
          </p:cNvPr>
          <p:cNvSpPr txBox="1"/>
          <p:nvPr/>
        </p:nvSpPr>
        <p:spPr>
          <a:xfrm flipH="1">
            <a:off x="7755636" y="4743619"/>
            <a:ext cx="1204176" cy="276999"/>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cs typeface="+mn-ea"/>
                <a:sym typeface="+mn-lt"/>
              </a:rPr>
              <a:t>Insert text here</a:t>
            </a:r>
            <a:endParaRPr kumimoji="0" lang="id-ID" sz="1200" b="0" i="0" u="none" strike="noStrike" kern="1200" cap="none" spc="0" normalizeH="0" baseline="0" noProof="0" dirty="0">
              <a:ln>
                <a:noFill/>
              </a:ln>
              <a:solidFill>
                <a:srgbClr val="000000"/>
              </a:solidFill>
              <a:effectLst/>
              <a:uLnTx/>
              <a:uFillTx/>
              <a:latin typeface="Arial"/>
              <a:cs typeface="+mn-ea"/>
              <a:sym typeface="+mn-lt"/>
            </a:endParaRPr>
          </a:p>
        </p:txBody>
      </p:sp>
      <p:sp>
        <p:nvSpPr>
          <p:cNvPr id="55" name="TextBox 72">
            <a:extLst>
              <a:ext uri="{FF2B5EF4-FFF2-40B4-BE49-F238E27FC236}">
                <a16:creationId xmlns:a16="http://schemas.microsoft.com/office/drawing/2014/main" id="{4B3809C4-E2EA-4B98-AC6C-1332449DDDD1}"/>
              </a:ext>
            </a:extLst>
          </p:cNvPr>
          <p:cNvSpPr txBox="1"/>
          <p:nvPr/>
        </p:nvSpPr>
        <p:spPr>
          <a:xfrm flipH="1">
            <a:off x="7900711" y="4398646"/>
            <a:ext cx="1204176" cy="276999"/>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cs typeface="+mn-ea"/>
                <a:sym typeface="+mn-lt"/>
              </a:rPr>
              <a:t>Insert text here</a:t>
            </a:r>
            <a:endParaRPr kumimoji="0" lang="id-ID" sz="1200" b="0" i="0" u="none" strike="noStrike" kern="1200" cap="none" spc="0" normalizeH="0" baseline="0" noProof="0" dirty="0">
              <a:ln>
                <a:noFill/>
              </a:ln>
              <a:solidFill>
                <a:srgbClr val="000000"/>
              </a:solidFill>
              <a:effectLst/>
              <a:uLnTx/>
              <a:uFillTx/>
              <a:latin typeface="Arial"/>
              <a:cs typeface="+mn-ea"/>
              <a:sym typeface="+mn-lt"/>
            </a:endParaRPr>
          </a:p>
        </p:txBody>
      </p:sp>
      <p:sp>
        <p:nvSpPr>
          <p:cNvPr id="56" name="TextBox 73">
            <a:extLst>
              <a:ext uri="{FF2B5EF4-FFF2-40B4-BE49-F238E27FC236}">
                <a16:creationId xmlns:a16="http://schemas.microsoft.com/office/drawing/2014/main" id="{588B6B51-AA11-4373-AFC4-9ADA4423F926}"/>
              </a:ext>
            </a:extLst>
          </p:cNvPr>
          <p:cNvSpPr txBox="1"/>
          <p:nvPr/>
        </p:nvSpPr>
        <p:spPr>
          <a:xfrm flipH="1">
            <a:off x="8162120" y="4057918"/>
            <a:ext cx="1204176" cy="276999"/>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cs typeface="+mn-ea"/>
                <a:sym typeface="+mn-lt"/>
              </a:rPr>
              <a:t>Insert text here</a:t>
            </a:r>
            <a:endParaRPr kumimoji="0" lang="id-ID" sz="1200" b="0" i="0" u="none" strike="noStrike" kern="1200" cap="none" spc="0" normalizeH="0" baseline="0" noProof="0" dirty="0">
              <a:ln>
                <a:noFill/>
              </a:ln>
              <a:solidFill>
                <a:srgbClr val="000000"/>
              </a:solidFill>
              <a:effectLst/>
              <a:uLnTx/>
              <a:uFillTx/>
              <a:latin typeface="Arial"/>
              <a:cs typeface="+mn-ea"/>
              <a:sym typeface="+mn-lt"/>
            </a:endParaRPr>
          </a:p>
        </p:txBody>
      </p:sp>
      <p:cxnSp>
        <p:nvCxnSpPr>
          <p:cNvPr id="57" name="Straight Arrow Connector 74">
            <a:extLst>
              <a:ext uri="{FF2B5EF4-FFF2-40B4-BE49-F238E27FC236}">
                <a16:creationId xmlns:a16="http://schemas.microsoft.com/office/drawing/2014/main" id="{774C6E43-720B-45F1-A35A-84BD8F17DB51}"/>
              </a:ext>
            </a:extLst>
          </p:cNvPr>
          <p:cNvCxnSpPr/>
          <p:nvPr/>
        </p:nvCxnSpPr>
        <p:spPr>
          <a:xfrm rot="10800000" flipH="1">
            <a:off x="8928739" y="4883984"/>
            <a:ext cx="406981" cy="0"/>
          </a:xfrm>
          <a:prstGeom prst="straightConnector1">
            <a:avLst/>
          </a:prstGeom>
          <a:ln w="12700">
            <a:solidFill>
              <a:schemeClr val="accent1">
                <a:lumMod val="60000"/>
                <a:lumOff val="40000"/>
              </a:schemeClr>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58" name="Straight Arrow Connector 75">
            <a:extLst>
              <a:ext uri="{FF2B5EF4-FFF2-40B4-BE49-F238E27FC236}">
                <a16:creationId xmlns:a16="http://schemas.microsoft.com/office/drawing/2014/main" id="{CEEC0388-7E53-491D-8494-75526E2A3C70}"/>
              </a:ext>
            </a:extLst>
          </p:cNvPr>
          <p:cNvCxnSpPr/>
          <p:nvPr/>
        </p:nvCxnSpPr>
        <p:spPr>
          <a:xfrm rot="10800000" flipH="1">
            <a:off x="9120276" y="4537146"/>
            <a:ext cx="406981" cy="0"/>
          </a:xfrm>
          <a:prstGeom prst="straightConnector1">
            <a:avLst/>
          </a:prstGeom>
          <a:ln w="12700">
            <a:solidFill>
              <a:schemeClr val="accent1">
                <a:lumMod val="60000"/>
                <a:lumOff val="40000"/>
              </a:schemeClr>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59" name="Straight Arrow Connector 76">
            <a:extLst>
              <a:ext uri="{FF2B5EF4-FFF2-40B4-BE49-F238E27FC236}">
                <a16:creationId xmlns:a16="http://schemas.microsoft.com/office/drawing/2014/main" id="{AF9722E0-7C44-4C48-98F8-2A1553BC4805}"/>
              </a:ext>
            </a:extLst>
          </p:cNvPr>
          <p:cNvCxnSpPr/>
          <p:nvPr/>
        </p:nvCxnSpPr>
        <p:spPr>
          <a:xfrm rot="10800000" flipH="1">
            <a:off x="9341586" y="4196418"/>
            <a:ext cx="406981" cy="0"/>
          </a:xfrm>
          <a:prstGeom prst="straightConnector1">
            <a:avLst/>
          </a:prstGeom>
          <a:ln w="12700">
            <a:solidFill>
              <a:schemeClr val="accent1">
                <a:lumMod val="60000"/>
                <a:lumOff val="40000"/>
              </a:schemeClr>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60" name="Oval 78">
            <a:extLst>
              <a:ext uri="{FF2B5EF4-FFF2-40B4-BE49-F238E27FC236}">
                <a16:creationId xmlns:a16="http://schemas.microsoft.com/office/drawing/2014/main" id="{517BC814-E2DE-4E36-B49E-E197D534193B}"/>
              </a:ext>
            </a:extLst>
          </p:cNvPr>
          <p:cNvSpPr/>
          <p:nvPr/>
        </p:nvSpPr>
        <p:spPr>
          <a:xfrm>
            <a:off x="1589488" y="1470017"/>
            <a:ext cx="550859" cy="550859"/>
          </a:xfrm>
          <a:prstGeom prst="ellipse">
            <a:avLst/>
          </a:prstGeom>
          <a:noFill/>
          <a:ln w="31750">
            <a:solidFill>
              <a:schemeClr val="accent1">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FFFFFF"/>
              </a:solidFill>
              <a:effectLst/>
              <a:uLnTx/>
              <a:uFillTx/>
              <a:latin typeface="Arial"/>
              <a:cs typeface="+mn-ea"/>
              <a:sym typeface="+mn-lt"/>
            </a:endParaRPr>
          </a:p>
        </p:txBody>
      </p:sp>
      <p:sp>
        <p:nvSpPr>
          <p:cNvPr id="61" name="Oval 79">
            <a:extLst>
              <a:ext uri="{FF2B5EF4-FFF2-40B4-BE49-F238E27FC236}">
                <a16:creationId xmlns:a16="http://schemas.microsoft.com/office/drawing/2014/main" id="{1CA2D08E-8F09-4CBF-BD07-2FD3D18719AB}"/>
              </a:ext>
            </a:extLst>
          </p:cNvPr>
          <p:cNvSpPr/>
          <p:nvPr/>
        </p:nvSpPr>
        <p:spPr>
          <a:xfrm>
            <a:off x="4080880" y="1470017"/>
            <a:ext cx="550859" cy="550859"/>
          </a:xfrm>
          <a:prstGeom prst="ellipse">
            <a:avLst/>
          </a:prstGeom>
          <a:noFill/>
          <a:ln w="31750">
            <a:solidFill>
              <a:schemeClr val="accent1">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FFFFFF"/>
              </a:solidFill>
              <a:effectLst/>
              <a:uLnTx/>
              <a:uFillTx/>
              <a:latin typeface="Arial"/>
              <a:cs typeface="+mn-ea"/>
              <a:sym typeface="+mn-lt"/>
            </a:endParaRPr>
          </a:p>
        </p:txBody>
      </p:sp>
      <p:sp>
        <p:nvSpPr>
          <p:cNvPr id="62" name="Oval 80">
            <a:extLst>
              <a:ext uri="{FF2B5EF4-FFF2-40B4-BE49-F238E27FC236}">
                <a16:creationId xmlns:a16="http://schemas.microsoft.com/office/drawing/2014/main" id="{AFFD874D-1135-4B56-81A3-DAC9C4517179}"/>
              </a:ext>
            </a:extLst>
          </p:cNvPr>
          <p:cNvSpPr/>
          <p:nvPr/>
        </p:nvSpPr>
        <p:spPr>
          <a:xfrm>
            <a:off x="6471442" y="1470017"/>
            <a:ext cx="550859" cy="550859"/>
          </a:xfrm>
          <a:prstGeom prst="ellipse">
            <a:avLst/>
          </a:prstGeom>
          <a:noFill/>
          <a:ln w="31750">
            <a:solidFill>
              <a:schemeClr val="accent1">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FFFFFF"/>
              </a:solidFill>
              <a:effectLst/>
              <a:uLnTx/>
              <a:uFillTx/>
              <a:latin typeface="Arial"/>
              <a:cs typeface="+mn-ea"/>
              <a:sym typeface="+mn-lt"/>
            </a:endParaRPr>
          </a:p>
        </p:txBody>
      </p:sp>
      <p:sp>
        <p:nvSpPr>
          <p:cNvPr id="63" name="Oval 81">
            <a:extLst>
              <a:ext uri="{FF2B5EF4-FFF2-40B4-BE49-F238E27FC236}">
                <a16:creationId xmlns:a16="http://schemas.microsoft.com/office/drawing/2014/main" id="{DF2F28D2-C193-4079-A3EB-84D39A91A096}"/>
              </a:ext>
            </a:extLst>
          </p:cNvPr>
          <p:cNvSpPr/>
          <p:nvPr/>
        </p:nvSpPr>
        <p:spPr>
          <a:xfrm>
            <a:off x="8882075" y="1470017"/>
            <a:ext cx="550859" cy="550859"/>
          </a:xfrm>
          <a:prstGeom prst="ellipse">
            <a:avLst/>
          </a:prstGeom>
          <a:noFill/>
          <a:ln w="31750">
            <a:solidFill>
              <a:schemeClr val="accent1">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FFFFFF"/>
              </a:solidFill>
              <a:effectLst/>
              <a:uLnTx/>
              <a:uFillTx/>
              <a:latin typeface="Arial"/>
              <a:cs typeface="+mn-ea"/>
              <a:sym typeface="+mn-lt"/>
            </a:endParaRPr>
          </a:p>
        </p:txBody>
      </p:sp>
      <p:sp>
        <p:nvSpPr>
          <p:cNvPr id="64" name="Oval 82">
            <a:extLst>
              <a:ext uri="{FF2B5EF4-FFF2-40B4-BE49-F238E27FC236}">
                <a16:creationId xmlns:a16="http://schemas.microsoft.com/office/drawing/2014/main" id="{EF2670E0-CB03-451F-A7CA-72454E645C87}"/>
              </a:ext>
            </a:extLst>
          </p:cNvPr>
          <p:cNvSpPr/>
          <p:nvPr/>
        </p:nvSpPr>
        <p:spPr>
          <a:xfrm>
            <a:off x="1522813" y="5097572"/>
            <a:ext cx="550859" cy="550859"/>
          </a:xfrm>
          <a:prstGeom prst="ellipse">
            <a:avLst/>
          </a:prstGeom>
          <a:noFill/>
          <a:ln w="31750">
            <a:solidFill>
              <a:schemeClr val="accent1">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FFFFFF"/>
              </a:solidFill>
              <a:effectLst/>
              <a:uLnTx/>
              <a:uFillTx/>
              <a:latin typeface="Arial"/>
              <a:cs typeface="+mn-ea"/>
              <a:sym typeface="+mn-lt"/>
            </a:endParaRPr>
          </a:p>
        </p:txBody>
      </p:sp>
      <p:sp>
        <p:nvSpPr>
          <p:cNvPr id="65" name="Oval 83">
            <a:extLst>
              <a:ext uri="{FF2B5EF4-FFF2-40B4-BE49-F238E27FC236}">
                <a16:creationId xmlns:a16="http://schemas.microsoft.com/office/drawing/2014/main" id="{344456C6-5986-47DF-A337-9A949DE1F782}"/>
              </a:ext>
            </a:extLst>
          </p:cNvPr>
          <p:cNvSpPr/>
          <p:nvPr/>
        </p:nvSpPr>
        <p:spPr>
          <a:xfrm>
            <a:off x="4014205" y="5097572"/>
            <a:ext cx="550859" cy="550859"/>
          </a:xfrm>
          <a:prstGeom prst="ellipse">
            <a:avLst/>
          </a:prstGeom>
          <a:noFill/>
          <a:ln w="31750">
            <a:solidFill>
              <a:schemeClr val="accent1">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FFFFFF"/>
              </a:solidFill>
              <a:effectLst/>
              <a:uLnTx/>
              <a:uFillTx/>
              <a:latin typeface="Arial"/>
              <a:cs typeface="+mn-ea"/>
              <a:sym typeface="+mn-lt"/>
            </a:endParaRPr>
          </a:p>
        </p:txBody>
      </p:sp>
      <p:sp>
        <p:nvSpPr>
          <p:cNvPr id="66" name="Oval 84">
            <a:extLst>
              <a:ext uri="{FF2B5EF4-FFF2-40B4-BE49-F238E27FC236}">
                <a16:creationId xmlns:a16="http://schemas.microsoft.com/office/drawing/2014/main" id="{F9267769-8531-4DBF-9438-62C7BFEDED52}"/>
              </a:ext>
            </a:extLst>
          </p:cNvPr>
          <p:cNvSpPr/>
          <p:nvPr/>
        </p:nvSpPr>
        <p:spPr>
          <a:xfrm>
            <a:off x="6404767" y="5097572"/>
            <a:ext cx="550859" cy="550859"/>
          </a:xfrm>
          <a:prstGeom prst="ellipse">
            <a:avLst/>
          </a:prstGeom>
          <a:noFill/>
          <a:ln w="31750">
            <a:solidFill>
              <a:schemeClr val="accent1">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FFFFFF"/>
              </a:solidFill>
              <a:effectLst/>
              <a:uLnTx/>
              <a:uFillTx/>
              <a:latin typeface="Arial"/>
              <a:cs typeface="+mn-ea"/>
              <a:sym typeface="+mn-lt"/>
            </a:endParaRPr>
          </a:p>
        </p:txBody>
      </p:sp>
      <p:sp>
        <p:nvSpPr>
          <p:cNvPr id="67" name="Oval 85">
            <a:extLst>
              <a:ext uri="{FF2B5EF4-FFF2-40B4-BE49-F238E27FC236}">
                <a16:creationId xmlns:a16="http://schemas.microsoft.com/office/drawing/2014/main" id="{150633F0-BB74-46E4-B4AA-AD40AD75722F}"/>
              </a:ext>
            </a:extLst>
          </p:cNvPr>
          <p:cNvSpPr/>
          <p:nvPr/>
        </p:nvSpPr>
        <p:spPr>
          <a:xfrm>
            <a:off x="8815400" y="5097572"/>
            <a:ext cx="550859" cy="550859"/>
          </a:xfrm>
          <a:prstGeom prst="ellipse">
            <a:avLst/>
          </a:prstGeom>
          <a:noFill/>
          <a:ln w="31750">
            <a:solidFill>
              <a:schemeClr val="accent1">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FFFFFF"/>
              </a:solidFill>
              <a:effectLst/>
              <a:uLnTx/>
              <a:uFillTx/>
              <a:latin typeface="Arial"/>
              <a:cs typeface="+mn-ea"/>
              <a:sym typeface="+mn-lt"/>
            </a:endParaRPr>
          </a:p>
        </p:txBody>
      </p:sp>
      <p:sp>
        <p:nvSpPr>
          <p:cNvPr id="68" name="TextBox 86">
            <a:extLst>
              <a:ext uri="{FF2B5EF4-FFF2-40B4-BE49-F238E27FC236}">
                <a16:creationId xmlns:a16="http://schemas.microsoft.com/office/drawing/2014/main" id="{6D9F71B6-975D-4224-88C1-F51E21213479}"/>
              </a:ext>
            </a:extLst>
          </p:cNvPr>
          <p:cNvSpPr txBox="1"/>
          <p:nvPr/>
        </p:nvSpPr>
        <p:spPr>
          <a:xfrm>
            <a:off x="1393544" y="1169955"/>
            <a:ext cx="912429" cy="276999"/>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d-ID" sz="1200" b="1" i="0" u="none" strike="noStrike" kern="1200" cap="none" spc="0" normalizeH="0" baseline="0" noProof="0" dirty="0">
                <a:ln>
                  <a:noFill/>
                </a:ln>
                <a:solidFill>
                  <a:srgbClr val="000000"/>
                </a:solidFill>
                <a:effectLst/>
                <a:uLnTx/>
                <a:uFillTx/>
                <a:latin typeface="Arial"/>
                <a:cs typeface="+mn-ea"/>
                <a:sym typeface="+mn-lt"/>
              </a:rPr>
              <a:t>Content 1</a:t>
            </a:r>
          </a:p>
        </p:txBody>
      </p:sp>
      <p:sp>
        <p:nvSpPr>
          <p:cNvPr id="69" name="TextBox 87">
            <a:extLst>
              <a:ext uri="{FF2B5EF4-FFF2-40B4-BE49-F238E27FC236}">
                <a16:creationId xmlns:a16="http://schemas.microsoft.com/office/drawing/2014/main" id="{9E9412C8-2425-4978-96BA-D3DA0CFBB596}"/>
              </a:ext>
            </a:extLst>
          </p:cNvPr>
          <p:cNvSpPr txBox="1"/>
          <p:nvPr/>
        </p:nvSpPr>
        <p:spPr>
          <a:xfrm>
            <a:off x="1326869" y="5657758"/>
            <a:ext cx="912429" cy="276999"/>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d-ID" sz="1200" b="1" i="0" u="none" strike="noStrike" kern="1200" cap="none" spc="0" normalizeH="0" baseline="0" noProof="0" dirty="0">
                <a:ln>
                  <a:noFill/>
                </a:ln>
                <a:solidFill>
                  <a:srgbClr val="000000"/>
                </a:solidFill>
                <a:effectLst/>
                <a:uLnTx/>
                <a:uFillTx/>
                <a:latin typeface="Arial"/>
                <a:cs typeface="+mn-ea"/>
                <a:sym typeface="+mn-lt"/>
              </a:rPr>
              <a:t>Content 1</a:t>
            </a:r>
          </a:p>
        </p:txBody>
      </p:sp>
      <p:sp>
        <p:nvSpPr>
          <p:cNvPr id="70" name="TextBox 88">
            <a:extLst>
              <a:ext uri="{FF2B5EF4-FFF2-40B4-BE49-F238E27FC236}">
                <a16:creationId xmlns:a16="http://schemas.microsoft.com/office/drawing/2014/main" id="{640F6435-8A6B-4811-AC61-C2ED8B39A0EC}"/>
              </a:ext>
            </a:extLst>
          </p:cNvPr>
          <p:cNvSpPr txBox="1"/>
          <p:nvPr/>
        </p:nvSpPr>
        <p:spPr>
          <a:xfrm>
            <a:off x="3935540" y="1169955"/>
            <a:ext cx="894797" cy="276999"/>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d-ID" sz="1200" b="1" i="0" u="none" strike="noStrike" kern="1200" cap="none" spc="0" normalizeH="0" baseline="0" noProof="0" dirty="0">
                <a:ln>
                  <a:noFill/>
                </a:ln>
                <a:solidFill>
                  <a:srgbClr val="000000"/>
                </a:solidFill>
                <a:effectLst/>
                <a:uLnTx/>
                <a:uFillTx/>
                <a:latin typeface="Arial"/>
                <a:cs typeface="+mn-ea"/>
                <a:sym typeface="+mn-lt"/>
              </a:rPr>
              <a:t>Content </a:t>
            </a:r>
            <a:r>
              <a:rPr kumimoji="0" lang="en-US" sz="1200" b="1" i="0" u="none" strike="noStrike" kern="1200" cap="none" spc="0" normalizeH="0" baseline="0" noProof="0" dirty="0">
                <a:ln>
                  <a:noFill/>
                </a:ln>
                <a:solidFill>
                  <a:srgbClr val="000000"/>
                </a:solidFill>
                <a:effectLst/>
                <a:uLnTx/>
                <a:uFillTx/>
                <a:latin typeface="Arial"/>
                <a:cs typeface="+mn-ea"/>
                <a:sym typeface="+mn-lt"/>
              </a:rPr>
              <a:t>2</a:t>
            </a:r>
            <a:endParaRPr kumimoji="0" lang="id-ID" sz="1200" b="1" i="0" u="none" strike="noStrike" kern="1200" cap="none" spc="0" normalizeH="0" baseline="0" noProof="0" dirty="0">
              <a:ln>
                <a:noFill/>
              </a:ln>
              <a:solidFill>
                <a:srgbClr val="000000"/>
              </a:solidFill>
              <a:effectLst/>
              <a:uLnTx/>
              <a:uFillTx/>
              <a:latin typeface="Arial"/>
              <a:cs typeface="+mn-ea"/>
              <a:sym typeface="+mn-lt"/>
            </a:endParaRPr>
          </a:p>
        </p:txBody>
      </p:sp>
      <p:sp>
        <p:nvSpPr>
          <p:cNvPr id="71" name="TextBox 89">
            <a:extLst>
              <a:ext uri="{FF2B5EF4-FFF2-40B4-BE49-F238E27FC236}">
                <a16:creationId xmlns:a16="http://schemas.microsoft.com/office/drawing/2014/main" id="{D79B408F-EE10-45A7-8095-EF6941D12064}"/>
              </a:ext>
            </a:extLst>
          </p:cNvPr>
          <p:cNvSpPr txBox="1"/>
          <p:nvPr/>
        </p:nvSpPr>
        <p:spPr>
          <a:xfrm>
            <a:off x="3868865" y="5657758"/>
            <a:ext cx="894797" cy="276999"/>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d-ID" sz="1200" b="1" i="0" u="none" strike="noStrike" kern="1200" cap="none" spc="0" normalizeH="0" baseline="0" noProof="0" dirty="0">
                <a:ln>
                  <a:noFill/>
                </a:ln>
                <a:solidFill>
                  <a:srgbClr val="000000"/>
                </a:solidFill>
                <a:effectLst/>
                <a:uLnTx/>
                <a:uFillTx/>
                <a:latin typeface="Arial"/>
                <a:cs typeface="+mn-ea"/>
                <a:sym typeface="+mn-lt"/>
              </a:rPr>
              <a:t>Content </a:t>
            </a:r>
            <a:r>
              <a:rPr kumimoji="0" lang="en-US" sz="1200" b="1" i="0" u="none" strike="noStrike" kern="1200" cap="none" spc="0" normalizeH="0" baseline="0" noProof="0" dirty="0">
                <a:ln>
                  <a:noFill/>
                </a:ln>
                <a:solidFill>
                  <a:srgbClr val="000000"/>
                </a:solidFill>
                <a:effectLst/>
                <a:uLnTx/>
                <a:uFillTx/>
                <a:latin typeface="Arial"/>
                <a:cs typeface="+mn-ea"/>
                <a:sym typeface="+mn-lt"/>
              </a:rPr>
              <a:t>2</a:t>
            </a:r>
            <a:endParaRPr kumimoji="0" lang="id-ID" sz="1200" b="1" i="0" u="none" strike="noStrike" kern="1200" cap="none" spc="0" normalizeH="0" baseline="0" noProof="0" dirty="0">
              <a:ln>
                <a:noFill/>
              </a:ln>
              <a:solidFill>
                <a:srgbClr val="000000"/>
              </a:solidFill>
              <a:effectLst/>
              <a:uLnTx/>
              <a:uFillTx/>
              <a:latin typeface="Arial"/>
              <a:cs typeface="+mn-ea"/>
              <a:sym typeface="+mn-lt"/>
            </a:endParaRPr>
          </a:p>
        </p:txBody>
      </p:sp>
      <p:sp>
        <p:nvSpPr>
          <p:cNvPr id="72" name="TextBox 90">
            <a:extLst>
              <a:ext uri="{FF2B5EF4-FFF2-40B4-BE49-F238E27FC236}">
                <a16:creationId xmlns:a16="http://schemas.microsoft.com/office/drawing/2014/main" id="{262541CE-8098-4FEF-856A-834C5B623651}"/>
              </a:ext>
            </a:extLst>
          </p:cNvPr>
          <p:cNvSpPr txBox="1"/>
          <p:nvPr/>
        </p:nvSpPr>
        <p:spPr>
          <a:xfrm>
            <a:off x="6318152" y="1169955"/>
            <a:ext cx="894797" cy="276999"/>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d-ID" sz="1200" b="1" i="0" u="none" strike="noStrike" kern="1200" cap="none" spc="0" normalizeH="0" baseline="0" noProof="0" dirty="0">
                <a:ln>
                  <a:noFill/>
                </a:ln>
                <a:solidFill>
                  <a:srgbClr val="000000"/>
                </a:solidFill>
                <a:effectLst/>
                <a:uLnTx/>
                <a:uFillTx/>
                <a:latin typeface="Arial"/>
                <a:cs typeface="+mn-ea"/>
                <a:sym typeface="+mn-lt"/>
              </a:rPr>
              <a:t>Content </a:t>
            </a:r>
            <a:r>
              <a:rPr kumimoji="0" lang="en-US" sz="1200" b="1" i="0" u="none" strike="noStrike" kern="1200" cap="none" spc="0" normalizeH="0" baseline="0" noProof="0" dirty="0">
                <a:ln>
                  <a:noFill/>
                </a:ln>
                <a:solidFill>
                  <a:srgbClr val="000000"/>
                </a:solidFill>
                <a:effectLst/>
                <a:uLnTx/>
                <a:uFillTx/>
                <a:latin typeface="Arial"/>
                <a:cs typeface="+mn-ea"/>
                <a:sym typeface="+mn-lt"/>
              </a:rPr>
              <a:t>3</a:t>
            </a:r>
            <a:endParaRPr kumimoji="0" lang="id-ID" sz="1200" b="1" i="0" u="none" strike="noStrike" kern="1200" cap="none" spc="0" normalizeH="0" baseline="0" noProof="0" dirty="0">
              <a:ln>
                <a:noFill/>
              </a:ln>
              <a:solidFill>
                <a:srgbClr val="000000"/>
              </a:solidFill>
              <a:effectLst/>
              <a:uLnTx/>
              <a:uFillTx/>
              <a:latin typeface="Arial"/>
              <a:cs typeface="+mn-ea"/>
              <a:sym typeface="+mn-lt"/>
            </a:endParaRPr>
          </a:p>
        </p:txBody>
      </p:sp>
      <p:sp>
        <p:nvSpPr>
          <p:cNvPr id="73" name="TextBox 91">
            <a:extLst>
              <a:ext uri="{FF2B5EF4-FFF2-40B4-BE49-F238E27FC236}">
                <a16:creationId xmlns:a16="http://schemas.microsoft.com/office/drawing/2014/main" id="{C5DE6F6F-7EB3-40BA-BC17-ABE3774D91BC}"/>
              </a:ext>
            </a:extLst>
          </p:cNvPr>
          <p:cNvSpPr txBox="1"/>
          <p:nvPr/>
        </p:nvSpPr>
        <p:spPr>
          <a:xfrm>
            <a:off x="6251477" y="5657758"/>
            <a:ext cx="894797" cy="276999"/>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d-ID" sz="1200" b="1" i="0" u="none" strike="noStrike" kern="1200" cap="none" spc="0" normalizeH="0" baseline="0" noProof="0" dirty="0">
                <a:ln>
                  <a:noFill/>
                </a:ln>
                <a:solidFill>
                  <a:srgbClr val="000000"/>
                </a:solidFill>
                <a:effectLst/>
                <a:uLnTx/>
                <a:uFillTx/>
                <a:latin typeface="Arial"/>
                <a:cs typeface="+mn-ea"/>
                <a:sym typeface="+mn-lt"/>
              </a:rPr>
              <a:t>Content </a:t>
            </a:r>
            <a:r>
              <a:rPr kumimoji="0" lang="en-US" sz="1200" b="1" i="0" u="none" strike="noStrike" kern="1200" cap="none" spc="0" normalizeH="0" baseline="0" noProof="0" dirty="0">
                <a:ln>
                  <a:noFill/>
                </a:ln>
                <a:solidFill>
                  <a:srgbClr val="000000"/>
                </a:solidFill>
                <a:effectLst/>
                <a:uLnTx/>
                <a:uFillTx/>
                <a:latin typeface="Arial"/>
                <a:cs typeface="+mn-ea"/>
                <a:sym typeface="+mn-lt"/>
              </a:rPr>
              <a:t>3</a:t>
            </a:r>
            <a:endParaRPr kumimoji="0" lang="id-ID" sz="1200" b="1" i="0" u="none" strike="noStrike" kern="1200" cap="none" spc="0" normalizeH="0" baseline="0" noProof="0" dirty="0">
              <a:ln>
                <a:noFill/>
              </a:ln>
              <a:solidFill>
                <a:srgbClr val="000000"/>
              </a:solidFill>
              <a:effectLst/>
              <a:uLnTx/>
              <a:uFillTx/>
              <a:latin typeface="Arial"/>
              <a:cs typeface="+mn-ea"/>
              <a:sym typeface="+mn-lt"/>
            </a:endParaRPr>
          </a:p>
        </p:txBody>
      </p:sp>
      <p:sp>
        <p:nvSpPr>
          <p:cNvPr id="74" name="TextBox 92">
            <a:extLst>
              <a:ext uri="{FF2B5EF4-FFF2-40B4-BE49-F238E27FC236}">
                <a16:creationId xmlns:a16="http://schemas.microsoft.com/office/drawing/2014/main" id="{C7A8CAE0-EB15-48E9-81E2-AB5B89BD66BF}"/>
              </a:ext>
            </a:extLst>
          </p:cNvPr>
          <p:cNvSpPr txBox="1"/>
          <p:nvPr/>
        </p:nvSpPr>
        <p:spPr>
          <a:xfrm>
            <a:off x="8728727" y="1169955"/>
            <a:ext cx="894797" cy="276999"/>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d-ID" sz="1200" b="1" i="0" u="none" strike="noStrike" kern="1200" cap="none" spc="0" normalizeH="0" baseline="0" noProof="0" dirty="0">
                <a:ln>
                  <a:noFill/>
                </a:ln>
                <a:solidFill>
                  <a:srgbClr val="000000"/>
                </a:solidFill>
                <a:effectLst/>
                <a:uLnTx/>
                <a:uFillTx/>
                <a:latin typeface="Arial"/>
                <a:cs typeface="+mn-ea"/>
                <a:sym typeface="+mn-lt"/>
              </a:rPr>
              <a:t>Content </a:t>
            </a:r>
            <a:r>
              <a:rPr kumimoji="0" lang="en-US" sz="1200" b="1" i="0" u="none" strike="noStrike" kern="1200" cap="none" spc="0" normalizeH="0" baseline="0" noProof="0" dirty="0">
                <a:ln>
                  <a:noFill/>
                </a:ln>
                <a:solidFill>
                  <a:srgbClr val="000000"/>
                </a:solidFill>
                <a:effectLst/>
                <a:uLnTx/>
                <a:uFillTx/>
                <a:latin typeface="Arial"/>
                <a:cs typeface="+mn-ea"/>
                <a:sym typeface="+mn-lt"/>
              </a:rPr>
              <a:t>4</a:t>
            </a:r>
            <a:endParaRPr kumimoji="0" lang="id-ID" sz="1200" b="1" i="0" u="none" strike="noStrike" kern="1200" cap="none" spc="0" normalizeH="0" baseline="0" noProof="0" dirty="0">
              <a:ln>
                <a:noFill/>
              </a:ln>
              <a:solidFill>
                <a:srgbClr val="000000"/>
              </a:solidFill>
              <a:effectLst/>
              <a:uLnTx/>
              <a:uFillTx/>
              <a:latin typeface="Arial"/>
              <a:cs typeface="+mn-ea"/>
              <a:sym typeface="+mn-lt"/>
            </a:endParaRPr>
          </a:p>
        </p:txBody>
      </p:sp>
      <p:sp>
        <p:nvSpPr>
          <p:cNvPr id="75" name="TextBox 93">
            <a:extLst>
              <a:ext uri="{FF2B5EF4-FFF2-40B4-BE49-F238E27FC236}">
                <a16:creationId xmlns:a16="http://schemas.microsoft.com/office/drawing/2014/main" id="{13033AF6-B5EE-42B8-831B-0F7715BECB29}"/>
              </a:ext>
            </a:extLst>
          </p:cNvPr>
          <p:cNvSpPr txBox="1"/>
          <p:nvPr/>
        </p:nvSpPr>
        <p:spPr>
          <a:xfrm>
            <a:off x="8662052" y="5657758"/>
            <a:ext cx="894797" cy="276999"/>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d-ID" sz="1200" b="1" i="0" u="none" strike="noStrike" kern="1200" cap="none" spc="0" normalizeH="0" baseline="0" noProof="0" dirty="0">
                <a:ln>
                  <a:noFill/>
                </a:ln>
                <a:solidFill>
                  <a:srgbClr val="000000"/>
                </a:solidFill>
                <a:effectLst/>
                <a:uLnTx/>
                <a:uFillTx/>
                <a:latin typeface="Arial"/>
                <a:cs typeface="+mn-ea"/>
                <a:sym typeface="+mn-lt"/>
              </a:rPr>
              <a:t>Content </a:t>
            </a:r>
            <a:r>
              <a:rPr kumimoji="0" lang="en-US" sz="1200" b="1" i="0" u="none" strike="noStrike" kern="1200" cap="none" spc="0" normalizeH="0" baseline="0" noProof="0" dirty="0">
                <a:ln>
                  <a:noFill/>
                </a:ln>
                <a:solidFill>
                  <a:srgbClr val="000000"/>
                </a:solidFill>
                <a:effectLst/>
                <a:uLnTx/>
                <a:uFillTx/>
                <a:latin typeface="Arial"/>
                <a:cs typeface="+mn-ea"/>
                <a:sym typeface="+mn-lt"/>
              </a:rPr>
              <a:t>4</a:t>
            </a:r>
            <a:endParaRPr kumimoji="0" lang="id-ID" sz="1200" b="1" i="0" u="none" strike="noStrike" kern="1200" cap="none" spc="0" normalizeH="0" baseline="0" noProof="0" dirty="0">
              <a:ln>
                <a:noFill/>
              </a:ln>
              <a:solidFill>
                <a:srgbClr val="000000"/>
              </a:solidFill>
              <a:effectLst/>
              <a:uLnTx/>
              <a:uFillTx/>
              <a:latin typeface="Arial"/>
              <a:cs typeface="+mn-ea"/>
              <a:sym typeface="+mn-lt"/>
            </a:endParaRPr>
          </a:p>
        </p:txBody>
      </p:sp>
      <p:sp>
        <p:nvSpPr>
          <p:cNvPr id="76" name="Freeform 313">
            <a:extLst>
              <a:ext uri="{FF2B5EF4-FFF2-40B4-BE49-F238E27FC236}">
                <a16:creationId xmlns:a16="http://schemas.microsoft.com/office/drawing/2014/main" id="{4329FCC7-B549-4266-B1E0-A746271E974F}"/>
              </a:ext>
            </a:extLst>
          </p:cNvPr>
          <p:cNvSpPr>
            <a:spLocks noEditPoints="1"/>
          </p:cNvSpPr>
          <p:nvPr/>
        </p:nvSpPr>
        <p:spPr bwMode="auto">
          <a:xfrm>
            <a:off x="1729833" y="1602616"/>
            <a:ext cx="270169" cy="299992"/>
          </a:xfrm>
          <a:custGeom>
            <a:avLst/>
            <a:gdLst>
              <a:gd name="T0" fmla="*/ 39 w 65"/>
              <a:gd name="T1" fmla="*/ 31 h 70"/>
              <a:gd name="T2" fmla="*/ 11 w 65"/>
              <a:gd name="T3" fmla="*/ 30 h 70"/>
              <a:gd name="T4" fmla="*/ 39 w 65"/>
              <a:gd name="T5" fmla="*/ 29 h 70"/>
              <a:gd name="T6" fmla="*/ 12 w 65"/>
              <a:gd name="T7" fmla="*/ 24 h 70"/>
              <a:gd name="T8" fmla="*/ 40 w 65"/>
              <a:gd name="T9" fmla="*/ 23 h 70"/>
              <a:gd name="T10" fmla="*/ 12 w 65"/>
              <a:gd name="T11" fmla="*/ 22 h 70"/>
              <a:gd name="T12" fmla="*/ 12 w 65"/>
              <a:gd name="T13" fmla="*/ 24 h 70"/>
              <a:gd name="T14" fmla="*/ 48 w 65"/>
              <a:gd name="T15" fmla="*/ 70 h 70"/>
              <a:gd name="T16" fmla="*/ 44 w 65"/>
              <a:gd name="T17" fmla="*/ 70 h 70"/>
              <a:gd name="T18" fmla="*/ 0 w 65"/>
              <a:gd name="T19" fmla="*/ 63 h 70"/>
              <a:gd name="T20" fmla="*/ 6 w 65"/>
              <a:gd name="T21" fmla="*/ 4 h 70"/>
              <a:gd name="T22" fmla="*/ 17 w 65"/>
              <a:gd name="T23" fmla="*/ 0 h 70"/>
              <a:gd name="T24" fmla="*/ 37 w 65"/>
              <a:gd name="T25" fmla="*/ 4 h 70"/>
              <a:gd name="T26" fmla="*/ 51 w 65"/>
              <a:gd name="T27" fmla="*/ 10 h 70"/>
              <a:gd name="T28" fmla="*/ 65 w 65"/>
              <a:gd name="T29" fmla="*/ 53 h 70"/>
              <a:gd name="T30" fmla="*/ 17 w 65"/>
              <a:gd name="T31" fmla="*/ 8 h 70"/>
              <a:gd name="T32" fmla="*/ 35 w 65"/>
              <a:gd name="T33" fmla="*/ 7 h 70"/>
              <a:gd name="T34" fmla="*/ 34 w 65"/>
              <a:gd name="T35" fmla="*/ 2 h 70"/>
              <a:gd name="T36" fmla="*/ 16 w 65"/>
              <a:gd name="T37" fmla="*/ 4 h 70"/>
              <a:gd name="T38" fmla="*/ 40 w 65"/>
              <a:gd name="T39" fmla="*/ 68 h 70"/>
              <a:gd name="T40" fmla="*/ 6 w 65"/>
              <a:gd name="T41" fmla="*/ 64 h 70"/>
              <a:gd name="T42" fmla="*/ 5 w 65"/>
              <a:gd name="T43" fmla="*/ 14 h 70"/>
              <a:gd name="T44" fmla="*/ 45 w 65"/>
              <a:gd name="T45" fmla="*/ 13 h 70"/>
              <a:gd name="T46" fmla="*/ 46 w 65"/>
              <a:gd name="T47" fmla="*/ 36 h 70"/>
              <a:gd name="T48" fmla="*/ 49 w 65"/>
              <a:gd name="T49" fmla="*/ 36 h 70"/>
              <a:gd name="T50" fmla="*/ 45 w 65"/>
              <a:gd name="T51" fmla="*/ 6 h 70"/>
              <a:gd name="T52" fmla="*/ 37 w 65"/>
              <a:gd name="T53" fmla="*/ 7 h 70"/>
              <a:gd name="T54" fmla="*/ 17 w 65"/>
              <a:gd name="T55" fmla="*/ 10 h 70"/>
              <a:gd name="T56" fmla="*/ 14 w 65"/>
              <a:gd name="T57" fmla="*/ 6 h 70"/>
              <a:gd name="T58" fmla="*/ 2 w 65"/>
              <a:gd name="T59" fmla="*/ 10 h 70"/>
              <a:gd name="T60" fmla="*/ 6 w 65"/>
              <a:gd name="T61" fmla="*/ 68 h 70"/>
              <a:gd name="T62" fmla="*/ 40 w 65"/>
              <a:gd name="T63" fmla="*/ 38 h 70"/>
              <a:gd name="T64" fmla="*/ 39 w 65"/>
              <a:gd name="T65" fmla="*/ 39 h 70"/>
              <a:gd name="T66" fmla="*/ 44 w 65"/>
              <a:gd name="T67" fmla="*/ 37 h 70"/>
              <a:gd name="T68" fmla="*/ 7 w 65"/>
              <a:gd name="T69" fmla="*/ 15 h 70"/>
              <a:gd name="T70" fmla="*/ 34 w 65"/>
              <a:gd name="T71" fmla="*/ 62 h 70"/>
              <a:gd name="T72" fmla="*/ 12 w 65"/>
              <a:gd name="T73" fmla="*/ 54 h 70"/>
              <a:gd name="T74" fmla="*/ 12 w 65"/>
              <a:gd name="T75" fmla="*/ 52 h 70"/>
              <a:gd name="T76" fmla="*/ 31 w 65"/>
              <a:gd name="T77" fmla="*/ 53 h 70"/>
              <a:gd name="T78" fmla="*/ 12 w 65"/>
              <a:gd name="T79" fmla="*/ 47 h 70"/>
              <a:gd name="T80" fmla="*/ 12 w 65"/>
              <a:gd name="T81" fmla="*/ 45 h 70"/>
              <a:gd name="T82" fmla="*/ 39 w 65"/>
              <a:gd name="T83" fmla="*/ 39 h 70"/>
              <a:gd name="T84" fmla="*/ 11 w 65"/>
              <a:gd name="T85" fmla="*/ 38 h 70"/>
              <a:gd name="T86" fmla="*/ 39 w 65"/>
              <a:gd name="T87" fmla="*/ 37 h 70"/>
              <a:gd name="T88" fmla="*/ 63 w 65"/>
              <a:gd name="T89" fmla="*/ 53 h 70"/>
              <a:gd name="T90" fmla="*/ 33 w 65"/>
              <a:gd name="T91" fmla="*/ 53 h 70"/>
              <a:gd name="T92" fmla="*/ 63 w 65"/>
              <a:gd name="T93" fmla="*/ 53 h 70"/>
              <a:gd name="T94" fmla="*/ 46 w 65"/>
              <a:gd name="T95" fmla="*/ 57 h 70"/>
              <a:gd name="T96" fmla="*/ 39 w 65"/>
              <a:gd name="T97" fmla="*/ 52 h 70"/>
              <a:gd name="T98" fmla="*/ 45 w 65"/>
              <a:gd name="T99" fmla="*/ 59 h 70"/>
              <a:gd name="T100" fmla="*/ 47 w 65"/>
              <a:gd name="T101" fmla="*/ 59 h 70"/>
              <a:gd name="T102" fmla="*/ 58 w 65"/>
              <a:gd name="T103" fmla="*/ 48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5" h="70">
                <a:moveTo>
                  <a:pt x="40" y="30"/>
                </a:moveTo>
                <a:cubicBezTo>
                  <a:pt x="40" y="31"/>
                  <a:pt x="40" y="31"/>
                  <a:pt x="39" y="31"/>
                </a:cubicBezTo>
                <a:cubicBezTo>
                  <a:pt x="12" y="31"/>
                  <a:pt x="12" y="31"/>
                  <a:pt x="12" y="31"/>
                </a:cubicBezTo>
                <a:cubicBezTo>
                  <a:pt x="12" y="31"/>
                  <a:pt x="11" y="31"/>
                  <a:pt x="11" y="30"/>
                </a:cubicBezTo>
                <a:cubicBezTo>
                  <a:pt x="11" y="30"/>
                  <a:pt x="12" y="29"/>
                  <a:pt x="12" y="29"/>
                </a:cubicBezTo>
                <a:cubicBezTo>
                  <a:pt x="39" y="29"/>
                  <a:pt x="39" y="29"/>
                  <a:pt x="39" y="29"/>
                </a:cubicBezTo>
                <a:cubicBezTo>
                  <a:pt x="40" y="29"/>
                  <a:pt x="40" y="30"/>
                  <a:pt x="40" y="30"/>
                </a:cubicBezTo>
                <a:close/>
                <a:moveTo>
                  <a:pt x="12" y="24"/>
                </a:moveTo>
                <a:cubicBezTo>
                  <a:pt x="39" y="24"/>
                  <a:pt x="39" y="24"/>
                  <a:pt x="39" y="24"/>
                </a:cubicBezTo>
                <a:cubicBezTo>
                  <a:pt x="40" y="24"/>
                  <a:pt x="40" y="23"/>
                  <a:pt x="40" y="23"/>
                </a:cubicBezTo>
                <a:cubicBezTo>
                  <a:pt x="40" y="22"/>
                  <a:pt x="40" y="22"/>
                  <a:pt x="39" y="22"/>
                </a:cubicBezTo>
                <a:cubicBezTo>
                  <a:pt x="12" y="22"/>
                  <a:pt x="12" y="22"/>
                  <a:pt x="12" y="22"/>
                </a:cubicBezTo>
                <a:cubicBezTo>
                  <a:pt x="12" y="22"/>
                  <a:pt x="11" y="22"/>
                  <a:pt x="11" y="23"/>
                </a:cubicBezTo>
                <a:cubicBezTo>
                  <a:pt x="11" y="23"/>
                  <a:pt x="12" y="24"/>
                  <a:pt x="12" y="24"/>
                </a:cubicBezTo>
                <a:close/>
                <a:moveTo>
                  <a:pt x="65" y="53"/>
                </a:moveTo>
                <a:cubicBezTo>
                  <a:pt x="65" y="63"/>
                  <a:pt x="58" y="70"/>
                  <a:pt x="48" y="70"/>
                </a:cubicBezTo>
                <a:cubicBezTo>
                  <a:pt x="47" y="70"/>
                  <a:pt x="46" y="70"/>
                  <a:pt x="44" y="70"/>
                </a:cubicBezTo>
                <a:cubicBezTo>
                  <a:pt x="44" y="70"/>
                  <a:pt x="44" y="70"/>
                  <a:pt x="44" y="70"/>
                </a:cubicBezTo>
                <a:cubicBezTo>
                  <a:pt x="6" y="70"/>
                  <a:pt x="6" y="70"/>
                  <a:pt x="6" y="70"/>
                </a:cubicBezTo>
                <a:cubicBezTo>
                  <a:pt x="3" y="70"/>
                  <a:pt x="0" y="67"/>
                  <a:pt x="0" y="63"/>
                </a:cubicBezTo>
                <a:cubicBezTo>
                  <a:pt x="0" y="10"/>
                  <a:pt x="0" y="10"/>
                  <a:pt x="0" y="10"/>
                </a:cubicBezTo>
                <a:cubicBezTo>
                  <a:pt x="0" y="7"/>
                  <a:pt x="3" y="4"/>
                  <a:pt x="6" y="4"/>
                </a:cubicBezTo>
                <a:cubicBezTo>
                  <a:pt x="14" y="4"/>
                  <a:pt x="14" y="4"/>
                  <a:pt x="14" y="4"/>
                </a:cubicBezTo>
                <a:cubicBezTo>
                  <a:pt x="14" y="2"/>
                  <a:pt x="15" y="0"/>
                  <a:pt x="17" y="0"/>
                </a:cubicBezTo>
                <a:cubicBezTo>
                  <a:pt x="34" y="0"/>
                  <a:pt x="34" y="0"/>
                  <a:pt x="34" y="0"/>
                </a:cubicBezTo>
                <a:cubicBezTo>
                  <a:pt x="35" y="0"/>
                  <a:pt x="37" y="2"/>
                  <a:pt x="37" y="4"/>
                </a:cubicBezTo>
                <a:cubicBezTo>
                  <a:pt x="45" y="4"/>
                  <a:pt x="45" y="4"/>
                  <a:pt x="45" y="4"/>
                </a:cubicBezTo>
                <a:cubicBezTo>
                  <a:pt x="48" y="4"/>
                  <a:pt x="51" y="7"/>
                  <a:pt x="51" y="10"/>
                </a:cubicBezTo>
                <a:cubicBezTo>
                  <a:pt x="51" y="36"/>
                  <a:pt x="51" y="36"/>
                  <a:pt x="51" y="36"/>
                </a:cubicBezTo>
                <a:cubicBezTo>
                  <a:pt x="59" y="38"/>
                  <a:pt x="65" y="45"/>
                  <a:pt x="65" y="53"/>
                </a:cubicBezTo>
                <a:close/>
                <a:moveTo>
                  <a:pt x="16" y="7"/>
                </a:moveTo>
                <a:cubicBezTo>
                  <a:pt x="16" y="8"/>
                  <a:pt x="17" y="8"/>
                  <a:pt x="17" y="8"/>
                </a:cubicBezTo>
                <a:cubicBezTo>
                  <a:pt x="34" y="8"/>
                  <a:pt x="34" y="8"/>
                  <a:pt x="34" y="8"/>
                </a:cubicBezTo>
                <a:cubicBezTo>
                  <a:pt x="34" y="8"/>
                  <a:pt x="35" y="8"/>
                  <a:pt x="35" y="7"/>
                </a:cubicBezTo>
                <a:cubicBezTo>
                  <a:pt x="35" y="4"/>
                  <a:pt x="35" y="4"/>
                  <a:pt x="35" y="4"/>
                </a:cubicBezTo>
                <a:cubicBezTo>
                  <a:pt x="35" y="3"/>
                  <a:pt x="34" y="2"/>
                  <a:pt x="34" y="2"/>
                </a:cubicBezTo>
                <a:cubicBezTo>
                  <a:pt x="17" y="2"/>
                  <a:pt x="17" y="2"/>
                  <a:pt x="17" y="2"/>
                </a:cubicBezTo>
                <a:cubicBezTo>
                  <a:pt x="17" y="2"/>
                  <a:pt x="16" y="3"/>
                  <a:pt x="16" y="4"/>
                </a:cubicBezTo>
                <a:lnTo>
                  <a:pt x="16" y="7"/>
                </a:lnTo>
                <a:close/>
                <a:moveTo>
                  <a:pt x="40" y="68"/>
                </a:moveTo>
                <a:cubicBezTo>
                  <a:pt x="38" y="67"/>
                  <a:pt x="37" y="66"/>
                  <a:pt x="35" y="64"/>
                </a:cubicBezTo>
                <a:cubicBezTo>
                  <a:pt x="6" y="64"/>
                  <a:pt x="6" y="64"/>
                  <a:pt x="6" y="64"/>
                </a:cubicBezTo>
                <a:cubicBezTo>
                  <a:pt x="6" y="64"/>
                  <a:pt x="5" y="64"/>
                  <a:pt x="5" y="63"/>
                </a:cubicBezTo>
                <a:cubicBezTo>
                  <a:pt x="5" y="14"/>
                  <a:pt x="5" y="14"/>
                  <a:pt x="5" y="14"/>
                </a:cubicBezTo>
                <a:cubicBezTo>
                  <a:pt x="5" y="13"/>
                  <a:pt x="6" y="13"/>
                  <a:pt x="6" y="13"/>
                </a:cubicBezTo>
                <a:cubicBezTo>
                  <a:pt x="45" y="13"/>
                  <a:pt x="45" y="13"/>
                  <a:pt x="45" y="13"/>
                </a:cubicBezTo>
                <a:cubicBezTo>
                  <a:pt x="45" y="13"/>
                  <a:pt x="46" y="13"/>
                  <a:pt x="46" y="14"/>
                </a:cubicBezTo>
                <a:cubicBezTo>
                  <a:pt x="46" y="36"/>
                  <a:pt x="46" y="36"/>
                  <a:pt x="46" y="36"/>
                </a:cubicBezTo>
                <a:cubicBezTo>
                  <a:pt x="47" y="36"/>
                  <a:pt x="47" y="36"/>
                  <a:pt x="48" y="36"/>
                </a:cubicBezTo>
                <a:cubicBezTo>
                  <a:pt x="49" y="36"/>
                  <a:pt x="49" y="36"/>
                  <a:pt x="49" y="36"/>
                </a:cubicBezTo>
                <a:cubicBezTo>
                  <a:pt x="49" y="10"/>
                  <a:pt x="49" y="10"/>
                  <a:pt x="49" y="10"/>
                </a:cubicBezTo>
                <a:cubicBezTo>
                  <a:pt x="49" y="8"/>
                  <a:pt x="47" y="6"/>
                  <a:pt x="45" y="6"/>
                </a:cubicBezTo>
                <a:cubicBezTo>
                  <a:pt x="37" y="6"/>
                  <a:pt x="37" y="6"/>
                  <a:pt x="37" y="6"/>
                </a:cubicBezTo>
                <a:cubicBezTo>
                  <a:pt x="37" y="7"/>
                  <a:pt x="37" y="7"/>
                  <a:pt x="37" y="7"/>
                </a:cubicBezTo>
                <a:cubicBezTo>
                  <a:pt x="37" y="9"/>
                  <a:pt x="35" y="10"/>
                  <a:pt x="34" y="10"/>
                </a:cubicBezTo>
                <a:cubicBezTo>
                  <a:pt x="17" y="10"/>
                  <a:pt x="17" y="10"/>
                  <a:pt x="17" y="10"/>
                </a:cubicBezTo>
                <a:cubicBezTo>
                  <a:pt x="15" y="10"/>
                  <a:pt x="14" y="9"/>
                  <a:pt x="14" y="7"/>
                </a:cubicBezTo>
                <a:cubicBezTo>
                  <a:pt x="14" y="6"/>
                  <a:pt x="14" y="6"/>
                  <a:pt x="14" y="6"/>
                </a:cubicBezTo>
                <a:cubicBezTo>
                  <a:pt x="6" y="6"/>
                  <a:pt x="6" y="6"/>
                  <a:pt x="6" y="6"/>
                </a:cubicBezTo>
                <a:cubicBezTo>
                  <a:pt x="4" y="6"/>
                  <a:pt x="2" y="8"/>
                  <a:pt x="2" y="10"/>
                </a:cubicBezTo>
                <a:cubicBezTo>
                  <a:pt x="2" y="63"/>
                  <a:pt x="2" y="63"/>
                  <a:pt x="2" y="63"/>
                </a:cubicBezTo>
                <a:cubicBezTo>
                  <a:pt x="2" y="66"/>
                  <a:pt x="4" y="68"/>
                  <a:pt x="6" y="68"/>
                </a:cubicBezTo>
                <a:lnTo>
                  <a:pt x="40" y="68"/>
                </a:lnTo>
                <a:close/>
                <a:moveTo>
                  <a:pt x="40" y="38"/>
                </a:moveTo>
                <a:cubicBezTo>
                  <a:pt x="40" y="38"/>
                  <a:pt x="40" y="38"/>
                  <a:pt x="40" y="38"/>
                </a:cubicBezTo>
                <a:cubicBezTo>
                  <a:pt x="40" y="39"/>
                  <a:pt x="40" y="39"/>
                  <a:pt x="39" y="39"/>
                </a:cubicBezTo>
                <a:cubicBezTo>
                  <a:pt x="41" y="38"/>
                  <a:pt x="42" y="37"/>
                  <a:pt x="44" y="37"/>
                </a:cubicBezTo>
                <a:cubicBezTo>
                  <a:pt x="44" y="37"/>
                  <a:pt x="44" y="37"/>
                  <a:pt x="44" y="37"/>
                </a:cubicBezTo>
                <a:cubicBezTo>
                  <a:pt x="44" y="15"/>
                  <a:pt x="44" y="15"/>
                  <a:pt x="44" y="15"/>
                </a:cubicBezTo>
                <a:cubicBezTo>
                  <a:pt x="7" y="15"/>
                  <a:pt x="7" y="15"/>
                  <a:pt x="7" y="15"/>
                </a:cubicBezTo>
                <a:cubicBezTo>
                  <a:pt x="7" y="62"/>
                  <a:pt x="7" y="62"/>
                  <a:pt x="7" y="62"/>
                </a:cubicBezTo>
                <a:cubicBezTo>
                  <a:pt x="34" y="62"/>
                  <a:pt x="34" y="62"/>
                  <a:pt x="34" y="62"/>
                </a:cubicBezTo>
                <a:cubicBezTo>
                  <a:pt x="32" y="60"/>
                  <a:pt x="32" y="57"/>
                  <a:pt x="31" y="54"/>
                </a:cubicBezTo>
                <a:cubicBezTo>
                  <a:pt x="12" y="54"/>
                  <a:pt x="12" y="54"/>
                  <a:pt x="12" y="54"/>
                </a:cubicBezTo>
                <a:cubicBezTo>
                  <a:pt x="12" y="54"/>
                  <a:pt x="11" y="54"/>
                  <a:pt x="11" y="53"/>
                </a:cubicBezTo>
                <a:cubicBezTo>
                  <a:pt x="11" y="53"/>
                  <a:pt x="12" y="52"/>
                  <a:pt x="12" y="52"/>
                </a:cubicBezTo>
                <a:cubicBezTo>
                  <a:pt x="31" y="52"/>
                  <a:pt x="31" y="52"/>
                  <a:pt x="31" y="52"/>
                </a:cubicBezTo>
                <a:cubicBezTo>
                  <a:pt x="31" y="53"/>
                  <a:pt x="31" y="53"/>
                  <a:pt x="31" y="53"/>
                </a:cubicBezTo>
                <a:cubicBezTo>
                  <a:pt x="31" y="51"/>
                  <a:pt x="32" y="49"/>
                  <a:pt x="33" y="47"/>
                </a:cubicBezTo>
                <a:cubicBezTo>
                  <a:pt x="12" y="47"/>
                  <a:pt x="12" y="47"/>
                  <a:pt x="12" y="47"/>
                </a:cubicBezTo>
                <a:cubicBezTo>
                  <a:pt x="12" y="47"/>
                  <a:pt x="11" y="46"/>
                  <a:pt x="11" y="46"/>
                </a:cubicBezTo>
                <a:cubicBezTo>
                  <a:pt x="11" y="45"/>
                  <a:pt x="12" y="45"/>
                  <a:pt x="12" y="45"/>
                </a:cubicBezTo>
                <a:cubicBezTo>
                  <a:pt x="34" y="45"/>
                  <a:pt x="34" y="45"/>
                  <a:pt x="34" y="45"/>
                </a:cubicBezTo>
                <a:cubicBezTo>
                  <a:pt x="35" y="42"/>
                  <a:pt x="37" y="40"/>
                  <a:pt x="39" y="39"/>
                </a:cubicBezTo>
                <a:cubicBezTo>
                  <a:pt x="12" y="39"/>
                  <a:pt x="12" y="39"/>
                  <a:pt x="12" y="39"/>
                </a:cubicBezTo>
                <a:cubicBezTo>
                  <a:pt x="12" y="39"/>
                  <a:pt x="11" y="39"/>
                  <a:pt x="11" y="38"/>
                </a:cubicBezTo>
                <a:cubicBezTo>
                  <a:pt x="11" y="37"/>
                  <a:pt x="12" y="37"/>
                  <a:pt x="12" y="37"/>
                </a:cubicBezTo>
                <a:cubicBezTo>
                  <a:pt x="39" y="37"/>
                  <a:pt x="39" y="37"/>
                  <a:pt x="39" y="37"/>
                </a:cubicBezTo>
                <a:cubicBezTo>
                  <a:pt x="40" y="37"/>
                  <a:pt x="40" y="37"/>
                  <a:pt x="40" y="38"/>
                </a:cubicBezTo>
                <a:close/>
                <a:moveTo>
                  <a:pt x="63" y="53"/>
                </a:moveTo>
                <a:cubicBezTo>
                  <a:pt x="63" y="45"/>
                  <a:pt x="57" y="38"/>
                  <a:pt x="48" y="38"/>
                </a:cubicBezTo>
                <a:cubicBezTo>
                  <a:pt x="40" y="38"/>
                  <a:pt x="33" y="45"/>
                  <a:pt x="33" y="53"/>
                </a:cubicBezTo>
                <a:cubicBezTo>
                  <a:pt x="33" y="61"/>
                  <a:pt x="40" y="68"/>
                  <a:pt x="48" y="68"/>
                </a:cubicBezTo>
                <a:cubicBezTo>
                  <a:pt x="57" y="68"/>
                  <a:pt x="63" y="61"/>
                  <a:pt x="63" y="53"/>
                </a:cubicBezTo>
                <a:close/>
                <a:moveTo>
                  <a:pt x="56" y="48"/>
                </a:moveTo>
                <a:cubicBezTo>
                  <a:pt x="46" y="57"/>
                  <a:pt x="46" y="57"/>
                  <a:pt x="46" y="57"/>
                </a:cubicBezTo>
                <a:cubicBezTo>
                  <a:pt x="41" y="52"/>
                  <a:pt x="41" y="52"/>
                  <a:pt x="41" y="52"/>
                </a:cubicBezTo>
                <a:cubicBezTo>
                  <a:pt x="40" y="52"/>
                  <a:pt x="40" y="52"/>
                  <a:pt x="39" y="52"/>
                </a:cubicBezTo>
                <a:cubicBezTo>
                  <a:pt x="39" y="53"/>
                  <a:pt x="39" y="53"/>
                  <a:pt x="39" y="54"/>
                </a:cubicBezTo>
                <a:cubicBezTo>
                  <a:pt x="45" y="59"/>
                  <a:pt x="45" y="59"/>
                  <a:pt x="45" y="59"/>
                </a:cubicBezTo>
                <a:cubicBezTo>
                  <a:pt x="45" y="59"/>
                  <a:pt x="46" y="59"/>
                  <a:pt x="46" y="59"/>
                </a:cubicBezTo>
                <a:cubicBezTo>
                  <a:pt x="46" y="59"/>
                  <a:pt x="46" y="59"/>
                  <a:pt x="47" y="59"/>
                </a:cubicBezTo>
                <a:cubicBezTo>
                  <a:pt x="58" y="49"/>
                  <a:pt x="58" y="49"/>
                  <a:pt x="58" y="49"/>
                </a:cubicBezTo>
                <a:cubicBezTo>
                  <a:pt x="58" y="49"/>
                  <a:pt x="58" y="48"/>
                  <a:pt x="58" y="48"/>
                </a:cubicBezTo>
                <a:cubicBezTo>
                  <a:pt x="57" y="47"/>
                  <a:pt x="57" y="47"/>
                  <a:pt x="56" y="48"/>
                </a:cubicBezTo>
                <a:close/>
              </a:path>
            </a:pathLst>
          </a:custGeom>
          <a:solidFill>
            <a:schemeClr val="accent1">
              <a:lumMod val="10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cs typeface="+mn-ea"/>
              <a:sym typeface="+mn-lt"/>
            </a:endParaRPr>
          </a:p>
        </p:txBody>
      </p:sp>
      <p:sp>
        <p:nvSpPr>
          <p:cNvPr id="77" name="Freeform 95">
            <a:extLst>
              <a:ext uri="{FF2B5EF4-FFF2-40B4-BE49-F238E27FC236}">
                <a16:creationId xmlns:a16="http://schemas.microsoft.com/office/drawing/2014/main" id="{08544E4E-BC7D-45CA-8B69-0CE84A46CE5D}"/>
              </a:ext>
            </a:extLst>
          </p:cNvPr>
          <p:cNvSpPr>
            <a:spLocks noEditPoints="1"/>
          </p:cNvSpPr>
          <p:nvPr/>
        </p:nvSpPr>
        <p:spPr bwMode="auto">
          <a:xfrm>
            <a:off x="6611787" y="1600839"/>
            <a:ext cx="270169" cy="322799"/>
          </a:xfrm>
          <a:custGeom>
            <a:avLst/>
            <a:gdLst>
              <a:gd name="T0" fmla="*/ 65 w 65"/>
              <a:gd name="T1" fmla="*/ 3 h 75"/>
              <a:gd name="T2" fmla="*/ 65 w 65"/>
              <a:gd name="T3" fmla="*/ 1 h 75"/>
              <a:gd name="T4" fmla="*/ 64 w 65"/>
              <a:gd name="T5" fmla="*/ 0 h 75"/>
              <a:gd name="T6" fmla="*/ 1 w 65"/>
              <a:gd name="T7" fmla="*/ 0 h 75"/>
              <a:gd name="T8" fmla="*/ 0 w 65"/>
              <a:gd name="T9" fmla="*/ 1 h 75"/>
              <a:gd name="T10" fmla="*/ 0 w 65"/>
              <a:gd name="T11" fmla="*/ 3 h 75"/>
              <a:gd name="T12" fmla="*/ 1 w 65"/>
              <a:gd name="T13" fmla="*/ 4 h 75"/>
              <a:gd name="T14" fmla="*/ 1 w 65"/>
              <a:gd name="T15" fmla="*/ 48 h 75"/>
              <a:gd name="T16" fmla="*/ 0 w 65"/>
              <a:gd name="T17" fmla="*/ 49 h 75"/>
              <a:gd name="T18" fmla="*/ 0 w 65"/>
              <a:gd name="T19" fmla="*/ 52 h 75"/>
              <a:gd name="T20" fmla="*/ 1 w 65"/>
              <a:gd name="T21" fmla="*/ 53 h 75"/>
              <a:gd name="T22" fmla="*/ 26 w 65"/>
              <a:gd name="T23" fmla="*/ 53 h 75"/>
              <a:gd name="T24" fmla="*/ 16 w 65"/>
              <a:gd name="T25" fmla="*/ 73 h 75"/>
              <a:gd name="T26" fmla="*/ 17 w 65"/>
              <a:gd name="T27" fmla="*/ 75 h 75"/>
              <a:gd name="T28" fmla="*/ 18 w 65"/>
              <a:gd name="T29" fmla="*/ 75 h 75"/>
              <a:gd name="T30" fmla="*/ 19 w 65"/>
              <a:gd name="T31" fmla="*/ 74 h 75"/>
              <a:gd name="T32" fmla="*/ 29 w 65"/>
              <a:gd name="T33" fmla="*/ 53 h 75"/>
              <a:gd name="T34" fmla="*/ 37 w 65"/>
              <a:gd name="T35" fmla="*/ 53 h 75"/>
              <a:gd name="T36" fmla="*/ 46 w 65"/>
              <a:gd name="T37" fmla="*/ 74 h 75"/>
              <a:gd name="T38" fmla="*/ 48 w 65"/>
              <a:gd name="T39" fmla="*/ 75 h 75"/>
              <a:gd name="T40" fmla="*/ 48 w 65"/>
              <a:gd name="T41" fmla="*/ 75 h 75"/>
              <a:gd name="T42" fmla="*/ 49 w 65"/>
              <a:gd name="T43" fmla="*/ 73 h 75"/>
              <a:gd name="T44" fmla="*/ 40 w 65"/>
              <a:gd name="T45" fmla="*/ 53 h 75"/>
              <a:gd name="T46" fmla="*/ 64 w 65"/>
              <a:gd name="T47" fmla="*/ 53 h 75"/>
              <a:gd name="T48" fmla="*/ 65 w 65"/>
              <a:gd name="T49" fmla="*/ 52 h 75"/>
              <a:gd name="T50" fmla="*/ 65 w 65"/>
              <a:gd name="T51" fmla="*/ 49 h 75"/>
              <a:gd name="T52" fmla="*/ 65 w 65"/>
              <a:gd name="T53" fmla="*/ 48 h 75"/>
              <a:gd name="T54" fmla="*/ 65 w 65"/>
              <a:gd name="T55" fmla="*/ 4 h 75"/>
              <a:gd name="T56" fmla="*/ 65 w 65"/>
              <a:gd name="T57" fmla="*/ 3 h 75"/>
              <a:gd name="T58" fmla="*/ 62 w 65"/>
              <a:gd name="T59" fmla="*/ 48 h 75"/>
              <a:gd name="T60" fmla="*/ 4 w 65"/>
              <a:gd name="T61" fmla="*/ 48 h 75"/>
              <a:gd name="T62" fmla="*/ 4 w 65"/>
              <a:gd name="T63" fmla="*/ 5 h 75"/>
              <a:gd name="T64" fmla="*/ 62 w 65"/>
              <a:gd name="T65" fmla="*/ 5 h 75"/>
              <a:gd name="T66" fmla="*/ 62 w 65"/>
              <a:gd name="T67" fmla="*/ 48 h 75"/>
              <a:gd name="T68" fmla="*/ 46 w 65"/>
              <a:gd name="T69" fmla="*/ 42 h 75"/>
              <a:gd name="T70" fmla="*/ 46 w 65"/>
              <a:gd name="T71" fmla="*/ 13 h 75"/>
              <a:gd name="T72" fmla="*/ 46 w 65"/>
              <a:gd name="T73" fmla="*/ 12 h 75"/>
              <a:gd name="T74" fmla="*/ 56 w 65"/>
              <a:gd name="T75" fmla="*/ 12 h 75"/>
              <a:gd name="T76" fmla="*/ 56 w 65"/>
              <a:gd name="T77" fmla="*/ 13 h 75"/>
              <a:gd name="T78" fmla="*/ 56 w 65"/>
              <a:gd name="T79" fmla="*/ 42 h 75"/>
              <a:gd name="T80" fmla="*/ 56 w 65"/>
              <a:gd name="T81" fmla="*/ 42 h 75"/>
              <a:gd name="T82" fmla="*/ 46 w 65"/>
              <a:gd name="T83" fmla="*/ 42 h 75"/>
              <a:gd name="T84" fmla="*/ 46 w 65"/>
              <a:gd name="T85" fmla="*/ 42 h 75"/>
              <a:gd name="T86" fmla="*/ 27 w 65"/>
              <a:gd name="T87" fmla="*/ 42 h 75"/>
              <a:gd name="T88" fmla="*/ 27 w 65"/>
              <a:gd name="T89" fmla="*/ 21 h 75"/>
              <a:gd name="T90" fmla="*/ 28 w 65"/>
              <a:gd name="T91" fmla="*/ 20 h 75"/>
              <a:gd name="T92" fmla="*/ 38 w 65"/>
              <a:gd name="T93" fmla="*/ 20 h 75"/>
              <a:gd name="T94" fmla="*/ 38 w 65"/>
              <a:gd name="T95" fmla="*/ 21 h 75"/>
              <a:gd name="T96" fmla="*/ 38 w 65"/>
              <a:gd name="T97" fmla="*/ 42 h 75"/>
              <a:gd name="T98" fmla="*/ 38 w 65"/>
              <a:gd name="T99" fmla="*/ 42 h 75"/>
              <a:gd name="T100" fmla="*/ 28 w 65"/>
              <a:gd name="T101" fmla="*/ 42 h 75"/>
              <a:gd name="T102" fmla="*/ 27 w 65"/>
              <a:gd name="T103" fmla="*/ 42 h 75"/>
              <a:gd name="T104" fmla="*/ 9 w 65"/>
              <a:gd name="T105" fmla="*/ 42 h 75"/>
              <a:gd name="T106" fmla="*/ 9 w 65"/>
              <a:gd name="T107" fmla="*/ 28 h 75"/>
              <a:gd name="T108" fmla="*/ 10 w 65"/>
              <a:gd name="T109" fmla="*/ 28 h 75"/>
              <a:gd name="T110" fmla="*/ 20 w 65"/>
              <a:gd name="T111" fmla="*/ 28 h 75"/>
              <a:gd name="T112" fmla="*/ 20 w 65"/>
              <a:gd name="T113" fmla="*/ 28 h 75"/>
              <a:gd name="T114" fmla="*/ 20 w 65"/>
              <a:gd name="T115" fmla="*/ 42 h 75"/>
              <a:gd name="T116" fmla="*/ 20 w 65"/>
              <a:gd name="T117" fmla="*/ 42 h 75"/>
              <a:gd name="T118" fmla="*/ 10 w 65"/>
              <a:gd name="T119" fmla="*/ 42 h 75"/>
              <a:gd name="T120" fmla="*/ 9 w 65"/>
              <a:gd name="T121" fmla="*/ 4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5" h="75">
                <a:moveTo>
                  <a:pt x="65" y="3"/>
                </a:moveTo>
                <a:cubicBezTo>
                  <a:pt x="65" y="1"/>
                  <a:pt x="65" y="1"/>
                  <a:pt x="65" y="1"/>
                </a:cubicBezTo>
                <a:cubicBezTo>
                  <a:pt x="65" y="1"/>
                  <a:pt x="65" y="0"/>
                  <a:pt x="64" y="0"/>
                </a:cubicBezTo>
                <a:cubicBezTo>
                  <a:pt x="1" y="0"/>
                  <a:pt x="1" y="0"/>
                  <a:pt x="1" y="0"/>
                </a:cubicBezTo>
                <a:cubicBezTo>
                  <a:pt x="1" y="0"/>
                  <a:pt x="0" y="1"/>
                  <a:pt x="0" y="1"/>
                </a:cubicBezTo>
                <a:cubicBezTo>
                  <a:pt x="0" y="3"/>
                  <a:pt x="0" y="3"/>
                  <a:pt x="0" y="3"/>
                </a:cubicBezTo>
                <a:cubicBezTo>
                  <a:pt x="0" y="4"/>
                  <a:pt x="1" y="4"/>
                  <a:pt x="1" y="4"/>
                </a:cubicBezTo>
                <a:cubicBezTo>
                  <a:pt x="1" y="48"/>
                  <a:pt x="1" y="48"/>
                  <a:pt x="1" y="48"/>
                </a:cubicBezTo>
                <a:cubicBezTo>
                  <a:pt x="1" y="49"/>
                  <a:pt x="0" y="49"/>
                  <a:pt x="0" y="49"/>
                </a:cubicBezTo>
                <a:cubicBezTo>
                  <a:pt x="0" y="52"/>
                  <a:pt x="0" y="52"/>
                  <a:pt x="0" y="52"/>
                </a:cubicBezTo>
                <a:cubicBezTo>
                  <a:pt x="0" y="52"/>
                  <a:pt x="1" y="53"/>
                  <a:pt x="1" y="53"/>
                </a:cubicBezTo>
                <a:cubicBezTo>
                  <a:pt x="26" y="53"/>
                  <a:pt x="26" y="53"/>
                  <a:pt x="26" y="53"/>
                </a:cubicBezTo>
                <a:cubicBezTo>
                  <a:pt x="16" y="73"/>
                  <a:pt x="16" y="73"/>
                  <a:pt x="16" y="73"/>
                </a:cubicBezTo>
                <a:cubicBezTo>
                  <a:pt x="16" y="74"/>
                  <a:pt x="16" y="75"/>
                  <a:pt x="17" y="75"/>
                </a:cubicBezTo>
                <a:cubicBezTo>
                  <a:pt x="17" y="75"/>
                  <a:pt x="18" y="75"/>
                  <a:pt x="18" y="75"/>
                </a:cubicBezTo>
                <a:cubicBezTo>
                  <a:pt x="18" y="75"/>
                  <a:pt x="19" y="75"/>
                  <a:pt x="19" y="74"/>
                </a:cubicBezTo>
                <a:cubicBezTo>
                  <a:pt x="29" y="53"/>
                  <a:pt x="29" y="53"/>
                  <a:pt x="29" y="53"/>
                </a:cubicBezTo>
                <a:cubicBezTo>
                  <a:pt x="37" y="53"/>
                  <a:pt x="37" y="53"/>
                  <a:pt x="37" y="53"/>
                </a:cubicBezTo>
                <a:cubicBezTo>
                  <a:pt x="46" y="74"/>
                  <a:pt x="46" y="74"/>
                  <a:pt x="46" y="74"/>
                </a:cubicBezTo>
                <a:cubicBezTo>
                  <a:pt x="47" y="75"/>
                  <a:pt x="47" y="75"/>
                  <a:pt x="48" y="75"/>
                </a:cubicBezTo>
                <a:cubicBezTo>
                  <a:pt x="48" y="75"/>
                  <a:pt x="48" y="75"/>
                  <a:pt x="48" y="75"/>
                </a:cubicBezTo>
                <a:cubicBezTo>
                  <a:pt x="49" y="75"/>
                  <a:pt x="50" y="74"/>
                  <a:pt x="49" y="73"/>
                </a:cubicBezTo>
                <a:cubicBezTo>
                  <a:pt x="40" y="53"/>
                  <a:pt x="40" y="53"/>
                  <a:pt x="40" y="53"/>
                </a:cubicBezTo>
                <a:cubicBezTo>
                  <a:pt x="64" y="53"/>
                  <a:pt x="64" y="53"/>
                  <a:pt x="64" y="53"/>
                </a:cubicBezTo>
                <a:cubicBezTo>
                  <a:pt x="65" y="53"/>
                  <a:pt x="65" y="52"/>
                  <a:pt x="65" y="52"/>
                </a:cubicBezTo>
                <a:cubicBezTo>
                  <a:pt x="65" y="49"/>
                  <a:pt x="65" y="49"/>
                  <a:pt x="65" y="49"/>
                </a:cubicBezTo>
                <a:cubicBezTo>
                  <a:pt x="65" y="49"/>
                  <a:pt x="65" y="49"/>
                  <a:pt x="65" y="48"/>
                </a:cubicBezTo>
                <a:cubicBezTo>
                  <a:pt x="65" y="4"/>
                  <a:pt x="65" y="4"/>
                  <a:pt x="65" y="4"/>
                </a:cubicBezTo>
                <a:cubicBezTo>
                  <a:pt x="65" y="4"/>
                  <a:pt x="65" y="4"/>
                  <a:pt x="65" y="3"/>
                </a:cubicBezTo>
                <a:close/>
                <a:moveTo>
                  <a:pt x="62" y="48"/>
                </a:moveTo>
                <a:cubicBezTo>
                  <a:pt x="4" y="48"/>
                  <a:pt x="4" y="48"/>
                  <a:pt x="4" y="48"/>
                </a:cubicBezTo>
                <a:cubicBezTo>
                  <a:pt x="4" y="5"/>
                  <a:pt x="4" y="5"/>
                  <a:pt x="4" y="5"/>
                </a:cubicBezTo>
                <a:cubicBezTo>
                  <a:pt x="62" y="5"/>
                  <a:pt x="62" y="5"/>
                  <a:pt x="62" y="5"/>
                </a:cubicBezTo>
                <a:lnTo>
                  <a:pt x="62" y="48"/>
                </a:lnTo>
                <a:close/>
                <a:moveTo>
                  <a:pt x="46" y="42"/>
                </a:moveTo>
                <a:cubicBezTo>
                  <a:pt x="46" y="13"/>
                  <a:pt x="46" y="13"/>
                  <a:pt x="46" y="13"/>
                </a:cubicBezTo>
                <a:cubicBezTo>
                  <a:pt x="46" y="13"/>
                  <a:pt x="46" y="12"/>
                  <a:pt x="46" y="12"/>
                </a:cubicBezTo>
                <a:cubicBezTo>
                  <a:pt x="56" y="12"/>
                  <a:pt x="56" y="12"/>
                  <a:pt x="56" y="12"/>
                </a:cubicBezTo>
                <a:cubicBezTo>
                  <a:pt x="56" y="12"/>
                  <a:pt x="56" y="13"/>
                  <a:pt x="56" y="13"/>
                </a:cubicBezTo>
                <a:cubicBezTo>
                  <a:pt x="56" y="42"/>
                  <a:pt x="56" y="42"/>
                  <a:pt x="56" y="42"/>
                </a:cubicBezTo>
                <a:cubicBezTo>
                  <a:pt x="56" y="42"/>
                  <a:pt x="56" y="42"/>
                  <a:pt x="56" y="42"/>
                </a:cubicBezTo>
                <a:cubicBezTo>
                  <a:pt x="46" y="42"/>
                  <a:pt x="46" y="42"/>
                  <a:pt x="46" y="42"/>
                </a:cubicBezTo>
                <a:cubicBezTo>
                  <a:pt x="46" y="42"/>
                  <a:pt x="46" y="42"/>
                  <a:pt x="46" y="42"/>
                </a:cubicBezTo>
                <a:close/>
                <a:moveTo>
                  <a:pt x="27" y="42"/>
                </a:moveTo>
                <a:cubicBezTo>
                  <a:pt x="27" y="21"/>
                  <a:pt x="27" y="21"/>
                  <a:pt x="27" y="21"/>
                </a:cubicBezTo>
                <a:cubicBezTo>
                  <a:pt x="27" y="20"/>
                  <a:pt x="28" y="20"/>
                  <a:pt x="28" y="20"/>
                </a:cubicBezTo>
                <a:cubicBezTo>
                  <a:pt x="38" y="20"/>
                  <a:pt x="38" y="20"/>
                  <a:pt x="38" y="20"/>
                </a:cubicBezTo>
                <a:cubicBezTo>
                  <a:pt x="38" y="20"/>
                  <a:pt x="38" y="20"/>
                  <a:pt x="38" y="21"/>
                </a:cubicBezTo>
                <a:cubicBezTo>
                  <a:pt x="38" y="42"/>
                  <a:pt x="38" y="42"/>
                  <a:pt x="38" y="42"/>
                </a:cubicBezTo>
                <a:cubicBezTo>
                  <a:pt x="38" y="42"/>
                  <a:pt x="38" y="42"/>
                  <a:pt x="38" y="42"/>
                </a:cubicBezTo>
                <a:cubicBezTo>
                  <a:pt x="28" y="42"/>
                  <a:pt x="28" y="42"/>
                  <a:pt x="28" y="42"/>
                </a:cubicBezTo>
                <a:cubicBezTo>
                  <a:pt x="28" y="42"/>
                  <a:pt x="27" y="42"/>
                  <a:pt x="27" y="42"/>
                </a:cubicBezTo>
                <a:close/>
                <a:moveTo>
                  <a:pt x="9" y="42"/>
                </a:moveTo>
                <a:cubicBezTo>
                  <a:pt x="9" y="28"/>
                  <a:pt x="9" y="28"/>
                  <a:pt x="9" y="28"/>
                </a:cubicBezTo>
                <a:cubicBezTo>
                  <a:pt x="9" y="28"/>
                  <a:pt x="9" y="28"/>
                  <a:pt x="10" y="28"/>
                </a:cubicBezTo>
                <a:cubicBezTo>
                  <a:pt x="20" y="28"/>
                  <a:pt x="20" y="28"/>
                  <a:pt x="20" y="28"/>
                </a:cubicBezTo>
                <a:cubicBezTo>
                  <a:pt x="20" y="28"/>
                  <a:pt x="20" y="28"/>
                  <a:pt x="20" y="28"/>
                </a:cubicBezTo>
                <a:cubicBezTo>
                  <a:pt x="20" y="42"/>
                  <a:pt x="20" y="42"/>
                  <a:pt x="20" y="42"/>
                </a:cubicBezTo>
                <a:cubicBezTo>
                  <a:pt x="20" y="42"/>
                  <a:pt x="20" y="42"/>
                  <a:pt x="20" y="42"/>
                </a:cubicBezTo>
                <a:cubicBezTo>
                  <a:pt x="10" y="42"/>
                  <a:pt x="10" y="42"/>
                  <a:pt x="10" y="42"/>
                </a:cubicBezTo>
                <a:cubicBezTo>
                  <a:pt x="9" y="42"/>
                  <a:pt x="9" y="42"/>
                  <a:pt x="9" y="42"/>
                </a:cubicBezTo>
                <a:close/>
              </a:path>
            </a:pathLst>
          </a:custGeom>
          <a:solidFill>
            <a:schemeClr val="accent1">
              <a:lumMod val="10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cs typeface="+mn-ea"/>
              <a:sym typeface="+mn-lt"/>
            </a:endParaRPr>
          </a:p>
        </p:txBody>
      </p:sp>
      <p:sp>
        <p:nvSpPr>
          <p:cNvPr id="78" name="Freeform 96">
            <a:extLst>
              <a:ext uri="{FF2B5EF4-FFF2-40B4-BE49-F238E27FC236}">
                <a16:creationId xmlns:a16="http://schemas.microsoft.com/office/drawing/2014/main" id="{04BF229F-C6B2-43A2-935B-8D64F44EC536}"/>
              </a:ext>
            </a:extLst>
          </p:cNvPr>
          <p:cNvSpPr>
            <a:spLocks noEditPoints="1"/>
          </p:cNvSpPr>
          <p:nvPr/>
        </p:nvSpPr>
        <p:spPr bwMode="auto">
          <a:xfrm>
            <a:off x="9001368" y="1639919"/>
            <a:ext cx="312273" cy="228065"/>
          </a:xfrm>
          <a:custGeom>
            <a:avLst/>
            <a:gdLst>
              <a:gd name="T0" fmla="*/ 56 w 75"/>
              <a:gd name="T1" fmla="*/ 5 h 53"/>
              <a:gd name="T2" fmla="*/ 1 w 75"/>
              <a:gd name="T3" fmla="*/ 12 h 53"/>
              <a:gd name="T4" fmla="*/ 9 w 75"/>
              <a:gd name="T5" fmla="*/ 34 h 53"/>
              <a:gd name="T6" fmla="*/ 14 w 75"/>
              <a:gd name="T7" fmla="*/ 44 h 53"/>
              <a:gd name="T8" fmla="*/ 48 w 75"/>
              <a:gd name="T9" fmla="*/ 41 h 53"/>
              <a:gd name="T10" fmla="*/ 12 w 75"/>
              <a:gd name="T11" fmla="*/ 36 h 53"/>
              <a:gd name="T12" fmla="*/ 51 w 75"/>
              <a:gd name="T13" fmla="*/ 32 h 53"/>
              <a:gd name="T14" fmla="*/ 59 w 75"/>
              <a:gd name="T15" fmla="*/ 6 h 53"/>
              <a:gd name="T16" fmla="*/ 75 w 75"/>
              <a:gd name="T17" fmla="*/ 2 h 53"/>
              <a:gd name="T18" fmla="*/ 48 w 75"/>
              <a:gd name="T19" fmla="*/ 19 h 53"/>
              <a:gd name="T20" fmla="*/ 51 w 75"/>
              <a:gd name="T21" fmla="*/ 19 h 53"/>
              <a:gd name="T22" fmla="*/ 47 w 75"/>
              <a:gd name="T23" fmla="*/ 21 h 53"/>
              <a:gd name="T24" fmla="*/ 10 w 75"/>
              <a:gd name="T25" fmla="*/ 31 h 53"/>
              <a:gd name="T26" fmla="*/ 13 w 75"/>
              <a:gd name="T27" fmla="*/ 33 h 53"/>
              <a:gd name="T28" fmla="*/ 30 w 75"/>
              <a:gd name="T29" fmla="*/ 19 h 53"/>
              <a:gd name="T30" fmla="*/ 37 w 75"/>
              <a:gd name="T31" fmla="*/ 19 h 53"/>
              <a:gd name="T32" fmla="*/ 46 w 75"/>
              <a:gd name="T33" fmla="*/ 19 h 53"/>
              <a:gd name="T34" fmla="*/ 30 w 75"/>
              <a:gd name="T35" fmla="*/ 21 h 53"/>
              <a:gd name="T36" fmla="*/ 30 w 75"/>
              <a:gd name="T37" fmla="*/ 26 h 53"/>
              <a:gd name="T38" fmla="*/ 22 w 75"/>
              <a:gd name="T39" fmla="*/ 26 h 53"/>
              <a:gd name="T40" fmla="*/ 28 w 75"/>
              <a:gd name="T41" fmla="*/ 26 h 53"/>
              <a:gd name="T42" fmla="*/ 21 w 75"/>
              <a:gd name="T43" fmla="*/ 14 h 53"/>
              <a:gd name="T44" fmla="*/ 19 w 75"/>
              <a:gd name="T45" fmla="*/ 19 h 53"/>
              <a:gd name="T46" fmla="*/ 19 w 75"/>
              <a:gd name="T47" fmla="*/ 14 h 53"/>
              <a:gd name="T48" fmla="*/ 20 w 75"/>
              <a:gd name="T49" fmla="*/ 26 h 53"/>
              <a:gd name="T50" fmla="*/ 20 w 75"/>
              <a:gd name="T51" fmla="*/ 21 h 53"/>
              <a:gd name="T52" fmla="*/ 6 w 75"/>
              <a:gd name="T53" fmla="*/ 21 h 53"/>
              <a:gd name="T54" fmla="*/ 14 w 75"/>
              <a:gd name="T55" fmla="*/ 28 h 53"/>
              <a:gd name="T56" fmla="*/ 15 w 75"/>
              <a:gd name="T57" fmla="*/ 33 h 53"/>
              <a:gd name="T58" fmla="*/ 28 w 75"/>
              <a:gd name="T59" fmla="*/ 28 h 53"/>
              <a:gd name="T60" fmla="*/ 22 w 75"/>
              <a:gd name="T61" fmla="*/ 28 h 53"/>
              <a:gd name="T62" fmla="*/ 35 w 75"/>
              <a:gd name="T63" fmla="*/ 33 h 53"/>
              <a:gd name="T64" fmla="*/ 38 w 75"/>
              <a:gd name="T65" fmla="*/ 28 h 53"/>
              <a:gd name="T66" fmla="*/ 37 w 75"/>
              <a:gd name="T67" fmla="*/ 33 h 53"/>
              <a:gd name="T68" fmla="*/ 39 w 75"/>
              <a:gd name="T69" fmla="*/ 21 h 53"/>
              <a:gd name="T70" fmla="*/ 38 w 75"/>
              <a:gd name="T71" fmla="*/ 26 h 53"/>
              <a:gd name="T72" fmla="*/ 10 w 75"/>
              <a:gd name="T73" fmla="*/ 14 h 53"/>
              <a:gd name="T74" fmla="*/ 4 w 75"/>
              <a:gd name="T75" fmla="*/ 15 h 53"/>
              <a:gd name="T76" fmla="*/ 45 w 75"/>
              <a:gd name="T77" fmla="*/ 33 h 53"/>
              <a:gd name="T78" fmla="*/ 48 w 75"/>
              <a:gd name="T79" fmla="*/ 28 h 53"/>
              <a:gd name="T80" fmla="*/ 15 w 75"/>
              <a:gd name="T81" fmla="*/ 46 h 53"/>
              <a:gd name="T82" fmla="*/ 18 w 75"/>
              <a:gd name="T83" fmla="*/ 49 h 53"/>
              <a:gd name="T84" fmla="*/ 13 w 75"/>
              <a:gd name="T85" fmla="*/ 49 h 53"/>
              <a:gd name="T86" fmla="*/ 15 w 75"/>
              <a:gd name="T87" fmla="*/ 51 h 53"/>
              <a:gd name="T88" fmla="*/ 43 w 75"/>
              <a:gd name="T89" fmla="*/ 53 h 53"/>
              <a:gd name="T90" fmla="*/ 43 w 75"/>
              <a:gd name="T91" fmla="*/ 51 h 53"/>
              <a:gd name="T92" fmla="*/ 44 w 75"/>
              <a:gd name="T93" fmla="*/ 49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75" h="53">
                <a:moveTo>
                  <a:pt x="73" y="0"/>
                </a:moveTo>
                <a:cubicBezTo>
                  <a:pt x="62" y="0"/>
                  <a:pt x="62" y="0"/>
                  <a:pt x="62" y="0"/>
                </a:cubicBezTo>
                <a:cubicBezTo>
                  <a:pt x="59" y="0"/>
                  <a:pt x="57" y="2"/>
                  <a:pt x="56" y="5"/>
                </a:cubicBezTo>
                <a:cubicBezTo>
                  <a:pt x="54" y="11"/>
                  <a:pt x="54" y="11"/>
                  <a:pt x="54" y="11"/>
                </a:cubicBezTo>
                <a:cubicBezTo>
                  <a:pt x="4" y="11"/>
                  <a:pt x="4" y="11"/>
                  <a:pt x="4" y="11"/>
                </a:cubicBezTo>
                <a:cubicBezTo>
                  <a:pt x="3" y="11"/>
                  <a:pt x="2" y="11"/>
                  <a:pt x="1" y="12"/>
                </a:cubicBezTo>
                <a:cubicBezTo>
                  <a:pt x="0" y="13"/>
                  <a:pt x="0" y="15"/>
                  <a:pt x="1" y="16"/>
                </a:cubicBezTo>
                <a:cubicBezTo>
                  <a:pt x="7" y="32"/>
                  <a:pt x="7" y="32"/>
                  <a:pt x="7" y="32"/>
                </a:cubicBezTo>
                <a:cubicBezTo>
                  <a:pt x="8" y="33"/>
                  <a:pt x="8" y="34"/>
                  <a:pt x="9" y="34"/>
                </a:cubicBezTo>
                <a:cubicBezTo>
                  <a:pt x="9" y="34"/>
                  <a:pt x="8" y="35"/>
                  <a:pt x="8" y="35"/>
                </a:cubicBezTo>
                <a:cubicBezTo>
                  <a:pt x="8" y="39"/>
                  <a:pt x="8" y="39"/>
                  <a:pt x="8" y="39"/>
                </a:cubicBezTo>
                <a:cubicBezTo>
                  <a:pt x="8" y="42"/>
                  <a:pt x="11" y="44"/>
                  <a:pt x="14" y="44"/>
                </a:cubicBezTo>
                <a:cubicBezTo>
                  <a:pt x="48" y="44"/>
                  <a:pt x="48" y="44"/>
                  <a:pt x="48" y="44"/>
                </a:cubicBezTo>
                <a:cubicBezTo>
                  <a:pt x="49" y="44"/>
                  <a:pt x="50" y="44"/>
                  <a:pt x="50" y="43"/>
                </a:cubicBezTo>
                <a:cubicBezTo>
                  <a:pt x="50" y="42"/>
                  <a:pt x="49" y="41"/>
                  <a:pt x="48" y="41"/>
                </a:cubicBezTo>
                <a:cubicBezTo>
                  <a:pt x="14" y="41"/>
                  <a:pt x="14" y="41"/>
                  <a:pt x="14" y="41"/>
                </a:cubicBezTo>
                <a:cubicBezTo>
                  <a:pt x="12" y="41"/>
                  <a:pt x="12" y="40"/>
                  <a:pt x="12" y="39"/>
                </a:cubicBezTo>
                <a:cubicBezTo>
                  <a:pt x="12" y="36"/>
                  <a:pt x="12" y="36"/>
                  <a:pt x="12" y="36"/>
                </a:cubicBezTo>
                <a:cubicBezTo>
                  <a:pt x="12" y="36"/>
                  <a:pt x="13" y="36"/>
                  <a:pt x="14" y="36"/>
                </a:cubicBezTo>
                <a:cubicBezTo>
                  <a:pt x="45" y="36"/>
                  <a:pt x="45" y="36"/>
                  <a:pt x="45" y="36"/>
                </a:cubicBezTo>
                <a:cubicBezTo>
                  <a:pt x="47" y="36"/>
                  <a:pt x="50" y="34"/>
                  <a:pt x="51" y="32"/>
                </a:cubicBezTo>
                <a:cubicBezTo>
                  <a:pt x="56" y="13"/>
                  <a:pt x="56" y="13"/>
                  <a:pt x="56" y="13"/>
                </a:cubicBezTo>
                <a:cubicBezTo>
                  <a:pt x="56" y="13"/>
                  <a:pt x="57" y="13"/>
                  <a:pt x="57" y="12"/>
                </a:cubicBezTo>
                <a:cubicBezTo>
                  <a:pt x="59" y="6"/>
                  <a:pt x="59" y="6"/>
                  <a:pt x="59" y="6"/>
                </a:cubicBezTo>
                <a:cubicBezTo>
                  <a:pt x="59" y="4"/>
                  <a:pt x="61" y="3"/>
                  <a:pt x="62" y="3"/>
                </a:cubicBezTo>
                <a:cubicBezTo>
                  <a:pt x="73" y="3"/>
                  <a:pt x="73" y="3"/>
                  <a:pt x="73" y="3"/>
                </a:cubicBezTo>
                <a:cubicBezTo>
                  <a:pt x="74" y="3"/>
                  <a:pt x="75" y="3"/>
                  <a:pt x="75" y="2"/>
                </a:cubicBezTo>
                <a:cubicBezTo>
                  <a:pt x="75" y="1"/>
                  <a:pt x="74" y="0"/>
                  <a:pt x="73" y="0"/>
                </a:cubicBezTo>
                <a:close/>
                <a:moveTo>
                  <a:pt x="51" y="19"/>
                </a:moveTo>
                <a:cubicBezTo>
                  <a:pt x="48" y="19"/>
                  <a:pt x="48" y="19"/>
                  <a:pt x="48" y="19"/>
                </a:cubicBezTo>
                <a:cubicBezTo>
                  <a:pt x="49" y="14"/>
                  <a:pt x="49" y="14"/>
                  <a:pt x="49" y="14"/>
                </a:cubicBezTo>
                <a:cubicBezTo>
                  <a:pt x="53" y="14"/>
                  <a:pt x="53" y="14"/>
                  <a:pt x="53" y="14"/>
                </a:cubicBezTo>
                <a:lnTo>
                  <a:pt x="51" y="19"/>
                </a:lnTo>
                <a:close/>
                <a:moveTo>
                  <a:pt x="49" y="26"/>
                </a:moveTo>
                <a:cubicBezTo>
                  <a:pt x="46" y="26"/>
                  <a:pt x="46" y="26"/>
                  <a:pt x="46" y="26"/>
                </a:cubicBezTo>
                <a:cubicBezTo>
                  <a:pt x="47" y="21"/>
                  <a:pt x="47" y="21"/>
                  <a:pt x="47" y="21"/>
                </a:cubicBezTo>
                <a:cubicBezTo>
                  <a:pt x="51" y="21"/>
                  <a:pt x="51" y="21"/>
                  <a:pt x="51" y="21"/>
                </a:cubicBezTo>
                <a:lnTo>
                  <a:pt x="49" y="26"/>
                </a:lnTo>
                <a:close/>
                <a:moveTo>
                  <a:pt x="10" y="31"/>
                </a:moveTo>
                <a:cubicBezTo>
                  <a:pt x="9" y="28"/>
                  <a:pt x="9" y="28"/>
                  <a:pt x="9" y="28"/>
                </a:cubicBezTo>
                <a:cubicBezTo>
                  <a:pt x="12" y="28"/>
                  <a:pt x="12" y="28"/>
                  <a:pt x="12" y="28"/>
                </a:cubicBezTo>
                <a:cubicBezTo>
                  <a:pt x="13" y="33"/>
                  <a:pt x="13" y="33"/>
                  <a:pt x="13" y="33"/>
                </a:cubicBezTo>
                <a:cubicBezTo>
                  <a:pt x="12" y="33"/>
                  <a:pt x="11" y="32"/>
                  <a:pt x="10" y="31"/>
                </a:cubicBezTo>
                <a:close/>
                <a:moveTo>
                  <a:pt x="37" y="19"/>
                </a:moveTo>
                <a:cubicBezTo>
                  <a:pt x="30" y="19"/>
                  <a:pt x="30" y="19"/>
                  <a:pt x="30" y="19"/>
                </a:cubicBezTo>
                <a:cubicBezTo>
                  <a:pt x="30" y="14"/>
                  <a:pt x="30" y="14"/>
                  <a:pt x="30" y="14"/>
                </a:cubicBezTo>
                <a:cubicBezTo>
                  <a:pt x="37" y="14"/>
                  <a:pt x="37" y="14"/>
                  <a:pt x="37" y="14"/>
                </a:cubicBezTo>
                <a:lnTo>
                  <a:pt x="37" y="19"/>
                </a:lnTo>
                <a:close/>
                <a:moveTo>
                  <a:pt x="39" y="14"/>
                </a:moveTo>
                <a:cubicBezTo>
                  <a:pt x="47" y="14"/>
                  <a:pt x="47" y="14"/>
                  <a:pt x="47" y="14"/>
                </a:cubicBezTo>
                <a:cubicBezTo>
                  <a:pt x="46" y="19"/>
                  <a:pt x="46" y="19"/>
                  <a:pt x="46" y="19"/>
                </a:cubicBezTo>
                <a:cubicBezTo>
                  <a:pt x="39" y="19"/>
                  <a:pt x="39" y="19"/>
                  <a:pt x="39" y="19"/>
                </a:cubicBezTo>
                <a:lnTo>
                  <a:pt x="39" y="14"/>
                </a:lnTo>
                <a:close/>
                <a:moveTo>
                  <a:pt x="30" y="21"/>
                </a:moveTo>
                <a:cubicBezTo>
                  <a:pt x="37" y="21"/>
                  <a:pt x="37" y="21"/>
                  <a:pt x="37" y="21"/>
                </a:cubicBezTo>
                <a:cubicBezTo>
                  <a:pt x="36" y="26"/>
                  <a:pt x="36" y="26"/>
                  <a:pt x="36" y="26"/>
                </a:cubicBezTo>
                <a:cubicBezTo>
                  <a:pt x="30" y="26"/>
                  <a:pt x="30" y="26"/>
                  <a:pt x="30" y="26"/>
                </a:cubicBezTo>
                <a:lnTo>
                  <a:pt x="30" y="21"/>
                </a:lnTo>
                <a:close/>
                <a:moveTo>
                  <a:pt x="28" y="26"/>
                </a:moveTo>
                <a:cubicBezTo>
                  <a:pt x="22" y="26"/>
                  <a:pt x="22" y="26"/>
                  <a:pt x="22" y="26"/>
                </a:cubicBezTo>
                <a:cubicBezTo>
                  <a:pt x="22" y="21"/>
                  <a:pt x="22" y="21"/>
                  <a:pt x="22" y="21"/>
                </a:cubicBezTo>
                <a:cubicBezTo>
                  <a:pt x="28" y="21"/>
                  <a:pt x="28" y="21"/>
                  <a:pt x="28" y="21"/>
                </a:cubicBezTo>
                <a:lnTo>
                  <a:pt x="28" y="26"/>
                </a:lnTo>
                <a:close/>
                <a:moveTo>
                  <a:pt x="28" y="19"/>
                </a:moveTo>
                <a:cubicBezTo>
                  <a:pt x="21" y="19"/>
                  <a:pt x="21" y="19"/>
                  <a:pt x="21" y="19"/>
                </a:cubicBezTo>
                <a:cubicBezTo>
                  <a:pt x="21" y="14"/>
                  <a:pt x="21" y="14"/>
                  <a:pt x="21" y="14"/>
                </a:cubicBezTo>
                <a:cubicBezTo>
                  <a:pt x="28" y="14"/>
                  <a:pt x="28" y="14"/>
                  <a:pt x="28" y="14"/>
                </a:cubicBezTo>
                <a:lnTo>
                  <a:pt x="28" y="19"/>
                </a:lnTo>
                <a:close/>
                <a:moveTo>
                  <a:pt x="19" y="19"/>
                </a:moveTo>
                <a:cubicBezTo>
                  <a:pt x="13" y="19"/>
                  <a:pt x="13" y="19"/>
                  <a:pt x="13" y="19"/>
                </a:cubicBezTo>
                <a:cubicBezTo>
                  <a:pt x="12" y="14"/>
                  <a:pt x="12" y="14"/>
                  <a:pt x="12" y="14"/>
                </a:cubicBezTo>
                <a:cubicBezTo>
                  <a:pt x="19" y="14"/>
                  <a:pt x="19" y="14"/>
                  <a:pt x="19" y="14"/>
                </a:cubicBezTo>
                <a:lnTo>
                  <a:pt x="19" y="19"/>
                </a:lnTo>
                <a:close/>
                <a:moveTo>
                  <a:pt x="20" y="21"/>
                </a:moveTo>
                <a:cubicBezTo>
                  <a:pt x="20" y="26"/>
                  <a:pt x="20" y="26"/>
                  <a:pt x="20" y="26"/>
                </a:cubicBezTo>
                <a:cubicBezTo>
                  <a:pt x="14" y="26"/>
                  <a:pt x="14" y="26"/>
                  <a:pt x="14" y="26"/>
                </a:cubicBezTo>
                <a:cubicBezTo>
                  <a:pt x="13" y="21"/>
                  <a:pt x="13" y="21"/>
                  <a:pt x="13" y="21"/>
                </a:cubicBezTo>
                <a:lnTo>
                  <a:pt x="20" y="21"/>
                </a:lnTo>
                <a:close/>
                <a:moveTo>
                  <a:pt x="12" y="26"/>
                </a:moveTo>
                <a:cubicBezTo>
                  <a:pt x="8" y="26"/>
                  <a:pt x="8" y="26"/>
                  <a:pt x="8" y="26"/>
                </a:cubicBezTo>
                <a:cubicBezTo>
                  <a:pt x="6" y="21"/>
                  <a:pt x="6" y="21"/>
                  <a:pt x="6" y="21"/>
                </a:cubicBezTo>
                <a:cubicBezTo>
                  <a:pt x="11" y="21"/>
                  <a:pt x="11" y="21"/>
                  <a:pt x="11" y="21"/>
                </a:cubicBezTo>
                <a:lnTo>
                  <a:pt x="12" y="26"/>
                </a:lnTo>
                <a:close/>
                <a:moveTo>
                  <a:pt x="14" y="28"/>
                </a:moveTo>
                <a:cubicBezTo>
                  <a:pt x="20" y="28"/>
                  <a:pt x="20" y="28"/>
                  <a:pt x="20" y="28"/>
                </a:cubicBezTo>
                <a:cubicBezTo>
                  <a:pt x="21" y="33"/>
                  <a:pt x="21" y="33"/>
                  <a:pt x="21" y="33"/>
                </a:cubicBezTo>
                <a:cubicBezTo>
                  <a:pt x="15" y="33"/>
                  <a:pt x="15" y="33"/>
                  <a:pt x="15" y="33"/>
                </a:cubicBezTo>
                <a:lnTo>
                  <a:pt x="14" y="28"/>
                </a:lnTo>
                <a:close/>
                <a:moveTo>
                  <a:pt x="22" y="28"/>
                </a:moveTo>
                <a:cubicBezTo>
                  <a:pt x="28" y="28"/>
                  <a:pt x="28" y="28"/>
                  <a:pt x="28" y="28"/>
                </a:cubicBezTo>
                <a:cubicBezTo>
                  <a:pt x="28" y="33"/>
                  <a:pt x="28" y="33"/>
                  <a:pt x="28" y="33"/>
                </a:cubicBezTo>
                <a:cubicBezTo>
                  <a:pt x="23" y="33"/>
                  <a:pt x="23" y="33"/>
                  <a:pt x="23" y="33"/>
                </a:cubicBezTo>
                <a:lnTo>
                  <a:pt x="22" y="28"/>
                </a:lnTo>
                <a:close/>
                <a:moveTo>
                  <a:pt x="30" y="28"/>
                </a:moveTo>
                <a:cubicBezTo>
                  <a:pt x="36" y="28"/>
                  <a:pt x="36" y="28"/>
                  <a:pt x="36" y="28"/>
                </a:cubicBezTo>
                <a:cubicBezTo>
                  <a:pt x="35" y="33"/>
                  <a:pt x="35" y="33"/>
                  <a:pt x="35" y="33"/>
                </a:cubicBezTo>
                <a:cubicBezTo>
                  <a:pt x="30" y="33"/>
                  <a:pt x="30" y="33"/>
                  <a:pt x="30" y="33"/>
                </a:cubicBezTo>
                <a:lnTo>
                  <a:pt x="30" y="28"/>
                </a:lnTo>
                <a:close/>
                <a:moveTo>
                  <a:pt x="38" y="28"/>
                </a:moveTo>
                <a:cubicBezTo>
                  <a:pt x="43" y="28"/>
                  <a:pt x="43" y="28"/>
                  <a:pt x="43" y="28"/>
                </a:cubicBezTo>
                <a:cubicBezTo>
                  <a:pt x="42" y="33"/>
                  <a:pt x="42" y="33"/>
                  <a:pt x="42" y="33"/>
                </a:cubicBezTo>
                <a:cubicBezTo>
                  <a:pt x="37" y="33"/>
                  <a:pt x="37" y="33"/>
                  <a:pt x="37" y="33"/>
                </a:cubicBezTo>
                <a:lnTo>
                  <a:pt x="38" y="28"/>
                </a:lnTo>
                <a:close/>
                <a:moveTo>
                  <a:pt x="38" y="26"/>
                </a:moveTo>
                <a:cubicBezTo>
                  <a:pt x="39" y="21"/>
                  <a:pt x="39" y="21"/>
                  <a:pt x="39" y="21"/>
                </a:cubicBezTo>
                <a:cubicBezTo>
                  <a:pt x="45" y="21"/>
                  <a:pt x="45" y="21"/>
                  <a:pt x="45" y="21"/>
                </a:cubicBezTo>
                <a:cubicBezTo>
                  <a:pt x="44" y="26"/>
                  <a:pt x="44" y="26"/>
                  <a:pt x="44" y="26"/>
                </a:cubicBezTo>
                <a:lnTo>
                  <a:pt x="38" y="26"/>
                </a:lnTo>
                <a:close/>
                <a:moveTo>
                  <a:pt x="4" y="14"/>
                </a:moveTo>
                <a:cubicBezTo>
                  <a:pt x="4" y="14"/>
                  <a:pt x="4" y="14"/>
                  <a:pt x="4" y="14"/>
                </a:cubicBezTo>
                <a:cubicBezTo>
                  <a:pt x="10" y="14"/>
                  <a:pt x="10" y="14"/>
                  <a:pt x="10" y="14"/>
                </a:cubicBezTo>
                <a:cubicBezTo>
                  <a:pt x="11" y="19"/>
                  <a:pt x="11" y="19"/>
                  <a:pt x="11" y="19"/>
                </a:cubicBezTo>
                <a:cubicBezTo>
                  <a:pt x="5" y="19"/>
                  <a:pt x="5" y="19"/>
                  <a:pt x="5" y="19"/>
                </a:cubicBezTo>
                <a:cubicBezTo>
                  <a:pt x="4" y="15"/>
                  <a:pt x="4" y="15"/>
                  <a:pt x="4" y="15"/>
                </a:cubicBezTo>
                <a:cubicBezTo>
                  <a:pt x="4" y="14"/>
                  <a:pt x="4" y="14"/>
                  <a:pt x="4" y="14"/>
                </a:cubicBezTo>
                <a:cubicBezTo>
                  <a:pt x="4" y="14"/>
                  <a:pt x="4" y="14"/>
                  <a:pt x="4" y="14"/>
                </a:cubicBezTo>
                <a:close/>
                <a:moveTo>
                  <a:pt x="45" y="33"/>
                </a:moveTo>
                <a:cubicBezTo>
                  <a:pt x="44" y="33"/>
                  <a:pt x="44" y="33"/>
                  <a:pt x="44" y="33"/>
                </a:cubicBezTo>
                <a:cubicBezTo>
                  <a:pt x="46" y="28"/>
                  <a:pt x="46" y="28"/>
                  <a:pt x="46" y="28"/>
                </a:cubicBezTo>
                <a:cubicBezTo>
                  <a:pt x="48" y="28"/>
                  <a:pt x="48" y="28"/>
                  <a:pt x="48" y="28"/>
                </a:cubicBezTo>
                <a:cubicBezTo>
                  <a:pt x="48" y="31"/>
                  <a:pt x="48" y="31"/>
                  <a:pt x="48" y="31"/>
                </a:cubicBezTo>
                <a:cubicBezTo>
                  <a:pt x="47" y="32"/>
                  <a:pt x="46" y="33"/>
                  <a:pt x="45" y="33"/>
                </a:cubicBezTo>
                <a:close/>
                <a:moveTo>
                  <a:pt x="15" y="46"/>
                </a:moveTo>
                <a:cubicBezTo>
                  <a:pt x="13" y="46"/>
                  <a:pt x="11" y="47"/>
                  <a:pt x="11" y="49"/>
                </a:cubicBezTo>
                <a:cubicBezTo>
                  <a:pt x="11" y="51"/>
                  <a:pt x="13" y="53"/>
                  <a:pt x="15" y="53"/>
                </a:cubicBezTo>
                <a:cubicBezTo>
                  <a:pt x="17" y="53"/>
                  <a:pt x="18" y="51"/>
                  <a:pt x="18" y="49"/>
                </a:cubicBezTo>
                <a:cubicBezTo>
                  <a:pt x="18" y="47"/>
                  <a:pt x="17" y="46"/>
                  <a:pt x="15" y="46"/>
                </a:cubicBezTo>
                <a:close/>
                <a:moveTo>
                  <a:pt x="15" y="51"/>
                </a:moveTo>
                <a:cubicBezTo>
                  <a:pt x="14" y="51"/>
                  <a:pt x="13" y="50"/>
                  <a:pt x="13" y="49"/>
                </a:cubicBezTo>
                <a:cubicBezTo>
                  <a:pt x="13" y="48"/>
                  <a:pt x="14" y="48"/>
                  <a:pt x="15" y="48"/>
                </a:cubicBezTo>
                <a:cubicBezTo>
                  <a:pt x="16" y="48"/>
                  <a:pt x="16" y="48"/>
                  <a:pt x="16" y="49"/>
                </a:cubicBezTo>
                <a:cubicBezTo>
                  <a:pt x="16" y="50"/>
                  <a:pt x="16" y="51"/>
                  <a:pt x="15" y="51"/>
                </a:cubicBezTo>
                <a:close/>
                <a:moveTo>
                  <a:pt x="43" y="46"/>
                </a:moveTo>
                <a:cubicBezTo>
                  <a:pt x="41" y="46"/>
                  <a:pt x="39" y="47"/>
                  <a:pt x="39" y="49"/>
                </a:cubicBezTo>
                <a:cubicBezTo>
                  <a:pt x="39" y="51"/>
                  <a:pt x="41" y="53"/>
                  <a:pt x="43" y="53"/>
                </a:cubicBezTo>
                <a:cubicBezTo>
                  <a:pt x="45" y="53"/>
                  <a:pt x="46" y="51"/>
                  <a:pt x="46" y="49"/>
                </a:cubicBezTo>
                <a:cubicBezTo>
                  <a:pt x="46" y="47"/>
                  <a:pt x="45" y="46"/>
                  <a:pt x="43" y="46"/>
                </a:cubicBezTo>
                <a:close/>
                <a:moveTo>
                  <a:pt x="43" y="51"/>
                </a:moveTo>
                <a:cubicBezTo>
                  <a:pt x="42" y="51"/>
                  <a:pt x="41" y="50"/>
                  <a:pt x="41" y="49"/>
                </a:cubicBezTo>
                <a:cubicBezTo>
                  <a:pt x="41" y="48"/>
                  <a:pt x="42" y="48"/>
                  <a:pt x="43" y="48"/>
                </a:cubicBezTo>
                <a:cubicBezTo>
                  <a:pt x="44" y="48"/>
                  <a:pt x="44" y="48"/>
                  <a:pt x="44" y="49"/>
                </a:cubicBezTo>
                <a:cubicBezTo>
                  <a:pt x="44" y="50"/>
                  <a:pt x="44" y="51"/>
                  <a:pt x="43" y="51"/>
                </a:cubicBezTo>
                <a:close/>
              </a:path>
            </a:pathLst>
          </a:custGeom>
          <a:solidFill>
            <a:schemeClr val="accent1">
              <a:lumMod val="10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cs typeface="+mn-ea"/>
              <a:sym typeface="+mn-lt"/>
            </a:endParaRPr>
          </a:p>
        </p:txBody>
      </p:sp>
      <p:sp>
        <p:nvSpPr>
          <p:cNvPr id="79" name="Freeform 273">
            <a:extLst>
              <a:ext uri="{FF2B5EF4-FFF2-40B4-BE49-F238E27FC236}">
                <a16:creationId xmlns:a16="http://schemas.microsoft.com/office/drawing/2014/main" id="{AFBA52B9-C2F8-4F6D-8728-220B79D79935}"/>
              </a:ext>
            </a:extLst>
          </p:cNvPr>
          <p:cNvSpPr>
            <a:spLocks noEditPoints="1"/>
          </p:cNvSpPr>
          <p:nvPr/>
        </p:nvSpPr>
        <p:spPr bwMode="auto">
          <a:xfrm>
            <a:off x="4204559" y="1616730"/>
            <a:ext cx="303501" cy="264905"/>
          </a:xfrm>
          <a:custGeom>
            <a:avLst/>
            <a:gdLst>
              <a:gd name="T0" fmla="*/ 0 w 73"/>
              <a:gd name="T1" fmla="*/ 45 h 61"/>
              <a:gd name="T2" fmla="*/ 6 w 73"/>
              <a:gd name="T3" fmla="*/ 39 h 61"/>
              <a:gd name="T4" fmla="*/ 8 w 73"/>
              <a:gd name="T5" fmla="*/ 39 h 61"/>
              <a:gd name="T6" fmla="*/ 21 w 73"/>
              <a:gd name="T7" fmla="*/ 26 h 61"/>
              <a:gd name="T8" fmla="*/ 21 w 73"/>
              <a:gd name="T9" fmla="*/ 25 h 61"/>
              <a:gd name="T10" fmla="*/ 27 w 73"/>
              <a:gd name="T11" fmla="*/ 19 h 61"/>
              <a:gd name="T12" fmla="*/ 33 w 73"/>
              <a:gd name="T13" fmla="*/ 25 h 61"/>
              <a:gd name="T14" fmla="*/ 32 w 73"/>
              <a:gd name="T15" fmla="*/ 27 h 61"/>
              <a:gd name="T16" fmla="*/ 36 w 73"/>
              <a:gd name="T17" fmla="*/ 31 h 61"/>
              <a:gd name="T18" fmla="*/ 38 w 73"/>
              <a:gd name="T19" fmla="*/ 30 h 61"/>
              <a:gd name="T20" fmla="*/ 41 w 73"/>
              <a:gd name="T21" fmla="*/ 31 h 61"/>
              <a:gd name="T22" fmla="*/ 55 w 73"/>
              <a:gd name="T23" fmla="*/ 17 h 61"/>
              <a:gd name="T24" fmla="*/ 54 w 73"/>
              <a:gd name="T25" fmla="*/ 15 h 61"/>
              <a:gd name="T26" fmla="*/ 60 w 73"/>
              <a:gd name="T27" fmla="*/ 9 h 61"/>
              <a:gd name="T28" fmla="*/ 66 w 73"/>
              <a:gd name="T29" fmla="*/ 15 h 61"/>
              <a:gd name="T30" fmla="*/ 60 w 73"/>
              <a:gd name="T31" fmla="*/ 21 h 61"/>
              <a:gd name="T32" fmla="*/ 57 w 73"/>
              <a:gd name="T33" fmla="*/ 20 h 61"/>
              <a:gd name="T34" fmla="*/ 44 w 73"/>
              <a:gd name="T35" fmla="*/ 34 h 61"/>
              <a:gd name="T36" fmla="*/ 44 w 73"/>
              <a:gd name="T37" fmla="*/ 36 h 61"/>
              <a:gd name="T38" fmla="*/ 38 w 73"/>
              <a:gd name="T39" fmla="*/ 42 h 61"/>
              <a:gd name="T40" fmla="*/ 32 w 73"/>
              <a:gd name="T41" fmla="*/ 36 h 61"/>
              <a:gd name="T42" fmla="*/ 33 w 73"/>
              <a:gd name="T43" fmla="*/ 34 h 61"/>
              <a:gd name="T44" fmla="*/ 29 w 73"/>
              <a:gd name="T45" fmla="*/ 30 h 61"/>
              <a:gd name="T46" fmla="*/ 27 w 73"/>
              <a:gd name="T47" fmla="*/ 30 h 61"/>
              <a:gd name="T48" fmla="*/ 24 w 73"/>
              <a:gd name="T49" fmla="*/ 30 h 61"/>
              <a:gd name="T50" fmla="*/ 11 w 73"/>
              <a:gd name="T51" fmla="*/ 42 h 61"/>
              <a:gd name="T52" fmla="*/ 12 w 73"/>
              <a:gd name="T53" fmla="*/ 45 h 61"/>
              <a:gd name="T54" fmla="*/ 6 w 73"/>
              <a:gd name="T55" fmla="*/ 51 h 61"/>
              <a:gd name="T56" fmla="*/ 0 w 73"/>
              <a:gd name="T57" fmla="*/ 45 h 61"/>
              <a:gd name="T58" fmla="*/ 71 w 73"/>
              <a:gd name="T59" fmla="*/ 0 h 61"/>
              <a:gd name="T60" fmla="*/ 69 w 73"/>
              <a:gd name="T61" fmla="*/ 2 h 61"/>
              <a:gd name="T62" fmla="*/ 69 w 73"/>
              <a:gd name="T63" fmla="*/ 57 h 61"/>
              <a:gd name="T64" fmla="*/ 2 w 73"/>
              <a:gd name="T65" fmla="*/ 57 h 61"/>
              <a:gd name="T66" fmla="*/ 0 w 73"/>
              <a:gd name="T67" fmla="*/ 59 h 61"/>
              <a:gd name="T68" fmla="*/ 2 w 73"/>
              <a:gd name="T69" fmla="*/ 61 h 61"/>
              <a:gd name="T70" fmla="*/ 71 w 73"/>
              <a:gd name="T71" fmla="*/ 61 h 61"/>
              <a:gd name="T72" fmla="*/ 73 w 73"/>
              <a:gd name="T73" fmla="*/ 59 h 61"/>
              <a:gd name="T74" fmla="*/ 73 w 73"/>
              <a:gd name="T75" fmla="*/ 2 h 61"/>
              <a:gd name="T76" fmla="*/ 71 w 73"/>
              <a:gd name="T77" fmla="*/ 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3" h="61">
                <a:moveTo>
                  <a:pt x="0" y="45"/>
                </a:moveTo>
                <a:cubicBezTo>
                  <a:pt x="0" y="41"/>
                  <a:pt x="2" y="39"/>
                  <a:pt x="6" y="39"/>
                </a:cubicBezTo>
                <a:cubicBezTo>
                  <a:pt x="6" y="39"/>
                  <a:pt x="7" y="39"/>
                  <a:pt x="8" y="39"/>
                </a:cubicBezTo>
                <a:cubicBezTo>
                  <a:pt x="21" y="26"/>
                  <a:pt x="21" y="26"/>
                  <a:pt x="21" y="26"/>
                </a:cubicBezTo>
                <a:cubicBezTo>
                  <a:pt x="21" y="26"/>
                  <a:pt x="21" y="25"/>
                  <a:pt x="21" y="25"/>
                </a:cubicBezTo>
                <a:cubicBezTo>
                  <a:pt x="21" y="21"/>
                  <a:pt x="24" y="19"/>
                  <a:pt x="27" y="19"/>
                </a:cubicBezTo>
                <a:cubicBezTo>
                  <a:pt x="30" y="19"/>
                  <a:pt x="33" y="21"/>
                  <a:pt x="33" y="25"/>
                </a:cubicBezTo>
                <a:cubicBezTo>
                  <a:pt x="33" y="25"/>
                  <a:pt x="33" y="26"/>
                  <a:pt x="32" y="27"/>
                </a:cubicBezTo>
                <a:cubicBezTo>
                  <a:pt x="36" y="31"/>
                  <a:pt x="36" y="31"/>
                  <a:pt x="36" y="31"/>
                </a:cubicBezTo>
                <a:cubicBezTo>
                  <a:pt x="37" y="30"/>
                  <a:pt x="37" y="30"/>
                  <a:pt x="38" y="30"/>
                </a:cubicBezTo>
                <a:cubicBezTo>
                  <a:pt x="39" y="30"/>
                  <a:pt x="40" y="30"/>
                  <a:pt x="41" y="31"/>
                </a:cubicBezTo>
                <a:cubicBezTo>
                  <a:pt x="55" y="17"/>
                  <a:pt x="55" y="17"/>
                  <a:pt x="55" y="17"/>
                </a:cubicBezTo>
                <a:cubicBezTo>
                  <a:pt x="54" y="17"/>
                  <a:pt x="54" y="16"/>
                  <a:pt x="54" y="15"/>
                </a:cubicBezTo>
                <a:cubicBezTo>
                  <a:pt x="54" y="11"/>
                  <a:pt x="57" y="9"/>
                  <a:pt x="60" y="9"/>
                </a:cubicBezTo>
                <a:cubicBezTo>
                  <a:pt x="63" y="9"/>
                  <a:pt x="66" y="11"/>
                  <a:pt x="66" y="15"/>
                </a:cubicBezTo>
                <a:cubicBezTo>
                  <a:pt x="66" y="18"/>
                  <a:pt x="63" y="21"/>
                  <a:pt x="60" y="21"/>
                </a:cubicBezTo>
                <a:cubicBezTo>
                  <a:pt x="59" y="21"/>
                  <a:pt x="58" y="21"/>
                  <a:pt x="57" y="20"/>
                </a:cubicBezTo>
                <a:cubicBezTo>
                  <a:pt x="44" y="34"/>
                  <a:pt x="44" y="34"/>
                  <a:pt x="44" y="34"/>
                </a:cubicBezTo>
                <a:cubicBezTo>
                  <a:pt x="44" y="34"/>
                  <a:pt x="44" y="35"/>
                  <a:pt x="44" y="36"/>
                </a:cubicBezTo>
                <a:cubicBezTo>
                  <a:pt x="44" y="39"/>
                  <a:pt x="42" y="42"/>
                  <a:pt x="38" y="42"/>
                </a:cubicBezTo>
                <a:cubicBezTo>
                  <a:pt x="35" y="42"/>
                  <a:pt x="32" y="39"/>
                  <a:pt x="32" y="36"/>
                </a:cubicBezTo>
                <a:cubicBezTo>
                  <a:pt x="32" y="35"/>
                  <a:pt x="33" y="34"/>
                  <a:pt x="33" y="34"/>
                </a:cubicBezTo>
                <a:cubicBezTo>
                  <a:pt x="29" y="30"/>
                  <a:pt x="29" y="30"/>
                  <a:pt x="29" y="30"/>
                </a:cubicBezTo>
                <a:cubicBezTo>
                  <a:pt x="29" y="30"/>
                  <a:pt x="28" y="30"/>
                  <a:pt x="27" y="30"/>
                </a:cubicBezTo>
                <a:cubicBezTo>
                  <a:pt x="26" y="30"/>
                  <a:pt x="25" y="30"/>
                  <a:pt x="24" y="30"/>
                </a:cubicBezTo>
                <a:cubicBezTo>
                  <a:pt x="11" y="42"/>
                  <a:pt x="11" y="42"/>
                  <a:pt x="11" y="42"/>
                </a:cubicBezTo>
                <a:cubicBezTo>
                  <a:pt x="11" y="43"/>
                  <a:pt x="12" y="44"/>
                  <a:pt x="12" y="45"/>
                </a:cubicBezTo>
                <a:cubicBezTo>
                  <a:pt x="12" y="48"/>
                  <a:pt x="9" y="51"/>
                  <a:pt x="6" y="51"/>
                </a:cubicBezTo>
                <a:cubicBezTo>
                  <a:pt x="2" y="51"/>
                  <a:pt x="0" y="48"/>
                  <a:pt x="0" y="45"/>
                </a:cubicBezTo>
                <a:close/>
                <a:moveTo>
                  <a:pt x="71" y="0"/>
                </a:moveTo>
                <a:cubicBezTo>
                  <a:pt x="69" y="0"/>
                  <a:pt x="69" y="1"/>
                  <a:pt x="69" y="2"/>
                </a:cubicBezTo>
                <a:cubicBezTo>
                  <a:pt x="69" y="57"/>
                  <a:pt x="69" y="57"/>
                  <a:pt x="69" y="57"/>
                </a:cubicBezTo>
                <a:cubicBezTo>
                  <a:pt x="2" y="57"/>
                  <a:pt x="2" y="57"/>
                  <a:pt x="2" y="57"/>
                </a:cubicBezTo>
                <a:cubicBezTo>
                  <a:pt x="1" y="57"/>
                  <a:pt x="0" y="58"/>
                  <a:pt x="0" y="59"/>
                </a:cubicBezTo>
                <a:cubicBezTo>
                  <a:pt x="0" y="61"/>
                  <a:pt x="1" y="61"/>
                  <a:pt x="2" y="61"/>
                </a:cubicBezTo>
                <a:cubicBezTo>
                  <a:pt x="71" y="61"/>
                  <a:pt x="71" y="61"/>
                  <a:pt x="71" y="61"/>
                </a:cubicBezTo>
                <a:cubicBezTo>
                  <a:pt x="72" y="61"/>
                  <a:pt x="73" y="61"/>
                  <a:pt x="73" y="59"/>
                </a:cubicBezTo>
                <a:cubicBezTo>
                  <a:pt x="73" y="2"/>
                  <a:pt x="73" y="2"/>
                  <a:pt x="73" y="2"/>
                </a:cubicBezTo>
                <a:cubicBezTo>
                  <a:pt x="73" y="1"/>
                  <a:pt x="72" y="0"/>
                  <a:pt x="71" y="0"/>
                </a:cubicBezTo>
                <a:close/>
              </a:path>
            </a:pathLst>
          </a:custGeom>
          <a:solidFill>
            <a:schemeClr val="accent1">
              <a:lumMod val="10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cs typeface="+mn-ea"/>
              <a:sym typeface="+mn-lt"/>
            </a:endParaRPr>
          </a:p>
        </p:txBody>
      </p:sp>
      <p:sp>
        <p:nvSpPr>
          <p:cNvPr id="80" name="Freeform 275">
            <a:extLst>
              <a:ext uri="{FF2B5EF4-FFF2-40B4-BE49-F238E27FC236}">
                <a16:creationId xmlns:a16="http://schemas.microsoft.com/office/drawing/2014/main" id="{BFF92189-1CA1-45F5-9D04-B609F30552F6}"/>
              </a:ext>
            </a:extLst>
          </p:cNvPr>
          <p:cNvSpPr>
            <a:spLocks noEditPoints="1"/>
          </p:cNvSpPr>
          <p:nvPr/>
        </p:nvSpPr>
        <p:spPr bwMode="auto">
          <a:xfrm>
            <a:off x="6567918" y="5206431"/>
            <a:ext cx="224556" cy="307009"/>
          </a:xfrm>
          <a:custGeom>
            <a:avLst/>
            <a:gdLst>
              <a:gd name="T0" fmla="*/ 14 w 54"/>
              <a:gd name="T1" fmla="*/ 19 h 71"/>
              <a:gd name="T2" fmla="*/ 13 w 54"/>
              <a:gd name="T3" fmla="*/ 18 h 71"/>
              <a:gd name="T4" fmla="*/ 12 w 54"/>
              <a:gd name="T5" fmla="*/ 16 h 71"/>
              <a:gd name="T6" fmla="*/ 53 w 54"/>
              <a:gd name="T7" fmla="*/ 51 h 71"/>
              <a:gd name="T8" fmla="*/ 51 w 54"/>
              <a:gd name="T9" fmla="*/ 60 h 71"/>
              <a:gd name="T10" fmla="*/ 50 w 54"/>
              <a:gd name="T11" fmla="*/ 71 h 71"/>
              <a:gd name="T12" fmla="*/ 0 w 54"/>
              <a:gd name="T13" fmla="*/ 62 h 71"/>
              <a:gd name="T14" fmla="*/ 4 w 54"/>
              <a:gd name="T15" fmla="*/ 55 h 71"/>
              <a:gd name="T16" fmla="*/ 18 w 54"/>
              <a:gd name="T17" fmla="*/ 34 h 71"/>
              <a:gd name="T18" fmla="*/ 16 w 54"/>
              <a:gd name="T19" fmla="*/ 31 h 71"/>
              <a:gd name="T20" fmla="*/ 11 w 54"/>
              <a:gd name="T21" fmla="*/ 35 h 71"/>
              <a:gd name="T22" fmla="*/ 2 w 54"/>
              <a:gd name="T23" fmla="*/ 29 h 71"/>
              <a:gd name="T24" fmla="*/ 9 w 54"/>
              <a:gd name="T25" fmla="*/ 14 h 71"/>
              <a:gd name="T26" fmla="*/ 14 w 54"/>
              <a:gd name="T27" fmla="*/ 6 h 71"/>
              <a:gd name="T28" fmla="*/ 12 w 54"/>
              <a:gd name="T29" fmla="*/ 1 h 71"/>
              <a:gd name="T30" fmla="*/ 13 w 54"/>
              <a:gd name="T31" fmla="*/ 0 h 71"/>
              <a:gd name="T32" fmla="*/ 15 w 54"/>
              <a:gd name="T33" fmla="*/ 0 h 71"/>
              <a:gd name="T34" fmla="*/ 44 w 54"/>
              <a:gd name="T35" fmla="*/ 13 h 71"/>
              <a:gd name="T36" fmla="*/ 53 w 54"/>
              <a:gd name="T37" fmla="*/ 48 h 71"/>
              <a:gd name="T38" fmla="*/ 48 w 54"/>
              <a:gd name="T39" fmla="*/ 59 h 71"/>
              <a:gd name="T40" fmla="*/ 5 w 54"/>
              <a:gd name="T41" fmla="*/ 59 h 71"/>
              <a:gd name="T42" fmla="*/ 48 w 54"/>
              <a:gd name="T43" fmla="*/ 59 h 71"/>
              <a:gd name="T44" fmla="*/ 3 w 54"/>
              <a:gd name="T45" fmla="*/ 63 h 71"/>
              <a:gd name="T46" fmla="*/ 49 w 54"/>
              <a:gd name="T47" fmla="*/ 63 h 71"/>
              <a:gd name="T48" fmla="*/ 8 w 54"/>
              <a:gd name="T49" fmla="*/ 47 h 71"/>
              <a:gd name="T50" fmla="*/ 9 w 54"/>
              <a:gd name="T51" fmla="*/ 55 h 71"/>
              <a:gd name="T52" fmla="*/ 18 w 54"/>
              <a:gd name="T53" fmla="*/ 44 h 71"/>
              <a:gd name="T54" fmla="*/ 11 w 54"/>
              <a:gd name="T55" fmla="*/ 55 h 71"/>
              <a:gd name="T56" fmla="*/ 40 w 54"/>
              <a:gd name="T57" fmla="*/ 46 h 71"/>
              <a:gd name="T58" fmla="*/ 24 w 54"/>
              <a:gd name="T59" fmla="*/ 7 h 71"/>
              <a:gd name="T60" fmla="*/ 22 w 54"/>
              <a:gd name="T61" fmla="*/ 7 h 71"/>
              <a:gd name="T62" fmla="*/ 20 w 54"/>
              <a:gd name="T63" fmla="*/ 6 h 71"/>
              <a:gd name="T64" fmla="*/ 17 w 54"/>
              <a:gd name="T65" fmla="*/ 4 h 71"/>
              <a:gd name="T66" fmla="*/ 19 w 54"/>
              <a:gd name="T67" fmla="*/ 9 h 71"/>
              <a:gd name="T68" fmla="*/ 17 w 54"/>
              <a:gd name="T69" fmla="*/ 8 h 71"/>
              <a:gd name="T70" fmla="*/ 7 w 54"/>
              <a:gd name="T71" fmla="*/ 23 h 71"/>
              <a:gd name="T72" fmla="*/ 7 w 54"/>
              <a:gd name="T73" fmla="*/ 30 h 71"/>
              <a:gd name="T74" fmla="*/ 13 w 54"/>
              <a:gd name="T75" fmla="*/ 31 h 71"/>
              <a:gd name="T76" fmla="*/ 21 w 54"/>
              <a:gd name="T77" fmla="*/ 26 h 71"/>
              <a:gd name="T78" fmla="*/ 29 w 54"/>
              <a:gd name="T79" fmla="*/ 20 h 71"/>
              <a:gd name="T80" fmla="*/ 23 w 54"/>
              <a:gd name="T81" fmla="*/ 28 h 71"/>
              <a:gd name="T82" fmla="*/ 30 w 54"/>
              <a:gd name="T83" fmla="*/ 6 h 71"/>
              <a:gd name="T84" fmla="*/ 42 w 54"/>
              <a:gd name="T85" fmla="*/ 46 h 71"/>
              <a:gd name="T86" fmla="*/ 46 w 54"/>
              <a:gd name="T87" fmla="*/ 44 h 71"/>
              <a:gd name="T88" fmla="*/ 30 w 54"/>
              <a:gd name="T89" fmla="*/ 6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4" h="71">
                <a:moveTo>
                  <a:pt x="17" y="15"/>
                </a:moveTo>
                <a:cubicBezTo>
                  <a:pt x="17" y="15"/>
                  <a:pt x="17" y="16"/>
                  <a:pt x="17" y="16"/>
                </a:cubicBezTo>
                <a:cubicBezTo>
                  <a:pt x="14" y="19"/>
                  <a:pt x="14" y="19"/>
                  <a:pt x="14" y="19"/>
                </a:cubicBezTo>
                <a:cubicBezTo>
                  <a:pt x="14" y="20"/>
                  <a:pt x="14" y="20"/>
                  <a:pt x="13" y="20"/>
                </a:cubicBezTo>
                <a:cubicBezTo>
                  <a:pt x="13" y="20"/>
                  <a:pt x="13" y="20"/>
                  <a:pt x="13" y="19"/>
                </a:cubicBezTo>
                <a:cubicBezTo>
                  <a:pt x="12" y="19"/>
                  <a:pt x="12" y="18"/>
                  <a:pt x="13" y="18"/>
                </a:cubicBezTo>
                <a:cubicBezTo>
                  <a:pt x="13" y="18"/>
                  <a:pt x="13" y="18"/>
                  <a:pt x="13" y="18"/>
                </a:cubicBezTo>
                <a:cubicBezTo>
                  <a:pt x="12" y="18"/>
                  <a:pt x="11" y="18"/>
                  <a:pt x="11" y="17"/>
                </a:cubicBezTo>
                <a:cubicBezTo>
                  <a:pt x="11" y="17"/>
                  <a:pt x="11" y="16"/>
                  <a:pt x="12" y="16"/>
                </a:cubicBezTo>
                <a:cubicBezTo>
                  <a:pt x="16" y="15"/>
                  <a:pt x="16" y="15"/>
                  <a:pt x="16" y="15"/>
                </a:cubicBezTo>
                <a:cubicBezTo>
                  <a:pt x="16" y="14"/>
                  <a:pt x="17" y="15"/>
                  <a:pt x="17" y="15"/>
                </a:cubicBezTo>
                <a:close/>
                <a:moveTo>
                  <a:pt x="53" y="51"/>
                </a:moveTo>
                <a:cubicBezTo>
                  <a:pt x="48" y="55"/>
                  <a:pt x="48" y="55"/>
                  <a:pt x="48" y="55"/>
                </a:cubicBezTo>
                <a:cubicBezTo>
                  <a:pt x="50" y="55"/>
                  <a:pt x="51" y="57"/>
                  <a:pt x="51" y="59"/>
                </a:cubicBezTo>
                <a:cubicBezTo>
                  <a:pt x="51" y="59"/>
                  <a:pt x="51" y="60"/>
                  <a:pt x="51" y="60"/>
                </a:cubicBezTo>
                <a:cubicBezTo>
                  <a:pt x="52" y="60"/>
                  <a:pt x="52" y="61"/>
                  <a:pt x="52" y="62"/>
                </a:cubicBezTo>
                <a:cubicBezTo>
                  <a:pt x="52" y="69"/>
                  <a:pt x="52" y="69"/>
                  <a:pt x="52" y="69"/>
                </a:cubicBezTo>
                <a:cubicBezTo>
                  <a:pt x="52" y="71"/>
                  <a:pt x="51" y="71"/>
                  <a:pt x="50" y="71"/>
                </a:cubicBezTo>
                <a:cubicBezTo>
                  <a:pt x="2" y="71"/>
                  <a:pt x="2" y="71"/>
                  <a:pt x="2" y="71"/>
                </a:cubicBezTo>
                <a:cubicBezTo>
                  <a:pt x="1" y="71"/>
                  <a:pt x="0" y="71"/>
                  <a:pt x="0" y="69"/>
                </a:cubicBezTo>
                <a:cubicBezTo>
                  <a:pt x="0" y="62"/>
                  <a:pt x="0" y="62"/>
                  <a:pt x="0" y="62"/>
                </a:cubicBezTo>
                <a:cubicBezTo>
                  <a:pt x="0" y="61"/>
                  <a:pt x="1" y="60"/>
                  <a:pt x="2" y="60"/>
                </a:cubicBezTo>
                <a:cubicBezTo>
                  <a:pt x="2" y="60"/>
                  <a:pt x="2" y="59"/>
                  <a:pt x="2" y="59"/>
                </a:cubicBezTo>
                <a:cubicBezTo>
                  <a:pt x="2" y="57"/>
                  <a:pt x="2" y="56"/>
                  <a:pt x="4" y="55"/>
                </a:cubicBezTo>
                <a:cubicBezTo>
                  <a:pt x="4" y="53"/>
                  <a:pt x="3" y="49"/>
                  <a:pt x="5" y="46"/>
                </a:cubicBezTo>
                <a:cubicBezTo>
                  <a:pt x="6" y="44"/>
                  <a:pt x="9" y="42"/>
                  <a:pt x="12" y="40"/>
                </a:cubicBezTo>
                <a:cubicBezTo>
                  <a:pt x="14" y="38"/>
                  <a:pt x="17" y="35"/>
                  <a:pt x="18" y="34"/>
                </a:cubicBezTo>
                <a:cubicBezTo>
                  <a:pt x="19" y="32"/>
                  <a:pt x="20" y="30"/>
                  <a:pt x="20" y="29"/>
                </a:cubicBezTo>
                <a:cubicBezTo>
                  <a:pt x="19" y="29"/>
                  <a:pt x="18" y="29"/>
                  <a:pt x="17" y="29"/>
                </a:cubicBezTo>
                <a:cubicBezTo>
                  <a:pt x="17" y="29"/>
                  <a:pt x="17" y="29"/>
                  <a:pt x="16" y="31"/>
                </a:cubicBezTo>
                <a:cubicBezTo>
                  <a:pt x="16" y="32"/>
                  <a:pt x="15" y="33"/>
                  <a:pt x="15" y="33"/>
                </a:cubicBezTo>
                <a:cubicBezTo>
                  <a:pt x="14" y="34"/>
                  <a:pt x="13" y="35"/>
                  <a:pt x="12" y="35"/>
                </a:cubicBezTo>
                <a:cubicBezTo>
                  <a:pt x="11" y="35"/>
                  <a:pt x="11" y="35"/>
                  <a:pt x="11" y="35"/>
                </a:cubicBezTo>
                <a:cubicBezTo>
                  <a:pt x="10" y="35"/>
                  <a:pt x="9" y="35"/>
                  <a:pt x="8" y="33"/>
                </a:cubicBezTo>
                <a:cubicBezTo>
                  <a:pt x="7" y="33"/>
                  <a:pt x="7" y="33"/>
                  <a:pt x="6" y="33"/>
                </a:cubicBezTo>
                <a:cubicBezTo>
                  <a:pt x="5" y="32"/>
                  <a:pt x="2" y="31"/>
                  <a:pt x="2" y="29"/>
                </a:cubicBezTo>
                <a:cubicBezTo>
                  <a:pt x="2" y="28"/>
                  <a:pt x="2" y="28"/>
                  <a:pt x="2" y="28"/>
                </a:cubicBezTo>
                <a:cubicBezTo>
                  <a:pt x="2" y="26"/>
                  <a:pt x="2" y="23"/>
                  <a:pt x="5" y="21"/>
                </a:cubicBezTo>
                <a:cubicBezTo>
                  <a:pt x="8" y="18"/>
                  <a:pt x="9" y="15"/>
                  <a:pt x="9" y="14"/>
                </a:cubicBezTo>
                <a:cubicBezTo>
                  <a:pt x="9" y="14"/>
                  <a:pt x="9" y="14"/>
                  <a:pt x="9" y="14"/>
                </a:cubicBezTo>
                <a:cubicBezTo>
                  <a:pt x="9" y="13"/>
                  <a:pt x="9" y="12"/>
                  <a:pt x="15" y="7"/>
                </a:cubicBezTo>
                <a:cubicBezTo>
                  <a:pt x="14" y="7"/>
                  <a:pt x="14" y="6"/>
                  <a:pt x="14" y="6"/>
                </a:cubicBezTo>
                <a:cubicBezTo>
                  <a:pt x="14" y="5"/>
                  <a:pt x="12" y="3"/>
                  <a:pt x="12" y="3"/>
                </a:cubicBezTo>
                <a:cubicBezTo>
                  <a:pt x="12" y="2"/>
                  <a:pt x="12" y="2"/>
                  <a:pt x="12" y="1"/>
                </a:cubicBezTo>
                <a:cubicBezTo>
                  <a:pt x="12" y="1"/>
                  <a:pt x="12" y="1"/>
                  <a:pt x="12" y="1"/>
                </a:cubicBezTo>
                <a:cubicBezTo>
                  <a:pt x="13" y="1"/>
                  <a:pt x="13" y="1"/>
                  <a:pt x="13" y="1"/>
                </a:cubicBezTo>
                <a:cubicBezTo>
                  <a:pt x="13" y="1"/>
                  <a:pt x="13" y="0"/>
                  <a:pt x="13" y="0"/>
                </a:cubicBezTo>
                <a:cubicBezTo>
                  <a:pt x="13" y="0"/>
                  <a:pt x="13" y="0"/>
                  <a:pt x="13" y="0"/>
                </a:cubicBezTo>
                <a:cubicBezTo>
                  <a:pt x="14" y="0"/>
                  <a:pt x="14" y="0"/>
                  <a:pt x="14" y="0"/>
                </a:cubicBezTo>
                <a:cubicBezTo>
                  <a:pt x="14" y="0"/>
                  <a:pt x="14" y="0"/>
                  <a:pt x="15" y="0"/>
                </a:cubicBezTo>
                <a:cubicBezTo>
                  <a:pt x="15" y="0"/>
                  <a:pt x="15" y="0"/>
                  <a:pt x="15" y="0"/>
                </a:cubicBezTo>
                <a:cubicBezTo>
                  <a:pt x="16" y="0"/>
                  <a:pt x="20" y="2"/>
                  <a:pt x="21" y="3"/>
                </a:cubicBezTo>
                <a:cubicBezTo>
                  <a:pt x="23" y="2"/>
                  <a:pt x="24" y="2"/>
                  <a:pt x="25" y="2"/>
                </a:cubicBezTo>
                <a:cubicBezTo>
                  <a:pt x="31" y="2"/>
                  <a:pt x="39" y="4"/>
                  <a:pt x="44" y="13"/>
                </a:cubicBezTo>
                <a:cubicBezTo>
                  <a:pt x="50" y="23"/>
                  <a:pt x="49" y="31"/>
                  <a:pt x="48" y="37"/>
                </a:cubicBezTo>
                <a:cubicBezTo>
                  <a:pt x="48" y="39"/>
                  <a:pt x="48" y="42"/>
                  <a:pt x="48" y="43"/>
                </a:cubicBezTo>
                <a:cubicBezTo>
                  <a:pt x="50" y="45"/>
                  <a:pt x="53" y="47"/>
                  <a:pt x="53" y="48"/>
                </a:cubicBezTo>
                <a:cubicBezTo>
                  <a:pt x="53" y="48"/>
                  <a:pt x="54" y="49"/>
                  <a:pt x="54" y="49"/>
                </a:cubicBezTo>
                <a:cubicBezTo>
                  <a:pt x="54" y="50"/>
                  <a:pt x="53" y="50"/>
                  <a:pt x="53" y="51"/>
                </a:cubicBezTo>
                <a:close/>
                <a:moveTo>
                  <a:pt x="48" y="59"/>
                </a:moveTo>
                <a:cubicBezTo>
                  <a:pt x="48" y="58"/>
                  <a:pt x="47" y="57"/>
                  <a:pt x="45" y="57"/>
                </a:cubicBezTo>
                <a:cubicBezTo>
                  <a:pt x="7" y="57"/>
                  <a:pt x="7" y="57"/>
                  <a:pt x="7" y="57"/>
                </a:cubicBezTo>
                <a:cubicBezTo>
                  <a:pt x="6" y="57"/>
                  <a:pt x="5" y="58"/>
                  <a:pt x="5" y="59"/>
                </a:cubicBezTo>
                <a:cubicBezTo>
                  <a:pt x="5" y="60"/>
                  <a:pt x="6" y="61"/>
                  <a:pt x="7" y="61"/>
                </a:cubicBezTo>
                <a:cubicBezTo>
                  <a:pt x="45" y="61"/>
                  <a:pt x="45" y="61"/>
                  <a:pt x="45" y="61"/>
                </a:cubicBezTo>
                <a:cubicBezTo>
                  <a:pt x="47" y="61"/>
                  <a:pt x="48" y="60"/>
                  <a:pt x="48" y="59"/>
                </a:cubicBezTo>
                <a:close/>
                <a:moveTo>
                  <a:pt x="45" y="63"/>
                </a:moveTo>
                <a:cubicBezTo>
                  <a:pt x="7" y="63"/>
                  <a:pt x="7" y="63"/>
                  <a:pt x="7" y="63"/>
                </a:cubicBezTo>
                <a:cubicBezTo>
                  <a:pt x="3" y="63"/>
                  <a:pt x="3" y="63"/>
                  <a:pt x="3" y="63"/>
                </a:cubicBezTo>
                <a:cubicBezTo>
                  <a:pt x="3" y="68"/>
                  <a:pt x="3" y="68"/>
                  <a:pt x="3" y="68"/>
                </a:cubicBezTo>
                <a:cubicBezTo>
                  <a:pt x="49" y="68"/>
                  <a:pt x="49" y="68"/>
                  <a:pt x="49" y="68"/>
                </a:cubicBezTo>
                <a:cubicBezTo>
                  <a:pt x="49" y="63"/>
                  <a:pt x="49" y="63"/>
                  <a:pt x="49" y="63"/>
                </a:cubicBezTo>
                <a:lnTo>
                  <a:pt x="45" y="63"/>
                </a:lnTo>
                <a:close/>
                <a:moveTo>
                  <a:pt x="13" y="42"/>
                </a:moveTo>
                <a:cubicBezTo>
                  <a:pt x="11" y="44"/>
                  <a:pt x="8" y="46"/>
                  <a:pt x="8" y="47"/>
                </a:cubicBezTo>
                <a:cubicBezTo>
                  <a:pt x="6" y="51"/>
                  <a:pt x="7" y="55"/>
                  <a:pt x="7" y="55"/>
                </a:cubicBezTo>
                <a:cubicBezTo>
                  <a:pt x="7" y="55"/>
                  <a:pt x="7" y="55"/>
                  <a:pt x="7" y="55"/>
                </a:cubicBezTo>
                <a:cubicBezTo>
                  <a:pt x="9" y="55"/>
                  <a:pt x="9" y="55"/>
                  <a:pt x="9" y="55"/>
                </a:cubicBezTo>
                <a:cubicBezTo>
                  <a:pt x="9" y="54"/>
                  <a:pt x="9" y="49"/>
                  <a:pt x="12" y="47"/>
                </a:cubicBezTo>
                <a:cubicBezTo>
                  <a:pt x="14" y="45"/>
                  <a:pt x="16" y="43"/>
                  <a:pt x="17" y="43"/>
                </a:cubicBezTo>
                <a:cubicBezTo>
                  <a:pt x="17" y="43"/>
                  <a:pt x="18" y="43"/>
                  <a:pt x="18" y="44"/>
                </a:cubicBezTo>
                <a:cubicBezTo>
                  <a:pt x="18" y="44"/>
                  <a:pt x="18" y="45"/>
                  <a:pt x="18" y="45"/>
                </a:cubicBezTo>
                <a:cubicBezTo>
                  <a:pt x="18" y="45"/>
                  <a:pt x="15" y="46"/>
                  <a:pt x="13" y="49"/>
                </a:cubicBezTo>
                <a:cubicBezTo>
                  <a:pt x="11" y="51"/>
                  <a:pt x="11" y="55"/>
                  <a:pt x="11" y="55"/>
                </a:cubicBezTo>
                <a:cubicBezTo>
                  <a:pt x="11" y="55"/>
                  <a:pt x="11" y="55"/>
                  <a:pt x="11" y="55"/>
                </a:cubicBezTo>
                <a:cubicBezTo>
                  <a:pt x="43" y="55"/>
                  <a:pt x="43" y="55"/>
                  <a:pt x="43" y="55"/>
                </a:cubicBezTo>
                <a:cubicBezTo>
                  <a:pt x="42" y="54"/>
                  <a:pt x="40" y="50"/>
                  <a:pt x="40" y="46"/>
                </a:cubicBezTo>
                <a:cubicBezTo>
                  <a:pt x="40" y="45"/>
                  <a:pt x="40" y="43"/>
                  <a:pt x="41" y="41"/>
                </a:cubicBezTo>
                <a:cubicBezTo>
                  <a:pt x="42" y="36"/>
                  <a:pt x="43" y="27"/>
                  <a:pt x="40" y="18"/>
                </a:cubicBezTo>
                <a:cubicBezTo>
                  <a:pt x="36" y="8"/>
                  <a:pt x="27" y="7"/>
                  <a:pt x="24" y="7"/>
                </a:cubicBezTo>
                <a:cubicBezTo>
                  <a:pt x="24" y="7"/>
                  <a:pt x="24" y="7"/>
                  <a:pt x="23" y="7"/>
                </a:cubicBezTo>
                <a:cubicBezTo>
                  <a:pt x="23" y="7"/>
                  <a:pt x="23" y="7"/>
                  <a:pt x="23" y="7"/>
                </a:cubicBezTo>
                <a:cubicBezTo>
                  <a:pt x="23" y="7"/>
                  <a:pt x="23" y="7"/>
                  <a:pt x="22" y="7"/>
                </a:cubicBezTo>
                <a:cubicBezTo>
                  <a:pt x="22" y="7"/>
                  <a:pt x="22" y="7"/>
                  <a:pt x="22" y="7"/>
                </a:cubicBezTo>
                <a:cubicBezTo>
                  <a:pt x="22" y="7"/>
                  <a:pt x="21" y="6"/>
                  <a:pt x="21" y="6"/>
                </a:cubicBezTo>
                <a:cubicBezTo>
                  <a:pt x="20" y="6"/>
                  <a:pt x="20" y="6"/>
                  <a:pt x="20" y="6"/>
                </a:cubicBezTo>
                <a:cubicBezTo>
                  <a:pt x="20" y="6"/>
                  <a:pt x="19" y="6"/>
                  <a:pt x="19" y="5"/>
                </a:cubicBezTo>
                <a:cubicBezTo>
                  <a:pt x="19" y="5"/>
                  <a:pt x="19" y="5"/>
                  <a:pt x="19" y="5"/>
                </a:cubicBezTo>
                <a:cubicBezTo>
                  <a:pt x="18" y="5"/>
                  <a:pt x="18" y="4"/>
                  <a:pt x="17" y="4"/>
                </a:cubicBezTo>
                <a:cubicBezTo>
                  <a:pt x="19" y="7"/>
                  <a:pt x="19" y="7"/>
                  <a:pt x="19" y="7"/>
                </a:cubicBezTo>
                <a:cubicBezTo>
                  <a:pt x="20" y="8"/>
                  <a:pt x="20" y="8"/>
                  <a:pt x="20" y="8"/>
                </a:cubicBezTo>
                <a:cubicBezTo>
                  <a:pt x="20" y="9"/>
                  <a:pt x="19" y="9"/>
                  <a:pt x="19" y="9"/>
                </a:cubicBezTo>
                <a:cubicBezTo>
                  <a:pt x="19" y="9"/>
                  <a:pt x="19" y="9"/>
                  <a:pt x="19" y="9"/>
                </a:cubicBezTo>
                <a:cubicBezTo>
                  <a:pt x="19" y="9"/>
                  <a:pt x="18" y="9"/>
                  <a:pt x="18" y="9"/>
                </a:cubicBezTo>
                <a:cubicBezTo>
                  <a:pt x="18" y="9"/>
                  <a:pt x="18" y="9"/>
                  <a:pt x="17" y="8"/>
                </a:cubicBezTo>
                <a:cubicBezTo>
                  <a:pt x="15" y="11"/>
                  <a:pt x="12" y="14"/>
                  <a:pt x="12" y="15"/>
                </a:cubicBezTo>
                <a:cubicBezTo>
                  <a:pt x="12" y="15"/>
                  <a:pt x="12" y="15"/>
                  <a:pt x="12" y="15"/>
                </a:cubicBezTo>
                <a:cubicBezTo>
                  <a:pt x="11" y="16"/>
                  <a:pt x="11" y="19"/>
                  <a:pt x="7" y="23"/>
                </a:cubicBezTo>
                <a:cubicBezTo>
                  <a:pt x="5" y="25"/>
                  <a:pt x="5" y="26"/>
                  <a:pt x="5" y="28"/>
                </a:cubicBezTo>
                <a:cubicBezTo>
                  <a:pt x="5" y="29"/>
                  <a:pt x="5" y="29"/>
                  <a:pt x="5" y="29"/>
                </a:cubicBezTo>
                <a:cubicBezTo>
                  <a:pt x="5" y="29"/>
                  <a:pt x="7" y="30"/>
                  <a:pt x="7" y="30"/>
                </a:cubicBezTo>
                <a:cubicBezTo>
                  <a:pt x="8" y="30"/>
                  <a:pt x="9" y="31"/>
                  <a:pt x="10" y="31"/>
                </a:cubicBezTo>
                <a:cubicBezTo>
                  <a:pt x="10" y="32"/>
                  <a:pt x="11" y="32"/>
                  <a:pt x="11" y="32"/>
                </a:cubicBezTo>
                <a:cubicBezTo>
                  <a:pt x="12" y="32"/>
                  <a:pt x="12" y="32"/>
                  <a:pt x="13" y="31"/>
                </a:cubicBezTo>
                <a:cubicBezTo>
                  <a:pt x="13" y="31"/>
                  <a:pt x="13" y="30"/>
                  <a:pt x="13" y="30"/>
                </a:cubicBezTo>
                <a:cubicBezTo>
                  <a:pt x="14" y="28"/>
                  <a:pt x="15" y="25"/>
                  <a:pt x="18" y="26"/>
                </a:cubicBezTo>
                <a:cubicBezTo>
                  <a:pt x="19" y="26"/>
                  <a:pt x="20" y="26"/>
                  <a:pt x="21" y="26"/>
                </a:cubicBezTo>
                <a:cubicBezTo>
                  <a:pt x="21" y="25"/>
                  <a:pt x="21" y="25"/>
                  <a:pt x="22" y="25"/>
                </a:cubicBezTo>
                <a:cubicBezTo>
                  <a:pt x="22" y="25"/>
                  <a:pt x="22" y="25"/>
                  <a:pt x="22" y="26"/>
                </a:cubicBezTo>
                <a:cubicBezTo>
                  <a:pt x="27" y="25"/>
                  <a:pt x="29" y="20"/>
                  <a:pt x="29" y="20"/>
                </a:cubicBezTo>
                <a:cubicBezTo>
                  <a:pt x="29" y="19"/>
                  <a:pt x="29" y="19"/>
                  <a:pt x="30" y="19"/>
                </a:cubicBezTo>
                <a:cubicBezTo>
                  <a:pt x="30" y="19"/>
                  <a:pt x="31" y="20"/>
                  <a:pt x="31" y="20"/>
                </a:cubicBezTo>
                <a:cubicBezTo>
                  <a:pt x="31" y="20"/>
                  <a:pt x="29" y="26"/>
                  <a:pt x="23" y="28"/>
                </a:cubicBezTo>
                <a:cubicBezTo>
                  <a:pt x="23" y="29"/>
                  <a:pt x="23" y="33"/>
                  <a:pt x="21" y="35"/>
                </a:cubicBezTo>
                <a:cubicBezTo>
                  <a:pt x="19" y="37"/>
                  <a:pt x="16" y="40"/>
                  <a:pt x="13" y="42"/>
                </a:cubicBezTo>
                <a:close/>
                <a:moveTo>
                  <a:pt x="30" y="6"/>
                </a:moveTo>
                <a:cubicBezTo>
                  <a:pt x="34" y="7"/>
                  <a:pt x="39" y="10"/>
                  <a:pt x="42" y="17"/>
                </a:cubicBezTo>
                <a:cubicBezTo>
                  <a:pt x="45" y="27"/>
                  <a:pt x="44" y="36"/>
                  <a:pt x="43" y="41"/>
                </a:cubicBezTo>
                <a:cubicBezTo>
                  <a:pt x="42" y="43"/>
                  <a:pt x="42" y="45"/>
                  <a:pt x="42" y="46"/>
                </a:cubicBezTo>
                <a:cubicBezTo>
                  <a:pt x="42" y="49"/>
                  <a:pt x="43" y="52"/>
                  <a:pt x="44" y="54"/>
                </a:cubicBezTo>
                <a:cubicBezTo>
                  <a:pt x="50" y="49"/>
                  <a:pt x="50" y="49"/>
                  <a:pt x="50" y="49"/>
                </a:cubicBezTo>
                <a:cubicBezTo>
                  <a:pt x="49" y="48"/>
                  <a:pt x="47" y="46"/>
                  <a:pt x="46" y="44"/>
                </a:cubicBezTo>
                <a:cubicBezTo>
                  <a:pt x="45" y="42"/>
                  <a:pt x="45" y="40"/>
                  <a:pt x="45" y="37"/>
                </a:cubicBezTo>
                <a:cubicBezTo>
                  <a:pt x="46" y="31"/>
                  <a:pt x="46" y="23"/>
                  <a:pt x="42" y="15"/>
                </a:cubicBezTo>
                <a:cubicBezTo>
                  <a:pt x="38" y="9"/>
                  <a:pt x="34" y="7"/>
                  <a:pt x="30" y="6"/>
                </a:cubicBezTo>
                <a:close/>
              </a:path>
            </a:pathLst>
          </a:custGeom>
          <a:solidFill>
            <a:schemeClr val="accent1">
              <a:lumMod val="10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cs typeface="+mn-ea"/>
              <a:sym typeface="+mn-lt"/>
            </a:endParaRPr>
          </a:p>
        </p:txBody>
      </p:sp>
      <p:sp>
        <p:nvSpPr>
          <p:cNvPr id="81" name="Freeform 231">
            <a:extLst>
              <a:ext uri="{FF2B5EF4-FFF2-40B4-BE49-F238E27FC236}">
                <a16:creationId xmlns:a16="http://schemas.microsoft.com/office/drawing/2014/main" id="{4A0E9AB5-3DC0-4AE2-A84D-BF79ED5BC9E8}"/>
              </a:ext>
            </a:extLst>
          </p:cNvPr>
          <p:cNvSpPr>
            <a:spLocks noEditPoints="1"/>
          </p:cNvSpPr>
          <p:nvPr/>
        </p:nvSpPr>
        <p:spPr bwMode="auto">
          <a:xfrm>
            <a:off x="8958376" y="5216785"/>
            <a:ext cx="264906" cy="319291"/>
          </a:xfrm>
          <a:custGeom>
            <a:avLst/>
            <a:gdLst>
              <a:gd name="T0" fmla="*/ 20 w 64"/>
              <a:gd name="T1" fmla="*/ 40 h 74"/>
              <a:gd name="T2" fmla="*/ 20 w 64"/>
              <a:gd name="T3" fmla="*/ 34 h 74"/>
              <a:gd name="T4" fmla="*/ 44 w 64"/>
              <a:gd name="T5" fmla="*/ 17 h 74"/>
              <a:gd name="T6" fmla="*/ 19 w 64"/>
              <a:gd name="T7" fmla="*/ 33 h 74"/>
              <a:gd name="T8" fmla="*/ 48 w 64"/>
              <a:gd name="T9" fmla="*/ 19 h 74"/>
              <a:gd name="T10" fmla="*/ 19 w 64"/>
              <a:gd name="T11" fmla="*/ 25 h 74"/>
              <a:gd name="T12" fmla="*/ 33 w 64"/>
              <a:gd name="T13" fmla="*/ 17 h 74"/>
              <a:gd name="T14" fmla="*/ 16 w 64"/>
              <a:gd name="T15" fmla="*/ 23 h 74"/>
              <a:gd name="T16" fmla="*/ 38 w 64"/>
              <a:gd name="T17" fmla="*/ 72 h 74"/>
              <a:gd name="T18" fmla="*/ 31 w 64"/>
              <a:gd name="T19" fmla="*/ 74 h 74"/>
              <a:gd name="T20" fmla="*/ 23 w 64"/>
              <a:gd name="T21" fmla="*/ 68 h 74"/>
              <a:gd name="T22" fmla="*/ 26 w 64"/>
              <a:gd name="T23" fmla="*/ 55 h 74"/>
              <a:gd name="T24" fmla="*/ 19 w 64"/>
              <a:gd name="T25" fmla="*/ 48 h 74"/>
              <a:gd name="T26" fmla="*/ 44 w 64"/>
              <a:gd name="T27" fmla="*/ 33 h 74"/>
              <a:gd name="T28" fmla="*/ 28 w 64"/>
              <a:gd name="T29" fmla="*/ 45 h 74"/>
              <a:gd name="T30" fmla="*/ 33 w 64"/>
              <a:gd name="T31" fmla="*/ 55 h 74"/>
              <a:gd name="T32" fmla="*/ 44 w 64"/>
              <a:gd name="T33" fmla="*/ 43 h 74"/>
              <a:gd name="T34" fmla="*/ 38 w 64"/>
              <a:gd name="T35" fmla="*/ 55 h 74"/>
              <a:gd name="T36" fmla="*/ 38 w 64"/>
              <a:gd name="T37" fmla="*/ 57 h 74"/>
              <a:gd name="T38" fmla="*/ 37 w 64"/>
              <a:gd name="T39" fmla="*/ 57 h 74"/>
              <a:gd name="T40" fmla="*/ 31 w 64"/>
              <a:gd name="T41" fmla="*/ 57 h 74"/>
              <a:gd name="T42" fmla="*/ 25 w 64"/>
              <a:gd name="T43" fmla="*/ 59 h 74"/>
              <a:gd name="T44" fmla="*/ 28 w 64"/>
              <a:gd name="T45" fmla="*/ 70 h 74"/>
              <a:gd name="T46" fmla="*/ 40 w 64"/>
              <a:gd name="T47" fmla="*/ 68 h 74"/>
              <a:gd name="T48" fmla="*/ 46 w 64"/>
              <a:gd name="T49" fmla="*/ 5 h 74"/>
              <a:gd name="T50" fmla="*/ 44 w 64"/>
              <a:gd name="T51" fmla="*/ 13 h 74"/>
              <a:gd name="T52" fmla="*/ 48 w 64"/>
              <a:gd name="T53" fmla="*/ 4 h 74"/>
              <a:gd name="T54" fmla="*/ 16 w 64"/>
              <a:gd name="T55" fmla="*/ 58 h 74"/>
              <a:gd name="T56" fmla="*/ 18 w 64"/>
              <a:gd name="T57" fmla="*/ 59 h 74"/>
              <a:gd name="T58" fmla="*/ 53 w 64"/>
              <a:gd name="T59" fmla="*/ 21 h 74"/>
              <a:gd name="T60" fmla="*/ 60 w 64"/>
              <a:gd name="T61" fmla="*/ 16 h 74"/>
              <a:gd name="T62" fmla="*/ 52 w 64"/>
              <a:gd name="T63" fmla="*/ 21 h 74"/>
              <a:gd name="T64" fmla="*/ 5 w 64"/>
              <a:gd name="T65" fmla="*/ 46 h 74"/>
              <a:gd name="T66" fmla="*/ 7 w 64"/>
              <a:gd name="T67" fmla="*/ 48 h 74"/>
              <a:gd name="T68" fmla="*/ 11 w 64"/>
              <a:gd name="T69" fmla="*/ 43 h 74"/>
              <a:gd name="T70" fmla="*/ 55 w 64"/>
              <a:gd name="T71" fmla="*/ 32 h 74"/>
              <a:gd name="T72" fmla="*/ 64 w 64"/>
              <a:gd name="T73" fmla="*/ 32 h 74"/>
              <a:gd name="T74" fmla="*/ 8 w 64"/>
              <a:gd name="T75" fmla="*/ 30 h 74"/>
              <a:gd name="T76" fmla="*/ 2 w 64"/>
              <a:gd name="T77" fmla="*/ 33 h 74"/>
              <a:gd name="T78" fmla="*/ 59 w 64"/>
              <a:gd name="T79" fmla="*/ 46 h 74"/>
              <a:gd name="T80" fmla="*/ 52 w 64"/>
              <a:gd name="T81" fmla="*/ 45 h 74"/>
              <a:gd name="T82" fmla="*/ 60 w 64"/>
              <a:gd name="T83" fmla="*/ 48 h 74"/>
              <a:gd name="T84" fmla="*/ 7 w 64"/>
              <a:gd name="T85" fmla="*/ 15 h 74"/>
              <a:gd name="T86" fmla="*/ 11 w 64"/>
              <a:gd name="T87" fmla="*/ 21 h 74"/>
              <a:gd name="T88" fmla="*/ 12 w 64"/>
              <a:gd name="T89" fmla="*/ 19 h 74"/>
              <a:gd name="T90" fmla="*/ 43 w 64"/>
              <a:gd name="T91" fmla="*/ 53 h 74"/>
              <a:gd name="T92" fmla="*/ 48 w 64"/>
              <a:gd name="T93" fmla="*/ 60 h 74"/>
              <a:gd name="T94" fmla="*/ 19 w 64"/>
              <a:gd name="T95" fmla="*/ 12 h 74"/>
              <a:gd name="T96" fmla="*/ 22 w 64"/>
              <a:gd name="T97" fmla="*/ 10 h 74"/>
              <a:gd name="T98" fmla="*/ 16 w 64"/>
              <a:gd name="T99" fmla="*/ 6 h 74"/>
              <a:gd name="T100" fmla="*/ 34 w 64"/>
              <a:gd name="T101" fmla="*/ 8 h 74"/>
              <a:gd name="T102" fmla="*/ 31 w 64"/>
              <a:gd name="T103" fmla="*/ 1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4" h="74">
                <a:moveTo>
                  <a:pt x="48" y="27"/>
                </a:moveTo>
                <a:cubicBezTo>
                  <a:pt x="48" y="29"/>
                  <a:pt x="47" y="31"/>
                  <a:pt x="45" y="31"/>
                </a:cubicBezTo>
                <a:cubicBezTo>
                  <a:pt x="20" y="40"/>
                  <a:pt x="20" y="40"/>
                  <a:pt x="20" y="40"/>
                </a:cubicBezTo>
                <a:cubicBezTo>
                  <a:pt x="20" y="40"/>
                  <a:pt x="19" y="41"/>
                  <a:pt x="19" y="41"/>
                </a:cubicBezTo>
                <a:cubicBezTo>
                  <a:pt x="17" y="41"/>
                  <a:pt x="16" y="40"/>
                  <a:pt x="16" y="38"/>
                </a:cubicBezTo>
                <a:cubicBezTo>
                  <a:pt x="16" y="37"/>
                  <a:pt x="18" y="35"/>
                  <a:pt x="20" y="34"/>
                </a:cubicBezTo>
                <a:cubicBezTo>
                  <a:pt x="44" y="25"/>
                  <a:pt x="44" y="25"/>
                  <a:pt x="44" y="25"/>
                </a:cubicBezTo>
                <a:cubicBezTo>
                  <a:pt x="46" y="24"/>
                  <a:pt x="48" y="25"/>
                  <a:pt x="48" y="27"/>
                </a:cubicBezTo>
                <a:close/>
                <a:moveTo>
                  <a:pt x="44" y="17"/>
                </a:moveTo>
                <a:cubicBezTo>
                  <a:pt x="20" y="26"/>
                  <a:pt x="20" y="26"/>
                  <a:pt x="20" y="26"/>
                </a:cubicBezTo>
                <a:cubicBezTo>
                  <a:pt x="18" y="27"/>
                  <a:pt x="16" y="29"/>
                  <a:pt x="16" y="31"/>
                </a:cubicBezTo>
                <a:cubicBezTo>
                  <a:pt x="16" y="32"/>
                  <a:pt x="17" y="33"/>
                  <a:pt x="19" y="33"/>
                </a:cubicBezTo>
                <a:cubicBezTo>
                  <a:pt x="19" y="33"/>
                  <a:pt x="20" y="33"/>
                  <a:pt x="20" y="33"/>
                </a:cubicBezTo>
                <a:cubicBezTo>
                  <a:pt x="45" y="24"/>
                  <a:pt x="45" y="24"/>
                  <a:pt x="45" y="24"/>
                </a:cubicBezTo>
                <a:cubicBezTo>
                  <a:pt x="47" y="23"/>
                  <a:pt x="48" y="21"/>
                  <a:pt x="48" y="19"/>
                </a:cubicBezTo>
                <a:cubicBezTo>
                  <a:pt x="48" y="18"/>
                  <a:pt x="46" y="17"/>
                  <a:pt x="44" y="17"/>
                </a:cubicBezTo>
                <a:close/>
                <a:moveTo>
                  <a:pt x="16" y="23"/>
                </a:moveTo>
                <a:cubicBezTo>
                  <a:pt x="16" y="24"/>
                  <a:pt x="17" y="25"/>
                  <a:pt x="19" y="25"/>
                </a:cubicBezTo>
                <a:cubicBezTo>
                  <a:pt x="19" y="25"/>
                  <a:pt x="20" y="25"/>
                  <a:pt x="20" y="25"/>
                </a:cubicBezTo>
                <a:cubicBezTo>
                  <a:pt x="30" y="21"/>
                  <a:pt x="30" y="21"/>
                  <a:pt x="30" y="21"/>
                </a:cubicBezTo>
                <a:cubicBezTo>
                  <a:pt x="32" y="21"/>
                  <a:pt x="33" y="19"/>
                  <a:pt x="33" y="17"/>
                </a:cubicBezTo>
                <a:cubicBezTo>
                  <a:pt x="33" y="15"/>
                  <a:pt x="31" y="14"/>
                  <a:pt x="29" y="15"/>
                </a:cubicBezTo>
                <a:cubicBezTo>
                  <a:pt x="20" y="19"/>
                  <a:pt x="20" y="19"/>
                  <a:pt x="20" y="19"/>
                </a:cubicBezTo>
                <a:cubicBezTo>
                  <a:pt x="18" y="19"/>
                  <a:pt x="16" y="21"/>
                  <a:pt x="16" y="23"/>
                </a:cubicBezTo>
                <a:close/>
                <a:moveTo>
                  <a:pt x="42" y="59"/>
                </a:moveTo>
                <a:cubicBezTo>
                  <a:pt x="42" y="68"/>
                  <a:pt x="42" y="68"/>
                  <a:pt x="42" y="68"/>
                </a:cubicBezTo>
                <a:cubicBezTo>
                  <a:pt x="42" y="70"/>
                  <a:pt x="40" y="72"/>
                  <a:pt x="38" y="72"/>
                </a:cubicBezTo>
                <a:cubicBezTo>
                  <a:pt x="37" y="72"/>
                  <a:pt x="37" y="72"/>
                  <a:pt x="37" y="72"/>
                </a:cubicBezTo>
                <a:cubicBezTo>
                  <a:pt x="36" y="73"/>
                  <a:pt x="35" y="74"/>
                  <a:pt x="34" y="74"/>
                </a:cubicBezTo>
                <a:cubicBezTo>
                  <a:pt x="31" y="74"/>
                  <a:pt x="31" y="74"/>
                  <a:pt x="31" y="74"/>
                </a:cubicBezTo>
                <a:cubicBezTo>
                  <a:pt x="29" y="74"/>
                  <a:pt x="28" y="73"/>
                  <a:pt x="27" y="72"/>
                </a:cubicBezTo>
                <a:cubicBezTo>
                  <a:pt x="27" y="72"/>
                  <a:pt x="27" y="72"/>
                  <a:pt x="27" y="72"/>
                </a:cubicBezTo>
                <a:cubicBezTo>
                  <a:pt x="25" y="72"/>
                  <a:pt x="23" y="70"/>
                  <a:pt x="23" y="68"/>
                </a:cubicBezTo>
                <a:cubicBezTo>
                  <a:pt x="23" y="59"/>
                  <a:pt x="23" y="59"/>
                  <a:pt x="23" y="59"/>
                </a:cubicBezTo>
                <a:cubicBezTo>
                  <a:pt x="23" y="57"/>
                  <a:pt x="24" y="56"/>
                  <a:pt x="26" y="55"/>
                </a:cubicBezTo>
                <a:cubicBezTo>
                  <a:pt x="26" y="55"/>
                  <a:pt x="26" y="55"/>
                  <a:pt x="26" y="55"/>
                </a:cubicBezTo>
                <a:cubicBezTo>
                  <a:pt x="26" y="51"/>
                  <a:pt x="23" y="49"/>
                  <a:pt x="22" y="47"/>
                </a:cubicBezTo>
                <a:cubicBezTo>
                  <a:pt x="20" y="48"/>
                  <a:pt x="20" y="48"/>
                  <a:pt x="20" y="48"/>
                </a:cubicBezTo>
                <a:cubicBezTo>
                  <a:pt x="20" y="48"/>
                  <a:pt x="19" y="48"/>
                  <a:pt x="19" y="48"/>
                </a:cubicBezTo>
                <a:cubicBezTo>
                  <a:pt x="17" y="48"/>
                  <a:pt x="16" y="47"/>
                  <a:pt x="16" y="46"/>
                </a:cubicBezTo>
                <a:cubicBezTo>
                  <a:pt x="16" y="44"/>
                  <a:pt x="18" y="43"/>
                  <a:pt x="20" y="42"/>
                </a:cubicBezTo>
                <a:cubicBezTo>
                  <a:pt x="44" y="33"/>
                  <a:pt x="44" y="33"/>
                  <a:pt x="44" y="33"/>
                </a:cubicBezTo>
                <a:cubicBezTo>
                  <a:pt x="46" y="32"/>
                  <a:pt x="48" y="33"/>
                  <a:pt x="48" y="35"/>
                </a:cubicBezTo>
                <a:cubicBezTo>
                  <a:pt x="48" y="36"/>
                  <a:pt x="47" y="38"/>
                  <a:pt x="45" y="39"/>
                </a:cubicBezTo>
                <a:cubicBezTo>
                  <a:pt x="28" y="45"/>
                  <a:pt x="28" y="45"/>
                  <a:pt x="28" y="45"/>
                </a:cubicBezTo>
                <a:cubicBezTo>
                  <a:pt x="30" y="47"/>
                  <a:pt x="32" y="51"/>
                  <a:pt x="32" y="55"/>
                </a:cubicBezTo>
                <a:cubicBezTo>
                  <a:pt x="32" y="55"/>
                  <a:pt x="32" y="55"/>
                  <a:pt x="32" y="55"/>
                </a:cubicBezTo>
                <a:cubicBezTo>
                  <a:pt x="33" y="55"/>
                  <a:pt x="33" y="55"/>
                  <a:pt x="33" y="55"/>
                </a:cubicBezTo>
                <a:cubicBezTo>
                  <a:pt x="33" y="55"/>
                  <a:pt x="33" y="55"/>
                  <a:pt x="33" y="55"/>
                </a:cubicBezTo>
                <a:cubicBezTo>
                  <a:pt x="33" y="47"/>
                  <a:pt x="40" y="42"/>
                  <a:pt x="41" y="42"/>
                </a:cubicBezTo>
                <a:cubicBezTo>
                  <a:pt x="42" y="41"/>
                  <a:pt x="44" y="42"/>
                  <a:pt x="44" y="43"/>
                </a:cubicBezTo>
                <a:cubicBezTo>
                  <a:pt x="45" y="44"/>
                  <a:pt x="45" y="46"/>
                  <a:pt x="43" y="47"/>
                </a:cubicBezTo>
                <a:cubicBezTo>
                  <a:pt x="43" y="47"/>
                  <a:pt x="38" y="50"/>
                  <a:pt x="38" y="55"/>
                </a:cubicBezTo>
                <a:cubicBezTo>
                  <a:pt x="38" y="55"/>
                  <a:pt x="38" y="55"/>
                  <a:pt x="38" y="55"/>
                </a:cubicBezTo>
                <a:cubicBezTo>
                  <a:pt x="40" y="56"/>
                  <a:pt x="42" y="57"/>
                  <a:pt x="42" y="59"/>
                </a:cubicBezTo>
                <a:close/>
                <a:moveTo>
                  <a:pt x="40" y="59"/>
                </a:moveTo>
                <a:cubicBezTo>
                  <a:pt x="40" y="58"/>
                  <a:pt x="39" y="57"/>
                  <a:pt x="38" y="57"/>
                </a:cubicBezTo>
                <a:cubicBezTo>
                  <a:pt x="38" y="57"/>
                  <a:pt x="38" y="57"/>
                  <a:pt x="38" y="57"/>
                </a:cubicBezTo>
                <a:cubicBezTo>
                  <a:pt x="37" y="57"/>
                  <a:pt x="37" y="57"/>
                  <a:pt x="37" y="57"/>
                </a:cubicBezTo>
                <a:cubicBezTo>
                  <a:pt x="37" y="57"/>
                  <a:pt x="37" y="57"/>
                  <a:pt x="37" y="57"/>
                </a:cubicBezTo>
                <a:cubicBezTo>
                  <a:pt x="37" y="57"/>
                  <a:pt x="37" y="57"/>
                  <a:pt x="37" y="57"/>
                </a:cubicBezTo>
                <a:cubicBezTo>
                  <a:pt x="34" y="57"/>
                  <a:pt x="34" y="57"/>
                  <a:pt x="34" y="57"/>
                </a:cubicBezTo>
                <a:cubicBezTo>
                  <a:pt x="31" y="57"/>
                  <a:pt x="31" y="57"/>
                  <a:pt x="31" y="57"/>
                </a:cubicBezTo>
                <a:cubicBezTo>
                  <a:pt x="27" y="57"/>
                  <a:pt x="27" y="57"/>
                  <a:pt x="27" y="57"/>
                </a:cubicBezTo>
                <a:cubicBezTo>
                  <a:pt x="27" y="57"/>
                  <a:pt x="27" y="57"/>
                  <a:pt x="27" y="57"/>
                </a:cubicBezTo>
                <a:cubicBezTo>
                  <a:pt x="26" y="57"/>
                  <a:pt x="25" y="58"/>
                  <a:pt x="25" y="59"/>
                </a:cubicBezTo>
                <a:cubicBezTo>
                  <a:pt x="25" y="68"/>
                  <a:pt x="25" y="68"/>
                  <a:pt x="25" y="68"/>
                </a:cubicBezTo>
                <a:cubicBezTo>
                  <a:pt x="25" y="69"/>
                  <a:pt x="26" y="70"/>
                  <a:pt x="27" y="70"/>
                </a:cubicBezTo>
                <a:cubicBezTo>
                  <a:pt x="28" y="70"/>
                  <a:pt x="28" y="70"/>
                  <a:pt x="28" y="70"/>
                </a:cubicBezTo>
                <a:cubicBezTo>
                  <a:pt x="37" y="70"/>
                  <a:pt x="37" y="70"/>
                  <a:pt x="37" y="70"/>
                </a:cubicBezTo>
                <a:cubicBezTo>
                  <a:pt x="38" y="70"/>
                  <a:pt x="38" y="70"/>
                  <a:pt x="38" y="70"/>
                </a:cubicBezTo>
                <a:cubicBezTo>
                  <a:pt x="39" y="70"/>
                  <a:pt x="40" y="69"/>
                  <a:pt x="40" y="68"/>
                </a:cubicBezTo>
                <a:lnTo>
                  <a:pt x="40" y="59"/>
                </a:lnTo>
                <a:close/>
                <a:moveTo>
                  <a:pt x="48" y="4"/>
                </a:moveTo>
                <a:cubicBezTo>
                  <a:pt x="48" y="4"/>
                  <a:pt x="47" y="4"/>
                  <a:pt x="46" y="5"/>
                </a:cubicBezTo>
                <a:cubicBezTo>
                  <a:pt x="43" y="10"/>
                  <a:pt x="43" y="10"/>
                  <a:pt x="43" y="10"/>
                </a:cubicBezTo>
                <a:cubicBezTo>
                  <a:pt x="43" y="11"/>
                  <a:pt x="43" y="12"/>
                  <a:pt x="44" y="12"/>
                </a:cubicBezTo>
                <a:cubicBezTo>
                  <a:pt x="44" y="12"/>
                  <a:pt x="44" y="13"/>
                  <a:pt x="44" y="13"/>
                </a:cubicBezTo>
                <a:cubicBezTo>
                  <a:pt x="45" y="13"/>
                  <a:pt x="45" y="12"/>
                  <a:pt x="46" y="12"/>
                </a:cubicBezTo>
                <a:cubicBezTo>
                  <a:pt x="49" y="6"/>
                  <a:pt x="49" y="6"/>
                  <a:pt x="49" y="6"/>
                </a:cubicBezTo>
                <a:cubicBezTo>
                  <a:pt x="49" y="5"/>
                  <a:pt x="49" y="5"/>
                  <a:pt x="48" y="4"/>
                </a:cubicBezTo>
                <a:close/>
                <a:moveTo>
                  <a:pt x="21" y="51"/>
                </a:moveTo>
                <a:cubicBezTo>
                  <a:pt x="20" y="51"/>
                  <a:pt x="19" y="51"/>
                  <a:pt x="19" y="52"/>
                </a:cubicBezTo>
                <a:cubicBezTo>
                  <a:pt x="16" y="58"/>
                  <a:pt x="16" y="58"/>
                  <a:pt x="16" y="58"/>
                </a:cubicBezTo>
                <a:cubicBezTo>
                  <a:pt x="15" y="58"/>
                  <a:pt x="16" y="59"/>
                  <a:pt x="16" y="60"/>
                </a:cubicBezTo>
                <a:cubicBezTo>
                  <a:pt x="17" y="60"/>
                  <a:pt x="17" y="60"/>
                  <a:pt x="17" y="60"/>
                </a:cubicBezTo>
                <a:cubicBezTo>
                  <a:pt x="18" y="60"/>
                  <a:pt x="18" y="60"/>
                  <a:pt x="18" y="59"/>
                </a:cubicBezTo>
                <a:cubicBezTo>
                  <a:pt x="22" y="53"/>
                  <a:pt x="22" y="53"/>
                  <a:pt x="22" y="53"/>
                </a:cubicBezTo>
                <a:cubicBezTo>
                  <a:pt x="22" y="53"/>
                  <a:pt x="22" y="52"/>
                  <a:pt x="21" y="51"/>
                </a:cubicBezTo>
                <a:close/>
                <a:moveTo>
                  <a:pt x="53" y="21"/>
                </a:moveTo>
                <a:cubicBezTo>
                  <a:pt x="53" y="21"/>
                  <a:pt x="54" y="21"/>
                  <a:pt x="54" y="21"/>
                </a:cubicBezTo>
                <a:cubicBezTo>
                  <a:pt x="59" y="18"/>
                  <a:pt x="59" y="18"/>
                  <a:pt x="59" y="18"/>
                </a:cubicBezTo>
                <a:cubicBezTo>
                  <a:pt x="60" y="18"/>
                  <a:pt x="60" y="17"/>
                  <a:pt x="60" y="16"/>
                </a:cubicBezTo>
                <a:cubicBezTo>
                  <a:pt x="60" y="15"/>
                  <a:pt x="59" y="15"/>
                  <a:pt x="58" y="15"/>
                </a:cubicBezTo>
                <a:cubicBezTo>
                  <a:pt x="52" y="19"/>
                  <a:pt x="52" y="19"/>
                  <a:pt x="52" y="19"/>
                </a:cubicBezTo>
                <a:cubicBezTo>
                  <a:pt x="52" y="19"/>
                  <a:pt x="51" y="20"/>
                  <a:pt x="52" y="21"/>
                </a:cubicBezTo>
                <a:cubicBezTo>
                  <a:pt x="52" y="21"/>
                  <a:pt x="53" y="21"/>
                  <a:pt x="53" y="21"/>
                </a:cubicBezTo>
                <a:close/>
                <a:moveTo>
                  <a:pt x="11" y="43"/>
                </a:moveTo>
                <a:cubicBezTo>
                  <a:pt x="5" y="46"/>
                  <a:pt x="5" y="46"/>
                  <a:pt x="5" y="46"/>
                </a:cubicBezTo>
                <a:cubicBezTo>
                  <a:pt x="4" y="46"/>
                  <a:pt x="4" y="47"/>
                  <a:pt x="5" y="48"/>
                </a:cubicBezTo>
                <a:cubicBezTo>
                  <a:pt x="5" y="48"/>
                  <a:pt x="5" y="49"/>
                  <a:pt x="6" y="49"/>
                </a:cubicBezTo>
                <a:cubicBezTo>
                  <a:pt x="6" y="49"/>
                  <a:pt x="6" y="49"/>
                  <a:pt x="7" y="48"/>
                </a:cubicBezTo>
                <a:cubicBezTo>
                  <a:pt x="12" y="45"/>
                  <a:pt x="12" y="45"/>
                  <a:pt x="12" y="45"/>
                </a:cubicBezTo>
                <a:cubicBezTo>
                  <a:pt x="13" y="45"/>
                  <a:pt x="13" y="44"/>
                  <a:pt x="13" y="43"/>
                </a:cubicBezTo>
                <a:cubicBezTo>
                  <a:pt x="12" y="42"/>
                  <a:pt x="11" y="42"/>
                  <a:pt x="11" y="43"/>
                </a:cubicBezTo>
                <a:close/>
                <a:moveTo>
                  <a:pt x="63" y="30"/>
                </a:moveTo>
                <a:cubicBezTo>
                  <a:pt x="56" y="30"/>
                  <a:pt x="56" y="30"/>
                  <a:pt x="56" y="30"/>
                </a:cubicBezTo>
                <a:cubicBezTo>
                  <a:pt x="56" y="30"/>
                  <a:pt x="55" y="31"/>
                  <a:pt x="55" y="32"/>
                </a:cubicBezTo>
                <a:cubicBezTo>
                  <a:pt x="55" y="33"/>
                  <a:pt x="56" y="33"/>
                  <a:pt x="56" y="33"/>
                </a:cubicBezTo>
                <a:cubicBezTo>
                  <a:pt x="63" y="33"/>
                  <a:pt x="63" y="33"/>
                  <a:pt x="63" y="33"/>
                </a:cubicBezTo>
                <a:cubicBezTo>
                  <a:pt x="64" y="33"/>
                  <a:pt x="64" y="33"/>
                  <a:pt x="64" y="32"/>
                </a:cubicBezTo>
                <a:cubicBezTo>
                  <a:pt x="64" y="31"/>
                  <a:pt x="64" y="30"/>
                  <a:pt x="63" y="30"/>
                </a:cubicBezTo>
                <a:close/>
                <a:moveTo>
                  <a:pt x="10" y="32"/>
                </a:moveTo>
                <a:cubicBezTo>
                  <a:pt x="10" y="31"/>
                  <a:pt x="9" y="30"/>
                  <a:pt x="8" y="30"/>
                </a:cubicBezTo>
                <a:cubicBezTo>
                  <a:pt x="2" y="30"/>
                  <a:pt x="2" y="30"/>
                  <a:pt x="2" y="30"/>
                </a:cubicBezTo>
                <a:cubicBezTo>
                  <a:pt x="1" y="30"/>
                  <a:pt x="0" y="31"/>
                  <a:pt x="0" y="32"/>
                </a:cubicBezTo>
                <a:cubicBezTo>
                  <a:pt x="0" y="33"/>
                  <a:pt x="1" y="33"/>
                  <a:pt x="2" y="33"/>
                </a:cubicBezTo>
                <a:cubicBezTo>
                  <a:pt x="8" y="33"/>
                  <a:pt x="8" y="33"/>
                  <a:pt x="8" y="33"/>
                </a:cubicBezTo>
                <a:cubicBezTo>
                  <a:pt x="9" y="33"/>
                  <a:pt x="10" y="33"/>
                  <a:pt x="10" y="32"/>
                </a:cubicBezTo>
                <a:close/>
                <a:moveTo>
                  <a:pt x="59" y="46"/>
                </a:moveTo>
                <a:cubicBezTo>
                  <a:pt x="54" y="43"/>
                  <a:pt x="54" y="43"/>
                  <a:pt x="54" y="43"/>
                </a:cubicBezTo>
                <a:cubicBezTo>
                  <a:pt x="53" y="42"/>
                  <a:pt x="52" y="42"/>
                  <a:pt x="52" y="43"/>
                </a:cubicBezTo>
                <a:cubicBezTo>
                  <a:pt x="51" y="44"/>
                  <a:pt x="52" y="45"/>
                  <a:pt x="52" y="45"/>
                </a:cubicBezTo>
                <a:cubicBezTo>
                  <a:pt x="58" y="48"/>
                  <a:pt x="58" y="48"/>
                  <a:pt x="58" y="48"/>
                </a:cubicBezTo>
                <a:cubicBezTo>
                  <a:pt x="58" y="49"/>
                  <a:pt x="58" y="49"/>
                  <a:pt x="59" y="49"/>
                </a:cubicBezTo>
                <a:cubicBezTo>
                  <a:pt x="59" y="49"/>
                  <a:pt x="60" y="48"/>
                  <a:pt x="60" y="48"/>
                </a:cubicBezTo>
                <a:cubicBezTo>
                  <a:pt x="60" y="47"/>
                  <a:pt x="60" y="46"/>
                  <a:pt x="59" y="46"/>
                </a:cubicBezTo>
                <a:close/>
                <a:moveTo>
                  <a:pt x="12" y="19"/>
                </a:moveTo>
                <a:cubicBezTo>
                  <a:pt x="7" y="15"/>
                  <a:pt x="7" y="15"/>
                  <a:pt x="7" y="15"/>
                </a:cubicBezTo>
                <a:cubicBezTo>
                  <a:pt x="6" y="15"/>
                  <a:pt x="5" y="15"/>
                  <a:pt x="5" y="16"/>
                </a:cubicBezTo>
                <a:cubicBezTo>
                  <a:pt x="4" y="17"/>
                  <a:pt x="4" y="18"/>
                  <a:pt x="5" y="18"/>
                </a:cubicBezTo>
                <a:cubicBezTo>
                  <a:pt x="11" y="21"/>
                  <a:pt x="11" y="21"/>
                  <a:pt x="11" y="21"/>
                </a:cubicBezTo>
                <a:cubicBezTo>
                  <a:pt x="11" y="21"/>
                  <a:pt x="11" y="21"/>
                  <a:pt x="11" y="21"/>
                </a:cubicBezTo>
                <a:cubicBezTo>
                  <a:pt x="12" y="21"/>
                  <a:pt x="12" y="21"/>
                  <a:pt x="13" y="21"/>
                </a:cubicBezTo>
                <a:cubicBezTo>
                  <a:pt x="13" y="20"/>
                  <a:pt x="13" y="19"/>
                  <a:pt x="12" y="19"/>
                </a:cubicBezTo>
                <a:close/>
                <a:moveTo>
                  <a:pt x="46" y="52"/>
                </a:moveTo>
                <a:cubicBezTo>
                  <a:pt x="45" y="51"/>
                  <a:pt x="44" y="51"/>
                  <a:pt x="44" y="51"/>
                </a:cubicBezTo>
                <a:cubicBezTo>
                  <a:pt x="43" y="52"/>
                  <a:pt x="43" y="53"/>
                  <a:pt x="43" y="53"/>
                </a:cubicBezTo>
                <a:cubicBezTo>
                  <a:pt x="46" y="59"/>
                  <a:pt x="46" y="59"/>
                  <a:pt x="46" y="59"/>
                </a:cubicBezTo>
                <a:cubicBezTo>
                  <a:pt x="47" y="60"/>
                  <a:pt x="47" y="60"/>
                  <a:pt x="48" y="60"/>
                </a:cubicBezTo>
                <a:cubicBezTo>
                  <a:pt x="48" y="60"/>
                  <a:pt x="48" y="60"/>
                  <a:pt x="48" y="60"/>
                </a:cubicBezTo>
                <a:cubicBezTo>
                  <a:pt x="49" y="59"/>
                  <a:pt x="49" y="58"/>
                  <a:pt x="49" y="58"/>
                </a:cubicBezTo>
                <a:lnTo>
                  <a:pt x="46" y="52"/>
                </a:lnTo>
                <a:close/>
                <a:moveTo>
                  <a:pt x="19" y="12"/>
                </a:moveTo>
                <a:cubicBezTo>
                  <a:pt x="19" y="12"/>
                  <a:pt x="20" y="13"/>
                  <a:pt x="20" y="13"/>
                </a:cubicBezTo>
                <a:cubicBezTo>
                  <a:pt x="21" y="13"/>
                  <a:pt x="21" y="12"/>
                  <a:pt x="21" y="12"/>
                </a:cubicBezTo>
                <a:cubicBezTo>
                  <a:pt x="22" y="12"/>
                  <a:pt x="22" y="11"/>
                  <a:pt x="22" y="10"/>
                </a:cubicBezTo>
                <a:cubicBezTo>
                  <a:pt x="18" y="5"/>
                  <a:pt x="18" y="5"/>
                  <a:pt x="18" y="5"/>
                </a:cubicBezTo>
                <a:cubicBezTo>
                  <a:pt x="18" y="4"/>
                  <a:pt x="17" y="4"/>
                  <a:pt x="16" y="4"/>
                </a:cubicBezTo>
                <a:cubicBezTo>
                  <a:pt x="16" y="5"/>
                  <a:pt x="15" y="5"/>
                  <a:pt x="16" y="6"/>
                </a:cubicBezTo>
                <a:lnTo>
                  <a:pt x="19" y="12"/>
                </a:lnTo>
                <a:close/>
                <a:moveTo>
                  <a:pt x="32" y="9"/>
                </a:moveTo>
                <a:cubicBezTo>
                  <a:pt x="33" y="9"/>
                  <a:pt x="34" y="9"/>
                  <a:pt x="34" y="8"/>
                </a:cubicBezTo>
                <a:cubicBezTo>
                  <a:pt x="34" y="1"/>
                  <a:pt x="34" y="1"/>
                  <a:pt x="34" y="1"/>
                </a:cubicBezTo>
                <a:cubicBezTo>
                  <a:pt x="34" y="1"/>
                  <a:pt x="33" y="0"/>
                  <a:pt x="32" y="0"/>
                </a:cubicBezTo>
                <a:cubicBezTo>
                  <a:pt x="31" y="0"/>
                  <a:pt x="31" y="1"/>
                  <a:pt x="31" y="1"/>
                </a:cubicBezTo>
                <a:cubicBezTo>
                  <a:pt x="31" y="8"/>
                  <a:pt x="31" y="8"/>
                  <a:pt x="31" y="8"/>
                </a:cubicBezTo>
                <a:cubicBezTo>
                  <a:pt x="31" y="9"/>
                  <a:pt x="31" y="9"/>
                  <a:pt x="32" y="9"/>
                </a:cubicBezTo>
                <a:close/>
              </a:path>
            </a:pathLst>
          </a:custGeom>
          <a:solidFill>
            <a:schemeClr val="accent1">
              <a:lumMod val="10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cs typeface="+mn-ea"/>
              <a:sym typeface="+mn-lt"/>
            </a:endParaRPr>
          </a:p>
        </p:txBody>
      </p:sp>
      <p:sp>
        <p:nvSpPr>
          <p:cNvPr id="82" name="Freeform 235">
            <a:extLst>
              <a:ext uri="{FF2B5EF4-FFF2-40B4-BE49-F238E27FC236}">
                <a16:creationId xmlns:a16="http://schemas.microsoft.com/office/drawing/2014/main" id="{B14FEA28-B809-417A-B6F4-69479C81C061}"/>
              </a:ext>
            </a:extLst>
          </p:cNvPr>
          <p:cNvSpPr>
            <a:spLocks noEditPoints="1"/>
          </p:cNvSpPr>
          <p:nvPr/>
        </p:nvSpPr>
        <p:spPr bwMode="auto">
          <a:xfrm>
            <a:off x="4152796" y="5233531"/>
            <a:ext cx="273677" cy="278941"/>
          </a:xfrm>
          <a:custGeom>
            <a:avLst/>
            <a:gdLst>
              <a:gd name="T0" fmla="*/ 32 w 66"/>
              <a:gd name="T1" fmla="*/ 49 h 65"/>
              <a:gd name="T2" fmla="*/ 32 w 66"/>
              <a:gd name="T3" fmla="*/ 47 h 65"/>
              <a:gd name="T4" fmla="*/ 47 w 66"/>
              <a:gd name="T5" fmla="*/ 32 h 65"/>
              <a:gd name="T6" fmla="*/ 32 w 66"/>
              <a:gd name="T7" fmla="*/ 39 h 65"/>
              <a:gd name="T8" fmla="*/ 39 w 66"/>
              <a:gd name="T9" fmla="*/ 32 h 65"/>
              <a:gd name="T10" fmla="*/ 64 w 66"/>
              <a:gd name="T11" fmla="*/ 26 h 65"/>
              <a:gd name="T12" fmla="*/ 59 w 66"/>
              <a:gd name="T13" fmla="*/ 24 h 65"/>
              <a:gd name="T14" fmla="*/ 62 w 66"/>
              <a:gd name="T15" fmla="*/ 16 h 65"/>
              <a:gd name="T16" fmla="*/ 56 w 66"/>
              <a:gd name="T17" fmla="*/ 9 h 65"/>
              <a:gd name="T18" fmla="*/ 49 w 66"/>
              <a:gd name="T19" fmla="*/ 10 h 65"/>
              <a:gd name="T20" fmla="*/ 47 w 66"/>
              <a:gd name="T21" fmla="*/ 2 h 65"/>
              <a:gd name="T22" fmla="*/ 37 w 66"/>
              <a:gd name="T23" fmla="*/ 0 h 65"/>
              <a:gd name="T24" fmla="*/ 30 w 66"/>
              <a:gd name="T25" fmla="*/ 1 h 65"/>
              <a:gd name="T26" fmla="*/ 27 w 66"/>
              <a:gd name="T27" fmla="*/ 0 h 65"/>
              <a:gd name="T28" fmla="*/ 18 w 66"/>
              <a:gd name="T29" fmla="*/ 5 h 65"/>
              <a:gd name="T30" fmla="*/ 12 w 66"/>
              <a:gd name="T31" fmla="*/ 9 h 65"/>
              <a:gd name="T32" fmla="*/ 9 w 66"/>
              <a:gd name="T33" fmla="*/ 9 h 65"/>
              <a:gd name="T34" fmla="*/ 5 w 66"/>
              <a:gd name="T35" fmla="*/ 19 h 65"/>
              <a:gd name="T36" fmla="*/ 3 w 66"/>
              <a:gd name="T37" fmla="*/ 26 h 65"/>
              <a:gd name="T38" fmla="*/ 0 w 66"/>
              <a:gd name="T39" fmla="*/ 28 h 65"/>
              <a:gd name="T40" fmla="*/ 1 w 66"/>
              <a:gd name="T41" fmla="*/ 38 h 65"/>
              <a:gd name="T42" fmla="*/ 4 w 66"/>
              <a:gd name="T43" fmla="*/ 38 h 65"/>
              <a:gd name="T44" fmla="*/ 4 w 66"/>
              <a:gd name="T45" fmla="*/ 46 h 65"/>
              <a:gd name="T46" fmla="*/ 11 w 66"/>
              <a:gd name="T47" fmla="*/ 55 h 65"/>
              <a:gd name="T48" fmla="*/ 15 w 66"/>
              <a:gd name="T49" fmla="*/ 54 h 65"/>
              <a:gd name="T50" fmla="*/ 18 w 66"/>
              <a:gd name="T51" fmla="*/ 61 h 65"/>
              <a:gd name="T52" fmla="*/ 28 w 66"/>
              <a:gd name="T53" fmla="*/ 65 h 65"/>
              <a:gd name="T54" fmla="*/ 33 w 66"/>
              <a:gd name="T55" fmla="*/ 59 h 65"/>
              <a:gd name="T56" fmla="*/ 39 w 66"/>
              <a:gd name="T57" fmla="*/ 65 h 65"/>
              <a:gd name="T58" fmla="*/ 49 w 66"/>
              <a:gd name="T59" fmla="*/ 61 h 65"/>
              <a:gd name="T60" fmla="*/ 51 w 66"/>
              <a:gd name="T61" fmla="*/ 54 h 65"/>
              <a:gd name="T62" fmla="*/ 56 w 66"/>
              <a:gd name="T63" fmla="*/ 55 h 65"/>
              <a:gd name="T64" fmla="*/ 62 w 66"/>
              <a:gd name="T65" fmla="*/ 46 h 65"/>
              <a:gd name="T66" fmla="*/ 63 w 66"/>
              <a:gd name="T67" fmla="*/ 38 h 65"/>
              <a:gd name="T68" fmla="*/ 65 w 66"/>
              <a:gd name="T69" fmla="*/ 38 h 65"/>
              <a:gd name="T70" fmla="*/ 66 w 66"/>
              <a:gd name="T71" fmla="*/ 28 h 65"/>
              <a:gd name="T72" fmla="*/ 56 w 66"/>
              <a:gd name="T73" fmla="*/ 52 h 65"/>
              <a:gd name="T74" fmla="*/ 40 w 66"/>
              <a:gd name="T75" fmla="*/ 61 h 65"/>
              <a:gd name="T76" fmla="*/ 21 w 66"/>
              <a:gd name="T77" fmla="*/ 60 h 65"/>
              <a:gd name="T78" fmla="*/ 7 w 66"/>
              <a:gd name="T79" fmla="*/ 47 h 65"/>
              <a:gd name="T80" fmla="*/ 3 w 66"/>
              <a:gd name="T81" fmla="*/ 32 h 65"/>
              <a:gd name="T82" fmla="*/ 7 w 66"/>
              <a:gd name="T83" fmla="*/ 17 h 65"/>
              <a:gd name="T84" fmla="*/ 21 w 66"/>
              <a:gd name="T85" fmla="*/ 5 h 65"/>
              <a:gd name="T86" fmla="*/ 40 w 66"/>
              <a:gd name="T87" fmla="*/ 3 h 65"/>
              <a:gd name="T88" fmla="*/ 56 w 66"/>
              <a:gd name="T89" fmla="*/ 12 h 65"/>
              <a:gd name="T90" fmla="*/ 63 w 66"/>
              <a:gd name="T91" fmla="*/ 29 h 65"/>
              <a:gd name="T92" fmla="*/ 56 w 66"/>
              <a:gd name="T93" fmla="*/ 40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6" h="65">
                <a:moveTo>
                  <a:pt x="32" y="16"/>
                </a:moveTo>
                <a:cubicBezTo>
                  <a:pt x="23" y="16"/>
                  <a:pt x="16" y="23"/>
                  <a:pt x="16" y="32"/>
                </a:cubicBezTo>
                <a:cubicBezTo>
                  <a:pt x="16" y="41"/>
                  <a:pt x="23" y="49"/>
                  <a:pt x="32" y="49"/>
                </a:cubicBezTo>
                <a:cubicBezTo>
                  <a:pt x="42" y="49"/>
                  <a:pt x="49" y="41"/>
                  <a:pt x="49" y="32"/>
                </a:cubicBezTo>
                <a:cubicBezTo>
                  <a:pt x="49" y="23"/>
                  <a:pt x="42" y="16"/>
                  <a:pt x="32" y="16"/>
                </a:cubicBezTo>
                <a:close/>
                <a:moveTo>
                  <a:pt x="32" y="47"/>
                </a:moveTo>
                <a:cubicBezTo>
                  <a:pt x="24" y="47"/>
                  <a:pt x="18" y="40"/>
                  <a:pt x="18" y="32"/>
                </a:cubicBezTo>
                <a:cubicBezTo>
                  <a:pt x="18" y="24"/>
                  <a:pt x="24" y="18"/>
                  <a:pt x="32" y="18"/>
                </a:cubicBezTo>
                <a:cubicBezTo>
                  <a:pt x="40" y="18"/>
                  <a:pt x="47" y="24"/>
                  <a:pt x="47" y="32"/>
                </a:cubicBezTo>
                <a:cubicBezTo>
                  <a:pt x="47" y="40"/>
                  <a:pt x="40" y="47"/>
                  <a:pt x="32" y="47"/>
                </a:cubicBezTo>
                <a:close/>
                <a:moveTo>
                  <a:pt x="39" y="32"/>
                </a:moveTo>
                <a:cubicBezTo>
                  <a:pt x="39" y="36"/>
                  <a:pt x="36" y="39"/>
                  <a:pt x="32" y="39"/>
                </a:cubicBezTo>
                <a:cubicBezTo>
                  <a:pt x="29" y="39"/>
                  <a:pt x="26" y="36"/>
                  <a:pt x="26" y="32"/>
                </a:cubicBezTo>
                <a:cubicBezTo>
                  <a:pt x="26" y="28"/>
                  <a:pt x="29" y="25"/>
                  <a:pt x="32" y="25"/>
                </a:cubicBezTo>
                <a:cubicBezTo>
                  <a:pt x="36" y="25"/>
                  <a:pt x="39" y="28"/>
                  <a:pt x="39" y="32"/>
                </a:cubicBezTo>
                <a:close/>
                <a:moveTo>
                  <a:pt x="66" y="28"/>
                </a:moveTo>
                <a:cubicBezTo>
                  <a:pt x="66" y="27"/>
                  <a:pt x="66" y="27"/>
                  <a:pt x="65" y="26"/>
                </a:cubicBezTo>
                <a:cubicBezTo>
                  <a:pt x="65" y="26"/>
                  <a:pt x="64" y="26"/>
                  <a:pt x="64" y="26"/>
                </a:cubicBezTo>
                <a:cubicBezTo>
                  <a:pt x="64" y="26"/>
                  <a:pt x="64" y="26"/>
                  <a:pt x="63" y="26"/>
                </a:cubicBezTo>
                <a:cubicBezTo>
                  <a:pt x="63" y="26"/>
                  <a:pt x="63" y="26"/>
                  <a:pt x="63" y="26"/>
                </a:cubicBezTo>
                <a:cubicBezTo>
                  <a:pt x="61" y="26"/>
                  <a:pt x="60" y="25"/>
                  <a:pt x="59" y="24"/>
                </a:cubicBezTo>
                <a:cubicBezTo>
                  <a:pt x="59" y="22"/>
                  <a:pt x="60" y="20"/>
                  <a:pt x="61" y="19"/>
                </a:cubicBezTo>
                <a:cubicBezTo>
                  <a:pt x="62" y="19"/>
                  <a:pt x="62" y="19"/>
                  <a:pt x="62" y="18"/>
                </a:cubicBezTo>
                <a:cubicBezTo>
                  <a:pt x="63" y="17"/>
                  <a:pt x="63" y="17"/>
                  <a:pt x="62" y="16"/>
                </a:cubicBezTo>
                <a:cubicBezTo>
                  <a:pt x="61" y="14"/>
                  <a:pt x="59" y="11"/>
                  <a:pt x="57" y="9"/>
                </a:cubicBezTo>
                <a:cubicBezTo>
                  <a:pt x="57" y="9"/>
                  <a:pt x="56" y="9"/>
                  <a:pt x="56" y="9"/>
                </a:cubicBezTo>
                <a:cubicBezTo>
                  <a:pt x="56" y="9"/>
                  <a:pt x="56" y="9"/>
                  <a:pt x="56" y="9"/>
                </a:cubicBezTo>
                <a:cubicBezTo>
                  <a:pt x="55" y="9"/>
                  <a:pt x="54" y="9"/>
                  <a:pt x="54" y="9"/>
                </a:cubicBezTo>
                <a:cubicBezTo>
                  <a:pt x="53" y="10"/>
                  <a:pt x="52" y="11"/>
                  <a:pt x="51" y="11"/>
                </a:cubicBezTo>
                <a:cubicBezTo>
                  <a:pt x="51" y="11"/>
                  <a:pt x="50" y="10"/>
                  <a:pt x="49" y="10"/>
                </a:cubicBezTo>
                <a:cubicBezTo>
                  <a:pt x="48" y="9"/>
                  <a:pt x="47" y="7"/>
                  <a:pt x="48" y="5"/>
                </a:cubicBezTo>
                <a:cubicBezTo>
                  <a:pt x="49" y="5"/>
                  <a:pt x="49" y="4"/>
                  <a:pt x="49" y="4"/>
                </a:cubicBezTo>
                <a:cubicBezTo>
                  <a:pt x="48" y="3"/>
                  <a:pt x="48" y="3"/>
                  <a:pt x="47" y="2"/>
                </a:cubicBezTo>
                <a:cubicBezTo>
                  <a:pt x="45" y="1"/>
                  <a:pt x="42" y="0"/>
                  <a:pt x="39" y="0"/>
                </a:cubicBezTo>
                <a:cubicBezTo>
                  <a:pt x="39" y="0"/>
                  <a:pt x="39" y="0"/>
                  <a:pt x="39" y="0"/>
                </a:cubicBezTo>
                <a:cubicBezTo>
                  <a:pt x="38" y="0"/>
                  <a:pt x="38" y="0"/>
                  <a:pt x="37" y="0"/>
                </a:cubicBezTo>
                <a:cubicBezTo>
                  <a:pt x="37" y="0"/>
                  <a:pt x="37" y="1"/>
                  <a:pt x="37" y="1"/>
                </a:cubicBezTo>
                <a:cubicBezTo>
                  <a:pt x="37" y="3"/>
                  <a:pt x="35" y="5"/>
                  <a:pt x="33" y="5"/>
                </a:cubicBezTo>
                <a:cubicBezTo>
                  <a:pt x="31" y="5"/>
                  <a:pt x="30" y="3"/>
                  <a:pt x="30" y="1"/>
                </a:cubicBezTo>
                <a:cubicBezTo>
                  <a:pt x="30" y="1"/>
                  <a:pt x="29" y="0"/>
                  <a:pt x="29" y="0"/>
                </a:cubicBezTo>
                <a:cubicBezTo>
                  <a:pt x="28" y="0"/>
                  <a:pt x="28" y="0"/>
                  <a:pt x="28" y="0"/>
                </a:cubicBezTo>
                <a:cubicBezTo>
                  <a:pt x="27" y="0"/>
                  <a:pt x="27" y="0"/>
                  <a:pt x="27" y="0"/>
                </a:cubicBezTo>
                <a:cubicBezTo>
                  <a:pt x="24" y="0"/>
                  <a:pt x="21" y="1"/>
                  <a:pt x="19" y="2"/>
                </a:cubicBezTo>
                <a:cubicBezTo>
                  <a:pt x="18" y="3"/>
                  <a:pt x="18" y="3"/>
                  <a:pt x="18" y="4"/>
                </a:cubicBezTo>
                <a:cubicBezTo>
                  <a:pt x="18" y="4"/>
                  <a:pt x="18" y="5"/>
                  <a:pt x="18" y="5"/>
                </a:cubicBezTo>
                <a:cubicBezTo>
                  <a:pt x="19" y="7"/>
                  <a:pt x="19" y="9"/>
                  <a:pt x="17" y="10"/>
                </a:cubicBezTo>
                <a:cubicBezTo>
                  <a:pt x="16" y="10"/>
                  <a:pt x="16" y="11"/>
                  <a:pt x="15" y="11"/>
                </a:cubicBezTo>
                <a:cubicBezTo>
                  <a:pt x="14" y="11"/>
                  <a:pt x="13" y="10"/>
                  <a:pt x="12" y="9"/>
                </a:cubicBezTo>
                <a:cubicBezTo>
                  <a:pt x="12" y="9"/>
                  <a:pt x="11" y="9"/>
                  <a:pt x="11" y="9"/>
                </a:cubicBezTo>
                <a:cubicBezTo>
                  <a:pt x="11" y="9"/>
                  <a:pt x="11" y="9"/>
                  <a:pt x="11" y="9"/>
                </a:cubicBezTo>
                <a:cubicBezTo>
                  <a:pt x="10" y="9"/>
                  <a:pt x="10" y="9"/>
                  <a:pt x="9" y="9"/>
                </a:cubicBezTo>
                <a:cubicBezTo>
                  <a:pt x="7" y="11"/>
                  <a:pt x="5" y="14"/>
                  <a:pt x="4" y="16"/>
                </a:cubicBezTo>
                <a:cubicBezTo>
                  <a:pt x="4" y="17"/>
                  <a:pt x="4" y="17"/>
                  <a:pt x="4" y="18"/>
                </a:cubicBezTo>
                <a:cubicBezTo>
                  <a:pt x="4" y="19"/>
                  <a:pt x="5" y="19"/>
                  <a:pt x="5" y="19"/>
                </a:cubicBezTo>
                <a:cubicBezTo>
                  <a:pt x="7" y="20"/>
                  <a:pt x="8" y="22"/>
                  <a:pt x="7" y="24"/>
                </a:cubicBezTo>
                <a:cubicBezTo>
                  <a:pt x="7" y="25"/>
                  <a:pt x="5" y="26"/>
                  <a:pt x="4" y="26"/>
                </a:cubicBezTo>
                <a:cubicBezTo>
                  <a:pt x="3" y="26"/>
                  <a:pt x="3" y="26"/>
                  <a:pt x="3" y="26"/>
                </a:cubicBezTo>
                <a:cubicBezTo>
                  <a:pt x="3" y="26"/>
                  <a:pt x="3" y="26"/>
                  <a:pt x="2" y="26"/>
                </a:cubicBezTo>
                <a:cubicBezTo>
                  <a:pt x="2" y="26"/>
                  <a:pt x="2" y="26"/>
                  <a:pt x="1" y="26"/>
                </a:cubicBezTo>
                <a:cubicBezTo>
                  <a:pt x="1" y="27"/>
                  <a:pt x="0" y="27"/>
                  <a:pt x="0" y="28"/>
                </a:cubicBezTo>
                <a:cubicBezTo>
                  <a:pt x="0" y="29"/>
                  <a:pt x="0" y="31"/>
                  <a:pt x="0" y="32"/>
                </a:cubicBezTo>
                <a:cubicBezTo>
                  <a:pt x="0" y="33"/>
                  <a:pt x="0" y="35"/>
                  <a:pt x="0" y="36"/>
                </a:cubicBezTo>
                <a:cubicBezTo>
                  <a:pt x="0" y="37"/>
                  <a:pt x="1" y="38"/>
                  <a:pt x="1" y="38"/>
                </a:cubicBezTo>
                <a:cubicBezTo>
                  <a:pt x="2" y="38"/>
                  <a:pt x="2" y="38"/>
                  <a:pt x="2" y="38"/>
                </a:cubicBezTo>
                <a:cubicBezTo>
                  <a:pt x="3" y="38"/>
                  <a:pt x="3" y="38"/>
                  <a:pt x="3" y="38"/>
                </a:cubicBezTo>
                <a:cubicBezTo>
                  <a:pt x="3" y="38"/>
                  <a:pt x="3" y="38"/>
                  <a:pt x="4" y="38"/>
                </a:cubicBezTo>
                <a:cubicBezTo>
                  <a:pt x="5" y="38"/>
                  <a:pt x="7" y="39"/>
                  <a:pt x="7" y="41"/>
                </a:cubicBezTo>
                <a:cubicBezTo>
                  <a:pt x="8" y="42"/>
                  <a:pt x="7" y="44"/>
                  <a:pt x="5" y="45"/>
                </a:cubicBezTo>
                <a:cubicBezTo>
                  <a:pt x="5" y="45"/>
                  <a:pt x="4" y="46"/>
                  <a:pt x="4" y="46"/>
                </a:cubicBezTo>
                <a:cubicBezTo>
                  <a:pt x="4" y="47"/>
                  <a:pt x="4" y="47"/>
                  <a:pt x="4" y="48"/>
                </a:cubicBezTo>
                <a:cubicBezTo>
                  <a:pt x="5" y="50"/>
                  <a:pt x="7" y="53"/>
                  <a:pt x="9" y="55"/>
                </a:cubicBezTo>
                <a:cubicBezTo>
                  <a:pt x="10" y="55"/>
                  <a:pt x="10" y="55"/>
                  <a:pt x="11" y="55"/>
                </a:cubicBezTo>
                <a:cubicBezTo>
                  <a:pt x="11" y="55"/>
                  <a:pt x="11" y="55"/>
                  <a:pt x="11" y="55"/>
                </a:cubicBezTo>
                <a:cubicBezTo>
                  <a:pt x="11" y="55"/>
                  <a:pt x="12" y="55"/>
                  <a:pt x="12" y="55"/>
                </a:cubicBezTo>
                <a:cubicBezTo>
                  <a:pt x="13" y="54"/>
                  <a:pt x="14" y="54"/>
                  <a:pt x="15" y="54"/>
                </a:cubicBezTo>
                <a:cubicBezTo>
                  <a:pt x="16" y="54"/>
                  <a:pt x="16" y="54"/>
                  <a:pt x="17" y="54"/>
                </a:cubicBezTo>
                <a:cubicBezTo>
                  <a:pt x="19" y="55"/>
                  <a:pt x="19" y="57"/>
                  <a:pt x="18" y="59"/>
                </a:cubicBezTo>
                <a:cubicBezTo>
                  <a:pt x="18" y="59"/>
                  <a:pt x="18" y="60"/>
                  <a:pt x="18" y="61"/>
                </a:cubicBezTo>
                <a:cubicBezTo>
                  <a:pt x="18" y="61"/>
                  <a:pt x="18" y="62"/>
                  <a:pt x="19" y="62"/>
                </a:cubicBezTo>
                <a:cubicBezTo>
                  <a:pt x="21" y="63"/>
                  <a:pt x="24" y="64"/>
                  <a:pt x="27" y="65"/>
                </a:cubicBezTo>
                <a:cubicBezTo>
                  <a:pt x="27" y="65"/>
                  <a:pt x="27" y="65"/>
                  <a:pt x="28" y="65"/>
                </a:cubicBezTo>
                <a:cubicBezTo>
                  <a:pt x="28" y="65"/>
                  <a:pt x="28" y="64"/>
                  <a:pt x="29" y="64"/>
                </a:cubicBezTo>
                <a:cubicBezTo>
                  <a:pt x="29" y="64"/>
                  <a:pt x="30" y="63"/>
                  <a:pt x="30" y="63"/>
                </a:cubicBezTo>
                <a:cubicBezTo>
                  <a:pt x="30" y="61"/>
                  <a:pt x="31" y="59"/>
                  <a:pt x="33" y="59"/>
                </a:cubicBezTo>
                <a:cubicBezTo>
                  <a:pt x="35" y="59"/>
                  <a:pt x="37" y="61"/>
                  <a:pt x="37" y="63"/>
                </a:cubicBezTo>
                <a:cubicBezTo>
                  <a:pt x="37" y="63"/>
                  <a:pt x="37" y="64"/>
                  <a:pt x="37" y="64"/>
                </a:cubicBezTo>
                <a:cubicBezTo>
                  <a:pt x="38" y="64"/>
                  <a:pt x="38" y="65"/>
                  <a:pt x="39" y="65"/>
                </a:cubicBezTo>
                <a:cubicBezTo>
                  <a:pt x="39" y="65"/>
                  <a:pt x="39" y="65"/>
                  <a:pt x="39" y="65"/>
                </a:cubicBezTo>
                <a:cubicBezTo>
                  <a:pt x="42" y="64"/>
                  <a:pt x="45" y="63"/>
                  <a:pt x="47" y="62"/>
                </a:cubicBezTo>
                <a:cubicBezTo>
                  <a:pt x="48" y="62"/>
                  <a:pt x="48" y="61"/>
                  <a:pt x="49" y="61"/>
                </a:cubicBezTo>
                <a:cubicBezTo>
                  <a:pt x="49" y="60"/>
                  <a:pt x="49" y="59"/>
                  <a:pt x="48" y="59"/>
                </a:cubicBezTo>
                <a:cubicBezTo>
                  <a:pt x="47" y="57"/>
                  <a:pt x="48" y="55"/>
                  <a:pt x="49" y="54"/>
                </a:cubicBezTo>
                <a:cubicBezTo>
                  <a:pt x="50" y="54"/>
                  <a:pt x="51" y="54"/>
                  <a:pt x="51" y="54"/>
                </a:cubicBezTo>
                <a:cubicBezTo>
                  <a:pt x="52" y="54"/>
                  <a:pt x="53" y="54"/>
                  <a:pt x="54" y="55"/>
                </a:cubicBezTo>
                <a:cubicBezTo>
                  <a:pt x="54" y="55"/>
                  <a:pt x="55" y="55"/>
                  <a:pt x="56" y="55"/>
                </a:cubicBezTo>
                <a:cubicBezTo>
                  <a:pt x="56" y="55"/>
                  <a:pt x="56" y="55"/>
                  <a:pt x="56" y="55"/>
                </a:cubicBezTo>
                <a:cubicBezTo>
                  <a:pt x="56" y="55"/>
                  <a:pt x="57" y="55"/>
                  <a:pt x="57" y="55"/>
                </a:cubicBezTo>
                <a:cubicBezTo>
                  <a:pt x="59" y="53"/>
                  <a:pt x="61" y="50"/>
                  <a:pt x="62" y="48"/>
                </a:cubicBezTo>
                <a:cubicBezTo>
                  <a:pt x="63" y="47"/>
                  <a:pt x="63" y="47"/>
                  <a:pt x="62" y="46"/>
                </a:cubicBezTo>
                <a:cubicBezTo>
                  <a:pt x="62" y="46"/>
                  <a:pt x="62" y="45"/>
                  <a:pt x="61" y="45"/>
                </a:cubicBezTo>
                <a:cubicBezTo>
                  <a:pt x="60" y="44"/>
                  <a:pt x="59" y="42"/>
                  <a:pt x="59" y="41"/>
                </a:cubicBezTo>
                <a:cubicBezTo>
                  <a:pt x="60" y="39"/>
                  <a:pt x="61" y="38"/>
                  <a:pt x="63" y="38"/>
                </a:cubicBezTo>
                <a:cubicBezTo>
                  <a:pt x="63" y="38"/>
                  <a:pt x="63" y="38"/>
                  <a:pt x="63" y="38"/>
                </a:cubicBezTo>
                <a:cubicBezTo>
                  <a:pt x="64" y="38"/>
                  <a:pt x="64" y="38"/>
                  <a:pt x="64" y="38"/>
                </a:cubicBezTo>
                <a:cubicBezTo>
                  <a:pt x="64" y="38"/>
                  <a:pt x="65" y="38"/>
                  <a:pt x="65" y="38"/>
                </a:cubicBezTo>
                <a:cubicBezTo>
                  <a:pt x="66" y="38"/>
                  <a:pt x="66" y="37"/>
                  <a:pt x="66" y="36"/>
                </a:cubicBezTo>
                <a:cubicBezTo>
                  <a:pt x="66" y="35"/>
                  <a:pt x="66" y="33"/>
                  <a:pt x="66" y="32"/>
                </a:cubicBezTo>
                <a:cubicBezTo>
                  <a:pt x="66" y="31"/>
                  <a:pt x="66" y="29"/>
                  <a:pt x="66" y="28"/>
                </a:cubicBezTo>
                <a:close/>
                <a:moveTo>
                  <a:pt x="56" y="40"/>
                </a:moveTo>
                <a:cubicBezTo>
                  <a:pt x="55" y="43"/>
                  <a:pt x="57" y="46"/>
                  <a:pt x="59" y="47"/>
                </a:cubicBezTo>
                <a:cubicBezTo>
                  <a:pt x="58" y="49"/>
                  <a:pt x="57" y="51"/>
                  <a:pt x="56" y="52"/>
                </a:cubicBezTo>
                <a:cubicBezTo>
                  <a:pt x="53" y="50"/>
                  <a:pt x="50" y="50"/>
                  <a:pt x="48" y="52"/>
                </a:cubicBezTo>
                <a:cubicBezTo>
                  <a:pt x="45" y="54"/>
                  <a:pt x="44" y="57"/>
                  <a:pt x="45" y="60"/>
                </a:cubicBezTo>
                <a:cubicBezTo>
                  <a:pt x="43" y="60"/>
                  <a:pt x="41" y="61"/>
                  <a:pt x="40" y="61"/>
                </a:cubicBezTo>
                <a:cubicBezTo>
                  <a:pt x="39" y="59"/>
                  <a:pt x="36" y="56"/>
                  <a:pt x="33" y="56"/>
                </a:cubicBezTo>
                <a:cubicBezTo>
                  <a:pt x="30" y="56"/>
                  <a:pt x="28" y="59"/>
                  <a:pt x="27" y="61"/>
                </a:cubicBezTo>
                <a:cubicBezTo>
                  <a:pt x="25" y="61"/>
                  <a:pt x="23" y="60"/>
                  <a:pt x="21" y="60"/>
                </a:cubicBezTo>
                <a:cubicBezTo>
                  <a:pt x="22" y="57"/>
                  <a:pt x="21" y="54"/>
                  <a:pt x="19" y="52"/>
                </a:cubicBezTo>
                <a:cubicBezTo>
                  <a:pt x="16" y="50"/>
                  <a:pt x="13" y="50"/>
                  <a:pt x="11" y="52"/>
                </a:cubicBezTo>
                <a:cubicBezTo>
                  <a:pt x="9" y="51"/>
                  <a:pt x="8" y="49"/>
                  <a:pt x="7" y="47"/>
                </a:cubicBezTo>
                <a:cubicBezTo>
                  <a:pt x="10" y="46"/>
                  <a:pt x="11" y="43"/>
                  <a:pt x="10" y="40"/>
                </a:cubicBezTo>
                <a:cubicBezTo>
                  <a:pt x="9" y="37"/>
                  <a:pt x="6" y="35"/>
                  <a:pt x="3" y="35"/>
                </a:cubicBezTo>
                <a:cubicBezTo>
                  <a:pt x="3" y="34"/>
                  <a:pt x="3" y="33"/>
                  <a:pt x="3" y="32"/>
                </a:cubicBezTo>
                <a:cubicBezTo>
                  <a:pt x="3" y="31"/>
                  <a:pt x="3" y="30"/>
                  <a:pt x="3" y="29"/>
                </a:cubicBezTo>
                <a:cubicBezTo>
                  <a:pt x="6" y="29"/>
                  <a:pt x="9" y="27"/>
                  <a:pt x="10" y="25"/>
                </a:cubicBezTo>
                <a:cubicBezTo>
                  <a:pt x="11" y="22"/>
                  <a:pt x="10" y="19"/>
                  <a:pt x="7" y="17"/>
                </a:cubicBezTo>
                <a:cubicBezTo>
                  <a:pt x="8" y="15"/>
                  <a:pt x="9" y="14"/>
                  <a:pt x="11" y="12"/>
                </a:cubicBezTo>
                <a:cubicBezTo>
                  <a:pt x="13" y="14"/>
                  <a:pt x="16" y="14"/>
                  <a:pt x="19" y="12"/>
                </a:cubicBezTo>
                <a:cubicBezTo>
                  <a:pt x="21" y="10"/>
                  <a:pt x="22" y="7"/>
                  <a:pt x="21" y="5"/>
                </a:cubicBezTo>
                <a:cubicBezTo>
                  <a:pt x="23" y="4"/>
                  <a:pt x="25" y="3"/>
                  <a:pt x="27" y="3"/>
                </a:cubicBezTo>
                <a:cubicBezTo>
                  <a:pt x="28" y="6"/>
                  <a:pt x="30" y="8"/>
                  <a:pt x="33" y="8"/>
                </a:cubicBezTo>
                <a:cubicBezTo>
                  <a:pt x="36" y="8"/>
                  <a:pt x="39" y="6"/>
                  <a:pt x="40" y="3"/>
                </a:cubicBezTo>
                <a:cubicBezTo>
                  <a:pt x="41" y="3"/>
                  <a:pt x="43" y="4"/>
                  <a:pt x="45" y="5"/>
                </a:cubicBezTo>
                <a:cubicBezTo>
                  <a:pt x="44" y="7"/>
                  <a:pt x="45" y="10"/>
                  <a:pt x="48" y="12"/>
                </a:cubicBezTo>
                <a:cubicBezTo>
                  <a:pt x="50" y="14"/>
                  <a:pt x="53" y="14"/>
                  <a:pt x="56" y="12"/>
                </a:cubicBezTo>
                <a:cubicBezTo>
                  <a:pt x="57" y="14"/>
                  <a:pt x="58" y="15"/>
                  <a:pt x="59" y="17"/>
                </a:cubicBezTo>
                <a:cubicBezTo>
                  <a:pt x="57" y="19"/>
                  <a:pt x="55" y="22"/>
                  <a:pt x="56" y="25"/>
                </a:cubicBezTo>
                <a:cubicBezTo>
                  <a:pt x="57" y="27"/>
                  <a:pt x="60" y="29"/>
                  <a:pt x="63" y="29"/>
                </a:cubicBezTo>
                <a:cubicBezTo>
                  <a:pt x="63" y="30"/>
                  <a:pt x="63" y="31"/>
                  <a:pt x="63" y="32"/>
                </a:cubicBezTo>
                <a:cubicBezTo>
                  <a:pt x="63" y="33"/>
                  <a:pt x="63" y="34"/>
                  <a:pt x="63" y="35"/>
                </a:cubicBezTo>
                <a:cubicBezTo>
                  <a:pt x="60" y="35"/>
                  <a:pt x="57" y="37"/>
                  <a:pt x="56" y="40"/>
                </a:cubicBezTo>
                <a:close/>
              </a:path>
            </a:pathLst>
          </a:custGeom>
          <a:solidFill>
            <a:schemeClr val="accent1">
              <a:lumMod val="10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cs typeface="+mn-ea"/>
              <a:sym typeface="+mn-lt"/>
            </a:endParaRPr>
          </a:p>
        </p:txBody>
      </p:sp>
      <p:sp>
        <p:nvSpPr>
          <p:cNvPr id="83" name="Freeform 211">
            <a:extLst>
              <a:ext uri="{FF2B5EF4-FFF2-40B4-BE49-F238E27FC236}">
                <a16:creationId xmlns:a16="http://schemas.microsoft.com/office/drawing/2014/main" id="{2DF311EF-7DB4-440F-A61E-7ED36D07B00A}"/>
              </a:ext>
            </a:extLst>
          </p:cNvPr>
          <p:cNvSpPr>
            <a:spLocks noEditPoints="1"/>
          </p:cNvSpPr>
          <p:nvPr/>
        </p:nvSpPr>
        <p:spPr bwMode="auto">
          <a:xfrm>
            <a:off x="1700876" y="5214233"/>
            <a:ext cx="194732" cy="317537"/>
          </a:xfrm>
          <a:custGeom>
            <a:avLst/>
            <a:gdLst>
              <a:gd name="T0" fmla="*/ 23 w 47"/>
              <a:gd name="T1" fmla="*/ 0 h 74"/>
              <a:gd name="T2" fmla="*/ 7 w 47"/>
              <a:gd name="T3" fmla="*/ 41 h 74"/>
              <a:gd name="T4" fmla="*/ 11 w 47"/>
              <a:gd name="T5" fmla="*/ 54 h 74"/>
              <a:gd name="T6" fmla="*/ 11 w 47"/>
              <a:gd name="T7" fmla="*/ 58 h 74"/>
              <a:gd name="T8" fmla="*/ 11 w 47"/>
              <a:gd name="T9" fmla="*/ 62 h 74"/>
              <a:gd name="T10" fmla="*/ 11 w 47"/>
              <a:gd name="T11" fmla="*/ 67 h 74"/>
              <a:gd name="T12" fmla="*/ 15 w 47"/>
              <a:gd name="T13" fmla="*/ 71 h 74"/>
              <a:gd name="T14" fmla="*/ 28 w 47"/>
              <a:gd name="T15" fmla="*/ 74 h 74"/>
              <a:gd name="T16" fmla="*/ 32 w 47"/>
              <a:gd name="T17" fmla="*/ 70 h 74"/>
              <a:gd name="T18" fmla="*/ 35 w 47"/>
              <a:gd name="T19" fmla="*/ 64 h 74"/>
              <a:gd name="T20" fmla="*/ 35 w 47"/>
              <a:gd name="T21" fmla="*/ 60 h 74"/>
              <a:gd name="T22" fmla="*/ 35 w 47"/>
              <a:gd name="T23" fmla="*/ 56 h 74"/>
              <a:gd name="T24" fmla="*/ 34 w 47"/>
              <a:gd name="T25" fmla="*/ 51 h 74"/>
              <a:gd name="T26" fmla="*/ 47 w 47"/>
              <a:gd name="T27" fmla="*/ 24 h 74"/>
              <a:gd name="T28" fmla="*/ 31 w 47"/>
              <a:gd name="T29" fmla="*/ 55 h 74"/>
              <a:gd name="T30" fmla="*/ 13 w 47"/>
              <a:gd name="T31" fmla="*/ 54 h 74"/>
              <a:gd name="T32" fmla="*/ 14 w 47"/>
              <a:gd name="T33" fmla="*/ 53 h 74"/>
              <a:gd name="T34" fmla="*/ 33 w 47"/>
              <a:gd name="T35" fmla="*/ 53 h 74"/>
              <a:gd name="T36" fmla="*/ 34 w 47"/>
              <a:gd name="T37" fmla="*/ 58 h 74"/>
              <a:gd name="T38" fmla="*/ 16 w 47"/>
              <a:gd name="T39" fmla="*/ 59 h 74"/>
              <a:gd name="T40" fmla="*/ 16 w 47"/>
              <a:gd name="T41" fmla="*/ 57 h 74"/>
              <a:gd name="T42" fmla="*/ 34 w 47"/>
              <a:gd name="T43" fmla="*/ 58 h 74"/>
              <a:gd name="T44" fmla="*/ 31 w 47"/>
              <a:gd name="T45" fmla="*/ 63 h 74"/>
              <a:gd name="T46" fmla="*/ 13 w 47"/>
              <a:gd name="T47" fmla="*/ 62 h 74"/>
              <a:gd name="T48" fmla="*/ 31 w 47"/>
              <a:gd name="T49" fmla="*/ 61 h 74"/>
              <a:gd name="T50" fmla="*/ 28 w 47"/>
              <a:gd name="T51" fmla="*/ 72 h 74"/>
              <a:gd name="T52" fmla="*/ 17 w 47"/>
              <a:gd name="T53" fmla="*/ 71 h 74"/>
              <a:gd name="T54" fmla="*/ 28 w 47"/>
              <a:gd name="T55" fmla="*/ 70 h 74"/>
              <a:gd name="T56" fmla="*/ 28 w 47"/>
              <a:gd name="T57" fmla="*/ 72 h 74"/>
              <a:gd name="T58" fmla="*/ 28 w 47"/>
              <a:gd name="T59" fmla="*/ 68 h 74"/>
              <a:gd name="T60" fmla="*/ 16 w 47"/>
              <a:gd name="T61" fmla="*/ 68 h 74"/>
              <a:gd name="T62" fmla="*/ 16 w 47"/>
              <a:gd name="T63" fmla="*/ 65 h 74"/>
              <a:gd name="T64" fmla="*/ 34 w 47"/>
              <a:gd name="T65" fmla="*/ 67 h 74"/>
              <a:gd name="T66" fmla="*/ 32 w 47"/>
              <a:gd name="T67" fmla="*/ 50 h 74"/>
              <a:gd name="T68" fmla="*/ 32 w 47"/>
              <a:gd name="T69" fmla="*/ 28 h 74"/>
              <a:gd name="T70" fmla="*/ 30 w 47"/>
              <a:gd name="T71" fmla="*/ 28 h 74"/>
              <a:gd name="T72" fmla="*/ 21 w 47"/>
              <a:gd name="T73" fmla="*/ 50 h 74"/>
              <a:gd name="T74" fmla="*/ 16 w 47"/>
              <a:gd name="T75" fmla="*/ 27 h 74"/>
              <a:gd name="T76" fmla="*/ 19 w 47"/>
              <a:gd name="T77" fmla="*/ 50 h 74"/>
              <a:gd name="T78" fmla="*/ 9 w 47"/>
              <a:gd name="T79" fmla="*/ 39 h 74"/>
              <a:gd name="T80" fmla="*/ 23 w 47"/>
              <a:gd name="T81" fmla="*/ 3 h 74"/>
              <a:gd name="T82" fmla="*/ 38 w 47"/>
              <a:gd name="T83" fmla="*/ 39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7" h="74">
                <a:moveTo>
                  <a:pt x="47" y="24"/>
                </a:moveTo>
                <a:cubicBezTo>
                  <a:pt x="47" y="11"/>
                  <a:pt x="37" y="0"/>
                  <a:pt x="23" y="0"/>
                </a:cubicBezTo>
                <a:cubicBezTo>
                  <a:pt x="10" y="0"/>
                  <a:pt x="0" y="11"/>
                  <a:pt x="0" y="24"/>
                </a:cubicBezTo>
                <a:cubicBezTo>
                  <a:pt x="0" y="30"/>
                  <a:pt x="2" y="37"/>
                  <a:pt x="7" y="41"/>
                </a:cubicBezTo>
                <a:cubicBezTo>
                  <a:pt x="11" y="45"/>
                  <a:pt x="12" y="49"/>
                  <a:pt x="12" y="51"/>
                </a:cubicBezTo>
                <a:cubicBezTo>
                  <a:pt x="12" y="52"/>
                  <a:pt x="11" y="53"/>
                  <a:pt x="11" y="54"/>
                </a:cubicBezTo>
                <a:cubicBezTo>
                  <a:pt x="11" y="54"/>
                  <a:pt x="12" y="55"/>
                  <a:pt x="12" y="56"/>
                </a:cubicBezTo>
                <a:cubicBezTo>
                  <a:pt x="12" y="56"/>
                  <a:pt x="11" y="57"/>
                  <a:pt x="11" y="58"/>
                </a:cubicBezTo>
                <a:cubicBezTo>
                  <a:pt x="11" y="59"/>
                  <a:pt x="12" y="59"/>
                  <a:pt x="12" y="60"/>
                </a:cubicBezTo>
                <a:cubicBezTo>
                  <a:pt x="12" y="61"/>
                  <a:pt x="11" y="61"/>
                  <a:pt x="11" y="62"/>
                </a:cubicBezTo>
                <a:cubicBezTo>
                  <a:pt x="11" y="63"/>
                  <a:pt x="12" y="64"/>
                  <a:pt x="12" y="64"/>
                </a:cubicBezTo>
                <a:cubicBezTo>
                  <a:pt x="12" y="65"/>
                  <a:pt x="11" y="66"/>
                  <a:pt x="11" y="67"/>
                </a:cubicBezTo>
                <a:cubicBezTo>
                  <a:pt x="11" y="68"/>
                  <a:pt x="13" y="70"/>
                  <a:pt x="15" y="70"/>
                </a:cubicBezTo>
                <a:cubicBezTo>
                  <a:pt x="15" y="70"/>
                  <a:pt x="15" y="71"/>
                  <a:pt x="15" y="71"/>
                </a:cubicBezTo>
                <a:cubicBezTo>
                  <a:pt x="15" y="73"/>
                  <a:pt x="17" y="74"/>
                  <a:pt x="19" y="74"/>
                </a:cubicBezTo>
                <a:cubicBezTo>
                  <a:pt x="28" y="74"/>
                  <a:pt x="28" y="74"/>
                  <a:pt x="28" y="74"/>
                </a:cubicBezTo>
                <a:cubicBezTo>
                  <a:pt x="30" y="74"/>
                  <a:pt x="32" y="73"/>
                  <a:pt x="32" y="71"/>
                </a:cubicBezTo>
                <a:cubicBezTo>
                  <a:pt x="32" y="71"/>
                  <a:pt x="32" y="70"/>
                  <a:pt x="32" y="70"/>
                </a:cubicBezTo>
                <a:cubicBezTo>
                  <a:pt x="34" y="70"/>
                  <a:pt x="36" y="68"/>
                  <a:pt x="36" y="67"/>
                </a:cubicBezTo>
                <a:cubicBezTo>
                  <a:pt x="36" y="66"/>
                  <a:pt x="35" y="65"/>
                  <a:pt x="35" y="64"/>
                </a:cubicBezTo>
                <a:cubicBezTo>
                  <a:pt x="35" y="64"/>
                  <a:pt x="36" y="63"/>
                  <a:pt x="36" y="62"/>
                </a:cubicBezTo>
                <a:cubicBezTo>
                  <a:pt x="36" y="61"/>
                  <a:pt x="35" y="61"/>
                  <a:pt x="35" y="60"/>
                </a:cubicBezTo>
                <a:cubicBezTo>
                  <a:pt x="35" y="59"/>
                  <a:pt x="36" y="59"/>
                  <a:pt x="36" y="58"/>
                </a:cubicBezTo>
                <a:cubicBezTo>
                  <a:pt x="36" y="57"/>
                  <a:pt x="35" y="56"/>
                  <a:pt x="35" y="56"/>
                </a:cubicBezTo>
                <a:cubicBezTo>
                  <a:pt x="35" y="55"/>
                  <a:pt x="36" y="54"/>
                  <a:pt x="36" y="54"/>
                </a:cubicBezTo>
                <a:cubicBezTo>
                  <a:pt x="36" y="53"/>
                  <a:pt x="35" y="52"/>
                  <a:pt x="34" y="51"/>
                </a:cubicBezTo>
                <a:cubicBezTo>
                  <a:pt x="35" y="49"/>
                  <a:pt x="36" y="45"/>
                  <a:pt x="40" y="41"/>
                </a:cubicBezTo>
                <a:cubicBezTo>
                  <a:pt x="45" y="37"/>
                  <a:pt x="47" y="30"/>
                  <a:pt x="47" y="24"/>
                </a:cubicBezTo>
                <a:close/>
                <a:moveTo>
                  <a:pt x="34" y="54"/>
                </a:moveTo>
                <a:cubicBezTo>
                  <a:pt x="34" y="54"/>
                  <a:pt x="33" y="55"/>
                  <a:pt x="31" y="55"/>
                </a:cubicBezTo>
                <a:cubicBezTo>
                  <a:pt x="16" y="55"/>
                  <a:pt x="16" y="55"/>
                  <a:pt x="16" y="55"/>
                </a:cubicBezTo>
                <a:cubicBezTo>
                  <a:pt x="14" y="55"/>
                  <a:pt x="13" y="54"/>
                  <a:pt x="13" y="54"/>
                </a:cubicBezTo>
                <a:cubicBezTo>
                  <a:pt x="13" y="53"/>
                  <a:pt x="13" y="53"/>
                  <a:pt x="14" y="53"/>
                </a:cubicBezTo>
                <a:cubicBezTo>
                  <a:pt x="14" y="53"/>
                  <a:pt x="14" y="53"/>
                  <a:pt x="14" y="53"/>
                </a:cubicBezTo>
                <a:cubicBezTo>
                  <a:pt x="33" y="53"/>
                  <a:pt x="33" y="53"/>
                  <a:pt x="33" y="53"/>
                </a:cubicBezTo>
                <a:cubicBezTo>
                  <a:pt x="33" y="53"/>
                  <a:pt x="33" y="53"/>
                  <a:pt x="33" y="53"/>
                </a:cubicBezTo>
                <a:cubicBezTo>
                  <a:pt x="33" y="53"/>
                  <a:pt x="34" y="53"/>
                  <a:pt x="34" y="54"/>
                </a:cubicBezTo>
                <a:close/>
                <a:moveTo>
                  <a:pt x="34" y="58"/>
                </a:moveTo>
                <a:cubicBezTo>
                  <a:pt x="34" y="58"/>
                  <a:pt x="33" y="59"/>
                  <a:pt x="31" y="59"/>
                </a:cubicBezTo>
                <a:cubicBezTo>
                  <a:pt x="16" y="59"/>
                  <a:pt x="16" y="59"/>
                  <a:pt x="16" y="59"/>
                </a:cubicBezTo>
                <a:cubicBezTo>
                  <a:pt x="14" y="59"/>
                  <a:pt x="13" y="58"/>
                  <a:pt x="13" y="58"/>
                </a:cubicBezTo>
                <a:cubicBezTo>
                  <a:pt x="13" y="57"/>
                  <a:pt x="14" y="57"/>
                  <a:pt x="16" y="57"/>
                </a:cubicBezTo>
                <a:cubicBezTo>
                  <a:pt x="31" y="57"/>
                  <a:pt x="31" y="57"/>
                  <a:pt x="31" y="57"/>
                </a:cubicBezTo>
                <a:cubicBezTo>
                  <a:pt x="33" y="57"/>
                  <a:pt x="34" y="57"/>
                  <a:pt x="34" y="58"/>
                </a:cubicBezTo>
                <a:close/>
                <a:moveTo>
                  <a:pt x="34" y="62"/>
                </a:moveTo>
                <a:cubicBezTo>
                  <a:pt x="34" y="63"/>
                  <a:pt x="33" y="63"/>
                  <a:pt x="31" y="63"/>
                </a:cubicBezTo>
                <a:cubicBezTo>
                  <a:pt x="16" y="63"/>
                  <a:pt x="16" y="63"/>
                  <a:pt x="16" y="63"/>
                </a:cubicBezTo>
                <a:cubicBezTo>
                  <a:pt x="14" y="63"/>
                  <a:pt x="13" y="63"/>
                  <a:pt x="13" y="62"/>
                </a:cubicBezTo>
                <a:cubicBezTo>
                  <a:pt x="13" y="62"/>
                  <a:pt x="14" y="61"/>
                  <a:pt x="16" y="61"/>
                </a:cubicBezTo>
                <a:cubicBezTo>
                  <a:pt x="31" y="61"/>
                  <a:pt x="31" y="61"/>
                  <a:pt x="31" y="61"/>
                </a:cubicBezTo>
                <a:cubicBezTo>
                  <a:pt x="33" y="61"/>
                  <a:pt x="34" y="62"/>
                  <a:pt x="34" y="62"/>
                </a:cubicBezTo>
                <a:close/>
                <a:moveTo>
                  <a:pt x="28" y="72"/>
                </a:moveTo>
                <a:cubicBezTo>
                  <a:pt x="19" y="72"/>
                  <a:pt x="19" y="72"/>
                  <a:pt x="19" y="72"/>
                </a:cubicBezTo>
                <a:cubicBezTo>
                  <a:pt x="18" y="72"/>
                  <a:pt x="17" y="71"/>
                  <a:pt x="17" y="71"/>
                </a:cubicBezTo>
                <a:cubicBezTo>
                  <a:pt x="17" y="70"/>
                  <a:pt x="18" y="70"/>
                  <a:pt x="19" y="70"/>
                </a:cubicBezTo>
                <a:cubicBezTo>
                  <a:pt x="28" y="70"/>
                  <a:pt x="28" y="70"/>
                  <a:pt x="28" y="70"/>
                </a:cubicBezTo>
                <a:cubicBezTo>
                  <a:pt x="29" y="70"/>
                  <a:pt x="30" y="70"/>
                  <a:pt x="30" y="71"/>
                </a:cubicBezTo>
                <a:cubicBezTo>
                  <a:pt x="30" y="71"/>
                  <a:pt x="29" y="72"/>
                  <a:pt x="28" y="72"/>
                </a:cubicBezTo>
                <a:close/>
                <a:moveTo>
                  <a:pt x="31" y="68"/>
                </a:moveTo>
                <a:cubicBezTo>
                  <a:pt x="28" y="68"/>
                  <a:pt x="28" y="68"/>
                  <a:pt x="28" y="68"/>
                </a:cubicBezTo>
                <a:cubicBezTo>
                  <a:pt x="19" y="68"/>
                  <a:pt x="19" y="68"/>
                  <a:pt x="19" y="68"/>
                </a:cubicBezTo>
                <a:cubicBezTo>
                  <a:pt x="16" y="68"/>
                  <a:pt x="16" y="68"/>
                  <a:pt x="16" y="68"/>
                </a:cubicBezTo>
                <a:cubicBezTo>
                  <a:pt x="14" y="68"/>
                  <a:pt x="13" y="67"/>
                  <a:pt x="13" y="67"/>
                </a:cubicBezTo>
                <a:cubicBezTo>
                  <a:pt x="13" y="66"/>
                  <a:pt x="14" y="65"/>
                  <a:pt x="16" y="65"/>
                </a:cubicBezTo>
                <a:cubicBezTo>
                  <a:pt x="31" y="65"/>
                  <a:pt x="31" y="65"/>
                  <a:pt x="31" y="65"/>
                </a:cubicBezTo>
                <a:cubicBezTo>
                  <a:pt x="33" y="65"/>
                  <a:pt x="34" y="66"/>
                  <a:pt x="34" y="67"/>
                </a:cubicBezTo>
                <a:cubicBezTo>
                  <a:pt x="34" y="67"/>
                  <a:pt x="33" y="68"/>
                  <a:pt x="31" y="68"/>
                </a:cubicBezTo>
                <a:close/>
                <a:moveTo>
                  <a:pt x="32" y="50"/>
                </a:moveTo>
                <a:cubicBezTo>
                  <a:pt x="28" y="50"/>
                  <a:pt x="28" y="50"/>
                  <a:pt x="28" y="50"/>
                </a:cubicBezTo>
                <a:cubicBezTo>
                  <a:pt x="32" y="28"/>
                  <a:pt x="32" y="28"/>
                  <a:pt x="32" y="28"/>
                </a:cubicBezTo>
                <a:cubicBezTo>
                  <a:pt x="32" y="28"/>
                  <a:pt x="32" y="27"/>
                  <a:pt x="31" y="27"/>
                </a:cubicBezTo>
                <a:cubicBezTo>
                  <a:pt x="31" y="27"/>
                  <a:pt x="30" y="28"/>
                  <a:pt x="30" y="28"/>
                </a:cubicBezTo>
                <a:cubicBezTo>
                  <a:pt x="26" y="50"/>
                  <a:pt x="26" y="50"/>
                  <a:pt x="26" y="50"/>
                </a:cubicBezTo>
                <a:cubicBezTo>
                  <a:pt x="21" y="50"/>
                  <a:pt x="21" y="50"/>
                  <a:pt x="21" y="50"/>
                </a:cubicBezTo>
                <a:cubicBezTo>
                  <a:pt x="17" y="28"/>
                  <a:pt x="17" y="28"/>
                  <a:pt x="17" y="28"/>
                </a:cubicBezTo>
                <a:cubicBezTo>
                  <a:pt x="17" y="28"/>
                  <a:pt x="16" y="27"/>
                  <a:pt x="16" y="27"/>
                </a:cubicBezTo>
                <a:cubicBezTo>
                  <a:pt x="15" y="27"/>
                  <a:pt x="15" y="28"/>
                  <a:pt x="15" y="28"/>
                </a:cubicBezTo>
                <a:cubicBezTo>
                  <a:pt x="19" y="50"/>
                  <a:pt x="19" y="50"/>
                  <a:pt x="19" y="50"/>
                </a:cubicBezTo>
                <a:cubicBezTo>
                  <a:pt x="15" y="50"/>
                  <a:pt x="15" y="50"/>
                  <a:pt x="15" y="50"/>
                </a:cubicBezTo>
                <a:cubicBezTo>
                  <a:pt x="14" y="46"/>
                  <a:pt x="13" y="43"/>
                  <a:pt x="9" y="39"/>
                </a:cubicBezTo>
                <a:cubicBezTo>
                  <a:pt x="5" y="35"/>
                  <a:pt x="3" y="30"/>
                  <a:pt x="3" y="24"/>
                </a:cubicBezTo>
                <a:cubicBezTo>
                  <a:pt x="3" y="12"/>
                  <a:pt x="12" y="3"/>
                  <a:pt x="23" y="3"/>
                </a:cubicBezTo>
                <a:cubicBezTo>
                  <a:pt x="35" y="3"/>
                  <a:pt x="44" y="12"/>
                  <a:pt x="44" y="24"/>
                </a:cubicBezTo>
                <a:cubicBezTo>
                  <a:pt x="44" y="30"/>
                  <a:pt x="42" y="35"/>
                  <a:pt x="38" y="39"/>
                </a:cubicBezTo>
                <a:cubicBezTo>
                  <a:pt x="34" y="43"/>
                  <a:pt x="32" y="46"/>
                  <a:pt x="32" y="50"/>
                </a:cubicBezTo>
                <a:close/>
              </a:path>
            </a:pathLst>
          </a:custGeom>
          <a:solidFill>
            <a:schemeClr val="accent1">
              <a:lumMod val="10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cs typeface="+mn-ea"/>
              <a:sym typeface="+mn-lt"/>
            </a:endParaRPr>
          </a:p>
        </p:txBody>
      </p:sp>
    </p:spTree>
    <p:extLst>
      <p:ext uri="{BB962C8B-B14F-4D97-AF65-F5344CB8AC3E}">
        <p14:creationId xmlns:p14="http://schemas.microsoft.com/office/powerpoint/2010/main" val="3645086463"/>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500"/>
                                        <p:tgtEl>
                                          <p:spTgt spid="2"/>
                                        </p:tgtEl>
                                      </p:cBhvr>
                                    </p:animEffect>
                                  </p:childTnLst>
                                </p:cTn>
                              </p:par>
                            </p:childTnLst>
                          </p:cTn>
                        </p:par>
                        <p:par>
                          <p:cTn id="8" fill="hold">
                            <p:stCondLst>
                              <p:cond delay="500"/>
                            </p:stCondLst>
                            <p:childTnLst>
                              <p:par>
                                <p:cTn id="9" presetID="22" presetClass="entr" presetSubtype="8" fill="hold" grpId="0" nodeType="afterEffect">
                                  <p:stCondLst>
                                    <p:cond delay="0"/>
                                  </p:stCondLst>
                                  <p:childTnLst>
                                    <p:set>
                                      <p:cBhvr>
                                        <p:cTn id="10" dur="1" fill="hold">
                                          <p:stCondLst>
                                            <p:cond delay="0"/>
                                          </p:stCondLst>
                                        </p:cTn>
                                        <p:tgtEl>
                                          <p:spTgt spid="31"/>
                                        </p:tgtEl>
                                        <p:attrNameLst>
                                          <p:attrName>style.visibility</p:attrName>
                                        </p:attrNameLst>
                                      </p:cBhvr>
                                      <p:to>
                                        <p:strVal val="visible"/>
                                      </p:to>
                                    </p:set>
                                    <p:animEffect transition="in" filter="wipe(left)">
                                      <p:cBhvr>
                                        <p:cTn id="11" dur="500"/>
                                        <p:tgtEl>
                                          <p:spTgt spid="31"/>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68"/>
                                        </p:tgtEl>
                                        <p:attrNameLst>
                                          <p:attrName>style.visibility</p:attrName>
                                        </p:attrNameLst>
                                      </p:cBhvr>
                                      <p:to>
                                        <p:strVal val="visible"/>
                                      </p:to>
                                    </p:set>
                                    <p:animEffect transition="in" filter="fade">
                                      <p:cBhvr>
                                        <p:cTn id="15" dur="500"/>
                                        <p:tgtEl>
                                          <p:spTgt spid="68"/>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69"/>
                                        </p:tgtEl>
                                        <p:attrNameLst>
                                          <p:attrName>style.visibility</p:attrName>
                                        </p:attrNameLst>
                                      </p:cBhvr>
                                      <p:to>
                                        <p:strVal val="visible"/>
                                      </p:to>
                                    </p:set>
                                    <p:animEffect transition="in" filter="fade">
                                      <p:cBhvr>
                                        <p:cTn id="18" dur="500"/>
                                        <p:tgtEl>
                                          <p:spTgt spid="69"/>
                                        </p:tgtEl>
                                      </p:cBhvr>
                                    </p:animEffect>
                                  </p:childTnLst>
                                </p:cTn>
                              </p:par>
                            </p:childTnLst>
                          </p:cTn>
                        </p:par>
                        <p:par>
                          <p:cTn id="19" fill="hold">
                            <p:stCondLst>
                              <p:cond delay="1500"/>
                            </p:stCondLst>
                            <p:childTnLst>
                              <p:par>
                                <p:cTn id="20" presetID="53" presetClass="entr" presetSubtype="16" fill="hold" grpId="0" nodeType="afterEffect">
                                  <p:stCondLst>
                                    <p:cond delay="0"/>
                                  </p:stCondLst>
                                  <p:childTnLst>
                                    <p:set>
                                      <p:cBhvr>
                                        <p:cTn id="21" dur="1" fill="hold">
                                          <p:stCondLst>
                                            <p:cond delay="0"/>
                                          </p:stCondLst>
                                        </p:cTn>
                                        <p:tgtEl>
                                          <p:spTgt spid="60"/>
                                        </p:tgtEl>
                                        <p:attrNameLst>
                                          <p:attrName>style.visibility</p:attrName>
                                        </p:attrNameLst>
                                      </p:cBhvr>
                                      <p:to>
                                        <p:strVal val="visible"/>
                                      </p:to>
                                    </p:set>
                                    <p:anim calcmode="lin" valueType="num">
                                      <p:cBhvr>
                                        <p:cTn id="22" dur="500" fill="hold"/>
                                        <p:tgtEl>
                                          <p:spTgt spid="60"/>
                                        </p:tgtEl>
                                        <p:attrNameLst>
                                          <p:attrName>ppt_w</p:attrName>
                                        </p:attrNameLst>
                                      </p:cBhvr>
                                      <p:tavLst>
                                        <p:tav tm="0">
                                          <p:val>
                                            <p:fltVal val="0"/>
                                          </p:val>
                                        </p:tav>
                                        <p:tav tm="100000">
                                          <p:val>
                                            <p:strVal val="#ppt_w"/>
                                          </p:val>
                                        </p:tav>
                                      </p:tavLst>
                                    </p:anim>
                                    <p:anim calcmode="lin" valueType="num">
                                      <p:cBhvr>
                                        <p:cTn id="23" dur="500" fill="hold"/>
                                        <p:tgtEl>
                                          <p:spTgt spid="60"/>
                                        </p:tgtEl>
                                        <p:attrNameLst>
                                          <p:attrName>ppt_h</p:attrName>
                                        </p:attrNameLst>
                                      </p:cBhvr>
                                      <p:tavLst>
                                        <p:tav tm="0">
                                          <p:val>
                                            <p:fltVal val="0"/>
                                          </p:val>
                                        </p:tav>
                                        <p:tav tm="100000">
                                          <p:val>
                                            <p:strVal val="#ppt_h"/>
                                          </p:val>
                                        </p:tav>
                                      </p:tavLst>
                                    </p:anim>
                                    <p:animEffect transition="in" filter="fade">
                                      <p:cBhvr>
                                        <p:cTn id="24" dur="500"/>
                                        <p:tgtEl>
                                          <p:spTgt spid="60"/>
                                        </p:tgtEl>
                                      </p:cBhvr>
                                    </p:animEffect>
                                  </p:childTnLst>
                                </p:cTn>
                              </p:par>
                              <p:par>
                                <p:cTn id="25" presetID="53" presetClass="entr" presetSubtype="16" fill="hold" grpId="0" nodeType="withEffect">
                                  <p:stCondLst>
                                    <p:cond delay="0"/>
                                  </p:stCondLst>
                                  <p:childTnLst>
                                    <p:set>
                                      <p:cBhvr>
                                        <p:cTn id="26" dur="1" fill="hold">
                                          <p:stCondLst>
                                            <p:cond delay="0"/>
                                          </p:stCondLst>
                                        </p:cTn>
                                        <p:tgtEl>
                                          <p:spTgt spid="64"/>
                                        </p:tgtEl>
                                        <p:attrNameLst>
                                          <p:attrName>style.visibility</p:attrName>
                                        </p:attrNameLst>
                                      </p:cBhvr>
                                      <p:to>
                                        <p:strVal val="visible"/>
                                      </p:to>
                                    </p:set>
                                    <p:anim calcmode="lin" valueType="num">
                                      <p:cBhvr>
                                        <p:cTn id="27" dur="500" fill="hold"/>
                                        <p:tgtEl>
                                          <p:spTgt spid="64"/>
                                        </p:tgtEl>
                                        <p:attrNameLst>
                                          <p:attrName>ppt_w</p:attrName>
                                        </p:attrNameLst>
                                      </p:cBhvr>
                                      <p:tavLst>
                                        <p:tav tm="0">
                                          <p:val>
                                            <p:fltVal val="0"/>
                                          </p:val>
                                        </p:tav>
                                        <p:tav tm="100000">
                                          <p:val>
                                            <p:strVal val="#ppt_w"/>
                                          </p:val>
                                        </p:tav>
                                      </p:tavLst>
                                    </p:anim>
                                    <p:anim calcmode="lin" valueType="num">
                                      <p:cBhvr>
                                        <p:cTn id="28" dur="500" fill="hold"/>
                                        <p:tgtEl>
                                          <p:spTgt spid="64"/>
                                        </p:tgtEl>
                                        <p:attrNameLst>
                                          <p:attrName>ppt_h</p:attrName>
                                        </p:attrNameLst>
                                      </p:cBhvr>
                                      <p:tavLst>
                                        <p:tav tm="0">
                                          <p:val>
                                            <p:fltVal val="0"/>
                                          </p:val>
                                        </p:tav>
                                        <p:tav tm="100000">
                                          <p:val>
                                            <p:strVal val="#ppt_h"/>
                                          </p:val>
                                        </p:tav>
                                      </p:tavLst>
                                    </p:anim>
                                    <p:animEffect transition="in" filter="fade">
                                      <p:cBhvr>
                                        <p:cTn id="29" dur="500"/>
                                        <p:tgtEl>
                                          <p:spTgt spid="64"/>
                                        </p:tgtEl>
                                      </p:cBhvr>
                                    </p:animEffect>
                                  </p:childTnLst>
                                </p:cTn>
                              </p:par>
                            </p:childTnLst>
                          </p:cTn>
                        </p:par>
                        <p:par>
                          <p:cTn id="30" fill="hold">
                            <p:stCondLst>
                              <p:cond delay="2000"/>
                            </p:stCondLst>
                            <p:childTnLst>
                              <p:par>
                                <p:cTn id="31" presetID="53" presetClass="entr" presetSubtype="16" fill="hold" grpId="0" nodeType="afterEffect">
                                  <p:stCondLst>
                                    <p:cond delay="0"/>
                                  </p:stCondLst>
                                  <p:childTnLst>
                                    <p:set>
                                      <p:cBhvr>
                                        <p:cTn id="32" dur="1" fill="hold">
                                          <p:stCondLst>
                                            <p:cond delay="0"/>
                                          </p:stCondLst>
                                        </p:cTn>
                                        <p:tgtEl>
                                          <p:spTgt spid="76"/>
                                        </p:tgtEl>
                                        <p:attrNameLst>
                                          <p:attrName>style.visibility</p:attrName>
                                        </p:attrNameLst>
                                      </p:cBhvr>
                                      <p:to>
                                        <p:strVal val="visible"/>
                                      </p:to>
                                    </p:set>
                                    <p:anim calcmode="lin" valueType="num">
                                      <p:cBhvr>
                                        <p:cTn id="33" dur="500" fill="hold"/>
                                        <p:tgtEl>
                                          <p:spTgt spid="76"/>
                                        </p:tgtEl>
                                        <p:attrNameLst>
                                          <p:attrName>ppt_w</p:attrName>
                                        </p:attrNameLst>
                                      </p:cBhvr>
                                      <p:tavLst>
                                        <p:tav tm="0">
                                          <p:val>
                                            <p:fltVal val="0"/>
                                          </p:val>
                                        </p:tav>
                                        <p:tav tm="100000">
                                          <p:val>
                                            <p:strVal val="#ppt_w"/>
                                          </p:val>
                                        </p:tav>
                                      </p:tavLst>
                                    </p:anim>
                                    <p:anim calcmode="lin" valueType="num">
                                      <p:cBhvr>
                                        <p:cTn id="34" dur="500" fill="hold"/>
                                        <p:tgtEl>
                                          <p:spTgt spid="76"/>
                                        </p:tgtEl>
                                        <p:attrNameLst>
                                          <p:attrName>ppt_h</p:attrName>
                                        </p:attrNameLst>
                                      </p:cBhvr>
                                      <p:tavLst>
                                        <p:tav tm="0">
                                          <p:val>
                                            <p:fltVal val="0"/>
                                          </p:val>
                                        </p:tav>
                                        <p:tav tm="100000">
                                          <p:val>
                                            <p:strVal val="#ppt_h"/>
                                          </p:val>
                                        </p:tav>
                                      </p:tavLst>
                                    </p:anim>
                                    <p:animEffect transition="in" filter="fade">
                                      <p:cBhvr>
                                        <p:cTn id="35" dur="500"/>
                                        <p:tgtEl>
                                          <p:spTgt spid="76"/>
                                        </p:tgtEl>
                                      </p:cBhvr>
                                    </p:animEffect>
                                  </p:childTnLst>
                                </p:cTn>
                              </p:par>
                              <p:par>
                                <p:cTn id="36" presetID="53" presetClass="entr" presetSubtype="16" fill="hold" grpId="0" nodeType="withEffect">
                                  <p:stCondLst>
                                    <p:cond delay="0"/>
                                  </p:stCondLst>
                                  <p:childTnLst>
                                    <p:set>
                                      <p:cBhvr>
                                        <p:cTn id="37" dur="1" fill="hold">
                                          <p:stCondLst>
                                            <p:cond delay="0"/>
                                          </p:stCondLst>
                                        </p:cTn>
                                        <p:tgtEl>
                                          <p:spTgt spid="83"/>
                                        </p:tgtEl>
                                        <p:attrNameLst>
                                          <p:attrName>style.visibility</p:attrName>
                                        </p:attrNameLst>
                                      </p:cBhvr>
                                      <p:to>
                                        <p:strVal val="visible"/>
                                      </p:to>
                                    </p:set>
                                    <p:anim calcmode="lin" valueType="num">
                                      <p:cBhvr>
                                        <p:cTn id="38" dur="500" fill="hold"/>
                                        <p:tgtEl>
                                          <p:spTgt spid="83"/>
                                        </p:tgtEl>
                                        <p:attrNameLst>
                                          <p:attrName>ppt_w</p:attrName>
                                        </p:attrNameLst>
                                      </p:cBhvr>
                                      <p:tavLst>
                                        <p:tav tm="0">
                                          <p:val>
                                            <p:fltVal val="0"/>
                                          </p:val>
                                        </p:tav>
                                        <p:tav tm="100000">
                                          <p:val>
                                            <p:strVal val="#ppt_w"/>
                                          </p:val>
                                        </p:tav>
                                      </p:tavLst>
                                    </p:anim>
                                    <p:anim calcmode="lin" valueType="num">
                                      <p:cBhvr>
                                        <p:cTn id="39" dur="500" fill="hold"/>
                                        <p:tgtEl>
                                          <p:spTgt spid="83"/>
                                        </p:tgtEl>
                                        <p:attrNameLst>
                                          <p:attrName>ppt_h</p:attrName>
                                        </p:attrNameLst>
                                      </p:cBhvr>
                                      <p:tavLst>
                                        <p:tav tm="0">
                                          <p:val>
                                            <p:fltVal val="0"/>
                                          </p:val>
                                        </p:tav>
                                        <p:tav tm="100000">
                                          <p:val>
                                            <p:strVal val="#ppt_h"/>
                                          </p:val>
                                        </p:tav>
                                      </p:tavLst>
                                    </p:anim>
                                    <p:animEffect transition="in" filter="fade">
                                      <p:cBhvr>
                                        <p:cTn id="40" dur="500"/>
                                        <p:tgtEl>
                                          <p:spTgt spid="83"/>
                                        </p:tgtEl>
                                      </p:cBhvr>
                                    </p:animEffect>
                                  </p:childTnLst>
                                </p:cTn>
                              </p:par>
                            </p:childTnLst>
                          </p:cTn>
                        </p:par>
                        <p:par>
                          <p:cTn id="41" fill="hold">
                            <p:stCondLst>
                              <p:cond delay="2500"/>
                            </p:stCondLst>
                            <p:childTnLst>
                              <p:par>
                                <p:cTn id="42" presetID="22" presetClass="entr" presetSubtype="1" fill="hold" nodeType="afterEffect">
                                  <p:stCondLst>
                                    <p:cond delay="0"/>
                                  </p:stCondLst>
                                  <p:childTnLst>
                                    <p:set>
                                      <p:cBhvr>
                                        <p:cTn id="43" dur="1" fill="hold">
                                          <p:stCondLst>
                                            <p:cond delay="0"/>
                                          </p:stCondLst>
                                        </p:cTn>
                                        <p:tgtEl>
                                          <p:spTgt spid="3"/>
                                        </p:tgtEl>
                                        <p:attrNameLst>
                                          <p:attrName>style.visibility</p:attrName>
                                        </p:attrNameLst>
                                      </p:cBhvr>
                                      <p:to>
                                        <p:strVal val="visible"/>
                                      </p:to>
                                    </p:set>
                                    <p:animEffect transition="in" filter="wipe(up)">
                                      <p:cBhvr>
                                        <p:cTn id="44" dur="500"/>
                                        <p:tgtEl>
                                          <p:spTgt spid="3"/>
                                        </p:tgtEl>
                                      </p:cBhvr>
                                    </p:animEffect>
                                  </p:childTnLst>
                                </p:cTn>
                              </p:par>
                              <p:par>
                                <p:cTn id="45" presetID="22" presetClass="entr" presetSubtype="4" fill="hold" nodeType="withEffect">
                                  <p:stCondLst>
                                    <p:cond delay="0"/>
                                  </p:stCondLst>
                                  <p:childTnLst>
                                    <p:set>
                                      <p:cBhvr>
                                        <p:cTn id="46" dur="1" fill="hold">
                                          <p:stCondLst>
                                            <p:cond delay="0"/>
                                          </p:stCondLst>
                                        </p:cTn>
                                        <p:tgtEl>
                                          <p:spTgt spid="32"/>
                                        </p:tgtEl>
                                        <p:attrNameLst>
                                          <p:attrName>style.visibility</p:attrName>
                                        </p:attrNameLst>
                                      </p:cBhvr>
                                      <p:to>
                                        <p:strVal val="visible"/>
                                      </p:to>
                                    </p:set>
                                    <p:animEffect transition="in" filter="wipe(down)">
                                      <p:cBhvr>
                                        <p:cTn id="47" dur="500"/>
                                        <p:tgtEl>
                                          <p:spTgt spid="32"/>
                                        </p:tgtEl>
                                      </p:cBhvr>
                                    </p:animEffect>
                                  </p:childTnLst>
                                </p:cTn>
                              </p:par>
                            </p:childTnLst>
                          </p:cTn>
                        </p:par>
                        <p:par>
                          <p:cTn id="48" fill="hold">
                            <p:stCondLst>
                              <p:cond delay="3000"/>
                            </p:stCondLst>
                            <p:childTnLst>
                              <p:par>
                                <p:cTn id="49" presetID="10" presetClass="entr" presetSubtype="0" fill="hold" grpId="0" nodeType="afterEffect">
                                  <p:stCondLst>
                                    <p:cond delay="0"/>
                                  </p:stCondLst>
                                  <p:childTnLst>
                                    <p:set>
                                      <p:cBhvr>
                                        <p:cTn id="50" dur="1" fill="hold">
                                          <p:stCondLst>
                                            <p:cond delay="0"/>
                                          </p:stCondLst>
                                        </p:cTn>
                                        <p:tgtEl>
                                          <p:spTgt spid="6"/>
                                        </p:tgtEl>
                                        <p:attrNameLst>
                                          <p:attrName>style.visibility</p:attrName>
                                        </p:attrNameLst>
                                      </p:cBhvr>
                                      <p:to>
                                        <p:strVal val="visible"/>
                                      </p:to>
                                    </p:set>
                                    <p:animEffect transition="in" filter="fade">
                                      <p:cBhvr>
                                        <p:cTn id="51" dur="500"/>
                                        <p:tgtEl>
                                          <p:spTgt spid="6"/>
                                        </p:tgtEl>
                                      </p:cBhvr>
                                    </p:animEffect>
                                  </p:childTnLst>
                                </p:cTn>
                              </p:par>
                              <p:par>
                                <p:cTn id="52" presetID="10" presetClass="entr" presetSubtype="0" fill="hold" grpId="0" nodeType="withEffect">
                                  <p:stCondLst>
                                    <p:cond delay="0"/>
                                  </p:stCondLst>
                                  <p:childTnLst>
                                    <p:set>
                                      <p:cBhvr>
                                        <p:cTn id="53" dur="1" fill="hold">
                                          <p:stCondLst>
                                            <p:cond delay="0"/>
                                          </p:stCondLst>
                                        </p:cTn>
                                        <p:tgtEl>
                                          <p:spTgt spid="7"/>
                                        </p:tgtEl>
                                        <p:attrNameLst>
                                          <p:attrName>style.visibility</p:attrName>
                                        </p:attrNameLst>
                                      </p:cBhvr>
                                      <p:to>
                                        <p:strVal val="visible"/>
                                      </p:to>
                                    </p:set>
                                    <p:animEffect transition="in" filter="fade">
                                      <p:cBhvr>
                                        <p:cTn id="54" dur="500"/>
                                        <p:tgtEl>
                                          <p:spTgt spid="7"/>
                                        </p:tgtEl>
                                      </p:cBhvr>
                                    </p:animEffect>
                                  </p:childTnLst>
                                </p:cTn>
                              </p:par>
                              <p:par>
                                <p:cTn id="55" presetID="10" presetClass="entr" presetSubtype="0" fill="hold" grpId="0" nodeType="withEffect">
                                  <p:stCondLst>
                                    <p:cond delay="0"/>
                                  </p:stCondLst>
                                  <p:childTnLst>
                                    <p:set>
                                      <p:cBhvr>
                                        <p:cTn id="56" dur="1" fill="hold">
                                          <p:stCondLst>
                                            <p:cond delay="0"/>
                                          </p:stCondLst>
                                        </p:cTn>
                                        <p:tgtEl>
                                          <p:spTgt spid="8"/>
                                        </p:tgtEl>
                                        <p:attrNameLst>
                                          <p:attrName>style.visibility</p:attrName>
                                        </p:attrNameLst>
                                      </p:cBhvr>
                                      <p:to>
                                        <p:strVal val="visible"/>
                                      </p:to>
                                    </p:set>
                                    <p:animEffect transition="in" filter="fade">
                                      <p:cBhvr>
                                        <p:cTn id="57" dur="500"/>
                                        <p:tgtEl>
                                          <p:spTgt spid="8"/>
                                        </p:tgtEl>
                                      </p:cBhvr>
                                    </p:animEffect>
                                  </p:childTnLst>
                                </p:cTn>
                              </p:par>
                              <p:par>
                                <p:cTn id="58" presetID="10" presetClass="entr" presetSubtype="0" fill="hold" grpId="0" nodeType="withEffect">
                                  <p:stCondLst>
                                    <p:cond delay="0"/>
                                  </p:stCondLst>
                                  <p:childTnLst>
                                    <p:set>
                                      <p:cBhvr>
                                        <p:cTn id="59" dur="1" fill="hold">
                                          <p:stCondLst>
                                            <p:cond delay="0"/>
                                          </p:stCondLst>
                                        </p:cTn>
                                        <p:tgtEl>
                                          <p:spTgt spid="37"/>
                                        </p:tgtEl>
                                        <p:attrNameLst>
                                          <p:attrName>style.visibility</p:attrName>
                                        </p:attrNameLst>
                                      </p:cBhvr>
                                      <p:to>
                                        <p:strVal val="visible"/>
                                      </p:to>
                                    </p:set>
                                    <p:animEffect transition="in" filter="fade">
                                      <p:cBhvr>
                                        <p:cTn id="60" dur="500"/>
                                        <p:tgtEl>
                                          <p:spTgt spid="37"/>
                                        </p:tgtEl>
                                      </p:cBhvr>
                                    </p:animEffect>
                                  </p:childTnLst>
                                </p:cTn>
                              </p:par>
                              <p:par>
                                <p:cTn id="61" presetID="10" presetClass="entr" presetSubtype="0" fill="hold" grpId="0" nodeType="withEffect">
                                  <p:stCondLst>
                                    <p:cond delay="0"/>
                                  </p:stCondLst>
                                  <p:childTnLst>
                                    <p:set>
                                      <p:cBhvr>
                                        <p:cTn id="62" dur="1" fill="hold">
                                          <p:stCondLst>
                                            <p:cond delay="0"/>
                                          </p:stCondLst>
                                        </p:cTn>
                                        <p:tgtEl>
                                          <p:spTgt spid="36"/>
                                        </p:tgtEl>
                                        <p:attrNameLst>
                                          <p:attrName>style.visibility</p:attrName>
                                        </p:attrNameLst>
                                      </p:cBhvr>
                                      <p:to>
                                        <p:strVal val="visible"/>
                                      </p:to>
                                    </p:set>
                                    <p:animEffect transition="in" filter="fade">
                                      <p:cBhvr>
                                        <p:cTn id="63" dur="500"/>
                                        <p:tgtEl>
                                          <p:spTgt spid="36"/>
                                        </p:tgtEl>
                                      </p:cBhvr>
                                    </p:animEffect>
                                  </p:childTnLst>
                                </p:cTn>
                              </p:par>
                              <p:par>
                                <p:cTn id="64" presetID="10" presetClass="entr" presetSubtype="0" fill="hold" grpId="0" nodeType="withEffect">
                                  <p:stCondLst>
                                    <p:cond delay="0"/>
                                  </p:stCondLst>
                                  <p:childTnLst>
                                    <p:set>
                                      <p:cBhvr>
                                        <p:cTn id="65" dur="1" fill="hold">
                                          <p:stCondLst>
                                            <p:cond delay="0"/>
                                          </p:stCondLst>
                                        </p:cTn>
                                        <p:tgtEl>
                                          <p:spTgt spid="35"/>
                                        </p:tgtEl>
                                        <p:attrNameLst>
                                          <p:attrName>style.visibility</p:attrName>
                                        </p:attrNameLst>
                                      </p:cBhvr>
                                      <p:to>
                                        <p:strVal val="visible"/>
                                      </p:to>
                                    </p:set>
                                    <p:animEffect transition="in" filter="fade">
                                      <p:cBhvr>
                                        <p:cTn id="66" dur="500"/>
                                        <p:tgtEl>
                                          <p:spTgt spid="35"/>
                                        </p:tgtEl>
                                      </p:cBhvr>
                                    </p:animEffect>
                                  </p:childTnLst>
                                </p:cTn>
                              </p:par>
                            </p:childTnLst>
                          </p:cTn>
                        </p:par>
                        <p:par>
                          <p:cTn id="67" fill="hold">
                            <p:stCondLst>
                              <p:cond delay="3500"/>
                            </p:stCondLst>
                            <p:childTnLst>
                              <p:par>
                                <p:cTn id="68" presetID="22" presetClass="entr" presetSubtype="8" fill="hold" nodeType="afterEffect">
                                  <p:stCondLst>
                                    <p:cond delay="0"/>
                                  </p:stCondLst>
                                  <p:childTnLst>
                                    <p:set>
                                      <p:cBhvr>
                                        <p:cTn id="69" dur="1" fill="hold">
                                          <p:stCondLst>
                                            <p:cond delay="0"/>
                                          </p:stCondLst>
                                        </p:cTn>
                                        <p:tgtEl>
                                          <p:spTgt spid="9"/>
                                        </p:tgtEl>
                                        <p:attrNameLst>
                                          <p:attrName>style.visibility</p:attrName>
                                        </p:attrNameLst>
                                      </p:cBhvr>
                                      <p:to>
                                        <p:strVal val="visible"/>
                                      </p:to>
                                    </p:set>
                                    <p:animEffect transition="in" filter="wipe(left)">
                                      <p:cBhvr>
                                        <p:cTn id="70" dur="500"/>
                                        <p:tgtEl>
                                          <p:spTgt spid="9"/>
                                        </p:tgtEl>
                                      </p:cBhvr>
                                    </p:animEffect>
                                  </p:childTnLst>
                                </p:cTn>
                              </p:par>
                              <p:par>
                                <p:cTn id="71" presetID="22" presetClass="entr" presetSubtype="8" fill="hold" nodeType="withEffect">
                                  <p:stCondLst>
                                    <p:cond delay="0"/>
                                  </p:stCondLst>
                                  <p:childTnLst>
                                    <p:set>
                                      <p:cBhvr>
                                        <p:cTn id="72" dur="1" fill="hold">
                                          <p:stCondLst>
                                            <p:cond delay="0"/>
                                          </p:stCondLst>
                                        </p:cTn>
                                        <p:tgtEl>
                                          <p:spTgt spid="10"/>
                                        </p:tgtEl>
                                        <p:attrNameLst>
                                          <p:attrName>style.visibility</p:attrName>
                                        </p:attrNameLst>
                                      </p:cBhvr>
                                      <p:to>
                                        <p:strVal val="visible"/>
                                      </p:to>
                                    </p:set>
                                    <p:animEffect transition="in" filter="wipe(left)">
                                      <p:cBhvr>
                                        <p:cTn id="73" dur="500"/>
                                        <p:tgtEl>
                                          <p:spTgt spid="10"/>
                                        </p:tgtEl>
                                      </p:cBhvr>
                                    </p:animEffect>
                                  </p:childTnLst>
                                </p:cTn>
                              </p:par>
                              <p:par>
                                <p:cTn id="74" presetID="22" presetClass="entr" presetSubtype="8" fill="hold" nodeType="withEffect">
                                  <p:stCondLst>
                                    <p:cond delay="0"/>
                                  </p:stCondLst>
                                  <p:childTnLst>
                                    <p:set>
                                      <p:cBhvr>
                                        <p:cTn id="75" dur="1" fill="hold">
                                          <p:stCondLst>
                                            <p:cond delay="0"/>
                                          </p:stCondLst>
                                        </p:cTn>
                                        <p:tgtEl>
                                          <p:spTgt spid="11"/>
                                        </p:tgtEl>
                                        <p:attrNameLst>
                                          <p:attrName>style.visibility</p:attrName>
                                        </p:attrNameLst>
                                      </p:cBhvr>
                                      <p:to>
                                        <p:strVal val="visible"/>
                                      </p:to>
                                    </p:set>
                                    <p:animEffect transition="in" filter="wipe(left)">
                                      <p:cBhvr>
                                        <p:cTn id="76" dur="500"/>
                                        <p:tgtEl>
                                          <p:spTgt spid="11"/>
                                        </p:tgtEl>
                                      </p:cBhvr>
                                    </p:animEffect>
                                  </p:childTnLst>
                                </p:cTn>
                              </p:par>
                              <p:par>
                                <p:cTn id="77" presetID="22" presetClass="entr" presetSubtype="8" fill="hold" nodeType="withEffect">
                                  <p:stCondLst>
                                    <p:cond delay="0"/>
                                  </p:stCondLst>
                                  <p:childTnLst>
                                    <p:set>
                                      <p:cBhvr>
                                        <p:cTn id="78" dur="1" fill="hold">
                                          <p:stCondLst>
                                            <p:cond delay="0"/>
                                          </p:stCondLst>
                                        </p:cTn>
                                        <p:tgtEl>
                                          <p:spTgt spid="38"/>
                                        </p:tgtEl>
                                        <p:attrNameLst>
                                          <p:attrName>style.visibility</p:attrName>
                                        </p:attrNameLst>
                                      </p:cBhvr>
                                      <p:to>
                                        <p:strVal val="visible"/>
                                      </p:to>
                                    </p:set>
                                    <p:animEffect transition="in" filter="wipe(left)">
                                      <p:cBhvr>
                                        <p:cTn id="79" dur="500"/>
                                        <p:tgtEl>
                                          <p:spTgt spid="38"/>
                                        </p:tgtEl>
                                      </p:cBhvr>
                                    </p:animEffect>
                                  </p:childTnLst>
                                </p:cTn>
                              </p:par>
                              <p:par>
                                <p:cTn id="80" presetID="22" presetClass="entr" presetSubtype="8" fill="hold" nodeType="withEffect">
                                  <p:stCondLst>
                                    <p:cond delay="0"/>
                                  </p:stCondLst>
                                  <p:childTnLst>
                                    <p:set>
                                      <p:cBhvr>
                                        <p:cTn id="81" dur="1" fill="hold">
                                          <p:stCondLst>
                                            <p:cond delay="0"/>
                                          </p:stCondLst>
                                        </p:cTn>
                                        <p:tgtEl>
                                          <p:spTgt spid="39"/>
                                        </p:tgtEl>
                                        <p:attrNameLst>
                                          <p:attrName>style.visibility</p:attrName>
                                        </p:attrNameLst>
                                      </p:cBhvr>
                                      <p:to>
                                        <p:strVal val="visible"/>
                                      </p:to>
                                    </p:set>
                                    <p:animEffect transition="in" filter="wipe(left)">
                                      <p:cBhvr>
                                        <p:cTn id="82" dur="500"/>
                                        <p:tgtEl>
                                          <p:spTgt spid="39"/>
                                        </p:tgtEl>
                                      </p:cBhvr>
                                    </p:animEffect>
                                  </p:childTnLst>
                                </p:cTn>
                              </p:par>
                              <p:par>
                                <p:cTn id="83" presetID="22" presetClass="entr" presetSubtype="8" fill="hold" nodeType="withEffect">
                                  <p:stCondLst>
                                    <p:cond delay="0"/>
                                  </p:stCondLst>
                                  <p:childTnLst>
                                    <p:set>
                                      <p:cBhvr>
                                        <p:cTn id="84" dur="1" fill="hold">
                                          <p:stCondLst>
                                            <p:cond delay="0"/>
                                          </p:stCondLst>
                                        </p:cTn>
                                        <p:tgtEl>
                                          <p:spTgt spid="40"/>
                                        </p:tgtEl>
                                        <p:attrNameLst>
                                          <p:attrName>style.visibility</p:attrName>
                                        </p:attrNameLst>
                                      </p:cBhvr>
                                      <p:to>
                                        <p:strVal val="visible"/>
                                      </p:to>
                                    </p:set>
                                    <p:animEffect transition="in" filter="wipe(left)">
                                      <p:cBhvr>
                                        <p:cTn id="85" dur="500"/>
                                        <p:tgtEl>
                                          <p:spTgt spid="40"/>
                                        </p:tgtEl>
                                      </p:cBhvr>
                                    </p:animEffect>
                                  </p:childTnLst>
                                </p:cTn>
                              </p:par>
                            </p:childTnLst>
                          </p:cTn>
                        </p:par>
                        <p:par>
                          <p:cTn id="86" fill="hold">
                            <p:stCondLst>
                              <p:cond delay="4000"/>
                            </p:stCondLst>
                            <p:childTnLst>
                              <p:par>
                                <p:cTn id="87" presetID="10" presetClass="entr" presetSubtype="0" fill="hold" grpId="0" nodeType="afterEffect">
                                  <p:stCondLst>
                                    <p:cond delay="0"/>
                                  </p:stCondLst>
                                  <p:childTnLst>
                                    <p:set>
                                      <p:cBhvr>
                                        <p:cTn id="88" dur="1" fill="hold">
                                          <p:stCondLst>
                                            <p:cond delay="0"/>
                                          </p:stCondLst>
                                        </p:cTn>
                                        <p:tgtEl>
                                          <p:spTgt spid="70"/>
                                        </p:tgtEl>
                                        <p:attrNameLst>
                                          <p:attrName>style.visibility</p:attrName>
                                        </p:attrNameLst>
                                      </p:cBhvr>
                                      <p:to>
                                        <p:strVal val="visible"/>
                                      </p:to>
                                    </p:set>
                                    <p:animEffect transition="in" filter="fade">
                                      <p:cBhvr>
                                        <p:cTn id="89" dur="500"/>
                                        <p:tgtEl>
                                          <p:spTgt spid="70"/>
                                        </p:tgtEl>
                                      </p:cBhvr>
                                    </p:animEffect>
                                  </p:childTnLst>
                                </p:cTn>
                              </p:par>
                              <p:par>
                                <p:cTn id="90" presetID="10" presetClass="entr" presetSubtype="0" fill="hold" grpId="0" nodeType="withEffect">
                                  <p:stCondLst>
                                    <p:cond delay="0"/>
                                  </p:stCondLst>
                                  <p:childTnLst>
                                    <p:set>
                                      <p:cBhvr>
                                        <p:cTn id="91" dur="1" fill="hold">
                                          <p:stCondLst>
                                            <p:cond delay="0"/>
                                          </p:stCondLst>
                                        </p:cTn>
                                        <p:tgtEl>
                                          <p:spTgt spid="71"/>
                                        </p:tgtEl>
                                        <p:attrNameLst>
                                          <p:attrName>style.visibility</p:attrName>
                                        </p:attrNameLst>
                                      </p:cBhvr>
                                      <p:to>
                                        <p:strVal val="visible"/>
                                      </p:to>
                                    </p:set>
                                    <p:animEffect transition="in" filter="fade">
                                      <p:cBhvr>
                                        <p:cTn id="92" dur="500"/>
                                        <p:tgtEl>
                                          <p:spTgt spid="71"/>
                                        </p:tgtEl>
                                      </p:cBhvr>
                                    </p:animEffect>
                                  </p:childTnLst>
                                </p:cTn>
                              </p:par>
                            </p:childTnLst>
                          </p:cTn>
                        </p:par>
                        <p:par>
                          <p:cTn id="93" fill="hold">
                            <p:stCondLst>
                              <p:cond delay="4500"/>
                            </p:stCondLst>
                            <p:childTnLst>
                              <p:par>
                                <p:cTn id="94" presetID="53" presetClass="entr" presetSubtype="16" fill="hold" grpId="0" nodeType="afterEffect">
                                  <p:stCondLst>
                                    <p:cond delay="0"/>
                                  </p:stCondLst>
                                  <p:childTnLst>
                                    <p:set>
                                      <p:cBhvr>
                                        <p:cTn id="95" dur="1" fill="hold">
                                          <p:stCondLst>
                                            <p:cond delay="0"/>
                                          </p:stCondLst>
                                        </p:cTn>
                                        <p:tgtEl>
                                          <p:spTgt spid="61"/>
                                        </p:tgtEl>
                                        <p:attrNameLst>
                                          <p:attrName>style.visibility</p:attrName>
                                        </p:attrNameLst>
                                      </p:cBhvr>
                                      <p:to>
                                        <p:strVal val="visible"/>
                                      </p:to>
                                    </p:set>
                                    <p:anim calcmode="lin" valueType="num">
                                      <p:cBhvr>
                                        <p:cTn id="96" dur="500" fill="hold"/>
                                        <p:tgtEl>
                                          <p:spTgt spid="61"/>
                                        </p:tgtEl>
                                        <p:attrNameLst>
                                          <p:attrName>ppt_w</p:attrName>
                                        </p:attrNameLst>
                                      </p:cBhvr>
                                      <p:tavLst>
                                        <p:tav tm="0">
                                          <p:val>
                                            <p:fltVal val="0"/>
                                          </p:val>
                                        </p:tav>
                                        <p:tav tm="100000">
                                          <p:val>
                                            <p:strVal val="#ppt_w"/>
                                          </p:val>
                                        </p:tav>
                                      </p:tavLst>
                                    </p:anim>
                                    <p:anim calcmode="lin" valueType="num">
                                      <p:cBhvr>
                                        <p:cTn id="97" dur="500" fill="hold"/>
                                        <p:tgtEl>
                                          <p:spTgt spid="61"/>
                                        </p:tgtEl>
                                        <p:attrNameLst>
                                          <p:attrName>ppt_h</p:attrName>
                                        </p:attrNameLst>
                                      </p:cBhvr>
                                      <p:tavLst>
                                        <p:tav tm="0">
                                          <p:val>
                                            <p:fltVal val="0"/>
                                          </p:val>
                                        </p:tav>
                                        <p:tav tm="100000">
                                          <p:val>
                                            <p:strVal val="#ppt_h"/>
                                          </p:val>
                                        </p:tav>
                                      </p:tavLst>
                                    </p:anim>
                                    <p:animEffect transition="in" filter="fade">
                                      <p:cBhvr>
                                        <p:cTn id="98" dur="500"/>
                                        <p:tgtEl>
                                          <p:spTgt spid="61"/>
                                        </p:tgtEl>
                                      </p:cBhvr>
                                    </p:animEffect>
                                  </p:childTnLst>
                                </p:cTn>
                              </p:par>
                              <p:par>
                                <p:cTn id="99" presetID="53" presetClass="entr" presetSubtype="16" fill="hold" grpId="0" nodeType="withEffect">
                                  <p:stCondLst>
                                    <p:cond delay="0"/>
                                  </p:stCondLst>
                                  <p:childTnLst>
                                    <p:set>
                                      <p:cBhvr>
                                        <p:cTn id="100" dur="1" fill="hold">
                                          <p:stCondLst>
                                            <p:cond delay="0"/>
                                          </p:stCondLst>
                                        </p:cTn>
                                        <p:tgtEl>
                                          <p:spTgt spid="65"/>
                                        </p:tgtEl>
                                        <p:attrNameLst>
                                          <p:attrName>style.visibility</p:attrName>
                                        </p:attrNameLst>
                                      </p:cBhvr>
                                      <p:to>
                                        <p:strVal val="visible"/>
                                      </p:to>
                                    </p:set>
                                    <p:anim calcmode="lin" valueType="num">
                                      <p:cBhvr>
                                        <p:cTn id="101" dur="500" fill="hold"/>
                                        <p:tgtEl>
                                          <p:spTgt spid="65"/>
                                        </p:tgtEl>
                                        <p:attrNameLst>
                                          <p:attrName>ppt_w</p:attrName>
                                        </p:attrNameLst>
                                      </p:cBhvr>
                                      <p:tavLst>
                                        <p:tav tm="0">
                                          <p:val>
                                            <p:fltVal val="0"/>
                                          </p:val>
                                        </p:tav>
                                        <p:tav tm="100000">
                                          <p:val>
                                            <p:strVal val="#ppt_w"/>
                                          </p:val>
                                        </p:tav>
                                      </p:tavLst>
                                    </p:anim>
                                    <p:anim calcmode="lin" valueType="num">
                                      <p:cBhvr>
                                        <p:cTn id="102" dur="500" fill="hold"/>
                                        <p:tgtEl>
                                          <p:spTgt spid="65"/>
                                        </p:tgtEl>
                                        <p:attrNameLst>
                                          <p:attrName>ppt_h</p:attrName>
                                        </p:attrNameLst>
                                      </p:cBhvr>
                                      <p:tavLst>
                                        <p:tav tm="0">
                                          <p:val>
                                            <p:fltVal val="0"/>
                                          </p:val>
                                        </p:tav>
                                        <p:tav tm="100000">
                                          <p:val>
                                            <p:strVal val="#ppt_h"/>
                                          </p:val>
                                        </p:tav>
                                      </p:tavLst>
                                    </p:anim>
                                    <p:animEffect transition="in" filter="fade">
                                      <p:cBhvr>
                                        <p:cTn id="103" dur="500"/>
                                        <p:tgtEl>
                                          <p:spTgt spid="65"/>
                                        </p:tgtEl>
                                      </p:cBhvr>
                                    </p:animEffect>
                                  </p:childTnLst>
                                </p:cTn>
                              </p:par>
                            </p:childTnLst>
                          </p:cTn>
                        </p:par>
                        <p:par>
                          <p:cTn id="104" fill="hold">
                            <p:stCondLst>
                              <p:cond delay="5000"/>
                            </p:stCondLst>
                            <p:childTnLst>
                              <p:par>
                                <p:cTn id="105" presetID="53" presetClass="entr" presetSubtype="16" fill="hold" grpId="0" nodeType="afterEffect">
                                  <p:stCondLst>
                                    <p:cond delay="0"/>
                                  </p:stCondLst>
                                  <p:childTnLst>
                                    <p:set>
                                      <p:cBhvr>
                                        <p:cTn id="106" dur="1" fill="hold">
                                          <p:stCondLst>
                                            <p:cond delay="0"/>
                                          </p:stCondLst>
                                        </p:cTn>
                                        <p:tgtEl>
                                          <p:spTgt spid="79"/>
                                        </p:tgtEl>
                                        <p:attrNameLst>
                                          <p:attrName>style.visibility</p:attrName>
                                        </p:attrNameLst>
                                      </p:cBhvr>
                                      <p:to>
                                        <p:strVal val="visible"/>
                                      </p:to>
                                    </p:set>
                                    <p:anim calcmode="lin" valueType="num">
                                      <p:cBhvr>
                                        <p:cTn id="107" dur="500" fill="hold"/>
                                        <p:tgtEl>
                                          <p:spTgt spid="79"/>
                                        </p:tgtEl>
                                        <p:attrNameLst>
                                          <p:attrName>ppt_w</p:attrName>
                                        </p:attrNameLst>
                                      </p:cBhvr>
                                      <p:tavLst>
                                        <p:tav tm="0">
                                          <p:val>
                                            <p:fltVal val="0"/>
                                          </p:val>
                                        </p:tav>
                                        <p:tav tm="100000">
                                          <p:val>
                                            <p:strVal val="#ppt_w"/>
                                          </p:val>
                                        </p:tav>
                                      </p:tavLst>
                                    </p:anim>
                                    <p:anim calcmode="lin" valueType="num">
                                      <p:cBhvr>
                                        <p:cTn id="108" dur="500" fill="hold"/>
                                        <p:tgtEl>
                                          <p:spTgt spid="79"/>
                                        </p:tgtEl>
                                        <p:attrNameLst>
                                          <p:attrName>ppt_h</p:attrName>
                                        </p:attrNameLst>
                                      </p:cBhvr>
                                      <p:tavLst>
                                        <p:tav tm="0">
                                          <p:val>
                                            <p:fltVal val="0"/>
                                          </p:val>
                                        </p:tav>
                                        <p:tav tm="100000">
                                          <p:val>
                                            <p:strVal val="#ppt_h"/>
                                          </p:val>
                                        </p:tav>
                                      </p:tavLst>
                                    </p:anim>
                                    <p:animEffect transition="in" filter="fade">
                                      <p:cBhvr>
                                        <p:cTn id="109" dur="500"/>
                                        <p:tgtEl>
                                          <p:spTgt spid="79"/>
                                        </p:tgtEl>
                                      </p:cBhvr>
                                    </p:animEffect>
                                  </p:childTnLst>
                                </p:cTn>
                              </p:par>
                              <p:par>
                                <p:cTn id="110" presetID="53" presetClass="entr" presetSubtype="16" fill="hold" grpId="0" nodeType="withEffect">
                                  <p:stCondLst>
                                    <p:cond delay="0"/>
                                  </p:stCondLst>
                                  <p:childTnLst>
                                    <p:set>
                                      <p:cBhvr>
                                        <p:cTn id="111" dur="1" fill="hold">
                                          <p:stCondLst>
                                            <p:cond delay="0"/>
                                          </p:stCondLst>
                                        </p:cTn>
                                        <p:tgtEl>
                                          <p:spTgt spid="82"/>
                                        </p:tgtEl>
                                        <p:attrNameLst>
                                          <p:attrName>style.visibility</p:attrName>
                                        </p:attrNameLst>
                                      </p:cBhvr>
                                      <p:to>
                                        <p:strVal val="visible"/>
                                      </p:to>
                                    </p:set>
                                    <p:anim calcmode="lin" valueType="num">
                                      <p:cBhvr>
                                        <p:cTn id="112" dur="500" fill="hold"/>
                                        <p:tgtEl>
                                          <p:spTgt spid="82"/>
                                        </p:tgtEl>
                                        <p:attrNameLst>
                                          <p:attrName>ppt_w</p:attrName>
                                        </p:attrNameLst>
                                      </p:cBhvr>
                                      <p:tavLst>
                                        <p:tav tm="0">
                                          <p:val>
                                            <p:fltVal val="0"/>
                                          </p:val>
                                        </p:tav>
                                        <p:tav tm="100000">
                                          <p:val>
                                            <p:strVal val="#ppt_w"/>
                                          </p:val>
                                        </p:tav>
                                      </p:tavLst>
                                    </p:anim>
                                    <p:anim calcmode="lin" valueType="num">
                                      <p:cBhvr>
                                        <p:cTn id="113" dur="500" fill="hold"/>
                                        <p:tgtEl>
                                          <p:spTgt spid="82"/>
                                        </p:tgtEl>
                                        <p:attrNameLst>
                                          <p:attrName>ppt_h</p:attrName>
                                        </p:attrNameLst>
                                      </p:cBhvr>
                                      <p:tavLst>
                                        <p:tav tm="0">
                                          <p:val>
                                            <p:fltVal val="0"/>
                                          </p:val>
                                        </p:tav>
                                        <p:tav tm="100000">
                                          <p:val>
                                            <p:strVal val="#ppt_h"/>
                                          </p:val>
                                        </p:tav>
                                      </p:tavLst>
                                    </p:anim>
                                    <p:animEffect transition="in" filter="fade">
                                      <p:cBhvr>
                                        <p:cTn id="114" dur="500"/>
                                        <p:tgtEl>
                                          <p:spTgt spid="82"/>
                                        </p:tgtEl>
                                      </p:cBhvr>
                                    </p:animEffect>
                                  </p:childTnLst>
                                </p:cTn>
                              </p:par>
                            </p:childTnLst>
                          </p:cTn>
                        </p:par>
                        <p:par>
                          <p:cTn id="115" fill="hold">
                            <p:stCondLst>
                              <p:cond delay="5500"/>
                            </p:stCondLst>
                            <p:childTnLst>
                              <p:par>
                                <p:cTn id="116" presetID="22" presetClass="entr" presetSubtype="1" fill="hold" nodeType="afterEffect">
                                  <p:stCondLst>
                                    <p:cond delay="0"/>
                                  </p:stCondLst>
                                  <p:childTnLst>
                                    <p:set>
                                      <p:cBhvr>
                                        <p:cTn id="117" dur="1" fill="hold">
                                          <p:stCondLst>
                                            <p:cond delay="0"/>
                                          </p:stCondLst>
                                        </p:cTn>
                                        <p:tgtEl>
                                          <p:spTgt spid="4"/>
                                        </p:tgtEl>
                                        <p:attrNameLst>
                                          <p:attrName>style.visibility</p:attrName>
                                        </p:attrNameLst>
                                      </p:cBhvr>
                                      <p:to>
                                        <p:strVal val="visible"/>
                                      </p:to>
                                    </p:set>
                                    <p:animEffect transition="in" filter="wipe(up)">
                                      <p:cBhvr>
                                        <p:cTn id="118" dur="500"/>
                                        <p:tgtEl>
                                          <p:spTgt spid="4"/>
                                        </p:tgtEl>
                                      </p:cBhvr>
                                    </p:animEffect>
                                  </p:childTnLst>
                                </p:cTn>
                              </p:par>
                              <p:par>
                                <p:cTn id="119" presetID="22" presetClass="entr" presetSubtype="4" fill="hold" nodeType="withEffect">
                                  <p:stCondLst>
                                    <p:cond delay="0"/>
                                  </p:stCondLst>
                                  <p:childTnLst>
                                    <p:set>
                                      <p:cBhvr>
                                        <p:cTn id="120" dur="1" fill="hold">
                                          <p:stCondLst>
                                            <p:cond delay="0"/>
                                          </p:stCondLst>
                                        </p:cTn>
                                        <p:tgtEl>
                                          <p:spTgt spid="33"/>
                                        </p:tgtEl>
                                        <p:attrNameLst>
                                          <p:attrName>style.visibility</p:attrName>
                                        </p:attrNameLst>
                                      </p:cBhvr>
                                      <p:to>
                                        <p:strVal val="visible"/>
                                      </p:to>
                                    </p:set>
                                    <p:animEffect transition="in" filter="wipe(down)">
                                      <p:cBhvr>
                                        <p:cTn id="121" dur="500"/>
                                        <p:tgtEl>
                                          <p:spTgt spid="33"/>
                                        </p:tgtEl>
                                      </p:cBhvr>
                                    </p:animEffect>
                                  </p:childTnLst>
                                </p:cTn>
                              </p:par>
                            </p:childTnLst>
                          </p:cTn>
                        </p:par>
                        <p:par>
                          <p:cTn id="122" fill="hold">
                            <p:stCondLst>
                              <p:cond delay="6000"/>
                            </p:stCondLst>
                            <p:childTnLst>
                              <p:par>
                                <p:cTn id="123" presetID="10" presetClass="entr" presetSubtype="0" fill="hold" grpId="0" nodeType="afterEffect">
                                  <p:stCondLst>
                                    <p:cond delay="0"/>
                                  </p:stCondLst>
                                  <p:childTnLst>
                                    <p:set>
                                      <p:cBhvr>
                                        <p:cTn id="124" dur="1" fill="hold">
                                          <p:stCondLst>
                                            <p:cond delay="0"/>
                                          </p:stCondLst>
                                        </p:cTn>
                                        <p:tgtEl>
                                          <p:spTgt spid="12"/>
                                        </p:tgtEl>
                                        <p:attrNameLst>
                                          <p:attrName>style.visibility</p:attrName>
                                        </p:attrNameLst>
                                      </p:cBhvr>
                                      <p:to>
                                        <p:strVal val="visible"/>
                                      </p:to>
                                    </p:set>
                                    <p:animEffect transition="in" filter="fade">
                                      <p:cBhvr>
                                        <p:cTn id="125" dur="500"/>
                                        <p:tgtEl>
                                          <p:spTgt spid="12"/>
                                        </p:tgtEl>
                                      </p:cBhvr>
                                    </p:animEffect>
                                  </p:childTnLst>
                                </p:cTn>
                              </p:par>
                              <p:par>
                                <p:cTn id="126" presetID="10" presetClass="entr" presetSubtype="0" fill="hold" grpId="0" nodeType="withEffect">
                                  <p:stCondLst>
                                    <p:cond delay="0"/>
                                  </p:stCondLst>
                                  <p:childTnLst>
                                    <p:set>
                                      <p:cBhvr>
                                        <p:cTn id="127" dur="1" fill="hold">
                                          <p:stCondLst>
                                            <p:cond delay="0"/>
                                          </p:stCondLst>
                                        </p:cTn>
                                        <p:tgtEl>
                                          <p:spTgt spid="13"/>
                                        </p:tgtEl>
                                        <p:attrNameLst>
                                          <p:attrName>style.visibility</p:attrName>
                                        </p:attrNameLst>
                                      </p:cBhvr>
                                      <p:to>
                                        <p:strVal val="visible"/>
                                      </p:to>
                                    </p:set>
                                    <p:animEffect transition="in" filter="fade">
                                      <p:cBhvr>
                                        <p:cTn id="128" dur="500"/>
                                        <p:tgtEl>
                                          <p:spTgt spid="13"/>
                                        </p:tgtEl>
                                      </p:cBhvr>
                                    </p:animEffect>
                                  </p:childTnLst>
                                </p:cTn>
                              </p:par>
                              <p:par>
                                <p:cTn id="129" presetID="10" presetClass="entr" presetSubtype="0" fill="hold" grpId="0" nodeType="withEffect">
                                  <p:stCondLst>
                                    <p:cond delay="0"/>
                                  </p:stCondLst>
                                  <p:childTnLst>
                                    <p:set>
                                      <p:cBhvr>
                                        <p:cTn id="130" dur="1" fill="hold">
                                          <p:stCondLst>
                                            <p:cond delay="0"/>
                                          </p:stCondLst>
                                        </p:cTn>
                                        <p:tgtEl>
                                          <p:spTgt spid="14"/>
                                        </p:tgtEl>
                                        <p:attrNameLst>
                                          <p:attrName>style.visibility</p:attrName>
                                        </p:attrNameLst>
                                      </p:cBhvr>
                                      <p:to>
                                        <p:strVal val="visible"/>
                                      </p:to>
                                    </p:set>
                                    <p:animEffect transition="in" filter="fade">
                                      <p:cBhvr>
                                        <p:cTn id="131" dur="500"/>
                                        <p:tgtEl>
                                          <p:spTgt spid="14"/>
                                        </p:tgtEl>
                                      </p:cBhvr>
                                    </p:animEffect>
                                  </p:childTnLst>
                                </p:cTn>
                              </p:par>
                              <p:par>
                                <p:cTn id="132" presetID="10" presetClass="entr" presetSubtype="0" fill="hold" grpId="0" nodeType="withEffect">
                                  <p:stCondLst>
                                    <p:cond delay="0"/>
                                  </p:stCondLst>
                                  <p:childTnLst>
                                    <p:set>
                                      <p:cBhvr>
                                        <p:cTn id="133" dur="1" fill="hold">
                                          <p:stCondLst>
                                            <p:cond delay="0"/>
                                          </p:stCondLst>
                                        </p:cTn>
                                        <p:tgtEl>
                                          <p:spTgt spid="43"/>
                                        </p:tgtEl>
                                        <p:attrNameLst>
                                          <p:attrName>style.visibility</p:attrName>
                                        </p:attrNameLst>
                                      </p:cBhvr>
                                      <p:to>
                                        <p:strVal val="visible"/>
                                      </p:to>
                                    </p:set>
                                    <p:animEffect transition="in" filter="fade">
                                      <p:cBhvr>
                                        <p:cTn id="134" dur="500"/>
                                        <p:tgtEl>
                                          <p:spTgt spid="43"/>
                                        </p:tgtEl>
                                      </p:cBhvr>
                                    </p:animEffect>
                                  </p:childTnLst>
                                </p:cTn>
                              </p:par>
                              <p:par>
                                <p:cTn id="135" presetID="10" presetClass="entr" presetSubtype="0" fill="hold" grpId="0" nodeType="withEffect">
                                  <p:stCondLst>
                                    <p:cond delay="0"/>
                                  </p:stCondLst>
                                  <p:childTnLst>
                                    <p:set>
                                      <p:cBhvr>
                                        <p:cTn id="136" dur="1" fill="hold">
                                          <p:stCondLst>
                                            <p:cond delay="0"/>
                                          </p:stCondLst>
                                        </p:cTn>
                                        <p:tgtEl>
                                          <p:spTgt spid="42"/>
                                        </p:tgtEl>
                                        <p:attrNameLst>
                                          <p:attrName>style.visibility</p:attrName>
                                        </p:attrNameLst>
                                      </p:cBhvr>
                                      <p:to>
                                        <p:strVal val="visible"/>
                                      </p:to>
                                    </p:set>
                                    <p:animEffect transition="in" filter="fade">
                                      <p:cBhvr>
                                        <p:cTn id="137" dur="500"/>
                                        <p:tgtEl>
                                          <p:spTgt spid="42"/>
                                        </p:tgtEl>
                                      </p:cBhvr>
                                    </p:animEffect>
                                  </p:childTnLst>
                                </p:cTn>
                              </p:par>
                              <p:par>
                                <p:cTn id="138" presetID="10" presetClass="entr" presetSubtype="0" fill="hold" grpId="0" nodeType="withEffect">
                                  <p:stCondLst>
                                    <p:cond delay="0"/>
                                  </p:stCondLst>
                                  <p:childTnLst>
                                    <p:set>
                                      <p:cBhvr>
                                        <p:cTn id="139" dur="1" fill="hold">
                                          <p:stCondLst>
                                            <p:cond delay="0"/>
                                          </p:stCondLst>
                                        </p:cTn>
                                        <p:tgtEl>
                                          <p:spTgt spid="41"/>
                                        </p:tgtEl>
                                        <p:attrNameLst>
                                          <p:attrName>style.visibility</p:attrName>
                                        </p:attrNameLst>
                                      </p:cBhvr>
                                      <p:to>
                                        <p:strVal val="visible"/>
                                      </p:to>
                                    </p:set>
                                    <p:animEffect transition="in" filter="fade">
                                      <p:cBhvr>
                                        <p:cTn id="140" dur="500"/>
                                        <p:tgtEl>
                                          <p:spTgt spid="41"/>
                                        </p:tgtEl>
                                      </p:cBhvr>
                                    </p:animEffect>
                                  </p:childTnLst>
                                </p:cTn>
                              </p:par>
                            </p:childTnLst>
                          </p:cTn>
                        </p:par>
                        <p:par>
                          <p:cTn id="141" fill="hold">
                            <p:stCondLst>
                              <p:cond delay="6500"/>
                            </p:stCondLst>
                            <p:childTnLst>
                              <p:par>
                                <p:cTn id="142" presetID="22" presetClass="entr" presetSubtype="8" fill="hold" nodeType="afterEffect">
                                  <p:stCondLst>
                                    <p:cond delay="0"/>
                                  </p:stCondLst>
                                  <p:childTnLst>
                                    <p:set>
                                      <p:cBhvr>
                                        <p:cTn id="143" dur="1" fill="hold">
                                          <p:stCondLst>
                                            <p:cond delay="0"/>
                                          </p:stCondLst>
                                        </p:cTn>
                                        <p:tgtEl>
                                          <p:spTgt spid="15"/>
                                        </p:tgtEl>
                                        <p:attrNameLst>
                                          <p:attrName>style.visibility</p:attrName>
                                        </p:attrNameLst>
                                      </p:cBhvr>
                                      <p:to>
                                        <p:strVal val="visible"/>
                                      </p:to>
                                    </p:set>
                                    <p:animEffect transition="in" filter="wipe(left)">
                                      <p:cBhvr>
                                        <p:cTn id="144" dur="500"/>
                                        <p:tgtEl>
                                          <p:spTgt spid="15"/>
                                        </p:tgtEl>
                                      </p:cBhvr>
                                    </p:animEffect>
                                  </p:childTnLst>
                                </p:cTn>
                              </p:par>
                              <p:par>
                                <p:cTn id="145" presetID="22" presetClass="entr" presetSubtype="8" fill="hold" nodeType="withEffect">
                                  <p:stCondLst>
                                    <p:cond delay="0"/>
                                  </p:stCondLst>
                                  <p:childTnLst>
                                    <p:set>
                                      <p:cBhvr>
                                        <p:cTn id="146" dur="1" fill="hold">
                                          <p:stCondLst>
                                            <p:cond delay="0"/>
                                          </p:stCondLst>
                                        </p:cTn>
                                        <p:tgtEl>
                                          <p:spTgt spid="16"/>
                                        </p:tgtEl>
                                        <p:attrNameLst>
                                          <p:attrName>style.visibility</p:attrName>
                                        </p:attrNameLst>
                                      </p:cBhvr>
                                      <p:to>
                                        <p:strVal val="visible"/>
                                      </p:to>
                                    </p:set>
                                    <p:animEffect transition="in" filter="wipe(left)">
                                      <p:cBhvr>
                                        <p:cTn id="147" dur="500"/>
                                        <p:tgtEl>
                                          <p:spTgt spid="16"/>
                                        </p:tgtEl>
                                      </p:cBhvr>
                                    </p:animEffect>
                                  </p:childTnLst>
                                </p:cTn>
                              </p:par>
                              <p:par>
                                <p:cTn id="148" presetID="22" presetClass="entr" presetSubtype="8" fill="hold" nodeType="withEffect">
                                  <p:stCondLst>
                                    <p:cond delay="0"/>
                                  </p:stCondLst>
                                  <p:childTnLst>
                                    <p:set>
                                      <p:cBhvr>
                                        <p:cTn id="149" dur="1" fill="hold">
                                          <p:stCondLst>
                                            <p:cond delay="0"/>
                                          </p:stCondLst>
                                        </p:cTn>
                                        <p:tgtEl>
                                          <p:spTgt spid="17"/>
                                        </p:tgtEl>
                                        <p:attrNameLst>
                                          <p:attrName>style.visibility</p:attrName>
                                        </p:attrNameLst>
                                      </p:cBhvr>
                                      <p:to>
                                        <p:strVal val="visible"/>
                                      </p:to>
                                    </p:set>
                                    <p:animEffect transition="in" filter="wipe(left)">
                                      <p:cBhvr>
                                        <p:cTn id="150" dur="500"/>
                                        <p:tgtEl>
                                          <p:spTgt spid="17"/>
                                        </p:tgtEl>
                                      </p:cBhvr>
                                    </p:animEffect>
                                  </p:childTnLst>
                                </p:cTn>
                              </p:par>
                              <p:par>
                                <p:cTn id="151" presetID="22" presetClass="entr" presetSubtype="8" fill="hold" nodeType="withEffect">
                                  <p:stCondLst>
                                    <p:cond delay="0"/>
                                  </p:stCondLst>
                                  <p:childTnLst>
                                    <p:set>
                                      <p:cBhvr>
                                        <p:cTn id="152" dur="1" fill="hold">
                                          <p:stCondLst>
                                            <p:cond delay="0"/>
                                          </p:stCondLst>
                                        </p:cTn>
                                        <p:tgtEl>
                                          <p:spTgt spid="44"/>
                                        </p:tgtEl>
                                        <p:attrNameLst>
                                          <p:attrName>style.visibility</p:attrName>
                                        </p:attrNameLst>
                                      </p:cBhvr>
                                      <p:to>
                                        <p:strVal val="visible"/>
                                      </p:to>
                                    </p:set>
                                    <p:animEffect transition="in" filter="wipe(left)">
                                      <p:cBhvr>
                                        <p:cTn id="153" dur="500"/>
                                        <p:tgtEl>
                                          <p:spTgt spid="44"/>
                                        </p:tgtEl>
                                      </p:cBhvr>
                                    </p:animEffect>
                                  </p:childTnLst>
                                </p:cTn>
                              </p:par>
                              <p:par>
                                <p:cTn id="154" presetID="22" presetClass="entr" presetSubtype="8" fill="hold" nodeType="withEffect">
                                  <p:stCondLst>
                                    <p:cond delay="0"/>
                                  </p:stCondLst>
                                  <p:childTnLst>
                                    <p:set>
                                      <p:cBhvr>
                                        <p:cTn id="155" dur="1" fill="hold">
                                          <p:stCondLst>
                                            <p:cond delay="0"/>
                                          </p:stCondLst>
                                        </p:cTn>
                                        <p:tgtEl>
                                          <p:spTgt spid="45"/>
                                        </p:tgtEl>
                                        <p:attrNameLst>
                                          <p:attrName>style.visibility</p:attrName>
                                        </p:attrNameLst>
                                      </p:cBhvr>
                                      <p:to>
                                        <p:strVal val="visible"/>
                                      </p:to>
                                    </p:set>
                                    <p:animEffect transition="in" filter="wipe(left)">
                                      <p:cBhvr>
                                        <p:cTn id="156" dur="500"/>
                                        <p:tgtEl>
                                          <p:spTgt spid="45"/>
                                        </p:tgtEl>
                                      </p:cBhvr>
                                    </p:animEffect>
                                  </p:childTnLst>
                                </p:cTn>
                              </p:par>
                              <p:par>
                                <p:cTn id="157" presetID="22" presetClass="entr" presetSubtype="8" fill="hold" nodeType="withEffect">
                                  <p:stCondLst>
                                    <p:cond delay="0"/>
                                  </p:stCondLst>
                                  <p:childTnLst>
                                    <p:set>
                                      <p:cBhvr>
                                        <p:cTn id="158" dur="1" fill="hold">
                                          <p:stCondLst>
                                            <p:cond delay="0"/>
                                          </p:stCondLst>
                                        </p:cTn>
                                        <p:tgtEl>
                                          <p:spTgt spid="46"/>
                                        </p:tgtEl>
                                        <p:attrNameLst>
                                          <p:attrName>style.visibility</p:attrName>
                                        </p:attrNameLst>
                                      </p:cBhvr>
                                      <p:to>
                                        <p:strVal val="visible"/>
                                      </p:to>
                                    </p:set>
                                    <p:animEffect transition="in" filter="wipe(left)">
                                      <p:cBhvr>
                                        <p:cTn id="159" dur="500"/>
                                        <p:tgtEl>
                                          <p:spTgt spid="46"/>
                                        </p:tgtEl>
                                      </p:cBhvr>
                                    </p:animEffect>
                                  </p:childTnLst>
                                </p:cTn>
                              </p:par>
                            </p:childTnLst>
                          </p:cTn>
                        </p:par>
                        <p:par>
                          <p:cTn id="160" fill="hold">
                            <p:stCondLst>
                              <p:cond delay="7000"/>
                            </p:stCondLst>
                            <p:childTnLst>
                              <p:par>
                                <p:cTn id="161" presetID="10" presetClass="entr" presetSubtype="0" fill="hold" grpId="0" nodeType="afterEffect">
                                  <p:stCondLst>
                                    <p:cond delay="0"/>
                                  </p:stCondLst>
                                  <p:childTnLst>
                                    <p:set>
                                      <p:cBhvr>
                                        <p:cTn id="162" dur="1" fill="hold">
                                          <p:stCondLst>
                                            <p:cond delay="0"/>
                                          </p:stCondLst>
                                        </p:cTn>
                                        <p:tgtEl>
                                          <p:spTgt spid="72"/>
                                        </p:tgtEl>
                                        <p:attrNameLst>
                                          <p:attrName>style.visibility</p:attrName>
                                        </p:attrNameLst>
                                      </p:cBhvr>
                                      <p:to>
                                        <p:strVal val="visible"/>
                                      </p:to>
                                    </p:set>
                                    <p:animEffect transition="in" filter="fade">
                                      <p:cBhvr>
                                        <p:cTn id="163" dur="500"/>
                                        <p:tgtEl>
                                          <p:spTgt spid="72"/>
                                        </p:tgtEl>
                                      </p:cBhvr>
                                    </p:animEffect>
                                  </p:childTnLst>
                                </p:cTn>
                              </p:par>
                              <p:par>
                                <p:cTn id="164" presetID="10" presetClass="entr" presetSubtype="0" fill="hold" grpId="0" nodeType="withEffect">
                                  <p:stCondLst>
                                    <p:cond delay="0"/>
                                  </p:stCondLst>
                                  <p:childTnLst>
                                    <p:set>
                                      <p:cBhvr>
                                        <p:cTn id="165" dur="1" fill="hold">
                                          <p:stCondLst>
                                            <p:cond delay="0"/>
                                          </p:stCondLst>
                                        </p:cTn>
                                        <p:tgtEl>
                                          <p:spTgt spid="73"/>
                                        </p:tgtEl>
                                        <p:attrNameLst>
                                          <p:attrName>style.visibility</p:attrName>
                                        </p:attrNameLst>
                                      </p:cBhvr>
                                      <p:to>
                                        <p:strVal val="visible"/>
                                      </p:to>
                                    </p:set>
                                    <p:animEffect transition="in" filter="fade">
                                      <p:cBhvr>
                                        <p:cTn id="166" dur="500"/>
                                        <p:tgtEl>
                                          <p:spTgt spid="73"/>
                                        </p:tgtEl>
                                      </p:cBhvr>
                                    </p:animEffect>
                                  </p:childTnLst>
                                </p:cTn>
                              </p:par>
                            </p:childTnLst>
                          </p:cTn>
                        </p:par>
                        <p:par>
                          <p:cTn id="167" fill="hold">
                            <p:stCondLst>
                              <p:cond delay="7500"/>
                            </p:stCondLst>
                            <p:childTnLst>
                              <p:par>
                                <p:cTn id="168" presetID="53" presetClass="entr" presetSubtype="16" fill="hold" grpId="0" nodeType="afterEffect">
                                  <p:stCondLst>
                                    <p:cond delay="0"/>
                                  </p:stCondLst>
                                  <p:childTnLst>
                                    <p:set>
                                      <p:cBhvr>
                                        <p:cTn id="169" dur="1" fill="hold">
                                          <p:stCondLst>
                                            <p:cond delay="0"/>
                                          </p:stCondLst>
                                        </p:cTn>
                                        <p:tgtEl>
                                          <p:spTgt spid="62"/>
                                        </p:tgtEl>
                                        <p:attrNameLst>
                                          <p:attrName>style.visibility</p:attrName>
                                        </p:attrNameLst>
                                      </p:cBhvr>
                                      <p:to>
                                        <p:strVal val="visible"/>
                                      </p:to>
                                    </p:set>
                                    <p:anim calcmode="lin" valueType="num">
                                      <p:cBhvr>
                                        <p:cTn id="170" dur="500" fill="hold"/>
                                        <p:tgtEl>
                                          <p:spTgt spid="62"/>
                                        </p:tgtEl>
                                        <p:attrNameLst>
                                          <p:attrName>ppt_w</p:attrName>
                                        </p:attrNameLst>
                                      </p:cBhvr>
                                      <p:tavLst>
                                        <p:tav tm="0">
                                          <p:val>
                                            <p:fltVal val="0"/>
                                          </p:val>
                                        </p:tav>
                                        <p:tav tm="100000">
                                          <p:val>
                                            <p:strVal val="#ppt_w"/>
                                          </p:val>
                                        </p:tav>
                                      </p:tavLst>
                                    </p:anim>
                                    <p:anim calcmode="lin" valueType="num">
                                      <p:cBhvr>
                                        <p:cTn id="171" dur="500" fill="hold"/>
                                        <p:tgtEl>
                                          <p:spTgt spid="62"/>
                                        </p:tgtEl>
                                        <p:attrNameLst>
                                          <p:attrName>ppt_h</p:attrName>
                                        </p:attrNameLst>
                                      </p:cBhvr>
                                      <p:tavLst>
                                        <p:tav tm="0">
                                          <p:val>
                                            <p:fltVal val="0"/>
                                          </p:val>
                                        </p:tav>
                                        <p:tav tm="100000">
                                          <p:val>
                                            <p:strVal val="#ppt_h"/>
                                          </p:val>
                                        </p:tav>
                                      </p:tavLst>
                                    </p:anim>
                                    <p:animEffect transition="in" filter="fade">
                                      <p:cBhvr>
                                        <p:cTn id="172" dur="500"/>
                                        <p:tgtEl>
                                          <p:spTgt spid="62"/>
                                        </p:tgtEl>
                                      </p:cBhvr>
                                    </p:animEffect>
                                  </p:childTnLst>
                                </p:cTn>
                              </p:par>
                              <p:par>
                                <p:cTn id="173" presetID="53" presetClass="entr" presetSubtype="16" fill="hold" grpId="0" nodeType="withEffect">
                                  <p:stCondLst>
                                    <p:cond delay="0"/>
                                  </p:stCondLst>
                                  <p:childTnLst>
                                    <p:set>
                                      <p:cBhvr>
                                        <p:cTn id="174" dur="1" fill="hold">
                                          <p:stCondLst>
                                            <p:cond delay="0"/>
                                          </p:stCondLst>
                                        </p:cTn>
                                        <p:tgtEl>
                                          <p:spTgt spid="66"/>
                                        </p:tgtEl>
                                        <p:attrNameLst>
                                          <p:attrName>style.visibility</p:attrName>
                                        </p:attrNameLst>
                                      </p:cBhvr>
                                      <p:to>
                                        <p:strVal val="visible"/>
                                      </p:to>
                                    </p:set>
                                    <p:anim calcmode="lin" valueType="num">
                                      <p:cBhvr>
                                        <p:cTn id="175" dur="500" fill="hold"/>
                                        <p:tgtEl>
                                          <p:spTgt spid="66"/>
                                        </p:tgtEl>
                                        <p:attrNameLst>
                                          <p:attrName>ppt_w</p:attrName>
                                        </p:attrNameLst>
                                      </p:cBhvr>
                                      <p:tavLst>
                                        <p:tav tm="0">
                                          <p:val>
                                            <p:fltVal val="0"/>
                                          </p:val>
                                        </p:tav>
                                        <p:tav tm="100000">
                                          <p:val>
                                            <p:strVal val="#ppt_w"/>
                                          </p:val>
                                        </p:tav>
                                      </p:tavLst>
                                    </p:anim>
                                    <p:anim calcmode="lin" valueType="num">
                                      <p:cBhvr>
                                        <p:cTn id="176" dur="500" fill="hold"/>
                                        <p:tgtEl>
                                          <p:spTgt spid="66"/>
                                        </p:tgtEl>
                                        <p:attrNameLst>
                                          <p:attrName>ppt_h</p:attrName>
                                        </p:attrNameLst>
                                      </p:cBhvr>
                                      <p:tavLst>
                                        <p:tav tm="0">
                                          <p:val>
                                            <p:fltVal val="0"/>
                                          </p:val>
                                        </p:tav>
                                        <p:tav tm="100000">
                                          <p:val>
                                            <p:strVal val="#ppt_h"/>
                                          </p:val>
                                        </p:tav>
                                      </p:tavLst>
                                    </p:anim>
                                    <p:animEffect transition="in" filter="fade">
                                      <p:cBhvr>
                                        <p:cTn id="177" dur="500"/>
                                        <p:tgtEl>
                                          <p:spTgt spid="66"/>
                                        </p:tgtEl>
                                      </p:cBhvr>
                                    </p:animEffect>
                                  </p:childTnLst>
                                </p:cTn>
                              </p:par>
                            </p:childTnLst>
                          </p:cTn>
                        </p:par>
                        <p:par>
                          <p:cTn id="178" fill="hold">
                            <p:stCondLst>
                              <p:cond delay="8000"/>
                            </p:stCondLst>
                            <p:childTnLst>
                              <p:par>
                                <p:cTn id="179" presetID="53" presetClass="entr" presetSubtype="16" fill="hold" grpId="0" nodeType="afterEffect">
                                  <p:stCondLst>
                                    <p:cond delay="0"/>
                                  </p:stCondLst>
                                  <p:childTnLst>
                                    <p:set>
                                      <p:cBhvr>
                                        <p:cTn id="180" dur="1" fill="hold">
                                          <p:stCondLst>
                                            <p:cond delay="0"/>
                                          </p:stCondLst>
                                        </p:cTn>
                                        <p:tgtEl>
                                          <p:spTgt spid="77"/>
                                        </p:tgtEl>
                                        <p:attrNameLst>
                                          <p:attrName>style.visibility</p:attrName>
                                        </p:attrNameLst>
                                      </p:cBhvr>
                                      <p:to>
                                        <p:strVal val="visible"/>
                                      </p:to>
                                    </p:set>
                                    <p:anim calcmode="lin" valueType="num">
                                      <p:cBhvr>
                                        <p:cTn id="181" dur="500" fill="hold"/>
                                        <p:tgtEl>
                                          <p:spTgt spid="77"/>
                                        </p:tgtEl>
                                        <p:attrNameLst>
                                          <p:attrName>ppt_w</p:attrName>
                                        </p:attrNameLst>
                                      </p:cBhvr>
                                      <p:tavLst>
                                        <p:tav tm="0">
                                          <p:val>
                                            <p:fltVal val="0"/>
                                          </p:val>
                                        </p:tav>
                                        <p:tav tm="100000">
                                          <p:val>
                                            <p:strVal val="#ppt_w"/>
                                          </p:val>
                                        </p:tav>
                                      </p:tavLst>
                                    </p:anim>
                                    <p:anim calcmode="lin" valueType="num">
                                      <p:cBhvr>
                                        <p:cTn id="182" dur="500" fill="hold"/>
                                        <p:tgtEl>
                                          <p:spTgt spid="77"/>
                                        </p:tgtEl>
                                        <p:attrNameLst>
                                          <p:attrName>ppt_h</p:attrName>
                                        </p:attrNameLst>
                                      </p:cBhvr>
                                      <p:tavLst>
                                        <p:tav tm="0">
                                          <p:val>
                                            <p:fltVal val="0"/>
                                          </p:val>
                                        </p:tav>
                                        <p:tav tm="100000">
                                          <p:val>
                                            <p:strVal val="#ppt_h"/>
                                          </p:val>
                                        </p:tav>
                                      </p:tavLst>
                                    </p:anim>
                                    <p:animEffect transition="in" filter="fade">
                                      <p:cBhvr>
                                        <p:cTn id="183" dur="500"/>
                                        <p:tgtEl>
                                          <p:spTgt spid="77"/>
                                        </p:tgtEl>
                                      </p:cBhvr>
                                    </p:animEffect>
                                  </p:childTnLst>
                                </p:cTn>
                              </p:par>
                              <p:par>
                                <p:cTn id="184" presetID="53" presetClass="entr" presetSubtype="16" fill="hold" grpId="0" nodeType="withEffect">
                                  <p:stCondLst>
                                    <p:cond delay="0"/>
                                  </p:stCondLst>
                                  <p:childTnLst>
                                    <p:set>
                                      <p:cBhvr>
                                        <p:cTn id="185" dur="1" fill="hold">
                                          <p:stCondLst>
                                            <p:cond delay="0"/>
                                          </p:stCondLst>
                                        </p:cTn>
                                        <p:tgtEl>
                                          <p:spTgt spid="80"/>
                                        </p:tgtEl>
                                        <p:attrNameLst>
                                          <p:attrName>style.visibility</p:attrName>
                                        </p:attrNameLst>
                                      </p:cBhvr>
                                      <p:to>
                                        <p:strVal val="visible"/>
                                      </p:to>
                                    </p:set>
                                    <p:anim calcmode="lin" valueType="num">
                                      <p:cBhvr>
                                        <p:cTn id="186" dur="500" fill="hold"/>
                                        <p:tgtEl>
                                          <p:spTgt spid="80"/>
                                        </p:tgtEl>
                                        <p:attrNameLst>
                                          <p:attrName>ppt_w</p:attrName>
                                        </p:attrNameLst>
                                      </p:cBhvr>
                                      <p:tavLst>
                                        <p:tav tm="0">
                                          <p:val>
                                            <p:fltVal val="0"/>
                                          </p:val>
                                        </p:tav>
                                        <p:tav tm="100000">
                                          <p:val>
                                            <p:strVal val="#ppt_w"/>
                                          </p:val>
                                        </p:tav>
                                      </p:tavLst>
                                    </p:anim>
                                    <p:anim calcmode="lin" valueType="num">
                                      <p:cBhvr>
                                        <p:cTn id="187" dur="500" fill="hold"/>
                                        <p:tgtEl>
                                          <p:spTgt spid="80"/>
                                        </p:tgtEl>
                                        <p:attrNameLst>
                                          <p:attrName>ppt_h</p:attrName>
                                        </p:attrNameLst>
                                      </p:cBhvr>
                                      <p:tavLst>
                                        <p:tav tm="0">
                                          <p:val>
                                            <p:fltVal val="0"/>
                                          </p:val>
                                        </p:tav>
                                        <p:tav tm="100000">
                                          <p:val>
                                            <p:strVal val="#ppt_h"/>
                                          </p:val>
                                        </p:tav>
                                      </p:tavLst>
                                    </p:anim>
                                    <p:animEffect transition="in" filter="fade">
                                      <p:cBhvr>
                                        <p:cTn id="188" dur="500"/>
                                        <p:tgtEl>
                                          <p:spTgt spid="80"/>
                                        </p:tgtEl>
                                      </p:cBhvr>
                                    </p:animEffect>
                                  </p:childTnLst>
                                </p:cTn>
                              </p:par>
                            </p:childTnLst>
                          </p:cTn>
                        </p:par>
                        <p:par>
                          <p:cTn id="189" fill="hold">
                            <p:stCondLst>
                              <p:cond delay="8500"/>
                            </p:stCondLst>
                            <p:childTnLst>
                              <p:par>
                                <p:cTn id="190" presetID="22" presetClass="entr" presetSubtype="1" fill="hold" nodeType="afterEffect">
                                  <p:stCondLst>
                                    <p:cond delay="0"/>
                                  </p:stCondLst>
                                  <p:childTnLst>
                                    <p:set>
                                      <p:cBhvr>
                                        <p:cTn id="191" dur="1" fill="hold">
                                          <p:stCondLst>
                                            <p:cond delay="0"/>
                                          </p:stCondLst>
                                        </p:cTn>
                                        <p:tgtEl>
                                          <p:spTgt spid="5"/>
                                        </p:tgtEl>
                                        <p:attrNameLst>
                                          <p:attrName>style.visibility</p:attrName>
                                        </p:attrNameLst>
                                      </p:cBhvr>
                                      <p:to>
                                        <p:strVal val="visible"/>
                                      </p:to>
                                    </p:set>
                                    <p:animEffect transition="in" filter="wipe(up)">
                                      <p:cBhvr>
                                        <p:cTn id="192" dur="500"/>
                                        <p:tgtEl>
                                          <p:spTgt spid="5"/>
                                        </p:tgtEl>
                                      </p:cBhvr>
                                    </p:animEffect>
                                  </p:childTnLst>
                                </p:cTn>
                              </p:par>
                              <p:par>
                                <p:cTn id="193" presetID="22" presetClass="entr" presetSubtype="4" fill="hold" nodeType="withEffect">
                                  <p:stCondLst>
                                    <p:cond delay="0"/>
                                  </p:stCondLst>
                                  <p:childTnLst>
                                    <p:set>
                                      <p:cBhvr>
                                        <p:cTn id="194" dur="1" fill="hold">
                                          <p:stCondLst>
                                            <p:cond delay="0"/>
                                          </p:stCondLst>
                                        </p:cTn>
                                        <p:tgtEl>
                                          <p:spTgt spid="34"/>
                                        </p:tgtEl>
                                        <p:attrNameLst>
                                          <p:attrName>style.visibility</p:attrName>
                                        </p:attrNameLst>
                                      </p:cBhvr>
                                      <p:to>
                                        <p:strVal val="visible"/>
                                      </p:to>
                                    </p:set>
                                    <p:animEffect transition="in" filter="wipe(down)">
                                      <p:cBhvr>
                                        <p:cTn id="195" dur="500"/>
                                        <p:tgtEl>
                                          <p:spTgt spid="34"/>
                                        </p:tgtEl>
                                      </p:cBhvr>
                                    </p:animEffect>
                                  </p:childTnLst>
                                </p:cTn>
                              </p:par>
                            </p:childTnLst>
                          </p:cTn>
                        </p:par>
                        <p:par>
                          <p:cTn id="196" fill="hold">
                            <p:stCondLst>
                              <p:cond delay="9000"/>
                            </p:stCondLst>
                            <p:childTnLst>
                              <p:par>
                                <p:cTn id="197" presetID="10" presetClass="entr" presetSubtype="0" fill="hold" grpId="0" nodeType="afterEffect">
                                  <p:stCondLst>
                                    <p:cond delay="0"/>
                                  </p:stCondLst>
                                  <p:childTnLst>
                                    <p:set>
                                      <p:cBhvr>
                                        <p:cTn id="198" dur="1" fill="hold">
                                          <p:stCondLst>
                                            <p:cond delay="0"/>
                                          </p:stCondLst>
                                        </p:cTn>
                                        <p:tgtEl>
                                          <p:spTgt spid="18"/>
                                        </p:tgtEl>
                                        <p:attrNameLst>
                                          <p:attrName>style.visibility</p:attrName>
                                        </p:attrNameLst>
                                      </p:cBhvr>
                                      <p:to>
                                        <p:strVal val="visible"/>
                                      </p:to>
                                    </p:set>
                                    <p:animEffect transition="in" filter="fade">
                                      <p:cBhvr>
                                        <p:cTn id="199" dur="500"/>
                                        <p:tgtEl>
                                          <p:spTgt spid="18"/>
                                        </p:tgtEl>
                                      </p:cBhvr>
                                    </p:animEffect>
                                  </p:childTnLst>
                                </p:cTn>
                              </p:par>
                              <p:par>
                                <p:cTn id="200" presetID="10" presetClass="entr" presetSubtype="0" fill="hold" grpId="0" nodeType="withEffect">
                                  <p:stCondLst>
                                    <p:cond delay="0"/>
                                  </p:stCondLst>
                                  <p:childTnLst>
                                    <p:set>
                                      <p:cBhvr>
                                        <p:cTn id="201" dur="1" fill="hold">
                                          <p:stCondLst>
                                            <p:cond delay="0"/>
                                          </p:stCondLst>
                                        </p:cTn>
                                        <p:tgtEl>
                                          <p:spTgt spid="19"/>
                                        </p:tgtEl>
                                        <p:attrNameLst>
                                          <p:attrName>style.visibility</p:attrName>
                                        </p:attrNameLst>
                                      </p:cBhvr>
                                      <p:to>
                                        <p:strVal val="visible"/>
                                      </p:to>
                                    </p:set>
                                    <p:animEffect transition="in" filter="fade">
                                      <p:cBhvr>
                                        <p:cTn id="202" dur="500"/>
                                        <p:tgtEl>
                                          <p:spTgt spid="19"/>
                                        </p:tgtEl>
                                      </p:cBhvr>
                                    </p:animEffect>
                                  </p:childTnLst>
                                </p:cTn>
                              </p:par>
                              <p:par>
                                <p:cTn id="203" presetID="10" presetClass="entr" presetSubtype="0" fill="hold" grpId="0" nodeType="withEffect">
                                  <p:stCondLst>
                                    <p:cond delay="0"/>
                                  </p:stCondLst>
                                  <p:childTnLst>
                                    <p:set>
                                      <p:cBhvr>
                                        <p:cTn id="204" dur="1" fill="hold">
                                          <p:stCondLst>
                                            <p:cond delay="0"/>
                                          </p:stCondLst>
                                        </p:cTn>
                                        <p:tgtEl>
                                          <p:spTgt spid="20"/>
                                        </p:tgtEl>
                                        <p:attrNameLst>
                                          <p:attrName>style.visibility</p:attrName>
                                        </p:attrNameLst>
                                      </p:cBhvr>
                                      <p:to>
                                        <p:strVal val="visible"/>
                                      </p:to>
                                    </p:set>
                                    <p:animEffect transition="in" filter="fade">
                                      <p:cBhvr>
                                        <p:cTn id="205" dur="500"/>
                                        <p:tgtEl>
                                          <p:spTgt spid="20"/>
                                        </p:tgtEl>
                                      </p:cBhvr>
                                    </p:animEffect>
                                  </p:childTnLst>
                                </p:cTn>
                              </p:par>
                              <p:par>
                                <p:cTn id="206" presetID="10" presetClass="entr" presetSubtype="0" fill="hold" grpId="0" nodeType="withEffect">
                                  <p:stCondLst>
                                    <p:cond delay="0"/>
                                  </p:stCondLst>
                                  <p:childTnLst>
                                    <p:set>
                                      <p:cBhvr>
                                        <p:cTn id="207" dur="1" fill="hold">
                                          <p:stCondLst>
                                            <p:cond delay="0"/>
                                          </p:stCondLst>
                                        </p:cTn>
                                        <p:tgtEl>
                                          <p:spTgt spid="49"/>
                                        </p:tgtEl>
                                        <p:attrNameLst>
                                          <p:attrName>style.visibility</p:attrName>
                                        </p:attrNameLst>
                                      </p:cBhvr>
                                      <p:to>
                                        <p:strVal val="visible"/>
                                      </p:to>
                                    </p:set>
                                    <p:animEffect transition="in" filter="fade">
                                      <p:cBhvr>
                                        <p:cTn id="208" dur="500"/>
                                        <p:tgtEl>
                                          <p:spTgt spid="49"/>
                                        </p:tgtEl>
                                      </p:cBhvr>
                                    </p:animEffect>
                                  </p:childTnLst>
                                </p:cTn>
                              </p:par>
                              <p:par>
                                <p:cTn id="209" presetID="10" presetClass="entr" presetSubtype="0" fill="hold" grpId="0" nodeType="withEffect">
                                  <p:stCondLst>
                                    <p:cond delay="0"/>
                                  </p:stCondLst>
                                  <p:childTnLst>
                                    <p:set>
                                      <p:cBhvr>
                                        <p:cTn id="210" dur="1" fill="hold">
                                          <p:stCondLst>
                                            <p:cond delay="0"/>
                                          </p:stCondLst>
                                        </p:cTn>
                                        <p:tgtEl>
                                          <p:spTgt spid="48"/>
                                        </p:tgtEl>
                                        <p:attrNameLst>
                                          <p:attrName>style.visibility</p:attrName>
                                        </p:attrNameLst>
                                      </p:cBhvr>
                                      <p:to>
                                        <p:strVal val="visible"/>
                                      </p:to>
                                    </p:set>
                                    <p:animEffect transition="in" filter="fade">
                                      <p:cBhvr>
                                        <p:cTn id="211" dur="500"/>
                                        <p:tgtEl>
                                          <p:spTgt spid="48"/>
                                        </p:tgtEl>
                                      </p:cBhvr>
                                    </p:animEffect>
                                  </p:childTnLst>
                                </p:cTn>
                              </p:par>
                              <p:par>
                                <p:cTn id="212" presetID="10" presetClass="entr" presetSubtype="0" fill="hold" grpId="0" nodeType="withEffect">
                                  <p:stCondLst>
                                    <p:cond delay="0"/>
                                  </p:stCondLst>
                                  <p:childTnLst>
                                    <p:set>
                                      <p:cBhvr>
                                        <p:cTn id="213" dur="1" fill="hold">
                                          <p:stCondLst>
                                            <p:cond delay="0"/>
                                          </p:stCondLst>
                                        </p:cTn>
                                        <p:tgtEl>
                                          <p:spTgt spid="47"/>
                                        </p:tgtEl>
                                        <p:attrNameLst>
                                          <p:attrName>style.visibility</p:attrName>
                                        </p:attrNameLst>
                                      </p:cBhvr>
                                      <p:to>
                                        <p:strVal val="visible"/>
                                      </p:to>
                                    </p:set>
                                    <p:animEffect transition="in" filter="fade">
                                      <p:cBhvr>
                                        <p:cTn id="214" dur="500"/>
                                        <p:tgtEl>
                                          <p:spTgt spid="47"/>
                                        </p:tgtEl>
                                      </p:cBhvr>
                                    </p:animEffect>
                                  </p:childTnLst>
                                </p:cTn>
                              </p:par>
                            </p:childTnLst>
                          </p:cTn>
                        </p:par>
                        <p:par>
                          <p:cTn id="215" fill="hold">
                            <p:stCondLst>
                              <p:cond delay="9500"/>
                            </p:stCondLst>
                            <p:childTnLst>
                              <p:par>
                                <p:cTn id="216" presetID="22" presetClass="entr" presetSubtype="8" fill="hold" nodeType="afterEffect">
                                  <p:stCondLst>
                                    <p:cond delay="0"/>
                                  </p:stCondLst>
                                  <p:childTnLst>
                                    <p:set>
                                      <p:cBhvr>
                                        <p:cTn id="217" dur="1" fill="hold">
                                          <p:stCondLst>
                                            <p:cond delay="0"/>
                                          </p:stCondLst>
                                        </p:cTn>
                                        <p:tgtEl>
                                          <p:spTgt spid="21"/>
                                        </p:tgtEl>
                                        <p:attrNameLst>
                                          <p:attrName>style.visibility</p:attrName>
                                        </p:attrNameLst>
                                      </p:cBhvr>
                                      <p:to>
                                        <p:strVal val="visible"/>
                                      </p:to>
                                    </p:set>
                                    <p:animEffect transition="in" filter="wipe(left)">
                                      <p:cBhvr>
                                        <p:cTn id="218" dur="500"/>
                                        <p:tgtEl>
                                          <p:spTgt spid="21"/>
                                        </p:tgtEl>
                                      </p:cBhvr>
                                    </p:animEffect>
                                  </p:childTnLst>
                                </p:cTn>
                              </p:par>
                              <p:par>
                                <p:cTn id="219" presetID="22" presetClass="entr" presetSubtype="8" fill="hold" nodeType="withEffect">
                                  <p:stCondLst>
                                    <p:cond delay="0"/>
                                  </p:stCondLst>
                                  <p:childTnLst>
                                    <p:set>
                                      <p:cBhvr>
                                        <p:cTn id="220" dur="1" fill="hold">
                                          <p:stCondLst>
                                            <p:cond delay="0"/>
                                          </p:stCondLst>
                                        </p:cTn>
                                        <p:tgtEl>
                                          <p:spTgt spid="22"/>
                                        </p:tgtEl>
                                        <p:attrNameLst>
                                          <p:attrName>style.visibility</p:attrName>
                                        </p:attrNameLst>
                                      </p:cBhvr>
                                      <p:to>
                                        <p:strVal val="visible"/>
                                      </p:to>
                                    </p:set>
                                    <p:animEffect transition="in" filter="wipe(left)">
                                      <p:cBhvr>
                                        <p:cTn id="221" dur="500"/>
                                        <p:tgtEl>
                                          <p:spTgt spid="22"/>
                                        </p:tgtEl>
                                      </p:cBhvr>
                                    </p:animEffect>
                                  </p:childTnLst>
                                </p:cTn>
                              </p:par>
                              <p:par>
                                <p:cTn id="222" presetID="22" presetClass="entr" presetSubtype="8" fill="hold" nodeType="withEffect">
                                  <p:stCondLst>
                                    <p:cond delay="0"/>
                                  </p:stCondLst>
                                  <p:childTnLst>
                                    <p:set>
                                      <p:cBhvr>
                                        <p:cTn id="223" dur="1" fill="hold">
                                          <p:stCondLst>
                                            <p:cond delay="0"/>
                                          </p:stCondLst>
                                        </p:cTn>
                                        <p:tgtEl>
                                          <p:spTgt spid="23"/>
                                        </p:tgtEl>
                                        <p:attrNameLst>
                                          <p:attrName>style.visibility</p:attrName>
                                        </p:attrNameLst>
                                      </p:cBhvr>
                                      <p:to>
                                        <p:strVal val="visible"/>
                                      </p:to>
                                    </p:set>
                                    <p:animEffect transition="in" filter="wipe(left)">
                                      <p:cBhvr>
                                        <p:cTn id="224" dur="500"/>
                                        <p:tgtEl>
                                          <p:spTgt spid="23"/>
                                        </p:tgtEl>
                                      </p:cBhvr>
                                    </p:animEffect>
                                  </p:childTnLst>
                                </p:cTn>
                              </p:par>
                              <p:par>
                                <p:cTn id="225" presetID="22" presetClass="entr" presetSubtype="8" fill="hold" nodeType="withEffect">
                                  <p:stCondLst>
                                    <p:cond delay="0"/>
                                  </p:stCondLst>
                                  <p:childTnLst>
                                    <p:set>
                                      <p:cBhvr>
                                        <p:cTn id="226" dur="1" fill="hold">
                                          <p:stCondLst>
                                            <p:cond delay="0"/>
                                          </p:stCondLst>
                                        </p:cTn>
                                        <p:tgtEl>
                                          <p:spTgt spid="50"/>
                                        </p:tgtEl>
                                        <p:attrNameLst>
                                          <p:attrName>style.visibility</p:attrName>
                                        </p:attrNameLst>
                                      </p:cBhvr>
                                      <p:to>
                                        <p:strVal val="visible"/>
                                      </p:to>
                                    </p:set>
                                    <p:animEffect transition="in" filter="wipe(left)">
                                      <p:cBhvr>
                                        <p:cTn id="227" dur="500"/>
                                        <p:tgtEl>
                                          <p:spTgt spid="50"/>
                                        </p:tgtEl>
                                      </p:cBhvr>
                                    </p:animEffect>
                                  </p:childTnLst>
                                </p:cTn>
                              </p:par>
                              <p:par>
                                <p:cTn id="228" presetID="22" presetClass="entr" presetSubtype="8" fill="hold" nodeType="withEffect">
                                  <p:stCondLst>
                                    <p:cond delay="0"/>
                                  </p:stCondLst>
                                  <p:childTnLst>
                                    <p:set>
                                      <p:cBhvr>
                                        <p:cTn id="229" dur="1" fill="hold">
                                          <p:stCondLst>
                                            <p:cond delay="0"/>
                                          </p:stCondLst>
                                        </p:cTn>
                                        <p:tgtEl>
                                          <p:spTgt spid="51"/>
                                        </p:tgtEl>
                                        <p:attrNameLst>
                                          <p:attrName>style.visibility</p:attrName>
                                        </p:attrNameLst>
                                      </p:cBhvr>
                                      <p:to>
                                        <p:strVal val="visible"/>
                                      </p:to>
                                    </p:set>
                                    <p:animEffect transition="in" filter="wipe(left)">
                                      <p:cBhvr>
                                        <p:cTn id="230" dur="500"/>
                                        <p:tgtEl>
                                          <p:spTgt spid="51"/>
                                        </p:tgtEl>
                                      </p:cBhvr>
                                    </p:animEffect>
                                  </p:childTnLst>
                                </p:cTn>
                              </p:par>
                              <p:par>
                                <p:cTn id="231" presetID="22" presetClass="entr" presetSubtype="8" fill="hold" nodeType="withEffect">
                                  <p:stCondLst>
                                    <p:cond delay="0"/>
                                  </p:stCondLst>
                                  <p:childTnLst>
                                    <p:set>
                                      <p:cBhvr>
                                        <p:cTn id="232" dur="1" fill="hold">
                                          <p:stCondLst>
                                            <p:cond delay="0"/>
                                          </p:stCondLst>
                                        </p:cTn>
                                        <p:tgtEl>
                                          <p:spTgt spid="52"/>
                                        </p:tgtEl>
                                        <p:attrNameLst>
                                          <p:attrName>style.visibility</p:attrName>
                                        </p:attrNameLst>
                                      </p:cBhvr>
                                      <p:to>
                                        <p:strVal val="visible"/>
                                      </p:to>
                                    </p:set>
                                    <p:animEffect transition="in" filter="wipe(left)">
                                      <p:cBhvr>
                                        <p:cTn id="233" dur="500"/>
                                        <p:tgtEl>
                                          <p:spTgt spid="52"/>
                                        </p:tgtEl>
                                      </p:cBhvr>
                                    </p:animEffect>
                                  </p:childTnLst>
                                </p:cTn>
                              </p:par>
                            </p:childTnLst>
                          </p:cTn>
                        </p:par>
                        <p:par>
                          <p:cTn id="234" fill="hold">
                            <p:stCondLst>
                              <p:cond delay="10000"/>
                            </p:stCondLst>
                            <p:childTnLst>
                              <p:par>
                                <p:cTn id="235" presetID="10" presetClass="entr" presetSubtype="0" fill="hold" grpId="0" nodeType="afterEffect">
                                  <p:stCondLst>
                                    <p:cond delay="0"/>
                                  </p:stCondLst>
                                  <p:childTnLst>
                                    <p:set>
                                      <p:cBhvr>
                                        <p:cTn id="236" dur="1" fill="hold">
                                          <p:stCondLst>
                                            <p:cond delay="0"/>
                                          </p:stCondLst>
                                        </p:cTn>
                                        <p:tgtEl>
                                          <p:spTgt spid="74"/>
                                        </p:tgtEl>
                                        <p:attrNameLst>
                                          <p:attrName>style.visibility</p:attrName>
                                        </p:attrNameLst>
                                      </p:cBhvr>
                                      <p:to>
                                        <p:strVal val="visible"/>
                                      </p:to>
                                    </p:set>
                                    <p:animEffect transition="in" filter="fade">
                                      <p:cBhvr>
                                        <p:cTn id="237" dur="500"/>
                                        <p:tgtEl>
                                          <p:spTgt spid="74"/>
                                        </p:tgtEl>
                                      </p:cBhvr>
                                    </p:animEffect>
                                  </p:childTnLst>
                                </p:cTn>
                              </p:par>
                              <p:par>
                                <p:cTn id="238" presetID="10" presetClass="entr" presetSubtype="0" fill="hold" grpId="0" nodeType="withEffect">
                                  <p:stCondLst>
                                    <p:cond delay="0"/>
                                  </p:stCondLst>
                                  <p:childTnLst>
                                    <p:set>
                                      <p:cBhvr>
                                        <p:cTn id="239" dur="1" fill="hold">
                                          <p:stCondLst>
                                            <p:cond delay="0"/>
                                          </p:stCondLst>
                                        </p:cTn>
                                        <p:tgtEl>
                                          <p:spTgt spid="75"/>
                                        </p:tgtEl>
                                        <p:attrNameLst>
                                          <p:attrName>style.visibility</p:attrName>
                                        </p:attrNameLst>
                                      </p:cBhvr>
                                      <p:to>
                                        <p:strVal val="visible"/>
                                      </p:to>
                                    </p:set>
                                    <p:animEffect transition="in" filter="fade">
                                      <p:cBhvr>
                                        <p:cTn id="240" dur="500"/>
                                        <p:tgtEl>
                                          <p:spTgt spid="75"/>
                                        </p:tgtEl>
                                      </p:cBhvr>
                                    </p:animEffect>
                                  </p:childTnLst>
                                </p:cTn>
                              </p:par>
                            </p:childTnLst>
                          </p:cTn>
                        </p:par>
                        <p:par>
                          <p:cTn id="241" fill="hold">
                            <p:stCondLst>
                              <p:cond delay="10500"/>
                            </p:stCondLst>
                            <p:childTnLst>
                              <p:par>
                                <p:cTn id="242" presetID="53" presetClass="entr" presetSubtype="16" fill="hold" grpId="0" nodeType="afterEffect">
                                  <p:stCondLst>
                                    <p:cond delay="0"/>
                                  </p:stCondLst>
                                  <p:childTnLst>
                                    <p:set>
                                      <p:cBhvr>
                                        <p:cTn id="243" dur="1" fill="hold">
                                          <p:stCondLst>
                                            <p:cond delay="0"/>
                                          </p:stCondLst>
                                        </p:cTn>
                                        <p:tgtEl>
                                          <p:spTgt spid="63"/>
                                        </p:tgtEl>
                                        <p:attrNameLst>
                                          <p:attrName>style.visibility</p:attrName>
                                        </p:attrNameLst>
                                      </p:cBhvr>
                                      <p:to>
                                        <p:strVal val="visible"/>
                                      </p:to>
                                    </p:set>
                                    <p:anim calcmode="lin" valueType="num">
                                      <p:cBhvr>
                                        <p:cTn id="244" dur="500" fill="hold"/>
                                        <p:tgtEl>
                                          <p:spTgt spid="63"/>
                                        </p:tgtEl>
                                        <p:attrNameLst>
                                          <p:attrName>ppt_w</p:attrName>
                                        </p:attrNameLst>
                                      </p:cBhvr>
                                      <p:tavLst>
                                        <p:tav tm="0">
                                          <p:val>
                                            <p:fltVal val="0"/>
                                          </p:val>
                                        </p:tav>
                                        <p:tav tm="100000">
                                          <p:val>
                                            <p:strVal val="#ppt_w"/>
                                          </p:val>
                                        </p:tav>
                                      </p:tavLst>
                                    </p:anim>
                                    <p:anim calcmode="lin" valueType="num">
                                      <p:cBhvr>
                                        <p:cTn id="245" dur="500" fill="hold"/>
                                        <p:tgtEl>
                                          <p:spTgt spid="63"/>
                                        </p:tgtEl>
                                        <p:attrNameLst>
                                          <p:attrName>ppt_h</p:attrName>
                                        </p:attrNameLst>
                                      </p:cBhvr>
                                      <p:tavLst>
                                        <p:tav tm="0">
                                          <p:val>
                                            <p:fltVal val="0"/>
                                          </p:val>
                                        </p:tav>
                                        <p:tav tm="100000">
                                          <p:val>
                                            <p:strVal val="#ppt_h"/>
                                          </p:val>
                                        </p:tav>
                                      </p:tavLst>
                                    </p:anim>
                                    <p:animEffect transition="in" filter="fade">
                                      <p:cBhvr>
                                        <p:cTn id="246" dur="500"/>
                                        <p:tgtEl>
                                          <p:spTgt spid="63"/>
                                        </p:tgtEl>
                                      </p:cBhvr>
                                    </p:animEffect>
                                  </p:childTnLst>
                                </p:cTn>
                              </p:par>
                              <p:par>
                                <p:cTn id="247" presetID="53" presetClass="entr" presetSubtype="16" fill="hold" grpId="0" nodeType="withEffect">
                                  <p:stCondLst>
                                    <p:cond delay="0"/>
                                  </p:stCondLst>
                                  <p:childTnLst>
                                    <p:set>
                                      <p:cBhvr>
                                        <p:cTn id="248" dur="1" fill="hold">
                                          <p:stCondLst>
                                            <p:cond delay="0"/>
                                          </p:stCondLst>
                                        </p:cTn>
                                        <p:tgtEl>
                                          <p:spTgt spid="67"/>
                                        </p:tgtEl>
                                        <p:attrNameLst>
                                          <p:attrName>style.visibility</p:attrName>
                                        </p:attrNameLst>
                                      </p:cBhvr>
                                      <p:to>
                                        <p:strVal val="visible"/>
                                      </p:to>
                                    </p:set>
                                    <p:anim calcmode="lin" valueType="num">
                                      <p:cBhvr>
                                        <p:cTn id="249" dur="500" fill="hold"/>
                                        <p:tgtEl>
                                          <p:spTgt spid="67"/>
                                        </p:tgtEl>
                                        <p:attrNameLst>
                                          <p:attrName>ppt_w</p:attrName>
                                        </p:attrNameLst>
                                      </p:cBhvr>
                                      <p:tavLst>
                                        <p:tav tm="0">
                                          <p:val>
                                            <p:fltVal val="0"/>
                                          </p:val>
                                        </p:tav>
                                        <p:tav tm="100000">
                                          <p:val>
                                            <p:strVal val="#ppt_w"/>
                                          </p:val>
                                        </p:tav>
                                      </p:tavLst>
                                    </p:anim>
                                    <p:anim calcmode="lin" valueType="num">
                                      <p:cBhvr>
                                        <p:cTn id="250" dur="500" fill="hold"/>
                                        <p:tgtEl>
                                          <p:spTgt spid="67"/>
                                        </p:tgtEl>
                                        <p:attrNameLst>
                                          <p:attrName>ppt_h</p:attrName>
                                        </p:attrNameLst>
                                      </p:cBhvr>
                                      <p:tavLst>
                                        <p:tav tm="0">
                                          <p:val>
                                            <p:fltVal val="0"/>
                                          </p:val>
                                        </p:tav>
                                        <p:tav tm="100000">
                                          <p:val>
                                            <p:strVal val="#ppt_h"/>
                                          </p:val>
                                        </p:tav>
                                      </p:tavLst>
                                    </p:anim>
                                    <p:animEffect transition="in" filter="fade">
                                      <p:cBhvr>
                                        <p:cTn id="251" dur="500"/>
                                        <p:tgtEl>
                                          <p:spTgt spid="67"/>
                                        </p:tgtEl>
                                      </p:cBhvr>
                                    </p:animEffect>
                                  </p:childTnLst>
                                </p:cTn>
                              </p:par>
                            </p:childTnLst>
                          </p:cTn>
                        </p:par>
                        <p:par>
                          <p:cTn id="252" fill="hold">
                            <p:stCondLst>
                              <p:cond delay="11000"/>
                            </p:stCondLst>
                            <p:childTnLst>
                              <p:par>
                                <p:cTn id="253" presetID="53" presetClass="entr" presetSubtype="16" fill="hold" grpId="0" nodeType="afterEffect">
                                  <p:stCondLst>
                                    <p:cond delay="0"/>
                                  </p:stCondLst>
                                  <p:childTnLst>
                                    <p:set>
                                      <p:cBhvr>
                                        <p:cTn id="254" dur="1" fill="hold">
                                          <p:stCondLst>
                                            <p:cond delay="0"/>
                                          </p:stCondLst>
                                        </p:cTn>
                                        <p:tgtEl>
                                          <p:spTgt spid="78"/>
                                        </p:tgtEl>
                                        <p:attrNameLst>
                                          <p:attrName>style.visibility</p:attrName>
                                        </p:attrNameLst>
                                      </p:cBhvr>
                                      <p:to>
                                        <p:strVal val="visible"/>
                                      </p:to>
                                    </p:set>
                                    <p:anim calcmode="lin" valueType="num">
                                      <p:cBhvr>
                                        <p:cTn id="255" dur="500" fill="hold"/>
                                        <p:tgtEl>
                                          <p:spTgt spid="78"/>
                                        </p:tgtEl>
                                        <p:attrNameLst>
                                          <p:attrName>ppt_w</p:attrName>
                                        </p:attrNameLst>
                                      </p:cBhvr>
                                      <p:tavLst>
                                        <p:tav tm="0">
                                          <p:val>
                                            <p:fltVal val="0"/>
                                          </p:val>
                                        </p:tav>
                                        <p:tav tm="100000">
                                          <p:val>
                                            <p:strVal val="#ppt_w"/>
                                          </p:val>
                                        </p:tav>
                                      </p:tavLst>
                                    </p:anim>
                                    <p:anim calcmode="lin" valueType="num">
                                      <p:cBhvr>
                                        <p:cTn id="256" dur="500" fill="hold"/>
                                        <p:tgtEl>
                                          <p:spTgt spid="78"/>
                                        </p:tgtEl>
                                        <p:attrNameLst>
                                          <p:attrName>ppt_h</p:attrName>
                                        </p:attrNameLst>
                                      </p:cBhvr>
                                      <p:tavLst>
                                        <p:tav tm="0">
                                          <p:val>
                                            <p:fltVal val="0"/>
                                          </p:val>
                                        </p:tav>
                                        <p:tav tm="100000">
                                          <p:val>
                                            <p:strVal val="#ppt_h"/>
                                          </p:val>
                                        </p:tav>
                                      </p:tavLst>
                                    </p:anim>
                                    <p:animEffect transition="in" filter="fade">
                                      <p:cBhvr>
                                        <p:cTn id="257" dur="500"/>
                                        <p:tgtEl>
                                          <p:spTgt spid="78"/>
                                        </p:tgtEl>
                                      </p:cBhvr>
                                    </p:animEffect>
                                  </p:childTnLst>
                                </p:cTn>
                              </p:par>
                              <p:par>
                                <p:cTn id="258" presetID="53" presetClass="entr" presetSubtype="16" fill="hold" grpId="0" nodeType="withEffect">
                                  <p:stCondLst>
                                    <p:cond delay="0"/>
                                  </p:stCondLst>
                                  <p:childTnLst>
                                    <p:set>
                                      <p:cBhvr>
                                        <p:cTn id="259" dur="1" fill="hold">
                                          <p:stCondLst>
                                            <p:cond delay="0"/>
                                          </p:stCondLst>
                                        </p:cTn>
                                        <p:tgtEl>
                                          <p:spTgt spid="81"/>
                                        </p:tgtEl>
                                        <p:attrNameLst>
                                          <p:attrName>style.visibility</p:attrName>
                                        </p:attrNameLst>
                                      </p:cBhvr>
                                      <p:to>
                                        <p:strVal val="visible"/>
                                      </p:to>
                                    </p:set>
                                    <p:anim calcmode="lin" valueType="num">
                                      <p:cBhvr>
                                        <p:cTn id="260" dur="500" fill="hold"/>
                                        <p:tgtEl>
                                          <p:spTgt spid="81"/>
                                        </p:tgtEl>
                                        <p:attrNameLst>
                                          <p:attrName>ppt_w</p:attrName>
                                        </p:attrNameLst>
                                      </p:cBhvr>
                                      <p:tavLst>
                                        <p:tav tm="0">
                                          <p:val>
                                            <p:fltVal val="0"/>
                                          </p:val>
                                        </p:tav>
                                        <p:tav tm="100000">
                                          <p:val>
                                            <p:strVal val="#ppt_w"/>
                                          </p:val>
                                        </p:tav>
                                      </p:tavLst>
                                    </p:anim>
                                    <p:anim calcmode="lin" valueType="num">
                                      <p:cBhvr>
                                        <p:cTn id="261" dur="500" fill="hold"/>
                                        <p:tgtEl>
                                          <p:spTgt spid="81"/>
                                        </p:tgtEl>
                                        <p:attrNameLst>
                                          <p:attrName>ppt_h</p:attrName>
                                        </p:attrNameLst>
                                      </p:cBhvr>
                                      <p:tavLst>
                                        <p:tav tm="0">
                                          <p:val>
                                            <p:fltVal val="0"/>
                                          </p:val>
                                        </p:tav>
                                        <p:tav tm="100000">
                                          <p:val>
                                            <p:strVal val="#ppt_h"/>
                                          </p:val>
                                        </p:tav>
                                      </p:tavLst>
                                    </p:anim>
                                    <p:animEffect transition="in" filter="fade">
                                      <p:cBhvr>
                                        <p:cTn id="262" dur="500"/>
                                        <p:tgtEl>
                                          <p:spTgt spid="81"/>
                                        </p:tgtEl>
                                      </p:cBhvr>
                                    </p:animEffect>
                                  </p:childTnLst>
                                </p:cTn>
                              </p:par>
                            </p:childTnLst>
                          </p:cTn>
                        </p:par>
                        <p:par>
                          <p:cTn id="263" fill="hold">
                            <p:stCondLst>
                              <p:cond delay="11500"/>
                            </p:stCondLst>
                            <p:childTnLst>
                              <p:par>
                                <p:cTn id="264" presetID="22" presetClass="entr" presetSubtype="1" fill="hold" nodeType="afterEffect">
                                  <p:stCondLst>
                                    <p:cond delay="0"/>
                                  </p:stCondLst>
                                  <p:childTnLst>
                                    <p:set>
                                      <p:cBhvr>
                                        <p:cTn id="265" dur="1" fill="hold">
                                          <p:stCondLst>
                                            <p:cond delay="0"/>
                                          </p:stCondLst>
                                        </p:cTn>
                                        <p:tgtEl>
                                          <p:spTgt spid="24"/>
                                        </p:tgtEl>
                                        <p:attrNameLst>
                                          <p:attrName>style.visibility</p:attrName>
                                        </p:attrNameLst>
                                      </p:cBhvr>
                                      <p:to>
                                        <p:strVal val="visible"/>
                                      </p:to>
                                    </p:set>
                                    <p:animEffect transition="in" filter="wipe(up)">
                                      <p:cBhvr>
                                        <p:cTn id="266" dur="500"/>
                                        <p:tgtEl>
                                          <p:spTgt spid="24"/>
                                        </p:tgtEl>
                                      </p:cBhvr>
                                    </p:animEffect>
                                  </p:childTnLst>
                                </p:cTn>
                              </p:par>
                              <p:par>
                                <p:cTn id="267" presetID="22" presetClass="entr" presetSubtype="4" fill="hold" nodeType="withEffect">
                                  <p:stCondLst>
                                    <p:cond delay="0"/>
                                  </p:stCondLst>
                                  <p:childTnLst>
                                    <p:set>
                                      <p:cBhvr>
                                        <p:cTn id="268" dur="1" fill="hold">
                                          <p:stCondLst>
                                            <p:cond delay="0"/>
                                          </p:stCondLst>
                                        </p:cTn>
                                        <p:tgtEl>
                                          <p:spTgt spid="53"/>
                                        </p:tgtEl>
                                        <p:attrNameLst>
                                          <p:attrName>style.visibility</p:attrName>
                                        </p:attrNameLst>
                                      </p:cBhvr>
                                      <p:to>
                                        <p:strVal val="visible"/>
                                      </p:to>
                                    </p:set>
                                    <p:animEffect transition="in" filter="wipe(down)">
                                      <p:cBhvr>
                                        <p:cTn id="269" dur="500"/>
                                        <p:tgtEl>
                                          <p:spTgt spid="53"/>
                                        </p:tgtEl>
                                      </p:cBhvr>
                                    </p:animEffect>
                                  </p:childTnLst>
                                </p:cTn>
                              </p:par>
                            </p:childTnLst>
                          </p:cTn>
                        </p:par>
                        <p:par>
                          <p:cTn id="270" fill="hold">
                            <p:stCondLst>
                              <p:cond delay="12000"/>
                            </p:stCondLst>
                            <p:childTnLst>
                              <p:par>
                                <p:cTn id="271" presetID="10" presetClass="entr" presetSubtype="0" fill="hold" grpId="0" nodeType="afterEffect">
                                  <p:stCondLst>
                                    <p:cond delay="0"/>
                                  </p:stCondLst>
                                  <p:childTnLst>
                                    <p:set>
                                      <p:cBhvr>
                                        <p:cTn id="272" dur="1" fill="hold">
                                          <p:stCondLst>
                                            <p:cond delay="0"/>
                                          </p:stCondLst>
                                        </p:cTn>
                                        <p:tgtEl>
                                          <p:spTgt spid="25"/>
                                        </p:tgtEl>
                                        <p:attrNameLst>
                                          <p:attrName>style.visibility</p:attrName>
                                        </p:attrNameLst>
                                      </p:cBhvr>
                                      <p:to>
                                        <p:strVal val="visible"/>
                                      </p:to>
                                    </p:set>
                                    <p:animEffect transition="in" filter="fade">
                                      <p:cBhvr>
                                        <p:cTn id="273" dur="500"/>
                                        <p:tgtEl>
                                          <p:spTgt spid="25"/>
                                        </p:tgtEl>
                                      </p:cBhvr>
                                    </p:animEffect>
                                  </p:childTnLst>
                                </p:cTn>
                              </p:par>
                              <p:par>
                                <p:cTn id="274" presetID="10" presetClass="entr" presetSubtype="0" fill="hold" grpId="0" nodeType="withEffect">
                                  <p:stCondLst>
                                    <p:cond delay="0"/>
                                  </p:stCondLst>
                                  <p:childTnLst>
                                    <p:set>
                                      <p:cBhvr>
                                        <p:cTn id="275" dur="1" fill="hold">
                                          <p:stCondLst>
                                            <p:cond delay="0"/>
                                          </p:stCondLst>
                                        </p:cTn>
                                        <p:tgtEl>
                                          <p:spTgt spid="26"/>
                                        </p:tgtEl>
                                        <p:attrNameLst>
                                          <p:attrName>style.visibility</p:attrName>
                                        </p:attrNameLst>
                                      </p:cBhvr>
                                      <p:to>
                                        <p:strVal val="visible"/>
                                      </p:to>
                                    </p:set>
                                    <p:animEffect transition="in" filter="fade">
                                      <p:cBhvr>
                                        <p:cTn id="276" dur="500"/>
                                        <p:tgtEl>
                                          <p:spTgt spid="26"/>
                                        </p:tgtEl>
                                      </p:cBhvr>
                                    </p:animEffect>
                                  </p:childTnLst>
                                </p:cTn>
                              </p:par>
                              <p:par>
                                <p:cTn id="277" presetID="10" presetClass="entr" presetSubtype="0" fill="hold" grpId="0" nodeType="withEffect">
                                  <p:stCondLst>
                                    <p:cond delay="0"/>
                                  </p:stCondLst>
                                  <p:childTnLst>
                                    <p:set>
                                      <p:cBhvr>
                                        <p:cTn id="278" dur="1" fill="hold">
                                          <p:stCondLst>
                                            <p:cond delay="0"/>
                                          </p:stCondLst>
                                        </p:cTn>
                                        <p:tgtEl>
                                          <p:spTgt spid="27"/>
                                        </p:tgtEl>
                                        <p:attrNameLst>
                                          <p:attrName>style.visibility</p:attrName>
                                        </p:attrNameLst>
                                      </p:cBhvr>
                                      <p:to>
                                        <p:strVal val="visible"/>
                                      </p:to>
                                    </p:set>
                                    <p:animEffect transition="in" filter="fade">
                                      <p:cBhvr>
                                        <p:cTn id="279" dur="500"/>
                                        <p:tgtEl>
                                          <p:spTgt spid="27"/>
                                        </p:tgtEl>
                                      </p:cBhvr>
                                    </p:animEffect>
                                  </p:childTnLst>
                                </p:cTn>
                              </p:par>
                              <p:par>
                                <p:cTn id="280" presetID="10" presetClass="entr" presetSubtype="0" fill="hold" grpId="0" nodeType="withEffect">
                                  <p:stCondLst>
                                    <p:cond delay="0"/>
                                  </p:stCondLst>
                                  <p:childTnLst>
                                    <p:set>
                                      <p:cBhvr>
                                        <p:cTn id="281" dur="1" fill="hold">
                                          <p:stCondLst>
                                            <p:cond delay="0"/>
                                          </p:stCondLst>
                                        </p:cTn>
                                        <p:tgtEl>
                                          <p:spTgt spid="56"/>
                                        </p:tgtEl>
                                        <p:attrNameLst>
                                          <p:attrName>style.visibility</p:attrName>
                                        </p:attrNameLst>
                                      </p:cBhvr>
                                      <p:to>
                                        <p:strVal val="visible"/>
                                      </p:to>
                                    </p:set>
                                    <p:animEffect transition="in" filter="fade">
                                      <p:cBhvr>
                                        <p:cTn id="282" dur="500"/>
                                        <p:tgtEl>
                                          <p:spTgt spid="56"/>
                                        </p:tgtEl>
                                      </p:cBhvr>
                                    </p:animEffect>
                                  </p:childTnLst>
                                </p:cTn>
                              </p:par>
                              <p:par>
                                <p:cTn id="283" presetID="10" presetClass="entr" presetSubtype="0" fill="hold" grpId="0" nodeType="withEffect">
                                  <p:stCondLst>
                                    <p:cond delay="0"/>
                                  </p:stCondLst>
                                  <p:childTnLst>
                                    <p:set>
                                      <p:cBhvr>
                                        <p:cTn id="284" dur="1" fill="hold">
                                          <p:stCondLst>
                                            <p:cond delay="0"/>
                                          </p:stCondLst>
                                        </p:cTn>
                                        <p:tgtEl>
                                          <p:spTgt spid="55"/>
                                        </p:tgtEl>
                                        <p:attrNameLst>
                                          <p:attrName>style.visibility</p:attrName>
                                        </p:attrNameLst>
                                      </p:cBhvr>
                                      <p:to>
                                        <p:strVal val="visible"/>
                                      </p:to>
                                    </p:set>
                                    <p:animEffect transition="in" filter="fade">
                                      <p:cBhvr>
                                        <p:cTn id="285" dur="500"/>
                                        <p:tgtEl>
                                          <p:spTgt spid="55"/>
                                        </p:tgtEl>
                                      </p:cBhvr>
                                    </p:animEffect>
                                  </p:childTnLst>
                                </p:cTn>
                              </p:par>
                              <p:par>
                                <p:cTn id="286" presetID="10" presetClass="entr" presetSubtype="0" fill="hold" grpId="0" nodeType="withEffect">
                                  <p:stCondLst>
                                    <p:cond delay="0"/>
                                  </p:stCondLst>
                                  <p:childTnLst>
                                    <p:set>
                                      <p:cBhvr>
                                        <p:cTn id="287" dur="1" fill="hold">
                                          <p:stCondLst>
                                            <p:cond delay="0"/>
                                          </p:stCondLst>
                                        </p:cTn>
                                        <p:tgtEl>
                                          <p:spTgt spid="54"/>
                                        </p:tgtEl>
                                        <p:attrNameLst>
                                          <p:attrName>style.visibility</p:attrName>
                                        </p:attrNameLst>
                                      </p:cBhvr>
                                      <p:to>
                                        <p:strVal val="visible"/>
                                      </p:to>
                                    </p:set>
                                    <p:animEffect transition="in" filter="fade">
                                      <p:cBhvr>
                                        <p:cTn id="288" dur="500"/>
                                        <p:tgtEl>
                                          <p:spTgt spid="54"/>
                                        </p:tgtEl>
                                      </p:cBhvr>
                                    </p:animEffect>
                                  </p:childTnLst>
                                </p:cTn>
                              </p:par>
                            </p:childTnLst>
                          </p:cTn>
                        </p:par>
                        <p:par>
                          <p:cTn id="289" fill="hold">
                            <p:stCondLst>
                              <p:cond delay="12500"/>
                            </p:stCondLst>
                            <p:childTnLst>
                              <p:par>
                                <p:cTn id="290" presetID="22" presetClass="entr" presetSubtype="8" fill="hold" nodeType="afterEffect">
                                  <p:stCondLst>
                                    <p:cond delay="0"/>
                                  </p:stCondLst>
                                  <p:childTnLst>
                                    <p:set>
                                      <p:cBhvr>
                                        <p:cTn id="291" dur="1" fill="hold">
                                          <p:stCondLst>
                                            <p:cond delay="0"/>
                                          </p:stCondLst>
                                        </p:cTn>
                                        <p:tgtEl>
                                          <p:spTgt spid="28"/>
                                        </p:tgtEl>
                                        <p:attrNameLst>
                                          <p:attrName>style.visibility</p:attrName>
                                        </p:attrNameLst>
                                      </p:cBhvr>
                                      <p:to>
                                        <p:strVal val="visible"/>
                                      </p:to>
                                    </p:set>
                                    <p:animEffect transition="in" filter="wipe(left)">
                                      <p:cBhvr>
                                        <p:cTn id="292" dur="500"/>
                                        <p:tgtEl>
                                          <p:spTgt spid="28"/>
                                        </p:tgtEl>
                                      </p:cBhvr>
                                    </p:animEffect>
                                  </p:childTnLst>
                                </p:cTn>
                              </p:par>
                              <p:par>
                                <p:cTn id="293" presetID="22" presetClass="entr" presetSubtype="8" fill="hold" nodeType="withEffect">
                                  <p:stCondLst>
                                    <p:cond delay="0"/>
                                  </p:stCondLst>
                                  <p:childTnLst>
                                    <p:set>
                                      <p:cBhvr>
                                        <p:cTn id="294" dur="1" fill="hold">
                                          <p:stCondLst>
                                            <p:cond delay="0"/>
                                          </p:stCondLst>
                                        </p:cTn>
                                        <p:tgtEl>
                                          <p:spTgt spid="29"/>
                                        </p:tgtEl>
                                        <p:attrNameLst>
                                          <p:attrName>style.visibility</p:attrName>
                                        </p:attrNameLst>
                                      </p:cBhvr>
                                      <p:to>
                                        <p:strVal val="visible"/>
                                      </p:to>
                                    </p:set>
                                    <p:animEffect transition="in" filter="wipe(left)">
                                      <p:cBhvr>
                                        <p:cTn id="295" dur="500"/>
                                        <p:tgtEl>
                                          <p:spTgt spid="29"/>
                                        </p:tgtEl>
                                      </p:cBhvr>
                                    </p:animEffect>
                                  </p:childTnLst>
                                </p:cTn>
                              </p:par>
                              <p:par>
                                <p:cTn id="296" presetID="22" presetClass="entr" presetSubtype="8" fill="hold" nodeType="withEffect">
                                  <p:stCondLst>
                                    <p:cond delay="0"/>
                                  </p:stCondLst>
                                  <p:childTnLst>
                                    <p:set>
                                      <p:cBhvr>
                                        <p:cTn id="297" dur="1" fill="hold">
                                          <p:stCondLst>
                                            <p:cond delay="0"/>
                                          </p:stCondLst>
                                        </p:cTn>
                                        <p:tgtEl>
                                          <p:spTgt spid="30"/>
                                        </p:tgtEl>
                                        <p:attrNameLst>
                                          <p:attrName>style.visibility</p:attrName>
                                        </p:attrNameLst>
                                      </p:cBhvr>
                                      <p:to>
                                        <p:strVal val="visible"/>
                                      </p:to>
                                    </p:set>
                                    <p:animEffect transition="in" filter="wipe(left)">
                                      <p:cBhvr>
                                        <p:cTn id="298" dur="500"/>
                                        <p:tgtEl>
                                          <p:spTgt spid="30"/>
                                        </p:tgtEl>
                                      </p:cBhvr>
                                    </p:animEffect>
                                  </p:childTnLst>
                                </p:cTn>
                              </p:par>
                              <p:par>
                                <p:cTn id="299" presetID="22" presetClass="entr" presetSubtype="8" fill="hold" nodeType="withEffect">
                                  <p:stCondLst>
                                    <p:cond delay="0"/>
                                  </p:stCondLst>
                                  <p:childTnLst>
                                    <p:set>
                                      <p:cBhvr>
                                        <p:cTn id="300" dur="1" fill="hold">
                                          <p:stCondLst>
                                            <p:cond delay="0"/>
                                          </p:stCondLst>
                                        </p:cTn>
                                        <p:tgtEl>
                                          <p:spTgt spid="57"/>
                                        </p:tgtEl>
                                        <p:attrNameLst>
                                          <p:attrName>style.visibility</p:attrName>
                                        </p:attrNameLst>
                                      </p:cBhvr>
                                      <p:to>
                                        <p:strVal val="visible"/>
                                      </p:to>
                                    </p:set>
                                    <p:animEffect transition="in" filter="wipe(left)">
                                      <p:cBhvr>
                                        <p:cTn id="301" dur="500"/>
                                        <p:tgtEl>
                                          <p:spTgt spid="57"/>
                                        </p:tgtEl>
                                      </p:cBhvr>
                                    </p:animEffect>
                                  </p:childTnLst>
                                </p:cTn>
                              </p:par>
                              <p:par>
                                <p:cTn id="302" presetID="22" presetClass="entr" presetSubtype="8" fill="hold" nodeType="withEffect">
                                  <p:stCondLst>
                                    <p:cond delay="0"/>
                                  </p:stCondLst>
                                  <p:childTnLst>
                                    <p:set>
                                      <p:cBhvr>
                                        <p:cTn id="303" dur="1" fill="hold">
                                          <p:stCondLst>
                                            <p:cond delay="0"/>
                                          </p:stCondLst>
                                        </p:cTn>
                                        <p:tgtEl>
                                          <p:spTgt spid="58"/>
                                        </p:tgtEl>
                                        <p:attrNameLst>
                                          <p:attrName>style.visibility</p:attrName>
                                        </p:attrNameLst>
                                      </p:cBhvr>
                                      <p:to>
                                        <p:strVal val="visible"/>
                                      </p:to>
                                    </p:set>
                                    <p:animEffect transition="in" filter="wipe(left)">
                                      <p:cBhvr>
                                        <p:cTn id="304" dur="500"/>
                                        <p:tgtEl>
                                          <p:spTgt spid="58"/>
                                        </p:tgtEl>
                                      </p:cBhvr>
                                    </p:animEffect>
                                  </p:childTnLst>
                                </p:cTn>
                              </p:par>
                              <p:par>
                                <p:cTn id="305" presetID="22" presetClass="entr" presetSubtype="8" fill="hold" nodeType="withEffect">
                                  <p:stCondLst>
                                    <p:cond delay="0"/>
                                  </p:stCondLst>
                                  <p:childTnLst>
                                    <p:set>
                                      <p:cBhvr>
                                        <p:cTn id="306" dur="1" fill="hold">
                                          <p:stCondLst>
                                            <p:cond delay="0"/>
                                          </p:stCondLst>
                                        </p:cTn>
                                        <p:tgtEl>
                                          <p:spTgt spid="59"/>
                                        </p:tgtEl>
                                        <p:attrNameLst>
                                          <p:attrName>style.visibility</p:attrName>
                                        </p:attrNameLst>
                                      </p:cBhvr>
                                      <p:to>
                                        <p:strVal val="visible"/>
                                      </p:to>
                                    </p:set>
                                    <p:animEffect transition="in" filter="wipe(left)">
                                      <p:cBhvr>
                                        <p:cTn id="307" dur="500"/>
                                        <p:tgtEl>
                                          <p:spTgt spid="5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6" grpId="0"/>
      <p:bldP spid="7" grpId="0"/>
      <p:bldP spid="8" grpId="0"/>
      <p:bldP spid="12" grpId="0"/>
      <p:bldP spid="13" grpId="0"/>
      <p:bldP spid="14" grpId="0"/>
      <p:bldP spid="18" grpId="0"/>
      <p:bldP spid="19" grpId="0"/>
      <p:bldP spid="20" grpId="0"/>
      <p:bldP spid="25" grpId="0"/>
      <p:bldP spid="26" grpId="0"/>
      <p:bldP spid="27" grpId="0"/>
      <p:bldP spid="31" grpId="0"/>
      <p:bldP spid="35" grpId="0"/>
      <p:bldP spid="36" grpId="0"/>
      <p:bldP spid="37" grpId="0"/>
      <p:bldP spid="41" grpId="0"/>
      <p:bldP spid="42" grpId="0"/>
      <p:bldP spid="43" grpId="0"/>
      <p:bldP spid="47" grpId="0"/>
      <p:bldP spid="48" grpId="0"/>
      <p:bldP spid="49" grpId="0"/>
      <p:bldP spid="54" grpId="0"/>
      <p:bldP spid="55" grpId="0"/>
      <p:bldP spid="56" grpId="0"/>
      <p:bldP spid="60" grpId="0" animBg="1"/>
      <p:bldP spid="61" grpId="0" animBg="1"/>
      <p:bldP spid="62" grpId="0" animBg="1"/>
      <p:bldP spid="63" grpId="0" animBg="1"/>
      <p:bldP spid="64" grpId="0" animBg="1"/>
      <p:bldP spid="65" grpId="0" animBg="1"/>
      <p:bldP spid="66" grpId="0" animBg="1"/>
      <p:bldP spid="67" grpId="0" animBg="1"/>
      <p:bldP spid="68" grpId="0"/>
      <p:bldP spid="69" grpId="0"/>
      <p:bldP spid="70" grpId="0"/>
      <p:bldP spid="71" grpId="0"/>
      <p:bldP spid="72" grpId="0"/>
      <p:bldP spid="73" grpId="0"/>
      <p:bldP spid="74" grpId="0"/>
      <p:bldP spid="75" grpId="0"/>
      <p:bldP spid="76" grpId="0" animBg="1"/>
      <p:bldP spid="77" grpId="0" animBg="1"/>
      <p:bldP spid="78" grpId="0" animBg="1"/>
      <p:bldP spid="79" grpId="0" animBg="1"/>
      <p:bldP spid="80" grpId="0" animBg="1"/>
      <p:bldP spid="81" grpId="0" animBg="1"/>
      <p:bldP spid="82" grpId="0" animBg="1"/>
      <p:bldP spid="83" grpId="0" animBg="1"/>
    </p:bldLst>
  </p:timing>
</p:sld>
</file>

<file path=ppt/slides/slide7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3">
            <a:extLst>
              <a:ext uri="{FF2B5EF4-FFF2-40B4-BE49-F238E27FC236}">
                <a16:creationId xmlns:a16="http://schemas.microsoft.com/office/drawing/2014/main" id="{1EF732E5-5ACD-4CB8-9804-84BE8BECED4D}"/>
              </a:ext>
            </a:extLst>
          </p:cNvPr>
          <p:cNvSpPr>
            <a:spLocks/>
          </p:cNvSpPr>
          <p:nvPr/>
        </p:nvSpPr>
        <p:spPr bwMode="auto">
          <a:xfrm>
            <a:off x="9296401" y="2559049"/>
            <a:ext cx="1123950" cy="1739901"/>
          </a:xfrm>
          <a:custGeom>
            <a:avLst/>
            <a:gdLst>
              <a:gd name="T0" fmla="*/ 162 w 708"/>
              <a:gd name="T1" fmla="*/ 1096 h 1096"/>
              <a:gd name="T2" fmla="*/ 0 w 708"/>
              <a:gd name="T3" fmla="*/ 933 h 1096"/>
              <a:gd name="T4" fmla="*/ 383 w 708"/>
              <a:gd name="T5" fmla="*/ 548 h 1096"/>
              <a:gd name="T6" fmla="*/ 0 w 708"/>
              <a:gd name="T7" fmla="*/ 164 h 1096"/>
              <a:gd name="T8" fmla="*/ 162 w 708"/>
              <a:gd name="T9" fmla="*/ 0 h 1096"/>
              <a:gd name="T10" fmla="*/ 708 w 708"/>
              <a:gd name="T11" fmla="*/ 548 h 1096"/>
              <a:gd name="T12" fmla="*/ 162 w 708"/>
              <a:gd name="T13" fmla="*/ 1096 h 1096"/>
            </a:gdLst>
            <a:ahLst/>
            <a:cxnLst>
              <a:cxn ang="0">
                <a:pos x="T0" y="T1"/>
              </a:cxn>
              <a:cxn ang="0">
                <a:pos x="T2" y="T3"/>
              </a:cxn>
              <a:cxn ang="0">
                <a:pos x="T4" y="T5"/>
              </a:cxn>
              <a:cxn ang="0">
                <a:pos x="T6" y="T7"/>
              </a:cxn>
              <a:cxn ang="0">
                <a:pos x="T8" y="T9"/>
              </a:cxn>
              <a:cxn ang="0">
                <a:pos x="T10" y="T11"/>
              </a:cxn>
              <a:cxn ang="0">
                <a:pos x="T12" y="T13"/>
              </a:cxn>
            </a:cxnLst>
            <a:rect l="0" t="0" r="r" b="b"/>
            <a:pathLst>
              <a:path w="708" h="1096">
                <a:moveTo>
                  <a:pt x="162" y="1096"/>
                </a:moveTo>
                <a:lnTo>
                  <a:pt x="0" y="933"/>
                </a:lnTo>
                <a:lnTo>
                  <a:pt x="383" y="548"/>
                </a:lnTo>
                <a:lnTo>
                  <a:pt x="0" y="164"/>
                </a:lnTo>
                <a:lnTo>
                  <a:pt x="162" y="0"/>
                </a:lnTo>
                <a:lnTo>
                  <a:pt x="708" y="548"/>
                </a:lnTo>
                <a:lnTo>
                  <a:pt x="162" y="1096"/>
                </a:lnTo>
                <a:close/>
              </a:path>
            </a:pathLst>
          </a:custGeom>
          <a:solidFill>
            <a:schemeClr val="accent1">
              <a:lumMod val="10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Arial"/>
              <a:cs typeface="+mn-ea"/>
              <a:sym typeface="+mn-lt"/>
            </a:endParaRPr>
          </a:p>
        </p:txBody>
      </p:sp>
      <p:sp>
        <p:nvSpPr>
          <p:cNvPr id="3" name="Freeform 4">
            <a:extLst>
              <a:ext uri="{FF2B5EF4-FFF2-40B4-BE49-F238E27FC236}">
                <a16:creationId xmlns:a16="http://schemas.microsoft.com/office/drawing/2014/main" id="{157CA3C9-C706-4168-BCBB-6992A4303685}"/>
              </a:ext>
            </a:extLst>
          </p:cNvPr>
          <p:cNvSpPr>
            <a:spLocks/>
          </p:cNvSpPr>
          <p:nvPr/>
        </p:nvSpPr>
        <p:spPr bwMode="auto">
          <a:xfrm>
            <a:off x="7507288" y="2559049"/>
            <a:ext cx="1123950" cy="1739901"/>
          </a:xfrm>
          <a:custGeom>
            <a:avLst/>
            <a:gdLst>
              <a:gd name="T0" fmla="*/ 162 w 708"/>
              <a:gd name="T1" fmla="*/ 1096 h 1096"/>
              <a:gd name="T2" fmla="*/ 0 w 708"/>
              <a:gd name="T3" fmla="*/ 933 h 1096"/>
              <a:gd name="T4" fmla="*/ 383 w 708"/>
              <a:gd name="T5" fmla="*/ 548 h 1096"/>
              <a:gd name="T6" fmla="*/ 0 w 708"/>
              <a:gd name="T7" fmla="*/ 164 h 1096"/>
              <a:gd name="T8" fmla="*/ 162 w 708"/>
              <a:gd name="T9" fmla="*/ 0 h 1096"/>
              <a:gd name="T10" fmla="*/ 708 w 708"/>
              <a:gd name="T11" fmla="*/ 548 h 1096"/>
              <a:gd name="T12" fmla="*/ 162 w 708"/>
              <a:gd name="T13" fmla="*/ 1096 h 1096"/>
            </a:gdLst>
            <a:ahLst/>
            <a:cxnLst>
              <a:cxn ang="0">
                <a:pos x="T0" y="T1"/>
              </a:cxn>
              <a:cxn ang="0">
                <a:pos x="T2" y="T3"/>
              </a:cxn>
              <a:cxn ang="0">
                <a:pos x="T4" y="T5"/>
              </a:cxn>
              <a:cxn ang="0">
                <a:pos x="T6" y="T7"/>
              </a:cxn>
              <a:cxn ang="0">
                <a:pos x="T8" y="T9"/>
              </a:cxn>
              <a:cxn ang="0">
                <a:pos x="T10" y="T11"/>
              </a:cxn>
              <a:cxn ang="0">
                <a:pos x="T12" y="T13"/>
              </a:cxn>
            </a:cxnLst>
            <a:rect l="0" t="0" r="r" b="b"/>
            <a:pathLst>
              <a:path w="708" h="1096">
                <a:moveTo>
                  <a:pt x="162" y="1096"/>
                </a:moveTo>
                <a:lnTo>
                  <a:pt x="0" y="933"/>
                </a:lnTo>
                <a:lnTo>
                  <a:pt x="383" y="548"/>
                </a:lnTo>
                <a:lnTo>
                  <a:pt x="0" y="164"/>
                </a:lnTo>
                <a:lnTo>
                  <a:pt x="162" y="0"/>
                </a:lnTo>
                <a:lnTo>
                  <a:pt x="708" y="548"/>
                </a:lnTo>
                <a:lnTo>
                  <a:pt x="162" y="1096"/>
                </a:lnTo>
                <a:close/>
              </a:path>
            </a:pathLst>
          </a:custGeom>
          <a:solidFill>
            <a:schemeClr val="accent1">
              <a:lumMod val="10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Arial"/>
              <a:cs typeface="+mn-ea"/>
              <a:sym typeface="+mn-lt"/>
            </a:endParaRPr>
          </a:p>
        </p:txBody>
      </p:sp>
      <p:sp>
        <p:nvSpPr>
          <p:cNvPr id="4" name="Freeform 5">
            <a:extLst>
              <a:ext uri="{FF2B5EF4-FFF2-40B4-BE49-F238E27FC236}">
                <a16:creationId xmlns:a16="http://schemas.microsoft.com/office/drawing/2014/main" id="{B5BF2AE5-ED5D-4BCD-AE79-EA256C827596}"/>
              </a:ext>
            </a:extLst>
          </p:cNvPr>
          <p:cNvSpPr>
            <a:spLocks/>
          </p:cNvSpPr>
          <p:nvPr/>
        </p:nvSpPr>
        <p:spPr bwMode="auto">
          <a:xfrm>
            <a:off x="2190751" y="2559049"/>
            <a:ext cx="1123950" cy="1739901"/>
          </a:xfrm>
          <a:custGeom>
            <a:avLst/>
            <a:gdLst>
              <a:gd name="T0" fmla="*/ 162 w 708"/>
              <a:gd name="T1" fmla="*/ 1096 h 1096"/>
              <a:gd name="T2" fmla="*/ 0 w 708"/>
              <a:gd name="T3" fmla="*/ 933 h 1096"/>
              <a:gd name="T4" fmla="*/ 383 w 708"/>
              <a:gd name="T5" fmla="*/ 548 h 1096"/>
              <a:gd name="T6" fmla="*/ 0 w 708"/>
              <a:gd name="T7" fmla="*/ 164 h 1096"/>
              <a:gd name="T8" fmla="*/ 162 w 708"/>
              <a:gd name="T9" fmla="*/ 0 h 1096"/>
              <a:gd name="T10" fmla="*/ 708 w 708"/>
              <a:gd name="T11" fmla="*/ 548 h 1096"/>
              <a:gd name="T12" fmla="*/ 162 w 708"/>
              <a:gd name="T13" fmla="*/ 1096 h 1096"/>
            </a:gdLst>
            <a:ahLst/>
            <a:cxnLst>
              <a:cxn ang="0">
                <a:pos x="T0" y="T1"/>
              </a:cxn>
              <a:cxn ang="0">
                <a:pos x="T2" y="T3"/>
              </a:cxn>
              <a:cxn ang="0">
                <a:pos x="T4" y="T5"/>
              </a:cxn>
              <a:cxn ang="0">
                <a:pos x="T6" y="T7"/>
              </a:cxn>
              <a:cxn ang="0">
                <a:pos x="T8" y="T9"/>
              </a:cxn>
              <a:cxn ang="0">
                <a:pos x="T10" y="T11"/>
              </a:cxn>
              <a:cxn ang="0">
                <a:pos x="T12" y="T13"/>
              </a:cxn>
            </a:cxnLst>
            <a:rect l="0" t="0" r="r" b="b"/>
            <a:pathLst>
              <a:path w="708" h="1096">
                <a:moveTo>
                  <a:pt x="162" y="1096"/>
                </a:moveTo>
                <a:lnTo>
                  <a:pt x="0" y="933"/>
                </a:lnTo>
                <a:lnTo>
                  <a:pt x="383" y="548"/>
                </a:lnTo>
                <a:lnTo>
                  <a:pt x="0" y="164"/>
                </a:lnTo>
                <a:lnTo>
                  <a:pt x="162" y="0"/>
                </a:lnTo>
                <a:lnTo>
                  <a:pt x="708" y="548"/>
                </a:lnTo>
                <a:lnTo>
                  <a:pt x="162" y="1096"/>
                </a:lnTo>
                <a:close/>
              </a:path>
            </a:pathLst>
          </a:custGeom>
          <a:solidFill>
            <a:schemeClr val="accent1">
              <a:lumMod val="10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Arial"/>
              <a:cs typeface="+mn-ea"/>
              <a:sym typeface="+mn-lt"/>
            </a:endParaRPr>
          </a:p>
        </p:txBody>
      </p:sp>
      <p:cxnSp>
        <p:nvCxnSpPr>
          <p:cNvPr id="5" name="Straight Connector 6">
            <a:extLst>
              <a:ext uri="{FF2B5EF4-FFF2-40B4-BE49-F238E27FC236}">
                <a16:creationId xmlns:a16="http://schemas.microsoft.com/office/drawing/2014/main" id="{68952BAB-15DE-4D44-AB69-AE490B646C69}"/>
              </a:ext>
            </a:extLst>
          </p:cNvPr>
          <p:cNvCxnSpPr/>
          <p:nvPr/>
        </p:nvCxnSpPr>
        <p:spPr>
          <a:xfrm>
            <a:off x="1881187" y="2263094"/>
            <a:ext cx="1057275" cy="1057275"/>
          </a:xfrm>
          <a:prstGeom prst="line">
            <a:avLst/>
          </a:prstGeom>
          <a:ln w="50800">
            <a:solidFill>
              <a:schemeClr val="accent1">
                <a:lumMod val="100000"/>
              </a:schemeClr>
            </a:solidFill>
          </a:ln>
        </p:spPr>
        <p:style>
          <a:lnRef idx="1">
            <a:schemeClr val="accent1"/>
          </a:lnRef>
          <a:fillRef idx="0">
            <a:schemeClr val="accent1"/>
          </a:fillRef>
          <a:effectRef idx="0">
            <a:schemeClr val="accent1"/>
          </a:effectRef>
          <a:fontRef idx="minor">
            <a:schemeClr val="tx1"/>
          </a:fontRef>
        </p:style>
      </p:cxnSp>
      <p:cxnSp>
        <p:nvCxnSpPr>
          <p:cNvPr id="6" name="Straight Connector 7">
            <a:extLst>
              <a:ext uri="{FF2B5EF4-FFF2-40B4-BE49-F238E27FC236}">
                <a16:creationId xmlns:a16="http://schemas.microsoft.com/office/drawing/2014/main" id="{40992A87-C142-4AE6-86A5-AA02A2200493}"/>
              </a:ext>
            </a:extLst>
          </p:cNvPr>
          <p:cNvCxnSpPr/>
          <p:nvPr/>
        </p:nvCxnSpPr>
        <p:spPr>
          <a:xfrm flipH="1">
            <a:off x="1890713" y="3540126"/>
            <a:ext cx="1057275" cy="1057275"/>
          </a:xfrm>
          <a:prstGeom prst="line">
            <a:avLst/>
          </a:prstGeom>
          <a:ln w="50800">
            <a:solidFill>
              <a:schemeClr val="accent1">
                <a:lumMod val="100000"/>
              </a:schemeClr>
            </a:solidFill>
          </a:ln>
        </p:spPr>
        <p:style>
          <a:lnRef idx="1">
            <a:schemeClr val="accent1"/>
          </a:lnRef>
          <a:fillRef idx="0">
            <a:schemeClr val="accent1"/>
          </a:fillRef>
          <a:effectRef idx="0">
            <a:schemeClr val="accent1"/>
          </a:effectRef>
          <a:fontRef idx="minor">
            <a:schemeClr val="tx1"/>
          </a:fontRef>
        </p:style>
      </p:cxnSp>
      <p:cxnSp>
        <p:nvCxnSpPr>
          <p:cNvPr id="7" name="Straight Connector 8">
            <a:extLst>
              <a:ext uri="{FF2B5EF4-FFF2-40B4-BE49-F238E27FC236}">
                <a16:creationId xmlns:a16="http://schemas.microsoft.com/office/drawing/2014/main" id="{70069845-2D58-4E8E-A88A-EE83DE6A369E}"/>
              </a:ext>
            </a:extLst>
          </p:cNvPr>
          <p:cNvCxnSpPr/>
          <p:nvPr/>
        </p:nvCxnSpPr>
        <p:spPr>
          <a:xfrm>
            <a:off x="3640139" y="2261845"/>
            <a:ext cx="1057275" cy="1057275"/>
          </a:xfrm>
          <a:prstGeom prst="line">
            <a:avLst/>
          </a:prstGeom>
          <a:ln w="50800">
            <a:solidFill>
              <a:schemeClr val="accent1">
                <a:lumMod val="100000"/>
              </a:schemeClr>
            </a:solidFill>
          </a:ln>
        </p:spPr>
        <p:style>
          <a:lnRef idx="1">
            <a:schemeClr val="accent1"/>
          </a:lnRef>
          <a:fillRef idx="0">
            <a:schemeClr val="accent1"/>
          </a:fillRef>
          <a:effectRef idx="0">
            <a:schemeClr val="accent1"/>
          </a:effectRef>
          <a:fontRef idx="minor">
            <a:schemeClr val="tx1"/>
          </a:fontRef>
        </p:style>
      </p:cxnSp>
      <p:cxnSp>
        <p:nvCxnSpPr>
          <p:cNvPr id="8" name="Straight Connector 9">
            <a:extLst>
              <a:ext uri="{FF2B5EF4-FFF2-40B4-BE49-F238E27FC236}">
                <a16:creationId xmlns:a16="http://schemas.microsoft.com/office/drawing/2014/main" id="{3E056CEB-30D6-433A-86C4-6824F9D1216B}"/>
              </a:ext>
            </a:extLst>
          </p:cNvPr>
          <p:cNvCxnSpPr/>
          <p:nvPr/>
        </p:nvCxnSpPr>
        <p:spPr>
          <a:xfrm flipH="1">
            <a:off x="3649665" y="3538877"/>
            <a:ext cx="1057275" cy="1057275"/>
          </a:xfrm>
          <a:prstGeom prst="line">
            <a:avLst/>
          </a:prstGeom>
          <a:ln w="50800">
            <a:solidFill>
              <a:schemeClr val="accent1">
                <a:lumMod val="100000"/>
              </a:schemeClr>
            </a:solidFill>
          </a:ln>
        </p:spPr>
        <p:style>
          <a:lnRef idx="1">
            <a:schemeClr val="accent1"/>
          </a:lnRef>
          <a:fillRef idx="0">
            <a:schemeClr val="accent1"/>
          </a:fillRef>
          <a:effectRef idx="0">
            <a:schemeClr val="accent1"/>
          </a:effectRef>
          <a:fontRef idx="minor">
            <a:schemeClr val="tx1"/>
          </a:fontRef>
        </p:style>
      </p:cxnSp>
      <p:cxnSp>
        <p:nvCxnSpPr>
          <p:cNvPr id="9" name="Straight Connector 10">
            <a:extLst>
              <a:ext uri="{FF2B5EF4-FFF2-40B4-BE49-F238E27FC236}">
                <a16:creationId xmlns:a16="http://schemas.microsoft.com/office/drawing/2014/main" id="{A13F66BD-8F08-4D06-A65C-F6232CED1DA8}"/>
              </a:ext>
            </a:extLst>
          </p:cNvPr>
          <p:cNvCxnSpPr/>
          <p:nvPr/>
        </p:nvCxnSpPr>
        <p:spPr>
          <a:xfrm>
            <a:off x="5408617" y="2263094"/>
            <a:ext cx="1057275" cy="1057275"/>
          </a:xfrm>
          <a:prstGeom prst="line">
            <a:avLst/>
          </a:prstGeom>
          <a:ln w="50800">
            <a:solidFill>
              <a:schemeClr val="accent1">
                <a:lumMod val="100000"/>
              </a:schemeClr>
            </a:solidFill>
          </a:ln>
        </p:spPr>
        <p:style>
          <a:lnRef idx="1">
            <a:schemeClr val="accent1"/>
          </a:lnRef>
          <a:fillRef idx="0">
            <a:schemeClr val="accent1"/>
          </a:fillRef>
          <a:effectRef idx="0">
            <a:schemeClr val="accent1"/>
          </a:effectRef>
          <a:fontRef idx="minor">
            <a:schemeClr val="tx1"/>
          </a:fontRef>
        </p:style>
      </p:cxnSp>
      <p:cxnSp>
        <p:nvCxnSpPr>
          <p:cNvPr id="10" name="Straight Connector 11">
            <a:extLst>
              <a:ext uri="{FF2B5EF4-FFF2-40B4-BE49-F238E27FC236}">
                <a16:creationId xmlns:a16="http://schemas.microsoft.com/office/drawing/2014/main" id="{ED285723-9442-4C4A-AF51-EAABA562582D}"/>
              </a:ext>
            </a:extLst>
          </p:cNvPr>
          <p:cNvCxnSpPr/>
          <p:nvPr/>
        </p:nvCxnSpPr>
        <p:spPr>
          <a:xfrm flipH="1">
            <a:off x="5418143" y="3540126"/>
            <a:ext cx="1057275" cy="1057275"/>
          </a:xfrm>
          <a:prstGeom prst="line">
            <a:avLst/>
          </a:prstGeom>
          <a:ln w="50800">
            <a:solidFill>
              <a:schemeClr val="accent1">
                <a:lumMod val="100000"/>
              </a:scheme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2">
            <a:extLst>
              <a:ext uri="{FF2B5EF4-FFF2-40B4-BE49-F238E27FC236}">
                <a16:creationId xmlns:a16="http://schemas.microsoft.com/office/drawing/2014/main" id="{5361517D-7165-4E53-9A8B-0CDD610324F2}"/>
              </a:ext>
            </a:extLst>
          </p:cNvPr>
          <p:cNvCxnSpPr/>
          <p:nvPr/>
        </p:nvCxnSpPr>
        <p:spPr>
          <a:xfrm>
            <a:off x="7202494" y="2261845"/>
            <a:ext cx="1057275" cy="1057275"/>
          </a:xfrm>
          <a:prstGeom prst="line">
            <a:avLst/>
          </a:prstGeom>
          <a:ln w="50800">
            <a:solidFill>
              <a:schemeClr val="accent1">
                <a:lumMod val="100000"/>
              </a:schemeClr>
            </a:solidFill>
          </a:ln>
        </p:spPr>
        <p:style>
          <a:lnRef idx="1">
            <a:schemeClr val="accent1"/>
          </a:lnRef>
          <a:fillRef idx="0">
            <a:schemeClr val="accent1"/>
          </a:fillRef>
          <a:effectRef idx="0">
            <a:schemeClr val="accent1"/>
          </a:effectRef>
          <a:fontRef idx="minor">
            <a:schemeClr val="tx1"/>
          </a:fontRef>
        </p:style>
      </p:cxnSp>
      <p:cxnSp>
        <p:nvCxnSpPr>
          <p:cNvPr id="12" name="Straight Connector 13">
            <a:extLst>
              <a:ext uri="{FF2B5EF4-FFF2-40B4-BE49-F238E27FC236}">
                <a16:creationId xmlns:a16="http://schemas.microsoft.com/office/drawing/2014/main" id="{3FE855C6-C52A-4F78-8FD7-B1CFAD9B3889}"/>
              </a:ext>
            </a:extLst>
          </p:cNvPr>
          <p:cNvCxnSpPr/>
          <p:nvPr/>
        </p:nvCxnSpPr>
        <p:spPr>
          <a:xfrm flipH="1">
            <a:off x="7212020" y="3538877"/>
            <a:ext cx="1057275" cy="1057275"/>
          </a:xfrm>
          <a:prstGeom prst="line">
            <a:avLst/>
          </a:prstGeom>
          <a:ln w="50800">
            <a:solidFill>
              <a:schemeClr val="accent1">
                <a:lumMod val="100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4">
            <a:extLst>
              <a:ext uri="{FF2B5EF4-FFF2-40B4-BE49-F238E27FC236}">
                <a16:creationId xmlns:a16="http://schemas.microsoft.com/office/drawing/2014/main" id="{D5A29722-1596-4C26-8A46-94E8C7FF5A0D}"/>
              </a:ext>
            </a:extLst>
          </p:cNvPr>
          <p:cNvCxnSpPr/>
          <p:nvPr/>
        </p:nvCxnSpPr>
        <p:spPr>
          <a:xfrm>
            <a:off x="8924931" y="2261845"/>
            <a:ext cx="1057275" cy="1057275"/>
          </a:xfrm>
          <a:prstGeom prst="line">
            <a:avLst/>
          </a:prstGeom>
          <a:ln w="50800">
            <a:solidFill>
              <a:schemeClr val="accent1">
                <a:lumMod val="100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5">
            <a:extLst>
              <a:ext uri="{FF2B5EF4-FFF2-40B4-BE49-F238E27FC236}">
                <a16:creationId xmlns:a16="http://schemas.microsoft.com/office/drawing/2014/main" id="{BF736448-45A6-4710-82D6-9CBFE9BC4172}"/>
              </a:ext>
            </a:extLst>
          </p:cNvPr>
          <p:cNvCxnSpPr/>
          <p:nvPr/>
        </p:nvCxnSpPr>
        <p:spPr>
          <a:xfrm flipH="1">
            <a:off x="8934457" y="3538877"/>
            <a:ext cx="1057275" cy="1057275"/>
          </a:xfrm>
          <a:prstGeom prst="line">
            <a:avLst/>
          </a:prstGeom>
          <a:ln w="50800">
            <a:solidFill>
              <a:schemeClr val="accent1">
                <a:lumMod val="100000"/>
              </a:schemeClr>
            </a:solidFill>
          </a:ln>
        </p:spPr>
        <p:style>
          <a:lnRef idx="1">
            <a:schemeClr val="accent1"/>
          </a:lnRef>
          <a:fillRef idx="0">
            <a:schemeClr val="accent1"/>
          </a:fillRef>
          <a:effectRef idx="0">
            <a:schemeClr val="accent1"/>
          </a:effectRef>
          <a:fontRef idx="minor">
            <a:schemeClr val="tx1"/>
          </a:fontRef>
        </p:style>
      </p:cxnSp>
      <p:sp>
        <p:nvSpPr>
          <p:cNvPr id="15" name="Oval 16">
            <a:extLst>
              <a:ext uri="{FF2B5EF4-FFF2-40B4-BE49-F238E27FC236}">
                <a16:creationId xmlns:a16="http://schemas.microsoft.com/office/drawing/2014/main" id="{3D114F43-514A-4FDF-828B-E0195FD6A747}"/>
              </a:ext>
            </a:extLst>
          </p:cNvPr>
          <p:cNvSpPr/>
          <p:nvPr/>
        </p:nvSpPr>
        <p:spPr>
          <a:xfrm>
            <a:off x="1365649" y="4463941"/>
            <a:ext cx="550859" cy="550859"/>
          </a:xfrm>
          <a:prstGeom prst="ellipse">
            <a:avLst/>
          </a:prstGeom>
          <a:noFill/>
          <a:ln w="50800">
            <a:solidFill>
              <a:schemeClr val="accent1">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FFFFFF"/>
              </a:solidFill>
              <a:effectLst/>
              <a:uLnTx/>
              <a:uFillTx/>
              <a:latin typeface="Arial"/>
              <a:cs typeface="+mn-ea"/>
              <a:sym typeface="+mn-lt"/>
            </a:endParaRPr>
          </a:p>
        </p:txBody>
      </p:sp>
      <p:sp>
        <p:nvSpPr>
          <p:cNvPr id="16" name="Oval 17">
            <a:extLst>
              <a:ext uri="{FF2B5EF4-FFF2-40B4-BE49-F238E27FC236}">
                <a16:creationId xmlns:a16="http://schemas.microsoft.com/office/drawing/2014/main" id="{93625219-36EB-4F59-BB8F-6A6025234865}"/>
              </a:ext>
            </a:extLst>
          </p:cNvPr>
          <p:cNvSpPr/>
          <p:nvPr/>
        </p:nvSpPr>
        <p:spPr>
          <a:xfrm>
            <a:off x="1365649" y="1844677"/>
            <a:ext cx="550859" cy="550859"/>
          </a:xfrm>
          <a:prstGeom prst="ellipse">
            <a:avLst/>
          </a:prstGeom>
          <a:noFill/>
          <a:ln w="50800">
            <a:solidFill>
              <a:schemeClr val="accent1">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FFFFFF"/>
              </a:solidFill>
              <a:effectLst/>
              <a:uLnTx/>
              <a:uFillTx/>
              <a:latin typeface="Arial"/>
              <a:cs typeface="+mn-ea"/>
              <a:sym typeface="+mn-lt"/>
            </a:endParaRPr>
          </a:p>
        </p:txBody>
      </p:sp>
      <p:sp>
        <p:nvSpPr>
          <p:cNvPr id="17" name="Freeform 18">
            <a:extLst>
              <a:ext uri="{FF2B5EF4-FFF2-40B4-BE49-F238E27FC236}">
                <a16:creationId xmlns:a16="http://schemas.microsoft.com/office/drawing/2014/main" id="{05D03B16-8C54-44F5-80EB-F4F2465A8813}"/>
              </a:ext>
            </a:extLst>
          </p:cNvPr>
          <p:cNvSpPr>
            <a:spLocks/>
          </p:cNvSpPr>
          <p:nvPr/>
        </p:nvSpPr>
        <p:spPr bwMode="auto">
          <a:xfrm>
            <a:off x="3951288" y="2559049"/>
            <a:ext cx="1123950" cy="1739901"/>
          </a:xfrm>
          <a:custGeom>
            <a:avLst/>
            <a:gdLst>
              <a:gd name="T0" fmla="*/ 162 w 708"/>
              <a:gd name="T1" fmla="*/ 1096 h 1096"/>
              <a:gd name="T2" fmla="*/ 0 w 708"/>
              <a:gd name="T3" fmla="*/ 933 h 1096"/>
              <a:gd name="T4" fmla="*/ 383 w 708"/>
              <a:gd name="T5" fmla="*/ 548 h 1096"/>
              <a:gd name="T6" fmla="*/ 0 w 708"/>
              <a:gd name="T7" fmla="*/ 164 h 1096"/>
              <a:gd name="T8" fmla="*/ 162 w 708"/>
              <a:gd name="T9" fmla="*/ 0 h 1096"/>
              <a:gd name="T10" fmla="*/ 708 w 708"/>
              <a:gd name="T11" fmla="*/ 548 h 1096"/>
              <a:gd name="T12" fmla="*/ 162 w 708"/>
              <a:gd name="T13" fmla="*/ 1096 h 1096"/>
            </a:gdLst>
            <a:ahLst/>
            <a:cxnLst>
              <a:cxn ang="0">
                <a:pos x="T0" y="T1"/>
              </a:cxn>
              <a:cxn ang="0">
                <a:pos x="T2" y="T3"/>
              </a:cxn>
              <a:cxn ang="0">
                <a:pos x="T4" y="T5"/>
              </a:cxn>
              <a:cxn ang="0">
                <a:pos x="T6" y="T7"/>
              </a:cxn>
              <a:cxn ang="0">
                <a:pos x="T8" y="T9"/>
              </a:cxn>
              <a:cxn ang="0">
                <a:pos x="T10" y="T11"/>
              </a:cxn>
              <a:cxn ang="0">
                <a:pos x="T12" y="T13"/>
              </a:cxn>
            </a:cxnLst>
            <a:rect l="0" t="0" r="r" b="b"/>
            <a:pathLst>
              <a:path w="708" h="1096">
                <a:moveTo>
                  <a:pt x="162" y="1096"/>
                </a:moveTo>
                <a:lnTo>
                  <a:pt x="0" y="933"/>
                </a:lnTo>
                <a:lnTo>
                  <a:pt x="383" y="548"/>
                </a:lnTo>
                <a:lnTo>
                  <a:pt x="0" y="164"/>
                </a:lnTo>
                <a:lnTo>
                  <a:pt x="162" y="0"/>
                </a:lnTo>
                <a:lnTo>
                  <a:pt x="708" y="548"/>
                </a:lnTo>
                <a:lnTo>
                  <a:pt x="162" y="1096"/>
                </a:lnTo>
                <a:close/>
              </a:path>
            </a:pathLst>
          </a:custGeom>
          <a:solidFill>
            <a:schemeClr val="accent1">
              <a:lumMod val="10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Arial"/>
              <a:cs typeface="+mn-ea"/>
              <a:sym typeface="+mn-lt"/>
            </a:endParaRPr>
          </a:p>
        </p:txBody>
      </p:sp>
      <p:sp>
        <p:nvSpPr>
          <p:cNvPr id="18" name="Freeform 19">
            <a:extLst>
              <a:ext uri="{FF2B5EF4-FFF2-40B4-BE49-F238E27FC236}">
                <a16:creationId xmlns:a16="http://schemas.microsoft.com/office/drawing/2014/main" id="{7662C888-5579-46AB-95A1-CB16DC05145B}"/>
              </a:ext>
            </a:extLst>
          </p:cNvPr>
          <p:cNvSpPr>
            <a:spLocks/>
          </p:cNvSpPr>
          <p:nvPr/>
        </p:nvSpPr>
        <p:spPr bwMode="auto">
          <a:xfrm>
            <a:off x="5711826" y="2559049"/>
            <a:ext cx="1123950" cy="1739901"/>
          </a:xfrm>
          <a:custGeom>
            <a:avLst/>
            <a:gdLst>
              <a:gd name="T0" fmla="*/ 162 w 708"/>
              <a:gd name="T1" fmla="*/ 1096 h 1096"/>
              <a:gd name="T2" fmla="*/ 0 w 708"/>
              <a:gd name="T3" fmla="*/ 933 h 1096"/>
              <a:gd name="T4" fmla="*/ 383 w 708"/>
              <a:gd name="T5" fmla="*/ 548 h 1096"/>
              <a:gd name="T6" fmla="*/ 0 w 708"/>
              <a:gd name="T7" fmla="*/ 164 h 1096"/>
              <a:gd name="T8" fmla="*/ 162 w 708"/>
              <a:gd name="T9" fmla="*/ 0 h 1096"/>
              <a:gd name="T10" fmla="*/ 708 w 708"/>
              <a:gd name="T11" fmla="*/ 548 h 1096"/>
              <a:gd name="T12" fmla="*/ 162 w 708"/>
              <a:gd name="T13" fmla="*/ 1096 h 1096"/>
            </a:gdLst>
            <a:ahLst/>
            <a:cxnLst>
              <a:cxn ang="0">
                <a:pos x="T0" y="T1"/>
              </a:cxn>
              <a:cxn ang="0">
                <a:pos x="T2" y="T3"/>
              </a:cxn>
              <a:cxn ang="0">
                <a:pos x="T4" y="T5"/>
              </a:cxn>
              <a:cxn ang="0">
                <a:pos x="T6" y="T7"/>
              </a:cxn>
              <a:cxn ang="0">
                <a:pos x="T8" y="T9"/>
              </a:cxn>
              <a:cxn ang="0">
                <a:pos x="T10" y="T11"/>
              </a:cxn>
              <a:cxn ang="0">
                <a:pos x="T12" y="T13"/>
              </a:cxn>
            </a:cxnLst>
            <a:rect l="0" t="0" r="r" b="b"/>
            <a:pathLst>
              <a:path w="708" h="1096">
                <a:moveTo>
                  <a:pt x="162" y="1096"/>
                </a:moveTo>
                <a:lnTo>
                  <a:pt x="0" y="933"/>
                </a:lnTo>
                <a:lnTo>
                  <a:pt x="383" y="548"/>
                </a:lnTo>
                <a:lnTo>
                  <a:pt x="0" y="164"/>
                </a:lnTo>
                <a:lnTo>
                  <a:pt x="162" y="0"/>
                </a:lnTo>
                <a:lnTo>
                  <a:pt x="708" y="548"/>
                </a:lnTo>
                <a:lnTo>
                  <a:pt x="162" y="1096"/>
                </a:lnTo>
                <a:close/>
              </a:path>
            </a:pathLst>
          </a:custGeom>
          <a:solidFill>
            <a:schemeClr val="accent1">
              <a:lumMod val="10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Arial"/>
              <a:cs typeface="+mn-ea"/>
              <a:sym typeface="+mn-lt"/>
            </a:endParaRPr>
          </a:p>
        </p:txBody>
      </p:sp>
      <p:sp>
        <p:nvSpPr>
          <p:cNvPr id="19" name="Oval 20">
            <a:extLst>
              <a:ext uri="{FF2B5EF4-FFF2-40B4-BE49-F238E27FC236}">
                <a16:creationId xmlns:a16="http://schemas.microsoft.com/office/drawing/2014/main" id="{6BC3C0DB-52EB-469B-B878-F731393BAA7B}"/>
              </a:ext>
            </a:extLst>
          </p:cNvPr>
          <p:cNvSpPr/>
          <p:nvPr/>
        </p:nvSpPr>
        <p:spPr>
          <a:xfrm>
            <a:off x="3152191" y="4463941"/>
            <a:ext cx="550859" cy="550859"/>
          </a:xfrm>
          <a:prstGeom prst="ellipse">
            <a:avLst/>
          </a:prstGeom>
          <a:noFill/>
          <a:ln w="50800">
            <a:solidFill>
              <a:schemeClr val="accent1">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FFFFFF"/>
              </a:solidFill>
              <a:effectLst/>
              <a:uLnTx/>
              <a:uFillTx/>
              <a:latin typeface="Arial"/>
              <a:cs typeface="+mn-ea"/>
              <a:sym typeface="+mn-lt"/>
            </a:endParaRPr>
          </a:p>
        </p:txBody>
      </p:sp>
      <p:sp>
        <p:nvSpPr>
          <p:cNvPr id="20" name="Oval 21">
            <a:extLst>
              <a:ext uri="{FF2B5EF4-FFF2-40B4-BE49-F238E27FC236}">
                <a16:creationId xmlns:a16="http://schemas.microsoft.com/office/drawing/2014/main" id="{1505DB4B-8C39-4B46-9EB3-20C1804D2D2B}"/>
              </a:ext>
            </a:extLst>
          </p:cNvPr>
          <p:cNvSpPr/>
          <p:nvPr/>
        </p:nvSpPr>
        <p:spPr>
          <a:xfrm>
            <a:off x="3152191" y="1844677"/>
            <a:ext cx="550859" cy="550859"/>
          </a:xfrm>
          <a:prstGeom prst="ellipse">
            <a:avLst/>
          </a:prstGeom>
          <a:noFill/>
          <a:ln w="50800">
            <a:solidFill>
              <a:schemeClr val="accent1">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FFFFFF"/>
              </a:solidFill>
              <a:effectLst/>
              <a:uLnTx/>
              <a:uFillTx/>
              <a:latin typeface="Arial"/>
              <a:cs typeface="+mn-ea"/>
              <a:sym typeface="+mn-lt"/>
            </a:endParaRPr>
          </a:p>
        </p:txBody>
      </p:sp>
      <p:sp>
        <p:nvSpPr>
          <p:cNvPr id="21" name="Oval 22">
            <a:extLst>
              <a:ext uri="{FF2B5EF4-FFF2-40B4-BE49-F238E27FC236}">
                <a16:creationId xmlns:a16="http://schemas.microsoft.com/office/drawing/2014/main" id="{8540B6C6-74BC-48AE-A542-C6D317289792}"/>
              </a:ext>
            </a:extLst>
          </p:cNvPr>
          <p:cNvSpPr/>
          <p:nvPr/>
        </p:nvSpPr>
        <p:spPr>
          <a:xfrm>
            <a:off x="4885528" y="4463941"/>
            <a:ext cx="550859" cy="550859"/>
          </a:xfrm>
          <a:prstGeom prst="ellipse">
            <a:avLst/>
          </a:prstGeom>
          <a:noFill/>
          <a:ln w="50800">
            <a:solidFill>
              <a:schemeClr val="accent1">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FFFFFF"/>
              </a:solidFill>
              <a:effectLst/>
              <a:uLnTx/>
              <a:uFillTx/>
              <a:latin typeface="Arial"/>
              <a:cs typeface="+mn-ea"/>
              <a:sym typeface="+mn-lt"/>
            </a:endParaRPr>
          </a:p>
        </p:txBody>
      </p:sp>
      <p:sp>
        <p:nvSpPr>
          <p:cNvPr id="22" name="Oval 23">
            <a:extLst>
              <a:ext uri="{FF2B5EF4-FFF2-40B4-BE49-F238E27FC236}">
                <a16:creationId xmlns:a16="http://schemas.microsoft.com/office/drawing/2014/main" id="{6956C6FA-4080-40C3-8E63-4E145002319A}"/>
              </a:ext>
            </a:extLst>
          </p:cNvPr>
          <p:cNvSpPr/>
          <p:nvPr/>
        </p:nvSpPr>
        <p:spPr>
          <a:xfrm>
            <a:off x="4885528" y="1844677"/>
            <a:ext cx="550859" cy="550859"/>
          </a:xfrm>
          <a:prstGeom prst="ellipse">
            <a:avLst/>
          </a:prstGeom>
          <a:noFill/>
          <a:ln w="50800">
            <a:solidFill>
              <a:schemeClr val="accent1">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FFFFFF"/>
              </a:solidFill>
              <a:effectLst/>
              <a:uLnTx/>
              <a:uFillTx/>
              <a:latin typeface="Arial"/>
              <a:cs typeface="+mn-ea"/>
              <a:sym typeface="+mn-lt"/>
            </a:endParaRPr>
          </a:p>
        </p:txBody>
      </p:sp>
      <p:sp>
        <p:nvSpPr>
          <p:cNvPr id="23" name="Oval 24">
            <a:extLst>
              <a:ext uri="{FF2B5EF4-FFF2-40B4-BE49-F238E27FC236}">
                <a16:creationId xmlns:a16="http://schemas.microsoft.com/office/drawing/2014/main" id="{3D03F98E-DF06-457A-ACF0-860729D0A691}"/>
              </a:ext>
            </a:extLst>
          </p:cNvPr>
          <p:cNvSpPr/>
          <p:nvPr/>
        </p:nvSpPr>
        <p:spPr>
          <a:xfrm>
            <a:off x="6715136" y="4463941"/>
            <a:ext cx="550859" cy="550859"/>
          </a:xfrm>
          <a:prstGeom prst="ellipse">
            <a:avLst/>
          </a:prstGeom>
          <a:noFill/>
          <a:ln w="50800">
            <a:solidFill>
              <a:schemeClr val="accent1">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FFFFFF"/>
              </a:solidFill>
              <a:effectLst/>
              <a:uLnTx/>
              <a:uFillTx/>
              <a:latin typeface="Arial"/>
              <a:cs typeface="+mn-ea"/>
              <a:sym typeface="+mn-lt"/>
            </a:endParaRPr>
          </a:p>
        </p:txBody>
      </p:sp>
      <p:sp>
        <p:nvSpPr>
          <p:cNvPr id="24" name="Oval 25">
            <a:extLst>
              <a:ext uri="{FF2B5EF4-FFF2-40B4-BE49-F238E27FC236}">
                <a16:creationId xmlns:a16="http://schemas.microsoft.com/office/drawing/2014/main" id="{5DF92589-C72F-48E0-8357-19BAED826F9D}"/>
              </a:ext>
            </a:extLst>
          </p:cNvPr>
          <p:cNvSpPr/>
          <p:nvPr/>
        </p:nvSpPr>
        <p:spPr>
          <a:xfrm>
            <a:off x="6715136" y="1844677"/>
            <a:ext cx="550859" cy="550859"/>
          </a:xfrm>
          <a:prstGeom prst="ellipse">
            <a:avLst/>
          </a:prstGeom>
          <a:noFill/>
          <a:ln w="50800">
            <a:solidFill>
              <a:schemeClr val="accent1">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FFFFFF"/>
              </a:solidFill>
              <a:effectLst/>
              <a:uLnTx/>
              <a:uFillTx/>
              <a:latin typeface="Arial"/>
              <a:cs typeface="+mn-ea"/>
              <a:sym typeface="+mn-lt"/>
            </a:endParaRPr>
          </a:p>
        </p:txBody>
      </p:sp>
      <p:sp>
        <p:nvSpPr>
          <p:cNvPr id="25" name="Oval 26">
            <a:extLst>
              <a:ext uri="{FF2B5EF4-FFF2-40B4-BE49-F238E27FC236}">
                <a16:creationId xmlns:a16="http://schemas.microsoft.com/office/drawing/2014/main" id="{EBD66782-5D7E-488B-BD02-66A9FC8B70F6}"/>
              </a:ext>
            </a:extLst>
          </p:cNvPr>
          <p:cNvSpPr/>
          <p:nvPr/>
        </p:nvSpPr>
        <p:spPr>
          <a:xfrm>
            <a:off x="8438360" y="4463941"/>
            <a:ext cx="550859" cy="550859"/>
          </a:xfrm>
          <a:prstGeom prst="ellipse">
            <a:avLst/>
          </a:prstGeom>
          <a:noFill/>
          <a:ln w="50800">
            <a:solidFill>
              <a:schemeClr val="accent1">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FFFFFF"/>
              </a:solidFill>
              <a:effectLst/>
              <a:uLnTx/>
              <a:uFillTx/>
              <a:latin typeface="Arial"/>
              <a:cs typeface="+mn-ea"/>
              <a:sym typeface="+mn-lt"/>
            </a:endParaRPr>
          </a:p>
        </p:txBody>
      </p:sp>
      <p:sp>
        <p:nvSpPr>
          <p:cNvPr id="26" name="Oval 27">
            <a:extLst>
              <a:ext uri="{FF2B5EF4-FFF2-40B4-BE49-F238E27FC236}">
                <a16:creationId xmlns:a16="http://schemas.microsoft.com/office/drawing/2014/main" id="{FFA71CF7-0664-4B2E-B492-709FFD8DC51F}"/>
              </a:ext>
            </a:extLst>
          </p:cNvPr>
          <p:cNvSpPr/>
          <p:nvPr/>
        </p:nvSpPr>
        <p:spPr>
          <a:xfrm>
            <a:off x="8438360" y="1844677"/>
            <a:ext cx="550859" cy="550859"/>
          </a:xfrm>
          <a:prstGeom prst="ellipse">
            <a:avLst/>
          </a:prstGeom>
          <a:noFill/>
          <a:ln w="50800">
            <a:solidFill>
              <a:schemeClr val="accent1">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FFFFFF"/>
              </a:solidFill>
              <a:effectLst/>
              <a:uLnTx/>
              <a:uFillTx/>
              <a:latin typeface="Arial"/>
              <a:cs typeface="+mn-ea"/>
              <a:sym typeface="+mn-lt"/>
            </a:endParaRPr>
          </a:p>
        </p:txBody>
      </p:sp>
      <p:sp>
        <p:nvSpPr>
          <p:cNvPr id="27" name="TextBox 28">
            <a:extLst>
              <a:ext uri="{FF2B5EF4-FFF2-40B4-BE49-F238E27FC236}">
                <a16:creationId xmlns:a16="http://schemas.microsoft.com/office/drawing/2014/main" id="{8D01358B-DB03-4398-B2F7-19D5CFA93B20}"/>
              </a:ext>
            </a:extLst>
          </p:cNvPr>
          <p:cNvSpPr txBox="1"/>
          <p:nvPr/>
        </p:nvSpPr>
        <p:spPr>
          <a:xfrm>
            <a:off x="447134" y="1982643"/>
            <a:ext cx="912429" cy="276999"/>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id-ID" sz="1200" b="1" i="0" u="none" strike="noStrike" kern="1200" cap="none" spc="0" normalizeH="0" baseline="0" noProof="0" dirty="0">
                <a:ln>
                  <a:noFill/>
                </a:ln>
                <a:solidFill>
                  <a:srgbClr val="000000"/>
                </a:solidFill>
                <a:effectLst/>
                <a:uLnTx/>
                <a:uFillTx/>
                <a:latin typeface="Arial"/>
                <a:cs typeface="+mn-ea"/>
                <a:sym typeface="+mn-lt"/>
              </a:rPr>
              <a:t>Content 1</a:t>
            </a:r>
          </a:p>
        </p:txBody>
      </p:sp>
      <p:sp>
        <p:nvSpPr>
          <p:cNvPr id="28" name="TextBox 29">
            <a:extLst>
              <a:ext uri="{FF2B5EF4-FFF2-40B4-BE49-F238E27FC236}">
                <a16:creationId xmlns:a16="http://schemas.microsoft.com/office/drawing/2014/main" id="{EDF1A873-3963-429E-9401-180B7FB37BFD}"/>
              </a:ext>
            </a:extLst>
          </p:cNvPr>
          <p:cNvSpPr txBox="1"/>
          <p:nvPr/>
        </p:nvSpPr>
        <p:spPr>
          <a:xfrm>
            <a:off x="447134" y="4624727"/>
            <a:ext cx="912429" cy="276999"/>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id-ID" sz="1200" b="1" i="0" u="none" strike="noStrike" kern="1200" cap="none" spc="0" normalizeH="0" baseline="0" noProof="0" dirty="0">
                <a:ln>
                  <a:noFill/>
                </a:ln>
                <a:solidFill>
                  <a:srgbClr val="000000"/>
                </a:solidFill>
                <a:effectLst/>
                <a:uLnTx/>
                <a:uFillTx/>
                <a:latin typeface="Arial"/>
                <a:cs typeface="+mn-ea"/>
                <a:sym typeface="+mn-lt"/>
              </a:rPr>
              <a:t>Content 2</a:t>
            </a:r>
          </a:p>
        </p:txBody>
      </p:sp>
      <p:sp>
        <p:nvSpPr>
          <p:cNvPr id="29" name="TextBox 30">
            <a:extLst>
              <a:ext uri="{FF2B5EF4-FFF2-40B4-BE49-F238E27FC236}">
                <a16:creationId xmlns:a16="http://schemas.microsoft.com/office/drawing/2014/main" id="{4CD57060-D2B9-4776-95CB-79A2C84B9D80}"/>
              </a:ext>
            </a:extLst>
          </p:cNvPr>
          <p:cNvSpPr txBox="1"/>
          <p:nvPr/>
        </p:nvSpPr>
        <p:spPr>
          <a:xfrm>
            <a:off x="2227225" y="1982643"/>
            <a:ext cx="912429" cy="276999"/>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id-ID" sz="1200" b="1" i="0" u="none" strike="noStrike" kern="1200" cap="none" spc="0" normalizeH="0" baseline="0" noProof="0" dirty="0">
                <a:ln>
                  <a:noFill/>
                </a:ln>
                <a:solidFill>
                  <a:srgbClr val="000000"/>
                </a:solidFill>
                <a:effectLst/>
                <a:uLnTx/>
                <a:uFillTx/>
                <a:latin typeface="Arial"/>
                <a:cs typeface="+mn-ea"/>
                <a:sym typeface="+mn-lt"/>
              </a:rPr>
              <a:t>Content 1</a:t>
            </a:r>
          </a:p>
        </p:txBody>
      </p:sp>
      <p:sp>
        <p:nvSpPr>
          <p:cNvPr id="30" name="TextBox 31">
            <a:extLst>
              <a:ext uri="{FF2B5EF4-FFF2-40B4-BE49-F238E27FC236}">
                <a16:creationId xmlns:a16="http://schemas.microsoft.com/office/drawing/2014/main" id="{35715516-CE8B-4BE5-BB68-47464498457D}"/>
              </a:ext>
            </a:extLst>
          </p:cNvPr>
          <p:cNvSpPr txBox="1"/>
          <p:nvPr/>
        </p:nvSpPr>
        <p:spPr>
          <a:xfrm>
            <a:off x="2227225" y="4624727"/>
            <a:ext cx="912429" cy="276999"/>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id-ID" sz="1200" b="1" i="0" u="none" strike="noStrike" kern="1200" cap="none" spc="0" normalizeH="0" baseline="0" noProof="0" dirty="0">
                <a:ln>
                  <a:noFill/>
                </a:ln>
                <a:solidFill>
                  <a:srgbClr val="000000"/>
                </a:solidFill>
                <a:effectLst/>
                <a:uLnTx/>
                <a:uFillTx/>
                <a:latin typeface="Arial"/>
                <a:cs typeface="+mn-ea"/>
                <a:sym typeface="+mn-lt"/>
              </a:rPr>
              <a:t>Content 2</a:t>
            </a:r>
          </a:p>
        </p:txBody>
      </p:sp>
      <p:sp>
        <p:nvSpPr>
          <p:cNvPr id="31" name="TextBox 32">
            <a:extLst>
              <a:ext uri="{FF2B5EF4-FFF2-40B4-BE49-F238E27FC236}">
                <a16:creationId xmlns:a16="http://schemas.microsoft.com/office/drawing/2014/main" id="{FA64275C-E055-429F-8E94-8F78F502A81F}"/>
              </a:ext>
            </a:extLst>
          </p:cNvPr>
          <p:cNvSpPr txBox="1"/>
          <p:nvPr/>
        </p:nvSpPr>
        <p:spPr>
          <a:xfrm>
            <a:off x="3977881" y="1982643"/>
            <a:ext cx="912429" cy="276999"/>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id-ID" sz="1200" b="1" i="0" u="none" strike="noStrike" kern="1200" cap="none" spc="0" normalizeH="0" baseline="0" noProof="0" dirty="0">
                <a:ln>
                  <a:noFill/>
                </a:ln>
                <a:solidFill>
                  <a:srgbClr val="000000"/>
                </a:solidFill>
                <a:effectLst/>
                <a:uLnTx/>
                <a:uFillTx/>
                <a:latin typeface="Arial"/>
                <a:cs typeface="+mn-ea"/>
                <a:sym typeface="+mn-lt"/>
              </a:rPr>
              <a:t>Content 1</a:t>
            </a:r>
          </a:p>
        </p:txBody>
      </p:sp>
      <p:sp>
        <p:nvSpPr>
          <p:cNvPr id="32" name="TextBox 33">
            <a:extLst>
              <a:ext uri="{FF2B5EF4-FFF2-40B4-BE49-F238E27FC236}">
                <a16:creationId xmlns:a16="http://schemas.microsoft.com/office/drawing/2014/main" id="{3C2A151E-BB97-4122-A656-9C260860BD46}"/>
              </a:ext>
            </a:extLst>
          </p:cNvPr>
          <p:cNvSpPr txBox="1"/>
          <p:nvPr/>
        </p:nvSpPr>
        <p:spPr>
          <a:xfrm>
            <a:off x="3977881" y="4624727"/>
            <a:ext cx="912429" cy="276999"/>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id-ID" sz="1200" b="1" i="0" u="none" strike="noStrike" kern="1200" cap="none" spc="0" normalizeH="0" baseline="0" noProof="0" dirty="0">
                <a:ln>
                  <a:noFill/>
                </a:ln>
                <a:solidFill>
                  <a:srgbClr val="000000"/>
                </a:solidFill>
                <a:effectLst/>
                <a:uLnTx/>
                <a:uFillTx/>
                <a:latin typeface="Arial"/>
                <a:cs typeface="+mn-ea"/>
                <a:sym typeface="+mn-lt"/>
              </a:rPr>
              <a:t>Content 2</a:t>
            </a:r>
          </a:p>
        </p:txBody>
      </p:sp>
      <p:sp>
        <p:nvSpPr>
          <p:cNvPr id="33" name="TextBox 34">
            <a:extLst>
              <a:ext uri="{FF2B5EF4-FFF2-40B4-BE49-F238E27FC236}">
                <a16:creationId xmlns:a16="http://schemas.microsoft.com/office/drawing/2014/main" id="{AC9367D9-B30B-4468-AA64-259FEE3A3197}"/>
              </a:ext>
            </a:extLst>
          </p:cNvPr>
          <p:cNvSpPr txBox="1"/>
          <p:nvPr/>
        </p:nvSpPr>
        <p:spPr>
          <a:xfrm>
            <a:off x="5792897" y="1982643"/>
            <a:ext cx="912429" cy="276999"/>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id-ID" sz="1200" b="1" i="0" u="none" strike="noStrike" kern="1200" cap="none" spc="0" normalizeH="0" baseline="0" noProof="0" dirty="0">
                <a:ln>
                  <a:noFill/>
                </a:ln>
                <a:solidFill>
                  <a:srgbClr val="000000"/>
                </a:solidFill>
                <a:effectLst/>
                <a:uLnTx/>
                <a:uFillTx/>
                <a:latin typeface="Arial"/>
                <a:cs typeface="+mn-ea"/>
                <a:sym typeface="+mn-lt"/>
              </a:rPr>
              <a:t>Content 1</a:t>
            </a:r>
          </a:p>
        </p:txBody>
      </p:sp>
      <p:sp>
        <p:nvSpPr>
          <p:cNvPr id="34" name="TextBox 35">
            <a:extLst>
              <a:ext uri="{FF2B5EF4-FFF2-40B4-BE49-F238E27FC236}">
                <a16:creationId xmlns:a16="http://schemas.microsoft.com/office/drawing/2014/main" id="{B9A117BA-830E-4544-9332-81A272534479}"/>
              </a:ext>
            </a:extLst>
          </p:cNvPr>
          <p:cNvSpPr txBox="1"/>
          <p:nvPr/>
        </p:nvSpPr>
        <p:spPr>
          <a:xfrm>
            <a:off x="5792897" y="4624727"/>
            <a:ext cx="912429" cy="276999"/>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id-ID" sz="1200" b="1" i="0" u="none" strike="noStrike" kern="1200" cap="none" spc="0" normalizeH="0" baseline="0" noProof="0" dirty="0">
                <a:ln>
                  <a:noFill/>
                </a:ln>
                <a:solidFill>
                  <a:srgbClr val="000000"/>
                </a:solidFill>
                <a:effectLst/>
                <a:uLnTx/>
                <a:uFillTx/>
                <a:latin typeface="Arial"/>
                <a:cs typeface="+mn-ea"/>
                <a:sym typeface="+mn-lt"/>
              </a:rPr>
              <a:t>Content 2</a:t>
            </a:r>
          </a:p>
        </p:txBody>
      </p:sp>
      <p:sp>
        <p:nvSpPr>
          <p:cNvPr id="35" name="TextBox 36">
            <a:extLst>
              <a:ext uri="{FF2B5EF4-FFF2-40B4-BE49-F238E27FC236}">
                <a16:creationId xmlns:a16="http://schemas.microsoft.com/office/drawing/2014/main" id="{E6EC5C90-2D66-4661-904E-DDB1D557FE39}"/>
              </a:ext>
            </a:extLst>
          </p:cNvPr>
          <p:cNvSpPr txBox="1"/>
          <p:nvPr/>
        </p:nvSpPr>
        <p:spPr>
          <a:xfrm>
            <a:off x="7513042" y="1982643"/>
            <a:ext cx="912429" cy="276999"/>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id-ID" sz="1200" b="1" i="0" u="none" strike="noStrike" kern="1200" cap="none" spc="0" normalizeH="0" baseline="0" noProof="0" dirty="0">
                <a:ln>
                  <a:noFill/>
                </a:ln>
                <a:solidFill>
                  <a:srgbClr val="000000"/>
                </a:solidFill>
                <a:effectLst/>
                <a:uLnTx/>
                <a:uFillTx/>
                <a:latin typeface="Arial"/>
                <a:cs typeface="+mn-ea"/>
                <a:sym typeface="+mn-lt"/>
              </a:rPr>
              <a:t>Content 1</a:t>
            </a:r>
          </a:p>
        </p:txBody>
      </p:sp>
      <p:sp>
        <p:nvSpPr>
          <p:cNvPr id="36" name="TextBox 37">
            <a:extLst>
              <a:ext uri="{FF2B5EF4-FFF2-40B4-BE49-F238E27FC236}">
                <a16:creationId xmlns:a16="http://schemas.microsoft.com/office/drawing/2014/main" id="{5B049322-16D1-4A0E-81F7-BEE00F28B0D7}"/>
              </a:ext>
            </a:extLst>
          </p:cNvPr>
          <p:cNvSpPr txBox="1"/>
          <p:nvPr/>
        </p:nvSpPr>
        <p:spPr>
          <a:xfrm>
            <a:off x="7513042" y="4624727"/>
            <a:ext cx="912429" cy="276999"/>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id-ID" sz="1200" b="1" i="0" u="none" strike="noStrike" kern="1200" cap="none" spc="0" normalizeH="0" baseline="0" noProof="0" dirty="0">
                <a:ln>
                  <a:noFill/>
                </a:ln>
                <a:solidFill>
                  <a:srgbClr val="000000"/>
                </a:solidFill>
                <a:effectLst/>
                <a:uLnTx/>
                <a:uFillTx/>
                <a:latin typeface="Arial"/>
                <a:cs typeface="+mn-ea"/>
                <a:sym typeface="+mn-lt"/>
              </a:rPr>
              <a:t>Content 2</a:t>
            </a:r>
          </a:p>
        </p:txBody>
      </p:sp>
      <p:sp>
        <p:nvSpPr>
          <p:cNvPr id="37" name="TextBox 38">
            <a:extLst>
              <a:ext uri="{FF2B5EF4-FFF2-40B4-BE49-F238E27FC236}">
                <a16:creationId xmlns:a16="http://schemas.microsoft.com/office/drawing/2014/main" id="{393A6F80-0FD5-40DE-942B-789FC3CF7761}"/>
              </a:ext>
            </a:extLst>
          </p:cNvPr>
          <p:cNvSpPr txBox="1"/>
          <p:nvPr/>
        </p:nvSpPr>
        <p:spPr>
          <a:xfrm>
            <a:off x="1858550" y="3239487"/>
            <a:ext cx="805029" cy="338554"/>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id-ID" sz="1600" b="1" i="0" u="none" strike="noStrike" kern="1200" cap="none" spc="0" normalizeH="0" baseline="0" noProof="0" dirty="0">
                <a:ln>
                  <a:noFill/>
                </a:ln>
                <a:solidFill>
                  <a:srgbClr val="000000"/>
                </a:solidFill>
                <a:effectLst/>
                <a:uLnTx/>
                <a:uFillTx/>
                <a:latin typeface="Arial"/>
                <a:cs typeface="+mn-ea"/>
                <a:sym typeface="+mn-lt"/>
              </a:rPr>
              <a:t>Step 1</a:t>
            </a:r>
          </a:p>
        </p:txBody>
      </p:sp>
      <p:sp>
        <p:nvSpPr>
          <p:cNvPr id="38" name="TextBox 39">
            <a:extLst>
              <a:ext uri="{FF2B5EF4-FFF2-40B4-BE49-F238E27FC236}">
                <a16:creationId xmlns:a16="http://schemas.microsoft.com/office/drawing/2014/main" id="{901C29C5-1AF6-4852-B68B-032AF0541B82}"/>
              </a:ext>
            </a:extLst>
          </p:cNvPr>
          <p:cNvSpPr txBox="1"/>
          <p:nvPr/>
        </p:nvSpPr>
        <p:spPr>
          <a:xfrm>
            <a:off x="3569901" y="3239487"/>
            <a:ext cx="805029" cy="338554"/>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id-ID" sz="1600" b="1" i="0" u="none" strike="noStrike" kern="1200" cap="none" spc="0" normalizeH="0" baseline="0" noProof="0" dirty="0">
                <a:ln>
                  <a:noFill/>
                </a:ln>
                <a:solidFill>
                  <a:srgbClr val="000000"/>
                </a:solidFill>
                <a:effectLst/>
                <a:uLnTx/>
                <a:uFillTx/>
                <a:latin typeface="Arial"/>
                <a:cs typeface="+mn-ea"/>
                <a:sym typeface="+mn-lt"/>
              </a:rPr>
              <a:t>Step 2</a:t>
            </a:r>
          </a:p>
        </p:txBody>
      </p:sp>
      <p:sp>
        <p:nvSpPr>
          <p:cNvPr id="39" name="TextBox 40">
            <a:extLst>
              <a:ext uri="{FF2B5EF4-FFF2-40B4-BE49-F238E27FC236}">
                <a16:creationId xmlns:a16="http://schemas.microsoft.com/office/drawing/2014/main" id="{14A1EF95-0A34-461D-B2F0-2757309C0681}"/>
              </a:ext>
            </a:extLst>
          </p:cNvPr>
          <p:cNvSpPr txBox="1"/>
          <p:nvPr/>
        </p:nvSpPr>
        <p:spPr>
          <a:xfrm>
            <a:off x="5369542" y="3239487"/>
            <a:ext cx="805029" cy="338554"/>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id-ID" sz="1600" b="1" i="0" u="none" strike="noStrike" kern="1200" cap="none" spc="0" normalizeH="0" baseline="0" noProof="0" dirty="0">
                <a:ln>
                  <a:noFill/>
                </a:ln>
                <a:solidFill>
                  <a:srgbClr val="000000"/>
                </a:solidFill>
                <a:effectLst/>
                <a:uLnTx/>
                <a:uFillTx/>
                <a:latin typeface="Arial"/>
                <a:cs typeface="+mn-ea"/>
                <a:sym typeface="+mn-lt"/>
              </a:rPr>
              <a:t>Step 3</a:t>
            </a:r>
          </a:p>
        </p:txBody>
      </p:sp>
      <p:sp>
        <p:nvSpPr>
          <p:cNvPr id="40" name="TextBox 41">
            <a:extLst>
              <a:ext uri="{FF2B5EF4-FFF2-40B4-BE49-F238E27FC236}">
                <a16:creationId xmlns:a16="http://schemas.microsoft.com/office/drawing/2014/main" id="{4F452EDE-DE7F-483C-B8FC-3233706B14FA}"/>
              </a:ext>
            </a:extLst>
          </p:cNvPr>
          <p:cNvSpPr txBox="1"/>
          <p:nvPr/>
        </p:nvSpPr>
        <p:spPr>
          <a:xfrm>
            <a:off x="7144393" y="3239487"/>
            <a:ext cx="805029" cy="338554"/>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id-ID" sz="1600" b="1" i="0" u="none" strike="noStrike" kern="1200" cap="none" spc="0" normalizeH="0" baseline="0" noProof="0" dirty="0">
                <a:ln>
                  <a:noFill/>
                </a:ln>
                <a:solidFill>
                  <a:srgbClr val="000000"/>
                </a:solidFill>
                <a:effectLst/>
                <a:uLnTx/>
                <a:uFillTx/>
                <a:latin typeface="Arial"/>
                <a:cs typeface="+mn-ea"/>
                <a:sym typeface="+mn-lt"/>
              </a:rPr>
              <a:t>Step 4</a:t>
            </a:r>
          </a:p>
        </p:txBody>
      </p:sp>
      <p:sp>
        <p:nvSpPr>
          <p:cNvPr id="41" name="TextBox 42">
            <a:extLst>
              <a:ext uri="{FF2B5EF4-FFF2-40B4-BE49-F238E27FC236}">
                <a16:creationId xmlns:a16="http://schemas.microsoft.com/office/drawing/2014/main" id="{0505DB99-1143-4C20-BC86-C1675EA7B27E}"/>
              </a:ext>
            </a:extLst>
          </p:cNvPr>
          <p:cNvSpPr txBox="1"/>
          <p:nvPr/>
        </p:nvSpPr>
        <p:spPr>
          <a:xfrm>
            <a:off x="8887777" y="3239487"/>
            <a:ext cx="805029" cy="338554"/>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id-ID" sz="1600" b="1" i="0" u="none" strike="noStrike" kern="1200" cap="none" spc="0" normalizeH="0" baseline="0" noProof="0" dirty="0">
                <a:ln>
                  <a:noFill/>
                </a:ln>
                <a:solidFill>
                  <a:srgbClr val="000000"/>
                </a:solidFill>
                <a:effectLst/>
                <a:uLnTx/>
                <a:uFillTx/>
                <a:latin typeface="Arial"/>
                <a:cs typeface="+mn-ea"/>
                <a:sym typeface="+mn-lt"/>
              </a:rPr>
              <a:t>Step 5</a:t>
            </a:r>
          </a:p>
        </p:txBody>
      </p:sp>
      <p:sp>
        <p:nvSpPr>
          <p:cNvPr id="42" name="TextBox 53">
            <a:extLst>
              <a:ext uri="{FF2B5EF4-FFF2-40B4-BE49-F238E27FC236}">
                <a16:creationId xmlns:a16="http://schemas.microsoft.com/office/drawing/2014/main" id="{E07C42D1-391A-4471-9593-AF9CFCC31AB5}"/>
              </a:ext>
            </a:extLst>
          </p:cNvPr>
          <p:cNvSpPr txBox="1"/>
          <p:nvPr/>
        </p:nvSpPr>
        <p:spPr>
          <a:xfrm>
            <a:off x="10441006" y="3190631"/>
            <a:ext cx="1133644" cy="461665"/>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id-ID" sz="2400" b="1" i="0" u="none" strike="noStrike" kern="1200" cap="none" spc="0" normalizeH="0" baseline="0" noProof="0" dirty="0">
                <a:ln>
                  <a:noFill/>
                </a:ln>
                <a:solidFill>
                  <a:srgbClr val="000000"/>
                </a:solidFill>
                <a:effectLst/>
                <a:uLnTx/>
                <a:uFillTx/>
                <a:latin typeface="Arial"/>
                <a:cs typeface="+mn-ea"/>
                <a:sym typeface="+mn-lt"/>
              </a:rPr>
              <a:t>Result</a:t>
            </a:r>
          </a:p>
        </p:txBody>
      </p:sp>
      <p:cxnSp>
        <p:nvCxnSpPr>
          <p:cNvPr id="43" name="Straight Connector 57">
            <a:extLst>
              <a:ext uri="{FF2B5EF4-FFF2-40B4-BE49-F238E27FC236}">
                <a16:creationId xmlns:a16="http://schemas.microsoft.com/office/drawing/2014/main" id="{929D674D-3C78-43C8-98C7-406F1F30948A}"/>
              </a:ext>
            </a:extLst>
          </p:cNvPr>
          <p:cNvCxnSpPr/>
          <p:nvPr/>
        </p:nvCxnSpPr>
        <p:spPr>
          <a:xfrm>
            <a:off x="736600" y="3425632"/>
            <a:ext cx="1154113" cy="0"/>
          </a:xfrm>
          <a:prstGeom prst="line">
            <a:avLst/>
          </a:prstGeom>
          <a:ln w="19050">
            <a:solidFill>
              <a:schemeClr val="tx1">
                <a:lumMod val="60000"/>
                <a:lumOff val="40000"/>
              </a:schemeClr>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44" name="Straight Connector 58">
            <a:extLst>
              <a:ext uri="{FF2B5EF4-FFF2-40B4-BE49-F238E27FC236}">
                <a16:creationId xmlns:a16="http://schemas.microsoft.com/office/drawing/2014/main" id="{CDC8A327-EED9-434B-9748-6B2F324A28D8}"/>
              </a:ext>
            </a:extLst>
          </p:cNvPr>
          <p:cNvCxnSpPr/>
          <p:nvPr/>
        </p:nvCxnSpPr>
        <p:spPr>
          <a:xfrm>
            <a:off x="3409563" y="3425632"/>
            <a:ext cx="182880" cy="0"/>
          </a:xfrm>
          <a:prstGeom prst="line">
            <a:avLst/>
          </a:prstGeom>
          <a:ln w="19050">
            <a:solidFill>
              <a:schemeClr val="tx1">
                <a:lumMod val="60000"/>
                <a:lumOff val="40000"/>
              </a:schemeClr>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45" name="Straight Connector 62">
            <a:extLst>
              <a:ext uri="{FF2B5EF4-FFF2-40B4-BE49-F238E27FC236}">
                <a16:creationId xmlns:a16="http://schemas.microsoft.com/office/drawing/2014/main" id="{59C672CC-F077-4E09-8065-09A7478876EE}"/>
              </a:ext>
            </a:extLst>
          </p:cNvPr>
          <p:cNvCxnSpPr/>
          <p:nvPr/>
        </p:nvCxnSpPr>
        <p:spPr>
          <a:xfrm>
            <a:off x="5186662" y="3425632"/>
            <a:ext cx="182880" cy="0"/>
          </a:xfrm>
          <a:prstGeom prst="line">
            <a:avLst/>
          </a:prstGeom>
          <a:ln w="19050">
            <a:solidFill>
              <a:schemeClr val="tx1">
                <a:lumMod val="60000"/>
                <a:lumOff val="40000"/>
              </a:schemeClr>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46" name="Straight Connector 63">
            <a:extLst>
              <a:ext uri="{FF2B5EF4-FFF2-40B4-BE49-F238E27FC236}">
                <a16:creationId xmlns:a16="http://schemas.microsoft.com/office/drawing/2014/main" id="{4BE4AACA-AB1C-4E9E-BDFA-40D646BC4F6D}"/>
              </a:ext>
            </a:extLst>
          </p:cNvPr>
          <p:cNvCxnSpPr/>
          <p:nvPr/>
        </p:nvCxnSpPr>
        <p:spPr>
          <a:xfrm>
            <a:off x="6951988" y="3425632"/>
            <a:ext cx="182880" cy="0"/>
          </a:xfrm>
          <a:prstGeom prst="line">
            <a:avLst/>
          </a:prstGeom>
          <a:ln w="19050">
            <a:solidFill>
              <a:schemeClr val="tx1">
                <a:lumMod val="60000"/>
                <a:lumOff val="40000"/>
              </a:schemeClr>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47" name="Straight Connector 64">
            <a:extLst>
              <a:ext uri="{FF2B5EF4-FFF2-40B4-BE49-F238E27FC236}">
                <a16:creationId xmlns:a16="http://schemas.microsoft.com/office/drawing/2014/main" id="{0ECB7658-C9B5-4B1D-B0AE-54D591F3F3C4}"/>
              </a:ext>
            </a:extLst>
          </p:cNvPr>
          <p:cNvCxnSpPr/>
          <p:nvPr/>
        </p:nvCxnSpPr>
        <p:spPr>
          <a:xfrm>
            <a:off x="8729087" y="3425632"/>
            <a:ext cx="182880" cy="0"/>
          </a:xfrm>
          <a:prstGeom prst="line">
            <a:avLst/>
          </a:prstGeom>
          <a:ln w="19050">
            <a:solidFill>
              <a:schemeClr val="tx1">
                <a:lumMod val="60000"/>
                <a:lumOff val="40000"/>
              </a:schemeClr>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48" name="Freeform 67">
            <a:extLst>
              <a:ext uri="{FF2B5EF4-FFF2-40B4-BE49-F238E27FC236}">
                <a16:creationId xmlns:a16="http://schemas.microsoft.com/office/drawing/2014/main" id="{376B2EDC-CFAB-4BCC-B141-37F3582B6584}"/>
              </a:ext>
            </a:extLst>
          </p:cNvPr>
          <p:cNvSpPr>
            <a:spLocks noEditPoints="1"/>
          </p:cNvSpPr>
          <p:nvPr/>
        </p:nvSpPr>
        <p:spPr bwMode="auto">
          <a:xfrm>
            <a:off x="6886938" y="1960399"/>
            <a:ext cx="207254" cy="319414"/>
          </a:xfrm>
          <a:custGeom>
            <a:avLst/>
            <a:gdLst>
              <a:gd name="T0" fmla="*/ 108 w 108"/>
              <a:gd name="T1" fmla="*/ 53 h 166"/>
              <a:gd name="T2" fmla="*/ 94 w 108"/>
              <a:gd name="T3" fmla="*/ 90 h 166"/>
              <a:gd name="T4" fmla="*/ 77 w 108"/>
              <a:gd name="T5" fmla="*/ 123 h 166"/>
              <a:gd name="T6" fmla="*/ 32 w 108"/>
              <a:gd name="T7" fmla="*/ 123 h 166"/>
              <a:gd name="T8" fmla="*/ 15 w 108"/>
              <a:gd name="T9" fmla="*/ 90 h 166"/>
              <a:gd name="T10" fmla="*/ 0 w 108"/>
              <a:gd name="T11" fmla="*/ 53 h 166"/>
              <a:gd name="T12" fmla="*/ 54 w 108"/>
              <a:gd name="T13" fmla="*/ 0 h 166"/>
              <a:gd name="T14" fmla="*/ 54 w 108"/>
              <a:gd name="T15" fmla="*/ 0 h 166"/>
              <a:gd name="T16" fmla="*/ 54 w 108"/>
              <a:gd name="T17" fmla="*/ 0 h 166"/>
              <a:gd name="T18" fmla="*/ 108 w 108"/>
              <a:gd name="T19" fmla="*/ 53 h 166"/>
              <a:gd name="T20" fmla="*/ 75 w 108"/>
              <a:gd name="T21" fmla="*/ 127 h 166"/>
              <a:gd name="T22" fmla="*/ 34 w 108"/>
              <a:gd name="T23" fmla="*/ 127 h 166"/>
              <a:gd name="T24" fmla="*/ 30 w 108"/>
              <a:gd name="T25" fmla="*/ 131 h 166"/>
              <a:gd name="T26" fmla="*/ 30 w 108"/>
              <a:gd name="T27" fmla="*/ 132 h 166"/>
              <a:gd name="T28" fmla="*/ 34 w 108"/>
              <a:gd name="T29" fmla="*/ 136 h 166"/>
              <a:gd name="T30" fmla="*/ 75 w 108"/>
              <a:gd name="T31" fmla="*/ 136 h 166"/>
              <a:gd name="T32" fmla="*/ 79 w 108"/>
              <a:gd name="T33" fmla="*/ 132 h 166"/>
              <a:gd name="T34" fmla="*/ 79 w 108"/>
              <a:gd name="T35" fmla="*/ 131 h 166"/>
              <a:gd name="T36" fmla="*/ 75 w 108"/>
              <a:gd name="T37" fmla="*/ 127 h 166"/>
              <a:gd name="T38" fmla="*/ 75 w 108"/>
              <a:gd name="T39" fmla="*/ 139 h 166"/>
              <a:gd name="T40" fmla="*/ 34 w 108"/>
              <a:gd name="T41" fmla="*/ 139 h 166"/>
              <a:gd name="T42" fmla="*/ 30 w 108"/>
              <a:gd name="T43" fmla="*/ 143 h 166"/>
              <a:gd name="T44" fmla="*/ 30 w 108"/>
              <a:gd name="T45" fmla="*/ 143 h 166"/>
              <a:gd name="T46" fmla="*/ 34 w 108"/>
              <a:gd name="T47" fmla="*/ 147 h 166"/>
              <a:gd name="T48" fmla="*/ 75 w 108"/>
              <a:gd name="T49" fmla="*/ 147 h 166"/>
              <a:gd name="T50" fmla="*/ 79 w 108"/>
              <a:gd name="T51" fmla="*/ 143 h 166"/>
              <a:gd name="T52" fmla="*/ 79 w 108"/>
              <a:gd name="T53" fmla="*/ 143 h 166"/>
              <a:gd name="T54" fmla="*/ 75 w 108"/>
              <a:gd name="T55" fmla="*/ 139 h 166"/>
              <a:gd name="T56" fmla="*/ 75 w 108"/>
              <a:gd name="T57" fmla="*/ 150 h 166"/>
              <a:gd name="T58" fmla="*/ 34 w 108"/>
              <a:gd name="T59" fmla="*/ 150 h 166"/>
              <a:gd name="T60" fmla="*/ 30 w 108"/>
              <a:gd name="T61" fmla="*/ 154 h 166"/>
              <a:gd name="T62" fmla="*/ 30 w 108"/>
              <a:gd name="T63" fmla="*/ 156 h 166"/>
              <a:gd name="T64" fmla="*/ 34 w 108"/>
              <a:gd name="T65" fmla="*/ 160 h 166"/>
              <a:gd name="T66" fmla="*/ 38 w 108"/>
              <a:gd name="T67" fmla="*/ 160 h 166"/>
              <a:gd name="T68" fmla="*/ 38 w 108"/>
              <a:gd name="T69" fmla="*/ 162 h 166"/>
              <a:gd name="T70" fmla="*/ 42 w 108"/>
              <a:gd name="T71" fmla="*/ 166 h 166"/>
              <a:gd name="T72" fmla="*/ 66 w 108"/>
              <a:gd name="T73" fmla="*/ 166 h 166"/>
              <a:gd name="T74" fmla="*/ 70 w 108"/>
              <a:gd name="T75" fmla="*/ 162 h 166"/>
              <a:gd name="T76" fmla="*/ 70 w 108"/>
              <a:gd name="T77" fmla="*/ 160 h 166"/>
              <a:gd name="T78" fmla="*/ 75 w 108"/>
              <a:gd name="T79" fmla="*/ 160 h 166"/>
              <a:gd name="T80" fmla="*/ 79 w 108"/>
              <a:gd name="T81" fmla="*/ 156 h 166"/>
              <a:gd name="T82" fmla="*/ 79 w 108"/>
              <a:gd name="T83" fmla="*/ 154 h 166"/>
              <a:gd name="T84" fmla="*/ 75 w 108"/>
              <a:gd name="T85" fmla="*/ 15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8" h="166">
                <a:moveTo>
                  <a:pt x="108" y="53"/>
                </a:moveTo>
                <a:cubicBezTo>
                  <a:pt x="108" y="68"/>
                  <a:pt x="103" y="81"/>
                  <a:pt x="94" y="90"/>
                </a:cubicBezTo>
                <a:cubicBezTo>
                  <a:pt x="76" y="111"/>
                  <a:pt x="86" y="123"/>
                  <a:pt x="77" y="123"/>
                </a:cubicBezTo>
                <a:cubicBezTo>
                  <a:pt x="32" y="123"/>
                  <a:pt x="32" y="123"/>
                  <a:pt x="32" y="123"/>
                </a:cubicBezTo>
                <a:cubicBezTo>
                  <a:pt x="22" y="123"/>
                  <a:pt x="33" y="111"/>
                  <a:pt x="15" y="90"/>
                </a:cubicBezTo>
                <a:cubicBezTo>
                  <a:pt x="6" y="81"/>
                  <a:pt x="0" y="68"/>
                  <a:pt x="0" y="53"/>
                </a:cubicBezTo>
                <a:cubicBezTo>
                  <a:pt x="0" y="24"/>
                  <a:pt x="25" y="0"/>
                  <a:pt x="54" y="0"/>
                </a:cubicBezTo>
                <a:cubicBezTo>
                  <a:pt x="54" y="0"/>
                  <a:pt x="54" y="0"/>
                  <a:pt x="54" y="0"/>
                </a:cubicBezTo>
                <a:cubicBezTo>
                  <a:pt x="54" y="0"/>
                  <a:pt x="54" y="0"/>
                  <a:pt x="54" y="0"/>
                </a:cubicBezTo>
                <a:cubicBezTo>
                  <a:pt x="84" y="0"/>
                  <a:pt x="108" y="24"/>
                  <a:pt x="108" y="53"/>
                </a:cubicBezTo>
                <a:moveTo>
                  <a:pt x="75" y="127"/>
                </a:moveTo>
                <a:cubicBezTo>
                  <a:pt x="34" y="127"/>
                  <a:pt x="34" y="127"/>
                  <a:pt x="34" y="127"/>
                </a:cubicBezTo>
                <a:cubicBezTo>
                  <a:pt x="32" y="127"/>
                  <a:pt x="30" y="129"/>
                  <a:pt x="30" y="131"/>
                </a:cubicBezTo>
                <a:cubicBezTo>
                  <a:pt x="30" y="132"/>
                  <a:pt x="30" y="132"/>
                  <a:pt x="30" y="132"/>
                </a:cubicBezTo>
                <a:cubicBezTo>
                  <a:pt x="30" y="134"/>
                  <a:pt x="32" y="136"/>
                  <a:pt x="34" y="136"/>
                </a:cubicBezTo>
                <a:cubicBezTo>
                  <a:pt x="75" y="136"/>
                  <a:pt x="75" y="136"/>
                  <a:pt x="75" y="136"/>
                </a:cubicBezTo>
                <a:cubicBezTo>
                  <a:pt x="77" y="136"/>
                  <a:pt x="79" y="134"/>
                  <a:pt x="79" y="132"/>
                </a:cubicBezTo>
                <a:cubicBezTo>
                  <a:pt x="79" y="131"/>
                  <a:pt x="79" y="131"/>
                  <a:pt x="79" y="131"/>
                </a:cubicBezTo>
                <a:cubicBezTo>
                  <a:pt x="79" y="129"/>
                  <a:pt x="77" y="127"/>
                  <a:pt x="75" y="127"/>
                </a:cubicBezTo>
                <a:moveTo>
                  <a:pt x="75" y="139"/>
                </a:moveTo>
                <a:cubicBezTo>
                  <a:pt x="34" y="139"/>
                  <a:pt x="34" y="139"/>
                  <a:pt x="34" y="139"/>
                </a:cubicBezTo>
                <a:cubicBezTo>
                  <a:pt x="32" y="139"/>
                  <a:pt x="30" y="141"/>
                  <a:pt x="30" y="143"/>
                </a:cubicBezTo>
                <a:cubicBezTo>
                  <a:pt x="30" y="143"/>
                  <a:pt x="30" y="143"/>
                  <a:pt x="30" y="143"/>
                </a:cubicBezTo>
                <a:cubicBezTo>
                  <a:pt x="30" y="145"/>
                  <a:pt x="32" y="147"/>
                  <a:pt x="34" y="147"/>
                </a:cubicBezTo>
                <a:cubicBezTo>
                  <a:pt x="75" y="147"/>
                  <a:pt x="75" y="147"/>
                  <a:pt x="75" y="147"/>
                </a:cubicBezTo>
                <a:cubicBezTo>
                  <a:pt x="77" y="147"/>
                  <a:pt x="79" y="145"/>
                  <a:pt x="79" y="143"/>
                </a:cubicBezTo>
                <a:cubicBezTo>
                  <a:pt x="79" y="143"/>
                  <a:pt x="79" y="143"/>
                  <a:pt x="79" y="143"/>
                </a:cubicBezTo>
                <a:cubicBezTo>
                  <a:pt x="79" y="141"/>
                  <a:pt x="77" y="139"/>
                  <a:pt x="75" y="139"/>
                </a:cubicBezTo>
                <a:moveTo>
                  <a:pt x="75" y="150"/>
                </a:moveTo>
                <a:cubicBezTo>
                  <a:pt x="34" y="150"/>
                  <a:pt x="34" y="150"/>
                  <a:pt x="34" y="150"/>
                </a:cubicBezTo>
                <a:cubicBezTo>
                  <a:pt x="32" y="150"/>
                  <a:pt x="30" y="152"/>
                  <a:pt x="30" y="154"/>
                </a:cubicBezTo>
                <a:cubicBezTo>
                  <a:pt x="30" y="156"/>
                  <a:pt x="30" y="156"/>
                  <a:pt x="30" y="156"/>
                </a:cubicBezTo>
                <a:cubicBezTo>
                  <a:pt x="30" y="159"/>
                  <a:pt x="32" y="160"/>
                  <a:pt x="34" y="160"/>
                </a:cubicBezTo>
                <a:cubicBezTo>
                  <a:pt x="38" y="160"/>
                  <a:pt x="38" y="160"/>
                  <a:pt x="38" y="160"/>
                </a:cubicBezTo>
                <a:cubicBezTo>
                  <a:pt x="38" y="162"/>
                  <a:pt x="38" y="162"/>
                  <a:pt x="38" y="162"/>
                </a:cubicBezTo>
                <a:cubicBezTo>
                  <a:pt x="38" y="164"/>
                  <a:pt x="40" y="166"/>
                  <a:pt x="42" y="166"/>
                </a:cubicBezTo>
                <a:cubicBezTo>
                  <a:pt x="66" y="166"/>
                  <a:pt x="66" y="166"/>
                  <a:pt x="66" y="166"/>
                </a:cubicBezTo>
                <a:cubicBezTo>
                  <a:pt x="69" y="166"/>
                  <a:pt x="70" y="164"/>
                  <a:pt x="70" y="162"/>
                </a:cubicBezTo>
                <a:cubicBezTo>
                  <a:pt x="70" y="160"/>
                  <a:pt x="70" y="160"/>
                  <a:pt x="70" y="160"/>
                </a:cubicBezTo>
                <a:cubicBezTo>
                  <a:pt x="75" y="160"/>
                  <a:pt x="75" y="160"/>
                  <a:pt x="75" y="160"/>
                </a:cubicBezTo>
                <a:cubicBezTo>
                  <a:pt x="77" y="160"/>
                  <a:pt x="79" y="159"/>
                  <a:pt x="79" y="156"/>
                </a:cubicBezTo>
                <a:cubicBezTo>
                  <a:pt x="79" y="154"/>
                  <a:pt x="79" y="154"/>
                  <a:pt x="79" y="154"/>
                </a:cubicBezTo>
                <a:cubicBezTo>
                  <a:pt x="79" y="152"/>
                  <a:pt x="77" y="150"/>
                  <a:pt x="75" y="150"/>
                </a:cubicBezTo>
              </a:path>
            </a:pathLst>
          </a:custGeom>
          <a:solidFill>
            <a:schemeClr val="accent1">
              <a:lumMod val="10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cs typeface="+mn-ea"/>
              <a:sym typeface="+mn-lt"/>
            </a:endParaRPr>
          </a:p>
        </p:txBody>
      </p:sp>
      <p:sp>
        <p:nvSpPr>
          <p:cNvPr id="49" name="Freeform 68">
            <a:extLst>
              <a:ext uri="{FF2B5EF4-FFF2-40B4-BE49-F238E27FC236}">
                <a16:creationId xmlns:a16="http://schemas.microsoft.com/office/drawing/2014/main" id="{EB84889A-123B-47EB-A73D-CECABA4932D4}"/>
              </a:ext>
            </a:extLst>
          </p:cNvPr>
          <p:cNvSpPr>
            <a:spLocks noEditPoints="1"/>
          </p:cNvSpPr>
          <p:nvPr/>
        </p:nvSpPr>
        <p:spPr bwMode="auto">
          <a:xfrm>
            <a:off x="6886532" y="4579663"/>
            <a:ext cx="208066" cy="319414"/>
          </a:xfrm>
          <a:custGeom>
            <a:avLst/>
            <a:gdLst>
              <a:gd name="T0" fmla="*/ 78 w 108"/>
              <a:gd name="T1" fmla="*/ 143 h 166"/>
              <a:gd name="T2" fmla="*/ 33 w 108"/>
              <a:gd name="T3" fmla="*/ 147 h 166"/>
              <a:gd name="T4" fmla="*/ 29 w 108"/>
              <a:gd name="T5" fmla="*/ 143 h 166"/>
              <a:gd name="T6" fmla="*/ 74 w 108"/>
              <a:gd name="T7" fmla="*/ 139 h 166"/>
              <a:gd name="T8" fmla="*/ 74 w 108"/>
              <a:gd name="T9" fmla="*/ 150 h 166"/>
              <a:gd name="T10" fmla="*/ 29 w 108"/>
              <a:gd name="T11" fmla="*/ 154 h 166"/>
              <a:gd name="T12" fmla="*/ 33 w 108"/>
              <a:gd name="T13" fmla="*/ 160 h 166"/>
              <a:gd name="T14" fmla="*/ 38 w 108"/>
              <a:gd name="T15" fmla="*/ 162 h 166"/>
              <a:gd name="T16" fmla="*/ 66 w 108"/>
              <a:gd name="T17" fmla="*/ 166 h 166"/>
              <a:gd name="T18" fmla="*/ 70 w 108"/>
              <a:gd name="T19" fmla="*/ 160 h 166"/>
              <a:gd name="T20" fmla="*/ 78 w 108"/>
              <a:gd name="T21" fmla="*/ 156 h 166"/>
              <a:gd name="T22" fmla="*/ 74 w 108"/>
              <a:gd name="T23" fmla="*/ 150 h 166"/>
              <a:gd name="T24" fmla="*/ 33 w 108"/>
              <a:gd name="T25" fmla="*/ 127 h 166"/>
              <a:gd name="T26" fmla="*/ 29 w 108"/>
              <a:gd name="T27" fmla="*/ 132 h 166"/>
              <a:gd name="T28" fmla="*/ 74 w 108"/>
              <a:gd name="T29" fmla="*/ 136 h 166"/>
              <a:gd name="T30" fmla="*/ 78 w 108"/>
              <a:gd name="T31" fmla="*/ 131 h 166"/>
              <a:gd name="T32" fmla="*/ 108 w 108"/>
              <a:gd name="T33" fmla="*/ 53 h 166"/>
              <a:gd name="T34" fmla="*/ 76 w 108"/>
              <a:gd name="T35" fmla="*/ 123 h 166"/>
              <a:gd name="T36" fmla="*/ 15 w 108"/>
              <a:gd name="T37" fmla="*/ 90 h 166"/>
              <a:gd name="T38" fmla="*/ 54 w 108"/>
              <a:gd name="T39" fmla="*/ 0 h 166"/>
              <a:gd name="T40" fmla="*/ 54 w 108"/>
              <a:gd name="T41" fmla="*/ 0 h 166"/>
              <a:gd name="T42" fmla="*/ 61 w 108"/>
              <a:gd name="T43" fmla="*/ 115 h 166"/>
              <a:gd name="T44" fmla="*/ 67 w 108"/>
              <a:gd name="T45" fmla="*/ 73 h 166"/>
              <a:gd name="T46" fmla="*/ 63 w 108"/>
              <a:gd name="T47" fmla="*/ 77 h 166"/>
              <a:gd name="T48" fmla="*/ 54 w 108"/>
              <a:gd name="T49" fmla="*/ 69 h 166"/>
              <a:gd name="T50" fmla="*/ 45 w 108"/>
              <a:gd name="T51" fmla="*/ 76 h 166"/>
              <a:gd name="T52" fmla="*/ 39 w 108"/>
              <a:gd name="T53" fmla="*/ 73 h 166"/>
              <a:gd name="T54" fmla="*/ 61 w 108"/>
              <a:gd name="T55" fmla="*/ 115 h 166"/>
              <a:gd name="T56" fmla="*/ 54 w 108"/>
              <a:gd name="T57" fmla="*/ 8 h 166"/>
              <a:gd name="T58" fmla="*/ 54 w 108"/>
              <a:gd name="T59" fmla="*/ 8 h 166"/>
              <a:gd name="T60" fmla="*/ 20 w 108"/>
              <a:gd name="T61" fmla="*/ 85 h 166"/>
              <a:gd name="T62" fmla="*/ 21 w 108"/>
              <a:gd name="T63" fmla="*/ 85 h 166"/>
              <a:gd name="T64" fmla="*/ 34 w 108"/>
              <a:gd name="T65" fmla="*/ 115 h 166"/>
              <a:gd name="T66" fmla="*/ 35 w 108"/>
              <a:gd name="T67" fmla="*/ 73 h 166"/>
              <a:gd name="T68" fmla="*/ 31 w 108"/>
              <a:gd name="T69" fmla="*/ 72 h 166"/>
              <a:gd name="T70" fmla="*/ 35 w 108"/>
              <a:gd name="T71" fmla="*/ 71 h 166"/>
              <a:gd name="T72" fmla="*/ 36 w 108"/>
              <a:gd name="T73" fmla="*/ 67 h 166"/>
              <a:gd name="T74" fmla="*/ 39 w 108"/>
              <a:gd name="T75" fmla="*/ 71 h 166"/>
              <a:gd name="T76" fmla="*/ 42 w 108"/>
              <a:gd name="T77" fmla="*/ 71 h 166"/>
              <a:gd name="T78" fmla="*/ 53 w 108"/>
              <a:gd name="T79" fmla="*/ 67 h 166"/>
              <a:gd name="T80" fmla="*/ 63 w 108"/>
              <a:gd name="T81" fmla="*/ 74 h 166"/>
              <a:gd name="T82" fmla="*/ 67 w 108"/>
              <a:gd name="T83" fmla="*/ 71 h 166"/>
              <a:gd name="T84" fmla="*/ 69 w 108"/>
              <a:gd name="T85" fmla="*/ 69 h 166"/>
              <a:gd name="T86" fmla="*/ 73 w 108"/>
              <a:gd name="T87" fmla="*/ 69 h 166"/>
              <a:gd name="T88" fmla="*/ 75 w 108"/>
              <a:gd name="T89" fmla="*/ 71 h 166"/>
              <a:gd name="T90" fmla="*/ 75 w 108"/>
              <a:gd name="T91" fmla="*/ 73 h 166"/>
              <a:gd name="T92" fmla="*/ 65 w 108"/>
              <a:gd name="T93" fmla="*/ 115 h 166"/>
              <a:gd name="T94" fmla="*/ 73 w 108"/>
              <a:gd name="T95" fmla="*/ 115 h 166"/>
              <a:gd name="T96" fmla="*/ 87 w 108"/>
              <a:gd name="T97" fmla="*/ 85 h 166"/>
              <a:gd name="T98" fmla="*/ 100 w 108"/>
              <a:gd name="T99" fmla="*/ 53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08" h="166">
                <a:moveTo>
                  <a:pt x="78" y="143"/>
                </a:moveTo>
                <a:cubicBezTo>
                  <a:pt x="78" y="143"/>
                  <a:pt x="78" y="143"/>
                  <a:pt x="78" y="143"/>
                </a:cubicBezTo>
                <a:cubicBezTo>
                  <a:pt x="78" y="145"/>
                  <a:pt x="76" y="147"/>
                  <a:pt x="74" y="147"/>
                </a:cubicBezTo>
                <a:cubicBezTo>
                  <a:pt x="33" y="147"/>
                  <a:pt x="33" y="147"/>
                  <a:pt x="33" y="147"/>
                </a:cubicBezTo>
                <a:cubicBezTo>
                  <a:pt x="31" y="147"/>
                  <a:pt x="29" y="145"/>
                  <a:pt x="29" y="143"/>
                </a:cubicBezTo>
                <a:cubicBezTo>
                  <a:pt x="29" y="143"/>
                  <a:pt x="29" y="143"/>
                  <a:pt x="29" y="143"/>
                </a:cubicBezTo>
                <a:cubicBezTo>
                  <a:pt x="29" y="141"/>
                  <a:pt x="31" y="139"/>
                  <a:pt x="33" y="139"/>
                </a:cubicBezTo>
                <a:cubicBezTo>
                  <a:pt x="74" y="139"/>
                  <a:pt x="74" y="139"/>
                  <a:pt x="74" y="139"/>
                </a:cubicBezTo>
                <a:cubicBezTo>
                  <a:pt x="76" y="139"/>
                  <a:pt x="78" y="141"/>
                  <a:pt x="78" y="143"/>
                </a:cubicBezTo>
                <a:moveTo>
                  <a:pt x="74" y="150"/>
                </a:moveTo>
                <a:cubicBezTo>
                  <a:pt x="33" y="150"/>
                  <a:pt x="33" y="150"/>
                  <a:pt x="33" y="150"/>
                </a:cubicBezTo>
                <a:cubicBezTo>
                  <a:pt x="31" y="150"/>
                  <a:pt x="29" y="152"/>
                  <a:pt x="29" y="154"/>
                </a:cubicBezTo>
                <a:cubicBezTo>
                  <a:pt x="29" y="156"/>
                  <a:pt x="29" y="156"/>
                  <a:pt x="29" y="156"/>
                </a:cubicBezTo>
                <a:cubicBezTo>
                  <a:pt x="29" y="159"/>
                  <a:pt x="31" y="160"/>
                  <a:pt x="33" y="160"/>
                </a:cubicBezTo>
                <a:cubicBezTo>
                  <a:pt x="38" y="160"/>
                  <a:pt x="38" y="160"/>
                  <a:pt x="38" y="160"/>
                </a:cubicBezTo>
                <a:cubicBezTo>
                  <a:pt x="38" y="162"/>
                  <a:pt x="38" y="162"/>
                  <a:pt x="38" y="162"/>
                </a:cubicBezTo>
                <a:cubicBezTo>
                  <a:pt x="38" y="164"/>
                  <a:pt x="39" y="166"/>
                  <a:pt x="42" y="166"/>
                </a:cubicBezTo>
                <a:cubicBezTo>
                  <a:pt x="66" y="166"/>
                  <a:pt x="66" y="166"/>
                  <a:pt x="66" y="166"/>
                </a:cubicBezTo>
                <a:cubicBezTo>
                  <a:pt x="68" y="166"/>
                  <a:pt x="70" y="164"/>
                  <a:pt x="70" y="162"/>
                </a:cubicBezTo>
                <a:cubicBezTo>
                  <a:pt x="70" y="160"/>
                  <a:pt x="70" y="160"/>
                  <a:pt x="70" y="160"/>
                </a:cubicBezTo>
                <a:cubicBezTo>
                  <a:pt x="74" y="160"/>
                  <a:pt x="74" y="160"/>
                  <a:pt x="74" y="160"/>
                </a:cubicBezTo>
                <a:cubicBezTo>
                  <a:pt x="76" y="160"/>
                  <a:pt x="78" y="159"/>
                  <a:pt x="78" y="156"/>
                </a:cubicBezTo>
                <a:cubicBezTo>
                  <a:pt x="78" y="154"/>
                  <a:pt x="78" y="154"/>
                  <a:pt x="78" y="154"/>
                </a:cubicBezTo>
                <a:cubicBezTo>
                  <a:pt x="78" y="152"/>
                  <a:pt x="76" y="150"/>
                  <a:pt x="74" y="150"/>
                </a:cubicBezTo>
                <a:moveTo>
                  <a:pt x="74" y="127"/>
                </a:moveTo>
                <a:cubicBezTo>
                  <a:pt x="33" y="127"/>
                  <a:pt x="33" y="127"/>
                  <a:pt x="33" y="127"/>
                </a:cubicBezTo>
                <a:cubicBezTo>
                  <a:pt x="31" y="127"/>
                  <a:pt x="29" y="129"/>
                  <a:pt x="29" y="131"/>
                </a:cubicBezTo>
                <a:cubicBezTo>
                  <a:pt x="29" y="132"/>
                  <a:pt x="29" y="132"/>
                  <a:pt x="29" y="132"/>
                </a:cubicBezTo>
                <a:cubicBezTo>
                  <a:pt x="29" y="134"/>
                  <a:pt x="31" y="136"/>
                  <a:pt x="33" y="136"/>
                </a:cubicBezTo>
                <a:cubicBezTo>
                  <a:pt x="74" y="136"/>
                  <a:pt x="74" y="136"/>
                  <a:pt x="74" y="136"/>
                </a:cubicBezTo>
                <a:cubicBezTo>
                  <a:pt x="76" y="136"/>
                  <a:pt x="78" y="134"/>
                  <a:pt x="78" y="132"/>
                </a:cubicBezTo>
                <a:cubicBezTo>
                  <a:pt x="78" y="131"/>
                  <a:pt x="78" y="131"/>
                  <a:pt x="78" y="131"/>
                </a:cubicBezTo>
                <a:cubicBezTo>
                  <a:pt x="78" y="129"/>
                  <a:pt x="76" y="127"/>
                  <a:pt x="74" y="127"/>
                </a:cubicBezTo>
                <a:moveTo>
                  <a:pt x="108" y="53"/>
                </a:moveTo>
                <a:cubicBezTo>
                  <a:pt x="108" y="68"/>
                  <a:pt x="102" y="81"/>
                  <a:pt x="93" y="90"/>
                </a:cubicBezTo>
                <a:cubicBezTo>
                  <a:pt x="75" y="111"/>
                  <a:pt x="86" y="123"/>
                  <a:pt x="76" y="123"/>
                </a:cubicBezTo>
                <a:cubicBezTo>
                  <a:pt x="32" y="123"/>
                  <a:pt x="32" y="123"/>
                  <a:pt x="32" y="123"/>
                </a:cubicBezTo>
                <a:cubicBezTo>
                  <a:pt x="22" y="123"/>
                  <a:pt x="32" y="111"/>
                  <a:pt x="15" y="90"/>
                </a:cubicBezTo>
                <a:cubicBezTo>
                  <a:pt x="6" y="81"/>
                  <a:pt x="0" y="68"/>
                  <a:pt x="0" y="53"/>
                </a:cubicBezTo>
                <a:cubicBezTo>
                  <a:pt x="0" y="24"/>
                  <a:pt x="24" y="0"/>
                  <a:pt x="54" y="0"/>
                </a:cubicBezTo>
                <a:cubicBezTo>
                  <a:pt x="54" y="0"/>
                  <a:pt x="54" y="0"/>
                  <a:pt x="54" y="0"/>
                </a:cubicBezTo>
                <a:cubicBezTo>
                  <a:pt x="54" y="0"/>
                  <a:pt x="54" y="0"/>
                  <a:pt x="54" y="0"/>
                </a:cubicBezTo>
                <a:cubicBezTo>
                  <a:pt x="84" y="0"/>
                  <a:pt x="108" y="24"/>
                  <a:pt x="108" y="53"/>
                </a:cubicBezTo>
                <a:moveTo>
                  <a:pt x="61" y="115"/>
                </a:moveTo>
                <a:cubicBezTo>
                  <a:pt x="68" y="73"/>
                  <a:pt x="68" y="73"/>
                  <a:pt x="68" y="73"/>
                </a:cubicBezTo>
                <a:cubicBezTo>
                  <a:pt x="67" y="73"/>
                  <a:pt x="67" y="73"/>
                  <a:pt x="67" y="73"/>
                </a:cubicBezTo>
                <a:cubicBezTo>
                  <a:pt x="63" y="76"/>
                  <a:pt x="63" y="76"/>
                  <a:pt x="63" y="76"/>
                </a:cubicBezTo>
                <a:cubicBezTo>
                  <a:pt x="63" y="76"/>
                  <a:pt x="63" y="77"/>
                  <a:pt x="63" y="77"/>
                </a:cubicBezTo>
                <a:cubicBezTo>
                  <a:pt x="62" y="77"/>
                  <a:pt x="62" y="76"/>
                  <a:pt x="62" y="76"/>
                </a:cubicBezTo>
                <a:cubicBezTo>
                  <a:pt x="54" y="69"/>
                  <a:pt x="54" y="69"/>
                  <a:pt x="54" y="69"/>
                </a:cubicBezTo>
                <a:cubicBezTo>
                  <a:pt x="46" y="76"/>
                  <a:pt x="46" y="76"/>
                  <a:pt x="46" y="76"/>
                </a:cubicBezTo>
                <a:cubicBezTo>
                  <a:pt x="46" y="77"/>
                  <a:pt x="45" y="77"/>
                  <a:pt x="45" y="76"/>
                </a:cubicBezTo>
                <a:cubicBezTo>
                  <a:pt x="41" y="73"/>
                  <a:pt x="41" y="73"/>
                  <a:pt x="41" y="73"/>
                </a:cubicBezTo>
                <a:cubicBezTo>
                  <a:pt x="39" y="73"/>
                  <a:pt x="39" y="73"/>
                  <a:pt x="39" y="73"/>
                </a:cubicBezTo>
                <a:cubicBezTo>
                  <a:pt x="47" y="115"/>
                  <a:pt x="47" y="115"/>
                  <a:pt x="47" y="115"/>
                </a:cubicBezTo>
                <a:lnTo>
                  <a:pt x="61" y="115"/>
                </a:lnTo>
                <a:close/>
                <a:moveTo>
                  <a:pt x="100" y="53"/>
                </a:moveTo>
                <a:cubicBezTo>
                  <a:pt x="100" y="28"/>
                  <a:pt x="79" y="8"/>
                  <a:pt x="54" y="8"/>
                </a:cubicBezTo>
                <a:cubicBezTo>
                  <a:pt x="54" y="0"/>
                  <a:pt x="54" y="0"/>
                  <a:pt x="54" y="0"/>
                </a:cubicBezTo>
                <a:cubicBezTo>
                  <a:pt x="54" y="8"/>
                  <a:pt x="54" y="8"/>
                  <a:pt x="54" y="8"/>
                </a:cubicBezTo>
                <a:cubicBezTo>
                  <a:pt x="29" y="8"/>
                  <a:pt x="8" y="28"/>
                  <a:pt x="8" y="53"/>
                </a:cubicBezTo>
                <a:cubicBezTo>
                  <a:pt x="8" y="65"/>
                  <a:pt x="12" y="76"/>
                  <a:pt x="20" y="85"/>
                </a:cubicBezTo>
                <a:cubicBezTo>
                  <a:pt x="21" y="85"/>
                  <a:pt x="21" y="85"/>
                  <a:pt x="21" y="85"/>
                </a:cubicBezTo>
                <a:cubicBezTo>
                  <a:pt x="21" y="85"/>
                  <a:pt x="21" y="85"/>
                  <a:pt x="21" y="85"/>
                </a:cubicBezTo>
                <a:cubicBezTo>
                  <a:pt x="32" y="98"/>
                  <a:pt x="34" y="109"/>
                  <a:pt x="34" y="115"/>
                </a:cubicBezTo>
                <a:cubicBezTo>
                  <a:pt x="34" y="115"/>
                  <a:pt x="34" y="115"/>
                  <a:pt x="34" y="115"/>
                </a:cubicBezTo>
                <a:cubicBezTo>
                  <a:pt x="43" y="115"/>
                  <a:pt x="43" y="115"/>
                  <a:pt x="43" y="115"/>
                </a:cubicBezTo>
                <a:cubicBezTo>
                  <a:pt x="35" y="73"/>
                  <a:pt x="35" y="73"/>
                  <a:pt x="35" y="73"/>
                </a:cubicBezTo>
                <a:cubicBezTo>
                  <a:pt x="32" y="73"/>
                  <a:pt x="32" y="73"/>
                  <a:pt x="32" y="73"/>
                </a:cubicBezTo>
                <a:cubicBezTo>
                  <a:pt x="32" y="73"/>
                  <a:pt x="31" y="72"/>
                  <a:pt x="31" y="72"/>
                </a:cubicBezTo>
                <a:cubicBezTo>
                  <a:pt x="31" y="71"/>
                  <a:pt x="32" y="71"/>
                  <a:pt x="32" y="71"/>
                </a:cubicBezTo>
                <a:cubicBezTo>
                  <a:pt x="35" y="71"/>
                  <a:pt x="35" y="71"/>
                  <a:pt x="35" y="71"/>
                </a:cubicBezTo>
                <a:cubicBezTo>
                  <a:pt x="35" y="69"/>
                  <a:pt x="35" y="69"/>
                  <a:pt x="35" y="69"/>
                </a:cubicBezTo>
                <a:cubicBezTo>
                  <a:pt x="35" y="68"/>
                  <a:pt x="35" y="67"/>
                  <a:pt x="36" y="67"/>
                </a:cubicBezTo>
                <a:cubicBezTo>
                  <a:pt x="37" y="67"/>
                  <a:pt x="39" y="68"/>
                  <a:pt x="39" y="69"/>
                </a:cubicBezTo>
                <a:cubicBezTo>
                  <a:pt x="39" y="71"/>
                  <a:pt x="39" y="71"/>
                  <a:pt x="39" y="71"/>
                </a:cubicBezTo>
                <a:cubicBezTo>
                  <a:pt x="41" y="71"/>
                  <a:pt x="41" y="71"/>
                  <a:pt x="41" y="71"/>
                </a:cubicBezTo>
                <a:cubicBezTo>
                  <a:pt x="42" y="71"/>
                  <a:pt x="42" y="71"/>
                  <a:pt x="42" y="71"/>
                </a:cubicBezTo>
                <a:cubicBezTo>
                  <a:pt x="46" y="74"/>
                  <a:pt x="46" y="74"/>
                  <a:pt x="46" y="74"/>
                </a:cubicBezTo>
                <a:cubicBezTo>
                  <a:pt x="53" y="67"/>
                  <a:pt x="53" y="67"/>
                  <a:pt x="53" y="67"/>
                </a:cubicBezTo>
                <a:cubicBezTo>
                  <a:pt x="54" y="66"/>
                  <a:pt x="54" y="66"/>
                  <a:pt x="55" y="67"/>
                </a:cubicBezTo>
                <a:cubicBezTo>
                  <a:pt x="63" y="74"/>
                  <a:pt x="63" y="74"/>
                  <a:pt x="63" y="74"/>
                </a:cubicBezTo>
                <a:cubicBezTo>
                  <a:pt x="66" y="71"/>
                  <a:pt x="66" y="71"/>
                  <a:pt x="66" y="71"/>
                </a:cubicBezTo>
                <a:cubicBezTo>
                  <a:pt x="66" y="71"/>
                  <a:pt x="67" y="71"/>
                  <a:pt x="67" y="71"/>
                </a:cubicBezTo>
                <a:cubicBezTo>
                  <a:pt x="69" y="71"/>
                  <a:pt x="69" y="71"/>
                  <a:pt x="69" y="71"/>
                </a:cubicBezTo>
                <a:cubicBezTo>
                  <a:pt x="69" y="69"/>
                  <a:pt x="69" y="69"/>
                  <a:pt x="69" y="69"/>
                </a:cubicBezTo>
                <a:cubicBezTo>
                  <a:pt x="69" y="68"/>
                  <a:pt x="70" y="67"/>
                  <a:pt x="71" y="67"/>
                </a:cubicBezTo>
                <a:cubicBezTo>
                  <a:pt x="72" y="67"/>
                  <a:pt x="73" y="68"/>
                  <a:pt x="73" y="69"/>
                </a:cubicBezTo>
                <a:cubicBezTo>
                  <a:pt x="73" y="71"/>
                  <a:pt x="73" y="71"/>
                  <a:pt x="73" y="71"/>
                </a:cubicBezTo>
                <a:cubicBezTo>
                  <a:pt x="75" y="71"/>
                  <a:pt x="75" y="71"/>
                  <a:pt x="75" y="71"/>
                </a:cubicBezTo>
                <a:cubicBezTo>
                  <a:pt x="76" y="71"/>
                  <a:pt x="76" y="71"/>
                  <a:pt x="76" y="72"/>
                </a:cubicBezTo>
                <a:cubicBezTo>
                  <a:pt x="76" y="72"/>
                  <a:pt x="76" y="73"/>
                  <a:pt x="75" y="73"/>
                </a:cubicBezTo>
                <a:cubicBezTo>
                  <a:pt x="72" y="73"/>
                  <a:pt x="72" y="73"/>
                  <a:pt x="72" y="73"/>
                </a:cubicBezTo>
                <a:cubicBezTo>
                  <a:pt x="65" y="115"/>
                  <a:pt x="65" y="115"/>
                  <a:pt x="65" y="115"/>
                </a:cubicBezTo>
                <a:cubicBezTo>
                  <a:pt x="73" y="115"/>
                  <a:pt x="73" y="115"/>
                  <a:pt x="73" y="115"/>
                </a:cubicBezTo>
                <a:cubicBezTo>
                  <a:pt x="73" y="115"/>
                  <a:pt x="73" y="115"/>
                  <a:pt x="73" y="115"/>
                </a:cubicBezTo>
                <a:cubicBezTo>
                  <a:pt x="74" y="109"/>
                  <a:pt x="76" y="98"/>
                  <a:pt x="87" y="85"/>
                </a:cubicBezTo>
                <a:cubicBezTo>
                  <a:pt x="87" y="85"/>
                  <a:pt x="87" y="85"/>
                  <a:pt x="87" y="85"/>
                </a:cubicBezTo>
                <a:cubicBezTo>
                  <a:pt x="87" y="85"/>
                  <a:pt x="87" y="85"/>
                  <a:pt x="87" y="85"/>
                </a:cubicBezTo>
                <a:cubicBezTo>
                  <a:pt x="95" y="76"/>
                  <a:pt x="100" y="65"/>
                  <a:pt x="100" y="53"/>
                </a:cubicBezTo>
              </a:path>
            </a:pathLst>
          </a:custGeom>
          <a:solidFill>
            <a:schemeClr val="accent1">
              <a:lumMod val="10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cs typeface="+mn-ea"/>
              <a:sym typeface="+mn-lt"/>
            </a:endParaRPr>
          </a:p>
        </p:txBody>
      </p:sp>
      <p:sp>
        <p:nvSpPr>
          <p:cNvPr id="50" name="Freeform 69">
            <a:extLst>
              <a:ext uri="{FF2B5EF4-FFF2-40B4-BE49-F238E27FC236}">
                <a16:creationId xmlns:a16="http://schemas.microsoft.com/office/drawing/2014/main" id="{A3B47B72-8F20-4ABA-880B-750833AF374D}"/>
              </a:ext>
            </a:extLst>
          </p:cNvPr>
          <p:cNvSpPr>
            <a:spLocks noEditPoints="1"/>
          </p:cNvSpPr>
          <p:nvPr/>
        </p:nvSpPr>
        <p:spPr bwMode="auto">
          <a:xfrm>
            <a:off x="4995924" y="1974065"/>
            <a:ext cx="330067" cy="292083"/>
          </a:xfrm>
          <a:custGeom>
            <a:avLst/>
            <a:gdLst>
              <a:gd name="T0" fmla="*/ 154 w 213"/>
              <a:gd name="T1" fmla="*/ 52 h 188"/>
              <a:gd name="T2" fmla="*/ 115 w 213"/>
              <a:gd name="T3" fmla="*/ 91 h 188"/>
              <a:gd name="T4" fmla="*/ 98 w 213"/>
              <a:gd name="T5" fmla="*/ 91 h 188"/>
              <a:gd name="T6" fmla="*/ 59 w 213"/>
              <a:gd name="T7" fmla="*/ 52 h 188"/>
              <a:gd name="T8" fmla="*/ 59 w 213"/>
              <a:gd name="T9" fmla="*/ 11 h 188"/>
              <a:gd name="T10" fmla="*/ 100 w 213"/>
              <a:gd name="T11" fmla="*/ 11 h 188"/>
              <a:gd name="T12" fmla="*/ 106 w 213"/>
              <a:gd name="T13" fmla="*/ 17 h 188"/>
              <a:gd name="T14" fmla="*/ 113 w 213"/>
              <a:gd name="T15" fmla="*/ 11 h 188"/>
              <a:gd name="T16" fmla="*/ 154 w 213"/>
              <a:gd name="T17" fmla="*/ 11 h 188"/>
              <a:gd name="T18" fmla="*/ 154 w 213"/>
              <a:gd name="T19" fmla="*/ 52 h 188"/>
              <a:gd name="T20" fmla="*/ 73 w 213"/>
              <a:gd name="T21" fmla="*/ 101 h 188"/>
              <a:gd name="T22" fmla="*/ 54 w 213"/>
              <a:gd name="T23" fmla="*/ 84 h 188"/>
              <a:gd name="T24" fmla="*/ 37 w 213"/>
              <a:gd name="T25" fmla="*/ 71 h 188"/>
              <a:gd name="T26" fmla="*/ 32 w 213"/>
              <a:gd name="T27" fmla="*/ 90 h 188"/>
              <a:gd name="T28" fmla="*/ 46 w 213"/>
              <a:gd name="T29" fmla="*/ 106 h 188"/>
              <a:gd name="T30" fmla="*/ 50 w 213"/>
              <a:gd name="T31" fmla="*/ 117 h 188"/>
              <a:gd name="T32" fmla="*/ 42 w 213"/>
              <a:gd name="T33" fmla="*/ 108 h 188"/>
              <a:gd name="T34" fmla="*/ 29 w 213"/>
              <a:gd name="T35" fmla="*/ 93 h 188"/>
              <a:gd name="T36" fmla="*/ 27 w 213"/>
              <a:gd name="T37" fmla="*/ 68 h 188"/>
              <a:gd name="T38" fmla="*/ 32 w 213"/>
              <a:gd name="T39" fmla="*/ 37 h 188"/>
              <a:gd name="T40" fmla="*/ 19 w 213"/>
              <a:gd name="T41" fmla="*/ 25 h 188"/>
              <a:gd name="T42" fmla="*/ 5 w 213"/>
              <a:gd name="T43" fmla="*/ 60 h 188"/>
              <a:gd name="T44" fmla="*/ 0 w 213"/>
              <a:gd name="T45" fmla="*/ 101 h 188"/>
              <a:gd name="T46" fmla="*/ 12 w 213"/>
              <a:gd name="T47" fmla="*/ 124 h 188"/>
              <a:gd name="T48" fmla="*/ 38 w 213"/>
              <a:gd name="T49" fmla="*/ 167 h 188"/>
              <a:gd name="T50" fmla="*/ 38 w 213"/>
              <a:gd name="T51" fmla="*/ 188 h 188"/>
              <a:gd name="T52" fmla="*/ 89 w 213"/>
              <a:gd name="T53" fmla="*/ 188 h 188"/>
              <a:gd name="T54" fmla="*/ 89 w 213"/>
              <a:gd name="T55" fmla="*/ 170 h 188"/>
              <a:gd name="T56" fmla="*/ 90 w 213"/>
              <a:gd name="T57" fmla="*/ 157 h 188"/>
              <a:gd name="T58" fmla="*/ 87 w 213"/>
              <a:gd name="T59" fmla="*/ 133 h 188"/>
              <a:gd name="T60" fmla="*/ 73 w 213"/>
              <a:gd name="T61" fmla="*/ 101 h 188"/>
              <a:gd name="T62" fmla="*/ 208 w 213"/>
              <a:gd name="T63" fmla="*/ 60 h 188"/>
              <a:gd name="T64" fmla="*/ 194 w 213"/>
              <a:gd name="T65" fmla="*/ 25 h 188"/>
              <a:gd name="T66" fmla="*/ 181 w 213"/>
              <a:gd name="T67" fmla="*/ 37 h 188"/>
              <a:gd name="T68" fmla="*/ 186 w 213"/>
              <a:gd name="T69" fmla="*/ 68 h 188"/>
              <a:gd name="T70" fmla="*/ 184 w 213"/>
              <a:gd name="T71" fmla="*/ 93 h 188"/>
              <a:gd name="T72" fmla="*/ 171 w 213"/>
              <a:gd name="T73" fmla="*/ 108 h 188"/>
              <a:gd name="T74" fmla="*/ 163 w 213"/>
              <a:gd name="T75" fmla="*/ 117 h 188"/>
              <a:gd name="T76" fmla="*/ 167 w 213"/>
              <a:gd name="T77" fmla="*/ 106 h 188"/>
              <a:gd name="T78" fmla="*/ 181 w 213"/>
              <a:gd name="T79" fmla="*/ 90 h 188"/>
              <a:gd name="T80" fmla="*/ 175 w 213"/>
              <a:gd name="T81" fmla="*/ 71 h 188"/>
              <a:gd name="T82" fmla="*/ 159 w 213"/>
              <a:gd name="T83" fmla="*/ 84 h 188"/>
              <a:gd name="T84" fmla="*/ 140 w 213"/>
              <a:gd name="T85" fmla="*/ 101 h 188"/>
              <a:gd name="T86" fmla="*/ 125 w 213"/>
              <a:gd name="T87" fmla="*/ 133 h 188"/>
              <a:gd name="T88" fmla="*/ 122 w 213"/>
              <a:gd name="T89" fmla="*/ 157 h 188"/>
              <a:gd name="T90" fmla="*/ 124 w 213"/>
              <a:gd name="T91" fmla="*/ 170 h 188"/>
              <a:gd name="T92" fmla="*/ 124 w 213"/>
              <a:gd name="T93" fmla="*/ 188 h 188"/>
              <a:gd name="T94" fmla="*/ 175 w 213"/>
              <a:gd name="T95" fmla="*/ 188 h 188"/>
              <a:gd name="T96" fmla="*/ 175 w 213"/>
              <a:gd name="T97" fmla="*/ 167 h 188"/>
              <a:gd name="T98" fmla="*/ 201 w 213"/>
              <a:gd name="T99" fmla="*/ 124 h 188"/>
              <a:gd name="T100" fmla="*/ 213 w 213"/>
              <a:gd name="T101" fmla="*/ 101 h 188"/>
              <a:gd name="T102" fmla="*/ 208 w 213"/>
              <a:gd name="T103" fmla="*/ 60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13" h="188">
                <a:moveTo>
                  <a:pt x="154" y="52"/>
                </a:moveTo>
                <a:cubicBezTo>
                  <a:pt x="115" y="91"/>
                  <a:pt x="115" y="91"/>
                  <a:pt x="115" y="91"/>
                </a:cubicBezTo>
                <a:cubicBezTo>
                  <a:pt x="110" y="95"/>
                  <a:pt x="103" y="95"/>
                  <a:pt x="98" y="91"/>
                </a:cubicBezTo>
                <a:cubicBezTo>
                  <a:pt x="59" y="52"/>
                  <a:pt x="59" y="52"/>
                  <a:pt x="59" y="52"/>
                </a:cubicBezTo>
                <a:cubicBezTo>
                  <a:pt x="48" y="40"/>
                  <a:pt x="48" y="22"/>
                  <a:pt x="59" y="11"/>
                </a:cubicBezTo>
                <a:cubicBezTo>
                  <a:pt x="71" y="0"/>
                  <a:pt x="89" y="0"/>
                  <a:pt x="100" y="11"/>
                </a:cubicBezTo>
                <a:cubicBezTo>
                  <a:pt x="106" y="17"/>
                  <a:pt x="106" y="17"/>
                  <a:pt x="106" y="17"/>
                </a:cubicBezTo>
                <a:cubicBezTo>
                  <a:pt x="113" y="11"/>
                  <a:pt x="113" y="11"/>
                  <a:pt x="113" y="11"/>
                </a:cubicBezTo>
                <a:cubicBezTo>
                  <a:pt x="124" y="0"/>
                  <a:pt x="142" y="0"/>
                  <a:pt x="154" y="11"/>
                </a:cubicBezTo>
                <a:cubicBezTo>
                  <a:pt x="165" y="22"/>
                  <a:pt x="165" y="40"/>
                  <a:pt x="154" y="52"/>
                </a:cubicBezTo>
                <a:moveTo>
                  <a:pt x="73" y="101"/>
                </a:moveTo>
                <a:cubicBezTo>
                  <a:pt x="69" y="95"/>
                  <a:pt x="56" y="86"/>
                  <a:pt x="54" y="84"/>
                </a:cubicBezTo>
                <a:cubicBezTo>
                  <a:pt x="51" y="82"/>
                  <a:pt x="40" y="70"/>
                  <a:pt x="37" y="71"/>
                </a:cubicBezTo>
                <a:cubicBezTo>
                  <a:pt x="35" y="72"/>
                  <a:pt x="29" y="79"/>
                  <a:pt x="32" y="90"/>
                </a:cubicBezTo>
                <a:cubicBezTo>
                  <a:pt x="33" y="94"/>
                  <a:pt x="39" y="99"/>
                  <a:pt x="46" y="106"/>
                </a:cubicBezTo>
                <a:cubicBezTo>
                  <a:pt x="51" y="111"/>
                  <a:pt x="50" y="117"/>
                  <a:pt x="50" y="117"/>
                </a:cubicBezTo>
                <a:cubicBezTo>
                  <a:pt x="50" y="117"/>
                  <a:pt x="47" y="113"/>
                  <a:pt x="42" y="108"/>
                </a:cubicBezTo>
                <a:cubicBezTo>
                  <a:pt x="37" y="104"/>
                  <a:pt x="30" y="96"/>
                  <a:pt x="29" y="93"/>
                </a:cubicBezTo>
                <a:cubicBezTo>
                  <a:pt x="27" y="88"/>
                  <a:pt x="26" y="80"/>
                  <a:pt x="27" y="68"/>
                </a:cubicBezTo>
                <a:cubicBezTo>
                  <a:pt x="29" y="55"/>
                  <a:pt x="33" y="49"/>
                  <a:pt x="32" y="37"/>
                </a:cubicBezTo>
                <a:cubicBezTo>
                  <a:pt x="31" y="27"/>
                  <a:pt x="20" y="20"/>
                  <a:pt x="19" y="25"/>
                </a:cubicBezTo>
                <a:cubicBezTo>
                  <a:pt x="17" y="29"/>
                  <a:pt x="6" y="54"/>
                  <a:pt x="5" y="60"/>
                </a:cubicBezTo>
                <a:cubicBezTo>
                  <a:pt x="3" y="65"/>
                  <a:pt x="1" y="94"/>
                  <a:pt x="0" y="101"/>
                </a:cubicBezTo>
                <a:cubicBezTo>
                  <a:pt x="0" y="107"/>
                  <a:pt x="5" y="115"/>
                  <a:pt x="12" y="124"/>
                </a:cubicBezTo>
                <a:cubicBezTo>
                  <a:pt x="19" y="134"/>
                  <a:pt x="37" y="159"/>
                  <a:pt x="38" y="167"/>
                </a:cubicBezTo>
                <a:cubicBezTo>
                  <a:pt x="38" y="188"/>
                  <a:pt x="38" y="188"/>
                  <a:pt x="38" y="188"/>
                </a:cubicBezTo>
                <a:cubicBezTo>
                  <a:pt x="89" y="188"/>
                  <a:pt x="89" y="188"/>
                  <a:pt x="89" y="188"/>
                </a:cubicBezTo>
                <a:cubicBezTo>
                  <a:pt x="89" y="170"/>
                  <a:pt x="89" y="170"/>
                  <a:pt x="89" y="170"/>
                </a:cubicBezTo>
                <a:cubicBezTo>
                  <a:pt x="89" y="165"/>
                  <a:pt x="90" y="162"/>
                  <a:pt x="90" y="157"/>
                </a:cubicBezTo>
                <a:cubicBezTo>
                  <a:pt x="90" y="151"/>
                  <a:pt x="87" y="151"/>
                  <a:pt x="87" y="133"/>
                </a:cubicBezTo>
                <a:cubicBezTo>
                  <a:pt x="87" y="123"/>
                  <a:pt x="78" y="108"/>
                  <a:pt x="73" y="101"/>
                </a:cubicBezTo>
                <a:moveTo>
                  <a:pt x="208" y="60"/>
                </a:moveTo>
                <a:cubicBezTo>
                  <a:pt x="207" y="54"/>
                  <a:pt x="196" y="29"/>
                  <a:pt x="194" y="25"/>
                </a:cubicBezTo>
                <a:cubicBezTo>
                  <a:pt x="193" y="20"/>
                  <a:pt x="182" y="27"/>
                  <a:pt x="181" y="37"/>
                </a:cubicBezTo>
                <a:cubicBezTo>
                  <a:pt x="180" y="49"/>
                  <a:pt x="184" y="55"/>
                  <a:pt x="186" y="68"/>
                </a:cubicBezTo>
                <a:cubicBezTo>
                  <a:pt x="187" y="80"/>
                  <a:pt x="186" y="88"/>
                  <a:pt x="184" y="93"/>
                </a:cubicBezTo>
                <a:cubicBezTo>
                  <a:pt x="183" y="96"/>
                  <a:pt x="176" y="104"/>
                  <a:pt x="171" y="108"/>
                </a:cubicBezTo>
                <a:cubicBezTo>
                  <a:pt x="166" y="113"/>
                  <a:pt x="163" y="117"/>
                  <a:pt x="163" y="117"/>
                </a:cubicBezTo>
                <a:cubicBezTo>
                  <a:pt x="163" y="117"/>
                  <a:pt x="162" y="111"/>
                  <a:pt x="167" y="106"/>
                </a:cubicBezTo>
                <a:cubicBezTo>
                  <a:pt x="174" y="99"/>
                  <a:pt x="179" y="94"/>
                  <a:pt x="181" y="90"/>
                </a:cubicBezTo>
                <a:cubicBezTo>
                  <a:pt x="183" y="79"/>
                  <a:pt x="178" y="72"/>
                  <a:pt x="175" y="71"/>
                </a:cubicBezTo>
                <a:cubicBezTo>
                  <a:pt x="173" y="70"/>
                  <a:pt x="162" y="82"/>
                  <a:pt x="159" y="84"/>
                </a:cubicBezTo>
                <a:cubicBezTo>
                  <a:pt x="156" y="86"/>
                  <a:pt x="144" y="95"/>
                  <a:pt x="140" y="101"/>
                </a:cubicBezTo>
                <a:cubicBezTo>
                  <a:pt x="135" y="108"/>
                  <a:pt x="125" y="123"/>
                  <a:pt x="125" y="133"/>
                </a:cubicBezTo>
                <a:cubicBezTo>
                  <a:pt x="125" y="151"/>
                  <a:pt x="122" y="151"/>
                  <a:pt x="122" y="157"/>
                </a:cubicBezTo>
                <a:cubicBezTo>
                  <a:pt x="122" y="162"/>
                  <a:pt x="124" y="165"/>
                  <a:pt x="124" y="170"/>
                </a:cubicBezTo>
                <a:cubicBezTo>
                  <a:pt x="124" y="188"/>
                  <a:pt x="124" y="188"/>
                  <a:pt x="124" y="188"/>
                </a:cubicBezTo>
                <a:cubicBezTo>
                  <a:pt x="175" y="188"/>
                  <a:pt x="175" y="188"/>
                  <a:pt x="175" y="188"/>
                </a:cubicBezTo>
                <a:cubicBezTo>
                  <a:pt x="175" y="167"/>
                  <a:pt x="175" y="167"/>
                  <a:pt x="175" y="167"/>
                </a:cubicBezTo>
                <a:cubicBezTo>
                  <a:pt x="176" y="159"/>
                  <a:pt x="193" y="134"/>
                  <a:pt x="201" y="124"/>
                </a:cubicBezTo>
                <a:cubicBezTo>
                  <a:pt x="208" y="115"/>
                  <a:pt x="213" y="107"/>
                  <a:pt x="213" y="101"/>
                </a:cubicBezTo>
                <a:cubicBezTo>
                  <a:pt x="212" y="94"/>
                  <a:pt x="210" y="65"/>
                  <a:pt x="208" y="60"/>
                </a:cubicBezTo>
              </a:path>
            </a:pathLst>
          </a:custGeom>
          <a:solidFill>
            <a:schemeClr val="accent1">
              <a:lumMod val="10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cs typeface="+mn-ea"/>
              <a:sym typeface="+mn-lt"/>
            </a:endParaRPr>
          </a:p>
        </p:txBody>
      </p:sp>
      <p:sp>
        <p:nvSpPr>
          <p:cNvPr id="51" name="Freeform 70">
            <a:extLst>
              <a:ext uri="{FF2B5EF4-FFF2-40B4-BE49-F238E27FC236}">
                <a16:creationId xmlns:a16="http://schemas.microsoft.com/office/drawing/2014/main" id="{B1BCCF5B-E77D-4524-BF1F-D6460E5FFBC1}"/>
              </a:ext>
            </a:extLst>
          </p:cNvPr>
          <p:cNvSpPr>
            <a:spLocks noEditPoints="1"/>
          </p:cNvSpPr>
          <p:nvPr/>
        </p:nvSpPr>
        <p:spPr bwMode="auto">
          <a:xfrm>
            <a:off x="4995269" y="4584815"/>
            <a:ext cx="331377" cy="309110"/>
          </a:xfrm>
          <a:custGeom>
            <a:avLst/>
            <a:gdLst>
              <a:gd name="T0" fmla="*/ 88 w 214"/>
              <a:gd name="T1" fmla="*/ 144 h 199"/>
              <a:gd name="T2" fmla="*/ 91 w 214"/>
              <a:gd name="T3" fmla="*/ 168 h 199"/>
              <a:gd name="T4" fmla="*/ 89 w 214"/>
              <a:gd name="T5" fmla="*/ 181 h 199"/>
              <a:gd name="T6" fmla="*/ 89 w 214"/>
              <a:gd name="T7" fmla="*/ 199 h 199"/>
              <a:gd name="T8" fmla="*/ 39 w 214"/>
              <a:gd name="T9" fmla="*/ 199 h 199"/>
              <a:gd name="T10" fmla="*/ 39 w 214"/>
              <a:gd name="T11" fmla="*/ 178 h 199"/>
              <a:gd name="T12" fmla="*/ 13 w 214"/>
              <a:gd name="T13" fmla="*/ 136 h 199"/>
              <a:gd name="T14" fmla="*/ 1 w 214"/>
              <a:gd name="T15" fmla="*/ 112 h 199"/>
              <a:gd name="T16" fmla="*/ 5 w 214"/>
              <a:gd name="T17" fmla="*/ 71 h 199"/>
              <a:gd name="T18" fmla="*/ 19 w 214"/>
              <a:gd name="T19" fmla="*/ 36 h 199"/>
              <a:gd name="T20" fmla="*/ 32 w 214"/>
              <a:gd name="T21" fmla="*/ 48 h 199"/>
              <a:gd name="T22" fmla="*/ 28 w 214"/>
              <a:gd name="T23" fmla="*/ 79 h 199"/>
              <a:gd name="T24" fmla="*/ 29 w 214"/>
              <a:gd name="T25" fmla="*/ 104 h 199"/>
              <a:gd name="T26" fmla="*/ 42 w 214"/>
              <a:gd name="T27" fmla="*/ 119 h 199"/>
              <a:gd name="T28" fmla="*/ 51 w 214"/>
              <a:gd name="T29" fmla="*/ 128 h 199"/>
              <a:gd name="T30" fmla="*/ 46 w 214"/>
              <a:gd name="T31" fmla="*/ 117 h 199"/>
              <a:gd name="T32" fmla="*/ 33 w 214"/>
              <a:gd name="T33" fmla="*/ 101 h 199"/>
              <a:gd name="T34" fmla="*/ 38 w 214"/>
              <a:gd name="T35" fmla="*/ 82 h 199"/>
              <a:gd name="T36" fmla="*/ 54 w 214"/>
              <a:gd name="T37" fmla="*/ 95 h 199"/>
              <a:gd name="T38" fmla="*/ 74 w 214"/>
              <a:gd name="T39" fmla="*/ 113 h 199"/>
              <a:gd name="T40" fmla="*/ 88 w 214"/>
              <a:gd name="T41" fmla="*/ 144 h 199"/>
              <a:gd name="T42" fmla="*/ 209 w 214"/>
              <a:gd name="T43" fmla="*/ 71 h 199"/>
              <a:gd name="T44" fmla="*/ 195 w 214"/>
              <a:gd name="T45" fmla="*/ 36 h 199"/>
              <a:gd name="T46" fmla="*/ 182 w 214"/>
              <a:gd name="T47" fmla="*/ 48 h 199"/>
              <a:gd name="T48" fmla="*/ 186 w 214"/>
              <a:gd name="T49" fmla="*/ 79 h 199"/>
              <a:gd name="T50" fmla="*/ 184 w 214"/>
              <a:gd name="T51" fmla="*/ 104 h 199"/>
              <a:gd name="T52" fmla="*/ 172 w 214"/>
              <a:gd name="T53" fmla="*/ 119 h 199"/>
              <a:gd name="T54" fmla="*/ 163 w 214"/>
              <a:gd name="T55" fmla="*/ 128 h 199"/>
              <a:gd name="T56" fmla="*/ 168 w 214"/>
              <a:gd name="T57" fmla="*/ 117 h 199"/>
              <a:gd name="T58" fmla="*/ 181 w 214"/>
              <a:gd name="T59" fmla="*/ 101 h 199"/>
              <a:gd name="T60" fmla="*/ 176 w 214"/>
              <a:gd name="T61" fmla="*/ 82 h 199"/>
              <a:gd name="T62" fmla="*/ 160 w 214"/>
              <a:gd name="T63" fmla="*/ 95 h 199"/>
              <a:gd name="T64" fmla="*/ 140 w 214"/>
              <a:gd name="T65" fmla="*/ 113 h 199"/>
              <a:gd name="T66" fmla="*/ 126 w 214"/>
              <a:gd name="T67" fmla="*/ 144 h 199"/>
              <a:gd name="T68" fmla="*/ 123 w 214"/>
              <a:gd name="T69" fmla="*/ 168 h 199"/>
              <a:gd name="T70" fmla="*/ 125 w 214"/>
              <a:gd name="T71" fmla="*/ 181 h 199"/>
              <a:gd name="T72" fmla="*/ 125 w 214"/>
              <a:gd name="T73" fmla="*/ 199 h 199"/>
              <a:gd name="T74" fmla="*/ 175 w 214"/>
              <a:gd name="T75" fmla="*/ 199 h 199"/>
              <a:gd name="T76" fmla="*/ 175 w 214"/>
              <a:gd name="T77" fmla="*/ 178 h 199"/>
              <a:gd name="T78" fmla="*/ 201 w 214"/>
              <a:gd name="T79" fmla="*/ 136 h 199"/>
              <a:gd name="T80" fmla="*/ 213 w 214"/>
              <a:gd name="T81" fmla="*/ 112 h 199"/>
              <a:gd name="T82" fmla="*/ 209 w 214"/>
              <a:gd name="T83" fmla="*/ 71 h 199"/>
              <a:gd name="T84" fmla="*/ 137 w 214"/>
              <a:gd name="T85" fmla="*/ 84 h 199"/>
              <a:gd name="T86" fmla="*/ 134 w 214"/>
              <a:gd name="T87" fmla="*/ 66 h 199"/>
              <a:gd name="T88" fmla="*/ 138 w 214"/>
              <a:gd name="T89" fmla="*/ 52 h 199"/>
              <a:gd name="T90" fmla="*/ 151 w 214"/>
              <a:gd name="T91" fmla="*/ 39 h 199"/>
              <a:gd name="T92" fmla="*/ 149 w 214"/>
              <a:gd name="T93" fmla="*/ 32 h 199"/>
              <a:gd name="T94" fmla="*/ 131 w 214"/>
              <a:gd name="T95" fmla="*/ 30 h 199"/>
              <a:gd name="T96" fmla="*/ 119 w 214"/>
              <a:gd name="T97" fmla="*/ 21 h 199"/>
              <a:gd name="T98" fmla="*/ 111 w 214"/>
              <a:gd name="T99" fmla="*/ 4 h 199"/>
              <a:gd name="T100" fmla="*/ 103 w 214"/>
              <a:gd name="T101" fmla="*/ 4 h 199"/>
              <a:gd name="T102" fmla="*/ 95 w 214"/>
              <a:gd name="T103" fmla="*/ 21 h 199"/>
              <a:gd name="T104" fmla="*/ 83 w 214"/>
              <a:gd name="T105" fmla="*/ 30 h 199"/>
              <a:gd name="T106" fmla="*/ 65 w 214"/>
              <a:gd name="T107" fmla="*/ 32 h 199"/>
              <a:gd name="T108" fmla="*/ 63 w 214"/>
              <a:gd name="T109" fmla="*/ 39 h 199"/>
              <a:gd name="T110" fmla="*/ 76 w 214"/>
              <a:gd name="T111" fmla="*/ 52 h 199"/>
              <a:gd name="T112" fmla="*/ 80 w 214"/>
              <a:gd name="T113" fmla="*/ 66 h 199"/>
              <a:gd name="T114" fmla="*/ 77 w 214"/>
              <a:gd name="T115" fmla="*/ 84 h 199"/>
              <a:gd name="T116" fmla="*/ 83 w 214"/>
              <a:gd name="T117" fmla="*/ 89 h 199"/>
              <a:gd name="T118" fmla="*/ 99 w 214"/>
              <a:gd name="T119" fmla="*/ 80 h 199"/>
              <a:gd name="T120" fmla="*/ 114 w 214"/>
              <a:gd name="T121" fmla="*/ 80 h 199"/>
              <a:gd name="T122" fmla="*/ 131 w 214"/>
              <a:gd name="T123" fmla="*/ 89 h 199"/>
              <a:gd name="T124" fmla="*/ 137 w 214"/>
              <a:gd name="T125" fmla="*/ 84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14" h="199">
                <a:moveTo>
                  <a:pt x="88" y="144"/>
                </a:moveTo>
                <a:cubicBezTo>
                  <a:pt x="88" y="163"/>
                  <a:pt x="91" y="162"/>
                  <a:pt x="91" y="168"/>
                </a:cubicBezTo>
                <a:cubicBezTo>
                  <a:pt x="91" y="173"/>
                  <a:pt x="89" y="176"/>
                  <a:pt x="89" y="181"/>
                </a:cubicBezTo>
                <a:cubicBezTo>
                  <a:pt x="89" y="199"/>
                  <a:pt x="89" y="199"/>
                  <a:pt x="89" y="199"/>
                </a:cubicBezTo>
                <a:cubicBezTo>
                  <a:pt x="39" y="199"/>
                  <a:pt x="39" y="199"/>
                  <a:pt x="39" y="199"/>
                </a:cubicBezTo>
                <a:cubicBezTo>
                  <a:pt x="39" y="178"/>
                  <a:pt x="39" y="178"/>
                  <a:pt x="39" y="178"/>
                </a:cubicBezTo>
                <a:cubicBezTo>
                  <a:pt x="37" y="170"/>
                  <a:pt x="20" y="145"/>
                  <a:pt x="13" y="136"/>
                </a:cubicBezTo>
                <a:cubicBezTo>
                  <a:pt x="5" y="126"/>
                  <a:pt x="0" y="118"/>
                  <a:pt x="1" y="112"/>
                </a:cubicBezTo>
                <a:cubicBezTo>
                  <a:pt x="1" y="106"/>
                  <a:pt x="4" y="76"/>
                  <a:pt x="5" y="71"/>
                </a:cubicBezTo>
                <a:cubicBezTo>
                  <a:pt x="7" y="65"/>
                  <a:pt x="17" y="41"/>
                  <a:pt x="19" y="36"/>
                </a:cubicBezTo>
                <a:cubicBezTo>
                  <a:pt x="21" y="31"/>
                  <a:pt x="31" y="38"/>
                  <a:pt x="32" y="48"/>
                </a:cubicBezTo>
                <a:cubicBezTo>
                  <a:pt x="33" y="60"/>
                  <a:pt x="29" y="66"/>
                  <a:pt x="28" y="79"/>
                </a:cubicBezTo>
                <a:cubicBezTo>
                  <a:pt x="26" y="91"/>
                  <a:pt x="27" y="99"/>
                  <a:pt x="29" y="104"/>
                </a:cubicBezTo>
                <a:cubicBezTo>
                  <a:pt x="31" y="107"/>
                  <a:pt x="38" y="115"/>
                  <a:pt x="42" y="119"/>
                </a:cubicBezTo>
                <a:cubicBezTo>
                  <a:pt x="47" y="124"/>
                  <a:pt x="51" y="128"/>
                  <a:pt x="51" y="128"/>
                </a:cubicBezTo>
                <a:cubicBezTo>
                  <a:pt x="51" y="128"/>
                  <a:pt x="51" y="122"/>
                  <a:pt x="46" y="117"/>
                </a:cubicBezTo>
                <a:cubicBezTo>
                  <a:pt x="39" y="110"/>
                  <a:pt x="34" y="106"/>
                  <a:pt x="33" y="101"/>
                </a:cubicBezTo>
                <a:cubicBezTo>
                  <a:pt x="30" y="90"/>
                  <a:pt x="35" y="83"/>
                  <a:pt x="38" y="82"/>
                </a:cubicBezTo>
                <a:cubicBezTo>
                  <a:pt x="40" y="81"/>
                  <a:pt x="51" y="93"/>
                  <a:pt x="54" y="95"/>
                </a:cubicBezTo>
                <a:cubicBezTo>
                  <a:pt x="57" y="98"/>
                  <a:pt x="69" y="106"/>
                  <a:pt x="74" y="113"/>
                </a:cubicBezTo>
                <a:cubicBezTo>
                  <a:pt x="78" y="119"/>
                  <a:pt x="88" y="134"/>
                  <a:pt x="88" y="144"/>
                </a:cubicBezTo>
                <a:moveTo>
                  <a:pt x="209" y="71"/>
                </a:moveTo>
                <a:cubicBezTo>
                  <a:pt x="207" y="65"/>
                  <a:pt x="197" y="41"/>
                  <a:pt x="195" y="36"/>
                </a:cubicBezTo>
                <a:cubicBezTo>
                  <a:pt x="193" y="31"/>
                  <a:pt x="182" y="38"/>
                  <a:pt x="182" y="48"/>
                </a:cubicBezTo>
                <a:cubicBezTo>
                  <a:pt x="181" y="60"/>
                  <a:pt x="185" y="66"/>
                  <a:pt x="186" y="79"/>
                </a:cubicBezTo>
                <a:cubicBezTo>
                  <a:pt x="188" y="91"/>
                  <a:pt x="187" y="99"/>
                  <a:pt x="184" y="104"/>
                </a:cubicBezTo>
                <a:cubicBezTo>
                  <a:pt x="183" y="107"/>
                  <a:pt x="176" y="115"/>
                  <a:pt x="172" y="119"/>
                </a:cubicBezTo>
                <a:cubicBezTo>
                  <a:pt x="167" y="124"/>
                  <a:pt x="163" y="128"/>
                  <a:pt x="163" y="128"/>
                </a:cubicBezTo>
                <a:cubicBezTo>
                  <a:pt x="163" y="128"/>
                  <a:pt x="163" y="122"/>
                  <a:pt x="168" y="117"/>
                </a:cubicBezTo>
                <a:cubicBezTo>
                  <a:pt x="175" y="110"/>
                  <a:pt x="180" y="106"/>
                  <a:pt x="181" y="101"/>
                </a:cubicBezTo>
                <a:cubicBezTo>
                  <a:pt x="184" y="90"/>
                  <a:pt x="179" y="83"/>
                  <a:pt x="176" y="82"/>
                </a:cubicBezTo>
                <a:cubicBezTo>
                  <a:pt x="173" y="81"/>
                  <a:pt x="163" y="93"/>
                  <a:pt x="160" y="95"/>
                </a:cubicBezTo>
                <a:cubicBezTo>
                  <a:pt x="157" y="98"/>
                  <a:pt x="145" y="106"/>
                  <a:pt x="140" y="113"/>
                </a:cubicBezTo>
                <a:cubicBezTo>
                  <a:pt x="136" y="119"/>
                  <a:pt x="126" y="134"/>
                  <a:pt x="126" y="144"/>
                </a:cubicBezTo>
                <a:cubicBezTo>
                  <a:pt x="126" y="163"/>
                  <a:pt x="123" y="162"/>
                  <a:pt x="123" y="168"/>
                </a:cubicBezTo>
                <a:cubicBezTo>
                  <a:pt x="123" y="173"/>
                  <a:pt x="125" y="176"/>
                  <a:pt x="125" y="181"/>
                </a:cubicBezTo>
                <a:cubicBezTo>
                  <a:pt x="125" y="199"/>
                  <a:pt x="125" y="199"/>
                  <a:pt x="125" y="199"/>
                </a:cubicBezTo>
                <a:cubicBezTo>
                  <a:pt x="175" y="199"/>
                  <a:pt x="175" y="199"/>
                  <a:pt x="175" y="199"/>
                </a:cubicBezTo>
                <a:cubicBezTo>
                  <a:pt x="175" y="178"/>
                  <a:pt x="175" y="178"/>
                  <a:pt x="175" y="178"/>
                </a:cubicBezTo>
                <a:cubicBezTo>
                  <a:pt x="177" y="170"/>
                  <a:pt x="194" y="145"/>
                  <a:pt x="201" y="136"/>
                </a:cubicBezTo>
                <a:cubicBezTo>
                  <a:pt x="209" y="126"/>
                  <a:pt x="214" y="118"/>
                  <a:pt x="213" y="112"/>
                </a:cubicBezTo>
                <a:cubicBezTo>
                  <a:pt x="213" y="106"/>
                  <a:pt x="210" y="76"/>
                  <a:pt x="209" y="71"/>
                </a:cubicBezTo>
                <a:moveTo>
                  <a:pt x="137" y="84"/>
                </a:moveTo>
                <a:cubicBezTo>
                  <a:pt x="134" y="66"/>
                  <a:pt x="134" y="66"/>
                  <a:pt x="134" y="66"/>
                </a:cubicBezTo>
                <a:cubicBezTo>
                  <a:pt x="133" y="62"/>
                  <a:pt x="135" y="55"/>
                  <a:pt x="138" y="52"/>
                </a:cubicBezTo>
                <a:cubicBezTo>
                  <a:pt x="151" y="39"/>
                  <a:pt x="151" y="39"/>
                  <a:pt x="151" y="39"/>
                </a:cubicBezTo>
                <a:cubicBezTo>
                  <a:pt x="155" y="36"/>
                  <a:pt x="154" y="33"/>
                  <a:pt x="149" y="32"/>
                </a:cubicBezTo>
                <a:cubicBezTo>
                  <a:pt x="131" y="30"/>
                  <a:pt x="131" y="30"/>
                  <a:pt x="131" y="30"/>
                </a:cubicBezTo>
                <a:cubicBezTo>
                  <a:pt x="126" y="29"/>
                  <a:pt x="121" y="25"/>
                  <a:pt x="119" y="21"/>
                </a:cubicBezTo>
                <a:cubicBezTo>
                  <a:pt x="111" y="4"/>
                  <a:pt x="111" y="4"/>
                  <a:pt x="111" y="4"/>
                </a:cubicBezTo>
                <a:cubicBezTo>
                  <a:pt x="109" y="0"/>
                  <a:pt x="105" y="0"/>
                  <a:pt x="103" y="4"/>
                </a:cubicBezTo>
                <a:cubicBezTo>
                  <a:pt x="95" y="21"/>
                  <a:pt x="95" y="21"/>
                  <a:pt x="95" y="21"/>
                </a:cubicBezTo>
                <a:cubicBezTo>
                  <a:pt x="93" y="25"/>
                  <a:pt x="88" y="29"/>
                  <a:pt x="83" y="30"/>
                </a:cubicBezTo>
                <a:cubicBezTo>
                  <a:pt x="65" y="32"/>
                  <a:pt x="65" y="32"/>
                  <a:pt x="65" y="32"/>
                </a:cubicBezTo>
                <a:cubicBezTo>
                  <a:pt x="60" y="33"/>
                  <a:pt x="59" y="36"/>
                  <a:pt x="63" y="39"/>
                </a:cubicBezTo>
                <a:cubicBezTo>
                  <a:pt x="76" y="52"/>
                  <a:pt x="76" y="52"/>
                  <a:pt x="76" y="52"/>
                </a:cubicBezTo>
                <a:cubicBezTo>
                  <a:pt x="79" y="55"/>
                  <a:pt x="81" y="62"/>
                  <a:pt x="80" y="66"/>
                </a:cubicBezTo>
                <a:cubicBezTo>
                  <a:pt x="77" y="84"/>
                  <a:pt x="77" y="84"/>
                  <a:pt x="77" y="84"/>
                </a:cubicBezTo>
                <a:cubicBezTo>
                  <a:pt x="76" y="89"/>
                  <a:pt x="79" y="91"/>
                  <a:pt x="83" y="89"/>
                </a:cubicBezTo>
                <a:cubicBezTo>
                  <a:pt x="99" y="80"/>
                  <a:pt x="99" y="80"/>
                  <a:pt x="99" y="80"/>
                </a:cubicBezTo>
                <a:cubicBezTo>
                  <a:pt x="104" y="78"/>
                  <a:pt x="110" y="78"/>
                  <a:pt x="114" y="80"/>
                </a:cubicBezTo>
                <a:cubicBezTo>
                  <a:pt x="131" y="89"/>
                  <a:pt x="131" y="89"/>
                  <a:pt x="131" y="89"/>
                </a:cubicBezTo>
                <a:cubicBezTo>
                  <a:pt x="135" y="91"/>
                  <a:pt x="138" y="89"/>
                  <a:pt x="137" y="84"/>
                </a:cubicBezTo>
              </a:path>
            </a:pathLst>
          </a:custGeom>
          <a:solidFill>
            <a:schemeClr val="accent1">
              <a:lumMod val="10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cs typeface="+mn-ea"/>
              <a:sym typeface="+mn-lt"/>
            </a:endParaRPr>
          </a:p>
        </p:txBody>
      </p:sp>
      <p:sp>
        <p:nvSpPr>
          <p:cNvPr id="52" name="Freeform 71">
            <a:extLst>
              <a:ext uri="{FF2B5EF4-FFF2-40B4-BE49-F238E27FC236}">
                <a16:creationId xmlns:a16="http://schemas.microsoft.com/office/drawing/2014/main" id="{D0ACA14B-98FB-46BB-B392-F4898ADD1784}"/>
              </a:ext>
            </a:extLst>
          </p:cNvPr>
          <p:cNvSpPr>
            <a:spLocks noEditPoints="1"/>
          </p:cNvSpPr>
          <p:nvPr/>
        </p:nvSpPr>
        <p:spPr bwMode="auto">
          <a:xfrm>
            <a:off x="3273813" y="4612408"/>
            <a:ext cx="307614" cy="253924"/>
          </a:xfrm>
          <a:custGeom>
            <a:avLst/>
            <a:gdLst>
              <a:gd name="T0" fmla="*/ 70 w 206"/>
              <a:gd name="T1" fmla="*/ 42 h 170"/>
              <a:gd name="T2" fmla="*/ 70 w 206"/>
              <a:gd name="T3" fmla="*/ 9 h 170"/>
              <a:gd name="T4" fmla="*/ 103 w 206"/>
              <a:gd name="T5" fmla="*/ 9 h 170"/>
              <a:gd name="T6" fmla="*/ 108 w 206"/>
              <a:gd name="T7" fmla="*/ 14 h 170"/>
              <a:gd name="T8" fmla="*/ 114 w 206"/>
              <a:gd name="T9" fmla="*/ 9 h 170"/>
              <a:gd name="T10" fmla="*/ 147 w 206"/>
              <a:gd name="T11" fmla="*/ 9 h 170"/>
              <a:gd name="T12" fmla="*/ 147 w 206"/>
              <a:gd name="T13" fmla="*/ 42 h 170"/>
              <a:gd name="T14" fmla="*/ 115 w 206"/>
              <a:gd name="T15" fmla="*/ 74 h 170"/>
              <a:gd name="T16" fmla="*/ 102 w 206"/>
              <a:gd name="T17" fmla="*/ 74 h 170"/>
              <a:gd name="T18" fmla="*/ 70 w 206"/>
              <a:gd name="T19" fmla="*/ 42 h 170"/>
              <a:gd name="T20" fmla="*/ 0 w 206"/>
              <a:gd name="T21" fmla="*/ 99 h 170"/>
              <a:gd name="T22" fmla="*/ 43 w 206"/>
              <a:gd name="T23" fmla="*/ 99 h 170"/>
              <a:gd name="T24" fmla="*/ 43 w 206"/>
              <a:gd name="T25" fmla="*/ 170 h 170"/>
              <a:gd name="T26" fmla="*/ 0 w 206"/>
              <a:gd name="T27" fmla="*/ 170 h 170"/>
              <a:gd name="T28" fmla="*/ 0 w 206"/>
              <a:gd name="T29" fmla="*/ 99 h 170"/>
              <a:gd name="T30" fmla="*/ 8 w 206"/>
              <a:gd name="T31" fmla="*/ 155 h 170"/>
              <a:gd name="T32" fmla="*/ 14 w 206"/>
              <a:gd name="T33" fmla="*/ 161 h 170"/>
              <a:gd name="T34" fmla="*/ 20 w 206"/>
              <a:gd name="T35" fmla="*/ 155 h 170"/>
              <a:gd name="T36" fmla="*/ 14 w 206"/>
              <a:gd name="T37" fmla="*/ 149 h 170"/>
              <a:gd name="T38" fmla="*/ 8 w 206"/>
              <a:gd name="T39" fmla="*/ 155 h 170"/>
              <a:gd name="T40" fmla="*/ 189 w 206"/>
              <a:gd name="T41" fmla="*/ 99 h 170"/>
              <a:gd name="T42" fmla="*/ 153 w 206"/>
              <a:gd name="T43" fmla="*/ 119 h 170"/>
              <a:gd name="T44" fmla="*/ 160 w 206"/>
              <a:gd name="T45" fmla="*/ 125 h 170"/>
              <a:gd name="T46" fmla="*/ 156 w 206"/>
              <a:gd name="T47" fmla="*/ 133 h 170"/>
              <a:gd name="T48" fmla="*/ 129 w 206"/>
              <a:gd name="T49" fmla="*/ 139 h 170"/>
              <a:gd name="T50" fmla="*/ 102 w 206"/>
              <a:gd name="T51" fmla="*/ 124 h 170"/>
              <a:gd name="T52" fmla="*/ 127 w 206"/>
              <a:gd name="T53" fmla="*/ 136 h 170"/>
              <a:gd name="T54" fmla="*/ 150 w 206"/>
              <a:gd name="T55" fmla="*/ 126 h 170"/>
              <a:gd name="T56" fmla="*/ 120 w 206"/>
              <a:gd name="T57" fmla="*/ 106 h 170"/>
              <a:gd name="T58" fmla="*/ 92 w 206"/>
              <a:gd name="T59" fmla="*/ 96 h 170"/>
              <a:gd name="T60" fmla="*/ 55 w 206"/>
              <a:gd name="T61" fmla="*/ 103 h 170"/>
              <a:gd name="T62" fmla="*/ 48 w 206"/>
              <a:gd name="T63" fmla="*/ 103 h 170"/>
              <a:gd name="T64" fmla="*/ 48 w 206"/>
              <a:gd name="T65" fmla="*/ 151 h 170"/>
              <a:gd name="T66" fmla="*/ 62 w 206"/>
              <a:gd name="T67" fmla="*/ 151 h 170"/>
              <a:gd name="T68" fmla="*/ 83 w 206"/>
              <a:gd name="T69" fmla="*/ 153 h 170"/>
              <a:gd name="T70" fmla="*/ 119 w 206"/>
              <a:gd name="T71" fmla="*/ 164 h 170"/>
              <a:gd name="T72" fmla="*/ 145 w 206"/>
              <a:gd name="T73" fmla="*/ 156 h 170"/>
              <a:gd name="T74" fmla="*/ 173 w 206"/>
              <a:gd name="T75" fmla="*/ 136 h 170"/>
              <a:gd name="T76" fmla="*/ 202 w 206"/>
              <a:gd name="T77" fmla="*/ 111 h 170"/>
              <a:gd name="T78" fmla="*/ 189 w 206"/>
              <a:gd name="T79" fmla="*/ 9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06" h="170">
                <a:moveTo>
                  <a:pt x="70" y="42"/>
                </a:moveTo>
                <a:cubicBezTo>
                  <a:pt x="61" y="33"/>
                  <a:pt x="61" y="18"/>
                  <a:pt x="70" y="9"/>
                </a:cubicBezTo>
                <a:cubicBezTo>
                  <a:pt x="79" y="0"/>
                  <a:pt x="94" y="0"/>
                  <a:pt x="103" y="9"/>
                </a:cubicBezTo>
                <a:cubicBezTo>
                  <a:pt x="108" y="14"/>
                  <a:pt x="108" y="14"/>
                  <a:pt x="108" y="14"/>
                </a:cubicBezTo>
                <a:cubicBezTo>
                  <a:pt x="114" y="9"/>
                  <a:pt x="114" y="9"/>
                  <a:pt x="114" y="9"/>
                </a:cubicBezTo>
                <a:cubicBezTo>
                  <a:pt x="123" y="0"/>
                  <a:pt x="138" y="0"/>
                  <a:pt x="147" y="9"/>
                </a:cubicBezTo>
                <a:cubicBezTo>
                  <a:pt x="156" y="18"/>
                  <a:pt x="156" y="33"/>
                  <a:pt x="147" y="42"/>
                </a:cubicBezTo>
                <a:cubicBezTo>
                  <a:pt x="115" y="74"/>
                  <a:pt x="115" y="74"/>
                  <a:pt x="115" y="74"/>
                </a:cubicBezTo>
                <a:cubicBezTo>
                  <a:pt x="111" y="78"/>
                  <a:pt x="105" y="78"/>
                  <a:pt x="102" y="74"/>
                </a:cubicBezTo>
                <a:lnTo>
                  <a:pt x="70" y="42"/>
                </a:lnTo>
                <a:close/>
                <a:moveTo>
                  <a:pt x="0" y="99"/>
                </a:moveTo>
                <a:cubicBezTo>
                  <a:pt x="43" y="99"/>
                  <a:pt x="43" y="99"/>
                  <a:pt x="43" y="99"/>
                </a:cubicBezTo>
                <a:cubicBezTo>
                  <a:pt x="43" y="170"/>
                  <a:pt x="43" y="170"/>
                  <a:pt x="43" y="170"/>
                </a:cubicBezTo>
                <a:cubicBezTo>
                  <a:pt x="0" y="170"/>
                  <a:pt x="0" y="170"/>
                  <a:pt x="0" y="170"/>
                </a:cubicBezTo>
                <a:lnTo>
                  <a:pt x="0" y="99"/>
                </a:lnTo>
                <a:close/>
                <a:moveTo>
                  <a:pt x="8" y="155"/>
                </a:moveTo>
                <a:cubicBezTo>
                  <a:pt x="8" y="158"/>
                  <a:pt x="11" y="161"/>
                  <a:pt x="14" y="161"/>
                </a:cubicBezTo>
                <a:cubicBezTo>
                  <a:pt x="17" y="161"/>
                  <a:pt x="20" y="158"/>
                  <a:pt x="20" y="155"/>
                </a:cubicBezTo>
                <a:cubicBezTo>
                  <a:pt x="20" y="151"/>
                  <a:pt x="17" y="149"/>
                  <a:pt x="14" y="149"/>
                </a:cubicBezTo>
                <a:cubicBezTo>
                  <a:pt x="11" y="149"/>
                  <a:pt x="8" y="151"/>
                  <a:pt x="8" y="155"/>
                </a:cubicBezTo>
                <a:moveTo>
                  <a:pt x="189" y="99"/>
                </a:moveTo>
                <a:cubicBezTo>
                  <a:pt x="179" y="98"/>
                  <a:pt x="153" y="119"/>
                  <a:pt x="153" y="119"/>
                </a:cubicBezTo>
                <a:cubicBezTo>
                  <a:pt x="153" y="119"/>
                  <a:pt x="157" y="123"/>
                  <a:pt x="160" y="125"/>
                </a:cubicBezTo>
                <a:cubicBezTo>
                  <a:pt x="162" y="126"/>
                  <a:pt x="159" y="130"/>
                  <a:pt x="156" y="133"/>
                </a:cubicBezTo>
                <a:cubicBezTo>
                  <a:pt x="152" y="135"/>
                  <a:pt x="139" y="142"/>
                  <a:pt x="129" y="139"/>
                </a:cubicBezTo>
                <a:cubicBezTo>
                  <a:pt x="119" y="136"/>
                  <a:pt x="102" y="124"/>
                  <a:pt x="102" y="124"/>
                </a:cubicBezTo>
                <a:cubicBezTo>
                  <a:pt x="102" y="124"/>
                  <a:pt x="118" y="133"/>
                  <a:pt x="127" y="136"/>
                </a:cubicBezTo>
                <a:cubicBezTo>
                  <a:pt x="136" y="139"/>
                  <a:pt x="154" y="129"/>
                  <a:pt x="150" y="126"/>
                </a:cubicBezTo>
                <a:cubicBezTo>
                  <a:pt x="146" y="123"/>
                  <a:pt x="132" y="116"/>
                  <a:pt x="120" y="106"/>
                </a:cubicBezTo>
                <a:cubicBezTo>
                  <a:pt x="115" y="101"/>
                  <a:pt x="102" y="96"/>
                  <a:pt x="92" y="96"/>
                </a:cubicBezTo>
                <a:cubicBezTo>
                  <a:pt x="82" y="96"/>
                  <a:pt x="63" y="103"/>
                  <a:pt x="55" y="103"/>
                </a:cubicBezTo>
                <a:cubicBezTo>
                  <a:pt x="48" y="103"/>
                  <a:pt x="48" y="103"/>
                  <a:pt x="48" y="103"/>
                </a:cubicBezTo>
                <a:cubicBezTo>
                  <a:pt x="48" y="151"/>
                  <a:pt x="48" y="151"/>
                  <a:pt x="48" y="151"/>
                </a:cubicBezTo>
                <a:cubicBezTo>
                  <a:pt x="62" y="151"/>
                  <a:pt x="62" y="151"/>
                  <a:pt x="62" y="151"/>
                </a:cubicBezTo>
                <a:cubicBezTo>
                  <a:pt x="69" y="151"/>
                  <a:pt x="79" y="151"/>
                  <a:pt x="83" y="153"/>
                </a:cubicBezTo>
                <a:cubicBezTo>
                  <a:pt x="86" y="155"/>
                  <a:pt x="112" y="164"/>
                  <a:pt x="119" y="164"/>
                </a:cubicBezTo>
                <a:cubicBezTo>
                  <a:pt x="126" y="164"/>
                  <a:pt x="137" y="161"/>
                  <a:pt x="145" y="156"/>
                </a:cubicBezTo>
                <a:cubicBezTo>
                  <a:pt x="153" y="150"/>
                  <a:pt x="167" y="141"/>
                  <a:pt x="173" y="136"/>
                </a:cubicBezTo>
                <a:cubicBezTo>
                  <a:pt x="179" y="131"/>
                  <a:pt x="199" y="115"/>
                  <a:pt x="202" y="111"/>
                </a:cubicBezTo>
                <a:cubicBezTo>
                  <a:pt x="206" y="108"/>
                  <a:pt x="199" y="100"/>
                  <a:pt x="189" y="99"/>
                </a:cubicBezTo>
              </a:path>
            </a:pathLst>
          </a:custGeom>
          <a:solidFill>
            <a:schemeClr val="accent1">
              <a:lumMod val="10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cs typeface="+mn-ea"/>
              <a:sym typeface="+mn-lt"/>
            </a:endParaRPr>
          </a:p>
        </p:txBody>
      </p:sp>
      <p:sp>
        <p:nvSpPr>
          <p:cNvPr id="53" name="Freeform 72">
            <a:extLst>
              <a:ext uri="{FF2B5EF4-FFF2-40B4-BE49-F238E27FC236}">
                <a16:creationId xmlns:a16="http://schemas.microsoft.com/office/drawing/2014/main" id="{9C64D2D0-6BEA-49A5-A5B1-86F11914ED2A}"/>
              </a:ext>
            </a:extLst>
          </p:cNvPr>
          <p:cNvSpPr>
            <a:spLocks noEditPoints="1"/>
          </p:cNvSpPr>
          <p:nvPr/>
        </p:nvSpPr>
        <p:spPr bwMode="auto">
          <a:xfrm>
            <a:off x="3273813" y="1983354"/>
            <a:ext cx="307614" cy="273505"/>
          </a:xfrm>
          <a:custGeom>
            <a:avLst/>
            <a:gdLst>
              <a:gd name="T0" fmla="*/ 143 w 206"/>
              <a:gd name="T1" fmla="*/ 93 h 183"/>
              <a:gd name="T2" fmla="*/ 115 w 206"/>
              <a:gd name="T3" fmla="*/ 90 h 183"/>
              <a:gd name="T4" fmla="*/ 117 w 206"/>
              <a:gd name="T5" fmla="*/ 88 h 183"/>
              <a:gd name="T6" fmla="*/ 145 w 206"/>
              <a:gd name="T7" fmla="*/ 90 h 183"/>
              <a:gd name="T8" fmla="*/ 138 w 206"/>
              <a:gd name="T9" fmla="*/ 105 h 183"/>
              <a:gd name="T10" fmla="*/ 140 w 206"/>
              <a:gd name="T11" fmla="*/ 101 h 183"/>
              <a:gd name="T12" fmla="*/ 145 w 206"/>
              <a:gd name="T13" fmla="*/ 99 h 183"/>
              <a:gd name="T14" fmla="*/ 143 w 206"/>
              <a:gd name="T15" fmla="*/ 95 h 183"/>
              <a:gd name="T16" fmla="*/ 115 w 206"/>
              <a:gd name="T17" fmla="*/ 97 h 183"/>
              <a:gd name="T18" fmla="*/ 117 w 206"/>
              <a:gd name="T19" fmla="*/ 101 h 183"/>
              <a:gd name="T20" fmla="*/ 120 w 206"/>
              <a:gd name="T21" fmla="*/ 102 h 183"/>
              <a:gd name="T22" fmla="*/ 116 w 206"/>
              <a:gd name="T23" fmla="*/ 78 h 183"/>
              <a:gd name="T24" fmla="*/ 155 w 206"/>
              <a:gd name="T25" fmla="*/ 57 h 183"/>
              <a:gd name="T26" fmla="*/ 130 w 206"/>
              <a:gd name="T27" fmla="*/ 0 h 183"/>
              <a:gd name="T28" fmla="*/ 105 w 206"/>
              <a:gd name="T29" fmla="*/ 57 h 183"/>
              <a:gd name="T30" fmla="*/ 145 w 206"/>
              <a:gd name="T31" fmla="*/ 83 h 183"/>
              <a:gd name="T32" fmla="*/ 117 w 206"/>
              <a:gd name="T33" fmla="*/ 80 h 183"/>
              <a:gd name="T34" fmla="*/ 115 w 206"/>
              <a:gd name="T35" fmla="*/ 83 h 183"/>
              <a:gd name="T36" fmla="*/ 143 w 206"/>
              <a:gd name="T37" fmla="*/ 86 h 183"/>
              <a:gd name="T38" fmla="*/ 0 w 206"/>
              <a:gd name="T39" fmla="*/ 111 h 183"/>
              <a:gd name="T40" fmla="*/ 43 w 206"/>
              <a:gd name="T41" fmla="*/ 183 h 183"/>
              <a:gd name="T42" fmla="*/ 0 w 206"/>
              <a:gd name="T43" fmla="*/ 111 h 183"/>
              <a:gd name="T44" fmla="*/ 15 w 206"/>
              <a:gd name="T45" fmla="*/ 173 h 183"/>
              <a:gd name="T46" fmla="*/ 15 w 206"/>
              <a:gd name="T47" fmla="*/ 161 h 183"/>
              <a:gd name="T48" fmla="*/ 190 w 206"/>
              <a:gd name="T49" fmla="*/ 111 h 183"/>
              <a:gd name="T50" fmla="*/ 160 w 206"/>
              <a:gd name="T51" fmla="*/ 137 h 183"/>
              <a:gd name="T52" fmla="*/ 130 w 206"/>
              <a:gd name="T53" fmla="*/ 151 h 183"/>
              <a:gd name="T54" fmla="*/ 128 w 206"/>
              <a:gd name="T55" fmla="*/ 148 h 183"/>
              <a:gd name="T56" fmla="*/ 121 w 206"/>
              <a:gd name="T57" fmla="*/ 118 h 183"/>
              <a:gd name="T58" fmla="*/ 56 w 206"/>
              <a:gd name="T59" fmla="*/ 116 h 183"/>
              <a:gd name="T60" fmla="*/ 48 w 206"/>
              <a:gd name="T61" fmla="*/ 164 h 183"/>
              <a:gd name="T62" fmla="*/ 83 w 206"/>
              <a:gd name="T63" fmla="*/ 165 h 183"/>
              <a:gd name="T64" fmla="*/ 146 w 206"/>
              <a:gd name="T65" fmla="*/ 168 h 183"/>
              <a:gd name="T66" fmla="*/ 203 w 206"/>
              <a:gd name="T67" fmla="*/ 124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06" h="183">
                <a:moveTo>
                  <a:pt x="145" y="90"/>
                </a:moveTo>
                <a:cubicBezTo>
                  <a:pt x="145" y="92"/>
                  <a:pt x="144" y="93"/>
                  <a:pt x="143" y="93"/>
                </a:cubicBezTo>
                <a:cubicBezTo>
                  <a:pt x="117" y="93"/>
                  <a:pt x="117" y="93"/>
                  <a:pt x="117" y="93"/>
                </a:cubicBezTo>
                <a:cubicBezTo>
                  <a:pt x="116" y="93"/>
                  <a:pt x="115" y="92"/>
                  <a:pt x="115" y="90"/>
                </a:cubicBezTo>
                <a:cubicBezTo>
                  <a:pt x="115" y="90"/>
                  <a:pt x="115" y="90"/>
                  <a:pt x="115" y="90"/>
                </a:cubicBezTo>
                <a:cubicBezTo>
                  <a:pt x="115" y="89"/>
                  <a:pt x="116" y="88"/>
                  <a:pt x="117" y="88"/>
                </a:cubicBezTo>
                <a:cubicBezTo>
                  <a:pt x="143" y="88"/>
                  <a:pt x="143" y="88"/>
                  <a:pt x="143" y="88"/>
                </a:cubicBezTo>
                <a:cubicBezTo>
                  <a:pt x="144" y="88"/>
                  <a:pt x="145" y="89"/>
                  <a:pt x="145" y="90"/>
                </a:cubicBezTo>
                <a:close/>
                <a:moveTo>
                  <a:pt x="122" y="105"/>
                </a:moveTo>
                <a:cubicBezTo>
                  <a:pt x="138" y="105"/>
                  <a:pt x="138" y="105"/>
                  <a:pt x="138" y="105"/>
                </a:cubicBezTo>
                <a:cubicBezTo>
                  <a:pt x="139" y="105"/>
                  <a:pt x="140" y="104"/>
                  <a:pt x="140" y="102"/>
                </a:cubicBezTo>
                <a:cubicBezTo>
                  <a:pt x="140" y="101"/>
                  <a:pt x="140" y="101"/>
                  <a:pt x="140" y="101"/>
                </a:cubicBezTo>
                <a:cubicBezTo>
                  <a:pt x="143" y="101"/>
                  <a:pt x="143" y="101"/>
                  <a:pt x="143" y="101"/>
                </a:cubicBezTo>
                <a:cubicBezTo>
                  <a:pt x="144" y="101"/>
                  <a:pt x="145" y="100"/>
                  <a:pt x="145" y="99"/>
                </a:cubicBezTo>
                <a:cubicBezTo>
                  <a:pt x="145" y="97"/>
                  <a:pt x="145" y="97"/>
                  <a:pt x="145" y="97"/>
                </a:cubicBezTo>
                <a:cubicBezTo>
                  <a:pt x="145" y="96"/>
                  <a:pt x="144" y="95"/>
                  <a:pt x="143" y="95"/>
                </a:cubicBezTo>
                <a:cubicBezTo>
                  <a:pt x="117" y="95"/>
                  <a:pt x="117" y="95"/>
                  <a:pt x="117" y="95"/>
                </a:cubicBezTo>
                <a:cubicBezTo>
                  <a:pt x="116" y="95"/>
                  <a:pt x="115" y="96"/>
                  <a:pt x="115" y="97"/>
                </a:cubicBezTo>
                <a:cubicBezTo>
                  <a:pt x="115" y="99"/>
                  <a:pt x="115" y="99"/>
                  <a:pt x="115" y="99"/>
                </a:cubicBezTo>
                <a:cubicBezTo>
                  <a:pt x="115" y="100"/>
                  <a:pt x="116" y="101"/>
                  <a:pt x="117" y="101"/>
                </a:cubicBezTo>
                <a:cubicBezTo>
                  <a:pt x="120" y="101"/>
                  <a:pt x="120" y="101"/>
                  <a:pt x="120" y="101"/>
                </a:cubicBezTo>
                <a:cubicBezTo>
                  <a:pt x="120" y="102"/>
                  <a:pt x="120" y="102"/>
                  <a:pt x="120" y="102"/>
                </a:cubicBezTo>
                <a:cubicBezTo>
                  <a:pt x="120" y="104"/>
                  <a:pt x="121" y="105"/>
                  <a:pt x="122" y="105"/>
                </a:cubicBezTo>
                <a:close/>
                <a:moveTo>
                  <a:pt x="116" y="78"/>
                </a:moveTo>
                <a:cubicBezTo>
                  <a:pt x="144" y="78"/>
                  <a:pt x="144" y="78"/>
                  <a:pt x="144" y="78"/>
                </a:cubicBezTo>
                <a:cubicBezTo>
                  <a:pt x="150" y="78"/>
                  <a:pt x="143" y="70"/>
                  <a:pt x="155" y="57"/>
                </a:cubicBezTo>
                <a:cubicBezTo>
                  <a:pt x="160" y="51"/>
                  <a:pt x="164" y="43"/>
                  <a:pt x="164" y="34"/>
                </a:cubicBezTo>
                <a:cubicBezTo>
                  <a:pt x="164" y="15"/>
                  <a:pt x="149" y="0"/>
                  <a:pt x="130" y="0"/>
                </a:cubicBezTo>
                <a:cubicBezTo>
                  <a:pt x="111" y="0"/>
                  <a:pt x="96" y="15"/>
                  <a:pt x="96" y="34"/>
                </a:cubicBezTo>
                <a:cubicBezTo>
                  <a:pt x="96" y="43"/>
                  <a:pt x="99" y="51"/>
                  <a:pt x="105" y="57"/>
                </a:cubicBezTo>
                <a:cubicBezTo>
                  <a:pt x="116" y="70"/>
                  <a:pt x="110" y="78"/>
                  <a:pt x="116" y="78"/>
                </a:cubicBezTo>
                <a:close/>
                <a:moveTo>
                  <a:pt x="145" y="83"/>
                </a:moveTo>
                <a:cubicBezTo>
                  <a:pt x="145" y="81"/>
                  <a:pt x="144" y="80"/>
                  <a:pt x="143" y="80"/>
                </a:cubicBezTo>
                <a:cubicBezTo>
                  <a:pt x="117" y="80"/>
                  <a:pt x="117" y="80"/>
                  <a:pt x="117" y="80"/>
                </a:cubicBezTo>
                <a:cubicBezTo>
                  <a:pt x="116" y="80"/>
                  <a:pt x="115" y="81"/>
                  <a:pt x="115" y="83"/>
                </a:cubicBezTo>
                <a:cubicBezTo>
                  <a:pt x="115" y="83"/>
                  <a:pt x="115" y="83"/>
                  <a:pt x="115" y="83"/>
                </a:cubicBezTo>
                <a:cubicBezTo>
                  <a:pt x="115" y="84"/>
                  <a:pt x="116" y="86"/>
                  <a:pt x="117" y="86"/>
                </a:cubicBezTo>
                <a:cubicBezTo>
                  <a:pt x="143" y="86"/>
                  <a:pt x="143" y="86"/>
                  <a:pt x="143" y="86"/>
                </a:cubicBezTo>
                <a:cubicBezTo>
                  <a:pt x="144" y="86"/>
                  <a:pt x="145" y="84"/>
                  <a:pt x="145" y="83"/>
                </a:cubicBezTo>
                <a:close/>
                <a:moveTo>
                  <a:pt x="0" y="111"/>
                </a:moveTo>
                <a:cubicBezTo>
                  <a:pt x="43" y="111"/>
                  <a:pt x="43" y="111"/>
                  <a:pt x="43" y="111"/>
                </a:cubicBezTo>
                <a:cubicBezTo>
                  <a:pt x="43" y="183"/>
                  <a:pt x="43" y="183"/>
                  <a:pt x="43" y="183"/>
                </a:cubicBezTo>
                <a:cubicBezTo>
                  <a:pt x="0" y="183"/>
                  <a:pt x="0" y="183"/>
                  <a:pt x="0" y="183"/>
                </a:cubicBezTo>
                <a:lnTo>
                  <a:pt x="0" y="111"/>
                </a:lnTo>
                <a:close/>
                <a:moveTo>
                  <a:pt x="8" y="167"/>
                </a:moveTo>
                <a:cubicBezTo>
                  <a:pt x="8" y="171"/>
                  <a:pt x="11" y="173"/>
                  <a:pt x="15" y="173"/>
                </a:cubicBezTo>
                <a:cubicBezTo>
                  <a:pt x="18" y="173"/>
                  <a:pt x="21" y="171"/>
                  <a:pt x="21" y="167"/>
                </a:cubicBezTo>
                <a:cubicBezTo>
                  <a:pt x="21" y="164"/>
                  <a:pt x="18" y="161"/>
                  <a:pt x="15" y="161"/>
                </a:cubicBezTo>
                <a:cubicBezTo>
                  <a:pt x="11" y="161"/>
                  <a:pt x="8" y="164"/>
                  <a:pt x="8" y="167"/>
                </a:cubicBezTo>
                <a:close/>
                <a:moveTo>
                  <a:pt x="190" y="111"/>
                </a:moveTo>
                <a:cubicBezTo>
                  <a:pt x="180" y="110"/>
                  <a:pt x="153" y="132"/>
                  <a:pt x="153" y="132"/>
                </a:cubicBezTo>
                <a:cubicBezTo>
                  <a:pt x="153" y="132"/>
                  <a:pt x="158" y="136"/>
                  <a:pt x="160" y="137"/>
                </a:cubicBezTo>
                <a:cubicBezTo>
                  <a:pt x="162" y="139"/>
                  <a:pt x="159" y="142"/>
                  <a:pt x="156" y="145"/>
                </a:cubicBezTo>
                <a:cubicBezTo>
                  <a:pt x="153" y="148"/>
                  <a:pt x="140" y="155"/>
                  <a:pt x="130" y="151"/>
                </a:cubicBezTo>
                <a:cubicBezTo>
                  <a:pt x="119" y="148"/>
                  <a:pt x="102" y="136"/>
                  <a:pt x="102" y="136"/>
                </a:cubicBezTo>
                <a:cubicBezTo>
                  <a:pt x="102" y="136"/>
                  <a:pt x="119" y="145"/>
                  <a:pt x="128" y="148"/>
                </a:cubicBezTo>
                <a:cubicBezTo>
                  <a:pt x="137" y="151"/>
                  <a:pt x="155" y="141"/>
                  <a:pt x="151" y="138"/>
                </a:cubicBezTo>
                <a:cubicBezTo>
                  <a:pt x="147" y="135"/>
                  <a:pt x="132" y="129"/>
                  <a:pt x="121" y="118"/>
                </a:cubicBezTo>
                <a:cubicBezTo>
                  <a:pt x="116" y="114"/>
                  <a:pt x="102" y="108"/>
                  <a:pt x="93" y="108"/>
                </a:cubicBezTo>
                <a:cubicBezTo>
                  <a:pt x="83" y="108"/>
                  <a:pt x="63" y="116"/>
                  <a:pt x="56" y="116"/>
                </a:cubicBezTo>
                <a:cubicBezTo>
                  <a:pt x="48" y="116"/>
                  <a:pt x="48" y="116"/>
                  <a:pt x="48" y="116"/>
                </a:cubicBezTo>
                <a:cubicBezTo>
                  <a:pt x="48" y="164"/>
                  <a:pt x="48" y="164"/>
                  <a:pt x="48" y="164"/>
                </a:cubicBezTo>
                <a:cubicBezTo>
                  <a:pt x="63" y="164"/>
                  <a:pt x="63" y="164"/>
                  <a:pt x="63" y="164"/>
                </a:cubicBezTo>
                <a:cubicBezTo>
                  <a:pt x="69" y="164"/>
                  <a:pt x="79" y="164"/>
                  <a:pt x="83" y="165"/>
                </a:cubicBezTo>
                <a:cubicBezTo>
                  <a:pt x="87" y="167"/>
                  <a:pt x="112" y="177"/>
                  <a:pt x="119" y="177"/>
                </a:cubicBezTo>
                <a:cubicBezTo>
                  <a:pt x="127" y="177"/>
                  <a:pt x="138" y="174"/>
                  <a:pt x="146" y="168"/>
                </a:cubicBezTo>
                <a:cubicBezTo>
                  <a:pt x="154" y="163"/>
                  <a:pt x="168" y="153"/>
                  <a:pt x="174" y="148"/>
                </a:cubicBezTo>
                <a:cubicBezTo>
                  <a:pt x="179" y="144"/>
                  <a:pt x="199" y="127"/>
                  <a:pt x="203" y="124"/>
                </a:cubicBezTo>
                <a:cubicBezTo>
                  <a:pt x="206" y="120"/>
                  <a:pt x="200" y="112"/>
                  <a:pt x="190" y="111"/>
                </a:cubicBezTo>
                <a:close/>
              </a:path>
            </a:pathLst>
          </a:custGeom>
          <a:solidFill>
            <a:schemeClr val="accent1">
              <a:lumMod val="10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cs typeface="+mn-ea"/>
              <a:sym typeface="+mn-lt"/>
            </a:endParaRPr>
          </a:p>
        </p:txBody>
      </p:sp>
      <p:sp>
        <p:nvSpPr>
          <p:cNvPr id="54" name="Freeform 73">
            <a:extLst>
              <a:ext uri="{FF2B5EF4-FFF2-40B4-BE49-F238E27FC236}">
                <a16:creationId xmlns:a16="http://schemas.microsoft.com/office/drawing/2014/main" id="{8B8430F2-D836-4ADC-9BCD-7A0DB5B37473}"/>
              </a:ext>
            </a:extLst>
          </p:cNvPr>
          <p:cNvSpPr>
            <a:spLocks noEditPoints="1"/>
          </p:cNvSpPr>
          <p:nvPr/>
        </p:nvSpPr>
        <p:spPr bwMode="auto">
          <a:xfrm>
            <a:off x="1539890" y="4554468"/>
            <a:ext cx="202377" cy="369805"/>
          </a:xfrm>
          <a:custGeom>
            <a:avLst/>
            <a:gdLst>
              <a:gd name="T0" fmla="*/ 52 w 105"/>
              <a:gd name="T1" fmla="*/ 62 h 192"/>
              <a:gd name="T2" fmla="*/ 30 w 105"/>
              <a:gd name="T3" fmla="*/ 68 h 192"/>
              <a:gd name="T4" fmla="*/ 0 w 105"/>
              <a:gd name="T5" fmla="*/ 74 h 192"/>
              <a:gd name="T6" fmla="*/ 5 w 105"/>
              <a:gd name="T7" fmla="*/ 120 h 192"/>
              <a:gd name="T8" fmla="*/ 18 w 105"/>
              <a:gd name="T9" fmla="*/ 141 h 192"/>
              <a:gd name="T10" fmla="*/ 18 w 105"/>
              <a:gd name="T11" fmla="*/ 188 h 192"/>
              <a:gd name="T12" fmla="*/ 52 w 105"/>
              <a:gd name="T13" fmla="*/ 192 h 192"/>
              <a:gd name="T14" fmla="*/ 86 w 105"/>
              <a:gd name="T15" fmla="*/ 188 h 192"/>
              <a:gd name="T16" fmla="*/ 86 w 105"/>
              <a:gd name="T17" fmla="*/ 141 h 192"/>
              <a:gd name="T18" fmla="*/ 99 w 105"/>
              <a:gd name="T19" fmla="*/ 120 h 192"/>
              <a:gd name="T20" fmla="*/ 105 w 105"/>
              <a:gd name="T21" fmla="*/ 74 h 192"/>
              <a:gd name="T22" fmla="*/ 74 w 105"/>
              <a:gd name="T23" fmla="*/ 68 h 192"/>
              <a:gd name="T24" fmla="*/ 52 w 105"/>
              <a:gd name="T25" fmla="*/ 62 h 192"/>
              <a:gd name="T26" fmla="*/ 59 w 105"/>
              <a:gd name="T27" fmla="*/ 81 h 192"/>
              <a:gd name="T28" fmla="*/ 55 w 105"/>
              <a:gd name="T29" fmla="*/ 86 h 192"/>
              <a:gd name="T30" fmla="*/ 63 w 105"/>
              <a:gd name="T31" fmla="*/ 126 h 192"/>
              <a:gd name="T32" fmla="*/ 52 w 105"/>
              <a:gd name="T33" fmla="*/ 138 h 192"/>
              <a:gd name="T34" fmla="*/ 42 w 105"/>
              <a:gd name="T35" fmla="*/ 126 h 192"/>
              <a:gd name="T36" fmla="*/ 49 w 105"/>
              <a:gd name="T37" fmla="*/ 86 h 192"/>
              <a:gd name="T38" fmla="*/ 46 w 105"/>
              <a:gd name="T39" fmla="*/ 81 h 192"/>
              <a:gd name="T40" fmla="*/ 46 w 105"/>
              <a:gd name="T41" fmla="*/ 79 h 192"/>
              <a:gd name="T42" fmla="*/ 38 w 105"/>
              <a:gd name="T43" fmla="*/ 75 h 192"/>
              <a:gd name="T44" fmla="*/ 41 w 105"/>
              <a:gd name="T45" fmla="*/ 72 h 192"/>
              <a:gd name="T46" fmla="*/ 50 w 105"/>
              <a:gd name="T47" fmla="*/ 74 h 192"/>
              <a:gd name="T48" fmla="*/ 55 w 105"/>
              <a:gd name="T49" fmla="*/ 74 h 192"/>
              <a:gd name="T50" fmla="*/ 64 w 105"/>
              <a:gd name="T51" fmla="*/ 72 h 192"/>
              <a:gd name="T52" fmla="*/ 67 w 105"/>
              <a:gd name="T53" fmla="*/ 75 h 192"/>
              <a:gd name="T54" fmla="*/ 59 w 105"/>
              <a:gd name="T55" fmla="*/ 79 h 192"/>
              <a:gd name="T56" fmla="*/ 59 w 105"/>
              <a:gd name="T57" fmla="*/ 81 h 192"/>
              <a:gd name="T58" fmla="*/ 23 w 105"/>
              <a:gd name="T59" fmla="*/ 29 h 192"/>
              <a:gd name="T60" fmla="*/ 52 w 105"/>
              <a:gd name="T61" fmla="*/ 0 h 192"/>
              <a:gd name="T62" fmla="*/ 81 w 105"/>
              <a:gd name="T63" fmla="*/ 29 h 192"/>
              <a:gd name="T64" fmla="*/ 52 w 105"/>
              <a:gd name="T65" fmla="*/ 59 h 192"/>
              <a:gd name="T66" fmla="*/ 23 w 105"/>
              <a:gd name="T67" fmla="*/ 29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5" h="192">
                <a:moveTo>
                  <a:pt x="52" y="62"/>
                </a:moveTo>
                <a:cubicBezTo>
                  <a:pt x="42" y="62"/>
                  <a:pt x="33" y="66"/>
                  <a:pt x="30" y="68"/>
                </a:cubicBezTo>
                <a:cubicBezTo>
                  <a:pt x="10" y="70"/>
                  <a:pt x="0" y="74"/>
                  <a:pt x="0" y="74"/>
                </a:cubicBezTo>
                <a:cubicBezTo>
                  <a:pt x="0" y="74"/>
                  <a:pt x="2" y="111"/>
                  <a:pt x="5" y="120"/>
                </a:cubicBezTo>
                <a:cubicBezTo>
                  <a:pt x="8" y="128"/>
                  <a:pt x="18" y="132"/>
                  <a:pt x="18" y="141"/>
                </a:cubicBezTo>
                <a:cubicBezTo>
                  <a:pt x="18" y="188"/>
                  <a:pt x="18" y="188"/>
                  <a:pt x="18" y="188"/>
                </a:cubicBezTo>
                <a:cubicBezTo>
                  <a:pt x="18" y="188"/>
                  <a:pt x="35" y="192"/>
                  <a:pt x="52" y="192"/>
                </a:cubicBezTo>
                <a:cubicBezTo>
                  <a:pt x="69" y="192"/>
                  <a:pt x="86" y="188"/>
                  <a:pt x="86" y="188"/>
                </a:cubicBezTo>
                <a:cubicBezTo>
                  <a:pt x="86" y="141"/>
                  <a:pt x="86" y="141"/>
                  <a:pt x="86" y="141"/>
                </a:cubicBezTo>
                <a:cubicBezTo>
                  <a:pt x="86" y="132"/>
                  <a:pt x="97" y="128"/>
                  <a:pt x="99" y="120"/>
                </a:cubicBezTo>
                <a:cubicBezTo>
                  <a:pt x="102" y="111"/>
                  <a:pt x="105" y="74"/>
                  <a:pt x="105" y="74"/>
                </a:cubicBezTo>
                <a:cubicBezTo>
                  <a:pt x="105" y="74"/>
                  <a:pt x="95" y="70"/>
                  <a:pt x="74" y="68"/>
                </a:cubicBezTo>
                <a:cubicBezTo>
                  <a:pt x="71" y="66"/>
                  <a:pt x="63" y="62"/>
                  <a:pt x="52" y="62"/>
                </a:cubicBezTo>
                <a:moveTo>
                  <a:pt x="59" y="81"/>
                </a:moveTo>
                <a:cubicBezTo>
                  <a:pt x="55" y="86"/>
                  <a:pt x="55" y="86"/>
                  <a:pt x="55" y="86"/>
                </a:cubicBezTo>
                <a:cubicBezTo>
                  <a:pt x="63" y="126"/>
                  <a:pt x="63" y="126"/>
                  <a:pt x="63" y="126"/>
                </a:cubicBezTo>
                <a:cubicBezTo>
                  <a:pt x="52" y="138"/>
                  <a:pt x="52" y="138"/>
                  <a:pt x="52" y="138"/>
                </a:cubicBezTo>
                <a:cubicBezTo>
                  <a:pt x="42" y="126"/>
                  <a:pt x="42" y="126"/>
                  <a:pt x="42" y="126"/>
                </a:cubicBezTo>
                <a:cubicBezTo>
                  <a:pt x="49" y="86"/>
                  <a:pt x="49" y="86"/>
                  <a:pt x="49" y="86"/>
                </a:cubicBezTo>
                <a:cubicBezTo>
                  <a:pt x="46" y="81"/>
                  <a:pt x="46" y="81"/>
                  <a:pt x="46" y="81"/>
                </a:cubicBezTo>
                <a:cubicBezTo>
                  <a:pt x="46" y="79"/>
                  <a:pt x="46" y="79"/>
                  <a:pt x="46" y="79"/>
                </a:cubicBezTo>
                <a:cubicBezTo>
                  <a:pt x="43" y="78"/>
                  <a:pt x="40" y="77"/>
                  <a:pt x="38" y="75"/>
                </a:cubicBezTo>
                <a:cubicBezTo>
                  <a:pt x="41" y="72"/>
                  <a:pt x="41" y="72"/>
                  <a:pt x="41" y="72"/>
                </a:cubicBezTo>
                <a:cubicBezTo>
                  <a:pt x="44" y="73"/>
                  <a:pt x="47" y="73"/>
                  <a:pt x="50" y="74"/>
                </a:cubicBezTo>
                <a:cubicBezTo>
                  <a:pt x="55" y="74"/>
                  <a:pt x="55" y="74"/>
                  <a:pt x="55" y="74"/>
                </a:cubicBezTo>
                <a:cubicBezTo>
                  <a:pt x="58" y="73"/>
                  <a:pt x="61" y="73"/>
                  <a:pt x="64" y="72"/>
                </a:cubicBezTo>
                <a:cubicBezTo>
                  <a:pt x="67" y="75"/>
                  <a:pt x="67" y="75"/>
                  <a:pt x="67" y="75"/>
                </a:cubicBezTo>
                <a:cubicBezTo>
                  <a:pt x="65" y="77"/>
                  <a:pt x="62" y="78"/>
                  <a:pt x="59" y="79"/>
                </a:cubicBezTo>
                <a:lnTo>
                  <a:pt x="59" y="81"/>
                </a:lnTo>
                <a:close/>
                <a:moveTo>
                  <a:pt x="23" y="29"/>
                </a:moveTo>
                <a:cubicBezTo>
                  <a:pt x="23" y="13"/>
                  <a:pt x="36" y="0"/>
                  <a:pt x="52" y="0"/>
                </a:cubicBezTo>
                <a:cubicBezTo>
                  <a:pt x="68" y="0"/>
                  <a:pt x="81" y="13"/>
                  <a:pt x="81" y="29"/>
                </a:cubicBezTo>
                <a:cubicBezTo>
                  <a:pt x="81" y="46"/>
                  <a:pt x="68" y="59"/>
                  <a:pt x="52" y="59"/>
                </a:cubicBezTo>
                <a:cubicBezTo>
                  <a:pt x="36" y="59"/>
                  <a:pt x="23" y="46"/>
                  <a:pt x="23" y="29"/>
                </a:cubicBezTo>
              </a:path>
            </a:pathLst>
          </a:custGeom>
          <a:solidFill>
            <a:schemeClr val="accent1">
              <a:lumMod val="10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cs typeface="+mn-ea"/>
              <a:sym typeface="+mn-lt"/>
            </a:endParaRPr>
          </a:p>
        </p:txBody>
      </p:sp>
      <p:sp>
        <p:nvSpPr>
          <p:cNvPr id="55" name="Freeform 74">
            <a:extLst>
              <a:ext uri="{FF2B5EF4-FFF2-40B4-BE49-F238E27FC236}">
                <a16:creationId xmlns:a16="http://schemas.microsoft.com/office/drawing/2014/main" id="{6A3E568B-E67C-424A-815A-54D314D636B1}"/>
              </a:ext>
            </a:extLst>
          </p:cNvPr>
          <p:cNvSpPr>
            <a:spLocks noEditPoints="1"/>
          </p:cNvSpPr>
          <p:nvPr/>
        </p:nvSpPr>
        <p:spPr bwMode="auto">
          <a:xfrm>
            <a:off x="1550862" y="1934391"/>
            <a:ext cx="180433" cy="371431"/>
          </a:xfrm>
          <a:custGeom>
            <a:avLst/>
            <a:gdLst>
              <a:gd name="T0" fmla="*/ 19 w 94"/>
              <a:gd name="T1" fmla="*/ 28 h 193"/>
              <a:gd name="T2" fmla="*/ 47 w 94"/>
              <a:gd name="T3" fmla="*/ 0 h 193"/>
              <a:gd name="T4" fmla="*/ 75 w 94"/>
              <a:gd name="T5" fmla="*/ 28 h 193"/>
              <a:gd name="T6" fmla="*/ 47 w 94"/>
              <a:gd name="T7" fmla="*/ 56 h 193"/>
              <a:gd name="T8" fmla="*/ 19 w 94"/>
              <a:gd name="T9" fmla="*/ 28 h 193"/>
              <a:gd name="T10" fmla="*/ 76 w 94"/>
              <a:gd name="T11" fmla="*/ 132 h 193"/>
              <a:gd name="T12" fmla="*/ 81 w 94"/>
              <a:gd name="T13" fmla="*/ 111 h 193"/>
              <a:gd name="T14" fmla="*/ 87 w 94"/>
              <a:gd name="T15" fmla="*/ 70 h 193"/>
              <a:gd name="T16" fmla="*/ 75 w 94"/>
              <a:gd name="T17" fmla="*/ 66 h 193"/>
              <a:gd name="T18" fmla="*/ 75 w 94"/>
              <a:gd name="T19" fmla="*/ 79 h 193"/>
              <a:gd name="T20" fmla="*/ 68 w 94"/>
              <a:gd name="T21" fmla="*/ 79 h 193"/>
              <a:gd name="T22" fmla="*/ 70 w 94"/>
              <a:gd name="T23" fmla="*/ 86 h 193"/>
              <a:gd name="T24" fmla="*/ 47 w 94"/>
              <a:gd name="T25" fmla="*/ 99 h 193"/>
              <a:gd name="T26" fmla="*/ 24 w 94"/>
              <a:gd name="T27" fmla="*/ 86 h 193"/>
              <a:gd name="T28" fmla="*/ 26 w 94"/>
              <a:gd name="T29" fmla="*/ 79 h 193"/>
              <a:gd name="T30" fmla="*/ 19 w 94"/>
              <a:gd name="T31" fmla="*/ 79 h 193"/>
              <a:gd name="T32" fmla="*/ 19 w 94"/>
              <a:gd name="T33" fmla="*/ 66 h 193"/>
              <a:gd name="T34" fmla="*/ 7 w 94"/>
              <a:gd name="T35" fmla="*/ 70 h 193"/>
              <a:gd name="T36" fmla="*/ 13 w 94"/>
              <a:gd name="T37" fmla="*/ 111 h 193"/>
              <a:gd name="T38" fmla="*/ 18 w 94"/>
              <a:gd name="T39" fmla="*/ 132 h 193"/>
              <a:gd name="T40" fmla="*/ 0 w 94"/>
              <a:gd name="T41" fmla="*/ 188 h 193"/>
              <a:gd name="T42" fmla="*/ 47 w 94"/>
              <a:gd name="T43" fmla="*/ 193 h 193"/>
              <a:gd name="T44" fmla="*/ 94 w 94"/>
              <a:gd name="T45" fmla="*/ 188 h 193"/>
              <a:gd name="T46" fmla="*/ 76 w 94"/>
              <a:gd name="T47" fmla="*/ 132 h 193"/>
              <a:gd name="T48" fmla="*/ 29 w 94"/>
              <a:gd name="T49" fmla="*/ 63 h 193"/>
              <a:gd name="T50" fmla="*/ 32 w 94"/>
              <a:gd name="T51" fmla="*/ 79 h 193"/>
              <a:gd name="T52" fmla="*/ 47 w 94"/>
              <a:gd name="T53" fmla="*/ 78 h 193"/>
              <a:gd name="T54" fmla="*/ 62 w 94"/>
              <a:gd name="T55" fmla="*/ 79 h 193"/>
              <a:gd name="T56" fmla="*/ 65 w 94"/>
              <a:gd name="T57" fmla="*/ 63 h 193"/>
              <a:gd name="T58" fmla="*/ 47 w 94"/>
              <a:gd name="T59" fmla="*/ 60 h 193"/>
              <a:gd name="T60" fmla="*/ 29 w 94"/>
              <a:gd name="T61" fmla="*/ 6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4" h="193">
                <a:moveTo>
                  <a:pt x="19" y="28"/>
                </a:moveTo>
                <a:cubicBezTo>
                  <a:pt x="19" y="13"/>
                  <a:pt x="32" y="0"/>
                  <a:pt x="47" y="0"/>
                </a:cubicBezTo>
                <a:cubicBezTo>
                  <a:pt x="62" y="0"/>
                  <a:pt x="75" y="13"/>
                  <a:pt x="75" y="28"/>
                </a:cubicBezTo>
                <a:cubicBezTo>
                  <a:pt x="75" y="43"/>
                  <a:pt x="62" y="56"/>
                  <a:pt x="47" y="56"/>
                </a:cubicBezTo>
                <a:cubicBezTo>
                  <a:pt x="32" y="56"/>
                  <a:pt x="19" y="43"/>
                  <a:pt x="19" y="28"/>
                </a:cubicBezTo>
                <a:close/>
                <a:moveTo>
                  <a:pt x="76" y="132"/>
                </a:moveTo>
                <a:cubicBezTo>
                  <a:pt x="76" y="124"/>
                  <a:pt x="79" y="119"/>
                  <a:pt x="81" y="111"/>
                </a:cubicBezTo>
                <a:cubicBezTo>
                  <a:pt x="84" y="103"/>
                  <a:pt x="87" y="70"/>
                  <a:pt x="87" y="70"/>
                </a:cubicBezTo>
                <a:cubicBezTo>
                  <a:pt x="87" y="70"/>
                  <a:pt x="84" y="67"/>
                  <a:pt x="75" y="66"/>
                </a:cubicBezTo>
                <a:cubicBezTo>
                  <a:pt x="75" y="79"/>
                  <a:pt x="75" y="79"/>
                  <a:pt x="75" y="79"/>
                </a:cubicBezTo>
                <a:cubicBezTo>
                  <a:pt x="68" y="79"/>
                  <a:pt x="68" y="79"/>
                  <a:pt x="68" y="79"/>
                </a:cubicBezTo>
                <a:cubicBezTo>
                  <a:pt x="70" y="86"/>
                  <a:pt x="70" y="86"/>
                  <a:pt x="70" y="86"/>
                </a:cubicBezTo>
                <a:cubicBezTo>
                  <a:pt x="47" y="99"/>
                  <a:pt x="47" y="99"/>
                  <a:pt x="47" y="99"/>
                </a:cubicBezTo>
                <a:cubicBezTo>
                  <a:pt x="24" y="86"/>
                  <a:pt x="24" y="86"/>
                  <a:pt x="24" y="86"/>
                </a:cubicBezTo>
                <a:cubicBezTo>
                  <a:pt x="26" y="79"/>
                  <a:pt x="26" y="79"/>
                  <a:pt x="26" y="79"/>
                </a:cubicBezTo>
                <a:cubicBezTo>
                  <a:pt x="19" y="79"/>
                  <a:pt x="19" y="79"/>
                  <a:pt x="19" y="79"/>
                </a:cubicBezTo>
                <a:cubicBezTo>
                  <a:pt x="19" y="66"/>
                  <a:pt x="19" y="66"/>
                  <a:pt x="19" y="66"/>
                </a:cubicBezTo>
                <a:cubicBezTo>
                  <a:pt x="9" y="67"/>
                  <a:pt x="7" y="70"/>
                  <a:pt x="7" y="70"/>
                </a:cubicBezTo>
                <a:cubicBezTo>
                  <a:pt x="7" y="70"/>
                  <a:pt x="10" y="103"/>
                  <a:pt x="13" y="111"/>
                </a:cubicBezTo>
                <a:cubicBezTo>
                  <a:pt x="15" y="119"/>
                  <a:pt x="18" y="124"/>
                  <a:pt x="18" y="132"/>
                </a:cubicBezTo>
                <a:cubicBezTo>
                  <a:pt x="18" y="140"/>
                  <a:pt x="0" y="188"/>
                  <a:pt x="0" y="188"/>
                </a:cubicBezTo>
                <a:cubicBezTo>
                  <a:pt x="0" y="188"/>
                  <a:pt x="5" y="193"/>
                  <a:pt x="47" y="193"/>
                </a:cubicBezTo>
                <a:cubicBezTo>
                  <a:pt x="88" y="193"/>
                  <a:pt x="94" y="188"/>
                  <a:pt x="94" y="188"/>
                </a:cubicBezTo>
                <a:cubicBezTo>
                  <a:pt x="94" y="188"/>
                  <a:pt x="76" y="140"/>
                  <a:pt x="76" y="132"/>
                </a:cubicBezTo>
                <a:close/>
                <a:moveTo>
                  <a:pt x="29" y="63"/>
                </a:moveTo>
                <a:cubicBezTo>
                  <a:pt x="29" y="67"/>
                  <a:pt x="30" y="73"/>
                  <a:pt x="32" y="79"/>
                </a:cubicBezTo>
                <a:cubicBezTo>
                  <a:pt x="36" y="78"/>
                  <a:pt x="42" y="78"/>
                  <a:pt x="47" y="78"/>
                </a:cubicBezTo>
                <a:cubicBezTo>
                  <a:pt x="52" y="78"/>
                  <a:pt x="57" y="78"/>
                  <a:pt x="62" y="79"/>
                </a:cubicBezTo>
                <a:cubicBezTo>
                  <a:pt x="64" y="73"/>
                  <a:pt x="64" y="67"/>
                  <a:pt x="65" y="63"/>
                </a:cubicBezTo>
                <a:cubicBezTo>
                  <a:pt x="61" y="62"/>
                  <a:pt x="54" y="60"/>
                  <a:pt x="47" y="60"/>
                </a:cubicBezTo>
                <a:cubicBezTo>
                  <a:pt x="40" y="60"/>
                  <a:pt x="33" y="62"/>
                  <a:pt x="29" y="63"/>
                </a:cubicBezTo>
                <a:close/>
              </a:path>
            </a:pathLst>
          </a:custGeom>
          <a:solidFill>
            <a:schemeClr val="accent1">
              <a:lumMod val="10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cs typeface="+mn-ea"/>
              <a:sym typeface="+mn-lt"/>
            </a:endParaRPr>
          </a:p>
        </p:txBody>
      </p:sp>
      <p:sp>
        <p:nvSpPr>
          <p:cNvPr id="56" name="Freeform 75">
            <a:extLst>
              <a:ext uri="{FF2B5EF4-FFF2-40B4-BE49-F238E27FC236}">
                <a16:creationId xmlns:a16="http://schemas.microsoft.com/office/drawing/2014/main" id="{DED3B6DD-067C-419A-A714-607BD69BF19A}"/>
              </a:ext>
            </a:extLst>
          </p:cNvPr>
          <p:cNvSpPr>
            <a:spLocks noEditPoints="1"/>
          </p:cNvSpPr>
          <p:nvPr/>
        </p:nvSpPr>
        <p:spPr bwMode="auto">
          <a:xfrm>
            <a:off x="8610614" y="4596152"/>
            <a:ext cx="214051" cy="281425"/>
          </a:xfrm>
          <a:custGeom>
            <a:avLst/>
            <a:gdLst>
              <a:gd name="T0" fmla="*/ 121 w 129"/>
              <a:gd name="T1" fmla="*/ 56 h 169"/>
              <a:gd name="T2" fmla="*/ 65 w 129"/>
              <a:gd name="T3" fmla="*/ 0 h 169"/>
              <a:gd name="T4" fmla="*/ 9 w 129"/>
              <a:gd name="T5" fmla="*/ 56 h 169"/>
              <a:gd name="T6" fmla="*/ 24 w 129"/>
              <a:gd name="T7" fmla="*/ 56 h 169"/>
              <a:gd name="T8" fmla="*/ 65 w 129"/>
              <a:gd name="T9" fmla="*/ 16 h 169"/>
              <a:gd name="T10" fmla="*/ 105 w 129"/>
              <a:gd name="T11" fmla="*/ 56 h 169"/>
              <a:gd name="T12" fmla="*/ 105 w 129"/>
              <a:gd name="T13" fmla="*/ 84 h 169"/>
              <a:gd name="T14" fmla="*/ 0 w 129"/>
              <a:gd name="T15" fmla="*/ 84 h 169"/>
              <a:gd name="T16" fmla="*/ 0 w 129"/>
              <a:gd name="T17" fmla="*/ 169 h 169"/>
              <a:gd name="T18" fmla="*/ 129 w 129"/>
              <a:gd name="T19" fmla="*/ 169 h 169"/>
              <a:gd name="T20" fmla="*/ 129 w 129"/>
              <a:gd name="T21" fmla="*/ 84 h 169"/>
              <a:gd name="T22" fmla="*/ 121 w 129"/>
              <a:gd name="T23" fmla="*/ 84 h 169"/>
              <a:gd name="T24" fmla="*/ 121 w 129"/>
              <a:gd name="T25" fmla="*/ 56 h 169"/>
              <a:gd name="T26" fmla="*/ 72 w 129"/>
              <a:gd name="T27" fmla="*/ 142 h 169"/>
              <a:gd name="T28" fmla="*/ 57 w 129"/>
              <a:gd name="T29" fmla="*/ 142 h 169"/>
              <a:gd name="T30" fmla="*/ 57 w 129"/>
              <a:gd name="T31" fmla="*/ 121 h 169"/>
              <a:gd name="T32" fmla="*/ 72 w 129"/>
              <a:gd name="T33" fmla="*/ 121 h 169"/>
              <a:gd name="T34" fmla="*/ 72 w 129"/>
              <a:gd name="T35" fmla="*/ 142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9" h="169">
                <a:moveTo>
                  <a:pt x="121" y="56"/>
                </a:moveTo>
                <a:cubicBezTo>
                  <a:pt x="121" y="25"/>
                  <a:pt x="96" y="0"/>
                  <a:pt x="65" y="0"/>
                </a:cubicBezTo>
                <a:cubicBezTo>
                  <a:pt x="34" y="0"/>
                  <a:pt x="9" y="25"/>
                  <a:pt x="9" y="56"/>
                </a:cubicBezTo>
                <a:cubicBezTo>
                  <a:pt x="24" y="56"/>
                  <a:pt x="24" y="56"/>
                  <a:pt x="24" y="56"/>
                </a:cubicBezTo>
                <a:cubicBezTo>
                  <a:pt x="24" y="34"/>
                  <a:pt x="43" y="16"/>
                  <a:pt x="65" y="16"/>
                </a:cubicBezTo>
                <a:cubicBezTo>
                  <a:pt x="87" y="16"/>
                  <a:pt x="105" y="34"/>
                  <a:pt x="105" y="56"/>
                </a:cubicBezTo>
                <a:cubicBezTo>
                  <a:pt x="105" y="84"/>
                  <a:pt x="105" y="84"/>
                  <a:pt x="105" y="84"/>
                </a:cubicBezTo>
                <a:cubicBezTo>
                  <a:pt x="0" y="84"/>
                  <a:pt x="0" y="84"/>
                  <a:pt x="0" y="84"/>
                </a:cubicBezTo>
                <a:cubicBezTo>
                  <a:pt x="0" y="169"/>
                  <a:pt x="0" y="169"/>
                  <a:pt x="0" y="169"/>
                </a:cubicBezTo>
                <a:cubicBezTo>
                  <a:pt x="129" y="169"/>
                  <a:pt x="129" y="169"/>
                  <a:pt x="129" y="169"/>
                </a:cubicBezTo>
                <a:cubicBezTo>
                  <a:pt x="129" y="84"/>
                  <a:pt x="129" y="84"/>
                  <a:pt x="129" y="84"/>
                </a:cubicBezTo>
                <a:cubicBezTo>
                  <a:pt x="121" y="84"/>
                  <a:pt x="121" y="84"/>
                  <a:pt x="121" y="84"/>
                </a:cubicBezTo>
                <a:lnTo>
                  <a:pt x="121" y="56"/>
                </a:lnTo>
                <a:close/>
                <a:moveTo>
                  <a:pt x="72" y="142"/>
                </a:moveTo>
                <a:cubicBezTo>
                  <a:pt x="57" y="142"/>
                  <a:pt x="57" y="142"/>
                  <a:pt x="57" y="142"/>
                </a:cubicBezTo>
                <a:cubicBezTo>
                  <a:pt x="57" y="121"/>
                  <a:pt x="57" y="121"/>
                  <a:pt x="57" y="121"/>
                </a:cubicBezTo>
                <a:cubicBezTo>
                  <a:pt x="72" y="121"/>
                  <a:pt x="72" y="121"/>
                  <a:pt x="72" y="121"/>
                </a:cubicBezTo>
                <a:lnTo>
                  <a:pt x="72" y="142"/>
                </a:lnTo>
                <a:close/>
              </a:path>
            </a:pathLst>
          </a:custGeom>
          <a:solidFill>
            <a:schemeClr val="accent1">
              <a:lumMod val="10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cs typeface="+mn-ea"/>
              <a:sym typeface="+mn-lt"/>
            </a:endParaRPr>
          </a:p>
        </p:txBody>
      </p:sp>
      <p:sp>
        <p:nvSpPr>
          <p:cNvPr id="57" name="Freeform 76">
            <a:extLst>
              <a:ext uri="{FF2B5EF4-FFF2-40B4-BE49-F238E27FC236}">
                <a16:creationId xmlns:a16="http://schemas.microsoft.com/office/drawing/2014/main" id="{CB27CAA9-2292-4E03-BD24-C0B19D0063AB}"/>
              </a:ext>
            </a:extLst>
          </p:cNvPr>
          <p:cNvSpPr>
            <a:spLocks noEditPoints="1"/>
          </p:cNvSpPr>
          <p:nvPr/>
        </p:nvSpPr>
        <p:spPr bwMode="auto">
          <a:xfrm>
            <a:off x="8619938" y="1969924"/>
            <a:ext cx="214051" cy="281425"/>
          </a:xfrm>
          <a:custGeom>
            <a:avLst/>
            <a:gdLst>
              <a:gd name="T0" fmla="*/ 120 w 129"/>
              <a:gd name="T1" fmla="*/ 56 h 169"/>
              <a:gd name="T2" fmla="*/ 116 w 129"/>
              <a:gd name="T3" fmla="*/ 34 h 169"/>
              <a:gd name="T4" fmla="*/ 64 w 129"/>
              <a:gd name="T5" fmla="*/ 0 h 169"/>
              <a:gd name="T6" fmla="*/ 64 w 129"/>
              <a:gd name="T7" fmla="*/ 0 h 169"/>
              <a:gd name="T8" fmla="*/ 13 w 129"/>
              <a:gd name="T9" fmla="*/ 34 h 169"/>
              <a:gd name="T10" fmla="*/ 8 w 129"/>
              <a:gd name="T11" fmla="*/ 56 h 169"/>
              <a:gd name="T12" fmla="*/ 8 w 129"/>
              <a:gd name="T13" fmla="*/ 84 h 169"/>
              <a:gd name="T14" fmla="*/ 0 w 129"/>
              <a:gd name="T15" fmla="*/ 84 h 169"/>
              <a:gd name="T16" fmla="*/ 0 w 129"/>
              <a:gd name="T17" fmla="*/ 169 h 169"/>
              <a:gd name="T18" fmla="*/ 129 w 129"/>
              <a:gd name="T19" fmla="*/ 169 h 169"/>
              <a:gd name="T20" fmla="*/ 129 w 129"/>
              <a:gd name="T21" fmla="*/ 84 h 169"/>
              <a:gd name="T22" fmla="*/ 120 w 129"/>
              <a:gd name="T23" fmla="*/ 84 h 169"/>
              <a:gd name="T24" fmla="*/ 120 w 129"/>
              <a:gd name="T25" fmla="*/ 56 h 169"/>
              <a:gd name="T26" fmla="*/ 72 w 129"/>
              <a:gd name="T27" fmla="*/ 142 h 169"/>
              <a:gd name="T28" fmla="*/ 57 w 129"/>
              <a:gd name="T29" fmla="*/ 142 h 169"/>
              <a:gd name="T30" fmla="*/ 57 w 129"/>
              <a:gd name="T31" fmla="*/ 121 h 169"/>
              <a:gd name="T32" fmla="*/ 72 w 129"/>
              <a:gd name="T33" fmla="*/ 121 h 169"/>
              <a:gd name="T34" fmla="*/ 72 w 129"/>
              <a:gd name="T35" fmla="*/ 142 h 169"/>
              <a:gd name="T36" fmla="*/ 105 w 129"/>
              <a:gd name="T37" fmla="*/ 84 h 169"/>
              <a:gd name="T38" fmla="*/ 24 w 129"/>
              <a:gd name="T39" fmla="*/ 84 h 169"/>
              <a:gd name="T40" fmla="*/ 24 w 129"/>
              <a:gd name="T41" fmla="*/ 56 h 169"/>
              <a:gd name="T42" fmla="*/ 64 w 129"/>
              <a:gd name="T43" fmla="*/ 16 h 169"/>
              <a:gd name="T44" fmla="*/ 105 w 129"/>
              <a:gd name="T45" fmla="*/ 56 h 169"/>
              <a:gd name="T46" fmla="*/ 105 w 129"/>
              <a:gd name="T47" fmla="*/ 84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29" h="169">
                <a:moveTo>
                  <a:pt x="120" y="56"/>
                </a:moveTo>
                <a:cubicBezTo>
                  <a:pt x="120" y="49"/>
                  <a:pt x="119" y="41"/>
                  <a:pt x="116" y="34"/>
                </a:cubicBezTo>
                <a:cubicBezTo>
                  <a:pt x="107" y="14"/>
                  <a:pt x="87" y="0"/>
                  <a:pt x="64" y="0"/>
                </a:cubicBezTo>
                <a:cubicBezTo>
                  <a:pt x="64" y="0"/>
                  <a:pt x="64" y="0"/>
                  <a:pt x="64" y="0"/>
                </a:cubicBezTo>
                <a:cubicBezTo>
                  <a:pt x="41" y="0"/>
                  <a:pt x="21" y="14"/>
                  <a:pt x="13" y="34"/>
                </a:cubicBezTo>
                <a:cubicBezTo>
                  <a:pt x="10" y="41"/>
                  <a:pt x="8" y="49"/>
                  <a:pt x="8" y="56"/>
                </a:cubicBezTo>
                <a:cubicBezTo>
                  <a:pt x="8" y="84"/>
                  <a:pt x="8" y="84"/>
                  <a:pt x="8" y="84"/>
                </a:cubicBezTo>
                <a:cubicBezTo>
                  <a:pt x="0" y="84"/>
                  <a:pt x="0" y="84"/>
                  <a:pt x="0" y="84"/>
                </a:cubicBezTo>
                <a:cubicBezTo>
                  <a:pt x="0" y="169"/>
                  <a:pt x="0" y="169"/>
                  <a:pt x="0" y="169"/>
                </a:cubicBezTo>
                <a:cubicBezTo>
                  <a:pt x="129" y="169"/>
                  <a:pt x="129" y="169"/>
                  <a:pt x="129" y="169"/>
                </a:cubicBezTo>
                <a:cubicBezTo>
                  <a:pt x="129" y="84"/>
                  <a:pt x="129" y="84"/>
                  <a:pt x="129" y="84"/>
                </a:cubicBezTo>
                <a:cubicBezTo>
                  <a:pt x="120" y="84"/>
                  <a:pt x="120" y="84"/>
                  <a:pt x="120" y="84"/>
                </a:cubicBezTo>
                <a:lnTo>
                  <a:pt x="120" y="56"/>
                </a:lnTo>
                <a:close/>
                <a:moveTo>
                  <a:pt x="72" y="142"/>
                </a:moveTo>
                <a:cubicBezTo>
                  <a:pt x="57" y="142"/>
                  <a:pt x="57" y="142"/>
                  <a:pt x="57" y="142"/>
                </a:cubicBezTo>
                <a:cubicBezTo>
                  <a:pt x="57" y="121"/>
                  <a:pt x="57" y="121"/>
                  <a:pt x="57" y="121"/>
                </a:cubicBezTo>
                <a:cubicBezTo>
                  <a:pt x="72" y="121"/>
                  <a:pt x="72" y="121"/>
                  <a:pt x="72" y="121"/>
                </a:cubicBezTo>
                <a:lnTo>
                  <a:pt x="72" y="142"/>
                </a:lnTo>
                <a:close/>
                <a:moveTo>
                  <a:pt x="105" y="84"/>
                </a:moveTo>
                <a:cubicBezTo>
                  <a:pt x="24" y="84"/>
                  <a:pt x="24" y="84"/>
                  <a:pt x="24" y="84"/>
                </a:cubicBezTo>
                <a:cubicBezTo>
                  <a:pt x="24" y="56"/>
                  <a:pt x="24" y="56"/>
                  <a:pt x="24" y="56"/>
                </a:cubicBezTo>
                <a:cubicBezTo>
                  <a:pt x="24" y="34"/>
                  <a:pt x="42" y="16"/>
                  <a:pt x="64" y="16"/>
                </a:cubicBezTo>
                <a:cubicBezTo>
                  <a:pt x="86" y="16"/>
                  <a:pt x="105" y="34"/>
                  <a:pt x="105" y="56"/>
                </a:cubicBezTo>
                <a:lnTo>
                  <a:pt x="105" y="84"/>
                </a:lnTo>
                <a:close/>
              </a:path>
            </a:pathLst>
          </a:custGeom>
          <a:solidFill>
            <a:schemeClr val="accent1">
              <a:lumMod val="10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cs typeface="+mn-ea"/>
              <a:sym typeface="+mn-lt"/>
            </a:endParaRPr>
          </a:p>
        </p:txBody>
      </p:sp>
    </p:spTree>
    <p:extLst>
      <p:ext uri="{BB962C8B-B14F-4D97-AF65-F5344CB8AC3E}">
        <p14:creationId xmlns:p14="http://schemas.microsoft.com/office/powerpoint/2010/main" val="2362303552"/>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afterEffect" p14:presetBounceEnd="60000">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14:bounceEnd="60000">
                                          <p:cBhvr additive="base">
                                            <p:cTn id="7" dur="500" fill="hold"/>
                                            <p:tgtEl>
                                              <p:spTgt spid="2"/>
                                            </p:tgtEl>
                                            <p:attrNameLst>
                                              <p:attrName>ppt_x</p:attrName>
                                            </p:attrNameLst>
                                          </p:cBhvr>
                                          <p:tavLst>
                                            <p:tav tm="0">
                                              <p:val>
                                                <p:strVal val="0-#ppt_w/2"/>
                                              </p:val>
                                            </p:tav>
                                            <p:tav tm="100000">
                                              <p:val>
                                                <p:strVal val="#ppt_x"/>
                                              </p:val>
                                            </p:tav>
                                          </p:tavLst>
                                        </p:anim>
                                        <p:anim calcmode="lin" valueType="num" p14:bounceEnd="60000">
                                          <p:cBhvr additive="base">
                                            <p:cTn id="8" dur="500" fill="hold"/>
                                            <p:tgtEl>
                                              <p:spTgt spid="2"/>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2" presetClass="entr" presetSubtype="8" fill="hold" grpId="0" nodeType="afterEffect" p14:presetBounceEnd="60000">
                                      <p:stCondLst>
                                        <p:cond delay="0"/>
                                      </p:stCondLst>
                                      <p:childTnLst>
                                        <p:set>
                                          <p:cBhvr>
                                            <p:cTn id="11" dur="1" fill="hold">
                                              <p:stCondLst>
                                                <p:cond delay="0"/>
                                              </p:stCondLst>
                                            </p:cTn>
                                            <p:tgtEl>
                                              <p:spTgt spid="3"/>
                                            </p:tgtEl>
                                            <p:attrNameLst>
                                              <p:attrName>style.visibility</p:attrName>
                                            </p:attrNameLst>
                                          </p:cBhvr>
                                          <p:to>
                                            <p:strVal val="visible"/>
                                          </p:to>
                                        </p:set>
                                        <p:anim calcmode="lin" valueType="num" p14:bounceEnd="60000">
                                          <p:cBhvr additive="base">
                                            <p:cTn id="12" dur="500" fill="hold"/>
                                            <p:tgtEl>
                                              <p:spTgt spid="3"/>
                                            </p:tgtEl>
                                            <p:attrNameLst>
                                              <p:attrName>ppt_x</p:attrName>
                                            </p:attrNameLst>
                                          </p:cBhvr>
                                          <p:tavLst>
                                            <p:tav tm="0">
                                              <p:val>
                                                <p:strVal val="0-#ppt_w/2"/>
                                              </p:val>
                                            </p:tav>
                                            <p:tav tm="100000">
                                              <p:val>
                                                <p:strVal val="#ppt_x"/>
                                              </p:val>
                                            </p:tav>
                                          </p:tavLst>
                                        </p:anim>
                                        <p:anim calcmode="lin" valueType="num" p14:bounceEnd="60000">
                                          <p:cBhvr additive="base">
                                            <p:cTn id="13" dur="500" fill="hold"/>
                                            <p:tgtEl>
                                              <p:spTgt spid="3"/>
                                            </p:tgtEl>
                                            <p:attrNameLst>
                                              <p:attrName>ppt_y</p:attrName>
                                            </p:attrNameLst>
                                          </p:cBhvr>
                                          <p:tavLst>
                                            <p:tav tm="0">
                                              <p:val>
                                                <p:strVal val="#ppt_y"/>
                                              </p:val>
                                            </p:tav>
                                            <p:tav tm="100000">
                                              <p:val>
                                                <p:strVal val="#ppt_y"/>
                                              </p:val>
                                            </p:tav>
                                          </p:tavLst>
                                        </p:anim>
                                      </p:childTnLst>
                                    </p:cTn>
                                  </p:par>
                                </p:childTnLst>
                              </p:cTn>
                            </p:par>
                            <p:par>
                              <p:cTn id="14" fill="hold">
                                <p:stCondLst>
                                  <p:cond delay="1000"/>
                                </p:stCondLst>
                                <p:childTnLst>
                                  <p:par>
                                    <p:cTn id="15" presetID="2" presetClass="entr" presetSubtype="8" fill="hold" grpId="0" nodeType="afterEffect" p14:presetBounceEnd="60000">
                                      <p:stCondLst>
                                        <p:cond delay="0"/>
                                      </p:stCondLst>
                                      <p:childTnLst>
                                        <p:set>
                                          <p:cBhvr>
                                            <p:cTn id="16" dur="1" fill="hold">
                                              <p:stCondLst>
                                                <p:cond delay="0"/>
                                              </p:stCondLst>
                                            </p:cTn>
                                            <p:tgtEl>
                                              <p:spTgt spid="18"/>
                                            </p:tgtEl>
                                            <p:attrNameLst>
                                              <p:attrName>style.visibility</p:attrName>
                                            </p:attrNameLst>
                                          </p:cBhvr>
                                          <p:to>
                                            <p:strVal val="visible"/>
                                          </p:to>
                                        </p:set>
                                        <p:anim calcmode="lin" valueType="num" p14:bounceEnd="60000">
                                          <p:cBhvr additive="base">
                                            <p:cTn id="17" dur="500" fill="hold"/>
                                            <p:tgtEl>
                                              <p:spTgt spid="18"/>
                                            </p:tgtEl>
                                            <p:attrNameLst>
                                              <p:attrName>ppt_x</p:attrName>
                                            </p:attrNameLst>
                                          </p:cBhvr>
                                          <p:tavLst>
                                            <p:tav tm="0">
                                              <p:val>
                                                <p:strVal val="0-#ppt_w/2"/>
                                              </p:val>
                                            </p:tav>
                                            <p:tav tm="100000">
                                              <p:val>
                                                <p:strVal val="#ppt_x"/>
                                              </p:val>
                                            </p:tav>
                                          </p:tavLst>
                                        </p:anim>
                                        <p:anim calcmode="lin" valueType="num" p14:bounceEnd="60000">
                                          <p:cBhvr additive="base">
                                            <p:cTn id="18" dur="500" fill="hold"/>
                                            <p:tgtEl>
                                              <p:spTgt spid="18"/>
                                            </p:tgtEl>
                                            <p:attrNameLst>
                                              <p:attrName>ppt_y</p:attrName>
                                            </p:attrNameLst>
                                          </p:cBhvr>
                                          <p:tavLst>
                                            <p:tav tm="0">
                                              <p:val>
                                                <p:strVal val="#ppt_y"/>
                                              </p:val>
                                            </p:tav>
                                            <p:tav tm="100000">
                                              <p:val>
                                                <p:strVal val="#ppt_y"/>
                                              </p:val>
                                            </p:tav>
                                          </p:tavLst>
                                        </p:anim>
                                      </p:childTnLst>
                                    </p:cTn>
                                  </p:par>
                                </p:childTnLst>
                              </p:cTn>
                            </p:par>
                            <p:par>
                              <p:cTn id="19" fill="hold">
                                <p:stCondLst>
                                  <p:cond delay="1500"/>
                                </p:stCondLst>
                                <p:childTnLst>
                                  <p:par>
                                    <p:cTn id="20" presetID="2" presetClass="entr" presetSubtype="8" fill="hold" grpId="0" nodeType="afterEffect" p14:presetBounceEnd="60000">
                                      <p:stCondLst>
                                        <p:cond delay="0"/>
                                      </p:stCondLst>
                                      <p:childTnLst>
                                        <p:set>
                                          <p:cBhvr>
                                            <p:cTn id="21" dur="1" fill="hold">
                                              <p:stCondLst>
                                                <p:cond delay="0"/>
                                              </p:stCondLst>
                                            </p:cTn>
                                            <p:tgtEl>
                                              <p:spTgt spid="17"/>
                                            </p:tgtEl>
                                            <p:attrNameLst>
                                              <p:attrName>style.visibility</p:attrName>
                                            </p:attrNameLst>
                                          </p:cBhvr>
                                          <p:to>
                                            <p:strVal val="visible"/>
                                          </p:to>
                                        </p:set>
                                        <p:anim calcmode="lin" valueType="num" p14:bounceEnd="60000">
                                          <p:cBhvr additive="base">
                                            <p:cTn id="22" dur="500" fill="hold"/>
                                            <p:tgtEl>
                                              <p:spTgt spid="17"/>
                                            </p:tgtEl>
                                            <p:attrNameLst>
                                              <p:attrName>ppt_x</p:attrName>
                                            </p:attrNameLst>
                                          </p:cBhvr>
                                          <p:tavLst>
                                            <p:tav tm="0">
                                              <p:val>
                                                <p:strVal val="0-#ppt_w/2"/>
                                              </p:val>
                                            </p:tav>
                                            <p:tav tm="100000">
                                              <p:val>
                                                <p:strVal val="#ppt_x"/>
                                              </p:val>
                                            </p:tav>
                                          </p:tavLst>
                                        </p:anim>
                                        <p:anim calcmode="lin" valueType="num" p14:bounceEnd="60000">
                                          <p:cBhvr additive="base">
                                            <p:cTn id="23" dur="500" fill="hold"/>
                                            <p:tgtEl>
                                              <p:spTgt spid="17"/>
                                            </p:tgtEl>
                                            <p:attrNameLst>
                                              <p:attrName>ppt_y</p:attrName>
                                            </p:attrNameLst>
                                          </p:cBhvr>
                                          <p:tavLst>
                                            <p:tav tm="0">
                                              <p:val>
                                                <p:strVal val="#ppt_y"/>
                                              </p:val>
                                            </p:tav>
                                            <p:tav tm="100000">
                                              <p:val>
                                                <p:strVal val="#ppt_y"/>
                                              </p:val>
                                            </p:tav>
                                          </p:tavLst>
                                        </p:anim>
                                      </p:childTnLst>
                                    </p:cTn>
                                  </p:par>
                                </p:childTnLst>
                              </p:cTn>
                            </p:par>
                            <p:par>
                              <p:cTn id="24" fill="hold">
                                <p:stCondLst>
                                  <p:cond delay="2000"/>
                                </p:stCondLst>
                                <p:childTnLst>
                                  <p:par>
                                    <p:cTn id="25" presetID="2" presetClass="entr" presetSubtype="8" fill="hold" grpId="0" nodeType="afterEffect" p14:presetBounceEnd="60000">
                                      <p:stCondLst>
                                        <p:cond delay="0"/>
                                      </p:stCondLst>
                                      <p:childTnLst>
                                        <p:set>
                                          <p:cBhvr>
                                            <p:cTn id="26" dur="1" fill="hold">
                                              <p:stCondLst>
                                                <p:cond delay="0"/>
                                              </p:stCondLst>
                                            </p:cTn>
                                            <p:tgtEl>
                                              <p:spTgt spid="4"/>
                                            </p:tgtEl>
                                            <p:attrNameLst>
                                              <p:attrName>style.visibility</p:attrName>
                                            </p:attrNameLst>
                                          </p:cBhvr>
                                          <p:to>
                                            <p:strVal val="visible"/>
                                          </p:to>
                                        </p:set>
                                        <p:anim calcmode="lin" valueType="num" p14:bounceEnd="60000">
                                          <p:cBhvr additive="base">
                                            <p:cTn id="27" dur="500" fill="hold"/>
                                            <p:tgtEl>
                                              <p:spTgt spid="4"/>
                                            </p:tgtEl>
                                            <p:attrNameLst>
                                              <p:attrName>ppt_x</p:attrName>
                                            </p:attrNameLst>
                                          </p:cBhvr>
                                          <p:tavLst>
                                            <p:tav tm="0">
                                              <p:val>
                                                <p:strVal val="0-#ppt_w/2"/>
                                              </p:val>
                                            </p:tav>
                                            <p:tav tm="100000">
                                              <p:val>
                                                <p:strVal val="#ppt_x"/>
                                              </p:val>
                                            </p:tav>
                                          </p:tavLst>
                                        </p:anim>
                                        <p:anim calcmode="lin" valueType="num" p14:bounceEnd="60000">
                                          <p:cBhvr additive="base">
                                            <p:cTn id="28" dur="500" fill="hold"/>
                                            <p:tgtEl>
                                              <p:spTgt spid="4"/>
                                            </p:tgtEl>
                                            <p:attrNameLst>
                                              <p:attrName>ppt_y</p:attrName>
                                            </p:attrNameLst>
                                          </p:cBhvr>
                                          <p:tavLst>
                                            <p:tav tm="0">
                                              <p:val>
                                                <p:strVal val="#ppt_y"/>
                                              </p:val>
                                            </p:tav>
                                            <p:tav tm="100000">
                                              <p:val>
                                                <p:strVal val="#ppt_y"/>
                                              </p:val>
                                            </p:tav>
                                          </p:tavLst>
                                        </p:anim>
                                      </p:childTnLst>
                                    </p:cTn>
                                  </p:par>
                                </p:childTnLst>
                              </p:cTn>
                            </p:par>
                            <p:par>
                              <p:cTn id="29" fill="hold">
                                <p:stCondLst>
                                  <p:cond delay="2500"/>
                                </p:stCondLst>
                                <p:childTnLst>
                                  <p:par>
                                    <p:cTn id="30" presetID="22" presetClass="entr" presetSubtype="8" fill="hold" nodeType="afterEffect">
                                      <p:stCondLst>
                                        <p:cond delay="0"/>
                                      </p:stCondLst>
                                      <p:childTnLst>
                                        <p:set>
                                          <p:cBhvr>
                                            <p:cTn id="31" dur="1" fill="hold">
                                              <p:stCondLst>
                                                <p:cond delay="0"/>
                                              </p:stCondLst>
                                            </p:cTn>
                                            <p:tgtEl>
                                              <p:spTgt spid="43"/>
                                            </p:tgtEl>
                                            <p:attrNameLst>
                                              <p:attrName>style.visibility</p:attrName>
                                            </p:attrNameLst>
                                          </p:cBhvr>
                                          <p:to>
                                            <p:strVal val="visible"/>
                                          </p:to>
                                        </p:set>
                                        <p:animEffect transition="in" filter="wipe(left)">
                                          <p:cBhvr>
                                            <p:cTn id="32" dur="500"/>
                                            <p:tgtEl>
                                              <p:spTgt spid="43"/>
                                            </p:tgtEl>
                                          </p:cBhvr>
                                        </p:animEffect>
                                      </p:childTnLst>
                                    </p:cTn>
                                  </p:par>
                                </p:childTnLst>
                              </p:cTn>
                            </p:par>
                            <p:par>
                              <p:cTn id="33" fill="hold">
                                <p:stCondLst>
                                  <p:cond delay="3000"/>
                                </p:stCondLst>
                                <p:childTnLst>
                                  <p:par>
                                    <p:cTn id="34" presetID="22" presetClass="entr" presetSubtype="8" fill="hold" grpId="0" nodeType="afterEffect">
                                      <p:stCondLst>
                                        <p:cond delay="0"/>
                                      </p:stCondLst>
                                      <p:childTnLst>
                                        <p:set>
                                          <p:cBhvr>
                                            <p:cTn id="35" dur="1" fill="hold">
                                              <p:stCondLst>
                                                <p:cond delay="0"/>
                                              </p:stCondLst>
                                            </p:cTn>
                                            <p:tgtEl>
                                              <p:spTgt spid="37"/>
                                            </p:tgtEl>
                                            <p:attrNameLst>
                                              <p:attrName>style.visibility</p:attrName>
                                            </p:attrNameLst>
                                          </p:cBhvr>
                                          <p:to>
                                            <p:strVal val="visible"/>
                                          </p:to>
                                        </p:set>
                                        <p:animEffect transition="in" filter="wipe(left)">
                                          <p:cBhvr>
                                            <p:cTn id="36" dur="500"/>
                                            <p:tgtEl>
                                              <p:spTgt spid="37"/>
                                            </p:tgtEl>
                                          </p:cBhvr>
                                        </p:animEffect>
                                      </p:childTnLst>
                                    </p:cTn>
                                  </p:par>
                                </p:childTnLst>
                              </p:cTn>
                            </p:par>
                            <p:par>
                              <p:cTn id="37" fill="hold">
                                <p:stCondLst>
                                  <p:cond delay="3500"/>
                                </p:stCondLst>
                                <p:childTnLst>
                                  <p:par>
                                    <p:cTn id="38" presetID="22" presetClass="entr" presetSubtype="8" fill="hold" nodeType="afterEffect">
                                      <p:stCondLst>
                                        <p:cond delay="0"/>
                                      </p:stCondLst>
                                      <p:childTnLst>
                                        <p:set>
                                          <p:cBhvr>
                                            <p:cTn id="39" dur="1" fill="hold">
                                              <p:stCondLst>
                                                <p:cond delay="0"/>
                                              </p:stCondLst>
                                            </p:cTn>
                                            <p:tgtEl>
                                              <p:spTgt spid="44"/>
                                            </p:tgtEl>
                                            <p:attrNameLst>
                                              <p:attrName>style.visibility</p:attrName>
                                            </p:attrNameLst>
                                          </p:cBhvr>
                                          <p:to>
                                            <p:strVal val="visible"/>
                                          </p:to>
                                        </p:set>
                                        <p:animEffect transition="in" filter="wipe(left)">
                                          <p:cBhvr>
                                            <p:cTn id="40" dur="500"/>
                                            <p:tgtEl>
                                              <p:spTgt spid="44"/>
                                            </p:tgtEl>
                                          </p:cBhvr>
                                        </p:animEffect>
                                      </p:childTnLst>
                                    </p:cTn>
                                  </p:par>
                                </p:childTnLst>
                              </p:cTn>
                            </p:par>
                            <p:par>
                              <p:cTn id="41" fill="hold">
                                <p:stCondLst>
                                  <p:cond delay="4000"/>
                                </p:stCondLst>
                                <p:childTnLst>
                                  <p:par>
                                    <p:cTn id="42" presetID="22" presetClass="entr" presetSubtype="8" fill="hold" grpId="0" nodeType="afterEffect">
                                      <p:stCondLst>
                                        <p:cond delay="0"/>
                                      </p:stCondLst>
                                      <p:childTnLst>
                                        <p:set>
                                          <p:cBhvr>
                                            <p:cTn id="43" dur="1" fill="hold">
                                              <p:stCondLst>
                                                <p:cond delay="0"/>
                                              </p:stCondLst>
                                            </p:cTn>
                                            <p:tgtEl>
                                              <p:spTgt spid="38"/>
                                            </p:tgtEl>
                                            <p:attrNameLst>
                                              <p:attrName>style.visibility</p:attrName>
                                            </p:attrNameLst>
                                          </p:cBhvr>
                                          <p:to>
                                            <p:strVal val="visible"/>
                                          </p:to>
                                        </p:set>
                                        <p:animEffect transition="in" filter="wipe(left)">
                                          <p:cBhvr>
                                            <p:cTn id="44" dur="500"/>
                                            <p:tgtEl>
                                              <p:spTgt spid="38"/>
                                            </p:tgtEl>
                                          </p:cBhvr>
                                        </p:animEffect>
                                      </p:childTnLst>
                                    </p:cTn>
                                  </p:par>
                                </p:childTnLst>
                              </p:cTn>
                            </p:par>
                            <p:par>
                              <p:cTn id="45" fill="hold">
                                <p:stCondLst>
                                  <p:cond delay="4500"/>
                                </p:stCondLst>
                                <p:childTnLst>
                                  <p:par>
                                    <p:cTn id="46" presetID="22" presetClass="entr" presetSubtype="8" fill="hold" nodeType="afterEffect">
                                      <p:stCondLst>
                                        <p:cond delay="0"/>
                                      </p:stCondLst>
                                      <p:childTnLst>
                                        <p:set>
                                          <p:cBhvr>
                                            <p:cTn id="47" dur="1" fill="hold">
                                              <p:stCondLst>
                                                <p:cond delay="0"/>
                                              </p:stCondLst>
                                            </p:cTn>
                                            <p:tgtEl>
                                              <p:spTgt spid="45"/>
                                            </p:tgtEl>
                                            <p:attrNameLst>
                                              <p:attrName>style.visibility</p:attrName>
                                            </p:attrNameLst>
                                          </p:cBhvr>
                                          <p:to>
                                            <p:strVal val="visible"/>
                                          </p:to>
                                        </p:set>
                                        <p:animEffect transition="in" filter="wipe(left)">
                                          <p:cBhvr>
                                            <p:cTn id="48" dur="500"/>
                                            <p:tgtEl>
                                              <p:spTgt spid="45"/>
                                            </p:tgtEl>
                                          </p:cBhvr>
                                        </p:animEffect>
                                      </p:childTnLst>
                                    </p:cTn>
                                  </p:par>
                                </p:childTnLst>
                              </p:cTn>
                            </p:par>
                            <p:par>
                              <p:cTn id="49" fill="hold">
                                <p:stCondLst>
                                  <p:cond delay="5000"/>
                                </p:stCondLst>
                                <p:childTnLst>
                                  <p:par>
                                    <p:cTn id="50" presetID="22" presetClass="entr" presetSubtype="8" fill="hold" grpId="0" nodeType="afterEffect">
                                      <p:stCondLst>
                                        <p:cond delay="0"/>
                                      </p:stCondLst>
                                      <p:childTnLst>
                                        <p:set>
                                          <p:cBhvr>
                                            <p:cTn id="51" dur="1" fill="hold">
                                              <p:stCondLst>
                                                <p:cond delay="0"/>
                                              </p:stCondLst>
                                            </p:cTn>
                                            <p:tgtEl>
                                              <p:spTgt spid="39"/>
                                            </p:tgtEl>
                                            <p:attrNameLst>
                                              <p:attrName>style.visibility</p:attrName>
                                            </p:attrNameLst>
                                          </p:cBhvr>
                                          <p:to>
                                            <p:strVal val="visible"/>
                                          </p:to>
                                        </p:set>
                                        <p:animEffect transition="in" filter="wipe(left)">
                                          <p:cBhvr>
                                            <p:cTn id="52" dur="500"/>
                                            <p:tgtEl>
                                              <p:spTgt spid="39"/>
                                            </p:tgtEl>
                                          </p:cBhvr>
                                        </p:animEffect>
                                      </p:childTnLst>
                                    </p:cTn>
                                  </p:par>
                                </p:childTnLst>
                              </p:cTn>
                            </p:par>
                            <p:par>
                              <p:cTn id="53" fill="hold">
                                <p:stCondLst>
                                  <p:cond delay="5500"/>
                                </p:stCondLst>
                                <p:childTnLst>
                                  <p:par>
                                    <p:cTn id="54" presetID="22" presetClass="entr" presetSubtype="8" fill="hold" nodeType="afterEffect">
                                      <p:stCondLst>
                                        <p:cond delay="0"/>
                                      </p:stCondLst>
                                      <p:childTnLst>
                                        <p:set>
                                          <p:cBhvr>
                                            <p:cTn id="55" dur="1" fill="hold">
                                              <p:stCondLst>
                                                <p:cond delay="0"/>
                                              </p:stCondLst>
                                            </p:cTn>
                                            <p:tgtEl>
                                              <p:spTgt spid="46"/>
                                            </p:tgtEl>
                                            <p:attrNameLst>
                                              <p:attrName>style.visibility</p:attrName>
                                            </p:attrNameLst>
                                          </p:cBhvr>
                                          <p:to>
                                            <p:strVal val="visible"/>
                                          </p:to>
                                        </p:set>
                                        <p:animEffect transition="in" filter="wipe(left)">
                                          <p:cBhvr>
                                            <p:cTn id="56" dur="500"/>
                                            <p:tgtEl>
                                              <p:spTgt spid="46"/>
                                            </p:tgtEl>
                                          </p:cBhvr>
                                        </p:animEffect>
                                      </p:childTnLst>
                                    </p:cTn>
                                  </p:par>
                                </p:childTnLst>
                              </p:cTn>
                            </p:par>
                            <p:par>
                              <p:cTn id="57" fill="hold">
                                <p:stCondLst>
                                  <p:cond delay="6000"/>
                                </p:stCondLst>
                                <p:childTnLst>
                                  <p:par>
                                    <p:cTn id="58" presetID="22" presetClass="entr" presetSubtype="8" fill="hold" grpId="0" nodeType="afterEffect">
                                      <p:stCondLst>
                                        <p:cond delay="0"/>
                                      </p:stCondLst>
                                      <p:childTnLst>
                                        <p:set>
                                          <p:cBhvr>
                                            <p:cTn id="59" dur="1" fill="hold">
                                              <p:stCondLst>
                                                <p:cond delay="0"/>
                                              </p:stCondLst>
                                            </p:cTn>
                                            <p:tgtEl>
                                              <p:spTgt spid="40"/>
                                            </p:tgtEl>
                                            <p:attrNameLst>
                                              <p:attrName>style.visibility</p:attrName>
                                            </p:attrNameLst>
                                          </p:cBhvr>
                                          <p:to>
                                            <p:strVal val="visible"/>
                                          </p:to>
                                        </p:set>
                                        <p:animEffect transition="in" filter="wipe(left)">
                                          <p:cBhvr>
                                            <p:cTn id="60" dur="500"/>
                                            <p:tgtEl>
                                              <p:spTgt spid="40"/>
                                            </p:tgtEl>
                                          </p:cBhvr>
                                        </p:animEffect>
                                      </p:childTnLst>
                                    </p:cTn>
                                  </p:par>
                                </p:childTnLst>
                              </p:cTn>
                            </p:par>
                            <p:par>
                              <p:cTn id="61" fill="hold">
                                <p:stCondLst>
                                  <p:cond delay="6500"/>
                                </p:stCondLst>
                                <p:childTnLst>
                                  <p:par>
                                    <p:cTn id="62" presetID="22" presetClass="entr" presetSubtype="8" fill="hold" nodeType="afterEffect">
                                      <p:stCondLst>
                                        <p:cond delay="0"/>
                                      </p:stCondLst>
                                      <p:childTnLst>
                                        <p:set>
                                          <p:cBhvr>
                                            <p:cTn id="63" dur="1" fill="hold">
                                              <p:stCondLst>
                                                <p:cond delay="0"/>
                                              </p:stCondLst>
                                            </p:cTn>
                                            <p:tgtEl>
                                              <p:spTgt spid="47"/>
                                            </p:tgtEl>
                                            <p:attrNameLst>
                                              <p:attrName>style.visibility</p:attrName>
                                            </p:attrNameLst>
                                          </p:cBhvr>
                                          <p:to>
                                            <p:strVal val="visible"/>
                                          </p:to>
                                        </p:set>
                                        <p:animEffect transition="in" filter="wipe(left)">
                                          <p:cBhvr>
                                            <p:cTn id="64" dur="500"/>
                                            <p:tgtEl>
                                              <p:spTgt spid="47"/>
                                            </p:tgtEl>
                                          </p:cBhvr>
                                        </p:animEffect>
                                      </p:childTnLst>
                                    </p:cTn>
                                  </p:par>
                                </p:childTnLst>
                              </p:cTn>
                            </p:par>
                            <p:par>
                              <p:cTn id="65" fill="hold">
                                <p:stCondLst>
                                  <p:cond delay="7000"/>
                                </p:stCondLst>
                                <p:childTnLst>
                                  <p:par>
                                    <p:cTn id="66" presetID="22" presetClass="entr" presetSubtype="8" fill="hold" grpId="0" nodeType="afterEffect">
                                      <p:stCondLst>
                                        <p:cond delay="0"/>
                                      </p:stCondLst>
                                      <p:childTnLst>
                                        <p:set>
                                          <p:cBhvr>
                                            <p:cTn id="67" dur="1" fill="hold">
                                              <p:stCondLst>
                                                <p:cond delay="0"/>
                                              </p:stCondLst>
                                            </p:cTn>
                                            <p:tgtEl>
                                              <p:spTgt spid="41"/>
                                            </p:tgtEl>
                                            <p:attrNameLst>
                                              <p:attrName>style.visibility</p:attrName>
                                            </p:attrNameLst>
                                          </p:cBhvr>
                                          <p:to>
                                            <p:strVal val="visible"/>
                                          </p:to>
                                        </p:set>
                                        <p:animEffect transition="in" filter="wipe(left)">
                                          <p:cBhvr>
                                            <p:cTn id="68" dur="500"/>
                                            <p:tgtEl>
                                              <p:spTgt spid="41"/>
                                            </p:tgtEl>
                                          </p:cBhvr>
                                        </p:animEffect>
                                      </p:childTnLst>
                                    </p:cTn>
                                  </p:par>
                                </p:childTnLst>
                              </p:cTn>
                            </p:par>
                            <p:par>
                              <p:cTn id="69" fill="hold">
                                <p:stCondLst>
                                  <p:cond delay="7500"/>
                                </p:stCondLst>
                                <p:childTnLst>
                                  <p:par>
                                    <p:cTn id="70" presetID="53" presetClass="entr" presetSubtype="16" fill="hold" grpId="0" nodeType="afterEffect">
                                      <p:stCondLst>
                                        <p:cond delay="0"/>
                                      </p:stCondLst>
                                      <p:childTnLst>
                                        <p:set>
                                          <p:cBhvr>
                                            <p:cTn id="71" dur="1" fill="hold">
                                              <p:stCondLst>
                                                <p:cond delay="0"/>
                                              </p:stCondLst>
                                            </p:cTn>
                                            <p:tgtEl>
                                              <p:spTgt spid="42"/>
                                            </p:tgtEl>
                                            <p:attrNameLst>
                                              <p:attrName>style.visibility</p:attrName>
                                            </p:attrNameLst>
                                          </p:cBhvr>
                                          <p:to>
                                            <p:strVal val="visible"/>
                                          </p:to>
                                        </p:set>
                                        <p:anim calcmode="lin" valueType="num">
                                          <p:cBhvr>
                                            <p:cTn id="72" dur="500" fill="hold"/>
                                            <p:tgtEl>
                                              <p:spTgt spid="42"/>
                                            </p:tgtEl>
                                            <p:attrNameLst>
                                              <p:attrName>ppt_w</p:attrName>
                                            </p:attrNameLst>
                                          </p:cBhvr>
                                          <p:tavLst>
                                            <p:tav tm="0">
                                              <p:val>
                                                <p:fltVal val="0"/>
                                              </p:val>
                                            </p:tav>
                                            <p:tav tm="100000">
                                              <p:val>
                                                <p:strVal val="#ppt_w"/>
                                              </p:val>
                                            </p:tav>
                                          </p:tavLst>
                                        </p:anim>
                                        <p:anim calcmode="lin" valueType="num">
                                          <p:cBhvr>
                                            <p:cTn id="73" dur="500" fill="hold"/>
                                            <p:tgtEl>
                                              <p:spTgt spid="42"/>
                                            </p:tgtEl>
                                            <p:attrNameLst>
                                              <p:attrName>ppt_h</p:attrName>
                                            </p:attrNameLst>
                                          </p:cBhvr>
                                          <p:tavLst>
                                            <p:tav tm="0">
                                              <p:val>
                                                <p:fltVal val="0"/>
                                              </p:val>
                                            </p:tav>
                                            <p:tav tm="100000">
                                              <p:val>
                                                <p:strVal val="#ppt_h"/>
                                              </p:val>
                                            </p:tav>
                                          </p:tavLst>
                                        </p:anim>
                                        <p:animEffect transition="in" filter="fade">
                                          <p:cBhvr>
                                            <p:cTn id="74" dur="500"/>
                                            <p:tgtEl>
                                              <p:spTgt spid="42"/>
                                            </p:tgtEl>
                                          </p:cBhvr>
                                        </p:animEffect>
                                      </p:childTnLst>
                                    </p:cTn>
                                  </p:par>
                                </p:childTnLst>
                              </p:cTn>
                            </p:par>
                            <p:par>
                              <p:cTn id="75" fill="hold">
                                <p:stCondLst>
                                  <p:cond delay="8000"/>
                                </p:stCondLst>
                                <p:childTnLst>
                                  <p:par>
                                    <p:cTn id="76" presetID="22" presetClass="entr" presetSubtype="4" fill="hold" nodeType="afterEffect">
                                      <p:stCondLst>
                                        <p:cond delay="0"/>
                                      </p:stCondLst>
                                      <p:childTnLst>
                                        <p:set>
                                          <p:cBhvr>
                                            <p:cTn id="77" dur="1" fill="hold">
                                              <p:stCondLst>
                                                <p:cond delay="0"/>
                                              </p:stCondLst>
                                            </p:cTn>
                                            <p:tgtEl>
                                              <p:spTgt spid="5"/>
                                            </p:tgtEl>
                                            <p:attrNameLst>
                                              <p:attrName>style.visibility</p:attrName>
                                            </p:attrNameLst>
                                          </p:cBhvr>
                                          <p:to>
                                            <p:strVal val="visible"/>
                                          </p:to>
                                        </p:set>
                                        <p:animEffect transition="in" filter="wipe(down)">
                                          <p:cBhvr>
                                            <p:cTn id="78" dur="500"/>
                                            <p:tgtEl>
                                              <p:spTgt spid="5"/>
                                            </p:tgtEl>
                                          </p:cBhvr>
                                        </p:animEffect>
                                      </p:childTnLst>
                                    </p:cTn>
                                  </p:par>
                                  <p:par>
                                    <p:cTn id="79" presetID="22" presetClass="entr" presetSubtype="1" fill="hold" nodeType="withEffect">
                                      <p:stCondLst>
                                        <p:cond delay="0"/>
                                      </p:stCondLst>
                                      <p:childTnLst>
                                        <p:set>
                                          <p:cBhvr>
                                            <p:cTn id="80" dur="1" fill="hold">
                                              <p:stCondLst>
                                                <p:cond delay="0"/>
                                              </p:stCondLst>
                                            </p:cTn>
                                            <p:tgtEl>
                                              <p:spTgt spid="6"/>
                                            </p:tgtEl>
                                            <p:attrNameLst>
                                              <p:attrName>style.visibility</p:attrName>
                                            </p:attrNameLst>
                                          </p:cBhvr>
                                          <p:to>
                                            <p:strVal val="visible"/>
                                          </p:to>
                                        </p:set>
                                        <p:animEffect transition="in" filter="wipe(up)">
                                          <p:cBhvr>
                                            <p:cTn id="81" dur="500"/>
                                            <p:tgtEl>
                                              <p:spTgt spid="6"/>
                                            </p:tgtEl>
                                          </p:cBhvr>
                                        </p:animEffect>
                                      </p:childTnLst>
                                    </p:cTn>
                                  </p:par>
                                </p:childTnLst>
                              </p:cTn>
                            </p:par>
                            <p:par>
                              <p:cTn id="82" fill="hold">
                                <p:stCondLst>
                                  <p:cond delay="8500"/>
                                </p:stCondLst>
                                <p:childTnLst>
                                  <p:par>
                                    <p:cTn id="83" presetID="53" presetClass="entr" presetSubtype="16" fill="hold" grpId="0" nodeType="afterEffect">
                                      <p:stCondLst>
                                        <p:cond delay="0"/>
                                      </p:stCondLst>
                                      <p:childTnLst>
                                        <p:set>
                                          <p:cBhvr>
                                            <p:cTn id="84" dur="1" fill="hold">
                                              <p:stCondLst>
                                                <p:cond delay="0"/>
                                              </p:stCondLst>
                                            </p:cTn>
                                            <p:tgtEl>
                                              <p:spTgt spid="16"/>
                                            </p:tgtEl>
                                            <p:attrNameLst>
                                              <p:attrName>style.visibility</p:attrName>
                                            </p:attrNameLst>
                                          </p:cBhvr>
                                          <p:to>
                                            <p:strVal val="visible"/>
                                          </p:to>
                                        </p:set>
                                        <p:anim calcmode="lin" valueType="num">
                                          <p:cBhvr>
                                            <p:cTn id="85" dur="500" fill="hold"/>
                                            <p:tgtEl>
                                              <p:spTgt spid="16"/>
                                            </p:tgtEl>
                                            <p:attrNameLst>
                                              <p:attrName>ppt_w</p:attrName>
                                            </p:attrNameLst>
                                          </p:cBhvr>
                                          <p:tavLst>
                                            <p:tav tm="0">
                                              <p:val>
                                                <p:fltVal val="0"/>
                                              </p:val>
                                            </p:tav>
                                            <p:tav tm="100000">
                                              <p:val>
                                                <p:strVal val="#ppt_w"/>
                                              </p:val>
                                            </p:tav>
                                          </p:tavLst>
                                        </p:anim>
                                        <p:anim calcmode="lin" valueType="num">
                                          <p:cBhvr>
                                            <p:cTn id="86" dur="500" fill="hold"/>
                                            <p:tgtEl>
                                              <p:spTgt spid="16"/>
                                            </p:tgtEl>
                                            <p:attrNameLst>
                                              <p:attrName>ppt_h</p:attrName>
                                            </p:attrNameLst>
                                          </p:cBhvr>
                                          <p:tavLst>
                                            <p:tav tm="0">
                                              <p:val>
                                                <p:fltVal val="0"/>
                                              </p:val>
                                            </p:tav>
                                            <p:tav tm="100000">
                                              <p:val>
                                                <p:strVal val="#ppt_h"/>
                                              </p:val>
                                            </p:tav>
                                          </p:tavLst>
                                        </p:anim>
                                        <p:animEffect transition="in" filter="fade">
                                          <p:cBhvr>
                                            <p:cTn id="87" dur="500"/>
                                            <p:tgtEl>
                                              <p:spTgt spid="16"/>
                                            </p:tgtEl>
                                          </p:cBhvr>
                                        </p:animEffect>
                                      </p:childTnLst>
                                    </p:cTn>
                                  </p:par>
                                  <p:par>
                                    <p:cTn id="88" presetID="53" presetClass="entr" presetSubtype="16" fill="hold" grpId="0" nodeType="withEffect">
                                      <p:stCondLst>
                                        <p:cond delay="0"/>
                                      </p:stCondLst>
                                      <p:childTnLst>
                                        <p:set>
                                          <p:cBhvr>
                                            <p:cTn id="89" dur="1" fill="hold">
                                              <p:stCondLst>
                                                <p:cond delay="0"/>
                                              </p:stCondLst>
                                            </p:cTn>
                                            <p:tgtEl>
                                              <p:spTgt spid="15"/>
                                            </p:tgtEl>
                                            <p:attrNameLst>
                                              <p:attrName>style.visibility</p:attrName>
                                            </p:attrNameLst>
                                          </p:cBhvr>
                                          <p:to>
                                            <p:strVal val="visible"/>
                                          </p:to>
                                        </p:set>
                                        <p:anim calcmode="lin" valueType="num">
                                          <p:cBhvr>
                                            <p:cTn id="90" dur="500" fill="hold"/>
                                            <p:tgtEl>
                                              <p:spTgt spid="15"/>
                                            </p:tgtEl>
                                            <p:attrNameLst>
                                              <p:attrName>ppt_w</p:attrName>
                                            </p:attrNameLst>
                                          </p:cBhvr>
                                          <p:tavLst>
                                            <p:tav tm="0">
                                              <p:val>
                                                <p:fltVal val="0"/>
                                              </p:val>
                                            </p:tav>
                                            <p:tav tm="100000">
                                              <p:val>
                                                <p:strVal val="#ppt_w"/>
                                              </p:val>
                                            </p:tav>
                                          </p:tavLst>
                                        </p:anim>
                                        <p:anim calcmode="lin" valueType="num">
                                          <p:cBhvr>
                                            <p:cTn id="91" dur="500" fill="hold"/>
                                            <p:tgtEl>
                                              <p:spTgt spid="15"/>
                                            </p:tgtEl>
                                            <p:attrNameLst>
                                              <p:attrName>ppt_h</p:attrName>
                                            </p:attrNameLst>
                                          </p:cBhvr>
                                          <p:tavLst>
                                            <p:tav tm="0">
                                              <p:val>
                                                <p:fltVal val="0"/>
                                              </p:val>
                                            </p:tav>
                                            <p:tav tm="100000">
                                              <p:val>
                                                <p:strVal val="#ppt_h"/>
                                              </p:val>
                                            </p:tav>
                                          </p:tavLst>
                                        </p:anim>
                                        <p:animEffect transition="in" filter="fade">
                                          <p:cBhvr>
                                            <p:cTn id="92" dur="500"/>
                                            <p:tgtEl>
                                              <p:spTgt spid="15"/>
                                            </p:tgtEl>
                                          </p:cBhvr>
                                        </p:animEffect>
                                      </p:childTnLst>
                                    </p:cTn>
                                  </p:par>
                                </p:childTnLst>
                              </p:cTn>
                            </p:par>
                            <p:par>
                              <p:cTn id="93" fill="hold">
                                <p:stCondLst>
                                  <p:cond delay="9000"/>
                                </p:stCondLst>
                                <p:childTnLst>
                                  <p:par>
                                    <p:cTn id="94" presetID="53" presetClass="entr" presetSubtype="16" fill="hold" grpId="0" nodeType="afterEffect">
                                      <p:stCondLst>
                                        <p:cond delay="0"/>
                                      </p:stCondLst>
                                      <p:childTnLst>
                                        <p:set>
                                          <p:cBhvr>
                                            <p:cTn id="95" dur="1" fill="hold">
                                              <p:stCondLst>
                                                <p:cond delay="0"/>
                                              </p:stCondLst>
                                            </p:cTn>
                                            <p:tgtEl>
                                              <p:spTgt spid="55"/>
                                            </p:tgtEl>
                                            <p:attrNameLst>
                                              <p:attrName>style.visibility</p:attrName>
                                            </p:attrNameLst>
                                          </p:cBhvr>
                                          <p:to>
                                            <p:strVal val="visible"/>
                                          </p:to>
                                        </p:set>
                                        <p:anim calcmode="lin" valueType="num">
                                          <p:cBhvr>
                                            <p:cTn id="96" dur="500" fill="hold"/>
                                            <p:tgtEl>
                                              <p:spTgt spid="55"/>
                                            </p:tgtEl>
                                            <p:attrNameLst>
                                              <p:attrName>ppt_w</p:attrName>
                                            </p:attrNameLst>
                                          </p:cBhvr>
                                          <p:tavLst>
                                            <p:tav tm="0">
                                              <p:val>
                                                <p:fltVal val="0"/>
                                              </p:val>
                                            </p:tav>
                                            <p:tav tm="100000">
                                              <p:val>
                                                <p:strVal val="#ppt_w"/>
                                              </p:val>
                                            </p:tav>
                                          </p:tavLst>
                                        </p:anim>
                                        <p:anim calcmode="lin" valueType="num">
                                          <p:cBhvr>
                                            <p:cTn id="97" dur="500" fill="hold"/>
                                            <p:tgtEl>
                                              <p:spTgt spid="55"/>
                                            </p:tgtEl>
                                            <p:attrNameLst>
                                              <p:attrName>ppt_h</p:attrName>
                                            </p:attrNameLst>
                                          </p:cBhvr>
                                          <p:tavLst>
                                            <p:tav tm="0">
                                              <p:val>
                                                <p:fltVal val="0"/>
                                              </p:val>
                                            </p:tav>
                                            <p:tav tm="100000">
                                              <p:val>
                                                <p:strVal val="#ppt_h"/>
                                              </p:val>
                                            </p:tav>
                                          </p:tavLst>
                                        </p:anim>
                                        <p:animEffect transition="in" filter="fade">
                                          <p:cBhvr>
                                            <p:cTn id="98" dur="500"/>
                                            <p:tgtEl>
                                              <p:spTgt spid="55"/>
                                            </p:tgtEl>
                                          </p:cBhvr>
                                        </p:animEffect>
                                      </p:childTnLst>
                                    </p:cTn>
                                  </p:par>
                                  <p:par>
                                    <p:cTn id="99" presetID="53" presetClass="entr" presetSubtype="16" fill="hold" grpId="0" nodeType="withEffect">
                                      <p:stCondLst>
                                        <p:cond delay="0"/>
                                      </p:stCondLst>
                                      <p:childTnLst>
                                        <p:set>
                                          <p:cBhvr>
                                            <p:cTn id="100" dur="1" fill="hold">
                                              <p:stCondLst>
                                                <p:cond delay="0"/>
                                              </p:stCondLst>
                                            </p:cTn>
                                            <p:tgtEl>
                                              <p:spTgt spid="54"/>
                                            </p:tgtEl>
                                            <p:attrNameLst>
                                              <p:attrName>style.visibility</p:attrName>
                                            </p:attrNameLst>
                                          </p:cBhvr>
                                          <p:to>
                                            <p:strVal val="visible"/>
                                          </p:to>
                                        </p:set>
                                        <p:anim calcmode="lin" valueType="num">
                                          <p:cBhvr>
                                            <p:cTn id="101" dur="500" fill="hold"/>
                                            <p:tgtEl>
                                              <p:spTgt spid="54"/>
                                            </p:tgtEl>
                                            <p:attrNameLst>
                                              <p:attrName>ppt_w</p:attrName>
                                            </p:attrNameLst>
                                          </p:cBhvr>
                                          <p:tavLst>
                                            <p:tav tm="0">
                                              <p:val>
                                                <p:fltVal val="0"/>
                                              </p:val>
                                            </p:tav>
                                            <p:tav tm="100000">
                                              <p:val>
                                                <p:strVal val="#ppt_w"/>
                                              </p:val>
                                            </p:tav>
                                          </p:tavLst>
                                        </p:anim>
                                        <p:anim calcmode="lin" valueType="num">
                                          <p:cBhvr>
                                            <p:cTn id="102" dur="500" fill="hold"/>
                                            <p:tgtEl>
                                              <p:spTgt spid="54"/>
                                            </p:tgtEl>
                                            <p:attrNameLst>
                                              <p:attrName>ppt_h</p:attrName>
                                            </p:attrNameLst>
                                          </p:cBhvr>
                                          <p:tavLst>
                                            <p:tav tm="0">
                                              <p:val>
                                                <p:fltVal val="0"/>
                                              </p:val>
                                            </p:tav>
                                            <p:tav tm="100000">
                                              <p:val>
                                                <p:strVal val="#ppt_h"/>
                                              </p:val>
                                            </p:tav>
                                          </p:tavLst>
                                        </p:anim>
                                        <p:animEffect transition="in" filter="fade">
                                          <p:cBhvr>
                                            <p:cTn id="103" dur="500"/>
                                            <p:tgtEl>
                                              <p:spTgt spid="54"/>
                                            </p:tgtEl>
                                          </p:cBhvr>
                                        </p:animEffect>
                                      </p:childTnLst>
                                    </p:cTn>
                                  </p:par>
                                </p:childTnLst>
                              </p:cTn>
                            </p:par>
                            <p:par>
                              <p:cTn id="104" fill="hold">
                                <p:stCondLst>
                                  <p:cond delay="9500"/>
                                </p:stCondLst>
                                <p:childTnLst>
                                  <p:par>
                                    <p:cTn id="105" presetID="10" presetClass="entr" presetSubtype="0" fill="hold" grpId="0" nodeType="afterEffect">
                                      <p:stCondLst>
                                        <p:cond delay="0"/>
                                      </p:stCondLst>
                                      <p:childTnLst>
                                        <p:set>
                                          <p:cBhvr>
                                            <p:cTn id="106" dur="1" fill="hold">
                                              <p:stCondLst>
                                                <p:cond delay="0"/>
                                              </p:stCondLst>
                                            </p:cTn>
                                            <p:tgtEl>
                                              <p:spTgt spid="27"/>
                                            </p:tgtEl>
                                            <p:attrNameLst>
                                              <p:attrName>style.visibility</p:attrName>
                                            </p:attrNameLst>
                                          </p:cBhvr>
                                          <p:to>
                                            <p:strVal val="visible"/>
                                          </p:to>
                                        </p:set>
                                        <p:animEffect transition="in" filter="fade">
                                          <p:cBhvr>
                                            <p:cTn id="107" dur="500"/>
                                            <p:tgtEl>
                                              <p:spTgt spid="27"/>
                                            </p:tgtEl>
                                          </p:cBhvr>
                                        </p:animEffect>
                                      </p:childTnLst>
                                    </p:cTn>
                                  </p:par>
                                  <p:par>
                                    <p:cTn id="108" presetID="10" presetClass="entr" presetSubtype="0" fill="hold" grpId="0" nodeType="withEffect">
                                      <p:stCondLst>
                                        <p:cond delay="0"/>
                                      </p:stCondLst>
                                      <p:childTnLst>
                                        <p:set>
                                          <p:cBhvr>
                                            <p:cTn id="109" dur="1" fill="hold">
                                              <p:stCondLst>
                                                <p:cond delay="0"/>
                                              </p:stCondLst>
                                            </p:cTn>
                                            <p:tgtEl>
                                              <p:spTgt spid="28"/>
                                            </p:tgtEl>
                                            <p:attrNameLst>
                                              <p:attrName>style.visibility</p:attrName>
                                            </p:attrNameLst>
                                          </p:cBhvr>
                                          <p:to>
                                            <p:strVal val="visible"/>
                                          </p:to>
                                        </p:set>
                                        <p:animEffect transition="in" filter="fade">
                                          <p:cBhvr>
                                            <p:cTn id="110" dur="500"/>
                                            <p:tgtEl>
                                              <p:spTgt spid="28"/>
                                            </p:tgtEl>
                                          </p:cBhvr>
                                        </p:animEffect>
                                      </p:childTnLst>
                                    </p:cTn>
                                  </p:par>
                                </p:childTnLst>
                              </p:cTn>
                            </p:par>
                            <p:par>
                              <p:cTn id="111" fill="hold">
                                <p:stCondLst>
                                  <p:cond delay="10000"/>
                                </p:stCondLst>
                                <p:childTnLst>
                                  <p:par>
                                    <p:cTn id="112" presetID="22" presetClass="entr" presetSubtype="4" fill="hold" nodeType="afterEffect">
                                      <p:stCondLst>
                                        <p:cond delay="0"/>
                                      </p:stCondLst>
                                      <p:childTnLst>
                                        <p:set>
                                          <p:cBhvr>
                                            <p:cTn id="113" dur="1" fill="hold">
                                              <p:stCondLst>
                                                <p:cond delay="0"/>
                                              </p:stCondLst>
                                            </p:cTn>
                                            <p:tgtEl>
                                              <p:spTgt spid="7"/>
                                            </p:tgtEl>
                                            <p:attrNameLst>
                                              <p:attrName>style.visibility</p:attrName>
                                            </p:attrNameLst>
                                          </p:cBhvr>
                                          <p:to>
                                            <p:strVal val="visible"/>
                                          </p:to>
                                        </p:set>
                                        <p:animEffect transition="in" filter="wipe(down)">
                                          <p:cBhvr>
                                            <p:cTn id="114" dur="500"/>
                                            <p:tgtEl>
                                              <p:spTgt spid="7"/>
                                            </p:tgtEl>
                                          </p:cBhvr>
                                        </p:animEffect>
                                      </p:childTnLst>
                                    </p:cTn>
                                  </p:par>
                                  <p:par>
                                    <p:cTn id="115" presetID="22" presetClass="entr" presetSubtype="1" fill="hold" nodeType="withEffect">
                                      <p:stCondLst>
                                        <p:cond delay="0"/>
                                      </p:stCondLst>
                                      <p:childTnLst>
                                        <p:set>
                                          <p:cBhvr>
                                            <p:cTn id="116" dur="1" fill="hold">
                                              <p:stCondLst>
                                                <p:cond delay="0"/>
                                              </p:stCondLst>
                                            </p:cTn>
                                            <p:tgtEl>
                                              <p:spTgt spid="8"/>
                                            </p:tgtEl>
                                            <p:attrNameLst>
                                              <p:attrName>style.visibility</p:attrName>
                                            </p:attrNameLst>
                                          </p:cBhvr>
                                          <p:to>
                                            <p:strVal val="visible"/>
                                          </p:to>
                                        </p:set>
                                        <p:animEffect transition="in" filter="wipe(up)">
                                          <p:cBhvr>
                                            <p:cTn id="117" dur="500"/>
                                            <p:tgtEl>
                                              <p:spTgt spid="8"/>
                                            </p:tgtEl>
                                          </p:cBhvr>
                                        </p:animEffect>
                                      </p:childTnLst>
                                    </p:cTn>
                                  </p:par>
                                </p:childTnLst>
                              </p:cTn>
                            </p:par>
                            <p:par>
                              <p:cTn id="118" fill="hold">
                                <p:stCondLst>
                                  <p:cond delay="10500"/>
                                </p:stCondLst>
                                <p:childTnLst>
                                  <p:par>
                                    <p:cTn id="119" presetID="53" presetClass="entr" presetSubtype="16" fill="hold" grpId="0" nodeType="afterEffect">
                                      <p:stCondLst>
                                        <p:cond delay="0"/>
                                      </p:stCondLst>
                                      <p:childTnLst>
                                        <p:set>
                                          <p:cBhvr>
                                            <p:cTn id="120" dur="1" fill="hold">
                                              <p:stCondLst>
                                                <p:cond delay="0"/>
                                              </p:stCondLst>
                                            </p:cTn>
                                            <p:tgtEl>
                                              <p:spTgt spid="20"/>
                                            </p:tgtEl>
                                            <p:attrNameLst>
                                              <p:attrName>style.visibility</p:attrName>
                                            </p:attrNameLst>
                                          </p:cBhvr>
                                          <p:to>
                                            <p:strVal val="visible"/>
                                          </p:to>
                                        </p:set>
                                        <p:anim calcmode="lin" valueType="num">
                                          <p:cBhvr>
                                            <p:cTn id="121" dur="500" fill="hold"/>
                                            <p:tgtEl>
                                              <p:spTgt spid="20"/>
                                            </p:tgtEl>
                                            <p:attrNameLst>
                                              <p:attrName>ppt_w</p:attrName>
                                            </p:attrNameLst>
                                          </p:cBhvr>
                                          <p:tavLst>
                                            <p:tav tm="0">
                                              <p:val>
                                                <p:fltVal val="0"/>
                                              </p:val>
                                            </p:tav>
                                            <p:tav tm="100000">
                                              <p:val>
                                                <p:strVal val="#ppt_w"/>
                                              </p:val>
                                            </p:tav>
                                          </p:tavLst>
                                        </p:anim>
                                        <p:anim calcmode="lin" valueType="num">
                                          <p:cBhvr>
                                            <p:cTn id="122" dur="500" fill="hold"/>
                                            <p:tgtEl>
                                              <p:spTgt spid="20"/>
                                            </p:tgtEl>
                                            <p:attrNameLst>
                                              <p:attrName>ppt_h</p:attrName>
                                            </p:attrNameLst>
                                          </p:cBhvr>
                                          <p:tavLst>
                                            <p:tav tm="0">
                                              <p:val>
                                                <p:fltVal val="0"/>
                                              </p:val>
                                            </p:tav>
                                            <p:tav tm="100000">
                                              <p:val>
                                                <p:strVal val="#ppt_h"/>
                                              </p:val>
                                            </p:tav>
                                          </p:tavLst>
                                        </p:anim>
                                        <p:animEffect transition="in" filter="fade">
                                          <p:cBhvr>
                                            <p:cTn id="123" dur="500"/>
                                            <p:tgtEl>
                                              <p:spTgt spid="20"/>
                                            </p:tgtEl>
                                          </p:cBhvr>
                                        </p:animEffect>
                                      </p:childTnLst>
                                    </p:cTn>
                                  </p:par>
                                  <p:par>
                                    <p:cTn id="124" presetID="53" presetClass="entr" presetSubtype="16" fill="hold" grpId="0" nodeType="withEffect">
                                      <p:stCondLst>
                                        <p:cond delay="0"/>
                                      </p:stCondLst>
                                      <p:childTnLst>
                                        <p:set>
                                          <p:cBhvr>
                                            <p:cTn id="125" dur="1" fill="hold">
                                              <p:stCondLst>
                                                <p:cond delay="0"/>
                                              </p:stCondLst>
                                            </p:cTn>
                                            <p:tgtEl>
                                              <p:spTgt spid="19"/>
                                            </p:tgtEl>
                                            <p:attrNameLst>
                                              <p:attrName>style.visibility</p:attrName>
                                            </p:attrNameLst>
                                          </p:cBhvr>
                                          <p:to>
                                            <p:strVal val="visible"/>
                                          </p:to>
                                        </p:set>
                                        <p:anim calcmode="lin" valueType="num">
                                          <p:cBhvr>
                                            <p:cTn id="126" dur="500" fill="hold"/>
                                            <p:tgtEl>
                                              <p:spTgt spid="19"/>
                                            </p:tgtEl>
                                            <p:attrNameLst>
                                              <p:attrName>ppt_w</p:attrName>
                                            </p:attrNameLst>
                                          </p:cBhvr>
                                          <p:tavLst>
                                            <p:tav tm="0">
                                              <p:val>
                                                <p:fltVal val="0"/>
                                              </p:val>
                                            </p:tav>
                                            <p:tav tm="100000">
                                              <p:val>
                                                <p:strVal val="#ppt_w"/>
                                              </p:val>
                                            </p:tav>
                                          </p:tavLst>
                                        </p:anim>
                                        <p:anim calcmode="lin" valueType="num">
                                          <p:cBhvr>
                                            <p:cTn id="127" dur="500" fill="hold"/>
                                            <p:tgtEl>
                                              <p:spTgt spid="19"/>
                                            </p:tgtEl>
                                            <p:attrNameLst>
                                              <p:attrName>ppt_h</p:attrName>
                                            </p:attrNameLst>
                                          </p:cBhvr>
                                          <p:tavLst>
                                            <p:tav tm="0">
                                              <p:val>
                                                <p:fltVal val="0"/>
                                              </p:val>
                                            </p:tav>
                                            <p:tav tm="100000">
                                              <p:val>
                                                <p:strVal val="#ppt_h"/>
                                              </p:val>
                                            </p:tav>
                                          </p:tavLst>
                                        </p:anim>
                                        <p:animEffect transition="in" filter="fade">
                                          <p:cBhvr>
                                            <p:cTn id="128" dur="500"/>
                                            <p:tgtEl>
                                              <p:spTgt spid="19"/>
                                            </p:tgtEl>
                                          </p:cBhvr>
                                        </p:animEffect>
                                      </p:childTnLst>
                                    </p:cTn>
                                  </p:par>
                                </p:childTnLst>
                              </p:cTn>
                            </p:par>
                            <p:par>
                              <p:cTn id="129" fill="hold">
                                <p:stCondLst>
                                  <p:cond delay="11000"/>
                                </p:stCondLst>
                                <p:childTnLst>
                                  <p:par>
                                    <p:cTn id="130" presetID="53" presetClass="entr" presetSubtype="16" fill="hold" grpId="0" nodeType="afterEffect">
                                      <p:stCondLst>
                                        <p:cond delay="0"/>
                                      </p:stCondLst>
                                      <p:childTnLst>
                                        <p:set>
                                          <p:cBhvr>
                                            <p:cTn id="131" dur="1" fill="hold">
                                              <p:stCondLst>
                                                <p:cond delay="0"/>
                                              </p:stCondLst>
                                            </p:cTn>
                                            <p:tgtEl>
                                              <p:spTgt spid="53"/>
                                            </p:tgtEl>
                                            <p:attrNameLst>
                                              <p:attrName>style.visibility</p:attrName>
                                            </p:attrNameLst>
                                          </p:cBhvr>
                                          <p:to>
                                            <p:strVal val="visible"/>
                                          </p:to>
                                        </p:set>
                                        <p:anim calcmode="lin" valueType="num">
                                          <p:cBhvr>
                                            <p:cTn id="132" dur="500" fill="hold"/>
                                            <p:tgtEl>
                                              <p:spTgt spid="53"/>
                                            </p:tgtEl>
                                            <p:attrNameLst>
                                              <p:attrName>ppt_w</p:attrName>
                                            </p:attrNameLst>
                                          </p:cBhvr>
                                          <p:tavLst>
                                            <p:tav tm="0">
                                              <p:val>
                                                <p:fltVal val="0"/>
                                              </p:val>
                                            </p:tav>
                                            <p:tav tm="100000">
                                              <p:val>
                                                <p:strVal val="#ppt_w"/>
                                              </p:val>
                                            </p:tav>
                                          </p:tavLst>
                                        </p:anim>
                                        <p:anim calcmode="lin" valueType="num">
                                          <p:cBhvr>
                                            <p:cTn id="133" dur="500" fill="hold"/>
                                            <p:tgtEl>
                                              <p:spTgt spid="53"/>
                                            </p:tgtEl>
                                            <p:attrNameLst>
                                              <p:attrName>ppt_h</p:attrName>
                                            </p:attrNameLst>
                                          </p:cBhvr>
                                          <p:tavLst>
                                            <p:tav tm="0">
                                              <p:val>
                                                <p:fltVal val="0"/>
                                              </p:val>
                                            </p:tav>
                                            <p:tav tm="100000">
                                              <p:val>
                                                <p:strVal val="#ppt_h"/>
                                              </p:val>
                                            </p:tav>
                                          </p:tavLst>
                                        </p:anim>
                                        <p:animEffect transition="in" filter="fade">
                                          <p:cBhvr>
                                            <p:cTn id="134" dur="500"/>
                                            <p:tgtEl>
                                              <p:spTgt spid="53"/>
                                            </p:tgtEl>
                                          </p:cBhvr>
                                        </p:animEffect>
                                      </p:childTnLst>
                                    </p:cTn>
                                  </p:par>
                                  <p:par>
                                    <p:cTn id="135" presetID="53" presetClass="entr" presetSubtype="16" fill="hold" grpId="0" nodeType="withEffect">
                                      <p:stCondLst>
                                        <p:cond delay="0"/>
                                      </p:stCondLst>
                                      <p:childTnLst>
                                        <p:set>
                                          <p:cBhvr>
                                            <p:cTn id="136" dur="1" fill="hold">
                                              <p:stCondLst>
                                                <p:cond delay="0"/>
                                              </p:stCondLst>
                                            </p:cTn>
                                            <p:tgtEl>
                                              <p:spTgt spid="52"/>
                                            </p:tgtEl>
                                            <p:attrNameLst>
                                              <p:attrName>style.visibility</p:attrName>
                                            </p:attrNameLst>
                                          </p:cBhvr>
                                          <p:to>
                                            <p:strVal val="visible"/>
                                          </p:to>
                                        </p:set>
                                        <p:anim calcmode="lin" valueType="num">
                                          <p:cBhvr>
                                            <p:cTn id="137" dur="500" fill="hold"/>
                                            <p:tgtEl>
                                              <p:spTgt spid="52"/>
                                            </p:tgtEl>
                                            <p:attrNameLst>
                                              <p:attrName>ppt_w</p:attrName>
                                            </p:attrNameLst>
                                          </p:cBhvr>
                                          <p:tavLst>
                                            <p:tav tm="0">
                                              <p:val>
                                                <p:fltVal val="0"/>
                                              </p:val>
                                            </p:tav>
                                            <p:tav tm="100000">
                                              <p:val>
                                                <p:strVal val="#ppt_w"/>
                                              </p:val>
                                            </p:tav>
                                          </p:tavLst>
                                        </p:anim>
                                        <p:anim calcmode="lin" valueType="num">
                                          <p:cBhvr>
                                            <p:cTn id="138" dur="500" fill="hold"/>
                                            <p:tgtEl>
                                              <p:spTgt spid="52"/>
                                            </p:tgtEl>
                                            <p:attrNameLst>
                                              <p:attrName>ppt_h</p:attrName>
                                            </p:attrNameLst>
                                          </p:cBhvr>
                                          <p:tavLst>
                                            <p:tav tm="0">
                                              <p:val>
                                                <p:fltVal val="0"/>
                                              </p:val>
                                            </p:tav>
                                            <p:tav tm="100000">
                                              <p:val>
                                                <p:strVal val="#ppt_h"/>
                                              </p:val>
                                            </p:tav>
                                          </p:tavLst>
                                        </p:anim>
                                        <p:animEffect transition="in" filter="fade">
                                          <p:cBhvr>
                                            <p:cTn id="139" dur="500"/>
                                            <p:tgtEl>
                                              <p:spTgt spid="52"/>
                                            </p:tgtEl>
                                          </p:cBhvr>
                                        </p:animEffect>
                                      </p:childTnLst>
                                    </p:cTn>
                                  </p:par>
                                </p:childTnLst>
                              </p:cTn>
                            </p:par>
                            <p:par>
                              <p:cTn id="140" fill="hold">
                                <p:stCondLst>
                                  <p:cond delay="11500"/>
                                </p:stCondLst>
                                <p:childTnLst>
                                  <p:par>
                                    <p:cTn id="141" presetID="10" presetClass="entr" presetSubtype="0" fill="hold" grpId="0" nodeType="afterEffect">
                                      <p:stCondLst>
                                        <p:cond delay="0"/>
                                      </p:stCondLst>
                                      <p:childTnLst>
                                        <p:set>
                                          <p:cBhvr>
                                            <p:cTn id="142" dur="1" fill="hold">
                                              <p:stCondLst>
                                                <p:cond delay="0"/>
                                              </p:stCondLst>
                                            </p:cTn>
                                            <p:tgtEl>
                                              <p:spTgt spid="29"/>
                                            </p:tgtEl>
                                            <p:attrNameLst>
                                              <p:attrName>style.visibility</p:attrName>
                                            </p:attrNameLst>
                                          </p:cBhvr>
                                          <p:to>
                                            <p:strVal val="visible"/>
                                          </p:to>
                                        </p:set>
                                        <p:animEffect transition="in" filter="fade">
                                          <p:cBhvr>
                                            <p:cTn id="143" dur="500"/>
                                            <p:tgtEl>
                                              <p:spTgt spid="29"/>
                                            </p:tgtEl>
                                          </p:cBhvr>
                                        </p:animEffect>
                                      </p:childTnLst>
                                    </p:cTn>
                                  </p:par>
                                  <p:par>
                                    <p:cTn id="144" presetID="10" presetClass="entr" presetSubtype="0" fill="hold" grpId="0" nodeType="withEffect">
                                      <p:stCondLst>
                                        <p:cond delay="0"/>
                                      </p:stCondLst>
                                      <p:childTnLst>
                                        <p:set>
                                          <p:cBhvr>
                                            <p:cTn id="145" dur="1" fill="hold">
                                              <p:stCondLst>
                                                <p:cond delay="0"/>
                                              </p:stCondLst>
                                            </p:cTn>
                                            <p:tgtEl>
                                              <p:spTgt spid="30"/>
                                            </p:tgtEl>
                                            <p:attrNameLst>
                                              <p:attrName>style.visibility</p:attrName>
                                            </p:attrNameLst>
                                          </p:cBhvr>
                                          <p:to>
                                            <p:strVal val="visible"/>
                                          </p:to>
                                        </p:set>
                                        <p:animEffect transition="in" filter="fade">
                                          <p:cBhvr>
                                            <p:cTn id="146" dur="500"/>
                                            <p:tgtEl>
                                              <p:spTgt spid="30"/>
                                            </p:tgtEl>
                                          </p:cBhvr>
                                        </p:animEffect>
                                      </p:childTnLst>
                                    </p:cTn>
                                  </p:par>
                                </p:childTnLst>
                              </p:cTn>
                            </p:par>
                            <p:par>
                              <p:cTn id="147" fill="hold">
                                <p:stCondLst>
                                  <p:cond delay="12000"/>
                                </p:stCondLst>
                                <p:childTnLst>
                                  <p:par>
                                    <p:cTn id="148" presetID="22" presetClass="entr" presetSubtype="4" fill="hold" nodeType="afterEffect">
                                      <p:stCondLst>
                                        <p:cond delay="0"/>
                                      </p:stCondLst>
                                      <p:childTnLst>
                                        <p:set>
                                          <p:cBhvr>
                                            <p:cTn id="149" dur="1" fill="hold">
                                              <p:stCondLst>
                                                <p:cond delay="0"/>
                                              </p:stCondLst>
                                            </p:cTn>
                                            <p:tgtEl>
                                              <p:spTgt spid="9"/>
                                            </p:tgtEl>
                                            <p:attrNameLst>
                                              <p:attrName>style.visibility</p:attrName>
                                            </p:attrNameLst>
                                          </p:cBhvr>
                                          <p:to>
                                            <p:strVal val="visible"/>
                                          </p:to>
                                        </p:set>
                                        <p:animEffect transition="in" filter="wipe(down)">
                                          <p:cBhvr>
                                            <p:cTn id="150" dur="500"/>
                                            <p:tgtEl>
                                              <p:spTgt spid="9"/>
                                            </p:tgtEl>
                                          </p:cBhvr>
                                        </p:animEffect>
                                      </p:childTnLst>
                                    </p:cTn>
                                  </p:par>
                                  <p:par>
                                    <p:cTn id="151" presetID="22" presetClass="entr" presetSubtype="1" fill="hold" nodeType="withEffect">
                                      <p:stCondLst>
                                        <p:cond delay="0"/>
                                      </p:stCondLst>
                                      <p:childTnLst>
                                        <p:set>
                                          <p:cBhvr>
                                            <p:cTn id="152" dur="1" fill="hold">
                                              <p:stCondLst>
                                                <p:cond delay="0"/>
                                              </p:stCondLst>
                                            </p:cTn>
                                            <p:tgtEl>
                                              <p:spTgt spid="10"/>
                                            </p:tgtEl>
                                            <p:attrNameLst>
                                              <p:attrName>style.visibility</p:attrName>
                                            </p:attrNameLst>
                                          </p:cBhvr>
                                          <p:to>
                                            <p:strVal val="visible"/>
                                          </p:to>
                                        </p:set>
                                        <p:animEffect transition="in" filter="wipe(up)">
                                          <p:cBhvr>
                                            <p:cTn id="153" dur="500"/>
                                            <p:tgtEl>
                                              <p:spTgt spid="10"/>
                                            </p:tgtEl>
                                          </p:cBhvr>
                                        </p:animEffect>
                                      </p:childTnLst>
                                    </p:cTn>
                                  </p:par>
                                </p:childTnLst>
                              </p:cTn>
                            </p:par>
                            <p:par>
                              <p:cTn id="154" fill="hold">
                                <p:stCondLst>
                                  <p:cond delay="12500"/>
                                </p:stCondLst>
                                <p:childTnLst>
                                  <p:par>
                                    <p:cTn id="155" presetID="53" presetClass="entr" presetSubtype="16" fill="hold" grpId="0" nodeType="afterEffect">
                                      <p:stCondLst>
                                        <p:cond delay="0"/>
                                      </p:stCondLst>
                                      <p:childTnLst>
                                        <p:set>
                                          <p:cBhvr>
                                            <p:cTn id="156" dur="1" fill="hold">
                                              <p:stCondLst>
                                                <p:cond delay="0"/>
                                              </p:stCondLst>
                                            </p:cTn>
                                            <p:tgtEl>
                                              <p:spTgt spid="22"/>
                                            </p:tgtEl>
                                            <p:attrNameLst>
                                              <p:attrName>style.visibility</p:attrName>
                                            </p:attrNameLst>
                                          </p:cBhvr>
                                          <p:to>
                                            <p:strVal val="visible"/>
                                          </p:to>
                                        </p:set>
                                        <p:anim calcmode="lin" valueType="num">
                                          <p:cBhvr>
                                            <p:cTn id="157" dur="500" fill="hold"/>
                                            <p:tgtEl>
                                              <p:spTgt spid="22"/>
                                            </p:tgtEl>
                                            <p:attrNameLst>
                                              <p:attrName>ppt_w</p:attrName>
                                            </p:attrNameLst>
                                          </p:cBhvr>
                                          <p:tavLst>
                                            <p:tav tm="0">
                                              <p:val>
                                                <p:fltVal val="0"/>
                                              </p:val>
                                            </p:tav>
                                            <p:tav tm="100000">
                                              <p:val>
                                                <p:strVal val="#ppt_w"/>
                                              </p:val>
                                            </p:tav>
                                          </p:tavLst>
                                        </p:anim>
                                        <p:anim calcmode="lin" valueType="num">
                                          <p:cBhvr>
                                            <p:cTn id="158" dur="500" fill="hold"/>
                                            <p:tgtEl>
                                              <p:spTgt spid="22"/>
                                            </p:tgtEl>
                                            <p:attrNameLst>
                                              <p:attrName>ppt_h</p:attrName>
                                            </p:attrNameLst>
                                          </p:cBhvr>
                                          <p:tavLst>
                                            <p:tav tm="0">
                                              <p:val>
                                                <p:fltVal val="0"/>
                                              </p:val>
                                            </p:tav>
                                            <p:tav tm="100000">
                                              <p:val>
                                                <p:strVal val="#ppt_h"/>
                                              </p:val>
                                            </p:tav>
                                          </p:tavLst>
                                        </p:anim>
                                        <p:animEffect transition="in" filter="fade">
                                          <p:cBhvr>
                                            <p:cTn id="159" dur="500"/>
                                            <p:tgtEl>
                                              <p:spTgt spid="22"/>
                                            </p:tgtEl>
                                          </p:cBhvr>
                                        </p:animEffect>
                                      </p:childTnLst>
                                    </p:cTn>
                                  </p:par>
                                  <p:par>
                                    <p:cTn id="160" presetID="53" presetClass="entr" presetSubtype="16" fill="hold" grpId="0" nodeType="withEffect">
                                      <p:stCondLst>
                                        <p:cond delay="0"/>
                                      </p:stCondLst>
                                      <p:childTnLst>
                                        <p:set>
                                          <p:cBhvr>
                                            <p:cTn id="161" dur="1" fill="hold">
                                              <p:stCondLst>
                                                <p:cond delay="0"/>
                                              </p:stCondLst>
                                            </p:cTn>
                                            <p:tgtEl>
                                              <p:spTgt spid="21"/>
                                            </p:tgtEl>
                                            <p:attrNameLst>
                                              <p:attrName>style.visibility</p:attrName>
                                            </p:attrNameLst>
                                          </p:cBhvr>
                                          <p:to>
                                            <p:strVal val="visible"/>
                                          </p:to>
                                        </p:set>
                                        <p:anim calcmode="lin" valueType="num">
                                          <p:cBhvr>
                                            <p:cTn id="162" dur="500" fill="hold"/>
                                            <p:tgtEl>
                                              <p:spTgt spid="21"/>
                                            </p:tgtEl>
                                            <p:attrNameLst>
                                              <p:attrName>ppt_w</p:attrName>
                                            </p:attrNameLst>
                                          </p:cBhvr>
                                          <p:tavLst>
                                            <p:tav tm="0">
                                              <p:val>
                                                <p:fltVal val="0"/>
                                              </p:val>
                                            </p:tav>
                                            <p:tav tm="100000">
                                              <p:val>
                                                <p:strVal val="#ppt_w"/>
                                              </p:val>
                                            </p:tav>
                                          </p:tavLst>
                                        </p:anim>
                                        <p:anim calcmode="lin" valueType="num">
                                          <p:cBhvr>
                                            <p:cTn id="163" dur="500" fill="hold"/>
                                            <p:tgtEl>
                                              <p:spTgt spid="21"/>
                                            </p:tgtEl>
                                            <p:attrNameLst>
                                              <p:attrName>ppt_h</p:attrName>
                                            </p:attrNameLst>
                                          </p:cBhvr>
                                          <p:tavLst>
                                            <p:tav tm="0">
                                              <p:val>
                                                <p:fltVal val="0"/>
                                              </p:val>
                                            </p:tav>
                                            <p:tav tm="100000">
                                              <p:val>
                                                <p:strVal val="#ppt_h"/>
                                              </p:val>
                                            </p:tav>
                                          </p:tavLst>
                                        </p:anim>
                                        <p:animEffect transition="in" filter="fade">
                                          <p:cBhvr>
                                            <p:cTn id="164" dur="500"/>
                                            <p:tgtEl>
                                              <p:spTgt spid="21"/>
                                            </p:tgtEl>
                                          </p:cBhvr>
                                        </p:animEffect>
                                      </p:childTnLst>
                                    </p:cTn>
                                  </p:par>
                                </p:childTnLst>
                              </p:cTn>
                            </p:par>
                            <p:par>
                              <p:cTn id="165" fill="hold">
                                <p:stCondLst>
                                  <p:cond delay="13000"/>
                                </p:stCondLst>
                                <p:childTnLst>
                                  <p:par>
                                    <p:cTn id="166" presetID="53" presetClass="entr" presetSubtype="16" fill="hold" grpId="0" nodeType="afterEffect">
                                      <p:stCondLst>
                                        <p:cond delay="0"/>
                                      </p:stCondLst>
                                      <p:childTnLst>
                                        <p:set>
                                          <p:cBhvr>
                                            <p:cTn id="167" dur="1" fill="hold">
                                              <p:stCondLst>
                                                <p:cond delay="0"/>
                                              </p:stCondLst>
                                            </p:cTn>
                                            <p:tgtEl>
                                              <p:spTgt spid="50"/>
                                            </p:tgtEl>
                                            <p:attrNameLst>
                                              <p:attrName>style.visibility</p:attrName>
                                            </p:attrNameLst>
                                          </p:cBhvr>
                                          <p:to>
                                            <p:strVal val="visible"/>
                                          </p:to>
                                        </p:set>
                                        <p:anim calcmode="lin" valueType="num">
                                          <p:cBhvr>
                                            <p:cTn id="168" dur="500" fill="hold"/>
                                            <p:tgtEl>
                                              <p:spTgt spid="50"/>
                                            </p:tgtEl>
                                            <p:attrNameLst>
                                              <p:attrName>ppt_w</p:attrName>
                                            </p:attrNameLst>
                                          </p:cBhvr>
                                          <p:tavLst>
                                            <p:tav tm="0">
                                              <p:val>
                                                <p:fltVal val="0"/>
                                              </p:val>
                                            </p:tav>
                                            <p:tav tm="100000">
                                              <p:val>
                                                <p:strVal val="#ppt_w"/>
                                              </p:val>
                                            </p:tav>
                                          </p:tavLst>
                                        </p:anim>
                                        <p:anim calcmode="lin" valueType="num">
                                          <p:cBhvr>
                                            <p:cTn id="169" dur="500" fill="hold"/>
                                            <p:tgtEl>
                                              <p:spTgt spid="50"/>
                                            </p:tgtEl>
                                            <p:attrNameLst>
                                              <p:attrName>ppt_h</p:attrName>
                                            </p:attrNameLst>
                                          </p:cBhvr>
                                          <p:tavLst>
                                            <p:tav tm="0">
                                              <p:val>
                                                <p:fltVal val="0"/>
                                              </p:val>
                                            </p:tav>
                                            <p:tav tm="100000">
                                              <p:val>
                                                <p:strVal val="#ppt_h"/>
                                              </p:val>
                                            </p:tav>
                                          </p:tavLst>
                                        </p:anim>
                                        <p:animEffect transition="in" filter="fade">
                                          <p:cBhvr>
                                            <p:cTn id="170" dur="500"/>
                                            <p:tgtEl>
                                              <p:spTgt spid="50"/>
                                            </p:tgtEl>
                                          </p:cBhvr>
                                        </p:animEffect>
                                      </p:childTnLst>
                                    </p:cTn>
                                  </p:par>
                                  <p:par>
                                    <p:cTn id="171" presetID="53" presetClass="entr" presetSubtype="16" fill="hold" grpId="0" nodeType="withEffect">
                                      <p:stCondLst>
                                        <p:cond delay="0"/>
                                      </p:stCondLst>
                                      <p:childTnLst>
                                        <p:set>
                                          <p:cBhvr>
                                            <p:cTn id="172" dur="1" fill="hold">
                                              <p:stCondLst>
                                                <p:cond delay="0"/>
                                              </p:stCondLst>
                                            </p:cTn>
                                            <p:tgtEl>
                                              <p:spTgt spid="51"/>
                                            </p:tgtEl>
                                            <p:attrNameLst>
                                              <p:attrName>style.visibility</p:attrName>
                                            </p:attrNameLst>
                                          </p:cBhvr>
                                          <p:to>
                                            <p:strVal val="visible"/>
                                          </p:to>
                                        </p:set>
                                        <p:anim calcmode="lin" valueType="num">
                                          <p:cBhvr>
                                            <p:cTn id="173" dur="500" fill="hold"/>
                                            <p:tgtEl>
                                              <p:spTgt spid="51"/>
                                            </p:tgtEl>
                                            <p:attrNameLst>
                                              <p:attrName>ppt_w</p:attrName>
                                            </p:attrNameLst>
                                          </p:cBhvr>
                                          <p:tavLst>
                                            <p:tav tm="0">
                                              <p:val>
                                                <p:fltVal val="0"/>
                                              </p:val>
                                            </p:tav>
                                            <p:tav tm="100000">
                                              <p:val>
                                                <p:strVal val="#ppt_w"/>
                                              </p:val>
                                            </p:tav>
                                          </p:tavLst>
                                        </p:anim>
                                        <p:anim calcmode="lin" valueType="num">
                                          <p:cBhvr>
                                            <p:cTn id="174" dur="500" fill="hold"/>
                                            <p:tgtEl>
                                              <p:spTgt spid="51"/>
                                            </p:tgtEl>
                                            <p:attrNameLst>
                                              <p:attrName>ppt_h</p:attrName>
                                            </p:attrNameLst>
                                          </p:cBhvr>
                                          <p:tavLst>
                                            <p:tav tm="0">
                                              <p:val>
                                                <p:fltVal val="0"/>
                                              </p:val>
                                            </p:tav>
                                            <p:tav tm="100000">
                                              <p:val>
                                                <p:strVal val="#ppt_h"/>
                                              </p:val>
                                            </p:tav>
                                          </p:tavLst>
                                        </p:anim>
                                        <p:animEffect transition="in" filter="fade">
                                          <p:cBhvr>
                                            <p:cTn id="175" dur="500"/>
                                            <p:tgtEl>
                                              <p:spTgt spid="51"/>
                                            </p:tgtEl>
                                          </p:cBhvr>
                                        </p:animEffect>
                                      </p:childTnLst>
                                    </p:cTn>
                                  </p:par>
                                </p:childTnLst>
                              </p:cTn>
                            </p:par>
                            <p:par>
                              <p:cTn id="176" fill="hold">
                                <p:stCondLst>
                                  <p:cond delay="13500"/>
                                </p:stCondLst>
                                <p:childTnLst>
                                  <p:par>
                                    <p:cTn id="177" presetID="10" presetClass="entr" presetSubtype="0" fill="hold" grpId="0" nodeType="afterEffect">
                                      <p:stCondLst>
                                        <p:cond delay="0"/>
                                      </p:stCondLst>
                                      <p:childTnLst>
                                        <p:set>
                                          <p:cBhvr>
                                            <p:cTn id="178" dur="1" fill="hold">
                                              <p:stCondLst>
                                                <p:cond delay="0"/>
                                              </p:stCondLst>
                                            </p:cTn>
                                            <p:tgtEl>
                                              <p:spTgt spid="31"/>
                                            </p:tgtEl>
                                            <p:attrNameLst>
                                              <p:attrName>style.visibility</p:attrName>
                                            </p:attrNameLst>
                                          </p:cBhvr>
                                          <p:to>
                                            <p:strVal val="visible"/>
                                          </p:to>
                                        </p:set>
                                        <p:animEffect transition="in" filter="fade">
                                          <p:cBhvr>
                                            <p:cTn id="179" dur="500"/>
                                            <p:tgtEl>
                                              <p:spTgt spid="31"/>
                                            </p:tgtEl>
                                          </p:cBhvr>
                                        </p:animEffect>
                                      </p:childTnLst>
                                    </p:cTn>
                                  </p:par>
                                  <p:par>
                                    <p:cTn id="180" presetID="10" presetClass="entr" presetSubtype="0" fill="hold" grpId="0" nodeType="withEffect">
                                      <p:stCondLst>
                                        <p:cond delay="0"/>
                                      </p:stCondLst>
                                      <p:childTnLst>
                                        <p:set>
                                          <p:cBhvr>
                                            <p:cTn id="181" dur="1" fill="hold">
                                              <p:stCondLst>
                                                <p:cond delay="0"/>
                                              </p:stCondLst>
                                            </p:cTn>
                                            <p:tgtEl>
                                              <p:spTgt spid="32"/>
                                            </p:tgtEl>
                                            <p:attrNameLst>
                                              <p:attrName>style.visibility</p:attrName>
                                            </p:attrNameLst>
                                          </p:cBhvr>
                                          <p:to>
                                            <p:strVal val="visible"/>
                                          </p:to>
                                        </p:set>
                                        <p:animEffect transition="in" filter="fade">
                                          <p:cBhvr>
                                            <p:cTn id="182" dur="500"/>
                                            <p:tgtEl>
                                              <p:spTgt spid="32"/>
                                            </p:tgtEl>
                                          </p:cBhvr>
                                        </p:animEffect>
                                      </p:childTnLst>
                                    </p:cTn>
                                  </p:par>
                                </p:childTnLst>
                              </p:cTn>
                            </p:par>
                            <p:par>
                              <p:cTn id="183" fill="hold">
                                <p:stCondLst>
                                  <p:cond delay="14000"/>
                                </p:stCondLst>
                                <p:childTnLst>
                                  <p:par>
                                    <p:cTn id="184" presetID="22" presetClass="entr" presetSubtype="4" fill="hold" nodeType="afterEffect">
                                      <p:stCondLst>
                                        <p:cond delay="0"/>
                                      </p:stCondLst>
                                      <p:childTnLst>
                                        <p:set>
                                          <p:cBhvr>
                                            <p:cTn id="185" dur="1" fill="hold">
                                              <p:stCondLst>
                                                <p:cond delay="0"/>
                                              </p:stCondLst>
                                            </p:cTn>
                                            <p:tgtEl>
                                              <p:spTgt spid="11"/>
                                            </p:tgtEl>
                                            <p:attrNameLst>
                                              <p:attrName>style.visibility</p:attrName>
                                            </p:attrNameLst>
                                          </p:cBhvr>
                                          <p:to>
                                            <p:strVal val="visible"/>
                                          </p:to>
                                        </p:set>
                                        <p:animEffect transition="in" filter="wipe(down)">
                                          <p:cBhvr>
                                            <p:cTn id="186" dur="500"/>
                                            <p:tgtEl>
                                              <p:spTgt spid="11"/>
                                            </p:tgtEl>
                                          </p:cBhvr>
                                        </p:animEffect>
                                      </p:childTnLst>
                                    </p:cTn>
                                  </p:par>
                                  <p:par>
                                    <p:cTn id="187" presetID="22" presetClass="entr" presetSubtype="1" fill="hold" nodeType="withEffect">
                                      <p:stCondLst>
                                        <p:cond delay="0"/>
                                      </p:stCondLst>
                                      <p:childTnLst>
                                        <p:set>
                                          <p:cBhvr>
                                            <p:cTn id="188" dur="1" fill="hold">
                                              <p:stCondLst>
                                                <p:cond delay="0"/>
                                              </p:stCondLst>
                                            </p:cTn>
                                            <p:tgtEl>
                                              <p:spTgt spid="12"/>
                                            </p:tgtEl>
                                            <p:attrNameLst>
                                              <p:attrName>style.visibility</p:attrName>
                                            </p:attrNameLst>
                                          </p:cBhvr>
                                          <p:to>
                                            <p:strVal val="visible"/>
                                          </p:to>
                                        </p:set>
                                        <p:animEffect transition="in" filter="wipe(up)">
                                          <p:cBhvr>
                                            <p:cTn id="189" dur="500"/>
                                            <p:tgtEl>
                                              <p:spTgt spid="12"/>
                                            </p:tgtEl>
                                          </p:cBhvr>
                                        </p:animEffect>
                                      </p:childTnLst>
                                    </p:cTn>
                                  </p:par>
                                </p:childTnLst>
                              </p:cTn>
                            </p:par>
                            <p:par>
                              <p:cTn id="190" fill="hold">
                                <p:stCondLst>
                                  <p:cond delay="14500"/>
                                </p:stCondLst>
                                <p:childTnLst>
                                  <p:par>
                                    <p:cTn id="191" presetID="53" presetClass="entr" presetSubtype="16" fill="hold" grpId="0" nodeType="afterEffect">
                                      <p:stCondLst>
                                        <p:cond delay="0"/>
                                      </p:stCondLst>
                                      <p:childTnLst>
                                        <p:set>
                                          <p:cBhvr>
                                            <p:cTn id="192" dur="1" fill="hold">
                                              <p:stCondLst>
                                                <p:cond delay="0"/>
                                              </p:stCondLst>
                                            </p:cTn>
                                            <p:tgtEl>
                                              <p:spTgt spid="24"/>
                                            </p:tgtEl>
                                            <p:attrNameLst>
                                              <p:attrName>style.visibility</p:attrName>
                                            </p:attrNameLst>
                                          </p:cBhvr>
                                          <p:to>
                                            <p:strVal val="visible"/>
                                          </p:to>
                                        </p:set>
                                        <p:anim calcmode="lin" valueType="num">
                                          <p:cBhvr>
                                            <p:cTn id="193" dur="500" fill="hold"/>
                                            <p:tgtEl>
                                              <p:spTgt spid="24"/>
                                            </p:tgtEl>
                                            <p:attrNameLst>
                                              <p:attrName>ppt_w</p:attrName>
                                            </p:attrNameLst>
                                          </p:cBhvr>
                                          <p:tavLst>
                                            <p:tav tm="0">
                                              <p:val>
                                                <p:fltVal val="0"/>
                                              </p:val>
                                            </p:tav>
                                            <p:tav tm="100000">
                                              <p:val>
                                                <p:strVal val="#ppt_w"/>
                                              </p:val>
                                            </p:tav>
                                          </p:tavLst>
                                        </p:anim>
                                        <p:anim calcmode="lin" valueType="num">
                                          <p:cBhvr>
                                            <p:cTn id="194" dur="500" fill="hold"/>
                                            <p:tgtEl>
                                              <p:spTgt spid="24"/>
                                            </p:tgtEl>
                                            <p:attrNameLst>
                                              <p:attrName>ppt_h</p:attrName>
                                            </p:attrNameLst>
                                          </p:cBhvr>
                                          <p:tavLst>
                                            <p:tav tm="0">
                                              <p:val>
                                                <p:fltVal val="0"/>
                                              </p:val>
                                            </p:tav>
                                            <p:tav tm="100000">
                                              <p:val>
                                                <p:strVal val="#ppt_h"/>
                                              </p:val>
                                            </p:tav>
                                          </p:tavLst>
                                        </p:anim>
                                        <p:animEffect transition="in" filter="fade">
                                          <p:cBhvr>
                                            <p:cTn id="195" dur="500"/>
                                            <p:tgtEl>
                                              <p:spTgt spid="24"/>
                                            </p:tgtEl>
                                          </p:cBhvr>
                                        </p:animEffect>
                                      </p:childTnLst>
                                    </p:cTn>
                                  </p:par>
                                  <p:par>
                                    <p:cTn id="196" presetID="53" presetClass="entr" presetSubtype="16" fill="hold" grpId="0" nodeType="withEffect">
                                      <p:stCondLst>
                                        <p:cond delay="0"/>
                                      </p:stCondLst>
                                      <p:childTnLst>
                                        <p:set>
                                          <p:cBhvr>
                                            <p:cTn id="197" dur="1" fill="hold">
                                              <p:stCondLst>
                                                <p:cond delay="0"/>
                                              </p:stCondLst>
                                            </p:cTn>
                                            <p:tgtEl>
                                              <p:spTgt spid="23"/>
                                            </p:tgtEl>
                                            <p:attrNameLst>
                                              <p:attrName>style.visibility</p:attrName>
                                            </p:attrNameLst>
                                          </p:cBhvr>
                                          <p:to>
                                            <p:strVal val="visible"/>
                                          </p:to>
                                        </p:set>
                                        <p:anim calcmode="lin" valueType="num">
                                          <p:cBhvr>
                                            <p:cTn id="198" dur="500" fill="hold"/>
                                            <p:tgtEl>
                                              <p:spTgt spid="23"/>
                                            </p:tgtEl>
                                            <p:attrNameLst>
                                              <p:attrName>ppt_w</p:attrName>
                                            </p:attrNameLst>
                                          </p:cBhvr>
                                          <p:tavLst>
                                            <p:tav tm="0">
                                              <p:val>
                                                <p:fltVal val="0"/>
                                              </p:val>
                                            </p:tav>
                                            <p:tav tm="100000">
                                              <p:val>
                                                <p:strVal val="#ppt_w"/>
                                              </p:val>
                                            </p:tav>
                                          </p:tavLst>
                                        </p:anim>
                                        <p:anim calcmode="lin" valueType="num">
                                          <p:cBhvr>
                                            <p:cTn id="199" dur="500" fill="hold"/>
                                            <p:tgtEl>
                                              <p:spTgt spid="23"/>
                                            </p:tgtEl>
                                            <p:attrNameLst>
                                              <p:attrName>ppt_h</p:attrName>
                                            </p:attrNameLst>
                                          </p:cBhvr>
                                          <p:tavLst>
                                            <p:tav tm="0">
                                              <p:val>
                                                <p:fltVal val="0"/>
                                              </p:val>
                                            </p:tav>
                                            <p:tav tm="100000">
                                              <p:val>
                                                <p:strVal val="#ppt_h"/>
                                              </p:val>
                                            </p:tav>
                                          </p:tavLst>
                                        </p:anim>
                                        <p:animEffect transition="in" filter="fade">
                                          <p:cBhvr>
                                            <p:cTn id="200" dur="500"/>
                                            <p:tgtEl>
                                              <p:spTgt spid="23"/>
                                            </p:tgtEl>
                                          </p:cBhvr>
                                        </p:animEffect>
                                      </p:childTnLst>
                                    </p:cTn>
                                  </p:par>
                                </p:childTnLst>
                              </p:cTn>
                            </p:par>
                            <p:par>
                              <p:cTn id="201" fill="hold">
                                <p:stCondLst>
                                  <p:cond delay="15000"/>
                                </p:stCondLst>
                                <p:childTnLst>
                                  <p:par>
                                    <p:cTn id="202" presetID="53" presetClass="entr" presetSubtype="16" fill="hold" grpId="0" nodeType="afterEffect">
                                      <p:stCondLst>
                                        <p:cond delay="0"/>
                                      </p:stCondLst>
                                      <p:childTnLst>
                                        <p:set>
                                          <p:cBhvr>
                                            <p:cTn id="203" dur="1" fill="hold">
                                              <p:stCondLst>
                                                <p:cond delay="0"/>
                                              </p:stCondLst>
                                            </p:cTn>
                                            <p:tgtEl>
                                              <p:spTgt spid="48"/>
                                            </p:tgtEl>
                                            <p:attrNameLst>
                                              <p:attrName>style.visibility</p:attrName>
                                            </p:attrNameLst>
                                          </p:cBhvr>
                                          <p:to>
                                            <p:strVal val="visible"/>
                                          </p:to>
                                        </p:set>
                                        <p:anim calcmode="lin" valueType="num">
                                          <p:cBhvr>
                                            <p:cTn id="204" dur="500" fill="hold"/>
                                            <p:tgtEl>
                                              <p:spTgt spid="48"/>
                                            </p:tgtEl>
                                            <p:attrNameLst>
                                              <p:attrName>ppt_w</p:attrName>
                                            </p:attrNameLst>
                                          </p:cBhvr>
                                          <p:tavLst>
                                            <p:tav tm="0">
                                              <p:val>
                                                <p:fltVal val="0"/>
                                              </p:val>
                                            </p:tav>
                                            <p:tav tm="100000">
                                              <p:val>
                                                <p:strVal val="#ppt_w"/>
                                              </p:val>
                                            </p:tav>
                                          </p:tavLst>
                                        </p:anim>
                                        <p:anim calcmode="lin" valueType="num">
                                          <p:cBhvr>
                                            <p:cTn id="205" dur="500" fill="hold"/>
                                            <p:tgtEl>
                                              <p:spTgt spid="48"/>
                                            </p:tgtEl>
                                            <p:attrNameLst>
                                              <p:attrName>ppt_h</p:attrName>
                                            </p:attrNameLst>
                                          </p:cBhvr>
                                          <p:tavLst>
                                            <p:tav tm="0">
                                              <p:val>
                                                <p:fltVal val="0"/>
                                              </p:val>
                                            </p:tav>
                                            <p:tav tm="100000">
                                              <p:val>
                                                <p:strVal val="#ppt_h"/>
                                              </p:val>
                                            </p:tav>
                                          </p:tavLst>
                                        </p:anim>
                                        <p:animEffect transition="in" filter="fade">
                                          <p:cBhvr>
                                            <p:cTn id="206" dur="500"/>
                                            <p:tgtEl>
                                              <p:spTgt spid="48"/>
                                            </p:tgtEl>
                                          </p:cBhvr>
                                        </p:animEffect>
                                      </p:childTnLst>
                                    </p:cTn>
                                  </p:par>
                                  <p:par>
                                    <p:cTn id="207" presetID="53" presetClass="entr" presetSubtype="16" fill="hold" grpId="0" nodeType="withEffect">
                                      <p:stCondLst>
                                        <p:cond delay="0"/>
                                      </p:stCondLst>
                                      <p:childTnLst>
                                        <p:set>
                                          <p:cBhvr>
                                            <p:cTn id="208" dur="1" fill="hold">
                                              <p:stCondLst>
                                                <p:cond delay="0"/>
                                              </p:stCondLst>
                                            </p:cTn>
                                            <p:tgtEl>
                                              <p:spTgt spid="49"/>
                                            </p:tgtEl>
                                            <p:attrNameLst>
                                              <p:attrName>style.visibility</p:attrName>
                                            </p:attrNameLst>
                                          </p:cBhvr>
                                          <p:to>
                                            <p:strVal val="visible"/>
                                          </p:to>
                                        </p:set>
                                        <p:anim calcmode="lin" valueType="num">
                                          <p:cBhvr>
                                            <p:cTn id="209" dur="500" fill="hold"/>
                                            <p:tgtEl>
                                              <p:spTgt spid="49"/>
                                            </p:tgtEl>
                                            <p:attrNameLst>
                                              <p:attrName>ppt_w</p:attrName>
                                            </p:attrNameLst>
                                          </p:cBhvr>
                                          <p:tavLst>
                                            <p:tav tm="0">
                                              <p:val>
                                                <p:fltVal val="0"/>
                                              </p:val>
                                            </p:tav>
                                            <p:tav tm="100000">
                                              <p:val>
                                                <p:strVal val="#ppt_w"/>
                                              </p:val>
                                            </p:tav>
                                          </p:tavLst>
                                        </p:anim>
                                        <p:anim calcmode="lin" valueType="num">
                                          <p:cBhvr>
                                            <p:cTn id="210" dur="500" fill="hold"/>
                                            <p:tgtEl>
                                              <p:spTgt spid="49"/>
                                            </p:tgtEl>
                                            <p:attrNameLst>
                                              <p:attrName>ppt_h</p:attrName>
                                            </p:attrNameLst>
                                          </p:cBhvr>
                                          <p:tavLst>
                                            <p:tav tm="0">
                                              <p:val>
                                                <p:fltVal val="0"/>
                                              </p:val>
                                            </p:tav>
                                            <p:tav tm="100000">
                                              <p:val>
                                                <p:strVal val="#ppt_h"/>
                                              </p:val>
                                            </p:tav>
                                          </p:tavLst>
                                        </p:anim>
                                        <p:animEffect transition="in" filter="fade">
                                          <p:cBhvr>
                                            <p:cTn id="211" dur="500"/>
                                            <p:tgtEl>
                                              <p:spTgt spid="49"/>
                                            </p:tgtEl>
                                          </p:cBhvr>
                                        </p:animEffect>
                                      </p:childTnLst>
                                    </p:cTn>
                                  </p:par>
                                </p:childTnLst>
                              </p:cTn>
                            </p:par>
                            <p:par>
                              <p:cTn id="212" fill="hold">
                                <p:stCondLst>
                                  <p:cond delay="15500"/>
                                </p:stCondLst>
                                <p:childTnLst>
                                  <p:par>
                                    <p:cTn id="213" presetID="10" presetClass="entr" presetSubtype="0" fill="hold" grpId="0" nodeType="afterEffect">
                                      <p:stCondLst>
                                        <p:cond delay="0"/>
                                      </p:stCondLst>
                                      <p:childTnLst>
                                        <p:set>
                                          <p:cBhvr>
                                            <p:cTn id="214" dur="1" fill="hold">
                                              <p:stCondLst>
                                                <p:cond delay="0"/>
                                              </p:stCondLst>
                                            </p:cTn>
                                            <p:tgtEl>
                                              <p:spTgt spid="33"/>
                                            </p:tgtEl>
                                            <p:attrNameLst>
                                              <p:attrName>style.visibility</p:attrName>
                                            </p:attrNameLst>
                                          </p:cBhvr>
                                          <p:to>
                                            <p:strVal val="visible"/>
                                          </p:to>
                                        </p:set>
                                        <p:animEffect transition="in" filter="fade">
                                          <p:cBhvr>
                                            <p:cTn id="215" dur="500"/>
                                            <p:tgtEl>
                                              <p:spTgt spid="33"/>
                                            </p:tgtEl>
                                          </p:cBhvr>
                                        </p:animEffect>
                                      </p:childTnLst>
                                    </p:cTn>
                                  </p:par>
                                  <p:par>
                                    <p:cTn id="216" presetID="10" presetClass="entr" presetSubtype="0" fill="hold" grpId="0" nodeType="withEffect">
                                      <p:stCondLst>
                                        <p:cond delay="0"/>
                                      </p:stCondLst>
                                      <p:childTnLst>
                                        <p:set>
                                          <p:cBhvr>
                                            <p:cTn id="217" dur="1" fill="hold">
                                              <p:stCondLst>
                                                <p:cond delay="0"/>
                                              </p:stCondLst>
                                            </p:cTn>
                                            <p:tgtEl>
                                              <p:spTgt spid="34"/>
                                            </p:tgtEl>
                                            <p:attrNameLst>
                                              <p:attrName>style.visibility</p:attrName>
                                            </p:attrNameLst>
                                          </p:cBhvr>
                                          <p:to>
                                            <p:strVal val="visible"/>
                                          </p:to>
                                        </p:set>
                                        <p:animEffect transition="in" filter="fade">
                                          <p:cBhvr>
                                            <p:cTn id="218" dur="500"/>
                                            <p:tgtEl>
                                              <p:spTgt spid="34"/>
                                            </p:tgtEl>
                                          </p:cBhvr>
                                        </p:animEffect>
                                      </p:childTnLst>
                                    </p:cTn>
                                  </p:par>
                                </p:childTnLst>
                              </p:cTn>
                            </p:par>
                            <p:par>
                              <p:cTn id="219" fill="hold">
                                <p:stCondLst>
                                  <p:cond delay="16000"/>
                                </p:stCondLst>
                                <p:childTnLst>
                                  <p:par>
                                    <p:cTn id="220" presetID="22" presetClass="entr" presetSubtype="4" fill="hold" nodeType="afterEffect">
                                      <p:stCondLst>
                                        <p:cond delay="0"/>
                                      </p:stCondLst>
                                      <p:childTnLst>
                                        <p:set>
                                          <p:cBhvr>
                                            <p:cTn id="221" dur="1" fill="hold">
                                              <p:stCondLst>
                                                <p:cond delay="0"/>
                                              </p:stCondLst>
                                            </p:cTn>
                                            <p:tgtEl>
                                              <p:spTgt spid="13"/>
                                            </p:tgtEl>
                                            <p:attrNameLst>
                                              <p:attrName>style.visibility</p:attrName>
                                            </p:attrNameLst>
                                          </p:cBhvr>
                                          <p:to>
                                            <p:strVal val="visible"/>
                                          </p:to>
                                        </p:set>
                                        <p:animEffect transition="in" filter="wipe(down)">
                                          <p:cBhvr>
                                            <p:cTn id="222" dur="500"/>
                                            <p:tgtEl>
                                              <p:spTgt spid="13"/>
                                            </p:tgtEl>
                                          </p:cBhvr>
                                        </p:animEffect>
                                      </p:childTnLst>
                                    </p:cTn>
                                  </p:par>
                                  <p:par>
                                    <p:cTn id="223" presetID="22" presetClass="entr" presetSubtype="1" fill="hold" nodeType="withEffect">
                                      <p:stCondLst>
                                        <p:cond delay="0"/>
                                      </p:stCondLst>
                                      <p:childTnLst>
                                        <p:set>
                                          <p:cBhvr>
                                            <p:cTn id="224" dur="1" fill="hold">
                                              <p:stCondLst>
                                                <p:cond delay="0"/>
                                              </p:stCondLst>
                                            </p:cTn>
                                            <p:tgtEl>
                                              <p:spTgt spid="14"/>
                                            </p:tgtEl>
                                            <p:attrNameLst>
                                              <p:attrName>style.visibility</p:attrName>
                                            </p:attrNameLst>
                                          </p:cBhvr>
                                          <p:to>
                                            <p:strVal val="visible"/>
                                          </p:to>
                                        </p:set>
                                        <p:animEffect transition="in" filter="wipe(up)">
                                          <p:cBhvr>
                                            <p:cTn id="225" dur="500"/>
                                            <p:tgtEl>
                                              <p:spTgt spid="14"/>
                                            </p:tgtEl>
                                          </p:cBhvr>
                                        </p:animEffect>
                                      </p:childTnLst>
                                    </p:cTn>
                                  </p:par>
                                </p:childTnLst>
                              </p:cTn>
                            </p:par>
                            <p:par>
                              <p:cTn id="226" fill="hold">
                                <p:stCondLst>
                                  <p:cond delay="16500"/>
                                </p:stCondLst>
                                <p:childTnLst>
                                  <p:par>
                                    <p:cTn id="227" presetID="53" presetClass="entr" presetSubtype="16" fill="hold" grpId="0" nodeType="afterEffect">
                                      <p:stCondLst>
                                        <p:cond delay="0"/>
                                      </p:stCondLst>
                                      <p:childTnLst>
                                        <p:set>
                                          <p:cBhvr>
                                            <p:cTn id="228" dur="1" fill="hold">
                                              <p:stCondLst>
                                                <p:cond delay="0"/>
                                              </p:stCondLst>
                                            </p:cTn>
                                            <p:tgtEl>
                                              <p:spTgt spid="26"/>
                                            </p:tgtEl>
                                            <p:attrNameLst>
                                              <p:attrName>style.visibility</p:attrName>
                                            </p:attrNameLst>
                                          </p:cBhvr>
                                          <p:to>
                                            <p:strVal val="visible"/>
                                          </p:to>
                                        </p:set>
                                        <p:anim calcmode="lin" valueType="num">
                                          <p:cBhvr>
                                            <p:cTn id="229" dur="500" fill="hold"/>
                                            <p:tgtEl>
                                              <p:spTgt spid="26"/>
                                            </p:tgtEl>
                                            <p:attrNameLst>
                                              <p:attrName>ppt_w</p:attrName>
                                            </p:attrNameLst>
                                          </p:cBhvr>
                                          <p:tavLst>
                                            <p:tav tm="0">
                                              <p:val>
                                                <p:fltVal val="0"/>
                                              </p:val>
                                            </p:tav>
                                            <p:tav tm="100000">
                                              <p:val>
                                                <p:strVal val="#ppt_w"/>
                                              </p:val>
                                            </p:tav>
                                          </p:tavLst>
                                        </p:anim>
                                        <p:anim calcmode="lin" valueType="num">
                                          <p:cBhvr>
                                            <p:cTn id="230" dur="500" fill="hold"/>
                                            <p:tgtEl>
                                              <p:spTgt spid="26"/>
                                            </p:tgtEl>
                                            <p:attrNameLst>
                                              <p:attrName>ppt_h</p:attrName>
                                            </p:attrNameLst>
                                          </p:cBhvr>
                                          <p:tavLst>
                                            <p:tav tm="0">
                                              <p:val>
                                                <p:fltVal val="0"/>
                                              </p:val>
                                            </p:tav>
                                            <p:tav tm="100000">
                                              <p:val>
                                                <p:strVal val="#ppt_h"/>
                                              </p:val>
                                            </p:tav>
                                          </p:tavLst>
                                        </p:anim>
                                        <p:animEffect transition="in" filter="fade">
                                          <p:cBhvr>
                                            <p:cTn id="231" dur="500"/>
                                            <p:tgtEl>
                                              <p:spTgt spid="26"/>
                                            </p:tgtEl>
                                          </p:cBhvr>
                                        </p:animEffect>
                                      </p:childTnLst>
                                    </p:cTn>
                                  </p:par>
                                  <p:par>
                                    <p:cTn id="232" presetID="53" presetClass="entr" presetSubtype="16" fill="hold" grpId="0" nodeType="withEffect">
                                      <p:stCondLst>
                                        <p:cond delay="0"/>
                                      </p:stCondLst>
                                      <p:childTnLst>
                                        <p:set>
                                          <p:cBhvr>
                                            <p:cTn id="233" dur="1" fill="hold">
                                              <p:stCondLst>
                                                <p:cond delay="0"/>
                                              </p:stCondLst>
                                            </p:cTn>
                                            <p:tgtEl>
                                              <p:spTgt spid="25"/>
                                            </p:tgtEl>
                                            <p:attrNameLst>
                                              <p:attrName>style.visibility</p:attrName>
                                            </p:attrNameLst>
                                          </p:cBhvr>
                                          <p:to>
                                            <p:strVal val="visible"/>
                                          </p:to>
                                        </p:set>
                                        <p:anim calcmode="lin" valueType="num">
                                          <p:cBhvr>
                                            <p:cTn id="234" dur="500" fill="hold"/>
                                            <p:tgtEl>
                                              <p:spTgt spid="25"/>
                                            </p:tgtEl>
                                            <p:attrNameLst>
                                              <p:attrName>ppt_w</p:attrName>
                                            </p:attrNameLst>
                                          </p:cBhvr>
                                          <p:tavLst>
                                            <p:tav tm="0">
                                              <p:val>
                                                <p:fltVal val="0"/>
                                              </p:val>
                                            </p:tav>
                                            <p:tav tm="100000">
                                              <p:val>
                                                <p:strVal val="#ppt_w"/>
                                              </p:val>
                                            </p:tav>
                                          </p:tavLst>
                                        </p:anim>
                                        <p:anim calcmode="lin" valueType="num">
                                          <p:cBhvr>
                                            <p:cTn id="235" dur="500" fill="hold"/>
                                            <p:tgtEl>
                                              <p:spTgt spid="25"/>
                                            </p:tgtEl>
                                            <p:attrNameLst>
                                              <p:attrName>ppt_h</p:attrName>
                                            </p:attrNameLst>
                                          </p:cBhvr>
                                          <p:tavLst>
                                            <p:tav tm="0">
                                              <p:val>
                                                <p:fltVal val="0"/>
                                              </p:val>
                                            </p:tav>
                                            <p:tav tm="100000">
                                              <p:val>
                                                <p:strVal val="#ppt_h"/>
                                              </p:val>
                                            </p:tav>
                                          </p:tavLst>
                                        </p:anim>
                                        <p:animEffect transition="in" filter="fade">
                                          <p:cBhvr>
                                            <p:cTn id="236" dur="500"/>
                                            <p:tgtEl>
                                              <p:spTgt spid="25"/>
                                            </p:tgtEl>
                                          </p:cBhvr>
                                        </p:animEffect>
                                      </p:childTnLst>
                                    </p:cTn>
                                  </p:par>
                                </p:childTnLst>
                              </p:cTn>
                            </p:par>
                            <p:par>
                              <p:cTn id="237" fill="hold">
                                <p:stCondLst>
                                  <p:cond delay="17000"/>
                                </p:stCondLst>
                                <p:childTnLst>
                                  <p:par>
                                    <p:cTn id="238" presetID="53" presetClass="entr" presetSubtype="16" fill="hold" grpId="0" nodeType="afterEffect">
                                      <p:stCondLst>
                                        <p:cond delay="0"/>
                                      </p:stCondLst>
                                      <p:childTnLst>
                                        <p:set>
                                          <p:cBhvr>
                                            <p:cTn id="239" dur="1" fill="hold">
                                              <p:stCondLst>
                                                <p:cond delay="0"/>
                                              </p:stCondLst>
                                            </p:cTn>
                                            <p:tgtEl>
                                              <p:spTgt spid="57"/>
                                            </p:tgtEl>
                                            <p:attrNameLst>
                                              <p:attrName>style.visibility</p:attrName>
                                            </p:attrNameLst>
                                          </p:cBhvr>
                                          <p:to>
                                            <p:strVal val="visible"/>
                                          </p:to>
                                        </p:set>
                                        <p:anim calcmode="lin" valueType="num">
                                          <p:cBhvr>
                                            <p:cTn id="240" dur="500" fill="hold"/>
                                            <p:tgtEl>
                                              <p:spTgt spid="57"/>
                                            </p:tgtEl>
                                            <p:attrNameLst>
                                              <p:attrName>ppt_w</p:attrName>
                                            </p:attrNameLst>
                                          </p:cBhvr>
                                          <p:tavLst>
                                            <p:tav tm="0">
                                              <p:val>
                                                <p:fltVal val="0"/>
                                              </p:val>
                                            </p:tav>
                                            <p:tav tm="100000">
                                              <p:val>
                                                <p:strVal val="#ppt_w"/>
                                              </p:val>
                                            </p:tav>
                                          </p:tavLst>
                                        </p:anim>
                                        <p:anim calcmode="lin" valueType="num">
                                          <p:cBhvr>
                                            <p:cTn id="241" dur="500" fill="hold"/>
                                            <p:tgtEl>
                                              <p:spTgt spid="57"/>
                                            </p:tgtEl>
                                            <p:attrNameLst>
                                              <p:attrName>ppt_h</p:attrName>
                                            </p:attrNameLst>
                                          </p:cBhvr>
                                          <p:tavLst>
                                            <p:tav tm="0">
                                              <p:val>
                                                <p:fltVal val="0"/>
                                              </p:val>
                                            </p:tav>
                                            <p:tav tm="100000">
                                              <p:val>
                                                <p:strVal val="#ppt_h"/>
                                              </p:val>
                                            </p:tav>
                                          </p:tavLst>
                                        </p:anim>
                                        <p:animEffect transition="in" filter="fade">
                                          <p:cBhvr>
                                            <p:cTn id="242" dur="500"/>
                                            <p:tgtEl>
                                              <p:spTgt spid="57"/>
                                            </p:tgtEl>
                                          </p:cBhvr>
                                        </p:animEffect>
                                      </p:childTnLst>
                                    </p:cTn>
                                  </p:par>
                                  <p:par>
                                    <p:cTn id="243" presetID="53" presetClass="entr" presetSubtype="16" fill="hold" grpId="0" nodeType="withEffect">
                                      <p:stCondLst>
                                        <p:cond delay="0"/>
                                      </p:stCondLst>
                                      <p:childTnLst>
                                        <p:set>
                                          <p:cBhvr>
                                            <p:cTn id="244" dur="1" fill="hold">
                                              <p:stCondLst>
                                                <p:cond delay="0"/>
                                              </p:stCondLst>
                                            </p:cTn>
                                            <p:tgtEl>
                                              <p:spTgt spid="56"/>
                                            </p:tgtEl>
                                            <p:attrNameLst>
                                              <p:attrName>style.visibility</p:attrName>
                                            </p:attrNameLst>
                                          </p:cBhvr>
                                          <p:to>
                                            <p:strVal val="visible"/>
                                          </p:to>
                                        </p:set>
                                        <p:anim calcmode="lin" valueType="num">
                                          <p:cBhvr>
                                            <p:cTn id="245" dur="500" fill="hold"/>
                                            <p:tgtEl>
                                              <p:spTgt spid="56"/>
                                            </p:tgtEl>
                                            <p:attrNameLst>
                                              <p:attrName>ppt_w</p:attrName>
                                            </p:attrNameLst>
                                          </p:cBhvr>
                                          <p:tavLst>
                                            <p:tav tm="0">
                                              <p:val>
                                                <p:fltVal val="0"/>
                                              </p:val>
                                            </p:tav>
                                            <p:tav tm="100000">
                                              <p:val>
                                                <p:strVal val="#ppt_w"/>
                                              </p:val>
                                            </p:tav>
                                          </p:tavLst>
                                        </p:anim>
                                        <p:anim calcmode="lin" valueType="num">
                                          <p:cBhvr>
                                            <p:cTn id="246" dur="500" fill="hold"/>
                                            <p:tgtEl>
                                              <p:spTgt spid="56"/>
                                            </p:tgtEl>
                                            <p:attrNameLst>
                                              <p:attrName>ppt_h</p:attrName>
                                            </p:attrNameLst>
                                          </p:cBhvr>
                                          <p:tavLst>
                                            <p:tav tm="0">
                                              <p:val>
                                                <p:fltVal val="0"/>
                                              </p:val>
                                            </p:tav>
                                            <p:tav tm="100000">
                                              <p:val>
                                                <p:strVal val="#ppt_h"/>
                                              </p:val>
                                            </p:tav>
                                          </p:tavLst>
                                        </p:anim>
                                        <p:animEffect transition="in" filter="fade">
                                          <p:cBhvr>
                                            <p:cTn id="247" dur="500"/>
                                            <p:tgtEl>
                                              <p:spTgt spid="56"/>
                                            </p:tgtEl>
                                          </p:cBhvr>
                                        </p:animEffect>
                                      </p:childTnLst>
                                    </p:cTn>
                                  </p:par>
                                </p:childTnLst>
                              </p:cTn>
                            </p:par>
                            <p:par>
                              <p:cTn id="248" fill="hold">
                                <p:stCondLst>
                                  <p:cond delay="17500"/>
                                </p:stCondLst>
                                <p:childTnLst>
                                  <p:par>
                                    <p:cTn id="249" presetID="10" presetClass="entr" presetSubtype="0" fill="hold" grpId="0" nodeType="afterEffect">
                                      <p:stCondLst>
                                        <p:cond delay="0"/>
                                      </p:stCondLst>
                                      <p:childTnLst>
                                        <p:set>
                                          <p:cBhvr>
                                            <p:cTn id="250" dur="1" fill="hold">
                                              <p:stCondLst>
                                                <p:cond delay="0"/>
                                              </p:stCondLst>
                                            </p:cTn>
                                            <p:tgtEl>
                                              <p:spTgt spid="35"/>
                                            </p:tgtEl>
                                            <p:attrNameLst>
                                              <p:attrName>style.visibility</p:attrName>
                                            </p:attrNameLst>
                                          </p:cBhvr>
                                          <p:to>
                                            <p:strVal val="visible"/>
                                          </p:to>
                                        </p:set>
                                        <p:animEffect transition="in" filter="fade">
                                          <p:cBhvr>
                                            <p:cTn id="251" dur="500"/>
                                            <p:tgtEl>
                                              <p:spTgt spid="35"/>
                                            </p:tgtEl>
                                          </p:cBhvr>
                                        </p:animEffect>
                                      </p:childTnLst>
                                    </p:cTn>
                                  </p:par>
                                  <p:par>
                                    <p:cTn id="252" presetID="10" presetClass="entr" presetSubtype="0" fill="hold" grpId="0" nodeType="withEffect">
                                      <p:stCondLst>
                                        <p:cond delay="0"/>
                                      </p:stCondLst>
                                      <p:childTnLst>
                                        <p:set>
                                          <p:cBhvr>
                                            <p:cTn id="253" dur="1" fill="hold">
                                              <p:stCondLst>
                                                <p:cond delay="0"/>
                                              </p:stCondLst>
                                            </p:cTn>
                                            <p:tgtEl>
                                              <p:spTgt spid="36"/>
                                            </p:tgtEl>
                                            <p:attrNameLst>
                                              <p:attrName>style.visibility</p:attrName>
                                            </p:attrNameLst>
                                          </p:cBhvr>
                                          <p:to>
                                            <p:strVal val="visible"/>
                                          </p:to>
                                        </p:set>
                                        <p:animEffect transition="in" filter="fade">
                                          <p:cBhvr>
                                            <p:cTn id="254" dur="500"/>
                                            <p:tgtEl>
                                              <p:spTgt spid="3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3" grpId="0" animBg="1"/>
          <p:bldP spid="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26" grpId="0" animBg="1"/>
          <p:bldP spid="27" grpId="0"/>
          <p:bldP spid="28" grpId="0"/>
          <p:bldP spid="29" grpId="0"/>
          <p:bldP spid="30" grpId="0"/>
          <p:bldP spid="31" grpId="0"/>
          <p:bldP spid="32" grpId="0"/>
          <p:bldP spid="33" grpId="0"/>
          <p:bldP spid="34" grpId="0"/>
          <p:bldP spid="35" grpId="0"/>
          <p:bldP spid="36" grpId="0"/>
          <p:bldP spid="37" grpId="0"/>
          <p:bldP spid="38" grpId="0"/>
          <p:bldP spid="39" grpId="0"/>
          <p:bldP spid="40" grpId="0"/>
          <p:bldP spid="41" grpId="0"/>
          <p:bldP spid="42" grpId="0"/>
          <p:bldP spid="48" grpId="0" animBg="1"/>
          <p:bldP spid="49" grpId="0" animBg="1"/>
          <p:bldP spid="50" grpId="0" animBg="1"/>
          <p:bldP spid="51" grpId="0" animBg="1"/>
          <p:bldP spid="52" grpId="0" animBg="1"/>
          <p:bldP spid="53" grpId="0" animBg="1"/>
          <p:bldP spid="54" grpId="0" animBg="1"/>
          <p:bldP spid="55" grpId="0" animBg="1"/>
          <p:bldP spid="56" grpId="0" animBg="1"/>
          <p:bldP spid="57" grpId="0" animBg="1"/>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0-#ppt_w/2"/>
                                              </p:val>
                                            </p:tav>
                                            <p:tav tm="100000">
                                              <p:val>
                                                <p:strVal val="#ppt_x"/>
                                              </p:val>
                                            </p:tav>
                                          </p:tavLst>
                                        </p:anim>
                                        <p:anim calcmode="lin" valueType="num">
                                          <p:cBhvr additive="base">
                                            <p:cTn id="8" dur="500" fill="hold"/>
                                            <p:tgtEl>
                                              <p:spTgt spid="2"/>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2" presetClass="entr" presetSubtype="8" fill="hold" grpId="0" nodeType="afterEffect">
                                      <p:stCondLst>
                                        <p:cond delay="0"/>
                                      </p:stCondLst>
                                      <p:childTnLst>
                                        <p:set>
                                          <p:cBhvr>
                                            <p:cTn id="11" dur="1" fill="hold">
                                              <p:stCondLst>
                                                <p:cond delay="0"/>
                                              </p:stCondLst>
                                            </p:cTn>
                                            <p:tgtEl>
                                              <p:spTgt spid="3"/>
                                            </p:tgtEl>
                                            <p:attrNameLst>
                                              <p:attrName>style.visibility</p:attrName>
                                            </p:attrNameLst>
                                          </p:cBhvr>
                                          <p:to>
                                            <p:strVal val="visible"/>
                                          </p:to>
                                        </p:set>
                                        <p:anim calcmode="lin" valueType="num">
                                          <p:cBhvr additive="base">
                                            <p:cTn id="12" dur="500" fill="hold"/>
                                            <p:tgtEl>
                                              <p:spTgt spid="3"/>
                                            </p:tgtEl>
                                            <p:attrNameLst>
                                              <p:attrName>ppt_x</p:attrName>
                                            </p:attrNameLst>
                                          </p:cBhvr>
                                          <p:tavLst>
                                            <p:tav tm="0">
                                              <p:val>
                                                <p:strVal val="0-#ppt_w/2"/>
                                              </p:val>
                                            </p:tav>
                                            <p:tav tm="100000">
                                              <p:val>
                                                <p:strVal val="#ppt_x"/>
                                              </p:val>
                                            </p:tav>
                                          </p:tavLst>
                                        </p:anim>
                                        <p:anim calcmode="lin" valueType="num">
                                          <p:cBhvr additive="base">
                                            <p:cTn id="13" dur="500" fill="hold"/>
                                            <p:tgtEl>
                                              <p:spTgt spid="3"/>
                                            </p:tgtEl>
                                            <p:attrNameLst>
                                              <p:attrName>ppt_y</p:attrName>
                                            </p:attrNameLst>
                                          </p:cBhvr>
                                          <p:tavLst>
                                            <p:tav tm="0">
                                              <p:val>
                                                <p:strVal val="#ppt_y"/>
                                              </p:val>
                                            </p:tav>
                                            <p:tav tm="100000">
                                              <p:val>
                                                <p:strVal val="#ppt_y"/>
                                              </p:val>
                                            </p:tav>
                                          </p:tavLst>
                                        </p:anim>
                                      </p:childTnLst>
                                    </p:cTn>
                                  </p:par>
                                </p:childTnLst>
                              </p:cTn>
                            </p:par>
                            <p:par>
                              <p:cTn id="14" fill="hold">
                                <p:stCondLst>
                                  <p:cond delay="1000"/>
                                </p:stCondLst>
                                <p:childTnLst>
                                  <p:par>
                                    <p:cTn id="15" presetID="2" presetClass="entr" presetSubtype="8" fill="hold" grpId="0" nodeType="afterEffect">
                                      <p:stCondLst>
                                        <p:cond delay="0"/>
                                      </p:stCondLst>
                                      <p:childTnLst>
                                        <p:set>
                                          <p:cBhvr>
                                            <p:cTn id="16" dur="1" fill="hold">
                                              <p:stCondLst>
                                                <p:cond delay="0"/>
                                              </p:stCondLst>
                                            </p:cTn>
                                            <p:tgtEl>
                                              <p:spTgt spid="18"/>
                                            </p:tgtEl>
                                            <p:attrNameLst>
                                              <p:attrName>style.visibility</p:attrName>
                                            </p:attrNameLst>
                                          </p:cBhvr>
                                          <p:to>
                                            <p:strVal val="visible"/>
                                          </p:to>
                                        </p:set>
                                        <p:anim calcmode="lin" valueType="num">
                                          <p:cBhvr additive="base">
                                            <p:cTn id="17" dur="500" fill="hold"/>
                                            <p:tgtEl>
                                              <p:spTgt spid="18"/>
                                            </p:tgtEl>
                                            <p:attrNameLst>
                                              <p:attrName>ppt_x</p:attrName>
                                            </p:attrNameLst>
                                          </p:cBhvr>
                                          <p:tavLst>
                                            <p:tav tm="0">
                                              <p:val>
                                                <p:strVal val="0-#ppt_w/2"/>
                                              </p:val>
                                            </p:tav>
                                            <p:tav tm="100000">
                                              <p:val>
                                                <p:strVal val="#ppt_x"/>
                                              </p:val>
                                            </p:tav>
                                          </p:tavLst>
                                        </p:anim>
                                        <p:anim calcmode="lin" valueType="num">
                                          <p:cBhvr additive="base">
                                            <p:cTn id="18" dur="500" fill="hold"/>
                                            <p:tgtEl>
                                              <p:spTgt spid="18"/>
                                            </p:tgtEl>
                                            <p:attrNameLst>
                                              <p:attrName>ppt_y</p:attrName>
                                            </p:attrNameLst>
                                          </p:cBhvr>
                                          <p:tavLst>
                                            <p:tav tm="0">
                                              <p:val>
                                                <p:strVal val="#ppt_y"/>
                                              </p:val>
                                            </p:tav>
                                            <p:tav tm="100000">
                                              <p:val>
                                                <p:strVal val="#ppt_y"/>
                                              </p:val>
                                            </p:tav>
                                          </p:tavLst>
                                        </p:anim>
                                      </p:childTnLst>
                                    </p:cTn>
                                  </p:par>
                                </p:childTnLst>
                              </p:cTn>
                            </p:par>
                            <p:par>
                              <p:cTn id="19" fill="hold">
                                <p:stCondLst>
                                  <p:cond delay="1500"/>
                                </p:stCondLst>
                                <p:childTnLst>
                                  <p:par>
                                    <p:cTn id="20" presetID="2" presetClass="entr" presetSubtype="8" fill="hold" grpId="0" nodeType="afterEffect">
                                      <p:stCondLst>
                                        <p:cond delay="0"/>
                                      </p:stCondLst>
                                      <p:childTnLst>
                                        <p:set>
                                          <p:cBhvr>
                                            <p:cTn id="21" dur="1" fill="hold">
                                              <p:stCondLst>
                                                <p:cond delay="0"/>
                                              </p:stCondLst>
                                            </p:cTn>
                                            <p:tgtEl>
                                              <p:spTgt spid="17"/>
                                            </p:tgtEl>
                                            <p:attrNameLst>
                                              <p:attrName>style.visibility</p:attrName>
                                            </p:attrNameLst>
                                          </p:cBhvr>
                                          <p:to>
                                            <p:strVal val="visible"/>
                                          </p:to>
                                        </p:set>
                                        <p:anim calcmode="lin" valueType="num">
                                          <p:cBhvr additive="base">
                                            <p:cTn id="22" dur="500" fill="hold"/>
                                            <p:tgtEl>
                                              <p:spTgt spid="17"/>
                                            </p:tgtEl>
                                            <p:attrNameLst>
                                              <p:attrName>ppt_x</p:attrName>
                                            </p:attrNameLst>
                                          </p:cBhvr>
                                          <p:tavLst>
                                            <p:tav tm="0">
                                              <p:val>
                                                <p:strVal val="0-#ppt_w/2"/>
                                              </p:val>
                                            </p:tav>
                                            <p:tav tm="100000">
                                              <p:val>
                                                <p:strVal val="#ppt_x"/>
                                              </p:val>
                                            </p:tav>
                                          </p:tavLst>
                                        </p:anim>
                                        <p:anim calcmode="lin" valueType="num">
                                          <p:cBhvr additive="base">
                                            <p:cTn id="23" dur="500" fill="hold"/>
                                            <p:tgtEl>
                                              <p:spTgt spid="17"/>
                                            </p:tgtEl>
                                            <p:attrNameLst>
                                              <p:attrName>ppt_y</p:attrName>
                                            </p:attrNameLst>
                                          </p:cBhvr>
                                          <p:tavLst>
                                            <p:tav tm="0">
                                              <p:val>
                                                <p:strVal val="#ppt_y"/>
                                              </p:val>
                                            </p:tav>
                                            <p:tav tm="100000">
                                              <p:val>
                                                <p:strVal val="#ppt_y"/>
                                              </p:val>
                                            </p:tav>
                                          </p:tavLst>
                                        </p:anim>
                                      </p:childTnLst>
                                    </p:cTn>
                                  </p:par>
                                </p:childTnLst>
                              </p:cTn>
                            </p:par>
                            <p:par>
                              <p:cTn id="24" fill="hold">
                                <p:stCondLst>
                                  <p:cond delay="2000"/>
                                </p:stCondLst>
                                <p:childTnLst>
                                  <p:par>
                                    <p:cTn id="25" presetID="2" presetClass="entr" presetSubtype="8" fill="hold" grpId="0" nodeType="afterEffect">
                                      <p:stCondLst>
                                        <p:cond delay="0"/>
                                      </p:stCondLst>
                                      <p:childTnLst>
                                        <p:set>
                                          <p:cBhvr>
                                            <p:cTn id="26" dur="1" fill="hold">
                                              <p:stCondLst>
                                                <p:cond delay="0"/>
                                              </p:stCondLst>
                                            </p:cTn>
                                            <p:tgtEl>
                                              <p:spTgt spid="4"/>
                                            </p:tgtEl>
                                            <p:attrNameLst>
                                              <p:attrName>style.visibility</p:attrName>
                                            </p:attrNameLst>
                                          </p:cBhvr>
                                          <p:to>
                                            <p:strVal val="visible"/>
                                          </p:to>
                                        </p:set>
                                        <p:anim calcmode="lin" valueType="num">
                                          <p:cBhvr additive="base">
                                            <p:cTn id="27" dur="500" fill="hold"/>
                                            <p:tgtEl>
                                              <p:spTgt spid="4"/>
                                            </p:tgtEl>
                                            <p:attrNameLst>
                                              <p:attrName>ppt_x</p:attrName>
                                            </p:attrNameLst>
                                          </p:cBhvr>
                                          <p:tavLst>
                                            <p:tav tm="0">
                                              <p:val>
                                                <p:strVal val="0-#ppt_w/2"/>
                                              </p:val>
                                            </p:tav>
                                            <p:tav tm="100000">
                                              <p:val>
                                                <p:strVal val="#ppt_x"/>
                                              </p:val>
                                            </p:tav>
                                          </p:tavLst>
                                        </p:anim>
                                        <p:anim calcmode="lin" valueType="num">
                                          <p:cBhvr additive="base">
                                            <p:cTn id="28" dur="500" fill="hold"/>
                                            <p:tgtEl>
                                              <p:spTgt spid="4"/>
                                            </p:tgtEl>
                                            <p:attrNameLst>
                                              <p:attrName>ppt_y</p:attrName>
                                            </p:attrNameLst>
                                          </p:cBhvr>
                                          <p:tavLst>
                                            <p:tav tm="0">
                                              <p:val>
                                                <p:strVal val="#ppt_y"/>
                                              </p:val>
                                            </p:tav>
                                            <p:tav tm="100000">
                                              <p:val>
                                                <p:strVal val="#ppt_y"/>
                                              </p:val>
                                            </p:tav>
                                          </p:tavLst>
                                        </p:anim>
                                      </p:childTnLst>
                                    </p:cTn>
                                  </p:par>
                                </p:childTnLst>
                              </p:cTn>
                            </p:par>
                            <p:par>
                              <p:cTn id="29" fill="hold">
                                <p:stCondLst>
                                  <p:cond delay="2500"/>
                                </p:stCondLst>
                                <p:childTnLst>
                                  <p:par>
                                    <p:cTn id="30" presetID="22" presetClass="entr" presetSubtype="8" fill="hold" nodeType="afterEffect">
                                      <p:stCondLst>
                                        <p:cond delay="0"/>
                                      </p:stCondLst>
                                      <p:childTnLst>
                                        <p:set>
                                          <p:cBhvr>
                                            <p:cTn id="31" dur="1" fill="hold">
                                              <p:stCondLst>
                                                <p:cond delay="0"/>
                                              </p:stCondLst>
                                            </p:cTn>
                                            <p:tgtEl>
                                              <p:spTgt spid="43"/>
                                            </p:tgtEl>
                                            <p:attrNameLst>
                                              <p:attrName>style.visibility</p:attrName>
                                            </p:attrNameLst>
                                          </p:cBhvr>
                                          <p:to>
                                            <p:strVal val="visible"/>
                                          </p:to>
                                        </p:set>
                                        <p:animEffect transition="in" filter="wipe(left)">
                                          <p:cBhvr>
                                            <p:cTn id="32" dur="500"/>
                                            <p:tgtEl>
                                              <p:spTgt spid="43"/>
                                            </p:tgtEl>
                                          </p:cBhvr>
                                        </p:animEffect>
                                      </p:childTnLst>
                                    </p:cTn>
                                  </p:par>
                                </p:childTnLst>
                              </p:cTn>
                            </p:par>
                            <p:par>
                              <p:cTn id="33" fill="hold">
                                <p:stCondLst>
                                  <p:cond delay="3000"/>
                                </p:stCondLst>
                                <p:childTnLst>
                                  <p:par>
                                    <p:cTn id="34" presetID="22" presetClass="entr" presetSubtype="8" fill="hold" grpId="0" nodeType="afterEffect">
                                      <p:stCondLst>
                                        <p:cond delay="0"/>
                                      </p:stCondLst>
                                      <p:childTnLst>
                                        <p:set>
                                          <p:cBhvr>
                                            <p:cTn id="35" dur="1" fill="hold">
                                              <p:stCondLst>
                                                <p:cond delay="0"/>
                                              </p:stCondLst>
                                            </p:cTn>
                                            <p:tgtEl>
                                              <p:spTgt spid="37"/>
                                            </p:tgtEl>
                                            <p:attrNameLst>
                                              <p:attrName>style.visibility</p:attrName>
                                            </p:attrNameLst>
                                          </p:cBhvr>
                                          <p:to>
                                            <p:strVal val="visible"/>
                                          </p:to>
                                        </p:set>
                                        <p:animEffect transition="in" filter="wipe(left)">
                                          <p:cBhvr>
                                            <p:cTn id="36" dur="500"/>
                                            <p:tgtEl>
                                              <p:spTgt spid="37"/>
                                            </p:tgtEl>
                                          </p:cBhvr>
                                        </p:animEffect>
                                      </p:childTnLst>
                                    </p:cTn>
                                  </p:par>
                                </p:childTnLst>
                              </p:cTn>
                            </p:par>
                            <p:par>
                              <p:cTn id="37" fill="hold">
                                <p:stCondLst>
                                  <p:cond delay="3500"/>
                                </p:stCondLst>
                                <p:childTnLst>
                                  <p:par>
                                    <p:cTn id="38" presetID="22" presetClass="entr" presetSubtype="8" fill="hold" nodeType="afterEffect">
                                      <p:stCondLst>
                                        <p:cond delay="0"/>
                                      </p:stCondLst>
                                      <p:childTnLst>
                                        <p:set>
                                          <p:cBhvr>
                                            <p:cTn id="39" dur="1" fill="hold">
                                              <p:stCondLst>
                                                <p:cond delay="0"/>
                                              </p:stCondLst>
                                            </p:cTn>
                                            <p:tgtEl>
                                              <p:spTgt spid="44"/>
                                            </p:tgtEl>
                                            <p:attrNameLst>
                                              <p:attrName>style.visibility</p:attrName>
                                            </p:attrNameLst>
                                          </p:cBhvr>
                                          <p:to>
                                            <p:strVal val="visible"/>
                                          </p:to>
                                        </p:set>
                                        <p:animEffect transition="in" filter="wipe(left)">
                                          <p:cBhvr>
                                            <p:cTn id="40" dur="500"/>
                                            <p:tgtEl>
                                              <p:spTgt spid="44"/>
                                            </p:tgtEl>
                                          </p:cBhvr>
                                        </p:animEffect>
                                      </p:childTnLst>
                                    </p:cTn>
                                  </p:par>
                                </p:childTnLst>
                              </p:cTn>
                            </p:par>
                            <p:par>
                              <p:cTn id="41" fill="hold">
                                <p:stCondLst>
                                  <p:cond delay="4000"/>
                                </p:stCondLst>
                                <p:childTnLst>
                                  <p:par>
                                    <p:cTn id="42" presetID="22" presetClass="entr" presetSubtype="8" fill="hold" grpId="0" nodeType="afterEffect">
                                      <p:stCondLst>
                                        <p:cond delay="0"/>
                                      </p:stCondLst>
                                      <p:childTnLst>
                                        <p:set>
                                          <p:cBhvr>
                                            <p:cTn id="43" dur="1" fill="hold">
                                              <p:stCondLst>
                                                <p:cond delay="0"/>
                                              </p:stCondLst>
                                            </p:cTn>
                                            <p:tgtEl>
                                              <p:spTgt spid="38"/>
                                            </p:tgtEl>
                                            <p:attrNameLst>
                                              <p:attrName>style.visibility</p:attrName>
                                            </p:attrNameLst>
                                          </p:cBhvr>
                                          <p:to>
                                            <p:strVal val="visible"/>
                                          </p:to>
                                        </p:set>
                                        <p:animEffect transition="in" filter="wipe(left)">
                                          <p:cBhvr>
                                            <p:cTn id="44" dur="500"/>
                                            <p:tgtEl>
                                              <p:spTgt spid="38"/>
                                            </p:tgtEl>
                                          </p:cBhvr>
                                        </p:animEffect>
                                      </p:childTnLst>
                                    </p:cTn>
                                  </p:par>
                                </p:childTnLst>
                              </p:cTn>
                            </p:par>
                            <p:par>
                              <p:cTn id="45" fill="hold">
                                <p:stCondLst>
                                  <p:cond delay="4500"/>
                                </p:stCondLst>
                                <p:childTnLst>
                                  <p:par>
                                    <p:cTn id="46" presetID="22" presetClass="entr" presetSubtype="8" fill="hold" nodeType="afterEffect">
                                      <p:stCondLst>
                                        <p:cond delay="0"/>
                                      </p:stCondLst>
                                      <p:childTnLst>
                                        <p:set>
                                          <p:cBhvr>
                                            <p:cTn id="47" dur="1" fill="hold">
                                              <p:stCondLst>
                                                <p:cond delay="0"/>
                                              </p:stCondLst>
                                            </p:cTn>
                                            <p:tgtEl>
                                              <p:spTgt spid="45"/>
                                            </p:tgtEl>
                                            <p:attrNameLst>
                                              <p:attrName>style.visibility</p:attrName>
                                            </p:attrNameLst>
                                          </p:cBhvr>
                                          <p:to>
                                            <p:strVal val="visible"/>
                                          </p:to>
                                        </p:set>
                                        <p:animEffect transition="in" filter="wipe(left)">
                                          <p:cBhvr>
                                            <p:cTn id="48" dur="500"/>
                                            <p:tgtEl>
                                              <p:spTgt spid="45"/>
                                            </p:tgtEl>
                                          </p:cBhvr>
                                        </p:animEffect>
                                      </p:childTnLst>
                                    </p:cTn>
                                  </p:par>
                                </p:childTnLst>
                              </p:cTn>
                            </p:par>
                            <p:par>
                              <p:cTn id="49" fill="hold">
                                <p:stCondLst>
                                  <p:cond delay="5000"/>
                                </p:stCondLst>
                                <p:childTnLst>
                                  <p:par>
                                    <p:cTn id="50" presetID="22" presetClass="entr" presetSubtype="8" fill="hold" grpId="0" nodeType="afterEffect">
                                      <p:stCondLst>
                                        <p:cond delay="0"/>
                                      </p:stCondLst>
                                      <p:childTnLst>
                                        <p:set>
                                          <p:cBhvr>
                                            <p:cTn id="51" dur="1" fill="hold">
                                              <p:stCondLst>
                                                <p:cond delay="0"/>
                                              </p:stCondLst>
                                            </p:cTn>
                                            <p:tgtEl>
                                              <p:spTgt spid="39"/>
                                            </p:tgtEl>
                                            <p:attrNameLst>
                                              <p:attrName>style.visibility</p:attrName>
                                            </p:attrNameLst>
                                          </p:cBhvr>
                                          <p:to>
                                            <p:strVal val="visible"/>
                                          </p:to>
                                        </p:set>
                                        <p:animEffect transition="in" filter="wipe(left)">
                                          <p:cBhvr>
                                            <p:cTn id="52" dur="500"/>
                                            <p:tgtEl>
                                              <p:spTgt spid="39"/>
                                            </p:tgtEl>
                                          </p:cBhvr>
                                        </p:animEffect>
                                      </p:childTnLst>
                                    </p:cTn>
                                  </p:par>
                                </p:childTnLst>
                              </p:cTn>
                            </p:par>
                            <p:par>
                              <p:cTn id="53" fill="hold">
                                <p:stCondLst>
                                  <p:cond delay="5500"/>
                                </p:stCondLst>
                                <p:childTnLst>
                                  <p:par>
                                    <p:cTn id="54" presetID="22" presetClass="entr" presetSubtype="8" fill="hold" nodeType="afterEffect">
                                      <p:stCondLst>
                                        <p:cond delay="0"/>
                                      </p:stCondLst>
                                      <p:childTnLst>
                                        <p:set>
                                          <p:cBhvr>
                                            <p:cTn id="55" dur="1" fill="hold">
                                              <p:stCondLst>
                                                <p:cond delay="0"/>
                                              </p:stCondLst>
                                            </p:cTn>
                                            <p:tgtEl>
                                              <p:spTgt spid="46"/>
                                            </p:tgtEl>
                                            <p:attrNameLst>
                                              <p:attrName>style.visibility</p:attrName>
                                            </p:attrNameLst>
                                          </p:cBhvr>
                                          <p:to>
                                            <p:strVal val="visible"/>
                                          </p:to>
                                        </p:set>
                                        <p:animEffect transition="in" filter="wipe(left)">
                                          <p:cBhvr>
                                            <p:cTn id="56" dur="500"/>
                                            <p:tgtEl>
                                              <p:spTgt spid="46"/>
                                            </p:tgtEl>
                                          </p:cBhvr>
                                        </p:animEffect>
                                      </p:childTnLst>
                                    </p:cTn>
                                  </p:par>
                                </p:childTnLst>
                              </p:cTn>
                            </p:par>
                            <p:par>
                              <p:cTn id="57" fill="hold">
                                <p:stCondLst>
                                  <p:cond delay="6000"/>
                                </p:stCondLst>
                                <p:childTnLst>
                                  <p:par>
                                    <p:cTn id="58" presetID="22" presetClass="entr" presetSubtype="8" fill="hold" grpId="0" nodeType="afterEffect">
                                      <p:stCondLst>
                                        <p:cond delay="0"/>
                                      </p:stCondLst>
                                      <p:childTnLst>
                                        <p:set>
                                          <p:cBhvr>
                                            <p:cTn id="59" dur="1" fill="hold">
                                              <p:stCondLst>
                                                <p:cond delay="0"/>
                                              </p:stCondLst>
                                            </p:cTn>
                                            <p:tgtEl>
                                              <p:spTgt spid="40"/>
                                            </p:tgtEl>
                                            <p:attrNameLst>
                                              <p:attrName>style.visibility</p:attrName>
                                            </p:attrNameLst>
                                          </p:cBhvr>
                                          <p:to>
                                            <p:strVal val="visible"/>
                                          </p:to>
                                        </p:set>
                                        <p:animEffect transition="in" filter="wipe(left)">
                                          <p:cBhvr>
                                            <p:cTn id="60" dur="500"/>
                                            <p:tgtEl>
                                              <p:spTgt spid="40"/>
                                            </p:tgtEl>
                                          </p:cBhvr>
                                        </p:animEffect>
                                      </p:childTnLst>
                                    </p:cTn>
                                  </p:par>
                                </p:childTnLst>
                              </p:cTn>
                            </p:par>
                            <p:par>
                              <p:cTn id="61" fill="hold">
                                <p:stCondLst>
                                  <p:cond delay="6500"/>
                                </p:stCondLst>
                                <p:childTnLst>
                                  <p:par>
                                    <p:cTn id="62" presetID="22" presetClass="entr" presetSubtype="8" fill="hold" nodeType="afterEffect">
                                      <p:stCondLst>
                                        <p:cond delay="0"/>
                                      </p:stCondLst>
                                      <p:childTnLst>
                                        <p:set>
                                          <p:cBhvr>
                                            <p:cTn id="63" dur="1" fill="hold">
                                              <p:stCondLst>
                                                <p:cond delay="0"/>
                                              </p:stCondLst>
                                            </p:cTn>
                                            <p:tgtEl>
                                              <p:spTgt spid="47"/>
                                            </p:tgtEl>
                                            <p:attrNameLst>
                                              <p:attrName>style.visibility</p:attrName>
                                            </p:attrNameLst>
                                          </p:cBhvr>
                                          <p:to>
                                            <p:strVal val="visible"/>
                                          </p:to>
                                        </p:set>
                                        <p:animEffect transition="in" filter="wipe(left)">
                                          <p:cBhvr>
                                            <p:cTn id="64" dur="500"/>
                                            <p:tgtEl>
                                              <p:spTgt spid="47"/>
                                            </p:tgtEl>
                                          </p:cBhvr>
                                        </p:animEffect>
                                      </p:childTnLst>
                                    </p:cTn>
                                  </p:par>
                                </p:childTnLst>
                              </p:cTn>
                            </p:par>
                            <p:par>
                              <p:cTn id="65" fill="hold">
                                <p:stCondLst>
                                  <p:cond delay="7000"/>
                                </p:stCondLst>
                                <p:childTnLst>
                                  <p:par>
                                    <p:cTn id="66" presetID="22" presetClass="entr" presetSubtype="8" fill="hold" grpId="0" nodeType="afterEffect">
                                      <p:stCondLst>
                                        <p:cond delay="0"/>
                                      </p:stCondLst>
                                      <p:childTnLst>
                                        <p:set>
                                          <p:cBhvr>
                                            <p:cTn id="67" dur="1" fill="hold">
                                              <p:stCondLst>
                                                <p:cond delay="0"/>
                                              </p:stCondLst>
                                            </p:cTn>
                                            <p:tgtEl>
                                              <p:spTgt spid="41"/>
                                            </p:tgtEl>
                                            <p:attrNameLst>
                                              <p:attrName>style.visibility</p:attrName>
                                            </p:attrNameLst>
                                          </p:cBhvr>
                                          <p:to>
                                            <p:strVal val="visible"/>
                                          </p:to>
                                        </p:set>
                                        <p:animEffect transition="in" filter="wipe(left)">
                                          <p:cBhvr>
                                            <p:cTn id="68" dur="500"/>
                                            <p:tgtEl>
                                              <p:spTgt spid="41"/>
                                            </p:tgtEl>
                                          </p:cBhvr>
                                        </p:animEffect>
                                      </p:childTnLst>
                                    </p:cTn>
                                  </p:par>
                                </p:childTnLst>
                              </p:cTn>
                            </p:par>
                            <p:par>
                              <p:cTn id="69" fill="hold">
                                <p:stCondLst>
                                  <p:cond delay="7500"/>
                                </p:stCondLst>
                                <p:childTnLst>
                                  <p:par>
                                    <p:cTn id="70" presetID="53" presetClass="entr" presetSubtype="16" fill="hold" grpId="0" nodeType="afterEffect">
                                      <p:stCondLst>
                                        <p:cond delay="0"/>
                                      </p:stCondLst>
                                      <p:childTnLst>
                                        <p:set>
                                          <p:cBhvr>
                                            <p:cTn id="71" dur="1" fill="hold">
                                              <p:stCondLst>
                                                <p:cond delay="0"/>
                                              </p:stCondLst>
                                            </p:cTn>
                                            <p:tgtEl>
                                              <p:spTgt spid="42"/>
                                            </p:tgtEl>
                                            <p:attrNameLst>
                                              <p:attrName>style.visibility</p:attrName>
                                            </p:attrNameLst>
                                          </p:cBhvr>
                                          <p:to>
                                            <p:strVal val="visible"/>
                                          </p:to>
                                        </p:set>
                                        <p:anim calcmode="lin" valueType="num">
                                          <p:cBhvr>
                                            <p:cTn id="72" dur="500" fill="hold"/>
                                            <p:tgtEl>
                                              <p:spTgt spid="42"/>
                                            </p:tgtEl>
                                            <p:attrNameLst>
                                              <p:attrName>ppt_w</p:attrName>
                                            </p:attrNameLst>
                                          </p:cBhvr>
                                          <p:tavLst>
                                            <p:tav tm="0">
                                              <p:val>
                                                <p:fltVal val="0"/>
                                              </p:val>
                                            </p:tav>
                                            <p:tav tm="100000">
                                              <p:val>
                                                <p:strVal val="#ppt_w"/>
                                              </p:val>
                                            </p:tav>
                                          </p:tavLst>
                                        </p:anim>
                                        <p:anim calcmode="lin" valueType="num">
                                          <p:cBhvr>
                                            <p:cTn id="73" dur="500" fill="hold"/>
                                            <p:tgtEl>
                                              <p:spTgt spid="42"/>
                                            </p:tgtEl>
                                            <p:attrNameLst>
                                              <p:attrName>ppt_h</p:attrName>
                                            </p:attrNameLst>
                                          </p:cBhvr>
                                          <p:tavLst>
                                            <p:tav tm="0">
                                              <p:val>
                                                <p:fltVal val="0"/>
                                              </p:val>
                                            </p:tav>
                                            <p:tav tm="100000">
                                              <p:val>
                                                <p:strVal val="#ppt_h"/>
                                              </p:val>
                                            </p:tav>
                                          </p:tavLst>
                                        </p:anim>
                                        <p:animEffect transition="in" filter="fade">
                                          <p:cBhvr>
                                            <p:cTn id="74" dur="500"/>
                                            <p:tgtEl>
                                              <p:spTgt spid="42"/>
                                            </p:tgtEl>
                                          </p:cBhvr>
                                        </p:animEffect>
                                      </p:childTnLst>
                                    </p:cTn>
                                  </p:par>
                                </p:childTnLst>
                              </p:cTn>
                            </p:par>
                            <p:par>
                              <p:cTn id="75" fill="hold">
                                <p:stCondLst>
                                  <p:cond delay="8000"/>
                                </p:stCondLst>
                                <p:childTnLst>
                                  <p:par>
                                    <p:cTn id="76" presetID="22" presetClass="entr" presetSubtype="4" fill="hold" nodeType="afterEffect">
                                      <p:stCondLst>
                                        <p:cond delay="0"/>
                                      </p:stCondLst>
                                      <p:childTnLst>
                                        <p:set>
                                          <p:cBhvr>
                                            <p:cTn id="77" dur="1" fill="hold">
                                              <p:stCondLst>
                                                <p:cond delay="0"/>
                                              </p:stCondLst>
                                            </p:cTn>
                                            <p:tgtEl>
                                              <p:spTgt spid="5"/>
                                            </p:tgtEl>
                                            <p:attrNameLst>
                                              <p:attrName>style.visibility</p:attrName>
                                            </p:attrNameLst>
                                          </p:cBhvr>
                                          <p:to>
                                            <p:strVal val="visible"/>
                                          </p:to>
                                        </p:set>
                                        <p:animEffect transition="in" filter="wipe(down)">
                                          <p:cBhvr>
                                            <p:cTn id="78" dur="500"/>
                                            <p:tgtEl>
                                              <p:spTgt spid="5"/>
                                            </p:tgtEl>
                                          </p:cBhvr>
                                        </p:animEffect>
                                      </p:childTnLst>
                                    </p:cTn>
                                  </p:par>
                                  <p:par>
                                    <p:cTn id="79" presetID="22" presetClass="entr" presetSubtype="1" fill="hold" nodeType="withEffect">
                                      <p:stCondLst>
                                        <p:cond delay="0"/>
                                      </p:stCondLst>
                                      <p:childTnLst>
                                        <p:set>
                                          <p:cBhvr>
                                            <p:cTn id="80" dur="1" fill="hold">
                                              <p:stCondLst>
                                                <p:cond delay="0"/>
                                              </p:stCondLst>
                                            </p:cTn>
                                            <p:tgtEl>
                                              <p:spTgt spid="6"/>
                                            </p:tgtEl>
                                            <p:attrNameLst>
                                              <p:attrName>style.visibility</p:attrName>
                                            </p:attrNameLst>
                                          </p:cBhvr>
                                          <p:to>
                                            <p:strVal val="visible"/>
                                          </p:to>
                                        </p:set>
                                        <p:animEffect transition="in" filter="wipe(up)">
                                          <p:cBhvr>
                                            <p:cTn id="81" dur="500"/>
                                            <p:tgtEl>
                                              <p:spTgt spid="6"/>
                                            </p:tgtEl>
                                          </p:cBhvr>
                                        </p:animEffect>
                                      </p:childTnLst>
                                    </p:cTn>
                                  </p:par>
                                </p:childTnLst>
                              </p:cTn>
                            </p:par>
                            <p:par>
                              <p:cTn id="82" fill="hold">
                                <p:stCondLst>
                                  <p:cond delay="8500"/>
                                </p:stCondLst>
                                <p:childTnLst>
                                  <p:par>
                                    <p:cTn id="83" presetID="53" presetClass="entr" presetSubtype="16" fill="hold" grpId="0" nodeType="afterEffect">
                                      <p:stCondLst>
                                        <p:cond delay="0"/>
                                      </p:stCondLst>
                                      <p:childTnLst>
                                        <p:set>
                                          <p:cBhvr>
                                            <p:cTn id="84" dur="1" fill="hold">
                                              <p:stCondLst>
                                                <p:cond delay="0"/>
                                              </p:stCondLst>
                                            </p:cTn>
                                            <p:tgtEl>
                                              <p:spTgt spid="16"/>
                                            </p:tgtEl>
                                            <p:attrNameLst>
                                              <p:attrName>style.visibility</p:attrName>
                                            </p:attrNameLst>
                                          </p:cBhvr>
                                          <p:to>
                                            <p:strVal val="visible"/>
                                          </p:to>
                                        </p:set>
                                        <p:anim calcmode="lin" valueType="num">
                                          <p:cBhvr>
                                            <p:cTn id="85" dur="500" fill="hold"/>
                                            <p:tgtEl>
                                              <p:spTgt spid="16"/>
                                            </p:tgtEl>
                                            <p:attrNameLst>
                                              <p:attrName>ppt_w</p:attrName>
                                            </p:attrNameLst>
                                          </p:cBhvr>
                                          <p:tavLst>
                                            <p:tav tm="0">
                                              <p:val>
                                                <p:fltVal val="0"/>
                                              </p:val>
                                            </p:tav>
                                            <p:tav tm="100000">
                                              <p:val>
                                                <p:strVal val="#ppt_w"/>
                                              </p:val>
                                            </p:tav>
                                          </p:tavLst>
                                        </p:anim>
                                        <p:anim calcmode="lin" valueType="num">
                                          <p:cBhvr>
                                            <p:cTn id="86" dur="500" fill="hold"/>
                                            <p:tgtEl>
                                              <p:spTgt spid="16"/>
                                            </p:tgtEl>
                                            <p:attrNameLst>
                                              <p:attrName>ppt_h</p:attrName>
                                            </p:attrNameLst>
                                          </p:cBhvr>
                                          <p:tavLst>
                                            <p:tav tm="0">
                                              <p:val>
                                                <p:fltVal val="0"/>
                                              </p:val>
                                            </p:tav>
                                            <p:tav tm="100000">
                                              <p:val>
                                                <p:strVal val="#ppt_h"/>
                                              </p:val>
                                            </p:tav>
                                          </p:tavLst>
                                        </p:anim>
                                        <p:animEffect transition="in" filter="fade">
                                          <p:cBhvr>
                                            <p:cTn id="87" dur="500"/>
                                            <p:tgtEl>
                                              <p:spTgt spid="16"/>
                                            </p:tgtEl>
                                          </p:cBhvr>
                                        </p:animEffect>
                                      </p:childTnLst>
                                    </p:cTn>
                                  </p:par>
                                  <p:par>
                                    <p:cTn id="88" presetID="53" presetClass="entr" presetSubtype="16" fill="hold" grpId="0" nodeType="withEffect">
                                      <p:stCondLst>
                                        <p:cond delay="0"/>
                                      </p:stCondLst>
                                      <p:childTnLst>
                                        <p:set>
                                          <p:cBhvr>
                                            <p:cTn id="89" dur="1" fill="hold">
                                              <p:stCondLst>
                                                <p:cond delay="0"/>
                                              </p:stCondLst>
                                            </p:cTn>
                                            <p:tgtEl>
                                              <p:spTgt spid="15"/>
                                            </p:tgtEl>
                                            <p:attrNameLst>
                                              <p:attrName>style.visibility</p:attrName>
                                            </p:attrNameLst>
                                          </p:cBhvr>
                                          <p:to>
                                            <p:strVal val="visible"/>
                                          </p:to>
                                        </p:set>
                                        <p:anim calcmode="lin" valueType="num">
                                          <p:cBhvr>
                                            <p:cTn id="90" dur="500" fill="hold"/>
                                            <p:tgtEl>
                                              <p:spTgt spid="15"/>
                                            </p:tgtEl>
                                            <p:attrNameLst>
                                              <p:attrName>ppt_w</p:attrName>
                                            </p:attrNameLst>
                                          </p:cBhvr>
                                          <p:tavLst>
                                            <p:tav tm="0">
                                              <p:val>
                                                <p:fltVal val="0"/>
                                              </p:val>
                                            </p:tav>
                                            <p:tav tm="100000">
                                              <p:val>
                                                <p:strVal val="#ppt_w"/>
                                              </p:val>
                                            </p:tav>
                                          </p:tavLst>
                                        </p:anim>
                                        <p:anim calcmode="lin" valueType="num">
                                          <p:cBhvr>
                                            <p:cTn id="91" dur="500" fill="hold"/>
                                            <p:tgtEl>
                                              <p:spTgt spid="15"/>
                                            </p:tgtEl>
                                            <p:attrNameLst>
                                              <p:attrName>ppt_h</p:attrName>
                                            </p:attrNameLst>
                                          </p:cBhvr>
                                          <p:tavLst>
                                            <p:tav tm="0">
                                              <p:val>
                                                <p:fltVal val="0"/>
                                              </p:val>
                                            </p:tav>
                                            <p:tav tm="100000">
                                              <p:val>
                                                <p:strVal val="#ppt_h"/>
                                              </p:val>
                                            </p:tav>
                                          </p:tavLst>
                                        </p:anim>
                                        <p:animEffect transition="in" filter="fade">
                                          <p:cBhvr>
                                            <p:cTn id="92" dur="500"/>
                                            <p:tgtEl>
                                              <p:spTgt spid="15"/>
                                            </p:tgtEl>
                                          </p:cBhvr>
                                        </p:animEffect>
                                      </p:childTnLst>
                                    </p:cTn>
                                  </p:par>
                                </p:childTnLst>
                              </p:cTn>
                            </p:par>
                            <p:par>
                              <p:cTn id="93" fill="hold">
                                <p:stCondLst>
                                  <p:cond delay="9000"/>
                                </p:stCondLst>
                                <p:childTnLst>
                                  <p:par>
                                    <p:cTn id="94" presetID="53" presetClass="entr" presetSubtype="16" fill="hold" grpId="0" nodeType="afterEffect">
                                      <p:stCondLst>
                                        <p:cond delay="0"/>
                                      </p:stCondLst>
                                      <p:childTnLst>
                                        <p:set>
                                          <p:cBhvr>
                                            <p:cTn id="95" dur="1" fill="hold">
                                              <p:stCondLst>
                                                <p:cond delay="0"/>
                                              </p:stCondLst>
                                            </p:cTn>
                                            <p:tgtEl>
                                              <p:spTgt spid="55"/>
                                            </p:tgtEl>
                                            <p:attrNameLst>
                                              <p:attrName>style.visibility</p:attrName>
                                            </p:attrNameLst>
                                          </p:cBhvr>
                                          <p:to>
                                            <p:strVal val="visible"/>
                                          </p:to>
                                        </p:set>
                                        <p:anim calcmode="lin" valueType="num">
                                          <p:cBhvr>
                                            <p:cTn id="96" dur="500" fill="hold"/>
                                            <p:tgtEl>
                                              <p:spTgt spid="55"/>
                                            </p:tgtEl>
                                            <p:attrNameLst>
                                              <p:attrName>ppt_w</p:attrName>
                                            </p:attrNameLst>
                                          </p:cBhvr>
                                          <p:tavLst>
                                            <p:tav tm="0">
                                              <p:val>
                                                <p:fltVal val="0"/>
                                              </p:val>
                                            </p:tav>
                                            <p:tav tm="100000">
                                              <p:val>
                                                <p:strVal val="#ppt_w"/>
                                              </p:val>
                                            </p:tav>
                                          </p:tavLst>
                                        </p:anim>
                                        <p:anim calcmode="lin" valueType="num">
                                          <p:cBhvr>
                                            <p:cTn id="97" dur="500" fill="hold"/>
                                            <p:tgtEl>
                                              <p:spTgt spid="55"/>
                                            </p:tgtEl>
                                            <p:attrNameLst>
                                              <p:attrName>ppt_h</p:attrName>
                                            </p:attrNameLst>
                                          </p:cBhvr>
                                          <p:tavLst>
                                            <p:tav tm="0">
                                              <p:val>
                                                <p:fltVal val="0"/>
                                              </p:val>
                                            </p:tav>
                                            <p:tav tm="100000">
                                              <p:val>
                                                <p:strVal val="#ppt_h"/>
                                              </p:val>
                                            </p:tav>
                                          </p:tavLst>
                                        </p:anim>
                                        <p:animEffect transition="in" filter="fade">
                                          <p:cBhvr>
                                            <p:cTn id="98" dur="500"/>
                                            <p:tgtEl>
                                              <p:spTgt spid="55"/>
                                            </p:tgtEl>
                                          </p:cBhvr>
                                        </p:animEffect>
                                      </p:childTnLst>
                                    </p:cTn>
                                  </p:par>
                                  <p:par>
                                    <p:cTn id="99" presetID="53" presetClass="entr" presetSubtype="16" fill="hold" grpId="0" nodeType="withEffect">
                                      <p:stCondLst>
                                        <p:cond delay="0"/>
                                      </p:stCondLst>
                                      <p:childTnLst>
                                        <p:set>
                                          <p:cBhvr>
                                            <p:cTn id="100" dur="1" fill="hold">
                                              <p:stCondLst>
                                                <p:cond delay="0"/>
                                              </p:stCondLst>
                                            </p:cTn>
                                            <p:tgtEl>
                                              <p:spTgt spid="54"/>
                                            </p:tgtEl>
                                            <p:attrNameLst>
                                              <p:attrName>style.visibility</p:attrName>
                                            </p:attrNameLst>
                                          </p:cBhvr>
                                          <p:to>
                                            <p:strVal val="visible"/>
                                          </p:to>
                                        </p:set>
                                        <p:anim calcmode="lin" valueType="num">
                                          <p:cBhvr>
                                            <p:cTn id="101" dur="500" fill="hold"/>
                                            <p:tgtEl>
                                              <p:spTgt spid="54"/>
                                            </p:tgtEl>
                                            <p:attrNameLst>
                                              <p:attrName>ppt_w</p:attrName>
                                            </p:attrNameLst>
                                          </p:cBhvr>
                                          <p:tavLst>
                                            <p:tav tm="0">
                                              <p:val>
                                                <p:fltVal val="0"/>
                                              </p:val>
                                            </p:tav>
                                            <p:tav tm="100000">
                                              <p:val>
                                                <p:strVal val="#ppt_w"/>
                                              </p:val>
                                            </p:tav>
                                          </p:tavLst>
                                        </p:anim>
                                        <p:anim calcmode="lin" valueType="num">
                                          <p:cBhvr>
                                            <p:cTn id="102" dur="500" fill="hold"/>
                                            <p:tgtEl>
                                              <p:spTgt spid="54"/>
                                            </p:tgtEl>
                                            <p:attrNameLst>
                                              <p:attrName>ppt_h</p:attrName>
                                            </p:attrNameLst>
                                          </p:cBhvr>
                                          <p:tavLst>
                                            <p:tav tm="0">
                                              <p:val>
                                                <p:fltVal val="0"/>
                                              </p:val>
                                            </p:tav>
                                            <p:tav tm="100000">
                                              <p:val>
                                                <p:strVal val="#ppt_h"/>
                                              </p:val>
                                            </p:tav>
                                          </p:tavLst>
                                        </p:anim>
                                        <p:animEffect transition="in" filter="fade">
                                          <p:cBhvr>
                                            <p:cTn id="103" dur="500"/>
                                            <p:tgtEl>
                                              <p:spTgt spid="54"/>
                                            </p:tgtEl>
                                          </p:cBhvr>
                                        </p:animEffect>
                                      </p:childTnLst>
                                    </p:cTn>
                                  </p:par>
                                </p:childTnLst>
                              </p:cTn>
                            </p:par>
                            <p:par>
                              <p:cTn id="104" fill="hold">
                                <p:stCondLst>
                                  <p:cond delay="9500"/>
                                </p:stCondLst>
                                <p:childTnLst>
                                  <p:par>
                                    <p:cTn id="105" presetID="10" presetClass="entr" presetSubtype="0" fill="hold" grpId="0" nodeType="afterEffect">
                                      <p:stCondLst>
                                        <p:cond delay="0"/>
                                      </p:stCondLst>
                                      <p:childTnLst>
                                        <p:set>
                                          <p:cBhvr>
                                            <p:cTn id="106" dur="1" fill="hold">
                                              <p:stCondLst>
                                                <p:cond delay="0"/>
                                              </p:stCondLst>
                                            </p:cTn>
                                            <p:tgtEl>
                                              <p:spTgt spid="27"/>
                                            </p:tgtEl>
                                            <p:attrNameLst>
                                              <p:attrName>style.visibility</p:attrName>
                                            </p:attrNameLst>
                                          </p:cBhvr>
                                          <p:to>
                                            <p:strVal val="visible"/>
                                          </p:to>
                                        </p:set>
                                        <p:animEffect transition="in" filter="fade">
                                          <p:cBhvr>
                                            <p:cTn id="107" dur="500"/>
                                            <p:tgtEl>
                                              <p:spTgt spid="27"/>
                                            </p:tgtEl>
                                          </p:cBhvr>
                                        </p:animEffect>
                                      </p:childTnLst>
                                    </p:cTn>
                                  </p:par>
                                  <p:par>
                                    <p:cTn id="108" presetID="10" presetClass="entr" presetSubtype="0" fill="hold" grpId="0" nodeType="withEffect">
                                      <p:stCondLst>
                                        <p:cond delay="0"/>
                                      </p:stCondLst>
                                      <p:childTnLst>
                                        <p:set>
                                          <p:cBhvr>
                                            <p:cTn id="109" dur="1" fill="hold">
                                              <p:stCondLst>
                                                <p:cond delay="0"/>
                                              </p:stCondLst>
                                            </p:cTn>
                                            <p:tgtEl>
                                              <p:spTgt spid="28"/>
                                            </p:tgtEl>
                                            <p:attrNameLst>
                                              <p:attrName>style.visibility</p:attrName>
                                            </p:attrNameLst>
                                          </p:cBhvr>
                                          <p:to>
                                            <p:strVal val="visible"/>
                                          </p:to>
                                        </p:set>
                                        <p:animEffect transition="in" filter="fade">
                                          <p:cBhvr>
                                            <p:cTn id="110" dur="500"/>
                                            <p:tgtEl>
                                              <p:spTgt spid="28"/>
                                            </p:tgtEl>
                                          </p:cBhvr>
                                        </p:animEffect>
                                      </p:childTnLst>
                                    </p:cTn>
                                  </p:par>
                                </p:childTnLst>
                              </p:cTn>
                            </p:par>
                            <p:par>
                              <p:cTn id="111" fill="hold">
                                <p:stCondLst>
                                  <p:cond delay="10000"/>
                                </p:stCondLst>
                                <p:childTnLst>
                                  <p:par>
                                    <p:cTn id="112" presetID="22" presetClass="entr" presetSubtype="4" fill="hold" nodeType="afterEffect">
                                      <p:stCondLst>
                                        <p:cond delay="0"/>
                                      </p:stCondLst>
                                      <p:childTnLst>
                                        <p:set>
                                          <p:cBhvr>
                                            <p:cTn id="113" dur="1" fill="hold">
                                              <p:stCondLst>
                                                <p:cond delay="0"/>
                                              </p:stCondLst>
                                            </p:cTn>
                                            <p:tgtEl>
                                              <p:spTgt spid="7"/>
                                            </p:tgtEl>
                                            <p:attrNameLst>
                                              <p:attrName>style.visibility</p:attrName>
                                            </p:attrNameLst>
                                          </p:cBhvr>
                                          <p:to>
                                            <p:strVal val="visible"/>
                                          </p:to>
                                        </p:set>
                                        <p:animEffect transition="in" filter="wipe(down)">
                                          <p:cBhvr>
                                            <p:cTn id="114" dur="500"/>
                                            <p:tgtEl>
                                              <p:spTgt spid="7"/>
                                            </p:tgtEl>
                                          </p:cBhvr>
                                        </p:animEffect>
                                      </p:childTnLst>
                                    </p:cTn>
                                  </p:par>
                                  <p:par>
                                    <p:cTn id="115" presetID="22" presetClass="entr" presetSubtype="1" fill="hold" nodeType="withEffect">
                                      <p:stCondLst>
                                        <p:cond delay="0"/>
                                      </p:stCondLst>
                                      <p:childTnLst>
                                        <p:set>
                                          <p:cBhvr>
                                            <p:cTn id="116" dur="1" fill="hold">
                                              <p:stCondLst>
                                                <p:cond delay="0"/>
                                              </p:stCondLst>
                                            </p:cTn>
                                            <p:tgtEl>
                                              <p:spTgt spid="8"/>
                                            </p:tgtEl>
                                            <p:attrNameLst>
                                              <p:attrName>style.visibility</p:attrName>
                                            </p:attrNameLst>
                                          </p:cBhvr>
                                          <p:to>
                                            <p:strVal val="visible"/>
                                          </p:to>
                                        </p:set>
                                        <p:animEffect transition="in" filter="wipe(up)">
                                          <p:cBhvr>
                                            <p:cTn id="117" dur="500"/>
                                            <p:tgtEl>
                                              <p:spTgt spid="8"/>
                                            </p:tgtEl>
                                          </p:cBhvr>
                                        </p:animEffect>
                                      </p:childTnLst>
                                    </p:cTn>
                                  </p:par>
                                </p:childTnLst>
                              </p:cTn>
                            </p:par>
                            <p:par>
                              <p:cTn id="118" fill="hold">
                                <p:stCondLst>
                                  <p:cond delay="10500"/>
                                </p:stCondLst>
                                <p:childTnLst>
                                  <p:par>
                                    <p:cTn id="119" presetID="53" presetClass="entr" presetSubtype="16" fill="hold" grpId="0" nodeType="afterEffect">
                                      <p:stCondLst>
                                        <p:cond delay="0"/>
                                      </p:stCondLst>
                                      <p:childTnLst>
                                        <p:set>
                                          <p:cBhvr>
                                            <p:cTn id="120" dur="1" fill="hold">
                                              <p:stCondLst>
                                                <p:cond delay="0"/>
                                              </p:stCondLst>
                                            </p:cTn>
                                            <p:tgtEl>
                                              <p:spTgt spid="20"/>
                                            </p:tgtEl>
                                            <p:attrNameLst>
                                              <p:attrName>style.visibility</p:attrName>
                                            </p:attrNameLst>
                                          </p:cBhvr>
                                          <p:to>
                                            <p:strVal val="visible"/>
                                          </p:to>
                                        </p:set>
                                        <p:anim calcmode="lin" valueType="num">
                                          <p:cBhvr>
                                            <p:cTn id="121" dur="500" fill="hold"/>
                                            <p:tgtEl>
                                              <p:spTgt spid="20"/>
                                            </p:tgtEl>
                                            <p:attrNameLst>
                                              <p:attrName>ppt_w</p:attrName>
                                            </p:attrNameLst>
                                          </p:cBhvr>
                                          <p:tavLst>
                                            <p:tav tm="0">
                                              <p:val>
                                                <p:fltVal val="0"/>
                                              </p:val>
                                            </p:tav>
                                            <p:tav tm="100000">
                                              <p:val>
                                                <p:strVal val="#ppt_w"/>
                                              </p:val>
                                            </p:tav>
                                          </p:tavLst>
                                        </p:anim>
                                        <p:anim calcmode="lin" valueType="num">
                                          <p:cBhvr>
                                            <p:cTn id="122" dur="500" fill="hold"/>
                                            <p:tgtEl>
                                              <p:spTgt spid="20"/>
                                            </p:tgtEl>
                                            <p:attrNameLst>
                                              <p:attrName>ppt_h</p:attrName>
                                            </p:attrNameLst>
                                          </p:cBhvr>
                                          <p:tavLst>
                                            <p:tav tm="0">
                                              <p:val>
                                                <p:fltVal val="0"/>
                                              </p:val>
                                            </p:tav>
                                            <p:tav tm="100000">
                                              <p:val>
                                                <p:strVal val="#ppt_h"/>
                                              </p:val>
                                            </p:tav>
                                          </p:tavLst>
                                        </p:anim>
                                        <p:animEffect transition="in" filter="fade">
                                          <p:cBhvr>
                                            <p:cTn id="123" dur="500"/>
                                            <p:tgtEl>
                                              <p:spTgt spid="20"/>
                                            </p:tgtEl>
                                          </p:cBhvr>
                                        </p:animEffect>
                                      </p:childTnLst>
                                    </p:cTn>
                                  </p:par>
                                  <p:par>
                                    <p:cTn id="124" presetID="53" presetClass="entr" presetSubtype="16" fill="hold" grpId="0" nodeType="withEffect">
                                      <p:stCondLst>
                                        <p:cond delay="0"/>
                                      </p:stCondLst>
                                      <p:childTnLst>
                                        <p:set>
                                          <p:cBhvr>
                                            <p:cTn id="125" dur="1" fill="hold">
                                              <p:stCondLst>
                                                <p:cond delay="0"/>
                                              </p:stCondLst>
                                            </p:cTn>
                                            <p:tgtEl>
                                              <p:spTgt spid="19"/>
                                            </p:tgtEl>
                                            <p:attrNameLst>
                                              <p:attrName>style.visibility</p:attrName>
                                            </p:attrNameLst>
                                          </p:cBhvr>
                                          <p:to>
                                            <p:strVal val="visible"/>
                                          </p:to>
                                        </p:set>
                                        <p:anim calcmode="lin" valueType="num">
                                          <p:cBhvr>
                                            <p:cTn id="126" dur="500" fill="hold"/>
                                            <p:tgtEl>
                                              <p:spTgt spid="19"/>
                                            </p:tgtEl>
                                            <p:attrNameLst>
                                              <p:attrName>ppt_w</p:attrName>
                                            </p:attrNameLst>
                                          </p:cBhvr>
                                          <p:tavLst>
                                            <p:tav tm="0">
                                              <p:val>
                                                <p:fltVal val="0"/>
                                              </p:val>
                                            </p:tav>
                                            <p:tav tm="100000">
                                              <p:val>
                                                <p:strVal val="#ppt_w"/>
                                              </p:val>
                                            </p:tav>
                                          </p:tavLst>
                                        </p:anim>
                                        <p:anim calcmode="lin" valueType="num">
                                          <p:cBhvr>
                                            <p:cTn id="127" dur="500" fill="hold"/>
                                            <p:tgtEl>
                                              <p:spTgt spid="19"/>
                                            </p:tgtEl>
                                            <p:attrNameLst>
                                              <p:attrName>ppt_h</p:attrName>
                                            </p:attrNameLst>
                                          </p:cBhvr>
                                          <p:tavLst>
                                            <p:tav tm="0">
                                              <p:val>
                                                <p:fltVal val="0"/>
                                              </p:val>
                                            </p:tav>
                                            <p:tav tm="100000">
                                              <p:val>
                                                <p:strVal val="#ppt_h"/>
                                              </p:val>
                                            </p:tav>
                                          </p:tavLst>
                                        </p:anim>
                                        <p:animEffect transition="in" filter="fade">
                                          <p:cBhvr>
                                            <p:cTn id="128" dur="500"/>
                                            <p:tgtEl>
                                              <p:spTgt spid="19"/>
                                            </p:tgtEl>
                                          </p:cBhvr>
                                        </p:animEffect>
                                      </p:childTnLst>
                                    </p:cTn>
                                  </p:par>
                                </p:childTnLst>
                              </p:cTn>
                            </p:par>
                            <p:par>
                              <p:cTn id="129" fill="hold">
                                <p:stCondLst>
                                  <p:cond delay="11000"/>
                                </p:stCondLst>
                                <p:childTnLst>
                                  <p:par>
                                    <p:cTn id="130" presetID="53" presetClass="entr" presetSubtype="16" fill="hold" grpId="0" nodeType="afterEffect">
                                      <p:stCondLst>
                                        <p:cond delay="0"/>
                                      </p:stCondLst>
                                      <p:childTnLst>
                                        <p:set>
                                          <p:cBhvr>
                                            <p:cTn id="131" dur="1" fill="hold">
                                              <p:stCondLst>
                                                <p:cond delay="0"/>
                                              </p:stCondLst>
                                            </p:cTn>
                                            <p:tgtEl>
                                              <p:spTgt spid="53"/>
                                            </p:tgtEl>
                                            <p:attrNameLst>
                                              <p:attrName>style.visibility</p:attrName>
                                            </p:attrNameLst>
                                          </p:cBhvr>
                                          <p:to>
                                            <p:strVal val="visible"/>
                                          </p:to>
                                        </p:set>
                                        <p:anim calcmode="lin" valueType="num">
                                          <p:cBhvr>
                                            <p:cTn id="132" dur="500" fill="hold"/>
                                            <p:tgtEl>
                                              <p:spTgt spid="53"/>
                                            </p:tgtEl>
                                            <p:attrNameLst>
                                              <p:attrName>ppt_w</p:attrName>
                                            </p:attrNameLst>
                                          </p:cBhvr>
                                          <p:tavLst>
                                            <p:tav tm="0">
                                              <p:val>
                                                <p:fltVal val="0"/>
                                              </p:val>
                                            </p:tav>
                                            <p:tav tm="100000">
                                              <p:val>
                                                <p:strVal val="#ppt_w"/>
                                              </p:val>
                                            </p:tav>
                                          </p:tavLst>
                                        </p:anim>
                                        <p:anim calcmode="lin" valueType="num">
                                          <p:cBhvr>
                                            <p:cTn id="133" dur="500" fill="hold"/>
                                            <p:tgtEl>
                                              <p:spTgt spid="53"/>
                                            </p:tgtEl>
                                            <p:attrNameLst>
                                              <p:attrName>ppt_h</p:attrName>
                                            </p:attrNameLst>
                                          </p:cBhvr>
                                          <p:tavLst>
                                            <p:tav tm="0">
                                              <p:val>
                                                <p:fltVal val="0"/>
                                              </p:val>
                                            </p:tav>
                                            <p:tav tm="100000">
                                              <p:val>
                                                <p:strVal val="#ppt_h"/>
                                              </p:val>
                                            </p:tav>
                                          </p:tavLst>
                                        </p:anim>
                                        <p:animEffect transition="in" filter="fade">
                                          <p:cBhvr>
                                            <p:cTn id="134" dur="500"/>
                                            <p:tgtEl>
                                              <p:spTgt spid="53"/>
                                            </p:tgtEl>
                                          </p:cBhvr>
                                        </p:animEffect>
                                      </p:childTnLst>
                                    </p:cTn>
                                  </p:par>
                                  <p:par>
                                    <p:cTn id="135" presetID="53" presetClass="entr" presetSubtype="16" fill="hold" grpId="0" nodeType="withEffect">
                                      <p:stCondLst>
                                        <p:cond delay="0"/>
                                      </p:stCondLst>
                                      <p:childTnLst>
                                        <p:set>
                                          <p:cBhvr>
                                            <p:cTn id="136" dur="1" fill="hold">
                                              <p:stCondLst>
                                                <p:cond delay="0"/>
                                              </p:stCondLst>
                                            </p:cTn>
                                            <p:tgtEl>
                                              <p:spTgt spid="52"/>
                                            </p:tgtEl>
                                            <p:attrNameLst>
                                              <p:attrName>style.visibility</p:attrName>
                                            </p:attrNameLst>
                                          </p:cBhvr>
                                          <p:to>
                                            <p:strVal val="visible"/>
                                          </p:to>
                                        </p:set>
                                        <p:anim calcmode="lin" valueType="num">
                                          <p:cBhvr>
                                            <p:cTn id="137" dur="500" fill="hold"/>
                                            <p:tgtEl>
                                              <p:spTgt spid="52"/>
                                            </p:tgtEl>
                                            <p:attrNameLst>
                                              <p:attrName>ppt_w</p:attrName>
                                            </p:attrNameLst>
                                          </p:cBhvr>
                                          <p:tavLst>
                                            <p:tav tm="0">
                                              <p:val>
                                                <p:fltVal val="0"/>
                                              </p:val>
                                            </p:tav>
                                            <p:tav tm="100000">
                                              <p:val>
                                                <p:strVal val="#ppt_w"/>
                                              </p:val>
                                            </p:tav>
                                          </p:tavLst>
                                        </p:anim>
                                        <p:anim calcmode="lin" valueType="num">
                                          <p:cBhvr>
                                            <p:cTn id="138" dur="500" fill="hold"/>
                                            <p:tgtEl>
                                              <p:spTgt spid="52"/>
                                            </p:tgtEl>
                                            <p:attrNameLst>
                                              <p:attrName>ppt_h</p:attrName>
                                            </p:attrNameLst>
                                          </p:cBhvr>
                                          <p:tavLst>
                                            <p:tav tm="0">
                                              <p:val>
                                                <p:fltVal val="0"/>
                                              </p:val>
                                            </p:tav>
                                            <p:tav tm="100000">
                                              <p:val>
                                                <p:strVal val="#ppt_h"/>
                                              </p:val>
                                            </p:tav>
                                          </p:tavLst>
                                        </p:anim>
                                        <p:animEffect transition="in" filter="fade">
                                          <p:cBhvr>
                                            <p:cTn id="139" dur="500"/>
                                            <p:tgtEl>
                                              <p:spTgt spid="52"/>
                                            </p:tgtEl>
                                          </p:cBhvr>
                                        </p:animEffect>
                                      </p:childTnLst>
                                    </p:cTn>
                                  </p:par>
                                </p:childTnLst>
                              </p:cTn>
                            </p:par>
                            <p:par>
                              <p:cTn id="140" fill="hold">
                                <p:stCondLst>
                                  <p:cond delay="11500"/>
                                </p:stCondLst>
                                <p:childTnLst>
                                  <p:par>
                                    <p:cTn id="141" presetID="10" presetClass="entr" presetSubtype="0" fill="hold" grpId="0" nodeType="afterEffect">
                                      <p:stCondLst>
                                        <p:cond delay="0"/>
                                      </p:stCondLst>
                                      <p:childTnLst>
                                        <p:set>
                                          <p:cBhvr>
                                            <p:cTn id="142" dur="1" fill="hold">
                                              <p:stCondLst>
                                                <p:cond delay="0"/>
                                              </p:stCondLst>
                                            </p:cTn>
                                            <p:tgtEl>
                                              <p:spTgt spid="29"/>
                                            </p:tgtEl>
                                            <p:attrNameLst>
                                              <p:attrName>style.visibility</p:attrName>
                                            </p:attrNameLst>
                                          </p:cBhvr>
                                          <p:to>
                                            <p:strVal val="visible"/>
                                          </p:to>
                                        </p:set>
                                        <p:animEffect transition="in" filter="fade">
                                          <p:cBhvr>
                                            <p:cTn id="143" dur="500"/>
                                            <p:tgtEl>
                                              <p:spTgt spid="29"/>
                                            </p:tgtEl>
                                          </p:cBhvr>
                                        </p:animEffect>
                                      </p:childTnLst>
                                    </p:cTn>
                                  </p:par>
                                  <p:par>
                                    <p:cTn id="144" presetID="10" presetClass="entr" presetSubtype="0" fill="hold" grpId="0" nodeType="withEffect">
                                      <p:stCondLst>
                                        <p:cond delay="0"/>
                                      </p:stCondLst>
                                      <p:childTnLst>
                                        <p:set>
                                          <p:cBhvr>
                                            <p:cTn id="145" dur="1" fill="hold">
                                              <p:stCondLst>
                                                <p:cond delay="0"/>
                                              </p:stCondLst>
                                            </p:cTn>
                                            <p:tgtEl>
                                              <p:spTgt spid="30"/>
                                            </p:tgtEl>
                                            <p:attrNameLst>
                                              <p:attrName>style.visibility</p:attrName>
                                            </p:attrNameLst>
                                          </p:cBhvr>
                                          <p:to>
                                            <p:strVal val="visible"/>
                                          </p:to>
                                        </p:set>
                                        <p:animEffect transition="in" filter="fade">
                                          <p:cBhvr>
                                            <p:cTn id="146" dur="500"/>
                                            <p:tgtEl>
                                              <p:spTgt spid="30"/>
                                            </p:tgtEl>
                                          </p:cBhvr>
                                        </p:animEffect>
                                      </p:childTnLst>
                                    </p:cTn>
                                  </p:par>
                                </p:childTnLst>
                              </p:cTn>
                            </p:par>
                            <p:par>
                              <p:cTn id="147" fill="hold">
                                <p:stCondLst>
                                  <p:cond delay="12000"/>
                                </p:stCondLst>
                                <p:childTnLst>
                                  <p:par>
                                    <p:cTn id="148" presetID="22" presetClass="entr" presetSubtype="4" fill="hold" nodeType="afterEffect">
                                      <p:stCondLst>
                                        <p:cond delay="0"/>
                                      </p:stCondLst>
                                      <p:childTnLst>
                                        <p:set>
                                          <p:cBhvr>
                                            <p:cTn id="149" dur="1" fill="hold">
                                              <p:stCondLst>
                                                <p:cond delay="0"/>
                                              </p:stCondLst>
                                            </p:cTn>
                                            <p:tgtEl>
                                              <p:spTgt spid="9"/>
                                            </p:tgtEl>
                                            <p:attrNameLst>
                                              <p:attrName>style.visibility</p:attrName>
                                            </p:attrNameLst>
                                          </p:cBhvr>
                                          <p:to>
                                            <p:strVal val="visible"/>
                                          </p:to>
                                        </p:set>
                                        <p:animEffect transition="in" filter="wipe(down)">
                                          <p:cBhvr>
                                            <p:cTn id="150" dur="500"/>
                                            <p:tgtEl>
                                              <p:spTgt spid="9"/>
                                            </p:tgtEl>
                                          </p:cBhvr>
                                        </p:animEffect>
                                      </p:childTnLst>
                                    </p:cTn>
                                  </p:par>
                                  <p:par>
                                    <p:cTn id="151" presetID="22" presetClass="entr" presetSubtype="1" fill="hold" nodeType="withEffect">
                                      <p:stCondLst>
                                        <p:cond delay="0"/>
                                      </p:stCondLst>
                                      <p:childTnLst>
                                        <p:set>
                                          <p:cBhvr>
                                            <p:cTn id="152" dur="1" fill="hold">
                                              <p:stCondLst>
                                                <p:cond delay="0"/>
                                              </p:stCondLst>
                                            </p:cTn>
                                            <p:tgtEl>
                                              <p:spTgt spid="10"/>
                                            </p:tgtEl>
                                            <p:attrNameLst>
                                              <p:attrName>style.visibility</p:attrName>
                                            </p:attrNameLst>
                                          </p:cBhvr>
                                          <p:to>
                                            <p:strVal val="visible"/>
                                          </p:to>
                                        </p:set>
                                        <p:animEffect transition="in" filter="wipe(up)">
                                          <p:cBhvr>
                                            <p:cTn id="153" dur="500"/>
                                            <p:tgtEl>
                                              <p:spTgt spid="10"/>
                                            </p:tgtEl>
                                          </p:cBhvr>
                                        </p:animEffect>
                                      </p:childTnLst>
                                    </p:cTn>
                                  </p:par>
                                </p:childTnLst>
                              </p:cTn>
                            </p:par>
                            <p:par>
                              <p:cTn id="154" fill="hold">
                                <p:stCondLst>
                                  <p:cond delay="12500"/>
                                </p:stCondLst>
                                <p:childTnLst>
                                  <p:par>
                                    <p:cTn id="155" presetID="53" presetClass="entr" presetSubtype="16" fill="hold" grpId="0" nodeType="afterEffect">
                                      <p:stCondLst>
                                        <p:cond delay="0"/>
                                      </p:stCondLst>
                                      <p:childTnLst>
                                        <p:set>
                                          <p:cBhvr>
                                            <p:cTn id="156" dur="1" fill="hold">
                                              <p:stCondLst>
                                                <p:cond delay="0"/>
                                              </p:stCondLst>
                                            </p:cTn>
                                            <p:tgtEl>
                                              <p:spTgt spid="22"/>
                                            </p:tgtEl>
                                            <p:attrNameLst>
                                              <p:attrName>style.visibility</p:attrName>
                                            </p:attrNameLst>
                                          </p:cBhvr>
                                          <p:to>
                                            <p:strVal val="visible"/>
                                          </p:to>
                                        </p:set>
                                        <p:anim calcmode="lin" valueType="num">
                                          <p:cBhvr>
                                            <p:cTn id="157" dur="500" fill="hold"/>
                                            <p:tgtEl>
                                              <p:spTgt spid="22"/>
                                            </p:tgtEl>
                                            <p:attrNameLst>
                                              <p:attrName>ppt_w</p:attrName>
                                            </p:attrNameLst>
                                          </p:cBhvr>
                                          <p:tavLst>
                                            <p:tav tm="0">
                                              <p:val>
                                                <p:fltVal val="0"/>
                                              </p:val>
                                            </p:tav>
                                            <p:tav tm="100000">
                                              <p:val>
                                                <p:strVal val="#ppt_w"/>
                                              </p:val>
                                            </p:tav>
                                          </p:tavLst>
                                        </p:anim>
                                        <p:anim calcmode="lin" valueType="num">
                                          <p:cBhvr>
                                            <p:cTn id="158" dur="500" fill="hold"/>
                                            <p:tgtEl>
                                              <p:spTgt spid="22"/>
                                            </p:tgtEl>
                                            <p:attrNameLst>
                                              <p:attrName>ppt_h</p:attrName>
                                            </p:attrNameLst>
                                          </p:cBhvr>
                                          <p:tavLst>
                                            <p:tav tm="0">
                                              <p:val>
                                                <p:fltVal val="0"/>
                                              </p:val>
                                            </p:tav>
                                            <p:tav tm="100000">
                                              <p:val>
                                                <p:strVal val="#ppt_h"/>
                                              </p:val>
                                            </p:tav>
                                          </p:tavLst>
                                        </p:anim>
                                        <p:animEffect transition="in" filter="fade">
                                          <p:cBhvr>
                                            <p:cTn id="159" dur="500"/>
                                            <p:tgtEl>
                                              <p:spTgt spid="22"/>
                                            </p:tgtEl>
                                          </p:cBhvr>
                                        </p:animEffect>
                                      </p:childTnLst>
                                    </p:cTn>
                                  </p:par>
                                  <p:par>
                                    <p:cTn id="160" presetID="53" presetClass="entr" presetSubtype="16" fill="hold" grpId="0" nodeType="withEffect">
                                      <p:stCondLst>
                                        <p:cond delay="0"/>
                                      </p:stCondLst>
                                      <p:childTnLst>
                                        <p:set>
                                          <p:cBhvr>
                                            <p:cTn id="161" dur="1" fill="hold">
                                              <p:stCondLst>
                                                <p:cond delay="0"/>
                                              </p:stCondLst>
                                            </p:cTn>
                                            <p:tgtEl>
                                              <p:spTgt spid="21"/>
                                            </p:tgtEl>
                                            <p:attrNameLst>
                                              <p:attrName>style.visibility</p:attrName>
                                            </p:attrNameLst>
                                          </p:cBhvr>
                                          <p:to>
                                            <p:strVal val="visible"/>
                                          </p:to>
                                        </p:set>
                                        <p:anim calcmode="lin" valueType="num">
                                          <p:cBhvr>
                                            <p:cTn id="162" dur="500" fill="hold"/>
                                            <p:tgtEl>
                                              <p:spTgt spid="21"/>
                                            </p:tgtEl>
                                            <p:attrNameLst>
                                              <p:attrName>ppt_w</p:attrName>
                                            </p:attrNameLst>
                                          </p:cBhvr>
                                          <p:tavLst>
                                            <p:tav tm="0">
                                              <p:val>
                                                <p:fltVal val="0"/>
                                              </p:val>
                                            </p:tav>
                                            <p:tav tm="100000">
                                              <p:val>
                                                <p:strVal val="#ppt_w"/>
                                              </p:val>
                                            </p:tav>
                                          </p:tavLst>
                                        </p:anim>
                                        <p:anim calcmode="lin" valueType="num">
                                          <p:cBhvr>
                                            <p:cTn id="163" dur="500" fill="hold"/>
                                            <p:tgtEl>
                                              <p:spTgt spid="21"/>
                                            </p:tgtEl>
                                            <p:attrNameLst>
                                              <p:attrName>ppt_h</p:attrName>
                                            </p:attrNameLst>
                                          </p:cBhvr>
                                          <p:tavLst>
                                            <p:tav tm="0">
                                              <p:val>
                                                <p:fltVal val="0"/>
                                              </p:val>
                                            </p:tav>
                                            <p:tav tm="100000">
                                              <p:val>
                                                <p:strVal val="#ppt_h"/>
                                              </p:val>
                                            </p:tav>
                                          </p:tavLst>
                                        </p:anim>
                                        <p:animEffect transition="in" filter="fade">
                                          <p:cBhvr>
                                            <p:cTn id="164" dur="500"/>
                                            <p:tgtEl>
                                              <p:spTgt spid="21"/>
                                            </p:tgtEl>
                                          </p:cBhvr>
                                        </p:animEffect>
                                      </p:childTnLst>
                                    </p:cTn>
                                  </p:par>
                                </p:childTnLst>
                              </p:cTn>
                            </p:par>
                            <p:par>
                              <p:cTn id="165" fill="hold">
                                <p:stCondLst>
                                  <p:cond delay="13000"/>
                                </p:stCondLst>
                                <p:childTnLst>
                                  <p:par>
                                    <p:cTn id="166" presetID="53" presetClass="entr" presetSubtype="16" fill="hold" grpId="0" nodeType="afterEffect">
                                      <p:stCondLst>
                                        <p:cond delay="0"/>
                                      </p:stCondLst>
                                      <p:childTnLst>
                                        <p:set>
                                          <p:cBhvr>
                                            <p:cTn id="167" dur="1" fill="hold">
                                              <p:stCondLst>
                                                <p:cond delay="0"/>
                                              </p:stCondLst>
                                            </p:cTn>
                                            <p:tgtEl>
                                              <p:spTgt spid="50"/>
                                            </p:tgtEl>
                                            <p:attrNameLst>
                                              <p:attrName>style.visibility</p:attrName>
                                            </p:attrNameLst>
                                          </p:cBhvr>
                                          <p:to>
                                            <p:strVal val="visible"/>
                                          </p:to>
                                        </p:set>
                                        <p:anim calcmode="lin" valueType="num">
                                          <p:cBhvr>
                                            <p:cTn id="168" dur="500" fill="hold"/>
                                            <p:tgtEl>
                                              <p:spTgt spid="50"/>
                                            </p:tgtEl>
                                            <p:attrNameLst>
                                              <p:attrName>ppt_w</p:attrName>
                                            </p:attrNameLst>
                                          </p:cBhvr>
                                          <p:tavLst>
                                            <p:tav tm="0">
                                              <p:val>
                                                <p:fltVal val="0"/>
                                              </p:val>
                                            </p:tav>
                                            <p:tav tm="100000">
                                              <p:val>
                                                <p:strVal val="#ppt_w"/>
                                              </p:val>
                                            </p:tav>
                                          </p:tavLst>
                                        </p:anim>
                                        <p:anim calcmode="lin" valueType="num">
                                          <p:cBhvr>
                                            <p:cTn id="169" dur="500" fill="hold"/>
                                            <p:tgtEl>
                                              <p:spTgt spid="50"/>
                                            </p:tgtEl>
                                            <p:attrNameLst>
                                              <p:attrName>ppt_h</p:attrName>
                                            </p:attrNameLst>
                                          </p:cBhvr>
                                          <p:tavLst>
                                            <p:tav tm="0">
                                              <p:val>
                                                <p:fltVal val="0"/>
                                              </p:val>
                                            </p:tav>
                                            <p:tav tm="100000">
                                              <p:val>
                                                <p:strVal val="#ppt_h"/>
                                              </p:val>
                                            </p:tav>
                                          </p:tavLst>
                                        </p:anim>
                                        <p:animEffect transition="in" filter="fade">
                                          <p:cBhvr>
                                            <p:cTn id="170" dur="500"/>
                                            <p:tgtEl>
                                              <p:spTgt spid="50"/>
                                            </p:tgtEl>
                                          </p:cBhvr>
                                        </p:animEffect>
                                      </p:childTnLst>
                                    </p:cTn>
                                  </p:par>
                                  <p:par>
                                    <p:cTn id="171" presetID="53" presetClass="entr" presetSubtype="16" fill="hold" grpId="0" nodeType="withEffect">
                                      <p:stCondLst>
                                        <p:cond delay="0"/>
                                      </p:stCondLst>
                                      <p:childTnLst>
                                        <p:set>
                                          <p:cBhvr>
                                            <p:cTn id="172" dur="1" fill="hold">
                                              <p:stCondLst>
                                                <p:cond delay="0"/>
                                              </p:stCondLst>
                                            </p:cTn>
                                            <p:tgtEl>
                                              <p:spTgt spid="51"/>
                                            </p:tgtEl>
                                            <p:attrNameLst>
                                              <p:attrName>style.visibility</p:attrName>
                                            </p:attrNameLst>
                                          </p:cBhvr>
                                          <p:to>
                                            <p:strVal val="visible"/>
                                          </p:to>
                                        </p:set>
                                        <p:anim calcmode="lin" valueType="num">
                                          <p:cBhvr>
                                            <p:cTn id="173" dur="500" fill="hold"/>
                                            <p:tgtEl>
                                              <p:spTgt spid="51"/>
                                            </p:tgtEl>
                                            <p:attrNameLst>
                                              <p:attrName>ppt_w</p:attrName>
                                            </p:attrNameLst>
                                          </p:cBhvr>
                                          <p:tavLst>
                                            <p:tav tm="0">
                                              <p:val>
                                                <p:fltVal val="0"/>
                                              </p:val>
                                            </p:tav>
                                            <p:tav tm="100000">
                                              <p:val>
                                                <p:strVal val="#ppt_w"/>
                                              </p:val>
                                            </p:tav>
                                          </p:tavLst>
                                        </p:anim>
                                        <p:anim calcmode="lin" valueType="num">
                                          <p:cBhvr>
                                            <p:cTn id="174" dur="500" fill="hold"/>
                                            <p:tgtEl>
                                              <p:spTgt spid="51"/>
                                            </p:tgtEl>
                                            <p:attrNameLst>
                                              <p:attrName>ppt_h</p:attrName>
                                            </p:attrNameLst>
                                          </p:cBhvr>
                                          <p:tavLst>
                                            <p:tav tm="0">
                                              <p:val>
                                                <p:fltVal val="0"/>
                                              </p:val>
                                            </p:tav>
                                            <p:tav tm="100000">
                                              <p:val>
                                                <p:strVal val="#ppt_h"/>
                                              </p:val>
                                            </p:tav>
                                          </p:tavLst>
                                        </p:anim>
                                        <p:animEffect transition="in" filter="fade">
                                          <p:cBhvr>
                                            <p:cTn id="175" dur="500"/>
                                            <p:tgtEl>
                                              <p:spTgt spid="51"/>
                                            </p:tgtEl>
                                          </p:cBhvr>
                                        </p:animEffect>
                                      </p:childTnLst>
                                    </p:cTn>
                                  </p:par>
                                </p:childTnLst>
                              </p:cTn>
                            </p:par>
                            <p:par>
                              <p:cTn id="176" fill="hold">
                                <p:stCondLst>
                                  <p:cond delay="13500"/>
                                </p:stCondLst>
                                <p:childTnLst>
                                  <p:par>
                                    <p:cTn id="177" presetID="10" presetClass="entr" presetSubtype="0" fill="hold" grpId="0" nodeType="afterEffect">
                                      <p:stCondLst>
                                        <p:cond delay="0"/>
                                      </p:stCondLst>
                                      <p:childTnLst>
                                        <p:set>
                                          <p:cBhvr>
                                            <p:cTn id="178" dur="1" fill="hold">
                                              <p:stCondLst>
                                                <p:cond delay="0"/>
                                              </p:stCondLst>
                                            </p:cTn>
                                            <p:tgtEl>
                                              <p:spTgt spid="31"/>
                                            </p:tgtEl>
                                            <p:attrNameLst>
                                              <p:attrName>style.visibility</p:attrName>
                                            </p:attrNameLst>
                                          </p:cBhvr>
                                          <p:to>
                                            <p:strVal val="visible"/>
                                          </p:to>
                                        </p:set>
                                        <p:animEffect transition="in" filter="fade">
                                          <p:cBhvr>
                                            <p:cTn id="179" dur="500"/>
                                            <p:tgtEl>
                                              <p:spTgt spid="31"/>
                                            </p:tgtEl>
                                          </p:cBhvr>
                                        </p:animEffect>
                                      </p:childTnLst>
                                    </p:cTn>
                                  </p:par>
                                  <p:par>
                                    <p:cTn id="180" presetID="10" presetClass="entr" presetSubtype="0" fill="hold" grpId="0" nodeType="withEffect">
                                      <p:stCondLst>
                                        <p:cond delay="0"/>
                                      </p:stCondLst>
                                      <p:childTnLst>
                                        <p:set>
                                          <p:cBhvr>
                                            <p:cTn id="181" dur="1" fill="hold">
                                              <p:stCondLst>
                                                <p:cond delay="0"/>
                                              </p:stCondLst>
                                            </p:cTn>
                                            <p:tgtEl>
                                              <p:spTgt spid="32"/>
                                            </p:tgtEl>
                                            <p:attrNameLst>
                                              <p:attrName>style.visibility</p:attrName>
                                            </p:attrNameLst>
                                          </p:cBhvr>
                                          <p:to>
                                            <p:strVal val="visible"/>
                                          </p:to>
                                        </p:set>
                                        <p:animEffect transition="in" filter="fade">
                                          <p:cBhvr>
                                            <p:cTn id="182" dur="500"/>
                                            <p:tgtEl>
                                              <p:spTgt spid="32"/>
                                            </p:tgtEl>
                                          </p:cBhvr>
                                        </p:animEffect>
                                      </p:childTnLst>
                                    </p:cTn>
                                  </p:par>
                                </p:childTnLst>
                              </p:cTn>
                            </p:par>
                            <p:par>
                              <p:cTn id="183" fill="hold">
                                <p:stCondLst>
                                  <p:cond delay="14000"/>
                                </p:stCondLst>
                                <p:childTnLst>
                                  <p:par>
                                    <p:cTn id="184" presetID="22" presetClass="entr" presetSubtype="4" fill="hold" nodeType="afterEffect">
                                      <p:stCondLst>
                                        <p:cond delay="0"/>
                                      </p:stCondLst>
                                      <p:childTnLst>
                                        <p:set>
                                          <p:cBhvr>
                                            <p:cTn id="185" dur="1" fill="hold">
                                              <p:stCondLst>
                                                <p:cond delay="0"/>
                                              </p:stCondLst>
                                            </p:cTn>
                                            <p:tgtEl>
                                              <p:spTgt spid="11"/>
                                            </p:tgtEl>
                                            <p:attrNameLst>
                                              <p:attrName>style.visibility</p:attrName>
                                            </p:attrNameLst>
                                          </p:cBhvr>
                                          <p:to>
                                            <p:strVal val="visible"/>
                                          </p:to>
                                        </p:set>
                                        <p:animEffect transition="in" filter="wipe(down)">
                                          <p:cBhvr>
                                            <p:cTn id="186" dur="500"/>
                                            <p:tgtEl>
                                              <p:spTgt spid="11"/>
                                            </p:tgtEl>
                                          </p:cBhvr>
                                        </p:animEffect>
                                      </p:childTnLst>
                                    </p:cTn>
                                  </p:par>
                                  <p:par>
                                    <p:cTn id="187" presetID="22" presetClass="entr" presetSubtype="1" fill="hold" nodeType="withEffect">
                                      <p:stCondLst>
                                        <p:cond delay="0"/>
                                      </p:stCondLst>
                                      <p:childTnLst>
                                        <p:set>
                                          <p:cBhvr>
                                            <p:cTn id="188" dur="1" fill="hold">
                                              <p:stCondLst>
                                                <p:cond delay="0"/>
                                              </p:stCondLst>
                                            </p:cTn>
                                            <p:tgtEl>
                                              <p:spTgt spid="12"/>
                                            </p:tgtEl>
                                            <p:attrNameLst>
                                              <p:attrName>style.visibility</p:attrName>
                                            </p:attrNameLst>
                                          </p:cBhvr>
                                          <p:to>
                                            <p:strVal val="visible"/>
                                          </p:to>
                                        </p:set>
                                        <p:animEffect transition="in" filter="wipe(up)">
                                          <p:cBhvr>
                                            <p:cTn id="189" dur="500"/>
                                            <p:tgtEl>
                                              <p:spTgt spid="12"/>
                                            </p:tgtEl>
                                          </p:cBhvr>
                                        </p:animEffect>
                                      </p:childTnLst>
                                    </p:cTn>
                                  </p:par>
                                </p:childTnLst>
                              </p:cTn>
                            </p:par>
                            <p:par>
                              <p:cTn id="190" fill="hold">
                                <p:stCondLst>
                                  <p:cond delay="14500"/>
                                </p:stCondLst>
                                <p:childTnLst>
                                  <p:par>
                                    <p:cTn id="191" presetID="53" presetClass="entr" presetSubtype="16" fill="hold" grpId="0" nodeType="afterEffect">
                                      <p:stCondLst>
                                        <p:cond delay="0"/>
                                      </p:stCondLst>
                                      <p:childTnLst>
                                        <p:set>
                                          <p:cBhvr>
                                            <p:cTn id="192" dur="1" fill="hold">
                                              <p:stCondLst>
                                                <p:cond delay="0"/>
                                              </p:stCondLst>
                                            </p:cTn>
                                            <p:tgtEl>
                                              <p:spTgt spid="24"/>
                                            </p:tgtEl>
                                            <p:attrNameLst>
                                              <p:attrName>style.visibility</p:attrName>
                                            </p:attrNameLst>
                                          </p:cBhvr>
                                          <p:to>
                                            <p:strVal val="visible"/>
                                          </p:to>
                                        </p:set>
                                        <p:anim calcmode="lin" valueType="num">
                                          <p:cBhvr>
                                            <p:cTn id="193" dur="500" fill="hold"/>
                                            <p:tgtEl>
                                              <p:spTgt spid="24"/>
                                            </p:tgtEl>
                                            <p:attrNameLst>
                                              <p:attrName>ppt_w</p:attrName>
                                            </p:attrNameLst>
                                          </p:cBhvr>
                                          <p:tavLst>
                                            <p:tav tm="0">
                                              <p:val>
                                                <p:fltVal val="0"/>
                                              </p:val>
                                            </p:tav>
                                            <p:tav tm="100000">
                                              <p:val>
                                                <p:strVal val="#ppt_w"/>
                                              </p:val>
                                            </p:tav>
                                          </p:tavLst>
                                        </p:anim>
                                        <p:anim calcmode="lin" valueType="num">
                                          <p:cBhvr>
                                            <p:cTn id="194" dur="500" fill="hold"/>
                                            <p:tgtEl>
                                              <p:spTgt spid="24"/>
                                            </p:tgtEl>
                                            <p:attrNameLst>
                                              <p:attrName>ppt_h</p:attrName>
                                            </p:attrNameLst>
                                          </p:cBhvr>
                                          <p:tavLst>
                                            <p:tav tm="0">
                                              <p:val>
                                                <p:fltVal val="0"/>
                                              </p:val>
                                            </p:tav>
                                            <p:tav tm="100000">
                                              <p:val>
                                                <p:strVal val="#ppt_h"/>
                                              </p:val>
                                            </p:tav>
                                          </p:tavLst>
                                        </p:anim>
                                        <p:animEffect transition="in" filter="fade">
                                          <p:cBhvr>
                                            <p:cTn id="195" dur="500"/>
                                            <p:tgtEl>
                                              <p:spTgt spid="24"/>
                                            </p:tgtEl>
                                          </p:cBhvr>
                                        </p:animEffect>
                                      </p:childTnLst>
                                    </p:cTn>
                                  </p:par>
                                  <p:par>
                                    <p:cTn id="196" presetID="53" presetClass="entr" presetSubtype="16" fill="hold" grpId="0" nodeType="withEffect">
                                      <p:stCondLst>
                                        <p:cond delay="0"/>
                                      </p:stCondLst>
                                      <p:childTnLst>
                                        <p:set>
                                          <p:cBhvr>
                                            <p:cTn id="197" dur="1" fill="hold">
                                              <p:stCondLst>
                                                <p:cond delay="0"/>
                                              </p:stCondLst>
                                            </p:cTn>
                                            <p:tgtEl>
                                              <p:spTgt spid="23"/>
                                            </p:tgtEl>
                                            <p:attrNameLst>
                                              <p:attrName>style.visibility</p:attrName>
                                            </p:attrNameLst>
                                          </p:cBhvr>
                                          <p:to>
                                            <p:strVal val="visible"/>
                                          </p:to>
                                        </p:set>
                                        <p:anim calcmode="lin" valueType="num">
                                          <p:cBhvr>
                                            <p:cTn id="198" dur="500" fill="hold"/>
                                            <p:tgtEl>
                                              <p:spTgt spid="23"/>
                                            </p:tgtEl>
                                            <p:attrNameLst>
                                              <p:attrName>ppt_w</p:attrName>
                                            </p:attrNameLst>
                                          </p:cBhvr>
                                          <p:tavLst>
                                            <p:tav tm="0">
                                              <p:val>
                                                <p:fltVal val="0"/>
                                              </p:val>
                                            </p:tav>
                                            <p:tav tm="100000">
                                              <p:val>
                                                <p:strVal val="#ppt_w"/>
                                              </p:val>
                                            </p:tav>
                                          </p:tavLst>
                                        </p:anim>
                                        <p:anim calcmode="lin" valueType="num">
                                          <p:cBhvr>
                                            <p:cTn id="199" dur="500" fill="hold"/>
                                            <p:tgtEl>
                                              <p:spTgt spid="23"/>
                                            </p:tgtEl>
                                            <p:attrNameLst>
                                              <p:attrName>ppt_h</p:attrName>
                                            </p:attrNameLst>
                                          </p:cBhvr>
                                          <p:tavLst>
                                            <p:tav tm="0">
                                              <p:val>
                                                <p:fltVal val="0"/>
                                              </p:val>
                                            </p:tav>
                                            <p:tav tm="100000">
                                              <p:val>
                                                <p:strVal val="#ppt_h"/>
                                              </p:val>
                                            </p:tav>
                                          </p:tavLst>
                                        </p:anim>
                                        <p:animEffect transition="in" filter="fade">
                                          <p:cBhvr>
                                            <p:cTn id="200" dur="500"/>
                                            <p:tgtEl>
                                              <p:spTgt spid="23"/>
                                            </p:tgtEl>
                                          </p:cBhvr>
                                        </p:animEffect>
                                      </p:childTnLst>
                                    </p:cTn>
                                  </p:par>
                                </p:childTnLst>
                              </p:cTn>
                            </p:par>
                            <p:par>
                              <p:cTn id="201" fill="hold">
                                <p:stCondLst>
                                  <p:cond delay="15000"/>
                                </p:stCondLst>
                                <p:childTnLst>
                                  <p:par>
                                    <p:cTn id="202" presetID="53" presetClass="entr" presetSubtype="16" fill="hold" grpId="0" nodeType="afterEffect">
                                      <p:stCondLst>
                                        <p:cond delay="0"/>
                                      </p:stCondLst>
                                      <p:childTnLst>
                                        <p:set>
                                          <p:cBhvr>
                                            <p:cTn id="203" dur="1" fill="hold">
                                              <p:stCondLst>
                                                <p:cond delay="0"/>
                                              </p:stCondLst>
                                            </p:cTn>
                                            <p:tgtEl>
                                              <p:spTgt spid="48"/>
                                            </p:tgtEl>
                                            <p:attrNameLst>
                                              <p:attrName>style.visibility</p:attrName>
                                            </p:attrNameLst>
                                          </p:cBhvr>
                                          <p:to>
                                            <p:strVal val="visible"/>
                                          </p:to>
                                        </p:set>
                                        <p:anim calcmode="lin" valueType="num">
                                          <p:cBhvr>
                                            <p:cTn id="204" dur="500" fill="hold"/>
                                            <p:tgtEl>
                                              <p:spTgt spid="48"/>
                                            </p:tgtEl>
                                            <p:attrNameLst>
                                              <p:attrName>ppt_w</p:attrName>
                                            </p:attrNameLst>
                                          </p:cBhvr>
                                          <p:tavLst>
                                            <p:tav tm="0">
                                              <p:val>
                                                <p:fltVal val="0"/>
                                              </p:val>
                                            </p:tav>
                                            <p:tav tm="100000">
                                              <p:val>
                                                <p:strVal val="#ppt_w"/>
                                              </p:val>
                                            </p:tav>
                                          </p:tavLst>
                                        </p:anim>
                                        <p:anim calcmode="lin" valueType="num">
                                          <p:cBhvr>
                                            <p:cTn id="205" dur="500" fill="hold"/>
                                            <p:tgtEl>
                                              <p:spTgt spid="48"/>
                                            </p:tgtEl>
                                            <p:attrNameLst>
                                              <p:attrName>ppt_h</p:attrName>
                                            </p:attrNameLst>
                                          </p:cBhvr>
                                          <p:tavLst>
                                            <p:tav tm="0">
                                              <p:val>
                                                <p:fltVal val="0"/>
                                              </p:val>
                                            </p:tav>
                                            <p:tav tm="100000">
                                              <p:val>
                                                <p:strVal val="#ppt_h"/>
                                              </p:val>
                                            </p:tav>
                                          </p:tavLst>
                                        </p:anim>
                                        <p:animEffect transition="in" filter="fade">
                                          <p:cBhvr>
                                            <p:cTn id="206" dur="500"/>
                                            <p:tgtEl>
                                              <p:spTgt spid="48"/>
                                            </p:tgtEl>
                                          </p:cBhvr>
                                        </p:animEffect>
                                      </p:childTnLst>
                                    </p:cTn>
                                  </p:par>
                                  <p:par>
                                    <p:cTn id="207" presetID="53" presetClass="entr" presetSubtype="16" fill="hold" grpId="0" nodeType="withEffect">
                                      <p:stCondLst>
                                        <p:cond delay="0"/>
                                      </p:stCondLst>
                                      <p:childTnLst>
                                        <p:set>
                                          <p:cBhvr>
                                            <p:cTn id="208" dur="1" fill="hold">
                                              <p:stCondLst>
                                                <p:cond delay="0"/>
                                              </p:stCondLst>
                                            </p:cTn>
                                            <p:tgtEl>
                                              <p:spTgt spid="49"/>
                                            </p:tgtEl>
                                            <p:attrNameLst>
                                              <p:attrName>style.visibility</p:attrName>
                                            </p:attrNameLst>
                                          </p:cBhvr>
                                          <p:to>
                                            <p:strVal val="visible"/>
                                          </p:to>
                                        </p:set>
                                        <p:anim calcmode="lin" valueType="num">
                                          <p:cBhvr>
                                            <p:cTn id="209" dur="500" fill="hold"/>
                                            <p:tgtEl>
                                              <p:spTgt spid="49"/>
                                            </p:tgtEl>
                                            <p:attrNameLst>
                                              <p:attrName>ppt_w</p:attrName>
                                            </p:attrNameLst>
                                          </p:cBhvr>
                                          <p:tavLst>
                                            <p:tav tm="0">
                                              <p:val>
                                                <p:fltVal val="0"/>
                                              </p:val>
                                            </p:tav>
                                            <p:tav tm="100000">
                                              <p:val>
                                                <p:strVal val="#ppt_w"/>
                                              </p:val>
                                            </p:tav>
                                          </p:tavLst>
                                        </p:anim>
                                        <p:anim calcmode="lin" valueType="num">
                                          <p:cBhvr>
                                            <p:cTn id="210" dur="500" fill="hold"/>
                                            <p:tgtEl>
                                              <p:spTgt spid="49"/>
                                            </p:tgtEl>
                                            <p:attrNameLst>
                                              <p:attrName>ppt_h</p:attrName>
                                            </p:attrNameLst>
                                          </p:cBhvr>
                                          <p:tavLst>
                                            <p:tav tm="0">
                                              <p:val>
                                                <p:fltVal val="0"/>
                                              </p:val>
                                            </p:tav>
                                            <p:tav tm="100000">
                                              <p:val>
                                                <p:strVal val="#ppt_h"/>
                                              </p:val>
                                            </p:tav>
                                          </p:tavLst>
                                        </p:anim>
                                        <p:animEffect transition="in" filter="fade">
                                          <p:cBhvr>
                                            <p:cTn id="211" dur="500"/>
                                            <p:tgtEl>
                                              <p:spTgt spid="49"/>
                                            </p:tgtEl>
                                          </p:cBhvr>
                                        </p:animEffect>
                                      </p:childTnLst>
                                    </p:cTn>
                                  </p:par>
                                </p:childTnLst>
                              </p:cTn>
                            </p:par>
                            <p:par>
                              <p:cTn id="212" fill="hold">
                                <p:stCondLst>
                                  <p:cond delay="15500"/>
                                </p:stCondLst>
                                <p:childTnLst>
                                  <p:par>
                                    <p:cTn id="213" presetID="10" presetClass="entr" presetSubtype="0" fill="hold" grpId="0" nodeType="afterEffect">
                                      <p:stCondLst>
                                        <p:cond delay="0"/>
                                      </p:stCondLst>
                                      <p:childTnLst>
                                        <p:set>
                                          <p:cBhvr>
                                            <p:cTn id="214" dur="1" fill="hold">
                                              <p:stCondLst>
                                                <p:cond delay="0"/>
                                              </p:stCondLst>
                                            </p:cTn>
                                            <p:tgtEl>
                                              <p:spTgt spid="33"/>
                                            </p:tgtEl>
                                            <p:attrNameLst>
                                              <p:attrName>style.visibility</p:attrName>
                                            </p:attrNameLst>
                                          </p:cBhvr>
                                          <p:to>
                                            <p:strVal val="visible"/>
                                          </p:to>
                                        </p:set>
                                        <p:animEffect transition="in" filter="fade">
                                          <p:cBhvr>
                                            <p:cTn id="215" dur="500"/>
                                            <p:tgtEl>
                                              <p:spTgt spid="33"/>
                                            </p:tgtEl>
                                          </p:cBhvr>
                                        </p:animEffect>
                                      </p:childTnLst>
                                    </p:cTn>
                                  </p:par>
                                  <p:par>
                                    <p:cTn id="216" presetID="10" presetClass="entr" presetSubtype="0" fill="hold" grpId="0" nodeType="withEffect">
                                      <p:stCondLst>
                                        <p:cond delay="0"/>
                                      </p:stCondLst>
                                      <p:childTnLst>
                                        <p:set>
                                          <p:cBhvr>
                                            <p:cTn id="217" dur="1" fill="hold">
                                              <p:stCondLst>
                                                <p:cond delay="0"/>
                                              </p:stCondLst>
                                            </p:cTn>
                                            <p:tgtEl>
                                              <p:spTgt spid="34"/>
                                            </p:tgtEl>
                                            <p:attrNameLst>
                                              <p:attrName>style.visibility</p:attrName>
                                            </p:attrNameLst>
                                          </p:cBhvr>
                                          <p:to>
                                            <p:strVal val="visible"/>
                                          </p:to>
                                        </p:set>
                                        <p:animEffect transition="in" filter="fade">
                                          <p:cBhvr>
                                            <p:cTn id="218" dur="500"/>
                                            <p:tgtEl>
                                              <p:spTgt spid="34"/>
                                            </p:tgtEl>
                                          </p:cBhvr>
                                        </p:animEffect>
                                      </p:childTnLst>
                                    </p:cTn>
                                  </p:par>
                                </p:childTnLst>
                              </p:cTn>
                            </p:par>
                            <p:par>
                              <p:cTn id="219" fill="hold">
                                <p:stCondLst>
                                  <p:cond delay="16000"/>
                                </p:stCondLst>
                                <p:childTnLst>
                                  <p:par>
                                    <p:cTn id="220" presetID="22" presetClass="entr" presetSubtype="4" fill="hold" nodeType="afterEffect">
                                      <p:stCondLst>
                                        <p:cond delay="0"/>
                                      </p:stCondLst>
                                      <p:childTnLst>
                                        <p:set>
                                          <p:cBhvr>
                                            <p:cTn id="221" dur="1" fill="hold">
                                              <p:stCondLst>
                                                <p:cond delay="0"/>
                                              </p:stCondLst>
                                            </p:cTn>
                                            <p:tgtEl>
                                              <p:spTgt spid="13"/>
                                            </p:tgtEl>
                                            <p:attrNameLst>
                                              <p:attrName>style.visibility</p:attrName>
                                            </p:attrNameLst>
                                          </p:cBhvr>
                                          <p:to>
                                            <p:strVal val="visible"/>
                                          </p:to>
                                        </p:set>
                                        <p:animEffect transition="in" filter="wipe(down)">
                                          <p:cBhvr>
                                            <p:cTn id="222" dur="500"/>
                                            <p:tgtEl>
                                              <p:spTgt spid="13"/>
                                            </p:tgtEl>
                                          </p:cBhvr>
                                        </p:animEffect>
                                      </p:childTnLst>
                                    </p:cTn>
                                  </p:par>
                                  <p:par>
                                    <p:cTn id="223" presetID="22" presetClass="entr" presetSubtype="1" fill="hold" nodeType="withEffect">
                                      <p:stCondLst>
                                        <p:cond delay="0"/>
                                      </p:stCondLst>
                                      <p:childTnLst>
                                        <p:set>
                                          <p:cBhvr>
                                            <p:cTn id="224" dur="1" fill="hold">
                                              <p:stCondLst>
                                                <p:cond delay="0"/>
                                              </p:stCondLst>
                                            </p:cTn>
                                            <p:tgtEl>
                                              <p:spTgt spid="14"/>
                                            </p:tgtEl>
                                            <p:attrNameLst>
                                              <p:attrName>style.visibility</p:attrName>
                                            </p:attrNameLst>
                                          </p:cBhvr>
                                          <p:to>
                                            <p:strVal val="visible"/>
                                          </p:to>
                                        </p:set>
                                        <p:animEffect transition="in" filter="wipe(up)">
                                          <p:cBhvr>
                                            <p:cTn id="225" dur="500"/>
                                            <p:tgtEl>
                                              <p:spTgt spid="14"/>
                                            </p:tgtEl>
                                          </p:cBhvr>
                                        </p:animEffect>
                                      </p:childTnLst>
                                    </p:cTn>
                                  </p:par>
                                </p:childTnLst>
                              </p:cTn>
                            </p:par>
                            <p:par>
                              <p:cTn id="226" fill="hold">
                                <p:stCondLst>
                                  <p:cond delay="16500"/>
                                </p:stCondLst>
                                <p:childTnLst>
                                  <p:par>
                                    <p:cTn id="227" presetID="53" presetClass="entr" presetSubtype="16" fill="hold" grpId="0" nodeType="afterEffect">
                                      <p:stCondLst>
                                        <p:cond delay="0"/>
                                      </p:stCondLst>
                                      <p:childTnLst>
                                        <p:set>
                                          <p:cBhvr>
                                            <p:cTn id="228" dur="1" fill="hold">
                                              <p:stCondLst>
                                                <p:cond delay="0"/>
                                              </p:stCondLst>
                                            </p:cTn>
                                            <p:tgtEl>
                                              <p:spTgt spid="26"/>
                                            </p:tgtEl>
                                            <p:attrNameLst>
                                              <p:attrName>style.visibility</p:attrName>
                                            </p:attrNameLst>
                                          </p:cBhvr>
                                          <p:to>
                                            <p:strVal val="visible"/>
                                          </p:to>
                                        </p:set>
                                        <p:anim calcmode="lin" valueType="num">
                                          <p:cBhvr>
                                            <p:cTn id="229" dur="500" fill="hold"/>
                                            <p:tgtEl>
                                              <p:spTgt spid="26"/>
                                            </p:tgtEl>
                                            <p:attrNameLst>
                                              <p:attrName>ppt_w</p:attrName>
                                            </p:attrNameLst>
                                          </p:cBhvr>
                                          <p:tavLst>
                                            <p:tav tm="0">
                                              <p:val>
                                                <p:fltVal val="0"/>
                                              </p:val>
                                            </p:tav>
                                            <p:tav tm="100000">
                                              <p:val>
                                                <p:strVal val="#ppt_w"/>
                                              </p:val>
                                            </p:tav>
                                          </p:tavLst>
                                        </p:anim>
                                        <p:anim calcmode="lin" valueType="num">
                                          <p:cBhvr>
                                            <p:cTn id="230" dur="500" fill="hold"/>
                                            <p:tgtEl>
                                              <p:spTgt spid="26"/>
                                            </p:tgtEl>
                                            <p:attrNameLst>
                                              <p:attrName>ppt_h</p:attrName>
                                            </p:attrNameLst>
                                          </p:cBhvr>
                                          <p:tavLst>
                                            <p:tav tm="0">
                                              <p:val>
                                                <p:fltVal val="0"/>
                                              </p:val>
                                            </p:tav>
                                            <p:tav tm="100000">
                                              <p:val>
                                                <p:strVal val="#ppt_h"/>
                                              </p:val>
                                            </p:tav>
                                          </p:tavLst>
                                        </p:anim>
                                        <p:animEffect transition="in" filter="fade">
                                          <p:cBhvr>
                                            <p:cTn id="231" dur="500"/>
                                            <p:tgtEl>
                                              <p:spTgt spid="26"/>
                                            </p:tgtEl>
                                          </p:cBhvr>
                                        </p:animEffect>
                                      </p:childTnLst>
                                    </p:cTn>
                                  </p:par>
                                  <p:par>
                                    <p:cTn id="232" presetID="53" presetClass="entr" presetSubtype="16" fill="hold" grpId="0" nodeType="withEffect">
                                      <p:stCondLst>
                                        <p:cond delay="0"/>
                                      </p:stCondLst>
                                      <p:childTnLst>
                                        <p:set>
                                          <p:cBhvr>
                                            <p:cTn id="233" dur="1" fill="hold">
                                              <p:stCondLst>
                                                <p:cond delay="0"/>
                                              </p:stCondLst>
                                            </p:cTn>
                                            <p:tgtEl>
                                              <p:spTgt spid="25"/>
                                            </p:tgtEl>
                                            <p:attrNameLst>
                                              <p:attrName>style.visibility</p:attrName>
                                            </p:attrNameLst>
                                          </p:cBhvr>
                                          <p:to>
                                            <p:strVal val="visible"/>
                                          </p:to>
                                        </p:set>
                                        <p:anim calcmode="lin" valueType="num">
                                          <p:cBhvr>
                                            <p:cTn id="234" dur="500" fill="hold"/>
                                            <p:tgtEl>
                                              <p:spTgt spid="25"/>
                                            </p:tgtEl>
                                            <p:attrNameLst>
                                              <p:attrName>ppt_w</p:attrName>
                                            </p:attrNameLst>
                                          </p:cBhvr>
                                          <p:tavLst>
                                            <p:tav tm="0">
                                              <p:val>
                                                <p:fltVal val="0"/>
                                              </p:val>
                                            </p:tav>
                                            <p:tav tm="100000">
                                              <p:val>
                                                <p:strVal val="#ppt_w"/>
                                              </p:val>
                                            </p:tav>
                                          </p:tavLst>
                                        </p:anim>
                                        <p:anim calcmode="lin" valueType="num">
                                          <p:cBhvr>
                                            <p:cTn id="235" dur="500" fill="hold"/>
                                            <p:tgtEl>
                                              <p:spTgt spid="25"/>
                                            </p:tgtEl>
                                            <p:attrNameLst>
                                              <p:attrName>ppt_h</p:attrName>
                                            </p:attrNameLst>
                                          </p:cBhvr>
                                          <p:tavLst>
                                            <p:tav tm="0">
                                              <p:val>
                                                <p:fltVal val="0"/>
                                              </p:val>
                                            </p:tav>
                                            <p:tav tm="100000">
                                              <p:val>
                                                <p:strVal val="#ppt_h"/>
                                              </p:val>
                                            </p:tav>
                                          </p:tavLst>
                                        </p:anim>
                                        <p:animEffect transition="in" filter="fade">
                                          <p:cBhvr>
                                            <p:cTn id="236" dur="500"/>
                                            <p:tgtEl>
                                              <p:spTgt spid="25"/>
                                            </p:tgtEl>
                                          </p:cBhvr>
                                        </p:animEffect>
                                      </p:childTnLst>
                                    </p:cTn>
                                  </p:par>
                                </p:childTnLst>
                              </p:cTn>
                            </p:par>
                            <p:par>
                              <p:cTn id="237" fill="hold">
                                <p:stCondLst>
                                  <p:cond delay="17000"/>
                                </p:stCondLst>
                                <p:childTnLst>
                                  <p:par>
                                    <p:cTn id="238" presetID="53" presetClass="entr" presetSubtype="16" fill="hold" grpId="0" nodeType="afterEffect">
                                      <p:stCondLst>
                                        <p:cond delay="0"/>
                                      </p:stCondLst>
                                      <p:childTnLst>
                                        <p:set>
                                          <p:cBhvr>
                                            <p:cTn id="239" dur="1" fill="hold">
                                              <p:stCondLst>
                                                <p:cond delay="0"/>
                                              </p:stCondLst>
                                            </p:cTn>
                                            <p:tgtEl>
                                              <p:spTgt spid="57"/>
                                            </p:tgtEl>
                                            <p:attrNameLst>
                                              <p:attrName>style.visibility</p:attrName>
                                            </p:attrNameLst>
                                          </p:cBhvr>
                                          <p:to>
                                            <p:strVal val="visible"/>
                                          </p:to>
                                        </p:set>
                                        <p:anim calcmode="lin" valueType="num">
                                          <p:cBhvr>
                                            <p:cTn id="240" dur="500" fill="hold"/>
                                            <p:tgtEl>
                                              <p:spTgt spid="57"/>
                                            </p:tgtEl>
                                            <p:attrNameLst>
                                              <p:attrName>ppt_w</p:attrName>
                                            </p:attrNameLst>
                                          </p:cBhvr>
                                          <p:tavLst>
                                            <p:tav tm="0">
                                              <p:val>
                                                <p:fltVal val="0"/>
                                              </p:val>
                                            </p:tav>
                                            <p:tav tm="100000">
                                              <p:val>
                                                <p:strVal val="#ppt_w"/>
                                              </p:val>
                                            </p:tav>
                                          </p:tavLst>
                                        </p:anim>
                                        <p:anim calcmode="lin" valueType="num">
                                          <p:cBhvr>
                                            <p:cTn id="241" dur="500" fill="hold"/>
                                            <p:tgtEl>
                                              <p:spTgt spid="57"/>
                                            </p:tgtEl>
                                            <p:attrNameLst>
                                              <p:attrName>ppt_h</p:attrName>
                                            </p:attrNameLst>
                                          </p:cBhvr>
                                          <p:tavLst>
                                            <p:tav tm="0">
                                              <p:val>
                                                <p:fltVal val="0"/>
                                              </p:val>
                                            </p:tav>
                                            <p:tav tm="100000">
                                              <p:val>
                                                <p:strVal val="#ppt_h"/>
                                              </p:val>
                                            </p:tav>
                                          </p:tavLst>
                                        </p:anim>
                                        <p:animEffect transition="in" filter="fade">
                                          <p:cBhvr>
                                            <p:cTn id="242" dur="500"/>
                                            <p:tgtEl>
                                              <p:spTgt spid="57"/>
                                            </p:tgtEl>
                                          </p:cBhvr>
                                        </p:animEffect>
                                      </p:childTnLst>
                                    </p:cTn>
                                  </p:par>
                                  <p:par>
                                    <p:cTn id="243" presetID="53" presetClass="entr" presetSubtype="16" fill="hold" grpId="0" nodeType="withEffect">
                                      <p:stCondLst>
                                        <p:cond delay="0"/>
                                      </p:stCondLst>
                                      <p:childTnLst>
                                        <p:set>
                                          <p:cBhvr>
                                            <p:cTn id="244" dur="1" fill="hold">
                                              <p:stCondLst>
                                                <p:cond delay="0"/>
                                              </p:stCondLst>
                                            </p:cTn>
                                            <p:tgtEl>
                                              <p:spTgt spid="56"/>
                                            </p:tgtEl>
                                            <p:attrNameLst>
                                              <p:attrName>style.visibility</p:attrName>
                                            </p:attrNameLst>
                                          </p:cBhvr>
                                          <p:to>
                                            <p:strVal val="visible"/>
                                          </p:to>
                                        </p:set>
                                        <p:anim calcmode="lin" valueType="num">
                                          <p:cBhvr>
                                            <p:cTn id="245" dur="500" fill="hold"/>
                                            <p:tgtEl>
                                              <p:spTgt spid="56"/>
                                            </p:tgtEl>
                                            <p:attrNameLst>
                                              <p:attrName>ppt_w</p:attrName>
                                            </p:attrNameLst>
                                          </p:cBhvr>
                                          <p:tavLst>
                                            <p:tav tm="0">
                                              <p:val>
                                                <p:fltVal val="0"/>
                                              </p:val>
                                            </p:tav>
                                            <p:tav tm="100000">
                                              <p:val>
                                                <p:strVal val="#ppt_w"/>
                                              </p:val>
                                            </p:tav>
                                          </p:tavLst>
                                        </p:anim>
                                        <p:anim calcmode="lin" valueType="num">
                                          <p:cBhvr>
                                            <p:cTn id="246" dur="500" fill="hold"/>
                                            <p:tgtEl>
                                              <p:spTgt spid="56"/>
                                            </p:tgtEl>
                                            <p:attrNameLst>
                                              <p:attrName>ppt_h</p:attrName>
                                            </p:attrNameLst>
                                          </p:cBhvr>
                                          <p:tavLst>
                                            <p:tav tm="0">
                                              <p:val>
                                                <p:fltVal val="0"/>
                                              </p:val>
                                            </p:tav>
                                            <p:tav tm="100000">
                                              <p:val>
                                                <p:strVal val="#ppt_h"/>
                                              </p:val>
                                            </p:tav>
                                          </p:tavLst>
                                        </p:anim>
                                        <p:animEffect transition="in" filter="fade">
                                          <p:cBhvr>
                                            <p:cTn id="247" dur="500"/>
                                            <p:tgtEl>
                                              <p:spTgt spid="56"/>
                                            </p:tgtEl>
                                          </p:cBhvr>
                                        </p:animEffect>
                                      </p:childTnLst>
                                    </p:cTn>
                                  </p:par>
                                </p:childTnLst>
                              </p:cTn>
                            </p:par>
                            <p:par>
                              <p:cTn id="248" fill="hold">
                                <p:stCondLst>
                                  <p:cond delay="17500"/>
                                </p:stCondLst>
                                <p:childTnLst>
                                  <p:par>
                                    <p:cTn id="249" presetID="10" presetClass="entr" presetSubtype="0" fill="hold" grpId="0" nodeType="afterEffect">
                                      <p:stCondLst>
                                        <p:cond delay="0"/>
                                      </p:stCondLst>
                                      <p:childTnLst>
                                        <p:set>
                                          <p:cBhvr>
                                            <p:cTn id="250" dur="1" fill="hold">
                                              <p:stCondLst>
                                                <p:cond delay="0"/>
                                              </p:stCondLst>
                                            </p:cTn>
                                            <p:tgtEl>
                                              <p:spTgt spid="35"/>
                                            </p:tgtEl>
                                            <p:attrNameLst>
                                              <p:attrName>style.visibility</p:attrName>
                                            </p:attrNameLst>
                                          </p:cBhvr>
                                          <p:to>
                                            <p:strVal val="visible"/>
                                          </p:to>
                                        </p:set>
                                        <p:animEffect transition="in" filter="fade">
                                          <p:cBhvr>
                                            <p:cTn id="251" dur="500"/>
                                            <p:tgtEl>
                                              <p:spTgt spid="35"/>
                                            </p:tgtEl>
                                          </p:cBhvr>
                                        </p:animEffect>
                                      </p:childTnLst>
                                    </p:cTn>
                                  </p:par>
                                  <p:par>
                                    <p:cTn id="252" presetID="10" presetClass="entr" presetSubtype="0" fill="hold" grpId="0" nodeType="withEffect">
                                      <p:stCondLst>
                                        <p:cond delay="0"/>
                                      </p:stCondLst>
                                      <p:childTnLst>
                                        <p:set>
                                          <p:cBhvr>
                                            <p:cTn id="253" dur="1" fill="hold">
                                              <p:stCondLst>
                                                <p:cond delay="0"/>
                                              </p:stCondLst>
                                            </p:cTn>
                                            <p:tgtEl>
                                              <p:spTgt spid="36"/>
                                            </p:tgtEl>
                                            <p:attrNameLst>
                                              <p:attrName>style.visibility</p:attrName>
                                            </p:attrNameLst>
                                          </p:cBhvr>
                                          <p:to>
                                            <p:strVal val="visible"/>
                                          </p:to>
                                        </p:set>
                                        <p:animEffect transition="in" filter="fade">
                                          <p:cBhvr>
                                            <p:cTn id="254" dur="500"/>
                                            <p:tgtEl>
                                              <p:spTgt spid="3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3" grpId="0" animBg="1"/>
          <p:bldP spid="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26" grpId="0" animBg="1"/>
          <p:bldP spid="27" grpId="0"/>
          <p:bldP spid="28" grpId="0"/>
          <p:bldP spid="29" grpId="0"/>
          <p:bldP spid="30" grpId="0"/>
          <p:bldP spid="31" grpId="0"/>
          <p:bldP spid="32" grpId="0"/>
          <p:bldP spid="33" grpId="0"/>
          <p:bldP spid="34" grpId="0"/>
          <p:bldP spid="35" grpId="0"/>
          <p:bldP spid="36" grpId="0"/>
          <p:bldP spid="37" grpId="0"/>
          <p:bldP spid="38" grpId="0"/>
          <p:bldP spid="39" grpId="0"/>
          <p:bldP spid="40" grpId="0"/>
          <p:bldP spid="41" grpId="0"/>
          <p:bldP spid="42" grpId="0"/>
          <p:bldP spid="48" grpId="0" animBg="1"/>
          <p:bldP spid="49" grpId="0" animBg="1"/>
          <p:bldP spid="50" grpId="0" animBg="1"/>
          <p:bldP spid="51" grpId="0" animBg="1"/>
          <p:bldP spid="52" grpId="0" animBg="1"/>
          <p:bldP spid="53" grpId="0" animBg="1"/>
          <p:bldP spid="54" grpId="0" animBg="1"/>
          <p:bldP spid="55" grpId="0" animBg="1"/>
          <p:bldP spid="56" grpId="0" animBg="1"/>
          <p:bldP spid="57" grpId="0" animBg="1"/>
        </p:bldLst>
      </p:timing>
    </mc:Fallback>
  </mc:AlternateContent>
</p:sld>
</file>

<file path=ppt/slides/slide7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1">
            <a:extLst>
              <a:ext uri="{FF2B5EF4-FFF2-40B4-BE49-F238E27FC236}">
                <a16:creationId xmlns:a16="http://schemas.microsoft.com/office/drawing/2014/main" id="{84A2F491-7512-401C-AD9A-99707221C6DB}"/>
              </a:ext>
            </a:extLst>
          </p:cNvPr>
          <p:cNvSpPr>
            <a:spLocks/>
          </p:cNvSpPr>
          <p:nvPr/>
        </p:nvSpPr>
        <p:spPr bwMode="auto">
          <a:xfrm>
            <a:off x="10806568" y="2924857"/>
            <a:ext cx="419200" cy="1385888"/>
          </a:xfrm>
          <a:custGeom>
            <a:avLst/>
            <a:gdLst>
              <a:gd name="connsiteX0" fmla="*/ 142499 w 419200"/>
              <a:gd name="connsiteY0" fmla="*/ 428625 h 1385888"/>
              <a:gd name="connsiteX1" fmla="*/ 93491 w 419200"/>
              <a:gd name="connsiteY1" fmla="*/ 488950 h 1385888"/>
              <a:gd name="connsiteX2" fmla="*/ 142499 w 419200"/>
              <a:gd name="connsiteY2" fmla="*/ 549275 h 1385888"/>
              <a:gd name="connsiteX3" fmla="*/ 191507 w 419200"/>
              <a:gd name="connsiteY3" fmla="*/ 488950 h 1385888"/>
              <a:gd name="connsiteX4" fmla="*/ 142499 w 419200"/>
              <a:gd name="connsiteY4" fmla="*/ 428625 h 1385888"/>
              <a:gd name="connsiteX5" fmla="*/ 0 w 419200"/>
              <a:gd name="connsiteY5" fmla="*/ 0 h 1385888"/>
              <a:gd name="connsiteX6" fmla="*/ 3016 w 419200"/>
              <a:gd name="connsiteY6" fmla="*/ 0 h 1385888"/>
              <a:gd name="connsiteX7" fmla="*/ 419200 w 419200"/>
              <a:gd name="connsiteY7" fmla="*/ 693738 h 1385888"/>
              <a:gd name="connsiteX8" fmla="*/ 3016 w 419200"/>
              <a:gd name="connsiteY8" fmla="*/ 1385888 h 1385888"/>
              <a:gd name="connsiteX9" fmla="*/ 0 w 419200"/>
              <a:gd name="connsiteY9" fmla="*/ 1385888 h 13858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19200" h="1385888">
                <a:moveTo>
                  <a:pt x="142499" y="428625"/>
                </a:moveTo>
                <a:cubicBezTo>
                  <a:pt x="115433" y="428625"/>
                  <a:pt x="93491" y="455633"/>
                  <a:pt x="93491" y="488950"/>
                </a:cubicBezTo>
                <a:cubicBezTo>
                  <a:pt x="93491" y="522267"/>
                  <a:pt x="115433" y="549275"/>
                  <a:pt x="142499" y="549275"/>
                </a:cubicBezTo>
                <a:cubicBezTo>
                  <a:pt x="169565" y="549275"/>
                  <a:pt x="191507" y="522267"/>
                  <a:pt x="191507" y="488950"/>
                </a:cubicBezTo>
                <a:cubicBezTo>
                  <a:pt x="191507" y="455633"/>
                  <a:pt x="169565" y="428625"/>
                  <a:pt x="142499" y="428625"/>
                </a:cubicBezTo>
                <a:close/>
                <a:moveTo>
                  <a:pt x="0" y="0"/>
                </a:moveTo>
                <a:lnTo>
                  <a:pt x="3016" y="0"/>
                </a:lnTo>
                <a:lnTo>
                  <a:pt x="419200" y="693738"/>
                </a:lnTo>
                <a:lnTo>
                  <a:pt x="3016" y="1385888"/>
                </a:lnTo>
                <a:lnTo>
                  <a:pt x="0" y="1385888"/>
                </a:lnTo>
                <a:close/>
              </a:path>
            </a:pathLst>
          </a:custGeom>
          <a:solidFill>
            <a:schemeClr val="accent1">
              <a:lumMod val="60000"/>
              <a:lumOff val="40000"/>
            </a:schemeClr>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cs typeface="+mn-ea"/>
              <a:sym typeface="+mn-lt"/>
            </a:endParaRPr>
          </a:p>
        </p:txBody>
      </p:sp>
      <p:sp>
        <p:nvSpPr>
          <p:cNvPr id="3" name="Freeform 6">
            <a:extLst>
              <a:ext uri="{FF2B5EF4-FFF2-40B4-BE49-F238E27FC236}">
                <a16:creationId xmlns:a16="http://schemas.microsoft.com/office/drawing/2014/main" id="{E7B3AF1A-CF07-462F-A92F-CEA2297620AD}"/>
              </a:ext>
            </a:extLst>
          </p:cNvPr>
          <p:cNvSpPr>
            <a:spLocks/>
          </p:cNvSpPr>
          <p:nvPr/>
        </p:nvSpPr>
        <p:spPr bwMode="auto">
          <a:xfrm>
            <a:off x="1205686" y="3138376"/>
            <a:ext cx="664990" cy="958850"/>
          </a:xfrm>
          <a:custGeom>
            <a:avLst/>
            <a:gdLst>
              <a:gd name="T0" fmla="*/ 74 w 380"/>
              <a:gd name="T1" fmla="*/ 0 h 520"/>
              <a:gd name="T2" fmla="*/ 380 w 380"/>
              <a:gd name="T3" fmla="*/ 260 h 520"/>
              <a:gd name="T4" fmla="*/ 74 w 380"/>
              <a:gd name="T5" fmla="*/ 520 h 520"/>
              <a:gd name="T6" fmla="*/ 1 w 380"/>
              <a:gd name="T7" fmla="*/ 520 h 520"/>
              <a:gd name="T8" fmla="*/ 283 w 380"/>
              <a:gd name="T9" fmla="*/ 260 h 520"/>
              <a:gd name="T10" fmla="*/ 0 w 380"/>
              <a:gd name="T11" fmla="*/ 0 h 520"/>
              <a:gd name="T12" fmla="*/ 74 w 380"/>
              <a:gd name="T13" fmla="*/ 0 h 520"/>
            </a:gdLst>
            <a:ahLst/>
            <a:cxnLst>
              <a:cxn ang="0">
                <a:pos x="T0" y="T1"/>
              </a:cxn>
              <a:cxn ang="0">
                <a:pos x="T2" y="T3"/>
              </a:cxn>
              <a:cxn ang="0">
                <a:pos x="T4" y="T5"/>
              </a:cxn>
              <a:cxn ang="0">
                <a:pos x="T6" y="T7"/>
              </a:cxn>
              <a:cxn ang="0">
                <a:pos x="T8" y="T9"/>
              </a:cxn>
              <a:cxn ang="0">
                <a:pos x="T10" y="T11"/>
              </a:cxn>
              <a:cxn ang="0">
                <a:pos x="T12" y="T13"/>
              </a:cxn>
            </a:cxnLst>
            <a:rect l="0" t="0" r="r" b="b"/>
            <a:pathLst>
              <a:path w="380" h="520">
                <a:moveTo>
                  <a:pt x="74" y="0"/>
                </a:moveTo>
                <a:cubicBezTo>
                  <a:pt x="146" y="108"/>
                  <a:pt x="260" y="194"/>
                  <a:pt x="380" y="260"/>
                </a:cubicBezTo>
                <a:cubicBezTo>
                  <a:pt x="259" y="325"/>
                  <a:pt x="150" y="413"/>
                  <a:pt x="74" y="520"/>
                </a:cubicBezTo>
                <a:cubicBezTo>
                  <a:pt x="1" y="520"/>
                  <a:pt x="1" y="520"/>
                  <a:pt x="1" y="520"/>
                </a:cubicBezTo>
                <a:cubicBezTo>
                  <a:pt x="77" y="417"/>
                  <a:pt x="169" y="327"/>
                  <a:pt x="283" y="260"/>
                </a:cubicBezTo>
                <a:cubicBezTo>
                  <a:pt x="169" y="191"/>
                  <a:pt x="74" y="101"/>
                  <a:pt x="0" y="0"/>
                </a:cubicBezTo>
                <a:lnTo>
                  <a:pt x="74" y="0"/>
                </a:lnTo>
                <a:close/>
              </a:path>
            </a:pathLst>
          </a:custGeom>
          <a:solidFill>
            <a:schemeClr val="accent1">
              <a:lumMod val="60000"/>
              <a:lumOff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cs typeface="+mn-ea"/>
              <a:sym typeface="+mn-lt"/>
            </a:endParaRPr>
          </a:p>
        </p:txBody>
      </p:sp>
      <p:sp>
        <p:nvSpPr>
          <p:cNvPr id="4" name="Freeform 7">
            <a:extLst>
              <a:ext uri="{FF2B5EF4-FFF2-40B4-BE49-F238E27FC236}">
                <a16:creationId xmlns:a16="http://schemas.microsoft.com/office/drawing/2014/main" id="{D3E6D240-2069-446E-91F3-F2343FE7F73D}"/>
              </a:ext>
            </a:extLst>
          </p:cNvPr>
          <p:cNvSpPr>
            <a:spLocks/>
          </p:cNvSpPr>
          <p:nvPr/>
        </p:nvSpPr>
        <p:spPr bwMode="auto">
          <a:xfrm>
            <a:off x="898072" y="3138376"/>
            <a:ext cx="666498" cy="958850"/>
          </a:xfrm>
          <a:custGeom>
            <a:avLst/>
            <a:gdLst>
              <a:gd name="T0" fmla="*/ 74 w 381"/>
              <a:gd name="T1" fmla="*/ 0 h 520"/>
              <a:gd name="T2" fmla="*/ 381 w 381"/>
              <a:gd name="T3" fmla="*/ 260 h 520"/>
              <a:gd name="T4" fmla="*/ 74 w 381"/>
              <a:gd name="T5" fmla="*/ 520 h 520"/>
              <a:gd name="T6" fmla="*/ 1 w 381"/>
              <a:gd name="T7" fmla="*/ 520 h 520"/>
              <a:gd name="T8" fmla="*/ 283 w 381"/>
              <a:gd name="T9" fmla="*/ 260 h 520"/>
              <a:gd name="T10" fmla="*/ 0 w 381"/>
              <a:gd name="T11" fmla="*/ 0 h 520"/>
              <a:gd name="T12" fmla="*/ 74 w 381"/>
              <a:gd name="T13" fmla="*/ 0 h 520"/>
            </a:gdLst>
            <a:ahLst/>
            <a:cxnLst>
              <a:cxn ang="0">
                <a:pos x="T0" y="T1"/>
              </a:cxn>
              <a:cxn ang="0">
                <a:pos x="T2" y="T3"/>
              </a:cxn>
              <a:cxn ang="0">
                <a:pos x="T4" y="T5"/>
              </a:cxn>
              <a:cxn ang="0">
                <a:pos x="T6" y="T7"/>
              </a:cxn>
              <a:cxn ang="0">
                <a:pos x="T8" y="T9"/>
              </a:cxn>
              <a:cxn ang="0">
                <a:pos x="T10" y="T11"/>
              </a:cxn>
              <a:cxn ang="0">
                <a:pos x="T12" y="T13"/>
              </a:cxn>
            </a:cxnLst>
            <a:rect l="0" t="0" r="r" b="b"/>
            <a:pathLst>
              <a:path w="381" h="520">
                <a:moveTo>
                  <a:pt x="74" y="0"/>
                </a:moveTo>
                <a:cubicBezTo>
                  <a:pt x="147" y="108"/>
                  <a:pt x="260" y="194"/>
                  <a:pt x="381" y="260"/>
                </a:cubicBezTo>
                <a:cubicBezTo>
                  <a:pt x="259" y="325"/>
                  <a:pt x="151" y="413"/>
                  <a:pt x="74" y="520"/>
                </a:cubicBezTo>
                <a:cubicBezTo>
                  <a:pt x="1" y="520"/>
                  <a:pt x="1" y="520"/>
                  <a:pt x="1" y="520"/>
                </a:cubicBezTo>
                <a:cubicBezTo>
                  <a:pt x="78" y="417"/>
                  <a:pt x="170" y="327"/>
                  <a:pt x="283" y="260"/>
                </a:cubicBezTo>
                <a:cubicBezTo>
                  <a:pt x="170" y="191"/>
                  <a:pt x="74" y="101"/>
                  <a:pt x="0" y="0"/>
                </a:cubicBezTo>
                <a:lnTo>
                  <a:pt x="74" y="0"/>
                </a:lnTo>
                <a:close/>
              </a:path>
            </a:pathLst>
          </a:custGeom>
          <a:solidFill>
            <a:schemeClr val="accent1">
              <a:lumMod val="60000"/>
              <a:lumOff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cs typeface="+mn-ea"/>
              <a:sym typeface="+mn-lt"/>
            </a:endParaRPr>
          </a:p>
        </p:txBody>
      </p:sp>
      <p:sp>
        <p:nvSpPr>
          <p:cNvPr id="5" name="Freeform 8">
            <a:extLst>
              <a:ext uri="{FF2B5EF4-FFF2-40B4-BE49-F238E27FC236}">
                <a16:creationId xmlns:a16="http://schemas.microsoft.com/office/drawing/2014/main" id="{4B39E95E-8A7D-4940-82F3-CF5D39E67794}"/>
              </a:ext>
            </a:extLst>
          </p:cNvPr>
          <p:cNvSpPr>
            <a:spLocks/>
          </p:cNvSpPr>
          <p:nvPr/>
        </p:nvSpPr>
        <p:spPr bwMode="auto">
          <a:xfrm>
            <a:off x="1944564" y="3563826"/>
            <a:ext cx="8720262" cy="107950"/>
          </a:xfrm>
          <a:custGeom>
            <a:avLst/>
            <a:gdLst>
              <a:gd name="T0" fmla="*/ 29 w 4984"/>
              <a:gd name="T1" fmla="*/ 0 h 58"/>
              <a:gd name="T2" fmla="*/ 0 w 4984"/>
              <a:gd name="T3" fmla="*/ 29 h 58"/>
              <a:gd name="T4" fmla="*/ 29 w 4984"/>
              <a:gd name="T5" fmla="*/ 58 h 58"/>
              <a:gd name="T6" fmla="*/ 4954 w 4984"/>
              <a:gd name="T7" fmla="*/ 58 h 58"/>
              <a:gd name="T8" fmla="*/ 4984 w 4984"/>
              <a:gd name="T9" fmla="*/ 29 h 58"/>
              <a:gd name="T10" fmla="*/ 4954 w 4984"/>
              <a:gd name="T11" fmla="*/ 0 h 58"/>
              <a:gd name="T12" fmla="*/ 29 w 4984"/>
              <a:gd name="T13" fmla="*/ 0 h 58"/>
            </a:gdLst>
            <a:ahLst/>
            <a:cxnLst>
              <a:cxn ang="0">
                <a:pos x="T0" y="T1"/>
              </a:cxn>
              <a:cxn ang="0">
                <a:pos x="T2" y="T3"/>
              </a:cxn>
              <a:cxn ang="0">
                <a:pos x="T4" y="T5"/>
              </a:cxn>
              <a:cxn ang="0">
                <a:pos x="T6" y="T7"/>
              </a:cxn>
              <a:cxn ang="0">
                <a:pos x="T8" y="T9"/>
              </a:cxn>
              <a:cxn ang="0">
                <a:pos x="T10" y="T11"/>
              </a:cxn>
              <a:cxn ang="0">
                <a:pos x="T12" y="T13"/>
              </a:cxn>
            </a:cxnLst>
            <a:rect l="0" t="0" r="r" b="b"/>
            <a:pathLst>
              <a:path w="4984" h="58">
                <a:moveTo>
                  <a:pt x="29" y="0"/>
                </a:moveTo>
                <a:cubicBezTo>
                  <a:pt x="13" y="0"/>
                  <a:pt x="0" y="13"/>
                  <a:pt x="0" y="29"/>
                </a:cubicBezTo>
                <a:cubicBezTo>
                  <a:pt x="0" y="45"/>
                  <a:pt x="13" y="58"/>
                  <a:pt x="29" y="58"/>
                </a:cubicBezTo>
                <a:cubicBezTo>
                  <a:pt x="4954" y="58"/>
                  <a:pt x="4954" y="58"/>
                  <a:pt x="4954" y="58"/>
                </a:cubicBezTo>
                <a:cubicBezTo>
                  <a:pt x="4970" y="58"/>
                  <a:pt x="4984" y="45"/>
                  <a:pt x="4984" y="29"/>
                </a:cubicBezTo>
                <a:cubicBezTo>
                  <a:pt x="4984" y="13"/>
                  <a:pt x="4970" y="0"/>
                  <a:pt x="4954" y="0"/>
                </a:cubicBezTo>
                <a:lnTo>
                  <a:pt x="29" y="0"/>
                </a:lnTo>
                <a:close/>
              </a:path>
            </a:pathLst>
          </a:custGeom>
          <a:solidFill>
            <a:schemeClr val="accent1">
              <a:lumMod val="60000"/>
              <a:lumOff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cs typeface="+mn-ea"/>
              <a:sym typeface="+mn-lt"/>
            </a:endParaRPr>
          </a:p>
        </p:txBody>
      </p:sp>
      <p:sp>
        <p:nvSpPr>
          <p:cNvPr id="6" name="Oval 12">
            <a:extLst>
              <a:ext uri="{FF2B5EF4-FFF2-40B4-BE49-F238E27FC236}">
                <a16:creationId xmlns:a16="http://schemas.microsoft.com/office/drawing/2014/main" id="{46F72B89-9142-4FF2-9378-C105A3F285F8}"/>
              </a:ext>
            </a:extLst>
          </p:cNvPr>
          <p:cNvSpPr/>
          <p:nvPr/>
        </p:nvSpPr>
        <p:spPr>
          <a:xfrm>
            <a:off x="2984898" y="3297761"/>
            <a:ext cx="640080" cy="640080"/>
          </a:xfrm>
          <a:prstGeom prst="ellipse">
            <a:avLst/>
          </a:prstGeom>
          <a:solidFill>
            <a:schemeClr val="accent1">
              <a:lumMod val="100000"/>
            </a:schemeClr>
          </a:solidFill>
          <a:ln w="50800">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FFFFFF"/>
              </a:solidFill>
              <a:effectLst/>
              <a:uLnTx/>
              <a:uFillTx/>
              <a:latin typeface="Arial"/>
              <a:cs typeface="+mn-ea"/>
              <a:sym typeface="+mn-lt"/>
            </a:endParaRPr>
          </a:p>
        </p:txBody>
      </p:sp>
      <p:sp>
        <p:nvSpPr>
          <p:cNvPr id="7" name="Oval 13">
            <a:extLst>
              <a:ext uri="{FF2B5EF4-FFF2-40B4-BE49-F238E27FC236}">
                <a16:creationId xmlns:a16="http://schemas.microsoft.com/office/drawing/2014/main" id="{3908F0E7-F3A3-4CAE-B9A9-D424D4B50AE2}"/>
              </a:ext>
            </a:extLst>
          </p:cNvPr>
          <p:cNvSpPr/>
          <p:nvPr/>
        </p:nvSpPr>
        <p:spPr>
          <a:xfrm>
            <a:off x="4433766" y="3297761"/>
            <a:ext cx="640080" cy="640080"/>
          </a:xfrm>
          <a:prstGeom prst="ellipse">
            <a:avLst/>
          </a:prstGeom>
          <a:solidFill>
            <a:schemeClr val="accent1">
              <a:lumMod val="100000"/>
            </a:schemeClr>
          </a:solidFill>
          <a:ln w="50800">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FFFFFF"/>
              </a:solidFill>
              <a:effectLst/>
              <a:uLnTx/>
              <a:uFillTx/>
              <a:latin typeface="Arial"/>
              <a:cs typeface="+mn-ea"/>
              <a:sym typeface="+mn-lt"/>
            </a:endParaRPr>
          </a:p>
        </p:txBody>
      </p:sp>
      <p:sp>
        <p:nvSpPr>
          <p:cNvPr id="8" name="Oval 14">
            <a:extLst>
              <a:ext uri="{FF2B5EF4-FFF2-40B4-BE49-F238E27FC236}">
                <a16:creationId xmlns:a16="http://schemas.microsoft.com/office/drawing/2014/main" id="{9F39D361-FB08-453C-8C30-E1BFA85504FC}"/>
              </a:ext>
            </a:extLst>
          </p:cNvPr>
          <p:cNvSpPr/>
          <p:nvPr/>
        </p:nvSpPr>
        <p:spPr>
          <a:xfrm>
            <a:off x="5893766" y="3297761"/>
            <a:ext cx="640080" cy="640080"/>
          </a:xfrm>
          <a:prstGeom prst="ellipse">
            <a:avLst/>
          </a:prstGeom>
          <a:solidFill>
            <a:schemeClr val="accent1">
              <a:lumMod val="100000"/>
            </a:schemeClr>
          </a:solidFill>
          <a:ln w="50800">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FFFFFF"/>
              </a:solidFill>
              <a:effectLst/>
              <a:uLnTx/>
              <a:uFillTx/>
              <a:latin typeface="Arial"/>
              <a:cs typeface="+mn-ea"/>
              <a:sym typeface="+mn-lt"/>
            </a:endParaRPr>
          </a:p>
        </p:txBody>
      </p:sp>
      <p:sp>
        <p:nvSpPr>
          <p:cNvPr id="9" name="Oval 15">
            <a:extLst>
              <a:ext uri="{FF2B5EF4-FFF2-40B4-BE49-F238E27FC236}">
                <a16:creationId xmlns:a16="http://schemas.microsoft.com/office/drawing/2014/main" id="{3E5FD3B5-49FF-45C1-BF30-C230574D52B0}"/>
              </a:ext>
            </a:extLst>
          </p:cNvPr>
          <p:cNvSpPr/>
          <p:nvPr/>
        </p:nvSpPr>
        <p:spPr>
          <a:xfrm>
            <a:off x="7355334" y="3297761"/>
            <a:ext cx="640080" cy="640080"/>
          </a:xfrm>
          <a:prstGeom prst="ellipse">
            <a:avLst/>
          </a:prstGeom>
          <a:solidFill>
            <a:schemeClr val="accent1">
              <a:lumMod val="100000"/>
            </a:schemeClr>
          </a:solidFill>
          <a:ln w="50800">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FFFFFF"/>
              </a:solidFill>
              <a:effectLst/>
              <a:uLnTx/>
              <a:uFillTx/>
              <a:latin typeface="Arial"/>
              <a:cs typeface="+mn-ea"/>
              <a:sym typeface="+mn-lt"/>
            </a:endParaRPr>
          </a:p>
        </p:txBody>
      </p:sp>
      <p:sp>
        <p:nvSpPr>
          <p:cNvPr id="10" name="Oval 18">
            <a:extLst>
              <a:ext uri="{FF2B5EF4-FFF2-40B4-BE49-F238E27FC236}">
                <a16:creationId xmlns:a16="http://schemas.microsoft.com/office/drawing/2014/main" id="{A4037BCD-FB3B-41B6-ACD3-7B0D8844D9BB}"/>
              </a:ext>
            </a:extLst>
          </p:cNvPr>
          <p:cNvSpPr/>
          <p:nvPr/>
        </p:nvSpPr>
        <p:spPr>
          <a:xfrm>
            <a:off x="8846083" y="3297761"/>
            <a:ext cx="640080" cy="640080"/>
          </a:xfrm>
          <a:prstGeom prst="ellipse">
            <a:avLst/>
          </a:prstGeom>
          <a:solidFill>
            <a:schemeClr val="accent1">
              <a:lumMod val="100000"/>
            </a:schemeClr>
          </a:solidFill>
          <a:ln w="50800">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FFFFFF"/>
              </a:solidFill>
              <a:effectLst/>
              <a:uLnTx/>
              <a:uFillTx/>
              <a:latin typeface="Arial"/>
              <a:cs typeface="+mn-ea"/>
              <a:sym typeface="+mn-lt"/>
            </a:endParaRPr>
          </a:p>
        </p:txBody>
      </p:sp>
      <p:sp>
        <p:nvSpPr>
          <p:cNvPr id="11" name="Rounded Rectangle 19">
            <a:extLst>
              <a:ext uri="{FF2B5EF4-FFF2-40B4-BE49-F238E27FC236}">
                <a16:creationId xmlns:a16="http://schemas.microsoft.com/office/drawing/2014/main" id="{103A1635-3AD1-48EC-BB29-483DF70A1644}"/>
              </a:ext>
            </a:extLst>
          </p:cNvPr>
          <p:cNvSpPr/>
          <p:nvPr/>
        </p:nvSpPr>
        <p:spPr>
          <a:xfrm>
            <a:off x="778347" y="1317357"/>
            <a:ext cx="1753578" cy="558800"/>
          </a:xfrm>
          <a:prstGeom prst="roundRect">
            <a:avLst>
              <a:gd name="adj" fmla="val 50000"/>
            </a:avLst>
          </a:prstGeom>
          <a:noFill/>
          <a:ln w="34925">
            <a:solidFill>
              <a:schemeClr val="accent1">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cs typeface="+mn-ea"/>
              <a:sym typeface="+mn-lt"/>
            </a:endParaRPr>
          </a:p>
        </p:txBody>
      </p:sp>
      <p:sp>
        <p:nvSpPr>
          <p:cNvPr id="12" name="TextBox 20">
            <a:extLst>
              <a:ext uri="{FF2B5EF4-FFF2-40B4-BE49-F238E27FC236}">
                <a16:creationId xmlns:a16="http://schemas.microsoft.com/office/drawing/2014/main" id="{96B95014-C844-4F40-ABCC-A2B84A005323}"/>
              </a:ext>
            </a:extLst>
          </p:cNvPr>
          <p:cNvSpPr txBox="1"/>
          <p:nvPr/>
        </p:nvSpPr>
        <p:spPr>
          <a:xfrm>
            <a:off x="915314" y="1412091"/>
            <a:ext cx="1454244" cy="369332"/>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9FDE"/>
                </a:solidFill>
                <a:effectLst/>
                <a:uLnTx/>
                <a:uFillTx/>
                <a:latin typeface="Arial"/>
                <a:cs typeface="+mn-ea"/>
                <a:sym typeface="+mn-lt"/>
              </a:rPr>
              <a:t>Description</a:t>
            </a:r>
            <a:endParaRPr kumimoji="0" lang="id-ID" sz="1800" b="1" i="0" u="none" strike="noStrike" kern="1200" cap="none" spc="0" normalizeH="0" baseline="0" noProof="0" dirty="0">
              <a:ln>
                <a:noFill/>
              </a:ln>
              <a:solidFill>
                <a:srgbClr val="009FDE"/>
              </a:solidFill>
              <a:effectLst/>
              <a:uLnTx/>
              <a:uFillTx/>
              <a:latin typeface="Arial"/>
              <a:cs typeface="+mn-ea"/>
              <a:sym typeface="+mn-lt"/>
            </a:endParaRPr>
          </a:p>
        </p:txBody>
      </p:sp>
      <p:cxnSp>
        <p:nvCxnSpPr>
          <p:cNvPr id="13" name="Straight Arrow Connector 22">
            <a:extLst>
              <a:ext uri="{FF2B5EF4-FFF2-40B4-BE49-F238E27FC236}">
                <a16:creationId xmlns:a16="http://schemas.microsoft.com/office/drawing/2014/main" id="{C71A82E6-541E-4B0C-B8DE-0F71FADB14AF}"/>
              </a:ext>
            </a:extLst>
          </p:cNvPr>
          <p:cNvCxnSpPr/>
          <p:nvPr/>
        </p:nvCxnSpPr>
        <p:spPr>
          <a:xfrm>
            <a:off x="2375298" y="1856321"/>
            <a:ext cx="811825" cy="1359138"/>
          </a:xfrm>
          <a:prstGeom prst="straightConnector1">
            <a:avLst/>
          </a:prstGeom>
          <a:ln w="25400">
            <a:solidFill>
              <a:schemeClr val="accent1">
                <a:lumMod val="10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4" name="Rounded Rectangle 26">
            <a:extLst>
              <a:ext uri="{FF2B5EF4-FFF2-40B4-BE49-F238E27FC236}">
                <a16:creationId xmlns:a16="http://schemas.microsoft.com/office/drawing/2014/main" id="{47410A95-B0DB-45EB-8C57-2A81B7225985}"/>
              </a:ext>
            </a:extLst>
          </p:cNvPr>
          <p:cNvSpPr/>
          <p:nvPr/>
        </p:nvSpPr>
        <p:spPr>
          <a:xfrm>
            <a:off x="3701292" y="1317357"/>
            <a:ext cx="1753578" cy="558800"/>
          </a:xfrm>
          <a:prstGeom prst="roundRect">
            <a:avLst>
              <a:gd name="adj" fmla="val 50000"/>
            </a:avLst>
          </a:prstGeom>
          <a:noFill/>
          <a:ln w="34925">
            <a:solidFill>
              <a:schemeClr val="accent1">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cs typeface="+mn-ea"/>
              <a:sym typeface="+mn-lt"/>
            </a:endParaRPr>
          </a:p>
        </p:txBody>
      </p:sp>
      <p:sp>
        <p:nvSpPr>
          <p:cNvPr id="15" name="TextBox 27">
            <a:extLst>
              <a:ext uri="{FF2B5EF4-FFF2-40B4-BE49-F238E27FC236}">
                <a16:creationId xmlns:a16="http://schemas.microsoft.com/office/drawing/2014/main" id="{F9B91E92-0FFD-4B35-A133-8054394D2B2C}"/>
              </a:ext>
            </a:extLst>
          </p:cNvPr>
          <p:cNvSpPr txBox="1"/>
          <p:nvPr/>
        </p:nvSpPr>
        <p:spPr>
          <a:xfrm>
            <a:off x="3838259" y="1412091"/>
            <a:ext cx="1454244" cy="369332"/>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13668E"/>
                </a:solidFill>
                <a:effectLst/>
                <a:uLnTx/>
                <a:uFillTx/>
                <a:latin typeface="Arial"/>
                <a:cs typeface="+mn-ea"/>
                <a:sym typeface="+mn-lt"/>
              </a:rPr>
              <a:t>Description</a:t>
            </a:r>
            <a:endParaRPr kumimoji="0" lang="id-ID" sz="1800" b="1" i="0" u="none" strike="noStrike" kern="1200" cap="none" spc="0" normalizeH="0" baseline="0" noProof="0" dirty="0">
              <a:ln>
                <a:noFill/>
              </a:ln>
              <a:solidFill>
                <a:srgbClr val="13668E"/>
              </a:solidFill>
              <a:effectLst/>
              <a:uLnTx/>
              <a:uFillTx/>
              <a:latin typeface="Arial"/>
              <a:cs typeface="+mn-ea"/>
              <a:sym typeface="+mn-lt"/>
            </a:endParaRPr>
          </a:p>
        </p:txBody>
      </p:sp>
      <p:cxnSp>
        <p:nvCxnSpPr>
          <p:cNvPr id="16" name="Straight Arrow Connector 28">
            <a:extLst>
              <a:ext uri="{FF2B5EF4-FFF2-40B4-BE49-F238E27FC236}">
                <a16:creationId xmlns:a16="http://schemas.microsoft.com/office/drawing/2014/main" id="{A7995267-295D-46AF-BDE0-6C33244349A4}"/>
              </a:ext>
            </a:extLst>
          </p:cNvPr>
          <p:cNvCxnSpPr/>
          <p:nvPr/>
        </p:nvCxnSpPr>
        <p:spPr>
          <a:xfrm>
            <a:off x="5298243" y="1856321"/>
            <a:ext cx="811825" cy="1359138"/>
          </a:xfrm>
          <a:prstGeom prst="straightConnector1">
            <a:avLst/>
          </a:prstGeom>
          <a:ln w="25400">
            <a:solidFill>
              <a:schemeClr val="accent1">
                <a:lumMod val="10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7" name="Rounded Rectangle 29">
            <a:extLst>
              <a:ext uri="{FF2B5EF4-FFF2-40B4-BE49-F238E27FC236}">
                <a16:creationId xmlns:a16="http://schemas.microsoft.com/office/drawing/2014/main" id="{336959F9-4DCB-4119-B57D-299CFFDB6F71}"/>
              </a:ext>
            </a:extLst>
          </p:cNvPr>
          <p:cNvSpPr/>
          <p:nvPr/>
        </p:nvSpPr>
        <p:spPr>
          <a:xfrm>
            <a:off x="6572093" y="1317357"/>
            <a:ext cx="1753578" cy="558800"/>
          </a:xfrm>
          <a:prstGeom prst="roundRect">
            <a:avLst>
              <a:gd name="adj" fmla="val 50000"/>
            </a:avLst>
          </a:prstGeom>
          <a:noFill/>
          <a:ln w="34925">
            <a:solidFill>
              <a:schemeClr val="accent1">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cs typeface="+mn-ea"/>
              <a:sym typeface="+mn-lt"/>
            </a:endParaRPr>
          </a:p>
        </p:txBody>
      </p:sp>
      <p:sp>
        <p:nvSpPr>
          <p:cNvPr id="18" name="TextBox 30">
            <a:extLst>
              <a:ext uri="{FF2B5EF4-FFF2-40B4-BE49-F238E27FC236}">
                <a16:creationId xmlns:a16="http://schemas.microsoft.com/office/drawing/2014/main" id="{FD14601A-9DC9-4A8C-B357-2D2128EDB007}"/>
              </a:ext>
            </a:extLst>
          </p:cNvPr>
          <p:cNvSpPr txBox="1"/>
          <p:nvPr/>
        </p:nvSpPr>
        <p:spPr>
          <a:xfrm>
            <a:off x="6709060" y="1412091"/>
            <a:ext cx="1454244" cy="369332"/>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B2B2B2"/>
                </a:solidFill>
                <a:effectLst/>
                <a:uLnTx/>
                <a:uFillTx/>
                <a:latin typeface="Arial"/>
                <a:cs typeface="+mn-ea"/>
                <a:sym typeface="+mn-lt"/>
              </a:rPr>
              <a:t>Description</a:t>
            </a:r>
            <a:endParaRPr kumimoji="0" lang="id-ID" sz="1800" b="1" i="0" u="none" strike="noStrike" kern="1200" cap="none" spc="0" normalizeH="0" baseline="0" noProof="0" dirty="0">
              <a:ln>
                <a:noFill/>
              </a:ln>
              <a:solidFill>
                <a:srgbClr val="B2B2B2"/>
              </a:solidFill>
              <a:effectLst/>
              <a:uLnTx/>
              <a:uFillTx/>
              <a:latin typeface="Arial"/>
              <a:cs typeface="+mn-ea"/>
              <a:sym typeface="+mn-lt"/>
            </a:endParaRPr>
          </a:p>
        </p:txBody>
      </p:sp>
      <p:cxnSp>
        <p:nvCxnSpPr>
          <p:cNvPr id="19" name="Straight Arrow Connector 31">
            <a:extLst>
              <a:ext uri="{FF2B5EF4-FFF2-40B4-BE49-F238E27FC236}">
                <a16:creationId xmlns:a16="http://schemas.microsoft.com/office/drawing/2014/main" id="{650FF675-9673-4A30-A933-61F5BE216F79}"/>
              </a:ext>
            </a:extLst>
          </p:cNvPr>
          <p:cNvCxnSpPr/>
          <p:nvPr/>
        </p:nvCxnSpPr>
        <p:spPr>
          <a:xfrm>
            <a:off x="8169044" y="1856321"/>
            <a:ext cx="811825" cy="1359138"/>
          </a:xfrm>
          <a:prstGeom prst="straightConnector1">
            <a:avLst/>
          </a:prstGeom>
          <a:ln w="25400">
            <a:solidFill>
              <a:schemeClr val="accent1">
                <a:lumMod val="10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0" name="Rounded Rectangle 32">
            <a:extLst>
              <a:ext uri="{FF2B5EF4-FFF2-40B4-BE49-F238E27FC236}">
                <a16:creationId xmlns:a16="http://schemas.microsoft.com/office/drawing/2014/main" id="{D5C4723A-318E-478D-8908-62EF33EF8CA8}"/>
              </a:ext>
            </a:extLst>
          </p:cNvPr>
          <p:cNvSpPr/>
          <p:nvPr/>
        </p:nvSpPr>
        <p:spPr>
          <a:xfrm>
            <a:off x="2421808" y="5366312"/>
            <a:ext cx="1753578" cy="558800"/>
          </a:xfrm>
          <a:prstGeom prst="roundRect">
            <a:avLst>
              <a:gd name="adj" fmla="val 50000"/>
            </a:avLst>
          </a:prstGeom>
          <a:noFill/>
          <a:ln w="34925">
            <a:solidFill>
              <a:schemeClr val="accent1">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cs typeface="+mn-ea"/>
              <a:sym typeface="+mn-lt"/>
            </a:endParaRPr>
          </a:p>
        </p:txBody>
      </p:sp>
      <p:sp>
        <p:nvSpPr>
          <p:cNvPr id="21" name="TextBox 33">
            <a:extLst>
              <a:ext uri="{FF2B5EF4-FFF2-40B4-BE49-F238E27FC236}">
                <a16:creationId xmlns:a16="http://schemas.microsoft.com/office/drawing/2014/main" id="{CEC0BDFF-236A-40D7-8B6A-2F00F93D1BFF}"/>
              </a:ext>
            </a:extLst>
          </p:cNvPr>
          <p:cNvSpPr txBox="1"/>
          <p:nvPr/>
        </p:nvSpPr>
        <p:spPr>
          <a:xfrm>
            <a:off x="2558775" y="5461046"/>
            <a:ext cx="1454244" cy="369332"/>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677C7"/>
                </a:solidFill>
                <a:effectLst/>
                <a:uLnTx/>
                <a:uFillTx/>
                <a:latin typeface="Arial"/>
                <a:cs typeface="+mn-ea"/>
                <a:sym typeface="+mn-lt"/>
              </a:rPr>
              <a:t>Description</a:t>
            </a:r>
            <a:endParaRPr kumimoji="0" lang="id-ID" sz="1800" b="1" i="0" u="none" strike="noStrike" kern="1200" cap="none" spc="0" normalizeH="0" baseline="0" noProof="0" dirty="0">
              <a:ln>
                <a:noFill/>
              </a:ln>
              <a:solidFill>
                <a:srgbClr val="0677C7"/>
              </a:solidFill>
              <a:effectLst/>
              <a:uLnTx/>
              <a:uFillTx/>
              <a:latin typeface="Arial"/>
              <a:cs typeface="+mn-ea"/>
              <a:sym typeface="+mn-lt"/>
            </a:endParaRPr>
          </a:p>
        </p:txBody>
      </p:sp>
      <p:cxnSp>
        <p:nvCxnSpPr>
          <p:cNvPr id="22" name="Straight Arrow Connector 34">
            <a:extLst>
              <a:ext uri="{FF2B5EF4-FFF2-40B4-BE49-F238E27FC236}">
                <a16:creationId xmlns:a16="http://schemas.microsoft.com/office/drawing/2014/main" id="{9504041A-9831-4206-9EA8-B06B0007ABAD}"/>
              </a:ext>
            </a:extLst>
          </p:cNvPr>
          <p:cNvCxnSpPr/>
          <p:nvPr/>
        </p:nvCxnSpPr>
        <p:spPr>
          <a:xfrm flipV="1">
            <a:off x="3925778" y="4006790"/>
            <a:ext cx="811825" cy="1359138"/>
          </a:xfrm>
          <a:prstGeom prst="straightConnector1">
            <a:avLst/>
          </a:prstGeom>
          <a:ln w="25400">
            <a:solidFill>
              <a:schemeClr val="accent1">
                <a:lumMod val="10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3" name="Rounded Rectangle 35">
            <a:extLst>
              <a:ext uri="{FF2B5EF4-FFF2-40B4-BE49-F238E27FC236}">
                <a16:creationId xmlns:a16="http://schemas.microsoft.com/office/drawing/2014/main" id="{BD489FBD-6270-46C4-96BD-ED190D0459E0}"/>
              </a:ext>
            </a:extLst>
          </p:cNvPr>
          <p:cNvSpPr/>
          <p:nvPr/>
        </p:nvSpPr>
        <p:spPr>
          <a:xfrm>
            <a:off x="5239978" y="5366312"/>
            <a:ext cx="1753578" cy="558800"/>
          </a:xfrm>
          <a:prstGeom prst="roundRect">
            <a:avLst>
              <a:gd name="adj" fmla="val 50000"/>
            </a:avLst>
          </a:prstGeom>
          <a:noFill/>
          <a:ln w="34925">
            <a:solidFill>
              <a:schemeClr val="accent1">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cs typeface="+mn-ea"/>
              <a:sym typeface="+mn-lt"/>
            </a:endParaRPr>
          </a:p>
        </p:txBody>
      </p:sp>
      <p:sp>
        <p:nvSpPr>
          <p:cNvPr id="24" name="TextBox 36">
            <a:extLst>
              <a:ext uri="{FF2B5EF4-FFF2-40B4-BE49-F238E27FC236}">
                <a16:creationId xmlns:a16="http://schemas.microsoft.com/office/drawing/2014/main" id="{09929FF5-7F11-4DDA-B2AE-05B19853CED8}"/>
              </a:ext>
            </a:extLst>
          </p:cNvPr>
          <p:cNvSpPr txBox="1"/>
          <p:nvPr/>
        </p:nvSpPr>
        <p:spPr>
          <a:xfrm>
            <a:off x="5376945" y="5461046"/>
            <a:ext cx="1454244" cy="369332"/>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14864"/>
                </a:solidFill>
                <a:effectLst/>
                <a:uLnTx/>
                <a:uFillTx/>
                <a:latin typeface="Arial"/>
                <a:cs typeface="+mn-ea"/>
                <a:sym typeface="+mn-lt"/>
              </a:rPr>
              <a:t>Description</a:t>
            </a:r>
            <a:endParaRPr kumimoji="0" lang="id-ID" sz="1800" b="1" i="0" u="none" strike="noStrike" kern="1200" cap="none" spc="0" normalizeH="0" baseline="0" noProof="0" dirty="0">
              <a:ln>
                <a:noFill/>
              </a:ln>
              <a:solidFill>
                <a:srgbClr val="014864"/>
              </a:solidFill>
              <a:effectLst/>
              <a:uLnTx/>
              <a:uFillTx/>
              <a:latin typeface="Arial"/>
              <a:cs typeface="+mn-ea"/>
              <a:sym typeface="+mn-lt"/>
            </a:endParaRPr>
          </a:p>
        </p:txBody>
      </p:sp>
      <p:cxnSp>
        <p:nvCxnSpPr>
          <p:cNvPr id="25" name="Straight Arrow Connector 37">
            <a:extLst>
              <a:ext uri="{FF2B5EF4-FFF2-40B4-BE49-F238E27FC236}">
                <a16:creationId xmlns:a16="http://schemas.microsoft.com/office/drawing/2014/main" id="{9C791482-7538-4A67-8A45-86EB7633736B}"/>
              </a:ext>
            </a:extLst>
          </p:cNvPr>
          <p:cNvCxnSpPr/>
          <p:nvPr/>
        </p:nvCxnSpPr>
        <p:spPr>
          <a:xfrm flipV="1">
            <a:off x="6848723" y="4006790"/>
            <a:ext cx="811825" cy="1359138"/>
          </a:xfrm>
          <a:prstGeom prst="straightConnector1">
            <a:avLst/>
          </a:prstGeom>
          <a:ln w="25400">
            <a:solidFill>
              <a:schemeClr val="accent1">
                <a:lumMod val="10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6" name="TextBox 38">
            <a:extLst>
              <a:ext uri="{FF2B5EF4-FFF2-40B4-BE49-F238E27FC236}">
                <a16:creationId xmlns:a16="http://schemas.microsoft.com/office/drawing/2014/main" id="{1D093607-2D1E-4DE6-B4C2-5486D6AE15E7}"/>
              </a:ext>
            </a:extLst>
          </p:cNvPr>
          <p:cNvSpPr txBox="1"/>
          <p:nvPr/>
        </p:nvSpPr>
        <p:spPr>
          <a:xfrm>
            <a:off x="810645" y="2082691"/>
            <a:ext cx="1204176" cy="276999"/>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cs typeface="+mn-ea"/>
                <a:sym typeface="+mn-lt"/>
              </a:rPr>
              <a:t>Insert text here</a:t>
            </a:r>
            <a:endParaRPr kumimoji="0" lang="id-ID" sz="1200" b="0" i="0" u="none" strike="noStrike" kern="1200" cap="none" spc="0" normalizeH="0" baseline="0" noProof="0" dirty="0">
              <a:ln>
                <a:noFill/>
              </a:ln>
              <a:solidFill>
                <a:srgbClr val="000000"/>
              </a:solidFill>
              <a:effectLst/>
              <a:uLnTx/>
              <a:uFillTx/>
              <a:latin typeface="Arial"/>
              <a:cs typeface="+mn-ea"/>
              <a:sym typeface="+mn-lt"/>
            </a:endParaRPr>
          </a:p>
        </p:txBody>
      </p:sp>
      <p:sp>
        <p:nvSpPr>
          <p:cNvPr id="27" name="TextBox 39">
            <a:extLst>
              <a:ext uri="{FF2B5EF4-FFF2-40B4-BE49-F238E27FC236}">
                <a16:creationId xmlns:a16="http://schemas.microsoft.com/office/drawing/2014/main" id="{ED5344A9-AC8F-4EE3-8829-D94768F7966B}"/>
              </a:ext>
            </a:extLst>
          </p:cNvPr>
          <p:cNvSpPr txBox="1"/>
          <p:nvPr/>
        </p:nvSpPr>
        <p:spPr>
          <a:xfrm>
            <a:off x="1019220" y="2427664"/>
            <a:ext cx="1204176" cy="276999"/>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cs typeface="+mn-ea"/>
                <a:sym typeface="+mn-lt"/>
              </a:rPr>
              <a:t>Insert text here</a:t>
            </a:r>
            <a:endParaRPr kumimoji="0" lang="id-ID" sz="1200" b="0" i="0" u="none" strike="noStrike" kern="1200" cap="none" spc="0" normalizeH="0" baseline="0" noProof="0" dirty="0">
              <a:ln>
                <a:noFill/>
              </a:ln>
              <a:solidFill>
                <a:srgbClr val="000000"/>
              </a:solidFill>
              <a:effectLst/>
              <a:uLnTx/>
              <a:uFillTx/>
              <a:latin typeface="Arial"/>
              <a:cs typeface="+mn-ea"/>
              <a:sym typeface="+mn-lt"/>
            </a:endParaRPr>
          </a:p>
        </p:txBody>
      </p:sp>
      <p:sp>
        <p:nvSpPr>
          <p:cNvPr id="28" name="TextBox 40">
            <a:extLst>
              <a:ext uri="{FF2B5EF4-FFF2-40B4-BE49-F238E27FC236}">
                <a16:creationId xmlns:a16="http://schemas.microsoft.com/office/drawing/2014/main" id="{97E276CA-D026-4907-8834-4D4A1B0B7573}"/>
              </a:ext>
            </a:extLst>
          </p:cNvPr>
          <p:cNvSpPr txBox="1"/>
          <p:nvPr/>
        </p:nvSpPr>
        <p:spPr>
          <a:xfrm>
            <a:off x="1280629" y="2768392"/>
            <a:ext cx="1204176" cy="276999"/>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cs typeface="+mn-ea"/>
                <a:sym typeface="+mn-lt"/>
              </a:rPr>
              <a:t>Insert text here</a:t>
            </a:r>
            <a:endParaRPr kumimoji="0" lang="id-ID" sz="1200" b="0" i="0" u="none" strike="noStrike" kern="1200" cap="none" spc="0" normalizeH="0" baseline="0" noProof="0" dirty="0">
              <a:ln>
                <a:noFill/>
              </a:ln>
              <a:solidFill>
                <a:srgbClr val="000000"/>
              </a:solidFill>
              <a:effectLst/>
              <a:uLnTx/>
              <a:uFillTx/>
              <a:latin typeface="Arial"/>
              <a:cs typeface="+mn-ea"/>
              <a:sym typeface="+mn-lt"/>
            </a:endParaRPr>
          </a:p>
        </p:txBody>
      </p:sp>
      <p:cxnSp>
        <p:nvCxnSpPr>
          <p:cNvPr id="29" name="Straight Arrow Connector 41">
            <a:extLst>
              <a:ext uri="{FF2B5EF4-FFF2-40B4-BE49-F238E27FC236}">
                <a16:creationId xmlns:a16="http://schemas.microsoft.com/office/drawing/2014/main" id="{5DEFCD3A-959D-4DFA-A20A-54B2A1EE505E}"/>
              </a:ext>
            </a:extLst>
          </p:cNvPr>
          <p:cNvCxnSpPr/>
          <p:nvPr/>
        </p:nvCxnSpPr>
        <p:spPr>
          <a:xfrm>
            <a:off x="2047248" y="2219325"/>
            <a:ext cx="406981" cy="0"/>
          </a:xfrm>
          <a:prstGeom prst="straightConnector1">
            <a:avLst/>
          </a:prstGeom>
          <a:ln w="12700">
            <a:solidFill>
              <a:schemeClr val="accent1">
                <a:lumMod val="60000"/>
                <a:lumOff val="40000"/>
              </a:schemeClr>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30" name="Straight Arrow Connector 42">
            <a:extLst>
              <a:ext uri="{FF2B5EF4-FFF2-40B4-BE49-F238E27FC236}">
                <a16:creationId xmlns:a16="http://schemas.microsoft.com/office/drawing/2014/main" id="{40B9010A-6E39-476E-BB88-EAA4CAB0C370}"/>
              </a:ext>
            </a:extLst>
          </p:cNvPr>
          <p:cNvCxnSpPr/>
          <p:nvPr/>
        </p:nvCxnSpPr>
        <p:spPr>
          <a:xfrm>
            <a:off x="2238785" y="2566163"/>
            <a:ext cx="406981" cy="0"/>
          </a:xfrm>
          <a:prstGeom prst="straightConnector1">
            <a:avLst/>
          </a:prstGeom>
          <a:ln w="12700">
            <a:solidFill>
              <a:schemeClr val="accent1">
                <a:lumMod val="60000"/>
                <a:lumOff val="40000"/>
              </a:schemeClr>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31" name="Straight Arrow Connector 43">
            <a:extLst>
              <a:ext uri="{FF2B5EF4-FFF2-40B4-BE49-F238E27FC236}">
                <a16:creationId xmlns:a16="http://schemas.microsoft.com/office/drawing/2014/main" id="{BEF60B4B-D6BD-4467-AC6A-E402593A299F}"/>
              </a:ext>
            </a:extLst>
          </p:cNvPr>
          <p:cNvCxnSpPr/>
          <p:nvPr/>
        </p:nvCxnSpPr>
        <p:spPr>
          <a:xfrm>
            <a:off x="2460095" y="2906891"/>
            <a:ext cx="406981" cy="0"/>
          </a:xfrm>
          <a:prstGeom prst="straightConnector1">
            <a:avLst/>
          </a:prstGeom>
          <a:ln w="12700">
            <a:solidFill>
              <a:schemeClr val="accent1">
                <a:lumMod val="60000"/>
                <a:lumOff val="40000"/>
              </a:schemeClr>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32" name="TextBox 44">
            <a:extLst>
              <a:ext uri="{FF2B5EF4-FFF2-40B4-BE49-F238E27FC236}">
                <a16:creationId xmlns:a16="http://schemas.microsoft.com/office/drawing/2014/main" id="{18002926-99DC-4A5B-B244-6E415CDCACFC}"/>
              </a:ext>
            </a:extLst>
          </p:cNvPr>
          <p:cNvSpPr txBox="1"/>
          <p:nvPr/>
        </p:nvSpPr>
        <p:spPr>
          <a:xfrm>
            <a:off x="2806764" y="4177889"/>
            <a:ext cx="1204176" cy="276999"/>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cs typeface="+mn-ea"/>
                <a:sym typeface="+mn-lt"/>
              </a:rPr>
              <a:t>Insert text here</a:t>
            </a:r>
            <a:endParaRPr kumimoji="0" lang="id-ID" sz="1200" b="0" i="0" u="none" strike="noStrike" kern="1200" cap="none" spc="0" normalizeH="0" baseline="0" noProof="0" dirty="0">
              <a:ln>
                <a:noFill/>
              </a:ln>
              <a:solidFill>
                <a:srgbClr val="000000"/>
              </a:solidFill>
              <a:effectLst/>
              <a:uLnTx/>
              <a:uFillTx/>
              <a:latin typeface="Arial"/>
              <a:cs typeface="+mn-ea"/>
              <a:sym typeface="+mn-lt"/>
            </a:endParaRPr>
          </a:p>
        </p:txBody>
      </p:sp>
      <p:sp>
        <p:nvSpPr>
          <p:cNvPr id="33" name="TextBox 45">
            <a:extLst>
              <a:ext uri="{FF2B5EF4-FFF2-40B4-BE49-F238E27FC236}">
                <a16:creationId xmlns:a16="http://schemas.microsoft.com/office/drawing/2014/main" id="{B9B0B2EB-AB79-4DD2-99C5-AF1B24F03AC0}"/>
              </a:ext>
            </a:extLst>
          </p:cNvPr>
          <p:cNvSpPr txBox="1"/>
          <p:nvPr/>
        </p:nvSpPr>
        <p:spPr>
          <a:xfrm>
            <a:off x="2383200" y="4823248"/>
            <a:ext cx="1204176" cy="276999"/>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cs typeface="+mn-ea"/>
                <a:sym typeface="+mn-lt"/>
              </a:rPr>
              <a:t>Insert text here</a:t>
            </a:r>
            <a:endParaRPr kumimoji="0" lang="id-ID" sz="1200" b="0" i="0" u="none" strike="noStrike" kern="1200" cap="none" spc="0" normalizeH="0" baseline="0" noProof="0" dirty="0">
              <a:ln>
                <a:noFill/>
              </a:ln>
              <a:solidFill>
                <a:srgbClr val="000000"/>
              </a:solidFill>
              <a:effectLst/>
              <a:uLnTx/>
              <a:uFillTx/>
              <a:latin typeface="Arial"/>
              <a:cs typeface="+mn-ea"/>
              <a:sym typeface="+mn-lt"/>
            </a:endParaRPr>
          </a:p>
        </p:txBody>
      </p:sp>
      <p:sp>
        <p:nvSpPr>
          <p:cNvPr id="34" name="TextBox 46">
            <a:extLst>
              <a:ext uri="{FF2B5EF4-FFF2-40B4-BE49-F238E27FC236}">
                <a16:creationId xmlns:a16="http://schemas.microsoft.com/office/drawing/2014/main" id="{1DA57CD2-9277-45C0-A5DC-7BFDB822F3D3}"/>
              </a:ext>
            </a:extLst>
          </p:cNvPr>
          <p:cNvSpPr txBox="1"/>
          <p:nvPr/>
        </p:nvSpPr>
        <p:spPr>
          <a:xfrm>
            <a:off x="2667682" y="4504588"/>
            <a:ext cx="1204176" cy="276999"/>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cs typeface="+mn-ea"/>
                <a:sym typeface="+mn-lt"/>
              </a:rPr>
              <a:t>Insert text here</a:t>
            </a:r>
            <a:endParaRPr kumimoji="0" lang="id-ID" sz="1200" b="0" i="0" u="none" strike="noStrike" kern="1200" cap="none" spc="0" normalizeH="0" baseline="0" noProof="0" dirty="0">
              <a:ln>
                <a:noFill/>
              </a:ln>
              <a:solidFill>
                <a:srgbClr val="000000"/>
              </a:solidFill>
              <a:effectLst/>
              <a:uLnTx/>
              <a:uFillTx/>
              <a:latin typeface="Arial"/>
              <a:cs typeface="+mn-ea"/>
              <a:sym typeface="+mn-lt"/>
            </a:endParaRPr>
          </a:p>
        </p:txBody>
      </p:sp>
      <p:cxnSp>
        <p:nvCxnSpPr>
          <p:cNvPr id="35" name="Straight Arrow Connector 47">
            <a:extLst>
              <a:ext uri="{FF2B5EF4-FFF2-40B4-BE49-F238E27FC236}">
                <a16:creationId xmlns:a16="http://schemas.microsoft.com/office/drawing/2014/main" id="{69C42333-281B-42F5-B5B7-668A56A2240A}"/>
              </a:ext>
            </a:extLst>
          </p:cNvPr>
          <p:cNvCxnSpPr/>
          <p:nvPr/>
        </p:nvCxnSpPr>
        <p:spPr>
          <a:xfrm>
            <a:off x="3594173" y="4969355"/>
            <a:ext cx="406981" cy="0"/>
          </a:xfrm>
          <a:prstGeom prst="straightConnector1">
            <a:avLst/>
          </a:prstGeom>
          <a:ln w="12700">
            <a:solidFill>
              <a:schemeClr val="accent1">
                <a:lumMod val="60000"/>
                <a:lumOff val="40000"/>
              </a:schemeClr>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36" name="Straight Arrow Connector 48">
            <a:extLst>
              <a:ext uri="{FF2B5EF4-FFF2-40B4-BE49-F238E27FC236}">
                <a16:creationId xmlns:a16="http://schemas.microsoft.com/office/drawing/2014/main" id="{DAC0BFAE-6397-46D0-B95A-7A7ACE178326}"/>
              </a:ext>
            </a:extLst>
          </p:cNvPr>
          <p:cNvCxnSpPr/>
          <p:nvPr/>
        </p:nvCxnSpPr>
        <p:spPr>
          <a:xfrm>
            <a:off x="3846559" y="4646731"/>
            <a:ext cx="406981" cy="0"/>
          </a:xfrm>
          <a:prstGeom prst="straightConnector1">
            <a:avLst/>
          </a:prstGeom>
          <a:ln w="12700">
            <a:solidFill>
              <a:schemeClr val="accent1">
                <a:lumMod val="60000"/>
                <a:lumOff val="40000"/>
              </a:schemeClr>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37" name="Straight Arrow Connector 49">
            <a:extLst>
              <a:ext uri="{FF2B5EF4-FFF2-40B4-BE49-F238E27FC236}">
                <a16:creationId xmlns:a16="http://schemas.microsoft.com/office/drawing/2014/main" id="{878C42EB-3BC1-4398-AFB6-AB02D782AF10}"/>
              </a:ext>
            </a:extLst>
          </p:cNvPr>
          <p:cNvCxnSpPr/>
          <p:nvPr/>
        </p:nvCxnSpPr>
        <p:spPr>
          <a:xfrm>
            <a:off x="4038345" y="4331152"/>
            <a:ext cx="406981" cy="0"/>
          </a:xfrm>
          <a:prstGeom prst="straightConnector1">
            <a:avLst/>
          </a:prstGeom>
          <a:ln w="12700">
            <a:solidFill>
              <a:schemeClr val="accent1">
                <a:lumMod val="60000"/>
                <a:lumOff val="40000"/>
              </a:schemeClr>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38" name="TextBox 50">
            <a:extLst>
              <a:ext uri="{FF2B5EF4-FFF2-40B4-BE49-F238E27FC236}">
                <a16:creationId xmlns:a16="http://schemas.microsoft.com/office/drawing/2014/main" id="{8DCCA799-F7CD-478B-B62F-893623AFAB63}"/>
              </a:ext>
            </a:extLst>
          </p:cNvPr>
          <p:cNvSpPr txBox="1"/>
          <p:nvPr/>
        </p:nvSpPr>
        <p:spPr>
          <a:xfrm>
            <a:off x="3680709" y="2047566"/>
            <a:ext cx="1204176" cy="276999"/>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cs typeface="+mn-ea"/>
                <a:sym typeface="+mn-lt"/>
              </a:rPr>
              <a:t>Insert text here</a:t>
            </a:r>
            <a:endParaRPr kumimoji="0" lang="id-ID" sz="1200" b="0" i="0" u="none" strike="noStrike" kern="1200" cap="none" spc="0" normalizeH="0" baseline="0" noProof="0" dirty="0">
              <a:ln>
                <a:noFill/>
              </a:ln>
              <a:solidFill>
                <a:srgbClr val="000000"/>
              </a:solidFill>
              <a:effectLst/>
              <a:uLnTx/>
              <a:uFillTx/>
              <a:latin typeface="Arial"/>
              <a:cs typeface="+mn-ea"/>
              <a:sym typeface="+mn-lt"/>
            </a:endParaRPr>
          </a:p>
        </p:txBody>
      </p:sp>
      <p:sp>
        <p:nvSpPr>
          <p:cNvPr id="39" name="TextBox 51">
            <a:extLst>
              <a:ext uri="{FF2B5EF4-FFF2-40B4-BE49-F238E27FC236}">
                <a16:creationId xmlns:a16="http://schemas.microsoft.com/office/drawing/2014/main" id="{AE234A19-AAC7-4999-A5B8-FAA9BC03036F}"/>
              </a:ext>
            </a:extLst>
          </p:cNvPr>
          <p:cNvSpPr txBox="1"/>
          <p:nvPr/>
        </p:nvSpPr>
        <p:spPr>
          <a:xfrm>
            <a:off x="3889284" y="2392539"/>
            <a:ext cx="1204176" cy="276999"/>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cs typeface="+mn-ea"/>
                <a:sym typeface="+mn-lt"/>
              </a:rPr>
              <a:t>Insert text here</a:t>
            </a:r>
            <a:endParaRPr kumimoji="0" lang="id-ID" sz="1200" b="0" i="0" u="none" strike="noStrike" kern="1200" cap="none" spc="0" normalizeH="0" baseline="0" noProof="0" dirty="0">
              <a:ln>
                <a:noFill/>
              </a:ln>
              <a:solidFill>
                <a:srgbClr val="000000"/>
              </a:solidFill>
              <a:effectLst/>
              <a:uLnTx/>
              <a:uFillTx/>
              <a:latin typeface="Arial"/>
              <a:cs typeface="+mn-ea"/>
              <a:sym typeface="+mn-lt"/>
            </a:endParaRPr>
          </a:p>
        </p:txBody>
      </p:sp>
      <p:sp>
        <p:nvSpPr>
          <p:cNvPr id="40" name="TextBox 52">
            <a:extLst>
              <a:ext uri="{FF2B5EF4-FFF2-40B4-BE49-F238E27FC236}">
                <a16:creationId xmlns:a16="http://schemas.microsoft.com/office/drawing/2014/main" id="{D1B70302-5E92-46E7-A5D7-7E2897CA683D}"/>
              </a:ext>
            </a:extLst>
          </p:cNvPr>
          <p:cNvSpPr txBox="1"/>
          <p:nvPr/>
        </p:nvSpPr>
        <p:spPr>
          <a:xfrm>
            <a:off x="4150693" y="2733267"/>
            <a:ext cx="1204176" cy="276999"/>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cs typeface="+mn-ea"/>
                <a:sym typeface="+mn-lt"/>
              </a:rPr>
              <a:t>Insert text here</a:t>
            </a:r>
            <a:endParaRPr kumimoji="0" lang="id-ID" sz="1200" b="0" i="0" u="none" strike="noStrike" kern="1200" cap="none" spc="0" normalizeH="0" baseline="0" noProof="0" dirty="0">
              <a:ln>
                <a:noFill/>
              </a:ln>
              <a:solidFill>
                <a:srgbClr val="000000"/>
              </a:solidFill>
              <a:effectLst/>
              <a:uLnTx/>
              <a:uFillTx/>
              <a:latin typeface="Arial"/>
              <a:cs typeface="+mn-ea"/>
              <a:sym typeface="+mn-lt"/>
            </a:endParaRPr>
          </a:p>
        </p:txBody>
      </p:sp>
      <p:cxnSp>
        <p:nvCxnSpPr>
          <p:cNvPr id="41" name="Straight Arrow Connector 53">
            <a:extLst>
              <a:ext uri="{FF2B5EF4-FFF2-40B4-BE49-F238E27FC236}">
                <a16:creationId xmlns:a16="http://schemas.microsoft.com/office/drawing/2014/main" id="{3416BDB4-1F14-4555-90F8-DBAD398BE46D}"/>
              </a:ext>
            </a:extLst>
          </p:cNvPr>
          <p:cNvCxnSpPr/>
          <p:nvPr/>
        </p:nvCxnSpPr>
        <p:spPr>
          <a:xfrm>
            <a:off x="4917312" y="2184200"/>
            <a:ext cx="406981" cy="0"/>
          </a:xfrm>
          <a:prstGeom prst="straightConnector1">
            <a:avLst/>
          </a:prstGeom>
          <a:ln w="12700">
            <a:solidFill>
              <a:schemeClr val="accent1">
                <a:lumMod val="60000"/>
                <a:lumOff val="40000"/>
              </a:schemeClr>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42" name="Straight Arrow Connector 54">
            <a:extLst>
              <a:ext uri="{FF2B5EF4-FFF2-40B4-BE49-F238E27FC236}">
                <a16:creationId xmlns:a16="http://schemas.microsoft.com/office/drawing/2014/main" id="{CAB2A201-BADD-41C9-9638-79631BCCBF74}"/>
              </a:ext>
            </a:extLst>
          </p:cNvPr>
          <p:cNvCxnSpPr/>
          <p:nvPr/>
        </p:nvCxnSpPr>
        <p:spPr>
          <a:xfrm>
            <a:off x="5108849" y="2531038"/>
            <a:ext cx="406981" cy="0"/>
          </a:xfrm>
          <a:prstGeom prst="straightConnector1">
            <a:avLst/>
          </a:prstGeom>
          <a:ln w="12700">
            <a:solidFill>
              <a:schemeClr val="accent1">
                <a:lumMod val="60000"/>
                <a:lumOff val="40000"/>
              </a:schemeClr>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43" name="Straight Arrow Connector 55">
            <a:extLst>
              <a:ext uri="{FF2B5EF4-FFF2-40B4-BE49-F238E27FC236}">
                <a16:creationId xmlns:a16="http://schemas.microsoft.com/office/drawing/2014/main" id="{F63D7219-D3F8-4892-B685-DE3D5CF4A7A6}"/>
              </a:ext>
            </a:extLst>
          </p:cNvPr>
          <p:cNvCxnSpPr/>
          <p:nvPr/>
        </p:nvCxnSpPr>
        <p:spPr>
          <a:xfrm>
            <a:off x="5330159" y="2871766"/>
            <a:ext cx="406981" cy="0"/>
          </a:xfrm>
          <a:prstGeom prst="straightConnector1">
            <a:avLst/>
          </a:prstGeom>
          <a:ln w="12700">
            <a:solidFill>
              <a:schemeClr val="accent1">
                <a:lumMod val="60000"/>
                <a:lumOff val="40000"/>
              </a:schemeClr>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44" name="TextBox 56">
            <a:extLst>
              <a:ext uri="{FF2B5EF4-FFF2-40B4-BE49-F238E27FC236}">
                <a16:creationId xmlns:a16="http://schemas.microsoft.com/office/drawing/2014/main" id="{058A7DB1-A439-4FEB-99E1-55F861C8CE27}"/>
              </a:ext>
            </a:extLst>
          </p:cNvPr>
          <p:cNvSpPr txBox="1"/>
          <p:nvPr/>
        </p:nvSpPr>
        <p:spPr>
          <a:xfrm>
            <a:off x="5676828" y="4142764"/>
            <a:ext cx="1204176" cy="276999"/>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cs typeface="+mn-ea"/>
                <a:sym typeface="+mn-lt"/>
              </a:rPr>
              <a:t>Insert text here</a:t>
            </a:r>
            <a:endParaRPr kumimoji="0" lang="id-ID" sz="1200" b="0" i="0" u="none" strike="noStrike" kern="1200" cap="none" spc="0" normalizeH="0" baseline="0" noProof="0" dirty="0">
              <a:ln>
                <a:noFill/>
              </a:ln>
              <a:solidFill>
                <a:srgbClr val="000000"/>
              </a:solidFill>
              <a:effectLst/>
              <a:uLnTx/>
              <a:uFillTx/>
              <a:latin typeface="Arial"/>
              <a:cs typeface="+mn-ea"/>
              <a:sym typeface="+mn-lt"/>
            </a:endParaRPr>
          </a:p>
        </p:txBody>
      </p:sp>
      <p:sp>
        <p:nvSpPr>
          <p:cNvPr id="45" name="TextBox 57">
            <a:extLst>
              <a:ext uri="{FF2B5EF4-FFF2-40B4-BE49-F238E27FC236}">
                <a16:creationId xmlns:a16="http://schemas.microsoft.com/office/drawing/2014/main" id="{3294CC81-C87C-471C-A784-0AF9F83E1C0B}"/>
              </a:ext>
            </a:extLst>
          </p:cNvPr>
          <p:cNvSpPr txBox="1"/>
          <p:nvPr/>
        </p:nvSpPr>
        <p:spPr>
          <a:xfrm>
            <a:off x="5253264" y="4788123"/>
            <a:ext cx="1204176" cy="276999"/>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cs typeface="+mn-ea"/>
                <a:sym typeface="+mn-lt"/>
              </a:rPr>
              <a:t>Insert text here</a:t>
            </a:r>
            <a:endParaRPr kumimoji="0" lang="id-ID" sz="1200" b="0" i="0" u="none" strike="noStrike" kern="1200" cap="none" spc="0" normalizeH="0" baseline="0" noProof="0" dirty="0">
              <a:ln>
                <a:noFill/>
              </a:ln>
              <a:solidFill>
                <a:srgbClr val="000000"/>
              </a:solidFill>
              <a:effectLst/>
              <a:uLnTx/>
              <a:uFillTx/>
              <a:latin typeface="Arial"/>
              <a:cs typeface="+mn-ea"/>
              <a:sym typeface="+mn-lt"/>
            </a:endParaRPr>
          </a:p>
        </p:txBody>
      </p:sp>
      <p:sp>
        <p:nvSpPr>
          <p:cNvPr id="46" name="TextBox 58">
            <a:extLst>
              <a:ext uri="{FF2B5EF4-FFF2-40B4-BE49-F238E27FC236}">
                <a16:creationId xmlns:a16="http://schemas.microsoft.com/office/drawing/2014/main" id="{AA74AE9B-9063-45CF-B753-C1B10933CF6D}"/>
              </a:ext>
            </a:extLst>
          </p:cNvPr>
          <p:cNvSpPr txBox="1"/>
          <p:nvPr/>
        </p:nvSpPr>
        <p:spPr>
          <a:xfrm>
            <a:off x="5537746" y="4469463"/>
            <a:ext cx="1204176" cy="276999"/>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cs typeface="+mn-ea"/>
                <a:sym typeface="+mn-lt"/>
              </a:rPr>
              <a:t>Insert text here</a:t>
            </a:r>
            <a:endParaRPr kumimoji="0" lang="id-ID" sz="1200" b="0" i="0" u="none" strike="noStrike" kern="1200" cap="none" spc="0" normalizeH="0" baseline="0" noProof="0" dirty="0">
              <a:ln>
                <a:noFill/>
              </a:ln>
              <a:solidFill>
                <a:srgbClr val="000000"/>
              </a:solidFill>
              <a:effectLst/>
              <a:uLnTx/>
              <a:uFillTx/>
              <a:latin typeface="Arial"/>
              <a:cs typeface="+mn-ea"/>
              <a:sym typeface="+mn-lt"/>
            </a:endParaRPr>
          </a:p>
        </p:txBody>
      </p:sp>
      <p:cxnSp>
        <p:nvCxnSpPr>
          <p:cNvPr id="47" name="Straight Arrow Connector 59">
            <a:extLst>
              <a:ext uri="{FF2B5EF4-FFF2-40B4-BE49-F238E27FC236}">
                <a16:creationId xmlns:a16="http://schemas.microsoft.com/office/drawing/2014/main" id="{FD3F676B-ACB1-4658-8F91-ECFB4AFE0B3A}"/>
              </a:ext>
            </a:extLst>
          </p:cNvPr>
          <p:cNvCxnSpPr/>
          <p:nvPr/>
        </p:nvCxnSpPr>
        <p:spPr>
          <a:xfrm>
            <a:off x="6464237" y="4934230"/>
            <a:ext cx="406981" cy="0"/>
          </a:xfrm>
          <a:prstGeom prst="straightConnector1">
            <a:avLst/>
          </a:prstGeom>
          <a:ln w="12700">
            <a:solidFill>
              <a:schemeClr val="accent1">
                <a:lumMod val="60000"/>
                <a:lumOff val="40000"/>
              </a:schemeClr>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48" name="Straight Arrow Connector 60">
            <a:extLst>
              <a:ext uri="{FF2B5EF4-FFF2-40B4-BE49-F238E27FC236}">
                <a16:creationId xmlns:a16="http://schemas.microsoft.com/office/drawing/2014/main" id="{ACE0AF00-203F-4FBF-922A-D9AB5067CCC2}"/>
              </a:ext>
            </a:extLst>
          </p:cNvPr>
          <p:cNvCxnSpPr/>
          <p:nvPr/>
        </p:nvCxnSpPr>
        <p:spPr>
          <a:xfrm>
            <a:off x="6716623" y="4611606"/>
            <a:ext cx="406981" cy="0"/>
          </a:xfrm>
          <a:prstGeom prst="straightConnector1">
            <a:avLst/>
          </a:prstGeom>
          <a:ln w="12700">
            <a:solidFill>
              <a:schemeClr val="accent1">
                <a:lumMod val="60000"/>
                <a:lumOff val="40000"/>
              </a:schemeClr>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49" name="Straight Arrow Connector 61">
            <a:extLst>
              <a:ext uri="{FF2B5EF4-FFF2-40B4-BE49-F238E27FC236}">
                <a16:creationId xmlns:a16="http://schemas.microsoft.com/office/drawing/2014/main" id="{2E5D75C4-EC68-4117-A50D-A8C76FAE441D}"/>
              </a:ext>
            </a:extLst>
          </p:cNvPr>
          <p:cNvCxnSpPr/>
          <p:nvPr/>
        </p:nvCxnSpPr>
        <p:spPr>
          <a:xfrm>
            <a:off x="6908409" y="4296027"/>
            <a:ext cx="406981" cy="0"/>
          </a:xfrm>
          <a:prstGeom prst="straightConnector1">
            <a:avLst/>
          </a:prstGeom>
          <a:ln w="12700">
            <a:solidFill>
              <a:schemeClr val="accent1">
                <a:lumMod val="60000"/>
                <a:lumOff val="40000"/>
              </a:schemeClr>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50" name="TextBox 62">
            <a:extLst>
              <a:ext uri="{FF2B5EF4-FFF2-40B4-BE49-F238E27FC236}">
                <a16:creationId xmlns:a16="http://schemas.microsoft.com/office/drawing/2014/main" id="{9639E706-8D83-40DA-83E0-90CEDAEA4FE2}"/>
              </a:ext>
            </a:extLst>
          </p:cNvPr>
          <p:cNvSpPr txBox="1"/>
          <p:nvPr/>
        </p:nvSpPr>
        <p:spPr>
          <a:xfrm>
            <a:off x="6565388" y="2017399"/>
            <a:ext cx="1204176" cy="276999"/>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cs typeface="+mn-ea"/>
                <a:sym typeface="+mn-lt"/>
              </a:rPr>
              <a:t>Insert text here</a:t>
            </a:r>
            <a:endParaRPr kumimoji="0" lang="id-ID" sz="1200" b="0" i="0" u="none" strike="noStrike" kern="1200" cap="none" spc="0" normalizeH="0" baseline="0" noProof="0" dirty="0">
              <a:ln>
                <a:noFill/>
              </a:ln>
              <a:solidFill>
                <a:srgbClr val="000000"/>
              </a:solidFill>
              <a:effectLst/>
              <a:uLnTx/>
              <a:uFillTx/>
              <a:latin typeface="Arial"/>
              <a:cs typeface="+mn-ea"/>
              <a:sym typeface="+mn-lt"/>
            </a:endParaRPr>
          </a:p>
        </p:txBody>
      </p:sp>
      <p:sp>
        <p:nvSpPr>
          <p:cNvPr id="51" name="TextBox 63">
            <a:extLst>
              <a:ext uri="{FF2B5EF4-FFF2-40B4-BE49-F238E27FC236}">
                <a16:creationId xmlns:a16="http://schemas.microsoft.com/office/drawing/2014/main" id="{3F429F6F-325A-407B-8CA7-7BD393B160B6}"/>
              </a:ext>
            </a:extLst>
          </p:cNvPr>
          <p:cNvSpPr txBox="1"/>
          <p:nvPr/>
        </p:nvSpPr>
        <p:spPr>
          <a:xfrm>
            <a:off x="6773963" y="2362372"/>
            <a:ext cx="1204176" cy="276999"/>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cs typeface="+mn-ea"/>
                <a:sym typeface="+mn-lt"/>
              </a:rPr>
              <a:t>Insert text here</a:t>
            </a:r>
            <a:endParaRPr kumimoji="0" lang="id-ID" sz="1200" b="0" i="0" u="none" strike="noStrike" kern="1200" cap="none" spc="0" normalizeH="0" baseline="0" noProof="0" dirty="0">
              <a:ln>
                <a:noFill/>
              </a:ln>
              <a:solidFill>
                <a:srgbClr val="000000"/>
              </a:solidFill>
              <a:effectLst/>
              <a:uLnTx/>
              <a:uFillTx/>
              <a:latin typeface="Arial"/>
              <a:cs typeface="+mn-ea"/>
              <a:sym typeface="+mn-lt"/>
            </a:endParaRPr>
          </a:p>
        </p:txBody>
      </p:sp>
      <p:sp>
        <p:nvSpPr>
          <p:cNvPr id="52" name="TextBox 64">
            <a:extLst>
              <a:ext uri="{FF2B5EF4-FFF2-40B4-BE49-F238E27FC236}">
                <a16:creationId xmlns:a16="http://schemas.microsoft.com/office/drawing/2014/main" id="{86F4BA77-35D0-4D6A-BC9F-301481EC74B4}"/>
              </a:ext>
            </a:extLst>
          </p:cNvPr>
          <p:cNvSpPr txBox="1"/>
          <p:nvPr/>
        </p:nvSpPr>
        <p:spPr>
          <a:xfrm>
            <a:off x="7035372" y="2703100"/>
            <a:ext cx="1204176" cy="276999"/>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cs typeface="+mn-ea"/>
                <a:sym typeface="+mn-lt"/>
              </a:rPr>
              <a:t>Insert text here</a:t>
            </a:r>
            <a:endParaRPr kumimoji="0" lang="id-ID" sz="1200" b="0" i="0" u="none" strike="noStrike" kern="1200" cap="none" spc="0" normalizeH="0" baseline="0" noProof="0" dirty="0">
              <a:ln>
                <a:noFill/>
              </a:ln>
              <a:solidFill>
                <a:srgbClr val="000000"/>
              </a:solidFill>
              <a:effectLst/>
              <a:uLnTx/>
              <a:uFillTx/>
              <a:latin typeface="Arial"/>
              <a:cs typeface="+mn-ea"/>
              <a:sym typeface="+mn-lt"/>
            </a:endParaRPr>
          </a:p>
        </p:txBody>
      </p:sp>
      <p:cxnSp>
        <p:nvCxnSpPr>
          <p:cNvPr id="53" name="Straight Arrow Connector 65">
            <a:extLst>
              <a:ext uri="{FF2B5EF4-FFF2-40B4-BE49-F238E27FC236}">
                <a16:creationId xmlns:a16="http://schemas.microsoft.com/office/drawing/2014/main" id="{D2C9F8C0-89BF-4467-89A6-39BD05252054}"/>
              </a:ext>
            </a:extLst>
          </p:cNvPr>
          <p:cNvCxnSpPr/>
          <p:nvPr/>
        </p:nvCxnSpPr>
        <p:spPr>
          <a:xfrm>
            <a:off x="7801991" y="2154033"/>
            <a:ext cx="406981" cy="0"/>
          </a:xfrm>
          <a:prstGeom prst="straightConnector1">
            <a:avLst/>
          </a:prstGeom>
          <a:ln w="12700">
            <a:solidFill>
              <a:schemeClr val="accent1">
                <a:lumMod val="60000"/>
                <a:lumOff val="40000"/>
              </a:schemeClr>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54" name="Straight Arrow Connector 66">
            <a:extLst>
              <a:ext uri="{FF2B5EF4-FFF2-40B4-BE49-F238E27FC236}">
                <a16:creationId xmlns:a16="http://schemas.microsoft.com/office/drawing/2014/main" id="{40DE324C-0314-4DB1-9A14-8FB3EFE1CB1B}"/>
              </a:ext>
            </a:extLst>
          </p:cNvPr>
          <p:cNvCxnSpPr/>
          <p:nvPr/>
        </p:nvCxnSpPr>
        <p:spPr>
          <a:xfrm>
            <a:off x="7993528" y="2500871"/>
            <a:ext cx="406981" cy="0"/>
          </a:xfrm>
          <a:prstGeom prst="straightConnector1">
            <a:avLst/>
          </a:prstGeom>
          <a:ln w="12700">
            <a:solidFill>
              <a:schemeClr val="accent1">
                <a:lumMod val="60000"/>
                <a:lumOff val="40000"/>
              </a:schemeClr>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55" name="Straight Arrow Connector 67">
            <a:extLst>
              <a:ext uri="{FF2B5EF4-FFF2-40B4-BE49-F238E27FC236}">
                <a16:creationId xmlns:a16="http://schemas.microsoft.com/office/drawing/2014/main" id="{B2AEC26A-3473-4D98-AF36-392EB4D25DE2}"/>
              </a:ext>
            </a:extLst>
          </p:cNvPr>
          <p:cNvCxnSpPr/>
          <p:nvPr/>
        </p:nvCxnSpPr>
        <p:spPr>
          <a:xfrm>
            <a:off x="8214838" y="2841599"/>
            <a:ext cx="406981" cy="0"/>
          </a:xfrm>
          <a:prstGeom prst="straightConnector1">
            <a:avLst/>
          </a:prstGeom>
          <a:ln w="12700">
            <a:solidFill>
              <a:schemeClr val="accent1">
                <a:lumMod val="60000"/>
                <a:lumOff val="40000"/>
              </a:schemeClr>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56" name="Freeform 70">
            <a:extLst>
              <a:ext uri="{FF2B5EF4-FFF2-40B4-BE49-F238E27FC236}">
                <a16:creationId xmlns:a16="http://schemas.microsoft.com/office/drawing/2014/main" id="{1E1556E6-574E-40E5-BC26-5DAAE4E9B684}"/>
              </a:ext>
            </a:extLst>
          </p:cNvPr>
          <p:cNvSpPr>
            <a:spLocks noEditPoints="1"/>
          </p:cNvSpPr>
          <p:nvPr/>
        </p:nvSpPr>
        <p:spPr bwMode="auto">
          <a:xfrm>
            <a:off x="3143928" y="3460061"/>
            <a:ext cx="306734" cy="332407"/>
          </a:xfrm>
          <a:custGeom>
            <a:avLst/>
            <a:gdLst>
              <a:gd name="T0" fmla="*/ 48 w 96"/>
              <a:gd name="T1" fmla="*/ 104 h 104"/>
              <a:gd name="T2" fmla="*/ 0 w 96"/>
              <a:gd name="T3" fmla="*/ 56 h 104"/>
              <a:gd name="T4" fmla="*/ 19 w 96"/>
              <a:gd name="T5" fmla="*/ 18 h 104"/>
              <a:gd name="T6" fmla="*/ 30 w 96"/>
              <a:gd name="T7" fmla="*/ 20 h 104"/>
              <a:gd name="T8" fmla="*/ 28 w 96"/>
              <a:gd name="T9" fmla="*/ 31 h 104"/>
              <a:gd name="T10" fmla="*/ 16 w 96"/>
              <a:gd name="T11" fmla="*/ 56 h 104"/>
              <a:gd name="T12" fmla="*/ 48 w 96"/>
              <a:gd name="T13" fmla="*/ 88 h 104"/>
              <a:gd name="T14" fmla="*/ 80 w 96"/>
              <a:gd name="T15" fmla="*/ 56 h 104"/>
              <a:gd name="T16" fmla="*/ 67 w 96"/>
              <a:gd name="T17" fmla="*/ 31 h 104"/>
              <a:gd name="T18" fmla="*/ 65 w 96"/>
              <a:gd name="T19" fmla="*/ 20 h 104"/>
              <a:gd name="T20" fmla="*/ 76 w 96"/>
              <a:gd name="T21" fmla="*/ 18 h 104"/>
              <a:gd name="T22" fmla="*/ 96 w 96"/>
              <a:gd name="T23" fmla="*/ 56 h 104"/>
              <a:gd name="T24" fmla="*/ 48 w 96"/>
              <a:gd name="T25" fmla="*/ 104 h 104"/>
              <a:gd name="T26" fmla="*/ 56 w 96"/>
              <a:gd name="T27" fmla="*/ 48 h 104"/>
              <a:gd name="T28" fmla="*/ 48 w 96"/>
              <a:gd name="T29" fmla="*/ 56 h 104"/>
              <a:gd name="T30" fmla="*/ 40 w 96"/>
              <a:gd name="T31" fmla="*/ 48 h 104"/>
              <a:gd name="T32" fmla="*/ 40 w 96"/>
              <a:gd name="T33" fmla="*/ 8 h 104"/>
              <a:gd name="T34" fmla="*/ 48 w 96"/>
              <a:gd name="T35" fmla="*/ 0 h 104"/>
              <a:gd name="T36" fmla="*/ 56 w 96"/>
              <a:gd name="T37" fmla="*/ 8 h 104"/>
              <a:gd name="T38" fmla="*/ 56 w 96"/>
              <a:gd name="T39" fmla="*/ 48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6" h="104">
                <a:moveTo>
                  <a:pt x="48" y="104"/>
                </a:moveTo>
                <a:cubicBezTo>
                  <a:pt x="21" y="104"/>
                  <a:pt x="0" y="83"/>
                  <a:pt x="0" y="56"/>
                </a:cubicBezTo>
                <a:cubicBezTo>
                  <a:pt x="0" y="41"/>
                  <a:pt x="7" y="27"/>
                  <a:pt x="19" y="18"/>
                </a:cubicBezTo>
                <a:cubicBezTo>
                  <a:pt x="22" y="15"/>
                  <a:pt x="27" y="16"/>
                  <a:pt x="30" y="20"/>
                </a:cubicBezTo>
                <a:cubicBezTo>
                  <a:pt x="33" y="23"/>
                  <a:pt x="32" y="28"/>
                  <a:pt x="28" y="31"/>
                </a:cubicBezTo>
                <a:cubicBezTo>
                  <a:pt x="20" y="37"/>
                  <a:pt x="16" y="46"/>
                  <a:pt x="16" y="56"/>
                </a:cubicBezTo>
                <a:cubicBezTo>
                  <a:pt x="16" y="74"/>
                  <a:pt x="30" y="88"/>
                  <a:pt x="48" y="88"/>
                </a:cubicBezTo>
                <a:cubicBezTo>
                  <a:pt x="65" y="88"/>
                  <a:pt x="80" y="74"/>
                  <a:pt x="80" y="56"/>
                </a:cubicBezTo>
                <a:cubicBezTo>
                  <a:pt x="80" y="46"/>
                  <a:pt x="75" y="37"/>
                  <a:pt x="67" y="31"/>
                </a:cubicBezTo>
                <a:cubicBezTo>
                  <a:pt x="63" y="28"/>
                  <a:pt x="63" y="23"/>
                  <a:pt x="65" y="20"/>
                </a:cubicBezTo>
                <a:cubicBezTo>
                  <a:pt x="68" y="16"/>
                  <a:pt x="73" y="15"/>
                  <a:pt x="76" y="18"/>
                </a:cubicBezTo>
                <a:cubicBezTo>
                  <a:pt x="89" y="27"/>
                  <a:pt x="96" y="41"/>
                  <a:pt x="96" y="56"/>
                </a:cubicBezTo>
                <a:cubicBezTo>
                  <a:pt x="96" y="83"/>
                  <a:pt x="74" y="104"/>
                  <a:pt x="48" y="104"/>
                </a:cubicBezTo>
                <a:close/>
                <a:moveTo>
                  <a:pt x="56" y="48"/>
                </a:moveTo>
                <a:cubicBezTo>
                  <a:pt x="56" y="53"/>
                  <a:pt x="52" y="56"/>
                  <a:pt x="48" y="56"/>
                </a:cubicBezTo>
                <a:cubicBezTo>
                  <a:pt x="43" y="56"/>
                  <a:pt x="40" y="53"/>
                  <a:pt x="40" y="48"/>
                </a:cubicBezTo>
                <a:cubicBezTo>
                  <a:pt x="40" y="8"/>
                  <a:pt x="40" y="8"/>
                  <a:pt x="40" y="8"/>
                </a:cubicBezTo>
                <a:cubicBezTo>
                  <a:pt x="40" y="4"/>
                  <a:pt x="43" y="0"/>
                  <a:pt x="48" y="0"/>
                </a:cubicBezTo>
                <a:cubicBezTo>
                  <a:pt x="52" y="0"/>
                  <a:pt x="56" y="4"/>
                  <a:pt x="56" y="8"/>
                </a:cubicBezTo>
                <a:lnTo>
                  <a:pt x="56" y="48"/>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cs typeface="+mn-ea"/>
              <a:sym typeface="+mn-lt"/>
            </a:endParaRPr>
          </a:p>
        </p:txBody>
      </p:sp>
      <p:sp>
        <p:nvSpPr>
          <p:cNvPr id="57" name="Freeform 101">
            <a:extLst>
              <a:ext uri="{FF2B5EF4-FFF2-40B4-BE49-F238E27FC236}">
                <a16:creationId xmlns:a16="http://schemas.microsoft.com/office/drawing/2014/main" id="{307EC53F-0032-45DC-9442-8AE1E7522656}"/>
              </a:ext>
            </a:extLst>
          </p:cNvPr>
          <p:cNvSpPr>
            <a:spLocks noEditPoints="1"/>
          </p:cNvSpPr>
          <p:nvPr/>
        </p:nvSpPr>
        <p:spPr bwMode="auto">
          <a:xfrm>
            <a:off x="4603817" y="3447361"/>
            <a:ext cx="299978" cy="304032"/>
          </a:xfrm>
          <a:custGeom>
            <a:avLst/>
            <a:gdLst>
              <a:gd name="T0" fmla="*/ 78 w 94"/>
              <a:gd name="T1" fmla="*/ 43 h 95"/>
              <a:gd name="T2" fmla="*/ 26 w 94"/>
              <a:gd name="T3" fmla="*/ 95 h 95"/>
              <a:gd name="T4" fmla="*/ 0 w 94"/>
              <a:gd name="T5" fmla="*/ 95 h 95"/>
              <a:gd name="T6" fmla="*/ 0 w 94"/>
              <a:gd name="T7" fmla="*/ 69 h 95"/>
              <a:gd name="T8" fmla="*/ 52 w 94"/>
              <a:gd name="T9" fmla="*/ 17 h 95"/>
              <a:gd name="T10" fmla="*/ 78 w 94"/>
              <a:gd name="T11" fmla="*/ 43 h 95"/>
              <a:gd name="T12" fmla="*/ 28 w 94"/>
              <a:gd name="T13" fmla="*/ 81 h 95"/>
              <a:gd name="T14" fmla="*/ 13 w 94"/>
              <a:gd name="T15" fmla="*/ 67 h 95"/>
              <a:gd name="T16" fmla="*/ 8 w 94"/>
              <a:gd name="T17" fmla="*/ 72 h 95"/>
              <a:gd name="T18" fmla="*/ 8 w 94"/>
              <a:gd name="T19" fmla="*/ 79 h 95"/>
              <a:gd name="T20" fmla="*/ 16 w 94"/>
              <a:gd name="T21" fmla="*/ 79 h 95"/>
              <a:gd name="T22" fmla="*/ 16 w 94"/>
              <a:gd name="T23" fmla="*/ 87 h 95"/>
              <a:gd name="T24" fmla="*/ 22 w 94"/>
              <a:gd name="T25" fmla="*/ 87 h 95"/>
              <a:gd name="T26" fmla="*/ 28 w 94"/>
              <a:gd name="T27" fmla="*/ 81 h 95"/>
              <a:gd name="T28" fmla="*/ 54 w 94"/>
              <a:gd name="T29" fmla="*/ 28 h 95"/>
              <a:gd name="T30" fmla="*/ 53 w 94"/>
              <a:gd name="T31" fmla="*/ 28 h 95"/>
              <a:gd name="T32" fmla="*/ 19 w 94"/>
              <a:gd name="T33" fmla="*/ 62 h 95"/>
              <a:gd name="T34" fmla="*/ 18 w 94"/>
              <a:gd name="T35" fmla="*/ 63 h 95"/>
              <a:gd name="T36" fmla="*/ 20 w 94"/>
              <a:gd name="T37" fmla="*/ 64 h 95"/>
              <a:gd name="T38" fmla="*/ 21 w 94"/>
              <a:gd name="T39" fmla="*/ 64 h 95"/>
              <a:gd name="T40" fmla="*/ 55 w 94"/>
              <a:gd name="T41" fmla="*/ 30 h 95"/>
              <a:gd name="T42" fmla="*/ 55 w 94"/>
              <a:gd name="T43" fmla="*/ 29 h 95"/>
              <a:gd name="T44" fmla="*/ 54 w 94"/>
              <a:gd name="T45" fmla="*/ 28 h 95"/>
              <a:gd name="T46" fmla="*/ 92 w 94"/>
              <a:gd name="T47" fmla="*/ 29 h 95"/>
              <a:gd name="T48" fmla="*/ 82 w 94"/>
              <a:gd name="T49" fmla="*/ 39 h 95"/>
              <a:gd name="T50" fmla="*/ 56 w 94"/>
              <a:gd name="T51" fmla="*/ 13 h 95"/>
              <a:gd name="T52" fmla="*/ 66 w 94"/>
              <a:gd name="T53" fmla="*/ 3 h 95"/>
              <a:gd name="T54" fmla="*/ 72 w 94"/>
              <a:gd name="T55" fmla="*/ 0 h 95"/>
              <a:gd name="T56" fmla="*/ 77 w 94"/>
              <a:gd name="T57" fmla="*/ 3 h 95"/>
              <a:gd name="T58" fmla="*/ 92 w 94"/>
              <a:gd name="T59" fmla="*/ 17 h 95"/>
              <a:gd name="T60" fmla="*/ 94 w 94"/>
              <a:gd name="T61" fmla="*/ 23 h 95"/>
              <a:gd name="T62" fmla="*/ 92 w 94"/>
              <a:gd name="T63" fmla="*/ 29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4" h="95">
                <a:moveTo>
                  <a:pt x="78" y="43"/>
                </a:moveTo>
                <a:cubicBezTo>
                  <a:pt x="26" y="95"/>
                  <a:pt x="26" y="95"/>
                  <a:pt x="26" y="95"/>
                </a:cubicBezTo>
                <a:cubicBezTo>
                  <a:pt x="0" y="95"/>
                  <a:pt x="0" y="95"/>
                  <a:pt x="0" y="95"/>
                </a:cubicBezTo>
                <a:cubicBezTo>
                  <a:pt x="0" y="69"/>
                  <a:pt x="0" y="69"/>
                  <a:pt x="0" y="69"/>
                </a:cubicBezTo>
                <a:cubicBezTo>
                  <a:pt x="52" y="17"/>
                  <a:pt x="52" y="17"/>
                  <a:pt x="52" y="17"/>
                </a:cubicBezTo>
                <a:lnTo>
                  <a:pt x="78" y="43"/>
                </a:lnTo>
                <a:close/>
                <a:moveTo>
                  <a:pt x="28" y="81"/>
                </a:moveTo>
                <a:cubicBezTo>
                  <a:pt x="13" y="67"/>
                  <a:pt x="13" y="67"/>
                  <a:pt x="13" y="67"/>
                </a:cubicBezTo>
                <a:cubicBezTo>
                  <a:pt x="8" y="72"/>
                  <a:pt x="8" y="72"/>
                  <a:pt x="8" y="72"/>
                </a:cubicBezTo>
                <a:cubicBezTo>
                  <a:pt x="8" y="79"/>
                  <a:pt x="8" y="79"/>
                  <a:pt x="8" y="79"/>
                </a:cubicBezTo>
                <a:cubicBezTo>
                  <a:pt x="16" y="79"/>
                  <a:pt x="16" y="79"/>
                  <a:pt x="16" y="79"/>
                </a:cubicBezTo>
                <a:cubicBezTo>
                  <a:pt x="16" y="87"/>
                  <a:pt x="16" y="87"/>
                  <a:pt x="16" y="87"/>
                </a:cubicBezTo>
                <a:cubicBezTo>
                  <a:pt x="22" y="87"/>
                  <a:pt x="22" y="87"/>
                  <a:pt x="22" y="87"/>
                </a:cubicBezTo>
                <a:lnTo>
                  <a:pt x="28" y="81"/>
                </a:lnTo>
                <a:close/>
                <a:moveTo>
                  <a:pt x="54" y="28"/>
                </a:moveTo>
                <a:cubicBezTo>
                  <a:pt x="53" y="28"/>
                  <a:pt x="53" y="28"/>
                  <a:pt x="53" y="28"/>
                </a:cubicBezTo>
                <a:cubicBezTo>
                  <a:pt x="19" y="62"/>
                  <a:pt x="19" y="62"/>
                  <a:pt x="19" y="62"/>
                </a:cubicBezTo>
                <a:cubicBezTo>
                  <a:pt x="19" y="62"/>
                  <a:pt x="18" y="63"/>
                  <a:pt x="18" y="63"/>
                </a:cubicBezTo>
                <a:cubicBezTo>
                  <a:pt x="18" y="64"/>
                  <a:pt x="19" y="64"/>
                  <a:pt x="20" y="64"/>
                </a:cubicBezTo>
                <a:cubicBezTo>
                  <a:pt x="20" y="64"/>
                  <a:pt x="21" y="64"/>
                  <a:pt x="21" y="64"/>
                </a:cubicBezTo>
                <a:cubicBezTo>
                  <a:pt x="55" y="30"/>
                  <a:pt x="55" y="30"/>
                  <a:pt x="55" y="30"/>
                </a:cubicBezTo>
                <a:cubicBezTo>
                  <a:pt x="55" y="30"/>
                  <a:pt x="55" y="29"/>
                  <a:pt x="55" y="29"/>
                </a:cubicBezTo>
                <a:cubicBezTo>
                  <a:pt x="55" y="28"/>
                  <a:pt x="55" y="28"/>
                  <a:pt x="54" y="28"/>
                </a:cubicBezTo>
                <a:close/>
                <a:moveTo>
                  <a:pt x="92" y="29"/>
                </a:moveTo>
                <a:cubicBezTo>
                  <a:pt x="82" y="39"/>
                  <a:pt x="82" y="39"/>
                  <a:pt x="82" y="39"/>
                </a:cubicBezTo>
                <a:cubicBezTo>
                  <a:pt x="56" y="13"/>
                  <a:pt x="56" y="13"/>
                  <a:pt x="56" y="13"/>
                </a:cubicBezTo>
                <a:cubicBezTo>
                  <a:pt x="66" y="3"/>
                  <a:pt x="66" y="3"/>
                  <a:pt x="66" y="3"/>
                </a:cubicBezTo>
                <a:cubicBezTo>
                  <a:pt x="68" y="1"/>
                  <a:pt x="70" y="0"/>
                  <a:pt x="72" y="0"/>
                </a:cubicBezTo>
                <a:cubicBezTo>
                  <a:pt x="74" y="0"/>
                  <a:pt x="76" y="1"/>
                  <a:pt x="77" y="3"/>
                </a:cubicBezTo>
                <a:cubicBezTo>
                  <a:pt x="92" y="17"/>
                  <a:pt x="92" y="17"/>
                  <a:pt x="92" y="17"/>
                </a:cubicBezTo>
                <a:cubicBezTo>
                  <a:pt x="94" y="19"/>
                  <a:pt x="94" y="21"/>
                  <a:pt x="94" y="23"/>
                </a:cubicBezTo>
                <a:cubicBezTo>
                  <a:pt x="94" y="25"/>
                  <a:pt x="94" y="27"/>
                  <a:pt x="92" y="29"/>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cs typeface="+mn-ea"/>
              <a:sym typeface="+mn-lt"/>
            </a:endParaRPr>
          </a:p>
        </p:txBody>
      </p:sp>
      <p:sp>
        <p:nvSpPr>
          <p:cNvPr id="58" name="Freeform 117">
            <a:extLst>
              <a:ext uri="{FF2B5EF4-FFF2-40B4-BE49-F238E27FC236}">
                <a16:creationId xmlns:a16="http://schemas.microsoft.com/office/drawing/2014/main" id="{465D3694-48C3-4669-A316-1FADFE192101}"/>
              </a:ext>
            </a:extLst>
          </p:cNvPr>
          <p:cNvSpPr>
            <a:spLocks/>
          </p:cNvSpPr>
          <p:nvPr/>
        </p:nvSpPr>
        <p:spPr bwMode="auto">
          <a:xfrm>
            <a:off x="6031340" y="3442766"/>
            <a:ext cx="358082" cy="308085"/>
          </a:xfrm>
          <a:custGeom>
            <a:avLst/>
            <a:gdLst>
              <a:gd name="T0" fmla="*/ 56 w 112"/>
              <a:gd name="T1" fmla="*/ 80 h 96"/>
              <a:gd name="T2" fmla="*/ 47 w 112"/>
              <a:gd name="T3" fmla="*/ 79 h 96"/>
              <a:gd name="T4" fmla="*/ 18 w 112"/>
              <a:gd name="T5" fmla="*/ 95 h 96"/>
              <a:gd name="T6" fmla="*/ 11 w 112"/>
              <a:gd name="T7" fmla="*/ 96 h 96"/>
              <a:gd name="T8" fmla="*/ 8 w 112"/>
              <a:gd name="T9" fmla="*/ 94 h 96"/>
              <a:gd name="T10" fmla="*/ 8 w 112"/>
              <a:gd name="T11" fmla="*/ 93 h 96"/>
              <a:gd name="T12" fmla="*/ 9 w 112"/>
              <a:gd name="T13" fmla="*/ 90 h 96"/>
              <a:gd name="T14" fmla="*/ 21 w 112"/>
              <a:gd name="T15" fmla="*/ 71 h 96"/>
              <a:gd name="T16" fmla="*/ 0 w 112"/>
              <a:gd name="T17" fmla="*/ 40 h 96"/>
              <a:gd name="T18" fmla="*/ 56 w 112"/>
              <a:gd name="T19" fmla="*/ 0 h 96"/>
              <a:gd name="T20" fmla="*/ 112 w 112"/>
              <a:gd name="T21" fmla="*/ 40 h 96"/>
              <a:gd name="T22" fmla="*/ 56 w 112"/>
              <a:gd name="T23" fmla="*/ 8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2" h="96">
                <a:moveTo>
                  <a:pt x="56" y="80"/>
                </a:moveTo>
                <a:cubicBezTo>
                  <a:pt x="53" y="80"/>
                  <a:pt x="49" y="80"/>
                  <a:pt x="47" y="79"/>
                </a:cubicBezTo>
                <a:cubicBezTo>
                  <a:pt x="38" y="87"/>
                  <a:pt x="29" y="92"/>
                  <a:pt x="18" y="95"/>
                </a:cubicBezTo>
                <a:cubicBezTo>
                  <a:pt x="16" y="95"/>
                  <a:pt x="13" y="96"/>
                  <a:pt x="11" y="96"/>
                </a:cubicBezTo>
                <a:cubicBezTo>
                  <a:pt x="9" y="96"/>
                  <a:pt x="8" y="95"/>
                  <a:pt x="8" y="94"/>
                </a:cubicBezTo>
                <a:cubicBezTo>
                  <a:pt x="8" y="93"/>
                  <a:pt x="8" y="93"/>
                  <a:pt x="8" y="93"/>
                </a:cubicBezTo>
                <a:cubicBezTo>
                  <a:pt x="7" y="92"/>
                  <a:pt x="8" y="91"/>
                  <a:pt x="9" y="90"/>
                </a:cubicBezTo>
                <a:cubicBezTo>
                  <a:pt x="13" y="85"/>
                  <a:pt x="18" y="82"/>
                  <a:pt x="21" y="71"/>
                </a:cubicBezTo>
                <a:cubicBezTo>
                  <a:pt x="8" y="64"/>
                  <a:pt x="0" y="53"/>
                  <a:pt x="0" y="40"/>
                </a:cubicBezTo>
                <a:cubicBezTo>
                  <a:pt x="0" y="18"/>
                  <a:pt x="25" y="0"/>
                  <a:pt x="56" y="0"/>
                </a:cubicBezTo>
                <a:cubicBezTo>
                  <a:pt x="87" y="0"/>
                  <a:pt x="112" y="18"/>
                  <a:pt x="112" y="40"/>
                </a:cubicBezTo>
                <a:cubicBezTo>
                  <a:pt x="112" y="62"/>
                  <a:pt x="87" y="80"/>
                  <a:pt x="56" y="80"/>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cs typeface="+mn-ea"/>
              <a:sym typeface="+mn-lt"/>
            </a:endParaRPr>
          </a:p>
        </p:txBody>
      </p:sp>
      <p:sp>
        <p:nvSpPr>
          <p:cNvPr id="59" name="Freeform 120">
            <a:extLst>
              <a:ext uri="{FF2B5EF4-FFF2-40B4-BE49-F238E27FC236}">
                <a16:creationId xmlns:a16="http://schemas.microsoft.com/office/drawing/2014/main" id="{F835E7F5-34F9-4B95-B5CE-1AD24C1AAFF4}"/>
              </a:ext>
            </a:extLst>
          </p:cNvPr>
          <p:cNvSpPr>
            <a:spLocks noEditPoints="1"/>
          </p:cNvSpPr>
          <p:nvPr/>
        </p:nvSpPr>
        <p:spPr bwMode="auto">
          <a:xfrm>
            <a:off x="7511511" y="3489971"/>
            <a:ext cx="372945" cy="281060"/>
          </a:xfrm>
          <a:custGeom>
            <a:avLst/>
            <a:gdLst>
              <a:gd name="T0" fmla="*/ 96 w 117"/>
              <a:gd name="T1" fmla="*/ 40 h 88"/>
              <a:gd name="T2" fmla="*/ 44 w 117"/>
              <a:gd name="T3" fmla="*/ 40 h 88"/>
              <a:gd name="T4" fmla="*/ 21 w 117"/>
              <a:gd name="T5" fmla="*/ 50 h 88"/>
              <a:gd name="T6" fmla="*/ 0 w 117"/>
              <a:gd name="T7" fmla="*/ 75 h 88"/>
              <a:gd name="T8" fmla="*/ 0 w 117"/>
              <a:gd name="T9" fmla="*/ 76 h 88"/>
              <a:gd name="T10" fmla="*/ 0 w 117"/>
              <a:gd name="T11" fmla="*/ 74 h 88"/>
              <a:gd name="T12" fmla="*/ 0 w 117"/>
              <a:gd name="T13" fmla="*/ 14 h 88"/>
              <a:gd name="T14" fmla="*/ 14 w 117"/>
              <a:gd name="T15" fmla="*/ 0 h 88"/>
              <a:gd name="T16" fmla="*/ 34 w 117"/>
              <a:gd name="T17" fmla="*/ 0 h 88"/>
              <a:gd name="T18" fmla="*/ 48 w 117"/>
              <a:gd name="T19" fmla="*/ 14 h 88"/>
              <a:gd name="T20" fmla="*/ 48 w 117"/>
              <a:gd name="T21" fmla="*/ 16 h 88"/>
              <a:gd name="T22" fmla="*/ 82 w 117"/>
              <a:gd name="T23" fmla="*/ 16 h 88"/>
              <a:gd name="T24" fmla="*/ 96 w 117"/>
              <a:gd name="T25" fmla="*/ 30 h 88"/>
              <a:gd name="T26" fmla="*/ 96 w 117"/>
              <a:gd name="T27" fmla="*/ 40 h 88"/>
              <a:gd name="T28" fmla="*/ 115 w 117"/>
              <a:gd name="T29" fmla="*/ 56 h 88"/>
              <a:gd name="T30" fmla="*/ 94 w 117"/>
              <a:gd name="T31" fmla="*/ 80 h 88"/>
              <a:gd name="T32" fmla="*/ 78 w 117"/>
              <a:gd name="T33" fmla="*/ 88 h 88"/>
              <a:gd name="T34" fmla="*/ 10 w 117"/>
              <a:gd name="T35" fmla="*/ 88 h 88"/>
              <a:gd name="T36" fmla="*/ 4 w 117"/>
              <a:gd name="T37" fmla="*/ 84 h 88"/>
              <a:gd name="T38" fmla="*/ 6 w 117"/>
              <a:gd name="T39" fmla="*/ 80 h 88"/>
              <a:gd name="T40" fmla="*/ 27 w 117"/>
              <a:gd name="T41" fmla="*/ 56 h 88"/>
              <a:gd name="T42" fmla="*/ 44 w 117"/>
              <a:gd name="T43" fmla="*/ 48 h 88"/>
              <a:gd name="T44" fmla="*/ 112 w 117"/>
              <a:gd name="T45" fmla="*/ 48 h 88"/>
              <a:gd name="T46" fmla="*/ 117 w 117"/>
              <a:gd name="T47" fmla="*/ 51 h 88"/>
              <a:gd name="T48" fmla="*/ 115 w 117"/>
              <a:gd name="T49" fmla="*/ 5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17" h="88">
                <a:moveTo>
                  <a:pt x="96" y="40"/>
                </a:moveTo>
                <a:cubicBezTo>
                  <a:pt x="44" y="40"/>
                  <a:pt x="44" y="40"/>
                  <a:pt x="44" y="40"/>
                </a:cubicBezTo>
                <a:cubicBezTo>
                  <a:pt x="36" y="40"/>
                  <a:pt x="26" y="44"/>
                  <a:pt x="21" y="50"/>
                </a:cubicBezTo>
                <a:cubicBezTo>
                  <a:pt x="0" y="75"/>
                  <a:pt x="0" y="75"/>
                  <a:pt x="0" y="75"/>
                </a:cubicBezTo>
                <a:cubicBezTo>
                  <a:pt x="0" y="76"/>
                  <a:pt x="0" y="76"/>
                  <a:pt x="0" y="76"/>
                </a:cubicBezTo>
                <a:cubicBezTo>
                  <a:pt x="0" y="75"/>
                  <a:pt x="0" y="74"/>
                  <a:pt x="0" y="74"/>
                </a:cubicBezTo>
                <a:cubicBezTo>
                  <a:pt x="0" y="14"/>
                  <a:pt x="0" y="14"/>
                  <a:pt x="0" y="14"/>
                </a:cubicBezTo>
                <a:cubicBezTo>
                  <a:pt x="0" y="6"/>
                  <a:pt x="6" y="0"/>
                  <a:pt x="14" y="0"/>
                </a:cubicBezTo>
                <a:cubicBezTo>
                  <a:pt x="34" y="0"/>
                  <a:pt x="34" y="0"/>
                  <a:pt x="34" y="0"/>
                </a:cubicBezTo>
                <a:cubicBezTo>
                  <a:pt x="41" y="0"/>
                  <a:pt x="48" y="6"/>
                  <a:pt x="48" y="14"/>
                </a:cubicBezTo>
                <a:cubicBezTo>
                  <a:pt x="48" y="16"/>
                  <a:pt x="48" y="16"/>
                  <a:pt x="48" y="16"/>
                </a:cubicBezTo>
                <a:cubicBezTo>
                  <a:pt x="82" y="16"/>
                  <a:pt x="82" y="16"/>
                  <a:pt x="82" y="16"/>
                </a:cubicBezTo>
                <a:cubicBezTo>
                  <a:pt x="89" y="16"/>
                  <a:pt x="96" y="22"/>
                  <a:pt x="96" y="30"/>
                </a:cubicBezTo>
                <a:lnTo>
                  <a:pt x="96" y="40"/>
                </a:lnTo>
                <a:close/>
                <a:moveTo>
                  <a:pt x="115" y="56"/>
                </a:moveTo>
                <a:cubicBezTo>
                  <a:pt x="94" y="80"/>
                  <a:pt x="94" y="80"/>
                  <a:pt x="94" y="80"/>
                </a:cubicBezTo>
                <a:cubicBezTo>
                  <a:pt x="90" y="85"/>
                  <a:pt x="83" y="88"/>
                  <a:pt x="78" y="88"/>
                </a:cubicBezTo>
                <a:cubicBezTo>
                  <a:pt x="10" y="88"/>
                  <a:pt x="10" y="88"/>
                  <a:pt x="10" y="88"/>
                </a:cubicBezTo>
                <a:cubicBezTo>
                  <a:pt x="7" y="88"/>
                  <a:pt x="4" y="87"/>
                  <a:pt x="4" y="84"/>
                </a:cubicBezTo>
                <a:cubicBezTo>
                  <a:pt x="4" y="83"/>
                  <a:pt x="5" y="81"/>
                  <a:pt x="6" y="80"/>
                </a:cubicBezTo>
                <a:cubicBezTo>
                  <a:pt x="27" y="56"/>
                  <a:pt x="27" y="56"/>
                  <a:pt x="27" y="56"/>
                </a:cubicBezTo>
                <a:cubicBezTo>
                  <a:pt x="31" y="51"/>
                  <a:pt x="38" y="48"/>
                  <a:pt x="44" y="48"/>
                </a:cubicBezTo>
                <a:cubicBezTo>
                  <a:pt x="112" y="48"/>
                  <a:pt x="112" y="48"/>
                  <a:pt x="112" y="48"/>
                </a:cubicBezTo>
                <a:cubicBezTo>
                  <a:pt x="114" y="48"/>
                  <a:pt x="117" y="49"/>
                  <a:pt x="117" y="51"/>
                </a:cubicBezTo>
                <a:cubicBezTo>
                  <a:pt x="117" y="53"/>
                  <a:pt x="116" y="54"/>
                  <a:pt x="115" y="56"/>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cs typeface="+mn-ea"/>
              <a:sym typeface="+mn-lt"/>
            </a:endParaRPr>
          </a:p>
        </p:txBody>
      </p:sp>
      <p:sp>
        <p:nvSpPr>
          <p:cNvPr id="60" name="Freeform 128">
            <a:extLst>
              <a:ext uri="{FF2B5EF4-FFF2-40B4-BE49-F238E27FC236}">
                <a16:creationId xmlns:a16="http://schemas.microsoft.com/office/drawing/2014/main" id="{154B2527-C99E-44DE-94FB-8584E27796DC}"/>
              </a:ext>
            </a:extLst>
          </p:cNvPr>
          <p:cNvSpPr>
            <a:spLocks noEditPoints="1"/>
          </p:cNvSpPr>
          <p:nvPr/>
        </p:nvSpPr>
        <p:spPr bwMode="auto">
          <a:xfrm>
            <a:off x="9010450" y="3443304"/>
            <a:ext cx="306734" cy="332407"/>
          </a:xfrm>
          <a:custGeom>
            <a:avLst/>
            <a:gdLst>
              <a:gd name="T0" fmla="*/ 93 w 96"/>
              <a:gd name="T1" fmla="*/ 58 h 104"/>
              <a:gd name="T2" fmla="*/ 94 w 96"/>
              <a:gd name="T3" fmla="*/ 62 h 104"/>
              <a:gd name="T4" fmla="*/ 91 w 96"/>
              <a:gd name="T5" fmla="*/ 71 h 104"/>
              <a:gd name="T6" fmla="*/ 91 w 96"/>
              <a:gd name="T7" fmla="*/ 74 h 104"/>
              <a:gd name="T8" fmla="*/ 88 w 96"/>
              <a:gd name="T9" fmla="*/ 85 h 104"/>
              <a:gd name="T10" fmla="*/ 68 w 96"/>
              <a:gd name="T11" fmla="*/ 104 h 104"/>
              <a:gd name="T12" fmla="*/ 66 w 96"/>
              <a:gd name="T13" fmla="*/ 104 h 104"/>
              <a:gd name="T14" fmla="*/ 60 w 96"/>
              <a:gd name="T15" fmla="*/ 104 h 104"/>
              <a:gd name="T16" fmla="*/ 35 w 96"/>
              <a:gd name="T17" fmla="*/ 98 h 104"/>
              <a:gd name="T18" fmla="*/ 26 w 96"/>
              <a:gd name="T19" fmla="*/ 96 h 104"/>
              <a:gd name="T20" fmla="*/ 8 w 96"/>
              <a:gd name="T21" fmla="*/ 96 h 104"/>
              <a:gd name="T22" fmla="*/ 0 w 96"/>
              <a:gd name="T23" fmla="*/ 88 h 104"/>
              <a:gd name="T24" fmla="*/ 0 w 96"/>
              <a:gd name="T25" fmla="*/ 48 h 104"/>
              <a:gd name="T26" fmla="*/ 8 w 96"/>
              <a:gd name="T27" fmla="*/ 40 h 104"/>
              <a:gd name="T28" fmla="*/ 25 w 96"/>
              <a:gd name="T29" fmla="*/ 40 h 104"/>
              <a:gd name="T30" fmla="*/ 34 w 96"/>
              <a:gd name="T31" fmla="*/ 30 h 104"/>
              <a:gd name="T32" fmla="*/ 41 w 96"/>
              <a:gd name="T33" fmla="*/ 22 h 104"/>
              <a:gd name="T34" fmla="*/ 49 w 96"/>
              <a:gd name="T35" fmla="*/ 2 h 104"/>
              <a:gd name="T36" fmla="*/ 54 w 96"/>
              <a:gd name="T37" fmla="*/ 0 h 104"/>
              <a:gd name="T38" fmla="*/ 70 w 96"/>
              <a:gd name="T39" fmla="*/ 8 h 104"/>
              <a:gd name="T40" fmla="*/ 72 w 96"/>
              <a:gd name="T41" fmla="*/ 20 h 104"/>
              <a:gd name="T42" fmla="*/ 69 w 96"/>
              <a:gd name="T43" fmla="*/ 32 h 104"/>
              <a:gd name="T44" fmla="*/ 80 w 96"/>
              <a:gd name="T45" fmla="*/ 32 h 104"/>
              <a:gd name="T46" fmla="*/ 96 w 96"/>
              <a:gd name="T47" fmla="*/ 48 h 104"/>
              <a:gd name="T48" fmla="*/ 93 w 96"/>
              <a:gd name="T49" fmla="*/ 58 h 104"/>
              <a:gd name="T50" fmla="*/ 12 w 96"/>
              <a:gd name="T51" fmla="*/ 80 h 104"/>
              <a:gd name="T52" fmla="*/ 8 w 96"/>
              <a:gd name="T53" fmla="*/ 84 h 104"/>
              <a:gd name="T54" fmla="*/ 12 w 96"/>
              <a:gd name="T55" fmla="*/ 88 h 104"/>
              <a:gd name="T56" fmla="*/ 16 w 96"/>
              <a:gd name="T57" fmla="*/ 84 h 104"/>
              <a:gd name="T58" fmla="*/ 12 w 96"/>
              <a:gd name="T59" fmla="*/ 80 h 104"/>
              <a:gd name="T60" fmla="*/ 80 w 96"/>
              <a:gd name="T61" fmla="*/ 40 h 104"/>
              <a:gd name="T62" fmla="*/ 58 w 96"/>
              <a:gd name="T63" fmla="*/ 40 h 104"/>
              <a:gd name="T64" fmla="*/ 64 w 96"/>
              <a:gd name="T65" fmla="*/ 20 h 104"/>
              <a:gd name="T66" fmla="*/ 54 w 96"/>
              <a:gd name="T67" fmla="*/ 8 h 104"/>
              <a:gd name="T68" fmla="*/ 46 w 96"/>
              <a:gd name="T69" fmla="*/ 28 h 104"/>
              <a:gd name="T70" fmla="*/ 41 w 96"/>
              <a:gd name="T71" fmla="*/ 34 h 104"/>
              <a:gd name="T72" fmla="*/ 26 w 96"/>
              <a:gd name="T73" fmla="*/ 48 h 104"/>
              <a:gd name="T74" fmla="*/ 24 w 96"/>
              <a:gd name="T75" fmla="*/ 48 h 104"/>
              <a:gd name="T76" fmla="*/ 24 w 96"/>
              <a:gd name="T77" fmla="*/ 88 h 104"/>
              <a:gd name="T78" fmla="*/ 26 w 96"/>
              <a:gd name="T79" fmla="*/ 88 h 104"/>
              <a:gd name="T80" fmla="*/ 39 w 96"/>
              <a:gd name="T81" fmla="*/ 91 h 104"/>
              <a:gd name="T82" fmla="*/ 60 w 96"/>
              <a:gd name="T83" fmla="*/ 96 h 104"/>
              <a:gd name="T84" fmla="*/ 68 w 96"/>
              <a:gd name="T85" fmla="*/ 96 h 104"/>
              <a:gd name="T86" fmla="*/ 80 w 96"/>
              <a:gd name="T87" fmla="*/ 86 h 104"/>
              <a:gd name="T88" fmla="*/ 79 w 96"/>
              <a:gd name="T89" fmla="*/ 82 h 104"/>
              <a:gd name="T90" fmla="*/ 83 w 96"/>
              <a:gd name="T91" fmla="*/ 74 h 104"/>
              <a:gd name="T92" fmla="*/ 82 w 96"/>
              <a:gd name="T93" fmla="*/ 70 h 104"/>
              <a:gd name="T94" fmla="*/ 86 w 96"/>
              <a:gd name="T95" fmla="*/ 62 h 104"/>
              <a:gd name="T96" fmla="*/ 83 w 96"/>
              <a:gd name="T97" fmla="*/ 56 h 104"/>
              <a:gd name="T98" fmla="*/ 88 w 96"/>
              <a:gd name="T99" fmla="*/ 48 h 104"/>
              <a:gd name="T100" fmla="*/ 80 w 96"/>
              <a:gd name="T101" fmla="*/ 4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6" h="104">
                <a:moveTo>
                  <a:pt x="93" y="58"/>
                </a:moveTo>
                <a:cubicBezTo>
                  <a:pt x="93" y="59"/>
                  <a:pt x="94" y="61"/>
                  <a:pt x="94" y="62"/>
                </a:cubicBezTo>
                <a:cubicBezTo>
                  <a:pt x="94" y="66"/>
                  <a:pt x="93" y="69"/>
                  <a:pt x="91" y="71"/>
                </a:cubicBezTo>
                <a:cubicBezTo>
                  <a:pt x="91" y="72"/>
                  <a:pt x="91" y="73"/>
                  <a:pt x="91" y="74"/>
                </a:cubicBezTo>
                <a:cubicBezTo>
                  <a:pt x="91" y="78"/>
                  <a:pt x="90" y="82"/>
                  <a:pt x="88" y="85"/>
                </a:cubicBezTo>
                <a:cubicBezTo>
                  <a:pt x="88" y="97"/>
                  <a:pt x="80" y="104"/>
                  <a:pt x="68" y="104"/>
                </a:cubicBezTo>
                <a:cubicBezTo>
                  <a:pt x="66" y="104"/>
                  <a:pt x="66" y="104"/>
                  <a:pt x="66" y="104"/>
                </a:cubicBezTo>
                <a:cubicBezTo>
                  <a:pt x="60" y="104"/>
                  <a:pt x="60" y="104"/>
                  <a:pt x="60" y="104"/>
                </a:cubicBezTo>
                <a:cubicBezTo>
                  <a:pt x="51" y="104"/>
                  <a:pt x="43" y="101"/>
                  <a:pt x="35" y="98"/>
                </a:cubicBezTo>
                <a:cubicBezTo>
                  <a:pt x="33" y="98"/>
                  <a:pt x="28" y="96"/>
                  <a:pt x="26" y="96"/>
                </a:cubicBezTo>
                <a:cubicBezTo>
                  <a:pt x="8" y="96"/>
                  <a:pt x="8" y="96"/>
                  <a:pt x="8" y="96"/>
                </a:cubicBezTo>
                <a:cubicBezTo>
                  <a:pt x="4" y="96"/>
                  <a:pt x="0" y="92"/>
                  <a:pt x="0" y="88"/>
                </a:cubicBezTo>
                <a:cubicBezTo>
                  <a:pt x="0" y="48"/>
                  <a:pt x="0" y="48"/>
                  <a:pt x="0" y="48"/>
                </a:cubicBezTo>
                <a:cubicBezTo>
                  <a:pt x="0" y="44"/>
                  <a:pt x="4" y="40"/>
                  <a:pt x="8" y="40"/>
                </a:cubicBezTo>
                <a:cubicBezTo>
                  <a:pt x="25" y="40"/>
                  <a:pt x="25" y="40"/>
                  <a:pt x="25" y="40"/>
                </a:cubicBezTo>
                <a:cubicBezTo>
                  <a:pt x="28" y="38"/>
                  <a:pt x="32" y="33"/>
                  <a:pt x="34" y="30"/>
                </a:cubicBezTo>
                <a:cubicBezTo>
                  <a:pt x="36" y="28"/>
                  <a:pt x="38" y="25"/>
                  <a:pt x="41" y="22"/>
                </a:cubicBezTo>
                <a:cubicBezTo>
                  <a:pt x="44" y="18"/>
                  <a:pt x="42" y="8"/>
                  <a:pt x="49" y="2"/>
                </a:cubicBezTo>
                <a:cubicBezTo>
                  <a:pt x="50" y="1"/>
                  <a:pt x="52" y="0"/>
                  <a:pt x="54" y="0"/>
                </a:cubicBezTo>
                <a:cubicBezTo>
                  <a:pt x="61" y="0"/>
                  <a:pt x="67" y="2"/>
                  <a:pt x="70" y="8"/>
                </a:cubicBezTo>
                <a:cubicBezTo>
                  <a:pt x="72" y="12"/>
                  <a:pt x="72" y="16"/>
                  <a:pt x="72" y="20"/>
                </a:cubicBezTo>
                <a:cubicBezTo>
                  <a:pt x="72" y="24"/>
                  <a:pt x="71" y="28"/>
                  <a:pt x="69" y="32"/>
                </a:cubicBezTo>
                <a:cubicBezTo>
                  <a:pt x="80" y="32"/>
                  <a:pt x="80" y="32"/>
                  <a:pt x="80" y="32"/>
                </a:cubicBezTo>
                <a:cubicBezTo>
                  <a:pt x="89" y="32"/>
                  <a:pt x="96" y="39"/>
                  <a:pt x="96" y="48"/>
                </a:cubicBezTo>
                <a:cubicBezTo>
                  <a:pt x="96" y="52"/>
                  <a:pt x="95" y="55"/>
                  <a:pt x="93" y="58"/>
                </a:cubicBezTo>
                <a:close/>
                <a:moveTo>
                  <a:pt x="12" y="80"/>
                </a:moveTo>
                <a:cubicBezTo>
                  <a:pt x="10" y="80"/>
                  <a:pt x="8" y="82"/>
                  <a:pt x="8" y="84"/>
                </a:cubicBezTo>
                <a:cubicBezTo>
                  <a:pt x="8" y="86"/>
                  <a:pt x="10" y="88"/>
                  <a:pt x="12" y="88"/>
                </a:cubicBezTo>
                <a:cubicBezTo>
                  <a:pt x="14" y="88"/>
                  <a:pt x="16" y="86"/>
                  <a:pt x="16" y="84"/>
                </a:cubicBezTo>
                <a:cubicBezTo>
                  <a:pt x="16" y="82"/>
                  <a:pt x="14" y="80"/>
                  <a:pt x="12" y="80"/>
                </a:cubicBezTo>
                <a:close/>
                <a:moveTo>
                  <a:pt x="80" y="40"/>
                </a:moveTo>
                <a:cubicBezTo>
                  <a:pt x="58" y="40"/>
                  <a:pt x="58" y="40"/>
                  <a:pt x="58" y="40"/>
                </a:cubicBezTo>
                <a:cubicBezTo>
                  <a:pt x="58" y="33"/>
                  <a:pt x="64" y="27"/>
                  <a:pt x="64" y="20"/>
                </a:cubicBezTo>
                <a:cubicBezTo>
                  <a:pt x="64" y="13"/>
                  <a:pt x="63" y="8"/>
                  <a:pt x="54" y="8"/>
                </a:cubicBezTo>
                <a:cubicBezTo>
                  <a:pt x="50" y="12"/>
                  <a:pt x="52" y="22"/>
                  <a:pt x="46" y="28"/>
                </a:cubicBezTo>
                <a:cubicBezTo>
                  <a:pt x="44" y="30"/>
                  <a:pt x="43" y="32"/>
                  <a:pt x="41" y="34"/>
                </a:cubicBezTo>
                <a:cubicBezTo>
                  <a:pt x="39" y="37"/>
                  <a:pt x="31" y="48"/>
                  <a:pt x="26" y="48"/>
                </a:cubicBezTo>
                <a:cubicBezTo>
                  <a:pt x="24" y="48"/>
                  <a:pt x="24" y="48"/>
                  <a:pt x="24" y="48"/>
                </a:cubicBezTo>
                <a:cubicBezTo>
                  <a:pt x="24" y="88"/>
                  <a:pt x="24" y="88"/>
                  <a:pt x="24" y="88"/>
                </a:cubicBezTo>
                <a:cubicBezTo>
                  <a:pt x="26" y="88"/>
                  <a:pt x="26" y="88"/>
                  <a:pt x="26" y="88"/>
                </a:cubicBezTo>
                <a:cubicBezTo>
                  <a:pt x="30" y="88"/>
                  <a:pt x="35" y="90"/>
                  <a:pt x="39" y="91"/>
                </a:cubicBezTo>
                <a:cubicBezTo>
                  <a:pt x="46" y="94"/>
                  <a:pt x="53" y="96"/>
                  <a:pt x="60" y="96"/>
                </a:cubicBezTo>
                <a:cubicBezTo>
                  <a:pt x="68" y="96"/>
                  <a:pt x="68" y="96"/>
                  <a:pt x="68" y="96"/>
                </a:cubicBezTo>
                <a:cubicBezTo>
                  <a:pt x="75" y="96"/>
                  <a:pt x="80" y="93"/>
                  <a:pt x="80" y="86"/>
                </a:cubicBezTo>
                <a:cubicBezTo>
                  <a:pt x="80" y="84"/>
                  <a:pt x="80" y="83"/>
                  <a:pt x="79" y="82"/>
                </a:cubicBezTo>
                <a:cubicBezTo>
                  <a:pt x="82" y="81"/>
                  <a:pt x="83" y="77"/>
                  <a:pt x="83" y="74"/>
                </a:cubicBezTo>
                <a:cubicBezTo>
                  <a:pt x="83" y="73"/>
                  <a:pt x="83" y="71"/>
                  <a:pt x="82" y="70"/>
                </a:cubicBezTo>
                <a:cubicBezTo>
                  <a:pt x="84" y="68"/>
                  <a:pt x="86" y="65"/>
                  <a:pt x="86" y="62"/>
                </a:cubicBezTo>
                <a:cubicBezTo>
                  <a:pt x="86" y="60"/>
                  <a:pt x="85" y="57"/>
                  <a:pt x="83" y="56"/>
                </a:cubicBezTo>
                <a:cubicBezTo>
                  <a:pt x="86" y="56"/>
                  <a:pt x="88" y="50"/>
                  <a:pt x="88" y="48"/>
                </a:cubicBezTo>
                <a:cubicBezTo>
                  <a:pt x="88" y="44"/>
                  <a:pt x="84" y="40"/>
                  <a:pt x="80" y="40"/>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cs typeface="+mn-ea"/>
              <a:sym typeface="+mn-lt"/>
            </a:endParaRPr>
          </a:p>
        </p:txBody>
      </p:sp>
    </p:spTree>
    <p:extLst>
      <p:ext uri="{BB962C8B-B14F-4D97-AF65-F5344CB8AC3E}">
        <p14:creationId xmlns:p14="http://schemas.microsoft.com/office/powerpoint/2010/main" val="3410371668"/>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afterEffect" p14:presetBounceEnd="60000">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14:bounceEnd="60000">
                                          <p:cBhvr additive="base">
                                            <p:cTn id="7" dur="500" fill="hold"/>
                                            <p:tgtEl>
                                              <p:spTgt spid="2"/>
                                            </p:tgtEl>
                                            <p:attrNameLst>
                                              <p:attrName>ppt_x</p:attrName>
                                            </p:attrNameLst>
                                          </p:cBhvr>
                                          <p:tavLst>
                                            <p:tav tm="0">
                                              <p:val>
                                                <p:strVal val="0-#ppt_w/2"/>
                                              </p:val>
                                            </p:tav>
                                            <p:tav tm="100000">
                                              <p:val>
                                                <p:strVal val="#ppt_x"/>
                                              </p:val>
                                            </p:tav>
                                          </p:tavLst>
                                        </p:anim>
                                        <p:anim calcmode="lin" valueType="num" p14:bounceEnd="60000">
                                          <p:cBhvr additive="base">
                                            <p:cTn id="8" dur="500" fill="hold"/>
                                            <p:tgtEl>
                                              <p:spTgt spid="2"/>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2" presetClass="entr" presetSubtype="8" fill="hold" grpId="0" nodeType="afterEffect" p14:presetBounceEnd="60000">
                                      <p:stCondLst>
                                        <p:cond delay="0"/>
                                      </p:stCondLst>
                                      <p:childTnLst>
                                        <p:set>
                                          <p:cBhvr>
                                            <p:cTn id="11" dur="1" fill="hold">
                                              <p:stCondLst>
                                                <p:cond delay="0"/>
                                              </p:stCondLst>
                                            </p:cTn>
                                            <p:tgtEl>
                                              <p:spTgt spid="5"/>
                                            </p:tgtEl>
                                            <p:attrNameLst>
                                              <p:attrName>style.visibility</p:attrName>
                                            </p:attrNameLst>
                                          </p:cBhvr>
                                          <p:to>
                                            <p:strVal val="visible"/>
                                          </p:to>
                                        </p:set>
                                        <p:anim calcmode="lin" valueType="num" p14:bounceEnd="60000">
                                          <p:cBhvr additive="base">
                                            <p:cTn id="12" dur="500" fill="hold"/>
                                            <p:tgtEl>
                                              <p:spTgt spid="5"/>
                                            </p:tgtEl>
                                            <p:attrNameLst>
                                              <p:attrName>ppt_x</p:attrName>
                                            </p:attrNameLst>
                                          </p:cBhvr>
                                          <p:tavLst>
                                            <p:tav tm="0">
                                              <p:val>
                                                <p:strVal val="0-#ppt_w/2"/>
                                              </p:val>
                                            </p:tav>
                                            <p:tav tm="100000">
                                              <p:val>
                                                <p:strVal val="#ppt_x"/>
                                              </p:val>
                                            </p:tav>
                                          </p:tavLst>
                                        </p:anim>
                                        <p:anim calcmode="lin" valueType="num" p14:bounceEnd="60000">
                                          <p:cBhvr additive="base">
                                            <p:cTn id="13" dur="500" fill="hold"/>
                                            <p:tgtEl>
                                              <p:spTgt spid="5"/>
                                            </p:tgtEl>
                                            <p:attrNameLst>
                                              <p:attrName>ppt_y</p:attrName>
                                            </p:attrNameLst>
                                          </p:cBhvr>
                                          <p:tavLst>
                                            <p:tav tm="0">
                                              <p:val>
                                                <p:strVal val="#ppt_y"/>
                                              </p:val>
                                            </p:tav>
                                            <p:tav tm="100000">
                                              <p:val>
                                                <p:strVal val="#ppt_y"/>
                                              </p:val>
                                            </p:tav>
                                          </p:tavLst>
                                        </p:anim>
                                      </p:childTnLst>
                                    </p:cTn>
                                  </p:par>
                                </p:childTnLst>
                              </p:cTn>
                            </p:par>
                            <p:par>
                              <p:cTn id="14" fill="hold">
                                <p:stCondLst>
                                  <p:cond delay="1000"/>
                                </p:stCondLst>
                                <p:childTnLst>
                                  <p:par>
                                    <p:cTn id="15" presetID="2" presetClass="entr" presetSubtype="8" fill="hold" grpId="0" nodeType="afterEffect" p14:presetBounceEnd="60000">
                                      <p:stCondLst>
                                        <p:cond delay="0"/>
                                      </p:stCondLst>
                                      <p:childTnLst>
                                        <p:set>
                                          <p:cBhvr>
                                            <p:cTn id="16" dur="1" fill="hold">
                                              <p:stCondLst>
                                                <p:cond delay="0"/>
                                              </p:stCondLst>
                                            </p:cTn>
                                            <p:tgtEl>
                                              <p:spTgt spid="3"/>
                                            </p:tgtEl>
                                            <p:attrNameLst>
                                              <p:attrName>style.visibility</p:attrName>
                                            </p:attrNameLst>
                                          </p:cBhvr>
                                          <p:to>
                                            <p:strVal val="visible"/>
                                          </p:to>
                                        </p:set>
                                        <p:anim calcmode="lin" valueType="num" p14:bounceEnd="60000">
                                          <p:cBhvr additive="base">
                                            <p:cTn id="17" dur="500" fill="hold"/>
                                            <p:tgtEl>
                                              <p:spTgt spid="3"/>
                                            </p:tgtEl>
                                            <p:attrNameLst>
                                              <p:attrName>ppt_x</p:attrName>
                                            </p:attrNameLst>
                                          </p:cBhvr>
                                          <p:tavLst>
                                            <p:tav tm="0">
                                              <p:val>
                                                <p:strVal val="0-#ppt_w/2"/>
                                              </p:val>
                                            </p:tav>
                                            <p:tav tm="100000">
                                              <p:val>
                                                <p:strVal val="#ppt_x"/>
                                              </p:val>
                                            </p:tav>
                                          </p:tavLst>
                                        </p:anim>
                                        <p:anim calcmode="lin" valueType="num" p14:bounceEnd="60000">
                                          <p:cBhvr additive="base">
                                            <p:cTn id="18" dur="500" fill="hold"/>
                                            <p:tgtEl>
                                              <p:spTgt spid="3"/>
                                            </p:tgtEl>
                                            <p:attrNameLst>
                                              <p:attrName>ppt_y</p:attrName>
                                            </p:attrNameLst>
                                          </p:cBhvr>
                                          <p:tavLst>
                                            <p:tav tm="0">
                                              <p:val>
                                                <p:strVal val="#ppt_y"/>
                                              </p:val>
                                            </p:tav>
                                            <p:tav tm="100000">
                                              <p:val>
                                                <p:strVal val="#ppt_y"/>
                                              </p:val>
                                            </p:tav>
                                          </p:tavLst>
                                        </p:anim>
                                      </p:childTnLst>
                                    </p:cTn>
                                  </p:par>
                                </p:childTnLst>
                              </p:cTn>
                            </p:par>
                            <p:par>
                              <p:cTn id="19" fill="hold">
                                <p:stCondLst>
                                  <p:cond delay="1500"/>
                                </p:stCondLst>
                                <p:childTnLst>
                                  <p:par>
                                    <p:cTn id="20" presetID="2" presetClass="entr" presetSubtype="8" fill="hold" grpId="0" nodeType="afterEffect" p14:presetBounceEnd="60000">
                                      <p:stCondLst>
                                        <p:cond delay="0"/>
                                      </p:stCondLst>
                                      <p:childTnLst>
                                        <p:set>
                                          <p:cBhvr>
                                            <p:cTn id="21" dur="1" fill="hold">
                                              <p:stCondLst>
                                                <p:cond delay="0"/>
                                              </p:stCondLst>
                                            </p:cTn>
                                            <p:tgtEl>
                                              <p:spTgt spid="4"/>
                                            </p:tgtEl>
                                            <p:attrNameLst>
                                              <p:attrName>style.visibility</p:attrName>
                                            </p:attrNameLst>
                                          </p:cBhvr>
                                          <p:to>
                                            <p:strVal val="visible"/>
                                          </p:to>
                                        </p:set>
                                        <p:anim calcmode="lin" valueType="num" p14:bounceEnd="60000">
                                          <p:cBhvr additive="base">
                                            <p:cTn id="22" dur="500" fill="hold"/>
                                            <p:tgtEl>
                                              <p:spTgt spid="4"/>
                                            </p:tgtEl>
                                            <p:attrNameLst>
                                              <p:attrName>ppt_x</p:attrName>
                                            </p:attrNameLst>
                                          </p:cBhvr>
                                          <p:tavLst>
                                            <p:tav tm="0">
                                              <p:val>
                                                <p:strVal val="0-#ppt_w/2"/>
                                              </p:val>
                                            </p:tav>
                                            <p:tav tm="100000">
                                              <p:val>
                                                <p:strVal val="#ppt_x"/>
                                              </p:val>
                                            </p:tav>
                                          </p:tavLst>
                                        </p:anim>
                                        <p:anim calcmode="lin" valueType="num" p14:bounceEnd="60000">
                                          <p:cBhvr additive="base">
                                            <p:cTn id="23" dur="500" fill="hold"/>
                                            <p:tgtEl>
                                              <p:spTgt spid="4"/>
                                            </p:tgtEl>
                                            <p:attrNameLst>
                                              <p:attrName>ppt_y</p:attrName>
                                            </p:attrNameLst>
                                          </p:cBhvr>
                                          <p:tavLst>
                                            <p:tav tm="0">
                                              <p:val>
                                                <p:strVal val="#ppt_y"/>
                                              </p:val>
                                            </p:tav>
                                            <p:tav tm="100000">
                                              <p:val>
                                                <p:strVal val="#ppt_y"/>
                                              </p:val>
                                            </p:tav>
                                          </p:tavLst>
                                        </p:anim>
                                      </p:childTnLst>
                                    </p:cTn>
                                  </p:par>
                                </p:childTnLst>
                              </p:cTn>
                            </p:par>
                            <p:par>
                              <p:cTn id="24" fill="hold">
                                <p:stCondLst>
                                  <p:cond delay="2000"/>
                                </p:stCondLst>
                                <p:childTnLst>
                                  <p:par>
                                    <p:cTn id="25" presetID="53" presetClass="entr" presetSubtype="16" fill="hold" grpId="0" nodeType="afterEffect">
                                      <p:stCondLst>
                                        <p:cond delay="0"/>
                                      </p:stCondLst>
                                      <p:childTnLst>
                                        <p:set>
                                          <p:cBhvr>
                                            <p:cTn id="26" dur="1" fill="hold">
                                              <p:stCondLst>
                                                <p:cond delay="0"/>
                                              </p:stCondLst>
                                            </p:cTn>
                                            <p:tgtEl>
                                              <p:spTgt spid="6"/>
                                            </p:tgtEl>
                                            <p:attrNameLst>
                                              <p:attrName>style.visibility</p:attrName>
                                            </p:attrNameLst>
                                          </p:cBhvr>
                                          <p:to>
                                            <p:strVal val="visible"/>
                                          </p:to>
                                        </p:set>
                                        <p:anim calcmode="lin" valueType="num">
                                          <p:cBhvr>
                                            <p:cTn id="27" dur="500" fill="hold"/>
                                            <p:tgtEl>
                                              <p:spTgt spid="6"/>
                                            </p:tgtEl>
                                            <p:attrNameLst>
                                              <p:attrName>ppt_w</p:attrName>
                                            </p:attrNameLst>
                                          </p:cBhvr>
                                          <p:tavLst>
                                            <p:tav tm="0">
                                              <p:val>
                                                <p:fltVal val="0"/>
                                              </p:val>
                                            </p:tav>
                                            <p:tav tm="100000">
                                              <p:val>
                                                <p:strVal val="#ppt_w"/>
                                              </p:val>
                                            </p:tav>
                                          </p:tavLst>
                                        </p:anim>
                                        <p:anim calcmode="lin" valueType="num">
                                          <p:cBhvr>
                                            <p:cTn id="28" dur="500" fill="hold"/>
                                            <p:tgtEl>
                                              <p:spTgt spid="6"/>
                                            </p:tgtEl>
                                            <p:attrNameLst>
                                              <p:attrName>ppt_h</p:attrName>
                                            </p:attrNameLst>
                                          </p:cBhvr>
                                          <p:tavLst>
                                            <p:tav tm="0">
                                              <p:val>
                                                <p:fltVal val="0"/>
                                              </p:val>
                                            </p:tav>
                                            <p:tav tm="100000">
                                              <p:val>
                                                <p:strVal val="#ppt_h"/>
                                              </p:val>
                                            </p:tav>
                                          </p:tavLst>
                                        </p:anim>
                                        <p:animEffect transition="in" filter="fade">
                                          <p:cBhvr>
                                            <p:cTn id="29" dur="500"/>
                                            <p:tgtEl>
                                              <p:spTgt spid="6"/>
                                            </p:tgtEl>
                                          </p:cBhvr>
                                        </p:animEffect>
                                      </p:childTnLst>
                                    </p:cTn>
                                  </p:par>
                                </p:childTnLst>
                              </p:cTn>
                            </p:par>
                            <p:par>
                              <p:cTn id="30" fill="hold">
                                <p:stCondLst>
                                  <p:cond delay="2500"/>
                                </p:stCondLst>
                                <p:childTnLst>
                                  <p:par>
                                    <p:cTn id="31" presetID="53" presetClass="entr" presetSubtype="16" fill="hold" grpId="0" nodeType="afterEffect">
                                      <p:stCondLst>
                                        <p:cond delay="0"/>
                                      </p:stCondLst>
                                      <p:childTnLst>
                                        <p:set>
                                          <p:cBhvr>
                                            <p:cTn id="32" dur="1" fill="hold">
                                              <p:stCondLst>
                                                <p:cond delay="0"/>
                                              </p:stCondLst>
                                            </p:cTn>
                                            <p:tgtEl>
                                              <p:spTgt spid="56"/>
                                            </p:tgtEl>
                                            <p:attrNameLst>
                                              <p:attrName>style.visibility</p:attrName>
                                            </p:attrNameLst>
                                          </p:cBhvr>
                                          <p:to>
                                            <p:strVal val="visible"/>
                                          </p:to>
                                        </p:set>
                                        <p:anim calcmode="lin" valueType="num">
                                          <p:cBhvr>
                                            <p:cTn id="33" dur="500" fill="hold"/>
                                            <p:tgtEl>
                                              <p:spTgt spid="56"/>
                                            </p:tgtEl>
                                            <p:attrNameLst>
                                              <p:attrName>ppt_w</p:attrName>
                                            </p:attrNameLst>
                                          </p:cBhvr>
                                          <p:tavLst>
                                            <p:tav tm="0">
                                              <p:val>
                                                <p:fltVal val="0"/>
                                              </p:val>
                                            </p:tav>
                                            <p:tav tm="100000">
                                              <p:val>
                                                <p:strVal val="#ppt_w"/>
                                              </p:val>
                                            </p:tav>
                                          </p:tavLst>
                                        </p:anim>
                                        <p:anim calcmode="lin" valueType="num">
                                          <p:cBhvr>
                                            <p:cTn id="34" dur="500" fill="hold"/>
                                            <p:tgtEl>
                                              <p:spTgt spid="56"/>
                                            </p:tgtEl>
                                            <p:attrNameLst>
                                              <p:attrName>ppt_h</p:attrName>
                                            </p:attrNameLst>
                                          </p:cBhvr>
                                          <p:tavLst>
                                            <p:tav tm="0">
                                              <p:val>
                                                <p:fltVal val="0"/>
                                              </p:val>
                                            </p:tav>
                                            <p:tav tm="100000">
                                              <p:val>
                                                <p:strVal val="#ppt_h"/>
                                              </p:val>
                                            </p:tav>
                                          </p:tavLst>
                                        </p:anim>
                                        <p:animEffect transition="in" filter="fade">
                                          <p:cBhvr>
                                            <p:cTn id="35" dur="500"/>
                                            <p:tgtEl>
                                              <p:spTgt spid="56"/>
                                            </p:tgtEl>
                                          </p:cBhvr>
                                        </p:animEffect>
                                      </p:childTnLst>
                                    </p:cTn>
                                  </p:par>
                                </p:childTnLst>
                              </p:cTn>
                            </p:par>
                            <p:par>
                              <p:cTn id="36" fill="hold">
                                <p:stCondLst>
                                  <p:cond delay="3000"/>
                                </p:stCondLst>
                                <p:childTnLst>
                                  <p:par>
                                    <p:cTn id="37" presetID="53" presetClass="entr" presetSubtype="16" fill="hold" grpId="0" nodeType="afterEffect">
                                      <p:stCondLst>
                                        <p:cond delay="0"/>
                                      </p:stCondLst>
                                      <p:childTnLst>
                                        <p:set>
                                          <p:cBhvr>
                                            <p:cTn id="38" dur="1" fill="hold">
                                              <p:stCondLst>
                                                <p:cond delay="0"/>
                                              </p:stCondLst>
                                            </p:cTn>
                                            <p:tgtEl>
                                              <p:spTgt spid="7"/>
                                            </p:tgtEl>
                                            <p:attrNameLst>
                                              <p:attrName>style.visibility</p:attrName>
                                            </p:attrNameLst>
                                          </p:cBhvr>
                                          <p:to>
                                            <p:strVal val="visible"/>
                                          </p:to>
                                        </p:set>
                                        <p:anim calcmode="lin" valueType="num">
                                          <p:cBhvr>
                                            <p:cTn id="39" dur="500" fill="hold"/>
                                            <p:tgtEl>
                                              <p:spTgt spid="7"/>
                                            </p:tgtEl>
                                            <p:attrNameLst>
                                              <p:attrName>ppt_w</p:attrName>
                                            </p:attrNameLst>
                                          </p:cBhvr>
                                          <p:tavLst>
                                            <p:tav tm="0">
                                              <p:val>
                                                <p:fltVal val="0"/>
                                              </p:val>
                                            </p:tav>
                                            <p:tav tm="100000">
                                              <p:val>
                                                <p:strVal val="#ppt_w"/>
                                              </p:val>
                                            </p:tav>
                                          </p:tavLst>
                                        </p:anim>
                                        <p:anim calcmode="lin" valueType="num">
                                          <p:cBhvr>
                                            <p:cTn id="40" dur="500" fill="hold"/>
                                            <p:tgtEl>
                                              <p:spTgt spid="7"/>
                                            </p:tgtEl>
                                            <p:attrNameLst>
                                              <p:attrName>ppt_h</p:attrName>
                                            </p:attrNameLst>
                                          </p:cBhvr>
                                          <p:tavLst>
                                            <p:tav tm="0">
                                              <p:val>
                                                <p:fltVal val="0"/>
                                              </p:val>
                                            </p:tav>
                                            <p:tav tm="100000">
                                              <p:val>
                                                <p:strVal val="#ppt_h"/>
                                              </p:val>
                                            </p:tav>
                                          </p:tavLst>
                                        </p:anim>
                                        <p:animEffect transition="in" filter="fade">
                                          <p:cBhvr>
                                            <p:cTn id="41" dur="500"/>
                                            <p:tgtEl>
                                              <p:spTgt spid="7"/>
                                            </p:tgtEl>
                                          </p:cBhvr>
                                        </p:animEffect>
                                      </p:childTnLst>
                                    </p:cTn>
                                  </p:par>
                                </p:childTnLst>
                              </p:cTn>
                            </p:par>
                            <p:par>
                              <p:cTn id="42" fill="hold">
                                <p:stCondLst>
                                  <p:cond delay="3500"/>
                                </p:stCondLst>
                                <p:childTnLst>
                                  <p:par>
                                    <p:cTn id="43" presetID="53" presetClass="entr" presetSubtype="16" fill="hold" grpId="0" nodeType="afterEffect">
                                      <p:stCondLst>
                                        <p:cond delay="0"/>
                                      </p:stCondLst>
                                      <p:childTnLst>
                                        <p:set>
                                          <p:cBhvr>
                                            <p:cTn id="44" dur="1" fill="hold">
                                              <p:stCondLst>
                                                <p:cond delay="0"/>
                                              </p:stCondLst>
                                            </p:cTn>
                                            <p:tgtEl>
                                              <p:spTgt spid="57"/>
                                            </p:tgtEl>
                                            <p:attrNameLst>
                                              <p:attrName>style.visibility</p:attrName>
                                            </p:attrNameLst>
                                          </p:cBhvr>
                                          <p:to>
                                            <p:strVal val="visible"/>
                                          </p:to>
                                        </p:set>
                                        <p:anim calcmode="lin" valueType="num">
                                          <p:cBhvr>
                                            <p:cTn id="45" dur="500" fill="hold"/>
                                            <p:tgtEl>
                                              <p:spTgt spid="57"/>
                                            </p:tgtEl>
                                            <p:attrNameLst>
                                              <p:attrName>ppt_w</p:attrName>
                                            </p:attrNameLst>
                                          </p:cBhvr>
                                          <p:tavLst>
                                            <p:tav tm="0">
                                              <p:val>
                                                <p:fltVal val="0"/>
                                              </p:val>
                                            </p:tav>
                                            <p:tav tm="100000">
                                              <p:val>
                                                <p:strVal val="#ppt_w"/>
                                              </p:val>
                                            </p:tav>
                                          </p:tavLst>
                                        </p:anim>
                                        <p:anim calcmode="lin" valueType="num">
                                          <p:cBhvr>
                                            <p:cTn id="46" dur="500" fill="hold"/>
                                            <p:tgtEl>
                                              <p:spTgt spid="57"/>
                                            </p:tgtEl>
                                            <p:attrNameLst>
                                              <p:attrName>ppt_h</p:attrName>
                                            </p:attrNameLst>
                                          </p:cBhvr>
                                          <p:tavLst>
                                            <p:tav tm="0">
                                              <p:val>
                                                <p:fltVal val="0"/>
                                              </p:val>
                                            </p:tav>
                                            <p:tav tm="100000">
                                              <p:val>
                                                <p:strVal val="#ppt_h"/>
                                              </p:val>
                                            </p:tav>
                                          </p:tavLst>
                                        </p:anim>
                                        <p:animEffect transition="in" filter="fade">
                                          <p:cBhvr>
                                            <p:cTn id="47" dur="500"/>
                                            <p:tgtEl>
                                              <p:spTgt spid="57"/>
                                            </p:tgtEl>
                                          </p:cBhvr>
                                        </p:animEffect>
                                      </p:childTnLst>
                                    </p:cTn>
                                  </p:par>
                                </p:childTnLst>
                              </p:cTn>
                            </p:par>
                            <p:par>
                              <p:cTn id="48" fill="hold">
                                <p:stCondLst>
                                  <p:cond delay="4000"/>
                                </p:stCondLst>
                                <p:childTnLst>
                                  <p:par>
                                    <p:cTn id="49" presetID="53" presetClass="entr" presetSubtype="16" fill="hold" grpId="0" nodeType="afterEffect">
                                      <p:stCondLst>
                                        <p:cond delay="0"/>
                                      </p:stCondLst>
                                      <p:childTnLst>
                                        <p:set>
                                          <p:cBhvr>
                                            <p:cTn id="50" dur="1" fill="hold">
                                              <p:stCondLst>
                                                <p:cond delay="0"/>
                                              </p:stCondLst>
                                            </p:cTn>
                                            <p:tgtEl>
                                              <p:spTgt spid="8"/>
                                            </p:tgtEl>
                                            <p:attrNameLst>
                                              <p:attrName>style.visibility</p:attrName>
                                            </p:attrNameLst>
                                          </p:cBhvr>
                                          <p:to>
                                            <p:strVal val="visible"/>
                                          </p:to>
                                        </p:set>
                                        <p:anim calcmode="lin" valueType="num">
                                          <p:cBhvr>
                                            <p:cTn id="51" dur="500" fill="hold"/>
                                            <p:tgtEl>
                                              <p:spTgt spid="8"/>
                                            </p:tgtEl>
                                            <p:attrNameLst>
                                              <p:attrName>ppt_w</p:attrName>
                                            </p:attrNameLst>
                                          </p:cBhvr>
                                          <p:tavLst>
                                            <p:tav tm="0">
                                              <p:val>
                                                <p:fltVal val="0"/>
                                              </p:val>
                                            </p:tav>
                                            <p:tav tm="100000">
                                              <p:val>
                                                <p:strVal val="#ppt_w"/>
                                              </p:val>
                                            </p:tav>
                                          </p:tavLst>
                                        </p:anim>
                                        <p:anim calcmode="lin" valueType="num">
                                          <p:cBhvr>
                                            <p:cTn id="52" dur="500" fill="hold"/>
                                            <p:tgtEl>
                                              <p:spTgt spid="8"/>
                                            </p:tgtEl>
                                            <p:attrNameLst>
                                              <p:attrName>ppt_h</p:attrName>
                                            </p:attrNameLst>
                                          </p:cBhvr>
                                          <p:tavLst>
                                            <p:tav tm="0">
                                              <p:val>
                                                <p:fltVal val="0"/>
                                              </p:val>
                                            </p:tav>
                                            <p:tav tm="100000">
                                              <p:val>
                                                <p:strVal val="#ppt_h"/>
                                              </p:val>
                                            </p:tav>
                                          </p:tavLst>
                                        </p:anim>
                                        <p:animEffect transition="in" filter="fade">
                                          <p:cBhvr>
                                            <p:cTn id="53" dur="500"/>
                                            <p:tgtEl>
                                              <p:spTgt spid="8"/>
                                            </p:tgtEl>
                                          </p:cBhvr>
                                        </p:animEffect>
                                      </p:childTnLst>
                                    </p:cTn>
                                  </p:par>
                                </p:childTnLst>
                              </p:cTn>
                            </p:par>
                            <p:par>
                              <p:cTn id="54" fill="hold">
                                <p:stCondLst>
                                  <p:cond delay="4500"/>
                                </p:stCondLst>
                                <p:childTnLst>
                                  <p:par>
                                    <p:cTn id="55" presetID="53" presetClass="entr" presetSubtype="16" fill="hold" grpId="0" nodeType="afterEffect">
                                      <p:stCondLst>
                                        <p:cond delay="0"/>
                                      </p:stCondLst>
                                      <p:childTnLst>
                                        <p:set>
                                          <p:cBhvr>
                                            <p:cTn id="56" dur="1" fill="hold">
                                              <p:stCondLst>
                                                <p:cond delay="0"/>
                                              </p:stCondLst>
                                            </p:cTn>
                                            <p:tgtEl>
                                              <p:spTgt spid="58"/>
                                            </p:tgtEl>
                                            <p:attrNameLst>
                                              <p:attrName>style.visibility</p:attrName>
                                            </p:attrNameLst>
                                          </p:cBhvr>
                                          <p:to>
                                            <p:strVal val="visible"/>
                                          </p:to>
                                        </p:set>
                                        <p:anim calcmode="lin" valueType="num">
                                          <p:cBhvr>
                                            <p:cTn id="57" dur="500" fill="hold"/>
                                            <p:tgtEl>
                                              <p:spTgt spid="58"/>
                                            </p:tgtEl>
                                            <p:attrNameLst>
                                              <p:attrName>ppt_w</p:attrName>
                                            </p:attrNameLst>
                                          </p:cBhvr>
                                          <p:tavLst>
                                            <p:tav tm="0">
                                              <p:val>
                                                <p:fltVal val="0"/>
                                              </p:val>
                                            </p:tav>
                                            <p:tav tm="100000">
                                              <p:val>
                                                <p:strVal val="#ppt_w"/>
                                              </p:val>
                                            </p:tav>
                                          </p:tavLst>
                                        </p:anim>
                                        <p:anim calcmode="lin" valueType="num">
                                          <p:cBhvr>
                                            <p:cTn id="58" dur="500" fill="hold"/>
                                            <p:tgtEl>
                                              <p:spTgt spid="58"/>
                                            </p:tgtEl>
                                            <p:attrNameLst>
                                              <p:attrName>ppt_h</p:attrName>
                                            </p:attrNameLst>
                                          </p:cBhvr>
                                          <p:tavLst>
                                            <p:tav tm="0">
                                              <p:val>
                                                <p:fltVal val="0"/>
                                              </p:val>
                                            </p:tav>
                                            <p:tav tm="100000">
                                              <p:val>
                                                <p:strVal val="#ppt_h"/>
                                              </p:val>
                                            </p:tav>
                                          </p:tavLst>
                                        </p:anim>
                                        <p:animEffect transition="in" filter="fade">
                                          <p:cBhvr>
                                            <p:cTn id="59" dur="500"/>
                                            <p:tgtEl>
                                              <p:spTgt spid="58"/>
                                            </p:tgtEl>
                                          </p:cBhvr>
                                        </p:animEffect>
                                      </p:childTnLst>
                                    </p:cTn>
                                  </p:par>
                                </p:childTnLst>
                              </p:cTn>
                            </p:par>
                            <p:par>
                              <p:cTn id="60" fill="hold">
                                <p:stCondLst>
                                  <p:cond delay="5000"/>
                                </p:stCondLst>
                                <p:childTnLst>
                                  <p:par>
                                    <p:cTn id="61" presetID="53" presetClass="entr" presetSubtype="16" fill="hold" grpId="0" nodeType="afterEffect">
                                      <p:stCondLst>
                                        <p:cond delay="0"/>
                                      </p:stCondLst>
                                      <p:childTnLst>
                                        <p:set>
                                          <p:cBhvr>
                                            <p:cTn id="62" dur="1" fill="hold">
                                              <p:stCondLst>
                                                <p:cond delay="0"/>
                                              </p:stCondLst>
                                            </p:cTn>
                                            <p:tgtEl>
                                              <p:spTgt spid="9"/>
                                            </p:tgtEl>
                                            <p:attrNameLst>
                                              <p:attrName>style.visibility</p:attrName>
                                            </p:attrNameLst>
                                          </p:cBhvr>
                                          <p:to>
                                            <p:strVal val="visible"/>
                                          </p:to>
                                        </p:set>
                                        <p:anim calcmode="lin" valueType="num">
                                          <p:cBhvr>
                                            <p:cTn id="63" dur="500" fill="hold"/>
                                            <p:tgtEl>
                                              <p:spTgt spid="9"/>
                                            </p:tgtEl>
                                            <p:attrNameLst>
                                              <p:attrName>ppt_w</p:attrName>
                                            </p:attrNameLst>
                                          </p:cBhvr>
                                          <p:tavLst>
                                            <p:tav tm="0">
                                              <p:val>
                                                <p:fltVal val="0"/>
                                              </p:val>
                                            </p:tav>
                                            <p:tav tm="100000">
                                              <p:val>
                                                <p:strVal val="#ppt_w"/>
                                              </p:val>
                                            </p:tav>
                                          </p:tavLst>
                                        </p:anim>
                                        <p:anim calcmode="lin" valueType="num">
                                          <p:cBhvr>
                                            <p:cTn id="64" dur="500" fill="hold"/>
                                            <p:tgtEl>
                                              <p:spTgt spid="9"/>
                                            </p:tgtEl>
                                            <p:attrNameLst>
                                              <p:attrName>ppt_h</p:attrName>
                                            </p:attrNameLst>
                                          </p:cBhvr>
                                          <p:tavLst>
                                            <p:tav tm="0">
                                              <p:val>
                                                <p:fltVal val="0"/>
                                              </p:val>
                                            </p:tav>
                                            <p:tav tm="100000">
                                              <p:val>
                                                <p:strVal val="#ppt_h"/>
                                              </p:val>
                                            </p:tav>
                                          </p:tavLst>
                                        </p:anim>
                                        <p:animEffect transition="in" filter="fade">
                                          <p:cBhvr>
                                            <p:cTn id="65" dur="500"/>
                                            <p:tgtEl>
                                              <p:spTgt spid="9"/>
                                            </p:tgtEl>
                                          </p:cBhvr>
                                        </p:animEffect>
                                      </p:childTnLst>
                                    </p:cTn>
                                  </p:par>
                                </p:childTnLst>
                              </p:cTn>
                            </p:par>
                            <p:par>
                              <p:cTn id="66" fill="hold">
                                <p:stCondLst>
                                  <p:cond delay="5500"/>
                                </p:stCondLst>
                                <p:childTnLst>
                                  <p:par>
                                    <p:cTn id="67" presetID="53" presetClass="entr" presetSubtype="16" fill="hold" grpId="0" nodeType="afterEffect">
                                      <p:stCondLst>
                                        <p:cond delay="0"/>
                                      </p:stCondLst>
                                      <p:childTnLst>
                                        <p:set>
                                          <p:cBhvr>
                                            <p:cTn id="68" dur="1" fill="hold">
                                              <p:stCondLst>
                                                <p:cond delay="0"/>
                                              </p:stCondLst>
                                            </p:cTn>
                                            <p:tgtEl>
                                              <p:spTgt spid="59"/>
                                            </p:tgtEl>
                                            <p:attrNameLst>
                                              <p:attrName>style.visibility</p:attrName>
                                            </p:attrNameLst>
                                          </p:cBhvr>
                                          <p:to>
                                            <p:strVal val="visible"/>
                                          </p:to>
                                        </p:set>
                                        <p:anim calcmode="lin" valueType="num">
                                          <p:cBhvr>
                                            <p:cTn id="69" dur="500" fill="hold"/>
                                            <p:tgtEl>
                                              <p:spTgt spid="59"/>
                                            </p:tgtEl>
                                            <p:attrNameLst>
                                              <p:attrName>ppt_w</p:attrName>
                                            </p:attrNameLst>
                                          </p:cBhvr>
                                          <p:tavLst>
                                            <p:tav tm="0">
                                              <p:val>
                                                <p:fltVal val="0"/>
                                              </p:val>
                                            </p:tav>
                                            <p:tav tm="100000">
                                              <p:val>
                                                <p:strVal val="#ppt_w"/>
                                              </p:val>
                                            </p:tav>
                                          </p:tavLst>
                                        </p:anim>
                                        <p:anim calcmode="lin" valueType="num">
                                          <p:cBhvr>
                                            <p:cTn id="70" dur="500" fill="hold"/>
                                            <p:tgtEl>
                                              <p:spTgt spid="59"/>
                                            </p:tgtEl>
                                            <p:attrNameLst>
                                              <p:attrName>ppt_h</p:attrName>
                                            </p:attrNameLst>
                                          </p:cBhvr>
                                          <p:tavLst>
                                            <p:tav tm="0">
                                              <p:val>
                                                <p:fltVal val="0"/>
                                              </p:val>
                                            </p:tav>
                                            <p:tav tm="100000">
                                              <p:val>
                                                <p:strVal val="#ppt_h"/>
                                              </p:val>
                                            </p:tav>
                                          </p:tavLst>
                                        </p:anim>
                                        <p:animEffect transition="in" filter="fade">
                                          <p:cBhvr>
                                            <p:cTn id="71" dur="500"/>
                                            <p:tgtEl>
                                              <p:spTgt spid="59"/>
                                            </p:tgtEl>
                                          </p:cBhvr>
                                        </p:animEffect>
                                      </p:childTnLst>
                                    </p:cTn>
                                  </p:par>
                                </p:childTnLst>
                              </p:cTn>
                            </p:par>
                            <p:par>
                              <p:cTn id="72" fill="hold">
                                <p:stCondLst>
                                  <p:cond delay="6000"/>
                                </p:stCondLst>
                                <p:childTnLst>
                                  <p:par>
                                    <p:cTn id="73" presetID="53" presetClass="entr" presetSubtype="16" fill="hold" grpId="0" nodeType="afterEffect">
                                      <p:stCondLst>
                                        <p:cond delay="0"/>
                                      </p:stCondLst>
                                      <p:childTnLst>
                                        <p:set>
                                          <p:cBhvr>
                                            <p:cTn id="74" dur="1" fill="hold">
                                              <p:stCondLst>
                                                <p:cond delay="0"/>
                                              </p:stCondLst>
                                            </p:cTn>
                                            <p:tgtEl>
                                              <p:spTgt spid="10"/>
                                            </p:tgtEl>
                                            <p:attrNameLst>
                                              <p:attrName>style.visibility</p:attrName>
                                            </p:attrNameLst>
                                          </p:cBhvr>
                                          <p:to>
                                            <p:strVal val="visible"/>
                                          </p:to>
                                        </p:set>
                                        <p:anim calcmode="lin" valueType="num">
                                          <p:cBhvr>
                                            <p:cTn id="75" dur="500" fill="hold"/>
                                            <p:tgtEl>
                                              <p:spTgt spid="10"/>
                                            </p:tgtEl>
                                            <p:attrNameLst>
                                              <p:attrName>ppt_w</p:attrName>
                                            </p:attrNameLst>
                                          </p:cBhvr>
                                          <p:tavLst>
                                            <p:tav tm="0">
                                              <p:val>
                                                <p:fltVal val="0"/>
                                              </p:val>
                                            </p:tav>
                                            <p:tav tm="100000">
                                              <p:val>
                                                <p:strVal val="#ppt_w"/>
                                              </p:val>
                                            </p:tav>
                                          </p:tavLst>
                                        </p:anim>
                                        <p:anim calcmode="lin" valueType="num">
                                          <p:cBhvr>
                                            <p:cTn id="76" dur="500" fill="hold"/>
                                            <p:tgtEl>
                                              <p:spTgt spid="10"/>
                                            </p:tgtEl>
                                            <p:attrNameLst>
                                              <p:attrName>ppt_h</p:attrName>
                                            </p:attrNameLst>
                                          </p:cBhvr>
                                          <p:tavLst>
                                            <p:tav tm="0">
                                              <p:val>
                                                <p:fltVal val="0"/>
                                              </p:val>
                                            </p:tav>
                                            <p:tav tm="100000">
                                              <p:val>
                                                <p:strVal val="#ppt_h"/>
                                              </p:val>
                                            </p:tav>
                                          </p:tavLst>
                                        </p:anim>
                                        <p:animEffect transition="in" filter="fade">
                                          <p:cBhvr>
                                            <p:cTn id="77" dur="500"/>
                                            <p:tgtEl>
                                              <p:spTgt spid="10"/>
                                            </p:tgtEl>
                                          </p:cBhvr>
                                        </p:animEffect>
                                      </p:childTnLst>
                                    </p:cTn>
                                  </p:par>
                                </p:childTnLst>
                              </p:cTn>
                            </p:par>
                            <p:par>
                              <p:cTn id="78" fill="hold">
                                <p:stCondLst>
                                  <p:cond delay="6500"/>
                                </p:stCondLst>
                                <p:childTnLst>
                                  <p:par>
                                    <p:cTn id="79" presetID="53" presetClass="entr" presetSubtype="16" fill="hold" grpId="0" nodeType="afterEffect">
                                      <p:stCondLst>
                                        <p:cond delay="0"/>
                                      </p:stCondLst>
                                      <p:childTnLst>
                                        <p:set>
                                          <p:cBhvr>
                                            <p:cTn id="80" dur="1" fill="hold">
                                              <p:stCondLst>
                                                <p:cond delay="0"/>
                                              </p:stCondLst>
                                            </p:cTn>
                                            <p:tgtEl>
                                              <p:spTgt spid="60"/>
                                            </p:tgtEl>
                                            <p:attrNameLst>
                                              <p:attrName>style.visibility</p:attrName>
                                            </p:attrNameLst>
                                          </p:cBhvr>
                                          <p:to>
                                            <p:strVal val="visible"/>
                                          </p:to>
                                        </p:set>
                                        <p:anim calcmode="lin" valueType="num">
                                          <p:cBhvr>
                                            <p:cTn id="81" dur="500" fill="hold"/>
                                            <p:tgtEl>
                                              <p:spTgt spid="60"/>
                                            </p:tgtEl>
                                            <p:attrNameLst>
                                              <p:attrName>ppt_w</p:attrName>
                                            </p:attrNameLst>
                                          </p:cBhvr>
                                          <p:tavLst>
                                            <p:tav tm="0">
                                              <p:val>
                                                <p:fltVal val="0"/>
                                              </p:val>
                                            </p:tav>
                                            <p:tav tm="100000">
                                              <p:val>
                                                <p:strVal val="#ppt_w"/>
                                              </p:val>
                                            </p:tav>
                                          </p:tavLst>
                                        </p:anim>
                                        <p:anim calcmode="lin" valueType="num">
                                          <p:cBhvr>
                                            <p:cTn id="82" dur="500" fill="hold"/>
                                            <p:tgtEl>
                                              <p:spTgt spid="60"/>
                                            </p:tgtEl>
                                            <p:attrNameLst>
                                              <p:attrName>ppt_h</p:attrName>
                                            </p:attrNameLst>
                                          </p:cBhvr>
                                          <p:tavLst>
                                            <p:tav tm="0">
                                              <p:val>
                                                <p:fltVal val="0"/>
                                              </p:val>
                                            </p:tav>
                                            <p:tav tm="100000">
                                              <p:val>
                                                <p:strVal val="#ppt_h"/>
                                              </p:val>
                                            </p:tav>
                                          </p:tavLst>
                                        </p:anim>
                                        <p:animEffect transition="in" filter="fade">
                                          <p:cBhvr>
                                            <p:cTn id="83" dur="500"/>
                                            <p:tgtEl>
                                              <p:spTgt spid="60"/>
                                            </p:tgtEl>
                                          </p:cBhvr>
                                        </p:animEffect>
                                      </p:childTnLst>
                                    </p:cTn>
                                  </p:par>
                                </p:childTnLst>
                              </p:cTn>
                            </p:par>
                            <p:par>
                              <p:cTn id="84" fill="hold">
                                <p:stCondLst>
                                  <p:cond delay="7000"/>
                                </p:stCondLst>
                                <p:childTnLst>
                                  <p:par>
                                    <p:cTn id="85" presetID="22" presetClass="entr" presetSubtype="1" fill="hold" grpId="0" nodeType="afterEffect">
                                      <p:stCondLst>
                                        <p:cond delay="0"/>
                                      </p:stCondLst>
                                      <p:childTnLst>
                                        <p:set>
                                          <p:cBhvr>
                                            <p:cTn id="86" dur="1" fill="hold">
                                              <p:stCondLst>
                                                <p:cond delay="0"/>
                                              </p:stCondLst>
                                            </p:cTn>
                                            <p:tgtEl>
                                              <p:spTgt spid="11"/>
                                            </p:tgtEl>
                                            <p:attrNameLst>
                                              <p:attrName>style.visibility</p:attrName>
                                            </p:attrNameLst>
                                          </p:cBhvr>
                                          <p:to>
                                            <p:strVal val="visible"/>
                                          </p:to>
                                        </p:set>
                                        <p:animEffect transition="in" filter="wipe(up)">
                                          <p:cBhvr>
                                            <p:cTn id="87" dur="500"/>
                                            <p:tgtEl>
                                              <p:spTgt spid="11"/>
                                            </p:tgtEl>
                                          </p:cBhvr>
                                        </p:animEffect>
                                      </p:childTnLst>
                                    </p:cTn>
                                  </p:par>
                                </p:childTnLst>
                              </p:cTn>
                            </p:par>
                            <p:par>
                              <p:cTn id="88" fill="hold">
                                <p:stCondLst>
                                  <p:cond delay="7500"/>
                                </p:stCondLst>
                                <p:childTnLst>
                                  <p:par>
                                    <p:cTn id="89" presetID="10" presetClass="entr" presetSubtype="0" fill="hold" grpId="0" nodeType="afterEffect">
                                      <p:stCondLst>
                                        <p:cond delay="0"/>
                                      </p:stCondLst>
                                      <p:childTnLst>
                                        <p:set>
                                          <p:cBhvr>
                                            <p:cTn id="90" dur="1" fill="hold">
                                              <p:stCondLst>
                                                <p:cond delay="0"/>
                                              </p:stCondLst>
                                            </p:cTn>
                                            <p:tgtEl>
                                              <p:spTgt spid="12"/>
                                            </p:tgtEl>
                                            <p:attrNameLst>
                                              <p:attrName>style.visibility</p:attrName>
                                            </p:attrNameLst>
                                          </p:cBhvr>
                                          <p:to>
                                            <p:strVal val="visible"/>
                                          </p:to>
                                        </p:set>
                                        <p:animEffect transition="in" filter="fade">
                                          <p:cBhvr>
                                            <p:cTn id="91" dur="500"/>
                                            <p:tgtEl>
                                              <p:spTgt spid="12"/>
                                            </p:tgtEl>
                                          </p:cBhvr>
                                        </p:animEffect>
                                      </p:childTnLst>
                                    </p:cTn>
                                  </p:par>
                                </p:childTnLst>
                              </p:cTn>
                            </p:par>
                            <p:par>
                              <p:cTn id="92" fill="hold">
                                <p:stCondLst>
                                  <p:cond delay="8000"/>
                                </p:stCondLst>
                                <p:childTnLst>
                                  <p:par>
                                    <p:cTn id="93" presetID="22" presetClass="entr" presetSubtype="1" fill="hold" nodeType="afterEffect">
                                      <p:stCondLst>
                                        <p:cond delay="0"/>
                                      </p:stCondLst>
                                      <p:childTnLst>
                                        <p:set>
                                          <p:cBhvr>
                                            <p:cTn id="94" dur="1" fill="hold">
                                              <p:stCondLst>
                                                <p:cond delay="0"/>
                                              </p:stCondLst>
                                            </p:cTn>
                                            <p:tgtEl>
                                              <p:spTgt spid="13"/>
                                            </p:tgtEl>
                                            <p:attrNameLst>
                                              <p:attrName>style.visibility</p:attrName>
                                            </p:attrNameLst>
                                          </p:cBhvr>
                                          <p:to>
                                            <p:strVal val="visible"/>
                                          </p:to>
                                        </p:set>
                                        <p:animEffect transition="in" filter="wipe(up)">
                                          <p:cBhvr>
                                            <p:cTn id="95" dur="500"/>
                                            <p:tgtEl>
                                              <p:spTgt spid="13"/>
                                            </p:tgtEl>
                                          </p:cBhvr>
                                        </p:animEffect>
                                      </p:childTnLst>
                                    </p:cTn>
                                  </p:par>
                                </p:childTnLst>
                              </p:cTn>
                            </p:par>
                            <p:par>
                              <p:cTn id="96" fill="hold">
                                <p:stCondLst>
                                  <p:cond delay="8500"/>
                                </p:stCondLst>
                                <p:childTnLst>
                                  <p:par>
                                    <p:cTn id="97" presetID="10" presetClass="entr" presetSubtype="0" fill="hold" grpId="0" nodeType="afterEffect">
                                      <p:stCondLst>
                                        <p:cond delay="0"/>
                                      </p:stCondLst>
                                      <p:childTnLst>
                                        <p:set>
                                          <p:cBhvr>
                                            <p:cTn id="98" dur="1" fill="hold">
                                              <p:stCondLst>
                                                <p:cond delay="0"/>
                                              </p:stCondLst>
                                            </p:cTn>
                                            <p:tgtEl>
                                              <p:spTgt spid="26"/>
                                            </p:tgtEl>
                                            <p:attrNameLst>
                                              <p:attrName>style.visibility</p:attrName>
                                            </p:attrNameLst>
                                          </p:cBhvr>
                                          <p:to>
                                            <p:strVal val="visible"/>
                                          </p:to>
                                        </p:set>
                                        <p:animEffect transition="in" filter="fade">
                                          <p:cBhvr>
                                            <p:cTn id="99" dur="500"/>
                                            <p:tgtEl>
                                              <p:spTgt spid="26"/>
                                            </p:tgtEl>
                                          </p:cBhvr>
                                        </p:animEffect>
                                      </p:childTnLst>
                                    </p:cTn>
                                  </p:par>
                                  <p:par>
                                    <p:cTn id="100" presetID="10" presetClass="entr" presetSubtype="0" fill="hold" grpId="0" nodeType="withEffect">
                                      <p:stCondLst>
                                        <p:cond delay="0"/>
                                      </p:stCondLst>
                                      <p:childTnLst>
                                        <p:set>
                                          <p:cBhvr>
                                            <p:cTn id="101" dur="1" fill="hold">
                                              <p:stCondLst>
                                                <p:cond delay="0"/>
                                              </p:stCondLst>
                                            </p:cTn>
                                            <p:tgtEl>
                                              <p:spTgt spid="27"/>
                                            </p:tgtEl>
                                            <p:attrNameLst>
                                              <p:attrName>style.visibility</p:attrName>
                                            </p:attrNameLst>
                                          </p:cBhvr>
                                          <p:to>
                                            <p:strVal val="visible"/>
                                          </p:to>
                                        </p:set>
                                        <p:animEffect transition="in" filter="fade">
                                          <p:cBhvr>
                                            <p:cTn id="102" dur="500"/>
                                            <p:tgtEl>
                                              <p:spTgt spid="27"/>
                                            </p:tgtEl>
                                          </p:cBhvr>
                                        </p:animEffect>
                                      </p:childTnLst>
                                    </p:cTn>
                                  </p:par>
                                  <p:par>
                                    <p:cTn id="103" presetID="10" presetClass="entr" presetSubtype="0" fill="hold" grpId="0" nodeType="withEffect">
                                      <p:stCondLst>
                                        <p:cond delay="0"/>
                                      </p:stCondLst>
                                      <p:childTnLst>
                                        <p:set>
                                          <p:cBhvr>
                                            <p:cTn id="104" dur="1" fill="hold">
                                              <p:stCondLst>
                                                <p:cond delay="0"/>
                                              </p:stCondLst>
                                            </p:cTn>
                                            <p:tgtEl>
                                              <p:spTgt spid="28"/>
                                            </p:tgtEl>
                                            <p:attrNameLst>
                                              <p:attrName>style.visibility</p:attrName>
                                            </p:attrNameLst>
                                          </p:cBhvr>
                                          <p:to>
                                            <p:strVal val="visible"/>
                                          </p:to>
                                        </p:set>
                                        <p:animEffect transition="in" filter="fade">
                                          <p:cBhvr>
                                            <p:cTn id="105" dur="500"/>
                                            <p:tgtEl>
                                              <p:spTgt spid="28"/>
                                            </p:tgtEl>
                                          </p:cBhvr>
                                        </p:animEffect>
                                      </p:childTnLst>
                                    </p:cTn>
                                  </p:par>
                                </p:childTnLst>
                              </p:cTn>
                            </p:par>
                            <p:par>
                              <p:cTn id="106" fill="hold">
                                <p:stCondLst>
                                  <p:cond delay="9000"/>
                                </p:stCondLst>
                                <p:childTnLst>
                                  <p:par>
                                    <p:cTn id="107" presetID="22" presetClass="entr" presetSubtype="8" fill="hold" nodeType="afterEffect">
                                      <p:stCondLst>
                                        <p:cond delay="0"/>
                                      </p:stCondLst>
                                      <p:childTnLst>
                                        <p:set>
                                          <p:cBhvr>
                                            <p:cTn id="108" dur="1" fill="hold">
                                              <p:stCondLst>
                                                <p:cond delay="0"/>
                                              </p:stCondLst>
                                            </p:cTn>
                                            <p:tgtEl>
                                              <p:spTgt spid="29"/>
                                            </p:tgtEl>
                                            <p:attrNameLst>
                                              <p:attrName>style.visibility</p:attrName>
                                            </p:attrNameLst>
                                          </p:cBhvr>
                                          <p:to>
                                            <p:strVal val="visible"/>
                                          </p:to>
                                        </p:set>
                                        <p:animEffect transition="in" filter="wipe(left)">
                                          <p:cBhvr>
                                            <p:cTn id="109" dur="500"/>
                                            <p:tgtEl>
                                              <p:spTgt spid="29"/>
                                            </p:tgtEl>
                                          </p:cBhvr>
                                        </p:animEffect>
                                      </p:childTnLst>
                                    </p:cTn>
                                  </p:par>
                                  <p:par>
                                    <p:cTn id="110" presetID="22" presetClass="entr" presetSubtype="8" fill="hold" nodeType="withEffect">
                                      <p:stCondLst>
                                        <p:cond delay="0"/>
                                      </p:stCondLst>
                                      <p:childTnLst>
                                        <p:set>
                                          <p:cBhvr>
                                            <p:cTn id="111" dur="1" fill="hold">
                                              <p:stCondLst>
                                                <p:cond delay="0"/>
                                              </p:stCondLst>
                                            </p:cTn>
                                            <p:tgtEl>
                                              <p:spTgt spid="30"/>
                                            </p:tgtEl>
                                            <p:attrNameLst>
                                              <p:attrName>style.visibility</p:attrName>
                                            </p:attrNameLst>
                                          </p:cBhvr>
                                          <p:to>
                                            <p:strVal val="visible"/>
                                          </p:to>
                                        </p:set>
                                        <p:animEffect transition="in" filter="wipe(left)">
                                          <p:cBhvr>
                                            <p:cTn id="112" dur="500"/>
                                            <p:tgtEl>
                                              <p:spTgt spid="30"/>
                                            </p:tgtEl>
                                          </p:cBhvr>
                                        </p:animEffect>
                                      </p:childTnLst>
                                    </p:cTn>
                                  </p:par>
                                  <p:par>
                                    <p:cTn id="113" presetID="22" presetClass="entr" presetSubtype="8" fill="hold" nodeType="withEffect">
                                      <p:stCondLst>
                                        <p:cond delay="0"/>
                                      </p:stCondLst>
                                      <p:childTnLst>
                                        <p:set>
                                          <p:cBhvr>
                                            <p:cTn id="114" dur="1" fill="hold">
                                              <p:stCondLst>
                                                <p:cond delay="0"/>
                                              </p:stCondLst>
                                            </p:cTn>
                                            <p:tgtEl>
                                              <p:spTgt spid="31"/>
                                            </p:tgtEl>
                                            <p:attrNameLst>
                                              <p:attrName>style.visibility</p:attrName>
                                            </p:attrNameLst>
                                          </p:cBhvr>
                                          <p:to>
                                            <p:strVal val="visible"/>
                                          </p:to>
                                        </p:set>
                                        <p:animEffect transition="in" filter="wipe(left)">
                                          <p:cBhvr>
                                            <p:cTn id="115" dur="500"/>
                                            <p:tgtEl>
                                              <p:spTgt spid="31"/>
                                            </p:tgtEl>
                                          </p:cBhvr>
                                        </p:animEffect>
                                      </p:childTnLst>
                                    </p:cTn>
                                  </p:par>
                                </p:childTnLst>
                              </p:cTn>
                            </p:par>
                            <p:par>
                              <p:cTn id="116" fill="hold">
                                <p:stCondLst>
                                  <p:cond delay="9500"/>
                                </p:stCondLst>
                                <p:childTnLst>
                                  <p:par>
                                    <p:cTn id="117" presetID="22" presetClass="entr" presetSubtype="4" fill="hold" grpId="0" nodeType="afterEffect">
                                      <p:stCondLst>
                                        <p:cond delay="0"/>
                                      </p:stCondLst>
                                      <p:childTnLst>
                                        <p:set>
                                          <p:cBhvr>
                                            <p:cTn id="118" dur="1" fill="hold">
                                              <p:stCondLst>
                                                <p:cond delay="0"/>
                                              </p:stCondLst>
                                            </p:cTn>
                                            <p:tgtEl>
                                              <p:spTgt spid="20"/>
                                            </p:tgtEl>
                                            <p:attrNameLst>
                                              <p:attrName>style.visibility</p:attrName>
                                            </p:attrNameLst>
                                          </p:cBhvr>
                                          <p:to>
                                            <p:strVal val="visible"/>
                                          </p:to>
                                        </p:set>
                                        <p:animEffect transition="in" filter="wipe(down)">
                                          <p:cBhvr>
                                            <p:cTn id="119" dur="500"/>
                                            <p:tgtEl>
                                              <p:spTgt spid="20"/>
                                            </p:tgtEl>
                                          </p:cBhvr>
                                        </p:animEffect>
                                      </p:childTnLst>
                                    </p:cTn>
                                  </p:par>
                                </p:childTnLst>
                              </p:cTn>
                            </p:par>
                            <p:par>
                              <p:cTn id="120" fill="hold">
                                <p:stCondLst>
                                  <p:cond delay="10000"/>
                                </p:stCondLst>
                                <p:childTnLst>
                                  <p:par>
                                    <p:cTn id="121" presetID="10" presetClass="entr" presetSubtype="0" fill="hold" grpId="0" nodeType="afterEffect">
                                      <p:stCondLst>
                                        <p:cond delay="0"/>
                                      </p:stCondLst>
                                      <p:childTnLst>
                                        <p:set>
                                          <p:cBhvr>
                                            <p:cTn id="122" dur="1" fill="hold">
                                              <p:stCondLst>
                                                <p:cond delay="0"/>
                                              </p:stCondLst>
                                            </p:cTn>
                                            <p:tgtEl>
                                              <p:spTgt spid="21"/>
                                            </p:tgtEl>
                                            <p:attrNameLst>
                                              <p:attrName>style.visibility</p:attrName>
                                            </p:attrNameLst>
                                          </p:cBhvr>
                                          <p:to>
                                            <p:strVal val="visible"/>
                                          </p:to>
                                        </p:set>
                                        <p:animEffect transition="in" filter="fade">
                                          <p:cBhvr>
                                            <p:cTn id="123" dur="500"/>
                                            <p:tgtEl>
                                              <p:spTgt spid="21"/>
                                            </p:tgtEl>
                                          </p:cBhvr>
                                        </p:animEffect>
                                      </p:childTnLst>
                                    </p:cTn>
                                  </p:par>
                                </p:childTnLst>
                              </p:cTn>
                            </p:par>
                            <p:par>
                              <p:cTn id="124" fill="hold">
                                <p:stCondLst>
                                  <p:cond delay="10500"/>
                                </p:stCondLst>
                                <p:childTnLst>
                                  <p:par>
                                    <p:cTn id="125" presetID="22" presetClass="entr" presetSubtype="4" fill="hold" nodeType="afterEffect">
                                      <p:stCondLst>
                                        <p:cond delay="0"/>
                                      </p:stCondLst>
                                      <p:childTnLst>
                                        <p:set>
                                          <p:cBhvr>
                                            <p:cTn id="126" dur="1" fill="hold">
                                              <p:stCondLst>
                                                <p:cond delay="0"/>
                                              </p:stCondLst>
                                            </p:cTn>
                                            <p:tgtEl>
                                              <p:spTgt spid="22"/>
                                            </p:tgtEl>
                                            <p:attrNameLst>
                                              <p:attrName>style.visibility</p:attrName>
                                            </p:attrNameLst>
                                          </p:cBhvr>
                                          <p:to>
                                            <p:strVal val="visible"/>
                                          </p:to>
                                        </p:set>
                                        <p:animEffect transition="in" filter="wipe(down)">
                                          <p:cBhvr>
                                            <p:cTn id="127" dur="500"/>
                                            <p:tgtEl>
                                              <p:spTgt spid="22"/>
                                            </p:tgtEl>
                                          </p:cBhvr>
                                        </p:animEffect>
                                      </p:childTnLst>
                                    </p:cTn>
                                  </p:par>
                                </p:childTnLst>
                              </p:cTn>
                            </p:par>
                            <p:par>
                              <p:cTn id="128" fill="hold">
                                <p:stCondLst>
                                  <p:cond delay="11000"/>
                                </p:stCondLst>
                                <p:childTnLst>
                                  <p:par>
                                    <p:cTn id="129" presetID="10" presetClass="entr" presetSubtype="0" fill="hold" grpId="0" nodeType="afterEffect">
                                      <p:stCondLst>
                                        <p:cond delay="0"/>
                                      </p:stCondLst>
                                      <p:childTnLst>
                                        <p:set>
                                          <p:cBhvr>
                                            <p:cTn id="130" dur="1" fill="hold">
                                              <p:stCondLst>
                                                <p:cond delay="0"/>
                                              </p:stCondLst>
                                            </p:cTn>
                                            <p:tgtEl>
                                              <p:spTgt spid="32"/>
                                            </p:tgtEl>
                                            <p:attrNameLst>
                                              <p:attrName>style.visibility</p:attrName>
                                            </p:attrNameLst>
                                          </p:cBhvr>
                                          <p:to>
                                            <p:strVal val="visible"/>
                                          </p:to>
                                        </p:set>
                                        <p:animEffect transition="in" filter="fade">
                                          <p:cBhvr>
                                            <p:cTn id="131" dur="500"/>
                                            <p:tgtEl>
                                              <p:spTgt spid="32"/>
                                            </p:tgtEl>
                                          </p:cBhvr>
                                        </p:animEffect>
                                      </p:childTnLst>
                                    </p:cTn>
                                  </p:par>
                                  <p:par>
                                    <p:cTn id="132" presetID="10" presetClass="entr" presetSubtype="0" fill="hold" grpId="0" nodeType="withEffect">
                                      <p:stCondLst>
                                        <p:cond delay="0"/>
                                      </p:stCondLst>
                                      <p:childTnLst>
                                        <p:set>
                                          <p:cBhvr>
                                            <p:cTn id="133" dur="1" fill="hold">
                                              <p:stCondLst>
                                                <p:cond delay="0"/>
                                              </p:stCondLst>
                                            </p:cTn>
                                            <p:tgtEl>
                                              <p:spTgt spid="34"/>
                                            </p:tgtEl>
                                            <p:attrNameLst>
                                              <p:attrName>style.visibility</p:attrName>
                                            </p:attrNameLst>
                                          </p:cBhvr>
                                          <p:to>
                                            <p:strVal val="visible"/>
                                          </p:to>
                                        </p:set>
                                        <p:animEffect transition="in" filter="fade">
                                          <p:cBhvr>
                                            <p:cTn id="134" dur="500"/>
                                            <p:tgtEl>
                                              <p:spTgt spid="34"/>
                                            </p:tgtEl>
                                          </p:cBhvr>
                                        </p:animEffect>
                                      </p:childTnLst>
                                    </p:cTn>
                                  </p:par>
                                  <p:par>
                                    <p:cTn id="135" presetID="10" presetClass="entr" presetSubtype="0" fill="hold" grpId="0" nodeType="withEffect">
                                      <p:stCondLst>
                                        <p:cond delay="0"/>
                                      </p:stCondLst>
                                      <p:childTnLst>
                                        <p:set>
                                          <p:cBhvr>
                                            <p:cTn id="136" dur="1" fill="hold">
                                              <p:stCondLst>
                                                <p:cond delay="0"/>
                                              </p:stCondLst>
                                            </p:cTn>
                                            <p:tgtEl>
                                              <p:spTgt spid="33"/>
                                            </p:tgtEl>
                                            <p:attrNameLst>
                                              <p:attrName>style.visibility</p:attrName>
                                            </p:attrNameLst>
                                          </p:cBhvr>
                                          <p:to>
                                            <p:strVal val="visible"/>
                                          </p:to>
                                        </p:set>
                                        <p:animEffect transition="in" filter="fade">
                                          <p:cBhvr>
                                            <p:cTn id="137" dur="500"/>
                                            <p:tgtEl>
                                              <p:spTgt spid="33"/>
                                            </p:tgtEl>
                                          </p:cBhvr>
                                        </p:animEffect>
                                      </p:childTnLst>
                                    </p:cTn>
                                  </p:par>
                                </p:childTnLst>
                              </p:cTn>
                            </p:par>
                            <p:par>
                              <p:cTn id="138" fill="hold">
                                <p:stCondLst>
                                  <p:cond delay="11500"/>
                                </p:stCondLst>
                                <p:childTnLst>
                                  <p:par>
                                    <p:cTn id="139" presetID="22" presetClass="entr" presetSubtype="8" fill="hold" nodeType="afterEffect">
                                      <p:stCondLst>
                                        <p:cond delay="0"/>
                                      </p:stCondLst>
                                      <p:childTnLst>
                                        <p:set>
                                          <p:cBhvr>
                                            <p:cTn id="140" dur="1" fill="hold">
                                              <p:stCondLst>
                                                <p:cond delay="0"/>
                                              </p:stCondLst>
                                            </p:cTn>
                                            <p:tgtEl>
                                              <p:spTgt spid="35"/>
                                            </p:tgtEl>
                                            <p:attrNameLst>
                                              <p:attrName>style.visibility</p:attrName>
                                            </p:attrNameLst>
                                          </p:cBhvr>
                                          <p:to>
                                            <p:strVal val="visible"/>
                                          </p:to>
                                        </p:set>
                                        <p:animEffect transition="in" filter="wipe(left)">
                                          <p:cBhvr>
                                            <p:cTn id="141" dur="500"/>
                                            <p:tgtEl>
                                              <p:spTgt spid="35"/>
                                            </p:tgtEl>
                                          </p:cBhvr>
                                        </p:animEffect>
                                      </p:childTnLst>
                                    </p:cTn>
                                  </p:par>
                                  <p:par>
                                    <p:cTn id="142" presetID="22" presetClass="entr" presetSubtype="8" fill="hold" nodeType="withEffect">
                                      <p:stCondLst>
                                        <p:cond delay="0"/>
                                      </p:stCondLst>
                                      <p:childTnLst>
                                        <p:set>
                                          <p:cBhvr>
                                            <p:cTn id="143" dur="1" fill="hold">
                                              <p:stCondLst>
                                                <p:cond delay="0"/>
                                              </p:stCondLst>
                                            </p:cTn>
                                            <p:tgtEl>
                                              <p:spTgt spid="36"/>
                                            </p:tgtEl>
                                            <p:attrNameLst>
                                              <p:attrName>style.visibility</p:attrName>
                                            </p:attrNameLst>
                                          </p:cBhvr>
                                          <p:to>
                                            <p:strVal val="visible"/>
                                          </p:to>
                                        </p:set>
                                        <p:animEffect transition="in" filter="wipe(left)">
                                          <p:cBhvr>
                                            <p:cTn id="144" dur="500"/>
                                            <p:tgtEl>
                                              <p:spTgt spid="36"/>
                                            </p:tgtEl>
                                          </p:cBhvr>
                                        </p:animEffect>
                                      </p:childTnLst>
                                    </p:cTn>
                                  </p:par>
                                  <p:par>
                                    <p:cTn id="145" presetID="22" presetClass="entr" presetSubtype="8" fill="hold" nodeType="withEffect">
                                      <p:stCondLst>
                                        <p:cond delay="0"/>
                                      </p:stCondLst>
                                      <p:childTnLst>
                                        <p:set>
                                          <p:cBhvr>
                                            <p:cTn id="146" dur="1" fill="hold">
                                              <p:stCondLst>
                                                <p:cond delay="0"/>
                                              </p:stCondLst>
                                            </p:cTn>
                                            <p:tgtEl>
                                              <p:spTgt spid="37"/>
                                            </p:tgtEl>
                                            <p:attrNameLst>
                                              <p:attrName>style.visibility</p:attrName>
                                            </p:attrNameLst>
                                          </p:cBhvr>
                                          <p:to>
                                            <p:strVal val="visible"/>
                                          </p:to>
                                        </p:set>
                                        <p:animEffect transition="in" filter="wipe(left)">
                                          <p:cBhvr>
                                            <p:cTn id="147" dur="500"/>
                                            <p:tgtEl>
                                              <p:spTgt spid="37"/>
                                            </p:tgtEl>
                                          </p:cBhvr>
                                        </p:animEffect>
                                      </p:childTnLst>
                                    </p:cTn>
                                  </p:par>
                                </p:childTnLst>
                              </p:cTn>
                            </p:par>
                            <p:par>
                              <p:cTn id="148" fill="hold">
                                <p:stCondLst>
                                  <p:cond delay="12000"/>
                                </p:stCondLst>
                                <p:childTnLst>
                                  <p:par>
                                    <p:cTn id="149" presetID="22" presetClass="entr" presetSubtype="1" fill="hold" grpId="0" nodeType="afterEffect">
                                      <p:stCondLst>
                                        <p:cond delay="0"/>
                                      </p:stCondLst>
                                      <p:childTnLst>
                                        <p:set>
                                          <p:cBhvr>
                                            <p:cTn id="150" dur="1" fill="hold">
                                              <p:stCondLst>
                                                <p:cond delay="0"/>
                                              </p:stCondLst>
                                            </p:cTn>
                                            <p:tgtEl>
                                              <p:spTgt spid="14"/>
                                            </p:tgtEl>
                                            <p:attrNameLst>
                                              <p:attrName>style.visibility</p:attrName>
                                            </p:attrNameLst>
                                          </p:cBhvr>
                                          <p:to>
                                            <p:strVal val="visible"/>
                                          </p:to>
                                        </p:set>
                                        <p:animEffect transition="in" filter="wipe(up)">
                                          <p:cBhvr>
                                            <p:cTn id="151" dur="500"/>
                                            <p:tgtEl>
                                              <p:spTgt spid="14"/>
                                            </p:tgtEl>
                                          </p:cBhvr>
                                        </p:animEffect>
                                      </p:childTnLst>
                                    </p:cTn>
                                  </p:par>
                                </p:childTnLst>
                              </p:cTn>
                            </p:par>
                            <p:par>
                              <p:cTn id="152" fill="hold">
                                <p:stCondLst>
                                  <p:cond delay="12500"/>
                                </p:stCondLst>
                                <p:childTnLst>
                                  <p:par>
                                    <p:cTn id="153" presetID="10" presetClass="entr" presetSubtype="0" fill="hold" grpId="0" nodeType="afterEffect">
                                      <p:stCondLst>
                                        <p:cond delay="0"/>
                                      </p:stCondLst>
                                      <p:childTnLst>
                                        <p:set>
                                          <p:cBhvr>
                                            <p:cTn id="154" dur="1" fill="hold">
                                              <p:stCondLst>
                                                <p:cond delay="0"/>
                                              </p:stCondLst>
                                            </p:cTn>
                                            <p:tgtEl>
                                              <p:spTgt spid="15"/>
                                            </p:tgtEl>
                                            <p:attrNameLst>
                                              <p:attrName>style.visibility</p:attrName>
                                            </p:attrNameLst>
                                          </p:cBhvr>
                                          <p:to>
                                            <p:strVal val="visible"/>
                                          </p:to>
                                        </p:set>
                                        <p:animEffect transition="in" filter="fade">
                                          <p:cBhvr>
                                            <p:cTn id="155" dur="500"/>
                                            <p:tgtEl>
                                              <p:spTgt spid="15"/>
                                            </p:tgtEl>
                                          </p:cBhvr>
                                        </p:animEffect>
                                      </p:childTnLst>
                                    </p:cTn>
                                  </p:par>
                                </p:childTnLst>
                              </p:cTn>
                            </p:par>
                            <p:par>
                              <p:cTn id="156" fill="hold">
                                <p:stCondLst>
                                  <p:cond delay="13000"/>
                                </p:stCondLst>
                                <p:childTnLst>
                                  <p:par>
                                    <p:cTn id="157" presetID="22" presetClass="entr" presetSubtype="1" fill="hold" nodeType="afterEffect">
                                      <p:stCondLst>
                                        <p:cond delay="0"/>
                                      </p:stCondLst>
                                      <p:childTnLst>
                                        <p:set>
                                          <p:cBhvr>
                                            <p:cTn id="158" dur="1" fill="hold">
                                              <p:stCondLst>
                                                <p:cond delay="0"/>
                                              </p:stCondLst>
                                            </p:cTn>
                                            <p:tgtEl>
                                              <p:spTgt spid="16"/>
                                            </p:tgtEl>
                                            <p:attrNameLst>
                                              <p:attrName>style.visibility</p:attrName>
                                            </p:attrNameLst>
                                          </p:cBhvr>
                                          <p:to>
                                            <p:strVal val="visible"/>
                                          </p:to>
                                        </p:set>
                                        <p:animEffect transition="in" filter="wipe(up)">
                                          <p:cBhvr>
                                            <p:cTn id="159" dur="500"/>
                                            <p:tgtEl>
                                              <p:spTgt spid="16"/>
                                            </p:tgtEl>
                                          </p:cBhvr>
                                        </p:animEffect>
                                      </p:childTnLst>
                                    </p:cTn>
                                  </p:par>
                                </p:childTnLst>
                              </p:cTn>
                            </p:par>
                            <p:par>
                              <p:cTn id="160" fill="hold">
                                <p:stCondLst>
                                  <p:cond delay="13500"/>
                                </p:stCondLst>
                                <p:childTnLst>
                                  <p:par>
                                    <p:cTn id="161" presetID="10" presetClass="entr" presetSubtype="0" fill="hold" grpId="0" nodeType="afterEffect">
                                      <p:stCondLst>
                                        <p:cond delay="0"/>
                                      </p:stCondLst>
                                      <p:childTnLst>
                                        <p:set>
                                          <p:cBhvr>
                                            <p:cTn id="162" dur="1" fill="hold">
                                              <p:stCondLst>
                                                <p:cond delay="0"/>
                                              </p:stCondLst>
                                            </p:cTn>
                                            <p:tgtEl>
                                              <p:spTgt spid="38"/>
                                            </p:tgtEl>
                                            <p:attrNameLst>
                                              <p:attrName>style.visibility</p:attrName>
                                            </p:attrNameLst>
                                          </p:cBhvr>
                                          <p:to>
                                            <p:strVal val="visible"/>
                                          </p:to>
                                        </p:set>
                                        <p:animEffect transition="in" filter="fade">
                                          <p:cBhvr>
                                            <p:cTn id="163" dur="500"/>
                                            <p:tgtEl>
                                              <p:spTgt spid="38"/>
                                            </p:tgtEl>
                                          </p:cBhvr>
                                        </p:animEffect>
                                      </p:childTnLst>
                                    </p:cTn>
                                  </p:par>
                                  <p:par>
                                    <p:cTn id="164" presetID="10" presetClass="entr" presetSubtype="0" fill="hold" grpId="0" nodeType="withEffect">
                                      <p:stCondLst>
                                        <p:cond delay="0"/>
                                      </p:stCondLst>
                                      <p:childTnLst>
                                        <p:set>
                                          <p:cBhvr>
                                            <p:cTn id="165" dur="1" fill="hold">
                                              <p:stCondLst>
                                                <p:cond delay="0"/>
                                              </p:stCondLst>
                                            </p:cTn>
                                            <p:tgtEl>
                                              <p:spTgt spid="39"/>
                                            </p:tgtEl>
                                            <p:attrNameLst>
                                              <p:attrName>style.visibility</p:attrName>
                                            </p:attrNameLst>
                                          </p:cBhvr>
                                          <p:to>
                                            <p:strVal val="visible"/>
                                          </p:to>
                                        </p:set>
                                        <p:animEffect transition="in" filter="fade">
                                          <p:cBhvr>
                                            <p:cTn id="166" dur="500"/>
                                            <p:tgtEl>
                                              <p:spTgt spid="39"/>
                                            </p:tgtEl>
                                          </p:cBhvr>
                                        </p:animEffect>
                                      </p:childTnLst>
                                    </p:cTn>
                                  </p:par>
                                  <p:par>
                                    <p:cTn id="167" presetID="10" presetClass="entr" presetSubtype="0" fill="hold" grpId="0" nodeType="withEffect">
                                      <p:stCondLst>
                                        <p:cond delay="0"/>
                                      </p:stCondLst>
                                      <p:childTnLst>
                                        <p:set>
                                          <p:cBhvr>
                                            <p:cTn id="168" dur="1" fill="hold">
                                              <p:stCondLst>
                                                <p:cond delay="0"/>
                                              </p:stCondLst>
                                            </p:cTn>
                                            <p:tgtEl>
                                              <p:spTgt spid="40"/>
                                            </p:tgtEl>
                                            <p:attrNameLst>
                                              <p:attrName>style.visibility</p:attrName>
                                            </p:attrNameLst>
                                          </p:cBhvr>
                                          <p:to>
                                            <p:strVal val="visible"/>
                                          </p:to>
                                        </p:set>
                                        <p:animEffect transition="in" filter="fade">
                                          <p:cBhvr>
                                            <p:cTn id="169" dur="500"/>
                                            <p:tgtEl>
                                              <p:spTgt spid="40"/>
                                            </p:tgtEl>
                                          </p:cBhvr>
                                        </p:animEffect>
                                      </p:childTnLst>
                                    </p:cTn>
                                  </p:par>
                                </p:childTnLst>
                              </p:cTn>
                            </p:par>
                            <p:par>
                              <p:cTn id="170" fill="hold">
                                <p:stCondLst>
                                  <p:cond delay="14000"/>
                                </p:stCondLst>
                                <p:childTnLst>
                                  <p:par>
                                    <p:cTn id="171" presetID="22" presetClass="entr" presetSubtype="8" fill="hold" nodeType="afterEffect">
                                      <p:stCondLst>
                                        <p:cond delay="0"/>
                                      </p:stCondLst>
                                      <p:childTnLst>
                                        <p:set>
                                          <p:cBhvr>
                                            <p:cTn id="172" dur="1" fill="hold">
                                              <p:stCondLst>
                                                <p:cond delay="0"/>
                                              </p:stCondLst>
                                            </p:cTn>
                                            <p:tgtEl>
                                              <p:spTgt spid="41"/>
                                            </p:tgtEl>
                                            <p:attrNameLst>
                                              <p:attrName>style.visibility</p:attrName>
                                            </p:attrNameLst>
                                          </p:cBhvr>
                                          <p:to>
                                            <p:strVal val="visible"/>
                                          </p:to>
                                        </p:set>
                                        <p:animEffect transition="in" filter="wipe(left)">
                                          <p:cBhvr>
                                            <p:cTn id="173" dur="500"/>
                                            <p:tgtEl>
                                              <p:spTgt spid="41"/>
                                            </p:tgtEl>
                                          </p:cBhvr>
                                        </p:animEffect>
                                      </p:childTnLst>
                                    </p:cTn>
                                  </p:par>
                                  <p:par>
                                    <p:cTn id="174" presetID="22" presetClass="entr" presetSubtype="8" fill="hold" nodeType="withEffect">
                                      <p:stCondLst>
                                        <p:cond delay="0"/>
                                      </p:stCondLst>
                                      <p:childTnLst>
                                        <p:set>
                                          <p:cBhvr>
                                            <p:cTn id="175" dur="1" fill="hold">
                                              <p:stCondLst>
                                                <p:cond delay="0"/>
                                              </p:stCondLst>
                                            </p:cTn>
                                            <p:tgtEl>
                                              <p:spTgt spid="42"/>
                                            </p:tgtEl>
                                            <p:attrNameLst>
                                              <p:attrName>style.visibility</p:attrName>
                                            </p:attrNameLst>
                                          </p:cBhvr>
                                          <p:to>
                                            <p:strVal val="visible"/>
                                          </p:to>
                                        </p:set>
                                        <p:animEffect transition="in" filter="wipe(left)">
                                          <p:cBhvr>
                                            <p:cTn id="176" dur="500"/>
                                            <p:tgtEl>
                                              <p:spTgt spid="42"/>
                                            </p:tgtEl>
                                          </p:cBhvr>
                                        </p:animEffect>
                                      </p:childTnLst>
                                    </p:cTn>
                                  </p:par>
                                  <p:par>
                                    <p:cTn id="177" presetID="22" presetClass="entr" presetSubtype="8" fill="hold" nodeType="withEffect">
                                      <p:stCondLst>
                                        <p:cond delay="0"/>
                                      </p:stCondLst>
                                      <p:childTnLst>
                                        <p:set>
                                          <p:cBhvr>
                                            <p:cTn id="178" dur="1" fill="hold">
                                              <p:stCondLst>
                                                <p:cond delay="0"/>
                                              </p:stCondLst>
                                            </p:cTn>
                                            <p:tgtEl>
                                              <p:spTgt spid="43"/>
                                            </p:tgtEl>
                                            <p:attrNameLst>
                                              <p:attrName>style.visibility</p:attrName>
                                            </p:attrNameLst>
                                          </p:cBhvr>
                                          <p:to>
                                            <p:strVal val="visible"/>
                                          </p:to>
                                        </p:set>
                                        <p:animEffect transition="in" filter="wipe(left)">
                                          <p:cBhvr>
                                            <p:cTn id="179" dur="500"/>
                                            <p:tgtEl>
                                              <p:spTgt spid="43"/>
                                            </p:tgtEl>
                                          </p:cBhvr>
                                        </p:animEffect>
                                      </p:childTnLst>
                                    </p:cTn>
                                  </p:par>
                                </p:childTnLst>
                              </p:cTn>
                            </p:par>
                            <p:par>
                              <p:cTn id="180" fill="hold">
                                <p:stCondLst>
                                  <p:cond delay="14500"/>
                                </p:stCondLst>
                                <p:childTnLst>
                                  <p:par>
                                    <p:cTn id="181" presetID="22" presetClass="entr" presetSubtype="4" fill="hold" grpId="0" nodeType="afterEffect">
                                      <p:stCondLst>
                                        <p:cond delay="0"/>
                                      </p:stCondLst>
                                      <p:childTnLst>
                                        <p:set>
                                          <p:cBhvr>
                                            <p:cTn id="182" dur="1" fill="hold">
                                              <p:stCondLst>
                                                <p:cond delay="0"/>
                                              </p:stCondLst>
                                            </p:cTn>
                                            <p:tgtEl>
                                              <p:spTgt spid="23"/>
                                            </p:tgtEl>
                                            <p:attrNameLst>
                                              <p:attrName>style.visibility</p:attrName>
                                            </p:attrNameLst>
                                          </p:cBhvr>
                                          <p:to>
                                            <p:strVal val="visible"/>
                                          </p:to>
                                        </p:set>
                                        <p:animEffect transition="in" filter="wipe(down)">
                                          <p:cBhvr>
                                            <p:cTn id="183" dur="500"/>
                                            <p:tgtEl>
                                              <p:spTgt spid="23"/>
                                            </p:tgtEl>
                                          </p:cBhvr>
                                        </p:animEffect>
                                      </p:childTnLst>
                                    </p:cTn>
                                  </p:par>
                                </p:childTnLst>
                              </p:cTn>
                            </p:par>
                            <p:par>
                              <p:cTn id="184" fill="hold">
                                <p:stCondLst>
                                  <p:cond delay="15000"/>
                                </p:stCondLst>
                                <p:childTnLst>
                                  <p:par>
                                    <p:cTn id="185" presetID="10" presetClass="entr" presetSubtype="0" fill="hold" grpId="0" nodeType="afterEffect">
                                      <p:stCondLst>
                                        <p:cond delay="0"/>
                                      </p:stCondLst>
                                      <p:childTnLst>
                                        <p:set>
                                          <p:cBhvr>
                                            <p:cTn id="186" dur="1" fill="hold">
                                              <p:stCondLst>
                                                <p:cond delay="0"/>
                                              </p:stCondLst>
                                            </p:cTn>
                                            <p:tgtEl>
                                              <p:spTgt spid="24"/>
                                            </p:tgtEl>
                                            <p:attrNameLst>
                                              <p:attrName>style.visibility</p:attrName>
                                            </p:attrNameLst>
                                          </p:cBhvr>
                                          <p:to>
                                            <p:strVal val="visible"/>
                                          </p:to>
                                        </p:set>
                                        <p:animEffect transition="in" filter="fade">
                                          <p:cBhvr>
                                            <p:cTn id="187" dur="500"/>
                                            <p:tgtEl>
                                              <p:spTgt spid="24"/>
                                            </p:tgtEl>
                                          </p:cBhvr>
                                        </p:animEffect>
                                      </p:childTnLst>
                                    </p:cTn>
                                  </p:par>
                                </p:childTnLst>
                              </p:cTn>
                            </p:par>
                            <p:par>
                              <p:cTn id="188" fill="hold">
                                <p:stCondLst>
                                  <p:cond delay="15500"/>
                                </p:stCondLst>
                                <p:childTnLst>
                                  <p:par>
                                    <p:cTn id="189" presetID="22" presetClass="entr" presetSubtype="4" fill="hold" nodeType="afterEffect">
                                      <p:stCondLst>
                                        <p:cond delay="0"/>
                                      </p:stCondLst>
                                      <p:childTnLst>
                                        <p:set>
                                          <p:cBhvr>
                                            <p:cTn id="190" dur="1" fill="hold">
                                              <p:stCondLst>
                                                <p:cond delay="0"/>
                                              </p:stCondLst>
                                            </p:cTn>
                                            <p:tgtEl>
                                              <p:spTgt spid="25"/>
                                            </p:tgtEl>
                                            <p:attrNameLst>
                                              <p:attrName>style.visibility</p:attrName>
                                            </p:attrNameLst>
                                          </p:cBhvr>
                                          <p:to>
                                            <p:strVal val="visible"/>
                                          </p:to>
                                        </p:set>
                                        <p:animEffect transition="in" filter="wipe(down)">
                                          <p:cBhvr>
                                            <p:cTn id="191" dur="500"/>
                                            <p:tgtEl>
                                              <p:spTgt spid="25"/>
                                            </p:tgtEl>
                                          </p:cBhvr>
                                        </p:animEffect>
                                      </p:childTnLst>
                                    </p:cTn>
                                  </p:par>
                                </p:childTnLst>
                              </p:cTn>
                            </p:par>
                            <p:par>
                              <p:cTn id="192" fill="hold">
                                <p:stCondLst>
                                  <p:cond delay="16000"/>
                                </p:stCondLst>
                                <p:childTnLst>
                                  <p:par>
                                    <p:cTn id="193" presetID="10" presetClass="entr" presetSubtype="0" fill="hold" grpId="0" nodeType="afterEffect">
                                      <p:stCondLst>
                                        <p:cond delay="0"/>
                                      </p:stCondLst>
                                      <p:childTnLst>
                                        <p:set>
                                          <p:cBhvr>
                                            <p:cTn id="194" dur="1" fill="hold">
                                              <p:stCondLst>
                                                <p:cond delay="0"/>
                                              </p:stCondLst>
                                            </p:cTn>
                                            <p:tgtEl>
                                              <p:spTgt spid="45"/>
                                            </p:tgtEl>
                                            <p:attrNameLst>
                                              <p:attrName>style.visibility</p:attrName>
                                            </p:attrNameLst>
                                          </p:cBhvr>
                                          <p:to>
                                            <p:strVal val="visible"/>
                                          </p:to>
                                        </p:set>
                                        <p:animEffect transition="in" filter="fade">
                                          <p:cBhvr>
                                            <p:cTn id="195" dur="500"/>
                                            <p:tgtEl>
                                              <p:spTgt spid="45"/>
                                            </p:tgtEl>
                                          </p:cBhvr>
                                        </p:animEffect>
                                      </p:childTnLst>
                                    </p:cTn>
                                  </p:par>
                                  <p:par>
                                    <p:cTn id="196" presetID="10" presetClass="entr" presetSubtype="0" fill="hold" grpId="0" nodeType="withEffect">
                                      <p:stCondLst>
                                        <p:cond delay="0"/>
                                      </p:stCondLst>
                                      <p:childTnLst>
                                        <p:set>
                                          <p:cBhvr>
                                            <p:cTn id="197" dur="1" fill="hold">
                                              <p:stCondLst>
                                                <p:cond delay="0"/>
                                              </p:stCondLst>
                                            </p:cTn>
                                            <p:tgtEl>
                                              <p:spTgt spid="46"/>
                                            </p:tgtEl>
                                            <p:attrNameLst>
                                              <p:attrName>style.visibility</p:attrName>
                                            </p:attrNameLst>
                                          </p:cBhvr>
                                          <p:to>
                                            <p:strVal val="visible"/>
                                          </p:to>
                                        </p:set>
                                        <p:animEffect transition="in" filter="fade">
                                          <p:cBhvr>
                                            <p:cTn id="198" dur="500"/>
                                            <p:tgtEl>
                                              <p:spTgt spid="46"/>
                                            </p:tgtEl>
                                          </p:cBhvr>
                                        </p:animEffect>
                                      </p:childTnLst>
                                    </p:cTn>
                                  </p:par>
                                  <p:par>
                                    <p:cTn id="199" presetID="10" presetClass="entr" presetSubtype="0" fill="hold" grpId="0" nodeType="withEffect">
                                      <p:stCondLst>
                                        <p:cond delay="0"/>
                                      </p:stCondLst>
                                      <p:childTnLst>
                                        <p:set>
                                          <p:cBhvr>
                                            <p:cTn id="200" dur="1" fill="hold">
                                              <p:stCondLst>
                                                <p:cond delay="0"/>
                                              </p:stCondLst>
                                            </p:cTn>
                                            <p:tgtEl>
                                              <p:spTgt spid="44"/>
                                            </p:tgtEl>
                                            <p:attrNameLst>
                                              <p:attrName>style.visibility</p:attrName>
                                            </p:attrNameLst>
                                          </p:cBhvr>
                                          <p:to>
                                            <p:strVal val="visible"/>
                                          </p:to>
                                        </p:set>
                                        <p:animEffect transition="in" filter="fade">
                                          <p:cBhvr>
                                            <p:cTn id="201" dur="500"/>
                                            <p:tgtEl>
                                              <p:spTgt spid="44"/>
                                            </p:tgtEl>
                                          </p:cBhvr>
                                        </p:animEffect>
                                      </p:childTnLst>
                                    </p:cTn>
                                  </p:par>
                                </p:childTnLst>
                              </p:cTn>
                            </p:par>
                            <p:par>
                              <p:cTn id="202" fill="hold">
                                <p:stCondLst>
                                  <p:cond delay="16500"/>
                                </p:stCondLst>
                                <p:childTnLst>
                                  <p:par>
                                    <p:cTn id="203" presetID="22" presetClass="entr" presetSubtype="8" fill="hold" nodeType="afterEffect">
                                      <p:stCondLst>
                                        <p:cond delay="0"/>
                                      </p:stCondLst>
                                      <p:childTnLst>
                                        <p:set>
                                          <p:cBhvr>
                                            <p:cTn id="204" dur="1" fill="hold">
                                              <p:stCondLst>
                                                <p:cond delay="0"/>
                                              </p:stCondLst>
                                            </p:cTn>
                                            <p:tgtEl>
                                              <p:spTgt spid="47"/>
                                            </p:tgtEl>
                                            <p:attrNameLst>
                                              <p:attrName>style.visibility</p:attrName>
                                            </p:attrNameLst>
                                          </p:cBhvr>
                                          <p:to>
                                            <p:strVal val="visible"/>
                                          </p:to>
                                        </p:set>
                                        <p:animEffect transition="in" filter="wipe(left)">
                                          <p:cBhvr>
                                            <p:cTn id="205" dur="500"/>
                                            <p:tgtEl>
                                              <p:spTgt spid="47"/>
                                            </p:tgtEl>
                                          </p:cBhvr>
                                        </p:animEffect>
                                      </p:childTnLst>
                                    </p:cTn>
                                  </p:par>
                                  <p:par>
                                    <p:cTn id="206" presetID="22" presetClass="entr" presetSubtype="8" fill="hold" nodeType="withEffect">
                                      <p:stCondLst>
                                        <p:cond delay="0"/>
                                      </p:stCondLst>
                                      <p:childTnLst>
                                        <p:set>
                                          <p:cBhvr>
                                            <p:cTn id="207" dur="1" fill="hold">
                                              <p:stCondLst>
                                                <p:cond delay="0"/>
                                              </p:stCondLst>
                                            </p:cTn>
                                            <p:tgtEl>
                                              <p:spTgt spid="48"/>
                                            </p:tgtEl>
                                            <p:attrNameLst>
                                              <p:attrName>style.visibility</p:attrName>
                                            </p:attrNameLst>
                                          </p:cBhvr>
                                          <p:to>
                                            <p:strVal val="visible"/>
                                          </p:to>
                                        </p:set>
                                        <p:animEffect transition="in" filter="wipe(left)">
                                          <p:cBhvr>
                                            <p:cTn id="208" dur="500"/>
                                            <p:tgtEl>
                                              <p:spTgt spid="48"/>
                                            </p:tgtEl>
                                          </p:cBhvr>
                                        </p:animEffect>
                                      </p:childTnLst>
                                    </p:cTn>
                                  </p:par>
                                  <p:par>
                                    <p:cTn id="209" presetID="22" presetClass="entr" presetSubtype="8" fill="hold" nodeType="withEffect">
                                      <p:stCondLst>
                                        <p:cond delay="0"/>
                                      </p:stCondLst>
                                      <p:childTnLst>
                                        <p:set>
                                          <p:cBhvr>
                                            <p:cTn id="210" dur="1" fill="hold">
                                              <p:stCondLst>
                                                <p:cond delay="0"/>
                                              </p:stCondLst>
                                            </p:cTn>
                                            <p:tgtEl>
                                              <p:spTgt spid="49"/>
                                            </p:tgtEl>
                                            <p:attrNameLst>
                                              <p:attrName>style.visibility</p:attrName>
                                            </p:attrNameLst>
                                          </p:cBhvr>
                                          <p:to>
                                            <p:strVal val="visible"/>
                                          </p:to>
                                        </p:set>
                                        <p:animEffect transition="in" filter="wipe(left)">
                                          <p:cBhvr>
                                            <p:cTn id="211" dur="500"/>
                                            <p:tgtEl>
                                              <p:spTgt spid="49"/>
                                            </p:tgtEl>
                                          </p:cBhvr>
                                        </p:animEffect>
                                      </p:childTnLst>
                                    </p:cTn>
                                  </p:par>
                                </p:childTnLst>
                              </p:cTn>
                            </p:par>
                            <p:par>
                              <p:cTn id="212" fill="hold">
                                <p:stCondLst>
                                  <p:cond delay="17000"/>
                                </p:stCondLst>
                                <p:childTnLst>
                                  <p:par>
                                    <p:cTn id="213" presetID="22" presetClass="entr" presetSubtype="1" fill="hold" grpId="0" nodeType="afterEffect">
                                      <p:stCondLst>
                                        <p:cond delay="0"/>
                                      </p:stCondLst>
                                      <p:childTnLst>
                                        <p:set>
                                          <p:cBhvr>
                                            <p:cTn id="214" dur="1" fill="hold">
                                              <p:stCondLst>
                                                <p:cond delay="0"/>
                                              </p:stCondLst>
                                            </p:cTn>
                                            <p:tgtEl>
                                              <p:spTgt spid="17"/>
                                            </p:tgtEl>
                                            <p:attrNameLst>
                                              <p:attrName>style.visibility</p:attrName>
                                            </p:attrNameLst>
                                          </p:cBhvr>
                                          <p:to>
                                            <p:strVal val="visible"/>
                                          </p:to>
                                        </p:set>
                                        <p:animEffect transition="in" filter="wipe(up)">
                                          <p:cBhvr>
                                            <p:cTn id="215" dur="500"/>
                                            <p:tgtEl>
                                              <p:spTgt spid="17"/>
                                            </p:tgtEl>
                                          </p:cBhvr>
                                        </p:animEffect>
                                      </p:childTnLst>
                                    </p:cTn>
                                  </p:par>
                                </p:childTnLst>
                              </p:cTn>
                            </p:par>
                            <p:par>
                              <p:cTn id="216" fill="hold">
                                <p:stCondLst>
                                  <p:cond delay="17500"/>
                                </p:stCondLst>
                                <p:childTnLst>
                                  <p:par>
                                    <p:cTn id="217" presetID="10" presetClass="entr" presetSubtype="0" fill="hold" grpId="0" nodeType="afterEffect">
                                      <p:stCondLst>
                                        <p:cond delay="0"/>
                                      </p:stCondLst>
                                      <p:childTnLst>
                                        <p:set>
                                          <p:cBhvr>
                                            <p:cTn id="218" dur="1" fill="hold">
                                              <p:stCondLst>
                                                <p:cond delay="0"/>
                                              </p:stCondLst>
                                            </p:cTn>
                                            <p:tgtEl>
                                              <p:spTgt spid="18"/>
                                            </p:tgtEl>
                                            <p:attrNameLst>
                                              <p:attrName>style.visibility</p:attrName>
                                            </p:attrNameLst>
                                          </p:cBhvr>
                                          <p:to>
                                            <p:strVal val="visible"/>
                                          </p:to>
                                        </p:set>
                                        <p:animEffect transition="in" filter="fade">
                                          <p:cBhvr>
                                            <p:cTn id="219" dur="500"/>
                                            <p:tgtEl>
                                              <p:spTgt spid="18"/>
                                            </p:tgtEl>
                                          </p:cBhvr>
                                        </p:animEffect>
                                      </p:childTnLst>
                                    </p:cTn>
                                  </p:par>
                                </p:childTnLst>
                              </p:cTn>
                            </p:par>
                            <p:par>
                              <p:cTn id="220" fill="hold">
                                <p:stCondLst>
                                  <p:cond delay="18000"/>
                                </p:stCondLst>
                                <p:childTnLst>
                                  <p:par>
                                    <p:cTn id="221" presetID="22" presetClass="entr" presetSubtype="1" fill="hold" nodeType="afterEffect">
                                      <p:stCondLst>
                                        <p:cond delay="0"/>
                                      </p:stCondLst>
                                      <p:childTnLst>
                                        <p:set>
                                          <p:cBhvr>
                                            <p:cTn id="222" dur="1" fill="hold">
                                              <p:stCondLst>
                                                <p:cond delay="0"/>
                                              </p:stCondLst>
                                            </p:cTn>
                                            <p:tgtEl>
                                              <p:spTgt spid="19"/>
                                            </p:tgtEl>
                                            <p:attrNameLst>
                                              <p:attrName>style.visibility</p:attrName>
                                            </p:attrNameLst>
                                          </p:cBhvr>
                                          <p:to>
                                            <p:strVal val="visible"/>
                                          </p:to>
                                        </p:set>
                                        <p:animEffect transition="in" filter="wipe(up)">
                                          <p:cBhvr>
                                            <p:cTn id="223" dur="500"/>
                                            <p:tgtEl>
                                              <p:spTgt spid="19"/>
                                            </p:tgtEl>
                                          </p:cBhvr>
                                        </p:animEffect>
                                      </p:childTnLst>
                                    </p:cTn>
                                  </p:par>
                                </p:childTnLst>
                              </p:cTn>
                            </p:par>
                            <p:par>
                              <p:cTn id="224" fill="hold">
                                <p:stCondLst>
                                  <p:cond delay="18500"/>
                                </p:stCondLst>
                                <p:childTnLst>
                                  <p:par>
                                    <p:cTn id="225" presetID="10" presetClass="entr" presetSubtype="0" fill="hold" grpId="0" nodeType="afterEffect">
                                      <p:stCondLst>
                                        <p:cond delay="0"/>
                                      </p:stCondLst>
                                      <p:childTnLst>
                                        <p:set>
                                          <p:cBhvr>
                                            <p:cTn id="226" dur="1" fill="hold">
                                              <p:stCondLst>
                                                <p:cond delay="0"/>
                                              </p:stCondLst>
                                            </p:cTn>
                                            <p:tgtEl>
                                              <p:spTgt spid="50"/>
                                            </p:tgtEl>
                                            <p:attrNameLst>
                                              <p:attrName>style.visibility</p:attrName>
                                            </p:attrNameLst>
                                          </p:cBhvr>
                                          <p:to>
                                            <p:strVal val="visible"/>
                                          </p:to>
                                        </p:set>
                                        <p:animEffect transition="in" filter="fade">
                                          <p:cBhvr>
                                            <p:cTn id="227" dur="500"/>
                                            <p:tgtEl>
                                              <p:spTgt spid="50"/>
                                            </p:tgtEl>
                                          </p:cBhvr>
                                        </p:animEffect>
                                      </p:childTnLst>
                                    </p:cTn>
                                  </p:par>
                                  <p:par>
                                    <p:cTn id="228" presetID="10" presetClass="entr" presetSubtype="0" fill="hold" grpId="0" nodeType="withEffect">
                                      <p:stCondLst>
                                        <p:cond delay="0"/>
                                      </p:stCondLst>
                                      <p:childTnLst>
                                        <p:set>
                                          <p:cBhvr>
                                            <p:cTn id="229" dur="1" fill="hold">
                                              <p:stCondLst>
                                                <p:cond delay="0"/>
                                              </p:stCondLst>
                                            </p:cTn>
                                            <p:tgtEl>
                                              <p:spTgt spid="51"/>
                                            </p:tgtEl>
                                            <p:attrNameLst>
                                              <p:attrName>style.visibility</p:attrName>
                                            </p:attrNameLst>
                                          </p:cBhvr>
                                          <p:to>
                                            <p:strVal val="visible"/>
                                          </p:to>
                                        </p:set>
                                        <p:animEffect transition="in" filter="fade">
                                          <p:cBhvr>
                                            <p:cTn id="230" dur="500"/>
                                            <p:tgtEl>
                                              <p:spTgt spid="51"/>
                                            </p:tgtEl>
                                          </p:cBhvr>
                                        </p:animEffect>
                                      </p:childTnLst>
                                    </p:cTn>
                                  </p:par>
                                  <p:par>
                                    <p:cTn id="231" presetID="10" presetClass="entr" presetSubtype="0" fill="hold" grpId="0" nodeType="withEffect">
                                      <p:stCondLst>
                                        <p:cond delay="0"/>
                                      </p:stCondLst>
                                      <p:childTnLst>
                                        <p:set>
                                          <p:cBhvr>
                                            <p:cTn id="232" dur="1" fill="hold">
                                              <p:stCondLst>
                                                <p:cond delay="0"/>
                                              </p:stCondLst>
                                            </p:cTn>
                                            <p:tgtEl>
                                              <p:spTgt spid="52"/>
                                            </p:tgtEl>
                                            <p:attrNameLst>
                                              <p:attrName>style.visibility</p:attrName>
                                            </p:attrNameLst>
                                          </p:cBhvr>
                                          <p:to>
                                            <p:strVal val="visible"/>
                                          </p:to>
                                        </p:set>
                                        <p:animEffect transition="in" filter="fade">
                                          <p:cBhvr>
                                            <p:cTn id="233" dur="500"/>
                                            <p:tgtEl>
                                              <p:spTgt spid="52"/>
                                            </p:tgtEl>
                                          </p:cBhvr>
                                        </p:animEffect>
                                      </p:childTnLst>
                                    </p:cTn>
                                  </p:par>
                                </p:childTnLst>
                              </p:cTn>
                            </p:par>
                            <p:par>
                              <p:cTn id="234" fill="hold">
                                <p:stCondLst>
                                  <p:cond delay="19000"/>
                                </p:stCondLst>
                                <p:childTnLst>
                                  <p:par>
                                    <p:cTn id="235" presetID="22" presetClass="entr" presetSubtype="8" fill="hold" nodeType="afterEffect">
                                      <p:stCondLst>
                                        <p:cond delay="0"/>
                                      </p:stCondLst>
                                      <p:childTnLst>
                                        <p:set>
                                          <p:cBhvr>
                                            <p:cTn id="236" dur="1" fill="hold">
                                              <p:stCondLst>
                                                <p:cond delay="0"/>
                                              </p:stCondLst>
                                            </p:cTn>
                                            <p:tgtEl>
                                              <p:spTgt spid="53"/>
                                            </p:tgtEl>
                                            <p:attrNameLst>
                                              <p:attrName>style.visibility</p:attrName>
                                            </p:attrNameLst>
                                          </p:cBhvr>
                                          <p:to>
                                            <p:strVal val="visible"/>
                                          </p:to>
                                        </p:set>
                                        <p:animEffect transition="in" filter="wipe(left)">
                                          <p:cBhvr>
                                            <p:cTn id="237" dur="500"/>
                                            <p:tgtEl>
                                              <p:spTgt spid="53"/>
                                            </p:tgtEl>
                                          </p:cBhvr>
                                        </p:animEffect>
                                      </p:childTnLst>
                                    </p:cTn>
                                  </p:par>
                                  <p:par>
                                    <p:cTn id="238" presetID="22" presetClass="entr" presetSubtype="8" fill="hold" nodeType="withEffect">
                                      <p:stCondLst>
                                        <p:cond delay="0"/>
                                      </p:stCondLst>
                                      <p:childTnLst>
                                        <p:set>
                                          <p:cBhvr>
                                            <p:cTn id="239" dur="1" fill="hold">
                                              <p:stCondLst>
                                                <p:cond delay="0"/>
                                              </p:stCondLst>
                                            </p:cTn>
                                            <p:tgtEl>
                                              <p:spTgt spid="54"/>
                                            </p:tgtEl>
                                            <p:attrNameLst>
                                              <p:attrName>style.visibility</p:attrName>
                                            </p:attrNameLst>
                                          </p:cBhvr>
                                          <p:to>
                                            <p:strVal val="visible"/>
                                          </p:to>
                                        </p:set>
                                        <p:animEffect transition="in" filter="wipe(left)">
                                          <p:cBhvr>
                                            <p:cTn id="240" dur="500"/>
                                            <p:tgtEl>
                                              <p:spTgt spid="54"/>
                                            </p:tgtEl>
                                          </p:cBhvr>
                                        </p:animEffect>
                                      </p:childTnLst>
                                    </p:cTn>
                                  </p:par>
                                  <p:par>
                                    <p:cTn id="241" presetID="22" presetClass="entr" presetSubtype="8" fill="hold" nodeType="withEffect">
                                      <p:stCondLst>
                                        <p:cond delay="0"/>
                                      </p:stCondLst>
                                      <p:childTnLst>
                                        <p:set>
                                          <p:cBhvr>
                                            <p:cTn id="242" dur="1" fill="hold">
                                              <p:stCondLst>
                                                <p:cond delay="0"/>
                                              </p:stCondLst>
                                            </p:cTn>
                                            <p:tgtEl>
                                              <p:spTgt spid="55"/>
                                            </p:tgtEl>
                                            <p:attrNameLst>
                                              <p:attrName>style.visibility</p:attrName>
                                            </p:attrNameLst>
                                          </p:cBhvr>
                                          <p:to>
                                            <p:strVal val="visible"/>
                                          </p:to>
                                        </p:set>
                                        <p:animEffect transition="in" filter="wipe(left)">
                                          <p:cBhvr>
                                            <p:cTn id="243" dur="500"/>
                                            <p:tgtEl>
                                              <p:spTgt spid="5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3" grpId="0" animBg="1"/>
          <p:bldP spid="4" grpId="0" animBg="1"/>
          <p:bldP spid="5" grpId="0" animBg="1"/>
          <p:bldP spid="6" grpId="0" animBg="1"/>
          <p:bldP spid="7" grpId="0" animBg="1"/>
          <p:bldP spid="8" grpId="0" animBg="1"/>
          <p:bldP spid="9" grpId="0" animBg="1"/>
          <p:bldP spid="10" grpId="0" animBg="1"/>
          <p:bldP spid="11" grpId="0" animBg="1"/>
          <p:bldP spid="12" grpId="0"/>
          <p:bldP spid="14" grpId="0" animBg="1"/>
          <p:bldP spid="15" grpId="0"/>
          <p:bldP spid="17" grpId="0" animBg="1"/>
          <p:bldP spid="18" grpId="0"/>
          <p:bldP spid="20" grpId="0" animBg="1"/>
          <p:bldP spid="21" grpId="0"/>
          <p:bldP spid="23" grpId="0" animBg="1"/>
          <p:bldP spid="24" grpId="0"/>
          <p:bldP spid="26" grpId="0"/>
          <p:bldP spid="27" grpId="0"/>
          <p:bldP spid="28" grpId="0"/>
          <p:bldP spid="32" grpId="0"/>
          <p:bldP spid="33" grpId="0"/>
          <p:bldP spid="34" grpId="0"/>
          <p:bldP spid="38" grpId="0"/>
          <p:bldP spid="39" grpId="0"/>
          <p:bldP spid="40" grpId="0"/>
          <p:bldP spid="44" grpId="0"/>
          <p:bldP spid="45" grpId="0"/>
          <p:bldP spid="46" grpId="0"/>
          <p:bldP spid="50" grpId="0"/>
          <p:bldP spid="51" grpId="0"/>
          <p:bldP spid="52" grpId="0"/>
          <p:bldP spid="56" grpId="0" animBg="1"/>
          <p:bldP spid="57" grpId="0" animBg="1"/>
          <p:bldP spid="58" grpId="0" animBg="1"/>
          <p:bldP spid="59" grpId="0" animBg="1"/>
          <p:bldP spid="60" grpId="0" animBg="1"/>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0-#ppt_w/2"/>
                                              </p:val>
                                            </p:tav>
                                            <p:tav tm="100000">
                                              <p:val>
                                                <p:strVal val="#ppt_x"/>
                                              </p:val>
                                            </p:tav>
                                          </p:tavLst>
                                        </p:anim>
                                        <p:anim calcmode="lin" valueType="num">
                                          <p:cBhvr additive="base">
                                            <p:cTn id="8" dur="500" fill="hold"/>
                                            <p:tgtEl>
                                              <p:spTgt spid="2"/>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2" presetClass="entr" presetSubtype="8" fill="hold" grpId="0" nodeType="afterEffect">
                                      <p:stCondLst>
                                        <p:cond delay="0"/>
                                      </p:stCondLst>
                                      <p:childTnLst>
                                        <p:set>
                                          <p:cBhvr>
                                            <p:cTn id="11" dur="1" fill="hold">
                                              <p:stCondLst>
                                                <p:cond delay="0"/>
                                              </p:stCondLst>
                                            </p:cTn>
                                            <p:tgtEl>
                                              <p:spTgt spid="5"/>
                                            </p:tgtEl>
                                            <p:attrNameLst>
                                              <p:attrName>style.visibility</p:attrName>
                                            </p:attrNameLst>
                                          </p:cBhvr>
                                          <p:to>
                                            <p:strVal val="visible"/>
                                          </p:to>
                                        </p:set>
                                        <p:anim calcmode="lin" valueType="num">
                                          <p:cBhvr additive="base">
                                            <p:cTn id="12" dur="500" fill="hold"/>
                                            <p:tgtEl>
                                              <p:spTgt spid="5"/>
                                            </p:tgtEl>
                                            <p:attrNameLst>
                                              <p:attrName>ppt_x</p:attrName>
                                            </p:attrNameLst>
                                          </p:cBhvr>
                                          <p:tavLst>
                                            <p:tav tm="0">
                                              <p:val>
                                                <p:strVal val="0-#ppt_w/2"/>
                                              </p:val>
                                            </p:tav>
                                            <p:tav tm="100000">
                                              <p:val>
                                                <p:strVal val="#ppt_x"/>
                                              </p:val>
                                            </p:tav>
                                          </p:tavLst>
                                        </p:anim>
                                        <p:anim calcmode="lin" valueType="num">
                                          <p:cBhvr additive="base">
                                            <p:cTn id="13" dur="500" fill="hold"/>
                                            <p:tgtEl>
                                              <p:spTgt spid="5"/>
                                            </p:tgtEl>
                                            <p:attrNameLst>
                                              <p:attrName>ppt_y</p:attrName>
                                            </p:attrNameLst>
                                          </p:cBhvr>
                                          <p:tavLst>
                                            <p:tav tm="0">
                                              <p:val>
                                                <p:strVal val="#ppt_y"/>
                                              </p:val>
                                            </p:tav>
                                            <p:tav tm="100000">
                                              <p:val>
                                                <p:strVal val="#ppt_y"/>
                                              </p:val>
                                            </p:tav>
                                          </p:tavLst>
                                        </p:anim>
                                      </p:childTnLst>
                                    </p:cTn>
                                  </p:par>
                                </p:childTnLst>
                              </p:cTn>
                            </p:par>
                            <p:par>
                              <p:cTn id="14" fill="hold">
                                <p:stCondLst>
                                  <p:cond delay="1000"/>
                                </p:stCondLst>
                                <p:childTnLst>
                                  <p:par>
                                    <p:cTn id="15" presetID="2" presetClass="entr" presetSubtype="8" fill="hold" grpId="0" nodeType="afterEffect">
                                      <p:stCondLst>
                                        <p:cond delay="0"/>
                                      </p:stCondLst>
                                      <p:childTnLst>
                                        <p:set>
                                          <p:cBhvr>
                                            <p:cTn id="16" dur="1" fill="hold">
                                              <p:stCondLst>
                                                <p:cond delay="0"/>
                                              </p:stCondLst>
                                            </p:cTn>
                                            <p:tgtEl>
                                              <p:spTgt spid="3"/>
                                            </p:tgtEl>
                                            <p:attrNameLst>
                                              <p:attrName>style.visibility</p:attrName>
                                            </p:attrNameLst>
                                          </p:cBhvr>
                                          <p:to>
                                            <p:strVal val="visible"/>
                                          </p:to>
                                        </p:set>
                                        <p:anim calcmode="lin" valueType="num">
                                          <p:cBhvr additive="base">
                                            <p:cTn id="17" dur="500" fill="hold"/>
                                            <p:tgtEl>
                                              <p:spTgt spid="3"/>
                                            </p:tgtEl>
                                            <p:attrNameLst>
                                              <p:attrName>ppt_x</p:attrName>
                                            </p:attrNameLst>
                                          </p:cBhvr>
                                          <p:tavLst>
                                            <p:tav tm="0">
                                              <p:val>
                                                <p:strVal val="0-#ppt_w/2"/>
                                              </p:val>
                                            </p:tav>
                                            <p:tav tm="100000">
                                              <p:val>
                                                <p:strVal val="#ppt_x"/>
                                              </p:val>
                                            </p:tav>
                                          </p:tavLst>
                                        </p:anim>
                                        <p:anim calcmode="lin" valueType="num">
                                          <p:cBhvr additive="base">
                                            <p:cTn id="18" dur="500" fill="hold"/>
                                            <p:tgtEl>
                                              <p:spTgt spid="3"/>
                                            </p:tgtEl>
                                            <p:attrNameLst>
                                              <p:attrName>ppt_y</p:attrName>
                                            </p:attrNameLst>
                                          </p:cBhvr>
                                          <p:tavLst>
                                            <p:tav tm="0">
                                              <p:val>
                                                <p:strVal val="#ppt_y"/>
                                              </p:val>
                                            </p:tav>
                                            <p:tav tm="100000">
                                              <p:val>
                                                <p:strVal val="#ppt_y"/>
                                              </p:val>
                                            </p:tav>
                                          </p:tavLst>
                                        </p:anim>
                                      </p:childTnLst>
                                    </p:cTn>
                                  </p:par>
                                </p:childTnLst>
                              </p:cTn>
                            </p:par>
                            <p:par>
                              <p:cTn id="19" fill="hold">
                                <p:stCondLst>
                                  <p:cond delay="1500"/>
                                </p:stCondLst>
                                <p:childTnLst>
                                  <p:par>
                                    <p:cTn id="20" presetID="2" presetClass="entr" presetSubtype="8" fill="hold" grpId="0" nodeType="afterEffect">
                                      <p:stCondLst>
                                        <p:cond delay="0"/>
                                      </p:stCondLst>
                                      <p:childTnLst>
                                        <p:set>
                                          <p:cBhvr>
                                            <p:cTn id="21" dur="1" fill="hold">
                                              <p:stCondLst>
                                                <p:cond delay="0"/>
                                              </p:stCondLst>
                                            </p:cTn>
                                            <p:tgtEl>
                                              <p:spTgt spid="4"/>
                                            </p:tgtEl>
                                            <p:attrNameLst>
                                              <p:attrName>style.visibility</p:attrName>
                                            </p:attrNameLst>
                                          </p:cBhvr>
                                          <p:to>
                                            <p:strVal val="visible"/>
                                          </p:to>
                                        </p:set>
                                        <p:anim calcmode="lin" valueType="num">
                                          <p:cBhvr additive="base">
                                            <p:cTn id="22" dur="500" fill="hold"/>
                                            <p:tgtEl>
                                              <p:spTgt spid="4"/>
                                            </p:tgtEl>
                                            <p:attrNameLst>
                                              <p:attrName>ppt_x</p:attrName>
                                            </p:attrNameLst>
                                          </p:cBhvr>
                                          <p:tavLst>
                                            <p:tav tm="0">
                                              <p:val>
                                                <p:strVal val="0-#ppt_w/2"/>
                                              </p:val>
                                            </p:tav>
                                            <p:tav tm="100000">
                                              <p:val>
                                                <p:strVal val="#ppt_x"/>
                                              </p:val>
                                            </p:tav>
                                          </p:tavLst>
                                        </p:anim>
                                        <p:anim calcmode="lin" valueType="num">
                                          <p:cBhvr additive="base">
                                            <p:cTn id="23" dur="500" fill="hold"/>
                                            <p:tgtEl>
                                              <p:spTgt spid="4"/>
                                            </p:tgtEl>
                                            <p:attrNameLst>
                                              <p:attrName>ppt_y</p:attrName>
                                            </p:attrNameLst>
                                          </p:cBhvr>
                                          <p:tavLst>
                                            <p:tav tm="0">
                                              <p:val>
                                                <p:strVal val="#ppt_y"/>
                                              </p:val>
                                            </p:tav>
                                            <p:tav tm="100000">
                                              <p:val>
                                                <p:strVal val="#ppt_y"/>
                                              </p:val>
                                            </p:tav>
                                          </p:tavLst>
                                        </p:anim>
                                      </p:childTnLst>
                                    </p:cTn>
                                  </p:par>
                                </p:childTnLst>
                              </p:cTn>
                            </p:par>
                            <p:par>
                              <p:cTn id="24" fill="hold">
                                <p:stCondLst>
                                  <p:cond delay="2000"/>
                                </p:stCondLst>
                                <p:childTnLst>
                                  <p:par>
                                    <p:cTn id="25" presetID="53" presetClass="entr" presetSubtype="16" fill="hold" grpId="0" nodeType="afterEffect">
                                      <p:stCondLst>
                                        <p:cond delay="0"/>
                                      </p:stCondLst>
                                      <p:childTnLst>
                                        <p:set>
                                          <p:cBhvr>
                                            <p:cTn id="26" dur="1" fill="hold">
                                              <p:stCondLst>
                                                <p:cond delay="0"/>
                                              </p:stCondLst>
                                            </p:cTn>
                                            <p:tgtEl>
                                              <p:spTgt spid="6"/>
                                            </p:tgtEl>
                                            <p:attrNameLst>
                                              <p:attrName>style.visibility</p:attrName>
                                            </p:attrNameLst>
                                          </p:cBhvr>
                                          <p:to>
                                            <p:strVal val="visible"/>
                                          </p:to>
                                        </p:set>
                                        <p:anim calcmode="lin" valueType="num">
                                          <p:cBhvr>
                                            <p:cTn id="27" dur="500" fill="hold"/>
                                            <p:tgtEl>
                                              <p:spTgt spid="6"/>
                                            </p:tgtEl>
                                            <p:attrNameLst>
                                              <p:attrName>ppt_w</p:attrName>
                                            </p:attrNameLst>
                                          </p:cBhvr>
                                          <p:tavLst>
                                            <p:tav tm="0">
                                              <p:val>
                                                <p:fltVal val="0"/>
                                              </p:val>
                                            </p:tav>
                                            <p:tav tm="100000">
                                              <p:val>
                                                <p:strVal val="#ppt_w"/>
                                              </p:val>
                                            </p:tav>
                                          </p:tavLst>
                                        </p:anim>
                                        <p:anim calcmode="lin" valueType="num">
                                          <p:cBhvr>
                                            <p:cTn id="28" dur="500" fill="hold"/>
                                            <p:tgtEl>
                                              <p:spTgt spid="6"/>
                                            </p:tgtEl>
                                            <p:attrNameLst>
                                              <p:attrName>ppt_h</p:attrName>
                                            </p:attrNameLst>
                                          </p:cBhvr>
                                          <p:tavLst>
                                            <p:tav tm="0">
                                              <p:val>
                                                <p:fltVal val="0"/>
                                              </p:val>
                                            </p:tav>
                                            <p:tav tm="100000">
                                              <p:val>
                                                <p:strVal val="#ppt_h"/>
                                              </p:val>
                                            </p:tav>
                                          </p:tavLst>
                                        </p:anim>
                                        <p:animEffect transition="in" filter="fade">
                                          <p:cBhvr>
                                            <p:cTn id="29" dur="500"/>
                                            <p:tgtEl>
                                              <p:spTgt spid="6"/>
                                            </p:tgtEl>
                                          </p:cBhvr>
                                        </p:animEffect>
                                      </p:childTnLst>
                                    </p:cTn>
                                  </p:par>
                                </p:childTnLst>
                              </p:cTn>
                            </p:par>
                            <p:par>
                              <p:cTn id="30" fill="hold">
                                <p:stCondLst>
                                  <p:cond delay="2500"/>
                                </p:stCondLst>
                                <p:childTnLst>
                                  <p:par>
                                    <p:cTn id="31" presetID="53" presetClass="entr" presetSubtype="16" fill="hold" grpId="0" nodeType="afterEffect">
                                      <p:stCondLst>
                                        <p:cond delay="0"/>
                                      </p:stCondLst>
                                      <p:childTnLst>
                                        <p:set>
                                          <p:cBhvr>
                                            <p:cTn id="32" dur="1" fill="hold">
                                              <p:stCondLst>
                                                <p:cond delay="0"/>
                                              </p:stCondLst>
                                            </p:cTn>
                                            <p:tgtEl>
                                              <p:spTgt spid="56"/>
                                            </p:tgtEl>
                                            <p:attrNameLst>
                                              <p:attrName>style.visibility</p:attrName>
                                            </p:attrNameLst>
                                          </p:cBhvr>
                                          <p:to>
                                            <p:strVal val="visible"/>
                                          </p:to>
                                        </p:set>
                                        <p:anim calcmode="lin" valueType="num">
                                          <p:cBhvr>
                                            <p:cTn id="33" dur="500" fill="hold"/>
                                            <p:tgtEl>
                                              <p:spTgt spid="56"/>
                                            </p:tgtEl>
                                            <p:attrNameLst>
                                              <p:attrName>ppt_w</p:attrName>
                                            </p:attrNameLst>
                                          </p:cBhvr>
                                          <p:tavLst>
                                            <p:tav tm="0">
                                              <p:val>
                                                <p:fltVal val="0"/>
                                              </p:val>
                                            </p:tav>
                                            <p:tav tm="100000">
                                              <p:val>
                                                <p:strVal val="#ppt_w"/>
                                              </p:val>
                                            </p:tav>
                                          </p:tavLst>
                                        </p:anim>
                                        <p:anim calcmode="lin" valueType="num">
                                          <p:cBhvr>
                                            <p:cTn id="34" dur="500" fill="hold"/>
                                            <p:tgtEl>
                                              <p:spTgt spid="56"/>
                                            </p:tgtEl>
                                            <p:attrNameLst>
                                              <p:attrName>ppt_h</p:attrName>
                                            </p:attrNameLst>
                                          </p:cBhvr>
                                          <p:tavLst>
                                            <p:tav tm="0">
                                              <p:val>
                                                <p:fltVal val="0"/>
                                              </p:val>
                                            </p:tav>
                                            <p:tav tm="100000">
                                              <p:val>
                                                <p:strVal val="#ppt_h"/>
                                              </p:val>
                                            </p:tav>
                                          </p:tavLst>
                                        </p:anim>
                                        <p:animEffect transition="in" filter="fade">
                                          <p:cBhvr>
                                            <p:cTn id="35" dur="500"/>
                                            <p:tgtEl>
                                              <p:spTgt spid="56"/>
                                            </p:tgtEl>
                                          </p:cBhvr>
                                        </p:animEffect>
                                      </p:childTnLst>
                                    </p:cTn>
                                  </p:par>
                                </p:childTnLst>
                              </p:cTn>
                            </p:par>
                            <p:par>
                              <p:cTn id="36" fill="hold">
                                <p:stCondLst>
                                  <p:cond delay="3000"/>
                                </p:stCondLst>
                                <p:childTnLst>
                                  <p:par>
                                    <p:cTn id="37" presetID="53" presetClass="entr" presetSubtype="16" fill="hold" grpId="0" nodeType="afterEffect">
                                      <p:stCondLst>
                                        <p:cond delay="0"/>
                                      </p:stCondLst>
                                      <p:childTnLst>
                                        <p:set>
                                          <p:cBhvr>
                                            <p:cTn id="38" dur="1" fill="hold">
                                              <p:stCondLst>
                                                <p:cond delay="0"/>
                                              </p:stCondLst>
                                            </p:cTn>
                                            <p:tgtEl>
                                              <p:spTgt spid="7"/>
                                            </p:tgtEl>
                                            <p:attrNameLst>
                                              <p:attrName>style.visibility</p:attrName>
                                            </p:attrNameLst>
                                          </p:cBhvr>
                                          <p:to>
                                            <p:strVal val="visible"/>
                                          </p:to>
                                        </p:set>
                                        <p:anim calcmode="lin" valueType="num">
                                          <p:cBhvr>
                                            <p:cTn id="39" dur="500" fill="hold"/>
                                            <p:tgtEl>
                                              <p:spTgt spid="7"/>
                                            </p:tgtEl>
                                            <p:attrNameLst>
                                              <p:attrName>ppt_w</p:attrName>
                                            </p:attrNameLst>
                                          </p:cBhvr>
                                          <p:tavLst>
                                            <p:tav tm="0">
                                              <p:val>
                                                <p:fltVal val="0"/>
                                              </p:val>
                                            </p:tav>
                                            <p:tav tm="100000">
                                              <p:val>
                                                <p:strVal val="#ppt_w"/>
                                              </p:val>
                                            </p:tav>
                                          </p:tavLst>
                                        </p:anim>
                                        <p:anim calcmode="lin" valueType="num">
                                          <p:cBhvr>
                                            <p:cTn id="40" dur="500" fill="hold"/>
                                            <p:tgtEl>
                                              <p:spTgt spid="7"/>
                                            </p:tgtEl>
                                            <p:attrNameLst>
                                              <p:attrName>ppt_h</p:attrName>
                                            </p:attrNameLst>
                                          </p:cBhvr>
                                          <p:tavLst>
                                            <p:tav tm="0">
                                              <p:val>
                                                <p:fltVal val="0"/>
                                              </p:val>
                                            </p:tav>
                                            <p:tav tm="100000">
                                              <p:val>
                                                <p:strVal val="#ppt_h"/>
                                              </p:val>
                                            </p:tav>
                                          </p:tavLst>
                                        </p:anim>
                                        <p:animEffect transition="in" filter="fade">
                                          <p:cBhvr>
                                            <p:cTn id="41" dur="500"/>
                                            <p:tgtEl>
                                              <p:spTgt spid="7"/>
                                            </p:tgtEl>
                                          </p:cBhvr>
                                        </p:animEffect>
                                      </p:childTnLst>
                                    </p:cTn>
                                  </p:par>
                                </p:childTnLst>
                              </p:cTn>
                            </p:par>
                            <p:par>
                              <p:cTn id="42" fill="hold">
                                <p:stCondLst>
                                  <p:cond delay="3500"/>
                                </p:stCondLst>
                                <p:childTnLst>
                                  <p:par>
                                    <p:cTn id="43" presetID="53" presetClass="entr" presetSubtype="16" fill="hold" grpId="0" nodeType="afterEffect">
                                      <p:stCondLst>
                                        <p:cond delay="0"/>
                                      </p:stCondLst>
                                      <p:childTnLst>
                                        <p:set>
                                          <p:cBhvr>
                                            <p:cTn id="44" dur="1" fill="hold">
                                              <p:stCondLst>
                                                <p:cond delay="0"/>
                                              </p:stCondLst>
                                            </p:cTn>
                                            <p:tgtEl>
                                              <p:spTgt spid="57"/>
                                            </p:tgtEl>
                                            <p:attrNameLst>
                                              <p:attrName>style.visibility</p:attrName>
                                            </p:attrNameLst>
                                          </p:cBhvr>
                                          <p:to>
                                            <p:strVal val="visible"/>
                                          </p:to>
                                        </p:set>
                                        <p:anim calcmode="lin" valueType="num">
                                          <p:cBhvr>
                                            <p:cTn id="45" dur="500" fill="hold"/>
                                            <p:tgtEl>
                                              <p:spTgt spid="57"/>
                                            </p:tgtEl>
                                            <p:attrNameLst>
                                              <p:attrName>ppt_w</p:attrName>
                                            </p:attrNameLst>
                                          </p:cBhvr>
                                          <p:tavLst>
                                            <p:tav tm="0">
                                              <p:val>
                                                <p:fltVal val="0"/>
                                              </p:val>
                                            </p:tav>
                                            <p:tav tm="100000">
                                              <p:val>
                                                <p:strVal val="#ppt_w"/>
                                              </p:val>
                                            </p:tav>
                                          </p:tavLst>
                                        </p:anim>
                                        <p:anim calcmode="lin" valueType="num">
                                          <p:cBhvr>
                                            <p:cTn id="46" dur="500" fill="hold"/>
                                            <p:tgtEl>
                                              <p:spTgt spid="57"/>
                                            </p:tgtEl>
                                            <p:attrNameLst>
                                              <p:attrName>ppt_h</p:attrName>
                                            </p:attrNameLst>
                                          </p:cBhvr>
                                          <p:tavLst>
                                            <p:tav tm="0">
                                              <p:val>
                                                <p:fltVal val="0"/>
                                              </p:val>
                                            </p:tav>
                                            <p:tav tm="100000">
                                              <p:val>
                                                <p:strVal val="#ppt_h"/>
                                              </p:val>
                                            </p:tav>
                                          </p:tavLst>
                                        </p:anim>
                                        <p:animEffect transition="in" filter="fade">
                                          <p:cBhvr>
                                            <p:cTn id="47" dur="500"/>
                                            <p:tgtEl>
                                              <p:spTgt spid="57"/>
                                            </p:tgtEl>
                                          </p:cBhvr>
                                        </p:animEffect>
                                      </p:childTnLst>
                                    </p:cTn>
                                  </p:par>
                                </p:childTnLst>
                              </p:cTn>
                            </p:par>
                            <p:par>
                              <p:cTn id="48" fill="hold">
                                <p:stCondLst>
                                  <p:cond delay="4000"/>
                                </p:stCondLst>
                                <p:childTnLst>
                                  <p:par>
                                    <p:cTn id="49" presetID="53" presetClass="entr" presetSubtype="16" fill="hold" grpId="0" nodeType="afterEffect">
                                      <p:stCondLst>
                                        <p:cond delay="0"/>
                                      </p:stCondLst>
                                      <p:childTnLst>
                                        <p:set>
                                          <p:cBhvr>
                                            <p:cTn id="50" dur="1" fill="hold">
                                              <p:stCondLst>
                                                <p:cond delay="0"/>
                                              </p:stCondLst>
                                            </p:cTn>
                                            <p:tgtEl>
                                              <p:spTgt spid="8"/>
                                            </p:tgtEl>
                                            <p:attrNameLst>
                                              <p:attrName>style.visibility</p:attrName>
                                            </p:attrNameLst>
                                          </p:cBhvr>
                                          <p:to>
                                            <p:strVal val="visible"/>
                                          </p:to>
                                        </p:set>
                                        <p:anim calcmode="lin" valueType="num">
                                          <p:cBhvr>
                                            <p:cTn id="51" dur="500" fill="hold"/>
                                            <p:tgtEl>
                                              <p:spTgt spid="8"/>
                                            </p:tgtEl>
                                            <p:attrNameLst>
                                              <p:attrName>ppt_w</p:attrName>
                                            </p:attrNameLst>
                                          </p:cBhvr>
                                          <p:tavLst>
                                            <p:tav tm="0">
                                              <p:val>
                                                <p:fltVal val="0"/>
                                              </p:val>
                                            </p:tav>
                                            <p:tav tm="100000">
                                              <p:val>
                                                <p:strVal val="#ppt_w"/>
                                              </p:val>
                                            </p:tav>
                                          </p:tavLst>
                                        </p:anim>
                                        <p:anim calcmode="lin" valueType="num">
                                          <p:cBhvr>
                                            <p:cTn id="52" dur="500" fill="hold"/>
                                            <p:tgtEl>
                                              <p:spTgt spid="8"/>
                                            </p:tgtEl>
                                            <p:attrNameLst>
                                              <p:attrName>ppt_h</p:attrName>
                                            </p:attrNameLst>
                                          </p:cBhvr>
                                          <p:tavLst>
                                            <p:tav tm="0">
                                              <p:val>
                                                <p:fltVal val="0"/>
                                              </p:val>
                                            </p:tav>
                                            <p:tav tm="100000">
                                              <p:val>
                                                <p:strVal val="#ppt_h"/>
                                              </p:val>
                                            </p:tav>
                                          </p:tavLst>
                                        </p:anim>
                                        <p:animEffect transition="in" filter="fade">
                                          <p:cBhvr>
                                            <p:cTn id="53" dur="500"/>
                                            <p:tgtEl>
                                              <p:spTgt spid="8"/>
                                            </p:tgtEl>
                                          </p:cBhvr>
                                        </p:animEffect>
                                      </p:childTnLst>
                                    </p:cTn>
                                  </p:par>
                                </p:childTnLst>
                              </p:cTn>
                            </p:par>
                            <p:par>
                              <p:cTn id="54" fill="hold">
                                <p:stCondLst>
                                  <p:cond delay="4500"/>
                                </p:stCondLst>
                                <p:childTnLst>
                                  <p:par>
                                    <p:cTn id="55" presetID="53" presetClass="entr" presetSubtype="16" fill="hold" grpId="0" nodeType="afterEffect">
                                      <p:stCondLst>
                                        <p:cond delay="0"/>
                                      </p:stCondLst>
                                      <p:childTnLst>
                                        <p:set>
                                          <p:cBhvr>
                                            <p:cTn id="56" dur="1" fill="hold">
                                              <p:stCondLst>
                                                <p:cond delay="0"/>
                                              </p:stCondLst>
                                            </p:cTn>
                                            <p:tgtEl>
                                              <p:spTgt spid="58"/>
                                            </p:tgtEl>
                                            <p:attrNameLst>
                                              <p:attrName>style.visibility</p:attrName>
                                            </p:attrNameLst>
                                          </p:cBhvr>
                                          <p:to>
                                            <p:strVal val="visible"/>
                                          </p:to>
                                        </p:set>
                                        <p:anim calcmode="lin" valueType="num">
                                          <p:cBhvr>
                                            <p:cTn id="57" dur="500" fill="hold"/>
                                            <p:tgtEl>
                                              <p:spTgt spid="58"/>
                                            </p:tgtEl>
                                            <p:attrNameLst>
                                              <p:attrName>ppt_w</p:attrName>
                                            </p:attrNameLst>
                                          </p:cBhvr>
                                          <p:tavLst>
                                            <p:tav tm="0">
                                              <p:val>
                                                <p:fltVal val="0"/>
                                              </p:val>
                                            </p:tav>
                                            <p:tav tm="100000">
                                              <p:val>
                                                <p:strVal val="#ppt_w"/>
                                              </p:val>
                                            </p:tav>
                                          </p:tavLst>
                                        </p:anim>
                                        <p:anim calcmode="lin" valueType="num">
                                          <p:cBhvr>
                                            <p:cTn id="58" dur="500" fill="hold"/>
                                            <p:tgtEl>
                                              <p:spTgt spid="58"/>
                                            </p:tgtEl>
                                            <p:attrNameLst>
                                              <p:attrName>ppt_h</p:attrName>
                                            </p:attrNameLst>
                                          </p:cBhvr>
                                          <p:tavLst>
                                            <p:tav tm="0">
                                              <p:val>
                                                <p:fltVal val="0"/>
                                              </p:val>
                                            </p:tav>
                                            <p:tav tm="100000">
                                              <p:val>
                                                <p:strVal val="#ppt_h"/>
                                              </p:val>
                                            </p:tav>
                                          </p:tavLst>
                                        </p:anim>
                                        <p:animEffect transition="in" filter="fade">
                                          <p:cBhvr>
                                            <p:cTn id="59" dur="500"/>
                                            <p:tgtEl>
                                              <p:spTgt spid="58"/>
                                            </p:tgtEl>
                                          </p:cBhvr>
                                        </p:animEffect>
                                      </p:childTnLst>
                                    </p:cTn>
                                  </p:par>
                                </p:childTnLst>
                              </p:cTn>
                            </p:par>
                            <p:par>
                              <p:cTn id="60" fill="hold">
                                <p:stCondLst>
                                  <p:cond delay="5000"/>
                                </p:stCondLst>
                                <p:childTnLst>
                                  <p:par>
                                    <p:cTn id="61" presetID="53" presetClass="entr" presetSubtype="16" fill="hold" grpId="0" nodeType="afterEffect">
                                      <p:stCondLst>
                                        <p:cond delay="0"/>
                                      </p:stCondLst>
                                      <p:childTnLst>
                                        <p:set>
                                          <p:cBhvr>
                                            <p:cTn id="62" dur="1" fill="hold">
                                              <p:stCondLst>
                                                <p:cond delay="0"/>
                                              </p:stCondLst>
                                            </p:cTn>
                                            <p:tgtEl>
                                              <p:spTgt spid="9"/>
                                            </p:tgtEl>
                                            <p:attrNameLst>
                                              <p:attrName>style.visibility</p:attrName>
                                            </p:attrNameLst>
                                          </p:cBhvr>
                                          <p:to>
                                            <p:strVal val="visible"/>
                                          </p:to>
                                        </p:set>
                                        <p:anim calcmode="lin" valueType="num">
                                          <p:cBhvr>
                                            <p:cTn id="63" dur="500" fill="hold"/>
                                            <p:tgtEl>
                                              <p:spTgt spid="9"/>
                                            </p:tgtEl>
                                            <p:attrNameLst>
                                              <p:attrName>ppt_w</p:attrName>
                                            </p:attrNameLst>
                                          </p:cBhvr>
                                          <p:tavLst>
                                            <p:tav tm="0">
                                              <p:val>
                                                <p:fltVal val="0"/>
                                              </p:val>
                                            </p:tav>
                                            <p:tav tm="100000">
                                              <p:val>
                                                <p:strVal val="#ppt_w"/>
                                              </p:val>
                                            </p:tav>
                                          </p:tavLst>
                                        </p:anim>
                                        <p:anim calcmode="lin" valueType="num">
                                          <p:cBhvr>
                                            <p:cTn id="64" dur="500" fill="hold"/>
                                            <p:tgtEl>
                                              <p:spTgt spid="9"/>
                                            </p:tgtEl>
                                            <p:attrNameLst>
                                              <p:attrName>ppt_h</p:attrName>
                                            </p:attrNameLst>
                                          </p:cBhvr>
                                          <p:tavLst>
                                            <p:tav tm="0">
                                              <p:val>
                                                <p:fltVal val="0"/>
                                              </p:val>
                                            </p:tav>
                                            <p:tav tm="100000">
                                              <p:val>
                                                <p:strVal val="#ppt_h"/>
                                              </p:val>
                                            </p:tav>
                                          </p:tavLst>
                                        </p:anim>
                                        <p:animEffect transition="in" filter="fade">
                                          <p:cBhvr>
                                            <p:cTn id="65" dur="500"/>
                                            <p:tgtEl>
                                              <p:spTgt spid="9"/>
                                            </p:tgtEl>
                                          </p:cBhvr>
                                        </p:animEffect>
                                      </p:childTnLst>
                                    </p:cTn>
                                  </p:par>
                                </p:childTnLst>
                              </p:cTn>
                            </p:par>
                            <p:par>
                              <p:cTn id="66" fill="hold">
                                <p:stCondLst>
                                  <p:cond delay="5500"/>
                                </p:stCondLst>
                                <p:childTnLst>
                                  <p:par>
                                    <p:cTn id="67" presetID="53" presetClass="entr" presetSubtype="16" fill="hold" grpId="0" nodeType="afterEffect">
                                      <p:stCondLst>
                                        <p:cond delay="0"/>
                                      </p:stCondLst>
                                      <p:childTnLst>
                                        <p:set>
                                          <p:cBhvr>
                                            <p:cTn id="68" dur="1" fill="hold">
                                              <p:stCondLst>
                                                <p:cond delay="0"/>
                                              </p:stCondLst>
                                            </p:cTn>
                                            <p:tgtEl>
                                              <p:spTgt spid="59"/>
                                            </p:tgtEl>
                                            <p:attrNameLst>
                                              <p:attrName>style.visibility</p:attrName>
                                            </p:attrNameLst>
                                          </p:cBhvr>
                                          <p:to>
                                            <p:strVal val="visible"/>
                                          </p:to>
                                        </p:set>
                                        <p:anim calcmode="lin" valueType="num">
                                          <p:cBhvr>
                                            <p:cTn id="69" dur="500" fill="hold"/>
                                            <p:tgtEl>
                                              <p:spTgt spid="59"/>
                                            </p:tgtEl>
                                            <p:attrNameLst>
                                              <p:attrName>ppt_w</p:attrName>
                                            </p:attrNameLst>
                                          </p:cBhvr>
                                          <p:tavLst>
                                            <p:tav tm="0">
                                              <p:val>
                                                <p:fltVal val="0"/>
                                              </p:val>
                                            </p:tav>
                                            <p:tav tm="100000">
                                              <p:val>
                                                <p:strVal val="#ppt_w"/>
                                              </p:val>
                                            </p:tav>
                                          </p:tavLst>
                                        </p:anim>
                                        <p:anim calcmode="lin" valueType="num">
                                          <p:cBhvr>
                                            <p:cTn id="70" dur="500" fill="hold"/>
                                            <p:tgtEl>
                                              <p:spTgt spid="59"/>
                                            </p:tgtEl>
                                            <p:attrNameLst>
                                              <p:attrName>ppt_h</p:attrName>
                                            </p:attrNameLst>
                                          </p:cBhvr>
                                          <p:tavLst>
                                            <p:tav tm="0">
                                              <p:val>
                                                <p:fltVal val="0"/>
                                              </p:val>
                                            </p:tav>
                                            <p:tav tm="100000">
                                              <p:val>
                                                <p:strVal val="#ppt_h"/>
                                              </p:val>
                                            </p:tav>
                                          </p:tavLst>
                                        </p:anim>
                                        <p:animEffect transition="in" filter="fade">
                                          <p:cBhvr>
                                            <p:cTn id="71" dur="500"/>
                                            <p:tgtEl>
                                              <p:spTgt spid="59"/>
                                            </p:tgtEl>
                                          </p:cBhvr>
                                        </p:animEffect>
                                      </p:childTnLst>
                                    </p:cTn>
                                  </p:par>
                                </p:childTnLst>
                              </p:cTn>
                            </p:par>
                            <p:par>
                              <p:cTn id="72" fill="hold">
                                <p:stCondLst>
                                  <p:cond delay="6000"/>
                                </p:stCondLst>
                                <p:childTnLst>
                                  <p:par>
                                    <p:cTn id="73" presetID="53" presetClass="entr" presetSubtype="16" fill="hold" grpId="0" nodeType="afterEffect">
                                      <p:stCondLst>
                                        <p:cond delay="0"/>
                                      </p:stCondLst>
                                      <p:childTnLst>
                                        <p:set>
                                          <p:cBhvr>
                                            <p:cTn id="74" dur="1" fill="hold">
                                              <p:stCondLst>
                                                <p:cond delay="0"/>
                                              </p:stCondLst>
                                            </p:cTn>
                                            <p:tgtEl>
                                              <p:spTgt spid="10"/>
                                            </p:tgtEl>
                                            <p:attrNameLst>
                                              <p:attrName>style.visibility</p:attrName>
                                            </p:attrNameLst>
                                          </p:cBhvr>
                                          <p:to>
                                            <p:strVal val="visible"/>
                                          </p:to>
                                        </p:set>
                                        <p:anim calcmode="lin" valueType="num">
                                          <p:cBhvr>
                                            <p:cTn id="75" dur="500" fill="hold"/>
                                            <p:tgtEl>
                                              <p:spTgt spid="10"/>
                                            </p:tgtEl>
                                            <p:attrNameLst>
                                              <p:attrName>ppt_w</p:attrName>
                                            </p:attrNameLst>
                                          </p:cBhvr>
                                          <p:tavLst>
                                            <p:tav tm="0">
                                              <p:val>
                                                <p:fltVal val="0"/>
                                              </p:val>
                                            </p:tav>
                                            <p:tav tm="100000">
                                              <p:val>
                                                <p:strVal val="#ppt_w"/>
                                              </p:val>
                                            </p:tav>
                                          </p:tavLst>
                                        </p:anim>
                                        <p:anim calcmode="lin" valueType="num">
                                          <p:cBhvr>
                                            <p:cTn id="76" dur="500" fill="hold"/>
                                            <p:tgtEl>
                                              <p:spTgt spid="10"/>
                                            </p:tgtEl>
                                            <p:attrNameLst>
                                              <p:attrName>ppt_h</p:attrName>
                                            </p:attrNameLst>
                                          </p:cBhvr>
                                          <p:tavLst>
                                            <p:tav tm="0">
                                              <p:val>
                                                <p:fltVal val="0"/>
                                              </p:val>
                                            </p:tav>
                                            <p:tav tm="100000">
                                              <p:val>
                                                <p:strVal val="#ppt_h"/>
                                              </p:val>
                                            </p:tav>
                                          </p:tavLst>
                                        </p:anim>
                                        <p:animEffect transition="in" filter="fade">
                                          <p:cBhvr>
                                            <p:cTn id="77" dur="500"/>
                                            <p:tgtEl>
                                              <p:spTgt spid="10"/>
                                            </p:tgtEl>
                                          </p:cBhvr>
                                        </p:animEffect>
                                      </p:childTnLst>
                                    </p:cTn>
                                  </p:par>
                                </p:childTnLst>
                              </p:cTn>
                            </p:par>
                            <p:par>
                              <p:cTn id="78" fill="hold">
                                <p:stCondLst>
                                  <p:cond delay="6500"/>
                                </p:stCondLst>
                                <p:childTnLst>
                                  <p:par>
                                    <p:cTn id="79" presetID="53" presetClass="entr" presetSubtype="16" fill="hold" grpId="0" nodeType="afterEffect">
                                      <p:stCondLst>
                                        <p:cond delay="0"/>
                                      </p:stCondLst>
                                      <p:childTnLst>
                                        <p:set>
                                          <p:cBhvr>
                                            <p:cTn id="80" dur="1" fill="hold">
                                              <p:stCondLst>
                                                <p:cond delay="0"/>
                                              </p:stCondLst>
                                            </p:cTn>
                                            <p:tgtEl>
                                              <p:spTgt spid="60"/>
                                            </p:tgtEl>
                                            <p:attrNameLst>
                                              <p:attrName>style.visibility</p:attrName>
                                            </p:attrNameLst>
                                          </p:cBhvr>
                                          <p:to>
                                            <p:strVal val="visible"/>
                                          </p:to>
                                        </p:set>
                                        <p:anim calcmode="lin" valueType="num">
                                          <p:cBhvr>
                                            <p:cTn id="81" dur="500" fill="hold"/>
                                            <p:tgtEl>
                                              <p:spTgt spid="60"/>
                                            </p:tgtEl>
                                            <p:attrNameLst>
                                              <p:attrName>ppt_w</p:attrName>
                                            </p:attrNameLst>
                                          </p:cBhvr>
                                          <p:tavLst>
                                            <p:tav tm="0">
                                              <p:val>
                                                <p:fltVal val="0"/>
                                              </p:val>
                                            </p:tav>
                                            <p:tav tm="100000">
                                              <p:val>
                                                <p:strVal val="#ppt_w"/>
                                              </p:val>
                                            </p:tav>
                                          </p:tavLst>
                                        </p:anim>
                                        <p:anim calcmode="lin" valueType="num">
                                          <p:cBhvr>
                                            <p:cTn id="82" dur="500" fill="hold"/>
                                            <p:tgtEl>
                                              <p:spTgt spid="60"/>
                                            </p:tgtEl>
                                            <p:attrNameLst>
                                              <p:attrName>ppt_h</p:attrName>
                                            </p:attrNameLst>
                                          </p:cBhvr>
                                          <p:tavLst>
                                            <p:tav tm="0">
                                              <p:val>
                                                <p:fltVal val="0"/>
                                              </p:val>
                                            </p:tav>
                                            <p:tav tm="100000">
                                              <p:val>
                                                <p:strVal val="#ppt_h"/>
                                              </p:val>
                                            </p:tav>
                                          </p:tavLst>
                                        </p:anim>
                                        <p:animEffect transition="in" filter="fade">
                                          <p:cBhvr>
                                            <p:cTn id="83" dur="500"/>
                                            <p:tgtEl>
                                              <p:spTgt spid="60"/>
                                            </p:tgtEl>
                                          </p:cBhvr>
                                        </p:animEffect>
                                      </p:childTnLst>
                                    </p:cTn>
                                  </p:par>
                                </p:childTnLst>
                              </p:cTn>
                            </p:par>
                            <p:par>
                              <p:cTn id="84" fill="hold">
                                <p:stCondLst>
                                  <p:cond delay="7000"/>
                                </p:stCondLst>
                                <p:childTnLst>
                                  <p:par>
                                    <p:cTn id="85" presetID="22" presetClass="entr" presetSubtype="1" fill="hold" grpId="0" nodeType="afterEffect">
                                      <p:stCondLst>
                                        <p:cond delay="0"/>
                                      </p:stCondLst>
                                      <p:childTnLst>
                                        <p:set>
                                          <p:cBhvr>
                                            <p:cTn id="86" dur="1" fill="hold">
                                              <p:stCondLst>
                                                <p:cond delay="0"/>
                                              </p:stCondLst>
                                            </p:cTn>
                                            <p:tgtEl>
                                              <p:spTgt spid="11"/>
                                            </p:tgtEl>
                                            <p:attrNameLst>
                                              <p:attrName>style.visibility</p:attrName>
                                            </p:attrNameLst>
                                          </p:cBhvr>
                                          <p:to>
                                            <p:strVal val="visible"/>
                                          </p:to>
                                        </p:set>
                                        <p:animEffect transition="in" filter="wipe(up)">
                                          <p:cBhvr>
                                            <p:cTn id="87" dur="500"/>
                                            <p:tgtEl>
                                              <p:spTgt spid="11"/>
                                            </p:tgtEl>
                                          </p:cBhvr>
                                        </p:animEffect>
                                      </p:childTnLst>
                                    </p:cTn>
                                  </p:par>
                                </p:childTnLst>
                              </p:cTn>
                            </p:par>
                            <p:par>
                              <p:cTn id="88" fill="hold">
                                <p:stCondLst>
                                  <p:cond delay="7500"/>
                                </p:stCondLst>
                                <p:childTnLst>
                                  <p:par>
                                    <p:cTn id="89" presetID="10" presetClass="entr" presetSubtype="0" fill="hold" grpId="0" nodeType="afterEffect">
                                      <p:stCondLst>
                                        <p:cond delay="0"/>
                                      </p:stCondLst>
                                      <p:childTnLst>
                                        <p:set>
                                          <p:cBhvr>
                                            <p:cTn id="90" dur="1" fill="hold">
                                              <p:stCondLst>
                                                <p:cond delay="0"/>
                                              </p:stCondLst>
                                            </p:cTn>
                                            <p:tgtEl>
                                              <p:spTgt spid="12"/>
                                            </p:tgtEl>
                                            <p:attrNameLst>
                                              <p:attrName>style.visibility</p:attrName>
                                            </p:attrNameLst>
                                          </p:cBhvr>
                                          <p:to>
                                            <p:strVal val="visible"/>
                                          </p:to>
                                        </p:set>
                                        <p:animEffect transition="in" filter="fade">
                                          <p:cBhvr>
                                            <p:cTn id="91" dur="500"/>
                                            <p:tgtEl>
                                              <p:spTgt spid="12"/>
                                            </p:tgtEl>
                                          </p:cBhvr>
                                        </p:animEffect>
                                      </p:childTnLst>
                                    </p:cTn>
                                  </p:par>
                                </p:childTnLst>
                              </p:cTn>
                            </p:par>
                            <p:par>
                              <p:cTn id="92" fill="hold">
                                <p:stCondLst>
                                  <p:cond delay="8000"/>
                                </p:stCondLst>
                                <p:childTnLst>
                                  <p:par>
                                    <p:cTn id="93" presetID="22" presetClass="entr" presetSubtype="1" fill="hold" nodeType="afterEffect">
                                      <p:stCondLst>
                                        <p:cond delay="0"/>
                                      </p:stCondLst>
                                      <p:childTnLst>
                                        <p:set>
                                          <p:cBhvr>
                                            <p:cTn id="94" dur="1" fill="hold">
                                              <p:stCondLst>
                                                <p:cond delay="0"/>
                                              </p:stCondLst>
                                            </p:cTn>
                                            <p:tgtEl>
                                              <p:spTgt spid="13"/>
                                            </p:tgtEl>
                                            <p:attrNameLst>
                                              <p:attrName>style.visibility</p:attrName>
                                            </p:attrNameLst>
                                          </p:cBhvr>
                                          <p:to>
                                            <p:strVal val="visible"/>
                                          </p:to>
                                        </p:set>
                                        <p:animEffect transition="in" filter="wipe(up)">
                                          <p:cBhvr>
                                            <p:cTn id="95" dur="500"/>
                                            <p:tgtEl>
                                              <p:spTgt spid="13"/>
                                            </p:tgtEl>
                                          </p:cBhvr>
                                        </p:animEffect>
                                      </p:childTnLst>
                                    </p:cTn>
                                  </p:par>
                                </p:childTnLst>
                              </p:cTn>
                            </p:par>
                            <p:par>
                              <p:cTn id="96" fill="hold">
                                <p:stCondLst>
                                  <p:cond delay="8500"/>
                                </p:stCondLst>
                                <p:childTnLst>
                                  <p:par>
                                    <p:cTn id="97" presetID="10" presetClass="entr" presetSubtype="0" fill="hold" grpId="0" nodeType="afterEffect">
                                      <p:stCondLst>
                                        <p:cond delay="0"/>
                                      </p:stCondLst>
                                      <p:childTnLst>
                                        <p:set>
                                          <p:cBhvr>
                                            <p:cTn id="98" dur="1" fill="hold">
                                              <p:stCondLst>
                                                <p:cond delay="0"/>
                                              </p:stCondLst>
                                            </p:cTn>
                                            <p:tgtEl>
                                              <p:spTgt spid="26"/>
                                            </p:tgtEl>
                                            <p:attrNameLst>
                                              <p:attrName>style.visibility</p:attrName>
                                            </p:attrNameLst>
                                          </p:cBhvr>
                                          <p:to>
                                            <p:strVal val="visible"/>
                                          </p:to>
                                        </p:set>
                                        <p:animEffect transition="in" filter="fade">
                                          <p:cBhvr>
                                            <p:cTn id="99" dur="500"/>
                                            <p:tgtEl>
                                              <p:spTgt spid="26"/>
                                            </p:tgtEl>
                                          </p:cBhvr>
                                        </p:animEffect>
                                      </p:childTnLst>
                                    </p:cTn>
                                  </p:par>
                                  <p:par>
                                    <p:cTn id="100" presetID="10" presetClass="entr" presetSubtype="0" fill="hold" grpId="0" nodeType="withEffect">
                                      <p:stCondLst>
                                        <p:cond delay="0"/>
                                      </p:stCondLst>
                                      <p:childTnLst>
                                        <p:set>
                                          <p:cBhvr>
                                            <p:cTn id="101" dur="1" fill="hold">
                                              <p:stCondLst>
                                                <p:cond delay="0"/>
                                              </p:stCondLst>
                                            </p:cTn>
                                            <p:tgtEl>
                                              <p:spTgt spid="27"/>
                                            </p:tgtEl>
                                            <p:attrNameLst>
                                              <p:attrName>style.visibility</p:attrName>
                                            </p:attrNameLst>
                                          </p:cBhvr>
                                          <p:to>
                                            <p:strVal val="visible"/>
                                          </p:to>
                                        </p:set>
                                        <p:animEffect transition="in" filter="fade">
                                          <p:cBhvr>
                                            <p:cTn id="102" dur="500"/>
                                            <p:tgtEl>
                                              <p:spTgt spid="27"/>
                                            </p:tgtEl>
                                          </p:cBhvr>
                                        </p:animEffect>
                                      </p:childTnLst>
                                    </p:cTn>
                                  </p:par>
                                  <p:par>
                                    <p:cTn id="103" presetID="10" presetClass="entr" presetSubtype="0" fill="hold" grpId="0" nodeType="withEffect">
                                      <p:stCondLst>
                                        <p:cond delay="0"/>
                                      </p:stCondLst>
                                      <p:childTnLst>
                                        <p:set>
                                          <p:cBhvr>
                                            <p:cTn id="104" dur="1" fill="hold">
                                              <p:stCondLst>
                                                <p:cond delay="0"/>
                                              </p:stCondLst>
                                            </p:cTn>
                                            <p:tgtEl>
                                              <p:spTgt spid="28"/>
                                            </p:tgtEl>
                                            <p:attrNameLst>
                                              <p:attrName>style.visibility</p:attrName>
                                            </p:attrNameLst>
                                          </p:cBhvr>
                                          <p:to>
                                            <p:strVal val="visible"/>
                                          </p:to>
                                        </p:set>
                                        <p:animEffect transition="in" filter="fade">
                                          <p:cBhvr>
                                            <p:cTn id="105" dur="500"/>
                                            <p:tgtEl>
                                              <p:spTgt spid="28"/>
                                            </p:tgtEl>
                                          </p:cBhvr>
                                        </p:animEffect>
                                      </p:childTnLst>
                                    </p:cTn>
                                  </p:par>
                                </p:childTnLst>
                              </p:cTn>
                            </p:par>
                            <p:par>
                              <p:cTn id="106" fill="hold">
                                <p:stCondLst>
                                  <p:cond delay="9000"/>
                                </p:stCondLst>
                                <p:childTnLst>
                                  <p:par>
                                    <p:cTn id="107" presetID="22" presetClass="entr" presetSubtype="8" fill="hold" nodeType="afterEffect">
                                      <p:stCondLst>
                                        <p:cond delay="0"/>
                                      </p:stCondLst>
                                      <p:childTnLst>
                                        <p:set>
                                          <p:cBhvr>
                                            <p:cTn id="108" dur="1" fill="hold">
                                              <p:stCondLst>
                                                <p:cond delay="0"/>
                                              </p:stCondLst>
                                            </p:cTn>
                                            <p:tgtEl>
                                              <p:spTgt spid="29"/>
                                            </p:tgtEl>
                                            <p:attrNameLst>
                                              <p:attrName>style.visibility</p:attrName>
                                            </p:attrNameLst>
                                          </p:cBhvr>
                                          <p:to>
                                            <p:strVal val="visible"/>
                                          </p:to>
                                        </p:set>
                                        <p:animEffect transition="in" filter="wipe(left)">
                                          <p:cBhvr>
                                            <p:cTn id="109" dur="500"/>
                                            <p:tgtEl>
                                              <p:spTgt spid="29"/>
                                            </p:tgtEl>
                                          </p:cBhvr>
                                        </p:animEffect>
                                      </p:childTnLst>
                                    </p:cTn>
                                  </p:par>
                                  <p:par>
                                    <p:cTn id="110" presetID="22" presetClass="entr" presetSubtype="8" fill="hold" nodeType="withEffect">
                                      <p:stCondLst>
                                        <p:cond delay="0"/>
                                      </p:stCondLst>
                                      <p:childTnLst>
                                        <p:set>
                                          <p:cBhvr>
                                            <p:cTn id="111" dur="1" fill="hold">
                                              <p:stCondLst>
                                                <p:cond delay="0"/>
                                              </p:stCondLst>
                                            </p:cTn>
                                            <p:tgtEl>
                                              <p:spTgt spid="30"/>
                                            </p:tgtEl>
                                            <p:attrNameLst>
                                              <p:attrName>style.visibility</p:attrName>
                                            </p:attrNameLst>
                                          </p:cBhvr>
                                          <p:to>
                                            <p:strVal val="visible"/>
                                          </p:to>
                                        </p:set>
                                        <p:animEffect transition="in" filter="wipe(left)">
                                          <p:cBhvr>
                                            <p:cTn id="112" dur="500"/>
                                            <p:tgtEl>
                                              <p:spTgt spid="30"/>
                                            </p:tgtEl>
                                          </p:cBhvr>
                                        </p:animEffect>
                                      </p:childTnLst>
                                    </p:cTn>
                                  </p:par>
                                  <p:par>
                                    <p:cTn id="113" presetID="22" presetClass="entr" presetSubtype="8" fill="hold" nodeType="withEffect">
                                      <p:stCondLst>
                                        <p:cond delay="0"/>
                                      </p:stCondLst>
                                      <p:childTnLst>
                                        <p:set>
                                          <p:cBhvr>
                                            <p:cTn id="114" dur="1" fill="hold">
                                              <p:stCondLst>
                                                <p:cond delay="0"/>
                                              </p:stCondLst>
                                            </p:cTn>
                                            <p:tgtEl>
                                              <p:spTgt spid="31"/>
                                            </p:tgtEl>
                                            <p:attrNameLst>
                                              <p:attrName>style.visibility</p:attrName>
                                            </p:attrNameLst>
                                          </p:cBhvr>
                                          <p:to>
                                            <p:strVal val="visible"/>
                                          </p:to>
                                        </p:set>
                                        <p:animEffect transition="in" filter="wipe(left)">
                                          <p:cBhvr>
                                            <p:cTn id="115" dur="500"/>
                                            <p:tgtEl>
                                              <p:spTgt spid="31"/>
                                            </p:tgtEl>
                                          </p:cBhvr>
                                        </p:animEffect>
                                      </p:childTnLst>
                                    </p:cTn>
                                  </p:par>
                                </p:childTnLst>
                              </p:cTn>
                            </p:par>
                            <p:par>
                              <p:cTn id="116" fill="hold">
                                <p:stCondLst>
                                  <p:cond delay="9500"/>
                                </p:stCondLst>
                                <p:childTnLst>
                                  <p:par>
                                    <p:cTn id="117" presetID="22" presetClass="entr" presetSubtype="4" fill="hold" grpId="0" nodeType="afterEffect">
                                      <p:stCondLst>
                                        <p:cond delay="0"/>
                                      </p:stCondLst>
                                      <p:childTnLst>
                                        <p:set>
                                          <p:cBhvr>
                                            <p:cTn id="118" dur="1" fill="hold">
                                              <p:stCondLst>
                                                <p:cond delay="0"/>
                                              </p:stCondLst>
                                            </p:cTn>
                                            <p:tgtEl>
                                              <p:spTgt spid="20"/>
                                            </p:tgtEl>
                                            <p:attrNameLst>
                                              <p:attrName>style.visibility</p:attrName>
                                            </p:attrNameLst>
                                          </p:cBhvr>
                                          <p:to>
                                            <p:strVal val="visible"/>
                                          </p:to>
                                        </p:set>
                                        <p:animEffect transition="in" filter="wipe(down)">
                                          <p:cBhvr>
                                            <p:cTn id="119" dur="500"/>
                                            <p:tgtEl>
                                              <p:spTgt spid="20"/>
                                            </p:tgtEl>
                                          </p:cBhvr>
                                        </p:animEffect>
                                      </p:childTnLst>
                                    </p:cTn>
                                  </p:par>
                                </p:childTnLst>
                              </p:cTn>
                            </p:par>
                            <p:par>
                              <p:cTn id="120" fill="hold">
                                <p:stCondLst>
                                  <p:cond delay="10000"/>
                                </p:stCondLst>
                                <p:childTnLst>
                                  <p:par>
                                    <p:cTn id="121" presetID="10" presetClass="entr" presetSubtype="0" fill="hold" grpId="0" nodeType="afterEffect">
                                      <p:stCondLst>
                                        <p:cond delay="0"/>
                                      </p:stCondLst>
                                      <p:childTnLst>
                                        <p:set>
                                          <p:cBhvr>
                                            <p:cTn id="122" dur="1" fill="hold">
                                              <p:stCondLst>
                                                <p:cond delay="0"/>
                                              </p:stCondLst>
                                            </p:cTn>
                                            <p:tgtEl>
                                              <p:spTgt spid="21"/>
                                            </p:tgtEl>
                                            <p:attrNameLst>
                                              <p:attrName>style.visibility</p:attrName>
                                            </p:attrNameLst>
                                          </p:cBhvr>
                                          <p:to>
                                            <p:strVal val="visible"/>
                                          </p:to>
                                        </p:set>
                                        <p:animEffect transition="in" filter="fade">
                                          <p:cBhvr>
                                            <p:cTn id="123" dur="500"/>
                                            <p:tgtEl>
                                              <p:spTgt spid="21"/>
                                            </p:tgtEl>
                                          </p:cBhvr>
                                        </p:animEffect>
                                      </p:childTnLst>
                                    </p:cTn>
                                  </p:par>
                                </p:childTnLst>
                              </p:cTn>
                            </p:par>
                            <p:par>
                              <p:cTn id="124" fill="hold">
                                <p:stCondLst>
                                  <p:cond delay="10500"/>
                                </p:stCondLst>
                                <p:childTnLst>
                                  <p:par>
                                    <p:cTn id="125" presetID="22" presetClass="entr" presetSubtype="4" fill="hold" nodeType="afterEffect">
                                      <p:stCondLst>
                                        <p:cond delay="0"/>
                                      </p:stCondLst>
                                      <p:childTnLst>
                                        <p:set>
                                          <p:cBhvr>
                                            <p:cTn id="126" dur="1" fill="hold">
                                              <p:stCondLst>
                                                <p:cond delay="0"/>
                                              </p:stCondLst>
                                            </p:cTn>
                                            <p:tgtEl>
                                              <p:spTgt spid="22"/>
                                            </p:tgtEl>
                                            <p:attrNameLst>
                                              <p:attrName>style.visibility</p:attrName>
                                            </p:attrNameLst>
                                          </p:cBhvr>
                                          <p:to>
                                            <p:strVal val="visible"/>
                                          </p:to>
                                        </p:set>
                                        <p:animEffect transition="in" filter="wipe(down)">
                                          <p:cBhvr>
                                            <p:cTn id="127" dur="500"/>
                                            <p:tgtEl>
                                              <p:spTgt spid="22"/>
                                            </p:tgtEl>
                                          </p:cBhvr>
                                        </p:animEffect>
                                      </p:childTnLst>
                                    </p:cTn>
                                  </p:par>
                                </p:childTnLst>
                              </p:cTn>
                            </p:par>
                            <p:par>
                              <p:cTn id="128" fill="hold">
                                <p:stCondLst>
                                  <p:cond delay="11000"/>
                                </p:stCondLst>
                                <p:childTnLst>
                                  <p:par>
                                    <p:cTn id="129" presetID="10" presetClass="entr" presetSubtype="0" fill="hold" grpId="0" nodeType="afterEffect">
                                      <p:stCondLst>
                                        <p:cond delay="0"/>
                                      </p:stCondLst>
                                      <p:childTnLst>
                                        <p:set>
                                          <p:cBhvr>
                                            <p:cTn id="130" dur="1" fill="hold">
                                              <p:stCondLst>
                                                <p:cond delay="0"/>
                                              </p:stCondLst>
                                            </p:cTn>
                                            <p:tgtEl>
                                              <p:spTgt spid="32"/>
                                            </p:tgtEl>
                                            <p:attrNameLst>
                                              <p:attrName>style.visibility</p:attrName>
                                            </p:attrNameLst>
                                          </p:cBhvr>
                                          <p:to>
                                            <p:strVal val="visible"/>
                                          </p:to>
                                        </p:set>
                                        <p:animEffect transition="in" filter="fade">
                                          <p:cBhvr>
                                            <p:cTn id="131" dur="500"/>
                                            <p:tgtEl>
                                              <p:spTgt spid="32"/>
                                            </p:tgtEl>
                                          </p:cBhvr>
                                        </p:animEffect>
                                      </p:childTnLst>
                                    </p:cTn>
                                  </p:par>
                                  <p:par>
                                    <p:cTn id="132" presetID="10" presetClass="entr" presetSubtype="0" fill="hold" grpId="0" nodeType="withEffect">
                                      <p:stCondLst>
                                        <p:cond delay="0"/>
                                      </p:stCondLst>
                                      <p:childTnLst>
                                        <p:set>
                                          <p:cBhvr>
                                            <p:cTn id="133" dur="1" fill="hold">
                                              <p:stCondLst>
                                                <p:cond delay="0"/>
                                              </p:stCondLst>
                                            </p:cTn>
                                            <p:tgtEl>
                                              <p:spTgt spid="34"/>
                                            </p:tgtEl>
                                            <p:attrNameLst>
                                              <p:attrName>style.visibility</p:attrName>
                                            </p:attrNameLst>
                                          </p:cBhvr>
                                          <p:to>
                                            <p:strVal val="visible"/>
                                          </p:to>
                                        </p:set>
                                        <p:animEffect transition="in" filter="fade">
                                          <p:cBhvr>
                                            <p:cTn id="134" dur="500"/>
                                            <p:tgtEl>
                                              <p:spTgt spid="34"/>
                                            </p:tgtEl>
                                          </p:cBhvr>
                                        </p:animEffect>
                                      </p:childTnLst>
                                    </p:cTn>
                                  </p:par>
                                  <p:par>
                                    <p:cTn id="135" presetID="10" presetClass="entr" presetSubtype="0" fill="hold" grpId="0" nodeType="withEffect">
                                      <p:stCondLst>
                                        <p:cond delay="0"/>
                                      </p:stCondLst>
                                      <p:childTnLst>
                                        <p:set>
                                          <p:cBhvr>
                                            <p:cTn id="136" dur="1" fill="hold">
                                              <p:stCondLst>
                                                <p:cond delay="0"/>
                                              </p:stCondLst>
                                            </p:cTn>
                                            <p:tgtEl>
                                              <p:spTgt spid="33"/>
                                            </p:tgtEl>
                                            <p:attrNameLst>
                                              <p:attrName>style.visibility</p:attrName>
                                            </p:attrNameLst>
                                          </p:cBhvr>
                                          <p:to>
                                            <p:strVal val="visible"/>
                                          </p:to>
                                        </p:set>
                                        <p:animEffect transition="in" filter="fade">
                                          <p:cBhvr>
                                            <p:cTn id="137" dur="500"/>
                                            <p:tgtEl>
                                              <p:spTgt spid="33"/>
                                            </p:tgtEl>
                                          </p:cBhvr>
                                        </p:animEffect>
                                      </p:childTnLst>
                                    </p:cTn>
                                  </p:par>
                                </p:childTnLst>
                              </p:cTn>
                            </p:par>
                            <p:par>
                              <p:cTn id="138" fill="hold">
                                <p:stCondLst>
                                  <p:cond delay="11500"/>
                                </p:stCondLst>
                                <p:childTnLst>
                                  <p:par>
                                    <p:cTn id="139" presetID="22" presetClass="entr" presetSubtype="8" fill="hold" nodeType="afterEffect">
                                      <p:stCondLst>
                                        <p:cond delay="0"/>
                                      </p:stCondLst>
                                      <p:childTnLst>
                                        <p:set>
                                          <p:cBhvr>
                                            <p:cTn id="140" dur="1" fill="hold">
                                              <p:stCondLst>
                                                <p:cond delay="0"/>
                                              </p:stCondLst>
                                            </p:cTn>
                                            <p:tgtEl>
                                              <p:spTgt spid="35"/>
                                            </p:tgtEl>
                                            <p:attrNameLst>
                                              <p:attrName>style.visibility</p:attrName>
                                            </p:attrNameLst>
                                          </p:cBhvr>
                                          <p:to>
                                            <p:strVal val="visible"/>
                                          </p:to>
                                        </p:set>
                                        <p:animEffect transition="in" filter="wipe(left)">
                                          <p:cBhvr>
                                            <p:cTn id="141" dur="500"/>
                                            <p:tgtEl>
                                              <p:spTgt spid="35"/>
                                            </p:tgtEl>
                                          </p:cBhvr>
                                        </p:animEffect>
                                      </p:childTnLst>
                                    </p:cTn>
                                  </p:par>
                                  <p:par>
                                    <p:cTn id="142" presetID="22" presetClass="entr" presetSubtype="8" fill="hold" nodeType="withEffect">
                                      <p:stCondLst>
                                        <p:cond delay="0"/>
                                      </p:stCondLst>
                                      <p:childTnLst>
                                        <p:set>
                                          <p:cBhvr>
                                            <p:cTn id="143" dur="1" fill="hold">
                                              <p:stCondLst>
                                                <p:cond delay="0"/>
                                              </p:stCondLst>
                                            </p:cTn>
                                            <p:tgtEl>
                                              <p:spTgt spid="36"/>
                                            </p:tgtEl>
                                            <p:attrNameLst>
                                              <p:attrName>style.visibility</p:attrName>
                                            </p:attrNameLst>
                                          </p:cBhvr>
                                          <p:to>
                                            <p:strVal val="visible"/>
                                          </p:to>
                                        </p:set>
                                        <p:animEffect transition="in" filter="wipe(left)">
                                          <p:cBhvr>
                                            <p:cTn id="144" dur="500"/>
                                            <p:tgtEl>
                                              <p:spTgt spid="36"/>
                                            </p:tgtEl>
                                          </p:cBhvr>
                                        </p:animEffect>
                                      </p:childTnLst>
                                    </p:cTn>
                                  </p:par>
                                  <p:par>
                                    <p:cTn id="145" presetID="22" presetClass="entr" presetSubtype="8" fill="hold" nodeType="withEffect">
                                      <p:stCondLst>
                                        <p:cond delay="0"/>
                                      </p:stCondLst>
                                      <p:childTnLst>
                                        <p:set>
                                          <p:cBhvr>
                                            <p:cTn id="146" dur="1" fill="hold">
                                              <p:stCondLst>
                                                <p:cond delay="0"/>
                                              </p:stCondLst>
                                            </p:cTn>
                                            <p:tgtEl>
                                              <p:spTgt spid="37"/>
                                            </p:tgtEl>
                                            <p:attrNameLst>
                                              <p:attrName>style.visibility</p:attrName>
                                            </p:attrNameLst>
                                          </p:cBhvr>
                                          <p:to>
                                            <p:strVal val="visible"/>
                                          </p:to>
                                        </p:set>
                                        <p:animEffect transition="in" filter="wipe(left)">
                                          <p:cBhvr>
                                            <p:cTn id="147" dur="500"/>
                                            <p:tgtEl>
                                              <p:spTgt spid="37"/>
                                            </p:tgtEl>
                                          </p:cBhvr>
                                        </p:animEffect>
                                      </p:childTnLst>
                                    </p:cTn>
                                  </p:par>
                                </p:childTnLst>
                              </p:cTn>
                            </p:par>
                            <p:par>
                              <p:cTn id="148" fill="hold">
                                <p:stCondLst>
                                  <p:cond delay="12000"/>
                                </p:stCondLst>
                                <p:childTnLst>
                                  <p:par>
                                    <p:cTn id="149" presetID="22" presetClass="entr" presetSubtype="1" fill="hold" grpId="0" nodeType="afterEffect">
                                      <p:stCondLst>
                                        <p:cond delay="0"/>
                                      </p:stCondLst>
                                      <p:childTnLst>
                                        <p:set>
                                          <p:cBhvr>
                                            <p:cTn id="150" dur="1" fill="hold">
                                              <p:stCondLst>
                                                <p:cond delay="0"/>
                                              </p:stCondLst>
                                            </p:cTn>
                                            <p:tgtEl>
                                              <p:spTgt spid="14"/>
                                            </p:tgtEl>
                                            <p:attrNameLst>
                                              <p:attrName>style.visibility</p:attrName>
                                            </p:attrNameLst>
                                          </p:cBhvr>
                                          <p:to>
                                            <p:strVal val="visible"/>
                                          </p:to>
                                        </p:set>
                                        <p:animEffect transition="in" filter="wipe(up)">
                                          <p:cBhvr>
                                            <p:cTn id="151" dur="500"/>
                                            <p:tgtEl>
                                              <p:spTgt spid="14"/>
                                            </p:tgtEl>
                                          </p:cBhvr>
                                        </p:animEffect>
                                      </p:childTnLst>
                                    </p:cTn>
                                  </p:par>
                                </p:childTnLst>
                              </p:cTn>
                            </p:par>
                            <p:par>
                              <p:cTn id="152" fill="hold">
                                <p:stCondLst>
                                  <p:cond delay="12500"/>
                                </p:stCondLst>
                                <p:childTnLst>
                                  <p:par>
                                    <p:cTn id="153" presetID="10" presetClass="entr" presetSubtype="0" fill="hold" grpId="0" nodeType="afterEffect">
                                      <p:stCondLst>
                                        <p:cond delay="0"/>
                                      </p:stCondLst>
                                      <p:childTnLst>
                                        <p:set>
                                          <p:cBhvr>
                                            <p:cTn id="154" dur="1" fill="hold">
                                              <p:stCondLst>
                                                <p:cond delay="0"/>
                                              </p:stCondLst>
                                            </p:cTn>
                                            <p:tgtEl>
                                              <p:spTgt spid="15"/>
                                            </p:tgtEl>
                                            <p:attrNameLst>
                                              <p:attrName>style.visibility</p:attrName>
                                            </p:attrNameLst>
                                          </p:cBhvr>
                                          <p:to>
                                            <p:strVal val="visible"/>
                                          </p:to>
                                        </p:set>
                                        <p:animEffect transition="in" filter="fade">
                                          <p:cBhvr>
                                            <p:cTn id="155" dur="500"/>
                                            <p:tgtEl>
                                              <p:spTgt spid="15"/>
                                            </p:tgtEl>
                                          </p:cBhvr>
                                        </p:animEffect>
                                      </p:childTnLst>
                                    </p:cTn>
                                  </p:par>
                                </p:childTnLst>
                              </p:cTn>
                            </p:par>
                            <p:par>
                              <p:cTn id="156" fill="hold">
                                <p:stCondLst>
                                  <p:cond delay="13000"/>
                                </p:stCondLst>
                                <p:childTnLst>
                                  <p:par>
                                    <p:cTn id="157" presetID="22" presetClass="entr" presetSubtype="1" fill="hold" nodeType="afterEffect">
                                      <p:stCondLst>
                                        <p:cond delay="0"/>
                                      </p:stCondLst>
                                      <p:childTnLst>
                                        <p:set>
                                          <p:cBhvr>
                                            <p:cTn id="158" dur="1" fill="hold">
                                              <p:stCondLst>
                                                <p:cond delay="0"/>
                                              </p:stCondLst>
                                            </p:cTn>
                                            <p:tgtEl>
                                              <p:spTgt spid="16"/>
                                            </p:tgtEl>
                                            <p:attrNameLst>
                                              <p:attrName>style.visibility</p:attrName>
                                            </p:attrNameLst>
                                          </p:cBhvr>
                                          <p:to>
                                            <p:strVal val="visible"/>
                                          </p:to>
                                        </p:set>
                                        <p:animEffect transition="in" filter="wipe(up)">
                                          <p:cBhvr>
                                            <p:cTn id="159" dur="500"/>
                                            <p:tgtEl>
                                              <p:spTgt spid="16"/>
                                            </p:tgtEl>
                                          </p:cBhvr>
                                        </p:animEffect>
                                      </p:childTnLst>
                                    </p:cTn>
                                  </p:par>
                                </p:childTnLst>
                              </p:cTn>
                            </p:par>
                            <p:par>
                              <p:cTn id="160" fill="hold">
                                <p:stCondLst>
                                  <p:cond delay="13500"/>
                                </p:stCondLst>
                                <p:childTnLst>
                                  <p:par>
                                    <p:cTn id="161" presetID="10" presetClass="entr" presetSubtype="0" fill="hold" grpId="0" nodeType="afterEffect">
                                      <p:stCondLst>
                                        <p:cond delay="0"/>
                                      </p:stCondLst>
                                      <p:childTnLst>
                                        <p:set>
                                          <p:cBhvr>
                                            <p:cTn id="162" dur="1" fill="hold">
                                              <p:stCondLst>
                                                <p:cond delay="0"/>
                                              </p:stCondLst>
                                            </p:cTn>
                                            <p:tgtEl>
                                              <p:spTgt spid="38"/>
                                            </p:tgtEl>
                                            <p:attrNameLst>
                                              <p:attrName>style.visibility</p:attrName>
                                            </p:attrNameLst>
                                          </p:cBhvr>
                                          <p:to>
                                            <p:strVal val="visible"/>
                                          </p:to>
                                        </p:set>
                                        <p:animEffect transition="in" filter="fade">
                                          <p:cBhvr>
                                            <p:cTn id="163" dur="500"/>
                                            <p:tgtEl>
                                              <p:spTgt spid="38"/>
                                            </p:tgtEl>
                                          </p:cBhvr>
                                        </p:animEffect>
                                      </p:childTnLst>
                                    </p:cTn>
                                  </p:par>
                                  <p:par>
                                    <p:cTn id="164" presetID="10" presetClass="entr" presetSubtype="0" fill="hold" grpId="0" nodeType="withEffect">
                                      <p:stCondLst>
                                        <p:cond delay="0"/>
                                      </p:stCondLst>
                                      <p:childTnLst>
                                        <p:set>
                                          <p:cBhvr>
                                            <p:cTn id="165" dur="1" fill="hold">
                                              <p:stCondLst>
                                                <p:cond delay="0"/>
                                              </p:stCondLst>
                                            </p:cTn>
                                            <p:tgtEl>
                                              <p:spTgt spid="39"/>
                                            </p:tgtEl>
                                            <p:attrNameLst>
                                              <p:attrName>style.visibility</p:attrName>
                                            </p:attrNameLst>
                                          </p:cBhvr>
                                          <p:to>
                                            <p:strVal val="visible"/>
                                          </p:to>
                                        </p:set>
                                        <p:animEffect transition="in" filter="fade">
                                          <p:cBhvr>
                                            <p:cTn id="166" dur="500"/>
                                            <p:tgtEl>
                                              <p:spTgt spid="39"/>
                                            </p:tgtEl>
                                          </p:cBhvr>
                                        </p:animEffect>
                                      </p:childTnLst>
                                    </p:cTn>
                                  </p:par>
                                  <p:par>
                                    <p:cTn id="167" presetID="10" presetClass="entr" presetSubtype="0" fill="hold" grpId="0" nodeType="withEffect">
                                      <p:stCondLst>
                                        <p:cond delay="0"/>
                                      </p:stCondLst>
                                      <p:childTnLst>
                                        <p:set>
                                          <p:cBhvr>
                                            <p:cTn id="168" dur="1" fill="hold">
                                              <p:stCondLst>
                                                <p:cond delay="0"/>
                                              </p:stCondLst>
                                            </p:cTn>
                                            <p:tgtEl>
                                              <p:spTgt spid="40"/>
                                            </p:tgtEl>
                                            <p:attrNameLst>
                                              <p:attrName>style.visibility</p:attrName>
                                            </p:attrNameLst>
                                          </p:cBhvr>
                                          <p:to>
                                            <p:strVal val="visible"/>
                                          </p:to>
                                        </p:set>
                                        <p:animEffect transition="in" filter="fade">
                                          <p:cBhvr>
                                            <p:cTn id="169" dur="500"/>
                                            <p:tgtEl>
                                              <p:spTgt spid="40"/>
                                            </p:tgtEl>
                                          </p:cBhvr>
                                        </p:animEffect>
                                      </p:childTnLst>
                                    </p:cTn>
                                  </p:par>
                                </p:childTnLst>
                              </p:cTn>
                            </p:par>
                            <p:par>
                              <p:cTn id="170" fill="hold">
                                <p:stCondLst>
                                  <p:cond delay="14000"/>
                                </p:stCondLst>
                                <p:childTnLst>
                                  <p:par>
                                    <p:cTn id="171" presetID="22" presetClass="entr" presetSubtype="8" fill="hold" nodeType="afterEffect">
                                      <p:stCondLst>
                                        <p:cond delay="0"/>
                                      </p:stCondLst>
                                      <p:childTnLst>
                                        <p:set>
                                          <p:cBhvr>
                                            <p:cTn id="172" dur="1" fill="hold">
                                              <p:stCondLst>
                                                <p:cond delay="0"/>
                                              </p:stCondLst>
                                            </p:cTn>
                                            <p:tgtEl>
                                              <p:spTgt spid="41"/>
                                            </p:tgtEl>
                                            <p:attrNameLst>
                                              <p:attrName>style.visibility</p:attrName>
                                            </p:attrNameLst>
                                          </p:cBhvr>
                                          <p:to>
                                            <p:strVal val="visible"/>
                                          </p:to>
                                        </p:set>
                                        <p:animEffect transition="in" filter="wipe(left)">
                                          <p:cBhvr>
                                            <p:cTn id="173" dur="500"/>
                                            <p:tgtEl>
                                              <p:spTgt spid="41"/>
                                            </p:tgtEl>
                                          </p:cBhvr>
                                        </p:animEffect>
                                      </p:childTnLst>
                                    </p:cTn>
                                  </p:par>
                                  <p:par>
                                    <p:cTn id="174" presetID="22" presetClass="entr" presetSubtype="8" fill="hold" nodeType="withEffect">
                                      <p:stCondLst>
                                        <p:cond delay="0"/>
                                      </p:stCondLst>
                                      <p:childTnLst>
                                        <p:set>
                                          <p:cBhvr>
                                            <p:cTn id="175" dur="1" fill="hold">
                                              <p:stCondLst>
                                                <p:cond delay="0"/>
                                              </p:stCondLst>
                                            </p:cTn>
                                            <p:tgtEl>
                                              <p:spTgt spid="42"/>
                                            </p:tgtEl>
                                            <p:attrNameLst>
                                              <p:attrName>style.visibility</p:attrName>
                                            </p:attrNameLst>
                                          </p:cBhvr>
                                          <p:to>
                                            <p:strVal val="visible"/>
                                          </p:to>
                                        </p:set>
                                        <p:animEffect transition="in" filter="wipe(left)">
                                          <p:cBhvr>
                                            <p:cTn id="176" dur="500"/>
                                            <p:tgtEl>
                                              <p:spTgt spid="42"/>
                                            </p:tgtEl>
                                          </p:cBhvr>
                                        </p:animEffect>
                                      </p:childTnLst>
                                    </p:cTn>
                                  </p:par>
                                  <p:par>
                                    <p:cTn id="177" presetID="22" presetClass="entr" presetSubtype="8" fill="hold" nodeType="withEffect">
                                      <p:stCondLst>
                                        <p:cond delay="0"/>
                                      </p:stCondLst>
                                      <p:childTnLst>
                                        <p:set>
                                          <p:cBhvr>
                                            <p:cTn id="178" dur="1" fill="hold">
                                              <p:stCondLst>
                                                <p:cond delay="0"/>
                                              </p:stCondLst>
                                            </p:cTn>
                                            <p:tgtEl>
                                              <p:spTgt spid="43"/>
                                            </p:tgtEl>
                                            <p:attrNameLst>
                                              <p:attrName>style.visibility</p:attrName>
                                            </p:attrNameLst>
                                          </p:cBhvr>
                                          <p:to>
                                            <p:strVal val="visible"/>
                                          </p:to>
                                        </p:set>
                                        <p:animEffect transition="in" filter="wipe(left)">
                                          <p:cBhvr>
                                            <p:cTn id="179" dur="500"/>
                                            <p:tgtEl>
                                              <p:spTgt spid="43"/>
                                            </p:tgtEl>
                                          </p:cBhvr>
                                        </p:animEffect>
                                      </p:childTnLst>
                                    </p:cTn>
                                  </p:par>
                                </p:childTnLst>
                              </p:cTn>
                            </p:par>
                            <p:par>
                              <p:cTn id="180" fill="hold">
                                <p:stCondLst>
                                  <p:cond delay="14500"/>
                                </p:stCondLst>
                                <p:childTnLst>
                                  <p:par>
                                    <p:cTn id="181" presetID="22" presetClass="entr" presetSubtype="4" fill="hold" grpId="0" nodeType="afterEffect">
                                      <p:stCondLst>
                                        <p:cond delay="0"/>
                                      </p:stCondLst>
                                      <p:childTnLst>
                                        <p:set>
                                          <p:cBhvr>
                                            <p:cTn id="182" dur="1" fill="hold">
                                              <p:stCondLst>
                                                <p:cond delay="0"/>
                                              </p:stCondLst>
                                            </p:cTn>
                                            <p:tgtEl>
                                              <p:spTgt spid="23"/>
                                            </p:tgtEl>
                                            <p:attrNameLst>
                                              <p:attrName>style.visibility</p:attrName>
                                            </p:attrNameLst>
                                          </p:cBhvr>
                                          <p:to>
                                            <p:strVal val="visible"/>
                                          </p:to>
                                        </p:set>
                                        <p:animEffect transition="in" filter="wipe(down)">
                                          <p:cBhvr>
                                            <p:cTn id="183" dur="500"/>
                                            <p:tgtEl>
                                              <p:spTgt spid="23"/>
                                            </p:tgtEl>
                                          </p:cBhvr>
                                        </p:animEffect>
                                      </p:childTnLst>
                                    </p:cTn>
                                  </p:par>
                                </p:childTnLst>
                              </p:cTn>
                            </p:par>
                            <p:par>
                              <p:cTn id="184" fill="hold">
                                <p:stCondLst>
                                  <p:cond delay="15000"/>
                                </p:stCondLst>
                                <p:childTnLst>
                                  <p:par>
                                    <p:cTn id="185" presetID="10" presetClass="entr" presetSubtype="0" fill="hold" grpId="0" nodeType="afterEffect">
                                      <p:stCondLst>
                                        <p:cond delay="0"/>
                                      </p:stCondLst>
                                      <p:childTnLst>
                                        <p:set>
                                          <p:cBhvr>
                                            <p:cTn id="186" dur="1" fill="hold">
                                              <p:stCondLst>
                                                <p:cond delay="0"/>
                                              </p:stCondLst>
                                            </p:cTn>
                                            <p:tgtEl>
                                              <p:spTgt spid="24"/>
                                            </p:tgtEl>
                                            <p:attrNameLst>
                                              <p:attrName>style.visibility</p:attrName>
                                            </p:attrNameLst>
                                          </p:cBhvr>
                                          <p:to>
                                            <p:strVal val="visible"/>
                                          </p:to>
                                        </p:set>
                                        <p:animEffect transition="in" filter="fade">
                                          <p:cBhvr>
                                            <p:cTn id="187" dur="500"/>
                                            <p:tgtEl>
                                              <p:spTgt spid="24"/>
                                            </p:tgtEl>
                                          </p:cBhvr>
                                        </p:animEffect>
                                      </p:childTnLst>
                                    </p:cTn>
                                  </p:par>
                                </p:childTnLst>
                              </p:cTn>
                            </p:par>
                            <p:par>
                              <p:cTn id="188" fill="hold">
                                <p:stCondLst>
                                  <p:cond delay="15500"/>
                                </p:stCondLst>
                                <p:childTnLst>
                                  <p:par>
                                    <p:cTn id="189" presetID="22" presetClass="entr" presetSubtype="4" fill="hold" nodeType="afterEffect">
                                      <p:stCondLst>
                                        <p:cond delay="0"/>
                                      </p:stCondLst>
                                      <p:childTnLst>
                                        <p:set>
                                          <p:cBhvr>
                                            <p:cTn id="190" dur="1" fill="hold">
                                              <p:stCondLst>
                                                <p:cond delay="0"/>
                                              </p:stCondLst>
                                            </p:cTn>
                                            <p:tgtEl>
                                              <p:spTgt spid="25"/>
                                            </p:tgtEl>
                                            <p:attrNameLst>
                                              <p:attrName>style.visibility</p:attrName>
                                            </p:attrNameLst>
                                          </p:cBhvr>
                                          <p:to>
                                            <p:strVal val="visible"/>
                                          </p:to>
                                        </p:set>
                                        <p:animEffect transition="in" filter="wipe(down)">
                                          <p:cBhvr>
                                            <p:cTn id="191" dur="500"/>
                                            <p:tgtEl>
                                              <p:spTgt spid="25"/>
                                            </p:tgtEl>
                                          </p:cBhvr>
                                        </p:animEffect>
                                      </p:childTnLst>
                                    </p:cTn>
                                  </p:par>
                                </p:childTnLst>
                              </p:cTn>
                            </p:par>
                            <p:par>
                              <p:cTn id="192" fill="hold">
                                <p:stCondLst>
                                  <p:cond delay="16000"/>
                                </p:stCondLst>
                                <p:childTnLst>
                                  <p:par>
                                    <p:cTn id="193" presetID="10" presetClass="entr" presetSubtype="0" fill="hold" grpId="0" nodeType="afterEffect">
                                      <p:stCondLst>
                                        <p:cond delay="0"/>
                                      </p:stCondLst>
                                      <p:childTnLst>
                                        <p:set>
                                          <p:cBhvr>
                                            <p:cTn id="194" dur="1" fill="hold">
                                              <p:stCondLst>
                                                <p:cond delay="0"/>
                                              </p:stCondLst>
                                            </p:cTn>
                                            <p:tgtEl>
                                              <p:spTgt spid="45"/>
                                            </p:tgtEl>
                                            <p:attrNameLst>
                                              <p:attrName>style.visibility</p:attrName>
                                            </p:attrNameLst>
                                          </p:cBhvr>
                                          <p:to>
                                            <p:strVal val="visible"/>
                                          </p:to>
                                        </p:set>
                                        <p:animEffect transition="in" filter="fade">
                                          <p:cBhvr>
                                            <p:cTn id="195" dur="500"/>
                                            <p:tgtEl>
                                              <p:spTgt spid="45"/>
                                            </p:tgtEl>
                                          </p:cBhvr>
                                        </p:animEffect>
                                      </p:childTnLst>
                                    </p:cTn>
                                  </p:par>
                                  <p:par>
                                    <p:cTn id="196" presetID="10" presetClass="entr" presetSubtype="0" fill="hold" grpId="0" nodeType="withEffect">
                                      <p:stCondLst>
                                        <p:cond delay="0"/>
                                      </p:stCondLst>
                                      <p:childTnLst>
                                        <p:set>
                                          <p:cBhvr>
                                            <p:cTn id="197" dur="1" fill="hold">
                                              <p:stCondLst>
                                                <p:cond delay="0"/>
                                              </p:stCondLst>
                                            </p:cTn>
                                            <p:tgtEl>
                                              <p:spTgt spid="46"/>
                                            </p:tgtEl>
                                            <p:attrNameLst>
                                              <p:attrName>style.visibility</p:attrName>
                                            </p:attrNameLst>
                                          </p:cBhvr>
                                          <p:to>
                                            <p:strVal val="visible"/>
                                          </p:to>
                                        </p:set>
                                        <p:animEffect transition="in" filter="fade">
                                          <p:cBhvr>
                                            <p:cTn id="198" dur="500"/>
                                            <p:tgtEl>
                                              <p:spTgt spid="46"/>
                                            </p:tgtEl>
                                          </p:cBhvr>
                                        </p:animEffect>
                                      </p:childTnLst>
                                    </p:cTn>
                                  </p:par>
                                  <p:par>
                                    <p:cTn id="199" presetID="10" presetClass="entr" presetSubtype="0" fill="hold" grpId="0" nodeType="withEffect">
                                      <p:stCondLst>
                                        <p:cond delay="0"/>
                                      </p:stCondLst>
                                      <p:childTnLst>
                                        <p:set>
                                          <p:cBhvr>
                                            <p:cTn id="200" dur="1" fill="hold">
                                              <p:stCondLst>
                                                <p:cond delay="0"/>
                                              </p:stCondLst>
                                            </p:cTn>
                                            <p:tgtEl>
                                              <p:spTgt spid="44"/>
                                            </p:tgtEl>
                                            <p:attrNameLst>
                                              <p:attrName>style.visibility</p:attrName>
                                            </p:attrNameLst>
                                          </p:cBhvr>
                                          <p:to>
                                            <p:strVal val="visible"/>
                                          </p:to>
                                        </p:set>
                                        <p:animEffect transition="in" filter="fade">
                                          <p:cBhvr>
                                            <p:cTn id="201" dur="500"/>
                                            <p:tgtEl>
                                              <p:spTgt spid="44"/>
                                            </p:tgtEl>
                                          </p:cBhvr>
                                        </p:animEffect>
                                      </p:childTnLst>
                                    </p:cTn>
                                  </p:par>
                                </p:childTnLst>
                              </p:cTn>
                            </p:par>
                            <p:par>
                              <p:cTn id="202" fill="hold">
                                <p:stCondLst>
                                  <p:cond delay="16500"/>
                                </p:stCondLst>
                                <p:childTnLst>
                                  <p:par>
                                    <p:cTn id="203" presetID="22" presetClass="entr" presetSubtype="8" fill="hold" nodeType="afterEffect">
                                      <p:stCondLst>
                                        <p:cond delay="0"/>
                                      </p:stCondLst>
                                      <p:childTnLst>
                                        <p:set>
                                          <p:cBhvr>
                                            <p:cTn id="204" dur="1" fill="hold">
                                              <p:stCondLst>
                                                <p:cond delay="0"/>
                                              </p:stCondLst>
                                            </p:cTn>
                                            <p:tgtEl>
                                              <p:spTgt spid="47"/>
                                            </p:tgtEl>
                                            <p:attrNameLst>
                                              <p:attrName>style.visibility</p:attrName>
                                            </p:attrNameLst>
                                          </p:cBhvr>
                                          <p:to>
                                            <p:strVal val="visible"/>
                                          </p:to>
                                        </p:set>
                                        <p:animEffect transition="in" filter="wipe(left)">
                                          <p:cBhvr>
                                            <p:cTn id="205" dur="500"/>
                                            <p:tgtEl>
                                              <p:spTgt spid="47"/>
                                            </p:tgtEl>
                                          </p:cBhvr>
                                        </p:animEffect>
                                      </p:childTnLst>
                                    </p:cTn>
                                  </p:par>
                                  <p:par>
                                    <p:cTn id="206" presetID="22" presetClass="entr" presetSubtype="8" fill="hold" nodeType="withEffect">
                                      <p:stCondLst>
                                        <p:cond delay="0"/>
                                      </p:stCondLst>
                                      <p:childTnLst>
                                        <p:set>
                                          <p:cBhvr>
                                            <p:cTn id="207" dur="1" fill="hold">
                                              <p:stCondLst>
                                                <p:cond delay="0"/>
                                              </p:stCondLst>
                                            </p:cTn>
                                            <p:tgtEl>
                                              <p:spTgt spid="48"/>
                                            </p:tgtEl>
                                            <p:attrNameLst>
                                              <p:attrName>style.visibility</p:attrName>
                                            </p:attrNameLst>
                                          </p:cBhvr>
                                          <p:to>
                                            <p:strVal val="visible"/>
                                          </p:to>
                                        </p:set>
                                        <p:animEffect transition="in" filter="wipe(left)">
                                          <p:cBhvr>
                                            <p:cTn id="208" dur="500"/>
                                            <p:tgtEl>
                                              <p:spTgt spid="48"/>
                                            </p:tgtEl>
                                          </p:cBhvr>
                                        </p:animEffect>
                                      </p:childTnLst>
                                    </p:cTn>
                                  </p:par>
                                  <p:par>
                                    <p:cTn id="209" presetID="22" presetClass="entr" presetSubtype="8" fill="hold" nodeType="withEffect">
                                      <p:stCondLst>
                                        <p:cond delay="0"/>
                                      </p:stCondLst>
                                      <p:childTnLst>
                                        <p:set>
                                          <p:cBhvr>
                                            <p:cTn id="210" dur="1" fill="hold">
                                              <p:stCondLst>
                                                <p:cond delay="0"/>
                                              </p:stCondLst>
                                            </p:cTn>
                                            <p:tgtEl>
                                              <p:spTgt spid="49"/>
                                            </p:tgtEl>
                                            <p:attrNameLst>
                                              <p:attrName>style.visibility</p:attrName>
                                            </p:attrNameLst>
                                          </p:cBhvr>
                                          <p:to>
                                            <p:strVal val="visible"/>
                                          </p:to>
                                        </p:set>
                                        <p:animEffect transition="in" filter="wipe(left)">
                                          <p:cBhvr>
                                            <p:cTn id="211" dur="500"/>
                                            <p:tgtEl>
                                              <p:spTgt spid="49"/>
                                            </p:tgtEl>
                                          </p:cBhvr>
                                        </p:animEffect>
                                      </p:childTnLst>
                                    </p:cTn>
                                  </p:par>
                                </p:childTnLst>
                              </p:cTn>
                            </p:par>
                            <p:par>
                              <p:cTn id="212" fill="hold">
                                <p:stCondLst>
                                  <p:cond delay="17000"/>
                                </p:stCondLst>
                                <p:childTnLst>
                                  <p:par>
                                    <p:cTn id="213" presetID="22" presetClass="entr" presetSubtype="1" fill="hold" grpId="0" nodeType="afterEffect">
                                      <p:stCondLst>
                                        <p:cond delay="0"/>
                                      </p:stCondLst>
                                      <p:childTnLst>
                                        <p:set>
                                          <p:cBhvr>
                                            <p:cTn id="214" dur="1" fill="hold">
                                              <p:stCondLst>
                                                <p:cond delay="0"/>
                                              </p:stCondLst>
                                            </p:cTn>
                                            <p:tgtEl>
                                              <p:spTgt spid="17"/>
                                            </p:tgtEl>
                                            <p:attrNameLst>
                                              <p:attrName>style.visibility</p:attrName>
                                            </p:attrNameLst>
                                          </p:cBhvr>
                                          <p:to>
                                            <p:strVal val="visible"/>
                                          </p:to>
                                        </p:set>
                                        <p:animEffect transition="in" filter="wipe(up)">
                                          <p:cBhvr>
                                            <p:cTn id="215" dur="500"/>
                                            <p:tgtEl>
                                              <p:spTgt spid="17"/>
                                            </p:tgtEl>
                                          </p:cBhvr>
                                        </p:animEffect>
                                      </p:childTnLst>
                                    </p:cTn>
                                  </p:par>
                                </p:childTnLst>
                              </p:cTn>
                            </p:par>
                            <p:par>
                              <p:cTn id="216" fill="hold">
                                <p:stCondLst>
                                  <p:cond delay="17500"/>
                                </p:stCondLst>
                                <p:childTnLst>
                                  <p:par>
                                    <p:cTn id="217" presetID="10" presetClass="entr" presetSubtype="0" fill="hold" grpId="0" nodeType="afterEffect">
                                      <p:stCondLst>
                                        <p:cond delay="0"/>
                                      </p:stCondLst>
                                      <p:childTnLst>
                                        <p:set>
                                          <p:cBhvr>
                                            <p:cTn id="218" dur="1" fill="hold">
                                              <p:stCondLst>
                                                <p:cond delay="0"/>
                                              </p:stCondLst>
                                            </p:cTn>
                                            <p:tgtEl>
                                              <p:spTgt spid="18"/>
                                            </p:tgtEl>
                                            <p:attrNameLst>
                                              <p:attrName>style.visibility</p:attrName>
                                            </p:attrNameLst>
                                          </p:cBhvr>
                                          <p:to>
                                            <p:strVal val="visible"/>
                                          </p:to>
                                        </p:set>
                                        <p:animEffect transition="in" filter="fade">
                                          <p:cBhvr>
                                            <p:cTn id="219" dur="500"/>
                                            <p:tgtEl>
                                              <p:spTgt spid="18"/>
                                            </p:tgtEl>
                                          </p:cBhvr>
                                        </p:animEffect>
                                      </p:childTnLst>
                                    </p:cTn>
                                  </p:par>
                                </p:childTnLst>
                              </p:cTn>
                            </p:par>
                            <p:par>
                              <p:cTn id="220" fill="hold">
                                <p:stCondLst>
                                  <p:cond delay="18000"/>
                                </p:stCondLst>
                                <p:childTnLst>
                                  <p:par>
                                    <p:cTn id="221" presetID="22" presetClass="entr" presetSubtype="1" fill="hold" nodeType="afterEffect">
                                      <p:stCondLst>
                                        <p:cond delay="0"/>
                                      </p:stCondLst>
                                      <p:childTnLst>
                                        <p:set>
                                          <p:cBhvr>
                                            <p:cTn id="222" dur="1" fill="hold">
                                              <p:stCondLst>
                                                <p:cond delay="0"/>
                                              </p:stCondLst>
                                            </p:cTn>
                                            <p:tgtEl>
                                              <p:spTgt spid="19"/>
                                            </p:tgtEl>
                                            <p:attrNameLst>
                                              <p:attrName>style.visibility</p:attrName>
                                            </p:attrNameLst>
                                          </p:cBhvr>
                                          <p:to>
                                            <p:strVal val="visible"/>
                                          </p:to>
                                        </p:set>
                                        <p:animEffect transition="in" filter="wipe(up)">
                                          <p:cBhvr>
                                            <p:cTn id="223" dur="500"/>
                                            <p:tgtEl>
                                              <p:spTgt spid="19"/>
                                            </p:tgtEl>
                                          </p:cBhvr>
                                        </p:animEffect>
                                      </p:childTnLst>
                                    </p:cTn>
                                  </p:par>
                                </p:childTnLst>
                              </p:cTn>
                            </p:par>
                            <p:par>
                              <p:cTn id="224" fill="hold">
                                <p:stCondLst>
                                  <p:cond delay="18500"/>
                                </p:stCondLst>
                                <p:childTnLst>
                                  <p:par>
                                    <p:cTn id="225" presetID="10" presetClass="entr" presetSubtype="0" fill="hold" grpId="0" nodeType="afterEffect">
                                      <p:stCondLst>
                                        <p:cond delay="0"/>
                                      </p:stCondLst>
                                      <p:childTnLst>
                                        <p:set>
                                          <p:cBhvr>
                                            <p:cTn id="226" dur="1" fill="hold">
                                              <p:stCondLst>
                                                <p:cond delay="0"/>
                                              </p:stCondLst>
                                            </p:cTn>
                                            <p:tgtEl>
                                              <p:spTgt spid="50"/>
                                            </p:tgtEl>
                                            <p:attrNameLst>
                                              <p:attrName>style.visibility</p:attrName>
                                            </p:attrNameLst>
                                          </p:cBhvr>
                                          <p:to>
                                            <p:strVal val="visible"/>
                                          </p:to>
                                        </p:set>
                                        <p:animEffect transition="in" filter="fade">
                                          <p:cBhvr>
                                            <p:cTn id="227" dur="500"/>
                                            <p:tgtEl>
                                              <p:spTgt spid="50"/>
                                            </p:tgtEl>
                                          </p:cBhvr>
                                        </p:animEffect>
                                      </p:childTnLst>
                                    </p:cTn>
                                  </p:par>
                                  <p:par>
                                    <p:cTn id="228" presetID="10" presetClass="entr" presetSubtype="0" fill="hold" grpId="0" nodeType="withEffect">
                                      <p:stCondLst>
                                        <p:cond delay="0"/>
                                      </p:stCondLst>
                                      <p:childTnLst>
                                        <p:set>
                                          <p:cBhvr>
                                            <p:cTn id="229" dur="1" fill="hold">
                                              <p:stCondLst>
                                                <p:cond delay="0"/>
                                              </p:stCondLst>
                                            </p:cTn>
                                            <p:tgtEl>
                                              <p:spTgt spid="51"/>
                                            </p:tgtEl>
                                            <p:attrNameLst>
                                              <p:attrName>style.visibility</p:attrName>
                                            </p:attrNameLst>
                                          </p:cBhvr>
                                          <p:to>
                                            <p:strVal val="visible"/>
                                          </p:to>
                                        </p:set>
                                        <p:animEffect transition="in" filter="fade">
                                          <p:cBhvr>
                                            <p:cTn id="230" dur="500"/>
                                            <p:tgtEl>
                                              <p:spTgt spid="51"/>
                                            </p:tgtEl>
                                          </p:cBhvr>
                                        </p:animEffect>
                                      </p:childTnLst>
                                    </p:cTn>
                                  </p:par>
                                  <p:par>
                                    <p:cTn id="231" presetID="10" presetClass="entr" presetSubtype="0" fill="hold" grpId="0" nodeType="withEffect">
                                      <p:stCondLst>
                                        <p:cond delay="0"/>
                                      </p:stCondLst>
                                      <p:childTnLst>
                                        <p:set>
                                          <p:cBhvr>
                                            <p:cTn id="232" dur="1" fill="hold">
                                              <p:stCondLst>
                                                <p:cond delay="0"/>
                                              </p:stCondLst>
                                            </p:cTn>
                                            <p:tgtEl>
                                              <p:spTgt spid="52"/>
                                            </p:tgtEl>
                                            <p:attrNameLst>
                                              <p:attrName>style.visibility</p:attrName>
                                            </p:attrNameLst>
                                          </p:cBhvr>
                                          <p:to>
                                            <p:strVal val="visible"/>
                                          </p:to>
                                        </p:set>
                                        <p:animEffect transition="in" filter="fade">
                                          <p:cBhvr>
                                            <p:cTn id="233" dur="500"/>
                                            <p:tgtEl>
                                              <p:spTgt spid="52"/>
                                            </p:tgtEl>
                                          </p:cBhvr>
                                        </p:animEffect>
                                      </p:childTnLst>
                                    </p:cTn>
                                  </p:par>
                                </p:childTnLst>
                              </p:cTn>
                            </p:par>
                            <p:par>
                              <p:cTn id="234" fill="hold">
                                <p:stCondLst>
                                  <p:cond delay="19000"/>
                                </p:stCondLst>
                                <p:childTnLst>
                                  <p:par>
                                    <p:cTn id="235" presetID="22" presetClass="entr" presetSubtype="8" fill="hold" nodeType="afterEffect">
                                      <p:stCondLst>
                                        <p:cond delay="0"/>
                                      </p:stCondLst>
                                      <p:childTnLst>
                                        <p:set>
                                          <p:cBhvr>
                                            <p:cTn id="236" dur="1" fill="hold">
                                              <p:stCondLst>
                                                <p:cond delay="0"/>
                                              </p:stCondLst>
                                            </p:cTn>
                                            <p:tgtEl>
                                              <p:spTgt spid="53"/>
                                            </p:tgtEl>
                                            <p:attrNameLst>
                                              <p:attrName>style.visibility</p:attrName>
                                            </p:attrNameLst>
                                          </p:cBhvr>
                                          <p:to>
                                            <p:strVal val="visible"/>
                                          </p:to>
                                        </p:set>
                                        <p:animEffect transition="in" filter="wipe(left)">
                                          <p:cBhvr>
                                            <p:cTn id="237" dur="500"/>
                                            <p:tgtEl>
                                              <p:spTgt spid="53"/>
                                            </p:tgtEl>
                                          </p:cBhvr>
                                        </p:animEffect>
                                      </p:childTnLst>
                                    </p:cTn>
                                  </p:par>
                                  <p:par>
                                    <p:cTn id="238" presetID="22" presetClass="entr" presetSubtype="8" fill="hold" nodeType="withEffect">
                                      <p:stCondLst>
                                        <p:cond delay="0"/>
                                      </p:stCondLst>
                                      <p:childTnLst>
                                        <p:set>
                                          <p:cBhvr>
                                            <p:cTn id="239" dur="1" fill="hold">
                                              <p:stCondLst>
                                                <p:cond delay="0"/>
                                              </p:stCondLst>
                                            </p:cTn>
                                            <p:tgtEl>
                                              <p:spTgt spid="54"/>
                                            </p:tgtEl>
                                            <p:attrNameLst>
                                              <p:attrName>style.visibility</p:attrName>
                                            </p:attrNameLst>
                                          </p:cBhvr>
                                          <p:to>
                                            <p:strVal val="visible"/>
                                          </p:to>
                                        </p:set>
                                        <p:animEffect transition="in" filter="wipe(left)">
                                          <p:cBhvr>
                                            <p:cTn id="240" dur="500"/>
                                            <p:tgtEl>
                                              <p:spTgt spid="54"/>
                                            </p:tgtEl>
                                          </p:cBhvr>
                                        </p:animEffect>
                                      </p:childTnLst>
                                    </p:cTn>
                                  </p:par>
                                  <p:par>
                                    <p:cTn id="241" presetID="22" presetClass="entr" presetSubtype="8" fill="hold" nodeType="withEffect">
                                      <p:stCondLst>
                                        <p:cond delay="0"/>
                                      </p:stCondLst>
                                      <p:childTnLst>
                                        <p:set>
                                          <p:cBhvr>
                                            <p:cTn id="242" dur="1" fill="hold">
                                              <p:stCondLst>
                                                <p:cond delay="0"/>
                                              </p:stCondLst>
                                            </p:cTn>
                                            <p:tgtEl>
                                              <p:spTgt spid="55"/>
                                            </p:tgtEl>
                                            <p:attrNameLst>
                                              <p:attrName>style.visibility</p:attrName>
                                            </p:attrNameLst>
                                          </p:cBhvr>
                                          <p:to>
                                            <p:strVal val="visible"/>
                                          </p:to>
                                        </p:set>
                                        <p:animEffect transition="in" filter="wipe(left)">
                                          <p:cBhvr>
                                            <p:cTn id="243" dur="500"/>
                                            <p:tgtEl>
                                              <p:spTgt spid="5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3" grpId="0" animBg="1"/>
          <p:bldP spid="4" grpId="0" animBg="1"/>
          <p:bldP spid="5" grpId="0" animBg="1"/>
          <p:bldP spid="6" grpId="0" animBg="1"/>
          <p:bldP spid="7" grpId="0" animBg="1"/>
          <p:bldP spid="8" grpId="0" animBg="1"/>
          <p:bldP spid="9" grpId="0" animBg="1"/>
          <p:bldP spid="10" grpId="0" animBg="1"/>
          <p:bldP spid="11" grpId="0" animBg="1"/>
          <p:bldP spid="12" grpId="0"/>
          <p:bldP spid="14" grpId="0" animBg="1"/>
          <p:bldP spid="15" grpId="0"/>
          <p:bldP spid="17" grpId="0" animBg="1"/>
          <p:bldP spid="18" grpId="0"/>
          <p:bldP spid="20" grpId="0" animBg="1"/>
          <p:bldP spid="21" grpId="0"/>
          <p:bldP spid="23" grpId="0" animBg="1"/>
          <p:bldP spid="24" grpId="0"/>
          <p:bldP spid="26" grpId="0"/>
          <p:bldP spid="27" grpId="0"/>
          <p:bldP spid="28" grpId="0"/>
          <p:bldP spid="32" grpId="0"/>
          <p:bldP spid="33" grpId="0"/>
          <p:bldP spid="34" grpId="0"/>
          <p:bldP spid="38" grpId="0"/>
          <p:bldP spid="39" grpId="0"/>
          <p:bldP spid="40" grpId="0"/>
          <p:bldP spid="44" grpId="0"/>
          <p:bldP spid="45" grpId="0"/>
          <p:bldP spid="46" grpId="0"/>
          <p:bldP spid="50" grpId="0"/>
          <p:bldP spid="51" grpId="0"/>
          <p:bldP spid="52" grpId="0"/>
          <p:bldP spid="56" grpId="0" animBg="1"/>
          <p:bldP spid="57" grpId="0" animBg="1"/>
          <p:bldP spid="58" grpId="0" animBg="1"/>
          <p:bldP spid="59" grpId="0" animBg="1"/>
          <p:bldP spid="60" grpId="0" animBg="1"/>
        </p:bldLst>
      </p:timing>
    </mc:Fallback>
  </mc:AlternateContent>
</p:sld>
</file>

<file path=ppt/slides/slide7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ight Arrow 2">
            <a:extLst>
              <a:ext uri="{FF2B5EF4-FFF2-40B4-BE49-F238E27FC236}">
                <a16:creationId xmlns:a16="http://schemas.microsoft.com/office/drawing/2014/main" id="{32B139BF-31D1-4597-96E7-BEF9AAADB1B9}"/>
              </a:ext>
            </a:extLst>
          </p:cNvPr>
          <p:cNvSpPr/>
          <p:nvPr/>
        </p:nvSpPr>
        <p:spPr>
          <a:xfrm>
            <a:off x="484183" y="3429000"/>
            <a:ext cx="10515600" cy="537029"/>
          </a:xfrm>
          <a:prstGeom prst="rightArrow">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cs typeface="+mn-ea"/>
              <a:sym typeface="+mn-lt"/>
            </a:endParaRPr>
          </a:p>
        </p:txBody>
      </p:sp>
      <p:cxnSp>
        <p:nvCxnSpPr>
          <p:cNvPr id="3" name="Straight Arrow Connector 6">
            <a:extLst>
              <a:ext uri="{FF2B5EF4-FFF2-40B4-BE49-F238E27FC236}">
                <a16:creationId xmlns:a16="http://schemas.microsoft.com/office/drawing/2014/main" id="{C91DAE7A-B29E-49B9-80FA-88967DEBEDD7}"/>
              </a:ext>
            </a:extLst>
          </p:cNvPr>
          <p:cNvCxnSpPr/>
          <p:nvPr/>
        </p:nvCxnSpPr>
        <p:spPr>
          <a:xfrm>
            <a:off x="2708498" y="1233714"/>
            <a:ext cx="696686" cy="2195286"/>
          </a:xfrm>
          <a:prstGeom prst="straightConnector1">
            <a:avLst/>
          </a:prstGeom>
          <a:ln w="25400">
            <a:solidFill>
              <a:schemeClr val="accent1">
                <a:lumMod val="100000"/>
              </a:schemeClr>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4" name="Parallelogram 7">
            <a:extLst>
              <a:ext uri="{FF2B5EF4-FFF2-40B4-BE49-F238E27FC236}">
                <a16:creationId xmlns:a16="http://schemas.microsoft.com/office/drawing/2014/main" id="{E939B74D-E797-483C-976D-71FE15CED704}"/>
              </a:ext>
            </a:extLst>
          </p:cNvPr>
          <p:cNvSpPr/>
          <p:nvPr/>
        </p:nvSpPr>
        <p:spPr>
          <a:xfrm flipV="1">
            <a:off x="484183" y="1233714"/>
            <a:ext cx="2224315" cy="493486"/>
          </a:xfrm>
          <a:prstGeom prst="parallelogram">
            <a:avLst>
              <a:gd name="adj" fmla="val 30883"/>
            </a:avLst>
          </a:prstGeom>
          <a:solidFill>
            <a:schemeClr val="accent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cs typeface="+mn-ea"/>
              <a:sym typeface="+mn-lt"/>
            </a:endParaRPr>
          </a:p>
        </p:txBody>
      </p:sp>
      <p:sp>
        <p:nvSpPr>
          <p:cNvPr id="5" name="TextBox 28">
            <a:extLst>
              <a:ext uri="{FF2B5EF4-FFF2-40B4-BE49-F238E27FC236}">
                <a16:creationId xmlns:a16="http://schemas.microsoft.com/office/drawing/2014/main" id="{74657261-3423-42D7-AE78-3D53976D1F10}"/>
              </a:ext>
            </a:extLst>
          </p:cNvPr>
          <p:cNvSpPr txBox="1"/>
          <p:nvPr/>
        </p:nvSpPr>
        <p:spPr>
          <a:xfrm>
            <a:off x="817922" y="1274412"/>
            <a:ext cx="1556836"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Arial"/>
                <a:cs typeface="+mn-ea"/>
                <a:sym typeface="+mn-lt"/>
              </a:rPr>
              <a:t>Surroundings</a:t>
            </a:r>
          </a:p>
        </p:txBody>
      </p:sp>
      <p:cxnSp>
        <p:nvCxnSpPr>
          <p:cNvPr id="6" name="Straight Arrow Connector 23">
            <a:extLst>
              <a:ext uri="{FF2B5EF4-FFF2-40B4-BE49-F238E27FC236}">
                <a16:creationId xmlns:a16="http://schemas.microsoft.com/office/drawing/2014/main" id="{98E7FE97-7C10-48F2-A0C9-B415FCC1EF1E}"/>
              </a:ext>
            </a:extLst>
          </p:cNvPr>
          <p:cNvCxnSpPr/>
          <p:nvPr/>
        </p:nvCxnSpPr>
        <p:spPr>
          <a:xfrm>
            <a:off x="2127927" y="2105687"/>
            <a:ext cx="693056" cy="0"/>
          </a:xfrm>
          <a:prstGeom prst="straightConnector1">
            <a:avLst/>
          </a:prstGeom>
          <a:ln w="25400">
            <a:solidFill>
              <a:schemeClr val="accent1">
                <a:lumMod val="100000"/>
              </a:schemeClr>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7" name="TextBox 31">
            <a:extLst>
              <a:ext uri="{FF2B5EF4-FFF2-40B4-BE49-F238E27FC236}">
                <a16:creationId xmlns:a16="http://schemas.microsoft.com/office/drawing/2014/main" id="{30E0C346-508B-437A-8613-264D80264236}"/>
              </a:ext>
            </a:extLst>
          </p:cNvPr>
          <p:cNvSpPr txBox="1"/>
          <p:nvPr/>
        </p:nvSpPr>
        <p:spPr>
          <a:xfrm>
            <a:off x="476928" y="1967187"/>
            <a:ext cx="1712094"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cs typeface="+mn-ea"/>
                <a:sym typeface="+mn-lt"/>
              </a:rPr>
              <a:t>Place your text here</a:t>
            </a:r>
          </a:p>
        </p:txBody>
      </p:sp>
      <p:cxnSp>
        <p:nvCxnSpPr>
          <p:cNvPr id="8" name="Straight Arrow Connector 33">
            <a:extLst>
              <a:ext uri="{FF2B5EF4-FFF2-40B4-BE49-F238E27FC236}">
                <a16:creationId xmlns:a16="http://schemas.microsoft.com/office/drawing/2014/main" id="{03D590E5-AD72-45BB-9903-8CB6348A580C}"/>
              </a:ext>
            </a:extLst>
          </p:cNvPr>
          <p:cNvCxnSpPr/>
          <p:nvPr/>
        </p:nvCxnSpPr>
        <p:spPr>
          <a:xfrm>
            <a:off x="2222267" y="2547843"/>
            <a:ext cx="693056" cy="0"/>
          </a:xfrm>
          <a:prstGeom prst="straightConnector1">
            <a:avLst/>
          </a:prstGeom>
          <a:ln w="25400">
            <a:solidFill>
              <a:schemeClr val="accent1">
                <a:lumMod val="100000"/>
              </a:schemeClr>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9" name="TextBox 34">
            <a:extLst>
              <a:ext uri="{FF2B5EF4-FFF2-40B4-BE49-F238E27FC236}">
                <a16:creationId xmlns:a16="http://schemas.microsoft.com/office/drawing/2014/main" id="{B4256B2D-76B9-4250-A997-97A114C6EF4C}"/>
              </a:ext>
            </a:extLst>
          </p:cNvPr>
          <p:cNvSpPr txBox="1"/>
          <p:nvPr/>
        </p:nvSpPr>
        <p:spPr>
          <a:xfrm>
            <a:off x="571268" y="2409343"/>
            <a:ext cx="1712094"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cs typeface="+mn-ea"/>
                <a:sym typeface="+mn-lt"/>
              </a:rPr>
              <a:t>Place your text here</a:t>
            </a:r>
          </a:p>
        </p:txBody>
      </p:sp>
      <p:cxnSp>
        <p:nvCxnSpPr>
          <p:cNvPr id="10" name="Straight Arrow Connector 35">
            <a:extLst>
              <a:ext uri="{FF2B5EF4-FFF2-40B4-BE49-F238E27FC236}">
                <a16:creationId xmlns:a16="http://schemas.microsoft.com/office/drawing/2014/main" id="{B03F0A01-5CD3-4331-8A23-73FEBF9CB740}"/>
              </a:ext>
            </a:extLst>
          </p:cNvPr>
          <p:cNvCxnSpPr/>
          <p:nvPr/>
        </p:nvCxnSpPr>
        <p:spPr>
          <a:xfrm>
            <a:off x="2371720" y="3013162"/>
            <a:ext cx="693056" cy="0"/>
          </a:xfrm>
          <a:prstGeom prst="straightConnector1">
            <a:avLst/>
          </a:prstGeom>
          <a:ln w="25400">
            <a:solidFill>
              <a:schemeClr val="accent1">
                <a:lumMod val="100000"/>
              </a:schemeClr>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11" name="TextBox 36">
            <a:extLst>
              <a:ext uri="{FF2B5EF4-FFF2-40B4-BE49-F238E27FC236}">
                <a16:creationId xmlns:a16="http://schemas.microsoft.com/office/drawing/2014/main" id="{A14403E5-8DD3-4C9F-8A72-39EB4D0B0FA6}"/>
              </a:ext>
            </a:extLst>
          </p:cNvPr>
          <p:cNvSpPr txBox="1"/>
          <p:nvPr/>
        </p:nvSpPr>
        <p:spPr>
          <a:xfrm>
            <a:off x="720721" y="2874662"/>
            <a:ext cx="1712094"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cs typeface="+mn-ea"/>
                <a:sym typeface="+mn-lt"/>
              </a:rPr>
              <a:t>Place your text here</a:t>
            </a:r>
          </a:p>
        </p:txBody>
      </p:sp>
      <p:cxnSp>
        <p:nvCxnSpPr>
          <p:cNvPr id="12" name="Straight Arrow Connector 14">
            <a:extLst>
              <a:ext uri="{FF2B5EF4-FFF2-40B4-BE49-F238E27FC236}">
                <a16:creationId xmlns:a16="http://schemas.microsoft.com/office/drawing/2014/main" id="{8E76F502-9341-41E6-A69C-536B795A1D23}"/>
              </a:ext>
            </a:extLst>
          </p:cNvPr>
          <p:cNvCxnSpPr/>
          <p:nvPr/>
        </p:nvCxnSpPr>
        <p:spPr>
          <a:xfrm>
            <a:off x="6808331" y="1261240"/>
            <a:ext cx="696686" cy="2195286"/>
          </a:xfrm>
          <a:prstGeom prst="straightConnector1">
            <a:avLst/>
          </a:prstGeom>
          <a:ln w="25400">
            <a:solidFill>
              <a:schemeClr val="accent1">
                <a:lumMod val="100000"/>
              </a:schemeClr>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13" name="Parallelogram 15">
            <a:extLst>
              <a:ext uri="{FF2B5EF4-FFF2-40B4-BE49-F238E27FC236}">
                <a16:creationId xmlns:a16="http://schemas.microsoft.com/office/drawing/2014/main" id="{C1023F26-28F5-4EC0-8EFB-56A8691E1746}"/>
              </a:ext>
            </a:extLst>
          </p:cNvPr>
          <p:cNvSpPr/>
          <p:nvPr/>
        </p:nvSpPr>
        <p:spPr>
          <a:xfrm flipV="1">
            <a:off x="4584016" y="1261240"/>
            <a:ext cx="2224315" cy="493486"/>
          </a:xfrm>
          <a:prstGeom prst="parallelogram">
            <a:avLst>
              <a:gd name="adj" fmla="val 27941"/>
            </a:avLst>
          </a:prstGeom>
          <a:solidFill>
            <a:schemeClr val="accent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cs typeface="+mn-ea"/>
              <a:sym typeface="+mn-lt"/>
            </a:endParaRPr>
          </a:p>
        </p:txBody>
      </p:sp>
      <p:sp>
        <p:nvSpPr>
          <p:cNvPr id="14" name="TextBox 30">
            <a:extLst>
              <a:ext uri="{FF2B5EF4-FFF2-40B4-BE49-F238E27FC236}">
                <a16:creationId xmlns:a16="http://schemas.microsoft.com/office/drawing/2014/main" id="{74999B92-0CEC-44E4-9766-B3698100B415}"/>
              </a:ext>
            </a:extLst>
          </p:cNvPr>
          <p:cNvSpPr txBox="1"/>
          <p:nvPr/>
        </p:nvSpPr>
        <p:spPr>
          <a:xfrm>
            <a:off x="5122939" y="1323317"/>
            <a:ext cx="1146468"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Arial"/>
                <a:cs typeface="+mn-ea"/>
                <a:sym typeface="+mn-lt"/>
              </a:rPr>
              <a:t>Suppliers</a:t>
            </a:r>
          </a:p>
        </p:txBody>
      </p:sp>
      <p:cxnSp>
        <p:nvCxnSpPr>
          <p:cNvPr id="15" name="Straight Arrow Connector 37">
            <a:extLst>
              <a:ext uri="{FF2B5EF4-FFF2-40B4-BE49-F238E27FC236}">
                <a16:creationId xmlns:a16="http://schemas.microsoft.com/office/drawing/2014/main" id="{3DE6A225-2420-4315-80C9-9F9DBE39BDC6}"/>
              </a:ext>
            </a:extLst>
          </p:cNvPr>
          <p:cNvCxnSpPr/>
          <p:nvPr/>
        </p:nvCxnSpPr>
        <p:spPr>
          <a:xfrm>
            <a:off x="6235015" y="2133213"/>
            <a:ext cx="693056" cy="0"/>
          </a:xfrm>
          <a:prstGeom prst="straightConnector1">
            <a:avLst/>
          </a:prstGeom>
          <a:ln w="22225">
            <a:solidFill>
              <a:schemeClr val="accent1">
                <a:lumMod val="100000"/>
              </a:schemeClr>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16" name="TextBox 38">
            <a:extLst>
              <a:ext uri="{FF2B5EF4-FFF2-40B4-BE49-F238E27FC236}">
                <a16:creationId xmlns:a16="http://schemas.microsoft.com/office/drawing/2014/main" id="{B28935C6-8DCD-4F22-A6EF-F426135B11F8}"/>
              </a:ext>
            </a:extLst>
          </p:cNvPr>
          <p:cNvSpPr txBox="1"/>
          <p:nvPr/>
        </p:nvSpPr>
        <p:spPr>
          <a:xfrm>
            <a:off x="4584016" y="1994713"/>
            <a:ext cx="1712094"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cs typeface="+mn-ea"/>
                <a:sym typeface="+mn-lt"/>
              </a:rPr>
              <a:t>Place your text here</a:t>
            </a:r>
          </a:p>
        </p:txBody>
      </p:sp>
      <p:cxnSp>
        <p:nvCxnSpPr>
          <p:cNvPr id="17" name="Straight Arrow Connector 39">
            <a:extLst>
              <a:ext uri="{FF2B5EF4-FFF2-40B4-BE49-F238E27FC236}">
                <a16:creationId xmlns:a16="http://schemas.microsoft.com/office/drawing/2014/main" id="{BC5526FD-A69D-4A5A-859C-2F778C6521EA}"/>
              </a:ext>
            </a:extLst>
          </p:cNvPr>
          <p:cNvCxnSpPr/>
          <p:nvPr/>
        </p:nvCxnSpPr>
        <p:spPr>
          <a:xfrm>
            <a:off x="6336321" y="2514989"/>
            <a:ext cx="693056" cy="0"/>
          </a:xfrm>
          <a:prstGeom prst="straightConnector1">
            <a:avLst/>
          </a:prstGeom>
          <a:ln w="22225">
            <a:solidFill>
              <a:schemeClr val="accent1">
                <a:lumMod val="100000"/>
              </a:schemeClr>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18" name="TextBox 40">
            <a:extLst>
              <a:ext uri="{FF2B5EF4-FFF2-40B4-BE49-F238E27FC236}">
                <a16:creationId xmlns:a16="http://schemas.microsoft.com/office/drawing/2014/main" id="{12C27F3C-22DA-44CF-A4E2-CF25600DA8E2}"/>
              </a:ext>
            </a:extLst>
          </p:cNvPr>
          <p:cNvSpPr txBox="1"/>
          <p:nvPr/>
        </p:nvSpPr>
        <p:spPr>
          <a:xfrm>
            <a:off x="4685322" y="2376489"/>
            <a:ext cx="1712094"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cs typeface="+mn-ea"/>
                <a:sym typeface="+mn-lt"/>
              </a:rPr>
              <a:t>Place your text here</a:t>
            </a:r>
          </a:p>
        </p:txBody>
      </p:sp>
      <p:cxnSp>
        <p:nvCxnSpPr>
          <p:cNvPr id="19" name="Straight Arrow Connector 41">
            <a:extLst>
              <a:ext uri="{FF2B5EF4-FFF2-40B4-BE49-F238E27FC236}">
                <a16:creationId xmlns:a16="http://schemas.microsoft.com/office/drawing/2014/main" id="{EA681D29-A832-43C5-8412-0EFAF62D841E}"/>
              </a:ext>
            </a:extLst>
          </p:cNvPr>
          <p:cNvCxnSpPr/>
          <p:nvPr/>
        </p:nvCxnSpPr>
        <p:spPr>
          <a:xfrm>
            <a:off x="6462098" y="2873500"/>
            <a:ext cx="693056" cy="0"/>
          </a:xfrm>
          <a:prstGeom prst="straightConnector1">
            <a:avLst/>
          </a:prstGeom>
          <a:ln w="22225">
            <a:solidFill>
              <a:schemeClr val="accent1">
                <a:lumMod val="100000"/>
              </a:schemeClr>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20" name="TextBox 42">
            <a:extLst>
              <a:ext uri="{FF2B5EF4-FFF2-40B4-BE49-F238E27FC236}">
                <a16:creationId xmlns:a16="http://schemas.microsoft.com/office/drawing/2014/main" id="{97FB7DA2-6CFF-4393-B396-8920F6C508AA}"/>
              </a:ext>
            </a:extLst>
          </p:cNvPr>
          <p:cNvSpPr txBox="1"/>
          <p:nvPr/>
        </p:nvSpPr>
        <p:spPr>
          <a:xfrm>
            <a:off x="4811099" y="2735000"/>
            <a:ext cx="1712094"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cs typeface="+mn-ea"/>
                <a:sym typeface="+mn-lt"/>
              </a:rPr>
              <a:t>Place your text here</a:t>
            </a:r>
          </a:p>
        </p:txBody>
      </p:sp>
      <p:cxnSp>
        <p:nvCxnSpPr>
          <p:cNvPr id="21" name="Straight Arrow Connector 43">
            <a:extLst>
              <a:ext uri="{FF2B5EF4-FFF2-40B4-BE49-F238E27FC236}">
                <a16:creationId xmlns:a16="http://schemas.microsoft.com/office/drawing/2014/main" id="{166EC2AA-8121-4B4A-8C3B-89458E3B94C5}"/>
              </a:ext>
            </a:extLst>
          </p:cNvPr>
          <p:cNvCxnSpPr/>
          <p:nvPr/>
        </p:nvCxnSpPr>
        <p:spPr>
          <a:xfrm>
            <a:off x="6587372" y="3208898"/>
            <a:ext cx="693056" cy="0"/>
          </a:xfrm>
          <a:prstGeom prst="straightConnector1">
            <a:avLst/>
          </a:prstGeom>
          <a:ln w="22225">
            <a:solidFill>
              <a:schemeClr val="accent1">
                <a:lumMod val="100000"/>
              </a:schemeClr>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22" name="TextBox 44">
            <a:extLst>
              <a:ext uri="{FF2B5EF4-FFF2-40B4-BE49-F238E27FC236}">
                <a16:creationId xmlns:a16="http://schemas.microsoft.com/office/drawing/2014/main" id="{5C17CA6A-0400-46D5-9FBE-A52C813EF670}"/>
              </a:ext>
            </a:extLst>
          </p:cNvPr>
          <p:cNvSpPr txBox="1"/>
          <p:nvPr/>
        </p:nvSpPr>
        <p:spPr>
          <a:xfrm>
            <a:off x="4936373" y="3070398"/>
            <a:ext cx="1712094"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cs typeface="+mn-ea"/>
                <a:sym typeface="+mn-lt"/>
              </a:rPr>
              <a:t>Place your text here</a:t>
            </a:r>
          </a:p>
        </p:txBody>
      </p:sp>
      <p:cxnSp>
        <p:nvCxnSpPr>
          <p:cNvPr id="23" name="Straight Arrow Connector 16">
            <a:extLst>
              <a:ext uri="{FF2B5EF4-FFF2-40B4-BE49-F238E27FC236}">
                <a16:creationId xmlns:a16="http://schemas.microsoft.com/office/drawing/2014/main" id="{842CF13C-AA56-4284-8FA6-75F9B6FE4609}"/>
              </a:ext>
            </a:extLst>
          </p:cNvPr>
          <p:cNvCxnSpPr/>
          <p:nvPr/>
        </p:nvCxnSpPr>
        <p:spPr>
          <a:xfrm flipV="1">
            <a:off x="4598447" y="3966029"/>
            <a:ext cx="696686" cy="2195286"/>
          </a:xfrm>
          <a:prstGeom prst="straightConnector1">
            <a:avLst/>
          </a:prstGeom>
          <a:ln w="25400">
            <a:solidFill>
              <a:schemeClr val="accent1">
                <a:lumMod val="100000"/>
              </a:schemeClr>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24" name="Parallelogram 17">
            <a:extLst>
              <a:ext uri="{FF2B5EF4-FFF2-40B4-BE49-F238E27FC236}">
                <a16:creationId xmlns:a16="http://schemas.microsoft.com/office/drawing/2014/main" id="{44B9C45E-15DF-46A0-8635-D5ECCEDB9C03}"/>
              </a:ext>
            </a:extLst>
          </p:cNvPr>
          <p:cNvSpPr/>
          <p:nvPr/>
        </p:nvSpPr>
        <p:spPr>
          <a:xfrm>
            <a:off x="2388646" y="5622472"/>
            <a:ext cx="2224315" cy="493486"/>
          </a:xfrm>
          <a:prstGeom prst="parallelogram">
            <a:avLst>
              <a:gd name="adj" fmla="val 33824"/>
            </a:avLst>
          </a:prstGeom>
          <a:solidFill>
            <a:schemeClr val="accent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cs typeface="+mn-ea"/>
              <a:sym typeface="+mn-lt"/>
            </a:endParaRPr>
          </a:p>
        </p:txBody>
      </p:sp>
      <p:sp>
        <p:nvSpPr>
          <p:cNvPr id="25" name="TextBox 29">
            <a:extLst>
              <a:ext uri="{FF2B5EF4-FFF2-40B4-BE49-F238E27FC236}">
                <a16:creationId xmlns:a16="http://schemas.microsoft.com/office/drawing/2014/main" id="{6B1DE4FD-B870-484C-9AA6-D724FA5760CB}"/>
              </a:ext>
            </a:extLst>
          </p:cNvPr>
          <p:cNvSpPr txBox="1"/>
          <p:nvPr/>
        </p:nvSpPr>
        <p:spPr>
          <a:xfrm>
            <a:off x="2966041" y="5682346"/>
            <a:ext cx="1081065"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Arial"/>
                <a:cs typeface="+mn-ea"/>
                <a:sym typeface="+mn-lt"/>
              </a:rPr>
              <a:t>Systems</a:t>
            </a:r>
          </a:p>
        </p:txBody>
      </p:sp>
      <p:cxnSp>
        <p:nvCxnSpPr>
          <p:cNvPr id="26" name="Straight Arrow Connector 53">
            <a:extLst>
              <a:ext uri="{FF2B5EF4-FFF2-40B4-BE49-F238E27FC236}">
                <a16:creationId xmlns:a16="http://schemas.microsoft.com/office/drawing/2014/main" id="{A440869C-52BA-4296-BE00-B6301D3D06C9}"/>
              </a:ext>
            </a:extLst>
          </p:cNvPr>
          <p:cNvCxnSpPr/>
          <p:nvPr/>
        </p:nvCxnSpPr>
        <p:spPr>
          <a:xfrm>
            <a:off x="4017871" y="5186066"/>
            <a:ext cx="693056" cy="0"/>
          </a:xfrm>
          <a:prstGeom prst="straightConnector1">
            <a:avLst/>
          </a:prstGeom>
          <a:ln w="25400">
            <a:solidFill>
              <a:schemeClr val="accent1">
                <a:lumMod val="100000"/>
              </a:schemeClr>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27" name="TextBox 54">
            <a:extLst>
              <a:ext uri="{FF2B5EF4-FFF2-40B4-BE49-F238E27FC236}">
                <a16:creationId xmlns:a16="http://schemas.microsoft.com/office/drawing/2014/main" id="{B5E8D2C1-D96D-467A-9A03-DED019AB3B4F}"/>
              </a:ext>
            </a:extLst>
          </p:cNvPr>
          <p:cNvSpPr txBox="1"/>
          <p:nvPr/>
        </p:nvSpPr>
        <p:spPr>
          <a:xfrm>
            <a:off x="2366872" y="5047566"/>
            <a:ext cx="1712094"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cs typeface="+mn-ea"/>
                <a:sym typeface="+mn-lt"/>
              </a:rPr>
              <a:t>Place your text here</a:t>
            </a:r>
          </a:p>
        </p:txBody>
      </p:sp>
      <p:cxnSp>
        <p:nvCxnSpPr>
          <p:cNvPr id="28" name="Straight Arrow Connector 56">
            <a:extLst>
              <a:ext uri="{FF2B5EF4-FFF2-40B4-BE49-F238E27FC236}">
                <a16:creationId xmlns:a16="http://schemas.microsoft.com/office/drawing/2014/main" id="{9B6951EE-CB16-4777-8622-81E02A9695B5}"/>
              </a:ext>
            </a:extLst>
          </p:cNvPr>
          <p:cNvCxnSpPr/>
          <p:nvPr/>
        </p:nvCxnSpPr>
        <p:spPr>
          <a:xfrm>
            <a:off x="4119471" y="4690864"/>
            <a:ext cx="693056" cy="0"/>
          </a:xfrm>
          <a:prstGeom prst="straightConnector1">
            <a:avLst/>
          </a:prstGeom>
          <a:ln w="25400">
            <a:solidFill>
              <a:schemeClr val="accent1">
                <a:lumMod val="100000"/>
              </a:schemeClr>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29" name="TextBox 57">
            <a:extLst>
              <a:ext uri="{FF2B5EF4-FFF2-40B4-BE49-F238E27FC236}">
                <a16:creationId xmlns:a16="http://schemas.microsoft.com/office/drawing/2014/main" id="{712573C3-467C-4623-8E5A-08B03C98436D}"/>
              </a:ext>
            </a:extLst>
          </p:cNvPr>
          <p:cNvSpPr txBox="1"/>
          <p:nvPr/>
        </p:nvSpPr>
        <p:spPr>
          <a:xfrm>
            <a:off x="2468472" y="4552364"/>
            <a:ext cx="1712094"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cs typeface="+mn-ea"/>
                <a:sym typeface="+mn-lt"/>
              </a:rPr>
              <a:t>Place your text here</a:t>
            </a:r>
          </a:p>
        </p:txBody>
      </p:sp>
      <p:cxnSp>
        <p:nvCxnSpPr>
          <p:cNvPr id="30" name="Straight Arrow Connector 59">
            <a:extLst>
              <a:ext uri="{FF2B5EF4-FFF2-40B4-BE49-F238E27FC236}">
                <a16:creationId xmlns:a16="http://schemas.microsoft.com/office/drawing/2014/main" id="{9AAA119D-2EFF-47F8-B6A2-982975C0CEFA}"/>
              </a:ext>
            </a:extLst>
          </p:cNvPr>
          <p:cNvCxnSpPr/>
          <p:nvPr/>
        </p:nvCxnSpPr>
        <p:spPr>
          <a:xfrm>
            <a:off x="4292425" y="4243029"/>
            <a:ext cx="693056" cy="0"/>
          </a:xfrm>
          <a:prstGeom prst="straightConnector1">
            <a:avLst/>
          </a:prstGeom>
          <a:ln w="25400">
            <a:solidFill>
              <a:schemeClr val="accent1">
                <a:lumMod val="100000"/>
              </a:schemeClr>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31" name="TextBox 60">
            <a:extLst>
              <a:ext uri="{FF2B5EF4-FFF2-40B4-BE49-F238E27FC236}">
                <a16:creationId xmlns:a16="http://schemas.microsoft.com/office/drawing/2014/main" id="{3294FDFC-AE2E-401C-82E9-EF676590675B}"/>
              </a:ext>
            </a:extLst>
          </p:cNvPr>
          <p:cNvSpPr txBox="1"/>
          <p:nvPr/>
        </p:nvSpPr>
        <p:spPr>
          <a:xfrm>
            <a:off x="2641426" y="4104529"/>
            <a:ext cx="1712094"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cs typeface="+mn-ea"/>
                <a:sym typeface="+mn-lt"/>
              </a:rPr>
              <a:t>Place your text here</a:t>
            </a:r>
          </a:p>
        </p:txBody>
      </p:sp>
      <p:cxnSp>
        <p:nvCxnSpPr>
          <p:cNvPr id="32" name="Straight Arrow Connector 66">
            <a:extLst>
              <a:ext uri="{FF2B5EF4-FFF2-40B4-BE49-F238E27FC236}">
                <a16:creationId xmlns:a16="http://schemas.microsoft.com/office/drawing/2014/main" id="{3BFE9010-469D-4987-B5F4-95FE5B49E36F}"/>
              </a:ext>
            </a:extLst>
          </p:cNvPr>
          <p:cNvCxnSpPr/>
          <p:nvPr/>
        </p:nvCxnSpPr>
        <p:spPr>
          <a:xfrm flipH="1">
            <a:off x="5261408" y="5070583"/>
            <a:ext cx="1572686" cy="0"/>
          </a:xfrm>
          <a:prstGeom prst="straightConnector1">
            <a:avLst/>
          </a:prstGeom>
          <a:ln w="25400">
            <a:solidFill>
              <a:schemeClr val="accent1">
                <a:lumMod val="60000"/>
                <a:lumOff val="40000"/>
              </a:schemeClr>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72">
            <a:extLst>
              <a:ext uri="{FF2B5EF4-FFF2-40B4-BE49-F238E27FC236}">
                <a16:creationId xmlns:a16="http://schemas.microsoft.com/office/drawing/2014/main" id="{91D436FF-5621-4DD7-BDA7-A66D74E4EB38}"/>
              </a:ext>
            </a:extLst>
          </p:cNvPr>
          <p:cNvCxnSpPr/>
          <p:nvPr/>
        </p:nvCxnSpPr>
        <p:spPr>
          <a:xfrm flipH="1">
            <a:off x="5980922" y="4461320"/>
            <a:ext cx="853172" cy="465374"/>
          </a:xfrm>
          <a:prstGeom prst="straightConnector1">
            <a:avLst/>
          </a:prstGeom>
          <a:ln w="25400">
            <a:solidFill>
              <a:schemeClr val="accent1">
                <a:lumMod val="60000"/>
                <a:lumOff val="40000"/>
              </a:schemeClr>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34" name="Rectangle 76">
            <a:extLst>
              <a:ext uri="{FF2B5EF4-FFF2-40B4-BE49-F238E27FC236}">
                <a16:creationId xmlns:a16="http://schemas.microsoft.com/office/drawing/2014/main" id="{3E2575E2-B723-409E-9676-D4255DEF88F3}"/>
              </a:ext>
            </a:extLst>
          </p:cNvPr>
          <p:cNvSpPr/>
          <p:nvPr/>
        </p:nvSpPr>
        <p:spPr>
          <a:xfrm>
            <a:off x="6895911" y="4276731"/>
            <a:ext cx="2471059" cy="46166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Arial"/>
                <a:cs typeface="+mn-ea"/>
                <a:sym typeface="+mn-lt"/>
              </a:rPr>
              <a:t>Aliquam gravida </a:t>
            </a:r>
            <a:r>
              <a:rPr kumimoji="0" lang="en-US" sz="1200" b="0" i="0" u="none" strike="noStrike" kern="0" cap="none" spc="0" normalizeH="0" baseline="0" noProof="0" dirty="0" err="1">
                <a:ln>
                  <a:noFill/>
                </a:ln>
                <a:solidFill>
                  <a:srgbClr val="000000"/>
                </a:solidFill>
                <a:effectLst/>
                <a:uLnTx/>
                <a:uFillTx/>
                <a:latin typeface="Arial"/>
                <a:cs typeface="+mn-ea"/>
                <a:sym typeface="+mn-lt"/>
              </a:rPr>
              <a:t>eu</a:t>
            </a:r>
            <a:r>
              <a:rPr kumimoji="0" lang="en-US" sz="1200" b="0" i="0" u="none" strike="noStrike" kern="0" cap="none" spc="0" normalizeH="0" baseline="0" noProof="0" dirty="0">
                <a:ln>
                  <a:noFill/>
                </a:ln>
                <a:solidFill>
                  <a:srgbClr val="000000"/>
                </a:solidFill>
                <a:effectLst/>
                <a:uLnTx/>
                <a:uFillTx/>
                <a:latin typeface="Arial"/>
                <a:cs typeface="+mn-ea"/>
                <a:sym typeface="+mn-lt"/>
              </a:rPr>
              <a:t> </a:t>
            </a:r>
            <a:r>
              <a:rPr kumimoji="0" lang="en-US" sz="1200" b="0" i="0" u="none" strike="noStrike" kern="0" cap="none" spc="0" normalizeH="0" baseline="0" noProof="0" dirty="0" err="1">
                <a:ln>
                  <a:noFill/>
                </a:ln>
                <a:solidFill>
                  <a:srgbClr val="000000"/>
                </a:solidFill>
                <a:effectLst/>
                <a:uLnTx/>
                <a:uFillTx/>
                <a:latin typeface="Arial"/>
                <a:cs typeface="+mn-ea"/>
                <a:sym typeface="+mn-lt"/>
              </a:rPr>
              <a:t>enim</a:t>
            </a:r>
            <a:r>
              <a:rPr kumimoji="0" lang="en-US" sz="1200" b="0" i="0" u="none" strike="noStrike" kern="0" cap="none" spc="0" normalizeH="0" baseline="0" noProof="0" dirty="0">
                <a:ln>
                  <a:noFill/>
                </a:ln>
                <a:solidFill>
                  <a:srgbClr val="000000"/>
                </a:solidFill>
                <a:effectLst/>
                <a:uLnTx/>
                <a:uFillTx/>
                <a:latin typeface="Arial"/>
                <a:cs typeface="+mn-ea"/>
                <a:sym typeface="+mn-lt"/>
              </a:rPr>
              <a:t> </a:t>
            </a:r>
            <a:r>
              <a:rPr kumimoji="0" lang="en-US" sz="1200" b="0" i="0" u="none" strike="noStrike" kern="0" cap="none" spc="0" normalizeH="0" baseline="0" noProof="0" dirty="0" err="1">
                <a:ln>
                  <a:noFill/>
                </a:ln>
                <a:solidFill>
                  <a:srgbClr val="000000"/>
                </a:solidFill>
                <a:effectLst/>
                <a:uLnTx/>
                <a:uFillTx/>
                <a:latin typeface="Arial"/>
                <a:cs typeface="+mn-ea"/>
                <a:sym typeface="+mn-lt"/>
              </a:rPr>
              <a:t>ut</a:t>
            </a:r>
            <a:r>
              <a:rPr kumimoji="0" lang="en-US" sz="1200" b="0" i="0" u="none" strike="noStrike" kern="0" cap="none" spc="0" normalizeH="0" baseline="0" noProof="0" dirty="0">
                <a:ln>
                  <a:noFill/>
                </a:ln>
                <a:solidFill>
                  <a:srgbClr val="000000"/>
                </a:solidFill>
                <a:effectLst/>
                <a:uLnTx/>
                <a:uFillTx/>
                <a:latin typeface="Arial"/>
                <a:cs typeface="+mn-ea"/>
                <a:sym typeface="+mn-lt"/>
              </a:rPr>
              <a:t> </a:t>
            </a:r>
            <a:r>
              <a:rPr kumimoji="0" lang="en-US" sz="1200" b="0" i="0" u="none" strike="noStrike" kern="0" cap="none" spc="0" normalizeH="0" baseline="0" noProof="0" dirty="0" err="1">
                <a:ln>
                  <a:noFill/>
                </a:ln>
                <a:solidFill>
                  <a:srgbClr val="000000"/>
                </a:solidFill>
                <a:effectLst/>
                <a:uLnTx/>
                <a:uFillTx/>
                <a:latin typeface="Arial"/>
                <a:cs typeface="+mn-ea"/>
                <a:sym typeface="+mn-lt"/>
              </a:rPr>
              <a:t>molestie</a:t>
            </a:r>
            <a:r>
              <a:rPr kumimoji="0" lang="en-US" sz="1200" b="0" i="0" u="none" strike="noStrike" kern="0" cap="none" spc="0" normalizeH="0" baseline="0" noProof="0" dirty="0">
                <a:ln>
                  <a:noFill/>
                </a:ln>
                <a:solidFill>
                  <a:srgbClr val="000000"/>
                </a:solidFill>
                <a:effectLst/>
                <a:uLnTx/>
                <a:uFillTx/>
                <a:latin typeface="Arial"/>
                <a:cs typeface="+mn-ea"/>
                <a:sym typeface="+mn-lt"/>
              </a:rPr>
              <a:t>. Sed </a:t>
            </a:r>
            <a:r>
              <a:rPr kumimoji="0" lang="en-US" sz="1200" b="0" i="0" u="none" strike="noStrike" kern="0" cap="none" spc="0" normalizeH="0" baseline="0" noProof="0" dirty="0" err="1">
                <a:ln>
                  <a:noFill/>
                </a:ln>
                <a:solidFill>
                  <a:srgbClr val="000000"/>
                </a:solidFill>
                <a:effectLst/>
                <a:uLnTx/>
                <a:uFillTx/>
                <a:latin typeface="Arial"/>
                <a:cs typeface="+mn-ea"/>
                <a:sym typeface="+mn-lt"/>
              </a:rPr>
              <a:t>ut</a:t>
            </a:r>
            <a:r>
              <a:rPr kumimoji="0" lang="en-US" sz="1200" b="0" i="0" u="none" strike="noStrike" kern="0" cap="none" spc="0" normalizeH="0" baseline="0" noProof="0" dirty="0">
                <a:ln>
                  <a:noFill/>
                </a:ln>
                <a:solidFill>
                  <a:srgbClr val="000000"/>
                </a:solidFill>
                <a:effectLst/>
                <a:uLnTx/>
                <a:uFillTx/>
                <a:latin typeface="Arial"/>
                <a:cs typeface="+mn-ea"/>
                <a:sym typeface="+mn-lt"/>
              </a:rPr>
              <a:t> </a:t>
            </a:r>
            <a:r>
              <a:rPr kumimoji="0" lang="en-US" sz="1200" b="0" i="0" u="none" strike="noStrike" kern="0" cap="none" spc="0" normalizeH="0" baseline="0" noProof="0" dirty="0" err="1">
                <a:ln>
                  <a:noFill/>
                </a:ln>
                <a:solidFill>
                  <a:srgbClr val="000000"/>
                </a:solidFill>
                <a:effectLst/>
                <a:uLnTx/>
                <a:uFillTx/>
                <a:latin typeface="Arial"/>
                <a:cs typeface="+mn-ea"/>
                <a:sym typeface="+mn-lt"/>
              </a:rPr>
              <a:t>rhoncus</a:t>
            </a:r>
            <a:r>
              <a:rPr kumimoji="0" lang="en-US" sz="1200" b="0" i="0" u="none" strike="noStrike" kern="0" cap="none" spc="0" normalizeH="0" baseline="0" noProof="0" dirty="0">
                <a:ln>
                  <a:noFill/>
                </a:ln>
                <a:solidFill>
                  <a:srgbClr val="000000"/>
                </a:solidFill>
                <a:effectLst/>
                <a:uLnTx/>
                <a:uFillTx/>
                <a:latin typeface="Arial"/>
                <a:cs typeface="+mn-ea"/>
                <a:sym typeface="+mn-lt"/>
              </a:rPr>
              <a:t> ipsum</a:t>
            </a:r>
            <a:endParaRPr kumimoji="0" lang="en-US" sz="1200" b="0" i="0" u="none" strike="noStrike" kern="1200" cap="none" spc="0" normalizeH="0" baseline="0" noProof="0" dirty="0">
              <a:ln>
                <a:noFill/>
              </a:ln>
              <a:solidFill>
                <a:srgbClr val="000000"/>
              </a:solidFill>
              <a:effectLst/>
              <a:uLnTx/>
              <a:uFillTx/>
              <a:latin typeface="Arial"/>
              <a:cs typeface="+mn-ea"/>
              <a:sym typeface="+mn-lt"/>
            </a:endParaRPr>
          </a:p>
        </p:txBody>
      </p:sp>
      <p:sp>
        <p:nvSpPr>
          <p:cNvPr id="35" name="TextBox 77">
            <a:extLst>
              <a:ext uri="{FF2B5EF4-FFF2-40B4-BE49-F238E27FC236}">
                <a16:creationId xmlns:a16="http://schemas.microsoft.com/office/drawing/2014/main" id="{CAC2FFD5-28A4-423F-BDA3-26EFF2658665}"/>
              </a:ext>
            </a:extLst>
          </p:cNvPr>
          <p:cNvSpPr txBox="1"/>
          <p:nvPr/>
        </p:nvSpPr>
        <p:spPr>
          <a:xfrm>
            <a:off x="6808827" y="4923651"/>
            <a:ext cx="1712094"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cs typeface="+mn-ea"/>
                <a:sym typeface="+mn-lt"/>
              </a:rPr>
              <a:t>Place your text here</a:t>
            </a:r>
          </a:p>
        </p:txBody>
      </p:sp>
      <p:sp>
        <p:nvSpPr>
          <p:cNvPr id="36" name="TextBox 78">
            <a:extLst>
              <a:ext uri="{FF2B5EF4-FFF2-40B4-BE49-F238E27FC236}">
                <a16:creationId xmlns:a16="http://schemas.microsoft.com/office/drawing/2014/main" id="{5D7EFC83-27FF-478E-9578-562E3A7FAC13}"/>
              </a:ext>
            </a:extLst>
          </p:cNvPr>
          <p:cNvSpPr txBox="1"/>
          <p:nvPr/>
        </p:nvSpPr>
        <p:spPr>
          <a:xfrm>
            <a:off x="6808827" y="5573614"/>
            <a:ext cx="1712094"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cs typeface="+mn-ea"/>
                <a:sym typeface="+mn-lt"/>
              </a:rPr>
              <a:t>Insert your text here</a:t>
            </a:r>
          </a:p>
        </p:txBody>
      </p:sp>
      <p:cxnSp>
        <p:nvCxnSpPr>
          <p:cNvPr id="37" name="Straight Arrow Connector 81">
            <a:extLst>
              <a:ext uri="{FF2B5EF4-FFF2-40B4-BE49-F238E27FC236}">
                <a16:creationId xmlns:a16="http://schemas.microsoft.com/office/drawing/2014/main" id="{C247AF28-5C6B-4C87-BFC7-7238C390DBD3}"/>
              </a:ext>
            </a:extLst>
          </p:cNvPr>
          <p:cNvCxnSpPr/>
          <p:nvPr/>
        </p:nvCxnSpPr>
        <p:spPr>
          <a:xfrm flipH="1" flipV="1">
            <a:off x="5980922" y="5200650"/>
            <a:ext cx="853172" cy="465374"/>
          </a:xfrm>
          <a:prstGeom prst="straightConnector1">
            <a:avLst/>
          </a:prstGeom>
          <a:ln w="25400">
            <a:solidFill>
              <a:schemeClr val="accent1">
                <a:lumMod val="60000"/>
                <a:lumOff val="40000"/>
              </a:schemeClr>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82">
            <a:extLst>
              <a:ext uri="{FF2B5EF4-FFF2-40B4-BE49-F238E27FC236}">
                <a16:creationId xmlns:a16="http://schemas.microsoft.com/office/drawing/2014/main" id="{31F2334C-D37B-42C2-BFB5-CD6FC45E95AC}"/>
              </a:ext>
            </a:extLst>
          </p:cNvPr>
          <p:cNvCxnSpPr/>
          <p:nvPr/>
        </p:nvCxnSpPr>
        <p:spPr>
          <a:xfrm flipH="1">
            <a:off x="7440292" y="2365794"/>
            <a:ext cx="1572686" cy="0"/>
          </a:xfrm>
          <a:prstGeom prst="straightConnector1">
            <a:avLst/>
          </a:prstGeom>
          <a:ln w="25400">
            <a:solidFill>
              <a:schemeClr val="accent1">
                <a:lumMod val="60000"/>
                <a:lumOff val="40000"/>
              </a:schemeClr>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39" name="Straight Arrow Connector 83">
            <a:extLst>
              <a:ext uri="{FF2B5EF4-FFF2-40B4-BE49-F238E27FC236}">
                <a16:creationId xmlns:a16="http://schemas.microsoft.com/office/drawing/2014/main" id="{297E6280-60AE-488C-8C23-1465F6E5E1C8}"/>
              </a:ext>
            </a:extLst>
          </p:cNvPr>
          <p:cNvCxnSpPr/>
          <p:nvPr/>
        </p:nvCxnSpPr>
        <p:spPr>
          <a:xfrm flipH="1">
            <a:off x="8159806" y="1756531"/>
            <a:ext cx="853172" cy="465374"/>
          </a:xfrm>
          <a:prstGeom prst="straightConnector1">
            <a:avLst/>
          </a:prstGeom>
          <a:ln w="25400">
            <a:solidFill>
              <a:schemeClr val="accent1">
                <a:lumMod val="60000"/>
                <a:lumOff val="40000"/>
              </a:schemeClr>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40" name="Rectangle 84">
            <a:extLst>
              <a:ext uri="{FF2B5EF4-FFF2-40B4-BE49-F238E27FC236}">
                <a16:creationId xmlns:a16="http://schemas.microsoft.com/office/drawing/2014/main" id="{B5707814-D1F7-4C35-AEEF-B12F9583CCA2}"/>
              </a:ext>
            </a:extLst>
          </p:cNvPr>
          <p:cNvSpPr/>
          <p:nvPr/>
        </p:nvSpPr>
        <p:spPr>
          <a:xfrm>
            <a:off x="9074795" y="1571942"/>
            <a:ext cx="2471059" cy="46166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Arial"/>
                <a:cs typeface="+mn-ea"/>
                <a:sym typeface="+mn-lt"/>
              </a:rPr>
              <a:t>Aliquam gravida </a:t>
            </a:r>
            <a:r>
              <a:rPr kumimoji="0" lang="en-US" sz="1200" b="0" i="0" u="none" strike="noStrike" kern="0" cap="none" spc="0" normalizeH="0" baseline="0" noProof="0" dirty="0" err="1">
                <a:ln>
                  <a:noFill/>
                </a:ln>
                <a:solidFill>
                  <a:srgbClr val="000000"/>
                </a:solidFill>
                <a:effectLst/>
                <a:uLnTx/>
                <a:uFillTx/>
                <a:latin typeface="Arial"/>
                <a:cs typeface="+mn-ea"/>
                <a:sym typeface="+mn-lt"/>
              </a:rPr>
              <a:t>eu</a:t>
            </a:r>
            <a:r>
              <a:rPr kumimoji="0" lang="en-US" sz="1200" b="0" i="0" u="none" strike="noStrike" kern="0" cap="none" spc="0" normalizeH="0" baseline="0" noProof="0" dirty="0">
                <a:ln>
                  <a:noFill/>
                </a:ln>
                <a:solidFill>
                  <a:srgbClr val="000000"/>
                </a:solidFill>
                <a:effectLst/>
                <a:uLnTx/>
                <a:uFillTx/>
                <a:latin typeface="Arial"/>
                <a:cs typeface="+mn-ea"/>
                <a:sym typeface="+mn-lt"/>
              </a:rPr>
              <a:t> </a:t>
            </a:r>
            <a:r>
              <a:rPr kumimoji="0" lang="en-US" sz="1200" b="0" i="0" u="none" strike="noStrike" kern="0" cap="none" spc="0" normalizeH="0" baseline="0" noProof="0" dirty="0" err="1">
                <a:ln>
                  <a:noFill/>
                </a:ln>
                <a:solidFill>
                  <a:srgbClr val="000000"/>
                </a:solidFill>
                <a:effectLst/>
                <a:uLnTx/>
                <a:uFillTx/>
                <a:latin typeface="Arial"/>
                <a:cs typeface="+mn-ea"/>
                <a:sym typeface="+mn-lt"/>
              </a:rPr>
              <a:t>enim</a:t>
            </a:r>
            <a:r>
              <a:rPr kumimoji="0" lang="en-US" sz="1200" b="0" i="0" u="none" strike="noStrike" kern="0" cap="none" spc="0" normalizeH="0" baseline="0" noProof="0" dirty="0">
                <a:ln>
                  <a:noFill/>
                </a:ln>
                <a:solidFill>
                  <a:srgbClr val="000000"/>
                </a:solidFill>
                <a:effectLst/>
                <a:uLnTx/>
                <a:uFillTx/>
                <a:latin typeface="Arial"/>
                <a:cs typeface="+mn-ea"/>
                <a:sym typeface="+mn-lt"/>
              </a:rPr>
              <a:t> </a:t>
            </a:r>
            <a:r>
              <a:rPr kumimoji="0" lang="en-US" sz="1200" b="0" i="0" u="none" strike="noStrike" kern="0" cap="none" spc="0" normalizeH="0" baseline="0" noProof="0" dirty="0" err="1">
                <a:ln>
                  <a:noFill/>
                </a:ln>
                <a:solidFill>
                  <a:srgbClr val="000000"/>
                </a:solidFill>
                <a:effectLst/>
                <a:uLnTx/>
                <a:uFillTx/>
                <a:latin typeface="Arial"/>
                <a:cs typeface="+mn-ea"/>
                <a:sym typeface="+mn-lt"/>
              </a:rPr>
              <a:t>ut</a:t>
            </a:r>
            <a:r>
              <a:rPr kumimoji="0" lang="en-US" sz="1200" b="0" i="0" u="none" strike="noStrike" kern="0" cap="none" spc="0" normalizeH="0" baseline="0" noProof="0" dirty="0">
                <a:ln>
                  <a:noFill/>
                </a:ln>
                <a:solidFill>
                  <a:srgbClr val="000000"/>
                </a:solidFill>
                <a:effectLst/>
                <a:uLnTx/>
                <a:uFillTx/>
                <a:latin typeface="Arial"/>
                <a:cs typeface="+mn-ea"/>
                <a:sym typeface="+mn-lt"/>
              </a:rPr>
              <a:t> </a:t>
            </a:r>
            <a:r>
              <a:rPr kumimoji="0" lang="en-US" sz="1200" b="0" i="0" u="none" strike="noStrike" kern="0" cap="none" spc="0" normalizeH="0" baseline="0" noProof="0" dirty="0" err="1">
                <a:ln>
                  <a:noFill/>
                </a:ln>
                <a:solidFill>
                  <a:srgbClr val="000000"/>
                </a:solidFill>
                <a:effectLst/>
                <a:uLnTx/>
                <a:uFillTx/>
                <a:latin typeface="Arial"/>
                <a:cs typeface="+mn-ea"/>
                <a:sym typeface="+mn-lt"/>
              </a:rPr>
              <a:t>molestie</a:t>
            </a:r>
            <a:r>
              <a:rPr kumimoji="0" lang="en-US" sz="1200" b="0" i="0" u="none" strike="noStrike" kern="0" cap="none" spc="0" normalizeH="0" baseline="0" noProof="0" dirty="0">
                <a:ln>
                  <a:noFill/>
                </a:ln>
                <a:solidFill>
                  <a:srgbClr val="000000"/>
                </a:solidFill>
                <a:effectLst/>
                <a:uLnTx/>
                <a:uFillTx/>
                <a:latin typeface="Arial"/>
                <a:cs typeface="+mn-ea"/>
                <a:sym typeface="+mn-lt"/>
              </a:rPr>
              <a:t>. Sed </a:t>
            </a:r>
            <a:r>
              <a:rPr kumimoji="0" lang="en-US" sz="1200" b="0" i="0" u="none" strike="noStrike" kern="0" cap="none" spc="0" normalizeH="0" baseline="0" noProof="0" dirty="0" err="1">
                <a:ln>
                  <a:noFill/>
                </a:ln>
                <a:solidFill>
                  <a:srgbClr val="000000"/>
                </a:solidFill>
                <a:effectLst/>
                <a:uLnTx/>
                <a:uFillTx/>
                <a:latin typeface="Arial"/>
                <a:cs typeface="+mn-ea"/>
                <a:sym typeface="+mn-lt"/>
              </a:rPr>
              <a:t>ut</a:t>
            </a:r>
            <a:r>
              <a:rPr kumimoji="0" lang="en-US" sz="1200" b="0" i="0" u="none" strike="noStrike" kern="0" cap="none" spc="0" normalizeH="0" baseline="0" noProof="0" dirty="0">
                <a:ln>
                  <a:noFill/>
                </a:ln>
                <a:solidFill>
                  <a:srgbClr val="000000"/>
                </a:solidFill>
                <a:effectLst/>
                <a:uLnTx/>
                <a:uFillTx/>
                <a:latin typeface="Arial"/>
                <a:cs typeface="+mn-ea"/>
                <a:sym typeface="+mn-lt"/>
              </a:rPr>
              <a:t> </a:t>
            </a:r>
            <a:r>
              <a:rPr kumimoji="0" lang="en-US" sz="1200" b="0" i="0" u="none" strike="noStrike" kern="0" cap="none" spc="0" normalizeH="0" baseline="0" noProof="0" dirty="0" err="1">
                <a:ln>
                  <a:noFill/>
                </a:ln>
                <a:solidFill>
                  <a:srgbClr val="000000"/>
                </a:solidFill>
                <a:effectLst/>
                <a:uLnTx/>
                <a:uFillTx/>
                <a:latin typeface="Arial"/>
                <a:cs typeface="+mn-ea"/>
                <a:sym typeface="+mn-lt"/>
              </a:rPr>
              <a:t>rhoncus</a:t>
            </a:r>
            <a:r>
              <a:rPr kumimoji="0" lang="en-US" sz="1200" b="0" i="0" u="none" strike="noStrike" kern="0" cap="none" spc="0" normalizeH="0" baseline="0" noProof="0" dirty="0">
                <a:ln>
                  <a:noFill/>
                </a:ln>
                <a:solidFill>
                  <a:srgbClr val="000000"/>
                </a:solidFill>
                <a:effectLst/>
                <a:uLnTx/>
                <a:uFillTx/>
                <a:latin typeface="Arial"/>
                <a:cs typeface="+mn-ea"/>
                <a:sym typeface="+mn-lt"/>
              </a:rPr>
              <a:t> ipsum</a:t>
            </a:r>
            <a:endParaRPr kumimoji="0" lang="en-US" sz="1200" b="0" i="0" u="none" strike="noStrike" kern="1200" cap="none" spc="0" normalizeH="0" baseline="0" noProof="0" dirty="0">
              <a:ln>
                <a:noFill/>
              </a:ln>
              <a:solidFill>
                <a:srgbClr val="000000"/>
              </a:solidFill>
              <a:effectLst/>
              <a:uLnTx/>
              <a:uFillTx/>
              <a:latin typeface="Arial"/>
              <a:cs typeface="+mn-ea"/>
              <a:sym typeface="+mn-lt"/>
            </a:endParaRPr>
          </a:p>
        </p:txBody>
      </p:sp>
      <p:sp>
        <p:nvSpPr>
          <p:cNvPr id="41" name="TextBox 85">
            <a:extLst>
              <a:ext uri="{FF2B5EF4-FFF2-40B4-BE49-F238E27FC236}">
                <a16:creationId xmlns:a16="http://schemas.microsoft.com/office/drawing/2014/main" id="{D5CAC17F-7962-4885-AE12-60E08839C0E7}"/>
              </a:ext>
            </a:extLst>
          </p:cNvPr>
          <p:cNvSpPr txBox="1"/>
          <p:nvPr/>
        </p:nvSpPr>
        <p:spPr>
          <a:xfrm>
            <a:off x="8987711" y="2218862"/>
            <a:ext cx="1712094"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cs typeface="+mn-ea"/>
                <a:sym typeface="+mn-lt"/>
              </a:rPr>
              <a:t>Place your text here</a:t>
            </a:r>
          </a:p>
        </p:txBody>
      </p:sp>
      <p:sp>
        <p:nvSpPr>
          <p:cNvPr id="42" name="TextBox 86">
            <a:extLst>
              <a:ext uri="{FF2B5EF4-FFF2-40B4-BE49-F238E27FC236}">
                <a16:creationId xmlns:a16="http://schemas.microsoft.com/office/drawing/2014/main" id="{EA43CEA3-9A00-4B67-BA90-2DDDCE19CD0B}"/>
              </a:ext>
            </a:extLst>
          </p:cNvPr>
          <p:cNvSpPr txBox="1"/>
          <p:nvPr/>
        </p:nvSpPr>
        <p:spPr>
          <a:xfrm>
            <a:off x="8987711" y="2868825"/>
            <a:ext cx="1712094"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cs typeface="+mn-ea"/>
                <a:sym typeface="+mn-lt"/>
              </a:rPr>
              <a:t>Insert your text here</a:t>
            </a:r>
          </a:p>
        </p:txBody>
      </p:sp>
      <p:cxnSp>
        <p:nvCxnSpPr>
          <p:cNvPr id="43" name="Straight Arrow Connector 87">
            <a:extLst>
              <a:ext uri="{FF2B5EF4-FFF2-40B4-BE49-F238E27FC236}">
                <a16:creationId xmlns:a16="http://schemas.microsoft.com/office/drawing/2014/main" id="{BD0E070C-2D5D-4046-9071-83ABC060E8B8}"/>
              </a:ext>
            </a:extLst>
          </p:cNvPr>
          <p:cNvCxnSpPr/>
          <p:nvPr/>
        </p:nvCxnSpPr>
        <p:spPr>
          <a:xfrm flipH="1" flipV="1">
            <a:off x="8159806" y="2495861"/>
            <a:ext cx="853172" cy="465374"/>
          </a:xfrm>
          <a:prstGeom prst="straightConnector1">
            <a:avLst/>
          </a:prstGeom>
          <a:ln w="25400">
            <a:solidFill>
              <a:schemeClr val="accent1">
                <a:lumMod val="60000"/>
                <a:lumOff val="40000"/>
              </a:schemeClr>
            </a:solidFill>
            <a:prstDash val="sysDash"/>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15306902"/>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a:extLst>
              <a:ext uri="{FF2B5EF4-FFF2-40B4-BE49-F238E27FC236}">
                <a16:creationId xmlns:a16="http://schemas.microsoft.com/office/drawing/2014/main" id="{BDDD0655-2B2A-4CFD-8E56-73572D071385}"/>
              </a:ext>
            </a:extLst>
          </p:cNvPr>
          <p:cNvSpPr/>
          <p:nvPr/>
        </p:nvSpPr>
        <p:spPr>
          <a:xfrm>
            <a:off x="0" y="0"/>
            <a:ext cx="3048000" cy="6858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p>
        </p:txBody>
      </p:sp>
      <p:sp>
        <p:nvSpPr>
          <p:cNvPr id="3" name="矩形 2">
            <a:extLst>
              <a:ext uri="{FF2B5EF4-FFF2-40B4-BE49-F238E27FC236}">
                <a16:creationId xmlns:a16="http://schemas.microsoft.com/office/drawing/2014/main" id="{663F18B1-8809-4AD8-AB32-EB60CE5FF34D}"/>
              </a:ext>
            </a:extLst>
          </p:cNvPr>
          <p:cNvSpPr/>
          <p:nvPr/>
        </p:nvSpPr>
        <p:spPr>
          <a:xfrm>
            <a:off x="3048000" y="0"/>
            <a:ext cx="3048000" cy="685800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p>
        </p:txBody>
      </p:sp>
      <p:sp>
        <p:nvSpPr>
          <p:cNvPr id="4" name="矩形 3">
            <a:extLst>
              <a:ext uri="{FF2B5EF4-FFF2-40B4-BE49-F238E27FC236}">
                <a16:creationId xmlns:a16="http://schemas.microsoft.com/office/drawing/2014/main" id="{CDD365C6-1845-45AD-86B3-38CB7EA08F28}"/>
              </a:ext>
            </a:extLst>
          </p:cNvPr>
          <p:cNvSpPr/>
          <p:nvPr/>
        </p:nvSpPr>
        <p:spPr>
          <a:xfrm>
            <a:off x="6096000" y="0"/>
            <a:ext cx="3048000" cy="6858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p>
        </p:txBody>
      </p:sp>
      <p:sp>
        <p:nvSpPr>
          <p:cNvPr id="6" name="矩形 5">
            <a:extLst>
              <a:ext uri="{FF2B5EF4-FFF2-40B4-BE49-F238E27FC236}">
                <a16:creationId xmlns:a16="http://schemas.microsoft.com/office/drawing/2014/main" id="{1266A676-9E3D-4C62-84A8-B478F8920944}"/>
              </a:ext>
            </a:extLst>
          </p:cNvPr>
          <p:cNvSpPr/>
          <p:nvPr/>
        </p:nvSpPr>
        <p:spPr>
          <a:xfrm>
            <a:off x="9144000" y="0"/>
            <a:ext cx="3048000" cy="685800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p>
        </p:txBody>
      </p:sp>
      <p:sp>
        <p:nvSpPr>
          <p:cNvPr id="8" name="任意多边形: 形状 7">
            <a:extLst>
              <a:ext uri="{FF2B5EF4-FFF2-40B4-BE49-F238E27FC236}">
                <a16:creationId xmlns:a16="http://schemas.microsoft.com/office/drawing/2014/main" id="{B36B357D-5F8C-4A12-B949-B57877D31795}"/>
              </a:ext>
            </a:extLst>
          </p:cNvPr>
          <p:cNvSpPr/>
          <p:nvPr/>
        </p:nvSpPr>
        <p:spPr>
          <a:xfrm>
            <a:off x="914400" y="425754"/>
            <a:ext cx="1219200" cy="1118208"/>
          </a:xfrm>
          <a:custGeom>
            <a:avLst/>
            <a:gdLst>
              <a:gd name="connsiteX0" fmla="*/ 1006264 w 1331826"/>
              <a:gd name="connsiteY0" fmla="*/ 238125 h 1221507"/>
              <a:gd name="connsiteX1" fmla="*/ 1123466 w 1331826"/>
              <a:gd name="connsiteY1" fmla="*/ 355327 h 1221507"/>
              <a:gd name="connsiteX2" fmla="*/ 1006264 w 1331826"/>
              <a:gd name="connsiteY2" fmla="*/ 472529 h 1221507"/>
              <a:gd name="connsiteX3" fmla="*/ 889062 w 1331826"/>
              <a:gd name="connsiteY3" fmla="*/ 355327 h 1221507"/>
              <a:gd name="connsiteX4" fmla="*/ 1006264 w 1331826"/>
              <a:gd name="connsiteY4" fmla="*/ 238125 h 1221507"/>
              <a:gd name="connsiteX5" fmla="*/ 172827 w 1331826"/>
              <a:gd name="connsiteY5" fmla="*/ 104180 h 1221507"/>
              <a:gd name="connsiteX6" fmla="*/ 105482 w 1331826"/>
              <a:gd name="connsiteY6" fmla="*/ 171152 h 1221507"/>
              <a:gd name="connsiteX7" fmla="*/ 105482 w 1331826"/>
              <a:gd name="connsiteY7" fmla="*/ 726281 h 1221507"/>
              <a:gd name="connsiteX8" fmla="*/ 179152 w 1331826"/>
              <a:gd name="connsiteY8" fmla="*/ 599777 h 1221507"/>
              <a:gd name="connsiteX9" fmla="*/ 303795 w 1331826"/>
              <a:gd name="connsiteY9" fmla="*/ 490761 h 1221507"/>
              <a:gd name="connsiteX10" fmla="*/ 414300 w 1331826"/>
              <a:gd name="connsiteY10" fmla="*/ 507504 h 1221507"/>
              <a:gd name="connsiteX11" fmla="*/ 731676 w 1331826"/>
              <a:gd name="connsiteY11" fmla="*/ 856878 h 1221507"/>
              <a:gd name="connsiteX12" fmla="*/ 780790 w 1331826"/>
              <a:gd name="connsiteY12" fmla="*/ 791022 h 1221507"/>
              <a:gd name="connsiteX13" fmla="*/ 988777 w 1331826"/>
              <a:gd name="connsiteY13" fmla="*/ 633264 h 1221507"/>
              <a:gd name="connsiteX14" fmla="*/ 1093329 w 1331826"/>
              <a:gd name="connsiteY14" fmla="*/ 666006 h 1221507"/>
              <a:gd name="connsiteX15" fmla="*/ 1227646 w 1331826"/>
              <a:gd name="connsiteY15" fmla="*/ 821159 h 1221507"/>
              <a:gd name="connsiteX16" fmla="*/ 1227646 w 1331826"/>
              <a:gd name="connsiteY16" fmla="*/ 171152 h 1221507"/>
              <a:gd name="connsiteX17" fmla="*/ 1160673 w 1331826"/>
              <a:gd name="connsiteY17" fmla="*/ 104180 h 1221507"/>
              <a:gd name="connsiteX18" fmla="*/ 172827 w 1331826"/>
              <a:gd name="connsiteY18" fmla="*/ 0 h 1221507"/>
              <a:gd name="connsiteX19" fmla="*/ 1160673 w 1331826"/>
              <a:gd name="connsiteY19" fmla="*/ 0 h 1221507"/>
              <a:gd name="connsiteX20" fmla="*/ 1331826 w 1331826"/>
              <a:gd name="connsiteY20" fmla="*/ 171152 h 1221507"/>
              <a:gd name="connsiteX21" fmla="*/ 1331826 w 1331826"/>
              <a:gd name="connsiteY21" fmla="*/ 1050355 h 1221507"/>
              <a:gd name="connsiteX22" fmla="*/ 1160673 w 1331826"/>
              <a:gd name="connsiteY22" fmla="*/ 1221507 h 1221507"/>
              <a:gd name="connsiteX23" fmla="*/ 172827 w 1331826"/>
              <a:gd name="connsiteY23" fmla="*/ 1221507 h 1221507"/>
              <a:gd name="connsiteX24" fmla="*/ 1674 w 1331826"/>
              <a:gd name="connsiteY24" fmla="*/ 1050355 h 1221507"/>
              <a:gd name="connsiteX25" fmla="*/ 1674 w 1331826"/>
              <a:gd name="connsiteY25" fmla="*/ 1006450 h 1221507"/>
              <a:gd name="connsiteX26" fmla="*/ 1674 w 1331826"/>
              <a:gd name="connsiteY26" fmla="*/ 980405 h 1221507"/>
              <a:gd name="connsiteX27" fmla="*/ 1674 w 1331826"/>
              <a:gd name="connsiteY27" fmla="*/ 171152 h 1221507"/>
              <a:gd name="connsiteX28" fmla="*/ 172827 w 1331826"/>
              <a:gd name="connsiteY28" fmla="*/ 0 h 1221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31826" h="1221507">
                <a:moveTo>
                  <a:pt x="1006264" y="238125"/>
                </a:moveTo>
                <a:cubicBezTo>
                  <a:pt x="1070993" y="238125"/>
                  <a:pt x="1123466" y="290598"/>
                  <a:pt x="1123466" y="355327"/>
                </a:cubicBezTo>
                <a:cubicBezTo>
                  <a:pt x="1123466" y="420056"/>
                  <a:pt x="1070993" y="472529"/>
                  <a:pt x="1006264" y="472529"/>
                </a:cubicBezTo>
                <a:cubicBezTo>
                  <a:pt x="941535" y="472529"/>
                  <a:pt x="889062" y="420056"/>
                  <a:pt x="889062" y="355327"/>
                </a:cubicBezTo>
                <a:cubicBezTo>
                  <a:pt x="889062" y="290598"/>
                  <a:pt x="941535" y="238125"/>
                  <a:pt x="1006264" y="238125"/>
                </a:cubicBezTo>
                <a:close/>
                <a:moveTo>
                  <a:pt x="172827" y="104180"/>
                </a:moveTo>
                <a:cubicBezTo>
                  <a:pt x="135620" y="104180"/>
                  <a:pt x="105854" y="133945"/>
                  <a:pt x="105482" y="171152"/>
                </a:cubicBezTo>
                <a:lnTo>
                  <a:pt x="105482" y="726281"/>
                </a:lnTo>
                <a:cubicBezTo>
                  <a:pt x="130411" y="676424"/>
                  <a:pt x="154967" y="634008"/>
                  <a:pt x="179152" y="599777"/>
                </a:cubicBezTo>
                <a:cubicBezTo>
                  <a:pt x="220824" y="540246"/>
                  <a:pt x="261751" y="504527"/>
                  <a:pt x="303795" y="490761"/>
                </a:cubicBezTo>
                <a:cubicBezTo>
                  <a:pt x="342491" y="478110"/>
                  <a:pt x="380442" y="483691"/>
                  <a:pt x="414300" y="507504"/>
                </a:cubicBezTo>
                <a:cubicBezTo>
                  <a:pt x="528526" y="587871"/>
                  <a:pt x="663215" y="762372"/>
                  <a:pt x="731676" y="856878"/>
                </a:cubicBezTo>
                <a:cubicBezTo>
                  <a:pt x="745443" y="837158"/>
                  <a:pt x="762186" y="814090"/>
                  <a:pt x="780790" y="791022"/>
                </a:cubicBezTo>
                <a:cubicBezTo>
                  <a:pt x="858552" y="693911"/>
                  <a:pt x="926641" y="642193"/>
                  <a:pt x="988777" y="633264"/>
                </a:cubicBezTo>
                <a:cubicBezTo>
                  <a:pt x="1028216" y="627683"/>
                  <a:pt x="1064307" y="638845"/>
                  <a:pt x="1093329" y="666006"/>
                </a:cubicBezTo>
                <a:cubicBezTo>
                  <a:pt x="1142070" y="711398"/>
                  <a:pt x="1188951" y="768697"/>
                  <a:pt x="1227646" y="821159"/>
                </a:cubicBezTo>
                <a:lnTo>
                  <a:pt x="1227646" y="171152"/>
                </a:lnTo>
                <a:cubicBezTo>
                  <a:pt x="1227646" y="134317"/>
                  <a:pt x="1197508" y="104180"/>
                  <a:pt x="1160673" y="104180"/>
                </a:cubicBezTo>
                <a:close/>
                <a:moveTo>
                  <a:pt x="172827" y="0"/>
                </a:moveTo>
                <a:lnTo>
                  <a:pt x="1160673" y="0"/>
                </a:lnTo>
                <a:cubicBezTo>
                  <a:pt x="1255179" y="0"/>
                  <a:pt x="1331826" y="76646"/>
                  <a:pt x="1331826" y="171152"/>
                </a:cubicBezTo>
                <a:lnTo>
                  <a:pt x="1331826" y="1050355"/>
                </a:lnTo>
                <a:cubicBezTo>
                  <a:pt x="1331826" y="1144860"/>
                  <a:pt x="1255179" y="1221507"/>
                  <a:pt x="1160673" y="1221507"/>
                </a:cubicBezTo>
                <a:lnTo>
                  <a:pt x="172827" y="1221507"/>
                </a:lnTo>
                <a:cubicBezTo>
                  <a:pt x="78321" y="1221507"/>
                  <a:pt x="1674" y="1144860"/>
                  <a:pt x="1674" y="1050355"/>
                </a:cubicBezTo>
                <a:lnTo>
                  <a:pt x="1674" y="1006450"/>
                </a:lnTo>
                <a:cubicBezTo>
                  <a:pt x="-558" y="997893"/>
                  <a:pt x="-558" y="989335"/>
                  <a:pt x="1674" y="980405"/>
                </a:cubicBezTo>
                <a:lnTo>
                  <a:pt x="1674" y="171152"/>
                </a:lnTo>
                <a:cubicBezTo>
                  <a:pt x="1674" y="76646"/>
                  <a:pt x="78321" y="0"/>
                  <a:pt x="172827" y="0"/>
                </a:cubicBezTo>
                <a:close/>
              </a:path>
            </a:pathLst>
          </a:custGeom>
          <a:solidFill>
            <a:schemeClr val="bg1">
              <a:alpha val="40000"/>
            </a:schemeClr>
          </a:solidFill>
          <a:ln w="1860" cap="flat">
            <a:noFill/>
            <a:prstDash val="solid"/>
            <a:miter/>
          </a:ln>
        </p:spPr>
        <p:txBody>
          <a:bodyPr rtlCol="0" anchor="ctr"/>
          <a:lstStyle/>
          <a:p>
            <a:endParaRPr lang="zh-CN" altLang="en-US"/>
          </a:p>
        </p:txBody>
      </p:sp>
      <p:sp>
        <p:nvSpPr>
          <p:cNvPr id="9" name="任意多边形: 形状 8">
            <a:extLst>
              <a:ext uri="{FF2B5EF4-FFF2-40B4-BE49-F238E27FC236}">
                <a16:creationId xmlns:a16="http://schemas.microsoft.com/office/drawing/2014/main" id="{5079AD50-AC28-4C22-B783-D6E1B92CCCEE}"/>
              </a:ext>
            </a:extLst>
          </p:cNvPr>
          <p:cNvSpPr/>
          <p:nvPr/>
        </p:nvSpPr>
        <p:spPr>
          <a:xfrm>
            <a:off x="3962400" y="425754"/>
            <a:ext cx="1219200" cy="1118208"/>
          </a:xfrm>
          <a:custGeom>
            <a:avLst/>
            <a:gdLst>
              <a:gd name="connsiteX0" fmla="*/ 1006264 w 1331826"/>
              <a:gd name="connsiteY0" fmla="*/ 238125 h 1221507"/>
              <a:gd name="connsiteX1" fmla="*/ 1123466 w 1331826"/>
              <a:gd name="connsiteY1" fmla="*/ 355327 h 1221507"/>
              <a:gd name="connsiteX2" fmla="*/ 1006264 w 1331826"/>
              <a:gd name="connsiteY2" fmla="*/ 472529 h 1221507"/>
              <a:gd name="connsiteX3" fmla="*/ 889062 w 1331826"/>
              <a:gd name="connsiteY3" fmla="*/ 355327 h 1221507"/>
              <a:gd name="connsiteX4" fmla="*/ 1006264 w 1331826"/>
              <a:gd name="connsiteY4" fmla="*/ 238125 h 1221507"/>
              <a:gd name="connsiteX5" fmla="*/ 172827 w 1331826"/>
              <a:gd name="connsiteY5" fmla="*/ 104180 h 1221507"/>
              <a:gd name="connsiteX6" fmla="*/ 105482 w 1331826"/>
              <a:gd name="connsiteY6" fmla="*/ 171152 h 1221507"/>
              <a:gd name="connsiteX7" fmla="*/ 105482 w 1331826"/>
              <a:gd name="connsiteY7" fmla="*/ 726281 h 1221507"/>
              <a:gd name="connsiteX8" fmla="*/ 179152 w 1331826"/>
              <a:gd name="connsiteY8" fmla="*/ 599777 h 1221507"/>
              <a:gd name="connsiteX9" fmla="*/ 303795 w 1331826"/>
              <a:gd name="connsiteY9" fmla="*/ 490761 h 1221507"/>
              <a:gd name="connsiteX10" fmla="*/ 414300 w 1331826"/>
              <a:gd name="connsiteY10" fmla="*/ 507504 h 1221507"/>
              <a:gd name="connsiteX11" fmla="*/ 731676 w 1331826"/>
              <a:gd name="connsiteY11" fmla="*/ 856878 h 1221507"/>
              <a:gd name="connsiteX12" fmla="*/ 780790 w 1331826"/>
              <a:gd name="connsiteY12" fmla="*/ 791022 h 1221507"/>
              <a:gd name="connsiteX13" fmla="*/ 988777 w 1331826"/>
              <a:gd name="connsiteY13" fmla="*/ 633264 h 1221507"/>
              <a:gd name="connsiteX14" fmla="*/ 1093329 w 1331826"/>
              <a:gd name="connsiteY14" fmla="*/ 666006 h 1221507"/>
              <a:gd name="connsiteX15" fmla="*/ 1227646 w 1331826"/>
              <a:gd name="connsiteY15" fmla="*/ 821159 h 1221507"/>
              <a:gd name="connsiteX16" fmla="*/ 1227646 w 1331826"/>
              <a:gd name="connsiteY16" fmla="*/ 171152 h 1221507"/>
              <a:gd name="connsiteX17" fmla="*/ 1160673 w 1331826"/>
              <a:gd name="connsiteY17" fmla="*/ 104180 h 1221507"/>
              <a:gd name="connsiteX18" fmla="*/ 172827 w 1331826"/>
              <a:gd name="connsiteY18" fmla="*/ 0 h 1221507"/>
              <a:gd name="connsiteX19" fmla="*/ 1160673 w 1331826"/>
              <a:gd name="connsiteY19" fmla="*/ 0 h 1221507"/>
              <a:gd name="connsiteX20" fmla="*/ 1331826 w 1331826"/>
              <a:gd name="connsiteY20" fmla="*/ 171152 h 1221507"/>
              <a:gd name="connsiteX21" fmla="*/ 1331826 w 1331826"/>
              <a:gd name="connsiteY21" fmla="*/ 1050355 h 1221507"/>
              <a:gd name="connsiteX22" fmla="*/ 1160673 w 1331826"/>
              <a:gd name="connsiteY22" fmla="*/ 1221507 h 1221507"/>
              <a:gd name="connsiteX23" fmla="*/ 172827 w 1331826"/>
              <a:gd name="connsiteY23" fmla="*/ 1221507 h 1221507"/>
              <a:gd name="connsiteX24" fmla="*/ 1674 w 1331826"/>
              <a:gd name="connsiteY24" fmla="*/ 1050355 h 1221507"/>
              <a:gd name="connsiteX25" fmla="*/ 1674 w 1331826"/>
              <a:gd name="connsiteY25" fmla="*/ 1006450 h 1221507"/>
              <a:gd name="connsiteX26" fmla="*/ 1674 w 1331826"/>
              <a:gd name="connsiteY26" fmla="*/ 980405 h 1221507"/>
              <a:gd name="connsiteX27" fmla="*/ 1674 w 1331826"/>
              <a:gd name="connsiteY27" fmla="*/ 171152 h 1221507"/>
              <a:gd name="connsiteX28" fmla="*/ 172827 w 1331826"/>
              <a:gd name="connsiteY28" fmla="*/ 0 h 1221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31826" h="1221507">
                <a:moveTo>
                  <a:pt x="1006264" y="238125"/>
                </a:moveTo>
                <a:cubicBezTo>
                  <a:pt x="1070993" y="238125"/>
                  <a:pt x="1123466" y="290598"/>
                  <a:pt x="1123466" y="355327"/>
                </a:cubicBezTo>
                <a:cubicBezTo>
                  <a:pt x="1123466" y="420056"/>
                  <a:pt x="1070993" y="472529"/>
                  <a:pt x="1006264" y="472529"/>
                </a:cubicBezTo>
                <a:cubicBezTo>
                  <a:pt x="941535" y="472529"/>
                  <a:pt x="889062" y="420056"/>
                  <a:pt x="889062" y="355327"/>
                </a:cubicBezTo>
                <a:cubicBezTo>
                  <a:pt x="889062" y="290598"/>
                  <a:pt x="941535" y="238125"/>
                  <a:pt x="1006264" y="238125"/>
                </a:cubicBezTo>
                <a:close/>
                <a:moveTo>
                  <a:pt x="172827" y="104180"/>
                </a:moveTo>
                <a:cubicBezTo>
                  <a:pt x="135620" y="104180"/>
                  <a:pt x="105854" y="133945"/>
                  <a:pt x="105482" y="171152"/>
                </a:cubicBezTo>
                <a:lnTo>
                  <a:pt x="105482" y="726281"/>
                </a:lnTo>
                <a:cubicBezTo>
                  <a:pt x="130411" y="676424"/>
                  <a:pt x="154967" y="634008"/>
                  <a:pt x="179152" y="599777"/>
                </a:cubicBezTo>
                <a:cubicBezTo>
                  <a:pt x="220824" y="540246"/>
                  <a:pt x="261751" y="504527"/>
                  <a:pt x="303795" y="490761"/>
                </a:cubicBezTo>
                <a:cubicBezTo>
                  <a:pt x="342491" y="478110"/>
                  <a:pt x="380442" y="483691"/>
                  <a:pt x="414300" y="507504"/>
                </a:cubicBezTo>
                <a:cubicBezTo>
                  <a:pt x="528526" y="587871"/>
                  <a:pt x="663215" y="762372"/>
                  <a:pt x="731676" y="856878"/>
                </a:cubicBezTo>
                <a:cubicBezTo>
                  <a:pt x="745443" y="837158"/>
                  <a:pt x="762186" y="814090"/>
                  <a:pt x="780790" y="791022"/>
                </a:cubicBezTo>
                <a:cubicBezTo>
                  <a:pt x="858552" y="693911"/>
                  <a:pt x="926641" y="642193"/>
                  <a:pt x="988777" y="633264"/>
                </a:cubicBezTo>
                <a:cubicBezTo>
                  <a:pt x="1028216" y="627683"/>
                  <a:pt x="1064307" y="638845"/>
                  <a:pt x="1093329" y="666006"/>
                </a:cubicBezTo>
                <a:cubicBezTo>
                  <a:pt x="1142070" y="711398"/>
                  <a:pt x="1188951" y="768697"/>
                  <a:pt x="1227646" y="821159"/>
                </a:cubicBezTo>
                <a:lnTo>
                  <a:pt x="1227646" y="171152"/>
                </a:lnTo>
                <a:cubicBezTo>
                  <a:pt x="1227646" y="134317"/>
                  <a:pt x="1197508" y="104180"/>
                  <a:pt x="1160673" y="104180"/>
                </a:cubicBezTo>
                <a:close/>
                <a:moveTo>
                  <a:pt x="172827" y="0"/>
                </a:moveTo>
                <a:lnTo>
                  <a:pt x="1160673" y="0"/>
                </a:lnTo>
                <a:cubicBezTo>
                  <a:pt x="1255179" y="0"/>
                  <a:pt x="1331826" y="76646"/>
                  <a:pt x="1331826" y="171152"/>
                </a:cubicBezTo>
                <a:lnTo>
                  <a:pt x="1331826" y="1050355"/>
                </a:lnTo>
                <a:cubicBezTo>
                  <a:pt x="1331826" y="1144860"/>
                  <a:pt x="1255179" y="1221507"/>
                  <a:pt x="1160673" y="1221507"/>
                </a:cubicBezTo>
                <a:lnTo>
                  <a:pt x="172827" y="1221507"/>
                </a:lnTo>
                <a:cubicBezTo>
                  <a:pt x="78321" y="1221507"/>
                  <a:pt x="1674" y="1144860"/>
                  <a:pt x="1674" y="1050355"/>
                </a:cubicBezTo>
                <a:lnTo>
                  <a:pt x="1674" y="1006450"/>
                </a:lnTo>
                <a:cubicBezTo>
                  <a:pt x="-558" y="997893"/>
                  <a:pt x="-558" y="989335"/>
                  <a:pt x="1674" y="980405"/>
                </a:cubicBezTo>
                <a:lnTo>
                  <a:pt x="1674" y="171152"/>
                </a:lnTo>
                <a:cubicBezTo>
                  <a:pt x="1674" y="76646"/>
                  <a:pt x="78321" y="0"/>
                  <a:pt x="172827" y="0"/>
                </a:cubicBezTo>
                <a:close/>
              </a:path>
            </a:pathLst>
          </a:custGeom>
          <a:solidFill>
            <a:schemeClr val="bg1">
              <a:alpha val="40000"/>
            </a:schemeClr>
          </a:solidFill>
          <a:ln w="1860" cap="flat">
            <a:noFill/>
            <a:prstDash val="solid"/>
            <a:miter/>
          </a:ln>
        </p:spPr>
        <p:txBody>
          <a:bodyPr rtlCol="0" anchor="ctr"/>
          <a:lstStyle/>
          <a:p>
            <a:endParaRPr lang="zh-CN" altLang="en-US"/>
          </a:p>
        </p:txBody>
      </p:sp>
      <p:sp>
        <p:nvSpPr>
          <p:cNvPr id="10" name="任意多边形: 形状 9">
            <a:extLst>
              <a:ext uri="{FF2B5EF4-FFF2-40B4-BE49-F238E27FC236}">
                <a16:creationId xmlns:a16="http://schemas.microsoft.com/office/drawing/2014/main" id="{AB12A8CC-04F3-44D1-B151-5E718AD95DD7}"/>
              </a:ext>
            </a:extLst>
          </p:cNvPr>
          <p:cNvSpPr/>
          <p:nvPr/>
        </p:nvSpPr>
        <p:spPr>
          <a:xfrm>
            <a:off x="7010400" y="425754"/>
            <a:ext cx="1219200" cy="1118208"/>
          </a:xfrm>
          <a:custGeom>
            <a:avLst/>
            <a:gdLst>
              <a:gd name="connsiteX0" fmla="*/ 1006264 w 1331826"/>
              <a:gd name="connsiteY0" fmla="*/ 238125 h 1221507"/>
              <a:gd name="connsiteX1" fmla="*/ 1123466 w 1331826"/>
              <a:gd name="connsiteY1" fmla="*/ 355327 h 1221507"/>
              <a:gd name="connsiteX2" fmla="*/ 1006264 w 1331826"/>
              <a:gd name="connsiteY2" fmla="*/ 472529 h 1221507"/>
              <a:gd name="connsiteX3" fmla="*/ 889062 w 1331826"/>
              <a:gd name="connsiteY3" fmla="*/ 355327 h 1221507"/>
              <a:gd name="connsiteX4" fmla="*/ 1006264 w 1331826"/>
              <a:gd name="connsiteY4" fmla="*/ 238125 h 1221507"/>
              <a:gd name="connsiteX5" fmla="*/ 172827 w 1331826"/>
              <a:gd name="connsiteY5" fmla="*/ 104180 h 1221507"/>
              <a:gd name="connsiteX6" fmla="*/ 105482 w 1331826"/>
              <a:gd name="connsiteY6" fmla="*/ 171152 h 1221507"/>
              <a:gd name="connsiteX7" fmla="*/ 105482 w 1331826"/>
              <a:gd name="connsiteY7" fmla="*/ 726281 h 1221507"/>
              <a:gd name="connsiteX8" fmla="*/ 179152 w 1331826"/>
              <a:gd name="connsiteY8" fmla="*/ 599777 h 1221507"/>
              <a:gd name="connsiteX9" fmla="*/ 303795 w 1331826"/>
              <a:gd name="connsiteY9" fmla="*/ 490761 h 1221507"/>
              <a:gd name="connsiteX10" fmla="*/ 414300 w 1331826"/>
              <a:gd name="connsiteY10" fmla="*/ 507504 h 1221507"/>
              <a:gd name="connsiteX11" fmla="*/ 731676 w 1331826"/>
              <a:gd name="connsiteY11" fmla="*/ 856878 h 1221507"/>
              <a:gd name="connsiteX12" fmla="*/ 780790 w 1331826"/>
              <a:gd name="connsiteY12" fmla="*/ 791022 h 1221507"/>
              <a:gd name="connsiteX13" fmla="*/ 988777 w 1331826"/>
              <a:gd name="connsiteY13" fmla="*/ 633264 h 1221507"/>
              <a:gd name="connsiteX14" fmla="*/ 1093329 w 1331826"/>
              <a:gd name="connsiteY14" fmla="*/ 666006 h 1221507"/>
              <a:gd name="connsiteX15" fmla="*/ 1227646 w 1331826"/>
              <a:gd name="connsiteY15" fmla="*/ 821159 h 1221507"/>
              <a:gd name="connsiteX16" fmla="*/ 1227646 w 1331826"/>
              <a:gd name="connsiteY16" fmla="*/ 171152 h 1221507"/>
              <a:gd name="connsiteX17" fmla="*/ 1160673 w 1331826"/>
              <a:gd name="connsiteY17" fmla="*/ 104180 h 1221507"/>
              <a:gd name="connsiteX18" fmla="*/ 172827 w 1331826"/>
              <a:gd name="connsiteY18" fmla="*/ 0 h 1221507"/>
              <a:gd name="connsiteX19" fmla="*/ 1160673 w 1331826"/>
              <a:gd name="connsiteY19" fmla="*/ 0 h 1221507"/>
              <a:gd name="connsiteX20" fmla="*/ 1331826 w 1331826"/>
              <a:gd name="connsiteY20" fmla="*/ 171152 h 1221507"/>
              <a:gd name="connsiteX21" fmla="*/ 1331826 w 1331826"/>
              <a:gd name="connsiteY21" fmla="*/ 1050355 h 1221507"/>
              <a:gd name="connsiteX22" fmla="*/ 1160673 w 1331826"/>
              <a:gd name="connsiteY22" fmla="*/ 1221507 h 1221507"/>
              <a:gd name="connsiteX23" fmla="*/ 172827 w 1331826"/>
              <a:gd name="connsiteY23" fmla="*/ 1221507 h 1221507"/>
              <a:gd name="connsiteX24" fmla="*/ 1674 w 1331826"/>
              <a:gd name="connsiteY24" fmla="*/ 1050355 h 1221507"/>
              <a:gd name="connsiteX25" fmla="*/ 1674 w 1331826"/>
              <a:gd name="connsiteY25" fmla="*/ 1006450 h 1221507"/>
              <a:gd name="connsiteX26" fmla="*/ 1674 w 1331826"/>
              <a:gd name="connsiteY26" fmla="*/ 980405 h 1221507"/>
              <a:gd name="connsiteX27" fmla="*/ 1674 w 1331826"/>
              <a:gd name="connsiteY27" fmla="*/ 171152 h 1221507"/>
              <a:gd name="connsiteX28" fmla="*/ 172827 w 1331826"/>
              <a:gd name="connsiteY28" fmla="*/ 0 h 1221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31826" h="1221507">
                <a:moveTo>
                  <a:pt x="1006264" y="238125"/>
                </a:moveTo>
                <a:cubicBezTo>
                  <a:pt x="1070993" y="238125"/>
                  <a:pt x="1123466" y="290598"/>
                  <a:pt x="1123466" y="355327"/>
                </a:cubicBezTo>
                <a:cubicBezTo>
                  <a:pt x="1123466" y="420056"/>
                  <a:pt x="1070993" y="472529"/>
                  <a:pt x="1006264" y="472529"/>
                </a:cubicBezTo>
                <a:cubicBezTo>
                  <a:pt x="941535" y="472529"/>
                  <a:pt x="889062" y="420056"/>
                  <a:pt x="889062" y="355327"/>
                </a:cubicBezTo>
                <a:cubicBezTo>
                  <a:pt x="889062" y="290598"/>
                  <a:pt x="941535" y="238125"/>
                  <a:pt x="1006264" y="238125"/>
                </a:cubicBezTo>
                <a:close/>
                <a:moveTo>
                  <a:pt x="172827" y="104180"/>
                </a:moveTo>
                <a:cubicBezTo>
                  <a:pt x="135620" y="104180"/>
                  <a:pt x="105854" y="133945"/>
                  <a:pt x="105482" y="171152"/>
                </a:cubicBezTo>
                <a:lnTo>
                  <a:pt x="105482" y="726281"/>
                </a:lnTo>
                <a:cubicBezTo>
                  <a:pt x="130411" y="676424"/>
                  <a:pt x="154967" y="634008"/>
                  <a:pt x="179152" y="599777"/>
                </a:cubicBezTo>
                <a:cubicBezTo>
                  <a:pt x="220824" y="540246"/>
                  <a:pt x="261751" y="504527"/>
                  <a:pt x="303795" y="490761"/>
                </a:cubicBezTo>
                <a:cubicBezTo>
                  <a:pt x="342491" y="478110"/>
                  <a:pt x="380442" y="483691"/>
                  <a:pt x="414300" y="507504"/>
                </a:cubicBezTo>
                <a:cubicBezTo>
                  <a:pt x="528526" y="587871"/>
                  <a:pt x="663215" y="762372"/>
                  <a:pt x="731676" y="856878"/>
                </a:cubicBezTo>
                <a:cubicBezTo>
                  <a:pt x="745443" y="837158"/>
                  <a:pt x="762186" y="814090"/>
                  <a:pt x="780790" y="791022"/>
                </a:cubicBezTo>
                <a:cubicBezTo>
                  <a:pt x="858552" y="693911"/>
                  <a:pt x="926641" y="642193"/>
                  <a:pt x="988777" y="633264"/>
                </a:cubicBezTo>
                <a:cubicBezTo>
                  <a:pt x="1028216" y="627683"/>
                  <a:pt x="1064307" y="638845"/>
                  <a:pt x="1093329" y="666006"/>
                </a:cubicBezTo>
                <a:cubicBezTo>
                  <a:pt x="1142070" y="711398"/>
                  <a:pt x="1188951" y="768697"/>
                  <a:pt x="1227646" y="821159"/>
                </a:cubicBezTo>
                <a:lnTo>
                  <a:pt x="1227646" y="171152"/>
                </a:lnTo>
                <a:cubicBezTo>
                  <a:pt x="1227646" y="134317"/>
                  <a:pt x="1197508" y="104180"/>
                  <a:pt x="1160673" y="104180"/>
                </a:cubicBezTo>
                <a:close/>
                <a:moveTo>
                  <a:pt x="172827" y="0"/>
                </a:moveTo>
                <a:lnTo>
                  <a:pt x="1160673" y="0"/>
                </a:lnTo>
                <a:cubicBezTo>
                  <a:pt x="1255179" y="0"/>
                  <a:pt x="1331826" y="76646"/>
                  <a:pt x="1331826" y="171152"/>
                </a:cubicBezTo>
                <a:lnTo>
                  <a:pt x="1331826" y="1050355"/>
                </a:lnTo>
                <a:cubicBezTo>
                  <a:pt x="1331826" y="1144860"/>
                  <a:pt x="1255179" y="1221507"/>
                  <a:pt x="1160673" y="1221507"/>
                </a:cubicBezTo>
                <a:lnTo>
                  <a:pt x="172827" y="1221507"/>
                </a:lnTo>
                <a:cubicBezTo>
                  <a:pt x="78321" y="1221507"/>
                  <a:pt x="1674" y="1144860"/>
                  <a:pt x="1674" y="1050355"/>
                </a:cubicBezTo>
                <a:lnTo>
                  <a:pt x="1674" y="1006450"/>
                </a:lnTo>
                <a:cubicBezTo>
                  <a:pt x="-558" y="997893"/>
                  <a:pt x="-558" y="989335"/>
                  <a:pt x="1674" y="980405"/>
                </a:cubicBezTo>
                <a:lnTo>
                  <a:pt x="1674" y="171152"/>
                </a:lnTo>
                <a:cubicBezTo>
                  <a:pt x="1674" y="76646"/>
                  <a:pt x="78321" y="0"/>
                  <a:pt x="172827" y="0"/>
                </a:cubicBezTo>
                <a:close/>
              </a:path>
            </a:pathLst>
          </a:custGeom>
          <a:solidFill>
            <a:schemeClr val="bg1">
              <a:alpha val="40000"/>
            </a:schemeClr>
          </a:solidFill>
          <a:ln w="1860" cap="flat">
            <a:noFill/>
            <a:prstDash val="solid"/>
            <a:miter/>
          </a:ln>
        </p:spPr>
        <p:txBody>
          <a:bodyPr rtlCol="0" anchor="ctr"/>
          <a:lstStyle/>
          <a:p>
            <a:endParaRPr lang="zh-CN" altLang="en-US"/>
          </a:p>
        </p:txBody>
      </p:sp>
      <p:sp>
        <p:nvSpPr>
          <p:cNvPr id="11" name="任意多边形: 形状 10">
            <a:extLst>
              <a:ext uri="{FF2B5EF4-FFF2-40B4-BE49-F238E27FC236}">
                <a16:creationId xmlns:a16="http://schemas.microsoft.com/office/drawing/2014/main" id="{F8397FA8-DAAB-423A-8FF2-0E3CAB9C0BE2}"/>
              </a:ext>
            </a:extLst>
          </p:cNvPr>
          <p:cNvSpPr/>
          <p:nvPr/>
        </p:nvSpPr>
        <p:spPr>
          <a:xfrm>
            <a:off x="10058400" y="425754"/>
            <a:ext cx="1219200" cy="1118208"/>
          </a:xfrm>
          <a:custGeom>
            <a:avLst/>
            <a:gdLst>
              <a:gd name="connsiteX0" fmla="*/ 1006264 w 1331826"/>
              <a:gd name="connsiteY0" fmla="*/ 238125 h 1221507"/>
              <a:gd name="connsiteX1" fmla="*/ 1123466 w 1331826"/>
              <a:gd name="connsiteY1" fmla="*/ 355327 h 1221507"/>
              <a:gd name="connsiteX2" fmla="*/ 1006264 w 1331826"/>
              <a:gd name="connsiteY2" fmla="*/ 472529 h 1221507"/>
              <a:gd name="connsiteX3" fmla="*/ 889062 w 1331826"/>
              <a:gd name="connsiteY3" fmla="*/ 355327 h 1221507"/>
              <a:gd name="connsiteX4" fmla="*/ 1006264 w 1331826"/>
              <a:gd name="connsiteY4" fmla="*/ 238125 h 1221507"/>
              <a:gd name="connsiteX5" fmla="*/ 172827 w 1331826"/>
              <a:gd name="connsiteY5" fmla="*/ 104180 h 1221507"/>
              <a:gd name="connsiteX6" fmla="*/ 105482 w 1331826"/>
              <a:gd name="connsiteY6" fmla="*/ 171152 h 1221507"/>
              <a:gd name="connsiteX7" fmla="*/ 105482 w 1331826"/>
              <a:gd name="connsiteY7" fmla="*/ 726281 h 1221507"/>
              <a:gd name="connsiteX8" fmla="*/ 179152 w 1331826"/>
              <a:gd name="connsiteY8" fmla="*/ 599777 h 1221507"/>
              <a:gd name="connsiteX9" fmla="*/ 303795 w 1331826"/>
              <a:gd name="connsiteY9" fmla="*/ 490761 h 1221507"/>
              <a:gd name="connsiteX10" fmla="*/ 414300 w 1331826"/>
              <a:gd name="connsiteY10" fmla="*/ 507504 h 1221507"/>
              <a:gd name="connsiteX11" fmla="*/ 731676 w 1331826"/>
              <a:gd name="connsiteY11" fmla="*/ 856878 h 1221507"/>
              <a:gd name="connsiteX12" fmla="*/ 780790 w 1331826"/>
              <a:gd name="connsiteY12" fmla="*/ 791022 h 1221507"/>
              <a:gd name="connsiteX13" fmla="*/ 988777 w 1331826"/>
              <a:gd name="connsiteY13" fmla="*/ 633264 h 1221507"/>
              <a:gd name="connsiteX14" fmla="*/ 1093329 w 1331826"/>
              <a:gd name="connsiteY14" fmla="*/ 666006 h 1221507"/>
              <a:gd name="connsiteX15" fmla="*/ 1227646 w 1331826"/>
              <a:gd name="connsiteY15" fmla="*/ 821159 h 1221507"/>
              <a:gd name="connsiteX16" fmla="*/ 1227646 w 1331826"/>
              <a:gd name="connsiteY16" fmla="*/ 171152 h 1221507"/>
              <a:gd name="connsiteX17" fmla="*/ 1160673 w 1331826"/>
              <a:gd name="connsiteY17" fmla="*/ 104180 h 1221507"/>
              <a:gd name="connsiteX18" fmla="*/ 172827 w 1331826"/>
              <a:gd name="connsiteY18" fmla="*/ 0 h 1221507"/>
              <a:gd name="connsiteX19" fmla="*/ 1160673 w 1331826"/>
              <a:gd name="connsiteY19" fmla="*/ 0 h 1221507"/>
              <a:gd name="connsiteX20" fmla="*/ 1331826 w 1331826"/>
              <a:gd name="connsiteY20" fmla="*/ 171152 h 1221507"/>
              <a:gd name="connsiteX21" fmla="*/ 1331826 w 1331826"/>
              <a:gd name="connsiteY21" fmla="*/ 1050355 h 1221507"/>
              <a:gd name="connsiteX22" fmla="*/ 1160673 w 1331826"/>
              <a:gd name="connsiteY22" fmla="*/ 1221507 h 1221507"/>
              <a:gd name="connsiteX23" fmla="*/ 172827 w 1331826"/>
              <a:gd name="connsiteY23" fmla="*/ 1221507 h 1221507"/>
              <a:gd name="connsiteX24" fmla="*/ 1674 w 1331826"/>
              <a:gd name="connsiteY24" fmla="*/ 1050355 h 1221507"/>
              <a:gd name="connsiteX25" fmla="*/ 1674 w 1331826"/>
              <a:gd name="connsiteY25" fmla="*/ 1006450 h 1221507"/>
              <a:gd name="connsiteX26" fmla="*/ 1674 w 1331826"/>
              <a:gd name="connsiteY26" fmla="*/ 980405 h 1221507"/>
              <a:gd name="connsiteX27" fmla="*/ 1674 w 1331826"/>
              <a:gd name="connsiteY27" fmla="*/ 171152 h 1221507"/>
              <a:gd name="connsiteX28" fmla="*/ 172827 w 1331826"/>
              <a:gd name="connsiteY28" fmla="*/ 0 h 1221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31826" h="1221507">
                <a:moveTo>
                  <a:pt x="1006264" y="238125"/>
                </a:moveTo>
                <a:cubicBezTo>
                  <a:pt x="1070993" y="238125"/>
                  <a:pt x="1123466" y="290598"/>
                  <a:pt x="1123466" y="355327"/>
                </a:cubicBezTo>
                <a:cubicBezTo>
                  <a:pt x="1123466" y="420056"/>
                  <a:pt x="1070993" y="472529"/>
                  <a:pt x="1006264" y="472529"/>
                </a:cubicBezTo>
                <a:cubicBezTo>
                  <a:pt x="941535" y="472529"/>
                  <a:pt x="889062" y="420056"/>
                  <a:pt x="889062" y="355327"/>
                </a:cubicBezTo>
                <a:cubicBezTo>
                  <a:pt x="889062" y="290598"/>
                  <a:pt x="941535" y="238125"/>
                  <a:pt x="1006264" y="238125"/>
                </a:cubicBezTo>
                <a:close/>
                <a:moveTo>
                  <a:pt x="172827" y="104180"/>
                </a:moveTo>
                <a:cubicBezTo>
                  <a:pt x="135620" y="104180"/>
                  <a:pt x="105854" y="133945"/>
                  <a:pt x="105482" y="171152"/>
                </a:cubicBezTo>
                <a:lnTo>
                  <a:pt x="105482" y="726281"/>
                </a:lnTo>
                <a:cubicBezTo>
                  <a:pt x="130411" y="676424"/>
                  <a:pt x="154967" y="634008"/>
                  <a:pt x="179152" y="599777"/>
                </a:cubicBezTo>
                <a:cubicBezTo>
                  <a:pt x="220824" y="540246"/>
                  <a:pt x="261751" y="504527"/>
                  <a:pt x="303795" y="490761"/>
                </a:cubicBezTo>
                <a:cubicBezTo>
                  <a:pt x="342491" y="478110"/>
                  <a:pt x="380442" y="483691"/>
                  <a:pt x="414300" y="507504"/>
                </a:cubicBezTo>
                <a:cubicBezTo>
                  <a:pt x="528526" y="587871"/>
                  <a:pt x="663215" y="762372"/>
                  <a:pt x="731676" y="856878"/>
                </a:cubicBezTo>
                <a:cubicBezTo>
                  <a:pt x="745443" y="837158"/>
                  <a:pt x="762186" y="814090"/>
                  <a:pt x="780790" y="791022"/>
                </a:cubicBezTo>
                <a:cubicBezTo>
                  <a:pt x="858552" y="693911"/>
                  <a:pt x="926641" y="642193"/>
                  <a:pt x="988777" y="633264"/>
                </a:cubicBezTo>
                <a:cubicBezTo>
                  <a:pt x="1028216" y="627683"/>
                  <a:pt x="1064307" y="638845"/>
                  <a:pt x="1093329" y="666006"/>
                </a:cubicBezTo>
                <a:cubicBezTo>
                  <a:pt x="1142070" y="711398"/>
                  <a:pt x="1188951" y="768697"/>
                  <a:pt x="1227646" y="821159"/>
                </a:cubicBezTo>
                <a:lnTo>
                  <a:pt x="1227646" y="171152"/>
                </a:lnTo>
                <a:cubicBezTo>
                  <a:pt x="1227646" y="134317"/>
                  <a:pt x="1197508" y="104180"/>
                  <a:pt x="1160673" y="104180"/>
                </a:cubicBezTo>
                <a:close/>
                <a:moveTo>
                  <a:pt x="172827" y="0"/>
                </a:moveTo>
                <a:lnTo>
                  <a:pt x="1160673" y="0"/>
                </a:lnTo>
                <a:cubicBezTo>
                  <a:pt x="1255179" y="0"/>
                  <a:pt x="1331826" y="76646"/>
                  <a:pt x="1331826" y="171152"/>
                </a:cubicBezTo>
                <a:lnTo>
                  <a:pt x="1331826" y="1050355"/>
                </a:lnTo>
                <a:cubicBezTo>
                  <a:pt x="1331826" y="1144860"/>
                  <a:pt x="1255179" y="1221507"/>
                  <a:pt x="1160673" y="1221507"/>
                </a:cubicBezTo>
                <a:lnTo>
                  <a:pt x="172827" y="1221507"/>
                </a:lnTo>
                <a:cubicBezTo>
                  <a:pt x="78321" y="1221507"/>
                  <a:pt x="1674" y="1144860"/>
                  <a:pt x="1674" y="1050355"/>
                </a:cubicBezTo>
                <a:lnTo>
                  <a:pt x="1674" y="1006450"/>
                </a:lnTo>
                <a:cubicBezTo>
                  <a:pt x="-558" y="997893"/>
                  <a:pt x="-558" y="989335"/>
                  <a:pt x="1674" y="980405"/>
                </a:cubicBezTo>
                <a:lnTo>
                  <a:pt x="1674" y="171152"/>
                </a:lnTo>
                <a:cubicBezTo>
                  <a:pt x="1674" y="76646"/>
                  <a:pt x="78321" y="0"/>
                  <a:pt x="172827" y="0"/>
                </a:cubicBezTo>
                <a:close/>
              </a:path>
            </a:pathLst>
          </a:custGeom>
          <a:solidFill>
            <a:schemeClr val="bg1">
              <a:alpha val="40000"/>
            </a:schemeClr>
          </a:solidFill>
          <a:ln w="1860" cap="flat">
            <a:noFill/>
            <a:prstDash val="solid"/>
            <a:miter/>
          </a:ln>
        </p:spPr>
        <p:txBody>
          <a:bodyPr rtlCol="0" anchor="ctr"/>
          <a:lstStyle/>
          <a:p>
            <a:endParaRPr lang="zh-CN" altLang="en-US"/>
          </a:p>
        </p:txBody>
      </p:sp>
      <p:sp>
        <p:nvSpPr>
          <p:cNvPr id="12" name="文本框 11">
            <a:extLst>
              <a:ext uri="{FF2B5EF4-FFF2-40B4-BE49-F238E27FC236}">
                <a16:creationId xmlns:a16="http://schemas.microsoft.com/office/drawing/2014/main" id="{F5934A15-98A8-4AA0-B638-38094E2AFC3B}"/>
              </a:ext>
            </a:extLst>
          </p:cNvPr>
          <p:cNvSpPr txBox="1"/>
          <p:nvPr/>
        </p:nvSpPr>
        <p:spPr>
          <a:xfrm>
            <a:off x="4759151" y="768880"/>
            <a:ext cx="2673698" cy="1354217"/>
          </a:xfrm>
          <a:prstGeom prst="rect">
            <a:avLst/>
          </a:prstGeom>
          <a:noFill/>
        </p:spPr>
        <p:txBody>
          <a:bodyPr wrap="square" lIns="0" tIns="0" rIns="0" bIns="0" rtlCol="0" anchor="t">
            <a:spAutoFit/>
          </a:bodyPr>
          <a:lstStyle/>
          <a:p>
            <a:pPr algn="dist"/>
            <a:r>
              <a:rPr lang="zh-CN" altLang="en-US" sz="8800" dirty="0">
                <a:solidFill>
                  <a:schemeClr val="accent1"/>
                </a:solidFill>
                <a:latin typeface="+mj-ea"/>
                <a:ea typeface="+mj-ea"/>
              </a:rPr>
              <a:t>目录</a:t>
            </a:r>
          </a:p>
        </p:txBody>
      </p:sp>
      <p:sp>
        <p:nvSpPr>
          <p:cNvPr id="13" name="文本框 12">
            <a:extLst>
              <a:ext uri="{FF2B5EF4-FFF2-40B4-BE49-F238E27FC236}">
                <a16:creationId xmlns:a16="http://schemas.microsoft.com/office/drawing/2014/main" id="{544494DD-F0CD-4281-B223-4754B8DC7D57}"/>
              </a:ext>
            </a:extLst>
          </p:cNvPr>
          <p:cNvSpPr txBox="1"/>
          <p:nvPr/>
        </p:nvSpPr>
        <p:spPr>
          <a:xfrm>
            <a:off x="4895849" y="2241782"/>
            <a:ext cx="2531437" cy="276999"/>
          </a:xfrm>
          <a:prstGeom prst="rect">
            <a:avLst/>
          </a:prstGeom>
          <a:noFill/>
        </p:spPr>
        <p:txBody>
          <a:bodyPr wrap="square" lIns="0" tIns="0" rIns="0" bIns="0" rtlCol="0" anchor="t">
            <a:spAutoFit/>
          </a:bodyPr>
          <a:lstStyle/>
          <a:p>
            <a:pPr algn="dist"/>
            <a:r>
              <a:rPr lang="en-US" altLang="zh-CN" dirty="0">
                <a:solidFill>
                  <a:schemeClr val="accent1"/>
                </a:solidFill>
              </a:rPr>
              <a:t>CONTENTS</a:t>
            </a:r>
            <a:endParaRPr lang="zh-CN" altLang="en-US" dirty="0">
              <a:solidFill>
                <a:schemeClr val="accent1"/>
              </a:solidFill>
            </a:endParaRPr>
          </a:p>
        </p:txBody>
      </p:sp>
      <p:sp>
        <p:nvSpPr>
          <p:cNvPr id="14" name="椭圆 13">
            <a:extLst>
              <a:ext uri="{FF2B5EF4-FFF2-40B4-BE49-F238E27FC236}">
                <a16:creationId xmlns:a16="http://schemas.microsoft.com/office/drawing/2014/main" id="{37DC8C52-1373-43E9-9B11-C462BD5BC3D9}"/>
              </a:ext>
            </a:extLst>
          </p:cNvPr>
          <p:cNvSpPr/>
          <p:nvPr/>
        </p:nvSpPr>
        <p:spPr>
          <a:xfrm>
            <a:off x="1099437" y="3082773"/>
            <a:ext cx="1118208" cy="1118208"/>
          </a:xfrm>
          <a:prstGeom prst="ellipse">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a:solidFill>
                  <a:schemeClr val="accent1"/>
                </a:solidFill>
              </a:rPr>
              <a:t>图标</a:t>
            </a:r>
          </a:p>
        </p:txBody>
      </p:sp>
      <p:sp>
        <p:nvSpPr>
          <p:cNvPr id="15" name="文本框 14">
            <a:extLst>
              <a:ext uri="{FF2B5EF4-FFF2-40B4-BE49-F238E27FC236}">
                <a16:creationId xmlns:a16="http://schemas.microsoft.com/office/drawing/2014/main" id="{5ED5F656-67CD-46E7-84BD-21F56D03682A}"/>
              </a:ext>
            </a:extLst>
          </p:cNvPr>
          <p:cNvSpPr txBox="1"/>
          <p:nvPr/>
        </p:nvSpPr>
        <p:spPr>
          <a:xfrm>
            <a:off x="735212" y="4358336"/>
            <a:ext cx="1846659" cy="369332"/>
          </a:xfrm>
          <a:prstGeom prst="rect">
            <a:avLst/>
          </a:prstGeom>
          <a:noFill/>
        </p:spPr>
        <p:txBody>
          <a:bodyPr wrap="none" lIns="0" tIns="0" rIns="0" bIns="0" rtlCol="0" anchor="t">
            <a:spAutoFit/>
          </a:bodyPr>
          <a:lstStyle/>
          <a:p>
            <a:pPr algn="ctr"/>
            <a:r>
              <a:rPr lang="zh-CN" altLang="en-US" sz="2400" dirty="0">
                <a:solidFill>
                  <a:schemeClr val="accent1"/>
                </a:solidFill>
                <a:latin typeface="+mj-ea"/>
                <a:ea typeface="+mj-ea"/>
              </a:rPr>
              <a:t>输入目录标题</a:t>
            </a:r>
          </a:p>
        </p:txBody>
      </p:sp>
      <p:sp>
        <p:nvSpPr>
          <p:cNvPr id="16" name="文本框 15">
            <a:extLst>
              <a:ext uri="{FF2B5EF4-FFF2-40B4-BE49-F238E27FC236}">
                <a16:creationId xmlns:a16="http://schemas.microsoft.com/office/drawing/2014/main" id="{BBF34DFA-B3FF-4FBF-9528-17073BC6B4CC}"/>
              </a:ext>
            </a:extLst>
          </p:cNvPr>
          <p:cNvSpPr txBox="1"/>
          <p:nvPr/>
        </p:nvSpPr>
        <p:spPr>
          <a:xfrm>
            <a:off x="735211" y="4819518"/>
            <a:ext cx="1846660" cy="215444"/>
          </a:xfrm>
          <a:prstGeom prst="rect">
            <a:avLst/>
          </a:prstGeom>
          <a:noFill/>
        </p:spPr>
        <p:txBody>
          <a:bodyPr wrap="square" lIns="0" tIns="0" rIns="0" bIns="0" rtlCol="0" anchor="t">
            <a:spAutoFit/>
          </a:bodyPr>
          <a:lstStyle/>
          <a:p>
            <a:pPr algn="dist"/>
            <a:r>
              <a:rPr lang="en-US" altLang="zh-CN" sz="1400" dirty="0">
                <a:solidFill>
                  <a:schemeClr val="accent1"/>
                </a:solidFill>
              </a:rPr>
              <a:t>Contents Title Here</a:t>
            </a:r>
            <a:endParaRPr lang="zh-CN" altLang="en-US" sz="1400" dirty="0">
              <a:solidFill>
                <a:schemeClr val="accent1"/>
              </a:solidFill>
            </a:endParaRPr>
          </a:p>
        </p:txBody>
      </p:sp>
      <p:sp>
        <p:nvSpPr>
          <p:cNvPr id="19" name="椭圆 18">
            <a:extLst>
              <a:ext uri="{FF2B5EF4-FFF2-40B4-BE49-F238E27FC236}">
                <a16:creationId xmlns:a16="http://schemas.microsoft.com/office/drawing/2014/main" id="{C49F7AFD-D8D8-4235-A150-E4D1F1700800}"/>
              </a:ext>
            </a:extLst>
          </p:cNvPr>
          <p:cNvSpPr/>
          <p:nvPr/>
        </p:nvSpPr>
        <p:spPr>
          <a:xfrm>
            <a:off x="4012896" y="3082773"/>
            <a:ext cx="1118208" cy="1118208"/>
          </a:xfrm>
          <a:prstGeom prst="ellipse">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a:solidFill>
                  <a:schemeClr val="accent1"/>
                </a:solidFill>
              </a:rPr>
              <a:t>图标</a:t>
            </a:r>
          </a:p>
        </p:txBody>
      </p:sp>
      <p:sp>
        <p:nvSpPr>
          <p:cNvPr id="20" name="文本框 19">
            <a:extLst>
              <a:ext uri="{FF2B5EF4-FFF2-40B4-BE49-F238E27FC236}">
                <a16:creationId xmlns:a16="http://schemas.microsoft.com/office/drawing/2014/main" id="{773FB742-A33F-491C-8B3E-B03DC1E1337A}"/>
              </a:ext>
            </a:extLst>
          </p:cNvPr>
          <p:cNvSpPr txBox="1"/>
          <p:nvPr/>
        </p:nvSpPr>
        <p:spPr>
          <a:xfrm>
            <a:off x="3648671" y="4358336"/>
            <a:ext cx="1846659" cy="369332"/>
          </a:xfrm>
          <a:prstGeom prst="rect">
            <a:avLst/>
          </a:prstGeom>
          <a:noFill/>
        </p:spPr>
        <p:txBody>
          <a:bodyPr wrap="none" lIns="0" tIns="0" rIns="0" bIns="0" rtlCol="0" anchor="t">
            <a:spAutoFit/>
          </a:bodyPr>
          <a:lstStyle/>
          <a:p>
            <a:pPr algn="ctr"/>
            <a:r>
              <a:rPr lang="zh-CN" altLang="en-US" sz="2400" dirty="0">
                <a:solidFill>
                  <a:schemeClr val="accent1"/>
                </a:solidFill>
                <a:latin typeface="+mj-ea"/>
                <a:ea typeface="+mj-ea"/>
              </a:rPr>
              <a:t>输入目录标题</a:t>
            </a:r>
          </a:p>
        </p:txBody>
      </p:sp>
      <p:sp>
        <p:nvSpPr>
          <p:cNvPr id="21" name="文本框 20">
            <a:extLst>
              <a:ext uri="{FF2B5EF4-FFF2-40B4-BE49-F238E27FC236}">
                <a16:creationId xmlns:a16="http://schemas.microsoft.com/office/drawing/2014/main" id="{8774D823-9BD8-4D6A-9B91-07F516236F07}"/>
              </a:ext>
            </a:extLst>
          </p:cNvPr>
          <p:cNvSpPr txBox="1"/>
          <p:nvPr/>
        </p:nvSpPr>
        <p:spPr>
          <a:xfrm>
            <a:off x="3648670" y="4819518"/>
            <a:ext cx="1846660" cy="215444"/>
          </a:xfrm>
          <a:prstGeom prst="rect">
            <a:avLst/>
          </a:prstGeom>
          <a:noFill/>
        </p:spPr>
        <p:txBody>
          <a:bodyPr wrap="square" lIns="0" tIns="0" rIns="0" bIns="0" rtlCol="0" anchor="t">
            <a:spAutoFit/>
          </a:bodyPr>
          <a:lstStyle/>
          <a:p>
            <a:pPr algn="dist"/>
            <a:r>
              <a:rPr lang="en-US" altLang="zh-CN" sz="1400" dirty="0">
                <a:solidFill>
                  <a:schemeClr val="accent1"/>
                </a:solidFill>
              </a:rPr>
              <a:t>Contents Title Here</a:t>
            </a:r>
            <a:endParaRPr lang="zh-CN" altLang="en-US" sz="1400" dirty="0">
              <a:solidFill>
                <a:schemeClr val="accent1"/>
              </a:solidFill>
            </a:endParaRPr>
          </a:p>
        </p:txBody>
      </p:sp>
      <p:sp>
        <p:nvSpPr>
          <p:cNvPr id="23" name="椭圆 22">
            <a:extLst>
              <a:ext uri="{FF2B5EF4-FFF2-40B4-BE49-F238E27FC236}">
                <a16:creationId xmlns:a16="http://schemas.microsoft.com/office/drawing/2014/main" id="{50459D3F-AFF9-4940-B20D-99C30BA4759E}"/>
              </a:ext>
            </a:extLst>
          </p:cNvPr>
          <p:cNvSpPr/>
          <p:nvPr/>
        </p:nvSpPr>
        <p:spPr>
          <a:xfrm>
            <a:off x="7059707" y="3082773"/>
            <a:ext cx="1118208" cy="1118208"/>
          </a:xfrm>
          <a:prstGeom prst="ellipse">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a:solidFill>
                  <a:schemeClr val="accent1"/>
                </a:solidFill>
              </a:rPr>
              <a:t>图标</a:t>
            </a:r>
          </a:p>
        </p:txBody>
      </p:sp>
      <p:sp>
        <p:nvSpPr>
          <p:cNvPr id="24" name="文本框 23">
            <a:extLst>
              <a:ext uri="{FF2B5EF4-FFF2-40B4-BE49-F238E27FC236}">
                <a16:creationId xmlns:a16="http://schemas.microsoft.com/office/drawing/2014/main" id="{A43ECEB1-9E48-4666-8D4B-56D4BF4071AA}"/>
              </a:ext>
            </a:extLst>
          </p:cNvPr>
          <p:cNvSpPr txBox="1"/>
          <p:nvPr/>
        </p:nvSpPr>
        <p:spPr>
          <a:xfrm>
            <a:off x="6695482" y="4358336"/>
            <a:ext cx="1846659" cy="369332"/>
          </a:xfrm>
          <a:prstGeom prst="rect">
            <a:avLst/>
          </a:prstGeom>
          <a:noFill/>
        </p:spPr>
        <p:txBody>
          <a:bodyPr wrap="none" lIns="0" tIns="0" rIns="0" bIns="0" rtlCol="0" anchor="t">
            <a:spAutoFit/>
          </a:bodyPr>
          <a:lstStyle/>
          <a:p>
            <a:pPr algn="ctr"/>
            <a:r>
              <a:rPr lang="zh-CN" altLang="en-US" sz="2400" dirty="0">
                <a:solidFill>
                  <a:schemeClr val="accent1"/>
                </a:solidFill>
                <a:latin typeface="+mj-ea"/>
                <a:ea typeface="+mj-ea"/>
              </a:rPr>
              <a:t>输入目录标题</a:t>
            </a:r>
          </a:p>
        </p:txBody>
      </p:sp>
      <p:sp>
        <p:nvSpPr>
          <p:cNvPr id="25" name="文本框 24">
            <a:extLst>
              <a:ext uri="{FF2B5EF4-FFF2-40B4-BE49-F238E27FC236}">
                <a16:creationId xmlns:a16="http://schemas.microsoft.com/office/drawing/2014/main" id="{DA2E6681-AC1A-4A68-8CA8-FBFCC7C2F768}"/>
              </a:ext>
            </a:extLst>
          </p:cNvPr>
          <p:cNvSpPr txBox="1"/>
          <p:nvPr/>
        </p:nvSpPr>
        <p:spPr>
          <a:xfrm>
            <a:off x="6695481" y="4819518"/>
            <a:ext cx="1846660" cy="215444"/>
          </a:xfrm>
          <a:prstGeom prst="rect">
            <a:avLst/>
          </a:prstGeom>
          <a:noFill/>
        </p:spPr>
        <p:txBody>
          <a:bodyPr wrap="square" lIns="0" tIns="0" rIns="0" bIns="0" rtlCol="0" anchor="t">
            <a:spAutoFit/>
          </a:bodyPr>
          <a:lstStyle/>
          <a:p>
            <a:pPr algn="dist"/>
            <a:r>
              <a:rPr lang="en-US" altLang="zh-CN" sz="1400" dirty="0">
                <a:solidFill>
                  <a:schemeClr val="accent1"/>
                </a:solidFill>
              </a:rPr>
              <a:t>Contents Title Here</a:t>
            </a:r>
            <a:endParaRPr lang="zh-CN" altLang="en-US" sz="1400" dirty="0">
              <a:solidFill>
                <a:schemeClr val="accent1"/>
              </a:solidFill>
            </a:endParaRPr>
          </a:p>
        </p:txBody>
      </p:sp>
      <p:sp>
        <p:nvSpPr>
          <p:cNvPr id="32" name="椭圆 31">
            <a:extLst>
              <a:ext uri="{FF2B5EF4-FFF2-40B4-BE49-F238E27FC236}">
                <a16:creationId xmlns:a16="http://schemas.microsoft.com/office/drawing/2014/main" id="{B9A6C9C6-BF34-4F21-B5AB-5D875974F497}"/>
              </a:ext>
            </a:extLst>
          </p:cNvPr>
          <p:cNvSpPr/>
          <p:nvPr/>
        </p:nvSpPr>
        <p:spPr>
          <a:xfrm>
            <a:off x="10108896" y="3082773"/>
            <a:ext cx="1118208" cy="1118208"/>
          </a:xfrm>
          <a:prstGeom prst="ellipse">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a:solidFill>
                  <a:schemeClr val="accent1"/>
                </a:solidFill>
              </a:rPr>
              <a:t>图标</a:t>
            </a:r>
          </a:p>
        </p:txBody>
      </p:sp>
      <p:sp>
        <p:nvSpPr>
          <p:cNvPr id="33" name="文本框 32">
            <a:extLst>
              <a:ext uri="{FF2B5EF4-FFF2-40B4-BE49-F238E27FC236}">
                <a16:creationId xmlns:a16="http://schemas.microsoft.com/office/drawing/2014/main" id="{E034E2BE-7962-420F-8D16-87236CD30FE8}"/>
              </a:ext>
            </a:extLst>
          </p:cNvPr>
          <p:cNvSpPr txBox="1"/>
          <p:nvPr/>
        </p:nvSpPr>
        <p:spPr>
          <a:xfrm>
            <a:off x="9744671" y="4358336"/>
            <a:ext cx="1846659" cy="369332"/>
          </a:xfrm>
          <a:prstGeom prst="rect">
            <a:avLst/>
          </a:prstGeom>
          <a:noFill/>
        </p:spPr>
        <p:txBody>
          <a:bodyPr wrap="none" lIns="0" tIns="0" rIns="0" bIns="0" rtlCol="0" anchor="t">
            <a:spAutoFit/>
          </a:bodyPr>
          <a:lstStyle/>
          <a:p>
            <a:pPr algn="ctr"/>
            <a:r>
              <a:rPr lang="zh-CN" altLang="en-US" sz="2400" dirty="0">
                <a:solidFill>
                  <a:schemeClr val="accent1"/>
                </a:solidFill>
                <a:latin typeface="+mj-ea"/>
                <a:ea typeface="+mj-ea"/>
              </a:rPr>
              <a:t>输入目录标题</a:t>
            </a:r>
          </a:p>
        </p:txBody>
      </p:sp>
      <p:sp>
        <p:nvSpPr>
          <p:cNvPr id="34" name="文本框 33">
            <a:extLst>
              <a:ext uri="{FF2B5EF4-FFF2-40B4-BE49-F238E27FC236}">
                <a16:creationId xmlns:a16="http://schemas.microsoft.com/office/drawing/2014/main" id="{D90E759D-46FC-4C98-87DB-B9C7A4BD2B72}"/>
              </a:ext>
            </a:extLst>
          </p:cNvPr>
          <p:cNvSpPr txBox="1"/>
          <p:nvPr/>
        </p:nvSpPr>
        <p:spPr>
          <a:xfrm>
            <a:off x="9744670" y="4819518"/>
            <a:ext cx="1846660" cy="215444"/>
          </a:xfrm>
          <a:prstGeom prst="rect">
            <a:avLst/>
          </a:prstGeom>
          <a:noFill/>
        </p:spPr>
        <p:txBody>
          <a:bodyPr wrap="square" lIns="0" tIns="0" rIns="0" bIns="0" rtlCol="0" anchor="t">
            <a:spAutoFit/>
          </a:bodyPr>
          <a:lstStyle/>
          <a:p>
            <a:pPr algn="dist"/>
            <a:r>
              <a:rPr lang="en-US" altLang="zh-CN" sz="1400" dirty="0">
                <a:solidFill>
                  <a:schemeClr val="accent1"/>
                </a:solidFill>
              </a:rPr>
              <a:t>Contents Title Here</a:t>
            </a:r>
            <a:endParaRPr lang="zh-CN" altLang="en-US" sz="1400" dirty="0">
              <a:solidFill>
                <a:schemeClr val="accent1"/>
              </a:solidFill>
            </a:endParaRPr>
          </a:p>
        </p:txBody>
      </p:sp>
    </p:spTree>
    <p:extLst>
      <p:ext uri="{BB962C8B-B14F-4D97-AF65-F5344CB8AC3E}">
        <p14:creationId xmlns:p14="http://schemas.microsoft.com/office/powerpoint/2010/main" val="445217773"/>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7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Straight Connector 60">
            <a:extLst>
              <a:ext uri="{FF2B5EF4-FFF2-40B4-BE49-F238E27FC236}">
                <a16:creationId xmlns:a16="http://schemas.microsoft.com/office/drawing/2014/main" id="{83CF6FA8-AB74-4D85-BA31-27AFBCE2F256}"/>
              </a:ext>
            </a:extLst>
          </p:cNvPr>
          <p:cNvCxnSpPr/>
          <p:nvPr/>
        </p:nvCxnSpPr>
        <p:spPr>
          <a:xfrm flipH="1">
            <a:off x="2861185" y="3453656"/>
            <a:ext cx="1496555" cy="1983213"/>
          </a:xfrm>
          <a:prstGeom prst="line">
            <a:avLst/>
          </a:prstGeom>
          <a:ln w="34925">
            <a:solidFill>
              <a:schemeClr val="tx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 name="Straight Connector 64">
            <a:extLst>
              <a:ext uri="{FF2B5EF4-FFF2-40B4-BE49-F238E27FC236}">
                <a16:creationId xmlns:a16="http://schemas.microsoft.com/office/drawing/2014/main" id="{B622BF6D-96CE-4482-983B-97711A02F601}"/>
              </a:ext>
            </a:extLst>
          </p:cNvPr>
          <p:cNvCxnSpPr/>
          <p:nvPr/>
        </p:nvCxnSpPr>
        <p:spPr>
          <a:xfrm flipH="1">
            <a:off x="6702730" y="3442239"/>
            <a:ext cx="1496555" cy="1983213"/>
          </a:xfrm>
          <a:prstGeom prst="line">
            <a:avLst/>
          </a:prstGeom>
          <a:ln w="34925">
            <a:solidFill>
              <a:schemeClr val="tx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4" name="Straight Connector 66">
            <a:extLst>
              <a:ext uri="{FF2B5EF4-FFF2-40B4-BE49-F238E27FC236}">
                <a16:creationId xmlns:a16="http://schemas.microsoft.com/office/drawing/2014/main" id="{C4D0A8A5-516C-463D-BD62-01E58758A3BB}"/>
              </a:ext>
            </a:extLst>
          </p:cNvPr>
          <p:cNvCxnSpPr/>
          <p:nvPr/>
        </p:nvCxnSpPr>
        <p:spPr>
          <a:xfrm flipH="1" flipV="1">
            <a:off x="6733031" y="1460372"/>
            <a:ext cx="1496555" cy="1983213"/>
          </a:xfrm>
          <a:prstGeom prst="line">
            <a:avLst/>
          </a:prstGeom>
          <a:ln w="34925">
            <a:solidFill>
              <a:schemeClr val="tx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5" name="Straight Connector 8">
            <a:extLst>
              <a:ext uri="{FF2B5EF4-FFF2-40B4-BE49-F238E27FC236}">
                <a16:creationId xmlns:a16="http://schemas.microsoft.com/office/drawing/2014/main" id="{61D6090B-E2C6-40E9-8DBE-1DCCD4A4EC9E}"/>
              </a:ext>
            </a:extLst>
          </p:cNvPr>
          <p:cNvCxnSpPr/>
          <p:nvPr/>
        </p:nvCxnSpPr>
        <p:spPr>
          <a:xfrm flipH="1" flipV="1">
            <a:off x="2873760" y="1457204"/>
            <a:ext cx="1496555" cy="1983213"/>
          </a:xfrm>
          <a:prstGeom prst="line">
            <a:avLst/>
          </a:prstGeom>
          <a:ln w="34925">
            <a:solidFill>
              <a:schemeClr val="tx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6" name="Straight Connector 2">
            <a:extLst>
              <a:ext uri="{FF2B5EF4-FFF2-40B4-BE49-F238E27FC236}">
                <a16:creationId xmlns:a16="http://schemas.microsoft.com/office/drawing/2014/main" id="{E3581CCB-D11F-442A-9BC2-C946357BB66B}"/>
              </a:ext>
            </a:extLst>
          </p:cNvPr>
          <p:cNvCxnSpPr/>
          <p:nvPr/>
        </p:nvCxnSpPr>
        <p:spPr>
          <a:xfrm flipV="1">
            <a:off x="1219200" y="3429000"/>
            <a:ext cx="8680730" cy="25079"/>
          </a:xfrm>
          <a:prstGeom prst="line">
            <a:avLst/>
          </a:prstGeom>
          <a:ln w="34925">
            <a:solidFill>
              <a:schemeClr val="tx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7" name="Straight Arrow Connector 27">
            <a:extLst>
              <a:ext uri="{FF2B5EF4-FFF2-40B4-BE49-F238E27FC236}">
                <a16:creationId xmlns:a16="http://schemas.microsoft.com/office/drawing/2014/main" id="{242D8F1C-14CE-4B1D-9DA8-4C0A1CDF00EC}"/>
              </a:ext>
            </a:extLst>
          </p:cNvPr>
          <p:cNvCxnSpPr/>
          <p:nvPr/>
        </p:nvCxnSpPr>
        <p:spPr>
          <a:xfrm>
            <a:off x="3793144" y="2639678"/>
            <a:ext cx="1642093" cy="0"/>
          </a:xfrm>
          <a:prstGeom prst="straightConnector1">
            <a:avLst/>
          </a:prstGeom>
          <a:ln w="31750">
            <a:solidFill>
              <a:schemeClr val="tx1">
                <a:lumMod val="60000"/>
                <a:lumOff val="40000"/>
              </a:schemeClr>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8" name="Straight Arrow Connector 28">
            <a:extLst>
              <a:ext uri="{FF2B5EF4-FFF2-40B4-BE49-F238E27FC236}">
                <a16:creationId xmlns:a16="http://schemas.microsoft.com/office/drawing/2014/main" id="{1BFD02BB-D84B-4635-86E8-B848DC702F89}"/>
              </a:ext>
            </a:extLst>
          </p:cNvPr>
          <p:cNvCxnSpPr/>
          <p:nvPr/>
        </p:nvCxnSpPr>
        <p:spPr>
          <a:xfrm flipH="1">
            <a:off x="1680341" y="2340132"/>
            <a:ext cx="1860577" cy="0"/>
          </a:xfrm>
          <a:prstGeom prst="straightConnector1">
            <a:avLst/>
          </a:prstGeom>
          <a:ln w="31750">
            <a:solidFill>
              <a:schemeClr val="tx1">
                <a:lumMod val="60000"/>
                <a:lumOff val="40000"/>
              </a:schemeClr>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9" name="Straight Arrow Connector 29">
            <a:extLst>
              <a:ext uri="{FF2B5EF4-FFF2-40B4-BE49-F238E27FC236}">
                <a16:creationId xmlns:a16="http://schemas.microsoft.com/office/drawing/2014/main" id="{0389EEC2-32F3-4FF9-958F-7C35A8316050}"/>
              </a:ext>
            </a:extLst>
          </p:cNvPr>
          <p:cNvCxnSpPr/>
          <p:nvPr/>
        </p:nvCxnSpPr>
        <p:spPr>
          <a:xfrm flipH="1">
            <a:off x="2660504" y="2953120"/>
            <a:ext cx="1332608" cy="0"/>
          </a:xfrm>
          <a:prstGeom prst="straightConnector1">
            <a:avLst/>
          </a:prstGeom>
          <a:ln w="31750">
            <a:solidFill>
              <a:schemeClr val="tx1">
                <a:lumMod val="60000"/>
                <a:lumOff val="40000"/>
              </a:schemeClr>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10" name="Straight Arrow Connector 31">
            <a:extLst>
              <a:ext uri="{FF2B5EF4-FFF2-40B4-BE49-F238E27FC236}">
                <a16:creationId xmlns:a16="http://schemas.microsoft.com/office/drawing/2014/main" id="{0A82E195-AFD2-4092-A5C2-39E0DCB68330}"/>
              </a:ext>
            </a:extLst>
          </p:cNvPr>
          <p:cNvCxnSpPr/>
          <p:nvPr/>
        </p:nvCxnSpPr>
        <p:spPr>
          <a:xfrm>
            <a:off x="7879049" y="2953120"/>
            <a:ext cx="1712453" cy="0"/>
          </a:xfrm>
          <a:prstGeom prst="straightConnector1">
            <a:avLst/>
          </a:prstGeom>
          <a:ln w="31750">
            <a:solidFill>
              <a:schemeClr val="tx1">
                <a:lumMod val="60000"/>
                <a:lumOff val="40000"/>
              </a:schemeClr>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32">
            <a:extLst>
              <a:ext uri="{FF2B5EF4-FFF2-40B4-BE49-F238E27FC236}">
                <a16:creationId xmlns:a16="http://schemas.microsoft.com/office/drawing/2014/main" id="{B88EA3B1-6C3E-407E-A1B2-9937C074F213}"/>
              </a:ext>
            </a:extLst>
          </p:cNvPr>
          <p:cNvCxnSpPr/>
          <p:nvPr/>
        </p:nvCxnSpPr>
        <p:spPr>
          <a:xfrm>
            <a:off x="7434676" y="2340132"/>
            <a:ext cx="1757815" cy="0"/>
          </a:xfrm>
          <a:prstGeom prst="straightConnector1">
            <a:avLst/>
          </a:prstGeom>
          <a:ln w="31750">
            <a:solidFill>
              <a:schemeClr val="tx1">
                <a:lumMod val="60000"/>
                <a:lumOff val="40000"/>
              </a:schemeClr>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33">
            <a:extLst>
              <a:ext uri="{FF2B5EF4-FFF2-40B4-BE49-F238E27FC236}">
                <a16:creationId xmlns:a16="http://schemas.microsoft.com/office/drawing/2014/main" id="{32BF0BFB-26AF-4D8E-BC4D-05675C0457FB}"/>
              </a:ext>
            </a:extLst>
          </p:cNvPr>
          <p:cNvCxnSpPr/>
          <p:nvPr/>
        </p:nvCxnSpPr>
        <p:spPr>
          <a:xfrm flipH="1">
            <a:off x="6360728" y="2639678"/>
            <a:ext cx="1270833" cy="0"/>
          </a:xfrm>
          <a:prstGeom prst="straightConnector1">
            <a:avLst/>
          </a:prstGeom>
          <a:ln w="31750">
            <a:solidFill>
              <a:schemeClr val="tx1">
                <a:lumMod val="60000"/>
                <a:lumOff val="40000"/>
              </a:schemeClr>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34">
            <a:extLst>
              <a:ext uri="{FF2B5EF4-FFF2-40B4-BE49-F238E27FC236}">
                <a16:creationId xmlns:a16="http://schemas.microsoft.com/office/drawing/2014/main" id="{6C5D0D2A-C160-47BD-920D-86201580B46E}"/>
              </a:ext>
            </a:extLst>
          </p:cNvPr>
          <p:cNvCxnSpPr/>
          <p:nvPr/>
        </p:nvCxnSpPr>
        <p:spPr>
          <a:xfrm flipH="1">
            <a:off x="2301911" y="4021172"/>
            <a:ext cx="1587679" cy="0"/>
          </a:xfrm>
          <a:prstGeom prst="straightConnector1">
            <a:avLst/>
          </a:prstGeom>
          <a:ln w="31750">
            <a:solidFill>
              <a:schemeClr val="tx1">
                <a:lumMod val="60000"/>
                <a:lumOff val="40000"/>
              </a:schemeClr>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35">
            <a:extLst>
              <a:ext uri="{FF2B5EF4-FFF2-40B4-BE49-F238E27FC236}">
                <a16:creationId xmlns:a16="http://schemas.microsoft.com/office/drawing/2014/main" id="{ABDF7258-DCD5-4DD0-A15E-90F7287AD075}"/>
              </a:ext>
            </a:extLst>
          </p:cNvPr>
          <p:cNvCxnSpPr/>
          <p:nvPr/>
        </p:nvCxnSpPr>
        <p:spPr>
          <a:xfrm flipH="1">
            <a:off x="1730216" y="4704854"/>
            <a:ext cx="1690210" cy="0"/>
          </a:xfrm>
          <a:prstGeom prst="straightConnector1">
            <a:avLst/>
          </a:prstGeom>
          <a:ln w="31750">
            <a:solidFill>
              <a:schemeClr val="tx1">
                <a:lumMod val="60000"/>
                <a:lumOff val="40000"/>
              </a:schemeClr>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38">
            <a:extLst>
              <a:ext uri="{FF2B5EF4-FFF2-40B4-BE49-F238E27FC236}">
                <a16:creationId xmlns:a16="http://schemas.microsoft.com/office/drawing/2014/main" id="{71E5A05C-4819-4408-A22D-A4C2B49926FC}"/>
              </a:ext>
            </a:extLst>
          </p:cNvPr>
          <p:cNvCxnSpPr/>
          <p:nvPr/>
        </p:nvCxnSpPr>
        <p:spPr>
          <a:xfrm>
            <a:off x="3641974" y="4392562"/>
            <a:ext cx="1809888" cy="0"/>
          </a:xfrm>
          <a:prstGeom prst="straightConnector1">
            <a:avLst/>
          </a:prstGeom>
          <a:ln w="31750">
            <a:solidFill>
              <a:schemeClr val="tx1">
                <a:lumMod val="60000"/>
                <a:lumOff val="40000"/>
              </a:schemeClr>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41">
            <a:extLst>
              <a:ext uri="{FF2B5EF4-FFF2-40B4-BE49-F238E27FC236}">
                <a16:creationId xmlns:a16="http://schemas.microsoft.com/office/drawing/2014/main" id="{EC6811BD-5B3D-438B-B694-5FC84542F7B7}"/>
              </a:ext>
            </a:extLst>
          </p:cNvPr>
          <p:cNvCxnSpPr/>
          <p:nvPr/>
        </p:nvCxnSpPr>
        <p:spPr>
          <a:xfrm>
            <a:off x="7265141" y="4719844"/>
            <a:ext cx="1927350" cy="0"/>
          </a:xfrm>
          <a:prstGeom prst="straightConnector1">
            <a:avLst/>
          </a:prstGeom>
          <a:ln w="31750">
            <a:solidFill>
              <a:schemeClr val="tx1">
                <a:lumMod val="60000"/>
                <a:lumOff val="40000"/>
              </a:schemeClr>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42">
            <a:extLst>
              <a:ext uri="{FF2B5EF4-FFF2-40B4-BE49-F238E27FC236}">
                <a16:creationId xmlns:a16="http://schemas.microsoft.com/office/drawing/2014/main" id="{034E0999-EE4C-4642-B481-7445318EC167}"/>
              </a:ext>
            </a:extLst>
          </p:cNvPr>
          <p:cNvCxnSpPr/>
          <p:nvPr/>
        </p:nvCxnSpPr>
        <p:spPr>
          <a:xfrm>
            <a:off x="7760207" y="4021172"/>
            <a:ext cx="1831295" cy="0"/>
          </a:xfrm>
          <a:prstGeom prst="straightConnector1">
            <a:avLst/>
          </a:prstGeom>
          <a:ln w="31750">
            <a:solidFill>
              <a:schemeClr val="tx1">
                <a:lumMod val="60000"/>
                <a:lumOff val="40000"/>
              </a:schemeClr>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43">
            <a:extLst>
              <a:ext uri="{FF2B5EF4-FFF2-40B4-BE49-F238E27FC236}">
                <a16:creationId xmlns:a16="http://schemas.microsoft.com/office/drawing/2014/main" id="{F332F8E3-78FF-4B84-9EC7-A3E764655F00}"/>
              </a:ext>
            </a:extLst>
          </p:cNvPr>
          <p:cNvCxnSpPr/>
          <p:nvPr/>
        </p:nvCxnSpPr>
        <p:spPr>
          <a:xfrm flipH="1">
            <a:off x="6427125" y="4392562"/>
            <a:ext cx="1045191" cy="0"/>
          </a:xfrm>
          <a:prstGeom prst="straightConnector1">
            <a:avLst/>
          </a:prstGeom>
          <a:ln w="31750">
            <a:solidFill>
              <a:schemeClr val="tx1">
                <a:lumMod val="60000"/>
                <a:lumOff val="40000"/>
              </a:schemeClr>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19" name="TextBox 48">
            <a:extLst>
              <a:ext uri="{FF2B5EF4-FFF2-40B4-BE49-F238E27FC236}">
                <a16:creationId xmlns:a16="http://schemas.microsoft.com/office/drawing/2014/main" id="{B43B8D7A-FC70-45FE-8749-C07EF0DD8823}"/>
              </a:ext>
            </a:extLst>
          </p:cNvPr>
          <p:cNvSpPr txBox="1"/>
          <p:nvPr/>
        </p:nvSpPr>
        <p:spPr>
          <a:xfrm>
            <a:off x="1718497" y="2059101"/>
            <a:ext cx="1696560"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a:cs typeface="+mn-ea"/>
                <a:sym typeface="+mn-lt"/>
              </a:rPr>
              <a:t>Place your text here</a:t>
            </a:r>
          </a:p>
        </p:txBody>
      </p:sp>
      <p:sp>
        <p:nvSpPr>
          <p:cNvPr id="20" name="TextBox 49">
            <a:extLst>
              <a:ext uri="{FF2B5EF4-FFF2-40B4-BE49-F238E27FC236}">
                <a16:creationId xmlns:a16="http://schemas.microsoft.com/office/drawing/2014/main" id="{40C24021-FA7B-45A0-8B34-4AA0FC9E3F66}"/>
              </a:ext>
            </a:extLst>
          </p:cNvPr>
          <p:cNvSpPr txBox="1"/>
          <p:nvPr/>
        </p:nvSpPr>
        <p:spPr>
          <a:xfrm>
            <a:off x="3764570" y="4108106"/>
            <a:ext cx="1696560"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a:cs typeface="+mn-ea"/>
                <a:sym typeface="+mn-lt"/>
              </a:rPr>
              <a:t>Place your text here</a:t>
            </a:r>
          </a:p>
        </p:txBody>
      </p:sp>
      <p:sp>
        <p:nvSpPr>
          <p:cNvPr id="21" name="TextBox 50">
            <a:extLst>
              <a:ext uri="{FF2B5EF4-FFF2-40B4-BE49-F238E27FC236}">
                <a16:creationId xmlns:a16="http://schemas.microsoft.com/office/drawing/2014/main" id="{8766A2C1-C153-4C5C-BE34-28C3A10A2CA3}"/>
              </a:ext>
            </a:extLst>
          </p:cNvPr>
          <p:cNvSpPr txBox="1"/>
          <p:nvPr/>
        </p:nvSpPr>
        <p:spPr>
          <a:xfrm>
            <a:off x="1812104" y="4422008"/>
            <a:ext cx="1696560"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a:cs typeface="+mn-ea"/>
                <a:sym typeface="+mn-lt"/>
              </a:rPr>
              <a:t>Place your text here</a:t>
            </a:r>
          </a:p>
        </p:txBody>
      </p:sp>
      <p:sp>
        <p:nvSpPr>
          <p:cNvPr id="22" name="TextBox 51">
            <a:extLst>
              <a:ext uri="{FF2B5EF4-FFF2-40B4-BE49-F238E27FC236}">
                <a16:creationId xmlns:a16="http://schemas.microsoft.com/office/drawing/2014/main" id="{5627741C-B9ED-4AFB-BC97-84E35B1C3608}"/>
              </a:ext>
            </a:extLst>
          </p:cNvPr>
          <p:cNvSpPr txBox="1"/>
          <p:nvPr/>
        </p:nvSpPr>
        <p:spPr>
          <a:xfrm>
            <a:off x="7809098" y="2664413"/>
            <a:ext cx="1696560"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a:cs typeface="+mn-ea"/>
                <a:sym typeface="+mn-lt"/>
              </a:rPr>
              <a:t>Place your text here</a:t>
            </a:r>
          </a:p>
        </p:txBody>
      </p:sp>
      <p:sp>
        <p:nvSpPr>
          <p:cNvPr id="23" name="TextBox 56">
            <a:extLst>
              <a:ext uri="{FF2B5EF4-FFF2-40B4-BE49-F238E27FC236}">
                <a16:creationId xmlns:a16="http://schemas.microsoft.com/office/drawing/2014/main" id="{F62F18E7-36ED-4826-B2ED-F1C9C9282D40}"/>
              </a:ext>
            </a:extLst>
          </p:cNvPr>
          <p:cNvSpPr txBox="1"/>
          <p:nvPr/>
        </p:nvSpPr>
        <p:spPr>
          <a:xfrm>
            <a:off x="4094892" y="2901239"/>
            <a:ext cx="1696560"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a:cs typeface="+mn-ea"/>
                <a:sym typeface="+mn-lt"/>
              </a:rPr>
              <a:t>Place your text here</a:t>
            </a:r>
          </a:p>
        </p:txBody>
      </p:sp>
      <p:sp>
        <p:nvSpPr>
          <p:cNvPr id="24" name="Rectangle 62">
            <a:extLst>
              <a:ext uri="{FF2B5EF4-FFF2-40B4-BE49-F238E27FC236}">
                <a16:creationId xmlns:a16="http://schemas.microsoft.com/office/drawing/2014/main" id="{7FB16AE2-E74D-4BEB-802C-D7A8AEBEB13C}"/>
              </a:ext>
            </a:extLst>
          </p:cNvPr>
          <p:cNvSpPr/>
          <p:nvPr/>
        </p:nvSpPr>
        <p:spPr>
          <a:xfrm>
            <a:off x="6509840" y="4107891"/>
            <a:ext cx="984565" cy="26161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Pct val="25000"/>
              <a:buFontTx/>
              <a:buNone/>
              <a:tabLst/>
              <a:defRPr/>
            </a:pPr>
            <a:r>
              <a:rPr kumimoji="0" lang="en-US" sz="1100" b="0" i="0" u="none" strike="noStrike" kern="1200" cap="none" spc="0" normalizeH="0" baseline="0" noProof="0" dirty="0">
                <a:ln>
                  <a:noFill/>
                </a:ln>
                <a:solidFill>
                  <a:srgbClr val="000000"/>
                </a:solidFill>
                <a:effectLst/>
                <a:uLnTx/>
                <a:uFillTx/>
                <a:latin typeface="Arial"/>
                <a:cs typeface="+mn-ea"/>
                <a:sym typeface="+mn-lt"/>
              </a:rPr>
              <a:t>Content Title</a:t>
            </a:r>
          </a:p>
        </p:txBody>
      </p:sp>
      <p:sp>
        <p:nvSpPr>
          <p:cNvPr id="25" name="TextBox 73">
            <a:extLst>
              <a:ext uri="{FF2B5EF4-FFF2-40B4-BE49-F238E27FC236}">
                <a16:creationId xmlns:a16="http://schemas.microsoft.com/office/drawing/2014/main" id="{06C6E4BF-F337-458A-8FDD-82E2447B2796}"/>
              </a:ext>
            </a:extLst>
          </p:cNvPr>
          <p:cNvSpPr txBox="1"/>
          <p:nvPr/>
        </p:nvSpPr>
        <p:spPr>
          <a:xfrm>
            <a:off x="2356004" y="3738429"/>
            <a:ext cx="1667379"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a:cs typeface="+mn-ea"/>
                <a:sym typeface="+mn-lt"/>
              </a:rPr>
              <a:t>Insert your text here</a:t>
            </a:r>
          </a:p>
        </p:txBody>
      </p:sp>
      <p:sp>
        <p:nvSpPr>
          <p:cNvPr id="26" name="TextBox 74">
            <a:extLst>
              <a:ext uri="{FF2B5EF4-FFF2-40B4-BE49-F238E27FC236}">
                <a16:creationId xmlns:a16="http://schemas.microsoft.com/office/drawing/2014/main" id="{B3DA8B5D-AAC3-4187-B02F-B182C8CD5C1A}"/>
              </a:ext>
            </a:extLst>
          </p:cNvPr>
          <p:cNvSpPr txBox="1"/>
          <p:nvPr/>
        </p:nvSpPr>
        <p:spPr>
          <a:xfrm>
            <a:off x="3641974" y="2360355"/>
            <a:ext cx="1725548"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a:cs typeface="+mn-ea"/>
                <a:sym typeface="+mn-lt"/>
              </a:rPr>
              <a:t>Insert your text here</a:t>
            </a:r>
          </a:p>
        </p:txBody>
      </p:sp>
      <p:sp>
        <p:nvSpPr>
          <p:cNvPr id="27" name="TextBox 75">
            <a:extLst>
              <a:ext uri="{FF2B5EF4-FFF2-40B4-BE49-F238E27FC236}">
                <a16:creationId xmlns:a16="http://schemas.microsoft.com/office/drawing/2014/main" id="{25A823BF-5F6D-4660-9EB0-FFB003A07D56}"/>
              </a:ext>
            </a:extLst>
          </p:cNvPr>
          <p:cNvSpPr txBox="1"/>
          <p:nvPr/>
        </p:nvSpPr>
        <p:spPr>
          <a:xfrm>
            <a:off x="7400421" y="2046913"/>
            <a:ext cx="1667379"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a:cs typeface="+mn-ea"/>
                <a:sym typeface="+mn-lt"/>
              </a:rPr>
              <a:t>Insert your text here</a:t>
            </a:r>
          </a:p>
        </p:txBody>
      </p:sp>
      <p:sp>
        <p:nvSpPr>
          <p:cNvPr id="28" name="Rectangle 76">
            <a:extLst>
              <a:ext uri="{FF2B5EF4-FFF2-40B4-BE49-F238E27FC236}">
                <a16:creationId xmlns:a16="http://schemas.microsoft.com/office/drawing/2014/main" id="{A146C85D-299E-4599-AC4C-8240207C1F3B}"/>
              </a:ext>
            </a:extLst>
          </p:cNvPr>
          <p:cNvSpPr/>
          <p:nvPr/>
        </p:nvSpPr>
        <p:spPr>
          <a:xfrm>
            <a:off x="2798114" y="2674551"/>
            <a:ext cx="984565" cy="26161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Pct val="25000"/>
              <a:buFontTx/>
              <a:buNone/>
              <a:tabLst/>
              <a:defRPr/>
            </a:pPr>
            <a:r>
              <a:rPr kumimoji="0" lang="en-US" sz="1100" b="0" i="0" u="none" strike="noStrike" kern="1200" cap="none" spc="0" normalizeH="0" baseline="0" noProof="0" dirty="0">
                <a:ln>
                  <a:noFill/>
                </a:ln>
                <a:solidFill>
                  <a:srgbClr val="000000"/>
                </a:solidFill>
                <a:effectLst/>
                <a:uLnTx/>
                <a:uFillTx/>
                <a:latin typeface="Arial"/>
                <a:cs typeface="+mn-ea"/>
                <a:sym typeface="+mn-lt"/>
              </a:rPr>
              <a:t>Content Title</a:t>
            </a:r>
          </a:p>
        </p:txBody>
      </p:sp>
      <p:sp>
        <p:nvSpPr>
          <p:cNvPr id="29" name="Rectangle 78">
            <a:extLst>
              <a:ext uri="{FF2B5EF4-FFF2-40B4-BE49-F238E27FC236}">
                <a16:creationId xmlns:a16="http://schemas.microsoft.com/office/drawing/2014/main" id="{34824E4B-FACE-470E-887E-97DE6ED27A23}"/>
              </a:ext>
            </a:extLst>
          </p:cNvPr>
          <p:cNvSpPr/>
          <p:nvPr/>
        </p:nvSpPr>
        <p:spPr>
          <a:xfrm>
            <a:off x="6454501" y="2359251"/>
            <a:ext cx="984565" cy="26161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Pct val="25000"/>
              <a:buFontTx/>
              <a:buNone/>
              <a:tabLst/>
              <a:defRPr/>
            </a:pPr>
            <a:r>
              <a:rPr kumimoji="0" lang="en-US" sz="1100" b="0" i="0" u="none" strike="noStrike" kern="1200" cap="none" spc="0" normalizeH="0" baseline="0" noProof="0" dirty="0">
                <a:ln>
                  <a:noFill/>
                </a:ln>
                <a:solidFill>
                  <a:srgbClr val="000000"/>
                </a:solidFill>
                <a:effectLst/>
                <a:uLnTx/>
                <a:uFillTx/>
                <a:latin typeface="Arial"/>
                <a:cs typeface="+mn-ea"/>
                <a:sym typeface="+mn-lt"/>
              </a:rPr>
              <a:t>Content Title</a:t>
            </a:r>
          </a:p>
        </p:txBody>
      </p:sp>
      <p:sp>
        <p:nvSpPr>
          <p:cNvPr id="30" name="TextBox 82">
            <a:extLst>
              <a:ext uri="{FF2B5EF4-FFF2-40B4-BE49-F238E27FC236}">
                <a16:creationId xmlns:a16="http://schemas.microsoft.com/office/drawing/2014/main" id="{39EF7678-F33C-4112-9078-46D036955EAD}"/>
              </a:ext>
            </a:extLst>
          </p:cNvPr>
          <p:cNvSpPr txBox="1"/>
          <p:nvPr/>
        </p:nvSpPr>
        <p:spPr>
          <a:xfrm>
            <a:off x="7861600" y="3740755"/>
            <a:ext cx="1696560"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a:cs typeface="+mn-ea"/>
                <a:sym typeface="+mn-lt"/>
              </a:rPr>
              <a:t>Place your text here</a:t>
            </a:r>
          </a:p>
        </p:txBody>
      </p:sp>
      <p:sp>
        <p:nvSpPr>
          <p:cNvPr id="31" name="TextBox 72">
            <a:extLst>
              <a:ext uri="{FF2B5EF4-FFF2-40B4-BE49-F238E27FC236}">
                <a16:creationId xmlns:a16="http://schemas.microsoft.com/office/drawing/2014/main" id="{C2F2D953-E8EC-4A6B-917B-8012AC7EAF91}"/>
              </a:ext>
            </a:extLst>
          </p:cNvPr>
          <p:cNvSpPr txBox="1"/>
          <p:nvPr/>
        </p:nvSpPr>
        <p:spPr>
          <a:xfrm>
            <a:off x="7362084" y="4441400"/>
            <a:ext cx="1696560"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a:cs typeface="+mn-ea"/>
                <a:sym typeface="+mn-lt"/>
              </a:rPr>
              <a:t>Place your text here</a:t>
            </a:r>
          </a:p>
        </p:txBody>
      </p:sp>
      <p:cxnSp>
        <p:nvCxnSpPr>
          <p:cNvPr id="32" name="Straight Arrow Connector 77">
            <a:extLst>
              <a:ext uri="{FF2B5EF4-FFF2-40B4-BE49-F238E27FC236}">
                <a16:creationId xmlns:a16="http://schemas.microsoft.com/office/drawing/2014/main" id="{EBFA3ACC-E1EE-4606-B2F7-AAA8B6B696B5}"/>
              </a:ext>
            </a:extLst>
          </p:cNvPr>
          <p:cNvCxnSpPr/>
          <p:nvPr/>
        </p:nvCxnSpPr>
        <p:spPr>
          <a:xfrm>
            <a:off x="4207382" y="3188097"/>
            <a:ext cx="1554633" cy="0"/>
          </a:xfrm>
          <a:prstGeom prst="straightConnector1">
            <a:avLst/>
          </a:prstGeom>
          <a:ln w="31750">
            <a:solidFill>
              <a:schemeClr val="tx1">
                <a:lumMod val="60000"/>
                <a:lumOff val="40000"/>
              </a:schemeClr>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33" name="Freeform 10">
            <a:extLst>
              <a:ext uri="{FF2B5EF4-FFF2-40B4-BE49-F238E27FC236}">
                <a16:creationId xmlns:a16="http://schemas.microsoft.com/office/drawing/2014/main" id="{7C9E5E9C-D686-4E3A-B51C-0699F11957B9}"/>
              </a:ext>
            </a:extLst>
          </p:cNvPr>
          <p:cNvSpPr>
            <a:spLocks/>
          </p:cNvSpPr>
          <p:nvPr/>
        </p:nvSpPr>
        <p:spPr bwMode="auto">
          <a:xfrm>
            <a:off x="9774284" y="2835454"/>
            <a:ext cx="1469481" cy="1146195"/>
          </a:xfrm>
          <a:custGeom>
            <a:avLst/>
            <a:gdLst>
              <a:gd name="T0" fmla="*/ 918 w 1050"/>
              <a:gd name="T1" fmla="*/ 204 h 819"/>
              <a:gd name="T2" fmla="*/ 785 w 1050"/>
              <a:gd name="T3" fmla="*/ 0 h 819"/>
              <a:gd name="T4" fmla="*/ 785 w 1050"/>
              <a:gd name="T5" fmla="*/ 154 h 819"/>
              <a:gd name="T6" fmla="*/ 0 w 1050"/>
              <a:gd name="T7" fmla="*/ 154 h 819"/>
              <a:gd name="T8" fmla="*/ 0 w 1050"/>
              <a:gd name="T9" fmla="*/ 665 h 819"/>
              <a:gd name="T10" fmla="*/ 785 w 1050"/>
              <a:gd name="T11" fmla="*/ 665 h 819"/>
              <a:gd name="T12" fmla="*/ 785 w 1050"/>
              <a:gd name="T13" fmla="*/ 819 h 819"/>
              <a:gd name="T14" fmla="*/ 918 w 1050"/>
              <a:gd name="T15" fmla="*/ 616 h 819"/>
              <a:gd name="T16" fmla="*/ 1050 w 1050"/>
              <a:gd name="T17" fmla="*/ 410 h 819"/>
              <a:gd name="T18" fmla="*/ 918 w 1050"/>
              <a:gd name="T19" fmla="*/ 204 h 8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0" h="819">
                <a:moveTo>
                  <a:pt x="918" y="204"/>
                </a:moveTo>
                <a:lnTo>
                  <a:pt x="785" y="0"/>
                </a:lnTo>
                <a:lnTo>
                  <a:pt x="785" y="154"/>
                </a:lnTo>
                <a:lnTo>
                  <a:pt x="0" y="154"/>
                </a:lnTo>
                <a:lnTo>
                  <a:pt x="0" y="665"/>
                </a:lnTo>
                <a:lnTo>
                  <a:pt x="785" y="665"/>
                </a:lnTo>
                <a:lnTo>
                  <a:pt x="785" y="819"/>
                </a:lnTo>
                <a:lnTo>
                  <a:pt x="918" y="616"/>
                </a:lnTo>
                <a:lnTo>
                  <a:pt x="1050" y="410"/>
                </a:lnTo>
                <a:lnTo>
                  <a:pt x="918" y="204"/>
                </a:lnTo>
                <a:close/>
              </a:path>
            </a:pathLst>
          </a:custGeom>
          <a:solidFill>
            <a:schemeClr val="accent1">
              <a:lumMod val="10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cs typeface="+mn-ea"/>
              <a:sym typeface="+mn-lt"/>
            </a:endParaRPr>
          </a:p>
        </p:txBody>
      </p:sp>
      <p:sp>
        <p:nvSpPr>
          <p:cNvPr id="34" name="TextBox 88">
            <a:extLst>
              <a:ext uri="{FF2B5EF4-FFF2-40B4-BE49-F238E27FC236}">
                <a16:creationId xmlns:a16="http://schemas.microsoft.com/office/drawing/2014/main" id="{B6171CA5-2F8C-4AC2-91A5-908F93590E82}"/>
              </a:ext>
            </a:extLst>
          </p:cNvPr>
          <p:cNvSpPr txBox="1"/>
          <p:nvPr/>
        </p:nvSpPr>
        <p:spPr>
          <a:xfrm>
            <a:off x="9947555" y="3133437"/>
            <a:ext cx="949299" cy="58477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0F0F0"/>
                </a:solidFill>
                <a:effectLst/>
                <a:uLnTx/>
                <a:uFillTx/>
                <a:latin typeface="Arial"/>
                <a:cs typeface="+mn-ea"/>
                <a:sym typeface="+mn-lt"/>
              </a:rPr>
              <a:t>Missing</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0F0F0"/>
                </a:solidFill>
                <a:effectLst/>
                <a:uLnTx/>
                <a:uFillTx/>
                <a:latin typeface="Arial"/>
                <a:cs typeface="+mn-ea"/>
                <a:sym typeface="+mn-lt"/>
              </a:rPr>
              <a:t>Books</a:t>
            </a:r>
          </a:p>
        </p:txBody>
      </p:sp>
      <p:sp>
        <p:nvSpPr>
          <p:cNvPr id="35" name="Parallelogram 70">
            <a:extLst>
              <a:ext uri="{FF2B5EF4-FFF2-40B4-BE49-F238E27FC236}">
                <a16:creationId xmlns:a16="http://schemas.microsoft.com/office/drawing/2014/main" id="{C490A82A-280D-4FAC-9465-0FCFCB5D994A}"/>
              </a:ext>
            </a:extLst>
          </p:cNvPr>
          <p:cNvSpPr/>
          <p:nvPr/>
        </p:nvSpPr>
        <p:spPr>
          <a:xfrm>
            <a:off x="5041863" y="4913591"/>
            <a:ext cx="2073076" cy="519377"/>
          </a:xfrm>
          <a:prstGeom prst="parallelogram">
            <a:avLst>
              <a:gd name="adj" fmla="val 73655"/>
            </a:avLst>
          </a:prstGeom>
          <a:solidFill>
            <a:schemeClr val="accent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cs typeface="+mn-ea"/>
              <a:sym typeface="+mn-lt"/>
            </a:endParaRPr>
          </a:p>
        </p:txBody>
      </p:sp>
      <p:sp>
        <p:nvSpPr>
          <p:cNvPr id="36" name="Parallelogram 68">
            <a:extLst>
              <a:ext uri="{FF2B5EF4-FFF2-40B4-BE49-F238E27FC236}">
                <a16:creationId xmlns:a16="http://schemas.microsoft.com/office/drawing/2014/main" id="{36E0D48A-D8CE-4FB0-BBFA-27D7C017B054}"/>
              </a:ext>
            </a:extLst>
          </p:cNvPr>
          <p:cNvSpPr/>
          <p:nvPr/>
        </p:nvSpPr>
        <p:spPr>
          <a:xfrm>
            <a:off x="1204669" y="4913591"/>
            <a:ext cx="2073076" cy="519377"/>
          </a:xfrm>
          <a:prstGeom prst="parallelogram">
            <a:avLst>
              <a:gd name="adj" fmla="val 73655"/>
            </a:avLst>
          </a:prstGeom>
          <a:solidFill>
            <a:schemeClr val="accent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cs typeface="+mn-ea"/>
              <a:sym typeface="+mn-lt"/>
            </a:endParaRPr>
          </a:p>
        </p:txBody>
      </p:sp>
      <p:sp>
        <p:nvSpPr>
          <p:cNvPr id="37" name="Parallelogram 65">
            <a:extLst>
              <a:ext uri="{FF2B5EF4-FFF2-40B4-BE49-F238E27FC236}">
                <a16:creationId xmlns:a16="http://schemas.microsoft.com/office/drawing/2014/main" id="{03AF04CC-9CD0-4CF2-9C3F-BF760CCF4951}"/>
              </a:ext>
            </a:extLst>
          </p:cNvPr>
          <p:cNvSpPr/>
          <p:nvPr/>
        </p:nvSpPr>
        <p:spPr>
          <a:xfrm flipV="1">
            <a:off x="5086205" y="1449097"/>
            <a:ext cx="2073076" cy="519377"/>
          </a:xfrm>
          <a:prstGeom prst="parallelogram">
            <a:avLst>
              <a:gd name="adj" fmla="val 73655"/>
            </a:avLst>
          </a:prstGeom>
          <a:solidFill>
            <a:schemeClr val="accent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cs typeface="+mn-ea"/>
              <a:sym typeface="+mn-lt"/>
            </a:endParaRPr>
          </a:p>
        </p:txBody>
      </p:sp>
      <p:sp>
        <p:nvSpPr>
          <p:cNvPr id="38" name="Parallelogram 45">
            <a:extLst>
              <a:ext uri="{FF2B5EF4-FFF2-40B4-BE49-F238E27FC236}">
                <a16:creationId xmlns:a16="http://schemas.microsoft.com/office/drawing/2014/main" id="{11F58768-F503-4311-9FC1-8CBD5C8C9540}"/>
              </a:ext>
            </a:extLst>
          </p:cNvPr>
          <p:cNvSpPr/>
          <p:nvPr/>
        </p:nvSpPr>
        <p:spPr>
          <a:xfrm flipV="1">
            <a:off x="1217023" y="1449097"/>
            <a:ext cx="2073076" cy="519377"/>
          </a:xfrm>
          <a:prstGeom prst="parallelogram">
            <a:avLst>
              <a:gd name="adj" fmla="val 73655"/>
            </a:avLst>
          </a:prstGeom>
          <a:solidFill>
            <a:schemeClr val="accent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rial"/>
              <a:cs typeface="+mn-ea"/>
              <a:sym typeface="+mn-lt"/>
            </a:endParaRPr>
          </a:p>
        </p:txBody>
      </p:sp>
      <p:sp>
        <p:nvSpPr>
          <p:cNvPr id="39" name="TextBox 84">
            <a:extLst>
              <a:ext uri="{FF2B5EF4-FFF2-40B4-BE49-F238E27FC236}">
                <a16:creationId xmlns:a16="http://schemas.microsoft.com/office/drawing/2014/main" id="{BEBF7636-2F55-4380-8A2C-1A0AD478A799}"/>
              </a:ext>
            </a:extLst>
          </p:cNvPr>
          <p:cNvSpPr txBox="1"/>
          <p:nvPr/>
        </p:nvSpPr>
        <p:spPr>
          <a:xfrm>
            <a:off x="1953639" y="1539508"/>
            <a:ext cx="595035"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0F0F0"/>
                </a:solidFill>
                <a:effectLst/>
                <a:uLnTx/>
                <a:uFillTx/>
                <a:latin typeface="Arial"/>
                <a:cs typeface="+mn-ea"/>
                <a:sym typeface="+mn-lt"/>
              </a:rPr>
              <a:t>Man</a:t>
            </a:r>
          </a:p>
        </p:txBody>
      </p:sp>
      <p:sp>
        <p:nvSpPr>
          <p:cNvPr id="40" name="TextBox 85">
            <a:extLst>
              <a:ext uri="{FF2B5EF4-FFF2-40B4-BE49-F238E27FC236}">
                <a16:creationId xmlns:a16="http://schemas.microsoft.com/office/drawing/2014/main" id="{D5E70C72-E7AA-4402-AA79-1E8DC43A8559}"/>
              </a:ext>
            </a:extLst>
          </p:cNvPr>
          <p:cNvSpPr txBox="1"/>
          <p:nvPr/>
        </p:nvSpPr>
        <p:spPr>
          <a:xfrm>
            <a:off x="5633072" y="1539508"/>
            <a:ext cx="1029449"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0F0F0"/>
                </a:solidFill>
                <a:effectLst/>
                <a:uLnTx/>
                <a:uFillTx/>
                <a:latin typeface="Arial"/>
                <a:cs typeface="+mn-ea"/>
                <a:sym typeface="+mn-lt"/>
              </a:rPr>
              <a:t>Systems</a:t>
            </a:r>
          </a:p>
        </p:txBody>
      </p:sp>
      <p:sp>
        <p:nvSpPr>
          <p:cNvPr id="41" name="TextBox 86">
            <a:extLst>
              <a:ext uri="{FF2B5EF4-FFF2-40B4-BE49-F238E27FC236}">
                <a16:creationId xmlns:a16="http://schemas.microsoft.com/office/drawing/2014/main" id="{3A24588C-8AEC-4D53-A2E8-F40A3FC03653}"/>
              </a:ext>
            </a:extLst>
          </p:cNvPr>
          <p:cNvSpPr txBox="1"/>
          <p:nvPr/>
        </p:nvSpPr>
        <p:spPr>
          <a:xfrm>
            <a:off x="1546017" y="5004002"/>
            <a:ext cx="1406154"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err="1">
                <a:ln>
                  <a:noFill/>
                </a:ln>
                <a:solidFill>
                  <a:srgbClr val="F0F0F0"/>
                </a:solidFill>
                <a:effectLst/>
                <a:uLnTx/>
                <a:uFillTx/>
                <a:latin typeface="Arial"/>
                <a:cs typeface="+mn-ea"/>
                <a:sym typeface="+mn-lt"/>
              </a:rPr>
              <a:t>Infrastruktur</a:t>
            </a:r>
            <a:endParaRPr kumimoji="0" lang="en-US" sz="1600" b="1" i="0" u="none" strike="noStrike" kern="1200" cap="none" spc="0" normalizeH="0" baseline="0" noProof="0" dirty="0">
              <a:ln>
                <a:noFill/>
              </a:ln>
              <a:solidFill>
                <a:srgbClr val="F0F0F0"/>
              </a:solidFill>
              <a:effectLst/>
              <a:uLnTx/>
              <a:uFillTx/>
              <a:latin typeface="Arial"/>
              <a:cs typeface="+mn-ea"/>
              <a:sym typeface="+mn-lt"/>
            </a:endParaRPr>
          </a:p>
        </p:txBody>
      </p:sp>
      <p:sp>
        <p:nvSpPr>
          <p:cNvPr id="42" name="TextBox 87">
            <a:extLst>
              <a:ext uri="{FF2B5EF4-FFF2-40B4-BE49-F238E27FC236}">
                <a16:creationId xmlns:a16="http://schemas.microsoft.com/office/drawing/2014/main" id="{84D9B319-3FE4-4D06-BFFB-BFFE4BFF9E4F}"/>
              </a:ext>
            </a:extLst>
          </p:cNvPr>
          <p:cNvSpPr txBox="1"/>
          <p:nvPr/>
        </p:nvSpPr>
        <p:spPr>
          <a:xfrm>
            <a:off x="5664666" y="5004002"/>
            <a:ext cx="879984"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0F0F0"/>
                </a:solidFill>
                <a:effectLst/>
                <a:uLnTx/>
                <a:uFillTx/>
                <a:latin typeface="Arial"/>
                <a:cs typeface="+mn-ea"/>
                <a:sym typeface="+mn-lt"/>
              </a:rPr>
              <a:t>Others</a:t>
            </a:r>
          </a:p>
        </p:txBody>
      </p:sp>
    </p:spTree>
    <p:extLst>
      <p:ext uri="{BB962C8B-B14F-4D97-AF65-F5344CB8AC3E}">
        <p14:creationId xmlns:p14="http://schemas.microsoft.com/office/powerpoint/2010/main" val="1096560727"/>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7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Straight Connector 3">
            <a:extLst>
              <a:ext uri="{FF2B5EF4-FFF2-40B4-BE49-F238E27FC236}">
                <a16:creationId xmlns:a16="http://schemas.microsoft.com/office/drawing/2014/main" id="{066BC326-2583-4BD7-A4E5-9FFBEBDABB6D}"/>
              </a:ext>
            </a:extLst>
          </p:cNvPr>
          <p:cNvCxnSpPr/>
          <p:nvPr/>
        </p:nvCxnSpPr>
        <p:spPr>
          <a:xfrm>
            <a:off x="609600" y="1509059"/>
            <a:ext cx="10972800" cy="0"/>
          </a:xfrm>
          <a:prstGeom prst="line">
            <a:avLst/>
          </a:prstGeom>
          <a:ln w="38100">
            <a:solidFill>
              <a:schemeClr val="tx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 name="Straight Connector 5">
            <a:extLst>
              <a:ext uri="{FF2B5EF4-FFF2-40B4-BE49-F238E27FC236}">
                <a16:creationId xmlns:a16="http://schemas.microsoft.com/office/drawing/2014/main" id="{129217F2-DC4A-4EB8-AF7C-3AF5492D90CB}"/>
              </a:ext>
            </a:extLst>
          </p:cNvPr>
          <p:cNvCxnSpPr>
            <a:cxnSpLocks/>
          </p:cNvCxnSpPr>
          <p:nvPr/>
        </p:nvCxnSpPr>
        <p:spPr>
          <a:xfrm>
            <a:off x="7924800" y="1509059"/>
            <a:ext cx="0" cy="4381500"/>
          </a:xfrm>
          <a:prstGeom prst="line">
            <a:avLst/>
          </a:prstGeom>
          <a:ln w="38100">
            <a:solidFill>
              <a:schemeClr val="tx1">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4" name="TextBox 6">
            <a:extLst>
              <a:ext uri="{FF2B5EF4-FFF2-40B4-BE49-F238E27FC236}">
                <a16:creationId xmlns:a16="http://schemas.microsoft.com/office/drawing/2014/main" id="{2F245FF4-6779-453A-B084-121AFD24049E}"/>
              </a:ext>
            </a:extLst>
          </p:cNvPr>
          <p:cNvSpPr txBox="1"/>
          <p:nvPr/>
        </p:nvSpPr>
        <p:spPr>
          <a:xfrm>
            <a:off x="7924800" y="1021697"/>
            <a:ext cx="3517899"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Arial"/>
                <a:cs typeface="+mn-ea"/>
                <a:sym typeface="+mn-lt"/>
              </a:rPr>
              <a:t>Effect</a:t>
            </a:r>
            <a:endParaRPr kumimoji="0" lang="id-ID" sz="2400" b="0" i="0" u="none" strike="noStrike" kern="1200" cap="none" spc="0" normalizeH="0" baseline="0" noProof="0" dirty="0">
              <a:ln>
                <a:noFill/>
              </a:ln>
              <a:solidFill>
                <a:srgbClr val="000000"/>
              </a:solidFill>
              <a:effectLst/>
              <a:uLnTx/>
              <a:uFillTx/>
              <a:latin typeface="Arial"/>
              <a:cs typeface="+mn-ea"/>
              <a:sym typeface="+mn-lt"/>
            </a:endParaRPr>
          </a:p>
        </p:txBody>
      </p:sp>
      <p:sp>
        <p:nvSpPr>
          <p:cNvPr id="5" name="TextBox 7">
            <a:extLst>
              <a:ext uri="{FF2B5EF4-FFF2-40B4-BE49-F238E27FC236}">
                <a16:creationId xmlns:a16="http://schemas.microsoft.com/office/drawing/2014/main" id="{3E704183-B2DB-437A-888E-7C362A775FA8}"/>
              </a:ext>
            </a:extLst>
          </p:cNvPr>
          <p:cNvSpPr txBox="1"/>
          <p:nvPr/>
        </p:nvSpPr>
        <p:spPr>
          <a:xfrm>
            <a:off x="609600" y="1021697"/>
            <a:ext cx="7315199"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Arial"/>
                <a:cs typeface="+mn-ea"/>
                <a:sym typeface="+mn-lt"/>
              </a:rPr>
              <a:t>Cause</a:t>
            </a:r>
            <a:endParaRPr kumimoji="0" lang="id-ID" sz="2400" b="0" i="0" u="none" strike="noStrike" kern="1200" cap="none" spc="0" normalizeH="0" baseline="0" noProof="0" dirty="0">
              <a:ln>
                <a:noFill/>
              </a:ln>
              <a:solidFill>
                <a:srgbClr val="000000"/>
              </a:solidFill>
              <a:effectLst/>
              <a:uLnTx/>
              <a:uFillTx/>
              <a:latin typeface="Arial"/>
              <a:cs typeface="+mn-ea"/>
              <a:sym typeface="+mn-lt"/>
            </a:endParaRPr>
          </a:p>
        </p:txBody>
      </p:sp>
      <p:sp>
        <p:nvSpPr>
          <p:cNvPr id="6" name="Oval 68">
            <a:extLst>
              <a:ext uri="{FF2B5EF4-FFF2-40B4-BE49-F238E27FC236}">
                <a16:creationId xmlns:a16="http://schemas.microsoft.com/office/drawing/2014/main" id="{1EF40408-CFEF-4F03-8AF0-2729C61733E0}"/>
              </a:ext>
            </a:extLst>
          </p:cNvPr>
          <p:cNvSpPr/>
          <p:nvPr/>
        </p:nvSpPr>
        <p:spPr>
          <a:xfrm>
            <a:off x="8534400" y="2625290"/>
            <a:ext cx="2438400" cy="24384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cs typeface="+mn-ea"/>
              <a:sym typeface="+mn-lt"/>
            </a:endParaRPr>
          </a:p>
        </p:txBody>
      </p:sp>
      <p:sp>
        <p:nvSpPr>
          <p:cNvPr id="7" name="TextBox 69">
            <a:extLst>
              <a:ext uri="{FF2B5EF4-FFF2-40B4-BE49-F238E27FC236}">
                <a16:creationId xmlns:a16="http://schemas.microsoft.com/office/drawing/2014/main" id="{FF6CFC9C-6B3F-4FC6-966A-C86BED7A2949}"/>
              </a:ext>
            </a:extLst>
          </p:cNvPr>
          <p:cNvSpPr txBox="1"/>
          <p:nvPr/>
        </p:nvSpPr>
        <p:spPr>
          <a:xfrm>
            <a:off x="9199602" y="3257139"/>
            <a:ext cx="1107996" cy="369332"/>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0F0F0"/>
                </a:solidFill>
                <a:effectLst/>
                <a:uLnTx/>
                <a:uFillTx/>
                <a:latin typeface="Arial"/>
                <a:cs typeface="+mn-ea"/>
                <a:sym typeface="+mn-lt"/>
              </a:rPr>
              <a:t>Problem</a:t>
            </a:r>
            <a:endParaRPr kumimoji="0" lang="id-ID" sz="1800" b="1" i="0" u="none" strike="noStrike" kern="1200" cap="none" spc="0" normalizeH="0" baseline="0" noProof="0" dirty="0">
              <a:ln>
                <a:noFill/>
              </a:ln>
              <a:solidFill>
                <a:srgbClr val="F0F0F0"/>
              </a:solidFill>
              <a:effectLst/>
              <a:uLnTx/>
              <a:uFillTx/>
              <a:latin typeface="Arial"/>
              <a:cs typeface="+mn-ea"/>
              <a:sym typeface="+mn-lt"/>
            </a:endParaRPr>
          </a:p>
        </p:txBody>
      </p:sp>
      <p:sp>
        <p:nvSpPr>
          <p:cNvPr id="8" name="TextBox 70">
            <a:extLst>
              <a:ext uri="{FF2B5EF4-FFF2-40B4-BE49-F238E27FC236}">
                <a16:creationId xmlns:a16="http://schemas.microsoft.com/office/drawing/2014/main" id="{0A5A7CE2-BCC1-479D-B61B-3F550806EA4F}"/>
              </a:ext>
            </a:extLst>
          </p:cNvPr>
          <p:cNvSpPr txBox="1"/>
          <p:nvPr/>
        </p:nvSpPr>
        <p:spPr>
          <a:xfrm>
            <a:off x="8613780" y="3537697"/>
            <a:ext cx="2279641" cy="1015471"/>
          </a:xfrm>
          <a:prstGeom prst="rect">
            <a:avLst/>
          </a:prstGeom>
          <a:noFill/>
        </p:spPr>
        <p:txBody>
          <a:bodyPr wrap="square" rtlCol="0">
            <a:sp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0" lang="id-ID" sz="1333" b="0" i="0" u="none" strike="noStrike" kern="1200" cap="none" spc="0" normalizeH="0" baseline="0" noProof="0" dirty="0">
                <a:ln>
                  <a:noFill/>
                </a:ln>
                <a:solidFill>
                  <a:srgbClr val="F0F0F0"/>
                </a:solidFill>
                <a:effectLst/>
                <a:uLnTx/>
                <a:uFillTx/>
                <a:latin typeface="Arial"/>
                <a:cs typeface="+mn-ea"/>
                <a:sym typeface="+mn-lt"/>
              </a:rPr>
              <a:t>Suitable for all category</a:t>
            </a:r>
            <a:r>
              <a:rPr kumimoji="0" lang="en-US" sz="1333" b="0" i="0" u="none" strike="noStrike" kern="1200" cap="none" spc="0" normalizeH="0" baseline="0" noProof="0" dirty="0">
                <a:ln>
                  <a:noFill/>
                </a:ln>
                <a:solidFill>
                  <a:srgbClr val="F0F0F0"/>
                </a:solidFill>
                <a:effectLst/>
                <a:uLnTx/>
                <a:uFillTx/>
                <a:latin typeface="Arial"/>
                <a:cs typeface="+mn-ea"/>
                <a:sym typeface="+mn-lt"/>
              </a:rPr>
              <a:t>, Lorem </a:t>
            </a:r>
            <a:r>
              <a:rPr kumimoji="0" lang="en-US" sz="1333" b="0" i="0" u="none" strike="noStrike" kern="1200" cap="none" spc="0" normalizeH="0" baseline="0" noProof="0" dirty="0" err="1">
                <a:ln>
                  <a:noFill/>
                </a:ln>
                <a:solidFill>
                  <a:srgbClr val="F0F0F0"/>
                </a:solidFill>
                <a:effectLst/>
                <a:uLnTx/>
                <a:uFillTx/>
                <a:latin typeface="Arial"/>
                <a:cs typeface="+mn-ea"/>
                <a:sym typeface="+mn-lt"/>
              </a:rPr>
              <a:t>Ipsum</a:t>
            </a:r>
            <a:r>
              <a:rPr kumimoji="0" lang="en-US" sz="1333" b="0" i="0" u="none" strike="noStrike" kern="1200" cap="none" spc="0" normalizeH="0" baseline="0" noProof="0" dirty="0">
                <a:ln>
                  <a:noFill/>
                </a:ln>
                <a:solidFill>
                  <a:srgbClr val="F0F0F0"/>
                </a:solidFill>
                <a:effectLst/>
                <a:uLnTx/>
                <a:uFillTx/>
                <a:latin typeface="Arial"/>
                <a:cs typeface="+mn-ea"/>
                <a:sym typeface="+mn-lt"/>
              </a:rPr>
              <a:t> is not simply random text.</a:t>
            </a:r>
            <a:r>
              <a:rPr kumimoji="0" lang="id-ID" sz="1333" b="0" i="0" u="none" strike="noStrike" kern="1200" cap="none" spc="0" normalizeH="0" baseline="0" noProof="0" dirty="0">
                <a:ln>
                  <a:noFill/>
                </a:ln>
                <a:solidFill>
                  <a:srgbClr val="F0F0F0"/>
                </a:solidFill>
                <a:effectLst/>
                <a:uLnTx/>
                <a:uFillTx/>
                <a:latin typeface="Arial"/>
                <a:cs typeface="+mn-ea"/>
                <a:sym typeface="+mn-lt"/>
              </a:rPr>
              <a:t> </a:t>
            </a:r>
            <a:endParaRPr kumimoji="0" lang="en-US" sz="1333" b="1" i="0" u="none" strike="noStrike" kern="1200" cap="none" spc="0" normalizeH="0" baseline="0" noProof="0" dirty="0">
              <a:ln>
                <a:noFill/>
              </a:ln>
              <a:solidFill>
                <a:srgbClr val="F0F0F0"/>
              </a:solidFill>
              <a:effectLst/>
              <a:uLnTx/>
              <a:uFillTx/>
              <a:latin typeface="Arial"/>
              <a:cs typeface="+mn-ea"/>
              <a:sym typeface="+mn-lt"/>
            </a:endParaRPr>
          </a:p>
        </p:txBody>
      </p:sp>
      <p:sp>
        <p:nvSpPr>
          <p:cNvPr id="9" name="Arrow: Right 67">
            <a:extLst>
              <a:ext uri="{FF2B5EF4-FFF2-40B4-BE49-F238E27FC236}">
                <a16:creationId xmlns:a16="http://schemas.microsoft.com/office/drawing/2014/main" id="{FE3C99BC-231C-4228-B965-8B183E3552ED}"/>
              </a:ext>
            </a:extLst>
          </p:cNvPr>
          <p:cNvSpPr/>
          <p:nvPr/>
        </p:nvSpPr>
        <p:spPr>
          <a:xfrm>
            <a:off x="609599" y="3605715"/>
            <a:ext cx="7845421" cy="493963"/>
          </a:xfrm>
          <a:prstGeom prst="righ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cs typeface="+mn-ea"/>
              <a:sym typeface="+mn-lt"/>
            </a:endParaRPr>
          </a:p>
        </p:txBody>
      </p:sp>
      <p:cxnSp>
        <p:nvCxnSpPr>
          <p:cNvPr id="10" name="Straight Arrow Connector 72">
            <a:extLst>
              <a:ext uri="{FF2B5EF4-FFF2-40B4-BE49-F238E27FC236}">
                <a16:creationId xmlns:a16="http://schemas.microsoft.com/office/drawing/2014/main" id="{99D1E37E-6F4C-42CC-83E9-BB972CAE54EE}"/>
              </a:ext>
            </a:extLst>
          </p:cNvPr>
          <p:cNvCxnSpPr>
            <a:cxnSpLocks/>
          </p:cNvCxnSpPr>
          <p:nvPr/>
        </p:nvCxnSpPr>
        <p:spPr>
          <a:xfrm>
            <a:off x="1494499" y="2154378"/>
            <a:ext cx="834366" cy="1383319"/>
          </a:xfrm>
          <a:prstGeom prst="straightConnector1">
            <a:avLst/>
          </a:prstGeom>
          <a:ln w="19050">
            <a:solidFill>
              <a:schemeClr val="tx1">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75">
            <a:extLst>
              <a:ext uri="{FF2B5EF4-FFF2-40B4-BE49-F238E27FC236}">
                <a16:creationId xmlns:a16="http://schemas.microsoft.com/office/drawing/2014/main" id="{B7C2ADC0-4285-4B66-97AB-1C31973F218F}"/>
              </a:ext>
            </a:extLst>
          </p:cNvPr>
          <p:cNvCxnSpPr>
            <a:cxnSpLocks/>
          </p:cNvCxnSpPr>
          <p:nvPr/>
        </p:nvCxnSpPr>
        <p:spPr>
          <a:xfrm flipV="1">
            <a:off x="1494499" y="4106421"/>
            <a:ext cx="834366" cy="1383319"/>
          </a:xfrm>
          <a:prstGeom prst="straightConnector1">
            <a:avLst/>
          </a:prstGeom>
          <a:ln w="19050">
            <a:solidFill>
              <a:schemeClr val="tx1">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76">
            <a:extLst>
              <a:ext uri="{FF2B5EF4-FFF2-40B4-BE49-F238E27FC236}">
                <a16:creationId xmlns:a16="http://schemas.microsoft.com/office/drawing/2014/main" id="{36F325DE-DDC4-4697-8A5E-9212231E22E5}"/>
              </a:ext>
            </a:extLst>
          </p:cNvPr>
          <p:cNvCxnSpPr>
            <a:cxnSpLocks/>
          </p:cNvCxnSpPr>
          <p:nvPr/>
        </p:nvCxnSpPr>
        <p:spPr>
          <a:xfrm>
            <a:off x="3736911" y="2154378"/>
            <a:ext cx="834366" cy="1383319"/>
          </a:xfrm>
          <a:prstGeom prst="straightConnector1">
            <a:avLst/>
          </a:prstGeom>
          <a:ln w="19050">
            <a:solidFill>
              <a:schemeClr val="tx1">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77">
            <a:extLst>
              <a:ext uri="{FF2B5EF4-FFF2-40B4-BE49-F238E27FC236}">
                <a16:creationId xmlns:a16="http://schemas.microsoft.com/office/drawing/2014/main" id="{083A09DE-FD35-4390-A2DF-B72B99BA006E}"/>
              </a:ext>
            </a:extLst>
          </p:cNvPr>
          <p:cNvCxnSpPr>
            <a:cxnSpLocks/>
          </p:cNvCxnSpPr>
          <p:nvPr/>
        </p:nvCxnSpPr>
        <p:spPr>
          <a:xfrm flipV="1">
            <a:off x="3736911" y="4106421"/>
            <a:ext cx="834366" cy="1383319"/>
          </a:xfrm>
          <a:prstGeom prst="straightConnector1">
            <a:avLst/>
          </a:prstGeom>
          <a:ln w="19050">
            <a:solidFill>
              <a:schemeClr val="tx1">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78">
            <a:extLst>
              <a:ext uri="{FF2B5EF4-FFF2-40B4-BE49-F238E27FC236}">
                <a16:creationId xmlns:a16="http://schemas.microsoft.com/office/drawing/2014/main" id="{42BEFC86-FEA2-4C6C-BF11-0F4EEC621838}"/>
              </a:ext>
            </a:extLst>
          </p:cNvPr>
          <p:cNvCxnSpPr>
            <a:cxnSpLocks/>
          </p:cNvCxnSpPr>
          <p:nvPr/>
        </p:nvCxnSpPr>
        <p:spPr>
          <a:xfrm>
            <a:off x="5979323" y="2154378"/>
            <a:ext cx="834366" cy="1383319"/>
          </a:xfrm>
          <a:prstGeom prst="straightConnector1">
            <a:avLst/>
          </a:prstGeom>
          <a:ln w="19050">
            <a:solidFill>
              <a:schemeClr val="tx1">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79">
            <a:extLst>
              <a:ext uri="{FF2B5EF4-FFF2-40B4-BE49-F238E27FC236}">
                <a16:creationId xmlns:a16="http://schemas.microsoft.com/office/drawing/2014/main" id="{C0ADCB5A-7727-4500-BF42-7829A7D1EDDD}"/>
              </a:ext>
            </a:extLst>
          </p:cNvPr>
          <p:cNvCxnSpPr>
            <a:cxnSpLocks/>
          </p:cNvCxnSpPr>
          <p:nvPr/>
        </p:nvCxnSpPr>
        <p:spPr>
          <a:xfrm flipV="1">
            <a:off x="5979323" y="4106421"/>
            <a:ext cx="834366" cy="1383319"/>
          </a:xfrm>
          <a:prstGeom prst="straightConnector1">
            <a:avLst/>
          </a:prstGeom>
          <a:ln w="19050">
            <a:solidFill>
              <a:schemeClr val="tx1">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81">
            <a:extLst>
              <a:ext uri="{FF2B5EF4-FFF2-40B4-BE49-F238E27FC236}">
                <a16:creationId xmlns:a16="http://schemas.microsoft.com/office/drawing/2014/main" id="{E5028A2A-1E5C-4DA8-9E9C-E52A947CA765}"/>
              </a:ext>
            </a:extLst>
          </p:cNvPr>
          <p:cNvCxnSpPr/>
          <p:nvPr/>
        </p:nvCxnSpPr>
        <p:spPr>
          <a:xfrm>
            <a:off x="606504" y="2665814"/>
            <a:ext cx="1070252" cy="0"/>
          </a:xfrm>
          <a:prstGeom prst="straightConnector1">
            <a:avLst/>
          </a:prstGeom>
          <a:ln w="19050">
            <a:solidFill>
              <a:schemeClr val="tx1">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82">
            <a:extLst>
              <a:ext uri="{FF2B5EF4-FFF2-40B4-BE49-F238E27FC236}">
                <a16:creationId xmlns:a16="http://schemas.microsoft.com/office/drawing/2014/main" id="{BD1DBC44-412C-4C25-B48F-14CC78866286}"/>
              </a:ext>
            </a:extLst>
          </p:cNvPr>
          <p:cNvCxnSpPr/>
          <p:nvPr/>
        </p:nvCxnSpPr>
        <p:spPr>
          <a:xfrm>
            <a:off x="922091" y="3296988"/>
            <a:ext cx="1070252" cy="0"/>
          </a:xfrm>
          <a:prstGeom prst="straightConnector1">
            <a:avLst/>
          </a:prstGeom>
          <a:ln w="19050">
            <a:solidFill>
              <a:schemeClr val="tx1">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83">
            <a:extLst>
              <a:ext uri="{FF2B5EF4-FFF2-40B4-BE49-F238E27FC236}">
                <a16:creationId xmlns:a16="http://schemas.microsoft.com/office/drawing/2014/main" id="{7EF76D8A-AB89-4C6D-91A9-EA58C7920499}"/>
              </a:ext>
            </a:extLst>
          </p:cNvPr>
          <p:cNvCxnSpPr/>
          <p:nvPr/>
        </p:nvCxnSpPr>
        <p:spPr>
          <a:xfrm>
            <a:off x="784879" y="4723991"/>
            <a:ext cx="1070252" cy="0"/>
          </a:xfrm>
          <a:prstGeom prst="straightConnector1">
            <a:avLst/>
          </a:prstGeom>
          <a:ln w="19050">
            <a:solidFill>
              <a:schemeClr val="tx1">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84">
            <a:extLst>
              <a:ext uri="{FF2B5EF4-FFF2-40B4-BE49-F238E27FC236}">
                <a16:creationId xmlns:a16="http://schemas.microsoft.com/office/drawing/2014/main" id="{CB8A5424-44CE-45B5-9FD5-9BC65807F852}"/>
              </a:ext>
            </a:extLst>
          </p:cNvPr>
          <p:cNvCxnSpPr/>
          <p:nvPr/>
        </p:nvCxnSpPr>
        <p:spPr>
          <a:xfrm>
            <a:off x="2820145" y="2691214"/>
            <a:ext cx="1070252" cy="0"/>
          </a:xfrm>
          <a:prstGeom prst="straightConnector1">
            <a:avLst/>
          </a:prstGeom>
          <a:ln w="19050">
            <a:solidFill>
              <a:schemeClr val="tx1">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85">
            <a:extLst>
              <a:ext uri="{FF2B5EF4-FFF2-40B4-BE49-F238E27FC236}">
                <a16:creationId xmlns:a16="http://schemas.microsoft.com/office/drawing/2014/main" id="{F45441DD-04E6-4B19-B1C8-6A04025BDD13}"/>
              </a:ext>
            </a:extLst>
          </p:cNvPr>
          <p:cNvCxnSpPr/>
          <p:nvPr/>
        </p:nvCxnSpPr>
        <p:spPr>
          <a:xfrm>
            <a:off x="3135732" y="3322388"/>
            <a:ext cx="1070252" cy="0"/>
          </a:xfrm>
          <a:prstGeom prst="straightConnector1">
            <a:avLst/>
          </a:prstGeom>
          <a:ln w="19050">
            <a:solidFill>
              <a:schemeClr val="tx1">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86">
            <a:extLst>
              <a:ext uri="{FF2B5EF4-FFF2-40B4-BE49-F238E27FC236}">
                <a16:creationId xmlns:a16="http://schemas.microsoft.com/office/drawing/2014/main" id="{3B99B112-1DFB-4880-B88E-39124C48DB28}"/>
              </a:ext>
            </a:extLst>
          </p:cNvPr>
          <p:cNvCxnSpPr/>
          <p:nvPr/>
        </p:nvCxnSpPr>
        <p:spPr>
          <a:xfrm>
            <a:off x="2820145" y="5059369"/>
            <a:ext cx="1070252" cy="0"/>
          </a:xfrm>
          <a:prstGeom prst="straightConnector1">
            <a:avLst/>
          </a:prstGeom>
          <a:ln w="19050">
            <a:solidFill>
              <a:schemeClr val="tx1">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87">
            <a:extLst>
              <a:ext uri="{FF2B5EF4-FFF2-40B4-BE49-F238E27FC236}">
                <a16:creationId xmlns:a16="http://schemas.microsoft.com/office/drawing/2014/main" id="{94C3224E-122C-4D07-8D78-63F855BA4F63}"/>
              </a:ext>
            </a:extLst>
          </p:cNvPr>
          <p:cNvCxnSpPr/>
          <p:nvPr/>
        </p:nvCxnSpPr>
        <p:spPr>
          <a:xfrm>
            <a:off x="3135732" y="4400752"/>
            <a:ext cx="1070252" cy="0"/>
          </a:xfrm>
          <a:prstGeom prst="straightConnector1">
            <a:avLst/>
          </a:prstGeom>
          <a:ln w="19050">
            <a:solidFill>
              <a:schemeClr val="tx1">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88">
            <a:extLst>
              <a:ext uri="{FF2B5EF4-FFF2-40B4-BE49-F238E27FC236}">
                <a16:creationId xmlns:a16="http://schemas.microsoft.com/office/drawing/2014/main" id="{A72063D4-E822-4108-A4B4-773BC31292BE}"/>
              </a:ext>
            </a:extLst>
          </p:cNvPr>
          <p:cNvCxnSpPr/>
          <p:nvPr/>
        </p:nvCxnSpPr>
        <p:spPr>
          <a:xfrm>
            <a:off x="5030921" y="2665814"/>
            <a:ext cx="1070252" cy="0"/>
          </a:xfrm>
          <a:prstGeom prst="straightConnector1">
            <a:avLst/>
          </a:prstGeom>
          <a:ln w="19050">
            <a:solidFill>
              <a:schemeClr val="tx1">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89">
            <a:extLst>
              <a:ext uri="{FF2B5EF4-FFF2-40B4-BE49-F238E27FC236}">
                <a16:creationId xmlns:a16="http://schemas.microsoft.com/office/drawing/2014/main" id="{65D4DA86-6CE5-4ED3-B15A-E83E27C24CD1}"/>
              </a:ext>
            </a:extLst>
          </p:cNvPr>
          <p:cNvCxnSpPr/>
          <p:nvPr/>
        </p:nvCxnSpPr>
        <p:spPr>
          <a:xfrm>
            <a:off x="5346508" y="3296988"/>
            <a:ext cx="1070252" cy="0"/>
          </a:xfrm>
          <a:prstGeom prst="straightConnector1">
            <a:avLst/>
          </a:prstGeom>
          <a:ln w="19050">
            <a:solidFill>
              <a:schemeClr val="tx1">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90">
            <a:extLst>
              <a:ext uri="{FF2B5EF4-FFF2-40B4-BE49-F238E27FC236}">
                <a16:creationId xmlns:a16="http://schemas.microsoft.com/office/drawing/2014/main" id="{86D72BC7-3FCA-4660-99BB-ED1E0DFAB033}"/>
              </a:ext>
            </a:extLst>
          </p:cNvPr>
          <p:cNvCxnSpPr/>
          <p:nvPr/>
        </p:nvCxnSpPr>
        <p:spPr>
          <a:xfrm>
            <a:off x="5085681" y="4866460"/>
            <a:ext cx="1070252" cy="0"/>
          </a:xfrm>
          <a:prstGeom prst="straightConnector1">
            <a:avLst/>
          </a:prstGeom>
          <a:ln w="19050">
            <a:solidFill>
              <a:schemeClr val="tx1">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91">
            <a:extLst>
              <a:ext uri="{FF2B5EF4-FFF2-40B4-BE49-F238E27FC236}">
                <a16:creationId xmlns:a16="http://schemas.microsoft.com/office/drawing/2014/main" id="{1E398EF1-4823-4516-A77B-3A205D313B53}"/>
              </a:ext>
            </a:extLst>
          </p:cNvPr>
          <p:cNvCxnSpPr/>
          <p:nvPr/>
        </p:nvCxnSpPr>
        <p:spPr>
          <a:xfrm>
            <a:off x="5312814" y="4408052"/>
            <a:ext cx="1070252" cy="0"/>
          </a:xfrm>
          <a:prstGeom prst="straightConnector1">
            <a:avLst/>
          </a:prstGeom>
          <a:ln w="19050">
            <a:solidFill>
              <a:schemeClr val="tx1">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92">
            <a:extLst>
              <a:ext uri="{FF2B5EF4-FFF2-40B4-BE49-F238E27FC236}">
                <a16:creationId xmlns:a16="http://schemas.microsoft.com/office/drawing/2014/main" id="{A35ACBE4-CC76-4941-8F01-E029210E60FB}"/>
              </a:ext>
            </a:extLst>
          </p:cNvPr>
          <p:cNvCxnSpPr/>
          <p:nvPr/>
        </p:nvCxnSpPr>
        <p:spPr>
          <a:xfrm>
            <a:off x="4844896" y="5312399"/>
            <a:ext cx="1070252" cy="0"/>
          </a:xfrm>
          <a:prstGeom prst="straightConnector1">
            <a:avLst/>
          </a:prstGeom>
          <a:ln w="19050">
            <a:solidFill>
              <a:schemeClr val="tx1">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8" name="TextBox 94">
            <a:extLst>
              <a:ext uri="{FF2B5EF4-FFF2-40B4-BE49-F238E27FC236}">
                <a16:creationId xmlns:a16="http://schemas.microsoft.com/office/drawing/2014/main" id="{EF94DA72-0263-4D96-AA4D-54F06D67515F}"/>
              </a:ext>
            </a:extLst>
          </p:cNvPr>
          <p:cNvSpPr txBox="1"/>
          <p:nvPr/>
        </p:nvSpPr>
        <p:spPr>
          <a:xfrm>
            <a:off x="1059510" y="1798421"/>
            <a:ext cx="795411" cy="33855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chemeClr val="accent1"/>
                </a:solidFill>
                <a:effectLst/>
                <a:uLnTx/>
                <a:uFillTx/>
                <a:latin typeface="Arial"/>
                <a:cs typeface="+mn-ea"/>
                <a:sym typeface="+mn-lt"/>
              </a:rPr>
              <a:t>Cause</a:t>
            </a:r>
            <a:endParaRPr kumimoji="0" lang="id-ID" sz="1600" b="1" i="0" u="none" strike="noStrike" kern="1200" cap="none" spc="0" normalizeH="0" baseline="0" noProof="0" dirty="0">
              <a:ln>
                <a:noFill/>
              </a:ln>
              <a:solidFill>
                <a:schemeClr val="accent1"/>
              </a:solidFill>
              <a:effectLst/>
              <a:uLnTx/>
              <a:uFillTx/>
              <a:latin typeface="Arial"/>
              <a:cs typeface="+mn-ea"/>
              <a:sym typeface="+mn-lt"/>
            </a:endParaRPr>
          </a:p>
        </p:txBody>
      </p:sp>
      <p:sp>
        <p:nvSpPr>
          <p:cNvPr id="29" name="TextBox 95">
            <a:extLst>
              <a:ext uri="{FF2B5EF4-FFF2-40B4-BE49-F238E27FC236}">
                <a16:creationId xmlns:a16="http://schemas.microsoft.com/office/drawing/2014/main" id="{FB8F868F-3DC1-4F1D-8CC5-C8E9BAE65E11}"/>
              </a:ext>
            </a:extLst>
          </p:cNvPr>
          <p:cNvSpPr txBox="1"/>
          <p:nvPr/>
        </p:nvSpPr>
        <p:spPr>
          <a:xfrm>
            <a:off x="1042726" y="5524782"/>
            <a:ext cx="795411" cy="33855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chemeClr val="accent1"/>
                </a:solidFill>
                <a:effectLst/>
                <a:uLnTx/>
                <a:uFillTx/>
                <a:latin typeface="Arial"/>
                <a:cs typeface="+mn-ea"/>
                <a:sym typeface="+mn-lt"/>
              </a:rPr>
              <a:t>Cause</a:t>
            </a:r>
            <a:endParaRPr kumimoji="0" lang="id-ID" sz="1600" b="1" i="0" u="none" strike="noStrike" kern="1200" cap="none" spc="0" normalizeH="0" baseline="0" noProof="0" dirty="0">
              <a:ln>
                <a:noFill/>
              </a:ln>
              <a:solidFill>
                <a:schemeClr val="accent1"/>
              </a:solidFill>
              <a:effectLst/>
              <a:uLnTx/>
              <a:uFillTx/>
              <a:latin typeface="Arial"/>
              <a:cs typeface="+mn-ea"/>
              <a:sym typeface="+mn-lt"/>
            </a:endParaRPr>
          </a:p>
        </p:txBody>
      </p:sp>
      <p:sp>
        <p:nvSpPr>
          <p:cNvPr id="30" name="TextBox 96">
            <a:extLst>
              <a:ext uri="{FF2B5EF4-FFF2-40B4-BE49-F238E27FC236}">
                <a16:creationId xmlns:a16="http://schemas.microsoft.com/office/drawing/2014/main" id="{AF602128-CB84-4A90-AE9F-312291B5B279}"/>
              </a:ext>
            </a:extLst>
          </p:cNvPr>
          <p:cNvSpPr txBox="1"/>
          <p:nvPr/>
        </p:nvSpPr>
        <p:spPr>
          <a:xfrm>
            <a:off x="3350809" y="1798421"/>
            <a:ext cx="795411" cy="33855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chemeClr val="accent1"/>
                </a:solidFill>
                <a:effectLst/>
                <a:uLnTx/>
                <a:uFillTx/>
                <a:latin typeface="Arial"/>
                <a:cs typeface="+mn-ea"/>
                <a:sym typeface="+mn-lt"/>
              </a:rPr>
              <a:t>Cause</a:t>
            </a:r>
            <a:endParaRPr kumimoji="0" lang="id-ID" sz="1600" b="1" i="0" u="none" strike="noStrike" kern="1200" cap="none" spc="0" normalizeH="0" baseline="0" noProof="0" dirty="0">
              <a:ln>
                <a:noFill/>
              </a:ln>
              <a:solidFill>
                <a:schemeClr val="accent1"/>
              </a:solidFill>
              <a:effectLst/>
              <a:uLnTx/>
              <a:uFillTx/>
              <a:latin typeface="Arial"/>
              <a:cs typeface="+mn-ea"/>
              <a:sym typeface="+mn-lt"/>
            </a:endParaRPr>
          </a:p>
        </p:txBody>
      </p:sp>
      <p:sp>
        <p:nvSpPr>
          <p:cNvPr id="31" name="TextBox 97">
            <a:extLst>
              <a:ext uri="{FF2B5EF4-FFF2-40B4-BE49-F238E27FC236}">
                <a16:creationId xmlns:a16="http://schemas.microsoft.com/office/drawing/2014/main" id="{5FE939A3-18F3-40F9-AE8F-BDDAAB3DED16}"/>
              </a:ext>
            </a:extLst>
          </p:cNvPr>
          <p:cNvSpPr txBox="1"/>
          <p:nvPr/>
        </p:nvSpPr>
        <p:spPr>
          <a:xfrm>
            <a:off x="3334025" y="5524782"/>
            <a:ext cx="795411" cy="33855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chemeClr val="accent1"/>
                </a:solidFill>
                <a:effectLst/>
                <a:uLnTx/>
                <a:uFillTx/>
                <a:latin typeface="Arial"/>
                <a:cs typeface="+mn-ea"/>
                <a:sym typeface="+mn-lt"/>
              </a:rPr>
              <a:t>Cause</a:t>
            </a:r>
            <a:endParaRPr kumimoji="0" lang="id-ID" sz="1600" b="1" i="0" u="none" strike="noStrike" kern="1200" cap="none" spc="0" normalizeH="0" baseline="0" noProof="0" dirty="0">
              <a:ln>
                <a:noFill/>
              </a:ln>
              <a:solidFill>
                <a:schemeClr val="accent1"/>
              </a:solidFill>
              <a:effectLst/>
              <a:uLnTx/>
              <a:uFillTx/>
              <a:latin typeface="Arial"/>
              <a:cs typeface="+mn-ea"/>
              <a:sym typeface="+mn-lt"/>
            </a:endParaRPr>
          </a:p>
        </p:txBody>
      </p:sp>
      <p:sp>
        <p:nvSpPr>
          <p:cNvPr id="32" name="TextBox 98">
            <a:extLst>
              <a:ext uri="{FF2B5EF4-FFF2-40B4-BE49-F238E27FC236}">
                <a16:creationId xmlns:a16="http://schemas.microsoft.com/office/drawing/2014/main" id="{9C5CD646-D9C1-4567-9E10-EF768BEA6A56}"/>
              </a:ext>
            </a:extLst>
          </p:cNvPr>
          <p:cNvSpPr txBox="1"/>
          <p:nvPr/>
        </p:nvSpPr>
        <p:spPr>
          <a:xfrm>
            <a:off x="5700450" y="1798421"/>
            <a:ext cx="795411" cy="33855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chemeClr val="accent1"/>
                </a:solidFill>
                <a:effectLst/>
                <a:uLnTx/>
                <a:uFillTx/>
                <a:latin typeface="Arial"/>
                <a:cs typeface="+mn-ea"/>
                <a:sym typeface="+mn-lt"/>
              </a:rPr>
              <a:t>Cause</a:t>
            </a:r>
            <a:endParaRPr kumimoji="0" lang="id-ID" sz="1600" b="1" i="0" u="none" strike="noStrike" kern="1200" cap="none" spc="0" normalizeH="0" baseline="0" noProof="0" dirty="0">
              <a:ln>
                <a:noFill/>
              </a:ln>
              <a:solidFill>
                <a:schemeClr val="accent1"/>
              </a:solidFill>
              <a:effectLst/>
              <a:uLnTx/>
              <a:uFillTx/>
              <a:latin typeface="Arial"/>
              <a:cs typeface="+mn-ea"/>
              <a:sym typeface="+mn-lt"/>
            </a:endParaRPr>
          </a:p>
        </p:txBody>
      </p:sp>
      <p:sp>
        <p:nvSpPr>
          <p:cNvPr id="33" name="TextBox 99">
            <a:extLst>
              <a:ext uri="{FF2B5EF4-FFF2-40B4-BE49-F238E27FC236}">
                <a16:creationId xmlns:a16="http://schemas.microsoft.com/office/drawing/2014/main" id="{D5C33495-8FF0-4E65-9C4A-68395809722F}"/>
              </a:ext>
            </a:extLst>
          </p:cNvPr>
          <p:cNvSpPr txBox="1"/>
          <p:nvPr/>
        </p:nvSpPr>
        <p:spPr>
          <a:xfrm>
            <a:off x="5683666" y="5524782"/>
            <a:ext cx="795411" cy="33855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chemeClr val="accent1"/>
                </a:solidFill>
                <a:effectLst/>
                <a:uLnTx/>
                <a:uFillTx/>
                <a:latin typeface="Arial"/>
                <a:cs typeface="+mn-ea"/>
                <a:sym typeface="+mn-lt"/>
              </a:rPr>
              <a:t>Cause</a:t>
            </a:r>
            <a:endParaRPr kumimoji="0" lang="id-ID" sz="1600" b="1" i="0" u="none" strike="noStrike" kern="1200" cap="none" spc="0" normalizeH="0" baseline="0" noProof="0" dirty="0">
              <a:ln>
                <a:noFill/>
              </a:ln>
              <a:solidFill>
                <a:schemeClr val="accent1"/>
              </a:solidFill>
              <a:effectLst/>
              <a:uLnTx/>
              <a:uFillTx/>
              <a:latin typeface="Arial"/>
              <a:cs typeface="+mn-ea"/>
              <a:sym typeface="+mn-lt"/>
            </a:endParaRPr>
          </a:p>
        </p:txBody>
      </p:sp>
      <p:sp>
        <p:nvSpPr>
          <p:cNvPr id="34" name="TextBox 101">
            <a:extLst>
              <a:ext uri="{FF2B5EF4-FFF2-40B4-BE49-F238E27FC236}">
                <a16:creationId xmlns:a16="http://schemas.microsoft.com/office/drawing/2014/main" id="{099C3727-75D3-492C-8C88-8F400BE3E3B2}"/>
              </a:ext>
            </a:extLst>
          </p:cNvPr>
          <p:cNvSpPr txBox="1"/>
          <p:nvPr/>
        </p:nvSpPr>
        <p:spPr>
          <a:xfrm>
            <a:off x="280805" y="2343893"/>
            <a:ext cx="1246323" cy="276999"/>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id-ID" sz="1200" b="0" i="0" u="none" strike="noStrike" kern="1200" cap="none" spc="0" normalizeH="0" baseline="0" noProof="0" dirty="0">
                <a:ln>
                  <a:noFill/>
                </a:ln>
                <a:solidFill>
                  <a:srgbClr val="778495"/>
                </a:solidFill>
                <a:effectLst/>
                <a:uLnTx/>
                <a:uFillTx/>
                <a:latin typeface="Arial"/>
                <a:cs typeface="+mn-ea"/>
                <a:sym typeface="+mn-lt"/>
              </a:rPr>
              <a:t>Text here</a:t>
            </a:r>
          </a:p>
        </p:txBody>
      </p:sp>
      <p:sp>
        <p:nvSpPr>
          <p:cNvPr id="35" name="TextBox 105">
            <a:extLst>
              <a:ext uri="{FF2B5EF4-FFF2-40B4-BE49-F238E27FC236}">
                <a16:creationId xmlns:a16="http://schemas.microsoft.com/office/drawing/2014/main" id="{AF5F1FBD-4ABA-4AF5-B8AD-9E7AAFD90AEA}"/>
              </a:ext>
            </a:extLst>
          </p:cNvPr>
          <p:cNvSpPr txBox="1"/>
          <p:nvPr/>
        </p:nvSpPr>
        <p:spPr>
          <a:xfrm>
            <a:off x="548387" y="2933685"/>
            <a:ext cx="1246323" cy="276999"/>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id-ID" sz="1200" b="0" i="0" u="none" strike="noStrike" kern="1200" cap="none" spc="0" normalizeH="0" baseline="0" noProof="0" dirty="0">
                <a:ln>
                  <a:noFill/>
                </a:ln>
                <a:solidFill>
                  <a:srgbClr val="778495"/>
                </a:solidFill>
                <a:effectLst/>
                <a:uLnTx/>
                <a:uFillTx/>
                <a:latin typeface="Arial"/>
                <a:cs typeface="+mn-ea"/>
                <a:sym typeface="+mn-lt"/>
              </a:rPr>
              <a:t>Text here</a:t>
            </a:r>
          </a:p>
        </p:txBody>
      </p:sp>
      <p:sp>
        <p:nvSpPr>
          <p:cNvPr id="36" name="TextBox 106">
            <a:extLst>
              <a:ext uri="{FF2B5EF4-FFF2-40B4-BE49-F238E27FC236}">
                <a16:creationId xmlns:a16="http://schemas.microsoft.com/office/drawing/2014/main" id="{B1127D01-7E47-47E7-A5E0-D06190C10B25}"/>
              </a:ext>
            </a:extLst>
          </p:cNvPr>
          <p:cNvSpPr txBox="1"/>
          <p:nvPr/>
        </p:nvSpPr>
        <p:spPr>
          <a:xfrm>
            <a:off x="513598" y="4408062"/>
            <a:ext cx="1246323" cy="276999"/>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id-ID" sz="1200" b="0" i="0" u="none" strike="noStrike" kern="1200" cap="none" spc="0" normalizeH="0" baseline="0" noProof="0" dirty="0">
                <a:ln>
                  <a:noFill/>
                </a:ln>
                <a:solidFill>
                  <a:srgbClr val="778495"/>
                </a:solidFill>
                <a:effectLst/>
                <a:uLnTx/>
                <a:uFillTx/>
                <a:latin typeface="Arial"/>
                <a:cs typeface="+mn-ea"/>
                <a:sym typeface="+mn-lt"/>
              </a:rPr>
              <a:t>Text here</a:t>
            </a:r>
          </a:p>
        </p:txBody>
      </p:sp>
      <p:sp>
        <p:nvSpPr>
          <p:cNvPr id="37" name="TextBox 107">
            <a:extLst>
              <a:ext uri="{FF2B5EF4-FFF2-40B4-BE49-F238E27FC236}">
                <a16:creationId xmlns:a16="http://schemas.microsoft.com/office/drawing/2014/main" id="{6DB4C33F-1DBF-4E95-950B-A32CC234CD15}"/>
              </a:ext>
            </a:extLst>
          </p:cNvPr>
          <p:cNvSpPr txBox="1"/>
          <p:nvPr/>
        </p:nvSpPr>
        <p:spPr>
          <a:xfrm>
            <a:off x="4709498" y="4995118"/>
            <a:ext cx="1246323" cy="276999"/>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id-ID" sz="1200" b="0" i="0" u="none" strike="noStrike" kern="1200" cap="none" spc="0" normalizeH="0" baseline="0" noProof="0" dirty="0">
                <a:ln>
                  <a:noFill/>
                </a:ln>
                <a:solidFill>
                  <a:srgbClr val="778495"/>
                </a:solidFill>
                <a:effectLst/>
                <a:uLnTx/>
                <a:uFillTx/>
                <a:latin typeface="Arial"/>
                <a:cs typeface="+mn-ea"/>
                <a:sym typeface="+mn-lt"/>
              </a:rPr>
              <a:t>Text here</a:t>
            </a:r>
          </a:p>
        </p:txBody>
      </p:sp>
      <p:sp>
        <p:nvSpPr>
          <p:cNvPr id="38" name="TextBox 108">
            <a:extLst>
              <a:ext uri="{FF2B5EF4-FFF2-40B4-BE49-F238E27FC236}">
                <a16:creationId xmlns:a16="http://schemas.microsoft.com/office/drawing/2014/main" id="{7A3D3B48-881C-45FA-BAE7-4D25AF490D24}"/>
              </a:ext>
            </a:extLst>
          </p:cNvPr>
          <p:cNvSpPr txBox="1"/>
          <p:nvPr/>
        </p:nvSpPr>
        <p:spPr>
          <a:xfrm>
            <a:off x="2604888" y="2421076"/>
            <a:ext cx="1246323" cy="276999"/>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id-ID" sz="1200" b="0" i="0" u="none" strike="noStrike" kern="1200" cap="none" spc="0" normalizeH="0" baseline="0" noProof="0" dirty="0">
                <a:ln>
                  <a:noFill/>
                </a:ln>
                <a:solidFill>
                  <a:srgbClr val="778495"/>
                </a:solidFill>
                <a:effectLst/>
                <a:uLnTx/>
                <a:uFillTx/>
                <a:latin typeface="Arial"/>
                <a:cs typeface="+mn-ea"/>
                <a:sym typeface="+mn-lt"/>
              </a:rPr>
              <a:t>Text here</a:t>
            </a:r>
          </a:p>
        </p:txBody>
      </p:sp>
      <p:sp>
        <p:nvSpPr>
          <p:cNvPr id="39" name="TextBox 109">
            <a:extLst>
              <a:ext uri="{FF2B5EF4-FFF2-40B4-BE49-F238E27FC236}">
                <a16:creationId xmlns:a16="http://schemas.microsoft.com/office/drawing/2014/main" id="{12CC3FE7-75F7-4836-A0FF-0051E4D10953}"/>
              </a:ext>
            </a:extLst>
          </p:cNvPr>
          <p:cNvSpPr txBox="1"/>
          <p:nvPr/>
        </p:nvSpPr>
        <p:spPr>
          <a:xfrm>
            <a:off x="2872470" y="3010868"/>
            <a:ext cx="1246323" cy="276999"/>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id-ID" sz="1200" b="0" i="0" u="none" strike="noStrike" kern="1200" cap="none" spc="0" normalizeH="0" baseline="0" noProof="0" dirty="0">
                <a:ln>
                  <a:noFill/>
                </a:ln>
                <a:solidFill>
                  <a:srgbClr val="778495"/>
                </a:solidFill>
                <a:effectLst/>
                <a:uLnTx/>
                <a:uFillTx/>
                <a:latin typeface="Arial"/>
                <a:cs typeface="+mn-ea"/>
                <a:sym typeface="+mn-lt"/>
              </a:rPr>
              <a:t>Text here</a:t>
            </a:r>
          </a:p>
        </p:txBody>
      </p:sp>
      <p:sp>
        <p:nvSpPr>
          <p:cNvPr id="40" name="TextBox 110">
            <a:extLst>
              <a:ext uri="{FF2B5EF4-FFF2-40B4-BE49-F238E27FC236}">
                <a16:creationId xmlns:a16="http://schemas.microsoft.com/office/drawing/2014/main" id="{5FEF6BAA-031F-49FC-8010-37107DD09F9B}"/>
              </a:ext>
            </a:extLst>
          </p:cNvPr>
          <p:cNvSpPr txBox="1"/>
          <p:nvPr/>
        </p:nvSpPr>
        <p:spPr>
          <a:xfrm>
            <a:off x="4791644" y="2357865"/>
            <a:ext cx="1246323" cy="276999"/>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id-ID" sz="1200" b="0" i="0" u="none" strike="noStrike" kern="1200" cap="none" spc="0" normalizeH="0" baseline="0" noProof="0" dirty="0">
                <a:ln>
                  <a:noFill/>
                </a:ln>
                <a:solidFill>
                  <a:srgbClr val="778495"/>
                </a:solidFill>
                <a:effectLst/>
                <a:uLnTx/>
                <a:uFillTx/>
                <a:latin typeface="Arial"/>
                <a:cs typeface="+mn-ea"/>
                <a:sym typeface="+mn-lt"/>
              </a:rPr>
              <a:t>Text here</a:t>
            </a:r>
          </a:p>
        </p:txBody>
      </p:sp>
      <p:sp>
        <p:nvSpPr>
          <p:cNvPr id="41" name="TextBox 111">
            <a:extLst>
              <a:ext uri="{FF2B5EF4-FFF2-40B4-BE49-F238E27FC236}">
                <a16:creationId xmlns:a16="http://schemas.microsoft.com/office/drawing/2014/main" id="{CEE2E791-E21A-44F9-BC2A-23239E3CC201}"/>
              </a:ext>
            </a:extLst>
          </p:cNvPr>
          <p:cNvSpPr txBox="1"/>
          <p:nvPr/>
        </p:nvSpPr>
        <p:spPr>
          <a:xfrm>
            <a:off x="5059226" y="2947657"/>
            <a:ext cx="1246323" cy="276999"/>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id-ID" sz="1200" b="0" i="0" u="none" strike="noStrike" kern="1200" cap="none" spc="0" normalizeH="0" baseline="0" noProof="0" dirty="0">
                <a:ln>
                  <a:noFill/>
                </a:ln>
                <a:solidFill>
                  <a:srgbClr val="778495"/>
                </a:solidFill>
                <a:effectLst/>
                <a:uLnTx/>
                <a:uFillTx/>
                <a:latin typeface="Arial"/>
                <a:cs typeface="+mn-ea"/>
                <a:sym typeface="+mn-lt"/>
              </a:rPr>
              <a:t>Text here</a:t>
            </a:r>
          </a:p>
        </p:txBody>
      </p:sp>
      <p:sp>
        <p:nvSpPr>
          <p:cNvPr id="42" name="TextBox 112">
            <a:extLst>
              <a:ext uri="{FF2B5EF4-FFF2-40B4-BE49-F238E27FC236}">
                <a16:creationId xmlns:a16="http://schemas.microsoft.com/office/drawing/2014/main" id="{4855009C-7B78-4570-AA37-2F12C01B4704}"/>
              </a:ext>
            </a:extLst>
          </p:cNvPr>
          <p:cNvSpPr txBox="1"/>
          <p:nvPr/>
        </p:nvSpPr>
        <p:spPr>
          <a:xfrm>
            <a:off x="2874790" y="4114689"/>
            <a:ext cx="1246323" cy="276999"/>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id-ID" sz="1200" b="0" i="0" u="none" strike="noStrike" kern="1200" cap="none" spc="0" normalizeH="0" baseline="0" noProof="0" dirty="0">
                <a:ln>
                  <a:noFill/>
                </a:ln>
                <a:solidFill>
                  <a:srgbClr val="778495"/>
                </a:solidFill>
                <a:effectLst/>
                <a:uLnTx/>
                <a:uFillTx/>
                <a:latin typeface="Arial"/>
                <a:cs typeface="+mn-ea"/>
                <a:sym typeface="+mn-lt"/>
              </a:rPr>
              <a:t>Text here</a:t>
            </a:r>
          </a:p>
        </p:txBody>
      </p:sp>
      <p:sp>
        <p:nvSpPr>
          <p:cNvPr id="43" name="TextBox 113">
            <a:extLst>
              <a:ext uri="{FF2B5EF4-FFF2-40B4-BE49-F238E27FC236}">
                <a16:creationId xmlns:a16="http://schemas.microsoft.com/office/drawing/2014/main" id="{624948F3-D679-437B-9F77-C7F9C8AAEE94}"/>
              </a:ext>
            </a:extLst>
          </p:cNvPr>
          <p:cNvSpPr txBox="1"/>
          <p:nvPr/>
        </p:nvSpPr>
        <p:spPr>
          <a:xfrm>
            <a:off x="2648084" y="4743519"/>
            <a:ext cx="1246323" cy="276999"/>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id-ID" sz="1200" b="0" i="0" u="none" strike="noStrike" kern="1200" cap="none" spc="0" normalizeH="0" baseline="0" noProof="0" dirty="0">
                <a:ln>
                  <a:noFill/>
                </a:ln>
                <a:solidFill>
                  <a:srgbClr val="778495"/>
                </a:solidFill>
                <a:effectLst/>
                <a:uLnTx/>
                <a:uFillTx/>
                <a:latin typeface="Arial"/>
                <a:cs typeface="+mn-ea"/>
                <a:sym typeface="+mn-lt"/>
              </a:rPr>
              <a:t>Text here</a:t>
            </a:r>
          </a:p>
        </p:txBody>
      </p:sp>
      <p:sp>
        <p:nvSpPr>
          <p:cNvPr id="44" name="TextBox 114">
            <a:extLst>
              <a:ext uri="{FF2B5EF4-FFF2-40B4-BE49-F238E27FC236}">
                <a16:creationId xmlns:a16="http://schemas.microsoft.com/office/drawing/2014/main" id="{976A3F71-93BF-4687-B298-511229A4488E}"/>
              </a:ext>
            </a:extLst>
          </p:cNvPr>
          <p:cNvSpPr txBox="1"/>
          <p:nvPr/>
        </p:nvSpPr>
        <p:spPr>
          <a:xfrm>
            <a:off x="4925635" y="4528971"/>
            <a:ext cx="1246323" cy="276999"/>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id-ID" sz="1200" b="0" i="0" u="none" strike="noStrike" kern="1200" cap="none" spc="0" normalizeH="0" baseline="0" noProof="0" dirty="0">
                <a:ln>
                  <a:noFill/>
                </a:ln>
                <a:solidFill>
                  <a:srgbClr val="778495"/>
                </a:solidFill>
                <a:effectLst/>
                <a:uLnTx/>
                <a:uFillTx/>
                <a:latin typeface="Arial"/>
                <a:cs typeface="+mn-ea"/>
                <a:sym typeface="+mn-lt"/>
              </a:rPr>
              <a:t>Text here</a:t>
            </a:r>
          </a:p>
        </p:txBody>
      </p:sp>
      <p:sp>
        <p:nvSpPr>
          <p:cNvPr id="45" name="TextBox 115">
            <a:extLst>
              <a:ext uri="{FF2B5EF4-FFF2-40B4-BE49-F238E27FC236}">
                <a16:creationId xmlns:a16="http://schemas.microsoft.com/office/drawing/2014/main" id="{4EB04BDB-40D5-4380-A7D0-4703E13750CF}"/>
              </a:ext>
            </a:extLst>
          </p:cNvPr>
          <p:cNvSpPr txBox="1"/>
          <p:nvPr/>
        </p:nvSpPr>
        <p:spPr>
          <a:xfrm>
            <a:off x="5080736" y="4084253"/>
            <a:ext cx="1246323" cy="276999"/>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id-ID" sz="1200" b="0" i="0" u="none" strike="noStrike" kern="1200" cap="none" spc="0" normalizeH="0" baseline="0" noProof="0" dirty="0">
                <a:ln>
                  <a:noFill/>
                </a:ln>
                <a:solidFill>
                  <a:srgbClr val="778495"/>
                </a:solidFill>
                <a:effectLst/>
                <a:uLnTx/>
                <a:uFillTx/>
                <a:latin typeface="Arial"/>
                <a:cs typeface="+mn-ea"/>
                <a:sym typeface="+mn-lt"/>
              </a:rPr>
              <a:t>Text here</a:t>
            </a:r>
          </a:p>
        </p:txBody>
      </p:sp>
    </p:spTree>
    <p:extLst>
      <p:ext uri="{BB962C8B-B14F-4D97-AF65-F5344CB8AC3E}">
        <p14:creationId xmlns:p14="http://schemas.microsoft.com/office/powerpoint/2010/main" val="3093304950"/>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7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5">
            <a:extLst>
              <a:ext uri="{FF2B5EF4-FFF2-40B4-BE49-F238E27FC236}">
                <a16:creationId xmlns:a16="http://schemas.microsoft.com/office/drawing/2014/main" id="{EF9809FE-9182-4556-A481-6BA2EFB3F6A5}"/>
              </a:ext>
            </a:extLst>
          </p:cNvPr>
          <p:cNvSpPr>
            <a:spLocks noEditPoints="1"/>
          </p:cNvSpPr>
          <p:nvPr/>
        </p:nvSpPr>
        <p:spPr bwMode="auto">
          <a:xfrm>
            <a:off x="1960067" y="2664769"/>
            <a:ext cx="8644728" cy="1528463"/>
          </a:xfrm>
          <a:custGeom>
            <a:avLst/>
            <a:gdLst>
              <a:gd name="T0" fmla="*/ 2408 w 2606"/>
              <a:gd name="T1" fmla="*/ 115 h 458"/>
              <a:gd name="T2" fmla="*/ 2210 w 2606"/>
              <a:gd name="T3" fmla="*/ 0 h 458"/>
              <a:gd name="T4" fmla="*/ 2210 w 2606"/>
              <a:gd name="T5" fmla="*/ 203 h 458"/>
              <a:gd name="T6" fmla="*/ 217 w 2606"/>
              <a:gd name="T7" fmla="*/ 203 h 458"/>
              <a:gd name="T8" fmla="*/ 130 w 2606"/>
              <a:gd name="T9" fmla="*/ 153 h 458"/>
              <a:gd name="T10" fmla="*/ 0 w 2606"/>
              <a:gd name="T11" fmla="*/ 78 h 458"/>
              <a:gd name="T12" fmla="*/ 46 w 2606"/>
              <a:gd name="T13" fmla="*/ 229 h 458"/>
              <a:gd name="T14" fmla="*/ 0 w 2606"/>
              <a:gd name="T15" fmla="*/ 380 h 458"/>
              <a:gd name="T16" fmla="*/ 130 w 2606"/>
              <a:gd name="T17" fmla="*/ 305 h 458"/>
              <a:gd name="T18" fmla="*/ 217 w 2606"/>
              <a:gd name="T19" fmla="*/ 255 h 458"/>
              <a:gd name="T20" fmla="*/ 2210 w 2606"/>
              <a:gd name="T21" fmla="*/ 255 h 458"/>
              <a:gd name="T22" fmla="*/ 2210 w 2606"/>
              <a:gd name="T23" fmla="*/ 458 h 458"/>
              <a:gd name="T24" fmla="*/ 2408 w 2606"/>
              <a:gd name="T25" fmla="*/ 343 h 458"/>
              <a:gd name="T26" fmla="*/ 2606 w 2606"/>
              <a:gd name="T27" fmla="*/ 229 h 458"/>
              <a:gd name="T28" fmla="*/ 2408 w 2606"/>
              <a:gd name="T29" fmla="*/ 115 h 458"/>
              <a:gd name="T30" fmla="*/ 2352 w 2606"/>
              <a:gd name="T31" fmla="*/ 174 h 458"/>
              <a:gd name="T32" fmla="*/ 2325 w 2606"/>
              <a:gd name="T33" fmla="*/ 147 h 458"/>
              <a:gd name="T34" fmla="*/ 2352 w 2606"/>
              <a:gd name="T35" fmla="*/ 120 h 458"/>
              <a:gd name="T36" fmla="*/ 2379 w 2606"/>
              <a:gd name="T37" fmla="*/ 147 h 458"/>
              <a:gd name="T38" fmla="*/ 2352 w 2606"/>
              <a:gd name="T39" fmla="*/ 174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606" h="458">
                <a:moveTo>
                  <a:pt x="2408" y="115"/>
                </a:moveTo>
                <a:cubicBezTo>
                  <a:pt x="2210" y="0"/>
                  <a:pt x="2210" y="0"/>
                  <a:pt x="2210" y="0"/>
                </a:cubicBezTo>
                <a:cubicBezTo>
                  <a:pt x="2210" y="203"/>
                  <a:pt x="2210" y="203"/>
                  <a:pt x="2210" y="203"/>
                </a:cubicBezTo>
                <a:cubicBezTo>
                  <a:pt x="217" y="203"/>
                  <a:pt x="217" y="203"/>
                  <a:pt x="217" y="203"/>
                </a:cubicBezTo>
                <a:cubicBezTo>
                  <a:pt x="130" y="153"/>
                  <a:pt x="130" y="153"/>
                  <a:pt x="130" y="153"/>
                </a:cubicBezTo>
                <a:cubicBezTo>
                  <a:pt x="0" y="78"/>
                  <a:pt x="0" y="78"/>
                  <a:pt x="0" y="78"/>
                </a:cubicBezTo>
                <a:cubicBezTo>
                  <a:pt x="46" y="229"/>
                  <a:pt x="46" y="229"/>
                  <a:pt x="46" y="229"/>
                </a:cubicBezTo>
                <a:cubicBezTo>
                  <a:pt x="0" y="380"/>
                  <a:pt x="0" y="380"/>
                  <a:pt x="0" y="380"/>
                </a:cubicBezTo>
                <a:cubicBezTo>
                  <a:pt x="130" y="305"/>
                  <a:pt x="130" y="305"/>
                  <a:pt x="130" y="305"/>
                </a:cubicBezTo>
                <a:cubicBezTo>
                  <a:pt x="217" y="255"/>
                  <a:pt x="217" y="255"/>
                  <a:pt x="217" y="255"/>
                </a:cubicBezTo>
                <a:cubicBezTo>
                  <a:pt x="2210" y="255"/>
                  <a:pt x="2210" y="255"/>
                  <a:pt x="2210" y="255"/>
                </a:cubicBezTo>
                <a:cubicBezTo>
                  <a:pt x="2210" y="458"/>
                  <a:pt x="2210" y="458"/>
                  <a:pt x="2210" y="458"/>
                </a:cubicBezTo>
                <a:cubicBezTo>
                  <a:pt x="2408" y="343"/>
                  <a:pt x="2408" y="343"/>
                  <a:pt x="2408" y="343"/>
                </a:cubicBezTo>
                <a:cubicBezTo>
                  <a:pt x="2606" y="229"/>
                  <a:pt x="2606" y="229"/>
                  <a:pt x="2606" y="229"/>
                </a:cubicBezTo>
                <a:lnTo>
                  <a:pt x="2408" y="115"/>
                </a:lnTo>
                <a:close/>
                <a:moveTo>
                  <a:pt x="2352" y="174"/>
                </a:moveTo>
                <a:cubicBezTo>
                  <a:pt x="2337" y="174"/>
                  <a:pt x="2325" y="162"/>
                  <a:pt x="2325" y="147"/>
                </a:cubicBezTo>
                <a:cubicBezTo>
                  <a:pt x="2325" y="132"/>
                  <a:pt x="2337" y="120"/>
                  <a:pt x="2352" y="120"/>
                </a:cubicBezTo>
                <a:cubicBezTo>
                  <a:pt x="2367" y="120"/>
                  <a:pt x="2379" y="132"/>
                  <a:pt x="2379" y="147"/>
                </a:cubicBezTo>
                <a:cubicBezTo>
                  <a:pt x="2379" y="162"/>
                  <a:pt x="2367" y="174"/>
                  <a:pt x="2352" y="174"/>
                </a:cubicBezTo>
                <a:close/>
              </a:path>
            </a:pathLst>
          </a:custGeom>
          <a:solidFill>
            <a:schemeClr val="accent1">
              <a:lumMod val="60000"/>
              <a:lumOff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cs typeface="+mn-ea"/>
              <a:sym typeface="+mn-lt"/>
            </a:endParaRPr>
          </a:p>
        </p:txBody>
      </p:sp>
      <p:cxnSp>
        <p:nvCxnSpPr>
          <p:cNvPr id="3" name="Straight Connector 18">
            <a:extLst>
              <a:ext uri="{FF2B5EF4-FFF2-40B4-BE49-F238E27FC236}">
                <a16:creationId xmlns:a16="http://schemas.microsoft.com/office/drawing/2014/main" id="{606A0339-4BB1-4CA5-9586-6475A3CB9D50}"/>
              </a:ext>
            </a:extLst>
          </p:cNvPr>
          <p:cNvCxnSpPr/>
          <p:nvPr/>
        </p:nvCxnSpPr>
        <p:spPr>
          <a:xfrm flipH="1" flipV="1">
            <a:off x="3387917" y="1465210"/>
            <a:ext cx="893939" cy="1582744"/>
          </a:xfrm>
          <a:prstGeom prst="line">
            <a:avLst/>
          </a:prstGeom>
          <a:ln w="25400">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4" name="Straight Connector 34">
            <a:extLst>
              <a:ext uri="{FF2B5EF4-FFF2-40B4-BE49-F238E27FC236}">
                <a16:creationId xmlns:a16="http://schemas.microsoft.com/office/drawing/2014/main" id="{784AA44A-3199-4B22-9732-36558DE6B296}"/>
              </a:ext>
            </a:extLst>
          </p:cNvPr>
          <p:cNvCxnSpPr/>
          <p:nvPr/>
        </p:nvCxnSpPr>
        <p:spPr>
          <a:xfrm flipH="1" flipV="1">
            <a:off x="5374640" y="1487488"/>
            <a:ext cx="893939" cy="1582744"/>
          </a:xfrm>
          <a:prstGeom prst="line">
            <a:avLst/>
          </a:prstGeom>
          <a:ln w="25400">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5" name="Straight Connector 40">
            <a:extLst>
              <a:ext uri="{FF2B5EF4-FFF2-40B4-BE49-F238E27FC236}">
                <a16:creationId xmlns:a16="http://schemas.microsoft.com/office/drawing/2014/main" id="{60A1EFBD-EBFF-4542-BE22-EBC6DCCAB65F}"/>
              </a:ext>
            </a:extLst>
          </p:cNvPr>
          <p:cNvCxnSpPr/>
          <p:nvPr/>
        </p:nvCxnSpPr>
        <p:spPr>
          <a:xfrm flipH="1" flipV="1">
            <a:off x="7236406" y="1478309"/>
            <a:ext cx="893939" cy="1582744"/>
          </a:xfrm>
          <a:prstGeom prst="line">
            <a:avLst/>
          </a:prstGeom>
          <a:ln w="25400">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6" name="Straight Connector 48">
            <a:extLst>
              <a:ext uri="{FF2B5EF4-FFF2-40B4-BE49-F238E27FC236}">
                <a16:creationId xmlns:a16="http://schemas.microsoft.com/office/drawing/2014/main" id="{B90011A6-10AD-41D6-8BE1-CFC3DE1096DE}"/>
              </a:ext>
            </a:extLst>
          </p:cNvPr>
          <p:cNvCxnSpPr/>
          <p:nvPr/>
        </p:nvCxnSpPr>
        <p:spPr>
          <a:xfrm flipH="1">
            <a:off x="3387917" y="3824412"/>
            <a:ext cx="893939" cy="1582744"/>
          </a:xfrm>
          <a:prstGeom prst="line">
            <a:avLst/>
          </a:prstGeom>
          <a:ln w="25400">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7" name="Straight Connector 54">
            <a:extLst>
              <a:ext uri="{FF2B5EF4-FFF2-40B4-BE49-F238E27FC236}">
                <a16:creationId xmlns:a16="http://schemas.microsoft.com/office/drawing/2014/main" id="{0CF5A546-AFE4-4F5D-A9AC-B22B2B51DDAB}"/>
              </a:ext>
            </a:extLst>
          </p:cNvPr>
          <p:cNvCxnSpPr/>
          <p:nvPr/>
        </p:nvCxnSpPr>
        <p:spPr>
          <a:xfrm flipH="1">
            <a:off x="5374640" y="3846690"/>
            <a:ext cx="893939" cy="1582744"/>
          </a:xfrm>
          <a:prstGeom prst="line">
            <a:avLst/>
          </a:prstGeom>
          <a:ln w="25400">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8" name="Straight Connector 60">
            <a:extLst>
              <a:ext uri="{FF2B5EF4-FFF2-40B4-BE49-F238E27FC236}">
                <a16:creationId xmlns:a16="http://schemas.microsoft.com/office/drawing/2014/main" id="{9B495CD8-0AB8-43E1-86A1-81E04F44818C}"/>
              </a:ext>
            </a:extLst>
          </p:cNvPr>
          <p:cNvCxnSpPr/>
          <p:nvPr/>
        </p:nvCxnSpPr>
        <p:spPr>
          <a:xfrm flipH="1">
            <a:off x="7236406" y="3837511"/>
            <a:ext cx="893939" cy="1582744"/>
          </a:xfrm>
          <a:prstGeom prst="line">
            <a:avLst/>
          </a:prstGeom>
          <a:ln w="25400">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9" name="Oval 93">
            <a:extLst>
              <a:ext uri="{FF2B5EF4-FFF2-40B4-BE49-F238E27FC236}">
                <a16:creationId xmlns:a16="http://schemas.microsoft.com/office/drawing/2014/main" id="{F1603CCE-6476-43C2-999E-2A6C5CD9E838}"/>
              </a:ext>
            </a:extLst>
          </p:cNvPr>
          <p:cNvSpPr/>
          <p:nvPr/>
        </p:nvSpPr>
        <p:spPr>
          <a:xfrm>
            <a:off x="7163982" y="1409386"/>
            <a:ext cx="137160" cy="137160"/>
          </a:xfrm>
          <a:prstGeom prst="ellipse">
            <a:avLst/>
          </a:prstGeom>
          <a:solidFill>
            <a:schemeClr val="accent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cs typeface="+mn-ea"/>
              <a:sym typeface="+mn-lt"/>
            </a:endParaRPr>
          </a:p>
        </p:txBody>
      </p:sp>
      <p:sp>
        <p:nvSpPr>
          <p:cNvPr id="10" name="TextBox 94">
            <a:extLst>
              <a:ext uri="{FF2B5EF4-FFF2-40B4-BE49-F238E27FC236}">
                <a16:creationId xmlns:a16="http://schemas.microsoft.com/office/drawing/2014/main" id="{079F342B-FBA4-4209-8114-1CFEF4B46657}"/>
              </a:ext>
            </a:extLst>
          </p:cNvPr>
          <p:cNvSpPr txBox="1"/>
          <p:nvPr/>
        </p:nvSpPr>
        <p:spPr>
          <a:xfrm>
            <a:off x="5681238" y="1339467"/>
            <a:ext cx="1417886" cy="276999"/>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accent1"/>
                </a:solidFill>
                <a:effectLst/>
                <a:uLnTx/>
                <a:uFillTx/>
                <a:latin typeface="Arial"/>
                <a:cs typeface="+mn-ea"/>
                <a:sym typeface="+mn-lt"/>
              </a:rPr>
              <a:t>Example Text</a:t>
            </a:r>
          </a:p>
        </p:txBody>
      </p:sp>
      <p:sp>
        <p:nvSpPr>
          <p:cNvPr id="11" name="Oval 96">
            <a:extLst>
              <a:ext uri="{FF2B5EF4-FFF2-40B4-BE49-F238E27FC236}">
                <a16:creationId xmlns:a16="http://schemas.microsoft.com/office/drawing/2014/main" id="{7889B34A-2E36-4AA4-AD24-59EF5A461698}"/>
              </a:ext>
            </a:extLst>
          </p:cNvPr>
          <p:cNvSpPr/>
          <p:nvPr/>
        </p:nvSpPr>
        <p:spPr>
          <a:xfrm>
            <a:off x="7396723" y="1809682"/>
            <a:ext cx="137160" cy="137160"/>
          </a:xfrm>
          <a:prstGeom prst="ellipse">
            <a:avLst/>
          </a:prstGeom>
          <a:solidFill>
            <a:schemeClr val="accent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cs typeface="+mn-ea"/>
              <a:sym typeface="+mn-lt"/>
            </a:endParaRPr>
          </a:p>
        </p:txBody>
      </p:sp>
      <p:sp>
        <p:nvSpPr>
          <p:cNvPr id="12" name="TextBox 97">
            <a:extLst>
              <a:ext uri="{FF2B5EF4-FFF2-40B4-BE49-F238E27FC236}">
                <a16:creationId xmlns:a16="http://schemas.microsoft.com/office/drawing/2014/main" id="{89C35D64-9568-4344-9087-E98B97B862BE}"/>
              </a:ext>
            </a:extLst>
          </p:cNvPr>
          <p:cNvSpPr txBox="1"/>
          <p:nvPr/>
        </p:nvSpPr>
        <p:spPr>
          <a:xfrm>
            <a:off x="5903548" y="1739763"/>
            <a:ext cx="1417886" cy="276999"/>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accent1"/>
                </a:solidFill>
                <a:effectLst/>
                <a:uLnTx/>
                <a:uFillTx/>
                <a:latin typeface="Arial"/>
                <a:cs typeface="+mn-ea"/>
                <a:sym typeface="+mn-lt"/>
              </a:rPr>
              <a:t>Example Text</a:t>
            </a:r>
          </a:p>
        </p:txBody>
      </p:sp>
      <p:sp>
        <p:nvSpPr>
          <p:cNvPr id="13" name="Oval 99">
            <a:extLst>
              <a:ext uri="{FF2B5EF4-FFF2-40B4-BE49-F238E27FC236}">
                <a16:creationId xmlns:a16="http://schemas.microsoft.com/office/drawing/2014/main" id="{C06C0319-BA3F-4D5F-8B9E-0C0D12E78C86}"/>
              </a:ext>
            </a:extLst>
          </p:cNvPr>
          <p:cNvSpPr/>
          <p:nvPr/>
        </p:nvSpPr>
        <p:spPr>
          <a:xfrm>
            <a:off x="7639584" y="2238873"/>
            <a:ext cx="137160" cy="137160"/>
          </a:xfrm>
          <a:prstGeom prst="ellipse">
            <a:avLst/>
          </a:prstGeom>
          <a:solidFill>
            <a:schemeClr val="accent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cs typeface="+mn-ea"/>
              <a:sym typeface="+mn-lt"/>
            </a:endParaRPr>
          </a:p>
        </p:txBody>
      </p:sp>
      <p:sp>
        <p:nvSpPr>
          <p:cNvPr id="14" name="TextBox 100">
            <a:extLst>
              <a:ext uri="{FF2B5EF4-FFF2-40B4-BE49-F238E27FC236}">
                <a16:creationId xmlns:a16="http://schemas.microsoft.com/office/drawing/2014/main" id="{1AF9D1B4-AD9F-4679-96F1-C9D6EE83B76D}"/>
              </a:ext>
            </a:extLst>
          </p:cNvPr>
          <p:cNvSpPr txBox="1"/>
          <p:nvPr/>
        </p:nvSpPr>
        <p:spPr>
          <a:xfrm>
            <a:off x="6130926" y="2168954"/>
            <a:ext cx="1417886" cy="276999"/>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accent1"/>
                </a:solidFill>
                <a:effectLst/>
                <a:uLnTx/>
                <a:uFillTx/>
                <a:latin typeface="Arial"/>
                <a:cs typeface="+mn-ea"/>
                <a:sym typeface="+mn-lt"/>
              </a:rPr>
              <a:t>Example Text</a:t>
            </a:r>
          </a:p>
        </p:txBody>
      </p:sp>
      <p:sp>
        <p:nvSpPr>
          <p:cNvPr id="15" name="Oval 102">
            <a:extLst>
              <a:ext uri="{FF2B5EF4-FFF2-40B4-BE49-F238E27FC236}">
                <a16:creationId xmlns:a16="http://schemas.microsoft.com/office/drawing/2014/main" id="{07C1927A-8D07-4E47-837D-C62B470F29DB}"/>
              </a:ext>
            </a:extLst>
          </p:cNvPr>
          <p:cNvSpPr/>
          <p:nvPr/>
        </p:nvSpPr>
        <p:spPr>
          <a:xfrm>
            <a:off x="7888804" y="2673636"/>
            <a:ext cx="137160" cy="137160"/>
          </a:xfrm>
          <a:prstGeom prst="ellipse">
            <a:avLst/>
          </a:prstGeom>
          <a:solidFill>
            <a:schemeClr val="accent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cs typeface="+mn-ea"/>
              <a:sym typeface="+mn-lt"/>
            </a:endParaRPr>
          </a:p>
        </p:txBody>
      </p:sp>
      <p:sp>
        <p:nvSpPr>
          <p:cNvPr id="16" name="TextBox 103">
            <a:extLst>
              <a:ext uri="{FF2B5EF4-FFF2-40B4-BE49-F238E27FC236}">
                <a16:creationId xmlns:a16="http://schemas.microsoft.com/office/drawing/2014/main" id="{B639A2DA-F3EA-4FD7-9D02-5289B682F695}"/>
              </a:ext>
            </a:extLst>
          </p:cNvPr>
          <p:cNvSpPr txBox="1"/>
          <p:nvPr/>
        </p:nvSpPr>
        <p:spPr>
          <a:xfrm>
            <a:off x="6406060" y="2603717"/>
            <a:ext cx="1417886" cy="276999"/>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accent1"/>
                </a:solidFill>
                <a:effectLst/>
                <a:uLnTx/>
                <a:uFillTx/>
                <a:latin typeface="Arial"/>
                <a:cs typeface="+mn-ea"/>
                <a:sym typeface="+mn-lt"/>
              </a:rPr>
              <a:t>Example Text</a:t>
            </a:r>
          </a:p>
        </p:txBody>
      </p:sp>
      <p:sp>
        <p:nvSpPr>
          <p:cNvPr id="17" name="Oval 129">
            <a:extLst>
              <a:ext uri="{FF2B5EF4-FFF2-40B4-BE49-F238E27FC236}">
                <a16:creationId xmlns:a16="http://schemas.microsoft.com/office/drawing/2014/main" id="{3DDD6CD4-11AA-41DF-8678-0F27CA847140}"/>
              </a:ext>
            </a:extLst>
          </p:cNvPr>
          <p:cNvSpPr/>
          <p:nvPr/>
        </p:nvSpPr>
        <p:spPr>
          <a:xfrm>
            <a:off x="5322154" y="5317331"/>
            <a:ext cx="138493" cy="138493"/>
          </a:xfrm>
          <a:prstGeom prst="ellipse">
            <a:avLst/>
          </a:prstGeom>
          <a:solidFill>
            <a:schemeClr val="accent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cs typeface="+mn-ea"/>
              <a:sym typeface="+mn-lt"/>
            </a:endParaRPr>
          </a:p>
        </p:txBody>
      </p:sp>
      <p:sp>
        <p:nvSpPr>
          <p:cNvPr id="18" name="TextBox 130">
            <a:extLst>
              <a:ext uri="{FF2B5EF4-FFF2-40B4-BE49-F238E27FC236}">
                <a16:creationId xmlns:a16="http://schemas.microsoft.com/office/drawing/2014/main" id="{06451D64-8A76-4795-A836-33A4764CCDA7}"/>
              </a:ext>
            </a:extLst>
          </p:cNvPr>
          <p:cNvSpPr txBox="1"/>
          <p:nvPr/>
        </p:nvSpPr>
        <p:spPr>
          <a:xfrm>
            <a:off x="3824897" y="5248078"/>
            <a:ext cx="1417886" cy="276999"/>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accent1"/>
                </a:solidFill>
                <a:effectLst/>
                <a:uLnTx/>
                <a:uFillTx/>
                <a:latin typeface="Arial"/>
                <a:cs typeface="+mn-ea"/>
                <a:sym typeface="+mn-lt"/>
              </a:rPr>
              <a:t>Example Text</a:t>
            </a:r>
          </a:p>
        </p:txBody>
      </p:sp>
      <p:sp>
        <p:nvSpPr>
          <p:cNvPr id="19" name="Oval 132">
            <a:extLst>
              <a:ext uri="{FF2B5EF4-FFF2-40B4-BE49-F238E27FC236}">
                <a16:creationId xmlns:a16="http://schemas.microsoft.com/office/drawing/2014/main" id="{F8D9753D-FA80-4746-BA2F-E26F08111611}"/>
              </a:ext>
            </a:extLst>
          </p:cNvPr>
          <p:cNvSpPr/>
          <p:nvPr/>
        </p:nvSpPr>
        <p:spPr>
          <a:xfrm>
            <a:off x="5570358" y="4913700"/>
            <a:ext cx="138493" cy="138493"/>
          </a:xfrm>
          <a:prstGeom prst="ellipse">
            <a:avLst/>
          </a:prstGeom>
          <a:solidFill>
            <a:schemeClr val="accent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cs typeface="+mn-ea"/>
              <a:sym typeface="+mn-lt"/>
            </a:endParaRPr>
          </a:p>
        </p:txBody>
      </p:sp>
      <p:sp>
        <p:nvSpPr>
          <p:cNvPr id="20" name="TextBox 133">
            <a:extLst>
              <a:ext uri="{FF2B5EF4-FFF2-40B4-BE49-F238E27FC236}">
                <a16:creationId xmlns:a16="http://schemas.microsoft.com/office/drawing/2014/main" id="{1F509F91-1D52-42EB-AF6A-C695EF1E1E1E}"/>
              </a:ext>
            </a:extLst>
          </p:cNvPr>
          <p:cNvSpPr txBox="1"/>
          <p:nvPr/>
        </p:nvSpPr>
        <p:spPr>
          <a:xfrm>
            <a:off x="4077184" y="4844447"/>
            <a:ext cx="1417886" cy="276999"/>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accent1"/>
                </a:solidFill>
                <a:effectLst/>
                <a:uLnTx/>
                <a:uFillTx/>
                <a:latin typeface="Arial"/>
                <a:cs typeface="+mn-ea"/>
                <a:sym typeface="+mn-lt"/>
              </a:rPr>
              <a:t>Example Text</a:t>
            </a:r>
          </a:p>
        </p:txBody>
      </p:sp>
      <p:sp>
        <p:nvSpPr>
          <p:cNvPr id="21" name="Oval 135">
            <a:extLst>
              <a:ext uri="{FF2B5EF4-FFF2-40B4-BE49-F238E27FC236}">
                <a16:creationId xmlns:a16="http://schemas.microsoft.com/office/drawing/2014/main" id="{9562A28D-70D8-4533-822F-5C67C7F1B1FE}"/>
              </a:ext>
            </a:extLst>
          </p:cNvPr>
          <p:cNvSpPr/>
          <p:nvPr/>
        </p:nvSpPr>
        <p:spPr>
          <a:xfrm>
            <a:off x="5782353" y="4489194"/>
            <a:ext cx="138493" cy="138493"/>
          </a:xfrm>
          <a:prstGeom prst="ellipse">
            <a:avLst/>
          </a:prstGeom>
          <a:solidFill>
            <a:schemeClr val="accent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cs typeface="+mn-ea"/>
              <a:sym typeface="+mn-lt"/>
            </a:endParaRPr>
          </a:p>
        </p:txBody>
      </p:sp>
      <p:sp>
        <p:nvSpPr>
          <p:cNvPr id="22" name="TextBox 136">
            <a:extLst>
              <a:ext uri="{FF2B5EF4-FFF2-40B4-BE49-F238E27FC236}">
                <a16:creationId xmlns:a16="http://schemas.microsoft.com/office/drawing/2014/main" id="{B5C07DAF-8565-44F9-83B7-7E7E36D69F27}"/>
              </a:ext>
            </a:extLst>
          </p:cNvPr>
          <p:cNvSpPr txBox="1"/>
          <p:nvPr/>
        </p:nvSpPr>
        <p:spPr>
          <a:xfrm>
            <a:off x="4273696" y="4419941"/>
            <a:ext cx="1417886" cy="276999"/>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accent1"/>
                </a:solidFill>
                <a:effectLst/>
                <a:uLnTx/>
                <a:uFillTx/>
                <a:latin typeface="Arial"/>
                <a:cs typeface="+mn-ea"/>
                <a:sym typeface="+mn-lt"/>
              </a:rPr>
              <a:t>Example Text</a:t>
            </a:r>
          </a:p>
        </p:txBody>
      </p:sp>
      <p:sp>
        <p:nvSpPr>
          <p:cNvPr id="23" name="Oval 138">
            <a:extLst>
              <a:ext uri="{FF2B5EF4-FFF2-40B4-BE49-F238E27FC236}">
                <a16:creationId xmlns:a16="http://schemas.microsoft.com/office/drawing/2014/main" id="{1A8068C7-97E1-4F58-B04D-E0922D1F2251}"/>
              </a:ext>
            </a:extLst>
          </p:cNvPr>
          <p:cNvSpPr/>
          <p:nvPr/>
        </p:nvSpPr>
        <p:spPr>
          <a:xfrm>
            <a:off x="6022237" y="4093287"/>
            <a:ext cx="138493" cy="138493"/>
          </a:xfrm>
          <a:prstGeom prst="ellipse">
            <a:avLst/>
          </a:prstGeom>
          <a:solidFill>
            <a:schemeClr val="accent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cs typeface="+mn-ea"/>
              <a:sym typeface="+mn-lt"/>
            </a:endParaRPr>
          </a:p>
        </p:txBody>
      </p:sp>
      <p:sp>
        <p:nvSpPr>
          <p:cNvPr id="24" name="TextBox 139">
            <a:extLst>
              <a:ext uri="{FF2B5EF4-FFF2-40B4-BE49-F238E27FC236}">
                <a16:creationId xmlns:a16="http://schemas.microsoft.com/office/drawing/2014/main" id="{BD26A799-97D3-462B-BFC6-4196169A40C1}"/>
              </a:ext>
            </a:extLst>
          </p:cNvPr>
          <p:cNvSpPr txBox="1"/>
          <p:nvPr/>
        </p:nvSpPr>
        <p:spPr>
          <a:xfrm>
            <a:off x="4539494" y="4024034"/>
            <a:ext cx="1417886" cy="276999"/>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accent1"/>
                </a:solidFill>
                <a:effectLst/>
                <a:uLnTx/>
                <a:uFillTx/>
                <a:latin typeface="Arial"/>
                <a:cs typeface="+mn-ea"/>
                <a:sym typeface="+mn-lt"/>
              </a:rPr>
              <a:t>Example Text</a:t>
            </a:r>
          </a:p>
        </p:txBody>
      </p:sp>
      <p:sp>
        <p:nvSpPr>
          <p:cNvPr id="25" name="Oval 161">
            <a:extLst>
              <a:ext uri="{FF2B5EF4-FFF2-40B4-BE49-F238E27FC236}">
                <a16:creationId xmlns:a16="http://schemas.microsoft.com/office/drawing/2014/main" id="{9178E6E4-1A82-429F-A8D1-030F060604C1}"/>
              </a:ext>
            </a:extLst>
          </p:cNvPr>
          <p:cNvSpPr/>
          <p:nvPr/>
        </p:nvSpPr>
        <p:spPr>
          <a:xfrm>
            <a:off x="7160693" y="5351698"/>
            <a:ext cx="138493" cy="138493"/>
          </a:xfrm>
          <a:prstGeom prst="ellipse">
            <a:avLst/>
          </a:prstGeom>
          <a:solidFill>
            <a:schemeClr val="accent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cs typeface="+mn-ea"/>
              <a:sym typeface="+mn-lt"/>
            </a:endParaRPr>
          </a:p>
        </p:txBody>
      </p:sp>
      <p:sp>
        <p:nvSpPr>
          <p:cNvPr id="26" name="TextBox 162">
            <a:extLst>
              <a:ext uri="{FF2B5EF4-FFF2-40B4-BE49-F238E27FC236}">
                <a16:creationId xmlns:a16="http://schemas.microsoft.com/office/drawing/2014/main" id="{4B669EBC-4409-474F-B04B-D3C52A8174B7}"/>
              </a:ext>
            </a:extLst>
          </p:cNvPr>
          <p:cNvSpPr txBox="1"/>
          <p:nvPr/>
        </p:nvSpPr>
        <p:spPr>
          <a:xfrm>
            <a:off x="5663436" y="5282445"/>
            <a:ext cx="1417886" cy="276999"/>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accent1"/>
                </a:solidFill>
                <a:effectLst/>
                <a:uLnTx/>
                <a:uFillTx/>
                <a:latin typeface="Arial"/>
                <a:cs typeface="+mn-ea"/>
                <a:sym typeface="+mn-lt"/>
              </a:rPr>
              <a:t>Example Text</a:t>
            </a:r>
          </a:p>
        </p:txBody>
      </p:sp>
      <p:sp>
        <p:nvSpPr>
          <p:cNvPr id="27" name="Oval 163">
            <a:extLst>
              <a:ext uri="{FF2B5EF4-FFF2-40B4-BE49-F238E27FC236}">
                <a16:creationId xmlns:a16="http://schemas.microsoft.com/office/drawing/2014/main" id="{7B69FF6B-E45C-4A57-8C68-78C0D97C7C27}"/>
              </a:ext>
            </a:extLst>
          </p:cNvPr>
          <p:cNvSpPr/>
          <p:nvPr/>
        </p:nvSpPr>
        <p:spPr>
          <a:xfrm>
            <a:off x="7408897" y="4948067"/>
            <a:ext cx="138493" cy="138493"/>
          </a:xfrm>
          <a:prstGeom prst="ellipse">
            <a:avLst/>
          </a:prstGeom>
          <a:solidFill>
            <a:schemeClr val="accent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cs typeface="+mn-ea"/>
              <a:sym typeface="+mn-lt"/>
            </a:endParaRPr>
          </a:p>
        </p:txBody>
      </p:sp>
      <p:sp>
        <p:nvSpPr>
          <p:cNvPr id="28" name="TextBox 164">
            <a:extLst>
              <a:ext uri="{FF2B5EF4-FFF2-40B4-BE49-F238E27FC236}">
                <a16:creationId xmlns:a16="http://schemas.microsoft.com/office/drawing/2014/main" id="{23272633-24B5-4F3B-B376-6C32F0AE704A}"/>
              </a:ext>
            </a:extLst>
          </p:cNvPr>
          <p:cNvSpPr txBox="1"/>
          <p:nvPr/>
        </p:nvSpPr>
        <p:spPr>
          <a:xfrm>
            <a:off x="5915723" y="4878814"/>
            <a:ext cx="1417886" cy="276999"/>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accent1"/>
                </a:solidFill>
                <a:effectLst/>
                <a:uLnTx/>
                <a:uFillTx/>
                <a:latin typeface="Arial"/>
                <a:cs typeface="+mn-ea"/>
                <a:sym typeface="+mn-lt"/>
              </a:rPr>
              <a:t>Example Text</a:t>
            </a:r>
          </a:p>
        </p:txBody>
      </p:sp>
      <p:sp>
        <p:nvSpPr>
          <p:cNvPr id="29" name="Oval 165">
            <a:extLst>
              <a:ext uri="{FF2B5EF4-FFF2-40B4-BE49-F238E27FC236}">
                <a16:creationId xmlns:a16="http://schemas.microsoft.com/office/drawing/2014/main" id="{DAC08456-6527-450F-B5BB-3152EFCD69B0}"/>
              </a:ext>
            </a:extLst>
          </p:cNvPr>
          <p:cNvSpPr/>
          <p:nvPr/>
        </p:nvSpPr>
        <p:spPr>
          <a:xfrm>
            <a:off x="7620892" y="4523561"/>
            <a:ext cx="138493" cy="138493"/>
          </a:xfrm>
          <a:prstGeom prst="ellipse">
            <a:avLst/>
          </a:prstGeom>
          <a:solidFill>
            <a:schemeClr val="accent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cs typeface="+mn-ea"/>
              <a:sym typeface="+mn-lt"/>
            </a:endParaRPr>
          </a:p>
        </p:txBody>
      </p:sp>
      <p:sp>
        <p:nvSpPr>
          <p:cNvPr id="30" name="TextBox 166">
            <a:extLst>
              <a:ext uri="{FF2B5EF4-FFF2-40B4-BE49-F238E27FC236}">
                <a16:creationId xmlns:a16="http://schemas.microsoft.com/office/drawing/2014/main" id="{B60764B0-E8BB-4BE8-A148-11EC69F27039}"/>
              </a:ext>
            </a:extLst>
          </p:cNvPr>
          <p:cNvSpPr txBox="1"/>
          <p:nvPr/>
        </p:nvSpPr>
        <p:spPr>
          <a:xfrm>
            <a:off x="6112235" y="4454308"/>
            <a:ext cx="1417886" cy="276999"/>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accent1"/>
                </a:solidFill>
                <a:effectLst/>
                <a:uLnTx/>
                <a:uFillTx/>
                <a:latin typeface="Arial"/>
                <a:cs typeface="+mn-ea"/>
                <a:sym typeface="+mn-lt"/>
              </a:rPr>
              <a:t>Example Text</a:t>
            </a:r>
          </a:p>
        </p:txBody>
      </p:sp>
      <p:sp>
        <p:nvSpPr>
          <p:cNvPr id="31" name="Oval 167">
            <a:extLst>
              <a:ext uri="{FF2B5EF4-FFF2-40B4-BE49-F238E27FC236}">
                <a16:creationId xmlns:a16="http://schemas.microsoft.com/office/drawing/2014/main" id="{76A55205-451F-498A-938F-F6A7D3B2CB65}"/>
              </a:ext>
            </a:extLst>
          </p:cNvPr>
          <p:cNvSpPr/>
          <p:nvPr/>
        </p:nvSpPr>
        <p:spPr>
          <a:xfrm>
            <a:off x="7860776" y="4127654"/>
            <a:ext cx="138493" cy="138493"/>
          </a:xfrm>
          <a:prstGeom prst="ellipse">
            <a:avLst/>
          </a:prstGeom>
          <a:solidFill>
            <a:schemeClr val="accent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cs typeface="+mn-ea"/>
              <a:sym typeface="+mn-lt"/>
            </a:endParaRPr>
          </a:p>
        </p:txBody>
      </p:sp>
      <p:sp>
        <p:nvSpPr>
          <p:cNvPr id="32" name="TextBox 168">
            <a:extLst>
              <a:ext uri="{FF2B5EF4-FFF2-40B4-BE49-F238E27FC236}">
                <a16:creationId xmlns:a16="http://schemas.microsoft.com/office/drawing/2014/main" id="{01A7B20B-FE2B-4D0B-8F95-925BE3843936}"/>
              </a:ext>
            </a:extLst>
          </p:cNvPr>
          <p:cNvSpPr txBox="1"/>
          <p:nvPr/>
        </p:nvSpPr>
        <p:spPr>
          <a:xfrm>
            <a:off x="6378033" y="4058401"/>
            <a:ext cx="1417886" cy="276999"/>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accent1"/>
                </a:solidFill>
                <a:effectLst/>
                <a:uLnTx/>
                <a:uFillTx/>
                <a:latin typeface="Arial"/>
                <a:cs typeface="+mn-ea"/>
                <a:sym typeface="+mn-lt"/>
              </a:rPr>
              <a:t>Example Text</a:t>
            </a:r>
          </a:p>
        </p:txBody>
      </p:sp>
      <p:sp>
        <p:nvSpPr>
          <p:cNvPr id="33" name="Oval 169">
            <a:extLst>
              <a:ext uri="{FF2B5EF4-FFF2-40B4-BE49-F238E27FC236}">
                <a16:creationId xmlns:a16="http://schemas.microsoft.com/office/drawing/2014/main" id="{E2266EAB-4EF7-43C4-9B41-E1557DBDB161}"/>
              </a:ext>
            </a:extLst>
          </p:cNvPr>
          <p:cNvSpPr/>
          <p:nvPr/>
        </p:nvSpPr>
        <p:spPr>
          <a:xfrm>
            <a:off x="3312063" y="5328635"/>
            <a:ext cx="138493" cy="138493"/>
          </a:xfrm>
          <a:prstGeom prst="ellipse">
            <a:avLst/>
          </a:prstGeom>
          <a:solidFill>
            <a:schemeClr val="accent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cs typeface="+mn-ea"/>
              <a:sym typeface="+mn-lt"/>
            </a:endParaRPr>
          </a:p>
        </p:txBody>
      </p:sp>
      <p:sp>
        <p:nvSpPr>
          <p:cNvPr id="34" name="TextBox 170">
            <a:extLst>
              <a:ext uri="{FF2B5EF4-FFF2-40B4-BE49-F238E27FC236}">
                <a16:creationId xmlns:a16="http://schemas.microsoft.com/office/drawing/2014/main" id="{E1870C66-1062-4CAA-951B-D4353DD9518D}"/>
              </a:ext>
            </a:extLst>
          </p:cNvPr>
          <p:cNvSpPr txBox="1"/>
          <p:nvPr/>
        </p:nvSpPr>
        <p:spPr>
          <a:xfrm>
            <a:off x="1814806" y="5259382"/>
            <a:ext cx="1417886" cy="276999"/>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accent1"/>
                </a:solidFill>
                <a:effectLst/>
                <a:uLnTx/>
                <a:uFillTx/>
                <a:latin typeface="Arial"/>
                <a:cs typeface="+mn-ea"/>
                <a:sym typeface="+mn-lt"/>
              </a:rPr>
              <a:t>Example Text</a:t>
            </a:r>
          </a:p>
        </p:txBody>
      </p:sp>
      <p:sp>
        <p:nvSpPr>
          <p:cNvPr id="35" name="Oval 171">
            <a:extLst>
              <a:ext uri="{FF2B5EF4-FFF2-40B4-BE49-F238E27FC236}">
                <a16:creationId xmlns:a16="http://schemas.microsoft.com/office/drawing/2014/main" id="{CB596BF5-29E3-4A01-90A9-E3F6C0B34C2A}"/>
              </a:ext>
            </a:extLst>
          </p:cNvPr>
          <p:cNvSpPr/>
          <p:nvPr/>
        </p:nvSpPr>
        <p:spPr>
          <a:xfrm>
            <a:off x="3560267" y="4925004"/>
            <a:ext cx="138493" cy="138493"/>
          </a:xfrm>
          <a:prstGeom prst="ellipse">
            <a:avLst/>
          </a:prstGeom>
          <a:solidFill>
            <a:schemeClr val="accent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cs typeface="+mn-ea"/>
              <a:sym typeface="+mn-lt"/>
            </a:endParaRPr>
          </a:p>
        </p:txBody>
      </p:sp>
      <p:sp>
        <p:nvSpPr>
          <p:cNvPr id="36" name="TextBox 172">
            <a:extLst>
              <a:ext uri="{FF2B5EF4-FFF2-40B4-BE49-F238E27FC236}">
                <a16:creationId xmlns:a16="http://schemas.microsoft.com/office/drawing/2014/main" id="{99885FE6-BFF0-4F5E-B12D-5255D8158B1B}"/>
              </a:ext>
            </a:extLst>
          </p:cNvPr>
          <p:cNvSpPr txBox="1"/>
          <p:nvPr/>
        </p:nvSpPr>
        <p:spPr>
          <a:xfrm>
            <a:off x="2067093" y="4855751"/>
            <a:ext cx="1417886" cy="276999"/>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accent1"/>
                </a:solidFill>
                <a:effectLst/>
                <a:uLnTx/>
                <a:uFillTx/>
                <a:latin typeface="Arial"/>
                <a:cs typeface="+mn-ea"/>
                <a:sym typeface="+mn-lt"/>
              </a:rPr>
              <a:t>Example Text</a:t>
            </a:r>
          </a:p>
        </p:txBody>
      </p:sp>
      <p:sp>
        <p:nvSpPr>
          <p:cNvPr id="37" name="Oval 173">
            <a:extLst>
              <a:ext uri="{FF2B5EF4-FFF2-40B4-BE49-F238E27FC236}">
                <a16:creationId xmlns:a16="http://schemas.microsoft.com/office/drawing/2014/main" id="{2E41495D-03DD-4DB1-9D9A-70B1EF969591}"/>
              </a:ext>
            </a:extLst>
          </p:cNvPr>
          <p:cNvSpPr/>
          <p:nvPr/>
        </p:nvSpPr>
        <p:spPr>
          <a:xfrm>
            <a:off x="3772262" y="4500498"/>
            <a:ext cx="138493" cy="138493"/>
          </a:xfrm>
          <a:prstGeom prst="ellipse">
            <a:avLst/>
          </a:prstGeom>
          <a:solidFill>
            <a:schemeClr val="accent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cs typeface="+mn-ea"/>
              <a:sym typeface="+mn-lt"/>
            </a:endParaRPr>
          </a:p>
        </p:txBody>
      </p:sp>
      <p:sp>
        <p:nvSpPr>
          <p:cNvPr id="38" name="TextBox 174">
            <a:extLst>
              <a:ext uri="{FF2B5EF4-FFF2-40B4-BE49-F238E27FC236}">
                <a16:creationId xmlns:a16="http://schemas.microsoft.com/office/drawing/2014/main" id="{06DF2A4B-D092-433F-88A2-AC5F811B6BF6}"/>
              </a:ext>
            </a:extLst>
          </p:cNvPr>
          <p:cNvSpPr txBox="1"/>
          <p:nvPr/>
        </p:nvSpPr>
        <p:spPr>
          <a:xfrm>
            <a:off x="2263605" y="4431245"/>
            <a:ext cx="1417886" cy="276999"/>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accent1"/>
                </a:solidFill>
                <a:effectLst/>
                <a:uLnTx/>
                <a:uFillTx/>
                <a:latin typeface="Arial"/>
                <a:cs typeface="+mn-ea"/>
                <a:sym typeface="+mn-lt"/>
              </a:rPr>
              <a:t>Example Text</a:t>
            </a:r>
          </a:p>
        </p:txBody>
      </p:sp>
      <p:sp>
        <p:nvSpPr>
          <p:cNvPr id="39" name="Oval 175">
            <a:extLst>
              <a:ext uri="{FF2B5EF4-FFF2-40B4-BE49-F238E27FC236}">
                <a16:creationId xmlns:a16="http://schemas.microsoft.com/office/drawing/2014/main" id="{7EEABC7E-DCA3-4C16-A18C-1F4ECDACEB6C}"/>
              </a:ext>
            </a:extLst>
          </p:cNvPr>
          <p:cNvSpPr/>
          <p:nvPr/>
        </p:nvSpPr>
        <p:spPr>
          <a:xfrm>
            <a:off x="4012146" y="4104591"/>
            <a:ext cx="138493" cy="138493"/>
          </a:xfrm>
          <a:prstGeom prst="ellipse">
            <a:avLst/>
          </a:prstGeom>
          <a:solidFill>
            <a:schemeClr val="accent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cs typeface="+mn-ea"/>
              <a:sym typeface="+mn-lt"/>
            </a:endParaRPr>
          </a:p>
        </p:txBody>
      </p:sp>
      <p:sp>
        <p:nvSpPr>
          <p:cNvPr id="40" name="TextBox 176">
            <a:extLst>
              <a:ext uri="{FF2B5EF4-FFF2-40B4-BE49-F238E27FC236}">
                <a16:creationId xmlns:a16="http://schemas.microsoft.com/office/drawing/2014/main" id="{2D5A5FEA-B031-46A5-AA88-85D7EAF31548}"/>
              </a:ext>
            </a:extLst>
          </p:cNvPr>
          <p:cNvSpPr txBox="1"/>
          <p:nvPr/>
        </p:nvSpPr>
        <p:spPr>
          <a:xfrm>
            <a:off x="2529403" y="4035338"/>
            <a:ext cx="1417886" cy="276999"/>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accent1"/>
                </a:solidFill>
                <a:effectLst/>
                <a:uLnTx/>
                <a:uFillTx/>
                <a:latin typeface="Arial"/>
                <a:cs typeface="+mn-ea"/>
                <a:sym typeface="+mn-lt"/>
              </a:rPr>
              <a:t>Example Text</a:t>
            </a:r>
          </a:p>
        </p:txBody>
      </p:sp>
      <p:sp>
        <p:nvSpPr>
          <p:cNvPr id="41" name="Oval 177">
            <a:extLst>
              <a:ext uri="{FF2B5EF4-FFF2-40B4-BE49-F238E27FC236}">
                <a16:creationId xmlns:a16="http://schemas.microsoft.com/office/drawing/2014/main" id="{66F57775-F3E3-4DE2-9CBD-69AC782ADCE1}"/>
              </a:ext>
            </a:extLst>
          </p:cNvPr>
          <p:cNvSpPr/>
          <p:nvPr/>
        </p:nvSpPr>
        <p:spPr>
          <a:xfrm>
            <a:off x="5299002" y="1416658"/>
            <a:ext cx="137160" cy="137160"/>
          </a:xfrm>
          <a:prstGeom prst="ellipse">
            <a:avLst/>
          </a:prstGeom>
          <a:solidFill>
            <a:schemeClr val="accent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cs typeface="+mn-ea"/>
              <a:sym typeface="+mn-lt"/>
            </a:endParaRPr>
          </a:p>
        </p:txBody>
      </p:sp>
      <p:sp>
        <p:nvSpPr>
          <p:cNvPr id="42" name="TextBox 178">
            <a:extLst>
              <a:ext uri="{FF2B5EF4-FFF2-40B4-BE49-F238E27FC236}">
                <a16:creationId xmlns:a16="http://schemas.microsoft.com/office/drawing/2014/main" id="{FFEBCCBB-8A77-4A15-9532-CC40581260E9}"/>
              </a:ext>
            </a:extLst>
          </p:cNvPr>
          <p:cNvSpPr txBox="1"/>
          <p:nvPr/>
        </p:nvSpPr>
        <p:spPr>
          <a:xfrm>
            <a:off x="3816258" y="1346739"/>
            <a:ext cx="1417886" cy="276999"/>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accent1"/>
                </a:solidFill>
                <a:effectLst/>
                <a:uLnTx/>
                <a:uFillTx/>
                <a:latin typeface="Arial"/>
                <a:cs typeface="+mn-ea"/>
                <a:sym typeface="+mn-lt"/>
              </a:rPr>
              <a:t>Example Text</a:t>
            </a:r>
          </a:p>
        </p:txBody>
      </p:sp>
      <p:sp>
        <p:nvSpPr>
          <p:cNvPr id="43" name="Oval 179">
            <a:extLst>
              <a:ext uri="{FF2B5EF4-FFF2-40B4-BE49-F238E27FC236}">
                <a16:creationId xmlns:a16="http://schemas.microsoft.com/office/drawing/2014/main" id="{2BDD85AC-4CCE-4D83-B469-CA0F1CE379EE}"/>
              </a:ext>
            </a:extLst>
          </p:cNvPr>
          <p:cNvSpPr/>
          <p:nvPr/>
        </p:nvSpPr>
        <p:spPr>
          <a:xfrm>
            <a:off x="5531743" y="1816954"/>
            <a:ext cx="137160" cy="137160"/>
          </a:xfrm>
          <a:prstGeom prst="ellipse">
            <a:avLst/>
          </a:prstGeom>
          <a:solidFill>
            <a:schemeClr val="accent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cs typeface="+mn-ea"/>
              <a:sym typeface="+mn-lt"/>
            </a:endParaRPr>
          </a:p>
        </p:txBody>
      </p:sp>
      <p:sp>
        <p:nvSpPr>
          <p:cNvPr id="44" name="TextBox 180">
            <a:extLst>
              <a:ext uri="{FF2B5EF4-FFF2-40B4-BE49-F238E27FC236}">
                <a16:creationId xmlns:a16="http://schemas.microsoft.com/office/drawing/2014/main" id="{3342EB22-8238-4FC0-B63D-956F7F2184C3}"/>
              </a:ext>
            </a:extLst>
          </p:cNvPr>
          <p:cNvSpPr txBox="1"/>
          <p:nvPr/>
        </p:nvSpPr>
        <p:spPr>
          <a:xfrm>
            <a:off x="4038568" y="1747035"/>
            <a:ext cx="1417886" cy="276999"/>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accent1"/>
                </a:solidFill>
                <a:effectLst/>
                <a:uLnTx/>
                <a:uFillTx/>
                <a:latin typeface="Arial"/>
                <a:cs typeface="+mn-ea"/>
                <a:sym typeface="+mn-lt"/>
              </a:rPr>
              <a:t>Example Text</a:t>
            </a:r>
          </a:p>
        </p:txBody>
      </p:sp>
      <p:sp>
        <p:nvSpPr>
          <p:cNvPr id="45" name="Oval 181">
            <a:extLst>
              <a:ext uri="{FF2B5EF4-FFF2-40B4-BE49-F238E27FC236}">
                <a16:creationId xmlns:a16="http://schemas.microsoft.com/office/drawing/2014/main" id="{AA1B4B49-49C8-4BC3-B254-34FCABB2694E}"/>
              </a:ext>
            </a:extLst>
          </p:cNvPr>
          <p:cNvSpPr/>
          <p:nvPr/>
        </p:nvSpPr>
        <p:spPr>
          <a:xfrm>
            <a:off x="5774604" y="2246145"/>
            <a:ext cx="137160" cy="137160"/>
          </a:xfrm>
          <a:prstGeom prst="ellipse">
            <a:avLst/>
          </a:prstGeom>
          <a:solidFill>
            <a:schemeClr val="accent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cs typeface="+mn-ea"/>
              <a:sym typeface="+mn-lt"/>
            </a:endParaRPr>
          </a:p>
        </p:txBody>
      </p:sp>
      <p:sp>
        <p:nvSpPr>
          <p:cNvPr id="46" name="TextBox 182">
            <a:extLst>
              <a:ext uri="{FF2B5EF4-FFF2-40B4-BE49-F238E27FC236}">
                <a16:creationId xmlns:a16="http://schemas.microsoft.com/office/drawing/2014/main" id="{6DA0E904-2EA7-44BA-88DF-2B1D5D89B320}"/>
              </a:ext>
            </a:extLst>
          </p:cNvPr>
          <p:cNvSpPr txBox="1"/>
          <p:nvPr/>
        </p:nvSpPr>
        <p:spPr>
          <a:xfrm>
            <a:off x="4265946" y="2176226"/>
            <a:ext cx="1417886" cy="276999"/>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accent1"/>
                </a:solidFill>
                <a:effectLst/>
                <a:uLnTx/>
                <a:uFillTx/>
                <a:latin typeface="Arial"/>
                <a:cs typeface="+mn-ea"/>
                <a:sym typeface="+mn-lt"/>
              </a:rPr>
              <a:t>Example Text</a:t>
            </a:r>
          </a:p>
        </p:txBody>
      </p:sp>
      <p:sp>
        <p:nvSpPr>
          <p:cNvPr id="47" name="Oval 183">
            <a:extLst>
              <a:ext uri="{FF2B5EF4-FFF2-40B4-BE49-F238E27FC236}">
                <a16:creationId xmlns:a16="http://schemas.microsoft.com/office/drawing/2014/main" id="{DC04CC16-D11B-4775-9A34-B759F6AE5463}"/>
              </a:ext>
            </a:extLst>
          </p:cNvPr>
          <p:cNvSpPr/>
          <p:nvPr/>
        </p:nvSpPr>
        <p:spPr>
          <a:xfrm>
            <a:off x="6023824" y="2680908"/>
            <a:ext cx="137160" cy="137160"/>
          </a:xfrm>
          <a:prstGeom prst="ellipse">
            <a:avLst/>
          </a:prstGeom>
          <a:solidFill>
            <a:schemeClr val="accent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cs typeface="+mn-ea"/>
              <a:sym typeface="+mn-lt"/>
            </a:endParaRPr>
          </a:p>
        </p:txBody>
      </p:sp>
      <p:sp>
        <p:nvSpPr>
          <p:cNvPr id="48" name="TextBox 184">
            <a:extLst>
              <a:ext uri="{FF2B5EF4-FFF2-40B4-BE49-F238E27FC236}">
                <a16:creationId xmlns:a16="http://schemas.microsoft.com/office/drawing/2014/main" id="{2ECB6BC8-0FEC-4920-A356-43A39FBCD321}"/>
              </a:ext>
            </a:extLst>
          </p:cNvPr>
          <p:cNvSpPr txBox="1"/>
          <p:nvPr/>
        </p:nvSpPr>
        <p:spPr>
          <a:xfrm>
            <a:off x="4541080" y="2610989"/>
            <a:ext cx="1417886" cy="276999"/>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accent1"/>
                </a:solidFill>
                <a:effectLst/>
                <a:uLnTx/>
                <a:uFillTx/>
                <a:latin typeface="Arial"/>
                <a:cs typeface="+mn-ea"/>
                <a:sym typeface="+mn-lt"/>
              </a:rPr>
              <a:t>Example Text</a:t>
            </a:r>
          </a:p>
        </p:txBody>
      </p:sp>
      <p:sp>
        <p:nvSpPr>
          <p:cNvPr id="49" name="Oval 185">
            <a:extLst>
              <a:ext uri="{FF2B5EF4-FFF2-40B4-BE49-F238E27FC236}">
                <a16:creationId xmlns:a16="http://schemas.microsoft.com/office/drawing/2014/main" id="{2AE0B78B-54B3-485D-B75F-E2533C1C0417}"/>
              </a:ext>
            </a:extLst>
          </p:cNvPr>
          <p:cNvSpPr/>
          <p:nvPr/>
        </p:nvSpPr>
        <p:spPr>
          <a:xfrm>
            <a:off x="3325996" y="1416651"/>
            <a:ext cx="137160" cy="137160"/>
          </a:xfrm>
          <a:prstGeom prst="ellipse">
            <a:avLst/>
          </a:prstGeom>
          <a:solidFill>
            <a:schemeClr val="accent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cs typeface="+mn-ea"/>
              <a:sym typeface="+mn-lt"/>
            </a:endParaRPr>
          </a:p>
        </p:txBody>
      </p:sp>
      <p:sp>
        <p:nvSpPr>
          <p:cNvPr id="50" name="TextBox 186">
            <a:extLst>
              <a:ext uri="{FF2B5EF4-FFF2-40B4-BE49-F238E27FC236}">
                <a16:creationId xmlns:a16="http://schemas.microsoft.com/office/drawing/2014/main" id="{F222ECEA-7B2C-4A61-A70D-D72F39CAC525}"/>
              </a:ext>
            </a:extLst>
          </p:cNvPr>
          <p:cNvSpPr txBox="1"/>
          <p:nvPr/>
        </p:nvSpPr>
        <p:spPr>
          <a:xfrm>
            <a:off x="1843252" y="1346732"/>
            <a:ext cx="1417886" cy="276999"/>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accent1"/>
                </a:solidFill>
                <a:effectLst/>
                <a:uLnTx/>
                <a:uFillTx/>
                <a:latin typeface="Arial"/>
                <a:cs typeface="+mn-ea"/>
                <a:sym typeface="+mn-lt"/>
              </a:rPr>
              <a:t>Example Text</a:t>
            </a:r>
          </a:p>
        </p:txBody>
      </p:sp>
      <p:sp>
        <p:nvSpPr>
          <p:cNvPr id="51" name="Oval 187">
            <a:extLst>
              <a:ext uri="{FF2B5EF4-FFF2-40B4-BE49-F238E27FC236}">
                <a16:creationId xmlns:a16="http://schemas.microsoft.com/office/drawing/2014/main" id="{5ECC5558-1317-47E2-A664-1384E9B491A3}"/>
              </a:ext>
            </a:extLst>
          </p:cNvPr>
          <p:cNvSpPr/>
          <p:nvPr/>
        </p:nvSpPr>
        <p:spPr>
          <a:xfrm>
            <a:off x="3558737" y="1816947"/>
            <a:ext cx="137160" cy="137160"/>
          </a:xfrm>
          <a:prstGeom prst="ellipse">
            <a:avLst/>
          </a:prstGeom>
          <a:solidFill>
            <a:schemeClr val="accent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cs typeface="+mn-ea"/>
              <a:sym typeface="+mn-lt"/>
            </a:endParaRPr>
          </a:p>
        </p:txBody>
      </p:sp>
      <p:sp>
        <p:nvSpPr>
          <p:cNvPr id="52" name="TextBox 188">
            <a:extLst>
              <a:ext uri="{FF2B5EF4-FFF2-40B4-BE49-F238E27FC236}">
                <a16:creationId xmlns:a16="http://schemas.microsoft.com/office/drawing/2014/main" id="{CA07E7C5-6EF5-49D2-8404-002930A2802F}"/>
              </a:ext>
            </a:extLst>
          </p:cNvPr>
          <p:cNvSpPr txBox="1"/>
          <p:nvPr/>
        </p:nvSpPr>
        <p:spPr>
          <a:xfrm>
            <a:off x="2065562" y="1747028"/>
            <a:ext cx="1417886" cy="276999"/>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accent1"/>
                </a:solidFill>
                <a:effectLst/>
                <a:uLnTx/>
                <a:uFillTx/>
                <a:latin typeface="Arial"/>
                <a:cs typeface="+mn-ea"/>
                <a:sym typeface="+mn-lt"/>
              </a:rPr>
              <a:t>Example Text</a:t>
            </a:r>
          </a:p>
        </p:txBody>
      </p:sp>
      <p:sp>
        <p:nvSpPr>
          <p:cNvPr id="53" name="Oval 189">
            <a:extLst>
              <a:ext uri="{FF2B5EF4-FFF2-40B4-BE49-F238E27FC236}">
                <a16:creationId xmlns:a16="http://schemas.microsoft.com/office/drawing/2014/main" id="{CBA429C2-826B-4194-98C7-61142C235AF8}"/>
              </a:ext>
            </a:extLst>
          </p:cNvPr>
          <p:cNvSpPr/>
          <p:nvPr/>
        </p:nvSpPr>
        <p:spPr>
          <a:xfrm>
            <a:off x="3801598" y="2246138"/>
            <a:ext cx="137160" cy="137160"/>
          </a:xfrm>
          <a:prstGeom prst="ellipse">
            <a:avLst/>
          </a:prstGeom>
          <a:solidFill>
            <a:schemeClr val="accent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cs typeface="+mn-ea"/>
              <a:sym typeface="+mn-lt"/>
            </a:endParaRPr>
          </a:p>
        </p:txBody>
      </p:sp>
      <p:sp>
        <p:nvSpPr>
          <p:cNvPr id="54" name="TextBox 190">
            <a:extLst>
              <a:ext uri="{FF2B5EF4-FFF2-40B4-BE49-F238E27FC236}">
                <a16:creationId xmlns:a16="http://schemas.microsoft.com/office/drawing/2014/main" id="{1116CEBC-9AF8-4AE3-84CB-2E0289F76512}"/>
              </a:ext>
            </a:extLst>
          </p:cNvPr>
          <p:cNvSpPr txBox="1"/>
          <p:nvPr/>
        </p:nvSpPr>
        <p:spPr>
          <a:xfrm>
            <a:off x="2292940" y="2176219"/>
            <a:ext cx="1417886" cy="276999"/>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accent1"/>
                </a:solidFill>
                <a:effectLst/>
                <a:uLnTx/>
                <a:uFillTx/>
                <a:latin typeface="Arial"/>
                <a:cs typeface="+mn-ea"/>
                <a:sym typeface="+mn-lt"/>
              </a:rPr>
              <a:t>Example Text</a:t>
            </a:r>
          </a:p>
        </p:txBody>
      </p:sp>
      <p:sp>
        <p:nvSpPr>
          <p:cNvPr id="55" name="Oval 191">
            <a:extLst>
              <a:ext uri="{FF2B5EF4-FFF2-40B4-BE49-F238E27FC236}">
                <a16:creationId xmlns:a16="http://schemas.microsoft.com/office/drawing/2014/main" id="{2424D0AF-3B27-4DB0-A515-34F76F2E592A}"/>
              </a:ext>
            </a:extLst>
          </p:cNvPr>
          <p:cNvSpPr/>
          <p:nvPr/>
        </p:nvSpPr>
        <p:spPr>
          <a:xfrm>
            <a:off x="4050818" y="2680901"/>
            <a:ext cx="137160" cy="137160"/>
          </a:xfrm>
          <a:prstGeom prst="ellipse">
            <a:avLst/>
          </a:prstGeom>
          <a:solidFill>
            <a:schemeClr val="accent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cs typeface="+mn-ea"/>
              <a:sym typeface="+mn-lt"/>
            </a:endParaRPr>
          </a:p>
        </p:txBody>
      </p:sp>
      <p:sp>
        <p:nvSpPr>
          <p:cNvPr id="56" name="TextBox 192">
            <a:extLst>
              <a:ext uri="{FF2B5EF4-FFF2-40B4-BE49-F238E27FC236}">
                <a16:creationId xmlns:a16="http://schemas.microsoft.com/office/drawing/2014/main" id="{1BA31AE3-35D8-425A-9872-E3F08B27F0EC}"/>
              </a:ext>
            </a:extLst>
          </p:cNvPr>
          <p:cNvSpPr txBox="1"/>
          <p:nvPr/>
        </p:nvSpPr>
        <p:spPr>
          <a:xfrm>
            <a:off x="2568074" y="2610982"/>
            <a:ext cx="1417886" cy="276999"/>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accent1"/>
                </a:solidFill>
                <a:effectLst/>
                <a:uLnTx/>
                <a:uFillTx/>
                <a:latin typeface="Arial"/>
                <a:cs typeface="+mn-ea"/>
                <a:sym typeface="+mn-lt"/>
              </a:rPr>
              <a:t>Example Text</a:t>
            </a:r>
          </a:p>
        </p:txBody>
      </p:sp>
      <p:sp>
        <p:nvSpPr>
          <p:cNvPr id="57" name="Oval 7">
            <a:extLst>
              <a:ext uri="{FF2B5EF4-FFF2-40B4-BE49-F238E27FC236}">
                <a16:creationId xmlns:a16="http://schemas.microsoft.com/office/drawing/2014/main" id="{ED8E631C-F584-4B6C-BC23-8FB56B488020}"/>
              </a:ext>
            </a:extLst>
          </p:cNvPr>
          <p:cNvSpPr/>
          <p:nvPr/>
        </p:nvSpPr>
        <p:spPr>
          <a:xfrm>
            <a:off x="3891226" y="3017765"/>
            <a:ext cx="822469" cy="822470"/>
          </a:xfrm>
          <a:prstGeom prst="ellipse">
            <a:avLst/>
          </a:prstGeom>
          <a:solidFill>
            <a:schemeClr val="accent1">
              <a:lumMod val="100000"/>
            </a:schemeClr>
          </a:solidFill>
          <a:ln w="50800">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cs typeface="+mn-ea"/>
              <a:sym typeface="+mn-lt"/>
            </a:endParaRPr>
          </a:p>
        </p:txBody>
      </p:sp>
      <p:sp>
        <p:nvSpPr>
          <p:cNvPr id="58" name="Oval 8">
            <a:extLst>
              <a:ext uri="{FF2B5EF4-FFF2-40B4-BE49-F238E27FC236}">
                <a16:creationId xmlns:a16="http://schemas.microsoft.com/office/drawing/2014/main" id="{5CEB66F0-4D74-41D4-9237-E93AB78B5146}"/>
              </a:ext>
            </a:extLst>
          </p:cNvPr>
          <p:cNvSpPr/>
          <p:nvPr/>
        </p:nvSpPr>
        <p:spPr>
          <a:xfrm>
            <a:off x="5818480" y="3017765"/>
            <a:ext cx="822469" cy="822470"/>
          </a:xfrm>
          <a:prstGeom prst="ellipse">
            <a:avLst/>
          </a:prstGeom>
          <a:solidFill>
            <a:schemeClr val="accent1">
              <a:lumMod val="100000"/>
            </a:schemeClr>
          </a:solidFill>
          <a:ln w="50800">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cs typeface="+mn-ea"/>
              <a:sym typeface="+mn-lt"/>
            </a:endParaRPr>
          </a:p>
        </p:txBody>
      </p:sp>
      <p:sp>
        <p:nvSpPr>
          <p:cNvPr id="59" name="Oval 9">
            <a:extLst>
              <a:ext uri="{FF2B5EF4-FFF2-40B4-BE49-F238E27FC236}">
                <a16:creationId xmlns:a16="http://schemas.microsoft.com/office/drawing/2014/main" id="{3FADCA7D-3DE6-411C-A67B-0962D75E3467}"/>
              </a:ext>
            </a:extLst>
          </p:cNvPr>
          <p:cNvSpPr/>
          <p:nvPr/>
        </p:nvSpPr>
        <p:spPr>
          <a:xfrm>
            <a:off x="7745735" y="3017765"/>
            <a:ext cx="822469" cy="822470"/>
          </a:xfrm>
          <a:prstGeom prst="ellipse">
            <a:avLst/>
          </a:prstGeom>
          <a:solidFill>
            <a:schemeClr val="accent1">
              <a:lumMod val="100000"/>
            </a:schemeClr>
          </a:solidFill>
          <a:ln w="50800">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cs typeface="+mn-ea"/>
              <a:sym typeface="+mn-lt"/>
            </a:endParaRPr>
          </a:p>
        </p:txBody>
      </p:sp>
      <p:grpSp>
        <p:nvGrpSpPr>
          <p:cNvPr id="60" name="Group 1">
            <a:extLst>
              <a:ext uri="{FF2B5EF4-FFF2-40B4-BE49-F238E27FC236}">
                <a16:creationId xmlns:a16="http://schemas.microsoft.com/office/drawing/2014/main" id="{80FA150D-789A-482C-867A-040F93770EEB}"/>
              </a:ext>
            </a:extLst>
          </p:cNvPr>
          <p:cNvGrpSpPr/>
          <p:nvPr/>
        </p:nvGrpSpPr>
        <p:grpSpPr>
          <a:xfrm>
            <a:off x="4150639" y="3194912"/>
            <a:ext cx="373781" cy="473320"/>
            <a:chOff x="4741189" y="3373208"/>
            <a:chExt cx="373781" cy="473320"/>
          </a:xfrm>
          <a:solidFill>
            <a:schemeClr val="bg1"/>
          </a:solidFill>
        </p:grpSpPr>
        <p:sp>
          <p:nvSpPr>
            <p:cNvPr id="61" name="Oval 5">
              <a:extLst>
                <a:ext uri="{FF2B5EF4-FFF2-40B4-BE49-F238E27FC236}">
                  <a16:creationId xmlns:a16="http://schemas.microsoft.com/office/drawing/2014/main" id="{FE82D8DE-5985-4AF5-9FFB-1BC1D63461C4}"/>
                </a:ext>
              </a:extLst>
            </p:cNvPr>
            <p:cNvSpPr>
              <a:spLocks noChangeArrowheads="1"/>
            </p:cNvSpPr>
            <p:nvPr/>
          </p:nvSpPr>
          <p:spPr bwMode="auto">
            <a:xfrm>
              <a:off x="4775723" y="3373208"/>
              <a:ext cx="251896" cy="25392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cs typeface="+mn-ea"/>
                <a:sym typeface="+mn-lt"/>
              </a:endParaRPr>
            </a:p>
          </p:txBody>
        </p:sp>
        <p:sp>
          <p:nvSpPr>
            <p:cNvPr id="62" name="Freeform 6">
              <a:extLst>
                <a:ext uri="{FF2B5EF4-FFF2-40B4-BE49-F238E27FC236}">
                  <a16:creationId xmlns:a16="http://schemas.microsoft.com/office/drawing/2014/main" id="{2C8F5920-7FE0-44C1-A3D3-9632E0A52D89}"/>
                </a:ext>
              </a:extLst>
            </p:cNvPr>
            <p:cNvSpPr>
              <a:spLocks/>
            </p:cNvSpPr>
            <p:nvPr/>
          </p:nvSpPr>
          <p:spPr bwMode="auto">
            <a:xfrm>
              <a:off x="4741189" y="3629166"/>
              <a:ext cx="293540" cy="217362"/>
            </a:xfrm>
            <a:custGeom>
              <a:avLst/>
              <a:gdLst>
                <a:gd name="T0" fmla="*/ 86 w 120"/>
                <a:gd name="T1" fmla="*/ 50 h 89"/>
                <a:gd name="T2" fmla="*/ 114 w 120"/>
                <a:gd name="T3" fmla="*/ 13 h 89"/>
                <a:gd name="T4" fmla="*/ 106 w 120"/>
                <a:gd name="T5" fmla="*/ 0 h 89"/>
                <a:gd name="T6" fmla="*/ 65 w 120"/>
                <a:gd name="T7" fmla="*/ 12 h 89"/>
                <a:gd name="T8" fmla="*/ 24 w 120"/>
                <a:gd name="T9" fmla="*/ 0 h 89"/>
                <a:gd name="T10" fmla="*/ 0 w 120"/>
                <a:gd name="T11" fmla="*/ 89 h 89"/>
                <a:gd name="T12" fmla="*/ 120 w 120"/>
                <a:gd name="T13" fmla="*/ 89 h 89"/>
                <a:gd name="T14" fmla="*/ 86 w 120"/>
                <a:gd name="T15" fmla="*/ 50 h 8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0" h="89">
                  <a:moveTo>
                    <a:pt x="86" y="50"/>
                  </a:moveTo>
                  <a:cubicBezTo>
                    <a:pt x="86" y="33"/>
                    <a:pt x="98" y="18"/>
                    <a:pt x="114" y="13"/>
                  </a:cubicBezTo>
                  <a:cubicBezTo>
                    <a:pt x="112" y="8"/>
                    <a:pt x="109" y="4"/>
                    <a:pt x="106" y="0"/>
                  </a:cubicBezTo>
                  <a:cubicBezTo>
                    <a:pt x="95" y="8"/>
                    <a:pt x="80" y="12"/>
                    <a:pt x="65" y="12"/>
                  </a:cubicBezTo>
                  <a:cubicBezTo>
                    <a:pt x="50" y="12"/>
                    <a:pt x="36" y="8"/>
                    <a:pt x="24" y="0"/>
                  </a:cubicBezTo>
                  <a:cubicBezTo>
                    <a:pt x="10" y="21"/>
                    <a:pt x="1" y="53"/>
                    <a:pt x="0" y="89"/>
                  </a:cubicBezTo>
                  <a:cubicBezTo>
                    <a:pt x="120" y="89"/>
                    <a:pt x="120" y="89"/>
                    <a:pt x="120" y="89"/>
                  </a:cubicBezTo>
                  <a:cubicBezTo>
                    <a:pt x="101" y="86"/>
                    <a:pt x="86" y="70"/>
                    <a:pt x="86" y="5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cs typeface="+mn-ea"/>
                <a:sym typeface="+mn-lt"/>
              </a:endParaRPr>
            </a:p>
          </p:txBody>
        </p:sp>
        <p:sp>
          <p:nvSpPr>
            <p:cNvPr id="63" name="Freeform 7">
              <a:extLst>
                <a:ext uri="{FF2B5EF4-FFF2-40B4-BE49-F238E27FC236}">
                  <a16:creationId xmlns:a16="http://schemas.microsoft.com/office/drawing/2014/main" id="{02B5EB5F-39B9-431C-95C8-053207F44D0A}"/>
                </a:ext>
              </a:extLst>
            </p:cNvPr>
            <p:cNvSpPr>
              <a:spLocks noEditPoints="1"/>
            </p:cNvSpPr>
            <p:nvPr/>
          </p:nvSpPr>
          <p:spPr bwMode="auto">
            <a:xfrm>
              <a:off x="4978865" y="3682999"/>
              <a:ext cx="136105" cy="137121"/>
            </a:xfrm>
            <a:custGeom>
              <a:avLst/>
              <a:gdLst>
                <a:gd name="T0" fmla="*/ 28 w 56"/>
                <a:gd name="T1" fmla="*/ 0 h 56"/>
                <a:gd name="T2" fmla="*/ 21 w 56"/>
                <a:gd name="T3" fmla="*/ 1 h 56"/>
                <a:gd name="T4" fmla="*/ 0 w 56"/>
                <a:gd name="T5" fmla="*/ 28 h 56"/>
                <a:gd name="T6" fmla="*/ 28 w 56"/>
                <a:gd name="T7" fmla="*/ 56 h 56"/>
                <a:gd name="T8" fmla="*/ 33 w 56"/>
                <a:gd name="T9" fmla="*/ 56 h 56"/>
                <a:gd name="T10" fmla="*/ 56 w 56"/>
                <a:gd name="T11" fmla="*/ 28 h 56"/>
                <a:gd name="T12" fmla="*/ 28 w 56"/>
                <a:gd name="T13" fmla="*/ 0 h 56"/>
                <a:gd name="T14" fmla="*/ 47 w 56"/>
                <a:gd name="T15" fmla="*/ 34 h 56"/>
                <a:gd name="T16" fmla="*/ 33 w 56"/>
                <a:gd name="T17" fmla="*/ 34 h 56"/>
                <a:gd name="T18" fmla="*/ 33 w 56"/>
                <a:gd name="T19" fmla="*/ 48 h 56"/>
                <a:gd name="T20" fmla="*/ 33 w 56"/>
                <a:gd name="T21" fmla="*/ 48 h 56"/>
                <a:gd name="T22" fmla="*/ 22 w 56"/>
                <a:gd name="T23" fmla="*/ 48 h 56"/>
                <a:gd name="T24" fmla="*/ 22 w 56"/>
                <a:gd name="T25" fmla="*/ 34 h 56"/>
                <a:gd name="T26" fmla="*/ 8 w 56"/>
                <a:gd name="T27" fmla="*/ 34 h 56"/>
                <a:gd name="T28" fmla="*/ 8 w 56"/>
                <a:gd name="T29" fmla="*/ 23 h 56"/>
                <a:gd name="T30" fmla="*/ 22 w 56"/>
                <a:gd name="T31" fmla="*/ 23 h 56"/>
                <a:gd name="T32" fmla="*/ 22 w 56"/>
                <a:gd name="T33" fmla="*/ 9 h 56"/>
                <a:gd name="T34" fmla="*/ 24 w 56"/>
                <a:gd name="T35" fmla="*/ 9 h 56"/>
                <a:gd name="T36" fmla="*/ 33 w 56"/>
                <a:gd name="T37" fmla="*/ 9 h 56"/>
                <a:gd name="T38" fmla="*/ 33 w 56"/>
                <a:gd name="T39" fmla="*/ 23 h 56"/>
                <a:gd name="T40" fmla="*/ 47 w 56"/>
                <a:gd name="T41" fmla="*/ 23 h 56"/>
                <a:gd name="T42" fmla="*/ 47 w 56"/>
                <a:gd name="T43" fmla="*/ 34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6" h="56">
                  <a:moveTo>
                    <a:pt x="28" y="0"/>
                  </a:moveTo>
                  <a:cubicBezTo>
                    <a:pt x="26" y="0"/>
                    <a:pt x="23" y="0"/>
                    <a:pt x="21" y="1"/>
                  </a:cubicBezTo>
                  <a:cubicBezTo>
                    <a:pt x="9" y="4"/>
                    <a:pt x="0" y="15"/>
                    <a:pt x="0" y="28"/>
                  </a:cubicBezTo>
                  <a:cubicBezTo>
                    <a:pt x="0" y="44"/>
                    <a:pt x="12" y="56"/>
                    <a:pt x="28" y="56"/>
                  </a:cubicBezTo>
                  <a:cubicBezTo>
                    <a:pt x="30" y="56"/>
                    <a:pt x="31" y="56"/>
                    <a:pt x="33" y="56"/>
                  </a:cubicBezTo>
                  <a:cubicBezTo>
                    <a:pt x="46" y="53"/>
                    <a:pt x="56" y="42"/>
                    <a:pt x="56" y="28"/>
                  </a:cubicBezTo>
                  <a:cubicBezTo>
                    <a:pt x="56" y="13"/>
                    <a:pt x="43" y="0"/>
                    <a:pt x="28" y="0"/>
                  </a:cubicBezTo>
                  <a:close/>
                  <a:moveTo>
                    <a:pt x="47" y="34"/>
                  </a:moveTo>
                  <a:cubicBezTo>
                    <a:pt x="33" y="34"/>
                    <a:pt x="33" y="34"/>
                    <a:pt x="33" y="34"/>
                  </a:cubicBezTo>
                  <a:cubicBezTo>
                    <a:pt x="33" y="48"/>
                    <a:pt x="33" y="48"/>
                    <a:pt x="33" y="48"/>
                  </a:cubicBezTo>
                  <a:cubicBezTo>
                    <a:pt x="33" y="48"/>
                    <a:pt x="33" y="48"/>
                    <a:pt x="33" y="48"/>
                  </a:cubicBezTo>
                  <a:cubicBezTo>
                    <a:pt x="22" y="48"/>
                    <a:pt x="22" y="48"/>
                    <a:pt x="22" y="48"/>
                  </a:cubicBezTo>
                  <a:cubicBezTo>
                    <a:pt x="22" y="34"/>
                    <a:pt x="22" y="34"/>
                    <a:pt x="22" y="34"/>
                  </a:cubicBezTo>
                  <a:cubicBezTo>
                    <a:pt x="8" y="34"/>
                    <a:pt x="8" y="34"/>
                    <a:pt x="8" y="34"/>
                  </a:cubicBezTo>
                  <a:cubicBezTo>
                    <a:pt x="8" y="23"/>
                    <a:pt x="8" y="23"/>
                    <a:pt x="8" y="23"/>
                  </a:cubicBezTo>
                  <a:cubicBezTo>
                    <a:pt x="22" y="23"/>
                    <a:pt x="22" y="23"/>
                    <a:pt x="22" y="23"/>
                  </a:cubicBezTo>
                  <a:cubicBezTo>
                    <a:pt x="22" y="9"/>
                    <a:pt x="22" y="9"/>
                    <a:pt x="22" y="9"/>
                  </a:cubicBezTo>
                  <a:cubicBezTo>
                    <a:pt x="24" y="9"/>
                    <a:pt x="24" y="9"/>
                    <a:pt x="24" y="9"/>
                  </a:cubicBezTo>
                  <a:cubicBezTo>
                    <a:pt x="33" y="9"/>
                    <a:pt x="33" y="9"/>
                    <a:pt x="33" y="9"/>
                  </a:cubicBezTo>
                  <a:cubicBezTo>
                    <a:pt x="33" y="23"/>
                    <a:pt x="33" y="23"/>
                    <a:pt x="33" y="23"/>
                  </a:cubicBezTo>
                  <a:cubicBezTo>
                    <a:pt x="47" y="23"/>
                    <a:pt x="47" y="23"/>
                    <a:pt x="47" y="23"/>
                  </a:cubicBezTo>
                  <a:lnTo>
                    <a:pt x="47"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cs typeface="+mn-ea"/>
                <a:sym typeface="+mn-lt"/>
              </a:endParaRPr>
            </a:p>
          </p:txBody>
        </p:sp>
      </p:grpSp>
      <p:grpSp>
        <p:nvGrpSpPr>
          <p:cNvPr id="64" name="Group 2">
            <a:extLst>
              <a:ext uri="{FF2B5EF4-FFF2-40B4-BE49-F238E27FC236}">
                <a16:creationId xmlns:a16="http://schemas.microsoft.com/office/drawing/2014/main" id="{69F85FD6-393C-4EE2-9D10-905B3E8B18D7}"/>
              </a:ext>
            </a:extLst>
          </p:cNvPr>
          <p:cNvGrpSpPr/>
          <p:nvPr/>
        </p:nvGrpSpPr>
        <p:grpSpPr>
          <a:xfrm>
            <a:off x="6033583" y="3198421"/>
            <a:ext cx="362218" cy="450588"/>
            <a:chOff x="6624133" y="3376717"/>
            <a:chExt cx="362218" cy="450588"/>
          </a:xfrm>
          <a:solidFill>
            <a:schemeClr val="bg1"/>
          </a:solidFill>
        </p:grpSpPr>
        <p:sp>
          <p:nvSpPr>
            <p:cNvPr id="65" name="Oval 11">
              <a:extLst>
                <a:ext uri="{FF2B5EF4-FFF2-40B4-BE49-F238E27FC236}">
                  <a16:creationId xmlns:a16="http://schemas.microsoft.com/office/drawing/2014/main" id="{380612EB-56F1-4CF2-8325-3C8087E4EBFE}"/>
                </a:ext>
              </a:extLst>
            </p:cNvPr>
            <p:cNvSpPr>
              <a:spLocks noChangeArrowheads="1"/>
            </p:cNvSpPr>
            <p:nvPr/>
          </p:nvSpPr>
          <p:spPr bwMode="auto">
            <a:xfrm>
              <a:off x="6650352" y="3376717"/>
              <a:ext cx="193248" cy="19421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cs typeface="+mn-ea"/>
                <a:sym typeface="+mn-lt"/>
              </a:endParaRPr>
            </a:p>
          </p:txBody>
        </p:sp>
        <p:sp>
          <p:nvSpPr>
            <p:cNvPr id="66" name="Freeform 12">
              <a:extLst>
                <a:ext uri="{FF2B5EF4-FFF2-40B4-BE49-F238E27FC236}">
                  <a16:creationId xmlns:a16="http://schemas.microsoft.com/office/drawing/2014/main" id="{917DF696-6212-43BA-9827-52DC04D59BDB}"/>
                </a:ext>
              </a:extLst>
            </p:cNvPr>
            <p:cNvSpPr>
              <a:spLocks/>
            </p:cNvSpPr>
            <p:nvPr/>
          </p:nvSpPr>
          <p:spPr bwMode="auto">
            <a:xfrm>
              <a:off x="6624133" y="3572878"/>
              <a:ext cx="202958" cy="165086"/>
            </a:xfrm>
            <a:custGeom>
              <a:avLst/>
              <a:gdLst>
                <a:gd name="T0" fmla="*/ 87 w 87"/>
                <a:gd name="T1" fmla="*/ 49 h 71"/>
                <a:gd name="T2" fmla="*/ 78 w 87"/>
                <a:gd name="T3" fmla="*/ 24 h 71"/>
                <a:gd name="T4" fmla="*/ 86 w 87"/>
                <a:gd name="T5" fmla="*/ 0 h 71"/>
                <a:gd name="T6" fmla="*/ 85 w 87"/>
                <a:gd name="T7" fmla="*/ 0 h 71"/>
                <a:gd name="T8" fmla="*/ 53 w 87"/>
                <a:gd name="T9" fmla="*/ 10 h 71"/>
                <a:gd name="T10" fmla="*/ 20 w 87"/>
                <a:gd name="T11" fmla="*/ 0 h 71"/>
                <a:gd name="T12" fmla="*/ 0 w 87"/>
                <a:gd name="T13" fmla="*/ 71 h 71"/>
                <a:gd name="T14" fmla="*/ 76 w 87"/>
                <a:gd name="T15" fmla="*/ 71 h 71"/>
                <a:gd name="T16" fmla="*/ 85 w 87"/>
                <a:gd name="T17" fmla="*/ 52 h 71"/>
                <a:gd name="T18" fmla="*/ 87 w 87"/>
                <a:gd name="T19" fmla="*/ 49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7" h="71">
                  <a:moveTo>
                    <a:pt x="87" y="49"/>
                  </a:moveTo>
                  <a:cubicBezTo>
                    <a:pt x="81" y="42"/>
                    <a:pt x="78" y="33"/>
                    <a:pt x="78" y="24"/>
                  </a:cubicBezTo>
                  <a:cubicBezTo>
                    <a:pt x="78" y="15"/>
                    <a:pt x="81" y="7"/>
                    <a:pt x="86" y="0"/>
                  </a:cubicBezTo>
                  <a:cubicBezTo>
                    <a:pt x="86" y="0"/>
                    <a:pt x="85" y="0"/>
                    <a:pt x="85" y="0"/>
                  </a:cubicBezTo>
                  <a:cubicBezTo>
                    <a:pt x="76" y="6"/>
                    <a:pt x="65" y="10"/>
                    <a:pt x="53" y="10"/>
                  </a:cubicBezTo>
                  <a:cubicBezTo>
                    <a:pt x="40" y="10"/>
                    <a:pt x="29" y="6"/>
                    <a:pt x="20" y="0"/>
                  </a:cubicBezTo>
                  <a:cubicBezTo>
                    <a:pt x="8" y="17"/>
                    <a:pt x="1" y="42"/>
                    <a:pt x="0" y="71"/>
                  </a:cubicBezTo>
                  <a:cubicBezTo>
                    <a:pt x="76" y="71"/>
                    <a:pt x="76" y="71"/>
                    <a:pt x="76" y="71"/>
                  </a:cubicBezTo>
                  <a:cubicBezTo>
                    <a:pt x="78" y="64"/>
                    <a:pt x="81" y="57"/>
                    <a:pt x="85" y="52"/>
                  </a:cubicBezTo>
                  <a:lnTo>
                    <a:pt x="87" y="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cs typeface="+mn-ea"/>
                <a:sym typeface="+mn-lt"/>
              </a:endParaRPr>
            </a:p>
          </p:txBody>
        </p:sp>
        <p:sp>
          <p:nvSpPr>
            <p:cNvPr id="67" name="Freeform 13">
              <a:extLst>
                <a:ext uri="{FF2B5EF4-FFF2-40B4-BE49-F238E27FC236}">
                  <a16:creationId xmlns:a16="http://schemas.microsoft.com/office/drawing/2014/main" id="{45A836CE-7283-472A-8916-E346C91AE3F1}"/>
                </a:ext>
              </a:extLst>
            </p:cNvPr>
            <p:cNvSpPr>
              <a:spLocks/>
            </p:cNvSpPr>
            <p:nvPr/>
          </p:nvSpPr>
          <p:spPr bwMode="auto">
            <a:xfrm>
              <a:off x="6822236" y="3556370"/>
              <a:ext cx="144693" cy="144693"/>
            </a:xfrm>
            <a:custGeom>
              <a:avLst/>
              <a:gdLst>
                <a:gd name="T0" fmla="*/ 0 w 62"/>
                <a:gd name="T1" fmla="*/ 31 h 62"/>
                <a:gd name="T2" fmla="*/ 19 w 62"/>
                <a:gd name="T3" fmla="*/ 59 h 62"/>
                <a:gd name="T4" fmla="*/ 31 w 62"/>
                <a:gd name="T5" fmla="*/ 62 h 62"/>
                <a:gd name="T6" fmla="*/ 62 w 62"/>
                <a:gd name="T7" fmla="*/ 31 h 62"/>
                <a:gd name="T8" fmla="*/ 31 w 62"/>
                <a:gd name="T9" fmla="*/ 0 h 62"/>
                <a:gd name="T10" fmla="*/ 5 w 62"/>
                <a:gd name="T11" fmla="*/ 14 h 62"/>
                <a:gd name="T12" fmla="*/ 0 w 62"/>
                <a:gd name="T13" fmla="*/ 31 h 62"/>
              </a:gdLst>
              <a:ahLst/>
              <a:cxnLst>
                <a:cxn ang="0">
                  <a:pos x="T0" y="T1"/>
                </a:cxn>
                <a:cxn ang="0">
                  <a:pos x="T2" y="T3"/>
                </a:cxn>
                <a:cxn ang="0">
                  <a:pos x="T4" y="T5"/>
                </a:cxn>
                <a:cxn ang="0">
                  <a:pos x="T6" y="T7"/>
                </a:cxn>
                <a:cxn ang="0">
                  <a:pos x="T8" y="T9"/>
                </a:cxn>
                <a:cxn ang="0">
                  <a:pos x="T10" y="T11"/>
                </a:cxn>
                <a:cxn ang="0">
                  <a:pos x="T12" y="T13"/>
                </a:cxn>
              </a:cxnLst>
              <a:rect l="0" t="0" r="r" b="b"/>
              <a:pathLst>
                <a:path w="62" h="62">
                  <a:moveTo>
                    <a:pt x="0" y="31"/>
                  </a:moveTo>
                  <a:cubicBezTo>
                    <a:pt x="0" y="44"/>
                    <a:pt x="7" y="55"/>
                    <a:pt x="19" y="59"/>
                  </a:cubicBezTo>
                  <a:cubicBezTo>
                    <a:pt x="22" y="61"/>
                    <a:pt x="26" y="62"/>
                    <a:pt x="31" y="62"/>
                  </a:cubicBezTo>
                  <a:cubicBezTo>
                    <a:pt x="48" y="62"/>
                    <a:pt x="62" y="48"/>
                    <a:pt x="62" y="31"/>
                  </a:cubicBezTo>
                  <a:cubicBezTo>
                    <a:pt x="62" y="14"/>
                    <a:pt x="48" y="0"/>
                    <a:pt x="31" y="0"/>
                  </a:cubicBezTo>
                  <a:cubicBezTo>
                    <a:pt x="20" y="0"/>
                    <a:pt x="10" y="5"/>
                    <a:pt x="5" y="14"/>
                  </a:cubicBezTo>
                  <a:cubicBezTo>
                    <a:pt x="1" y="19"/>
                    <a:pt x="0" y="25"/>
                    <a:pt x="0" y="3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cs typeface="+mn-ea"/>
                <a:sym typeface="+mn-lt"/>
              </a:endParaRPr>
            </a:p>
          </p:txBody>
        </p:sp>
        <p:sp>
          <p:nvSpPr>
            <p:cNvPr id="68" name="Freeform 14">
              <a:extLst>
                <a:ext uri="{FF2B5EF4-FFF2-40B4-BE49-F238E27FC236}">
                  <a16:creationId xmlns:a16="http://schemas.microsoft.com/office/drawing/2014/main" id="{543ADC87-9DE8-42F9-B1DE-8DA64F952E75}"/>
                </a:ext>
              </a:extLst>
            </p:cNvPr>
            <p:cNvSpPr>
              <a:spLocks/>
            </p:cNvSpPr>
            <p:nvPr/>
          </p:nvSpPr>
          <p:spPr bwMode="auto">
            <a:xfrm>
              <a:off x="6801843" y="3703005"/>
              <a:ext cx="184508" cy="124300"/>
            </a:xfrm>
            <a:custGeom>
              <a:avLst/>
              <a:gdLst>
                <a:gd name="T0" fmla="*/ 64 w 79"/>
                <a:gd name="T1" fmla="*/ 0 h 53"/>
                <a:gd name="T2" fmla="*/ 40 w 79"/>
                <a:gd name="T3" fmla="*/ 7 h 53"/>
                <a:gd name="T4" fmla="*/ 28 w 79"/>
                <a:gd name="T5" fmla="*/ 6 h 53"/>
                <a:gd name="T6" fmla="*/ 15 w 79"/>
                <a:gd name="T7" fmla="*/ 0 h 53"/>
                <a:gd name="T8" fmla="*/ 7 w 79"/>
                <a:gd name="T9" fmla="*/ 15 h 53"/>
                <a:gd name="T10" fmla="*/ 0 w 79"/>
                <a:gd name="T11" fmla="*/ 53 h 53"/>
                <a:gd name="T12" fmla="*/ 79 w 79"/>
                <a:gd name="T13" fmla="*/ 53 h 53"/>
                <a:gd name="T14" fmla="*/ 64 w 79"/>
                <a:gd name="T15" fmla="*/ 0 h 5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53">
                  <a:moveTo>
                    <a:pt x="64" y="0"/>
                  </a:moveTo>
                  <a:cubicBezTo>
                    <a:pt x="57" y="5"/>
                    <a:pt x="49" y="7"/>
                    <a:pt x="40" y="7"/>
                  </a:cubicBezTo>
                  <a:cubicBezTo>
                    <a:pt x="36" y="7"/>
                    <a:pt x="32" y="7"/>
                    <a:pt x="28" y="6"/>
                  </a:cubicBezTo>
                  <a:cubicBezTo>
                    <a:pt x="24" y="5"/>
                    <a:pt x="19" y="3"/>
                    <a:pt x="15" y="0"/>
                  </a:cubicBezTo>
                  <a:cubicBezTo>
                    <a:pt x="12" y="4"/>
                    <a:pt x="9" y="9"/>
                    <a:pt x="7" y="15"/>
                  </a:cubicBezTo>
                  <a:cubicBezTo>
                    <a:pt x="3" y="26"/>
                    <a:pt x="1" y="39"/>
                    <a:pt x="0" y="53"/>
                  </a:cubicBezTo>
                  <a:cubicBezTo>
                    <a:pt x="79" y="53"/>
                    <a:pt x="79" y="53"/>
                    <a:pt x="79" y="53"/>
                  </a:cubicBezTo>
                  <a:cubicBezTo>
                    <a:pt x="78" y="31"/>
                    <a:pt x="73" y="12"/>
                    <a:pt x="6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cs typeface="+mn-ea"/>
                <a:sym typeface="+mn-lt"/>
              </a:endParaRPr>
            </a:p>
          </p:txBody>
        </p:sp>
      </p:grpSp>
      <p:grpSp>
        <p:nvGrpSpPr>
          <p:cNvPr id="69" name="Group 3">
            <a:extLst>
              <a:ext uri="{FF2B5EF4-FFF2-40B4-BE49-F238E27FC236}">
                <a16:creationId xmlns:a16="http://schemas.microsoft.com/office/drawing/2014/main" id="{E2360B5C-6AD9-4DD0-94FE-944793B0A359}"/>
              </a:ext>
            </a:extLst>
          </p:cNvPr>
          <p:cNvGrpSpPr/>
          <p:nvPr/>
        </p:nvGrpSpPr>
        <p:grpSpPr>
          <a:xfrm>
            <a:off x="7906156" y="3209967"/>
            <a:ext cx="457126" cy="389152"/>
            <a:chOff x="8485820" y="3388263"/>
            <a:chExt cx="457126" cy="389152"/>
          </a:xfrm>
          <a:solidFill>
            <a:schemeClr val="bg1"/>
          </a:solidFill>
        </p:grpSpPr>
        <p:sp>
          <p:nvSpPr>
            <p:cNvPr id="70" name="Freeform 18">
              <a:extLst>
                <a:ext uri="{FF2B5EF4-FFF2-40B4-BE49-F238E27FC236}">
                  <a16:creationId xmlns:a16="http://schemas.microsoft.com/office/drawing/2014/main" id="{225323C5-E6A1-4DF1-BE10-2914D347C885}"/>
                </a:ext>
              </a:extLst>
            </p:cNvPr>
            <p:cNvSpPr>
              <a:spLocks/>
            </p:cNvSpPr>
            <p:nvPr/>
          </p:nvSpPr>
          <p:spPr bwMode="auto">
            <a:xfrm>
              <a:off x="8485820" y="3388263"/>
              <a:ext cx="457126" cy="389152"/>
            </a:xfrm>
            <a:custGeom>
              <a:avLst/>
              <a:gdLst>
                <a:gd name="T0" fmla="*/ 462 w 538"/>
                <a:gd name="T1" fmla="*/ 31 h 458"/>
                <a:gd name="T2" fmla="*/ 388 w 538"/>
                <a:gd name="T3" fmla="*/ 63 h 458"/>
                <a:gd name="T4" fmla="*/ 424 w 538"/>
                <a:gd name="T5" fmla="*/ 91 h 458"/>
                <a:gd name="T6" fmla="*/ 316 w 538"/>
                <a:gd name="T7" fmla="*/ 221 h 458"/>
                <a:gd name="T8" fmla="*/ 208 w 538"/>
                <a:gd name="T9" fmla="*/ 168 h 458"/>
                <a:gd name="T10" fmla="*/ 0 w 538"/>
                <a:gd name="T11" fmla="*/ 417 h 458"/>
                <a:gd name="T12" fmla="*/ 51 w 538"/>
                <a:gd name="T13" fmla="*/ 458 h 458"/>
                <a:gd name="T14" fmla="*/ 225 w 538"/>
                <a:gd name="T15" fmla="*/ 247 h 458"/>
                <a:gd name="T16" fmla="*/ 333 w 538"/>
                <a:gd name="T17" fmla="*/ 297 h 458"/>
                <a:gd name="T18" fmla="*/ 474 w 538"/>
                <a:gd name="T19" fmla="*/ 130 h 458"/>
                <a:gd name="T20" fmla="*/ 517 w 538"/>
                <a:gd name="T21" fmla="*/ 163 h 458"/>
                <a:gd name="T22" fmla="*/ 529 w 538"/>
                <a:gd name="T23" fmla="*/ 82 h 458"/>
                <a:gd name="T24" fmla="*/ 538 w 538"/>
                <a:gd name="T25" fmla="*/ 0 h 458"/>
                <a:gd name="T26" fmla="*/ 462 w 538"/>
                <a:gd name="T27" fmla="*/ 31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38" h="458">
                  <a:moveTo>
                    <a:pt x="462" y="31"/>
                  </a:moveTo>
                  <a:lnTo>
                    <a:pt x="388" y="63"/>
                  </a:lnTo>
                  <a:lnTo>
                    <a:pt x="424" y="91"/>
                  </a:lnTo>
                  <a:lnTo>
                    <a:pt x="316" y="221"/>
                  </a:lnTo>
                  <a:lnTo>
                    <a:pt x="208" y="168"/>
                  </a:lnTo>
                  <a:lnTo>
                    <a:pt x="0" y="417"/>
                  </a:lnTo>
                  <a:lnTo>
                    <a:pt x="51" y="458"/>
                  </a:lnTo>
                  <a:lnTo>
                    <a:pt x="225" y="247"/>
                  </a:lnTo>
                  <a:lnTo>
                    <a:pt x="333" y="297"/>
                  </a:lnTo>
                  <a:lnTo>
                    <a:pt x="474" y="130"/>
                  </a:lnTo>
                  <a:lnTo>
                    <a:pt x="517" y="163"/>
                  </a:lnTo>
                  <a:lnTo>
                    <a:pt x="529" y="82"/>
                  </a:lnTo>
                  <a:lnTo>
                    <a:pt x="538" y="0"/>
                  </a:lnTo>
                  <a:lnTo>
                    <a:pt x="462"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cs typeface="+mn-ea"/>
                <a:sym typeface="+mn-lt"/>
              </a:endParaRPr>
            </a:p>
          </p:txBody>
        </p:sp>
        <p:sp>
          <p:nvSpPr>
            <p:cNvPr id="71" name="Rectangle 19">
              <a:extLst>
                <a:ext uri="{FF2B5EF4-FFF2-40B4-BE49-F238E27FC236}">
                  <a16:creationId xmlns:a16="http://schemas.microsoft.com/office/drawing/2014/main" id="{004FEC53-0FE1-468C-B73C-2DA16E63613E}"/>
                </a:ext>
              </a:extLst>
            </p:cNvPr>
            <p:cNvSpPr>
              <a:spLocks noChangeArrowheads="1"/>
            </p:cNvSpPr>
            <p:nvPr/>
          </p:nvSpPr>
          <p:spPr bwMode="auto">
            <a:xfrm>
              <a:off x="8660853" y="3622774"/>
              <a:ext cx="45033" cy="15294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cs typeface="+mn-ea"/>
                <a:sym typeface="+mn-lt"/>
              </a:endParaRPr>
            </a:p>
          </p:txBody>
        </p:sp>
        <p:sp>
          <p:nvSpPr>
            <p:cNvPr id="72" name="Rectangle 20">
              <a:extLst>
                <a:ext uri="{FF2B5EF4-FFF2-40B4-BE49-F238E27FC236}">
                  <a16:creationId xmlns:a16="http://schemas.microsoft.com/office/drawing/2014/main" id="{9D01D75D-6081-46A4-B842-6236D6F376A0}"/>
                </a:ext>
              </a:extLst>
            </p:cNvPr>
            <p:cNvSpPr>
              <a:spLocks noChangeArrowheads="1"/>
            </p:cNvSpPr>
            <p:nvPr/>
          </p:nvSpPr>
          <p:spPr bwMode="auto">
            <a:xfrm>
              <a:off x="8586082" y="3720487"/>
              <a:ext cx="44183" cy="5522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cs typeface="+mn-ea"/>
                <a:sym typeface="+mn-lt"/>
              </a:endParaRPr>
            </a:p>
          </p:txBody>
        </p:sp>
        <p:sp>
          <p:nvSpPr>
            <p:cNvPr id="73" name="Rectangle 21">
              <a:extLst>
                <a:ext uri="{FF2B5EF4-FFF2-40B4-BE49-F238E27FC236}">
                  <a16:creationId xmlns:a16="http://schemas.microsoft.com/office/drawing/2014/main" id="{0C609C9F-C303-4DA7-A01B-01893408EB4E}"/>
                </a:ext>
              </a:extLst>
            </p:cNvPr>
            <p:cNvSpPr>
              <a:spLocks noChangeArrowheads="1"/>
            </p:cNvSpPr>
            <p:nvPr/>
          </p:nvSpPr>
          <p:spPr bwMode="auto">
            <a:xfrm>
              <a:off x="8744122" y="3650813"/>
              <a:ext cx="45033" cy="12490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cs typeface="+mn-ea"/>
                <a:sym typeface="+mn-lt"/>
              </a:endParaRPr>
            </a:p>
          </p:txBody>
        </p:sp>
        <p:sp>
          <p:nvSpPr>
            <p:cNvPr id="74" name="Rectangle 22">
              <a:extLst>
                <a:ext uri="{FF2B5EF4-FFF2-40B4-BE49-F238E27FC236}">
                  <a16:creationId xmlns:a16="http://schemas.microsoft.com/office/drawing/2014/main" id="{F95426E5-E6B4-4382-AE85-0B937B4F487D}"/>
                </a:ext>
              </a:extLst>
            </p:cNvPr>
            <p:cNvSpPr>
              <a:spLocks noChangeArrowheads="1"/>
            </p:cNvSpPr>
            <p:nvPr/>
          </p:nvSpPr>
          <p:spPr bwMode="auto">
            <a:xfrm>
              <a:off x="8825691" y="3580290"/>
              <a:ext cx="44183" cy="19542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cs typeface="+mn-ea"/>
                <a:sym typeface="+mn-lt"/>
              </a:endParaRPr>
            </a:p>
          </p:txBody>
        </p:sp>
      </p:grpSp>
    </p:spTree>
    <p:extLst>
      <p:ext uri="{BB962C8B-B14F-4D97-AF65-F5344CB8AC3E}">
        <p14:creationId xmlns:p14="http://schemas.microsoft.com/office/powerpoint/2010/main" val="2418626408"/>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7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hape 47">
            <a:extLst>
              <a:ext uri="{FF2B5EF4-FFF2-40B4-BE49-F238E27FC236}">
                <a16:creationId xmlns:a16="http://schemas.microsoft.com/office/drawing/2014/main" id="{96363293-4F2F-4D76-BC3F-592968ABD360}"/>
              </a:ext>
            </a:extLst>
          </p:cNvPr>
          <p:cNvSpPr>
            <a:spLocks/>
          </p:cNvSpPr>
          <p:nvPr/>
        </p:nvSpPr>
        <p:spPr bwMode="auto">
          <a:xfrm>
            <a:off x="8324716" y="1884223"/>
            <a:ext cx="2498860" cy="3077263"/>
          </a:xfrm>
          <a:custGeom>
            <a:avLst/>
            <a:gdLst>
              <a:gd name="T0" fmla="*/ 2147483646 w 21455"/>
              <a:gd name="T1" fmla="*/ 2147483646 h 21547"/>
              <a:gd name="T2" fmla="*/ 2147483646 w 21455"/>
              <a:gd name="T3" fmla="*/ 2147483646 h 21547"/>
              <a:gd name="T4" fmla="*/ 2147483646 w 21455"/>
              <a:gd name="T5" fmla="*/ 2147483646 h 21547"/>
              <a:gd name="T6" fmla="*/ 2147483646 w 21455"/>
              <a:gd name="T7" fmla="*/ 2147483646 h 21547"/>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21455" h="21547" extrusionOk="0">
                <a:moveTo>
                  <a:pt x="6771" y="3"/>
                </a:moveTo>
                <a:cubicBezTo>
                  <a:pt x="6609" y="11"/>
                  <a:pt x="6448" y="32"/>
                  <a:pt x="6289" y="63"/>
                </a:cubicBezTo>
                <a:cubicBezTo>
                  <a:pt x="5701" y="178"/>
                  <a:pt x="5167" y="433"/>
                  <a:pt x="4757" y="795"/>
                </a:cubicBezTo>
                <a:cubicBezTo>
                  <a:pt x="1575" y="3641"/>
                  <a:pt x="-127" y="7383"/>
                  <a:pt x="7" y="11232"/>
                </a:cubicBezTo>
                <a:cubicBezTo>
                  <a:pt x="132" y="14824"/>
                  <a:pt x="1852" y="18257"/>
                  <a:pt x="4849" y="20891"/>
                </a:cubicBezTo>
                <a:cubicBezTo>
                  <a:pt x="5271" y="21232"/>
                  <a:pt x="5816" y="21454"/>
                  <a:pt x="6403" y="21524"/>
                </a:cubicBezTo>
                <a:cubicBezTo>
                  <a:pt x="7012" y="21596"/>
                  <a:pt x="7632" y="21502"/>
                  <a:pt x="8168" y="21255"/>
                </a:cubicBezTo>
                <a:cubicBezTo>
                  <a:pt x="10517" y="20042"/>
                  <a:pt x="12750" y="18684"/>
                  <a:pt x="14845" y="17194"/>
                </a:cubicBezTo>
                <a:cubicBezTo>
                  <a:pt x="16973" y="15680"/>
                  <a:pt x="18955" y="14033"/>
                  <a:pt x="20771" y="12269"/>
                </a:cubicBezTo>
                <a:cubicBezTo>
                  <a:pt x="21195" y="11887"/>
                  <a:pt x="21436" y="11395"/>
                  <a:pt x="21454" y="10880"/>
                </a:cubicBezTo>
                <a:cubicBezTo>
                  <a:pt x="21473" y="10322"/>
                  <a:pt x="21229" y="9779"/>
                  <a:pt x="20771" y="9365"/>
                </a:cubicBezTo>
                <a:cubicBezTo>
                  <a:pt x="18967" y="7504"/>
                  <a:pt x="16953" y="5785"/>
                  <a:pt x="14756" y="4230"/>
                </a:cubicBezTo>
                <a:cubicBezTo>
                  <a:pt x="12652" y="2741"/>
                  <a:pt x="10386" y="1409"/>
                  <a:pt x="7989" y="249"/>
                </a:cubicBezTo>
                <a:cubicBezTo>
                  <a:pt x="7763" y="135"/>
                  <a:pt x="7514" y="59"/>
                  <a:pt x="7255" y="24"/>
                </a:cubicBezTo>
                <a:cubicBezTo>
                  <a:pt x="7095" y="3"/>
                  <a:pt x="6933" y="-4"/>
                  <a:pt x="6771" y="3"/>
                </a:cubicBezTo>
                <a:close/>
                <a:moveTo>
                  <a:pt x="9121" y="5291"/>
                </a:moveTo>
                <a:cubicBezTo>
                  <a:pt x="9744" y="5291"/>
                  <a:pt x="10369" y="5485"/>
                  <a:pt x="10845" y="5873"/>
                </a:cubicBezTo>
                <a:cubicBezTo>
                  <a:pt x="11797" y="6649"/>
                  <a:pt x="11797" y="7909"/>
                  <a:pt x="10845" y="8685"/>
                </a:cubicBezTo>
                <a:cubicBezTo>
                  <a:pt x="9893" y="9462"/>
                  <a:pt x="8348" y="9462"/>
                  <a:pt x="7396" y="8685"/>
                </a:cubicBezTo>
                <a:cubicBezTo>
                  <a:pt x="6444" y="7909"/>
                  <a:pt x="6444" y="6649"/>
                  <a:pt x="7396" y="5873"/>
                </a:cubicBezTo>
                <a:cubicBezTo>
                  <a:pt x="7872" y="5485"/>
                  <a:pt x="8497" y="5291"/>
                  <a:pt x="9121" y="5291"/>
                </a:cubicBezTo>
                <a:close/>
              </a:path>
            </a:pathLst>
          </a:custGeom>
          <a:solidFill>
            <a:schemeClr val="accent1">
              <a:lumMod val="75000"/>
            </a:schemeClr>
          </a:solidFill>
          <a:ln>
            <a:noFill/>
          </a:ln>
        </p:spPr>
        <p:txBody>
          <a:bodyPr lIns="25400" tIns="25400" rIns="25400" bIns="254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500" b="0" i="0" u="none" strike="noStrike" kern="1200" cap="none" spc="0" normalizeH="0" baseline="0" noProof="0">
              <a:ln>
                <a:noFill/>
              </a:ln>
              <a:solidFill>
                <a:srgbClr val="000000"/>
              </a:solidFill>
              <a:effectLst/>
              <a:uLnTx/>
              <a:uFillTx/>
              <a:latin typeface="Arial"/>
              <a:cs typeface="+mn-ea"/>
              <a:sym typeface="+mn-lt"/>
            </a:endParaRPr>
          </a:p>
        </p:txBody>
      </p:sp>
      <p:sp>
        <p:nvSpPr>
          <p:cNvPr id="4" name="Shape 48">
            <a:extLst>
              <a:ext uri="{FF2B5EF4-FFF2-40B4-BE49-F238E27FC236}">
                <a16:creationId xmlns:a16="http://schemas.microsoft.com/office/drawing/2014/main" id="{4F030570-8829-4DEA-9CF6-2647D073A985}"/>
              </a:ext>
            </a:extLst>
          </p:cNvPr>
          <p:cNvSpPr>
            <a:spLocks/>
          </p:cNvSpPr>
          <p:nvPr/>
        </p:nvSpPr>
        <p:spPr bwMode="auto">
          <a:xfrm>
            <a:off x="1368424" y="1807333"/>
            <a:ext cx="1543687" cy="3231030"/>
          </a:xfrm>
          <a:custGeom>
            <a:avLst/>
            <a:gdLst>
              <a:gd name="T0" fmla="*/ 2147483646 w 21492"/>
              <a:gd name="T1" fmla="*/ 2147483646 h 21500"/>
              <a:gd name="T2" fmla="*/ 2147483646 w 21492"/>
              <a:gd name="T3" fmla="*/ 2147483646 h 21500"/>
              <a:gd name="T4" fmla="*/ 2147483646 w 21492"/>
              <a:gd name="T5" fmla="*/ 2147483646 h 21500"/>
              <a:gd name="T6" fmla="*/ 2147483646 w 21492"/>
              <a:gd name="T7" fmla="*/ 2147483646 h 21500"/>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21492" h="21500" extrusionOk="0">
                <a:moveTo>
                  <a:pt x="223" y="899"/>
                </a:moveTo>
                <a:cubicBezTo>
                  <a:pt x="-78" y="701"/>
                  <a:pt x="-74" y="432"/>
                  <a:pt x="234" y="235"/>
                </a:cubicBezTo>
                <a:cubicBezTo>
                  <a:pt x="660" y="-37"/>
                  <a:pt x="1481" y="-80"/>
                  <a:pt x="2020" y="142"/>
                </a:cubicBezTo>
                <a:lnTo>
                  <a:pt x="20954" y="10063"/>
                </a:lnTo>
                <a:cubicBezTo>
                  <a:pt x="21329" y="10261"/>
                  <a:pt x="21522" y="10524"/>
                  <a:pt x="21489" y="10791"/>
                </a:cubicBezTo>
                <a:cubicBezTo>
                  <a:pt x="21466" y="10980"/>
                  <a:pt x="21330" y="11161"/>
                  <a:pt x="21097" y="11314"/>
                </a:cubicBezTo>
                <a:lnTo>
                  <a:pt x="2264" y="21274"/>
                </a:lnTo>
                <a:cubicBezTo>
                  <a:pt x="2035" y="21395"/>
                  <a:pt x="1738" y="21467"/>
                  <a:pt x="1429" y="21491"/>
                </a:cubicBezTo>
                <a:cubicBezTo>
                  <a:pt x="1059" y="21520"/>
                  <a:pt x="659" y="21481"/>
                  <a:pt x="364" y="21346"/>
                </a:cubicBezTo>
                <a:cubicBezTo>
                  <a:pt x="-2" y="21178"/>
                  <a:pt x="-59" y="20908"/>
                  <a:pt x="229" y="20708"/>
                </a:cubicBezTo>
                <a:cubicBezTo>
                  <a:pt x="3534" y="17755"/>
                  <a:pt x="5311" y="14466"/>
                  <a:pt x="5414" y="11117"/>
                </a:cubicBezTo>
                <a:cubicBezTo>
                  <a:pt x="5523" y="7556"/>
                  <a:pt x="3737" y="4040"/>
                  <a:pt x="223" y="899"/>
                </a:cubicBezTo>
                <a:close/>
              </a:path>
            </a:pathLst>
          </a:custGeom>
          <a:solidFill>
            <a:schemeClr val="accent1">
              <a:lumMod val="75000"/>
            </a:schemeClr>
          </a:solidFill>
          <a:ln>
            <a:noFill/>
          </a:ln>
        </p:spPr>
        <p:txBody>
          <a:bodyPr lIns="25400" tIns="25400" rIns="25400" bIns="254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500" b="0" i="0" u="none" strike="noStrike" kern="1200" cap="none" spc="0" normalizeH="0" baseline="0" noProof="0">
              <a:ln>
                <a:noFill/>
              </a:ln>
              <a:solidFill>
                <a:srgbClr val="000000"/>
              </a:solidFill>
              <a:effectLst/>
              <a:uLnTx/>
              <a:uFillTx/>
              <a:latin typeface="Arial"/>
              <a:cs typeface="+mn-ea"/>
              <a:sym typeface="+mn-lt"/>
            </a:endParaRPr>
          </a:p>
        </p:txBody>
      </p:sp>
      <p:sp>
        <p:nvSpPr>
          <p:cNvPr id="5" name="Shape 49">
            <a:extLst>
              <a:ext uri="{FF2B5EF4-FFF2-40B4-BE49-F238E27FC236}">
                <a16:creationId xmlns:a16="http://schemas.microsoft.com/office/drawing/2014/main" id="{16DC536A-DAC8-4627-9D18-5955A5A81D39}"/>
              </a:ext>
            </a:extLst>
          </p:cNvPr>
          <p:cNvSpPr>
            <a:spLocks noChangeShapeType="1"/>
          </p:cNvSpPr>
          <p:nvPr/>
        </p:nvSpPr>
        <p:spPr bwMode="auto">
          <a:xfrm>
            <a:off x="2580097" y="3422854"/>
            <a:ext cx="5864783" cy="1"/>
          </a:xfrm>
          <a:prstGeom prst="line">
            <a:avLst/>
          </a:prstGeom>
          <a:noFill/>
          <a:ln w="431800">
            <a:solidFill>
              <a:schemeClr val="accent1"/>
            </a:solidFill>
            <a:miter lim="400000"/>
            <a:headEnd/>
            <a:tailEnd/>
          </a:ln>
          <a:extLst>
            <a:ext uri="{909E8E84-426E-40DD-AFC4-6F175D3DCCD1}">
              <a14:hiddenFill xmlns:a14="http://schemas.microsoft.com/office/drawing/2010/main">
                <a:noFill/>
              </a14:hiddenFill>
            </a:ext>
          </a:extLst>
        </p:spPr>
        <p:txBody>
          <a:bodyPr lIns="25400" tIns="25400" rIns="25400" bIns="254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500" b="0" i="0" u="none" strike="noStrike" kern="1200" cap="none" spc="0" normalizeH="0" baseline="0" noProof="0">
              <a:ln>
                <a:noFill/>
              </a:ln>
              <a:solidFill>
                <a:srgbClr val="000000"/>
              </a:solidFill>
              <a:effectLst/>
              <a:uLnTx/>
              <a:uFillTx/>
              <a:latin typeface="Arial"/>
              <a:cs typeface="+mn-ea"/>
              <a:sym typeface="+mn-lt"/>
            </a:endParaRPr>
          </a:p>
        </p:txBody>
      </p:sp>
      <p:sp>
        <p:nvSpPr>
          <p:cNvPr id="6" name="Shape 50">
            <a:extLst>
              <a:ext uri="{FF2B5EF4-FFF2-40B4-BE49-F238E27FC236}">
                <a16:creationId xmlns:a16="http://schemas.microsoft.com/office/drawing/2014/main" id="{376C8064-803A-4E0E-9F36-143EFE2D148A}"/>
              </a:ext>
            </a:extLst>
          </p:cNvPr>
          <p:cNvSpPr>
            <a:spLocks/>
          </p:cNvSpPr>
          <p:nvPr/>
        </p:nvSpPr>
        <p:spPr bwMode="auto">
          <a:xfrm>
            <a:off x="3129211" y="1840491"/>
            <a:ext cx="721208" cy="3192559"/>
          </a:xfrm>
          <a:custGeom>
            <a:avLst/>
            <a:gdLst>
              <a:gd name="T0" fmla="*/ 2147483646 w 21188"/>
              <a:gd name="T1" fmla="*/ 2147483646 h 21496"/>
              <a:gd name="T2" fmla="*/ 2147483646 w 21188"/>
              <a:gd name="T3" fmla="*/ 2147483646 h 21496"/>
              <a:gd name="T4" fmla="*/ 2147483646 w 21188"/>
              <a:gd name="T5" fmla="*/ 2147483646 h 21496"/>
              <a:gd name="T6" fmla="*/ 2147483646 w 21188"/>
              <a:gd name="T7" fmla="*/ 2147483646 h 21496"/>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21188" h="21496" extrusionOk="0">
                <a:moveTo>
                  <a:pt x="18537" y="1"/>
                </a:moveTo>
                <a:cubicBezTo>
                  <a:pt x="17736" y="-11"/>
                  <a:pt x="16915" y="54"/>
                  <a:pt x="16310" y="202"/>
                </a:cubicBezTo>
                <a:cubicBezTo>
                  <a:pt x="10702" y="1650"/>
                  <a:pt x="6388" y="3336"/>
                  <a:pt x="3607" y="5165"/>
                </a:cubicBezTo>
                <a:cubicBezTo>
                  <a:pt x="953" y="6909"/>
                  <a:pt x="-258" y="8753"/>
                  <a:pt x="45" y="10599"/>
                </a:cubicBezTo>
                <a:lnTo>
                  <a:pt x="10189" y="10539"/>
                </a:lnTo>
                <a:cubicBezTo>
                  <a:pt x="10291" y="8887"/>
                  <a:pt x="11222" y="7242"/>
                  <a:pt x="12964" y="5639"/>
                </a:cubicBezTo>
                <a:cubicBezTo>
                  <a:pt x="14760" y="3986"/>
                  <a:pt x="17407" y="2387"/>
                  <a:pt x="20845" y="876"/>
                </a:cubicBezTo>
                <a:cubicBezTo>
                  <a:pt x="21272" y="680"/>
                  <a:pt x="21187" y="447"/>
                  <a:pt x="20630" y="268"/>
                </a:cubicBezTo>
                <a:cubicBezTo>
                  <a:pt x="20115" y="104"/>
                  <a:pt x="19337" y="13"/>
                  <a:pt x="18537" y="1"/>
                </a:cubicBezTo>
                <a:close/>
                <a:moveTo>
                  <a:pt x="121" y="10898"/>
                </a:moveTo>
                <a:cubicBezTo>
                  <a:pt x="-182" y="12745"/>
                  <a:pt x="1023" y="14588"/>
                  <a:pt x="3677" y="16333"/>
                </a:cubicBezTo>
                <a:cubicBezTo>
                  <a:pt x="6458" y="18161"/>
                  <a:pt x="10778" y="19847"/>
                  <a:pt x="16386" y="21294"/>
                </a:cubicBezTo>
                <a:cubicBezTo>
                  <a:pt x="17596" y="21589"/>
                  <a:pt x="19676" y="21556"/>
                  <a:pt x="20705" y="21228"/>
                </a:cubicBezTo>
                <a:cubicBezTo>
                  <a:pt x="21263" y="21050"/>
                  <a:pt x="21342" y="20816"/>
                  <a:pt x="20915" y="20620"/>
                </a:cubicBezTo>
                <a:cubicBezTo>
                  <a:pt x="17477" y="19109"/>
                  <a:pt x="14835" y="17511"/>
                  <a:pt x="13039" y="15857"/>
                </a:cubicBezTo>
                <a:cubicBezTo>
                  <a:pt x="11297" y="14254"/>
                  <a:pt x="10367" y="12610"/>
                  <a:pt x="10265" y="10957"/>
                </a:cubicBezTo>
                <a:lnTo>
                  <a:pt x="121" y="10898"/>
                </a:lnTo>
                <a:close/>
              </a:path>
            </a:pathLst>
          </a:custGeom>
          <a:solidFill>
            <a:schemeClr val="accent1">
              <a:lumMod val="75000"/>
            </a:schemeClr>
          </a:solidFill>
          <a:ln>
            <a:noFill/>
          </a:ln>
        </p:spPr>
        <p:txBody>
          <a:bodyPr lIns="25400" tIns="25400" rIns="25400" bIns="254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500" b="0" i="0" u="none" strike="noStrike" kern="1200" cap="none" spc="0" normalizeH="0" baseline="0" noProof="0">
              <a:ln>
                <a:noFill/>
              </a:ln>
              <a:solidFill>
                <a:srgbClr val="009FDE"/>
              </a:solidFill>
              <a:effectLst/>
              <a:uLnTx/>
              <a:uFillTx/>
              <a:latin typeface="Arial"/>
              <a:cs typeface="+mn-ea"/>
              <a:sym typeface="+mn-lt"/>
            </a:endParaRPr>
          </a:p>
        </p:txBody>
      </p:sp>
      <p:sp>
        <p:nvSpPr>
          <p:cNvPr id="7" name="Shape 51">
            <a:extLst>
              <a:ext uri="{FF2B5EF4-FFF2-40B4-BE49-F238E27FC236}">
                <a16:creationId xmlns:a16="http://schemas.microsoft.com/office/drawing/2014/main" id="{A3725A85-861D-401B-A827-5688864DE5B8}"/>
              </a:ext>
            </a:extLst>
          </p:cNvPr>
          <p:cNvSpPr>
            <a:spLocks noChangeArrowheads="1"/>
          </p:cNvSpPr>
          <p:nvPr/>
        </p:nvSpPr>
        <p:spPr bwMode="auto">
          <a:xfrm>
            <a:off x="3168461" y="3288059"/>
            <a:ext cx="269574" cy="269603"/>
          </a:xfrm>
          <a:prstGeom prst="ellipse">
            <a:avLst/>
          </a:prstGeom>
          <a:solidFill>
            <a:srgbClr val="FFFFFF"/>
          </a:solidFill>
          <a:ln w="101600">
            <a:solidFill>
              <a:schemeClr val="accent1">
                <a:lumMod val="40000"/>
                <a:lumOff val="60000"/>
              </a:schemeClr>
            </a:solidFill>
            <a:miter lim="400000"/>
            <a:headEnd/>
            <a:tailEnd/>
          </a:ln>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009FDE"/>
              </a:solidFill>
              <a:effectLst/>
              <a:uLnTx/>
              <a:uFillTx/>
              <a:latin typeface="Arial"/>
              <a:cs typeface="+mn-ea"/>
              <a:sym typeface="+mn-lt"/>
            </a:endParaRPr>
          </a:p>
        </p:txBody>
      </p:sp>
      <p:sp>
        <p:nvSpPr>
          <p:cNvPr id="8" name="Shape 52">
            <a:extLst>
              <a:ext uri="{FF2B5EF4-FFF2-40B4-BE49-F238E27FC236}">
                <a16:creationId xmlns:a16="http://schemas.microsoft.com/office/drawing/2014/main" id="{AD79E09B-0500-4598-9101-6CAB991BBC11}"/>
              </a:ext>
            </a:extLst>
          </p:cNvPr>
          <p:cNvSpPr>
            <a:spLocks/>
          </p:cNvSpPr>
          <p:nvPr/>
        </p:nvSpPr>
        <p:spPr bwMode="auto">
          <a:xfrm>
            <a:off x="4768463" y="1482838"/>
            <a:ext cx="972439" cy="3892323"/>
          </a:xfrm>
          <a:custGeom>
            <a:avLst/>
            <a:gdLst>
              <a:gd name="T0" fmla="*/ 2147483646 w 21423"/>
              <a:gd name="T1" fmla="*/ 2147483646 h 21514"/>
              <a:gd name="T2" fmla="*/ 2147483646 w 21423"/>
              <a:gd name="T3" fmla="*/ 2147483646 h 21514"/>
              <a:gd name="T4" fmla="*/ 2147483646 w 21423"/>
              <a:gd name="T5" fmla="*/ 2147483646 h 21514"/>
              <a:gd name="T6" fmla="*/ 2147483646 w 21423"/>
              <a:gd name="T7" fmla="*/ 2147483646 h 21514"/>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21423" h="21514" extrusionOk="0">
                <a:moveTo>
                  <a:pt x="19392" y="1"/>
                </a:moveTo>
                <a:cubicBezTo>
                  <a:pt x="18978" y="-6"/>
                  <a:pt x="18553" y="17"/>
                  <a:pt x="18168" y="75"/>
                </a:cubicBezTo>
                <a:cubicBezTo>
                  <a:pt x="14793" y="689"/>
                  <a:pt x="11879" y="1429"/>
                  <a:pt x="9521" y="2262"/>
                </a:cubicBezTo>
                <a:cubicBezTo>
                  <a:pt x="6978" y="3161"/>
                  <a:pt x="5107" y="4159"/>
                  <a:pt x="3650" y="5189"/>
                </a:cubicBezTo>
                <a:cubicBezTo>
                  <a:pt x="1154" y="6953"/>
                  <a:pt x="-79" y="8792"/>
                  <a:pt x="4" y="10641"/>
                </a:cubicBezTo>
                <a:lnTo>
                  <a:pt x="7943" y="10658"/>
                </a:lnTo>
                <a:cubicBezTo>
                  <a:pt x="7892" y="8916"/>
                  <a:pt x="8974" y="7183"/>
                  <a:pt x="11152" y="5520"/>
                </a:cubicBezTo>
                <a:cubicBezTo>
                  <a:pt x="13375" y="3822"/>
                  <a:pt x="16715" y="2218"/>
                  <a:pt x="21058" y="770"/>
                </a:cubicBezTo>
                <a:cubicBezTo>
                  <a:pt x="21457" y="622"/>
                  <a:pt x="21464" y="433"/>
                  <a:pt x="21110" y="276"/>
                </a:cubicBezTo>
                <a:cubicBezTo>
                  <a:pt x="20742" y="112"/>
                  <a:pt x="20083" y="14"/>
                  <a:pt x="19392" y="1"/>
                </a:cubicBezTo>
                <a:close/>
                <a:moveTo>
                  <a:pt x="8000" y="10855"/>
                </a:moveTo>
                <a:lnTo>
                  <a:pt x="57" y="10871"/>
                </a:lnTo>
                <a:cubicBezTo>
                  <a:pt x="-27" y="12720"/>
                  <a:pt x="1210" y="14560"/>
                  <a:pt x="3707" y="16324"/>
                </a:cubicBezTo>
                <a:cubicBezTo>
                  <a:pt x="5164" y="17354"/>
                  <a:pt x="7035" y="18352"/>
                  <a:pt x="9578" y="19251"/>
                </a:cubicBezTo>
                <a:cubicBezTo>
                  <a:pt x="11936" y="20085"/>
                  <a:pt x="14850" y="20824"/>
                  <a:pt x="18225" y="21438"/>
                </a:cubicBezTo>
                <a:cubicBezTo>
                  <a:pt x="19250" y="21594"/>
                  <a:pt x="20577" y="21500"/>
                  <a:pt x="21167" y="21238"/>
                </a:cubicBezTo>
                <a:cubicBezTo>
                  <a:pt x="21521" y="21080"/>
                  <a:pt x="21514" y="20891"/>
                  <a:pt x="21115" y="20743"/>
                </a:cubicBezTo>
                <a:cubicBezTo>
                  <a:pt x="16772" y="19295"/>
                  <a:pt x="13432" y="17691"/>
                  <a:pt x="11209" y="15993"/>
                </a:cubicBezTo>
                <a:cubicBezTo>
                  <a:pt x="9031" y="14330"/>
                  <a:pt x="7949" y="12597"/>
                  <a:pt x="8000" y="10855"/>
                </a:cubicBezTo>
                <a:close/>
              </a:path>
            </a:pathLst>
          </a:custGeom>
          <a:solidFill>
            <a:schemeClr val="accent1">
              <a:lumMod val="75000"/>
            </a:schemeClr>
          </a:solidFill>
          <a:ln>
            <a:noFill/>
          </a:ln>
        </p:spPr>
        <p:txBody>
          <a:bodyPr lIns="25400" tIns="25400" rIns="25400" bIns="254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500" b="0" i="0" u="none" strike="noStrike" kern="1200" cap="none" spc="0" normalizeH="0" baseline="0" noProof="0">
              <a:ln>
                <a:noFill/>
              </a:ln>
              <a:solidFill>
                <a:srgbClr val="0677C7"/>
              </a:solidFill>
              <a:effectLst/>
              <a:uLnTx/>
              <a:uFillTx/>
              <a:latin typeface="Arial"/>
              <a:cs typeface="+mn-ea"/>
              <a:sym typeface="+mn-lt"/>
            </a:endParaRPr>
          </a:p>
        </p:txBody>
      </p:sp>
      <p:sp>
        <p:nvSpPr>
          <p:cNvPr id="9" name="Shape 53">
            <a:extLst>
              <a:ext uri="{FF2B5EF4-FFF2-40B4-BE49-F238E27FC236}">
                <a16:creationId xmlns:a16="http://schemas.microsoft.com/office/drawing/2014/main" id="{5F709722-C3DD-42CA-8B68-774EF8D70E42}"/>
              </a:ext>
            </a:extLst>
          </p:cNvPr>
          <p:cNvSpPr>
            <a:spLocks/>
          </p:cNvSpPr>
          <p:nvPr/>
        </p:nvSpPr>
        <p:spPr bwMode="auto">
          <a:xfrm>
            <a:off x="6651768" y="1821800"/>
            <a:ext cx="739833" cy="3194248"/>
          </a:xfrm>
          <a:custGeom>
            <a:avLst/>
            <a:gdLst>
              <a:gd name="T0" fmla="*/ 2147483646 w 21219"/>
              <a:gd name="T1" fmla="*/ 2147483646 h 21497"/>
              <a:gd name="T2" fmla="*/ 2147483646 w 21219"/>
              <a:gd name="T3" fmla="*/ 2147483646 h 21497"/>
              <a:gd name="T4" fmla="*/ 2147483646 w 21219"/>
              <a:gd name="T5" fmla="*/ 2147483646 h 21497"/>
              <a:gd name="T6" fmla="*/ 2147483646 w 21219"/>
              <a:gd name="T7" fmla="*/ 2147483646 h 21497"/>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21219" h="21497" extrusionOk="0">
                <a:moveTo>
                  <a:pt x="18673" y="1"/>
                </a:moveTo>
                <a:cubicBezTo>
                  <a:pt x="17877" y="-12"/>
                  <a:pt x="17053" y="53"/>
                  <a:pt x="16448" y="200"/>
                </a:cubicBezTo>
                <a:cubicBezTo>
                  <a:pt x="10834" y="1650"/>
                  <a:pt x="6502" y="3342"/>
                  <a:pt x="3694" y="5178"/>
                </a:cubicBezTo>
                <a:cubicBezTo>
                  <a:pt x="1014" y="6930"/>
                  <a:pt x="-227" y="8784"/>
                  <a:pt x="34" y="10642"/>
                </a:cubicBezTo>
                <a:lnTo>
                  <a:pt x="10131" y="10595"/>
                </a:lnTo>
                <a:cubicBezTo>
                  <a:pt x="10269" y="8933"/>
                  <a:pt x="11230" y="7278"/>
                  <a:pt x="12999" y="5667"/>
                </a:cubicBezTo>
                <a:cubicBezTo>
                  <a:pt x="14823" y="4005"/>
                  <a:pt x="17488" y="2401"/>
                  <a:pt x="20944" y="885"/>
                </a:cubicBezTo>
                <a:cubicBezTo>
                  <a:pt x="21373" y="688"/>
                  <a:pt x="21296" y="452"/>
                  <a:pt x="20745" y="272"/>
                </a:cubicBezTo>
                <a:cubicBezTo>
                  <a:pt x="20236" y="106"/>
                  <a:pt x="19470" y="15"/>
                  <a:pt x="18673" y="1"/>
                </a:cubicBezTo>
                <a:close/>
                <a:moveTo>
                  <a:pt x="188" y="10916"/>
                </a:moveTo>
                <a:cubicBezTo>
                  <a:pt x="-147" y="12755"/>
                  <a:pt x="989" y="14593"/>
                  <a:pt x="3534" y="16334"/>
                </a:cubicBezTo>
                <a:cubicBezTo>
                  <a:pt x="6201" y="18159"/>
                  <a:pt x="10366" y="19844"/>
                  <a:pt x="15793" y="21293"/>
                </a:cubicBezTo>
                <a:cubicBezTo>
                  <a:pt x="16965" y="21588"/>
                  <a:pt x="18996" y="21558"/>
                  <a:pt x="20005" y="21232"/>
                </a:cubicBezTo>
                <a:cubicBezTo>
                  <a:pt x="20552" y="21055"/>
                  <a:pt x="20632" y="20821"/>
                  <a:pt x="20221" y="20625"/>
                </a:cubicBezTo>
                <a:cubicBezTo>
                  <a:pt x="16907" y="19117"/>
                  <a:pt x="14370" y="17521"/>
                  <a:pt x="12657" y="15872"/>
                </a:cubicBezTo>
                <a:cubicBezTo>
                  <a:pt x="10996" y="14272"/>
                  <a:pt x="10126" y="12633"/>
                  <a:pt x="10062" y="10986"/>
                </a:cubicBezTo>
                <a:lnTo>
                  <a:pt x="188" y="10916"/>
                </a:lnTo>
                <a:close/>
              </a:path>
            </a:pathLst>
          </a:custGeom>
          <a:solidFill>
            <a:schemeClr val="accent1">
              <a:lumMod val="75000"/>
            </a:schemeClr>
          </a:solidFill>
          <a:ln>
            <a:noFill/>
          </a:ln>
        </p:spPr>
        <p:txBody>
          <a:bodyPr lIns="25400" tIns="25400" rIns="25400" bIns="254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500" b="0" i="0" u="none" strike="noStrike" kern="1200" cap="none" spc="0" normalizeH="0" baseline="0" noProof="0">
              <a:ln>
                <a:noFill/>
              </a:ln>
              <a:solidFill>
                <a:srgbClr val="13668E"/>
              </a:solidFill>
              <a:effectLst/>
              <a:uLnTx/>
              <a:uFillTx/>
              <a:latin typeface="Arial"/>
              <a:cs typeface="+mn-ea"/>
              <a:sym typeface="+mn-lt"/>
            </a:endParaRPr>
          </a:p>
        </p:txBody>
      </p:sp>
      <p:sp>
        <p:nvSpPr>
          <p:cNvPr id="10" name="Shape 54">
            <a:extLst>
              <a:ext uri="{FF2B5EF4-FFF2-40B4-BE49-F238E27FC236}">
                <a16:creationId xmlns:a16="http://schemas.microsoft.com/office/drawing/2014/main" id="{23DA033D-CC46-4B11-82B7-44EEFA67AB78}"/>
              </a:ext>
            </a:extLst>
          </p:cNvPr>
          <p:cNvSpPr>
            <a:spLocks noChangeArrowheads="1"/>
          </p:cNvSpPr>
          <p:nvPr/>
        </p:nvSpPr>
        <p:spPr bwMode="auto">
          <a:xfrm>
            <a:off x="3106737" y="1504169"/>
            <a:ext cx="1267619" cy="2436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lgn="ctr">
              <a:defRPr sz="2500" cap="all">
                <a:solidFill>
                  <a:srgbClr val="344245"/>
                </a:solidFill>
                <a:latin typeface="Open Sans Semibold"/>
                <a:ea typeface="Open Sans Semibold"/>
                <a:cs typeface="Open Sans Semibold"/>
                <a:sym typeface="Open Sans Semibold"/>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sz="1250" b="1" i="0" u="none" strike="noStrike" kern="0" cap="all" spc="0" normalizeH="0" baseline="0" noProof="0" dirty="0">
                <a:ln>
                  <a:noFill/>
                </a:ln>
                <a:solidFill>
                  <a:srgbClr val="009FDE"/>
                </a:solidFill>
                <a:effectLst/>
                <a:uLnTx/>
                <a:uFillTx/>
                <a:latin typeface="Arial"/>
                <a:ea typeface="+mn-ea"/>
                <a:cs typeface="+mn-ea"/>
                <a:sym typeface="+mn-lt"/>
              </a:rPr>
              <a:t>Text inform</a:t>
            </a:r>
          </a:p>
        </p:txBody>
      </p:sp>
      <p:sp>
        <p:nvSpPr>
          <p:cNvPr id="11" name="Shape 55">
            <a:extLst>
              <a:ext uri="{FF2B5EF4-FFF2-40B4-BE49-F238E27FC236}">
                <a16:creationId xmlns:a16="http://schemas.microsoft.com/office/drawing/2014/main" id="{0546E4AD-9ED6-490C-9CBA-F93DDDFB2798}"/>
              </a:ext>
            </a:extLst>
          </p:cNvPr>
          <p:cNvSpPr>
            <a:spLocks noChangeArrowheads="1"/>
          </p:cNvSpPr>
          <p:nvPr/>
        </p:nvSpPr>
        <p:spPr bwMode="auto">
          <a:xfrm>
            <a:off x="4950619" y="1113644"/>
            <a:ext cx="1267619" cy="2436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lgn="ctr">
              <a:defRPr sz="2500" cap="all">
                <a:solidFill>
                  <a:srgbClr val="344245"/>
                </a:solidFill>
                <a:latin typeface="Open Sans Semibold"/>
                <a:ea typeface="Open Sans Semibold"/>
                <a:cs typeface="Open Sans Semibold"/>
                <a:sym typeface="Open Sans Semibold"/>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sz="1250" b="1" i="0" u="none" strike="noStrike" kern="0" cap="all" spc="0" normalizeH="0" baseline="0" noProof="0">
                <a:ln>
                  <a:noFill/>
                </a:ln>
                <a:solidFill>
                  <a:srgbClr val="0677C7"/>
                </a:solidFill>
                <a:effectLst/>
                <a:uLnTx/>
                <a:uFillTx/>
                <a:latin typeface="Arial"/>
                <a:ea typeface="+mn-ea"/>
                <a:cs typeface="+mn-ea"/>
                <a:sym typeface="+mn-lt"/>
              </a:rPr>
              <a:t>Text inform</a:t>
            </a:r>
          </a:p>
        </p:txBody>
      </p:sp>
      <p:sp>
        <p:nvSpPr>
          <p:cNvPr id="12" name="Shape 56">
            <a:extLst>
              <a:ext uri="{FF2B5EF4-FFF2-40B4-BE49-F238E27FC236}">
                <a16:creationId xmlns:a16="http://schemas.microsoft.com/office/drawing/2014/main" id="{4103CD27-BF0A-4B83-9383-A9B857E25C67}"/>
              </a:ext>
            </a:extLst>
          </p:cNvPr>
          <p:cNvSpPr>
            <a:spLocks noChangeArrowheads="1"/>
          </p:cNvSpPr>
          <p:nvPr/>
        </p:nvSpPr>
        <p:spPr bwMode="auto">
          <a:xfrm>
            <a:off x="6658769" y="1504169"/>
            <a:ext cx="1268413" cy="2436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lgn="ctr">
              <a:defRPr sz="2500" cap="all">
                <a:solidFill>
                  <a:srgbClr val="344245"/>
                </a:solidFill>
                <a:latin typeface="Open Sans Semibold"/>
                <a:ea typeface="Open Sans Semibold"/>
                <a:cs typeface="Open Sans Semibold"/>
                <a:sym typeface="Open Sans Semibold"/>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sz="1250" b="1" i="0" u="none" strike="noStrike" kern="0" cap="all" spc="0" normalizeH="0" baseline="0" noProof="0" dirty="0">
                <a:ln>
                  <a:noFill/>
                </a:ln>
                <a:solidFill>
                  <a:srgbClr val="13668E"/>
                </a:solidFill>
                <a:effectLst/>
                <a:uLnTx/>
                <a:uFillTx/>
                <a:latin typeface="Arial"/>
                <a:ea typeface="+mn-ea"/>
                <a:cs typeface="+mn-ea"/>
                <a:sym typeface="+mn-lt"/>
              </a:rPr>
              <a:t>Text inform</a:t>
            </a:r>
          </a:p>
        </p:txBody>
      </p:sp>
      <p:sp>
        <p:nvSpPr>
          <p:cNvPr id="13" name="Shape 57">
            <a:extLst>
              <a:ext uri="{FF2B5EF4-FFF2-40B4-BE49-F238E27FC236}">
                <a16:creationId xmlns:a16="http://schemas.microsoft.com/office/drawing/2014/main" id="{78F4BC55-2BC5-46C0-808B-855B6700C92F}"/>
              </a:ext>
            </a:extLst>
          </p:cNvPr>
          <p:cNvSpPr>
            <a:spLocks noChangeArrowheads="1"/>
          </p:cNvSpPr>
          <p:nvPr/>
        </p:nvSpPr>
        <p:spPr bwMode="auto">
          <a:xfrm>
            <a:off x="3098006" y="5102238"/>
            <a:ext cx="1268413" cy="2436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lgn="ctr">
              <a:defRPr sz="2500" cap="all">
                <a:solidFill>
                  <a:srgbClr val="344245"/>
                </a:solidFill>
                <a:latin typeface="Open Sans Semibold"/>
                <a:ea typeface="Open Sans Semibold"/>
                <a:cs typeface="Open Sans Semibold"/>
                <a:sym typeface="Open Sans Semibold"/>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sz="1250" b="1" i="0" u="none" strike="noStrike" kern="0" cap="all" spc="0" normalizeH="0" baseline="0" noProof="0">
                <a:ln>
                  <a:noFill/>
                </a:ln>
                <a:solidFill>
                  <a:srgbClr val="009FDE"/>
                </a:solidFill>
                <a:effectLst/>
                <a:uLnTx/>
                <a:uFillTx/>
                <a:latin typeface="Arial"/>
                <a:ea typeface="+mn-ea"/>
                <a:cs typeface="+mn-ea"/>
                <a:sym typeface="+mn-lt"/>
              </a:rPr>
              <a:t>Text inform</a:t>
            </a:r>
          </a:p>
        </p:txBody>
      </p:sp>
      <p:sp>
        <p:nvSpPr>
          <p:cNvPr id="14" name="Shape 58">
            <a:extLst>
              <a:ext uri="{FF2B5EF4-FFF2-40B4-BE49-F238E27FC236}">
                <a16:creationId xmlns:a16="http://schemas.microsoft.com/office/drawing/2014/main" id="{8351743E-029D-4D32-BB77-5177D9918CC9}"/>
              </a:ext>
            </a:extLst>
          </p:cNvPr>
          <p:cNvSpPr>
            <a:spLocks noChangeArrowheads="1"/>
          </p:cNvSpPr>
          <p:nvPr/>
        </p:nvSpPr>
        <p:spPr bwMode="auto">
          <a:xfrm>
            <a:off x="6650831" y="5102238"/>
            <a:ext cx="1267619" cy="2436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lgn="ctr">
              <a:defRPr sz="2500" cap="all">
                <a:solidFill>
                  <a:srgbClr val="344245"/>
                </a:solidFill>
                <a:latin typeface="Open Sans Semibold"/>
                <a:ea typeface="Open Sans Semibold"/>
                <a:cs typeface="Open Sans Semibold"/>
                <a:sym typeface="Open Sans Semibold"/>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sz="1250" b="1" i="0" u="none" strike="noStrike" kern="0" cap="all" spc="0" normalizeH="0" baseline="0" noProof="0" dirty="0">
                <a:ln>
                  <a:noFill/>
                </a:ln>
                <a:solidFill>
                  <a:srgbClr val="13668E"/>
                </a:solidFill>
                <a:effectLst/>
                <a:uLnTx/>
                <a:uFillTx/>
                <a:latin typeface="Arial"/>
                <a:ea typeface="+mn-ea"/>
                <a:cs typeface="+mn-ea"/>
                <a:sym typeface="+mn-lt"/>
              </a:rPr>
              <a:t>Text inform</a:t>
            </a:r>
          </a:p>
        </p:txBody>
      </p:sp>
      <p:sp>
        <p:nvSpPr>
          <p:cNvPr id="15" name="Shape 59">
            <a:extLst>
              <a:ext uri="{FF2B5EF4-FFF2-40B4-BE49-F238E27FC236}">
                <a16:creationId xmlns:a16="http://schemas.microsoft.com/office/drawing/2014/main" id="{59F77D2C-1A44-4B45-80C9-3FDFD081B023}"/>
              </a:ext>
            </a:extLst>
          </p:cNvPr>
          <p:cNvSpPr>
            <a:spLocks noChangeArrowheads="1"/>
          </p:cNvSpPr>
          <p:nvPr/>
        </p:nvSpPr>
        <p:spPr bwMode="auto">
          <a:xfrm>
            <a:off x="4950619" y="5500700"/>
            <a:ext cx="1267619" cy="2436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lgn="ctr">
              <a:defRPr sz="2500" cap="all">
                <a:solidFill>
                  <a:srgbClr val="344245"/>
                </a:solidFill>
                <a:latin typeface="Open Sans Semibold"/>
                <a:ea typeface="Open Sans Semibold"/>
                <a:cs typeface="Open Sans Semibold"/>
                <a:sym typeface="Open Sans Semibold"/>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sz="1250" b="1" i="0" u="none" strike="noStrike" kern="0" cap="all" spc="0" normalizeH="0" baseline="0" noProof="0">
                <a:ln>
                  <a:noFill/>
                </a:ln>
                <a:solidFill>
                  <a:srgbClr val="0677C7"/>
                </a:solidFill>
                <a:effectLst/>
                <a:uLnTx/>
                <a:uFillTx/>
                <a:latin typeface="Arial"/>
                <a:ea typeface="+mn-ea"/>
                <a:cs typeface="+mn-ea"/>
                <a:sym typeface="+mn-lt"/>
              </a:rPr>
              <a:t>Text inform</a:t>
            </a:r>
          </a:p>
        </p:txBody>
      </p:sp>
      <p:sp>
        <p:nvSpPr>
          <p:cNvPr id="16" name="Shape 60">
            <a:extLst>
              <a:ext uri="{FF2B5EF4-FFF2-40B4-BE49-F238E27FC236}">
                <a16:creationId xmlns:a16="http://schemas.microsoft.com/office/drawing/2014/main" id="{FFBFC931-25A0-4A0B-8386-F730C5A7664F}"/>
              </a:ext>
            </a:extLst>
          </p:cNvPr>
          <p:cNvSpPr>
            <a:spLocks noChangeArrowheads="1"/>
          </p:cNvSpPr>
          <p:nvPr/>
        </p:nvSpPr>
        <p:spPr bwMode="auto">
          <a:xfrm>
            <a:off x="4812912" y="3288053"/>
            <a:ext cx="269574" cy="269603"/>
          </a:xfrm>
          <a:prstGeom prst="ellipse">
            <a:avLst/>
          </a:prstGeom>
          <a:solidFill>
            <a:srgbClr val="FFFFFF"/>
          </a:solidFill>
          <a:ln w="101600">
            <a:solidFill>
              <a:schemeClr val="accent1">
                <a:lumMod val="40000"/>
                <a:lumOff val="60000"/>
              </a:schemeClr>
            </a:solidFill>
            <a:miter lim="400000"/>
            <a:headEnd/>
            <a:tailEnd/>
          </a:ln>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0677C7"/>
              </a:solidFill>
              <a:effectLst/>
              <a:uLnTx/>
              <a:uFillTx/>
              <a:latin typeface="Arial"/>
              <a:cs typeface="+mn-ea"/>
              <a:sym typeface="+mn-lt"/>
            </a:endParaRPr>
          </a:p>
        </p:txBody>
      </p:sp>
      <p:sp>
        <p:nvSpPr>
          <p:cNvPr id="17" name="Shape 61">
            <a:extLst>
              <a:ext uri="{FF2B5EF4-FFF2-40B4-BE49-F238E27FC236}">
                <a16:creationId xmlns:a16="http://schemas.microsoft.com/office/drawing/2014/main" id="{10BB2641-44C4-4BF5-8C31-D1CA31216A30}"/>
              </a:ext>
            </a:extLst>
          </p:cNvPr>
          <p:cNvSpPr>
            <a:spLocks noChangeArrowheads="1"/>
          </p:cNvSpPr>
          <p:nvPr/>
        </p:nvSpPr>
        <p:spPr bwMode="auto">
          <a:xfrm>
            <a:off x="6690695" y="3288053"/>
            <a:ext cx="269574" cy="269603"/>
          </a:xfrm>
          <a:prstGeom prst="ellipse">
            <a:avLst/>
          </a:prstGeom>
          <a:solidFill>
            <a:srgbClr val="FFFFFF"/>
          </a:solidFill>
          <a:ln w="101600">
            <a:solidFill>
              <a:schemeClr val="accent1">
                <a:lumMod val="40000"/>
                <a:lumOff val="60000"/>
              </a:schemeClr>
            </a:solidFill>
            <a:miter lim="400000"/>
            <a:headEnd/>
            <a:tailEnd/>
          </a:ln>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0677C7"/>
              </a:solidFill>
              <a:effectLst/>
              <a:uLnTx/>
              <a:uFillTx/>
              <a:latin typeface="Arial"/>
              <a:cs typeface="+mn-ea"/>
              <a:sym typeface="+mn-lt"/>
            </a:endParaRPr>
          </a:p>
        </p:txBody>
      </p:sp>
      <p:sp>
        <p:nvSpPr>
          <p:cNvPr id="18" name="Shape 62">
            <a:extLst>
              <a:ext uri="{FF2B5EF4-FFF2-40B4-BE49-F238E27FC236}">
                <a16:creationId xmlns:a16="http://schemas.microsoft.com/office/drawing/2014/main" id="{F9C6C8AB-48B8-43D4-9369-B6AC2BF3E45D}"/>
              </a:ext>
            </a:extLst>
          </p:cNvPr>
          <p:cNvSpPr>
            <a:spLocks noChangeArrowheads="1"/>
          </p:cNvSpPr>
          <p:nvPr/>
        </p:nvSpPr>
        <p:spPr bwMode="auto">
          <a:xfrm>
            <a:off x="3121819" y="3329736"/>
            <a:ext cx="362744" cy="1897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lgn="ctr">
              <a:defRPr sz="1800" cap="all">
                <a:solidFill>
                  <a:srgbClr val="344245"/>
                </a:solidFill>
                <a:latin typeface="Open Sans Semibold"/>
                <a:ea typeface="Open Sans Semibold"/>
                <a:cs typeface="Open Sans Semibold"/>
                <a:sym typeface="Open Sans Semibold"/>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sz="900" b="0" i="0" u="none" strike="noStrike" kern="0" cap="all" spc="0" normalizeH="0" baseline="0" noProof="0" dirty="0">
                <a:ln>
                  <a:noFill/>
                </a:ln>
                <a:solidFill>
                  <a:srgbClr val="009FDE"/>
                </a:solidFill>
                <a:effectLst/>
                <a:uLnTx/>
                <a:uFillTx/>
                <a:latin typeface="Arial"/>
                <a:ea typeface="+mn-ea"/>
                <a:cs typeface="+mn-ea"/>
                <a:sym typeface="+mn-lt"/>
              </a:rPr>
              <a:t>1</a:t>
            </a:r>
          </a:p>
        </p:txBody>
      </p:sp>
      <p:sp>
        <p:nvSpPr>
          <p:cNvPr id="19" name="Shape 63">
            <a:extLst>
              <a:ext uri="{FF2B5EF4-FFF2-40B4-BE49-F238E27FC236}">
                <a16:creationId xmlns:a16="http://schemas.microsoft.com/office/drawing/2014/main" id="{A450FCF4-D69F-4EFA-8F91-558F9F2CD147}"/>
              </a:ext>
            </a:extLst>
          </p:cNvPr>
          <p:cNvSpPr>
            <a:spLocks noChangeArrowheads="1"/>
          </p:cNvSpPr>
          <p:nvPr/>
        </p:nvSpPr>
        <p:spPr bwMode="auto">
          <a:xfrm>
            <a:off x="4768850" y="3328942"/>
            <a:ext cx="361950" cy="1897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lgn="ctr">
              <a:defRPr sz="1800" cap="all">
                <a:solidFill>
                  <a:srgbClr val="344245"/>
                </a:solidFill>
                <a:latin typeface="Open Sans Semibold"/>
                <a:ea typeface="Open Sans Semibold"/>
                <a:cs typeface="Open Sans Semibold"/>
                <a:sym typeface="Open Sans Semibold"/>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sz="900" b="0" i="0" u="none" strike="noStrike" kern="0" cap="all" spc="0" normalizeH="0" baseline="0" noProof="0">
                <a:ln>
                  <a:noFill/>
                </a:ln>
                <a:solidFill>
                  <a:srgbClr val="0677C7"/>
                </a:solidFill>
                <a:effectLst/>
                <a:uLnTx/>
                <a:uFillTx/>
                <a:latin typeface="Arial"/>
                <a:ea typeface="+mn-ea"/>
                <a:cs typeface="+mn-ea"/>
                <a:sym typeface="+mn-lt"/>
              </a:rPr>
              <a:t>2</a:t>
            </a:r>
          </a:p>
        </p:txBody>
      </p:sp>
      <p:sp>
        <p:nvSpPr>
          <p:cNvPr id="20" name="Shape 64">
            <a:extLst>
              <a:ext uri="{FF2B5EF4-FFF2-40B4-BE49-F238E27FC236}">
                <a16:creationId xmlns:a16="http://schemas.microsoft.com/office/drawing/2014/main" id="{D551CF73-2BBA-428B-8B7B-F94EA47BCBA2}"/>
              </a:ext>
            </a:extLst>
          </p:cNvPr>
          <p:cNvSpPr>
            <a:spLocks noChangeArrowheads="1"/>
          </p:cNvSpPr>
          <p:nvPr/>
        </p:nvSpPr>
        <p:spPr bwMode="auto">
          <a:xfrm>
            <a:off x="6650831" y="3328148"/>
            <a:ext cx="361950" cy="1897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lgn="ctr">
              <a:defRPr sz="1800" cap="all">
                <a:solidFill>
                  <a:srgbClr val="344245"/>
                </a:solidFill>
                <a:latin typeface="Open Sans Semibold"/>
                <a:ea typeface="Open Sans Semibold"/>
                <a:cs typeface="Open Sans Semibold"/>
                <a:sym typeface="Open Sans Semibold"/>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sz="900" b="0" i="0" u="none" strike="noStrike" kern="0" cap="all" spc="0" normalizeH="0" baseline="0" noProof="0" dirty="0">
                <a:ln>
                  <a:noFill/>
                </a:ln>
                <a:solidFill>
                  <a:srgbClr val="13668E"/>
                </a:solidFill>
                <a:effectLst/>
                <a:uLnTx/>
                <a:uFillTx/>
                <a:latin typeface="Arial"/>
                <a:ea typeface="+mn-ea"/>
                <a:cs typeface="+mn-ea"/>
                <a:sym typeface="+mn-lt"/>
              </a:rPr>
              <a:t>3</a:t>
            </a:r>
          </a:p>
        </p:txBody>
      </p:sp>
      <p:sp>
        <p:nvSpPr>
          <p:cNvPr id="21" name="Shape 65">
            <a:extLst>
              <a:ext uri="{FF2B5EF4-FFF2-40B4-BE49-F238E27FC236}">
                <a16:creationId xmlns:a16="http://schemas.microsoft.com/office/drawing/2014/main" id="{72426138-0484-4CEC-91BA-544F590703A2}"/>
              </a:ext>
            </a:extLst>
          </p:cNvPr>
          <p:cNvSpPr>
            <a:spLocks noChangeArrowheads="1"/>
          </p:cNvSpPr>
          <p:nvPr/>
        </p:nvSpPr>
        <p:spPr bwMode="auto">
          <a:xfrm>
            <a:off x="3846443" y="2162334"/>
            <a:ext cx="1181197" cy="3590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altLang="ru-RU" sz="1000" b="0" i="0" u="none" strike="noStrike" kern="1200" cap="none" spc="0" normalizeH="0" baseline="0" noProof="0">
                <a:ln>
                  <a:noFill/>
                </a:ln>
                <a:solidFill>
                  <a:srgbClr val="009FDE"/>
                </a:solidFill>
                <a:effectLst/>
                <a:uLnTx/>
                <a:uFillTx/>
                <a:latin typeface="Arial"/>
                <a:cs typeface="+mn-ea"/>
                <a:sym typeface="+mn-lt"/>
              </a:rPr>
              <a:t>Fish bone tex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altLang="ru-RU" sz="1000" b="0" i="0" u="none" strike="noStrike" kern="1200" cap="none" spc="0" normalizeH="0" baseline="0" noProof="0">
                <a:ln>
                  <a:noFill/>
                </a:ln>
                <a:solidFill>
                  <a:srgbClr val="009FDE"/>
                </a:solidFill>
                <a:effectLst/>
                <a:uLnTx/>
                <a:uFillTx/>
                <a:latin typeface="Arial"/>
                <a:cs typeface="+mn-ea"/>
                <a:sym typeface="+mn-lt"/>
              </a:rPr>
              <a:t>block </a:t>
            </a:r>
          </a:p>
        </p:txBody>
      </p:sp>
      <p:sp>
        <p:nvSpPr>
          <p:cNvPr id="22" name="Shape 66">
            <a:extLst>
              <a:ext uri="{FF2B5EF4-FFF2-40B4-BE49-F238E27FC236}">
                <a16:creationId xmlns:a16="http://schemas.microsoft.com/office/drawing/2014/main" id="{F60562A0-340A-4EE0-AB0C-B3E753F89393}"/>
              </a:ext>
            </a:extLst>
          </p:cNvPr>
          <p:cNvSpPr>
            <a:spLocks noChangeArrowheads="1"/>
          </p:cNvSpPr>
          <p:nvPr/>
        </p:nvSpPr>
        <p:spPr bwMode="auto">
          <a:xfrm>
            <a:off x="3639906" y="2191303"/>
            <a:ext cx="132357" cy="132372"/>
          </a:xfrm>
          <a:prstGeom prst="ellipse">
            <a:avLst/>
          </a:prstGeom>
          <a:solidFill>
            <a:schemeClr val="accent1"/>
          </a:solidFill>
          <a:ln>
            <a:noFill/>
          </a:ln>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009FDE"/>
              </a:solidFill>
              <a:effectLst/>
              <a:uLnTx/>
              <a:uFillTx/>
              <a:latin typeface="Arial"/>
              <a:cs typeface="+mn-ea"/>
              <a:sym typeface="+mn-lt"/>
            </a:endParaRPr>
          </a:p>
        </p:txBody>
      </p:sp>
      <p:sp>
        <p:nvSpPr>
          <p:cNvPr id="23" name="Shape 67">
            <a:extLst>
              <a:ext uri="{FF2B5EF4-FFF2-40B4-BE49-F238E27FC236}">
                <a16:creationId xmlns:a16="http://schemas.microsoft.com/office/drawing/2014/main" id="{4E288BCB-A5C4-4E22-94BE-8E5F1D93E2D0}"/>
              </a:ext>
            </a:extLst>
          </p:cNvPr>
          <p:cNvSpPr>
            <a:spLocks noChangeArrowheads="1"/>
          </p:cNvSpPr>
          <p:nvPr/>
        </p:nvSpPr>
        <p:spPr bwMode="auto">
          <a:xfrm>
            <a:off x="3682823" y="2747280"/>
            <a:ext cx="1181197" cy="3590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altLang="ru-RU" sz="1000" b="0" i="0" u="none" strike="noStrike" kern="1200" cap="none" spc="0" normalizeH="0" baseline="0" noProof="0">
                <a:ln>
                  <a:noFill/>
                </a:ln>
                <a:solidFill>
                  <a:srgbClr val="009FDE"/>
                </a:solidFill>
                <a:effectLst/>
                <a:uLnTx/>
                <a:uFillTx/>
                <a:latin typeface="Arial"/>
                <a:cs typeface="+mn-ea"/>
                <a:sym typeface="+mn-lt"/>
              </a:rPr>
              <a:t>Fish bone tex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altLang="ru-RU" sz="1000" b="0" i="0" u="none" strike="noStrike" kern="1200" cap="none" spc="0" normalizeH="0" baseline="0" noProof="0">
                <a:ln>
                  <a:noFill/>
                </a:ln>
                <a:solidFill>
                  <a:srgbClr val="009FDE"/>
                </a:solidFill>
                <a:effectLst/>
                <a:uLnTx/>
                <a:uFillTx/>
                <a:latin typeface="Arial"/>
                <a:cs typeface="+mn-ea"/>
                <a:sym typeface="+mn-lt"/>
              </a:rPr>
              <a:t>block </a:t>
            </a:r>
          </a:p>
        </p:txBody>
      </p:sp>
      <p:sp>
        <p:nvSpPr>
          <p:cNvPr id="24" name="Shape 68">
            <a:extLst>
              <a:ext uri="{FF2B5EF4-FFF2-40B4-BE49-F238E27FC236}">
                <a16:creationId xmlns:a16="http://schemas.microsoft.com/office/drawing/2014/main" id="{CFC7D55F-6C06-432D-A267-1BFE2D77B6EC}"/>
              </a:ext>
            </a:extLst>
          </p:cNvPr>
          <p:cNvSpPr>
            <a:spLocks noChangeArrowheads="1"/>
          </p:cNvSpPr>
          <p:nvPr/>
        </p:nvSpPr>
        <p:spPr bwMode="auto">
          <a:xfrm>
            <a:off x="3454118" y="2774403"/>
            <a:ext cx="132357" cy="132372"/>
          </a:xfrm>
          <a:prstGeom prst="ellipse">
            <a:avLst/>
          </a:prstGeom>
          <a:solidFill>
            <a:schemeClr val="accent1"/>
          </a:solidFill>
          <a:ln>
            <a:noFill/>
          </a:ln>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009FDE"/>
              </a:solidFill>
              <a:effectLst/>
              <a:uLnTx/>
              <a:uFillTx/>
              <a:latin typeface="Arial"/>
              <a:cs typeface="+mn-ea"/>
              <a:sym typeface="+mn-lt"/>
            </a:endParaRPr>
          </a:p>
        </p:txBody>
      </p:sp>
      <p:sp>
        <p:nvSpPr>
          <p:cNvPr id="25" name="Shape 69">
            <a:extLst>
              <a:ext uri="{FF2B5EF4-FFF2-40B4-BE49-F238E27FC236}">
                <a16:creationId xmlns:a16="http://schemas.microsoft.com/office/drawing/2014/main" id="{B3ACFDEC-43DE-491F-A33B-9036E24C4C39}"/>
              </a:ext>
            </a:extLst>
          </p:cNvPr>
          <p:cNvSpPr>
            <a:spLocks noChangeArrowheads="1"/>
          </p:cNvSpPr>
          <p:nvPr/>
        </p:nvSpPr>
        <p:spPr bwMode="auto">
          <a:xfrm>
            <a:off x="3844793" y="4480171"/>
            <a:ext cx="1181197" cy="3590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altLang="ru-RU" sz="1000" b="0" i="0" u="none" strike="noStrike" kern="1200" cap="none" spc="0" normalizeH="0" baseline="0" noProof="0">
                <a:ln>
                  <a:noFill/>
                </a:ln>
                <a:solidFill>
                  <a:srgbClr val="009FDE"/>
                </a:solidFill>
                <a:effectLst/>
                <a:uLnTx/>
                <a:uFillTx/>
                <a:latin typeface="Arial"/>
                <a:cs typeface="+mn-ea"/>
                <a:sym typeface="+mn-lt"/>
              </a:rPr>
              <a:t>Fish bone tex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altLang="ru-RU" sz="1000" b="0" i="0" u="none" strike="noStrike" kern="1200" cap="none" spc="0" normalizeH="0" baseline="0" noProof="0">
                <a:ln>
                  <a:noFill/>
                </a:ln>
                <a:solidFill>
                  <a:srgbClr val="009FDE"/>
                </a:solidFill>
                <a:effectLst/>
                <a:uLnTx/>
                <a:uFillTx/>
                <a:latin typeface="Arial"/>
                <a:cs typeface="+mn-ea"/>
                <a:sym typeface="+mn-lt"/>
              </a:rPr>
              <a:t>block </a:t>
            </a:r>
          </a:p>
        </p:txBody>
      </p:sp>
      <p:sp>
        <p:nvSpPr>
          <p:cNvPr id="26" name="Shape 70">
            <a:extLst>
              <a:ext uri="{FF2B5EF4-FFF2-40B4-BE49-F238E27FC236}">
                <a16:creationId xmlns:a16="http://schemas.microsoft.com/office/drawing/2014/main" id="{3C8632F6-A297-453D-BC16-18EB74490137}"/>
              </a:ext>
            </a:extLst>
          </p:cNvPr>
          <p:cNvSpPr>
            <a:spLocks noChangeArrowheads="1"/>
          </p:cNvSpPr>
          <p:nvPr/>
        </p:nvSpPr>
        <p:spPr bwMode="auto">
          <a:xfrm>
            <a:off x="3638256" y="4509140"/>
            <a:ext cx="132357" cy="132372"/>
          </a:xfrm>
          <a:prstGeom prst="ellipse">
            <a:avLst/>
          </a:prstGeom>
          <a:solidFill>
            <a:schemeClr val="accent1"/>
          </a:solidFill>
          <a:ln>
            <a:noFill/>
          </a:ln>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009FDE"/>
              </a:solidFill>
              <a:effectLst/>
              <a:uLnTx/>
              <a:uFillTx/>
              <a:latin typeface="Arial"/>
              <a:cs typeface="+mn-ea"/>
              <a:sym typeface="+mn-lt"/>
            </a:endParaRPr>
          </a:p>
        </p:txBody>
      </p:sp>
      <p:sp>
        <p:nvSpPr>
          <p:cNvPr id="27" name="Shape 71">
            <a:extLst>
              <a:ext uri="{FF2B5EF4-FFF2-40B4-BE49-F238E27FC236}">
                <a16:creationId xmlns:a16="http://schemas.microsoft.com/office/drawing/2014/main" id="{6AF09E08-5219-424C-9BF5-13CFEDF6D938}"/>
              </a:ext>
            </a:extLst>
          </p:cNvPr>
          <p:cNvSpPr>
            <a:spLocks noChangeArrowheads="1"/>
          </p:cNvSpPr>
          <p:nvPr/>
        </p:nvSpPr>
        <p:spPr bwMode="auto">
          <a:xfrm>
            <a:off x="3682823" y="3852089"/>
            <a:ext cx="1181197" cy="3590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altLang="ru-RU" sz="1000" b="0" i="0" u="none" strike="noStrike" kern="1200" cap="none" spc="0" normalizeH="0" baseline="0" noProof="0">
                <a:ln>
                  <a:noFill/>
                </a:ln>
                <a:solidFill>
                  <a:srgbClr val="009FDE"/>
                </a:solidFill>
                <a:effectLst/>
                <a:uLnTx/>
                <a:uFillTx/>
                <a:latin typeface="Arial"/>
                <a:cs typeface="+mn-ea"/>
                <a:sym typeface="+mn-lt"/>
              </a:rPr>
              <a:t>Fish bone tex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altLang="ru-RU" sz="1000" b="0" i="0" u="none" strike="noStrike" kern="1200" cap="none" spc="0" normalizeH="0" baseline="0" noProof="0">
                <a:ln>
                  <a:noFill/>
                </a:ln>
                <a:solidFill>
                  <a:srgbClr val="009FDE"/>
                </a:solidFill>
                <a:effectLst/>
                <a:uLnTx/>
                <a:uFillTx/>
                <a:latin typeface="Arial"/>
                <a:cs typeface="+mn-ea"/>
                <a:sym typeface="+mn-lt"/>
              </a:rPr>
              <a:t>block </a:t>
            </a:r>
          </a:p>
        </p:txBody>
      </p:sp>
      <p:sp>
        <p:nvSpPr>
          <p:cNvPr id="28" name="Shape 72">
            <a:extLst>
              <a:ext uri="{FF2B5EF4-FFF2-40B4-BE49-F238E27FC236}">
                <a16:creationId xmlns:a16="http://schemas.microsoft.com/office/drawing/2014/main" id="{EA463F46-C312-474D-9547-0530E4DCFEFD}"/>
              </a:ext>
            </a:extLst>
          </p:cNvPr>
          <p:cNvSpPr>
            <a:spLocks noChangeArrowheads="1"/>
          </p:cNvSpPr>
          <p:nvPr/>
        </p:nvSpPr>
        <p:spPr bwMode="auto">
          <a:xfrm>
            <a:off x="3454118" y="3879212"/>
            <a:ext cx="132357" cy="132371"/>
          </a:xfrm>
          <a:prstGeom prst="ellipse">
            <a:avLst/>
          </a:prstGeom>
          <a:solidFill>
            <a:schemeClr val="accent1"/>
          </a:solidFill>
          <a:ln>
            <a:noFill/>
          </a:ln>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009FDE"/>
              </a:solidFill>
              <a:effectLst/>
              <a:uLnTx/>
              <a:uFillTx/>
              <a:latin typeface="Arial"/>
              <a:cs typeface="+mn-ea"/>
              <a:sym typeface="+mn-lt"/>
            </a:endParaRPr>
          </a:p>
        </p:txBody>
      </p:sp>
      <p:sp>
        <p:nvSpPr>
          <p:cNvPr id="29" name="Shape 73">
            <a:extLst>
              <a:ext uri="{FF2B5EF4-FFF2-40B4-BE49-F238E27FC236}">
                <a16:creationId xmlns:a16="http://schemas.microsoft.com/office/drawing/2014/main" id="{A26A31CA-14EC-4BD0-925F-39FCFD7DDBD1}"/>
              </a:ext>
            </a:extLst>
          </p:cNvPr>
          <p:cNvSpPr>
            <a:spLocks noChangeArrowheads="1"/>
          </p:cNvSpPr>
          <p:nvPr/>
        </p:nvSpPr>
        <p:spPr bwMode="auto">
          <a:xfrm>
            <a:off x="5565606" y="4628351"/>
            <a:ext cx="1181197" cy="3590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altLang="ru-RU" sz="1000" b="0" i="0" u="none" strike="noStrike" kern="1200" cap="none" spc="0" normalizeH="0" baseline="0" noProof="0">
                <a:ln>
                  <a:noFill/>
                </a:ln>
                <a:solidFill>
                  <a:srgbClr val="0677C7"/>
                </a:solidFill>
                <a:effectLst/>
                <a:uLnTx/>
                <a:uFillTx/>
                <a:latin typeface="Arial"/>
                <a:cs typeface="+mn-ea"/>
                <a:sym typeface="+mn-lt"/>
              </a:rPr>
              <a:t>Fish bone tex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altLang="ru-RU" sz="1000" b="0" i="0" u="none" strike="noStrike" kern="1200" cap="none" spc="0" normalizeH="0" baseline="0" noProof="0">
                <a:ln>
                  <a:noFill/>
                </a:ln>
                <a:solidFill>
                  <a:srgbClr val="0677C7"/>
                </a:solidFill>
                <a:effectLst/>
                <a:uLnTx/>
                <a:uFillTx/>
                <a:latin typeface="Arial"/>
                <a:cs typeface="+mn-ea"/>
                <a:sym typeface="+mn-lt"/>
              </a:rPr>
              <a:t>block </a:t>
            </a:r>
          </a:p>
        </p:txBody>
      </p:sp>
      <p:sp>
        <p:nvSpPr>
          <p:cNvPr id="30" name="Shape 74">
            <a:extLst>
              <a:ext uri="{FF2B5EF4-FFF2-40B4-BE49-F238E27FC236}">
                <a16:creationId xmlns:a16="http://schemas.microsoft.com/office/drawing/2014/main" id="{F2705403-55CA-4897-BEEF-2F44CCC92675}"/>
              </a:ext>
            </a:extLst>
          </p:cNvPr>
          <p:cNvSpPr>
            <a:spLocks noChangeArrowheads="1"/>
          </p:cNvSpPr>
          <p:nvPr/>
        </p:nvSpPr>
        <p:spPr bwMode="auto">
          <a:xfrm>
            <a:off x="5359070" y="4657320"/>
            <a:ext cx="132357" cy="132372"/>
          </a:xfrm>
          <a:prstGeom prst="ellipse">
            <a:avLst/>
          </a:prstGeom>
          <a:solidFill>
            <a:schemeClr val="accent2"/>
          </a:solidFill>
          <a:ln>
            <a:noFill/>
          </a:ln>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0677C7"/>
              </a:solidFill>
              <a:effectLst/>
              <a:uLnTx/>
              <a:uFillTx/>
              <a:latin typeface="Arial"/>
              <a:cs typeface="+mn-ea"/>
              <a:sym typeface="+mn-lt"/>
            </a:endParaRPr>
          </a:p>
        </p:txBody>
      </p:sp>
      <p:sp>
        <p:nvSpPr>
          <p:cNvPr id="31" name="Shape 75">
            <a:extLst>
              <a:ext uri="{FF2B5EF4-FFF2-40B4-BE49-F238E27FC236}">
                <a16:creationId xmlns:a16="http://schemas.microsoft.com/office/drawing/2014/main" id="{712B7C8C-8EAD-4D8B-B649-65EB19154C33}"/>
              </a:ext>
            </a:extLst>
          </p:cNvPr>
          <p:cNvSpPr>
            <a:spLocks noChangeArrowheads="1"/>
          </p:cNvSpPr>
          <p:nvPr/>
        </p:nvSpPr>
        <p:spPr bwMode="auto">
          <a:xfrm>
            <a:off x="5355372" y="3974866"/>
            <a:ext cx="1181197" cy="3590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altLang="ru-RU" sz="1000" b="0" i="0" u="none" strike="noStrike" kern="1200" cap="none" spc="0" normalizeH="0" baseline="0" noProof="0">
                <a:ln>
                  <a:noFill/>
                </a:ln>
                <a:solidFill>
                  <a:srgbClr val="0677C7"/>
                </a:solidFill>
                <a:effectLst/>
                <a:uLnTx/>
                <a:uFillTx/>
                <a:latin typeface="Arial"/>
                <a:cs typeface="+mn-ea"/>
                <a:sym typeface="+mn-lt"/>
              </a:rPr>
              <a:t>Fish bone tex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altLang="ru-RU" sz="1000" b="0" i="0" u="none" strike="noStrike" kern="1200" cap="none" spc="0" normalizeH="0" baseline="0" noProof="0">
                <a:ln>
                  <a:noFill/>
                </a:ln>
                <a:solidFill>
                  <a:srgbClr val="0677C7"/>
                </a:solidFill>
                <a:effectLst/>
                <a:uLnTx/>
                <a:uFillTx/>
                <a:latin typeface="Arial"/>
                <a:cs typeface="+mn-ea"/>
                <a:sym typeface="+mn-lt"/>
              </a:rPr>
              <a:t>block </a:t>
            </a:r>
          </a:p>
        </p:txBody>
      </p:sp>
      <p:sp>
        <p:nvSpPr>
          <p:cNvPr id="32" name="Shape 76">
            <a:extLst>
              <a:ext uri="{FF2B5EF4-FFF2-40B4-BE49-F238E27FC236}">
                <a16:creationId xmlns:a16="http://schemas.microsoft.com/office/drawing/2014/main" id="{45356897-4B04-424E-9BAE-D20C384775A5}"/>
              </a:ext>
            </a:extLst>
          </p:cNvPr>
          <p:cNvSpPr>
            <a:spLocks noChangeArrowheads="1"/>
          </p:cNvSpPr>
          <p:nvPr/>
        </p:nvSpPr>
        <p:spPr bwMode="auto">
          <a:xfrm>
            <a:off x="5126667" y="4001989"/>
            <a:ext cx="132357" cy="132371"/>
          </a:xfrm>
          <a:prstGeom prst="ellipse">
            <a:avLst/>
          </a:prstGeom>
          <a:solidFill>
            <a:schemeClr val="accent2"/>
          </a:solidFill>
          <a:ln>
            <a:noFill/>
          </a:ln>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0677C7"/>
              </a:solidFill>
              <a:effectLst/>
              <a:uLnTx/>
              <a:uFillTx/>
              <a:latin typeface="Arial"/>
              <a:cs typeface="+mn-ea"/>
              <a:sym typeface="+mn-lt"/>
            </a:endParaRPr>
          </a:p>
        </p:txBody>
      </p:sp>
      <p:sp>
        <p:nvSpPr>
          <p:cNvPr id="33" name="Shape 77">
            <a:extLst>
              <a:ext uri="{FF2B5EF4-FFF2-40B4-BE49-F238E27FC236}">
                <a16:creationId xmlns:a16="http://schemas.microsoft.com/office/drawing/2014/main" id="{23FFD807-6225-484C-8891-786E9986ABD9}"/>
              </a:ext>
            </a:extLst>
          </p:cNvPr>
          <p:cNvSpPr>
            <a:spLocks noChangeArrowheads="1"/>
          </p:cNvSpPr>
          <p:nvPr/>
        </p:nvSpPr>
        <p:spPr bwMode="auto">
          <a:xfrm>
            <a:off x="5565606" y="2006466"/>
            <a:ext cx="1181197" cy="3590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altLang="ru-RU" sz="1000" b="0" i="0" u="none" strike="noStrike" kern="1200" cap="none" spc="0" normalizeH="0" baseline="0" noProof="0">
                <a:ln>
                  <a:noFill/>
                </a:ln>
                <a:solidFill>
                  <a:srgbClr val="0677C7"/>
                </a:solidFill>
                <a:effectLst/>
                <a:uLnTx/>
                <a:uFillTx/>
                <a:latin typeface="Arial"/>
                <a:cs typeface="+mn-ea"/>
                <a:sym typeface="+mn-lt"/>
              </a:rPr>
              <a:t>Fish bone tex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altLang="ru-RU" sz="1000" b="0" i="0" u="none" strike="noStrike" kern="1200" cap="none" spc="0" normalizeH="0" baseline="0" noProof="0">
                <a:ln>
                  <a:noFill/>
                </a:ln>
                <a:solidFill>
                  <a:srgbClr val="0677C7"/>
                </a:solidFill>
                <a:effectLst/>
                <a:uLnTx/>
                <a:uFillTx/>
                <a:latin typeface="Arial"/>
                <a:cs typeface="+mn-ea"/>
                <a:sym typeface="+mn-lt"/>
              </a:rPr>
              <a:t>block </a:t>
            </a:r>
          </a:p>
        </p:txBody>
      </p:sp>
      <p:sp>
        <p:nvSpPr>
          <p:cNvPr id="34" name="Shape 78">
            <a:extLst>
              <a:ext uri="{FF2B5EF4-FFF2-40B4-BE49-F238E27FC236}">
                <a16:creationId xmlns:a16="http://schemas.microsoft.com/office/drawing/2014/main" id="{169820AC-1EE4-473D-A321-2DBE99395153}"/>
              </a:ext>
            </a:extLst>
          </p:cNvPr>
          <p:cNvSpPr>
            <a:spLocks noChangeArrowheads="1"/>
          </p:cNvSpPr>
          <p:nvPr/>
        </p:nvSpPr>
        <p:spPr bwMode="auto">
          <a:xfrm>
            <a:off x="5359070" y="2035435"/>
            <a:ext cx="132357" cy="132371"/>
          </a:xfrm>
          <a:prstGeom prst="ellipse">
            <a:avLst/>
          </a:prstGeom>
          <a:solidFill>
            <a:schemeClr val="accent2"/>
          </a:solidFill>
          <a:ln>
            <a:noFill/>
          </a:ln>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0677C7"/>
              </a:solidFill>
              <a:effectLst/>
              <a:uLnTx/>
              <a:uFillTx/>
              <a:latin typeface="Arial"/>
              <a:cs typeface="+mn-ea"/>
              <a:sym typeface="+mn-lt"/>
            </a:endParaRPr>
          </a:p>
        </p:txBody>
      </p:sp>
      <p:sp>
        <p:nvSpPr>
          <p:cNvPr id="35" name="Shape 79">
            <a:extLst>
              <a:ext uri="{FF2B5EF4-FFF2-40B4-BE49-F238E27FC236}">
                <a16:creationId xmlns:a16="http://schemas.microsoft.com/office/drawing/2014/main" id="{185C1ACA-691B-493F-BB17-D8B06C4E97C4}"/>
              </a:ext>
            </a:extLst>
          </p:cNvPr>
          <p:cNvSpPr>
            <a:spLocks noChangeArrowheads="1"/>
          </p:cNvSpPr>
          <p:nvPr/>
        </p:nvSpPr>
        <p:spPr bwMode="auto">
          <a:xfrm>
            <a:off x="5355372" y="2659993"/>
            <a:ext cx="1181197" cy="3590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altLang="ru-RU" sz="1000" b="0" i="0" u="none" strike="noStrike" kern="1200" cap="none" spc="0" normalizeH="0" baseline="0" noProof="0">
                <a:ln>
                  <a:noFill/>
                </a:ln>
                <a:solidFill>
                  <a:srgbClr val="0677C7"/>
                </a:solidFill>
                <a:effectLst/>
                <a:uLnTx/>
                <a:uFillTx/>
                <a:latin typeface="Arial"/>
                <a:cs typeface="+mn-ea"/>
                <a:sym typeface="+mn-lt"/>
              </a:rPr>
              <a:t>Fish bone tex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altLang="ru-RU" sz="1000" b="0" i="0" u="none" strike="noStrike" kern="1200" cap="none" spc="0" normalizeH="0" baseline="0" noProof="0">
                <a:ln>
                  <a:noFill/>
                </a:ln>
                <a:solidFill>
                  <a:srgbClr val="0677C7"/>
                </a:solidFill>
                <a:effectLst/>
                <a:uLnTx/>
                <a:uFillTx/>
                <a:latin typeface="Arial"/>
                <a:cs typeface="+mn-ea"/>
                <a:sym typeface="+mn-lt"/>
              </a:rPr>
              <a:t>block </a:t>
            </a:r>
          </a:p>
        </p:txBody>
      </p:sp>
      <p:sp>
        <p:nvSpPr>
          <p:cNvPr id="36" name="Shape 80">
            <a:extLst>
              <a:ext uri="{FF2B5EF4-FFF2-40B4-BE49-F238E27FC236}">
                <a16:creationId xmlns:a16="http://schemas.microsoft.com/office/drawing/2014/main" id="{692ACC87-7CBA-466E-AEB9-BD2109345C36}"/>
              </a:ext>
            </a:extLst>
          </p:cNvPr>
          <p:cNvSpPr>
            <a:spLocks noChangeArrowheads="1"/>
          </p:cNvSpPr>
          <p:nvPr/>
        </p:nvSpPr>
        <p:spPr bwMode="auto">
          <a:xfrm>
            <a:off x="5126667" y="2687116"/>
            <a:ext cx="132357" cy="132372"/>
          </a:xfrm>
          <a:prstGeom prst="ellipse">
            <a:avLst/>
          </a:prstGeom>
          <a:solidFill>
            <a:schemeClr val="accent2"/>
          </a:solidFill>
          <a:ln>
            <a:noFill/>
          </a:ln>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0677C7"/>
              </a:solidFill>
              <a:effectLst/>
              <a:uLnTx/>
              <a:uFillTx/>
              <a:latin typeface="Arial"/>
              <a:cs typeface="+mn-ea"/>
              <a:sym typeface="+mn-lt"/>
            </a:endParaRPr>
          </a:p>
        </p:txBody>
      </p:sp>
      <p:sp>
        <p:nvSpPr>
          <p:cNvPr id="37" name="Shape 81">
            <a:extLst>
              <a:ext uri="{FF2B5EF4-FFF2-40B4-BE49-F238E27FC236}">
                <a16:creationId xmlns:a16="http://schemas.microsoft.com/office/drawing/2014/main" id="{482EBB07-02E3-4EF5-A115-6C7478F985A2}"/>
              </a:ext>
            </a:extLst>
          </p:cNvPr>
          <p:cNvSpPr>
            <a:spLocks noChangeArrowheads="1"/>
          </p:cNvSpPr>
          <p:nvPr/>
        </p:nvSpPr>
        <p:spPr bwMode="auto">
          <a:xfrm>
            <a:off x="7369262" y="2162334"/>
            <a:ext cx="1181197" cy="3590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altLang="ru-RU" sz="1000" b="0" i="0" u="none" strike="noStrike" kern="1200" cap="none" spc="0" normalizeH="0" baseline="0" noProof="0">
                <a:ln>
                  <a:noFill/>
                </a:ln>
                <a:solidFill>
                  <a:srgbClr val="13668E"/>
                </a:solidFill>
                <a:effectLst/>
                <a:uLnTx/>
                <a:uFillTx/>
                <a:latin typeface="Arial"/>
                <a:cs typeface="+mn-ea"/>
                <a:sym typeface="+mn-lt"/>
              </a:rPr>
              <a:t>Fish bone tex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altLang="ru-RU" sz="1000" b="0" i="0" u="none" strike="noStrike" kern="1200" cap="none" spc="0" normalizeH="0" baseline="0" noProof="0">
                <a:ln>
                  <a:noFill/>
                </a:ln>
                <a:solidFill>
                  <a:srgbClr val="13668E"/>
                </a:solidFill>
                <a:effectLst/>
                <a:uLnTx/>
                <a:uFillTx/>
                <a:latin typeface="Arial"/>
                <a:cs typeface="+mn-ea"/>
                <a:sym typeface="+mn-lt"/>
              </a:rPr>
              <a:t>block </a:t>
            </a:r>
          </a:p>
        </p:txBody>
      </p:sp>
      <p:sp>
        <p:nvSpPr>
          <p:cNvPr id="38" name="Shape 82">
            <a:extLst>
              <a:ext uri="{FF2B5EF4-FFF2-40B4-BE49-F238E27FC236}">
                <a16:creationId xmlns:a16="http://schemas.microsoft.com/office/drawing/2014/main" id="{3AC2CC74-4951-4563-AC7D-8A6944880D39}"/>
              </a:ext>
            </a:extLst>
          </p:cNvPr>
          <p:cNvSpPr>
            <a:spLocks noChangeArrowheads="1"/>
          </p:cNvSpPr>
          <p:nvPr/>
        </p:nvSpPr>
        <p:spPr bwMode="auto">
          <a:xfrm>
            <a:off x="7162726" y="2191303"/>
            <a:ext cx="132357" cy="132372"/>
          </a:xfrm>
          <a:prstGeom prst="ellipse">
            <a:avLst/>
          </a:prstGeom>
          <a:solidFill>
            <a:schemeClr val="accent3"/>
          </a:solidFill>
          <a:ln>
            <a:noFill/>
          </a:ln>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13668E"/>
              </a:solidFill>
              <a:effectLst/>
              <a:uLnTx/>
              <a:uFillTx/>
              <a:latin typeface="Arial"/>
              <a:cs typeface="+mn-ea"/>
              <a:sym typeface="+mn-lt"/>
            </a:endParaRPr>
          </a:p>
        </p:txBody>
      </p:sp>
      <p:sp>
        <p:nvSpPr>
          <p:cNvPr id="39" name="Shape 83">
            <a:extLst>
              <a:ext uri="{FF2B5EF4-FFF2-40B4-BE49-F238E27FC236}">
                <a16:creationId xmlns:a16="http://schemas.microsoft.com/office/drawing/2014/main" id="{31898A7F-1E81-479C-9FBE-B264FE81EDD9}"/>
              </a:ext>
            </a:extLst>
          </p:cNvPr>
          <p:cNvSpPr>
            <a:spLocks noChangeArrowheads="1"/>
          </p:cNvSpPr>
          <p:nvPr/>
        </p:nvSpPr>
        <p:spPr bwMode="auto">
          <a:xfrm>
            <a:off x="7205641" y="2747280"/>
            <a:ext cx="1181197" cy="3590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altLang="ru-RU" sz="1000" b="0" i="0" u="none" strike="noStrike" kern="1200" cap="none" spc="0" normalizeH="0" baseline="0" noProof="0">
                <a:ln>
                  <a:noFill/>
                </a:ln>
                <a:solidFill>
                  <a:srgbClr val="13668E"/>
                </a:solidFill>
                <a:effectLst/>
                <a:uLnTx/>
                <a:uFillTx/>
                <a:latin typeface="Arial"/>
                <a:cs typeface="+mn-ea"/>
                <a:sym typeface="+mn-lt"/>
              </a:rPr>
              <a:t>Fish bone tex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altLang="ru-RU" sz="1000" b="0" i="0" u="none" strike="noStrike" kern="1200" cap="none" spc="0" normalizeH="0" baseline="0" noProof="0">
                <a:ln>
                  <a:noFill/>
                </a:ln>
                <a:solidFill>
                  <a:srgbClr val="13668E"/>
                </a:solidFill>
                <a:effectLst/>
                <a:uLnTx/>
                <a:uFillTx/>
                <a:latin typeface="Arial"/>
                <a:cs typeface="+mn-ea"/>
                <a:sym typeface="+mn-lt"/>
              </a:rPr>
              <a:t>block </a:t>
            </a:r>
          </a:p>
        </p:txBody>
      </p:sp>
      <p:sp>
        <p:nvSpPr>
          <p:cNvPr id="40" name="Shape 84">
            <a:extLst>
              <a:ext uri="{FF2B5EF4-FFF2-40B4-BE49-F238E27FC236}">
                <a16:creationId xmlns:a16="http://schemas.microsoft.com/office/drawing/2014/main" id="{18041730-8EB3-42A7-A5E9-EFD1DA74448D}"/>
              </a:ext>
            </a:extLst>
          </p:cNvPr>
          <p:cNvSpPr>
            <a:spLocks noChangeArrowheads="1"/>
          </p:cNvSpPr>
          <p:nvPr/>
        </p:nvSpPr>
        <p:spPr bwMode="auto">
          <a:xfrm>
            <a:off x="6976936" y="2774403"/>
            <a:ext cx="132357" cy="132372"/>
          </a:xfrm>
          <a:prstGeom prst="ellipse">
            <a:avLst/>
          </a:prstGeom>
          <a:solidFill>
            <a:schemeClr val="accent3"/>
          </a:solidFill>
          <a:ln>
            <a:noFill/>
          </a:ln>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13668E"/>
              </a:solidFill>
              <a:effectLst/>
              <a:uLnTx/>
              <a:uFillTx/>
              <a:latin typeface="Arial"/>
              <a:cs typeface="+mn-ea"/>
              <a:sym typeface="+mn-lt"/>
            </a:endParaRPr>
          </a:p>
        </p:txBody>
      </p:sp>
      <p:sp>
        <p:nvSpPr>
          <p:cNvPr id="41" name="Shape 85">
            <a:extLst>
              <a:ext uri="{FF2B5EF4-FFF2-40B4-BE49-F238E27FC236}">
                <a16:creationId xmlns:a16="http://schemas.microsoft.com/office/drawing/2014/main" id="{4EFFED85-41E4-4CC9-A51A-736F20145D6C}"/>
              </a:ext>
            </a:extLst>
          </p:cNvPr>
          <p:cNvSpPr>
            <a:spLocks noChangeArrowheads="1"/>
          </p:cNvSpPr>
          <p:nvPr/>
        </p:nvSpPr>
        <p:spPr bwMode="auto">
          <a:xfrm>
            <a:off x="7367612" y="4480171"/>
            <a:ext cx="1181197" cy="3590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altLang="ru-RU" sz="1000" b="0" i="0" u="none" strike="noStrike" kern="1200" cap="none" spc="0" normalizeH="0" baseline="0" noProof="0">
                <a:ln>
                  <a:noFill/>
                </a:ln>
                <a:solidFill>
                  <a:srgbClr val="13668E"/>
                </a:solidFill>
                <a:effectLst/>
                <a:uLnTx/>
                <a:uFillTx/>
                <a:latin typeface="Arial"/>
                <a:cs typeface="+mn-ea"/>
                <a:sym typeface="+mn-lt"/>
              </a:rPr>
              <a:t>Fish bone tex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altLang="ru-RU" sz="1000" b="0" i="0" u="none" strike="noStrike" kern="1200" cap="none" spc="0" normalizeH="0" baseline="0" noProof="0">
                <a:ln>
                  <a:noFill/>
                </a:ln>
                <a:solidFill>
                  <a:srgbClr val="13668E"/>
                </a:solidFill>
                <a:effectLst/>
                <a:uLnTx/>
                <a:uFillTx/>
                <a:latin typeface="Arial"/>
                <a:cs typeface="+mn-ea"/>
                <a:sym typeface="+mn-lt"/>
              </a:rPr>
              <a:t>block </a:t>
            </a:r>
          </a:p>
        </p:txBody>
      </p:sp>
      <p:sp>
        <p:nvSpPr>
          <p:cNvPr id="42" name="Shape 86">
            <a:extLst>
              <a:ext uri="{FF2B5EF4-FFF2-40B4-BE49-F238E27FC236}">
                <a16:creationId xmlns:a16="http://schemas.microsoft.com/office/drawing/2014/main" id="{D26A692F-DF5A-45D7-BE0D-847C291D64E0}"/>
              </a:ext>
            </a:extLst>
          </p:cNvPr>
          <p:cNvSpPr>
            <a:spLocks noChangeArrowheads="1"/>
          </p:cNvSpPr>
          <p:nvPr/>
        </p:nvSpPr>
        <p:spPr bwMode="auto">
          <a:xfrm>
            <a:off x="7161075" y="4509140"/>
            <a:ext cx="132357" cy="132372"/>
          </a:xfrm>
          <a:prstGeom prst="ellipse">
            <a:avLst/>
          </a:prstGeom>
          <a:solidFill>
            <a:schemeClr val="accent3"/>
          </a:solidFill>
          <a:ln>
            <a:noFill/>
          </a:ln>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13668E"/>
              </a:solidFill>
              <a:effectLst/>
              <a:uLnTx/>
              <a:uFillTx/>
              <a:latin typeface="Arial"/>
              <a:cs typeface="+mn-ea"/>
              <a:sym typeface="+mn-lt"/>
            </a:endParaRPr>
          </a:p>
        </p:txBody>
      </p:sp>
      <p:sp>
        <p:nvSpPr>
          <p:cNvPr id="43" name="Shape 87">
            <a:extLst>
              <a:ext uri="{FF2B5EF4-FFF2-40B4-BE49-F238E27FC236}">
                <a16:creationId xmlns:a16="http://schemas.microsoft.com/office/drawing/2014/main" id="{4103D3C9-CE43-4372-83AD-BDDF7F669782}"/>
              </a:ext>
            </a:extLst>
          </p:cNvPr>
          <p:cNvSpPr>
            <a:spLocks noChangeArrowheads="1"/>
          </p:cNvSpPr>
          <p:nvPr/>
        </p:nvSpPr>
        <p:spPr bwMode="auto">
          <a:xfrm>
            <a:off x="7205641" y="3852089"/>
            <a:ext cx="1181197" cy="3590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altLang="ru-RU" sz="1000" b="0" i="0" u="none" strike="noStrike" kern="1200" cap="none" spc="0" normalizeH="0" baseline="0" noProof="0">
                <a:ln>
                  <a:noFill/>
                </a:ln>
                <a:solidFill>
                  <a:srgbClr val="13668E"/>
                </a:solidFill>
                <a:effectLst/>
                <a:uLnTx/>
                <a:uFillTx/>
                <a:latin typeface="Arial"/>
                <a:cs typeface="+mn-ea"/>
                <a:sym typeface="+mn-lt"/>
              </a:rPr>
              <a:t>Fish bone tex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altLang="ru-RU" sz="1000" b="0" i="0" u="none" strike="noStrike" kern="1200" cap="none" spc="0" normalizeH="0" baseline="0" noProof="0">
                <a:ln>
                  <a:noFill/>
                </a:ln>
                <a:solidFill>
                  <a:srgbClr val="13668E"/>
                </a:solidFill>
                <a:effectLst/>
                <a:uLnTx/>
                <a:uFillTx/>
                <a:latin typeface="Arial"/>
                <a:cs typeface="+mn-ea"/>
                <a:sym typeface="+mn-lt"/>
              </a:rPr>
              <a:t>block </a:t>
            </a:r>
          </a:p>
        </p:txBody>
      </p:sp>
      <p:sp>
        <p:nvSpPr>
          <p:cNvPr id="44" name="Shape 88">
            <a:extLst>
              <a:ext uri="{FF2B5EF4-FFF2-40B4-BE49-F238E27FC236}">
                <a16:creationId xmlns:a16="http://schemas.microsoft.com/office/drawing/2014/main" id="{0A276AA9-D61F-4E4E-8310-A8C580E5B361}"/>
              </a:ext>
            </a:extLst>
          </p:cNvPr>
          <p:cNvSpPr>
            <a:spLocks noChangeArrowheads="1"/>
          </p:cNvSpPr>
          <p:nvPr/>
        </p:nvSpPr>
        <p:spPr bwMode="auto">
          <a:xfrm>
            <a:off x="6976936" y="3879212"/>
            <a:ext cx="132357" cy="132371"/>
          </a:xfrm>
          <a:prstGeom prst="ellipse">
            <a:avLst/>
          </a:prstGeom>
          <a:solidFill>
            <a:schemeClr val="accent3"/>
          </a:solidFill>
          <a:ln>
            <a:noFill/>
          </a:ln>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13668E"/>
              </a:solidFill>
              <a:effectLst/>
              <a:uLnTx/>
              <a:uFillTx/>
              <a:latin typeface="Arial"/>
              <a:cs typeface="+mn-ea"/>
              <a:sym typeface="+mn-lt"/>
            </a:endParaRPr>
          </a:p>
        </p:txBody>
      </p:sp>
    </p:spTree>
    <p:extLst>
      <p:ext uri="{BB962C8B-B14F-4D97-AF65-F5344CB8AC3E}">
        <p14:creationId xmlns:p14="http://schemas.microsoft.com/office/powerpoint/2010/main" val="1362254575"/>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7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Shape 47">
            <a:extLst>
              <a:ext uri="{FF2B5EF4-FFF2-40B4-BE49-F238E27FC236}">
                <a16:creationId xmlns:a16="http://schemas.microsoft.com/office/drawing/2014/main" id="{363FA760-322D-4CEA-A5FD-D2A33F680B4A}"/>
              </a:ext>
            </a:extLst>
          </p:cNvPr>
          <p:cNvSpPr>
            <a:spLocks/>
          </p:cNvSpPr>
          <p:nvPr/>
        </p:nvSpPr>
        <p:spPr bwMode="auto">
          <a:xfrm>
            <a:off x="8515787" y="1874873"/>
            <a:ext cx="2498860" cy="3077151"/>
          </a:xfrm>
          <a:custGeom>
            <a:avLst/>
            <a:gdLst>
              <a:gd name="T0" fmla="*/ 2147483646 w 21455"/>
              <a:gd name="T1" fmla="*/ 2147483646 h 21547"/>
              <a:gd name="T2" fmla="*/ 2147483646 w 21455"/>
              <a:gd name="T3" fmla="*/ 2147483646 h 21547"/>
              <a:gd name="T4" fmla="*/ 2147483646 w 21455"/>
              <a:gd name="T5" fmla="*/ 2147483646 h 21547"/>
              <a:gd name="T6" fmla="*/ 2147483646 w 21455"/>
              <a:gd name="T7" fmla="*/ 2147483646 h 21547"/>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21455" h="21547" extrusionOk="0">
                <a:moveTo>
                  <a:pt x="6771" y="3"/>
                </a:moveTo>
                <a:cubicBezTo>
                  <a:pt x="6609" y="11"/>
                  <a:pt x="6448" y="32"/>
                  <a:pt x="6289" y="63"/>
                </a:cubicBezTo>
                <a:cubicBezTo>
                  <a:pt x="5701" y="178"/>
                  <a:pt x="5167" y="433"/>
                  <a:pt x="4757" y="795"/>
                </a:cubicBezTo>
                <a:cubicBezTo>
                  <a:pt x="1575" y="3641"/>
                  <a:pt x="-127" y="7383"/>
                  <a:pt x="7" y="11232"/>
                </a:cubicBezTo>
                <a:cubicBezTo>
                  <a:pt x="132" y="14824"/>
                  <a:pt x="1852" y="18257"/>
                  <a:pt x="4849" y="20891"/>
                </a:cubicBezTo>
                <a:cubicBezTo>
                  <a:pt x="5271" y="21232"/>
                  <a:pt x="5816" y="21454"/>
                  <a:pt x="6403" y="21524"/>
                </a:cubicBezTo>
                <a:cubicBezTo>
                  <a:pt x="7012" y="21596"/>
                  <a:pt x="7632" y="21502"/>
                  <a:pt x="8168" y="21255"/>
                </a:cubicBezTo>
                <a:cubicBezTo>
                  <a:pt x="10517" y="20042"/>
                  <a:pt x="12750" y="18684"/>
                  <a:pt x="14845" y="17194"/>
                </a:cubicBezTo>
                <a:cubicBezTo>
                  <a:pt x="16973" y="15680"/>
                  <a:pt x="18955" y="14033"/>
                  <a:pt x="20771" y="12269"/>
                </a:cubicBezTo>
                <a:cubicBezTo>
                  <a:pt x="21195" y="11887"/>
                  <a:pt x="21436" y="11395"/>
                  <a:pt x="21454" y="10880"/>
                </a:cubicBezTo>
                <a:cubicBezTo>
                  <a:pt x="21473" y="10322"/>
                  <a:pt x="21229" y="9779"/>
                  <a:pt x="20771" y="9365"/>
                </a:cubicBezTo>
                <a:cubicBezTo>
                  <a:pt x="18967" y="7504"/>
                  <a:pt x="16953" y="5785"/>
                  <a:pt x="14756" y="4230"/>
                </a:cubicBezTo>
                <a:cubicBezTo>
                  <a:pt x="12652" y="2741"/>
                  <a:pt x="10386" y="1409"/>
                  <a:pt x="7989" y="249"/>
                </a:cubicBezTo>
                <a:cubicBezTo>
                  <a:pt x="7763" y="135"/>
                  <a:pt x="7514" y="59"/>
                  <a:pt x="7255" y="24"/>
                </a:cubicBezTo>
                <a:cubicBezTo>
                  <a:pt x="7095" y="3"/>
                  <a:pt x="6933" y="-4"/>
                  <a:pt x="6771" y="3"/>
                </a:cubicBezTo>
                <a:close/>
                <a:moveTo>
                  <a:pt x="9121" y="5291"/>
                </a:moveTo>
                <a:cubicBezTo>
                  <a:pt x="9744" y="5291"/>
                  <a:pt x="10369" y="5485"/>
                  <a:pt x="10845" y="5873"/>
                </a:cubicBezTo>
                <a:cubicBezTo>
                  <a:pt x="11797" y="6649"/>
                  <a:pt x="11797" y="7909"/>
                  <a:pt x="10845" y="8685"/>
                </a:cubicBezTo>
                <a:cubicBezTo>
                  <a:pt x="9893" y="9462"/>
                  <a:pt x="8348" y="9462"/>
                  <a:pt x="7396" y="8685"/>
                </a:cubicBezTo>
                <a:cubicBezTo>
                  <a:pt x="6444" y="7909"/>
                  <a:pt x="6444" y="6649"/>
                  <a:pt x="7396" y="5873"/>
                </a:cubicBezTo>
                <a:cubicBezTo>
                  <a:pt x="7872" y="5485"/>
                  <a:pt x="8497" y="5291"/>
                  <a:pt x="9121" y="5291"/>
                </a:cubicBezTo>
                <a:close/>
              </a:path>
            </a:pathLst>
          </a:custGeom>
          <a:solidFill>
            <a:schemeClr val="accent1">
              <a:lumMod val="40000"/>
              <a:lumOff val="60000"/>
            </a:schemeClr>
          </a:solidFill>
          <a:ln>
            <a:noFill/>
          </a:ln>
        </p:spPr>
        <p:txBody>
          <a:bodyPr lIns="25400" tIns="25400" rIns="25400" bIns="254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500" b="0" i="0" u="none" strike="noStrike" kern="1200" cap="none" spc="0" normalizeH="0" baseline="0" noProof="0">
              <a:ln>
                <a:noFill/>
              </a:ln>
              <a:solidFill>
                <a:srgbClr val="000000"/>
              </a:solidFill>
              <a:effectLst/>
              <a:uLnTx/>
              <a:uFillTx/>
              <a:latin typeface="Arial"/>
              <a:cs typeface="+mn-ea"/>
              <a:sym typeface="+mn-lt"/>
            </a:endParaRPr>
          </a:p>
        </p:txBody>
      </p:sp>
      <p:sp>
        <p:nvSpPr>
          <p:cNvPr id="52" name="Shape 48">
            <a:extLst>
              <a:ext uri="{FF2B5EF4-FFF2-40B4-BE49-F238E27FC236}">
                <a16:creationId xmlns:a16="http://schemas.microsoft.com/office/drawing/2014/main" id="{A2DAB3B5-A84C-4D28-A5D1-FC96773B8C7B}"/>
              </a:ext>
            </a:extLst>
          </p:cNvPr>
          <p:cNvSpPr>
            <a:spLocks/>
          </p:cNvSpPr>
          <p:nvPr/>
        </p:nvSpPr>
        <p:spPr bwMode="auto">
          <a:xfrm>
            <a:off x="1559496" y="1797985"/>
            <a:ext cx="1543686" cy="3230911"/>
          </a:xfrm>
          <a:custGeom>
            <a:avLst/>
            <a:gdLst>
              <a:gd name="T0" fmla="*/ 2147483646 w 21492"/>
              <a:gd name="T1" fmla="*/ 2147483646 h 21500"/>
              <a:gd name="T2" fmla="*/ 2147483646 w 21492"/>
              <a:gd name="T3" fmla="*/ 2147483646 h 21500"/>
              <a:gd name="T4" fmla="*/ 2147483646 w 21492"/>
              <a:gd name="T5" fmla="*/ 2147483646 h 21500"/>
              <a:gd name="T6" fmla="*/ 2147483646 w 21492"/>
              <a:gd name="T7" fmla="*/ 2147483646 h 21500"/>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21492" h="21500" extrusionOk="0">
                <a:moveTo>
                  <a:pt x="223" y="899"/>
                </a:moveTo>
                <a:cubicBezTo>
                  <a:pt x="-78" y="701"/>
                  <a:pt x="-74" y="432"/>
                  <a:pt x="234" y="235"/>
                </a:cubicBezTo>
                <a:cubicBezTo>
                  <a:pt x="660" y="-37"/>
                  <a:pt x="1481" y="-80"/>
                  <a:pt x="2020" y="142"/>
                </a:cubicBezTo>
                <a:lnTo>
                  <a:pt x="20954" y="10063"/>
                </a:lnTo>
                <a:cubicBezTo>
                  <a:pt x="21329" y="10261"/>
                  <a:pt x="21522" y="10524"/>
                  <a:pt x="21489" y="10791"/>
                </a:cubicBezTo>
                <a:cubicBezTo>
                  <a:pt x="21466" y="10980"/>
                  <a:pt x="21330" y="11161"/>
                  <a:pt x="21097" y="11314"/>
                </a:cubicBezTo>
                <a:lnTo>
                  <a:pt x="2264" y="21274"/>
                </a:lnTo>
                <a:cubicBezTo>
                  <a:pt x="2035" y="21395"/>
                  <a:pt x="1738" y="21467"/>
                  <a:pt x="1429" y="21491"/>
                </a:cubicBezTo>
                <a:cubicBezTo>
                  <a:pt x="1059" y="21520"/>
                  <a:pt x="659" y="21481"/>
                  <a:pt x="364" y="21346"/>
                </a:cubicBezTo>
                <a:cubicBezTo>
                  <a:pt x="-2" y="21178"/>
                  <a:pt x="-59" y="20908"/>
                  <a:pt x="229" y="20708"/>
                </a:cubicBezTo>
                <a:cubicBezTo>
                  <a:pt x="3534" y="17755"/>
                  <a:pt x="5311" y="14466"/>
                  <a:pt x="5414" y="11117"/>
                </a:cubicBezTo>
                <a:cubicBezTo>
                  <a:pt x="5523" y="7556"/>
                  <a:pt x="3737" y="4040"/>
                  <a:pt x="223" y="899"/>
                </a:cubicBezTo>
                <a:close/>
              </a:path>
            </a:pathLst>
          </a:custGeom>
          <a:solidFill>
            <a:schemeClr val="accent1">
              <a:lumMod val="40000"/>
              <a:lumOff val="60000"/>
            </a:schemeClr>
          </a:solidFill>
          <a:ln>
            <a:noFill/>
          </a:ln>
        </p:spPr>
        <p:txBody>
          <a:bodyPr lIns="25400" tIns="25400" rIns="25400" bIns="254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500" b="0" i="0" u="none" strike="noStrike" kern="1200" cap="none" spc="0" normalizeH="0" baseline="0" noProof="0">
              <a:ln>
                <a:noFill/>
              </a:ln>
              <a:solidFill>
                <a:srgbClr val="000000"/>
              </a:solidFill>
              <a:effectLst/>
              <a:uLnTx/>
              <a:uFillTx/>
              <a:latin typeface="Arial"/>
              <a:cs typeface="+mn-ea"/>
              <a:sym typeface="+mn-lt"/>
            </a:endParaRPr>
          </a:p>
        </p:txBody>
      </p:sp>
      <p:sp>
        <p:nvSpPr>
          <p:cNvPr id="53" name="Shape 49">
            <a:extLst>
              <a:ext uri="{FF2B5EF4-FFF2-40B4-BE49-F238E27FC236}">
                <a16:creationId xmlns:a16="http://schemas.microsoft.com/office/drawing/2014/main" id="{9747735F-B202-4BE0-8AE3-D39152A89B55}"/>
              </a:ext>
            </a:extLst>
          </p:cNvPr>
          <p:cNvSpPr>
            <a:spLocks noChangeShapeType="1"/>
          </p:cNvSpPr>
          <p:nvPr/>
        </p:nvSpPr>
        <p:spPr bwMode="auto">
          <a:xfrm>
            <a:off x="2771169" y="3413447"/>
            <a:ext cx="5864783" cy="1"/>
          </a:xfrm>
          <a:prstGeom prst="line">
            <a:avLst/>
          </a:prstGeom>
          <a:noFill/>
          <a:ln w="165100">
            <a:solidFill>
              <a:schemeClr val="accent1">
                <a:lumMod val="40000"/>
                <a:lumOff val="60000"/>
              </a:schemeClr>
            </a:solidFill>
            <a:miter lim="400000"/>
            <a:headEnd/>
            <a:tailEnd/>
          </a:ln>
          <a:extLst>
            <a:ext uri="{909E8E84-426E-40DD-AFC4-6F175D3DCCD1}">
              <a14:hiddenFill xmlns:a14="http://schemas.microsoft.com/office/drawing/2010/main">
                <a:noFill/>
              </a14:hiddenFill>
            </a:ext>
          </a:extLst>
        </p:spPr>
        <p:txBody>
          <a:bodyPr lIns="25400" tIns="25400" rIns="25400" bIns="254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500" b="0" i="0" u="none" strike="noStrike" kern="1200" cap="none" spc="0" normalizeH="0" baseline="0" noProof="0">
              <a:ln>
                <a:noFill/>
              </a:ln>
              <a:solidFill>
                <a:srgbClr val="0677C7"/>
              </a:solidFill>
              <a:effectLst/>
              <a:uLnTx/>
              <a:uFillTx/>
              <a:latin typeface="Arial"/>
              <a:cs typeface="+mn-ea"/>
              <a:sym typeface="+mn-lt"/>
            </a:endParaRPr>
          </a:p>
        </p:txBody>
      </p:sp>
      <p:sp>
        <p:nvSpPr>
          <p:cNvPr id="54" name="Shape 50">
            <a:extLst>
              <a:ext uri="{FF2B5EF4-FFF2-40B4-BE49-F238E27FC236}">
                <a16:creationId xmlns:a16="http://schemas.microsoft.com/office/drawing/2014/main" id="{22D62B22-6A97-4E63-B9BE-9C64797B0A7A}"/>
              </a:ext>
            </a:extLst>
          </p:cNvPr>
          <p:cNvSpPr>
            <a:spLocks noChangeShapeType="1"/>
          </p:cNvSpPr>
          <p:nvPr/>
        </p:nvSpPr>
        <p:spPr bwMode="auto">
          <a:xfrm flipH="1" flipV="1">
            <a:off x="3831739" y="1785291"/>
            <a:ext cx="1484084" cy="1623257"/>
          </a:xfrm>
          <a:prstGeom prst="line">
            <a:avLst/>
          </a:prstGeom>
          <a:noFill/>
          <a:ln w="63500">
            <a:solidFill>
              <a:schemeClr val="accent1">
                <a:lumMod val="100000"/>
              </a:schemeClr>
            </a:solidFill>
            <a:miter lim="400000"/>
            <a:headEnd/>
            <a:tailEnd/>
          </a:ln>
          <a:extLst>
            <a:ext uri="{909E8E84-426E-40DD-AFC4-6F175D3DCCD1}">
              <a14:hiddenFill xmlns:a14="http://schemas.microsoft.com/office/drawing/2010/main">
                <a:noFill/>
              </a14:hiddenFill>
            </a:ext>
          </a:extLst>
        </p:spPr>
        <p:txBody>
          <a:bodyPr lIns="25400" tIns="25400" rIns="25400" bIns="254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500" b="0" i="0" u="none" strike="noStrike" kern="1200" cap="none" spc="0" normalizeH="0" baseline="0" noProof="0">
              <a:ln>
                <a:noFill/>
              </a:ln>
              <a:solidFill>
                <a:srgbClr val="000000"/>
              </a:solidFill>
              <a:effectLst/>
              <a:uLnTx/>
              <a:uFillTx/>
              <a:latin typeface="Arial"/>
              <a:cs typeface="+mn-ea"/>
              <a:sym typeface="+mn-lt"/>
            </a:endParaRPr>
          </a:p>
        </p:txBody>
      </p:sp>
      <p:sp>
        <p:nvSpPr>
          <p:cNvPr id="55" name="Shape 51">
            <a:extLst>
              <a:ext uri="{FF2B5EF4-FFF2-40B4-BE49-F238E27FC236}">
                <a16:creationId xmlns:a16="http://schemas.microsoft.com/office/drawing/2014/main" id="{9DE709DA-B5B7-4C23-A4FF-F157C371E2E8}"/>
              </a:ext>
            </a:extLst>
          </p:cNvPr>
          <p:cNvSpPr>
            <a:spLocks noChangeShapeType="1"/>
          </p:cNvSpPr>
          <p:nvPr/>
        </p:nvSpPr>
        <p:spPr bwMode="auto">
          <a:xfrm flipV="1">
            <a:off x="2772569" y="3446462"/>
            <a:ext cx="1432060" cy="1586147"/>
          </a:xfrm>
          <a:prstGeom prst="line">
            <a:avLst/>
          </a:prstGeom>
          <a:noFill/>
          <a:ln w="63500">
            <a:solidFill>
              <a:schemeClr val="accent1">
                <a:lumMod val="100000"/>
              </a:schemeClr>
            </a:solidFill>
            <a:miter lim="400000"/>
            <a:headEnd/>
            <a:tailEnd/>
          </a:ln>
          <a:extLst>
            <a:ext uri="{909E8E84-426E-40DD-AFC4-6F175D3DCCD1}">
              <a14:hiddenFill xmlns:a14="http://schemas.microsoft.com/office/drawing/2010/main">
                <a:noFill/>
              </a14:hiddenFill>
            </a:ext>
          </a:extLst>
        </p:spPr>
        <p:txBody>
          <a:bodyPr lIns="25400" tIns="25400" rIns="25400" bIns="254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500" b="0" i="0" u="none" strike="noStrike" kern="1200" cap="none" spc="0" normalizeH="0" baseline="0" noProof="0">
              <a:ln>
                <a:noFill/>
              </a:ln>
              <a:solidFill>
                <a:srgbClr val="000000"/>
              </a:solidFill>
              <a:effectLst/>
              <a:uLnTx/>
              <a:uFillTx/>
              <a:latin typeface="Arial"/>
              <a:cs typeface="+mn-ea"/>
              <a:sym typeface="+mn-lt"/>
            </a:endParaRPr>
          </a:p>
        </p:txBody>
      </p:sp>
      <p:sp>
        <p:nvSpPr>
          <p:cNvPr id="56" name="Shape 52">
            <a:extLst>
              <a:ext uri="{FF2B5EF4-FFF2-40B4-BE49-F238E27FC236}">
                <a16:creationId xmlns:a16="http://schemas.microsoft.com/office/drawing/2014/main" id="{E0E399EB-88FC-479E-A601-DDC97454D352}"/>
              </a:ext>
            </a:extLst>
          </p:cNvPr>
          <p:cNvSpPr>
            <a:spLocks noChangeShapeType="1"/>
          </p:cNvSpPr>
          <p:nvPr/>
        </p:nvSpPr>
        <p:spPr bwMode="auto">
          <a:xfrm flipH="1" flipV="1">
            <a:off x="5999160" y="1785291"/>
            <a:ext cx="1484084" cy="1623257"/>
          </a:xfrm>
          <a:prstGeom prst="line">
            <a:avLst/>
          </a:prstGeom>
          <a:noFill/>
          <a:ln w="63500">
            <a:solidFill>
              <a:schemeClr val="accent1">
                <a:lumMod val="100000"/>
              </a:schemeClr>
            </a:solidFill>
            <a:miter lim="400000"/>
            <a:headEnd/>
            <a:tailEnd/>
          </a:ln>
          <a:extLst>
            <a:ext uri="{909E8E84-426E-40DD-AFC4-6F175D3DCCD1}">
              <a14:hiddenFill xmlns:a14="http://schemas.microsoft.com/office/drawing/2010/main">
                <a:noFill/>
              </a14:hiddenFill>
            </a:ext>
          </a:extLst>
        </p:spPr>
        <p:txBody>
          <a:bodyPr lIns="25400" tIns="25400" rIns="25400" bIns="254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500" b="0" i="0" u="none" strike="noStrike" kern="1200" cap="none" spc="0" normalizeH="0" baseline="0" noProof="0">
              <a:ln>
                <a:noFill/>
              </a:ln>
              <a:solidFill>
                <a:srgbClr val="000000"/>
              </a:solidFill>
              <a:effectLst/>
              <a:uLnTx/>
              <a:uFillTx/>
              <a:latin typeface="Arial"/>
              <a:cs typeface="+mn-ea"/>
              <a:sym typeface="+mn-lt"/>
            </a:endParaRPr>
          </a:p>
        </p:txBody>
      </p:sp>
      <p:sp>
        <p:nvSpPr>
          <p:cNvPr id="57" name="Shape 53">
            <a:extLst>
              <a:ext uri="{FF2B5EF4-FFF2-40B4-BE49-F238E27FC236}">
                <a16:creationId xmlns:a16="http://schemas.microsoft.com/office/drawing/2014/main" id="{A0D23E7A-59AE-4748-85C2-5696A2FB91C9}"/>
              </a:ext>
            </a:extLst>
          </p:cNvPr>
          <p:cNvSpPr>
            <a:spLocks noChangeShapeType="1"/>
          </p:cNvSpPr>
          <p:nvPr/>
        </p:nvSpPr>
        <p:spPr bwMode="auto">
          <a:xfrm flipV="1">
            <a:off x="4944223" y="3446462"/>
            <a:ext cx="1432060" cy="1586147"/>
          </a:xfrm>
          <a:prstGeom prst="line">
            <a:avLst/>
          </a:prstGeom>
          <a:noFill/>
          <a:ln w="63500">
            <a:solidFill>
              <a:schemeClr val="accent1">
                <a:lumMod val="100000"/>
              </a:schemeClr>
            </a:solidFill>
            <a:miter lim="400000"/>
            <a:headEnd/>
            <a:tailEnd/>
          </a:ln>
          <a:extLst>
            <a:ext uri="{909E8E84-426E-40DD-AFC4-6F175D3DCCD1}">
              <a14:hiddenFill xmlns:a14="http://schemas.microsoft.com/office/drawing/2010/main">
                <a:noFill/>
              </a14:hiddenFill>
            </a:ext>
          </a:extLst>
        </p:spPr>
        <p:txBody>
          <a:bodyPr lIns="25400" tIns="25400" rIns="25400" bIns="254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500" b="0" i="0" u="none" strike="noStrike" kern="1200" cap="none" spc="0" normalizeH="0" baseline="0" noProof="0">
              <a:ln>
                <a:noFill/>
              </a:ln>
              <a:solidFill>
                <a:srgbClr val="000000"/>
              </a:solidFill>
              <a:effectLst/>
              <a:uLnTx/>
              <a:uFillTx/>
              <a:latin typeface="Arial"/>
              <a:cs typeface="+mn-ea"/>
              <a:sym typeface="+mn-lt"/>
            </a:endParaRPr>
          </a:p>
        </p:txBody>
      </p:sp>
      <p:sp>
        <p:nvSpPr>
          <p:cNvPr id="58" name="Shape 54">
            <a:extLst>
              <a:ext uri="{FF2B5EF4-FFF2-40B4-BE49-F238E27FC236}">
                <a16:creationId xmlns:a16="http://schemas.microsoft.com/office/drawing/2014/main" id="{8528DE3C-B909-4A94-8FCC-1E7FCE782950}"/>
              </a:ext>
            </a:extLst>
          </p:cNvPr>
          <p:cNvSpPr>
            <a:spLocks noChangeArrowheads="1"/>
          </p:cNvSpPr>
          <p:nvPr/>
        </p:nvSpPr>
        <p:spPr bwMode="auto">
          <a:xfrm>
            <a:off x="4136239" y="3339628"/>
            <a:ext cx="158570" cy="158581"/>
          </a:xfrm>
          <a:prstGeom prst="ellipse">
            <a:avLst/>
          </a:prstGeom>
          <a:solidFill>
            <a:srgbClr val="FFFFFF"/>
          </a:solidFill>
          <a:ln w="63500">
            <a:solidFill>
              <a:schemeClr val="accent1">
                <a:lumMod val="100000"/>
              </a:schemeClr>
            </a:solidFill>
            <a:miter lim="400000"/>
            <a:headEnd/>
            <a:tailEnd/>
          </a:ln>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0677C7"/>
              </a:solidFill>
              <a:effectLst/>
              <a:uLnTx/>
              <a:uFillTx/>
              <a:latin typeface="Arial"/>
              <a:cs typeface="+mn-ea"/>
              <a:sym typeface="+mn-lt"/>
            </a:endParaRPr>
          </a:p>
        </p:txBody>
      </p:sp>
      <p:sp>
        <p:nvSpPr>
          <p:cNvPr id="59" name="Shape 55">
            <a:extLst>
              <a:ext uri="{FF2B5EF4-FFF2-40B4-BE49-F238E27FC236}">
                <a16:creationId xmlns:a16="http://schemas.microsoft.com/office/drawing/2014/main" id="{834ADF41-7F7B-42A8-807C-211B2345E0AE}"/>
              </a:ext>
            </a:extLst>
          </p:cNvPr>
          <p:cNvSpPr>
            <a:spLocks noChangeArrowheads="1"/>
          </p:cNvSpPr>
          <p:nvPr/>
        </p:nvSpPr>
        <p:spPr bwMode="auto">
          <a:xfrm>
            <a:off x="5247466" y="3339628"/>
            <a:ext cx="158570" cy="158581"/>
          </a:xfrm>
          <a:prstGeom prst="ellipse">
            <a:avLst/>
          </a:prstGeom>
          <a:solidFill>
            <a:srgbClr val="FFFFFF"/>
          </a:solidFill>
          <a:ln w="63500">
            <a:solidFill>
              <a:schemeClr val="accent1">
                <a:lumMod val="100000"/>
              </a:schemeClr>
            </a:solidFill>
            <a:miter lim="400000"/>
            <a:headEnd/>
            <a:tailEnd/>
          </a:ln>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0677C7"/>
              </a:solidFill>
              <a:effectLst/>
              <a:uLnTx/>
              <a:uFillTx/>
              <a:latin typeface="Arial"/>
              <a:cs typeface="+mn-ea"/>
              <a:sym typeface="+mn-lt"/>
            </a:endParaRPr>
          </a:p>
        </p:txBody>
      </p:sp>
      <p:sp>
        <p:nvSpPr>
          <p:cNvPr id="60" name="Shape 56">
            <a:extLst>
              <a:ext uri="{FF2B5EF4-FFF2-40B4-BE49-F238E27FC236}">
                <a16:creationId xmlns:a16="http://schemas.microsoft.com/office/drawing/2014/main" id="{1D3A3BCC-896A-4D12-B43C-63859C125EED}"/>
              </a:ext>
            </a:extLst>
          </p:cNvPr>
          <p:cNvSpPr>
            <a:spLocks noChangeArrowheads="1"/>
          </p:cNvSpPr>
          <p:nvPr/>
        </p:nvSpPr>
        <p:spPr bwMode="auto">
          <a:xfrm>
            <a:off x="6293165" y="3339628"/>
            <a:ext cx="158570" cy="158581"/>
          </a:xfrm>
          <a:prstGeom prst="ellipse">
            <a:avLst/>
          </a:prstGeom>
          <a:solidFill>
            <a:srgbClr val="FFFFFF"/>
          </a:solidFill>
          <a:ln w="63500">
            <a:solidFill>
              <a:schemeClr val="accent1">
                <a:lumMod val="100000"/>
              </a:schemeClr>
            </a:solidFill>
            <a:miter lim="400000"/>
            <a:headEnd/>
            <a:tailEnd/>
          </a:ln>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0677C7"/>
              </a:solidFill>
              <a:effectLst/>
              <a:uLnTx/>
              <a:uFillTx/>
              <a:latin typeface="Arial"/>
              <a:cs typeface="+mn-ea"/>
              <a:sym typeface="+mn-lt"/>
            </a:endParaRPr>
          </a:p>
        </p:txBody>
      </p:sp>
      <p:sp>
        <p:nvSpPr>
          <p:cNvPr id="61" name="Shape 57">
            <a:extLst>
              <a:ext uri="{FF2B5EF4-FFF2-40B4-BE49-F238E27FC236}">
                <a16:creationId xmlns:a16="http://schemas.microsoft.com/office/drawing/2014/main" id="{3CB96DC4-9320-4839-9802-4E9E43E469E4}"/>
              </a:ext>
            </a:extLst>
          </p:cNvPr>
          <p:cNvSpPr>
            <a:spLocks noChangeArrowheads="1"/>
          </p:cNvSpPr>
          <p:nvPr/>
        </p:nvSpPr>
        <p:spPr bwMode="auto">
          <a:xfrm>
            <a:off x="7412413" y="3339628"/>
            <a:ext cx="158570" cy="158581"/>
          </a:xfrm>
          <a:prstGeom prst="ellipse">
            <a:avLst/>
          </a:prstGeom>
          <a:solidFill>
            <a:srgbClr val="FFFFFF"/>
          </a:solidFill>
          <a:ln w="63500">
            <a:solidFill>
              <a:schemeClr val="accent1">
                <a:lumMod val="100000"/>
              </a:schemeClr>
            </a:solidFill>
            <a:miter lim="400000"/>
            <a:headEnd/>
            <a:tailEnd/>
          </a:ln>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0677C7"/>
              </a:solidFill>
              <a:effectLst/>
              <a:uLnTx/>
              <a:uFillTx/>
              <a:latin typeface="Arial"/>
              <a:cs typeface="+mn-ea"/>
              <a:sym typeface="+mn-lt"/>
            </a:endParaRPr>
          </a:p>
        </p:txBody>
      </p:sp>
      <p:sp>
        <p:nvSpPr>
          <p:cNvPr id="62" name="Shape 58">
            <a:extLst>
              <a:ext uri="{FF2B5EF4-FFF2-40B4-BE49-F238E27FC236}">
                <a16:creationId xmlns:a16="http://schemas.microsoft.com/office/drawing/2014/main" id="{863DE4DB-9510-4178-9138-D768E137BD6F}"/>
              </a:ext>
            </a:extLst>
          </p:cNvPr>
          <p:cNvSpPr>
            <a:spLocks noChangeArrowheads="1"/>
          </p:cNvSpPr>
          <p:nvPr/>
        </p:nvSpPr>
        <p:spPr bwMode="auto">
          <a:xfrm>
            <a:off x="3665170" y="3929896"/>
            <a:ext cx="104161" cy="104169"/>
          </a:xfrm>
          <a:prstGeom prst="ellipse">
            <a:avLst/>
          </a:prstGeom>
          <a:solidFill>
            <a:schemeClr val="accent1">
              <a:lumMod val="100000"/>
            </a:schemeClr>
          </a:solidFill>
          <a:ln>
            <a:noFill/>
          </a:ln>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0677C7"/>
              </a:solidFill>
              <a:effectLst/>
              <a:uLnTx/>
              <a:uFillTx/>
              <a:latin typeface="Arial"/>
              <a:cs typeface="+mn-ea"/>
              <a:sym typeface="+mn-lt"/>
            </a:endParaRPr>
          </a:p>
        </p:txBody>
      </p:sp>
      <p:sp>
        <p:nvSpPr>
          <p:cNvPr id="63" name="Shape 59">
            <a:extLst>
              <a:ext uri="{FF2B5EF4-FFF2-40B4-BE49-F238E27FC236}">
                <a16:creationId xmlns:a16="http://schemas.microsoft.com/office/drawing/2014/main" id="{437131CD-C529-48E8-B449-74567756640E}"/>
              </a:ext>
            </a:extLst>
          </p:cNvPr>
          <p:cNvSpPr>
            <a:spLocks noChangeArrowheads="1"/>
          </p:cNvSpPr>
          <p:nvPr/>
        </p:nvSpPr>
        <p:spPr bwMode="auto">
          <a:xfrm>
            <a:off x="3199513" y="4450622"/>
            <a:ext cx="104161" cy="104169"/>
          </a:xfrm>
          <a:prstGeom prst="ellipse">
            <a:avLst/>
          </a:prstGeom>
          <a:solidFill>
            <a:schemeClr val="accent1">
              <a:lumMod val="100000"/>
            </a:schemeClr>
          </a:solidFill>
          <a:ln>
            <a:noFill/>
          </a:ln>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0677C7"/>
              </a:solidFill>
              <a:effectLst/>
              <a:uLnTx/>
              <a:uFillTx/>
              <a:latin typeface="Arial"/>
              <a:cs typeface="+mn-ea"/>
              <a:sym typeface="+mn-lt"/>
            </a:endParaRPr>
          </a:p>
        </p:txBody>
      </p:sp>
      <p:grpSp>
        <p:nvGrpSpPr>
          <p:cNvPr id="64" name="Group 63">
            <a:extLst>
              <a:ext uri="{FF2B5EF4-FFF2-40B4-BE49-F238E27FC236}">
                <a16:creationId xmlns:a16="http://schemas.microsoft.com/office/drawing/2014/main" id="{F7600A84-8CE8-4B37-885E-48FA08BA30F2}"/>
              </a:ext>
            </a:extLst>
          </p:cNvPr>
          <p:cNvGrpSpPr>
            <a:grpSpLocks/>
          </p:cNvGrpSpPr>
          <p:nvPr/>
        </p:nvGrpSpPr>
        <p:grpSpPr bwMode="auto">
          <a:xfrm>
            <a:off x="2536617" y="5020231"/>
            <a:ext cx="1676739" cy="360441"/>
            <a:chOff x="0" y="0"/>
            <a:chExt cx="3353548" cy="720844"/>
          </a:xfrm>
        </p:grpSpPr>
        <p:sp>
          <p:nvSpPr>
            <p:cNvPr id="95" name="Shape 60">
              <a:extLst>
                <a:ext uri="{FF2B5EF4-FFF2-40B4-BE49-F238E27FC236}">
                  <a16:creationId xmlns:a16="http://schemas.microsoft.com/office/drawing/2014/main" id="{BE9A08A4-E986-449C-AD7A-5FC0094573D8}"/>
                </a:ext>
              </a:extLst>
            </p:cNvPr>
            <p:cNvSpPr>
              <a:spLocks noChangeArrowheads="1"/>
            </p:cNvSpPr>
            <p:nvPr/>
          </p:nvSpPr>
          <p:spPr bwMode="auto">
            <a:xfrm>
              <a:off x="0" y="0"/>
              <a:ext cx="3353548" cy="720844"/>
            </a:xfrm>
            <a:prstGeom prst="roundRect">
              <a:avLst>
                <a:gd name="adj" fmla="val 50000"/>
              </a:avLst>
            </a:prstGeom>
            <a:solidFill>
              <a:schemeClr val="accent1">
                <a:lumMod val="100000"/>
              </a:schemeClr>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FFFFFF"/>
                </a:solidFill>
                <a:effectLst/>
                <a:uLnTx/>
                <a:uFillTx/>
                <a:latin typeface="Arial"/>
                <a:cs typeface="+mn-ea"/>
                <a:sym typeface="+mn-lt"/>
              </a:endParaRPr>
            </a:p>
          </p:txBody>
        </p:sp>
        <p:sp>
          <p:nvSpPr>
            <p:cNvPr id="96" name="Shape 61">
              <a:extLst>
                <a:ext uri="{FF2B5EF4-FFF2-40B4-BE49-F238E27FC236}">
                  <a16:creationId xmlns:a16="http://schemas.microsoft.com/office/drawing/2014/main" id="{3A626989-098F-401F-A422-375DA972C3E6}"/>
                </a:ext>
              </a:extLst>
            </p:cNvPr>
            <p:cNvSpPr>
              <a:spLocks noChangeArrowheads="1"/>
            </p:cNvSpPr>
            <p:nvPr/>
          </p:nvSpPr>
          <p:spPr bwMode="auto">
            <a:xfrm>
              <a:off x="745256" y="140681"/>
              <a:ext cx="2343123" cy="4103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altLang="ru-RU" sz="1000" b="0" i="0" u="none" strike="noStrike" kern="1200" cap="none" spc="0" normalizeH="0" baseline="0" noProof="0">
                  <a:ln>
                    <a:noFill/>
                  </a:ln>
                  <a:solidFill>
                    <a:srgbClr val="FFFFFF"/>
                  </a:solidFill>
                  <a:effectLst/>
                  <a:uLnTx/>
                  <a:uFillTx/>
                  <a:latin typeface="Arial"/>
                  <a:cs typeface="+mn-ea"/>
                  <a:sym typeface="+mn-lt"/>
                </a:rPr>
                <a:t>Information text</a:t>
              </a:r>
            </a:p>
          </p:txBody>
        </p:sp>
        <p:sp>
          <p:nvSpPr>
            <p:cNvPr id="97" name="Shape 62">
              <a:extLst>
                <a:ext uri="{FF2B5EF4-FFF2-40B4-BE49-F238E27FC236}">
                  <a16:creationId xmlns:a16="http://schemas.microsoft.com/office/drawing/2014/main" id="{20115763-BBC1-447C-BE1A-7968B8F9B6E6}"/>
                </a:ext>
              </a:extLst>
            </p:cNvPr>
            <p:cNvSpPr>
              <a:spLocks noChangeArrowheads="1"/>
            </p:cNvSpPr>
            <p:nvPr/>
          </p:nvSpPr>
          <p:spPr bwMode="auto">
            <a:xfrm>
              <a:off x="68502" y="69972"/>
              <a:ext cx="580897" cy="580898"/>
            </a:xfrm>
            <a:prstGeom prst="ellipse">
              <a:avLst/>
            </a:prstGeom>
            <a:solidFill>
              <a:srgbClr val="FFFFFF"/>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FFFFFF"/>
                </a:solidFill>
                <a:effectLst/>
                <a:uLnTx/>
                <a:uFillTx/>
                <a:latin typeface="Arial"/>
                <a:cs typeface="+mn-ea"/>
                <a:sym typeface="+mn-lt"/>
              </a:endParaRPr>
            </a:p>
          </p:txBody>
        </p:sp>
      </p:grpSp>
      <p:grpSp>
        <p:nvGrpSpPr>
          <p:cNvPr id="65" name="Group 67">
            <a:extLst>
              <a:ext uri="{FF2B5EF4-FFF2-40B4-BE49-F238E27FC236}">
                <a16:creationId xmlns:a16="http://schemas.microsoft.com/office/drawing/2014/main" id="{C881F91E-6F2B-4F0B-AE10-810F14C4E1CB}"/>
              </a:ext>
            </a:extLst>
          </p:cNvPr>
          <p:cNvGrpSpPr>
            <a:grpSpLocks/>
          </p:cNvGrpSpPr>
          <p:nvPr/>
        </p:nvGrpSpPr>
        <p:grpSpPr bwMode="auto">
          <a:xfrm>
            <a:off x="4690710" y="5020231"/>
            <a:ext cx="1676739" cy="360441"/>
            <a:chOff x="0" y="0"/>
            <a:chExt cx="3353548" cy="720844"/>
          </a:xfrm>
        </p:grpSpPr>
        <p:sp>
          <p:nvSpPr>
            <p:cNvPr id="92" name="Shape 64">
              <a:extLst>
                <a:ext uri="{FF2B5EF4-FFF2-40B4-BE49-F238E27FC236}">
                  <a16:creationId xmlns:a16="http://schemas.microsoft.com/office/drawing/2014/main" id="{80AFD47B-A186-4280-8C8D-C967C97CB4D9}"/>
                </a:ext>
              </a:extLst>
            </p:cNvPr>
            <p:cNvSpPr>
              <a:spLocks noChangeArrowheads="1"/>
            </p:cNvSpPr>
            <p:nvPr/>
          </p:nvSpPr>
          <p:spPr bwMode="auto">
            <a:xfrm>
              <a:off x="0" y="0"/>
              <a:ext cx="3353548" cy="720844"/>
            </a:xfrm>
            <a:prstGeom prst="roundRect">
              <a:avLst>
                <a:gd name="adj" fmla="val 50000"/>
              </a:avLst>
            </a:prstGeom>
            <a:solidFill>
              <a:schemeClr val="accent1">
                <a:lumMod val="100000"/>
              </a:schemeClr>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FFFFFF"/>
                </a:solidFill>
                <a:effectLst/>
                <a:uLnTx/>
                <a:uFillTx/>
                <a:latin typeface="Arial"/>
                <a:cs typeface="+mn-ea"/>
                <a:sym typeface="+mn-lt"/>
              </a:endParaRPr>
            </a:p>
          </p:txBody>
        </p:sp>
        <p:sp>
          <p:nvSpPr>
            <p:cNvPr id="93" name="Shape 65">
              <a:extLst>
                <a:ext uri="{FF2B5EF4-FFF2-40B4-BE49-F238E27FC236}">
                  <a16:creationId xmlns:a16="http://schemas.microsoft.com/office/drawing/2014/main" id="{57809F7A-7806-4233-BB72-F395CA8995AA}"/>
                </a:ext>
              </a:extLst>
            </p:cNvPr>
            <p:cNvSpPr>
              <a:spLocks noChangeArrowheads="1"/>
            </p:cNvSpPr>
            <p:nvPr/>
          </p:nvSpPr>
          <p:spPr bwMode="auto">
            <a:xfrm>
              <a:off x="745256" y="140681"/>
              <a:ext cx="2343123" cy="4103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altLang="ru-RU" sz="1000" b="0" i="0" u="none" strike="noStrike" kern="1200" cap="none" spc="0" normalizeH="0" baseline="0" noProof="0">
                  <a:ln>
                    <a:noFill/>
                  </a:ln>
                  <a:solidFill>
                    <a:srgbClr val="FFFFFF"/>
                  </a:solidFill>
                  <a:effectLst/>
                  <a:uLnTx/>
                  <a:uFillTx/>
                  <a:latin typeface="Arial"/>
                  <a:cs typeface="+mn-ea"/>
                  <a:sym typeface="+mn-lt"/>
                </a:rPr>
                <a:t>Information text</a:t>
              </a:r>
            </a:p>
          </p:txBody>
        </p:sp>
        <p:sp>
          <p:nvSpPr>
            <p:cNvPr id="94" name="Shape 66">
              <a:extLst>
                <a:ext uri="{FF2B5EF4-FFF2-40B4-BE49-F238E27FC236}">
                  <a16:creationId xmlns:a16="http://schemas.microsoft.com/office/drawing/2014/main" id="{C34137F0-C588-4D51-B307-24827D6D87FD}"/>
                </a:ext>
              </a:extLst>
            </p:cNvPr>
            <p:cNvSpPr>
              <a:spLocks noChangeArrowheads="1"/>
            </p:cNvSpPr>
            <p:nvPr/>
          </p:nvSpPr>
          <p:spPr bwMode="auto">
            <a:xfrm>
              <a:off x="68502" y="69972"/>
              <a:ext cx="580897" cy="580898"/>
            </a:xfrm>
            <a:prstGeom prst="ellipse">
              <a:avLst/>
            </a:prstGeom>
            <a:solidFill>
              <a:srgbClr val="FFFFFF"/>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FFFFFF"/>
                </a:solidFill>
                <a:effectLst/>
                <a:uLnTx/>
                <a:uFillTx/>
                <a:latin typeface="Arial"/>
                <a:cs typeface="+mn-ea"/>
                <a:sym typeface="+mn-lt"/>
              </a:endParaRPr>
            </a:p>
          </p:txBody>
        </p:sp>
      </p:grpSp>
      <p:grpSp>
        <p:nvGrpSpPr>
          <p:cNvPr id="66" name="Group 71">
            <a:extLst>
              <a:ext uri="{FF2B5EF4-FFF2-40B4-BE49-F238E27FC236}">
                <a16:creationId xmlns:a16="http://schemas.microsoft.com/office/drawing/2014/main" id="{382740A5-4C25-40E3-86DF-F003A3914B8F}"/>
              </a:ext>
            </a:extLst>
          </p:cNvPr>
          <p:cNvGrpSpPr>
            <a:grpSpLocks/>
          </p:cNvGrpSpPr>
          <p:nvPr/>
        </p:nvGrpSpPr>
        <p:grpSpPr bwMode="auto">
          <a:xfrm>
            <a:off x="3630618" y="1438114"/>
            <a:ext cx="1676739" cy="360441"/>
            <a:chOff x="0" y="0"/>
            <a:chExt cx="3353548" cy="720844"/>
          </a:xfrm>
        </p:grpSpPr>
        <p:sp>
          <p:nvSpPr>
            <p:cNvPr id="89" name="Shape 68">
              <a:extLst>
                <a:ext uri="{FF2B5EF4-FFF2-40B4-BE49-F238E27FC236}">
                  <a16:creationId xmlns:a16="http://schemas.microsoft.com/office/drawing/2014/main" id="{4BDFDAAF-83F0-409F-9188-AA8CEEFF67A4}"/>
                </a:ext>
              </a:extLst>
            </p:cNvPr>
            <p:cNvSpPr>
              <a:spLocks noChangeArrowheads="1"/>
            </p:cNvSpPr>
            <p:nvPr/>
          </p:nvSpPr>
          <p:spPr bwMode="auto">
            <a:xfrm>
              <a:off x="0" y="0"/>
              <a:ext cx="3353548" cy="720844"/>
            </a:xfrm>
            <a:prstGeom prst="roundRect">
              <a:avLst>
                <a:gd name="adj" fmla="val 50000"/>
              </a:avLst>
            </a:prstGeom>
            <a:solidFill>
              <a:schemeClr val="accent1">
                <a:lumMod val="100000"/>
              </a:schemeClr>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FFFFFF"/>
                </a:solidFill>
                <a:effectLst/>
                <a:uLnTx/>
                <a:uFillTx/>
                <a:latin typeface="Arial"/>
                <a:cs typeface="+mn-ea"/>
                <a:sym typeface="+mn-lt"/>
              </a:endParaRPr>
            </a:p>
          </p:txBody>
        </p:sp>
        <p:sp>
          <p:nvSpPr>
            <p:cNvPr id="90" name="Shape 69">
              <a:extLst>
                <a:ext uri="{FF2B5EF4-FFF2-40B4-BE49-F238E27FC236}">
                  <a16:creationId xmlns:a16="http://schemas.microsoft.com/office/drawing/2014/main" id="{EF96C15F-586B-47D4-B6A0-9A0432680AE7}"/>
                </a:ext>
              </a:extLst>
            </p:cNvPr>
            <p:cNvSpPr>
              <a:spLocks noChangeArrowheads="1"/>
            </p:cNvSpPr>
            <p:nvPr/>
          </p:nvSpPr>
          <p:spPr bwMode="auto">
            <a:xfrm>
              <a:off x="745256" y="140681"/>
              <a:ext cx="2343123" cy="4103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altLang="ru-RU" sz="1000" b="0" i="0" u="none" strike="noStrike" kern="1200" cap="none" spc="0" normalizeH="0" baseline="0" noProof="0" dirty="0" err="1">
                  <a:ln>
                    <a:noFill/>
                  </a:ln>
                  <a:solidFill>
                    <a:srgbClr val="FFFFFF"/>
                  </a:solidFill>
                  <a:effectLst/>
                  <a:uLnTx/>
                  <a:uFillTx/>
                  <a:latin typeface="Arial"/>
                  <a:cs typeface="+mn-ea"/>
                  <a:sym typeface="+mn-lt"/>
                </a:rPr>
                <a:t>Information</a:t>
              </a:r>
              <a:r>
                <a:rPr kumimoji="0" lang="ru-RU" altLang="ru-RU" sz="1000" b="0" i="0" u="none" strike="noStrike" kern="1200" cap="none" spc="0" normalizeH="0" baseline="0" noProof="0" dirty="0">
                  <a:ln>
                    <a:noFill/>
                  </a:ln>
                  <a:solidFill>
                    <a:srgbClr val="FFFFFF"/>
                  </a:solidFill>
                  <a:effectLst/>
                  <a:uLnTx/>
                  <a:uFillTx/>
                  <a:latin typeface="Arial"/>
                  <a:cs typeface="+mn-ea"/>
                  <a:sym typeface="+mn-lt"/>
                </a:rPr>
                <a:t> </a:t>
              </a:r>
              <a:r>
                <a:rPr kumimoji="0" lang="ru-RU" altLang="ru-RU" sz="1000" b="0" i="0" u="none" strike="noStrike" kern="1200" cap="none" spc="0" normalizeH="0" baseline="0" noProof="0" dirty="0" err="1">
                  <a:ln>
                    <a:noFill/>
                  </a:ln>
                  <a:solidFill>
                    <a:srgbClr val="FFFFFF"/>
                  </a:solidFill>
                  <a:effectLst/>
                  <a:uLnTx/>
                  <a:uFillTx/>
                  <a:latin typeface="Arial"/>
                  <a:cs typeface="+mn-ea"/>
                  <a:sym typeface="+mn-lt"/>
                </a:rPr>
                <a:t>text</a:t>
              </a:r>
              <a:endParaRPr kumimoji="0" lang="ru-RU" altLang="ru-RU" sz="1000" b="0" i="0" u="none" strike="noStrike" kern="1200" cap="none" spc="0" normalizeH="0" baseline="0" noProof="0" dirty="0">
                <a:ln>
                  <a:noFill/>
                </a:ln>
                <a:solidFill>
                  <a:srgbClr val="FFFFFF"/>
                </a:solidFill>
                <a:effectLst/>
                <a:uLnTx/>
                <a:uFillTx/>
                <a:latin typeface="Arial"/>
                <a:cs typeface="+mn-ea"/>
                <a:sym typeface="+mn-lt"/>
              </a:endParaRPr>
            </a:p>
          </p:txBody>
        </p:sp>
        <p:sp>
          <p:nvSpPr>
            <p:cNvPr id="91" name="Shape 70">
              <a:extLst>
                <a:ext uri="{FF2B5EF4-FFF2-40B4-BE49-F238E27FC236}">
                  <a16:creationId xmlns:a16="http://schemas.microsoft.com/office/drawing/2014/main" id="{DE088C08-36A8-485B-81AC-BC50B10CEE7D}"/>
                </a:ext>
              </a:extLst>
            </p:cNvPr>
            <p:cNvSpPr>
              <a:spLocks noChangeArrowheads="1"/>
            </p:cNvSpPr>
            <p:nvPr/>
          </p:nvSpPr>
          <p:spPr bwMode="auto">
            <a:xfrm>
              <a:off x="68502" y="69972"/>
              <a:ext cx="580897" cy="580898"/>
            </a:xfrm>
            <a:prstGeom prst="ellipse">
              <a:avLst/>
            </a:prstGeom>
            <a:solidFill>
              <a:srgbClr val="FFFFFF"/>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FFFFFF"/>
                </a:solidFill>
                <a:effectLst/>
                <a:uLnTx/>
                <a:uFillTx/>
                <a:latin typeface="Arial"/>
                <a:cs typeface="+mn-ea"/>
                <a:sym typeface="+mn-lt"/>
              </a:endParaRPr>
            </a:p>
          </p:txBody>
        </p:sp>
      </p:grpSp>
      <p:grpSp>
        <p:nvGrpSpPr>
          <p:cNvPr id="67" name="Group 75">
            <a:extLst>
              <a:ext uri="{FF2B5EF4-FFF2-40B4-BE49-F238E27FC236}">
                <a16:creationId xmlns:a16="http://schemas.microsoft.com/office/drawing/2014/main" id="{4304E8C4-619B-4AAF-99CF-20D3052A151E}"/>
              </a:ext>
            </a:extLst>
          </p:cNvPr>
          <p:cNvGrpSpPr>
            <a:grpSpLocks/>
          </p:cNvGrpSpPr>
          <p:nvPr/>
        </p:nvGrpSpPr>
        <p:grpSpPr bwMode="auto">
          <a:xfrm>
            <a:off x="5798038" y="1438114"/>
            <a:ext cx="1676739" cy="360441"/>
            <a:chOff x="0" y="0"/>
            <a:chExt cx="3353548" cy="720844"/>
          </a:xfrm>
        </p:grpSpPr>
        <p:sp>
          <p:nvSpPr>
            <p:cNvPr id="86" name="Shape 72">
              <a:extLst>
                <a:ext uri="{FF2B5EF4-FFF2-40B4-BE49-F238E27FC236}">
                  <a16:creationId xmlns:a16="http://schemas.microsoft.com/office/drawing/2014/main" id="{CB0098A0-3EF1-4FF7-9AE2-96FA35BA72B0}"/>
                </a:ext>
              </a:extLst>
            </p:cNvPr>
            <p:cNvSpPr>
              <a:spLocks noChangeArrowheads="1"/>
            </p:cNvSpPr>
            <p:nvPr/>
          </p:nvSpPr>
          <p:spPr bwMode="auto">
            <a:xfrm>
              <a:off x="0" y="0"/>
              <a:ext cx="3353548" cy="720844"/>
            </a:xfrm>
            <a:prstGeom prst="roundRect">
              <a:avLst>
                <a:gd name="adj" fmla="val 50000"/>
              </a:avLst>
            </a:prstGeom>
            <a:solidFill>
              <a:schemeClr val="accent1">
                <a:lumMod val="100000"/>
              </a:schemeClr>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FFFFFF"/>
                </a:solidFill>
                <a:effectLst/>
                <a:uLnTx/>
                <a:uFillTx/>
                <a:latin typeface="Arial"/>
                <a:cs typeface="+mn-ea"/>
                <a:sym typeface="+mn-lt"/>
              </a:endParaRPr>
            </a:p>
          </p:txBody>
        </p:sp>
        <p:sp>
          <p:nvSpPr>
            <p:cNvPr id="87" name="Shape 73">
              <a:extLst>
                <a:ext uri="{FF2B5EF4-FFF2-40B4-BE49-F238E27FC236}">
                  <a16:creationId xmlns:a16="http://schemas.microsoft.com/office/drawing/2014/main" id="{6017690B-283B-49CA-8F8E-755F1261AA89}"/>
                </a:ext>
              </a:extLst>
            </p:cNvPr>
            <p:cNvSpPr>
              <a:spLocks noChangeArrowheads="1"/>
            </p:cNvSpPr>
            <p:nvPr/>
          </p:nvSpPr>
          <p:spPr bwMode="auto">
            <a:xfrm>
              <a:off x="745256" y="140681"/>
              <a:ext cx="2343123" cy="4103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altLang="ru-RU" sz="1000" b="0" i="0" u="none" strike="noStrike" kern="1200" cap="none" spc="0" normalizeH="0" baseline="0" noProof="0" dirty="0" err="1">
                  <a:ln>
                    <a:noFill/>
                  </a:ln>
                  <a:solidFill>
                    <a:srgbClr val="FFFFFF"/>
                  </a:solidFill>
                  <a:effectLst/>
                  <a:uLnTx/>
                  <a:uFillTx/>
                  <a:latin typeface="Arial"/>
                  <a:cs typeface="+mn-ea"/>
                  <a:sym typeface="+mn-lt"/>
                </a:rPr>
                <a:t>Information</a:t>
              </a:r>
              <a:r>
                <a:rPr kumimoji="0" lang="ru-RU" altLang="ru-RU" sz="1000" b="0" i="0" u="none" strike="noStrike" kern="1200" cap="none" spc="0" normalizeH="0" baseline="0" noProof="0" dirty="0">
                  <a:ln>
                    <a:noFill/>
                  </a:ln>
                  <a:solidFill>
                    <a:srgbClr val="FFFFFF"/>
                  </a:solidFill>
                  <a:effectLst/>
                  <a:uLnTx/>
                  <a:uFillTx/>
                  <a:latin typeface="Arial"/>
                  <a:cs typeface="+mn-ea"/>
                  <a:sym typeface="+mn-lt"/>
                </a:rPr>
                <a:t> </a:t>
              </a:r>
              <a:r>
                <a:rPr kumimoji="0" lang="ru-RU" altLang="ru-RU" sz="1000" b="0" i="0" u="none" strike="noStrike" kern="1200" cap="none" spc="0" normalizeH="0" baseline="0" noProof="0" dirty="0" err="1">
                  <a:ln>
                    <a:noFill/>
                  </a:ln>
                  <a:solidFill>
                    <a:srgbClr val="FFFFFF"/>
                  </a:solidFill>
                  <a:effectLst/>
                  <a:uLnTx/>
                  <a:uFillTx/>
                  <a:latin typeface="Arial"/>
                  <a:cs typeface="+mn-ea"/>
                  <a:sym typeface="+mn-lt"/>
                </a:rPr>
                <a:t>text</a:t>
              </a:r>
              <a:endParaRPr kumimoji="0" lang="ru-RU" altLang="ru-RU" sz="1000" b="0" i="0" u="none" strike="noStrike" kern="1200" cap="none" spc="0" normalizeH="0" baseline="0" noProof="0" dirty="0">
                <a:ln>
                  <a:noFill/>
                </a:ln>
                <a:solidFill>
                  <a:srgbClr val="FFFFFF"/>
                </a:solidFill>
                <a:effectLst/>
                <a:uLnTx/>
                <a:uFillTx/>
                <a:latin typeface="Arial"/>
                <a:cs typeface="+mn-ea"/>
                <a:sym typeface="+mn-lt"/>
              </a:endParaRPr>
            </a:p>
          </p:txBody>
        </p:sp>
        <p:sp>
          <p:nvSpPr>
            <p:cNvPr id="88" name="Shape 74">
              <a:extLst>
                <a:ext uri="{FF2B5EF4-FFF2-40B4-BE49-F238E27FC236}">
                  <a16:creationId xmlns:a16="http://schemas.microsoft.com/office/drawing/2014/main" id="{F2D7F45B-4AF0-40F7-8F36-290F8CA1E9ED}"/>
                </a:ext>
              </a:extLst>
            </p:cNvPr>
            <p:cNvSpPr>
              <a:spLocks noChangeArrowheads="1"/>
            </p:cNvSpPr>
            <p:nvPr/>
          </p:nvSpPr>
          <p:spPr bwMode="auto">
            <a:xfrm>
              <a:off x="68502" y="69972"/>
              <a:ext cx="580897" cy="580898"/>
            </a:xfrm>
            <a:prstGeom prst="ellipse">
              <a:avLst/>
            </a:prstGeom>
            <a:solidFill>
              <a:srgbClr val="FFFFFF"/>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FFFFFF"/>
                </a:solidFill>
                <a:effectLst/>
                <a:uLnTx/>
                <a:uFillTx/>
                <a:latin typeface="Arial"/>
                <a:cs typeface="+mn-ea"/>
                <a:sym typeface="+mn-lt"/>
              </a:endParaRPr>
            </a:p>
          </p:txBody>
        </p:sp>
      </p:grpSp>
      <p:sp>
        <p:nvSpPr>
          <p:cNvPr id="68" name="Shape 76">
            <a:extLst>
              <a:ext uri="{FF2B5EF4-FFF2-40B4-BE49-F238E27FC236}">
                <a16:creationId xmlns:a16="http://schemas.microsoft.com/office/drawing/2014/main" id="{5BED84F8-054A-42FB-8E4A-E079953CAAA7}"/>
              </a:ext>
            </a:extLst>
          </p:cNvPr>
          <p:cNvSpPr>
            <a:spLocks noChangeArrowheads="1"/>
          </p:cNvSpPr>
          <p:nvPr/>
        </p:nvSpPr>
        <p:spPr bwMode="auto">
          <a:xfrm>
            <a:off x="5841001" y="3929896"/>
            <a:ext cx="104161" cy="104169"/>
          </a:xfrm>
          <a:prstGeom prst="ellipse">
            <a:avLst/>
          </a:prstGeom>
          <a:solidFill>
            <a:schemeClr val="accent1">
              <a:lumMod val="100000"/>
            </a:schemeClr>
          </a:solidFill>
          <a:ln>
            <a:noFill/>
          </a:ln>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0677C7"/>
              </a:solidFill>
              <a:effectLst/>
              <a:uLnTx/>
              <a:uFillTx/>
              <a:latin typeface="Arial"/>
              <a:cs typeface="+mn-ea"/>
              <a:sym typeface="+mn-lt"/>
            </a:endParaRPr>
          </a:p>
        </p:txBody>
      </p:sp>
      <p:sp>
        <p:nvSpPr>
          <p:cNvPr id="69" name="Shape 77">
            <a:extLst>
              <a:ext uri="{FF2B5EF4-FFF2-40B4-BE49-F238E27FC236}">
                <a16:creationId xmlns:a16="http://schemas.microsoft.com/office/drawing/2014/main" id="{953813D7-F10A-4498-815F-D81A28F5D641}"/>
              </a:ext>
            </a:extLst>
          </p:cNvPr>
          <p:cNvSpPr>
            <a:spLocks noChangeArrowheads="1"/>
          </p:cNvSpPr>
          <p:nvPr/>
        </p:nvSpPr>
        <p:spPr bwMode="auto">
          <a:xfrm>
            <a:off x="5375344" y="4450622"/>
            <a:ext cx="104161" cy="104169"/>
          </a:xfrm>
          <a:prstGeom prst="ellipse">
            <a:avLst/>
          </a:prstGeom>
          <a:solidFill>
            <a:schemeClr val="accent1">
              <a:lumMod val="100000"/>
            </a:schemeClr>
          </a:solidFill>
          <a:ln>
            <a:noFill/>
          </a:ln>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0677C7"/>
              </a:solidFill>
              <a:effectLst/>
              <a:uLnTx/>
              <a:uFillTx/>
              <a:latin typeface="Arial"/>
              <a:cs typeface="+mn-ea"/>
              <a:sym typeface="+mn-lt"/>
            </a:endParaRPr>
          </a:p>
        </p:txBody>
      </p:sp>
      <p:sp>
        <p:nvSpPr>
          <p:cNvPr id="70" name="Shape 78">
            <a:extLst>
              <a:ext uri="{FF2B5EF4-FFF2-40B4-BE49-F238E27FC236}">
                <a16:creationId xmlns:a16="http://schemas.microsoft.com/office/drawing/2014/main" id="{A8BA5F3E-6D71-4270-9AA5-1EA5ECA5CFAF}"/>
              </a:ext>
            </a:extLst>
          </p:cNvPr>
          <p:cNvSpPr>
            <a:spLocks noChangeArrowheads="1"/>
          </p:cNvSpPr>
          <p:nvPr/>
        </p:nvSpPr>
        <p:spPr bwMode="auto">
          <a:xfrm>
            <a:off x="4259884" y="2265754"/>
            <a:ext cx="104161" cy="104169"/>
          </a:xfrm>
          <a:prstGeom prst="ellipse">
            <a:avLst/>
          </a:prstGeom>
          <a:solidFill>
            <a:schemeClr val="accent1">
              <a:lumMod val="100000"/>
            </a:schemeClr>
          </a:solidFill>
          <a:ln>
            <a:noFill/>
          </a:ln>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0677C7"/>
              </a:solidFill>
              <a:effectLst/>
              <a:uLnTx/>
              <a:uFillTx/>
              <a:latin typeface="Arial"/>
              <a:cs typeface="+mn-ea"/>
              <a:sym typeface="+mn-lt"/>
            </a:endParaRPr>
          </a:p>
        </p:txBody>
      </p:sp>
      <p:sp>
        <p:nvSpPr>
          <p:cNvPr id="71" name="Shape 79">
            <a:extLst>
              <a:ext uri="{FF2B5EF4-FFF2-40B4-BE49-F238E27FC236}">
                <a16:creationId xmlns:a16="http://schemas.microsoft.com/office/drawing/2014/main" id="{867B6C6E-1981-4469-BDCE-8681B7CD9F95}"/>
              </a:ext>
            </a:extLst>
          </p:cNvPr>
          <p:cNvSpPr>
            <a:spLocks noChangeArrowheads="1"/>
          </p:cNvSpPr>
          <p:nvPr/>
        </p:nvSpPr>
        <p:spPr bwMode="auto">
          <a:xfrm>
            <a:off x="4735976" y="2784721"/>
            <a:ext cx="104161" cy="104169"/>
          </a:xfrm>
          <a:prstGeom prst="ellipse">
            <a:avLst/>
          </a:prstGeom>
          <a:solidFill>
            <a:schemeClr val="accent1">
              <a:lumMod val="100000"/>
            </a:schemeClr>
          </a:solidFill>
          <a:ln>
            <a:noFill/>
          </a:ln>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0677C7"/>
              </a:solidFill>
              <a:effectLst/>
              <a:uLnTx/>
              <a:uFillTx/>
              <a:latin typeface="Arial"/>
              <a:cs typeface="+mn-ea"/>
              <a:sym typeface="+mn-lt"/>
            </a:endParaRPr>
          </a:p>
        </p:txBody>
      </p:sp>
      <p:sp>
        <p:nvSpPr>
          <p:cNvPr id="72" name="Shape 80">
            <a:extLst>
              <a:ext uri="{FF2B5EF4-FFF2-40B4-BE49-F238E27FC236}">
                <a16:creationId xmlns:a16="http://schemas.microsoft.com/office/drawing/2014/main" id="{D261C6F9-166D-4C47-86D5-BF33F033107F}"/>
              </a:ext>
            </a:extLst>
          </p:cNvPr>
          <p:cNvSpPr>
            <a:spLocks noChangeArrowheads="1"/>
          </p:cNvSpPr>
          <p:nvPr/>
        </p:nvSpPr>
        <p:spPr bwMode="auto">
          <a:xfrm>
            <a:off x="6435200" y="2265754"/>
            <a:ext cx="104162" cy="104169"/>
          </a:xfrm>
          <a:prstGeom prst="ellipse">
            <a:avLst/>
          </a:prstGeom>
          <a:solidFill>
            <a:schemeClr val="accent1">
              <a:lumMod val="100000"/>
            </a:schemeClr>
          </a:solidFill>
          <a:ln>
            <a:noFill/>
          </a:ln>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0677C7"/>
              </a:solidFill>
              <a:effectLst/>
              <a:uLnTx/>
              <a:uFillTx/>
              <a:latin typeface="Arial"/>
              <a:cs typeface="+mn-ea"/>
              <a:sym typeface="+mn-lt"/>
            </a:endParaRPr>
          </a:p>
        </p:txBody>
      </p:sp>
      <p:sp>
        <p:nvSpPr>
          <p:cNvPr id="73" name="Shape 81">
            <a:extLst>
              <a:ext uri="{FF2B5EF4-FFF2-40B4-BE49-F238E27FC236}">
                <a16:creationId xmlns:a16="http://schemas.microsoft.com/office/drawing/2014/main" id="{BFC73ED1-740F-4BFA-A01D-0D8E8DA0AF03}"/>
              </a:ext>
            </a:extLst>
          </p:cNvPr>
          <p:cNvSpPr>
            <a:spLocks noChangeArrowheads="1"/>
          </p:cNvSpPr>
          <p:nvPr/>
        </p:nvSpPr>
        <p:spPr bwMode="auto">
          <a:xfrm>
            <a:off x="6911292" y="2784721"/>
            <a:ext cx="104162" cy="104169"/>
          </a:xfrm>
          <a:prstGeom prst="ellipse">
            <a:avLst/>
          </a:prstGeom>
          <a:solidFill>
            <a:schemeClr val="accent1">
              <a:lumMod val="100000"/>
            </a:schemeClr>
          </a:solidFill>
          <a:ln>
            <a:noFill/>
          </a:ln>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0677C7"/>
              </a:solidFill>
              <a:effectLst/>
              <a:uLnTx/>
              <a:uFillTx/>
              <a:latin typeface="Arial"/>
              <a:cs typeface="+mn-ea"/>
              <a:sym typeface="+mn-lt"/>
            </a:endParaRPr>
          </a:p>
        </p:txBody>
      </p:sp>
      <p:sp>
        <p:nvSpPr>
          <p:cNvPr id="74" name="Shape 82">
            <a:extLst>
              <a:ext uri="{FF2B5EF4-FFF2-40B4-BE49-F238E27FC236}">
                <a16:creationId xmlns:a16="http://schemas.microsoft.com/office/drawing/2014/main" id="{BF608BA7-007D-44B5-8D5F-0AB511B38342}"/>
              </a:ext>
            </a:extLst>
          </p:cNvPr>
          <p:cNvSpPr>
            <a:spLocks noChangeArrowheads="1"/>
          </p:cNvSpPr>
          <p:nvPr/>
        </p:nvSpPr>
        <p:spPr bwMode="auto">
          <a:xfrm>
            <a:off x="4487675" y="2215247"/>
            <a:ext cx="1824191" cy="205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altLang="ru-RU" sz="1000" b="0" i="0" u="none" strike="noStrike" kern="1200" cap="none" spc="0" normalizeH="0" baseline="0" noProof="0" dirty="0" err="1">
                <a:ln>
                  <a:noFill/>
                </a:ln>
                <a:solidFill>
                  <a:srgbClr val="009FDE"/>
                </a:solidFill>
                <a:effectLst/>
                <a:uLnTx/>
                <a:uFillTx/>
                <a:latin typeface="Arial"/>
                <a:cs typeface="+mn-ea"/>
                <a:sym typeface="+mn-lt"/>
              </a:rPr>
              <a:t>Fish</a:t>
            </a:r>
            <a:r>
              <a:rPr kumimoji="0" lang="ru-RU" altLang="ru-RU" sz="1000" b="0" i="0" u="none" strike="noStrike" kern="1200" cap="none" spc="0" normalizeH="0" baseline="0" noProof="0" dirty="0">
                <a:ln>
                  <a:noFill/>
                </a:ln>
                <a:solidFill>
                  <a:srgbClr val="009FDE"/>
                </a:solidFill>
                <a:effectLst/>
                <a:uLnTx/>
                <a:uFillTx/>
                <a:latin typeface="Arial"/>
                <a:cs typeface="+mn-ea"/>
                <a:sym typeface="+mn-lt"/>
              </a:rPr>
              <a:t> </a:t>
            </a:r>
            <a:r>
              <a:rPr kumimoji="0" lang="ru-RU" altLang="ru-RU" sz="1000" b="0" i="0" u="none" strike="noStrike" kern="1200" cap="none" spc="0" normalizeH="0" baseline="0" noProof="0" dirty="0" err="1">
                <a:ln>
                  <a:noFill/>
                </a:ln>
                <a:solidFill>
                  <a:srgbClr val="009FDE"/>
                </a:solidFill>
                <a:effectLst/>
                <a:uLnTx/>
                <a:uFillTx/>
                <a:latin typeface="Arial"/>
                <a:cs typeface="+mn-ea"/>
                <a:sym typeface="+mn-lt"/>
              </a:rPr>
              <a:t>bone</a:t>
            </a:r>
            <a:r>
              <a:rPr kumimoji="0" lang="ru-RU" altLang="ru-RU" sz="1000" b="0" i="0" u="none" strike="noStrike" kern="1200" cap="none" spc="0" normalizeH="0" baseline="0" noProof="0" dirty="0">
                <a:ln>
                  <a:noFill/>
                </a:ln>
                <a:solidFill>
                  <a:srgbClr val="009FDE"/>
                </a:solidFill>
                <a:effectLst/>
                <a:uLnTx/>
                <a:uFillTx/>
                <a:latin typeface="Arial"/>
                <a:cs typeface="+mn-ea"/>
                <a:sym typeface="+mn-lt"/>
              </a:rPr>
              <a:t> </a:t>
            </a:r>
            <a:r>
              <a:rPr kumimoji="0" lang="ru-RU" altLang="ru-RU" sz="1000" b="0" i="0" u="none" strike="noStrike" kern="1200" cap="none" spc="0" normalizeH="0" baseline="0" noProof="0" dirty="0" err="1">
                <a:ln>
                  <a:noFill/>
                </a:ln>
                <a:solidFill>
                  <a:srgbClr val="009FDE"/>
                </a:solidFill>
                <a:effectLst/>
                <a:uLnTx/>
                <a:uFillTx/>
                <a:latin typeface="Arial"/>
                <a:cs typeface="+mn-ea"/>
                <a:sym typeface="+mn-lt"/>
              </a:rPr>
              <a:t>text</a:t>
            </a:r>
            <a:r>
              <a:rPr kumimoji="0" lang="ru-RU" altLang="ru-RU" sz="1000" b="0" i="0" u="none" strike="noStrike" kern="1200" cap="none" spc="0" normalizeH="0" baseline="0" noProof="0" dirty="0">
                <a:ln>
                  <a:noFill/>
                </a:ln>
                <a:solidFill>
                  <a:srgbClr val="009FDE"/>
                </a:solidFill>
                <a:effectLst/>
                <a:uLnTx/>
                <a:uFillTx/>
                <a:latin typeface="Arial"/>
                <a:cs typeface="+mn-ea"/>
                <a:sym typeface="+mn-lt"/>
              </a:rPr>
              <a:t> </a:t>
            </a:r>
            <a:r>
              <a:rPr kumimoji="0" lang="ru-RU" altLang="ru-RU" sz="1000" b="0" i="0" u="none" strike="noStrike" kern="1200" cap="none" spc="0" normalizeH="0" baseline="0" noProof="0" dirty="0" err="1">
                <a:ln>
                  <a:noFill/>
                </a:ln>
                <a:solidFill>
                  <a:srgbClr val="009FDE"/>
                </a:solidFill>
                <a:effectLst/>
                <a:uLnTx/>
                <a:uFillTx/>
                <a:latin typeface="Arial"/>
                <a:cs typeface="+mn-ea"/>
                <a:sym typeface="+mn-lt"/>
              </a:rPr>
              <a:t>block</a:t>
            </a:r>
            <a:r>
              <a:rPr kumimoji="0" lang="ru-RU" altLang="ru-RU" sz="1000" b="0" i="0" u="none" strike="noStrike" kern="1200" cap="none" spc="0" normalizeH="0" baseline="0" noProof="0" dirty="0">
                <a:ln>
                  <a:noFill/>
                </a:ln>
                <a:solidFill>
                  <a:srgbClr val="009FDE"/>
                </a:solidFill>
                <a:effectLst/>
                <a:uLnTx/>
                <a:uFillTx/>
                <a:latin typeface="Arial"/>
                <a:cs typeface="+mn-ea"/>
                <a:sym typeface="+mn-lt"/>
              </a:rPr>
              <a:t> </a:t>
            </a:r>
          </a:p>
        </p:txBody>
      </p:sp>
      <p:sp>
        <p:nvSpPr>
          <p:cNvPr id="75" name="Shape 83">
            <a:extLst>
              <a:ext uri="{FF2B5EF4-FFF2-40B4-BE49-F238E27FC236}">
                <a16:creationId xmlns:a16="http://schemas.microsoft.com/office/drawing/2014/main" id="{A445D52F-6A80-4024-8481-A9E1A48658AA}"/>
              </a:ext>
            </a:extLst>
          </p:cNvPr>
          <p:cNvSpPr>
            <a:spLocks noChangeArrowheads="1"/>
          </p:cNvSpPr>
          <p:nvPr/>
        </p:nvSpPr>
        <p:spPr bwMode="auto">
          <a:xfrm>
            <a:off x="4962911" y="2730006"/>
            <a:ext cx="1824191" cy="205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altLang="ru-RU" sz="1000" b="0" i="0" u="none" strike="noStrike" kern="1200" cap="none" spc="0" normalizeH="0" baseline="0" noProof="0">
                <a:ln>
                  <a:noFill/>
                </a:ln>
                <a:solidFill>
                  <a:srgbClr val="009FDE"/>
                </a:solidFill>
                <a:effectLst/>
                <a:uLnTx/>
                <a:uFillTx/>
                <a:latin typeface="Arial"/>
                <a:cs typeface="+mn-ea"/>
                <a:sym typeface="+mn-lt"/>
              </a:rPr>
              <a:t>Fish bone text block </a:t>
            </a:r>
          </a:p>
        </p:txBody>
      </p:sp>
      <p:sp>
        <p:nvSpPr>
          <p:cNvPr id="76" name="Shape 84">
            <a:extLst>
              <a:ext uri="{FF2B5EF4-FFF2-40B4-BE49-F238E27FC236}">
                <a16:creationId xmlns:a16="http://schemas.microsoft.com/office/drawing/2014/main" id="{41024004-F080-4654-9A54-3D930E6607E8}"/>
              </a:ext>
            </a:extLst>
          </p:cNvPr>
          <p:cNvSpPr>
            <a:spLocks noChangeArrowheads="1"/>
          </p:cNvSpPr>
          <p:nvPr/>
        </p:nvSpPr>
        <p:spPr bwMode="auto">
          <a:xfrm>
            <a:off x="6657077" y="2215247"/>
            <a:ext cx="1824191" cy="205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altLang="ru-RU" sz="1000" b="0" i="0" u="none" strike="noStrike" kern="1200" cap="none" spc="0" normalizeH="0" baseline="0" noProof="0">
                <a:ln>
                  <a:noFill/>
                </a:ln>
                <a:solidFill>
                  <a:srgbClr val="0677C7"/>
                </a:solidFill>
                <a:effectLst/>
                <a:uLnTx/>
                <a:uFillTx/>
                <a:latin typeface="Arial"/>
                <a:cs typeface="+mn-ea"/>
                <a:sym typeface="+mn-lt"/>
              </a:rPr>
              <a:t>Fish bone text block </a:t>
            </a:r>
          </a:p>
        </p:txBody>
      </p:sp>
      <p:sp>
        <p:nvSpPr>
          <p:cNvPr id="77" name="Shape 85">
            <a:extLst>
              <a:ext uri="{FF2B5EF4-FFF2-40B4-BE49-F238E27FC236}">
                <a16:creationId xmlns:a16="http://schemas.microsoft.com/office/drawing/2014/main" id="{48B3B712-940E-484D-8344-9E03147C5A4E}"/>
              </a:ext>
            </a:extLst>
          </p:cNvPr>
          <p:cNvSpPr>
            <a:spLocks noChangeArrowheads="1"/>
          </p:cNvSpPr>
          <p:nvPr/>
        </p:nvSpPr>
        <p:spPr bwMode="auto">
          <a:xfrm>
            <a:off x="7132313" y="2730006"/>
            <a:ext cx="1824191" cy="205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altLang="ru-RU" sz="1000" b="0" i="0" u="none" strike="noStrike" kern="1200" cap="none" spc="0" normalizeH="0" baseline="0" noProof="0">
                <a:ln>
                  <a:noFill/>
                </a:ln>
                <a:solidFill>
                  <a:srgbClr val="0677C7"/>
                </a:solidFill>
                <a:effectLst/>
                <a:uLnTx/>
                <a:uFillTx/>
                <a:latin typeface="Arial"/>
                <a:cs typeface="+mn-ea"/>
                <a:sym typeface="+mn-lt"/>
              </a:rPr>
              <a:t>Fish bone text block </a:t>
            </a:r>
          </a:p>
        </p:txBody>
      </p:sp>
      <p:sp>
        <p:nvSpPr>
          <p:cNvPr id="78" name="Shape 86">
            <a:extLst>
              <a:ext uri="{FF2B5EF4-FFF2-40B4-BE49-F238E27FC236}">
                <a16:creationId xmlns:a16="http://schemas.microsoft.com/office/drawing/2014/main" id="{F8586CF9-8851-4534-9D03-E5998AD2DE6B}"/>
              </a:ext>
            </a:extLst>
          </p:cNvPr>
          <p:cNvSpPr>
            <a:spLocks noChangeArrowheads="1"/>
          </p:cNvSpPr>
          <p:nvPr/>
        </p:nvSpPr>
        <p:spPr bwMode="auto">
          <a:xfrm>
            <a:off x="3884612" y="3883595"/>
            <a:ext cx="1824191" cy="205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altLang="ru-RU" sz="1000" b="0" i="0" u="none" strike="noStrike" kern="1200" cap="none" spc="0" normalizeH="0" baseline="0" noProof="0">
                <a:ln>
                  <a:noFill/>
                </a:ln>
                <a:solidFill>
                  <a:srgbClr val="13668E"/>
                </a:solidFill>
                <a:effectLst/>
                <a:uLnTx/>
                <a:uFillTx/>
                <a:latin typeface="Arial"/>
                <a:cs typeface="+mn-ea"/>
                <a:sym typeface="+mn-lt"/>
              </a:rPr>
              <a:t>Fish bone text block </a:t>
            </a:r>
          </a:p>
        </p:txBody>
      </p:sp>
      <p:sp>
        <p:nvSpPr>
          <p:cNvPr id="79" name="Shape 87">
            <a:extLst>
              <a:ext uri="{FF2B5EF4-FFF2-40B4-BE49-F238E27FC236}">
                <a16:creationId xmlns:a16="http://schemas.microsoft.com/office/drawing/2014/main" id="{B50269A6-CBCC-4AA8-B93E-E022EEA31797}"/>
              </a:ext>
            </a:extLst>
          </p:cNvPr>
          <p:cNvSpPr>
            <a:spLocks noChangeArrowheads="1"/>
          </p:cNvSpPr>
          <p:nvPr/>
        </p:nvSpPr>
        <p:spPr bwMode="auto">
          <a:xfrm>
            <a:off x="3426417" y="4398354"/>
            <a:ext cx="1824192" cy="205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altLang="ru-RU" sz="1000" b="0" i="0" u="none" strike="noStrike" kern="1200" cap="none" spc="0" normalizeH="0" baseline="0" noProof="0">
                <a:ln>
                  <a:noFill/>
                </a:ln>
                <a:solidFill>
                  <a:srgbClr val="13668E"/>
                </a:solidFill>
                <a:effectLst/>
                <a:uLnTx/>
                <a:uFillTx/>
                <a:latin typeface="Arial"/>
                <a:cs typeface="+mn-ea"/>
                <a:sym typeface="+mn-lt"/>
              </a:rPr>
              <a:t>Fish bone text block </a:t>
            </a:r>
          </a:p>
        </p:txBody>
      </p:sp>
      <p:sp>
        <p:nvSpPr>
          <p:cNvPr id="80" name="Shape 88">
            <a:extLst>
              <a:ext uri="{FF2B5EF4-FFF2-40B4-BE49-F238E27FC236}">
                <a16:creationId xmlns:a16="http://schemas.microsoft.com/office/drawing/2014/main" id="{0A25CE0D-BD6A-49A5-8D27-67ABEE6A287F}"/>
              </a:ext>
            </a:extLst>
          </p:cNvPr>
          <p:cNvSpPr>
            <a:spLocks noChangeArrowheads="1"/>
          </p:cNvSpPr>
          <p:nvPr/>
        </p:nvSpPr>
        <p:spPr bwMode="auto">
          <a:xfrm>
            <a:off x="6062616" y="3883595"/>
            <a:ext cx="1824191" cy="205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altLang="ru-RU" sz="1000" b="0" i="0" u="none" strike="noStrike" kern="1200" cap="none" spc="0" normalizeH="0" baseline="0" noProof="0">
                <a:ln>
                  <a:noFill/>
                </a:ln>
                <a:solidFill>
                  <a:srgbClr val="0677C7"/>
                </a:solidFill>
                <a:effectLst/>
                <a:uLnTx/>
                <a:uFillTx/>
                <a:latin typeface="Arial"/>
                <a:cs typeface="+mn-ea"/>
                <a:sym typeface="+mn-lt"/>
              </a:rPr>
              <a:t>Fish bone text block </a:t>
            </a:r>
          </a:p>
        </p:txBody>
      </p:sp>
      <p:sp>
        <p:nvSpPr>
          <p:cNvPr id="81" name="Shape 89">
            <a:extLst>
              <a:ext uri="{FF2B5EF4-FFF2-40B4-BE49-F238E27FC236}">
                <a16:creationId xmlns:a16="http://schemas.microsoft.com/office/drawing/2014/main" id="{EEAFAAD4-579A-41DD-BA93-27F8E6CEDE2D}"/>
              </a:ext>
            </a:extLst>
          </p:cNvPr>
          <p:cNvSpPr>
            <a:spLocks noChangeArrowheads="1"/>
          </p:cNvSpPr>
          <p:nvPr/>
        </p:nvSpPr>
        <p:spPr bwMode="auto">
          <a:xfrm>
            <a:off x="5604421" y="4398354"/>
            <a:ext cx="1824192" cy="205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altLang="ru-RU" sz="1000" b="0" i="0" u="none" strike="noStrike" kern="1200" cap="none" spc="0" normalizeH="0" baseline="0" noProof="0">
                <a:ln>
                  <a:noFill/>
                </a:ln>
                <a:solidFill>
                  <a:srgbClr val="0677C7"/>
                </a:solidFill>
                <a:effectLst/>
                <a:uLnTx/>
                <a:uFillTx/>
                <a:latin typeface="Arial"/>
                <a:cs typeface="+mn-ea"/>
                <a:sym typeface="+mn-lt"/>
              </a:rPr>
              <a:t>Fish bone text block </a:t>
            </a:r>
          </a:p>
        </p:txBody>
      </p:sp>
      <p:sp>
        <p:nvSpPr>
          <p:cNvPr id="82" name="Shape 90">
            <a:extLst>
              <a:ext uri="{FF2B5EF4-FFF2-40B4-BE49-F238E27FC236}">
                <a16:creationId xmlns:a16="http://schemas.microsoft.com/office/drawing/2014/main" id="{59A10B10-58AA-4479-85C0-7C429B3B8E28}"/>
              </a:ext>
            </a:extLst>
          </p:cNvPr>
          <p:cNvSpPr>
            <a:spLocks/>
          </p:cNvSpPr>
          <p:nvPr/>
        </p:nvSpPr>
        <p:spPr bwMode="auto">
          <a:xfrm>
            <a:off x="4803864" y="5133936"/>
            <a:ext cx="130370" cy="122885"/>
          </a:xfrm>
          <a:custGeom>
            <a:avLst/>
            <a:gdLst>
              <a:gd name="T0" fmla="*/ 18998328 w 21600"/>
              <a:gd name="T1" fmla="*/ 15906903 h 21600"/>
              <a:gd name="T2" fmla="*/ 18998328 w 21600"/>
              <a:gd name="T3" fmla="*/ 15906903 h 21600"/>
              <a:gd name="T4" fmla="*/ 18998328 w 21600"/>
              <a:gd name="T5" fmla="*/ 15906903 h 21600"/>
              <a:gd name="T6" fmla="*/ 18998328 w 21600"/>
              <a:gd name="T7" fmla="*/ 15906903 h 21600"/>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21600" h="21600" extrusionOk="0">
                <a:moveTo>
                  <a:pt x="10901" y="17459"/>
                </a:moveTo>
                <a:lnTo>
                  <a:pt x="17497" y="21600"/>
                </a:lnTo>
                <a:lnTo>
                  <a:pt x="15848" y="13532"/>
                </a:lnTo>
                <a:lnTo>
                  <a:pt x="21600" y="8281"/>
                </a:lnTo>
                <a:lnTo>
                  <a:pt x="13797" y="7428"/>
                </a:lnTo>
                <a:lnTo>
                  <a:pt x="10901" y="0"/>
                </a:lnTo>
                <a:lnTo>
                  <a:pt x="7844" y="7428"/>
                </a:lnTo>
                <a:lnTo>
                  <a:pt x="0" y="8281"/>
                </a:lnTo>
                <a:lnTo>
                  <a:pt x="5993" y="13532"/>
                </a:lnTo>
                <a:lnTo>
                  <a:pt x="4143" y="21600"/>
                </a:lnTo>
                <a:lnTo>
                  <a:pt x="10901" y="17459"/>
                </a:lnTo>
              </a:path>
            </a:pathLst>
          </a:custGeom>
          <a:solidFill>
            <a:schemeClr val="accent1">
              <a:lumMod val="100000"/>
            </a:schemeClr>
          </a:solidFill>
          <a:ln>
            <a:noFill/>
          </a:ln>
        </p:spPr>
        <p:txBody>
          <a:bodyPr lIns="22860" tIns="22860" rIns="22860" bIns="2286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500" b="0" i="0" u="none" strike="noStrike" kern="1200" cap="none" spc="0" normalizeH="0" baseline="0" noProof="0">
              <a:ln>
                <a:noFill/>
              </a:ln>
              <a:solidFill>
                <a:srgbClr val="FFFFFF"/>
              </a:solidFill>
              <a:effectLst/>
              <a:uLnTx/>
              <a:uFillTx/>
              <a:latin typeface="Arial"/>
              <a:cs typeface="+mn-ea"/>
              <a:sym typeface="+mn-lt"/>
            </a:endParaRPr>
          </a:p>
        </p:txBody>
      </p:sp>
      <p:sp>
        <p:nvSpPr>
          <p:cNvPr id="83" name="Shape 91">
            <a:extLst>
              <a:ext uri="{FF2B5EF4-FFF2-40B4-BE49-F238E27FC236}">
                <a16:creationId xmlns:a16="http://schemas.microsoft.com/office/drawing/2014/main" id="{11D17822-BD26-4BBA-916A-5B6445C479B1}"/>
              </a:ext>
            </a:extLst>
          </p:cNvPr>
          <p:cNvSpPr>
            <a:spLocks/>
          </p:cNvSpPr>
          <p:nvPr/>
        </p:nvSpPr>
        <p:spPr bwMode="auto">
          <a:xfrm>
            <a:off x="5916501" y="1553680"/>
            <a:ext cx="127923" cy="129309"/>
          </a:xfrm>
          <a:custGeom>
            <a:avLst/>
            <a:gdLst>
              <a:gd name="T0" fmla="*/ 18033594 w 21549"/>
              <a:gd name="T1" fmla="*/ 18533957 h 21600"/>
              <a:gd name="T2" fmla="*/ 18033594 w 21549"/>
              <a:gd name="T3" fmla="*/ 18533957 h 21600"/>
              <a:gd name="T4" fmla="*/ 18033594 w 21549"/>
              <a:gd name="T5" fmla="*/ 18533957 h 21600"/>
              <a:gd name="T6" fmla="*/ 18033594 w 21549"/>
              <a:gd name="T7" fmla="*/ 18533957 h 21600"/>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21549" h="21600" extrusionOk="0">
                <a:moveTo>
                  <a:pt x="18684" y="11815"/>
                </a:moveTo>
                <a:cubicBezTo>
                  <a:pt x="18684" y="11612"/>
                  <a:pt x="18890" y="11206"/>
                  <a:pt x="18890" y="10800"/>
                </a:cubicBezTo>
                <a:cubicBezTo>
                  <a:pt x="18890" y="10394"/>
                  <a:pt x="18890" y="9947"/>
                  <a:pt x="18684" y="9744"/>
                </a:cubicBezTo>
                <a:lnTo>
                  <a:pt x="20984" y="7877"/>
                </a:lnTo>
                <a:cubicBezTo>
                  <a:pt x="21395" y="7674"/>
                  <a:pt x="21395" y="7471"/>
                  <a:pt x="21189" y="7268"/>
                </a:cubicBezTo>
                <a:lnTo>
                  <a:pt x="19095" y="3329"/>
                </a:lnTo>
                <a:cubicBezTo>
                  <a:pt x="18890" y="3329"/>
                  <a:pt x="18684" y="3126"/>
                  <a:pt x="18233" y="3329"/>
                </a:cubicBezTo>
                <a:lnTo>
                  <a:pt x="15522" y="4344"/>
                </a:lnTo>
                <a:cubicBezTo>
                  <a:pt x="15112" y="3938"/>
                  <a:pt x="14455" y="3735"/>
                  <a:pt x="13633" y="3329"/>
                </a:cubicBezTo>
                <a:lnTo>
                  <a:pt x="13223" y="406"/>
                </a:lnTo>
                <a:cubicBezTo>
                  <a:pt x="13428" y="203"/>
                  <a:pt x="13017" y="0"/>
                  <a:pt x="12771" y="0"/>
                </a:cubicBezTo>
                <a:lnTo>
                  <a:pt x="8377" y="0"/>
                </a:lnTo>
                <a:cubicBezTo>
                  <a:pt x="8172" y="0"/>
                  <a:pt x="7967" y="203"/>
                  <a:pt x="7967" y="406"/>
                </a:cubicBezTo>
                <a:lnTo>
                  <a:pt x="7556" y="3329"/>
                </a:lnTo>
                <a:cubicBezTo>
                  <a:pt x="6694" y="3532"/>
                  <a:pt x="6283" y="3938"/>
                  <a:pt x="5667" y="4344"/>
                </a:cubicBezTo>
                <a:lnTo>
                  <a:pt x="2916" y="3329"/>
                </a:lnTo>
                <a:cubicBezTo>
                  <a:pt x="2710" y="3126"/>
                  <a:pt x="2505" y="3329"/>
                  <a:pt x="2300" y="3532"/>
                </a:cubicBezTo>
                <a:lnTo>
                  <a:pt x="0" y="7268"/>
                </a:lnTo>
                <a:cubicBezTo>
                  <a:pt x="0" y="7471"/>
                  <a:pt x="0" y="7674"/>
                  <a:pt x="205" y="7877"/>
                </a:cubicBezTo>
                <a:lnTo>
                  <a:pt x="2505" y="9744"/>
                </a:lnTo>
                <a:cubicBezTo>
                  <a:pt x="2505" y="9947"/>
                  <a:pt x="2505" y="10394"/>
                  <a:pt x="2505" y="10800"/>
                </a:cubicBezTo>
                <a:cubicBezTo>
                  <a:pt x="2505" y="11206"/>
                  <a:pt x="2505" y="11612"/>
                  <a:pt x="2505" y="11815"/>
                </a:cubicBezTo>
                <a:lnTo>
                  <a:pt x="205" y="13683"/>
                </a:lnTo>
                <a:cubicBezTo>
                  <a:pt x="0" y="13926"/>
                  <a:pt x="0" y="14129"/>
                  <a:pt x="205" y="14332"/>
                </a:cubicBezTo>
                <a:lnTo>
                  <a:pt x="2300" y="18271"/>
                </a:lnTo>
                <a:cubicBezTo>
                  <a:pt x="2505" y="18271"/>
                  <a:pt x="2710" y="18474"/>
                  <a:pt x="2916" y="18271"/>
                </a:cubicBezTo>
                <a:lnTo>
                  <a:pt x="5667" y="17215"/>
                </a:lnTo>
                <a:cubicBezTo>
                  <a:pt x="6283" y="17621"/>
                  <a:pt x="6899" y="18068"/>
                  <a:pt x="7556" y="18271"/>
                </a:cubicBezTo>
                <a:lnTo>
                  <a:pt x="7967" y="21153"/>
                </a:lnTo>
                <a:cubicBezTo>
                  <a:pt x="7967" y="21356"/>
                  <a:pt x="8172" y="21600"/>
                  <a:pt x="8583" y="21600"/>
                </a:cubicBezTo>
                <a:lnTo>
                  <a:pt x="13017" y="21600"/>
                </a:lnTo>
                <a:cubicBezTo>
                  <a:pt x="13223" y="21600"/>
                  <a:pt x="13428" y="21356"/>
                  <a:pt x="13428" y="21153"/>
                </a:cubicBezTo>
                <a:lnTo>
                  <a:pt x="13839" y="18271"/>
                </a:lnTo>
                <a:cubicBezTo>
                  <a:pt x="14660" y="18068"/>
                  <a:pt x="15317" y="17621"/>
                  <a:pt x="15728" y="17215"/>
                </a:cubicBezTo>
                <a:lnTo>
                  <a:pt x="18438" y="18271"/>
                </a:lnTo>
                <a:cubicBezTo>
                  <a:pt x="18684" y="18474"/>
                  <a:pt x="19095" y="18271"/>
                  <a:pt x="19300" y="18068"/>
                </a:cubicBezTo>
                <a:lnTo>
                  <a:pt x="21395" y="14332"/>
                </a:lnTo>
                <a:cubicBezTo>
                  <a:pt x="21600" y="14129"/>
                  <a:pt x="21600" y="13683"/>
                  <a:pt x="21395" y="13683"/>
                </a:cubicBezTo>
                <a:lnTo>
                  <a:pt x="18684" y="11815"/>
                </a:lnTo>
                <a:close/>
                <a:moveTo>
                  <a:pt x="10677" y="14535"/>
                </a:moveTo>
                <a:cubicBezTo>
                  <a:pt x="8583" y="14535"/>
                  <a:pt x="6694" y="12871"/>
                  <a:pt x="6694" y="10800"/>
                </a:cubicBezTo>
                <a:cubicBezTo>
                  <a:pt x="6694" y="8729"/>
                  <a:pt x="8583" y="7065"/>
                  <a:pt x="10677" y="7065"/>
                </a:cubicBezTo>
                <a:cubicBezTo>
                  <a:pt x="12771" y="7065"/>
                  <a:pt x="14455" y="8729"/>
                  <a:pt x="14455" y="10800"/>
                </a:cubicBezTo>
                <a:cubicBezTo>
                  <a:pt x="14455" y="12871"/>
                  <a:pt x="12771" y="14535"/>
                  <a:pt x="10677" y="14535"/>
                </a:cubicBezTo>
                <a:close/>
              </a:path>
            </a:pathLst>
          </a:custGeom>
          <a:solidFill>
            <a:schemeClr val="accent1">
              <a:lumMod val="100000"/>
            </a:schemeClr>
          </a:solidFill>
          <a:ln>
            <a:noFill/>
          </a:ln>
        </p:spPr>
        <p:txBody>
          <a:bodyPr lIns="22860" tIns="22860" rIns="22860" bIns="2286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500" b="0" i="0" u="none" strike="noStrike" kern="1200" cap="none" spc="0" normalizeH="0" baseline="0" noProof="0">
              <a:ln>
                <a:noFill/>
              </a:ln>
              <a:solidFill>
                <a:srgbClr val="FFFFFF"/>
              </a:solidFill>
              <a:effectLst/>
              <a:uLnTx/>
              <a:uFillTx/>
              <a:latin typeface="Arial"/>
              <a:cs typeface="+mn-ea"/>
              <a:sym typeface="+mn-lt"/>
            </a:endParaRPr>
          </a:p>
        </p:txBody>
      </p:sp>
      <p:sp>
        <p:nvSpPr>
          <p:cNvPr id="84" name="Shape 92">
            <a:extLst>
              <a:ext uri="{FF2B5EF4-FFF2-40B4-BE49-F238E27FC236}">
                <a16:creationId xmlns:a16="http://schemas.microsoft.com/office/drawing/2014/main" id="{7A238FFE-03AA-4DD3-B9D8-C92560715C0D}"/>
              </a:ext>
            </a:extLst>
          </p:cNvPr>
          <p:cNvSpPr>
            <a:spLocks/>
          </p:cNvSpPr>
          <p:nvPr/>
        </p:nvSpPr>
        <p:spPr bwMode="auto">
          <a:xfrm>
            <a:off x="2655560" y="5134780"/>
            <a:ext cx="127923" cy="117489"/>
          </a:xfrm>
          <a:custGeom>
            <a:avLst/>
            <a:gdLst>
              <a:gd name="T0" fmla="*/ 17948527 w 21600"/>
              <a:gd name="T1" fmla="*/ 13902014 h 21600"/>
              <a:gd name="T2" fmla="*/ 17948527 w 21600"/>
              <a:gd name="T3" fmla="*/ 13902014 h 21600"/>
              <a:gd name="T4" fmla="*/ 17948527 w 21600"/>
              <a:gd name="T5" fmla="*/ 13902014 h 21600"/>
              <a:gd name="T6" fmla="*/ 17948527 w 21600"/>
              <a:gd name="T7" fmla="*/ 13902014 h 21600"/>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21600" h="21600" extrusionOk="0">
                <a:moveTo>
                  <a:pt x="0" y="21600"/>
                </a:moveTo>
                <a:lnTo>
                  <a:pt x="3950" y="21600"/>
                </a:lnTo>
                <a:lnTo>
                  <a:pt x="3950" y="8656"/>
                </a:lnTo>
                <a:lnTo>
                  <a:pt x="0" y="8656"/>
                </a:lnTo>
                <a:lnTo>
                  <a:pt x="0" y="21600"/>
                </a:lnTo>
                <a:close/>
                <a:moveTo>
                  <a:pt x="21600" y="9649"/>
                </a:moveTo>
                <a:cubicBezTo>
                  <a:pt x="21600" y="8418"/>
                  <a:pt x="20658" y="7624"/>
                  <a:pt x="19534" y="7624"/>
                </a:cubicBezTo>
                <a:lnTo>
                  <a:pt x="13337" y="7624"/>
                </a:lnTo>
                <a:lnTo>
                  <a:pt x="14460" y="2462"/>
                </a:lnTo>
                <a:lnTo>
                  <a:pt x="14460" y="2263"/>
                </a:lnTo>
                <a:cubicBezTo>
                  <a:pt x="14460" y="1826"/>
                  <a:pt x="14279" y="1429"/>
                  <a:pt x="14098" y="1032"/>
                </a:cubicBezTo>
                <a:lnTo>
                  <a:pt x="12974" y="0"/>
                </a:lnTo>
                <a:lnTo>
                  <a:pt x="6379" y="6988"/>
                </a:lnTo>
                <a:cubicBezTo>
                  <a:pt x="6016" y="7385"/>
                  <a:pt x="5835" y="8021"/>
                  <a:pt x="5835" y="8656"/>
                </a:cubicBezTo>
                <a:lnTo>
                  <a:pt x="5835" y="19337"/>
                </a:lnTo>
                <a:cubicBezTo>
                  <a:pt x="5835" y="20568"/>
                  <a:pt x="6777" y="21600"/>
                  <a:pt x="7901" y="21600"/>
                </a:cubicBezTo>
                <a:lnTo>
                  <a:pt x="16707" y="21600"/>
                </a:lnTo>
                <a:cubicBezTo>
                  <a:pt x="17468" y="21600"/>
                  <a:pt x="18230" y="21004"/>
                  <a:pt x="18411" y="20171"/>
                </a:cubicBezTo>
                <a:lnTo>
                  <a:pt x="21419" y="12547"/>
                </a:lnTo>
                <a:cubicBezTo>
                  <a:pt x="21419" y="12349"/>
                  <a:pt x="21419" y="12150"/>
                  <a:pt x="21419" y="11713"/>
                </a:cubicBezTo>
                <a:lnTo>
                  <a:pt x="21419" y="9649"/>
                </a:lnTo>
                <a:lnTo>
                  <a:pt x="21600" y="9649"/>
                </a:lnTo>
                <a:close/>
              </a:path>
            </a:pathLst>
          </a:custGeom>
          <a:solidFill>
            <a:schemeClr val="accent1">
              <a:lumMod val="100000"/>
            </a:schemeClr>
          </a:solidFill>
          <a:ln>
            <a:noFill/>
          </a:ln>
        </p:spPr>
        <p:txBody>
          <a:bodyPr lIns="22860" tIns="22860" rIns="22860" bIns="2286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500" b="0" i="0" u="none" strike="noStrike" kern="1200" cap="none" spc="0" normalizeH="0" baseline="0" noProof="0">
              <a:ln>
                <a:noFill/>
              </a:ln>
              <a:solidFill>
                <a:srgbClr val="FFFFFF"/>
              </a:solidFill>
              <a:effectLst/>
              <a:uLnTx/>
              <a:uFillTx/>
              <a:latin typeface="Arial"/>
              <a:cs typeface="+mn-ea"/>
              <a:sym typeface="+mn-lt"/>
            </a:endParaRPr>
          </a:p>
        </p:txBody>
      </p:sp>
      <p:sp>
        <p:nvSpPr>
          <p:cNvPr id="85" name="Shape 93">
            <a:extLst>
              <a:ext uri="{FF2B5EF4-FFF2-40B4-BE49-F238E27FC236}">
                <a16:creationId xmlns:a16="http://schemas.microsoft.com/office/drawing/2014/main" id="{903DDC8C-AC3A-45D2-AE47-0574CFF6907E}"/>
              </a:ext>
            </a:extLst>
          </p:cNvPr>
          <p:cNvSpPr>
            <a:spLocks/>
          </p:cNvSpPr>
          <p:nvPr/>
        </p:nvSpPr>
        <p:spPr bwMode="auto">
          <a:xfrm>
            <a:off x="3744046" y="1569110"/>
            <a:ext cx="144067" cy="98448"/>
          </a:xfrm>
          <a:custGeom>
            <a:avLst/>
            <a:gdLst>
              <a:gd name="T0" fmla="*/ 25637706 w 21600"/>
              <a:gd name="T1" fmla="*/ 8179297 h 21600"/>
              <a:gd name="T2" fmla="*/ 25637706 w 21600"/>
              <a:gd name="T3" fmla="*/ 8179297 h 21600"/>
              <a:gd name="T4" fmla="*/ 25637706 w 21600"/>
              <a:gd name="T5" fmla="*/ 8179297 h 21600"/>
              <a:gd name="T6" fmla="*/ 25637706 w 21600"/>
              <a:gd name="T7" fmla="*/ 8179297 h 21600"/>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21600" h="21600" extrusionOk="0">
                <a:moveTo>
                  <a:pt x="10710" y="0"/>
                </a:moveTo>
                <a:cubicBezTo>
                  <a:pt x="5825" y="0"/>
                  <a:pt x="1520" y="4689"/>
                  <a:pt x="0" y="10958"/>
                </a:cubicBezTo>
                <a:cubicBezTo>
                  <a:pt x="1520" y="17227"/>
                  <a:pt x="5825" y="21600"/>
                  <a:pt x="10710" y="21600"/>
                </a:cubicBezTo>
                <a:cubicBezTo>
                  <a:pt x="15594" y="21600"/>
                  <a:pt x="19899" y="17227"/>
                  <a:pt x="21600" y="10958"/>
                </a:cubicBezTo>
                <a:cubicBezTo>
                  <a:pt x="19899" y="4689"/>
                  <a:pt x="15594" y="0"/>
                  <a:pt x="10710" y="0"/>
                </a:cubicBezTo>
                <a:close/>
                <a:moveTo>
                  <a:pt x="10710" y="18070"/>
                </a:moveTo>
                <a:cubicBezTo>
                  <a:pt x="7887" y="18070"/>
                  <a:pt x="5825" y="14909"/>
                  <a:pt x="5825" y="10958"/>
                </a:cubicBezTo>
                <a:cubicBezTo>
                  <a:pt x="5825" y="7007"/>
                  <a:pt x="7887" y="3846"/>
                  <a:pt x="10710" y="3846"/>
                </a:cubicBezTo>
                <a:cubicBezTo>
                  <a:pt x="13532" y="3846"/>
                  <a:pt x="15594" y="7007"/>
                  <a:pt x="15594" y="10958"/>
                </a:cubicBezTo>
                <a:cubicBezTo>
                  <a:pt x="15594" y="14909"/>
                  <a:pt x="13532" y="18070"/>
                  <a:pt x="10710" y="18070"/>
                </a:cubicBezTo>
                <a:close/>
                <a:moveTo>
                  <a:pt x="10710" y="6585"/>
                </a:moveTo>
                <a:cubicBezTo>
                  <a:pt x="9009" y="6585"/>
                  <a:pt x="7707" y="8482"/>
                  <a:pt x="7707" y="10958"/>
                </a:cubicBezTo>
                <a:cubicBezTo>
                  <a:pt x="7707" y="13381"/>
                  <a:pt x="9009" y="15067"/>
                  <a:pt x="10710" y="15067"/>
                </a:cubicBezTo>
                <a:cubicBezTo>
                  <a:pt x="12410" y="15067"/>
                  <a:pt x="13713" y="13381"/>
                  <a:pt x="13713" y="10958"/>
                </a:cubicBezTo>
                <a:cubicBezTo>
                  <a:pt x="13713" y="8482"/>
                  <a:pt x="12410" y="6585"/>
                  <a:pt x="10710" y="6585"/>
                </a:cubicBezTo>
                <a:close/>
              </a:path>
            </a:pathLst>
          </a:custGeom>
          <a:solidFill>
            <a:schemeClr val="accent1">
              <a:lumMod val="100000"/>
            </a:schemeClr>
          </a:solidFill>
          <a:ln>
            <a:noFill/>
          </a:ln>
        </p:spPr>
        <p:txBody>
          <a:bodyPr lIns="22860" tIns="22860" rIns="22860" bIns="2286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500" b="0" i="0" u="none" strike="noStrike" kern="1200" cap="none" spc="0" normalizeH="0" baseline="0" noProof="0">
              <a:ln>
                <a:noFill/>
              </a:ln>
              <a:solidFill>
                <a:srgbClr val="FFFFFF"/>
              </a:solidFill>
              <a:effectLst/>
              <a:uLnTx/>
              <a:uFillTx/>
              <a:latin typeface="Arial"/>
              <a:cs typeface="+mn-ea"/>
              <a:sym typeface="+mn-lt"/>
            </a:endParaRPr>
          </a:p>
        </p:txBody>
      </p:sp>
    </p:spTree>
    <p:extLst>
      <p:ext uri="{BB962C8B-B14F-4D97-AF65-F5344CB8AC3E}">
        <p14:creationId xmlns:p14="http://schemas.microsoft.com/office/powerpoint/2010/main" val="2024066133"/>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7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hape 47">
            <a:extLst>
              <a:ext uri="{FF2B5EF4-FFF2-40B4-BE49-F238E27FC236}">
                <a16:creationId xmlns:a16="http://schemas.microsoft.com/office/drawing/2014/main" id="{38227E22-EDA9-4B1A-817B-042B4A263810}"/>
              </a:ext>
            </a:extLst>
          </p:cNvPr>
          <p:cNvSpPr>
            <a:spLocks/>
          </p:cNvSpPr>
          <p:nvPr/>
        </p:nvSpPr>
        <p:spPr bwMode="auto">
          <a:xfrm>
            <a:off x="9021506" y="1894480"/>
            <a:ext cx="2498860" cy="3077151"/>
          </a:xfrm>
          <a:custGeom>
            <a:avLst/>
            <a:gdLst>
              <a:gd name="T0" fmla="*/ 2147483646 w 21455"/>
              <a:gd name="T1" fmla="*/ 2147483646 h 21547"/>
              <a:gd name="T2" fmla="*/ 2147483646 w 21455"/>
              <a:gd name="T3" fmla="*/ 2147483646 h 21547"/>
              <a:gd name="T4" fmla="*/ 2147483646 w 21455"/>
              <a:gd name="T5" fmla="*/ 2147483646 h 21547"/>
              <a:gd name="T6" fmla="*/ 2147483646 w 21455"/>
              <a:gd name="T7" fmla="*/ 2147483646 h 21547"/>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21455" h="21547" extrusionOk="0">
                <a:moveTo>
                  <a:pt x="6771" y="3"/>
                </a:moveTo>
                <a:cubicBezTo>
                  <a:pt x="6609" y="11"/>
                  <a:pt x="6448" y="32"/>
                  <a:pt x="6289" y="63"/>
                </a:cubicBezTo>
                <a:cubicBezTo>
                  <a:pt x="5701" y="178"/>
                  <a:pt x="5167" y="433"/>
                  <a:pt x="4757" y="795"/>
                </a:cubicBezTo>
                <a:cubicBezTo>
                  <a:pt x="1575" y="3641"/>
                  <a:pt x="-127" y="7383"/>
                  <a:pt x="7" y="11232"/>
                </a:cubicBezTo>
                <a:cubicBezTo>
                  <a:pt x="132" y="14824"/>
                  <a:pt x="1852" y="18257"/>
                  <a:pt x="4849" y="20891"/>
                </a:cubicBezTo>
                <a:cubicBezTo>
                  <a:pt x="5271" y="21232"/>
                  <a:pt x="5816" y="21454"/>
                  <a:pt x="6403" y="21524"/>
                </a:cubicBezTo>
                <a:cubicBezTo>
                  <a:pt x="7012" y="21596"/>
                  <a:pt x="7632" y="21502"/>
                  <a:pt x="8168" y="21255"/>
                </a:cubicBezTo>
                <a:cubicBezTo>
                  <a:pt x="10517" y="20042"/>
                  <a:pt x="12750" y="18684"/>
                  <a:pt x="14845" y="17194"/>
                </a:cubicBezTo>
                <a:cubicBezTo>
                  <a:pt x="16973" y="15680"/>
                  <a:pt x="18955" y="14033"/>
                  <a:pt x="20771" y="12269"/>
                </a:cubicBezTo>
                <a:cubicBezTo>
                  <a:pt x="21195" y="11887"/>
                  <a:pt x="21436" y="11395"/>
                  <a:pt x="21454" y="10880"/>
                </a:cubicBezTo>
                <a:cubicBezTo>
                  <a:pt x="21473" y="10322"/>
                  <a:pt x="21229" y="9779"/>
                  <a:pt x="20771" y="9365"/>
                </a:cubicBezTo>
                <a:cubicBezTo>
                  <a:pt x="18967" y="7504"/>
                  <a:pt x="16953" y="5785"/>
                  <a:pt x="14756" y="4230"/>
                </a:cubicBezTo>
                <a:cubicBezTo>
                  <a:pt x="12652" y="2741"/>
                  <a:pt x="10386" y="1409"/>
                  <a:pt x="7989" y="249"/>
                </a:cubicBezTo>
                <a:cubicBezTo>
                  <a:pt x="7763" y="135"/>
                  <a:pt x="7514" y="59"/>
                  <a:pt x="7255" y="24"/>
                </a:cubicBezTo>
                <a:cubicBezTo>
                  <a:pt x="7095" y="3"/>
                  <a:pt x="6933" y="-4"/>
                  <a:pt x="6771" y="3"/>
                </a:cubicBezTo>
                <a:close/>
                <a:moveTo>
                  <a:pt x="9121" y="5291"/>
                </a:moveTo>
                <a:cubicBezTo>
                  <a:pt x="9744" y="5291"/>
                  <a:pt x="10369" y="5485"/>
                  <a:pt x="10845" y="5873"/>
                </a:cubicBezTo>
                <a:cubicBezTo>
                  <a:pt x="11797" y="6649"/>
                  <a:pt x="11797" y="7909"/>
                  <a:pt x="10845" y="8685"/>
                </a:cubicBezTo>
                <a:cubicBezTo>
                  <a:pt x="9893" y="9462"/>
                  <a:pt x="8348" y="9462"/>
                  <a:pt x="7396" y="8685"/>
                </a:cubicBezTo>
                <a:cubicBezTo>
                  <a:pt x="6444" y="7909"/>
                  <a:pt x="6444" y="6649"/>
                  <a:pt x="7396" y="5873"/>
                </a:cubicBezTo>
                <a:cubicBezTo>
                  <a:pt x="7872" y="5485"/>
                  <a:pt x="8497" y="5291"/>
                  <a:pt x="9121" y="5291"/>
                </a:cubicBezTo>
                <a:close/>
              </a:path>
            </a:pathLst>
          </a:custGeom>
          <a:solidFill>
            <a:schemeClr val="accent1">
              <a:lumMod val="40000"/>
              <a:lumOff val="60000"/>
            </a:schemeClr>
          </a:solidFill>
          <a:ln>
            <a:noFill/>
          </a:ln>
        </p:spPr>
        <p:txBody>
          <a:bodyPr lIns="25400" tIns="25400" rIns="25400" bIns="254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500" b="0" i="0" u="none" strike="noStrike" kern="1200" cap="none" spc="0" normalizeH="0" baseline="0" noProof="0">
              <a:ln>
                <a:noFill/>
              </a:ln>
              <a:solidFill>
                <a:srgbClr val="000000"/>
              </a:solidFill>
              <a:effectLst/>
              <a:uLnTx/>
              <a:uFillTx/>
              <a:latin typeface="Arial"/>
              <a:cs typeface="+mn-ea"/>
              <a:sym typeface="+mn-lt"/>
            </a:endParaRPr>
          </a:p>
        </p:txBody>
      </p:sp>
      <p:sp>
        <p:nvSpPr>
          <p:cNvPr id="4" name="Shape 48">
            <a:extLst>
              <a:ext uri="{FF2B5EF4-FFF2-40B4-BE49-F238E27FC236}">
                <a16:creationId xmlns:a16="http://schemas.microsoft.com/office/drawing/2014/main" id="{F352457B-2B2B-46E9-842D-E2DF8571B225}"/>
              </a:ext>
            </a:extLst>
          </p:cNvPr>
          <p:cNvSpPr>
            <a:spLocks/>
          </p:cNvSpPr>
          <p:nvPr/>
        </p:nvSpPr>
        <p:spPr bwMode="auto">
          <a:xfrm>
            <a:off x="1019436" y="1817592"/>
            <a:ext cx="1543687" cy="3230911"/>
          </a:xfrm>
          <a:custGeom>
            <a:avLst/>
            <a:gdLst>
              <a:gd name="T0" fmla="*/ 2147483646 w 21492"/>
              <a:gd name="T1" fmla="*/ 2147483646 h 21500"/>
              <a:gd name="T2" fmla="*/ 2147483646 w 21492"/>
              <a:gd name="T3" fmla="*/ 2147483646 h 21500"/>
              <a:gd name="T4" fmla="*/ 2147483646 w 21492"/>
              <a:gd name="T5" fmla="*/ 2147483646 h 21500"/>
              <a:gd name="T6" fmla="*/ 2147483646 w 21492"/>
              <a:gd name="T7" fmla="*/ 2147483646 h 21500"/>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21492" h="21500" extrusionOk="0">
                <a:moveTo>
                  <a:pt x="223" y="899"/>
                </a:moveTo>
                <a:cubicBezTo>
                  <a:pt x="-78" y="701"/>
                  <a:pt x="-74" y="432"/>
                  <a:pt x="234" y="235"/>
                </a:cubicBezTo>
                <a:cubicBezTo>
                  <a:pt x="660" y="-37"/>
                  <a:pt x="1481" y="-80"/>
                  <a:pt x="2020" y="142"/>
                </a:cubicBezTo>
                <a:lnTo>
                  <a:pt x="20954" y="10063"/>
                </a:lnTo>
                <a:cubicBezTo>
                  <a:pt x="21329" y="10261"/>
                  <a:pt x="21522" y="10524"/>
                  <a:pt x="21489" y="10791"/>
                </a:cubicBezTo>
                <a:cubicBezTo>
                  <a:pt x="21466" y="10980"/>
                  <a:pt x="21330" y="11161"/>
                  <a:pt x="21097" y="11314"/>
                </a:cubicBezTo>
                <a:lnTo>
                  <a:pt x="2264" y="21274"/>
                </a:lnTo>
                <a:cubicBezTo>
                  <a:pt x="2035" y="21395"/>
                  <a:pt x="1738" y="21467"/>
                  <a:pt x="1429" y="21491"/>
                </a:cubicBezTo>
                <a:cubicBezTo>
                  <a:pt x="1059" y="21520"/>
                  <a:pt x="659" y="21481"/>
                  <a:pt x="364" y="21346"/>
                </a:cubicBezTo>
                <a:cubicBezTo>
                  <a:pt x="-2" y="21178"/>
                  <a:pt x="-59" y="20908"/>
                  <a:pt x="229" y="20708"/>
                </a:cubicBezTo>
                <a:cubicBezTo>
                  <a:pt x="3534" y="17755"/>
                  <a:pt x="5311" y="14466"/>
                  <a:pt x="5414" y="11117"/>
                </a:cubicBezTo>
                <a:cubicBezTo>
                  <a:pt x="5523" y="7556"/>
                  <a:pt x="3737" y="4040"/>
                  <a:pt x="223" y="899"/>
                </a:cubicBezTo>
                <a:close/>
              </a:path>
            </a:pathLst>
          </a:custGeom>
          <a:solidFill>
            <a:schemeClr val="accent1">
              <a:lumMod val="40000"/>
              <a:lumOff val="60000"/>
            </a:schemeClr>
          </a:solidFill>
          <a:ln>
            <a:noFill/>
          </a:ln>
        </p:spPr>
        <p:txBody>
          <a:bodyPr lIns="25400" tIns="25400" rIns="25400" bIns="254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500" b="0" i="0" u="none" strike="noStrike" kern="1200" cap="none" spc="0" normalizeH="0" baseline="0" noProof="0">
              <a:ln>
                <a:noFill/>
              </a:ln>
              <a:solidFill>
                <a:srgbClr val="000000"/>
              </a:solidFill>
              <a:effectLst/>
              <a:uLnTx/>
              <a:uFillTx/>
              <a:latin typeface="Arial"/>
              <a:cs typeface="+mn-ea"/>
              <a:sym typeface="+mn-lt"/>
            </a:endParaRPr>
          </a:p>
        </p:txBody>
      </p:sp>
      <p:sp>
        <p:nvSpPr>
          <p:cNvPr id="5" name="Shape 49">
            <a:extLst>
              <a:ext uri="{FF2B5EF4-FFF2-40B4-BE49-F238E27FC236}">
                <a16:creationId xmlns:a16="http://schemas.microsoft.com/office/drawing/2014/main" id="{DC23F10E-F37F-4F81-BDC9-A48EE71204AE}"/>
              </a:ext>
            </a:extLst>
          </p:cNvPr>
          <p:cNvSpPr>
            <a:spLocks noChangeShapeType="1"/>
          </p:cNvSpPr>
          <p:nvPr/>
        </p:nvSpPr>
        <p:spPr bwMode="auto">
          <a:xfrm>
            <a:off x="2231109" y="3433055"/>
            <a:ext cx="6812761" cy="0"/>
          </a:xfrm>
          <a:prstGeom prst="line">
            <a:avLst/>
          </a:prstGeom>
          <a:noFill/>
          <a:ln w="165100">
            <a:solidFill>
              <a:schemeClr val="accent1">
                <a:lumMod val="40000"/>
                <a:lumOff val="60000"/>
              </a:schemeClr>
            </a:solidFill>
            <a:miter lim="400000"/>
            <a:headEnd/>
            <a:tailEnd/>
          </a:ln>
          <a:extLst>
            <a:ext uri="{909E8E84-426E-40DD-AFC4-6F175D3DCCD1}">
              <a14:hiddenFill xmlns:a14="http://schemas.microsoft.com/office/drawing/2010/main">
                <a:noFill/>
              </a14:hiddenFill>
            </a:ext>
          </a:extLst>
        </p:spPr>
        <p:txBody>
          <a:bodyPr lIns="25400" tIns="25400" rIns="25400" bIns="254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500" b="0" i="0" u="none" strike="noStrike" kern="1200" cap="none" spc="0" normalizeH="0" baseline="0" noProof="0">
              <a:ln>
                <a:noFill/>
              </a:ln>
              <a:solidFill>
                <a:srgbClr val="000000"/>
              </a:solidFill>
              <a:effectLst/>
              <a:uLnTx/>
              <a:uFillTx/>
              <a:latin typeface="Arial"/>
              <a:cs typeface="+mn-ea"/>
              <a:sym typeface="+mn-lt"/>
            </a:endParaRPr>
          </a:p>
        </p:txBody>
      </p:sp>
      <p:sp>
        <p:nvSpPr>
          <p:cNvPr id="6" name="Shape 55">
            <a:extLst>
              <a:ext uri="{FF2B5EF4-FFF2-40B4-BE49-F238E27FC236}">
                <a16:creationId xmlns:a16="http://schemas.microsoft.com/office/drawing/2014/main" id="{E3795584-C14B-4B85-8890-4EF907A5EDFE}"/>
              </a:ext>
            </a:extLst>
          </p:cNvPr>
          <p:cNvSpPr>
            <a:spLocks noChangeArrowheads="1"/>
          </p:cNvSpPr>
          <p:nvPr/>
        </p:nvSpPr>
        <p:spPr bwMode="auto">
          <a:xfrm>
            <a:off x="4679606" y="3359235"/>
            <a:ext cx="158570" cy="158581"/>
          </a:xfrm>
          <a:prstGeom prst="ellipse">
            <a:avLst/>
          </a:prstGeom>
          <a:solidFill>
            <a:srgbClr val="FFFFFF"/>
          </a:solidFill>
          <a:ln w="63500">
            <a:solidFill>
              <a:schemeClr val="accent1">
                <a:lumMod val="40000"/>
                <a:lumOff val="60000"/>
              </a:schemeClr>
            </a:solidFill>
            <a:miter lim="400000"/>
            <a:headEnd/>
            <a:tailEnd/>
          </a:ln>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009FDE"/>
              </a:solidFill>
              <a:effectLst/>
              <a:uLnTx/>
              <a:uFillTx/>
              <a:latin typeface="Arial"/>
              <a:cs typeface="+mn-ea"/>
              <a:sym typeface="+mn-lt"/>
            </a:endParaRPr>
          </a:p>
        </p:txBody>
      </p:sp>
      <p:sp>
        <p:nvSpPr>
          <p:cNvPr id="7" name="Shape 57">
            <a:extLst>
              <a:ext uri="{FF2B5EF4-FFF2-40B4-BE49-F238E27FC236}">
                <a16:creationId xmlns:a16="http://schemas.microsoft.com/office/drawing/2014/main" id="{53D51644-561F-41BA-AD94-BFD98F83396E}"/>
              </a:ext>
            </a:extLst>
          </p:cNvPr>
          <p:cNvSpPr>
            <a:spLocks noChangeArrowheads="1"/>
          </p:cNvSpPr>
          <p:nvPr/>
        </p:nvSpPr>
        <p:spPr bwMode="auto">
          <a:xfrm>
            <a:off x="6839846" y="3359235"/>
            <a:ext cx="158570" cy="158581"/>
          </a:xfrm>
          <a:prstGeom prst="ellipse">
            <a:avLst/>
          </a:prstGeom>
          <a:solidFill>
            <a:srgbClr val="FFFFFF"/>
          </a:solidFill>
          <a:ln w="63500">
            <a:solidFill>
              <a:schemeClr val="accent1">
                <a:lumMod val="40000"/>
                <a:lumOff val="60000"/>
              </a:schemeClr>
            </a:solidFill>
            <a:miter lim="400000"/>
            <a:headEnd/>
            <a:tailEnd/>
          </a:ln>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0677C7"/>
              </a:solidFill>
              <a:effectLst/>
              <a:uLnTx/>
              <a:uFillTx/>
              <a:latin typeface="Arial"/>
              <a:cs typeface="+mn-ea"/>
              <a:sym typeface="+mn-lt"/>
            </a:endParaRPr>
          </a:p>
        </p:txBody>
      </p:sp>
      <p:sp>
        <p:nvSpPr>
          <p:cNvPr id="67" name="Shape 53">
            <a:extLst>
              <a:ext uri="{FF2B5EF4-FFF2-40B4-BE49-F238E27FC236}">
                <a16:creationId xmlns:a16="http://schemas.microsoft.com/office/drawing/2014/main" id="{81C50978-315E-4938-8F9A-4C914C47970D}"/>
              </a:ext>
            </a:extLst>
          </p:cNvPr>
          <p:cNvSpPr>
            <a:spLocks noChangeShapeType="1"/>
          </p:cNvSpPr>
          <p:nvPr/>
        </p:nvSpPr>
        <p:spPr bwMode="auto">
          <a:xfrm flipV="1">
            <a:off x="4404163" y="3466069"/>
            <a:ext cx="1432060" cy="1586147"/>
          </a:xfrm>
          <a:prstGeom prst="line">
            <a:avLst/>
          </a:prstGeom>
          <a:noFill/>
          <a:ln w="63500">
            <a:solidFill>
              <a:schemeClr val="accent1">
                <a:lumMod val="100000"/>
              </a:schemeClr>
            </a:solidFill>
            <a:miter lim="400000"/>
            <a:headEnd/>
            <a:tailEnd/>
          </a:ln>
          <a:extLst>
            <a:ext uri="{909E8E84-426E-40DD-AFC4-6F175D3DCCD1}">
              <a14:hiddenFill xmlns:a14="http://schemas.microsoft.com/office/drawing/2010/main">
                <a:noFill/>
              </a14:hiddenFill>
            </a:ext>
          </a:extLst>
        </p:spPr>
        <p:txBody>
          <a:bodyPr lIns="25400" tIns="25400" rIns="25400" bIns="254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500" b="0" i="0" u="none" strike="noStrike" kern="1200" cap="none" spc="0" normalizeH="0" baseline="0" noProof="0">
              <a:ln>
                <a:noFill/>
              </a:ln>
              <a:solidFill>
                <a:srgbClr val="000000"/>
              </a:solidFill>
              <a:effectLst/>
              <a:uLnTx/>
              <a:uFillTx/>
              <a:latin typeface="Arial"/>
              <a:cs typeface="+mn-ea"/>
              <a:sym typeface="+mn-lt"/>
            </a:endParaRPr>
          </a:p>
        </p:txBody>
      </p:sp>
      <p:grpSp>
        <p:nvGrpSpPr>
          <p:cNvPr id="68" name="Group 67">
            <a:extLst>
              <a:ext uri="{FF2B5EF4-FFF2-40B4-BE49-F238E27FC236}">
                <a16:creationId xmlns:a16="http://schemas.microsoft.com/office/drawing/2014/main" id="{AC5B1A7C-DE69-4AC5-BC2C-0B232BF4747D}"/>
              </a:ext>
            </a:extLst>
          </p:cNvPr>
          <p:cNvGrpSpPr>
            <a:grpSpLocks/>
          </p:cNvGrpSpPr>
          <p:nvPr/>
        </p:nvGrpSpPr>
        <p:grpSpPr bwMode="auto">
          <a:xfrm>
            <a:off x="4150650" y="5039838"/>
            <a:ext cx="1676740" cy="360441"/>
            <a:chOff x="0" y="0"/>
            <a:chExt cx="3353548" cy="720844"/>
          </a:xfrm>
        </p:grpSpPr>
        <p:sp>
          <p:nvSpPr>
            <p:cNvPr id="74" name="Shape 64">
              <a:extLst>
                <a:ext uri="{FF2B5EF4-FFF2-40B4-BE49-F238E27FC236}">
                  <a16:creationId xmlns:a16="http://schemas.microsoft.com/office/drawing/2014/main" id="{AB8F960B-4E78-49FB-A4AE-9BBD85FAF4A9}"/>
                </a:ext>
              </a:extLst>
            </p:cNvPr>
            <p:cNvSpPr>
              <a:spLocks noChangeArrowheads="1"/>
            </p:cNvSpPr>
            <p:nvPr/>
          </p:nvSpPr>
          <p:spPr bwMode="auto">
            <a:xfrm>
              <a:off x="0" y="0"/>
              <a:ext cx="3353548" cy="720844"/>
            </a:xfrm>
            <a:prstGeom prst="roundRect">
              <a:avLst>
                <a:gd name="adj" fmla="val 50000"/>
              </a:avLst>
            </a:prstGeom>
            <a:solidFill>
              <a:schemeClr val="accent1">
                <a:lumMod val="100000"/>
              </a:schemeClr>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FFFFFF"/>
                </a:solidFill>
                <a:effectLst/>
                <a:uLnTx/>
                <a:uFillTx/>
                <a:latin typeface="Arial"/>
                <a:cs typeface="+mn-ea"/>
                <a:sym typeface="+mn-lt"/>
              </a:endParaRPr>
            </a:p>
          </p:txBody>
        </p:sp>
        <p:sp>
          <p:nvSpPr>
            <p:cNvPr id="75" name="Shape 65">
              <a:extLst>
                <a:ext uri="{FF2B5EF4-FFF2-40B4-BE49-F238E27FC236}">
                  <a16:creationId xmlns:a16="http://schemas.microsoft.com/office/drawing/2014/main" id="{FAE5D400-0E8C-42BC-84C8-2505CE953F1D}"/>
                </a:ext>
              </a:extLst>
            </p:cNvPr>
            <p:cNvSpPr>
              <a:spLocks noChangeArrowheads="1"/>
            </p:cNvSpPr>
            <p:nvPr/>
          </p:nvSpPr>
          <p:spPr bwMode="auto">
            <a:xfrm>
              <a:off x="745255" y="140681"/>
              <a:ext cx="2343122" cy="4103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altLang="ru-RU" sz="1000" b="0" i="0" u="none" strike="noStrike" kern="1200" cap="none" spc="0" normalizeH="0" baseline="0" noProof="0">
                  <a:ln>
                    <a:noFill/>
                  </a:ln>
                  <a:solidFill>
                    <a:srgbClr val="FFFFFF"/>
                  </a:solidFill>
                  <a:effectLst/>
                  <a:uLnTx/>
                  <a:uFillTx/>
                  <a:latin typeface="Arial"/>
                  <a:cs typeface="+mn-ea"/>
                  <a:sym typeface="+mn-lt"/>
                </a:rPr>
                <a:t>Information text</a:t>
              </a:r>
            </a:p>
          </p:txBody>
        </p:sp>
        <p:sp>
          <p:nvSpPr>
            <p:cNvPr id="76" name="Shape 66">
              <a:extLst>
                <a:ext uri="{FF2B5EF4-FFF2-40B4-BE49-F238E27FC236}">
                  <a16:creationId xmlns:a16="http://schemas.microsoft.com/office/drawing/2014/main" id="{C5DD689B-0012-4F11-8AED-3657DC9E358D}"/>
                </a:ext>
              </a:extLst>
            </p:cNvPr>
            <p:cNvSpPr>
              <a:spLocks noChangeArrowheads="1"/>
            </p:cNvSpPr>
            <p:nvPr/>
          </p:nvSpPr>
          <p:spPr bwMode="auto">
            <a:xfrm>
              <a:off x="68502" y="69972"/>
              <a:ext cx="580897" cy="580898"/>
            </a:xfrm>
            <a:prstGeom prst="ellipse">
              <a:avLst/>
            </a:prstGeom>
            <a:solidFill>
              <a:srgbClr val="FFFFFF"/>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FFFFFF"/>
                </a:solidFill>
                <a:effectLst/>
                <a:uLnTx/>
                <a:uFillTx/>
                <a:latin typeface="Arial"/>
                <a:cs typeface="+mn-ea"/>
                <a:sym typeface="+mn-lt"/>
              </a:endParaRPr>
            </a:p>
          </p:txBody>
        </p:sp>
      </p:grpSp>
      <p:sp>
        <p:nvSpPr>
          <p:cNvPr id="69" name="Shape 76">
            <a:extLst>
              <a:ext uri="{FF2B5EF4-FFF2-40B4-BE49-F238E27FC236}">
                <a16:creationId xmlns:a16="http://schemas.microsoft.com/office/drawing/2014/main" id="{7C894A5C-4437-4A9F-B90A-BCCB7A229FF5}"/>
              </a:ext>
            </a:extLst>
          </p:cNvPr>
          <p:cNvSpPr>
            <a:spLocks noChangeArrowheads="1"/>
          </p:cNvSpPr>
          <p:nvPr/>
        </p:nvSpPr>
        <p:spPr bwMode="auto">
          <a:xfrm>
            <a:off x="5300941" y="3949503"/>
            <a:ext cx="104162" cy="104169"/>
          </a:xfrm>
          <a:prstGeom prst="ellipse">
            <a:avLst/>
          </a:prstGeom>
          <a:solidFill>
            <a:schemeClr val="accent1">
              <a:lumMod val="100000"/>
            </a:schemeClr>
          </a:solidFill>
          <a:ln>
            <a:noFill/>
          </a:ln>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0677C7"/>
              </a:solidFill>
              <a:effectLst/>
              <a:uLnTx/>
              <a:uFillTx/>
              <a:latin typeface="Arial"/>
              <a:cs typeface="+mn-ea"/>
              <a:sym typeface="+mn-lt"/>
            </a:endParaRPr>
          </a:p>
        </p:txBody>
      </p:sp>
      <p:sp>
        <p:nvSpPr>
          <p:cNvPr id="70" name="Shape 77">
            <a:extLst>
              <a:ext uri="{FF2B5EF4-FFF2-40B4-BE49-F238E27FC236}">
                <a16:creationId xmlns:a16="http://schemas.microsoft.com/office/drawing/2014/main" id="{75156228-72D0-4652-8BFD-0FE550076504}"/>
              </a:ext>
            </a:extLst>
          </p:cNvPr>
          <p:cNvSpPr>
            <a:spLocks noChangeArrowheads="1"/>
          </p:cNvSpPr>
          <p:nvPr/>
        </p:nvSpPr>
        <p:spPr bwMode="auto">
          <a:xfrm>
            <a:off x="4835284" y="4470229"/>
            <a:ext cx="104162" cy="104169"/>
          </a:xfrm>
          <a:prstGeom prst="ellipse">
            <a:avLst/>
          </a:prstGeom>
          <a:solidFill>
            <a:schemeClr val="accent1">
              <a:lumMod val="100000"/>
            </a:schemeClr>
          </a:solidFill>
          <a:ln>
            <a:noFill/>
          </a:ln>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009FDE"/>
              </a:solidFill>
              <a:effectLst/>
              <a:uLnTx/>
              <a:uFillTx/>
              <a:latin typeface="Arial"/>
              <a:cs typeface="+mn-ea"/>
              <a:sym typeface="+mn-lt"/>
            </a:endParaRPr>
          </a:p>
        </p:txBody>
      </p:sp>
      <p:sp>
        <p:nvSpPr>
          <p:cNvPr id="71" name="Shape 88">
            <a:extLst>
              <a:ext uri="{FF2B5EF4-FFF2-40B4-BE49-F238E27FC236}">
                <a16:creationId xmlns:a16="http://schemas.microsoft.com/office/drawing/2014/main" id="{18A09FCE-536C-498C-BCAA-AF6C874014E0}"/>
              </a:ext>
            </a:extLst>
          </p:cNvPr>
          <p:cNvSpPr>
            <a:spLocks noChangeArrowheads="1"/>
          </p:cNvSpPr>
          <p:nvPr/>
        </p:nvSpPr>
        <p:spPr bwMode="auto">
          <a:xfrm>
            <a:off x="5522556" y="3903202"/>
            <a:ext cx="1824192" cy="205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altLang="ru-RU" sz="1000" b="0" i="0" u="none" strike="noStrike" kern="1200" cap="none" spc="0" normalizeH="0" baseline="0" noProof="0">
                <a:ln>
                  <a:noFill/>
                </a:ln>
                <a:solidFill>
                  <a:schemeClr val="accent1"/>
                </a:solidFill>
                <a:effectLst/>
                <a:uLnTx/>
                <a:uFillTx/>
                <a:latin typeface="Arial"/>
                <a:cs typeface="+mn-ea"/>
                <a:sym typeface="+mn-lt"/>
              </a:rPr>
              <a:t>Fish bone text block </a:t>
            </a:r>
          </a:p>
        </p:txBody>
      </p:sp>
      <p:sp>
        <p:nvSpPr>
          <p:cNvPr id="72" name="Shape 89">
            <a:extLst>
              <a:ext uri="{FF2B5EF4-FFF2-40B4-BE49-F238E27FC236}">
                <a16:creationId xmlns:a16="http://schemas.microsoft.com/office/drawing/2014/main" id="{2CDEF5DA-2793-412A-9E44-99DC076B658D}"/>
              </a:ext>
            </a:extLst>
          </p:cNvPr>
          <p:cNvSpPr>
            <a:spLocks noChangeArrowheads="1"/>
          </p:cNvSpPr>
          <p:nvPr/>
        </p:nvSpPr>
        <p:spPr bwMode="auto">
          <a:xfrm>
            <a:off x="5064361" y="4417961"/>
            <a:ext cx="1824192" cy="205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altLang="ru-RU" sz="1000" b="0" i="0" u="none" strike="noStrike" kern="1200" cap="none" spc="0" normalizeH="0" baseline="0" noProof="0">
                <a:ln>
                  <a:noFill/>
                </a:ln>
                <a:solidFill>
                  <a:schemeClr val="accent1"/>
                </a:solidFill>
                <a:effectLst/>
                <a:uLnTx/>
                <a:uFillTx/>
                <a:latin typeface="Arial"/>
                <a:cs typeface="+mn-ea"/>
                <a:sym typeface="+mn-lt"/>
              </a:rPr>
              <a:t>Fish bone text block </a:t>
            </a:r>
          </a:p>
        </p:txBody>
      </p:sp>
      <p:sp>
        <p:nvSpPr>
          <p:cNvPr id="73" name="Shape 90">
            <a:extLst>
              <a:ext uri="{FF2B5EF4-FFF2-40B4-BE49-F238E27FC236}">
                <a16:creationId xmlns:a16="http://schemas.microsoft.com/office/drawing/2014/main" id="{75250101-89BE-4B29-88AA-6BAFA527AFED}"/>
              </a:ext>
            </a:extLst>
          </p:cNvPr>
          <p:cNvSpPr>
            <a:spLocks/>
          </p:cNvSpPr>
          <p:nvPr/>
        </p:nvSpPr>
        <p:spPr bwMode="auto">
          <a:xfrm>
            <a:off x="4263804" y="5153543"/>
            <a:ext cx="130370" cy="122885"/>
          </a:xfrm>
          <a:custGeom>
            <a:avLst/>
            <a:gdLst>
              <a:gd name="T0" fmla="*/ 18998328 w 21600"/>
              <a:gd name="T1" fmla="*/ 15906903 h 21600"/>
              <a:gd name="T2" fmla="*/ 18998328 w 21600"/>
              <a:gd name="T3" fmla="*/ 15906903 h 21600"/>
              <a:gd name="T4" fmla="*/ 18998328 w 21600"/>
              <a:gd name="T5" fmla="*/ 15906903 h 21600"/>
              <a:gd name="T6" fmla="*/ 18998328 w 21600"/>
              <a:gd name="T7" fmla="*/ 15906903 h 21600"/>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21600" h="21600" extrusionOk="0">
                <a:moveTo>
                  <a:pt x="10901" y="17459"/>
                </a:moveTo>
                <a:lnTo>
                  <a:pt x="17497" y="21600"/>
                </a:lnTo>
                <a:lnTo>
                  <a:pt x="15848" y="13532"/>
                </a:lnTo>
                <a:lnTo>
                  <a:pt x="21600" y="8281"/>
                </a:lnTo>
                <a:lnTo>
                  <a:pt x="13797" y="7428"/>
                </a:lnTo>
                <a:lnTo>
                  <a:pt x="10901" y="0"/>
                </a:lnTo>
                <a:lnTo>
                  <a:pt x="7844" y="7428"/>
                </a:lnTo>
                <a:lnTo>
                  <a:pt x="0" y="8281"/>
                </a:lnTo>
                <a:lnTo>
                  <a:pt x="5993" y="13532"/>
                </a:lnTo>
                <a:lnTo>
                  <a:pt x="4143" y="21600"/>
                </a:lnTo>
                <a:lnTo>
                  <a:pt x="10901" y="17459"/>
                </a:lnTo>
              </a:path>
            </a:pathLst>
          </a:custGeom>
          <a:solidFill>
            <a:schemeClr val="accent1">
              <a:lumMod val="100000"/>
            </a:schemeClr>
          </a:solidFill>
          <a:ln>
            <a:noFill/>
          </a:ln>
        </p:spPr>
        <p:txBody>
          <a:bodyPr lIns="22860" tIns="22860" rIns="22860" bIns="2286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500" b="0" i="0" u="none" strike="noStrike" kern="1200" cap="none" spc="0" normalizeH="0" baseline="0" noProof="0">
              <a:ln>
                <a:noFill/>
              </a:ln>
              <a:solidFill>
                <a:srgbClr val="009FDE"/>
              </a:solidFill>
              <a:effectLst/>
              <a:uLnTx/>
              <a:uFillTx/>
              <a:latin typeface="Arial"/>
              <a:cs typeface="+mn-ea"/>
              <a:sym typeface="+mn-lt"/>
            </a:endParaRPr>
          </a:p>
        </p:txBody>
      </p:sp>
      <p:sp>
        <p:nvSpPr>
          <p:cNvPr id="57" name="Shape 52">
            <a:extLst>
              <a:ext uri="{FF2B5EF4-FFF2-40B4-BE49-F238E27FC236}">
                <a16:creationId xmlns:a16="http://schemas.microsoft.com/office/drawing/2014/main" id="{98FB87DA-1589-43C9-92F5-6A824B3F193D}"/>
              </a:ext>
            </a:extLst>
          </p:cNvPr>
          <p:cNvSpPr>
            <a:spLocks noChangeShapeType="1"/>
          </p:cNvSpPr>
          <p:nvPr/>
        </p:nvSpPr>
        <p:spPr bwMode="auto">
          <a:xfrm flipH="1" flipV="1">
            <a:off x="4362438" y="1804898"/>
            <a:ext cx="1484084" cy="1623257"/>
          </a:xfrm>
          <a:prstGeom prst="line">
            <a:avLst/>
          </a:prstGeom>
          <a:noFill/>
          <a:ln w="63500">
            <a:solidFill>
              <a:schemeClr val="accent1">
                <a:lumMod val="100000"/>
              </a:schemeClr>
            </a:solidFill>
            <a:miter lim="400000"/>
            <a:headEnd/>
            <a:tailEnd/>
          </a:ln>
          <a:extLst>
            <a:ext uri="{909E8E84-426E-40DD-AFC4-6F175D3DCCD1}">
              <a14:hiddenFill xmlns:a14="http://schemas.microsoft.com/office/drawing/2010/main">
                <a:noFill/>
              </a14:hiddenFill>
            </a:ext>
          </a:extLst>
        </p:spPr>
        <p:txBody>
          <a:bodyPr lIns="25400" tIns="25400" rIns="25400" bIns="254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500" b="0" i="0" u="none" strike="noStrike" kern="1200" cap="none" spc="0" normalizeH="0" baseline="0" noProof="0">
              <a:ln>
                <a:noFill/>
              </a:ln>
              <a:solidFill>
                <a:srgbClr val="000000"/>
              </a:solidFill>
              <a:effectLst/>
              <a:uLnTx/>
              <a:uFillTx/>
              <a:latin typeface="Arial"/>
              <a:cs typeface="+mn-ea"/>
              <a:sym typeface="+mn-lt"/>
            </a:endParaRPr>
          </a:p>
        </p:txBody>
      </p:sp>
      <p:grpSp>
        <p:nvGrpSpPr>
          <p:cNvPr id="58" name="Group 75">
            <a:extLst>
              <a:ext uri="{FF2B5EF4-FFF2-40B4-BE49-F238E27FC236}">
                <a16:creationId xmlns:a16="http://schemas.microsoft.com/office/drawing/2014/main" id="{B464F531-4236-494B-88E4-24ED635698AC}"/>
              </a:ext>
            </a:extLst>
          </p:cNvPr>
          <p:cNvGrpSpPr>
            <a:grpSpLocks/>
          </p:cNvGrpSpPr>
          <p:nvPr/>
        </p:nvGrpSpPr>
        <p:grpSpPr bwMode="auto">
          <a:xfrm>
            <a:off x="4161316" y="1457721"/>
            <a:ext cx="1676739" cy="360441"/>
            <a:chOff x="0" y="0"/>
            <a:chExt cx="3353548" cy="720844"/>
          </a:xfrm>
        </p:grpSpPr>
        <p:sp>
          <p:nvSpPr>
            <p:cNvPr id="64" name="Shape 72">
              <a:extLst>
                <a:ext uri="{FF2B5EF4-FFF2-40B4-BE49-F238E27FC236}">
                  <a16:creationId xmlns:a16="http://schemas.microsoft.com/office/drawing/2014/main" id="{02873B42-C479-4C60-A35A-2128CE55C13C}"/>
                </a:ext>
              </a:extLst>
            </p:cNvPr>
            <p:cNvSpPr>
              <a:spLocks noChangeArrowheads="1"/>
            </p:cNvSpPr>
            <p:nvPr/>
          </p:nvSpPr>
          <p:spPr bwMode="auto">
            <a:xfrm>
              <a:off x="0" y="0"/>
              <a:ext cx="3353548" cy="720844"/>
            </a:xfrm>
            <a:prstGeom prst="roundRect">
              <a:avLst>
                <a:gd name="adj" fmla="val 50000"/>
              </a:avLst>
            </a:prstGeom>
            <a:solidFill>
              <a:schemeClr val="accent1">
                <a:lumMod val="100000"/>
              </a:schemeClr>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FFFFFF"/>
                </a:solidFill>
                <a:effectLst/>
                <a:uLnTx/>
                <a:uFillTx/>
                <a:latin typeface="Arial"/>
                <a:cs typeface="+mn-ea"/>
                <a:sym typeface="+mn-lt"/>
              </a:endParaRPr>
            </a:p>
          </p:txBody>
        </p:sp>
        <p:sp>
          <p:nvSpPr>
            <p:cNvPr id="65" name="Shape 73">
              <a:extLst>
                <a:ext uri="{FF2B5EF4-FFF2-40B4-BE49-F238E27FC236}">
                  <a16:creationId xmlns:a16="http://schemas.microsoft.com/office/drawing/2014/main" id="{1DC4E9B0-4A77-4C8E-BE76-2B0A275595EC}"/>
                </a:ext>
              </a:extLst>
            </p:cNvPr>
            <p:cNvSpPr>
              <a:spLocks noChangeArrowheads="1"/>
            </p:cNvSpPr>
            <p:nvPr/>
          </p:nvSpPr>
          <p:spPr bwMode="auto">
            <a:xfrm>
              <a:off x="745256" y="140681"/>
              <a:ext cx="2343123" cy="4103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altLang="ru-RU" sz="1000" b="0" i="0" u="none" strike="noStrike" kern="1200" cap="none" spc="0" normalizeH="0" baseline="0" noProof="0" dirty="0" err="1">
                  <a:ln>
                    <a:noFill/>
                  </a:ln>
                  <a:solidFill>
                    <a:srgbClr val="FFFFFF"/>
                  </a:solidFill>
                  <a:effectLst/>
                  <a:uLnTx/>
                  <a:uFillTx/>
                  <a:latin typeface="Arial"/>
                  <a:cs typeface="+mn-ea"/>
                  <a:sym typeface="+mn-lt"/>
                </a:rPr>
                <a:t>Information</a:t>
              </a:r>
              <a:r>
                <a:rPr kumimoji="0" lang="ru-RU" altLang="ru-RU" sz="1000" b="0" i="0" u="none" strike="noStrike" kern="1200" cap="none" spc="0" normalizeH="0" baseline="0" noProof="0" dirty="0">
                  <a:ln>
                    <a:noFill/>
                  </a:ln>
                  <a:solidFill>
                    <a:srgbClr val="FFFFFF"/>
                  </a:solidFill>
                  <a:effectLst/>
                  <a:uLnTx/>
                  <a:uFillTx/>
                  <a:latin typeface="Arial"/>
                  <a:cs typeface="+mn-ea"/>
                  <a:sym typeface="+mn-lt"/>
                </a:rPr>
                <a:t> </a:t>
              </a:r>
              <a:r>
                <a:rPr kumimoji="0" lang="ru-RU" altLang="ru-RU" sz="1000" b="0" i="0" u="none" strike="noStrike" kern="1200" cap="none" spc="0" normalizeH="0" baseline="0" noProof="0" dirty="0" err="1">
                  <a:ln>
                    <a:noFill/>
                  </a:ln>
                  <a:solidFill>
                    <a:srgbClr val="FFFFFF"/>
                  </a:solidFill>
                  <a:effectLst/>
                  <a:uLnTx/>
                  <a:uFillTx/>
                  <a:latin typeface="Arial"/>
                  <a:cs typeface="+mn-ea"/>
                  <a:sym typeface="+mn-lt"/>
                </a:rPr>
                <a:t>text</a:t>
              </a:r>
              <a:endParaRPr kumimoji="0" lang="ru-RU" altLang="ru-RU" sz="1000" b="0" i="0" u="none" strike="noStrike" kern="1200" cap="none" spc="0" normalizeH="0" baseline="0" noProof="0" dirty="0">
                <a:ln>
                  <a:noFill/>
                </a:ln>
                <a:solidFill>
                  <a:srgbClr val="FFFFFF"/>
                </a:solidFill>
                <a:effectLst/>
                <a:uLnTx/>
                <a:uFillTx/>
                <a:latin typeface="Arial"/>
                <a:cs typeface="+mn-ea"/>
                <a:sym typeface="+mn-lt"/>
              </a:endParaRPr>
            </a:p>
          </p:txBody>
        </p:sp>
        <p:sp>
          <p:nvSpPr>
            <p:cNvPr id="66" name="Shape 74">
              <a:extLst>
                <a:ext uri="{FF2B5EF4-FFF2-40B4-BE49-F238E27FC236}">
                  <a16:creationId xmlns:a16="http://schemas.microsoft.com/office/drawing/2014/main" id="{20524473-0A55-4E6B-A6AA-8DE120F5EE51}"/>
                </a:ext>
              </a:extLst>
            </p:cNvPr>
            <p:cNvSpPr>
              <a:spLocks noChangeArrowheads="1"/>
            </p:cNvSpPr>
            <p:nvPr/>
          </p:nvSpPr>
          <p:spPr bwMode="auto">
            <a:xfrm>
              <a:off x="68502" y="69972"/>
              <a:ext cx="580897" cy="580898"/>
            </a:xfrm>
            <a:prstGeom prst="ellipse">
              <a:avLst/>
            </a:prstGeom>
            <a:solidFill>
              <a:srgbClr val="FFFFFF"/>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FFFFFF"/>
                </a:solidFill>
                <a:effectLst/>
                <a:uLnTx/>
                <a:uFillTx/>
                <a:latin typeface="Arial"/>
                <a:cs typeface="+mn-ea"/>
                <a:sym typeface="+mn-lt"/>
              </a:endParaRPr>
            </a:p>
          </p:txBody>
        </p:sp>
      </p:grpSp>
      <p:sp>
        <p:nvSpPr>
          <p:cNvPr id="59" name="Shape 80">
            <a:extLst>
              <a:ext uri="{FF2B5EF4-FFF2-40B4-BE49-F238E27FC236}">
                <a16:creationId xmlns:a16="http://schemas.microsoft.com/office/drawing/2014/main" id="{54E0BE9A-7CB0-423B-A3E5-E8594E3EAC99}"/>
              </a:ext>
            </a:extLst>
          </p:cNvPr>
          <p:cNvSpPr>
            <a:spLocks noChangeArrowheads="1"/>
          </p:cNvSpPr>
          <p:nvPr/>
        </p:nvSpPr>
        <p:spPr bwMode="auto">
          <a:xfrm>
            <a:off x="4798478" y="2285362"/>
            <a:ext cx="104162" cy="104169"/>
          </a:xfrm>
          <a:prstGeom prst="ellipse">
            <a:avLst/>
          </a:prstGeom>
          <a:solidFill>
            <a:schemeClr val="accent1">
              <a:lumMod val="100000"/>
            </a:schemeClr>
          </a:solidFill>
          <a:ln>
            <a:noFill/>
          </a:ln>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009FDE"/>
              </a:solidFill>
              <a:effectLst/>
              <a:uLnTx/>
              <a:uFillTx/>
              <a:latin typeface="Arial"/>
              <a:cs typeface="+mn-ea"/>
              <a:sym typeface="+mn-lt"/>
            </a:endParaRPr>
          </a:p>
        </p:txBody>
      </p:sp>
      <p:sp>
        <p:nvSpPr>
          <p:cNvPr id="60" name="Shape 81">
            <a:extLst>
              <a:ext uri="{FF2B5EF4-FFF2-40B4-BE49-F238E27FC236}">
                <a16:creationId xmlns:a16="http://schemas.microsoft.com/office/drawing/2014/main" id="{C8E91083-7C5F-4FCE-8325-6F1C7D412A32}"/>
              </a:ext>
            </a:extLst>
          </p:cNvPr>
          <p:cNvSpPr>
            <a:spLocks noChangeArrowheads="1"/>
          </p:cNvSpPr>
          <p:nvPr/>
        </p:nvSpPr>
        <p:spPr bwMode="auto">
          <a:xfrm>
            <a:off x="5274570" y="2804328"/>
            <a:ext cx="104162" cy="104170"/>
          </a:xfrm>
          <a:prstGeom prst="ellipse">
            <a:avLst/>
          </a:prstGeom>
          <a:solidFill>
            <a:schemeClr val="accent1">
              <a:lumMod val="100000"/>
            </a:schemeClr>
          </a:solidFill>
          <a:ln>
            <a:noFill/>
          </a:ln>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0677C7"/>
              </a:solidFill>
              <a:effectLst/>
              <a:uLnTx/>
              <a:uFillTx/>
              <a:latin typeface="Arial"/>
              <a:cs typeface="+mn-ea"/>
              <a:sym typeface="+mn-lt"/>
            </a:endParaRPr>
          </a:p>
        </p:txBody>
      </p:sp>
      <p:sp>
        <p:nvSpPr>
          <p:cNvPr id="61" name="Shape 84">
            <a:extLst>
              <a:ext uri="{FF2B5EF4-FFF2-40B4-BE49-F238E27FC236}">
                <a16:creationId xmlns:a16="http://schemas.microsoft.com/office/drawing/2014/main" id="{EC5E63ED-40D0-4315-AA21-D8E5414DAEAD}"/>
              </a:ext>
            </a:extLst>
          </p:cNvPr>
          <p:cNvSpPr>
            <a:spLocks noChangeArrowheads="1"/>
          </p:cNvSpPr>
          <p:nvPr/>
        </p:nvSpPr>
        <p:spPr bwMode="auto">
          <a:xfrm>
            <a:off x="5020356" y="2234854"/>
            <a:ext cx="1824192" cy="205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altLang="ru-RU" sz="1000" b="0" i="0" u="none" strike="noStrike" kern="1200" cap="none" spc="0" normalizeH="0" baseline="0" noProof="0">
                <a:ln>
                  <a:noFill/>
                </a:ln>
                <a:solidFill>
                  <a:schemeClr val="accent1"/>
                </a:solidFill>
                <a:effectLst/>
                <a:uLnTx/>
                <a:uFillTx/>
                <a:latin typeface="Arial"/>
                <a:cs typeface="+mn-ea"/>
                <a:sym typeface="+mn-lt"/>
              </a:rPr>
              <a:t>Fish bone text block </a:t>
            </a:r>
          </a:p>
        </p:txBody>
      </p:sp>
      <p:sp>
        <p:nvSpPr>
          <p:cNvPr id="62" name="Shape 85">
            <a:extLst>
              <a:ext uri="{FF2B5EF4-FFF2-40B4-BE49-F238E27FC236}">
                <a16:creationId xmlns:a16="http://schemas.microsoft.com/office/drawing/2014/main" id="{FA341237-1A70-4A00-B072-043F17DDFFEF}"/>
              </a:ext>
            </a:extLst>
          </p:cNvPr>
          <p:cNvSpPr>
            <a:spLocks noChangeArrowheads="1"/>
          </p:cNvSpPr>
          <p:nvPr/>
        </p:nvSpPr>
        <p:spPr bwMode="auto">
          <a:xfrm>
            <a:off x="5495591" y="2749613"/>
            <a:ext cx="1824192" cy="205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altLang="ru-RU" sz="1000" b="0" i="0" u="none" strike="noStrike" kern="1200" cap="none" spc="0" normalizeH="0" baseline="0" noProof="0">
                <a:ln>
                  <a:noFill/>
                </a:ln>
                <a:solidFill>
                  <a:schemeClr val="accent1"/>
                </a:solidFill>
                <a:effectLst/>
                <a:uLnTx/>
                <a:uFillTx/>
                <a:latin typeface="Arial"/>
                <a:cs typeface="+mn-ea"/>
                <a:sym typeface="+mn-lt"/>
              </a:rPr>
              <a:t>Fish bone text block </a:t>
            </a:r>
          </a:p>
        </p:txBody>
      </p:sp>
      <p:sp>
        <p:nvSpPr>
          <p:cNvPr id="63" name="Shape 91">
            <a:extLst>
              <a:ext uri="{FF2B5EF4-FFF2-40B4-BE49-F238E27FC236}">
                <a16:creationId xmlns:a16="http://schemas.microsoft.com/office/drawing/2014/main" id="{0BF071BF-9937-4976-99C9-1AD46D64F7B6}"/>
              </a:ext>
            </a:extLst>
          </p:cNvPr>
          <p:cNvSpPr>
            <a:spLocks/>
          </p:cNvSpPr>
          <p:nvPr/>
        </p:nvSpPr>
        <p:spPr bwMode="auto">
          <a:xfrm>
            <a:off x="4279779" y="1573287"/>
            <a:ext cx="127924" cy="129309"/>
          </a:xfrm>
          <a:custGeom>
            <a:avLst/>
            <a:gdLst>
              <a:gd name="T0" fmla="*/ 18033594 w 21549"/>
              <a:gd name="T1" fmla="*/ 18533957 h 21600"/>
              <a:gd name="T2" fmla="*/ 18033594 w 21549"/>
              <a:gd name="T3" fmla="*/ 18533957 h 21600"/>
              <a:gd name="T4" fmla="*/ 18033594 w 21549"/>
              <a:gd name="T5" fmla="*/ 18533957 h 21600"/>
              <a:gd name="T6" fmla="*/ 18033594 w 21549"/>
              <a:gd name="T7" fmla="*/ 18533957 h 21600"/>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21549" h="21600" extrusionOk="0">
                <a:moveTo>
                  <a:pt x="18684" y="11815"/>
                </a:moveTo>
                <a:cubicBezTo>
                  <a:pt x="18684" y="11612"/>
                  <a:pt x="18890" y="11206"/>
                  <a:pt x="18890" y="10800"/>
                </a:cubicBezTo>
                <a:cubicBezTo>
                  <a:pt x="18890" y="10394"/>
                  <a:pt x="18890" y="9947"/>
                  <a:pt x="18684" y="9744"/>
                </a:cubicBezTo>
                <a:lnTo>
                  <a:pt x="20984" y="7877"/>
                </a:lnTo>
                <a:cubicBezTo>
                  <a:pt x="21395" y="7674"/>
                  <a:pt x="21395" y="7471"/>
                  <a:pt x="21189" y="7268"/>
                </a:cubicBezTo>
                <a:lnTo>
                  <a:pt x="19095" y="3329"/>
                </a:lnTo>
                <a:cubicBezTo>
                  <a:pt x="18890" y="3329"/>
                  <a:pt x="18684" y="3126"/>
                  <a:pt x="18233" y="3329"/>
                </a:cubicBezTo>
                <a:lnTo>
                  <a:pt x="15522" y="4344"/>
                </a:lnTo>
                <a:cubicBezTo>
                  <a:pt x="15112" y="3938"/>
                  <a:pt x="14455" y="3735"/>
                  <a:pt x="13633" y="3329"/>
                </a:cubicBezTo>
                <a:lnTo>
                  <a:pt x="13223" y="406"/>
                </a:lnTo>
                <a:cubicBezTo>
                  <a:pt x="13428" y="203"/>
                  <a:pt x="13017" y="0"/>
                  <a:pt x="12771" y="0"/>
                </a:cubicBezTo>
                <a:lnTo>
                  <a:pt x="8377" y="0"/>
                </a:lnTo>
                <a:cubicBezTo>
                  <a:pt x="8172" y="0"/>
                  <a:pt x="7967" y="203"/>
                  <a:pt x="7967" y="406"/>
                </a:cubicBezTo>
                <a:lnTo>
                  <a:pt x="7556" y="3329"/>
                </a:lnTo>
                <a:cubicBezTo>
                  <a:pt x="6694" y="3532"/>
                  <a:pt x="6283" y="3938"/>
                  <a:pt x="5667" y="4344"/>
                </a:cubicBezTo>
                <a:lnTo>
                  <a:pt x="2916" y="3329"/>
                </a:lnTo>
                <a:cubicBezTo>
                  <a:pt x="2710" y="3126"/>
                  <a:pt x="2505" y="3329"/>
                  <a:pt x="2300" y="3532"/>
                </a:cubicBezTo>
                <a:lnTo>
                  <a:pt x="0" y="7268"/>
                </a:lnTo>
                <a:cubicBezTo>
                  <a:pt x="0" y="7471"/>
                  <a:pt x="0" y="7674"/>
                  <a:pt x="205" y="7877"/>
                </a:cubicBezTo>
                <a:lnTo>
                  <a:pt x="2505" y="9744"/>
                </a:lnTo>
                <a:cubicBezTo>
                  <a:pt x="2505" y="9947"/>
                  <a:pt x="2505" y="10394"/>
                  <a:pt x="2505" y="10800"/>
                </a:cubicBezTo>
                <a:cubicBezTo>
                  <a:pt x="2505" y="11206"/>
                  <a:pt x="2505" y="11612"/>
                  <a:pt x="2505" y="11815"/>
                </a:cubicBezTo>
                <a:lnTo>
                  <a:pt x="205" y="13683"/>
                </a:lnTo>
                <a:cubicBezTo>
                  <a:pt x="0" y="13926"/>
                  <a:pt x="0" y="14129"/>
                  <a:pt x="205" y="14332"/>
                </a:cubicBezTo>
                <a:lnTo>
                  <a:pt x="2300" y="18271"/>
                </a:lnTo>
                <a:cubicBezTo>
                  <a:pt x="2505" y="18271"/>
                  <a:pt x="2710" y="18474"/>
                  <a:pt x="2916" y="18271"/>
                </a:cubicBezTo>
                <a:lnTo>
                  <a:pt x="5667" y="17215"/>
                </a:lnTo>
                <a:cubicBezTo>
                  <a:pt x="6283" y="17621"/>
                  <a:pt x="6899" y="18068"/>
                  <a:pt x="7556" y="18271"/>
                </a:cubicBezTo>
                <a:lnTo>
                  <a:pt x="7967" y="21153"/>
                </a:lnTo>
                <a:cubicBezTo>
                  <a:pt x="7967" y="21356"/>
                  <a:pt x="8172" y="21600"/>
                  <a:pt x="8583" y="21600"/>
                </a:cubicBezTo>
                <a:lnTo>
                  <a:pt x="13017" y="21600"/>
                </a:lnTo>
                <a:cubicBezTo>
                  <a:pt x="13223" y="21600"/>
                  <a:pt x="13428" y="21356"/>
                  <a:pt x="13428" y="21153"/>
                </a:cubicBezTo>
                <a:lnTo>
                  <a:pt x="13839" y="18271"/>
                </a:lnTo>
                <a:cubicBezTo>
                  <a:pt x="14660" y="18068"/>
                  <a:pt x="15317" y="17621"/>
                  <a:pt x="15728" y="17215"/>
                </a:cubicBezTo>
                <a:lnTo>
                  <a:pt x="18438" y="18271"/>
                </a:lnTo>
                <a:cubicBezTo>
                  <a:pt x="18684" y="18474"/>
                  <a:pt x="19095" y="18271"/>
                  <a:pt x="19300" y="18068"/>
                </a:cubicBezTo>
                <a:lnTo>
                  <a:pt x="21395" y="14332"/>
                </a:lnTo>
                <a:cubicBezTo>
                  <a:pt x="21600" y="14129"/>
                  <a:pt x="21600" y="13683"/>
                  <a:pt x="21395" y="13683"/>
                </a:cubicBezTo>
                <a:lnTo>
                  <a:pt x="18684" y="11815"/>
                </a:lnTo>
                <a:close/>
                <a:moveTo>
                  <a:pt x="10677" y="14535"/>
                </a:moveTo>
                <a:cubicBezTo>
                  <a:pt x="8583" y="14535"/>
                  <a:pt x="6694" y="12871"/>
                  <a:pt x="6694" y="10800"/>
                </a:cubicBezTo>
                <a:cubicBezTo>
                  <a:pt x="6694" y="8729"/>
                  <a:pt x="8583" y="7065"/>
                  <a:pt x="10677" y="7065"/>
                </a:cubicBezTo>
                <a:cubicBezTo>
                  <a:pt x="12771" y="7065"/>
                  <a:pt x="14455" y="8729"/>
                  <a:pt x="14455" y="10800"/>
                </a:cubicBezTo>
                <a:cubicBezTo>
                  <a:pt x="14455" y="12871"/>
                  <a:pt x="12771" y="14535"/>
                  <a:pt x="10677" y="14535"/>
                </a:cubicBezTo>
                <a:close/>
              </a:path>
            </a:pathLst>
          </a:custGeom>
          <a:solidFill>
            <a:schemeClr val="accent1">
              <a:lumMod val="100000"/>
            </a:schemeClr>
          </a:solidFill>
          <a:ln>
            <a:noFill/>
          </a:ln>
        </p:spPr>
        <p:txBody>
          <a:bodyPr lIns="22860" tIns="22860" rIns="22860" bIns="2286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500" b="0" i="0" u="none" strike="noStrike" kern="1200" cap="none" spc="0" normalizeH="0" baseline="0" noProof="0">
              <a:ln>
                <a:noFill/>
              </a:ln>
              <a:solidFill>
                <a:srgbClr val="FFFFFF"/>
              </a:solidFill>
              <a:effectLst/>
              <a:uLnTx/>
              <a:uFillTx/>
              <a:latin typeface="Arial"/>
              <a:cs typeface="+mn-ea"/>
              <a:sym typeface="+mn-lt"/>
            </a:endParaRPr>
          </a:p>
        </p:txBody>
      </p:sp>
      <p:sp>
        <p:nvSpPr>
          <p:cNvPr id="47" name="Shape 51">
            <a:extLst>
              <a:ext uri="{FF2B5EF4-FFF2-40B4-BE49-F238E27FC236}">
                <a16:creationId xmlns:a16="http://schemas.microsoft.com/office/drawing/2014/main" id="{44B4488F-59D5-46DA-BE6D-1B821F27EDE4}"/>
              </a:ext>
            </a:extLst>
          </p:cNvPr>
          <p:cNvSpPr>
            <a:spLocks noChangeShapeType="1"/>
          </p:cNvSpPr>
          <p:nvPr/>
        </p:nvSpPr>
        <p:spPr bwMode="auto">
          <a:xfrm flipV="1">
            <a:off x="2232510" y="3466069"/>
            <a:ext cx="1432060" cy="1586147"/>
          </a:xfrm>
          <a:prstGeom prst="line">
            <a:avLst/>
          </a:prstGeom>
          <a:noFill/>
          <a:ln w="63500">
            <a:solidFill>
              <a:schemeClr val="accent1">
                <a:lumMod val="100000"/>
              </a:schemeClr>
            </a:solidFill>
            <a:miter lim="400000"/>
            <a:headEnd/>
            <a:tailEnd/>
          </a:ln>
          <a:extLst>
            <a:ext uri="{909E8E84-426E-40DD-AFC4-6F175D3DCCD1}">
              <a14:hiddenFill xmlns:a14="http://schemas.microsoft.com/office/drawing/2010/main">
                <a:noFill/>
              </a14:hiddenFill>
            </a:ext>
          </a:extLst>
        </p:spPr>
        <p:txBody>
          <a:bodyPr lIns="25400" tIns="25400" rIns="25400" bIns="254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500" b="0" i="0" u="none" strike="noStrike" kern="1200" cap="none" spc="0" normalizeH="0" baseline="0" noProof="0">
              <a:ln>
                <a:noFill/>
              </a:ln>
              <a:solidFill>
                <a:srgbClr val="000000"/>
              </a:solidFill>
              <a:effectLst/>
              <a:uLnTx/>
              <a:uFillTx/>
              <a:latin typeface="Arial"/>
              <a:cs typeface="+mn-ea"/>
              <a:sym typeface="+mn-lt"/>
            </a:endParaRPr>
          </a:p>
        </p:txBody>
      </p:sp>
      <p:sp>
        <p:nvSpPr>
          <p:cNvPr id="48" name="Shape 58">
            <a:extLst>
              <a:ext uri="{FF2B5EF4-FFF2-40B4-BE49-F238E27FC236}">
                <a16:creationId xmlns:a16="http://schemas.microsoft.com/office/drawing/2014/main" id="{F555951A-2178-42EB-B2A5-754F33A259A9}"/>
              </a:ext>
            </a:extLst>
          </p:cNvPr>
          <p:cNvSpPr>
            <a:spLocks noChangeArrowheads="1"/>
          </p:cNvSpPr>
          <p:nvPr/>
        </p:nvSpPr>
        <p:spPr bwMode="auto">
          <a:xfrm>
            <a:off x="3125111" y="3949503"/>
            <a:ext cx="104162" cy="104169"/>
          </a:xfrm>
          <a:prstGeom prst="ellipse">
            <a:avLst/>
          </a:prstGeom>
          <a:solidFill>
            <a:schemeClr val="accent1">
              <a:lumMod val="100000"/>
            </a:schemeClr>
          </a:solidFill>
          <a:ln>
            <a:noFill/>
          </a:ln>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009FDE"/>
              </a:solidFill>
              <a:effectLst/>
              <a:uLnTx/>
              <a:uFillTx/>
              <a:latin typeface="Arial"/>
              <a:cs typeface="+mn-ea"/>
              <a:sym typeface="+mn-lt"/>
            </a:endParaRPr>
          </a:p>
        </p:txBody>
      </p:sp>
      <p:sp>
        <p:nvSpPr>
          <p:cNvPr id="49" name="Shape 59">
            <a:extLst>
              <a:ext uri="{FF2B5EF4-FFF2-40B4-BE49-F238E27FC236}">
                <a16:creationId xmlns:a16="http://schemas.microsoft.com/office/drawing/2014/main" id="{1D64CCCA-5F73-48FD-85BE-5821B447588E}"/>
              </a:ext>
            </a:extLst>
          </p:cNvPr>
          <p:cNvSpPr>
            <a:spLocks noChangeArrowheads="1"/>
          </p:cNvSpPr>
          <p:nvPr/>
        </p:nvSpPr>
        <p:spPr bwMode="auto">
          <a:xfrm>
            <a:off x="2659454" y="4470229"/>
            <a:ext cx="104162" cy="104169"/>
          </a:xfrm>
          <a:prstGeom prst="ellipse">
            <a:avLst/>
          </a:prstGeom>
          <a:solidFill>
            <a:schemeClr val="accent1">
              <a:lumMod val="100000"/>
            </a:schemeClr>
          </a:solidFill>
          <a:ln>
            <a:noFill/>
          </a:ln>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009FDE"/>
              </a:solidFill>
              <a:effectLst/>
              <a:uLnTx/>
              <a:uFillTx/>
              <a:latin typeface="Arial"/>
              <a:cs typeface="+mn-ea"/>
              <a:sym typeface="+mn-lt"/>
            </a:endParaRPr>
          </a:p>
        </p:txBody>
      </p:sp>
      <p:grpSp>
        <p:nvGrpSpPr>
          <p:cNvPr id="50" name="Group 63">
            <a:extLst>
              <a:ext uri="{FF2B5EF4-FFF2-40B4-BE49-F238E27FC236}">
                <a16:creationId xmlns:a16="http://schemas.microsoft.com/office/drawing/2014/main" id="{7DE0A48F-663C-4444-8786-A9CC01BD350E}"/>
              </a:ext>
            </a:extLst>
          </p:cNvPr>
          <p:cNvGrpSpPr>
            <a:grpSpLocks/>
          </p:cNvGrpSpPr>
          <p:nvPr/>
        </p:nvGrpSpPr>
        <p:grpSpPr bwMode="auto">
          <a:xfrm>
            <a:off x="1996558" y="5039838"/>
            <a:ext cx="1676740" cy="360441"/>
            <a:chOff x="0" y="0"/>
            <a:chExt cx="3353548" cy="720844"/>
          </a:xfrm>
        </p:grpSpPr>
        <p:sp>
          <p:nvSpPr>
            <p:cNvPr id="54" name="Shape 60">
              <a:extLst>
                <a:ext uri="{FF2B5EF4-FFF2-40B4-BE49-F238E27FC236}">
                  <a16:creationId xmlns:a16="http://schemas.microsoft.com/office/drawing/2014/main" id="{A59BAF95-ACF3-4BCA-9835-E7F67B1B9F2D}"/>
                </a:ext>
              </a:extLst>
            </p:cNvPr>
            <p:cNvSpPr>
              <a:spLocks noChangeArrowheads="1"/>
            </p:cNvSpPr>
            <p:nvPr/>
          </p:nvSpPr>
          <p:spPr bwMode="auto">
            <a:xfrm>
              <a:off x="0" y="0"/>
              <a:ext cx="3353548" cy="720844"/>
            </a:xfrm>
            <a:prstGeom prst="roundRect">
              <a:avLst>
                <a:gd name="adj" fmla="val 50000"/>
              </a:avLst>
            </a:prstGeom>
            <a:solidFill>
              <a:schemeClr val="accent1">
                <a:lumMod val="100000"/>
              </a:schemeClr>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dirty="0">
                <a:ln>
                  <a:noFill/>
                </a:ln>
                <a:solidFill>
                  <a:srgbClr val="FFFFFF"/>
                </a:solidFill>
                <a:effectLst/>
                <a:uLnTx/>
                <a:uFillTx/>
                <a:latin typeface="Arial"/>
                <a:cs typeface="+mn-ea"/>
                <a:sym typeface="+mn-lt"/>
              </a:endParaRPr>
            </a:p>
          </p:txBody>
        </p:sp>
        <p:sp>
          <p:nvSpPr>
            <p:cNvPr id="55" name="Shape 61">
              <a:extLst>
                <a:ext uri="{FF2B5EF4-FFF2-40B4-BE49-F238E27FC236}">
                  <a16:creationId xmlns:a16="http://schemas.microsoft.com/office/drawing/2014/main" id="{F70B2567-B63B-46FF-9E42-D9328D8FC819}"/>
                </a:ext>
              </a:extLst>
            </p:cNvPr>
            <p:cNvSpPr>
              <a:spLocks noChangeArrowheads="1"/>
            </p:cNvSpPr>
            <p:nvPr/>
          </p:nvSpPr>
          <p:spPr bwMode="auto">
            <a:xfrm>
              <a:off x="745255" y="140681"/>
              <a:ext cx="2343122" cy="4103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altLang="ru-RU" sz="1000" b="0" i="0" u="none" strike="noStrike" kern="1200" cap="none" spc="0" normalizeH="0" baseline="0" noProof="0" dirty="0" err="1">
                  <a:ln>
                    <a:noFill/>
                  </a:ln>
                  <a:solidFill>
                    <a:srgbClr val="FFFFFF"/>
                  </a:solidFill>
                  <a:effectLst/>
                  <a:uLnTx/>
                  <a:uFillTx/>
                  <a:latin typeface="Arial"/>
                  <a:cs typeface="+mn-ea"/>
                  <a:sym typeface="+mn-lt"/>
                </a:rPr>
                <a:t>Information</a:t>
              </a:r>
              <a:r>
                <a:rPr kumimoji="0" lang="ru-RU" altLang="ru-RU" sz="1000" b="0" i="0" u="none" strike="noStrike" kern="1200" cap="none" spc="0" normalizeH="0" baseline="0" noProof="0" dirty="0">
                  <a:ln>
                    <a:noFill/>
                  </a:ln>
                  <a:solidFill>
                    <a:srgbClr val="FFFFFF"/>
                  </a:solidFill>
                  <a:effectLst/>
                  <a:uLnTx/>
                  <a:uFillTx/>
                  <a:latin typeface="Arial"/>
                  <a:cs typeface="+mn-ea"/>
                  <a:sym typeface="+mn-lt"/>
                </a:rPr>
                <a:t> </a:t>
              </a:r>
              <a:r>
                <a:rPr kumimoji="0" lang="ru-RU" altLang="ru-RU" sz="1000" b="0" i="0" u="none" strike="noStrike" kern="1200" cap="none" spc="0" normalizeH="0" baseline="0" noProof="0" dirty="0" err="1">
                  <a:ln>
                    <a:noFill/>
                  </a:ln>
                  <a:solidFill>
                    <a:srgbClr val="FFFFFF"/>
                  </a:solidFill>
                  <a:effectLst/>
                  <a:uLnTx/>
                  <a:uFillTx/>
                  <a:latin typeface="Arial"/>
                  <a:cs typeface="+mn-ea"/>
                  <a:sym typeface="+mn-lt"/>
                </a:rPr>
                <a:t>text</a:t>
              </a:r>
              <a:endParaRPr kumimoji="0" lang="ru-RU" altLang="ru-RU" sz="1000" b="0" i="0" u="none" strike="noStrike" kern="1200" cap="none" spc="0" normalizeH="0" baseline="0" noProof="0" dirty="0">
                <a:ln>
                  <a:noFill/>
                </a:ln>
                <a:solidFill>
                  <a:srgbClr val="FFFFFF"/>
                </a:solidFill>
                <a:effectLst/>
                <a:uLnTx/>
                <a:uFillTx/>
                <a:latin typeface="Arial"/>
                <a:cs typeface="+mn-ea"/>
                <a:sym typeface="+mn-lt"/>
              </a:endParaRPr>
            </a:p>
          </p:txBody>
        </p:sp>
        <p:sp>
          <p:nvSpPr>
            <p:cNvPr id="56" name="Shape 62">
              <a:extLst>
                <a:ext uri="{FF2B5EF4-FFF2-40B4-BE49-F238E27FC236}">
                  <a16:creationId xmlns:a16="http://schemas.microsoft.com/office/drawing/2014/main" id="{6620A640-C17B-4719-B531-0572A83459A4}"/>
                </a:ext>
              </a:extLst>
            </p:cNvPr>
            <p:cNvSpPr>
              <a:spLocks noChangeArrowheads="1"/>
            </p:cNvSpPr>
            <p:nvPr/>
          </p:nvSpPr>
          <p:spPr bwMode="auto">
            <a:xfrm>
              <a:off x="68502" y="69972"/>
              <a:ext cx="580897" cy="580898"/>
            </a:xfrm>
            <a:prstGeom prst="ellipse">
              <a:avLst/>
            </a:prstGeom>
            <a:solidFill>
              <a:srgbClr val="FFFFFF"/>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FFFFFF"/>
                </a:solidFill>
                <a:effectLst/>
                <a:uLnTx/>
                <a:uFillTx/>
                <a:latin typeface="Arial"/>
                <a:cs typeface="+mn-ea"/>
                <a:sym typeface="+mn-lt"/>
              </a:endParaRPr>
            </a:p>
          </p:txBody>
        </p:sp>
      </p:grpSp>
      <p:sp>
        <p:nvSpPr>
          <p:cNvPr id="51" name="Shape 86">
            <a:extLst>
              <a:ext uri="{FF2B5EF4-FFF2-40B4-BE49-F238E27FC236}">
                <a16:creationId xmlns:a16="http://schemas.microsoft.com/office/drawing/2014/main" id="{3ADC503C-981D-4F83-8A6C-B7DA383AD59B}"/>
              </a:ext>
            </a:extLst>
          </p:cNvPr>
          <p:cNvSpPr>
            <a:spLocks noChangeArrowheads="1"/>
          </p:cNvSpPr>
          <p:nvPr/>
        </p:nvSpPr>
        <p:spPr bwMode="auto">
          <a:xfrm>
            <a:off x="3344553" y="3903202"/>
            <a:ext cx="1824192" cy="205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altLang="ru-RU" sz="1000" b="0" i="0" u="none" strike="noStrike" kern="1200" cap="none" spc="0" normalizeH="0" baseline="0" noProof="0">
                <a:ln>
                  <a:noFill/>
                </a:ln>
                <a:solidFill>
                  <a:schemeClr val="accent1"/>
                </a:solidFill>
                <a:effectLst/>
                <a:uLnTx/>
                <a:uFillTx/>
                <a:latin typeface="Arial"/>
                <a:cs typeface="+mn-ea"/>
                <a:sym typeface="+mn-lt"/>
              </a:rPr>
              <a:t>Fish bone text block </a:t>
            </a:r>
          </a:p>
        </p:txBody>
      </p:sp>
      <p:sp>
        <p:nvSpPr>
          <p:cNvPr id="52" name="Shape 87">
            <a:extLst>
              <a:ext uri="{FF2B5EF4-FFF2-40B4-BE49-F238E27FC236}">
                <a16:creationId xmlns:a16="http://schemas.microsoft.com/office/drawing/2014/main" id="{124486AE-ED74-480C-A52E-880EFED7CFA2}"/>
              </a:ext>
            </a:extLst>
          </p:cNvPr>
          <p:cNvSpPr>
            <a:spLocks noChangeArrowheads="1"/>
          </p:cNvSpPr>
          <p:nvPr/>
        </p:nvSpPr>
        <p:spPr bwMode="auto">
          <a:xfrm>
            <a:off x="2886358" y="4417961"/>
            <a:ext cx="1824192" cy="205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altLang="ru-RU" sz="1000" b="0" i="0" u="none" strike="noStrike" kern="1200" cap="none" spc="0" normalizeH="0" baseline="0" noProof="0">
                <a:ln>
                  <a:noFill/>
                </a:ln>
                <a:solidFill>
                  <a:schemeClr val="accent1"/>
                </a:solidFill>
                <a:effectLst/>
                <a:uLnTx/>
                <a:uFillTx/>
                <a:latin typeface="Arial"/>
                <a:cs typeface="+mn-ea"/>
                <a:sym typeface="+mn-lt"/>
              </a:rPr>
              <a:t>Fish bone text block </a:t>
            </a:r>
          </a:p>
        </p:txBody>
      </p:sp>
      <p:sp>
        <p:nvSpPr>
          <p:cNvPr id="53" name="Shape 92">
            <a:extLst>
              <a:ext uri="{FF2B5EF4-FFF2-40B4-BE49-F238E27FC236}">
                <a16:creationId xmlns:a16="http://schemas.microsoft.com/office/drawing/2014/main" id="{1F52DE4C-9B69-4D92-BF4F-3388848A2E3A}"/>
              </a:ext>
            </a:extLst>
          </p:cNvPr>
          <p:cNvSpPr>
            <a:spLocks/>
          </p:cNvSpPr>
          <p:nvPr/>
        </p:nvSpPr>
        <p:spPr bwMode="auto">
          <a:xfrm>
            <a:off x="2115501" y="5154386"/>
            <a:ext cx="127924" cy="117489"/>
          </a:xfrm>
          <a:custGeom>
            <a:avLst/>
            <a:gdLst>
              <a:gd name="T0" fmla="*/ 17948527 w 21600"/>
              <a:gd name="T1" fmla="*/ 13902014 h 21600"/>
              <a:gd name="T2" fmla="*/ 17948527 w 21600"/>
              <a:gd name="T3" fmla="*/ 13902014 h 21600"/>
              <a:gd name="T4" fmla="*/ 17948527 w 21600"/>
              <a:gd name="T5" fmla="*/ 13902014 h 21600"/>
              <a:gd name="T6" fmla="*/ 17948527 w 21600"/>
              <a:gd name="T7" fmla="*/ 13902014 h 21600"/>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21600" h="21600" extrusionOk="0">
                <a:moveTo>
                  <a:pt x="0" y="21600"/>
                </a:moveTo>
                <a:lnTo>
                  <a:pt x="3950" y="21600"/>
                </a:lnTo>
                <a:lnTo>
                  <a:pt x="3950" y="8656"/>
                </a:lnTo>
                <a:lnTo>
                  <a:pt x="0" y="8656"/>
                </a:lnTo>
                <a:lnTo>
                  <a:pt x="0" y="21600"/>
                </a:lnTo>
                <a:close/>
                <a:moveTo>
                  <a:pt x="21600" y="9649"/>
                </a:moveTo>
                <a:cubicBezTo>
                  <a:pt x="21600" y="8418"/>
                  <a:pt x="20658" y="7624"/>
                  <a:pt x="19534" y="7624"/>
                </a:cubicBezTo>
                <a:lnTo>
                  <a:pt x="13337" y="7624"/>
                </a:lnTo>
                <a:lnTo>
                  <a:pt x="14460" y="2462"/>
                </a:lnTo>
                <a:lnTo>
                  <a:pt x="14460" y="2263"/>
                </a:lnTo>
                <a:cubicBezTo>
                  <a:pt x="14460" y="1826"/>
                  <a:pt x="14279" y="1429"/>
                  <a:pt x="14098" y="1032"/>
                </a:cubicBezTo>
                <a:lnTo>
                  <a:pt x="12974" y="0"/>
                </a:lnTo>
                <a:lnTo>
                  <a:pt x="6379" y="6988"/>
                </a:lnTo>
                <a:cubicBezTo>
                  <a:pt x="6016" y="7385"/>
                  <a:pt x="5835" y="8021"/>
                  <a:pt x="5835" y="8656"/>
                </a:cubicBezTo>
                <a:lnTo>
                  <a:pt x="5835" y="19337"/>
                </a:lnTo>
                <a:cubicBezTo>
                  <a:pt x="5835" y="20568"/>
                  <a:pt x="6777" y="21600"/>
                  <a:pt x="7901" y="21600"/>
                </a:cubicBezTo>
                <a:lnTo>
                  <a:pt x="16707" y="21600"/>
                </a:lnTo>
                <a:cubicBezTo>
                  <a:pt x="17468" y="21600"/>
                  <a:pt x="18230" y="21004"/>
                  <a:pt x="18411" y="20171"/>
                </a:cubicBezTo>
                <a:lnTo>
                  <a:pt x="21419" y="12547"/>
                </a:lnTo>
                <a:cubicBezTo>
                  <a:pt x="21419" y="12349"/>
                  <a:pt x="21419" y="12150"/>
                  <a:pt x="21419" y="11713"/>
                </a:cubicBezTo>
                <a:lnTo>
                  <a:pt x="21419" y="9649"/>
                </a:lnTo>
                <a:lnTo>
                  <a:pt x="21600" y="9649"/>
                </a:lnTo>
                <a:close/>
              </a:path>
            </a:pathLst>
          </a:custGeom>
          <a:solidFill>
            <a:schemeClr val="accent1">
              <a:lumMod val="100000"/>
            </a:schemeClr>
          </a:solidFill>
          <a:ln>
            <a:noFill/>
          </a:ln>
        </p:spPr>
        <p:txBody>
          <a:bodyPr lIns="22860" tIns="22860" rIns="22860" bIns="2286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500" b="0" i="0" u="none" strike="noStrike" kern="1200" cap="none" spc="0" normalizeH="0" baseline="0" noProof="0">
              <a:ln>
                <a:noFill/>
              </a:ln>
              <a:solidFill>
                <a:srgbClr val="FFFFFF"/>
              </a:solidFill>
              <a:effectLst/>
              <a:uLnTx/>
              <a:uFillTx/>
              <a:latin typeface="Arial"/>
              <a:cs typeface="+mn-ea"/>
              <a:sym typeface="+mn-lt"/>
            </a:endParaRPr>
          </a:p>
        </p:txBody>
      </p:sp>
      <p:sp>
        <p:nvSpPr>
          <p:cNvPr id="37" name="Shape 50">
            <a:extLst>
              <a:ext uri="{FF2B5EF4-FFF2-40B4-BE49-F238E27FC236}">
                <a16:creationId xmlns:a16="http://schemas.microsoft.com/office/drawing/2014/main" id="{623C8C60-13B3-485E-93AE-1DB9E4576A69}"/>
              </a:ext>
            </a:extLst>
          </p:cNvPr>
          <p:cNvSpPr>
            <a:spLocks noChangeShapeType="1"/>
          </p:cNvSpPr>
          <p:nvPr/>
        </p:nvSpPr>
        <p:spPr bwMode="auto">
          <a:xfrm flipH="1" flipV="1">
            <a:off x="2224915" y="1804898"/>
            <a:ext cx="1484084" cy="1623257"/>
          </a:xfrm>
          <a:prstGeom prst="line">
            <a:avLst/>
          </a:prstGeom>
          <a:noFill/>
          <a:ln w="63500">
            <a:solidFill>
              <a:schemeClr val="accent1">
                <a:lumMod val="100000"/>
              </a:schemeClr>
            </a:solidFill>
            <a:miter lim="400000"/>
            <a:headEnd/>
            <a:tailEnd/>
          </a:ln>
          <a:extLst>
            <a:ext uri="{909E8E84-426E-40DD-AFC4-6F175D3DCCD1}">
              <a14:hiddenFill xmlns:a14="http://schemas.microsoft.com/office/drawing/2010/main">
                <a:noFill/>
              </a14:hiddenFill>
            </a:ext>
          </a:extLst>
        </p:spPr>
        <p:txBody>
          <a:bodyPr lIns="25400" tIns="25400" rIns="25400" bIns="254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500" b="0" i="0" u="none" strike="noStrike" kern="1200" cap="none" spc="0" normalizeH="0" baseline="0" noProof="0">
              <a:ln>
                <a:noFill/>
              </a:ln>
              <a:solidFill>
                <a:srgbClr val="000000"/>
              </a:solidFill>
              <a:effectLst/>
              <a:uLnTx/>
              <a:uFillTx/>
              <a:latin typeface="Arial"/>
              <a:cs typeface="+mn-ea"/>
              <a:sym typeface="+mn-lt"/>
            </a:endParaRPr>
          </a:p>
        </p:txBody>
      </p:sp>
      <p:grpSp>
        <p:nvGrpSpPr>
          <p:cNvPr id="38" name="Group 71">
            <a:extLst>
              <a:ext uri="{FF2B5EF4-FFF2-40B4-BE49-F238E27FC236}">
                <a16:creationId xmlns:a16="http://schemas.microsoft.com/office/drawing/2014/main" id="{AE11ED8C-62B1-4402-8B3E-1987E910AF7C}"/>
              </a:ext>
            </a:extLst>
          </p:cNvPr>
          <p:cNvGrpSpPr>
            <a:grpSpLocks/>
          </p:cNvGrpSpPr>
          <p:nvPr/>
        </p:nvGrpSpPr>
        <p:grpSpPr bwMode="auto">
          <a:xfrm>
            <a:off x="2023793" y="1457721"/>
            <a:ext cx="1676739" cy="360441"/>
            <a:chOff x="0" y="0"/>
            <a:chExt cx="3353548" cy="720844"/>
          </a:xfrm>
        </p:grpSpPr>
        <p:sp>
          <p:nvSpPr>
            <p:cNvPr id="44" name="Shape 68">
              <a:extLst>
                <a:ext uri="{FF2B5EF4-FFF2-40B4-BE49-F238E27FC236}">
                  <a16:creationId xmlns:a16="http://schemas.microsoft.com/office/drawing/2014/main" id="{F47F32F8-656E-482F-9603-94B285993D92}"/>
                </a:ext>
              </a:extLst>
            </p:cNvPr>
            <p:cNvSpPr>
              <a:spLocks noChangeArrowheads="1"/>
            </p:cNvSpPr>
            <p:nvPr/>
          </p:nvSpPr>
          <p:spPr bwMode="auto">
            <a:xfrm>
              <a:off x="0" y="0"/>
              <a:ext cx="3353548" cy="720844"/>
            </a:xfrm>
            <a:prstGeom prst="roundRect">
              <a:avLst>
                <a:gd name="adj" fmla="val 50000"/>
              </a:avLst>
            </a:prstGeom>
            <a:solidFill>
              <a:schemeClr val="accent1">
                <a:lumMod val="100000"/>
              </a:schemeClr>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FFFFFF"/>
                </a:solidFill>
                <a:effectLst/>
                <a:uLnTx/>
                <a:uFillTx/>
                <a:latin typeface="Arial"/>
                <a:cs typeface="+mn-ea"/>
                <a:sym typeface="+mn-lt"/>
              </a:endParaRPr>
            </a:p>
          </p:txBody>
        </p:sp>
        <p:sp>
          <p:nvSpPr>
            <p:cNvPr id="45" name="Shape 69">
              <a:extLst>
                <a:ext uri="{FF2B5EF4-FFF2-40B4-BE49-F238E27FC236}">
                  <a16:creationId xmlns:a16="http://schemas.microsoft.com/office/drawing/2014/main" id="{1AC9AF6A-242A-429E-9781-06048CF2CDBD}"/>
                </a:ext>
              </a:extLst>
            </p:cNvPr>
            <p:cNvSpPr>
              <a:spLocks noChangeArrowheads="1"/>
            </p:cNvSpPr>
            <p:nvPr/>
          </p:nvSpPr>
          <p:spPr bwMode="auto">
            <a:xfrm>
              <a:off x="745256" y="140681"/>
              <a:ext cx="2343123" cy="4103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altLang="ru-RU" sz="1000" b="0" i="0" u="none" strike="noStrike" kern="1200" cap="none" spc="0" normalizeH="0" baseline="0" noProof="0" dirty="0" err="1">
                  <a:ln>
                    <a:noFill/>
                  </a:ln>
                  <a:solidFill>
                    <a:srgbClr val="FFFFFF"/>
                  </a:solidFill>
                  <a:effectLst/>
                  <a:uLnTx/>
                  <a:uFillTx/>
                  <a:latin typeface="Arial"/>
                  <a:cs typeface="+mn-ea"/>
                  <a:sym typeface="+mn-lt"/>
                </a:rPr>
                <a:t>Information</a:t>
              </a:r>
              <a:r>
                <a:rPr kumimoji="0" lang="ru-RU" altLang="ru-RU" sz="1000" b="0" i="0" u="none" strike="noStrike" kern="1200" cap="none" spc="0" normalizeH="0" baseline="0" noProof="0" dirty="0">
                  <a:ln>
                    <a:noFill/>
                  </a:ln>
                  <a:solidFill>
                    <a:srgbClr val="FFFFFF"/>
                  </a:solidFill>
                  <a:effectLst/>
                  <a:uLnTx/>
                  <a:uFillTx/>
                  <a:latin typeface="Arial"/>
                  <a:cs typeface="+mn-ea"/>
                  <a:sym typeface="+mn-lt"/>
                </a:rPr>
                <a:t> </a:t>
              </a:r>
              <a:r>
                <a:rPr kumimoji="0" lang="ru-RU" altLang="ru-RU" sz="1000" b="0" i="0" u="none" strike="noStrike" kern="1200" cap="none" spc="0" normalizeH="0" baseline="0" noProof="0" dirty="0" err="1">
                  <a:ln>
                    <a:noFill/>
                  </a:ln>
                  <a:solidFill>
                    <a:srgbClr val="FFFFFF"/>
                  </a:solidFill>
                  <a:effectLst/>
                  <a:uLnTx/>
                  <a:uFillTx/>
                  <a:latin typeface="Arial"/>
                  <a:cs typeface="+mn-ea"/>
                  <a:sym typeface="+mn-lt"/>
                </a:rPr>
                <a:t>text</a:t>
              </a:r>
              <a:endParaRPr kumimoji="0" lang="ru-RU" altLang="ru-RU" sz="1000" b="0" i="0" u="none" strike="noStrike" kern="1200" cap="none" spc="0" normalizeH="0" baseline="0" noProof="0" dirty="0">
                <a:ln>
                  <a:noFill/>
                </a:ln>
                <a:solidFill>
                  <a:srgbClr val="FFFFFF"/>
                </a:solidFill>
                <a:effectLst/>
                <a:uLnTx/>
                <a:uFillTx/>
                <a:latin typeface="Arial"/>
                <a:cs typeface="+mn-ea"/>
                <a:sym typeface="+mn-lt"/>
              </a:endParaRPr>
            </a:p>
          </p:txBody>
        </p:sp>
        <p:sp>
          <p:nvSpPr>
            <p:cNvPr id="46" name="Shape 70">
              <a:extLst>
                <a:ext uri="{FF2B5EF4-FFF2-40B4-BE49-F238E27FC236}">
                  <a16:creationId xmlns:a16="http://schemas.microsoft.com/office/drawing/2014/main" id="{74317C39-A038-4C53-9042-CC40789E21B0}"/>
                </a:ext>
              </a:extLst>
            </p:cNvPr>
            <p:cNvSpPr>
              <a:spLocks noChangeArrowheads="1"/>
            </p:cNvSpPr>
            <p:nvPr/>
          </p:nvSpPr>
          <p:spPr bwMode="auto">
            <a:xfrm>
              <a:off x="68502" y="69972"/>
              <a:ext cx="580897" cy="580898"/>
            </a:xfrm>
            <a:prstGeom prst="ellipse">
              <a:avLst/>
            </a:prstGeom>
            <a:solidFill>
              <a:srgbClr val="FFFFFF"/>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FFFFFF"/>
                </a:solidFill>
                <a:effectLst/>
                <a:uLnTx/>
                <a:uFillTx/>
                <a:latin typeface="Arial"/>
                <a:cs typeface="+mn-ea"/>
                <a:sym typeface="+mn-lt"/>
              </a:endParaRPr>
            </a:p>
          </p:txBody>
        </p:sp>
      </p:grpSp>
      <p:sp>
        <p:nvSpPr>
          <p:cNvPr id="39" name="Shape 78">
            <a:extLst>
              <a:ext uri="{FF2B5EF4-FFF2-40B4-BE49-F238E27FC236}">
                <a16:creationId xmlns:a16="http://schemas.microsoft.com/office/drawing/2014/main" id="{248E579C-72B8-44D1-9826-AA2EAFBE5742}"/>
              </a:ext>
            </a:extLst>
          </p:cNvPr>
          <p:cNvSpPr>
            <a:spLocks noChangeArrowheads="1"/>
          </p:cNvSpPr>
          <p:nvPr/>
        </p:nvSpPr>
        <p:spPr bwMode="auto">
          <a:xfrm>
            <a:off x="2653060" y="2285362"/>
            <a:ext cx="104162" cy="104169"/>
          </a:xfrm>
          <a:prstGeom prst="ellipse">
            <a:avLst/>
          </a:prstGeom>
          <a:solidFill>
            <a:schemeClr val="accent1">
              <a:lumMod val="100000"/>
            </a:schemeClr>
          </a:solidFill>
          <a:ln>
            <a:noFill/>
          </a:ln>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009FDE"/>
              </a:solidFill>
              <a:effectLst/>
              <a:uLnTx/>
              <a:uFillTx/>
              <a:latin typeface="Arial"/>
              <a:cs typeface="+mn-ea"/>
              <a:sym typeface="+mn-lt"/>
            </a:endParaRPr>
          </a:p>
        </p:txBody>
      </p:sp>
      <p:sp>
        <p:nvSpPr>
          <p:cNvPr id="40" name="Shape 79">
            <a:extLst>
              <a:ext uri="{FF2B5EF4-FFF2-40B4-BE49-F238E27FC236}">
                <a16:creationId xmlns:a16="http://schemas.microsoft.com/office/drawing/2014/main" id="{9F6732FD-A83D-475E-93DE-2CED3E136F74}"/>
              </a:ext>
            </a:extLst>
          </p:cNvPr>
          <p:cNvSpPr>
            <a:spLocks noChangeArrowheads="1"/>
          </p:cNvSpPr>
          <p:nvPr/>
        </p:nvSpPr>
        <p:spPr bwMode="auto">
          <a:xfrm>
            <a:off x="3129152" y="2804328"/>
            <a:ext cx="104162" cy="104170"/>
          </a:xfrm>
          <a:prstGeom prst="ellipse">
            <a:avLst/>
          </a:prstGeom>
          <a:solidFill>
            <a:schemeClr val="accent1">
              <a:lumMod val="100000"/>
            </a:schemeClr>
          </a:solidFill>
          <a:ln>
            <a:noFill/>
          </a:ln>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009FDE"/>
              </a:solidFill>
              <a:effectLst/>
              <a:uLnTx/>
              <a:uFillTx/>
              <a:latin typeface="Arial"/>
              <a:cs typeface="+mn-ea"/>
              <a:sym typeface="+mn-lt"/>
            </a:endParaRPr>
          </a:p>
        </p:txBody>
      </p:sp>
      <p:sp>
        <p:nvSpPr>
          <p:cNvPr id="41" name="Shape 82">
            <a:extLst>
              <a:ext uri="{FF2B5EF4-FFF2-40B4-BE49-F238E27FC236}">
                <a16:creationId xmlns:a16="http://schemas.microsoft.com/office/drawing/2014/main" id="{3A32777C-444B-41E8-9227-67DEF981288E}"/>
              </a:ext>
            </a:extLst>
          </p:cNvPr>
          <p:cNvSpPr>
            <a:spLocks noChangeArrowheads="1"/>
          </p:cNvSpPr>
          <p:nvPr/>
        </p:nvSpPr>
        <p:spPr bwMode="auto">
          <a:xfrm>
            <a:off x="2880851" y="2234854"/>
            <a:ext cx="1824192" cy="205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altLang="ru-RU" sz="1000" b="0" i="0" u="none" strike="noStrike" kern="1200" cap="none" spc="0" normalizeH="0" baseline="0" noProof="0" dirty="0" err="1">
                <a:ln>
                  <a:noFill/>
                </a:ln>
                <a:solidFill>
                  <a:schemeClr val="accent1"/>
                </a:solidFill>
                <a:effectLst/>
                <a:uLnTx/>
                <a:uFillTx/>
                <a:latin typeface="Arial"/>
                <a:cs typeface="+mn-ea"/>
                <a:sym typeface="+mn-lt"/>
              </a:rPr>
              <a:t>Fish</a:t>
            </a:r>
            <a:r>
              <a:rPr kumimoji="0" lang="ru-RU" altLang="ru-RU" sz="1000" b="0" i="0" u="none" strike="noStrike" kern="1200" cap="none" spc="0" normalizeH="0" baseline="0" noProof="0" dirty="0">
                <a:ln>
                  <a:noFill/>
                </a:ln>
                <a:solidFill>
                  <a:schemeClr val="accent1"/>
                </a:solidFill>
                <a:effectLst/>
                <a:uLnTx/>
                <a:uFillTx/>
                <a:latin typeface="Arial"/>
                <a:cs typeface="+mn-ea"/>
                <a:sym typeface="+mn-lt"/>
              </a:rPr>
              <a:t> </a:t>
            </a:r>
            <a:r>
              <a:rPr kumimoji="0" lang="ru-RU" altLang="ru-RU" sz="1000" b="0" i="0" u="none" strike="noStrike" kern="1200" cap="none" spc="0" normalizeH="0" baseline="0" noProof="0" dirty="0" err="1">
                <a:ln>
                  <a:noFill/>
                </a:ln>
                <a:solidFill>
                  <a:schemeClr val="accent1"/>
                </a:solidFill>
                <a:effectLst/>
                <a:uLnTx/>
                <a:uFillTx/>
                <a:latin typeface="Arial"/>
                <a:cs typeface="+mn-ea"/>
                <a:sym typeface="+mn-lt"/>
              </a:rPr>
              <a:t>bone</a:t>
            </a:r>
            <a:r>
              <a:rPr kumimoji="0" lang="ru-RU" altLang="ru-RU" sz="1000" b="0" i="0" u="none" strike="noStrike" kern="1200" cap="none" spc="0" normalizeH="0" baseline="0" noProof="0" dirty="0">
                <a:ln>
                  <a:noFill/>
                </a:ln>
                <a:solidFill>
                  <a:schemeClr val="accent1"/>
                </a:solidFill>
                <a:effectLst/>
                <a:uLnTx/>
                <a:uFillTx/>
                <a:latin typeface="Arial"/>
                <a:cs typeface="+mn-ea"/>
                <a:sym typeface="+mn-lt"/>
              </a:rPr>
              <a:t> </a:t>
            </a:r>
            <a:r>
              <a:rPr kumimoji="0" lang="ru-RU" altLang="ru-RU" sz="1000" b="0" i="0" u="none" strike="noStrike" kern="1200" cap="none" spc="0" normalizeH="0" baseline="0" noProof="0" dirty="0" err="1">
                <a:ln>
                  <a:noFill/>
                </a:ln>
                <a:solidFill>
                  <a:schemeClr val="accent1"/>
                </a:solidFill>
                <a:effectLst/>
                <a:uLnTx/>
                <a:uFillTx/>
                <a:latin typeface="Arial"/>
                <a:cs typeface="+mn-ea"/>
                <a:sym typeface="+mn-lt"/>
              </a:rPr>
              <a:t>text</a:t>
            </a:r>
            <a:r>
              <a:rPr kumimoji="0" lang="ru-RU" altLang="ru-RU" sz="1000" b="0" i="0" u="none" strike="noStrike" kern="1200" cap="none" spc="0" normalizeH="0" baseline="0" noProof="0" dirty="0">
                <a:ln>
                  <a:noFill/>
                </a:ln>
                <a:solidFill>
                  <a:schemeClr val="accent1"/>
                </a:solidFill>
                <a:effectLst/>
                <a:uLnTx/>
                <a:uFillTx/>
                <a:latin typeface="Arial"/>
                <a:cs typeface="+mn-ea"/>
                <a:sym typeface="+mn-lt"/>
              </a:rPr>
              <a:t> </a:t>
            </a:r>
            <a:r>
              <a:rPr kumimoji="0" lang="ru-RU" altLang="ru-RU" sz="1000" b="0" i="0" u="none" strike="noStrike" kern="1200" cap="none" spc="0" normalizeH="0" baseline="0" noProof="0" dirty="0" err="1">
                <a:ln>
                  <a:noFill/>
                </a:ln>
                <a:solidFill>
                  <a:schemeClr val="accent1"/>
                </a:solidFill>
                <a:effectLst/>
                <a:uLnTx/>
                <a:uFillTx/>
                <a:latin typeface="Arial"/>
                <a:cs typeface="+mn-ea"/>
                <a:sym typeface="+mn-lt"/>
              </a:rPr>
              <a:t>block</a:t>
            </a:r>
            <a:r>
              <a:rPr kumimoji="0" lang="ru-RU" altLang="ru-RU" sz="1000" b="0" i="0" u="none" strike="noStrike" kern="1200" cap="none" spc="0" normalizeH="0" baseline="0" noProof="0" dirty="0">
                <a:ln>
                  <a:noFill/>
                </a:ln>
                <a:solidFill>
                  <a:schemeClr val="accent1"/>
                </a:solidFill>
                <a:effectLst/>
                <a:uLnTx/>
                <a:uFillTx/>
                <a:latin typeface="Arial"/>
                <a:cs typeface="+mn-ea"/>
                <a:sym typeface="+mn-lt"/>
              </a:rPr>
              <a:t> </a:t>
            </a:r>
          </a:p>
        </p:txBody>
      </p:sp>
      <p:sp>
        <p:nvSpPr>
          <p:cNvPr id="42" name="Shape 83">
            <a:extLst>
              <a:ext uri="{FF2B5EF4-FFF2-40B4-BE49-F238E27FC236}">
                <a16:creationId xmlns:a16="http://schemas.microsoft.com/office/drawing/2014/main" id="{581A0C2F-B1AE-4E3A-A3E3-F4CAFD73AB0D}"/>
              </a:ext>
            </a:extLst>
          </p:cNvPr>
          <p:cNvSpPr>
            <a:spLocks noChangeArrowheads="1"/>
          </p:cNvSpPr>
          <p:nvPr/>
        </p:nvSpPr>
        <p:spPr bwMode="auto">
          <a:xfrm>
            <a:off x="3356087" y="2749613"/>
            <a:ext cx="1824192" cy="205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altLang="ru-RU" sz="1000" b="0" i="0" u="none" strike="noStrike" kern="1200" cap="none" spc="0" normalizeH="0" baseline="0" noProof="0" dirty="0" err="1">
                <a:ln>
                  <a:noFill/>
                </a:ln>
                <a:solidFill>
                  <a:schemeClr val="accent1"/>
                </a:solidFill>
                <a:effectLst/>
                <a:uLnTx/>
                <a:uFillTx/>
                <a:latin typeface="Arial"/>
                <a:cs typeface="+mn-ea"/>
                <a:sym typeface="+mn-lt"/>
              </a:rPr>
              <a:t>Fish</a:t>
            </a:r>
            <a:r>
              <a:rPr kumimoji="0" lang="ru-RU" altLang="ru-RU" sz="1000" b="0" i="0" u="none" strike="noStrike" kern="1200" cap="none" spc="0" normalizeH="0" baseline="0" noProof="0" dirty="0">
                <a:ln>
                  <a:noFill/>
                </a:ln>
                <a:solidFill>
                  <a:schemeClr val="accent1"/>
                </a:solidFill>
                <a:effectLst/>
                <a:uLnTx/>
                <a:uFillTx/>
                <a:latin typeface="Arial"/>
                <a:cs typeface="+mn-ea"/>
                <a:sym typeface="+mn-lt"/>
              </a:rPr>
              <a:t> </a:t>
            </a:r>
            <a:r>
              <a:rPr kumimoji="0" lang="ru-RU" altLang="ru-RU" sz="1000" b="0" i="0" u="none" strike="noStrike" kern="1200" cap="none" spc="0" normalizeH="0" baseline="0" noProof="0" dirty="0" err="1">
                <a:ln>
                  <a:noFill/>
                </a:ln>
                <a:solidFill>
                  <a:schemeClr val="accent1"/>
                </a:solidFill>
                <a:effectLst/>
                <a:uLnTx/>
                <a:uFillTx/>
                <a:latin typeface="Arial"/>
                <a:cs typeface="+mn-ea"/>
                <a:sym typeface="+mn-lt"/>
              </a:rPr>
              <a:t>bone</a:t>
            </a:r>
            <a:r>
              <a:rPr kumimoji="0" lang="ru-RU" altLang="ru-RU" sz="1000" b="0" i="0" u="none" strike="noStrike" kern="1200" cap="none" spc="0" normalizeH="0" baseline="0" noProof="0" dirty="0">
                <a:ln>
                  <a:noFill/>
                </a:ln>
                <a:solidFill>
                  <a:schemeClr val="accent1"/>
                </a:solidFill>
                <a:effectLst/>
                <a:uLnTx/>
                <a:uFillTx/>
                <a:latin typeface="Arial"/>
                <a:cs typeface="+mn-ea"/>
                <a:sym typeface="+mn-lt"/>
              </a:rPr>
              <a:t> </a:t>
            </a:r>
            <a:r>
              <a:rPr kumimoji="0" lang="ru-RU" altLang="ru-RU" sz="1000" b="0" i="0" u="none" strike="noStrike" kern="1200" cap="none" spc="0" normalizeH="0" baseline="0" noProof="0" dirty="0" err="1">
                <a:ln>
                  <a:noFill/>
                </a:ln>
                <a:solidFill>
                  <a:schemeClr val="accent1"/>
                </a:solidFill>
                <a:effectLst/>
                <a:uLnTx/>
                <a:uFillTx/>
                <a:latin typeface="Arial"/>
                <a:cs typeface="+mn-ea"/>
                <a:sym typeface="+mn-lt"/>
              </a:rPr>
              <a:t>text</a:t>
            </a:r>
            <a:r>
              <a:rPr kumimoji="0" lang="ru-RU" altLang="ru-RU" sz="1000" b="0" i="0" u="none" strike="noStrike" kern="1200" cap="none" spc="0" normalizeH="0" baseline="0" noProof="0" dirty="0">
                <a:ln>
                  <a:noFill/>
                </a:ln>
                <a:solidFill>
                  <a:schemeClr val="accent1"/>
                </a:solidFill>
                <a:effectLst/>
                <a:uLnTx/>
                <a:uFillTx/>
                <a:latin typeface="Arial"/>
                <a:cs typeface="+mn-ea"/>
                <a:sym typeface="+mn-lt"/>
              </a:rPr>
              <a:t> </a:t>
            </a:r>
            <a:r>
              <a:rPr kumimoji="0" lang="ru-RU" altLang="ru-RU" sz="1000" b="0" i="0" u="none" strike="noStrike" kern="1200" cap="none" spc="0" normalizeH="0" baseline="0" noProof="0" dirty="0" err="1">
                <a:ln>
                  <a:noFill/>
                </a:ln>
                <a:solidFill>
                  <a:schemeClr val="accent1"/>
                </a:solidFill>
                <a:effectLst/>
                <a:uLnTx/>
                <a:uFillTx/>
                <a:latin typeface="Arial"/>
                <a:cs typeface="+mn-ea"/>
                <a:sym typeface="+mn-lt"/>
              </a:rPr>
              <a:t>block</a:t>
            </a:r>
            <a:r>
              <a:rPr kumimoji="0" lang="ru-RU" altLang="ru-RU" sz="1000" b="0" i="0" u="none" strike="noStrike" kern="1200" cap="none" spc="0" normalizeH="0" baseline="0" noProof="0" dirty="0">
                <a:ln>
                  <a:noFill/>
                </a:ln>
                <a:solidFill>
                  <a:schemeClr val="accent1"/>
                </a:solidFill>
                <a:effectLst/>
                <a:uLnTx/>
                <a:uFillTx/>
                <a:latin typeface="Arial"/>
                <a:cs typeface="+mn-ea"/>
                <a:sym typeface="+mn-lt"/>
              </a:rPr>
              <a:t> </a:t>
            </a:r>
          </a:p>
        </p:txBody>
      </p:sp>
      <p:sp>
        <p:nvSpPr>
          <p:cNvPr id="43" name="Shape 93">
            <a:extLst>
              <a:ext uri="{FF2B5EF4-FFF2-40B4-BE49-F238E27FC236}">
                <a16:creationId xmlns:a16="http://schemas.microsoft.com/office/drawing/2014/main" id="{D29CD73E-489C-4FEE-A237-AA8D2A8D5352}"/>
              </a:ext>
            </a:extLst>
          </p:cNvPr>
          <p:cNvSpPr>
            <a:spLocks/>
          </p:cNvSpPr>
          <p:nvPr/>
        </p:nvSpPr>
        <p:spPr bwMode="auto">
          <a:xfrm>
            <a:off x="2137222" y="1588717"/>
            <a:ext cx="144068" cy="98449"/>
          </a:xfrm>
          <a:custGeom>
            <a:avLst/>
            <a:gdLst>
              <a:gd name="T0" fmla="*/ 25637706 w 21600"/>
              <a:gd name="T1" fmla="*/ 8179297 h 21600"/>
              <a:gd name="T2" fmla="*/ 25637706 w 21600"/>
              <a:gd name="T3" fmla="*/ 8179297 h 21600"/>
              <a:gd name="T4" fmla="*/ 25637706 w 21600"/>
              <a:gd name="T5" fmla="*/ 8179297 h 21600"/>
              <a:gd name="T6" fmla="*/ 25637706 w 21600"/>
              <a:gd name="T7" fmla="*/ 8179297 h 21600"/>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21600" h="21600" extrusionOk="0">
                <a:moveTo>
                  <a:pt x="10710" y="0"/>
                </a:moveTo>
                <a:cubicBezTo>
                  <a:pt x="5825" y="0"/>
                  <a:pt x="1520" y="4689"/>
                  <a:pt x="0" y="10958"/>
                </a:cubicBezTo>
                <a:cubicBezTo>
                  <a:pt x="1520" y="17227"/>
                  <a:pt x="5825" y="21600"/>
                  <a:pt x="10710" y="21600"/>
                </a:cubicBezTo>
                <a:cubicBezTo>
                  <a:pt x="15594" y="21600"/>
                  <a:pt x="19899" y="17227"/>
                  <a:pt x="21600" y="10958"/>
                </a:cubicBezTo>
                <a:cubicBezTo>
                  <a:pt x="19899" y="4689"/>
                  <a:pt x="15594" y="0"/>
                  <a:pt x="10710" y="0"/>
                </a:cubicBezTo>
                <a:close/>
                <a:moveTo>
                  <a:pt x="10710" y="18070"/>
                </a:moveTo>
                <a:cubicBezTo>
                  <a:pt x="7887" y="18070"/>
                  <a:pt x="5825" y="14909"/>
                  <a:pt x="5825" y="10958"/>
                </a:cubicBezTo>
                <a:cubicBezTo>
                  <a:pt x="5825" y="7007"/>
                  <a:pt x="7887" y="3846"/>
                  <a:pt x="10710" y="3846"/>
                </a:cubicBezTo>
                <a:cubicBezTo>
                  <a:pt x="13532" y="3846"/>
                  <a:pt x="15594" y="7007"/>
                  <a:pt x="15594" y="10958"/>
                </a:cubicBezTo>
                <a:cubicBezTo>
                  <a:pt x="15594" y="14909"/>
                  <a:pt x="13532" y="18070"/>
                  <a:pt x="10710" y="18070"/>
                </a:cubicBezTo>
                <a:close/>
                <a:moveTo>
                  <a:pt x="10710" y="6585"/>
                </a:moveTo>
                <a:cubicBezTo>
                  <a:pt x="9009" y="6585"/>
                  <a:pt x="7707" y="8482"/>
                  <a:pt x="7707" y="10958"/>
                </a:cubicBezTo>
                <a:cubicBezTo>
                  <a:pt x="7707" y="13381"/>
                  <a:pt x="9009" y="15067"/>
                  <a:pt x="10710" y="15067"/>
                </a:cubicBezTo>
                <a:cubicBezTo>
                  <a:pt x="12410" y="15067"/>
                  <a:pt x="13713" y="13381"/>
                  <a:pt x="13713" y="10958"/>
                </a:cubicBezTo>
                <a:cubicBezTo>
                  <a:pt x="13713" y="8482"/>
                  <a:pt x="12410" y="6585"/>
                  <a:pt x="10710" y="6585"/>
                </a:cubicBezTo>
                <a:close/>
              </a:path>
            </a:pathLst>
          </a:custGeom>
          <a:solidFill>
            <a:schemeClr val="accent1">
              <a:lumMod val="100000"/>
            </a:schemeClr>
          </a:solidFill>
          <a:ln>
            <a:noFill/>
          </a:ln>
        </p:spPr>
        <p:txBody>
          <a:bodyPr lIns="22860" tIns="22860" rIns="22860" bIns="2286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500" b="0" i="0" u="none" strike="noStrike" kern="1200" cap="none" spc="0" normalizeH="0" baseline="0" noProof="0">
              <a:ln>
                <a:noFill/>
              </a:ln>
              <a:solidFill>
                <a:srgbClr val="FFFFFF"/>
              </a:solidFill>
              <a:effectLst/>
              <a:uLnTx/>
              <a:uFillTx/>
              <a:latin typeface="Arial"/>
              <a:cs typeface="+mn-ea"/>
              <a:sym typeface="+mn-lt"/>
            </a:endParaRPr>
          </a:p>
        </p:txBody>
      </p:sp>
      <p:sp>
        <p:nvSpPr>
          <p:cNvPr id="27" name="Shape 53">
            <a:extLst>
              <a:ext uri="{FF2B5EF4-FFF2-40B4-BE49-F238E27FC236}">
                <a16:creationId xmlns:a16="http://schemas.microsoft.com/office/drawing/2014/main" id="{D2656332-E4A9-48DD-AE58-02AE4D5A18CC}"/>
              </a:ext>
            </a:extLst>
          </p:cNvPr>
          <p:cNvSpPr>
            <a:spLocks noChangeShapeType="1"/>
          </p:cNvSpPr>
          <p:nvPr/>
        </p:nvSpPr>
        <p:spPr bwMode="auto">
          <a:xfrm flipV="1">
            <a:off x="6603625" y="3466069"/>
            <a:ext cx="1432060" cy="1586147"/>
          </a:xfrm>
          <a:prstGeom prst="line">
            <a:avLst/>
          </a:prstGeom>
          <a:noFill/>
          <a:ln w="63500">
            <a:solidFill>
              <a:schemeClr val="accent1">
                <a:lumMod val="100000"/>
              </a:schemeClr>
            </a:solidFill>
            <a:miter lim="400000"/>
            <a:headEnd/>
            <a:tailEnd/>
          </a:ln>
          <a:extLst>
            <a:ext uri="{909E8E84-426E-40DD-AFC4-6F175D3DCCD1}">
              <a14:hiddenFill xmlns:a14="http://schemas.microsoft.com/office/drawing/2010/main">
                <a:noFill/>
              </a14:hiddenFill>
            </a:ext>
          </a:extLst>
        </p:spPr>
        <p:txBody>
          <a:bodyPr lIns="25400" tIns="25400" rIns="25400" bIns="254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500" b="0" i="0" u="none" strike="noStrike" kern="1200" cap="none" spc="0" normalizeH="0" baseline="0" noProof="0">
              <a:ln>
                <a:noFill/>
              </a:ln>
              <a:solidFill>
                <a:srgbClr val="000000"/>
              </a:solidFill>
              <a:effectLst/>
              <a:uLnTx/>
              <a:uFillTx/>
              <a:latin typeface="Arial"/>
              <a:cs typeface="+mn-ea"/>
              <a:sym typeface="+mn-lt"/>
            </a:endParaRPr>
          </a:p>
        </p:txBody>
      </p:sp>
      <p:grpSp>
        <p:nvGrpSpPr>
          <p:cNvPr id="28" name="Group 67">
            <a:extLst>
              <a:ext uri="{FF2B5EF4-FFF2-40B4-BE49-F238E27FC236}">
                <a16:creationId xmlns:a16="http://schemas.microsoft.com/office/drawing/2014/main" id="{1C024360-CA59-4C85-8CF1-116EDE976BE9}"/>
              </a:ext>
            </a:extLst>
          </p:cNvPr>
          <p:cNvGrpSpPr>
            <a:grpSpLocks/>
          </p:cNvGrpSpPr>
          <p:nvPr/>
        </p:nvGrpSpPr>
        <p:grpSpPr bwMode="auto">
          <a:xfrm>
            <a:off x="6350112" y="5039838"/>
            <a:ext cx="1676740" cy="360441"/>
            <a:chOff x="0" y="0"/>
            <a:chExt cx="3353548" cy="720844"/>
          </a:xfrm>
        </p:grpSpPr>
        <p:sp>
          <p:nvSpPr>
            <p:cNvPr id="34" name="Shape 64">
              <a:extLst>
                <a:ext uri="{FF2B5EF4-FFF2-40B4-BE49-F238E27FC236}">
                  <a16:creationId xmlns:a16="http://schemas.microsoft.com/office/drawing/2014/main" id="{29D53C98-6536-4B0B-A07D-475B88A38205}"/>
                </a:ext>
              </a:extLst>
            </p:cNvPr>
            <p:cNvSpPr>
              <a:spLocks noChangeArrowheads="1"/>
            </p:cNvSpPr>
            <p:nvPr/>
          </p:nvSpPr>
          <p:spPr bwMode="auto">
            <a:xfrm>
              <a:off x="0" y="0"/>
              <a:ext cx="3353548" cy="720844"/>
            </a:xfrm>
            <a:prstGeom prst="roundRect">
              <a:avLst>
                <a:gd name="adj" fmla="val 50000"/>
              </a:avLst>
            </a:prstGeom>
            <a:solidFill>
              <a:schemeClr val="accent1">
                <a:lumMod val="100000"/>
              </a:schemeClr>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FFFFFF"/>
                </a:solidFill>
                <a:effectLst/>
                <a:uLnTx/>
                <a:uFillTx/>
                <a:latin typeface="Arial"/>
                <a:cs typeface="+mn-ea"/>
                <a:sym typeface="+mn-lt"/>
              </a:endParaRPr>
            </a:p>
          </p:txBody>
        </p:sp>
        <p:sp>
          <p:nvSpPr>
            <p:cNvPr id="35" name="Shape 65">
              <a:extLst>
                <a:ext uri="{FF2B5EF4-FFF2-40B4-BE49-F238E27FC236}">
                  <a16:creationId xmlns:a16="http://schemas.microsoft.com/office/drawing/2014/main" id="{4004C333-DEC4-475A-801F-0149F94E3455}"/>
                </a:ext>
              </a:extLst>
            </p:cNvPr>
            <p:cNvSpPr>
              <a:spLocks noChangeArrowheads="1"/>
            </p:cNvSpPr>
            <p:nvPr/>
          </p:nvSpPr>
          <p:spPr bwMode="auto">
            <a:xfrm>
              <a:off x="745255" y="140681"/>
              <a:ext cx="2343122" cy="4103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altLang="ru-RU" sz="1000" b="0" i="0" u="none" strike="noStrike" kern="1200" cap="none" spc="0" normalizeH="0" baseline="0" noProof="0">
                  <a:ln>
                    <a:noFill/>
                  </a:ln>
                  <a:solidFill>
                    <a:srgbClr val="FFFFFF"/>
                  </a:solidFill>
                  <a:effectLst/>
                  <a:uLnTx/>
                  <a:uFillTx/>
                  <a:latin typeface="Arial"/>
                  <a:cs typeface="+mn-ea"/>
                  <a:sym typeface="+mn-lt"/>
                </a:rPr>
                <a:t>Information text</a:t>
              </a:r>
            </a:p>
          </p:txBody>
        </p:sp>
        <p:sp>
          <p:nvSpPr>
            <p:cNvPr id="36" name="Shape 66">
              <a:extLst>
                <a:ext uri="{FF2B5EF4-FFF2-40B4-BE49-F238E27FC236}">
                  <a16:creationId xmlns:a16="http://schemas.microsoft.com/office/drawing/2014/main" id="{D3A37B99-0BF1-4EB1-BACE-458A521A2B0B}"/>
                </a:ext>
              </a:extLst>
            </p:cNvPr>
            <p:cNvSpPr>
              <a:spLocks noChangeArrowheads="1"/>
            </p:cNvSpPr>
            <p:nvPr/>
          </p:nvSpPr>
          <p:spPr bwMode="auto">
            <a:xfrm>
              <a:off x="68502" y="69972"/>
              <a:ext cx="580897" cy="580898"/>
            </a:xfrm>
            <a:prstGeom prst="ellipse">
              <a:avLst/>
            </a:prstGeom>
            <a:solidFill>
              <a:srgbClr val="FFFFFF"/>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FFFFFF"/>
                </a:solidFill>
                <a:effectLst/>
                <a:uLnTx/>
                <a:uFillTx/>
                <a:latin typeface="Arial"/>
                <a:cs typeface="+mn-ea"/>
                <a:sym typeface="+mn-lt"/>
              </a:endParaRPr>
            </a:p>
          </p:txBody>
        </p:sp>
      </p:grpSp>
      <p:sp>
        <p:nvSpPr>
          <p:cNvPr id="29" name="Shape 76">
            <a:extLst>
              <a:ext uri="{FF2B5EF4-FFF2-40B4-BE49-F238E27FC236}">
                <a16:creationId xmlns:a16="http://schemas.microsoft.com/office/drawing/2014/main" id="{30F77AA3-C943-47C3-BFBA-4DFB2551379E}"/>
              </a:ext>
            </a:extLst>
          </p:cNvPr>
          <p:cNvSpPr>
            <a:spLocks noChangeArrowheads="1"/>
          </p:cNvSpPr>
          <p:nvPr/>
        </p:nvSpPr>
        <p:spPr bwMode="auto">
          <a:xfrm>
            <a:off x="7500403" y="3949503"/>
            <a:ext cx="104162" cy="104169"/>
          </a:xfrm>
          <a:prstGeom prst="ellipse">
            <a:avLst/>
          </a:prstGeom>
          <a:solidFill>
            <a:schemeClr val="accent1">
              <a:lumMod val="100000"/>
            </a:schemeClr>
          </a:solidFill>
          <a:ln>
            <a:noFill/>
          </a:ln>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13668E"/>
              </a:solidFill>
              <a:effectLst/>
              <a:uLnTx/>
              <a:uFillTx/>
              <a:latin typeface="Arial"/>
              <a:cs typeface="+mn-ea"/>
              <a:sym typeface="+mn-lt"/>
            </a:endParaRPr>
          </a:p>
        </p:txBody>
      </p:sp>
      <p:sp>
        <p:nvSpPr>
          <p:cNvPr id="30" name="Shape 77">
            <a:extLst>
              <a:ext uri="{FF2B5EF4-FFF2-40B4-BE49-F238E27FC236}">
                <a16:creationId xmlns:a16="http://schemas.microsoft.com/office/drawing/2014/main" id="{3212E3A6-2D18-4217-854E-1DC8D437ECB8}"/>
              </a:ext>
            </a:extLst>
          </p:cNvPr>
          <p:cNvSpPr>
            <a:spLocks noChangeArrowheads="1"/>
          </p:cNvSpPr>
          <p:nvPr/>
        </p:nvSpPr>
        <p:spPr bwMode="auto">
          <a:xfrm>
            <a:off x="7034746" y="4470229"/>
            <a:ext cx="104162" cy="104169"/>
          </a:xfrm>
          <a:prstGeom prst="ellipse">
            <a:avLst/>
          </a:prstGeom>
          <a:solidFill>
            <a:schemeClr val="accent1">
              <a:lumMod val="100000"/>
            </a:schemeClr>
          </a:solidFill>
          <a:ln>
            <a:noFill/>
          </a:ln>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13668E"/>
              </a:solidFill>
              <a:effectLst/>
              <a:uLnTx/>
              <a:uFillTx/>
              <a:latin typeface="Arial"/>
              <a:cs typeface="+mn-ea"/>
              <a:sym typeface="+mn-lt"/>
            </a:endParaRPr>
          </a:p>
        </p:txBody>
      </p:sp>
      <p:sp>
        <p:nvSpPr>
          <p:cNvPr id="31" name="Shape 88">
            <a:extLst>
              <a:ext uri="{FF2B5EF4-FFF2-40B4-BE49-F238E27FC236}">
                <a16:creationId xmlns:a16="http://schemas.microsoft.com/office/drawing/2014/main" id="{619C8B3F-A635-48C1-8AA2-C5BDFAEAFF4D}"/>
              </a:ext>
            </a:extLst>
          </p:cNvPr>
          <p:cNvSpPr>
            <a:spLocks noChangeArrowheads="1"/>
          </p:cNvSpPr>
          <p:nvPr/>
        </p:nvSpPr>
        <p:spPr bwMode="auto">
          <a:xfrm>
            <a:off x="7722018" y="3903202"/>
            <a:ext cx="1824192" cy="205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altLang="ru-RU" sz="1000" b="0" i="0" u="none" strike="noStrike" kern="1200" cap="none" spc="0" normalizeH="0" baseline="0" noProof="0">
                <a:ln>
                  <a:noFill/>
                </a:ln>
                <a:solidFill>
                  <a:schemeClr val="accent1"/>
                </a:solidFill>
                <a:effectLst/>
                <a:uLnTx/>
                <a:uFillTx/>
                <a:latin typeface="Arial"/>
                <a:cs typeface="+mn-ea"/>
                <a:sym typeface="+mn-lt"/>
              </a:rPr>
              <a:t>Fish bone text block </a:t>
            </a:r>
          </a:p>
        </p:txBody>
      </p:sp>
      <p:sp>
        <p:nvSpPr>
          <p:cNvPr id="32" name="Shape 89">
            <a:extLst>
              <a:ext uri="{FF2B5EF4-FFF2-40B4-BE49-F238E27FC236}">
                <a16:creationId xmlns:a16="http://schemas.microsoft.com/office/drawing/2014/main" id="{A89D1325-587E-47ED-BFB0-36BCA7A34E57}"/>
              </a:ext>
            </a:extLst>
          </p:cNvPr>
          <p:cNvSpPr>
            <a:spLocks noChangeArrowheads="1"/>
          </p:cNvSpPr>
          <p:nvPr/>
        </p:nvSpPr>
        <p:spPr bwMode="auto">
          <a:xfrm>
            <a:off x="7263823" y="4417961"/>
            <a:ext cx="1824192" cy="205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altLang="ru-RU" sz="1000" b="0" i="0" u="none" strike="noStrike" kern="1200" cap="none" spc="0" normalizeH="0" baseline="0" noProof="0">
                <a:ln>
                  <a:noFill/>
                </a:ln>
                <a:solidFill>
                  <a:schemeClr val="accent1"/>
                </a:solidFill>
                <a:effectLst/>
                <a:uLnTx/>
                <a:uFillTx/>
                <a:latin typeface="Arial"/>
                <a:cs typeface="+mn-ea"/>
                <a:sym typeface="+mn-lt"/>
              </a:rPr>
              <a:t>Fish bone text block </a:t>
            </a:r>
          </a:p>
        </p:txBody>
      </p:sp>
      <p:sp>
        <p:nvSpPr>
          <p:cNvPr id="33" name="Shape 90">
            <a:extLst>
              <a:ext uri="{FF2B5EF4-FFF2-40B4-BE49-F238E27FC236}">
                <a16:creationId xmlns:a16="http://schemas.microsoft.com/office/drawing/2014/main" id="{FF581D65-F50E-42FE-B05E-04417387199B}"/>
              </a:ext>
            </a:extLst>
          </p:cNvPr>
          <p:cNvSpPr>
            <a:spLocks/>
          </p:cNvSpPr>
          <p:nvPr/>
        </p:nvSpPr>
        <p:spPr bwMode="auto">
          <a:xfrm>
            <a:off x="6463266" y="5153543"/>
            <a:ext cx="130370" cy="122885"/>
          </a:xfrm>
          <a:custGeom>
            <a:avLst/>
            <a:gdLst>
              <a:gd name="T0" fmla="*/ 18998328 w 21600"/>
              <a:gd name="T1" fmla="*/ 15906903 h 21600"/>
              <a:gd name="T2" fmla="*/ 18998328 w 21600"/>
              <a:gd name="T3" fmla="*/ 15906903 h 21600"/>
              <a:gd name="T4" fmla="*/ 18998328 w 21600"/>
              <a:gd name="T5" fmla="*/ 15906903 h 21600"/>
              <a:gd name="T6" fmla="*/ 18998328 w 21600"/>
              <a:gd name="T7" fmla="*/ 15906903 h 21600"/>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21600" h="21600" extrusionOk="0">
                <a:moveTo>
                  <a:pt x="10901" y="17459"/>
                </a:moveTo>
                <a:lnTo>
                  <a:pt x="17497" y="21600"/>
                </a:lnTo>
                <a:lnTo>
                  <a:pt x="15848" y="13532"/>
                </a:lnTo>
                <a:lnTo>
                  <a:pt x="21600" y="8281"/>
                </a:lnTo>
                <a:lnTo>
                  <a:pt x="13797" y="7428"/>
                </a:lnTo>
                <a:lnTo>
                  <a:pt x="10901" y="0"/>
                </a:lnTo>
                <a:lnTo>
                  <a:pt x="7844" y="7428"/>
                </a:lnTo>
                <a:lnTo>
                  <a:pt x="0" y="8281"/>
                </a:lnTo>
                <a:lnTo>
                  <a:pt x="5993" y="13532"/>
                </a:lnTo>
                <a:lnTo>
                  <a:pt x="4143" y="21600"/>
                </a:lnTo>
                <a:lnTo>
                  <a:pt x="10901" y="17459"/>
                </a:lnTo>
              </a:path>
            </a:pathLst>
          </a:custGeom>
          <a:solidFill>
            <a:schemeClr val="accent1">
              <a:lumMod val="100000"/>
            </a:schemeClr>
          </a:solidFill>
          <a:ln>
            <a:noFill/>
          </a:ln>
        </p:spPr>
        <p:txBody>
          <a:bodyPr lIns="22860" tIns="22860" rIns="22860" bIns="2286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500" b="0" i="0" u="none" strike="noStrike" kern="1200" cap="none" spc="0" normalizeH="0" baseline="0" noProof="0">
              <a:ln>
                <a:noFill/>
              </a:ln>
              <a:solidFill>
                <a:srgbClr val="0677C7"/>
              </a:solidFill>
              <a:effectLst/>
              <a:uLnTx/>
              <a:uFillTx/>
              <a:latin typeface="Arial"/>
              <a:cs typeface="+mn-ea"/>
              <a:sym typeface="+mn-lt"/>
            </a:endParaRPr>
          </a:p>
        </p:txBody>
      </p:sp>
      <p:sp>
        <p:nvSpPr>
          <p:cNvPr id="17" name="Shape 52">
            <a:extLst>
              <a:ext uri="{FF2B5EF4-FFF2-40B4-BE49-F238E27FC236}">
                <a16:creationId xmlns:a16="http://schemas.microsoft.com/office/drawing/2014/main" id="{EC44FE55-124E-4181-9FDB-E5340FD8DC76}"/>
              </a:ext>
            </a:extLst>
          </p:cNvPr>
          <p:cNvSpPr>
            <a:spLocks noChangeShapeType="1"/>
          </p:cNvSpPr>
          <p:nvPr/>
        </p:nvSpPr>
        <p:spPr bwMode="auto">
          <a:xfrm flipH="1" flipV="1">
            <a:off x="6561900" y="1804898"/>
            <a:ext cx="1484084" cy="1623257"/>
          </a:xfrm>
          <a:prstGeom prst="line">
            <a:avLst/>
          </a:prstGeom>
          <a:noFill/>
          <a:ln w="63500">
            <a:solidFill>
              <a:schemeClr val="accent1">
                <a:lumMod val="100000"/>
              </a:schemeClr>
            </a:solidFill>
            <a:miter lim="400000"/>
            <a:headEnd/>
            <a:tailEnd/>
          </a:ln>
          <a:extLst>
            <a:ext uri="{909E8E84-426E-40DD-AFC4-6F175D3DCCD1}">
              <a14:hiddenFill xmlns:a14="http://schemas.microsoft.com/office/drawing/2010/main">
                <a:noFill/>
              </a14:hiddenFill>
            </a:ext>
          </a:extLst>
        </p:spPr>
        <p:txBody>
          <a:bodyPr lIns="25400" tIns="25400" rIns="25400" bIns="254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500" b="0" i="0" u="none" strike="noStrike" kern="1200" cap="none" spc="0" normalizeH="0" baseline="0" noProof="0" dirty="0">
              <a:ln>
                <a:noFill/>
              </a:ln>
              <a:solidFill>
                <a:srgbClr val="000000"/>
              </a:solidFill>
              <a:effectLst/>
              <a:uLnTx/>
              <a:uFillTx/>
              <a:latin typeface="Arial"/>
              <a:cs typeface="+mn-ea"/>
              <a:sym typeface="+mn-lt"/>
            </a:endParaRPr>
          </a:p>
        </p:txBody>
      </p:sp>
      <p:grpSp>
        <p:nvGrpSpPr>
          <p:cNvPr id="18" name="Group 75">
            <a:extLst>
              <a:ext uri="{FF2B5EF4-FFF2-40B4-BE49-F238E27FC236}">
                <a16:creationId xmlns:a16="http://schemas.microsoft.com/office/drawing/2014/main" id="{F1719C0D-910C-4F71-8A85-390D60D6A4BB}"/>
              </a:ext>
            </a:extLst>
          </p:cNvPr>
          <p:cNvGrpSpPr>
            <a:grpSpLocks/>
          </p:cNvGrpSpPr>
          <p:nvPr/>
        </p:nvGrpSpPr>
        <p:grpSpPr bwMode="auto">
          <a:xfrm>
            <a:off x="6360778" y="1457721"/>
            <a:ext cx="1676739" cy="360441"/>
            <a:chOff x="0" y="0"/>
            <a:chExt cx="3353548" cy="720844"/>
          </a:xfrm>
        </p:grpSpPr>
        <p:sp>
          <p:nvSpPr>
            <p:cNvPr id="24" name="Shape 72">
              <a:extLst>
                <a:ext uri="{FF2B5EF4-FFF2-40B4-BE49-F238E27FC236}">
                  <a16:creationId xmlns:a16="http://schemas.microsoft.com/office/drawing/2014/main" id="{B8738DF6-1A95-453E-B985-F313CAD3C20E}"/>
                </a:ext>
              </a:extLst>
            </p:cNvPr>
            <p:cNvSpPr>
              <a:spLocks noChangeArrowheads="1"/>
            </p:cNvSpPr>
            <p:nvPr/>
          </p:nvSpPr>
          <p:spPr bwMode="auto">
            <a:xfrm>
              <a:off x="0" y="0"/>
              <a:ext cx="3353548" cy="720844"/>
            </a:xfrm>
            <a:prstGeom prst="roundRect">
              <a:avLst>
                <a:gd name="adj" fmla="val 50000"/>
              </a:avLst>
            </a:prstGeom>
            <a:solidFill>
              <a:schemeClr val="accent1">
                <a:lumMod val="100000"/>
              </a:schemeClr>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FFFFFF"/>
                </a:solidFill>
                <a:effectLst/>
                <a:uLnTx/>
                <a:uFillTx/>
                <a:latin typeface="Arial"/>
                <a:cs typeface="+mn-ea"/>
                <a:sym typeface="+mn-lt"/>
              </a:endParaRPr>
            </a:p>
          </p:txBody>
        </p:sp>
        <p:sp>
          <p:nvSpPr>
            <p:cNvPr id="25" name="Shape 73">
              <a:extLst>
                <a:ext uri="{FF2B5EF4-FFF2-40B4-BE49-F238E27FC236}">
                  <a16:creationId xmlns:a16="http://schemas.microsoft.com/office/drawing/2014/main" id="{3D231B2F-C350-4079-8F25-2A27F1E229A4}"/>
                </a:ext>
              </a:extLst>
            </p:cNvPr>
            <p:cNvSpPr>
              <a:spLocks noChangeArrowheads="1"/>
            </p:cNvSpPr>
            <p:nvPr/>
          </p:nvSpPr>
          <p:spPr bwMode="auto">
            <a:xfrm>
              <a:off x="745256" y="140681"/>
              <a:ext cx="2343123" cy="4103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altLang="ru-RU" sz="1000" b="0" i="0" u="none" strike="noStrike" kern="1200" cap="none" spc="0" normalizeH="0" baseline="0" noProof="0" dirty="0" err="1">
                  <a:ln>
                    <a:noFill/>
                  </a:ln>
                  <a:solidFill>
                    <a:srgbClr val="FFFFFF"/>
                  </a:solidFill>
                  <a:effectLst/>
                  <a:uLnTx/>
                  <a:uFillTx/>
                  <a:latin typeface="Arial"/>
                  <a:cs typeface="+mn-ea"/>
                  <a:sym typeface="+mn-lt"/>
                </a:rPr>
                <a:t>Information</a:t>
              </a:r>
              <a:r>
                <a:rPr kumimoji="0" lang="ru-RU" altLang="ru-RU" sz="1000" b="0" i="0" u="none" strike="noStrike" kern="1200" cap="none" spc="0" normalizeH="0" baseline="0" noProof="0" dirty="0">
                  <a:ln>
                    <a:noFill/>
                  </a:ln>
                  <a:solidFill>
                    <a:srgbClr val="FFFFFF"/>
                  </a:solidFill>
                  <a:effectLst/>
                  <a:uLnTx/>
                  <a:uFillTx/>
                  <a:latin typeface="Arial"/>
                  <a:cs typeface="+mn-ea"/>
                  <a:sym typeface="+mn-lt"/>
                </a:rPr>
                <a:t> </a:t>
              </a:r>
              <a:r>
                <a:rPr kumimoji="0" lang="ru-RU" altLang="ru-RU" sz="1000" b="0" i="0" u="none" strike="noStrike" kern="1200" cap="none" spc="0" normalizeH="0" baseline="0" noProof="0" dirty="0" err="1">
                  <a:ln>
                    <a:noFill/>
                  </a:ln>
                  <a:solidFill>
                    <a:srgbClr val="FFFFFF"/>
                  </a:solidFill>
                  <a:effectLst/>
                  <a:uLnTx/>
                  <a:uFillTx/>
                  <a:latin typeface="Arial"/>
                  <a:cs typeface="+mn-ea"/>
                  <a:sym typeface="+mn-lt"/>
                </a:rPr>
                <a:t>text</a:t>
              </a:r>
              <a:endParaRPr kumimoji="0" lang="ru-RU" altLang="ru-RU" sz="1000" b="0" i="0" u="none" strike="noStrike" kern="1200" cap="none" spc="0" normalizeH="0" baseline="0" noProof="0" dirty="0">
                <a:ln>
                  <a:noFill/>
                </a:ln>
                <a:solidFill>
                  <a:srgbClr val="FFFFFF"/>
                </a:solidFill>
                <a:effectLst/>
                <a:uLnTx/>
                <a:uFillTx/>
                <a:latin typeface="Arial"/>
                <a:cs typeface="+mn-ea"/>
                <a:sym typeface="+mn-lt"/>
              </a:endParaRPr>
            </a:p>
          </p:txBody>
        </p:sp>
        <p:sp>
          <p:nvSpPr>
            <p:cNvPr id="26" name="Shape 74">
              <a:extLst>
                <a:ext uri="{FF2B5EF4-FFF2-40B4-BE49-F238E27FC236}">
                  <a16:creationId xmlns:a16="http://schemas.microsoft.com/office/drawing/2014/main" id="{0E2F48EC-9030-4380-A77A-9BCB84588652}"/>
                </a:ext>
              </a:extLst>
            </p:cNvPr>
            <p:cNvSpPr>
              <a:spLocks noChangeArrowheads="1"/>
            </p:cNvSpPr>
            <p:nvPr/>
          </p:nvSpPr>
          <p:spPr bwMode="auto">
            <a:xfrm>
              <a:off x="68502" y="69972"/>
              <a:ext cx="580897" cy="580898"/>
            </a:xfrm>
            <a:prstGeom prst="ellipse">
              <a:avLst/>
            </a:prstGeom>
            <a:solidFill>
              <a:srgbClr val="FFFFFF"/>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FFFFFF"/>
                </a:solidFill>
                <a:effectLst/>
                <a:uLnTx/>
                <a:uFillTx/>
                <a:latin typeface="Arial"/>
                <a:cs typeface="+mn-ea"/>
                <a:sym typeface="+mn-lt"/>
              </a:endParaRPr>
            </a:p>
          </p:txBody>
        </p:sp>
      </p:grpSp>
      <p:sp>
        <p:nvSpPr>
          <p:cNvPr id="19" name="Shape 80">
            <a:extLst>
              <a:ext uri="{FF2B5EF4-FFF2-40B4-BE49-F238E27FC236}">
                <a16:creationId xmlns:a16="http://schemas.microsoft.com/office/drawing/2014/main" id="{02049FF8-F8DF-4963-8BDF-BABBCD457F80}"/>
              </a:ext>
            </a:extLst>
          </p:cNvPr>
          <p:cNvSpPr>
            <a:spLocks noChangeArrowheads="1"/>
          </p:cNvSpPr>
          <p:nvPr/>
        </p:nvSpPr>
        <p:spPr bwMode="auto">
          <a:xfrm>
            <a:off x="6997940" y="2285362"/>
            <a:ext cx="104162" cy="104169"/>
          </a:xfrm>
          <a:prstGeom prst="ellipse">
            <a:avLst/>
          </a:prstGeom>
          <a:solidFill>
            <a:schemeClr val="accent1">
              <a:lumMod val="100000"/>
            </a:schemeClr>
          </a:solidFill>
          <a:ln>
            <a:noFill/>
          </a:ln>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13668E"/>
              </a:solidFill>
              <a:effectLst/>
              <a:uLnTx/>
              <a:uFillTx/>
              <a:latin typeface="Arial"/>
              <a:cs typeface="+mn-ea"/>
              <a:sym typeface="+mn-lt"/>
            </a:endParaRPr>
          </a:p>
        </p:txBody>
      </p:sp>
      <p:sp>
        <p:nvSpPr>
          <p:cNvPr id="20" name="Shape 81">
            <a:extLst>
              <a:ext uri="{FF2B5EF4-FFF2-40B4-BE49-F238E27FC236}">
                <a16:creationId xmlns:a16="http://schemas.microsoft.com/office/drawing/2014/main" id="{9B6F04DD-3220-46D7-A337-CF735B36C688}"/>
              </a:ext>
            </a:extLst>
          </p:cNvPr>
          <p:cNvSpPr>
            <a:spLocks noChangeArrowheads="1"/>
          </p:cNvSpPr>
          <p:nvPr/>
        </p:nvSpPr>
        <p:spPr bwMode="auto">
          <a:xfrm>
            <a:off x="7474032" y="2804328"/>
            <a:ext cx="104162" cy="104170"/>
          </a:xfrm>
          <a:prstGeom prst="ellipse">
            <a:avLst/>
          </a:prstGeom>
          <a:solidFill>
            <a:schemeClr val="accent1">
              <a:lumMod val="100000"/>
            </a:schemeClr>
          </a:solidFill>
          <a:ln>
            <a:noFill/>
          </a:ln>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13668E"/>
              </a:solidFill>
              <a:effectLst/>
              <a:uLnTx/>
              <a:uFillTx/>
              <a:latin typeface="Arial"/>
              <a:cs typeface="+mn-ea"/>
              <a:sym typeface="+mn-lt"/>
            </a:endParaRPr>
          </a:p>
        </p:txBody>
      </p:sp>
      <p:sp>
        <p:nvSpPr>
          <p:cNvPr id="21" name="Shape 84">
            <a:extLst>
              <a:ext uri="{FF2B5EF4-FFF2-40B4-BE49-F238E27FC236}">
                <a16:creationId xmlns:a16="http://schemas.microsoft.com/office/drawing/2014/main" id="{A31DC66F-DAFE-4202-B349-02045FADB0D4}"/>
              </a:ext>
            </a:extLst>
          </p:cNvPr>
          <p:cNvSpPr>
            <a:spLocks noChangeArrowheads="1"/>
          </p:cNvSpPr>
          <p:nvPr/>
        </p:nvSpPr>
        <p:spPr bwMode="auto">
          <a:xfrm>
            <a:off x="7219818" y="2234854"/>
            <a:ext cx="1824192" cy="205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altLang="ru-RU" sz="1000" b="0" i="0" u="none" strike="noStrike" kern="1200" cap="none" spc="0" normalizeH="0" baseline="0" noProof="0">
                <a:ln>
                  <a:noFill/>
                </a:ln>
                <a:solidFill>
                  <a:schemeClr val="accent1"/>
                </a:solidFill>
                <a:effectLst/>
                <a:uLnTx/>
                <a:uFillTx/>
                <a:latin typeface="Arial"/>
                <a:cs typeface="+mn-ea"/>
                <a:sym typeface="+mn-lt"/>
              </a:rPr>
              <a:t>Fish bone text block </a:t>
            </a:r>
          </a:p>
        </p:txBody>
      </p:sp>
      <p:sp>
        <p:nvSpPr>
          <p:cNvPr id="22" name="Shape 85">
            <a:extLst>
              <a:ext uri="{FF2B5EF4-FFF2-40B4-BE49-F238E27FC236}">
                <a16:creationId xmlns:a16="http://schemas.microsoft.com/office/drawing/2014/main" id="{D5B5E820-25FA-4EDE-817B-B3199FA99C41}"/>
              </a:ext>
            </a:extLst>
          </p:cNvPr>
          <p:cNvSpPr>
            <a:spLocks noChangeArrowheads="1"/>
          </p:cNvSpPr>
          <p:nvPr/>
        </p:nvSpPr>
        <p:spPr bwMode="auto">
          <a:xfrm>
            <a:off x="7695053" y="2749613"/>
            <a:ext cx="1824192" cy="205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altLang="ru-RU" sz="1000" b="0" i="0" u="none" strike="noStrike" kern="1200" cap="none" spc="0" normalizeH="0" baseline="0" noProof="0">
                <a:ln>
                  <a:noFill/>
                </a:ln>
                <a:solidFill>
                  <a:schemeClr val="accent1"/>
                </a:solidFill>
                <a:effectLst/>
                <a:uLnTx/>
                <a:uFillTx/>
                <a:latin typeface="Arial"/>
                <a:cs typeface="+mn-ea"/>
                <a:sym typeface="+mn-lt"/>
              </a:rPr>
              <a:t>Fish bone text block </a:t>
            </a:r>
          </a:p>
        </p:txBody>
      </p:sp>
      <p:sp>
        <p:nvSpPr>
          <p:cNvPr id="23" name="Shape 91">
            <a:extLst>
              <a:ext uri="{FF2B5EF4-FFF2-40B4-BE49-F238E27FC236}">
                <a16:creationId xmlns:a16="http://schemas.microsoft.com/office/drawing/2014/main" id="{6C447105-FD08-47CB-AC82-C6661FCA4AB0}"/>
              </a:ext>
            </a:extLst>
          </p:cNvPr>
          <p:cNvSpPr>
            <a:spLocks/>
          </p:cNvSpPr>
          <p:nvPr/>
        </p:nvSpPr>
        <p:spPr bwMode="auto">
          <a:xfrm>
            <a:off x="6479241" y="1573287"/>
            <a:ext cx="127924" cy="129309"/>
          </a:xfrm>
          <a:custGeom>
            <a:avLst/>
            <a:gdLst>
              <a:gd name="T0" fmla="*/ 18033594 w 21549"/>
              <a:gd name="T1" fmla="*/ 18533957 h 21600"/>
              <a:gd name="T2" fmla="*/ 18033594 w 21549"/>
              <a:gd name="T3" fmla="*/ 18533957 h 21600"/>
              <a:gd name="T4" fmla="*/ 18033594 w 21549"/>
              <a:gd name="T5" fmla="*/ 18533957 h 21600"/>
              <a:gd name="T6" fmla="*/ 18033594 w 21549"/>
              <a:gd name="T7" fmla="*/ 18533957 h 21600"/>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21549" h="21600" extrusionOk="0">
                <a:moveTo>
                  <a:pt x="18684" y="11815"/>
                </a:moveTo>
                <a:cubicBezTo>
                  <a:pt x="18684" y="11612"/>
                  <a:pt x="18890" y="11206"/>
                  <a:pt x="18890" y="10800"/>
                </a:cubicBezTo>
                <a:cubicBezTo>
                  <a:pt x="18890" y="10394"/>
                  <a:pt x="18890" y="9947"/>
                  <a:pt x="18684" y="9744"/>
                </a:cubicBezTo>
                <a:lnTo>
                  <a:pt x="20984" y="7877"/>
                </a:lnTo>
                <a:cubicBezTo>
                  <a:pt x="21395" y="7674"/>
                  <a:pt x="21395" y="7471"/>
                  <a:pt x="21189" y="7268"/>
                </a:cubicBezTo>
                <a:lnTo>
                  <a:pt x="19095" y="3329"/>
                </a:lnTo>
                <a:cubicBezTo>
                  <a:pt x="18890" y="3329"/>
                  <a:pt x="18684" y="3126"/>
                  <a:pt x="18233" y="3329"/>
                </a:cubicBezTo>
                <a:lnTo>
                  <a:pt x="15522" y="4344"/>
                </a:lnTo>
                <a:cubicBezTo>
                  <a:pt x="15112" y="3938"/>
                  <a:pt x="14455" y="3735"/>
                  <a:pt x="13633" y="3329"/>
                </a:cubicBezTo>
                <a:lnTo>
                  <a:pt x="13223" y="406"/>
                </a:lnTo>
                <a:cubicBezTo>
                  <a:pt x="13428" y="203"/>
                  <a:pt x="13017" y="0"/>
                  <a:pt x="12771" y="0"/>
                </a:cubicBezTo>
                <a:lnTo>
                  <a:pt x="8377" y="0"/>
                </a:lnTo>
                <a:cubicBezTo>
                  <a:pt x="8172" y="0"/>
                  <a:pt x="7967" y="203"/>
                  <a:pt x="7967" y="406"/>
                </a:cubicBezTo>
                <a:lnTo>
                  <a:pt x="7556" y="3329"/>
                </a:lnTo>
                <a:cubicBezTo>
                  <a:pt x="6694" y="3532"/>
                  <a:pt x="6283" y="3938"/>
                  <a:pt x="5667" y="4344"/>
                </a:cubicBezTo>
                <a:lnTo>
                  <a:pt x="2916" y="3329"/>
                </a:lnTo>
                <a:cubicBezTo>
                  <a:pt x="2710" y="3126"/>
                  <a:pt x="2505" y="3329"/>
                  <a:pt x="2300" y="3532"/>
                </a:cubicBezTo>
                <a:lnTo>
                  <a:pt x="0" y="7268"/>
                </a:lnTo>
                <a:cubicBezTo>
                  <a:pt x="0" y="7471"/>
                  <a:pt x="0" y="7674"/>
                  <a:pt x="205" y="7877"/>
                </a:cubicBezTo>
                <a:lnTo>
                  <a:pt x="2505" y="9744"/>
                </a:lnTo>
                <a:cubicBezTo>
                  <a:pt x="2505" y="9947"/>
                  <a:pt x="2505" y="10394"/>
                  <a:pt x="2505" y="10800"/>
                </a:cubicBezTo>
                <a:cubicBezTo>
                  <a:pt x="2505" y="11206"/>
                  <a:pt x="2505" y="11612"/>
                  <a:pt x="2505" y="11815"/>
                </a:cubicBezTo>
                <a:lnTo>
                  <a:pt x="205" y="13683"/>
                </a:lnTo>
                <a:cubicBezTo>
                  <a:pt x="0" y="13926"/>
                  <a:pt x="0" y="14129"/>
                  <a:pt x="205" y="14332"/>
                </a:cubicBezTo>
                <a:lnTo>
                  <a:pt x="2300" y="18271"/>
                </a:lnTo>
                <a:cubicBezTo>
                  <a:pt x="2505" y="18271"/>
                  <a:pt x="2710" y="18474"/>
                  <a:pt x="2916" y="18271"/>
                </a:cubicBezTo>
                <a:lnTo>
                  <a:pt x="5667" y="17215"/>
                </a:lnTo>
                <a:cubicBezTo>
                  <a:pt x="6283" y="17621"/>
                  <a:pt x="6899" y="18068"/>
                  <a:pt x="7556" y="18271"/>
                </a:cubicBezTo>
                <a:lnTo>
                  <a:pt x="7967" y="21153"/>
                </a:lnTo>
                <a:cubicBezTo>
                  <a:pt x="7967" y="21356"/>
                  <a:pt x="8172" y="21600"/>
                  <a:pt x="8583" y="21600"/>
                </a:cubicBezTo>
                <a:lnTo>
                  <a:pt x="13017" y="21600"/>
                </a:lnTo>
                <a:cubicBezTo>
                  <a:pt x="13223" y="21600"/>
                  <a:pt x="13428" y="21356"/>
                  <a:pt x="13428" y="21153"/>
                </a:cubicBezTo>
                <a:lnTo>
                  <a:pt x="13839" y="18271"/>
                </a:lnTo>
                <a:cubicBezTo>
                  <a:pt x="14660" y="18068"/>
                  <a:pt x="15317" y="17621"/>
                  <a:pt x="15728" y="17215"/>
                </a:cubicBezTo>
                <a:lnTo>
                  <a:pt x="18438" y="18271"/>
                </a:lnTo>
                <a:cubicBezTo>
                  <a:pt x="18684" y="18474"/>
                  <a:pt x="19095" y="18271"/>
                  <a:pt x="19300" y="18068"/>
                </a:cubicBezTo>
                <a:lnTo>
                  <a:pt x="21395" y="14332"/>
                </a:lnTo>
                <a:cubicBezTo>
                  <a:pt x="21600" y="14129"/>
                  <a:pt x="21600" y="13683"/>
                  <a:pt x="21395" y="13683"/>
                </a:cubicBezTo>
                <a:lnTo>
                  <a:pt x="18684" y="11815"/>
                </a:lnTo>
                <a:close/>
                <a:moveTo>
                  <a:pt x="10677" y="14535"/>
                </a:moveTo>
                <a:cubicBezTo>
                  <a:pt x="8583" y="14535"/>
                  <a:pt x="6694" y="12871"/>
                  <a:pt x="6694" y="10800"/>
                </a:cubicBezTo>
                <a:cubicBezTo>
                  <a:pt x="6694" y="8729"/>
                  <a:pt x="8583" y="7065"/>
                  <a:pt x="10677" y="7065"/>
                </a:cubicBezTo>
                <a:cubicBezTo>
                  <a:pt x="12771" y="7065"/>
                  <a:pt x="14455" y="8729"/>
                  <a:pt x="14455" y="10800"/>
                </a:cubicBezTo>
                <a:cubicBezTo>
                  <a:pt x="14455" y="12871"/>
                  <a:pt x="12771" y="14535"/>
                  <a:pt x="10677" y="14535"/>
                </a:cubicBezTo>
                <a:close/>
              </a:path>
            </a:pathLst>
          </a:custGeom>
          <a:solidFill>
            <a:schemeClr val="accent1">
              <a:lumMod val="100000"/>
            </a:schemeClr>
          </a:solidFill>
          <a:ln>
            <a:noFill/>
          </a:ln>
        </p:spPr>
        <p:txBody>
          <a:bodyPr lIns="22860" tIns="22860" rIns="22860" bIns="2286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500" b="0" i="0" u="none" strike="noStrike" kern="1200" cap="none" spc="0" normalizeH="0" baseline="0" noProof="0">
              <a:ln>
                <a:noFill/>
              </a:ln>
              <a:solidFill>
                <a:srgbClr val="FFFFFF"/>
              </a:solidFill>
              <a:effectLst/>
              <a:uLnTx/>
              <a:uFillTx/>
              <a:latin typeface="Arial"/>
              <a:cs typeface="+mn-ea"/>
              <a:sym typeface="+mn-lt"/>
            </a:endParaRPr>
          </a:p>
        </p:txBody>
      </p:sp>
      <p:sp>
        <p:nvSpPr>
          <p:cNvPr id="14" name="Shape 56">
            <a:extLst>
              <a:ext uri="{FF2B5EF4-FFF2-40B4-BE49-F238E27FC236}">
                <a16:creationId xmlns:a16="http://schemas.microsoft.com/office/drawing/2014/main" id="{C850068E-BE79-4144-B54F-EA8459DC96FA}"/>
              </a:ext>
            </a:extLst>
          </p:cNvPr>
          <p:cNvSpPr>
            <a:spLocks noChangeArrowheads="1"/>
          </p:cNvSpPr>
          <p:nvPr/>
        </p:nvSpPr>
        <p:spPr bwMode="auto">
          <a:xfrm>
            <a:off x="7952566" y="3359235"/>
            <a:ext cx="158570" cy="158581"/>
          </a:xfrm>
          <a:prstGeom prst="ellipse">
            <a:avLst/>
          </a:prstGeom>
          <a:solidFill>
            <a:srgbClr val="FFFFFF"/>
          </a:solidFill>
          <a:ln w="63500">
            <a:solidFill>
              <a:schemeClr val="accent1">
                <a:lumMod val="100000"/>
              </a:schemeClr>
            </a:solidFill>
            <a:miter lim="400000"/>
            <a:headEnd/>
            <a:tailEnd/>
          </a:ln>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13668E"/>
              </a:solidFill>
              <a:effectLst/>
              <a:uLnTx/>
              <a:uFillTx/>
              <a:latin typeface="Arial"/>
              <a:cs typeface="+mn-ea"/>
              <a:sym typeface="+mn-lt"/>
            </a:endParaRPr>
          </a:p>
        </p:txBody>
      </p:sp>
      <p:sp>
        <p:nvSpPr>
          <p:cNvPr id="15" name="Shape 54">
            <a:extLst>
              <a:ext uri="{FF2B5EF4-FFF2-40B4-BE49-F238E27FC236}">
                <a16:creationId xmlns:a16="http://schemas.microsoft.com/office/drawing/2014/main" id="{AB29F63E-25E7-4803-81B0-F294CFF16121}"/>
              </a:ext>
            </a:extLst>
          </p:cNvPr>
          <p:cNvSpPr>
            <a:spLocks noChangeArrowheads="1"/>
          </p:cNvSpPr>
          <p:nvPr/>
        </p:nvSpPr>
        <p:spPr bwMode="auto">
          <a:xfrm>
            <a:off x="3596180" y="3359235"/>
            <a:ext cx="158570" cy="158581"/>
          </a:xfrm>
          <a:prstGeom prst="ellipse">
            <a:avLst/>
          </a:prstGeom>
          <a:solidFill>
            <a:srgbClr val="FFFFFF"/>
          </a:solidFill>
          <a:ln w="63500">
            <a:solidFill>
              <a:schemeClr val="accent1">
                <a:lumMod val="100000"/>
              </a:schemeClr>
            </a:solidFill>
            <a:miter lim="400000"/>
            <a:headEnd/>
            <a:tailEnd/>
          </a:ln>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009FDE"/>
              </a:solidFill>
              <a:effectLst/>
              <a:uLnTx/>
              <a:uFillTx/>
              <a:latin typeface="Arial"/>
              <a:cs typeface="+mn-ea"/>
              <a:sym typeface="+mn-lt"/>
            </a:endParaRPr>
          </a:p>
        </p:txBody>
      </p:sp>
      <p:sp>
        <p:nvSpPr>
          <p:cNvPr id="16" name="Shape 56">
            <a:extLst>
              <a:ext uri="{FF2B5EF4-FFF2-40B4-BE49-F238E27FC236}">
                <a16:creationId xmlns:a16="http://schemas.microsoft.com/office/drawing/2014/main" id="{DC07CD86-D608-44D4-9A29-850A06531877}"/>
              </a:ext>
            </a:extLst>
          </p:cNvPr>
          <p:cNvSpPr>
            <a:spLocks noChangeArrowheads="1"/>
          </p:cNvSpPr>
          <p:nvPr/>
        </p:nvSpPr>
        <p:spPr bwMode="auto">
          <a:xfrm>
            <a:off x="5753105" y="3359235"/>
            <a:ext cx="158570" cy="158581"/>
          </a:xfrm>
          <a:prstGeom prst="ellipse">
            <a:avLst/>
          </a:prstGeom>
          <a:solidFill>
            <a:srgbClr val="FFFFFF"/>
          </a:solidFill>
          <a:ln w="63500">
            <a:solidFill>
              <a:schemeClr val="accent1">
                <a:lumMod val="100000"/>
              </a:schemeClr>
            </a:solidFill>
            <a:miter lim="400000"/>
            <a:headEnd/>
            <a:tailEnd/>
          </a:ln>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0677C7"/>
              </a:solidFill>
              <a:effectLst/>
              <a:uLnTx/>
              <a:uFillTx/>
              <a:latin typeface="Arial"/>
              <a:cs typeface="+mn-ea"/>
              <a:sym typeface="+mn-lt"/>
            </a:endParaRPr>
          </a:p>
        </p:txBody>
      </p:sp>
    </p:spTree>
    <p:extLst>
      <p:ext uri="{BB962C8B-B14F-4D97-AF65-F5344CB8AC3E}">
        <p14:creationId xmlns:p14="http://schemas.microsoft.com/office/powerpoint/2010/main" val="1807444249"/>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7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hape 96">
            <a:extLst>
              <a:ext uri="{FF2B5EF4-FFF2-40B4-BE49-F238E27FC236}">
                <a16:creationId xmlns:a16="http://schemas.microsoft.com/office/drawing/2014/main" id="{0C377DB3-2CCB-4598-B402-D284463F2A0B}"/>
              </a:ext>
            </a:extLst>
          </p:cNvPr>
          <p:cNvSpPr>
            <a:spLocks/>
          </p:cNvSpPr>
          <p:nvPr/>
        </p:nvSpPr>
        <p:spPr bwMode="auto">
          <a:xfrm>
            <a:off x="8324716" y="1914234"/>
            <a:ext cx="2498860" cy="3077023"/>
          </a:xfrm>
          <a:custGeom>
            <a:avLst/>
            <a:gdLst>
              <a:gd name="T0" fmla="*/ 2147483646 w 21455"/>
              <a:gd name="T1" fmla="*/ 2147483646 h 21547"/>
              <a:gd name="T2" fmla="*/ 2147483646 w 21455"/>
              <a:gd name="T3" fmla="*/ 2147483646 h 21547"/>
              <a:gd name="T4" fmla="*/ 2147483646 w 21455"/>
              <a:gd name="T5" fmla="*/ 2147483646 h 21547"/>
              <a:gd name="T6" fmla="*/ 2147483646 w 21455"/>
              <a:gd name="T7" fmla="*/ 2147483646 h 21547"/>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21455" h="21547" extrusionOk="0">
                <a:moveTo>
                  <a:pt x="6771" y="3"/>
                </a:moveTo>
                <a:cubicBezTo>
                  <a:pt x="6609" y="11"/>
                  <a:pt x="6448" y="32"/>
                  <a:pt x="6289" y="63"/>
                </a:cubicBezTo>
                <a:cubicBezTo>
                  <a:pt x="5701" y="178"/>
                  <a:pt x="5167" y="433"/>
                  <a:pt x="4757" y="795"/>
                </a:cubicBezTo>
                <a:cubicBezTo>
                  <a:pt x="1575" y="3641"/>
                  <a:pt x="-127" y="7383"/>
                  <a:pt x="7" y="11232"/>
                </a:cubicBezTo>
                <a:cubicBezTo>
                  <a:pt x="132" y="14824"/>
                  <a:pt x="1852" y="18257"/>
                  <a:pt x="4849" y="20891"/>
                </a:cubicBezTo>
                <a:cubicBezTo>
                  <a:pt x="5271" y="21232"/>
                  <a:pt x="5816" y="21454"/>
                  <a:pt x="6403" y="21524"/>
                </a:cubicBezTo>
                <a:cubicBezTo>
                  <a:pt x="7012" y="21596"/>
                  <a:pt x="7632" y="21502"/>
                  <a:pt x="8168" y="21255"/>
                </a:cubicBezTo>
                <a:cubicBezTo>
                  <a:pt x="10517" y="20042"/>
                  <a:pt x="12750" y="18684"/>
                  <a:pt x="14845" y="17194"/>
                </a:cubicBezTo>
                <a:cubicBezTo>
                  <a:pt x="16973" y="15680"/>
                  <a:pt x="18955" y="14033"/>
                  <a:pt x="20771" y="12269"/>
                </a:cubicBezTo>
                <a:cubicBezTo>
                  <a:pt x="21195" y="11887"/>
                  <a:pt x="21436" y="11395"/>
                  <a:pt x="21454" y="10880"/>
                </a:cubicBezTo>
                <a:cubicBezTo>
                  <a:pt x="21473" y="10322"/>
                  <a:pt x="21229" y="9779"/>
                  <a:pt x="20771" y="9365"/>
                </a:cubicBezTo>
                <a:cubicBezTo>
                  <a:pt x="18967" y="7504"/>
                  <a:pt x="16953" y="5785"/>
                  <a:pt x="14756" y="4230"/>
                </a:cubicBezTo>
                <a:cubicBezTo>
                  <a:pt x="12652" y="2741"/>
                  <a:pt x="10386" y="1409"/>
                  <a:pt x="7989" y="249"/>
                </a:cubicBezTo>
                <a:cubicBezTo>
                  <a:pt x="7763" y="135"/>
                  <a:pt x="7514" y="59"/>
                  <a:pt x="7255" y="24"/>
                </a:cubicBezTo>
                <a:cubicBezTo>
                  <a:pt x="7095" y="3"/>
                  <a:pt x="6933" y="-4"/>
                  <a:pt x="6771" y="3"/>
                </a:cubicBezTo>
                <a:close/>
                <a:moveTo>
                  <a:pt x="9121" y="5291"/>
                </a:moveTo>
                <a:cubicBezTo>
                  <a:pt x="9744" y="5291"/>
                  <a:pt x="10369" y="5485"/>
                  <a:pt x="10845" y="5873"/>
                </a:cubicBezTo>
                <a:cubicBezTo>
                  <a:pt x="11797" y="6649"/>
                  <a:pt x="11797" y="7909"/>
                  <a:pt x="10845" y="8685"/>
                </a:cubicBezTo>
                <a:cubicBezTo>
                  <a:pt x="9893" y="9462"/>
                  <a:pt x="8348" y="9462"/>
                  <a:pt x="7396" y="8685"/>
                </a:cubicBezTo>
                <a:cubicBezTo>
                  <a:pt x="6444" y="7909"/>
                  <a:pt x="6444" y="6649"/>
                  <a:pt x="7396" y="5873"/>
                </a:cubicBezTo>
                <a:cubicBezTo>
                  <a:pt x="7872" y="5485"/>
                  <a:pt x="8497" y="5291"/>
                  <a:pt x="9121" y="5291"/>
                </a:cubicBezTo>
                <a:close/>
              </a:path>
            </a:pathLst>
          </a:custGeom>
          <a:solidFill>
            <a:schemeClr val="accent1">
              <a:lumMod val="40000"/>
              <a:lumOff val="60000"/>
            </a:schemeClr>
          </a:solidFill>
          <a:ln>
            <a:noFill/>
          </a:ln>
        </p:spPr>
        <p:txBody>
          <a:bodyPr lIns="25400" tIns="25400" rIns="25400" bIns="254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500" b="0" i="0" u="none" strike="noStrike" kern="1200" cap="none" spc="0" normalizeH="0" baseline="0" noProof="0">
              <a:ln>
                <a:noFill/>
              </a:ln>
              <a:solidFill>
                <a:srgbClr val="000000"/>
              </a:solidFill>
              <a:effectLst/>
              <a:uLnTx/>
              <a:uFillTx/>
              <a:latin typeface="Arial"/>
              <a:cs typeface="+mn-ea"/>
              <a:sym typeface="+mn-lt"/>
            </a:endParaRPr>
          </a:p>
        </p:txBody>
      </p:sp>
      <p:sp>
        <p:nvSpPr>
          <p:cNvPr id="4" name="Shape 97">
            <a:extLst>
              <a:ext uri="{FF2B5EF4-FFF2-40B4-BE49-F238E27FC236}">
                <a16:creationId xmlns:a16="http://schemas.microsoft.com/office/drawing/2014/main" id="{D91E9D67-0744-4CB2-BEDE-1891D3A67A18}"/>
              </a:ext>
            </a:extLst>
          </p:cNvPr>
          <p:cNvSpPr>
            <a:spLocks/>
          </p:cNvSpPr>
          <p:nvPr/>
        </p:nvSpPr>
        <p:spPr bwMode="auto">
          <a:xfrm>
            <a:off x="1368424" y="1837350"/>
            <a:ext cx="1543687" cy="3230778"/>
          </a:xfrm>
          <a:custGeom>
            <a:avLst/>
            <a:gdLst>
              <a:gd name="T0" fmla="*/ 2147483646 w 21492"/>
              <a:gd name="T1" fmla="*/ 2147483646 h 21500"/>
              <a:gd name="T2" fmla="*/ 2147483646 w 21492"/>
              <a:gd name="T3" fmla="*/ 2147483646 h 21500"/>
              <a:gd name="T4" fmla="*/ 2147483646 w 21492"/>
              <a:gd name="T5" fmla="*/ 2147483646 h 21500"/>
              <a:gd name="T6" fmla="*/ 2147483646 w 21492"/>
              <a:gd name="T7" fmla="*/ 2147483646 h 21500"/>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21492" h="21500" extrusionOk="0">
                <a:moveTo>
                  <a:pt x="223" y="899"/>
                </a:moveTo>
                <a:cubicBezTo>
                  <a:pt x="-78" y="701"/>
                  <a:pt x="-74" y="432"/>
                  <a:pt x="234" y="235"/>
                </a:cubicBezTo>
                <a:cubicBezTo>
                  <a:pt x="660" y="-37"/>
                  <a:pt x="1481" y="-80"/>
                  <a:pt x="2020" y="142"/>
                </a:cubicBezTo>
                <a:lnTo>
                  <a:pt x="20954" y="10063"/>
                </a:lnTo>
                <a:cubicBezTo>
                  <a:pt x="21329" y="10261"/>
                  <a:pt x="21522" y="10524"/>
                  <a:pt x="21489" y="10791"/>
                </a:cubicBezTo>
                <a:cubicBezTo>
                  <a:pt x="21466" y="10980"/>
                  <a:pt x="21330" y="11161"/>
                  <a:pt x="21097" y="11314"/>
                </a:cubicBezTo>
                <a:lnTo>
                  <a:pt x="2264" y="21274"/>
                </a:lnTo>
                <a:cubicBezTo>
                  <a:pt x="2035" y="21395"/>
                  <a:pt x="1738" y="21467"/>
                  <a:pt x="1429" y="21491"/>
                </a:cubicBezTo>
                <a:cubicBezTo>
                  <a:pt x="1059" y="21520"/>
                  <a:pt x="659" y="21481"/>
                  <a:pt x="364" y="21346"/>
                </a:cubicBezTo>
                <a:cubicBezTo>
                  <a:pt x="-2" y="21178"/>
                  <a:pt x="-59" y="20908"/>
                  <a:pt x="229" y="20708"/>
                </a:cubicBezTo>
                <a:cubicBezTo>
                  <a:pt x="3534" y="17755"/>
                  <a:pt x="5311" y="14466"/>
                  <a:pt x="5414" y="11117"/>
                </a:cubicBezTo>
                <a:cubicBezTo>
                  <a:pt x="5523" y="7556"/>
                  <a:pt x="3737" y="4040"/>
                  <a:pt x="223" y="899"/>
                </a:cubicBezTo>
                <a:close/>
              </a:path>
            </a:pathLst>
          </a:custGeom>
          <a:solidFill>
            <a:schemeClr val="accent1">
              <a:lumMod val="40000"/>
              <a:lumOff val="60000"/>
            </a:schemeClr>
          </a:solidFill>
          <a:ln>
            <a:noFill/>
          </a:ln>
        </p:spPr>
        <p:txBody>
          <a:bodyPr lIns="25400" tIns="25400" rIns="25400" bIns="254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500" b="0" i="0" u="none" strike="noStrike" kern="1200" cap="none" spc="0" normalizeH="0" baseline="0" noProof="0">
              <a:ln>
                <a:noFill/>
              </a:ln>
              <a:solidFill>
                <a:srgbClr val="000000"/>
              </a:solidFill>
              <a:effectLst/>
              <a:uLnTx/>
              <a:uFillTx/>
              <a:latin typeface="Arial"/>
              <a:cs typeface="+mn-ea"/>
              <a:sym typeface="+mn-lt"/>
            </a:endParaRPr>
          </a:p>
        </p:txBody>
      </p:sp>
      <p:sp>
        <p:nvSpPr>
          <p:cNvPr id="5" name="Shape 98">
            <a:extLst>
              <a:ext uri="{FF2B5EF4-FFF2-40B4-BE49-F238E27FC236}">
                <a16:creationId xmlns:a16="http://schemas.microsoft.com/office/drawing/2014/main" id="{FF42D398-7246-40E4-BA16-F639107DDFDF}"/>
              </a:ext>
            </a:extLst>
          </p:cNvPr>
          <p:cNvSpPr>
            <a:spLocks noChangeShapeType="1"/>
          </p:cNvSpPr>
          <p:nvPr/>
        </p:nvSpPr>
        <p:spPr bwMode="auto">
          <a:xfrm>
            <a:off x="2580097" y="3452745"/>
            <a:ext cx="5864783" cy="1"/>
          </a:xfrm>
          <a:prstGeom prst="line">
            <a:avLst/>
          </a:prstGeom>
          <a:noFill/>
          <a:ln w="165100">
            <a:solidFill>
              <a:schemeClr val="accent1">
                <a:lumMod val="40000"/>
                <a:lumOff val="60000"/>
              </a:schemeClr>
            </a:solidFill>
            <a:miter lim="400000"/>
            <a:headEnd/>
            <a:tailEnd/>
          </a:ln>
          <a:extLst>
            <a:ext uri="{909E8E84-426E-40DD-AFC4-6F175D3DCCD1}">
              <a14:hiddenFill xmlns:a14="http://schemas.microsoft.com/office/drawing/2010/main">
                <a:noFill/>
              </a14:hiddenFill>
            </a:ext>
          </a:extLst>
        </p:spPr>
        <p:txBody>
          <a:bodyPr lIns="25400" tIns="25400" rIns="25400" bIns="254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500" b="0" i="0" u="none" strike="noStrike" kern="1200" cap="none" spc="0" normalizeH="0" baseline="0" noProof="0">
              <a:ln>
                <a:noFill/>
              </a:ln>
              <a:solidFill>
                <a:srgbClr val="000000"/>
              </a:solidFill>
              <a:effectLst/>
              <a:uLnTx/>
              <a:uFillTx/>
              <a:latin typeface="Arial"/>
              <a:cs typeface="+mn-ea"/>
              <a:sym typeface="+mn-lt"/>
            </a:endParaRPr>
          </a:p>
        </p:txBody>
      </p:sp>
      <p:sp>
        <p:nvSpPr>
          <p:cNvPr id="6" name="Shape 99">
            <a:extLst>
              <a:ext uri="{FF2B5EF4-FFF2-40B4-BE49-F238E27FC236}">
                <a16:creationId xmlns:a16="http://schemas.microsoft.com/office/drawing/2014/main" id="{1DF2C4C9-A177-4F53-9510-78BC29A6125D}"/>
              </a:ext>
            </a:extLst>
          </p:cNvPr>
          <p:cNvSpPr>
            <a:spLocks noChangeShapeType="1"/>
          </p:cNvSpPr>
          <p:nvPr/>
        </p:nvSpPr>
        <p:spPr bwMode="auto">
          <a:xfrm flipH="1" flipV="1">
            <a:off x="3640668" y="1824656"/>
            <a:ext cx="1484084" cy="1623189"/>
          </a:xfrm>
          <a:prstGeom prst="line">
            <a:avLst/>
          </a:prstGeom>
          <a:noFill/>
          <a:ln w="63500">
            <a:solidFill>
              <a:schemeClr val="accent1">
                <a:lumMod val="100000"/>
              </a:schemeClr>
            </a:solidFill>
            <a:miter lim="400000"/>
            <a:headEnd/>
            <a:tailEnd/>
          </a:ln>
          <a:extLst>
            <a:ext uri="{909E8E84-426E-40DD-AFC4-6F175D3DCCD1}">
              <a14:hiddenFill xmlns:a14="http://schemas.microsoft.com/office/drawing/2010/main">
                <a:noFill/>
              </a14:hiddenFill>
            </a:ext>
          </a:extLst>
        </p:spPr>
        <p:txBody>
          <a:bodyPr lIns="25400" tIns="25400" rIns="25400" bIns="254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500" b="0" i="0" u="none" strike="noStrike" kern="1200" cap="none" spc="0" normalizeH="0" baseline="0" noProof="0">
              <a:ln>
                <a:noFill/>
              </a:ln>
              <a:solidFill>
                <a:srgbClr val="000000"/>
              </a:solidFill>
              <a:effectLst/>
              <a:uLnTx/>
              <a:uFillTx/>
              <a:latin typeface="Arial"/>
              <a:cs typeface="+mn-ea"/>
              <a:sym typeface="+mn-lt"/>
            </a:endParaRPr>
          </a:p>
        </p:txBody>
      </p:sp>
      <p:sp>
        <p:nvSpPr>
          <p:cNvPr id="7" name="Shape 100">
            <a:extLst>
              <a:ext uri="{FF2B5EF4-FFF2-40B4-BE49-F238E27FC236}">
                <a16:creationId xmlns:a16="http://schemas.microsoft.com/office/drawing/2014/main" id="{ABD0D7E4-C224-4884-9353-ABE61E153B9F}"/>
              </a:ext>
            </a:extLst>
          </p:cNvPr>
          <p:cNvSpPr>
            <a:spLocks noChangeShapeType="1"/>
          </p:cNvSpPr>
          <p:nvPr/>
        </p:nvSpPr>
        <p:spPr bwMode="auto">
          <a:xfrm flipV="1">
            <a:off x="2581497" y="3485758"/>
            <a:ext cx="1432060" cy="1586081"/>
          </a:xfrm>
          <a:prstGeom prst="line">
            <a:avLst/>
          </a:prstGeom>
          <a:noFill/>
          <a:ln w="63500">
            <a:solidFill>
              <a:schemeClr val="accent1">
                <a:lumMod val="100000"/>
              </a:schemeClr>
            </a:solidFill>
            <a:miter lim="400000"/>
            <a:headEnd/>
            <a:tailEnd/>
          </a:ln>
          <a:extLst>
            <a:ext uri="{909E8E84-426E-40DD-AFC4-6F175D3DCCD1}">
              <a14:hiddenFill xmlns:a14="http://schemas.microsoft.com/office/drawing/2010/main">
                <a:noFill/>
              </a14:hiddenFill>
            </a:ext>
          </a:extLst>
        </p:spPr>
        <p:txBody>
          <a:bodyPr lIns="25400" tIns="25400" rIns="25400" bIns="254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500" b="0" i="0" u="none" strike="noStrike" kern="1200" cap="none" spc="0" normalizeH="0" baseline="0" noProof="0">
              <a:ln>
                <a:noFill/>
              </a:ln>
              <a:solidFill>
                <a:srgbClr val="000000"/>
              </a:solidFill>
              <a:effectLst/>
              <a:uLnTx/>
              <a:uFillTx/>
              <a:latin typeface="Arial"/>
              <a:cs typeface="+mn-ea"/>
              <a:sym typeface="+mn-lt"/>
            </a:endParaRPr>
          </a:p>
        </p:txBody>
      </p:sp>
      <p:sp>
        <p:nvSpPr>
          <p:cNvPr id="8" name="Shape 101">
            <a:extLst>
              <a:ext uri="{FF2B5EF4-FFF2-40B4-BE49-F238E27FC236}">
                <a16:creationId xmlns:a16="http://schemas.microsoft.com/office/drawing/2014/main" id="{1C1AA855-5FD9-41FD-B1F9-77BF31C1A618}"/>
              </a:ext>
            </a:extLst>
          </p:cNvPr>
          <p:cNvSpPr>
            <a:spLocks noChangeShapeType="1"/>
          </p:cNvSpPr>
          <p:nvPr/>
        </p:nvSpPr>
        <p:spPr bwMode="auto">
          <a:xfrm flipH="1" flipV="1">
            <a:off x="5808088" y="1824656"/>
            <a:ext cx="1484084" cy="1623189"/>
          </a:xfrm>
          <a:prstGeom prst="line">
            <a:avLst/>
          </a:prstGeom>
          <a:noFill/>
          <a:ln w="63500">
            <a:solidFill>
              <a:schemeClr val="accent1">
                <a:lumMod val="100000"/>
              </a:schemeClr>
            </a:solidFill>
            <a:miter lim="400000"/>
            <a:headEnd/>
            <a:tailEnd/>
          </a:ln>
          <a:extLst>
            <a:ext uri="{909E8E84-426E-40DD-AFC4-6F175D3DCCD1}">
              <a14:hiddenFill xmlns:a14="http://schemas.microsoft.com/office/drawing/2010/main">
                <a:noFill/>
              </a14:hiddenFill>
            </a:ext>
          </a:extLst>
        </p:spPr>
        <p:txBody>
          <a:bodyPr lIns="25400" tIns="25400" rIns="25400" bIns="254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500" b="0" i="0" u="none" strike="noStrike" kern="1200" cap="none" spc="0" normalizeH="0" baseline="0" noProof="0">
              <a:ln>
                <a:noFill/>
              </a:ln>
              <a:solidFill>
                <a:srgbClr val="000000"/>
              </a:solidFill>
              <a:effectLst/>
              <a:uLnTx/>
              <a:uFillTx/>
              <a:latin typeface="Arial"/>
              <a:cs typeface="+mn-ea"/>
              <a:sym typeface="+mn-lt"/>
            </a:endParaRPr>
          </a:p>
        </p:txBody>
      </p:sp>
      <p:sp>
        <p:nvSpPr>
          <p:cNvPr id="9" name="Shape 102">
            <a:extLst>
              <a:ext uri="{FF2B5EF4-FFF2-40B4-BE49-F238E27FC236}">
                <a16:creationId xmlns:a16="http://schemas.microsoft.com/office/drawing/2014/main" id="{250F9A98-D973-42FC-B366-D858C15614FC}"/>
              </a:ext>
            </a:extLst>
          </p:cNvPr>
          <p:cNvSpPr>
            <a:spLocks noChangeShapeType="1"/>
          </p:cNvSpPr>
          <p:nvPr/>
        </p:nvSpPr>
        <p:spPr bwMode="auto">
          <a:xfrm flipV="1">
            <a:off x="4753151" y="3485758"/>
            <a:ext cx="1432060" cy="1586081"/>
          </a:xfrm>
          <a:prstGeom prst="line">
            <a:avLst/>
          </a:prstGeom>
          <a:noFill/>
          <a:ln w="63500">
            <a:solidFill>
              <a:schemeClr val="accent1">
                <a:lumMod val="100000"/>
              </a:schemeClr>
            </a:solidFill>
            <a:miter lim="400000"/>
            <a:headEnd/>
            <a:tailEnd/>
          </a:ln>
          <a:extLst>
            <a:ext uri="{909E8E84-426E-40DD-AFC4-6F175D3DCCD1}">
              <a14:hiddenFill xmlns:a14="http://schemas.microsoft.com/office/drawing/2010/main">
                <a:noFill/>
              </a14:hiddenFill>
            </a:ext>
          </a:extLst>
        </p:spPr>
        <p:txBody>
          <a:bodyPr lIns="25400" tIns="25400" rIns="25400" bIns="254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500" b="0" i="0" u="none" strike="noStrike" kern="1200" cap="none" spc="0" normalizeH="0" baseline="0" noProof="0">
              <a:ln>
                <a:noFill/>
              </a:ln>
              <a:solidFill>
                <a:srgbClr val="000000"/>
              </a:solidFill>
              <a:effectLst/>
              <a:uLnTx/>
              <a:uFillTx/>
              <a:latin typeface="Arial"/>
              <a:cs typeface="+mn-ea"/>
              <a:sym typeface="+mn-lt"/>
            </a:endParaRPr>
          </a:p>
        </p:txBody>
      </p:sp>
      <p:sp>
        <p:nvSpPr>
          <p:cNvPr id="10" name="Shape 103">
            <a:extLst>
              <a:ext uri="{FF2B5EF4-FFF2-40B4-BE49-F238E27FC236}">
                <a16:creationId xmlns:a16="http://schemas.microsoft.com/office/drawing/2014/main" id="{61768E69-E18F-4BDB-8A53-8096683398AA}"/>
              </a:ext>
            </a:extLst>
          </p:cNvPr>
          <p:cNvSpPr>
            <a:spLocks noChangeArrowheads="1"/>
          </p:cNvSpPr>
          <p:nvPr/>
        </p:nvSpPr>
        <p:spPr bwMode="auto">
          <a:xfrm>
            <a:off x="3945168" y="3378928"/>
            <a:ext cx="158570" cy="158575"/>
          </a:xfrm>
          <a:prstGeom prst="ellipse">
            <a:avLst/>
          </a:prstGeom>
          <a:solidFill>
            <a:srgbClr val="FFFFFF"/>
          </a:solidFill>
          <a:ln w="63500">
            <a:solidFill>
              <a:schemeClr val="accent1">
                <a:lumMod val="100000"/>
              </a:schemeClr>
            </a:solidFill>
            <a:miter lim="400000"/>
            <a:headEnd/>
            <a:tailEnd/>
          </a:ln>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FFFFFF"/>
              </a:solidFill>
              <a:effectLst/>
              <a:uLnTx/>
              <a:uFillTx/>
              <a:latin typeface="Arial"/>
              <a:cs typeface="+mn-ea"/>
              <a:sym typeface="+mn-lt"/>
            </a:endParaRPr>
          </a:p>
        </p:txBody>
      </p:sp>
      <p:sp>
        <p:nvSpPr>
          <p:cNvPr id="11" name="Shape 104">
            <a:extLst>
              <a:ext uri="{FF2B5EF4-FFF2-40B4-BE49-F238E27FC236}">
                <a16:creationId xmlns:a16="http://schemas.microsoft.com/office/drawing/2014/main" id="{08E40E4C-E397-4671-BBCB-3A54E8E2BF24}"/>
              </a:ext>
            </a:extLst>
          </p:cNvPr>
          <p:cNvSpPr>
            <a:spLocks noChangeArrowheads="1"/>
          </p:cNvSpPr>
          <p:nvPr/>
        </p:nvSpPr>
        <p:spPr bwMode="auto">
          <a:xfrm>
            <a:off x="5056394" y="3378928"/>
            <a:ext cx="158570" cy="158575"/>
          </a:xfrm>
          <a:prstGeom prst="ellipse">
            <a:avLst/>
          </a:prstGeom>
          <a:solidFill>
            <a:srgbClr val="FFFFFF"/>
          </a:solidFill>
          <a:ln w="63500">
            <a:solidFill>
              <a:schemeClr val="accent1">
                <a:lumMod val="100000"/>
              </a:schemeClr>
            </a:solidFill>
            <a:miter lim="400000"/>
            <a:headEnd/>
            <a:tailEnd/>
          </a:ln>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FFFFFF"/>
              </a:solidFill>
              <a:effectLst/>
              <a:uLnTx/>
              <a:uFillTx/>
              <a:latin typeface="Arial"/>
              <a:cs typeface="+mn-ea"/>
              <a:sym typeface="+mn-lt"/>
            </a:endParaRPr>
          </a:p>
        </p:txBody>
      </p:sp>
      <p:sp>
        <p:nvSpPr>
          <p:cNvPr id="12" name="Shape 105">
            <a:extLst>
              <a:ext uri="{FF2B5EF4-FFF2-40B4-BE49-F238E27FC236}">
                <a16:creationId xmlns:a16="http://schemas.microsoft.com/office/drawing/2014/main" id="{3A1D5490-154E-491C-83B5-4FFFA42E268A}"/>
              </a:ext>
            </a:extLst>
          </p:cNvPr>
          <p:cNvSpPr>
            <a:spLocks noChangeArrowheads="1"/>
          </p:cNvSpPr>
          <p:nvPr/>
        </p:nvSpPr>
        <p:spPr bwMode="auto">
          <a:xfrm>
            <a:off x="6102093" y="3378928"/>
            <a:ext cx="158570" cy="158575"/>
          </a:xfrm>
          <a:prstGeom prst="ellipse">
            <a:avLst/>
          </a:prstGeom>
          <a:solidFill>
            <a:srgbClr val="FFFFFF"/>
          </a:solidFill>
          <a:ln w="63500">
            <a:solidFill>
              <a:schemeClr val="accent1">
                <a:lumMod val="100000"/>
              </a:schemeClr>
            </a:solidFill>
            <a:miter lim="400000"/>
            <a:headEnd/>
            <a:tailEnd/>
          </a:ln>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FFFFFF"/>
              </a:solidFill>
              <a:effectLst/>
              <a:uLnTx/>
              <a:uFillTx/>
              <a:latin typeface="Arial"/>
              <a:cs typeface="+mn-ea"/>
              <a:sym typeface="+mn-lt"/>
            </a:endParaRPr>
          </a:p>
        </p:txBody>
      </p:sp>
      <p:sp>
        <p:nvSpPr>
          <p:cNvPr id="13" name="Shape 106">
            <a:extLst>
              <a:ext uri="{FF2B5EF4-FFF2-40B4-BE49-F238E27FC236}">
                <a16:creationId xmlns:a16="http://schemas.microsoft.com/office/drawing/2014/main" id="{22771D8B-F816-452C-9988-D157C139BAF6}"/>
              </a:ext>
            </a:extLst>
          </p:cNvPr>
          <p:cNvSpPr>
            <a:spLocks noChangeArrowheads="1"/>
          </p:cNvSpPr>
          <p:nvPr/>
        </p:nvSpPr>
        <p:spPr bwMode="auto">
          <a:xfrm>
            <a:off x="7221341" y="3378928"/>
            <a:ext cx="158570" cy="158575"/>
          </a:xfrm>
          <a:prstGeom prst="ellipse">
            <a:avLst/>
          </a:prstGeom>
          <a:solidFill>
            <a:srgbClr val="FFFFFF"/>
          </a:solidFill>
          <a:ln w="63500">
            <a:solidFill>
              <a:schemeClr val="accent1">
                <a:lumMod val="100000"/>
              </a:schemeClr>
            </a:solidFill>
            <a:miter lim="400000"/>
            <a:headEnd/>
            <a:tailEnd/>
          </a:ln>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FFFFFF"/>
              </a:solidFill>
              <a:effectLst/>
              <a:uLnTx/>
              <a:uFillTx/>
              <a:latin typeface="Arial"/>
              <a:cs typeface="+mn-ea"/>
              <a:sym typeface="+mn-lt"/>
            </a:endParaRPr>
          </a:p>
        </p:txBody>
      </p:sp>
      <p:sp>
        <p:nvSpPr>
          <p:cNvPr id="14" name="Shape 107">
            <a:extLst>
              <a:ext uri="{FF2B5EF4-FFF2-40B4-BE49-F238E27FC236}">
                <a16:creationId xmlns:a16="http://schemas.microsoft.com/office/drawing/2014/main" id="{313BAA95-61A5-4525-8DDE-D12349526DF8}"/>
              </a:ext>
            </a:extLst>
          </p:cNvPr>
          <p:cNvSpPr>
            <a:spLocks noChangeArrowheads="1"/>
          </p:cNvSpPr>
          <p:nvPr/>
        </p:nvSpPr>
        <p:spPr bwMode="auto">
          <a:xfrm>
            <a:off x="3474099" y="3969171"/>
            <a:ext cx="104162" cy="104165"/>
          </a:xfrm>
          <a:prstGeom prst="ellipse">
            <a:avLst/>
          </a:prstGeom>
          <a:solidFill>
            <a:schemeClr val="accent1">
              <a:lumMod val="100000"/>
            </a:schemeClr>
          </a:solidFill>
          <a:ln>
            <a:noFill/>
          </a:ln>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FFFFFF"/>
              </a:solidFill>
              <a:effectLst/>
              <a:uLnTx/>
              <a:uFillTx/>
              <a:latin typeface="Arial"/>
              <a:cs typeface="+mn-ea"/>
              <a:sym typeface="+mn-lt"/>
            </a:endParaRPr>
          </a:p>
        </p:txBody>
      </p:sp>
      <p:sp>
        <p:nvSpPr>
          <p:cNvPr id="15" name="Shape 108">
            <a:extLst>
              <a:ext uri="{FF2B5EF4-FFF2-40B4-BE49-F238E27FC236}">
                <a16:creationId xmlns:a16="http://schemas.microsoft.com/office/drawing/2014/main" id="{AD50E4B7-E294-4CD0-B075-03146C771475}"/>
              </a:ext>
            </a:extLst>
          </p:cNvPr>
          <p:cNvSpPr>
            <a:spLocks noChangeArrowheads="1"/>
          </p:cNvSpPr>
          <p:nvPr/>
        </p:nvSpPr>
        <p:spPr bwMode="auto">
          <a:xfrm>
            <a:off x="3008441" y="4489876"/>
            <a:ext cx="104162" cy="104165"/>
          </a:xfrm>
          <a:prstGeom prst="ellipse">
            <a:avLst/>
          </a:prstGeom>
          <a:solidFill>
            <a:schemeClr val="accent1">
              <a:lumMod val="100000"/>
            </a:schemeClr>
          </a:solidFill>
          <a:ln>
            <a:noFill/>
          </a:ln>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FFFFFF"/>
              </a:solidFill>
              <a:effectLst/>
              <a:uLnTx/>
              <a:uFillTx/>
              <a:latin typeface="Arial"/>
              <a:cs typeface="+mn-ea"/>
              <a:sym typeface="+mn-lt"/>
            </a:endParaRPr>
          </a:p>
        </p:txBody>
      </p:sp>
      <p:sp>
        <p:nvSpPr>
          <p:cNvPr id="16" name="Shape 109">
            <a:extLst>
              <a:ext uri="{FF2B5EF4-FFF2-40B4-BE49-F238E27FC236}">
                <a16:creationId xmlns:a16="http://schemas.microsoft.com/office/drawing/2014/main" id="{C08E9702-504D-442C-829B-3A555E2D1AF2}"/>
              </a:ext>
            </a:extLst>
          </p:cNvPr>
          <p:cNvSpPr>
            <a:spLocks noChangeArrowheads="1"/>
          </p:cNvSpPr>
          <p:nvPr/>
        </p:nvSpPr>
        <p:spPr bwMode="auto">
          <a:xfrm>
            <a:off x="2279489" y="4983555"/>
            <a:ext cx="431792" cy="431805"/>
          </a:xfrm>
          <a:prstGeom prst="ellipse">
            <a:avLst/>
          </a:prstGeom>
          <a:solidFill>
            <a:srgbClr val="FFFFFF"/>
          </a:solidFill>
          <a:ln w="63500">
            <a:solidFill>
              <a:schemeClr val="accent1">
                <a:lumMod val="100000"/>
              </a:schemeClr>
            </a:solidFill>
            <a:miter lim="400000"/>
            <a:headEnd/>
            <a:tailEnd/>
          </a:ln>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FFFFFF"/>
              </a:solidFill>
              <a:effectLst/>
              <a:uLnTx/>
              <a:uFillTx/>
              <a:latin typeface="Arial"/>
              <a:cs typeface="+mn-ea"/>
              <a:sym typeface="+mn-lt"/>
            </a:endParaRPr>
          </a:p>
        </p:txBody>
      </p:sp>
      <p:sp>
        <p:nvSpPr>
          <p:cNvPr id="17" name="Shape 110">
            <a:extLst>
              <a:ext uri="{FF2B5EF4-FFF2-40B4-BE49-F238E27FC236}">
                <a16:creationId xmlns:a16="http://schemas.microsoft.com/office/drawing/2014/main" id="{20C45E4A-8022-4588-96E7-E69AA9C6EFD7}"/>
              </a:ext>
            </a:extLst>
          </p:cNvPr>
          <p:cNvSpPr>
            <a:spLocks noChangeArrowheads="1"/>
          </p:cNvSpPr>
          <p:nvPr/>
        </p:nvSpPr>
        <p:spPr bwMode="auto">
          <a:xfrm>
            <a:off x="5649929" y="3969171"/>
            <a:ext cx="104162" cy="104165"/>
          </a:xfrm>
          <a:prstGeom prst="ellipse">
            <a:avLst/>
          </a:prstGeom>
          <a:solidFill>
            <a:schemeClr val="accent1">
              <a:lumMod val="100000"/>
            </a:schemeClr>
          </a:solidFill>
          <a:ln>
            <a:noFill/>
          </a:ln>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FFFFFF"/>
              </a:solidFill>
              <a:effectLst/>
              <a:uLnTx/>
              <a:uFillTx/>
              <a:latin typeface="Arial"/>
              <a:cs typeface="+mn-ea"/>
              <a:sym typeface="+mn-lt"/>
            </a:endParaRPr>
          </a:p>
        </p:txBody>
      </p:sp>
      <p:sp>
        <p:nvSpPr>
          <p:cNvPr id="18" name="Shape 111">
            <a:extLst>
              <a:ext uri="{FF2B5EF4-FFF2-40B4-BE49-F238E27FC236}">
                <a16:creationId xmlns:a16="http://schemas.microsoft.com/office/drawing/2014/main" id="{8E7D3815-663B-452D-B653-608E24501193}"/>
              </a:ext>
            </a:extLst>
          </p:cNvPr>
          <p:cNvSpPr>
            <a:spLocks noChangeArrowheads="1"/>
          </p:cNvSpPr>
          <p:nvPr/>
        </p:nvSpPr>
        <p:spPr bwMode="auto">
          <a:xfrm>
            <a:off x="5184272" y="4489876"/>
            <a:ext cx="104162" cy="104165"/>
          </a:xfrm>
          <a:prstGeom prst="ellipse">
            <a:avLst/>
          </a:prstGeom>
          <a:solidFill>
            <a:schemeClr val="accent1">
              <a:lumMod val="100000"/>
            </a:schemeClr>
          </a:solidFill>
          <a:ln>
            <a:noFill/>
          </a:ln>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FFFFFF"/>
              </a:solidFill>
              <a:effectLst/>
              <a:uLnTx/>
              <a:uFillTx/>
              <a:latin typeface="Arial"/>
              <a:cs typeface="+mn-ea"/>
              <a:sym typeface="+mn-lt"/>
            </a:endParaRPr>
          </a:p>
        </p:txBody>
      </p:sp>
      <p:sp>
        <p:nvSpPr>
          <p:cNvPr id="19" name="Shape 112">
            <a:extLst>
              <a:ext uri="{FF2B5EF4-FFF2-40B4-BE49-F238E27FC236}">
                <a16:creationId xmlns:a16="http://schemas.microsoft.com/office/drawing/2014/main" id="{6424C0CD-E961-4739-99D0-2970DA95B9F3}"/>
              </a:ext>
            </a:extLst>
          </p:cNvPr>
          <p:cNvSpPr>
            <a:spLocks noChangeArrowheads="1"/>
          </p:cNvSpPr>
          <p:nvPr/>
        </p:nvSpPr>
        <p:spPr bwMode="auto">
          <a:xfrm>
            <a:off x="4068812" y="2305099"/>
            <a:ext cx="104162" cy="104165"/>
          </a:xfrm>
          <a:prstGeom prst="ellipse">
            <a:avLst/>
          </a:prstGeom>
          <a:solidFill>
            <a:schemeClr val="accent1">
              <a:lumMod val="100000"/>
            </a:schemeClr>
          </a:solidFill>
          <a:ln>
            <a:noFill/>
          </a:ln>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FFFFFF"/>
              </a:solidFill>
              <a:effectLst/>
              <a:uLnTx/>
              <a:uFillTx/>
              <a:latin typeface="Arial"/>
              <a:cs typeface="+mn-ea"/>
              <a:sym typeface="+mn-lt"/>
            </a:endParaRPr>
          </a:p>
        </p:txBody>
      </p:sp>
      <p:sp>
        <p:nvSpPr>
          <p:cNvPr id="20" name="Shape 113">
            <a:extLst>
              <a:ext uri="{FF2B5EF4-FFF2-40B4-BE49-F238E27FC236}">
                <a16:creationId xmlns:a16="http://schemas.microsoft.com/office/drawing/2014/main" id="{3CD10A3D-CE81-47BC-829A-BFDCEC78A801}"/>
              </a:ext>
            </a:extLst>
          </p:cNvPr>
          <p:cNvSpPr>
            <a:spLocks noChangeArrowheads="1"/>
          </p:cNvSpPr>
          <p:nvPr/>
        </p:nvSpPr>
        <p:spPr bwMode="auto">
          <a:xfrm>
            <a:off x="4544904" y="2824045"/>
            <a:ext cx="104162" cy="104165"/>
          </a:xfrm>
          <a:prstGeom prst="ellipse">
            <a:avLst/>
          </a:prstGeom>
          <a:solidFill>
            <a:schemeClr val="accent1">
              <a:lumMod val="100000"/>
            </a:schemeClr>
          </a:solidFill>
          <a:ln>
            <a:noFill/>
          </a:ln>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FFFFFF"/>
              </a:solidFill>
              <a:effectLst/>
              <a:uLnTx/>
              <a:uFillTx/>
              <a:latin typeface="Arial"/>
              <a:cs typeface="+mn-ea"/>
              <a:sym typeface="+mn-lt"/>
            </a:endParaRPr>
          </a:p>
        </p:txBody>
      </p:sp>
      <p:sp>
        <p:nvSpPr>
          <p:cNvPr id="21" name="Shape 114">
            <a:extLst>
              <a:ext uri="{FF2B5EF4-FFF2-40B4-BE49-F238E27FC236}">
                <a16:creationId xmlns:a16="http://schemas.microsoft.com/office/drawing/2014/main" id="{35AC9D1B-63AD-4761-947D-16A5D3A313DD}"/>
              </a:ext>
            </a:extLst>
          </p:cNvPr>
          <p:cNvSpPr>
            <a:spLocks noChangeArrowheads="1"/>
          </p:cNvSpPr>
          <p:nvPr/>
        </p:nvSpPr>
        <p:spPr bwMode="auto">
          <a:xfrm>
            <a:off x="6244128" y="2305099"/>
            <a:ext cx="104162" cy="104165"/>
          </a:xfrm>
          <a:prstGeom prst="ellipse">
            <a:avLst/>
          </a:prstGeom>
          <a:solidFill>
            <a:schemeClr val="accent1">
              <a:lumMod val="100000"/>
            </a:schemeClr>
          </a:solidFill>
          <a:ln>
            <a:noFill/>
          </a:ln>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FFFFFF"/>
              </a:solidFill>
              <a:effectLst/>
              <a:uLnTx/>
              <a:uFillTx/>
              <a:latin typeface="Arial"/>
              <a:cs typeface="+mn-ea"/>
              <a:sym typeface="+mn-lt"/>
            </a:endParaRPr>
          </a:p>
        </p:txBody>
      </p:sp>
      <p:sp>
        <p:nvSpPr>
          <p:cNvPr id="22" name="Shape 115">
            <a:extLst>
              <a:ext uri="{FF2B5EF4-FFF2-40B4-BE49-F238E27FC236}">
                <a16:creationId xmlns:a16="http://schemas.microsoft.com/office/drawing/2014/main" id="{DAF45442-D259-46AA-9597-F2964911FAC2}"/>
              </a:ext>
            </a:extLst>
          </p:cNvPr>
          <p:cNvSpPr>
            <a:spLocks noChangeArrowheads="1"/>
          </p:cNvSpPr>
          <p:nvPr/>
        </p:nvSpPr>
        <p:spPr bwMode="auto">
          <a:xfrm>
            <a:off x="6720220" y="2824045"/>
            <a:ext cx="104162" cy="104165"/>
          </a:xfrm>
          <a:prstGeom prst="ellipse">
            <a:avLst/>
          </a:prstGeom>
          <a:solidFill>
            <a:schemeClr val="accent1">
              <a:lumMod val="100000"/>
            </a:schemeClr>
          </a:solidFill>
          <a:ln>
            <a:noFill/>
          </a:ln>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FFFFFF"/>
              </a:solidFill>
              <a:effectLst/>
              <a:uLnTx/>
              <a:uFillTx/>
              <a:latin typeface="Arial"/>
              <a:cs typeface="+mn-ea"/>
              <a:sym typeface="+mn-lt"/>
            </a:endParaRPr>
          </a:p>
        </p:txBody>
      </p:sp>
      <p:sp>
        <p:nvSpPr>
          <p:cNvPr id="23" name="Shape 116">
            <a:extLst>
              <a:ext uri="{FF2B5EF4-FFF2-40B4-BE49-F238E27FC236}">
                <a16:creationId xmlns:a16="http://schemas.microsoft.com/office/drawing/2014/main" id="{9256C366-353C-43DD-89C9-B69EA0EE2C80}"/>
              </a:ext>
            </a:extLst>
          </p:cNvPr>
          <p:cNvSpPr>
            <a:spLocks noChangeArrowheads="1"/>
          </p:cNvSpPr>
          <p:nvPr/>
        </p:nvSpPr>
        <p:spPr bwMode="auto">
          <a:xfrm>
            <a:off x="4296604" y="2254590"/>
            <a:ext cx="1824192" cy="205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altLang="ru-RU" sz="1000" b="0" i="0" u="none" strike="noStrike" kern="1200" cap="none" spc="0" normalizeH="0" baseline="0" noProof="0">
                <a:ln>
                  <a:noFill/>
                </a:ln>
                <a:solidFill>
                  <a:srgbClr val="009FDE"/>
                </a:solidFill>
                <a:effectLst/>
                <a:uLnTx/>
                <a:uFillTx/>
                <a:latin typeface="Arial"/>
                <a:cs typeface="+mn-ea"/>
                <a:sym typeface="+mn-lt"/>
              </a:rPr>
              <a:t>Fish bone text block </a:t>
            </a:r>
          </a:p>
        </p:txBody>
      </p:sp>
      <p:sp>
        <p:nvSpPr>
          <p:cNvPr id="24" name="Shape 117">
            <a:extLst>
              <a:ext uri="{FF2B5EF4-FFF2-40B4-BE49-F238E27FC236}">
                <a16:creationId xmlns:a16="http://schemas.microsoft.com/office/drawing/2014/main" id="{59307EF1-F7FD-43EE-85CA-D6522EBCE1FC}"/>
              </a:ext>
            </a:extLst>
          </p:cNvPr>
          <p:cNvSpPr>
            <a:spLocks noChangeArrowheads="1"/>
          </p:cNvSpPr>
          <p:nvPr/>
        </p:nvSpPr>
        <p:spPr bwMode="auto">
          <a:xfrm>
            <a:off x="4771839" y="2769328"/>
            <a:ext cx="1824192" cy="205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altLang="ru-RU" sz="1000" b="0" i="0" u="none" strike="noStrike" kern="1200" cap="none" spc="0" normalizeH="0" baseline="0" noProof="0">
                <a:ln>
                  <a:noFill/>
                </a:ln>
                <a:solidFill>
                  <a:srgbClr val="009FDE"/>
                </a:solidFill>
                <a:effectLst/>
                <a:uLnTx/>
                <a:uFillTx/>
                <a:latin typeface="Arial"/>
                <a:cs typeface="+mn-ea"/>
                <a:sym typeface="+mn-lt"/>
              </a:rPr>
              <a:t>Fish bone text block </a:t>
            </a:r>
          </a:p>
        </p:txBody>
      </p:sp>
      <p:sp>
        <p:nvSpPr>
          <p:cNvPr id="25" name="Shape 118">
            <a:extLst>
              <a:ext uri="{FF2B5EF4-FFF2-40B4-BE49-F238E27FC236}">
                <a16:creationId xmlns:a16="http://schemas.microsoft.com/office/drawing/2014/main" id="{161F5754-54EA-4E7C-ACBD-E20B548FB020}"/>
              </a:ext>
            </a:extLst>
          </p:cNvPr>
          <p:cNvSpPr>
            <a:spLocks noChangeArrowheads="1"/>
          </p:cNvSpPr>
          <p:nvPr/>
        </p:nvSpPr>
        <p:spPr bwMode="auto">
          <a:xfrm>
            <a:off x="6466006" y="2254590"/>
            <a:ext cx="1824192" cy="205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altLang="ru-RU" sz="1000" b="0" i="0" u="none" strike="noStrike" kern="1200" cap="none" spc="0" normalizeH="0" baseline="0" noProof="0">
                <a:ln>
                  <a:noFill/>
                </a:ln>
                <a:solidFill>
                  <a:schemeClr val="accent1"/>
                </a:solidFill>
                <a:effectLst/>
                <a:uLnTx/>
                <a:uFillTx/>
                <a:latin typeface="Arial"/>
                <a:cs typeface="+mn-ea"/>
                <a:sym typeface="+mn-lt"/>
              </a:rPr>
              <a:t>Fish bone text block </a:t>
            </a:r>
          </a:p>
        </p:txBody>
      </p:sp>
      <p:sp>
        <p:nvSpPr>
          <p:cNvPr id="26" name="Shape 119">
            <a:extLst>
              <a:ext uri="{FF2B5EF4-FFF2-40B4-BE49-F238E27FC236}">
                <a16:creationId xmlns:a16="http://schemas.microsoft.com/office/drawing/2014/main" id="{7025B47E-F949-4A68-AF92-CDF6C54A25C8}"/>
              </a:ext>
            </a:extLst>
          </p:cNvPr>
          <p:cNvSpPr>
            <a:spLocks noChangeArrowheads="1"/>
          </p:cNvSpPr>
          <p:nvPr/>
        </p:nvSpPr>
        <p:spPr bwMode="auto">
          <a:xfrm>
            <a:off x="6941241" y="2769328"/>
            <a:ext cx="1824192" cy="205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altLang="ru-RU" sz="1000" b="0" i="0" u="none" strike="noStrike" kern="1200" cap="none" spc="0" normalizeH="0" baseline="0" noProof="0">
                <a:ln>
                  <a:noFill/>
                </a:ln>
                <a:solidFill>
                  <a:schemeClr val="accent1"/>
                </a:solidFill>
                <a:effectLst/>
                <a:uLnTx/>
                <a:uFillTx/>
                <a:latin typeface="Arial"/>
                <a:cs typeface="+mn-ea"/>
                <a:sym typeface="+mn-lt"/>
              </a:rPr>
              <a:t>Fish bone text block </a:t>
            </a:r>
          </a:p>
        </p:txBody>
      </p:sp>
      <p:sp>
        <p:nvSpPr>
          <p:cNvPr id="27" name="Shape 120">
            <a:extLst>
              <a:ext uri="{FF2B5EF4-FFF2-40B4-BE49-F238E27FC236}">
                <a16:creationId xmlns:a16="http://schemas.microsoft.com/office/drawing/2014/main" id="{1D0D6CB8-B615-4F45-A4BE-EB7F7F6D23F8}"/>
              </a:ext>
            </a:extLst>
          </p:cNvPr>
          <p:cNvSpPr>
            <a:spLocks noChangeArrowheads="1"/>
          </p:cNvSpPr>
          <p:nvPr/>
        </p:nvSpPr>
        <p:spPr bwMode="auto">
          <a:xfrm>
            <a:off x="3693540" y="3922869"/>
            <a:ext cx="1824192" cy="205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altLang="ru-RU" sz="1000" b="0" i="0" u="none" strike="noStrike" kern="1200" cap="none" spc="0" normalizeH="0" baseline="0" noProof="0">
                <a:ln>
                  <a:noFill/>
                </a:ln>
                <a:solidFill>
                  <a:schemeClr val="accent1"/>
                </a:solidFill>
                <a:effectLst/>
                <a:uLnTx/>
                <a:uFillTx/>
                <a:latin typeface="Arial"/>
                <a:cs typeface="+mn-ea"/>
                <a:sym typeface="+mn-lt"/>
              </a:rPr>
              <a:t>Fish bone text block </a:t>
            </a:r>
          </a:p>
        </p:txBody>
      </p:sp>
      <p:sp>
        <p:nvSpPr>
          <p:cNvPr id="28" name="Shape 121">
            <a:extLst>
              <a:ext uri="{FF2B5EF4-FFF2-40B4-BE49-F238E27FC236}">
                <a16:creationId xmlns:a16="http://schemas.microsoft.com/office/drawing/2014/main" id="{0DFC5613-7E79-4222-8A43-5CC3A9EEAEBC}"/>
              </a:ext>
            </a:extLst>
          </p:cNvPr>
          <p:cNvSpPr>
            <a:spLocks noChangeArrowheads="1"/>
          </p:cNvSpPr>
          <p:nvPr/>
        </p:nvSpPr>
        <p:spPr bwMode="auto">
          <a:xfrm>
            <a:off x="3235345" y="4437606"/>
            <a:ext cx="1824192" cy="205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altLang="ru-RU" sz="1000" b="0" i="0" u="none" strike="noStrike" kern="1200" cap="none" spc="0" normalizeH="0" baseline="0" noProof="0">
                <a:ln>
                  <a:noFill/>
                </a:ln>
                <a:solidFill>
                  <a:schemeClr val="accent1"/>
                </a:solidFill>
                <a:effectLst/>
                <a:uLnTx/>
                <a:uFillTx/>
                <a:latin typeface="Arial"/>
                <a:cs typeface="+mn-ea"/>
                <a:sym typeface="+mn-lt"/>
              </a:rPr>
              <a:t>Fish bone text block </a:t>
            </a:r>
          </a:p>
        </p:txBody>
      </p:sp>
      <p:sp>
        <p:nvSpPr>
          <p:cNvPr id="29" name="Shape 122">
            <a:extLst>
              <a:ext uri="{FF2B5EF4-FFF2-40B4-BE49-F238E27FC236}">
                <a16:creationId xmlns:a16="http://schemas.microsoft.com/office/drawing/2014/main" id="{B88757AD-6B23-4C24-9ACB-40DA8655672A}"/>
              </a:ext>
            </a:extLst>
          </p:cNvPr>
          <p:cNvSpPr>
            <a:spLocks noChangeArrowheads="1"/>
          </p:cNvSpPr>
          <p:nvPr/>
        </p:nvSpPr>
        <p:spPr bwMode="auto">
          <a:xfrm>
            <a:off x="5871544" y="3922869"/>
            <a:ext cx="1824192" cy="205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altLang="ru-RU" sz="1000" b="0" i="0" u="none" strike="noStrike" kern="1200" cap="none" spc="0" normalizeH="0" baseline="0" noProof="0">
                <a:ln>
                  <a:noFill/>
                </a:ln>
                <a:solidFill>
                  <a:schemeClr val="accent1"/>
                </a:solidFill>
                <a:effectLst/>
                <a:uLnTx/>
                <a:uFillTx/>
                <a:latin typeface="Arial"/>
                <a:cs typeface="+mn-ea"/>
                <a:sym typeface="+mn-lt"/>
              </a:rPr>
              <a:t>Fish bone text block </a:t>
            </a:r>
          </a:p>
        </p:txBody>
      </p:sp>
      <p:sp>
        <p:nvSpPr>
          <p:cNvPr id="30" name="Shape 123">
            <a:extLst>
              <a:ext uri="{FF2B5EF4-FFF2-40B4-BE49-F238E27FC236}">
                <a16:creationId xmlns:a16="http://schemas.microsoft.com/office/drawing/2014/main" id="{BC96E3E4-7E2E-4027-A5D4-B26222A5DD62}"/>
              </a:ext>
            </a:extLst>
          </p:cNvPr>
          <p:cNvSpPr>
            <a:spLocks noChangeArrowheads="1"/>
          </p:cNvSpPr>
          <p:nvPr/>
        </p:nvSpPr>
        <p:spPr bwMode="auto">
          <a:xfrm>
            <a:off x="5413349" y="4437606"/>
            <a:ext cx="1824192" cy="205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altLang="ru-RU" sz="1000" b="0" i="0" u="none" strike="noStrike" kern="1200" cap="none" spc="0" normalizeH="0" baseline="0" noProof="0">
                <a:ln>
                  <a:noFill/>
                </a:ln>
                <a:solidFill>
                  <a:schemeClr val="accent1"/>
                </a:solidFill>
                <a:effectLst/>
                <a:uLnTx/>
                <a:uFillTx/>
                <a:latin typeface="Arial"/>
                <a:cs typeface="+mn-ea"/>
                <a:sym typeface="+mn-lt"/>
              </a:rPr>
              <a:t>Fish bone text block </a:t>
            </a:r>
          </a:p>
        </p:txBody>
      </p:sp>
      <p:sp>
        <p:nvSpPr>
          <p:cNvPr id="31" name="Shape 124">
            <a:extLst>
              <a:ext uri="{FF2B5EF4-FFF2-40B4-BE49-F238E27FC236}">
                <a16:creationId xmlns:a16="http://schemas.microsoft.com/office/drawing/2014/main" id="{93E11FC9-DC20-4D9F-9ED7-0318CE4F9676}"/>
              </a:ext>
            </a:extLst>
          </p:cNvPr>
          <p:cNvSpPr>
            <a:spLocks noChangeArrowheads="1"/>
          </p:cNvSpPr>
          <p:nvPr/>
        </p:nvSpPr>
        <p:spPr bwMode="auto">
          <a:xfrm>
            <a:off x="4471650" y="4983555"/>
            <a:ext cx="431792" cy="431805"/>
          </a:xfrm>
          <a:prstGeom prst="ellipse">
            <a:avLst/>
          </a:prstGeom>
          <a:solidFill>
            <a:srgbClr val="FFFFFF"/>
          </a:solidFill>
          <a:ln w="63500">
            <a:solidFill>
              <a:schemeClr val="accent1">
                <a:lumMod val="100000"/>
              </a:schemeClr>
            </a:solidFill>
            <a:miter lim="400000"/>
            <a:headEnd/>
            <a:tailEnd/>
          </a:ln>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0677C7"/>
              </a:solidFill>
              <a:effectLst/>
              <a:uLnTx/>
              <a:uFillTx/>
              <a:latin typeface="Arial"/>
              <a:cs typeface="+mn-ea"/>
              <a:sym typeface="+mn-lt"/>
            </a:endParaRPr>
          </a:p>
        </p:txBody>
      </p:sp>
      <p:sp>
        <p:nvSpPr>
          <p:cNvPr id="32" name="Shape 125">
            <a:extLst>
              <a:ext uri="{FF2B5EF4-FFF2-40B4-BE49-F238E27FC236}">
                <a16:creationId xmlns:a16="http://schemas.microsoft.com/office/drawing/2014/main" id="{A209FBF3-DE72-4429-B154-E4E6ACAD265D}"/>
              </a:ext>
            </a:extLst>
          </p:cNvPr>
          <p:cNvSpPr>
            <a:spLocks noChangeArrowheads="1"/>
          </p:cNvSpPr>
          <p:nvPr/>
        </p:nvSpPr>
        <p:spPr bwMode="auto">
          <a:xfrm>
            <a:off x="3305721" y="1442640"/>
            <a:ext cx="431792" cy="431804"/>
          </a:xfrm>
          <a:prstGeom prst="ellipse">
            <a:avLst/>
          </a:prstGeom>
          <a:solidFill>
            <a:srgbClr val="FFFFFF"/>
          </a:solidFill>
          <a:ln w="63500">
            <a:solidFill>
              <a:schemeClr val="accent1">
                <a:lumMod val="100000"/>
              </a:schemeClr>
            </a:solidFill>
            <a:miter lim="400000"/>
            <a:headEnd/>
            <a:tailEnd/>
          </a:ln>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009FDE"/>
              </a:solidFill>
              <a:effectLst/>
              <a:uLnTx/>
              <a:uFillTx/>
              <a:latin typeface="Arial"/>
              <a:cs typeface="+mn-ea"/>
              <a:sym typeface="+mn-lt"/>
            </a:endParaRPr>
          </a:p>
        </p:txBody>
      </p:sp>
      <p:sp>
        <p:nvSpPr>
          <p:cNvPr id="33" name="Shape 126">
            <a:extLst>
              <a:ext uri="{FF2B5EF4-FFF2-40B4-BE49-F238E27FC236}">
                <a16:creationId xmlns:a16="http://schemas.microsoft.com/office/drawing/2014/main" id="{6C2113D8-0A63-453C-802D-5033C2AB653D}"/>
              </a:ext>
            </a:extLst>
          </p:cNvPr>
          <p:cNvSpPr>
            <a:spLocks noChangeArrowheads="1"/>
          </p:cNvSpPr>
          <p:nvPr/>
        </p:nvSpPr>
        <p:spPr bwMode="auto">
          <a:xfrm>
            <a:off x="5516931" y="1442640"/>
            <a:ext cx="431792" cy="431804"/>
          </a:xfrm>
          <a:prstGeom prst="ellipse">
            <a:avLst/>
          </a:prstGeom>
          <a:solidFill>
            <a:srgbClr val="FFFFFF"/>
          </a:solidFill>
          <a:ln w="63500">
            <a:solidFill>
              <a:schemeClr val="accent1">
                <a:lumMod val="100000"/>
              </a:schemeClr>
            </a:solidFill>
            <a:miter lim="400000"/>
            <a:headEnd/>
            <a:tailEnd/>
          </a:ln>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0677C7"/>
              </a:solidFill>
              <a:effectLst/>
              <a:uLnTx/>
              <a:uFillTx/>
              <a:latin typeface="Arial"/>
              <a:cs typeface="+mn-ea"/>
              <a:sym typeface="+mn-lt"/>
            </a:endParaRPr>
          </a:p>
        </p:txBody>
      </p:sp>
      <p:sp>
        <p:nvSpPr>
          <p:cNvPr id="34" name="Shape 127">
            <a:extLst>
              <a:ext uri="{FF2B5EF4-FFF2-40B4-BE49-F238E27FC236}">
                <a16:creationId xmlns:a16="http://schemas.microsoft.com/office/drawing/2014/main" id="{257C192D-BC94-4834-BE37-186438AC520C}"/>
              </a:ext>
            </a:extLst>
          </p:cNvPr>
          <p:cNvSpPr>
            <a:spLocks noChangeArrowheads="1"/>
          </p:cNvSpPr>
          <p:nvPr/>
        </p:nvSpPr>
        <p:spPr bwMode="auto">
          <a:xfrm>
            <a:off x="2318778" y="5077631"/>
            <a:ext cx="362744" cy="2436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lgn="ctr">
              <a:defRPr sz="2500" cap="all">
                <a:solidFill>
                  <a:srgbClr val="344245"/>
                </a:solidFill>
                <a:latin typeface="Open Sans Semibold"/>
                <a:ea typeface="Open Sans Semibold"/>
                <a:cs typeface="Open Sans Semibold"/>
                <a:sym typeface="Open Sans Semibold"/>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sz="1250" b="0" i="0" u="none" strike="noStrike" kern="0" cap="all" spc="0" normalizeH="0" baseline="0" noProof="0" dirty="0">
                <a:ln>
                  <a:noFill/>
                </a:ln>
                <a:solidFill>
                  <a:schemeClr val="accent1"/>
                </a:solidFill>
                <a:effectLst/>
                <a:uLnTx/>
                <a:uFillTx/>
                <a:latin typeface="Arial"/>
                <a:ea typeface="+mn-ea"/>
                <a:cs typeface="+mn-ea"/>
                <a:sym typeface="+mn-lt"/>
              </a:rPr>
              <a:t>1</a:t>
            </a:r>
          </a:p>
        </p:txBody>
      </p:sp>
      <p:sp>
        <p:nvSpPr>
          <p:cNvPr id="35" name="Shape 128">
            <a:extLst>
              <a:ext uri="{FF2B5EF4-FFF2-40B4-BE49-F238E27FC236}">
                <a16:creationId xmlns:a16="http://schemas.microsoft.com/office/drawing/2014/main" id="{7A40CBAB-C8CB-46EB-931B-6185C0042FB8}"/>
              </a:ext>
            </a:extLst>
          </p:cNvPr>
          <p:cNvSpPr>
            <a:spLocks noChangeArrowheads="1"/>
          </p:cNvSpPr>
          <p:nvPr/>
        </p:nvSpPr>
        <p:spPr bwMode="auto">
          <a:xfrm>
            <a:off x="3345096" y="1535476"/>
            <a:ext cx="362744" cy="2436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lgn="ctr">
              <a:defRPr sz="2500" cap="all">
                <a:solidFill>
                  <a:srgbClr val="344245"/>
                </a:solidFill>
                <a:latin typeface="Open Sans Semibold"/>
                <a:ea typeface="Open Sans Semibold"/>
                <a:cs typeface="Open Sans Semibold"/>
                <a:sym typeface="Open Sans Semibold"/>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sz="1250" b="0" i="0" u="none" strike="noStrike" kern="0" cap="all" spc="0" normalizeH="0" baseline="0" noProof="0" dirty="0">
                <a:ln>
                  <a:noFill/>
                </a:ln>
                <a:solidFill>
                  <a:srgbClr val="009FDE"/>
                </a:solidFill>
                <a:effectLst/>
                <a:uLnTx/>
                <a:uFillTx/>
                <a:latin typeface="Arial"/>
                <a:ea typeface="+mn-ea"/>
                <a:cs typeface="+mn-ea"/>
                <a:sym typeface="+mn-lt"/>
              </a:rPr>
              <a:t>2</a:t>
            </a:r>
          </a:p>
        </p:txBody>
      </p:sp>
      <p:sp>
        <p:nvSpPr>
          <p:cNvPr id="36" name="Shape 129">
            <a:extLst>
              <a:ext uri="{FF2B5EF4-FFF2-40B4-BE49-F238E27FC236}">
                <a16:creationId xmlns:a16="http://schemas.microsoft.com/office/drawing/2014/main" id="{204A0DAD-3CAB-4CEB-BF84-33B09C573DC8}"/>
              </a:ext>
            </a:extLst>
          </p:cNvPr>
          <p:cNvSpPr>
            <a:spLocks noChangeArrowheads="1"/>
          </p:cNvSpPr>
          <p:nvPr/>
        </p:nvSpPr>
        <p:spPr bwMode="auto">
          <a:xfrm>
            <a:off x="5546490" y="1540473"/>
            <a:ext cx="362744" cy="2436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lgn="ctr">
              <a:defRPr sz="2500" cap="all">
                <a:solidFill>
                  <a:srgbClr val="344245"/>
                </a:solidFill>
                <a:latin typeface="Open Sans Semibold"/>
                <a:ea typeface="Open Sans Semibold"/>
                <a:cs typeface="Open Sans Semibold"/>
                <a:sym typeface="Open Sans Semibold"/>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sz="1250" b="0" i="0" u="none" strike="noStrike" kern="0" cap="all" spc="0" normalizeH="0" baseline="0" noProof="0" dirty="0">
                <a:ln>
                  <a:noFill/>
                </a:ln>
                <a:solidFill>
                  <a:schemeClr val="accent1"/>
                </a:solidFill>
                <a:effectLst/>
                <a:uLnTx/>
                <a:uFillTx/>
                <a:latin typeface="Arial"/>
                <a:ea typeface="+mn-ea"/>
                <a:cs typeface="+mn-ea"/>
                <a:sym typeface="+mn-lt"/>
              </a:rPr>
              <a:t>4</a:t>
            </a:r>
          </a:p>
        </p:txBody>
      </p:sp>
      <p:sp>
        <p:nvSpPr>
          <p:cNvPr id="37" name="Shape 130">
            <a:extLst>
              <a:ext uri="{FF2B5EF4-FFF2-40B4-BE49-F238E27FC236}">
                <a16:creationId xmlns:a16="http://schemas.microsoft.com/office/drawing/2014/main" id="{25E8B020-3252-4900-B01B-E07F9844F99D}"/>
              </a:ext>
            </a:extLst>
          </p:cNvPr>
          <p:cNvSpPr>
            <a:spLocks noChangeArrowheads="1"/>
          </p:cNvSpPr>
          <p:nvPr/>
        </p:nvSpPr>
        <p:spPr bwMode="auto">
          <a:xfrm>
            <a:off x="4510717" y="5082628"/>
            <a:ext cx="362744" cy="2436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lgn="ctr">
              <a:defRPr sz="2500" cap="all">
                <a:solidFill>
                  <a:srgbClr val="344245"/>
                </a:solidFill>
                <a:latin typeface="Open Sans Semibold"/>
                <a:ea typeface="Open Sans Semibold"/>
                <a:cs typeface="Open Sans Semibold"/>
                <a:sym typeface="Open Sans Semibold"/>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sz="1250" b="0" i="0" u="none" strike="noStrike" kern="0" cap="all" spc="0" normalizeH="0" baseline="0" noProof="0">
                <a:ln>
                  <a:noFill/>
                </a:ln>
                <a:solidFill>
                  <a:schemeClr val="accent1"/>
                </a:solidFill>
                <a:effectLst/>
                <a:uLnTx/>
                <a:uFillTx/>
                <a:latin typeface="Arial"/>
                <a:ea typeface="+mn-ea"/>
                <a:cs typeface="+mn-ea"/>
                <a:sym typeface="+mn-lt"/>
              </a:rPr>
              <a:t>3</a:t>
            </a:r>
          </a:p>
        </p:txBody>
      </p:sp>
      <p:sp>
        <p:nvSpPr>
          <p:cNvPr id="38" name="Shape 131">
            <a:extLst>
              <a:ext uri="{FF2B5EF4-FFF2-40B4-BE49-F238E27FC236}">
                <a16:creationId xmlns:a16="http://schemas.microsoft.com/office/drawing/2014/main" id="{C2D4CE65-8B98-4731-AE75-8B44B9F59263}"/>
              </a:ext>
            </a:extLst>
          </p:cNvPr>
          <p:cNvSpPr>
            <a:spLocks noChangeArrowheads="1"/>
          </p:cNvSpPr>
          <p:nvPr/>
        </p:nvSpPr>
        <p:spPr bwMode="auto">
          <a:xfrm>
            <a:off x="2815431" y="5077631"/>
            <a:ext cx="1267619" cy="2436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2500" cap="all">
                <a:solidFill>
                  <a:srgbClr val="344245"/>
                </a:solidFill>
                <a:latin typeface="Open Sans Semibold"/>
                <a:ea typeface="Open Sans Semibold"/>
                <a:cs typeface="Open Sans Semibold"/>
                <a:sym typeface="Open Sans Semibold"/>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sz="1250" b="0" i="0" u="none" strike="noStrike" kern="0" cap="all" spc="0" normalizeH="0" baseline="0" noProof="0" dirty="0">
                <a:ln>
                  <a:noFill/>
                </a:ln>
                <a:solidFill>
                  <a:schemeClr val="accent1"/>
                </a:solidFill>
                <a:effectLst/>
                <a:uLnTx/>
                <a:uFillTx/>
                <a:latin typeface="Arial"/>
                <a:ea typeface="+mn-ea"/>
                <a:cs typeface="+mn-ea"/>
                <a:sym typeface="+mn-lt"/>
              </a:rPr>
              <a:t>Text inform</a:t>
            </a:r>
          </a:p>
        </p:txBody>
      </p:sp>
      <p:sp>
        <p:nvSpPr>
          <p:cNvPr id="39" name="Shape 132">
            <a:extLst>
              <a:ext uri="{FF2B5EF4-FFF2-40B4-BE49-F238E27FC236}">
                <a16:creationId xmlns:a16="http://schemas.microsoft.com/office/drawing/2014/main" id="{44AC2D39-DA8D-41D4-A390-706869CCCB5F}"/>
              </a:ext>
            </a:extLst>
          </p:cNvPr>
          <p:cNvSpPr>
            <a:spLocks noChangeArrowheads="1"/>
          </p:cNvSpPr>
          <p:nvPr/>
        </p:nvSpPr>
        <p:spPr bwMode="auto">
          <a:xfrm>
            <a:off x="5042694" y="5073663"/>
            <a:ext cx="1267619" cy="2436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2500" cap="all">
                <a:solidFill>
                  <a:srgbClr val="344245"/>
                </a:solidFill>
                <a:latin typeface="Open Sans Semibold"/>
                <a:ea typeface="Open Sans Semibold"/>
                <a:cs typeface="Open Sans Semibold"/>
                <a:sym typeface="Open Sans Semibold"/>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sz="1250" b="0" i="0" u="none" strike="noStrike" kern="0" cap="all" spc="0" normalizeH="0" baseline="0" noProof="0" dirty="0">
                <a:ln>
                  <a:noFill/>
                </a:ln>
                <a:solidFill>
                  <a:schemeClr val="accent1"/>
                </a:solidFill>
                <a:effectLst/>
                <a:uLnTx/>
                <a:uFillTx/>
                <a:latin typeface="Arial"/>
                <a:ea typeface="+mn-ea"/>
                <a:cs typeface="+mn-ea"/>
                <a:sym typeface="+mn-lt"/>
              </a:rPr>
              <a:t>Text inform</a:t>
            </a:r>
          </a:p>
        </p:txBody>
      </p:sp>
      <p:sp>
        <p:nvSpPr>
          <p:cNvPr id="40" name="Shape 133">
            <a:extLst>
              <a:ext uri="{FF2B5EF4-FFF2-40B4-BE49-F238E27FC236}">
                <a16:creationId xmlns:a16="http://schemas.microsoft.com/office/drawing/2014/main" id="{C64E354B-6E58-4A06-BEC1-B11E727E199E}"/>
              </a:ext>
            </a:extLst>
          </p:cNvPr>
          <p:cNvSpPr>
            <a:spLocks noChangeArrowheads="1"/>
          </p:cNvSpPr>
          <p:nvPr/>
        </p:nvSpPr>
        <p:spPr bwMode="auto">
          <a:xfrm>
            <a:off x="3840956" y="1527981"/>
            <a:ext cx="1268413" cy="2436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2500" cap="all">
                <a:solidFill>
                  <a:srgbClr val="344245"/>
                </a:solidFill>
                <a:latin typeface="Open Sans Semibold"/>
                <a:ea typeface="Open Sans Semibold"/>
                <a:cs typeface="Open Sans Semibold"/>
                <a:sym typeface="Open Sans Semibold"/>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sz="1250" b="0" i="0" u="none" strike="noStrike" kern="0" cap="all" spc="0" normalizeH="0" baseline="0" noProof="0" dirty="0">
                <a:ln>
                  <a:noFill/>
                </a:ln>
                <a:solidFill>
                  <a:srgbClr val="009FDE"/>
                </a:solidFill>
                <a:effectLst/>
                <a:uLnTx/>
                <a:uFillTx/>
                <a:latin typeface="Arial"/>
                <a:ea typeface="+mn-ea"/>
                <a:cs typeface="+mn-ea"/>
                <a:sym typeface="+mn-lt"/>
              </a:rPr>
              <a:t>Text inform</a:t>
            </a:r>
          </a:p>
        </p:txBody>
      </p:sp>
      <p:sp>
        <p:nvSpPr>
          <p:cNvPr id="41" name="Shape 134">
            <a:extLst>
              <a:ext uri="{FF2B5EF4-FFF2-40B4-BE49-F238E27FC236}">
                <a16:creationId xmlns:a16="http://schemas.microsoft.com/office/drawing/2014/main" id="{32DABB7B-A648-429E-875A-EF35B8D30F6B}"/>
              </a:ext>
            </a:extLst>
          </p:cNvPr>
          <p:cNvSpPr>
            <a:spLocks noChangeArrowheads="1"/>
          </p:cNvSpPr>
          <p:nvPr/>
        </p:nvSpPr>
        <p:spPr bwMode="auto">
          <a:xfrm>
            <a:off x="6049169" y="1527981"/>
            <a:ext cx="1267619" cy="2436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2500" cap="all">
                <a:solidFill>
                  <a:srgbClr val="344245"/>
                </a:solidFill>
                <a:latin typeface="Open Sans Semibold"/>
                <a:ea typeface="Open Sans Semibold"/>
                <a:cs typeface="Open Sans Semibold"/>
                <a:sym typeface="Open Sans Semibold"/>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sz="1250" b="0" i="0" u="none" strike="noStrike" kern="0" cap="all" spc="0" normalizeH="0" baseline="0" noProof="0" dirty="0">
                <a:ln>
                  <a:noFill/>
                </a:ln>
                <a:solidFill>
                  <a:schemeClr val="accent1"/>
                </a:solidFill>
                <a:effectLst/>
                <a:uLnTx/>
                <a:uFillTx/>
                <a:latin typeface="Arial"/>
                <a:ea typeface="+mn-ea"/>
                <a:cs typeface="+mn-ea"/>
                <a:sym typeface="+mn-lt"/>
              </a:rPr>
              <a:t>Text inform</a:t>
            </a:r>
          </a:p>
        </p:txBody>
      </p:sp>
    </p:spTree>
    <p:extLst>
      <p:ext uri="{BB962C8B-B14F-4D97-AF65-F5344CB8AC3E}">
        <p14:creationId xmlns:p14="http://schemas.microsoft.com/office/powerpoint/2010/main" val="4151578628"/>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7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hape 96">
            <a:extLst>
              <a:ext uri="{FF2B5EF4-FFF2-40B4-BE49-F238E27FC236}">
                <a16:creationId xmlns:a16="http://schemas.microsoft.com/office/drawing/2014/main" id="{9A905373-8172-4B4F-8EC4-15051D700AAF}"/>
              </a:ext>
            </a:extLst>
          </p:cNvPr>
          <p:cNvSpPr>
            <a:spLocks/>
          </p:cNvSpPr>
          <p:nvPr/>
        </p:nvSpPr>
        <p:spPr bwMode="auto">
          <a:xfrm>
            <a:off x="8978375" y="1914234"/>
            <a:ext cx="2498860" cy="3077023"/>
          </a:xfrm>
          <a:custGeom>
            <a:avLst/>
            <a:gdLst>
              <a:gd name="T0" fmla="*/ 2147483646 w 21455"/>
              <a:gd name="T1" fmla="*/ 2147483646 h 21547"/>
              <a:gd name="T2" fmla="*/ 2147483646 w 21455"/>
              <a:gd name="T3" fmla="*/ 2147483646 h 21547"/>
              <a:gd name="T4" fmla="*/ 2147483646 w 21455"/>
              <a:gd name="T5" fmla="*/ 2147483646 h 21547"/>
              <a:gd name="T6" fmla="*/ 2147483646 w 21455"/>
              <a:gd name="T7" fmla="*/ 2147483646 h 21547"/>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21455" h="21547" extrusionOk="0">
                <a:moveTo>
                  <a:pt x="6771" y="3"/>
                </a:moveTo>
                <a:cubicBezTo>
                  <a:pt x="6609" y="11"/>
                  <a:pt x="6448" y="32"/>
                  <a:pt x="6289" y="63"/>
                </a:cubicBezTo>
                <a:cubicBezTo>
                  <a:pt x="5701" y="178"/>
                  <a:pt x="5167" y="433"/>
                  <a:pt x="4757" y="795"/>
                </a:cubicBezTo>
                <a:cubicBezTo>
                  <a:pt x="1575" y="3641"/>
                  <a:pt x="-127" y="7383"/>
                  <a:pt x="7" y="11232"/>
                </a:cubicBezTo>
                <a:cubicBezTo>
                  <a:pt x="132" y="14824"/>
                  <a:pt x="1852" y="18257"/>
                  <a:pt x="4849" y="20891"/>
                </a:cubicBezTo>
                <a:cubicBezTo>
                  <a:pt x="5271" y="21232"/>
                  <a:pt x="5816" y="21454"/>
                  <a:pt x="6403" y="21524"/>
                </a:cubicBezTo>
                <a:cubicBezTo>
                  <a:pt x="7012" y="21596"/>
                  <a:pt x="7632" y="21502"/>
                  <a:pt x="8168" y="21255"/>
                </a:cubicBezTo>
                <a:cubicBezTo>
                  <a:pt x="10517" y="20042"/>
                  <a:pt x="12750" y="18684"/>
                  <a:pt x="14845" y="17194"/>
                </a:cubicBezTo>
                <a:cubicBezTo>
                  <a:pt x="16973" y="15680"/>
                  <a:pt x="18955" y="14033"/>
                  <a:pt x="20771" y="12269"/>
                </a:cubicBezTo>
                <a:cubicBezTo>
                  <a:pt x="21195" y="11887"/>
                  <a:pt x="21436" y="11395"/>
                  <a:pt x="21454" y="10880"/>
                </a:cubicBezTo>
                <a:cubicBezTo>
                  <a:pt x="21473" y="10322"/>
                  <a:pt x="21229" y="9779"/>
                  <a:pt x="20771" y="9365"/>
                </a:cubicBezTo>
                <a:cubicBezTo>
                  <a:pt x="18967" y="7504"/>
                  <a:pt x="16953" y="5785"/>
                  <a:pt x="14756" y="4230"/>
                </a:cubicBezTo>
                <a:cubicBezTo>
                  <a:pt x="12652" y="2741"/>
                  <a:pt x="10386" y="1409"/>
                  <a:pt x="7989" y="249"/>
                </a:cubicBezTo>
                <a:cubicBezTo>
                  <a:pt x="7763" y="135"/>
                  <a:pt x="7514" y="59"/>
                  <a:pt x="7255" y="24"/>
                </a:cubicBezTo>
                <a:cubicBezTo>
                  <a:pt x="7095" y="3"/>
                  <a:pt x="6933" y="-4"/>
                  <a:pt x="6771" y="3"/>
                </a:cubicBezTo>
                <a:close/>
                <a:moveTo>
                  <a:pt x="9121" y="5291"/>
                </a:moveTo>
                <a:cubicBezTo>
                  <a:pt x="9744" y="5291"/>
                  <a:pt x="10369" y="5485"/>
                  <a:pt x="10845" y="5873"/>
                </a:cubicBezTo>
                <a:cubicBezTo>
                  <a:pt x="11797" y="6649"/>
                  <a:pt x="11797" y="7909"/>
                  <a:pt x="10845" y="8685"/>
                </a:cubicBezTo>
                <a:cubicBezTo>
                  <a:pt x="9893" y="9462"/>
                  <a:pt x="8348" y="9462"/>
                  <a:pt x="7396" y="8685"/>
                </a:cubicBezTo>
                <a:cubicBezTo>
                  <a:pt x="6444" y="7909"/>
                  <a:pt x="6444" y="6649"/>
                  <a:pt x="7396" y="5873"/>
                </a:cubicBezTo>
                <a:cubicBezTo>
                  <a:pt x="7872" y="5485"/>
                  <a:pt x="8497" y="5291"/>
                  <a:pt x="9121" y="5291"/>
                </a:cubicBezTo>
                <a:close/>
              </a:path>
            </a:pathLst>
          </a:custGeom>
          <a:solidFill>
            <a:schemeClr val="accent1">
              <a:lumMod val="40000"/>
              <a:lumOff val="60000"/>
            </a:schemeClr>
          </a:solidFill>
          <a:ln>
            <a:noFill/>
          </a:ln>
        </p:spPr>
        <p:txBody>
          <a:bodyPr lIns="25400" tIns="25400" rIns="25400" bIns="254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500" b="0" i="0" u="none" strike="noStrike" kern="1200" cap="none" spc="0" normalizeH="0" baseline="0" noProof="0">
              <a:ln>
                <a:noFill/>
              </a:ln>
              <a:solidFill>
                <a:srgbClr val="000000"/>
              </a:solidFill>
              <a:effectLst/>
              <a:uLnTx/>
              <a:uFillTx/>
              <a:latin typeface="Arial"/>
              <a:cs typeface="+mn-ea"/>
              <a:sym typeface="+mn-lt"/>
            </a:endParaRPr>
          </a:p>
        </p:txBody>
      </p:sp>
      <p:sp>
        <p:nvSpPr>
          <p:cNvPr id="4" name="Shape 97">
            <a:extLst>
              <a:ext uri="{FF2B5EF4-FFF2-40B4-BE49-F238E27FC236}">
                <a16:creationId xmlns:a16="http://schemas.microsoft.com/office/drawing/2014/main" id="{3D5D3B1F-B828-4A4B-8C11-034DAE713013}"/>
              </a:ext>
            </a:extLst>
          </p:cNvPr>
          <p:cNvSpPr>
            <a:spLocks/>
          </p:cNvSpPr>
          <p:nvPr/>
        </p:nvSpPr>
        <p:spPr bwMode="auto">
          <a:xfrm>
            <a:off x="714764" y="1837350"/>
            <a:ext cx="1543687" cy="3230778"/>
          </a:xfrm>
          <a:custGeom>
            <a:avLst/>
            <a:gdLst>
              <a:gd name="T0" fmla="*/ 2147483646 w 21492"/>
              <a:gd name="T1" fmla="*/ 2147483646 h 21500"/>
              <a:gd name="T2" fmla="*/ 2147483646 w 21492"/>
              <a:gd name="T3" fmla="*/ 2147483646 h 21500"/>
              <a:gd name="T4" fmla="*/ 2147483646 w 21492"/>
              <a:gd name="T5" fmla="*/ 2147483646 h 21500"/>
              <a:gd name="T6" fmla="*/ 2147483646 w 21492"/>
              <a:gd name="T7" fmla="*/ 2147483646 h 21500"/>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21492" h="21500" extrusionOk="0">
                <a:moveTo>
                  <a:pt x="223" y="899"/>
                </a:moveTo>
                <a:cubicBezTo>
                  <a:pt x="-78" y="701"/>
                  <a:pt x="-74" y="432"/>
                  <a:pt x="234" y="235"/>
                </a:cubicBezTo>
                <a:cubicBezTo>
                  <a:pt x="660" y="-37"/>
                  <a:pt x="1481" y="-80"/>
                  <a:pt x="2020" y="142"/>
                </a:cubicBezTo>
                <a:lnTo>
                  <a:pt x="20954" y="10063"/>
                </a:lnTo>
                <a:cubicBezTo>
                  <a:pt x="21329" y="10261"/>
                  <a:pt x="21522" y="10524"/>
                  <a:pt x="21489" y="10791"/>
                </a:cubicBezTo>
                <a:cubicBezTo>
                  <a:pt x="21466" y="10980"/>
                  <a:pt x="21330" y="11161"/>
                  <a:pt x="21097" y="11314"/>
                </a:cubicBezTo>
                <a:lnTo>
                  <a:pt x="2264" y="21274"/>
                </a:lnTo>
                <a:cubicBezTo>
                  <a:pt x="2035" y="21395"/>
                  <a:pt x="1738" y="21467"/>
                  <a:pt x="1429" y="21491"/>
                </a:cubicBezTo>
                <a:cubicBezTo>
                  <a:pt x="1059" y="21520"/>
                  <a:pt x="659" y="21481"/>
                  <a:pt x="364" y="21346"/>
                </a:cubicBezTo>
                <a:cubicBezTo>
                  <a:pt x="-2" y="21178"/>
                  <a:pt x="-59" y="20908"/>
                  <a:pt x="229" y="20708"/>
                </a:cubicBezTo>
                <a:cubicBezTo>
                  <a:pt x="3534" y="17755"/>
                  <a:pt x="5311" y="14466"/>
                  <a:pt x="5414" y="11117"/>
                </a:cubicBezTo>
                <a:cubicBezTo>
                  <a:pt x="5523" y="7556"/>
                  <a:pt x="3737" y="4040"/>
                  <a:pt x="223" y="899"/>
                </a:cubicBezTo>
                <a:close/>
              </a:path>
            </a:pathLst>
          </a:custGeom>
          <a:solidFill>
            <a:schemeClr val="accent1">
              <a:lumMod val="40000"/>
              <a:lumOff val="60000"/>
            </a:schemeClr>
          </a:solidFill>
          <a:ln>
            <a:noFill/>
          </a:ln>
        </p:spPr>
        <p:txBody>
          <a:bodyPr lIns="25400" tIns="25400" rIns="25400" bIns="254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500" b="0" i="0" u="none" strike="noStrike" kern="1200" cap="none" spc="0" normalizeH="0" baseline="0" noProof="0">
              <a:ln>
                <a:noFill/>
              </a:ln>
              <a:solidFill>
                <a:srgbClr val="000000"/>
              </a:solidFill>
              <a:effectLst/>
              <a:uLnTx/>
              <a:uFillTx/>
              <a:latin typeface="Arial"/>
              <a:cs typeface="+mn-ea"/>
              <a:sym typeface="+mn-lt"/>
            </a:endParaRPr>
          </a:p>
        </p:txBody>
      </p:sp>
      <p:sp>
        <p:nvSpPr>
          <p:cNvPr id="5" name="Shape 98">
            <a:extLst>
              <a:ext uri="{FF2B5EF4-FFF2-40B4-BE49-F238E27FC236}">
                <a16:creationId xmlns:a16="http://schemas.microsoft.com/office/drawing/2014/main" id="{BEE6F89E-08C6-489B-8668-7A3B8D6600BB}"/>
              </a:ext>
            </a:extLst>
          </p:cNvPr>
          <p:cNvSpPr>
            <a:spLocks noChangeShapeType="1"/>
          </p:cNvSpPr>
          <p:nvPr/>
        </p:nvSpPr>
        <p:spPr bwMode="auto">
          <a:xfrm>
            <a:off x="1926437" y="3452745"/>
            <a:ext cx="7268311" cy="0"/>
          </a:xfrm>
          <a:prstGeom prst="line">
            <a:avLst/>
          </a:prstGeom>
          <a:noFill/>
          <a:ln w="165100">
            <a:solidFill>
              <a:schemeClr val="accent1">
                <a:lumMod val="40000"/>
                <a:lumOff val="60000"/>
              </a:schemeClr>
            </a:solidFill>
            <a:miter lim="400000"/>
            <a:headEnd/>
            <a:tailEnd/>
          </a:ln>
          <a:extLst>
            <a:ext uri="{909E8E84-426E-40DD-AFC4-6F175D3DCCD1}">
              <a14:hiddenFill xmlns:a14="http://schemas.microsoft.com/office/drawing/2010/main">
                <a:noFill/>
              </a14:hiddenFill>
            </a:ext>
          </a:extLst>
        </p:spPr>
        <p:txBody>
          <a:bodyPr lIns="25400" tIns="25400" rIns="25400" bIns="254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500" b="0" i="0" u="none" strike="noStrike" kern="1200" cap="none" spc="0" normalizeH="0" baseline="0" noProof="0">
              <a:ln>
                <a:noFill/>
              </a:ln>
              <a:solidFill>
                <a:srgbClr val="000000"/>
              </a:solidFill>
              <a:effectLst/>
              <a:uLnTx/>
              <a:uFillTx/>
              <a:latin typeface="Arial"/>
              <a:cs typeface="+mn-ea"/>
              <a:sym typeface="+mn-lt"/>
            </a:endParaRPr>
          </a:p>
        </p:txBody>
      </p:sp>
      <p:sp>
        <p:nvSpPr>
          <p:cNvPr id="57" name="Shape 100">
            <a:extLst>
              <a:ext uri="{FF2B5EF4-FFF2-40B4-BE49-F238E27FC236}">
                <a16:creationId xmlns:a16="http://schemas.microsoft.com/office/drawing/2014/main" id="{F9F370CA-361C-4767-9AC7-A0E43FBDA6F5}"/>
              </a:ext>
            </a:extLst>
          </p:cNvPr>
          <p:cNvSpPr>
            <a:spLocks noChangeShapeType="1"/>
          </p:cNvSpPr>
          <p:nvPr/>
        </p:nvSpPr>
        <p:spPr bwMode="auto">
          <a:xfrm flipV="1">
            <a:off x="1927838" y="3485758"/>
            <a:ext cx="1432060" cy="1586081"/>
          </a:xfrm>
          <a:prstGeom prst="line">
            <a:avLst/>
          </a:prstGeom>
          <a:noFill/>
          <a:ln w="63500">
            <a:solidFill>
              <a:schemeClr val="accent1">
                <a:lumMod val="100000"/>
              </a:schemeClr>
            </a:solidFill>
            <a:miter lim="400000"/>
            <a:headEnd/>
            <a:tailEnd/>
          </a:ln>
          <a:extLst>
            <a:ext uri="{909E8E84-426E-40DD-AFC4-6F175D3DCCD1}">
              <a14:hiddenFill xmlns:a14="http://schemas.microsoft.com/office/drawing/2010/main">
                <a:noFill/>
              </a14:hiddenFill>
            </a:ext>
          </a:extLst>
        </p:spPr>
        <p:txBody>
          <a:bodyPr lIns="25400" tIns="25400" rIns="25400" bIns="254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500" b="0" i="0" u="none" strike="noStrike" kern="1200" cap="none" spc="0" normalizeH="0" baseline="0" noProof="0" dirty="0">
              <a:ln>
                <a:noFill/>
              </a:ln>
              <a:solidFill>
                <a:srgbClr val="009FDE"/>
              </a:solidFill>
              <a:effectLst/>
              <a:uLnTx/>
              <a:uFillTx/>
              <a:latin typeface="Arial"/>
              <a:cs typeface="+mn-ea"/>
              <a:sym typeface="+mn-lt"/>
            </a:endParaRPr>
          </a:p>
        </p:txBody>
      </p:sp>
      <p:sp>
        <p:nvSpPr>
          <p:cNvPr id="58" name="Shape 107">
            <a:extLst>
              <a:ext uri="{FF2B5EF4-FFF2-40B4-BE49-F238E27FC236}">
                <a16:creationId xmlns:a16="http://schemas.microsoft.com/office/drawing/2014/main" id="{08F13D35-249A-4EC2-A343-20F99B4B01F0}"/>
              </a:ext>
            </a:extLst>
          </p:cNvPr>
          <p:cNvSpPr>
            <a:spLocks noChangeArrowheads="1"/>
          </p:cNvSpPr>
          <p:nvPr/>
        </p:nvSpPr>
        <p:spPr bwMode="auto">
          <a:xfrm>
            <a:off x="2820439" y="3969171"/>
            <a:ext cx="104162" cy="104165"/>
          </a:xfrm>
          <a:prstGeom prst="ellipse">
            <a:avLst/>
          </a:prstGeom>
          <a:solidFill>
            <a:schemeClr val="accent1">
              <a:lumMod val="100000"/>
            </a:schemeClr>
          </a:solidFill>
          <a:ln>
            <a:noFill/>
          </a:ln>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009FDE"/>
              </a:solidFill>
              <a:effectLst/>
              <a:uLnTx/>
              <a:uFillTx/>
              <a:latin typeface="Arial"/>
              <a:cs typeface="+mn-ea"/>
              <a:sym typeface="+mn-lt"/>
            </a:endParaRPr>
          </a:p>
        </p:txBody>
      </p:sp>
      <p:sp>
        <p:nvSpPr>
          <p:cNvPr id="59" name="Shape 108">
            <a:extLst>
              <a:ext uri="{FF2B5EF4-FFF2-40B4-BE49-F238E27FC236}">
                <a16:creationId xmlns:a16="http://schemas.microsoft.com/office/drawing/2014/main" id="{815D0042-F2E2-43D0-8279-190DEB284251}"/>
              </a:ext>
            </a:extLst>
          </p:cNvPr>
          <p:cNvSpPr>
            <a:spLocks noChangeArrowheads="1"/>
          </p:cNvSpPr>
          <p:nvPr/>
        </p:nvSpPr>
        <p:spPr bwMode="auto">
          <a:xfrm>
            <a:off x="2354782" y="4489876"/>
            <a:ext cx="104162" cy="104165"/>
          </a:xfrm>
          <a:prstGeom prst="ellipse">
            <a:avLst/>
          </a:prstGeom>
          <a:solidFill>
            <a:schemeClr val="accent1">
              <a:lumMod val="100000"/>
            </a:schemeClr>
          </a:solidFill>
          <a:ln>
            <a:noFill/>
          </a:ln>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009FDE"/>
              </a:solidFill>
              <a:effectLst/>
              <a:uLnTx/>
              <a:uFillTx/>
              <a:latin typeface="Arial"/>
              <a:cs typeface="+mn-ea"/>
              <a:sym typeface="+mn-lt"/>
            </a:endParaRPr>
          </a:p>
        </p:txBody>
      </p:sp>
      <p:sp>
        <p:nvSpPr>
          <p:cNvPr id="60" name="Shape 109">
            <a:extLst>
              <a:ext uri="{FF2B5EF4-FFF2-40B4-BE49-F238E27FC236}">
                <a16:creationId xmlns:a16="http://schemas.microsoft.com/office/drawing/2014/main" id="{250D04B5-7704-4419-86F4-62FDB6171E50}"/>
              </a:ext>
            </a:extLst>
          </p:cNvPr>
          <p:cNvSpPr>
            <a:spLocks noChangeArrowheads="1"/>
          </p:cNvSpPr>
          <p:nvPr/>
        </p:nvSpPr>
        <p:spPr bwMode="auto">
          <a:xfrm>
            <a:off x="1625829" y="4983555"/>
            <a:ext cx="431792" cy="431805"/>
          </a:xfrm>
          <a:prstGeom prst="ellipse">
            <a:avLst/>
          </a:prstGeom>
          <a:solidFill>
            <a:srgbClr val="FFFFFF"/>
          </a:solidFill>
          <a:ln w="63500">
            <a:solidFill>
              <a:schemeClr val="accent1">
                <a:lumMod val="100000"/>
              </a:schemeClr>
            </a:solidFill>
            <a:miter lim="400000"/>
            <a:headEnd/>
            <a:tailEnd/>
          </a:ln>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009FDE"/>
              </a:solidFill>
              <a:effectLst/>
              <a:uLnTx/>
              <a:uFillTx/>
              <a:latin typeface="Arial"/>
              <a:cs typeface="+mn-ea"/>
              <a:sym typeface="+mn-lt"/>
            </a:endParaRPr>
          </a:p>
        </p:txBody>
      </p:sp>
      <p:sp>
        <p:nvSpPr>
          <p:cNvPr id="61" name="Shape 120">
            <a:extLst>
              <a:ext uri="{FF2B5EF4-FFF2-40B4-BE49-F238E27FC236}">
                <a16:creationId xmlns:a16="http://schemas.microsoft.com/office/drawing/2014/main" id="{AD1A37D2-8DDF-4557-8697-8C5E48A738AF}"/>
              </a:ext>
            </a:extLst>
          </p:cNvPr>
          <p:cNvSpPr>
            <a:spLocks noChangeArrowheads="1"/>
          </p:cNvSpPr>
          <p:nvPr/>
        </p:nvSpPr>
        <p:spPr bwMode="auto">
          <a:xfrm>
            <a:off x="3039881" y="3922869"/>
            <a:ext cx="1824192" cy="205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altLang="ru-RU" sz="1000" b="0" i="0" u="none" strike="noStrike" kern="1200" cap="none" spc="0" normalizeH="0" baseline="0" noProof="0">
                <a:ln>
                  <a:noFill/>
                </a:ln>
                <a:solidFill>
                  <a:schemeClr val="accent1"/>
                </a:solidFill>
                <a:effectLst/>
                <a:uLnTx/>
                <a:uFillTx/>
                <a:latin typeface="Arial"/>
                <a:cs typeface="+mn-ea"/>
                <a:sym typeface="+mn-lt"/>
              </a:rPr>
              <a:t>Fish bone text block </a:t>
            </a:r>
          </a:p>
        </p:txBody>
      </p:sp>
      <p:sp>
        <p:nvSpPr>
          <p:cNvPr id="62" name="Shape 121">
            <a:extLst>
              <a:ext uri="{FF2B5EF4-FFF2-40B4-BE49-F238E27FC236}">
                <a16:creationId xmlns:a16="http://schemas.microsoft.com/office/drawing/2014/main" id="{D9390D59-09AA-479D-8DB5-C31CBBBF5AC3}"/>
              </a:ext>
            </a:extLst>
          </p:cNvPr>
          <p:cNvSpPr>
            <a:spLocks noChangeArrowheads="1"/>
          </p:cNvSpPr>
          <p:nvPr/>
        </p:nvSpPr>
        <p:spPr bwMode="auto">
          <a:xfrm>
            <a:off x="2581686" y="4437606"/>
            <a:ext cx="1824192" cy="205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altLang="ru-RU" sz="1000" b="0" i="0" u="none" strike="noStrike" kern="1200" cap="none" spc="0" normalizeH="0" baseline="0" noProof="0">
                <a:ln>
                  <a:noFill/>
                </a:ln>
                <a:solidFill>
                  <a:schemeClr val="accent1"/>
                </a:solidFill>
                <a:effectLst/>
                <a:uLnTx/>
                <a:uFillTx/>
                <a:latin typeface="Arial"/>
                <a:cs typeface="+mn-ea"/>
                <a:sym typeface="+mn-lt"/>
              </a:rPr>
              <a:t>Fish bone text block </a:t>
            </a:r>
          </a:p>
        </p:txBody>
      </p:sp>
      <p:sp>
        <p:nvSpPr>
          <p:cNvPr id="63" name="Shape 127">
            <a:extLst>
              <a:ext uri="{FF2B5EF4-FFF2-40B4-BE49-F238E27FC236}">
                <a16:creationId xmlns:a16="http://schemas.microsoft.com/office/drawing/2014/main" id="{234342AB-CFBE-4E4B-8BF9-74308FDE88E3}"/>
              </a:ext>
            </a:extLst>
          </p:cNvPr>
          <p:cNvSpPr>
            <a:spLocks noChangeArrowheads="1"/>
          </p:cNvSpPr>
          <p:nvPr/>
        </p:nvSpPr>
        <p:spPr bwMode="auto">
          <a:xfrm>
            <a:off x="1665118" y="5077631"/>
            <a:ext cx="362744" cy="2436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lgn="ctr">
              <a:defRPr sz="2500" cap="all">
                <a:solidFill>
                  <a:srgbClr val="344245"/>
                </a:solidFill>
                <a:latin typeface="Open Sans Semibold"/>
                <a:ea typeface="Open Sans Semibold"/>
                <a:cs typeface="Open Sans Semibold"/>
                <a:sym typeface="Open Sans Semibold"/>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sz="1250" b="0" i="0" u="none" strike="noStrike" kern="0" cap="all" spc="0" normalizeH="0" baseline="0" noProof="0" dirty="0">
                <a:ln>
                  <a:noFill/>
                </a:ln>
                <a:solidFill>
                  <a:schemeClr val="accent1"/>
                </a:solidFill>
                <a:effectLst/>
                <a:uLnTx/>
                <a:uFillTx/>
                <a:latin typeface="Arial"/>
                <a:ea typeface="+mn-ea"/>
                <a:cs typeface="+mn-ea"/>
                <a:sym typeface="+mn-lt"/>
              </a:rPr>
              <a:t>1</a:t>
            </a:r>
          </a:p>
        </p:txBody>
      </p:sp>
      <p:sp>
        <p:nvSpPr>
          <p:cNvPr id="64" name="Shape 131">
            <a:extLst>
              <a:ext uri="{FF2B5EF4-FFF2-40B4-BE49-F238E27FC236}">
                <a16:creationId xmlns:a16="http://schemas.microsoft.com/office/drawing/2014/main" id="{F383AFFD-417A-4025-80A4-34350E98E320}"/>
              </a:ext>
            </a:extLst>
          </p:cNvPr>
          <p:cNvSpPr>
            <a:spLocks noChangeArrowheads="1"/>
          </p:cNvSpPr>
          <p:nvPr/>
        </p:nvSpPr>
        <p:spPr bwMode="auto">
          <a:xfrm>
            <a:off x="2161772" y="5077631"/>
            <a:ext cx="1267619" cy="2436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2500" cap="all">
                <a:solidFill>
                  <a:srgbClr val="344245"/>
                </a:solidFill>
                <a:latin typeface="Open Sans Semibold"/>
                <a:ea typeface="Open Sans Semibold"/>
                <a:cs typeface="Open Sans Semibold"/>
                <a:sym typeface="Open Sans Semibold"/>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sz="1250" b="0" i="0" u="none" strike="noStrike" kern="0" cap="all" spc="0" normalizeH="0" baseline="0" noProof="0" dirty="0">
                <a:ln>
                  <a:noFill/>
                </a:ln>
                <a:solidFill>
                  <a:schemeClr val="accent1"/>
                </a:solidFill>
                <a:effectLst/>
                <a:uLnTx/>
                <a:uFillTx/>
                <a:latin typeface="Arial"/>
                <a:ea typeface="+mn-ea"/>
                <a:cs typeface="+mn-ea"/>
                <a:sym typeface="+mn-lt"/>
              </a:rPr>
              <a:t>Text inform</a:t>
            </a:r>
          </a:p>
        </p:txBody>
      </p:sp>
      <p:sp>
        <p:nvSpPr>
          <p:cNvPr id="49" name="Shape 102">
            <a:extLst>
              <a:ext uri="{FF2B5EF4-FFF2-40B4-BE49-F238E27FC236}">
                <a16:creationId xmlns:a16="http://schemas.microsoft.com/office/drawing/2014/main" id="{14D6FAF3-11DB-4532-96FB-A9CFF71D0392}"/>
              </a:ext>
            </a:extLst>
          </p:cNvPr>
          <p:cNvSpPr>
            <a:spLocks noChangeShapeType="1"/>
          </p:cNvSpPr>
          <p:nvPr/>
        </p:nvSpPr>
        <p:spPr bwMode="auto">
          <a:xfrm flipV="1">
            <a:off x="4099491" y="3485758"/>
            <a:ext cx="1432060" cy="1586081"/>
          </a:xfrm>
          <a:prstGeom prst="line">
            <a:avLst/>
          </a:prstGeom>
          <a:noFill/>
          <a:ln w="63500">
            <a:solidFill>
              <a:schemeClr val="accent1">
                <a:lumMod val="100000"/>
              </a:schemeClr>
            </a:solidFill>
            <a:miter lim="400000"/>
            <a:headEnd/>
            <a:tailEnd/>
          </a:ln>
          <a:extLst>
            <a:ext uri="{909E8E84-426E-40DD-AFC4-6F175D3DCCD1}">
              <a14:hiddenFill xmlns:a14="http://schemas.microsoft.com/office/drawing/2010/main">
                <a:noFill/>
              </a14:hiddenFill>
            </a:ext>
          </a:extLst>
        </p:spPr>
        <p:txBody>
          <a:bodyPr lIns="25400" tIns="25400" rIns="25400" bIns="254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500" b="0" i="0" u="none" strike="noStrike" kern="1200" cap="none" spc="0" normalizeH="0" baseline="0" noProof="0">
              <a:ln>
                <a:noFill/>
              </a:ln>
              <a:solidFill>
                <a:srgbClr val="0677C7"/>
              </a:solidFill>
              <a:effectLst/>
              <a:uLnTx/>
              <a:uFillTx/>
              <a:latin typeface="Arial"/>
              <a:cs typeface="+mn-ea"/>
              <a:sym typeface="+mn-lt"/>
            </a:endParaRPr>
          </a:p>
        </p:txBody>
      </p:sp>
      <p:sp>
        <p:nvSpPr>
          <p:cNvPr id="50" name="Shape 110">
            <a:extLst>
              <a:ext uri="{FF2B5EF4-FFF2-40B4-BE49-F238E27FC236}">
                <a16:creationId xmlns:a16="http://schemas.microsoft.com/office/drawing/2014/main" id="{5CAEB693-B14E-4EF8-96D2-359D6CD24A07}"/>
              </a:ext>
            </a:extLst>
          </p:cNvPr>
          <p:cNvSpPr>
            <a:spLocks noChangeArrowheads="1"/>
          </p:cNvSpPr>
          <p:nvPr/>
        </p:nvSpPr>
        <p:spPr bwMode="auto">
          <a:xfrm>
            <a:off x="4996269" y="3969171"/>
            <a:ext cx="104162" cy="104165"/>
          </a:xfrm>
          <a:prstGeom prst="ellipse">
            <a:avLst/>
          </a:prstGeom>
          <a:solidFill>
            <a:schemeClr val="accent1">
              <a:lumMod val="100000"/>
            </a:schemeClr>
          </a:solidFill>
          <a:ln>
            <a:noFill/>
          </a:ln>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0677C7"/>
              </a:solidFill>
              <a:effectLst/>
              <a:uLnTx/>
              <a:uFillTx/>
              <a:latin typeface="Arial"/>
              <a:cs typeface="+mn-ea"/>
              <a:sym typeface="+mn-lt"/>
            </a:endParaRPr>
          </a:p>
        </p:txBody>
      </p:sp>
      <p:sp>
        <p:nvSpPr>
          <p:cNvPr id="51" name="Shape 111">
            <a:extLst>
              <a:ext uri="{FF2B5EF4-FFF2-40B4-BE49-F238E27FC236}">
                <a16:creationId xmlns:a16="http://schemas.microsoft.com/office/drawing/2014/main" id="{6396967D-E04B-431B-970A-20C154EAAFC1}"/>
              </a:ext>
            </a:extLst>
          </p:cNvPr>
          <p:cNvSpPr>
            <a:spLocks noChangeArrowheads="1"/>
          </p:cNvSpPr>
          <p:nvPr/>
        </p:nvSpPr>
        <p:spPr bwMode="auto">
          <a:xfrm>
            <a:off x="4530612" y="4489876"/>
            <a:ext cx="104162" cy="104165"/>
          </a:xfrm>
          <a:prstGeom prst="ellipse">
            <a:avLst/>
          </a:prstGeom>
          <a:solidFill>
            <a:schemeClr val="accent1">
              <a:lumMod val="100000"/>
            </a:schemeClr>
          </a:solidFill>
          <a:ln>
            <a:noFill/>
          </a:ln>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009FDE"/>
              </a:solidFill>
              <a:effectLst/>
              <a:uLnTx/>
              <a:uFillTx/>
              <a:latin typeface="Arial"/>
              <a:cs typeface="+mn-ea"/>
              <a:sym typeface="+mn-lt"/>
            </a:endParaRPr>
          </a:p>
        </p:txBody>
      </p:sp>
      <p:sp>
        <p:nvSpPr>
          <p:cNvPr id="52" name="Shape 122">
            <a:extLst>
              <a:ext uri="{FF2B5EF4-FFF2-40B4-BE49-F238E27FC236}">
                <a16:creationId xmlns:a16="http://schemas.microsoft.com/office/drawing/2014/main" id="{9CC99A24-5E84-4324-BC72-5C12220641FA}"/>
              </a:ext>
            </a:extLst>
          </p:cNvPr>
          <p:cNvSpPr>
            <a:spLocks noChangeArrowheads="1"/>
          </p:cNvSpPr>
          <p:nvPr/>
        </p:nvSpPr>
        <p:spPr bwMode="auto">
          <a:xfrm>
            <a:off x="5217885" y="3922869"/>
            <a:ext cx="1824192" cy="205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altLang="ru-RU" sz="1000" b="0" i="0" u="none" strike="noStrike" kern="1200" cap="none" spc="0" normalizeH="0" baseline="0" noProof="0">
                <a:ln>
                  <a:noFill/>
                </a:ln>
                <a:solidFill>
                  <a:schemeClr val="accent1"/>
                </a:solidFill>
                <a:effectLst/>
                <a:uLnTx/>
                <a:uFillTx/>
                <a:latin typeface="Arial"/>
                <a:cs typeface="+mn-ea"/>
                <a:sym typeface="+mn-lt"/>
              </a:rPr>
              <a:t>Fish bone text block </a:t>
            </a:r>
          </a:p>
        </p:txBody>
      </p:sp>
      <p:sp>
        <p:nvSpPr>
          <p:cNvPr id="53" name="Shape 123">
            <a:extLst>
              <a:ext uri="{FF2B5EF4-FFF2-40B4-BE49-F238E27FC236}">
                <a16:creationId xmlns:a16="http://schemas.microsoft.com/office/drawing/2014/main" id="{C696BB99-06EB-4986-BA79-0FA681176E2D}"/>
              </a:ext>
            </a:extLst>
          </p:cNvPr>
          <p:cNvSpPr>
            <a:spLocks noChangeArrowheads="1"/>
          </p:cNvSpPr>
          <p:nvPr/>
        </p:nvSpPr>
        <p:spPr bwMode="auto">
          <a:xfrm>
            <a:off x="4759689" y="4437606"/>
            <a:ext cx="1824192" cy="205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altLang="ru-RU" sz="1000" b="0" i="0" u="none" strike="noStrike" kern="1200" cap="none" spc="0" normalizeH="0" baseline="0" noProof="0">
                <a:ln>
                  <a:noFill/>
                </a:ln>
                <a:solidFill>
                  <a:schemeClr val="accent1"/>
                </a:solidFill>
                <a:effectLst/>
                <a:uLnTx/>
                <a:uFillTx/>
                <a:latin typeface="Arial"/>
                <a:cs typeface="+mn-ea"/>
                <a:sym typeface="+mn-lt"/>
              </a:rPr>
              <a:t>Fish bone text block </a:t>
            </a:r>
          </a:p>
        </p:txBody>
      </p:sp>
      <p:sp>
        <p:nvSpPr>
          <p:cNvPr id="54" name="Shape 124">
            <a:extLst>
              <a:ext uri="{FF2B5EF4-FFF2-40B4-BE49-F238E27FC236}">
                <a16:creationId xmlns:a16="http://schemas.microsoft.com/office/drawing/2014/main" id="{D23FEC6F-B893-4087-BA52-DD56B1AB9197}"/>
              </a:ext>
            </a:extLst>
          </p:cNvPr>
          <p:cNvSpPr>
            <a:spLocks noChangeArrowheads="1"/>
          </p:cNvSpPr>
          <p:nvPr/>
        </p:nvSpPr>
        <p:spPr bwMode="auto">
          <a:xfrm>
            <a:off x="3817990" y="4983555"/>
            <a:ext cx="431792" cy="431805"/>
          </a:xfrm>
          <a:prstGeom prst="ellipse">
            <a:avLst/>
          </a:prstGeom>
          <a:solidFill>
            <a:srgbClr val="FFFFFF"/>
          </a:solidFill>
          <a:ln w="63500">
            <a:solidFill>
              <a:schemeClr val="accent1">
                <a:lumMod val="100000"/>
              </a:schemeClr>
            </a:solidFill>
            <a:miter lim="400000"/>
            <a:headEnd/>
            <a:tailEnd/>
          </a:ln>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009FDE"/>
              </a:solidFill>
              <a:effectLst/>
              <a:uLnTx/>
              <a:uFillTx/>
              <a:latin typeface="Arial"/>
              <a:cs typeface="+mn-ea"/>
              <a:sym typeface="+mn-lt"/>
            </a:endParaRPr>
          </a:p>
        </p:txBody>
      </p:sp>
      <p:sp>
        <p:nvSpPr>
          <p:cNvPr id="55" name="Shape 130">
            <a:extLst>
              <a:ext uri="{FF2B5EF4-FFF2-40B4-BE49-F238E27FC236}">
                <a16:creationId xmlns:a16="http://schemas.microsoft.com/office/drawing/2014/main" id="{934DBE84-49B3-4556-82F0-372F7BBDED0C}"/>
              </a:ext>
            </a:extLst>
          </p:cNvPr>
          <p:cNvSpPr>
            <a:spLocks noChangeArrowheads="1"/>
          </p:cNvSpPr>
          <p:nvPr/>
        </p:nvSpPr>
        <p:spPr bwMode="auto">
          <a:xfrm>
            <a:off x="3857058" y="5082628"/>
            <a:ext cx="362744" cy="2436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lgn="ctr">
              <a:defRPr sz="2500" cap="all">
                <a:solidFill>
                  <a:srgbClr val="344245"/>
                </a:solidFill>
                <a:latin typeface="Open Sans Semibold"/>
                <a:ea typeface="Open Sans Semibold"/>
                <a:cs typeface="Open Sans Semibold"/>
                <a:sym typeface="Open Sans Semibold"/>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sz="1250" b="0" i="0" u="none" strike="noStrike" kern="0" cap="all" spc="0" normalizeH="0" baseline="0" noProof="0">
                <a:ln>
                  <a:noFill/>
                </a:ln>
                <a:solidFill>
                  <a:schemeClr val="accent1"/>
                </a:solidFill>
                <a:effectLst/>
                <a:uLnTx/>
                <a:uFillTx/>
                <a:latin typeface="Arial"/>
                <a:ea typeface="+mn-ea"/>
                <a:cs typeface="+mn-ea"/>
                <a:sym typeface="+mn-lt"/>
              </a:rPr>
              <a:t>3</a:t>
            </a:r>
          </a:p>
        </p:txBody>
      </p:sp>
      <p:sp>
        <p:nvSpPr>
          <p:cNvPr id="56" name="Shape 132">
            <a:extLst>
              <a:ext uri="{FF2B5EF4-FFF2-40B4-BE49-F238E27FC236}">
                <a16:creationId xmlns:a16="http://schemas.microsoft.com/office/drawing/2014/main" id="{7D3E53E5-263E-4B8A-A5D7-E4A5AC333A70}"/>
              </a:ext>
            </a:extLst>
          </p:cNvPr>
          <p:cNvSpPr>
            <a:spLocks noChangeArrowheads="1"/>
          </p:cNvSpPr>
          <p:nvPr/>
        </p:nvSpPr>
        <p:spPr bwMode="auto">
          <a:xfrm>
            <a:off x="4389034" y="5073663"/>
            <a:ext cx="1267619" cy="2436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2500" cap="all">
                <a:solidFill>
                  <a:srgbClr val="344245"/>
                </a:solidFill>
                <a:latin typeface="Open Sans Semibold"/>
                <a:ea typeface="Open Sans Semibold"/>
                <a:cs typeface="Open Sans Semibold"/>
                <a:sym typeface="Open Sans Semibold"/>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sz="1250" b="0" i="0" u="none" strike="noStrike" kern="0" cap="all" spc="0" normalizeH="0" baseline="0" noProof="0" dirty="0">
                <a:ln>
                  <a:noFill/>
                </a:ln>
                <a:solidFill>
                  <a:schemeClr val="accent1"/>
                </a:solidFill>
                <a:effectLst/>
                <a:uLnTx/>
                <a:uFillTx/>
                <a:latin typeface="Arial"/>
                <a:ea typeface="+mn-ea"/>
                <a:cs typeface="+mn-ea"/>
                <a:sym typeface="+mn-lt"/>
              </a:rPr>
              <a:t>Text inform</a:t>
            </a:r>
          </a:p>
        </p:txBody>
      </p:sp>
      <p:sp>
        <p:nvSpPr>
          <p:cNvPr id="41" name="Shape 99">
            <a:extLst>
              <a:ext uri="{FF2B5EF4-FFF2-40B4-BE49-F238E27FC236}">
                <a16:creationId xmlns:a16="http://schemas.microsoft.com/office/drawing/2014/main" id="{8E45DDEF-69AC-42FE-9568-5F510EBF0F81}"/>
              </a:ext>
            </a:extLst>
          </p:cNvPr>
          <p:cNvSpPr>
            <a:spLocks noChangeShapeType="1"/>
          </p:cNvSpPr>
          <p:nvPr/>
        </p:nvSpPr>
        <p:spPr bwMode="auto">
          <a:xfrm flipH="1" flipV="1">
            <a:off x="1896558" y="1824656"/>
            <a:ext cx="1484084" cy="1623189"/>
          </a:xfrm>
          <a:prstGeom prst="line">
            <a:avLst/>
          </a:prstGeom>
          <a:noFill/>
          <a:ln w="63500">
            <a:solidFill>
              <a:schemeClr val="accent1">
                <a:lumMod val="100000"/>
              </a:schemeClr>
            </a:solidFill>
            <a:miter lim="400000"/>
            <a:headEnd/>
            <a:tailEnd/>
          </a:ln>
          <a:extLst>
            <a:ext uri="{909E8E84-426E-40DD-AFC4-6F175D3DCCD1}">
              <a14:hiddenFill xmlns:a14="http://schemas.microsoft.com/office/drawing/2010/main">
                <a:noFill/>
              </a14:hiddenFill>
            </a:ext>
          </a:extLst>
        </p:spPr>
        <p:txBody>
          <a:bodyPr lIns="25400" tIns="25400" rIns="25400" bIns="254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500" b="0" i="0" u="none" strike="noStrike" kern="1200" cap="none" spc="0" normalizeH="0" baseline="0" noProof="0">
              <a:ln>
                <a:noFill/>
              </a:ln>
              <a:solidFill>
                <a:srgbClr val="009FDE"/>
              </a:solidFill>
              <a:effectLst/>
              <a:uLnTx/>
              <a:uFillTx/>
              <a:latin typeface="Arial"/>
              <a:cs typeface="+mn-ea"/>
              <a:sym typeface="+mn-lt"/>
            </a:endParaRPr>
          </a:p>
        </p:txBody>
      </p:sp>
      <p:sp>
        <p:nvSpPr>
          <p:cNvPr id="42" name="Shape 112">
            <a:extLst>
              <a:ext uri="{FF2B5EF4-FFF2-40B4-BE49-F238E27FC236}">
                <a16:creationId xmlns:a16="http://schemas.microsoft.com/office/drawing/2014/main" id="{55ED8A87-8BAF-4D3B-9480-1E822F384E4F}"/>
              </a:ext>
            </a:extLst>
          </p:cNvPr>
          <p:cNvSpPr>
            <a:spLocks noChangeArrowheads="1"/>
          </p:cNvSpPr>
          <p:nvPr/>
        </p:nvSpPr>
        <p:spPr bwMode="auto">
          <a:xfrm>
            <a:off x="2324703" y="2305099"/>
            <a:ext cx="104162" cy="104165"/>
          </a:xfrm>
          <a:prstGeom prst="ellipse">
            <a:avLst/>
          </a:prstGeom>
          <a:solidFill>
            <a:schemeClr val="accent1">
              <a:lumMod val="100000"/>
            </a:schemeClr>
          </a:solidFill>
          <a:ln>
            <a:noFill/>
          </a:ln>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009FDE"/>
              </a:solidFill>
              <a:effectLst/>
              <a:uLnTx/>
              <a:uFillTx/>
              <a:latin typeface="Arial"/>
              <a:cs typeface="+mn-ea"/>
              <a:sym typeface="+mn-lt"/>
            </a:endParaRPr>
          </a:p>
        </p:txBody>
      </p:sp>
      <p:sp>
        <p:nvSpPr>
          <p:cNvPr id="43" name="Shape 113">
            <a:extLst>
              <a:ext uri="{FF2B5EF4-FFF2-40B4-BE49-F238E27FC236}">
                <a16:creationId xmlns:a16="http://schemas.microsoft.com/office/drawing/2014/main" id="{83517602-8F14-4935-A340-D8E6BB98569E}"/>
              </a:ext>
            </a:extLst>
          </p:cNvPr>
          <p:cNvSpPr>
            <a:spLocks noChangeArrowheads="1"/>
          </p:cNvSpPr>
          <p:nvPr/>
        </p:nvSpPr>
        <p:spPr bwMode="auto">
          <a:xfrm>
            <a:off x="2800795" y="2824045"/>
            <a:ext cx="104162" cy="104165"/>
          </a:xfrm>
          <a:prstGeom prst="ellipse">
            <a:avLst/>
          </a:prstGeom>
          <a:solidFill>
            <a:schemeClr val="accent1">
              <a:lumMod val="100000"/>
            </a:schemeClr>
          </a:solidFill>
          <a:ln>
            <a:noFill/>
          </a:ln>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009FDE"/>
              </a:solidFill>
              <a:effectLst/>
              <a:uLnTx/>
              <a:uFillTx/>
              <a:latin typeface="Arial"/>
              <a:cs typeface="+mn-ea"/>
              <a:sym typeface="+mn-lt"/>
            </a:endParaRPr>
          </a:p>
        </p:txBody>
      </p:sp>
      <p:sp>
        <p:nvSpPr>
          <p:cNvPr id="44" name="Shape 116">
            <a:extLst>
              <a:ext uri="{FF2B5EF4-FFF2-40B4-BE49-F238E27FC236}">
                <a16:creationId xmlns:a16="http://schemas.microsoft.com/office/drawing/2014/main" id="{8035B87D-8210-4F16-9597-222575C04AC0}"/>
              </a:ext>
            </a:extLst>
          </p:cNvPr>
          <p:cNvSpPr>
            <a:spLocks noChangeArrowheads="1"/>
          </p:cNvSpPr>
          <p:nvPr/>
        </p:nvSpPr>
        <p:spPr bwMode="auto">
          <a:xfrm>
            <a:off x="2552494" y="2254590"/>
            <a:ext cx="1824192" cy="205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altLang="ru-RU" sz="1000" b="0" i="0" u="none" strike="noStrike" kern="1200" cap="none" spc="0" normalizeH="0" baseline="0" noProof="0">
                <a:ln>
                  <a:noFill/>
                </a:ln>
                <a:solidFill>
                  <a:schemeClr val="accent1"/>
                </a:solidFill>
                <a:effectLst/>
                <a:uLnTx/>
                <a:uFillTx/>
                <a:latin typeface="Arial"/>
                <a:cs typeface="+mn-ea"/>
                <a:sym typeface="+mn-lt"/>
              </a:rPr>
              <a:t>Fish bone text block </a:t>
            </a:r>
          </a:p>
        </p:txBody>
      </p:sp>
      <p:sp>
        <p:nvSpPr>
          <p:cNvPr id="45" name="Shape 117">
            <a:extLst>
              <a:ext uri="{FF2B5EF4-FFF2-40B4-BE49-F238E27FC236}">
                <a16:creationId xmlns:a16="http://schemas.microsoft.com/office/drawing/2014/main" id="{16869E0F-33FA-41D5-9ACD-D362F8469967}"/>
              </a:ext>
            </a:extLst>
          </p:cNvPr>
          <p:cNvSpPr>
            <a:spLocks noChangeArrowheads="1"/>
          </p:cNvSpPr>
          <p:nvPr/>
        </p:nvSpPr>
        <p:spPr bwMode="auto">
          <a:xfrm>
            <a:off x="3027730" y="2769328"/>
            <a:ext cx="1824192" cy="205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altLang="ru-RU" sz="1000" b="0" i="0" u="none" strike="noStrike" kern="1200" cap="none" spc="0" normalizeH="0" baseline="0" noProof="0">
                <a:ln>
                  <a:noFill/>
                </a:ln>
                <a:solidFill>
                  <a:schemeClr val="accent1"/>
                </a:solidFill>
                <a:effectLst/>
                <a:uLnTx/>
                <a:uFillTx/>
                <a:latin typeface="Arial"/>
                <a:cs typeface="+mn-ea"/>
                <a:sym typeface="+mn-lt"/>
              </a:rPr>
              <a:t>Fish bone text block </a:t>
            </a:r>
          </a:p>
        </p:txBody>
      </p:sp>
      <p:sp>
        <p:nvSpPr>
          <p:cNvPr id="46" name="Shape 125">
            <a:extLst>
              <a:ext uri="{FF2B5EF4-FFF2-40B4-BE49-F238E27FC236}">
                <a16:creationId xmlns:a16="http://schemas.microsoft.com/office/drawing/2014/main" id="{B890ECCE-521F-40C5-9E46-E0D9E444AEB0}"/>
              </a:ext>
            </a:extLst>
          </p:cNvPr>
          <p:cNvSpPr>
            <a:spLocks noChangeArrowheads="1"/>
          </p:cNvSpPr>
          <p:nvPr/>
        </p:nvSpPr>
        <p:spPr bwMode="auto">
          <a:xfrm>
            <a:off x="1561611" y="1442640"/>
            <a:ext cx="431792" cy="431804"/>
          </a:xfrm>
          <a:prstGeom prst="ellipse">
            <a:avLst/>
          </a:prstGeom>
          <a:solidFill>
            <a:srgbClr val="FFFFFF"/>
          </a:solidFill>
          <a:ln w="63500">
            <a:solidFill>
              <a:schemeClr val="accent1">
                <a:lumMod val="100000"/>
              </a:schemeClr>
            </a:solidFill>
            <a:miter lim="400000"/>
            <a:headEnd/>
            <a:tailEnd/>
          </a:ln>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009FDE"/>
              </a:solidFill>
              <a:effectLst/>
              <a:uLnTx/>
              <a:uFillTx/>
              <a:latin typeface="Arial"/>
              <a:cs typeface="+mn-ea"/>
              <a:sym typeface="+mn-lt"/>
            </a:endParaRPr>
          </a:p>
        </p:txBody>
      </p:sp>
      <p:sp>
        <p:nvSpPr>
          <p:cNvPr id="47" name="Shape 128">
            <a:extLst>
              <a:ext uri="{FF2B5EF4-FFF2-40B4-BE49-F238E27FC236}">
                <a16:creationId xmlns:a16="http://schemas.microsoft.com/office/drawing/2014/main" id="{28FC6057-4653-4D5D-A897-38721CE1B14F}"/>
              </a:ext>
            </a:extLst>
          </p:cNvPr>
          <p:cNvSpPr>
            <a:spLocks noChangeArrowheads="1"/>
          </p:cNvSpPr>
          <p:nvPr/>
        </p:nvSpPr>
        <p:spPr bwMode="auto">
          <a:xfrm>
            <a:off x="1600987" y="1535476"/>
            <a:ext cx="362744" cy="2436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lgn="ctr">
              <a:defRPr sz="2500" cap="all">
                <a:solidFill>
                  <a:srgbClr val="344245"/>
                </a:solidFill>
                <a:latin typeface="Open Sans Semibold"/>
                <a:ea typeface="Open Sans Semibold"/>
                <a:cs typeface="Open Sans Semibold"/>
                <a:sym typeface="Open Sans Semibold"/>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sz="1250" b="0" i="0" u="none" strike="noStrike" kern="0" cap="all" spc="0" normalizeH="0" baseline="0" noProof="0" dirty="0">
                <a:ln>
                  <a:noFill/>
                </a:ln>
                <a:solidFill>
                  <a:schemeClr val="accent1"/>
                </a:solidFill>
                <a:effectLst/>
                <a:uLnTx/>
                <a:uFillTx/>
                <a:latin typeface="Arial"/>
                <a:ea typeface="+mn-ea"/>
                <a:cs typeface="+mn-ea"/>
                <a:sym typeface="+mn-lt"/>
              </a:rPr>
              <a:t>2</a:t>
            </a:r>
          </a:p>
        </p:txBody>
      </p:sp>
      <p:sp>
        <p:nvSpPr>
          <p:cNvPr id="48" name="Shape 133">
            <a:extLst>
              <a:ext uri="{FF2B5EF4-FFF2-40B4-BE49-F238E27FC236}">
                <a16:creationId xmlns:a16="http://schemas.microsoft.com/office/drawing/2014/main" id="{464843A9-9834-4B61-B445-6BAE746D9089}"/>
              </a:ext>
            </a:extLst>
          </p:cNvPr>
          <p:cNvSpPr>
            <a:spLocks noChangeArrowheads="1"/>
          </p:cNvSpPr>
          <p:nvPr/>
        </p:nvSpPr>
        <p:spPr bwMode="auto">
          <a:xfrm>
            <a:off x="2096847" y="1527981"/>
            <a:ext cx="1268413" cy="2436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2500" cap="all">
                <a:solidFill>
                  <a:srgbClr val="344245"/>
                </a:solidFill>
                <a:latin typeface="Open Sans Semibold"/>
                <a:ea typeface="Open Sans Semibold"/>
                <a:cs typeface="Open Sans Semibold"/>
                <a:sym typeface="Open Sans Semibold"/>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sz="1250" b="0" i="0" u="none" strike="noStrike" kern="0" cap="all" spc="0" normalizeH="0" baseline="0" noProof="0" dirty="0">
                <a:ln>
                  <a:noFill/>
                </a:ln>
                <a:solidFill>
                  <a:schemeClr val="accent1"/>
                </a:solidFill>
                <a:effectLst/>
                <a:uLnTx/>
                <a:uFillTx/>
                <a:latin typeface="Arial"/>
                <a:ea typeface="+mn-ea"/>
                <a:cs typeface="+mn-ea"/>
                <a:sym typeface="+mn-lt"/>
              </a:rPr>
              <a:t>Text inform</a:t>
            </a:r>
          </a:p>
        </p:txBody>
      </p:sp>
      <p:sp>
        <p:nvSpPr>
          <p:cNvPr id="33" name="Shape 101">
            <a:extLst>
              <a:ext uri="{FF2B5EF4-FFF2-40B4-BE49-F238E27FC236}">
                <a16:creationId xmlns:a16="http://schemas.microsoft.com/office/drawing/2014/main" id="{8D82EB31-47E3-4D5F-BCED-C3B27C73F435}"/>
              </a:ext>
            </a:extLst>
          </p:cNvPr>
          <p:cNvSpPr>
            <a:spLocks noChangeShapeType="1"/>
          </p:cNvSpPr>
          <p:nvPr/>
        </p:nvSpPr>
        <p:spPr bwMode="auto">
          <a:xfrm flipH="1" flipV="1">
            <a:off x="4062228" y="1824656"/>
            <a:ext cx="1484084" cy="1623189"/>
          </a:xfrm>
          <a:prstGeom prst="line">
            <a:avLst/>
          </a:prstGeom>
          <a:noFill/>
          <a:ln w="63500">
            <a:solidFill>
              <a:schemeClr val="accent1">
                <a:lumMod val="100000"/>
              </a:schemeClr>
            </a:solidFill>
            <a:miter lim="400000"/>
            <a:headEnd/>
            <a:tailEnd/>
          </a:ln>
          <a:extLst>
            <a:ext uri="{909E8E84-426E-40DD-AFC4-6F175D3DCCD1}">
              <a14:hiddenFill xmlns:a14="http://schemas.microsoft.com/office/drawing/2010/main">
                <a:noFill/>
              </a14:hiddenFill>
            </a:ext>
          </a:extLst>
        </p:spPr>
        <p:txBody>
          <a:bodyPr lIns="25400" tIns="25400" rIns="25400" bIns="254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500" b="0" i="0" u="none" strike="noStrike" kern="1200" cap="none" spc="0" normalizeH="0" baseline="0" noProof="0">
              <a:ln>
                <a:noFill/>
              </a:ln>
              <a:solidFill>
                <a:srgbClr val="0677C7"/>
              </a:solidFill>
              <a:effectLst/>
              <a:uLnTx/>
              <a:uFillTx/>
              <a:latin typeface="Arial"/>
              <a:cs typeface="+mn-ea"/>
              <a:sym typeface="+mn-lt"/>
            </a:endParaRPr>
          </a:p>
        </p:txBody>
      </p:sp>
      <p:sp>
        <p:nvSpPr>
          <p:cNvPr id="34" name="Shape 114">
            <a:extLst>
              <a:ext uri="{FF2B5EF4-FFF2-40B4-BE49-F238E27FC236}">
                <a16:creationId xmlns:a16="http://schemas.microsoft.com/office/drawing/2014/main" id="{BEC3DF24-D6B1-407D-8BF3-7A24CF8446B4}"/>
              </a:ext>
            </a:extLst>
          </p:cNvPr>
          <p:cNvSpPr>
            <a:spLocks noChangeArrowheads="1"/>
          </p:cNvSpPr>
          <p:nvPr/>
        </p:nvSpPr>
        <p:spPr bwMode="auto">
          <a:xfrm>
            <a:off x="4498268" y="2305099"/>
            <a:ext cx="104162" cy="104165"/>
          </a:xfrm>
          <a:prstGeom prst="ellipse">
            <a:avLst/>
          </a:prstGeom>
          <a:solidFill>
            <a:schemeClr val="accent1">
              <a:lumMod val="100000"/>
            </a:schemeClr>
          </a:solidFill>
          <a:ln>
            <a:noFill/>
          </a:ln>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009FDE"/>
              </a:solidFill>
              <a:effectLst/>
              <a:uLnTx/>
              <a:uFillTx/>
              <a:latin typeface="Arial"/>
              <a:cs typeface="+mn-ea"/>
              <a:sym typeface="+mn-lt"/>
            </a:endParaRPr>
          </a:p>
        </p:txBody>
      </p:sp>
      <p:sp>
        <p:nvSpPr>
          <p:cNvPr id="35" name="Shape 115">
            <a:extLst>
              <a:ext uri="{FF2B5EF4-FFF2-40B4-BE49-F238E27FC236}">
                <a16:creationId xmlns:a16="http://schemas.microsoft.com/office/drawing/2014/main" id="{06EB414F-4359-42F5-9890-0E345D7C14AC}"/>
              </a:ext>
            </a:extLst>
          </p:cNvPr>
          <p:cNvSpPr>
            <a:spLocks noChangeArrowheads="1"/>
          </p:cNvSpPr>
          <p:nvPr/>
        </p:nvSpPr>
        <p:spPr bwMode="auto">
          <a:xfrm>
            <a:off x="4974360" y="2824045"/>
            <a:ext cx="104162" cy="104165"/>
          </a:xfrm>
          <a:prstGeom prst="ellipse">
            <a:avLst/>
          </a:prstGeom>
          <a:solidFill>
            <a:schemeClr val="accent1">
              <a:lumMod val="100000"/>
            </a:schemeClr>
          </a:solidFill>
          <a:ln>
            <a:noFill/>
          </a:ln>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0677C7"/>
              </a:solidFill>
              <a:effectLst/>
              <a:uLnTx/>
              <a:uFillTx/>
              <a:latin typeface="Arial"/>
              <a:cs typeface="+mn-ea"/>
              <a:sym typeface="+mn-lt"/>
            </a:endParaRPr>
          </a:p>
        </p:txBody>
      </p:sp>
      <p:sp>
        <p:nvSpPr>
          <p:cNvPr id="36" name="Shape 118">
            <a:extLst>
              <a:ext uri="{FF2B5EF4-FFF2-40B4-BE49-F238E27FC236}">
                <a16:creationId xmlns:a16="http://schemas.microsoft.com/office/drawing/2014/main" id="{9FEAACF1-90EE-4AF7-9168-37C019850477}"/>
              </a:ext>
            </a:extLst>
          </p:cNvPr>
          <p:cNvSpPr>
            <a:spLocks noChangeArrowheads="1"/>
          </p:cNvSpPr>
          <p:nvPr/>
        </p:nvSpPr>
        <p:spPr bwMode="auto">
          <a:xfrm>
            <a:off x="4720146" y="2254590"/>
            <a:ext cx="1824192" cy="205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altLang="ru-RU" sz="1000" b="0" i="0" u="none" strike="noStrike" kern="1200" cap="none" spc="0" normalizeH="0" baseline="0" noProof="0">
                <a:ln>
                  <a:noFill/>
                </a:ln>
                <a:solidFill>
                  <a:schemeClr val="accent1"/>
                </a:solidFill>
                <a:effectLst/>
                <a:uLnTx/>
                <a:uFillTx/>
                <a:latin typeface="Arial"/>
                <a:cs typeface="+mn-ea"/>
                <a:sym typeface="+mn-lt"/>
              </a:rPr>
              <a:t>Fish bone text block </a:t>
            </a:r>
          </a:p>
        </p:txBody>
      </p:sp>
      <p:sp>
        <p:nvSpPr>
          <p:cNvPr id="37" name="Shape 119">
            <a:extLst>
              <a:ext uri="{FF2B5EF4-FFF2-40B4-BE49-F238E27FC236}">
                <a16:creationId xmlns:a16="http://schemas.microsoft.com/office/drawing/2014/main" id="{82D01828-76DD-4757-87E4-64B58D77363B}"/>
              </a:ext>
            </a:extLst>
          </p:cNvPr>
          <p:cNvSpPr>
            <a:spLocks noChangeArrowheads="1"/>
          </p:cNvSpPr>
          <p:nvPr/>
        </p:nvSpPr>
        <p:spPr bwMode="auto">
          <a:xfrm>
            <a:off x="5195381" y="2769328"/>
            <a:ext cx="1824192" cy="205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altLang="ru-RU" sz="1000" b="0" i="0" u="none" strike="noStrike" kern="1200" cap="none" spc="0" normalizeH="0" baseline="0" noProof="0">
                <a:ln>
                  <a:noFill/>
                </a:ln>
                <a:solidFill>
                  <a:schemeClr val="accent1"/>
                </a:solidFill>
                <a:effectLst/>
                <a:uLnTx/>
                <a:uFillTx/>
                <a:latin typeface="Arial"/>
                <a:cs typeface="+mn-ea"/>
                <a:sym typeface="+mn-lt"/>
              </a:rPr>
              <a:t>Fish bone text block </a:t>
            </a:r>
          </a:p>
        </p:txBody>
      </p:sp>
      <p:sp>
        <p:nvSpPr>
          <p:cNvPr id="38" name="Shape 126">
            <a:extLst>
              <a:ext uri="{FF2B5EF4-FFF2-40B4-BE49-F238E27FC236}">
                <a16:creationId xmlns:a16="http://schemas.microsoft.com/office/drawing/2014/main" id="{3D479935-139B-449A-8BD6-2ECD6F70966F}"/>
              </a:ext>
            </a:extLst>
          </p:cNvPr>
          <p:cNvSpPr>
            <a:spLocks noChangeArrowheads="1"/>
          </p:cNvSpPr>
          <p:nvPr/>
        </p:nvSpPr>
        <p:spPr bwMode="auto">
          <a:xfrm>
            <a:off x="3771071" y="1442640"/>
            <a:ext cx="431792" cy="431804"/>
          </a:xfrm>
          <a:prstGeom prst="ellipse">
            <a:avLst/>
          </a:prstGeom>
          <a:solidFill>
            <a:srgbClr val="FFFFFF"/>
          </a:solidFill>
          <a:ln w="63500">
            <a:solidFill>
              <a:schemeClr val="accent1">
                <a:lumMod val="100000"/>
              </a:schemeClr>
            </a:solidFill>
            <a:miter lim="400000"/>
            <a:headEnd/>
            <a:tailEnd/>
          </a:ln>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009FDE"/>
              </a:solidFill>
              <a:effectLst/>
              <a:uLnTx/>
              <a:uFillTx/>
              <a:latin typeface="Arial"/>
              <a:cs typeface="+mn-ea"/>
              <a:sym typeface="+mn-lt"/>
            </a:endParaRPr>
          </a:p>
        </p:txBody>
      </p:sp>
      <p:sp>
        <p:nvSpPr>
          <p:cNvPr id="39" name="Shape 129">
            <a:extLst>
              <a:ext uri="{FF2B5EF4-FFF2-40B4-BE49-F238E27FC236}">
                <a16:creationId xmlns:a16="http://schemas.microsoft.com/office/drawing/2014/main" id="{37467C78-000D-4697-95D1-49CD3507E7ED}"/>
              </a:ext>
            </a:extLst>
          </p:cNvPr>
          <p:cNvSpPr>
            <a:spLocks noChangeArrowheads="1"/>
          </p:cNvSpPr>
          <p:nvPr/>
        </p:nvSpPr>
        <p:spPr bwMode="auto">
          <a:xfrm>
            <a:off x="3800630" y="1540473"/>
            <a:ext cx="362744" cy="2436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lgn="ctr">
              <a:defRPr sz="2500" cap="all">
                <a:solidFill>
                  <a:srgbClr val="344245"/>
                </a:solidFill>
                <a:latin typeface="Open Sans Semibold"/>
                <a:ea typeface="Open Sans Semibold"/>
                <a:cs typeface="Open Sans Semibold"/>
                <a:sym typeface="Open Sans Semibold"/>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sz="1250" b="0" i="0" u="none" strike="noStrike" kern="0" cap="all" spc="0" normalizeH="0" baseline="0" noProof="0" dirty="0">
                <a:ln>
                  <a:noFill/>
                </a:ln>
                <a:solidFill>
                  <a:schemeClr val="accent1"/>
                </a:solidFill>
                <a:effectLst/>
                <a:uLnTx/>
                <a:uFillTx/>
                <a:latin typeface="Arial"/>
                <a:ea typeface="+mn-ea"/>
                <a:cs typeface="+mn-ea"/>
                <a:sym typeface="+mn-lt"/>
              </a:rPr>
              <a:t>4</a:t>
            </a:r>
          </a:p>
        </p:txBody>
      </p:sp>
      <p:sp>
        <p:nvSpPr>
          <p:cNvPr id="40" name="Shape 134">
            <a:extLst>
              <a:ext uri="{FF2B5EF4-FFF2-40B4-BE49-F238E27FC236}">
                <a16:creationId xmlns:a16="http://schemas.microsoft.com/office/drawing/2014/main" id="{F76C09CA-D060-4378-AC88-0F9DC9F92514}"/>
              </a:ext>
            </a:extLst>
          </p:cNvPr>
          <p:cNvSpPr>
            <a:spLocks noChangeArrowheads="1"/>
          </p:cNvSpPr>
          <p:nvPr/>
        </p:nvSpPr>
        <p:spPr bwMode="auto">
          <a:xfrm>
            <a:off x="4303309" y="1527981"/>
            <a:ext cx="1267619" cy="2436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2500" cap="all">
                <a:solidFill>
                  <a:srgbClr val="344245"/>
                </a:solidFill>
                <a:latin typeface="Open Sans Semibold"/>
                <a:ea typeface="Open Sans Semibold"/>
                <a:cs typeface="Open Sans Semibold"/>
                <a:sym typeface="Open Sans Semibold"/>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sz="1250" b="0" i="0" u="none" strike="noStrike" kern="0" cap="all" spc="0" normalizeH="0" baseline="0" noProof="0" dirty="0">
                <a:ln>
                  <a:noFill/>
                </a:ln>
                <a:solidFill>
                  <a:schemeClr val="accent1"/>
                </a:solidFill>
                <a:effectLst/>
                <a:uLnTx/>
                <a:uFillTx/>
                <a:latin typeface="Arial"/>
                <a:ea typeface="+mn-ea"/>
                <a:cs typeface="+mn-ea"/>
                <a:sym typeface="+mn-lt"/>
              </a:rPr>
              <a:t>Text inform</a:t>
            </a:r>
          </a:p>
        </p:txBody>
      </p:sp>
      <p:sp>
        <p:nvSpPr>
          <p:cNvPr id="25" name="Shape 102">
            <a:extLst>
              <a:ext uri="{FF2B5EF4-FFF2-40B4-BE49-F238E27FC236}">
                <a16:creationId xmlns:a16="http://schemas.microsoft.com/office/drawing/2014/main" id="{CC1AD79C-D39B-411B-80DE-B1CE9640EEA8}"/>
              </a:ext>
            </a:extLst>
          </p:cNvPr>
          <p:cNvSpPr>
            <a:spLocks noChangeShapeType="1"/>
          </p:cNvSpPr>
          <p:nvPr/>
        </p:nvSpPr>
        <p:spPr bwMode="auto">
          <a:xfrm flipV="1">
            <a:off x="6252163" y="3485758"/>
            <a:ext cx="1432060" cy="1586081"/>
          </a:xfrm>
          <a:prstGeom prst="line">
            <a:avLst/>
          </a:prstGeom>
          <a:noFill/>
          <a:ln w="63500">
            <a:solidFill>
              <a:schemeClr val="accent1">
                <a:lumMod val="100000"/>
              </a:schemeClr>
            </a:solidFill>
            <a:miter lim="400000"/>
            <a:headEnd/>
            <a:tailEnd/>
          </a:ln>
          <a:extLst>
            <a:ext uri="{909E8E84-426E-40DD-AFC4-6F175D3DCCD1}">
              <a14:hiddenFill xmlns:a14="http://schemas.microsoft.com/office/drawing/2010/main">
                <a:noFill/>
              </a14:hiddenFill>
            </a:ext>
          </a:extLst>
        </p:spPr>
        <p:txBody>
          <a:bodyPr lIns="25400" tIns="25400" rIns="25400" bIns="254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500" b="0" i="0" u="none" strike="noStrike" kern="1200" cap="none" spc="0" normalizeH="0" baseline="0" noProof="0" dirty="0">
              <a:ln>
                <a:noFill/>
              </a:ln>
              <a:solidFill>
                <a:srgbClr val="13668E"/>
              </a:solidFill>
              <a:effectLst/>
              <a:uLnTx/>
              <a:uFillTx/>
              <a:latin typeface="Arial"/>
              <a:cs typeface="+mn-ea"/>
              <a:sym typeface="+mn-lt"/>
            </a:endParaRPr>
          </a:p>
        </p:txBody>
      </p:sp>
      <p:sp>
        <p:nvSpPr>
          <p:cNvPr id="26" name="Shape 110">
            <a:extLst>
              <a:ext uri="{FF2B5EF4-FFF2-40B4-BE49-F238E27FC236}">
                <a16:creationId xmlns:a16="http://schemas.microsoft.com/office/drawing/2014/main" id="{17FD637E-6AAD-4352-964D-B04BBCFB0C6B}"/>
              </a:ext>
            </a:extLst>
          </p:cNvPr>
          <p:cNvSpPr>
            <a:spLocks noChangeArrowheads="1"/>
          </p:cNvSpPr>
          <p:nvPr/>
        </p:nvSpPr>
        <p:spPr bwMode="auto">
          <a:xfrm>
            <a:off x="7148941" y="3969171"/>
            <a:ext cx="104162" cy="104165"/>
          </a:xfrm>
          <a:prstGeom prst="ellipse">
            <a:avLst/>
          </a:prstGeom>
          <a:solidFill>
            <a:schemeClr val="accent1">
              <a:lumMod val="100000"/>
            </a:schemeClr>
          </a:solidFill>
          <a:ln>
            <a:noFill/>
          </a:ln>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0677C7"/>
              </a:solidFill>
              <a:effectLst/>
              <a:uLnTx/>
              <a:uFillTx/>
              <a:latin typeface="Arial"/>
              <a:cs typeface="+mn-ea"/>
              <a:sym typeface="+mn-lt"/>
            </a:endParaRPr>
          </a:p>
        </p:txBody>
      </p:sp>
      <p:sp>
        <p:nvSpPr>
          <p:cNvPr id="27" name="Shape 111">
            <a:extLst>
              <a:ext uri="{FF2B5EF4-FFF2-40B4-BE49-F238E27FC236}">
                <a16:creationId xmlns:a16="http://schemas.microsoft.com/office/drawing/2014/main" id="{659B6DB8-F363-4387-B35F-7DC7B9134F4E}"/>
              </a:ext>
            </a:extLst>
          </p:cNvPr>
          <p:cNvSpPr>
            <a:spLocks noChangeArrowheads="1"/>
          </p:cNvSpPr>
          <p:nvPr/>
        </p:nvSpPr>
        <p:spPr bwMode="auto">
          <a:xfrm>
            <a:off x="6683284" y="4489876"/>
            <a:ext cx="104162" cy="104165"/>
          </a:xfrm>
          <a:prstGeom prst="ellipse">
            <a:avLst/>
          </a:prstGeom>
          <a:solidFill>
            <a:schemeClr val="accent1">
              <a:lumMod val="100000"/>
            </a:schemeClr>
          </a:solidFill>
          <a:ln>
            <a:noFill/>
          </a:ln>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0677C7"/>
              </a:solidFill>
              <a:effectLst/>
              <a:uLnTx/>
              <a:uFillTx/>
              <a:latin typeface="Arial"/>
              <a:cs typeface="+mn-ea"/>
              <a:sym typeface="+mn-lt"/>
            </a:endParaRPr>
          </a:p>
        </p:txBody>
      </p:sp>
      <p:sp>
        <p:nvSpPr>
          <p:cNvPr id="28" name="Shape 122">
            <a:extLst>
              <a:ext uri="{FF2B5EF4-FFF2-40B4-BE49-F238E27FC236}">
                <a16:creationId xmlns:a16="http://schemas.microsoft.com/office/drawing/2014/main" id="{A3878246-436F-4DCF-BF0E-B27924EBF44D}"/>
              </a:ext>
            </a:extLst>
          </p:cNvPr>
          <p:cNvSpPr>
            <a:spLocks noChangeArrowheads="1"/>
          </p:cNvSpPr>
          <p:nvPr/>
        </p:nvSpPr>
        <p:spPr bwMode="auto">
          <a:xfrm>
            <a:off x="7370557" y="3922869"/>
            <a:ext cx="1824192" cy="205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altLang="ru-RU" sz="1000" b="0" i="0" u="none" strike="noStrike" kern="1200" cap="none" spc="0" normalizeH="0" baseline="0" noProof="0">
                <a:ln>
                  <a:noFill/>
                </a:ln>
                <a:solidFill>
                  <a:schemeClr val="accent1"/>
                </a:solidFill>
                <a:effectLst/>
                <a:uLnTx/>
                <a:uFillTx/>
                <a:latin typeface="Arial"/>
                <a:cs typeface="+mn-ea"/>
                <a:sym typeface="+mn-lt"/>
              </a:rPr>
              <a:t>Fish bone text block </a:t>
            </a:r>
          </a:p>
        </p:txBody>
      </p:sp>
      <p:sp>
        <p:nvSpPr>
          <p:cNvPr id="29" name="Shape 123">
            <a:extLst>
              <a:ext uri="{FF2B5EF4-FFF2-40B4-BE49-F238E27FC236}">
                <a16:creationId xmlns:a16="http://schemas.microsoft.com/office/drawing/2014/main" id="{32EFBC5F-24EA-4C1F-89BD-CC998929716B}"/>
              </a:ext>
            </a:extLst>
          </p:cNvPr>
          <p:cNvSpPr>
            <a:spLocks noChangeArrowheads="1"/>
          </p:cNvSpPr>
          <p:nvPr/>
        </p:nvSpPr>
        <p:spPr bwMode="auto">
          <a:xfrm>
            <a:off x="6912361" y="4437606"/>
            <a:ext cx="1824192" cy="205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altLang="ru-RU" sz="1000" b="0" i="0" u="none" strike="noStrike" kern="1200" cap="none" spc="0" normalizeH="0" baseline="0" noProof="0">
                <a:ln>
                  <a:noFill/>
                </a:ln>
                <a:solidFill>
                  <a:schemeClr val="accent1"/>
                </a:solidFill>
                <a:effectLst/>
                <a:uLnTx/>
                <a:uFillTx/>
                <a:latin typeface="Arial"/>
                <a:cs typeface="+mn-ea"/>
                <a:sym typeface="+mn-lt"/>
              </a:rPr>
              <a:t>Fish bone text block </a:t>
            </a:r>
          </a:p>
        </p:txBody>
      </p:sp>
      <p:sp>
        <p:nvSpPr>
          <p:cNvPr id="30" name="Shape 124">
            <a:extLst>
              <a:ext uri="{FF2B5EF4-FFF2-40B4-BE49-F238E27FC236}">
                <a16:creationId xmlns:a16="http://schemas.microsoft.com/office/drawing/2014/main" id="{E1D8E907-1A79-4D07-8EAC-531E30EE79E7}"/>
              </a:ext>
            </a:extLst>
          </p:cNvPr>
          <p:cNvSpPr>
            <a:spLocks noChangeArrowheads="1"/>
          </p:cNvSpPr>
          <p:nvPr/>
        </p:nvSpPr>
        <p:spPr bwMode="auto">
          <a:xfrm>
            <a:off x="5970662" y="4983555"/>
            <a:ext cx="431792" cy="431805"/>
          </a:xfrm>
          <a:prstGeom prst="ellipse">
            <a:avLst/>
          </a:prstGeom>
          <a:solidFill>
            <a:srgbClr val="FFFFFF"/>
          </a:solidFill>
          <a:ln w="63500">
            <a:solidFill>
              <a:schemeClr val="accent1">
                <a:lumMod val="100000"/>
              </a:schemeClr>
            </a:solidFill>
            <a:miter lim="400000"/>
            <a:headEnd/>
            <a:tailEnd/>
          </a:ln>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0677C7"/>
              </a:solidFill>
              <a:effectLst/>
              <a:uLnTx/>
              <a:uFillTx/>
              <a:latin typeface="Arial"/>
              <a:cs typeface="+mn-ea"/>
              <a:sym typeface="+mn-lt"/>
            </a:endParaRPr>
          </a:p>
        </p:txBody>
      </p:sp>
      <p:sp>
        <p:nvSpPr>
          <p:cNvPr id="31" name="Shape 130">
            <a:extLst>
              <a:ext uri="{FF2B5EF4-FFF2-40B4-BE49-F238E27FC236}">
                <a16:creationId xmlns:a16="http://schemas.microsoft.com/office/drawing/2014/main" id="{C137838B-46CD-4387-8C86-FB2761295DA8}"/>
              </a:ext>
            </a:extLst>
          </p:cNvPr>
          <p:cNvSpPr>
            <a:spLocks noChangeArrowheads="1"/>
          </p:cNvSpPr>
          <p:nvPr/>
        </p:nvSpPr>
        <p:spPr bwMode="auto">
          <a:xfrm>
            <a:off x="6009730" y="5082628"/>
            <a:ext cx="362744" cy="2436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lgn="ctr">
              <a:defRPr sz="2500" cap="all">
                <a:solidFill>
                  <a:srgbClr val="344245"/>
                </a:solidFill>
                <a:latin typeface="Open Sans Semibold"/>
                <a:ea typeface="Open Sans Semibold"/>
                <a:cs typeface="Open Sans Semibold"/>
                <a:sym typeface="Open Sans Semibold"/>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250" b="0" i="0" u="none" strike="noStrike" kern="0" cap="all" spc="0" normalizeH="0" baseline="0" noProof="0" dirty="0">
                <a:ln>
                  <a:noFill/>
                </a:ln>
                <a:solidFill>
                  <a:schemeClr val="accent1"/>
                </a:solidFill>
                <a:effectLst/>
                <a:uLnTx/>
                <a:uFillTx/>
                <a:latin typeface="Arial"/>
                <a:ea typeface="+mn-ea"/>
                <a:cs typeface="+mn-ea"/>
                <a:sym typeface="+mn-lt"/>
              </a:rPr>
              <a:t>5</a:t>
            </a:r>
            <a:endParaRPr kumimoji="0" sz="1250" b="0" i="0" u="none" strike="noStrike" kern="0" cap="all" spc="0" normalizeH="0" baseline="0" noProof="0" dirty="0">
              <a:ln>
                <a:noFill/>
              </a:ln>
              <a:solidFill>
                <a:schemeClr val="accent1"/>
              </a:solidFill>
              <a:effectLst/>
              <a:uLnTx/>
              <a:uFillTx/>
              <a:latin typeface="Arial"/>
              <a:ea typeface="+mn-ea"/>
              <a:cs typeface="+mn-ea"/>
              <a:sym typeface="+mn-lt"/>
            </a:endParaRPr>
          </a:p>
        </p:txBody>
      </p:sp>
      <p:sp>
        <p:nvSpPr>
          <p:cNvPr id="32" name="Shape 132">
            <a:extLst>
              <a:ext uri="{FF2B5EF4-FFF2-40B4-BE49-F238E27FC236}">
                <a16:creationId xmlns:a16="http://schemas.microsoft.com/office/drawing/2014/main" id="{76B753CD-0C09-4AFD-8330-1BDB70812BC1}"/>
              </a:ext>
            </a:extLst>
          </p:cNvPr>
          <p:cNvSpPr>
            <a:spLocks noChangeArrowheads="1"/>
          </p:cNvSpPr>
          <p:nvPr/>
        </p:nvSpPr>
        <p:spPr bwMode="auto">
          <a:xfrm>
            <a:off x="6541706" y="5073663"/>
            <a:ext cx="1267619" cy="2436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2500" cap="all">
                <a:solidFill>
                  <a:srgbClr val="344245"/>
                </a:solidFill>
                <a:latin typeface="Open Sans Semibold"/>
                <a:ea typeface="Open Sans Semibold"/>
                <a:cs typeface="Open Sans Semibold"/>
                <a:sym typeface="Open Sans Semibold"/>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sz="1250" b="0" i="0" u="none" strike="noStrike" kern="0" cap="all" spc="0" normalizeH="0" baseline="0" noProof="0" dirty="0">
                <a:ln>
                  <a:noFill/>
                </a:ln>
                <a:solidFill>
                  <a:schemeClr val="accent1"/>
                </a:solidFill>
                <a:effectLst/>
                <a:uLnTx/>
                <a:uFillTx/>
                <a:latin typeface="Arial"/>
                <a:ea typeface="+mn-ea"/>
                <a:cs typeface="+mn-ea"/>
                <a:sym typeface="+mn-lt"/>
              </a:rPr>
              <a:t>Text inform</a:t>
            </a:r>
          </a:p>
        </p:txBody>
      </p:sp>
      <p:sp>
        <p:nvSpPr>
          <p:cNvPr id="17" name="Shape 101">
            <a:extLst>
              <a:ext uri="{FF2B5EF4-FFF2-40B4-BE49-F238E27FC236}">
                <a16:creationId xmlns:a16="http://schemas.microsoft.com/office/drawing/2014/main" id="{E00DCB4D-F601-4586-B915-EADE31E9AD92}"/>
              </a:ext>
            </a:extLst>
          </p:cNvPr>
          <p:cNvSpPr>
            <a:spLocks noChangeShapeType="1"/>
          </p:cNvSpPr>
          <p:nvPr/>
        </p:nvSpPr>
        <p:spPr bwMode="auto">
          <a:xfrm flipH="1" flipV="1">
            <a:off x="6214901" y="1824656"/>
            <a:ext cx="1484084" cy="1623189"/>
          </a:xfrm>
          <a:prstGeom prst="line">
            <a:avLst/>
          </a:prstGeom>
          <a:noFill/>
          <a:ln w="63500">
            <a:solidFill>
              <a:schemeClr val="accent1">
                <a:lumMod val="100000"/>
              </a:schemeClr>
            </a:solidFill>
            <a:miter lim="400000"/>
            <a:headEnd/>
            <a:tailEnd/>
          </a:ln>
          <a:extLst>
            <a:ext uri="{909E8E84-426E-40DD-AFC4-6F175D3DCCD1}">
              <a14:hiddenFill xmlns:a14="http://schemas.microsoft.com/office/drawing/2010/main">
                <a:noFill/>
              </a14:hiddenFill>
            </a:ext>
          </a:extLst>
        </p:spPr>
        <p:txBody>
          <a:bodyPr lIns="25400" tIns="25400" rIns="25400" bIns="254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500" b="0" i="0" u="none" strike="noStrike" kern="1200" cap="none" spc="0" normalizeH="0" baseline="0" noProof="0">
              <a:ln>
                <a:noFill/>
              </a:ln>
              <a:solidFill>
                <a:srgbClr val="13668E"/>
              </a:solidFill>
              <a:effectLst/>
              <a:uLnTx/>
              <a:uFillTx/>
              <a:latin typeface="Arial"/>
              <a:cs typeface="+mn-ea"/>
              <a:sym typeface="+mn-lt"/>
            </a:endParaRPr>
          </a:p>
        </p:txBody>
      </p:sp>
      <p:sp>
        <p:nvSpPr>
          <p:cNvPr id="18" name="Shape 114">
            <a:extLst>
              <a:ext uri="{FF2B5EF4-FFF2-40B4-BE49-F238E27FC236}">
                <a16:creationId xmlns:a16="http://schemas.microsoft.com/office/drawing/2014/main" id="{FC09DDAF-BC07-42DE-8FA3-2D6D34B205A5}"/>
              </a:ext>
            </a:extLst>
          </p:cNvPr>
          <p:cNvSpPr>
            <a:spLocks noChangeArrowheads="1"/>
          </p:cNvSpPr>
          <p:nvPr/>
        </p:nvSpPr>
        <p:spPr bwMode="auto">
          <a:xfrm>
            <a:off x="6650941" y="2305099"/>
            <a:ext cx="104162" cy="104165"/>
          </a:xfrm>
          <a:prstGeom prst="ellipse">
            <a:avLst/>
          </a:prstGeom>
          <a:solidFill>
            <a:schemeClr val="accent1">
              <a:lumMod val="100000"/>
            </a:schemeClr>
          </a:solidFill>
          <a:ln>
            <a:noFill/>
          </a:ln>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0677C7"/>
              </a:solidFill>
              <a:effectLst/>
              <a:uLnTx/>
              <a:uFillTx/>
              <a:latin typeface="Arial"/>
              <a:cs typeface="+mn-ea"/>
              <a:sym typeface="+mn-lt"/>
            </a:endParaRPr>
          </a:p>
        </p:txBody>
      </p:sp>
      <p:sp>
        <p:nvSpPr>
          <p:cNvPr id="19" name="Shape 115">
            <a:extLst>
              <a:ext uri="{FF2B5EF4-FFF2-40B4-BE49-F238E27FC236}">
                <a16:creationId xmlns:a16="http://schemas.microsoft.com/office/drawing/2014/main" id="{8EA6B43E-3349-40F3-B739-BEC01D657DF7}"/>
              </a:ext>
            </a:extLst>
          </p:cNvPr>
          <p:cNvSpPr>
            <a:spLocks noChangeArrowheads="1"/>
          </p:cNvSpPr>
          <p:nvPr/>
        </p:nvSpPr>
        <p:spPr bwMode="auto">
          <a:xfrm>
            <a:off x="7127033" y="2824045"/>
            <a:ext cx="104162" cy="104165"/>
          </a:xfrm>
          <a:prstGeom prst="ellipse">
            <a:avLst/>
          </a:prstGeom>
          <a:solidFill>
            <a:schemeClr val="accent1">
              <a:lumMod val="100000"/>
            </a:schemeClr>
          </a:solidFill>
          <a:ln>
            <a:noFill/>
          </a:ln>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0677C7"/>
              </a:solidFill>
              <a:effectLst/>
              <a:uLnTx/>
              <a:uFillTx/>
              <a:latin typeface="Arial"/>
              <a:cs typeface="+mn-ea"/>
              <a:sym typeface="+mn-lt"/>
            </a:endParaRPr>
          </a:p>
        </p:txBody>
      </p:sp>
      <p:sp>
        <p:nvSpPr>
          <p:cNvPr id="20" name="Shape 118">
            <a:extLst>
              <a:ext uri="{FF2B5EF4-FFF2-40B4-BE49-F238E27FC236}">
                <a16:creationId xmlns:a16="http://schemas.microsoft.com/office/drawing/2014/main" id="{607902CE-C7F7-4481-B423-CF794015D007}"/>
              </a:ext>
            </a:extLst>
          </p:cNvPr>
          <p:cNvSpPr>
            <a:spLocks noChangeArrowheads="1"/>
          </p:cNvSpPr>
          <p:nvPr/>
        </p:nvSpPr>
        <p:spPr bwMode="auto">
          <a:xfrm>
            <a:off x="6872819" y="2254590"/>
            <a:ext cx="1824192" cy="205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altLang="ru-RU" sz="1000" b="0" i="0" u="none" strike="noStrike" kern="1200" cap="none" spc="0" normalizeH="0" baseline="0" noProof="0">
                <a:ln>
                  <a:noFill/>
                </a:ln>
                <a:solidFill>
                  <a:schemeClr val="accent1"/>
                </a:solidFill>
                <a:effectLst/>
                <a:uLnTx/>
                <a:uFillTx/>
                <a:latin typeface="Arial"/>
                <a:cs typeface="+mn-ea"/>
                <a:sym typeface="+mn-lt"/>
              </a:rPr>
              <a:t>Fish bone text block </a:t>
            </a:r>
          </a:p>
        </p:txBody>
      </p:sp>
      <p:sp>
        <p:nvSpPr>
          <p:cNvPr id="21" name="Shape 119">
            <a:extLst>
              <a:ext uri="{FF2B5EF4-FFF2-40B4-BE49-F238E27FC236}">
                <a16:creationId xmlns:a16="http://schemas.microsoft.com/office/drawing/2014/main" id="{943CF052-6164-4668-A2D9-7F90CE78D509}"/>
              </a:ext>
            </a:extLst>
          </p:cNvPr>
          <p:cNvSpPr>
            <a:spLocks noChangeArrowheads="1"/>
          </p:cNvSpPr>
          <p:nvPr/>
        </p:nvSpPr>
        <p:spPr bwMode="auto">
          <a:xfrm>
            <a:off x="7348054" y="2769328"/>
            <a:ext cx="1824192" cy="205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altLang="ru-RU" sz="1000" b="0" i="0" u="none" strike="noStrike" kern="1200" cap="none" spc="0" normalizeH="0" baseline="0" noProof="0">
                <a:ln>
                  <a:noFill/>
                </a:ln>
                <a:solidFill>
                  <a:schemeClr val="accent1"/>
                </a:solidFill>
                <a:effectLst/>
                <a:uLnTx/>
                <a:uFillTx/>
                <a:latin typeface="Arial"/>
                <a:cs typeface="+mn-ea"/>
                <a:sym typeface="+mn-lt"/>
              </a:rPr>
              <a:t>Fish bone text block </a:t>
            </a:r>
          </a:p>
        </p:txBody>
      </p:sp>
      <p:sp>
        <p:nvSpPr>
          <p:cNvPr id="22" name="Shape 126">
            <a:extLst>
              <a:ext uri="{FF2B5EF4-FFF2-40B4-BE49-F238E27FC236}">
                <a16:creationId xmlns:a16="http://schemas.microsoft.com/office/drawing/2014/main" id="{D3D36EEE-62AE-40A5-8F47-9FF19F49F6E1}"/>
              </a:ext>
            </a:extLst>
          </p:cNvPr>
          <p:cNvSpPr>
            <a:spLocks noChangeArrowheads="1"/>
          </p:cNvSpPr>
          <p:nvPr/>
        </p:nvSpPr>
        <p:spPr bwMode="auto">
          <a:xfrm>
            <a:off x="5923744" y="1442640"/>
            <a:ext cx="431792" cy="431804"/>
          </a:xfrm>
          <a:prstGeom prst="ellipse">
            <a:avLst/>
          </a:prstGeom>
          <a:solidFill>
            <a:srgbClr val="FFFFFF"/>
          </a:solidFill>
          <a:ln w="63500">
            <a:solidFill>
              <a:schemeClr val="accent1">
                <a:lumMod val="100000"/>
              </a:schemeClr>
            </a:solidFill>
            <a:miter lim="400000"/>
            <a:headEnd/>
            <a:tailEnd/>
          </a:ln>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0677C7"/>
              </a:solidFill>
              <a:effectLst/>
              <a:uLnTx/>
              <a:uFillTx/>
              <a:latin typeface="Arial"/>
              <a:cs typeface="+mn-ea"/>
              <a:sym typeface="+mn-lt"/>
            </a:endParaRPr>
          </a:p>
        </p:txBody>
      </p:sp>
      <p:sp>
        <p:nvSpPr>
          <p:cNvPr id="23" name="Shape 129">
            <a:extLst>
              <a:ext uri="{FF2B5EF4-FFF2-40B4-BE49-F238E27FC236}">
                <a16:creationId xmlns:a16="http://schemas.microsoft.com/office/drawing/2014/main" id="{BECB6A58-FF72-415F-842D-10F4826FB4A1}"/>
              </a:ext>
            </a:extLst>
          </p:cNvPr>
          <p:cNvSpPr>
            <a:spLocks noChangeArrowheads="1"/>
          </p:cNvSpPr>
          <p:nvPr/>
        </p:nvSpPr>
        <p:spPr bwMode="auto">
          <a:xfrm>
            <a:off x="5953303" y="1540473"/>
            <a:ext cx="362744" cy="2436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lgn="ctr">
              <a:defRPr sz="2500" cap="all">
                <a:solidFill>
                  <a:srgbClr val="344245"/>
                </a:solidFill>
                <a:latin typeface="Open Sans Semibold"/>
                <a:ea typeface="Open Sans Semibold"/>
                <a:cs typeface="Open Sans Semibold"/>
                <a:sym typeface="Open Sans Semibold"/>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250" b="0" i="0" u="none" strike="noStrike" kern="0" cap="all" spc="0" normalizeH="0" baseline="0" noProof="0" dirty="0">
                <a:ln>
                  <a:noFill/>
                </a:ln>
                <a:solidFill>
                  <a:schemeClr val="accent1"/>
                </a:solidFill>
                <a:effectLst/>
                <a:uLnTx/>
                <a:uFillTx/>
                <a:latin typeface="Arial"/>
                <a:ea typeface="+mn-ea"/>
                <a:cs typeface="+mn-ea"/>
                <a:sym typeface="+mn-lt"/>
              </a:rPr>
              <a:t>6</a:t>
            </a:r>
            <a:endParaRPr kumimoji="0" sz="1250" b="0" i="0" u="none" strike="noStrike" kern="0" cap="all" spc="0" normalizeH="0" baseline="0" noProof="0" dirty="0">
              <a:ln>
                <a:noFill/>
              </a:ln>
              <a:solidFill>
                <a:schemeClr val="accent1"/>
              </a:solidFill>
              <a:effectLst/>
              <a:uLnTx/>
              <a:uFillTx/>
              <a:latin typeface="Arial"/>
              <a:ea typeface="+mn-ea"/>
              <a:cs typeface="+mn-ea"/>
              <a:sym typeface="+mn-lt"/>
            </a:endParaRPr>
          </a:p>
        </p:txBody>
      </p:sp>
      <p:sp>
        <p:nvSpPr>
          <p:cNvPr id="24" name="Shape 134">
            <a:extLst>
              <a:ext uri="{FF2B5EF4-FFF2-40B4-BE49-F238E27FC236}">
                <a16:creationId xmlns:a16="http://schemas.microsoft.com/office/drawing/2014/main" id="{CFD93D95-362F-4629-8B13-6B04EBF60D65}"/>
              </a:ext>
            </a:extLst>
          </p:cNvPr>
          <p:cNvSpPr>
            <a:spLocks noChangeArrowheads="1"/>
          </p:cNvSpPr>
          <p:nvPr/>
        </p:nvSpPr>
        <p:spPr bwMode="auto">
          <a:xfrm>
            <a:off x="6455982" y="1527981"/>
            <a:ext cx="1267619" cy="2436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2500" cap="all">
                <a:solidFill>
                  <a:srgbClr val="344245"/>
                </a:solidFill>
                <a:latin typeface="Open Sans Semibold"/>
                <a:ea typeface="Open Sans Semibold"/>
                <a:cs typeface="Open Sans Semibold"/>
                <a:sym typeface="Open Sans Semibold"/>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sz="1250" b="0" i="0" u="none" strike="noStrike" kern="0" cap="all" spc="0" normalizeH="0" baseline="0" noProof="0" dirty="0">
                <a:ln>
                  <a:noFill/>
                </a:ln>
                <a:solidFill>
                  <a:schemeClr val="accent1"/>
                </a:solidFill>
                <a:effectLst/>
                <a:uLnTx/>
                <a:uFillTx/>
                <a:latin typeface="Arial"/>
                <a:ea typeface="+mn-ea"/>
                <a:cs typeface="+mn-ea"/>
                <a:sym typeface="+mn-lt"/>
              </a:rPr>
              <a:t>Text inform</a:t>
            </a:r>
          </a:p>
        </p:txBody>
      </p:sp>
      <p:sp>
        <p:nvSpPr>
          <p:cNvPr id="12" name="Shape 103">
            <a:extLst>
              <a:ext uri="{FF2B5EF4-FFF2-40B4-BE49-F238E27FC236}">
                <a16:creationId xmlns:a16="http://schemas.microsoft.com/office/drawing/2014/main" id="{34C6C345-3F52-4FE6-B02A-98EDF4E0BB4E}"/>
              </a:ext>
            </a:extLst>
          </p:cNvPr>
          <p:cNvSpPr>
            <a:spLocks noChangeArrowheads="1"/>
          </p:cNvSpPr>
          <p:nvPr/>
        </p:nvSpPr>
        <p:spPr bwMode="auto">
          <a:xfrm>
            <a:off x="3291508" y="3378928"/>
            <a:ext cx="158570" cy="158575"/>
          </a:xfrm>
          <a:prstGeom prst="ellipse">
            <a:avLst/>
          </a:prstGeom>
          <a:solidFill>
            <a:srgbClr val="FFFFFF"/>
          </a:solidFill>
          <a:ln w="63500">
            <a:solidFill>
              <a:schemeClr val="accent1">
                <a:lumMod val="100000"/>
              </a:schemeClr>
            </a:solidFill>
            <a:miter lim="400000"/>
            <a:headEnd/>
            <a:tailEnd/>
          </a:ln>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009FDE"/>
              </a:solidFill>
              <a:effectLst/>
              <a:uLnTx/>
              <a:uFillTx/>
              <a:latin typeface="Arial"/>
              <a:cs typeface="+mn-ea"/>
              <a:sym typeface="+mn-lt"/>
            </a:endParaRPr>
          </a:p>
        </p:txBody>
      </p:sp>
      <p:sp>
        <p:nvSpPr>
          <p:cNvPr id="13" name="Shape 104">
            <a:extLst>
              <a:ext uri="{FF2B5EF4-FFF2-40B4-BE49-F238E27FC236}">
                <a16:creationId xmlns:a16="http://schemas.microsoft.com/office/drawing/2014/main" id="{B0B16305-49E3-4584-A462-55A91E93AEFD}"/>
              </a:ext>
            </a:extLst>
          </p:cNvPr>
          <p:cNvSpPr>
            <a:spLocks noChangeArrowheads="1"/>
          </p:cNvSpPr>
          <p:nvPr/>
        </p:nvSpPr>
        <p:spPr bwMode="auto">
          <a:xfrm>
            <a:off x="4374934" y="3378928"/>
            <a:ext cx="158570" cy="158575"/>
          </a:xfrm>
          <a:prstGeom prst="ellipse">
            <a:avLst/>
          </a:prstGeom>
          <a:solidFill>
            <a:srgbClr val="FFFFFF"/>
          </a:solidFill>
          <a:ln w="63500">
            <a:solidFill>
              <a:schemeClr val="accent1">
                <a:lumMod val="40000"/>
                <a:lumOff val="60000"/>
              </a:schemeClr>
            </a:solidFill>
            <a:miter lim="400000"/>
            <a:headEnd/>
            <a:tailEnd/>
          </a:ln>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009FDE"/>
              </a:solidFill>
              <a:effectLst/>
              <a:uLnTx/>
              <a:uFillTx/>
              <a:latin typeface="Arial"/>
              <a:cs typeface="+mn-ea"/>
              <a:sym typeface="+mn-lt"/>
            </a:endParaRPr>
          </a:p>
        </p:txBody>
      </p:sp>
      <p:sp>
        <p:nvSpPr>
          <p:cNvPr id="14" name="Shape 105">
            <a:extLst>
              <a:ext uri="{FF2B5EF4-FFF2-40B4-BE49-F238E27FC236}">
                <a16:creationId xmlns:a16="http://schemas.microsoft.com/office/drawing/2014/main" id="{BE33BE38-C751-46BA-8AE8-EF0CE0B60A61}"/>
              </a:ext>
            </a:extLst>
          </p:cNvPr>
          <p:cNvSpPr>
            <a:spLocks noChangeArrowheads="1"/>
          </p:cNvSpPr>
          <p:nvPr/>
        </p:nvSpPr>
        <p:spPr bwMode="auto">
          <a:xfrm>
            <a:off x="5448433" y="3378928"/>
            <a:ext cx="158570" cy="158575"/>
          </a:xfrm>
          <a:prstGeom prst="ellipse">
            <a:avLst/>
          </a:prstGeom>
          <a:solidFill>
            <a:srgbClr val="FFFFFF"/>
          </a:solidFill>
          <a:ln w="63500">
            <a:solidFill>
              <a:schemeClr val="accent1">
                <a:lumMod val="100000"/>
              </a:schemeClr>
            </a:solidFill>
            <a:miter lim="400000"/>
            <a:headEnd/>
            <a:tailEnd/>
          </a:ln>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0677C7"/>
              </a:solidFill>
              <a:effectLst/>
              <a:uLnTx/>
              <a:uFillTx/>
              <a:latin typeface="Arial"/>
              <a:cs typeface="+mn-ea"/>
              <a:sym typeface="+mn-lt"/>
            </a:endParaRPr>
          </a:p>
        </p:txBody>
      </p:sp>
      <p:sp>
        <p:nvSpPr>
          <p:cNvPr id="15" name="Shape 106">
            <a:extLst>
              <a:ext uri="{FF2B5EF4-FFF2-40B4-BE49-F238E27FC236}">
                <a16:creationId xmlns:a16="http://schemas.microsoft.com/office/drawing/2014/main" id="{C6A3D1B9-087E-45C2-A245-D17AB4F8B3B5}"/>
              </a:ext>
            </a:extLst>
          </p:cNvPr>
          <p:cNvSpPr>
            <a:spLocks noChangeArrowheads="1"/>
          </p:cNvSpPr>
          <p:nvPr/>
        </p:nvSpPr>
        <p:spPr bwMode="auto">
          <a:xfrm>
            <a:off x="6535174" y="3378928"/>
            <a:ext cx="158570" cy="158575"/>
          </a:xfrm>
          <a:prstGeom prst="ellipse">
            <a:avLst/>
          </a:prstGeom>
          <a:solidFill>
            <a:srgbClr val="FFFFFF"/>
          </a:solidFill>
          <a:ln w="63500">
            <a:solidFill>
              <a:schemeClr val="accent1">
                <a:lumMod val="40000"/>
                <a:lumOff val="60000"/>
              </a:schemeClr>
            </a:solidFill>
            <a:miter lim="400000"/>
            <a:headEnd/>
            <a:tailEnd/>
          </a:ln>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0677C7"/>
              </a:solidFill>
              <a:effectLst/>
              <a:uLnTx/>
              <a:uFillTx/>
              <a:latin typeface="Arial"/>
              <a:cs typeface="+mn-ea"/>
              <a:sym typeface="+mn-lt"/>
            </a:endParaRPr>
          </a:p>
        </p:txBody>
      </p:sp>
      <p:sp>
        <p:nvSpPr>
          <p:cNvPr id="16" name="Shape 105">
            <a:extLst>
              <a:ext uri="{FF2B5EF4-FFF2-40B4-BE49-F238E27FC236}">
                <a16:creationId xmlns:a16="http://schemas.microsoft.com/office/drawing/2014/main" id="{680874D1-3C47-4843-B3B8-036ACC89A0CD}"/>
              </a:ext>
            </a:extLst>
          </p:cNvPr>
          <p:cNvSpPr>
            <a:spLocks noChangeArrowheads="1"/>
          </p:cNvSpPr>
          <p:nvPr/>
        </p:nvSpPr>
        <p:spPr bwMode="auto">
          <a:xfrm>
            <a:off x="7601105" y="3378928"/>
            <a:ext cx="158570" cy="158575"/>
          </a:xfrm>
          <a:prstGeom prst="ellipse">
            <a:avLst/>
          </a:prstGeom>
          <a:solidFill>
            <a:srgbClr val="FFFFFF"/>
          </a:solidFill>
          <a:ln w="63500">
            <a:solidFill>
              <a:schemeClr val="accent1">
                <a:lumMod val="100000"/>
              </a:schemeClr>
            </a:solidFill>
            <a:miter lim="400000"/>
            <a:headEnd/>
            <a:tailEnd/>
          </a:ln>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13668E"/>
              </a:solidFill>
              <a:effectLst/>
              <a:uLnTx/>
              <a:uFillTx/>
              <a:latin typeface="Arial"/>
              <a:cs typeface="+mn-ea"/>
              <a:sym typeface="+mn-lt"/>
            </a:endParaRPr>
          </a:p>
        </p:txBody>
      </p:sp>
    </p:spTree>
    <p:extLst>
      <p:ext uri="{BB962C8B-B14F-4D97-AF65-F5344CB8AC3E}">
        <p14:creationId xmlns:p14="http://schemas.microsoft.com/office/powerpoint/2010/main" val="3964351147"/>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7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hape 47">
            <a:extLst>
              <a:ext uri="{FF2B5EF4-FFF2-40B4-BE49-F238E27FC236}">
                <a16:creationId xmlns:a16="http://schemas.microsoft.com/office/drawing/2014/main" id="{BEF2E4E7-F12F-4551-A821-1A5CDDFD23D0}"/>
              </a:ext>
            </a:extLst>
          </p:cNvPr>
          <p:cNvSpPr>
            <a:spLocks noChangeShapeType="1"/>
          </p:cNvSpPr>
          <p:nvPr/>
        </p:nvSpPr>
        <p:spPr bwMode="auto">
          <a:xfrm>
            <a:off x="3915129" y="3442881"/>
            <a:ext cx="5516700" cy="1"/>
          </a:xfrm>
          <a:prstGeom prst="line">
            <a:avLst/>
          </a:prstGeom>
          <a:noFill/>
          <a:ln w="63500">
            <a:solidFill>
              <a:schemeClr val="accent1">
                <a:lumMod val="100000"/>
              </a:schemeClr>
            </a:solidFill>
            <a:miter lim="400000"/>
            <a:headEnd/>
            <a:tailEnd/>
          </a:ln>
          <a:extLst>
            <a:ext uri="{909E8E84-426E-40DD-AFC4-6F175D3DCCD1}">
              <a14:hiddenFill xmlns:a14="http://schemas.microsoft.com/office/drawing/2010/main">
                <a:noFill/>
              </a14:hiddenFill>
            </a:ext>
          </a:extLst>
        </p:spPr>
        <p:txBody>
          <a:bodyPr lIns="25400" tIns="25400" rIns="25400" bIns="254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500" b="0" i="0" u="none" strike="noStrike" kern="1200" cap="none" spc="0" normalizeH="0" baseline="0" noProof="0">
              <a:ln>
                <a:noFill/>
              </a:ln>
              <a:solidFill>
                <a:srgbClr val="000000"/>
              </a:solidFill>
              <a:effectLst/>
              <a:uLnTx/>
              <a:uFillTx/>
              <a:latin typeface="Arial"/>
              <a:cs typeface="+mn-ea"/>
              <a:sym typeface="+mn-lt"/>
            </a:endParaRPr>
          </a:p>
        </p:txBody>
      </p:sp>
      <p:sp>
        <p:nvSpPr>
          <p:cNvPr id="4" name="Shape 48">
            <a:extLst>
              <a:ext uri="{FF2B5EF4-FFF2-40B4-BE49-F238E27FC236}">
                <a16:creationId xmlns:a16="http://schemas.microsoft.com/office/drawing/2014/main" id="{EA7A909D-6FA6-43A3-AB97-A64B25C6B295}"/>
              </a:ext>
            </a:extLst>
          </p:cNvPr>
          <p:cNvSpPr>
            <a:spLocks noChangeShapeType="1"/>
          </p:cNvSpPr>
          <p:nvPr/>
        </p:nvSpPr>
        <p:spPr bwMode="auto">
          <a:xfrm flipH="1" flipV="1">
            <a:off x="4627477" y="1814511"/>
            <a:ext cx="1484126" cy="1623470"/>
          </a:xfrm>
          <a:prstGeom prst="line">
            <a:avLst/>
          </a:prstGeom>
          <a:noFill/>
          <a:ln w="63500">
            <a:solidFill>
              <a:schemeClr val="accent1">
                <a:lumMod val="100000"/>
              </a:schemeClr>
            </a:solidFill>
            <a:miter lim="400000"/>
            <a:headEnd/>
            <a:tailEnd/>
          </a:ln>
          <a:extLst>
            <a:ext uri="{909E8E84-426E-40DD-AFC4-6F175D3DCCD1}">
              <a14:hiddenFill xmlns:a14="http://schemas.microsoft.com/office/drawing/2010/main">
                <a:noFill/>
              </a14:hiddenFill>
            </a:ext>
          </a:extLst>
        </p:spPr>
        <p:txBody>
          <a:bodyPr lIns="25400" tIns="25400" rIns="25400" bIns="254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500" b="0" i="0" u="none" strike="noStrike" kern="1200" cap="none" spc="0" normalizeH="0" baseline="0" noProof="0">
              <a:ln>
                <a:noFill/>
              </a:ln>
              <a:solidFill>
                <a:srgbClr val="000000"/>
              </a:solidFill>
              <a:effectLst/>
              <a:uLnTx/>
              <a:uFillTx/>
              <a:latin typeface="Arial"/>
              <a:cs typeface="+mn-ea"/>
              <a:sym typeface="+mn-lt"/>
            </a:endParaRPr>
          </a:p>
        </p:txBody>
      </p:sp>
      <p:sp>
        <p:nvSpPr>
          <p:cNvPr id="5" name="Shape 49">
            <a:extLst>
              <a:ext uri="{FF2B5EF4-FFF2-40B4-BE49-F238E27FC236}">
                <a16:creationId xmlns:a16="http://schemas.microsoft.com/office/drawing/2014/main" id="{48472735-9CC1-4476-8EA8-2B6FBCAD04C2}"/>
              </a:ext>
            </a:extLst>
          </p:cNvPr>
          <p:cNvSpPr>
            <a:spLocks noChangeShapeType="1"/>
          </p:cNvSpPr>
          <p:nvPr/>
        </p:nvSpPr>
        <p:spPr bwMode="auto">
          <a:xfrm flipV="1">
            <a:off x="3568274" y="3475900"/>
            <a:ext cx="1432103" cy="1586356"/>
          </a:xfrm>
          <a:prstGeom prst="line">
            <a:avLst/>
          </a:prstGeom>
          <a:noFill/>
          <a:ln w="63500">
            <a:solidFill>
              <a:schemeClr val="accent1">
                <a:lumMod val="100000"/>
              </a:schemeClr>
            </a:solidFill>
            <a:miter lim="400000"/>
            <a:headEnd/>
            <a:tailEnd/>
          </a:ln>
          <a:extLst>
            <a:ext uri="{909E8E84-426E-40DD-AFC4-6F175D3DCCD1}">
              <a14:hiddenFill xmlns:a14="http://schemas.microsoft.com/office/drawing/2010/main">
                <a:noFill/>
              </a14:hiddenFill>
            </a:ext>
          </a:extLst>
        </p:spPr>
        <p:txBody>
          <a:bodyPr lIns="25400" tIns="25400" rIns="25400" bIns="254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500" b="0" i="0" u="none" strike="noStrike" kern="1200" cap="none" spc="0" normalizeH="0" baseline="0" noProof="0">
              <a:ln>
                <a:noFill/>
              </a:ln>
              <a:solidFill>
                <a:srgbClr val="000000"/>
              </a:solidFill>
              <a:effectLst/>
              <a:uLnTx/>
              <a:uFillTx/>
              <a:latin typeface="Arial"/>
              <a:cs typeface="+mn-ea"/>
              <a:sym typeface="+mn-lt"/>
            </a:endParaRPr>
          </a:p>
        </p:txBody>
      </p:sp>
      <p:sp>
        <p:nvSpPr>
          <p:cNvPr id="6" name="Shape 50">
            <a:extLst>
              <a:ext uri="{FF2B5EF4-FFF2-40B4-BE49-F238E27FC236}">
                <a16:creationId xmlns:a16="http://schemas.microsoft.com/office/drawing/2014/main" id="{7C91851E-F899-4344-A0B9-8DE1CDE137E3}"/>
              </a:ext>
            </a:extLst>
          </p:cNvPr>
          <p:cNvSpPr>
            <a:spLocks noChangeShapeType="1"/>
          </p:cNvSpPr>
          <p:nvPr/>
        </p:nvSpPr>
        <p:spPr bwMode="auto">
          <a:xfrm flipH="1" flipV="1">
            <a:off x="6794960" y="1814511"/>
            <a:ext cx="1484127" cy="1623470"/>
          </a:xfrm>
          <a:prstGeom prst="line">
            <a:avLst/>
          </a:prstGeom>
          <a:noFill/>
          <a:ln w="63500">
            <a:solidFill>
              <a:schemeClr val="accent1">
                <a:lumMod val="100000"/>
              </a:schemeClr>
            </a:solidFill>
            <a:miter lim="400000"/>
            <a:headEnd/>
            <a:tailEnd/>
          </a:ln>
          <a:extLst>
            <a:ext uri="{909E8E84-426E-40DD-AFC4-6F175D3DCCD1}">
              <a14:hiddenFill xmlns:a14="http://schemas.microsoft.com/office/drawing/2010/main">
                <a:noFill/>
              </a14:hiddenFill>
            </a:ext>
          </a:extLst>
        </p:spPr>
        <p:txBody>
          <a:bodyPr lIns="25400" tIns="25400" rIns="25400" bIns="254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500" b="0" i="0" u="none" strike="noStrike" kern="1200" cap="none" spc="0" normalizeH="0" baseline="0" noProof="0">
              <a:ln>
                <a:noFill/>
              </a:ln>
              <a:solidFill>
                <a:srgbClr val="000000"/>
              </a:solidFill>
              <a:effectLst/>
              <a:uLnTx/>
              <a:uFillTx/>
              <a:latin typeface="Arial"/>
              <a:cs typeface="+mn-ea"/>
              <a:sym typeface="+mn-lt"/>
            </a:endParaRPr>
          </a:p>
        </p:txBody>
      </p:sp>
      <p:sp>
        <p:nvSpPr>
          <p:cNvPr id="7" name="Shape 51">
            <a:extLst>
              <a:ext uri="{FF2B5EF4-FFF2-40B4-BE49-F238E27FC236}">
                <a16:creationId xmlns:a16="http://schemas.microsoft.com/office/drawing/2014/main" id="{ED8D01CC-1A89-4E9D-89B4-F12322AB9933}"/>
              </a:ext>
            </a:extLst>
          </p:cNvPr>
          <p:cNvSpPr>
            <a:spLocks noChangeShapeType="1"/>
          </p:cNvSpPr>
          <p:nvPr/>
        </p:nvSpPr>
        <p:spPr bwMode="auto">
          <a:xfrm flipV="1">
            <a:off x="5739992" y="3475900"/>
            <a:ext cx="1432102" cy="1586356"/>
          </a:xfrm>
          <a:prstGeom prst="line">
            <a:avLst/>
          </a:prstGeom>
          <a:noFill/>
          <a:ln w="63500">
            <a:solidFill>
              <a:schemeClr val="accent1">
                <a:lumMod val="100000"/>
              </a:schemeClr>
            </a:solidFill>
            <a:miter lim="400000"/>
            <a:headEnd/>
            <a:tailEnd/>
          </a:ln>
          <a:extLst>
            <a:ext uri="{909E8E84-426E-40DD-AFC4-6F175D3DCCD1}">
              <a14:hiddenFill xmlns:a14="http://schemas.microsoft.com/office/drawing/2010/main">
                <a:noFill/>
              </a14:hiddenFill>
            </a:ext>
          </a:extLst>
        </p:spPr>
        <p:txBody>
          <a:bodyPr lIns="25400" tIns="25400" rIns="25400" bIns="254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500" b="0" i="0" u="none" strike="noStrike" kern="1200" cap="none" spc="0" normalizeH="0" baseline="0" noProof="0">
              <a:ln>
                <a:noFill/>
              </a:ln>
              <a:solidFill>
                <a:srgbClr val="000000"/>
              </a:solidFill>
              <a:effectLst/>
              <a:uLnTx/>
              <a:uFillTx/>
              <a:latin typeface="Arial"/>
              <a:cs typeface="+mn-ea"/>
              <a:sym typeface="+mn-lt"/>
            </a:endParaRPr>
          </a:p>
        </p:txBody>
      </p:sp>
      <p:sp>
        <p:nvSpPr>
          <p:cNvPr id="8" name="Shape 52">
            <a:extLst>
              <a:ext uri="{FF2B5EF4-FFF2-40B4-BE49-F238E27FC236}">
                <a16:creationId xmlns:a16="http://schemas.microsoft.com/office/drawing/2014/main" id="{DE482F02-9B79-4959-91CE-BADB11D9B4E6}"/>
              </a:ext>
            </a:extLst>
          </p:cNvPr>
          <p:cNvSpPr>
            <a:spLocks noChangeArrowheads="1"/>
          </p:cNvSpPr>
          <p:nvPr/>
        </p:nvSpPr>
        <p:spPr bwMode="auto">
          <a:xfrm>
            <a:off x="4931985" y="3369051"/>
            <a:ext cx="158575" cy="158602"/>
          </a:xfrm>
          <a:prstGeom prst="ellipse">
            <a:avLst/>
          </a:prstGeom>
          <a:solidFill>
            <a:srgbClr val="FFFFFF"/>
          </a:solidFill>
          <a:ln w="63500">
            <a:solidFill>
              <a:schemeClr val="accent1">
                <a:lumMod val="100000"/>
              </a:schemeClr>
            </a:solidFill>
            <a:miter lim="400000"/>
            <a:headEnd/>
            <a:tailEnd/>
          </a:ln>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FFFFFF"/>
              </a:solidFill>
              <a:effectLst/>
              <a:uLnTx/>
              <a:uFillTx/>
              <a:latin typeface="Arial"/>
              <a:cs typeface="+mn-ea"/>
              <a:sym typeface="+mn-lt"/>
            </a:endParaRPr>
          </a:p>
        </p:txBody>
      </p:sp>
      <p:sp>
        <p:nvSpPr>
          <p:cNvPr id="9" name="Shape 53">
            <a:extLst>
              <a:ext uri="{FF2B5EF4-FFF2-40B4-BE49-F238E27FC236}">
                <a16:creationId xmlns:a16="http://schemas.microsoft.com/office/drawing/2014/main" id="{FFD3BD7C-E0FE-4F5E-9DCF-5982D180B9CF}"/>
              </a:ext>
            </a:extLst>
          </p:cNvPr>
          <p:cNvSpPr>
            <a:spLocks noChangeArrowheads="1"/>
          </p:cNvSpPr>
          <p:nvPr/>
        </p:nvSpPr>
        <p:spPr bwMode="auto">
          <a:xfrm>
            <a:off x="6043243" y="3369051"/>
            <a:ext cx="158575" cy="158602"/>
          </a:xfrm>
          <a:prstGeom prst="ellipse">
            <a:avLst/>
          </a:prstGeom>
          <a:solidFill>
            <a:srgbClr val="FFFFFF"/>
          </a:solidFill>
          <a:ln w="63500">
            <a:solidFill>
              <a:schemeClr val="accent1">
                <a:lumMod val="100000"/>
              </a:schemeClr>
            </a:solidFill>
            <a:miter lim="400000"/>
            <a:headEnd/>
            <a:tailEnd/>
          </a:ln>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FFFFFF"/>
              </a:solidFill>
              <a:effectLst/>
              <a:uLnTx/>
              <a:uFillTx/>
              <a:latin typeface="Arial"/>
              <a:cs typeface="+mn-ea"/>
              <a:sym typeface="+mn-lt"/>
            </a:endParaRPr>
          </a:p>
        </p:txBody>
      </p:sp>
      <p:sp>
        <p:nvSpPr>
          <p:cNvPr id="10" name="Shape 54">
            <a:extLst>
              <a:ext uri="{FF2B5EF4-FFF2-40B4-BE49-F238E27FC236}">
                <a16:creationId xmlns:a16="http://schemas.microsoft.com/office/drawing/2014/main" id="{81FAE74B-8F92-4A29-9E9D-ED37CC02C567}"/>
              </a:ext>
            </a:extLst>
          </p:cNvPr>
          <p:cNvSpPr>
            <a:spLocks noChangeArrowheads="1"/>
          </p:cNvSpPr>
          <p:nvPr/>
        </p:nvSpPr>
        <p:spPr bwMode="auto">
          <a:xfrm>
            <a:off x="7088974" y="3369051"/>
            <a:ext cx="158575" cy="158602"/>
          </a:xfrm>
          <a:prstGeom prst="ellipse">
            <a:avLst/>
          </a:prstGeom>
          <a:solidFill>
            <a:srgbClr val="FFFFFF"/>
          </a:solidFill>
          <a:ln w="63500">
            <a:solidFill>
              <a:schemeClr val="accent1">
                <a:lumMod val="100000"/>
              </a:schemeClr>
            </a:solidFill>
            <a:miter lim="400000"/>
            <a:headEnd/>
            <a:tailEnd/>
          </a:ln>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FFFFFF"/>
              </a:solidFill>
              <a:effectLst/>
              <a:uLnTx/>
              <a:uFillTx/>
              <a:latin typeface="Arial"/>
              <a:cs typeface="+mn-ea"/>
              <a:sym typeface="+mn-lt"/>
            </a:endParaRPr>
          </a:p>
        </p:txBody>
      </p:sp>
      <p:sp>
        <p:nvSpPr>
          <p:cNvPr id="11" name="Shape 55">
            <a:extLst>
              <a:ext uri="{FF2B5EF4-FFF2-40B4-BE49-F238E27FC236}">
                <a16:creationId xmlns:a16="http://schemas.microsoft.com/office/drawing/2014/main" id="{2352E937-8244-4D21-9F97-82DB86B45FA0}"/>
              </a:ext>
            </a:extLst>
          </p:cNvPr>
          <p:cNvSpPr>
            <a:spLocks noChangeArrowheads="1"/>
          </p:cNvSpPr>
          <p:nvPr/>
        </p:nvSpPr>
        <p:spPr bwMode="auto">
          <a:xfrm>
            <a:off x="8208255" y="3369051"/>
            <a:ext cx="158575" cy="158602"/>
          </a:xfrm>
          <a:prstGeom prst="ellipse">
            <a:avLst/>
          </a:prstGeom>
          <a:solidFill>
            <a:srgbClr val="FFFFFF"/>
          </a:solidFill>
          <a:ln w="63500">
            <a:solidFill>
              <a:schemeClr val="accent1">
                <a:lumMod val="100000"/>
              </a:schemeClr>
            </a:solidFill>
            <a:miter lim="400000"/>
            <a:headEnd/>
            <a:tailEnd/>
          </a:ln>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FFFFFF"/>
              </a:solidFill>
              <a:effectLst/>
              <a:uLnTx/>
              <a:uFillTx/>
              <a:latin typeface="Arial"/>
              <a:cs typeface="+mn-ea"/>
              <a:sym typeface="+mn-lt"/>
            </a:endParaRPr>
          </a:p>
        </p:txBody>
      </p:sp>
      <p:sp>
        <p:nvSpPr>
          <p:cNvPr id="12" name="Shape 56">
            <a:extLst>
              <a:ext uri="{FF2B5EF4-FFF2-40B4-BE49-F238E27FC236}">
                <a16:creationId xmlns:a16="http://schemas.microsoft.com/office/drawing/2014/main" id="{BE02975E-FD07-40CD-AC2E-65E0C4C1FB15}"/>
              </a:ext>
            </a:extLst>
          </p:cNvPr>
          <p:cNvSpPr>
            <a:spLocks noChangeArrowheads="1"/>
          </p:cNvSpPr>
          <p:nvPr/>
        </p:nvSpPr>
        <p:spPr bwMode="auto">
          <a:xfrm>
            <a:off x="5283431" y="2244536"/>
            <a:ext cx="1824245" cy="205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altLang="ru-RU" sz="1000" b="0" i="0" u="none" strike="noStrike" kern="1200" cap="none" spc="0" normalizeH="0" baseline="0" noProof="0">
                <a:ln>
                  <a:noFill/>
                </a:ln>
                <a:solidFill>
                  <a:schemeClr val="accent1"/>
                </a:solidFill>
                <a:effectLst/>
                <a:uLnTx/>
                <a:uFillTx/>
                <a:latin typeface="Arial"/>
                <a:cs typeface="+mn-ea"/>
                <a:sym typeface="+mn-lt"/>
              </a:rPr>
              <a:t>Fish bone text block </a:t>
            </a:r>
          </a:p>
        </p:txBody>
      </p:sp>
      <p:sp>
        <p:nvSpPr>
          <p:cNvPr id="13" name="Shape 57">
            <a:extLst>
              <a:ext uri="{FF2B5EF4-FFF2-40B4-BE49-F238E27FC236}">
                <a16:creationId xmlns:a16="http://schemas.microsoft.com/office/drawing/2014/main" id="{91C061A3-4879-4C6A-8100-823FD58387A6}"/>
              </a:ext>
            </a:extLst>
          </p:cNvPr>
          <p:cNvSpPr>
            <a:spLocks noChangeArrowheads="1"/>
          </p:cNvSpPr>
          <p:nvPr/>
        </p:nvSpPr>
        <p:spPr bwMode="auto">
          <a:xfrm>
            <a:off x="5758681" y="2759363"/>
            <a:ext cx="1824245" cy="205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altLang="ru-RU" sz="1000" b="0" i="0" u="none" strike="noStrike" kern="1200" cap="none" spc="0" normalizeH="0" baseline="0" noProof="0">
                <a:ln>
                  <a:noFill/>
                </a:ln>
                <a:solidFill>
                  <a:schemeClr val="accent1"/>
                </a:solidFill>
                <a:effectLst/>
                <a:uLnTx/>
                <a:uFillTx/>
                <a:latin typeface="Arial"/>
                <a:cs typeface="+mn-ea"/>
                <a:sym typeface="+mn-lt"/>
              </a:rPr>
              <a:t>Fish bone text block </a:t>
            </a:r>
          </a:p>
        </p:txBody>
      </p:sp>
      <p:sp>
        <p:nvSpPr>
          <p:cNvPr id="14" name="Shape 58">
            <a:extLst>
              <a:ext uri="{FF2B5EF4-FFF2-40B4-BE49-F238E27FC236}">
                <a16:creationId xmlns:a16="http://schemas.microsoft.com/office/drawing/2014/main" id="{8F24E509-FC85-47CA-B8BF-030E1FA31AEF}"/>
              </a:ext>
            </a:extLst>
          </p:cNvPr>
          <p:cNvSpPr>
            <a:spLocks noChangeArrowheads="1"/>
          </p:cNvSpPr>
          <p:nvPr/>
        </p:nvSpPr>
        <p:spPr bwMode="auto">
          <a:xfrm>
            <a:off x="7452897" y="2244536"/>
            <a:ext cx="1824245" cy="205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altLang="ru-RU" sz="1000" b="0" i="0" u="none" strike="noStrike" kern="1200" cap="none" spc="0" normalizeH="0" baseline="0" noProof="0">
                <a:ln>
                  <a:noFill/>
                </a:ln>
                <a:solidFill>
                  <a:schemeClr val="accent1"/>
                </a:solidFill>
                <a:effectLst/>
                <a:uLnTx/>
                <a:uFillTx/>
                <a:latin typeface="Arial"/>
                <a:cs typeface="+mn-ea"/>
                <a:sym typeface="+mn-lt"/>
              </a:rPr>
              <a:t>Fish bone text block </a:t>
            </a:r>
          </a:p>
        </p:txBody>
      </p:sp>
      <p:sp>
        <p:nvSpPr>
          <p:cNvPr id="15" name="Shape 59">
            <a:extLst>
              <a:ext uri="{FF2B5EF4-FFF2-40B4-BE49-F238E27FC236}">
                <a16:creationId xmlns:a16="http://schemas.microsoft.com/office/drawing/2014/main" id="{E5ABE00C-4269-414C-A89B-FAF8CFDCD974}"/>
              </a:ext>
            </a:extLst>
          </p:cNvPr>
          <p:cNvSpPr>
            <a:spLocks noChangeArrowheads="1"/>
          </p:cNvSpPr>
          <p:nvPr/>
        </p:nvSpPr>
        <p:spPr bwMode="auto">
          <a:xfrm>
            <a:off x="7928146" y="2759364"/>
            <a:ext cx="1824245" cy="205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altLang="ru-RU" sz="1000" b="0" i="0" u="none" strike="noStrike" kern="1200" cap="none" spc="0" normalizeH="0" baseline="0" noProof="0">
                <a:ln>
                  <a:noFill/>
                </a:ln>
                <a:solidFill>
                  <a:schemeClr val="accent1"/>
                </a:solidFill>
                <a:effectLst/>
                <a:uLnTx/>
                <a:uFillTx/>
                <a:latin typeface="Arial"/>
                <a:cs typeface="+mn-ea"/>
                <a:sym typeface="+mn-lt"/>
              </a:rPr>
              <a:t>Fish bone text block </a:t>
            </a:r>
          </a:p>
        </p:txBody>
      </p:sp>
      <p:sp>
        <p:nvSpPr>
          <p:cNvPr id="16" name="Shape 60">
            <a:extLst>
              <a:ext uri="{FF2B5EF4-FFF2-40B4-BE49-F238E27FC236}">
                <a16:creationId xmlns:a16="http://schemas.microsoft.com/office/drawing/2014/main" id="{202788D6-6F61-4D2F-A8A2-B3037A2F8B0A}"/>
              </a:ext>
            </a:extLst>
          </p:cNvPr>
          <p:cNvSpPr>
            <a:spLocks noChangeArrowheads="1"/>
          </p:cNvSpPr>
          <p:nvPr/>
        </p:nvSpPr>
        <p:spPr bwMode="auto">
          <a:xfrm>
            <a:off x="4680350" y="3913104"/>
            <a:ext cx="1824245" cy="205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altLang="ru-RU" sz="1000" b="0" i="0" u="none" strike="noStrike" kern="1200" cap="none" spc="0" normalizeH="0" baseline="0" noProof="0">
                <a:ln>
                  <a:noFill/>
                </a:ln>
                <a:solidFill>
                  <a:schemeClr val="accent1"/>
                </a:solidFill>
                <a:effectLst/>
                <a:uLnTx/>
                <a:uFillTx/>
                <a:latin typeface="Arial"/>
                <a:cs typeface="+mn-ea"/>
                <a:sym typeface="+mn-lt"/>
              </a:rPr>
              <a:t>Fish bone text block </a:t>
            </a:r>
          </a:p>
        </p:txBody>
      </p:sp>
      <p:sp>
        <p:nvSpPr>
          <p:cNvPr id="17" name="Shape 61">
            <a:extLst>
              <a:ext uri="{FF2B5EF4-FFF2-40B4-BE49-F238E27FC236}">
                <a16:creationId xmlns:a16="http://schemas.microsoft.com/office/drawing/2014/main" id="{C9E6D142-7685-4ECE-804C-BEB385049849}"/>
              </a:ext>
            </a:extLst>
          </p:cNvPr>
          <p:cNvSpPr>
            <a:spLocks noChangeArrowheads="1"/>
          </p:cNvSpPr>
          <p:nvPr/>
        </p:nvSpPr>
        <p:spPr bwMode="auto">
          <a:xfrm>
            <a:off x="4222142" y="4427931"/>
            <a:ext cx="1824245" cy="205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altLang="ru-RU" sz="1000" b="0" i="0" u="none" strike="noStrike" kern="1200" cap="none" spc="0" normalizeH="0" baseline="0" noProof="0">
                <a:ln>
                  <a:noFill/>
                </a:ln>
                <a:solidFill>
                  <a:schemeClr val="accent1"/>
                </a:solidFill>
                <a:effectLst/>
                <a:uLnTx/>
                <a:uFillTx/>
                <a:latin typeface="Arial"/>
                <a:cs typeface="+mn-ea"/>
                <a:sym typeface="+mn-lt"/>
              </a:rPr>
              <a:t>Fish bone text block </a:t>
            </a:r>
          </a:p>
        </p:txBody>
      </p:sp>
      <p:sp>
        <p:nvSpPr>
          <p:cNvPr id="18" name="Shape 62">
            <a:extLst>
              <a:ext uri="{FF2B5EF4-FFF2-40B4-BE49-F238E27FC236}">
                <a16:creationId xmlns:a16="http://schemas.microsoft.com/office/drawing/2014/main" id="{A238CFA7-ED03-410C-8A0C-34D0D5A2070D}"/>
              </a:ext>
            </a:extLst>
          </p:cNvPr>
          <p:cNvSpPr>
            <a:spLocks noChangeArrowheads="1"/>
          </p:cNvSpPr>
          <p:nvPr/>
        </p:nvSpPr>
        <p:spPr bwMode="auto">
          <a:xfrm>
            <a:off x="6858418" y="3913104"/>
            <a:ext cx="1824245" cy="205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altLang="ru-RU" sz="1000" b="0" i="0" u="none" strike="noStrike" kern="1200" cap="none" spc="0" normalizeH="0" baseline="0" noProof="0">
                <a:ln>
                  <a:noFill/>
                </a:ln>
                <a:solidFill>
                  <a:schemeClr val="accent1"/>
                </a:solidFill>
                <a:effectLst/>
                <a:uLnTx/>
                <a:uFillTx/>
                <a:latin typeface="Arial"/>
                <a:cs typeface="+mn-ea"/>
                <a:sym typeface="+mn-lt"/>
              </a:rPr>
              <a:t>Fish bone text block </a:t>
            </a:r>
          </a:p>
        </p:txBody>
      </p:sp>
      <p:sp>
        <p:nvSpPr>
          <p:cNvPr id="19" name="Shape 63">
            <a:extLst>
              <a:ext uri="{FF2B5EF4-FFF2-40B4-BE49-F238E27FC236}">
                <a16:creationId xmlns:a16="http://schemas.microsoft.com/office/drawing/2014/main" id="{BCBBF4F9-E52A-48DC-965E-590765315D84}"/>
              </a:ext>
            </a:extLst>
          </p:cNvPr>
          <p:cNvSpPr>
            <a:spLocks noChangeArrowheads="1"/>
          </p:cNvSpPr>
          <p:nvPr/>
        </p:nvSpPr>
        <p:spPr bwMode="auto">
          <a:xfrm>
            <a:off x="6400210" y="4427931"/>
            <a:ext cx="1824245" cy="205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altLang="ru-RU" sz="1000" b="0" i="0" u="none" strike="noStrike" kern="1200" cap="none" spc="0" normalizeH="0" baseline="0" noProof="0">
                <a:ln>
                  <a:noFill/>
                </a:ln>
                <a:solidFill>
                  <a:schemeClr val="accent1"/>
                </a:solidFill>
                <a:effectLst/>
                <a:uLnTx/>
                <a:uFillTx/>
                <a:latin typeface="Arial"/>
                <a:cs typeface="+mn-ea"/>
                <a:sym typeface="+mn-lt"/>
              </a:rPr>
              <a:t>Fish bone text block </a:t>
            </a:r>
          </a:p>
        </p:txBody>
      </p:sp>
      <p:sp>
        <p:nvSpPr>
          <p:cNvPr id="20" name="Shape 64">
            <a:extLst>
              <a:ext uri="{FF2B5EF4-FFF2-40B4-BE49-F238E27FC236}">
                <a16:creationId xmlns:a16="http://schemas.microsoft.com/office/drawing/2014/main" id="{6B95BC18-47C4-4D90-B041-81D7FE74350C}"/>
              </a:ext>
            </a:extLst>
          </p:cNvPr>
          <p:cNvSpPr>
            <a:spLocks noChangeArrowheads="1"/>
          </p:cNvSpPr>
          <p:nvPr/>
        </p:nvSpPr>
        <p:spPr bwMode="auto">
          <a:xfrm>
            <a:off x="9410256" y="3124443"/>
            <a:ext cx="635006" cy="635116"/>
          </a:xfrm>
          <a:prstGeom prst="ellipse">
            <a:avLst/>
          </a:prstGeom>
          <a:noFill/>
          <a:ln w="63500">
            <a:solidFill>
              <a:schemeClr val="accent1">
                <a:lumMod val="100000"/>
              </a:schemeClr>
            </a:solidFill>
            <a:miter lim="400000"/>
            <a:headEnd/>
            <a:tailEnd/>
          </a:ln>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FFFFFF"/>
              </a:solidFill>
              <a:effectLst/>
              <a:uLnTx/>
              <a:uFillTx/>
              <a:latin typeface="Arial"/>
              <a:cs typeface="+mn-ea"/>
              <a:sym typeface="+mn-lt"/>
            </a:endParaRPr>
          </a:p>
        </p:txBody>
      </p:sp>
      <p:sp>
        <p:nvSpPr>
          <p:cNvPr id="21" name="Shape 65">
            <a:extLst>
              <a:ext uri="{FF2B5EF4-FFF2-40B4-BE49-F238E27FC236}">
                <a16:creationId xmlns:a16="http://schemas.microsoft.com/office/drawing/2014/main" id="{C6FA00F0-8775-4A36-842E-C056BE5C417E}"/>
              </a:ext>
            </a:extLst>
          </p:cNvPr>
          <p:cNvSpPr>
            <a:spLocks noChangeShapeType="1"/>
          </p:cNvSpPr>
          <p:nvPr/>
        </p:nvSpPr>
        <p:spPr bwMode="auto">
          <a:xfrm flipH="1" flipV="1">
            <a:off x="2374392" y="1814511"/>
            <a:ext cx="1484126" cy="1623470"/>
          </a:xfrm>
          <a:prstGeom prst="line">
            <a:avLst/>
          </a:prstGeom>
          <a:noFill/>
          <a:ln w="63500">
            <a:solidFill>
              <a:schemeClr val="accent1">
                <a:lumMod val="100000"/>
              </a:schemeClr>
            </a:solidFill>
            <a:miter lim="400000"/>
            <a:headEnd/>
            <a:tailEnd/>
          </a:ln>
          <a:extLst>
            <a:ext uri="{909E8E84-426E-40DD-AFC4-6F175D3DCCD1}">
              <a14:hiddenFill xmlns:a14="http://schemas.microsoft.com/office/drawing/2010/main">
                <a:noFill/>
              </a14:hiddenFill>
            </a:ext>
          </a:extLst>
        </p:spPr>
        <p:txBody>
          <a:bodyPr lIns="25400" tIns="25400" rIns="25400" bIns="254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500" b="0" i="0" u="none" strike="noStrike" kern="1200" cap="none" spc="0" normalizeH="0" baseline="0" noProof="0">
              <a:ln>
                <a:noFill/>
              </a:ln>
              <a:solidFill>
                <a:srgbClr val="000000"/>
              </a:solidFill>
              <a:effectLst/>
              <a:uLnTx/>
              <a:uFillTx/>
              <a:latin typeface="Arial"/>
              <a:cs typeface="+mn-ea"/>
              <a:sym typeface="+mn-lt"/>
            </a:endParaRPr>
          </a:p>
        </p:txBody>
      </p:sp>
      <p:sp>
        <p:nvSpPr>
          <p:cNvPr id="22" name="Shape 66">
            <a:extLst>
              <a:ext uri="{FF2B5EF4-FFF2-40B4-BE49-F238E27FC236}">
                <a16:creationId xmlns:a16="http://schemas.microsoft.com/office/drawing/2014/main" id="{45D92D59-A38F-4CA0-8D3B-78C0D525DBE8}"/>
              </a:ext>
            </a:extLst>
          </p:cNvPr>
          <p:cNvSpPr>
            <a:spLocks noChangeArrowheads="1"/>
          </p:cNvSpPr>
          <p:nvPr/>
        </p:nvSpPr>
        <p:spPr bwMode="auto">
          <a:xfrm>
            <a:off x="3790160" y="3369051"/>
            <a:ext cx="158575" cy="158602"/>
          </a:xfrm>
          <a:prstGeom prst="ellipse">
            <a:avLst/>
          </a:prstGeom>
          <a:solidFill>
            <a:srgbClr val="FFFFFF"/>
          </a:solidFill>
          <a:ln w="63500">
            <a:solidFill>
              <a:schemeClr val="accent1">
                <a:lumMod val="100000"/>
              </a:schemeClr>
            </a:solidFill>
            <a:miter lim="400000"/>
            <a:headEnd/>
            <a:tailEnd/>
          </a:ln>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FFFFFF"/>
              </a:solidFill>
              <a:effectLst/>
              <a:uLnTx/>
              <a:uFillTx/>
              <a:latin typeface="Arial"/>
              <a:cs typeface="+mn-ea"/>
              <a:sym typeface="+mn-lt"/>
            </a:endParaRPr>
          </a:p>
        </p:txBody>
      </p:sp>
      <p:sp>
        <p:nvSpPr>
          <p:cNvPr id="23" name="Shape 67">
            <a:extLst>
              <a:ext uri="{FF2B5EF4-FFF2-40B4-BE49-F238E27FC236}">
                <a16:creationId xmlns:a16="http://schemas.microsoft.com/office/drawing/2014/main" id="{06BD592D-8767-411F-B72C-1C20CB183DD4}"/>
              </a:ext>
            </a:extLst>
          </p:cNvPr>
          <p:cNvSpPr>
            <a:spLocks noChangeArrowheads="1"/>
          </p:cNvSpPr>
          <p:nvPr/>
        </p:nvSpPr>
        <p:spPr bwMode="auto">
          <a:xfrm>
            <a:off x="3030347" y="2244536"/>
            <a:ext cx="1824245" cy="205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altLang="ru-RU" sz="1000" b="0" i="0" u="none" strike="noStrike" kern="1200" cap="none" spc="0" normalizeH="0" baseline="0" noProof="0">
                <a:ln>
                  <a:noFill/>
                </a:ln>
                <a:solidFill>
                  <a:schemeClr val="accent1"/>
                </a:solidFill>
                <a:effectLst/>
                <a:uLnTx/>
                <a:uFillTx/>
                <a:latin typeface="Arial"/>
                <a:cs typeface="+mn-ea"/>
                <a:sym typeface="+mn-lt"/>
              </a:rPr>
              <a:t>Fish bone text block </a:t>
            </a:r>
          </a:p>
        </p:txBody>
      </p:sp>
      <p:sp>
        <p:nvSpPr>
          <p:cNvPr id="24" name="Shape 68">
            <a:extLst>
              <a:ext uri="{FF2B5EF4-FFF2-40B4-BE49-F238E27FC236}">
                <a16:creationId xmlns:a16="http://schemas.microsoft.com/office/drawing/2014/main" id="{166C89D6-3B1A-4B69-84A5-FD7671176841}"/>
              </a:ext>
            </a:extLst>
          </p:cNvPr>
          <p:cNvSpPr>
            <a:spLocks noChangeArrowheads="1"/>
          </p:cNvSpPr>
          <p:nvPr/>
        </p:nvSpPr>
        <p:spPr bwMode="auto">
          <a:xfrm>
            <a:off x="3505596" y="2759364"/>
            <a:ext cx="1824245" cy="205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altLang="ru-RU" sz="1000" b="0" i="0" u="none" strike="noStrike" kern="1200" cap="none" spc="0" normalizeH="0" baseline="0" noProof="0">
                <a:ln>
                  <a:noFill/>
                </a:ln>
                <a:solidFill>
                  <a:schemeClr val="accent1"/>
                </a:solidFill>
                <a:effectLst/>
                <a:uLnTx/>
                <a:uFillTx/>
                <a:latin typeface="Arial"/>
                <a:cs typeface="+mn-ea"/>
                <a:sym typeface="+mn-lt"/>
              </a:rPr>
              <a:t>Fish bone text block </a:t>
            </a:r>
          </a:p>
        </p:txBody>
      </p:sp>
      <p:sp>
        <p:nvSpPr>
          <p:cNvPr id="25" name="Shape 69">
            <a:extLst>
              <a:ext uri="{FF2B5EF4-FFF2-40B4-BE49-F238E27FC236}">
                <a16:creationId xmlns:a16="http://schemas.microsoft.com/office/drawing/2014/main" id="{C33033EA-7A6F-4855-8800-74FA9DC52025}"/>
              </a:ext>
            </a:extLst>
          </p:cNvPr>
          <p:cNvSpPr>
            <a:spLocks/>
          </p:cNvSpPr>
          <p:nvPr/>
        </p:nvSpPr>
        <p:spPr bwMode="auto">
          <a:xfrm>
            <a:off x="9588170" y="3290209"/>
            <a:ext cx="291878" cy="294493"/>
          </a:xfrm>
          <a:custGeom>
            <a:avLst/>
            <a:gdLst>
              <a:gd name="T0" fmla="*/ 213179866 w 21600"/>
              <a:gd name="T1" fmla="*/ 218847420 h 21600"/>
              <a:gd name="T2" fmla="*/ 213179866 w 21600"/>
              <a:gd name="T3" fmla="*/ 218847420 h 21600"/>
              <a:gd name="T4" fmla="*/ 213179866 w 21600"/>
              <a:gd name="T5" fmla="*/ 218847420 h 21600"/>
              <a:gd name="T6" fmla="*/ 213179866 w 21600"/>
              <a:gd name="T7" fmla="*/ 218847420 h 21600"/>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21600" h="21600" extrusionOk="0">
                <a:moveTo>
                  <a:pt x="21600" y="4286"/>
                </a:moveTo>
                <a:lnTo>
                  <a:pt x="16675" y="0"/>
                </a:lnTo>
                <a:lnTo>
                  <a:pt x="15206" y="1629"/>
                </a:lnTo>
                <a:lnTo>
                  <a:pt x="20174" y="5700"/>
                </a:lnTo>
                <a:lnTo>
                  <a:pt x="21600" y="4286"/>
                </a:lnTo>
                <a:close/>
                <a:moveTo>
                  <a:pt x="6394" y="1629"/>
                </a:moveTo>
                <a:lnTo>
                  <a:pt x="4925" y="214"/>
                </a:lnTo>
                <a:lnTo>
                  <a:pt x="0" y="4286"/>
                </a:lnTo>
                <a:lnTo>
                  <a:pt x="1469" y="5700"/>
                </a:lnTo>
                <a:lnTo>
                  <a:pt x="6394" y="1629"/>
                </a:lnTo>
                <a:close/>
                <a:moveTo>
                  <a:pt x="11318" y="6729"/>
                </a:moveTo>
                <a:lnTo>
                  <a:pt x="9677" y="6729"/>
                </a:lnTo>
                <a:lnTo>
                  <a:pt x="9677" y="13071"/>
                </a:lnTo>
                <a:lnTo>
                  <a:pt x="14818" y="16114"/>
                </a:lnTo>
                <a:lnTo>
                  <a:pt x="15638" y="14871"/>
                </a:lnTo>
                <a:lnTo>
                  <a:pt x="11318" y="12257"/>
                </a:lnTo>
                <a:lnTo>
                  <a:pt x="11318" y="6729"/>
                </a:lnTo>
                <a:close/>
                <a:moveTo>
                  <a:pt x="10714" y="2443"/>
                </a:moveTo>
                <a:cubicBezTo>
                  <a:pt x="5357" y="2443"/>
                  <a:pt x="1037" y="6729"/>
                  <a:pt x="1037" y="12043"/>
                </a:cubicBezTo>
                <a:cubicBezTo>
                  <a:pt x="1037" y="17357"/>
                  <a:pt x="5270" y="21600"/>
                  <a:pt x="10714" y="21600"/>
                </a:cubicBezTo>
                <a:cubicBezTo>
                  <a:pt x="16157" y="21600"/>
                  <a:pt x="20347" y="17357"/>
                  <a:pt x="20347" y="12043"/>
                </a:cubicBezTo>
                <a:cubicBezTo>
                  <a:pt x="20347" y="6729"/>
                  <a:pt x="16243" y="2443"/>
                  <a:pt x="10714" y="2443"/>
                </a:cubicBezTo>
                <a:close/>
                <a:moveTo>
                  <a:pt x="10714" y="19371"/>
                </a:moveTo>
                <a:cubicBezTo>
                  <a:pt x="6610" y="19371"/>
                  <a:pt x="3283" y="16200"/>
                  <a:pt x="3283" y="12043"/>
                </a:cubicBezTo>
                <a:cubicBezTo>
                  <a:pt x="3283" y="7843"/>
                  <a:pt x="6480" y="4500"/>
                  <a:pt x="10714" y="4500"/>
                </a:cubicBezTo>
                <a:cubicBezTo>
                  <a:pt x="14904" y="4500"/>
                  <a:pt x="18317" y="7843"/>
                  <a:pt x="18317" y="12043"/>
                </a:cubicBezTo>
                <a:cubicBezTo>
                  <a:pt x="18317" y="16200"/>
                  <a:pt x="15034" y="19371"/>
                  <a:pt x="10714" y="19371"/>
                </a:cubicBezTo>
                <a:close/>
              </a:path>
            </a:pathLst>
          </a:custGeom>
          <a:solidFill>
            <a:schemeClr val="accent1">
              <a:lumMod val="100000"/>
            </a:schemeClr>
          </a:solidFill>
          <a:ln>
            <a:noFill/>
          </a:ln>
        </p:spPr>
        <p:txBody>
          <a:bodyPr lIns="22860" tIns="22860" rIns="22860" bIns="2286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500" b="0" i="0" u="none" strike="noStrike" kern="1200" cap="none" spc="0" normalizeH="0" baseline="0" noProof="0">
              <a:ln>
                <a:noFill/>
              </a:ln>
              <a:solidFill>
                <a:srgbClr val="000000"/>
              </a:solidFill>
              <a:effectLst/>
              <a:uLnTx/>
              <a:uFillTx/>
              <a:latin typeface="Arial"/>
              <a:cs typeface="+mn-ea"/>
              <a:sym typeface="+mn-lt"/>
            </a:endParaRPr>
          </a:p>
        </p:txBody>
      </p:sp>
      <p:sp>
        <p:nvSpPr>
          <p:cNvPr id="26" name="Shape 70">
            <a:extLst>
              <a:ext uri="{FF2B5EF4-FFF2-40B4-BE49-F238E27FC236}">
                <a16:creationId xmlns:a16="http://schemas.microsoft.com/office/drawing/2014/main" id="{EC34C32A-5860-47DF-BBF6-EA952C4C9394}"/>
              </a:ext>
            </a:extLst>
          </p:cNvPr>
          <p:cNvSpPr>
            <a:spLocks noChangeArrowheads="1"/>
          </p:cNvSpPr>
          <p:nvPr/>
        </p:nvSpPr>
        <p:spPr bwMode="auto">
          <a:xfrm>
            <a:off x="10219531" y="3206625"/>
            <a:ext cx="1267619" cy="4360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2500" b="1" cap="all">
                <a:solidFill>
                  <a:srgbClr val="344245"/>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sz="1250" b="1" i="0" u="none" strike="noStrike" kern="0" cap="all" spc="0" normalizeH="0" baseline="0" noProof="0" dirty="0">
                <a:ln>
                  <a:noFill/>
                </a:ln>
                <a:solidFill>
                  <a:schemeClr val="accent1"/>
                </a:solidFill>
                <a:effectLst/>
                <a:uLnTx/>
                <a:uFillTx/>
                <a:latin typeface="Arial"/>
                <a:cs typeface="+mn-ea"/>
                <a:sym typeface="+mn-lt"/>
              </a:rPr>
              <a:t>process efficiency</a:t>
            </a:r>
          </a:p>
        </p:txBody>
      </p:sp>
      <p:sp>
        <p:nvSpPr>
          <p:cNvPr id="27" name="Shape 71">
            <a:extLst>
              <a:ext uri="{FF2B5EF4-FFF2-40B4-BE49-F238E27FC236}">
                <a16:creationId xmlns:a16="http://schemas.microsoft.com/office/drawing/2014/main" id="{B5E3E677-6824-4EC3-9C49-5D8F92C6D4CB}"/>
              </a:ext>
            </a:extLst>
          </p:cNvPr>
          <p:cNvSpPr>
            <a:spLocks noChangeArrowheads="1"/>
          </p:cNvSpPr>
          <p:nvPr/>
        </p:nvSpPr>
        <p:spPr bwMode="auto">
          <a:xfrm>
            <a:off x="3258071" y="5006896"/>
            <a:ext cx="431804" cy="431879"/>
          </a:xfrm>
          <a:prstGeom prst="ellipse">
            <a:avLst/>
          </a:prstGeom>
          <a:solidFill>
            <a:schemeClr val="accent1">
              <a:lumMod val="100000"/>
            </a:schemeClr>
          </a:solidFill>
          <a:ln w="63500">
            <a:solidFill>
              <a:schemeClr val="accent1">
                <a:lumMod val="100000"/>
              </a:schemeClr>
            </a:solidFill>
            <a:miter lim="400000"/>
            <a:headEnd/>
            <a:tailEnd/>
          </a:ln>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FFFFFF"/>
              </a:solidFill>
              <a:effectLst/>
              <a:uLnTx/>
              <a:uFillTx/>
              <a:latin typeface="Arial"/>
              <a:cs typeface="+mn-ea"/>
              <a:sym typeface="+mn-lt"/>
            </a:endParaRPr>
          </a:p>
        </p:txBody>
      </p:sp>
      <p:sp>
        <p:nvSpPr>
          <p:cNvPr id="28" name="Shape 72">
            <a:extLst>
              <a:ext uri="{FF2B5EF4-FFF2-40B4-BE49-F238E27FC236}">
                <a16:creationId xmlns:a16="http://schemas.microsoft.com/office/drawing/2014/main" id="{1D05FF20-FF66-4B2C-9FD5-3F8325B1D440}"/>
              </a:ext>
            </a:extLst>
          </p:cNvPr>
          <p:cNvSpPr>
            <a:spLocks noChangeArrowheads="1"/>
          </p:cNvSpPr>
          <p:nvPr/>
        </p:nvSpPr>
        <p:spPr bwMode="auto">
          <a:xfrm>
            <a:off x="3292474" y="5094697"/>
            <a:ext cx="362744" cy="2436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lgn="ctr">
              <a:defRPr sz="2500" cap="all">
                <a:solidFill>
                  <a:srgbClr val="FFFFFF"/>
                </a:solidFill>
                <a:latin typeface="Open Sans Semibold"/>
                <a:ea typeface="Open Sans Semibold"/>
                <a:cs typeface="Open Sans Semibold"/>
                <a:sym typeface="Open Sans Semibold"/>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sz="1250" b="1" i="0" u="none" strike="noStrike" kern="0" cap="all" spc="0" normalizeH="0" baseline="0" noProof="0">
                <a:ln>
                  <a:noFill/>
                </a:ln>
                <a:solidFill>
                  <a:srgbClr val="FFFFFF"/>
                </a:solidFill>
                <a:effectLst/>
                <a:uLnTx/>
                <a:uFillTx/>
                <a:latin typeface="Arial"/>
                <a:ea typeface="+mn-ea"/>
                <a:cs typeface="+mn-ea"/>
                <a:sym typeface="+mn-lt"/>
              </a:rPr>
              <a:t>2</a:t>
            </a:r>
          </a:p>
        </p:txBody>
      </p:sp>
      <p:sp>
        <p:nvSpPr>
          <p:cNvPr id="29" name="Shape 73">
            <a:extLst>
              <a:ext uri="{FF2B5EF4-FFF2-40B4-BE49-F238E27FC236}">
                <a16:creationId xmlns:a16="http://schemas.microsoft.com/office/drawing/2014/main" id="{9C5E6390-D2BA-4476-95FA-766937FBD926}"/>
              </a:ext>
            </a:extLst>
          </p:cNvPr>
          <p:cNvSpPr>
            <a:spLocks noChangeArrowheads="1"/>
          </p:cNvSpPr>
          <p:nvPr/>
        </p:nvSpPr>
        <p:spPr bwMode="auto">
          <a:xfrm>
            <a:off x="1878806" y="5108191"/>
            <a:ext cx="1267619" cy="2436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lgn="r">
              <a:defRPr sz="2500" b="1" cap="all">
                <a:solidFill>
                  <a:srgbClr val="344245"/>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sz="1250" b="1" i="0" u="none" strike="noStrike" kern="0" cap="all" spc="0" normalizeH="0" baseline="0" noProof="0">
                <a:ln>
                  <a:noFill/>
                </a:ln>
                <a:solidFill>
                  <a:schemeClr val="accent1"/>
                </a:solidFill>
                <a:effectLst/>
                <a:uLnTx/>
                <a:uFillTx/>
                <a:latin typeface="Arial"/>
                <a:cs typeface="+mn-ea"/>
                <a:sym typeface="+mn-lt"/>
              </a:rPr>
              <a:t>Text inform</a:t>
            </a:r>
          </a:p>
        </p:txBody>
      </p:sp>
      <p:sp>
        <p:nvSpPr>
          <p:cNvPr id="30" name="Shape 74">
            <a:extLst>
              <a:ext uri="{FF2B5EF4-FFF2-40B4-BE49-F238E27FC236}">
                <a16:creationId xmlns:a16="http://schemas.microsoft.com/office/drawing/2014/main" id="{F5EF868C-011E-4FE5-BDBE-16C291B30FD3}"/>
              </a:ext>
            </a:extLst>
          </p:cNvPr>
          <p:cNvSpPr>
            <a:spLocks noChangeArrowheads="1"/>
          </p:cNvSpPr>
          <p:nvPr/>
        </p:nvSpPr>
        <p:spPr bwMode="auto">
          <a:xfrm>
            <a:off x="5453235" y="5006896"/>
            <a:ext cx="431804" cy="431879"/>
          </a:xfrm>
          <a:prstGeom prst="ellipse">
            <a:avLst/>
          </a:prstGeom>
          <a:solidFill>
            <a:schemeClr val="accent1">
              <a:lumMod val="100000"/>
            </a:schemeClr>
          </a:solidFill>
          <a:ln w="63500">
            <a:solidFill>
              <a:schemeClr val="accent1">
                <a:lumMod val="100000"/>
              </a:schemeClr>
            </a:solidFill>
            <a:miter lim="400000"/>
            <a:headEnd/>
            <a:tailEnd/>
          </a:ln>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FFFFFF"/>
              </a:solidFill>
              <a:effectLst/>
              <a:uLnTx/>
              <a:uFillTx/>
              <a:latin typeface="Arial"/>
              <a:cs typeface="+mn-ea"/>
              <a:sym typeface="+mn-lt"/>
            </a:endParaRPr>
          </a:p>
        </p:txBody>
      </p:sp>
      <p:sp>
        <p:nvSpPr>
          <p:cNvPr id="31" name="Shape 75">
            <a:extLst>
              <a:ext uri="{FF2B5EF4-FFF2-40B4-BE49-F238E27FC236}">
                <a16:creationId xmlns:a16="http://schemas.microsoft.com/office/drawing/2014/main" id="{D0BFE9EA-9FA5-4798-BBD3-A2DA531BA120}"/>
              </a:ext>
            </a:extLst>
          </p:cNvPr>
          <p:cNvSpPr>
            <a:spLocks noChangeArrowheads="1"/>
          </p:cNvSpPr>
          <p:nvPr/>
        </p:nvSpPr>
        <p:spPr bwMode="auto">
          <a:xfrm>
            <a:off x="5487987" y="5094697"/>
            <a:ext cx="362744" cy="2436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lgn="ctr">
              <a:defRPr sz="2500" cap="all">
                <a:solidFill>
                  <a:srgbClr val="FFFFFF"/>
                </a:solidFill>
                <a:latin typeface="Open Sans Semibold"/>
                <a:ea typeface="Open Sans Semibold"/>
                <a:cs typeface="Open Sans Semibold"/>
                <a:sym typeface="Open Sans Semibold"/>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sz="1250" b="1" i="0" u="none" strike="noStrike" kern="0" cap="all" spc="0" normalizeH="0" baseline="0" noProof="0">
                <a:ln>
                  <a:noFill/>
                </a:ln>
                <a:solidFill>
                  <a:srgbClr val="FFFFFF"/>
                </a:solidFill>
                <a:effectLst/>
                <a:uLnTx/>
                <a:uFillTx/>
                <a:latin typeface="Arial"/>
                <a:ea typeface="+mn-ea"/>
                <a:cs typeface="+mn-ea"/>
                <a:sym typeface="+mn-lt"/>
              </a:rPr>
              <a:t>4</a:t>
            </a:r>
          </a:p>
        </p:txBody>
      </p:sp>
      <p:sp>
        <p:nvSpPr>
          <p:cNvPr id="32" name="Shape 76">
            <a:extLst>
              <a:ext uri="{FF2B5EF4-FFF2-40B4-BE49-F238E27FC236}">
                <a16:creationId xmlns:a16="http://schemas.microsoft.com/office/drawing/2014/main" id="{262A8AC7-47A7-4FD2-A635-C44E265AE299}"/>
              </a:ext>
            </a:extLst>
          </p:cNvPr>
          <p:cNvSpPr>
            <a:spLocks noChangeArrowheads="1"/>
          </p:cNvSpPr>
          <p:nvPr/>
        </p:nvSpPr>
        <p:spPr bwMode="auto">
          <a:xfrm>
            <a:off x="4074318" y="5108191"/>
            <a:ext cx="1267619" cy="2436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lgn="r">
              <a:defRPr sz="2500" b="1" cap="all">
                <a:solidFill>
                  <a:srgbClr val="344245"/>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sz="1250" b="1" i="0" u="none" strike="noStrike" kern="0" cap="all" spc="0" normalizeH="0" baseline="0" noProof="0">
                <a:ln>
                  <a:noFill/>
                </a:ln>
                <a:solidFill>
                  <a:schemeClr val="accent1"/>
                </a:solidFill>
                <a:effectLst/>
                <a:uLnTx/>
                <a:uFillTx/>
                <a:latin typeface="Arial"/>
                <a:cs typeface="+mn-ea"/>
                <a:sym typeface="+mn-lt"/>
              </a:rPr>
              <a:t>Text inform</a:t>
            </a:r>
          </a:p>
        </p:txBody>
      </p:sp>
      <p:sp>
        <p:nvSpPr>
          <p:cNvPr id="33" name="Shape 77">
            <a:extLst>
              <a:ext uri="{FF2B5EF4-FFF2-40B4-BE49-F238E27FC236}">
                <a16:creationId xmlns:a16="http://schemas.microsoft.com/office/drawing/2014/main" id="{4AD78462-9135-4CFD-9A39-0F3475EA04B0}"/>
              </a:ext>
            </a:extLst>
          </p:cNvPr>
          <p:cNvSpPr>
            <a:spLocks noChangeArrowheads="1"/>
          </p:cNvSpPr>
          <p:nvPr/>
        </p:nvSpPr>
        <p:spPr bwMode="auto">
          <a:xfrm>
            <a:off x="4285802" y="1419224"/>
            <a:ext cx="431804" cy="431879"/>
          </a:xfrm>
          <a:prstGeom prst="ellipse">
            <a:avLst/>
          </a:prstGeom>
          <a:solidFill>
            <a:schemeClr val="accent1">
              <a:lumMod val="100000"/>
            </a:schemeClr>
          </a:solidFill>
          <a:ln w="63500">
            <a:solidFill>
              <a:schemeClr val="accent1">
                <a:lumMod val="100000"/>
              </a:schemeClr>
            </a:solidFill>
            <a:miter lim="400000"/>
            <a:headEnd/>
            <a:tailEnd/>
          </a:ln>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FFFFFF"/>
              </a:solidFill>
              <a:effectLst/>
              <a:uLnTx/>
              <a:uFillTx/>
              <a:latin typeface="Arial"/>
              <a:cs typeface="+mn-ea"/>
              <a:sym typeface="+mn-lt"/>
            </a:endParaRPr>
          </a:p>
        </p:txBody>
      </p:sp>
      <p:sp>
        <p:nvSpPr>
          <p:cNvPr id="34" name="Shape 78">
            <a:extLst>
              <a:ext uri="{FF2B5EF4-FFF2-40B4-BE49-F238E27FC236}">
                <a16:creationId xmlns:a16="http://schemas.microsoft.com/office/drawing/2014/main" id="{DAC70D4B-A0C2-4B02-981C-18D71DC4E338}"/>
              </a:ext>
            </a:extLst>
          </p:cNvPr>
          <p:cNvSpPr>
            <a:spLocks noChangeArrowheads="1"/>
          </p:cNvSpPr>
          <p:nvPr/>
        </p:nvSpPr>
        <p:spPr bwMode="auto">
          <a:xfrm>
            <a:off x="4320381" y="1506947"/>
            <a:ext cx="362744" cy="2436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lgn="ctr">
              <a:defRPr sz="2500" cap="all">
                <a:solidFill>
                  <a:srgbClr val="FFFFFF"/>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sz="1250" b="1" i="0" u="none" strike="noStrike" kern="0" cap="all" spc="0" normalizeH="0" baseline="0" noProof="0">
                <a:ln>
                  <a:noFill/>
                </a:ln>
                <a:solidFill>
                  <a:srgbClr val="FFFFFF"/>
                </a:solidFill>
                <a:effectLst/>
                <a:uLnTx/>
                <a:uFillTx/>
                <a:latin typeface="Arial"/>
                <a:cs typeface="+mn-ea"/>
                <a:sym typeface="+mn-lt"/>
              </a:rPr>
              <a:t>3</a:t>
            </a:r>
          </a:p>
        </p:txBody>
      </p:sp>
      <p:sp>
        <p:nvSpPr>
          <p:cNvPr id="35" name="Shape 79">
            <a:extLst>
              <a:ext uri="{FF2B5EF4-FFF2-40B4-BE49-F238E27FC236}">
                <a16:creationId xmlns:a16="http://schemas.microsoft.com/office/drawing/2014/main" id="{A1DF6D94-26AD-4A49-A2CC-067FFFFBCB43}"/>
              </a:ext>
            </a:extLst>
          </p:cNvPr>
          <p:cNvSpPr>
            <a:spLocks noChangeArrowheads="1"/>
          </p:cNvSpPr>
          <p:nvPr/>
        </p:nvSpPr>
        <p:spPr bwMode="auto">
          <a:xfrm>
            <a:off x="2906712" y="1520441"/>
            <a:ext cx="1267619" cy="2436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lgn="r">
              <a:defRPr sz="2500" b="1" cap="all">
                <a:solidFill>
                  <a:srgbClr val="344245"/>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sz="1250" b="1" i="0" u="none" strike="noStrike" kern="0" cap="all" spc="0" normalizeH="0" baseline="0" noProof="0">
                <a:ln>
                  <a:noFill/>
                </a:ln>
                <a:solidFill>
                  <a:schemeClr val="accent1"/>
                </a:solidFill>
                <a:effectLst/>
                <a:uLnTx/>
                <a:uFillTx/>
                <a:latin typeface="Arial"/>
                <a:cs typeface="+mn-ea"/>
                <a:sym typeface="+mn-lt"/>
              </a:rPr>
              <a:t>Text inform</a:t>
            </a:r>
          </a:p>
        </p:txBody>
      </p:sp>
      <p:sp>
        <p:nvSpPr>
          <p:cNvPr id="36" name="Shape 80">
            <a:extLst>
              <a:ext uri="{FF2B5EF4-FFF2-40B4-BE49-F238E27FC236}">
                <a16:creationId xmlns:a16="http://schemas.microsoft.com/office/drawing/2014/main" id="{B1D9884E-8C15-437E-A011-7AB9558AA9D8}"/>
              </a:ext>
            </a:extLst>
          </p:cNvPr>
          <p:cNvSpPr>
            <a:spLocks noChangeArrowheads="1"/>
          </p:cNvSpPr>
          <p:nvPr/>
        </p:nvSpPr>
        <p:spPr bwMode="auto">
          <a:xfrm>
            <a:off x="6480966" y="1419224"/>
            <a:ext cx="431804" cy="431879"/>
          </a:xfrm>
          <a:prstGeom prst="ellipse">
            <a:avLst/>
          </a:prstGeom>
          <a:solidFill>
            <a:schemeClr val="accent1">
              <a:lumMod val="100000"/>
            </a:schemeClr>
          </a:solidFill>
          <a:ln w="63500">
            <a:solidFill>
              <a:schemeClr val="accent1">
                <a:lumMod val="100000"/>
              </a:schemeClr>
            </a:solidFill>
            <a:miter lim="400000"/>
            <a:headEnd/>
            <a:tailEnd/>
          </a:ln>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FFFFFF"/>
              </a:solidFill>
              <a:effectLst/>
              <a:uLnTx/>
              <a:uFillTx/>
              <a:latin typeface="Arial"/>
              <a:cs typeface="+mn-ea"/>
              <a:sym typeface="+mn-lt"/>
            </a:endParaRPr>
          </a:p>
        </p:txBody>
      </p:sp>
      <p:sp>
        <p:nvSpPr>
          <p:cNvPr id="37" name="Shape 81">
            <a:extLst>
              <a:ext uri="{FF2B5EF4-FFF2-40B4-BE49-F238E27FC236}">
                <a16:creationId xmlns:a16="http://schemas.microsoft.com/office/drawing/2014/main" id="{04BAF30E-68EA-45F3-93BF-63B39D2D1D8C}"/>
              </a:ext>
            </a:extLst>
          </p:cNvPr>
          <p:cNvSpPr>
            <a:spLocks noChangeArrowheads="1"/>
          </p:cNvSpPr>
          <p:nvPr/>
        </p:nvSpPr>
        <p:spPr bwMode="auto">
          <a:xfrm>
            <a:off x="6522243" y="1513297"/>
            <a:ext cx="361950" cy="2436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lgn="ctr">
              <a:defRPr sz="2500" cap="all">
                <a:solidFill>
                  <a:srgbClr val="FFFFFF"/>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sz="1250" b="1" i="0" u="none" strike="noStrike" kern="0" cap="all" spc="0" normalizeH="0" baseline="0" noProof="0" dirty="0">
                <a:ln>
                  <a:noFill/>
                </a:ln>
                <a:solidFill>
                  <a:srgbClr val="FFFFFF"/>
                </a:solidFill>
                <a:effectLst/>
                <a:uLnTx/>
                <a:uFillTx/>
                <a:latin typeface="Arial"/>
                <a:cs typeface="+mn-ea"/>
                <a:sym typeface="+mn-lt"/>
              </a:rPr>
              <a:t>5</a:t>
            </a:r>
          </a:p>
        </p:txBody>
      </p:sp>
      <p:sp>
        <p:nvSpPr>
          <p:cNvPr id="38" name="Shape 82">
            <a:extLst>
              <a:ext uri="{FF2B5EF4-FFF2-40B4-BE49-F238E27FC236}">
                <a16:creationId xmlns:a16="http://schemas.microsoft.com/office/drawing/2014/main" id="{6A0590FB-9BFD-43A1-88C7-E0049A9B7B30}"/>
              </a:ext>
            </a:extLst>
          </p:cNvPr>
          <p:cNvSpPr>
            <a:spLocks noChangeArrowheads="1"/>
          </p:cNvSpPr>
          <p:nvPr/>
        </p:nvSpPr>
        <p:spPr bwMode="auto">
          <a:xfrm>
            <a:off x="5101431" y="1520441"/>
            <a:ext cx="1268413" cy="2436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lgn="r">
              <a:defRPr sz="2500" b="1" cap="all">
                <a:solidFill>
                  <a:srgbClr val="344245"/>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sz="1250" b="1" i="0" u="none" strike="noStrike" kern="0" cap="all" spc="0" normalizeH="0" baseline="0" noProof="0" dirty="0">
                <a:ln>
                  <a:noFill/>
                </a:ln>
                <a:solidFill>
                  <a:schemeClr val="accent1"/>
                </a:solidFill>
                <a:effectLst/>
                <a:uLnTx/>
                <a:uFillTx/>
                <a:latin typeface="Arial"/>
                <a:cs typeface="+mn-ea"/>
                <a:sym typeface="+mn-lt"/>
              </a:rPr>
              <a:t>Text inform</a:t>
            </a:r>
          </a:p>
        </p:txBody>
      </p:sp>
      <p:sp>
        <p:nvSpPr>
          <p:cNvPr id="39" name="Shape 83">
            <a:extLst>
              <a:ext uri="{FF2B5EF4-FFF2-40B4-BE49-F238E27FC236}">
                <a16:creationId xmlns:a16="http://schemas.microsoft.com/office/drawing/2014/main" id="{E080524B-9D44-47F0-9FCE-ABFEA247F2EA}"/>
              </a:ext>
            </a:extLst>
          </p:cNvPr>
          <p:cNvSpPr>
            <a:spLocks noChangeArrowheads="1"/>
          </p:cNvSpPr>
          <p:nvPr/>
        </p:nvSpPr>
        <p:spPr bwMode="auto">
          <a:xfrm>
            <a:off x="2084079" y="1419224"/>
            <a:ext cx="431804" cy="431879"/>
          </a:xfrm>
          <a:prstGeom prst="ellipse">
            <a:avLst/>
          </a:prstGeom>
          <a:solidFill>
            <a:schemeClr val="accent1">
              <a:lumMod val="100000"/>
            </a:schemeClr>
          </a:solidFill>
          <a:ln w="63500">
            <a:solidFill>
              <a:schemeClr val="accent1">
                <a:lumMod val="100000"/>
              </a:schemeClr>
            </a:solidFill>
            <a:miter lim="400000"/>
            <a:headEnd/>
            <a:tailEnd/>
          </a:ln>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FFFFFF"/>
              </a:solidFill>
              <a:effectLst/>
              <a:uLnTx/>
              <a:uFillTx/>
              <a:latin typeface="Arial"/>
              <a:cs typeface="+mn-ea"/>
              <a:sym typeface="+mn-lt"/>
            </a:endParaRPr>
          </a:p>
        </p:txBody>
      </p:sp>
      <p:sp>
        <p:nvSpPr>
          <p:cNvPr id="40" name="Shape 84">
            <a:extLst>
              <a:ext uri="{FF2B5EF4-FFF2-40B4-BE49-F238E27FC236}">
                <a16:creationId xmlns:a16="http://schemas.microsoft.com/office/drawing/2014/main" id="{E2CA2E96-EDFA-4843-85BF-A2ED82C4E958}"/>
              </a:ext>
            </a:extLst>
          </p:cNvPr>
          <p:cNvSpPr>
            <a:spLocks noChangeArrowheads="1"/>
          </p:cNvSpPr>
          <p:nvPr/>
        </p:nvSpPr>
        <p:spPr bwMode="auto">
          <a:xfrm>
            <a:off x="2118518" y="1506947"/>
            <a:ext cx="362744" cy="2436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lgn="ctr">
              <a:defRPr sz="2500" cap="all">
                <a:solidFill>
                  <a:srgbClr val="FFFFFF"/>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sz="1250" b="1" i="0" u="none" strike="noStrike" kern="0" cap="all" spc="0" normalizeH="0" baseline="0" noProof="0">
                <a:ln>
                  <a:noFill/>
                </a:ln>
                <a:solidFill>
                  <a:srgbClr val="FFFFFF"/>
                </a:solidFill>
                <a:effectLst/>
                <a:uLnTx/>
                <a:uFillTx/>
                <a:latin typeface="Arial"/>
                <a:cs typeface="+mn-ea"/>
                <a:sym typeface="+mn-lt"/>
              </a:rPr>
              <a:t>1</a:t>
            </a:r>
          </a:p>
        </p:txBody>
      </p:sp>
      <p:sp>
        <p:nvSpPr>
          <p:cNvPr id="41" name="Shape 85">
            <a:extLst>
              <a:ext uri="{FF2B5EF4-FFF2-40B4-BE49-F238E27FC236}">
                <a16:creationId xmlns:a16="http://schemas.microsoft.com/office/drawing/2014/main" id="{B815A388-4927-4BD9-AA58-D595AD930AED}"/>
              </a:ext>
            </a:extLst>
          </p:cNvPr>
          <p:cNvSpPr>
            <a:spLocks noChangeArrowheads="1"/>
          </p:cNvSpPr>
          <p:nvPr/>
        </p:nvSpPr>
        <p:spPr bwMode="auto">
          <a:xfrm>
            <a:off x="704849" y="1520441"/>
            <a:ext cx="1267619" cy="2436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lgn="r">
              <a:defRPr sz="2500" b="1" cap="all">
                <a:solidFill>
                  <a:srgbClr val="344245"/>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sz="1250" b="1" i="0" u="none" strike="noStrike" kern="0" cap="all" spc="0" normalizeH="0" baseline="0" noProof="0">
                <a:ln>
                  <a:noFill/>
                </a:ln>
                <a:solidFill>
                  <a:schemeClr val="accent1"/>
                </a:solidFill>
                <a:effectLst/>
                <a:uLnTx/>
                <a:uFillTx/>
                <a:latin typeface="Arial"/>
                <a:cs typeface="+mn-ea"/>
                <a:sym typeface="+mn-lt"/>
              </a:rPr>
              <a:t>Text inform</a:t>
            </a:r>
          </a:p>
        </p:txBody>
      </p:sp>
      <p:sp>
        <p:nvSpPr>
          <p:cNvPr id="42" name="Shape 86">
            <a:extLst>
              <a:ext uri="{FF2B5EF4-FFF2-40B4-BE49-F238E27FC236}">
                <a16:creationId xmlns:a16="http://schemas.microsoft.com/office/drawing/2014/main" id="{E04456AF-81BD-458A-8C90-5D9D07B57D7C}"/>
              </a:ext>
            </a:extLst>
          </p:cNvPr>
          <p:cNvSpPr>
            <a:spLocks noChangeArrowheads="1"/>
          </p:cNvSpPr>
          <p:nvPr/>
        </p:nvSpPr>
        <p:spPr bwMode="auto">
          <a:xfrm>
            <a:off x="2771409" y="2251340"/>
            <a:ext cx="190325" cy="190359"/>
          </a:xfrm>
          <a:prstGeom prst="ellipse">
            <a:avLst/>
          </a:prstGeom>
          <a:solidFill>
            <a:schemeClr val="accent1">
              <a:lumMod val="100000"/>
            </a:schemeClr>
          </a:solidFill>
          <a:ln>
            <a:noFill/>
          </a:ln>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FFFFFF"/>
              </a:solidFill>
              <a:effectLst/>
              <a:uLnTx/>
              <a:uFillTx/>
              <a:latin typeface="Arial"/>
              <a:cs typeface="+mn-ea"/>
              <a:sym typeface="+mn-lt"/>
            </a:endParaRPr>
          </a:p>
        </p:txBody>
      </p:sp>
      <p:sp>
        <p:nvSpPr>
          <p:cNvPr id="43" name="Shape 89">
            <a:extLst>
              <a:ext uri="{FF2B5EF4-FFF2-40B4-BE49-F238E27FC236}">
                <a16:creationId xmlns:a16="http://schemas.microsoft.com/office/drawing/2014/main" id="{C476ED4A-BE8A-4089-9F76-E4F744BF6E1E}"/>
              </a:ext>
            </a:extLst>
          </p:cNvPr>
          <p:cNvSpPr>
            <a:spLocks noChangeArrowheads="1"/>
          </p:cNvSpPr>
          <p:nvPr/>
        </p:nvSpPr>
        <p:spPr bwMode="auto">
          <a:xfrm>
            <a:off x="3218829" y="2769319"/>
            <a:ext cx="190325" cy="190358"/>
          </a:xfrm>
          <a:prstGeom prst="ellipse">
            <a:avLst/>
          </a:prstGeom>
          <a:solidFill>
            <a:schemeClr val="accent1">
              <a:lumMod val="100000"/>
            </a:schemeClr>
          </a:solidFill>
          <a:ln>
            <a:noFill/>
          </a:ln>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FFFFFF"/>
              </a:solidFill>
              <a:effectLst/>
              <a:uLnTx/>
              <a:uFillTx/>
              <a:latin typeface="Arial"/>
              <a:cs typeface="+mn-ea"/>
              <a:sym typeface="+mn-lt"/>
            </a:endParaRPr>
          </a:p>
        </p:txBody>
      </p:sp>
      <p:sp>
        <p:nvSpPr>
          <p:cNvPr id="44" name="Shape 92">
            <a:extLst>
              <a:ext uri="{FF2B5EF4-FFF2-40B4-BE49-F238E27FC236}">
                <a16:creationId xmlns:a16="http://schemas.microsoft.com/office/drawing/2014/main" id="{988766EC-6469-4F29-9174-9BB41D75AD8C}"/>
              </a:ext>
            </a:extLst>
          </p:cNvPr>
          <p:cNvSpPr>
            <a:spLocks noChangeArrowheads="1"/>
          </p:cNvSpPr>
          <p:nvPr/>
        </p:nvSpPr>
        <p:spPr bwMode="auto">
          <a:xfrm>
            <a:off x="5041142" y="2250812"/>
            <a:ext cx="190325" cy="190359"/>
          </a:xfrm>
          <a:prstGeom prst="ellipse">
            <a:avLst/>
          </a:prstGeom>
          <a:solidFill>
            <a:schemeClr val="accent1">
              <a:lumMod val="100000"/>
            </a:schemeClr>
          </a:solidFill>
          <a:ln>
            <a:noFill/>
          </a:ln>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FFFFFF"/>
              </a:solidFill>
              <a:effectLst/>
              <a:uLnTx/>
              <a:uFillTx/>
              <a:latin typeface="Arial"/>
              <a:cs typeface="+mn-ea"/>
              <a:sym typeface="+mn-lt"/>
            </a:endParaRPr>
          </a:p>
        </p:txBody>
      </p:sp>
      <p:sp>
        <p:nvSpPr>
          <p:cNvPr id="45" name="Shape 95">
            <a:extLst>
              <a:ext uri="{FF2B5EF4-FFF2-40B4-BE49-F238E27FC236}">
                <a16:creationId xmlns:a16="http://schemas.microsoft.com/office/drawing/2014/main" id="{C513B1E7-1F22-480F-81FF-9DBC214C0C0C}"/>
              </a:ext>
            </a:extLst>
          </p:cNvPr>
          <p:cNvSpPr>
            <a:spLocks noChangeArrowheads="1"/>
          </p:cNvSpPr>
          <p:nvPr/>
        </p:nvSpPr>
        <p:spPr bwMode="auto">
          <a:xfrm>
            <a:off x="5494912" y="2768791"/>
            <a:ext cx="190325" cy="190358"/>
          </a:xfrm>
          <a:prstGeom prst="ellipse">
            <a:avLst/>
          </a:prstGeom>
          <a:solidFill>
            <a:schemeClr val="accent1">
              <a:lumMod val="100000"/>
            </a:schemeClr>
          </a:solidFill>
          <a:ln>
            <a:noFill/>
          </a:ln>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FFFFFF"/>
              </a:solidFill>
              <a:effectLst/>
              <a:uLnTx/>
              <a:uFillTx/>
              <a:latin typeface="Arial"/>
              <a:cs typeface="+mn-ea"/>
              <a:sym typeface="+mn-lt"/>
            </a:endParaRPr>
          </a:p>
        </p:txBody>
      </p:sp>
      <p:sp>
        <p:nvSpPr>
          <p:cNvPr id="46" name="Shape 98">
            <a:extLst>
              <a:ext uri="{FF2B5EF4-FFF2-40B4-BE49-F238E27FC236}">
                <a16:creationId xmlns:a16="http://schemas.microsoft.com/office/drawing/2014/main" id="{C459F9DF-2D9B-4917-B504-B3039135DE3E}"/>
              </a:ext>
            </a:extLst>
          </p:cNvPr>
          <p:cNvSpPr>
            <a:spLocks noChangeArrowheads="1"/>
          </p:cNvSpPr>
          <p:nvPr/>
        </p:nvSpPr>
        <p:spPr bwMode="auto">
          <a:xfrm>
            <a:off x="7177933" y="2249528"/>
            <a:ext cx="190325" cy="190359"/>
          </a:xfrm>
          <a:prstGeom prst="ellipse">
            <a:avLst/>
          </a:prstGeom>
          <a:solidFill>
            <a:schemeClr val="accent1">
              <a:lumMod val="100000"/>
            </a:schemeClr>
          </a:solidFill>
          <a:ln>
            <a:noFill/>
          </a:ln>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FFFFFF"/>
              </a:solidFill>
              <a:effectLst/>
              <a:uLnTx/>
              <a:uFillTx/>
              <a:latin typeface="Arial"/>
              <a:cs typeface="+mn-ea"/>
              <a:sym typeface="+mn-lt"/>
            </a:endParaRPr>
          </a:p>
        </p:txBody>
      </p:sp>
      <p:sp>
        <p:nvSpPr>
          <p:cNvPr id="47" name="Shape 101">
            <a:extLst>
              <a:ext uri="{FF2B5EF4-FFF2-40B4-BE49-F238E27FC236}">
                <a16:creationId xmlns:a16="http://schemas.microsoft.com/office/drawing/2014/main" id="{BDC3A6FE-C8E1-4086-BF2E-8C474DED6DA3}"/>
              </a:ext>
            </a:extLst>
          </p:cNvPr>
          <p:cNvSpPr>
            <a:spLocks noChangeArrowheads="1"/>
          </p:cNvSpPr>
          <p:nvPr/>
        </p:nvSpPr>
        <p:spPr bwMode="auto">
          <a:xfrm>
            <a:off x="7631704" y="2767507"/>
            <a:ext cx="190325" cy="190358"/>
          </a:xfrm>
          <a:prstGeom prst="ellipse">
            <a:avLst/>
          </a:prstGeom>
          <a:solidFill>
            <a:schemeClr val="accent1">
              <a:lumMod val="100000"/>
            </a:schemeClr>
          </a:solidFill>
          <a:ln>
            <a:noFill/>
          </a:ln>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FFFFFF"/>
              </a:solidFill>
              <a:effectLst/>
              <a:uLnTx/>
              <a:uFillTx/>
              <a:latin typeface="Arial"/>
              <a:cs typeface="+mn-ea"/>
              <a:sym typeface="+mn-lt"/>
            </a:endParaRPr>
          </a:p>
        </p:txBody>
      </p:sp>
      <p:sp>
        <p:nvSpPr>
          <p:cNvPr id="48" name="Shape 104">
            <a:extLst>
              <a:ext uri="{FF2B5EF4-FFF2-40B4-BE49-F238E27FC236}">
                <a16:creationId xmlns:a16="http://schemas.microsoft.com/office/drawing/2014/main" id="{6D6A7A01-A248-4959-81CE-0F2527E9C6CB}"/>
              </a:ext>
            </a:extLst>
          </p:cNvPr>
          <p:cNvSpPr>
            <a:spLocks noChangeArrowheads="1"/>
          </p:cNvSpPr>
          <p:nvPr/>
        </p:nvSpPr>
        <p:spPr bwMode="auto">
          <a:xfrm>
            <a:off x="3958610" y="4434158"/>
            <a:ext cx="190325" cy="190358"/>
          </a:xfrm>
          <a:prstGeom prst="ellipse">
            <a:avLst/>
          </a:prstGeom>
          <a:solidFill>
            <a:schemeClr val="accent1">
              <a:lumMod val="100000"/>
            </a:schemeClr>
          </a:solidFill>
          <a:ln>
            <a:noFill/>
          </a:ln>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FFFFFF"/>
              </a:solidFill>
              <a:effectLst/>
              <a:uLnTx/>
              <a:uFillTx/>
              <a:latin typeface="Arial"/>
              <a:cs typeface="+mn-ea"/>
              <a:sym typeface="+mn-lt"/>
            </a:endParaRPr>
          </a:p>
        </p:txBody>
      </p:sp>
      <p:sp>
        <p:nvSpPr>
          <p:cNvPr id="49" name="Shape 107">
            <a:extLst>
              <a:ext uri="{FF2B5EF4-FFF2-40B4-BE49-F238E27FC236}">
                <a16:creationId xmlns:a16="http://schemas.microsoft.com/office/drawing/2014/main" id="{A428B399-39C5-4C5F-8DCA-1C77D396086E}"/>
              </a:ext>
            </a:extLst>
          </p:cNvPr>
          <p:cNvSpPr>
            <a:spLocks noChangeArrowheads="1"/>
          </p:cNvSpPr>
          <p:nvPr/>
        </p:nvSpPr>
        <p:spPr bwMode="auto">
          <a:xfrm>
            <a:off x="4400193" y="3921704"/>
            <a:ext cx="190325" cy="190358"/>
          </a:xfrm>
          <a:prstGeom prst="ellipse">
            <a:avLst/>
          </a:prstGeom>
          <a:solidFill>
            <a:schemeClr val="accent1">
              <a:lumMod val="100000"/>
            </a:schemeClr>
          </a:solidFill>
          <a:ln>
            <a:noFill/>
          </a:ln>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FFFFFF"/>
              </a:solidFill>
              <a:effectLst/>
              <a:uLnTx/>
              <a:uFillTx/>
              <a:latin typeface="Arial"/>
              <a:cs typeface="+mn-ea"/>
              <a:sym typeface="+mn-lt"/>
            </a:endParaRPr>
          </a:p>
        </p:txBody>
      </p:sp>
      <p:sp>
        <p:nvSpPr>
          <p:cNvPr id="50" name="Shape 110">
            <a:extLst>
              <a:ext uri="{FF2B5EF4-FFF2-40B4-BE49-F238E27FC236}">
                <a16:creationId xmlns:a16="http://schemas.microsoft.com/office/drawing/2014/main" id="{ABF6C46B-F2F7-433B-9A6A-CD5F5FCE34C3}"/>
              </a:ext>
            </a:extLst>
          </p:cNvPr>
          <p:cNvSpPr>
            <a:spLocks noChangeArrowheads="1"/>
          </p:cNvSpPr>
          <p:nvPr/>
        </p:nvSpPr>
        <p:spPr bwMode="auto">
          <a:xfrm>
            <a:off x="6136915" y="4431785"/>
            <a:ext cx="190326" cy="190358"/>
          </a:xfrm>
          <a:prstGeom prst="ellipse">
            <a:avLst/>
          </a:prstGeom>
          <a:solidFill>
            <a:schemeClr val="accent1">
              <a:lumMod val="100000"/>
            </a:schemeClr>
          </a:solidFill>
          <a:ln>
            <a:noFill/>
          </a:ln>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FFFFFF"/>
              </a:solidFill>
              <a:effectLst/>
              <a:uLnTx/>
              <a:uFillTx/>
              <a:latin typeface="Arial"/>
              <a:cs typeface="+mn-ea"/>
              <a:sym typeface="+mn-lt"/>
            </a:endParaRPr>
          </a:p>
        </p:txBody>
      </p:sp>
      <p:sp>
        <p:nvSpPr>
          <p:cNvPr id="51" name="Shape 113">
            <a:extLst>
              <a:ext uri="{FF2B5EF4-FFF2-40B4-BE49-F238E27FC236}">
                <a16:creationId xmlns:a16="http://schemas.microsoft.com/office/drawing/2014/main" id="{B58835F9-F637-436F-ACBE-B5CB36BA36DE}"/>
              </a:ext>
            </a:extLst>
          </p:cNvPr>
          <p:cNvSpPr>
            <a:spLocks noChangeArrowheads="1"/>
          </p:cNvSpPr>
          <p:nvPr/>
        </p:nvSpPr>
        <p:spPr bwMode="auto">
          <a:xfrm>
            <a:off x="6578496" y="3919331"/>
            <a:ext cx="190325" cy="190358"/>
          </a:xfrm>
          <a:prstGeom prst="ellipse">
            <a:avLst/>
          </a:prstGeom>
          <a:solidFill>
            <a:schemeClr val="accent1">
              <a:lumMod val="100000"/>
            </a:schemeClr>
          </a:solidFill>
          <a:ln>
            <a:noFill/>
          </a:ln>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FFFFFF"/>
              </a:solidFill>
              <a:effectLst/>
              <a:uLnTx/>
              <a:uFillTx/>
              <a:latin typeface="Arial"/>
              <a:cs typeface="+mn-ea"/>
              <a:sym typeface="+mn-lt"/>
            </a:endParaRPr>
          </a:p>
        </p:txBody>
      </p:sp>
      <p:sp>
        <p:nvSpPr>
          <p:cNvPr id="52" name="Shape 87">
            <a:extLst>
              <a:ext uri="{FF2B5EF4-FFF2-40B4-BE49-F238E27FC236}">
                <a16:creationId xmlns:a16="http://schemas.microsoft.com/office/drawing/2014/main" id="{194A119B-0AAC-4569-BC09-5DD9BBCEEF57}"/>
              </a:ext>
            </a:extLst>
          </p:cNvPr>
          <p:cNvSpPr>
            <a:spLocks noChangeArrowheads="1"/>
          </p:cNvSpPr>
          <p:nvPr/>
        </p:nvSpPr>
        <p:spPr bwMode="auto">
          <a:xfrm>
            <a:off x="2722065" y="2245879"/>
            <a:ext cx="289012" cy="1897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altLang="ru-RU" sz="900" b="1" i="0" u="none" strike="noStrike" kern="1200" cap="none" spc="0" normalizeH="0" baseline="0" noProof="0" dirty="0" err="1">
                <a:ln>
                  <a:noFill/>
                </a:ln>
                <a:solidFill>
                  <a:srgbClr val="FFFFFF"/>
                </a:solidFill>
                <a:effectLst/>
                <a:uLnTx/>
                <a:uFillTx/>
                <a:latin typeface="Arial"/>
                <a:cs typeface="+mn-ea"/>
                <a:sym typeface="+mn-lt"/>
              </a:rPr>
              <a:t>A</a:t>
            </a:r>
            <a:endParaRPr kumimoji="0" lang="ru-RU" altLang="ru-RU" sz="900" b="1" i="0" u="none" strike="noStrike" kern="1200" cap="none" spc="0" normalizeH="0" baseline="0" noProof="0" dirty="0">
              <a:ln>
                <a:noFill/>
              </a:ln>
              <a:solidFill>
                <a:srgbClr val="FFFFFF"/>
              </a:solidFill>
              <a:effectLst/>
              <a:uLnTx/>
              <a:uFillTx/>
              <a:latin typeface="Arial"/>
              <a:cs typeface="+mn-ea"/>
              <a:sym typeface="+mn-lt"/>
            </a:endParaRPr>
          </a:p>
        </p:txBody>
      </p:sp>
      <p:sp>
        <p:nvSpPr>
          <p:cNvPr id="53" name="Shape 90">
            <a:extLst>
              <a:ext uri="{FF2B5EF4-FFF2-40B4-BE49-F238E27FC236}">
                <a16:creationId xmlns:a16="http://schemas.microsoft.com/office/drawing/2014/main" id="{01984031-4F78-44CB-831A-2419B5AC11A4}"/>
              </a:ext>
            </a:extLst>
          </p:cNvPr>
          <p:cNvSpPr>
            <a:spLocks noChangeArrowheads="1"/>
          </p:cNvSpPr>
          <p:nvPr/>
        </p:nvSpPr>
        <p:spPr bwMode="auto">
          <a:xfrm>
            <a:off x="3175836" y="2767063"/>
            <a:ext cx="289012" cy="1897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altLang="ru-RU" sz="900" b="1" i="0" u="none" strike="noStrike" kern="1200" cap="none" spc="0" normalizeH="0" baseline="0" noProof="0">
                <a:ln>
                  <a:noFill/>
                </a:ln>
                <a:solidFill>
                  <a:srgbClr val="FFFFFF"/>
                </a:solidFill>
                <a:effectLst/>
                <a:uLnTx/>
                <a:uFillTx/>
                <a:latin typeface="Arial"/>
                <a:cs typeface="+mn-ea"/>
                <a:sym typeface="+mn-lt"/>
              </a:rPr>
              <a:t>B</a:t>
            </a:r>
          </a:p>
        </p:txBody>
      </p:sp>
      <p:sp>
        <p:nvSpPr>
          <p:cNvPr id="54" name="Shape 93">
            <a:extLst>
              <a:ext uri="{FF2B5EF4-FFF2-40B4-BE49-F238E27FC236}">
                <a16:creationId xmlns:a16="http://schemas.microsoft.com/office/drawing/2014/main" id="{21BBB63E-2EF0-46EE-8BA1-49DB68C2591D}"/>
              </a:ext>
            </a:extLst>
          </p:cNvPr>
          <p:cNvSpPr>
            <a:spLocks noChangeArrowheads="1"/>
          </p:cNvSpPr>
          <p:nvPr/>
        </p:nvSpPr>
        <p:spPr bwMode="auto">
          <a:xfrm>
            <a:off x="4991798" y="2245351"/>
            <a:ext cx="289012" cy="1897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altLang="ru-RU" sz="900" b="1" i="0" u="none" strike="noStrike" kern="1200" cap="none" spc="0" normalizeH="0" baseline="0" noProof="0">
                <a:ln>
                  <a:noFill/>
                </a:ln>
                <a:solidFill>
                  <a:srgbClr val="FFFFFF"/>
                </a:solidFill>
                <a:effectLst/>
                <a:uLnTx/>
                <a:uFillTx/>
                <a:latin typeface="Arial"/>
                <a:cs typeface="+mn-ea"/>
                <a:sym typeface="+mn-lt"/>
              </a:rPr>
              <a:t>A</a:t>
            </a:r>
          </a:p>
        </p:txBody>
      </p:sp>
      <p:sp>
        <p:nvSpPr>
          <p:cNvPr id="55" name="Shape 96">
            <a:extLst>
              <a:ext uri="{FF2B5EF4-FFF2-40B4-BE49-F238E27FC236}">
                <a16:creationId xmlns:a16="http://schemas.microsoft.com/office/drawing/2014/main" id="{584AC004-0090-46ED-B114-8EC916332F84}"/>
              </a:ext>
            </a:extLst>
          </p:cNvPr>
          <p:cNvSpPr>
            <a:spLocks noChangeArrowheads="1"/>
          </p:cNvSpPr>
          <p:nvPr/>
        </p:nvSpPr>
        <p:spPr bwMode="auto">
          <a:xfrm>
            <a:off x="5451919" y="2766535"/>
            <a:ext cx="289012" cy="1897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altLang="ru-RU" sz="900" b="1" i="0" u="none" strike="noStrike" kern="1200" cap="none" spc="0" normalizeH="0" baseline="0" noProof="0">
                <a:ln>
                  <a:noFill/>
                </a:ln>
                <a:solidFill>
                  <a:srgbClr val="FFFFFF"/>
                </a:solidFill>
                <a:effectLst/>
                <a:uLnTx/>
                <a:uFillTx/>
                <a:latin typeface="Arial"/>
                <a:cs typeface="+mn-ea"/>
                <a:sym typeface="+mn-lt"/>
              </a:rPr>
              <a:t>B</a:t>
            </a:r>
          </a:p>
        </p:txBody>
      </p:sp>
      <p:sp>
        <p:nvSpPr>
          <p:cNvPr id="56" name="Shape 99">
            <a:extLst>
              <a:ext uri="{FF2B5EF4-FFF2-40B4-BE49-F238E27FC236}">
                <a16:creationId xmlns:a16="http://schemas.microsoft.com/office/drawing/2014/main" id="{4733DFE5-0BB7-4920-A18A-D52E1B9F021A}"/>
              </a:ext>
            </a:extLst>
          </p:cNvPr>
          <p:cNvSpPr>
            <a:spLocks noChangeArrowheads="1"/>
          </p:cNvSpPr>
          <p:nvPr/>
        </p:nvSpPr>
        <p:spPr bwMode="auto">
          <a:xfrm>
            <a:off x="7128590" y="2244067"/>
            <a:ext cx="289012" cy="1897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altLang="ru-RU" sz="900" b="1" i="0" u="none" strike="noStrike" kern="1200" cap="none" spc="0" normalizeH="0" baseline="0" noProof="0" dirty="0" err="1">
                <a:ln>
                  <a:noFill/>
                </a:ln>
                <a:solidFill>
                  <a:srgbClr val="FFFFFF"/>
                </a:solidFill>
                <a:effectLst/>
                <a:uLnTx/>
                <a:uFillTx/>
                <a:latin typeface="Arial"/>
                <a:cs typeface="+mn-ea"/>
                <a:sym typeface="+mn-lt"/>
              </a:rPr>
              <a:t>A</a:t>
            </a:r>
            <a:endParaRPr kumimoji="0" lang="ru-RU" altLang="ru-RU" sz="900" b="1" i="0" u="none" strike="noStrike" kern="1200" cap="none" spc="0" normalizeH="0" baseline="0" noProof="0" dirty="0">
              <a:ln>
                <a:noFill/>
              </a:ln>
              <a:solidFill>
                <a:srgbClr val="FFFFFF"/>
              </a:solidFill>
              <a:effectLst/>
              <a:uLnTx/>
              <a:uFillTx/>
              <a:latin typeface="Arial"/>
              <a:cs typeface="+mn-ea"/>
              <a:sym typeface="+mn-lt"/>
            </a:endParaRPr>
          </a:p>
        </p:txBody>
      </p:sp>
      <p:sp>
        <p:nvSpPr>
          <p:cNvPr id="57" name="Shape 102">
            <a:extLst>
              <a:ext uri="{FF2B5EF4-FFF2-40B4-BE49-F238E27FC236}">
                <a16:creationId xmlns:a16="http://schemas.microsoft.com/office/drawing/2014/main" id="{64D77882-9908-4071-92AB-29CD1EAD27B8}"/>
              </a:ext>
            </a:extLst>
          </p:cNvPr>
          <p:cNvSpPr>
            <a:spLocks noChangeArrowheads="1"/>
          </p:cNvSpPr>
          <p:nvPr/>
        </p:nvSpPr>
        <p:spPr bwMode="auto">
          <a:xfrm>
            <a:off x="7588711" y="2765250"/>
            <a:ext cx="289012" cy="1897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altLang="ru-RU" sz="900" b="1" i="0" u="none" strike="noStrike" kern="1200" cap="none" spc="0" normalizeH="0" baseline="0" noProof="0">
                <a:ln>
                  <a:noFill/>
                </a:ln>
                <a:solidFill>
                  <a:srgbClr val="FFFFFF"/>
                </a:solidFill>
                <a:effectLst/>
                <a:uLnTx/>
                <a:uFillTx/>
                <a:latin typeface="Arial"/>
                <a:cs typeface="+mn-ea"/>
                <a:sym typeface="+mn-lt"/>
              </a:rPr>
              <a:t>B</a:t>
            </a:r>
          </a:p>
        </p:txBody>
      </p:sp>
      <p:sp>
        <p:nvSpPr>
          <p:cNvPr id="58" name="Shape 105">
            <a:extLst>
              <a:ext uri="{FF2B5EF4-FFF2-40B4-BE49-F238E27FC236}">
                <a16:creationId xmlns:a16="http://schemas.microsoft.com/office/drawing/2014/main" id="{C094C069-EB3B-4796-AD5B-F48C42DC448F}"/>
              </a:ext>
            </a:extLst>
          </p:cNvPr>
          <p:cNvSpPr>
            <a:spLocks noChangeArrowheads="1"/>
          </p:cNvSpPr>
          <p:nvPr/>
        </p:nvSpPr>
        <p:spPr bwMode="auto">
          <a:xfrm>
            <a:off x="3909266" y="4431901"/>
            <a:ext cx="289012" cy="1897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altLang="ru-RU" sz="900" b="1" i="0" u="none" strike="noStrike" kern="1200" cap="none" spc="0" normalizeH="0" baseline="0" noProof="0">
                <a:ln>
                  <a:noFill/>
                </a:ln>
                <a:solidFill>
                  <a:srgbClr val="FFFFFF"/>
                </a:solidFill>
                <a:effectLst/>
                <a:uLnTx/>
                <a:uFillTx/>
                <a:latin typeface="Arial"/>
                <a:cs typeface="+mn-ea"/>
                <a:sym typeface="+mn-lt"/>
              </a:rPr>
              <a:t>A</a:t>
            </a:r>
          </a:p>
        </p:txBody>
      </p:sp>
      <p:sp>
        <p:nvSpPr>
          <p:cNvPr id="59" name="Shape 108">
            <a:extLst>
              <a:ext uri="{FF2B5EF4-FFF2-40B4-BE49-F238E27FC236}">
                <a16:creationId xmlns:a16="http://schemas.microsoft.com/office/drawing/2014/main" id="{F3614D9C-BD2A-49F0-9255-4C17EE085BF8}"/>
              </a:ext>
            </a:extLst>
          </p:cNvPr>
          <p:cNvSpPr>
            <a:spLocks noChangeArrowheads="1"/>
          </p:cNvSpPr>
          <p:nvPr/>
        </p:nvSpPr>
        <p:spPr bwMode="auto">
          <a:xfrm>
            <a:off x="4357199" y="3919447"/>
            <a:ext cx="289012" cy="1897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altLang="ru-RU" sz="900" b="1" i="0" u="none" strike="noStrike" kern="1200" cap="none" spc="0" normalizeH="0" baseline="0" noProof="0">
                <a:ln>
                  <a:noFill/>
                </a:ln>
                <a:solidFill>
                  <a:srgbClr val="FFFFFF"/>
                </a:solidFill>
                <a:effectLst/>
                <a:uLnTx/>
                <a:uFillTx/>
                <a:latin typeface="Arial"/>
                <a:cs typeface="+mn-ea"/>
                <a:sym typeface="+mn-lt"/>
              </a:rPr>
              <a:t>B</a:t>
            </a:r>
          </a:p>
        </p:txBody>
      </p:sp>
      <p:sp>
        <p:nvSpPr>
          <p:cNvPr id="60" name="Shape 111">
            <a:extLst>
              <a:ext uri="{FF2B5EF4-FFF2-40B4-BE49-F238E27FC236}">
                <a16:creationId xmlns:a16="http://schemas.microsoft.com/office/drawing/2014/main" id="{8627D464-9083-43D1-A467-E4AD4000F4C3}"/>
              </a:ext>
            </a:extLst>
          </p:cNvPr>
          <p:cNvSpPr>
            <a:spLocks noChangeArrowheads="1"/>
          </p:cNvSpPr>
          <p:nvPr/>
        </p:nvSpPr>
        <p:spPr bwMode="auto">
          <a:xfrm>
            <a:off x="6087571" y="4429528"/>
            <a:ext cx="289013" cy="1897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altLang="ru-RU" sz="900" b="1" i="0" u="none" strike="noStrike" kern="1200" cap="none" spc="0" normalizeH="0" baseline="0" noProof="0">
                <a:ln>
                  <a:noFill/>
                </a:ln>
                <a:solidFill>
                  <a:srgbClr val="FFFFFF"/>
                </a:solidFill>
                <a:effectLst/>
                <a:uLnTx/>
                <a:uFillTx/>
                <a:latin typeface="Arial"/>
                <a:cs typeface="+mn-ea"/>
                <a:sym typeface="+mn-lt"/>
              </a:rPr>
              <a:t>A</a:t>
            </a:r>
          </a:p>
        </p:txBody>
      </p:sp>
      <p:sp>
        <p:nvSpPr>
          <p:cNvPr id="61" name="Shape 114">
            <a:extLst>
              <a:ext uri="{FF2B5EF4-FFF2-40B4-BE49-F238E27FC236}">
                <a16:creationId xmlns:a16="http://schemas.microsoft.com/office/drawing/2014/main" id="{6574814D-C35A-4E62-BB50-9E2C7E129553}"/>
              </a:ext>
            </a:extLst>
          </p:cNvPr>
          <p:cNvSpPr>
            <a:spLocks noChangeArrowheads="1"/>
          </p:cNvSpPr>
          <p:nvPr/>
        </p:nvSpPr>
        <p:spPr bwMode="auto">
          <a:xfrm>
            <a:off x="6529153" y="3917074"/>
            <a:ext cx="289012" cy="1897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altLang="ru-RU" sz="900" b="1" i="0" u="none" strike="noStrike" kern="1200" cap="none" spc="0" normalizeH="0" baseline="0" noProof="0">
                <a:ln>
                  <a:noFill/>
                </a:ln>
                <a:solidFill>
                  <a:srgbClr val="FFFFFF"/>
                </a:solidFill>
                <a:effectLst/>
                <a:uLnTx/>
                <a:uFillTx/>
                <a:latin typeface="Arial"/>
                <a:cs typeface="+mn-ea"/>
                <a:sym typeface="+mn-lt"/>
              </a:rPr>
              <a:t>B</a:t>
            </a:r>
          </a:p>
        </p:txBody>
      </p:sp>
    </p:spTree>
    <p:extLst>
      <p:ext uri="{BB962C8B-B14F-4D97-AF65-F5344CB8AC3E}">
        <p14:creationId xmlns:p14="http://schemas.microsoft.com/office/powerpoint/2010/main" val="4020478257"/>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7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hape 47">
            <a:extLst>
              <a:ext uri="{FF2B5EF4-FFF2-40B4-BE49-F238E27FC236}">
                <a16:creationId xmlns:a16="http://schemas.microsoft.com/office/drawing/2014/main" id="{D60B76DA-B02F-464A-9800-333420259B87}"/>
              </a:ext>
            </a:extLst>
          </p:cNvPr>
          <p:cNvSpPr>
            <a:spLocks noChangeShapeType="1"/>
          </p:cNvSpPr>
          <p:nvPr/>
        </p:nvSpPr>
        <p:spPr bwMode="auto">
          <a:xfrm>
            <a:off x="3915129" y="3442881"/>
            <a:ext cx="5516700" cy="1"/>
          </a:xfrm>
          <a:prstGeom prst="line">
            <a:avLst/>
          </a:prstGeom>
          <a:noFill/>
          <a:ln w="63500">
            <a:solidFill>
              <a:schemeClr val="accent1">
                <a:lumMod val="100000"/>
              </a:schemeClr>
            </a:solidFill>
            <a:miter lim="400000"/>
            <a:headEnd/>
            <a:tailEnd/>
          </a:ln>
          <a:extLst>
            <a:ext uri="{909E8E84-426E-40DD-AFC4-6F175D3DCCD1}">
              <a14:hiddenFill xmlns:a14="http://schemas.microsoft.com/office/drawing/2010/main">
                <a:noFill/>
              </a14:hiddenFill>
            </a:ext>
          </a:extLst>
        </p:spPr>
        <p:txBody>
          <a:bodyPr lIns="25400" tIns="25400" rIns="25400" bIns="254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500" b="0" i="0" u="none" strike="noStrike" kern="1200" cap="none" spc="0" normalizeH="0" baseline="0" noProof="0">
              <a:ln>
                <a:noFill/>
              </a:ln>
              <a:solidFill>
                <a:srgbClr val="000000"/>
              </a:solidFill>
              <a:effectLst/>
              <a:uLnTx/>
              <a:uFillTx/>
              <a:latin typeface="Arial"/>
              <a:cs typeface="+mn-ea"/>
              <a:sym typeface="+mn-lt"/>
            </a:endParaRPr>
          </a:p>
        </p:txBody>
      </p:sp>
      <p:sp>
        <p:nvSpPr>
          <p:cNvPr id="4" name="Shape 52">
            <a:extLst>
              <a:ext uri="{FF2B5EF4-FFF2-40B4-BE49-F238E27FC236}">
                <a16:creationId xmlns:a16="http://schemas.microsoft.com/office/drawing/2014/main" id="{3D0FFC1A-73C7-483A-A318-29A0FCE4E45B}"/>
              </a:ext>
            </a:extLst>
          </p:cNvPr>
          <p:cNvSpPr>
            <a:spLocks noChangeArrowheads="1"/>
          </p:cNvSpPr>
          <p:nvPr/>
        </p:nvSpPr>
        <p:spPr bwMode="auto">
          <a:xfrm>
            <a:off x="4931985" y="3369051"/>
            <a:ext cx="158575" cy="158602"/>
          </a:xfrm>
          <a:prstGeom prst="ellipse">
            <a:avLst/>
          </a:prstGeom>
          <a:solidFill>
            <a:srgbClr val="FFFFFF"/>
          </a:solidFill>
          <a:ln w="63500">
            <a:solidFill>
              <a:schemeClr val="accent1">
                <a:lumMod val="100000"/>
              </a:schemeClr>
            </a:solidFill>
            <a:miter lim="400000"/>
            <a:headEnd/>
            <a:tailEnd/>
          </a:ln>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FFFFFF"/>
              </a:solidFill>
              <a:effectLst/>
              <a:uLnTx/>
              <a:uFillTx/>
              <a:latin typeface="Arial"/>
              <a:cs typeface="+mn-ea"/>
              <a:sym typeface="+mn-lt"/>
            </a:endParaRPr>
          </a:p>
        </p:txBody>
      </p:sp>
      <p:sp>
        <p:nvSpPr>
          <p:cNvPr id="5" name="Shape 54">
            <a:extLst>
              <a:ext uri="{FF2B5EF4-FFF2-40B4-BE49-F238E27FC236}">
                <a16:creationId xmlns:a16="http://schemas.microsoft.com/office/drawing/2014/main" id="{F598C6DF-E800-4762-8E9A-08FE9104A63E}"/>
              </a:ext>
            </a:extLst>
          </p:cNvPr>
          <p:cNvSpPr>
            <a:spLocks noChangeArrowheads="1"/>
          </p:cNvSpPr>
          <p:nvPr/>
        </p:nvSpPr>
        <p:spPr bwMode="auto">
          <a:xfrm>
            <a:off x="7115005" y="3369051"/>
            <a:ext cx="158575" cy="158602"/>
          </a:xfrm>
          <a:prstGeom prst="ellipse">
            <a:avLst/>
          </a:prstGeom>
          <a:solidFill>
            <a:srgbClr val="FFFFFF"/>
          </a:solidFill>
          <a:ln w="63500">
            <a:solidFill>
              <a:schemeClr val="accent1">
                <a:lumMod val="100000"/>
              </a:schemeClr>
            </a:solidFill>
            <a:miter lim="400000"/>
            <a:headEnd/>
            <a:tailEnd/>
          </a:ln>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FFFFFF"/>
              </a:solidFill>
              <a:effectLst/>
              <a:uLnTx/>
              <a:uFillTx/>
              <a:latin typeface="Arial"/>
              <a:cs typeface="+mn-ea"/>
              <a:sym typeface="+mn-lt"/>
            </a:endParaRPr>
          </a:p>
        </p:txBody>
      </p:sp>
      <p:sp>
        <p:nvSpPr>
          <p:cNvPr id="6" name="Shape 64">
            <a:extLst>
              <a:ext uri="{FF2B5EF4-FFF2-40B4-BE49-F238E27FC236}">
                <a16:creationId xmlns:a16="http://schemas.microsoft.com/office/drawing/2014/main" id="{B3B0C65D-D45E-489B-89B6-49B5F9372FD2}"/>
              </a:ext>
            </a:extLst>
          </p:cNvPr>
          <p:cNvSpPr>
            <a:spLocks noChangeArrowheads="1"/>
          </p:cNvSpPr>
          <p:nvPr/>
        </p:nvSpPr>
        <p:spPr bwMode="auto">
          <a:xfrm>
            <a:off x="9410256" y="3124443"/>
            <a:ext cx="635006" cy="635116"/>
          </a:xfrm>
          <a:prstGeom prst="ellipse">
            <a:avLst/>
          </a:prstGeom>
          <a:noFill/>
          <a:ln w="63500">
            <a:solidFill>
              <a:schemeClr val="accent1">
                <a:lumMod val="100000"/>
              </a:schemeClr>
            </a:solidFill>
            <a:miter lim="400000"/>
            <a:headEnd/>
            <a:tailEnd/>
          </a:ln>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FFFFFF"/>
              </a:solidFill>
              <a:effectLst/>
              <a:uLnTx/>
              <a:uFillTx/>
              <a:latin typeface="Arial"/>
              <a:cs typeface="+mn-ea"/>
              <a:sym typeface="+mn-lt"/>
            </a:endParaRPr>
          </a:p>
        </p:txBody>
      </p:sp>
      <p:sp>
        <p:nvSpPr>
          <p:cNvPr id="7" name="Shape 65">
            <a:extLst>
              <a:ext uri="{FF2B5EF4-FFF2-40B4-BE49-F238E27FC236}">
                <a16:creationId xmlns:a16="http://schemas.microsoft.com/office/drawing/2014/main" id="{EE785D06-7EBF-451F-83E2-30DC5A11CF75}"/>
              </a:ext>
            </a:extLst>
          </p:cNvPr>
          <p:cNvSpPr>
            <a:spLocks noChangeShapeType="1"/>
          </p:cNvSpPr>
          <p:nvPr/>
        </p:nvSpPr>
        <p:spPr bwMode="auto">
          <a:xfrm flipH="1" flipV="1">
            <a:off x="2374392" y="1814511"/>
            <a:ext cx="1484126" cy="1623470"/>
          </a:xfrm>
          <a:prstGeom prst="line">
            <a:avLst/>
          </a:prstGeom>
          <a:noFill/>
          <a:ln w="63500">
            <a:solidFill>
              <a:schemeClr val="accent1">
                <a:lumMod val="100000"/>
              </a:schemeClr>
            </a:solidFill>
            <a:miter lim="400000"/>
            <a:headEnd/>
            <a:tailEnd/>
          </a:ln>
          <a:extLst>
            <a:ext uri="{909E8E84-426E-40DD-AFC4-6F175D3DCCD1}">
              <a14:hiddenFill xmlns:a14="http://schemas.microsoft.com/office/drawing/2010/main">
                <a:noFill/>
              </a14:hiddenFill>
            </a:ext>
          </a:extLst>
        </p:spPr>
        <p:txBody>
          <a:bodyPr lIns="25400" tIns="25400" rIns="25400" bIns="254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500" b="0" i="0" u="none" strike="noStrike" kern="1200" cap="none" spc="0" normalizeH="0" baseline="0" noProof="0">
              <a:ln>
                <a:noFill/>
              </a:ln>
              <a:solidFill>
                <a:srgbClr val="000000"/>
              </a:solidFill>
              <a:effectLst/>
              <a:uLnTx/>
              <a:uFillTx/>
              <a:latin typeface="Arial"/>
              <a:cs typeface="+mn-ea"/>
              <a:sym typeface="+mn-lt"/>
            </a:endParaRPr>
          </a:p>
        </p:txBody>
      </p:sp>
      <p:sp>
        <p:nvSpPr>
          <p:cNvPr id="8" name="Shape 67">
            <a:extLst>
              <a:ext uri="{FF2B5EF4-FFF2-40B4-BE49-F238E27FC236}">
                <a16:creationId xmlns:a16="http://schemas.microsoft.com/office/drawing/2014/main" id="{476AF341-2B25-4143-AEB2-D5016BEC3797}"/>
              </a:ext>
            </a:extLst>
          </p:cNvPr>
          <p:cNvSpPr>
            <a:spLocks noChangeArrowheads="1"/>
          </p:cNvSpPr>
          <p:nvPr/>
        </p:nvSpPr>
        <p:spPr bwMode="auto">
          <a:xfrm>
            <a:off x="3030347" y="2244536"/>
            <a:ext cx="1824245" cy="205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altLang="ru-RU" sz="1000" b="0" i="0" u="none" strike="noStrike" kern="1200" cap="none" spc="0" normalizeH="0" baseline="0" noProof="0">
                <a:ln>
                  <a:noFill/>
                </a:ln>
                <a:solidFill>
                  <a:schemeClr val="accent1"/>
                </a:solidFill>
                <a:effectLst/>
                <a:uLnTx/>
                <a:uFillTx/>
                <a:latin typeface="Arial"/>
                <a:cs typeface="+mn-ea"/>
                <a:sym typeface="+mn-lt"/>
              </a:rPr>
              <a:t>Fish bone text block </a:t>
            </a:r>
          </a:p>
        </p:txBody>
      </p:sp>
      <p:sp>
        <p:nvSpPr>
          <p:cNvPr id="9" name="Shape 68">
            <a:extLst>
              <a:ext uri="{FF2B5EF4-FFF2-40B4-BE49-F238E27FC236}">
                <a16:creationId xmlns:a16="http://schemas.microsoft.com/office/drawing/2014/main" id="{4E54F4EA-3E00-4E2E-84CA-35C04AEBED89}"/>
              </a:ext>
            </a:extLst>
          </p:cNvPr>
          <p:cNvSpPr>
            <a:spLocks noChangeArrowheads="1"/>
          </p:cNvSpPr>
          <p:nvPr/>
        </p:nvSpPr>
        <p:spPr bwMode="auto">
          <a:xfrm>
            <a:off x="3505596" y="2759364"/>
            <a:ext cx="1824245" cy="205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altLang="ru-RU" sz="1000" b="0" i="0" u="none" strike="noStrike" kern="1200" cap="none" spc="0" normalizeH="0" baseline="0" noProof="0">
                <a:ln>
                  <a:noFill/>
                </a:ln>
                <a:solidFill>
                  <a:schemeClr val="accent1"/>
                </a:solidFill>
                <a:effectLst/>
                <a:uLnTx/>
                <a:uFillTx/>
                <a:latin typeface="Arial"/>
                <a:cs typeface="+mn-ea"/>
                <a:sym typeface="+mn-lt"/>
              </a:rPr>
              <a:t>Fish bone text block </a:t>
            </a:r>
          </a:p>
        </p:txBody>
      </p:sp>
      <p:sp>
        <p:nvSpPr>
          <p:cNvPr id="10" name="Shape 69">
            <a:extLst>
              <a:ext uri="{FF2B5EF4-FFF2-40B4-BE49-F238E27FC236}">
                <a16:creationId xmlns:a16="http://schemas.microsoft.com/office/drawing/2014/main" id="{8D0F411E-8E68-4A43-AF27-7FA3E140C430}"/>
              </a:ext>
            </a:extLst>
          </p:cNvPr>
          <p:cNvSpPr>
            <a:spLocks/>
          </p:cNvSpPr>
          <p:nvPr/>
        </p:nvSpPr>
        <p:spPr bwMode="auto">
          <a:xfrm>
            <a:off x="9588170" y="3290209"/>
            <a:ext cx="291878" cy="294493"/>
          </a:xfrm>
          <a:custGeom>
            <a:avLst/>
            <a:gdLst>
              <a:gd name="T0" fmla="*/ 213179866 w 21600"/>
              <a:gd name="T1" fmla="*/ 218847420 h 21600"/>
              <a:gd name="T2" fmla="*/ 213179866 w 21600"/>
              <a:gd name="T3" fmla="*/ 218847420 h 21600"/>
              <a:gd name="T4" fmla="*/ 213179866 w 21600"/>
              <a:gd name="T5" fmla="*/ 218847420 h 21600"/>
              <a:gd name="T6" fmla="*/ 213179866 w 21600"/>
              <a:gd name="T7" fmla="*/ 218847420 h 21600"/>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21600" h="21600" extrusionOk="0">
                <a:moveTo>
                  <a:pt x="21600" y="4286"/>
                </a:moveTo>
                <a:lnTo>
                  <a:pt x="16675" y="0"/>
                </a:lnTo>
                <a:lnTo>
                  <a:pt x="15206" y="1629"/>
                </a:lnTo>
                <a:lnTo>
                  <a:pt x="20174" y="5700"/>
                </a:lnTo>
                <a:lnTo>
                  <a:pt x="21600" y="4286"/>
                </a:lnTo>
                <a:close/>
                <a:moveTo>
                  <a:pt x="6394" y="1629"/>
                </a:moveTo>
                <a:lnTo>
                  <a:pt x="4925" y="214"/>
                </a:lnTo>
                <a:lnTo>
                  <a:pt x="0" y="4286"/>
                </a:lnTo>
                <a:lnTo>
                  <a:pt x="1469" y="5700"/>
                </a:lnTo>
                <a:lnTo>
                  <a:pt x="6394" y="1629"/>
                </a:lnTo>
                <a:close/>
                <a:moveTo>
                  <a:pt x="11318" y="6729"/>
                </a:moveTo>
                <a:lnTo>
                  <a:pt x="9677" y="6729"/>
                </a:lnTo>
                <a:lnTo>
                  <a:pt x="9677" y="13071"/>
                </a:lnTo>
                <a:lnTo>
                  <a:pt x="14818" y="16114"/>
                </a:lnTo>
                <a:lnTo>
                  <a:pt x="15638" y="14871"/>
                </a:lnTo>
                <a:lnTo>
                  <a:pt x="11318" y="12257"/>
                </a:lnTo>
                <a:lnTo>
                  <a:pt x="11318" y="6729"/>
                </a:lnTo>
                <a:close/>
                <a:moveTo>
                  <a:pt x="10714" y="2443"/>
                </a:moveTo>
                <a:cubicBezTo>
                  <a:pt x="5357" y="2443"/>
                  <a:pt x="1037" y="6729"/>
                  <a:pt x="1037" y="12043"/>
                </a:cubicBezTo>
                <a:cubicBezTo>
                  <a:pt x="1037" y="17357"/>
                  <a:pt x="5270" y="21600"/>
                  <a:pt x="10714" y="21600"/>
                </a:cubicBezTo>
                <a:cubicBezTo>
                  <a:pt x="16157" y="21600"/>
                  <a:pt x="20347" y="17357"/>
                  <a:pt x="20347" y="12043"/>
                </a:cubicBezTo>
                <a:cubicBezTo>
                  <a:pt x="20347" y="6729"/>
                  <a:pt x="16243" y="2443"/>
                  <a:pt x="10714" y="2443"/>
                </a:cubicBezTo>
                <a:close/>
                <a:moveTo>
                  <a:pt x="10714" y="19371"/>
                </a:moveTo>
                <a:cubicBezTo>
                  <a:pt x="6610" y="19371"/>
                  <a:pt x="3283" y="16200"/>
                  <a:pt x="3283" y="12043"/>
                </a:cubicBezTo>
                <a:cubicBezTo>
                  <a:pt x="3283" y="7843"/>
                  <a:pt x="6480" y="4500"/>
                  <a:pt x="10714" y="4500"/>
                </a:cubicBezTo>
                <a:cubicBezTo>
                  <a:pt x="14904" y="4500"/>
                  <a:pt x="18317" y="7843"/>
                  <a:pt x="18317" y="12043"/>
                </a:cubicBezTo>
                <a:cubicBezTo>
                  <a:pt x="18317" y="16200"/>
                  <a:pt x="15034" y="19371"/>
                  <a:pt x="10714" y="19371"/>
                </a:cubicBezTo>
                <a:close/>
              </a:path>
            </a:pathLst>
          </a:custGeom>
          <a:solidFill>
            <a:schemeClr val="accent1">
              <a:lumMod val="100000"/>
            </a:schemeClr>
          </a:solidFill>
          <a:ln>
            <a:noFill/>
          </a:ln>
        </p:spPr>
        <p:txBody>
          <a:bodyPr lIns="22860" tIns="22860" rIns="22860" bIns="2286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500" b="0" i="0" u="none" strike="noStrike" kern="1200" cap="none" spc="0" normalizeH="0" baseline="0" noProof="0">
              <a:ln>
                <a:noFill/>
              </a:ln>
              <a:solidFill>
                <a:srgbClr val="000000"/>
              </a:solidFill>
              <a:effectLst/>
              <a:uLnTx/>
              <a:uFillTx/>
              <a:latin typeface="Arial"/>
              <a:cs typeface="+mn-ea"/>
              <a:sym typeface="+mn-lt"/>
            </a:endParaRPr>
          </a:p>
        </p:txBody>
      </p:sp>
      <p:sp>
        <p:nvSpPr>
          <p:cNvPr id="11" name="Shape 70">
            <a:extLst>
              <a:ext uri="{FF2B5EF4-FFF2-40B4-BE49-F238E27FC236}">
                <a16:creationId xmlns:a16="http://schemas.microsoft.com/office/drawing/2014/main" id="{326C3830-D1F6-4655-903F-5898E398501A}"/>
              </a:ext>
            </a:extLst>
          </p:cNvPr>
          <p:cNvSpPr>
            <a:spLocks noChangeArrowheads="1"/>
          </p:cNvSpPr>
          <p:nvPr/>
        </p:nvSpPr>
        <p:spPr bwMode="auto">
          <a:xfrm>
            <a:off x="10219531" y="3206625"/>
            <a:ext cx="1267619" cy="4360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2500" b="1" cap="all">
                <a:solidFill>
                  <a:srgbClr val="344245"/>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sz="1250" b="1" i="0" u="none" strike="noStrike" kern="0" cap="all" spc="0" normalizeH="0" baseline="0" noProof="0" dirty="0">
                <a:ln>
                  <a:noFill/>
                </a:ln>
                <a:solidFill>
                  <a:schemeClr val="accent1"/>
                </a:solidFill>
                <a:effectLst/>
                <a:uLnTx/>
                <a:uFillTx/>
                <a:latin typeface="Arial"/>
                <a:cs typeface="+mn-ea"/>
                <a:sym typeface="+mn-lt"/>
              </a:rPr>
              <a:t>process efficiency</a:t>
            </a:r>
          </a:p>
        </p:txBody>
      </p:sp>
      <p:sp>
        <p:nvSpPr>
          <p:cNvPr id="12" name="Shape 83">
            <a:extLst>
              <a:ext uri="{FF2B5EF4-FFF2-40B4-BE49-F238E27FC236}">
                <a16:creationId xmlns:a16="http://schemas.microsoft.com/office/drawing/2014/main" id="{E70B2CB0-DF81-41E0-86F9-9C4D0F8CC18E}"/>
              </a:ext>
            </a:extLst>
          </p:cNvPr>
          <p:cNvSpPr>
            <a:spLocks noChangeArrowheads="1"/>
          </p:cNvSpPr>
          <p:nvPr/>
        </p:nvSpPr>
        <p:spPr bwMode="auto">
          <a:xfrm>
            <a:off x="2084079" y="1419224"/>
            <a:ext cx="431804" cy="431879"/>
          </a:xfrm>
          <a:prstGeom prst="ellipse">
            <a:avLst/>
          </a:prstGeom>
          <a:solidFill>
            <a:schemeClr val="accent1">
              <a:lumMod val="100000"/>
            </a:schemeClr>
          </a:solidFill>
          <a:ln w="63500">
            <a:solidFill>
              <a:schemeClr val="accent1">
                <a:lumMod val="100000"/>
              </a:schemeClr>
            </a:solidFill>
            <a:miter lim="400000"/>
            <a:headEnd/>
            <a:tailEnd/>
          </a:ln>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FFFFFF"/>
              </a:solidFill>
              <a:effectLst/>
              <a:uLnTx/>
              <a:uFillTx/>
              <a:latin typeface="Arial"/>
              <a:cs typeface="+mn-ea"/>
              <a:sym typeface="+mn-lt"/>
            </a:endParaRPr>
          </a:p>
        </p:txBody>
      </p:sp>
      <p:sp>
        <p:nvSpPr>
          <p:cNvPr id="13" name="Shape 84">
            <a:extLst>
              <a:ext uri="{FF2B5EF4-FFF2-40B4-BE49-F238E27FC236}">
                <a16:creationId xmlns:a16="http://schemas.microsoft.com/office/drawing/2014/main" id="{61601D31-65B8-4301-BF91-C649EFBA8E6E}"/>
              </a:ext>
            </a:extLst>
          </p:cNvPr>
          <p:cNvSpPr>
            <a:spLocks noChangeArrowheads="1"/>
          </p:cNvSpPr>
          <p:nvPr/>
        </p:nvSpPr>
        <p:spPr bwMode="auto">
          <a:xfrm>
            <a:off x="2118518" y="1506947"/>
            <a:ext cx="362744" cy="2436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lgn="ctr">
              <a:defRPr sz="2500" cap="all">
                <a:solidFill>
                  <a:srgbClr val="FFFFFF"/>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sz="1250" b="1" i="0" u="none" strike="noStrike" kern="0" cap="all" spc="0" normalizeH="0" baseline="0" noProof="0">
                <a:ln>
                  <a:noFill/>
                </a:ln>
                <a:solidFill>
                  <a:srgbClr val="FFFFFF"/>
                </a:solidFill>
                <a:effectLst/>
                <a:uLnTx/>
                <a:uFillTx/>
                <a:latin typeface="Arial"/>
                <a:cs typeface="+mn-ea"/>
                <a:sym typeface="+mn-lt"/>
              </a:rPr>
              <a:t>1</a:t>
            </a:r>
          </a:p>
        </p:txBody>
      </p:sp>
      <p:sp>
        <p:nvSpPr>
          <p:cNvPr id="14" name="Shape 85">
            <a:extLst>
              <a:ext uri="{FF2B5EF4-FFF2-40B4-BE49-F238E27FC236}">
                <a16:creationId xmlns:a16="http://schemas.microsoft.com/office/drawing/2014/main" id="{1A9C431B-A10F-467B-9481-05D7966B3AE3}"/>
              </a:ext>
            </a:extLst>
          </p:cNvPr>
          <p:cNvSpPr>
            <a:spLocks noChangeArrowheads="1"/>
          </p:cNvSpPr>
          <p:nvPr/>
        </p:nvSpPr>
        <p:spPr bwMode="auto">
          <a:xfrm>
            <a:off x="704849" y="1520441"/>
            <a:ext cx="1267619" cy="2436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lgn="r">
              <a:defRPr sz="2500" b="1" cap="all">
                <a:solidFill>
                  <a:srgbClr val="344245"/>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sz="1250" b="1" i="0" u="none" strike="noStrike" kern="0" cap="all" spc="0" normalizeH="0" baseline="0" noProof="0">
                <a:ln>
                  <a:noFill/>
                </a:ln>
                <a:solidFill>
                  <a:schemeClr val="accent1"/>
                </a:solidFill>
                <a:effectLst/>
                <a:uLnTx/>
                <a:uFillTx/>
                <a:latin typeface="Arial"/>
                <a:cs typeface="+mn-ea"/>
                <a:sym typeface="+mn-lt"/>
              </a:rPr>
              <a:t>Text inform</a:t>
            </a:r>
          </a:p>
        </p:txBody>
      </p:sp>
      <p:sp>
        <p:nvSpPr>
          <p:cNvPr id="15" name="Shape 86">
            <a:extLst>
              <a:ext uri="{FF2B5EF4-FFF2-40B4-BE49-F238E27FC236}">
                <a16:creationId xmlns:a16="http://schemas.microsoft.com/office/drawing/2014/main" id="{5AA8921E-7569-4F0E-AB85-77AE1A328CF0}"/>
              </a:ext>
            </a:extLst>
          </p:cNvPr>
          <p:cNvSpPr>
            <a:spLocks noChangeArrowheads="1"/>
          </p:cNvSpPr>
          <p:nvPr/>
        </p:nvSpPr>
        <p:spPr bwMode="auto">
          <a:xfrm>
            <a:off x="2771409" y="2251340"/>
            <a:ext cx="190325" cy="190359"/>
          </a:xfrm>
          <a:prstGeom prst="ellipse">
            <a:avLst/>
          </a:prstGeom>
          <a:solidFill>
            <a:schemeClr val="accent1">
              <a:lumMod val="100000"/>
            </a:schemeClr>
          </a:solidFill>
          <a:ln>
            <a:noFill/>
          </a:ln>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FFFFFF"/>
              </a:solidFill>
              <a:effectLst/>
              <a:uLnTx/>
              <a:uFillTx/>
              <a:latin typeface="Arial"/>
              <a:cs typeface="+mn-ea"/>
              <a:sym typeface="+mn-lt"/>
            </a:endParaRPr>
          </a:p>
        </p:txBody>
      </p:sp>
      <p:sp>
        <p:nvSpPr>
          <p:cNvPr id="16" name="Shape 89">
            <a:extLst>
              <a:ext uri="{FF2B5EF4-FFF2-40B4-BE49-F238E27FC236}">
                <a16:creationId xmlns:a16="http://schemas.microsoft.com/office/drawing/2014/main" id="{184A535C-96A9-422B-8EE0-F83F145C618D}"/>
              </a:ext>
            </a:extLst>
          </p:cNvPr>
          <p:cNvSpPr>
            <a:spLocks noChangeArrowheads="1"/>
          </p:cNvSpPr>
          <p:nvPr/>
        </p:nvSpPr>
        <p:spPr bwMode="auto">
          <a:xfrm>
            <a:off x="3218829" y="2769319"/>
            <a:ext cx="190325" cy="190358"/>
          </a:xfrm>
          <a:prstGeom prst="ellipse">
            <a:avLst/>
          </a:prstGeom>
          <a:solidFill>
            <a:schemeClr val="accent1">
              <a:lumMod val="100000"/>
            </a:schemeClr>
          </a:solidFill>
          <a:ln>
            <a:noFill/>
          </a:ln>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FFFFFF"/>
              </a:solidFill>
              <a:effectLst/>
              <a:uLnTx/>
              <a:uFillTx/>
              <a:latin typeface="Arial"/>
              <a:cs typeface="+mn-ea"/>
              <a:sym typeface="+mn-lt"/>
            </a:endParaRPr>
          </a:p>
        </p:txBody>
      </p:sp>
      <p:sp>
        <p:nvSpPr>
          <p:cNvPr id="17" name="Shape 87">
            <a:extLst>
              <a:ext uri="{FF2B5EF4-FFF2-40B4-BE49-F238E27FC236}">
                <a16:creationId xmlns:a16="http://schemas.microsoft.com/office/drawing/2014/main" id="{112EE8FA-C010-4C85-9C7C-431664E7BE55}"/>
              </a:ext>
            </a:extLst>
          </p:cNvPr>
          <p:cNvSpPr>
            <a:spLocks noChangeArrowheads="1"/>
          </p:cNvSpPr>
          <p:nvPr/>
        </p:nvSpPr>
        <p:spPr bwMode="auto">
          <a:xfrm>
            <a:off x="2722065" y="2245879"/>
            <a:ext cx="289012" cy="1897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altLang="ru-RU" sz="900" b="1" i="0" u="none" strike="noStrike" kern="1200" cap="none" spc="0" normalizeH="0" baseline="0" noProof="0" dirty="0" err="1">
                <a:ln>
                  <a:noFill/>
                </a:ln>
                <a:solidFill>
                  <a:srgbClr val="FFFFFF"/>
                </a:solidFill>
                <a:effectLst/>
                <a:uLnTx/>
                <a:uFillTx/>
                <a:latin typeface="Arial"/>
                <a:cs typeface="+mn-ea"/>
                <a:sym typeface="+mn-lt"/>
              </a:rPr>
              <a:t>A</a:t>
            </a:r>
            <a:endParaRPr kumimoji="0" lang="ru-RU" altLang="ru-RU" sz="900" b="1" i="0" u="none" strike="noStrike" kern="1200" cap="none" spc="0" normalizeH="0" baseline="0" noProof="0" dirty="0">
              <a:ln>
                <a:noFill/>
              </a:ln>
              <a:solidFill>
                <a:srgbClr val="FFFFFF"/>
              </a:solidFill>
              <a:effectLst/>
              <a:uLnTx/>
              <a:uFillTx/>
              <a:latin typeface="Arial"/>
              <a:cs typeface="+mn-ea"/>
              <a:sym typeface="+mn-lt"/>
            </a:endParaRPr>
          </a:p>
        </p:txBody>
      </p:sp>
      <p:sp>
        <p:nvSpPr>
          <p:cNvPr id="18" name="Shape 90">
            <a:extLst>
              <a:ext uri="{FF2B5EF4-FFF2-40B4-BE49-F238E27FC236}">
                <a16:creationId xmlns:a16="http://schemas.microsoft.com/office/drawing/2014/main" id="{07DC8909-083B-4465-91B4-B3444065542E}"/>
              </a:ext>
            </a:extLst>
          </p:cNvPr>
          <p:cNvSpPr>
            <a:spLocks noChangeArrowheads="1"/>
          </p:cNvSpPr>
          <p:nvPr/>
        </p:nvSpPr>
        <p:spPr bwMode="auto">
          <a:xfrm>
            <a:off x="3175836" y="2767063"/>
            <a:ext cx="289012" cy="1897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altLang="ru-RU" sz="900" b="1" i="0" u="none" strike="noStrike" kern="1200" cap="none" spc="0" normalizeH="0" baseline="0" noProof="0">
                <a:ln>
                  <a:noFill/>
                </a:ln>
                <a:solidFill>
                  <a:srgbClr val="FFFFFF"/>
                </a:solidFill>
                <a:effectLst/>
                <a:uLnTx/>
                <a:uFillTx/>
                <a:latin typeface="Arial"/>
                <a:cs typeface="+mn-ea"/>
                <a:sym typeface="+mn-lt"/>
              </a:rPr>
              <a:t>B</a:t>
            </a:r>
          </a:p>
        </p:txBody>
      </p:sp>
      <p:grpSp>
        <p:nvGrpSpPr>
          <p:cNvPr id="19" name="Группа 6">
            <a:extLst>
              <a:ext uri="{FF2B5EF4-FFF2-40B4-BE49-F238E27FC236}">
                <a16:creationId xmlns:a16="http://schemas.microsoft.com/office/drawing/2014/main" id="{F6E666B3-9E8E-4A83-BA30-437B117C08EB}"/>
              </a:ext>
            </a:extLst>
          </p:cNvPr>
          <p:cNvGrpSpPr/>
          <p:nvPr/>
        </p:nvGrpSpPr>
        <p:grpSpPr>
          <a:xfrm>
            <a:off x="2906712" y="1419224"/>
            <a:ext cx="4676214" cy="2018757"/>
            <a:chOff x="5915149" y="2181457"/>
            <a:chExt cx="9352427" cy="4037513"/>
          </a:xfrm>
        </p:grpSpPr>
        <p:sp>
          <p:nvSpPr>
            <p:cNvPr id="68" name="Shape 48">
              <a:extLst>
                <a:ext uri="{FF2B5EF4-FFF2-40B4-BE49-F238E27FC236}">
                  <a16:creationId xmlns:a16="http://schemas.microsoft.com/office/drawing/2014/main" id="{7021AE97-3BED-4F2C-BD8C-3FF1616F375B}"/>
                </a:ext>
              </a:extLst>
            </p:cNvPr>
            <p:cNvSpPr>
              <a:spLocks noChangeShapeType="1"/>
            </p:cNvSpPr>
            <p:nvPr/>
          </p:nvSpPr>
          <p:spPr bwMode="auto">
            <a:xfrm flipH="1" flipV="1">
              <a:off x="9356679" y="2972030"/>
              <a:ext cx="2968252" cy="3246940"/>
            </a:xfrm>
            <a:prstGeom prst="line">
              <a:avLst/>
            </a:prstGeom>
            <a:noFill/>
            <a:ln w="63500">
              <a:solidFill>
                <a:schemeClr val="accent1">
                  <a:lumMod val="100000"/>
                </a:schemeClr>
              </a:solidFill>
              <a:miter lim="400000"/>
              <a:headEnd/>
              <a:tailEnd/>
            </a:ln>
            <a:extLst>
              <a:ext uri="{909E8E84-426E-40DD-AFC4-6F175D3DCCD1}">
                <a14:hiddenFill xmlns:a14="http://schemas.microsoft.com/office/drawing/2010/main">
                  <a:noFill/>
                </a14:hiddenFill>
              </a:ext>
            </a:extLst>
          </p:spPr>
          <p:txBody>
            <a:bodyPr lIns="25400" tIns="25400" rIns="25400" bIns="254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500" b="0" i="0" u="none" strike="noStrike" kern="1200" cap="none" spc="0" normalizeH="0" baseline="0" noProof="0">
                <a:ln>
                  <a:noFill/>
                </a:ln>
                <a:solidFill>
                  <a:srgbClr val="000000"/>
                </a:solidFill>
                <a:effectLst/>
                <a:uLnTx/>
                <a:uFillTx/>
                <a:latin typeface="Arial"/>
                <a:cs typeface="+mn-ea"/>
                <a:sym typeface="+mn-lt"/>
              </a:endParaRPr>
            </a:p>
          </p:txBody>
        </p:sp>
        <p:sp>
          <p:nvSpPr>
            <p:cNvPr id="69" name="Shape 56">
              <a:extLst>
                <a:ext uri="{FF2B5EF4-FFF2-40B4-BE49-F238E27FC236}">
                  <a16:creationId xmlns:a16="http://schemas.microsoft.com/office/drawing/2014/main" id="{E2142EAC-7051-4F2A-8DA4-D449B0074427}"/>
                </a:ext>
              </a:extLst>
            </p:cNvPr>
            <p:cNvSpPr>
              <a:spLocks noChangeArrowheads="1"/>
            </p:cNvSpPr>
            <p:nvPr/>
          </p:nvSpPr>
          <p:spPr bwMode="auto">
            <a:xfrm>
              <a:off x="10668588" y="3832081"/>
              <a:ext cx="3648490" cy="4103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altLang="ru-RU" sz="1000" b="0" i="0" u="none" strike="noStrike" kern="1200" cap="none" spc="0" normalizeH="0" baseline="0" noProof="0">
                  <a:ln>
                    <a:noFill/>
                  </a:ln>
                  <a:solidFill>
                    <a:schemeClr val="accent1"/>
                  </a:solidFill>
                  <a:effectLst/>
                  <a:uLnTx/>
                  <a:uFillTx/>
                  <a:latin typeface="Arial"/>
                  <a:cs typeface="+mn-ea"/>
                  <a:sym typeface="+mn-lt"/>
                </a:rPr>
                <a:t>Fish bone text block </a:t>
              </a:r>
            </a:p>
          </p:txBody>
        </p:sp>
        <p:sp>
          <p:nvSpPr>
            <p:cNvPr id="70" name="Shape 57">
              <a:extLst>
                <a:ext uri="{FF2B5EF4-FFF2-40B4-BE49-F238E27FC236}">
                  <a16:creationId xmlns:a16="http://schemas.microsoft.com/office/drawing/2014/main" id="{FB41AED1-FA42-4A4D-8FFC-19CC4DE2935C}"/>
                </a:ext>
              </a:extLst>
            </p:cNvPr>
            <p:cNvSpPr>
              <a:spLocks noChangeArrowheads="1"/>
            </p:cNvSpPr>
            <p:nvPr/>
          </p:nvSpPr>
          <p:spPr bwMode="auto">
            <a:xfrm>
              <a:off x="11619086" y="4861734"/>
              <a:ext cx="3648490" cy="4103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altLang="ru-RU" sz="1000" b="0" i="0" u="none" strike="noStrike" kern="1200" cap="none" spc="0" normalizeH="0" baseline="0" noProof="0">
                  <a:ln>
                    <a:noFill/>
                  </a:ln>
                  <a:solidFill>
                    <a:schemeClr val="accent1"/>
                  </a:solidFill>
                  <a:effectLst/>
                  <a:uLnTx/>
                  <a:uFillTx/>
                  <a:latin typeface="Arial"/>
                  <a:cs typeface="+mn-ea"/>
                  <a:sym typeface="+mn-lt"/>
                </a:rPr>
                <a:t>Fish bone text block </a:t>
              </a:r>
            </a:p>
          </p:txBody>
        </p:sp>
        <p:sp>
          <p:nvSpPr>
            <p:cNvPr id="71" name="Shape 77">
              <a:extLst>
                <a:ext uri="{FF2B5EF4-FFF2-40B4-BE49-F238E27FC236}">
                  <a16:creationId xmlns:a16="http://schemas.microsoft.com/office/drawing/2014/main" id="{2F311A89-DB7F-4AA5-9C52-35E0B3E8FC27}"/>
                </a:ext>
              </a:extLst>
            </p:cNvPr>
            <p:cNvSpPr>
              <a:spLocks noChangeArrowheads="1"/>
            </p:cNvSpPr>
            <p:nvPr/>
          </p:nvSpPr>
          <p:spPr bwMode="auto">
            <a:xfrm>
              <a:off x="8673329" y="2181457"/>
              <a:ext cx="863608" cy="863757"/>
            </a:xfrm>
            <a:prstGeom prst="ellipse">
              <a:avLst/>
            </a:prstGeom>
            <a:solidFill>
              <a:schemeClr val="accent1">
                <a:lumMod val="100000"/>
              </a:schemeClr>
            </a:solidFill>
            <a:ln w="63500">
              <a:solidFill>
                <a:schemeClr val="accent1">
                  <a:lumMod val="100000"/>
                </a:schemeClr>
              </a:solidFill>
              <a:miter lim="400000"/>
              <a:headEnd/>
              <a:tailEnd/>
            </a:ln>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FFFFFF"/>
                </a:solidFill>
                <a:effectLst/>
                <a:uLnTx/>
                <a:uFillTx/>
                <a:latin typeface="Arial"/>
                <a:cs typeface="+mn-ea"/>
                <a:sym typeface="+mn-lt"/>
              </a:endParaRPr>
            </a:p>
          </p:txBody>
        </p:sp>
        <p:sp>
          <p:nvSpPr>
            <p:cNvPr id="72" name="Shape 78">
              <a:extLst>
                <a:ext uri="{FF2B5EF4-FFF2-40B4-BE49-F238E27FC236}">
                  <a16:creationId xmlns:a16="http://schemas.microsoft.com/office/drawing/2014/main" id="{67428A2A-92E3-4549-B625-547698659B12}"/>
                </a:ext>
              </a:extLst>
            </p:cNvPr>
            <p:cNvSpPr>
              <a:spLocks noChangeArrowheads="1"/>
            </p:cNvSpPr>
            <p:nvPr/>
          </p:nvSpPr>
          <p:spPr bwMode="auto">
            <a:xfrm>
              <a:off x="8742487" y="2356903"/>
              <a:ext cx="725488" cy="487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lgn="ctr">
                <a:defRPr sz="2500" cap="all">
                  <a:solidFill>
                    <a:srgbClr val="FFFFFF"/>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sz="1250" b="1" i="0" u="none" strike="noStrike" kern="0" cap="all" spc="0" normalizeH="0" baseline="0" noProof="0">
                  <a:ln>
                    <a:noFill/>
                  </a:ln>
                  <a:solidFill>
                    <a:srgbClr val="FFFFFF"/>
                  </a:solidFill>
                  <a:effectLst/>
                  <a:uLnTx/>
                  <a:uFillTx/>
                  <a:latin typeface="Arial"/>
                  <a:cs typeface="+mn-ea"/>
                  <a:sym typeface="+mn-lt"/>
                </a:rPr>
                <a:t>3</a:t>
              </a:r>
            </a:p>
          </p:txBody>
        </p:sp>
        <p:sp>
          <p:nvSpPr>
            <p:cNvPr id="73" name="Shape 79">
              <a:extLst>
                <a:ext uri="{FF2B5EF4-FFF2-40B4-BE49-F238E27FC236}">
                  <a16:creationId xmlns:a16="http://schemas.microsoft.com/office/drawing/2014/main" id="{B6A49073-F11C-4AD2-892A-7807EF4832EA}"/>
                </a:ext>
              </a:extLst>
            </p:cNvPr>
            <p:cNvSpPr>
              <a:spLocks noChangeArrowheads="1"/>
            </p:cNvSpPr>
            <p:nvPr/>
          </p:nvSpPr>
          <p:spPr bwMode="auto">
            <a:xfrm>
              <a:off x="5915149" y="2383891"/>
              <a:ext cx="2535238" cy="487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lgn="r">
                <a:defRPr sz="2500" b="1" cap="all">
                  <a:solidFill>
                    <a:srgbClr val="344245"/>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sz="1250" b="1" i="0" u="none" strike="noStrike" kern="0" cap="all" spc="0" normalizeH="0" baseline="0" noProof="0">
                  <a:ln>
                    <a:noFill/>
                  </a:ln>
                  <a:solidFill>
                    <a:schemeClr val="accent1"/>
                  </a:solidFill>
                  <a:effectLst/>
                  <a:uLnTx/>
                  <a:uFillTx/>
                  <a:latin typeface="Arial"/>
                  <a:cs typeface="+mn-ea"/>
                  <a:sym typeface="+mn-lt"/>
                </a:rPr>
                <a:t>Text inform</a:t>
              </a:r>
            </a:p>
          </p:txBody>
        </p:sp>
        <p:sp>
          <p:nvSpPr>
            <p:cNvPr id="74" name="Shape 92">
              <a:extLst>
                <a:ext uri="{FF2B5EF4-FFF2-40B4-BE49-F238E27FC236}">
                  <a16:creationId xmlns:a16="http://schemas.microsoft.com/office/drawing/2014/main" id="{CCE41833-9147-4431-8F44-0FB3BB9EA132}"/>
                </a:ext>
              </a:extLst>
            </p:cNvPr>
            <p:cNvSpPr>
              <a:spLocks noChangeArrowheads="1"/>
            </p:cNvSpPr>
            <p:nvPr/>
          </p:nvSpPr>
          <p:spPr bwMode="auto">
            <a:xfrm>
              <a:off x="10184009" y="3844633"/>
              <a:ext cx="380650" cy="380717"/>
            </a:xfrm>
            <a:prstGeom prst="ellipse">
              <a:avLst/>
            </a:prstGeom>
            <a:solidFill>
              <a:schemeClr val="accent1">
                <a:lumMod val="100000"/>
              </a:schemeClr>
            </a:solidFill>
            <a:ln>
              <a:noFill/>
            </a:ln>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FFFFFF"/>
                </a:solidFill>
                <a:effectLst/>
                <a:uLnTx/>
                <a:uFillTx/>
                <a:latin typeface="Arial"/>
                <a:cs typeface="+mn-ea"/>
                <a:sym typeface="+mn-lt"/>
              </a:endParaRPr>
            </a:p>
          </p:txBody>
        </p:sp>
        <p:sp>
          <p:nvSpPr>
            <p:cNvPr id="75" name="Shape 95">
              <a:extLst>
                <a:ext uri="{FF2B5EF4-FFF2-40B4-BE49-F238E27FC236}">
                  <a16:creationId xmlns:a16="http://schemas.microsoft.com/office/drawing/2014/main" id="{69072AD3-83F5-4A76-9DD2-871AD89F9053}"/>
                </a:ext>
              </a:extLst>
            </p:cNvPr>
            <p:cNvSpPr>
              <a:spLocks noChangeArrowheads="1"/>
            </p:cNvSpPr>
            <p:nvPr/>
          </p:nvSpPr>
          <p:spPr bwMode="auto">
            <a:xfrm>
              <a:off x="11091550" y="4880591"/>
              <a:ext cx="380650" cy="380716"/>
            </a:xfrm>
            <a:prstGeom prst="ellipse">
              <a:avLst/>
            </a:prstGeom>
            <a:solidFill>
              <a:schemeClr val="accent1">
                <a:lumMod val="100000"/>
              </a:schemeClr>
            </a:solidFill>
            <a:ln>
              <a:noFill/>
            </a:ln>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FFFFFF"/>
                </a:solidFill>
                <a:effectLst/>
                <a:uLnTx/>
                <a:uFillTx/>
                <a:latin typeface="Arial"/>
                <a:cs typeface="+mn-ea"/>
                <a:sym typeface="+mn-lt"/>
              </a:endParaRPr>
            </a:p>
          </p:txBody>
        </p:sp>
        <p:sp>
          <p:nvSpPr>
            <p:cNvPr id="76" name="Shape 93">
              <a:extLst>
                <a:ext uri="{FF2B5EF4-FFF2-40B4-BE49-F238E27FC236}">
                  <a16:creationId xmlns:a16="http://schemas.microsoft.com/office/drawing/2014/main" id="{35252BF5-2A8E-488C-9E80-E4A76CD29333}"/>
                </a:ext>
              </a:extLst>
            </p:cNvPr>
            <p:cNvSpPr>
              <a:spLocks noChangeArrowheads="1"/>
            </p:cNvSpPr>
            <p:nvPr/>
          </p:nvSpPr>
          <p:spPr bwMode="auto">
            <a:xfrm>
              <a:off x="10085323" y="3833711"/>
              <a:ext cx="578024" cy="3795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altLang="ru-RU" sz="900" b="1" i="0" u="none" strike="noStrike" kern="1200" cap="none" spc="0" normalizeH="0" baseline="0" noProof="0">
                  <a:ln>
                    <a:noFill/>
                  </a:ln>
                  <a:solidFill>
                    <a:srgbClr val="FFFFFF"/>
                  </a:solidFill>
                  <a:effectLst/>
                  <a:uLnTx/>
                  <a:uFillTx/>
                  <a:latin typeface="Arial"/>
                  <a:cs typeface="+mn-ea"/>
                  <a:sym typeface="+mn-lt"/>
                </a:rPr>
                <a:t>A</a:t>
              </a:r>
            </a:p>
          </p:txBody>
        </p:sp>
        <p:sp>
          <p:nvSpPr>
            <p:cNvPr id="77" name="Shape 96">
              <a:extLst>
                <a:ext uri="{FF2B5EF4-FFF2-40B4-BE49-F238E27FC236}">
                  <a16:creationId xmlns:a16="http://schemas.microsoft.com/office/drawing/2014/main" id="{6A777962-B805-4080-9B82-934847BE457E}"/>
                </a:ext>
              </a:extLst>
            </p:cNvPr>
            <p:cNvSpPr>
              <a:spLocks noChangeArrowheads="1"/>
            </p:cNvSpPr>
            <p:nvPr/>
          </p:nvSpPr>
          <p:spPr bwMode="auto">
            <a:xfrm>
              <a:off x="11005562" y="4876078"/>
              <a:ext cx="578024" cy="3795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altLang="ru-RU" sz="900" b="1" i="0" u="none" strike="noStrike" kern="1200" cap="none" spc="0" normalizeH="0" baseline="0" noProof="0">
                  <a:ln>
                    <a:noFill/>
                  </a:ln>
                  <a:solidFill>
                    <a:srgbClr val="FFFFFF"/>
                  </a:solidFill>
                  <a:effectLst/>
                  <a:uLnTx/>
                  <a:uFillTx/>
                  <a:latin typeface="Arial"/>
                  <a:cs typeface="+mn-ea"/>
                  <a:sym typeface="+mn-lt"/>
                </a:rPr>
                <a:t>B</a:t>
              </a:r>
            </a:p>
          </p:txBody>
        </p:sp>
      </p:grpSp>
      <p:grpSp>
        <p:nvGrpSpPr>
          <p:cNvPr id="20" name="Группа 5">
            <a:extLst>
              <a:ext uri="{FF2B5EF4-FFF2-40B4-BE49-F238E27FC236}">
                <a16:creationId xmlns:a16="http://schemas.microsoft.com/office/drawing/2014/main" id="{3B7146C4-95E3-414D-AC6F-C633933DB276}"/>
              </a:ext>
            </a:extLst>
          </p:cNvPr>
          <p:cNvGrpSpPr/>
          <p:nvPr/>
        </p:nvGrpSpPr>
        <p:grpSpPr>
          <a:xfrm>
            <a:off x="5101431" y="1419224"/>
            <a:ext cx="4650961" cy="2018757"/>
            <a:chOff x="10304587" y="2181457"/>
            <a:chExt cx="9301921" cy="4037513"/>
          </a:xfrm>
        </p:grpSpPr>
        <p:sp>
          <p:nvSpPr>
            <p:cNvPr id="58" name="Shape 50">
              <a:extLst>
                <a:ext uri="{FF2B5EF4-FFF2-40B4-BE49-F238E27FC236}">
                  <a16:creationId xmlns:a16="http://schemas.microsoft.com/office/drawing/2014/main" id="{EA77D910-DDFF-461C-A9D3-CB0BC5340B64}"/>
                </a:ext>
              </a:extLst>
            </p:cNvPr>
            <p:cNvSpPr>
              <a:spLocks noChangeShapeType="1"/>
            </p:cNvSpPr>
            <p:nvPr/>
          </p:nvSpPr>
          <p:spPr bwMode="auto">
            <a:xfrm flipH="1" flipV="1">
              <a:off x="13691646" y="2972030"/>
              <a:ext cx="2968253" cy="3246940"/>
            </a:xfrm>
            <a:prstGeom prst="line">
              <a:avLst/>
            </a:prstGeom>
            <a:noFill/>
            <a:ln w="63500">
              <a:solidFill>
                <a:schemeClr val="accent1">
                  <a:lumMod val="100000"/>
                </a:schemeClr>
              </a:solidFill>
              <a:miter lim="400000"/>
              <a:headEnd/>
              <a:tailEnd/>
            </a:ln>
            <a:extLst>
              <a:ext uri="{909E8E84-426E-40DD-AFC4-6F175D3DCCD1}">
                <a14:hiddenFill xmlns:a14="http://schemas.microsoft.com/office/drawing/2010/main">
                  <a:noFill/>
                </a14:hiddenFill>
              </a:ext>
            </a:extLst>
          </p:spPr>
          <p:txBody>
            <a:bodyPr lIns="25400" tIns="25400" rIns="25400" bIns="254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500" b="0" i="0" u="none" strike="noStrike" kern="1200" cap="none" spc="0" normalizeH="0" baseline="0" noProof="0">
                <a:ln>
                  <a:noFill/>
                </a:ln>
                <a:solidFill>
                  <a:srgbClr val="000000"/>
                </a:solidFill>
                <a:effectLst/>
                <a:uLnTx/>
                <a:uFillTx/>
                <a:latin typeface="Arial"/>
                <a:cs typeface="+mn-ea"/>
                <a:sym typeface="+mn-lt"/>
              </a:endParaRPr>
            </a:p>
          </p:txBody>
        </p:sp>
        <p:sp>
          <p:nvSpPr>
            <p:cNvPr id="59" name="Shape 58">
              <a:extLst>
                <a:ext uri="{FF2B5EF4-FFF2-40B4-BE49-F238E27FC236}">
                  <a16:creationId xmlns:a16="http://schemas.microsoft.com/office/drawing/2014/main" id="{593EACD2-C249-4B5E-898B-884FC808E9B1}"/>
                </a:ext>
              </a:extLst>
            </p:cNvPr>
            <p:cNvSpPr>
              <a:spLocks noChangeArrowheads="1"/>
            </p:cNvSpPr>
            <p:nvPr/>
          </p:nvSpPr>
          <p:spPr bwMode="auto">
            <a:xfrm>
              <a:off x="15007520" y="3832081"/>
              <a:ext cx="3648490" cy="4103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altLang="ru-RU" sz="1000" b="0" i="0" u="none" strike="noStrike" kern="1200" cap="none" spc="0" normalizeH="0" baseline="0" noProof="0">
                  <a:ln>
                    <a:noFill/>
                  </a:ln>
                  <a:solidFill>
                    <a:schemeClr val="accent1"/>
                  </a:solidFill>
                  <a:effectLst/>
                  <a:uLnTx/>
                  <a:uFillTx/>
                  <a:latin typeface="Arial"/>
                  <a:cs typeface="+mn-ea"/>
                  <a:sym typeface="+mn-lt"/>
                </a:rPr>
                <a:t>Fish bone text block </a:t>
              </a:r>
            </a:p>
          </p:txBody>
        </p:sp>
        <p:sp>
          <p:nvSpPr>
            <p:cNvPr id="60" name="Shape 59">
              <a:extLst>
                <a:ext uri="{FF2B5EF4-FFF2-40B4-BE49-F238E27FC236}">
                  <a16:creationId xmlns:a16="http://schemas.microsoft.com/office/drawing/2014/main" id="{8026CF52-1805-422A-8396-1134EC771779}"/>
                </a:ext>
              </a:extLst>
            </p:cNvPr>
            <p:cNvSpPr>
              <a:spLocks noChangeArrowheads="1"/>
            </p:cNvSpPr>
            <p:nvPr/>
          </p:nvSpPr>
          <p:spPr bwMode="auto">
            <a:xfrm>
              <a:off x="15958018" y="4861736"/>
              <a:ext cx="3648490" cy="4103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altLang="ru-RU" sz="1000" b="0" i="0" u="none" strike="noStrike" kern="1200" cap="none" spc="0" normalizeH="0" baseline="0" noProof="0">
                  <a:ln>
                    <a:noFill/>
                  </a:ln>
                  <a:solidFill>
                    <a:schemeClr val="accent1"/>
                  </a:solidFill>
                  <a:effectLst/>
                  <a:uLnTx/>
                  <a:uFillTx/>
                  <a:latin typeface="Arial"/>
                  <a:cs typeface="+mn-ea"/>
                  <a:sym typeface="+mn-lt"/>
                </a:rPr>
                <a:t>Fish bone text block </a:t>
              </a:r>
            </a:p>
          </p:txBody>
        </p:sp>
        <p:sp>
          <p:nvSpPr>
            <p:cNvPr id="61" name="Shape 80">
              <a:extLst>
                <a:ext uri="{FF2B5EF4-FFF2-40B4-BE49-F238E27FC236}">
                  <a16:creationId xmlns:a16="http://schemas.microsoft.com/office/drawing/2014/main" id="{512D16C4-0C83-455F-95AC-2E13259469C5}"/>
                </a:ext>
              </a:extLst>
            </p:cNvPr>
            <p:cNvSpPr>
              <a:spLocks noChangeArrowheads="1"/>
            </p:cNvSpPr>
            <p:nvPr/>
          </p:nvSpPr>
          <p:spPr bwMode="auto">
            <a:xfrm>
              <a:off x="13063657" y="2181457"/>
              <a:ext cx="863608" cy="863757"/>
            </a:xfrm>
            <a:prstGeom prst="ellipse">
              <a:avLst/>
            </a:prstGeom>
            <a:solidFill>
              <a:schemeClr val="accent1">
                <a:lumMod val="100000"/>
              </a:schemeClr>
            </a:solidFill>
            <a:ln w="63500">
              <a:solidFill>
                <a:schemeClr val="accent1">
                  <a:lumMod val="100000"/>
                </a:schemeClr>
              </a:solidFill>
              <a:miter lim="400000"/>
              <a:headEnd/>
              <a:tailEnd/>
            </a:ln>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FFFFFF"/>
                </a:solidFill>
                <a:effectLst/>
                <a:uLnTx/>
                <a:uFillTx/>
                <a:latin typeface="Arial"/>
                <a:cs typeface="+mn-ea"/>
                <a:sym typeface="+mn-lt"/>
              </a:endParaRPr>
            </a:p>
          </p:txBody>
        </p:sp>
        <p:sp>
          <p:nvSpPr>
            <p:cNvPr id="62" name="Shape 81">
              <a:extLst>
                <a:ext uri="{FF2B5EF4-FFF2-40B4-BE49-F238E27FC236}">
                  <a16:creationId xmlns:a16="http://schemas.microsoft.com/office/drawing/2014/main" id="{F4267D02-6C3A-440D-BA4A-7C46562415DD}"/>
                </a:ext>
              </a:extLst>
            </p:cNvPr>
            <p:cNvSpPr>
              <a:spLocks noChangeArrowheads="1"/>
            </p:cNvSpPr>
            <p:nvPr/>
          </p:nvSpPr>
          <p:spPr bwMode="auto">
            <a:xfrm>
              <a:off x="13146213" y="2369603"/>
              <a:ext cx="723900" cy="487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lgn="ctr">
                <a:defRPr sz="2500" cap="all">
                  <a:solidFill>
                    <a:srgbClr val="FFFFFF"/>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sz="1250" b="1" i="0" u="none" strike="noStrike" kern="0" cap="all" spc="0" normalizeH="0" baseline="0" noProof="0" dirty="0">
                  <a:ln>
                    <a:noFill/>
                  </a:ln>
                  <a:solidFill>
                    <a:srgbClr val="FFFFFF"/>
                  </a:solidFill>
                  <a:effectLst/>
                  <a:uLnTx/>
                  <a:uFillTx/>
                  <a:latin typeface="Arial"/>
                  <a:cs typeface="+mn-ea"/>
                  <a:sym typeface="+mn-lt"/>
                </a:rPr>
                <a:t>5</a:t>
              </a:r>
            </a:p>
          </p:txBody>
        </p:sp>
        <p:sp>
          <p:nvSpPr>
            <p:cNvPr id="63" name="Shape 82">
              <a:extLst>
                <a:ext uri="{FF2B5EF4-FFF2-40B4-BE49-F238E27FC236}">
                  <a16:creationId xmlns:a16="http://schemas.microsoft.com/office/drawing/2014/main" id="{3A68E55C-164F-4EBD-AE3C-B66F2451922B}"/>
                </a:ext>
              </a:extLst>
            </p:cNvPr>
            <p:cNvSpPr>
              <a:spLocks noChangeArrowheads="1"/>
            </p:cNvSpPr>
            <p:nvPr/>
          </p:nvSpPr>
          <p:spPr bwMode="auto">
            <a:xfrm>
              <a:off x="10304587" y="2383891"/>
              <a:ext cx="2536826" cy="487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lgn="r">
                <a:defRPr sz="2500" b="1" cap="all">
                  <a:solidFill>
                    <a:srgbClr val="344245"/>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sz="1250" b="1" i="0" u="none" strike="noStrike" kern="0" cap="all" spc="0" normalizeH="0" baseline="0" noProof="0" dirty="0">
                  <a:ln>
                    <a:noFill/>
                  </a:ln>
                  <a:solidFill>
                    <a:schemeClr val="accent1"/>
                  </a:solidFill>
                  <a:effectLst/>
                  <a:uLnTx/>
                  <a:uFillTx/>
                  <a:latin typeface="Arial"/>
                  <a:cs typeface="+mn-ea"/>
                  <a:sym typeface="+mn-lt"/>
                </a:rPr>
                <a:t>Text inform</a:t>
              </a:r>
            </a:p>
          </p:txBody>
        </p:sp>
        <p:sp>
          <p:nvSpPr>
            <p:cNvPr id="64" name="Shape 98">
              <a:extLst>
                <a:ext uri="{FF2B5EF4-FFF2-40B4-BE49-F238E27FC236}">
                  <a16:creationId xmlns:a16="http://schemas.microsoft.com/office/drawing/2014/main" id="{FC0BCFCB-2C5D-4CDE-B1B3-442CB6E326B4}"/>
                </a:ext>
              </a:extLst>
            </p:cNvPr>
            <p:cNvSpPr>
              <a:spLocks noChangeArrowheads="1"/>
            </p:cNvSpPr>
            <p:nvPr/>
          </p:nvSpPr>
          <p:spPr bwMode="auto">
            <a:xfrm>
              <a:off x="14457592" y="3842065"/>
              <a:ext cx="380650" cy="380717"/>
            </a:xfrm>
            <a:prstGeom prst="ellipse">
              <a:avLst/>
            </a:prstGeom>
            <a:solidFill>
              <a:schemeClr val="accent1">
                <a:lumMod val="100000"/>
              </a:schemeClr>
            </a:solidFill>
            <a:ln>
              <a:noFill/>
            </a:ln>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FFFFFF"/>
                </a:solidFill>
                <a:effectLst/>
                <a:uLnTx/>
                <a:uFillTx/>
                <a:latin typeface="Arial"/>
                <a:cs typeface="+mn-ea"/>
                <a:sym typeface="+mn-lt"/>
              </a:endParaRPr>
            </a:p>
          </p:txBody>
        </p:sp>
        <p:sp>
          <p:nvSpPr>
            <p:cNvPr id="65" name="Shape 101">
              <a:extLst>
                <a:ext uri="{FF2B5EF4-FFF2-40B4-BE49-F238E27FC236}">
                  <a16:creationId xmlns:a16="http://schemas.microsoft.com/office/drawing/2014/main" id="{B0C23998-ECFD-421B-9177-5E4EF3F1F32E}"/>
                </a:ext>
              </a:extLst>
            </p:cNvPr>
            <p:cNvSpPr>
              <a:spLocks noChangeArrowheads="1"/>
            </p:cNvSpPr>
            <p:nvPr/>
          </p:nvSpPr>
          <p:spPr bwMode="auto">
            <a:xfrm>
              <a:off x="15365134" y="4878022"/>
              <a:ext cx="380650" cy="380716"/>
            </a:xfrm>
            <a:prstGeom prst="ellipse">
              <a:avLst/>
            </a:prstGeom>
            <a:solidFill>
              <a:schemeClr val="accent1">
                <a:lumMod val="100000"/>
              </a:schemeClr>
            </a:solidFill>
            <a:ln>
              <a:noFill/>
            </a:ln>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FFFFFF"/>
                </a:solidFill>
                <a:effectLst/>
                <a:uLnTx/>
                <a:uFillTx/>
                <a:latin typeface="Arial"/>
                <a:cs typeface="+mn-ea"/>
                <a:sym typeface="+mn-lt"/>
              </a:endParaRPr>
            </a:p>
          </p:txBody>
        </p:sp>
        <p:sp>
          <p:nvSpPr>
            <p:cNvPr id="66" name="Shape 99">
              <a:extLst>
                <a:ext uri="{FF2B5EF4-FFF2-40B4-BE49-F238E27FC236}">
                  <a16:creationId xmlns:a16="http://schemas.microsoft.com/office/drawing/2014/main" id="{28B98102-71DD-4828-960F-85874169EF33}"/>
                </a:ext>
              </a:extLst>
            </p:cNvPr>
            <p:cNvSpPr>
              <a:spLocks noChangeArrowheads="1"/>
            </p:cNvSpPr>
            <p:nvPr/>
          </p:nvSpPr>
          <p:spPr bwMode="auto">
            <a:xfrm>
              <a:off x="14358905" y="3831143"/>
              <a:ext cx="578024" cy="3795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altLang="ru-RU" sz="900" b="1" i="0" u="none" strike="noStrike" kern="1200" cap="none" spc="0" normalizeH="0" baseline="0" noProof="0" dirty="0" err="1">
                  <a:ln>
                    <a:noFill/>
                  </a:ln>
                  <a:solidFill>
                    <a:srgbClr val="FFFFFF"/>
                  </a:solidFill>
                  <a:effectLst/>
                  <a:uLnTx/>
                  <a:uFillTx/>
                  <a:latin typeface="Arial"/>
                  <a:cs typeface="+mn-ea"/>
                  <a:sym typeface="+mn-lt"/>
                </a:rPr>
                <a:t>A</a:t>
              </a:r>
              <a:endParaRPr kumimoji="0" lang="ru-RU" altLang="ru-RU" sz="900" b="1" i="0" u="none" strike="noStrike" kern="1200" cap="none" spc="0" normalizeH="0" baseline="0" noProof="0" dirty="0">
                <a:ln>
                  <a:noFill/>
                </a:ln>
                <a:solidFill>
                  <a:srgbClr val="FFFFFF"/>
                </a:solidFill>
                <a:effectLst/>
                <a:uLnTx/>
                <a:uFillTx/>
                <a:latin typeface="Arial"/>
                <a:cs typeface="+mn-ea"/>
                <a:sym typeface="+mn-lt"/>
              </a:endParaRPr>
            </a:p>
          </p:txBody>
        </p:sp>
        <p:sp>
          <p:nvSpPr>
            <p:cNvPr id="67" name="Shape 102">
              <a:extLst>
                <a:ext uri="{FF2B5EF4-FFF2-40B4-BE49-F238E27FC236}">
                  <a16:creationId xmlns:a16="http://schemas.microsoft.com/office/drawing/2014/main" id="{E961152E-2095-4967-BEA0-A20CFCC709A4}"/>
                </a:ext>
              </a:extLst>
            </p:cNvPr>
            <p:cNvSpPr>
              <a:spLocks noChangeArrowheads="1"/>
            </p:cNvSpPr>
            <p:nvPr/>
          </p:nvSpPr>
          <p:spPr bwMode="auto">
            <a:xfrm>
              <a:off x="15279146" y="4873508"/>
              <a:ext cx="578024" cy="3795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altLang="ru-RU" sz="900" b="1" i="0" u="none" strike="noStrike" kern="1200" cap="none" spc="0" normalizeH="0" baseline="0" noProof="0">
                  <a:ln>
                    <a:noFill/>
                  </a:ln>
                  <a:solidFill>
                    <a:srgbClr val="FFFFFF"/>
                  </a:solidFill>
                  <a:effectLst/>
                  <a:uLnTx/>
                  <a:uFillTx/>
                  <a:latin typeface="Arial"/>
                  <a:cs typeface="+mn-ea"/>
                  <a:sym typeface="+mn-lt"/>
                </a:rPr>
                <a:t>B</a:t>
              </a:r>
            </a:p>
          </p:txBody>
        </p:sp>
      </p:grpSp>
      <p:grpSp>
        <p:nvGrpSpPr>
          <p:cNvPr id="21" name="Группа 2">
            <a:extLst>
              <a:ext uri="{FF2B5EF4-FFF2-40B4-BE49-F238E27FC236}">
                <a16:creationId xmlns:a16="http://schemas.microsoft.com/office/drawing/2014/main" id="{F5CD2762-8886-4E1C-90A8-13CEC29D0003}"/>
              </a:ext>
            </a:extLst>
          </p:cNvPr>
          <p:cNvGrpSpPr/>
          <p:nvPr/>
        </p:nvGrpSpPr>
        <p:grpSpPr>
          <a:xfrm>
            <a:off x="716545" y="3475900"/>
            <a:ext cx="4625790" cy="1962875"/>
            <a:chOff x="3859337" y="6294809"/>
            <a:chExt cx="9251580" cy="3925749"/>
          </a:xfrm>
        </p:grpSpPr>
        <p:sp>
          <p:nvSpPr>
            <p:cNvPr id="47" name="Shape 60">
              <a:extLst>
                <a:ext uri="{FF2B5EF4-FFF2-40B4-BE49-F238E27FC236}">
                  <a16:creationId xmlns:a16="http://schemas.microsoft.com/office/drawing/2014/main" id="{60D6CE57-EBB3-49F4-9C32-60ECD58738F9}"/>
                </a:ext>
              </a:extLst>
            </p:cNvPr>
            <p:cNvSpPr>
              <a:spLocks noChangeArrowheads="1"/>
            </p:cNvSpPr>
            <p:nvPr/>
          </p:nvSpPr>
          <p:spPr bwMode="auto">
            <a:xfrm>
              <a:off x="9462427" y="7169217"/>
              <a:ext cx="3648490" cy="4103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altLang="ru-RU" sz="1000" b="0" i="0" u="none" strike="noStrike" kern="1200" cap="none" spc="0" normalizeH="0" baseline="0" noProof="0">
                  <a:ln>
                    <a:noFill/>
                  </a:ln>
                  <a:solidFill>
                    <a:schemeClr val="accent1"/>
                  </a:solidFill>
                  <a:effectLst/>
                  <a:uLnTx/>
                  <a:uFillTx/>
                  <a:latin typeface="Arial"/>
                  <a:cs typeface="+mn-ea"/>
                  <a:sym typeface="+mn-lt"/>
                </a:rPr>
                <a:t>Fish bone text block </a:t>
              </a:r>
            </a:p>
          </p:txBody>
        </p:sp>
        <p:grpSp>
          <p:nvGrpSpPr>
            <p:cNvPr id="48" name="Группа 1">
              <a:extLst>
                <a:ext uri="{FF2B5EF4-FFF2-40B4-BE49-F238E27FC236}">
                  <a16:creationId xmlns:a16="http://schemas.microsoft.com/office/drawing/2014/main" id="{B7097A94-78F4-4087-92C3-44FEABA36B56}"/>
                </a:ext>
              </a:extLst>
            </p:cNvPr>
            <p:cNvGrpSpPr/>
            <p:nvPr/>
          </p:nvGrpSpPr>
          <p:grpSpPr>
            <a:xfrm>
              <a:off x="3859337" y="6294809"/>
              <a:ext cx="8335161" cy="3925749"/>
              <a:chOff x="3859337" y="6294809"/>
              <a:chExt cx="8335161" cy="3925749"/>
            </a:xfrm>
          </p:grpSpPr>
          <p:sp>
            <p:nvSpPr>
              <p:cNvPr id="49" name="Shape 49">
                <a:extLst>
                  <a:ext uri="{FF2B5EF4-FFF2-40B4-BE49-F238E27FC236}">
                    <a16:creationId xmlns:a16="http://schemas.microsoft.com/office/drawing/2014/main" id="{0DB1CE74-E290-470F-B792-E4296A4CBAF6}"/>
                  </a:ext>
                </a:extLst>
              </p:cNvPr>
              <p:cNvSpPr>
                <a:spLocks noChangeShapeType="1"/>
              </p:cNvSpPr>
              <p:nvPr/>
            </p:nvSpPr>
            <p:spPr bwMode="auto">
              <a:xfrm flipV="1">
                <a:off x="7238274" y="6294809"/>
                <a:ext cx="2864205" cy="3172711"/>
              </a:xfrm>
              <a:prstGeom prst="line">
                <a:avLst/>
              </a:prstGeom>
              <a:noFill/>
              <a:ln w="63500">
                <a:solidFill>
                  <a:schemeClr val="accent1">
                    <a:lumMod val="100000"/>
                  </a:schemeClr>
                </a:solidFill>
                <a:miter lim="400000"/>
                <a:headEnd/>
                <a:tailEnd/>
              </a:ln>
              <a:extLst>
                <a:ext uri="{909E8E84-426E-40DD-AFC4-6F175D3DCCD1}">
                  <a14:hiddenFill xmlns:a14="http://schemas.microsoft.com/office/drawing/2010/main">
                    <a:noFill/>
                  </a14:hiddenFill>
                </a:ext>
              </a:extLst>
            </p:spPr>
            <p:txBody>
              <a:bodyPr lIns="25400" tIns="25400" rIns="25400" bIns="254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500" b="0" i="0" u="none" strike="noStrike" kern="1200" cap="none" spc="0" normalizeH="0" baseline="0" noProof="0">
                  <a:ln>
                    <a:noFill/>
                  </a:ln>
                  <a:solidFill>
                    <a:srgbClr val="000000"/>
                  </a:solidFill>
                  <a:effectLst/>
                  <a:uLnTx/>
                  <a:uFillTx/>
                  <a:latin typeface="Arial"/>
                  <a:cs typeface="+mn-ea"/>
                  <a:sym typeface="+mn-lt"/>
                </a:endParaRPr>
              </a:p>
            </p:txBody>
          </p:sp>
          <p:sp>
            <p:nvSpPr>
              <p:cNvPr id="50" name="Shape 61">
                <a:extLst>
                  <a:ext uri="{FF2B5EF4-FFF2-40B4-BE49-F238E27FC236}">
                    <a16:creationId xmlns:a16="http://schemas.microsoft.com/office/drawing/2014/main" id="{EAC0BD64-C491-42B7-8380-25FEF03D1CC2}"/>
                  </a:ext>
                </a:extLst>
              </p:cNvPr>
              <p:cNvSpPr>
                <a:spLocks noChangeArrowheads="1"/>
              </p:cNvSpPr>
              <p:nvPr/>
            </p:nvSpPr>
            <p:spPr bwMode="auto">
              <a:xfrm>
                <a:off x="8546008" y="8198871"/>
                <a:ext cx="3648490" cy="4103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altLang="ru-RU" sz="1000" b="0" i="0" u="none" strike="noStrike" kern="1200" cap="none" spc="0" normalizeH="0" baseline="0" noProof="0">
                    <a:ln>
                      <a:noFill/>
                    </a:ln>
                    <a:solidFill>
                      <a:schemeClr val="accent1"/>
                    </a:solidFill>
                    <a:effectLst/>
                    <a:uLnTx/>
                    <a:uFillTx/>
                    <a:latin typeface="Arial"/>
                    <a:cs typeface="+mn-ea"/>
                    <a:sym typeface="+mn-lt"/>
                  </a:rPr>
                  <a:t>Fish bone text block </a:t>
                </a:r>
              </a:p>
            </p:txBody>
          </p:sp>
          <p:sp>
            <p:nvSpPr>
              <p:cNvPr id="51" name="Shape 71">
                <a:extLst>
                  <a:ext uri="{FF2B5EF4-FFF2-40B4-BE49-F238E27FC236}">
                    <a16:creationId xmlns:a16="http://schemas.microsoft.com/office/drawing/2014/main" id="{4E33D778-B63C-4102-890A-073B4CE13F17}"/>
                  </a:ext>
                </a:extLst>
              </p:cNvPr>
              <p:cNvSpPr>
                <a:spLocks noChangeArrowheads="1"/>
              </p:cNvSpPr>
              <p:nvPr/>
            </p:nvSpPr>
            <p:spPr bwMode="auto">
              <a:xfrm>
                <a:off x="6617868" y="9356800"/>
                <a:ext cx="863608" cy="863758"/>
              </a:xfrm>
              <a:prstGeom prst="ellipse">
                <a:avLst/>
              </a:prstGeom>
              <a:solidFill>
                <a:schemeClr val="accent1">
                  <a:lumMod val="100000"/>
                </a:schemeClr>
              </a:solidFill>
              <a:ln w="63500">
                <a:solidFill>
                  <a:schemeClr val="accent1">
                    <a:lumMod val="100000"/>
                  </a:schemeClr>
                </a:solidFill>
                <a:miter lim="400000"/>
                <a:headEnd/>
                <a:tailEnd/>
              </a:ln>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FFFFFF"/>
                  </a:solidFill>
                  <a:effectLst/>
                  <a:uLnTx/>
                  <a:uFillTx/>
                  <a:latin typeface="Arial"/>
                  <a:cs typeface="+mn-ea"/>
                  <a:sym typeface="+mn-lt"/>
                </a:endParaRPr>
              </a:p>
            </p:txBody>
          </p:sp>
          <p:sp>
            <p:nvSpPr>
              <p:cNvPr id="52" name="Shape 72">
                <a:extLst>
                  <a:ext uri="{FF2B5EF4-FFF2-40B4-BE49-F238E27FC236}">
                    <a16:creationId xmlns:a16="http://schemas.microsoft.com/office/drawing/2014/main" id="{72A9B446-3426-48D9-AD02-5B74A8303540}"/>
                  </a:ext>
                </a:extLst>
              </p:cNvPr>
              <p:cNvSpPr>
                <a:spLocks noChangeArrowheads="1"/>
              </p:cNvSpPr>
              <p:nvPr/>
            </p:nvSpPr>
            <p:spPr bwMode="auto">
              <a:xfrm>
                <a:off x="6686675" y="9532402"/>
                <a:ext cx="725488" cy="487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lgn="ctr">
                  <a:defRPr sz="2500" cap="all">
                    <a:solidFill>
                      <a:srgbClr val="FFFFFF"/>
                    </a:solidFill>
                    <a:latin typeface="Open Sans Semibold"/>
                    <a:ea typeface="Open Sans Semibold"/>
                    <a:cs typeface="Open Sans Semibold"/>
                    <a:sym typeface="Open Sans Semibold"/>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sz="1250" b="1" i="0" u="none" strike="noStrike" kern="0" cap="all" spc="0" normalizeH="0" baseline="0" noProof="0">
                    <a:ln>
                      <a:noFill/>
                    </a:ln>
                    <a:solidFill>
                      <a:srgbClr val="FFFFFF"/>
                    </a:solidFill>
                    <a:effectLst/>
                    <a:uLnTx/>
                    <a:uFillTx/>
                    <a:latin typeface="Arial"/>
                    <a:ea typeface="+mn-ea"/>
                    <a:cs typeface="+mn-ea"/>
                    <a:sym typeface="+mn-lt"/>
                  </a:rPr>
                  <a:t>2</a:t>
                </a:r>
              </a:p>
            </p:txBody>
          </p:sp>
          <p:sp>
            <p:nvSpPr>
              <p:cNvPr id="53" name="Shape 73">
                <a:extLst>
                  <a:ext uri="{FF2B5EF4-FFF2-40B4-BE49-F238E27FC236}">
                    <a16:creationId xmlns:a16="http://schemas.microsoft.com/office/drawing/2014/main" id="{51D2A01C-8D4C-4421-A53C-2197AA81DD60}"/>
                  </a:ext>
                </a:extLst>
              </p:cNvPr>
              <p:cNvSpPr>
                <a:spLocks noChangeArrowheads="1"/>
              </p:cNvSpPr>
              <p:nvPr/>
            </p:nvSpPr>
            <p:spPr bwMode="auto">
              <a:xfrm>
                <a:off x="3859337" y="9559390"/>
                <a:ext cx="2535238" cy="487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lgn="r">
                  <a:defRPr sz="2500" b="1" cap="all">
                    <a:solidFill>
                      <a:srgbClr val="344245"/>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sz="1250" b="1" i="0" u="none" strike="noStrike" kern="0" cap="all" spc="0" normalizeH="0" baseline="0" noProof="0">
                    <a:ln>
                      <a:noFill/>
                    </a:ln>
                    <a:solidFill>
                      <a:schemeClr val="accent1"/>
                    </a:solidFill>
                    <a:effectLst/>
                    <a:uLnTx/>
                    <a:uFillTx/>
                    <a:latin typeface="Arial"/>
                    <a:cs typeface="+mn-ea"/>
                    <a:sym typeface="+mn-lt"/>
                  </a:rPr>
                  <a:t>Text inform</a:t>
                </a:r>
              </a:p>
            </p:txBody>
          </p:sp>
          <p:sp>
            <p:nvSpPr>
              <p:cNvPr id="54" name="Shape 104">
                <a:extLst>
                  <a:ext uri="{FF2B5EF4-FFF2-40B4-BE49-F238E27FC236}">
                    <a16:creationId xmlns:a16="http://schemas.microsoft.com/office/drawing/2014/main" id="{D079DB96-0555-4A9B-831E-A59198EF02C6}"/>
                  </a:ext>
                </a:extLst>
              </p:cNvPr>
              <p:cNvSpPr>
                <a:spLocks noChangeArrowheads="1"/>
              </p:cNvSpPr>
              <p:nvPr/>
            </p:nvSpPr>
            <p:spPr bwMode="auto">
              <a:xfrm>
                <a:off x="8018945" y="8211324"/>
                <a:ext cx="380650" cy="380716"/>
              </a:xfrm>
              <a:prstGeom prst="ellipse">
                <a:avLst/>
              </a:prstGeom>
              <a:solidFill>
                <a:schemeClr val="accent1">
                  <a:lumMod val="100000"/>
                </a:schemeClr>
              </a:solidFill>
              <a:ln>
                <a:noFill/>
              </a:ln>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FFFFFF"/>
                  </a:solidFill>
                  <a:effectLst/>
                  <a:uLnTx/>
                  <a:uFillTx/>
                  <a:latin typeface="Arial"/>
                  <a:cs typeface="+mn-ea"/>
                  <a:sym typeface="+mn-lt"/>
                </a:endParaRPr>
              </a:p>
            </p:txBody>
          </p:sp>
          <p:sp>
            <p:nvSpPr>
              <p:cNvPr id="55" name="Shape 107">
                <a:extLst>
                  <a:ext uri="{FF2B5EF4-FFF2-40B4-BE49-F238E27FC236}">
                    <a16:creationId xmlns:a16="http://schemas.microsoft.com/office/drawing/2014/main" id="{914FA99A-B307-4612-AD73-39BF96AEF830}"/>
                  </a:ext>
                </a:extLst>
              </p:cNvPr>
              <p:cNvSpPr>
                <a:spLocks noChangeArrowheads="1"/>
              </p:cNvSpPr>
              <p:nvPr/>
            </p:nvSpPr>
            <p:spPr bwMode="auto">
              <a:xfrm>
                <a:off x="8902111" y="7186416"/>
                <a:ext cx="380650" cy="380716"/>
              </a:xfrm>
              <a:prstGeom prst="ellipse">
                <a:avLst/>
              </a:prstGeom>
              <a:solidFill>
                <a:schemeClr val="accent1">
                  <a:lumMod val="100000"/>
                </a:schemeClr>
              </a:solidFill>
              <a:ln>
                <a:noFill/>
              </a:ln>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FFFFFF"/>
                  </a:solidFill>
                  <a:effectLst/>
                  <a:uLnTx/>
                  <a:uFillTx/>
                  <a:latin typeface="Arial"/>
                  <a:cs typeface="+mn-ea"/>
                  <a:sym typeface="+mn-lt"/>
                </a:endParaRPr>
              </a:p>
            </p:txBody>
          </p:sp>
          <p:sp>
            <p:nvSpPr>
              <p:cNvPr id="56" name="Shape 105">
                <a:extLst>
                  <a:ext uri="{FF2B5EF4-FFF2-40B4-BE49-F238E27FC236}">
                    <a16:creationId xmlns:a16="http://schemas.microsoft.com/office/drawing/2014/main" id="{FD13A453-9A2A-48E6-AD60-6C68DC75E518}"/>
                  </a:ext>
                </a:extLst>
              </p:cNvPr>
              <p:cNvSpPr>
                <a:spLocks noChangeArrowheads="1"/>
              </p:cNvSpPr>
              <p:nvPr/>
            </p:nvSpPr>
            <p:spPr bwMode="auto">
              <a:xfrm>
                <a:off x="7920259" y="8206811"/>
                <a:ext cx="578024" cy="3795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altLang="ru-RU" sz="900" b="1" i="0" u="none" strike="noStrike" kern="1200" cap="none" spc="0" normalizeH="0" baseline="0" noProof="0">
                    <a:ln>
                      <a:noFill/>
                    </a:ln>
                    <a:solidFill>
                      <a:srgbClr val="FFFFFF"/>
                    </a:solidFill>
                    <a:effectLst/>
                    <a:uLnTx/>
                    <a:uFillTx/>
                    <a:latin typeface="Arial"/>
                    <a:cs typeface="+mn-ea"/>
                    <a:sym typeface="+mn-lt"/>
                  </a:rPr>
                  <a:t>A</a:t>
                </a:r>
              </a:p>
            </p:txBody>
          </p:sp>
          <p:sp>
            <p:nvSpPr>
              <p:cNvPr id="57" name="Shape 108">
                <a:extLst>
                  <a:ext uri="{FF2B5EF4-FFF2-40B4-BE49-F238E27FC236}">
                    <a16:creationId xmlns:a16="http://schemas.microsoft.com/office/drawing/2014/main" id="{A31D0A24-9C71-41E1-AA3A-445DF7EEDCE9}"/>
                  </a:ext>
                </a:extLst>
              </p:cNvPr>
              <p:cNvSpPr>
                <a:spLocks noChangeArrowheads="1"/>
              </p:cNvSpPr>
              <p:nvPr/>
            </p:nvSpPr>
            <p:spPr bwMode="auto">
              <a:xfrm>
                <a:off x="8816124" y="7181903"/>
                <a:ext cx="578024" cy="3795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altLang="ru-RU" sz="900" b="1" i="0" u="none" strike="noStrike" kern="1200" cap="none" spc="0" normalizeH="0" baseline="0" noProof="0">
                    <a:ln>
                      <a:noFill/>
                    </a:ln>
                    <a:solidFill>
                      <a:srgbClr val="FFFFFF"/>
                    </a:solidFill>
                    <a:effectLst/>
                    <a:uLnTx/>
                    <a:uFillTx/>
                    <a:latin typeface="Arial"/>
                    <a:cs typeface="+mn-ea"/>
                    <a:sym typeface="+mn-lt"/>
                  </a:rPr>
                  <a:t>B</a:t>
                </a:r>
              </a:p>
            </p:txBody>
          </p:sp>
        </p:grpSp>
      </p:grpSp>
      <p:grpSp>
        <p:nvGrpSpPr>
          <p:cNvPr id="22" name="Группа 3">
            <a:extLst>
              <a:ext uri="{FF2B5EF4-FFF2-40B4-BE49-F238E27FC236}">
                <a16:creationId xmlns:a16="http://schemas.microsoft.com/office/drawing/2014/main" id="{1B5E0F5E-6A4B-47CD-81DD-272775577AB8}"/>
              </a:ext>
            </a:extLst>
          </p:cNvPr>
          <p:cNvGrpSpPr/>
          <p:nvPr/>
        </p:nvGrpSpPr>
        <p:grpSpPr>
          <a:xfrm>
            <a:off x="2976638" y="3475900"/>
            <a:ext cx="4608345" cy="1962875"/>
            <a:chOff x="8250362" y="6294809"/>
            <a:chExt cx="9216689" cy="3925749"/>
          </a:xfrm>
        </p:grpSpPr>
        <p:sp>
          <p:nvSpPr>
            <p:cNvPr id="37" name="Shape 51">
              <a:extLst>
                <a:ext uri="{FF2B5EF4-FFF2-40B4-BE49-F238E27FC236}">
                  <a16:creationId xmlns:a16="http://schemas.microsoft.com/office/drawing/2014/main" id="{236E9A56-0D10-4001-804C-DDE3829CB235}"/>
                </a:ext>
              </a:extLst>
            </p:cNvPr>
            <p:cNvSpPr>
              <a:spLocks noChangeShapeType="1"/>
            </p:cNvSpPr>
            <p:nvPr/>
          </p:nvSpPr>
          <p:spPr bwMode="auto">
            <a:xfrm flipV="1">
              <a:off x="11581710" y="6294809"/>
              <a:ext cx="2864204" cy="3172711"/>
            </a:xfrm>
            <a:prstGeom prst="line">
              <a:avLst/>
            </a:prstGeom>
            <a:noFill/>
            <a:ln w="63500">
              <a:solidFill>
                <a:schemeClr val="accent1">
                  <a:lumMod val="100000"/>
                </a:schemeClr>
              </a:solidFill>
              <a:miter lim="400000"/>
              <a:headEnd/>
              <a:tailEnd/>
            </a:ln>
            <a:extLst>
              <a:ext uri="{909E8E84-426E-40DD-AFC4-6F175D3DCCD1}">
                <a14:hiddenFill xmlns:a14="http://schemas.microsoft.com/office/drawing/2010/main">
                  <a:noFill/>
                </a14:hiddenFill>
              </a:ext>
            </a:extLst>
          </p:spPr>
          <p:txBody>
            <a:bodyPr lIns="25400" tIns="25400" rIns="25400" bIns="254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500" b="0" i="0" u="none" strike="noStrike" kern="1200" cap="none" spc="0" normalizeH="0" baseline="0" noProof="0">
                <a:ln>
                  <a:noFill/>
                </a:ln>
                <a:solidFill>
                  <a:srgbClr val="000000"/>
                </a:solidFill>
                <a:effectLst/>
                <a:uLnTx/>
                <a:uFillTx/>
                <a:latin typeface="Arial"/>
                <a:cs typeface="+mn-ea"/>
                <a:sym typeface="+mn-lt"/>
              </a:endParaRPr>
            </a:p>
          </p:txBody>
        </p:sp>
        <p:sp>
          <p:nvSpPr>
            <p:cNvPr id="38" name="Shape 62">
              <a:extLst>
                <a:ext uri="{FF2B5EF4-FFF2-40B4-BE49-F238E27FC236}">
                  <a16:creationId xmlns:a16="http://schemas.microsoft.com/office/drawing/2014/main" id="{CE85817C-E8D5-46A1-9749-927FB8F7AE40}"/>
                </a:ext>
              </a:extLst>
            </p:cNvPr>
            <p:cNvSpPr>
              <a:spLocks noChangeArrowheads="1"/>
            </p:cNvSpPr>
            <p:nvPr/>
          </p:nvSpPr>
          <p:spPr bwMode="auto">
            <a:xfrm>
              <a:off x="13818561" y="7169217"/>
              <a:ext cx="3648490" cy="4103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altLang="ru-RU" sz="1000" b="0" i="0" u="none" strike="noStrike" kern="1200" cap="none" spc="0" normalizeH="0" baseline="0" noProof="0">
                  <a:ln>
                    <a:noFill/>
                  </a:ln>
                  <a:solidFill>
                    <a:schemeClr val="accent1"/>
                  </a:solidFill>
                  <a:effectLst/>
                  <a:uLnTx/>
                  <a:uFillTx/>
                  <a:latin typeface="Arial"/>
                  <a:cs typeface="+mn-ea"/>
                  <a:sym typeface="+mn-lt"/>
                </a:rPr>
                <a:t>Fish bone text block </a:t>
              </a:r>
            </a:p>
          </p:txBody>
        </p:sp>
        <p:sp>
          <p:nvSpPr>
            <p:cNvPr id="39" name="Shape 63">
              <a:extLst>
                <a:ext uri="{FF2B5EF4-FFF2-40B4-BE49-F238E27FC236}">
                  <a16:creationId xmlns:a16="http://schemas.microsoft.com/office/drawing/2014/main" id="{B12EE1D0-704F-4743-B2E9-935342538578}"/>
                </a:ext>
              </a:extLst>
            </p:cNvPr>
            <p:cNvSpPr>
              <a:spLocks noChangeArrowheads="1"/>
            </p:cNvSpPr>
            <p:nvPr/>
          </p:nvSpPr>
          <p:spPr bwMode="auto">
            <a:xfrm>
              <a:off x="12902145" y="8198871"/>
              <a:ext cx="3648490" cy="4103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altLang="ru-RU" sz="1000" b="0" i="0" u="none" strike="noStrike" kern="1200" cap="none" spc="0" normalizeH="0" baseline="0" noProof="0">
                  <a:ln>
                    <a:noFill/>
                  </a:ln>
                  <a:solidFill>
                    <a:schemeClr val="accent1"/>
                  </a:solidFill>
                  <a:effectLst/>
                  <a:uLnTx/>
                  <a:uFillTx/>
                  <a:latin typeface="Arial"/>
                  <a:cs typeface="+mn-ea"/>
                  <a:sym typeface="+mn-lt"/>
                </a:rPr>
                <a:t>Fish bone text block </a:t>
              </a:r>
            </a:p>
          </p:txBody>
        </p:sp>
        <p:sp>
          <p:nvSpPr>
            <p:cNvPr id="40" name="Shape 74">
              <a:extLst>
                <a:ext uri="{FF2B5EF4-FFF2-40B4-BE49-F238E27FC236}">
                  <a16:creationId xmlns:a16="http://schemas.microsoft.com/office/drawing/2014/main" id="{AE78F470-BA43-406F-8B66-BBD6EF8BA8ED}"/>
                </a:ext>
              </a:extLst>
            </p:cNvPr>
            <p:cNvSpPr>
              <a:spLocks noChangeArrowheads="1"/>
            </p:cNvSpPr>
            <p:nvPr/>
          </p:nvSpPr>
          <p:spPr bwMode="auto">
            <a:xfrm>
              <a:off x="11008195" y="9356800"/>
              <a:ext cx="863608" cy="863758"/>
            </a:xfrm>
            <a:prstGeom prst="ellipse">
              <a:avLst/>
            </a:prstGeom>
            <a:solidFill>
              <a:schemeClr val="accent1">
                <a:lumMod val="100000"/>
              </a:schemeClr>
            </a:solidFill>
            <a:ln w="63500">
              <a:solidFill>
                <a:schemeClr val="accent1">
                  <a:lumMod val="100000"/>
                </a:schemeClr>
              </a:solidFill>
              <a:miter lim="400000"/>
              <a:headEnd/>
              <a:tailEnd/>
            </a:ln>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FFFFFF"/>
                </a:solidFill>
                <a:effectLst/>
                <a:uLnTx/>
                <a:uFillTx/>
                <a:latin typeface="Arial"/>
                <a:cs typeface="+mn-ea"/>
                <a:sym typeface="+mn-lt"/>
              </a:endParaRPr>
            </a:p>
          </p:txBody>
        </p:sp>
        <p:sp>
          <p:nvSpPr>
            <p:cNvPr id="41" name="Shape 75">
              <a:extLst>
                <a:ext uri="{FF2B5EF4-FFF2-40B4-BE49-F238E27FC236}">
                  <a16:creationId xmlns:a16="http://schemas.microsoft.com/office/drawing/2014/main" id="{378E638A-0366-4CA8-B84F-C0A1E777C237}"/>
                </a:ext>
              </a:extLst>
            </p:cNvPr>
            <p:cNvSpPr>
              <a:spLocks noChangeArrowheads="1"/>
            </p:cNvSpPr>
            <p:nvPr/>
          </p:nvSpPr>
          <p:spPr bwMode="auto">
            <a:xfrm>
              <a:off x="11077700" y="9532402"/>
              <a:ext cx="725488" cy="487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lgn="ctr">
                <a:defRPr sz="2500" cap="all">
                  <a:solidFill>
                    <a:srgbClr val="FFFFFF"/>
                  </a:solidFill>
                  <a:latin typeface="Open Sans Semibold"/>
                  <a:ea typeface="Open Sans Semibold"/>
                  <a:cs typeface="Open Sans Semibold"/>
                  <a:sym typeface="Open Sans Semibold"/>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sz="1250" b="1" i="0" u="none" strike="noStrike" kern="0" cap="all" spc="0" normalizeH="0" baseline="0" noProof="0">
                  <a:ln>
                    <a:noFill/>
                  </a:ln>
                  <a:solidFill>
                    <a:srgbClr val="FFFFFF"/>
                  </a:solidFill>
                  <a:effectLst/>
                  <a:uLnTx/>
                  <a:uFillTx/>
                  <a:latin typeface="Arial"/>
                  <a:ea typeface="+mn-ea"/>
                  <a:cs typeface="+mn-ea"/>
                  <a:sym typeface="+mn-lt"/>
                </a:rPr>
                <a:t>4</a:t>
              </a:r>
            </a:p>
          </p:txBody>
        </p:sp>
        <p:sp>
          <p:nvSpPr>
            <p:cNvPr id="42" name="Shape 76">
              <a:extLst>
                <a:ext uri="{FF2B5EF4-FFF2-40B4-BE49-F238E27FC236}">
                  <a16:creationId xmlns:a16="http://schemas.microsoft.com/office/drawing/2014/main" id="{72CC5166-B91C-41DE-B2A0-DE6A5BC4E0B7}"/>
                </a:ext>
              </a:extLst>
            </p:cNvPr>
            <p:cNvSpPr>
              <a:spLocks noChangeArrowheads="1"/>
            </p:cNvSpPr>
            <p:nvPr/>
          </p:nvSpPr>
          <p:spPr bwMode="auto">
            <a:xfrm>
              <a:off x="8250362" y="9559390"/>
              <a:ext cx="2535238" cy="487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lgn="r">
                <a:defRPr sz="2500" b="1" cap="all">
                  <a:solidFill>
                    <a:srgbClr val="344245"/>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sz="1250" b="1" i="0" u="none" strike="noStrike" kern="0" cap="all" spc="0" normalizeH="0" baseline="0" noProof="0">
                  <a:ln>
                    <a:noFill/>
                  </a:ln>
                  <a:solidFill>
                    <a:schemeClr val="accent1"/>
                  </a:solidFill>
                  <a:effectLst/>
                  <a:uLnTx/>
                  <a:uFillTx/>
                  <a:latin typeface="Arial"/>
                  <a:cs typeface="+mn-ea"/>
                  <a:sym typeface="+mn-lt"/>
                </a:rPr>
                <a:t>Text inform</a:t>
              </a:r>
            </a:p>
          </p:txBody>
        </p:sp>
        <p:sp>
          <p:nvSpPr>
            <p:cNvPr id="43" name="Shape 110">
              <a:extLst>
                <a:ext uri="{FF2B5EF4-FFF2-40B4-BE49-F238E27FC236}">
                  <a16:creationId xmlns:a16="http://schemas.microsoft.com/office/drawing/2014/main" id="{7E0EA0B0-52BC-4B7F-B8B6-12AF2C04E914}"/>
                </a:ext>
              </a:extLst>
            </p:cNvPr>
            <p:cNvSpPr>
              <a:spLocks noChangeArrowheads="1"/>
            </p:cNvSpPr>
            <p:nvPr/>
          </p:nvSpPr>
          <p:spPr bwMode="auto">
            <a:xfrm>
              <a:off x="12375555" y="8206578"/>
              <a:ext cx="380651" cy="380716"/>
            </a:xfrm>
            <a:prstGeom prst="ellipse">
              <a:avLst/>
            </a:prstGeom>
            <a:solidFill>
              <a:schemeClr val="accent1">
                <a:lumMod val="100000"/>
              </a:schemeClr>
            </a:solidFill>
            <a:ln>
              <a:noFill/>
            </a:ln>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FFFFFF"/>
                </a:solidFill>
                <a:effectLst/>
                <a:uLnTx/>
                <a:uFillTx/>
                <a:latin typeface="Arial"/>
                <a:cs typeface="+mn-ea"/>
                <a:sym typeface="+mn-lt"/>
              </a:endParaRPr>
            </a:p>
          </p:txBody>
        </p:sp>
        <p:sp>
          <p:nvSpPr>
            <p:cNvPr id="44" name="Shape 113">
              <a:extLst>
                <a:ext uri="{FF2B5EF4-FFF2-40B4-BE49-F238E27FC236}">
                  <a16:creationId xmlns:a16="http://schemas.microsoft.com/office/drawing/2014/main" id="{EFD45CD2-C0D7-4F5E-A5AD-5F4209442B8B}"/>
                </a:ext>
              </a:extLst>
            </p:cNvPr>
            <p:cNvSpPr>
              <a:spLocks noChangeArrowheads="1"/>
            </p:cNvSpPr>
            <p:nvPr/>
          </p:nvSpPr>
          <p:spPr bwMode="auto">
            <a:xfrm>
              <a:off x="13258718" y="7181670"/>
              <a:ext cx="380650" cy="380716"/>
            </a:xfrm>
            <a:prstGeom prst="ellipse">
              <a:avLst/>
            </a:prstGeom>
            <a:solidFill>
              <a:schemeClr val="accent1">
                <a:lumMod val="100000"/>
              </a:schemeClr>
            </a:solidFill>
            <a:ln>
              <a:noFill/>
            </a:ln>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FFFFFF"/>
                </a:solidFill>
                <a:effectLst/>
                <a:uLnTx/>
                <a:uFillTx/>
                <a:latin typeface="Arial"/>
                <a:cs typeface="+mn-ea"/>
                <a:sym typeface="+mn-lt"/>
              </a:endParaRPr>
            </a:p>
          </p:txBody>
        </p:sp>
        <p:sp>
          <p:nvSpPr>
            <p:cNvPr id="45" name="Shape 111">
              <a:extLst>
                <a:ext uri="{FF2B5EF4-FFF2-40B4-BE49-F238E27FC236}">
                  <a16:creationId xmlns:a16="http://schemas.microsoft.com/office/drawing/2014/main" id="{DAC19154-B955-430F-B79D-60831EAE7968}"/>
                </a:ext>
              </a:extLst>
            </p:cNvPr>
            <p:cNvSpPr>
              <a:spLocks noChangeArrowheads="1"/>
            </p:cNvSpPr>
            <p:nvPr/>
          </p:nvSpPr>
          <p:spPr bwMode="auto">
            <a:xfrm>
              <a:off x="12276868" y="8202065"/>
              <a:ext cx="578026" cy="3795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altLang="ru-RU" sz="900" b="1" i="0" u="none" strike="noStrike" kern="1200" cap="none" spc="0" normalizeH="0" baseline="0" noProof="0">
                  <a:ln>
                    <a:noFill/>
                  </a:ln>
                  <a:solidFill>
                    <a:srgbClr val="FFFFFF"/>
                  </a:solidFill>
                  <a:effectLst/>
                  <a:uLnTx/>
                  <a:uFillTx/>
                  <a:latin typeface="Arial"/>
                  <a:cs typeface="+mn-ea"/>
                  <a:sym typeface="+mn-lt"/>
                </a:rPr>
                <a:t>A</a:t>
              </a:r>
            </a:p>
          </p:txBody>
        </p:sp>
        <p:sp>
          <p:nvSpPr>
            <p:cNvPr id="46" name="Shape 114">
              <a:extLst>
                <a:ext uri="{FF2B5EF4-FFF2-40B4-BE49-F238E27FC236}">
                  <a16:creationId xmlns:a16="http://schemas.microsoft.com/office/drawing/2014/main" id="{637C8C39-E050-4BBE-B9FA-3EAF9E0BB6A1}"/>
                </a:ext>
              </a:extLst>
            </p:cNvPr>
            <p:cNvSpPr>
              <a:spLocks noChangeArrowheads="1"/>
            </p:cNvSpPr>
            <p:nvPr/>
          </p:nvSpPr>
          <p:spPr bwMode="auto">
            <a:xfrm>
              <a:off x="13160031" y="7177157"/>
              <a:ext cx="578024" cy="3795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altLang="ru-RU" sz="900" b="1" i="0" u="none" strike="noStrike" kern="1200" cap="none" spc="0" normalizeH="0" baseline="0" noProof="0">
                  <a:ln>
                    <a:noFill/>
                  </a:ln>
                  <a:solidFill>
                    <a:srgbClr val="FFFFFF"/>
                  </a:solidFill>
                  <a:effectLst/>
                  <a:uLnTx/>
                  <a:uFillTx/>
                  <a:latin typeface="Arial"/>
                  <a:cs typeface="+mn-ea"/>
                  <a:sym typeface="+mn-lt"/>
                </a:rPr>
                <a:t>B</a:t>
              </a:r>
            </a:p>
          </p:txBody>
        </p:sp>
      </p:grpSp>
      <p:sp>
        <p:nvSpPr>
          <p:cNvPr id="23" name="Shape 51">
            <a:extLst>
              <a:ext uri="{FF2B5EF4-FFF2-40B4-BE49-F238E27FC236}">
                <a16:creationId xmlns:a16="http://schemas.microsoft.com/office/drawing/2014/main" id="{428A0C0B-7FCC-49B6-B33E-E8A23A16CED0}"/>
              </a:ext>
            </a:extLst>
          </p:cNvPr>
          <p:cNvSpPr>
            <a:spLocks noChangeShapeType="1"/>
          </p:cNvSpPr>
          <p:nvPr/>
        </p:nvSpPr>
        <p:spPr bwMode="auto">
          <a:xfrm flipV="1">
            <a:off x="6858275" y="3475900"/>
            <a:ext cx="1432102" cy="1586356"/>
          </a:xfrm>
          <a:prstGeom prst="line">
            <a:avLst/>
          </a:prstGeom>
          <a:noFill/>
          <a:ln w="63500">
            <a:solidFill>
              <a:schemeClr val="accent1">
                <a:lumMod val="100000"/>
              </a:schemeClr>
            </a:solidFill>
            <a:miter lim="400000"/>
            <a:headEnd/>
            <a:tailEnd/>
          </a:ln>
          <a:extLst>
            <a:ext uri="{909E8E84-426E-40DD-AFC4-6F175D3DCCD1}">
              <a14:hiddenFill xmlns:a14="http://schemas.microsoft.com/office/drawing/2010/main">
                <a:noFill/>
              </a14:hiddenFill>
            </a:ext>
          </a:extLst>
        </p:spPr>
        <p:txBody>
          <a:bodyPr lIns="25400" tIns="25400" rIns="25400" bIns="254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500" b="0" i="0" u="none" strike="noStrike" kern="1200" cap="none" spc="0" normalizeH="0" baseline="0" noProof="0">
              <a:ln>
                <a:noFill/>
              </a:ln>
              <a:solidFill>
                <a:srgbClr val="000000"/>
              </a:solidFill>
              <a:effectLst/>
              <a:uLnTx/>
              <a:uFillTx/>
              <a:latin typeface="Arial"/>
              <a:cs typeface="+mn-ea"/>
              <a:sym typeface="+mn-lt"/>
            </a:endParaRPr>
          </a:p>
        </p:txBody>
      </p:sp>
      <p:sp>
        <p:nvSpPr>
          <p:cNvPr id="24" name="Shape 62">
            <a:extLst>
              <a:ext uri="{FF2B5EF4-FFF2-40B4-BE49-F238E27FC236}">
                <a16:creationId xmlns:a16="http://schemas.microsoft.com/office/drawing/2014/main" id="{2CDB17D2-7DBE-4278-9F60-7CAD1A5141CC}"/>
              </a:ext>
            </a:extLst>
          </p:cNvPr>
          <p:cNvSpPr>
            <a:spLocks noChangeArrowheads="1"/>
          </p:cNvSpPr>
          <p:nvPr/>
        </p:nvSpPr>
        <p:spPr bwMode="auto">
          <a:xfrm>
            <a:off x="7976701" y="3913104"/>
            <a:ext cx="1824245" cy="205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altLang="ru-RU" sz="1000" b="0" i="0" u="none" strike="noStrike" kern="1200" cap="none" spc="0" normalizeH="0" baseline="0" noProof="0" dirty="0" err="1">
                <a:ln>
                  <a:noFill/>
                </a:ln>
                <a:solidFill>
                  <a:schemeClr val="accent1"/>
                </a:solidFill>
                <a:effectLst/>
                <a:uLnTx/>
                <a:uFillTx/>
                <a:latin typeface="Arial"/>
                <a:cs typeface="+mn-ea"/>
                <a:sym typeface="+mn-lt"/>
              </a:rPr>
              <a:t>Fish</a:t>
            </a:r>
            <a:r>
              <a:rPr kumimoji="0" lang="ru-RU" altLang="ru-RU" sz="1000" b="0" i="0" u="none" strike="noStrike" kern="1200" cap="none" spc="0" normalizeH="0" baseline="0" noProof="0" dirty="0">
                <a:ln>
                  <a:noFill/>
                </a:ln>
                <a:solidFill>
                  <a:schemeClr val="accent1"/>
                </a:solidFill>
                <a:effectLst/>
                <a:uLnTx/>
                <a:uFillTx/>
                <a:latin typeface="Arial"/>
                <a:cs typeface="+mn-ea"/>
                <a:sym typeface="+mn-lt"/>
              </a:rPr>
              <a:t> </a:t>
            </a:r>
            <a:r>
              <a:rPr kumimoji="0" lang="ru-RU" altLang="ru-RU" sz="1000" b="0" i="0" u="none" strike="noStrike" kern="1200" cap="none" spc="0" normalizeH="0" baseline="0" noProof="0" dirty="0" err="1">
                <a:ln>
                  <a:noFill/>
                </a:ln>
                <a:solidFill>
                  <a:schemeClr val="accent1"/>
                </a:solidFill>
                <a:effectLst/>
                <a:uLnTx/>
                <a:uFillTx/>
                <a:latin typeface="Arial"/>
                <a:cs typeface="+mn-ea"/>
                <a:sym typeface="+mn-lt"/>
              </a:rPr>
              <a:t>bone</a:t>
            </a:r>
            <a:r>
              <a:rPr kumimoji="0" lang="ru-RU" altLang="ru-RU" sz="1000" b="0" i="0" u="none" strike="noStrike" kern="1200" cap="none" spc="0" normalizeH="0" baseline="0" noProof="0" dirty="0">
                <a:ln>
                  <a:noFill/>
                </a:ln>
                <a:solidFill>
                  <a:schemeClr val="accent1"/>
                </a:solidFill>
                <a:effectLst/>
                <a:uLnTx/>
                <a:uFillTx/>
                <a:latin typeface="Arial"/>
                <a:cs typeface="+mn-ea"/>
                <a:sym typeface="+mn-lt"/>
              </a:rPr>
              <a:t> </a:t>
            </a:r>
            <a:r>
              <a:rPr kumimoji="0" lang="ru-RU" altLang="ru-RU" sz="1000" b="0" i="0" u="none" strike="noStrike" kern="1200" cap="none" spc="0" normalizeH="0" baseline="0" noProof="0" dirty="0" err="1">
                <a:ln>
                  <a:noFill/>
                </a:ln>
                <a:solidFill>
                  <a:schemeClr val="accent1"/>
                </a:solidFill>
                <a:effectLst/>
                <a:uLnTx/>
                <a:uFillTx/>
                <a:latin typeface="Arial"/>
                <a:cs typeface="+mn-ea"/>
                <a:sym typeface="+mn-lt"/>
              </a:rPr>
              <a:t>text</a:t>
            </a:r>
            <a:r>
              <a:rPr kumimoji="0" lang="ru-RU" altLang="ru-RU" sz="1000" b="0" i="0" u="none" strike="noStrike" kern="1200" cap="none" spc="0" normalizeH="0" baseline="0" noProof="0" dirty="0">
                <a:ln>
                  <a:noFill/>
                </a:ln>
                <a:solidFill>
                  <a:schemeClr val="accent1"/>
                </a:solidFill>
                <a:effectLst/>
                <a:uLnTx/>
                <a:uFillTx/>
                <a:latin typeface="Arial"/>
                <a:cs typeface="+mn-ea"/>
                <a:sym typeface="+mn-lt"/>
              </a:rPr>
              <a:t> </a:t>
            </a:r>
            <a:r>
              <a:rPr kumimoji="0" lang="ru-RU" altLang="ru-RU" sz="1000" b="0" i="0" u="none" strike="noStrike" kern="1200" cap="none" spc="0" normalizeH="0" baseline="0" noProof="0" dirty="0" err="1">
                <a:ln>
                  <a:noFill/>
                </a:ln>
                <a:solidFill>
                  <a:schemeClr val="accent1"/>
                </a:solidFill>
                <a:effectLst/>
                <a:uLnTx/>
                <a:uFillTx/>
                <a:latin typeface="Arial"/>
                <a:cs typeface="+mn-ea"/>
                <a:sym typeface="+mn-lt"/>
              </a:rPr>
              <a:t>block</a:t>
            </a:r>
            <a:r>
              <a:rPr kumimoji="0" lang="ru-RU" altLang="ru-RU" sz="1000" b="0" i="0" u="none" strike="noStrike" kern="1200" cap="none" spc="0" normalizeH="0" baseline="0" noProof="0" dirty="0">
                <a:ln>
                  <a:noFill/>
                </a:ln>
                <a:solidFill>
                  <a:schemeClr val="accent1"/>
                </a:solidFill>
                <a:effectLst/>
                <a:uLnTx/>
                <a:uFillTx/>
                <a:latin typeface="Arial"/>
                <a:cs typeface="+mn-ea"/>
                <a:sym typeface="+mn-lt"/>
              </a:rPr>
              <a:t> </a:t>
            </a:r>
          </a:p>
        </p:txBody>
      </p:sp>
      <p:sp>
        <p:nvSpPr>
          <p:cNvPr id="25" name="Shape 63">
            <a:extLst>
              <a:ext uri="{FF2B5EF4-FFF2-40B4-BE49-F238E27FC236}">
                <a16:creationId xmlns:a16="http://schemas.microsoft.com/office/drawing/2014/main" id="{76D0C60C-614A-437D-AF75-06692AA3001D}"/>
              </a:ext>
            </a:extLst>
          </p:cNvPr>
          <p:cNvSpPr>
            <a:spLocks noChangeArrowheads="1"/>
          </p:cNvSpPr>
          <p:nvPr/>
        </p:nvSpPr>
        <p:spPr bwMode="auto">
          <a:xfrm>
            <a:off x="7518493" y="4427931"/>
            <a:ext cx="1824245" cy="205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altLang="ru-RU" sz="1000" b="0" i="0" u="none" strike="noStrike" kern="1200" cap="none" spc="0" normalizeH="0" baseline="0" noProof="0">
                <a:ln>
                  <a:noFill/>
                </a:ln>
                <a:solidFill>
                  <a:schemeClr val="accent1"/>
                </a:solidFill>
                <a:effectLst/>
                <a:uLnTx/>
                <a:uFillTx/>
                <a:latin typeface="Arial"/>
                <a:cs typeface="+mn-ea"/>
                <a:sym typeface="+mn-lt"/>
              </a:rPr>
              <a:t>Fish bone text block </a:t>
            </a:r>
          </a:p>
        </p:txBody>
      </p:sp>
      <p:sp>
        <p:nvSpPr>
          <p:cNvPr id="26" name="Shape 74">
            <a:extLst>
              <a:ext uri="{FF2B5EF4-FFF2-40B4-BE49-F238E27FC236}">
                <a16:creationId xmlns:a16="http://schemas.microsoft.com/office/drawing/2014/main" id="{077F65F5-D8BE-4AD0-BDDD-F5A1A3297CDD}"/>
              </a:ext>
            </a:extLst>
          </p:cNvPr>
          <p:cNvSpPr>
            <a:spLocks noChangeArrowheads="1"/>
          </p:cNvSpPr>
          <p:nvPr/>
        </p:nvSpPr>
        <p:spPr bwMode="auto">
          <a:xfrm>
            <a:off x="6571518" y="5006896"/>
            <a:ext cx="431804" cy="431879"/>
          </a:xfrm>
          <a:prstGeom prst="ellipse">
            <a:avLst/>
          </a:prstGeom>
          <a:solidFill>
            <a:schemeClr val="accent1">
              <a:lumMod val="100000"/>
            </a:schemeClr>
          </a:solidFill>
          <a:ln w="63500">
            <a:solidFill>
              <a:schemeClr val="accent1">
                <a:lumMod val="100000"/>
              </a:schemeClr>
            </a:solidFill>
            <a:miter lim="400000"/>
            <a:headEnd/>
            <a:tailEnd/>
          </a:ln>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FFFFFF"/>
              </a:solidFill>
              <a:effectLst/>
              <a:uLnTx/>
              <a:uFillTx/>
              <a:latin typeface="Arial"/>
              <a:cs typeface="+mn-ea"/>
              <a:sym typeface="+mn-lt"/>
            </a:endParaRPr>
          </a:p>
        </p:txBody>
      </p:sp>
      <p:sp>
        <p:nvSpPr>
          <p:cNvPr id="27" name="Shape 75">
            <a:extLst>
              <a:ext uri="{FF2B5EF4-FFF2-40B4-BE49-F238E27FC236}">
                <a16:creationId xmlns:a16="http://schemas.microsoft.com/office/drawing/2014/main" id="{716DA2F0-C487-4352-886B-6E22AE884F48}"/>
              </a:ext>
            </a:extLst>
          </p:cNvPr>
          <p:cNvSpPr>
            <a:spLocks noChangeArrowheads="1"/>
          </p:cNvSpPr>
          <p:nvPr/>
        </p:nvSpPr>
        <p:spPr bwMode="auto">
          <a:xfrm>
            <a:off x="6606270" y="5094697"/>
            <a:ext cx="362744" cy="2436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lgn="ctr">
              <a:defRPr sz="2500" cap="all">
                <a:solidFill>
                  <a:srgbClr val="FFFFFF"/>
                </a:solidFill>
                <a:latin typeface="Open Sans Semibold"/>
                <a:ea typeface="Open Sans Semibold"/>
                <a:cs typeface="Open Sans Semibold"/>
                <a:sym typeface="Open Sans Semibold"/>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250" b="1" i="0" u="none" strike="noStrike" kern="0" cap="all" spc="0" normalizeH="0" baseline="0" noProof="0" dirty="0">
                <a:ln>
                  <a:noFill/>
                </a:ln>
                <a:solidFill>
                  <a:srgbClr val="FFFFFF"/>
                </a:solidFill>
                <a:effectLst/>
                <a:uLnTx/>
                <a:uFillTx/>
                <a:latin typeface="Arial"/>
                <a:ea typeface="+mn-ea"/>
                <a:cs typeface="+mn-ea"/>
                <a:sym typeface="+mn-lt"/>
              </a:rPr>
              <a:t>6</a:t>
            </a:r>
            <a:endParaRPr kumimoji="0" sz="1250" b="1" i="0" u="none" strike="noStrike" kern="0" cap="all" spc="0" normalizeH="0" baseline="0" noProof="0" dirty="0">
              <a:ln>
                <a:noFill/>
              </a:ln>
              <a:solidFill>
                <a:srgbClr val="FFFFFF"/>
              </a:solidFill>
              <a:effectLst/>
              <a:uLnTx/>
              <a:uFillTx/>
              <a:latin typeface="Arial"/>
              <a:ea typeface="+mn-ea"/>
              <a:cs typeface="+mn-ea"/>
              <a:sym typeface="+mn-lt"/>
            </a:endParaRPr>
          </a:p>
        </p:txBody>
      </p:sp>
      <p:sp>
        <p:nvSpPr>
          <p:cNvPr id="28" name="Shape 76">
            <a:extLst>
              <a:ext uri="{FF2B5EF4-FFF2-40B4-BE49-F238E27FC236}">
                <a16:creationId xmlns:a16="http://schemas.microsoft.com/office/drawing/2014/main" id="{AC041174-6683-4605-8C30-0C1C53AB43E3}"/>
              </a:ext>
            </a:extLst>
          </p:cNvPr>
          <p:cNvSpPr>
            <a:spLocks noChangeArrowheads="1"/>
          </p:cNvSpPr>
          <p:nvPr/>
        </p:nvSpPr>
        <p:spPr bwMode="auto">
          <a:xfrm>
            <a:off x="5192601" y="5108191"/>
            <a:ext cx="1267619" cy="2436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lgn="r">
              <a:defRPr sz="2500" b="1" cap="all">
                <a:solidFill>
                  <a:srgbClr val="344245"/>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sz="1250" b="1" i="0" u="none" strike="noStrike" kern="0" cap="all" spc="0" normalizeH="0" baseline="0" noProof="0">
                <a:ln>
                  <a:noFill/>
                </a:ln>
                <a:solidFill>
                  <a:schemeClr val="accent1"/>
                </a:solidFill>
                <a:effectLst/>
                <a:uLnTx/>
                <a:uFillTx/>
                <a:latin typeface="Arial"/>
                <a:cs typeface="+mn-ea"/>
                <a:sym typeface="+mn-lt"/>
              </a:rPr>
              <a:t>Text inform</a:t>
            </a:r>
          </a:p>
        </p:txBody>
      </p:sp>
      <p:sp>
        <p:nvSpPr>
          <p:cNvPr id="29" name="Shape 110">
            <a:extLst>
              <a:ext uri="{FF2B5EF4-FFF2-40B4-BE49-F238E27FC236}">
                <a16:creationId xmlns:a16="http://schemas.microsoft.com/office/drawing/2014/main" id="{C3C4EFD8-A075-4754-A0D1-D16BC4790D7E}"/>
              </a:ext>
            </a:extLst>
          </p:cNvPr>
          <p:cNvSpPr>
            <a:spLocks noChangeArrowheads="1"/>
          </p:cNvSpPr>
          <p:nvPr/>
        </p:nvSpPr>
        <p:spPr bwMode="auto">
          <a:xfrm>
            <a:off x="7255198" y="4431785"/>
            <a:ext cx="190326" cy="190358"/>
          </a:xfrm>
          <a:prstGeom prst="ellipse">
            <a:avLst/>
          </a:prstGeom>
          <a:solidFill>
            <a:schemeClr val="accent1">
              <a:lumMod val="100000"/>
            </a:schemeClr>
          </a:solidFill>
          <a:ln>
            <a:noFill/>
          </a:ln>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FFFFFF"/>
              </a:solidFill>
              <a:effectLst/>
              <a:uLnTx/>
              <a:uFillTx/>
              <a:latin typeface="Arial"/>
              <a:cs typeface="+mn-ea"/>
              <a:sym typeface="+mn-lt"/>
            </a:endParaRPr>
          </a:p>
        </p:txBody>
      </p:sp>
      <p:sp>
        <p:nvSpPr>
          <p:cNvPr id="30" name="Shape 113">
            <a:extLst>
              <a:ext uri="{FF2B5EF4-FFF2-40B4-BE49-F238E27FC236}">
                <a16:creationId xmlns:a16="http://schemas.microsoft.com/office/drawing/2014/main" id="{FF4B8E98-A9F4-4223-8D85-554867D4421E}"/>
              </a:ext>
            </a:extLst>
          </p:cNvPr>
          <p:cNvSpPr>
            <a:spLocks noChangeArrowheads="1"/>
          </p:cNvSpPr>
          <p:nvPr/>
        </p:nvSpPr>
        <p:spPr bwMode="auto">
          <a:xfrm>
            <a:off x="7696779" y="3919331"/>
            <a:ext cx="190325" cy="190358"/>
          </a:xfrm>
          <a:prstGeom prst="ellipse">
            <a:avLst/>
          </a:prstGeom>
          <a:solidFill>
            <a:schemeClr val="accent1">
              <a:lumMod val="100000"/>
            </a:schemeClr>
          </a:solidFill>
          <a:ln>
            <a:noFill/>
          </a:ln>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FFFFFF"/>
              </a:solidFill>
              <a:effectLst/>
              <a:uLnTx/>
              <a:uFillTx/>
              <a:latin typeface="Arial"/>
              <a:cs typeface="+mn-ea"/>
              <a:sym typeface="+mn-lt"/>
            </a:endParaRPr>
          </a:p>
        </p:txBody>
      </p:sp>
      <p:grpSp>
        <p:nvGrpSpPr>
          <p:cNvPr id="31" name="Группа 8">
            <a:extLst>
              <a:ext uri="{FF2B5EF4-FFF2-40B4-BE49-F238E27FC236}">
                <a16:creationId xmlns:a16="http://schemas.microsoft.com/office/drawing/2014/main" id="{3C966968-83C9-487C-9311-560FC3A62268}"/>
              </a:ext>
            </a:extLst>
          </p:cNvPr>
          <p:cNvGrpSpPr/>
          <p:nvPr/>
        </p:nvGrpSpPr>
        <p:grpSpPr>
          <a:xfrm>
            <a:off x="7207699" y="3917074"/>
            <a:ext cx="730594" cy="702250"/>
            <a:chOff x="14513434" y="7177157"/>
            <a:chExt cx="1461187" cy="1404500"/>
          </a:xfrm>
        </p:grpSpPr>
        <p:sp>
          <p:nvSpPr>
            <p:cNvPr id="35" name="Shape 111">
              <a:extLst>
                <a:ext uri="{FF2B5EF4-FFF2-40B4-BE49-F238E27FC236}">
                  <a16:creationId xmlns:a16="http://schemas.microsoft.com/office/drawing/2014/main" id="{C835103F-0CD4-49AD-9090-F3FA302AAB50}"/>
                </a:ext>
              </a:extLst>
            </p:cNvPr>
            <p:cNvSpPr>
              <a:spLocks noChangeArrowheads="1"/>
            </p:cNvSpPr>
            <p:nvPr/>
          </p:nvSpPr>
          <p:spPr bwMode="auto">
            <a:xfrm>
              <a:off x="14513434" y="8202065"/>
              <a:ext cx="578026" cy="3795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altLang="ru-RU" sz="900" b="1" i="0" u="none" strike="noStrike" kern="1200" cap="none" spc="0" normalizeH="0" baseline="0" noProof="0" dirty="0" err="1">
                  <a:ln>
                    <a:noFill/>
                  </a:ln>
                  <a:solidFill>
                    <a:srgbClr val="FFFFFF"/>
                  </a:solidFill>
                  <a:effectLst/>
                  <a:uLnTx/>
                  <a:uFillTx/>
                  <a:latin typeface="Arial"/>
                  <a:cs typeface="+mn-ea"/>
                  <a:sym typeface="+mn-lt"/>
                </a:rPr>
                <a:t>A</a:t>
              </a:r>
              <a:endParaRPr kumimoji="0" lang="ru-RU" altLang="ru-RU" sz="900" b="1" i="0" u="none" strike="noStrike" kern="1200" cap="none" spc="0" normalizeH="0" baseline="0" noProof="0" dirty="0">
                <a:ln>
                  <a:noFill/>
                </a:ln>
                <a:solidFill>
                  <a:srgbClr val="FFFFFF"/>
                </a:solidFill>
                <a:effectLst/>
                <a:uLnTx/>
                <a:uFillTx/>
                <a:latin typeface="Arial"/>
                <a:cs typeface="+mn-ea"/>
                <a:sym typeface="+mn-lt"/>
              </a:endParaRPr>
            </a:p>
          </p:txBody>
        </p:sp>
        <p:sp>
          <p:nvSpPr>
            <p:cNvPr id="36" name="Shape 114">
              <a:extLst>
                <a:ext uri="{FF2B5EF4-FFF2-40B4-BE49-F238E27FC236}">
                  <a16:creationId xmlns:a16="http://schemas.microsoft.com/office/drawing/2014/main" id="{891749AB-D5AC-4626-9824-EF12E6CC181C}"/>
                </a:ext>
              </a:extLst>
            </p:cNvPr>
            <p:cNvSpPr>
              <a:spLocks noChangeArrowheads="1"/>
            </p:cNvSpPr>
            <p:nvPr/>
          </p:nvSpPr>
          <p:spPr bwMode="auto">
            <a:xfrm>
              <a:off x="15396597" y="7177157"/>
              <a:ext cx="578024" cy="3795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altLang="ru-RU" sz="900" b="1" i="0" u="none" strike="noStrike" kern="1200" cap="none" spc="0" normalizeH="0" baseline="0" noProof="0" dirty="0" err="1">
                  <a:ln>
                    <a:noFill/>
                  </a:ln>
                  <a:solidFill>
                    <a:srgbClr val="FFFFFF"/>
                  </a:solidFill>
                  <a:effectLst/>
                  <a:uLnTx/>
                  <a:uFillTx/>
                  <a:latin typeface="Arial"/>
                  <a:cs typeface="+mn-ea"/>
                  <a:sym typeface="+mn-lt"/>
                </a:rPr>
                <a:t>B</a:t>
              </a:r>
              <a:endParaRPr kumimoji="0" lang="ru-RU" altLang="ru-RU" sz="900" b="1" i="0" u="none" strike="noStrike" kern="1200" cap="none" spc="0" normalizeH="0" baseline="0" noProof="0" dirty="0">
                <a:ln>
                  <a:noFill/>
                </a:ln>
                <a:solidFill>
                  <a:srgbClr val="FFFFFF"/>
                </a:solidFill>
                <a:effectLst/>
                <a:uLnTx/>
                <a:uFillTx/>
                <a:latin typeface="Arial"/>
                <a:cs typeface="+mn-ea"/>
                <a:sym typeface="+mn-lt"/>
              </a:endParaRPr>
            </a:p>
          </p:txBody>
        </p:sp>
      </p:grpSp>
      <p:sp>
        <p:nvSpPr>
          <p:cNvPr id="32" name="Shape 55">
            <a:extLst>
              <a:ext uri="{FF2B5EF4-FFF2-40B4-BE49-F238E27FC236}">
                <a16:creationId xmlns:a16="http://schemas.microsoft.com/office/drawing/2014/main" id="{A5112EAB-D0F0-4476-8F52-2FE65D1F70FF}"/>
              </a:ext>
            </a:extLst>
          </p:cNvPr>
          <p:cNvSpPr>
            <a:spLocks noChangeArrowheads="1"/>
          </p:cNvSpPr>
          <p:nvPr/>
        </p:nvSpPr>
        <p:spPr bwMode="auto">
          <a:xfrm>
            <a:off x="8208255" y="3369051"/>
            <a:ext cx="158575" cy="158602"/>
          </a:xfrm>
          <a:prstGeom prst="ellipse">
            <a:avLst/>
          </a:prstGeom>
          <a:solidFill>
            <a:srgbClr val="FFFFFF"/>
          </a:solidFill>
          <a:ln w="63500">
            <a:solidFill>
              <a:schemeClr val="accent1">
                <a:lumMod val="100000"/>
              </a:schemeClr>
            </a:solidFill>
            <a:miter lim="400000"/>
            <a:headEnd/>
            <a:tailEnd/>
          </a:ln>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FFFFFF"/>
              </a:solidFill>
              <a:effectLst/>
              <a:uLnTx/>
              <a:uFillTx/>
              <a:latin typeface="Arial"/>
              <a:cs typeface="+mn-ea"/>
              <a:sym typeface="+mn-lt"/>
            </a:endParaRPr>
          </a:p>
        </p:txBody>
      </p:sp>
      <p:sp>
        <p:nvSpPr>
          <p:cNvPr id="33" name="Shape 53">
            <a:extLst>
              <a:ext uri="{FF2B5EF4-FFF2-40B4-BE49-F238E27FC236}">
                <a16:creationId xmlns:a16="http://schemas.microsoft.com/office/drawing/2014/main" id="{1C89FC01-B07E-4915-B65C-442838666141}"/>
              </a:ext>
            </a:extLst>
          </p:cNvPr>
          <p:cNvSpPr>
            <a:spLocks noChangeArrowheads="1"/>
          </p:cNvSpPr>
          <p:nvPr/>
        </p:nvSpPr>
        <p:spPr bwMode="auto">
          <a:xfrm>
            <a:off x="6043243" y="3369051"/>
            <a:ext cx="158575" cy="158602"/>
          </a:xfrm>
          <a:prstGeom prst="ellipse">
            <a:avLst/>
          </a:prstGeom>
          <a:solidFill>
            <a:srgbClr val="FFFFFF"/>
          </a:solidFill>
          <a:ln w="63500">
            <a:solidFill>
              <a:schemeClr val="accent1">
                <a:lumMod val="100000"/>
              </a:schemeClr>
            </a:solidFill>
            <a:miter lim="400000"/>
            <a:headEnd/>
            <a:tailEnd/>
          </a:ln>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FFFFFF"/>
              </a:solidFill>
              <a:effectLst/>
              <a:uLnTx/>
              <a:uFillTx/>
              <a:latin typeface="Arial"/>
              <a:cs typeface="+mn-ea"/>
              <a:sym typeface="+mn-lt"/>
            </a:endParaRPr>
          </a:p>
        </p:txBody>
      </p:sp>
      <p:sp>
        <p:nvSpPr>
          <p:cNvPr id="34" name="Shape 66">
            <a:extLst>
              <a:ext uri="{FF2B5EF4-FFF2-40B4-BE49-F238E27FC236}">
                <a16:creationId xmlns:a16="http://schemas.microsoft.com/office/drawing/2014/main" id="{AD171B60-905B-4A1E-988E-80AA40AC6C8C}"/>
              </a:ext>
            </a:extLst>
          </p:cNvPr>
          <p:cNvSpPr>
            <a:spLocks noChangeArrowheads="1"/>
          </p:cNvSpPr>
          <p:nvPr/>
        </p:nvSpPr>
        <p:spPr bwMode="auto">
          <a:xfrm>
            <a:off x="3790160" y="3369051"/>
            <a:ext cx="158575" cy="158602"/>
          </a:xfrm>
          <a:prstGeom prst="ellipse">
            <a:avLst/>
          </a:prstGeom>
          <a:solidFill>
            <a:srgbClr val="FFFFFF"/>
          </a:solidFill>
          <a:ln w="63500">
            <a:solidFill>
              <a:schemeClr val="accent1">
                <a:lumMod val="100000"/>
              </a:schemeClr>
            </a:solidFill>
            <a:miter lim="400000"/>
            <a:headEnd/>
            <a:tailEnd/>
          </a:ln>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FFFFFF"/>
              </a:solidFill>
              <a:effectLst/>
              <a:uLnTx/>
              <a:uFillTx/>
              <a:latin typeface="Arial"/>
              <a:cs typeface="+mn-ea"/>
              <a:sym typeface="+mn-lt"/>
            </a:endParaRPr>
          </a:p>
        </p:txBody>
      </p:sp>
    </p:spTree>
    <p:extLst>
      <p:ext uri="{BB962C8B-B14F-4D97-AF65-F5344CB8AC3E}">
        <p14:creationId xmlns:p14="http://schemas.microsoft.com/office/powerpoint/2010/main" val="3844301092"/>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平行四边形 26">
            <a:extLst>
              <a:ext uri="{FF2B5EF4-FFF2-40B4-BE49-F238E27FC236}">
                <a16:creationId xmlns:a16="http://schemas.microsoft.com/office/drawing/2014/main" id="{130F41BC-8EBB-40CE-9E26-432A49583170}"/>
              </a:ext>
            </a:extLst>
          </p:cNvPr>
          <p:cNvSpPr/>
          <p:nvPr/>
        </p:nvSpPr>
        <p:spPr>
          <a:xfrm>
            <a:off x="9034363" y="0"/>
            <a:ext cx="3614837" cy="6858000"/>
          </a:xfrm>
          <a:prstGeom prst="parallelogram">
            <a:avLst>
              <a:gd name="adj" fmla="val 12191"/>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p>
        </p:txBody>
      </p:sp>
      <p:sp>
        <p:nvSpPr>
          <p:cNvPr id="28" name="平行四边形 27">
            <a:extLst>
              <a:ext uri="{FF2B5EF4-FFF2-40B4-BE49-F238E27FC236}">
                <a16:creationId xmlns:a16="http://schemas.microsoft.com/office/drawing/2014/main" id="{5A8933B2-124C-4D22-81F0-006BBB1A7AE4}"/>
              </a:ext>
            </a:extLst>
          </p:cNvPr>
          <p:cNvSpPr/>
          <p:nvPr/>
        </p:nvSpPr>
        <p:spPr>
          <a:xfrm>
            <a:off x="5868819" y="0"/>
            <a:ext cx="3614837" cy="6858000"/>
          </a:xfrm>
          <a:prstGeom prst="parallelogram">
            <a:avLst>
              <a:gd name="adj" fmla="val 12191"/>
            </a:avLst>
          </a:prstGeom>
          <a:solidFill>
            <a:schemeClr val="bg1">
              <a:lumMod val="85000"/>
              <a:alpha val="9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p>
        </p:txBody>
      </p:sp>
      <p:sp>
        <p:nvSpPr>
          <p:cNvPr id="26" name="平行四边形 25">
            <a:extLst>
              <a:ext uri="{FF2B5EF4-FFF2-40B4-BE49-F238E27FC236}">
                <a16:creationId xmlns:a16="http://schemas.microsoft.com/office/drawing/2014/main" id="{4590F2EF-89B5-43DE-A2B9-1C16F6B93D29}"/>
              </a:ext>
            </a:extLst>
          </p:cNvPr>
          <p:cNvSpPr/>
          <p:nvPr/>
        </p:nvSpPr>
        <p:spPr>
          <a:xfrm>
            <a:off x="2708344" y="0"/>
            <a:ext cx="3614837" cy="6858000"/>
          </a:xfrm>
          <a:prstGeom prst="parallelogram">
            <a:avLst>
              <a:gd name="adj" fmla="val 12191"/>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p>
        </p:txBody>
      </p:sp>
      <p:sp>
        <p:nvSpPr>
          <p:cNvPr id="2" name="平行四边形 1">
            <a:extLst>
              <a:ext uri="{FF2B5EF4-FFF2-40B4-BE49-F238E27FC236}">
                <a16:creationId xmlns:a16="http://schemas.microsoft.com/office/drawing/2014/main" id="{BDDD0655-2B2A-4CFD-8E56-73572D071385}"/>
              </a:ext>
            </a:extLst>
          </p:cNvPr>
          <p:cNvSpPr/>
          <p:nvPr/>
        </p:nvSpPr>
        <p:spPr>
          <a:xfrm>
            <a:off x="-457200" y="0"/>
            <a:ext cx="3614837" cy="6858000"/>
          </a:xfrm>
          <a:prstGeom prst="parallelogram">
            <a:avLst>
              <a:gd name="adj" fmla="val 12191"/>
            </a:avLst>
          </a:prstGeom>
          <a:solidFill>
            <a:schemeClr val="bg1">
              <a:lumMod val="85000"/>
              <a:alpha val="9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p>
        </p:txBody>
      </p:sp>
      <p:sp>
        <p:nvSpPr>
          <p:cNvPr id="8" name="任意多边形: 形状 7">
            <a:extLst>
              <a:ext uri="{FF2B5EF4-FFF2-40B4-BE49-F238E27FC236}">
                <a16:creationId xmlns:a16="http://schemas.microsoft.com/office/drawing/2014/main" id="{B36B357D-5F8C-4A12-B949-B57877D31795}"/>
              </a:ext>
            </a:extLst>
          </p:cNvPr>
          <p:cNvSpPr/>
          <p:nvPr/>
        </p:nvSpPr>
        <p:spPr>
          <a:xfrm>
            <a:off x="914400" y="425754"/>
            <a:ext cx="1219200" cy="1118208"/>
          </a:xfrm>
          <a:custGeom>
            <a:avLst/>
            <a:gdLst>
              <a:gd name="connsiteX0" fmla="*/ 1006264 w 1331826"/>
              <a:gd name="connsiteY0" fmla="*/ 238125 h 1221507"/>
              <a:gd name="connsiteX1" fmla="*/ 1123466 w 1331826"/>
              <a:gd name="connsiteY1" fmla="*/ 355327 h 1221507"/>
              <a:gd name="connsiteX2" fmla="*/ 1006264 w 1331826"/>
              <a:gd name="connsiteY2" fmla="*/ 472529 h 1221507"/>
              <a:gd name="connsiteX3" fmla="*/ 889062 w 1331826"/>
              <a:gd name="connsiteY3" fmla="*/ 355327 h 1221507"/>
              <a:gd name="connsiteX4" fmla="*/ 1006264 w 1331826"/>
              <a:gd name="connsiteY4" fmla="*/ 238125 h 1221507"/>
              <a:gd name="connsiteX5" fmla="*/ 172827 w 1331826"/>
              <a:gd name="connsiteY5" fmla="*/ 104180 h 1221507"/>
              <a:gd name="connsiteX6" fmla="*/ 105482 w 1331826"/>
              <a:gd name="connsiteY6" fmla="*/ 171152 h 1221507"/>
              <a:gd name="connsiteX7" fmla="*/ 105482 w 1331826"/>
              <a:gd name="connsiteY7" fmla="*/ 726281 h 1221507"/>
              <a:gd name="connsiteX8" fmla="*/ 179152 w 1331826"/>
              <a:gd name="connsiteY8" fmla="*/ 599777 h 1221507"/>
              <a:gd name="connsiteX9" fmla="*/ 303795 w 1331826"/>
              <a:gd name="connsiteY9" fmla="*/ 490761 h 1221507"/>
              <a:gd name="connsiteX10" fmla="*/ 414300 w 1331826"/>
              <a:gd name="connsiteY10" fmla="*/ 507504 h 1221507"/>
              <a:gd name="connsiteX11" fmla="*/ 731676 w 1331826"/>
              <a:gd name="connsiteY11" fmla="*/ 856878 h 1221507"/>
              <a:gd name="connsiteX12" fmla="*/ 780790 w 1331826"/>
              <a:gd name="connsiteY12" fmla="*/ 791022 h 1221507"/>
              <a:gd name="connsiteX13" fmla="*/ 988777 w 1331826"/>
              <a:gd name="connsiteY13" fmla="*/ 633264 h 1221507"/>
              <a:gd name="connsiteX14" fmla="*/ 1093329 w 1331826"/>
              <a:gd name="connsiteY14" fmla="*/ 666006 h 1221507"/>
              <a:gd name="connsiteX15" fmla="*/ 1227646 w 1331826"/>
              <a:gd name="connsiteY15" fmla="*/ 821159 h 1221507"/>
              <a:gd name="connsiteX16" fmla="*/ 1227646 w 1331826"/>
              <a:gd name="connsiteY16" fmla="*/ 171152 h 1221507"/>
              <a:gd name="connsiteX17" fmla="*/ 1160673 w 1331826"/>
              <a:gd name="connsiteY17" fmla="*/ 104180 h 1221507"/>
              <a:gd name="connsiteX18" fmla="*/ 172827 w 1331826"/>
              <a:gd name="connsiteY18" fmla="*/ 0 h 1221507"/>
              <a:gd name="connsiteX19" fmla="*/ 1160673 w 1331826"/>
              <a:gd name="connsiteY19" fmla="*/ 0 h 1221507"/>
              <a:gd name="connsiteX20" fmla="*/ 1331826 w 1331826"/>
              <a:gd name="connsiteY20" fmla="*/ 171152 h 1221507"/>
              <a:gd name="connsiteX21" fmla="*/ 1331826 w 1331826"/>
              <a:gd name="connsiteY21" fmla="*/ 1050355 h 1221507"/>
              <a:gd name="connsiteX22" fmla="*/ 1160673 w 1331826"/>
              <a:gd name="connsiteY22" fmla="*/ 1221507 h 1221507"/>
              <a:gd name="connsiteX23" fmla="*/ 172827 w 1331826"/>
              <a:gd name="connsiteY23" fmla="*/ 1221507 h 1221507"/>
              <a:gd name="connsiteX24" fmla="*/ 1674 w 1331826"/>
              <a:gd name="connsiteY24" fmla="*/ 1050355 h 1221507"/>
              <a:gd name="connsiteX25" fmla="*/ 1674 w 1331826"/>
              <a:gd name="connsiteY25" fmla="*/ 1006450 h 1221507"/>
              <a:gd name="connsiteX26" fmla="*/ 1674 w 1331826"/>
              <a:gd name="connsiteY26" fmla="*/ 980405 h 1221507"/>
              <a:gd name="connsiteX27" fmla="*/ 1674 w 1331826"/>
              <a:gd name="connsiteY27" fmla="*/ 171152 h 1221507"/>
              <a:gd name="connsiteX28" fmla="*/ 172827 w 1331826"/>
              <a:gd name="connsiteY28" fmla="*/ 0 h 1221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31826" h="1221507">
                <a:moveTo>
                  <a:pt x="1006264" y="238125"/>
                </a:moveTo>
                <a:cubicBezTo>
                  <a:pt x="1070993" y="238125"/>
                  <a:pt x="1123466" y="290598"/>
                  <a:pt x="1123466" y="355327"/>
                </a:cubicBezTo>
                <a:cubicBezTo>
                  <a:pt x="1123466" y="420056"/>
                  <a:pt x="1070993" y="472529"/>
                  <a:pt x="1006264" y="472529"/>
                </a:cubicBezTo>
                <a:cubicBezTo>
                  <a:pt x="941535" y="472529"/>
                  <a:pt x="889062" y="420056"/>
                  <a:pt x="889062" y="355327"/>
                </a:cubicBezTo>
                <a:cubicBezTo>
                  <a:pt x="889062" y="290598"/>
                  <a:pt x="941535" y="238125"/>
                  <a:pt x="1006264" y="238125"/>
                </a:cubicBezTo>
                <a:close/>
                <a:moveTo>
                  <a:pt x="172827" y="104180"/>
                </a:moveTo>
                <a:cubicBezTo>
                  <a:pt x="135620" y="104180"/>
                  <a:pt x="105854" y="133945"/>
                  <a:pt x="105482" y="171152"/>
                </a:cubicBezTo>
                <a:lnTo>
                  <a:pt x="105482" y="726281"/>
                </a:lnTo>
                <a:cubicBezTo>
                  <a:pt x="130411" y="676424"/>
                  <a:pt x="154967" y="634008"/>
                  <a:pt x="179152" y="599777"/>
                </a:cubicBezTo>
                <a:cubicBezTo>
                  <a:pt x="220824" y="540246"/>
                  <a:pt x="261751" y="504527"/>
                  <a:pt x="303795" y="490761"/>
                </a:cubicBezTo>
                <a:cubicBezTo>
                  <a:pt x="342491" y="478110"/>
                  <a:pt x="380442" y="483691"/>
                  <a:pt x="414300" y="507504"/>
                </a:cubicBezTo>
                <a:cubicBezTo>
                  <a:pt x="528526" y="587871"/>
                  <a:pt x="663215" y="762372"/>
                  <a:pt x="731676" y="856878"/>
                </a:cubicBezTo>
                <a:cubicBezTo>
                  <a:pt x="745443" y="837158"/>
                  <a:pt x="762186" y="814090"/>
                  <a:pt x="780790" y="791022"/>
                </a:cubicBezTo>
                <a:cubicBezTo>
                  <a:pt x="858552" y="693911"/>
                  <a:pt x="926641" y="642193"/>
                  <a:pt x="988777" y="633264"/>
                </a:cubicBezTo>
                <a:cubicBezTo>
                  <a:pt x="1028216" y="627683"/>
                  <a:pt x="1064307" y="638845"/>
                  <a:pt x="1093329" y="666006"/>
                </a:cubicBezTo>
                <a:cubicBezTo>
                  <a:pt x="1142070" y="711398"/>
                  <a:pt x="1188951" y="768697"/>
                  <a:pt x="1227646" y="821159"/>
                </a:cubicBezTo>
                <a:lnTo>
                  <a:pt x="1227646" y="171152"/>
                </a:lnTo>
                <a:cubicBezTo>
                  <a:pt x="1227646" y="134317"/>
                  <a:pt x="1197508" y="104180"/>
                  <a:pt x="1160673" y="104180"/>
                </a:cubicBezTo>
                <a:close/>
                <a:moveTo>
                  <a:pt x="172827" y="0"/>
                </a:moveTo>
                <a:lnTo>
                  <a:pt x="1160673" y="0"/>
                </a:lnTo>
                <a:cubicBezTo>
                  <a:pt x="1255179" y="0"/>
                  <a:pt x="1331826" y="76646"/>
                  <a:pt x="1331826" y="171152"/>
                </a:cubicBezTo>
                <a:lnTo>
                  <a:pt x="1331826" y="1050355"/>
                </a:lnTo>
                <a:cubicBezTo>
                  <a:pt x="1331826" y="1144860"/>
                  <a:pt x="1255179" y="1221507"/>
                  <a:pt x="1160673" y="1221507"/>
                </a:cubicBezTo>
                <a:lnTo>
                  <a:pt x="172827" y="1221507"/>
                </a:lnTo>
                <a:cubicBezTo>
                  <a:pt x="78321" y="1221507"/>
                  <a:pt x="1674" y="1144860"/>
                  <a:pt x="1674" y="1050355"/>
                </a:cubicBezTo>
                <a:lnTo>
                  <a:pt x="1674" y="1006450"/>
                </a:lnTo>
                <a:cubicBezTo>
                  <a:pt x="-558" y="997893"/>
                  <a:pt x="-558" y="989335"/>
                  <a:pt x="1674" y="980405"/>
                </a:cubicBezTo>
                <a:lnTo>
                  <a:pt x="1674" y="171152"/>
                </a:lnTo>
                <a:cubicBezTo>
                  <a:pt x="1674" y="76646"/>
                  <a:pt x="78321" y="0"/>
                  <a:pt x="172827" y="0"/>
                </a:cubicBezTo>
                <a:close/>
              </a:path>
            </a:pathLst>
          </a:custGeom>
          <a:solidFill>
            <a:schemeClr val="bg1">
              <a:alpha val="40000"/>
            </a:schemeClr>
          </a:solidFill>
          <a:ln w="1860" cap="flat">
            <a:noFill/>
            <a:prstDash val="solid"/>
            <a:miter/>
          </a:ln>
        </p:spPr>
        <p:txBody>
          <a:bodyPr rtlCol="0" anchor="ctr"/>
          <a:lstStyle/>
          <a:p>
            <a:endParaRPr lang="zh-CN" altLang="en-US"/>
          </a:p>
        </p:txBody>
      </p:sp>
      <p:sp>
        <p:nvSpPr>
          <p:cNvPr id="9" name="任意多边形: 形状 8">
            <a:extLst>
              <a:ext uri="{FF2B5EF4-FFF2-40B4-BE49-F238E27FC236}">
                <a16:creationId xmlns:a16="http://schemas.microsoft.com/office/drawing/2014/main" id="{5079AD50-AC28-4C22-B783-D6E1B92CCCEE}"/>
              </a:ext>
            </a:extLst>
          </p:cNvPr>
          <p:cNvSpPr/>
          <p:nvPr/>
        </p:nvSpPr>
        <p:spPr>
          <a:xfrm>
            <a:off x="3962400" y="425754"/>
            <a:ext cx="1219200" cy="1118208"/>
          </a:xfrm>
          <a:custGeom>
            <a:avLst/>
            <a:gdLst>
              <a:gd name="connsiteX0" fmla="*/ 1006264 w 1331826"/>
              <a:gd name="connsiteY0" fmla="*/ 238125 h 1221507"/>
              <a:gd name="connsiteX1" fmla="*/ 1123466 w 1331826"/>
              <a:gd name="connsiteY1" fmla="*/ 355327 h 1221507"/>
              <a:gd name="connsiteX2" fmla="*/ 1006264 w 1331826"/>
              <a:gd name="connsiteY2" fmla="*/ 472529 h 1221507"/>
              <a:gd name="connsiteX3" fmla="*/ 889062 w 1331826"/>
              <a:gd name="connsiteY3" fmla="*/ 355327 h 1221507"/>
              <a:gd name="connsiteX4" fmla="*/ 1006264 w 1331826"/>
              <a:gd name="connsiteY4" fmla="*/ 238125 h 1221507"/>
              <a:gd name="connsiteX5" fmla="*/ 172827 w 1331826"/>
              <a:gd name="connsiteY5" fmla="*/ 104180 h 1221507"/>
              <a:gd name="connsiteX6" fmla="*/ 105482 w 1331826"/>
              <a:gd name="connsiteY6" fmla="*/ 171152 h 1221507"/>
              <a:gd name="connsiteX7" fmla="*/ 105482 w 1331826"/>
              <a:gd name="connsiteY7" fmla="*/ 726281 h 1221507"/>
              <a:gd name="connsiteX8" fmla="*/ 179152 w 1331826"/>
              <a:gd name="connsiteY8" fmla="*/ 599777 h 1221507"/>
              <a:gd name="connsiteX9" fmla="*/ 303795 w 1331826"/>
              <a:gd name="connsiteY9" fmla="*/ 490761 h 1221507"/>
              <a:gd name="connsiteX10" fmla="*/ 414300 w 1331826"/>
              <a:gd name="connsiteY10" fmla="*/ 507504 h 1221507"/>
              <a:gd name="connsiteX11" fmla="*/ 731676 w 1331826"/>
              <a:gd name="connsiteY11" fmla="*/ 856878 h 1221507"/>
              <a:gd name="connsiteX12" fmla="*/ 780790 w 1331826"/>
              <a:gd name="connsiteY12" fmla="*/ 791022 h 1221507"/>
              <a:gd name="connsiteX13" fmla="*/ 988777 w 1331826"/>
              <a:gd name="connsiteY13" fmla="*/ 633264 h 1221507"/>
              <a:gd name="connsiteX14" fmla="*/ 1093329 w 1331826"/>
              <a:gd name="connsiteY14" fmla="*/ 666006 h 1221507"/>
              <a:gd name="connsiteX15" fmla="*/ 1227646 w 1331826"/>
              <a:gd name="connsiteY15" fmla="*/ 821159 h 1221507"/>
              <a:gd name="connsiteX16" fmla="*/ 1227646 w 1331826"/>
              <a:gd name="connsiteY16" fmla="*/ 171152 h 1221507"/>
              <a:gd name="connsiteX17" fmla="*/ 1160673 w 1331826"/>
              <a:gd name="connsiteY17" fmla="*/ 104180 h 1221507"/>
              <a:gd name="connsiteX18" fmla="*/ 172827 w 1331826"/>
              <a:gd name="connsiteY18" fmla="*/ 0 h 1221507"/>
              <a:gd name="connsiteX19" fmla="*/ 1160673 w 1331826"/>
              <a:gd name="connsiteY19" fmla="*/ 0 h 1221507"/>
              <a:gd name="connsiteX20" fmla="*/ 1331826 w 1331826"/>
              <a:gd name="connsiteY20" fmla="*/ 171152 h 1221507"/>
              <a:gd name="connsiteX21" fmla="*/ 1331826 w 1331826"/>
              <a:gd name="connsiteY21" fmla="*/ 1050355 h 1221507"/>
              <a:gd name="connsiteX22" fmla="*/ 1160673 w 1331826"/>
              <a:gd name="connsiteY22" fmla="*/ 1221507 h 1221507"/>
              <a:gd name="connsiteX23" fmla="*/ 172827 w 1331826"/>
              <a:gd name="connsiteY23" fmla="*/ 1221507 h 1221507"/>
              <a:gd name="connsiteX24" fmla="*/ 1674 w 1331826"/>
              <a:gd name="connsiteY24" fmla="*/ 1050355 h 1221507"/>
              <a:gd name="connsiteX25" fmla="*/ 1674 w 1331826"/>
              <a:gd name="connsiteY25" fmla="*/ 1006450 h 1221507"/>
              <a:gd name="connsiteX26" fmla="*/ 1674 w 1331826"/>
              <a:gd name="connsiteY26" fmla="*/ 980405 h 1221507"/>
              <a:gd name="connsiteX27" fmla="*/ 1674 w 1331826"/>
              <a:gd name="connsiteY27" fmla="*/ 171152 h 1221507"/>
              <a:gd name="connsiteX28" fmla="*/ 172827 w 1331826"/>
              <a:gd name="connsiteY28" fmla="*/ 0 h 1221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31826" h="1221507">
                <a:moveTo>
                  <a:pt x="1006264" y="238125"/>
                </a:moveTo>
                <a:cubicBezTo>
                  <a:pt x="1070993" y="238125"/>
                  <a:pt x="1123466" y="290598"/>
                  <a:pt x="1123466" y="355327"/>
                </a:cubicBezTo>
                <a:cubicBezTo>
                  <a:pt x="1123466" y="420056"/>
                  <a:pt x="1070993" y="472529"/>
                  <a:pt x="1006264" y="472529"/>
                </a:cubicBezTo>
                <a:cubicBezTo>
                  <a:pt x="941535" y="472529"/>
                  <a:pt x="889062" y="420056"/>
                  <a:pt x="889062" y="355327"/>
                </a:cubicBezTo>
                <a:cubicBezTo>
                  <a:pt x="889062" y="290598"/>
                  <a:pt x="941535" y="238125"/>
                  <a:pt x="1006264" y="238125"/>
                </a:cubicBezTo>
                <a:close/>
                <a:moveTo>
                  <a:pt x="172827" y="104180"/>
                </a:moveTo>
                <a:cubicBezTo>
                  <a:pt x="135620" y="104180"/>
                  <a:pt x="105854" y="133945"/>
                  <a:pt x="105482" y="171152"/>
                </a:cubicBezTo>
                <a:lnTo>
                  <a:pt x="105482" y="726281"/>
                </a:lnTo>
                <a:cubicBezTo>
                  <a:pt x="130411" y="676424"/>
                  <a:pt x="154967" y="634008"/>
                  <a:pt x="179152" y="599777"/>
                </a:cubicBezTo>
                <a:cubicBezTo>
                  <a:pt x="220824" y="540246"/>
                  <a:pt x="261751" y="504527"/>
                  <a:pt x="303795" y="490761"/>
                </a:cubicBezTo>
                <a:cubicBezTo>
                  <a:pt x="342491" y="478110"/>
                  <a:pt x="380442" y="483691"/>
                  <a:pt x="414300" y="507504"/>
                </a:cubicBezTo>
                <a:cubicBezTo>
                  <a:pt x="528526" y="587871"/>
                  <a:pt x="663215" y="762372"/>
                  <a:pt x="731676" y="856878"/>
                </a:cubicBezTo>
                <a:cubicBezTo>
                  <a:pt x="745443" y="837158"/>
                  <a:pt x="762186" y="814090"/>
                  <a:pt x="780790" y="791022"/>
                </a:cubicBezTo>
                <a:cubicBezTo>
                  <a:pt x="858552" y="693911"/>
                  <a:pt x="926641" y="642193"/>
                  <a:pt x="988777" y="633264"/>
                </a:cubicBezTo>
                <a:cubicBezTo>
                  <a:pt x="1028216" y="627683"/>
                  <a:pt x="1064307" y="638845"/>
                  <a:pt x="1093329" y="666006"/>
                </a:cubicBezTo>
                <a:cubicBezTo>
                  <a:pt x="1142070" y="711398"/>
                  <a:pt x="1188951" y="768697"/>
                  <a:pt x="1227646" y="821159"/>
                </a:cubicBezTo>
                <a:lnTo>
                  <a:pt x="1227646" y="171152"/>
                </a:lnTo>
                <a:cubicBezTo>
                  <a:pt x="1227646" y="134317"/>
                  <a:pt x="1197508" y="104180"/>
                  <a:pt x="1160673" y="104180"/>
                </a:cubicBezTo>
                <a:close/>
                <a:moveTo>
                  <a:pt x="172827" y="0"/>
                </a:moveTo>
                <a:lnTo>
                  <a:pt x="1160673" y="0"/>
                </a:lnTo>
                <a:cubicBezTo>
                  <a:pt x="1255179" y="0"/>
                  <a:pt x="1331826" y="76646"/>
                  <a:pt x="1331826" y="171152"/>
                </a:cubicBezTo>
                <a:lnTo>
                  <a:pt x="1331826" y="1050355"/>
                </a:lnTo>
                <a:cubicBezTo>
                  <a:pt x="1331826" y="1144860"/>
                  <a:pt x="1255179" y="1221507"/>
                  <a:pt x="1160673" y="1221507"/>
                </a:cubicBezTo>
                <a:lnTo>
                  <a:pt x="172827" y="1221507"/>
                </a:lnTo>
                <a:cubicBezTo>
                  <a:pt x="78321" y="1221507"/>
                  <a:pt x="1674" y="1144860"/>
                  <a:pt x="1674" y="1050355"/>
                </a:cubicBezTo>
                <a:lnTo>
                  <a:pt x="1674" y="1006450"/>
                </a:lnTo>
                <a:cubicBezTo>
                  <a:pt x="-558" y="997893"/>
                  <a:pt x="-558" y="989335"/>
                  <a:pt x="1674" y="980405"/>
                </a:cubicBezTo>
                <a:lnTo>
                  <a:pt x="1674" y="171152"/>
                </a:lnTo>
                <a:cubicBezTo>
                  <a:pt x="1674" y="76646"/>
                  <a:pt x="78321" y="0"/>
                  <a:pt x="172827" y="0"/>
                </a:cubicBezTo>
                <a:close/>
              </a:path>
            </a:pathLst>
          </a:custGeom>
          <a:solidFill>
            <a:schemeClr val="bg1">
              <a:alpha val="40000"/>
            </a:schemeClr>
          </a:solidFill>
          <a:ln w="1860" cap="flat">
            <a:noFill/>
            <a:prstDash val="solid"/>
            <a:miter/>
          </a:ln>
        </p:spPr>
        <p:txBody>
          <a:bodyPr rtlCol="0" anchor="ctr"/>
          <a:lstStyle/>
          <a:p>
            <a:endParaRPr lang="zh-CN" altLang="en-US"/>
          </a:p>
        </p:txBody>
      </p:sp>
      <p:sp>
        <p:nvSpPr>
          <p:cNvPr id="10" name="任意多边形: 形状 9">
            <a:extLst>
              <a:ext uri="{FF2B5EF4-FFF2-40B4-BE49-F238E27FC236}">
                <a16:creationId xmlns:a16="http://schemas.microsoft.com/office/drawing/2014/main" id="{AB12A8CC-04F3-44D1-B151-5E718AD95DD7}"/>
              </a:ext>
            </a:extLst>
          </p:cNvPr>
          <p:cNvSpPr/>
          <p:nvPr/>
        </p:nvSpPr>
        <p:spPr>
          <a:xfrm>
            <a:off x="7010400" y="425754"/>
            <a:ext cx="1219200" cy="1118208"/>
          </a:xfrm>
          <a:custGeom>
            <a:avLst/>
            <a:gdLst>
              <a:gd name="connsiteX0" fmla="*/ 1006264 w 1331826"/>
              <a:gd name="connsiteY0" fmla="*/ 238125 h 1221507"/>
              <a:gd name="connsiteX1" fmla="*/ 1123466 w 1331826"/>
              <a:gd name="connsiteY1" fmla="*/ 355327 h 1221507"/>
              <a:gd name="connsiteX2" fmla="*/ 1006264 w 1331826"/>
              <a:gd name="connsiteY2" fmla="*/ 472529 h 1221507"/>
              <a:gd name="connsiteX3" fmla="*/ 889062 w 1331826"/>
              <a:gd name="connsiteY3" fmla="*/ 355327 h 1221507"/>
              <a:gd name="connsiteX4" fmla="*/ 1006264 w 1331826"/>
              <a:gd name="connsiteY4" fmla="*/ 238125 h 1221507"/>
              <a:gd name="connsiteX5" fmla="*/ 172827 w 1331826"/>
              <a:gd name="connsiteY5" fmla="*/ 104180 h 1221507"/>
              <a:gd name="connsiteX6" fmla="*/ 105482 w 1331826"/>
              <a:gd name="connsiteY6" fmla="*/ 171152 h 1221507"/>
              <a:gd name="connsiteX7" fmla="*/ 105482 w 1331826"/>
              <a:gd name="connsiteY7" fmla="*/ 726281 h 1221507"/>
              <a:gd name="connsiteX8" fmla="*/ 179152 w 1331826"/>
              <a:gd name="connsiteY8" fmla="*/ 599777 h 1221507"/>
              <a:gd name="connsiteX9" fmla="*/ 303795 w 1331826"/>
              <a:gd name="connsiteY9" fmla="*/ 490761 h 1221507"/>
              <a:gd name="connsiteX10" fmla="*/ 414300 w 1331826"/>
              <a:gd name="connsiteY10" fmla="*/ 507504 h 1221507"/>
              <a:gd name="connsiteX11" fmla="*/ 731676 w 1331826"/>
              <a:gd name="connsiteY11" fmla="*/ 856878 h 1221507"/>
              <a:gd name="connsiteX12" fmla="*/ 780790 w 1331826"/>
              <a:gd name="connsiteY12" fmla="*/ 791022 h 1221507"/>
              <a:gd name="connsiteX13" fmla="*/ 988777 w 1331826"/>
              <a:gd name="connsiteY13" fmla="*/ 633264 h 1221507"/>
              <a:gd name="connsiteX14" fmla="*/ 1093329 w 1331826"/>
              <a:gd name="connsiteY14" fmla="*/ 666006 h 1221507"/>
              <a:gd name="connsiteX15" fmla="*/ 1227646 w 1331826"/>
              <a:gd name="connsiteY15" fmla="*/ 821159 h 1221507"/>
              <a:gd name="connsiteX16" fmla="*/ 1227646 w 1331826"/>
              <a:gd name="connsiteY16" fmla="*/ 171152 h 1221507"/>
              <a:gd name="connsiteX17" fmla="*/ 1160673 w 1331826"/>
              <a:gd name="connsiteY17" fmla="*/ 104180 h 1221507"/>
              <a:gd name="connsiteX18" fmla="*/ 172827 w 1331826"/>
              <a:gd name="connsiteY18" fmla="*/ 0 h 1221507"/>
              <a:gd name="connsiteX19" fmla="*/ 1160673 w 1331826"/>
              <a:gd name="connsiteY19" fmla="*/ 0 h 1221507"/>
              <a:gd name="connsiteX20" fmla="*/ 1331826 w 1331826"/>
              <a:gd name="connsiteY20" fmla="*/ 171152 h 1221507"/>
              <a:gd name="connsiteX21" fmla="*/ 1331826 w 1331826"/>
              <a:gd name="connsiteY21" fmla="*/ 1050355 h 1221507"/>
              <a:gd name="connsiteX22" fmla="*/ 1160673 w 1331826"/>
              <a:gd name="connsiteY22" fmla="*/ 1221507 h 1221507"/>
              <a:gd name="connsiteX23" fmla="*/ 172827 w 1331826"/>
              <a:gd name="connsiteY23" fmla="*/ 1221507 h 1221507"/>
              <a:gd name="connsiteX24" fmla="*/ 1674 w 1331826"/>
              <a:gd name="connsiteY24" fmla="*/ 1050355 h 1221507"/>
              <a:gd name="connsiteX25" fmla="*/ 1674 w 1331826"/>
              <a:gd name="connsiteY25" fmla="*/ 1006450 h 1221507"/>
              <a:gd name="connsiteX26" fmla="*/ 1674 w 1331826"/>
              <a:gd name="connsiteY26" fmla="*/ 980405 h 1221507"/>
              <a:gd name="connsiteX27" fmla="*/ 1674 w 1331826"/>
              <a:gd name="connsiteY27" fmla="*/ 171152 h 1221507"/>
              <a:gd name="connsiteX28" fmla="*/ 172827 w 1331826"/>
              <a:gd name="connsiteY28" fmla="*/ 0 h 1221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31826" h="1221507">
                <a:moveTo>
                  <a:pt x="1006264" y="238125"/>
                </a:moveTo>
                <a:cubicBezTo>
                  <a:pt x="1070993" y="238125"/>
                  <a:pt x="1123466" y="290598"/>
                  <a:pt x="1123466" y="355327"/>
                </a:cubicBezTo>
                <a:cubicBezTo>
                  <a:pt x="1123466" y="420056"/>
                  <a:pt x="1070993" y="472529"/>
                  <a:pt x="1006264" y="472529"/>
                </a:cubicBezTo>
                <a:cubicBezTo>
                  <a:pt x="941535" y="472529"/>
                  <a:pt x="889062" y="420056"/>
                  <a:pt x="889062" y="355327"/>
                </a:cubicBezTo>
                <a:cubicBezTo>
                  <a:pt x="889062" y="290598"/>
                  <a:pt x="941535" y="238125"/>
                  <a:pt x="1006264" y="238125"/>
                </a:cubicBezTo>
                <a:close/>
                <a:moveTo>
                  <a:pt x="172827" y="104180"/>
                </a:moveTo>
                <a:cubicBezTo>
                  <a:pt x="135620" y="104180"/>
                  <a:pt x="105854" y="133945"/>
                  <a:pt x="105482" y="171152"/>
                </a:cubicBezTo>
                <a:lnTo>
                  <a:pt x="105482" y="726281"/>
                </a:lnTo>
                <a:cubicBezTo>
                  <a:pt x="130411" y="676424"/>
                  <a:pt x="154967" y="634008"/>
                  <a:pt x="179152" y="599777"/>
                </a:cubicBezTo>
                <a:cubicBezTo>
                  <a:pt x="220824" y="540246"/>
                  <a:pt x="261751" y="504527"/>
                  <a:pt x="303795" y="490761"/>
                </a:cubicBezTo>
                <a:cubicBezTo>
                  <a:pt x="342491" y="478110"/>
                  <a:pt x="380442" y="483691"/>
                  <a:pt x="414300" y="507504"/>
                </a:cubicBezTo>
                <a:cubicBezTo>
                  <a:pt x="528526" y="587871"/>
                  <a:pt x="663215" y="762372"/>
                  <a:pt x="731676" y="856878"/>
                </a:cubicBezTo>
                <a:cubicBezTo>
                  <a:pt x="745443" y="837158"/>
                  <a:pt x="762186" y="814090"/>
                  <a:pt x="780790" y="791022"/>
                </a:cubicBezTo>
                <a:cubicBezTo>
                  <a:pt x="858552" y="693911"/>
                  <a:pt x="926641" y="642193"/>
                  <a:pt x="988777" y="633264"/>
                </a:cubicBezTo>
                <a:cubicBezTo>
                  <a:pt x="1028216" y="627683"/>
                  <a:pt x="1064307" y="638845"/>
                  <a:pt x="1093329" y="666006"/>
                </a:cubicBezTo>
                <a:cubicBezTo>
                  <a:pt x="1142070" y="711398"/>
                  <a:pt x="1188951" y="768697"/>
                  <a:pt x="1227646" y="821159"/>
                </a:cubicBezTo>
                <a:lnTo>
                  <a:pt x="1227646" y="171152"/>
                </a:lnTo>
                <a:cubicBezTo>
                  <a:pt x="1227646" y="134317"/>
                  <a:pt x="1197508" y="104180"/>
                  <a:pt x="1160673" y="104180"/>
                </a:cubicBezTo>
                <a:close/>
                <a:moveTo>
                  <a:pt x="172827" y="0"/>
                </a:moveTo>
                <a:lnTo>
                  <a:pt x="1160673" y="0"/>
                </a:lnTo>
                <a:cubicBezTo>
                  <a:pt x="1255179" y="0"/>
                  <a:pt x="1331826" y="76646"/>
                  <a:pt x="1331826" y="171152"/>
                </a:cubicBezTo>
                <a:lnTo>
                  <a:pt x="1331826" y="1050355"/>
                </a:lnTo>
                <a:cubicBezTo>
                  <a:pt x="1331826" y="1144860"/>
                  <a:pt x="1255179" y="1221507"/>
                  <a:pt x="1160673" y="1221507"/>
                </a:cubicBezTo>
                <a:lnTo>
                  <a:pt x="172827" y="1221507"/>
                </a:lnTo>
                <a:cubicBezTo>
                  <a:pt x="78321" y="1221507"/>
                  <a:pt x="1674" y="1144860"/>
                  <a:pt x="1674" y="1050355"/>
                </a:cubicBezTo>
                <a:lnTo>
                  <a:pt x="1674" y="1006450"/>
                </a:lnTo>
                <a:cubicBezTo>
                  <a:pt x="-558" y="997893"/>
                  <a:pt x="-558" y="989335"/>
                  <a:pt x="1674" y="980405"/>
                </a:cubicBezTo>
                <a:lnTo>
                  <a:pt x="1674" y="171152"/>
                </a:lnTo>
                <a:cubicBezTo>
                  <a:pt x="1674" y="76646"/>
                  <a:pt x="78321" y="0"/>
                  <a:pt x="172827" y="0"/>
                </a:cubicBezTo>
                <a:close/>
              </a:path>
            </a:pathLst>
          </a:custGeom>
          <a:solidFill>
            <a:schemeClr val="bg1">
              <a:alpha val="40000"/>
            </a:schemeClr>
          </a:solidFill>
          <a:ln w="1860" cap="flat">
            <a:noFill/>
            <a:prstDash val="solid"/>
            <a:miter/>
          </a:ln>
        </p:spPr>
        <p:txBody>
          <a:bodyPr rtlCol="0" anchor="ctr"/>
          <a:lstStyle/>
          <a:p>
            <a:endParaRPr lang="zh-CN" altLang="en-US"/>
          </a:p>
        </p:txBody>
      </p:sp>
      <p:sp>
        <p:nvSpPr>
          <p:cNvPr id="11" name="任意多边形: 形状 10">
            <a:extLst>
              <a:ext uri="{FF2B5EF4-FFF2-40B4-BE49-F238E27FC236}">
                <a16:creationId xmlns:a16="http://schemas.microsoft.com/office/drawing/2014/main" id="{F8397FA8-DAAB-423A-8FF2-0E3CAB9C0BE2}"/>
              </a:ext>
            </a:extLst>
          </p:cNvPr>
          <p:cNvSpPr/>
          <p:nvPr/>
        </p:nvSpPr>
        <p:spPr>
          <a:xfrm>
            <a:off x="10058400" y="425754"/>
            <a:ext cx="1219200" cy="1118208"/>
          </a:xfrm>
          <a:custGeom>
            <a:avLst/>
            <a:gdLst>
              <a:gd name="connsiteX0" fmla="*/ 1006264 w 1331826"/>
              <a:gd name="connsiteY0" fmla="*/ 238125 h 1221507"/>
              <a:gd name="connsiteX1" fmla="*/ 1123466 w 1331826"/>
              <a:gd name="connsiteY1" fmla="*/ 355327 h 1221507"/>
              <a:gd name="connsiteX2" fmla="*/ 1006264 w 1331826"/>
              <a:gd name="connsiteY2" fmla="*/ 472529 h 1221507"/>
              <a:gd name="connsiteX3" fmla="*/ 889062 w 1331826"/>
              <a:gd name="connsiteY3" fmla="*/ 355327 h 1221507"/>
              <a:gd name="connsiteX4" fmla="*/ 1006264 w 1331826"/>
              <a:gd name="connsiteY4" fmla="*/ 238125 h 1221507"/>
              <a:gd name="connsiteX5" fmla="*/ 172827 w 1331826"/>
              <a:gd name="connsiteY5" fmla="*/ 104180 h 1221507"/>
              <a:gd name="connsiteX6" fmla="*/ 105482 w 1331826"/>
              <a:gd name="connsiteY6" fmla="*/ 171152 h 1221507"/>
              <a:gd name="connsiteX7" fmla="*/ 105482 w 1331826"/>
              <a:gd name="connsiteY7" fmla="*/ 726281 h 1221507"/>
              <a:gd name="connsiteX8" fmla="*/ 179152 w 1331826"/>
              <a:gd name="connsiteY8" fmla="*/ 599777 h 1221507"/>
              <a:gd name="connsiteX9" fmla="*/ 303795 w 1331826"/>
              <a:gd name="connsiteY9" fmla="*/ 490761 h 1221507"/>
              <a:gd name="connsiteX10" fmla="*/ 414300 w 1331826"/>
              <a:gd name="connsiteY10" fmla="*/ 507504 h 1221507"/>
              <a:gd name="connsiteX11" fmla="*/ 731676 w 1331826"/>
              <a:gd name="connsiteY11" fmla="*/ 856878 h 1221507"/>
              <a:gd name="connsiteX12" fmla="*/ 780790 w 1331826"/>
              <a:gd name="connsiteY12" fmla="*/ 791022 h 1221507"/>
              <a:gd name="connsiteX13" fmla="*/ 988777 w 1331826"/>
              <a:gd name="connsiteY13" fmla="*/ 633264 h 1221507"/>
              <a:gd name="connsiteX14" fmla="*/ 1093329 w 1331826"/>
              <a:gd name="connsiteY14" fmla="*/ 666006 h 1221507"/>
              <a:gd name="connsiteX15" fmla="*/ 1227646 w 1331826"/>
              <a:gd name="connsiteY15" fmla="*/ 821159 h 1221507"/>
              <a:gd name="connsiteX16" fmla="*/ 1227646 w 1331826"/>
              <a:gd name="connsiteY16" fmla="*/ 171152 h 1221507"/>
              <a:gd name="connsiteX17" fmla="*/ 1160673 w 1331826"/>
              <a:gd name="connsiteY17" fmla="*/ 104180 h 1221507"/>
              <a:gd name="connsiteX18" fmla="*/ 172827 w 1331826"/>
              <a:gd name="connsiteY18" fmla="*/ 0 h 1221507"/>
              <a:gd name="connsiteX19" fmla="*/ 1160673 w 1331826"/>
              <a:gd name="connsiteY19" fmla="*/ 0 h 1221507"/>
              <a:gd name="connsiteX20" fmla="*/ 1331826 w 1331826"/>
              <a:gd name="connsiteY20" fmla="*/ 171152 h 1221507"/>
              <a:gd name="connsiteX21" fmla="*/ 1331826 w 1331826"/>
              <a:gd name="connsiteY21" fmla="*/ 1050355 h 1221507"/>
              <a:gd name="connsiteX22" fmla="*/ 1160673 w 1331826"/>
              <a:gd name="connsiteY22" fmla="*/ 1221507 h 1221507"/>
              <a:gd name="connsiteX23" fmla="*/ 172827 w 1331826"/>
              <a:gd name="connsiteY23" fmla="*/ 1221507 h 1221507"/>
              <a:gd name="connsiteX24" fmla="*/ 1674 w 1331826"/>
              <a:gd name="connsiteY24" fmla="*/ 1050355 h 1221507"/>
              <a:gd name="connsiteX25" fmla="*/ 1674 w 1331826"/>
              <a:gd name="connsiteY25" fmla="*/ 1006450 h 1221507"/>
              <a:gd name="connsiteX26" fmla="*/ 1674 w 1331826"/>
              <a:gd name="connsiteY26" fmla="*/ 980405 h 1221507"/>
              <a:gd name="connsiteX27" fmla="*/ 1674 w 1331826"/>
              <a:gd name="connsiteY27" fmla="*/ 171152 h 1221507"/>
              <a:gd name="connsiteX28" fmla="*/ 172827 w 1331826"/>
              <a:gd name="connsiteY28" fmla="*/ 0 h 1221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31826" h="1221507">
                <a:moveTo>
                  <a:pt x="1006264" y="238125"/>
                </a:moveTo>
                <a:cubicBezTo>
                  <a:pt x="1070993" y="238125"/>
                  <a:pt x="1123466" y="290598"/>
                  <a:pt x="1123466" y="355327"/>
                </a:cubicBezTo>
                <a:cubicBezTo>
                  <a:pt x="1123466" y="420056"/>
                  <a:pt x="1070993" y="472529"/>
                  <a:pt x="1006264" y="472529"/>
                </a:cubicBezTo>
                <a:cubicBezTo>
                  <a:pt x="941535" y="472529"/>
                  <a:pt x="889062" y="420056"/>
                  <a:pt x="889062" y="355327"/>
                </a:cubicBezTo>
                <a:cubicBezTo>
                  <a:pt x="889062" y="290598"/>
                  <a:pt x="941535" y="238125"/>
                  <a:pt x="1006264" y="238125"/>
                </a:cubicBezTo>
                <a:close/>
                <a:moveTo>
                  <a:pt x="172827" y="104180"/>
                </a:moveTo>
                <a:cubicBezTo>
                  <a:pt x="135620" y="104180"/>
                  <a:pt x="105854" y="133945"/>
                  <a:pt x="105482" y="171152"/>
                </a:cubicBezTo>
                <a:lnTo>
                  <a:pt x="105482" y="726281"/>
                </a:lnTo>
                <a:cubicBezTo>
                  <a:pt x="130411" y="676424"/>
                  <a:pt x="154967" y="634008"/>
                  <a:pt x="179152" y="599777"/>
                </a:cubicBezTo>
                <a:cubicBezTo>
                  <a:pt x="220824" y="540246"/>
                  <a:pt x="261751" y="504527"/>
                  <a:pt x="303795" y="490761"/>
                </a:cubicBezTo>
                <a:cubicBezTo>
                  <a:pt x="342491" y="478110"/>
                  <a:pt x="380442" y="483691"/>
                  <a:pt x="414300" y="507504"/>
                </a:cubicBezTo>
                <a:cubicBezTo>
                  <a:pt x="528526" y="587871"/>
                  <a:pt x="663215" y="762372"/>
                  <a:pt x="731676" y="856878"/>
                </a:cubicBezTo>
                <a:cubicBezTo>
                  <a:pt x="745443" y="837158"/>
                  <a:pt x="762186" y="814090"/>
                  <a:pt x="780790" y="791022"/>
                </a:cubicBezTo>
                <a:cubicBezTo>
                  <a:pt x="858552" y="693911"/>
                  <a:pt x="926641" y="642193"/>
                  <a:pt x="988777" y="633264"/>
                </a:cubicBezTo>
                <a:cubicBezTo>
                  <a:pt x="1028216" y="627683"/>
                  <a:pt x="1064307" y="638845"/>
                  <a:pt x="1093329" y="666006"/>
                </a:cubicBezTo>
                <a:cubicBezTo>
                  <a:pt x="1142070" y="711398"/>
                  <a:pt x="1188951" y="768697"/>
                  <a:pt x="1227646" y="821159"/>
                </a:cubicBezTo>
                <a:lnTo>
                  <a:pt x="1227646" y="171152"/>
                </a:lnTo>
                <a:cubicBezTo>
                  <a:pt x="1227646" y="134317"/>
                  <a:pt x="1197508" y="104180"/>
                  <a:pt x="1160673" y="104180"/>
                </a:cubicBezTo>
                <a:close/>
                <a:moveTo>
                  <a:pt x="172827" y="0"/>
                </a:moveTo>
                <a:lnTo>
                  <a:pt x="1160673" y="0"/>
                </a:lnTo>
                <a:cubicBezTo>
                  <a:pt x="1255179" y="0"/>
                  <a:pt x="1331826" y="76646"/>
                  <a:pt x="1331826" y="171152"/>
                </a:cubicBezTo>
                <a:lnTo>
                  <a:pt x="1331826" y="1050355"/>
                </a:lnTo>
                <a:cubicBezTo>
                  <a:pt x="1331826" y="1144860"/>
                  <a:pt x="1255179" y="1221507"/>
                  <a:pt x="1160673" y="1221507"/>
                </a:cubicBezTo>
                <a:lnTo>
                  <a:pt x="172827" y="1221507"/>
                </a:lnTo>
                <a:cubicBezTo>
                  <a:pt x="78321" y="1221507"/>
                  <a:pt x="1674" y="1144860"/>
                  <a:pt x="1674" y="1050355"/>
                </a:cubicBezTo>
                <a:lnTo>
                  <a:pt x="1674" y="1006450"/>
                </a:lnTo>
                <a:cubicBezTo>
                  <a:pt x="-558" y="997893"/>
                  <a:pt x="-558" y="989335"/>
                  <a:pt x="1674" y="980405"/>
                </a:cubicBezTo>
                <a:lnTo>
                  <a:pt x="1674" y="171152"/>
                </a:lnTo>
                <a:cubicBezTo>
                  <a:pt x="1674" y="76646"/>
                  <a:pt x="78321" y="0"/>
                  <a:pt x="172827" y="0"/>
                </a:cubicBezTo>
                <a:close/>
              </a:path>
            </a:pathLst>
          </a:custGeom>
          <a:solidFill>
            <a:schemeClr val="bg1">
              <a:alpha val="40000"/>
            </a:schemeClr>
          </a:solidFill>
          <a:ln w="1860" cap="flat">
            <a:noFill/>
            <a:prstDash val="solid"/>
            <a:miter/>
          </a:ln>
        </p:spPr>
        <p:txBody>
          <a:bodyPr rtlCol="0" anchor="ctr"/>
          <a:lstStyle/>
          <a:p>
            <a:endParaRPr lang="zh-CN" altLang="en-US"/>
          </a:p>
        </p:txBody>
      </p:sp>
      <p:sp>
        <p:nvSpPr>
          <p:cNvPr id="12" name="文本框 11">
            <a:extLst>
              <a:ext uri="{FF2B5EF4-FFF2-40B4-BE49-F238E27FC236}">
                <a16:creationId xmlns:a16="http://schemas.microsoft.com/office/drawing/2014/main" id="{F5934A15-98A8-4AA0-B638-38094E2AFC3B}"/>
              </a:ext>
            </a:extLst>
          </p:cNvPr>
          <p:cNvSpPr txBox="1"/>
          <p:nvPr/>
        </p:nvSpPr>
        <p:spPr>
          <a:xfrm>
            <a:off x="4759151" y="768880"/>
            <a:ext cx="2673698" cy="1354217"/>
          </a:xfrm>
          <a:prstGeom prst="rect">
            <a:avLst/>
          </a:prstGeom>
          <a:noFill/>
        </p:spPr>
        <p:txBody>
          <a:bodyPr wrap="square" lIns="0" tIns="0" rIns="0" bIns="0" rtlCol="0" anchor="t">
            <a:spAutoFit/>
          </a:bodyPr>
          <a:lstStyle/>
          <a:p>
            <a:pPr algn="dist"/>
            <a:r>
              <a:rPr lang="zh-CN" altLang="en-US" sz="8800" dirty="0">
                <a:solidFill>
                  <a:schemeClr val="accent1"/>
                </a:solidFill>
                <a:latin typeface="+mj-ea"/>
                <a:ea typeface="+mj-ea"/>
              </a:rPr>
              <a:t>目录</a:t>
            </a:r>
          </a:p>
        </p:txBody>
      </p:sp>
      <p:sp>
        <p:nvSpPr>
          <p:cNvPr id="13" name="文本框 12">
            <a:extLst>
              <a:ext uri="{FF2B5EF4-FFF2-40B4-BE49-F238E27FC236}">
                <a16:creationId xmlns:a16="http://schemas.microsoft.com/office/drawing/2014/main" id="{544494DD-F0CD-4281-B223-4754B8DC7D57}"/>
              </a:ext>
            </a:extLst>
          </p:cNvPr>
          <p:cNvSpPr txBox="1"/>
          <p:nvPr/>
        </p:nvSpPr>
        <p:spPr>
          <a:xfrm>
            <a:off x="4895849" y="2241782"/>
            <a:ext cx="2531437" cy="276999"/>
          </a:xfrm>
          <a:prstGeom prst="rect">
            <a:avLst/>
          </a:prstGeom>
          <a:noFill/>
        </p:spPr>
        <p:txBody>
          <a:bodyPr wrap="square" lIns="0" tIns="0" rIns="0" bIns="0" rtlCol="0" anchor="t">
            <a:spAutoFit/>
          </a:bodyPr>
          <a:lstStyle/>
          <a:p>
            <a:pPr algn="dist"/>
            <a:r>
              <a:rPr lang="en-US" altLang="zh-CN" dirty="0">
                <a:solidFill>
                  <a:schemeClr val="accent1"/>
                </a:solidFill>
              </a:rPr>
              <a:t>CONTENTS</a:t>
            </a:r>
            <a:endParaRPr lang="zh-CN" altLang="en-US" dirty="0">
              <a:solidFill>
                <a:schemeClr val="accent1"/>
              </a:solidFill>
            </a:endParaRPr>
          </a:p>
        </p:txBody>
      </p:sp>
      <p:sp>
        <p:nvSpPr>
          <p:cNvPr id="14" name="椭圆 13">
            <a:extLst>
              <a:ext uri="{FF2B5EF4-FFF2-40B4-BE49-F238E27FC236}">
                <a16:creationId xmlns:a16="http://schemas.microsoft.com/office/drawing/2014/main" id="{37DC8C52-1373-43E9-9B11-C462BD5BC3D9}"/>
              </a:ext>
            </a:extLst>
          </p:cNvPr>
          <p:cNvSpPr/>
          <p:nvPr/>
        </p:nvSpPr>
        <p:spPr>
          <a:xfrm>
            <a:off x="1099437" y="3082773"/>
            <a:ext cx="1118208" cy="1118208"/>
          </a:xfrm>
          <a:prstGeom prst="ellipse">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a:solidFill>
                  <a:schemeClr val="accent1"/>
                </a:solidFill>
              </a:rPr>
              <a:t>图标</a:t>
            </a:r>
          </a:p>
        </p:txBody>
      </p:sp>
      <p:sp>
        <p:nvSpPr>
          <p:cNvPr id="15" name="文本框 14">
            <a:extLst>
              <a:ext uri="{FF2B5EF4-FFF2-40B4-BE49-F238E27FC236}">
                <a16:creationId xmlns:a16="http://schemas.microsoft.com/office/drawing/2014/main" id="{5ED5F656-67CD-46E7-84BD-21F56D03682A}"/>
              </a:ext>
            </a:extLst>
          </p:cNvPr>
          <p:cNvSpPr txBox="1"/>
          <p:nvPr/>
        </p:nvSpPr>
        <p:spPr>
          <a:xfrm>
            <a:off x="735212" y="4358336"/>
            <a:ext cx="1846659" cy="369332"/>
          </a:xfrm>
          <a:prstGeom prst="rect">
            <a:avLst/>
          </a:prstGeom>
          <a:noFill/>
        </p:spPr>
        <p:txBody>
          <a:bodyPr wrap="none" lIns="0" tIns="0" rIns="0" bIns="0" rtlCol="0" anchor="t">
            <a:spAutoFit/>
          </a:bodyPr>
          <a:lstStyle/>
          <a:p>
            <a:pPr algn="ctr"/>
            <a:r>
              <a:rPr lang="zh-CN" altLang="en-US" sz="2400" dirty="0">
                <a:solidFill>
                  <a:schemeClr val="accent1"/>
                </a:solidFill>
                <a:latin typeface="+mj-ea"/>
                <a:ea typeface="+mj-ea"/>
              </a:rPr>
              <a:t>输入目录标题</a:t>
            </a:r>
          </a:p>
        </p:txBody>
      </p:sp>
      <p:sp>
        <p:nvSpPr>
          <p:cNvPr id="16" name="文本框 15">
            <a:extLst>
              <a:ext uri="{FF2B5EF4-FFF2-40B4-BE49-F238E27FC236}">
                <a16:creationId xmlns:a16="http://schemas.microsoft.com/office/drawing/2014/main" id="{BBF34DFA-B3FF-4FBF-9528-17073BC6B4CC}"/>
              </a:ext>
            </a:extLst>
          </p:cNvPr>
          <p:cNvSpPr txBox="1"/>
          <p:nvPr/>
        </p:nvSpPr>
        <p:spPr>
          <a:xfrm>
            <a:off x="735211" y="4819518"/>
            <a:ext cx="1846660" cy="215444"/>
          </a:xfrm>
          <a:prstGeom prst="rect">
            <a:avLst/>
          </a:prstGeom>
          <a:noFill/>
        </p:spPr>
        <p:txBody>
          <a:bodyPr wrap="square" lIns="0" tIns="0" rIns="0" bIns="0" rtlCol="0" anchor="t">
            <a:spAutoFit/>
          </a:bodyPr>
          <a:lstStyle/>
          <a:p>
            <a:pPr algn="dist"/>
            <a:r>
              <a:rPr lang="en-US" altLang="zh-CN" sz="1400" dirty="0">
                <a:solidFill>
                  <a:schemeClr val="accent1"/>
                </a:solidFill>
              </a:rPr>
              <a:t>Contents Title Here</a:t>
            </a:r>
            <a:endParaRPr lang="zh-CN" altLang="en-US" sz="1400" dirty="0">
              <a:solidFill>
                <a:schemeClr val="accent1"/>
              </a:solidFill>
            </a:endParaRPr>
          </a:p>
        </p:txBody>
      </p:sp>
      <p:sp>
        <p:nvSpPr>
          <p:cNvPr id="19" name="椭圆 18">
            <a:extLst>
              <a:ext uri="{FF2B5EF4-FFF2-40B4-BE49-F238E27FC236}">
                <a16:creationId xmlns:a16="http://schemas.microsoft.com/office/drawing/2014/main" id="{C49F7AFD-D8D8-4235-A150-E4D1F1700800}"/>
              </a:ext>
            </a:extLst>
          </p:cNvPr>
          <p:cNvSpPr/>
          <p:nvPr/>
        </p:nvSpPr>
        <p:spPr>
          <a:xfrm>
            <a:off x="4012896" y="3082773"/>
            <a:ext cx="1118208" cy="1118208"/>
          </a:xfrm>
          <a:prstGeom prst="ellipse">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a:solidFill>
                  <a:schemeClr val="accent1"/>
                </a:solidFill>
              </a:rPr>
              <a:t>图标</a:t>
            </a:r>
          </a:p>
        </p:txBody>
      </p:sp>
      <p:sp>
        <p:nvSpPr>
          <p:cNvPr id="20" name="文本框 19">
            <a:extLst>
              <a:ext uri="{FF2B5EF4-FFF2-40B4-BE49-F238E27FC236}">
                <a16:creationId xmlns:a16="http://schemas.microsoft.com/office/drawing/2014/main" id="{773FB742-A33F-491C-8B3E-B03DC1E1337A}"/>
              </a:ext>
            </a:extLst>
          </p:cNvPr>
          <p:cNvSpPr txBox="1"/>
          <p:nvPr/>
        </p:nvSpPr>
        <p:spPr>
          <a:xfrm>
            <a:off x="3648671" y="4358336"/>
            <a:ext cx="1846659" cy="369332"/>
          </a:xfrm>
          <a:prstGeom prst="rect">
            <a:avLst/>
          </a:prstGeom>
          <a:noFill/>
        </p:spPr>
        <p:txBody>
          <a:bodyPr wrap="none" lIns="0" tIns="0" rIns="0" bIns="0" rtlCol="0" anchor="t">
            <a:spAutoFit/>
          </a:bodyPr>
          <a:lstStyle/>
          <a:p>
            <a:pPr algn="ctr"/>
            <a:r>
              <a:rPr lang="zh-CN" altLang="en-US" sz="2400" dirty="0">
                <a:solidFill>
                  <a:schemeClr val="accent1"/>
                </a:solidFill>
                <a:latin typeface="+mj-ea"/>
                <a:ea typeface="+mj-ea"/>
              </a:rPr>
              <a:t>输入目录标题</a:t>
            </a:r>
          </a:p>
        </p:txBody>
      </p:sp>
      <p:sp>
        <p:nvSpPr>
          <p:cNvPr id="21" name="文本框 20">
            <a:extLst>
              <a:ext uri="{FF2B5EF4-FFF2-40B4-BE49-F238E27FC236}">
                <a16:creationId xmlns:a16="http://schemas.microsoft.com/office/drawing/2014/main" id="{8774D823-9BD8-4D6A-9B91-07F516236F07}"/>
              </a:ext>
            </a:extLst>
          </p:cNvPr>
          <p:cNvSpPr txBox="1"/>
          <p:nvPr/>
        </p:nvSpPr>
        <p:spPr>
          <a:xfrm>
            <a:off x="3648670" y="4819518"/>
            <a:ext cx="1846660" cy="215444"/>
          </a:xfrm>
          <a:prstGeom prst="rect">
            <a:avLst/>
          </a:prstGeom>
          <a:noFill/>
        </p:spPr>
        <p:txBody>
          <a:bodyPr wrap="square" lIns="0" tIns="0" rIns="0" bIns="0" rtlCol="0" anchor="t">
            <a:spAutoFit/>
          </a:bodyPr>
          <a:lstStyle/>
          <a:p>
            <a:pPr algn="dist"/>
            <a:r>
              <a:rPr lang="en-US" altLang="zh-CN" sz="1400" dirty="0">
                <a:solidFill>
                  <a:schemeClr val="accent1"/>
                </a:solidFill>
              </a:rPr>
              <a:t>Contents Title Here</a:t>
            </a:r>
            <a:endParaRPr lang="zh-CN" altLang="en-US" sz="1400" dirty="0">
              <a:solidFill>
                <a:schemeClr val="accent1"/>
              </a:solidFill>
            </a:endParaRPr>
          </a:p>
        </p:txBody>
      </p:sp>
      <p:sp>
        <p:nvSpPr>
          <p:cNvPr id="23" name="椭圆 22">
            <a:extLst>
              <a:ext uri="{FF2B5EF4-FFF2-40B4-BE49-F238E27FC236}">
                <a16:creationId xmlns:a16="http://schemas.microsoft.com/office/drawing/2014/main" id="{50459D3F-AFF9-4940-B20D-99C30BA4759E}"/>
              </a:ext>
            </a:extLst>
          </p:cNvPr>
          <p:cNvSpPr/>
          <p:nvPr/>
        </p:nvSpPr>
        <p:spPr>
          <a:xfrm>
            <a:off x="7059707" y="3082773"/>
            <a:ext cx="1118208" cy="1118208"/>
          </a:xfrm>
          <a:prstGeom prst="ellipse">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a:solidFill>
                  <a:schemeClr val="accent1"/>
                </a:solidFill>
              </a:rPr>
              <a:t>图标</a:t>
            </a:r>
          </a:p>
        </p:txBody>
      </p:sp>
      <p:sp>
        <p:nvSpPr>
          <p:cNvPr id="24" name="文本框 23">
            <a:extLst>
              <a:ext uri="{FF2B5EF4-FFF2-40B4-BE49-F238E27FC236}">
                <a16:creationId xmlns:a16="http://schemas.microsoft.com/office/drawing/2014/main" id="{A43ECEB1-9E48-4666-8D4B-56D4BF4071AA}"/>
              </a:ext>
            </a:extLst>
          </p:cNvPr>
          <p:cNvSpPr txBox="1"/>
          <p:nvPr/>
        </p:nvSpPr>
        <p:spPr>
          <a:xfrm>
            <a:off x="6695482" y="4358336"/>
            <a:ext cx="1846659" cy="369332"/>
          </a:xfrm>
          <a:prstGeom prst="rect">
            <a:avLst/>
          </a:prstGeom>
          <a:noFill/>
        </p:spPr>
        <p:txBody>
          <a:bodyPr wrap="none" lIns="0" tIns="0" rIns="0" bIns="0" rtlCol="0" anchor="t">
            <a:spAutoFit/>
          </a:bodyPr>
          <a:lstStyle/>
          <a:p>
            <a:pPr algn="ctr"/>
            <a:r>
              <a:rPr lang="zh-CN" altLang="en-US" sz="2400" dirty="0">
                <a:solidFill>
                  <a:schemeClr val="accent1"/>
                </a:solidFill>
                <a:latin typeface="+mj-ea"/>
                <a:ea typeface="+mj-ea"/>
              </a:rPr>
              <a:t>输入目录标题</a:t>
            </a:r>
          </a:p>
        </p:txBody>
      </p:sp>
      <p:sp>
        <p:nvSpPr>
          <p:cNvPr id="25" name="文本框 24">
            <a:extLst>
              <a:ext uri="{FF2B5EF4-FFF2-40B4-BE49-F238E27FC236}">
                <a16:creationId xmlns:a16="http://schemas.microsoft.com/office/drawing/2014/main" id="{DA2E6681-AC1A-4A68-8CA8-FBFCC7C2F768}"/>
              </a:ext>
            </a:extLst>
          </p:cNvPr>
          <p:cNvSpPr txBox="1"/>
          <p:nvPr/>
        </p:nvSpPr>
        <p:spPr>
          <a:xfrm>
            <a:off x="6695481" y="4819518"/>
            <a:ext cx="1846660" cy="215444"/>
          </a:xfrm>
          <a:prstGeom prst="rect">
            <a:avLst/>
          </a:prstGeom>
          <a:noFill/>
        </p:spPr>
        <p:txBody>
          <a:bodyPr wrap="square" lIns="0" tIns="0" rIns="0" bIns="0" rtlCol="0" anchor="t">
            <a:spAutoFit/>
          </a:bodyPr>
          <a:lstStyle/>
          <a:p>
            <a:pPr algn="dist"/>
            <a:r>
              <a:rPr lang="en-US" altLang="zh-CN" sz="1400" dirty="0">
                <a:solidFill>
                  <a:schemeClr val="accent1"/>
                </a:solidFill>
              </a:rPr>
              <a:t>Contents Title Here</a:t>
            </a:r>
            <a:endParaRPr lang="zh-CN" altLang="en-US" sz="1400" dirty="0">
              <a:solidFill>
                <a:schemeClr val="accent1"/>
              </a:solidFill>
            </a:endParaRPr>
          </a:p>
        </p:txBody>
      </p:sp>
      <p:sp>
        <p:nvSpPr>
          <p:cNvPr id="32" name="椭圆 31">
            <a:extLst>
              <a:ext uri="{FF2B5EF4-FFF2-40B4-BE49-F238E27FC236}">
                <a16:creationId xmlns:a16="http://schemas.microsoft.com/office/drawing/2014/main" id="{B9A6C9C6-BF34-4F21-B5AB-5D875974F497}"/>
              </a:ext>
            </a:extLst>
          </p:cNvPr>
          <p:cNvSpPr/>
          <p:nvPr/>
        </p:nvSpPr>
        <p:spPr>
          <a:xfrm>
            <a:off x="10108896" y="3082773"/>
            <a:ext cx="1118208" cy="1118208"/>
          </a:xfrm>
          <a:prstGeom prst="ellipse">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a:solidFill>
                  <a:schemeClr val="accent1"/>
                </a:solidFill>
              </a:rPr>
              <a:t>图标</a:t>
            </a:r>
          </a:p>
        </p:txBody>
      </p:sp>
      <p:sp>
        <p:nvSpPr>
          <p:cNvPr id="33" name="文本框 32">
            <a:extLst>
              <a:ext uri="{FF2B5EF4-FFF2-40B4-BE49-F238E27FC236}">
                <a16:creationId xmlns:a16="http://schemas.microsoft.com/office/drawing/2014/main" id="{E034E2BE-7962-420F-8D16-87236CD30FE8}"/>
              </a:ext>
            </a:extLst>
          </p:cNvPr>
          <p:cNvSpPr txBox="1"/>
          <p:nvPr/>
        </p:nvSpPr>
        <p:spPr>
          <a:xfrm>
            <a:off x="9744671" y="4358336"/>
            <a:ext cx="1846659" cy="369332"/>
          </a:xfrm>
          <a:prstGeom prst="rect">
            <a:avLst/>
          </a:prstGeom>
          <a:noFill/>
        </p:spPr>
        <p:txBody>
          <a:bodyPr wrap="none" lIns="0" tIns="0" rIns="0" bIns="0" rtlCol="0" anchor="t">
            <a:spAutoFit/>
          </a:bodyPr>
          <a:lstStyle/>
          <a:p>
            <a:pPr algn="ctr"/>
            <a:r>
              <a:rPr lang="zh-CN" altLang="en-US" sz="2400" dirty="0">
                <a:solidFill>
                  <a:schemeClr val="accent1"/>
                </a:solidFill>
                <a:latin typeface="+mj-ea"/>
                <a:ea typeface="+mj-ea"/>
              </a:rPr>
              <a:t>输入目录标题</a:t>
            </a:r>
          </a:p>
        </p:txBody>
      </p:sp>
      <p:sp>
        <p:nvSpPr>
          <p:cNvPr id="34" name="文本框 33">
            <a:extLst>
              <a:ext uri="{FF2B5EF4-FFF2-40B4-BE49-F238E27FC236}">
                <a16:creationId xmlns:a16="http://schemas.microsoft.com/office/drawing/2014/main" id="{D90E759D-46FC-4C98-87DB-B9C7A4BD2B72}"/>
              </a:ext>
            </a:extLst>
          </p:cNvPr>
          <p:cNvSpPr txBox="1"/>
          <p:nvPr/>
        </p:nvSpPr>
        <p:spPr>
          <a:xfrm>
            <a:off x="9744670" y="4819518"/>
            <a:ext cx="1846660" cy="215444"/>
          </a:xfrm>
          <a:prstGeom prst="rect">
            <a:avLst/>
          </a:prstGeom>
          <a:noFill/>
        </p:spPr>
        <p:txBody>
          <a:bodyPr wrap="square" lIns="0" tIns="0" rIns="0" bIns="0" rtlCol="0" anchor="t">
            <a:spAutoFit/>
          </a:bodyPr>
          <a:lstStyle/>
          <a:p>
            <a:pPr algn="dist"/>
            <a:r>
              <a:rPr lang="en-US" altLang="zh-CN" sz="1400" dirty="0">
                <a:solidFill>
                  <a:schemeClr val="accent1"/>
                </a:solidFill>
              </a:rPr>
              <a:t>Contents Title Here</a:t>
            </a:r>
            <a:endParaRPr lang="zh-CN" altLang="en-US" sz="1400" dirty="0">
              <a:solidFill>
                <a:schemeClr val="accent1"/>
              </a:solidFill>
            </a:endParaRPr>
          </a:p>
        </p:txBody>
      </p:sp>
      <p:cxnSp>
        <p:nvCxnSpPr>
          <p:cNvPr id="18" name="直接连接符 17">
            <a:extLst>
              <a:ext uri="{FF2B5EF4-FFF2-40B4-BE49-F238E27FC236}">
                <a16:creationId xmlns:a16="http://schemas.microsoft.com/office/drawing/2014/main" id="{EFDC7E50-C333-4649-84EE-F932586D197F}"/>
              </a:ext>
            </a:extLst>
          </p:cNvPr>
          <p:cNvCxnSpPr>
            <a:cxnSpLocks/>
          </p:cNvCxnSpPr>
          <p:nvPr/>
        </p:nvCxnSpPr>
        <p:spPr>
          <a:xfrm flipH="1">
            <a:off x="2715208" y="-46653"/>
            <a:ext cx="447871" cy="6876661"/>
          </a:xfrm>
          <a:prstGeom prst="line">
            <a:avLst/>
          </a:prstGeom>
          <a:ln w="60325">
            <a:gradFill>
              <a:gsLst>
                <a:gs pos="0">
                  <a:schemeClr val="accent1">
                    <a:lumMod val="5000"/>
                    <a:lumOff val="95000"/>
                    <a:alpha val="0"/>
                  </a:schemeClr>
                </a:gs>
                <a:gs pos="50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39" name="直接连接符 38">
            <a:extLst>
              <a:ext uri="{FF2B5EF4-FFF2-40B4-BE49-F238E27FC236}">
                <a16:creationId xmlns:a16="http://schemas.microsoft.com/office/drawing/2014/main" id="{5C61F8E9-0B51-4745-B9E4-5FA017DD5D50}"/>
              </a:ext>
            </a:extLst>
          </p:cNvPr>
          <p:cNvCxnSpPr>
            <a:cxnSpLocks/>
          </p:cNvCxnSpPr>
          <p:nvPr/>
        </p:nvCxnSpPr>
        <p:spPr>
          <a:xfrm flipH="1">
            <a:off x="5872064" y="-46653"/>
            <a:ext cx="447871" cy="6876661"/>
          </a:xfrm>
          <a:prstGeom prst="line">
            <a:avLst/>
          </a:prstGeom>
          <a:ln w="60325">
            <a:gradFill>
              <a:gsLst>
                <a:gs pos="0">
                  <a:schemeClr val="accent1">
                    <a:lumMod val="5000"/>
                    <a:lumOff val="95000"/>
                    <a:alpha val="0"/>
                  </a:schemeClr>
                </a:gs>
                <a:gs pos="50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40" name="直接连接符 39">
            <a:extLst>
              <a:ext uri="{FF2B5EF4-FFF2-40B4-BE49-F238E27FC236}">
                <a16:creationId xmlns:a16="http://schemas.microsoft.com/office/drawing/2014/main" id="{52B79D36-72AE-4BA7-952D-ACCEFB7D31AB}"/>
              </a:ext>
            </a:extLst>
          </p:cNvPr>
          <p:cNvCxnSpPr>
            <a:cxnSpLocks/>
          </p:cNvCxnSpPr>
          <p:nvPr/>
        </p:nvCxnSpPr>
        <p:spPr>
          <a:xfrm flipH="1">
            <a:off x="9045147" y="-46653"/>
            <a:ext cx="447871" cy="6876661"/>
          </a:xfrm>
          <a:prstGeom prst="line">
            <a:avLst/>
          </a:prstGeom>
          <a:ln w="60325">
            <a:gradFill>
              <a:gsLst>
                <a:gs pos="0">
                  <a:schemeClr val="accent1">
                    <a:lumMod val="5000"/>
                    <a:lumOff val="95000"/>
                    <a:alpha val="0"/>
                  </a:schemeClr>
                </a:gs>
                <a:gs pos="50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66892272"/>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7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hape 118">
            <a:extLst>
              <a:ext uri="{FF2B5EF4-FFF2-40B4-BE49-F238E27FC236}">
                <a16:creationId xmlns:a16="http://schemas.microsoft.com/office/drawing/2014/main" id="{9AD195D3-D3E9-40DC-9443-C579140C472E}"/>
              </a:ext>
            </a:extLst>
          </p:cNvPr>
          <p:cNvSpPr>
            <a:spLocks noChangeShapeType="1"/>
          </p:cNvSpPr>
          <p:nvPr/>
        </p:nvSpPr>
        <p:spPr bwMode="auto">
          <a:xfrm>
            <a:off x="3181177" y="3433054"/>
            <a:ext cx="5516217" cy="1"/>
          </a:xfrm>
          <a:prstGeom prst="line">
            <a:avLst/>
          </a:prstGeom>
          <a:noFill/>
          <a:ln w="63500">
            <a:solidFill>
              <a:schemeClr val="accent1">
                <a:lumMod val="100000"/>
              </a:schemeClr>
            </a:solidFill>
            <a:miter lim="400000"/>
            <a:headEnd/>
            <a:tailEnd/>
          </a:ln>
          <a:extLst>
            <a:ext uri="{909E8E84-426E-40DD-AFC4-6F175D3DCCD1}">
              <a14:hiddenFill xmlns:a14="http://schemas.microsoft.com/office/drawing/2010/main">
                <a:noFill/>
              </a14:hiddenFill>
            </a:ext>
          </a:extLst>
        </p:spPr>
        <p:txBody>
          <a:bodyPr lIns="25400" tIns="25400" rIns="25400" bIns="254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500" b="0" i="0" u="none" strike="noStrike" kern="1200" cap="none" spc="0" normalizeH="0" baseline="0" noProof="0">
              <a:ln>
                <a:noFill/>
              </a:ln>
              <a:solidFill>
                <a:srgbClr val="000000"/>
              </a:solidFill>
              <a:effectLst/>
              <a:uLnTx/>
              <a:uFillTx/>
              <a:latin typeface="Arial"/>
              <a:cs typeface="+mn-ea"/>
              <a:sym typeface="+mn-lt"/>
            </a:endParaRPr>
          </a:p>
        </p:txBody>
      </p:sp>
      <p:sp>
        <p:nvSpPr>
          <p:cNvPr id="4" name="Shape 119">
            <a:extLst>
              <a:ext uri="{FF2B5EF4-FFF2-40B4-BE49-F238E27FC236}">
                <a16:creationId xmlns:a16="http://schemas.microsoft.com/office/drawing/2014/main" id="{CE89C690-A438-4DA7-BB4D-954940DD780A}"/>
              </a:ext>
            </a:extLst>
          </p:cNvPr>
          <p:cNvSpPr>
            <a:spLocks noChangeShapeType="1"/>
          </p:cNvSpPr>
          <p:nvPr/>
        </p:nvSpPr>
        <p:spPr bwMode="auto">
          <a:xfrm flipH="1" flipV="1">
            <a:off x="3893462" y="1805225"/>
            <a:ext cx="1483996" cy="1622930"/>
          </a:xfrm>
          <a:prstGeom prst="line">
            <a:avLst/>
          </a:prstGeom>
          <a:noFill/>
          <a:ln w="63500">
            <a:solidFill>
              <a:schemeClr val="accent1">
                <a:lumMod val="100000"/>
              </a:schemeClr>
            </a:solidFill>
            <a:miter lim="400000"/>
            <a:headEnd/>
            <a:tailEnd/>
          </a:ln>
          <a:extLst>
            <a:ext uri="{909E8E84-426E-40DD-AFC4-6F175D3DCCD1}">
              <a14:hiddenFill xmlns:a14="http://schemas.microsoft.com/office/drawing/2010/main">
                <a:noFill/>
              </a14:hiddenFill>
            </a:ext>
          </a:extLst>
        </p:spPr>
        <p:txBody>
          <a:bodyPr lIns="25400" tIns="25400" rIns="25400" bIns="254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500" b="0" i="0" u="none" strike="noStrike" kern="1200" cap="none" spc="0" normalizeH="0" baseline="0" noProof="0">
              <a:ln>
                <a:noFill/>
              </a:ln>
              <a:solidFill>
                <a:srgbClr val="000000"/>
              </a:solidFill>
              <a:effectLst/>
              <a:uLnTx/>
              <a:uFillTx/>
              <a:latin typeface="Arial"/>
              <a:cs typeface="+mn-ea"/>
              <a:sym typeface="+mn-lt"/>
            </a:endParaRPr>
          </a:p>
        </p:txBody>
      </p:sp>
      <p:sp>
        <p:nvSpPr>
          <p:cNvPr id="5" name="Shape 120">
            <a:extLst>
              <a:ext uri="{FF2B5EF4-FFF2-40B4-BE49-F238E27FC236}">
                <a16:creationId xmlns:a16="http://schemas.microsoft.com/office/drawing/2014/main" id="{F1770B8F-29DA-4192-8B8F-DCEE43CF316C}"/>
              </a:ext>
            </a:extLst>
          </p:cNvPr>
          <p:cNvSpPr>
            <a:spLocks noChangeShapeType="1"/>
          </p:cNvSpPr>
          <p:nvPr/>
        </p:nvSpPr>
        <p:spPr bwMode="auto">
          <a:xfrm flipV="1">
            <a:off x="2834353" y="3466062"/>
            <a:ext cx="1431977" cy="1585828"/>
          </a:xfrm>
          <a:prstGeom prst="line">
            <a:avLst/>
          </a:prstGeom>
          <a:noFill/>
          <a:ln w="63500">
            <a:solidFill>
              <a:schemeClr val="accent1">
                <a:lumMod val="100000"/>
              </a:schemeClr>
            </a:solidFill>
            <a:miter lim="400000"/>
            <a:headEnd/>
            <a:tailEnd/>
          </a:ln>
          <a:extLst>
            <a:ext uri="{909E8E84-426E-40DD-AFC4-6F175D3DCCD1}">
              <a14:hiddenFill xmlns:a14="http://schemas.microsoft.com/office/drawing/2010/main">
                <a:noFill/>
              </a14:hiddenFill>
            </a:ext>
          </a:extLst>
        </p:spPr>
        <p:txBody>
          <a:bodyPr lIns="25400" tIns="25400" rIns="25400" bIns="254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500" b="0" i="0" u="none" strike="noStrike" kern="1200" cap="none" spc="0" normalizeH="0" baseline="0" noProof="0">
              <a:ln>
                <a:noFill/>
              </a:ln>
              <a:solidFill>
                <a:srgbClr val="000000"/>
              </a:solidFill>
              <a:effectLst/>
              <a:uLnTx/>
              <a:uFillTx/>
              <a:latin typeface="Arial"/>
              <a:cs typeface="+mn-ea"/>
              <a:sym typeface="+mn-lt"/>
            </a:endParaRPr>
          </a:p>
        </p:txBody>
      </p:sp>
      <p:sp>
        <p:nvSpPr>
          <p:cNvPr id="6" name="Shape 121">
            <a:extLst>
              <a:ext uri="{FF2B5EF4-FFF2-40B4-BE49-F238E27FC236}">
                <a16:creationId xmlns:a16="http://schemas.microsoft.com/office/drawing/2014/main" id="{A2F0C4A1-8CC0-4CFB-88A4-79551EE6685E}"/>
              </a:ext>
            </a:extLst>
          </p:cNvPr>
          <p:cNvSpPr>
            <a:spLocks noChangeShapeType="1"/>
          </p:cNvSpPr>
          <p:nvPr/>
        </p:nvSpPr>
        <p:spPr bwMode="auto">
          <a:xfrm flipH="1" flipV="1">
            <a:off x="6060757" y="1805225"/>
            <a:ext cx="1483996" cy="1622930"/>
          </a:xfrm>
          <a:prstGeom prst="line">
            <a:avLst/>
          </a:prstGeom>
          <a:noFill/>
          <a:ln w="63500">
            <a:solidFill>
              <a:schemeClr val="accent1">
                <a:lumMod val="100000"/>
              </a:schemeClr>
            </a:solidFill>
            <a:miter lim="400000"/>
            <a:headEnd/>
            <a:tailEnd/>
          </a:ln>
          <a:extLst>
            <a:ext uri="{909E8E84-426E-40DD-AFC4-6F175D3DCCD1}">
              <a14:hiddenFill xmlns:a14="http://schemas.microsoft.com/office/drawing/2010/main">
                <a:noFill/>
              </a14:hiddenFill>
            </a:ext>
          </a:extLst>
        </p:spPr>
        <p:txBody>
          <a:bodyPr lIns="25400" tIns="25400" rIns="25400" bIns="254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500" b="0" i="0" u="none" strike="noStrike" kern="1200" cap="none" spc="0" normalizeH="0" baseline="0" noProof="0">
              <a:ln>
                <a:noFill/>
              </a:ln>
              <a:solidFill>
                <a:srgbClr val="000000"/>
              </a:solidFill>
              <a:effectLst/>
              <a:uLnTx/>
              <a:uFillTx/>
              <a:latin typeface="Arial"/>
              <a:cs typeface="+mn-ea"/>
              <a:sym typeface="+mn-lt"/>
            </a:endParaRPr>
          </a:p>
        </p:txBody>
      </p:sp>
      <p:sp>
        <p:nvSpPr>
          <p:cNvPr id="7" name="Shape 122">
            <a:extLst>
              <a:ext uri="{FF2B5EF4-FFF2-40B4-BE49-F238E27FC236}">
                <a16:creationId xmlns:a16="http://schemas.microsoft.com/office/drawing/2014/main" id="{DA223122-18F2-4C97-9064-5AF80899A34B}"/>
              </a:ext>
            </a:extLst>
          </p:cNvPr>
          <p:cNvSpPr>
            <a:spLocks noChangeShapeType="1"/>
          </p:cNvSpPr>
          <p:nvPr/>
        </p:nvSpPr>
        <p:spPr bwMode="auto">
          <a:xfrm flipV="1">
            <a:off x="5005881" y="3466062"/>
            <a:ext cx="1431977" cy="1585828"/>
          </a:xfrm>
          <a:prstGeom prst="line">
            <a:avLst/>
          </a:prstGeom>
          <a:noFill/>
          <a:ln w="63500">
            <a:solidFill>
              <a:schemeClr val="accent1">
                <a:lumMod val="100000"/>
              </a:schemeClr>
            </a:solidFill>
            <a:miter lim="400000"/>
            <a:headEnd/>
            <a:tailEnd/>
          </a:ln>
          <a:extLst>
            <a:ext uri="{909E8E84-426E-40DD-AFC4-6F175D3DCCD1}">
              <a14:hiddenFill xmlns:a14="http://schemas.microsoft.com/office/drawing/2010/main">
                <a:noFill/>
              </a14:hiddenFill>
            </a:ext>
          </a:extLst>
        </p:spPr>
        <p:txBody>
          <a:bodyPr lIns="25400" tIns="25400" rIns="25400" bIns="254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500" b="0" i="0" u="none" strike="noStrike" kern="1200" cap="none" spc="0" normalizeH="0" baseline="0" noProof="0">
              <a:ln>
                <a:noFill/>
              </a:ln>
              <a:solidFill>
                <a:srgbClr val="000000"/>
              </a:solidFill>
              <a:effectLst/>
              <a:uLnTx/>
              <a:uFillTx/>
              <a:latin typeface="Arial"/>
              <a:cs typeface="+mn-ea"/>
              <a:sym typeface="+mn-lt"/>
            </a:endParaRPr>
          </a:p>
        </p:txBody>
      </p:sp>
      <p:sp>
        <p:nvSpPr>
          <p:cNvPr id="8" name="Shape 123">
            <a:extLst>
              <a:ext uri="{FF2B5EF4-FFF2-40B4-BE49-F238E27FC236}">
                <a16:creationId xmlns:a16="http://schemas.microsoft.com/office/drawing/2014/main" id="{F3E73D00-E322-4EEC-8AE7-2DC311B639F3}"/>
              </a:ext>
            </a:extLst>
          </p:cNvPr>
          <p:cNvSpPr>
            <a:spLocks noChangeArrowheads="1"/>
          </p:cNvSpPr>
          <p:nvPr/>
        </p:nvSpPr>
        <p:spPr bwMode="auto">
          <a:xfrm>
            <a:off x="4197945" y="3359249"/>
            <a:ext cx="158561" cy="158549"/>
          </a:xfrm>
          <a:prstGeom prst="ellipse">
            <a:avLst/>
          </a:prstGeom>
          <a:solidFill>
            <a:srgbClr val="FFFFFF"/>
          </a:solidFill>
          <a:ln w="63500">
            <a:solidFill>
              <a:schemeClr val="accent1">
                <a:lumMod val="100000"/>
              </a:schemeClr>
            </a:solidFill>
            <a:miter lim="400000"/>
            <a:headEnd/>
            <a:tailEnd/>
          </a:ln>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FFFFFF"/>
              </a:solidFill>
              <a:effectLst/>
              <a:uLnTx/>
              <a:uFillTx/>
              <a:latin typeface="Arial"/>
              <a:cs typeface="+mn-ea"/>
              <a:sym typeface="+mn-lt"/>
            </a:endParaRPr>
          </a:p>
        </p:txBody>
      </p:sp>
      <p:sp>
        <p:nvSpPr>
          <p:cNvPr id="9" name="Shape 124">
            <a:extLst>
              <a:ext uri="{FF2B5EF4-FFF2-40B4-BE49-F238E27FC236}">
                <a16:creationId xmlns:a16="http://schemas.microsoft.com/office/drawing/2014/main" id="{56FA18A3-8324-454E-A279-13355FB02487}"/>
              </a:ext>
            </a:extLst>
          </p:cNvPr>
          <p:cNvSpPr>
            <a:spLocks noChangeArrowheads="1"/>
          </p:cNvSpPr>
          <p:nvPr/>
        </p:nvSpPr>
        <p:spPr bwMode="auto">
          <a:xfrm>
            <a:off x="5309106" y="3359249"/>
            <a:ext cx="158561" cy="158549"/>
          </a:xfrm>
          <a:prstGeom prst="ellipse">
            <a:avLst/>
          </a:prstGeom>
          <a:solidFill>
            <a:srgbClr val="FFFFFF"/>
          </a:solidFill>
          <a:ln w="63500">
            <a:solidFill>
              <a:schemeClr val="accent1">
                <a:lumMod val="100000"/>
              </a:schemeClr>
            </a:solidFill>
            <a:miter lim="400000"/>
            <a:headEnd/>
            <a:tailEnd/>
          </a:ln>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FFFFFF"/>
              </a:solidFill>
              <a:effectLst/>
              <a:uLnTx/>
              <a:uFillTx/>
              <a:latin typeface="Arial"/>
              <a:cs typeface="+mn-ea"/>
              <a:sym typeface="+mn-lt"/>
            </a:endParaRPr>
          </a:p>
        </p:txBody>
      </p:sp>
      <p:sp>
        <p:nvSpPr>
          <p:cNvPr id="10" name="Shape 125">
            <a:extLst>
              <a:ext uri="{FF2B5EF4-FFF2-40B4-BE49-F238E27FC236}">
                <a16:creationId xmlns:a16="http://schemas.microsoft.com/office/drawing/2014/main" id="{4621DDFA-CD68-4DAF-BD41-2761A801D65F}"/>
              </a:ext>
            </a:extLst>
          </p:cNvPr>
          <p:cNvSpPr>
            <a:spLocks noChangeArrowheads="1"/>
          </p:cNvSpPr>
          <p:nvPr/>
        </p:nvSpPr>
        <p:spPr bwMode="auto">
          <a:xfrm>
            <a:off x="6354744" y="3359249"/>
            <a:ext cx="158561" cy="158549"/>
          </a:xfrm>
          <a:prstGeom prst="ellipse">
            <a:avLst/>
          </a:prstGeom>
          <a:solidFill>
            <a:srgbClr val="FFFFFF"/>
          </a:solidFill>
          <a:ln w="63500">
            <a:solidFill>
              <a:schemeClr val="accent1">
                <a:lumMod val="100000"/>
              </a:schemeClr>
            </a:solidFill>
            <a:miter lim="400000"/>
            <a:headEnd/>
            <a:tailEnd/>
          </a:ln>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FFFFFF"/>
              </a:solidFill>
              <a:effectLst/>
              <a:uLnTx/>
              <a:uFillTx/>
              <a:latin typeface="Arial"/>
              <a:cs typeface="+mn-ea"/>
              <a:sym typeface="+mn-lt"/>
            </a:endParaRPr>
          </a:p>
        </p:txBody>
      </p:sp>
      <p:sp>
        <p:nvSpPr>
          <p:cNvPr id="11" name="Shape 126">
            <a:extLst>
              <a:ext uri="{FF2B5EF4-FFF2-40B4-BE49-F238E27FC236}">
                <a16:creationId xmlns:a16="http://schemas.microsoft.com/office/drawing/2014/main" id="{5A6E0142-37EB-46E6-8F7F-7B3C3EF49B19}"/>
              </a:ext>
            </a:extLst>
          </p:cNvPr>
          <p:cNvSpPr>
            <a:spLocks noChangeArrowheads="1"/>
          </p:cNvSpPr>
          <p:nvPr/>
        </p:nvSpPr>
        <p:spPr bwMode="auto">
          <a:xfrm>
            <a:off x="7473927" y="3359249"/>
            <a:ext cx="158561" cy="158549"/>
          </a:xfrm>
          <a:prstGeom prst="ellipse">
            <a:avLst/>
          </a:prstGeom>
          <a:solidFill>
            <a:srgbClr val="FFFFFF"/>
          </a:solidFill>
          <a:ln w="63500">
            <a:solidFill>
              <a:schemeClr val="accent1">
                <a:lumMod val="100000"/>
              </a:schemeClr>
            </a:solidFill>
            <a:miter lim="400000"/>
            <a:headEnd/>
            <a:tailEnd/>
          </a:ln>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FFFFFF"/>
              </a:solidFill>
              <a:effectLst/>
              <a:uLnTx/>
              <a:uFillTx/>
              <a:latin typeface="Arial"/>
              <a:cs typeface="+mn-ea"/>
              <a:sym typeface="+mn-lt"/>
            </a:endParaRPr>
          </a:p>
        </p:txBody>
      </p:sp>
      <p:sp>
        <p:nvSpPr>
          <p:cNvPr id="12" name="Shape 127">
            <a:extLst>
              <a:ext uri="{FF2B5EF4-FFF2-40B4-BE49-F238E27FC236}">
                <a16:creationId xmlns:a16="http://schemas.microsoft.com/office/drawing/2014/main" id="{E40EFD68-02E1-417C-8FD7-35E163CA8B14}"/>
              </a:ext>
            </a:extLst>
          </p:cNvPr>
          <p:cNvSpPr>
            <a:spLocks noChangeArrowheads="1"/>
          </p:cNvSpPr>
          <p:nvPr/>
        </p:nvSpPr>
        <p:spPr bwMode="auto">
          <a:xfrm>
            <a:off x="3726903" y="3949398"/>
            <a:ext cx="104155" cy="104148"/>
          </a:xfrm>
          <a:prstGeom prst="ellipse">
            <a:avLst/>
          </a:prstGeom>
          <a:solidFill>
            <a:schemeClr val="accent1">
              <a:lumMod val="100000"/>
            </a:schemeClr>
          </a:solidFill>
          <a:ln>
            <a:noFill/>
          </a:ln>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FFFFFF"/>
              </a:solidFill>
              <a:effectLst/>
              <a:uLnTx/>
              <a:uFillTx/>
              <a:latin typeface="Arial"/>
              <a:cs typeface="+mn-ea"/>
              <a:sym typeface="+mn-lt"/>
            </a:endParaRPr>
          </a:p>
        </p:txBody>
      </p:sp>
      <p:sp>
        <p:nvSpPr>
          <p:cNvPr id="13" name="Shape 128">
            <a:extLst>
              <a:ext uri="{FF2B5EF4-FFF2-40B4-BE49-F238E27FC236}">
                <a16:creationId xmlns:a16="http://schemas.microsoft.com/office/drawing/2014/main" id="{328F564A-EBC4-45CA-B7A7-4E058F8F5511}"/>
              </a:ext>
            </a:extLst>
          </p:cNvPr>
          <p:cNvSpPr>
            <a:spLocks noChangeArrowheads="1"/>
          </p:cNvSpPr>
          <p:nvPr/>
        </p:nvSpPr>
        <p:spPr bwMode="auto">
          <a:xfrm>
            <a:off x="3261273" y="4470019"/>
            <a:ext cx="104155" cy="104148"/>
          </a:xfrm>
          <a:prstGeom prst="ellipse">
            <a:avLst/>
          </a:prstGeom>
          <a:solidFill>
            <a:schemeClr val="accent1">
              <a:lumMod val="100000"/>
            </a:schemeClr>
          </a:solidFill>
          <a:ln>
            <a:noFill/>
          </a:ln>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FFFFFF"/>
              </a:solidFill>
              <a:effectLst/>
              <a:uLnTx/>
              <a:uFillTx/>
              <a:latin typeface="Arial"/>
              <a:cs typeface="+mn-ea"/>
              <a:sym typeface="+mn-lt"/>
            </a:endParaRPr>
          </a:p>
        </p:txBody>
      </p:sp>
      <p:sp>
        <p:nvSpPr>
          <p:cNvPr id="14" name="Shape 129">
            <a:extLst>
              <a:ext uri="{FF2B5EF4-FFF2-40B4-BE49-F238E27FC236}">
                <a16:creationId xmlns:a16="http://schemas.microsoft.com/office/drawing/2014/main" id="{07E2B16F-4A85-422E-87D3-ADE5AA0E3EA1}"/>
              </a:ext>
            </a:extLst>
          </p:cNvPr>
          <p:cNvSpPr>
            <a:spLocks noChangeArrowheads="1"/>
          </p:cNvSpPr>
          <p:nvPr/>
        </p:nvSpPr>
        <p:spPr bwMode="auto">
          <a:xfrm>
            <a:off x="2598416" y="5039514"/>
            <a:ext cx="1676641" cy="360368"/>
          </a:xfrm>
          <a:prstGeom prst="roundRect">
            <a:avLst>
              <a:gd name="adj" fmla="val 50000"/>
            </a:avLst>
          </a:prstGeom>
          <a:solidFill>
            <a:schemeClr val="accent1">
              <a:lumMod val="100000"/>
            </a:schemeClr>
          </a:solidFill>
          <a:ln>
            <a:noFill/>
          </a:ln>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FFFFFF"/>
              </a:solidFill>
              <a:effectLst/>
              <a:uLnTx/>
              <a:uFillTx/>
              <a:latin typeface="Arial"/>
              <a:cs typeface="+mn-ea"/>
              <a:sym typeface="+mn-lt"/>
            </a:endParaRPr>
          </a:p>
        </p:txBody>
      </p:sp>
      <p:sp>
        <p:nvSpPr>
          <p:cNvPr id="15" name="Shape 130">
            <a:extLst>
              <a:ext uri="{FF2B5EF4-FFF2-40B4-BE49-F238E27FC236}">
                <a16:creationId xmlns:a16="http://schemas.microsoft.com/office/drawing/2014/main" id="{4DD9FB67-2A7B-4015-A5F5-775235FE0BFD}"/>
              </a:ext>
            </a:extLst>
          </p:cNvPr>
          <p:cNvSpPr>
            <a:spLocks noChangeArrowheads="1"/>
          </p:cNvSpPr>
          <p:nvPr/>
        </p:nvSpPr>
        <p:spPr bwMode="auto">
          <a:xfrm>
            <a:off x="2971015" y="5105977"/>
            <a:ext cx="1171467" cy="2128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altLang="ru-RU" sz="1050" b="1" i="0" u="none" strike="noStrike" kern="1200" cap="none" spc="0" normalizeH="0" baseline="0" noProof="0">
                <a:ln>
                  <a:noFill/>
                </a:ln>
                <a:solidFill>
                  <a:srgbClr val="FFFFFF"/>
                </a:solidFill>
                <a:effectLst/>
                <a:uLnTx/>
                <a:uFillTx/>
                <a:latin typeface="Arial"/>
                <a:cs typeface="+mn-ea"/>
                <a:sym typeface="+mn-lt"/>
              </a:rPr>
              <a:t>Information text</a:t>
            </a:r>
          </a:p>
        </p:txBody>
      </p:sp>
      <p:sp>
        <p:nvSpPr>
          <p:cNvPr id="16" name="Shape 131">
            <a:extLst>
              <a:ext uri="{FF2B5EF4-FFF2-40B4-BE49-F238E27FC236}">
                <a16:creationId xmlns:a16="http://schemas.microsoft.com/office/drawing/2014/main" id="{611C9C45-8B5B-4DC1-925B-55AE32373247}"/>
              </a:ext>
            </a:extLst>
          </p:cNvPr>
          <p:cNvSpPr>
            <a:spLocks noChangeArrowheads="1"/>
          </p:cNvSpPr>
          <p:nvPr/>
        </p:nvSpPr>
        <p:spPr bwMode="auto">
          <a:xfrm>
            <a:off x="2632665" y="5074495"/>
            <a:ext cx="290426" cy="290405"/>
          </a:xfrm>
          <a:prstGeom prst="ellipse">
            <a:avLst/>
          </a:prstGeom>
          <a:solidFill>
            <a:srgbClr val="FFFFFF"/>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FFFFFF"/>
              </a:solidFill>
              <a:effectLst/>
              <a:uLnTx/>
              <a:uFillTx/>
              <a:latin typeface="Arial"/>
              <a:cs typeface="+mn-ea"/>
              <a:sym typeface="+mn-lt"/>
            </a:endParaRPr>
          </a:p>
        </p:txBody>
      </p:sp>
      <p:sp>
        <p:nvSpPr>
          <p:cNvPr id="17" name="Shape 132">
            <a:extLst>
              <a:ext uri="{FF2B5EF4-FFF2-40B4-BE49-F238E27FC236}">
                <a16:creationId xmlns:a16="http://schemas.microsoft.com/office/drawing/2014/main" id="{59FB279F-6C9A-4059-B425-0FAAA28B59CA}"/>
              </a:ext>
            </a:extLst>
          </p:cNvPr>
          <p:cNvSpPr>
            <a:spLocks noChangeArrowheads="1"/>
          </p:cNvSpPr>
          <p:nvPr/>
        </p:nvSpPr>
        <p:spPr bwMode="auto">
          <a:xfrm>
            <a:off x="4752383" y="5039514"/>
            <a:ext cx="1676641" cy="360368"/>
          </a:xfrm>
          <a:prstGeom prst="roundRect">
            <a:avLst>
              <a:gd name="adj" fmla="val 50000"/>
            </a:avLst>
          </a:prstGeom>
          <a:solidFill>
            <a:schemeClr val="accent1">
              <a:lumMod val="100000"/>
            </a:schemeClr>
          </a:solidFill>
          <a:ln>
            <a:noFill/>
          </a:ln>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FFFFFF"/>
              </a:solidFill>
              <a:effectLst/>
              <a:uLnTx/>
              <a:uFillTx/>
              <a:latin typeface="Arial"/>
              <a:cs typeface="+mn-ea"/>
              <a:sym typeface="+mn-lt"/>
            </a:endParaRPr>
          </a:p>
        </p:txBody>
      </p:sp>
      <p:sp>
        <p:nvSpPr>
          <p:cNvPr id="18" name="Shape 133">
            <a:extLst>
              <a:ext uri="{FF2B5EF4-FFF2-40B4-BE49-F238E27FC236}">
                <a16:creationId xmlns:a16="http://schemas.microsoft.com/office/drawing/2014/main" id="{6C691199-C4D0-479A-8C04-DD3D7CAA965F}"/>
              </a:ext>
            </a:extLst>
          </p:cNvPr>
          <p:cNvSpPr>
            <a:spLocks noChangeArrowheads="1"/>
          </p:cNvSpPr>
          <p:nvPr/>
        </p:nvSpPr>
        <p:spPr bwMode="auto">
          <a:xfrm>
            <a:off x="5124982" y="5105977"/>
            <a:ext cx="1171467" cy="2128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altLang="ru-RU" sz="1050" b="1" i="0" u="none" strike="noStrike" kern="1200" cap="none" spc="0" normalizeH="0" baseline="0" noProof="0">
                <a:ln>
                  <a:noFill/>
                </a:ln>
                <a:solidFill>
                  <a:srgbClr val="FFFFFF"/>
                </a:solidFill>
                <a:effectLst/>
                <a:uLnTx/>
                <a:uFillTx/>
                <a:latin typeface="Arial"/>
                <a:cs typeface="+mn-ea"/>
                <a:sym typeface="+mn-lt"/>
              </a:rPr>
              <a:t>Information text</a:t>
            </a:r>
          </a:p>
        </p:txBody>
      </p:sp>
      <p:sp>
        <p:nvSpPr>
          <p:cNvPr id="19" name="Shape 134">
            <a:extLst>
              <a:ext uri="{FF2B5EF4-FFF2-40B4-BE49-F238E27FC236}">
                <a16:creationId xmlns:a16="http://schemas.microsoft.com/office/drawing/2014/main" id="{5A9D6889-A47C-47B5-9A3F-1BB0E26B4856}"/>
              </a:ext>
            </a:extLst>
          </p:cNvPr>
          <p:cNvSpPr>
            <a:spLocks noChangeArrowheads="1"/>
          </p:cNvSpPr>
          <p:nvPr/>
        </p:nvSpPr>
        <p:spPr bwMode="auto">
          <a:xfrm>
            <a:off x="4786632" y="5074495"/>
            <a:ext cx="290426" cy="290405"/>
          </a:xfrm>
          <a:prstGeom prst="ellipse">
            <a:avLst/>
          </a:prstGeom>
          <a:solidFill>
            <a:srgbClr val="FFFFFF"/>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FFFFFF"/>
              </a:solidFill>
              <a:effectLst/>
              <a:uLnTx/>
              <a:uFillTx/>
              <a:latin typeface="Arial"/>
              <a:cs typeface="+mn-ea"/>
              <a:sym typeface="+mn-lt"/>
            </a:endParaRPr>
          </a:p>
        </p:txBody>
      </p:sp>
      <p:sp>
        <p:nvSpPr>
          <p:cNvPr id="20" name="Shape 135">
            <a:extLst>
              <a:ext uri="{FF2B5EF4-FFF2-40B4-BE49-F238E27FC236}">
                <a16:creationId xmlns:a16="http://schemas.microsoft.com/office/drawing/2014/main" id="{77B52E65-05AC-4E43-AC31-F28844A7C845}"/>
              </a:ext>
            </a:extLst>
          </p:cNvPr>
          <p:cNvSpPr>
            <a:spLocks noChangeArrowheads="1"/>
          </p:cNvSpPr>
          <p:nvPr/>
        </p:nvSpPr>
        <p:spPr bwMode="auto">
          <a:xfrm>
            <a:off x="3692352" y="1458118"/>
            <a:ext cx="1676641" cy="360368"/>
          </a:xfrm>
          <a:prstGeom prst="roundRect">
            <a:avLst>
              <a:gd name="adj" fmla="val 50000"/>
            </a:avLst>
          </a:prstGeom>
          <a:solidFill>
            <a:schemeClr val="accent1">
              <a:lumMod val="100000"/>
            </a:schemeClr>
          </a:solidFill>
          <a:ln>
            <a:noFill/>
          </a:ln>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FFFFFF"/>
              </a:solidFill>
              <a:effectLst/>
              <a:uLnTx/>
              <a:uFillTx/>
              <a:latin typeface="Arial"/>
              <a:cs typeface="+mn-ea"/>
              <a:sym typeface="+mn-lt"/>
            </a:endParaRPr>
          </a:p>
        </p:txBody>
      </p:sp>
      <p:sp>
        <p:nvSpPr>
          <p:cNvPr id="21" name="Shape 136">
            <a:extLst>
              <a:ext uri="{FF2B5EF4-FFF2-40B4-BE49-F238E27FC236}">
                <a16:creationId xmlns:a16="http://schemas.microsoft.com/office/drawing/2014/main" id="{70AEC8F1-32B1-44C9-96E0-7AADBA71C021}"/>
              </a:ext>
            </a:extLst>
          </p:cNvPr>
          <p:cNvSpPr>
            <a:spLocks noChangeArrowheads="1"/>
          </p:cNvSpPr>
          <p:nvPr/>
        </p:nvSpPr>
        <p:spPr bwMode="auto">
          <a:xfrm>
            <a:off x="4064951" y="1524581"/>
            <a:ext cx="1171468" cy="2128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altLang="ru-RU" sz="1050" b="1" i="0" u="none" strike="noStrike" kern="1200" cap="none" spc="0" normalizeH="0" baseline="0" noProof="0">
                <a:ln>
                  <a:noFill/>
                </a:ln>
                <a:solidFill>
                  <a:srgbClr val="FFFFFF"/>
                </a:solidFill>
                <a:effectLst/>
                <a:uLnTx/>
                <a:uFillTx/>
                <a:latin typeface="Arial"/>
                <a:cs typeface="+mn-ea"/>
                <a:sym typeface="+mn-lt"/>
              </a:rPr>
              <a:t>Information text</a:t>
            </a:r>
          </a:p>
        </p:txBody>
      </p:sp>
      <p:sp>
        <p:nvSpPr>
          <p:cNvPr id="22" name="Shape 137">
            <a:extLst>
              <a:ext uri="{FF2B5EF4-FFF2-40B4-BE49-F238E27FC236}">
                <a16:creationId xmlns:a16="http://schemas.microsoft.com/office/drawing/2014/main" id="{38C5A7CD-3650-4977-BA7D-798DB736A5C0}"/>
              </a:ext>
            </a:extLst>
          </p:cNvPr>
          <p:cNvSpPr>
            <a:spLocks noChangeArrowheads="1"/>
          </p:cNvSpPr>
          <p:nvPr/>
        </p:nvSpPr>
        <p:spPr bwMode="auto">
          <a:xfrm>
            <a:off x="3726601" y="1493099"/>
            <a:ext cx="290426" cy="290405"/>
          </a:xfrm>
          <a:prstGeom prst="ellipse">
            <a:avLst/>
          </a:prstGeom>
          <a:solidFill>
            <a:srgbClr val="FFFFFF"/>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FFFFFF"/>
              </a:solidFill>
              <a:effectLst/>
              <a:uLnTx/>
              <a:uFillTx/>
              <a:latin typeface="Arial"/>
              <a:cs typeface="+mn-ea"/>
              <a:sym typeface="+mn-lt"/>
            </a:endParaRPr>
          </a:p>
        </p:txBody>
      </p:sp>
      <p:sp>
        <p:nvSpPr>
          <p:cNvPr id="23" name="Shape 138">
            <a:extLst>
              <a:ext uri="{FF2B5EF4-FFF2-40B4-BE49-F238E27FC236}">
                <a16:creationId xmlns:a16="http://schemas.microsoft.com/office/drawing/2014/main" id="{3DA881D0-A561-4DD4-ADDA-FCC303CBF85C}"/>
              </a:ext>
            </a:extLst>
          </p:cNvPr>
          <p:cNvSpPr>
            <a:spLocks noChangeArrowheads="1"/>
          </p:cNvSpPr>
          <p:nvPr/>
        </p:nvSpPr>
        <p:spPr bwMode="auto">
          <a:xfrm>
            <a:off x="5859646" y="1458118"/>
            <a:ext cx="1676641" cy="360368"/>
          </a:xfrm>
          <a:prstGeom prst="roundRect">
            <a:avLst>
              <a:gd name="adj" fmla="val 50000"/>
            </a:avLst>
          </a:prstGeom>
          <a:solidFill>
            <a:schemeClr val="accent1">
              <a:lumMod val="100000"/>
            </a:schemeClr>
          </a:solidFill>
          <a:ln>
            <a:noFill/>
          </a:ln>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FFFFFF"/>
              </a:solidFill>
              <a:effectLst/>
              <a:uLnTx/>
              <a:uFillTx/>
              <a:latin typeface="Arial"/>
              <a:cs typeface="+mn-ea"/>
              <a:sym typeface="+mn-lt"/>
            </a:endParaRPr>
          </a:p>
        </p:txBody>
      </p:sp>
      <p:sp>
        <p:nvSpPr>
          <p:cNvPr id="24" name="Shape 139">
            <a:extLst>
              <a:ext uri="{FF2B5EF4-FFF2-40B4-BE49-F238E27FC236}">
                <a16:creationId xmlns:a16="http://schemas.microsoft.com/office/drawing/2014/main" id="{83C23212-48D3-483E-B1DE-4869FDCE2CD8}"/>
              </a:ext>
            </a:extLst>
          </p:cNvPr>
          <p:cNvSpPr>
            <a:spLocks noChangeArrowheads="1"/>
          </p:cNvSpPr>
          <p:nvPr/>
        </p:nvSpPr>
        <p:spPr bwMode="auto">
          <a:xfrm>
            <a:off x="6232245" y="1524581"/>
            <a:ext cx="1171468" cy="2128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altLang="ru-RU" sz="1050" b="1" i="0" u="none" strike="noStrike" kern="1200" cap="none" spc="0" normalizeH="0" baseline="0" noProof="0" dirty="0" err="1">
                <a:ln>
                  <a:noFill/>
                </a:ln>
                <a:solidFill>
                  <a:srgbClr val="FFFFFF"/>
                </a:solidFill>
                <a:effectLst/>
                <a:uLnTx/>
                <a:uFillTx/>
                <a:latin typeface="Arial"/>
                <a:cs typeface="+mn-ea"/>
                <a:sym typeface="+mn-lt"/>
              </a:rPr>
              <a:t>Information</a:t>
            </a:r>
            <a:r>
              <a:rPr kumimoji="0" lang="ru-RU" altLang="ru-RU" sz="1050" b="1" i="0" u="none" strike="noStrike" kern="1200" cap="none" spc="0" normalizeH="0" baseline="0" noProof="0" dirty="0">
                <a:ln>
                  <a:noFill/>
                </a:ln>
                <a:solidFill>
                  <a:srgbClr val="FFFFFF"/>
                </a:solidFill>
                <a:effectLst/>
                <a:uLnTx/>
                <a:uFillTx/>
                <a:latin typeface="Arial"/>
                <a:cs typeface="+mn-ea"/>
                <a:sym typeface="+mn-lt"/>
              </a:rPr>
              <a:t> </a:t>
            </a:r>
            <a:r>
              <a:rPr kumimoji="0" lang="ru-RU" altLang="ru-RU" sz="1050" b="1" i="0" u="none" strike="noStrike" kern="1200" cap="none" spc="0" normalizeH="0" baseline="0" noProof="0" dirty="0" err="1">
                <a:ln>
                  <a:noFill/>
                </a:ln>
                <a:solidFill>
                  <a:srgbClr val="FFFFFF"/>
                </a:solidFill>
                <a:effectLst/>
                <a:uLnTx/>
                <a:uFillTx/>
                <a:latin typeface="Arial"/>
                <a:cs typeface="+mn-ea"/>
                <a:sym typeface="+mn-lt"/>
              </a:rPr>
              <a:t>text</a:t>
            </a:r>
            <a:endParaRPr kumimoji="0" lang="ru-RU" altLang="ru-RU" sz="1050" b="1" i="0" u="none" strike="noStrike" kern="1200" cap="none" spc="0" normalizeH="0" baseline="0" noProof="0" dirty="0">
              <a:ln>
                <a:noFill/>
              </a:ln>
              <a:solidFill>
                <a:srgbClr val="FFFFFF"/>
              </a:solidFill>
              <a:effectLst/>
              <a:uLnTx/>
              <a:uFillTx/>
              <a:latin typeface="Arial"/>
              <a:cs typeface="+mn-ea"/>
              <a:sym typeface="+mn-lt"/>
            </a:endParaRPr>
          </a:p>
        </p:txBody>
      </p:sp>
      <p:sp>
        <p:nvSpPr>
          <p:cNvPr id="25" name="Shape 140">
            <a:extLst>
              <a:ext uri="{FF2B5EF4-FFF2-40B4-BE49-F238E27FC236}">
                <a16:creationId xmlns:a16="http://schemas.microsoft.com/office/drawing/2014/main" id="{FB0D441F-4590-4F7F-91D0-959621A41BB0}"/>
              </a:ext>
            </a:extLst>
          </p:cNvPr>
          <p:cNvSpPr>
            <a:spLocks noChangeArrowheads="1"/>
          </p:cNvSpPr>
          <p:nvPr/>
        </p:nvSpPr>
        <p:spPr bwMode="auto">
          <a:xfrm>
            <a:off x="5893894" y="1493099"/>
            <a:ext cx="290426" cy="290405"/>
          </a:xfrm>
          <a:prstGeom prst="ellipse">
            <a:avLst/>
          </a:prstGeom>
          <a:solidFill>
            <a:srgbClr val="FFFFFF"/>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FFFFFF"/>
              </a:solidFill>
              <a:effectLst/>
              <a:uLnTx/>
              <a:uFillTx/>
              <a:latin typeface="Arial"/>
              <a:cs typeface="+mn-ea"/>
              <a:sym typeface="+mn-lt"/>
            </a:endParaRPr>
          </a:p>
        </p:txBody>
      </p:sp>
      <p:sp>
        <p:nvSpPr>
          <p:cNvPr id="26" name="Shape 141">
            <a:extLst>
              <a:ext uri="{FF2B5EF4-FFF2-40B4-BE49-F238E27FC236}">
                <a16:creationId xmlns:a16="http://schemas.microsoft.com/office/drawing/2014/main" id="{4CFBDBEC-861D-4C7D-AAA0-22A9403351F8}"/>
              </a:ext>
            </a:extLst>
          </p:cNvPr>
          <p:cNvSpPr>
            <a:spLocks noChangeArrowheads="1"/>
          </p:cNvSpPr>
          <p:nvPr/>
        </p:nvSpPr>
        <p:spPr bwMode="auto">
          <a:xfrm>
            <a:off x="5902606" y="3949398"/>
            <a:ext cx="104155" cy="104148"/>
          </a:xfrm>
          <a:prstGeom prst="ellipse">
            <a:avLst/>
          </a:prstGeom>
          <a:solidFill>
            <a:schemeClr val="accent1">
              <a:lumMod val="100000"/>
            </a:schemeClr>
          </a:solidFill>
          <a:ln>
            <a:noFill/>
          </a:ln>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FFFFFF"/>
              </a:solidFill>
              <a:effectLst/>
              <a:uLnTx/>
              <a:uFillTx/>
              <a:latin typeface="Arial"/>
              <a:cs typeface="+mn-ea"/>
              <a:sym typeface="+mn-lt"/>
            </a:endParaRPr>
          </a:p>
        </p:txBody>
      </p:sp>
      <p:sp>
        <p:nvSpPr>
          <p:cNvPr id="27" name="Shape 142">
            <a:extLst>
              <a:ext uri="{FF2B5EF4-FFF2-40B4-BE49-F238E27FC236}">
                <a16:creationId xmlns:a16="http://schemas.microsoft.com/office/drawing/2014/main" id="{677EE3EE-2138-47CF-AA53-E02999F92971}"/>
              </a:ext>
            </a:extLst>
          </p:cNvPr>
          <p:cNvSpPr>
            <a:spLocks noChangeArrowheads="1"/>
          </p:cNvSpPr>
          <p:nvPr/>
        </p:nvSpPr>
        <p:spPr bwMode="auto">
          <a:xfrm>
            <a:off x="5436976" y="4470019"/>
            <a:ext cx="104156" cy="104148"/>
          </a:xfrm>
          <a:prstGeom prst="ellipse">
            <a:avLst/>
          </a:prstGeom>
          <a:solidFill>
            <a:schemeClr val="accent1">
              <a:lumMod val="100000"/>
            </a:schemeClr>
          </a:solidFill>
          <a:ln>
            <a:noFill/>
          </a:ln>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FFFFFF"/>
              </a:solidFill>
              <a:effectLst/>
              <a:uLnTx/>
              <a:uFillTx/>
              <a:latin typeface="Arial"/>
              <a:cs typeface="+mn-ea"/>
              <a:sym typeface="+mn-lt"/>
            </a:endParaRPr>
          </a:p>
        </p:txBody>
      </p:sp>
      <p:sp>
        <p:nvSpPr>
          <p:cNvPr id="28" name="Shape 143">
            <a:extLst>
              <a:ext uri="{FF2B5EF4-FFF2-40B4-BE49-F238E27FC236}">
                <a16:creationId xmlns:a16="http://schemas.microsoft.com/office/drawing/2014/main" id="{BE25C6E3-ACFE-47BE-BACA-4B3E47904DB0}"/>
              </a:ext>
            </a:extLst>
          </p:cNvPr>
          <p:cNvSpPr>
            <a:spLocks noChangeArrowheads="1"/>
          </p:cNvSpPr>
          <p:nvPr/>
        </p:nvSpPr>
        <p:spPr bwMode="auto">
          <a:xfrm>
            <a:off x="4321582" y="2285592"/>
            <a:ext cx="104155" cy="104148"/>
          </a:xfrm>
          <a:prstGeom prst="ellipse">
            <a:avLst/>
          </a:prstGeom>
          <a:solidFill>
            <a:schemeClr val="accent1">
              <a:lumMod val="100000"/>
            </a:schemeClr>
          </a:solidFill>
          <a:ln>
            <a:noFill/>
          </a:ln>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FFFFFF"/>
              </a:solidFill>
              <a:effectLst/>
              <a:uLnTx/>
              <a:uFillTx/>
              <a:latin typeface="Arial"/>
              <a:cs typeface="+mn-ea"/>
              <a:sym typeface="+mn-lt"/>
            </a:endParaRPr>
          </a:p>
        </p:txBody>
      </p:sp>
      <p:sp>
        <p:nvSpPr>
          <p:cNvPr id="29" name="Shape 144">
            <a:extLst>
              <a:ext uri="{FF2B5EF4-FFF2-40B4-BE49-F238E27FC236}">
                <a16:creationId xmlns:a16="http://schemas.microsoft.com/office/drawing/2014/main" id="{C5FF7DF9-0CC2-4490-8EA8-CE91DD3CF27E}"/>
              </a:ext>
            </a:extLst>
          </p:cNvPr>
          <p:cNvSpPr>
            <a:spLocks noChangeArrowheads="1"/>
          </p:cNvSpPr>
          <p:nvPr/>
        </p:nvSpPr>
        <p:spPr bwMode="auto">
          <a:xfrm>
            <a:off x="4797646" y="2804454"/>
            <a:ext cx="104155" cy="104148"/>
          </a:xfrm>
          <a:prstGeom prst="ellipse">
            <a:avLst/>
          </a:prstGeom>
          <a:solidFill>
            <a:schemeClr val="accent1">
              <a:lumMod val="100000"/>
            </a:schemeClr>
          </a:solidFill>
          <a:ln>
            <a:noFill/>
          </a:ln>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FFFFFF"/>
              </a:solidFill>
              <a:effectLst/>
              <a:uLnTx/>
              <a:uFillTx/>
              <a:latin typeface="Arial"/>
              <a:cs typeface="+mn-ea"/>
              <a:sym typeface="+mn-lt"/>
            </a:endParaRPr>
          </a:p>
        </p:txBody>
      </p:sp>
      <p:sp>
        <p:nvSpPr>
          <p:cNvPr id="30" name="Shape 145">
            <a:extLst>
              <a:ext uri="{FF2B5EF4-FFF2-40B4-BE49-F238E27FC236}">
                <a16:creationId xmlns:a16="http://schemas.microsoft.com/office/drawing/2014/main" id="{316A6C4E-0642-4C8C-BDE5-3AB0707C5396}"/>
              </a:ext>
            </a:extLst>
          </p:cNvPr>
          <p:cNvSpPr>
            <a:spLocks noChangeArrowheads="1"/>
          </p:cNvSpPr>
          <p:nvPr/>
        </p:nvSpPr>
        <p:spPr bwMode="auto">
          <a:xfrm>
            <a:off x="6496771" y="2285592"/>
            <a:ext cx="104156" cy="104148"/>
          </a:xfrm>
          <a:prstGeom prst="ellipse">
            <a:avLst/>
          </a:prstGeom>
          <a:solidFill>
            <a:schemeClr val="accent1">
              <a:lumMod val="100000"/>
            </a:schemeClr>
          </a:solidFill>
          <a:ln>
            <a:noFill/>
          </a:ln>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FFFFFF"/>
              </a:solidFill>
              <a:effectLst/>
              <a:uLnTx/>
              <a:uFillTx/>
              <a:latin typeface="Arial"/>
              <a:cs typeface="+mn-ea"/>
              <a:sym typeface="+mn-lt"/>
            </a:endParaRPr>
          </a:p>
        </p:txBody>
      </p:sp>
      <p:sp>
        <p:nvSpPr>
          <p:cNvPr id="31" name="Shape 146">
            <a:extLst>
              <a:ext uri="{FF2B5EF4-FFF2-40B4-BE49-F238E27FC236}">
                <a16:creationId xmlns:a16="http://schemas.microsoft.com/office/drawing/2014/main" id="{0F0EB69F-5425-4E42-830E-95E5CD850018}"/>
              </a:ext>
            </a:extLst>
          </p:cNvPr>
          <p:cNvSpPr>
            <a:spLocks noChangeArrowheads="1"/>
          </p:cNvSpPr>
          <p:nvPr/>
        </p:nvSpPr>
        <p:spPr bwMode="auto">
          <a:xfrm>
            <a:off x="6972835" y="2804454"/>
            <a:ext cx="104155" cy="104148"/>
          </a:xfrm>
          <a:prstGeom prst="ellipse">
            <a:avLst/>
          </a:prstGeom>
          <a:solidFill>
            <a:schemeClr val="accent1">
              <a:lumMod val="100000"/>
            </a:schemeClr>
          </a:solidFill>
          <a:ln>
            <a:noFill/>
          </a:ln>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FFFFFF"/>
              </a:solidFill>
              <a:effectLst/>
              <a:uLnTx/>
              <a:uFillTx/>
              <a:latin typeface="Arial"/>
              <a:cs typeface="+mn-ea"/>
              <a:sym typeface="+mn-lt"/>
            </a:endParaRPr>
          </a:p>
        </p:txBody>
      </p:sp>
      <p:sp>
        <p:nvSpPr>
          <p:cNvPr id="32" name="Shape 147">
            <a:extLst>
              <a:ext uri="{FF2B5EF4-FFF2-40B4-BE49-F238E27FC236}">
                <a16:creationId xmlns:a16="http://schemas.microsoft.com/office/drawing/2014/main" id="{DED5F2CB-BDE5-49F2-A42E-E3CE9FF889BD}"/>
              </a:ext>
            </a:extLst>
          </p:cNvPr>
          <p:cNvSpPr>
            <a:spLocks noChangeArrowheads="1"/>
          </p:cNvSpPr>
          <p:nvPr/>
        </p:nvSpPr>
        <p:spPr bwMode="auto">
          <a:xfrm>
            <a:off x="4549360" y="2235074"/>
            <a:ext cx="1824085" cy="205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altLang="ru-RU" sz="1000" b="0" i="0" u="none" strike="noStrike" kern="1200" cap="none" spc="0" normalizeH="0" baseline="0" noProof="0">
                <a:ln>
                  <a:noFill/>
                </a:ln>
                <a:solidFill>
                  <a:schemeClr val="accent1"/>
                </a:solidFill>
                <a:effectLst/>
                <a:uLnTx/>
                <a:uFillTx/>
                <a:latin typeface="Arial"/>
                <a:cs typeface="+mn-ea"/>
                <a:sym typeface="+mn-lt"/>
              </a:rPr>
              <a:t>Fish bone text block </a:t>
            </a:r>
          </a:p>
        </p:txBody>
      </p:sp>
      <p:sp>
        <p:nvSpPr>
          <p:cNvPr id="33" name="Shape 148">
            <a:extLst>
              <a:ext uri="{FF2B5EF4-FFF2-40B4-BE49-F238E27FC236}">
                <a16:creationId xmlns:a16="http://schemas.microsoft.com/office/drawing/2014/main" id="{DBBCCD48-FF71-4F24-BB17-22799E81FCF6}"/>
              </a:ext>
            </a:extLst>
          </p:cNvPr>
          <p:cNvSpPr>
            <a:spLocks noChangeArrowheads="1"/>
          </p:cNvSpPr>
          <p:nvPr/>
        </p:nvSpPr>
        <p:spPr bwMode="auto">
          <a:xfrm>
            <a:off x="5024568" y="2749729"/>
            <a:ext cx="1824085" cy="205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altLang="ru-RU" sz="1000" b="0" i="0" u="none" strike="noStrike" kern="1200" cap="none" spc="0" normalizeH="0" baseline="0" noProof="0">
                <a:ln>
                  <a:noFill/>
                </a:ln>
                <a:solidFill>
                  <a:schemeClr val="accent1"/>
                </a:solidFill>
                <a:effectLst/>
                <a:uLnTx/>
                <a:uFillTx/>
                <a:latin typeface="Arial"/>
                <a:cs typeface="+mn-ea"/>
                <a:sym typeface="+mn-lt"/>
              </a:rPr>
              <a:t>Fish bone text block </a:t>
            </a:r>
          </a:p>
        </p:txBody>
      </p:sp>
      <p:sp>
        <p:nvSpPr>
          <p:cNvPr id="34" name="Shape 149">
            <a:extLst>
              <a:ext uri="{FF2B5EF4-FFF2-40B4-BE49-F238E27FC236}">
                <a16:creationId xmlns:a16="http://schemas.microsoft.com/office/drawing/2014/main" id="{C2524EB8-E0D9-4A65-9422-3625384C6ABC}"/>
              </a:ext>
            </a:extLst>
          </p:cNvPr>
          <p:cNvSpPr>
            <a:spLocks noChangeArrowheads="1"/>
          </p:cNvSpPr>
          <p:nvPr/>
        </p:nvSpPr>
        <p:spPr bwMode="auto">
          <a:xfrm>
            <a:off x="6718636" y="2235074"/>
            <a:ext cx="1824085" cy="205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altLang="ru-RU" sz="1000" b="0" i="0" u="none" strike="noStrike" kern="1200" cap="none" spc="0" normalizeH="0" baseline="0" noProof="0">
                <a:ln>
                  <a:noFill/>
                </a:ln>
                <a:solidFill>
                  <a:schemeClr val="accent1"/>
                </a:solidFill>
                <a:effectLst/>
                <a:uLnTx/>
                <a:uFillTx/>
                <a:latin typeface="Arial"/>
                <a:cs typeface="+mn-ea"/>
                <a:sym typeface="+mn-lt"/>
              </a:rPr>
              <a:t>Fish bone text block </a:t>
            </a:r>
          </a:p>
        </p:txBody>
      </p:sp>
      <p:sp>
        <p:nvSpPr>
          <p:cNvPr id="35" name="Shape 150">
            <a:extLst>
              <a:ext uri="{FF2B5EF4-FFF2-40B4-BE49-F238E27FC236}">
                <a16:creationId xmlns:a16="http://schemas.microsoft.com/office/drawing/2014/main" id="{84257DE6-BE14-4CE3-9A33-00C7444D1304}"/>
              </a:ext>
            </a:extLst>
          </p:cNvPr>
          <p:cNvSpPr>
            <a:spLocks noChangeArrowheads="1"/>
          </p:cNvSpPr>
          <p:nvPr/>
        </p:nvSpPr>
        <p:spPr bwMode="auto">
          <a:xfrm>
            <a:off x="7193843" y="2749729"/>
            <a:ext cx="1824085" cy="205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altLang="ru-RU" sz="1000" b="0" i="0" u="none" strike="noStrike" kern="1200" cap="none" spc="0" normalizeH="0" baseline="0" noProof="0">
                <a:ln>
                  <a:noFill/>
                </a:ln>
                <a:solidFill>
                  <a:schemeClr val="accent1"/>
                </a:solidFill>
                <a:effectLst/>
                <a:uLnTx/>
                <a:uFillTx/>
                <a:latin typeface="Arial"/>
                <a:cs typeface="+mn-ea"/>
                <a:sym typeface="+mn-lt"/>
              </a:rPr>
              <a:t>Fish bone text block </a:t>
            </a:r>
          </a:p>
        </p:txBody>
      </p:sp>
      <p:sp>
        <p:nvSpPr>
          <p:cNvPr id="36" name="Shape 151">
            <a:extLst>
              <a:ext uri="{FF2B5EF4-FFF2-40B4-BE49-F238E27FC236}">
                <a16:creationId xmlns:a16="http://schemas.microsoft.com/office/drawing/2014/main" id="{83A64720-17D8-4E46-9624-2AB62532973D}"/>
              </a:ext>
            </a:extLst>
          </p:cNvPr>
          <p:cNvSpPr>
            <a:spLocks noChangeArrowheads="1"/>
          </p:cNvSpPr>
          <p:nvPr/>
        </p:nvSpPr>
        <p:spPr bwMode="auto">
          <a:xfrm>
            <a:off x="3946332" y="3903086"/>
            <a:ext cx="1824085" cy="205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altLang="ru-RU" sz="1000" b="0" i="0" u="none" strike="noStrike" kern="1200" cap="none" spc="0" normalizeH="0" baseline="0" noProof="0" dirty="0" err="1">
                <a:ln>
                  <a:noFill/>
                </a:ln>
                <a:solidFill>
                  <a:schemeClr val="accent1"/>
                </a:solidFill>
                <a:effectLst/>
                <a:uLnTx/>
                <a:uFillTx/>
                <a:latin typeface="Arial"/>
                <a:cs typeface="+mn-ea"/>
                <a:sym typeface="+mn-lt"/>
              </a:rPr>
              <a:t>Fish</a:t>
            </a:r>
            <a:r>
              <a:rPr kumimoji="0" lang="ru-RU" altLang="ru-RU" sz="1000" b="0" i="0" u="none" strike="noStrike" kern="1200" cap="none" spc="0" normalizeH="0" baseline="0" noProof="0" dirty="0">
                <a:ln>
                  <a:noFill/>
                </a:ln>
                <a:solidFill>
                  <a:schemeClr val="accent1"/>
                </a:solidFill>
                <a:effectLst/>
                <a:uLnTx/>
                <a:uFillTx/>
                <a:latin typeface="Arial"/>
                <a:cs typeface="+mn-ea"/>
                <a:sym typeface="+mn-lt"/>
              </a:rPr>
              <a:t> </a:t>
            </a:r>
            <a:r>
              <a:rPr kumimoji="0" lang="ru-RU" altLang="ru-RU" sz="1000" b="0" i="0" u="none" strike="noStrike" kern="1200" cap="none" spc="0" normalizeH="0" baseline="0" noProof="0" dirty="0" err="1">
                <a:ln>
                  <a:noFill/>
                </a:ln>
                <a:solidFill>
                  <a:schemeClr val="accent1"/>
                </a:solidFill>
                <a:effectLst/>
                <a:uLnTx/>
                <a:uFillTx/>
                <a:latin typeface="Arial"/>
                <a:cs typeface="+mn-ea"/>
                <a:sym typeface="+mn-lt"/>
              </a:rPr>
              <a:t>bone</a:t>
            </a:r>
            <a:r>
              <a:rPr kumimoji="0" lang="ru-RU" altLang="ru-RU" sz="1000" b="0" i="0" u="none" strike="noStrike" kern="1200" cap="none" spc="0" normalizeH="0" baseline="0" noProof="0" dirty="0">
                <a:ln>
                  <a:noFill/>
                </a:ln>
                <a:solidFill>
                  <a:schemeClr val="accent1"/>
                </a:solidFill>
                <a:effectLst/>
                <a:uLnTx/>
                <a:uFillTx/>
                <a:latin typeface="Arial"/>
                <a:cs typeface="+mn-ea"/>
                <a:sym typeface="+mn-lt"/>
              </a:rPr>
              <a:t> </a:t>
            </a:r>
            <a:r>
              <a:rPr kumimoji="0" lang="ru-RU" altLang="ru-RU" sz="1000" b="0" i="0" u="none" strike="noStrike" kern="1200" cap="none" spc="0" normalizeH="0" baseline="0" noProof="0" dirty="0" err="1">
                <a:ln>
                  <a:noFill/>
                </a:ln>
                <a:solidFill>
                  <a:schemeClr val="accent1"/>
                </a:solidFill>
                <a:effectLst/>
                <a:uLnTx/>
                <a:uFillTx/>
                <a:latin typeface="Arial"/>
                <a:cs typeface="+mn-ea"/>
                <a:sym typeface="+mn-lt"/>
              </a:rPr>
              <a:t>text</a:t>
            </a:r>
            <a:r>
              <a:rPr kumimoji="0" lang="ru-RU" altLang="ru-RU" sz="1000" b="0" i="0" u="none" strike="noStrike" kern="1200" cap="none" spc="0" normalizeH="0" baseline="0" noProof="0" dirty="0">
                <a:ln>
                  <a:noFill/>
                </a:ln>
                <a:solidFill>
                  <a:schemeClr val="accent1"/>
                </a:solidFill>
                <a:effectLst/>
                <a:uLnTx/>
                <a:uFillTx/>
                <a:latin typeface="Arial"/>
                <a:cs typeface="+mn-ea"/>
                <a:sym typeface="+mn-lt"/>
              </a:rPr>
              <a:t> </a:t>
            </a:r>
            <a:r>
              <a:rPr kumimoji="0" lang="ru-RU" altLang="ru-RU" sz="1000" b="0" i="0" u="none" strike="noStrike" kern="1200" cap="none" spc="0" normalizeH="0" baseline="0" noProof="0" dirty="0" err="1">
                <a:ln>
                  <a:noFill/>
                </a:ln>
                <a:solidFill>
                  <a:schemeClr val="accent1"/>
                </a:solidFill>
                <a:effectLst/>
                <a:uLnTx/>
                <a:uFillTx/>
                <a:latin typeface="Arial"/>
                <a:cs typeface="+mn-ea"/>
                <a:sym typeface="+mn-lt"/>
              </a:rPr>
              <a:t>block</a:t>
            </a:r>
            <a:r>
              <a:rPr kumimoji="0" lang="ru-RU" altLang="ru-RU" sz="1000" b="0" i="0" u="none" strike="noStrike" kern="1200" cap="none" spc="0" normalizeH="0" baseline="0" noProof="0" dirty="0">
                <a:ln>
                  <a:noFill/>
                </a:ln>
                <a:solidFill>
                  <a:schemeClr val="accent1"/>
                </a:solidFill>
                <a:effectLst/>
                <a:uLnTx/>
                <a:uFillTx/>
                <a:latin typeface="Arial"/>
                <a:cs typeface="+mn-ea"/>
                <a:sym typeface="+mn-lt"/>
              </a:rPr>
              <a:t> </a:t>
            </a:r>
          </a:p>
        </p:txBody>
      </p:sp>
      <p:sp>
        <p:nvSpPr>
          <p:cNvPr id="37" name="Shape 152">
            <a:extLst>
              <a:ext uri="{FF2B5EF4-FFF2-40B4-BE49-F238E27FC236}">
                <a16:creationId xmlns:a16="http://schemas.microsoft.com/office/drawing/2014/main" id="{07AD8C9A-E18D-4359-ACE7-94645323AB38}"/>
              </a:ext>
            </a:extLst>
          </p:cNvPr>
          <p:cNvSpPr>
            <a:spLocks noChangeArrowheads="1"/>
          </p:cNvSpPr>
          <p:nvPr/>
        </p:nvSpPr>
        <p:spPr bwMode="auto">
          <a:xfrm>
            <a:off x="3488164" y="4417742"/>
            <a:ext cx="1824085" cy="205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altLang="ru-RU" sz="1000" b="0" i="0" u="none" strike="noStrike" kern="1200" cap="none" spc="0" normalizeH="0" baseline="0" noProof="0">
                <a:ln>
                  <a:noFill/>
                </a:ln>
                <a:solidFill>
                  <a:schemeClr val="accent1"/>
                </a:solidFill>
                <a:effectLst/>
                <a:uLnTx/>
                <a:uFillTx/>
                <a:latin typeface="Arial"/>
                <a:cs typeface="+mn-ea"/>
                <a:sym typeface="+mn-lt"/>
              </a:rPr>
              <a:t>Fish bone text block </a:t>
            </a:r>
          </a:p>
        </p:txBody>
      </p:sp>
      <p:sp>
        <p:nvSpPr>
          <p:cNvPr id="38" name="Shape 153">
            <a:extLst>
              <a:ext uri="{FF2B5EF4-FFF2-40B4-BE49-F238E27FC236}">
                <a16:creationId xmlns:a16="http://schemas.microsoft.com/office/drawing/2014/main" id="{662C52C5-7EA9-4E8B-9117-FC8046A1549B}"/>
              </a:ext>
            </a:extLst>
          </p:cNvPr>
          <p:cNvSpPr>
            <a:spLocks noChangeArrowheads="1"/>
          </p:cNvSpPr>
          <p:nvPr/>
        </p:nvSpPr>
        <p:spPr bwMode="auto">
          <a:xfrm>
            <a:off x="6124208" y="3903086"/>
            <a:ext cx="1824085" cy="205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altLang="ru-RU" sz="1000" b="0" i="0" u="none" strike="noStrike" kern="1200" cap="none" spc="0" normalizeH="0" baseline="0" noProof="0">
                <a:ln>
                  <a:noFill/>
                </a:ln>
                <a:solidFill>
                  <a:schemeClr val="accent1"/>
                </a:solidFill>
                <a:effectLst/>
                <a:uLnTx/>
                <a:uFillTx/>
                <a:latin typeface="Arial"/>
                <a:cs typeface="+mn-ea"/>
                <a:sym typeface="+mn-lt"/>
              </a:rPr>
              <a:t>Fish bone text block </a:t>
            </a:r>
          </a:p>
        </p:txBody>
      </p:sp>
      <p:sp>
        <p:nvSpPr>
          <p:cNvPr id="39" name="Shape 154">
            <a:extLst>
              <a:ext uri="{FF2B5EF4-FFF2-40B4-BE49-F238E27FC236}">
                <a16:creationId xmlns:a16="http://schemas.microsoft.com/office/drawing/2014/main" id="{21644C9F-A58D-4C29-A5FA-0841897246CB}"/>
              </a:ext>
            </a:extLst>
          </p:cNvPr>
          <p:cNvSpPr>
            <a:spLocks noChangeArrowheads="1"/>
          </p:cNvSpPr>
          <p:nvPr/>
        </p:nvSpPr>
        <p:spPr bwMode="auto">
          <a:xfrm>
            <a:off x="5666041" y="4417742"/>
            <a:ext cx="1824085" cy="205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altLang="ru-RU" sz="1000" b="0" i="0" u="none" strike="noStrike" kern="1200" cap="none" spc="0" normalizeH="0" baseline="0" noProof="0">
                <a:ln>
                  <a:noFill/>
                </a:ln>
                <a:solidFill>
                  <a:schemeClr val="accent1"/>
                </a:solidFill>
                <a:effectLst/>
                <a:uLnTx/>
                <a:uFillTx/>
                <a:latin typeface="Arial"/>
                <a:cs typeface="+mn-ea"/>
                <a:sym typeface="+mn-lt"/>
              </a:rPr>
              <a:t>Fish bone text block </a:t>
            </a:r>
          </a:p>
        </p:txBody>
      </p:sp>
      <p:sp>
        <p:nvSpPr>
          <p:cNvPr id="40" name="Shape 155">
            <a:extLst>
              <a:ext uri="{FF2B5EF4-FFF2-40B4-BE49-F238E27FC236}">
                <a16:creationId xmlns:a16="http://schemas.microsoft.com/office/drawing/2014/main" id="{323AA72D-F7B3-43A7-8903-C34702EBEEFE}"/>
              </a:ext>
            </a:extLst>
          </p:cNvPr>
          <p:cNvSpPr>
            <a:spLocks/>
          </p:cNvSpPr>
          <p:nvPr/>
        </p:nvSpPr>
        <p:spPr bwMode="auto">
          <a:xfrm>
            <a:off x="4865530" y="5153195"/>
            <a:ext cx="130363" cy="122861"/>
          </a:xfrm>
          <a:custGeom>
            <a:avLst/>
            <a:gdLst>
              <a:gd name="T0" fmla="*/ 18998328 w 21600"/>
              <a:gd name="T1" fmla="*/ 15906903 h 21600"/>
              <a:gd name="T2" fmla="*/ 18998328 w 21600"/>
              <a:gd name="T3" fmla="*/ 15906903 h 21600"/>
              <a:gd name="T4" fmla="*/ 18998328 w 21600"/>
              <a:gd name="T5" fmla="*/ 15906903 h 21600"/>
              <a:gd name="T6" fmla="*/ 18998328 w 21600"/>
              <a:gd name="T7" fmla="*/ 15906903 h 21600"/>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21600" h="21600" extrusionOk="0">
                <a:moveTo>
                  <a:pt x="10901" y="17459"/>
                </a:moveTo>
                <a:lnTo>
                  <a:pt x="17497" y="21600"/>
                </a:lnTo>
                <a:lnTo>
                  <a:pt x="15848" y="13532"/>
                </a:lnTo>
                <a:lnTo>
                  <a:pt x="21600" y="8281"/>
                </a:lnTo>
                <a:lnTo>
                  <a:pt x="13797" y="7428"/>
                </a:lnTo>
                <a:lnTo>
                  <a:pt x="10901" y="0"/>
                </a:lnTo>
                <a:lnTo>
                  <a:pt x="7844" y="7428"/>
                </a:lnTo>
                <a:lnTo>
                  <a:pt x="0" y="8281"/>
                </a:lnTo>
                <a:lnTo>
                  <a:pt x="5993" y="13532"/>
                </a:lnTo>
                <a:lnTo>
                  <a:pt x="4143" y="21600"/>
                </a:lnTo>
                <a:lnTo>
                  <a:pt x="10901" y="17459"/>
                </a:lnTo>
              </a:path>
            </a:pathLst>
          </a:custGeom>
          <a:solidFill>
            <a:schemeClr val="accent1">
              <a:lumMod val="100000"/>
            </a:schemeClr>
          </a:solidFill>
          <a:ln>
            <a:noFill/>
          </a:ln>
        </p:spPr>
        <p:txBody>
          <a:bodyPr lIns="22860" tIns="22860" rIns="22860" bIns="2286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500" b="0" i="0" u="none" strike="noStrike" kern="1200" cap="none" spc="0" normalizeH="0" baseline="0" noProof="0">
              <a:ln>
                <a:noFill/>
              </a:ln>
              <a:solidFill>
                <a:srgbClr val="000000"/>
              </a:solidFill>
              <a:effectLst/>
              <a:uLnTx/>
              <a:uFillTx/>
              <a:latin typeface="Arial"/>
              <a:cs typeface="+mn-ea"/>
              <a:sym typeface="+mn-lt"/>
            </a:endParaRPr>
          </a:p>
        </p:txBody>
      </p:sp>
      <p:sp>
        <p:nvSpPr>
          <p:cNvPr id="41" name="Shape 156">
            <a:extLst>
              <a:ext uri="{FF2B5EF4-FFF2-40B4-BE49-F238E27FC236}">
                <a16:creationId xmlns:a16="http://schemas.microsoft.com/office/drawing/2014/main" id="{953086E9-BCEF-4719-A3B8-5F508D9D3E57}"/>
              </a:ext>
            </a:extLst>
          </p:cNvPr>
          <p:cNvSpPr>
            <a:spLocks/>
          </p:cNvSpPr>
          <p:nvPr/>
        </p:nvSpPr>
        <p:spPr bwMode="auto">
          <a:xfrm>
            <a:off x="5978102" y="1573661"/>
            <a:ext cx="127916" cy="129283"/>
          </a:xfrm>
          <a:custGeom>
            <a:avLst/>
            <a:gdLst>
              <a:gd name="T0" fmla="*/ 18033594 w 21549"/>
              <a:gd name="T1" fmla="*/ 18533957 h 21600"/>
              <a:gd name="T2" fmla="*/ 18033594 w 21549"/>
              <a:gd name="T3" fmla="*/ 18533957 h 21600"/>
              <a:gd name="T4" fmla="*/ 18033594 w 21549"/>
              <a:gd name="T5" fmla="*/ 18533957 h 21600"/>
              <a:gd name="T6" fmla="*/ 18033594 w 21549"/>
              <a:gd name="T7" fmla="*/ 18533957 h 21600"/>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21549" h="21600" extrusionOk="0">
                <a:moveTo>
                  <a:pt x="18684" y="11815"/>
                </a:moveTo>
                <a:cubicBezTo>
                  <a:pt x="18684" y="11612"/>
                  <a:pt x="18890" y="11206"/>
                  <a:pt x="18890" y="10800"/>
                </a:cubicBezTo>
                <a:cubicBezTo>
                  <a:pt x="18890" y="10394"/>
                  <a:pt x="18890" y="9947"/>
                  <a:pt x="18684" y="9744"/>
                </a:cubicBezTo>
                <a:lnTo>
                  <a:pt x="20984" y="7877"/>
                </a:lnTo>
                <a:cubicBezTo>
                  <a:pt x="21395" y="7674"/>
                  <a:pt x="21395" y="7471"/>
                  <a:pt x="21189" y="7268"/>
                </a:cubicBezTo>
                <a:lnTo>
                  <a:pt x="19095" y="3329"/>
                </a:lnTo>
                <a:cubicBezTo>
                  <a:pt x="18890" y="3329"/>
                  <a:pt x="18684" y="3126"/>
                  <a:pt x="18233" y="3329"/>
                </a:cubicBezTo>
                <a:lnTo>
                  <a:pt x="15522" y="4344"/>
                </a:lnTo>
                <a:cubicBezTo>
                  <a:pt x="15112" y="3938"/>
                  <a:pt x="14455" y="3735"/>
                  <a:pt x="13633" y="3329"/>
                </a:cubicBezTo>
                <a:lnTo>
                  <a:pt x="13223" y="406"/>
                </a:lnTo>
                <a:cubicBezTo>
                  <a:pt x="13428" y="203"/>
                  <a:pt x="13017" y="0"/>
                  <a:pt x="12771" y="0"/>
                </a:cubicBezTo>
                <a:lnTo>
                  <a:pt x="8377" y="0"/>
                </a:lnTo>
                <a:cubicBezTo>
                  <a:pt x="8172" y="0"/>
                  <a:pt x="7967" y="203"/>
                  <a:pt x="7967" y="406"/>
                </a:cubicBezTo>
                <a:lnTo>
                  <a:pt x="7556" y="3329"/>
                </a:lnTo>
                <a:cubicBezTo>
                  <a:pt x="6694" y="3532"/>
                  <a:pt x="6283" y="3938"/>
                  <a:pt x="5667" y="4344"/>
                </a:cubicBezTo>
                <a:lnTo>
                  <a:pt x="2916" y="3329"/>
                </a:lnTo>
                <a:cubicBezTo>
                  <a:pt x="2710" y="3126"/>
                  <a:pt x="2505" y="3329"/>
                  <a:pt x="2300" y="3532"/>
                </a:cubicBezTo>
                <a:lnTo>
                  <a:pt x="0" y="7268"/>
                </a:lnTo>
                <a:cubicBezTo>
                  <a:pt x="0" y="7471"/>
                  <a:pt x="0" y="7674"/>
                  <a:pt x="205" y="7877"/>
                </a:cubicBezTo>
                <a:lnTo>
                  <a:pt x="2505" y="9744"/>
                </a:lnTo>
                <a:cubicBezTo>
                  <a:pt x="2505" y="9947"/>
                  <a:pt x="2505" y="10394"/>
                  <a:pt x="2505" y="10800"/>
                </a:cubicBezTo>
                <a:cubicBezTo>
                  <a:pt x="2505" y="11206"/>
                  <a:pt x="2505" y="11612"/>
                  <a:pt x="2505" y="11815"/>
                </a:cubicBezTo>
                <a:lnTo>
                  <a:pt x="205" y="13683"/>
                </a:lnTo>
                <a:cubicBezTo>
                  <a:pt x="0" y="13926"/>
                  <a:pt x="0" y="14129"/>
                  <a:pt x="205" y="14332"/>
                </a:cubicBezTo>
                <a:lnTo>
                  <a:pt x="2300" y="18271"/>
                </a:lnTo>
                <a:cubicBezTo>
                  <a:pt x="2505" y="18271"/>
                  <a:pt x="2710" y="18474"/>
                  <a:pt x="2916" y="18271"/>
                </a:cubicBezTo>
                <a:lnTo>
                  <a:pt x="5667" y="17215"/>
                </a:lnTo>
                <a:cubicBezTo>
                  <a:pt x="6283" y="17621"/>
                  <a:pt x="6899" y="18068"/>
                  <a:pt x="7556" y="18271"/>
                </a:cubicBezTo>
                <a:lnTo>
                  <a:pt x="7967" y="21153"/>
                </a:lnTo>
                <a:cubicBezTo>
                  <a:pt x="7967" y="21356"/>
                  <a:pt x="8172" y="21600"/>
                  <a:pt x="8583" y="21600"/>
                </a:cubicBezTo>
                <a:lnTo>
                  <a:pt x="13017" y="21600"/>
                </a:lnTo>
                <a:cubicBezTo>
                  <a:pt x="13223" y="21600"/>
                  <a:pt x="13428" y="21356"/>
                  <a:pt x="13428" y="21153"/>
                </a:cubicBezTo>
                <a:lnTo>
                  <a:pt x="13839" y="18271"/>
                </a:lnTo>
                <a:cubicBezTo>
                  <a:pt x="14660" y="18068"/>
                  <a:pt x="15317" y="17621"/>
                  <a:pt x="15728" y="17215"/>
                </a:cubicBezTo>
                <a:lnTo>
                  <a:pt x="18438" y="18271"/>
                </a:lnTo>
                <a:cubicBezTo>
                  <a:pt x="18684" y="18474"/>
                  <a:pt x="19095" y="18271"/>
                  <a:pt x="19300" y="18068"/>
                </a:cubicBezTo>
                <a:lnTo>
                  <a:pt x="21395" y="14332"/>
                </a:lnTo>
                <a:cubicBezTo>
                  <a:pt x="21600" y="14129"/>
                  <a:pt x="21600" y="13683"/>
                  <a:pt x="21395" y="13683"/>
                </a:cubicBezTo>
                <a:lnTo>
                  <a:pt x="18684" y="11815"/>
                </a:lnTo>
                <a:close/>
                <a:moveTo>
                  <a:pt x="10677" y="14535"/>
                </a:moveTo>
                <a:cubicBezTo>
                  <a:pt x="8583" y="14535"/>
                  <a:pt x="6694" y="12871"/>
                  <a:pt x="6694" y="10800"/>
                </a:cubicBezTo>
                <a:cubicBezTo>
                  <a:pt x="6694" y="8729"/>
                  <a:pt x="8583" y="7065"/>
                  <a:pt x="10677" y="7065"/>
                </a:cubicBezTo>
                <a:cubicBezTo>
                  <a:pt x="12771" y="7065"/>
                  <a:pt x="14455" y="8729"/>
                  <a:pt x="14455" y="10800"/>
                </a:cubicBezTo>
                <a:cubicBezTo>
                  <a:pt x="14455" y="12871"/>
                  <a:pt x="12771" y="14535"/>
                  <a:pt x="10677" y="14535"/>
                </a:cubicBezTo>
                <a:close/>
              </a:path>
            </a:pathLst>
          </a:custGeom>
          <a:solidFill>
            <a:schemeClr val="accent1">
              <a:lumMod val="100000"/>
            </a:schemeClr>
          </a:solidFill>
          <a:ln>
            <a:noFill/>
          </a:ln>
        </p:spPr>
        <p:txBody>
          <a:bodyPr lIns="22860" tIns="22860" rIns="22860" bIns="2286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500" b="0" i="0" u="none" strike="noStrike" kern="1200" cap="none" spc="0" normalizeH="0" baseline="0" noProof="0">
              <a:ln>
                <a:noFill/>
              </a:ln>
              <a:solidFill>
                <a:srgbClr val="000000"/>
              </a:solidFill>
              <a:effectLst/>
              <a:uLnTx/>
              <a:uFillTx/>
              <a:latin typeface="Arial"/>
              <a:cs typeface="+mn-ea"/>
              <a:sym typeface="+mn-lt"/>
            </a:endParaRPr>
          </a:p>
        </p:txBody>
      </p:sp>
      <p:sp>
        <p:nvSpPr>
          <p:cNvPr id="42" name="Shape 157">
            <a:extLst>
              <a:ext uri="{FF2B5EF4-FFF2-40B4-BE49-F238E27FC236}">
                <a16:creationId xmlns:a16="http://schemas.microsoft.com/office/drawing/2014/main" id="{ABCBB0BE-35B7-4446-9043-B908A3FF70DD}"/>
              </a:ext>
            </a:extLst>
          </p:cNvPr>
          <p:cNvSpPr>
            <a:spLocks/>
          </p:cNvSpPr>
          <p:nvPr/>
        </p:nvSpPr>
        <p:spPr bwMode="auto">
          <a:xfrm>
            <a:off x="2717352" y="5154039"/>
            <a:ext cx="127916" cy="117466"/>
          </a:xfrm>
          <a:custGeom>
            <a:avLst/>
            <a:gdLst>
              <a:gd name="T0" fmla="*/ 17948527 w 21600"/>
              <a:gd name="T1" fmla="*/ 13902014 h 21600"/>
              <a:gd name="T2" fmla="*/ 17948527 w 21600"/>
              <a:gd name="T3" fmla="*/ 13902014 h 21600"/>
              <a:gd name="T4" fmla="*/ 17948527 w 21600"/>
              <a:gd name="T5" fmla="*/ 13902014 h 21600"/>
              <a:gd name="T6" fmla="*/ 17948527 w 21600"/>
              <a:gd name="T7" fmla="*/ 13902014 h 21600"/>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21600" h="21600" extrusionOk="0">
                <a:moveTo>
                  <a:pt x="0" y="21600"/>
                </a:moveTo>
                <a:lnTo>
                  <a:pt x="3950" y="21600"/>
                </a:lnTo>
                <a:lnTo>
                  <a:pt x="3950" y="8656"/>
                </a:lnTo>
                <a:lnTo>
                  <a:pt x="0" y="8656"/>
                </a:lnTo>
                <a:lnTo>
                  <a:pt x="0" y="21600"/>
                </a:lnTo>
                <a:close/>
                <a:moveTo>
                  <a:pt x="21600" y="9649"/>
                </a:moveTo>
                <a:cubicBezTo>
                  <a:pt x="21600" y="8418"/>
                  <a:pt x="20658" y="7624"/>
                  <a:pt x="19534" y="7624"/>
                </a:cubicBezTo>
                <a:lnTo>
                  <a:pt x="13337" y="7624"/>
                </a:lnTo>
                <a:lnTo>
                  <a:pt x="14460" y="2462"/>
                </a:lnTo>
                <a:lnTo>
                  <a:pt x="14460" y="2263"/>
                </a:lnTo>
                <a:cubicBezTo>
                  <a:pt x="14460" y="1826"/>
                  <a:pt x="14279" y="1429"/>
                  <a:pt x="14098" y="1032"/>
                </a:cubicBezTo>
                <a:lnTo>
                  <a:pt x="12974" y="0"/>
                </a:lnTo>
                <a:lnTo>
                  <a:pt x="6379" y="6988"/>
                </a:lnTo>
                <a:cubicBezTo>
                  <a:pt x="6016" y="7385"/>
                  <a:pt x="5835" y="8021"/>
                  <a:pt x="5835" y="8656"/>
                </a:cubicBezTo>
                <a:lnTo>
                  <a:pt x="5835" y="19337"/>
                </a:lnTo>
                <a:cubicBezTo>
                  <a:pt x="5835" y="20568"/>
                  <a:pt x="6777" y="21600"/>
                  <a:pt x="7901" y="21600"/>
                </a:cubicBezTo>
                <a:lnTo>
                  <a:pt x="16707" y="21600"/>
                </a:lnTo>
                <a:cubicBezTo>
                  <a:pt x="17468" y="21600"/>
                  <a:pt x="18230" y="21004"/>
                  <a:pt x="18411" y="20171"/>
                </a:cubicBezTo>
                <a:lnTo>
                  <a:pt x="21419" y="12547"/>
                </a:lnTo>
                <a:cubicBezTo>
                  <a:pt x="21419" y="12349"/>
                  <a:pt x="21419" y="12150"/>
                  <a:pt x="21419" y="11713"/>
                </a:cubicBezTo>
                <a:lnTo>
                  <a:pt x="21419" y="9649"/>
                </a:lnTo>
                <a:lnTo>
                  <a:pt x="21600" y="9649"/>
                </a:lnTo>
                <a:close/>
              </a:path>
            </a:pathLst>
          </a:custGeom>
          <a:solidFill>
            <a:schemeClr val="accent1">
              <a:lumMod val="100000"/>
            </a:schemeClr>
          </a:solidFill>
          <a:ln>
            <a:noFill/>
          </a:ln>
        </p:spPr>
        <p:txBody>
          <a:bodyPr lIns="22860" tIns="22860" rIns="22860" bIns="2286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500" b="0" i="0" u="none" strike="noStrike" kern="1200" cap="none" spc="0" normalizeH="0" baseline="0" noProof="0">
              <a:ln>
                <a:noFill/>
              </a:ln>
              <a:solidFill>
                <a:srgbClr val="000000"/>
              </a:solidFill>
              <a:effectLst/>
              <a:uLnTx/>
              <a:uFillTx/>
              <a:latin typeface="Arial"/>
              <a:cs typeface="+mn-ea"/>
              <a:sym typeface="+mn-lt"/>
            </a:endParaRPr>
          </a:p>
        </p:txBody>
      </p:sp>
      <p:sp>
        <p:nvSpPr>
          <p:cNvPr id="43" name="Shape 158">
            <a:extLst>
              <a:ext uri="{FF2B5EF4-FFF2-40B4-BE49-F238E27FC236}">
                <a16:creationId xmlns:a16="http://schemas.microsoft.com/office/drawing/2014/main" id="{20A4CAEF-1FA3-48C3-9A28-AEA6CDBDD6FF}"/>
              </a:ext>
            </a:extLst>
          </p:cNvPr>
          <p:cNvSpPr>
            <a:spLocks/>
          </p:cNvSpPr>
          <p:nvPr/>
        </p:nvSpPr>
        <p:spPr bwMode="auto">
          <a:xfrm>
            <a:off x="3805774" y="1589087"/>
            <a:ext cx="144059" cy="98429"/>
          </a:xfrm>
          <a:custGeom>
            <a:avLst/>
            <a:gdLst>
              <a:gd name="T0" fmla="*/ 25637706 w 21600"/>
              <a:gd name="T1" fmla="*/ 8179297 h 21600"/>
              <a:gd name="T2" fmla="*/ 25637706 w 21600"/>
              <a:gd name="T3" fmla="*/ 8179297 h 21600"/>
              <a:gd name="T4" fmla="*/ 25637706 w 21600"/>
              <a:gd name="T5" fmla="*/ 8179297 h 21600"/>
              <a:gd name="T6" fmla="*/ 25637706 w 21600"/>
              <a:gd name="T7" fmla="*/ 8179297 h 21600"/>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21600" h="21600" extrusionOk="0">
                <a:moveTo>
                  <a:pt x="10710" y="0"/>
                </a:moveTo>
                <a:cubicBezTo>
                  <a:pt x="5825" y="0"/>
                  <a:pt x="1520" y="4689"/>
                  <a:pt x="0" y="10958"/>
                </a:cubicBezTo>
                <a:cubicBezTo>
                  <a:pt x="1520" y="17227"/>
                  <a:pt x="5825" y="21600"/>
                  <a:pt x="10710" y="21600"/>
                </a:cubicBezTo>
                <a:cubicBezTo>
                  <a:pt x="15594" y="21600"/>
                  <a:pt x="19899" y="17227"/>
                  <a:pt x="21600" y="10958"/>
                </a:cubicBezTo>
                <a:cubicBezTo>
                  <a:pt x="19899" y="4689"/>
                  <a:pt x="15594" y="0"/>
                  <a:pt x="10710" y="0"/>
                </a:cubicBezTo>
                <a:close/>
                <a:moveTo>
                  <a:pt x="10710" y="18070"/>
                </a:moveTo>
                <a:cubicBezTo>
                  <a:pt x="7887" y="18070"/>
                  <a:pt x="5825" y="14909"/>
                  <a:pt x="5825" y="10958"/>
                </a:cubicBezTo>
                <a:cubicBezTo>
                  <a:pt x="5825" y="7007"/>
                  <a:pt x="7887" y="3846"/>
                  <a:pt x="10710" y="3846"/>
                </a:cubicBezTo>
                <a:cubicBezTo>
                  <a:pt x="13532" y="3846"/>
                  <a:pt x="15594" y="7007"/>
                  <a:pt x="15594" y="10958"/>
                </a:cubicBezTo>
                <a:cubicBezTo>
                  <a:pt x="15594" y="14909"/>
                  <a:pt x="13532" y="18070"/>
                  <a:pt x="10710" y="18070"/>
                </a:cubicBezTo>
                <a:close/>
                <a:moveTo>
                  <a:pt x="10710" y="6585"/>
                </a:moveTo>
                <a:cubicBezTo>
                  <a:pt x="9009" y="6585"/>
                  <a:pt x="7707" y="8482"/>
                  <a:pt x="7707" y="10958"/>
                </a:cubicBezTo>
                <a:cubicBezTo>
                  <a:pt x="7707" y="13381"/>
                  <a:pt x="9009" y="15067"/>
                  <a:pt x="10710" y="15067"/>
                </a:cubicBezTo>
                <a:cubicBezTo>
                  <a:pt x="12410" y="15067"/>
                  <a:pt x="13713" y="13381"/>
                  <a:pt x="13713" y="10958"/>
                </a:cubicBezTo>
                <a:cubicBezTo>
                  <a:pt x="13713" y="8482"/>
                  <a:pt x="12410" y="6585"/>
                  <a:pt x="10710" y="6585"/>
                </a:cubicBezTo>
                <a:close/>
              </a:path>
            </a:pathLst>
          </a:custGeom>
          <a:solidFill>
            <a:schemeClr val="accent1">
              <a:lumMod val="100000"/>
            </a:schemeClr>
          </a:solidFill>
          <a:ln>
            <a:noFill/>
          </a:ln>
        </p:spPr>
        <p:txBody>
          <a:bodyPr lIns="22860" tIns="22860" rIns="22860" bIns="2286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500" b="0" i="0" u="none" strike="noStrike" kern="1200" cap="none" spc="0" normalizeH="0" baseline="0" noProof="0">
              <a:ln>
                <a:noFill/>
              </a:ln>
              <a:solidFill>
                <a:srgbClr val="000000"/>
              </a:solidFill>
              <a:effectLst/>
              <a:uLnTx/>
              <a:uFillTx/>
              <a:latin typeface="Arial"/>
              <a:cs typeface="+mn-ea"/>
              <a:sym typeface="+mn-lt"/>
            </a:endParaRPr>
          </a:p>
        </p:txBody>
      </p:sp>
      <p:sp>
        <p:nvSpPr>
          <p:cNvPr id="44" name="Shape 159">
            <a:extLst>
              <a:ext uri="{FF2B5EF4-FFF2-40B4-BE49-F238E27FC236}">
                <a16:creationId xmlns:a16="http://schemas.microsoft.com/office/drawing/2014/main" id="{45851DFB-7D66-4585-9A0E-EF60CA90FBF8}"/>
              </a:ext>
            </a:extLst>
          </p:cNvPr>
          <p:cNvSpPr>
            <a:spLocks noChangeArrowheads="1"/>
          </p:cNvSpPr>
          <p:nvPr/>
        </p:nvSpPr>
        <p:spPr bwMode="auto">
          <a:xfrm>
            <a:off x="8675823" y="3114722"/>
            <a:ext cx="634950" cy="634905"/>
          </a:xfrm>
          <a:prstGeom prst="ellipse">
            <a:avLst/>
          </a:prstGeom>
          <a:solidFill>
            <a:srgbClr val="FFFFFF"/>
          </a:solidFill>
          <a:ln w="63500">
            <a:solidFill>
              <a:schemeClr val="accent1">
                <a:lumMod val="100000"/>
              </a:schemeClr>
            </a:solidFill>
            <a:miter lim="400000"/>
            <a:headEnd/>
            <a:tailEnd/>
          </a:ln>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FFFFFF"/>
              </a:solidFill>
              <a:effectLst/>
              <a:uLnTx/>
              <a:uFillTx/>
              <a:latin typeface="Arial"/>
              <a:cs typeface="+mn-ea"/>
              <a:sym typeface="+mn-lt"/>
            </a:endParaRPr>
          </a:p>
        </p:txBody>
      </p:sp>
      <p:sp>
        <p:nvSpPr>
          <p:cNvPr id="45" name="Shape 160">
            <a:extLst>
              <a:ext uri="{FF2B5EF4-FFF2-40B4-BE49-F238E27FC236}">
                <a16:creationId xmlns:a16="http://schemas.microsoft.com/office/drawing/2014/main" id="{ACDACCD1-6468-438D-903D-3485F003C6F7}"/>
              </a:ext>
            </a:extLst>
          </p:cNvPr>
          <p:cNvSpPr>
            <a:spLocks noChangeShapeType="1"/>
          </p:cNvSpPr>
          <p:nvPr/>
        </p:nvSpPr>
        <p:spPr bwMode="auto">
          <a:xfrm flipH="1" flipV="1">
            <a:off x="1640575" y="1805225"/>
            <a:ext cx="1483996" cy="1622930"/>
          </a:xfrm>
          <a:prstGeom prst="line">
            <a:avLst/>
          </a:prstGeom>
          <a:noFill/>
          <a:ln w="63500">
            <a:solidFill>
              <a:schemeClr val="accent1">
                <a:lumMod val="100000"/>
              </a:schemeClr>
            </a:solidFill>
            <a:miter lim="400000"/>
            <a:headEnd/>
            <a:tailEnd/>
          </a:ln>
          <a:extLst>
            <a:ext uri="{909E8E84-426E-40DD-AFC4-6F175D3DCCD1}">
              <a14:hiddenFill xmlns:a14="http://schemas.microsoft.com/office/drawing/2010/main">
                <a:noFill/>
              </a14:hiddenFill>
            </a:ext>
          </a:extLst>
        </p:spPr>
        <p:txBody>
          <a:bodyPr lIns="25400" tIns="25400" rIns="25400" bIns="254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500" b="0" i="0" u="none" strike="noStrike" kern="1200" cap="none" spc="0" normalizeH="0" baseline="0" noProof="0">
              <a:ln>
                <a:noFill/>
              </a:ln>
              <a:solidFill>
                <a:srgbClr val="000000"/>
              </a:solidFill>
              <a:effectLst/>
              <a:uLnTx/>
              <a:uFillTx/>
              <a:latin typeface="Arial"/>
              <a:cs typeface="+mn-ea"/>
              <a:sym typeface="+mn-lt"/>
            </a:endParaRPr>
          </a:p>
        </p:txBody>
      </p:sp>
      <p:sp>
        <p:nvSpPr>
          <p:cNvPr id="46" name="Shape 161">
            <a:extLst>
              <a:ext uri="{FF2B5EF4-FFF2-40B4-BE49-F238E27FC236}">
                <a16:creationId xmlns:a16="http://schemas.microsoft.com/office/drawing/2014/main" id="{4AF0A836-09E6-4E84-8DB0-5F0DBB9007B1}"/>
              </a:ext>
            </a:extLst>
          </p:cNvPr>
          <p:cNvSpPr>
            <a:spLocks noChangeArrowheads="1"/>
          </p:cNvSpPr>
          <p:nvPr/>
        </p:nvSpPr>
        <p:spPr bwMode="auto">
          <a:xfrm>
            <a:off x="3056219" y="3359249"/>
            <a:ext cx="158561" cy="158549"/>
          </a:xfrm>
          <a:prstGeom prst="ellipse">
            <a:avLst/>
          </a:prstGeom>
          <a:solidFill>
            <a:srgbClr val="FFFFFF"/>
          </a:solidFill>
          <a:ln w="63500">
            <a:solidFill>
              <a:schemeClr val="accent1">
                <a:lumMod val="100000"/>
              </a:schemeClr>
            </a:solidFill>
            <a:miter lim="400000"/>
            <a:headEnd/>
            <a:tailEnd/>
          </a:ln>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FFFFFF"/>
              </a:solidFill>
              <a:effectLst/>
              <a:uLnTx/>
              <a:uFillTx/>
              <a:latin typeface="Arial"/>
              <a:cs typeface="+mn-ea"/>
              <a:sym typeface="+mn-lt"/>
            </a:endParaRPr>
          </a:p>
        </p:txBody>
      </p:sp>
      <p:sp>
        <p:nvSpPr>
          <p:cNvPr id="47" name="Shape 162">
            <a:extLst>
              <a:ext uri="{FF2B5EF4-FFF2-40B4-BE49-F238E27FC236}">
                <a16:creationId xmlns:a16="http://schemas.microsoft.com/office/drawing/2014/main" id="{53B8EE6C-311B-4D5D-B697-A603B6C38F4C}"/>
              </a:ext>
            </a:extLst>
          </p:cNvPr>
          <p:cNvSpPr>
            <a:spLocks noChangeArrowheads="1"/>
          </p:cNvSpPr>
          <p:nvPr/>
        </p:nvSpPr>
        <p:spPr bwMode="auto">
          <a:xfrm>
            <a:off x="1439465" y="1458118"/>
            <a:ext cx="1676640" cy="360368"/>
          </a:xfrm>
          <a:prstGeom prst="roundRect">
            <a:avLst>
              <a:gd name="adj" fmla="val 50000"/>
            </a:avLst>
          </a:prstGeom>
          <a:solidFill>
            <a:schemeClr val="accent1">
              <a:lumMod val="100000"/>
            </a:schemeClr>
          </a:solidFill>
          <a:ln>
            <a:noFill/>
          </a:ln>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FFFFFF"/>
              </a:solidFill>
              <a:effectLst/>
              <a:uLnTx/>
              <a:uFillTx/>
              <a:latin typeface="Arial"/>
              <a:cs typeface="+mn-ea"/>
              <a:sym typeface="+mn-lt"/>
            </a:endParaRPr>
          </a:p>
        </p:txBody>
      </p:sp>
      <p:sp>
        <p:nvSpPr>
          <p:cNvPr id="48" name="Shape 163">
            <a:extLst>
              <a:ext uri="{FF2B5EF4-FFF2-40B4-BE49-F238E27FC236}">
                <a16:creationId xmlns:a16="http://schemas.microsoft.com/office/drawing/2014/main" id="{1968B3A2-AC7F-431B-8353-271F6F408F93}"/>
              </a:ext>
            </a:extLst>
          </p:cNvPr>
          <p:cNvSpPr>
            <a:spLocks noChangeArrowheads="1"/>
          </p:cNvSpPr>
          <p:nvPr/>
        </p:nvSpPr>
        <p:spPr bwMode="auto">
          <a:xfrm>
            <a:off x="1812064" y="1524581"/>
            <a:ext cx="1171468" cy="2128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altLang="ru-RU" sz="1050" b="1" i="0" u="none" strike="noStrike" kern="1200" cap="none" spc="0" normalizeH="0" baseline="0" noProof="0">
                <a:ln>
                  <a:noFill/>
                </a:ln>
                <a:solidFill>
                  <a:srgbClr val="FFFFFF"/>
                </a:solidFill>
                <a:effectLst/>
                <a:uLnTx/>
                <a:uFillTx/>
                <a:latin typeface="Arial"/>
                <a:cs typeface="+mn-ea"/>
                <a:sym typeface="+mn-lt"/>
              </a:rPr>
              <a:t>Information text</a:t>
            </a:r>
          </a:p>
        </p:txBody>
      </p:sp>
      <p:sp>
        <p:nvSpPr>
          <p:cNvPr id="49" name="Shape 164">
            <a:extLst>
              <a:ext uri="{FF2B5EF4-FFF2-40B4-BE49-F238E27FC236}">
                <a16:creationId xmlns:a16="http://schemas.microsoft.com/office/drawing/2014/main" id="{DCD1815D-8E7E-44EA-B421-8D4552C20AB4}"/>
              </a:ext>
            </a:extLst>
          </p:cNvPr>
          <p:cNvSpPr>
            <a:spLocks noChangeArrowheads="1"/>
          </p:cNvSpPr>
          <p:nvPr/>
        </p:nvSpPr>
        <p:spPr bwMode="auto">
          <a:xfrm>
            <a:off x="1473714" y="1493099"/>
            <a:ext cx="290426" cy="290405"/>
          </a:xfrm>
          <a:prstGeom prst="ellipse">
            <a:avLst/>
          </a:prstGeom>
          <a:solidFill>
            <a:srgbClr val="FFFFFF"/>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FFFFFF"/>
              </a:solidFill>
              <a:effectLst/>
              <a:uLnTx/>
              <a:uFillTx/>
              <a:latin typeface="Arial"/>
              <a:cs typeface="+mn-ea"/>
              <a:sym typeface="+mn-lt"/>
            </a:endParaRPr>
          </a:p>
        </p:txBody>
      </p:sp>
      <p:sp>
        <p:nvSpPr>
          <p:cNvPr id="50" name="Shape 165">
            <a:extLst>
              <a:ext uri="{FF2B5EF4-FFF2-40B4-BE49-F238E27FC236}">
                <a16:creationId xmlns:a16="http://schemas.microsoft.com/office/drawing/2014/main" id="{3E7D5AEF-5836-4B5C-900E-3232D56759E3}"/>
              </a:ext>
            </a:extLst>
          </p:cNvPr>
          <p:cNvSpPr>
            <a:spLocks noChangeArrowheads="1"/>
          </p:cNvSpPr>
          <p:nvPr/>
        </p:nvSpPr>
        <p:spPr bwMode="auto">
          <a:xfrm>
            <a:off x="2068695" y="2285592"/>
            <a:ext cx="104155" cy="104148"/>
          </a:xfrm>
          <a:prstGeom prst="ellipse">
            <a:avLst/>
          </a:prstGeom>
          <a:solidFill>
            <a:schemeClr val="accent1">
              <a:lumMod val="100000"/>
            </a:schemeClr>
          </a:solidFill>
          <a:ln>
            <a:noFill/>
          </a:ln>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FFFFFF"/>
              </a:solidFill>
              <a:effectLst/>
              <a:uLnTx/>
              <a:uFillTx/>
              <a:latin typeface="Arial"/>
              <a:cs typeface="+mn-ea"/>
              <a:sym typeface="+mn-lt"/>
            </a:endParaRPr>
          </a:p>
        </p:txBody>
      </p:sp>
      <p:sp>
        <p:nvSpPr>
          <p:cNvPr id="51" name="Shape 166">
            <a:extLst>
              <a:ext uri="{FF2B5EF4-FFF2-40B4-BE49-F238E27FC236}">
                <a16:creationId xmlns:a16="http://schemas.microsoft.com/office/drawing/2014/main" id="{4E65E261-A6ED-446A-9429-D52BE5069B49}"/>
              </a:ext>
            </a:extLst>
          </p:cNvPr>
          <p:cNvSpPr>
            <a:spLocks noChangeArrowheads="1"/>
          </p:cNvSpPr>
          <p:nvPr/>
        </p:nvSpPr>
        <p:spPr bwMode="auto">
          <a:xfrm>
            <a:off x="2544759" y="2804454"/>
            <a:ext cx="104155" cy="104148"/>
          </a:xfrm>
          <a:prstGeom prst="ellipse">
            <a:avLst/>
          </a:prstGeom>
          <a:solidFill>
            <a:schemeClr val="accent1">
              <a:lumMod val="100000"/>
            </a:schemeClr>
          </a:solidFill>
          <a:ln>
            <a:noFill/>
          </a:ln>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FFFFFF"/>
              </a:solidFill>
              <a:effectLst/>
              <a:uLnTx/>
              <a:uFillTx/>
              <a:latin typeface="Arial"/>
              <a:cs typeface="+mn-ea"/>
              <a:sym typeface="+mn-lt"/>
            </a:endParaRPr>
          </a:p>
        </p:txBody>
      </p:sp>
      <p:sp>
        <p:nvSpPr>
          <p:cNvPr id="52" name="Shape 167">
            <a:extLst>
              <a:ext uri="{FF2B5EF4-FFF2-40B4-BE49-F238E27FC236}">
                <a16:creationId xmlns:a16="http://schemas.microsoft.com/office/drawing/2014/main" id="{85AFD866-2B66-4CE0-932B-AE27BED3D62C}"/>
              </a:ext>
            </a:extLst>
          </p:cNvPr>
          <p:cNvSpPr>
            <a:spLocks noChangeArrowheads="1"/>
          </p:cNvSpPr>
          <p:nvPr/>
        </p:nvSpPr>
        <p:spPr bwMode="auto">
          <a:xfrm>
            <a:off x="2296473" y="2235074"/>
            <a:ext cx="1824085" cy="205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altLang="ru-RU" sz="1000" b="0" i="0" u="none" strike="noStrike" kern="1200" cap="none" spc="0" normalizeH="0" baseline="0" noProof="0">
                <a:ln>
                  <a:noFill/>
                </a:ln>
                <a:solidFill>
                  <a:schemeClr val="accent1"/>
                </a:solidFill>
                <a:effectLst/>
                <a:uLnTx/>
                <a:uFillTx/>
                <a:latin typeface="Arial"/>
                <a:cs typeface="+mn-ea"/>
                <a:sym typeface="+mn-lt"/>
              </a:rPr>
              <a:t>Fish bone text block </a:t>
            </a:r>
          </a:p>
        </p:txBody>
      </p:sp>
      <p:sp>
        <p:nvSpPr>
          <p:cNvPr id="53" name="Shape 168">
            <a:extLst>
              <a:ext uri="{FF2B5EF4-FFF2-40B4-BE49-F238E27FC236}">
                <a16:creationId xmlns:a16="http://schemas.microsoft.com/office/drawing/2014/main" id="{0B4E098C-94FD-4CD4-A0FA-A5841F8FC087}"/>
              </a:ext>
            </a:extLst>
          </p:cNvPr>
          <p:cNvSpPr>
            <a:spLocks noChangeArrowheads="1"/>
          </p:cNvSpPr>
          <p:nvPr/>
        </p:nvSpPr>
        <p:spPr bwMode="auto">
          <a:xfrm>
            <a:off x="2771680" y="2749729"/>
            <a:ext cx="1824085" cy="205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altLang="ru-RU" sz="1000" b="0" i="0" u="none" strike="noStrike" kern="1200" cap="none" spc="0" normalizeH="0" baseline="0" noProof="0">
                <a:ln>
                  <a:noFill/>
                </a:ln>
                <a:solidFill>
                  <a:schemeClr val="accent1"/>
                </a:solidFill>
                <a:effectLst/>
                <a:uLnTx/>
                <a:uFillTx/>
                <a:latin typeface="Arial"/>
                <a:cs typeface="+mn-ea"/>
                <a:sym typeface="+mn-lt"/>
              </a:rPr>
              <a:t>Fish bone text block </a:t>
            </a:r>
          </a:p>
        </p:txBody>
      </p:sp>
      <p:sp>
        <p:nvSpPr>
          <p:cNvPr id="54" name="Shape 169">
            <a:extLst>
              <a:ext uri="{FF2B5EF4-FFF2-40B4-BE49-F238E27FC236}">
                <a16:creationId xmlns:a16="http://schemas.microsoft.com/office/drawing/2014/main" id="{B97138BC-87E4-4F84-A727-EE962847FD22}"/>
              </a:ext>
            </a:extLst>
          </p:cNvPr>
          <p:cNvSpPr>
            <a:spLocks/>
          </p:cNvSpPr>
          <p:nvPr/>
        </p:nvSpPr>
        <p:spPr bwMode="auto">
          <a:xfrm>
            <a:off x="1552887" y="1589087"/>
            <a:ext cx="144059" cy="98429"/>
          </a:xfrm>
          <a:custGeom>
            <a:avLst/>
            <a:gdLst>
              <a:gd name="T0" fmla="*/ 25637706 w 21600"/>
              <a:gd name="T1" fmla="*/ 8179297 h 21600"/>
              <a:gd name="T2" fmla="*/ 25637706 w 21600"/>
              <a:gd name="T3" fmla="*/ 8179297 h 21600"/>
              <a:gd name="T4" fmla="*/ 25637706 w 21600"/>
              <a:gd name="T5" fmla="*/ 8179297 h 21600"/>
              <a:gd name="T6" fmla="*/ 25637706 w 21600"/>
              <a:gd name="T7" fmla="*/ 8179297 h 21600"/>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21600" h="21600" extrusionOk="0">
                <a:moveTo>
                  <a:pt x="10710" y="0"/>
                </a:moveTo>
                <a:cubicBezTo>
                  <a:pt x="5825" y="0"/>
                  <a:pt x="1520" y="4689"/>
                  <a:pt x="0" y="10958"/>
                </a:cubicBezTo>
                <a:cubicBezTo>
                  <a:pt x="1520" y="17227"/>
                  <a:pt x="5825" y="21600"/>
                  <a:pt x="10710" y="21600"/>
                </a:cubicBezTo>
                <a:cubicBezTo>
                  <a:pt x="15594" y="21600"/>
                  <a:pt x="19899" y="17227"/>
                  <a:pt x="21600" y="10958"/>
                </a:cubicBezTo>
                <a:cubicBezTo>
                  <a:pt x="19899" y="4689"/>
                  <a:pt x="15594" y="0"/>
                  <a:pt x="10710" y="0"/>
                </a:cubicBezTo>
                <a:close/>
                <a:moveTo>
                  <a:pt x="10710" y="18070"/>
                </a:moveTo>
                <a:cubicBezTo>
                  <a:pt x="7887" y="18070"/>
                  <a:pt x="5825" y="14909"/>
                  <a:pt x="5825" y="10958"/>
                </a:cubicBezTo>
                <a:cubicBezTo>
                  <a:pt x="5825" y="7007"/>
                  <a:pt x="7887" y="3846"/>
                  <a:pt x="10710" y="3846"/>
                </a:cubicBezTo>
                <a:cubicBezTo>
                  <a:pt x="13532" y="3846"/>
                  <a:pt x="15594" y="7007"/>
                  <a:pt x="15594" y="10958"/>
                </a:cubicBezTo>
                <a:cubicBezTo>
                  <a:pt x="15594" y="14909"/>
                  <a:pt x="13532" y="18070"/>
                  <a:pt x="10710" y="18070"/>
                </a:cubicBezTo>
                <a:close/>
                <a:moveTo>
                  <a:pt x="10710" y="6585"/>
                </a:moveTo>
                <a:cubicBezTo>
                  <a:pt x="9009" y="6585"/>
                  <a:pt x="7707" y="8482"/>
                  <a:pt x="7707" y="10958"/>
                </a:cubicBezTo>
                <a:cubicBezTo>
                  <a:pt x="7707" y="13381"/>
                  <a:pt x="9009" y="15067"/>
                  <a:pt x="10710" y="15067"/>
                </a:cubicBezTo>
                <a:cubicBezTo>
                  <a:pt x="12410" y="15067"/>
                  <a:pt x="13713" y="13381"/>
                  <a:pt x="13713" y="10958"/>
                </a:cubicBezTo>
                <a:cubicBezTo>
                  <a:pt x="13713" y="8482"/>
                  <a:pt x="12410" y="6585"/>
                  <a:pt x="10710" y="6585"/>
                </a:cubicBezTo>
                <a:close/>
              </a:path>
            </a:pathLst>
          </a:custGeom>
          <a:solidFill>
            <a:schemeClr val="accent1">
              <a:lumMod val="100000"/>
            </a:schemeClr>
          </a:solidFill>
          <a:ln>
            <a:noFill/>
          </a:ln>
        </p:spPr>
        <p:txBody>
          <a:bodyPr lIns="22860" tIns="22860" rIns="22860" bIns="2286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500" b="0" i="0" u="none" strike="noStrike" kern="1200" cap="none" spc="0" normalizeH="0" baseline="0" noProof="0">
              <a:ln>
                <a:noFill/>
              </a:ln>
              <a:solidFill>
                <a:srgbClr val="000000"/>
              </a:solidFill>
              <a:effectLst/>
              <a:uLnTx/>
              <a:uFillTx/>
              <a:latin typeface="Arial"/>
              <a:cs typeface="+mn-ea"/>
              <a:sym typeface="+mn-lt"/>
            </a:endParaRPr>
          </a:p>
        </p:txBody>
      </p:sp>
      <p:sp>
        <p:nvSpPr>
          <p:cNvPr id="55" name="Shape 170">
            <a:extLst>
              <a:ext uri="{FF2B5EF4-FFF2-40B4-BE49-F238E27FC236}">
                <a16:creationId xmlns:a16="http://schemas.microsoft.com/office/drawing/2014/main" id="{4E3212A1-8695-4B8D-9BEA-944BEB1A41FA}"/>
              </a:ext>
            </a:extLst>
          </p:cNvPr>
          <p:cNvSpPr>
            <a:spLocks/>
          </p:cNvSpPr>
          <p:nvPr/>
        </p:nvSpPr>
        <p:spPr bwMode="auto">
          <a:xfrm>
            <a:off x="8853721" y="3280432"/>
            <a:ext cx="291852" cy="294395"/>
          </a:xfrm>
          <a:custGeom>
            <a:avLst/>
            <a:gdLst>
              <a:gd name="T0" fmla="*/ 213179866 w 21600"/>
              <a:gd name="T1" fmla="*/ 218845931 h 21600"/>
              <a:gd name="T2" fmla="*/ 213179866 w 21600"/>
              <a:gd name="T3" fmla="*/ 218845931 h 21600"/>
              <a:gd name="T4" fmla="*/ 213179866 w 21600"/>
              <a:gd name="T5" fmla="*/ 218845931 h 21600"/>
              <a:gd name="T6" fmla="*/ 213179866 w 21600"/>
              <a:gd name="T7" fmla="*/ 218845931 h 21600"/>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21600" h="21600" extrusionOk="0">
                <a:moveTo>
                  <a:pt x="21600" y="4286"/>
                </a:moveTo>
                <a:lnTo>
                  <a:pt x="16675" y="0"/>
                </a:lnTo>
                <a:lnTo>
                  <a:pt x="15206" y="1629"/>
                </a:lnTo>
                <a:lnTo>
                  <a:pt x="20174" y="5700"/>
                </a:lnTo>
                <a:lnTo>
                  <a:pt x="21600" y="4286"/>
                </a:lnTo>
                <a:close/>
                <a:moveTo>
                  <a:pt x="6394" y="1629"/>
                </a:moveTo>
                <a:lnTo>
                  <a:pt x="4925" y="214"/>
                </a:lnTo>
                <a:lnTo>
                  <a:pt x="0" y="4286"/>
                </a:lnTo>
                <a:lnTo>
                  <a:pt x="1469" y="5700"/>
                </a:lnTo>
                <a:lnTo>
                  <a:pt x="6394" y="1629"/>
                </a:lnTo>
                <a:close/>
                <a:moveTo>
                  <a:pt x="11318" y="6729"/>
                </a:moveTo>
                <a:lnTo>
                  <a:pt x="9677" y="6729"/>
                </a:lnTo>
                <a:lnTo>
                  <a:pt x="9677" y="13071"/>
                </a:lnTo>
                <a:lnTo>
                  <a:pt x="14818" y="16114"/>
                </a:lnTo>
                <a:lnTo>
                  <a:pt x="15638" y="14871"/>
                </a:lnTo>
                <a:lnTo>
                  <a:pt x="11318" y="12257"/>
                </a:lnTo>
                <a:lnTo>
                  <a:pt x="11318" y="6729"/>
                </a:lnTo>
                <a:close/>
                <a:moveTo>
                  <a:pt x="10714" y="2443"/>
                </a:moveTo>
                <a:cubicBezTo>
                  <a:pt x="5357" y="2443"/>
                  <a:pt x="1037" y="6729"/>
                  <a:pt x="1037" y="12043"/>
                </a:cubicBezTo>
                <a:cubicBezTo>
                  <a:pt x="1037" y="17357"/>
                  <a:pt x="5270" y="21600"/>
                  <a:pt x="10714" y="21600"/>
                </a:cubicBezTo>
                <a:cubicBezTo>
                  <a:pt x="16157" y="21600"/>
                  <a:pt x="20347" y="17357"/>
                  <a:pt x="20347" y="12043"/>
                </a:cubicBezTo>
                <a:cubicBezTo>
                  <a:pt x="20347" y="6729"/>
                  <a:pt x="16243" y="2443"/>
                  <a:pt x="10714" y="2443"/>
                </a:cubicBezTo>
                <a:close/>
                <a:moveTo>
                  <a:pt x="10714" y="19371"/>
                </a:moveTo>
                <a:cubicBezTo>
                  <a:pt x="6610" y="19371"/>
                  <a:pt x="3283" y="16200"/>
                  <a:pt x="3283" y="12043"/>
                </a:cubicBezTo>
                <a:cubicBezTo>
                  <a:pt x="3283" y="7843"/>
                  <a:pt x="6480" y="4500"/>
                  <a:pt x="10714" y="4500"/>
                </a:cubicBezTo>
                <a:cubicBezTo>
                  <a:pt x="14904" y="4500"/>
                  <a:pt x="18317" y="7843"/>
                  <a:pt x="18317" y="12043"/>
                </a:cubicBezTo>
                <a:cubicBezTo>
                  <a:pt x="18317" y="16200"/>
                  <a:pt x="15034" y="19371"/>
                  <a:pt x="10714" y="19371"/>
                </a:cubicBezTo>
                <a:close/>
              </a:path>
            </a:pathLst>
          </a:custGeom>
          <a:solidFill>
            <a:schemeClr val="accent1">
              <a:lumMod val="100000"/>
            </a:schemeClr>
          </a:solidFill>
          <a:ln>
            <a:noFill/>
          </a:ln>
        </p:spPr>
        <p:txBody>
          <a:bodyPr lIns="22860" tIns="22860" rIns="22860" bIns="2286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500" b="0" i="0" u="none" strike="noStrike" kern="1200" cap="none" spc="0" normalizeH="0" baseline="0" noProof="0">
              <a:ln>
                <a:noFill/>
              </a:ln>
              <a:solidFill>
                <a:srgbClr val="000000"/>
              </a:solidFill>
              <a:effectLst/>
              <a:uLnTx/>
              <a:uFillTx/>
              <a:latin typeface="Arial"/>
              <a:cs typeface="+mn-ea"/>
              <a:sym typeface="+mn-lt"/>
            </a:endParaRPr>
          </a:p>
        </p:txBody>
      </p:sp>
      <p:sp>
        <p:nvSpPr>
          <p:cNvPr id="56" name="Shape 171">
            <a:extLst>
              <a:ext uri="{FF2B5EF4-FFF2-40B4-BE49-F238E27FC236}">
                <a16:creationId xmlns:a16="http://schemas.microsoft.com/office/drawing/2014/main" id="{C99F926D-1130-4326-AD79-1B8DC633B616}"/>
              </a:ext>
            </a:extLst>
          </p:cNvPr>
          <p:cNvSpPr>
            <a:spLocks noChangeArrowheads="1"/>
          </p:cNvSpPr>
          <p:nvPr/>
        </p:nvSpPr>
        <p:spPr bwMode="auto">
          <a:xfrm>
            <a:off x="9484915" y="3197100"/>
            <a:ext cx="1267619" cy="4360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2500" b="1" cap="all">
                <a:solidFill>
                  <a:srgbClr val="344245"/>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sz="1250" b="1" i="0" u="none" strike="noStrike" kern="0" cap="all" spc="0" normalizeH="0" baseline="0" noProof="0" dirty="0">
                <a:ln>
                  <a:noFill/>
                </a:ln>
                <a:solidFill>
                  <a:schemeClr val="accent1"/>
                </a:solidFill>
                <a:effectLst/>
                <a:uLnTx/>
                <a:uFillTx/>
                <a:latin typeface="Arial"/>
                <a:cs typeface="+mn-ea"/>
                <a:sym typeface="+mn-lt"/>
              </a:rPr>
              <a:t>process efficiency</a:t>
            </a:r>
          </a:p>
        </p:txBody>
      </p:sp>
    </p:spTree>
    <p:extLst>
      <p:ext uri="{BB962C8B-B14F-4D97-AF65-F5344CB8AC3E}">
        <p14:creationId xmlns:p14="http://schemas.microsoft.com/office/powerpoint/2010/main" val="798166005"/>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7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hape 118">
            <a:extLst>
              <a:ext uri="{FF2B5EF4-FFF2-40B4-BE49-F238E27FC236}">
                <a16:creationId xmlns:a16="http://schemas.microsoft.com/office/drawing/2014/main" id="{DF70F70D-2196-4604-98F2-B65708E23D64}"/>
              </a:ext>
            </a:extLst>
          </p:cNvPr>
          <p:cNvSpPr>
            <a:spLocks noChangeShapeType="1"/>
          </p:cNvSpPr>
          <p:nvPr/>
        </p:nvSpPr>
        <p:spPr bwMode="auto">
          <a:xfrm>
            <a:off x="3181177" y="3433054"/>
            <a:ext cx="5516217" cy="1"/>
          </a:xfrm>
          <a:prstGeom prst="line">
            <a:avLst/>
          </a:prstGeom>
          <a:noFill/>
          <a:ln w="63500">
            <a:solidFill>
              <a:schemeClr val="accent1">
                <a:lumMod val="100000"/>
              </a:schemeClr>
            </a:solidFill>
            <a:miter lim="400000"/>
            <a:headEnd/>
            <a:tailEnd/>
          </a:ln>
          <a:extLst>
            <a:ext uri="{909E8E84-426E-40DD-AFC4-6F175D3DCCD1}">
              <a14:hiddenFill xmlns:a14="http://schemas.microsoft.com/office/drawing/2010/main">
                <a:noFill/>
              </a14:hiddenFill>
            </a:ext>
          </a:extLst>
        </p:spPr>
        <p:txBody>
          <a:bodyPr lIns="25400" tIns="25400" rIns="25400" bIns="254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500" b="0" i="0" u="none" strike="noStrike" kern="1200" cap="none" spc="0" normalizeH="0" baseline="0" noProof="0">
              <a:ln>
                <a:noFill/>
              </a:ln>
              <a:solidFill>
                <a:srgbClr val="000000"/>
              </a:solidFill>
              <a:effectLst/>
              <a:uLnTx/>
              <a:uFillTx/>
              <a:latin typeface="Arial"/>
              <a:cs typeface="+mn-ea"/>
              <a:sym typeface="+mn-lt"/>
            </a:endParaRPr>
          </a:p>
        </p:txBody>
      </p:sp>
      <p:sp>
        <p:nvSpPr>
          <p:cNvPr id="4" name="Shape 119">
            <a:extLst>
              <a:ext uri="{FF2B5EF4-FFF2-40B4-BE49-F238E27FC236}">
                <a16:creationId xmlns:a16="http://schemas.microsoft.com/office/drawing/2014/main" id="{631919B1-4DAA-4E32-89EA-BB7E829320C3}"/>
              </a:ext>
            </a:extLst>
          </p:cNvPr>
          <p:cNvSpPr>
            <a:spLocks noChangeShapeType="1"/>
          </p:cNvSpPr>
          <p:nvPr/>
        </p:nvSpPr>
        <p:spPr bwMode="auto">
          <a:xfrm flipH="1" flipV="1">
            <a:off x="3893462" y="1805225"/>
            <a:ext cx="1483996" cy="1622930"/>
          </a:xfrm>
          <a:prstGeom prst="line">
            <a:avLst/>
          </a:prstGeom>
          <a:noFill/>
          <a:ln w="63500">
            <a:solidFill>
              <a:schemeClr val="accent1">
                <a:lumMod val="100000"/>
              </a:schemeClr>
            </a:solidFill>
            <a:miter lim="400000"/>
            <a:headEnd/>
            <a:tailEnd/>
          </a:ln>
          <a:extLst>
            <a:ext uri="{909E8E84-426E-40DD-AFC4-6F175D3DCCD1}">
              <a14:hiddenFill xmlns:a14="http://schemas.microsoft.com/office/drawing/2010/main">
                <a:noFill/>
              </a14:hiddenFill>
            </a:ext>
          </a:extLst>
        </p:spPr>
        <p:txBody>
          <a:bodyPr lIns="25400" tIns="25400" rIns="25400" bIns="254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500" b="0" i="0" u="none" strike="noStrike" kern="1200" cap="none" spc="0" normalizeH="0" baseline="0" noProof="0">
              <a:ln>
                <a:noFill/>
              </a:ln>
              <a:solidFill>
                <a:srgbClr val="000000"/>
              </a:solidFill>
              <a:effectLst/>
              <a:uLnTx/>
              <a:uFillTx/>
              <a:latin typeface="Arial"/>
              <a:cs typeface="+mn-ea"/>
              <a:sym typeface="+mn-lt"/>
            </a:endParaRPr>
          </a:p>
        </p:txBody>
      </p:sp>
      <p:sp>
        <p:nvSpPr>
          <p:cNvPr id="5" name="Shape 121">
            <a:extLst>
              <a:ext uri="{FF2B5EF4-FFF2-40B4-BE49-F238E27FC236}">
                <a16:creationId xmlns:a16="http://schemas.microsoft.com/office/drawing/2014/main" id="{4AF4A65B-1347-4E42-A10E-90B55A4421C1}"/>
              </a:ext>
            </a:extLst>
          </p:cNvPr>
          <p:cNvSpPr>
            <a:spLocks noChangeShapeType="1"/>
          </p:cNvSpPr>
          <p:nvPr/>
        </p:nvSpPr>
        <p:spPr bwMode="auto">
          <a:xfrm flipH="1" flipV="1">
            <a:off x="6060757" y="1805225"/>
            <a:ext cx="1483996" cy="1622930"/>
          </a:xfrm>
          <a:prstGeom prst="line">
            <a:avLst/>
          </a:prstGeom>
          <a:noFill/>
          <a:ln w="63500">
            <a:solidFill>
              <a:schemeClr val="accent1">
                <a:lumMod val="100000"/>
              </a:schemeClr>
            </a:solidFill>
            <a:miter lim="400000"/>
            <a:headEnd/>
            <a:tailEnd/>
          </a:ln>
          <a:extLst>
            <a:ext uri="{909E8E84-426E-40DD-AFC4-6F175D3DCCD1}">
              <a14:hiddenFill xmlns:a14="http://schemas.microsoft.com/office/drawing/2010/main">
                <a:noFill/>
              </a14:hiddenFill>
            </a:ext>
          </a:extLst>
        </p:spPr>
        <p:txBody>
          <a:bodyPr lIns="25400" tIns="25400" rIns="25400" bIns="254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500" b="0" i="0" u="none" strike="noStrike" kern="1200" cap="none" spc="0" normalizeH="0" baseline="0" noProof="0">
              <a:ln>
                <a:noFill/>
              </a:ln>
              <a:solidFill>
                <a:srgbClr val="000000"/>
              </a:solidFill>
              <a:effectLst/>
              <a:uLnTx/>
              <a:uFillTx/>
              <a:latin typeface="Arial"/>
              <a:cs typeface="+mn-ea"/>
              <a:sym typeface="+mn-lt"/>
            </a:endParaRPr>
          </a:p>
        </p:txBody>
      </p:sp>
      <p:sp>
        <p:nvSpPr>
          <p:cNvPr id="6" name="Shape 123">
            <a:extLst>
              <a:ext uri="{FF2B5EF4-FFF2-40B4-BE49-F238E27FC236}">
                <a16:creationId xmlns:a16="http://schemas.microsoft.com/office/drawing/2014/main" id="{11DE3CBB-ED9D-427C-82D4-830123A73C56}"/>
              </a:ext>
            </a:extLst>
          </p:cNvPr>
          <p:cNvSpPr>
            <a:spLocks noChangeArrowheads="1"/>
          </p:cNvSpPr>
          <p:nvPr/>
        </p:nvSpPr>
        <p:spPr bwMode="auto">
          <a:xfrm>
            <a:off x="4197945" y="3359249"/>
            <a:ext cx="158561" cy="158549"/>
          </a:xfrm>
          <a:prstGeom prst="ellipse">
            <a:avLst/>
          </a:prstGeom>
          <a:solidFill>
            <a:srgbClr val="FFFFFF"/>
          </a:solidFill>
          <a:ln w="63500">
            <a:solidFill>
              <a:schemeClr val="accent1">
                <a:lumMod val="100000"/>
              </a:schemeClr>
            </a:solidFill>
            <a:miter lim="400000"/>
            <a:headEnd/>
            <a:tailEnd/>
          </a:ln>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FFFFFF"/>
              </a:solidFill>
              <a:effectLst/>
              <a:uLnTx/>
              <a:uFillTx/>
              <a:latin typeface="Arial"/>
              <a:cs typeface="+mn-ea"/>
              <a:sym typeface="+mn-lt"/>
            </a:endParaRPr>
          </a:p>
        </p:txBody>
      </p:sp>
      <p:sp>
        <p:nvSpPr>
          <p:cNvPr id="7" name="Shape 125">
            <a:extLst>
              <a:ext uri="{FF2B5EF4-FFF2-40B4-BE49-F238E27FC236}">
                <a16:creationId xmlns:a16="http://schemas.microsoft.com/office/drawing/2014/main" id="{4220D07D-3204-415A-A2A0-EDA439A2F326}"/>
              </a:ext>
            </a:extLst>
          </p:cNvPr>
          <p:cNvSpPr>
            <a:spLocks noChangeArrowheads="1"/>
          </p:cNvSpPr>
          <p:nvPr/>
        </p:nvSpPr>
        <p:spPr bwMode="auto">
          <a:xfrm>
            <a:off x="6354744" y="3359249"/>
            <a:ext cx="158561" cy="158549"/>
          </a:xfrm>
          <a:prstGeom prst="ellipse">
            <a:avLst/>
          </a:prstGeom>
          <a:solidFill>
            <a:srgbClr val="FFFFFF"/>
          </a:solidFill>
          <a:ln w="63500">
            <a:solidFill>
              <a:schemeClr val="accent1">
                <a:lumMod val="100000"/>
              </a:schemeClr>
            </a:solidFill>
            <a:miter lim="400000"/>
            <a:headEnd/>
            <a:tailEnd/>
          </a:ln>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FFFFFF"/>
              </a:solidFill>
              <a:effectLst/>
              <a:uLnTx/>
              <a:uFillTx/>
              <a:latin typeface="Arial"/>
              <a:cs typeface="+mn-ea"/>
              <a:sym typeface="+mn-lt"/>
            </a:endParaRPr>
          </a:p>
        </p:txBody>
      </p:sp>
      <p:sp>
        <p:nvSpPr>
          <p:cNvPr id="8" name="Shape 135">
            <a:extLst>
              <a:ext uri="{FF2B5EF4-FFF2-40B4-BE49-F238E27FC236}">
                <a16:creationId xmlns:a16="http://schemas.microsoft.com/office/drawing/2014/main" id="{030CB573-8F7A-4843-85B9-0920108F0E9E}"/>
              </a:ext>
            </a:extLst>
          </p:cNvPr>
          <p:cNvSpPr>
            <a:spLocks noChangeArrowheads="1"/>
          </p:cNvSpPr>
          <p:nvPr/>
        </p:nvSpPr>
        <p:spPr bwMode="auto">
          <a:xfrm>
            <a:off x="3692352" y="1458118"/>
            <a:ext cx="1676641" cy="360368"/>
          </a:xfrm>
          <a:prstGeom prst="roundRect">
            <a:avLst>
              <a:gd name="adj" fmla="val 50000"/>
            </a:avLst>
          </a:prstGeom>
          <a:solidFill>
            <a:schemeClr val="accent1">
              <a:lumMod val="100000"/>
            </a:schemeClr>
          </a:solidFill>
          <a:ln>
            <a:noFill/>
          </a:ln>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FFFFFF"/>
              </a:solidFill>
              <a:effectLst/>
              <a:uLnTx/>
              <a:uFillTx/>
              <a:latin typeface="Arial"/>
              <a:cs typeface="+mn-ea"/>
              <a:sym typeface="+mn-lt"/>
            </a:endParaRPr>
          </a:p>
        </p:txBody>
      </p:sp>
      <p:sp>
        <p:nvSpPr>
          <p:cNvPr id="9" name="Shape 136">
            <a:extLst>
              <a:ext uri="{FF2B5EF4-FFF2-40B4-BE49-F238E27FC236}">
                <a16:creationId xmlns:a16="http://schemas.microsoft.com/office/drawing/2014/main" id="{5741F854-A392-4AEF-8B97-ACF69FD1EA92}"/>
              </a:ext>
            </a:extLst>
          </p:cNvPr>
          <p:cNvSpPr>
            <a:spLocks noChangeArrowheads="1"/>
          </p:cNvSpPr>
          <p:nvPr/>
        </p:nvSpPr>
        <p:spPr bwMode="auto">
          <a:xfrm>
            <a:off x="4064951" y="1524581"/>
            <a:ext cx="1171468" cy="2128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altLang="ru-RU" sz="1050" b="1" i="0" u="none" strike="noStrike" kern="1200" cap="none" spc="0" normalizeH="0" baseline="0" noProof="0">
                <a:ln>
                  <a:noFill/>
                </a:ln>
                <a:solidFill>
                  <a:srgbClr val="FFFFFF"/>
                </a:solidFill>
                <a:effectLst/>
                <a:uLnTx/>
                <a:uFillTx/>
                <a:latin typeface="Arial"/>
                <a:cs typeface="+mn-ea"/>
                <a:sym typeface="+mn-lt"/>
              </a:rPr>
              <a:t>Information text</a:t>
            </a:r>
          </a:p>
        </p:txBody>
      </p:sp>
      <p:sp>
        <p:nvSpPr>
          <p:cNvPr id="10" name="Shape 137">
            <a:extLst>
              <a:ext uri="{FF2B5EF4-FFF2-40B4-BE49-F238E27FC236}">
                <a16:creationId xmlns:a16="http://schemas.microsoft.com/office/drawing/2014/main" id="{802F36F4-FA01-409B-A131-ED86BED71262}"/>
              </a:ext>
            </a:extLst>
          </p:cNvPr>
          <p:cNvSpPr>
            <a:spLocks noChangeArrowheads="1"/>
          </p:cNvSpPr>
          <p:nvPr/>
        </p:nvSpPr>
        <p:spPr bwMode="auto">
          <a:xfrm>
            <a:off x="3726601" y="1493099"/>
            <a:ext cx="290426" cy="290405"/>
          </a:xfrm>
          <a:prstGeom prst="ellipse">
            <a:avLst/>
          </a:prstGeom>
          <a:solidFill>
            <a:srgbClr val="FFFFFF"/>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FFFFFF"/>
              </a:solidFill>
              <a:effectLst/>
              <a:uLnTx/>
              <a:uFillTx/>
              <a:latin typeface="Arial"/>
              <a:cs typeface="+mn-ea"/>
              <a:sym typeface="+mn-lt"/>
            </a:endParaRPr>
          </a:p>
        </p:txBody>
      </p:sp>
      <p:sp>
        <p:nvSpPr>
          <p:cNvPr id="11" name="Shape 138">
            <a:extLst>
              <a:ext uri="{FF2B5EF4-FFF2-40B4-BE49-F238E27FC236}">
                <a16:creationId xmlns:a16="http://schemas.microsoft.com/office/drawing/2014/main" id="{B96E9B0C-D6E0-4006-BFC0-633F28067F79}"/>
              </a:ext>
            </a:extLst>
          </p:cNvPr>
          <p:cNvSpPr>
            <a:spLocks noChangeArrowheads="1"/>
          </p:cNvSpPr>
          <p:nvPr/>
        </p:nvSpPr>
        <p:spPr bwMode="auto">
          <a:xfrm>
            <a:off x="5859646" y="1458118"/>
            <a:ext cx="1676641" cy="360368"/>
          </a:xfrm>
          <a:prstGeom prst="roundRect">
            <a:avLst>
              <a:gd name="adj" fmla="val 50000"/>
            </a:avLst>
          </a:prstGeom>
          <a:solidFill>
            <a:schemeClr val="accent1">
              <a:lumMod val="100000"/>
            </a:schemeClr>
          </a:solidFill>
          <a:ln>
            <a:noFill/>
          </a:ln>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FFFFFF"/>
              </a:solidFill>
              <a:effectLst/>
              <a:uLnTx/>
              <a:uFillTx/>
              <a:latin typeface="Arial"/>
              <a:cs typeface="+mn-ea"/>
              <a:sym typeface="+mn-lt"/>
            </a:endParaRPr>
          </a:p>
        </p:txBody>
      </p:sp>
      <p:sp>
        <p:nvSpPr>
          <p:cNvPr id="12" name="Shape 139">
            <a:extLst>
              <a:ext uri="{FF2B5EF4-FFF2-40B4-BE49-F238E27FC236}">
                <a16:creationId xmlns:a16="http://schemas.microsoft.com/office/drawing/2014/main" id="{E9F0324A-55DC-43BE-A6F3-DB6904AABC24}"/>
              </a:ext>
            </a:extLst>
          </p:cNvPr>
          <p:cNvSpPr>
            <a:spLocks noChangeArrowheads="1"/>
          </p:cNvSpPr>
          <p:nvPr/>
        </p:nvSpPr>
        <p:spPr bwMode="auto">
          <a:xfrm>
            <a:off x="6232245" y="1524581"/>
            <a:ext cx="1171468" cy="2128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altLang="ru-RU" sz="1050" b="1" i="0" u="none" strike="noStrike" kern="1200" cap="none" spc="0" normalizeH="0" baseline="0" noProof="0" dirty="0" err="1">
                <a:ln>
                  <a:noFill/>
                </a:ln>
                <a:solidFill>
                  <a:srgbClr val="FFFFFF"/>
                </a:solidFill>
                <a:effectLst/>
                <a:uLnTx/>
                <a:uFillTx/>
                <a:latin typeface="Arial"/>
                <a:cs typeface="+mn-ea"/>
                <a:sym typeface="+mn-lt"/>
              </a:rPr>
              <a:t>Information</a:t>
            </a:r>
            <a:r>
              <a:rPr kumimoji="0" lang="ru-RU" altLang="ru-RU" sz="1050" b="1" i="0" u="none" strike="noStrike" kern="1200" cap="none" spc="0" normalizeH="0" baseline="0" noProof="0" dirty="0">
                <a:ln>
                  <a:noFill/>
                </a:ln>
                <a:solidFill>
                  <a:srgbClr val="FFFFFF"/>
                </a:solidFill>
                <a:effectLst/>
                <a:uLnTx/>
                <a:uFillTx/>
                <a:latin typeface="Arial"/>
                <a:cs typeface="+mn-ea"/>
                <a:sym typeface="+mn-lt"/>
              </a:rPr>
              <a:t> </a:t>
            </a:r>
            <a:r>
              <a:rPr kumimoji="0" lang="ru-RU" altLang="ru-RU" sz="1050" b="1" i="0" u="none" strike="noStrike" kern="1200" cap="none" spc="0" normalizeH="0" baseline="0" noProof="0" dirty="0" err="1">
                <a:ln>
                  <a:noFill/>
                </a:ln>
                <a:solidFill>
                  <a:srgbClr val="FFFFFF"/>
                </a:solidFill>
                <a:effectLst/>
                <a:uLnTx/>
                <a:uFillTx/>
                <a:latin typeface="Arial"/>
                <a:cs typeface="+mn-ea"/>
                <a:sym typeface="+mn-lt"/>
              </a:rPr>
              <a:t>text</a:t>
            </a:r>
            <a:endParaRPr kumimoji="0" lang="ru-RU" altLang="ru-RU" sz="1050" b="1" i="0" u="none" strike="noStrike" kern="1200" cap="none" spc="0" normalizeH="0" baseline="0" noProof="0" dirty="0">
              <a:ln>
                <a:noFill/>
              </a:ln>
              <a:solidFill>
                <a:srgbClr val="FFFFFF"/>
              </a:solidFill>
              <a:effectLst/>
              <a:uLnTx/>
              <a:uFillTx/>
              <a:latin typeface="Arial"/>
              <a:cs typeface="+mn-ea"/>
              <a:sym typeface="+mn-lt"/>
            </a:endParaRPr>
          </a:p>
        </p:txBody>
      </p:sp>
      <p:sp>
        <p:nvSpPr>
          <p:cNvPr id="13" name="Shape 140">
            <a:extLst>
              <a:ext uri="{FF2B5EF4-FFF2-40B4-BE49-F238E27FC236}">
                <a16:creationId xmlns:a16="http://schemas.microsoft.com/office/drawing/2014/main" id="{47B8FD88-B181-4F3B-BC0B-D265577F17CD}"/>
              </a:ext>
            </a:extLst>
          </p:cNvPr>
          <p:cNvSpPr>
            <a:spLocks noChangeArrowheads="1"/>
          </p:cNvSpPr>
          <p:nvPr/>
        </p:nvSpPr>
        <p:spPr bwMode="auto">
          <a:xfrm>
            <a:off x="5893894" y="1493099"/>
            <a:ext cx="290426" cy="290405"/>
          </a:xfrm>
          <a:prstGeom prst="ellipse">
            <a:avLst/>
          </a:prstGeom>
          <a:solidFill>
            <a:srgbClr val="FFFFFF"/>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FFFFFF"/>
              </a:solidFill>
              <a:effectLst/>
              <a:uLnTx/>
              <a:uFillTx/>
              <a:latin typeface="Arial"/>
              <a:cs typeface="+mn-ea"/>
              <a:sym typeface="+mn-lt"/>
            </a:endParaRPr>
          </a:p>
        </p:txBody>
      </p:sp>
      <p:sp>
        <p:nvSpPr>
          <p:cNvPr id="14" name="Shape 143">
            <a:extLst>
              <a:ext uri="{FF2B5EF4-FFF2-40B4-BE49-F238E27FC236}">
                <a16:creationId xmlns:a16="http://schemas.microsoft.com/office/drawing/2014/main" id="{8F42FEBC-BBF7-476C-9C33-F3E35E462477}"/>
              </a:ext>
            </a:extLst>
          </p:cNvPr>
          <p:cNvSpPr>
            <a:spLocks noChangeArrowheads="1"/>
          </p:cNvSpPr>
          <p:nvPr/>
        </p:nvSpPr>
        <p:spPr bwMode="auto">
          <a:xfrm>
            <a:off x="4321582" y="2285592"/>
            <a:ext cx="104155" cy="104148"/>
          </a:xfrm>
          <a:prstGeom prst="ellipse">
            <a:avLst/>
          </a:prstGeom>
          <a:solidFill>
            <a:schemeClr val="accent1">
              <a:lumMod val="100000"/>
            </a:schemeClr>
          </a:solidFill>
          <a:ln>
            <a:noFill/>
          </a:ln>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FFFFFF"/>
              </a:solidFill>
              <a:effectLst/>
              <a:uLnTx/>
              <a:uFillTx/>
              <a:latin typeface="Arial"/>
              <a:cs typeface="+mn-ea"/>
              <a:sym typeface="+mn-lt"/>
            </a:endParaRPr>
          </a:p>
        </p:txBody>
      </p:sp>
      <p:sp>
        <p:nvSpPr>
          <p:cNvPr id="15" name="Shape 144">
            <a:extLst>
              <a:ext uri="{FF2B5EF4-FFF2-40B4-BE49-F238E27FC236}">
                <a16:creationId xmlns:a16="http://schemas.microsoft.com/office/drawing/2014/main" id="{F30B7DD8-68D8-4963-8916-7B79AAF650E5}"/>
              </a:ext>
            </a:extLst>
          </p:cNvPr>
          <p:cNvSpPr>
            <a:spLocks noChangeArrowheads="1"/>
          </p:cNvSpPr>
          <p:nvPr/>
        </p:nvSpPr>
        <p:spPr bwMode="auto">
          <a:xfrm>
            <a:off x="4797646" y="2804454"/>
            <a:ext cx="104155" cy="104148"/>
          </a:xfrm>
          <a:prstGeom prst="ellipse">
            <a:avLst/>
          </a:prstGeom>
          <a:solidFill>
            <a:schemeClr val="accent1">
              <a:lumMod val="100000"/>
            </a:schemeClr>
          </a:solidFill>
          <a:ln>
            <a:noFill/>
          </a:ln>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FFFFFF"/>
              </a:solidFill>
              <a:effectLst/>
              <a:uLnTx/>
              <a:uFillTx/>
              <a:latin typeface="Arial"/>
              <a:cs typeface="+mn-ea"/>
              <a:sym typeface="+mn-lt"/>
            </a:endParaRPr>
          </a:p>
        </p:txBody>
      </p:sp>
      <p:sp>
        <p:nvSpPr>
          <p:cNvPr id="16" name="Shape 145">
            <a:extLst>
              <a:ext uri="{FF2B5EF4-FFF2-40B4-BE49-F238E27FC236}">
                <a16:creationId xmlns:a16="http://schemas.microsoft.com/office/drawing/2014/main" id="{40D66661-2509-4C15-A68A-41D56C00E729}"/>
              </a:ext>
            </a:extLst>
          </p:cNvPr>
          <p:cNvSpPr>
            <a:spLocks noChangeArrowheads="1"/>
          </p:cNvSpPr>
          <p:nvPr/>
        </p:nvSpPr>
        <p:spPr bwMode="auto">
          <a:xfrm>
            <a:off x="6496771" y="2285592"/>
            <a:ext cx="104156" cy="104148"/>
          </a:xfrm>
          <a:prstGeom prst="ellipse">
            <a:avLst/>
          </a:prstGeom>
          <a:solidFill>
            <a:schemeClr val="accent1">
              <a:lumMod val="100000"/>
            </a:schemeClr>
          </a:solidFill>
          <a:ln>
            <a:noFill/>
          </a:ln>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FFFFFF"/>
              </a:solidFill>
              <a:effectLst/>
              <a:uLnTx/>
              <a:uFillTx/>
              <a:latin typeface="Arial"/>
              <a:cs typeface="+mn-ea"/>
              <a:sym typeface="+mn-lt"/>
            </a:endParaRPr>
          </a:p>
        </p:txBody>
      </p:sp>
      <p:sp>
        <p:nvSpPr>
          <p:cNvPr id="17" name="Shape 146">
            <a:extLst>
              <a:ext uri="{FF2B5EF4-FFF2-40B4-BE49-F238E27FC236}">
                <a16:creationId xmlns:a16="http://schemas.microsoft.com/office/drawing/2014/main" id="{39F0C669-EB9A-43D4-8542-A15D4DCBD01B}"/>
              </a:ext>
            </a:extLst>
          </p:cNvPr>
          <p:cNvSpPr>
            <a:spLocks noChangeArrowheads="1"/>
          </p:cNvSpPr>
          <p:nvPr/>
        </p:nvSpPr>
        <p:spPr bwMode="auto">
          <a:xfrm>
            <a:off x="6972835" y="2804454"/>
            <a:ext cx="104155" cy="104148"/>
          </a:xfrm>
          <a:prstGeom prst="ellipse">
            <a:avLst/>
          </a:prstGeom>
          <a:solidFill>
            <a:schemeClr val="accent1">
              <a:lumMod val="100000"/>
            </a:schemeClr>
          </a:solidFill>
          <a:ln>
            <a:noFill/>
          </a:ln>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FFFFFF"/>
              </a:solidFill>
              <a:effectLst/>
              <a:uLnTx/>
              <a:uFillTx/>
              <a:latin typeface="Arial"/>
              <a:cs typeface="+mn-ea"/>
              <a:sym typeface="+mn-lt"/>
            </a:endParaRPr>
          </a:p>
        </p:txBody>
      </p:sp>
      <p:sp>
        <p:nvSpPr>
          <p:cNvPr id="18" name="Shape 147">
            <a:extLst>
              <a:ext uri="{FF2B5EF4-FFF2-40B4-BE49-F238E27FC236}">
                <a16:creationId xmlns:a16="http://schemas.microsoft.com/office/drawing/2014/main" id="{2392090F-A52F-444A-A76A-522F7522C951}"/>
              </a:ext>
            </a:extLst>
          </p:cNvPr>
          <p:cNvSpPr>
            <a:spLocks noChangeArrowheads="1"/>
          </p:cNvSpPr>
          <p:nvPr/>
        </p:nvSpPr>
        <p:spPr bwMode="auto">
          <a:xfrm>
            <a:off x="4549360" y="2235074"/>
            <a:ext cx="1824085" cy="205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altLang="ru-RU" sz="1000" b="0" i="0" u="none" strike="noStrike" kern="1200" cap="none" spc="0" normalizeH="0" baseline="0" noProof="0">
                <a:ln>
                  <a:noFill/>
                </a:ln>
                <a:solidFill>
                  <a:schemeClr val="accent1"/>
                </a:solidFill>
                <a:effectLst/>
                <a:uLnTx/>
                <a:uFillTx/>
                <a:latin typeface="Arial"/>
                <a:cs typeface="+mn-ea"/>
                <a:sym typeface="+mn-lt"/>
              </a:rPr>
              <a:t>Fish bone text block </a:t>
            </a:r>
          </a:p>
        </p:txBody>
      </p:sp>
      <p:sp>
        <p:nvSpPr>
          <p:cNvPr id="19" name="Shape 148">
            <a:extLst>
              <a:ext uri="{FF2B5EF4-FFF2-40B4-BE49-F238E27FC236}">
                <a16:creationId xmlns:a16="http://schemas.microsoft.com/office/drawing/2014/main" id="{A7198BDE-17EA-4BEA-9655-A0EB7C613B00}"/>
              </a:ext>
            </a:extLst>
          </p:cNvPr>
          <p:cNvSpPr>
            <a:spLocks noChangeArrowheads="1"/>
          </p:cNvSpPr>
          <p:nvPr/>
        </p:nvSpPr>
        <p:spPr bwMode="auto">
          <a:xfrm>
            <a:off x="5024568" y="2749729"/>
            <a:ext cx="1824085" cy="205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altLang="ru-RU" sz="1000" b="0" i="0" u="none" strike="noStrike" kern="1200" cap="none" spc="0" normalizeH="0" baseline="0" noProof="0">
                <a:ln>
                  <a:noFill/>
                </a:ln>
                <a:solidFill>
                  <a:schemeClr val="accent1"/>
                </a:solidFill>
                <a:effectLst/>
                <a:uLnTx/>
                <a:uFillTx/>
                <a:latin typeface="Arial"/>
                <a:cs typeface="+mn-ea"/>
                <a:sym typeface="+mn-lt"/>
              </a:rPr>
              <a:t>Fish bone text block </a:t>
            </a:r>
          </a:p>
        </p:txBody>
      </p:sp>
      <p:sp>
        <p:nvSpPr>
          <p:cNvPr id="20" name="Shape 149">
            <a:extLst>
              <a:ext uri="{FF2B5EF4-FFF2-40B4-BE49-F238E27FC236}">
                <a16:creationId xmlns:a16="http://schemas.microsoft.com/office/drawing/2014/main" id="{DACA4D26-5B95-48F7-A011-DCEAA21091C2}"/>
              </a:ext>
            </a:extLst>
          </p:cNvPr>
          <p:cNvSpPr>
            <a:spLocks noChangeArrowheads="1"/>
          </p:cNvSpPr>
          <p:nvPr/>
        </p:nvSpPr>
        <p:spPr bwMode="auto">
          <a:xfrm>
            <a:off x="6718636" y="2235074"/>
            <a:ext cx="1824085" cy="205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altLang="ru-RU" sz="1000" b="0" i="0" u="none" strike="noStrike" kern="1200" cap="none" spc="0" normalizeH="0" baseline="0" noProof="0">
                <a:ln>
                  <a:noFill/>
                </a:ln>
                <a:solidFill>
                  <a:schemeClr val="accent1"/>
                </a:solidFill>
                <a:effectLst/>
                <a:uLnTx/>
                <a:uFillTx/>
                <a:latin typeface="Arial"/>
                <a:cs typeface="+mn-ea"/>
                <a:sym typeface="+mn-lt"/>
              </a:rPr>
              <a:t>Fish bone text block </a:t>
            </a:r>
          </a:p>
        </p:txBody>
      </p:sp>
      <p:sp>
        <p:nvSpPr>
          <p:cNvPr id="21" name="Shape 150">
            <a:extLst>
              <a:ext uri="{FF2B5EF4-FFF2-40B4-BE49-F238E27FC236}">
                <a16:creationId xmlns:a16="http://schemas.microsoft.com/office/drawing/2014/main" id="{238D79B9-C509-414B-8BF5-8EFC44ADBA7A}"/>
              </a:ext>
            </a:extLst>
          </p:cNvPr>
          <p:cNvSpPr>
            <a:spLocks noChangeArrowheads="1"/>
          </p:cNvSpPr>
          <p:nvPr/>
        </p:nvSpPr>
        <p:spPr bwMode="auto">
          <a:xfrm>
            <a:off x="7193843" y="2749729"/>
            <a:ext cx="1824085" cy="205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altLang="ru-RU" sz="1000" b="0" i="0" u="none" strike="noStrike" kern="1200" cap="none" spc="0" normalizeH="0" baseline="0" noProof="0">
                <a:ln>
                  <a:noFill/>
                </a:ln>
                <a:solidFill>
                  <a:schemeClr val="accent1"/>
                </a:solidFill>
                <a:effectLst/>
                <a:uLnTx/>
                <a:uFillTx/>
                <a:latin typeface="Arial"/>
                <a:cs typeface="+mn-ea"/>
                <a:sym typeface="+mn-lt"/>
              </a:rPr>
              <a:t>Fish bone text block </a:t>
            </a:r>
          </a:p>
        </p:txBody>
      </p:sp>
      <p:grpSp>
        <p:nvGrpSpPr>
          <p:cNvPr id="22" name="Группа 3">
            <a:extLst>
              <a:ext uri="{FF2B5EF4-FFF2-40B4-BE49-F238E27FC236}">
                <a16:creationId xmlns:a16="http://schemas.microsoft.com/office/drawing/2014/main" id="{0ABE7BBB-9081-4579-AE62-E62E1A16F7F6}"/>
              </a:ext>
            </a:extLst>
          </p:cNvPr>
          <p:cNvGrpSpPr/>
          <p:nvPr/>
        </p:nvGrpSpPr>
        <p:grpSpPr>
          <a:xfrm>
            <a:off x="3683723" y="3466062"/>
            <a:ext cx="3195911" cy="1933820"/>
            <a:chOff x="10536915" y="6301135"/>
            <a:chExt cx="6391822" cy="3867639"/>
          </a:xfrm>
        </p:grpSpPr>
        <p:sp>
          <p:nvSpPr>
            <p:cNvPr id="60" name="Shape 122">
              <a:extLst>
                <a:ext uri="{FF2B5EF4-FFF2-40B4-BE49-F238E27FC236}">
                  <a16:creationId xmlns:a16="http://schemas.microsoft.com/office/drawing/2014/main" id="{D09ACB4A-F332-43A6-82D0-9746305D906D}"/>
                </a:ext>
              </a:extLst>
            </p:cNvPr>
            <p:cNvSpPr>
              <a:spLocks noChangeShapeType="1"/>
            </p:cNvSpPr>
            <p:nvPr/>
          </p:nvSpPr>
          <p:spPr bwMode="auto">
            <a:xfrm flipV="1">
              <a:off x="11043911" y="6301135"/>
              <a:ext cx="2863954" cy="3171655"/>
            </a:xfrm>
            <a:prstGeom prst="line">
              <a:avLst/>
            </a:prstGeom>
            <a:noFill/>
            <a:ln w="63500">
              <a:solidFill>
                <a:schemeClr val="accent1">
                  <a:lumMod val="100000"/>
                </a:schemeClr>
              </a:solidFill>
              <a:miter lim="400000"/>
              <a:headEnd/>
              <a:tailEnd/>
            </a:ln>
            <a:extLst>
              <a:ext uri="{909E8E84-426E-40DD-AFC4-6F175D3DCCD1}">
                <a14:hiddenFill xmlns:a14="http://schemas.microsoft.com/office/drawing/2010/main">
                  <a:noFill/>
                </a14:hiddenFill>
              </a:ext>
            </a:extLst>
          </p:spPr>
          <p:txBody>
            <a:bodyPr lIns="25400" tIns="25400" rIns="25400" bIns="254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500" b="0" i="0" u="none" strike="noStrike" kern="1200" cap="none" spc="0" normalizeH="0" baseline="0" noProof="0">
                <a:ln>
                  <a:noFill/>
                </a:ln>
                <a:solidFill>
                  <a:srgbClr val="000000"/>
                </a:solidFill>
                <a:effectLst/>
                <a:uLnTx/>
                <a:uFillTx/>
                <a:latin typeface="Arial"/>
                <a:cs typeface="+mn-ea"/>
                <a:sym typeface="+mn-lt"/>
              </a:endParaRPr>
            </a:p>
          </p:txBody>
        </p:sp>
        <p:sp>
          <p:nvSpPr>
            <p:cNvPr id="61" name="Shape 132">
              <a:extLst>
                <a:ext uri="{FF2B5EF4-FFF2-40B4-BE49-F238E27FC236}">
                  <a16:creationId xmlns:a16="http://schemas.microsoft.com/office/drawing/2014/main" id="{A6E0375B-FA0C-4F18-92B4-9B95B251CAE7}"/>
                </a:ext>
              </a:extLst>
            </p:cNvPr>
            <p:cNvSpPr>
              <a:spLocks noChangeArrowheads="1"/>
            </p:cNvSpPr>
            <p:nvPr/>
          </p:nvSpPr>
          <p:spPr bwMode="auto">
            <a:xfrm>
              <a:off x="10536915" y="9448039"/>
              <a:ext cx="3353281" cy="720735"/>
            </a:xfrm>
            <a:prstGeom prst="roundRect">
              <a:avLst>
                <a:gd name="adj" fmla="val 50000"/>
              </a:avLst>
            </a:prstGeom>
            <a:solidFill>
              <a:schemeClr val="accent1">
                <a:lumMod val="100000"/>
              </a:schemeClr>
            </a:solidFill>
            <a:ln>
              <a:noFill/>
            </a:ln>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FFFFFF"/>
                </a:solidFill>
                <a:effectLst/>
                <a:uLnTx/>
                <a:uFillTx/>
                <a:latin typeface="Arial"/>
                <a:cs typeface="+mn-ea"/>
                <a:sym typeface="+mn-lt"/>
              </a:endParaRPr>
            </a:p>
          </p:txBody>
        </p:sp>
        <p:sp>
          <p:nvSpPr>
            <p:cNvPr id="62" name="Shape 133">
              <a:extLst>
                <a:ext uri="{FF2B5EF4-FFF2-40B4-BE49-F238E27FC236}">
                  <a16:creationId xmlns:a16="http://schemas.microsoft.com/office/drawing/2014/main" id="{409006F3-4E2A-4389-8208-19E4BB13EB0C}"/>
                </a:ext>
              </a:extLst>
            </p:cNvPr>
            <p:cNvSpPr>
              <a:spLocks noChangeArrowheads="1"/>
            </p:cNvSpPr>
            <p:nvPr/>
          </p:nvSpPr>
          <p:spPr bwMode="auto">
            <a:xfrm>
              <a:off x="11282113" y="9580964"/>
              <a:ext cx="2342934" cy="4257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altLang="ru-RU" sz="1050" b="1" i="0" u="none" strike="noStrike" kern="1200" cap="none" spc="0" normalizeH="0" baseline="0" noProof="0">
                  <a:ln>
                    <a:noFill/>
                  </a:ln>
                  <a:solidFill>
                    <a:srgbClr val="FFFFFF"/>
                  </a:solidFill>
                  <a:effectLst/>
                  <a:uLnTx/>
                  <a:uFillTx/>
                  <a:latin typeface="Arial"/>
                  <a:cs typeface="+mn-ea"/>
                  <a:sym typeface="+mn-lt"/>
                </a:rPr>
                <a:t>Information text</a:t>
              </a:r>
            </a:p>
          </p:txBody>
        </p:sp>
        <p:sp>
          <p:nvSpPr>
            <p:cNvPr id="63" name="Shape 134">
              <a:extLst>
                <a:ext uri="{FF2B5EF4-FFF2-40B4-BE49-F238E27FC236}">
                  <a16:creationId xmlns:a16="http://schemas.microsoft.com/office/drawing/2014/main" id="{CD818D19-C795-4A8F-A23C-09663EF7A91E}"/>
                </a:ext>
              </a:extLst>
            </p:cNvPr>
            <p:cNvSpPr>
              <a:spLocks noChangeArrowheads="1"/>
            </p:cNvSpPr>
            <p:nvPr/>
          </p:nvSpPr>
          <p:spPr bwMode="auto">
            <a:xfrm>
              <a:off x="10605413" y="9518001"/>
              <a:ext cx="580852" cy="580810"/>
            </a:xfrm>
            <a:prstGeom prst="ellipse">
              <a:avLst/>
            </a:prstGeom>
            <a:solidFill>
              <a:srgbClr val="FFFFFF"/>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FFFFFF"/>
                </a:solidFill>
                <a:effectLst/>
                <a:uLnTx/>
                <a:uFillTx/>
                <a:latin typeface="Arial"/>
                <a:cs typeface="+mn-ea"/>
                <a:sym typeface="+mn-lt"/>
              </a:endParaRPr>
            </a:p>
          </p:txBody>
        </p:sp>
        <p:sp>
          <p:nvSpPr>
            <p:cNvPr id="64" name="Shape 141">
              <a:extLst>
                <a:ext uri="{FF2B5EF4-FFF2-40B4-BE49-F238E27FC236}">
                  <a16:creationId xmlns:a16="http://schemas.microsoft.com/office/drawing/2014/main" id="{AF9C57A8-1F3F-478C-A591-A3675A72F02E}"/>
                </a:ext>
              </a:extLst>
            </p:cNvPr>
            <p:cNvSpPr>
              <a:spLocks noChangeArrowheads="1"/>
            </p:cNvSpPr>
            <p:nvPr/>
          </p:nvSpPr>
          <p:spPr bwMode="auto">
            <a:xfrm>
              <a:off x="12837362" y="7267807"/>
              <a:ext cx="208310" cy="208296"/>
            </a:xfrm>
            <a:prstGeom prst="ellipse">
              <a:avLst/>
            </a:prstGeom>
            <a:solidFill>
              <a:schemeClr val="accent1">
                <a:lumMod val="100000"/>
              </a:schemeClr>
            </a:solidFill>
            <a:ln>
              <a:noFill/>
            </a:ln>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FFFFFF"/>
                </a:solidFill>
                <a:effectLst/>
                <a:uLnTx/>
                <a:uFillTx/>
                <a:latin typeface="Arial"/>
                <a:cs typeface="+mn-ea"/>
                <a:sym typeface="+mn-lt"/>
              </a:endParaRPr>
            </a:p>
          </p:txBody>
        </p:sp>
        <p:sp>
          <p:nvSpPr>
            <p:cNvPr id="65" name="Shape 142">
              <a:extLst>
                <a:ext uri="{FF2B5EF4-FFF2-40B4-BE49-F238E27FC236}">
                  <a16:creationId xmlns:a16="http://schemas.microsoft.com/office/drawing/2014/main" id="{2572259D-CFA6-4821-A2E0-53BCE80F08DC}"/>
                </a:ext>
              </a:extLst>
            </p:cNvPr>
            <p:cNvSpPr>
              <a:spLocks noChangeArrowheads="1"/>
            </p:cNvSpPr>
            <p:nvPr/>
          </p:nvSpPr>
          <p:spPr bwMode="auto">
            <a:xfrm>
              <a:off x="11906102" y="8309050"/>
              <a:ext cx="208311" cy="208296"/>
            </a:xfrm>
            <a:prstGeom prst="ellipse">
              <a:avLst/>
            </a:prstGeom>
            <a:solidFill>
              <a:schemeClr val="accent1">
                <a:lumMod val="100000"/>
              </a:schemeClr>
            </a:solidFill>
            <a:ln>
              <a:noFill/>
            </a:ln>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FFFFFF"/>
                </a:solidFill>
                <a:effectLst/>
                <a:uLnTx/>
                <a:uFillTx/>
                <a:latin typeface="Arial"/>
                <a:cs typeface="+mn-ea"/>
                <a:sym typeface="+mn-lt"/>
              </a:endParaRPr>
            </a:p>
          </p:txBody>
        </p:sp>
        <p:sp>
          <p:nvSpPr>
            <p:cNvPr id="66" name="Shape 153">
              <a:extLst>
                <a:ext uri="{FF2B5EF4-FFF2-40B4-BE49-F238E27FC236}">
                  <a16:creationId xmlns:a16="http://schemas.microsoft.com/office/drawing/2014/main" id="{6645B125-88CC-4B55-8ADA-8A736E6878AD}"/>
                </a:ext>
              </a:extLst>
            </p:cNvPr>
            <p:cNvSpPr>
              <a:spLocks noChangeArrowheads="1"/>
            </p:cNvSpPr>
            <p:nvPr/>
          </p:nvSpPr>
          <p:spPr bwMode="auto">
            <a:xfrm>
              <a:off x="13280567" y="7175185"/>
              <a:ext cx="3648170" cy="4103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altLang="ru-RU" sz="1000" b="0" i="0" u="none" strike="noStrike" kern="1200" cap="none" spc="0" normalizeH="0" baseline="0" noProof="0">
                  <a:ln>
                    <a:noFill/>
                  </a:ln>
                  <a:solidFill>
                    <a:schemeClr val="accent1"/>
                  </a:solidFill>
                  <a:effectLst/>
                  <a:uLnTx/>
                  <a:uFillTx/>
                  <a:latin typeface="Arial"/>
                  <a:cs typeface="+mn-ea"/>
                  <a:sym typeface="+mn-lt"/>
                </a:rPr>
                <a:t>Fish bone text block </a:t>
              </a:r>
            </a:p>
          </p:txBody>
        </p:sp>
        <p:sp>
          <p:nvSpPr>
            <p:cNvPr id="67" name="Shape 154">
              <a:extLst>
                <a:ext uri="{FF2B5EF4-FFF2-40B4-BE49-F238E27FC236}">
                  <a16:creationId xmlns:a16="http://schemas.microsoft.com/office/drawing/2014/main" id="{1376EBB4-95F7-4E97-B487-C2DC0584794E}"/>
                </a:ext>
              </a:extLst>
            </p:cNvPr>
            <p:cNvSpPr>
              <a:spLocks noChangeArrowheads="1"/>
            </p:cNvSpPr>
            <p:nvPr/>
          </p:nvSpPr>
          <p:spPr bwMode="auto">
            <a:xfrm>
              <a:off x="12364231" y="8204495"/>
              <a:ext cx="3648170" cy="4103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altLang="ru-RU" sz="1000" b="0" i="0" u="none" strike="noStrike" kern="1200" cap="none" spc="0" normalizeH="0" baseline="0" noProof="0">
                  <a:ln>
                    <a:noFill/>
                  </a:ln>
                  <a:solidFill>
                    <a:schemeClr val="accent1"/>
                  </a:solidFill>
                  <a:effectLst/>
                  <a:uLnTx/>
                  <a:uFillTx/>
                  <a:latin typeface="Arial"/>
                  <a:cs typeface="+mn-ea"/>
                  <a:sym typeface="+mn-lt"/>
                </a:rPr>
                <a:t>Fish bone text block </a:t>
              </a:r>
            </a:p>
          </p:txBody>
        </p:sp>
        <p:sp>
          <p:nvSpPr>
            <p:cNvPr id="68" name="Shape 155">
              <a:extLst>
                <a:ext uri="{FF2B5EF4-FFF2-40B4-BE49-F238E27FC236}">
                  <a16:creationId xmlns:a16="http://schemas.microsoft.com/office/drawing/2014/main" id="{4E1DB3E3-8072-4E97-9BEB-3FADA4B4774D}"/>
                </a:ext>
              </a:extLst>
            </p:cNvPr>
            <p:cNvSpPr>
              <a:spLocks/>
            </p:cNvSpPr>
            <p:nvPr/>
          </p:nvSpPr>
          <p:spPr bwMode="auto">
            <a:xfrm>
              <a:off x="10763209" y="9675402"/>
              <a:ext cx="260725" cy="245721"/>
            </a:xfrm>
            <a:custGeom>
              <a:avLst/>
              <a:gdLst>
                <a:gd name="T0" fmla="*/ 18998328 w 21600"/>
                <a:gd name="T1" fmla="*/ 15906903 h 21600"/>
                <a:gd name="T2" fmla="*/ 18998328 w 21600"/>
                <a:gd name="T3" fmla="*/ 15906903 h 21600"/>
                <a:gd name="T4" fmla="*/ 18998328 w 21600"/>
                <a:gd name="T5" fmla="*/ 15906903 h 21600"/>
                <a:gd name="T6" fmla="*/ 18998328 w 21600"/>
                <a:gd name="T7" fmla="*/ 15906903 h 21600"/>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21600" h="21600" extrusionOk="0">
                  <a:moveTo>
                    <a:pt x="10901" y="17459"/>
                  </a:moveTo>
                  <a:lnTo>
                    <a:pt x="17497" y="21600"/>
                  </a:lnTo>
                  <a:lnTo>
                    <a:pt x="15848" y="13532"/>
                  </a:lnTo>
                  <a:lnTo>
                    <a:pt x="21600" y="8281"/>
                  </a:lnTo>
                  <a:lnTo>
                    <a:pt x="13797" y="7428"/>
                  </a:lnTo>
                  <a:lnTo>
                    <a:pt x="10901" y="0"/>
                  </a:lnTo>
                  <a:lnTo>
                    <a:pt x="7844" y="7428"/>
                  </a:lnTo>
                  <a:lnTo>
                    <a:pt x="0" y="8281"/>
                  </a:lnTo>
                  <a:lnTo>
                    <a:pt x="5993" y="13532"/>
                  </a:lnTo>
                  <a:lnTo>
                    <a:pt x="4143" y="21600"/>
                  </a:lnTo>
                  <a:lnTo>
                    <a:pt x="10901" y="17459"/>
                  </a:lnTo>
                </a:path>
              </a:pathLst>
            </a:custGeom>
            <a:solidFill>
              <a:schemeClr val="accent1">
                <a:lumMod val="100000"/>
              </a:schemeClr>
            </a:solidFill>
            <a:ln>
              <a:noFill/>
            </a:ln>
          </p:spPr>
          <p:txBody>
            <a:bodyPr lIns="22860" tIns="22860" rIns="22860" bIns="2286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500" b="0" i="0" u="none" strike="noStrike" kern="1200" cap="none" spc="0" normalizeH="0" baseline="0" noProof="0">
                <a:ln>
                  <a:noFill/>
                </a:ln>
                <a:solidFill>
                  <a:srgbClr val="000000"/>
                </a:solidFill>
                <a:effectLst/>
                <a:uLnTx/>
                <a:uFillTx/>
                <a:latin typeface="Arial"/>
                <a:cs typeface="+mn-ea"/>
                <a:sym typeface="+mn-lt"/>
              </a:endParaRPr>
            </a:p>
          </p:txBody>
        </p:sp>
      </p:grpSp>
      <p:sp>
        <p:nvSpPr>
          <p:cNvPr id="23" name="Shape 156">
            <a:extLst>
              <a:ext uri="{FF2B5EF4-FFF2-40B4-BE49-F238E27FC236}">
                <a16:creationId xmlns:a16="http://schemas.microsoft.com/office/drawing/2014/main" id="{A7CEB2A3-F21E-4780-8686-3CBBEFAB8965}"/>
              </a:ext>
            </a:extLst>
          </p:cNvPr>
          <p:cNvSpPr>
            <a:spLocks/>
          </p:cNvSpPr>
          <p:nvPr/>
        </p:nvSpPr>
        <p:spPr bwMode="auto">
          <a:xfrm>
            <a:off x="5978102" y="1573661"/>
            <a:ext cx="127916" cy="129283"/>
          </a:xfrm>
          <a:custGeom>
            <a:avLst/>
            <a:gdLst>
              <a:gd name="T0" fmla="*/ 18033594 w 21549"/>
              <a:gd name="T1" fmla="*/ 18533957 h 21600"/>
              <a:gd name="T2" fmla="*/ 18033594 w 21549"/>
              <a:gd name="T3" fmla="*/ 18533957 h 21600"/>
              <a:gd name="T4" fmla="*/ 18033594 w 21549"/>
              <a:gd name="T5" fmla="*/ 18533957 h 21600"/>
              <a:gd name="T6" fmla="*/ 18033594 w 21549"/>
              <a:gd name="T7" fmla="*/ 18533957 h 21600"/>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21549" h="21600" extrusionOk="0">
                <a:moveTo>
                  <a:pt x="18684" y="11815"/>
                </a:moveTo>
                <a:cubicBezTo>
                  <a:pt x="18684" y="11612"/>
                  <a:pt x="18890" y="11206"/>
                  <a:pt x="18890" y="10800"/>
                </a:cubicBezTo>
                <a:cubicBezTo>
                  <a:pt x="18890" y="10394"/>
                  <a:pt x="18890" y="9947"/>
                  <a:pt x="18684" y="9744"/>
                </a:cubicBezTo>
                <a:lnTo>
                  <a:pt x="20984" y="7877"/>
                </a:lnTo>
                <a:cubicBezTo>
                  <a:pt x="21395" y="7674"/>
                  <a:pt x="21395" y="7471"/>
                  <a:pt x="21189" y="7268"/>
                </a:cubicBezTo>
                <a:lnTo>
                  <a:pt x="19095" y="3329"/>
                </a:lnTo>
                <a:cubicBezTo>
                  <a:pt x="18890" y="3329"/>
                  <a:pt x="18684" y="3126"/>
                  <a:pt x="18233" y="3329"/>
                </a:cubicBezTo>
                <a:lnTo>
                  <a:pt x="15522" y="4344"/>
                </a:lnTo>
                <a:cubicBezTo>
                  <a:pt x="15112" y="3938"/>
                  <a:pt x="14455" y="3735"/>
                  <a:pt x="13633" y="3329"/>
                </a:cubicBezTo>
                <a:lnTo>
                  <a:pt x="13223" y="406"/>
                </a:lnTo>
                <a:cubicBezTo>
                  <a:pt x="13428" y="203"/>
                  <a:pt x="13017" y="0"/>
                  <a:pt x="12771" y="0"/>
                </a:cubicBezTo>
                <a:lnTo>
                  <a:pt x="8377" y="0"/>
                </a:lnTo>
                <a:cubicBezTo>
                  <a:pt x="8172" y="0"/>
                  <a:pt x="7967" y="203"/>
                  <a:pt x="7967" y="406"/>
                </a:cubicBezTo>
                <a:lnTo>
                  <a:pt x="7556" y="3329"/>
                </a:lnTo>
                <a:cubicBezTo>
                  <a:pt x="6694" y="3532"/>
                  <a:pt x="6283" y="3938"/>
                  <a:pt x="5667" y="4344"/>
                </a:cubicBezTo>
                <a:lnTo>
                  <a:pt x="2916" y="3329"/>
                </a:lnTo>
                <a:cubicBezTo>
                  <a:pt x="2710" y="3126"/>
                  <a:pt x="2505" y="3329"/>
                  <a:pt x="2300" y="3532"/>
                </a:cubicBezTo>
                <a:lnTo>
                  <a:pt x="0" y="7268"/>
                </a:lnTo>
                <a:cubicBezTo>
                  <a:pt x="0" y="7471"/>
                  <a:pt x="0" y="7674"/>
                  <a:pt x="205" y="7877"/>
                </a:cubicBezTo>
                <a:lnTo>
                  <a:pt x="2505" y="9744"/>
                </a:lnTo>
                <a:cubicBezTo>
                  <a:pt x="2505" y="9947"/>
                  <a:pt x="2505" y="10394"/>
                  <a:pt x="2505" y="10800"/>
                </a:cubicBezTo>
                <a:cubicBezTo>
                  <a:pt x="2505" y="11206"/>
                  <a:pt x="2505" y="11612"/>
                  <a:pt x="2505" y="11815"/>
                </a:cubicBezTo>
                <a:lnTo>
                  <a:pt x="205" y="13683"/>
                </a:lnTo>
                <a:cubicBezTo>
                  <a:pt x="0" y="13926"/>
                  <a:pt x="0" y="14129"/>
                  <a:pt x="205" y="14332"/>
                </a:cubicBezTo>
                <a:lnTo>
                  <a:pt x="2300" y="18271"/>
                </a:lnTo>
                <a:cubicBezTo>
                  <a:pt x="2505" y="18271"/>
                  <a:pt x="2710" y="18474"/>
                  <a:pt x="2916" y="18271"/>
                </a:cubicBezTo>
                <a:lnTo>
                  <a:pt x="5667" y="17215"/>
                </a:lnTo>
                <a:cubicBezTo>
                  <a:pt x="6283" y="17621"/>
                  <a:pt x="6899" y="18068"/>
                  <a:pt x="7556" y="18271"/>
                </a:cubicBezTo>
                <a:lnTo>
                  <a:pt x="7967" y="21153"/>
                </a:lnTo>
                <a:cubicBezTo>
                  <a:pt x="7967" y="21356"/>
                  <a:pt x="8172" y="21600"/>
                  <a:pt x="8583" y="21600"/>
                </a:cubicBezTo>
                <a:lnTo>
                  <a:pt x="13017" y="21600"/>
                </a:lnTo>
                <a:cubicBezTo>
                  <a:pt x="13223" y="21600"/>
                  <a:pt x="13428" y="21356"/>
                  <a:pt x="13428" y="21153"/>
                </a:cubicBezTo>
                <a:lnTo>
                  <a:pt x="13839" y="18271"/>
                </a:lnTo>
                <a:cubicBezTo>
                  <a:pt x="14660" y="18068"/>
                  <a:pt x="15317" y="17621"/>
                  <a:pt x="15728" y="17215"/>
                </a:cubicBezTo>
                <a:lnTo>
                  <a:pt x="18438" y="18271"/>
                </a:lnTo>
                <a:cubicBezTo>
                  <a:pt x="18684" y="18474"/>
                  <a:pt x="19095" y="18271"/>
                  <a:pt x="19300" y="18068"/>
                </a:cubicBezTo>
                <a:lnTo>
                  <a:pt x="21395" y="14332"/>
                </a:lnTo>
                <a:cubicBezTo>
                  <a:pt x="21600" y="14129"/>
                  <a:pt x="21600" y="13683"/>
                  <a:pt x="21395" y="13683"/>
                </a:cubicBezTo>
                <a:lnTo>
                  <a:pt x="18684" y="11815"/>
                </a:lnTo>
                <a:close/>
                <a:moveTo>
                  <a:pt x="10677" y="14535"/>
                </a:moveTo>
                <a:cubicBezTo>
                  <a:pt x="8583" y="14535"/>
                  <a:pt x="6694" y="12871"/>
                  <a:pt x="6694" y="10800"/>
                </a:cubicBezTo>
                <a:cubicBezTo>
                  <a:pt x="6694" y="8729"/>
                  <a:pt x="8583" y="7065"/>
                  <a:pt x="10677" y="7065"/>
                </a:cubicBezTo>
                <a:cubicBezTo>
                  <a:pt x="12771" y="7065"/>
                  <a:pt x="14455" y="8729"/>
                  <a:pt x="14455" y="10800"/>
                </a:cubicBezTo>
                <a:cubicBezTo>
                  <a:pt x="14455" y="12871"/>
                  <a:pt x="12771" y="14535"/>
                  <a:pt x="10677" y="14535"/>
                </a:cubicBezTo>
                <a:close/>
              </a:path>
            </a:pathLst>
          </a:custGeom>
          <a:solidFill>
            <a:schemeClr val="accent1">
              <a:lumMod val="100000"/>
            </a:schemeClr>
          </a:solidFill>
          <a:ln>
            <a:noFill/>
          </a:ln>
        </p:spPr>
        <p:txBody>
          <a:bodyPr lIns="22860" tIns="22860" rIns="22860" bIns="2286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500" b="0" i="0" u="none" strike="noStrike" kern="1200" cap="none" spc="0" normalizeH="0" baseline="0" noProof="0">
              <a:ln>
                <a:noFill/>
              </a:ln>
              <a:solidFill>
                <a:srgbClr val="000000"/>
              </a:solidFill>
              <a:effectLst/>
              <a:uLnTx/>
              <a:uFillTx/>
              <a:latin typeface="Arial"/>
              <a:cs typeface="+mn-ea"/>
              <a:sym typeface="+mn-lt"/>
            </a:endParaRPr>
          </a:p>
        </p:txBody>
      </p:sp>
      <p:grpSp>
        <p:nvGrpSpPr>
          <p:cNvPr id="24" name="Группа 2">
            <a:extLst>
              <a:ext uri="{FF2B5EF4-FFF2-40B4-BE49-F238E27FC236}">
                <a16:creationId xmlns:a16="http://schemas.microsoft.com/office/drawing/2014/main" id="{C6431388-BE95-4F5B-B4E0-A0DB4B7284C0}"/>
              </a:ext>
            </a:extLst>
          </p:cNvPr>
          <p:cNvGrpSpPr/>
          <p:nvPr/>
        </p:nvGrpSpPr>
        <p:grpSpPr>
          <a:xfrm>
            <a:off x="1455474" y="3466062"/>
            <a:ext cx="3172001" cy="1933820"/>
            <a:chOff x="6228982" y="6301135"/>
            <a:chExt cx="6344002" cy="3867639"/>
          </a:xfrm>
        </p:grpSpPr>
        <p:sp>
          <p:nvSpPr>
            <p:cNvPr id="51" name="Shape 120">
              <a:extLst>
                <a:ext uri="{FF2B5EF4-FFF2-40B4-BE49-F238E27FC236}">
                  <a16:creationId xmlns:a16="http://schemas.microsoft.com/office/drawing/2014/main" id="{11520C1B-7D32-4BD0-85D3-5B16527F724A}"/>
                </a:ext>
              </a:extLst>
            </p:cNvPr>
            <p:cNvSpPr>
              <a:spLocks noChangeShapeType="1"/>
            </p:cNvSpPr>
            <p:nvPr/>
          </p:nvSpPr>
          <p:spPr bwMode="auto">
            <a:xfrm flipV="1">
              <a:off x="6700856" y="6301135"/>
              <a:ext cx="2863954" cy="3171655"/>
            </a:xfrm>
            <a:prstGeom prst="line">
              <a:avLst/>
            </a:prstGeom>
            <a:noFill/>
            <a:ln w="63500">
              <a:solidFill>
                <a:schemeClr val="accent1">
                  <a:lumMod val="100000"/>
                </a:schemeClr>
              </a:solidFill>
              <a:miter lim="400000"/>
              <a:headEnd/>
              <a:tailEnd/>
            </a:ln>
            <a:extLst>
              <a:ext uri="{909E8E84-426E-40DD-AFC4-6F175D3DCCD1}">
                <a14:hiddenFill xmlns:a14="http://schemas.microsoft.com/office/drawing/2010/main">
                  <a:noFill/>
                </a14:hiddenFill>
              </a:ext>
            </a:extLst>
          </p:spPr>
          <p:txBody>
            <a:bodyPr lIns="25400" tIns="25400" rIns="25400" bIns="254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500" b="0" i="0" u="none" strike="noStrike" kern="1200" cap="none" spc="0" normalizeH="0" baseline="0" noProof="0">
                <a:ln>
                  <a:noFill/>
                </a:ln>
                <a:solidFill>
                  <a:srgbClr val="000000"/>
                </a:solidFill>
                <a:effectLst/>
                <a:uLnTx/>
                <a:uFillTx/>
                <a:latin typeface="Arial"/>
                <a:cs typeface="+mn-ea"/>
                <a:sym typeface="+mn-lt"/>
              </a:endParaRPr>
            </a:p>
          </p:txBody>
        </p:sp>
        <p:sp>
          <p:nvSpPr>
            <p:cNvPr id="52" name="Shape 127">
              <a:extLst>
                <a:ext uri="{FF2B5EF4-FFF2-40B4-BE49-F238E27FC236}">
                  <a16:creationId xmlns:a16="http://schemas.microsoft.com/office/drawing/2014/main" id="{5FC8DE59-089F-413F-AF87-0686DB94284F}"/>
                </a:ext>
              </a:extLst>
            </p:cNvPr>
            <p:cNvSpPr>
              <a:spLocks noChangeArrowheads="1"/>
            </p:cNvSpPr>
            <p:nvPr/>
          </p:nvSpPr>
          <p:spPr bwMode="auto">
            <a:xfrm>
              <a:off x="8485956" y="7267807"/>
              <a:ext cx="208310" cy="208296"/>
            </a:xfrm>
            <a:prstGeom prst="ellipse">
              <a:avLst/>
            </a:prstGeom>
            <a:solidFill>
              <a:schemeClr val="accent1">
                <a:lumMod val="100000"/>
              </a:schemeClr>
            </a:solidFill>
            <a:ln>
              <a:noFill/>
            </a:ln>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FFFFFF"/>
                </a:solidFill>
                <a:effectLst/>
                <a:uLnTx/>
                <a:uFillTx/>
                <a:latin typeface="Arial"/>
                <a:cs typeface="+mn-ea"/>
                <a:sym typeface="+mn-lt"/>
              </a:endParaRPr>
            </a:p>
          </p:txBody>
        </p:sp>
        <p:sp>
          <p:nvSpPr>
            <p:cNvPr id="53" name="Shape 128">
              <a:extLst>
                <a:ext uri="{FF2B5EF4-FFF2-40B4-BE49-F238E27FC236}">
                  <a16:creationId xmlns:a16="http://schemas.microsoft.com/office/drawing/2014/main" id="{0AFB0E23-07BC-4EF5-B90B-69C2B9C63BC8}"/>
                </a:ext>
              </a:extLst>
            </p:cNvPr>
            <p:cNvSpPr>
              <a:spLocks noChangeArrowheads="1"/>
            </p:cNvSpPr>
            <p:nvPr/>
          </p:nvSpPr>
          <p:spPr bwMode="auto">
            <a:xfrm>
              <a:off x="7554696" y="8309050"/>
              <a:ext cx="208310" cy="208296"/>
            </a:xfrm>
            <a:prstGeom prst="ellipse">
              <a:avLst/>
            </a:prstGeom>
            <a:solidFill>
              <a:schemeClr val="accent1">
                <a:lumMod val="100000"/>
              </a:schemeClr>
            </a:solidFill>
            <a:ln>
              <a:noFill/>
            </a:ln>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FFFFFF"/>
                </a:solidFill>
                <a:effectLst/>
                <a:uLnTx/>
                <a:uFillTx/>
                <a:latin typeface="Arial"/>
                <a:cs typeface="+mn-ea"/>
                <a:sym typeface="+mn-lt"/>
              </a:endParaRPr>
            </a:p>
          </p:txBody>
        </p:sp>
        <p:sp>
          <p:nvSpPr>
            <p:cNvPr id="54" name="Shape 129">
              <a:extLst>
                <a:ext uri="{FF2B5EF4-FFF2-40B4-BE49-F238E27FC236}">
                  <a16:creationId xmlns:a16="http://schemas.microsoft.com/office/drawing/2014/main" id="{C95878AE-3AB0-41F2-8607-7824CE561442}"/>
                </a:ext>
              </a:extLst>
            </p:cNvPr>
            <p:cNvSpPr>
              <a:spLocks noChangeArrowheads="1"/>
            </p:cNvSpPr>
            <p:nvPr/>
          </p:nvSpPr>
          <p:spPr bwMode="auto">
            <a:xfrm>
              <a:off x="6228982" y="9448039"/>
              <a:ext cx="3353281" cy="720735"/>
            </a:xfrm>
            <a:prstGeom prst="roundRect">
              <a:avLst>
                <a:gd name="adj" fmla="val 50000"/>
              </a:avLst>
            </a:prstGeom>
            <a:solidFill>
              <a:schemeClr val="accent1">
                <a:lumMod val="100000"/>
              </a:schemeClr>
            </a:solidFill>
            <a:ln>
              <a:noFill/>
            </a:ln>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FFFFFF"/>
                </a:solidFill>
                <a:effectLst/>
                <a:uLnTx/>
                <a:uFillTx/>
                <a:latin typeface="Arial"/>
                <a:cs typeface="+mn-ea"/>
                <a:sym typeface="+mn-lt"/>
              </a:endParaRPr>
            </a:p>
          </p:txBody>
        </p:sp>
        <p:sp>
          <p:nvSpPr>
            <p:cNvPr id="55" name="Shape 130">
              <a:extLst>
                <a:ext uri="{FF2B5EF4-FFF2-40B4-BE49-F238E27FC236}">
                  <a16:creationId xmlns:a16="http://schemas.microsoft.com/office/drawing/2014/main" id="{B27FA1BA-BE41-4446-80B8-B15834E69D36}"/>
                </a:ext>
              </a:extLst>
            </p:cNvPr>
            <p:cNvSpPr>
              <a:spLocks noChangeArrowheads="1"/>
            </p:cNvSpPr>
            <p:nvPr/>
          </p:nvSpPr>
          <p:spPr bwMode="auto">
            <a:xfrm>
              <a:off x="6974180" y="9580964"/>
              <a:ext cx="2342934" cy="4257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altLang="ru-RU" sz="1050" b="1" i="0" u="none" strike="noStrike" kern="1200" cap="none" spc="0" normalizeH="0" baseline="0" noProof="0">
                  <a:ln>
                    <a:noFill/>
                  </a:ln>
                  <a:solidFill>
                    <a:srgbClr val="FFFFFF"/>
                  </a:solidFill>
                  <a:effectLst/>
                  <a:uLnTx/>
                  <a:uFillTx/>
                  <a:latin typeface="Arial"/>
                  <a:cs typeface="+mn-ea"/>
                  <a:sym typeface="+mn-lt"/>
                </a:rPr>
                <a:t>Information text</a:t>
              </a:r>
            </a:p>
          </p:txBody>
        </p:sp>
        <p:sp>
          <p:nvSpPr>
            <p:cNvPr id="56" name="Shape 131">
              <a:extLst>
                <a:ext uri="{FF2B5EF4-FFF2-40B4-BE49-F238E27FC236}">
                  <a16:creationId xmlns:a16="http://schemas.microsoft.com/office/drawing/2014/main" id="{8B35ED09-1EE2-4DB1-AB27-114A570E8044}"/>
                </a:ext>
              </a:extLst>
            </p:cNvPr>
            <p:cNvSpPr>
              <a:spLocks noChangeArrowheads="1"/>
            </p:cNvSpPr>
            <p:nvPr/>
          </p:nvSpPr>
          <p:spPr bwMode="auto">
            <a:xfrm>
              <a:off x="6297479" y="9518001"/>
              <a:ext cx="580852" cy="580810"/>
            </a:xfrm>
            <a:prstGeom prst="ellipse">
              <a:avLst/>
            </a:prstGeom>
            <a:solidFill>
              <a:srgbClr val="FFFFFF"/>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FFFFFF"/>
                </a:solidFill>
                <a:effectLst/>
                <a:uLnTx/>
                <a:uFillTx/>
                <a:latin typeface="Arial"/>
                <a:cs typeface="+mn-ea"/>
                <a:sym typeface="+mn-lt"/>
              </a:endParaRPr>
            </a:p>
          </p:txBody>
        </p:sp>
        <p:sp>
          <p:nvSpPr>
            <p:cNvPr id="57" name="Shape 151">
              <a:extLst>
                <a:ext uri="{FF2B5EF4-FFF2-40B4-BE49-F238E27FC236}">
                  <a16:creationId xmlns:a16="http://schemas.microsoft.com/office/drawing/2014/main" id="{0E09A85B-F5C7-4A28-B332-B24DABCB5D0A}"/>
                </a:ext>
              </a:extLst>
            </p:cNvPr>
            <p:cNvSpPr>
              <a:spLocks noChangeArrowheads="1"/>
            </p:cNvSpPr>
            <p:nvPr/>
          </p:nvSpPr>
          <p:spPr bwMode="auto">
            <a:xfrm>
              <a:off x="8924814" y="7175185"/>
              <a:ext cx="3648170" cy="4103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altLang="ru-RU" sz="1000" b="0" i="0" u="none" strike="noStrike" kern="1200" cap="none" spc="0" normalizeH="0" baseline="0" noProof="0" dirty="0" err="1">
                  <a:ln>
                    <a:noFill/>
                  </a:ln>
                  <a:solidFill>
                    <a:schemeClr val="accent1"/>
                  </a:solidFill>
                  <a:effectLst/>
                  <a:uLnTx/>
                  <a:uFillTx/>
                  <a:latin typeface="Arial"/>
                  <a:cs typeface="+mn-ea"/>
                  <a:sym typeface="+mn-lt"/>
                </a:rPr>
                <a:t>Fish</a:t>
              </a:r>
              <a:r>
                <a:rPr kumimoji="0" lang="ru-RU" altLang="ru-RU" sz="1000" b="0" i="0" u="none" strike="noStrike" kern="1200" cap="none" spc="0" normalizeH="0" baseline="0" noProof="0" dirty="0">
                  <a:ln>
                    <a:noFill/>
                  </a:ln>
                  <a:solidFill>
                    <a:schemeClr val="accent1"/>
                  </a:solidFill>
                  <a:effectLst/>
                  <a:uLnTx/>
                  <a:uFillTx/>
                  <a:latin typeface="Arial"/>
                  <a:cs typeface="+mn-ea"/>
                  <a:sym typeface="+mn-lt"/>
                </a:rPr>
                <a:t> </a:t>
              </a:r>
              <a:r>
                <a:rPr kumimoji="0" lang="ru-RU" altLang="ru-RU" sz="1000" b="0" i="0" u="none" strike="noStrike" kern="1200" cap="none" spc="0" normalizeH="0" baseline="0" noProof="0" dirty="0" err="1">
                  <a:ln>
                    <a:noFill/>
                  </a:ln>
                  <a:solidFill>
                    <a:schemeClr val="accent1"/>
                  </a:solidFill>
                  <a:effectLst/>
                  <a:uLnTx/>
                  <a:uFillTx/>
                  <a:latin typeface="Arial"/>
                  <a:cs typeface="+mn-ea"/>
                  <a:sym typeface="+mn-lt"/>
                </a:rPr>
                <a:t>bone</a:t>
              </a:r>
              <a:r>
                <a:rPr kumimoji="0" lang="ru-RU" altLang="ru-RU" sz="1000" b="0" i="0" u="none" strike="noStrike" kern="1200" cap="none" spc="0" normalizeH="0" baseline="0" noProof="0" dirty="0">
                  <a:ln>
                    <a:noFill/>
                  </a:ln>
                  <a:solidFill>
                    <a:schemeClr val="accent1"/>
                  </a:solidFill>
                  <a:effectLst/>
                  <a:uLnTx/>
                  <a:uFillTx/>
                  <a:latin typeface="Arial"/>
                  <a:cs typeface="+mn-ea"/>
                  <a:sym typeface="+mn-lt"/>
                </a:rPr>
                <a:t> </a:t>
              </a:r>
              <a:r>
                <a:rPr kumimoji="0" lang="ru-RU" altLang="ru-RU" sz="1000" b="0" i="0" u="none" strike="noStrike" kern="1200" cap="none" spc="0" normalizeH="0" baseline="0" noProof="0" dirty="0" err="1">
                  <a:ln>
                    <a:noFill/>
                  </a:ln>
                  <a:solidFill>
                    <a:schemeClr val="accent1"/>
                  </a:solidFill>
                  <a:effectLst/>
                  <a:uLnTx/>
                  <a:uFillTx/>
                  <a:latin typeface="Arial"/>
                  <a:cs typeface="+mn-ea"/>
                  <a:sym typeface="+mn-lt"/>
                </a:rPr>
                <a:t>text</a:t>
              </a:r>
              <a:r>
                <a:rPr kumimoji="0" lang="ru-RU" altLang="ru-RU" sz="1000" b="0" i="0" u="none" strike="noStrike" kern="1200" cap="none" spc="0" normalizeH="0" baseline="0" noProof="0" dirty="0">
                  <a:ln>
                    <a:noFill/>
                  </a:ln>
                  <a:solidFill>
                    <a:schemeClr val="accent1"/>
                  </a:solidFill>
                  <a:effectLst/>
                  <a:uLnTx/>
                  <a:uFillTx/>
                  <a:latin typeface="Arial"/>
                  <a:cs typeface="+mn-ea"/>
                  <a:sym typeface="+mn-lt"/>
                </a:rPr>
                <a:t> </a:t>
              </a:r>
              <a:r>
                <a:rPr kumimoji="0" lang="ru-RU" altLang="ru-RU" sz="1000" b="0" i="0" u="none" strike="noStrike" kern="1200" cap="none" spc="0" normalizeH="0" baseline="0" noProof="0" dirty="0" err="1">
                  <a:ln>
                    <a:noFill/>
                  </a:ln>
                  <a:solidFill>
                    <a:schemeClr val="accent1"/>
                  </a:solidFill>
                  <a:effectLst/>
                  <a:uLnTx/>
                  <a:uFillTx/>
                  <a:latin typeface="Arial"/>
                  <a:cs typeface="+mn-ea"/>
                  <a:sym typeface="+mn-lt"/>
                </a:rPr>
                <a:t>block</a:t>
              </a:r>
              <a:r>
                <a:rPr kumimoji="0" lang="ru-RU" altLang="ru-RU" sz="1000" b="0" i="0" u="none" strike="noStrike" kern="1200" cap="none" spc="0" normalizeH="0" baseline="0" noProof="0" dirty="0">
                  <a:ln>
                    <a:noFill/>
                  </a:ln>
                  <a:solidFill>
                    <a:schemeClr val="accent1"/>
                  </a:solidFill>
                  <a:effectLst/>
                  <a:uLnTx/>
                  <a:uFillTx/>
                  <a:latin typeface="Arial"/>
                  <a:cs typeface="+mn-ea"/>
                  <a:sym typeface="+mn-lt"/>
                </a:rPr>
                <a:t> </a:t>
              </a:r>
            </a:p>
          </p:txBody>
        </p:sp>
        <p:sp>
          <p:nvSpPr>
            <p:cNvPr id="58" name="Shape 152">
              <a:extLst>
                <a:ext uri="{FF2B5EF4-FFF2-40B4-BE49-F238E27FC236}">
                  <a16:creationId xmlns:a16="http://schemas.microsoft.com/office/drawing/2014/main" id="{74643D64-0986-4DAB-BC3A-D07424D57E53}"/>
                </a:ext>
              </a:extLst>
            </p:cNvPr>
            <p:cNvSpPr>
              <a:spLocks noChangeArrowheads="1"/>
            </p:cNvSpPr>
            <p:nvPr/>
          </p:nvSpPr>
          <p:spPr bwMode="auto">
            <a:xfrm>
              <a:off x="8008478" y="8204495"/>
              <a:ext cx="3648170" cy="4103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altLang="ru-RU" sz="1000" b="0" i="0" u="none" strike="noStrike" kern="1200" cap="none" spc="0" normalizeH="0" baseline="0" noProof="0">
                  <a:ln>
                    <a:noFill/>
                  </a:ln>
                  <a:solidFill>
                    <a:schemeClr val="accent1"/>
                  </a:solidFill>
                  <a:effectLst/>
                  <a:uLnTx/>
                  <a:uFillTx/>
                  <a:latin typeface="Arial"/>
                  <a:cs typeface="+mn-ea"/>
                  <a:sym typeface="+mn-lt"/>
                </a:rPr>
                <a:t>Fish bone text block </a:t>
              </a:r>
            </a:p>
          </p:txBody>
        </p:sp>
        <p:sp>
          <p:nvSpPr>
            <p:cNvPr id="59" name="Shape 157">
              <a:extLst>
                <a:ext uri="{FF2B5EF4-FFF2-40B4-BE49-F238E27FC236}">
                  <a16:creationId xmlns:a16="http://schemas.microsoft.com/office/drawing/2014/main" id="{BE85C239-AF96-47E1-A075-2FBE6145B1AA}"/>
                </a:ext>
              </a:extLst>
            </p:cNvPr>
            <p:cNvSpPr>
              <a:spLocks/>
            </p:cNvSpPr>
            <p:nvPr/>
          </p:nvSpPr>
          <p:spPr bwMode="auto">
            <a:xfrm>
              <a:off x="6466854" y="9677089"/>
              <a:ext cx="255832" cy="234931"/>
            </a:xfrm>
            <a:custGeom>
              <a:avLst/>
              <a:gdLst>
                <a:gd name="T0" fmla="*/ 17948527 w 21600"/>
                <a:gd name="T1" fmla="*/ 13902014 h 21600"/>
                <a:gd name="T2" fmla="*/ 17948527 w 21600"/>
                <a:gd name="T3" fmla="*/ 13902014 h 21600"/>
                <a:gd name="T4" fmla="*/ 17948527 w 21600"/>
                <a:gd name="T5" fmla="*/ 13902014 h 21600"/>
                <a:gd name="T6" fmla="*/ 17948527 w 21600"/>
                <a:gd name="T7" fmla="*/ 13902014 h 21600"/>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21600" h="21600" extrusionOk="0">
                  <a:moveTo>
                    <a:pt x="0" y="21600"/>
                  </a:moveTo>
                  <a:lnTo>
                    <a:pt x="3950" y="21600"/>
                  </a:lnTo>
                  <a:lnTo>
                    <a:pt x="3950" y="8656"/>
                  </a:lnTo>
                  <a:lnTo>
                    <a:pt x="0" y="8656"/>
                  </a:lnTo>
                  <a:lnTo>
                    <a:pt x="0" y="21600"/>
                  </a:lnTo>
                  <a:close/>
                  <a:moveTo>
                    <a:pt x="21600" y="9649"/>
                  </a:moveTo>
                  <a:cubicBezTo>
                    <a:pt x="21600" y="8418"/>
                    <a:pt x="20658" y="7624"/>
                    <a:pt x="19534" y="7624"/>
                  </a:cubicBezTo>
                  <a:lnTo>
                    <a:pt x="13337" y="7624"/>
                  </a:lnTo>
                  <a:lnTo>
                    <a:pt x="14460" y="2462"/>
                  </a:lnTo>
                  <a:lnTo>
                    <a:pt x="14460" y="2263"/>
                  </a:lnTo>
                  <a:cubicBezTo>
                    <a:pt x="14460" y="1826"/>
                    <a:pt x="14279" y="1429"/>
                    <a:pt x="14098" y="1032"/>
                  </a:cubicBezTo>
                  <a:lnTo>
                    <a:pt x="12974" y="0"/>
                  </a:lnTo>
                  <a:lnTo>
                    <a:pt x="6379" y="6988"/>
                  </a:lnTo>
                  <a:cubicBezTo>
                    <a:pt x="6016" y="7385"/>
                    <a:pt x="5835" y="8021"/>
                    <a:pt x="5835" y="8656"/>
                  </a:cubicBezTo>
                  <a:lnTo>
                    <a:pt x="5835" y="19337"/>
                  </a:lnTo>
                  <a:cubicBezTo>
                    <a:pt x="5835" y="20568"/>
                    <a:pt x="6777" y="21600"/>
                    <a:pt x="7901" y="21600"/>
                  </a:cubicBezTo>
                  <a:lnTo>
                    <a:pt x="16707" y="21600"/>
                  </a:lnTo>
                  <a:cubicBezTo>
                    <a:pt x="17468" y="21600"/>
                    <a:pt x="18230" y="21004"/>
                    <a:pt x="18411" y="20171"/>
                  </a:cubicBezTo>
                  <a:lnTo>
                    <a:pt x="21419" y="12547"/>
                  </a:lnTo>
                  <a:cubicBezTo>
                    <a:pt x="21419" y="12349"/>
                    <a:pt x="21419" y="12150"/>
                    <a:pt x="21419" y="11713"/>
                  </a:cubicBezTo>
                  <a:lnTo>
                    <a:pt x="21419" y="9649"/>
                  </a:lnTo>
                  <a:lnTo>
                    <a:pt x="21600" y="9649"/>
                  </a:lnTo>
                  <a:close/>
                </a:path>
              </a:pathLst>
            </a:custGeom>
            <a:solidFill>
              <a:schemeClr val="accent1">
                <a:lumMod val="100000"/>
              </a:schemeClr>
            </a:solidFill>
            <a:ln>
              <a:noFill/>
            </a:ln>
          </p:spPr>
          <p:txBody>
            <a:bodyPr lIns="22860" tIns="22860" rIns="22860" bIns="2286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500" b="0" i="0" u="none" strike="noStrike" kern="1200" cap="none" spc="0" normalizeH="0" baseline="0" noProof="0">
                <a:ln>
                  <a:noFill/>
                </a:ln>
                <a:solidFill>
                  <a:srgbClr val="000000"/>
                </a:solidFill>
                <a:effectLst/>
                <a:uLnTx/>
                <a:uFillTx/>
                <a:latin typeface="Arial"/>
                <a:cs typeface="+mn-ea"/>
                <a:sym typeface="+mn-lt"/>
              </a:endParaRPr>
            </a:p>
          </p:txBody>
        </p:sp>
      </p:grpSp>
      <p:sp>
        <p:nvSpPr>
          <p:cNvPr id="25" name="Shape 158">
            <a:extLst>
              <a:ext uri="{FF2B5EF4-FFF2-40B4-BE49-F238E27FC236}">
                <a16:creationId xmlns:a16="http://schemas.microsoft.com/office/drawing/2014/main" id="{EAE6094C-442A-48E4-921A-201960DD7AAE}"/>
              </a:ext>
            </a:extLst>
          </p:cNvPr>
          <p:cNvSpPr>
            <a:spLocks/>
          </p:cNvSpPr>
          <p:nvPr/>
        </p:nvSpPr>
        <p:spPr bwMode="auto">
          <a:xfrm>
            <a:off x="3805774" y="1589087"/>
            <a:ext cx="144059" cy="98429"/>
          </a:xfrm>
          <a:custGeom>
            <a:avLst/>
            <a:gdLst>
              <a:gd name="T0" fmla="*/ 25637706 w 21600"/>
              <a:gd name="T1" fmla="*/ 8179297 h 21600"/>
              <a:gd name="T2" fmla="*/ 25637706 w 21600"/>
              <a:gd name="T3" fmla="*/ 8179297 h 21600"/>
              <a:gd name="T4" fmla="*/ 25637706 w 21600"/>
              <a:gd name="T5" fmla="*/ 8179297 h 21600"/>
              <a:gd name="T6" fmla="*/ 25637706 w 21600"/>
              <a:gd name="T7" fmla="*/ 8179297 h 21600"/>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21600" h="21600" extrusionOk="0">
                <a:moveTo>
                  <a:pt x="10710" y="0"/>
                </a:moveTo>
                <a:cubicBezTo>
                  <a:pt x="5825" y="0"/>
                  <a:pt x="1520" y="4689"/>
                  <a:pt x="0" y="10958"/>
                </a:cubicBezTo>
                <a:cubicBezTo>
                  <a:pt x="1520" y="17227"/>
                  <a:pt x="5825" y="21600"/>
                  <a:pt x="10710" y="21600"/>
                </a:cubicBezTo>
                <a:cubicBezTo>
                  <a:pt x="15594" y="21600"/>
                  <a:pt x="19899" y="17227"/>
                  <a:pt x="21600" y="10958"/>
                </a:cubicBezTo>
                <a:cubicBezTo>
                  <a:pt x="19899" y="4689"/>
                  <a:pt x="15594" y="0"/>
                  <a:pt x="10710" y="0"/>
                </a:cubicBezTo>
                <a:close/>
                <a:moveTo>
                  <a:pt x="10710" y="18070"/>
                </a:moveTo>
                <a:cubicBezTo>
                  <a:pt x="7887" y="18070"/>
                  <a:pt x="5825" y="14909"/>
                  <a:pt x="5825" y="10958"/>
                </a:cubicBezTo>
                <a:cubicBezTo>
                  <a:pt x="5825" y="7007"/>
                  <a:pt x="7887" y="3846"/>
                  <a:pt x="10710" y="3846"/>
                </a:cubicBezTo>
                <a:cubicBezTo>
                  <a:pt x="13532" y="3846"/>
                  <a:pt x="15594" y="7007"/>
                  <a:pt x="15594" y="10958"/>
                </a:cubicBezTo>
                <a:cubicBezTo>
                  <a:pt x="15594" y="14909"/>
                  <a:pt x="13532" y="18070"/>
                  <a:pt x="10710" y="18070"/>
                </a:cubicBezTo>
                <a:close/>
                <a:moveTo>
                  <a:pt x="10710" y="6585"/>
                </a:moveTo>
                <a:cubicBezTo>
                  <a:pt x="9009" y="6585"/>
                  <a:pt x="7707" y="8482"/>
                  <a:pt x="7707" y="10958"/>
                </a:cubicBezTo>
                <a:cubicBezTo>
                  <a:pt x="7707" y="13381"/>
                  <a:pt x="9009" y="15067"/>
                  <a:pt x="10710" y="15067"/>
                </a:cubicBezTo>
                <a:cubicBezTo>
                  <a:pt x="12410" y="15067"/>
                  <a:pt x="13713" y="13381"/>
                  <a:pt x="13713" y="10958"/>
                </a:cubicBezTo>
                <a:cubicBezTo>
                  <a:pt x="13713" y="8482"/>
                  <a:pt x="12410" y="6585"/>
                  <a:pt x="10710" y="6585"/>
                </a:cubicBezTo>
                <a:close/>
              </a:path>
            </a:pathLst>
          </a:custGeom>
          <a:solidFill>
            <a:schemeClr val="accent1">
              <a:lumMod val="100000"/>
            </a:schemeClr>
          </a:solidFill>
          <a:ln>
            <a:noFill/>
          </a:ln>
        </p:spPr>
        <p:txBody>
          <a:bodyPr lIns="22860" tIns="22860" rIns="22860" bIns="2286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500" b="0" i="0" u="none" strike="noStrike" kern="1200" cap="none" spc="0" normalizeH="0" baseline="0" noProof="0">
              <a:ln>
                <a:noFill/>
              </a:ln>
              <a:solidFill>
                <a:srgbClr val="000000"/>
              </a:solidFill>
              <a:effectLst/>
              <a:uLnTx/>
              <a:uFillTx/>
              <a:latin typeface="Arial"/>
              <a:cs typeface="+mn-ea"/>
              <a:sym typeface="+mn-lt"/>
            </a:endParaRPr>
          </a:p>
        </p:txBody>
      </p:sp>
      <p:sp>
        <p:nvSpPr>
          <p:cNvPr id="26" name="Shape 159">
            <a:extLst>
              <a:ext uri="{FF2B5EF4-FFF2-40B4-BE49-F238E27FC236}">
                <a16:creationId xmlns:a16="http://schemas.microsoft.com/office/drawing/2014/main" id="{69FED392-90FD-4135-A5CB-E115C087E037}"/>
              </a:ext>
            </a:extLst>
          </p:cNvPr>
          <p:cNvSpPr>
            <a:spLocks noChangeArrowheads="1"/>
          </p:cNvSpPr>
          <p:nvPr/>
        </p:nvSpPr>
        <p:spPr bwMode="auto">
          <a:xfrm>
            <a:off x="8675823" y="3114722"/>
            <a:ext cx="634950" cy="634905"/>
          </a:xfrm>
          <a:prstGeom prst="ellipse">
            <a:avLst/>
          </a:prstGeom>
          <a:solidFill>
            <a:srgbClr val="FFFFFF"/>
          </a:solidFill>
          <a:ln w="63500">
            <a:solidFill>
              <a:schemeClr val="accent1">
                <a:lumMod val="100000"/>
              </a:schemeClr>
            </a:solidFill>
            <a:miter lim="400000"/>
            <a:headEnd/>
            <a:tailEnd/>
          </a:ln>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FFFFFF"/>
              </a:solidFill>
              <a:effectLst/>
              <a:uLnTx/>
              <a:uFillTx/>
              <a:latin typeface="Arial"/>
              <a:cs typeface="+mn-ea"/>
              <a:sym typeface="+mn-lt"/>
            </a:endParaRPr>
          </a:p>
        </p:txBody>
      </p:sp>
      <p:sp>
        <p:nvSpPr>
          <p:cNvPr id="27" name="Shape 160">
            <a:extLst>
              <a:ext uri="{FF2B5EF4-FFF2-40B4-BE49-F238E27FC236}">
                <a16:creationId xmlns:a16="http://schemas.microsoft.com/office/drawing/2014/main" id="{F76BD0DB-5C04-4C5A-B530-E544AB69CC4E}"/>
              </a:ext>
            </a:extLst>
          </p:cNvPr>
          <p:cNvSpPr>
            <a:spLocks noChangeShapeType="1"/>
          </p:cNvSpPr>
          <p:nvPr/>
        </p:nvSpPr>
        <p:spPr bwMode="auto">
          <a:xfrm flipH="1" flipV="1">
            <a:off x="1640575" y="1805225"/>
            <a:ext cx="1483996" cy="1622930"/>
          </a:xfrm>
          <a:prstGeom prst="line">
            <a:avLst/>
          </a:prstGeom>
          <a:noFill/>
          <a:ln w="63500">
            <a:solidFill>
              <a:schemeClr val="accent1">
                <a:lumMod val="100000"/>
              </a:schemeClr>
            </a:solidFill>
            <a:miter lim="400000"/>
            <a:headEnd/>
            <a:tailEnd/>
          </a:ln>
          <a:extLst>
            <a:ext uri="{909E8E84-426E-40DD-AFC4-6F175D3DCCD1}">
              <a14:hiddenFill xmlns:a14="http://schemas.microsoft.com/office/drawing/2010/main">
                <a:noFill/>
              </a14:hiddenFill>
            </a:ext>
          </a:extLst>
        </p:spPr>
        <p:txBody>
          <a:bodyPr lIns="25400" tIns="25400" rIns="25400" bIns="254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500" b="0" i="0" u="none" strike="noStrike" kern="1200" cap="none" spc="0" normalizeH="0" baseline="0" noProof="0">
              <a:ln>
                <a:noFill/>
              </a:ln>
              <a:solidFill>
                <a:srgbClr val="000000"/>
              </a:solidFill>
              <a:effectLst/>
              <a:uLnTx/>
              <a:uFillTx/>
              <a:latin typeface="Arial"/>
              <a:cs typeface="+mn-ea"/>
              <a:sym typeface="+mn-lt"/>
            </a:endParaRPr>
          </a:p>
        </p:txBody>
      </p:sp>
      <p:sp>
        <p:nvSpPr>
          <p:cNvPr id="28" name="Shape 161">
            <a:extLst>
              <a:ext uri="{FF2B5EF4-FFF2-40B4-BE49-F238E27FC236}">
                <a16:creationId xmlns:a16="http://schemas.microsoft.com/office/drawing/2014/main" id="{11929D42-C03A-4800-B6F3-DE54F42BCC37}"/>
              </a:ext>
            </a:extLst>
          </p:cNvPr>
          <p:cNvSpPr>
            <a:spLocks noChangeArrowheads="1"/>
          </p:cNvSpPr>
          <p:nvPr/>
        </p:nvSpPr>
        <p:spPr bwMode="auto">
          <a:xfrm>
            <a:off x="3056219" y="3359249"/>
            <a:ext cx="158561" cy="158549"/>
          </a:xfrm>
          <a:prstGeom prst="ellipse">
            <a:avLst/>
          </a:prstGeom>
          <a:solidFill>
            <a:srgbClr val="FFFFFF"/>
          </a:solidFill>
          <a:ln w="63500">
            <a:solidFill>
              <a:schemeClr val="accent1">
                <a:lumMod val="100000"/>
              </a:schemeClr>
            </a:solidFill>
            <a:miter lim="400000"/>
            <a:headEnd/>
            <a:tailEnd/>
          </a:ln>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FFFFFF"/>
              </a:solidFill>
              <a:effectLst/>
              <a:uLnTx/>
              <a:uFillTx/>
              <a:latin typeface="Arial"/>
              <a:cs typeface="+mn-ea"/>
              <a:sym typeface="+mn-lt"/>
            </a:endParaRPr>
          </a:p>
        </p:txBody>
      </p:sp>
      <p:sp>
        <p:nvSpPr>
          <p:cNvPr id="29" name="Shape 162">
            <a:extLst>
              <a:ext uri="{FF2B5EF4-FFF2-40B4-BE49-F238E27FC236}">
                <a16:creationId xmlns:a16="http://schemas.microsoft.com/office/drawing/2014/main" id="{FBA12F3E-D94D-44E0-AE4E-98DAF7A7FB65}"/>
              </a:ext>
            </a:extLst>
          </p:cNvPr>
          <p:cNvSpPr>
            <a:spLocks noChangeArrowheads="1"/>
          </p:cNvSpPr>
          <p:nvPr/>
        </p:nvSpPr>
        <p:spPr bwMode="auto">
          <a:xfrm>
            <a:off x="1439465" y="1458118"/>
            <a:ext cx="1676640" cy="360368"/>
          </a:xfrm>
          <a:prstGeom prst="roundRect">
            <a:avLst>
              <a:gd name="adj" fmla="val 50000"/>
            </a:avLst>
          </a:prstGeom>
          <a:solidFill>
            <a:schemeClr val="accent1">
              <a:lumMod val="100000"/>
            </a:schemeClr>
          </a:solidFill>
          <a:ln>
            <a:noFill/>
          </a:ln>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FFFFFF"/>
              </a:solidFill>
              <a:effectLst/>
              <a:uLnTx/>
              <a:uFillTx/>
              <a:latin typeface="Arial"/>
              <a:cs typeface="+mn-ea"/>
              <a:sym typeface="+mn-lt"/>
            </a:endParaRPr>
          </a:p>
        </p:txBody>
      </p:sp>
      <p:sp>
        <p:nvSpPr>
          <p:cNvPr id="30" name="Shape 163">
            <a:extLst>
              <a:ext uri="{FF2B5EF4-FFF2-40B4-BE49-F238E27FC236}">
                <a16:creationId xmlns:a16="http://schemas.microsoft.com/office/drawing/2014/main" id="{B338084C-9A81-43F0-97DA-816BBC9EE602}"/>
              </a:ext>
            </a:extLst>
          </p:cNvPr>
          <p:cNvSpPr>
            <a:spLocks noChangeArrowheads="1"/>
          </p:cNvSpPr>
          <p:nvPr/>
        </p:nvSpPr>
        <p:spPr bwMode="auto">
          <a:xfrm>
            <a:off x="1812064" y="1524581"/>
            <a:ext cx="1171468" cy="2128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altLang="ru-RU" sz="1050" b="1" i="0" u="none" strike="noStrike" kern="1200" cap="none" spc="0" normalizeH="0" baseline="0" noProof="0">
                <a:ln>
                  <a:noFill/>
                </a:ln>
                <a:solidFill>
                  <a:srgbClr val="FFFFFF"/>
                </a:solidFill>
                <a:effectLst/>
                <a:uLnTx/>
                <a:uFillTx/>
                <a:latin typeface="Arial"/>
                <a:cs typeface="+mn-ea"/>
                <a:sym typeface="+mn-lt"/>
              </a:rPr>
              <a:t>Information text</a:t>
            </a:r>
          </a:p>
        </p:txBody>
      </p:sp>
      <p:sp>
        <p:nvSpPr>
          <p:cNvPr id="31" name="Shape 164">
            <a:extLst>
              <a:ext uri="{FF2B5EF4-FFF2-40B4-BE49-F238E27FC236}">
                <a16:creationId xmlns:a16="http://schemas.microsoft.com/office/drawing/2014/main" id="{F7943D48-6244-47D1-BE6C-FEF7A1FA1BFE}"/>
              </a:ext>
            </a:extLst>
          </p:cNvPr>
          <p:cNvSpPr>
            <a:spLocks noChangeArrowheads="1"/>
          </p:cNvSpPr>
          <p:nvPr/>
        </p:nvSpPr>
        <p:spPr bwMode="auto">
          <a:xfrm>
            <a:off x="1473714" y="1493099"/>
            <a:ext cx="290426" cy="290405"/>
          </a:xfrm>
          <a:prstGeom prst="ellipse">
            <a:avLst/>
          </a:prstGeom>
          <a:solidFill>
            <a:srgbClr val="FFFFFF"/>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FFFFFF"/>
              </a:solidFill>
              <a:effectLst/>
              <a:uLnTx/>
              <a:uFillTx/>
              <a:latin typeface="Arial"/>
              <a:cs typeface="+mn-ea"/>
              <a:sym typeface="+mn-lt"/>
            </a:endParaRPr>
          </a:p>
        </p:txBody>
      </p:sp>
      <p:sp>
        <p:nvSpPr>
          <p:cNvPr id="32" name="Shape 165">
            <a:extLst>
              <a:ext uri="{FF2B5EF4-FFF2-40B4-BE49-F238E27FC236}">
                <a16:creationId xmlns:a16="http://schemas.microsoft.com/office/drawing/2014/main" id="{5A516B8C-D597-4A5C-80B3-AFF3E7B48F3B}"/>
              </a:ext>
            </a:extLst>
          </p:cNvPr>
          <p:cNvSpPr>
            <a:spLocks noChangeArrowheads="1"/>
          </p:cNvSpPr>
          <p:nvPr/>
        </p:nvSpPr>
        <p:spPr bwMode="auto">
          <a:xfrm>
            <a:off x="2068695" y="2285592"/>
            <a:ext cx="104155" cy="104148"/>
          </a:xfrm>
          <a:prstGeom prst="ellipse">
            <a:avLst/>
          </a:prstGeom>
          <a:solidFill>
            <a:schemeClr val="accent1">
              <a:lumMod val="100000"/>
            </a:schemeClr>
          </a:solidFill>
          <a:ln>
            <a:noFill/>
          </a:ln>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FFFFFF"/>
              </a:solidFill>
              <a:effectLst/>
              <a:uLnTx/>
              <a:uFillTx/>
              <a:latin typeface="Arial"/>
              <a:cs typeface="+mn-ea"/>
              <a:sym typeface="+mn-lt"/>
            </a:endParaRPr>
          </a:p>
        </p:txBody>
      </p:sp>
      <p:sp>
        <p:nvSpPr>
          <p:cNvPr id="33" name="Shape 166">
            <a:extLst>
              <a:ext uri="{FF2B5EF4-FFF2-40B4-BE49-F238E27FC236}">
                <a16:creationId xmlns:a16="http://schemas.microsoft.com/office/drawing/2014/main" id="{7FDF236E-A1C4-4839-B242-4FE262441457}"/>
              </a:ext>
            </a:extLst>
          </p:cNvPr>
          <p:cNvSpPr>
            <a:spLocks noChangeArrowheads="1"/>
          </p:cNvSpPr>
          <p:nvPr/>
        </p:nvSpPr>
        <p:spPr bwMode="auto">
          <a:xfrm>
            <a:off x="2544759" y="2804454"/>
            <a:ext cx="104155" cy="104148"/>
          </a:xfrm>
          <a:prstGeom prst="ellipse">
            <a:avLst/>
          </a:prstGeom>
          <a:solidFill>
            <a:schemeClr val="accent1">
              <a:lumMod val="100000"/>
            </a:schemeClr>
          </a:solidFill>
          <a:ln>
            <a:noFill/>
          </a:ln>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FFFFFF"/>
              </a:solidFill>
              <a:effectLst/>
              <a:uLnTx/>
              <a:uFillTx/>
              <a:latin typeface="Arial"/>
              <a:cs typeface="+mn-ea"/>
              <a:sym typeface="+mn-lt"/>
            </a:endParaRPr>
          </a:p>
        </p:txBody>
      </p:sp>
      <p:sp>
        <p:nvSpPr>
          <p:cNvPr id="34" name="Shape 167">
            <a:extLst>
              <a:ext uri="{FF2B5EF4-FFF2-40B4-BE49-F238E27FC236}">
                <a16:creationId xmlns:a16="http://schemas.microsoft.com/office/drawing/2014/main" id="{71A0C806-B23F-4832-ACF9-4AE0FD29FCFB}"/>
              </a:ext>
            </a:extLst>
          </p:cNvPr>
          <p:cNvSpPr>
            <a:spLocks noChangeArrowheads="1"/>
          </p:cNvSpPr>
          <p:nvPr/>
        </p:nvSpPr>
        <p:spPr bwMode="auto">
          <a:xfrm>
            <a:off x="2296473" y="2235074"/>
            <a:ext cx="1824085" cy="205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altLang="ru-RU" sz="1000" b="0" i="0" u="none" strike="noStrike" kern="1200" cap="none" spc="0" normalizeH="0" baseline="0" noProof="0">
                <a:ln>
                  <a:noFill/>
                </a:ln>
                <a:solidFill>
                  <a:schemeClr val="accent1"/>
                </a:solidFill>
                <a:effectLst/>
                <a:uLnTx/>
                <a:uFillTx/>
                <a:latin typeface="Arial"/>
                <a:cs typeface="+mn-ea"/>
                <a:sym typeface="+mn-lt"/>
              </a:rPr>
              <a:t>Fish bone text block </a:t>
            </a:r>
          </a:p>
        </p:txBody>
      </p:sp>
      <p:sp>
        <p:nvSpPr>
          <p:cNvPr id="35" name="Shape 168">
            <a:extLst>
              <a:ext uri="{FF2B5EF4-FFF2-40B4-BE49-F238E27FC236}">
                <a16:creationId xmlns:a16="http://schemas.microsoft.com/office/drawing/2014/main" id="{DD4C35B6-EBBB-413B-B50F-B14900CFF5C0}"/>
              </a:ext>
            </a:extLst>
          </p:cNvPr>
          <p:cNvSpPr>
            <a:spLocks noChangeArrowheads="1"/>
          </p:cNvSpPr>
          <p:nvPr/>
        </p:nvSpPr>
        <p:spPr bwMode="auto">
          <a:xfrm>
            <a:off x="2771680" y="2749729"/>
            <a:ext cx="1824085" cy="205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altLang="ru-RU" sz="1000" b="0" i="0" u="none" strike="noStrike" kern="1200" cap="none" spc="0" normalizeH="0" baseline="0" noProof="0">
                <a:ln>
                  <a:noFill/>
                </a:ln>
                <a:solidFill>
                  <a:schemeClr val="accent1"/>
                </a:solidFill>
                <a:effectLst/>
                <a:uLnTx/>
                <a:uFillTx/>
                <a:latin typeface="Arial"/>
                <a:cs typeface="+mn-ea"/>
                <a:sym typeface="+mn-lt"/>
              </a:rPr>
              <a:t>Fish bone text block </a:t>
            </a:r>
          </a:p>
        </p:txBody>
      </p:sp>
      <p:sp>
        <p:nvSpPr>
          <p:cNvPr id="36" name="Shape 169">
            <a:extLst>
              <a:ext uri="{FF2B5EF4-FFF2-40B4-BE49-F238E27FC236}">
                <a16:creationId xmlns:a16="http://schemas.microsoft.com/office/drawing/2014/main" id="{63EDC26C-0FBE-4A04-AA49-A9B6B5146BCD}"/>
              </a:ext>
            </a:extLst>
          </p:cNvPr>
          <p:cNvSpPr>
            <a:spLocks/>
          </p:cNvSpPr>
          <p:nvPr/>
        </p:nvSpPr>
        <p:spPr bwMode="auto">
          <a:xfrm>
            <a:off x="1552887" y="1589087"/>
            <a:ext cx="144059" cy="98429"/>
          </a:xfrm>
          <a:custGeom>
            <a:avLst/>
            <a:gdLst>
              <a:gd name="T0" fmla="*/ 25637706 w 21600"/>
              <a:gd name="T1" fmla="*/ 8179297 h 21600"/>
              <a:gd name="T2" fmla="*/ 25637706 w 21600"/>
              <a:gd name="T3" fmla="*/ 8179297 h 21600"/>
              <a:gd name="T4" fmla="*/ 25637706 w 21600"/>
              <a:gd name="T5" fmla="*/ 8179297 h 21600"/>
              <a:gd name="T6" fmla="*/ 25637706 w 21600"/>
              <a:gd name="T7" fmla="*/ 8179297 h 21600"/>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21600" h="21600" extrusionOk="0">
                <a:moveTo>
                  <a:pt x="10710" y="0"/>
                </a:moveTo>
                <a:cubicBezTo>
                  <a:pt x="5825" y="0"/>
                  <a:pt x="1520" y="4689"/>
                  <a:pt x="0" y="10958"/>
                </a:cubicBezTo>
                <a:cubicBezTo>
                  <a:pt x="1520" y="17227"/>
                  <a:pt x="5825" y="21600"/>
                  <a:pt x="10710" y="21600"/>
                </a:cubicBezTo>
                <a:cubicBezTo>
                  <a:pt x="15594" y="21600"/>
                  <a:pt x="19899" y="17227"/>
                  <a:pt x="21600" y="10958"/>
                </a:cubicBezTo>
                <a:cubicBezTo>
                  <a:pt x="19899" y="4689"/>
                  <a:pt x="15594" y="0"/>
                  <a:pt x="10710" y="0"/>
                </a:cubicBezTo>
                <a:close/>
                <a:moveTo>
                  <a:pt x="10710" y="18070"/>
                </a:moveTo>
                <a:cubicBezTo>
                  <a:pt x="7887" y="18070"/>
                  <a:pt x="5825" y="14909"/>
                  <a:pt x="5825" y="10958"/>
                </a:cubicBezTo>
                <a:cubicBezTo>
                  <a:pt x="5825" y="7007"/>
                  <a:pt x="7887" y="3846"/>
                  <a:pt x="10710" y="3846"/>
                </a:cubicBezTo>
                <a:cubicBezTo>
                  <a:pt x="13532" y="3846"/>
                  <a:pt x="15594" y="7007"/>
                  <a:pt x="15594" y="10958"/>
                </a:cubicBezTo>
                <a:cubicBezTo>
                  <a:pt x="15594" y="14909"/>
                  <a:pt x="13532" y="18070"/>
                  <a:pt x="10710" y="18070"/>
                </a:cubicBezTo>
                <a:close/>
                <a:moveTo>
                  <a:pt x="10710" y="6585"/>
                </a:moveTo>
                <a:cubicBezTo>
                  <a:pt x="9009" y="6585"/>
                  <a:pt x="7707" y="8482"/>
                  <a:pt x="7707" y="10958"/>
                </a:cubicBezTo>
                <a:cubicBezTo>
                  <a:pt x="7707" y="13381"/>
                  <a:pt x="9009" y="15067"/>
                  <a:pt x="10710" y="15067"/>
                </a:cubicBezTo>
                <a:cubicBezTo>
                  <a:pt x="12410" y="15067"/>
                  <a:pt x="13713" y="13381"/>
                  <a:pt x="13713" y="10958"/>
                </a:cubicBezTo>
                <a:cubicBezTo>
                  <a:pt x="13713" y="8482"/>
                  <a:pt x="12410" y="6585"/>
                  <a:pt x="10710" y="6585"/>
                </a:cubicBezTo>
                <a:close/>
              </a:path>
            </a:pathLst>
          </a:custGeom>
          <a:solidFill>
            <a:schemeClr val="accent1">
              <a:lumMod val="100000"/>
            </a:schemeClr>
          </a:solidFill>
          <a:ln>
            <a:noFill/>
          </a:ln>
        </p:spPr>
        <p:txBody>
          <a:bodyPr lIns="22860" tIns="22860" rIns="22860" bIns="2286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500" b="0" i="0" u="none" strike="noStrike" kern="1200" cap="none" spc="0" normalizeH="0" baseline="0" noProof="0">
              <a:ln>
                <a:noFill/>
              </a:ln>
              <a:solidFill>
                <a:srgbClr val="000000"/>
              </a:solidFill>
              <a:effectLst/>
              <a:uLnTx/>
              <a:uFillTx/>
              <a:latin typeface="Arial"/>
              <a:cs typeface="+mn-ea"/>
              <a:sym typeface="+mn-lt"/>
            </a:endParaRPr>
          </a:p>
        </p:txBody>
      </p:sp>
      <p:sp>
        <p:nvSpPr>
          <p:cNvPr id="37" name="Shape 170">
            <a:extLst>
              <a:ext uri="{FF2B5EF4-FFF2-40B4-BE49-F238E27FC236}">
                <a16:creationId xmlns:a16="http://schemas.microsoft.com/office/drawing/2014/main" id="{FC4E359B-A9A0-4859-BC07-6410B71D9EB6}"/>
              </a:ext>
            </a:extLst>
          </p:cNvPr>
          <p:cNvSpPr>
            <a:spLocks/>
          </p:cNvSpPr>
          <p:nvPr/>
        </p:nvSpPr>
        <p:spPr bwMode="auto">
          <a:xfrm>
            <a:off x="8853721" y="3280432"/>
            <a:ext cx="291852" cy="294395"/>
          </a:xfrm>
          <a:custGeom>
            <a:avLst/>
            <a:gdLst>
              <a:gd name="T0" fmla="*/ 213179866 w 21600"/>
              <a:gd name="T1" fmla="*/ 218845931 h 21600"/>
              <a:gd name="T2" fmla="*/ 213179866 w 21600"/>
              <a:gd name="T3" fmla="*/ 218845931 h 21600"/>
              <a:gd name="T4" fmla="*/ 213179866 w 21600"/>
              <a:gd name="T5" fmla="*/ 218845931 h 21600"/>
              <a:gd name="T6" fmla="*/ 213179866 w 21600"/>
              <a:gd name="T7" fmla="*/ 218845931 h 21600"/>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21600" h="21600" extrusionOk="0">
                <a:moveTo>
                  <a:pt x="21600" y="4286"/>
                </a:moveTo>
                <a:lnTo>
                  <a:pt x="16675" y="0"/>
                </a:lnTo>
                <a:lnTo>
                  <a:pt x="15206" y="1629"/>
                </a:lnTo>
                <a:lnTo>
                  <a:pt x="20174" y="5700"/>
                </a:lnTo>
                <a:lnTo>
                  <a:pt x="21600" y="4286"/>
                </a:lnTo>
                <a:close/>
                <a:moveTo>
                  <a:pt x="6394" y="1629"/>
                </a:moveTo>
                <a:lnTo>
                  <a:pt x="4925" y="214"/>
                </a:lnTo>
                <a:lnTo>
                  <a:pt x="0" y="4286"/>
                </a:lnTo>
                <a:lnTo>
                  <a:pt x="1469" y="5700"/>
                </a:lnTo>
                <a:lnTo>
                  <a:pt x="6394" y="1629"/>
                </a:lnTo>
                <a:close/>
                <a:moveTo>
                  <a:pt x="11318" y="6729"/>
                </a:moveTo>
                <a:lnTo>
                  <a:pt x="9677" y="6729"/>
                </a:lnTo>
                <a:lnTo>
                  <a:pt x="9677" y="13071"/>
                </a:lnTo>
                <a:lnTo>
                  <a:pt x="14818" y="16114"/>
                </a:lnTo>
                <a:lnTo>
                  <a:pt x="15638" y="14871"/>
                </a:lnTo>
                <a:lnTo>
                  <a:pt x="11318" y="12257"/>
                </a:lnTo>
                <a:lnTo>
                  <a:pt x="11318" y="6729"/>
                </a:lnTo>
                <a:close/>
                <a:moveTo>
                  <a:pt x="10714" y="2443"/>
                </a:moveTo>
                <a:cubicBezTo>
                  <a:pt x="5357" y="2443"/>
                  <a:pt x="1037" y="6729"/>
                  <a:pt x="1037" y="12043"/>
                </a:cubicBezTo>
                <a:cubicBezTo>
                  <a:pt x="1037" y="17357"/>
                  <a:pt x="5270" y="21600"/>
                  <a:pt x="10714" y="21600"/>
                </a:cubicBezTo>
                <a:cubicBezTo>
                  <a:pt x="16157" y="21600"/>
                  <a:pt x="20347" y="17357"/>
                  <a:pt x="20347" y="12043"/>
                </a:cubicBezTo>
                <a:cubicBezTo>
                  <a:pt x="20347" y="6729"/>
                  <a:pt x="16243" y="2443"/>
                  <a:pt x="10714" y="2443"/>
                </a:cubicBezTo>
                <a:close/>
                <a:moveTo>
                  <a:pt x="10714" y="19371"/>
                </a:moveTo>
                <a:cubicBezTo>
                  <a:pt x="6610" y="19371"/>
                  <a:pt x="3283" y="16200"/>
                  <a:pt x="3283" y="12043"/>
                </a:cubicBezTo>
                <a:cubicBezTo>
                  <a:pt x="3283" y="7843"/>
                  <a:pt x="6480" y="4500"/>
                  <a:pt x="10714" y="4500"/>
                </a:cubicBezTo>
                <a:cubicBezTo>
                  <a:pt x="14904" y="4500"/>
                  <a:pt x="18317" y="7843"/>
                  <a:pt x="18317" y="12043"/>
                </a:cubicBezTo>
                <a:cubicBezTo>
                  <a:pt x="18317" y="16200"/>
                  <a:pt x="15034" y="19371"/>
                  <a:pt x="10714" y="19371"/>
                </a:cubicBezTo>
                <a:close/>
              </a:path>
            </a:pathLst>
          </a:custGeom>
          <a:solidFill>
            <a:schemeClr val="accent1">
              <a:lumMod val="100000"/>
            </a:schemeClr>
          </a:solidFill>
          <a:ln>
            <a:noFill/>
          </a:ln>
        </p:spPr>
        <p:txBody>
          <a:bodyPr lIns="22860" tIns="22860" rIns="22860" bIns="2286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500" b="0" i="0" u="none" strike="noStrike" kern="1200" cap="none" spc="0" normalizeH="0" baseline="0" noProof="0">
              <a:ln>
                <a:noFill/>
              </a:ln>
              <a:solidFill>
                <a:srgbClr val="000000"/>
              </a:solidFill>
              <a:effectLst/>
              <a:uLnTx/>
              <a:uFillTx/>
              <a:latin typeface="Arial"/>
              <a:cs typeface="+mn-ea"/>
              <a:sym typeface="+mn-lt"/>
            </a:endParaRPr>
          </a:p>
        </p:txBody>
      </p:sp>
      <p:sp>
        <p:nvSpPr>
          <p:cNvPr id="38" name="Shape 171">
            <a:extLst>
              <a:ext uri="{FF2B5EF4-FFF2-40B4-BE49-F238E27FC236}">
                <a16:creationId xmlns:a16="http://schemas.microsoft.com/office/drawing/2014/main" id="{FD43BB45-9F60-4D84-868C-C37AF2DEDBBF}"/>
              </a:ext>
            </a:extLst>
          </p:cNvPr>
          <p:cNvSpPr>
            <a:spLocks noChangeArrowheads="1"/>
          </p:cNvSpPr>
          <p:nvPr/>
        </p:nvSpPr>
        <p:spPr bwMode="auto">
          <a:xfrm>
            <a:off x="9484915" y="3197100"/>
            <a:ext cx="1267619" cy="4360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2500" b="1" cap="all">
                <a:solidFill>
                  <a:srgbClr val="344245"/>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sz="1250" b="1" i="0" u="none" strike="noStrike" kern="0" cap="all" spc="0" normalizeH="0" baseline="0" noProof="0" dirty="0">
                <a:ln>
                  <a:noFill/>
                </a:ln>
                <a:solidFill>
                  <a:schemeClr val="accent1"/>
                </a:solidFill>
                <a:effectLst/>
                <a:uLnTx/>
                <a:uFillTx/>
                <a:latin typeface="Arial"/>
                <a:cs typeface="+mn-ea"/>
                <a:sym typeface="+mn-lt"/>
              </a:rPr>
              <a:t>process efficiency</a:t>
            </a:r>
          </a:p>
        </p:txBody>
      </p:sp>
      <p:grpSp>
        <p:nvGrpSpPr>
          <p:cNvPr id="39" name="Группа 58">
            <a:extLst>
              <a:ext uri="{FF2B5EF4-FFF2-40B4-BE49-F238E27FC236}">
                <a16:creationId xmlns:a16="http://schemas.microsoft.com/office/drawing/2014/main" id="{F0BB9045-03E8-4263-8A7A-A4E5E04B78AE}"/>
              </a:ext>
            </a:extLst>
          </p:cNvPr>
          <p:cNvGrpSpPr/>
          <p:nvPr/>
        </p:nvGrpSpPr>
        <p:grpSpPr>
          <a:xfrm>
            <a:off x="5859646" y="3461162"/>
            <a:ext cx="3195911" cy="1933820"/>
            <a:chOff x="10536915" y="6301135"/>
            <a:chExt cx="6391822" cy="3867639"/>
          </a:xfrm>
        </p:grpSpPr>
        <p:sp>
          <p:nvSpPr>
            <p:cNvPr id="42" name="Shape 122">
              <a:extLst>
                <a:ext uri="{FF2B5EF4-FFF2-40B4-BE49-F238E27FC236}">
                  <a16:creationId xmlns:a16="http://schemas.microsoft.com/office/drawing/2014/main" id="{BEEFD2CD-F6D5-4772-BCEB-699D1645E47F}"/>
                </a:ext>
              </a:extLst>
            </p:cNvPr>
            <p:cNvSpPr>
              <a:spLocks noChangeShapeType="1"/>
            </p:cNvSpPr>
            <p:nvPr/>
          </p:nvSpPr>
          <p:spPr bwMode="auto">
            <a:xfrm flipV="1">
              <a:off x="11043911" y="6301135"/>
              <a:ext cx="2863954" cy="3171655"/>
            </a:xfrm>
            <a:prstGeom prst="line">
              <a:avLst/>
            </a:prstGeom>
            <a:noFill/>
            <a:ln w="63500">
              <a:solidFill>
                <a:schemeClr val="accent1">
                  <a:lumMod val="100000"/>
                </a:schemeClr>
              </a:solidFill>
              <a:miter lim="400000"/>
              <a:headEnd/>
              <a:tailEnd/>
            </a:ln>
            <a:extLst>
              <a:ext uri="{909E8E84-426E-40DD-AFC4-6F175D3DCCD1}">
                <a14:hiddenFill xmlns:a14="http://schemas.microsoft.com/office/drawing/2010/main">
                  <a:noFill/>
                </a14:hiddenFill>
              </a:ext>
            </a:extLst>
          </p:spPr>
          <p:txBody>
            <a:bodyPr lIns="25400" tIns="25400" rIns="25400" bIns="254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500" b="0" i="0" u="none" strike="noStrike" kern="1200" cap="none" spc="0" normalizeH="0" baseline="0" noProof="0">
                <a:ln>
                  <a:noFill/>
                </a:ln>
                <a:solidFill>
                  <a:srgbClr val="000000"/>
                </a:solidFill>
                <a:effectLst/>
                <a:uLnTx/>
                <a:uFillTx/>
                <a:latin typeface="Arial"/>
                <a:cs typeface="+mn-ea"/>
                <a:sym typeface="+mn-lt"/>
              </a:endParaRPr>
            </a:p>
          </p:txBody>
        </p:sp>
        <p:sp>
          <p:nvSpPr>
            <p:cNvPr id="43" name="Shape 132">
              <a:extLst>
                <a:ext uri="{FF2B5EF4-FFF2-40B4-BE49-F238E27FC236}">
                  <a16:creationId xmlns:a16="http://schemas.microsoft.com/office/drawing/2014/main" id="{57320450-184C-4A0A-91CE-7ACA11B70BF0}"/>
                </a:ext>
              </a:extLst>
            </p:cNvPr>
            <p:cNvSpPr>
              <a:spLocks noChangeArrowheads="1"/>
            </p:cNvSpPr>
            <p:nvPr/>
          </p:nvSpPr>
          <p:spPr bwMode="auto">
            <a:xfrm>
              <a:off x="10536915" y="9448039"/>
              <a:ext cx="3353281" cy="720735"/>
            </a:xfrm>
            <a:prstGeom prst="roundRect">
              <a:avLst>
                <a:gd name="adj" fmla="val 50000"/>
              </a:avLst>
            </a:prstGeom>
            <a:solidFill>
              <a:schemeClr val="accent1">
                <a:lumMod val="100000"/>
              </a:schemeClr>
            </a:solidFill>
            <a:ln>
              <a:noFill/>
            </a:ln>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FFFFFF"/>
                </a:solidFill>
                <a:effectLst/>
                <a:uLnTx/>
                <a:uFillTx/>
                <a:latin typeface="Arial"/>
                <a:cs typeface="+mn-ea"/>
                <a:sym typeface="+mn-lt"/>
              </a:endParaRPr>
            </a:p>
          </p:txBody>
        </p:sp>
        <p:sp>
          <p:nvSpPr>
            <p:cNvPr id="44" name="Shape 133">
              <a:extLst>
                <a:ext uri="{FF2B5EF4-FFF2-40B4-BE49-F238E27FC236}">
                  <a16:creationId xmlns:a16="http://schemas.microsoft.com/office/drawing/2014/main" id="{629CBCA1-6196-49B5-9FDC-EA5059A5D213}"/>
                </a:ext>
              </a:extLst>
            </p:cNvPr>
            <p:cNvSpPr>
              <a:spLocks noChangeArrowheads="1"/>
            </p:cNvSpPr>
            <p:nvPr/>
          </p:nvSpPr>
          <p:spPr bwMode="auto">
            <a:xfrm>
              <a:off x="11282113" y="9580964"/>
              <a:ext cx="2342934" cy="4257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altLang="ru-RU" sz="1050" b="1" i="0" u="none" strike="noStrike" kern="1200" cap="none" spc="0" normalizeH="0" baseline="0" noProof="0">
                  <a:ln>
                    <a:noFill/>
                  </a:ln>
                  <a:solidFill>
                    <a:srgbClr val="FFFFFF"/>
                  </a:solidFill>
                  <a:effectLst/>
                  <a:uLnTx/>
                  <a:uFillTx/>
                  <a:latin typeface="Arial"/>
                  <a:cs typeface="+mn-ea"/>
                  <a:sym typeface="+mn-lt"/>
                </a:rPr>
                <a:t>Information text</a:t>
              </a:r>
            </a:p>
          </p:txBody>
        </p:sp>
        <p:sp>
          <p:nvSpPr>
            <p:cNvPr id="45" name="Shape 134">
              <a:extLst>
                <a:ext uri="{FF2B5EF4-FFF2-40B4-BE49-F238E27FC236}">
                  <a16:creationId xmlns:a16="http://schemas.microsoft.com/office/drawing/2014/main" id="{652A0332-C4A4-4B2D-A1AB-D1362AF21B49}"/>
                </a:ext>
              </a:extLst>
            </p:cNvPr>
            <p:cNvSpPr>
              <a:spLocks noChangeArrowheads="1"/>
            </p:cNvSpPr>
            <p:nvPr/>
          </p:nvSpPr>
          <p:spPr bwMode="auto">
            <a:xfrm>
              <a:off x="10605413" y="9518001"/>
              <a:ext cx="580852" cy="580810"/>
            </a:xfrm>
            <a:prstGeom prst="ellipse">
              <a:avLst/>
            </a:prstGeom>
            <a:solidFill>
              <a:srgbClr val="FFFFFF"/>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FFFFFF"/>
                </a:solidFill>
                <a:effectLst/>
                <a:uLnTx/>
                <a:uFillTx/>
                <a:latin typeface="Arial"/>
                <a:cs typeface="+mn-ea"/>
                <a:sym typeface="+mn-lt"/>
              </a:endParaRPr>
            </a:p>
          </p:txBody>
        </p:sp>
        <p:sp>
          <p:nvSpPr>
            <p:cNvPr id="46" name="Shape 141">
              <a:extLst>
                <a:ext uri="{FF2B5EF4-FFF2-40B4-BE49-F238E27FC236}">
                  <a16:creationId xmlns:a16="http://schemas.microsoft.com/office/drawing/2014/main" id="{AE8CEE90-17B0-4CA3-B524-3E2EFAD6B47A}"/>
                </a:ext>
              </a:extLst>
            </p:cNvPr>
            <p:cNvSpPr>
              <a:spLocks noChangeArrowheads="1"/>
            </p:cNvSpPr>
            <p:nvPr/>
          </p:nvSpPr>
          <p:spPr bwMode="auto">
            <a:xfrm>
              <a:off x="12837362" y="7267807"/>
              <a:ext cx="208310" cy="208296"/>
            </a:xfrm>
            <a:prstGeom prst="ellipse">
              <a:avLst/>
            </a:prstGeom>
            <a:solidFill>
              <a:schemeClr val="accent1">
                <a:lumMod val="100000"/>
              </a:schemeClr>
            </a:solidFill>
            <a:ln>
              <a:noFill/>
            </a:ln>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dirty="0">
                <a:ln>
                  <a:noFill/>
                </a:ln>
                <a:solidFill>
                  <a:srgbClr val="FFFFFF"/>
                </a:solidFill>
                <a:effectLst/>
                <a:uLnTx/>
                <a:uFillTx/>
                <a:latin typeface="Arial"/>
                <a:cs typeface="+mn-ea"/>
                <a:sym typeface="+mn-lt"/>
              </a:endParaRPr>
            </a:p>
          </p:txBody>
        </p:sp>
        <p:sp>
          <p:nvSpPr>
            <p:cNvPr id="47" name="Shape 142">
              <a:extLst>
                <a:ext uri="{FF2B5EF4-FFF2-40B4-BE49-F238E27FC236}">
                  <a16:creationId xmlns:a16="http://schemas.microsoft.com/office/drawing/2014/main" id="{0FDA507E-A92F-486E-95EB-36937F3142E5}"/>
                </a:ext>
              </a:extLst>
            </p:cNvPr>
            <p:cNvSpPr>
              <a:spLocks noChangeArrowheads="1"/>
            </p:cNvSpPr>
            <p:nvPr/>
          </p:nvSpPr>
          <p:spPr bwMode="auto">
            <a:xfrm>
              <a:off x="11906102" y="8309050"/>
              <a:ext cx="208311" cy="208296"/>
            </a:xfrm>
            <a:prstGeom prst="ellipse">
              <a:avLst/>
            </a:prstGeom>
            <a:solidFill>
              <a:schemeClr val="accent1">
                <a:lumMod val="100000"/>
              </a:schemeClr>
            </a:solidFill>
            <a:ln>
              <a:noFill/>
            </a:ln>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FFFFFF"/>
                </a:solidFill>
                <a:effectLst/>
                <a:uLnTx/>
                <a:uFillTx/>
                <a:latin typeface="Arial"/>
                <a:cs typeface="+mn-ea"/>
                <a:sym typeface="+mn-lt"/>
              </a:endParaRPr>
            </a:p>
          </p:txBody>
        </p:sp>
        <p:sp>
          <p:nvSpPr>
            <p:cNvPr id="48" name="Shape 153">
              <a:extLst>
                <a:ext uri="{FF2B5EF4-FFF2-40B4-BE49-F238E27FC236}">
                  <a16:creationId xmlns:a16="http://schemas.microsoft.com/office/drawing/2014/main" id="{30884E5F-B788-4E40-9E53-44EF1A351BD4}"/>
                </a:ext>
              </a:extLst>
            </p:cNvPr>
            <p:cNvSpPr>
              <a:spLocks noChangeArrowheads="1"/>
            </p:cNvSpPr>
            <p:nvPr/>
          </p:nvSpPr>
          <p:spPr bwMode="auto">
            <a:xfrm>
              <a:off x="13280567" y="7175185"/>
              <a:ext cx="3648170" cy="4103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altLang="ru-RU" sz="1000" b="0" i="0" u="none" strike="noStrike" kern="1200" cap="none" spc="0" normalizeH="0" baseline="0" noProof="0">
                  <a:ln>
                    <a:noFill/>
                  </a:ln>
                  <a:solidFill>
                    <a:schemeClr val="accent1"/>
                  </a:solidFill>
                  <a:effectLst/>
                  <a:uLnTx/>
                  <a:uFillTx/>
                  <a:latin typeface="Arial"/>
                  <a:cs typeface="+mn-ea"/>
                  <a:sym typeface="+mn-lt"/>
                </a:rPr>
                <a:t>Fish bone text block </a:t>
              </a:r>
            </a:p>
          </p:txBody>
        </p:sp>
        <p:sp>
          <p:nvSpPr>
            <p:cNvPr id="49" name="Shape 154">
              <a:extLst>
                <a:ext uri="{FF2B5EF4-FFF2-40B4-BE49-F238E27FC236}">
                  <a16:creationId xmlns:a16="http://schemas.microsoft.com/office/drawing/2014/main" id="{FD27CD5B-B738-493C-855A-CC17C89231C1}"/>
                </a:ext>
              </a:extLst>
            </p:cNvPr>
            <p:cNvSpPr>
              <a:spLocks noChangeArrowheads="1"/>
            </p:cNvSpPr>
            <p:nvPr/>
          </p:nvSpPr>
          <p:spPr bwMode="auto">
            <a:xfrm>
              <a:off x="12364231" y="8204495"/>
              <a:ext cx="3648170" cy="4103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altLang="ru-RU" sz="1000" b="0" i="0" u="none" strike="noStrike" kern="1200" cap="none" spc="0" normalizeH="0" baseline="0" noProof="0">
                  <a:ln>
                    <a:noFill/>
                  </a:ln>
                  <a:solidFill>
                    <a:schemeClr val="accent1"/>
                  </a:solidFill>
                  <a:effectLst/>
                  <a:uLnTx/>
                  <a:uFillTx/>
                  <a:latin typeface="Arial"/>
                  <a:cs typeface="+mn-ea"/>
                  <a:sym typeface="+mn-lt"/>
                </a:rPr>
                <a:t>Fish bone text block </a:t>
              </a:r>
            </a:p>
          </p:txBody>
        </p:sp>
        <p:sp>
          <p:nvSpPr>
            <p:cNvPr id="50" name="Shape 155">
              <a:extLst>
                <a:ext uri="{FF2B5EF4-FFF2-40B4-BE49-F238E27FC236}">
                  <a16:creationId xmlns:a16="http://schemas.microsoft.com/office/drawing/2014/main" id="{55AF3C69-3D95-4B67-B5C3-E63D95814A68}"/>
                </a:ext>
              </a:extLst>
            </p:cNvPr>
            <p:cNvSpPr>
              <a:spLocks/>
            </p:cNvSpPr>
            <p:nvPr/>
          </p:nvSpPr>
          <p:spPr bwMode="auto">
            <a:xfrm>
              <a:off x="10763209" y="9675402"/>
              <a:ext cx="260725" cy="245721"/>
            </a:xfrm>
            <a:custGeom>
              <a:avLst/>
              <a:gdLst>
                <a:gd name="T0" fmla="*/ 18998328 w 21600"/>
                <a:gd name="T1" fmla="*/ 15906903 h 21600"/>
                <a:gd name="T2" fmla="*/ 18998328 w 21600"/>
                <a:gd name="T3" fmla="*/ 15906903 h 21600"/>
                <a:gd name="T4" fmla="*/ 18998328 w 21600"/>
                <a:gd name="T5" fmla="*/ 15906903 h 21600"/>
                <a:gd name="T6" fmla="*/ 18998328 w 21600"/>
                <a:gd name="T7" fmla="*/ 15906903 h 21600"/>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21600" h="21600" extrusionOk="0">
                  <a:moveTo>
                    <a:pt x="10901" y="17459"/>
                  </a:moveTo>
                  <a:lnTo>
                    <a:pt x="17497" y="21600"/>
                  </a:lnTo>
                  <a:lnTo>
                    <a:pt x="15848" y="13532"/>
                  </a:lnTo>
                  <a:lnTo>
                    <a:pt x="21600" y="8281"/>
                  </a:lnTo>
                  <a:lnTo>
                    <a:pt x="13797" y="7428"/>
                  </a:lnTo>
                  <a:lnTo>
                    <a:pt x="10901" y="0"/>
                  </a:lnTo>
                  <a:lnTo>
                    <a:pt x="7844" y="7428"/>
                  </a:lnTo>
                  <a:lnTo>
                    <a:pt x="0" y="8281"/>
                  </a:lnTo>
                  <a:lnTo>
                    <a:pt x="5993" y="13532"/>
                  </a:lnTo>
                  <a:lnTo>
                    <a:pt x="4143" y="21600"/>
                  </a:lnTo>
                  <a:lnTo>
                    <a:pt x="10901" y="17459"/>
                  </a:lnTo>
                </a:path>
              </a:pathLst>
            </a:custGeom>
            <a:solidFill>
              <a:schemeClr val="accent1">
                <a:lumMod val="100000"/>
              </a:schemeClr>
            </a:solidFill>
            <a:ln>
              <a:noFill/>
            </a:ln>
          </p:spPr>
          <p:txBody>
            <a:bodyPr lIns="22860" tIns="22860" rIns="22860" bIns="2286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500" b="0" i="0" u="none" strike="noStrike" kern="1200" cap="none" spc="0" normalizeH="0" baseline="0" noProof="0">
                <a:ln>
                  <a:noFill/>
                </a:ln>
                <a:solidFill>
                  <a:srgbClr val="000000"/>
                </a:solidFill>
                <a:effectLst/>
                <a:uLnTx/>
                <a:uFillTx/>
                <a:latin typeface="Arial"/>
                <a:cs typeface="+mn-ea"/>
                <a:sym typeface="+mn-lt"/>
              </a:endParaRPr>
            </a:p>
          </p:txBody>
        </p:sp>
      </p:grpSp>
      <p:sp>
        <p:nvSpPr>
          <p:cNvPr id="40" name="Shape 124">
            <a:extLst>
              <a:ext uri="{FF2B5EF4-FFF2-40B4-BE49-F238E27FC236}">
                <a16:creationId xmlns:a16="http://schemas.microsoft.com/office/drawing/2014/main" id="{F9F80659-5867-498A-9618-AAB03A53150A}"/>
              </a:ext>
            </a:extLst>
          </p:cNvPr>
          <p:cNvSpPr>
            <a:spLocks noChangeArrowheads="1"/>
          </p:cNvSpPr>
          <p:nvPr/>
        </p:nvSpPr>
        <p:spPr bwMode="auto">
          <a:xfrm>
            <a:off x="5309106" y="3359249"/>
            <a:ext cx="158561" cy="158549"/>
          </a:xfrm>
          <a:prstGeom prst="ellipse">
            <a:avLst/>
          </a:prstGeom>
          <a:solidFill>
            <a:srgbClr val="FFFFFF"/>
          </a:solidFill>
          <a:ln w="63500">
            <a:solidFill>
              <a:schemeClr val="accent1">
                <a:lumMod val="100000"/>
              </a:schemeClr>
            </a:solidFill>
            <a:miter lim="400000"/>
            <a:headEnd/>
            <a:tailEnd/>
          </a:ln>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FFFFFF"/>
              </a:solidFill>
              <a:effectLst/>
              <a:uLnTx/>
              <a:uFillTx/>
              <a:latin typeface="Arial"/>
              <a:cs typeface="+mn-ea"/>
              <a:sym typeface="+mn-lt"/>
            </a:endParaRPr>
          </a:p>
        </p:txBody>
      </p:sp>
      <p:sp>
        <p:nvSpPr>
          <p:cNvPr id="41" name="Shape 126">
            <a:extLst>
              <a:ext uri="{FF2B5EF4-FFF2-40B4-BE49-F238E27FC236}">
                <a16:creationId xmlns:a16="http://schemas.microsoft.com/office/drawing/2014/main" id="{E15F4FEF-ECC2-4B61-8C6D-71D6171EFD4D}"/>
              </a:ext>
            </a:extLst>
          </p:cNvPr>
          <p:cNvSpPr>
            <a:spLocks noChangeArrowheads="1"/>
          </p:cNvSpPr>
          <p:nvPr/>
        </p:nvSpPr>
        <p:spPr bwMode="auto">
          <a:xfrm>
            <a:off x="7473927" y="3359249"/>
            <a:ext cx="158561" cy="158549"/>
          </a:xfrm>
          <a:prstGeom prst="ellipse">
            <a:avLst/>
          </a:prstGeom>
          <a:solidFill>
            <a:srgbClr val="FFFFFF"/>
          </a:solidFill>
          <a:ln w="63500">
            <a:solidFill>
              <a:schemeClr val="accent1">
                <a:lumMod val="100000"/>
              </a:schemeClr>
            </a:solidFill>
            <a:miter lim="400000"/>
            <a:headEnd/>
            <a:tailEnd/>
          </a:ln>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FFFFFF"/>
              </a:solidFill>
              <a:effectLst/>
              <a:uLnTx/>
              <a:uFillTx/>
              <a:latin typeface="Arial"/>
              <a:cs typeface="+mn-ea"/>
              <a:sym typeface="+mn-lt"/>
            </a:endParaRPr>
          </a:p>
        </p:txBody>
      </p:sp>
    </p:spTree>
    <p:extLst>
      <p:ext uri="{BB962C8B-B14F-4D97-AF65-F5344CB8AC3E}">
        <p14:creationId xmlns:p14="http://schemas.microsoft.com/office/powerpoint/2010/main" val="672627203"/>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7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hape 47">
            <a:extLst>
              <a:ext uri="{FF2B5EF4-FFF2-40B4-BE49-F238E27FC236}">
                <a16:creationId xmlns:a16="http://schemas.microsoft.com/office/drawing/2014/main" id="{9B24FB6D-AD61-477E-A9A4-9A772D9ACC24}"/>
              </a:ext>
            </a:extLst>
          </p:cNvPr>
          <p:cNvSpPr>
            <a:spLocks noChangeShapeType="1"/>
          </p:cNvSpPr>
          <p:nvPr/>
        </p:nvSpPr>
        <p:spPr bwMode="auto">
          <a:xfrm>
            <a:off x="2297600" y="3430684"/>
            <a:ext cx="7202930" cy="1"/>
          </a:xfrm>
          <a:prstGeom prst="line">
            <a:avLst/>
          </a:prstGeom>
          <a:noFill/>
          <a:ln w="165100">
            <a:solidFill>
              <a:schemeClr val="accent1">
                <a:lumMod val="40000"/>
                <a:lumOff val="60000"/>
              </a:schemeClr>
            </a:solidFill>
            <a:miter lim="400000"/>
            <a:headEnd/>
            <a:tailEnd/>
          </a:ln>
          <a:extLst>
            <a:ext uri="{909E8E84-426E-40DD-AFC4-6F175D3DCCD1}">
              <a14:hiddenFill xmlns:a14="http://schemas.microsoft.com/office/drawing/2010/main">
                <a:noFill/>
              </a14:hiddenFill>
            </a:ext>
          </a:extLst>
        </p:spPr>
        <p:txBody>
          <a:bodyPr lIns="25400" tIns="25400" rIns="25400" bIns="254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500" b="0" i="0" u="none" strike="noStrike" kern="1200" cap="none" spc="0" normalizeH="0" baseline="0" noProof="0">
              <a:ln>
                <a:noFill/>
              </a:ln>
              <a:solidFill>
                <a:srgbClr val="000000"/>
              </a:solidFill>
              <a:effectLst/>
              <a:uLnTx/>
              <a:uFillTx/>
              <a:latin typeface="Arial"/>
              <a:cs typeface="+mn-ea"/>
              <a:sym typeface="+mn-lt"/>
            </a:endParaRPr>
          </a:p>
        </p:txBody>
      </p:sp>
      <p:sp>
        <p:nvSpPr>
          <p:cNvPr id="4" name="Shape 48">
            <a:extLst>
              <a:ext uri="{FF2B5EF4-FFF2-40B4-BE49-F238E27FC236}">
                <a16:creationId xmlns:a16="http://schemas.microsoft.com/office/drawing/2014/main" id="{6BABC6D4-664F-462F-AD0C-C51BCEB87867}"/>
              </a:ext>
            </a:extLst>
          </p:cNvPr>
          <p:cNvSpPr>
            <a:spLocks noChangeShapeType="1"/>
          </p:cNvSpPr>
          <p:nvPr/>
        </p:nvSpPr>
        <p:spPr bwMode="auto">
          <a:xfrm flipV="1">
            <a:off x="2398618" y="3444647"/>
            <a:ext cx="1332516" cy="1470600"/>
          </a:xfrm>
          <a:prstGeom prst="line">
            <a:avLst/>
          </a:prstGeom>
          <a:noFill/>
          <a:ln w="165100">
            <a:solidFill>
              <a:schemeClr val="accent1">
                <a:lumMod val="40000"/>
                <a:lumOff val="60000"/>
              </a:schemeClr>
            </a:solidFill>
            <a:miter lim="400000"/>
            <a:headEnd/>
            <a:tailEnd/>
          </a:ln>
          <a:extLst>
            <a:ext uri="{909E8E84-426E-40DD-AFC4-6F175D3DCCD1}">
              <a14:hiddenFill xmlns:a14="http://schemas.microsoft.com/office/drawing/2010/main">
                <a:noFill/>
              </a14:hiddenFill>
            </a:ext>
          </a:extLst>
        </p:spPr>
        <p:txBody>
          <a:bodyPr lIns="25400" tIns="25400" rIns="25400" bIns="254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500" b="0" i="0" u="none" strike="noStrike" kern="1200" cap="none" spc="0" normalizeH="0" baseline="0" noProof="0">
              <a:ln>
                <a:noFill/>
              </a:ln>
              <a:solidFill>
                <a:srgbClr val="000000"/>
              </a:solidFill>
              <a:effectLst/>
              <a:uLnTx/>
              <a:uFillTx/>
              <a:latin typeface="Arial"/>
              <a:cs typeface="+mn-ea"/>
              <a:sym typeface="+mn-lt"/>
            </a:endParaRPr>
          </a:p>
        </p:txBody>
      </p:sp>
      <p:sp>
        <p:nvSpPr>
          <p:cNvPr id="5" name="Shape 49">
            <a:extLst>
              <a:ext uri="{FF2B5EF4-FFF2-40B4-BE49-F238E27FC236}">
                <a16:creationId xmlns:a16="http://schemas.microsoft.com/office/drawing/2014/main" id="{74694103-3FC2-4F5D-970D-73DD1C14BC17}"/>
              </a:ext>
            </a:extLst>
          </p:cNvPr>
          <p:cNvSpPr>
            <a:spLocks noChangeShapeType="1"/>
          </p:cNvSpPr>
          <p:nvPr/>
        </p:nvSpPr>
        <p:spPr bwMode="auto">
          <a:xfrm flipV="1">
            <a:off x="4470765" y="3444647"/>
            <a:ext cx="1432134" cy="1586116"/>
          </a:xfrm>
          <a:prstGeom prst="line">
            <a:avLst/>
          </a:prstGeom>
          <a:noFill/>
          <a:ln w="165100">
            <a:solidFill>
              <a:schemeClr val="accent1">
                <a:lumMod val="40000"/>
                <a:lumOff val="60000"/>
              </a:schemeClr>
            </a:solidFill>
            <a:miter lim="400000"/>
            <a:headEnd/>
            <a:tailEnd/>
          </a:ln>
          <a:extLst>
            <a:ext uri="{909E8E84-426E-40DD-AFC4-6F175D3DCCD1}">
              <a14:hiddenFill xmlns:a14="http://schemas.microsoft.com/office/drawing/2010/main">
                <a:noFill/>
              </a14:hiddenFill>
            </a:ext>
          </a:extLst>
        </p:spPr>
        <p:txBody>
          <a:bodyPr lIns="25400" tIns="25400" rIns="25400" bIns="254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500" b="0" i="0" u="none" strike="noStrike" kern="1200" cap="none" spc="0" normalizeH="0" baseline="0" noProof="0">
              <a:ln>
                <a:noFill/>
              </a:ln>
              <a:solidFill>
                <a:srgbClr val="000000"/>
              </a:solidFill>
              <a:effectLst/>
              <a:uLnTx/>
              <a:uFillTx/>
              <a:latin typeface="Arial"/>
              <a:cs typeface="+mn-ea"/>
              <a:sym typeface="+mn-lt"/>
            </a:endParaRPr>
          </a:p>
        </p:txBody>
      </p:sp>
      <p:sp>
        <p:nvSpPr>
          <p:cNvPr id="6" name="Shape 50">
            <a:extLst>
              <a:ext uri="{FF2B5EF4-FFF2-40B4-BE49-F238E27FC236}">
                <a16:creationId xmlns:a16="http://schemas.microsoft.com/office/drawing/2014/main" id="{6ADF44BA-F598-4199-A362-3390DBAF8FC2}"/>
              </a:ext>
            </a:extLst>
          </p:cNvPr>
          <p:cNvSpPr>
            <a:spLocks noChangeArrowheads="1"/>
          </p:cNvSpPr>
          <p:nvPr/>
        </p:nvSpPr>
        <p:spPr bwMode="auto">
          <a:xfrm>
            <a:off x="2198341" y="3941518"/>
            <a:ext cx="1236242" cy="1236243"/>
          </a:xfrm>
          <a:prstGeom prst="ellipse">
            <a:avLst/>
          </a:prstGeom>
          <a:solidFill>
            <a:schemeClr val="accent1">
              <a:lumMod val="100000"/>
            </a:schemeClr>
          </a:solidFill>
          <a:ln>
            <a:noFill/>
          </a:ln>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FFFFFF"/>
              </a:solidFill>
              <a:effectLst/>
              <a:uLnTx/>
              <a:uFillTx/>
              <a:latin typeface="Arial"/>
              <a:cs typeface="+mn-ea"/>
              <a:sym typeface="+mn-lt"/>
            </a:endParaRPr>
          </a:p>
        </p:txBody>
      </p:sp>
      <p:sp>
        <p:nvSpPr>
          <p:cNvPr id="7" name="Shape 51">
            <a:extLst>
              <a:ext uri="{FF2B5EF4-FFF2-40B4-BE49-F238E27FC236}">
                <a16:creationId xmlns:a16="http://schemas.microsoft.com/office/drawing/2014/main" id="{B766BBFA-0155-4EFA-8DE9-CF12EA69C25C}"/>
              </a:ext>
            </a:extLst>
          </p:cNvPr>
          <p:cNvSpPr>
            <a:spLocks/>
          </p:cNvSpPr>
          <p:nvPr/>
        </p:nvSpPr>
        <p:spPr bwMode="auto">
          <a:xfrm>
            <a:off x="7967287" y="1888062"/>
            <a:ext cx="2994797" cy="3081171"/>
          </a:xfrm>
          <a:custGeom>
            <a:avLst/>
            <a:gdLst>
              <a:gd name="T0" fmla="*/ 2147483646 w 21600"/>
              <a:gd name="T1" fmla="*/ 2147483646 h 21600"/>
              <a:gd name="T2" fmla="*/ 2147483646 w 21600"/>
              <a:gd name="T3" fmla="*/ 2147483646 h 21600"/>
              <a:gd name="T4" fmla="*/ 2147483646 w 21600"/>
              <a:gd name="T5" fmla="*/ 2147483646 h 21600"/>
              <a:gd name="T6" fmla="*/ 2147483646 w 21600"/>
              <a:gd name="T7" fmla="*/ 2147483646 h 21600"/>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21600" h="21600" extrusionOk="0">
                <a:moveTo>
                  <a:pt x="217" y="21600"/>
                </a:moveTo>
                <a:lnTo>
                  <a:pt x="11675" y="21600"/>
                </a:lnTo>
                <a:lnTo>
                  <a:pt x="21600" y="10807"/>
                </a:lnTo>
                <a:lnTo>
                  <a:pt x="11426" y="0"/>
                </a:lnTo>
                <a:lnTo>
                  <a:pt x="0" y="0"/>
                </a:lnTo>
                <a:lnTo>
                  <a:pt x="10285" y="10845"/>
                </a:lnTo>
                <a:lnTo>
                  <a:pt x="217" y="21600"/>
                </a:lnTo>
                <a:close/>
              </a:path>
            </a:pathLst>
          </a:custGeom>
          <a:solidFill>
            <a:schemeClr val="accent1">
              <a:lumMod val="60000"/>
              <a:lumOff val="40000"/>
            </a:schemeClr>
          </a:solidFill>
          <a:ln>
            <a:noFill/>
          </a:ln>
        </p:spPr>
        <p:txBody>
          <a:bodyPr lIns="25400" tIns="25400" rIns="25400" bIns="254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500" b="0" i="0" u="none" strike="noStrike" kern="1200" cap="none" spc="0" normalizeH="0" baseline="0" noProof="0">
              <a:ln>
                <a:noFill/>
              </a:ln>
              <a:solidFill>
                <a:srgbClr val="000000"/>
              </a:solidFill>
              <a:effectLst/>
              <a:uLnTx/>
              <a:uFillTx/>
              <a:latin typeface="Arial"/>
              <a:cs typeface="+mn-ea"/>
              <a:sym typeface="+mn-lt"/>
            </a:endParaRPr>
          </a:p>
        </p:txBody>
      </p:sp>
      <p:sp>
        <p:nvSpPr>
          <p:cNvPr id="8" name="Shape 52">
            <a:extLst>
              <a:ext uri="{FF2B5EF4-FFF2-40B4-BE49-F238E27FC236}">
                <a16:creationId xmlns:a16="http://schemas.microsoft.com/office/drawing/2014/main" id="{BDEB65B2-3E8B-4E01-A885-542DDA7316CD}"/>
              </a:ext>
            </a:extLst>
          </p:cNvPr>
          <p:cNvSpPr>
            <a:spLocks/>
          </p:cNvSpPr>
          <p:nvPr/>
        </p:nvSpPr>
        <p:spPr bwMode="auto">
          <a:xfrm>
            <a:off x="1229915" y="1880423"/>
            <a:ext cx="1430869" cy="3087083"/>
          </a:xfrm>
          <a:custGeom>
            <a:avLst/>
            <a:gdLst>
              <a:gd name="T0" fmla="*/ 2147483646 w 21600"/>
              <a:gd name="T1" fmla="*/ 2147483646 h 21600"/>
              <a:gd name="T2" fmla="*/ 2147483646 w 21600"/>
              <a:gd name="T3" fmla="*/ 2147483646 h 21600"/>
              <a:gd name="T4" fmla="*/ 2147483646 w 21600"/>
              <a:gd name="T5" fmla="*/ 2147483646 h 21600"/>
              <a:gd name="T6" fmla="*/ 2147483646 w 21600"/>
              <a:gd name="T7" fmla="*/ 2147483646 h 21600"/>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21600" h="21600" extrusionOk="0">
                <a:moveTo>
                  <a:pt x="21600" y="10843"/>
                </a:moveTo>
                <a:lnTo>
                  <a:pt x="0" y="0"/>
                </a:lnTo>
                <a:lnTo>
                  <a:pt x="5646" y="10843"/>
                </a:lnTo>
                <a:lnTo>
                  <a:pt x="650" y="21600"/>
                </a:lnTo>
                <a:lnTo>
                  <a:pt x="21600" y="10843"/>
                </a:lnTo>
                <a:close/>
              </a:path>
            </a:pathLst>
          </a:custGeom>
          <a:solidFill>
            <a:schemeClr val="accent1">
              <a:lumMod val="60000"/>
              <a:lumOff val="40000"/>
            </a:schemeClr>
          </a:solidFill>
          <a:ln>
            <a:noFill/>
          </a:ln>
        </p:spPr>
        <p:txBody>
          <a:bodyPr lIns="25400" tIns="25400" rIns="25400" bIns="254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500" b="0" i="0" u="none" strike="noStrike" kern="1200" cap="none" spc="0" normalizeH="0" baseline="0" noProof="0">
              <a:ln>
                <a:noFill/>
              </a:ln>
              <a:solidFill>
                <a:srgbClr val="000000"/>
              </a:solidFill>
              <a:effectLst/>
              <a:uLnTx/>
              <a:uFillTx/>
              <a:latin typeface="Arial"/>
              <a:cs typeface="+mn-ea"/>
              <a:sym typeface="+mn-lt"/>
            </a:endParaRPr>
          </a:p>
        </p:txBody>
      </p:sp>
      <p:sp>
        <p:nvSpPr>
          <p:cNvPr id="9" name="Shape 53">
            <a:extLst>
              <a:ext uri="{FF2B5EF4-FFF2-40B4-BE49-F238E27FC236}">
                <a16:creationId xmlns:a16="http://schemas.microsoft.com/office/drawing/2014/main" id="{59D31079-C8F0-4A88-A265-D0572A9F30B1}"/>
              </a:ext>
            </a:extLst>
          </p:cNvPr>
          <p:cNvSpPr>
            <a:spLocks/>
          </p:cNvSpPr>
          <p:nvPr/>
        </p:nvSpPr>
        <p:spPr bwMode="auto">
          <a:xfrm>
            <a:off x="7960937" y="1885138"/>
            <a:ext cx="2994797" cy="1546970"/>
          </a:xfrm>
          <a:custGeom>
            <a:avLst/>
            <a:gdLst>
              <a:gd name="T0" fmla="*/ 2147483646 w 21600"/>
              <a:gd name="T1" fmla="*/ 2147483646 h 21600"/>
              <a:gd name="T2" fmla="*/ 2147483646 w 21600"/>
              <a:gd name="T3" fmla="*/ 2147483646 h 21600"/>
              <a:gd name="T4" fmla="*/ 2147483646 w 21600"/>
              <a:gd name="T5" fmla="*/ 2147483646 h 21600"/>
              <a:gd name="T6" fmla="*/ 2147483646 w 21600"/>
              <a:gd name="T7" fmla="*/ 2147483646 h 21600"/>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21600" h="21600" extrusionOk="0">
                <a:moveTo>
                  <a:pt x="21600" y="21524"/>
                </a:moveTo>
                <a:lnTo>
                  <a:pt x="11426" y="0"/>
                </a:lnTo>
                <a:lnTo>
                  <a:pt x="0" y="0"/>
                </a:lnTo>
                <a:lnTo>
                  <a:pt x="10285" y="21600"/>
                </a:lnTo>
                <a:lnTo>
                  <a:pt x="21600" y="21524"/>
                </a:lnTo>
                <a:close/>
              </a:path>
            </a:pathLst>
          </a:custGeom>
          <a:solidFill>
            <a:schemeClr val="accent1">
              <a:lumMod val="40000"/>
              <a:lumOff val="60000"/>
            </a:schemeClr>
          </a:solidFill>
          <a:ln>
            <a:noFill/>
          </a:ln>
        </p:spPr>
        <p:txBody>
          <a:bodyPr lIns="25400" tIns="25400" rIns="25400" bIns="254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500" b="0" i="0" u="none" strike="noStrike" kern="1200" cap="none" spc="0" normalizeH="0" baseline="0" noProof="0">
              <a:ln>
                <a:noFill/>
              </a:ln>
              <a:solidFill>
                <a:srgbClr val="000000"/>
              </a:solidFill>
              <a:effectLst/>
              <a:uLnTx/>
              <a:uFillTx/>
              <a:latin typeface="Arial"/>
              <a:cs typeface="+mn-ea"/>
              <a:sym typeface="+mn-lt"/>
            </a:endParaRPr>
          </a:p>
        </p:txBody>
      </p:sp>
      <p:sp>
        <p:nvSpPr>
          <p:cNvPr id="10" name="Shape 54">
            <a:extLst>
              <a:ext uri="{FF2B5EF4-FFF2-40B4-BE49-F238E27FC236}">
                <a16:creationId xmlns:a16="http://schemas.microsoft.com/office/drawing/2014/main" id="{4F7CEA11-426A-408B-B6E6-F4FCFE29C373}"/>
              </a:ext>
            </a:extLst>
          </p:cNvPr>
          <p:cNvSpPr>
            <a:spLocks/>
          </p:cNvSpPr>
          <p:nvPr/>
        </p:nvSpPr>
        <p:spPr bwMode="auto">
          <a:xfrm>
            <a:off x="1229915" y="1883744"/>
            <a:ext cx="1430869" cy="1549758"/>
          </a:xfrm>
          <a:custGeom>
            <a:avLst/>
            <a:gdLst>
              <a:gd name="T0" fmla="*/ 2147483646 w 21600"/>
              <a:gd name="T1" fmla="*/ 2147483646 h 21600"/>
              <a:gd name="T2" fmla="*/ 2147483646 w 21600"/>
              <a:gd name="T3" fmla="*/ 2147483646 h 21600"/>
              <a:gd name="T4" fmla="*/ 2147483646 w 21600"/>
              <a:gd name="T5" fmla="*/ 2147483646 h 21600"/>
              <a:gd name="T6" fmla="*/ 2147483646 w 21600"/>
              <a:gd name="T7" fmla="*/ 2147483646 h 21600"/>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21600" h="21600" extrusionOk="0">
                <a:moveTo>
                  <a:pt x="21600" y="21599"/>
                </a:moveTo>
                <a:lnTo>
                  <a:pt x="0" y="0"/>
                </a:lnTo>
                <a:lnTo>
                  <a:pt x="5646" y="21600"/>
                </a:lnTo>
                <a:lnTo>
                  <a:pt x="21600" y="21599"/>
                </a:lnTo>
                <a:close/>
              </a:path>
            </a:pathLst>
          </a:custGeom>
          <a:solidFill>
            <a:schemeClr val="accent1">
              <a:lumMod val="40000"/>
              <a:lumOff val="60000"/>
            </a:schemeClr>
          </a:solidFill>
          <a:ln>
            <a:noFill/>
          </a:ln>
        </p:spPr>
        <p:txBody>
          <a:bodyPr lIns="25400" tIns="25400" rIns="25400" bIns="254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500" b="0" i="0" u="none" strike="noStrike" kern="1200" cap="none" spc="0" normalizeH="0" baseline="0" noProof="0">
              <a:ln>
                <a:noFill/>
              </a:ln>
              <a:solidFill>
                <a:srgbClr val="000000"/>
              </a:solidFill>
              <a:effectLst/>
              <a:uLnTx/>
              <a:uFillTx/>
              <a:latin typeface="Arial"/>
              <a:cs typeface="+mn-ea"/>
              <a:sym typeface="+mn-lt"/>
            </a:endParaRPr>
          </a:p>
        </p:txBody>
      </p:sp>
      <p:sp>
        <p:nvSpPr>
          <p:cNvPr id="11" name="Shape 55">
            <a:extLst>
              <a:ext uri="{FF2B5EF4-FFF2-40B4-BE49-F238E27FC236}">
                <a16:creationId xmlns:a16="http://schemas.microsoft.com/office/drawing/2014/main" id="{278755C5-8E07-46E6-AB0D-C330369E4647}"/>
              </a:ext>
            </a:extLst>
          </p:cNvPr>
          <p:cNvSpPr>
            <a:spLocks noChangeArrowheads="1"/>
          </p:cNvSpPr>
          <p:nvPr/>
        </p:nvSpPr>
        <p:spPr bwMode="auto">
          <a:xfrm>
            <a:off x="3869958" y="4020028"/>
            <a:ext cx="1860071" cy="1860072"/>
          </a:xfrm>
          <a:prstGeom prst="ellipse">
            <a:avLst/>
          </a:prstGeom>
          <a:solidFill>
            <a:schemeClr val="accent1">
              <a:lumMod val="100000"/>
            </a:schemeClr>
          </a:solidFill>
          <a:ln>
            <a:noFill/>
          </a:ln>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FFFFFF"/>
              </a:solidFill>
              <a:effectLst/>
              <a:uLnTx/>
              <a:uFillTx/>
              <a:latin typeface="Arial"/>
              <a:cs typeface="+mn-ea"/>
              <a:sym typeface="+mn-lt"/>
            </a:endParaRPr>
          </a:p>
        </p:txBody>
      </p:sp>
      <p:sp>
        <p:nvSpPr>
          <p:cNvPr id="12" name="Shape 56">
            <a:extLst>
              <a:ext uri="{FF2B5EF4-FFF2-40B4-BE49-F238E27FC236}">
                <a16:creationId xmlns:a16="http://schemas.microsoft.com/office/drawing/2014/main" id="{4F0AA214-EABF-469F-962D-8D03830ACAB7}"/>
              </a:ext>
            </a:extLst>
          </p:cNvPr>
          <p:cNvSpPr>
            <a:spLocks noChangeShapeType="1"/>
          </p:cNvSpPr>
          <p:nvPr/>
        </p:nvSpPr>
        <p:spPr bwMode="auto">
          <a:xfrm flipV="1">
            <a:off x="6715680" y="3419246"/>
            <a:ext cx="1432134" cy="1586117"/>
          </a:xfrm>
          <a:prstGeom prst="line">
            <a:avLst/>
          </a:prstGeom>
          <a:noFill/>
          <a:ln w="165100">
            <a:solidFill>
              <a:schemeClr val="accent1">
                <a:lumMod val="40000"/>
                <a:lumOff val="60000"/>
              </a:schemeClr>
            </a:solidFill>
            <a:miter lim="400000"/>
            <a:headEnd/>
            <a:tailEnd/>
          </a:ln>
          <a:extLst>
            <a:ext uri="{909E8E84-426E-40DD-AFC4-6F175D3DCCD1}">
              <a14:hiddenFill xmlns:a14="http://schemas.microsoft.com/office/drawing/2010/main">
                <a:noFill/>
              </a14:hiddenFill>
            </a:ext>
          </a:extLst>
        </p:spPr>
        <p:txBody>
          <a:bodyPr lIns="25400" tIns="25400" rIns="25400" bIns="254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500" b="0" i="0" u="none" strike="noStrike" kern="1200" cap="none" spc="0" normalizeH="0" baseline="0" noProof="0">
              <a:ln>
                <a:noFill/>
              </a:ln>
              <a:solidFill>
                <a:srgbClr val="000000"/>
              </a:solidFill>
              <a:effectLst/>
              <a:uLnTx/>
              <a:uFillTx/>
              <a:latin typeface="Arial"/>
              <a:cs typeface="+mn-ea"/>
              <a:sym typeface="+mn-lt"/>
            </a:endParaRPr>
          </a:p>
        </p:txBody>
      </p:sp>
      <p:sp>
        <p:nvSpPr>
          <p:cNvPr id="13" name="Shape 57">
            <a:extLst>
              <a:ext uri="{FF2B5EF4-FFF2-40B4-BE49-F238E27FC236}">
                <a16:creationId xmlns:a16="http://schemas.microsoft.com/office/drawing/2014/main" id="{35D7AE14-9E9F-4A79-868C-D449D62C4AD6}"/>
              </a:ext>
            </a:extLst>
          </p:cNvPr>
          <p:cNvSpPr>
            <a:spLocks noChangeArrowheads="1"/>
          </p:cNvSpPr>
          <p:nvPr/>
        </p:nvSpPr>
        <p:spPr bwMode="auto">
          <a:xfrm>
            <a:off x="6165405" y="3964195"/>
            <a:ext cx="1624293" cy="1624295"/>
          </a:xfrm>
          <a:prstGeom prst="ellipse">
            <a:avLst/>
          </a:prstGeom>
          <a:solidFill>
            <a:schemeClr val="accent1">
              <a:lumMod val="100000"/>
            </a:schemeClr>
          </a:solidFill>
          <a:ln>
            <a:noFill/>
          </a:ln>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FFFFFF"/>
              </a:solidFill>
              <a:effectLst/>
              <a:uLnTx/>
              <a:uFillTx/>
              <a:latin typeface="Arial"/>
              <a:cs typeface="+mn-ea"/>
              <a:sym typeface="+mn-lt"/>
            </a:endParaRPr>
          </a:p>
        </p:txBody>
      </p:sp>
      <p:sp>
        <p:nvSpPr>
          <p:cNvPr id="14" name="Shape 58">
            <a:extLst>
              <a:ext uri="{FF2B5EF4-FFF2-40B4-BE49-F238E27FC236}">
                <a16:creationId xmlns:a16="http://schemas.microsoft.com/office/drawing/2014/main" id="{44CEB084-91B6-4A68-989B-28052DCBB66D}"/>
              </a:ext>
            </a:extLst>
          </p:cNvPr>
          <p:cNvSpPr>
            <a:spLocks noChangeShapeType="1"/>
          </p:cNvSpPr>
          <p:nvPr/>
        </p:nvSpPr>
        <p:spPr bwMode="auto">
          <a:xfrm flipH="1" flipV="1">
            <a:off x="2453342" y="2002293"/>
            <a:ext cx="1302199" cy="1447247"/>
          </a:xfrm>
          <a:prstGeom prst="line">
            <a:avLst/>
          </a:prstGeom>
          <a:noFill/>
          <a:ln w="165100">
            <a:solidFill>
              <a:schemeClr val="accent1">
                <a:lumMod val="40000"/>
                <a:lumOff val="60000"/>
              </a:schemeClr>
            </a:solidFill>
            <a:miter lim="400000"/>
            <a:headEnd/>
            <a:tailEnd/>
          </a:ln>
          <a:extLst>
            <a:ext uri="{909E8E84-426E-40DD-AFC4-6F175D3DCCD1}">
              <a14:hiddenFill xmlns:a14="http://schemas.microsoft.com/office/drawing/2010/main">
                <a:noFill/>
              </a14:hiddenFill>
            </a:ext>
          </a:extLst>
        </p:spPr>
        <p:txBody>
          <a:bodyPr lIns="25400" tIns="25400" rIns="25400" bIns="254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500" b="0" i="0" u="none" strike="noStrike" kern="1200" cap="none" spc="0" normalizeH="0" baseline="0" noProof="0">
              <a:ln>
                <a:noFill/>
              </a:ln>
              <a:solidFill>
                <a:srgbClr val="000000"/>
              </a:solidFill>
              <a:effectLst/>
              <a:uLnTx/>
              <a:uFillTx/>
              <a:latin typeface="Arial"/>
              <a:cs typeface="+mn-ea"/>
              <a:sym typeface="+mn-lt"/>
            </a:endParaRPr>
          </a:p>
        </p:txBody>
      </p:sp>
      <p:sp>
        <p:nvSpPr>
          <p:cNvPr id="15" name="Shape 59">
            <a:extLst>
              <a:ext uri="{FF2B5EF4-FFF2-40B4-BE49-F238E27FC236}">
                <a16:creationId xmlns:a16="http://schemas.microsoft.com/office/drawing/2014/main" id="{D02F81A7-6B93-402A-A1C0-B555223049A7}"/>
              </a:ext>
            </a:extLst>
          </p:cNvPr>
          <p:cNvSpPr>
            <a:spLocks noChangeShapeType="1"/>
          </p:cNvSpPr>
          <p:nvPr/>
        </p:nvSpPr>
        <p:spPr bwMode="auto">
          <a:xfrm>
            <a:off x="4484684" y="1840992"/>
            <a:ext cx="1426953" cy="1594071"/>
          </a:xfrm>
          <a:prstGeom prst="line">
            <a:avLst/>
          </a:prstGeom>
          <a:noFill/>
          <a:ln w="165100">
            <a:solidFill>
              <a:schemeClr val="accent1">
                <a:lumMod val="40000"/>
                <a:lumOff val="60000"/>
              </a:schemeClr>
            </a:solidFill>
            <a:miter lim="400000"/>
            <a:headEnd/>
            <a:tailEnd/>
          </a:ln>
          <a:extLst>
            <a:ext uri="{909E8E84-426E-40DD-AFC4-6F175D3DCCD1}">
              <a14:hiddenFill xmlns:a14="http://schemas.microsoft.com/office/drawing/2010/main">
                <a:noFill/>
              </a14:hiddenFill>
            </a:ext>
          </a:extLst>
        </p:spPr>
        <p:txBody>
          <a:bodyPr lIns="25400" tIns="25400" rIns="25400" bIns="254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500" b="0" i="0" u="none" strike="noStrike" kern="1200" cap="none" spc="0" normalizeH="0" baseline="0" noProof="0">
              <a:ln>
                <a:noFill/>
              </a:ln>
              <a:solidFill>
                <a:srgbClr val="000000"/>
              </a:solidFill>
              <a:effectLst/>
              <a:uLnTx/>
              <a:uFillTx/>
              <a:latin typeface="Arial"/>
              <a:cs typeface="+mn-ea"/>
              <a:sym typeface="+mn-lt"/>
            </a:endParaRPr>
          </a:p>
        </p:txBody>
      </p:sp>
      <p:sp>
        <p:nvSpPr>
          <p:cNvPr id="16" name="Shape 60">
            <a:extLst>
              <a:ext uri="{FF2B5EF4-FFF2-40B4-BE49-F238E27FC236}">
                <a16:creationId xmlns:a16="http://schemas.microsoft.com/office/drawing/2014/main" id="{8A22FA93-B704-4A4F-B75B-17A5F932FBA0}"/>
              </a:ext>
            </a:extLst>
          </p:cNvPr>
          <p:cNvSpPr>
            <a:spLocks noChangeShapeType="1"/>
          </p:cNvSpPr>
          <p:nvPr/>
        </p:nvSpPr>
        <p:spPr bwMode="auto">
          <a:xfrm>
            <a:off x="6709234" y="1885648"/>
            <a:ext cx="1440687" cy="1548786"/>
          </a:xfrm>
          <a:prstGeom prst="line">
            <a:avLst/>
          </a:prstGeom>
          <a:noFill/>
          <a:ln w="165100">
            <a:solidFill>
              <a:schemeClr val="accent1">
                <a:lumMod val="40000"/>
                <a:lumOff val="60000"/>
              </a:schemeClr>
            </a:solidFill>
            <a:miter lim="400000"/>
            <a:headEnd/>
            <a:tailEnd/>
          </a:ln>
          <a:extLst>
            <a:ext uri="{909E8E84-426E-40DD-AFC4-6F175D3DCCD1}">
              <a14:hiddenFill xmlns:a14="http://schemas.microsoft.com/office/drawing/2010/main">
                <a:noFill/>
              </a14:hiddenFill>
            </a:ext>
          </a:extLst>
        </p:spPr>
        <p:txBody>
          <a:bodyPr lIns="25400" tIns="25400" rIns="25400" bIns="254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500" b="0" i="0" u="none" strike="noStrike" kern="1200" cap="none" spc="0" normalizeH="0" baseline="0" noProof="0">
              <a:ln>
                <a:noFill/>
              </a:ln>
              <a:solidFill>
                <a:srgbClr val="000000"/>
              </a:solidFill>
              <a:effectLst/>
              <a:uLnTx/>
              <a:uFillTx/>
              <a:latin typeface="Arial"/>
              <a:cs typeface="+mn-ea"/>
              <a:sym typeface="+mn-lt"/>
            </a:endParaRPr>
          </a:p>
        </p:txBody>
      </p:sp>
      <p:sp>
        <p:nvSpPr>
          <p:cNvPr id="17" name="Shape 61">
            <a:extLst>
              <a:ext uri="{FF2B5EF4-FFF2-40B4-BE49-F238E27FC236}">
                <a16:creationId xmlns:a16="http://schemas.microsoft.com/office/drawing/2014/main" id="{44A50BAB-7F95-4EF2-9FC0-2A1612001D87}"/>
              </a:ext>
            </a:extLst>
          </p:cNvPr>
          <p:cNvSpPr>
            <a:spLocks noChangeArrowheads="1"/>
          </p:cNvSpPr>
          <p:nvPr/>
        </p:nvSpPr>
        <p:spPr bwMode="auto">
          <a:xfrm>
            <a:off x="2195511" y="1680463"/>
            <a:ext cx="1236242" cy="1236244"/>
          </a:xfrm>
          <a:prstGeom prst="ellipse">
            <a:avLst/>
          </a:prstGeom>
          <a:solidFill>
            <a:schemeClr val="accent1">
              <a:lumMod val="100000"/>
            </a:schemeClr>
          </a:solidFill>
          <a:ln>
            <a:noFill/>
          </a:ln>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FFFFFF"/>
              </a:solidFill>
              <a:effectLst/>
              <a:uLnTx/>
              <a:uFillTx/>
              <a:latin typeface="Arial"/>
              <a:cs typeface="+mn-ea"/>
              <a:sym typeface="+mn-lt"/>
            </a:endParaRPr>
          </a:p>
        </p:txBody>
      </p:sp>
      <p:sp>
        <p:nvSpPr>
          <p:cNvPr id="18" name="Shape 62">
            <a:extLst>
              <a:ext uri="{FF2B5EF4-FFF2-40B4-BE49-F238E27FC236}">
                <a16:creationId xmlns:a16="http://schemas.microsoft.com/office/drawing/2014/main" id="{FEBF8689-05AC-4FD7-8BDD-04BA9AB188C5}"/>
              </a:ext>
            </a:extLst>
          </p:cNvPr>
          <p:cNvSpPr>
            <a:spLocks noChangeArrowheads="1"/>
          </p:cNvSpPr>
          <p:nvPr/>
        </p:nvSpPr>
        <p:spPr bwMode="auto">
          <a:xfrm>
            <a:off x="3867129" y="977899"/>
            <a:ext cx="1860070" cy="1860072"/>
          </a:xfrm>
          <a:prstGeom prst="ellipse">
            <a:avLst/>
          </a:prstGeom>
          <a:solidFill>
            <a:schemeClr val="accent1">
              <a:lumMod val="100000"/>
            </a:schemeClr>
          </a:solidFill>
          <a:ln>
            <a:noFill/>
          </a:ln>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FFFFFF"/>
              </a:solidFill>
              <a:effectLst/>
              <a:uLnTx/>
              <a:uFillTx/>
              <a:latin typeface="Arial"/>
              <a:cs typeface="+mn-ea"/>
              <a:sym typeface="+mn-lt"/>
            </a:endParaRPr>
          </a:p>
        </p:txBody>
      </p:sp>
      <p:sp>
        <p:nvSpPr>
          <p:cNvPr id="19" name="Shape 63">
            <a:extLst>
              <a:ext uri="{FF2B5EF4-FFF2-40B4-BE49-F238E27FC236}">
                <a16:creationId xmlns:a16="http://schemas.microsoft.com/office/drawing/2014/main" id="{3291AF69-9A8A-40CC-A8E0-F16CFD1B834D}"/>
              </a:ext>
            </a:extLst>
          </p:cNvPr>
          <p:cNvSpPr>
            <a:spLocks noChangeArrowheads="1"/>
          </p:cNvSpPr>
          <p:nvPr/>
        </p:nvSpPr>
        <p:spPr bwMode="auto">
          <a:xfrm>
            <a:off x="6162576" y="1264977"/>
            <a:ext cx="1624293" cy="1624295"/>
          </a:xfrm>
          <a:prstGeom prst="ellipse">
            <a:avLst/>
          </a:prstGeom>
          <a:solidFill>
            <a:schemeClr val="accent1">
              <a:lumMod val="100000"/>
            </a:schemeClr>
          </a:solidFill>
          <a:ln>
            <a:noFill/>
          </a:ln>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FFFFFF"/>
              </a:solidFill>
              <a:effectLst/>
              <a:uLnTx/>
              <a:uFillTx/>
              <a:latin typeface="Arial"/>
              <a:cs typeface="+mn-ea"/>
              <a:sym typeface="+mn-lt"/>
            </a:endParaRPr>
          </a:p>
        </p:txBody>
      </p:sp>
      <p:sp>
        <p:nvSpPr>
          <p:cNvPr id="20" name="Shape 64">
            <a:extLst>
              <a:ext uri="{FF2B5EF4-FFF2-40B4-BE49-F238E27FC236}">
                <a16:creationId xmlns:a16="http://schemas.microsoft.com/office/drawing/2014/main" id="{71ED46B9-0F76-415A-9CEE-B5575986B48D}"/>
              </a:ext>
            </a:extLst>
          </p:cNvPr>
          <p:cNvSpPr>
            <a:spLocks noChangeArrowheads="1"/>
          </p:cNvSpPr>
          <p:nvPr/>
        </p:nvSpPr>
        <p:spPr bwMode="auto">
          <a:xfrm>
            <a:off x="3441527" y="3214777"/>
            <a:ext cx="431814" cy="431814"/>
          </a:xfrm>
          <a:prstGeom prst="ellipse">
            <a:avLst/>
          </a:prstGeom>
          <a:solidFill>
            <a:srgbClr val="FFFFFF"/>
          </a:solidFill>
          <a:ln w="63500">
            <a:solidFill>
              <a:schemeClr val="accent1">
                <a:lumMod val="100000"/>
              </a:schemeClr>
            </a:solidFill>
            <a:miter lim="400000"/>
            <a:headEnd/>
            <a:tailEnd/>
          </a:ln>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FFFFFF"/>
              </a:solidFill>
              <a:effectLst/>
              <a:uLnTx/>
              <a:uFillTx/>
              <a:latin typeface="Arial"/>
              <a:cs typeface="+mn-ea"/>
              <a:sym typeface="+mn-lt"/>
            </a:endParaRPr>
          </a:p>
        </p:txBody>
      </p:sp>
      <p:sp>
        <p:nvSpPr>
          <p:cNvPr id="21" name="Shape 65">
            <a:extLst>
              <a:ext uri="{FF2B5EF4-FFF2-40B4-BE49-F238E27FC236}">
                <a16:creationId xmlns:a16="http://schemas.microsoft.com/office/drawing/2014/main" id="{EAEB59B1-2908-48E5-A42F-C8B9923F3E30}"/>
              </a:ext>
            </a:extLst>
          </p:cNvPr>
          <p:cNvSpPr>
            <a:spLocks noChangeArrowheads="1"/>
          </p:cNvSpPr>
          <p:nvPr/>
        </p:nvSpPr>
        <p:spPr bwMode="auto">
          <a:xfrm>
            <a:off x="3476228" y="3308759"/>
            <a:ext cx="362744" cy="2436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lgn="ctr">
              <a:defRPr sz="2500" cap="all">
                <a:solidFill>
                  <a:srgbClr val="344245"/>
                </a:solidFill>
                <a:latin typeface="Open Sans Semibold"/>
                <a:ea typeface="Open Sans Semibold"/>
                <a:cs typeface="Open Sans Semibold"/>
                <a:sym typeface="Open Sans Semibold"/>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sz="1250" b="1" i="0" u="none" strike="noStrike" kern="0" cap="all" spc="0" normalizeH="0" baseline="0" noProof="0" dirty="0">
                <a:ln>
                  <a:noFill/>
                </a:ln>
                <a:solidFill>
                  <a:schemeClr val="accent1"/>
                </a:solidFill>
                <a:effectLst/>
                <a:uLnTx/>
                <a:uFillTx/>
                <a:latin typeface="Arial"/>
                <a:ea typeface="+mn-ea"/>
                <a:cs typeface="+mn-ea"/>
                <a:sym typeface="+mn-lt"/>
              </a:rPr>
              <a:t>1</a:t>
            </a:r>
          </a:p>
        </p:txBody>
      </p:sp>
      <p:sp>
        <p:nvSpPr>
          <p:cNvPr id="22" name="Shape 66">
            <a:extLst>
              <a:ext uri="{FF2B5EF4-FFF2-40B4-BE49-F238E27FC236}">
                <a16:creationId xmlns:a16="http://schemas.microsoft.com/office/drawing/2014/main" id="{AFF7E9C2-DFD1-485F-92E3-EE36605069EC}"/>
              </a:ext>
            </a:extLst>
          </p:cNvPr>
          <p:cNvSpPr>
            <a:spLocks noChangeArrowheads="1"/>
          </p:cNvSpPr>
          <p:nvPr/>
        </p:nvSpPr>
        <p:spPr bwMode="auto">
          <a:xfrm>
            <a:off x="5562033" y="3214777"/>
            <a:ext cx="431814" cy="431814"/>
          </a:xfrm>
          <a:prstGeom prst="ellipse">
            <a:avLst/>
          </a:prstGeom>
          <a:solidFill>
            <a:srgbClr val="FFFFFF"/>
          </a:solidFill>
          <a:ln w="63500">
            <a:solidFill>
              <a:schemeClr val="accent1">
                <a:lumMod val="100000"/>
              </a:schemeClr>
            </a:solidFill>
            <a:miter lim="400000"/>
            <a:headEnd/>
            <a:tailEnd/>
          </a:ln>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FFFFFF"/>
              </a:solidFill>
              <a:effectLst/>
              <a:uLnTx/>
              <a:uFillTx/>
              <a:latin typeface="Arial"/>
              <a:cs typeface="+mn-ea"/>
              <a:sym typeface="+mn-lt"/>
            </a:endParaRPr>
          </a:p>
        </p:txBody>
      </p:sp>
      <p:sp>
        <p:nvSpPr>
          <p:cNvPr id="23" name="Shape 67">
            <a:extLst>
              <a:ext uri="{FF2B5EF4-FFF2-40B4-BE49-F238E27FC236}">
                <a16:creationId xmlns:a16="http://schemas.microsoft.com/office/drawing/2014/main" id="{709B8083-62FA-4011-8265-42181BA35BE8}"/>
              </a:ext>
            </a:extLst>
          </p:cNvPr>
          <p:cNvSpPr>
            <a:spLocks noChangeArrowheads="1"/>
          </p:cNvSpPr>
          <p:nvPr/>
        </p:nvSpPr>
        <p:spPr bwMode="auto">
          <a:xfrm>
            <a:off x="5596334" y="3308759"/>
            <a:ext cx="362744" cy="2436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lgn="ctr">
              <a:defRPr sz="2500" cap="all">
                <a:solidFill>
                  <a:srgbClr val="344245"/>
                </a:solidFill>
                <a:latin typeface="Open Sans Semibold"/>
                <a:ea typeface="Open Sans Semibold"/>
                <a:cs typeface="Open Sans Semibold"/>
                <a:sym typeface="Open Sans Semibold"/>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sz="1250" b="1" i="0" u="none" strike="noStrike" kern="0" cap="all" spc="0" normalizeH="0" baseline="0" noProof="0" dirty="0">
                <a:ln>
                  <a:noFill/>
                </a:ln>
                <a:solidFill>
                  <a:schemeClr val="accent1"/>
                </a:solidFill>
                <a:effectLst/>
                <a:uLnTx/>
                <a:uFillTx/>
                <a:latin typeface="Arial"/>
                <a:ea typeface="+mn-ea"/>
                <a:cs typeface="+mn-ea"/>
                <a:sym typeface="+mn-lt"/>
              </a:rPr>
              <a:t>2</a:t>
            </a:r>
          </a:p>
        </p:txBody>
      </p:sp>
      <p:sp>
        <p:nvSpPr>
          <p:cNvPr id="24" name="Shape 68">
            <a:extLst>
              <a:ext uri="{FF2B5EF4-FFF2-40B4-BE49-F238E27FC236}">
                <a16:creationId xmlns:a16="http://schemas.microsoft.com/office/drawing/2014/main" id="{547B5535-255B-4372-B368-CFA55AA815D8}"/>
              </a:ext>
            </a:extLst>
          </p:cNvPr>
          <p:cNvSpPr>
            <a:spLocks noChangeArrowheads="1"/>
          </p:cNvSpPr>
          <p:nvPr/>
        </p:nvSpPr>
        <p:spPr bwMode="auto">
          <a:xfrm>
            <a:off x="7810034" y="3214777"/>
            <a:ext cx="431814" cy="431814"/>
          </a:xfrm>
          <a:prstGeom prst="ellipse">
            <a:avLst/>
          </a:prstGeom>
          <a:solidFill>
            <a:srgbClr val="FFFFFF"/>
          </a:solidFill>
          <a:ln w="63500">
            <a:solidFill>
              <a:schemeClr val="accent1">
                <a:lumMod val="100000"/>
              </a:schemeClr>
            </a:solidFill>
            <a:miter lim="400000"/>
            <a:headEnd/>
            <a:tailEnd/>
          </a:ln>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FFFFFF"/>
              </a:solidFill>
              <a:effectLst/>
              <a:uLnTx/>
              <a:uFillTx/>
              <a:latin typeface="Arial"/>
              <a:cs typeface="+mn-ea"/>
              <a:sym typeface="+mn-lt"/>
            </a:endParaRPr>
          </a:p>
        </p:txBody>
      </p:sp>
      <p:sp>
        <p:nvSpPr>
          <p:cNvPr id="25" name="Shape 69">
            <a:extLst>
              <a:ext uri="{FF2B5EF4-FFF2-40B4-BE49-F238E27FC236}">
                <a16:creationId xmlns:a16="http://schemas.microsoft.com/office/drawing/2014/main" id="{19B4D1CB-1CA4-4213-9726-5B5D2E42F19A}"/>
              </a:ext>
            </a:extLst>
          </p:cNvPr>
          <p:cNvSpPr>
            <a:spLocks noChangeArrowheads="1"/>
          </p:cNvSpPr>
          <p:nvPr/>
        </p:nvSpPr>
        <p:spPr bwMode="auto">
          <a:xfrm>
            <a:off x="7845028" y="3308759"/>
            <a:ext cx="361950" cy="2436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lgn="ctr">
              <a:defRPr sz="2500" cap="all">
                <a:solidFill>
                  <a:srgbClr val="344245"/>
                </a:solidFill>
                <a:latin typeface="Open Sans Semibold"/>
                <a:ea typeface="Open Sans Semibold"/>
                <a:cs typeface="Open Sans Semibold"/>
                <a:sym typeface="Open Sans Semibold"/>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sz="1250" b="1" i="0" u="none" strike="noStrike" kern="0" cap="all" spc="0" normalizeH="0" baseline="0" noProof="0">
                <a:ln>
                  <a:noFill/>
                </a:ln>
                <a:solidFill>
                  <a:schemeClr val="accent1"/>
                </a:solidFill>
                <a:effectLst/>
                <a:uLnTx/>
                <a:uFillTx/>
                <a:latin typeface="Arial"/>
                <a:ea typeface="+mn-ea"/>
                <a:cs typeface="+mn-ea"/>
                <a:sym typeface="+mn-lt"/>
              </a:rPr>
              <a:t>3</a:t>
            </a:r>
          </a:p>
        </p:txBody>
      </p:sp>
      <p:sp>
        <p:nvSpPr>
          <p:cNvPr id="26" name="Shape 70">
            <a:extLst>
              <a:ext uri="{FF2B5EF4-FFF2-40B4-BE49-F238E27FC236}">
                <a16:creationId xmlns:a16="http://schemas.microsoft.com/office/drawing/2014/main" id="{5A64ABCF-A272-44DF-84E2-1B466E87E651}"/>
              </a:ext>
            </a:extLst>
          </p:cNvPr>
          <p:cNvSpPr>
            <a:spLocks noChangeArrowheads="1"/>
          </p:cNvSpPr>
          <p:nvPr/>
        </p:nvSpPr>
        <p:spPr bwMode="auto">
          <a:xfrm>
            <a:off x="4032333" y="1394481"/>
            <a:ext cx="1535322" cy="11285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altLang="ru-RU" sz="1000" b="0" i="0" u="none" strike="noStrike" kern="1200" cap="none" spc="0" normalizeH="0" baseline="0" noProof="0" dirty="0" err="1">
                <a:ln>
                  <a:noFill/>
                </a:ln>
                <a:solidFill>
                  <a:srgbClr val="FFFFFF"/>
                </a:solidFill>
                <a:effectLst/>
                <a:uLnTx/>
                <a:uFillTx/>
                <a:latin typeface="Arial"/>
                <a:cs typeface="+mn-ea"/>
                <a:sym typeface="+mn-lt"/>
              </a:rPr>
              <a:t>Lorem</a:t>
            </a:r>
            <a:r>
              <a:rPr kumimoji="0" lang="ru-RU" altLang="ru-RU" sz="1000" b="0" i="0" u="none" strike="noStrike" kern="1200" cap="none" spc="0" normalizeH="0" baseline="0" noProof="0" dirty="0">
                <a:ln>
                  <a:noFill/>
                </a:ln>
                <a:solidFill>
                  <a:srgbClr val="FFFFFF"/>
                </a:solidFill>
                <a:effectLst/>
                <a:uLnTx/>
                <a:uFillTx/>
                <a:latin typeface="Arial"/>
                <a:cs typeface="+mn-ea"/>
                <a:sym typeface="+mn-lt"/>
              </a:rPr>
              <a:t> </a:t>
            </a:r>
            <a:r>
              <a:rPr kumimoji="0" lang="ru-RU" altLang="ru-RU" sz="1000" b="0" i="0" u="none" strike="noStrike" kern="1200" cap="none" spc="0" normalizeH="0" baseline="0" noProof="0" dirty="0" err="1">
                <a:ln>
                  <a:noFill/>
                </a:ln>
                <a:solidFill>
                  <a:srgbClr val="FFFFFF"/>
                </a:solidFill>
                <a:effectLst/>
                <a:uLnTx/>
                <a:uFillTx/>
                <a:latin typeface="Arial"/>
                <a:cs typeface="+mn-ea"/>
                <a:sym typeface="+mn-lt"/>
              </a:rPr>
              <a:t>ipsum</a:t>
            </a:r>
            <a:r>
              <a:rPr kumimoji="0" lang="ru-RU" altLang="ru-RU" sz="1000" b="0" i="0" u="none" strike="noStrike" kern="1200" cap="none" spc="0" normalizeH="0" baseline="0" noProof="0" dirty="0">
                <a:ln>
                  <a:noFill/>
                </a:ln>
                <a:solidFill>
                  <a:srgbClr val="FFFFFF"/>
                </a:solidFill>
                <a:effectLst/>
                <a:uLnTx/>
                <a:uFillTx/>
                <a:latin typeface="Arial"/>
                <a:cs typeface="+mn-ea"/>
                <a:sym typeface="+mn-lt"/>
              </a:rPr>
              <a:t> </a:t>
            </a:r>
            <a:r>
              <a:rPr kumimoji="0" lang="ru-RU" altLang="ru-RU" sz="1000" b="0" i="0" u="none" strike="noStrike" kern="1200" cap="none" spc="0" normalizeH="0" baseline="0" noProof="0" dirty="0" err="1">
                <a:ln>
                  <a:noFill/>
                </a:ln>
                <a:solidFill>
                  <a:srgbClr val="FFFFFF"/>
                </a:solidFill>
                <a:effectLst/>
                <a:uLnTx/>
                <a:uFillTx/>
                <a:latin typeface="Arial"/>
                <a:cs typeface="+mn-ea"/>
                <a:sym typeface="+mn-lt"/>
              </a:rPr>
              <a:t>dolor</a:t>
            </a:r>
            <a:r>
              <a:rPr kumimoji="0" lang="ru-RU" altLang="ru-RU" sz="1000" b="0" i="0" u="none" strike="noStrike" kern="1200" cap="none" spc="0" normalizeH="0" baseline="0" noProof="0" dirty="0">
                <a:ln>
                  <a:noFill/>
                </a:ln>
                <a:solidFill>
                  <a:srgbClr val="FFFFFF"/>
                </a:solidFill>
                <a:effectLst/>
                <a:uLnTx/>
                <a:uFillTx/>
                <a:latin typeface="Arial"/>
                <a:cs typeface="+mn-ea"/>
                <a:sym typeface="+mn-lt"/>
              </a:rPr>
              <a:t> </a:t>
            </a:r>
            <a:r>
              <a:rPr kumimoji="0" lang="ru-RU" altLang="ru-RU" sz="1000" b="0" i="0" u="none" strike="noStrike" kern="1200" cap="none" spc="0" normalizeH="0" baseline="0" noProof="0" dirty="0" err="1">
                <a:ln>
                  <a:noFill/>
                </a:ln>
                <a:solidFill>
                  <a:srgbClr val="FFFFFF"/>
                </a:solidFill>
                <a:effectLst/>
                <a:uLnTx/>
                <a:uFillTx/>
                <a:latin typeface="Arial"/>
                <a:cs typeface="+mn-ea"/>
                <a:sym typeface="+mn-lt"/>
              </a:rPr>
              <a:t>sit</a:t>
            </a:r>
            <a:r>
              <a:rPr kumimoji="0" lang="ru-RU" altLang="ru-RU" sz="1000" b="0" i="0" u="none" strike="noStrike" kern="1200" cap="none" spc="0" normalizeH="0" baseline="0" noProof="0" dirty="0">
                <a:ln>
                  <a:noFill/>
                </a:ln>
                <a:solidFill>
                  <a:srgbClr val="FFFFFF"/>
                </a:solidFill>
                <a:effectLst/>
                <a:uLnTx/>
                <a:uFillTx/>
                <a:latin typeface="Arial"/>
                <a:cs typeface="+mn-ea"/>
                <a:sym typeface="+mn-lt"/>
              </a:rPr>
              <a:t> </a:t>
            </a:r>
            <a:r>
              <a:rPr kumimoji="0" lang="ru-RU" altLang="ru-RU" sz="1000" b="0" i="0" u="none" strike="noStrike" kern="1200" cap="none" spc="0" normalizeH="0" baseline="0" noProof="0" dirty="0" err="1">
                <a:ln>
                  <a:noFill/>
                </a:ln>
                <a:solidFill>
                  <a:srgbClr val="FFFFFF"/>
                </a:solidFill>
                <a:effectLst/>
                <a:uLnTx/>
                <a:uFillTx/>
                <a:latin typeface="Arial"/>
                <a:cs typeface="+mn-ea"/>
                <a:sym typeface="+mn-lt"/>
              </a:rPr>
              <a:t>amet</a:t>
            </a:r>
            <a:r>
              <a:rPr kumimoji="0" lang="ru-RU" altLang="ru-RU" sz="1000" b="0" i="0" u="none" strike="noStrike" kern="1200" cap="none" spc="0" normalizeH="0" baseline="0" noProof="0" dirty="0">
                <a:ln>
                  <a:noFill/>
                </a:ln>
                <a:solidFill>
                  <a:srgbClr val="FFFFFF"/>
                </a:solidFill>
                <a:effectLst/>
                <a:uLnTx/>
                <a:uFillTx/>
                <a:latin typeface="Arial"/>
                <a:cs typeface="+mn-ea"/>
                <a:sym typeface="+mn-lt"/>
              </a:rPr>
              <a:t>, </a:t>
            </a:r>
            <a:r>
              <a:rPr kumimoji="0" lang="ru-RU" altLang="ru-RU" sz="1000" b="0" i="0" u="none" strike="noStrike" kern="1200" cap="none" spc="0" normalizeH="0" baseline="0" noProof="0" dirty="0" err="1">
                <a:ln>
                  <a:noFill/>
                </a:ln>
                <a:solidFill>
                  <a:srgbClr val="FFFFFF"/>
                </a:solidFill>
                <a:effectLst/>
                <a:uLnTx/>
                <a:uFillTx/>
                <a:latin typeface="Arial"/>
                <a:cs typeface="+mn-ea"/>
                <a:sym typeface="+mn-lt"/>
              </a:rPr>
              <a:t>consectetuer</a:t>
            </a:r>
            <a:r>
              <a:rPr kumimoji="0" lang="ru-RU" altLang="ru-RU" sz="1000" b="0" i="0" u="none" strike="noStrike" kern="1200" cap="none" spc="0" normalizeH="0" baseline="0" noProof="0" dirty="0">
                <a:ln>
                  <a:noFill/>
                </a:ln>
                <a:solidFill>
                  <a:srgbClr val="FFFFFF"/>
                </a:solidFill>
                <a:effectLst/>
                <a:uLnTx/>
                <a:uFillTx/>
                <a:latin typeface="Arial"/>
                <a:cs typeface="+mn-ea"/>
                <a:sym typeface="+mn-lt"/>
              </a:rPr>
              <a:t> </a:t>
            </a:r>
            <a:r>
              <a:rPr kumimoji="0" lang="ru-RU" altLang="ru-RU" sz="1000" b="0" i="0" u="none" strike="noStrike" kern="1200" cap="none" spc="0" normalizeH="0" baseline="0" noProof="0" dirty="0" err="1">
                <a:ln>
                  <a:noFill/>
                </a:ln>
                <a:solidFill>
                  <a:srgbClr val="FFFFFF"/>
                </a:solidFill>
                <a:effectLst/>
                <a:uLnTx/>
                <a:uFillTx/>
                <a:latin typeface="Arial"/>
                <a:cs typeface="+mn-ea"/>
                <a:sym typeface="+mn-lt"/>
              </a:rPr>
              <a:t>adipiscing</a:t>
            </a:r>
            <a:r>
              <a:rPr kumimoji="0" lang="ru-RU" altLang="ru-RU" sz="1000" b="0" i="0" u="none" strike="noStrike" kern="1200" cap="none" spc="0" normalizeH="0" baseline="0" noProof="0" dirty="0">
                <a:ln>
                  <a:noFill/>
                </a:ln>
                <a:solidFill>
                  <a:srgbClr val="FFFFFF"/>
                </a:solidFill>
                <a:effectLst/>
                <a:uLnTx/>
                <a:uFillTx/>
                <a:latin typeface="Arial"/>
                <a:cs typeface="+mn-ea"/>
                <a:sym typeface="+mn-lt"/>
              </a:rPr>
              <a:t> </a:t>
            </a:r>
            <a:r>
              <a:rPr kumimoji="0" lang="ru-RU" altLang="ru-RU" sz="1000" b="0" i="0" u="none" strike="noStrike" kern="1200" cap="none" spc="0" normalizeH="0" baseline="0" noProof="0" dirty="0" err="1">
                <a:ln>
                  <a:noFill/>
                </a:ln>
                <a:solidFill>
                  <a:srgbClr val="FFFFFF"/>
                </a:solidFill>
                <a:effectLst/>
                <a:uLnTx/>
                <a:uFillTx/>
                <a:latin typeface="Arial"/>
                <a:cs typeface="+mn-ea"/>
                <a:sym typeface="+mn-lt"/>
              </a:rPr>
              <a:t>elit</a:t>
            </a:r>
            <a:r>
              <a:rPr kumimoji="0" lang="ru-RU" altLang="ru-RU" sz="1000" b="0" i="0" u="none" strike="noStrike" kern="1200" cap="none" spc="0" normalizeH="0" baseline="0" noProof="0" dirty="0">
                <a:ln>
                  <a:noFill/>
                </a:ln>
                <a:solidFill>
                  <a:srgbClr val="FFFFFF"/>
                </a:solidFill>
                <a:effectLst/>
                <a:uLnTx/>
                <a:uFillTx/>
                <a:latin typeface="Arial"/>
                <a:cs typeface="+mn-ea"/>
                <a:sym typeface="+mn-lt"/>
              </a:rPr>
              <a:t>, </a:t>
            </a:r>
            <a:r>
              <a:rPr kumimoji="0" lang="ru-RU" altLang="ru-RU" sz="1000" b="0" i="0" u="none" strike="noStrike" kern="1200" cap="none" spc="0" normalizeH="0" baseline="0" noProof="0" dirty="0" err="1">
                <a:ln>
                  <a:noFill/>
                </a:ln>
                <a:solidFill>
                  <a:srgbClr val="FFFFFF"/>
                </a:solidFill>
                <a:effectLst/>
                <a:uLnTx/>
                <a:uFillTx/>
                <a:latin typeface="Arial"/>
                <a:cs typeface="+mn-ea"/>
                <a:sym typeface="+mn-lt"/>
              </a:rPr>
              <a:t>sed</a:t>
            </a:r>
            <a:r>
              <a:rPr kumimoji="0" lang="ru-RU" altLang="ru-RU" sz="1000" b="0" i="0" u="none" strike="noStrike" kern="1200" cap="none" spc="0" normalizeH="0" baseline="0" noProof="0" dirty="0">
                <a:ln>
                  <a:noFill/>
                </a:ln>
                <a:solidFill>
                  <a:srgbClr val="FFFFFF"/>
                </a:solidFill>
                <a:effectLst/>
                <a:uLnTx/>
                <a:uFillTx/>
                <a:latin typeface="Arial"/>
                <a:cs typeface="+mn-ea"/>
                <a:sym typeface="+mn-lt"/>
              </a:rPr>
              <a:t> </a:t>
            </a:r>
            <a:r>
              <a:rPr kumimoji="0" lang="ru-RU" altLang="ru-RU" sz="1000" b="0" i="0" u="none" strike="noStrike" kern="1200" cap="none" spc="0" normalizeH="0" baseline="0" noProof="0" dirty="0" err="1">
                <a:ln>
                  <a:noFill/>
                </a:ln>
                <a:solidFill>
                  <a:srgbClr val="FFFFFF"/>
                </a:solidFill>
                <a:effectLst/>
                <a:uLnTx/>
                <a:uFillTx/>
                <a:latin typeface="Arial"/>
                <a:cs typeface="+mn-ea"/>
                <a:sym typeface="+mn-lt"/>
              </a:rPr>
              <a:t>diam</a:t>
            </a:r>
            <a:r>
              <a:rPr kumimoji="0" lang="ru-RU" altLang="ru-RU" sz="1000" b="0" i="0" u="none" strike="noStrike" kern="1200" cap="none" spc="0" normalizeH="0" baseline="0" noProof="0" dirty="0">
                <a:ln>
                  <a:noFill/>
                </a:ln>
                <a:solidFill>
                  <a:srgbClr val="FFFFFF"/>
                </a:solidFill>
                <a:effectLst/>
                <a:uLnTx/>
                <a:uFillTx/>
                <a:latin typeface="Arial"/>
                <a:cs typeface="+mn-ea"/>
                <a:sym typeface="+mn-lt"/>
              </a:rPr>
              <a:t> </a:t>
            </a:r>
            <a:r>
              <a:rPr kumimoji="0" lang="ru-RU" altLang="ru-RU" sz="1000" b="0" i="0" u="none" strike="noStrike" kern="1200" cap="none" spc="0" normalizeH="0" baseline="0" noProof="0" dirty="0" err="1">
                <a:ln>
                  <a:noFill/>
                </a:ln>
                <a:solidFill>
                  <a:srgbClr val="FFFFFF"/>
                </a:solidFill>
                <a:effectLst/>
                <a:uLnTx/>
                <a:uFillTx/>
                <a:latin typeface="Arial"/>
                <a:cs typeface="+mn-ea"/>
                <a:sym typeface="+mn-lt"/>
              </a:rPr>
              <a:t>nonummy</a:t>
            </a:r>
            <a:r>
              <a:rPr kumimoji="0" lang="ru-RU" altLang="ru-RU" sz="1000" b="0" i="0" u="none" strike="noStrike" kern="1200" cap="none" spc="0" normalizeH="0" baseline="0" noProof="0" dirty="0">
                <a:ln>
                  <a:noFill/>
                </a:ln>
                <a:solidFill>
                  <a:srgbClr val="FFFFFF"/>
                </a:solidFill>
                <a:effectLst/>
                <a:uLnTx/>
                <a:uFillTx/>
                <a:latin typeface="Arial"/>
                <a:cs typeface="+mn-ea"/>
                <a:sym typeface="+mn-lt"/>
              </a:rPr>
              <a:t> </a:t>
            </a:r>
            <a:r>
              <a:rPr kumimoji="0" lang="ru-RU" altLang="ru-RU" sz="1000" b="0" i="0" u="none" strike="noStrike" kern="1200" cap="none" spc="0" normalizeH="0" baseline="0" noProof="0" dirty="0" err="1">
                <a:ln>
                  <a:noFill/>
                </a:ln>
                <a:solidFill>
                  <a:srgbClr val="FFFFFF"/>
                </a:solidFill>
                <a:effectLst/>
                <a:uLnTx/>
                <a:uFillTx/>
                <a:latin typeface="Arial"/>
                <a:cs typeface="+mn-ea"/>
                <a:sym typeface="+mn-lt"/>
              </a:rPr>
              <a:t>nibh</a:t>
            </a:r>
            <a:r>
              <a:rPr kumimoji="0" lang="ru-RU" altLang="ru-RU" sz="1000" b="0" i="0" u="none" strike="noStrike" kern="1200" cap="none" spc="0" normalizeH="0" baseline="0" noProof="0" dirty="0">
                <a:ln>
                  <a:noFill/>
                </a:ln>
                <a:solidFill>
                  <a:srgbClr val="FFFFFF"/>
                </a:solidFill>
                <a:effectLst/>
                <a:uLnTx/>
                <a:uFillTx/>
                <a:latin typeface="Arial"/>
                <a:cs typeface="+mn-ea"/>
                <a:sym typeface="+mn-lt"/>
              </a:rPr>
              <a:t> </a:t>
            </a:r>
            <a:r>
              <a:rPr kumimoji="0" lang="ru-RU" altLang="ru-RU" sz="1000" b="0" i="0" u="none" strike="noStrike" kern="1200" cap="none" spc="0" normalizeH="0" baseline="0" noProof="0" dirty="0" err="1">
                <a:ln>
                  <a:noFill/>
                </a:ln>
                <a:solidFill>
                  <a:srgbClr val="FFFFFF"/>
                </a:solidFill>
                <a:effectLst/>
                <a:uLnTx/>
                <a:uFillTx/>
                <a:latin typeface="Arial"/>
                <a:cs typeface="+mn-ea"/>
                <a:sym typeface="+mn-lt"/>
              </a:rPr>
              <a:t>euismod</a:t>
            </a:r>
            <a:r>
              <a:rPr kumimoji="0" lang="ru-RU" altLang="ru-RU" sz="1000" b="0" i="0" u="none" strike="noStrike" kern="1200" cap="none" spc="0" normalizeH="0" baseline="0" noProof="0" dirty="0">
                <a:ln>
                  <a:noFill/>
                </a:ln>
                <a:solidFill>
                  <a:srgbClr val="FFFFFF"/>
                </a:solidFill>
                <a:effectLst/>
                <a:uLnTx/>
                <a:uFillTx/>
                <a:latin typeface="Arial"/>
                <a:cs typeface="+mn-ea"/>
                <a:sym typeface="+mn-lt"/>
              </a:rPr>
              <a:t> </a:t>
            </a:r>
            <a:r>
              <a:rPr kumimoji="0" lang="ru-RU" altLang="ru-RU" sz="1000" b="0" i="0" u="none" strike="noStrike" kern="1200" cap="none" spc="0" normalizeH="0" baseline="0" noProof="0" dirty="0" err="1">
                <a:ln>
                  <a:noFill/>
                </a:ln>
                <a:solidFill>
                  <a:srgbClr val="FFFFFF"/>
                </a:solidFill>
                <a:effectLst/>
                <a:uLnTx/>
                <a:uFillTx/>
                <a:latin typeface="Arial"/>
                <a:cs typeface="+mn-ea"/>
                <a:sym typeface="+mn-lt"/>
              </a:rPr>
              <a:t>tincidunt</a:t>
            </a:r>
            <a:r>
              <a:rPr kumimoji="0" lang="ru-RU" altLang="ru-RU" sz="1000" b="0" i="0" u="none" strike="noStrike" kern="1200" cap="none" spc="0" normalizeH="0" baseline="0" noProof="0" dirty="0">
                <a:ln>
                  <a:noFill/>
                </a:ln>
                <a:solidFill>
                  <a:srgbClr val="FFFFFF"/>
                </a:solidFill>
                <a:effectLst/>
                <a:uLnTx/>
                <a:uFillTx/>
                <a:latin typeface="Arial"/>
                <a:cs typeface="+mn-ea"/>
                <a:sym typeface="+mn-lt"/>
              </a:rPr>
              <a:t> </a:t>
            </a:r>
            <a:r>
              <a:rPr kumimoji="0" lang="ru-RU" altLang="ru-RU" sz="1000" b="0" i="0" u="none" strike="noStrike" kern="1200" cap="none" spc="0" normalizeH="0" baseline="0" noProof="0" dirty="0" err="1">
                <a:ln>
                  <a:noFill/>
                </a:ln>
                <a:solidFill>
                  <a:srgbClr val="FFFFFF"/>
                </a:solidFill>
                <a:effectLst/>
                <a:uLnTx/>
                <a:uFillTx/>
                <a:latin typeface="Arial"/>
                <a:cs typeface="+mn-ea"/>
                <a:sym typeface="+mn-lt"/>
              </a:rPr>
              <a:t>ut</a:t>
            </a:r>
            <a:r>
              <a:rPr kumimoji="0" lang="ru-RU" altLang="ru-RU" sz="1000" b="0" i="0" u="none" strike="noStrike" kern="1200" cap="none" spc="0" normalizeH="0" baseline="0" noProof="0" dirty="0">
                <a:ln>
                  <a:noFill/>
                </a:ln>
                <a:solidFill>
                  <a:srgbClr val="FFFFFF"/>
                </a:solidFill>
                <a:effectLst/>
                <a:uLnTx/>
                <a:uFillTx/>
                <a:latin typeface="Arial"/>
                <a:cs typeface="+mn-ea"/>
                <a:sym typeface="+mn-lt"/>
              </a:rPr>
              <a:t> </a:t>
            </a:r>
            <a:r>
              <a:rPr kumimoji="0" lang="ru-RU" altLang="ru-RU" sz="1000" b="0" i="0" u="none" strike="noStrike" kern="1200" cap="none" spc="0" normalizeH="0" baseline="0" noProof="0" dirty="0" err="1">
                <a:ln>
                  <a:noFill/>
                </a:ln>
                <a:solidFill>
                  <a:srgbClr val="FFFFFF"/>
                </a:solidFill>
                <a:effectLst/>
                <a:uLnTx/>
                <a:uFillTx/>
                <a:latin typeface="Arial"/>
                <a:cs typeface="+mn-ea"/>
                <a:sym typeface="+mn-lt"/>
              </a:rPr>
              <a:t>laoreet</a:t>
            </a:r>
            <a:r>
              <a:rPr kumimoji="0" lang="ru-RU" altLang="ru-RU" sz="1000" b="0" i="0" u="none" strike="noStrike" kern="1200" cap="none" spc="0" normalizeH="0" baseline="0" noProof="0" dirty="0">
                <a:ln>
                  <a:noFill/>
                </a:ln>
                <a:solidFill>
                  <a:srgbClr val="FFFFFF"/>
                </a:solidFill>
                <a:effectLst/>
                <a:uLnTx/>
                <a:uFillTx/>
                <a:latin typeface="Arial"/>
                <a:cs typeface="+mn-ea"/>
                <a:sym typeface="+mn-lt"/>
              </a:rPr>
              <a:t> </a:t>
            </a:r>
            <a:r>
              <a:rPr kumimoji="0" lang="ru-RU" altLang="ru-RU" sz="1000" b="0" i="0" u="none" strike="noStrike" kern="1200" cap="none" spc="0" normalizeH="0" baseline="0" noProof="0" dirty="0" err="1">
                <a:ln>
                  <a:noFill/>
                </a:ln>
                <a:solidFill>
                  <a:srgbClr val="FFFFFF"/>
                </a:solidFill>
                <a:effectLst/>
                <a:uLnTx/>
                <a:uFillTx/>
                <a:latin typeface="Arial"/>
                <a:cs typeface="+mn-ea"/>
                <a:sym typeface="+mn-lt"/>
              </a:rPr>
              <a:t>dolore</a:t>
            </a:r>
            <a:r>
              <a:rPr kumimoji="0" lang="ru-RU" altLang="ru-RU" sz="1000" b="0" i="0" u="none" strike="noStrike" kern="1200" cap="none" spc="0" normalizeH="0" baseline="0" noProof="0" dirty="0">
                <a:ln>
                  <a:noFill/>
                </a:ln>
                <a:solidFill>
                  <a:srgbClr val="FFFFFF"/>
                </a:solidFill>
                <a:effectLst/>
                <a:uLnTx/>
                <a:uFillTx/>
                <a:latin typeface="Arial"/>
                <a:cs typeface="+mn-ea"/>
                <a:sym typeface="+mn-lt"/>
              </a:rPr>
              <a:t> </a:t>
            </a:r>
            <a:r>
              <a:rPr kumimoji="0" lang="ru-RU" altLang="ru-RU" sz="1000" b="0" i="0" u="none" strike="noStrike" kern="1200" cap="none" spc="0" normalizeH="0" baseline="0" noProof="0" dirty="0" err="1">
                <a:ln>
                  <a:noFill/>
                </a:ln>
                <a:solidFill>
                  <a:srgbClr val="FFFFFF"/>
                </a:solidFill>
                <a:effectLst/>
                <a:uLnTx/>
                <a:uFillTx/>
                <a:latin typeface="Arial"/>
                <a:cs typeface="+mn-ea"/>
                <a:sym typeface="+mn-lt"/>
              </a:rPr>
              <a:t>magna</a:t>
            </a:r>
            <a:r>
              <a:rPr kumimoji="0" lang="ru-RU" altLang="ru-RU" sz="1000" b="0" i="0" u="none" strike="noStrike" kern="1200" cap="none" spc="0" normalizeH="0" baseline="0" noProof="0" dirty="0">
                <a:ln>
                  <a:noFill/>
                </a:ln>
                <a:solidFill>
                  <a:srgbClr val="FFFFFF"/>
                </a:solidFill>
                <a:effectLst/>
                <a:uLnTx/>
                <a:uFillTx/>
                <a:latin typeface="Arial"/>
                <a:cs typeface="+mn-ea"/>
                <a:sym typeface="+mn-lt"/>
              </a:rPr>
              <a:t> </a:t>
            </a:r>
            <a:r>
              <a:rPr kumimoji="0" lang="ru-RU" altLang="ru-RU" sz="1000" b="0" i="0" u="none" strike="noStrike" kern="1200" cap="none" spc="0" normalizeH="0" baseline="0" noProof="0" dirty="0" err="1">
                <a:ln>
                  <a:noFill/>
                </a:ln>
                <a:solidFill>
                  <a:srgbClr val="FFFFFF"/>
                </a:solidFill>
                <a:effectLst/>
                <a:uLnTx/>
                <a:uFillTx/>
                <a:latin typeface="Arial"/>
                <a:cs typeface="+mn-ea"/>
                <a:sym typeface="+mn-lt"/>
              </a:rPr>
              <a:t>aliquam</a:t>
            </a:r>
            <a:r>
              <a:rPr kumimoji="0" lang="ru-RU" altLang="ru-RU" sz="1000" b="0" i="0" u="none" strike="noStrike" kern="1200" cap="none" spc="0" normalizeH="0" baseline="0" noProof="0" dirty="0">
                <a:ln>
                  <a:noFill/>
                </a:ln>
                <a:solidFill>
                  <a:srgbClr val="FFFFFF"/>
                </a:solidFill>
                <a:effectLst/>
                <a:uLnTx/>
                <a:uFillTx/>
                <a:latin typeface="Arial"/>
                <a:cs typeface="+mn-ea"/>
                <a:sym typeface="+mn-lt"/>
              </a:rPr>
              <a:t> </a:t>
            </a:r>
            <a:r>
              <a:rPr kumimoji="0" lang="ru-RU" altLang="ru-RU" sz="1000" b="0" i="0" u="none" strike="noStrike" kern="1200" cap="none" spc="0" normalizeH="0" baseline="0" noProof="0" dirty="0" err="1">
                <a:ln>
                  <a:noFill/>
                </a:ln>
                <a:solidFill>
                  <a:srgbClr val="FFFFFF"/>
                </a:solidFill>
                <a:effectLst/>
                <a:uLnTx/>
                <a:uFillTx/>
                <a:latin typeface="Arial"/>
                <a:cs typeface="+mn-ea"/>
                <a:sym typeface="+mn-lt"/>
              </a:rPr>
              <a:t>erat</a:t>
            </a:r>
            <a:r>
              <a:rPr kumimoji="0" lang="ru-RU" altLang="ru-RU" sz="1000" b="0" i="0" u="none" strike="noStrike" kern="1200" cap="none" spc="0" normalizeH="0" baseline="0" noProof="0" dirty="0">
                <a:ln>
                  <a:noFill/>
                </a:ln>
                <a:solidFill>
                  <a:srgbClr val="FFFFFF"/>
                </a:solidFill>
                <a:effectLst/>
                <a:uLnTx/>
                <a:uFillTx/>
                <a:latin typeface="Arial"/>
                <a:cs typeface="+mn-ea"/>
                <a:sym typeface="+mn-lt"/>
              </a:rPr>
              <a:t> </a:t>
            </a:r>
            <a:r>
              <a:rPr kumimoji="0" lang="ru-RU" altLang="ru-RU" sz="1000" b="0" i="0" u="none" strike="noStrike" kern="1200" cap="none" spc="0" normalizeH="0" baseline="0" noProof="0" dirty="0" err="1">
                <a:ln>
                  <a:noFill/>
                </a:ln>
                <a:solidFill>
                  <a:srgbClr val="FFFFFF"/>
                </a:solidFill>
                <a:effectLst/>
                <a:uLnTx/>
                <a:uFillTx/>
                <a:latin typeface="Arial"/>
                <a:cs typeface="+mn-ea"/>
                <a:sym typeface="+mn-lt"/>
              </a:rPr>
              <a:t>volutpat</a:t>
            </a:r>
            <a:r>
              <a:rPr kumimoji="0" lang="ru-RU" altLang="ru-RU" sz="1000" b="0" i="0" u="none" strike="noStrike" kern="1200" cap="none" spc="0" normalizeH="0" baseline="0" noProof="0" dirty="0">
                <a:ln>
                  <a:noFill/>
                </a:ln>
                <a:solidFill>
                  <a:srgbClr val="FFFFFF"/>
                </a:solidFill>
                <a:effectLst/>
                <a:uLnTx/>
                <a:uFillTx/>
                <a:latin typeface="Arial"/>
                <a:cs typeface="+mn-ea"/>
                <a:sym typeface="+mn-lt"/>
              </a:rPr>
              <a:t>.</a:t>
            </a:r>
          </a:p>
        </p:txBody>
      </p:sp>
      <p:sp>
        <p:nvSpPr>
          <p:cNvPr id="27" name="Shape 71">
            <a:extLst>
              <a:ext uri="{FF2B5EF4-FFF2-40B4-BE49-F238E27FC236}">
                <a16:creationId xmlns:a16="http://schemas.microsoft.com/office/drawing/2014/main" id="{E27399CC-5EDF-4EA6-87C3-F783466DFC43}"/>
              </a:ext>
            </a:extLst>
          </p:cNvPr>
          <p:cNvSpPr>
            <a:spLocks noChangeArrowheads="1"/>
          </p:cNvSpPr>
          <p:nvPr/>
        </p:nvSpPr>
        <p:spPr bwMode="auto">
          <a:xfrm>
            <a:off x="4032333" y="4462010"/>
            <a:ext cx="1535322" cy="11285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altLang="ru-RU" sz="1000" b="0" i="0" u="none" strike="noStrike" kern="1200" cap="none" spc="0" normalizeH="0" baseline="0" noProof="0">
                <a:ln>
                  <a:noFill/>
                </a:ln>
                <a:solidFill>
                  <a:srgbClr val="FFFFFF"/>
                </a:solidFill>
                <a:effectLst/>
                <a:uLnTx/>
                <a:uFillTx/>
                <a:latin typeface="Arial"/>
                <a:cs typeface="+mn-ea"/>
                <a:sym typeface="+mn-lt"/>
              </a:rPr>
              <a:t>Lorem ipsum dolor sit amet, consectetuer adipiscing elit, sed diam nonummy nibh euismod tincidunt ut laoreet dolore magna aliquam erat volutpat.</a:t>
            </a:r>
          </a:p>
        </p:txBody>
      </p:sp>
      <p:sp>
        <p:nvSpPr>
          <p:cNvPr id="28" name="Shape 72">
            <a:extLst>
              <a:ext uri="{FF2B5EF4-FFF2-40B4-BE49-F238E27FC236}">
                <a16:creationId xmlns:a16="http://schemas.microsoft.com/office/drawing/2014/main" id="{1B903727-8450-4070-B6C1-C06517F2D535}"/>
              </a:ext>
            </a:extLst>
          </p:cNvPr>
          <p:cNvSpPr>
            <a:spLocks noChangeArrowheads="1"/>
          </p:cNvSpPr>
          <p:nvPr/>
        </p:nvSpPr>
        <p:spPr bwMode="auto">
          <a:xfrm>
            <a:off x="6308814" y="4393835"/>
            <a:ext cx="1331816" cy="820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altLang="ru-RU" sz="1000" b="0" i="0" u="none" strike="noStrike" kern="1200" cap="none" spc="0" normalizeH="0" baseline="0" noProof="0">
                <a:ln>
                  <a:noFill/>
                </a:ln>
                <a:solidFill>
                  <a:srgbClr val="FFFFFF"/>
                </a:solidFill>
                <a:effectLst/>
                <a:uLnTx/>
                <a:uFillTx/>
                <a:latin typeface="Arial"/>
                <a:cs typeface="+mn-ea"/>
                <a:sym typeface="+mn-lt"/>
              </a:rPr>
              <a:t>Lorem ipsum dolor amet, consectetuer adipiscing elit, sed diam nonummy nibh euismod ut laoreet</a:t>
            </a:r>
          </a:p>
        </p:txBody>
      </p:sp>
      <p:sp>
        <p:nvSpPr>
          <p:cNvPr id="29" name="Shape 73">
            <a:extLst>
              <a:ext uri="{FF2B5EF4-FFF2-40B4-BE49-F238E27FC236}">
                <a16:creationId xmlns:a16="http://schemas.microsoft.com/office/drawing/2014/main" id="{403E1961-70DB-4FE4-853E-FE473D6A3A27}"/>
              </a:ext>
            </a:extLst>
          </p:cNvPr>
          <p:cNvSpPr>
            <a:spLocks noChangeArrowheads="1"/>
          </p:cNvSpPr>
          <p:nvPr/>
        </p:nvSpPr>
        <p:spPr bwMode="auto">
          <a:xfrm>
            <a:off x="6311643" y="1666040"/>
            <a:ext cx="1331816" cy="820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altLang="ru-RU" sz="1000" b="0" i="0" u="none" strike="noStrike" kern="1200" cap="none" spc="0" normalizeH="0" baseline="0" noProof="0">
                <a:ln>
                  <a:noFill/>
                </a:ln>
                <a:solidFill>
                  <a:srgbClr val="FFFFFF"/>
                </a:solidFill>
                <a:effectLst/>
                <a:uLnTx/>
                <a:uFillTx/>
                <a:latin typeface="Arial"/>
                <a:cs typeface="+mn-ea"/>
                <a:sym typeface="+mn-lt"/>
              </a:rPr>
              <a:t>Lorem ipsum dolor amet, consectetuer adipiscing elit, sed diam nonummy nibh euismod ut laoreet</a:t>
            </a:r>
          </a:p>
        </p:txBody>
      </p:sp>
      <p:sp>
        <p:nvSpPr>
          <p:cNvPr id="30" name="Shape 74">
            <a:extLst>
              <a:ext uri="{FF2B5EF4-FFF2-40B4-BE49-F238E27FC236}">
                <a16:creationId xmlns:a16="http://schemas.microsoft.com/office/drawing/2014/main" id="{7EDE1CE7-A933-49E1-9C73-A3978828D6B1}"/>
              </a:ext>
            </a:extLst>
          </p:cNvPr>
          <p:cNvSpPr>
            <a:spLocks noChangeArrowheads="1"/>
          </p:cNvSpPr>
          <p:nvPr/>
        </p:nvSpPr>
        <p:spPr bwMode="auto">
          <a:xfrm>
            <a:off x="2332202" y="1926318"/>
            <a:ext cx="981219" cy="820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altLang="ru-RU" sz="1000" b="0" i="0" u="none" strike="noStrike" kern="1200" cap="none" spc="0" normalizeH="0" baseline="0" noProof="0" dirty="0" err="1">
                <a:ln>
                  <a:noFill/>
                </a:ln>
                <a:solidFill>
                  <a:srgbClr val="FFFFFF"/>
                </a:solidFill>
                <a:effectLst/>
                <a:uLnTx/>
                <a:uFillTx/>
                <a:latin typeface="Arial"/>
                <a:cs typeface="+mn-ea"/>
                <a:sym typeface="+mn-lt"/>
              </a:rPr>
              <a:t>Lorem</a:t>
            </a:r>
            <a:r>
              <a:rPr kumimoji="0" lang="ru-RU" altLang="ru-RU" sz="1000" b="0" i="0" u="none" strike="noStrike" kern="1200" cap="none" spc="0" normalizeH="0" baseline="0" noProof="0" dirty="0">
                <a:ln>
                  <a:noFill/>
                </a:ln>
                <a:solidFill>
                  <a:srgbClr val="FFFFFF"/>
                </a:solidFill>
                <a:effectLst/>
                <a:uLnTx/>
                <a:uFillTx/>
                <a:latin typeface="Arial"/>
                <a:cs typeface="+mn-ea"/>
                <a:sym typeface="+mn-lt"/>
              </a:rPr>
              <a:t> </a:t>
            </a:r>
            <a:r>
              <a:rPr kumimoji="0" lang="ru-RU" altLang="ru-RU" sz="1000" b="0" i="0" u="none" strike="noStrike" kern="1200" cap="none" spc="0" normalizeH="0" baseline="0" noProof="0" dirty="0" err="1">
                <a:ln>
                  <a:noFill/>
                </a:ln>
                <a:solidFill>
                  <a:srgbClr val="FFFFFF"/>
                </a:solidFill>
                <a:effectLst/>
                <a:uLnTx/>
                <a:uFillTx/>
                <a:latin typeface="Arial"/>
                <a:cs typeface="+mn-ea"/>
                <a:sym typeface="+mn-lt"/>
              </a:rPr>
              <a:t>ipsum</a:t>
            </a:r>
            <a:r>
              <a:rPr kumimoji="0" lang="ru-RU" altLang="ru-RU" sz="1000" b="0" i="0" u="none" strike="noStrike" kern="1200" cap="none" spc="0" normalizeH="0" baseline="0" noProof="0" dirty="0">
                <a:ln>
                  <a:noFill/>
                </a:ln>
                <a:solidFill>
                  <a:srgbClr val="FFFFFF"/>
                </a:solidFill>
                <a:effectLst/>
                <a:uLnTx/>
                <a:uFillTx/>
                <a:latin typeface="Arial"/>
                <a:cs typeface="+mn-ea"/>
                <a:sym typeface="+mn-lt"/>
              </a:rPr>
              <a:t> </a:t>
            </a:r>
            <a:r>
              <a:rPr kumimoji="0" lang="ru-RU" altLang="ru-RU" sz="1000" b="0" i="0" u="none" strike="noStrike" kern="1200" cap="none" spc="0" normalizeH="0" baseline="0" noProof="0" dirty="0" err="1">
                <a:ln>
                  <a:noFill/>
                </a:ln>
                <a:solidFill>
                  <a:srgbClr val="FFFFFF"/>
                </a:solidFill>
                <a:effectLst/>
                <a:uLnTx/>
                <a:uFillTx/>
                <a:latin typeface="Arial"/>
                <a:cs typeface="+mn-ea"/>
                <a:sym typeface="+mn-lt"/>
              </a:rPr>
              <a:t>dolor</a:t>
            </a:r>
            <a:r>
              <a:rPr kumimoji="0" lang="ru-RU" altLang="ru-RU" sz="1000" b="0" i="0" u="none" strike="noStrike" kern="1200" cap="none" spc="0" normalizeH="0" baseline="0" noProof="0" dirty="0">
                <a:ln>
                  <a:noFill/>
                </a:ln>
                <a:solidFill>
                  <a:srgbClr val="FFFFFF"/>
                </a:solidFill>
                <a:effectLst/>
                <a:uLnTx/>
                <a:uFillTx/>
                <a:latin typeface="Arial"/>
                <a:cs typeface="+mn-ea"/>
                <a:sym typeface="+mn-lt"/>
              </a:rPr>
              <a:t> </a:t>
            </a:r>
            <a:r>
              <a:rPr kumimoji="0" lang="ru-RU" altLang="ru-RU" sz="1000" b="0" i="0" u="none" strike="noStrike" kern="1200" cap="none" spc="0" normalizeH="0" baseline="0" noProof="0" dirty="0" err="1">
                <a:ln>
                  <a:noFill/>
                </a:ln>
                <a:solidFill>
                  <a:srgbClr val="FFFFFF"/>
                </a:solidFill>
                <a:effectLst/>
                <a:uLnTx/>
                <a:uFillTx/>
                <a:latin typeface="Arial"/>
                <a:cs typeface="+mn-ea"/>
                <a:sym typeface="+mn-lt"/>
              </a:rPr>
              <a:t>amet</a:t>
            </a:r>
            <a:r>
              <a:rPr kumimoji="0" lang="ru-RU" altLang="ru-RU" sz="1000" b="0" i="0" u="none" strike="noStrike" kern="1200" cap="none" spc="0" normalizeH="0" baseline="0" noProof="0" dirty="0">
                <a:ln>
                  <a:noFill/>
                </a:ln>
                <a:solidFill>
                  <a:srgbClr val="FFFFFF"/>
                </a:solidFill>
                <a:effectLst/>
                <a:uLnTx/>
                <a:uFillTx/>
                <a:latin typeface="Arial"/>
                <a:cs typeface="+mn-ea"/>
                <a:sym typeface="+mn-lt"/>
              </a:rPr>
              <a:t>, </a:t>
            </a:r>
            <a:r>
              <a:rPr kumimoji="0" lang="ru-RU" altLang="ru-RU" sz="1000" b="0" i="0" u="none" strike="noStrike" kern="1200" cap="none" spc="0" normalizeH="0" baseline="0" noProof="0" dirty="0" err="1">
                <a:ln>
                  <a:noFill/>
                </a:ln>
                <a:solidFill>
                  <a:srgbClr val="FFFFFF"/>
                </a:solidFill>
                <a:effectLst/>
                <a:uLnTx/>
                <a:uFillTx/>
                <a:latin typeface="Arial"/>
                <a:cs typeface="+mn-ea"/>
                <a:sym typeface="+mn-lt"/>
              </a:rPr>
              <a:t>consectetuer</a:t>
            </a:r>
            <a:r>
              <a:rPr kumimoji="0" lang="ru-RU" altLang="ru-RU" sz="1000" b="0" i="0" u="none" strike="noStrike" kern="1200" cap="none" spc="0" normalizeH="0" baseline="0" noProof="0" dirty="0">
                <a:ln>
                  <a:noFill/>
                </a:ln>
                <a:solidFill>
                  <a:srgbClr val="FFFFFF"/>
                </a:solidFill>
                <a:effectLst/>
                <a:uLnTx/>
                <a:uFillTx/>
                <a:latin typeface="Arial"/>
                <a:cs typeface="+mn-ea"/>
                <a:sym typeface="+mn-lt"/>
              </a:rPr>
              <a:t> </a:t>
            </a:r>
            <a:r>
              <a:rPr kumimoji="0" lang="ru-RU" altLang="ru-RU" sz="1000" b="0" i="0" u="none" strike="noStrike" kern="1200" cap="none" spc="0" normalizeH="0" baseline="0" noProof="0" dirty="0" err="1">
                <a:ln>
                  <a:noFill/>
                </a:ln>
                <a:solidFill>
                  <a:srgbClr val="FFFFFF"/>
                </a:solidFill>
                <a:effectLst/>
                <a:uLnTx/>
                <a:uFillTx/>
                <a:latin typeface="Arial"/>
                <a:cs typeface="+mn-ea"/>
                <a:sym typeface="+mn-lt"/>
              </a:rPr>
              <a:t>adipiscing</a:t>
            </a:r>
            <a:r>
              <a:rPr kumimoji="0" lang="ru-RU" altLang="ru-RU" sz="1000" b="0" i="0" u="none" strike="noStrike" kern="1200" cap="none" spc="0" normalizeH="0" baseline="0" noProof="0" dirty="0">
                <a:ln>
                  <a:noFill/>
                </a:ln>
                <a:solidFill>
                  <a:srgbClr val="FFFFFF"/>
                </a:solidFill>
                <a:effectLst/>
                <a:uLnTx/>
                <a:uFillTx/>
                <a:latin typeface="Arial"/>
                <a:cs typeface="+mn-ea"/>
                <a:sym typeface="+mn-lt"/>
              </a:rPr>
              <a:t> </a:t>
            </a:r>
            <a:r>
              <a:rPr kumimoji="0" lang="ru-RU" altLang="ru-RU" sz="1000" b="0" i="0" u="none" strike="noStrike" kern="1200" cap="none" spc="0" normalizeH="0" baseline="0" noProof="0" dirty="0" err="1">
                <a:ln>
                  <a:noFill/>
                </a:ln>
                <a:solidFill>
                  <a:srgbClr val="FFFFFF"/>
                </a:solidFill>
                <a:effectLst/>
                <a:uLnTx/>
                <a:uFillTx/>
                <a:latin typeface="Arial"/>
                <a:cs typeface="+mn-ea"/>
                <a:sym typeface="+mn-lt"/>
              </a:rPr>
              <a:t>elit</a:t>
            </a:r>
            <a:r>
              <a:rPr kumimoji="0" lang="ru-RU" altLang="ru-RU" sz="1000" b="0" i="0" u="none" strike="noStrike" kern="1200" cap="none" spc="0" normalizeH="0" baseline="0" noProof="0" dirty="0">
                <a:ln>
                  <a:noFill/>
                </a:ln>
                <a:solidFill>
                  <a:srgbClr val="FFFFFF"/>
                </a:solidFill>
                <a:effectLst/>
                <a:uLnTx/>
                <a:uFillTx/>
                <a:latin typeface="Arial"/>
                <a:cs typeface="+mn-ea"/>
                <a:sym typeface="+mn-lt"/>
              </a:rPr>
              <a:t>, </a:t>
            </a:r>
            <a:r>
              <a:rPr kumimoji="0" lang="ru-RU" altLang="ru-RU" sz="1000" b="0" i="0" u="none" strike="noStrike" kern="1200" cap="none" spc="0" normalizeH="0" baseline="0" noProof="0" dirty="0" err="1">
                <a:ln>
                  <a:noFill/>
                </a:ln>
                <a:solidFill>
                  <a:srgbClr val="FFFFFF"/>
                </a:solidFill>
                <a:effectLst/>
                <a:uLnTx/>
                <a:uFillTx/>
                <a:latin typeface="Arial"/>
                <a:cs typeface="+mn-ea"/>
                <a:sym typeface="+mn-lt"/>
              </a:rPr>
              <a:t>sed</a:t>
            </a:r>
            <a:r>
              <a:rPr kumimoji="0" lang="ru-RU" altLang="ru-RU" sz="1000" b="0" i="0" u="none" strike="noStrike" kern="1200" cap="none" spc="0" normalizeH="0" baseline="0" noProof="0" dirty="0">
                <a:ln>
                  <a:noFill/>
                </a:ln>
                <a:solidFill>
                  <a:srgbClr val="FFFFFF"/>
                </a:solidFill>
                <a:effectLst/>
                <a:uLnTx/>
                <a:uFillTx/>
                <a:latin typeface="Arial"/>
                <a:cs typeface="+mn-ea"/>
                <a:sym typeface="+mn-lt"/>
              </a:rPr>
              <a:t> </a:t>
            </a:r>
            <a:r>
              <a:rPr kumimoji="0" lang="ru-RU" altLang="ru-RU" sz="1000" b="0" i="0" u="none" strike="noStrike" kern="1200" cap="none" spc="0" normalizeH="0" baseline="0" noProof="0" dirty="0" err="1">
                <a:ln>
                  <a:noFill/>
                </a:ln>
                <a:solidFill>
                  <a:srgbClr val="FFFFFF"/>
                </a:solidFill>
                <a:effectLst/>
                <a:uLnTx/>
                <a:uFillTx/>
                <a:latin typeface="Arial"/>
                <a:cs typeface="+mn-ea"/>
                <a:sym typeface="+mn-lt"/>
              </a:rPr>
              <a:t>diam</a:t>
            </a:r>
            <a:endParaRPr kumimoji="0" lang="ru-RU" altLang="ru-RU" sz="1000" b="0" i="0" u="none" strike="noStrike" kern="1200" cap="none" spc="0" normalizeH="0" baseline="0" noProof="0" dirty="0">
              <a:ln>
                <a:noFill/>
              </a:ln>
              <a:solidFill>
                <a:srgbClr val="FFFFFF"/>
              </a:solidFill>
              <a:effectLst/>
              <a:uLnTx/>
              <a:uFillTx/>
              <a:latin typeface="Arial"/>
              <a:cs typeface="+mn-ea"/>
              <a:sym typeface="+mn-lt"/>
            </a:endParaRPr>
          </a:p>
        </p:txBody>
      </p:sp>
      <p:sp>
        <p:nvSpPr>
          <p:cNvPr id="31" name="Shape 75">
            <a:extLst>
              <a:ext uri="{FF2B5EF4-FFF2-40B4-BE49-F238E27FC236}">
                <a16:creationId xmlns:a16="http://schemas.microsoft.com/office/drawing/2014/main" id="{159A6521-342B-4ED4-9271-11AA1A76A318}"/>
              </a:ext>
            </a:extLst>
          </p:cNvPr>
          <p:cNvSpPr>
            <a:spLocks noChangeArrowheads="1"/>
          </p:cNvSpPr>
          <p:nvPr/>
        </p:nvSpPr>
        <p:spPr bwMode="auto">
          <a:xfrm>
            <a:off x="2332202" y="4196866"/>
            <a:ext cx="981219" cy="820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altLang="ru-RU" sz="1000" b="0" i="0" u="none" strike="noStrike" kern="1200" cap="none" spc="0" normalizeH="0" baseline="0" noProof="0">
                <a:ln>
                  <a:noFill/>
                </a:ln>
                <a:solidFill>
                  <a:srgbClr val="FFFFFF"/>
                </a:solidFill>
                <a:effectLst/>
                <a:uLnTx/>
                <a:uFillTx/>
                <a:latin typeface="Arial"/>
                <a:cs typeface="+mn-ea"/>
                <a:sym typeface="+mn-lt"/>
              </a:rPr>
              <a:t>Lorem ipsum dolor amet, consectetuer adipiscing elit, sed diam</a:t>
            </a:r>
          </a:p>
        </p:txBody>
      </p:sp>
    </p:spTree>
    <p:extLst>
      <p:ext uri="{BB962C8B-B14F-4D97-AF65-F5344CB8AC3E}">
        <p14:creationId xmlns:p14="http://schemas.microsoft.com/office/powerpoint/2010/main" val="3297862759"/>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7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Группа 2">
            <a:extLst>
              <a:ext uri="{FF2B5EF4-FFF2-40B4-BE49-F238E27FC236}">
                <a16:creationId xmlns:a16="http://schemas.microsoft.com/office/drawing/2014/main" id="{37E98286-1E10-4CAF-95E5-06D1375C8EB6}"/>
              </a:ext>
            </a:extLst>
          </p:cNvPr>
          <p:cNvGrpSpPr/>
          <p:nvPr/>
        </p:nvGrpSpPr>
        <p:grpSpPr>
          <a:xfrm>
            <a:off x="2804622" y="2256542"/>
            <a:ext cx="3989338" cy="2367260"/>
            <a:chOff x="5808477" y="3877292"/>
            <a:chExt cx="7978676" cy="4734520"/>
          </a:xfrm>
        </p:grpSpPr>
        <p:sp>
          <p:nvSpPr>
            <p:cNvPr id="45" name="Shape 115">
              <a:extLst>
                <a:ext uri="{FF2B5EF4-FFF2-40B4-BE49-F238E27FC236}">
                  <a16:creationId xmlns:a16="http://schemas.microsoft.com/office/drawing/2014/main" id="{4D577383-0FC3-4394-804E-67C2D75F7F6F}"/>
                </a:ext>
              </a:extLst>
            </p:cNvPr>
            <p:cNvSpPr>
              <a:spLocks noChangeArrowheads="1"/>
            </p:cNvSpPr>
            <p:nvPr/>
          </p:nvSpPr>
          <p:spPr bwMode="auto">
            <a:xfrm>
              <a:off x="10159277" y="8232220"/>
              <a:ext cx="578002" cy="3795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altLang="ru-RU" sz="900" b="0" i="0" u="none" strike="noStrike" kern="1200" cap="none" spc="0" normalizeH="0" baseline="0" noProof="0">
                  <a:ln>
                    <a:noFill/>
                  </a:ln>
                  <a:solidFill>
                    <a:srgbClr val="FFFFFF"/>
                  </a:solidFill>
                  <a:effectLst/>
                  <a:uLnTx/>
                  <a:uFillTx/>
                  <a:latin typeface="Arial"/>
                  <a:cs typeface="+mn-ea"/>
                  <a:sym typeface="+mn-lt"/>
                </a:rPr>
                <a:t>A</a:t>
              </a:r>
            </a:p>
          </p:txBody>
        </p:sp>
        <p:sp>
          <p:nvSpPr>
            <p:cNvPr id="46" name="Shape 116">
              <a:extLst>
                <a:ext uri="{FF2B5EF4-FFF2-40B4-BE49-F238E27FC236}">
                  <a16:creationId xmlns:a16="http://schemas.microsoft.com/office/drawing/2014/main" id="{485A1235-10EA-490F-95EA-CE1EEFBBE1DC}"/>
                </a:ext>
              </a:extLst>
            </p:cNvPr>
            <p:cNvSpPr>
              <a:spLocks noChangeArrowheads="1"/>
            </p:cNvSpPr>
            <p:nvPr/>
          </p:nvSpPr>
          <p:spPr bwMode="auto">
            <a:xfrm>
              <a:off x="5808477" y="8210572"/>
              <a:ext cx="578002" cy="3795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altLang="ru-RU" sz="900" b="0" i="0" u="none" strike="noStrike" kern="1200" cap="none" spc="0" normalizeH="0" baseline="0" noProof="0">
                  <a:ln>
                    <a:noFill/>
                  </a:ln>
                  <a:solidFill>
                    <a:srgbClr val="FFFFFF"/>
                  </a:solidFill>
                  <a:effectLst/>
                  <a:uLnTx/>
                  <a:uFillTx/>
                  <a:latin typeface="Arial"/>
                  <a:cs typeface="+mn-ea"/>
                  <a:sym typeface="+mn-lt"/>
                </a:rPr>
                <a:t>A</a:t>
              </a:r>
            </a:p>
          </p:txBody>
        </p:sp>
        <p:sp>
          <p:nvSpPr>
            <p:cNvPr id="47" name="Shape 117">
              <a:extLst>
                <a:ext uri="{FF2B5EF4-FFF2-40B4-BE49-F238E27FC236}">
                  <a16:creationId xmlns:a16="http://schemas.microsoft.com/office/drawing/2014/main" id="{B1118479-049D-4B91-9723-A922EBC5729B}"/>
                </a:ext>
              </a:extLst>
            </p:cNvPr>
            <p:cNvSpPr>
              <a:spLocks noChangeArrowheads="1"/>
            </p:cNvSpPr>
            <p:nvPr/>
          </p:nvSpPr>
          <p:spPr bwMode="auto">
            <a:xfrm>
              <a:off x="11054021" y="7215232"/>
              <a:ext cx="578004" cy="3795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altLang="ru-RU" sz="900" b="0" i="0" u="none" strike="noStrike" kern="1200" cap="none" spc="0" normalizeH="0" baseline="0" noProof="0">
                  <a:ln>
                    <a:noFill/>
                  </a:ln>
                  <a:solidFill>
                    <a:srgbClr val="FFFFFF"/>
                  </a:solidFill>
                  <a:effectLst/>
                  <a:uLnTx/>
                  <a:uFillTx/>
                  <a:latin typeface="Arial"/>
                  <a:cs typeface="+mn-ea"/>
                  <a:sym typeface="+mn-lt"/>
                </a:rPr>
                <a:t>B</a:t>
              </a:r>
            </a:p>
          </p:txBody>
        </p:sp>
        <p:sp>
          <p:nvSpPr>
            <p:cNvPr id="48" name="Shape 118">
              <a:extLst>
                <a:ext uri="{FF2B5EF4-FFF2-40B4-BE49-F238E27FC236}">
                  <a16:creationId xmlns:a16="http://schemas.microsoft.com/office/drawing/2014/main" id="{5B54C1BA-62E4-4B75-9930-7099EA1768E1}"/>
                </a:ext>
              </a:extLst>
            </p:cNvPr>
            <p:cNvSpPr>
              <a:spLocks noChangeArrowheads="1"/>
            </p:cNvSpPr>
            <p:nvPr/>
          </p:nvSpPr>
          <p:spPr bwMode="auto">
            <a:xfrm>
              <a:off x="6734971" y="7212634"/>
              <a:ext cx="578002" cy="3795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altLang="ru-RU" sz="900" b="0" i="0" u="none" strike="noStrike" kern="1200" cap="none" spc="0" normalizeH="0" baseline="0" noProof="0" dirty="0" err="1">
                  <a:ln>
                    <a:noFill/>
                  </a:ln>
                  <a:solidFill>
                    <a:srgbClr val="FFFFFF"/>
                  </a:solidFill>
                  <a:effectLst/>
                  <a:uLnTx/>
                  <a:uFillTx/>
                  <a:latin typeface="Arial"/>
                  <a:cs typeface="+mn-ea"/>
                  <a:sym typeface="+mn-lt"/>
                </a:rPr>
                <a:t>B</a:t>
              </a:r>
              <a:endParaRPr kumimoji="0" lang="ru-RU" altLang="ru-RU" sz="900" b="0" i="0" u="none" strike="noStrike" kern="1200" cap="none" spc="0" normalizeH="0" baseline="0" noProof="0" dirty="0">
                <a:ln>
                  <a:noFill/>
                </a:ln>
                <a:solidFill>
                  <a:srgbClr val="FFFFFF"/>
                </a:solidFill>
                <a:effectLst/>
                <a:uLnTx/>
                <a:uFillTx/>
                <a:latin typeface="Arial"/>
                <a:cs typeface="+mn-ea"/>
                <a:sym typeface="+mn-lt"/>
              </a:endParaRPr>
            </a:p>
          </p:txBody>
        </p:sp>
        <p:sp>
          <p:nvSpPr>
            <p:cNvPr id="49" name="Shape 119">
              <a:extLst>
                <a:ext uri="{FF2B5EF4-FFF2-40B4-BE49-F238E27FC236}">
                  <a16:creationId xmlns:a16="http://schemas.microsoft.com/office/drawing/2014/main" id="{E0880211-7559-4D3F-8C54-42A454155F69}"/>
                </a:ext>
              </a:extLst>
            </p:cNvPr>
            <p:cNvSpPr>
              <a:spLocks noChangeArrowheads="1"/>
            </p:cNvSpPr>
            <p:nvPr/>
          </p:nvSpPr>
          <p:spPr bwMode="auto">
            <a:xfrm>
              <a:off x="7906459" y="3877292"/>
              <a:ext cx="578002" cy="3795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altLang="ru-RU" sz="900" b="0" i="0" u="none" strike="noStrike" kern="1200" cap="none" spc="0" normalizeH="0" baseline="0" noProof="0">
                  <a:ln>
                    <a:noFill/>
                  </a:ln>
                  <a:solidFill>
                    <a:srgbClr val="FFFFFF"/>
                  </a:solidFill>
                  <a:effectLst/>
                  <a:uLnTx/>
                  <a:uFillTx/>
                  <a:latin typeface="Arial"/>
                  <a:cs typeface="+mn-ea"/>
                  <a:sym typeface="+mn-lt"/>
                </a:rPr>
                <a:t>A</a:t>
              </a:r>
            </a:p>
          </p:txBody>
        </p:sp>
        <p:sp>
          <p:nvSpPr>
            <p:cNvPr id="50" name="Shape 120">
              <a:extLst>
                <a:ext uri="{FF2B5EF4-FFF2-40B4-BE49-F238E27FC236}">
                  <a16:creationId xmlns:a16="http://schemas.microsoft.com/office/drawing/2014/main" id="{291F85EC-0C8F-466B-8CA3-3799FC1FA978}"/>
                </a:ext>
              </a:extLst>
            </p:cNvPr>
            <p:cNvSpPr>
              <a:spLocks noChangeArrowheads="1"/>
            </p:cNvSpPr>
            <p:nvPr/>
          </p:nvSpPr>
          <p:spPr bwMode="auto">
            <a:xfrm>
              <a:off x="12253547" y="3884912"/>
              <a:ext cx="578002" cy="3795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altLang="ru-RU" sz="900" b="0" i="0" u="none" strike="noStrike" kern="1200" cap="none" spc="0" normalizeH="0" baseline="0" noProof="0">
                  <a:ln>
                    <a:noFill/>
                  </a:ln>
                  <a:solidFill>
                    <a:srgbClr val="FFFFFF"/>
                  </a:solidFill>
                  <a:effectLst/>
                  <a:uLnTx/>
                  <a:uFillTx/>
                  <a:latin typeface="Arial"/>
                  <a:cs typeface="+mn-ea"/>
                  <a:sym typeface="+mn-lt"/>
                </a:rPr>
                <a:t>A</a:t>
              </a:r>
            </a:p>
          </p:txBody>
        </p:sp>
        <p:sp>
          <p:nvSpPr>
            <p:cNvPr id="51" name="Shape 121">
              <a:extLst>
                <a:ext uri="{FF2B5EF4-FFF2-40B4-BE49-F238E27FC236}">
                  <a16:creationId xmlns:a16="http://schemas.microsoft.com/office/drawing/2014/main" id="{8A9D86CA-00EC-43EB-BA6F-40D9536FB59D}"/>
                </a:ext>
              </a:extLst>
            </p:cNvPr>
            <p:cNvSpPr>
              <a:spLocks noChangeArrowheads="1"/>
            </p:cNvSpPr>
            <p:nvPr/>
          </p:nvSpPr>
          <p:spPr bwMode="auto">
            <a:xfrm>
              <a:off x="8863333" y="4921592"/>
              <a:ext cx="578004" cy="3795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altLang="ru-RU" sz="900" b="0" i="0" u="none" strike="noStrike" kern="1200" cap="none" spc="0" normalizeH="0" baseline="0" noProof="0">
                  <a:ln>
                    <a:noFill/>
                  </a:ln>
                  <a:solidFill>
                    <a:srgbClr val="FFFFFF"/>
                  </a:solidFill>
                  <a:effectLst/>
                  <a:uLnTx/>
                  <a:uFillTx/>
                  <a:latin typeface="Arial"/>
                  <a:cs typeface="+mn-ea"/>
                  <a:sym typeface="+mn-lt"/>
                </a:rPr>
                <a:t>B</a:t>
              </a:r>
            </a:p>
          </p:txBody>
        </p:sp>
        <p:sp>
          <p:nvSpPr>
            <p:cNvPr id="52" name="Shape 122">
              <a:extLst>
                <a:ext uri="{FF2B5EF4-FFF2-40B4-BE49-F238E27FC236}">
                  <a16:creationId xmlns:a16="http://schemas.microsoft.com/office/drawing/2014/main" id="{17186735-DA27-41D2-A329-F7127F463BA6}"/>
                </a:ext>
              </a:extLst>
            </p:cNvPr>
            <p:cNvSpPr>
              <a:spLocks noChangeArrowheads="1"/>
            </p:cNvSpPr>
            <p:nvPr/>
          </p:nvSpPr>
          <p:spPr bwMode="auto">
            <a:xfrm>
              <a:off x="13209151" y="4930482"/>
              <a:ext cx="578002" cy="3795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altLang="ru-RU" sz="900" b="0" i="0" u="none" strike="noStrike" kern="1200" cap="none" spc="0" normalizeH="0" baseline="0" noProof="0">
                  <a:ln>
                    <a:noFill/>
                  </a:ln>
                  <a:solidFill>
                    <a:srgbClr val="FFFFFF"/>
                  </a:solidFill>
                  <a:effectLst/>
                  <a:uLnTx/>
                  <a:uFillTx/>
                  <a:latin typeface="Arial"/>
                  <a:cs typeface="+mn-ea"/>
                  <a:sym typeface="+mn-lt"/>
                </a:rPr>
                <a:t>B</a:t>
              </a:r>
            </a:p>
          </p:txBody>
        </p:sp>
      </p:grpSp>
      <p:sp>
        <p:nvSpPr>
          <p:cNvPr id="4" name="Shape 78">
            <a:extLst>
              <a:ext uri="{FF2B5EF4-FFF2-40B4-BE49-F238E27FC236}">
                <a16:creationId xmlns:a16="http://schemas.microsoft.com/office/drawing/2014/main" id="{24D3A9B6-4CDF-4F31-993A-2DDDBF37E7F9}"/>
              </a:ext>
            </a:extLst>
          </p:cNvPr>
          <p:cNvSpPr>
            <a:spLocks noChangeShapeType="1"/>
          </p:cNvSpPr>
          <p:nvPr/>
        </p:nvSpPr>
        <p:spPr bwMode="auto">
          <a:xfrm>
            <a:off x="2455494" y="3452745"/>
            <a:ext cx="6826195" cy="1"/>
          </a:xfrm>
          <a:prstGeom prst="line">
            <a:avLst/>
          </a:prstGeom>
          <a:noFill/>
          <a:ln w="165100">
            <a:solidFill>
              <a:schemeClr val="accent1">
                <a:lumMod val="40000"/>
                <a:lumOff val="60000"/>
              </a:schemeClr>
            </a:solidFill>
            <a:miter lim="400000"/>
            <a:headEnd/>
            <a:tailEnd/>
          </a:ln>
          <a:extLst>
            <a:ext uri="{909E8E84-426E-40DD-AFC4-6F175D3DCCD1}">
              <a14:hiddenFill xmlns:a14="http://schemas.microsoft.com/office/drawing/2010/main">
                <a:noFill/>
              </a14:hiddenFill>
            </a:ext>
          </a:extLst>
        </p:spPr>
        <p:txBody>
          <a:bodyPr lIns="25400" tIns="25400" rIns="25400" bIns="254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500" b="0" i="0" u="none" strike="noStrike" kern="1200" cap="none" spc="0" normalizeH="0" baseline="0" noProof="0">
              <a:ln>
                <a:noFill/>
              </a:ln>
              <a:solidFill>
                <a:srgbClr val="000000"/>
              </a:solidFill>
              <a:effectLst/>
              <a:uLnTx/>
              <a:uFillTx/>
              <a:latin typeface="Arial"/>
              <a:cs typeface="+mn-ea"/>
              <a:sym typeface="+mn-lt"/>
            </a:endParaRPr>
          </a:p>
        </p:txBody>
      </p:sp>
      <p:sp>
        <p:nvSpPr>
          <p:cNvPr id="5" name="Shape 79">
            <a:extLst>
              <a:ext uri="{FF2B5EF4-FFF2-40B4-BE49-F238E27FC236}">
                <a16:creationId xmlns:a16="http://schemas.microsoft.com/office/drawing/2014/main" id="{628433A8-A5C1-4972-9C5C-017297C1BE9C}"/>
              </a:ext>
            </a:extLst>
          </p:cNvPr>
          <p:cNvSpPr>
            <a:spLocks noChangeShapeType="1"/>
          </p:cNvSpPr>
          <p:nvPr/>
        </p:nvSpPr>
        <p:spPr bwMode="auto">
          <a:xfrm flipH="1" flipV="1">
            <a:off x="3516058" y="1824656"/>
            <a:ext cx="1484073" cy="1623189"/>
          </a:xfrm>
          <a:prstGeom prst="line">
            <a:avLst/>
          </a:prstGeom>
          <a:noFill/>
          <a:ln w="63500">
            <a:solidFill>
              <a:schemeClr val="accent1">
                <a:lumMod val="100000"/>
              </a:schemeClr>
            </a:solidFill>
            <a:miter lim="400000"/>
            <a:headEnd/>
            <a:tailEnd/>
          </a:ln>
          <a:extLst>
            <a:ext uri="{909E8E84-426E-40DD-AFC4-6F175D3DCCD1}">
              <a14:hiddenFill xmlns:a14="http://schemas.microsoft.com/office/drawing/2010/main">
                <a:noFill/>
              </a14:hiddenFill>
            </a:ext>
          </a:extLst>
        </p:spPr>
        <p:txBody>
          <a:bodyPr lIns="25400" tIns="25400" rIns="25400" bIns="254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500" b="0" i="0" u="none" strike="noStrike" kern="1200" cap="none" spc="0" normalizeH="0" baseline="0" noProof="0">
              <a:ln>
                <a:noFill/>
              </a:ln>
              <a:solidFill>
                <a:srgbClr val="000000"/>
              </a:solidFill>
              <a:effectLst/>
              <a:uLnTx/>
              <a:uFillTx/>
              <a:latin typeface="Arial"/>
              <a:cs typeface="+mn-ea"/>
              <a:sym typeface="+mn-lt"/>
            </a:endParaRPr>
          </a:p>
        </p:txBody>
      </p:sp>
      <p:sp>
        <p:nvSpPr>
          <p:cNvPr id="6" name="Shape 80">
            <a:extLst>
              <a:ext uri="{FF2B5EF4-FFF2-40B4-BE49-F238E27FC236}">
                <a16:creationId xmlns:a16="http://schemas.microsoft.com/office/drawing/2014/main" id="{1A62D739-7BFE-4764-9795-D1B0E68FF07C}"/>
              </a:ext>
            </a:extLst>
          </p:cNvPr>
          <p:cNvSpPr>
            <a:spLocks noChangeShapeType="1"/>
          </p:cNvSpPr>
          <p:nvPr/>
        </p:nvSpPr>
        <p:spPr bwMode="auto">
          <a:xfrm flipV="1">
            <a:off x="2456894" y="3485758"/>
            <a:ext cx="1432051" cy="1586081"/>
          </a:xfrm>
          <a:prstGeom prst="line">
            <a:avLst/>
          </a:prstGeom>
          <a:noFill/>
          <a:ln w="63500">
            <a:solidFill>
              <a:schemeClr val="accent1">
                <a:lumMod val="100000"/>
              </a:schemeClr>
            </a:solidFill>
            <a:miter lim="400000"/>
            <a:headEnd/>
            <a:tailEnd/>
          </a:ln>
          <a:extLst>
            <a:ext uri="{909E8E84-426E-40DD-AFC4-6F175D3DCCD1}">
              <a14:hiddenFill xmlns:a14="http://schemas.microsoft.com/office/drawing/2010/main">
                <a:noFill/>
              </a14:hiddenFill>
            </a:ext>
          </a:extLst>
        </p:spPr>
        <p:txBody>
          <a:bodyPr lIns="25400" tIns="25400" rIns="25400" bIns="254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500" b="0" i="0" u="none" strike="noStrike" kern="1200" cap="none" spc="0" normalizeH="0" baseline="0" noProof="0">
              <a:ln>
                <a:noFill/>
              </a:ln>
              <a:solidFill>
                <a:srgbClr val="000000"/>
              </a:solidFill>
              <a:effectLst/>
              <a:uLnTx/>
              <a:uFillTx/>
              <a:latin typeface="Arial"/>
              <a:cs typeface="+mn-ea"/>
              <a:sym typeface="+mn-lt"/>
            </a:endParaRPr>
          </a:p>
        </p:txBody>
      </p:sp>
      <p:sp>
        <p:nvSpPr>
          <p:cNvPr id="7" name="Shape 81">
            <a:extLst>
              <a:ext uri="{FF2B5EF4-FFF2-40B4-BE49-F238E27FC236}">
                <a16:creationId xmlns:a16="http://schemas.microsoft.com/office/drawing/2014/main" id="{1B8B36BB-A61D-4CC7-BD88-87E50BDAAD2E}"/>
              </a:ext>
            </a:extLst>
          </p:cNvPr>
          <p:cNvSpPr>
            <a:spLocks noChangeShapeType="1"/>
          </p:cNvSpPr>
          <p:nvPr/>
        </p:nvSpPr>
        <p:spPr bwMode="auto">
          <a:xfrm flipH="1" flipV="1">
            <a:off x="5683463" y="1824656"/>
            <a:ext cx="1484073" cy="1623189"/>
          </a:xfrm>
          <a:prstGeom prst="line">
            <a:avLst/>
          </a:prstGeom>
          <a:noFill/>
          <a:ln w="63500">
            <a:solidFill>
              <a:schemeClr val="accent1">
                <a:lumMod val="100000"/>
              </a:schemeClr>
            </a:solidFill>
            <a:miter lim="400000"/>
            <a:headEnd/>
            <a:tailEnd/>
          </a:ln>
          <a:extLst>
            <a:ext uri="{909E8E84-426E-40DD-AFC4-6F175D3DCCD1}">
              <a14:hiddenFill xmlns:a14="http://schemas.microsoft.com/office/drawing/2010/main">
                <a:noFill/>
              </a14:hiddenFill>
            </a:ext>
          </a:extLst>
        </p:spPr>
        <p:txBody>
          <a:bodyPr lIns="25400" tIns="25400" rIns="25400" bIns="254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500" b="0" i="0" u="none" strike="noStrike" kern="1200" cap="none" spc="0" normalizeH="0" baseline="0" noProof="0">
              <a:ln>
                <a:noFill/>
              </a:ln>
              <a:solidFill>
                <a:srgbClr val="000000"/>
              </a:solidFill>
              <a:effectLst/>
              <a:uLnTx/>
              <a:uFillTx/>
              <a:latin typeface="Arial"/>
              <a:cs typeface="+mn-ea"/>
              <a:sym typeface="+mn-lt"/>
            </a:endParaRPr>
          </a:p>
        </p:txBody>
      </p:sp>
      <p:sp>
        <p:nvSpPr>
          <p:cNvPr id="8" name="Shape 82">
            <a:extLst>
              <a:ext uri="{FF2B5EF4-FFF2-40B4-BE49-F238E27FC236}">
                <a16:creationId xmlns:a16="http://schemas.microsoft.com/office/drawing/2014/main" id="{07ADDFD6-2CC2-4647-B225-E62482B25F45}"/>
              </a:ext>
            </a:extLst>
          </p:cNvPr>
          <p:cNvSpPr>
            <a:spLocks noChangeShapeType="1"/>
          </p:cNvSpPr>
          <p:nvPr/>
        </p:nvSpPr>
        <p:spPr bwMode="auto">
          <a:xfrm flipV="1">
            <a:off x="4628533" y="3485758"/>
            <a:ext cx="1432051" cy="1586081"/>
          </a:xfrm>
          <a:prstGeom prst="line">
            <a:avLst/>
          </a:prstGeom>
          <a:noFill/>
          <a:ln w="63500">
            <a:solidFill>
              <a:schemeClr val="accent1">
                <a:lumMod val="100000"/>
              </a:schemeClr>
            </a:solidFill>
            <a:miter lim="400000"/>
            <a:headEnd/>
            <a:tailEnd/>
          </a:ln>
          <a:extLst>
            <a:ext uri="{909E8E84-426E-40DD-AFC4-6F175D3DCCD1}">
              <a14:hiddenFill xmlns:a14="http://schemas.microsoft.com/office/drawing/2010/main">
                <a:noFill/>
              </a14:hiddenFill>
            </a:ext>
          </a:extLst>
        </p:spPr>
        <p:txBody>
          <a:bodyPr lIns="25400" tIns="25400" rIns="25400" bIns="254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500" b="0" i="0" u="none" strike="noStrike" kern="1200" cap="none" spc="0" normalizeH="0" baseline="0" noProof="0">
              <a:ln>
                <a:noFill/>
              </a:ln>
              <a:solidFill>
                <a:srgbClr val="000000"/>
              </a:solidFill>
              <a:effectLst/>
              <a:uLnTx/>
              <a:uFillTx/>
              <a:latin typeface="Arial"/>
              <a:cs typeface="+mn-ea"/>
              <a:sym typeface="+mn-lt"/>
            </a:endParaRPr>
          </a:p>
        </p:txBody>
      </p:sp>
      <p:sp>
        <p:nvSpPr>
          <p:cNvPr id="9" name="Shape 83">
            <a:extLst>
              <a:ext uri="{FF2B5EF4-FFF2-40B4-BE49-F238E27FC236}">
                <a16:creationId xmlns:a16="http://schemas.microsoft.com/office/drawing/2014/main" id="{5E7A9E9F-BA35-4B8B-A33E-9AC5EFFECFC9}"/>
              </a:ext>
            </a:extLst>
          </p:cNvPr>
          <p:cNvSpPr>
            <a:spLocks noChangeArrowheads="1"/>
          </p:cNvSpPr>
          <p:nvPr/>
        </p:nvSpPr>
        <p:spPr bwMode="auto">
          <a:xfrm>
            <a:off x="3820556" y="3378928"/>
            <a:ext cx="158569" cy="158575"/>
          </a:xfrm>
          <a:prstGeom prst="ellipse">
            <a:avLst/>
          </a:prstGeom>
          <a:solidFill>
            <a:srgbClr val="FFFFFF"/>
          </a:solidFill>
          <a:ln w="63500">
            <a:solidFill>
              <a:schemeClr val="accent1">
                <a:lumMod val="100000"/>
              </a:schemeClr>
            </a:solidFill>
            <a:miter lim="400000"/>
            <a:headEnd/>
            <a:tailEnd/>
          </a:ln>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FFFFFF"/>
              </a:solidFill>
              <a:effectLst/>
              <a:uLnTx/>
              <a:uFillTx/>
              <a:latin typeface="Arial"/>
              <a:cs typeface="+mn-ea"/>
              <a:sym typeface="+mn-lt"/>
            </a:endParaRPr>
          </a:p>
        </p:txBody>
      </p:sp>
      <p:sp>
        <p:nvSpPr>
          <p:cNvPr id="10" name="Shape 84">
            <a:extLst>
              <a:ext uri="{FF2B5EF4-FFF2-40B4-BE49-F238E27FC236}">
                <a16:creationId xmlns:a16="http://schemas.microsoft.com/office/drawing/2014/main" id="{D7486814-C38D-4D55-8B26-B6F638EB26B7}"/>
              </a:ext>
            </a:extLst>
          </p:cNvPr>
          <p:cNvSpPr>
            <a:spLocks noChangeArrowheads="1"/>
          </p:cNvSpPr>
          <p:nvPr/>
        </p:nvSpPr>
        <p:spPr bwMode="auto">
          <a:xfrm>
            <a:off x="4931774" y="3378928"/>
            <a:ext cx="158569" cy="158575"/>
          </a:xfrm>
          <a:prstGeom prst="ellipse">
            <a:avLst/>
          </a:prstGeom>
          <a:solidFill>
            <a:srgbClr val="FFFFFF"/>
          </a:solidFill>
          <a:ln w="63500">
            <a:solidFill>
              <a:schemeClr val="accent1">
                <a:lumMod val="100000"/>
              </a:schemeClr>
            </a:solidFill>
            <a:miter lim="400000"/>
            <a:headEnd/>
            <a:tailEnd/>
          </a:ln>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FFFFFF"/>
              </a:solidFill>
              <a:effectLst/>
              <a:uLnTx/>
              <a:uFillTx/>
              <a:latin typeface="Arial"/>
              <a:cs typeface="+mn-ea"/>
              <a:sym typeface="+mn-lt"/>
            </a:endParaRPr>
          </a:p>
        </p:txBody>
      </p:sp>
      <p:sp>
        <p:nvSpPr>
          <p:cNvPr id="11" name="Shape 85">
            <a:extLst>
              <a:ext uri="{FF2B5EF4-FFF2-40B4-BE49-F238E27FC236}">
                <a16:creationId xmlns:a16="http://schemas.microsoft.com/office/drawing/2014/main" id="{23569A68-4652-4DAB-966B-B77E491F16AC}"/>
              </a:ext>
            </a:extLst>
          </p:cNvPr>
          <p:cNvSpPr>
            <a:spLocks noChangeArrowheads="1"/>
          </p:cNvSpPr>
          <p:nvPr/>
        </p:nvSpPr>
        <p:spPr bwMode="auto">
          <a:xfrm>
            <a:off x="5977466" y="3378928"/>
            <a:ext cx="158569" cy="158575"/>
          </a:xfrm>
          <a:prstGeom prst="ellipse">
            <a:avLst/>
          </a:prstGeom>
          <a:solidFill>
            <a:srgbClr val="FFFFFF"/>
          </a:solidFill>
          <a:ln w="63500">
            <a:solidFill>
              <a:schemeClr val="accent1">
                <a:lumMod val="100000"/>
              </a:schemeClr>
            </a:solidFill>
            <a:miter lim="400000"/>
            <a:headEnd/>
            <a:tailEnd/>
          </a:ln>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FFFFFF"/>
              </a:solidFill>
              <a:effectLst/>
              <a:uLnTx/>
              <a:uFillTx/>
              <a:latin typeface="Arial"/>
              <a:cs typeface="+mn-ea"/>
              <a:sym typeface="+mn-lt"/>
            </a:endParaRPr>
          </a:p>
        </p:txBody>
      </p:sp>
      <p:sp>
        <p:nvSpPr>
          <p:cNvPr id="12" name="Shape 86">
            <a:extLst>
              <a:ext uri="{FF2B5EF4-FFF2-40B4-BE49-F238E27FC236}">
                <a16:creationId xmlns:a16="http://schemas.microsoft.com/office/drawing/2014/main" id="{48F970E6-16B3-415D-94CC-960D47F33107}"/>
              </a:ext>
            </a:extLst>
          </p:cNvPr>
          <p:cNvSpPr>
            <a:spLocks noChangeArrowheads="1"/>
          </p:cNvSpPr>
          <p:nvPr/>
        </p:nvSpPr>
        <p:spPr bwMode="auto">
          <a:xfrm>
            <a:off x="7096707" y="3378928"/>
            <a:ext cx="158569" cy="158575"/>
          </a:xfrm>
          <a:prstGeom prst="ellipse">
            <a:avLst/>
          </a:prstGeom>
          <a:solidFill>
            <a:srgbClr val="FFFFFF"/>
          </a:solidFill>
          <a:ln w="63500">
            <a:solidFill>
              <a:schemeClr val="accent1">
                <a:lumMod val="100000"/>
              </a:schemeClr>
            </a:solidFill>
            <a:miter lim="400000"/>
            <a:headEnd/>
            <a:tailEnd/>
          </a:ln>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FFFFFF"/>
              </a:solidFill>
              <a:effectLst/>
              <a:uLnTx/>
              <a:uFillTx/>
              <a:latin typeface="Arial"/>
              <a:cs typeface="+mn-ea"/>
              <a:sym typeface="+mn-lt"/>
            </a:endParaRPr>
          </a:p>
        </p:txBody>
      </p:sp>
      <p:sp>
        <p:nvSpPr>
          <p:cNvPr id="13" name="Shape 87">
            <a:extLst>
              <a:ext uri="{FF2B5EF4-FFF2-40B4-BE49-F238E27FC236}">
                <a16:creationId xmlns:a16="http://schemas.microsoft.com/office/drawing/2014/main" id="{6A1C4F2B-031B-4D59-900C-1CC6745F6BA7}"/>
              </a:ext>
            </a:extLst>
          </p:cNvPr>
          <p:cNvSpPr>
            <a:spLocks noChangeArrowheads="1"/>
          </p:cNvSpPr>
          <p:nvPr/>
        </p:nvSpPr>
        <p:spPr bwMode="auto">
          <a:xfrm>
            <a:off x="3312761" y="3926091"/>
            <a:ext cx="190318" cy="190325"/>
          </a:xfrm>
          <a:prstGeom prst="ellipse">
            <a:avLst/>
          </a:prstGeom>
          <a:solidFill>
            <a:schemeClr val="accent1">
              <a:lumMod val="100000"/>
            </a:schemeClr>
          </a:solidFill>
          <a:ln>
            <a:noFill/>
          </a:ln>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FFFFFF"/>
              </a:solidFill>
              <a:effectLst/>
              <a:uLnTx/>
              <a:uFillTx/>
              <a:latin typeface="Arial"/>
              <a:cs typeface="+mn-ea"/>
              <a:sym typeface="+mn-lt"/>
            </a:endParaRPr>
          </a:p>
        </p:txBody>
      </p:sp>
      <p:sp>
        <p:nvSpPr>
          <p:cNvPr id="14" name="Shape 88">
            <a:extLst>
              <a:ext uri="{FF2B5EF4-FFF2-40B4-BE49-F238E27FC236}">
                <a16:creationId xmlns:a16="http://schemas.microsoft.com/office/drawing/2014/main" id="{971B4192-3CE4-415D-98FF-15A6465E68B6}"/>
              </a:ext>
            </a:extLst>
          </p:cNvPr>
          <p:cNvSpPr>
            <a:spLocks noChangeArrowheads="1"/>
          </p:cNvSpPr>
          <p:nvPr/>
        </p:nvSpPr>
        <p:spPr bwMode="auto">
          <a:xfrm>
            <a:off x="2853874" y="4429179"/>
            <a:ext cx="190495" cy="190502"/>
          </a:xfrm>
          <a:prstGeom prst="ellipse">
            <a:avLst/>
          </a:prstGeom>
          <a:solidFill>
            <a:schemeClr val="accent1">
              <a:lumMod val="100000"/>
            </a:schemeClr>
          </a:solidFill>
          <a:ln>
            <a:noFill/>
          </a:ln>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FFFFFF"/>
              </a:solidFill>
              <a:effectLst/>
              <a:uLnTx/>
              <a:uFillTx/>
              <a:latin typeface="Arial"/>
              <a:cs typeface="+mn-ea"/>
              <a:sym typeface="+mn-lt"/>
            </a:endParaRPr>
          </a:p>
        </p:txBody>
      </p:sp>
      <p:sp>
        <p:nvSpPr>
          <p:cNvPr id="15" name="Shape 89">
            <a:extLst>
              <a:ext uri="{FF2B5EF4-FFF2-40B4-BE49-F238E27FC236}">
                <a16:creationId xmlns:a16="http://schemas.microsoft.com/office/drawing/2014/main" id="{A8230863-5CA9-426A-8DEC-BB0C82DFDA03}"/>
              </a:ext>
            </a:extLst>
          </p:cNvPr>
          <p:cNvSpPr>
            <a:spLocks noChangeArrowheads="1"/>
          </p:cNvSpPr>
          <p:nvPr/>
        </p:nvSpPr>
        <p:spPr bwMode="auto">
          <a:xfrm>
            <a:off x="2154888" y="4983555"/>
            <a:ext cx="431789" cy="431805"/>
          </a:xfrm>
          <a:prstGeom prst="ellipse">
            <a:avLst/>
          </a:prstGeom>
          <a:solidFill>
            <a:schemeClr val="accent1">
              <a:lumMod val="100000"/>
            </a:schemeClr>
          </a:solidFill>
          <a:ln w="63500">
            <a:solidFill>
              <a:schemeClr val="accent1">
                <a:lumMod val="100000"/>
              </a:schemeClr>
            </a:solidFill>
            <a:miter lim="400000"/>
            <a:headEnd/>
            <a:tailEnd/>
          </a:ln>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FFFFFF"/>
              </a:solidFill>
              <a:effectLst/>
              <a:uLnTx/>
              <a:uFillTx/>
              <a:latin typeface="Arial"/>
              <a:cs typeface="+mn-ea"/>
              <a:sym typeface="+mn-lt"/>
            </a:endParaRPr>
          </a:p>
        </p:txBody>
      </p:sp>
      <p:sp>
        <p:nvSpPr>
          <p:cNvPr id="16" name="Shape 90">
            <a:extLst>
              <a:ext uri="{FF2B5EF4-FFF2-40B4-BE49-F238E27FC236}">
                <a16:creationId xmlns:a16="http://schemas.microsoft.com/office/drawing/2014/main" id="{3DBFB6BF-E227-41DB-9E0C-EE7A434F4220}"/>
              </a:ext>
            </a:extLst>
          </p:cNvPr>
          <p:cNvSpPr>
            <a:spLocks noChangeArrowheads="1"/>
          </p:cNvSpPr>
          <p:nvPr/>
        </p:nvSpPr>
        <p:spPr bwMode="auto">
          <a:xfrm>
            <a:off x="5474856" y="3924288"/>
            <a:ext cx="190495" cy="190502"/>
          </a:xfrm>
          <a:prstGeom prst="ellipse">
            <a:avLst/>
          </a:prstGeom>
          <a:solidFill>
            <a:schemeClr val="accent1">
              <a:lumMod val="100000"/>
            </a:schemeClr>
          </a:solidFill>
          <a:ln>
            <a:noFill/>
          </a:ln>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FFFFFF"/>
              </a:solidFill>
              <a:effectLst/>
              <a:uLnTx/>
              <a:uFillTx/>
              <a:latin typeface="Arial"/>
              <a:cs typeface="+mn-ea"/>
              <a:sym typeface="+mn-lt"/>
            </a:endParaRPr>
          </a:p>
        </p:txBody>
      </p:sp>
      <p:sp>
        <p:nvSpPr>
          <p:cNvPr id="17" name="Shape 91">
            <a:extLst>
              <a:ext uri="{FF2B5EF4-FFF2-40B4-BE49-F238E27FC236}">
                <a16:creationId xmlns:a16="http://schemas.microsoft.com/office/drawing/2014/main" id="{BBE5D0B1-8A92-4968-A16C-35DE3CBB29EE}"/>
              </a:ext>
            </a:extLst>
          </p:cNvPr>
          <p:cNvSpPr>
            <a:spLocks noChangeArrowheads="1"/>
          </p:cNvSpPr>
          <p:nvPr/>
        </p:nvSpPr>
        <p:spPr bwMode="auto">
          <a:xfrm>
            <a:off x="5022924" y="4440003"/>
            <a:ext cx="190495" cy="190502"/>
          </a:xfrm>
          <a:prstGeom prst="ellipse">
            <a:avLst/>
          </a:prstGeom>
          <a:solidFill>
            <a:schemeClr val="accent1">
              <a:lumMod val="100000"/>
            </a:schemeClr>
          </a:solidFill>
          <a:ln>
            <a:noFill/>
          </a:ln>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FFFFFF"/>
              </a:solidFill>
              <a:effectLst/>
              <a:uLnTx/>
              <a:uFillTx/>
              <a:latin typeface="Arial"/>
              <a:cs typeface="+mn-ea"/>
              <a:sym typeface="+mn-lt"/>
            </a:endParaRPr>
          </a:p>
        </p:txBody>
      </p:sp>
      <p:sp>
        <p:nvSpPr>
          <p:cNvPr id="18" name="Shape 92">
            <a:extLst>
              <a:ext uri="{FF2B5EF4-FFF2-40B4-BE49-F238E27FC236}">
                <a16:creationId xmlns:a16="http://schemas.microsoft.com/office/drawing/2014/main" id="{FB63ACFE-3FD9-49A9-9C06-85624C6D8202}"/>
              </a:ext>
            </a:extLst>
          </p:cNvPr>
          <p:cNvSpPr>
            <a:spLocks noChangeArrowheads="1"/>
          </p:cNvSpPr>
          <p:nvPr/>
        </p:nvSpPr>
        <p:spPr bwMode="auto">
          <a:xfrm>
            <a:off x="3901121" y="2262020"/>
            <a:ext cx="190318" cy="190325"/>
          </a:xfrm>
          <a:prstGeom prst="ellipse">
            <a:avLst/>
          </a:prstGeom>
          <a:solidFill>
            <a:schemeClr val="accent1">
              <a:lumMod val="100000"/>
            </a:schemeClr>
          </a:solidFill>
          <a:ln>
            <a:noFill/>
          </a:ln>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FFFFFF"/>
              </a:solidFill>
              <a:effectLst/>
              <a:uLnTx/>
              <a:uFillTx/>
              <a:latin typeface="Arial"/>
              <a:cs typeface="+mn-ea"/>
              <a:sym typeface="+mn-lt"/>
            </a:endParaRPr>
          </a:p>
        </p:txBody>
      </p:sp>
      <p:sp>
        <p:nvSpPr>
          <p:cNvPr id="19" name="Shape 93">
            <a:extLst>
              <a:ext uri="{FF2B5EF4-FFF2-40B4-BE49-F238E27FC236}">
                <a16:creationId xmlns:a16="http://schemas.microsoft.com/office/drawing/2014/main" id="{C76EE440-360D-4264-9E3B-5E2BA2D90A78}"/>
              </a:ext>
            </a:extLst>
          </p:cNvPr>
          <p:cNvSpPr>
            <a:spLocks noChangeArrowheads="1"/>
          </p:cNvSpPr>
          <p:nvPr/>
        </p:nvSpPr>
        <p:spPr bwMode="auto">
          <a:xfrm>
            <a:off x="4377210" y="2780964"/>
            <a:ext cx="190318" cy="190325"/>
          </a:xfrm>
          <a:prstGeom prst="ellipse">
            <a:avLst/>
          </a:prstGeom>
          <a:solidFill>
            <a:schemeClr val="accent1">
              <a:lumMod val="100000"/>
            </a:schemeClr>
          </a:solidFill>
          <a:ln>
            <a:noFill/>
          </a:ln>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FFFFFF"/>
              </a:solidFill>
              <a:effectLst/>
              <a:uLnTx/>
              <a:uFillTx/>
              <a:latin typeface="Arial"/>
              <a:cs typeface="+mn-ea"/>
              <a:sym typeface="+mn-lt"/>
            </a:endParaRPr>
          </a:p>
        </p:txBody>
      </p:sp>
      <p:sp>
        <p:nvSpPr>
          <p:cNvPr id="20" name="Shape 94">
            <a:extLst>
              <a:ext uri="{FF2B5EF4-FFF2-40B4-BE49-F238E27FC236}">
                <a16:creationId xmlns:a16="http://schemas.microsoft.com/office/drawing/2014/main" id="{4A07DACA-A2AE-4CA8-8DB0-E80EE8F787D2}"/>
              </a:ext>
            </a:extLst>
          </p:cNvPr>
          <p:cNvSpPr>
            <a:spLocks noChangeArrowheads="1"/>
          </p:cNvSpPr>
          <p:nvPr/>
        </p:nvSpPr>
        <p:spPr bwMode="auto">
          <a:xfrm>
            <a:off x="6073525" y="2261931"/>
            <a:ext cx="190495" cy="190502"/>
          </a:xfrm>
          <a:prstGeom prst="ellipse">
            <a:avLst/>
          </a:prstGeom>
          <a:solidFill>
            <a:schemeClr val="accent1">
              <a:lumMod val="100000"/>
            </a:schemeClr>
          </a:solidFill>
          <a:ln>
            <a:noFill/>
          </a:ln>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FFFFFF"/>
              </a:solidFill>
              <a:effectLst/>
              <a:uLnTx/>
              <a:uFillTx/>
              <a:latin typeface="Arial"/>
              <a:cs typeface="+mn-ea"/>
              <a:sym typeface="+mn-lt"/>
            </a:endParaRPr>
          </a:p>
        </p:txBody>
      </p:sp>
      <p:sp>
        <p:nvSpPr>
          <p:cNvPr id="21" name="Shape 95">
            <a:extLst>
              <a:ext uri="{FF2B5EF4-FFF2-40B4-BE49-F238E27FC236}">
                <a16:creationId xmlns:a16="http://schemas.microsoft.com/office/drawing/2014/main" id="{C37F27DD-566F-4A61-BC90-14B2393833A7}"/>
              </a:ext>
            </a:extLst>
          </p:cNvPr>
          <p:cNvSpPr>
            <a:spLocks noChangeArrowheads="1"/>
          </p:cNvSpPr>
          <p:nvPr/>
        </p:nvSpPr>
        <p:spPr bwMode="auto">
          <a:xfrm>
            <a:off x="6551950" y="2783019"/>
            <a:ext cx="190495" cy="190502"/>
          </a:xfrm>
          <a:prstGeom prst="ellipse">
            <a:avLst/>
          </a:prstGeom>
          <a:solidFill>
            <a:schemeClr val="accent1">
              <a:lumMod val="100000"/>
            </a:schemeClr>
          </a:solidFill>
          <a:ln>
            <a:noFill/>
          </a:ln>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FFFFFF"/>
              </a:solidFill>
              <a:effectLst/>
              <a:uLnTx/>
              <a:uFillTx/>
              <a:latin typeface="Arial"/>
              <a:cs typeface="+mn-ea"/>
              <a:sym typeface="+mn-lt"/>
            </a:endParaRPr>
          </a:p>
        </p:txBody>
      </p:sp>
      <p:sp>
        <p:nvSpPr>
          <p:cNvPr id="22" name="Shape 96">
            <a:extLst>
              <a:ext uri="{FF2B5EF4-FFF2-40B4-BE49-F238E27FC236}">
                <a16:creationId xmlns:a16="http://schemas.microsoft.com/office/drawing/2014/main" id="{BBDCB3F4-4DFA-4AA9-9C1D-3BCFE3EF2B43}"/>
              </a:ext>
            </a:extLst>
          </p:cNvPr>
          <p:cNvSpPr>
            <a:spLocks noChangeArrowheads="1"/>
          </p:cNvSpPr>
          <p:nvPr/>
        </p:nvSpPr>
        <p:spPr bwMode="auto">
          <a:xfrm>
            <a:off x="4171989" y="2254590"/>
            <a:ext cx="1824179" cy="205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altLang="ru-RU" sz="1000" b="0" i="0" u="none" strike="noStrike" kern="1200" cap="none" spc="0" normalizeH="0" baseline="0" noProof="0">
                <a:ln>
                  <a:noFill/>
                </a:ln>
                <a:solidFill>
                  <a:schemeClr val="accent1"/>
                </a:solidFill>
                <a:effectLst/>
                <a:uLnTx/>
                <a:uFillTx/>
                <a:latin typeface="Arial"/>
                <a:cs typeface="+mn-ea"/>
                <a:sym typeface="+mn-lt"/>
              </a:rPr>
              <a:t>Fish bone text block </a:t>
            </a:r>
          </a:p>
        </p:txBody>
      </p:sp>
      <p:sp>
        <p:nvSpPr>
          <p:cNvPr id="23" name="Shape 97">
            <a:extLst>
              <a:ext uri="{FF2B5EF4-FFF2-40B4-BE49-F238E27FC236}">
                <a16:creationId xmlns:a16="http://schemas.microsoft.com/office/drawing/2014/main" id="{04459071-55B0-404B-9A50-EBA45F7824FC}"/>
              </a:ext>
            </a:extLst>
          </p:cNvPr>
          <p:cNvSpPr>
            <a:spLocks noChangeArrowheads="1"/>
          </p:cNvSpPr>
          <p:nvPr/>
        </p:nvSpPr>
        <p:spPr bwMode="auto">
          <a:xfrm>
            <a:off x="4647221" y="2769328"/>
            <a:ext cx="1824179" cy="205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altLang="ru-RU" sz="1000" b="0" i="0" u="none" strike="noStrike" kern="1200" cap="none" spc="0" normalizeH="0" baseline="0" noProof="0">
                <a:ln>
                  <a:noFill/>
                </a:ln>
                <a:solidFill>
                  <a:schemeClr val="accent1"/>
                </a:solidFill>
                <a:effectLst/>
                <a:uLnTx/>
                <a:uFillTx/>
                <a:latin typeface="Arial"/>
                <a:cs typeface="+mn-ea"/>
                <a:sym typeface="+mn-lt"/>
              </a:rPr>
              <a:t>Fish bone text block </a:t>
            </a:r>
          </a:p>
        </p:txBody>
      </p:sp>
      <p:sp>
        <p:nvSpPr>
          <p:cNvPr id="24" name="Shape 98">
            <a:extLst>
              <a:ext uri="{FF2B5EF4-FFF2-40B4-BE49-F238E27FC236}">
                <a16:creationId xmlns:a16="http://schemas.microsoft.com/office/drawing/2014/main" id="{28F17C0B-2344-4D33-867F-9C19F500D7ED}"/>
              </a:ext>
            </a:extLst>
          </p:cNvPr>
          <p:cNvSpPr>
            <a:spLocks noChangeArrowheads="1"/>
          </p:cNvSpPr>
          <p:nvPr/>
        </p:nvSpPr>
        <p:spPr bwMode="auto">
          <a:xfrm>
            <a:off x="6341376" y="2254590"/>
            <a:ext cx="1824179" cy="205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altLang="ru-RU" sz="1000" b="0" i="0" u="none" strike="noStrike" kern="1200" cap="none" spc="0" normalizeH="0" baseline="0" noProof="0">
                <a:ln>
                  <a:noFill/>
                </a:ln>
                <a:solidFill>
                  <a:schemeClr val="accent1"/>
                </a:solidFill>
                <a:effectLst/>
                <a:uLnTx/>
                <a:uFillTx/>
                <a:latin typeface="Arial"/>
                <a:cs typeface="+mn-ea"/>
                <a:sym typeface="+mn-lt"/>
              </a:rPr>
              <a:t>Fish bone text block </a:t>
            </a:r>
          </a:p>
        </p:txBody>
      </p:sp>
      <p:sp>
        <p:nvSpPr>
          <p:cNvPr id="25" name="Shape 99">
            <a:extLst>
              <a:ext uri="{FF2B5EF4-FFF2-40B4-BE49-F238E27FC236}">
                <a16:creationId xmlns:a16="http://schemas.microsoft.com/office/drawing/2014/main" id="{7D45640D-2978-4DEE-A173-1FA1D2F2F178}"/>
              </a:ext>
            </a:extLst>
          </p:cNvPr>
          <p:cNvSpPr>
            <a:spLocks noChangeArrowheads="1"/>
          </p:cNvSpPr>
          <p:nvPr/>
        </p:nvSpPr>
        <p:spPr bwMode="auto">
          <a:xfrm>
            <a:off x="6816609" y="2769328"/>
            <a:ext cx="1824179" cy="205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altLang="ru-RU" sz="1000" b="0" i="0" u="none" strike="noStrike" kern="1200" cap="none" spc="0" normalizeH="0" baseline="0" noProof="0">
                <a:ln>
                  <a:noFill/>
                </a:ln>
                <a:solidFill>
                  <a:schemeClr val="accent1"/>
                </a:solidFill>
                <a:effectLst/>
                <a:uLnTx/>
                <a:uFillTx/>
                <a:latin typeface="Arial"/>
                <a:cs typeface="+mn-ea"/>
                <a:sym typeface="+mn-lt"/>
              </a:rPr>
              <a:t>Fish bone text block </a:t>
            </a:r>
          </a:p>
        </p:txBody>
      </p:sp>
      <p:sp>
        <p:nvSpPr>
          <p:cNvPr id="26" name="Shape 100">
            <a:extLst>
              <a:ext uri="{FF2B5EF4-FFF2-40B4-BE49-F238E27FC236}">
                <a16:creationId xmlns:a16="http://schemas.microsoft.com/office/drawing/2014/main" id="{918D5A16-0D84-4FB1-AE42-17C12E796882}"/>
              </a:ext>
            </a:extLst>
          </p:cNvPr>
          <p:cNvSpPr>
            <a:spLocks noChangeArrowheads="1"/>
          </p:cNvSpPr>
          <p:nvPr/>
        </p:nvSpPr>
        <p:spPr bwMode="auto">
          <a:xfrm>
            <a:off x="3568930" y="3922869"/>
            <a:ext cx="1824180" cy="205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altLang="ru-RU" sz="1000" b="0" i="0" u="none" strike="noStrike" kern="1200" cap="none" spc="0" normalizeH="0" baseline="0" noProof="0">
                <a:ln>
                  <a:noFill/>
                </a:ln>
                <a:solidFill>
                  <a:schemeClr val="accent1"/>
                </a:solidFill>
                <a:effectLst/>
                <a:uLnTx/>
                <a:uFillTx/>
                <a:latin typeface="Arial"/>
                <a:cs typeface="+mn-ea"/>
                <a:sym typeface="+mn-lt"/>
              </a:rPr>
              <a:t>Fish bone text block </a:t>
            </a:r>
          </a:p>
        </p:txBody>
      </p:sp>
      <p:sp>
        <p:nvSpPr>
          <p:cNvPr id="27" name="Shape 101">
            <a:extLst>
              <a:ext uri="{FF2B5EF4-FFF2-40B4-BE49-F238E27FC236}">
                <a16:creationId xmlns:a16="http://schemas.microsoft.com/office/drawing/2014/main" id="{44B7E194-86FE-48B0-892B-5392E16807BD}"/>
              </a:ext>
            </a:extLst>
          </p:cNvPr>
          <p:cNvSpPr>
            <a:spLocks noChangeArrowheads="1"/>
          </p:cNvSpPr>
          <p:nvPr/>
        </p:nvSpPr>
        <p:spPr bwMode="auto">
          <a:xfrm>
            <a:off x="3110738" y="4431256"/>
            <a:ext cx="1824179" cy="205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altLang="ru-RU" sz="1000" b="0" i="0" u="none" strike="noStrike" kern="1200" cap="none" spc="0" normalizeH="0" baseline="0" noProof="0">
                <a:ln>
                  <a:noFill/>
                </a:ln>
                <a:solidFill>
                  <a:schemeClr val="accent1"/>
                </a:solidFill>
                <a:effectLst/>
                <a:uLnTx/>
                <a:uFillTx/>
                <a:latin typeface="Arial"/>
                <a:cs typeface="+mn-ea"/>
                <a:sym typeface="+mn-lt"/>
              </a:rPr>
              <a:t>Fish bone text block </a:t>
            </a:r>
          </a:p>
        </p:txBody>
      </p:sp>
      <p:sp>
        <p:nvSpPr>
          <p:cNvPr id="28" name="Shape 102">
            <a:extLst>
              <a:ext uri="{FF2B5EF4-FFF2-40B4-BE49-F238E27FC236}">
                <a16:creationId xmlns:a16="http://schemas.microsoft.com/office/drawing/2014/main" id="{2BDE8F4D-47C0-40B4-AAD8-008FB0172E29}"/>
              </a:ext>
            </a:extLst>
          </p:cNvPr>
          <p:cNvSpPr>
            <a:spLocks noChangeArrowheads="1"/>
          </p:cNvSpPr>
          <p:nvPr/>
        </p:nvSpPr>
        <p:spPr bwMode="auto">
          <a:xfrm>
            <a:off x="5746919" y="3922869"/>
            <a:ext cx="1824180" cy="205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altLang="ru-RU" sz="1000" b="0" i="0" u="none" strike="noStrike" kern="1200" cap="none" spc="0" normalizeH="0" baseline="0" noProof="0">
                <a:ln>
                  <a:noFill/>
                </a:ln>
                <a:solidFill>
                  <a:schemeClr val="accent1"/>
                </a:solidFill>
                <a:effectLst/>
                <a:uLnTx/>
                <a:uFillTx/>
                <a:latin typeface="Arial"/>
                <a:cs typeface="+mn-ea"/>
                <a:sym typeface="+mn-lt"/>
              </a:rPr>
              <a:t>Fish bone text block </a:t>
            </a:r>
          </a:p>
        </p:txBody>
      </p:sp>
      <p:sp>
        <p:nvSpPr>
          <p:cNvPr id="29" name="Shape 103">
            <a:extLst>
              <a:ext uri="{FF2B5EF4-FFF2-40B4-BE49-F238E27FC236}">
                <a16:creationId xmlns:a16="http://schemas.microsoft.com/office/drawing/2014/main" id="{91460883-A5AE-4A16-A076-C39795723578}"/>
              </a:ext>
            </a:extLst>
          </p:cNvPr>
          <p:cNvSpPr>
            <a:spLocks noChangeArrowheads="1"/>
          </p:cNvSpPr>
          <p:nvPr/>
        </p:nvSpPr>
        <p:spPr bwMode="auto">
          <a:xfrm>
            <a:off x="5288727" y="4431256"/>
            <a:ext cx="1824179" cy="205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altLang="ru-RU" sz="1000" b="0" i="0" u="none" strike="noStrike" kern="1200" cap="none" spc="0" normalizeH="0" baseline="0" noProof="0">
                <a:ln>
                  <a:noFill/>
                </a:ln>
                <a:solidFill>
                  <a:schemeClr val="accent1"/>
                </a:solidFill>
                <a:effectLst/>
                <a:uLnTx/>
                <a:uFillTx/>
                <a:latin typeface="Arial"/>
                <a:cs typeface="+mn-ea"/>
                <a:sym typeface="+mn-lt"/>
              </a:rPr>
              <a:t>Fish bone text block </a:t>
            </a:r>
          </a:p>
        </p:txBody>
      </p:sp>
      <p:sp>
        <p:nvSpPr>
          <p:cNvPr id="30" name="Shape 104">
            <a:extLst>
              <a:ext uri="{FF2B5EF4-FFF2-40B4-BE49-F238E27FC236}">
                <a16:creationId xmlns:a16="http://schemas.microsoft.com/office/drawing/2014/main" id="{6D0A9197-B71C-4F8C-B662-58FCE8C3DFBE}"/>
              </a:ext>
            </a:extLst>
          </p:cNvPr>
          <p:cNvSpPr>
            <a:spLocks noChangeArrowheads="1"/>
          </p:cNvSpPr>
          <p:nvPr/>
        </p:nvSpPr>
        <p:spPr bwMode="auto">
          <a:xfrm>
            <a:off x="4347034" y="4983555"/>
            <a:ext cx="431789" cy="431805"/>
          </a:xfrm>
          <a:prstGeom prst="ellipse">
            <a:avLst/>
          </a:prstGeom>
          <a:solidFill>
            <a:schemeClr val="accent1">
              <a:lumMod val="100000"/>
            </a:schemeClr>
          </a:solidFill>
          <a:ln w="63500">
            <a:solidFill>
              <a:schemeClr val="accent1">
                <a:lumMod val="100000"/>
              </a:schemeClr>
            </a:solidFill>
            <a:miter lim="400000"/>
            <a:headEnd/>
            <a:tailEnd/>
          </a:ln>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FFFFFF"/>
              </a:solidFill>
              <a:effectLst/>
              <a:uLnTx/>
              <a:uFillTx/>
              <a:latin typeface="Arial"/>
              <a:cs typeface="+mn-ea"/>
              <a:sym typeface="+mn-lt"/>
            </a:endParaRPr>
          </a:p>
        </p:txBody>
      </p:sp>
      <p:sp>
        <p:nvSpPr>
          <p:cNvPr id="31" name="Shape 105">
            <a:extLst>
              <a:ext uri="{FF2B5EF4-FFF2-40B4-BE49-F238E27FC236}">
                <a16:creationId xmlns:a16="http://schemas.microsoft.com/office/drawing/2014/main" id="{68EC3C18-7F28-4289-82A5-5D777A52AEF7}"/>
              </a:ext>
            </a:extLst>
          </p:cNvPr>
          <p:cNvSpPr>
            <a:spLocks noChangeArrowheads="1"/>
          </p:cNvSpPr>
          <p:nvPr/>
        </p:nvSpPr>
        <p:spPr bwMode="auto">
          <a:xfrm>
            <a:off x="3181113" y="1442640"/>
            <a:ext cx="431789" cy="431804"/>
          </a:xfrm>
          <a:prstGeom prst="ellipse">
            <a:avLst/>
          </a:prstGeom>
          <a:solidFill>
            <a:schemeClr val="accent1">
              <a:lumMod val="100000"/>
            </a:schemeClr>
          </a:solidFill>
          <a:ln w="63500">
            <a:solidFill>
              <a:schemeClr val="accent1">
                <a:lumMod val="100000"/>
              </a:schemeClr>
            </a:solidFill>
            <a:miter lim="400000"/>
            <a:headEnd/>
            <a:tailEnd/>
          </a:ln>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FFFFFF"/>
              </a:solidFill>
              <a:effectLst/>
              <a:uLnTx/>
              <a:uFillTx/>
              <a:latin typeface="Arial"/>
              <a:cs typeface="+mn-ea"/>
              <a:sym typeface="+mn-lt"/>
            </a:endParaRPr>
          </a:p>
        </p:txBody>
      </p:sp>
      <p:sp>
        <p:nvSpPr>
          <p:cNvPr id="32" name="Shape 106">
            <a:extLst>
              <a:ext uri="{FF2B5EF4-FFF2-40B4-BE49-F238E27FC236}">
                <a16:creationId xmlns:a16="http://schemas.microsoft.com/office/drawing/2014/main" id="{364F447D-55F1-4B75-9B92-19CB51651F2A}"/>
              </a:ext>
            </a:extLst>
          </p:cNvPr>
          <p:cNvSpPr>
            <a:spLocks noChangeArrowheads="1"/>
          </p:cNvSpPr>
          <p:nvPr/>
        </p:nvSpPr>
        <p:spPr bwMode="auto">
          <a:xfrm>
            <a:off x="5392308" y="1442640"/>
            <a:ext cx="431789" cy="431804"/>
          </a:xfrm>
          <a:prstGeom prst="ellipse">
            <a:avLst/>
          </a:prstGeom>
          <a:solidFill>
            <a:schemeClr val="accent1">
              <a:lumMod val="100000"/>
            </a:schemeClr>
          </a:solidFill>
          <a:ln w="63500">
            <a:solidFill>
              <a:schemeClr val="accent1">
                <a:lumMod val="100000"/>
              </a:schemeClr>
            </a:solidFill>
            <a:miter lim="400000"/>
            <a:headEnd/>
            <a:tailEnd/>
          </a:ln>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FFFFFF"/>
              </a:solidFill>
              <a:effectLst/>
              <a:uLnTx/>
              <a:uFillTx/>
              <a:latin typeface="Arial"/>
              <a:cs typeface="+mn-ea"/>
              <a:sym typeface="+mn-lt"/>
            </a:endParaRPr>
          </a:p>
        </p:txBody>
      </p:sp>
      <p:sp>
        <p:nvSpPr>
          <p:cNvPr id="33" name="Shape 107">
            <a:extLst>
              <a:ext uri="{FF2B5EF4-FFF2-40B4-BE49-F238E27FC236}">
                <a16:creationId xmlns:a16="http://schemas.microsoft.com/office/drawing/2014/main" id="{F2D5112D-78C1-45DC-AD05-7059E4BE2271}"/>
              </a:ext>
            </a:extLst>
          </p:cNvPr>
          <p:cNvSpPr>
            <a:spLocks noChangeArrowheads="1"/>
          </p:cNvSpPr>
          <p:nvPr/>
        </p:nvSpPr>
        <p:spPr bwMode="auto">
          <a:xfrm>
            <a:off x="2189559" y="5077631"/>
            <a:ext cx="362744" cy="2436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lgn="ctr">
              <a:defRPr sz="2500" cap="all">
                <a:solidFill>
                  <a:srgbClr val="FFFFFF"/>
                </a:solidFill>
                <a:latin typeface="Open Sans Semibold"/>
                <a:ea typeface="Open Sans Semibold"/>
                <a:cs typeface="Open Sans Semibold"/>
                <a:sym typeface="Open Sans Semibold"/>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sz="1250" b="0" i="0" u="none" strike="noStrike" kern="0" cap="all" spc="0" normalizeH="0" baseline="0" noProof="0">
                <a:ln>
                  <a:noFill/>
                </a:ln>
                <a:solidFill>
                  <a:srgbClr val="FFFFFF"/>
                </a:solidFill>
                <a:effectLst/>
                <a:uLnTx/>
                <a:uFillTx/>
                <a:latin typeface="Arial"/>
                <a:ea typeface="+mn-ea"/>
                <a:cs typeface="+mn-ea"/>
                <a:sym typeface="+mn-lt"/>
              </a:rPr>
              <a:t>1</a:t>
            </a:r>
          </a:p>
        </p:txBody>
      </p:sp>
      <p:sp>
        <p:nvSpPr>
          <p:cNvPr id="34" name="Shape 108">
            <a:extLst>
              <a:ext uri="{FF2B5EF4-FFF2-40B4-BE49-F238E27FC236}">
                <a16:creationId xmlns:a16="http://schemas.microsoft.com/office/drawing/2014/main" id="{6F7D6678-8914-4429-BEE8-598ADEB9ECE7}"/>
              </a:ext>
            </a:extLst>
          </p:cNvPr>
          <p:cNvSpPr>
            <a:spLocks noChangeArrowheads="1"/>
          </p:cNvSpPr>
          <p:nvPr/>
        </p:nvSpPr>
        <p:spPr bwMode="auto">
          <a:xfrm>
            <a:off x="3215878" y="1526394"/>
            <a:ext cx="362744" cy="2436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lgn="ctr">
              <a:defRPr sz="2500" cap="all">
                <a:solidFill>
                  <a:srgbClr val="FFFFFF"/>
                </a:solidFill>
                <a:latin typeface="Open Sans Semibold"/>
                <a:ea typeface="Open Sans Semibold"/>
                <a:cs typeface="Open Sans Semibold"/>
                <a:sym typeface="Open Sans Semibold"/>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sz="1250" b="0" i="0" u="none" strike="noStrike" kern="0" cap="all" spc="0" normalizeH="0" baseline="0" noProof="0">
                <a:ln>
                  <a:noFill/>
                </a:ln>
                <a:solidFill>
                  <a:srgbClr val="FFFFFF"/>
                </a:solidFill>
                <a:effectLst/>
                <a:uLnTx/>
                <a:uFillTx/>
                <a:latin typeface="Arial"/>
                <a:ea typeface="+mn-ea"/>
                <a:cs typeface="+mn-ea"/>
                <a:sym typeface="+mn-lt"/>
              </a:rPr>
              <a:t>2</a:t>
            </a:r>
          </a:p>
        </p:txBody>
      </p:sp>
      <p:sp>
        <p:nvSpPr>
          <p:cNvPr id="35" name="Shape 109">
            <a:extLst>
              <a:ext uri="{FF2B5EF4-FFF2-40B4-BE49-F238E27FC236}">
                <a16:creationId xmlns:a16="http://schemas.microsoft.com/office/drawing/2014/main" id="{07FDE45D-DBF2-4094-8DEE-44EAC37F5BF4}"/>
              </a:ext>
            </a:extLst>
          </p:cNvPr>
          <p:cNvSpPr>
            <a:spLocks noChangeArrowheads="1"/>
          </p:cNvSpPr>
          <p:nvPr/>
        </p:nvSpPr>
        <p:spPr bwMode="auto">
          <a:xfrm>
            <a:off x="5427265" y="1526394"/>
            <a:ext cx="361950" cy="2436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lgn="ctr">
              <a:defRPr sz="2500" cap="all">
                <a:solidFill>
                  <a:srgbClr val="FFFFFF"/>
                </a:solidFill>
                <a:latin typeface="Open Sans Semibold"/>
                <a:ea typeface="Open Sans Semibold"/>
                <a:cs typeface="Open Sans Semibold"/>
                <a:sym typeface="Open Sans Semibold"/>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sz="1250" b="0" i="0" u="none" strike="noStrike" kern="0" cap="all" spc="0" normalizeH="0" baseline="0" noProof="0">
                <a:ln>
                  <a:noFill/>
                </a:ln>
                <a:solidFill>
                  <a:srgbClr val="FFFFFF"/>
                </a:solidFill>
                <a:effectLst/>
                <a:uLnTx/>
                <a:uFillTx/>
                <a:latin typeface="Arial"/>
                <a:ea typeface="+mn-ea"/>
                <a:cs typeface="+mn-ea"/>
                <a:sym typeface="+mn-lt"/>
              </a:rPr>
              <a:t>4</a:t>
            </a:r>
          </a:p>
        </p:txBody>
      </p:sp>
      <p:sp>
        <p:nvSpPr>
          <p:cNvPr id="36" name="Shape 110">
            <a:extLst>
              <a:ext uri="{FF2B5EF4-FFF2-40B4-BE49-F238E27FC236}">
                <a16:creationId xmlns:a16="http://schemas.microsoft.com/office/drawing/2014/main" id="{3C5901CB-84E6-4947-AB2A-FBD8E856F0B9}"/>
              </a:ext>
            </a:extLst>
          </p:cNvPr>
          <p:cNvSpPr>
            <a:spLocks noChangeArrowheads="1"/>
          </p:cNvSpPr>
          <p:nvPr/>
        </p:nvSpPr>
        <p:spPr bwMode="auto">
          <a:xfrm>
            <a:off x="4381896" y="5077631"/>
            <a:ext cx="361950" cy="2436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lgn="ctr">
              <a:defRPr sz="2500" cap="all">
                <a:solidFill>
                  <a:srgbClr val="FFFFFF"/>
                </a:solidFill>
                <a:latin typeface="Open Sans Semibold"/>
                <a:ea typeface="Open Sans Semibold"/>
                <a:cs typeface="Open Sans Semibold"/>
                <a:sym typeface="Open Sans Semibold"/>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sz="1250" b="0" i="0" u="none" strike="noStrike" kern="0" cap="all" spc="0" normalizeH="0" baseline="0" noProof="0">
                <a:ln>
                  <a:noFill/>
                </a:ln>
                <a:solidFill>
                  <a:srgbClr val="FFFFFF"/>
                </a:solidFill>
                <a:effectLst/>
                <a:uLnTx/>
                <a:uFillTx/>
                <a:latin typeface="Arial"/>
                <a:ea typeface="+mn-ea"/>
                <a:cs typeface="+mn-ea"/>
                <a:sym typeface="+mn-lt"/>
              </a:rPr>
              <a:t>3</a:t>
            </a:r>
          </a:p>
        </p:txBody>
      </p:sp>
      <p:sp>
        <p:nvSpPr>
          <p:cNvPr id="37" name="Shape 111">
            <a:extLst>
              <a:ext uri="{FF2B5EF4-FFF2-40B4-BE49-F238E27FC236}">
                <a16:creationId xmlns:a16="http://schemas.microsoft.com/office/drawing/2014/main" id="{2C0FB3A5-BC97-45AC-A3A3-92B09333B6B4}"/>
              </a:ext>
            </a:extLst>
          </p:cNvPr>
          <p:cNvSpPr>
            <a:spLocks noChangeArrowheads="1"/>
          </p:cNvSpPr>
          <p:nvPr/>
        </p:nvSpPr>
        <p:spPr bwMode="auto">
          <a:xfrm>
            <a:off x="2690415" y="5077631"/>
            <a:ext cx="1268413" cy="2436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2500" cap="all">
                <a:solidFill>
                  <a:srgbClr val="344245"/>
                </a:solidFill>
                <a:latin typeface="Open Sans Semibold"/>
                <a:ea typeface="Open Sans Semibold"/>
                <a:cs typeface="Open Sans Semibold"/>
                <a:sym typeface="Open Sans Semibold"/>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sz="1250" b="1" i="0" u="none" strike="noStrike" kern="0" cap="all" spc="0" normalizeH="0" baseline="0" noProof="0">
                <a:ln>
                  <a:noFill/>
                </a:ln>
                <a:solidFill>
                  <a:schemeClr val="accent1"/>
                </a:solidFill>
                <a:effectLst/>
                <a:uLnTx/>
                <a:uFillTx/>
                <a:latin typeface="Arial"/>
                <a:ea typeface="+mn-ea"/>
                <a:cs typeface="+mn-ea"/>
                <a:sym typeface="+mn-lt"/>
              </a:rPr>
              <a:t>Text inform</a:t>
            </a:r>
          </a:p>
        </p:txBody>
      </p:sp>
      <p:sp>
        <p:nvSpPr>
          <p:cNvPr id="38" name="Shape 112">
            <a:extLst>
              <a:ext uri="{FF2B5EF4-FFF2-40B4-BE49-F238E27FC236}">
                <a16:creationId xmlns:a16="http://schemas.microsoft.com/office/drawing/2014/main" id="{02483EB9-6E88-4EE2-AB8C-6944B9BD93F5}"/>
              </a:ext>
            </a:extLst>
          </p:cNvPr>
          <p:cNvSpPr>
            <a:spLocks noChangeArrowheads="1"/>
          </p:cNvSpPr>
          <p:nvPr/>
        </p:nvSpPr>
        <p:spPr bwMode="auto">
          <a:xfrm>
            <a:off x="4917678" y="5073663"/>
            <a:ext cx="1268413" cy="2436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2500" cap="all">
                <a:solidFill>
                  <a:srgbClr val="344245"/>
                </a:solidFill>
                <a:latin typeface="Open Sans Semibold"/>
                <a:ea typeface="Open Sans Semibold"/>
                <a:cs typeface="Open Sans Semibold"/>
                <a:sym typeface="Open Sans Semibold"/>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sz="1250" b="1" i="0" u="none" strike="noStrike" kern="0" cap="all" spc="0" normalizeH="0" baseline="0" noProof="0">
                <a:ln>
                  <a:noFill/>
                </a:ln>
                <a:solidFill>
                  <a:schemeClr val="accent1"/>
                </a:solidFill>
                <a:effectLst/>
                <a:uLnTx/>
                <a:uFillTx/>
                <a:latin typeface="Arial"/>
                <a:ea typeface="+mn-ea"/>
                <a:cs typeface="+mn-ea"/>
                <a:sym typeface="+mn-lt"/>
              </a:rPr>
              <a:t>Text inform</a:t>
            </a:r>
          </a:p>
        </p:txBody>
      </p:sp>
      <p:sp>
        <p:nvSpPr>
          <p:cNvPr id="39" name="Shape 113">
            <a:extLst>
              <a:ext uri="{FF2B5EF4-FFF2-40B4-BE49-F238E27FC236}">
                <a16:creationId xmlns:a16="http://schemas.microsoft.com/office/drawing/2014/main" id="{2EB0D8A2-59F1-4763-81B8-5FD875C51036}"/>
              </a:ext>
            </a:extLst>
          </p:cNvPr>
          <p:cNvSpPr>
            <a:spLocks noChangeArrowheads="1"/>
          </p:cNvSpPr>
          <p:nvPr/>
        </p:nvSpPr>
        <p:spPr bwMode="auto">
          <a:xfrm>
            <a:off x="3716734" y="1529569"/>
            <a:ext cx="1267619" cy="2436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2500" cap="all">
                <a:solidFill>
                  <a:srgbClr val="344245"/>
                </a:solidFill>
                <a:latin typeface="Open Sans Semibold"/>
                <a:ea typeface="Open Sans Semibold"/>
                <a:cs typeface="Open Sans Semibold"/>
                <a:sym typeface="Open Sans Semibold"/>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sz="1250" b="1" i="0" u="none" strike="noStrike" kern="0" cap="all" spc="0" normalizeH="0" baseline="0" noProof="0" dirty="0">
                <a:ln>
                  <a:noFill/>
                </a:ln>
                <a:solidFill>
                  <a:schemeClr val="accent1"/>
                </a:solidFill>
                <a:effectLst/>
                <a:uLnTx/>
                <a:uFillTx/>
                <a:latin typeface="Arial"/>
                <a:ea typeface="+mn-ea"/>
                <a:cs typeface="+mn-ea"/>
                <a:sym typeface="+mn-lt"/>
              </a:rPr>
              <a:t>Text inform</a:t>
            </a:r>
          </a:p>
        </p:txBody>
      </p:sp>
      <p:sp>
        <p:nvSpPr>
          <p:cNvPr id="40" name="Shape 114">
            <a:extLst>
              <a:ext uri="{FF2B5EF4-FFF2-40B4-BE49-F238E27FC236}">
                <a16:creationId xmlns:a16="http://schemas.microsoft.com/office/drawing/2014/main" id="{FD88EB32-21E2-4D74-9F87-EA77909953B6}"/>
              </a:ext>
            </a:extLst>
          </p:cNvPr>
          <p:cNvSpPr>
            <a:spLocks noChangeArrowheads="1"/>
          </p:cNvSpPr>
          <p:nvPr/>
        </p:nvSpPr>
        <p:spPr bwMode="auto">
          <a:xfrm>
            <a:off x="5924153" y="1526394"/>
            <a:ext cx="1267619" cy="2436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2500" cap="all">
                <a:solidFill>
                  <a:srgbClr val="344245"/>
                </a:solidFill>
                <a:latin typeface="Open Sans Semibold"/>
                <a:ea typeface="Open Sans Semibold"/>
                <a:cs typeface="Open Sans Semibold"/>
                <a:sym typeface="Open Sans Semibold"/>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sz="1250" b="1" i="0" u="none" strike="noStrike" kern="0" cap="all" spc="0" normalizeH="0" baseline="0" noProof="0">
                <a:ln>
                  <a:noFill/>
                </a:ln>
                <a:solidFill>
                  <a:schemeClr val="accent1"/>
                </a:solidFill>
                <a:effectLst/>
                <a:uLnTx/>
                <a:uFillTx/>
                <a:latin typeface="Arial"/>
                <a:ea typeface="+mn-ea"/>
                <a:cs typeface="+mn-ea"/>
                <a:sym typeface="+mn-lt"/>
              </a:rPr>
              <a:t>Text inform</a:t>
            </a:r>
          </a:p>
        </p:txBody>
      </p:sp>
      <p:sp>
        <p:nvSpPr>
          <p:cNvPr id="41" name="Shape 123">
            <a:extLst>
              <a:ext uri="{FF2B5EF4-FFF2-40B4-BE49-F238E27FC236}">
                <a16:creationId xmlns:a16="http://schemas.microsoft.com/office/drawing/2014/main" id="{AC4747D7-3D52-4F0C-879F-0E117894F888}"/>
              </a:ext>
            </a:extLst>
          </p:cNvPr>
          <p:cNvSpPr>
            <a:spLocks/>
          </p:cNvSpPr>
          <p:nvPr/>
        </p:nvSpPr>
        <p:spPr bwMode="auto">
          <a:xfrm>
            <a:off x="7809505" y="1910157"/>
            <a:ext cx="2994623" cy="3081103"/>
          </a:xfrm>
          <a:custGeom>
            <a:avLst/>
            <a:gdLst>
              <a:gd name="T0" fmla="*/ 2147483646 w 21600"/>
              <a:gd name="T1" fmla="*/ 2147483646 h 21600"/>
              <a:gd name="T2" fmla="*/ 2147483646 w 21600"/>
              <a:gd name="T3" fmla="*/ 2147483646 h 21600"/>
              <a:gd name="T4" fmla="*/ 2147483646 w 21600"/>
              <a:gd name="T5" fmla="*/ 2147483646 h 21600"/>
              <a:gd name="T6" fmla="*/ 2147483646 w 21600"/>
              <a:gd name="T7" fmla="*/ 2147483646 h 21600"/>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21600" h="21600" extrusionOk="0">
                <a:moveTo>
                  <a:pt x="217" y="21600"/>
                </a:moveTo>
                <a:lnTo>
                  <a:pt x="11675" y="21600"/>
                </a:lnTo>
                <a:lnTo>
                  <a:pt x="21600" y="10807"/>
                </a:lnTo>
                <a:lnTo>
                  <a:pt x="11426" y="0"/>
                </a:lnTo>
                <a:lnTo>
                  <a:pt x="0" y="0"/>
                </a:lnTo>
                <a:lnTo>
                  <a:pt x="10285" y="10845"/>
                </a:lnTo>
                <a:lnTo>
                  <a:pt x="217" y="21600"/>
                </a:lnTo>
                <a:close/>
              </a:path>
            </a:pathLst>
          </a:custGeom>
          <a:solidFill>
            <a:schemeClr val="accent1">
              <a:lumMod val="60000"/>
              <a:lumOff val="40000"/>
            </a:schemeClr>
          </a:solidFill>
          <a:ln>
            <a:noFill/>
          </a:ln>
        </p:spPr>
        <p:txBody>
          <a:bodyPr lIns="25400" tIns="25400" rIns="25400" bIns="254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500" b="0" i="0" u="none" strike="noStrike" kern="1200" cap="none" spc="0" normalizeH="0" baseline="0" noProof="0">
              <a:ln>
                <a:noFill/>
              </a:ln>
              <a:solidFill>
                <a:srgbClr val="000000"/>
              </a:solidFill>
              <a:effectLst/>
              <a:uLnTx/>
              <a:uFillTx/>
              <a:latin typeface="Arial"/>
              <a:cs typeface="+mn-ea"/>
              <a:sym typeface="+mn-lt"/>
            </a:endParaRPr>
          </a:p>
        </p:txBody>
      </p:sp>
      <p:sp>
        <p:nvSpPr>
          <p:cNvPr id="42" name="Shape 124">
            <a:extLst>
              <a:ext uri="{FF2B5EF4-FFF2-40B4-BE49-F238E27FC236}">
                <a16:creationId xmlns:a16="http://schemas.microsoft.com/office/drawing/2014/main" id="{705CAE13-35A1-4D7E-BA81-60CD599A668A}"/>
              </a:ext>
            </a:extLst>
          </p:cNvPr>
          <p:cNvSpPr>
            <a:spLocks/>
          </p:cNvSpPr>
          <p:nvPr/>
        </p:nvSpPr>
        <p:spPr bwMode="auto">
          <a:xfrm>
            <a:off x="1387871" y="1902519"/>
            <a:ext cx="1430786" cy="3087014"/>
          </a:xfrm>
          <a:custGeom>
            <a:avLst/>
            <a:gdLst>
              <a:gd name="T0" fmla="*/ 2147483646 w 21600"/>
              <a:gd name="T1" fmla="*/ 2147483646 h 21600"/>
              <a:gd name="T2" fmla="*/ 2147483646 w 21600"/>
              <a:gd name="T3" fmla="*/ 2147483646 h 21600"/>
              <a:gd name="T4" fmla="*/ 2147483646 w 21600"/>
              <a:gd name="T5" fmla="*/ 2147483646 h 21600"/>
              <a:gd name="T6" fmla="*/ 2147483646 w 21600"/>
              <a:gd name="T7" fmla="*/ 2147483646 h 21600"/>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21600" h="21600" extrusionOk="0">
                <a:moveTo>
                  <a:pt x="21600" y="10843"/>
                </a:moveTo>
                <a:lnTo>
                  <a:pt x="0" y="0"/>
                </a:lnTo>
                <a:lnTo>
                  <a:pt x="5646" y="10843"/>
                </a:lnTo>
                <a:lnTo>
                  <a:pt x="650" y="21600"/>
                </a:lnTo>
                <a:lnTo>
                  <a:pt x="21600" y="10843"/>
                </a:lnTo>
                <a:close/>
              </a:path>
            </a:pathLst>
          </a:custGeom>
          <a:solidFill>
            <a:schemeClr val="accent1">
              <a:lumMod val="60000"/>
              <a:lumOff val="40000"/>
            </a:schemeClr>
          </a:solidFill>
          <a:ln>
            <a:noFill/>
          </a:ln>
        </p:spPr>
        <p:txBody>
          <a:bodyPr lIns="25400" tIns="25400" rIns="25400" bIns="254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500" b="0" i="0" u="none" strike="noStrike" kern="1200" cap="none" spc="0" normalizeH="0" baseline="0" noProof="0">
              <a:ln>
                <a:noFill/>
              </a:ln>
              <a:solidFill>
                <a:srgbClr val="000000"/>
              </a:solidFill>
              <a:effectLst/>
              <a:uLnTx/>
              <a:uFillTx/>
              <a:latin typeface="Arial"/>
              <a:cs typeface="+mn-ea"/>
              <a:sym typeface="+mn-lt"/>
            </a:endParaRPr>
          </a:p>
        </p:txBody>
      </p:sp>
      <p:sp>
        <p:nvSpPr>
          <p:cNvPr id="43" name="Shape 125">
            <a:extLst>
              <a:ext uri="{FF2B5EF4-FFF2-40B4-BE49-F238E27FC236}">
                <a16:creationId xmlns:a16="http://schemas.microsoft.com/office/drawing/2014/main" id="{46B4B18D-1709-439D-8EB2-4B8956EEEA7B}"/>
              </a:ext>
            </a:extLst>
          </p:cNvPr>
          <p:cNvSpPr>
            <a:spLocks/>
          </p:cNvSpPr>
          <p:nvPr/>
        </p:nvSpPr>
        <p:spPr bwMode="auto">
          <a:xfrm>
            <a:off x="7803155" y="1907233"/>
            <a:ext cx="2994623" cy="1546936"/>
          </a:xfrm>
          <a:custGeom>
            <a:avLst/>
            <a:gdLst>
              <a:gd name="T0" fmla="*/ 2147483646 w 21600"/>
              <a:gd name="T1" fmla="*/ 2147483646 h 21600"/>
              <a:gd name="T2" fmla="*/ 2147483646 w 21600"/>
              <a:gd name="T3" fmla="*/ 2147483646 h 21600"/>
              <a:gd name="T4" fmla="*/ 2147483646 w 21600"/>
              <a:gd name="T5" fmla="*/ 2147483646 h 21600"/>
              <a:gd name="T6" fmla="*/ 2147483646 w 21600"/>
              <a:gd name="T7" fmla="*/ 2147483646 h 21600"/>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21600" h="21600" extrusionOk="0">
                <a:moveTo>
                  <a:pt x="21600" y="21524"/>
                </a:moveTo>
                <a:lnTo>
                  <a:pt x="11426" y="0"/>
                </a:lnTo>
                <a:lnTo>
                  <a:pt x="0" y="0"/>
                </a:lnTo>
                <a:lnTo>
                  <a:pt x="10285" y="21600"/>
                </a:lnTo>
                <a:lnTo>
                  <a:pt x="21600" y="21524"/>
                </a:lnTo>
                <a:close/>
              </a:path>
            </a:pathLst>
          </a:custGeom>
          <a:solidFill>
            <a:schemeClr val="accent1">
              <a:lumMod val="40000"/>
              <a:lumOff val="60000"/>
            </a:schemeClr>
          </a:solidFill>
          <a:ln>
            <a:noFill/>
          </a:ln>
        </p:spPr>
        <p:txBody>
          <a:bodyPr lIns="25400" tIns="25400" rIns="25400" bIns="254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500" b="0" i="0" u="none" strike="noStrike" kern="1200" cap="none" spc="0" normalizeH="0" baseline="0" noProof="0">
              <a:ln>
                <a:noFill/>
              </a:ln>
              <a:solidFill>
                <a:srgbClr val="000000"/>
              </a:solidFill>
              <a:effectLst/>
              <a:uLnTx/>
              <a:uFillTx/>
              <a:latin typeface="Arial"/>
              <a:cs typeface="+mn-ea"/>
              <a:sym typeface="+mn-lt"/>
            </a:endParaRPr>
          </a:p>
        </p:txBody>
      </p:sp>
      <p:sp>
        <p:nvSpPr>
          <p:cNvPr id="44" name="Shape 126">
            <a:extLst>
              <a:ext uri="{FF2B5EF4-FFF2-40B4-BE49-F238E27FC236}">
                <a16:creationId xmlns:a16="http://schemas.microsoft.com/office/drawing/2014/main" id="{E8CBE002-6310-4D5B-9BE8-8F3C068FDE41}"/>
              </a:ext>
            </a:extLst>
          </p:cNvPr>
          <p:cNvSpPr>
            <a:spLocks/>
          </p:cNvSpPr>
          <p:nvPr/>
        </p:nvSpPr>
        <p:spPr bwMode="auto">
          <a:xfrm>
            <a:off x="1387871" y="1905839"/>
            <a:ext cx="1430786" cy="1549724"/>
          </a:xfrm>
          <a:custGeom>
            <a:avLst/>
            <a:gdLst>
              <a:gd name="T0" fmla="*/ 2147483646 w 21600"/>
              <a:gd name="T1" fmla="*/ 2147483646 h 21600"/>
              <a:gd name="T2" fmla="*/ 2147483646 w 21600"/>
              <a:gd name="T3" fmla="*/ 2147483646 h 21600"/>
              <a:gd name="T4" fmla="*/ 2147483646 w 21600"/>
              <a:gd name="T5" fmla="*/ 2147483646 h 21600"/>
              <a:gd name="T6" fmla="*/ 2147483646 w 21600"/>
              <a:gd name="T7" fmla="*/ 2147483646 h 21600"/>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21600" h="21600" extrusionOk="0">
                <a:moveTo>
                  <a:pt x="21600" y="21599"/>
                </a:moveTo>
                <a:lnTo>
                  <a:pt x="0" y="0"/>
                </a:lnTo>
                <a:lnTo>
                  <a:pt x="5646" y="21600"/>
                </a:lnTo>
                <a:lnTo>
                  <a:pt x="21600" y="21599"/>
                </a:lnTo>
                <a:close/>
              </a:path>
            </a:pathLst>
          </a:custGeom>
          <a:solidFill>
            <a:schemeClr val="accent1">
              <a:lumMod val="40000"/>
              <a:lumOff val="60000"/>
            </a:schemeClr>
          </a:solidFill>
          <a:ln>
            <a:noFill/>
          </a:ln>
        </p:spPr>
        <p:txBody>
          <a:bodyPr lIns="25400" tIns="25400" rIns="25400" bIns="254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500" b="0" i="0" u="none" strike="noStrike" kern="1200" cap="none" spc="0" normalizeH="0" baseline="0" noProof="0">
              <a:ln>
                <a:noFill/>
              </a:ln>
              <a:solidFill>
                <a:srgbClr val="000000"/>
              </a:solidFill>
              <a:effectLst/>
              <a:uLnTx/>
              <a:uFillTx/>
              <a:latin typeface="Arial"/>
              <a:cs typeface="+mn-ea"/>
              <a:sym typeface="+mn-lt"/>
            </a:endParaRPr>
          </a:p>
        </p:txBody>
      </p:sp>
    </p:spTree>
    <p:extLst>
      <p:ext uri="{BB962C8B-B14F-4D97-AF65-F5344CB8AC3E}">
        <p14:creationId xmlns:p14="http://schemas.microsoft.com/office/powerpoint/2010/main" val="2066416556"/>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7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 name="Shape 115">
            <a:extLst>
              <a:ext uri="{FF2B5EF4-FFF2-40B4-BE49-F238E27FC236}">
                <a16:creationId xmlns:a16="http://schemas.microsoft.com/office/drawing/2014/main" id="{14F9168C-2DA2-4397-936C-4460F7AD0419}"/>
              </a:ext>
            </a:extLst>
          </p:cNvPr>
          <p:cNvSpPr>
            <a:spLocks noChangeArrowheads="1"/>
          </p:cNvSpPr>
          <p:nvPr/>
        </p:nvSpPr>
        <p:spPr bwMode="auto">
          <a:xfrm>
            <a:off x="4395290" y="4434006"/>
            <a:ext cx="289001" cy="1897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altLang="ru-RU" sz="900" b="0" i="0" u="none" strike="noStrike" kern="1200" cap="none" spc="0" normalizeH="0" baseline="0" noProof="0">
                <a:ln>
                  <a:noFill/>
                </a:ln>
                <a:solidFill>
                  <a:srgbClr val="FFFFFF"/>
                </a:solidFill>
                <a:effectLst/>
                <a:uLnTx/>
                <a:uFillTx/>
                <a:latin typeface="Arial"/>
                <a:cs typeface="+mn-ea"/>
                <a:sym typeface="+mn-lt"/>
              </a:rPr>
              <a:t>A</a:t>
            </a:r>
          </a:p>
        </p:txBody>
      </p:sp>
      <p:sp>
        <p:nvSpPr>
          <p:cNvPr id="68" name="Shape 116">
            <a:extLst>
              <a:ext uri="{FF2B5EF4-FFF2-40B4-BE49-F238E27FC236}">
                <a16:creationId xmlns:a16="http://schemas.microsoft.com/office/drawing/2014/main" id="{76D6D961-EDB5-4EEF-A413-E86475CA2E5E}"/>
              </a:ext>
            </a:extLst>
          </p:cNvPr>
          <p:cNvSpPr>
            <a:spLocks noChangeArrowheads="1"/>
          </p:cNvSpPr>
          <p:nvPr/>
        </p:nvSpPr>
        <p:spPr bwMode="auto">
          <a:xfrm>
            <a:off x="2219890" y="4423182"/>
            <a:ext cx="289001" cy="1897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altLang="ru-RU" sz="900" b="0" i="0" u="none" strike="noStrike" kern="1200" cap="none" spc="0" normalizeH="0" baseline="0" noProof="0">
                <a:ln>
                  <a:noFill/>
                </a:ln>
                <a:solidFill>
                  <a:srgbClr val="FFFFFF"/>
                </a:solidFill>
                <a:effectLst/>
                <a:uLnTx/>
                <a:uFillTx/>
                <a:latin typeface="Arial"/>
                <a:cs typeface="+mn-ea"/>
                <a:sym typeface="+mn-lt"/>
              </a:rPr>
              <a:t>A</a:t>
            </a:r>
          </a:p>
        </p:txBody>
      </p:sp>
      <p:sp>
        <p:nvSpPr>
          <p:cNvPr id="69" name="Shape 117">
            <a:extLst>
              <a:ext uri="{FF2B5EF4-FFF2-40B4-BE49-F238E27FC236}">
                <a16:creationId xmlns:a16="http://schemas.microsoft.com/office/drawing/2014/main" id="{23620561-9C10-4607-BA47-A7F05CBE9AE3}"/>
              </a:ext>
            </a:extLst>
          </p:cNvPr>
          <p:cNvSpPr>
            <a:spLocks noChangeArrowheads="1"/>
          </p:cNvSpPr>
          <p:nvPr/>
        </p:nvSpPr>
        <p:spPr bwMode="auto">
          <a:xfrm>
            <a:off x="4842662" y="3925512"/>
            <a:ext cx="289002" cy="1897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altLang="ru-RU" sz="900" b="0" i="0" u="none" strike="noStrike" kern="1200" cap="none" spc="0" normalizeH="0" baseline="0" noProof="0">
                <a:ln>
                  <a:noFill/>
                </a:ln>
                <a:solidFill>
                  <a:srgbClr val="FFFFFF"/>
                </a:solidFill>
                <a:effectLst/>
                <a:uLnTx/>
                <a:uFillTx/>
                <a:latin typeface="Arial"/>
                <a:cs typeface="+mn-ea"/>
                <a:sym typeface="+mn-lt"/>
              </a:rPr>
              <a:t>B</a:t>
            </a:r>
          </a:p>
        </p:txBody>
      </p:sp>
      <p:sp>
        <p:nvSpPr>
          <p:cNvPr id="70" name="Shape 118">
            <a:extLst>
              <a:ext uri="{FF2B5EF4-FFF2-40B4-BE49-F238E27FC236}">
                <a16:creationId xmlns:a16="http://schemas.microsoft.com/office/drawing/2014/main" id="{4CAFFC1E-67B7-42D1-B3F3-4743B73114C4}"/>
              </a:ext>
            </a:extLst>
          </p:cNvPr>
          <p:cNvSpPr>
            <a:spLocks noChangeArrowheads="1"/>
          </p:cNvSpPr>
          <p:nvPr/>
        </p:nvSpPr>
        <p:spPr bwMode="auto">
          <a:xfrm>
            <a:off x="2683137" y="3924213"/>
            <a:ext cx="289001" cy="1897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altLang="ru-RU" sz="900" b="0" i="0" u="none" strike="noStrike" kern="1200" cap="none" spc="0" normalizeH="0" baseline="0" noProof="0" dirty="0" err="1">
                <a:ln>
                  <a:noFill/>
                </a:ln>
                <a:solidFill>
                  <a:srgbClr val="FFFFFF"/>
                </a:solidFill>
                <a:effectLst/>
                <a:uLnTx/>
                <a:uFillTx/>
                <a:latin typeface="Arial"/>
                <a:cs typeface="+mn-ea"/>
                <a:sym typeface="+mn-lt"/>
              </a:rPr>
              <a:t>B</a:t>
            </a:r>
            <a:endParaRPr kumimoji="0" lang="ru-RU" altLang="ru-RU" sz="900" b="0" i="0" u="none" strike="noStrike" kern="1200" cap="none" spc="0" normalizeH="0" baseline="0" noProof="0" dirty="0">
              <a:ln>
                <a:noFill/>
              </a:ln>
              <a:solidFill>
                <a:srgbClr val="FFFFFF"/>
              </a:solidFill>
              <a:effectLst/>
              <a:uLnTx/>
              <a:uFillTx/>
              <a:latin typeface="Arial"/>
              <a:cs typeface="+mn-ea"/>
              <a:sym typeface="+mn-lt"/>
            </a:endParaRPr>
          </a:p>
        </p:txBody>
      </p:sp>
      <p:sp>
        <p:nvSpPr>
          <p:cNvPr id="71" name="Shape 119">
            <a:extLst>
              <a:ext uri="{FF2B5EF4-FFF2-40B4-BE49-F238E27FC236}">
                <a16:creationId xmlns:a16="http://schemas.microsoft.com/office/drawing/2014/main" id="{F6793AA3-DD66-4D2C-B379-1D75C623660C}"/>
              </a:ext>
            </a:extLst>
          </p:cNvPr>
          <p:cNvSpPr>
            <a:spLocks noChangeArrowheads="1"/>
          </p:cNvSpPr>
          <p:nvPr/>
        </p:nvSpPr>
        <p:spPr bwMode="auto">
          <a:xfrm>
            <a:off x="3268881" y="2256542"/>
            <a:ext cx="289001" cy="1897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altLang="ru-RU" sz="900" b="0" i="0" u="none" strike="noStrike" kern="1200" cap="none" spc="0" normalizeH="0" baseline="0" noProof="0">
                <a:ln>
                  <a:noFill/>
                </a:ln>
                <a:solidFill>
                  <a:srgbClr val="FFFFFF"/>
                </a:solidFill>
                <a:effectLst/>
                <a:uLnTx/>
                <a:uFillTx/>
                <a:latin typeface="Arial"/>
                <a:cs typeface="+mn-ea"/>
                <a:sym typeface="+mn-lt"/>
              </a:rPr>
              <a:t>A</a:t>
            </a:r>
          </a:p>
        </p:txBody>
      </p:sp>
      <p:sp>
        <p:nvSpPr>
          <p:cNvPr id="72" name="Shape 120">
            <a:extLst>
              <a:ext uri="{FF2B5EF4-FFF2-40B4-BE49-F238E27FC236}">
                <a16:creationId xmlns:a16="http://schemas.microsoft.com/office/drawing/2014/main" id="{83250783-C277-4497-AF2D-B37F94D9A4C1}"/>
              </a:ext>
            </a:extLst>
          </p:cNvPr>
          <p:cNvSpPr>
            <a:spLocks noChangeArrowheads="1"/>
          </p:cNvSpPr>
          <p:nvPr/>
        </p:nvSpPr>
        <p:spPr bwMode="auto">
          <a:xfrm>
            <a:off x="5442425" y="2260352"/>
            <a:ext cx="289001" cy="1897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altLang="ru-RU" sz="900" b="0" i="0" u="none" strike="noStrike" kern="1200" cap="none" spc="0" normalizeH="0" baseline="0" noProof="0">
                <a:ln>
                  <a:noFill/>
                </a:ln>
                <a:solidFill>
                  <a:srgbClr val="FFFFFF"/>
                </a:solidFill>
                <a:effectLst/>
                <a:uLnTx/>
                <a:uFillTx/>
                <a:latin typeface="Arial"/>
                <a:cs typeface="+mn-ea"/>
                <a:sym typeface="+mn-lt"/>
              </a:rPr>
              <a:t>A</a:t>
            </a:r>
          </a:p>
        </p:txBody>
      </p:sp>
      <p:sp>
        <p:nvSpPr>
          <p:cNvPr id="73" name="Shape 121">
            <a:extLst>
              <a:ext uri="{FF2B5EF4-FFF2-40B4-BE49-F238E27FC236}">
                <a16:creationId xmlns:a16="http://schemas.microsoft.com/office/drawing/2014/main" id="{9B375F88-937D-4B78-B9ED-6AFDC3CB2695}"/>
              </a:ext>
            </a:extLst>
          </p:cNvPr>
          <p:cNvSpPr>
            <a:spLocks noChangeArrowheads="1"/>
          </p:cNvSpPr>
          <p:nvPr/>
        </p:nvSpPr>
        <p:spPr bwMode="auto">
          <a:xfrm>
            <a:off x="3747318" y="2778692"/>
            <a:ext cx="289002" cy="1897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altLang="ru-RU" sz="900" b="0" i="0" u="none" strike="noStrike" kern="1200" cap="none" spc="0" normalizeH="0" baseline="0" noProof="0">
                <a:ln>
                  <a:noFill/>
                </a:ln>
                <a:solidFill>
                  <a:srgbClr val="FFFFFF"/>
                </a:solidFill>
                <a:effectLst/>
                <a:uLnTx/>
                <a:uFillTx/>
                <a:latin typeface="Arial"/>
                <a:cs typeface="+mn-ea"/>
                <a:sym typeface="+mn-lt"/>
              </a:rPr>
              <a:t>B</a:t>
            </a:r>
          </a:p>
        </p:txBody>
      </p:sp>
      <p:sp>
        <p:nvSpPr>
          <p:cNvPr id="74" name="Shape 122">
            <a:extLst>
              <a:ext uri="{FF2B5EF4-FFF2-40B4-BE49-F238E27FC236}">
                <a16:creationId xmlns:a16="http://schemas.microsoft.com/office/drawing/2014/main" id="{B6DD52E1-FA0E-4E8E-9449-9B9D05410693}"/>
              </a:ext>
            </a:extLst>
          </p:cNvPr>
          <p:cNvSpPr>
            <a:spLocks noChangeArrowheads="1"/>
          </p:cNvSpPr>
          <p:nvPr/>
        </p:nvSpPr>
        <p:spPr bwMode="auto">
          <a:xfrm>
            <a:off x="5920227" y="2783137"/>
            <a:ext cx="289001" cy="1897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altLang="ru-RU" sz="900" b="0" i="0" u="none" strike="noStrike" kern="1200" cap="none" spc="0" normalizeH="0" baseline="0" noProof="0">
                <a:ln>
                  <a:noFill/>
                </a:ln>
                <a:solidFill>
                  <a:srgbClr val="FFFFFF"/>
                </a:solidFill>
                <a:effectLst/>
                <a:uLnTx/>
                <a:uFillTx/>
                <a:latin typeface="Arial"/>
                <a:cs typeface="+mn-ea"/>
                <a:sym typeface="+mn-lt"/>
              </a:rPr>
              <a:t>B</a:t>
            </a:r>
          </a:p>
        </p:txBody>
      </p:sp>
      <p:sp>
        <p:nvSpPr>
          <p:cNvPr id="4" name="Shape 78">
            <a:extLst>
              <a:ext uri="{FF2B5EF4-FFF2-40B4-BE49-F238E27FC236}">
                <a16:creationId xmlns:a16="http://schemas.microsoft.com/office/drawing/2014/main" id="{31BC7BD9-9ACE-4C1B-B84D-76F02B13BE9D}"/>
              </a:ext>
            </a:extLst>
          </p:cNvPr>
          <p:cNvSpPr>
            <a:spLocks noChangeShapeType="1"/>
          </p:cNvSpPr>
          <p:nvPr/>
        </p:nvSpPr>
        <p:spPr bwMode="auto">
          <a:xfrm>
            <a:off x="1870763" y="3452745"/>
            <a:ext cx="8240622" cy="0"/>
          </a:xfrm>
          <a:prstGeom prst="line">
            <a:avLst/>
          </a:prstGeom>
          <a:noFill/>
          <a:ln w="165100">
            <a:solidFill>
              <a:schemeClr val="accent1">
                <a:lumMod val="40000"/>
                <a:lumOff val="60000"/>
              </a:schemeClr>
            </a:solidFill>
            <a:miter lim="400000"/>
            <a:headEnd/>
            <a:tailEnd/>
          </a:ln>
          <a:extLst>
            <a:ext uri="{909E8E84-426E-40DD-AFC4-6F175D3DCCD1}">
              <a14:hiddenFill xmlns:a14="http://schemas.microsoft.com/office/drawing/2010/main">
                <a:noFill/>
              </a14:hiddenFill>
            </a:ext>
          </a:extLst>
        </p:spPr>
        <p:txBody>
          <a:bodyPr lIns="25400" tIns="25400" rIns="25400" bIns="254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500" b="0" i="0" u="none" strike="noStrike" kern="1200" cap="none" spc="0" normalizeH="0" baseline="0" noProof="0">
              <a:ln>
                <a:noFill/>
              </a:ln>
              <a:solidFill>
                <a:srgbClr val="000000"/>
              </a:solidFill>
              <a:effectLst/>
              <a:uLnTx/>
              <a:uFillTx/>
              <a:latin typeface="Arial"/>
              <a:cs typeface="+mn-ea"/>
              <a:sym typeface="+mn-lt"/>
            </a:endParaRPr>
          </a:p>
        </p:txBody>
      </p:sp>
      <p:sp>
        <p:nvSpPr>
          <p:cNvPr id="59" name="Shape 82">
            <a:extLst>
              <a:ext uri="{FF2B5EF4-FFF2-40B4-BE49-F238E27FC236}">
                <a16:creationId xmlns:a16="http://schemas.microsoft.com/office/drawing/2014/main" id="{A75D35F8-74BC-459B-898F-2ADFF3529F29}"/>
              </a:ext>
            </a:extLst>
          </p:cNvPr>
          <p:cNvSpPr>
            <a:spLocks noChangeShapeType="1"/>
          </p:cNvSpPr>
          <p:nvPr/>
        </p:nvSpPr>
        <p:spPr bwMode="auto">
          <a:xfrm flipV="1">
            <a:off x="4358960" y="3485758"/>
            <a:ext cx="1432051" cy="1586081"/>
          </a:xfrm>
          <a:prstGeom prst="line">
            <a:avLst/>
          </a:prstGeom>
          <a:noFill/>
          <a:ln w="63500">
            <a:solidFill>
              <a:schemeClr val="accent1">
                <a:lumMod val="100000"/>
              </a:schemeClr>
            </a:solidFill>
            <a:miter lim="400000"/>
            <a:headEnd/>
            <a:tailEnd/>
          </a:ln>
          <a:extLst>
            <a:ext uri="{909E8E84-426E-40DD-AFC4-6F175D3DCCD1}">
              <a14:hiddenFill xmlns:a14="http://schemas.microsoft.com/office/drawing/2010/main">
                <a:noFill/>
              </a14:hiddenFill>
            </a:ext>
          </a:extLst>
        </p:spPr>
        <p:txBody>
          <a:bodyPr lIns="25400" tIns="25400" rIns="25400" bIns="254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500" b="0" i="0" u="none" strike="noStrike" kern="1200" cap="none" spc="0" normalizeH="0" baseline="0" noProof="0">
              <a:ln>
                <a:noFill/>
              </a:ln>
              <a:solidFill>
                <a:srgbClr val="000000"/>
              </a:solidFill>
              <a:effectLst/>
              <a:uLnTx/>
              <a:uFillTx/>
              <a:latin typeface="Arial"/>
              <a:cs typeface="+mn-ea"/>
              <a:sym typeface="+mn-lt"/>
            </a:endParaRPr>
          </a:p>
        </p:txBody>
      </p:sp>
      <p:sp>
        <p:nvSpPr>
          <p:cNvPr id="60" name="Shape 90">
            <a:extLst>
              <a:ext uri="{FF2B5EF4-FFF2-40B4-BE49-F238E27FC236}">
                <a16:creationId xmlns:a16="http://schemas.microsoft.com/office/drawing/2014/main" id="{5E06829B-7B80-4864-BD3E-38256335A257}"/>
              </a:ext>
            </a:extLst>
          </p:cNvPr>
          <p:cNvSpPr>
            <a:spLocks noChangeArrowheads="1"/>
          </p:cNvSpPr>
          <p:nvPr/>
        </p:nvSpPr>
        <p:spPr bwMode="auto">
          <a:xfrm>
            <a:off x="5205283" y="3924288"/>
            <a:ext cx="190495" cy="190502"/>
          </a:xfrm>
          <a:prstGeom prst="ellipse">
            <a:avLst/>
          </a:prstGeom>
          <a:solidFill>
            <a:schemeClr val="accent1">
              <a:lumMod val="100000"/>
            </a:schemeClr>
          </a:solidFill>
          <a:ln>
            <a:noFill/>
          </a:ln>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FFFFFF"/>
              </a:solidFill>
              <a:effectLst/>
              <a:uLnTx/>
              <a:uFillTx/>
              <a:latin typeface="Arial"/>
              <a:cs typeface="+mn-ea"/>
              <a:sym typeface="+mn-lt"/>
            </a:endParaRPr>
          </a:p>
        </p:txBody>
      </p:sp>
      <p:sp>
        <p:nvSpPr>
          <p:cNvPr id="61" name="Shape 91">
            <a:extLst>
              <a:ext uri="{FF2B5EF4-FFF2-40B4-BE49-F238E27FC236}">
                <a16:creationId xmlns:a16="http://schemas.microsoft.com/office/drawing/2014/main" id="{CD097B4D-EA45-4A03-988F-F10EA568A48A}"/>
              </a:ext>
            </a:extLst>
          </p:cNvPr>
          <p:cNvSpPr>
            <a:spLocks noChangeArrowheads="1"/>
          </p:cNvSpPr>
          <p:nvPr/>
        </p:nvSpPr>
        <p:spPr bwMode="auto">
          <a:xfrm>
            <a:off x="4753351" y="4440003"/>
            <a:ext cx="190495" cy="190502"/>
          </a:xfrm>
          <a:prstGeom prst="ellipse">
            <a:avLst/>
          </a:prstGeom>
          <a:solidFill>
            <a:schemeClr val="accent1">
              <a:lumMod val="100000"/>
            </a:schemeClr>
          </a:solidFill>
          <a:ln>
            <a:noFill/>
          </a:ln>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FFFFFF"/>
              </a:solidFill>
              <a:effectLst/>
              <a:uLnTx/>
              <a:uFillTx/>
              <a:latin typeface="Arial"/>
              <a:cs typeface="+mn-ea"/>
              <a:sym typeface="+mn-lt"/>
            </a:endParaRPr>
          </a:p>
        </p:txBody>
      </p:sp>
      <p:sp>
        <p:nvSpPr>
          <p:cNvPr id="62" name="Shape 102">
            <a:extLst>
              <a:ext uri="{FF2B5EF4-FFF2-40B4-BE49-F238E27FC236}">
                <a16:creationId xmlns:a16="http://schemas.microsoft.com/office/drawing/2014/main" id="{F256E2F5-FB88-486F-BFFE-0604C0096F42}"/>
              </a:ext>
            </a:extLst>
          </p:cNvPr>
          <p:cNvSpPr>
            <a:spLocks noChangeArrowheads="1"/>
          </p:cNvSpPr>
          <p:nvPr/>
        </p:nvSpPr>
        <p:spPr bwMode="auto">
          <a:xfrm>
            <a:off x="5477346" y="3922869"/>
            <a:ext cx="1824180" cy="205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altLang="ru-RU" sz="1000" b="0" i="0" u="none" strike="noStrike" kern="1200" cap="none" spc="0" normalizeH="0" baseline="0" noProof="0">
                <a:ln>
                  <a:noFill/>
                </a:ln>
                <a:solidFill>
                  <a:schemeClr val="accent1"/>
                </a:solidFill>
                <a:effectLst/>
                <a:uLnTx/>
                <a:uFillTx/>
                <a:latin typeface="Arial"/>
                <a:cs typeface="+mn-ea"/>
                <a:sym typeface="+mn-lt"/>
              </a:rPr>
              <a:t>Fish bone text block </a:t>
            </a:r>
          </a:p>
        </p:txBody>
      </p:sp>
      <p:sp>
        <p:nvSpPr>
          <p:cNvPr id="63" name="Shape 103">
            <a:extLst>
              <a:ext uri="{FF2B5EF4-FFF2-40B4-BE49-F238E27FC236}">
                <a16:creationId xmlns:a16="http://schemas.microsoft.com/office/drawing/2014/main" id="{81201EB5-2909-401B-8BDF-36D2F0B81B3E}"/>
              </a:ext>
            </a:extLst>
          </p:cNvPr>
          <p:cNvSpPr>
            <a:spLocks noChangeArrowheads="1"/>
          </p:cNvSpPr>
          <p:nvPr/>
        </p:nvSpPr>
        <p:spPr bwMode="auto">
          <a:xfrm>
            <a:off x="5019154" y="4431256"/>
            <a:ext cx="1824179" cy="205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altLang="ru-RU" sz="1000" b="0" i="0" u="none" strike="noStrike" kern="1200" cap="none" spc="0" normalizeH="0" baseline="0" noProof="0">
                <a:ln>
                  <a:noFill/>
                </a:ln>
                <a:solidFill>
                  <a:schemeClr val="accent1"/>
                </a:solidFill>
                <a:effectLst/>
                <a:uLnTx/>
                <a:uFillTx/>
                <a:latin typeface="Arial"/>
                <a:cs typeface="+mn-ea"/>
                <a:sym typeface="+mn-lt"/>
              </a:rPr>
              <a:t>Fish bone text block </a:t>
            </a:r>
          </a:p>
        </p:txBody>
      </p:sp>
      <p:sp>
        <p:nvSpPr>
          <p:cNvPr id="64" name="Shape 104">
            <a:extLst>
              <a:ext uri="{FF2B5EF4-FFF2-40B4-BE49-F238E27FC236}">
                <a16:creationId xmlns:a16="http://schemas.microsoft.com/office/drawing/2014/main" id="{88D158E1-47BB-4009-B437-6BB0F84B816E}"/>
              </a:ext>
            </a:extLst>
          </p:cNvPr>
          <p:cNvSpPr>
            <a:spLocks noChangeArrowheads="1"/>
          </p:cNvSpPr>
          <p:nvPr/>
        </p:nvSpPr>
        <p:spPr bwMode="auto">
          <a:xfrm>
            <a:off x="4077461" y="4983555"/>
            <a:ext cx="431789" cy="431805"/>
          </a:xfrm>
          <a:prstGeom prst="ellipse">
            <a:avLst/>
          </a:prstGeom>
          <a:solidFill>
            <a:schemeClr val="accent1">
              <a:lumMod val="100000"/>
            </a:schemeClr>
          </a:solidFill>
          <a:ln w="63500">
            <a:solidFill>
              <a:schemeClr val="accent1">
                <a:lumMod val="100000"/>
              </a:schemeClr>
            </a:solidFill>
            <a:miter lim="400000"/>
            <a:headEnd/>
            <a:tailEnd/>
          </a:ln>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FFFFFF"/>
              </a:solidFill>
              <a:effectLst/>
              <a:uLnTx/>
              <a:uFillTx/>
              <a:latin typeface="Arial"/>
              <a:cs typeface="+mn-ea"/>
              <a:sym typeface="+mn-lt"/>
            </a:endParaRPr>
          </a:p>
        </p:txBody>
      </p:sp>
      <p:sp>
        <p:nvSpPr>
          <p:cNvPr id="65" name="Shape 110">
            <a:extLst>
              <a:ext uri="{FF2B5EF4-FFF2-40B4-BE49-F238E27FC236}">
                <a16:creationId xmlns:a16="http://schemas.microsoft.com/office/drawing/2014/main" id="{187D7C2E-DB62-429A-AE00-830546CA07FC}"/>
              </a:ext>
            </a:extLst>
          </p:cNvPr>
          <p:cNvSpPr>
            <a:spLocks noChangeArrowheads="1"/>
          </p:cNvSpPr>
          <p:nvPr/>
        </p:nvSpPr>
        <p:spPr bwMode="auto">
          <a:xfrm>
            <a:off x="4112323" y="5077631"/>
            <a:ext cx="361950" cy="2436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lgn="ctr">
              <a:defRPr sz="2500" cap="all">
                <a:solidFill>
                  <a:srgbClr val="FFFFFF"/>
                </a:solidFill>
                <a:latin typeface="Open Sans Semibold"/>
                <a:ea typeface="Open Sans Semibold"/>
                <a:cs typeface="Open Sans Semibold"/>
                <a:sym typeface="Open Sans Semibold"/>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sz="1250" b="0" i="0" u="none" strike="noStrike" kern="0" cap="all" spc="0" normalizeH="0" baseline="0" noProof="0">
                <a:ln>
                  <a:noFill/>
                </a:ln>
                <a:solidFill>
                  <a:srgbClr val="FFFFFF"/>
                </a:solidFill>
                <a:effectLst/>
                <a:uLnTx/>
                <a:uFillTx/>
                <a:latin typeface="Arial"/>
                <a:ea typeface="+mn-ea"/>
                <a:cs typeface="+mn-ea"/>
                <a:sym typeface="+mn-lt"/>
              </a:rPr>
              <a:t>3</a:t>
            </a:r>
          </a:p>
        </p:txBody>
      </p:sp>
      <p:sp>
        <p:nvSpPr>
          <p:cNvPr id="66" name="Shape 112">
            <a:extLst>
              <a:ext uri="{FF2B5EF4-FFF2-40B4-BE49-F238E27FC236}">
                <a16:creationId xmlns:a16="http://schemas.microsoft.com/office/drawing/2014/main" id="{8DA7676A-C965-4BBC-8BE3-6F0419CF63C1}"/>
              </a:ext>
            </a:extLst>
          </p:cNvPr>
          <p:cNvSpPr>
            <a:spLocks noChangeArrowheads="1"/>
          </p:cNvSpPr>
          <p:nvPr/>
        </p:nvSpPr>
        <p:spPr bwMode="auto">
          <a:xfrm>
            <a:off x="4648105" y="5073663"/>
            <a:ext cx="1268413" cy="2436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2500" cap="all">
                <a:solidFill>
                  <a:srgbClr val="344245"/>
                </a:solidFill>
                <a:latin typeface="Open Sans Semibold"/>
                <a:ea typeface="Open Sans Semibold"/>
                <a:cs typeface="Open Sans Semibold"/>
                <a:sym typeface="Open Sans Semibold"/>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sz="1250" b="1" i="0" u="none" strike="noStrike" kern="0" cap="all" spc="0" normalizeH="0" baseline="0" noProof="0">
                <a:ln>
                  <a:noFill/>
                </a:ln>
                <a:solidFill>
                  <a:schemeClr val="accent1"/>
                </a:solidFill>
                <a:effectLst/>
                <a:uLnTx/>
                <a:uFillTx/>
                <a:latin typeface="Arial"/>
                <a:ea typeface="+mn-ea"/>
                <a:cs typeface="+mn-ea"/>
                <a:sym typeface="+mn-lt"/>
              </a:rPr>
              <a:t>Text inform</a:t>
            </a:r>
          </a:p>
        </p:txBody>
      </p:sp>
      <p:sp>
        <p:nvSpPr>
          <p:cNvPr id="51" name="Shape 80">
            <a:extLst>
              <a:ext uri="{FF2B5EF4-FFF2-40B4-BE49-F238E27FC236}">
                <a16:creationId xmlns:a16="http://schemas.microsoft.com/office/drawing/2014/main" id="{FD702560-CB6E-49A0-91B8-93384B5A9B4B}"/>
              </a:ext>
            </a:extLst>
          </p:cNvPr>
          <p:cNvSpPr>
            <a:spLocks noChangeShapeType="1"/>
          </p:cNvSpPr>
          <p:nvPr/>
        </p:nvSpPr>
        <p:spPr bwMode="auto">
          <a:xfrm flipV="1">
            <a:off x="1872163" y="3485758"/>
            <a:ext cx="1432051" cy="1586081"/>
          </a:xfrm>
          <a:prstGeom prst="line">
            <a:avLst/>
          </a:prstGeom>
          <a:noFill/>
          <a:ln w="63500">
            <a:solidFill>
              <a:schemeClr val="accent1">
                <a:lumMod val="100000"/>
              </a:schemeClr>
            </a:solidFill>
            <a:miter lim="400000"/>
            <a:headEnd/>
            <a:tailEnd/>
          </a:ln>
          <a:extLst>
            <a:ext uri="{909E8E84-426E-40DD-AFC4-6F175D3DCCD1}">
              <a14:hiddenFill xmlns:a14="http://schemas.microsoft.com/office/drawing/2010/main">
                <a:noFill/>
              </a14:hiddenFill>
            </a:ext>
          </a:extLst>
        </p:spPr>
        <p:txBody>
          <a:bodyPr lIns="25400" tIns="25400" rIns="25400" bIns="254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500" b="0" i="0" u="none" strike="noStrike" kern="1200" cap="none" spc="0" normalizeH="0" baseline="0" noProof="0">
              <a:ln>
                <a:noFill/>
              </a:ln>
              <a:solidFill>
                <a:srgbClr val="000000"/>
              </a:solidFill>
              <a:effectLst/>
              <a:uLnTx/>
              <a:uFillTx/>
              <a:latin typeface="Arial"/>
              <a:cs typeface="+mn-ea"/>
              <a:sym typeface="+mn-lt"/>
            </a:endParaRPr>
          </a:p>
        </p:txBody>
      </p:sp>
      <p:sp>
        <p:nvSpPr>
          <p:cNvPr id="52" name="Shape 87">
            <a:extLst>
              <a:ext uri="{FF2B5EF4-FFF2-40B4-BE49-F238E27FC236}">
                <a16:creationId xmlns:a16="http://schemas.microsoft.com/office/drawing/2014/main" id="{4AE1DBEC-7468-49FB-8C09-290B0FC7EF87}"/>
              </a:ext>
            </a:extLst>
          </p:cNvPr>
          <p:cNvSpPr>
            <a:spLocks noChangeArrowheads="1"/>
          </p:cNvSpPr>
          <p:nvPr/>
        </p:nvSpPr>
        <p:spPr bwMode="auto">
          <a:xfrm>
            <a:off x="2728030" y="3926091"/>
            <a:ext cx="190318" cy="190325"/>
          </a:xfrm>
          <a:prstGeom prst="ellipse">
            <a:avLst/>
          </a:prstGeom>
          <a:solidFill>
            <a:schemeClr val="accent1">
              <a:lumMod val="100000"/>
            </a:schemeClr>
          </a:solidFill>
          <a:ln>
            <a:noFill/>
          </a:ln>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FFFFFF"/>
              </a:solidFill>
              <a:effectLst/>
              <a:uLnTx/>
              <a:uFillTx/>
              <a:latin typeface="Arial"/>
              <a:cs typeface="+mn-ea"/>
              <a:sym typeface="+mn-lt"/>
            </a:endParaRPr>
          </a:p>
        </p:txBody>
      </p:sp>
      <p:sp>
        <p:nvSpPr>
          <p:cNvPr id="53" name="Shape 88">
            <a:extLst>
              <a:ext uri="{FF2B5EF4-FFF2-40B4-BE49-F238E27FC236}">
                <a16:creationId xmlns:a16="http://schemas.microsoft.com/office/drawing/2014/main" id="{B4FF6578-74E8-4BD8-8D99-59FA2F655166}"/>
              </a:ext>
            </a:extLst>
          </p:cNvPr>
          <p:cNvSpPr>
            <a:spLocks noChangeArrowheads="1"/>
          </p:cNvSpPr>
          <p:nvPr/>
        </p:nvSpPr>
        <p:spPr bwMode="auto">
          <a:xfrm>
            <a:off x="2269143" y="4429179"/>
            <a:ext cx="190495" cy="190502"/>
          </a:xfrm>
          <a:prstGeom prst="ellipse">
            <a:avLst/>
          </a:prstGeom>
          <a:solidFill>
            <a:schemeClr val="accent1">
              <a:lumMod val="100000"/>
            </a:schemeClr>
          </a:solidFill>
          <a:ln>
            <a:noFill/>
          </a:ln>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FFFFFF"/>
              </a:solidFill>
              <a:effectLst/>
              <a:uLnTx/>
              <a:uFillTx/>
              <a:latin typeface="Arial"/>
              <a:cs typeface="+mn-ea"/>
              <a:sym typeface="+mn-lt"/>
            </a:endParaRPr>
          </a:p>
        </p:txBody>
      </p:sp>
      <p:sp>
        <p:nvSpPr>
          <p:cNvPr id="54" name="Shape 89">
            <a:extLst>
              <a:ext uri="{FF2B5EF4-FFF2-40B4-BE49-F238E27FC236}">
                <a16:creationId xmlns:a16="http://schemas.microsoft.com/office/drawing/2014/main" id="{093EA228-7ABF-42B5-BB1B-25C05EB73F08}"/>
              </a:ext>
            </a:extLst>
          </p:cNvPr>
          <p:cNvSpPr>
            <a:spLocks noChangeArrowheads="1"/>
          </p:cNvSpPr>
          <p:nvPr/>
        </p:nvSpPr>
        <p:spPr bwMode="auto">
          <a:xfrm>
            <a:off x="1570157" y="4983555"/>
            <a:ext cx="431789" cy="431805"/>
          </a:xfrm>
          <a:prstGeom prst="ellipse">
            <a:avLst/>
          </a:prstGeom>
          <a:solidFill>
            <a:schemeClr val="accent1">
              <a:lumMod val="100000"/>
            </a:schemeClr>
          </a:solidFill>
          <a:ln w="63500">
            <a:solidFill>
              <a:schemeClr val="accent1">
                <a:lumMod val="100000"/>
              </a:schemeClr>
            </a:solidFill>
            <a:miter lim="400000"/>
            <a:headEnd/>
            <a:tailEnd/>
          </a:ln>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FFFFFF"/>
              </a:solidFill>
              <a:effectLst/>
              <a:uLnTx/>
              <a:uFillTx/>
              <a:latin typeface="Arial"/>
              <a:cs typeface="+mn-ea"/>
              <a:sym typeface="+mn-lt"/>
            </a:endParaRPr>
          </a:p>
        </p:txBody>
      </p:sp>
      <p:sp>
        <p:nvSpPr>
          <p:cNvPr id="55" name="Shape 100">
            <a:extLst>
              <a:ext uri="{FF2B5EF4-FFF2-40B4-BE49-F238E27FC236}">
                <a16:creationId xmlns:a16="http://schemas.microsoft.com/office/drawing/2014/main" id="{7F03BA0C-AFBB-4052-9BE8-450EDE2D3546}"/>
              </a:ext>
            </a:extLst>
          </p:cNvPr>
          <p:cNvSpPr>
            <a:spLocks noChangeArrowheads="1"/>
          </p:cNvSpPr>
          <p:nvPr/>
        </p:nvSpPr>
        <p:spPr bwMode="auto">
          <a:xfrm>
            <a:off x="2984199" y="3922869"/>
            <a:ext cx="1824180" cy="205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altLang="ru-RU" sz="1000" b="0" i="0" u="none" strike="noStrike" kern="1200" cap="none" spc="0" normalizeH="0" baseline="0" noProof="0">
                <a:ln>
                  <a:noFill/>
                </a:ln>
                <a:solidFill>
                  <a:schemeClr val="accent1"/>
                </a:solidFill>
                <a:effectLst/>
                <a:uLnTx/>
                <a:uFillTx/>
                <a:latin typeface="Arial"/>
                <a:cs typeface="+mn-ea"/>
                <a:sym typeface="+mn-lt"/>
              </a:rPr>
              <a:t>Fish bone text block </a:t>
            </a:r>
          </a:p>
        </p:txBody>
      </p:sp>
      <p:sp>
        <p:nvSpPr>
          <p:cNvPr id="56" name="Shape 101">
            <a:extLst>
              <a:ext uri="{FF2B5EF4-FFF2-40B4-BE49-F238E27FC236}">
                <a16:creationId xmlns:a16="http://schemas.microsoft.com/office/drawing/2014/main" id="{1ACF3F3C-23F3-4964-ACAE-FC4A06E4CE73}"/>
              </a:ext>
            </a:extLst>
          </p:cNvPr>
          <p:cNvSpPr>
            <a:spLocks noChangeArrowheads="1"/>
          </p:cNvSpPr>
          <p:nvPr/>
        </p:nvSpPr>
        <p:spPr bwMode="auto">
          <a:xfrm>
            <a:off x="2526007" y="4431256"/>
            <a:ext cx="1824179" cy="205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altLang="ru-RU" sz="1000" b="0" i="0" u="none" strike="noStrike" kern="1200" cap="none" spc="0" normalizeH="0" baseline="0" noProof="0">
                <a:ln>
                  <a:noFill/>
                </a:ln>
                <a:solidFill>
                  <a:schemeClr val="accent1"/>
                </a:solidFill>
                <a:effectLst/>
                <a:uLnTx/>
                <a:uFillTx/>
                <a:latin typeface="Arial"/>
                <a:cs typeface="+mn-ea"/>
                <a:sym typeface="+mn-lt"/>
              </a:rPr>
              <a:t>Fish bone text block </a:t>
            </a:r>
          </a:p>
        </p:txBody>
      </p:sp>
      <p:sp>
        <p:nvSpPr>
          <p:cNvPr id="57" name="Shape 107">
            <a:extLst>
              <a:ext uri="{FF2B5EF4-FFF2-40B4-BE49-F238E27FC236}">
                <a16:creationId xmlns:a16="http://schemas.microsoft.com/office/drawing/2014/main" id="{93A63124-D362-45D7-BE2F-95079FF9B289}"/>
              </a:ext>
            </a:extLst>
          </p:cNvPr>
          <p:cNvSpPr>
            <a:spLocks noChangeArrowheads="1"/>
          </p:cNvSpPr>
          <p:nvPr/>
        </p:nvSpPr>
        <p:spPr bwMode="auto">
          <a:xfrm>
            <a:off x="1604828" y="5077631"/>
            <a:ext cx="362744" cy="2436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lgn="ctr">
              <a:defRPr sz="2500" cap="all">
                <a:solidFill>
                  <a:srgbClr val="FFFFFF"/>
                </a:solidFill>
                <a:latin typeface="Open Sans Semibold"/>
                <a:ea typeface="Open Sans Semibold"/>
                <a:cs typeface="Open Sans Semibold"/>
                <a:sym typeface="Open Sans Semibold"/>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sz="1250" b="0" i="0" u="none" strike="noStrike" kern="0" cap="all" spc="0" normalizeH="0" baseline="0" noProof="0">
                <a:ln>
                  <a:noFill/>
                </a:ln>
                <a:solidFill>
                  <a:srgbClr val="FFFFFF"/>
                </a:solidFill>
                <a:effectLst/>
                <a:uLnTx/>
                <a:uFillTx/>
                <a:latin typeface="Arial"/>
                <a:ea typeface="+mn-ea"/>
                <a:cs typeface="+mn-ea"/>
                <a:sym typeface="+mn-lt"/>
              </a:rPr>
              <a:t>1</a:t>
            </a:r>
          </a:p>
        </p:txBody>
      </p:sp>
      <p:sp>
        <p:nvSpPr>
          <p:cNvPr id="58" name="Shape 111">
            <a:extLst>
              <a:ext uri="{FF2B5EF4-FFF2-40B4-BE49-F238E27FC236}">
                <a16:creationId xmlns:a16="http://schemas.microsoft.com/office/drawing/2014/main" id="{B51032C3-CD98-45D3-88C7-77549F095371}"/>
              </a:ext>
            </a:extLst>
          </p:cNvPr>
          <p:cNvSpPr>
            <a:spLocks noChangeArrowheads="1"/>
          </p:cNvSpPr>
          <p:nvPr/>
        </p:nvSpPr>
        <p:spPr bwMode="auto">
          <a:xfrm>
            <a:off x="2105684" y="5077631"/>
            <a:ext cx="1268413" cy="2436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2500" cap="all">
                <a:solidFill>
                  <a:srgbClr val="344245"/>
                </a:solidFill>
                <a:latin typeface="Open Sans Semibold"/>
                <a:ea typeface="Open Sans Semibold"/>
                <a:cs typeface="Open Sans Semibold"/>
                <a:sym typeface="Open Sans Semibold"/>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sz="1250" b="1" i="0" u="none" strike="noStrike" kern="0" cap="all" spc="0" normalizeH="0" baseline="0" noProof="0">
                <a:ln>
                  <a:noFill/>
                </a:ln>
                <a:solidFill>
                  <a:schemeClr val="accent1"/>
                </a:solidFill>
                <a:effectLst/>
                <a:uLnTx/>
                <a:uFillTx/>
                <a:latin typeface="Arial"/>
                <a:ea typeface="+mn-ea"/>
                <a:cs typeface="+mn-ea"/>
                <a:sym typeface="+mn-lt"/>
              </a:rPr>
              <a:t>Text inform</a:t>
            </a:r>
          </a:p>
        </p:txBody>
      </p:sp>
      <p:sp>
        <p:nvSpPr>
          <p:cNvPr id="43" name="Shape 79">
            <a:extLst>
              <a:ext uri="{FF2B5EF4-FFF2-40B4-BE49-F238E27FC236}">
                <a16:creationId xmlns:a16="http://schemas.microsoft.com/office/drawing/2014/main" id="{3C9060F4-092F-419F-BB80-D403C7B39A01}"/>
              </a:ext>
            </a:extLst>
          </p:cNvPr>
          <p:cNvSpPr>
            <a:spLocks noChangeShapeType="1"/>
          </p:cNvSpPr>
          <p:nvPr/>
        </p:nvSpPr>
        <p:spPr bwMode="auto">
          <a:xfrm flipH="1" flipV="1">
            <a:off x="1825580" y="1824656"/>
            <a:ext cx="1484073" cy="1623189"/>
          </a:xfrm>
          <a:prstGeom prst="line">
            <a:avLst/>
          </a:prstGeom>
          <a:noFill/>
          <a:ln w="63500">
            <a:solidFill>
              <a:schemeClr val="accent1">
                <a:lumMod val="100000"/>
              </a:schemeClr>
            </a:solidFill>
            <a:miter lim="400000"/>
            <a:headEnd/>
            <a:tailEnd/>
          </a:ln>
          <a:extLst>
            <a:ext uri="{909E8E84-426E-40DD-AFC4-6F175D3DCCD1}">
              <a14:hiddenFill xmlns:a14="http://schemas.microsoft.com/office/drawing/2010/main">
                <a:noFill/>
              </a14:hiddenFill>
            </a:ext>
          </a:extLst>
        </p:spPr>
        <p:txBody>
          <a:bodyPr lIns="25400" tIns="25400" rIns="25400" bIns="254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500" b="0" i="0" u="none" strike="noStrike" kern="1200" cap="none" spc="0" normalizeH="0" baseline="0" noProof="0">
              <a:ln>
                <a:noFill/>
              </a:ln>
              <a:solidFill>
                <a:srgbClr val="000000"/>
              </a:solidFill>
              <a:effectLst/>
              <a:uLnTx/>
              <a:uFillTx/>
              <a:latin typeface="Arial"/>
              <a:cs typeface="+mn-ea"/>
              <a:sym typeface="+mn-lt"/>
            </a:endParaRPr>
          </a:p>
        </p:txBody>
      </p:sp>
      <p:sp>
        <p:nvSpPr>
          <p:cNvPr id="44" name="Shape 92">
            <a:extLst>
              <a:ext uri="{FF2B5EF4-FFF2-40B4-BE49-F238E27FC236}">
                <a16:creationId xmlns:a16="http://schemas.microsoft.com/office/drawing/2014/main" id="{05192742-EA0F-43DA-B2DE-BE59D1936236}"/>
              </a:ext>
            </a:extLst>
          </p:cNvPr>
          <p:cNvSpPr>
            <a:spLocks noChangeArrowheads="1"/>
          </p:cNvSpPr>
          <p:nvPr/>
        </p:nvSpPr>
        <p:spPr bwMode="auto">
          <a:xfrm>
            <a:off x="2210644" y="2262020"/>
            <a:ext cx="190318" cy="190325"/>
          </a:xfrm>
          <a:prstGeom prst="ellipse">
            <a:avLst/>
          </a:prstGeom>
          <a:solidFill>
            <a:schemeClr val="accent1">
              <a:lumMod val="100000"/>
            </a:schemeClr>
          </a:solidFill>
          <a:ln>
            <a:noFill/>
          </a:ln>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FFFFFF"/>
              </a:solidFill>
              <a:effectLst/>
              <a:uLnTx/>
              <a:uFillTx/>
              <a:latin typeface="Arial"/>
              <a:cs typeface="+mn-ea"/>
              <a:sym typeface="+mn-lt"/>
            </a:endParaRPr>
          </a:p>
        </p:txBody>
      </p:sp>
      <p:sp>
        <p:nvSpPr>
          <p:cNvPr id="45" name="Shape 93">
            <a:extLst>
              <a:ext uri="{FF2B5EF4-FFF2-40B4-BE49-F238E27FC236}">
                <a16:creationId xmlns:a16="http://schemas.microsoft.com/office/drawing/2014/main" id="{E6C92B71-A5EF-4E42-8A25-D1F5153B9B25}"/>
              </a:ext>
            </a:extLst>
          </p:cNvPr>
          <p:cNvSpPr>
            <a:spLocks noChangeArrowheads="1"/>
          </p:cNvSpPr>
          <p:nvPr/>
        </p:nvSpPr>
        <p:spPr bwMode="auto">
          <a:xfrm>
            <a:off x="2686732" y="2780964"/>
            <a:ext cx="190318" cy="190325"/>
          </a:xfrm>
          <a:prstGeom prst="ellipse">
            <a:avLst/>
          </a:prstGeom>
          <a:solidFill>
            <a:schemeClr val="accent1">
              <a:lumMod val="100000"/>
            </a:schemeClr>
          </a:solidFill>
          <a:ln>
            <a:noFill/>
          </a:ln>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FFFFFF"/>
              </a:solidFill>
              <a:effectLst/>
              <a:uLnTx/>
              <a:uFillTx/>
              <a:latin typeface="Arial"/>
              <a:cs typeface="+mn-ea"/>
              <a:sym typeface="+mn-lt"/>
            </a:endParaRPr>
          </a:p>
        </p:txBody>
      </p:sp>
      <p:sp>
        <p:nvSpPr>
          <p:cNvPr id="46" name="Shape 96">
            <a:extLst>
              <a:ext uri="{FF2B5EF4-FFF2-40B4-BE49-F238E27FC236}">
                <a16:creationId xmlns:a16="http://schemas.microsoft.com/office/drawing/2014/main" id="{3F8C035E-C33F-4F52-A234-EDE8B7264CB4}"/>
              </a:ext>
            </a:extLst>
          </p:cNvPr>
          <p:cNvSpPr>
            <a:spLocks noChangeArrowheads="1"/>
          </p:cNvSpPr>
          <p:nvPr/>
        </p:nvSpPr>
        <p:spPr bwMode="auto">
          <a:xfrm>
            <a:off x="2481512" y="2254590"/>
            <a:ext cx="1824179" cy="205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altLang="ru-RU" sz="1000" b="0" i="0" u="none" strike="noStrike" kern="1200" cap="none" spc="0" normalizeH="0" baseline="0" noProof="0">
                <a:ln>
                  <a:noFill/>
                </a:ln>
                <a:solidFill>
                  <a:schemeClr val="accent1"/>
                </a:solidFill>
                <a:effectLst/>
                <a:uLnTx/>
                <a:uFillTx/>
                <a:latin typeface="Arial"/>
                <a:cs typeface="+mn-ea"/>
                <a:sym typeface="+mn-lt"/>
              </a:rPr>
              <a:t>Fish bone text block </a:t>
            </a:r>
          </a:p>
        </p:txBody>
      </p:sp>
      <p:sp>
        <p:nvSpPr>
          <p:cNvPr id="47" name="Shape 97">
            <a:extLst>
              <a:ext uri="{FF2B5EF4-FFF2-40B4-BE49-F238E27FC236}">
                <a16:creationId xmlns:a16="http://schemas.microsoft.com/office/drawing/2014/main" id="{6B90F440-1EB8-4B24-A29C-46F04A3DCE5A}"/>
              </a:ext>
            </a:extLst>
          </p:cNvPr>
          <p:cNvSpPr>
            <a:spLocks noChangeArrowheads="1"/>
          </p:cNvSpPr>
          <p:nvPr/>
        </p:nvSpPr>
        <p:spPr bwMode="auto">
          <a:xfrm>
            <a:off x="2956744" y="2769328"/>
            <a:ext cx="1824179" cy="205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altLang="ru-RU" sz="1000" b="0" i="0" u="none" strike="noStrike" kern="1200" cap="none" spc="0" normalizeH="0" baseline="0" noProof="0">
                <a:ln>
                  <a:noFill/>
                </a:ln>
                <a:solidFill>
                  <a:schemeClr val="accent1"/>
                </a:solidFill>
                <a:effectLst/>
                <a:uLnTx/>
                <a:uFillTx/>
                <a:latin typeface="Arial"/>
                <a:cs typeface="+mn-ea"/>
                <a:sym typeface="+mn-lt"/>
              </a:rPr>
              <a:t>Fish bone text block </a:t>
            </a:r>
          </a:p>
        </p:txBody>
      </p:sp>
      <p:sp>
        <p:nvSpPr>
          <p:cNvPr id="48" name="Shape 105">
            <a:extLst>
              <a:ext uri="{FF2B5EF4-FFF2-40B4-BE49-F238E27FC236}">
                <a16:creationId xmlns:a16="http://schemas.microsoft.com/office/drawing/2014/main" id="{EB92CC82-0738-47C8-B519-5ED1DD3BCAD2}"/>
              </a:ext>
            </a:extLst>
          </p:cNvPr>
          <p:cNvSpPr>
            <a:spLocks noChangeArrowheads="1"/>
          </p:cNvSpPr>
          <p:nvPr/>
        </p:nvSpPr>
        <p:spPr bwMode="auto">
          <a:xfrm>
            <a:off x="1490635" y="1442640"/>
            <a:ext cx="431789" cy="431804"/>
          </a:xfrm>
          <a:prstGeom prst="ellipse">
            <a:avLst/>
          </a:prstGeom>
          <a:solidFill>
            <a:schemeClr val="accent1">
              <a:lumMod val="100000"/>
            </a:schemeClr>
          </a:solidFill>
          <a:ln w="63500">
            <a:solidFill>
              <a:schemeClr val="accent1">
                <a:lumMod val="100000"/>
              </a:schemeClr>
            </a:solidFill>
            <a:miter lim="400000"/>
            <a:headEnd/>
            <a:tailEnd/>
          </a:ln>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FFFFFF"/>
              </a:solidFill>
              <a:effectLst/>
              <a:uLnTx/>
              <a:uFillTx/>
              <a:latin typeface="Arial"/>
              <a:cs typeface="+mn-ea"/>
              <a:sym typeface="+mn-lt"/>
            </a:endParaRPr>
          </a:p>
        </p:txBody>
      </p:sp>
      <p:sp>
        <p:nvSpPr>
          <p:cNvPr id="49" name="Shape 108">
            <a:extLst>
              <a:ext uri="{FF2B5EF4-FFF2-40B4-BE49-F238E27FC236}">
                <a16:creationId xmlns:a16="http://schemas.microsoft.com/office/drawing/2014/main" id="{9E9B6779-9DBB-4C8C-98F0-50D77961EFBD}"/>
              </a:ext>
            </a:extLst>
          </p:cNvPr>
          <p:cNvSpPr>
            <a:spLocks noChangeArrowheads="1"/>
          </p:cNvSpPr>
          <p:nvPr/>
        </p:nvSpPr>
        <p:spPr bwMode="auto">
          <a:xfrm>
            <a:off x="1525400" y="1526394"/>
            <a:ext cx="362744" cy="2436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lgn="ctr">
              <a:defRPr sz="2500" cap="all">
                <a:solidFill>
                  <a:srgbClr val="FFFFFF"/>
                </a:solidFill>
                <a:latin typeface="Open Sans Semibold"/>
                <a:ea typeface="Open Sans Semibold"/>
                <a:cs typeface="Open Sans Semibold"/>
                <a:sym typeface="Open Sans Semibold"/>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sz="1250" b="0" i="0" u="none" strike="noStrike" kern="0" cap="all" spc="0" normalizeH="0" baseline="0" noProof="0">
                <a:ln>
                  <a:noFill/>
                </a:ln>
                <a:solidFill>
                  <a:srgbClr val="FFFFFF"/>
                </a:solidFill>
                <a:effectLst/>
                <a:uLnTx/>
                <a:uFillTx/>
                <a:latin typeface="Arial"/>
                <a:ea typeface="+mn-ea"/>
                <a:cs typeface="+mn-ea"/>
                <a:sym typeface="+mn-lt"/>
              </a:rPr>
              <a:t>2</a:t>
            </a:r>
          </a:p>
        </p:txBody>
      </p:sp>
      <p:sp>
        <p:nvSpPr>
          <p:cNvPr id="50" name="Shape 113">
            <a:extLst>
              <a:ext uri="{FF2B5EF4-FFF2-40B4-BE49-F238E27FC236}">
                <a16:creationId xmlns:a16="http://schemas.microsoft.com/office/drawing/2014/main" id="{01508899-C0A6-4731-879B-2A2F4832617D}"/>
              </a:ext>
            </a:extLst>
          </p:cNvPr>
          <p:cNvSpPr>
            <a:spLocks noChangeArrowheads="1"/>
          </p:cNvSpPr>
          <p:nvPr/>
        </p:nvSpPr>
        <p:spPr bwMode="auto">
          <a:xfrm>
            <a:off x="2026256" y="1529569"/>
            <a:ext cx="1267619" cy="2436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2500" cap="all">
                <a:solidFill>
                  <a:srgbClr val="344245"/>
                </a:solidFill>
                <a:latin typeface="Open Sans Semibold"/>
                <a:ea typeface="Open Sans Semibold"/>
                <a:cs typeface="Open Sans Semibold"/>
                <a:sym typeface="Open Sans Semibold"/>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sz="1250" b="1" i="0" u="none" strike="noStrike" kern="0" cap="all" spc="0" normalizeH="0" baseline="0" noProof="0" dirty="0">
                <a:ln>
                  <a:noFill/>
                </a:ln>
                <a:solidFill>
                  <a:schemeClr val="accent1"/>
                </a:solidFill>
                <a:effectLst/>
                <a:uLnTx/>
                <a:uFillTx/>
                <a:latin typeface="Arial"/>
                <a:ea typeface="+mn-ea"/>
                <a:cs typeface="+mn-ea"/>
                <a:sym typeface="+mn-lt"/>
              </a:rPr>
              <a:t>Text inform</a:t>
            </a:r>
          </a:p>
        </p:txBody>
      </p:sp>
      <p:sp>
        <p:nvSpPr>
          <p:cNvPr id="35" name="Shape 81">
            <a:extLst>
              <a:ext uri="{FF2B5EF4-FFF2-40B4-BE49-F238E27FC236}">
                <a16:creationId xmlns:a16="http://schemas.microsoft.com/office/drawing/2014/main" id="{DFA248FC-FA14-485E-B7A6-CE7ED7846FF2}"/>
              </a:ext>
            </a:extLst>
          </p:cNvPr>
          <p:cNvSpPr>
            <a:spLocks noChangeShapeType="1"/>
          </p:cNvSpPr>
          <p:nvPr/>
        </p:nvSpPr>
        <p:spPr bwMode="auto">
          <a:xfrm flipH="1" flipV="1">
            <a:off x="4326103" y="1824656"/>
            <a:ext cx="1484073" cy="1623189"/>
          </a:xfrm>
          <a:prstGeom prst="line">
            <a:avLst/>
          </a:prstGeom>
          <a:noFill/>
          <a:ln w="63500">
            <a:solidFill>
              <a:schemeClr val="accent1">
                <a:lumMod val="100000"/>
              </a:schemeClr>
            </a:solidFill>
            <a:miter lim="400000"/>
            <a:headEnd/>
            <a:tailEnd/>
          </a:ln>
          <a:extLst>
            <a:ext uri="{909E8E84-426E-40DD-AFC4-6F175D3DCCD1}">
              <a14:hiddenFill xmlns:a14="http://schemas.microsoft.com/office/drawing/2010/main">
                <a:noFill/>
              </a14:hiddenFill>
            </a:ext>
          </a:extLst>
        </p:spPr>
        <p:txBody>
          <a:bodyPr lIns="25400" tIns="25400" rIns="25400" bIns="254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500" b="0" i="0" u="none" strike="noStrike" kern="1200" cap="none" spc="0" normalizeH="0" baseline="0" noProof="0">
              <a:ln>
                <a:noFill/>
              </a:ln>
              <a:solidFill>
                <a:srgbClr val="000000"/>
              </a:solidFill>
              <a:effectLst/>
              <a:uLnTx/>
              <a:uFillTx/>
              <a:latin typeface="Arial"/>
              <a:cs typeface="+mn-ea"/>
              <a:sym typeface="+mn-lt"/>
            </a:endParaRPr>
          </a:p>
        </p:txBody>
      </p:sp>
      <p:sp>
        <p:nvSpPr>
          <p:cNvPr id="36" name="Shape 94">
            <a:extLst>
              <a:ext uri="{FF2B5EF4-FFF2-40B4-BE49-F238E27FC236}">
                <a16:creationId xmlns:a16="http://schemas.microsoft.com/office/drawing/2014/main" id="{81C059B4-69DB-458F-A5AE-C8F4268576B9}"/>
              </a:ext>
            </a:extLst>
          </p:cNvPr>
          <p:cNvSpPr>
            <a:spLocks noChangeArrowheads="1"/>
          </p:cNvSpPr>
          <p:nvPr/>
        </p:nvSpPr>
        <p:spPr bwMode="auto">
          <a:xfrm>
            <a:off x="4716165" y="2261931"/>
            <a:ext cx="190495" cy="190502"/>
          </a:xfrm>
          <a:prstGeom prst="ellipse">
            <a:avLst/>
          </a:prstGeom>
          <a:solidFill>
            <a:schemeClr val="accent1">
              <a:lumMod val="100000"/>
            </a:schemeClr>
          </a:solidFill>
          <a:ln>
            <a:noFill/>
          </a:ln>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FFFFFF"/>
              </a:solidFill>
              <a:effectLst/>
              <a:uLnTx/>
              <a:uFillTx/>
              <a:latin typeface="Arial"/>
              <a:cs typeface="+mn-ea"/>
              <a:sym typeface="+mn-lt"/>
            </a:endParaRPr>
          </a:p>
        </p:txBody>
      </p:sp>
      <p:sp>
        <p:nvSpPr>
          <p:cNvPr id="37" name="Shape 95">
            <a:extLst>
              <a:ext uri="{FF2B5EF4-FFF2-40B4-BE49-F238E27FC236}">
                <a16:creationId xmlns:a16="http://schemas.microsoft.com/office/drawing/2014/main" id="{9A5DDCA8-3AAB-4132-BB30-77E148118F37}"/>
              </a:ext>
            </a:extLst>
          </p:cNvPr>
          <p:cNvSpPr>
            <a:spLocks noChangeArrowheads="1"/>
          </p:cNvSpPr>
          <p:nvPr/>
        </p:nvSpPr>
        <p:spPr bwMode="auto">
          <a:xfrm>
            <a:off x="5194590" y="2783019"/>
            <a:ext cx="190495" cy="190502"/>
          </a:xfrm>
          <a:prstGeom prst="ellipse">
            <a:avLst/>
          </a:prstGeom>
          <a:solidFill>
            <a:schemeClr val="accent1">
              <a:lumMod val="100000"/>
            </a:schemeClr>
          </a:solidFill>
          <a:ln>
            <a:noFill/>
          </a:ln>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FFFFFF"/>
              </a:solidFill>
              <a:effectLst/>
              <a:uLnTx/>
              <a:uFillTx/>
              <a:latin typeface="Arial"/>
              <a:cs typeface="+mn-ea"/>
              <a:sym typeface="+mn-lt"/>
            </a:endParaRPr>
          </a:p>
        </p:txBody>
      </p:sp>
      <p:sp>
        <p:nvSpPr>
          <p:cNvPr id="38" name="Shape 98">
            <a:extLst>
              <a:ext uri="{FF2B5EF4-FFF2-40B4-BE49-F238E27FC236}">
                <a16:creationId xmlns:a16="http://schemas.microsoft.com/office/drawing/2014/main" id="{AA009040-ECD3-436F-97ED-23E29F46D5A6}"/>
              </a:ext>
            </a:extLst>
          </p:cNvPr>
          <p:cNvSpPr>
            <a:spLocks noChangeArrowheads="1"/>
          </p:cNvSpPr>
          <p:nvPr/>
        </p:nvSpPr>
        <p:spPr bwMode="auto">
          <a:xfrm>
            <a:off x="4984016" y="2254590"/>
            <a:ext cx="1824179" cy="205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altLang="ru-RU" sz="1000" b="0" i="0" u="none" strike="noStrike" kern="1200" cap="none" spc="0" normalizeH="0" baseline="0" noProof="0">
                <a:ln>
                  <a:noFill/>
                </a:ln>
                <a:solidFill>
                  <a:schemeClr val="accent1"/>
                </a:solidFill>
                <a:effectLst/>
                <a:uLnTx/>
                <a:uFillTx/>
                <a:latin typeface="Arial"/>
                <a:cs typeface="+mn-ea"/>
                <a:sym typeface="+mn-lt"/>
              </a:rPr>
              <a:t>Fish bone text block </a:t>
            </a:r>
          </a:p>
        </p:txBody>
      </p:sp>
      <p:sp>
        <p:nvSpPr>
          <p:cNvPr id="39" name="Shape 99">
            <a:extLst>
              <a:ext uri="{FF2B5EF4-FFF2-40B4-BE49-F238E27FC236}">
                <a16:creationId xmlns:a16="http://schemas.microsoft.com/office/drawing/2014/main" id="{1599DC3E-E0D0-4500-BD34-88165E7AB3BE}"/>
              </a:ext>
            </a:extLst>
          </p:cNvPr>
          <p:cNvSpPr>
            <a:spLocks noChangeArrowheads="1"/>
          </p:cNvSpPr>
          <p:nvPr/>
        </p:nvSpPr>
        <p:spPr bwMode="auto">
          <a:xfrm>
            <a:off x="5459249" y="2769328"/>
            <a:ext cx="1824179" cy="205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altLang="ru-RU" sz="1000" b="0" i="0" u="none" strike="noStrike" kern="1200" cap="none" spc="0" normalizeH="0" baseline="0" noProof="0">
                <a:ln>
                  <a:noFill/>
                </a:ln>
                <a:solidFill>
                  <a:schemeClr val="accent1"/>
                </a:solidFill>
                <a:effectLst/>
                <a:uLnTx/>
                <a:uFillTx/>
                <a:latin typeface="Arial"/>
                <a:cs typeface="+mn-ea"/>
                <a:sym typeface="+mn-lt"/>
              </a:rPr>
              <a:t>Fish bone text block </a:t>
            </a:r>
          </a:p>
        </p:txBody>
      </p:sp>
      <p:sp>
        <p:nvSpPr>
          <p:cNvPr id="40" name="Shape 106">
            <a:extLst>
              <a:ext uri="{FF2B5EF4-FFF2-40B4-BE49-F238E27FC236}">
                <a16:creationId xmlns:a16="http://schemas.microsoft.com/office/drawing/2014/main" id="{F0DA0636-B9B5-452B-8B3D-8D201F259F0B}"/>
              </a:ext>
            </a:extLst>
          </p:cNvPr>
          <p:cNvSpPr>
            <a:spLocks noChangeArrowheads="1"/>
          </p:cNvSpPr>
          <p:nvPr/>
        </p:nvSpPr>
        <p:spPr bwMode="auto">
          <a:xfrm>
            <a:off x="4034948" y="1442640"/>
            <a:ext cx="431789" cy="431804"/>
          </a:xfrm>
          <a:prstGeom prst="ellipse">
            <a:avLst/>
          </a:prstGeom>
          <a:solidFill>
            <a:schemeClr val="accent1">
              <a:lumMod val="100000"/>
            </a:schemeClr>
          </a:solidFill>
          <a:ln w="63500">
            <a:solidFill>
              <a:schemeClr val="accent1">
                <a:lumMod val="100000"/>
              </a:schemeClr>
            </a:solidFill>
            <a:miter lim="400000"/>
            <a:headEnd/>
            <a:tailEnd/>
          </a:ln>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dirty="0">
              <a:ln>
                <a:noFill/>
              </a:ln>
              <a:solidFill>
                <a:srgbClr val="FFFFFF"/>
              </a:solidFill>
              <a:effectLst/>
              <a:uLnTx/>
              <a:uFillTx/>
              <a:latin typeface="Arial"/>
              <a:cs typeface="+mn-ea"/>
              <a:sym typeface="+mn-lt"/>
            </a:endParaRPr>
          </a:p>
        </p:txBody>
      </p:sp>
      <p:sp>
        <p:nvSpPr>
          <p:cNvPr id="41" name="Shape 109">
            <a:extLst>
              <a:ext uri="{FF2B5EF4-FFF2-40B4-BE49-F238E27FC236}">
                <a16:creationId xmlns:a16="http://schemas.microsoft.com/office/drawing/2014/main" id="{997E8D3B-E6B9-4EF4-BB85-393311D35114}"/>
              </a:ext>
            </a:extLst>
          </p:cNvPr>
          <p:cNvSpPr>
            <a:spLocks noChangeArrowheads="1"/>
          </p:cNvSpPr>
          <p:nvPr/>
        </p:nvSpPr>
        <p:spPr bwMode="auto">
          <a:xfrm>
            <a:off x="4069905" y="1526394"/>
            <a:ext cx="361950" cy="2436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lgn="ctr">
              <a:defRPr sz="2500" cap="all">
                <a:solidFill>
                  <a:srgbClr val="FFFFFF"/>
                </a:solidFill>
                <a:latin typeface="Open Sans Semibold"/>
                <a:ea typeface="Open Sans Semibold"/>
                <a:cs typeface="Open Sans Semibold"/>
                <a:sym typeface="Open Sans Semibold"/>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sz="1250" b="0" i="0" u="none" strike="noStrike" kern="0" cap="all" spc="0" normalizeH="0" baseline="0" noProof="0">
                <a:ln>
                  <a:noFill/>
                </a:ln>
                <a:solidFill>
                  <a:srgbClr val="FFFFFF"/>
                </a:solidFill>
                <a:effectLst/>
                <a:uLnTx/>
                <a:uFillTx/>
                <a:latin typeface="Arial"/>
                <a:ea typeface="+mn-ea"/>
                <a:cs typeface="+mn-ea"/>
                <a:sym typeface="+mn-lt"/>
              </a:rPr>
              <a:t>4</a:t>
            </a:r>
          </a:p>
        </p:txBody>
      </p:sp>
      <p:sp>
        <p:nvSpPr>
          <p:cNvPr id="42" name="Shape 114">
            <a:extLst>
              <a:ext uri="{FF2B5EF4-FFF2-40B4-BE49-F238E27FC236}">
                <a16:creationId xmlns:a16="http://schemas.microsoft.com/office/drawing/2014/main" id="{82454E4E-A004-4C9A-9E57-5F81DB582169}"/>
              </a:ext>
            </a:extLst>
          </p:cNvPr>
          <p:cNvSpPr>
            <a:spLocks noChangeArrowheads="1"/>
          </p:cNvSpPr>
          <p:nvPr/>
        </p:nvSpPr>
        <p:spPr bwMode="auto">
          <a:xfrm>
            <a:off x="4566793" y="1526394"/>
            <a:ext cx="1267619" cy="2436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2500" cap="all">
                <a:solidFill>
                  <a:srgbClr val="344245"/>
                </a:solidFill>
                <a:latin typeface="Open Sans Semibold"/>
                <a:ea typeface="Open Sans Semibold"/>
                <a:cs typeface="Open Sans Semibold"/>
                <a:sym typeface="Open Sans Semibold"/>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sz="1250" b="1" i="0" u="none" strike="noStrike" kern="0" cap="all" spc="0" normalizeH="0" baseline="0" noProof="0">
                <a:ln>
                  <a:noFill/>
                </a:ln>
                <a:solidFill>
                  <a:schemeClr val="accent1"/>
                </a:solidFill>
                <a:effectLst/>
                <a:uLnTx/>
                <a:uFillTx/>
                <a:latin typeface="Arial"/>
                <a:ea typeface="+mn-ea"/>
                <a:cs typeface="+mn-ea"/>
                <a:sym typeface="+mn-lt"/>
              </a:rPr>
              <a:t>Text inform</a:t>
            </a:r>
          </a:p>
        </p:txBody>
      </p:sp>
      <p:sp>
        <p:nvSpPr>
          <p:cNvPr id="9" name="Shape 123">
            <a:extLst>
              <a:ext uri="{FF2B5EF4-FFF2-40B4-BE49-F238E27FC236}">
                <a16:creationId xmlns:a16="http://schemas.microsoft.com/office/drawing/2014/main" id="{8F5F13AA-50A2-4BA5-A8E7-C3250CD918DA}"/>
              </a:ext>
            </a:extLst>
          </p:cNvPr>
          <p:cNvSpPr>
            <a:spLocks/>
          </p:cNvSpPr>
          <p:nvPr/>
        </p:nvSpPr>
        <p:spPr bwMode="auto">
          <a:xfrm>
            <a:off x="8660415" y="1910157"/>
            <a:ext cx="2994623" cy="3081103"/>
          </a:xfrm>
          <a:custGeom>
            <a:avLst/>
            <a:gdLst>
              <a:gd name="T0" fmla="*/ 2147483646 w 21600"/>
              <a:gd name="T1" fmla="*/ 2147483646 h 21600"/>
              <a:gd name="T2" fmla="*/ 2147483646 w 21600"/>
              <a:gd name="T3" fmla="*/ 2147483646 h 21600"/>
              <a:gd name="T4" fmla="*/ 2147483646 w 21600"/>
              <a:gd name="T5" fmla="*/ 2147483646 h 21600"/>
              <a:gd name="T6" fmla="*/ 2147483646 w 21600"/>
              <a:gd name="T7" fmla="*/ 2147483646 h 21600"/>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21600" h="21600" extrusionOk="0">
                <a:moveTo>
                  <a:pt x="217" y="21600"/>
                </a:moveTo>
                <a:lnTo>
                  <a:pt x="11675" y="21600"/>
                </a:lnTo>
                <a:lnTo>
                  <a:pt x="21600" y="10807"/>
                </a:lnTo>
                <a:lnTo>
                  <a:pt x="11426" y="0"/>
                </a:lnTo>
                <a:lnTo>
                  <a:pt x="0" y="0"/>
                </a:lnTo>
                <a:lnTo>
                  <a:pt x="10285" y="10845"/>
                </a:lnTo>
                <a:lnTo>
                  <a:pt x="217" y="21600"/>
                </a:lnTo>
                <a:close/>
              </a:path>
            </a:pathLst>
          </a:custGeom>
          <a:solidFill>
            <a:schemeClr val="accent1">
              <a:lumMod val="60000"/>
              <a:lumOff val="40000"/>
            </a:schemeClr>
          </a:solidFill>
          <a:ln>
            <a:noFill/>
          </a:ln>
        </p:spPr>
        <p:txBody>
          <a:bodyPr lIns="25400" tIns="25400" rIns="25400" bIns="254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500" b="0" i="0" u="none" strike="noStrike" kern="1200" cap="none" spc="0" normalizeH="0" baseline="0" noProof="0">
              <a:ln>
                <a:noFill/>
              </a:ln>
              <a:solidFill>
                <a:srgbClr val="000000"/>
              </a:solidFill>
              <a:effectLst/>
              <a:uLnTx/>
              <a:uFillTx/>
              <a:latin typeface="Arial"/>
              <a:cs typeface="+mn-ea"/>
              <a:sym typeface="+mn-lt"/>
            </a:endParaRPr>
          </a:p>
        </p:txBody>
      </p:sp>
      <p:sp>
        <p:nvSpPr>
          <p:cNvPr id="10" name="Shape 124">
            <a:extLst>
              <a:ext uri="{FF2B5EF4-FFF2-40B4-BE49-F238E27FC236}">
                <a16:creationId xmlns:a16="http://schemas.microsoft.com/office/drawing/2014/main" id="{2C55D050-7D36-4ABE-9513-1371B734D76F}"/>
              </a:ext>
            </a:extLst>
          </p:cNvPr>
          <p:cNvSpPr>
            <a:spLocks/>
          </p:cNvSpPr>
          <p:nvPr/>
        </p:nvSpPr>
        <p:spPr bwMode="auto">
          <a:xfrm>
            <a:off x="536962" y="1902519"/>
            <a:ext cx="1430786" cy="3087014"/>
          </a:xfrm>
          <a:custGeom>
            <a:avLst/>
            <a:gdLst>
              <a:gd name="T0" fmla="*/ 2147483646 w 21600"/>
              <a:gd name="T1" fmla="*/ 2147483646 h 21600"/>
              <a:gd name="T2" fmla="*/ 2147483646 w 21600"/>
              <a:gd name="T3" fmla="*/ 2147483646 h 21600"/>
              <a:gd name="T4" fmla="*/ 2147483646 w 21600"/>
              <a:gd name="T5" fmla="*/ 2147483646 h 21600"/>
              <a:gd name="T6" fmla="*/ 2147483646 w 21600"/>
              <a:gd name="T7" fmla="*/ 2147483646 h 21600"/>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21600" h="21600" extrusionOk="0">
                <a:moveTo>
                  <a:pt x="21600" y="10843"/>
                </a:moveTo>
                <a:lnTo>
                  <a:pt x="0" y="0"/>
                </a:lnTo>
                <a:lnTo>
                  <a:pt x="5646" y="10843"/>
                </a:lnTo>
                <a:lnTo>
                  <a:pt x="650" y="21600"/>
                </a:lnTo>
                <a:lnTo>
                  <a:pt x="21600" y="10843"/>
                </a:lnTo>
                <a:close/>
              </a:path>
            </a:pathLst>
          </a:custGeom>
          <a:solidFill>
            <a:schemeClr val="accent1">
              <a:lumMod val="60000"/>
              <a:lumOff val="40000"/>
            </a:schemeClr>
          </a:solidFill>
          <a:ln>
            <a:noFill/>
          </a:ln>
        </p:spPr>
        <p:txBody>
          <a:bodyPr lIns="25400" tIns="25400" rIns="25400" bIns="254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500" b="0" i="0" u="none" strike="noStrike" kern="1200" cap="none" spc="0" normalizeH="0" baseline="0" noProof="0">
              <a:ln>
                <a:noFill/>
              </a:ln>
              <a:solidFill>
                <a:srgbClr val="000000"/>
              </a:solidFill>
              <a:effectLst/>
              <a:uLnTx/>
              <a:uFillTx/>
              <a:latin typeface="Arial"/>
              <a:cs typeface="+mn-ea"/>
              <a:sym typeface="+mn-lt"/>
            </a:endParaRPr>
          </a:p>
        </p:txBody>
      </p:sp>
      <p:sp>
        <p:nvSpPr>
          <p:cNvPr id="11" name="Shape 125">
            <a:extLst>
              <a:ext uri="{FF2B5EF4-FFF2-40B4-BE49-F238E27FC236}">
                <a16:creationId xmlns:a16="http://schemas.microsoft.com/office/drawing/2014/main" id="{DB3FA0F6-E6F5-4D0E-A0BF-4ABC2B41518F}"/>
              </a:ext>
            </a:extLst>
          </p:cNvPr>
          <p:cNvSpPr>
            <a:spLocks/>
          </p:cNvSpPr>
          <p:nvPr/>
        </p:nvSpPr>
        <p:spPr bwMode="auto">
          <a:xfrm>
            <a:off x="8654065" y="1907233"/>
            <a:ext cx="2994623" cy="1546936"/>
          </a:xfrm>
          <a:custGeom>
            <a:avLst/>
            <a:gdLst>
              <a:gd name="T0" fmla="*/ 2147483646 w 21600"/>
              <a:gd name="T1" fmla="*/ 2147483646 h 21600"/>
              <a:gd name="T2" fmla="*/ 2147483646 w 21600"/>
              <a:gd name="T3" fmla="*/ 2147483646 h 21600"/>
              <a:gd name="T4" fmla="*/ 2147483646 w 21600"/>
              <a:gd name="T5" fmla="*/ 2147483646 h 21600"/>
              <a:gd name="T6" fmla="*/ 2147483646 w 21600"/>
              <a:gd name="T7" fmla="*/ 2147483646 h 21600"/>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21600" h="21600" extrusionOk="0">
                <a:moveTo>
                  <a:pt x="21600" y="21524"/>
                </a:moveTo>
                <a:lnTo>
                  <a:pt x="11426" y="0"/>
                </a:lnTo>
                <a:lnTo>
                  <a:pt x="0" y="0"/>
                </a:lnTo>
                <a:lnTo>
                  <a:pt x="10285" y="21600"/>
                </a:lnTo>
                <a:lnTo>
                  <a:pt x="21600" y="21524"/>
                </a:lnTo>
                <a:close/>
              </a:path>
            </a:pathLst>
          </a:custGeom>
          <a:solidFill>
            <a:schemeClr val="accent1">
              <a:lumMod val="40000"/>
              <a:lumOff val="60000"/>
            </a:schemeClr>
          </a:solidFill>
          <a:ln>
            <a:noFill/>
          </a:ln>
        </p:spPr>
        <p:txBody>
          <a:bodyPr lIns="25400" tIns="25400" rIns="25400" bIns="254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500" b="0" i="0" u="none" strike="noStrike" kern="1200" cap="none" spc="0" normalizeH="0" baseline="0" noProof="0">
              <a:ln>
                <a:noFill/>
              </a:ln>
              <a:solidFill>
                <a:srgbClr val="000000"/>
              </a:solidFill>
              <a:effectLst/>
              <a:uLnTx/>
              <a:uFillTx/>
              <a:latin typeface="Arial"/>
              <a:cs typeface="+mn-ea"/>
              <a:sym typeface="+mn-lt"/>
            </a:endParaRPr>
          </a:p>
        </p:txBody>
      </p:sp>
      <p:sp>
        <p:nvSpPr>
          <p:cNvPr id="12" name="Shape 126">
            <a:extLst>
              <a:ext uri="{FF2B5EF4-FFF2-40B4-BE49-F238E27FC236}">
                <a16:creationId xmlns:a16="http://schemas.microsoft.com/office/drawing/2014/main" id="{2EE37361-E355-48EB-80CD-E2BCCF0D0B35}"/>
              </a:ext>
            </a:extLst>
          </p:cNvPr>
          <p:cNvSpPr>
            <a:spLocks/>
          </p:cNvSpPr>
          <p:nvPr/>
        </p:nvSpPr>
        <p:spPr bwMode="auto">
          <a:xfrm>
            <a:off x="536962" y="1905839"/>
            <a:ext cx="1430786" cy="1549724"/>
          </a:xfrm>
          <a:custGeom>
            <a:avLst/>
            <a:gdLst>
              <a:gd name="T0" fmla="*/ 2147483646 w 21600"/>
              <a:gd name="T1" fmla="*/ 2147483646 h 21600"/>
              <a:gd name="T2" fmla="*/ 2147483646 w 21600"/>
              <a:gd name="T3" fmla="*/ 2147483646 h 21600"/>
              <a:gd name="T4" fmla="*/ 2147483646 w 21600"/>
              <a:gd name="T5" fmla="*/ 2147483646 h 21600"/>
              <a:gd name="T6" fmla="*/ 2147483646 w 21600"/>
              <a:gd name="T7" fmla="*/ 2147483646 h 21600"/>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21600" h="21600" extrusionOk="0">
                <a:moveTo>
                  <a:pt x="21600" y="21599"/>
                </a:moveTo>
                <a:lnTo>
                  <a:pt x="0" y="0"/>
                </a:lnTo>
                <a:lnTo>
                  <a:pt x="5646" y="21600"/>
                </a:lnTo>
                <a:lnTo>
                  <a:pt x="21600" y="21599"/>
                </a:lnTo>
                <a:close/>
              </a:path>
            </a:pathLst>
          </a:custGeom>
          <a:solidFill>
            <a:schemeClr val="accent1">
              <a:lumMod val="40000"/>
              <a:lumOff val="60000"/>
            </a:schemeClr>
          </a:solidFill>
          <a:ln>
            <a:noFill/>
          </a:ln>
        </p:spPr>
        <p:txBody>
          <a:bodyPr lIns="25400" tIns="25400" rIns="25400" bIns="254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500" b="0" i="0" u="none" strike="noStrike" kern="1200" cap="none" spc="0" normalizeH="0" baseline="0" noProof="0">
              <a:ln>
                <a:noFill/>
              </a:ln>
              <a:solidFill>
                <a:srgbClr val="000000"/>
              </a:solidFill>
              <a:effectLst/>
              <a:uLnTx/>
              <a:uFillTx/>
              <a:latin typeface="Arial"/>
              <a:cs typeface="+mn-ea"/>
              <a:sym typeface="+mn-lt"/>
            </a:endParaRPr>
          </a:p>
        </p:txBody>
      </p:sp>
      <p:grpSp>
        <p:nvGrpSpPr>
          <p:cNvPr id="16" name="Группа 59">
            <a:extLst>
              <a:ext uri="{FF2B5EF4-FFF2-40B4-BE49-F238E27FC236}">
                <a16:creationId xmlns:a16="http://schemas.microsoft.com/office/drawing/2014/main" id="{2657B77E-07ED-4A32-A94B-AFFA299F5584}"/>
              </a:ext>
            </a:extLst>
          </p:cNvPr>
          <p:cNvGrpSpPr/>
          <p:nvPr/>
        </p:nvGrpSpPr>
        <p:grpSpPr>
          <a:xfrm>
            <a:off x="6526583" y="3485758"/>
            <a:ext cx="3238222" cy="1929601"/>
            <a:chOff x="4542592" y="6335724"/>
            <a:chExt cx="6476444" cy="3859202"/>
          </a:xfrm>
        </p:grpSpPr>
        <p:sp>
          <p:nvSpPr>
            <p:cNvPr id="27" name="Shape 80">
              <a:extLst>
                <a:ext uri="{FF2B5EF4-FFF2-40B4-BE49-F238E27FC236}">
                  <a16:creationId xmlns:a16="http://schemas.microsoft.com/office/drawing/2014/main" id="{692CEF20-59FA-4D86-BB9A-F6C33308061E}"/>
                </a:ext>
              </a:extLst>
            </p:cNvPr>
            <p:cNvSpPr>
              <a:spLocks noChangeShapeType="1"/>
            </p:cNvSpPr>
            <p:nvPr/>
          </p:nvSpPr>
          <p:spPr bwMode="auto">
            <a:xfrm flipV="1">
              <a:off x="5146603" y="6335724"/>
              <a:ext cx="2864102" cy="3172162"/>
            </a:xfrm>
            <a:prstGeom prst="line">
              <a:avLst/>
            </a:prstGeom>
            <a:noFill/>
            <a:ln w="63500">
              <a:solidFill>
                <a:schemeClr val="accent1">
                  <a:lumMod val="100000"/>
                </a:schemeClr>
              </a:solidFill>
              <a:miter lim="400000"/>
              <a:headEnd/>
              <a:tailEnd/>
            </a:ln>
            <a:extLst>
              <a:ext uri="{909E8E84-426E-40DD-AFC4-6F175D3DCCD1}">
                <a14:hiddenFill xmlns:a14="http://schemas.microsoft.com/office/drawing/2010/main">
                  <a:noFill/>
                </a14:hiddenFill>
              </a:ext>
            </a:extLst>
          </p:spPr>
          <p:txBody>
            <a:bodyPr lIns="25400" tIns="25400" rIns="25400" bIns="254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500" b="0" i="0" u="none" strike="noStrike" kern="1200" cap="none" spc="0" normalizeH="0" baseline="0" noProof="0">
                <a:ln>
                  <a:noFill/>
                </a:ln>
                <a:solidFill>
                  <a:srgbClr val="000000"/>
                </a:solidFill>
                <a:effectLst/>
                <a:uLnTx/>
                <a:uFillTx/>
                <a:latin typeface="Arial"/>
                <a:cs typeface="+mn-ea"/>
                <a:sym typeface="+mn-lt"/>
              </a:endParaRPr>
            </a:p>
          </p:txBody>
        </p:sp>
        <p:sp>
          <p:nvSpPr>
            <p:cNvPr id="28" name="Shape 87">
              <a:extLst>
                <a:ext uri="{FF2B5EF4-FFF2-40B4-BE49-F238E27FC236}">
                  <a16:creationId xmlns:a16="http://schemas.microsoft.com/office/drawing/2014/main" id="{7AF45EA2-A602-4DFE-872D-61E1E9614E62}"/>
                </a:ext>
              </a:extLst>
            </p:cNvPr>
            <p:cNvSpPr>
              <a:spLocks noChangeArrowheads="1"/>
            </p:cNvSpPr>
            <p:nvPr/>
          </p:nvSpPr>
          <p:spPr bwMode="auto">
            <a:xfrm>
              <a:off x="6858338" y="7216390"/>
              <a:ext cx="380635" cy="380649"/>
            </a:xfrm>
            <a:prstGeom prst="ellipse">
              <a:avLst/>
            </a:prstGeom>
            <a:solidFill>
              <a:schemeClr val="accent1">
                <a:lumMod val="100000"/>
              </a:schemeClr>
            </a:solidFill>
            <a:ln>
              <a:noFill/>
            </a:ln>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FFFFFF"/>
                </a:solidFill>
                <a:effectLst/>
                <a:uLnTx/>
                <a:uFillTx/>
                <a:latin typeface="Arial"/>
                <a:cs typeface="+mn-ea"/>
                <a:sym typeface="+mn-lt"/>
              </a:endParaRPr>
            </a:p>
          </p:txBody>
        </p:sp>
        <p:sp>
          <p:nvSpPr>
            <p:cNvPr id="29" name="Shape 88">
              <a:extLst>
                <a:ext uri="{FF2B5EF4-FFF2-40B4-BE49-F238E27FC236}">
                  <a16:creationId xmlns:a16="http://schemas.microsoft.com/office/drawing/2014/main" id="{DDF123C1-0892-4D7C-A528-07247AE2C3B9}"/>
                </a:ext>
              </a:extLst>
            </p:cNvPr>
            <p:cNvSpPr>
              <a:spLocks noChangeArrowheads="1"/>
            </p:cNvSpPr>
            <p:nvPr/>
          </p:nvSpPr>
          <p:spPr bwMode="auto">
            <a:xfrm>
              <a:off x="5940564" y="8222565"/>
              <a:ext cx="380990" cy="381004"/>
            </a:xfrm>
            <a:prstGeom prst="ellipse">
              <a:avLst/>
            </a:prstGeom>
            <a:solidFill>
              <a:schemeClr val="accent1">
                <a:lumMod val="100000"/>
              </a:schemeClr>
            </a:solidFill>
            <a:ln>
              <a:noFill/>
            </a:ln>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FFFFFF"/>
                </a:solidFill>
                <a:effectLst/>
                <a:uLnTx/>
                <a:uFillTx/>
                <a:latin typeface="Arial"/>
                <a:cs typeface="+mn-ea"/>
                <a:sym typeface="+mn-lt"/>
              </a:endParaRPr>
            </a:p>
          </p:txBody>
        </p:sp>
        <p:sp>
          <p:nvSpPr>
            <p:cNvPr id="30" name="Shape 89">
              <a:extLst>
                <a:ext uri="{FF2B5EF4-FFF2-40B4-BE49-F238E27FC236}">
                  <a16:creationId xmlns:a16="http://schemas.microsoft.com/office/drawing/2014/main" id="{6428A6AD-06E9-4FEF-8164-E75DD1F31FEC}"/>
                </a:ext>
              </a:extLst>
            </p:cNvPr>
            <p:cNvSpPr>
              <a:spLocks noChangeArrowheads="1"/>
            </p:cNvSpPr>
            <p:nvPr/>
          </p:nvSpPr>
          <p:spPr bwMode="auto">
            <a:xfrm>
              <a:off x="4542592" y="9331317"/>
              <a:ext cx="863577" cy="863609"/>
            </a:xfrm>
            <a:prstGeom prst="ellipse">
              <a:avLst/>
            </a:prstGeom>
            <a:solidFill>
              <a:schemeClr val="accent1">
                <a:lumMod val="100000"/>
              </a:schemeClr>
            </a:solidFill>
            <a:ln w="63500">
              <a:solidFill>
                <a:schemeClr val="accent1">
                  <a:lumMod val="100000"/>
                </a:schemeClr>
              </a:solidFill>
              <a:miter lim="400000"/>
              <a:headEnd/>
              <a:tailEnd/>
            </a:ln>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FFFFFF"/>
                </a:solidFill>
                <a:effectLst/>
                <a:uLnTx/>
                <a:uFillTx/>
                <a:latin typeface="Arial"/>
                <a:cs typeface="+mn-ea"/>
                <a:sym typeface="+mn-lt"/>
              </a:endParaRPr>
            </a:p>
          </p:txBody>
        </p:sp>
        <p:sp>
          <p:nvSpPr>
            <p:cNvPr id="31" name="Shape 100">
              <a:extLst>
                <a:ext uri="{FF2B5EF4-FFF2-40B4-BE49-F238E27FC236}">
                  <a16:creationId xmlns:a16="http://schemas.microsoft.com/office/drawing/2014/main" id="{EB9309AF-3DFE-45E3-8445-79812FA83F8E}"/>
                </a:ext>
              </a:extLst>
            </p:cNvPr>
            <p:cNvSpPr>
              <a:spLocks noChangeArrowheads="1"/>
            </p:cNvSpPr>
            <p:nvPr/>
          </p:nvSpPr>
          <p:spPr bwMode="auto">
            <a:xfrm>
              <a:off x="7370676" y="7209946"/>
              <a:ext cx="3648360" cy="4103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altLang="ru-RU" sz="1000" b="0" i="0" u="none" strike="noStrike" kern="1200" cap="none" spc="0" normalizeH="0" baseline="0" noProof="0">
                  <a:ln>
                    <a:noFill/>
                  </a:ln>
                  <a:solidFill>
                    <a:schemeClr val="accent1"/>
                  </a:solidFill>
                  <a:effectLst/>
                  <a:uLnTx/>
                  <a:uFillTx/>
                  <a:latin typeface="Arial"/>
                  <a:cs typeface="+mn-ea"/>
                  <a:sym typeface="+mn-lt"/>
                </a:rPr>
                <a:t>Fish bone text block </a:t>
              </a:r>
            </a:p>
          </p:txBody>
        </p:sp>
        <p:sp>
          <p:nvSpPr>
            <p:cNvPr id="32" name="Shape 101">
              <a:extLst>
                <a:ext uri="{FF2B5EF4-FFF2-40B4-BE49-F238E27FC236}">
                  <a16:creationId xmlns:a16="http://schemas.microsoft.com/office/drawing/2014/main" id="{2333C243-50AD-49E0-B069-80E57D573667}"/>
                </a:ext>
              </a:extLst>
            </p:cNvPr>
            <p:cNvSpPr>
              <a:spLocks noChangeArrowheads="1"/>
            </p:cNvSpPr>
            <p:nvPr/>
          </p:nvSpPr>
          <p:spPr bwMode="auto">
            <a:xfrm>
              <a:off x="6454292" y="8226720"/>
              <a:ext cx="3648358" cy="4103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altLang="ru-RU" sz="1000" b="0" i="0" u="none" strike="noStrike" kern="1200" cap="none" spc="0" normalizeH="0" baseline="0" noProof="0">
                  <a:ln>
                    <a:noFill/>
                  </a:ln>
                  <a:solidFill>
                    <a:schemeClr val="accent1"/>
                  </a:solidFill>
                  <a:effectLst/>
                  <a:uLnTx/>
                  <a:uFillTx/>
                  <a:latin typeface="Arial"/>
                  <a:cs typeface="+mn-ea"/>
                  <a:sym typeface="+mn-lt"/>
                </a:rPr>
                <a:t>Fish bone text block </a:t>
              </a:r>
            </a:p>
          </p:txBody>
        </p:sp>
        <p:sp>
          <p:nvSpPr>
            <p:cNvPr id="33" name="Shape 107">
              <a:extLst>
                <a:ext uri="{FF2B5EF4-FFF2-40B4-BE49-F238E27FC236}">
                  <a16:creationId xmlns:a16="http://schemas.microsoft.com/office/drawing/2014/main" id="{091A01BE-5D6B-43A0-8331-2D9551A5AC8B}"/>
                </a:ext>
              </a:extLst>
            </p:cNvPr>
            <p:cNvSpPr>
              <a:spLocks noChangeArrowheads="1"/>
            </p:cNvSpPr>
            <p:nvPr/>
          </p:nvSpPr>
          <p:spPr bwMode="auto">
            <a:xfrm>
              <a:off x="4611934" y="9519470"/>
              <a:ext cx="725488" cy="487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lgn="ctr">
                <a:defRPr sz="2500" cap="all">
                  <a:solidFill>
                    <a:srgbClr val="FFFFFF"/>
                  </a:solidFill>
                  <a:latin typeface="Open Sans Semibold"/>
                  <a:ea typeface="Open Sans Semibold"/>
                  <a:cs typeface="Open Sans Semibold"/>
                  <a:sym typeface="Open Sans Semibold"/>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250" b="0" i="0" u="none" strike="noStrike" kern="0" cap="all" spc="0" normalizeH="0" baseline="0" noProof="0" dirty="0">
                  <a:ln>
                    <a:noFill/>
                  </a:ln>
                  <a:solidFill>
                    <a:srgbClr val="FFFFFF"/>
                  </a:solidFill>
                  <a:effectLst/>
                  <a:uLnTx/>
                  <a:uFillTx/>
                  <a:latin typeface="Arial"/>
                  <a:ea typeface="+mn-ea"/>
                  <a:cs typeface="+mn-ea"/>
                  <a:sym typeface="+mn-lt"/>
                </a:rPr>
                <a:t>5</a:t>
              </a:r>
              <a:endParaRPr kumimoji="0" sz="1250" b="0" i="0" u="none" strike="noStrike" kern="0" cap="all" spc="0" normalizeH="0" baseline="0" noProof="0" dirty="0">
                <a:ln>
                  <a:noFill/>
                </a:ln>
                <a:solidFill>
                  <a:srgbClr val="FFFFFF"/>
                </a:solidFill>
                <a:effectLst/>
                <a:uLnTx/>
                <a:uFillTx/>
                <a:latin typeface="Arial"/>
                <a:ea typeface="+mn-ea"/>
                <a:cs typeface="+mn-ea"/>
                <a:sym typeface="+mn-lt"/>
              </a:endParaRPr>
            </a:p>
          </p:txBody>
        </p:sp>
        <p:sp>
          <p:nvSpPr>
            <p:cNvPr id="34" name="Shape 111">
              <a:extLst>
                <a:ext uri="{FF2B5EF4-FFF2-40B4-BE49-F238E27FC236}">
                  <a16:creationId xmlns:a16="http://schemas.microsoft.com/office/drawing/2014/main" id="{23907FAD-6B2A-42AA-A901-415A885AD601}"/>
                </a:ext>
              </a:extLst>
            </p:cNvPr>
            <p:cNvSpPr>
              <a:spLocks noChangeArrowheads="1"/>
            </p:cNvSpPr>
            <p:nvPr/>
          </p:nvSpPr>
          <p:spPr bwMode="auto">
            <a:xfrm>
              <a:off x="5613646" y="9519470"/>
              <a:ext cx="2536826" cy="487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2500" cap="all">
                  <a:solidFill>
                    <a:srgbClr val="344245"/>
                  </a:solidFill>
                  <a:latin typeface="Open Sans Semibold"/>
                  <a:ea typeface="Open Sans Semibold"/>
                  <a:cs typeface="Open Sans Semibold"/>
                  <a:sym typeface="Open Sans Semibold"/>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sz="1250" b="1" i="0" u="none" strike="noStrike" kern="0" cap="all" spc="0" normalizeH="0" baseline="0" noProof="0">
                  <a:ln>
                    <a:noFill/>
                  </a:ln>
                  <a:solidFill>
                    <a:schemeClr val="accent1"/>
                  </a:solidFill>
                  <a:effectLst/>
                  <a:uLnTx/>
                  <a:uFillTx/>
                  <a:latin typeface="Arial"/>
                  <a:ea typeface="+mn-ea"/>
                  <a:cs typeface="+mn-ea"/>
                  <a:sym typeface="+mn-lt"/>
                </a:rPr>
                <a:t>Text inform</a:t>
              </a:r>
            </a:p>
          </p:txBody>
        </p:sp>
      </p:grpSp>
      <p:grpSp>
        <p:nvGrpSpPr>
          <p:cNvPr id="17" name="Группа 60">
            <a:extLst>
              <a:ext uri="{FF2B5EF4-FFF2-40B4-BE49-F238E27FC236}">
                <a16:creationId xmlns:a16="http://schemas.microsoft.com/office/drawing/2014/main" id="{C713389E-8C30-4B21-99B5-1A6C21CDAC87}"/>
              </a:ext>
            </a:extLst>
          </p:cNvPr>
          <p:cNvGrpSpPr/>
          <p:nvPr/>
        </p:nvGrpSpPr>
        <p:grpSpPr>
          <a:xfrm>
            <a:off x="6447061" y="1442640"/>
            <a:ext cx="3290288" cy="2005205"/>
            <a:chOff x="6595041" y="2249488"/>
            <a:chExt cx="6580575" cy="4010410"/>
          </a:xfrm>
        </p:grpSpPr>
        <p:sp>
          <p:nvSpPr>
            <p:cNvPr id="19" name="Shape 79">
              <a:extLst>
                <a:ext uri="{FF2B5EF4-FFF2-40B4-BE49-F238E27FC236}">
                  <a16:creationId xmlns:a16="http://schemas.microsoft.com/office/drawing/2014/main" id="{F5D3D969-F31B-42B8-859F-4135A327F91C}"/>
                </a:ext>
              </a:extLst>
            </p:cNvPr>
            <p:cNvSpPr>
              <a:spLocks noChangeShapeType="1"/>
            </p:cNvSpPr>
            <p:nvPr/>
          </p:nvSpPr>
          <p:spPr bwMode="auto">
            <a:xfrm flipH="1" flipV="1">
              <a:off x="7264931" y="3013520"/>
              <a:ext cx="2968146" cy="3246378"/>
            </a:xfrm>
            <a:prstGeom prst="line">
              <a:avLst/>
            </a:prstGeom>
            <a:noFill/>
            <a:ln w="63500">
              <a:solidFill>
                <a:schemeClr val="accent1">
                  <a:lumMod val="100000"/>
                </a:schemeClr>
              </a:solidFill>
              <a:miter lim="400000"/>
              <a:headEnd/>
              <a:tailEnd/>
            </a:ln>
            <a:extLst>
              <a:ext uri="{909E8E84-426E-40DD-AFC4-6F175D3DCCD1}">
                <a14:hiddenFill xmlns:a14="http://schemas.microsoft.com/office/drawing/2010/main">
                  <a:noFill/>
                </a14:hiddenFill>
              </a:ext>
            </a:extLst>
          </p:spPr>
          <p:txBody>
            <a:bodyPr lIns="25400" tIns="25400" rIns="25400" bIns="254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500" b="0" i="0" u="none" strike="noStrike" kern="1200" cap="none" spc="0" normalizeH="0" baseline="0" noProof="0">
                <a:ln>
                  <a:noFill/>
                </a:ln>
                <a:solidFill>
                  <a:srgbClr val="000000"/>
                </a:solidFill>
                <a:effectLst/>
                <a:uLnTx/>
                <a:uFillTx/>
                <a:latin typeface="Arial"/>
                <a:cs typeface="+mn-ea"/>
                <a:sym typeface="+mn-lt"/>
              </a:endParaRPr>
            </a:p>
          </p:txBody>
        </p:sp>
        <p:sp>
          <p:nvSpPr>
            <p:cNvPr id="20" name="Shape 92">
              <a:extLst>
                <a:ext uri="{FF2B5EF4-FFF2-40B4-BE49-F238E27FC236}">
                  <a16:creationId xmlns:a16="http://schemas.microsoft.com/office/drawing/2014/main" id="{DE32998A-7E6A-4C73-8F7E-A4E6BA34EA99}"/>
                </a:ext>
              </a:extLst>
            </p:cNvPr>
            <p:cNvSpPr>
              <a:spLocks noChangeArrowheads="1"/>
            </p:cNvSpPr>
            <p:nvPr/>
          </p:nvSpPr>
          <p:spPr bwMode="auto">
            <a:xfrm>
              <a:off x="8035058" y="3888247"/>
              <a:ext cx="380635" cy="380649"/>
            </a:xfrm>
            <a:prstGeom prst="ellipse">
              <a:avLst/>
            </a:prstGeom>
            <a:solidFill>
              <a:schemeClr val="accent1">
                <a:lumMod val="100000"/>
              </a:schemeClr>
            </a:solidFill>
            <a:ln>
              <a:noFill/>
            </a:ln>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FFFFFF"/>
                </a:solidFill>
                <a:effectLst/>
                <a:uLnTx/>
                <a:uFillTx/>
                <a:latin typeface="Arial"/>
                <a:cs typeface="+mn-ea"/>
                <a:sym typeface="+mn-lt"/>
              </a:endParaRPr>
            </a:p>
          </p:txBody>
        </p:sp>
        <p:sp>
          <p:nvSpPr>
            <p:cNvPr id="21" name="Shape 93">
              <a:extLst>
                <a:ext uri="{FF2B5EF4-FFF2-40B4-BE49-F238E27FC236}">
                  <a16:creationId xmlns:a16="http://schemas.microsoft.com/office/drawing/2014/main" id="{0C25071B-7489-44CB-906C-F74E890A5C18}"/>
                </a:ext>
              </a:extLst>
            </p:cNvPr>
            <p:cNvSpPr>
              <a:spLocks noChangeArrowheads="1"/>
            </p:cNvSpPr>
            <p:nvPr/>
          </p:nvSpPr>
          <p:spPr bwMode="auto">
            <a:xfrm>
              <a:off x="8987235" y="4926136"/>
              <a:ext cx="380635" cy="380649"/>
            </a:xfrm>
            <a:prstGeom prst="ellipse">
              <a:avLst/>
            </a:prstGeom>
            <a:solidFill>
              <a:schemeClr val="accent1">
                <a:lumMod val="100000"/>
              </a:schemeClr>
            </a:solidFill>
            <a:ln>
              <a:noFill/>
            </a:ln>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FFFFFF"/>
                </a:solidFill>
                <a:effectLst/>
                <a:uLnTx/>
                <a:uFillTx/>
                <a:latin typeface="Arial"/>
                <a:cs typeface="+mn-ea"/>
                <a:sym typeface="+mn-lt"/>
              </a:endParaRPr>
            </a:p>
          </p:txBody>
        </p:sp>
        <p:sp>
          <p:nvSpPr>
            <p:cNvPr id="22" name="Shape 96">
              <a:extLst>
                <a:ext uri="{FF2B5EF4-FFF2-40B4-BE49-F238E27FC236}">
                  <a16:creationId xmlns:a16="http://schemas.microsoft.com/office/drawing/2014/main" id="{81E76710-D135-422C-9534-BA4318EE073A}"/>
                </a:ext>
              </a:extLst>
            </p:cNvPr>
            <p:cNvSpPr>
              <a:spLocks noChangeArrowheads="1"/>
            </p:cNvSpPr>
            <p:nvPr/>
          </p:nvSpPr>
          <p:spPr bwMode="auto">
            <a:xfrm>
              <a:off x="8576795" y="3873388"/>
              <a:ext cx="3648357" cy="4103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altLang="ru-RU" sz="1000" b="0" i="0" u="none" strike="noStrike" kern="1200" cap="none" spc="0" normalizeH="0" baseline="0" noProof="0">
                  <a:ln>
                    <a:noFill/>
                  </a:ln>
                  <a:solidFill>
                    <a:schemeClr val="accent1"/>
                  </a:solidFill>
                  <a:effectLst/>
                  <a:uLnTx/>
                  <a:uFillTx/>
                  <a:latin typeface="Arial"/>
                  <a:cs typeface="+mn-ea"/>
                  <a:sym typeface="+mn-lt"/>
                </a:rPr>
                <a:t>Fish bone text block </a:t>
              </a:r>
            </a:p>
          </p:txBody>
        </p:sp>
        <p:sp>
          <p:nvSpPr>
            <p:cNvPr id="23" name="Shape 97">
              <a:extLst>
                <a:ext uri="{FF2B5EF4-FFF2-40B4-BE49-F238E27FC236}">
                  <a16:creationId xmlns:a16="http://schemas.microsoft.com/office/drawing/2014/main" id="{7AEF6D17-AB69-4BA2-9FD4-C2F58188D2BB}"/>
                </a:ext>
              </a:extLst>
            </p:cNvPr>
            <p:cNvSpPr>
              <a:spLocks noChangeArrowheads="1"/>
            </p:cNvSpPr>
            <p:nvPr/>
          </p:nvSpPr>
          <p:spPr bwMode="auto">
            <a:xfrm>
              <a:off x="9527259" y="4902864"/>
              <a:ext cx="3648357" cy="4103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altLang="ru-RU" sz="1000" b="0" i="0" u="none" strike="noStrike" kern="1200" cap="none" spc="0" normalizeH="0" baseline="0" noProof="0">
                  <a:ln>
                    <a:noFill/>
                  </a:ln>
                  <a:solidFill>
                    <a:schemeClr val="accent1"/>
                  </a:solidFill>
                  <a:effectLst/>
                  <a:uLnTx/>
                  <a:uFillTx/>
                  <a:latin typeface="Arial"/>
                  <a:cs typeface="+mn-ea"/>
                  <a:sym typeface="+mn-lt"/>
                </a:rPr>
                <a:t>Fish bone text block </a:t>
              </a:r>
            </a:p>
          </p:txBody>
        </p:sp>
        <p:sp>
          <p:nvSpPr>
            <p:cNvPr id="24" name="Shape 105">
              <a:extLst>
                <a:ext uri="{FF2B5EF4-FFF2-40B4-BE49-F238E27FC236}">
                  <a16:creationId xmlns:a16="http://schemas.microsoft.com/office/drawing/2014/main" id="{0A3FC6AB-135F-4C68-BC34-05645EAA8938}"/>
                </a:ext>
              </a:extLst>
            </p:cNvPr>
            <p:cNvSpPr>
              <a:spLocks noChangeArrowheads="1"/>
            </p:cNvSpPr>
            <p:nvPr/>
          </p:nvSpPr>
          <p:spPr bwMode="auto">
            <a:xfrm>
              <a:off x="6595041" y="2249488"/>
              <a:ext cx="863577" cy="863608"/>
            </a:xfrm>
            <a:prstGeom prst="ellipse">
              <a:avLst/>
            </a:prstGeom>
            <a:solidFill>
              <a:schemeClr val="accent1">
                <a:lumMod val="100000"/>
              </a:schemeClr>
            </a:solidFill>
            <a:ln w="63500">
              <a:solidFill>
                <a:schemeClr val="accent1">
                  <a:lumMod val="100000"/>
                </a:schemeClr>
              </a:solidFill>
              <a:miter lim="400000"/>
              <a:headEnd/>
              <a:tailEnd/>
            </a:ln>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FFFFFF"/>
                </a:solidFill>
                <a:effectLst/>
                <a:uLnTx/>
                <a:uFillTx/>
                <a:latin typeface="Arial"/>
                <a:cs typeface="+mn-ea"/>
                <a:sym typeface="+mn-lt"/>
              </a:endParaRPr>
            </a:p>
          </p:txBody>
        </p:sp>
        <p:sp>
          <p:nvSpPr>
            <p:cNvPr id="25" name="Shape 108">
              <a:extLst>
                <a:ext uri="{FF2B5EF4-FFF2-40B4-BE49-F238E27FC236}">
                  <a16:creationId xmlns:a16="http://schemas.microsoft.com/office/drawing/2014/main" id="{F4C69C37-8C65-4348-B1A0-F7855D0B5C25}"/>
                </a:ext>
              </a:extLst>
            </p:cNvPr>
            <p:cNvSpPr>
              <a:spLocks noChangeArrowheads="1"/>
            </p:cNvSpPr>
            <p:nvPr/>
          </p:nvSpPr>
          <p:spPr bwMode="auto">
            <a:xfrm>
              <a:off x="6664571" y="2416996"/>
              <a:ext cx="725488" cy="487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lgn="ctr">
                <a:defRPr sz="2500" cap="all">
                  <a:solidFill>
                    <a:srgbClr val="FFFFFF"/>
                  </a:solidFill>
                  <a:latin typeface="Open Sans Semibold"/>
                  <a:ea typeface="Open Sans Semibold"/>
                  <a:cs typeface="Open Sans Semibold"/>
                  <a:sym typeface="Open Sans Semibold"/>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250" b="0" i="0" u="none" strike="noStrike" kern="0" cap="all" spc="0" normalizeH="0" baseline="0" noProof="0" dirty="0">
                  <a:ln>
                    <a:noFill/>
                  </a:ln>
                  <a:solidFill>
                    <a:srgbClr val="FFFFFF"/>
                  </a:solidFill>
                  <a:effectLst/>
                  <a:uLnTx/>
                  <a:uFillTx/>
                  <a:latin typeface="Arial"/>
                  <a:ea typeface="+mn-ea"/>
                  <a:cs typeface="+mn-ea"/>
                  <a:sym typeface="+mn-lt"/>
                </a:rPr>
                <a:t>6</a:t>
              </a:r>
              <a:endParaRPr kumimoji="0" sz="1250" b="0" i="0" u="none" strike="noStrike" kern="0" cap="all" spc="0" normalizeH="0" baseline="0" noProof="0" dirty="0">
                <a:ln>
                  <a:noFill/>
                </a:ln>
                <a:solidFill>
                  <a:srgbClr val="FFFFFF"/>
                </a:solidFill>
                <a:effectLst/>
                <a:uLnTx/>
                <a:uFillTx/>
                <a:latin typeface="Arial"/>
                <a:ea typeface="+mn-ea"/>
                <a:cs typeface="+mn-ea"/>
                <a:sym typeface="+mn-lt"/>
              </a:endParaRPr>
            </a:p>
          </p:txBody>
        </p:sp>
        <p:sp>
          <p:nvSpPr>
            <p:cNvPr id="26" name="Shape 113">
              <a:extLst>
                <a:ext uri="{FF2B5EF4-FFF2-40B4-BE49-F238E27FC236}">
                  <a16:creationId xmlns:a16="http://schemas.microsoft.com/office/drawing/2014/main" id="{01BEAAC3-D10F-416B-9AD4-9F75E097D6DD}"/>
                </a:ext>
              </a:extLst>
            </p:cNvPr>
            <p:cNvSpPr>
              <a:spLocks noChangeArrowheads="1"/>
            </p:cNvSpPr>
            <p:nvPr/>
          </p:nvSpPr>
          <p:spPr bwMode="auto">
            <a:xfrm>
              <a:off x="7666283" y="2423346"/>
              <a:ext cx="2535238" cy="487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2500" cap="all">
                  <a:solidFill>
                    <a:srgbClr val="344245"/>
                  </a:solidFill>
                  <a:latin typeface="Open Sans Semibold"/>
                  <a:ea typeface="Open Sans Semibold"/>
                  <a:cs typeface="Open Sans Semibold"/>
                  <a:sym typeface="Open Sans Semibold"/>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sz="1250" b="1" i="0" u="none" strike="noStrike" kern="0" cap="all" spc="0" normalizeH="0" baseline="0" noProof="0" dirty="0">
                  <a:ln>
                    <a:noFill/>
                  </a:ln>
                  <a:solidFill>
                    <a:schemeClr val="accent1"/>
                  </a:solidFill>
                  <a:effectLst/>
                  <a:uLnTx/>
                  <a:uFillTx/>
                  <a:latin typeface="Arial"/>
                  <a:ea typeface="+mn-ea"/>
                  <a:cs typeface="+mn-ea"/>
                  <a:sym typeface="+mn-lt"/>
                </a:rPr>
                <a:t>Text inform</a:t>
              </a:r>
            </a:p>
          </p:txBody>
        </p:sp>
      </p:grpSp>
      <p:sp>
        <p:nvSpPr>
          <p:cNvPr id="18" name="Shape 83">
            <a:extLst>
              <a:ext uri="{FF2B5EF4-FFF2-40B4-BE49-F238E27FC236}">
                <a16:creationId xmlns:a16="http://schemas.microsoft.com/office/drawing/2014/main" id="{C4E76D3F-8F4D-49EB-9B99-0019A1896462}"/>
              </a:ext>
            </a:extLst>
          </p:cNvPr>
          <p:cNvSpPr>
            <a:spLocks noChangeArrowheads="1"/>
          </p:cNvSpPr>
          <p:nvPr/>
        </p:nvSpPr>
        <p:spPr bwMode="auto">
          <a:xfrm>
            <a:off x="8192251" y="3378928"/>
            <a:ext cx="158569" cy="158575"/>
          </a:xfrm>
          <a:prstGeom prst="ellipse">
            <a:avLst/>
          </a:prstGeom>
          <a:solidFill>
            <a:srgbClr val="FFFFFF"/>
          </a:solidFill>
          <a:ln w="63500">
            <a:solidFill>
              <a:schemeClr val="accent1">
                <a:lumMod val="100000"/>
              </a:schemeClr>
            </a:solidFill>
            <a:miter lim="400000"/>
            <a:headEnd/>
            <a:tailEnd/>
          </a:ln>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FFFFFF"/>
              </a:solidFill>
              <a:effectLst/>
              <a:uLnTx/>
              <a:uFillTx/>
              <a:latin typeface="Arial"/>
              <a:cs typeface="+mn-ea"/>
              <a:sym typeface="+mn-lt"/>
            </a:endParaRPr>
          </a:p>
        </p:txBody>
      </p:sp>
      <p:sp>
        <p:nvSpPr>
          <p:cNvPr id="14" name="Shape 85">
            <a:extLst>
              <a:ext uri="{FF2B5EF4-FFF2-40B4-BE49-F238E27FC236}">
                <a16:creationId xmlns:a16="http://schemas.microsoft.com/office/drawing/2014/main" id="{86E286B2-D223-4494-B8C4-08608B3F7CAE}"/>
              </a:ext>
            </a:extLst>
          </p:cNvPr>
          <p:cNvSpPr>
            <a:spLocks noChangeArrowheads="1"/>
          </p:cNvSpPr>
          <p:nvPr/>
        </p:nvSpPr>
        <p:spPr bwMode="auto">
          <a:xfrm>
            <a:off x="5705453" y="3378928"/>
            <a:ext cx="158569" cy="158575"/>
          </a:xfrm>
          <a:prstGeom prst="ellipse">
            <a:avLst/>
          </a:prstGeom>
          <a:solidFill>
            <a:srgbClr val="FFFFFF"/>
          </a:solidFill>
          <a:ln w="63500">
            <a:solidFill>
              <a:schemeClr val="accent1">
                <a:lumMod val="100000"/>
              </a:schemeClr>
            </a:solidFill>
            <a:miter lim="400000"/>
            <a:headEnd/>
            <a:tailEnd/>
          </a:ln>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FFFFFF"/>
              </a:solidFill>
              <a:effectLst/>
              <a:uLnTx/>
              <a:uFillTx/>
              <a:latin typeface="Arial"/>
              <a:cs typeface="+mn-ea"/>
              <a:sym typeface="+mn-lt"/>
            </a:endParaRPr>
          </a:p>
        </p:txBody>
      </p:sp>
      <p:sp>
        <p:nvSpPr>
          <p:cNvPr id="15" name="Shape 83">
            <a:extLst>
              <a:ext uri="{FF2B5EF4-FFF2-40B4-BE49-F238E27FC236}">
                <a16:creationId xmlns:a16="http://schemas.microsoft.com/office/drawing/2014/main" id="{DE055DD8-7645-4539-8DBF-5F07C689E5DB}"/>
              </a:ext>
            </a:extLst>
          </p:cNvPr>
          <p:cNvSpPr>
            <a:spLocks noChangeArrowheads="1"/>
          </p:cNvSpPr>
          <p:nvPr/>
        </p:nvSpPr>
        <p:spPr bwMode="auto">
          <a:xfrm>
            <a:off x="3235824" y="3378928"/>
            <a:ext cx="158569" cy="158575"/>
          </a:xfrm>
          <a:prstGeom prst="ellipse">
            <a:avLst/>
          </a:prstGeom>
          <a:solidFill>
            <a:srgbClr val="FFFFFF"/>
          </a:solidFill>
          <a:ln w="63500">
            <a:solidFill>
              <a:schemeClr val="accent1">
                <a:lumMod val="100000"/>
              </a:schemeClr>
            </a:solidFill>
            <a:miter lim="400000"/>
            <a:headEnd/>
            <a:tailEnd/>
          </a:ln>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FFFFFF"/>
              </a:solidFill>
              <a:effectLst/>
              <a:uLnTx/>
              <a:uFillTx/>
              <a:latin typeface="Arial"/>
              <a:cs typeface="+mn-ea"/>
              <a:sym typeface="+mn-lt"/>
            </a:endParaRPr>
          </a:p>
        </p:txBody>
      </p:sp>
    </p:spTree>
    <p:extLst>
      <p:ext uri="{BB962C8B-B14F-4D97-AF65-F5344CB8AC3E}">
        <p14:creationId xmlns:p14="http://schemas.microsoft.com/office/powerpoint/2010/main" val="1489917144"/>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7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Прямоугольник 5">
            <a:extLst>
              <a:ext uri="{FF2B5EF4-FFF2-40B4-BE49-F238E27FC236}">
                <a16:creationId xmlns:a16="http://schemas.microsoft.com/office/drawing/2014/main" id="{D89A9576-B2AB-45E7-BB89-1AEB2D5CEEC4}"/>
              </a:ext>
            </a:extLst>
          </p:cNvPr>
          <p:cNvSpPr/>
          <p:nvPr/>
        </p:nvSpPr>
        <p:spPr bwMode="auto">
          <a:xfrm>
            <a:off x="2101865" y="3251291"/>
            <a:ext cx="6228692" cy="315471"/>
          </a:xfrm>
          <a:prstGeom prst="rect">
            <a:avLst/>
          </a:prstGeom>
          <a:solidFill>
            <a:schemeClr val="accent1">
              <a:lumMod val="40000"/>
              <a:lumOff val="60000"/>
            </a:schemeClr>
          </a:solidFill>
          <a:ln w="12700" cap="flat" cmpd="sng" algn="ctr">
            <a:noFill/>
            <a:prstDash val="solid"/>
            <a:miter lim="400000"/>
            <a:headEnd type="none" w="med" len="med"/>
            <a:tailEnd type="none" w="med" len="med"/>
          </a:ln>
          <a:effectLst/>
        </p:spPr>
        <p:txBody>
          <a:bodyPr vert="horz" wrap="square" lIns="19050" tIns="19050" rIns="19050" bIns="19050" numCol="1" rtlCol="0" anchor="ctr"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Arial"/>
              <a:cs typeface="+mn-ea"/>
              <a:sym typeface="+mn-lt"/>
            </a:endParaRPr>
          </a:p>
        </p:txBody>
      </p:sp>
      <p:sp>
        <p:nvSpPr>
          <p:cNvPr id="4" name="Фигура">
            <a:extLst>
              <a:ext uri="{FF2B5EF4-FFF2-40B4-BE49-F238E27FC236}">
                <a16:creationId xmlns:a16="http://schemas.microsoft.com/office/drawing/2014/main" id="{8E6A586A-97B5-4402-9D5C-0E89B2446C54}"/>
              </a:ext>
            </a:extLst>
          </p:cNvPr>
          <p:cNvSpPr/>
          <p:nvPr/>
        </p:nvSpPr>
        <p:spPr>
          <a:xfrm>
            <a:off x="944227" y="1586873"/>
            <a:ext cx="1294388" cy="3644306"/>
          </a:xfrm>
          <a:custGeom>
            <a:avLst/>
            <a:gdLst/>
            <a:ahLst/>
            <a:cxnLst>
              <a:cxn ang="0">
                <a:pos x="wd2" y="hd2"/>
              </a:cxn>
              <a:cxn ang="5400000">
                <a:pos x="wd2" y="hd2"/>
              </a:cxn>
              <a:cxn ang="10800000">
                <a:pos x="wd2" y="hd2"/>
              </a:cxn>
              <a:cxn ang="16200000">
                <a:pos x="wd2" y="hd2"/>
              </a:cxn>
            </a:cxnLst>
            <a:rect l="0" t="0" r="r" b="b"/>
            <a:pathLst>
              <a:path w="20175" h="21600" extrusionOk="0">
                <a:moveTo>
                  <a:pt x="1245" y="0"/>
                </a:moveTo>
                <a:cubicBezTo>
                  <a:pt x="6272" y="1145"/>
                  <a:pt x="10563" y="2699"/>
                  <a:pt x="13814" y="4551"/>
                </a:cubicBezTo>
                <a:cubicBezTo>
                  <a:pt x="17166" y="6460"/>
                  <a:pt x="19315" y="8593"/>
                  <a:pt x="20175" y="10795"/>
                </a:cubicBezTo>
                <a:cubicBezTo>
                  <a:pt x="19320" y="13001"/>
                  <a:pt x="17171" y="15138"/>
                  <a:pt x="13814" y="17051"/>
                </a:cubicBezTo>
                <a:cubicBezTo>
                  <a:pt x="10564" y="18902"/>
                  <a:pt x="6272" y="20455"/>
                  <a:pt x="1245" y="21600"/>
                </a:cubicBezTo>
                <a:cubicBezTo>
                  <a:pt x="1634" y="20068"/>
                  <a:pt x="1512" y="18545"/>
                  <a:pt x="913" y="17053"/>
                </a:cubicBezTo>
                <a:cubicBezTo>
                  <a:pt x="63" y="14936"/>
                  <a:pt x="-1425" y="12457"/>
                  <a:pt x="3279" y="11079"/>
                </a:cubicBezTo>
                <a:cubicBezTo>
                  <a:pt x="3597" y="10986"/>
                  <a:pt x="3916" y="10904"/>
                  <a:pt x="4278" y="10844"/>
                </a:cubicBezTo>
                <a:cubicBezTo>
                  <a:pt x="4374" y="10828"/>
                  <a:pt x="4510" y="10815"/>
                  <a:pt x="4613" y="10801"/>
                </a:cubicBezTo>
                <a:cubicBezTo>
                  <a:pt x="4510" y="10786"/>
                  <a:pt x="4374" y="10773"/>
                  <a:pt x="4278" y="10757"/>
                </a:cubicBezTo>
                <a:cubicBezTo>
                  <a:pt x="3916" y="10697"/>
                  <a:pt x="3597" y="10614"/>
                  <a:pt x="3279" y="10521"/>
                </a:cubicBezTo>
                <a:cubicBezTo>
                  <a:pt x="-1425" y="9143"/>
                  <a:pt x="63" y="6665"/>
                  <a:pt x="913" y="4548"/>
                </a:cubicBezTo>
                <a:cubicBezTo>
                  <a:pt x="1512" y="3056"/>
                  <a:pt x="1634" y="1532"/>
                  <a:pt x="1245" y="0"/>
                </a:cubicBezTo>
                <a:close/>
              </a:path>
            </a:pathLst>
          </a:custGeom>
          <a:solidFill>
            <a:schemeClr val="accent1">
              <a:lumMod val="20000"/>
              <a:lumOff val="80000"/>
            </a:schemeClr>
          </a:solidFill>
          <a:ln w="25400">
            <a:noFill/>
            <a:miter lim="400000"/>
          </a:ln>
        </p:spPr>
        <p:txBody>
          <a:bodyPr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1600" b="0" i="0" u="none" strike="noStrike" kern="1200" cap="none" spc="0" normalizeH="0" baseline="0" noProof="0">
              <a:ln>
                <a:noFill/>
              </a:ln>
              <a:solidFill>
                <a:srgbClr val="FFFFFF"/>
              </a:solidFill>
              <a:effectLst/>
              <a:uLnTx/>
              <a:uFillTx/>
              <a:latin typeface="Arial"/>
              <a:cs typeface="+mn-ea"/>
              <a:sym typeface="+mn-lt"/>
            </a:endParaRPr>
          </a:p>
        </p:txBody>
      </p:sp>
      <p:grpSp>
        <p:nvGrpSpPr>
          <p:cNvPr id="5" name="Группа 1">
            <a:extLst>
              <a:ext uri="{FF2B5EF4-FFF2-40B4-BE49-F238E27FC236}">
                <a16:creationId xmlns:a16="http://schemas.microsoft.com/office/drawing/2014/main" id="{D83F453C-3C86-49F6-8752-29763085F8F9}"/>
              </a:ext>
            </a:extLst>
          </p:cNvPr>
          <p:cNvGrpSpPr/>
          <p:nvPr/>
        </p:nvGrpSpPr>
        <p:grpSpPr>
          <a:xfrm>
            <a:off x="8193806" y="1561700"/>
            <a:ext cx="3053966" cy="3694651"/>
            <a:chOff x="12847786" y="2496819"/>
            <a:chExt cx="6107931" cy="7389302"/>
          </a:xfrm>
        </p:grpSpPr>
        <p:sp>
          <p:nvSpPr>
            <p:cNvPr id="54" name="Фигура">
              <a:extLst>
                <a:ext uri="{FF2B5EF4-FFF2-40B4-BE49-F238E27FC236}">
                  <a16:creationId xmlns:a16="http://schemas.microsoft.com/office/drawing/2014/main" id="{6B3D1930-1D43-4971-BC2B-29057D01EE01}"/>
                </a:ext>
              </a:extLst>
            </p:cNvPr>
            <p:cNvSpPr/>
            <p:nvPr/>
          </p:nvSpPr>
          <p:spPr>
            <a:xfrm>
              <a:off x="12847786" y="2496819"/>
              <a:ext cx="5876251" cy="7389302"/>
            </a:xfrm>
            <a:custGeom>
              <a:avLst/>
              <a:gdLst/>
              <a:ahLst/>
              <a:cxnLst>
                <a:cxn ang="0">
                  <a:pos x="wd2" y="hd2"/>
                </a:cxn>
                <a:cxn ang="5400000">
                  <a:pos x="wd2" y="hd2"/>
                </a:cxn>
                <a:cxn ang="10800000">
                  <a:pos x="wd2" y="hd2"/>
                </a:cxn>
                <a:cxn ang="16200000">
                  <a:pos x="wd2" y="hd2"/>
                </a:cxn>
              </a:cxnLst>
              <a:rect l="0" t="0" r="r" b="b"/>
              <a:pathLst>
                <a:path w="21477" h="21561" extrusionOk="0">
                  <a:moveTo>
                    <a:pt x="20457" y="9424"/>
                  </a:moveTo>
                  <a:cubicBezTo>
                    <a:pt x="18982" y="7406"/>
                    <a:pt x="17134" y="5578"/>
                    <a:pt x="14974" y="4003"/>
                  </a:cubicBezTo>
                  <a:cubicBezTo>
                    <a:pt x="12838" y="2443"/>
                    <a:pt x="10421" y="1149"/>
                    <a:pt x="7805" y="163"/>
                  </a:cubicBezTo>
                  <a:cubicBezTo>
                    <a:pt x="7537" y="37"/>
                    <a:pt x="7228" y="-18"/>
                    <a:pt x="6919" y="5"/>
                  </a:cubicBezTo>
                  <a:cubicBezTo>
                    <a:pt x="6629" y="26"/>
                    <a:pt x="6354" y="115"/>
                    <a:pt x="6127" y="261"/>
                  </a:cubicBezTo>
                  <a:cubicBezTo>
                    <a:pt x="4428" y="1228"/>
                    <a:pt x="3040" y="2494"/>
                    <a:pt x="2064" y="3955"/>
                  </a:cubicBezTo>
                  <a:cubicBezTo>
                    <a:pt x="746" y="5927"/>
                    <a:pt x="229" y="8115"/>
                    <a:pt x="60" y="10304"/>
                  </a:cubicBezTo>
                  <a:cubicBezTo>
                    <a:pt x="-123" y="12664"/>
                    <a:pt x="87" y="15097"/>
                    <a:pt x="1102" y="17371"/>
                  </a:cubicBezTo>
                  <a:cubicBezTo>
                    <a:pt x="1675" y="18655"/>
                    <a:pt x="2497" y="19863"/>
                    <a:pt x="3542" y="20951"/>
                  </a:cubicBezTo>
                  <a:cubicBezTo>
                    <a:pt x="3742" y="21180"/>
                    <a:pt x="4022" y="21357"/>
                    <a:pt x="4346" y="21460"/>
                  </a:cubicBezTo>
                  <a:cubicBezTo>
                    <a:pt x="4638" y="21553"/>
                    <a:pt x="4956" y="21582"/>
                    <a:pt x="5268" y="21544"/>
                  </a:cubicBezTo>
                  <a:cubicBezTo>
                    <a:pt x="8883" y="21210"/>
                    <a:pt x="12343" y="20184"/>
                    <a:pt x="15357" y="18554"/>
                  </a:cubicBezTo>
                  <a:cubicBezTo>
                    <a:pt x="17777" y="17244"/>
                    <a:pt x="19855" y="15572"/>
                    <a:pt x="21477" y="13629"/>
                  </a:cubicBezTo>
                  <a:lnTo>
                    <a:pt x="15466" y="13106"/>
                  </a:lnTo>
                  <a:lnTo>
                    <a:pt x="20457" y="9424"/>
                  </a:lnTo>
                  <a:close/>
                </a:path>
              </a:pathLst>
            </a:custGeom>
            <a:solidFill>
              <a:schemeClr val="accent1">
                <a:lumMod val="20000"/>
                <a:lumOff val="80000"/>
              </a:schemeClr>
            </a:solidFill>
            <a:ln w="25400">
              <a:noFill/>
              <a:miter lim="400000"/>
            </a:ln>
          </p:spPr>
          <p:txBody>
            <a:bodyPr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1600" b="0" i="0" u="none" strike="noStrike" kern="1200" cap="none" spc="0" normalizeH="0" baseline="0" noProof="0">
                <a:ln>
                  <a:noFill/>
                </a:ln>
                <a:solidFill>
                  <a:srgbClr val="FFFFFF"/>
                </a:solidFill>
                <a:effectLst/>
                <a:uLnTx/>
                <a:uFillTx/>
                <a:latin typeface="Arial"/>
                <a:cs typeface="+mn-ea"/>
                <a:sym typeface="+mn-lt"/>
              </a:endParaRPr>
            </a:p>
          </p:txBody>
        </p:sp>
        <p:sp>
          <p:nvSpPr>
            <p:cNvPr id="55" name="Фигура">
              <a:extLst>
                <a:ext uri="{FF2B5EF4-FFF2-40B4-BE49-F238E27FC236}">
                  <a16:creationId xmlns:a16="http://schemas.microsoft.com/office/drawing/2014/main" id="{5175D2B9-A243-43E0-B711-FBC7EEFF95B0}"/>
                </a:ext>
              </a:extLst>
            </p:cNvPr>
            <p:cNvSpPr/>
            <p:nvPr/>
          </p:nvSpPr>
          <p:spPr>
            <a:xfrm>
              <a:off x="17001975" y="6809369"/>
              <a:ext cx="1953742" cy="437984"/>
            </a:xfrm>
            <a:custGeom>
              <a:avLst/>
              <a:gdLst/>
              <a:ahLst/>
              <a:cxnLst>
                <a:cxn ang="0">
                  <a:pos x="wd2" y="hd2"/>
                </a:cxn>
                <a:cxn ang="5400000">
                  <a:pos x="wd2" y="hd2"/>
                </a:cxn>
                <a:cxn ang="10800000">
                  <a:pos x="wd2" y="hd2"/>
                </a:cxn>
                <a:cxn ang="16200000">
                  <a:pos x="wd2" y="hd2"/>
                </a:cxn>
              </a:cxnLst>
              <a:rect l="0" t="0" r="r" b="b"/>
              <a:pathLst>
                <a:path w="21500" h="21194" extrusionOk="0">
                  <a:moveTo>
                    <a:pt x="19113" y="71"/>
                  </a:moveTo>
                  <a:cubicBezTo>
                    <a:pt x="19496" y="-135"/>
                    <a:pt x="19886" y="110"/>
                    <a:pt x="20241" y="782"/>
                  </a:cubicBezTo>
                  <a:cubicBezTo>
                    <a:pt x="20691" y="1633"/>
                    <a:pt x="21064" y="3119"/>
                    <a:pt x="21302" y="5007"/>
                  </a:cubicBezTo>
                  <a:cubicBezTo>
                    <a:pt x="21600" y="8209"/>
                    <a:pt x="21559" y="11829"/>
                    <a:pt x="21191" y="14885"/>
                  </a:cubicBezTo>
                  <a:cubicBezTo>
                    <a:pt x="20693" y="19007"/>
                    <a:pt x="19695" y="21465"/>
                    <a:pt x="18639" y="21171"/>
                  </a:cubicBezTo>
                  <a:cubicBezTo>
                    <a:pt x="15399" y="21044"/>
                    <a:pt x="12161" y="20671"/>
                    <a:pt x="8924" y="20052"/>
                  </a:cubicBezTo>
                  <a:cubicBezTo>
                    <a:pt x="5947" y="19483"/>
                    <a:pt x="2972" y="18705"/>
                    <a:pt x="0" y="17720"/>
                  </a:cubicBezTo>
                  <a:lnTo>
                    <a:pt x="3665" y="6235"/>
                  </a:lnTo>
                  <a:lnTo>
                    <a:pt x="19113" y="71"/>
                  </a:lnTo>
                  <a:close/>
                </a:path>
              </a:pathLst>
            </a:custGeom>
            <a:solidFill>
              <a:schemeClr val="accent1">
                <a:lumMod val="60000"/>
                <a:lumOff val="40000"/>
              </a:schemeClr>
            </a:solidFill>
            <a:ln w="25400">
              <a:noFill/>
              <a:miter lim="400000"/>
            </a:ln>
          </p:spPr>
          <p:txBody>
            <a:bodyPr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1600" b="0" i="0" u="none" strike="noStrike" kern="1200" cap="none" spc="0" normalizeH="0" baseline="0" noProof="0">
                <a:ln>
                  <a:noFill/>
                </a:ln>
                <a:solidFill>
                  <a:srgbClr val="FFFFFF"/>
                </a:solidFill>
                <a:effectLst/>
                <a:uLnTx/>
                <a:uFillTx/>
                <a:latin typeface="Arial"/>
                <a:cs typeface="+mn-ea"/>
                <a:sym typeface="+mn-lt"/>
              </a:endParaRPr>
            </a:p>
          </p:txBody>
        </p:sp>
        <p:sp>
          <p:nvSpPr>
            <p:cNvPr id="56" name="Кружок">
              <a:extLst>
                <a:ext uri="{FF2B5EF4-FFF2-40B4-BE49-F238E27FC236}">
                  <a16:creationId xmlns:a16="http://schemas.microsoft.com/office/drawing/2014/main" id="{E345344D-3D38-4603-A01D-EB57A58023ED}"/>
                </a:ext>
              </a:extLst>
            </p:cNvPr>
            <p:cNvSpPr/>
            <p:nvPr/>
          </p:nvSpPr>
          <p:spPr>
            <a:xfrm>
              <a:off x="15860601" y="4375573"/>
              <a:ext cx="1532236" cy="1532236"/>
            </a:xfrm>
            <a:prstGeom prst="ellipse">
              <a:avLst/>
            </a:prstGeom>
            <a:solidFill>
              <a:schemeClr val="tx2"/>
            </a:solidFill>
            <a:ln w="25400">
              <a:noFill/>
              <a:miter lim="400000"/>
            </a:ln>
          </p:spPr>
          <p:txBody>
            <a:bodyPr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1600" b="0" i="0" u="none" strike="noStrike" kern="1200" cap="none" spc="0" normalizeH="0" baseline="0" noProof="0">
                <a:ln>
                  <a:noFill/>
                </a:ln>
                <a:solidFill>
                  <a:srgbClr val="FFFFFF"/>
                </a:solidFill>
                <a:effectLst/>
                <a:uLnTx/>
                <a:uFillTx/>
                <a:latin typeface="Arial"/>
                <a:cs typeface="+mn-ea"/>
                <a:sym typeface="+mn-lt"/>
              </a:endParaRPr>
            </a:p>
          </p:txBody>
        </p:sp>
        <p:sp>
          <p:nvSpPr>
            <p:cNvPr id="57" name="Кружок">
              <a:extLst>
                <a:ext uri="{FF2B5EF4-FFF2-40B4-BE49-F238E27FC236}">
                  <a16:creationId xmlns:a16="http://schemas.microsoft.com/office/drawing/2014/main" id="{5647E116-823F-48FF-93AC-628AA1E3EEB3}"/>
                </a:ext>
              </a:extLst>
            </p:cNvPr>
            <p:cNvSpPr/>
            <p:nvPr/>
          </p:nvSpPr>
          <p:spPr>
            <a:xfrm>
              <a:off x="16580753" y="4817057"/>
              <a:ext cx="649269" cy="649268"/>
            </a:xfrm>
            <a:prstGeom prst="ellipse">
              <a:avLst/>
            </a:prstGeom>
            <a:solidFill>
              <a:schemeClr val="accent1">
                <a:lumMod val="60000"/>
                <a:lumOff val="40000"/>
              </a:schemeClr>
            </a:solidFill>
            <a:ln w="25400">
              <a:noFill/>
              <a:miter lim="400000"/>
            </a:ln>
          </p:spPr>
          <p:txBody>
            <a:bodyPr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1600" b="0" i="0" u="none" strike="noStrike" kern="1200" cap="none" spc="0" normalizeH="0" baseline="0" noProof="0">
                <a:ln>
                  <a:noFill/>
                </a:ln>
                <a:solidFill>
                  <a:srgbClr val="FFFFFF"/>
                </a:solidFill>
                <a:effectLst/>
                <a:uLnTx/>
                <a:uFillTx/>
                <a:latin typeface="Arial"/>
                <a:cs typeface="+mn-ea"/>
                <a:sym typeface="+mn-lt"/>
              </a:endParaRPr>
            </a:p>
          </p:txBody>
        </p:sp>
        <p:sp>
          <p:nvSpPr>
            <p:cNvPr id="58" name="Фигура">
              <a:extLst>
                <a:ext uri="{FF2B5EF4-FFF2-40B4-BE49-F238E27FC236}">
                  <a16:creationId xmlns:a16="http://schemas.microsoft.com/office/drawing/2014/main" id="{1DD377EE-D824-4BB1-BA7D-4B91ABD32084}"/>
                </a:ext>
              </a:extLst>
            </p:cNvPr>
            <p:cNvSpPr/>
            <p:nvPr/>
          </p:nvSpPr>
          <p:spPr>
            <a:xfrm>
              <a:off x="16241012" y="6394119"/>
              <a:ext cx="1365594" cy="1218468"/>
            </a:xfrm>
            <a:custGeom>
              <a:avLst/>
              <a:gdLst/>
              <a:ahLst/>
              <a:cxnLst>
                <a:cxn ang="0">
                  <a:pos x="wd2" y="hd2"/>
                </a:cxn>
                <a:cxn ang="5400000">
                  <a:pos x="wd2" y="hd2"/>
                </a:cxn>
                <a:cxn ang="10800000">
                  <a:pos x="wd2" y="hd2"/>
                </a:cxn>
                <a:cxn ang="16200000">
                  <a:pos x="wd2" y="hd2"/>
                </a:cxn>
              </a:cxnLst>
              <a:rect l="0" t="0" r="r" b="b"/>
              <a:pathLst>
                <a:path w="21563" h="21450" extrusionOk="0">
                  <a:moveTo>
                    <a:pt x="21563" y="0"/>
                  </a:moveTo>
                  <a:cubicBezTo>
                    <a:pt x="18420" y="548"/>
                    <a:pt x="15297" y="1231"/>
                    <a:pt x="12200" y="2045"/>
                  </a:cubicBezTo>
                  <a:cubicBezTo>
                    <a:pt x="9011" y="2884"/>
                    <a:pt x="5853" y="3863"/>
                    <a:pt x="2732" y="4979"/>
                  </a:cubicBezTo>
                  <a:cubicBezTo>
                    <a:pt x="1881" y="5358"/>
                    <a:pt x="1162" y="6034"/>
                    <a:pt x="681" y="6907"/>
                  </a:cubicBezTo>
                  <a:cubicBezTo>
                    <a:pt x="370" y="7470"/>
                    <a:pt x="169" y="8100"/>
                    <a:pt x="90" y="8755"/>
                  </a:cubicBezTo>
                  <a:cubicBezTo>
                    <a:pt x="-37" y="10594"/>
                    <a:pt x="-29" y="12442"/>
                    <a:pt x="114" y="14280"/>
                  </a:cubicBezTo>
                  <a:cubicBezTo>
                    <a:pt x="251" y="16049"/>
                    <a:pt x="512" y="17803"/>
                    <a:pt x="896" y="19526"/>
                  </a:cubicBezTo>
                  <a:cubicBezTo>
                    <a:pt x="1152" y="20349"/>
                    <a:pt x="1728" y="20996"/>
                    <a:pt x="2462" y="21286"/>
                  </a:cubicBezTo>
                  <a:cubicBezTo>
                    <a:pt x="3257" y="21600"/>
                    <a:pt x="4139" y="21457"/>
                    <a:pt x="4822" y="20905"/>
                  </a:cubicBezTo>
                  <a:cubicBezTo>
                    <a:pt x="6840" y="19463"/>
                    <a:pt x="8847" y="18001"/>
                    <a:pt x="10842" y="16520"/>
                  </a:cubicBezTo>
                  <a:cubicBezTo>
                    <a:pt x="12937" y="14964"/>
                    <a:pt x="15019" y="13387"/>
                    <a:pt x="17088" y="11788"/>
                  </a:cubicBezTo>
                  <a:lnTo>
                    <a:pt x="21563" y="0"/>
                  </a:lnTo>
                  <a:close/>
                </a:path>
              </a:pathLst>
            </a:custGeom>
            <a:solidFill>
              <a:schemeClr val="accent1">
                <a:lumMod val="60000"/>
                <a:lumOff val="40000"/>
              </a:schemeClr>
            </a:solidFill>
            <a:ln w="25400">
              <a:noFill/>
              <a:miter lim="400000"/>
            </a:ln>
          </p:spPr>
          <p:txBody>
            <a:bodyPr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1600" b="0" i="0" u="none" strike="noStrike" kern="1200" cap="none" spc="0" normalizeH="0" baseline="0" noProof="0">
                <a:ln>
                  <a:noFill/>
                </a:ln>
                <a:solidFill>
                  <a:srgbClr val="FFFFFF"/>
                </a:solidFill>
                <a:effectLst/>
                <a:uLnTx/>
                <a:uFillTx/>
                <a:latin typeface="Arial"/>
                <a:cs typeface="+mn-ea"/>
                <a:sym typeface="+mn-lt"/>
              </a:endParaRPr>
            </a:p>
          </p:txBody>
        </p:sp>
        <p:sp>
          <p:nvSpPr>
            <p:cNvPr id="59" name="Фигура">
              <a:extLst>
                <a:ext uri="{FF2B5EF4-FFF2-40B4-BE49-F238E27FC236}">
                  <a16:creationId xmlns:a16="http://schemas.microsoft.com/office/drawing/2014/main" id="{E1DA1128-5AAE-47EA-99FA-7716104D7FDE}"/>
                </a:ext>
              </a:extLst>
            </p:cNvPr>
            <p:cNvSpPr/>
            <p:nvPr/>
          </p:nvSpPr>
          <p:spPr>
            <a:xfrm>
              <a:off x="16890482" y="5589021"/>
              <a:ext cx="2017436" cy="1763596"/>
            </a:xfrm>
            <a:custGeom>
              <a:avLst/>
              <a:gdLst/>
              <a:ahLst/>
              <a:cxnLst>
                <a:cxn ang="0">
                  <a:pos x="wd2" y="hd2"/>
                </a:cxn>
                <a:cxn ang="5400000">
                  <a:pos x="wd2" y="hd2"/>
                </a:cxn>
                <a:cxn ang="10800000">
                  <a:pos x="wd2" y="hd2"/>
                </a:cxn>
                <a:cxn ang="16200000">
                  <a:pos x="wd2" y="hd2"/>
                </a:cxn>
              </a:cxnLst>
              <a:rect l="0" t="0" r="r" b="b"/>
              <a:pathLst>
                <a:path w="21234" h="21256" extrusionOk="0">
                  <a:moveTo>
                    <a:pt x="20090" y="5893"/>
                  </a:moveTo>
                  <a:cubicBezTo>
                    <a:pt x="21321" y="4830"/>
                    <a:pt x="21600" y="2844"/>
                    <a:pt x="20723" y="1393"/>
                  </a:cubicBezTo>
                  <a:cubicBezTo>
                    <a:pt x="19960" y="128"/>
                    <a:pt x="18524" y="-344"/>
                    <a:pt x="17291" y="263"/>
                  </a:cubicBezTo>
                  <a:cubicBezTo>
                    <a:pt x="13395" y="2387"/>
                    <a:pt x="9877" y="5322"/>
                    <a:pt x="6918" y="8919"/>
                  </a:cubicBezTo>
                  <a:cubicBezTo>
                    <a:pt x="3966" y="12506"/>
                    <a:pt x="1620" y="16689"/>
                    <a:pt x="0" y="21256"/>
                  </a:cubicBezTo>
                  <a:lnTo>
                    <a:pt x="20090" y="5893"/>
                  </a:lnTo>
                  <a:close/>
                </a:path>
              </a:pathLst>
            </a:custGeom>
            <a:solidFill>
              <a:schemeClr val="accent1">
                <a:lumMod val="40000"/>
                <a:lumOff val="60000"/>
              </a:schemeClr>
            </a:solidFill>
            <a:ln w="25400">
              <a:noFill/>
              <a:miter lim="400000"/>
            </a:ln>
          </p:spPr>
          <p:txBody>
            <a:bodyPr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1600" b="0" i="0" u="none" strike="noStrike" kern="1200" cap="none" spc="0" normalizeH="0" baseline="0" noProof="0">
                <a:ln>
                  <a:noFill/>
                </a:ln>
                <a:solidFill>
                  <a:srgbClr val="FFFFFF"/>
                </a:solidFill>
                <a:effectLst/>
                <a:uLnTx/>
                <a:uFillTx/>
                <a:latin typeface="Arial"/>
                <a:cs typeface="+mn-ea"/>
                <a:sym typeface="+mn-lt"/>
              </a:endParaRPr>
            </a:p>
          </p:txBody>
        </p:sp>
      </p:grpSp>
      <p:grpSp>
        <p:nvGrpSpPr>
          <p:cNvPr id="6" name="Группа 12">
            <a:extLst>
              <a:ext uri="{FF2B5EF4-FFF2-40B4-BE49-F238E27FC236}">
                <a16:creationId xmlns:a16="http://schemas.microsoft.com/office/drawing/2014/main" id="{C31257AD-E7BE-4674-A4FF-42D02BD6026D}"/>
              </a:ext>
            </a:extLst>
          </p:cNvPr>
          <p:cNvGrpSpPr/>
          <p:nvPr/>
        </p:nvGrpSpPr>
        <p:grpSpPr>
          <a:xfrm>
            <a:off x="2284752" y="1019703"/>
            <a:ext cx="2649868" cy="4818593"/>
            <a:chOff x="4406339" y="1512392"/>
            <a:chExt cx="5299735" cy="9637185"/>
          </a:xfrm>
        </p:grpSpPr>
        <p:grpSp>
          <p:nvGrpSpPr>
            <p:cNvPr id="34" name="Группа 11">
              <a:extLst>
                <a:ext uri="{FF2B5EF4-FFF2-40B4-BE49-F238E27FC236}">
                  <a16:creationId xmlns:a16="http://schemas.microsoft.com/office/drawing/2014/main" id="{1BC41E52-8788-4EC0-8147-E7423BC9ACF9}"/>
                </a:ext>
              </a:extLst>
            </p:cNvPr>
            <p:cNvGrpSpPr/>
            <p:nvPr/>
          </p:nvGrpSpPr>
          <p:grpSpPr>
            <a:xfrm>
              <a:off x="4440435" y="2949722"/>
              <a:ext cx="3740150" cy="611248"/>
              <a:chOff x="4440435" y="2949722"/>
              <a:chExt cx="3740150" cy="611248"/>
            </a:xfrm>
          </p:grpSpPr>
          <p:cxnSp>
            <p:nvCxnSpPr>
              <p:cNvPr id="52" name="Прямая соединительная линия 74">
                <a:extLst>
                  <a:ext uri="{FF2B5EF4-FFF2-40B4-BE49-F238E27FC236}">
                    <a16:creationId xmlns:a16="http://schemas.microsoft.com/office/drawing/2014/main" id="{2BD10CA4-C9C6-40F1-864C-6F967B0C6FE8}"/>
                  </a:ext>
                </a:extLst>
              </p:cNvPr>
              <p:cNvCxnSpPr>
                <a:cxnSpLocks/>
              </p:cNvCxnSpPr>
              <p:nvPr/>
            </p:nvCxnSpPr>
            <p:spPr bwMode="auto">
              <a:xfrm>
                <a:off x="4526085" y="3560970"/>
                <a:ext cx="2814944" cy="0"/>
              </a:xfrm>
              <a:prstGeom prst="line">
                <a:avLst/>
              </a:prstGeom>
              <a:blipFill dpi="0" rotWithShape="0">
                <a:blip r:embed="rId4"/>
                <a:srcRect/>
                <a:tile tx="0" ty="0" sx="100000" sy="100000" flip="none" algn="tl"/>
              </a:blipFill>
              <a:ln w="57150" cap="flat" cmpd="sng" algn="ctr">
                <a:solidFill>
                  <a:schemeClr val="accent1">
                    <a:lumMod val="100000"/>
                  </a:schemeClr>
                </a:solidFill>
                <a:prstDash val="solid"/>
                <a:miter lim="400000"/>
                <a:headEnd type="none" w="med" len="med"/>
                <a:tailEnd type="none" w="med" len="med"/>
              </a:ln>
              <a:effectLst/>
            </p:spPr>
          </p:cxnSp>
          <p:sp>
            <p:nvSpPr>
              <p:cNvPr id="53" name="TextBox 46">
                <a:extLst>
                  <a:ext uri="{FF2B5EF4-FFF2-40B4-BE49-F238E27FC236}">
                    <a16:creationId xmlns:a16="http://schemas.microsoft.com/office/drawing/2014/main" id="{441BB2DF-69BB-4CCD-818C-110160F1D148}"/>
                  </a:ext>
                </a:extLst>
              </p:cNvPr>
              <p:cNvSpPr txBox="1">
                <a:spLocks noChangeArrowheads="1"/>
              </p:cNvSpPr>
              <p:nvPr/>
            </p:nvSpPr>
            <p:spPr bwMode="auto">
              <a:xfrm>
                <a:off x="4440435" y="2949722"/>
                <a:ext cx="3740150" cy="4924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1pPr>
                <a:lvl2pPr marL="742950" indent="-28575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2pPr>
                <a:lvl3pPr marL="11430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3pPr>
                <a:lvl4pPr marL="16002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4pPr>
                <a:lvl5pPr marL="20574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5pPr>
                <a:lvl6pPr marL="25146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6pPr>
                <a:lvl7pPr marL="29718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7pPr>
                <a:lvl8pPr marL="34290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8pPr>
                <a:lvl9pPr marL="38862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000" b="1" i="0" u="none" strike="noStrike" kern="1200" cap="none" spc="0" normalizeH="0" baseline="0" noProof="0" dirty="0">
                    <a:ln>
                      <a:noFill/>
                    </a:ln>
                    <a:solidFill>
                      <a:schemeClr val="accent1"/>
                    </a:solidFill>
                    <a:effectLst/>
                    <a:uLnTx/>
                    <a:uFillTx/>
                    <a:latin typeface="Arial"/>
                    <a:ea typeface="+mn-ea"/>
                    <a:cs typeface="+mn-ea"/>
                    <a:sym typeface="+mn-lt"/>
                  </a:rPr>
                  <a:t>Information text</a:t>
                </a:r>
              </a:p>
            </p:txBody>
          </p:sp>
        </p:grpSp>
        <p:grpSp>
          <p:nvGrpSpPr>
            <p:cNvPr id="35" name="Группа 10">
              <a:extLst>
                <a:ext uri="{FF2B5EF4-FFF2-40B4-BE49-F238E27FC236}">
                  <a16:creationId xmlns:a16="http://schemas.microsoft.com/office/drawing/2014/main" id="{ACBC1642-DC17-45F0-AE37-2D502EA51FF8}"/>
                </a:ext>
              </a:extLst>
            </p:cNvPr>
            <p:cNvGrpSpPr/>
            <p:nvPr/>
          </p:nvGrpSpPr>
          <p:grpSpPr>
            <a:xfrm>
              <a:off x="4440435" y="4297650"/>
              <a:ext cx="4153650" cy="628747"/>
              <a:chOff x="4440435" y="4297650"/>
              <a:chExt cx="4153650" cy="628747"/>
            </a:xfrm>
          </p:grpSpPr>
          <p:cxnSp>
            <p:nvCxnSpPr>
              <p:cNvPr id="50" name="Прямая соединительная линия 77">
                <a:extLst>
                  <a:ext uri="{FF2B5EF4-FFF2-40B4-BE49-F238E27FC236}">
                    <a16:creationId xmlns:a16="http://schemas.microsoft.com/office/drawing/2014/main" id="{F532891D-A9D7-47BB-941A-A19352E82B38}"/>
                  </a:ext>
                </a:extLst>
              </p:cNvPr>
              <p:cNvCxnSpPr>
                <a:cxnSpLocks/>
              </p:cNvCxnSpPr>
              <p:nvPr/>
            </p:nvCxnSpPr>
            <p:spPr bwMode="auto">
              <a:xfrm>
                <a:off x="4526085" y="4916624"/>
                <a:ext cx="4068000" cy="9773"/>
              </a:xfrm>
              <a:prstGeom prst="line">
                <a:avLst/>
              </a:prstGeom>
              <a:blipFill dpi="0" rotWithShape="0">
                <a:blip r:embed="rId4"/>
                <a:srcRect/>
                <a:tile tx="0" ty="0" sx="100000" sy="100000" flip="none" algn="tl"/>
              </a:blipFill>
              <a:ln w="57150" cap="flat" cmpd="sng" algn="ctr">
                <a:solidFill>
                  <a:schemeClr val="accent1">
                    <a:lumMod val="100000"/>
                  </a:schemeClr>
                </a:solidFill>
                <a:prstDash val="solid"/>
                <a:miter lim="400000"/>
                <a:headEnd type="none" w="med" len="med"/>
                <a:tailEnd type="none" w="med" len="med"/>
              </a:ln>
              <a:effectLst/>
            </p:spPr>
          </p:cxnSp>
          <p:sp>
            <p:nvSpPr>
              <p:cNvPr id="51" name="TextBox 46">
                <a:extLst>
                  <a:ext uri="{FF2B5EF4-FFF2-40B4-BE49-F238E27FC236}">
                    <a16:creationId xmlns:a16="http://schemas.microsoft.com/office/drawing/2014/main" id="{641BDC56-EA20-49DA-AC15-83373911A78F}"/>
                  </a:ext>
                </a:extLst>
              </p:cNvPr>
              <p:cNvSpPr txBox="1">
                <a:spLocks noChangeArrowheads="1"/>
              </p:cNvSpPr>
              <p:nvPr/>
            </p:nvSpPr>
            <p:spPr bwMode="auto">
              <a:xfrm>
                <a:off x="4440435" y="4297650"/>
                <a:ext cx="3740150" cy="4924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1pPr>
                <a:lvl2pPr marL="742950" indent="-28575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2pPr>
                <a:lvl3pPr marL="11430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3pPr>
                <a:lvl4pPr marL="16002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4pPr>
                <a:lvl5pPr marL="20574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5pPr>
                <a:lvl6pPr marL="25146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6pPr>
                <a:lvl7pPr marL="29718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7pPr>
                <a:lvl8pPr marL="34290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8pPr>
                <a:lvl9pPr marL="38862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000" b="1" i="0" u="none" strike="noStrike" kern="1200" cap="none" spc="0" normalizeH="0" baseline="0" noProof="0" dirty="0">
                    <a:ln>
                      <a:noFill/>
                    </a:ln>
                    <a:solidFill>
                      <a:schemeClr val="accent1"/>
                    </a:solidFill>
                    <a:effectLst/>
                    <a:uLnTx/>
                    <a:uFillTx/>
                    <a:latin typeface="Arial"/>
                    <a:ea typeface="+mn-ea"/>
                    <a:cs typeface="+mn-ea"/>
                    <a:sym typeface="+mn-lt"/>
                  </a:rPr>
                  <a:t>Information text demo</a:t>
                </a:r>
              </a:p>
            </p:txBody>
          </p:sp>
        </p:grpSp>
        <p:cxnSp>
          <p:nvCxnSpPr>
            <p:cNvPr id="36" name="Прямая соединительная линия 82">
              <a:extLst>
                <a:ext uri="{FF2B5EF4-FFF2-40B4-BE49-F238E27FC236}">
                  <a16:creationId xmlns:a16="http://schemas.microsoft.com/office/drawing/2014/main" id="{674BEE34-0F4E-4BF1-8496-56CE1109C371}"/>
                </a:ext>
              </a:extLst>
            </p:cNvPr>
            <p:cNvCxnSpPr>
              <a:cxnSpLocks/>
            </p:cNvCxnSpPr>
            <p:nvPr/>
          </p:nvCxnSpPr>
          <p:spPr bwMode="auto">
            <a:xfrm>
              <a:off x="4526085" y="7679272"/>
              <a:ext cx="4068000" cy="9773"/>
            </a:xfrm>
            <a:prstGeom prst="line">
              <a:avLst/>
            </a:prstGeom>
            <a:blipFill dpi="0" rotWithShape="0">
              <a:blip r:embed="rId4"/>
              <a:srcRect/>
              <a:tile tx="0" ty="0" sx="100000" sy="100000" flip="none" algn="tl"/>
            </a:blipFill>
            <a:ln w="57150" cap="flat" cmpd="sng" algn="ctr">
              <a:solidFill>
                <a:schemeClr val="accent1">
                  <a:lumMod val="100000"/>
                </a:schemeClr>
              </a:solidFill>
              <a:prstDash val="solid"/>
              <a:miter lim="400000"/>
              <a:headEnd type="none" w="med" len="med"/>
              <a:tailEnd type="none" w="med" len="med"/>
            </a:ln>
            <a:effectLst/>
          </p:spPr>
        </p:cxnSp>
        <p:sp>
          <p:nvSpPr>
            <p:cNvPr id="37" name="TextBox 46">
              <a:extLst>
                <a:ext uri="{FF2B5EF4-FFF2-40B4-BE49-F238E27FC236}">
                  <a16:creationId xmlns:a16="http://schemas.microsoft.com/office/drawing/2014/main" id="{F5DE1594-83A9-4A3F-B251-383E2CA8F2D5}"/>
                </a:ext>
              </a:extLst>
            </p:cNvPr>
            <p:cNvSpPr txBox="1">
              <a:spLocks noChangeArrowheads="1"/>
            </p:cNvSpPr>
            <p:nvPr/>
          </p:nvSpPr>
          <p:spPr bwMode="auto">
            <a:xfrm>
              <a:off x="4440435" y="7879499"/>
              <a:ext cx="3740149" cy="4924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1pPr>
              <a:lvl2pPr marL="742950" indent="-28575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2pPr>
              <a:lvl3pPr marL="11430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3pPr>
              <a:lvl4pPr marL="16002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4pPr>
              <a:lvl5pPr marL="20574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5pPr>
              <a:lvl6pPr marL="25146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6pPr>
              <a:lvl7pPr marL="29718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7pPr>
              <a:lvl8pPr marL="34290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8pPr>
              <a:lvl9pPr marL="38862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000" b="1" i="0" u="none" strike="noStrike" kern="1200" cap="none" spc="0" normalizeH="0" baseline="0" noProof="0" dirty="0">
                  <a:ln>
                    <a:noFill/>
                  </a:ln>
                  <a:solidFill>
                    <a:schemeClr val="accent1"/>
                  </a:solidFill>
                  <a:effectLst/>
                  <a:uLnTx/>
                  <a:uFillTx/>
                  <a:latin typeface="Arial"/>
                  <a:ea typeface="+mn-ea"/>
                  <a:cs typeface="+mn-ea"/>
                  <a:sym typeface="+mn-lt"/>
                </a:rPr>
                <a:t>Information text demo</a:t>
              </a:r>
            </a:p>
          </p:txBody>
        </p:sp>
        <p:cxnSp>
          <p:nvCxnSpPr>
            <p:cNvPr id="38" name="Прямая соединительная линия 86">
              <a:extLst>
                <a:ext uri="{FF2B5EF4-FFF2-40B4-BE49-F238E27FC236}">
                  <a16:creationId xmlns:a16="http://schemas.microsoft.com/office/drawing/2014/main" id="{F144F27B-746A-4195-AE3F-08E79D212AB7}"/>
                </a:ext>
              </a:extLst>
            </p:cNvPr>
            <p:cNvCxnSpPr>
              <a:cxnSpLocks/>
            </p:cNvCxnSpPr>
            <p:nvPr/>
          </p:nvCxnSpPr>
          <p:spPr bwMode="auto">
            <a:xfrm>
              <a:off x="4526085" y="9022080"/>
              <a:ext cx="2814944" cy="0"/>
            </a:xfrm>
            <a:prstGeom prst="line">
              <a:avLst/>
            </a:prstGeom>
            <a:blipFill dpi="0" rotWithShape="0">
              <a:blip r:embed="rId4"/>
              <a:srcRect/>
              <a:tile tx="0" ty="0" sx="100000" sy="100000" flip="none" algn="tl"/>
            </a:blipFill>
            <a:ln w="57150" cap="flat" cmpd="sng" algn="ctr">
              <a:solidFill>
                <a:schemeClr val="accent1">
                  <a:lumMod val="100000"/>
                </a:schemeClr>
              </a:solidFill>
              <a:prstDash val="solid"/>
              <a:miter lim="400000"/>
              <a:headEnd type="none" w="med" len="med"/>
              <a:tailEnd type="none" w="med" len="med"/>
            </a:ln>
            <a:effectLst/>
          </p:spPr>
        </p:cxnSp>
        <p:sp>
          <p:nvSpPr>
            <p:cNvPr id="39" name="TextBox 46">
              <a:extLst>
                <a:ext uri="{FF2B5EF4-FFF2-40B4-BE49-F238E27FC236}">
                  <a16:creationId xmlns:a16="http://schemas.microsoft.com/office/drawing/2014/main" id="{C3FB131B-0CAC-400D-BA00-27AE7757270E}"/>
                </a:ext>
              </a:extLst>
            </p:cNvPr>
            <p:cNvSpPr txBox="1">
              <a:spLocks noChangeArrowheads="1"/>
            </p:cNvSpPr>
            <p:nvPr/>
          </p:nvSpPr>
          <p:spPr bwMode="auto">
            <a:xfrm>
              <a:off x="4440435" y="9230033"/>
              <a:ext cx="3740149" cy="4924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1pPr>
              <a:lvl2pPr marL="742950" indent="-28575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2pPr>
              <a:lvl3pPr marL="11430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3pPr>
              <a:lvl4pPr marL="16002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4pPr>
              <a:lvl5pPr marL="20574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5pPr>
              <a:lvl6pPr marL="25146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6pPr>
              <a:lvl7pPr marL="29718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7pPr>
              <a:lvl8pPr marL="34290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8pPr>
              <a:lvl9pPr marL="38862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000" b="1" i="0" u="none" strike="noStrike" kern="1200" cap="none" spc="0" normalizeH="0" baseline="0" noProof="0" dirty="0">
                  <a:ln>
                    <a:noFill/>
                  </a:ln>
                  <a:solidFill>
                    <a:schemeClr val="accent1"/>
                  </a:solidFill>
                  <a:effectLst/>
                  <a:uLnTx/>
                  <a:uFillTx/>
                  <a:latin typeface="Arial"/>
                  <a:ea typeface="+mn-ea"/>
                  <a:cs typeface="+mn-ea"/>
                  <a:sym typeface="+mn-lt"/>
                </a:rPr>
                <a:t>Information text</a:t>
              </a:r>
            </a:p>
          </p:txBody>
        </p:sp>
        <p:sp>
          <p:nvSpPr>
            <p:cNvPr id="40" name="TextBox 46">
              <a:extLst>
                <a:ext uri="{FF2B5EF4-FFF2-40B4-BE49-F238E27FC236}">
                  <a16:creationId xmlns:a16="http://schemas.microsoft.com/office/drawing/2014/main" id="{13C7A6E4-64B2-44B9-889C-F6A52F57EE9A}"/>
                </a:ext>
              </a:extLst>
            </p:cNvPr>
            <p:cNvSpPr txBox="1">
              <a:spLocks noChangeArrowheads="1"/>
            </p:cNvSpPr>
            <p:nvPr/>
          </p:nvSpPr>
          <p:spPr bwMode="auto">
            <a:xfrm>
              <a:off x="4406339" y="1512392"/>
              <a:ext cx="1741502" cy="615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1pPr>
              <a:lvl2pPr marL="742950" indent="-28575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2pPr>
              <a:lvl3pPr marL="11430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3pPr>
              <a:lvl4pPr marL="16002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4pPr>
              <a:lvl5pPr marL="20574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5pPr>
              <a:lvl6pPr marL="25146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6pPr>
              <a:lvl7pPr marL="29718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7pPr>
              <a:lvl8pPr marL="34290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8pPr>
              <a:lvl9pPr marL="38862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400" b="1" i="0" u="none" strike="noStrike" kern="1200" cap="none" spc="0" normalizeH="0" baseline="0" noProof="0" dirty="0">
                  <a:ln>
                    <a:noFill/>
                  </a:ln>
                  <a:solidFill>
                    <a:schemeClr val="accent1"/>
                  </a:solidFill>
                  <a:effectLst/>
                  <a:uLnTx/>
                  <a:uFillTx/>
                  <a:latin typeface="Arial"/>
                  <a:ea typeface="+mn-ea"/>
                  <a:cs typeface="+mn-ea"/>
                  <a:sym typeface="+mn-lt"/>
                </a:rPr>
                <a:t>Cause 1</a:t>
              </a:r>
            </a:p>
          </p:txBody>
        </p:sp>
        <p:sp>
          <p:nvSpPr>
            <p:cNvPr id="41" name="TextBox 46">
              <a:extLst>
                <a:ext uri="{FF2B5EF4-FFF2-40B4-BE49-F238E27FC236}">
                  <a16:creationId xmlns:a16="http://schemas.microsoft.com/office/drawing/2014/main" id="{3423BEA0-42A2-4F79-A0A7-887E827A7A82}"/>
                </a:ext>
              </a:extLst>
            </p:cNvPr>
            <p:cNvSpPr txBox="1">
              <a:spLocks noChangeArrowheads="1"/>
            </p:cNvSpPr>
            <p:nvPr/>
          </p:nvSpPr>
          <p:spPr bwMode="auto">
            <a:xfrm>
              <a:off x="4406339" y="10534023"/>
              <a:ext cx="1741502" cy="615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1pPr>
              <a:lvl2pPr marL="742950" indent="-28575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2pPr>
              <a:lvl3pPr marL="11430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3pPr>
              <a:lvl4pPr marL="16002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4pPr>
              <a:lvl5pPr marL="20574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5pPr>
              <a:lvl6pPr marL="25146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6pPr>
              <a:lvl7pPr marL="29718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7pPr>
              <a:lvl8pPr marL="34290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8pPr>
              <a:lvl9pPr marL="38862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400" b="1" i="0" u="none" strike="noStrike" kern="1200" cap="none" spc="0" normalizeH="0" baseline="0" noProof="0">
                  <a:ln>
                    <a:noFill/>
                  </a:ln>
                  <a:solidFill>
                    <a:schemeClr val="accent1"/>
                  </a:solidFill>
                  <a:effectLst/>
                  <a:uLnTx/>
                  <a:uFillTx/>
                  <a:latin typeface="Arial"/>
                  <a:ea typeface="+mn-ea"/>
                  <a:cs typeface="+mn-ea"/>
                  <a:sym typeface="+mn-lt"/>
                </a:rPr>
                <a:t>Cause 2</a:t>
              </a:r>
            </a:p>
          </p:txBody>
        </p:sp>
        <p:sp>
          <p:nvSpPr>
            <p:cNvPr id="42" name="Freeform 8">
              <a:extLst>
                <a:ext uri="{FF2B5EF4-FFF2-40B4-BE49-F238E27FC236}">
                  <a16:creationId xmlns:a16="http://schemas.microsoft.com/office/drawing/2014/main" id="{0DB58B0F-38AE-47E1-93A1-473B240DF8CD}"/>
                </a:ext>
              </a:extLst>
            </p:cNvPr>
            <p:cNvSpPr>
              <a:spLocks/>
            </p:cNvSpPr>
            <p:nvPr/>
          </p:nvSpPr>
          <p:spPr bwMode="auto">
            <a:xfrm flipH="1">
              <a:off x="4526085" y="4139226"/>
              <a:ext cx="5178953" cy="153888"/>
            </a:xfrm>
            <a:custGeom>
              <a:avLst/>
              <a:gdLst>
                <a:gd name="T0" fmla="*/ 0 w 5233536"/>
                <a:gd name="T1" fmla="*/ 4090223 h 4081111"/>
                <a:gd name="T2" fmla="*/ 3351619 w 5233536"/>
                <a:gd name="T3" fmla="*/ 1943 h 4081111"/>
                <a:gd name="T4" fmla="*/ 5239591 w 5233536"/>
                <a:gd name="T5" fmla="*/ 0 h 4081111"/>
                <a:gd name="T6" fmla="*/ 0 60000 65536"/>
                <a:gd name="T7" fmla="*/ 0 60000 65536"/>
                <a:gd name="T8" fmla="*/ 0 60000 65536"/>
              </a:gdLst>
              <a:ahLst/>
              <a:cxnLst>
                <a:cxn ang="T6">
                  <a:pos x="T0" y="T1"/>
                </a:cxn>
                <a:cxn ang="T7">
                  <a:pos x="T2" y="T3"/>
                </a:cxn>
                <a:cxn ang="T8">
                  <a:pos x="T4" y="T5"/>
                </a:cxn>
              </a:cxnLst>
              <a:rect l="0" t="0" r="r" b="b"/>
              <a:pathLst>
                <a:path w="5233536" h="4081111">
                  <a:moveTo>
                    <a:pt x="0" y="4081111"/>
                  </a:moveTo>
                  <a:lnTo>
                    <a:pt x="3347745" y="1936"/>
                  </a:lnTo>
                  <a:lnTo>
                    <a:pt x="5233536" y="0"/>
                  </a:lnTo>
                </a:path>
              </a:pathLst>
            </a:custGeom>
            <a:noFill/>
            <a:ln w="57150" cap="flat" cmpd="sng">
              <a:solidFill>
                <a:schemeClr val="accent1">
                  <a:lumMod val="100000"/>
                </a:schemeClr>
              </a:solidFill>
              <a:prstDash val="solid"/>
              <a:miter lim="400000"/>
              <a:headEnd type="none" w="med" len="med"/>
              <a:tailEnd type="none" w="med" len="med"/>
            </a:ln>
            <a:extLst>
              <a:ext uri="{909E8E84-426E-40DD-AFC4-6F175D3DCCD1}">
                <a14:hiddenFill xmlns:a14="http://schemas.microsoft.com/office/drawing/2010/main">
                  <a:solidFill>
                    <a:srgbClr val="FFFFFF"/>
                  </a:solidFill>
                </a14:hiddenFill>
              </a:ext>
            </a:extLst>
          </p:spPr>
          <p:txBody>
            <a:bodyPr wrap="square" lIns="0" tIns="0" rIns="0" bIns="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500" b="0" i="0" u="none" strike="noStrike" kern="1200" cap="none" spc="0" normalizeH="0" baseline="0" noProof="0">
                <a:ln>
                  <a:noFill/>
                </a:ln>
                <a:solidFill>
                  <a:srgbClr val="009FDE"/>
                </a:solidFill>
                <a:effectLst/>
                <a:uLnTx/>
                <a:uFillTx/>
                <a:latin typeface="Arial"/>
                <a:cs typeface="+mn-ea"/>
                <a:sym typeface="+mn-lt"/>
              </a:endParaRPr>
            </a:p>
          </p:txBody>
        </p:sp>
        <p:sp>
          <p:nvSpPr>
            <p:cNvPr id="43" name="Oval 66">
              <a:extLst>
                <a:ext uri="{FF2B5EF4-FFF2-40B4-BE49-F238E27FC236}">
                  <a16:creationId xmlns:a16="http://schemas.microsoft.com/office/drawing/2014/main" id="{D4033353-E21D-4B0C-92CE-EC6D0D8E1461}"/>
                </a:ext>
              </a:extLst>
            </p:cNvPr>
            <p:cNvSpPr>
              <a:spLocks noChangeArrowheads="1"/>
            </p:cNvSpPr>
            <p:nvPr/>
          </p:nvSpPr>
          <p:spPr bwMode="auto">
            <a:xfrm>
              <a:off x="6172253" y="2087660"/>
              <a:ext cx="308318" cy="216396"/>
            </a:xfrm>
            <a:prstGeom prst="ellipse">
              <a:avLst/>
            </a:prstGeom>
            <a:solidFill>
              <a:schemeClr val="accent1">
                <a:lumMod val="100000"/>
              </a:schemeClr>
            </a:solidFill>
            <a:ln w="57150">
              <a:solidFill>
                <a:schemeClr val="accent1">
                  <a:lumMod val="100000"/>
                </a:schemeClr>
              </a:solidFill>
              <a:miter lim="400000"/>
              <a:headEnd/>
              <a:tailEnd/>
            </a:ln>
          </p:spPr>
          <p:txBody>
            <a:bodyPr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altLang="en-US" sz="500" b="0" i="0" u="none" strike="noStrike" kern="1200" cap="none" spc="0" normalizeH="0" baseline="0" noProof="0">
                <a:ln>
                  <a:noFill/>
                </a:ln>
                <a:solidFill>
                  <a:srgbClr val="009FDE"/>
                </a:solidFill>
                <a:effectLst/>
                <a:uLnTx/>
                <a:uFillTx/>
                <a:latin typeface="Arial"/>
                <a:cs typeface="+mn-ea"/>
                <a:sym typeface="+mn-lt"/>
              </a:endParaRPr>
            </a:p>
          </p:txBody>
        </p:sp>
        <p:sp>
          <p:nvSpPr>
            <p:cNvPr id="44" name="Oval 66">
              <a:extLst>
                <a:ext uri="{FF2B5EF4-FFF2-40B4-BE49-F238E27FC236}">
                  <a16:creationId xmlns:a16="http://schemas.microsoft.com/office/drawing/2014/main" id="{2318599D-AAF8-478A-AC78-BDA3D2AF4CE0}"/>
                </a:ext>
              </a:extLst>
            </p:cNvPr>
            <p:cNvSpPr>
              <a:spLocks noChangeArrowheads="1"/>
            </p:cNvSpPr>
            <p:nvPr/>
          </p:nvSpPr>
          <p:spPr bwMode="auto">
            <a:xfrm>
              <a:off x="7341698" y="3452930"/>
              <a:ext cx="308318" cy="216396"/>
            </a:xfrm>
            <a:prstGeom prst="ellipse">
              <a:avLst/>
            </a:prstGeom>
            <a:solidFill>
              <a:schemeClr val="tx2"/>
            </a:solidFill>
            <a:ln w="57150">
              <a:solidFill>
                <a:schemeClr val="accent1">
                  <a:lumMod val="100000"/>
                </a:schemeClr>
              </a:solidFill>
              <a:miter lim="400000"/>
              <a:headEnd/>
              <a:tailEnd/>
            </a:ln>
          </p:spPr>
          <p:txBody>
            <a:bodyPr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altLang="en-US" sz="500" b="0" i="0" u="none" strike="noStrike" kern="1200" cap="none" spc="0" normalizeH="0" baseline="0" noProof="0">
                <a:ln>
                  <a:noFill/>
                </a:ln>
                <a:solidFill>
                  <a:srgbClr val="009FDE"/>
                </a:solidFill>
                <a:effectLst/>
                <a:uLnTx/>
                <a:uFillTx/>
                <a:latin typeface="Arial"/>
                <a:cs typeface="+mn-ea"/>
                <a:sym typeface="+mn-lt"/>
              </a:endParaRPr>
            </a:p>
          </p:txBody>
        </p:sp>
        <p:sp>
          <p:nvSpPr>
            <p:cNvPr id="45" name="Oval 66">
              <a:extLst>
                <a:ext uri="{FF2B5EF4-FFF2-40B4-BE49-F238E27FC236}">
                  <a16:creationId xmlns:a16="http://schemas.microsoft.com/office/drawing/2014/main" id="{4425AB5B-4AC2-4CCF-ABC2-7AD24EF1448D}"/>
                </a:ext>
              </a:extLst>
            </p:cNvPr>
            <p:cNvSpPr>
              <a:spLocks noChangeArrowheads="1"/>
            </p:cNvSpPr>
            <p:nvPr/>
          </p:nvSpPr>
          <p:spPr bwMode="auto">
            <a:xfrm>
              <a:off x="8426502" y="4818200"/>
              <a:ext cx="308318" cy="216396"/>
            </a:xfrm>
            <a:prstGeom prst="ellipse">
              <a:avLst/>
            </a:prstGeom>
            <a:solidFill>
              <a:schemeClr val="tx2"/>
            </a:solidFill>
            <a:ln w="57150">
              <a:solidFill>
                <a:schemeClr val="accent1">
                  <a:lumMod val="100000"/>
                </a:schemeClr>
              </a:solidFill>
              <a:miter lim="400000"/>
              <a:headEnd/>
              <a:tailEnd/>
            </a:ln>
          </p:spPr>
          <p:txBody>
            <a:bodyPr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altLang="en-US" sz="500" b="0" i="0" u="none" strike="noStrike" kern="1200" cap="none" spc="0" normalizeH="0" baseline="0" noProof="0">
                <a:ln>
                  <a:noFill/>
                </a:ln>
                <a:solidFill>
                  <a:srgbClr val="009FDE"/>
                </a:solidFill>
                <a:effectLst/>
                <a:uLnTx/>
                <a:uFillTx/>
                <a:latin typeface="Arial"/>
                <a:cs typeface="+mn-ea"/>
                <a:sym typeface="+mn-lt"/>
              </a:endParaRPr>
            </a:p>
          </p:txBody>
        </p:sp>
        <p:sp>
          <p:nvSpPr>
            <p:cNvPr id="46" name="Freeform 8">
              <a:extLst>
                <a:ext uri="{FF2B5EF4-FFF2-40B4-BE49-F238E27FC236}">
                  <a16:creationId xmlns:a16="http://schemas.microsoft.com/office/drawing/2014/main" id="{F3FC4CC4-B060-420D-B8D2-52B0601FC3A3}"/>
                </a:ext>
              </a:extLst>
            </p:cNvPr>
            <p:cNvSpPr>
              <a:spLocks/>
            </p:cNvSpPr>
            <p:nvPr/>
          </p:nvSpPr>
          <p:spPr bwMode="auto">
            <a:xfrm flipH="1" flipV="1">
              <a:off x="4527449" y="8290169"/>
              <a:ext cx="5178625" cy="153888"/>
            </a:xfrm>
            <a:custGeom>
              <a:avLst/>
              <a:gdLst>
                <a:gd name="T0" fmla="*/ 0 w 5233536"/>
                <a:gd name="T1" fmla="*/ 4094051 h 4081111"/>
                <a:gd name="T2" fmla="*/ 3350032 w 5233536"/>
                <a:gd name="T3" fmla="*/ 1943 h 4081111"/>
                <a:gd name="T4" fmla="*/ 5237106 w 5233536"/>
                <a:gd name="T5" fmla="*/ 0 h 4081111"/>
                <a:gd name="T6" fmla="*/ 0 60000 65536"/>
                <a:gd name="T7" fmla="*/ 0 60000 65536"/>
                <a:gd name="T8" fmla="*/ 0 60000 65536"/>
              </a:gdLst>
              <a:ahLst/>
              <a:cxnLst>
                <a:cxn ang="T6">
                  <a:pos x="T0" y="T1"/>
                </a:cxn>
                <a:cxn ang="T7">
                  <a:pos x="T2" y="T3"/>
                </a:cxn>
                <a:cxn ang="T8">
                  <a:pos x="T4" y="T5"/>
                </a:cxn>
              </a:cxnLst>
              <a:rect l="0" t="0" r="r" b="b"/>
              <a:pathLst>
                <a:path w="5233536" h="4081111">
                  <a:moveTo>
                    <a:pt x="0" y="4081111"/>
                  </a:moveTo>
                  <a:lnTo>
                    <a:pt x="3347745" y="1936"/>
                  </a:lnTo>
                  <a:lnTo>
                    <a:pt x="5233536" y="0"/>
                  </a:lnTo>
                </a:path>
              </a:pathLst>
            </a:custGeom>
            <a:noFill/>
            <a:ln w="57150" cap="flat" cmpd="sng">
              <a:solidFill>
                <a:schemeClr val="accent1">
                  <a:lumMod val="100000"/>
                </a:schemeClr>
              </a:solidFill>
              <a:prstDash val="solid"/>
              <a:miter lim="400000"/>
              <a:headEnd type="none" w="med" len="med"/>
              <a:tailEnd type="none" w="med" len="med"/>
            </a:ln>
            <a:extLst>
              <a:ext uri="{909E8E84-426E-40DD-AFC4-6F175D3DCCD1}">
                <a14:hiddenFill xmlns:a14="http://schemas.microsoft.com/office/drawing/2010/main">
                  <a:solidFill>
                    <a:srgbClr val="FFFFFF"/>
                  </a:solidFill>
                </a14:hiddenFill>
              </a:ext>
            </a:extLst>
          </p:spPr>
          <p:txBody>
            <a:bodyPr wrap="square" lIns="0" tIns="0" rIns="0" bIns="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500" b="0" i="0" u="none" strike="noStrike" kern="1200" cap="none" spc="0" normalizeH="0" baseline="0" noProof="0">
                <a:ln>
                  <a:noFill/>
                </a:ln>
                <a:solidFill>
                  <a:srgbClr val="009FDE"/>
                </a:solidFill>
                <a:effectLst/>
                <a:uLnTx/>
                <a:uFillTx/>
                <a:latin typeface="Arial"/>
                <a:cs typeface="+mn-ea"/>
                <a:sym typeface="+mn-lt"/>
              </a:endParaRPr>
            </a:p>
          </p:txBody>
        </p:sp>
        <p:sp>
          <p:nvSpPr>
            <p:cNvPr id="47" name="Oval 66">
              <a:extLst>
                <a:ext uri="{FF2B5EF4-FFF2-40B4-BE49-F238E27FC236}">
                  <a16:creationId xmlns:a16="http://schemas.microsoft.com/office/drawing/2014/main" id="{49572DAF-4B4A-443F-8700-313349F169B6}"/>
                </a:ext>
              </a:extLst>
            </p:cNvPr>
            <p:cNvSpPr>
              <a:spLocks noChangeArrowheads="1"/>
            </p:cNvSpPr>
            <p:nvPr/>
          </p:nvSpPr>
          <p:spPr bwMode="auto">
            <a:xfrm>
              <a:off x="6172631" y="10276603"/>
              <a:ext cx="307976" cy="216396"/>
            </a:xfrm>
            <a:prstGeom prst="ellipse">
              <a:avLst/>
            </a:prstGeom>
            <a:solidFill>
              <a:schemeClr val="accent1">
                <a:lumMod val="100000"/>
              </a:schemeClr>
            </a:solidFill>
            <a:ln w="57150">
              <a:solidFill>
                <a:schemeClr val="accent1">
                  <a:lumMod val="100000"/>
                </a:schemeClr>
              </a:solidFill>
              <a:miter lim="400000"/>
              <a:headEnd/>
              <a:tailEnd/>
            </a:ln>
          </p:spPr>
          <p:txBody>
            <a:bodyPr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altLang="en-US" sz="500" b="0" i="0" u="none" strike="noStrike" kern="1200" cap="none" spc="0" normalizeH="0" baseline="0" noProof="0">
                <a:ln>
                  <a:noFill/>
                </a:ln>
                <a:solidFill>
                  <a:srgbClr val="009FDE"/>
                </a:solidFill>
                <a:effectLst/>
                <a:uLnTx/>
                <a:uFillTx/>
                <a:latin typeface="Arial"/>
                <a:cs typeface="+mn-ea"/>
                <a:sym typeface="+mn-lt"/>
              </a:endParaRPr>
            </a:p>
          </p:txBody>
        </p:sp>
        <p:sp>
          <p:nvSpPr>
            <p:cNvPr id="48" name="Oval 66">
              <a:extLst>
                <a:ext uri="{FF2B5EF4-FFF2-40B4-BE49-F238E27FC236}">
                  <a16:creationId xmlns:a16="http://schemas.microsoft.com/office/drawing/2014/main" id="{DF912E8A-14FB-4384-947C-1F1C7D55F367}"/>
                </a:ext>
              </a:extLst>
            </p:cNvPr>
            <p:cNvSpPr>
              <a:spLocks noChangeArrowheads="1"/>
            </p:cNvSpPr>
            <p:nvPr/>
          </p:nvSpPr>
          <p:spPr bwMode="auto">
            <a:xfrm>
              <a:off x="7341028" y="8916137"/>
              <a:ext cx="309564" cy="216396"/>
            </a:xfrm>
            <a:prstGeom prst="ellipse">
              <a:avLst/>
            </a:prstGeom>
            <a:solidFill>
              <a:schemeClr val="tx2"/>
            </a:solidFill>
            <a:ln w="57150">
              <a:solidFill>
                <a:schemeClr val="accent1">
                  <a:lumMod val="100000"/>
                </a:schemeClr>
              </a:solidFill>
              <a:miter lim="400000"/>
              <a:headEnd/>
              <a:tailEnd/>
            </a:ln>
          </p:spPr>
          <p:txBody>
            <a:bodyPr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altLang="en-US" sz="500" b="0" i="0" u="none" strike="noStrike" kern="1200" cap="none" spc="0" normalizeH="0" baseline="0" noProof="0">
                <a:ln>
                  <a:noFill/>
                </a:ln>
                <a:solidFill>
                  <a:srgbClr val="009FDE"/>
                </a:solidFill>
                <a:effectLst/>
                <a:uLnTx/>
                <a:uFillTx/>
                <a:latin typeface="Arial"/>
                <a:cs typeface="+mn-ea"/>
                <a:sym typeface="+mn-lt"/>
              </a:endParaRPr>
            </a:p>
          </p:txBody>
        </p:sp>
        <p:sp>
          <p:nvSpPr>
            <p:cNvPr id="49" name="Oval 66">
              <a:extLst>
                <a:ext uri="{FF2B5EF4-FFF2-40B4-BE49-F238E27FC236}">
                  <a16:creationId xmlns:a16="http://schemas.microsoft.com/office/drawing/2014/main" id="{EA4E62D7-0DC3-41F8-93F2-5D536AA58AC4}"/>
                </a:ext>
              </a:extLst>
            </p:cNvPr>
            <p:cNvSpPr>
              <a:spLocks noChangeArrowheads="1"/>
            </p:cNvSpPr>
            <p:nvPr/>
          </p:nvSpPr>
          <p:spPr bwMode="auto">
            <a:xfrm>
              <a:off x="8425816" y="7560431"/>
              <a:ext cx="309564" cy="216396"/>
            </a:xfrm>
            <a:prstGeom prst="ellipse">
              <a:avLst/>
            </a:prstGeom>
            <a:solidFill>
              <a:schemeClr val="tx2"/>
            </a:solidFill>
            <a:ln w="57150">
              <a:solidFill>
                <a:schemeClr val="accent1">
                  <a:lumMod val="100000"/>
                </a:schemeClr>
              </a:solidFill>
              <a:miter lim="400000"/>
              <a:headEnd/>
              <a:tailEnd/>
            </a:ln>
          </p:spPr>
          <p:txBody>
            <a:bodyPr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altLang="en-US" sz="500" b="0" i="0" u="none" strike="noStrike" kern="1200" cap="none" spc="0" normalizeH="0" baseline="0" noProof="0">
                <a:ln>
                  <a:noFill/>
                </a:ln>
                <a:solidFill>
                  <a:srgbClr val="009FDE"/>
                </a:solidFill>
                <a:effectLst/>
                <a:uLnTx/>
                <a:uFillTx/>
                <a:latin typeface="Arial"/>
                <a:cs typeface="+mn-ea"/>
                <a:sym typeface="+mn-lt"/>
              </a:endParaRPr>
            </a:p>
          </p:txBody>
        </p:sp>
      </p:grpSp>
      <p:grpSp>
        <p:nvGrpSpPr>
          <p:cNvPr id="7" name="Группа 105">
            <a:extLst>
              <a:ext uri="{FF2B5EF4-FFF2-40B4-BE49-F238E27FC236}">
                <a16:creationId xmlns:a16="http://schemas.microsoft.com/office/drawing/2014/main" id="{BAE0CF5D-AA0D-4FA8-B47F-3B7BB4894F5B}"/>
              </a:ext>
            </a:extLst>
          </p:cNvPr>
          <p:cNvGrpSpPr/>
          <p:nvPr/>
        </p:nvGrpSpPr>
        <p:grpSpPr>
          <a:xfrm>
            <a:off x="5073231" y="1019703"/>
            <a:ext cx="2649868" cy="4818593"/>
            <a:chOff x="4406339" y="1512392"/>
            <a:chExt cx="5299735" cy="9637185"/>
          </a:xfrm>
        </p:grpSpPr>
        <p:grpSp>
          <p:nvGrpSpPr>
            <p:cNvPr id="14" name="Группа 106">
              <a:extLst>
                <a:ext uri="{FF2B5EF4-FFF2-40B4-BE49-F238E27FC236}">
                  <a16:creationId xmlns:a16="http://schemas.microsoft.com/office/drawing/2014/main" id="{CB879944-4A59-49B3-BBB7-2AC3DD1255E7}"/>
                </a:ext>
              </a:extLst>
            </p:cNvPr>
            <p:cNvGrpSpPr/>
            <p:nvPr/>
          </p:nvGrpSpPr>
          <p:grpSpPr>
            <a:xfrm>
              <a:off x="4440435" y="2949722"/>
              <a:ext cx="3740150" cy="611248"/>
              <a:chOff x="4440435" y="2949722"/>
              <a:chExt cx="3740150" cy="611248"/>
            </a:xfrm>
          </p:grpSpPr>
          <p:cxnSp>
            <p:nvCxnSpPr>
              <p:cNvPr id="32" name="Прямая соединительная линия 154">
                <a:extLst>
                  <a:ext uri="{FF2B5EF4-FFF2-40B4-BE49-F238E27FC236}">
                    <a16:creationId xmlns:a16="http://schemas.microsoft.com/office/drawing/2014/main" id="{35CE20EC-56A6-44A9-A47F-3FA26C9E6354}"/>
                  </a:ext>
                </a:extLst>
              </p:cNvPr>
              <p:cNvCxnSpPr>
                <a:cxnSpLocks/>
              </p:cNvCxnSpPr>
              <p:nvPr/>
            </p:nvCxnSpPr>
            <p:spPr bwMode="auto">
              <a:xfrm>
                <a:off x="4526085" y="3560970"/>
                <a:ext cx="2814944" cy="0"/>
              </a:xfrm>
              <a:prstGeom prst="line">
                <a:avLst/>
              </a:prstGeom>
              <a:blipFill dpi="0" rotWithShape="0">
                <a:blip r:embed="rId4"/>
                <a:srcRect/>
                <a:tile tx="0" ty="0" sx="100000" sy="100000" flip="none" algn="tl"/>
              </a:blipFill>
              <a:ln w="57150" cap="flat" cmpd="sng" algn="ctr">
                <a:solidFill>
                  <a:schemeClr val="accent1">
                    <a:lumMod val="100000"/>
                  </a:schemeClr>
                </a:solidFill>
                <a:prstDash val="solid"/>
                <a:miter lim="400000"/>
                <a:headEnd type="none" w="med" len="med"/>
                <a:tailEnd type="none" w="med" len="med"/>
              </a:ln>
              <a:effectLst/>
            </p:spPr>
          </p:cxnSp>
          <p:sp>
            <p:nvSpPr>
              <p:cNvPr id="33" name="TextBox 46">
                <a:extLst>
                  <a:ext uri="{FF2B5EF4-FFF2-40B4-BE49-F238E27FC236}">
                    <a16:creationId xmlns:a16="http://schemas.microsoft.com/office/drawing/2014/main" id="{83866A69-C316-4DF7-89B7-3D32EBD3BAD3}"/>
                  </a:ext>
                </a:extLst>
              </p:cNvPr>
              <p:cNvSpPr txBox="1">
                <a:spLocks noChangeArrowheads="1"/>
              </p:cNvSpPr>
              <p:nvPr/>
            </p:nvSpPr>
            <p:spPr bwMode="auto">
              <a:xfrm>
                <a:off x="4440435" y="2949722"/>
                <a:ext cx="3740150" cy="4924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1pPr>
                <a:lvl2pPr marL="742950" indent="-28575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2pPr>
                <a:lvl3pPr marL="11430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3pPr>
                <a:lvl4pPr marL="16002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4pPr>
                <a:lvl5pPr marL="20574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5pPr>
                <a:lvl6pPr marL="25146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6pPr>
                <a:lvl7pPr marL="29718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7pPr>
                <a:lvl8pPr marL="34290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8pPr>
                <a:lvl9pPr marL="38862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000" b="1" i="0" u="none" strike="noStrike" kern="1200" cap="none" spc="0" normalizeH="0" baseline="0" noProof="0" dirty="0">
                    <a:ln>
                      <a:noFill/>
                    </a:ln>
                    <a:solidFill>
                      <a:schemeClr val="accent1"/>
                    </a:solidFill>
                    <a:effectLst/>
                    <a:uLnTx/>
                    <a:uFillTx/>
                    <a:latin typeface="Arial"/>
                    <a:ea typeface="+mn-ea"/>
                    <a:cs typeface="+mn-ea"/>
                    <a:sym typeface="+mn-lt"/>
                  </a:rPr>
                  <a:t>Information text</a:t>
                </a:r>
              </a:p>
            </p:txBody>
          </p:sp>
        </p:grpSp>
        <p:grpSp>
          <p:nvGrpSpPr>
            <p:cNvPr id="15" name="Группа 109">
              <a:extLst>
                <a:ext uri="{FF2B5EF4-FFF2-40B4-BE49-F238E27FC236}">
                  <a16:creationId xmlns:a16="http://schemas.microsoft.com/office/drawing/2014/main" id="{BB07D84E-C427-400D-AD76-82EB20709265}"/>
                </a:ext>
              </a:extLst>
            </p:cNvPr>
            <p:cNvGrpSpPr/>
            <p:nvPr/>
          </p:nvGrpSpPr>
          <p:grpSpPr>
            <a:xfrm>
              <a:off x="4440435" y="4297650"/>
              <a:ext cx="4153650" cy="628747"/>
              <a:chOff x="4440435" y="4297650"/>
              <a:chExt cx="4153650" cy="628747"/>
            </a:xfrm>
          </p:grpSpPr>
          <p:cxnSp>
            <p:nvCxnSpPr>
              <p:cNvPr id="30" name="Прямая соединительная линия 130">
                <a:extLst>
                  <a:ext uri="{FF2B5EF4-FFF2-40B4-BE49-F238E27FC236}">
                    <a16:creationId xmlns:a16="http://schemas.microsoft.com/office/drawing/2014/main" id="{DD8D81C4-1BB4-42B9-958D-EC80DEE67E03}"/>
                  </a:ext>
                </a:extLst>
              </p:cNvPr>
              <p:cNvCxnSpPr>
                <a:cxnSpLocks/>
              </p:cNvCxnSpPr>
              <p:nvPr/>
            </p:nvCxnSpPr>
            <p:spPr bwMode="auto">
              <a:xfrm>
                <a:off x="4526085" y="4916624"/>
                <a:ext cx="4068000" cy="9773"/>
              </a:xfrm>
              <a:prstGeom prst="line">
                <a:avLst/>
              </a:prstGeom>
              <a:blipFill dpi="0" rotWithShape="0">
                <a:blip r:embed="rId4"/>
                <a:srcRect/>
                <a:tile tx="0" ty="0" sx="100000" sy="100000" flip="none" algn="tl"/>
              </a:blipFill>
              <a:ln w="57150" cap="flat" cmpd="sng" algn="ctr">
                <a:solidFill>
                  <a:schemeClr val="accent1">
                    <a:lumMod val="100000"/>
                  </a:schemeClr>
                </a:solidFill>
                <a:prstDash val="solid"/>
                <a:miter lim="400000"/>
                <a:headEnd type="none" w="med" len="med"/>
                <a:tailEnd type="none" w="med" len="med"/>
              </a:ln>
              <a:effectLst/>
            </p:spPr>
          </p:cxnSp>
          <p:sp>
            <p:nvSpPr>
              <p:cNvPr id="31" name="TextBox 46">
                <a:extLst>
                  <a:ext uri="{FF2B5EF4-FFF2-40B4-BE49-F238E27FC236}">
                    <a16:creationId xmlns:a16="http://schemas.microsoft.com/office/drawing/2014/main" id="{36BD479D-465E-4960-912C-46E0DD3532E1}"/>
                  </a:ext>
                </a:extLst>
              </p:cNvPr>
              <p:cNvSpPr txBox="1">
                <a:spLocks noChangeArrowheads="1"/>
              </p:cNvSpPr>
              <p:nvPr/>
            </p:nvSpPr>
            <p:spPr bwMode="auto">
              <a:xfrm>
                <a:off x="4440435" y="4297650"/>
                <a:ext cx="3740150" cy="4924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1pPr>
                <a:lvl2pPr marL="742950" indent="-28575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2pPr>
                <a:lvl3pPr marL="11430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3pPr>
                <a:lvl4pPr marL="16002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4pPr>
                <a:lvl5pPr marL="20574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5pPr>
                <a:lvl6pPr marL="25146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6pPr>
                <a:lvl7pPr marL="29718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7pPr>
                <a:lvl8pPr marL="34290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8pPr>
                <a:lvl9pPr marL="38862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000" b="1" i="0" u="none" strike="noStrike" kern="1200" cap="none" spc="0" normalizeH="0" baseline="0" noProof="0" dirty="0">
                    <a:ln>
                      <a:noFill/>
                    </a:ln>
                    <a:solidFill>
                      <a:schemeClr val="accent1"/>
                    </a:solidFill>
                    <a:effectLst/>
                    <a:uLnTx/>
                    <a:uFillTx/>
                    <a:latin typeface="Arial"/>
                    <a:ea typeface="+mn-ea"/>
                    <a:cs typeface="+mn-ea"/>
                    <a:sym typeface="+mn-lt"/>
                  </a:rPr>
                  <a:t>Information text demo</a:t>
                </a:r>
              </a:p>
            </p:txBody>
          </p:sp>
        </p:grpSp>
        <p:cxnSp>
          <p:nvCxnSpPr>
            <p:cNvPr id="16" name="Прямая соединительная линия 111">
              <a:extLst>
                <a:ext uri="{FF2B5EF4-FFF2-40B4-BE49-F238E27FC236}">
                  <a16:creationId xmlns:a16="http://schemas.microsoft.com/office/drawing/2014/main" id="{D8A190EA-1785-43C1-B376-C1B25462BEBB}"/>
                </a:ext>
              </a:extLst>
            </p:cNvPr>
            <p:cNvCxnSpPr>
              <a:cxnSpLocks/>
            </p:cNvCxnSpPr>
            <p:nvPr/>
          </p:nvCxnSpPr>
          <p:spPr bwMode="auto">
            <a:xfrm>
              <a:off x="4526085" y="7679272"/>
              <a:ext cx="4068000" cy="9773"/>
            </a:xfrm>
            <a:prstGeom prst="line">
              <a:avLst/>
            </a:prstGeom>
            <a:blipFill dpi="0" rotWithShape="0">
              <a:blip r:embed="rId4"/>
              <a:srcRect/>
              <a:tile tx="0" ty="0" sx="100000" sy="100000" flip="none" algn="tl"/>
            </a:blipFill>
            <a:ln w="57150" cap="flat" cmpd="sng" algn="ctr">
              <a:solidFill>
                <a:schemeClr val="accent1">
                  <a:lumMod val="100000"/>
                </a:schemeClr>
              </a:solidFill>
              <a:prstDash val="solid"/>
              <a:miter lim="400000"/>
              <a:headEnd type="none" w="med" len="med"/>
              <a:tailEnd type="none" w="med" len="med"/>
            </a:ln>
            <a:effectLst/>
          </p:spPr>
        </p:cxnSp>
        <p:sp>
          <p:nvSpPr>
            <p:cNvPr id="17" name="TextBox 46">
              <a:extLst>
                <a:ext uri="{FF2B5EF4-FFF2-40B4-BE49-F238E27FC236}">
                  <a16:creationId xmlns:a16="http://schemas.microsoft.com/office/drawing/2014/main" id="{84F4968F-3E34-40E2-B2DA-55C31DE6CD42}"/>
                </a:ext>
              </a:extLst>
            </p:cNvPr>
            <p:cNvSpPr txBox="1">
              <a:spLocks noChangeArrowheads="1"/>
            </p:cNvSpPr>
            <p:nvPr/>
          </p:nvSpPr>
          <p:spPr bwMode="auto">
            <a:xfrm>
              <a:off x="4440435" y="7879499"/>
              <a:ext cx="3740149" cy="4924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1pPr>
              <a:lvl2pPr marL="742950" indent="-28575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2pPr>
              <a:lvl3pPr marL="11430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3pPr>
              <a:lvl4pPr marL="16002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4pPr>
              <a:lvl5pPr marL="20574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5pPr>
              <a:lvl6pPr marL="25146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6pPr>
              <a:lvl7pPr marL="29718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7pPr>
              <a:lvl8pPr marL="34290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8pPr>
              <a:lvl9pPr marL="38862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000" b="1" i="0" u="none" strike="noStrike" kern="1200" cap="none" spc="0" normalizeH="0" baseline="0" noProof="0" dirty="0">
                  <a:ln>
                    <a:noFill/>
                  </a:ln>
                  <a:solidFill>
                    <a:schemeClr val="accent1"/>
                  </a:solidFill>
                  <a:effectLst/>
                  <a:uLnTx/>
                  <a:uFillTx/>
                  <a:latin typeface="Arial"/>
                  <a:ea typeface="+mn-ea"/>
                  <a:cs typeface="+mn-ea"/>
                  <a:sym typeface="+mn-lt"/>
                </a:rPr>
                <a:t>Information text demo</a:t>
              </a:r>
            </a:p>
          </p:txBody>
        </p:sp>
        <p:cxnSp>
          <p:nvCxnSpPr>
            <p:cNvPr id="18" name="Прямая соединительная линия 113">
              <a:extLst>
                <a:ext uri="{FF2B5EF4-FFF2-40B4-BE49-F238E27FC236}">
                  <a16:creationId xmlns:a16="http://schemas.microsoft.com/office/drawing/2014/main" id="{E24DBF4E-660D-4B9B-A1A0-219F29EB55CB}"/>
                </a:ext>
              </a:extLst>
            </p:cNvPr>
            <p:cNvCxnSpPr>
              <a:cxnSpLocks/>
            </p:cNvCxnSpPr>
            <p:nvPr/>
          </p:nvCxnSpPr>
          <p:spPr bwMode="auto">
            <a:xfrm>
              <a:off x="4526085" y="9022080"/>
              <a:ext cx="2814944" cy="0"/>
            </a:xfrm>
            <a:prstGeom prst="line">
              <a:avLst/>
            </a:prstGeom>
            <a:blipFill dpi="0" rotWithShape="0">
              <a:blip r:embed="rId4"/>
              <a:srcRect/>
              <a:tile tx="0" ty="0" sx="100000" sy="100000" flip="none" algn="tl"/>
            </a:blipFill>
            <a:ln w="57150" cap="flat" cmpd="sng" algn="ctr">
              <a:solidFill>
                <a:schemeClr val="accent1">
                  <a:lumMod val="100000"/>
                </a:schemeClr>
              </a:solidFill>
              <a:prstDash val="solid"/>
              <a:miter lim="400000"/>
              <a:headEnd type="none" w="med" len="med"/>
              <a:tailEnd type="none" w="med" len="med"/>
            </a:ln>
            <a:effectLst/>
          </p:spPr>
        </p:cxnSp>
        <p:sp>
          <p:nvSpPr>
            <p:cNvPr id="19" name="TextBox 46">
              <a:extLst>
                <a:ext uri="{FF2B5EF4-FFF2-40B4-BE49-F238E27FC236}">
                  <a16:creationId xmlns:a16="http://schemas.microsoft.com/office/drawing/2014/main" id="{E8ED23A4-4AF5-4477-B7E9-93DFAA98D03C}"/>
                </a:ext>
              </a:extLst>
            </p:cNvPr>
            <p:cNvSpPr txBox="1">
              <a:spLocks noChangeArrowheads="1"/>
            </p:cNvSpPr>
            <p:nvPr/>
          </p:nvSpPr>
          <p:spPr bwMode="auto">
            <a:xfrm>
              <a:off x="4440435" y="9230033"/>
              <a:ext cx="3740149" cy="4924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1pPr>
              <a:lvl2pPr marL="742950" indent="-28575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2pPr>
              <a:lvl3pPr marL="11430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3pPr>
              <a:lvl4pPr marL="16002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4pPr>
              <a:lvl5pPr marL="20574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5pPr>
              <a:lvl6pPr marL="25146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6pPr>
              <a:lvl7pPr marL="29718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7pPr>
              <a:lvl8pPr marL="34290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8pPr>
              <a:lvl9pPr marL="38862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000" b="1" i="0" u="none" strike="noStrike" kern="1200" cap="none" spc="0" normalizeH="0" baseline="0" noProof="0" dirty="0">
                  <a:ln>
                    <a:noFill/>
                  </a:ln>
                  <a:solidFill>
                    <a:schemeClr val="accent1"/>
                  </a:solidFill>
                  <a:effectLst/>
                  <a:uLnTx/>
                  <a:uFillTx/>
                  <a:latin typeface="Arial"/>
                  <a:ea typeface="+mn-ea"/>
                  <a:cs typeface="+mn-ea"/>
                  <a:sym typeface="+mn-lt"/>
                </a:rPr>
                <a:t>Information text</a:t>
              </a:r>
            </a:p>
          </p:txBody>
        </p:sp>
        <p:sp>
          <p:nvSpPr>
            <p:cNvPr id="20" name="TextBox 46">
              <a:extLst>
                <a:ext uri="{FF2B5EF4-FFF2-40B4-BE49-F238E27FC236}">
                  <a16:creationId xmlns:a16="http://schemas.microsoft.com/office/drawing/2014/main" id="{607588C8-BF09-4278-8382-4A2AEAB5C9DE}"/>
                </a:ext>
              </a:extLst>
            </p:cNvPr>
            <p:cNvSpPr txBox="1">
              <a:spLocks noChangeArrowheads="1"/>
            </p:cNvSpPr>
            <p:nvPr/>
          </p:nvSpPr>
          <p:spPr bwMode="auto">
            <a:xfrm>
              <a:off x="4406339" y="1512392"/>
              <a:ext cx="1741502" cy="615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1pPr>
              <a:lvl2pPr marL="742950" indent="-28575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2pPr>
              <a:lvl3pPr marL="11430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3pPr>
              <a:lvl4pPr marL="16002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4pPr>
              <a:lvl5pPr marL="20574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5pPr>
              <a:lvl6pPr marL="25146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6pPr>
              <a:lvl7pPr marL="29718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7pPr>
              <a:lvl8pPr marL="34290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8pPr>
              <a:lvl9pPr marL="38862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400" b="1" i="0" u="none" strike="noStrike" kern="1200" cap="none" spc="0" normalizeH="0" baseline="0" noProof="0" dirty="0">
                  <a:ln>
                    <a:noFill/>
                  </a:ln>
                  <a:solidFill>
                    <a:schemeClr val="accent1"/>
                  </a:solidFill>
                  <a:effectLst/>
                  <a:uLnTx/>
                  <a:uFillTx/>
                  <a:latin typeface="Arial"/>
                  <a:ea typeface="+mn-ea"/>
                  <a:cs typeface="+mn-ea"/>
                  <a:sym typeface="+mn-lt"/>
                </a:rPr>
                <a:t>Cause </a:t>
              </a:r>
              <a:r>
                <a:rPr kumimoji="0" lang="ru-RU" altLang="en-US" sz="1400" b="1" i="0" u="none" strike="noStrike" kern="1200" cap="none" spc="0" normalizeH="0" baseline="0" noProof="0" dirty="0">
                  <a:ln>
                    <a:noFill/>
                  </a:ln>
                  <a:solidFill>
                    <a:schemeClr val="accent1"/>
                  </a:solidFill>
                  <a:effectLst/>
                  <a:uLnTx/>
                  <a:uFillTx/>
                  <a:latin typeface="Arial"/>
                  <a:ea typeface="+mn-ea"/>
                  <a:cs typeface="+mn-ea"/>
                  <a:sym typeface="+mn-lt"/>
                </a:rPr>
                <a:t>3</a:t>
              </a:r>
              <a:endParaRPr kumimoji="0" lang="en-US" altLang="en-US" sz="1400" b="1" i="0" u="none" strike="noStrike" kern="1200" cap="none" spc="0" normalizeH="0" baseline="0" noProof="0" dirty="0">
                <a:ln>
                  <a:noFill/>
                </a:ln>
                <a:solidFill>
                  <a:schemeClr val="accent1"/>
                </a:solidFill>
                <a:effectLst/>
                <a:uLnTx/>
                <a:uFillTx/>
                <a:latin typeface="Arial"/>
                <a:ea typeface="+mn-ea"/>
                <a:cs typeface="+mn-ea"/>
                <a:sym typeface="+mn-lt"/>
              </a:endParaRPr>
            </a:p>
          </p:txBody>
        </p:sp>
        <p:sp>
          <p:nvSpPr>
            <p:cNvPr id="21" name="TextBox 46">
              <a:extLst>
                <a:ext uri="{FF2B5EF4-FFF2-40B4-BE49-F238E27FC236}">
                  <a16:creationId xmlns:a16="http://schemas.microsoft.com/office/drawing/2014/main" id="{AA5F915D-B400-4B08-B6AD-E4B256B3B2A8}"/>
                </a:ext>
              </a:extLst>
            </p:cNvPr>
            <p:cNvSpPr txBox="1">
              <a:spLocks noChangeArrowheads="1"/>
            </p:cNvSpPr>
            <p:nvPr/>
          </p:nvSpPr>
          <p:spPr bwMode="auto">
            <a:xfrm>
              <a:off x="4406339" y="10534023"/>
              <a:ext cx="1741502" cy="615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1pPr>
              <a:lvl2pPr marL="742950" indent="-28575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2pPr>
              <a:lvl3pPr marL="11430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3pPr>
              <a:lvl4pPr marL="16002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4pPr>
              <a:lvl5pPr marL="20574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5pPr>
              <a:lvl6pPr marL="25146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6pPr>
              <a:lvl7pPr marL="29718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7pPr>
              <a:lvl8pPr marL="34290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8pPr>
              <a:lvl9pPr marL="38862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400" b="1" i="0" u="none" strike="noStrike" kern="1200" cap="none" spc="0" normalizeH="0" baseline="0" noProof="0" dirty="0">
                  <a:ln>
                    <a:noFill/>
                  </a:ln>
                  <a:solidFill>
                    <a:schemeClr val="accent1"/>
                  </a:solidFill>
                  <a:effectLst/>
                  <a:uLnTx/>
                  <a:uFillTx/>
                  <a:latin typeface="Arial"/>
                  <a:ea typeface="+mn-ea"/>
                  <a:cs typeface="+mn-ea"/>
                  <a:sym typeface="+mn-lt"/>
                </a:rPr>
                <a:t>Cause </a:t>
              </a:r>
              <a:r>
                <a:rPr kumimoji="0" lang="ru-RU" altLang="en-US" sz="1400" b="1" i="0" u="none" strike="noStrike" kern="1200" cap="none" spc="0" normalizeH="0" baseline="0" noProof="0" dirty="0">
                  <a:ln>
                    <a:noFill/>
                  </a:ln>
                  <a:solidFill>
                    <a:schemeClr val="accent1"/>
                  </a:solidFill>
                  <a:effectLst/>
                  <a:uLnTx/>
                  <a:uFillTx/>
                  <a:latin typeface="Arial"/>
                  <a:ea typeface="+mn-ea"/>
                  <a:cs typeface="+mn-ea"/>
                  <a:sym typeface="+mn-lt"/>
                </a:rPr>
                <a:t>4</a:t>
              </a:r>
              <a:endParaRPr kumimoji="0" lang="en-US" altLang="en-US" sz="1400" b="1" i="0" u="none" strike="noStrike" kern="1200" cap="none" spc="0" normalizeH="0" baseline="0" noProof="0" dirty="0">
                <a:ln>
                  <a:noFill/>
                </a:ln>
                <a:solidFill>
                  <a:schemeClr val="accent1"/>
                </a:solidFill>
                <a:effectLst/>
                <a:uLnTx/>
                <a:uFillTx/>
                <a:latin typeface="Arial"/>
                <a:ea typeface="+mn-ea"/>
                <a:cs typeface="+mn-ea"/>
                <a:sym typeface="+mn-lt"/>
              </a:endParaRPr>
            </a:p>
          </p:txBody>
        </p:sp>
        <p:sp>
          <p:nvSpPr>
            <p:cNvPr id="22" name="Freeform 8">
              <a:extLst>
                <a:ext uri="{FF2B5EF4-FFF2-40B4-BE49-F238E27FC236}">
                  <a16:creationId xmlns:a16="http://schemas.microsoft.com/office/drawing/2014/main" id="{828F1CAB-119C-4A55-9CEF-53F76F714DA8}"/>
                </a:ext>
              </a:extLst>
            </p:cNvPr>
            <p:cNvSpPr>
              <a:spLocks/>
            </p:cNvSpPr>
            <p:nvPr/>
          </p:nvSpPr>
          <p:spPr bwMode="auto">
            <a:xfrm flipH="1">
              <a:off x="4526085" y="4139226"/>
              <a:ext cx="5178953" cy="153888"/>
            </a:xfrm>
            <a:custGeom>
              <a:avLst/>
              <a:gdLst>
                <a:gd name="T0" fmla="*/ 0 w 5233536"/>
                <a:gd name="T1" fmla="*/ 4090223 h 4081111"/>
                <a:gd name="T2" fmla="*/ 3351619 w 5233536"/>
                <a:gd name="T3" fmla="*/ 1943 h 4081111"/>
                <a:gd name="T4" fmla="*/ 5239591 w 5233536"/>
                <a:gd name="T5" fmla="*/ 0 h 4081111"/>
                <a:gd name="T6" fmla="*/ 0 60000 65536"/>
                <a:gd name="T7" fmla="*/ 0 60000 65536"/>
                <a:gd name="T8" fmla="*/ 0 60000 65536"/>
              </a:gdLst>
              <a:ahLst/>
              <a:cxnLst>
                <a:cxn ang="T6">
                  <a:pos x="T0" y="T1"/>
                </a:cxn>
                <a:cxn ang="T7">
                  <a:pos x="T2" y="T3"/>
                </a:cxn>
                <a:cxn ang="T8">
                  <a:pos x="T4" y="T5"/>
                </a:cxn>
              </a:cxnLst>
              <a:rect l="0" t="0" r="r" b="b"/>
              <a:pathLst>
                <a:path w="5233536" h="4081111">
                  <a:moveTo>
                    <a:pt x="0" y="4081111"/>
                  </a:moveTo>
                  <a:lnTo>
                    <a:pt x="3347745" y="1936"/>
                  </a:lnTo>
                  <a:lnTo>
                    <a:pt x="5233536" y="0"/>
                  </a:lnTo>
                </a:path>
              </a:pathLst>
            </a:custGeom>
            <a:noFill/>
            <a:ln w="57150" cap="flat" cmpd="sng">
              <a:solidFill>
                <a:schemeClr val="accent1">
                  <a:lumMod val="100000"/>
                </a:schemeClr>
              </a:solidFill>
              <a:prstDash val="solid"/>
              <a:miter lim="400000"/>
              <a:headEnd type="none" w="med" len="med"/>
              <a:tailEnd type="none" w="med" len="med"/>
            </a:ln>
            <a:extLst>
              <a:ext uri="{909E8E84-426E-40DD-AFC4-6F175D3DCCD1}">
                <a14:hiddenFill xmlns:a14="http://schemas.microsoft.com/office/drawing/2010/main">
                  <a:solidFill>
                    <a:srgbClr val="FFFFFF"/>
                  </a:solidFill>
                </a14:hiddenFill>
              </a:ext>
            </a:extLst>
          </p:spPr>
          <p:txBody>
            <a:bodyPr wrap="square" lIns="0" tIns="0" rIns="0" bIns="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500" b="0" i="0" u="none" strike="noStrike" kern="1200" cap="none" spc="0" normalizeH="0" baseline="0" noProof="0">
                <a:ln>
                  <a:noFill/>
                </a:ln>
                <a:solidFill>
                  <a:srgbClr val="0677C7"/>
                </a:solidFill>
                <a:effectLst/>
                <a:uLnTx/>
                <a:uFillTx/>
                <a:latin typeface="Arial"/>
                <a:cs typeface="+mn-ea"/>
                <a:sym typeface="+mn-lt"/>
              </a:endParaRPr>
            </a:p>
          </p:txBody>
        </p:sp>
        <p:sp>
          <p:nvSpPr>
            <p:cNvPr id="23" name="Oval 66">
              <a:extLst>
                <a:ext uri="{FF2B5EF4-FFF2-40B4-BE49-F238E27FC236}">
                  <a16:creationId xmlns:a16="http://schemas.microsoft.com/office/drawing/2014/main" id="{BB25B3AA-18C8-4F8A-B51E-A747D6347C48}"/>
                </a:ext>
              </a:extLst>
            </p:cNvPr>
            <p:cNvSpPr>
              <a:spLocks noChangeArrowheads="1"/>
            </p:cNvSpPr>
            <p:nvPr/>
          </p:nvSpPr>
          <p:spPr bwMode="auto">
            <a:xfrm>
              <a:off x="6172253" y="2087660"/>
              <a:ext cx="308318" cy="216396"/>
            </a:xfrm>
            <a:prstGeom prst="ellipse">
              <a:avLst/>
            </a:prstGeom>
            <a:solidFill>
              <a:schemeClr val="accent1">
                <a:lumMod val="100000"/>
              </a:schemeClr>
            </a:solidFill>
            <a:ln w="57150">
              <a:solidFill>
                <a:schemeClr val="accent1">
                  <a:lumMod val="100000"/>
                </a:schemeClr>
              </a:solidFill>
              <a:miter lim="400000"/>
              <a:headEnd/>
              <a:tailEnd/>
            </a:ln>
          </p:spPr>
          <p:txBody>
            <a:bodyPr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altLang="en-US" sz="500" b="0" i="0" u="none" strike="noStrike" kern="1200" cap="none" spc="0" normalizeH="0" baseline="0" noProof="0">
                <a:ln>
                  <a:noFill/>
                </a:ln>
                <a:solidFill>
                  <a:srgbClr val="0677C7"/>
                </a:solidFill>
                <a:effectLst/>
                <a:uLnTx/>
                <a:uFillTx/>
                <a:latin typeface="Arial"/>
                <a:cs typeface="+mn-ea"/>
                <a:sym typeface="+mn-lt"/>
              </a:endParaRPr>
            </a:p>
          </p:txBody>
        </p:sp>
        <p:sp>
          <p:nvSpPr>
            <p:cNvPr id="24" name="Oval 66">
              <a:extLst>
                <a:ext uri="{FF2B5EF4-FFF2-40B4-BE49-F238E27FC236}">
                  <a16:creationId xmlns:a16="http://schemas.microsoft.com/office/drawing/2014/main" id="{B518EE84-3F60-4FE0-85EA-B1B2BCA03ED4}"/>
                </a:ext>
              </a:extLst>
            </p:cNvPr>
            <p:cNvSpPr>
              <a:spLocks noChangeArrowheads="1"/>
            </p:cNvSpPr>
            <p:nvPr/>
          </p:nvSpPr>
          <p:spPr bwMode="auto">
            <a:xfrm>
              <a:off x="7341698" y="3452930"/>
              <a:ext cx="308318" cy="216396"/>
            </a:xfrm>
            <a:prstGeom prst="ellipse">
              <a:avLst/>
            </a:prstGeom>
            <a:solidFill>
              <a:schemeClr val="tx2"/>
            </a:solidFill>
            <a:ln w="57150">
              <a:solidFill>
                <a:schemeClr val="accent1">
                  <a:lumMod val="100000"/>
                </a:schemeClr>
              </a:solidFill>
              <a:miter lim="400000"/>
              <a:headEnd/>
              <a:tailEnd/>
            </a:ln>
          </p:spPr>
          <p:txBody>
            <a:bodyPr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altLang="en-US" sz="500" b="0" i="0" u="none" strike="noStrike" kern="1200" cap="none" spc="0" normalizeH="0" baseline="0" noProof="0">
                <a:ln>
                  <a:noFill/>
                </a:ln>
                <a:solidFill>
                  <a:srgbClr val="0677C7"/>
                </a:solidFill>
                <a:effectLst/>
                <a:uLnTx/>
                <a:uFillTx/>
                <a:latin typeface="Arial"/>
                <a:cs typeface="+mn-ea"/>
                <a:sym typeface="+mn-lt"/>
              </a:endParaRPr>
            </a:p>
          </p:txBody>
        </p:sp>
        <p:sp>
          <p:nvSpPr>
            <p:cNvPr id="25" name="Oval 66">
              <a:extLst>
                <a:ext uri="{FF2B5EF4-FFF2-40B4-BE49-F238E27FC236}">
                  <a16:creationId xmlns:a16="http://schemas.microsoft.com/office/drawing/2014/main" id="{ECE9189F-E9B8-4546-93CF-33E2DECE52A6}"/>
                </a:ext>
              </a:extLst>
            </p:cNvPr>
            <p:cNvSpPr>
              <a:spLocks noChangeArrowheads="1"/>
            </p:cNvSpPr>
            <p:nvPr/>
          </p:nvSpPr>
          <p:spPr bwMode="auto">
            <a:xfrm>
              <a:off x="8426502" y="4818200"/>
              <a:ext cx="308318" cy="216396"/>
            </a:xfrm>
            <a:prstGeom prst="ellipse">
              <a:avLst/>
            </a:prstGeom>
            <a:solidFill>
              <a:schemeClr val="tx2"/>
            </a:solidFill>
            <a:ln w="57150">
              <a:solidFill>
                <a:schemeClr val="accent1">
                  <a:lumMod val="100000"/>
                </a:schemeClr>
              </a:solidFill>
              <a:miter lim="400000"/>
              <a:headEnd/>
              <a:tailEnd/>
            </a:ln>
          </p:spPr>
          <p:txBody>
            <a:bodyPr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altLang="en-US" sz="500" b="0" i="0" u="none" strike="noStrike" kern="1200" cap="none" spc="0" normalizeH="0" baseline="0" noProof="0">
                <a:ln>
                  <a:noFill/>
                </a:ln>
                <a:solidFill>
                  <a:srgbClr val="0677C7"/>
                </a:solidFill>
                <a:effectLst/>
                <a:uLnTx/>
                <a:uFillTx/>
                <a:latin typeface="Arial"/>
                <a:cs typeface="+mn-ea"/>
                <a:sym typeface="+mn-lt"/>
              </a:endParaRPr>
            </a:p>
          </p:txBody>
        </p:sp>
        <p:sp>
          <p:nvSpPr>
            <p:cNvPr id="26" name="Freeform 8">
              <a:extLst>
                <a:ext uri="{FF2B5EF4-FFF2-40B4-BE49-F238E27FC236}">
                  <a16:creationId xmlns:a16="http://schemas.microsoft.com/office/drawing/2014/main" id="{F8B5AE8B-6876-42C0-92E9-12533167FB92}"/>
                </a:ext>
              </a:extLst>
            </p:cNvPr>
            <p:cNvSpPr>
              <a:spLocks/>
            </p:cNvSpPr>
            <p:nvPr/>
          </p:nvSpPr>
          <p:spPr bwMode="auto">
            <a:xfrm flipH="1" flipV="1">
              <a:off x="4527449" y="8290169"/>
              <a:ext cx="5178625" cy="153888"/>
            </a:xfrm>
            <a:custGeom>
              <a:avLst/>
              <a:gdLst>
                <a:gd name="T0" fmla="*/ 0 w 5233536"/>
                <a:gd name="T1" fmla="*/ 4094051 h 4081111"/>
                <a:gd name="T2" fmla="*/ 3350032 w 5233536"/>
                <a:gd name="T3" fmla="*/ 1943 h 4081111"/>
                <a:gd name="T4" fmla="*/ 5237106 w 5233536"/>
                <a:gd name="T5" fmla="*/ 0 h 4081111"/>
                <a:gd name="T6" fmla="*/ 0 60000 65536"/>
                <a:gd name="T7" fmla="*/ 0 60000 65536"/>
                <a:gd name="T8" fmla="*/ 0 60000 65536"/>
              </a:gdLst>
              <a:ahLst/>
              <a:cxnLst>
                <a:cxn ang="T6">
                  <a:pos x="T0" y="T1"/>
                </a:cxn>
                <a:cxn ang="T7">
                  <a:pos x="T2" y="T3"/>
                </a:cxn>
                <a:cxn ang="T8">
                  <a:pos x="T4" y="T5"/>
                </a:cxn>
              </a:cxnLst>
              <a:rect l="0" t="0" r="r" b="b"/>
              <a:pathLst>
                <a:path w="5233536" h="4081111">
                  <a:moveTo>
                    <a:pt x="0" y="4081111"/>
                  </a:moveTo>
                  <a:lnTo>
                    <a:pt x="3347745" y="1936"/>
                  </a:lnTo>
                  <a:lnTo>
                    <a:pt x="5233536" y="0"/>
                  </a:lnTo>
                </a:path>
              </a:pathLst>
            </a:custGeom>
            <a:noFill/>
            <a:ln w="57150" cap="flat" cmpd="sng">
              <a:solidFill>
                <a:schemeClr val="accent1">
                  <a:lumMod val="100000"/>
                </a:schemeClr>
              </a:solidFill>
              <a:prstDash val="solid"/>
              <a:miter lim="400000"/>
              <a:headEnd type="none" w="med" len="med"/>
              <a:tailEnd type="none" w="med" len="med"/>
            </a:ln>
            <a:extLst>
              <a:ext uri="{909E8E84-426E-40DD-AFC4-6F175D3DCCD1}">
                <a14:hiddenFill xmlns:a14="http://schemas.microsoft.com/office/drawing/2010/main">
                  <a:solidFill>
                    <a:srgbClr val="FFFFFF"/>
                  </a:solidFill>
                </a14:hiddenFill>
              </a:ext>
            </a:extLst>
          </p:spPr>
          <p:txBody>
            <a:bodyPr wrap="square" lIns="0" tIns="0" rIns="0" bIns="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500" b="0" i="0" u="none" strike="noStrike" kern="1200" cap="none" spc="0" normalizeH="0" baseline="0" noProof="0">
                <a:ln>
                  <a:noFill/>
                </a:ln>
                <a:solidFill>
                  <a:srgbClr val="0677C7"/>
                </a:solidFill>
                <a:effectLst/>
                <a:uLnTx/>
                <a:uFillTx/>
                <a:latin typeface="Arial"/>
                <a:cs typeface="+mn-ea"/>
                <a:sym typeface="+mn-lt"/>
              </a:endParaRPr>
            </a:p>
          </p:txBody>
        </p:sp>
        <p:sp>
          <p:nvSpPr>
            <p:cNvPr id="27" name="Oval 66">
              <a:extLst>
                <a:ext uri="{FF2B5EF4-FFF2-40B4-BE49-F238E27FC236}">
                  <a16:creationId xmlns:a16="http://schemas.microsoft.com/office/drawing/2014/main" id="{BD83AAF7-1991-460D-A1F8-6A420A906D36}"/>
                </a:ext>
              </a:extLst>
            </p:cNvPr>
            <p:cNvSpPr>
              <a:spLocks noChangeArrowheads="1"/>
            </p:cNvSpPr>
            <p:nvPr/>
          </p:nvSpPr>
          <p:spPr bwMode="auto">
            <a:xfrm>
              <a:off x="6172631" y="10276603"/>
              <a:ext cx="307976" cy="216396"/>
            </a:xfrm>
            <a:prstGeom prst="ellipse">
              <a:avLst/>
            </a:prstGeom>
            <a:solidFill>
              <a:schemeClr val="accent1">
                <a:lumMod val="100000"/>
              </a:schemeClr>
            </a:solidFill>
            <a:ln w="57150">
              <a:solidFill>
                <a:schemeClr val="accent1">
                  <a:lumMod val="100000"/>
                </a:schemeClr>
              </a:solidFill>
              <a:miter lim="400000"/>
              <a:headEnd/>
              <a:tailEnd/>
            </a:ln>
          </p:spPr>
          <p:txBody>
            <a:bodyPr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altLang="en-US" sz="500" b="0" i="0" u="none" strike="noStrike" kern="1200" cap="none" spc="0" normalizeH="0" baseline="0" noProof="0">
                <a:ln>
                  <a:noFill/>
                </a:ln>
                <a:solidFill>
                  <a:srgbClr val="0677C7"/>
                </a:solidFill>
                <a:effectLst/>
                <a:uLnTx/>
                <a:uFillTx/>
                <a:latin typeface="Arial"/>
                <a:cs typeface="+mn-ea"/>
                <a:sym typeface="+mn-lt"/>
              </a:endParaRPr>
            </a:p>
          </p:txBody>
        </p:sp>
        <p:sp>
          <p:nvSpPr>
            <p:cNvPr id="28" name="Oval 66">
              <a:extLst>
                <a:ext uri="{FF2B5EF4-FFF2-40B4-BE49-F238E27FC236}">
                  <a16:creationId xmlns:a16="http://schemas.microsoft.com/office/drawing/2014/main" id="{937A5275-C3B0-4482-B54B-D8D11130B402}"/>
                </a:ext>
              </a:extLst>
            </p:cNvPr>
            <p:cNvSpPr>
              <a:spLocks noChangeArrowheads="1"/>
            </p:cNvSpPr>
            <p:nvPr/>
          </p:nvSpPr>
          <p:spPr bwMode="auto">
            <a:xfrm>
              <a:off x="7341028" y="8916137"/>
              <a:ext cx="309564" cy="216396"/>
            </a:xfrm>
            <a:prstGeom prst="ellipse">
              <a:avLst/>
            </a:prstGeom>
            <a:solidFill>
              <a:schemeClr val="tx2"/>
            </a:solidFill>
            <a:ln w="57150">
              <a:solidFill>
                <a:schemeClr val="accent1">
                  <a:lumMod val="100000"/>
                </a:schemeClr>
              </a:solidFill>
              <a:miter lim="400000"/>
              <a:headEnd/>
              <a:tailEnd/>
            </a:ln>
          </p:spPr>
          <p:txBody>
            <a:bodyPr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altLang="en-US" sz="500" b="0" i="0" u="none" strike="noStrike" kern="1200" cap="none" spc="0" normalizeH="0" baseline="0" noProof="0">
                <a:ln>
                  <a:noFill/>
                </a:ln>
                <a:solidFill>
                  <a:srgbClr val="0677C7"/>
                </a:solidFill>
                <a:effectLst/>
                <a:uLnTx/>
                <a:uFillTx/>
                <a:latin typeface="Arial"/>
                <a:cs typeface="+mn-ea"/>
                <a:sym typeface="+mn-lt"/>
              </a:endParaRPr>
            </a:p>
          </p:txBody>
        </p:sp>
        <p:sp>
          <p:nvSpPr>
            <p:cNvPr id="29" name="Oval 66">
              <a:extLst>
                <a:ext uri="{FF2B5EF4-FFF2-40B4-BE49-F238E27FC236}">
                  <a16:creationId xmlns:a16="http://schemas.microsoft.com/office/drawing/2014/main" id="{76DA94AE-AE0B-4520-AA4B-E6D52DA491CA}"/>
                </a:ext>
              </a:extLst>
            </p:cNvPr>
            <p:cNvSpPr>
              <a:spLocks noChangeArrowheads="1"/>
            </p:cNvSpPr>
            <p:nvPr/>
          </p:nvSpPr>
          <p:spPr bwMode="auto">
            <a:xfrm>
              <a:off x="8425816" y="7560431"/>
              <a:ext cx="309564" cy="216396"/>
            </a:xfrm>
            <a:prstGeom prst="ellipse">
              <a:avLst/>
            </a:prstGeom>
            <a:solidFill>
              <a:schemeClr val="tx2"/>
            </a:solidFill>
            <a:ln w="57150">
              <a:solidFill>
                <a:schemeClr val="accent1">
                  <a:lumMod val="100000"/>
                </a:schemeClr>
              </a:solidFill>
              <a:miter lim="400000"/>
              <a:headEnd/>
              <a:tailEnd/>
            </a:ln>
          </p:spPr>
          <p:txBody>
            <a:bodyPr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altLang="en-US" sz="500" b="0" i="0" u="none" strike="noStrike" kern="1200" cap="none" spc="0" normalizeH="0" baseline="0" noProof="0" dirty="0">
                <a:ln>
                  <a:noFill/>
                </a:ln>
                <a:solidFill>
                  <a:srgbClr val="0677C7"/>
                </a:solidFill>
                <a:effectLst/>
                <a:uLnTx/>
                <a:uFillTx/>
                <a:latin typeface="Arial"/>
                <a:cs typeface="+mn-ea"/>
                <a:sym typeface="+mn-lt"/>
              </a:endParaRPr>
            </a:p>
          </p:txBody>
        </p:sp>
      </p:grpSp>
      <p:grpSp>
        <p:nvGrpSpPr>
          <p:cNvPr id="8" name="Группа 13">
            <a:extLst>
              <a:ext uri="{FF2B5EF4-FFF2-40B4-BE49-F238E27FC236}">
                <a16:creationId xmlns:a16="http://schemas.microsoft.com/office/drawing/2014/main" id="{4DDF7926-AE6C-4EB6-B086-B909EF6DD4AC}"/>
              </a:ext>
            </a:extLst>
          </p:cNvPr>
          <p:cNvGrpSpPr/>
          <p:nvPr/>
        </p:nvGrpSpPr>
        <p:grpSpPr>
          <a:xfrm>
            <a:off x="4612871" y="3272872"/>
            <a:ext cx="420473" cy="307777"/>
            <a:chOff x="9062578" y="6018729"/>
            <a:chExt cx="840946" cy="615554"/>
          </a:xfrm>
        </p:grpSpPr>
        <p:sp>
          <p:nvSpPr>
            <p:cNvPr id="12" name="Oval 66">
              <a:extLst>
                <a:ext uri="{FF2B5EF4-FFF2-40B4-BE49-F238E27FC236}">
                  <a16:creationId xmlns:a16="http://schemas.microsoft.com/office/drawing/2014/main" id="{EA6ED845-977C-42A3-94FC-4B42746FC87B}"/>
                </a:ext>
              </a:extLst>
            </p:cNvPr>
            <p:cNvSpPr>
              <a:spLocks noChangeArrowheads="1"/>
            </p:cNvSpPr>
            <p:nvPr/>
          </p:nvSpPr>
          <p:spPr bwMode="auto">
            <a:xfrm>
              <a:off x="9062578" y="6182839"/>
              <a:ext cx="840946" cy="216396"/>
            </a:xfrm>
            <a:prstGeom prst="ellipse">
              <a:avLst/>
            </a:prstGeom>
            <a:solidFill>
              <a:schemeClr val="accent1">
                <a:lumMod val="100000"/>
              </a:schemeClr>
            </a:solidFill>
            <a:ln w="57150">
              <a:solidFill>
                <a:schemeClr val="accent1">
                  <a:lumMod val="100000"/>
                </a:schemeClr>
              </a:solidFill>
              <a:miter lim="400000"/>
              <a:headEnd/>
              <a:tailEnd/>
            </a:ln>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altLang="en-US" sz="500" b="0" i="0" u="none" strike="noStrike" kern="1200" cap="none" spc="0" normalizeH="0" baseline="0" noProof="0">
                <a:ln>
                  <a:noFill/>
                </a:ln>
                <a:solidFill>
                  <a:srgbClr val="000000"/>
                </a:solidFill>
                <a:effectLst/>
                <a:uLnTx/>
                <a:uFillTx/>
                <a:latin typeface="Arial"/>
                <a:cs typeface="+mn-ea"/>
                <a:sym typeface="+mn-lt"/>
              </a:endParaRPr>
            </a:p>
          </p:txBody>
        </p:sp>
        <p:sp>
          <p:nvSpPr>
            <p:cNvPr id="13" name="TextBox 46">
              <a:extLst>
                <a:ext uri="{FF2B5EF4-FFF2-40B4-BE49-F238E27FC236}">
                  <a16:creationId xmlns:a16="http://schemas.microsoft.com/office/drawing/2014/main" id="{0222BC07-4180-41C4-A501-FAD9D1FFB237}"/>
                </a:ext>
              </a:extLst>
            </p:cNvPr>
            <p:cNvSpPr txBox="1">
              <a:spLocks noChangeArrowheads="1"/>
            </p:cNvSpPr>
            <p:nvPr/>
          </p:nvSpPr>
          <p:spPr bwMode="auto">
            <a:xfrm>
              <a:off x="9195898" y="6018729"/>
              <a:ext cx="594792" cy="615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1pPr>
              <a:lvl2pPr marL="742950" indent="-28575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2pPr>
              <a:lvl3pPr marL="11430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3pPr>
              <a:lvl4pPr marL="16002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4pPr>
              <a:lvl5pPr marL="20574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5pPr>
              <a:lvl6pPr marL="25146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6pPr>
              <a:lvl7pPr marL="29718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7pPr>
              <a:lvl8pPr marL="34290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8pPr>
              <a:lvl9pPr marL="38862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400" b="1" i="0" u="none" strike="noStrike" kern="1200" cap="none" spc="0" normalizeH="0" baseline="0" noProof="0" dirty="0">
                  <a:ln>
                    <a:noFill/>
                  </a:ln>
                  <a:solidFill>
                    <a:srgbClr val="FFFFFF"/>
                  </a:solidFill>
                  <a:effectLst/>
                  <a:uLnTx/>
                  <a:uFillTx/>
                  <a:latin typeface="Arial"/>
                  <a:ea typeface="+mn-ea"/>
                  <a:cs typeface="+mn-ea"/>
                  <a:sym typeface="+mn-lt"/>
                </a:rPr>
                <a:t>A</a:t>
              </a:r>
            </a:p>
          </p:txBody>
        </p:sp>
      </p:grpSp>
      <p:grpSp>
        <p:nvGrpSpPr>
          <p:cNvPr id="9" name="Группа 182">
            <a:extLst>
              <a:ext uri="{FF2B5EF4-FFF2-40B4-BE49-F238E27FC236}">
                <a16:creationId xmlns:a16="http://schemas.microsoft.com/office/drawing/2014/main" id="{8732E303-E147-47B2-8842-96E5D617C01E}"/>
              </a:ext>
            </a:extLst>
          </p:cNvPr>
          <p:cNvGrpSpPr/>
          <p:nvPr/>
        </p:nvGrpSpPr>
        <p:grpSpPr>
          <a:xfrm>
            <a:off x="7493431" y="3270317"/>
            <a:ext cx="420473" cy="307777"/>
            <a:chOff x="9062578" y="6018729"/>
            <a:chExt cx="840946" cy="615554"/>
          </a:xfrm>
        </p:grpSpPr>
        <p:sp>
          <p:nvSpPr>
            <p:cNvPr id="10" name="Oval 66">
              <a:extLst>
                <a:ext uri="{FF2B5EF4-FFF2-40B4-BE49-F238E27FC236}">
                  <a16:creationId xmlns:a16="http://schemas.microsoft.com/office/drawing/2014/main" id="{A41684E6-45AE-455C-BF59-BE4E5F5DA0CE}"/>
                </a:ext>
              </a:extLst>
            </p:cNvPr>
            <p:cNvSpPr>
              <a:spLocks noChangeArrowheads="1"/>
            </p:cNvSpPr>
            <p:nvPr/>
          </p:nvSpPr>
          <p:spPr bwMode="auto">
            <a:xfrm>
              <a:off x="9062578" y="6182839"/>
              <a:ext cx="840946" cy="216396"/>
            </a:xfrm>
            <a:prstGeom prst="ellipse">
              <a:avLst/>
            </a:prstGeom>
            <a:solidFill>
              <a:schemeClr val="accent1">
                <a:lumMod val="100000"/>
              </a:schemeClr>
            </a:solidFill>
            <a:ln w="57150">
              <a:solidFill>
                <a:schemeClr val="accent1">
                  <a:lumMod val="100000"/>
                </a:schemeClr>
              </a:solidFill>
              <a:miter lim="400000"/>
              <a:headEnd/>
              <a:tailEnd/>
            </a:ln>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altLang="en-US" sz="500" b="0" i="0" u="none" strike="noStrike" kern="1200" cap="none" spc="0" normalizeH="0" baseline="0" noProof="0">
                <a:ln>
                  <a:noFill/>
                </a:ln>
                <a:solidFill>
                  <a:srgbClr val="000000"/>
                </a:solidFill>
                <a:effectLst/>
                <a:uLnTx/>
                <a:uFillTx/>
                <a:latin typeface="Arial"/>
                <a:cs typeface="+mn-ea"/>
                <a:sym typeface="+mn-lt"/>
              </a:endParaRPr>
            </a:p>
          </p:txBody>
        </p:sp>
        <p:sp>
          <p:nvSpPr>
            <p:cNvPr id="11" name="TextBox 46">
              <a:extLst>
                <a:ext uri="{FF2B5EF4-FFF2-40B4-BE49-F238E27FC236}">
                  <a16:creationId xmlns:a16="http://schemas.microsoft.com/office/drawing/2014/main" id="{C85FDD21-823F-41BF-9B7C-547E50882884}"/>
                </a:ext>
              </a:extLst>
            </p:cNvPr>
            <p:cNvSpPr txBox="1">
              <a:spLocks noChangeArrowheads="1"/>
            </p:cNvSpPr>
            <p:nvPr/>
          </p:nvSpPr>
          <p:spPr bwMode="auto">
            <a:xfrm>
              <a:off x="9207186" y="6018729"/>
              <a:ext cx="594792" cy="615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1pPr>
              <a:lvl2pPr marL="742950" indent="-28575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2pPr>
              <a:lvl3pPr marL="11430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3pPr>
              <a:lvl4pPr marL="16002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4pPr>
              <a:lvl5pPr marL="20574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5pPr>
              <a:lvl6pPr marL="25146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6pPr>
              <a:lvl7pPr marL="29718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7pPr>
              <a:lvl8pPr marL="34290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8pPr>
              <a:lvl9pPr marL="38862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400" b="1" i="0" u="none" strike="noStrike" kern="1200" cap="none" spc="0" normalizeH="0" baseline="0" noProof="0" dirty="0">
                  <a:ln>
                    <a:noFill/>
                  </a:ln>
                  <a:solidFill>
                    <a:srgbClr val="FFFFFF"/>
                  </a:solidFill>
                  <a:effectLst/>
                  <a:uLnTx/>
                  <a:uFillTx/>
                  <a:latin typeface="Arial"/>
                  <a:ea typeface="+mn-ea"/>
                  <a:cs typeface="+mn-ea"/>
                  <a:sym typeface="+mn-lt"/>
                </a:rPr>
                <a:t>B</a:t>
              </a:r>
            </a:p>
          </p:txBody>
        </p:sp>
      </p:grpSp>
    </p:spTree>
    <p:extLst>
      <p:ext uri="{BB962C8B-B14F-4D97-AF65-F5344CB8AC3E}">
        <p14:creationId xmlns:p14="http://schemas.microsoft.com/office/powerpoint/2010/main" val="3186335789"/>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7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Прямоугольник 5">
            <a:extLst>
              <a:ext uri="{FF2B5EF4-FFF2-40B4-BE49-F238E27FC236}">
                <a16:creationId xmlns:a16="http://schemas.microsoft.com/office/drawing/2014/main" id="{A61A1586-00B7-4DB5-B701-ACC2013D8759}"/>
              </a:ext>
            </a:extLst>
          </p:cNvPr>
          <p:cNvSpPr/>
          <p:nvPr/>
        </p:nvSpPr>
        <p:spPr bwMode="auto">
          <a:xfrm>
            <a:off x="1387189" y="3245848"/>
            <a:ext cx="7632000" cy="315471"/>
          </a:xfrm>
          <a:prstGeom prst="rect">
            <a:avLst/>
          </a:prstGeom>
          <a:solidFill>
            <a:schemeClr val="accent1">
              <a:lumMod val="40000"/>
              <a:lumOff val="60000"/>
            </a:schemeClr>
          </a:solidFill>
          <a:ln w="12700" cap="flat" cmpd="sng" algn="ctr">
            <a:noFill/>
            <a:prstDash val="solid"/>
            <a:miter lim="400000"/>
            <a:headEnd type="none" w="med" len="med"/>
            <a:tailEnd type="none" w="med" len="med"/>
          </a:ln>
          <a:effectLst/>
        </p:spPr>
        <p:txBody>
          <a:bodyPr vert="horz" wrap="square" lIns="19050" tIns="19050" rIns="19050" bIns="19050" numCol="1" rtlCol="0" anchor="ctr"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Arial"/>
              <a:cs typeface="+mn-ea"/>
              <a:sym typeface="+mn-lt"/>
            </a:endParaRPr>
          </a:p>
        </p:txBody>
      </p:sp>
      <p:sp>
        <p:nvSpPr>
          <p:cNvPr id="4" name="Фигура">
            <a:extLst>
              <a:ext uri="{FF2B5EF4-FFF2-40B4-BE49-F238E27FC236}">
                <a16:creationId xmlns:a16="http://schemas.microsoft.com/office/drawing/2014/main" id="{F290AFA1-2BE3-4AFC-B4EF-40449B7559C7}"/>
              </a:ext>
            </a:extLst>
          </p:cNvPr>
          <p:cNvSpPr/>
          <p:nvPr/>
        </p:nvSpPr>
        <p:spPr>
          <a:xfrm>
            <a:off x="454791" y="1977509"/>
            <a:ext cx="1025421" cy="2887039"/>
          </a:xfrm>
          <a:custGeom>
            <a:avLst/>
            <a:gdLst/>
            <a:ahLst/>
            <a:cxnLst>
              <a:cxn ang="0">
                <a:pos x="wd2" y="hd2"/>
              </a:cxn>
              <a:cxn ang="5400000">
                <a:pos x="wd2" y="hd2"/>
              </a:cxn>
              <a:cxn ang="10800000">
                <a:pos x="wd2" y="hd2"/>
              </a:cxn>
              <a:cxn ang="16200000">
                <a:pos x="wd2" y="hd2"/>
              </a:cxn>
            </a:cxnLst>
            <a:rect l="0" t="0" r="r" b="b"/>
            <a:pathLst>
              <a:path w="20175" h="21600" extrusionOk="0">
                <a:moveTo>
                  <a:pt x="1245" y="0"/>
                </a:moveTo>
                <a:cubicBezTo>
                  <a:pt x="6272" y="1145"/>
                  <a:pt x="10563" y="2699"/>
                  <a:pt x="13814" y="4551"/>
                </a:cubicBezTo>
                <a:cubicBezTo>
                  <a:pt x="17166" y="6460"/>
                  <a:pt x="19315" y="8593"/>
                  <a:pt x="20175" y="10795"/>
                </a:cubicBezTo>
                <a:cubicBezTo>
                  <a:pt x="19320" y="13001"/>
                  <a:pt x="17171" y="15138"/>
                  <a:pt x="13814" y="17051"/>
                </a:cubicBezTo>
                <a:cubicBezTo>
                  <a:pt x="10564" y="18902"/>
                  <a:pt x="6272" y="20455"/>
                  <a:pt x="1245" y="21600"/>
                </a:cubicBezTo>
                <a:cubicBezTo>
                  <a:pt x="1634" y="20068"/>
                  <a:pt x="1512" y="18545"/>
                  <a:pt x="913" y="17053"/>
                </a:cubicBezTo>
                <a:cubicBezTo>
                  <a:pt x="63" y="14936"/>
                  <a:pt x="-1425" y="12457"/>
                  <a:pt x="3279" y="11079"/>
                </a:cubicBezTo>
                <a:cubicBezTo>
                  <a:pt x="3597" y="10986"/>
                  <a:pt x="3916" y="10904"/>
                  <a:pt x="4278" y="10844"/>
                </a:cubicBezTo>
                <a:cubicBezTo>
                  <a:pt x="4374" y="10828"/>
                  <a:pt x="4510" y="10815"/>
                  <a:pt x="4613" y="10801"/>
                </a:cubicBezTo>
                <a:cubicBezTo>
                  <a:pt x="4510" y="10786"/>
                  <a:pt x="4374" y="10773"/>
                  <a:pt x="4278" y="10757"/>
                </a:cubicBezTo>
                <a:cubicBezTo>
                  <a:pt x="3916" y="10697"/>
                  <a:pt x="3597" y="10614"/>
                  <a:pt x="3279" y="10521"/>
                </a:cubicBezTo>
                <a:cubicBezTo>
                  <a:pt x="-1425" y="9143"/>
                  <a:pt x="63" y="6665"/>
                  <a:pt x="913" y="4548"/>
                </a:cubicBezTo>
                <a:cubicBezTo>
                  <a:pt x="1512" y="3056"/>
                  <a:pt x="1634" y="1532"/>
                  <a:pt x="1245" y="0"/>
                </a:cubicBezTo>
                <a:close/>
              </a:path>
            </a:pathLst>
          </a:custGeom>
          <a:solidFill>
            <a:schemeClr val="accent1">
              <a:lumMod val="20000"/>
              <a:lumOff val="80000"/>
            </a:schemeClr>
          </a:solidFill>
          <a:ln w="25400">
            <a:noFill/>
            <a:miter lim="400000"/>
          </a:ln>
        </p:spPr>
        <p:txBody>
          <a:bodyPr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1600" b="0" i="0" u="none" strike="noStrike" kern="1200" cap="none" spc="0" normalizeH="0" baseline="0" noProof="0">
              <a:ln>
                <a:noFill/>
              </a:ln>
              <a:solidFill>
                <a:srgbClr val="FFFFFF"/>
              </a:solidFill>
              <a:effectLst/>
              <a:uLnTx/>
              <a:uFillTx/>
              <a:latin typeface="Arial"/>
              <a:cs typeface="+mn-ea"/>
              <a:sym typeface="+mn-lt"/>
            </a:endParaRPr>
          </a:p>
        </p:txBody>
      </p:sp>
      <p:grpSp>
        <p:nvGrpSpPr>
          <p:cNvPr id="5" name="Группа 1">
            <a:extLst>
              <a:ext uri="{FF2B5EF4-FFF2-40B4-BE49-F238E27FC236}">
                <a16:creationId xmlns:a16="http://schemas.microsoft.com/office/drawing/2014/main" id="{55DD3275-02F0-47F0-A466-858BAD5BBE61}"/>
              </a:ext>
            </a:extLst>
          </p:cNvPr>
          <p:cNvGrpSpPr/>
          <p:nvPr/>
        </p:nvGrpSpPr>
        <p:grpSpPr>
          <a:xfrm>
            <a:off x="8919382" y="1575022"/>
            <a:ext cx="2817826" cy="3408973"/>
            <a:chOff x="12847786" y="2496819"/>
            <a:chExt cx="6107931" cy="7389302"/>
          </a:xfrm>
        </p:grpSpPr>
        <p:sp>
          <p:nvSpPr>
            <p:cNvPr id="80" name="Фигура">
              <a:extLst>
                <a:ext uri="{FF2B5EF4-FFF2-40B4-BE49-F238E27FC236}">
                  <a16:creationId xmlns:a16="http://schemas.microsoft.com/office/drawing/2014/main" id="{94D4C1D7-366F-4BE4-9A1E-117C9E415B0B}"/>
                </a:ext>
              </a:extLst>
            </p:cNvPr>
            <p:cNvSpPr/>
            <p:nvPr/>
          </p:nvSpPr>
          <p:spPr>
            <a:xfrm>
              <a:off x="12847786" y="2496819"/>
              <a:ext cx="5876251" cy="7389302"/>
            </a:xfrm>
            <a:custGeom>
              <a:avLst/>
              <a:gdLst/>
              <a:ahLst/>
              <a:cxnLst>
                <a:cxn ang="0">
                  <a:pos x="wd2" y="hd2"/>
                </a:cxn>
                <a:cxn ang="5400000">
                  <a:pos x="wd2" y="hd2"/>
                </a:cxn>
                <a:cxn ang="10800000">
                  <a:pos x="wd2" y="hd2"/>
                </a:cxn>
                <a:cxn ang="16200000">
                  <a:pos x="wd2" y="hd2"/>
                </a:cxn>
              </a:cxnLst>
              <a:rect l="0" t="0" r="r" b="b"/>
              <a:pathLst>
                <a:path w="21477" h="21561" extrusionOk="0">
                  <a:moveTo>
                    <a:pt x="20457" y="9424"/>
                  </a:moveTo>
                  <a:cubicBezTo>
                    <a:pt x="18982" y="7406"/>
                    <a:pt x="17134" y="5578"/>
                    <a:pt x="14974" y="4003"/>
                  </a:cubicBezTo>
                  <a:cubicBezTo>
                    <a:pt x="12838" y="2443"/>
                    <a:pt x="10421" y="1149"/>
                    <a:pt x="7805" y="163"/>
                  </a:cubicBezTo>
                  <a:cubicBezTo>
                    <a:pt x="7537" y="37"/>
                    <a:pt x="7228" y="-18"/>
                    <a:pt x="6919" y="5"/>
                  </a:cubicBezTo>
                  <a:cubicBezTo>
                    <a:pt x="6629" y="26"/>
                    <a:pt x="6354" y="115"/>
                    <a:pt x="6127" y="261"/>
                  </a:cubicBezTo>
                  <a:cubicBezTo>
                    <a:pt x="4428" y="1228"/>
                    <a:pt x="3040" y="2494"/>
                    <a:pt x="2064" y="3955"/>
                  </a:cubicBezTo>
                  <a:cubicBezTo>
                    <a:pt x="746" y="5927"/>
                    <a:pt x="229" y="8115"/>
                    <a:pt x="60" y="10304"/>
                  </a:cubicBezTo>
                  <a:cubicBezTo>
                    <a:pt x="-123" y="12664"/>
                    <a:pt x="87" y="15097"/>
                    <a:pt x="1102" y="17371"/>
                  </a:cubicBezTo>
                  <a:cubicBezTo>
                    <a:pt x="1675" y="18655"/>
                    <a:pt x="2497" y="19863"/>
                    <a:pt x="3542" y="20951"/>
                  </a:cubicBezTo>
                  <a:cubicBezTo>
                    <a:pt x="3742" y="21180"/>
                    <a:pt x="4022" y="21357"/>
                    <a:pt x="4346" y="21460"/>
                  </a:cubicBezTo>
                  <a:cubicBezTo>
                    <a:pt x="4638" y="21553"/>
                    <a:pt x="4956" y="21582"/>
                    <a:pt x="5268" y="21544"/>
                  </a:cubicBezTo>
                  <a:cubicBezTo>
                    <a:pt x="8883" y="21210"/>
                    <a:pt x="12343" y="20184"/>
                    <a:pt x="15357" y="18554"/>
                  </a:cubicBezTo>
                  <a:cubicBezTo>
                    <a:pt x="17777" y="17244"/>
                    <a:pt x="19855" y="15572"/>
                    <a:pt x="21477" y="13629"/>
                  </a:cubicBezTo>
                  <a:lnTo>
                    <a:pt x="15466" y="13106"/>
                  </a:lnTo>
                  <a:lnTo>
                    <a:pt x="20457" y="9424"/>
                  </a:lnTo>
                  <a:close/>
                </a:path>
              </a:pathLst>
            </a:custGeom>
            <a:solidFill>
              <a:schemeClr val="accent1">
                <a:lumMod val="20000"/>
                <a:lumOff val="80000"/>
              </a:schemeClr>
            </a:solidFill>
            <a:ln w="25400">
              <a:noFill/>
              <a:miter lim="400000"/>
            </a:ln>
          </p:spPr>
          <p:txBody>
            <a:bodyPr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1600" b="0" i="0" u="none" strike="noStrike" kern="1200" cap="none" spc="0" normalizeH="0" baseline="0" noProof="0">
                <a:ln>
                  <a:noFill/>
                </a:ln>
                <a:solidFill>
                  <a:srgbClr val="FFFFFF"/>
                </a:solidFill>
                <a:effectLst/>
                <a:uLnTx/>
                <a:uFillTx/>
                <a:latin typeface="Arial"/>
                <a:cs typeface="+mn-ea"/>
                <a:sym typeface="+mn-lt"/>
              </a:endParaRPr>
            </a:p>
          </p:txBody>
        </p:sp>
        <p:sp>
          <p:nvSpPr>
            <p:cNvPr id="81" name="Фигура">
              <a:extLst>
                <a:ext uri="{FF2B5EF4-FFF2-40B4-BE49-F238E27FC236}">
                  <a16:creationId xmlns:a16="http://schemas.microsoft.com/office/drawing/2014/main" id="{3CD3DCB3-69B2-455B-97A6-1D30877D13DF}"/>
                </a:ext>
              </a:extLst>
            </p:cNvPr>
            <p:cNvSpPr/>
            <p:nvPr/>
          </p:nvSpPr>
          <p:spPr>
            <a:xfrm>
              <a:off x="17001975" y="6809369"/>
              <a:ext cx="1953742" cy="437984"/>
            </a:xfrm>
            <a:custGeom>
              <a:avLst/>
              <a:gdLst/>
              <a:ahLst/>
              <a:cxnLst>
                <a:cxn ang="0">
                  <a:pos x="wd2" y="hd2"/>
                </a:cxn>
                <a:cxn ang="5400000">
                  <a:pos x="wd2" y="hd2"/>
                </a:cxn>
                <a:cxn ang="10800000">
                  <a:pos x="wd2" y="hd2"/>
                </a:cxn>
                <a:cxn ang="16200000">
                  <a:pos x="wd2" y="hd2"/>
                </a:cxn>
              </a:cxnLst>
              <a:rect l="0" t="0" r="r" b="b"/>
              <a:pathLst>
                <a:path w="21500" h="21194" extrusionOk="0">
                  <a:moveTo>
                    <a:pt x="19113" y="71"/>
                  </a:moveTo>
                  <a:cubicBezTo>
                    <a:pt x="19496" y="-135"/>
                    <a:pt x="19886" y="110"/>
                    <a:pt x="20241" y="782"/>
                  </a:cubicBezTo>
                  <a:cubicBezTo>
                    <a:pt x="20691" y="1633"/>
                    <a:pt x="21064" y="3119"/>
                    <a:pt x="21302" y="5007"/>
                  </a:cubicBezTo>
                  <a:cubicBezTo>
                    <a:pt x="21600" y="8209"/>
                    <a:pt x="21559" y="11829"/>
                    <a:pt x="21191" y="14885"/>
                  </a:cubicBezTo>
                  <a:cubicBezTo>
                    <a:pt x="20693" y="19007"/>
                    <a:pt x="19695" y="21465"/>
                    <a:pt x="18639" y="21171"/>
                  </a:cubicBezTo>
                  <a:cubicBezTo>
                    <a:pt x="15399" y="21044"/>
                    <a:pt x="12161" y="20671"/>
                    <a:pt x="8924" y="20052"/>
                  </a:cubicBezTo>
                  <a:cubicBezTo>
                    <a:pt x="5947" y="19483"/>
                    <a:pt x="2972" y="18705"/>
                    <a:pt x="0" y="17720"/>
                  </a:cubicBezTo>
                  <a:lnTo>
                    <a:pt x="3665" y="6235"/>
                  </a:lnTo>
                  <a:lnTo>
                    <a:pt x="19113" y="71"/>
                  </a:lnTo>
                  <a:close/>
                </a:path>
              </a:pathLst>
            </a:custGeom>
            <a:solidFill>
              <a:schemeClr val="accent1">
                <a:lumMod val="60000"/>
                <a:lumOff val="40000"/>
              </a:schemeClr>
            </a:solidFill>
            <a:ln w="25400">
              <a:noFill/>
              <a:miter lim="400000"/>
            </a:ln>
          </p:spPr>
          <p:txBody>
            <a:bodyPr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1600" b="0" i="0" u="none" strike="noStrike" kern="1200" cap="none" spc="0" normalizeH="0" baseline="0" noProof="0">
                <a:ln>
                  <a:noFill/>
                </a:ln>
                <a:solidFill>
                  <a:srgbClr val="FFFFFF"/>
                </a:solidFill>
                <a:effectLst/>
                <a:uLnTx/>
                <a:uFillTx/>
                <a:latin typeface="Arial"/>
                <a:cs typeface="+mn-ea"/>
                <a:sym typeface="+mn-lt"/>
              </a:endParaRPr>
            </a:p>
          </p:txBody>
        </p:sp>
        <p:sp>
          <p:nvSpPr>
            <p:cNvPr id="82" name="Кружок">
              <a:extLst>
                <a:ext uri="{FF2B5EF4-FFF2-40B4-BE49-F238E27FC236}">
                  <a16:creationId xmlns:a16="http://schemas.microsoft.com/office/drawing/2014/main" id="{F77C116B-5424-4B9A-A01E-EE9BFEFE5F5B}"/>
                </a:ext>
              </a:extLst>
            </p:cNvPr>
            <p:cNvSpPr/>
            <p:nvPr/>
          </p:nvSpPr>
          <p:spPr>
            <a:xfrm>
              <a:off x="15860601" y="4375573"/>
              <a:ext cx="1532236" cy="1532236"/>
            </a:xfrm>
            <a:prstGeom prst="ellipse">
              <a:avLst/>
            </a:prstGeom>
            <a:solidFill>
              <a:schemeClr val="tx2"/>
            </a:solidFill>
            <a:ln w="25400">
              <a:noFill/>
              <a:miter lim="400000"/>
            </a:ln>
          </p:spPr>
          <p:txBody>
            <a:bodyPr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1600" b="0" i="0" u="none" strike="noStrike" kern="1200" cap="none" spc="0" normalizeH="0" baseline="0" noProof="0">
                <a:ln>
                  <a:noFill/>
                </a:ln>
                <a:solidFill>
                  <a:srgbClr val="FFFFFF"/>
                </a:solidFill>
                <a:effectLst/>
                <a:uLnTx/>
                <a:uFillTx/>
                <a:latin typeface="Arial"/>
                <a:cs typeface="+mn-ea"/>
                <a:sym typeface="+mn-lt"/>
              </a:endParaRPr>
            </a:p>
          </p:txBody>
        </p:sp>
        <p:sp>
          <p:nvSpPr>
            <p:cNvPr id="83" name="Кружок">
              <a:extLst>
                <a:ext uri="{FF2B5EF4-FFF2-40B4-BE49-F238E27FC236}">
                  <a16:creationId xmlns:a16="http://schemas.microsoft.com/office/drawing/2014/main" id="{7814193C-8B78-4450-8CB2-BCE696684F47}"/>
                </a:ext>
              </a:extLst>
            </p:cNvPr>
            <p:cNvSpPr/>
            <p:nvPr/>
          </p:nvSpPr>
          <p:spPr>
            <a:xfrm>
              <a:off x="16580753" y="4817057"/>
              <a:ext cx="649269" cy="649268"/>
            </a:xfrm>
            <a:prstGeom prst="ellipse">
              <a:avLst/>
            </a:prstGeom>
            <a:solidFill>
              <a:schemeClr val="accent1">
                <a:lumMod val="60000"/>
                <a:lumOff val="40000"/>
              </a:schemeClr>
            </a:solidFill>
            <a:ln w="25400">
              <a:noFill/>
              <a:miter lim="400000"/>
            </a:ln>
          </p:spPr>
          <p:txBody>
            <a:bodyPr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1600" b="0" i="0" u="none" strike="noStrike" kern="1200" cap="none" spc="0" normalizeH="0" baseline="0" noProof="0">
                <a:ln>
                  <a:noFill/>
                </a:ln>
                <a:solidFill>
                  <a:srgbClr val="FFFFFF"/>
                </a:solidFill>
                <a:effectLst/>
                <a:uLnTx/>
                <a:uFillTx/>
                <a:latin typeface="Arial"/>
                <a:cs typeface="+mn-ea"/>
                <a:sym typeface="+mn-lt"/>
              </a:endParaRPr>
            </a:p>
          </p:txBody>
        </p:sp>
        <p:sp>
          <p:nvSpPr>
            <p:cNvPr id="84" name="Фигура">
              <a:extLst>
                <a:ext uri="{FF2B5EF4-FFF2-40B4-BE49-F238E27FC236}">
                  <a16:creationId xmlns:a16="http://schemas.microsoft.com/office/drawing/2014/main" id="{6EEC14AB-AB7F-4F39-87C6-F172435431C2}"/>
                </a:ext>
              </a:extLst>
            </p:cNvPr>
            <p:cNvSpPr/>
            <p:nvPr/>
          </p:nvSpPr>
          <p:spPr>
            <a:xfrm>
              <a:off x="16241012" y="6394119"/>
              <a:ext cx="1365594" cy="1218468"/>
            </a:xfrm>
            <a:custGeom>
              <a:avLst/>
              <a:gdLst/>
              <a:ahLst/>
              <a:cxnLst>
                <a:cxn ang="0">
                  <a:pos x="wd2" y="hd2"/>
                </a:cxn>
                <a:cxn ang="5400000">
                  <a:pos x="wd2" y="hd2"/>
                </a:cxn>
                <a:cxn ang="10800000">
                  <a:pos x="wd2" y="hd2"/>
                </a:cxn>
                <a:cxn ang="16200000">
                  <a:pos x="wd2" y="hd2"/>
                </a:cxn>
              </a:cxnLst>
              <a:rect l="0" t="0" r="r" b="b"/>
              <a:pathLst>
                <a:path w="21563" h="21450" extrusionOk="0">
                  <a:moveTo>
                    <a:pt x="21563" y="0"/>
                  </a:moveTo>
                  <a:cubicBezTo>
                    <a:pt x="18420" y="548"/>
                    <a:pt x="15297" y="1231"/>
                    <a:pt x="12200" y="2045"/>
                  </a:cubicBezTo>
                  <a:cubicBezTo>
                    <a:pt x="9011" y="2884"/>
                    <a:pt x="5853" y="3863"/>
                    <a:pt x="2732" y="4979"/>
                  </a:cubicBezTo>
                  <a:cubicBezTo>
                    <a:pt x="1881" y="5358"/>
                    <a:pt x="1162" y="6034"/>
                    <a:pt x="681" y="6907"/>
                  </a:cubicBezTo>
                  <a:cubicBezTo>
                    <a:pt x="370" y="7470"/>
                    <a:pt x="169" y="8100"/>
                    <a:pt x="90" y="8755"/>
                  </a:cubicBezTo>
                  <a:cubicBezTo>
                    <a:pt x="-37" y="10594"/>
                    <a:pt x="-29" y="12442"/>
                    <a:pt x="114" y="14280"/>
                  </a:cubicBezTo>
                  <a:cubicBezTo>
                    <a:pt x="251" y="16049"/>
                    <a:pt x="512" y="17803"/>
                    <a:pt x="896" y="19526"/>
                  </a:cubicBezTo>
                  <a:cubicBezTo>
                    <a:pt x="1152" y="20349"/>
                    <a:pt x="1728" y="20996"/>
                    <a:pt x="2462" y="21286"/>
                  </a:cubicBezTo>
                  <a:cubicBezTo>
                    <a:pt x="3257" y="21600"/>
                    <a:pt x="4139" y="21457"/>
                    <a:pt x="4822" y="20905"/>
                  </a:cubicBezTo>
                  <a:cubicBezTo>
                    <a:pt x="6840" y="19463"/>
                    <a:pt x="8847" y="18001"/>
                    <a:pt x="10842" y="16520"/>
                  </a:cubicBezTo>
                  <a:cubicBezTo>
                    <a:pt x="12937" y="14964"/>
                    <a:pt x="15019" y="13387"/>
                    <a:pt x="17088" y="11788"/>
                  </a:cubicBezTo>
                  <a:lnTo>
                    <a:pt x="21563" y="0"/>
                  </a:lnTo>
                  <a:close/>
                </a:path>
              </a:pathLst>
            </a:custGeom>
            <a:solidFill>
              <a:schemeClr val="accent1">
                <a:lumMod val="60000"/>
                <a:lumOff val="40000"/>
              </a:schemeClr>
            </a:solidFill>
            <a:ln w="25400">
              <a:noFill/>
              <a:miter lim="400000"/>
            </a:ln>
          </p:spPr>
          <p:txBody>
            <a:bodyPr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1600" b="0" i="0" u="none" strike="noStrike" kern="1200" cap="none" spc="0" normalizeH="0" baseline="0" noProof="0">
                <a:ln>
                  <a:noFill/>
                </a:ln>
                <a:solidFill>
                  <a:srgbClr val="FFFFFF"/>
                </a:solidFill>
                <a:effectLst/>
                <a:uLnTx/>
                <a:uFillTx/>
                <a:latin typeface="Arial"/>
                <a:cs typeface="+mn-ea"/>
                <a:sym typeface="+mn-lt"/>
              </a:endParaRPr>
            </a:p>
          </p:txBody>
        </p:sp>
        <p:sp>
          <p:nvSpPr>
            <p:cNvPr id="85" name="Фигура">
              <a:extLst>
                <a:ext uri="{FF2B5EF4-FFF2-40B4-BE49-F238E27FC236}">
                  <a16:creationId xmlns:a16="http://schemas.microsoft.com/office/drawing/2014/main" id="{4A665E9E-11CD-46FE-B877-96B8A548D0BF}"/>
                </a:ext>
              </a:extLst>
            </p:cNvPr>
            <p:cNvSpPr/>
            <p:nvPr/>
          </p:nvSpPr>
          <p:spPr>
            <a:xfrm>
              <a:off x="16890482" y="5589021"/>
              <a:ext cx="2017436" cy="1763596"/>
            </a:xfrm>
            <a:custGeom>
              <a:avLst/>
              <a:gdLst/>
              <a:ahLst/>
              <a:cxnLst>
                <a:cxn ang="0">
                  <a:pos x="wd2" y="hd2"/>
                </a:cxn>
                <a:cxn ang="5400000">
                  <a:pos x="wd2" y="hd2"/>
                </a:cxn>
                <a:cxn ang="10800000">
                  <a:pos x="wd2" y="hd2"/>
                </a:cxn>
                <a:cxn ang="16200000">
                  <a:pos x="wd2" y="hd2"/>
                </a:cxn>
              </a:cxnLst>
              <a:rect l="0" t="0" r="r" b="b"/>
              <a:pathLst>
                <a:path w="21234" h="21256" extrusionOk="0">
                  <a:moveTo>
                    <a:pt x="20090" y="5893"/>
                  </a:moveTo>
                  <a:cubicBezTo>
                    <a:pt x="21321" y="4830"/>
                    <a:pt x="21600" y="2844"/>
                    <a:pt x="20723" y="1393"/>
                  </a:cubicBezTo>
                  <a:cubicBezTo>
                    <a:pt x="19960" y="128"/>
                    <a:pt x="18524" y="-344"/>
                    <a:pt x="17291" y="263"/>
                  </a:cubicBezTo>
                  <a:cubicBezTo>
                    <a:pt x="13395" y="2387"/>
                    <a:pt x="9877" y="5322"/>
                    <a:pt x="6918" y="8919"/>
                  </a:cubicBezTo>
                  <a:cubicBezTo>
                    <a:pt x="3966" y="12506"/>
                    <a:pt x="1620" y="16689"/>
                    <a:pt x="0" y="21256"/>
                  </a:cubicBezTo>
                  <a:lnTo>
                    <a:pt x="20090" y="5893"/>
                  </a:lnTo>
                  <a:close/>
                </a:path>
              </a:pathLst>
            </a:custGeom>
            <a:solidFill>
              <a:schemeClr val="accent1">
                <a:lumMod val="40000"/>
                <a:lumOff val="60000"/>
              </a:schemeClr>
            </a:solidFill>
            <a:ln w="25400">
              <a:noFill/>
              <a:miter lim="400000"/>
            </a:ln>
          </p:spPr>
          <p:txBody>
            <a:bodyPr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1600" b="0" i="0" u="none" strike="noStrike" kern="1200" cap="none" spc="0" normalizeH="0" baseline="0" noProof="0">
                <a:ln>
                  <a:noFill/>
                </a:ln>
                <a:solidFill>
                  <a:srgbClr val="FFFFFF"/>
                </a:solidFill>
                <a:effectLst/>
                <a:uLnTx/>
                <a:uFillTx/>
                <a:latin typeface="Arial"/>
                <a:cs typeface="+mn-ea"/>
                <a:sym typeface="+mn-lt"/>
              </a:endParaRPr>
            </a:p>
          </p:txBody>
        </p:sp>
      </p:grpSp>
      <p:grpSp>
        <p:nvGrpSpPr>
          <p:cNvPr id="6" name="Группа 2">
            <a:extLst>
              <a:ext uri="{FF2B5EF4-FFF2-40B4-BE49-F238E27FC236}">
                <a16:creationId xmlns:a16="http://schemas.microsoft.com/office/drawing/2014/main" id="{59BCE780-69FA-4B39-B68D-A9C2ACBB8B2B}"/>
              </a:ext>
            </a:extLst>
          </p:cNvPr>
          <p:cNvGrpSpPr/>
          <p:nvPr/>
        </p:nvGrpSpPr>
        <p:grpSpPr>
          <a:xfrm>
            <a:off x="1382274" y="1014260"/>
            <a:ext cx="2748593" cy="4818593"/>
            <a:chOff x="4707120" y="1512392"/>
            <a:chExt cx="5497185" cy="9637185"/>
          </a:xfrm>
        </p:grpSpPr>
        <p:grpSp>
          <p:nvGrpSpPr>
            <p:cNvPr id="56" name="Группа 12">
              <a:extLst>
                <a:ext uri="{FF2B5EF4-FFF2-40B4-BE49-F238E27FC236}">
                  <a16:creationId xmlns:a16="http://schemas.microsoft.com/office/drawing/2014/main" id="{85A7AA23-59F3-47B7-BFBB-66246A4CCB05}"/>
                </a:ext>
              </a:extLst>
            </p:cNvPr>
            <p:cNvGrpSpPr/>
            <p:nvPr/>
          </p:nvGrpSpPr>
          <p:grpSpPr>
            <a:xfrm>
              <a:off x="4707120" y="1512392"/>
              <a:ext cx="5299735" cy="9637185"/>
              <a:chOff x="4406339" y="1512392"/>
              <a:chExt cx="5299735" cy="9637185"/>
            </a:xfrm>
          </p:grpSpPr>
          <p:grpSp>
            <p:nvGrpSpPr>
              <p:cNvPr id="60" name="Группа 11">
                <a:extLst>
                  <a:ext uri="{FF2B5EF4-FFF2-40B4-BE49-F238E27FC236}">
                    <a16:creationId xmlns:a16="http://schemas.microsoft.com/office/drawing/2014/main" id="{7B94FD86-6628-4BB4-9480-425AF029354B}"/>
                  </a:ext>
                </a:extLst>
              </p:cNvPr>
              <p:cNvGrpSpPr/>
              <p:nvPr/>
            </p:nvGrpSpPr>
            <p:grpSpPr>
              <a:xfrm>
                <a:off x="4440435" y="2949722"/>
                <a:ext cx="3740150" cy="611248"/>
                <a:chOff x="4440435" y="2949722"/>
                <a:chExt cx="3740150" cy="611248"/>
              </a:xfrm>
            </p:grpSpPr>
            <p:cxnSp>
              <p:nvCxnSpPr>
                <p:cNvPr id="78" name="Прямая соединительная линия 74">
                  <a:extLst>
                    <a:ext uri="{FF2B5EF4-FFF2-40B4-BE49-F238E27FC236}">
                      <a16:creationId xmlns:a16="http://schemas.microsoft.com/office/drawing/2014/main" id="{4EB3AD1D-BD46-430A-90E5-F8647F5516C2}"/>
                    </a:ext>
                  </a:extLst>
                </p:cNvPr>
                <p:cNvCxnSpPr>
                  <a:cxnSpLocks/>
                </p:cNvCxnSpPr>
                <p:nvPr/>
              </p:nvCxnSpPr>
              <p:spPr bwMode="auto">
                <a:xfrm>
                  <a:off x="4526085" y="3560970"/>
                  <a:ext cx="2814944" cy="0"/>
                </a:xfrm>
                <a:prstGeom prst="line">
                  <a:avLst/>
                </a:prstGeom>
                <a:blipFill dpi="0" rotWithShape="0">
                  <a:blip r:embed="rId4"/>
                  <a:srcRect/>
                  <a:tile tx="0" ty="0" sx="100000" sy="100000" flip="none" algn="tl"/>
                </a:blipFill>
                <a:ln w="57150" cap="flat" cmpd="sng" algn="ctr">
                  <a:solidFill>
                    <a:schemeClr val="accent1">
                      <a:lumMod val="100000"/>
                    </a:schemeClr>
                  </a:solidFill>
                  <a:prstDash val="solid"/>
                  <a:miter lim="400000"/>
                  <a:headEnd type="none" w="med" len="med"/>
                  <a:tailEnd type="none" w="med" len="med"/>
                </a:ln>
                <a:effectLst/>
              </p:spPr>
            </p:cxnSp>
            <p:sp>
              <p:nvSpPr>
                <p:cNvPr id="79" name="TextBox 46">
                  <a:extLst>
                    <a:ext uri="{FF2B5EF4-FFF2-40B4-BE49-F238E27FC236}">
                      <a16:creationId xmlns:a16="http://schemas.microsoft.com/office/drawing/2014/main" id="{07F773B7-FB81-4321-AC1A-7522DED7D8FD}"/>
                    </a:ext>
                  </a:extLst>
                </p:cNvPr>
                <p:cNvSpPr txBox="1">
                  <a:spLocks noChangeArrowheads="1"/>
                </p:cNvSpPr>
                <p:nvPr/>
              </p:nvSpPr>
              <p:spPr bwMode="auto">
                <a:xfrm>
                  <a:off x="4440435" y="2949722"/>
                  <a:ext cx="3740150" cy="4924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1pPr>
                  <a:lvl2pPr marL="742950" indent="-28575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2pPr>
                  <a:lvl3pPr marL="11430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3pPr>
                  <a:lvl4pPr marL="16002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4pPr>
                  <a:lvl5pPr marL="20574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5pPr>
                  <a:lvl6pPr marL="25146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6pPr>
                  <a:lvl7pPr marL="29718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7pPr>
                  <a:lvl8pPr marL="34290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8pPr>
                  <a:lvl9pPr marL="38862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000" b="1" i="0" u="none" strike="noStrike" kern="1200" cap="none" spc="0" normalizeH="0" baseline="0" noProof="0" dirty="0">
                      <a:ln>
                        <a:noFill/>
                      </a:ln>
                      <a:solidFill>
                        <a:schemeClr val="accent1"/>
                      </a:solidFill>
                      <a:effectLst/>
                      <a:uLnTx/>
                      <a:uFillTx/>
                      <a:latin typeface="Arial"/>
                      <a:ea typeface="+mn-ea"/>
                      <a:cs typeface="+mn-ea"/>
                      <a:sym typeface="+mn-lt"/>
                    </a:rPr>
                    <a:t>Information text</a:t>
                  </a:r>
                </a:p>
              </p:txBody>
            </p:sp>
          </p:grpSp>
          <p:grpSp>
            <p:nvGrpSpPr>
              <p:cNvPr id="61" name="Группа 10">
                <a:extLst>
                  <a:ext uri="{FF2B5EF4-FFF2-40B4-BE49-F238E27FC236}">
                    <a16:creationId xmlns:a16="http://schemas.microsoft.com/office/drawing/2014/main" id="{A8057DA7-E04F-42EB-9953-4CCC2E40E2B2}"/>
                  </a:ext>
                </a:extLst>
              </p:cNvPr>
              <p:cNvGrpSpPr/>
              <p:nvPr/>
            </p:nvGrpSpPr>
            <p:grpSpPr>
              <a:xfrm>
                <a:off x="4440435" y="4297650"/>
                <a:ext cx="4153650" cy="628747"/>
                <a:chOff x="4440435" y="4297650"/>
                <a:chExt cx="4153650" cy="628747"/>
              </a:xfrm>
            </p:grpSpPr>
            <p:cxnSp>
              <p:nvCxnSpPr>
                <p:cNvPr id="76" name="Прямая соединительная линия 77">
                  <a:extLst>
                    <a:ext uri="{FF2B5EF4-FFF2-40B4-BE49-F238E27FC236}">
                      <a16:creationId xmlns:a16="http://schemas.microsoft.com/office/drawing/2014/main" id="{92D21A0A-D782-426E-B508-3B7344ABE6FB}"/>
                    </a:ext>
                  </a:extLst>
                </p:cNvPr>
                <p:cNvCxnSpPr>
                  <a:cxnSpLocks/>
                </p:cNvCxnSpPr>
                <p:nvPr/>
              </p:nvCxnSpPr>
              <p:spPr bwMode="auto">
                <a:xfrm>
                  <a:off x="4526085" y="4916624"/>
                  <a:ext cx="4068000" cy="9773"/>
                </a:xfrm>
                <a:prstGeom prst="line">
                  <a:avLst/>
                </a:prstGeom>
                <a:blipFill dpi="0" rotWithShape="0">
                  <a:blip r:embed="rId4"/>
                  <a:srcRect/>
                  <a:tile tx="0" ty="0" sx="100000" sy="100000" flip="none" algn="tl"/>
                </a:blipFill>
                <a:ln w="57150" cap="flat" cmpd="sng" algn="ctr">
                  <a:solidFill>
                    <a:schemeClr val="accent1">
                      <a:lumMod val="100000"/>
                    </a:schemeClr>
                  </a:solidFill>
                  <a:prstDash val="solid"/>
                  <a:miter lim="400000"/>
                  <a:headEnd type="none" w="med" len="med"/>
                  <a:tailEnd type="none" w="med" len="med"/>
                </a:ln>
                <a:effectLst/>
              </p:spPr>
            </p:cxnSp>
            <p:sp>
              <p:nvSpPr>
                <p:cNvPr id="77" name="TextBox 46">
                  <a:extLst>
                    <a:ext uri="{FF2B5EF4-FFF2-40B4-BE49-F238E27FC236}">
                      <a16:creationId xmlns:a16="http://schemas.microsoft.com/office/drawing/2014/main" id="{3084717A-A400-4AAF-89C4-ADF5C3622780}"/>
                    </a:ext>
                  </a:extLst>
                </p:cNvPr>
                <p:cNvSpPr txBox="1">
                  <a:spLocks noChangeArrowheads="1"/>
                </p:cNvSpPr>
                <p:nvPr/>
              </p:nvSpPr>
              <p:spPr bwMode="auto">
                <a:xfrm>
                  <a:off x="4440435" y="4297650"/>
                  <a:ext cx="3740150" cy="4924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1pPr>
                  <a:lvl2pPr marL="742950" indent="-28575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2pPr>
                  <a:lvl3pPr marL="11430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3pPr>
                  <a:lvl4pPr marL="16002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4pPr>
                  <a:lvl5pPr marL="20574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5pPr>
                  <a:lvl6pPr marL="25146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6pPr>
                  <a:lvl7pPr marL="29718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7pPr>
                  <a:lvl8pPr marL="34290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8pPr>
                  <a:lvl9pPr marL="38862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000" b="1" i="0" u="none" strike="noStrike" kern="1200" cap="none" spc="0" normalizeH="0" baseline="0" noProof="0" dirty="0">
                      <a:ln>
                        <a:noFill/>
                      </a:ln>
                      <a:solidFill>
                        <a:schemeClr val="accent1"/>
                      </a:solidFill>
                      <a:effectLst/>
                      <a:uLnTx/>
                      <a:uFillTx/>
                      <a:latin typeface="Arial"/>
                      <a:ea typeface="+mn-ea"/>
                      <a:cs typeface="+mn-ea"/>
                      <a:sym typeface="+mn-lt"/>
                    </a:rPr>
                    <a:t>Information text demo</a:t>
                  </a:r>
                </a:p>
              </p:txBody>
            </p:sp>
          </p:grpSp>
          <p:cxnSp>
            <p:nvCxnSpPr>
              <p:cNvPr id="62" name="Прямая соединительная линия 82">
                <a:extLst>
                  <a:ext uri="{FF2B5EF4-FFF2-40B4-BE49-F238E27FC236}">
                    <a16:creationId xmlns:a16="http://schemas.microsoft.com/office/drawing/2014/main" id="{7B5E3451-E0C2-4D6F-995B-F39892296CD8}"/>
                  </a:ext>
                </a:extLst>
              </p:cNvPr>
              <p:cNvCxnSpPr>
                <a:cxnSpLocks/>
              </p:cNvCxnSpPr>
              <p:nvPr/>
            </p:nvCxnSpPr>
            <p:spPr bwMode="auto">
              <a:xfrm>
                <a:off x="4526085" y="7679272"/>
                <a:ext cx="4068000" cy="9773"/>
              </a:xfrm>
              <a:prstGeom prst="line">
                <a:avLst/>
              </a:prstGeom>
              <a:blipFill dpi="0" rotWithShape="0">
                <a:blip r:embed="rId4"/>
                <a:srcRect/>
                <a:tile tx="0" ty="0" sx="100000" sy="100000" flip="none" algn="tl"/>
              </a:blipFill>
              <a:ln w="57150" cap="flat" cmpd="sng" algn="ctr">
                <a:solidFill>
                  <a:schemeClr val="accent1">
                    <a:lumMod val="100000"/>
                  </a:schemeClr>
                </a:solidFill>
                <a:prstDash val="solid"/>
                <a:miter lim="400000"/>
                <a:headEnd type="none" w="med" len="med"/>
                <a:tailEnd type="none" w="med" len="med"/>
              </a:ln>
              <a:effectLst/>
            </p:spPr>
          </p:cxnSp>
          <p:sp>
            <p:nvSpPr>
              <p:cNvPr id="63" name="TextBox 46">
                <a:extLst>
                  <a:ext uri="{FF2B5EF4-FFF2-40B4-BE49-F238E27FC236}">
                    <a16:creationId xmlns:a16="http://schemas.microsoft.com/office/drawing/2014/main" id="{4B4647CE-1D3F-4775-B52D-060AE44CB65E}"/>
                  </a:ext>
                </a:extLst>
              </p:cNvPr>
              <p:cNvSpPr txBox="1">
                <a:spLocks noChangeArrowheads="1"/>
              </p:cNvSpPr>
              <p:nvPr/>
            </p:nvSpPr>
            <p:spPr bwMode="auto">
              <a:xfrm>
                <a:off x="4440435" y="7879499"/>
                <a:ext cx="3740149" cy="4924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1pPr>
                <a:lvl2pPr marL="742950" indent="-28575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2pPr>
                <a:lvl3pPr marL="11430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3pPr>
                <a:lvl4pPr marL="16002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4pPr>
                <a:lvl5pPr marL="20574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5pPr>
                <a:lvl6pPr marL="25146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6pPr>
                <a:lvl7pPr marL="29718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7pPr>
                <a:lvl8pPr marL="34290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8pPr>
                <a:lvl9pPr marL="38862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000" b="1" i="0" u="none" strike="noStrike" kern="1200" cap="none" spc="0" normalizeH="0" baseline="0" noProof="0" dirty="0">
                    <a:ln>
                      <a:noFill/>
                    </a:ln>
                    <a:solidFill>
                      <a:schemeClr val="accent1"/>
                    </a:solidFill>
                    <a:effectLst/>
                    <a:uLnTx/>
                    <a:uFillTx/>
                    <a:latin typeface="Arial"/>
                    <a:ea typeface="+mn-ea"/>
                    <a:cs typeface="+mn-ea"/>
                    <a:sym typeface="+mn-lt"/>
                  </a:rPr>
                  <a:t>Information text demo</a:t>
                </a:r>
              </a:p>
            </p:txBody>
          </p:sp>
          <p:cxnSp>
            <p:nvCxnSpPr>
              <p:cNvPr id="64" name="Прямая соединительная линия 86">
                <a:extLst>
                  <a:ext uri="{FF2B5EF4-FFF2-40B4-BE49-F238E27FC236}">
                    <a16:creationId xmlns:a16="http://schemas.microsoft.com/office/drawing/2014/main" id="{ECB5F830-F045-4001-8C48-9E95E498A580}"/>
                  </a:ext>
                </a:extLst>
              </p:cNvPr>
              <p:cNvCxnSpPr>
                <a:cxnSpLocks/>
              </p:cNvCxnSpPr>
              <p:nvPr/>
            </p:nvCxnSpPr>
            <p:spPr bwMode="auto">
              <a:xfrm>
                <a:off x="4526085" y="9022080"/>
                <a:ext cx="2814944" cy="0"/>
              </a:xfrm>
              <a:prstGeom prst="line">
                <a:avLst/>
              </a:prstGeom>
              <a:blipFill dpi="0" rotWithShape="0">
                <a:blip r:embed="rId4"/>
                <a:srcRect/>
                <a:tile tx="0" ty="0" sx="100000" sy="100000" flip="none" algn="tl"/>
              </a:blipFill>
              <a:ln w="57150" cap="flat" cmpd="sng" algn="ctr">
                <a:solidFill>
                  <a:schemeClr val="accent1">
                    <a:lumMod val="100000"/>
                  </a:schemeClr>
                </a:solidFill>
                <a:prstDash val="solid"/>
                <a:miter lim="400000"/>
                <a:headEnd type="none" w="med" len="med"/>
                <a:tailEnd type="none" w="med" len="med"/>
              </a:ln>
              <a:effectLst/>
            </p:spPr>
          </p:cxnSp>
          <p:sp>
            <p:nvSpPr>
              <p:cNvPr id="65" name="TextBox 46">
                <a:extLst>
                  <a:ext uri="{FF2B5EF4-FFF2-40B4-BE49-F238E27FC236}">
                    <a16:creationId xmlns:a16="http://schemas.microsoft.com/office/drawing/2014/main" id="{21FC8CDE-2CA7-4DEB-A01F-E9CBB9468288}"/>
                  </a:ext>
                </a:extLst>
              </p:cNvPr>
              <p:cNvSpPr txBox="1">
                <a:spLocks noChangeArrowheads="1"/>
              </p:cNvSpPr>
              <p:nvPr/>
            </p:nvSpPr>
            <p:spPr bwMode="auto">
              <a:xfrm>
                <a:off x="4440435" y="9230033"/>
                <a:ext cx="3740149" cy="4924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1pPr>
                <a:lvl2pPr marL="742950" indent="-28575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2pPr>
                <a:lvl3pPr marL="11430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3pPr>
                <a:lvl4pPr marL="16002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4pPr>
                <a:lvl5pPr marL="20574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5pPr>
                <a:lvl6pPr marL="25146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6pPr>
                <a:lvl7pPr marL="29718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7pPr>
                <a:lvl8pPr marL="34290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8pPr>
                <a:lvl9pPr marL="38862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000" b="1" i="0" u="none" strike="noStrike" kern="1200" cap="none" spc="0" normalizeH="0" baseline="0" noProof="0" dirty="0">
                    <a:ln>
                      <a:noFill/>
                    </a:ln>
                    <a:solidFill>
                      <a:schemeClr val="accent1"/>
                    </a:solidFill>
                    <a:effectLst/>
                    <a:uLnTx/>
                    <a:uFillTx/>
                    <a:latin typeface="Arial"/>
                    <a:ea typeface="+mn-ea"/>
                    <a:cs typeface="+mn-ea"/>
                    <a:sym typeface="+mn-lt"/>
                  </a:rPr>
                  <a:t>Information text</a:t>
                </a:r>
              </a:p>
            </p:txBody>
          </p:sp>
          <p:sp>
            <p:nvSpPr>
              <p:cNvPr id="66" name="TextBox 46">
                <a:extLst>
                  <a:ext uri="{FF2B5EF4-FFF2-40B4-BE49-F238E27FC236}">
                    <a16:creationId xmlns:a16="http://schemas.microsoft.com/office/drawing/2014/main" id="{38CF9641-19F8-43A7-B8EC-4E05F9B69AAF}"/>
                  </a:ext>
                </a:extLst>
              </p:cNvPr>
              <p:cNvSpPr txBox="1">
                <a:spLocks noChangeArrowheads="1"/>
              </p:cNvSpPr>
              <p:nvPr/>
            </p:nvSpPr>
            <p:spPr bwMode="auto">
              <a:xfrm>
                <a:off x="4406339" y="1512392"/>
                <a:ext cx="1741502" cy="615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1pPr>
                <a:lvl2pPr marL="742950" indent="-28575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2pPr>
                <a:lvl3pPr marL="11430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3pPr>
                <a:lvl4pPr marL="16002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4pPr>
                <a:lvl5pPr marL="20574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5pPr>
                <a:lvl6pPr marL="25146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6pPr>
                <a:lvl7pPr marL="29718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7pPr>
                <a:lvl8pPr marL="34290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8pPr>
                <a:lvl9pPr marL="38862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400" b="1" i="0" u="none" strike="noStrike" kern="1200" cap="none" spc="0" normalizeH="0" baseline="0" noProof="0" dirty="0">
                    <a:ln>
                      <a:noFill/>
                    </a:ln>
                    <a:solidFill>
                      <a:schemeClr val="accent1"/>
                    </a:solidFill>
                    <a:effectLst/>
                    <a:uLnTx/>
                    <a:uFillTx/>
                    <a:latin typeface="Arial"/>
                    <a:ea typeface="+mn-ea"/>
                    <a:cs typeface="+mn-ea"/>
                    <a:sym typeface="+mn-lt"/>
                  </a:rPr>
                  <a:t>Cause 1</a:t>
                </a:r>
              </a:p>
            </p:txBody>
          </p:sp>
          <p:sp>
            <p:nvSpPr>
              <p:cNvPr id="67" name="TextBox 46">
                <a:extLst>
                  <a:ext uri="{FF2B5EF4-FFF2-40B4-BE49-F238E27FC236}">
                    <a16:creationId xmlns:a16="http://schemas.microsoft.com/office/drawing/2014/main" id="{AEC2241B-164C-4C26-B5BF-561D3E5C5F08}"/>
                  </a:ext>
                </a:extLst>
              </p:cNvPr>
              <p:cNvSpPr txBox="1">
                <a:spLocks noChangeArrowheads="1"/>
              </p:cNvSpPr>
              <p:nvPr/>
            </p:nvSpPr>
            <p:spPr bwMode="auto">
              <a:xfrm>
                <a:off x="4406339" y="10534023"/>
                <a:ext cx="1741502" cy="615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1pPr>
                <a:lvl2pPr marL="742950" indent="-28575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2pPr>
                <a:lvl3pPr marL="11430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3pPr>
                <a:lvl4pPr marL="16002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4pPr>
                <a:lvl5pPr marL="20574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5pPr>
                <a:lvl6pPr marL="25146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6pPr>
                <a:lvl7pPr marL="29718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7pPr>
                <a:lvl8pPr marL="34290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8pPr>
                <a:lvl9pPr marL="38862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400" b="1" i="0" u="none" strike="noStrike" kern="1200" cap="none" spc="0" normalizeH="0" baseline="0" noProof="0">
                    <a:ln>
                      <a:noFill/>
                    </a:ln>
                    <a:solidFill>
                      <a:schemeClr val="accent1"/>
                    </a:solidFill>
                    <a:effectLst/>
                    <a:uLnTx/>
                    <a:uFillTx/>
                    <a:latin typeface="Arial"/>
                    <a:ea typeface="+mn-ea"/>
                    <a:cs typeface="+mn-ea"/>
                    <a:sym typeface="+mn-lt"/>
                  </a:rPr>
                  <a:t>Cause 2</a:t>
                </a:r>
              </a:p>
            </p:txBody>
          </p:sp>
          <p:sp>
            <p:nvSpPr>
              <p:cNvPr id="68" name="Freeform 8">
                <a:extLst>
                  <a:ext uri="{FF2B5EF4-FFF2-40B4-BE49-F238E27FC236}">
                    <a16:creationId xmlns:a16="http://schemas.microsoft.com/office/drawing/2014/main" id="{FD225CDA-6A14-4795-A12D-6C6FD5C04FF5}"/>
                  </a:ext>
                </a:extLst>
              </p:cNvPr>
              <p:cNvSpPr>
                <a:spLocks/>
              </p:cNvSpPr>
              <p:nvPr/>
            </p:nvSpPr>
            <p:spPr bwMode="auto">
              <a:xfrm flipH="1">
                <a:off x="4526085" y="4139226"/>
                <a:ext cx="5178953" cy="153888"/>
              </a:xfrm>
              <a:custGeom>
                <a:avLst/>
                <a:gdLst>
                  <a:gd name="T0" fmla="*/ 0 w 5233536"/>
                  <a:gd name="T1" fmla="*/ 4090223 h 4081111"/>
                  <a:gd name="T2" fmla="*/ 3351619 w 5233536"/>
                  <a:gd name="T3" fmla="*/ 1943 h 4081111"/>
                  <a:gd name="T4" fmla="*/ 5239591 w 5233536"/>
                  <a:gd name="T5" fmla="*/ 0 h 4081111"/>
                  <a:gd name="T6" fmla="*/ 0 60000 65536"/>
                  <a:gd name="T7" fmla="*/ 0 60000 65536"/>
                  <a:gd name="T8" fmla="*/ 0 60000 65536"/>
                </a:gdLst>
                <a:ahLst/>
                <a:cxnLst>
                  <a:cxn ang="T6">
                    <a:pos x="T0" y="T1"/>
                  </a:cxn>
                  <a:cxn ang="T7">
                    <a:pos x="T2" y="T3"/>
                  </a:cxn>
                  <a:cxn ang="T8">
                    <a:pos x="T4" y="T5"/>
                  </a:cxn>
                </a:cxnLst>
                <a:rect l="0" t="0" r="r" b="b"/>
                <a:pathLst>
                  <a:path w="5233536" h="4081111">
                    <a:moveTo>
                      <a:pt x="0" y="4081111"/>
                    </a:moveTo>
                    <a:lnTo>
                      <a:pt x="3347745" y="1936"/>
                    </a:lnTo>
                    <a:lnTo>
                      <a:pt x="5233536" y="0"/>
                    </a:lnTo>
                  </a:path>
                </a:pathLst>
              </a:custGeom>
              <a:noFill/>
              <a:ln w="57150" cap="flat" cmpd="sng">
                <a:solidFill>
                  <a:schemeClr val="accent1">
                    <a:lumMod val="100000"/>
                  </a:schemeClr>
                </a:solidFill>
                <a:prstDash val="solid"/>
                <a:miter lim="400000"/>
                <a:headEnd type="none" w="med" len="med"/>
                <a:tailEnd type="none" w="med" len="med"/>
              </a:ln>
              <a:extLst>
                <a:ext uri="{909E8E84-426E-40DD-AFC4-6F175D3DCCD1}">
                  <a14:hiddenFill xmlns:a14="http://schemas.microsoft.com/office/drawing/2010/main">
                    <a:solidFill>
                      <a:srgbClr val="FFFFFF"/>
                    </a:solidFill>
                  </a14:hiddenFill>
                </a:ext>
              </a:extLst>
            </p:spPr>
            <p:txBody>
              <a:bodyPr wrap="square" lIns="0" tIns="0" rIns="0" bIns="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500" b="0" i="0" u="none" strike="noStrike" kern="1200" cap="none" spc="0" normalizeH="0" baseline="0" noProof="0">
                  <a:ln>
                    <a:noFill/>
                  </a:ln>
                  <a:solidFill>
                    <a:srgbClr val="009FDE"/>
                  </a:solidFill>
                  <a:effectLst/>
                  <a:uLnTx/>
                  <a:uFillTx/>
                  <a:latin typeface="Arial"/>
                  <a:cs typeface="+mn-ea"/>
                  <a:sym typeface="+mn-lt"/>
                </a:endParaRPr>
              </a:p>
            </p:txBody>
          </p:sp>
          <p:sp>
            <p:nvSpPr>
              <p:cNvPr id="69" name="Oval 66">
                <a:extLst>
                  <a:ext uri="{FF2B5EF4-FFF2-40B4-BE49-F238E27FC236}">
                    <a16:creationId xmlns:a16="http://schemas.microsoft.com/office/drawing/2014/main" id="{2290E629-EAA1-4977-BF35-601679CDA814}"/>
                  </a:ext>
                </a:extLst>
              </p:cNvPr>
              <p:cNvSpPr>
                <a:spLocks noChangeArrowheads="1"/>
              </p:cNvSpPr>
              <p:nvPr/>
            </p:nvSpPr>
            <p:spPr bwMode="auto">
              <a:xfrm>
                <a:off x="6172253" y="2087660"/>
                <a:ext cx="308318" cy="216396"/>
              </a:xfrm>
              <a:prstGeom prst="ellipse">
                <a:avLst/>
              </a:prstGeom>
              <a:solidFill>
                <a:schemeClr val="accent1">
                  <a:lumMod val="100000"/>
                </a:schemeClr>
              </a:solidFill>
              <a:ln w="57150">
                <a:solidFill>
                  <a:schemeClr val="accent1">
                    <a:lumMod val="100000"/>
                  </a:schemeClr>
                </a:solidFill>
                <a:miter lim="400000"/>
                <a:headEnd/>
                <a:tailEnd/>
              </a:ln>
            </p:spPr>
            <p:txBody>
              <a:bodyPr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altLang="en-US" sz="500" b="0" i="0" u="none" strike="noStrike" kern="1200" cap="none" spc="0" normalizeH="0" baseline="0" noProof="0">
                  <a:ln>
                    <a:noFill/>
                  </a:ln>
                  <a:solidFill>
                    <a:srgbClr val="009FDE"/>
                  </a:solidFill>
                  <a:effectLst/>
                  <a:uLnTx/>
                  <a:uFillTx/>
                  <a:latin typeface="Arial"/>
                  <a:cs typeface="+mn-ea"/>
                  <a:sym typeface="+mn-lt"/>
                </a:endParaRPr>
              </a:p>
            </p:txBody>
          </p:sp>
          <p:sp>
            <p:nvSpPr>
              <p:cNvPr id="70" name="Oval 66">
                <a:extLst>
                  <a:ext uri="{FF2B5EF4-FFF2-40B4-BE49-F238E27FC236}">
                    <a16:creationId xmlns:a16="http://schemas.microsoft.com/office/drawing/2014/main" id="{9F46E686-F417-4ED3-83F1-300A00764B31}"/>
                  </a:ext>
                </a:extLst>
              </p:cNvPr>
              <p:cNvSpPr>
                <a:spLocks noChangeArrowheads="1"/>
              </p:cNvSpPr>
              <p:nvPr/>
            </p:nvSpPr>
            <p:spPr bwMode="auto">
              <a:xfrm>
                <a:off x="7341698" y="3452930"/>
                <a:ext cx="308318" cy="216396"/>
              </a:xfrm>
              <a:prstGeom prst="ellipse">
                <a:avLst/>
              </a:prstGeom>
              <a:solidFill>
                <a:schemeClr val="tx2"/>
              </a:solidFill>
              <a:ln w="57150">
                <a:solidFill>
                  <a:schemeClr val="accent1">
                    <a:lumMod val="100000"/>
                  </a:schemeClr>
                </a:solidFill>
                <a:miter lim="400000"/>
                <a:headEnd/>
                <a:tailEnd/>
              </a:ln>
            </p:spPr>
            <p:txBody>
              <a:bodyPr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altLang="en-US" sz="500" b="0" i="0" u="none" strike="noStrike" kern="1200" cap="none" spc="0" normalizeH="0" baseline="0" noProof="0">
                  <a:ln>
                    <a:noFill/>
                  </a:ln>
                  <a:solidFill>
                    <a:srgbClr val="009FDE"/>
                  </a:solidFill>
                  <a:effectLst/>
                  <a:uLnTx/>
                  <a:uFillTx/>
                  <a:latin typeface="Arial"/>
                  <a:cs typeface="+mn-ea"/>
                  <a:sym typeface="+mn-lt"/>
                </a:endParaRPr>
              </a:p>
            </p:txBody>
          </p:sp>
          <p:sp>
            <p:nvSpPr>
              <p:cNvPr id="71" name="Oval 66">
                <a:extLst>
                  <a:ext uri="{FF2B5EF4-FFF2-40B4-BE49-F238E27FC236}">
                    <a16:creationId xmlns:a16="http://schemas.microsoft.com/office/drawing/2014/main" id="{8B4AC30A-D8F2-4C2D-B1E1-0A856C57605F}"/>
                  </a:ext>
                </a:extLst>
              </p:cNvPr>
              <p:cNvSpPr>
                <a:spLocks noChangeArrowheads="1"/>
              </p:cNvSpPr>
              <p:nvPr/>
            </p:nvSpPr>
            <p:spPr bwMode="auto">
              <a:xfrm>
                <a:off x="8426502" y="4818200"/>
                <a:ext cx="308318" cy="216396"/>
              </a:xfrm>
              <a:prstGeom prst="ellipse">
                <a:avLst/>
              </a:prstGeom>
              <a:solidFill>
                <a:schemeClr val="tx2"/>
              </a:solidFill>
              <a:ln w="57150">
                <a:solidFill>
                  <a:schemeClr val="accent1">
                    <a:lumMod val="100000"/>
                  </a:schemeClr>
                </a:solidFill>
                <a:miter lim="400000"/>
                <a:headEnd/>
                <a:tailEnd/>
              </a:ln>
            </p:spPr>
            <p:txBody>
              <a:bodyPr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altLang="en-US" sz="500" b="0" i="0" u="none" strike="noStrike" kern="1200" cap="none" spc="0" normalizeH="0" baseline="0" noProof="0">
                  <a:ln>
                    <a:noFill/>
                  </a:ln>
                  <a:solidFill>
                    <a:srgbClr val="009FDE"/>
                  </a:solidFill>
                  <a:effectLst/>
                  <a:uLnTx/>
                  <a:uFillTx/>
                  <a:latin typeface="Arial"/>
                  <a:cs typeface="+mn-ea"/>
                  <a:sym typeface="+mn-lt"/>
                </a:endParaRPr>
              </a:p>
            </p:txBody>
          </p:sp>
          <p:sp>
            <p:nvSpPr>
              <p:cNvPr id="72" name="Freeform 8">
                <a:extLst>
                  <a:ext uri="{FF2B5EF4-FFF2-40B4-BE49-F238E27FC236}">
                    <a16:creationId xmlns:a16="http://schemas.microsoft.com/office/drawing/2014/main" id="{741AEBED-2C56-41CD-A523-40065DEC15E9}"/>
                  </a:ext>
                </a:extLst>
              </p:cNvPr>
              <p:cNvSpPr>
                <a:spLocks/>
              </p:cNvSpPr>
              <p:nvPr/>
            </p:nvSpPr>
            <p:spPr bwMode="auto">
              <a:xfrm flipH="1" flipV="1">
                <a:off x="4527449" y="8290169"/>
                <a:ext cx="5178625" cy="153888"/>
              </a:xfrm>
              <a:custGeom>
                <a:avLst/>
                <a:gdLst>
                  <a:gd name="T0" fmla="*/ 0 w 5233536"/>
                  <a:gd name="T1" fmla="*/ 4094051 h 4081111"/>
                  <a:gd name="T2" fmla="*/ 3350032 w 5233536"/>
                  <a:gd name="T3" fmla="*/ 1943 h 4081111"/>
                  <a:gd name="T4" fmla="*/ 5237106 w 5233536"/>
                  <a:gd name="T5" fmla="*/ 0 h 4081111"/>
                  <a:gd name="T6" fmla="*/ 0 60000 65536"/>
                  <a:gd name="T7" fmla="*/ 0 60000 65536"/>
                  <a:gd name="T8" fmla="*/ 0 60000 65536"/>
                </a:gdLst>
                <a:ahLst/>
                <a:cxnLst>
                  <a:cxn ang="T6">
                    <a:pos x="T0" y="T1"/>
                  </a:cxn>
                  <a:cxn ang="T7">
                    <a:pos x="T2" y="T3"/>
                  </a:cxn>
                  <a:cxn ang="T8">
                    <a:pos x="T4" y="T5"/>
                  </a:cxn>
                </a:cxnLst>
                <a:rect l="0" t="0" r="r" b="b"/>
                <a:pathLst>
                  <a:path w="5233536" h="4081111">
                    <a:moveTo>
                      <a:pt x="0" y="4081111"/>
                    </a:moveTo>
                    <a:lnTo>
                      <a:pt x="3347745" y="1936"/>
                    </a:lnTo>
                    <a:lnTo>
                      <a:pt x="5233536" y="0"/>
                    </a:lnTo>
                  </a:path>
                </a:pathLst>
              </a:custGeom>
              <a:noFill/>
              <a:ln w="57150" cap="flat" cmpd="sng">
                <a:solidFill>
                  <a:schemeClr val="accent1">
                    <a:lumMod val="100000"/>
                  </a:schemeClr>
                </a:solidFill>
                <a:prstDash val="solid"/>
                <a:miter lim="400000"/>
                <a:headEnd type="none" w="med" len="med"/>
                <a:tailEnd type="none" w="med" len="med"/>
              </a:ln>
              <a:extLst>
                <a:ext uri="{909E8E84-426E-40DD-AFC4-6F175D3DCCD1}">
                  <a14:hiddenFill xmlns:a14="http://schemas.microsoft.com/office/drawing/2010/main">
                    <a:solidFill>
                      <a:srgbClr val="FFFFFF"/>
                    </a:solidFill>
                  </a14:hiddenFill>
                </a:ext>
              </a:extLst>
            </p:spPr>
            <p:txBody>
              <a:bodyPr wrap="square" lIns="0" tIns="0" rIns="0" bIns="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500" b="0" i="0" u="none" strike="noStrike" kern="1200" cap="none" spc="0" normalizeH="0" baseline="0" noProof="0">
                  <a:ln>
                    <a:noFill/>
                  </a:ln>
                  <a:solidFill>
                    <a:srgbClr val="009FDE"/>
                  </a:solidFill>
                  <a:effectLst/>
                  <a:uLnTx/>
                  <a:uFillTx/>
                  <a:latin typeface="Arial"/>
                  <a:cs typeface="+mn-ea"/>
                  <a:sym typeface="+mn-lt"/>
                </a:endParaRPr>
              </a:p>
            </p:txBody>
          </p:sp>
          <p:sp>
            <p:nvSpPr>
              <p:cNvPr id="73" name="Oval 66">
                <a:extLst>
                  <a:ext uri="{FF2B5EF4-FFF2-40B4-BE49-F238E27FC236}">
                    <a16:creationId xmlns:a16="http://schemas.microsoft.com/office/drawing/2014/main" id="{3BE24779-EFE2-4767-AD1D-19DDD2740CC4}"/>
                  </a:ext>
                </a:extLst>
              </p:cNvPr>
              <p:cNvSpPr>
                <a:spLocks noChangeArrowheads="1"/>
              </p:cNvSpPr>
              <p:nvPr/>
            </p:nvSpPr>
            <p:spPr bwMode="auto">
              <a:xfrm>
                <a:off x="6172631" y="10276603"/>
                <a:ext cx="307976" cy="216396"/>
              </a:xfrm>
              <a:prstGeom prst="ellipse">
                <a:avLst/>
              </a:prstGeom>
              <a:solidFill>
                <a:schemeClr val="accent1">
                  <a:lumMod val="100000"/>
                </a:schemeClr>
              </a:solidFill>
              <a:ln w="57150">
                <a:solidFill>
                  <a:schemeClr val="accent1">
                    <a:lumMod val="100000"/>
                  </a:schemeClr>
                </a:solidFill>
                <a:miter lim="400000"/>
                <a:headEnd/>
                <a:tailEnd/>
              </a:ln>
            </p:spPr>
            <p:txBody>
              <a:bodyPr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altLang="en-US" sz="500" b="0" i="0" u="none" strike="noStrike" kern="1200" cap="none" spc="0" normalizeH="0" baseline="0" noProof="0">
                  <a:ln>
                    <a:noFill/>
                  </a:ln>
                  <a:solidFill>
                    <a:srgbClr val="009FDE"/>
                  </a:solidFill>
                  <a:effectLst/>
                  <a:uLnTx/>
                  <a:uFillTx/>
                  <a:latin typeface="Arial"/>
                  <a:cs typeface="+mn-ea"/>
                  <a:sym typeface="+mn-lt"/>
                </a:endParaRPr>
              </a:p>
            </p:txBody>
          </p:sp>
          <p:sp>
            <p:nvSpPr>
              <p:cNvPr id="74" name="Oval 66">
                <a:extLst>
                  <a:ext uri="{FF2B5EF4-FFF2-40B4-BE49-F238E27FC236}">
                    <a16:creationId xmlns:a16="http://schemas.microsoft.com/office/drawing/2014/main" id="{149911CC-02C4-483E-AC2D-4A7F677AFBF8}"/>
                  </a:ext>
                </a:extLst>
              </p:cNvPr>
              <p:cNvSpPr>
                <a:spLocks noChangeArrowheads="1"/>
              </p:cNvSpPr>
              <p:nvPr/>
            </p:nvSpPr>
            <p:spPr bwMode="auto">
              <a:xfrm>
                <a:off x="7341028" y="8916137"/>
                <a:ext cx="309564" cy="216396"/>
              </a:xfrm>
              <a:prstGeom prst="ellipse">
                <a:avLst/>
              </a:prstGeom>
              <a:solidFill>
                <a:schemeClr val="tx2"/>
              </a:solidFill>
              <a:ln w="57150">
                <a:solidFill>
                  <a:schemeClr val="accent1">
                    <a:lumMod val="100000"/>
                  </a:schemeClr>
                </a:solidFill>
                <a:miter lim="400000"/>
                <a:headEnd/>
                <a:tailEnd/>
              </a:ln>
            </p:spPr>
            <p:txBody>
              <a:bodyPr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altLang="en-US" sz="500" b="0" i="0" u="none" strike="noStrike" kern="1200" cap="none" spc="0" normalizeH="0" baseline="0" noProof="0">
                  <a:ln>
                    <a:noFill/>
                  </a:ln>
                  <a:solidFill>
                    <a:srgbClr val="009FDE"/>
                  </a:solidFill>
                  <a:effectLst/>
                  <a:uLnTx/>
                  <a:uFillTx/>
                  <a:latin typeface="Arial"/>
                  <a:cs typeface="+mn-ea"/>
                  <a:sym typeface="+mn-lt"/>
                </a:endParaRPr>
              </a:p>
            </p:txBody>
          </p:sp>
          <p:sp>
            <p:nvSpPr>
              <p:cNvPr id="75" name="Oval 66">
                <a:extLst>
                  <a:ext uri="{FF2B5EF4-FFF2-40B4-BE49-F238E27FC236}">
                    <a16:creationId xmlns:a16="http://schemas.microsoft.com/office/drawing/2014/main" id="{EB78ABFA-4329-465B-BF0B-B1B415E5BDF3}"/>
                  </a:ext>
                </a:extLst>
              </p:cNvPr>
              <p:cNvSpPr>
                <a:spLocks noChangeArrowheads="1"/>
              </p:cNvSpPr>
              <p:nvPr/>
            </p:nvSpPr>
            <p:spPr bwMode="auto">
              <a:xfrm>
                <a:off x="8425816" y="7560431"/>
                <a:ext cx="309564" cy="216396"/>
              </a:xfrm>
              <a:prstGeom prst="ellipse">
                <a:avLst/>
              </a:prstGeom>
              <a:solidFill>
                <a:schemeClr val="tx2"/>
              </a:solidFill>
              <a:ln w="57150">
                <a:solidFill>
                  <a:schemeClr val="accent1">
                    <a:lumMod val="100000"/>
                  </a:schemeClr>
                </a:solidFill>
                <a:miter lim="400000"/>
                <a:headEnd/>
                <a:tailEnd/>
              </a:ln>
            </p:spPr>
            <p:txBody>
              <a:bodyPr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altLang="en-US" sz="500" b="0" i="0" u="none" strike="noStrike" kern="1200" cap="none" spc="0" normalizeH="0" baseline="0" noProof="0">
                  <a:ln>
                    <a:noFill/>
                  </a:ln>
                  <a:solidFill>
                    <a:srgbClr val="009FDE"/>
                  </a:solidFill>
                  <a:effectLst/>
                  <a:uLnTx/>
                  <a:uFillTx/>
                  <a:latin typeface="Arial"/>
                  <a:cs typeface="+mn-ea"/>
                  <a:sym typeface="+mn-lt"/>
                </a:endParaRPr>
              </a:p>
            </p:txBody>
          </p:sp>
        </p:grpSp>
        <p:grpSp>
          <p:nvGrpSpPr>
            <p:cNvPr id="57" name="Группа 13">
              <a:extLst>
                <a:ext uri="{FF2B5EF4-FFF2-40B4-BE49-F238E27FC236}">
                  <a16:creationId xmlns:a16="http://schemas.microsoft.com/office/drawing/2014/main" id="{75466038-61EC-4B56-AFB4-AF2616C07058}"/>
                </a:ext>
              </a:extLst>
            </p:cNvPr>
            <p:cNvGrpSpPr/>
            <p:nvPr/>
          </p:nvGrpSpPr>
          <p:grpSpPr>
            <a:xfrm>
              <a:off x="9363359" y="6018729"/>
              <a:ext cx="840946" cy="615554"/>
              <a:chOff x="9062578" y="6018729"/>
              <a:chExt cx="840946" cy="615554"/>
            </a:xfrm>
          </p:grpSpPr>
          <p:sp>
            <p:nvSpPr>
              <p:cNvPr id="58" name="Oval 66">
                <a:extLst>
                  <a:ext uri="{FF2B5EF4-FFF2-40B4-BE49-F238E27FC236}">
                    <a16:creationId xmlns:a16="http://schemas.microsoft.com/office/drawing/2014/main" id="{18964ABB-4637-4471-9FDB-8B1C998D71B4}"/>
                  </a:ext>
                </a:extLst>
              </p:cNvPr>
              <p:cNvSpPr>
                <a:spLocks noChangeArrowheads="1"/>
              </p:cNvSpPr>
              <p:nvPr/>
            </p:nvSpPr>
            <p:spPr bwMode="auto">
              <a:xfrm>
                <a:off x="9062578" y="6182839"/>
                <a:ext cx="840946" cy="216396"/>
              </a:xfrm>
              <a:prstGeom prst="ellipse">
                <a:avLst/>
              </a:prstGeom>
              <a:solidFill>
                <a:schemeClr val="accent1">
                  <a:lumMod val="100000"/>
                </a:schemeClr>
              </a:solidFill>
              <a:ln w="57150">
                <a:solidFill>
                  <a:schemeClr val="accent1">
                    <a:lumMod val="100000"/>
                  </a:schemeClr>
                </a:solidFill>
                <a:miter lim="400000"/>
                <a:headEnd/>
                <a:tailEnd/>
              </a:ln>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altLang="en-US" sz="500" b="0" i="0" u="none" strike="noStrike" kern="1200" cap="none" spc="0" normalizeH="0" baseline="0" noProof="0">
                  <a:ln>
                    <a:noFill/>
                  </a:ln>
                  <a:solidFill>
                    <a:srgbClr val="009FDE"/>
                  </a:solidFill>
                  <a:effectLst/>
                  <a:uLnTx/>
                  <a:uFillTx/>
                  <a:latin typeface="Arial"/>
                  <a:cs typeface="+mn-ea"/>
                  <a:sym typeface="+mn-lt"/>
                </a:endParaRPr>
              </a:p>
            </p:txBody>
          </p:sp>
          <p:sp>
            <p:nvSpPr>
              <p:cNvPr id="59" name="TextBox 46">
                <a:extLst>
                  <a:ext uri="{FF2B5EF4-FFF2-40B4-BE49-F238E27FC236}">
                    <a16:creationId xmlns:a16="http://schemas.microsoft.com/office/drawing/2014/main" id="{A924740F-DECB-4919-B9BF-93424A586E06}"/>
                  </a:ext>
                </a:extLst>
              </p:cNvPr>
              <p:cNvSpPr txBox="1">
                <a:spLocks noChangeArrowheads="1"/>
              </p:cNvSpPr>
              <p:nvPr/>
            </p:nvSpPr>
            <p:spPr bwMode="auto">
              <a:xfrm>
                <a:off x="9195898" y="6018729"/>
                <a:ext cx="594792" cy="615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1pPr>
                <a:lvl2pPr marL="742950" indent="-28575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2pPr>
                <a:lvl3pPr marL="11430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3pPr>
                <a:lvl4pPr marL="16002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4pPr>
                <a:lvl5pPr marL="20574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5pPr>
                <a:lvl6pPr marL="25146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6pPr>
                <a:lvl7pPr marL="29718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7pPr>
                <a:lvl8pPr marL="34290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8pPr>
                <a:lvl9pPr marL="38862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400" b="1" i="0" u="none" strike="noStrike" kern="1200" cap="none" spc="0" normalizeH="0" baseline="0" noProof="0" dirty="0">
                    <a:ln>
                      <a:noFill/>
                    </a:ln>
                    <a:solidFill>
                      <a:srgbClr val="FFFFFF"/>
                    </a:solidFill>
                    <a:effectLst/>
                    <a:uLnTx/>
                    <a:uFillTx/>
                    <a:latin typeface="Arial"/>
                    <a:ea typeface="+mn-ea"/>
                    <a:cs typeface="+mn-ea"/>
                    <a:sym typeface="+mn-lt"/>
                  </a:rPr>
                  <a:t>A</a:t>
                </a:r>
              </a:p>
            </p:txBody>
          </p:sp>
        </p:grpSp>
      </p:grpSp>
      <p:grpSp>
        <p:nvGrpSpPr>
          <p:cNvPr id="7" name="Группа 3">
            <a:extLst>
              <a:ext uri="{FF2B5EF4-FFF2-40B4-BE49-F238E27FC236}">
                <a16:creationId xmlns:a16="http://schemas.microsoft.com/office/drawing/2014/main" id="{578C124B-0EA7-4C98-9D67-451F237E6184}"/>
              </a:ext>
            </a:extLst>
          </p:cNvPr>
          <p:cNvGrpSpPr/>
          <p:nvPr/>
        </p:nvGrpSpPr>
        <p:grpSpPr>
          <a:xfrm>
            <a:off x="3582582" y="1014260"/>
            <a:ext cx="2840673" cy="4818593"/>
            <a:chOff x="10284079" y="1512392"/>
            <a:chExt cx="5681345" cy="9637185"/>
          </a:xfrm>
        </p:grpSpPr>
        <p:grpSp>
          <p:nvGrpSpPr>
            <p:cNvPr id="32" name="Группа 105">
              <a:extLst>
                <a:ext uri="{FF2B5EF4-FFF2-40B4-BE49-F238E27FC236}">
                  <a16:creationId xmlns:a16="http://schemas.microsoft.com/office/drawing/2014/main" id="{7ACDE255-0E78-4FCB-9D60-1FEF294E3EEF}"/>
                </a:ext>
              </a:extLst>
            </p:cNvPr>
            <p:cNvGrpSpPr/>
            <p:nvPr/>
          </p:nvGrpSpPr>
          <p:grpSpPr>
            <a:xfrm>
              <a:off x="10284079" y="1512392"/>
              <a:ext cx="5299735" cy="9637185"/>
              <a:chOff x="4406339" y="1512392"/>
              <a:chExt cx="5299735" cy="9637185"/>
            </a:xfrm>
          </p:grpSpPr>
          <p:grpSp>
            <p:nvGrpSpPr>
              <p:cNvPr id="36" name="Группа 106">
                <a:extLst>
                  <a:ext uri="{FF2B5EF4-FFF2-40B4-BE49-F238E27FC236}">
                    <a16:creationId xmlns:a16="http://schemas.microsoft.com/office/drawing/2014/main" id="{A798673A-2443-4C3C-AD02-1875E1F1E0D1}"/>
                  </a:ext>
                </a:extLst>
              </p:cNvPr>
              <p:cNvGrpSpPr/>
              <p:nvPr/>
            </p:nvGrpSpPr>
            <p:grpSpPr>
              <a:xfrm>
                <a:off x="4440435" y="2949722"/>
                <a:ext cx="3740150" cy="611248"/>
                <a:chOff x="4440435" y="2949722"/>
                <a:chExt cx="3740150" cy="611248"/>
              </a:xfrm>
            </p:grpSpPr>
            <p:cxnSp>
              <p:nvCxnSpPr>
                <p:cNvPr id="54" name="Прямая соединительная линия 154">
                  <a:extLst>
                    <a:ext uri="{FF2B5EF4-FFF2-40B4-BE49-F238E27FC236}">
                      <a16:creationId xmlns:a16="http://schemas.microsoft.com/office/drawing/2014/main" id="{02A636AC-43BF-475E-A1DD-6470BD880261}"/>
                    </a:ext>
                  </a:extLst>
                </p:cNvPr>
                <p:cNvCxnSpPr>
                  <a:cxnSpLocks/>
                </p:cNvCxnSpPr>
                <p:nvPr/>
              </p:nvCxnSpPr>
              <p:spPr bwMode="auto">
                <a:xfrm>
                  <a:off x="4526085" y="3560970"/>
                  <a:ext cx="2814944" cy="0"/>
                </a:xfrm>
                <a:prstGeom prst="line">
                  <a:avLst/>
                </a:prstGeom>
                <a:blipFill dpi="0" rotWithShape="0">
                  <a:blip r:embed="rId4"/>
                  <a:srcRect/>
                  <a:tile tx="0" ty="0" sx="100000" sy="100000" flip="none" algn="tl"/>
                </a:blipFill>
                <a:ln w="57150" cap="flat" cmpd="sng" algn="ctr">
                  <a:solidFill>
                    <a:schemeClr val="accent1">
                      <a:lumMod val="100000"/>
                    </a:schemeClr>
                  </a:solidFill>
                  <a:prstDash val="solid"/>
                  <a:miter lim="400000"/>
                  <a:headEnd type="none" w="med" len="med"/>
                  <a:tailEnd type="none" w="med" len="med"/>
                </a:ln>
                <a:effectLst/>
              </p:spPr>
            </p:cxnSp>
            <p:sp>
              <p:nvSpPr>
                <p:cNvPr id="55" name="TextBox 46">
                  <a:extLst>
                    <a:ext uri="{FF2B5EF4-FFF2-40B4-BE49-F238E27FC236}">
                      <a16:creationId xmlns:a16="http://schemas.microsoft.com/office/drawing/2014/main" id="{F7D68EC7-1348-4A3B-B77B-D277D0D53580}"/>
                    </a:ext>
                  </a:extLst>
                </p:cNvPr>
                <p:cNvSpPr txBox="1">
                  <a:spLocks noChangeArrowheads="1"/>
                </p:cNvSpPr>
                <p:nvPr/>
              </p:nvSpPr>
              <p:spPr bwMode="auto">
                <a:xfrm>
                  <a:off x="4440435" y="2949722"/>
                  <a:ext cx="3740150" cy="4924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1pPr>
                  <a:lvl2pPr marL="742950" indent="-28575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2pPr>
                  <a:lvl3pPr marL="11430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3pPr>
                  <a:lvl4pPr marL="16002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4pPr>
                  <a:lvl5pPr marL="20574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5pPr>
                  <a:lvl6pPr marL="25146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6pPr>
                  <a:lvl7pPr marL="29718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7pPr>
                  <a:lvl8pPr marL="34290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8pPr>
                  <a:lvl9pPr marL="38862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000" b="1" i="0" u="none" strike="noStrike" kern="1200" cap="none" spc="0" normalizeH="0" baseline="0" noProof="0" dirty="0">
                      <a:ln>
                        <a:noFill/>
                      </a:ln>
                      <a:solidFill>
                        <a:schemeClr val="accent1"/>
                      </a:solidFill>
                      <a:effectLst/>
                      <a:uLnTx/>
                      <a:uFillTx/>
                      <a:latin typeface="Arial"/>
                      <a:ea typeface="+mn-ea"/>
                      <a:cs typeface="+mn-ea"/>
                      <a:sym typeface="+mn-lt"/>
                    </a:rPr>
                    <a:t>Information text</a:t>
                  </a:r>
                </a:p>
              </p:txBody>
            </p:sp>
          </p:grpSp>
          <p:grpSp>
            <p:nvGrpSpPr>
              <p:cNvPr id="37" name="Группа 109">
                <a:extLst>
                  <a:ext uri="{FF2B5EF4-FFF2-40B4-BE49-F238E27FC236}">
                    <a16:creationId xmlns:a16="http://schemas.microsoft.com/office/drawing/2014/main" id="{3165F5D8-6B01-4F91-B016-D33E0BB16AB6}"/>
                  </a:ext>
                </a:extLst>
              </p:cNvPr>
              <p:cNvGrpSpPr/>
              <p:nvPr/>
            </p:nvGrpSpPr>
            <p:grpSpPr>
              <a:xfrm>
                <a:off x="4440435" y="4297650"/>
                <a:ext cx="4153650" cy="628747"/>
                <a:chOff x="4440435" y="4297650"/>
                <a:chExt cx="4153650" cy="628747"/>
              </a:xfrm>
            </p:grpSpPr>
            <p:cxnSp>
              <p:nvCxnSpPr>
                <p:cNvPr id="52" name="Прямая соединительная линия 130">
                  <a:extLst>
                    <a:ext uri="{FF2B5EF4-FFF2-40B4-BE49-F238E27FC236}">
                      <a16:creationId xmlns:a16="http://schemas.microsoft.com/office/drawing/2014/main" id="{1255D577-3617-470A-9153-9C01D72A8ADF}"/>
                    </a:ext>
                  </a:extLst>
                </p:cNvPr>
                <p:cNvCxnSpPr>
                  <a:cxnSpLocks/>
                </p:cNvCxnSpPr>
                <p:nvPr/>
              </p:nvCxnSpPr>
              <p:spPr bwMode="auto">
                <a:xfrm>
                  <a:off x="4526085" y="4916624"/>
                  <a:ext cx="4068000" cy="9773"/>
                </a:xfrm>
                <a:prstGeom prst="line">
                  <a:avLst/>
                </a:prstGeom>
                <a:blipFill dpi="0" rotWithShape="0">
                  <a:blip r:embed="rId4"/>
                  <a:srcRect/>
                  <a:tile tx="0" ty="0" sx="100000" sy="100000" flip="none" algn="tl"/>
                </a:blipFill>
                <a:ln w="57150" cap="flat" cmpd="sng" algn="ctr">
                  <a:solidFill>
                    <a:schemeClr val="accent1">
                      <a:lumMod val="100000"/>
                    </a:schemeClr>
                  </a:solidFill>
                  <a:prstDash val="solid"/>
                  <a:miter lim="400000"/>
                  <a:headEnd type="none" w="med" len="med"/>
                  <a:tailEnd type="none" w="med" len="med"/>
                </a:ln>
                <a:effectLst/>
              </p:spPr>
            </p:cxnSp>
            <p:sp>
              <p:nvSpPr>
                <p:cNvPr id="53" name="TextBox 46">
                  <a:extLst>
                    <a:ext uri="{FF2B5EF4-FFF2-40B4-BE49-F238E27FC236}">
                      <a16:creationId xmlns:a16="http://schemas.microsoft.com/office/drawing/2014/main" id="{43140D4C-39EF-4939-9519-39E613F787A4}"/>
                    </a:ext>
                  </a:extLst>
                </p:cNvPr>
                <p:cNvSpPr txBox="1">
                  <a:spLocks noChangeArrowheads="1"/>
                </p:cNvSpPr>
                <p:nvPr/>
              </p:nvSpPr>
              <p:spPr bwMode="auto">
                <a:xfrm>
                  <a:off x="4440435" y="4297650"/>
                  <a:ext cx="3740150" cy="4924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1pPr>
                  <a:lvl2pPr marL="742950" indent="-28575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2pPr>
                  <a:lvl3pPr marL="11430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3pPr>
                  <a:lvl4pPr marL="16002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4pPr>
                  <a:lvl5pPr marL="20574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5pPr>
                  <a:lvl6pPr marL="25146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6pPr>
                  <a:lvl7pPr marL="29718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7pPr>
                  <a:lvl8pPr marL="34290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8pPr>
                  <a:lvl9pPr marL="38862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000" b="1" i="0" u="none" strike="noStrike" kern="1200" cap="none" spc="0" normalizeH="0" baseline="0" noProof="0" dirty="0">
                      <a:ln>
                        <a:noFill/>
                      </a:ln>
                      <a:solidFill>
                        <a:schemeClr val="accent1"/>
                      </a:solidFill>
                      <a:effectLst/>
                      <a:uLnTx/>
                      <a:uFillTx/>
                      <a:latin typeface="Arial"/>
                      <a:ea typeface="+mn-ea"/>
                      <a:cs typeface="+mn-ea"/>
                      <a:sym typeface="+mn-lt"/>
                    </a:rPr>
                    <a:t>Information text demo</a:t>
                  </a:r>
                </a:p>
              </p:txBody>
            </p:sp>
          </p:grpSp>
          <p:cxnSp>
            <p:nvCxnSpPr>
              <p:cNvPr id="38" name="Прямая соединительная линия 111">
                <a:extLst>
                  <a:ext uri="{FF2B5EF4-FFF2-40B4-BE49-F238E27FC236}">
                    <a16:creationId xmlns:a16="http://schemas.microsoft.com/office/drawing/2014/main" id="{F3FD3A08-16A8-4F36-A70E-976BE892AB20}"/>
                  </a:ext>
                </a:extLst>
              </p:cNvPr>
              <p:cNvCxnSpPr>
                <a:cxnSpLocks/>
              </p:cNvCxnSpPr>
              <p:nvPr/>
            </p:nvCxnSpPr>
            <p:spPr bwMode="auto">
              <a:xfrm>
                <a:off x="4526085" y="7679272"/>
                <a:ext cx="4068000" cy="9773"/>
              </a:xfrm>
              <a:prstGeom prst="line">
                <a:avLst/>
              </a:prstGeom>
              <a:blipFill dpi="0" rotWithShape="0">
                <a:blip r:embed="rId4"/>
                <a:srcRect/>
                <a:tile tx="0" ty="0" sx="100000" sy="100000" flip="none" algn="tl"/>
              </a:blipFill>
              <a:ln w="57150" cap="flat" cmpd="sng" algn="ctr">
                <a:solidFill>
                  <a:schemeClr val="accent1">
                    <a:lumMod val="100000"/>
                  </a:schemeClr>
                </a:solidFill>
                <a:prstDash val="solid"/>
                <a:miter lim="400000"/>
                <a:headEnd type="none" w="med" len="med"/>
                <a:tailEnd type="none" w="med" len="med"/>
              </a:ln>
              <a:effectLst/>
            </p:spPr>
          </p:cxnSp>
          <p:sp>
            <p:nvSpPr>
              <p:cNvPr id="39" name="TextBox 46">
                <a:extLst>
                  <a:ext uri="{FF2B5EF4-FFF2-40B4-BE49-F238E27FC236}">
                    <a16:creationId xmlns:a16="http://schemas.microsoft.com/office/drawing/2014/main" id="{7922071B-8781-4492-998E-5276A3B219ED}"/>
                  </a:ext>
                </a:extLst>
              </p:cNvPr>
              <p:cNvSpPr txBox="1">
                <a:spLocks noChangeArrowheads="1"/>
              </p:cNvSpPr>
              <p:nvPr/>
            </p:nvSpPr>
            <p:spPr bwMode="auto">
              <a:xfrm>
                <a:off x="4440435" y="7879499"/>
                <a:ext cx="3740149" cy="4924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1pPr>
                <a:lvl2pPr marL="742950" indent="-28575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2pPr>
                <a:lvl3pPr marL="11430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3pPr>
                <a:lvl4pPr marL="16002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4pPr>
                <a:lvl5pPr marL="20574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5pPr>
                <a:lvl6pPr marL="25146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6pPr>
                <a:lvl7pPr marL="29718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7pPr>
                <a:lvl8pPr marL="34290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8pPr>
                <a:lvl9pPr marL="38862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000" b="1" i="0" u="none" strike="noStrike" kern="1200" cap="none" spc="0" normalizeH="0" baseline="0" noProof="0" dirty="0">
                    <a:ln>
                      <a:noFill/>
                    </a:ln>
                    <a:solidFill>
                      <a:schemeClr val="accent1"/>
                    </a:solidFill>
                    <a:effectLst/>
                    <a:uLnTx/>
                    <a:uFillTx/>
                    <a:latin typeface="Arial"/>
                    <a:ea typeface="+mn-ea"/>
                    <a:cs typeface="+mn-ea"/>
                    <a:sym typeface="+mn-lt"/>
                  </a:rPr>
                  <a:t>Information text demo</a:t>
                </a:r>
              </a:p>
            </p:txBody>
          </p:sp>
          <p:cxnSp>
            <p:nvCxnSpPr>
              <p:cNvPr id="40" name="Прямая соединительная линия 113">
                <a:extLst>
                  <a:ext uri="{FF2B5EF4-FFF2-40B4-BE49-F238E27FC236}">
                    <a16:creationId xmlns:a16="http://schemas.microsoft.com/office/drawing/2014/main" id="{EEC657BD-AECE-4A65-8473-D51F7C0024CE}"/>
                  </a:ext>
                </a:extLst>
              </p:cNvPr>
              <p:cNvCxnSpPr>
                <a:cxnSpLocks/>
              </p:cNvCxnSpPr>
              <p:nvPr/>
            </p:nvCxnSpPr>
            <p:spPr bwMode="auto">
              <a:xfrm>
                <a:off x="4526085" y="9022080"/>
                <a:ext cx="2814944" cy="0"/>
              </a:xfrm>
              <a:prstGeom prst="line">
                <a:avLst/>
              </a:prstGeom>
              <a:blipFill dpi="0" rotWithShape="0">
                <a:blip r:embed="rId4"/>
                <a:srcRect/>
                <a:tile tx="0" ty="0" sx="100000" sy="100000" flip="none" algn="tl"/>
              </a:blipFill>
              <a:ln w="57150" cap="flat" cmpd="sng" algn="ctr">
                <a:solidFill>
                  <a:schemeClr val="accent1">
                    <a:lumMod val="100000"/>
                  </a:schemeClr>
                </a:solidFill>
                <a:prstDash val="solid"/>
                <a:miter lim="400000"/>
                <a:headEnd type="none" w="med" len="med"/>
                <a:tailEnd type="none" w="med" len="med"/>
              </a:ln>
              <a:effectLst/>
            </p:spPr>
          </p:cxnSp>
          <p:sp>
            <p:nvSpPr>
              <p:cNvPr id="41" name="TextBox 46">
                <a:extLst>
                  <a:ext uri="{FF2B5EF4-FFF2-40B4-BE49-F238E27FC236}">
                    <a16:creationId xmlns:a16="http://schemas.microsoft.com/office/drawing/2014/main" id="{DB4B05E9-59BB-4A9B-AAFD-FB627CC6C105}"/>
                  </a:ext>
                </a:extLst>
              </p:cNvPr>
              <p:cNvSpPr txBox="1">
                <a:spLocks noChangeArrowheads="1"/>
              </p:cNvSpPr>
              <p:nvPr/>
            </p:nvSpPr>
            <p:spPr bwMode="auto">
              <a:xfrm>
                <a:off x="4440435" y="9230033"/>
                <a:ext cx="3740149" cy="4924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1pPr>
                <a:lvl2pPr marL="742950" indent="-28575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2pPr>
                <a:lvl3pPr marL="11430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3pPr>
                <a:lvl4pPr marL="16002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4pPr>
                <a:lvl5pPr marL="20574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5pPr>
                <a:lvl6pPr marL="25146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6pPr>
                <a:lvl7pPr marL="29718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7pPr>
                <a:lvl8pPr marL="34290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8pPr>
                <a:lvl9pPr marL="38862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000" b="1" i="0" u="none" strike="noStrike" kern="1200" cap="none" spc="0" normalizeH="0" baseline="0" noProof="0" dirty="0">
                    <a:ln>
                      <a:noFill/>
                    </a:ln>
                    <a:solidFill>
                      <a:schemeClr val="accent1"/>
                    </a:solidFill>
                    <a:effectLst/>
                    <a:uLnTx/>
                    <a:uFillTx/>
                    <a:latin typeface="Arial"/>
                    <a:ea typeface="+mn-ea"/>
                    <a:cs typeface="+mn-ea"/>
                    <a:sym typeface="+mn-lt"/>
                  </a:rPr>
                  <a:t>Information text</a:t>
                </a:r>
              </a:p>
            </p:txBody>
          </p:sp>
          <p:sp>
            <p:nvSpPr>
              <p:cNvPr id="42" name="TextBox 46">
                <a:extLst>
                  <a:ext uri="{FF2B5EF4-FFF2-40B4-BE49-F238E27FC236}">
                    <a16:creationId xmlns:a16="http://schemas.microsoft.com/office/drawing/2014/main" id="{E8361DF1-35C1-4C20-A049-2C6A7AE45A78}"/>
                  </a:ext>
                </a:extLst>
              </p:cNvPr>
              <p:cNvSpPr txBox="1">
                <a:spLocks noChangeArrowheads="1"/>
              </p:cNvSpPr>
              <p:nvPr/>
            </p:nvSpPr>
            <p:spPr bwMode="auto">
              <a:xfrm>
                <a:off x="4406339" y="1512392"/>
                <a:ext cx="1741502" cy="615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1pPr>
                <a:lvl2pPr marL="742950" indent="-28575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2pPr>
                <a:lvl3pPr marL="11430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3pPr>
                <a:lvl4pPr marL="16002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4pPr>
                <a:lvl5pPr marL="20574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5pPr>
                <a:lvl6pPr marL="25146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6pPr>
                <a:lvl7pPr marL="29718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7pPr>
                <a:lvl8pPr marL="34290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8pPr>
                <a:lvl9pPr marL="38862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400" b="1" i="0" u="none" strike="noStrike" kern="1200" cap="none" spc="0" normalizeH="0" baseline="0" noProof="0" dirty="0">
                    <a:ln>
                      <a:noFill/>
                    </a:ln>
                    <a:solidFill>
                      <a:schemeClr val="accent1"/>
                    </a:solidFill>
                    <a:effectLst/>
                    <a:uLnTx/>
                    <a:uFillTx/>
                    <a:latin typeface="Arial"/>
                    <a:ea typeface="+mn-ea"/>
                    <a:cs typeface="+mn-ea"/>
                    <a:sym typeface="+mn-lt"/>
                  </a:rPr>
                  <a:t>Cause </a:t>
                </a:r>
                <a:r>
                  <a:rPr kumimoji="0" lang="ru-RU" altLang="en-US" sz="1400" b="1" i="0" u="none" strike="noStrike" kern="1200" cap="none" spc="0" normalizeH="0" baseline="0" noProof="0" dirty="0">
                    <a:ln>
                      <a:noFill/>
                    </a:ln>
                    <a:solidFill>
                      <a:schemeClr val="accent1"/>
                    </a:solidFill>
                    <a:effectLst/>
                    <a:uLnTx/>
                    <a:uFillTx/>
                    <a:latin typeface="Arial"/>
                    <a:ea typeface="+mn-ea"/>
                    <a:cs typeface="+mn-ea"/>
                    <a:sym typeface="+mn-lt"/>
                  </a:rPr>
                  <a:t>3</a:t>
                </a:r>
                <a:endParaRPr kumimoji="0" lang="en-US" altLang="en-US" sz="1400" b="1" i="0" u="none" strike="noStrike" kern="1200" cap="none" spc="0" normalizeH="0" baseline="0" noProof="0" dirty="0">
                  <a:ln>
                    <a:noFill/>
                  </a:ln>
                  <a:solidFill>
                    <a:schemeClr val="accent1"/>
                  </a:solidFill>
                  <a:effectLst/>
                  <a:uLnTx/>
                  <a:uFillTx/>
                  <a:latin typeface="Arial"/>
                  <a:ea typeface="+mn-ea"/>
                  <a:cs typeface="+mn-ea"/>
                  <a:sym typeface="+mn-lt"/>
                </a:endParaRPr>
              </a:p>
            </p:txBody>
          </p:sp>
          <p:sp>
            <p:nvSpPr>
              <p:cNvPr id="43" name="TextBox 46">
                <a:extLst>
                  <a:ext uri="{FF2B5EF4-FFF2-40B4-BE49-F238E27FC236}">
                    <a16:creationId xmlns:a16="http://schemas.microsoft.com/office/drawing/2014/main" id="{C6CF303A-C010-455F-BD02-53F8805FD713}"/>
                  </a:ext>
                </a:extLst>
              </p:cNvPr>
              <p:cNvSpPr txBox="1">
                <a:spLocks noChangeArrowheads="1"/>
              </p:cNvSpPr>
              <p:nvPr/>
            </p:nvSpPr>
            <p:spPr bwMode="auto">
              <a:xfrm>
                <a:off x="4406339" y="10534023"/>
                <a:ext cx="1741502" cy="615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1pPr>
                <a:lvl2pPr marL="742950" indent="-28575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2pPr>
                <a:lvl3pPr marL="11430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3pPr>
                <a:lvl4pPr marL="16002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4pPr>
                <a:lvl5pPr marL="20574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5pPr>
                <a:lvl6pPr marL="25146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6pPr>
                <a:lvl7pPr marL="29718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7pPr>
                <a:lvl8pPr marL="34290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8pPr>
                <a:lvl9pPr marL="38862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400" b="1" i="0" u="none" strike="noStrike" kern="1200" cap="none" spc="0" normalizeH="0" baseline="0" noProof="0" dirty="0">
                    <a:ln>
                      <a:noFill/>
                    </a:ln>
                    <a:solidFill>
                      <a:schemeClr val="accent1"/>
                    </a:solidFill>
                    <a:effectLst/>
                    <a:uLnTx/>
                    <a:uFillTx/>
                    <a:latin typeface="Arial"/>
                    <a:ea typeface="+mn-ea"/>
                    <a:cs typeface="+mn-ea"/>
                    <a:sym typeface="+mn-lt"/>
                  </a:rPr>
                  <a:t>Cause </a:t>
                </a:r>
                <a:r>
                  <a:rPr kumimoji="0" lang="ru-RU" altLang="en-US" sz="1400" b="1" i="0" u="none" strike="noStrike" kern="1200" cap="none" spc="0" normalizeH="0" baseline="0" noProof="0" dirty="0">
                    <a:ln>
                      <a:noFill/>
                    </a:ln>
                    <a:solidFill>
                      <a:schemeClr val="accent1"/>
                    </a:solidFill>
                    <a:effectLst/>
                    <a:uLnTx/>
                    <a:uFillTx/>
                    <a:latin typeface="Arial"/>
                    <a:ea typeface="+mn-ea"/>
                    <a:cs typeface="+mn-ea"/>
                    <a:sym typeface="+mn-lt"/>
                  </a:rPr>
                  <a:t>4</a:t>
                </a:r>
                <a:endParaRPr kumimoji="0" lang="en-US" altLang="en-US" sz="1400" b="1" i="0" u="none" strike="noStrike" kern="1200" cap="none" spc="0" normalizeH="0" baseline="0" noProof="0" dirty="0">
                  <a:ln>
                    <a:noFill/>
                  </a:ln>
                  <a:solidFill>
                    <a:schemeClr val="accent1"/>
                  </a:solidFill>
                  <a:effectLst/>
                  <a:uLnTx/>
                  <a:uFillTx/>
                  <a:latin typeface="Arial"/>
                  <a:ea typeface="+mn-ea"/>
                  <a:cs typeface="+mn-ea"/>
                  <a:sym typeface="+mn-lt"/>
                </a:endParaRPr>
              </a:p>
            </p:txBody>
          </p:sp>
          <p:sp>
            <p:nvSpPr>
              <p:cNvPr id="44" name="Freeform 8">
                <a:extLst>
                  <a:ext uri="{FF2B5EF4-FFF2-40B4-BE49-F238E27FC236}">
                    <a16:creationId xmlns:a16="http://schemas.microsoft.com/office/drawing/2014/main" id="{E779442C-38FC-4A72-A018-05C619D6418D}"/>
                  </a:ext>
                </a:extLst>
              </p:cNvPr>
              <p:cNvSpPr>
                <a:spLocks/>
              </p:cNvSpPr>
              <p:nvPr/>
            </p:nvSpPr>
            <p:spPr bwMode="auto">
              <a:xfrm flipH="1">
                <a:off x="4526085" y="4139226"/>
                <a:ext cx="5178953" cy="153888"/>
              </a:xfrm>
              <a:custGeom>
                <a:avLst/>
                <a:gdLst>
                  <a:gd name="T0" fmla="*/ 0 w 5233536"/>
                  <a:gd name="T1" fmla="*/ 4090223 h 4081111"/>
                  <a:gd name="T2" fmla="*/ 3351619 w 5233536"/>
                  <a:gd name="T3" fmla="*/ 1943 h 4081111"/>
                  <a:gd name="T4" fmla="*/ 5239591 w 5233536"/>
                  <a:gd name="T5" fmla="*/ 0 h 4081111"/>
                  <a:gd name="T6" fmla="*/ 0 60000 65536"/>
                  <a:gd name="T7" fmla="*/ 0 60000 65536"/>
                  <a:gd name="T8" fmla="*/ 0 60000 65536"/>
                </a:gdLst>
                <a:ahLst/>
                <a:cxnLst>
                  <a:cxn ang="T6">
                    <a:pos x="T0" y="T1"/>
                  </a:cxn>
                  <a:cxn ang="T7">
                    <a:pos x="T2" y="T3"/>
                  </a:cxn>
                  <a:cxn ang="T8">
                    <a:pos x="T4" y="T5"/>
                  </a:cxn>
                </a:cxnLst>
                <a:rect l="0" t="0" r="r" b="b"/>
                <a:pathLst>
                  <a:path w="5233536" h="4081111">
                    <a:moveTo>
                      <a:pt x="0" y="4081111"/>
                    </a:moveTo>
                    <a:lnTo>
                      <a:pt x="3347745" y="1936"/>
                    </a:lnTo>
                    <a:lnTo>
                      <a:pt x="5233536" y="0"/>
                    </a:lnTo>
                  </a:path>
                </a:pathLst>
              </a:custGeom>
              <a:noFill/>
              <a:ln w="57150" cap="flat" cmpd="sng">
                <a:solidFill>
                  <a:schemeClr val="accent1">
                    <a:lumMod val="100000"/>
                  </a:schemeClr>
                </a:solidFill>
                <a:prstDash val="solid"/>
                <a:miter lim="400000"/>
                <a:headEnd type="none" w="med" len="med"/>
                <a:tailEnd type="none" w="med" len="med"/>
              </a:ln>
              <a:extLst>
                <a:ext uri="{909E8E84-426E-40DD-AFC4-6F175D3DCCD1}">
                  <a14:hiddenFill xmlns:a14="http://schemas.microsoft.com/office/drawing/2010/main">
                    <a:solidFill>
                      <a:srgbClr val="FFFFFF"/>
                    </a:solidFill>
                  </a14:hiddenFill>
                </a:ext>
              </a:extLst>
            </p:spPr>
            <p:txBody>
              <a:bodyPr wrap="square" lIns="0" tIns="0" rIns="0" bIns="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500" b="0" i="0" u="none" strike="noStrike" kern="1200" cap="none" spc="0" normalizeH="0" baseline="0" noProof="0">
                  <a:ln>
                    <a:noFill/>
                  </a:ln>
                  <a:solidFill>
                    <a:srgbClr val="0677C7"/>
                  </a:solidFill>
                  <a:effectLst/>
                  <a:uLnTx/>
                  <a:uFillTx/>
                  <a:latin typeface="Arial"/>
                  <a:cs typeface="+mn-ea"/>
                  <a:sym typeface="+mn-lt"/>
                </a:endParaRPr>
              </a:p>
            </p:txBody>
          </p:sp>
          <p:sp>
            <p:nvSpPr>
              <p:cNvPr id="45" name="Oval 66">
                <a:extLst>
                  <a:ext uri="{FF2B5EF4-FFF2-40B4-BE49-F238E27FC236}">
                    <a16:creationId xmlns:a16="http://schemas.microsoft.com/office/drawing/2014/main" id="{0AFF9081-9404-4808-A1BD-ADB8401E8AF5}"/>
                  </a:ext>
                </a:extLst>
              </p:cNvPr>
              <p:cNvSpPr>
                <a:spLocks noChangeArrowheads="1"/>
              </p:cNvSpPr>
              <p:nvPr/>
            </p:nvSpPr>
            <p:spPr bwMode="auto">
              <a:xfrm>
                <a:off x="6172253" y="2087660"/>
                <a:ext cx="308318" cy="216396"/>
              </a:xfrm>
              <a:prstGeom prst="ellipse">
                <a:avLst/>
              </a:prstGeom>
              <a:solidFill>
                <a:schemeClr val="accent1">
                  <a:lumMod val="100000"/>
                </a:schemeClr>
              </a:solidFill>
              <a:ln w="57150">
                <a:solidFill>
                  <a:schemeClr val="accent1">
                    <a:lumMod val="100000"/>
                  </a:schemeClr>
                </a:solidFill>
                <a:miter lim="400000"/>
                <a:headEnd/>
                <a:tailEnd/>
              </a:ln>
            </p:spPr>
            <p:txBody>
              <a:bodyPr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altLang="en-US" sz="500" b="0" i="0" u="none" strike="noStrike" kern="1200" cap="none" spc="0" normalizeH="0" baseline="0" noProof="0">
                  <a:ln>
                    <a:noFill/>
                  </a:ln>
                  <a:solidFill>
                    <a:srgbClr val="0677C7"/>
                  </a:solidFill>
                  <a:effectLst/>
                  <a:uLnTx/>
                  <a:uFillTx/>
                  <a:latin typeface="Arial"/>
                  <a:cs typeface="+mn-ea"/>
                  <a:sym typeface="+mn-lt"/>
                </a:endParaRPr>
              </a:p>
            </p:txBody>
          </p:sp>
          <p:sp>
            <p:nvSpPr>
              <p:cNvPr id="46" name="Oval 66">
                <a:extLst>
                  <a:ext uri="{FF2B5EF4-FFF2-40B4-BE49-F238E27FC236}">
                    <a16:creationId xmlns:a16="http://schemas.microsoft.com/office/drawing/2014/main" id="{A2ADDD54-272F-4CDB-BA94-526857E8DC2D}"/>
                  </a:ext>
                </a:extLst>
              </p:cNvPr>
              <p:cNvSpPr>
                <a:spLocks noChangeArrowheads="1"/>
              </p:cNvSpPr>
              <p:nvPr/>
            </p:nvSpPr>
            <p:spPr bwMode="auto">
              <a:xfrm>
                <a:off x="7341698" y="3452930"/>
                <a:ext cx="308318" cy="216396"/>
              </a:xfrm>
              <a:prstGeom prst="ellipse">
                <a:avLst/>
              </a:prstGeom>
              <a:solidFill>
                <a:schemeClr val="tx2"/>
              </a:solidFill>
              <a:ln w="57150">
                <a:solidFill>
                  <a:schemeClr val="accent1">
                    <a:lumMod val="100000"/>
                  </a:schemeClr>
                </a:solidFill>
                <a:miter lim="400000"/>
                <a:headEnd/>
                <a:tailEnd/>
              </a:ln>
            </p:spPr>
            <p:txBody>
              <a:bodyPr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altLang="en-US" sz="500" b="0" i="0" u="none" strike="noStrike" kern="1200" cap="none" spc="0" normalizeH="0" baseline="0" noProof="0">
                  <a:ln>
                    <a:noFill/>
                  </a:ln>
                  <a:solidFill>
                    <a:srgbClr val="0677C7"/>
                  </a:solidFill>
                  <a:effectLst/>
                  <a:uLnTx/>
                  <a:uFillTx/>
                  <a:latin typeface="Arial"/>
                  <a:cs typeface="+mn-ea"/>
                  <a:sym typeface="+mn-lt"/>
                </a:endParaRPr>
              </a:p>
            </p:txBody>
          </p:sp>
          <p:sp>
            <p:nvSpPr>
              <p:cNvPr id="47" name="Oval 66">
                <a:extLst>
                  <a:ext uri="{FF2B5EF4-FFF2-40B4-BE49-F238E27FC236}">
                    <a16:creationId xmlns:a16="http://schemas.microsoft.com/office/drawing/2014/main" id="{2437C14A-8F1A-47F4-A999-25AE1987E789}"/>
                  </a:ext>
                </a:extLst>
              </p:cNvPr>
              <p:cNvSpPr>
                <a:spLocks noChangeArrowheads="1"/>
              </p:cNvSpPr>
              <p:nvPr/>
            </p:nvSpPr>
            <p:spPr bwMode="auto">
              <a:xfrm>
                <a:off x="8426502" y="4818200"/>
                <a:ext cx="308318" cy="216396"/>
              </a:xfrm>
              <a:prstGeom prst="ellipse">
                <a:avLst/>
              </a:prstGeom>
              <a:solidFill>
                <a:schemeClr val="tx2"/>
              </a:solidFill>
              <a:ln w="57150">
                <a:solidFill>
                  <a:schemeClr val="accent1">
                    <a:lumMod val="100000"/>
                  </a:schemeClr>
                </a:solidFill>
                <a:miter lim="400000"/>
                <a:headEnd/>
                <a:tailEnd/>
              </a:ln>
            </p:spPr>
            <p:txBody>
              <a:bodyPr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altLang="en-US" sz="500" b="0" i="0" u="none" strike="noStrike" kern="1200" cap="none" spc="0" normalizeH="0" baseline="0" noProof="0">
                  <a:ln>
                    <a:noFill/>
                  </a:ln>
                  <a:solidFill>
                    <a:srgbClr val="0677C7"/>
                  </a:solidFill>
                  <a:effectLst/>
                  <a:uLnTx/>
                  <a:uFillTx/>
                  <a:latin typeface="Arial"/>
                  <a:cs typeface="+mn-ea"/>
                  <a:sym typeface="+mn-lt"/>
                </a:endParaRPr>
              </a:p>
            </p:txBody>
          </p:sp>
          <p:sp>
            <p:nvSpPr>
              <p:cNvPr id="48" name="Freeform 8">
                <a:extLst>
                  <a:ext uri="{FF2B5EF4-FFF2-40B4-BE49-F238E27FC236}">
                    <a16:creationId xmlns:a16="http://schemas.microsoft.com/office/drawing/2014/main" id="{9E460F25-A1EB-4F54-B096-48E33F9FEED7}"/>
                  </a:ext>
                </a:extLst>
              </p:cNvPr>
              <p:cNvSpPr>
                <a:spLocks/>
              </p:cNvSpPr>
              <p:nvPr/>
            </p:nvSpPr>
            <p:spPr bwMode="auto">
              <a:xfrm flipH="1" flipV="1">
                <a:off x="4527449" y="8290169"/>
                <a:ext cx="5178625" cy="153888"/>
              </a:xfrm>
              <a:custGeom>
                <a:avLst/>
                <a:gdLst>
                  <a:gd name="T0" fmla="*/ 0 w 5233536"/>
                  <a:gd name="T1" fmla="*/ 4094051 h 4081111"/>
                  <a:gd name="T2" fmla="*/ 3350032 w 5233536"/>
                  <a:gd name="T3" fmla="*/ 1943 h 4081111"/>
                  <a:gd name="T4" fmla="*/ 5237106 w 5233536"/>
                  <a:gd name="T5" fmla="*/ 0 h 4081111"/>
                  <a:gd name="T6" fmla="*/ 0 60000 65536"/>
                  <a:gd name="T7" fmla="*/ 0 60000 65536"/>
                  <a:gd name="T8" fmla="*/ 0 60000 65536"/>
                </a:gdLst>
                <a:ahLst/>
                <a:cxnLst>
                  <a:cxn ang="T6">
                    <a:pos x="T0" y="T1"/>
                  </a:cxn>
                  <a:cxn ang="T7">
                    <a:pos x="T2" y="T3"/>
                  </a:cxn>
                  <a:cxn ang="T8">
                    <a:pos x="T4" y="T5"/>
                  </a:cxn>
                </a:cxnLst>
                <a:rect l="0" t="0" r="r" b="b"/>
                <a:pathLst>
                  <a:path w="5233536" h="4081111">
                    <a:moveTo>
                      <a:pt x="0" y="4081111"/>
                    </a:moveTo>
                    <a:lnTo>
                      <a:pt x="3347745" y="1936"/>
                    </a:lnTo>
                    <a:lnTo>
                      <a:pt x="5233536" y="0"/>
                    </a:lnTo>
                  </a:path>
                </a:pathLst>
              </a:custGeom>
              <a:noFill/>
              <a:ln w="57150" cap="flat" cmpd="sng">
                <a:solidFill>
                  <a:schemeClr val="accent1">
                    <a:lumMod val="100000"/>
                  </a:schemeClr>
                </a:solidFill>
                <a:prstDash val="solid"/>
                <a:miter lim="400000"/>
                <a:headEnd type="none" w="med" len="med"/>
                <a:tailEnd type="none" w="med" len="med"/>
              </a:ln>
              <a:extLst>
                <a:ext uri="{909E8E84-426E-40DD-AFC4-6F175D3DCCD1}">
                  <a14:hiddenFill xmlns:a14="http://schemas.microsoft.com/office/drawing/2010/main">
                    <a:solidFill>
                      <a:srgbClr val="FFFFFF"/>
                    </a:solidFill>
                  </a14:hiddenFill>
                </a:ext>
              </a:extLst>
            </p:spPr>
            <p:txBody>
              <a:bodyPr wrap="square" lIns="0" tIns="0" rIns="0" bIns="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500" b="0" i="0" u="none" strike="noStrike" kern="1200" cap="none" spc="0" normalizeH="0" baseline="0" noProof="0">
                  <a:ln>
                    <a:noFill/>
                  </a:ln>
                  <a:solidFill>
                    <a:srgbClr val="0677C7"/>
                  </a:solidFill>
                  <a:effectLst/>
                  <a:uLnTx/>
                  <a:uFillTx/>
                  <a:latin typeface="Arial"/>
                  <a:cs typeface="+mn-ea"/>
                  <a:sym typeface="+mn-lt"/>
                </a:endParaRPr>
              </a:p>
            </p:txBody>
          </p:sp>
          <p:sp>
            <p:nvSpPr>
              <p:cNvPr id="49" name="Oval 66">
                <a:extLst>
                  <a:ext uri="{FF2B5EF4-FFF2-40B4-BE49-F238E27FC236}">
                    <a16:creationId xmlns:a16="http://schemas.microsoft.com/office/drawing/2014/main" id="{B7C8A646-6924-409D-9502-BA50FEB101C9}"/>
                  </a:ext>
                </a:extLst>
              </p:cNvPr>
              <p:cNvSpPr>
                <a:spLocks noChangeArrowheads="1"/>
              </p:cNvSpPr>
              <p:nvPr/>
            </p:nvSpPr>
            <p:spPr bwMode="auto">
              <a:xfrm>
                <a:off x="6172631" y="10276603"/>
                <a:ext cx="307976" cy="216396"/>
              </a:xfrm>
              <a:prstGeom prst="ellipse">
                <a:avLst/>
              </a:prstGeom>
              <a:solidFill>
                <a:schemeClr val="accent1">
                  <a:lumMod val="100000"/>
                </a:schemeClr>
              </a:solidFill>
              <a:ln w="57150">
                <a:solidFill>
                  <a:schemeClr val="accent1">
                    <a:lumMod val="100000"/>
                  </a:schemeClr>
                </a:solidFill>
                <a:miter lim="400000"/>
                <a:headEnd/>
                <a:tailEnd/>
              </a:ln>
            </p:spPr>
            <p:txBody>
              <a:bodyPr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altLang="en-US" sz="500" b="0" i="0" u="none" strike="noStrike" kern="1200" cap="none" spc="0" normalizeH="0" baseline="0" noProof="0">
                  <a:ln>
                    <a:noFill/>
                  </a:ln>
                  <a:solidFill>
                    <a:srgbClr val="0677C7"/>
                  </a:solidFill>
                  <a:effectLst/>
                  <a:uLnTx/>
                  <a:uFillTx/>
                  <a:latin typeface="Arial"/>
                  <a:cs typeface="+mn-ea"/>
                  <a:sym typeface="+mn-lt"/>
                </a:endParaRPr>
              </a:p>
            </p:txBody>
          </p:sp>
          <p:sp>
            <p:nvSpPr>
              <p:cNvPr id="50" name="Oval 66">
                <a:extLst>
                  <a:ext uri="{FF2B5EF4-FFF2-40B4-BE49-F238E27FC236}">
                    <a16:creationId xmlns:a16="http://schemas.microsoft.com/office/drawing/2014/main" id="{1333FAC2-FF40-46E9-92F3-8A61236D0439}"/>
                  </a:ext>
                </a:extLst>
              </p:cNvPr>
              <p:cNvSpPr>
                <a:spLocks noChangeArrowheads="1"/>
              </p:cNvSpPr>
              <p:nvPr/>
            </p:nvSpPr>
            <p:spPr bwMode="auto">
              <a:xfrm>
                <a:off x="7341028" y="8916137"/>
                <a:ext cx="309564" cy="216396"/>
              </a:xfrm>
              <a:prstGeom prst="ellipse">
                <a:avLst/>
              </a:prstGeom>
              <a:solidFill>
                <a:schemeClr val="tx2"/>
              </a:solidFill>
              <a:ln w="57150">
                <a:solidFill>
                  <a:schemeClr val="accent1">
                    <a:lumMod val="100000"/>
                  </a:schemeClr>
                </a:solidFill>
                <a:miter lim="400000"/>
                <a:headEnd/>
                <a:tailEnd/>
              </a:ln>
            </p:spPr>
            <p:txBody>
              <a:bodyPr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altLang="en-US" sz="500" b="0" i="0" u="none" strike="noStrike" kern="1200" cap="none" spc="0" normalizeH="0" baseline="0" noProof="0">
                  <a:ln>
                    <a:noFill/>
                  </a:ln>
                  <a:solidFill>
                    <a:srgbClr val="0677C7"/>
                  </a:solidFill>
                  <a:effectLst/>
                  <a:uLnTx/>
                  <a:uFillTx/>
                  <a:latin typeface="Arial"/>
                  <a:cs typeface="+mn-ea"/>
                  <a:sym typeface="+mn-lt"/>
                </a:endParaRPr>
              </a:p>
            </p:txBody>
          </p:sp>
          <p:sp>
            <p:nvSpPr>
              <p:cNvPr id="51" name="Oval 66">
                <a:extLst>
                  <a:ext uri="{FF2B5EF4-FFF2-40B4-BE49-F238E27FC236}">
                    <a16:creationId xmlns:a16="http://schemas.microsoft.com/office/drawing/2014/main" id="{A7A2DA88-9AFA-4448-AD2A-97139A5A0EE2}"/>
                  </a:ext>
                </a:extLst>
              </p:cNvPr>
              <p:cNvSpPr>
                <a:spLocks noChangeArrowheads="1"/>
              </p:cNvSpPr>
              <p:nvPr/>
            </p:nvSpPr>
            <p:spPr bwMode="auto">
              <a:xfrm>
                <a:off x="8425816" y="7560431"/>
                <a:ext cx="309564" cy="216396"/>
              </a:xfrm>
              <a:prstGeom prst="ellipse">
                <a:avLst/>
              </a:prstGeom>
              <a:solidFill>
                <a:schemeClr val="tx2"/>
              </a:solidFill>
              <a:ln w="57150">
                <a:solidFill>
                  <a:schemeClr val="accent1">
                    <a:lumMod val="100000"/>
                  </a:schemeClr>
                </a:solidFill>
                <a:miter lim="400000"/>
                <a:headEnd/>
                <a:tailEnd/>
              </a:ln>
            </p:spPr>
            <p:txBody>
              <a:bodyPr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altLang="en-US" sz="500" b="0" i="0" u="none" strike="noStrike" kern="1200" cap="none" spc="0" normalizeH="0" baseline="0" noProof="0" dirty="0">
                  <a:ln>
                    <a:noFill/>
                  </a:ln>
                  <a:solidFill>
                    <a:srgbClr val="0677C7"/>
                  </a:solidFill>
                  <a:effectLst/>
                  <a:uLnTx/>
                  <a:uFillTx/>
                  <a:latin typeface="Arial"/>
                  <a:cs typeface="+mn-ea"/>
                  <a:sym typeface="+mn-lt"/>
                </a:endParaRPr>
              </a:p>
            </p:txBody>
          </p:sp>
        </p:grpSp>
        <p:grpSp>
          <p:nvGrpSpPr>
            <p:cNvPr id="33" name="Группа 182">
              <a:extLst>
                <a:ext uri="{FF2B5EF4-FFF2-40B4-BE49-F238E27FC236}">
                  <a16:creationId xmlns:a16="http://schemas.microsoft.com/office/drawing/2014/main" id="{30A70EA7-AE71-4752-BF54-24DF70035983}"/>
                </a:ext>
              </a:extLst>
            </p:cNvPr>
            <p:cNvGrpSpPr/>
            <p:nvPr/>
          </p:nvGrpSpPr>
          <p:grpSpPr>
            <a:xfrm>
              <a:off x="15124478" y="6013619"/>
              <a:ext cx="840946" cy="615554"/>
              <a:chOff x="9062578" y="6018729"/>
              <a:chExt cx="840946" cy="615554"/>
            </a:xfrm>
          </p:grpSpPr>
          <p:sp>
            <p:nvSpPr>
              <p:cNvPr id="34" name="Oval 66">
                <a:extLst>
                  <a:ext uri="{FF2B5EF4-FFF2-40B4-BE49-F238E27FC236}">
                    <a16:creationId xmlns:a16="http://schemas.microsoft.com/office/drawing/2014/main" id="{B09DDC2C-CEFD-4C13-A183-424AE813B4ED}"/>
                  </a:ext>
                </a:extLst>
              </p:cNvPr>
              <p:cNvSpPr>
                <a:spLocks noChangeArrowheads="1"/>
              </p:cNvSpPr>
              <p:nvPr/>
            </p:nvSpPr>
            <p:spPr bwMode="auto">
              <a:xfrm>
                <a:off x="9062578" y="6182839"/>
                <a:ext cx="840946" cy="216396"/>
              </a:xfrm>
              <a:prstGeom prst="ellipse">
                <a:avLst/>
              </a:prstGeom>
              <a:solidFill>
                <a:schemeClr val="accent1">
                  <a:lumMod val="100000"/>
                </a:schemeClr>
              </a:solidFill>
              <a:ln w="57150">
                <a:solidFill>
                  <a:schemeClr val="accent1">
                    <a:lumMod val="100000"/>
                  </a:schemeClr>
                </a:solidFill>
                <a:miter lim="400000"/>
                <a:headEnd/>
                <a:tailEnd/>
              </a:ln>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altLang="en-US" sz="500" b="0" i="0" u="none" strike="noStrike" kern="1200" cap="none" spc="0" normalizeH="0" baseline="0" noProof="0">
                  <a:ln>
                    <a:noFill/>
                  </a:ln>
                  <a:solidFill>
                    <a:srgbClr val="0677C7"/>
                  </a:solidFill>
                  <a:effectLst/>
                  <a:uLnTx/>
                  <a:uFillTx/>
                  <a:latin typeface="Arial"/>
                  <a:cs typeface="+mn-ea"/>
                  <a:sym typeface="+mn-lt"/>
                </a:endParaRPr>
              </a:p>
            </p:txBody>
          </p:sp>
          <p:sp>
            <p:nvSpPr>
              <p:cNvPr id="35" name="TextBox 46">
                <a:extLst>
                  <a:ext uri="{FF2B5EF4-FFF2-40B4-BE49-F238E27FC236}">
                    <a16:creationId xmlns:a16="http://schemas.microsoft.com/office/drawing/2014/main" id="{105015F6-C456-4C86-8732-72C7BE75644B}"/>
                  </a:ext>
                </a:extLst>
              </p:cNvPr>
              <p:cNvSpPr txBox="1">
                <a:spLocks noChangeArrowheads="1"/>
              </p:cNvSpPr>
              <p:nvPr/>
            </p:nvSpPr>
            <p:spPr bwMode="auto">
              <a:xfrm>
                <a:off x="9207186" y="6018729"/>
                <a:ext cx="594792" cy="615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1pPr>
                <a:lvl2pPr marL="742950" indent="-28575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2pPr>
                <a:lvl3pPr marL="11430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3pPr>
                <a:lvl4pPr marL="16002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4pPr>
                <a:lvl5pPr marL="20574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5pPr>
                <a:lvl6pPr marL="25146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6pPr>
                <a:lvl7pPr marL="29718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7pPr>
                <a:lvl8pPr marL="34290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8pPr>
                <a:lvl9pPr marL="38862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400" b="1" i="0" u="none" strike="noStrike" kern="1200" cap="none" spc="0" normalizeH="0" baseline="0" noProof="0" dirty="0">
                    <a:ln>
                      <a:noFill/>
                    </a:ln>
                    <a:solidFill>
                      <a:srgbClr val="FFFFFF"/>
                    </a:solidFill>
                    <a:effectLst/>
                    <a:uLnTx/>
                    <a:uFillTx/>
                    <a:latin typeface="Arial"/>
                    <a:ea typeface="+mn-ea"/>
                    <a:cs typeface="+mn-ea"/>
                    <a:sym typeface="+mn-lt"/>
                  </a:rPr>
                  <a:t>B</a:t>
                </a:r>
              </a:p>
            </p:txBody>
          </p:sp>
        </p:grpSp>
      </p:grpSp>
      <p:grpSp>
        <p:nvGrpSpPr>
          <p:cNvPr id="8" name="Группа 63">
            <a:extLst>
              <a:ext uri="{FF2B5EF4-FFF2-40B4-BE49-F238E27FC236}">
                <a16:creationId xmlns:a16="http://schemas.microsoft.com/office/drawing/2014/main" id="{F3443A83-6E83-4212-95CD-3807C7A1F5A3}"/>
              </a:ext>
            </a:extLst>
          </p:cNvPr>
          <p:cNvGrpSpPr/>
          <p:nvPr/>
        </p:nvGrpSpPr>
        <p:grpSpPr>
          <a:xfrm>
            <a:off x="5874969" y="1025146"/>
            <a:ext cx="2649868" cy="4818593"/>
            <a:chOff x="4406339" y="1512392"/>
            <a:chExt cx="5299735" cy="9637185"/>
          </a:xfrm>
        </p:grpSpPr>
        <p:grpSp>
          <p:nvGrpSpPr>
            <p:cNvPr id="12" name="Группа 81">
              <a:extLst>
                <a:ext uri="{FF2B5EF4-FFF2-40B4-BE49-F238E27FC236}">
                  <a16:creationId xmlns:a16="http://schemas.microsoft.com/office/drawing/2014/main" id="{883D9508-1FFC-4973-9830-918799589E70}"/>
                </a:ext>
              </a:extLst>
            </p:cNvPr>
            <p:cNvGrpSpPr/>
            <p:nvPr/>
          </p:nvGrpSpPr>
          <p:grpSpPr>
            <a:xfrm>
              <a:off x="4440435" y="2949722"/>
              <a:ext cx="3740150" cy="611248"/>
              <a:chOff x="4440435" y="2949722"/>
              <a:chExt cx="3740150" cy="611248"/>
            </a:xfrm>
          </p:grpSpPr>
          <p:cxnSp>
            <p:nvCxnSpPr>
              <p:cNvPr id="30" name="Прямая соединительная линия 103">
                <a:extLst>
                  <a:ext uri="{FF2B5EF4-FFF2-40B4-BE49-F238E27FC236}">
                    <a16:creationId xmlns:a16="http://schemas.microsoft.com/office/drawing/2014/main" id="{B7E077E7-582B-467E-819A-610C57767134}"/>
                  </a:ext>
                </a:extLst>
              </p:cNvPr>
              <p:cNvCxnSpPr>
                <a:cxnSpLocks/>
              </p:cNvCxnSpPr>
              <p:nvPr/>
            </p:nvCxnSpPr>
            <p:spPr bwMode="auto">
              <a:xfrm>
                <a:off x="4526085" y="3560970"/>
                <a:ext cx="2814944" cy="0"/>
              </a:xfrm>
              <a:prstGeom prst="line">
                <a:avLst/>
              </a:prstGeom>
              <a:blipFill dpi="0" rotWithShape="0">
                <a:blip r:embed="rId4"/>
                <a:srcRect/>
                <a:tile tx="0" ty="0" sx="100000" sy="100000" flip="none" algn="tl"/>
              </a:blipFill>
              <a:ln w="57150" cap="flat" cmpd="sng" algn="ctr">
                <a:solidFill>
                  <a:schemeClr val="accent1">
                    <a:lumMod val="100000"/>
                  </a:schemeClr>
                </a:solidFill>
                <a:prstDash val="solid"/>
                <a:miter lim="400000"/>
                <a:headEnd type="none" w="med" len="med"/>
                <a:tailEnd type="none" w="med" len="med"/>
              </a:ln>
              <a:effectLst/>
            </p:spPr>
          </p:cxnSp>
          <p:sp>
            <p:nvSpPr>
              <p:cNvPr id="31" name="TextBox 46">
                <a:extLst>
                  <a:ext uri="{FF2B5EF4-FFF2-40B4-BE49-F238E27FC236}">
                    <a16:creationId xmlns:a16="http://schemas.microsoft.com/office/drawing/2014/main" id="{A798A5A5-4223-4A49-918E-C4FC8CDE6246}"/>
                  </a:ext>
                </a:extLst>
              </p:cNvPr>
              <p:cNvSpPr txBox="1">
                <a:spLocks noChangeArrowheads="1"/>
              </p:cNvSpPr>
              <p:nvPr/>
            </p:nvSpPr>
            <p:spPr bwMode="auto">
              <a:xfrm>
                <a:off x="4440435" y="2949722"/>
                <a:ext cx="3740150" cy="4924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1pPr>
                <a:lvl2pPr marL="742950" indent="-28575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2pPr>
                <a:lvl3pPr marL="11430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3pPr>
                <a:lvl4pPr marL="16002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4pPr>
                <a:lvl5pPr marL="20574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5pPr>
                <a:lvl6pPr marL="25146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6pPr>
                <a:lvl7pPr marL="29718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7pPr>
                <a:lvl8pPr marL="34290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8pPr>
                <a:lvl9pPr marL="38862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000" b="1" i="0" u="none" strike="noStrike" kern="1200" cap="none" spc="0" normalizeH="0" baseline="0" noProof="0" dirty="0">
                    <a:ln>
                      <a:noFill/>
                    </a:ln>
                    <a:solidFill>
                      <a:schemeClr val="accent1"/>
                    </a:solidFill>
                    <a:effectLst/>
                    <a:uLnTx/>
                    <a:uFillTx/>
                    <a:latin typeface="Arial"/>
                    <a:ea typeface="+mn-ea"/>
                    <a:cs typeface="+mn-ea"/>
                    <a:sym typeface="+mn-lt"/>
                  </a:rPr>
                  <a:t>Information text</a:t>
                </a:r>
              </a:p>
            </p:txBody>
          </p:sp>
        </p:grpSp>
        <p:grpSp>
          <p:nvGrpSpPr>
            <p:cNvPr id="13" name="Группа 84">
              <a:extLst>
                <a:ext uri="{FF2B5EF4-FFF2-40B4-BE49-F238E27FC236}">
                  <a16:creationId xmlns:a16="http://schemas.microsoft.com/office/drawing/2014/main" id="{B44446EB-747D-4873-A28A-823CAF8FF10F}"/>
                </a:ext>
              </a:extLst>
            </p:cNvPr>
            <p:cNvGrpSpPr/>
            <p:nvPr/>
          </p:nvGrpSpPr>
          <p:grpSpPr>
            <a:xfrm>
              <a:off x="4440435" y="4297650"/>
              <a:ext cx="4153650" cy="628747"/>
              <a:chOff x="4440435" y="4297650"/>
              <a:chExt cx="4153650" cy="628747"/>
            </a:xfrm>
          </p:grpSpPr>
          <p:cxnSp>
            <p:nvCxnSpPr>
              <p:cNvPr id="28" name="Прямая соединительная линия 101">
                <a:extLst>
                  <a:ext uri="{FF2B5EF4-FFF2-40B4-BE49-F238E27FC236}">
                    <a16:creationId xmlns:a16="http://schemas.microsoft.com/office/drawing/2014/main" id="{646C714B-6CB9-4818-B726-2577ED4E864F}"/>
                  </a:ext>
                </a:extLst>
              </p:cNvPr>
              <p:cNvCxnSpPr>
                <a:cxnSpLocks/>
              </p:cNvCxnSpPr>
              <p:nvPr/>
            </p:nvCxnSpPr>
            <p:spPr bwMode="auto">
              <a:xfrm>
                <a:off x="4526085" y="4916624"/>
                <a:ext cx="4068000" cy="9773"/>
              </a:xfrm>
              <a:prstGeom prst="line">
                <a:avLst/>
              </a:prstGeom>
              <a:blipFill dpi="0" rotWithShape="0">
                <a:blip r:embed="rId4"/>
                <a:srcRect/>
                <a:tile tx="0" ty="0" sx="100000" sy="100000" flip="none" algn="tl"/>
              </a:blipFill>
              <a:ln w="57150" cap="flat" cmpd="sng" algn="ctr">
                <a:solidFill>
                  <a:schemeClr val="accent1">
                    <a:lumMod val="100000"/>
                  </a:schemeClr>
                </a:solidFill>
                <a:prstDash val="solid"/>
                <a:miter lim="400000"/>
                <a:headEnd type="none" w="med" len="med"/>
                <a:tailEnd type="none" w="med" len="med"/>
              </a:ln>
              <a:effectLst/>
            </p:spPr>
          </p:cxnSp>
          <p:sp>
            <p:nvSpPr>
              <p:cNvPr id="29" name="TextBox 46">
                <a:extLst>
                  <a:ext uri="{FF2B5EF4-FFF2-40B4-BE49-F238E27FC236}">
                    <a16:creationId xmlns:a16="http://schemas.microsoft.com/office/drawing/2014/main" id="{014A3363-345A-4AC3-BFE8-80BF7E875CC8}"/>
                  </a:ext>
                </a:extLst>
              </p:cNvPr>
              <p:cNvSpPr txBox="1">
                <a:spLocks noChangeArrowheads="1"/>
              </p:cNvSpPr>
              <p:nvPr/>
            </p:nvSpPr>
            <p:spPr bwMode="auto">
              <a:xfrm>
                <a:off x="4440435" y="4297650"/>
                <a:ext cx="3740150" cy="4924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1pPr>
                <a:lvl2pPr marL="742950" indent="-28575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2pPr>
                <a:lvl3pPr marL="11430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3pPr>
                <a:lvl4pPr marL="16002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4pPr>
                <a:lvl5pPr marL="20574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5pPr>
                <a:lvl6pPr marL="25146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6pPr>
                <a:lvl7pPr marL="29718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7pPr>
                <a:lvl8pPr marL="34290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8pPr>
                <a:lvl9pPr marL="38862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000" b="1" i="0" u="none" strike="noStrike" kern="1200" cap="none" spc="0" normalizeH="0" baseline="0" noProof="0" dirty="0">
                    <a:ln>
                      <a:noFill/>
                    </a:ln>
                    <a:solidFill>
                      <a:schemeClr val="accent1"/>
                    </a:solidFill>
                    <a:effectLst/>
                    <a:uLnTx/>
                    <a:uFillTx/>
                    <a:latin typeface="Arial"/>
                    <a:ea typeface="+mn-ea"/>
                    <a:cs typeface="+mn-ea"/>
                    <a:sym typeface="+mn-lt"/>
                  </a:rPr>
                  <a:t>Information text demo</a:t>
                </a:r>
              </a:p>
            </p:txBody>
          </p:sp>
        </p:grpSp>
        <p:cxnSp>
          <p:nvCxnSpPr>
            <p:cNvPr id="14" name="Прямая соединительная линия 85">
              <a:extLst>
                <a:ext uri="{FF2B5EF4-FFF2-40B4-BE49-F238E27FC236}">
                  <a16:creationId xmlns:a16="http://schemas.microsoft.com/office/drawing/2014/main" id="{BA38F429-9172-4285-8209-CC7BE6974340}"/>
                </a:ext>
              </a:extLst>
            </p:cNvPr>
            <p:cNvCxnSpPr>
              <a:cxnSpLocks/>
            </p:cNvCxnSpPr>
            <p:nvPr/>
          </p:nvCxnSpPr>
          <p:spPr bwMode="auto">
            <a:xfrm>
              <a:off x="4526085" y="7679272"/>
              <a:ext cx="4068000" cy="9773"/>
            </a:xfrm>
            <a:prstGeom prst="line">
              <a:avLst/>
            </a:prstGeom>
            <a:blipFill dpi="0" rotWithShape="0">
              <a:blip r:embed="rId4"/>
              <a:srcRect/>
              <a:tile tx="0" ty="0" sx="100000" sy="100000" flip="none" algn="tl"/>
            </a:blipFill>
            <a:ln w="57150" cap="flat" cmpd="sng" algn="ctr">
              <a:solidFill>
                <a:schemeClr val="accent1">
                  <a:lumMod val="100000"/>
                </a:schemeClr>
              </a:solidFill>
              <a:prstDash val="solid"/>
              <a:miter lim="400000"/>
              <a:headEnd type="none" w="med" len="med"/>
              <a:tailEnd type="none" w="med" len="med"/>
            </a:ln>
            <a:effectLst/>
          </p:spPr>
        </p:cxnSp>
        <p:sp>
          <p:nvSpPr>
            <p:cNvPr id="15" name="TextBox 46">
              <a:extLst>
                <a:ext uri="{FF2B5EF4-FFF2-40B4-BE49-F238E27FC236}">
                  <a16:creationId xmlns:a16="http://schemas.microsoft.com/office/drawing/2014/main" id="{3C2DF7E5-B99D-441B-B777-DA603CFB9CA7}"/>
                </a:ext>
              </a:extLst>
            </p:cNvPr>
            <p:cNvSpPr txBox="1">
              <a:spLocks noChangeArrowheads="1"/>
            </p:cNvSpPr>
            <p:nvPr/>
          </p:nvSpPr>
          <p:spPr bwMode="auto">
            <a:xfrm>
              <a:off x="4440435" y="7879499"/>
              <a:ext cx="3740149" cy="4924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1pPr>
              <a:lvl2pPr marL="742950" indent="-28575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2pPr>
              <a:lvl3pPr marL="11430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3pPr>
              <a:lvl4pPr marL="16002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4pPr>
              <a:lvl5pPr marL="20574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5pPr>
              <a:lvl6pPr marL="25146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6pPr>
              <a:lvl7pPr marL="29718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7pPr>
              <a:lvl8pPr marL="34290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8pPr>
              <a:lvl9pPr marL="38862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000" b="1" i="0" u="none" strike="noStrike" kern="1200" cap="none" spc="0" normalizeH="0" baseline="0" noProof="0" dirty="0">
                  <a:ln>
                    <a:noFill/>
                  </a:ln>
                  <a:solidFill>
                    <a:schemeClr val="accent1"/>
                  </a:solidFill>
                  <a:effectLst/>
                  <a:uLnTx/>
                  <a:uFillTx/>
                  <a:latin typeface="Arial"/>
                  <a:ea typeface="+mn-ea"/>
                  <a:cs typeface="+mn-ea"/>
                  <a:sym typeface="+mn-lt"/>
                </a:rPr>
                <a:t>Information text demo</a:t>
              </a:r>
            </a:p>
          </p:txBody>
        </p:sp>
        <p:cxnSp>
          <p:nvCxnSpPr>
            <p:cNvPr id="16" name="Прямая соединительная линия 89">
              <a:extLst>
                <a:ext uri="{FF2B5EF4-FFF2-40B4-BE49-F238E27FC236}">
                  <a16:creationId xmlns:a16="http://schemas.microsoft.com/office/drawing/2014/main" id="{5C6C9C66-1CE8-4644-A1AF-0ACE48384823}"/>
                </a:ext>
              </a:extLst>
            </p:cNvPr>
            <p:cNvCxnSpPr>
              <a:cxnSpLocks/>
            </p:cNvCxnSpPr>
            <p:nvPr/>
          </p:nvCxnSpPr>
          <p:spPr bwMode="auto">
            <a:xfrm>
              <a:off x="4526085" y="9022080"/>
              <a:ext cx="2814944" cy="0"/>
            </a:xfrm>
            <a:prstGeom prst="line">
              <a:avLst/>
            </a:prstGeom>
            <a:blipFill dpi="0" rotWithShape="0">
              <a:blip r:embed="rId4"/>
              <a:srcRect/>
              <a:tile tx="0" ty="0" sx="100000" sy="100000" flip="none" algn="tl"/>
            </a:blipFill>
            <a:ln w="57150" cap="flat" cmpd="sng" algn="ctr">
              <a:solidFill>
                <a:schemeClr val="accent1">
                  <a:lumMod val="100000"/>
                </a:schemeClr>
              </a:solidFill>
              <a:prstDash val="solid"/>
              <a:miter lim="400000"/>
              <a:headEnd type="none" w="med" len="med"/>
              <a:tailEnd type="none" w="med" len="med"/>
            </a:ln>
            <a:effectLst/>
          </p:spPr>
        </p:cxnSp>
        <p:sp>
          <p:nvSpPr>
            <p:cNvPr id="17" name="TextBox 46">
              <a:extLst>
                <a:ext uri="{FF2B5EF4-FFF2-40B4-BE49-F238E27FC236}">
                  <a16:creationId xmlns:a16="http://schemas.microsoft.com/office/drawing/2014/main" id="{ADE4CD35-7544-4B64-8255-890EA613DD62}"/>
                </a:ext>
              </a:extLst>
            </p:cNvPr>
            <p:cNvSpPr txBox="1">
              <a:spLocks noChangeArrowheads="1"/>
            </p:cNvSpPr>
            <p:nvPr/>
          </p:nvSpPr>
          <p:spPr bwMode="auto">
            <a:xfrm>
              <a:off x="4440435" y="9230033"/>
              <a:ext cx="3740149" cy="4924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1pPr>
              <a:lvl2pPr marL="742950" indent="-28575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2pPr>
              <a:lvl3pPr marL="11430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3pPr>
              <a:lvl4pPr marL="16002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4pPr>
              <a:lvl5pPr marL="20574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5pPr>
              <a:lvl6pPr marL="25146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6pPr>
              <a:lvl7pPr marL="29718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7pPr>
              <a:lvl8pPr marL="34290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8pPr>
              <a:lvl9pPr marL="38862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000" b="1" i="0" u="none" strike="noStrike" kern="1200" cap="none" spc="0" normalizeH="0" baseline="0" noProof="0" dirty="0">
                  <a:ln>
                    <a:noFill/>
                  </a:ln>
                  <a:solidFill>
                    <a:schemeClr val="accent1"/>
                  </a:solidFill>
                  <a:effectLst/>
                  <a:uLnTx/>
                  <a:uFillTx/>
                  <a:latin typeface="Arial"/>
                  <a:ea typeface="+mn-ea"/>
                  <a:cs typeface="+mn-ea"/>
                  <a:sym typeface="+mn-lt"/>
                </a:rPr>
                <a:t>Information text</a:t>
              </a:r>
            </a:p>
          </p:txBody>
        </p:sp>
        <p:sp>
          <p:nvSpPr>
            <p:cNvPr id="18" name="TextBox 46">
              <a:extLst>
                <a:ext uri="{FF2B5EF4-FFF2-40B4-BE49-F238E27FC236}">
                  <a16:creationId xmlns:a16="http://schemas.microsoft.com/office/drawing/2014/main" id="{DCAA2FED-142B-46F1-B9E8-69994DD4A729}"/>
                </a:ext>
              </a:extLst>
            </p:cNvPr>
            <p:cNvSpPr txBox="1">
              <a:spLocks noChangeArrowheads="1"/>
            </p:cNvSpPr>
            <p:nvPr/>
          </p:nvSpPr>
          <p:spPr bwMode="auto">
            <a:xfrm>
              <a:off x="4406339" y="1512392"/>
              <a:ext cx="1741502" cy="615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1pPr>
              <a:lvl2pPr marL="742950" indent="-28575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2pPr>
              <a:lvl3pPr marL="11430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3pPr>
              <a:lvl4pPr marL="16002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4pPr>
              <a:lvl5pPr marL="20574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5pPr>
              <a:lvl6pPr marL="25146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6pPr>
              <a:lvl7pPr marL="29718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7pPr>
              <a:lvl8pPr marL="34290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8pPr>
              <a:lvl9pPr marL="38862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400" b="1" i="0" u="none" strike="noStrike" kern="1200" cap="none" spc="0" normalizeH="0" baseline="0" noProof="0" dirty="0">
                  <a:ln>
                    <a:noFill/>
                  </a:ln>
                  <a:solidFill>
                    <a:schemeClr val="accent1"/>
                  </a:solidFill>
                  <a:effectLst/>
                  <a:uLnTx/>
                  <a:uFillTx/>
                  <a:latin typeface="Arial"/>
                  <a:ea typeface="+mn-ea"/>
                  <a:cs typeface="+mn-ea"/>
                  <a:sym typeface="+mn-lt"/>
                </a:rPr>
                <a:t>Cause </a:t>
              </a:r>
              <a:r>
                <a:rPr kumimoji="0" lang="ru-RU" altLang="en-US" sz="1400" b="1" i="0" u="none" strike="noStrike" kern="1200" cap="none" spc="0" normalizeH="0" baseline="0" noProof="0" dirty="0">
                  <a:ln>
                    <a:noFill/>
                  </a:ln>
                  <a:solidFill>
                    <a:schemeClr val="accent1"/>
                  </a:solidFill>
                  <a:effectLst/>
                  <a:uLnTx/>
                  <a:uFillTx/>
                  <a:latin typeface="Arial"/>
                  <a:ea typeface="+mn-ea"/>
                  <a:cs typeface="+mn-ea"/>
                  <a:sym typeface="+mn-lt"/>
                </a:rPr>
                <a:t>3</a:t>
              </a:r>
              <a:endParaRPr kumimoji="0" lang="en-US" altLang="en-US" sz="1400" b="1" i="0" u="none" strike="noStrike" kern="1200" cap="none" spc="0" normalizeH="0" baseline="0" noProof="0" dirty="0">
                <a:ln>
                  <a:noFill/>
                </a:ln>
                <a:solidFill>
                  <a:schemeClr val="accent1"/>
                </a:solidFill>
                <a:effectLst/>
                <a:uLnTx/>
                <a:uFillTx/>
                <a:latin typeface="Arial"/>
                <a:ea typeface="+mn-ea"/>
                <a:cs typeface="+mn-ea"/>
                <a:sym typeface="+mn-lt"/>
              </a:endParaRPr>
            </a:p>
          </p:txBody>
        </p:sp>
        <p:sp>
          <p:nvSpPr>
            <p:cNvPr id="19" name="TextBox 46">
              <a:extLst>
                <a:ext uri="{FF2B5EF4-FFF2-40B4-BE49-F238E27FC236}">
                  <a16:creationId xmlns:a16="http://schemas.microsoft.com/office/drawing/2014/main" id="{A118C53A-E4A8-4042-8AC4-FACA59945F45}"/>
                </a:ext>
              </a:extLst>
            </p:cNvPr>
            <p:cNvSpPr txBox="1">
              <a:spLocks noChangeArrowheads="1"/>
            </p:cNvSpPr>
            <p:nvPr/>
          </p:nvSpPr>
          <p:spPr bwMode="auto">
            <a:xfrm>
              <a:off x="4406339" y="10534023"/>
              <a:ext cx="1741502" cy="615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1pPr>
              <a:lvl2pPr marL="742950" indent="-28575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2pPr>
              <a:lvl3pPr marL="11430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3pPr>
              <a:lvl4pPr marL="16002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4pPr>
              <a:lvl5pPr marL="20574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5pPr>
              <a:lvl6pPr marL="25146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6pPr>
              <a:lvl7pPr marL="29718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7pPr>
              <a:lvl8pPr marL="34290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8pPr>
              <a:lvl9pPr marL="38862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400" b="1" i="0" u="none" strike="noStrike" kern="1200" cap="none" spc="0" normalizeH="0" baseline="0" noProof="0" dirty="0">
                  <a:ln>
                    <a:noFill/>
                  </a:ln>
                  <a:solidFill>
                    <a:schemeClr val="accent1"/>
                  </a:solidFill>
                  <a:effectLst/>
                  <a:uLnTx/>
                  <a:uFillTx/>
                  <a:latin typeface="Arial"/>
                  <a:ea typeface="+mn-ea"/>
                  <a:cs typeface="+mn-ea"/>
                  <a:sym typeface="+mn-lt"/>
                </a:rPr>
                <a:t>Cause </a:t>
              </a:r>
              <a:r>
                <a:rPr kumimoji="0" lang="ru-RU" altLang="en-US" sz="1400" b="1" i="0" u="none" strike="noStrike" kern="1200" cap="none" spc="0" normalizeH="0" baseline="0" noProof="0" dirty="0">
                  <a:ln>
                    <a:noFill/>
                  </a:ln>
                  <a:solidFill>
                    <a:schemeClr val="accent1"/>
                  </a:solidFill>
                  <a:effectLst/>
                  <a:uLnTx/>
                  <a:uFillTx/>
                  <a:latin typeface="Arial"/>
                  <a:ea typeface="+mn-ea"/>
                  <a:cs typeface="+mn-ea"/>
                  <a:sym typeface="+mn-lt"/>
                </a:rPr>
                <a:t>4</a:t>
              </a:r>
              <a:endParaRPr kumimoji="0" lang="en-US" altLang="en-US" sz="1400" b="1" i="0" u="none" strike="noStrike" kern="1200" cap="none" spc="0" normalizeH="0" baseline="0" noProof="0" dirty="0">
                <a:ln>
                  <a:noFill/>
                </a:ln>
                <a:solidFill>
                  <a:schemeClr val="accent1"/>
                </a:solidFill>
                <a:effectLst/>
                <a:uLnTx/>
                <a:uFillTx/>
                <a:latin typeface="Arial"/>
                <a:ea typeface="+mn-ea"/>
                <a:cs typeface="+mn-ea"/>
                <a:sym typeface="+mn-lt"/>
              </a:endParaRPr>
            </a:p>
          </p:txBody>
        </p:sp>
        <p:sp>
          <p:nvSpPr>
            <p:cNvPr id="20" name="Freeform 8">
              <a:extLst>
                <a:ext uri="{FF2B5EF4-FFF2-40B4-BE49-F238E27FC236}">
                  <a16:creationId xmlns:a16="http://schemas.microsoft.com/office/drawing/2014/main" id="{008025AD-5A4F-4805-9B21-7C5570697854}"/>
                </a:ext>
              </a:extLst>
            </p:cNvPr>
            <p:cNvSpPr>
              <a:spLocks/>
            </p:cNvSpPr>
            <p:nvPr/>
          </p:nvSpPr>
          <p:spPr bwMode="auto">
            <a:xfrm flipH="1">
              <a:off x="4526085" y="4139226"/>
              <a:ext cx="5178953" cy="153888"/>
            </a:xfrm>
            <a:custGeom>
              <a:avLst/>
              <a:gdLst>
                <a:gd name="T0" fmla="*/ 0 w 5233536"/>
                <a:gd name="T1" fmla="*/ 4090223 h 4081111"/>
                <a:gd name="T2" fmla="*/ 3351619 w 5233536"/>
                <a:gd name="T3" fmla="*/ 1943 h 4081111"/>
                <a:gd name="T4" fmla="*/ 5239591 w 5233536"/>
                <a:gd name="T5" fmla="*/ 0 h 4081111"/>
                <a:gd name="T6" fmla="*/ 0 60000 65536"/>
                <a:gd name="T7" fmla="*/ 0 60000 65536"/>
                <a:gd name="T8" fmla="*/ 0 60000 65536"/>
              </a:gdLst>
              <a:ahLst/>
              <a:cxnLst>
                <a:cxn ang="T6">
                  <a:pos x="T0" y="T1"/>
                </a:cxn>
                <a:cxn ang="T7">
                  <a:pos x="T2" y="T3"/>
                </a:cxn>
                <a:cxn ang="T8">
                  <a:pos x="T4" y="T5"/>
                </a:cxn>
              </a:cxnLst>
              <a:rect l="0" t="0" r="r" b="b"/>
              <a:pathLst>
                <a:path w="5233536" h="4081111">
                  <a:moveTo>
                    <a:pt x="0" y="4081111"/>
                  </a:moveTo>
                  <a:lnTo>
                    <a:pt x="3347745" y="1936"/>
                  </a:lnTo>
                  <a:lnTo>
                    <a:pt x="5233536" y="0"/>
                  </a:lnTo>
                </a:path>
              </a:pathLst>
            </a:custGeom>
            <a:noFill/>
            <a:ln w="57150" cap="flat" cmpd="sng">
              <a:solidFill>
                <a:schemeClr val="accent1">
                  <a:lumMod val="100000"/>
                </a:schemeClr>
              </a:solidFill>
              <a:prstDash val="solid"/>
              <a:miter lim="400000"/>
              <a:headEnd type="none" w="med" len="med"/>
              <a:tailEnd type="none" w="med" len="med"/>
            </a:ln>
            <a:extLst>
              <a:ext uri="{909E8E84-426E-40DD-AFC4-6F175D3DCCD1}">
                <a14:hiddenFill xmlns:a14="http://schemas.microsoft.com/office/drawing/2010/main">
                  <a:solidFill>
                    <a:srgbClr val="FFFFFF"/>
                  </a:solidFill>
                </a14:hiddenFill>
              </a:ext>
            </a:extLst>
          </p:spPr>
          <p:txBody>
            <a:bodyPr wrap="square" lIns="0" tIns="0" rIns="0" bIns="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500" b="0" i="0" u="none" strike="noStrike" kern="1200" cap="none" spc="0" normalizeH="0" baseline="0" noProof="0">
                <a:ln>
                  <a:noFill/>
                </a:ln>
                <a:solidFill>
                  <a:srgbClr val="13668E"/>
                </a:solidFill>
                <a:effectLst/>
                <a:uLnTx/>
                <a:uFillTx/>
                <a:latin typeface="Arial"/>
                <a:cs typeface="+mn-ea"/>
                <a:sym typeface="+mn-lt"/>
              </a:endParaRPr>
            </a:p>
          </p:txBody>
        </p:sp>
        <p:sp>
          <p:nvSpPr>
            <p:cNvPr id="21" name="Oval 66">
              <a:extLst>
                <a:ext uri="{FF2B5EF4-FFF2-40B4-BE49-F238E27FC236}">
                  <a16:creationId xmlns:a16="http://schemas.microsoft.com/office/drawing/2014/main" id="{89C65155-B027-4D4B-B184-67F96E5A3F76}"/>
                </a:ext>
              </a:extLst>
            </p:cNvPr>
            <p:cNvSpPr>
              <a:spLocks noChangeArrowheads="1"/>
            </p:cNvSpPr>
            <p:nvPr/>
          </p:nvSpPr>
          <p:spPr bwMode="auto">
            <a:xfrm>
              <a:off x="6172253" y="2087660"/>
              <a:ext cx="308318" cy="216396"/>
            </a:xfrm>
            <a:prstGeom prst="ellipse">
              <a:avLst/>
            </a:prstGeom>
            <a:solidFill>
              <a:schemeClr val="accent1">
                <a:lumMod val="100000"/>
              </a:schemeClr>
            </a:solidFill>
            <a:ln w="57150">
              <a:solidFill>
                <a:schemeClr val="accent1">
                  <a:lumMod val="100000"/>
                </a:schemeClr>
              </a:solidFill>
              <a:miter lim="400000"/>
              <a:headEnd/>
              <a:tailEnd/>
            </a:ln>
          </p:spPr>
          <p:txBody>
            <a:bodyPr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altLang="en-US" sz="500" b="0" i="0" u="none" strike="noStrike" kern="1200" cap="none" spc="0" normalizeH="0" baseline="0" noProof="0" dirty="0">
                <a:ln>
                  <a:noFill/>
                </a:ln>
                <a:solidFill>
                  <a:srgbClr val="13668E"/>
                </a:solidFill>
                <a:effectLst/>
                <a:uLnTx/>
                <a:uFillTx/>
                <a:latin typeface="Arial"/>
                <a:cs typeface="+mn-ea"/>
                <a:sym typeface="+mn-lt"/>
              </a:endParaRPr>
            </a:p>
          </p:txBody>
        </p:sp>
        <p:sp>
          <p:nvSpPr>
            <p:cNvPr id="22" name="Oval 66">
              <a:extLst>
                <a:ext uri="{FF2B5EF4-FFF2-40B4-BE49-F238E27FC236}">
                  <a16:creationId xmlns:a16="http://schemas.microsoft.com/office/drawing/2014/main" id="{E277EAA4-A151-4CE4-9ED6-D7350A2F4653}"/>
                </a:ext>
              </a:extLst>
            </p:cNvPr>
            <p:cNvSpPr>
              <a:spLocks noChangeArrowheads="1"/>
            </p:cNvSpPr>
            <p:nvPr/>
          </p:nvSpPr>
          <p:spPr bwMode="auto">
            <a:xfrm>
              <a:off x="7341698" y="3452930"/>
              <a:ext cx="308318" cy="216396"/>
            </a:xfrm>
            <a:prstGeom prst="ellipse">
              <a:avLst/>
            </a:prstGeom>
            <a:solidFill>
              <a:schemeClr val="tx2"/>
            </a:solidFill>
            <a:ln w="57150">
              <a:solidFill>
                <a:schemeClr val="accent1">
                  <a:lumMod val="100000"/>
                </a:schemeClr>
              </a:solidFill>
              <a:miter lim="400000"/>
              <a:headEnd/>
              <a:tailEnd/>
            </a:ln>
          </p:spPr>
          <p:txBody>
            <a:bodyPr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altLang="en-US" sz="500" b="0" i="0" u="none" strike="noStrike" kern="1200" cap="none" spc="0" normalizeH="0" baseline="0" noProof="0">
                <a:ln>
                  <a:noFill/>
                </a:ln>
                <a:solidFill>
                  <a:srgbClr val="13668E"/>
                </a:solidFill>
                <a:effectLst/>
                <a:uLnTx/>
                <a:uFillTx/>
                <a:latin typeface="Arial"/>
                <a:cs typeface="+mn-ea"/>
                <a:sym typeface="+mn-lt"/>
              </a:endParaRPr>
            </a:p>
          </p:txBody>
        </p:sp>
        <p:sp>
          <p:nvSpPr>
            <p:cNvPr id="23" name="Oval 66">
              <a:extLst>
                <a:ext uri="{FF2B5EF4-FFF2-40B4-BE49-F238E27FC236}">
                  <a16:creationId xmlns:a16="http://schemas.microsoft.com/office/drawing/2014/main" id="{15D26658-A5D1-4A7A-A9A8-F0000286353F}"/>
                </a:ext>
              </a:extLst>
            </p:cNvPr>
            <p:cNvSpPr>
              <a:spLocks noChangeArrowheads="1"/>
            </p:cNvSpPr>
            <p:nvPr/>
          </p:nvSpPr>
          <p:spPr bwMode="auto">
            <a:xfrm>
              <a:off x="8426502" y="4818200"/>
              <a:ext cx="308318" cy="216396"/>
            </a:xfrm>
            <a:prstGeom prst="ellipse">
              <a:avLst/>
            </a:prstGeom>
            <a:solidFill>
              <a:schemeClr val="tx2"/>
            </a:solidFill>
            <a:ln w="57150">
              <a:solidFill>
                <a:schemeClr val="accent1">
                  <a:lumMod val="100000"/>
                </a:schemeClr>
              </a:solidFill>
              <a:miter lim="400000"/>
              <a:headEnd/>
              <a:tailEnd/>
            </a:ln>
          </p:spPr>
          <p:txBody>
            <a:bodyPr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altLang="en-US" sz="500" b="0" i="0" u="none" strike="noStrike" kern="1200" cap="none" spc="0" normalizeH="0" baseline="0" noProof="0">
                <a:ln>
                  <a:noFill/>
                </a:ln>
                <a:solidFill>
                  <a:srgbClr val="13668E"/>
                </a:solidFill>
                <a:effectLst/>
                <a:uLnTx/>
                <a:uFillTx/>
                <a:latin typeface="Arial"/>
                <a:cs typeface="+mn-ea"/>
                <a:sym typeface="+mn-lt"/>
              </a:endParaRPr>
            </a:p>
          </p:txBody>
        </p:sp>
        <p:sp>
          <p:nvSpPr>
            <p:cNvPr id="24" name="Freeform 8">
              <a:extLst>
                <a:ext uri="{FF2B5EF4-FFF2-40B4-BE49-F238E27FC236}">
                  <a16:creationId xmlns:a16="http://schemas.microsoft.com/office/drawing/2014/main" id="{37DB8361-609F-4C78-926C-C2E62FC68E51}"/>
                </a:ext>
              </a:extLst>
            </p:cNvPr>
            <p:cNvSpPr>
              <a:spLocks/>
            </p:cNvSpPr>
            <p:nvPr/>
          </p:nvSpPr>
          <p:spPr bwMode="auto">
            <a:xfrm flipH="1" flipV="1">
              <a:off x="4527449" y="8290169"/>
              <a:ext cx="5178625" cy="153888"/>
            </a:xfrm>
            <a:custGeom>
              <a:avLst/>
              <a:gdLst>
                <a:gd name="T0" fmla="*/ 0 w 5233536"/>
                <a:gd name="T1" fmla="*/ 4094051 h 4081111"/>
                <a:gd name="T2" fmla="*/ 3350032 w 5233536"/>
                <a:gd name="T3" fmla="*/ 1943 h 4081111"/>
                <a:gd name="T4" fmla="*/ 5237106 w 5233536"/>
                <a:gd name="T5" fmla="*/ 0 h 4081111"/>
                <a:gd name="T6" fmla="*/ 0 60000 65536"/>
                <a:gd name="T7" fmla="*/ 0 60000 65536"/>
                <a:gd name="T8" fmla="*/ 0 60000 65536"/>
              </a:gdLst>
              <a:ahLst/>
              <a:cxnLst>
                <a:cxn ang="T6">
                  <a:pos x="T0" y="T1"/>
                </a:cxn>
                <a:cxn ang="T7">
                  <a:pos x="T2" y="T3"/>
                </a:cxn>
                <a:cxn ang="T8">
                  <a:pos x="T4" y="T5"/>
                </a:cxn>
              </a:cxnLst>
              <a:rect l="0" t="0" r="r" b="b"/>
              <a:pathLst>
                <a:path w="5233536" h="4081111">
                  <a:moveTo>
                    <a:pt x="0" y="4081111"/>
                  </a:moveTo>
                  <a:lnTo>
                    <a:pt x="3347745" y="1936"/>
                  </a:lnTo>
                  <a:lnTo>
                    <a:pt x="5233536" y="0"/>
                  </a:lnTo>
                </a:path>
              </a:pathLst>
            </a:custGeom>
            <a:noFill/>
            <a:ln w="57150" cap="flat" cmpd="sng">
              <a:solidFill>
                <a:schemeClr val="accent1">
                  <a:lumMod val="100000"/>
                </a:schemeClr>
              </a:solidFill>
              <a:prstDash val="solid"/>
              <a:miter lim="400000"/>
              <a:headEnd type="none" w="med" len="med"/>
              <a:tailEnd type="none" w="med" len="med"/>
            </a:ln>
            <a:extLst>
              <a:ext uri="{909E8E84-426E-40DD-AFC4-6F175D3DCCD1}">
                <a14:hiddenFill xmlns:a14="http://schemas.microsoft.com/office/drawing/2010/main">
                  <a:solidFill>
                    <a:srgbClr val="FFFFFF"/>
                  </a:solidFill>
                </a14:hiddenFill>
              </a:ext>
            </a:extLst>
          </p:spPr>
          <p:txBody>
            <a:bodyPr wrap="square" lIns="0" tIns="0" rIns="0" bIns="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500" b="0" i="0" u="none" strike="noStrike" kern="1200" cap="none" spc="0" normalizeH="0" baseline="0" noProof="0">
                <a:ln>
                  <a:noFill/>
                </a:ln>
                <a:solidFill>
                  <a:srgbClr val="13668E"/>
                </a:solidFill>
                <a:effectLst/>
                <a:uLnTx/>
                <a:uFillTx/>
                <a:latin typeface="Arial"/>
                <a:cs typeface="+mn-ea"/>
                <a:sym typeface="+mn-lt"/>
              </a:endParaRPr>
            </a:p>
          </p:txBody>
        </p:sp>
        <p:sp>
          <p:nvSpPr>
            <p:cNvPr id="25" name="Oval 66">
              <a:extLst>
                <a:ext uri="{FF2B5EF4-FFF2-40B4-BE49-F238E27FC236}">
                  <a16:creationId xmlns:a16="http://schemas.microsoft.com/office/drawing/2014/main" id="{A302EE6B-EE63-4CAA-8F2E-74FE427CFD41}"/>
                </a:ext>
              </a:extLst>
            </p:cNvPr>
            <p:cNvSpPr>
              <a:spLocks noChangeArrowheads="1"/>
            </p:cNvSpPr>
            <p:nvPr/>
          </p:nvSpPr>
          <p:spPr bwMode="auto">
            <a:xfrm>
              <a:off x="6172631" y="10276603"/>
              <a:ext cx="307976" cy="216396"/>
            </a:xfrm>
            <a:prstGeom prst="ellipse">
              <a:avLst/>
            </a:prstGeom>
            <a:solidFill>
              <a:schemeClr val="accent1">
                <a:lumMod val="100000"/>
              </a:schemeClr>
            </a:solidFill>
            <a:ln w="57150">
              <a:solidFill>
                <a:schemeClr val="accent1">
                  <a:lumMod val="100000"/>
                </a:schemeClr>
              </a:solidFill>
              <a:miter lim="400000"/>
              <a:headEnd/>
              <a:tailEnd/>
            </a:ln>
          </p:spPr>
          <p:txBody>
            <a:bodyPr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altLang="en-US" sz="500" b="0" i="0" u="none" strike="noStrike" kern="1200" cap="none" spc="0" normalizeH="0" baseline="0" noProof="0">
                <a:ln>
                  <a:noFill/>
                </a:ln>
                <a:solidFill>
                  <a:srgbClr val="13668E"/>
                </a:solidFill>
                <a:effectLst/>
                <a:uLnTx/>
                <a:uFillTx/>
                <a:latin typeface="Arial"/>
                <a:cs typeface="+mn-ea"/>
                <a:sym typeface="+mn-lt"/>
              </a:endParaRPr>
            </a:p>
          </p:txBody>
        </p:sp>
        <p:sp>
          <p:nvSpPr>
            <p:cNvPr id="26" name="Oval 66">
              <a:extLst>
                <a:ext uri="{FF2B5EF4-FFF2-40B4-BE49-F238E27FC236}">
                  <a16:creationId xmlns:a16="http://schemas.microsoft.com/office/drawing/2014/main" id="{FDD03AA3-8206-41E2-9128-B85E3007B85B}"/>
                </a:ext>
              </a:extLst>
            </p:cNvPr>
            <p:cNvSpPr>
              <a:spLocks noChangeArrowheads="1"/>
            </p:cNvSpPr>
            <p:nvPr/>
          </p:nvSpPr>
          <p:spPr bwMode="auto">
            <a:xfrm>
              <a:off x="7341028" y="8916137"/>
              <a:ext cx="309564" cy="216396"/>
            </a:xfrm>
            <a:prstGeom prst="ellipse">
              <a:avLst/>
            </a:prstGeom>
            <a:solidFill>
              <a:schemeClr val="tx2"/>
            </a:solidFill>
            <a:ln w="57150">
              <a:solidFill>
                <a:schemeClr val="accent1">
                  <a:lumMod val="100000"/>
                </a:schemeClr>
              </a:solidFill>
              <a:miter lim="400000"/>
              <a:headEnd/>
              <a:tailEnd/>
            </a:ln>
          </p:spPr>
          <p:txBody>
            <a:bodyPr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altLang="en-US" sz="500" b="0" i="0" u="none" strike="noStrike" kern="1200" cap="none" spc="0" normalizeH="0" baseline="0" noProof="0">
                <a:ln>
                  <a:noFill/>
                </a:ln>
                <a:solidFill>
                  <a:srgbClr val="13668E"/>
                </a:solidFill>
                <a:effectLst/>
                <a:uLnTx/>
                <a:uFillTx/>
                <a:latin typeface="Arial"/>
                <a:cs typeface="+mn-ea"/>
                <a:sym typeface="+mn-lt"/>
              </a:endParaRPr>
            </a:p>
          </p:txBody>
        </p:sp>
        <p:sp>
          <p:nvSpPr>
            <p:cNvPr id="27" name="Oval 66">
              <a:extLst>
                <a:ext uri="{FF2B5EF4-FFF2-40B4-BE49-F238E27FC236}">
                  <a16:creationId xmlns:a16="http://schemas.microsoft.com/office/drawing/2014/main" id="{3B20BB7D-9849-4631-ADF6-6C658DF0FA10}"/>
                </a:ext>
              </a:extLst>
            </p:cNvPr>
            <p:cNvSpPr>
              <a:spLocks noChangeArrowheads="1"/>
            </p:cNvSpPr>
            <p:nvPr/>
          </p:nvSpPr>
          <p:spPr bwMode="auto">
            <a:xfrm>
              <a:off x="8425816" y="7560431"/>
              <a:ext cx="309564" cy="216396"/>
            </a:xfrm>
            <a:prstGeom prst="ellipse">
              <a:avLst/>
            </a:prstGeom>
            <a:solidFill>
              <a:schemeClr val="tx2"/>
            </a:solidFill>
            <a:ln w="57150">
              <a:solidFill>
                <a:schemeClr val="accent1">
                  <a:lumMod val="100000"/>
                </a:schemeClr>
              </a:solidFill>
              <a:miter lim="400000"/>
              <a:headEnd/>
              <a:tailEnd/>
            </a:ln>
          </p:spPr>
          <p:txBody>
            <a:bodyPr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altLang="en-US" sz="500" b="0" i="0" u="none" strike="noStrike" kern="1200" cap="none" spc="0" normalizeH="0" baseline="0" noProof="0" dirty="0">
                <a:ln>
                  <a:noFill/>
                </a:ln>
                <a:solidFill>
                  <a:srgbClr val="13668E"/>
                </a:solidFill>
                <a:effectLst/>
                <a:uLnTx/>
                <a:uFillTx/>
                <a:latin typeface="Arial"/>
                <a:cs typeface="+mn-ea"/>
                <a:sym typeface="+mn-lt"/>
              </a:endParaRPr>
            </a:p>
          </p:txBody>
        </p:sp>
      </p:grpSp>
      <p:grpSp>
        <p:nvGrpSpPr>
          <p:cNvPr id="9" name="Группа 76">
            <a:extLst>
              <a:ext uri="{FF2B5EF4-FFF2-40B4-BE49-F238E27FC236}">
                <a16:creationId xmlns:a16="http://schemas.microsoft.com/office/drawing/2014/main" id="{CD24B2AC-51EE-443B-9963-A98AA4FBDD8D}"/>
              </a:ext>
            </a:extLst>
          </p:cNvPr>
          <p:cNvGrpSpPr/>
          <p:nvPr/>
        </p:nvGrpSpPr>
        <p:grpSpPr>
          <a:xfrm>
            <a:off x="8295169" y="3275759"/>
            <a:ext cx="420473" cy="307777"/>
            <a:chOff x="9062578" y="6018729"/>
            <a:chExt cx="840946" cy="615554"/>
          </a:xfrm>
        </p:grpSpPr>
        <p:sp>
          <p:nvSpPr>
            <p:cNvPr id="10" name="Oval 66">
              <a:extLst>
                <a:ext uri="{FF2B5EF4-FFF2-40B4-BE49-F238E27FC236}">
                  <a16:creationId xmlns:a16="http://schemas.microsoft.com/office/drawing/2014/main" id="{DE151A9D-12BF-406B-8F24-62CEBB5BE6C5}"/>
                </a:ext>
              </a:extLst>
            </p:cNvPr>
            <p:cNvSpPr>
              <a:spLocks noChangeArrowheads="1"/>
            </p:cNvSpPr>
            <p:nvPr/>
          </p:nvSpPr>
          <p:spPr bwMode="auto">
            <a:xfrm>
              <a:off x="9062578" y="6182839"/>
              <a:ext cx="840946" cy="216396"/>
            </a:xfrm>
            <a:prstGeom prst="ellipse">
              <a:avLst/>
            </a:prstGeom>
            <a:solidFill>
              <a:schemeClr val="accent1">
                <a:lumMod val="100000"/>
              </a:schemeClr>
            </a:solidFill>
            <a:ln w="57150">
              <a:solidFill>
                <a:schemeClr val="accent1">
                  <a:lumMod val="100000"/>
                </a:schemeClr>
              </a:solidFill>
              <a:miter lim="400000"/>
              <a:headEnd/>
              <a:tailEnd/>
            </a:ln>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altLang="en-US" sz="500" b="0" i="0" u="none" strike="noStrike" kern="1200" cap="none" spc="0" normalizeH="0" baseline="0" noProof="0" dirty="0">
                <a:ln>
                  <a:noFill/>
                </a:ln>
                <a:solidFill>
                  <a:srgbClr val="000000"/>
                </a:solidFill>
                <a:effectLst/>
                <a:uLnTx/>
                <a:uFillTx/>
                <a:latin typeface="Arial"/>
                <a:cs typeface="+mn-ea"/>
                <a:sym typeface="+mn-lt"/>
              </a:endParaRPr>
            </a:p>
          </p:txBody>
        </p:sp>
        <p:sp>
          <p:nvSpPr>
            <p:cNvPr id="11" name="TextBox 46">
              <a:extLst>
                <a:ext uri="{FF2B5EF4-FFF2-40B4-BE49-F238E27FC236}">
                  <a16:creationId xmlns:a16="http://schemas.microsoft.com/office/drawing/2014/main" id="{1BBB33F0-AF8D-4641-8EE3-096727974F73}"/>
                </a:ext>
              </a:extLst>
            </p:cNvPr>
            <p:cNvSpPr txBox="1">
              <a:spLocks noChangeArrowheads="1"/>
            </p:cNvSpPr>
            <p:nvPr/>
          </p:nvSpPr>
          <p:spPr bwMode="auto">
            <a:xfrm>
              <a:off x="9207186" y="6018729"/>
              <a:ext cx="594792" cy="615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1pPr>
              <a:lvl2pPr marL="742950" indent="-28575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2pPr>
              <a:lvl3pPr marL="11430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3pPr>
              <a:lvl4pPr marL="16002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4pPr>
              <a:lvl5pPr marL="20574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5pPr>
              <a:lvl6pPr marL="25146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6pPr>
              <a:lvl7pPr marL="29718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7pPr>
              <a:lvl8pPr marL="34290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8pPr>
              <a:lvl9pPr marL="38862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400" b="1" i="0" u="none" strike="noStrike" kern="1200" cap="none" spc="0" normalizeH="0" baseline="0" noProof="0" dirty="0">
                  <a:ln>
                    <a:noFill/>
                  </a:ln>
                  <a:solidFill>
                    <a:srgbClr val="FFFFFF"/>
                  </a:solidFill>
                  <a:effectLst/>
                  <a:uLnTx/>
                  <a:uFillTx/>
                  <a:latin typeface="Arial"/>
                  <a:ea typeface="+mn-ea"/>
                  <a:cs typeface="+mn-ea"/>
                  <a:sym typeface="+mn-lt"/>
                </a:rPr>
                <a:t>C</a:t>
              </a:r>
            </a:p>
          </p:txBody>
        </p:sp>
      </p:grpSp>
    </p:spTree>
    <p:extLst>
      <p:ext uri="{BB962C8B-B14F-4D97-AF65-F5344CB8AC3E}">
        <p14:creationId xmlns:p14="http://schemas.microsoft.com/office/powerpoint/2010/main" val="2523885383"/>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7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Группа 7">
            <a:extLst>
              <a:ext uri="{FF2B5EF4-FFF2-40B4-BE49-F238E27FC236}">
                <a16:creationId xmlns:a16="http://schemas.microsoft.com/office/drawing/2014/main" id="{E49A082D-C3DE-4F4C-A5FA-22BD139DB3F2}"/>
              </a:ext>
            </a:extLst>
          </p:cNvPr>
          <p:cNvGrpSpPr/>
          <p:nvPr/>
        </p:nvGrpSpPr>
        <p:grpSpPr>
          <a:xfrm>
            <a:off x="1335203" y="700364"/>
            <a:ext cx="10193636" cy="5888314"/>
            <a:chOff x="4507923" y="2631171"/>
            <a:chExt cx="16567240" cy="9570001"/>
          </a:xfrm>
        </p:grpSpPr>
        <p:grpSp>
          <p:nvGrpSpPr>
            <p:cNvPr id="77" name="Группа 6">
              <a:extLst>
                <a:ext uri="{FF2B5EF4-FFF2-40B4-BE49-F238E27FC236}">
                  <a16:creationId xmlns:a16="http://schemas.microsoft.com/office/drawing/2014/main" id="{4743D4EF-D219-4586-A920-CC997CC6F924}"/>
                </a:ext>
              </a:extLst>
            </p:cNvPr>
            <p:cNvGrpSpPr/>
            <p:nvPr/>
          </p:nvGrpSpPr>
          <p:grpSpPr>
            <a:xfrm>
              <a:off x="4507923" y="2651128"/>
              <a:ext cx="14278331" cy="9550044"/>
              <a:chOff x="4507923" y="2651128"/>
              <a:chExt cx="14278331" cy="9550044"/>
            </a:xfrm>
          </p:grpSpPr>
          <p:sp>
            <p:nvSpPr>
              <p:cNvPr id="85" name="Фигура">
                <a:extLst>
                  <a:ext uri="{FF2B5EF4-FFF2-40B4-BE49-F238E27FC236}">
                    <a16:creationId xmlns:a16="http://schemas.microsoft.com/office/drawing/2014/main" id="{FDE3BA58-34EA-4FB3-BA45-CE6C4A0A8AB6}"/>
                  </a:ext>
                </a:extLst>
              </p:cNvPr>
              <p:cNvSpPr/>
              <p:nvPr/>
            </p:nvSpPr>
            <p:spPr>
              <a:xfrm>
                <a:off x="4507923" y="2651128"/>
                <a:ext cx="14278331" cy="9550044"/>
              </a:xfrm>
              <a:custGeom>
                <a:avLst/>
                <a:gdLst/>
                <a:ahLst/>
                <a:cxnLst>
                  <a:cxn ang="0">
                    <a:pos x="wd2" y="hd2"/>
                  </a:cxn>
                  <a:cxn ang="5400000">
                    <a:pos x="wd2" y="hd2"/>
                  </a:cxn>
                  <a:cxn ang="10800000">
                    <a:pos x="wd2" y="hd2"/>
                  </a:cxn>
                  <a:cxn ang="16200000">
                    <a:pos x="wd2" y="hd2"/>
                  </a:cxn>
                </a:cxnLst>
                <a:rect l="0" t="0" r="r" b="b"/>
                <a:pathLst>
                  <a:path w="21591" h="21572" extrusionOk="0">
                    <a:moveTo>
                      <a:pt x="2674" y="10689"/>
                    </a:moveTo>
                    <a:cubicBezTo>
                      <a:pt x="2256" y="10130"/>
                      <a:pt x="1927" y="9441"/>
                      <a:pt x="1708" y="8671"/>
                    </a:cubicBezTo>
                    <a:cubicBezTo>
                      <a:pt x="1403" y="7593"/>
                      <a:pt x="1328" y="6401"/>
                      <a:pt x="1033" y="5316"/>
                    </a:cubicBezTo>
                    <a:cubicBezTo>
                      <a:pt x="852" y="4652"/>
                      <a:pt x="592" y="4041"/>
                      <a:pt x="266" y="3515"/>
                    </a:cubicBezTo>
                    <a:cubicBezTo>
                      <a:pt x="1119" y="3379"/>
                      <a:pt x="1978" y="3678"/>
                      <a:pt x="2703" y="4361"/>
                    </a:cubicBezTo>
                    <a:cubicBezTo>
                      <a:pt x="3263" y="4889"/>
                      <a:pt x="3721" y="5627"/>
                      <a:pt x="4030" y="6501"/>
                    </a:cubicBezTo>
                    <a:cubicBezTo>
                      <a:pt x="4612" y="5491"/>
                      <a:pt x="5305" y="4636"/>
                      <a:pt x="6079" y="3975"/>
                    </a:cubicBezTo>
                    <a:cubicBezTo>
                      <a:pt x="6911" y="3264"/>
                      <a:pt x="7823" y="2788"/>
                      <a:pt x="8770" y="2569"/>
                    </a:cubicBezTo>
                    <a:cubicBezTo>
                      <a:pt x="8647" y="2230"/>
                      <a:pt x="8488" y="1922"/>
                      <a:pt x="8298" y="1659"/>
                    </a:cubicBezTo>
                    <a:cubicBezTo>
                      <a:pt x="8048" y="1311"/>
                      <a:pt x="7751" y="1048"/>
                      <a:pt x="7426" y="886"/>
                    </a:cubicBezTo>
                    <a:cubicBezTo>
                      <a:pt x="7826" y="723"/>
                      <a:pt x="8230" y="581"/>
                      <a:pt x="8636" y="461"/>
                    </a:cubicBezTo>
                    <a:cubicBezTo>
                      <a:pt x="9727" y="141"/>
                      <a:pt x="10875" y="-5"/>
                      <a:pt x="11973" y="0"/>
                    </a:cubicBezTo>
                    <a:cubicBezTo>
                      <a:pt x="12480" y="2"/>
                      <a:pt x="12984" y="40"/>
                      <a:pt x="13474" y="164"/>
                    </a:cubicBezTo>
                    <a:cubicBezTo>
                      <a:pt x="13902" y="273"/>
                      <a:pt x="14322" y="449"/>
                      <a:pt x="14723" y="775"/>
                    </a:cubicBezTo>
                    <a:cubicBezTo>
                      <a:pt x="15253" y="1205"/>
                      <a:pt x="15679" y="1875"/>
                      <a:pt x="15938" y="2689"/>
                    </a:cubicBezTo>
                    <a:cubicBezTo>
                      <a:pt x="16989" y="2991"/>
                      <a:pt x="17987" y="3617"/>
                      <a:pt x="18867" y="4527"/>
                    </a:cubicBezTo>
                    <a:cubicBezTo>
                      <a:pt x="19799" y="5490"/>
                      <a:pt x="20578" y="6749"/>
                      <a:pt x="21147" y="8214"/>
                    </a:cubicBezTo>
                    <a:cubicBezTo>
                      <a:pt x="21316" y="8102"/>
                      <a:pt x="21511" y="8253"/>
                      <a:pt x="21547" y="8524"/>
                    </a:cubicBezTo>
                    <a:cubicBezTo>
                      <a:pt x="21565" y="8656"/>
                      <a:pt x="21536" y="8791"/>
                      <a:pt x="21471" y="8884"/>
                    </a:cubicBezTo>
                    <a:cubicBezTo>
                      <a:pt x="21107" y="8966"/>
                      <a:pt x="20786" y="9211"/>
                      <a:pt x="20536" y="9562"/>
                    </a:cubicBezTo>
                    <a:cubicBezTo>
                      <a:pt x="20343" y="9832"/>
                      <a:pt x="20181" y="10182"/>
                      <a:pt x="20163" y="10611"/>
                    </a:cubicBezTo>
                    <a:cubicBezTo>
                      <a:pt x="20141" y="11094"/>
                      <a:pt x="20312" y="11514"/>
                      <a:pt x="20519" y="11847"/>
                    </a:cubicBezTo>
                    <a:cubicBezTo>
                      <a:pt x="20774" y="12257"/>
                      <a:pt x="21103" y="12572"/>
                      <a:pt x="21487" y="12739"/>
                    </a:cubicBezTo>
                    <a:cubicBezTo>
                      <a:pt x="21542" y="12767"/>
                      <a:pt x="21582" y="12840"/>
                      <a:pt x="21589" y="12927"/>
                    </a:cubicBezTo>
                    <a:cubicBezTo>
                      <a:pt x="21600" y="13057"/>
                      <a:pt x="21555" y="13161"/>
                      <a:pt x="21492" y="13216"/>
                    </a:cubicBezTo>
                    <a:cubicBezTo>
                      <a:pt x="21413" y="13287"/>
                      <a:pt x="21306" y="13281"/>
                      <a:pt x="21230" y="13164"/>
                    </a:cubicBezTo>
                    <a:cubicBezTo>
                      <a:pt x="20311" y="14874"/>
                      <a:pt x="19168" y="16287"/>
                      <a:pt x="17871" y="17314"/>
                    </a:cubicBezTo>
                    <a:cubicBezTo>
                      <a:pt x="16479" y="18417"/>
                      <a:pt x="14943" y="19051"/>
                      <a:pt x="13370" y="19172"/>
                    </a:cubicBezTo>
                    <a:cubicBezTo>
                      <a:pt x="13153" y="19752"/>
                      <a:pt x="12855" y="20257"/>
                      <a:pt x="12497" y="20651"/>
                    </a:cubicBezTo>
                    <a:cubicBezTo>
                      <a:pt x="11934" y="21272"/>
                      <a:pt x="11249" y="21595"/>
                      <a:pt x="10549" y="21570"/>
                    </a:cubicBezTo>
                    <a:cubicBezTo>
                      <a:pt x="10786" y="21235"/>
                      <a:pt x="10985" y="20843"/>
                      <a:pt x="11136" y="20411"/>
                    </a:cubicBezTo>
                    <a:cubicBezTo>
                      <a:pt x="11281" y="19999"/>
                      <a:pt x="11381" y="19555"/>
                      <a:pt x="11432" y="19096"/>
                    </a:cubicBezTo>
                    <a:cubicBezTo>
                      <a:pt x="10781" y="19046"/>
                      <a:pt x="10132" y="18931"/>
                      <a:pt x="9491" y="18753"/>
                    </a:cubicBezTo>
                    <a:cubicBezTo>
                      <a:pt x="8901" y="18589"/>
                      <a:pt x="8318" y="18372"/>
                      <a:pt x="7746" y="18103"/>
                    </a:cubicBezTo>
                    <a:cubicBezTo>
                      <a:pt x="7382" y="18528"/>
                      <a:pt x="6969" y="18853"/>
                      <a:pt x="6528" y="19061"/>
                    </a:cubicBezTo>
                    <a:cubicBezTo>
                      <a:pt x="6066" y="19280"/>
                      <a:pt x="5580" y="19366"/>
                      <a:pt x="5096" y="19317"/>
                    </a:cubicBezTo>
                    <a:cubicBezTo>
                      <a:pt x="5428" y="19133"/>
                      <a:pt x="5730" y="18844"/>
                      <a:pt x="5981" y="18471"/>
                    </a:cubicBezTo>
                    <a:cubicBezTo>
                      <a:pt x="6192" y="18157"/>
                      <a:pt x="6363" y="17790"/>
                      <a:pt x="6486" y="17386"/>
                    </a:cubicBezTo>
                    <a:cubicBezTo>
                      <a:pt x="5999" y="17004"/>
                      <a:pt x="5535" y="16561"/>
                      <a:pt x="5099" y="16061"/>
                    </a:cubicBezTo>
                    <a:cubicBezTo>
                      <a:pt x="4706" y="15610"/>
                      <a:pt x="4337" y="15115"/>
                      <a:pt x="3995" y="14579"/>
                    </a:cubicBezTo>
                    <a:cubicBezTo>
                      <a:pt x="3646" y="15600"/>
                      <a:pt x="3101" y="16443"/>
                      <a:pt x="2429" y="16999"/>
                    </a:cubicBezTo>
                    <a:cubicBezTo>
                      <a:pt x="1690" y="17612"/>
                      <a:pt x="837" y="17846"/>
                      <a:pt x="0" y="17667"/>
                    </a:cubicBezTo>
                    <a:cubicBezTo>
                      <a:pt x="406" y="17128"/>
                      <a:pt x="741" y="16481"/>
                      <a:pt x="988" y="15759"/>
                    </a:cubicBezTo>
                    <a:cubicBezTo>
                      <a:pt x="1346" y="14711"/>
                      <a:pt x="1507" y="13541"/>
                      <a:pt x="1848" y="12483"/>
                    </a:cubicBezTo>
                    <a:cubicBezTo>
                      <a:pt x="2060" y="11826"/>
                      <a:pt x="2338" y="11220"/>
                      <a:pt x="2674" y="10689"/>
                    </a:cubicBezTo>
                    <a:close/>
                  </a:path>
                </a:pathLst>
              </a:custGeom>
              <a:solidFill>
                <a:srgbClr val="FFFFFF"/>
              </a:solidFill>
              <a:ln w="25400">
                <a:noFill/>
                <a:miter lim="400000"/>
              </a:ln>
            </p:spPr>
            <p:txBody>
              <a:bodyPr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1600" b="0" i="0" u="none" strike="noStrike" kern="1200" cap="none" spc="0" normalizeH="0" baseline="0" noProof="0">
                  <a:ln>
                    <a:noFill/>
                  </a:ln>
                  <a:solidFill>
                    <a:srgbClr val="FFFFFF"/>
                  </a:solidFill>
                  <a:effectLst/>
                  <a:uLnTx/>
                  <a:uFillTx/>
                  <a:latin typeface="Arial"/>
                  <a:cs typeface="+mn-ea"/>
                  <a:sym typeface="+mn-lt"/>
                </a:endParaRPr>
              </a:p>
            </p:txBody>
          </p:sp>
          <p:sp>
            <p:nvSpPr>
              <p:cNvPr id="86" name="Кружок">
                <a:extLst>
                  <a:ext uri="{FF2B5EF4-FFF2-40B4-BE49-F238E27FC236}">
                    <a16:creationId xmlns:a16="http://schemas.microsoft.com/office/drawing/2014/main" id="{14F01153-28DD-489B-B952-842FB7A80702}"/>
                  </a:ext>
                </a:extLst>
              </p:cNvPr>
              <p:cNvSpPr/>
              <p:nvPr/>
            </p:nvSpPr>
            <p:spPr>
              <a:xfrm>
                <a:off x="16733721" y="5730676"/>
                <a:ext cx="895136" cy="895136"/>
              </a:xfrm>
              <a:prstGeom prst="ellipse">
                <a:avLst/>
              </a:prstGeom>
              <a:solidFill>
                <a:schemeClr val="accent1">
                  <a:lumMod val="20000"/>
                  <a:lumOff val="80000"/>
                </a:schemeClr>
              </a:solidFill>
              <a:ln w="25400">
                <a:noFill/>
                <a:miter lim="400000"/>
              </a:ln>
            </p:spPr>
            <p:txBody>
              <a:bodyPr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1600" b="0" i="0" u="none" strike="noStrike" kern="1200" cap="none" spc="0" normalizeH="0" baseline="0" noProof="0">
                  <a:ln>
                    <a:noFill/>
                  </a:ln>
                  <a:solidFill>
                    <a:srgbClr val="FFFFFF"/>
                  </a:solidFill>
                  <a:effectLst/>
                  <a:uLnTx/>
                  <a:uFillTx/>
                  <a:latin typeface="Arial"/>
                  <a:cs typeface="+mn-ea"/>
                  <a:sym typeface="+mn-lt"/>
                </a:endParaRPr>
              </a:p>
            </p:txBody>
          </p:sp>
          <p:sp>
            <p:nvSpPr>
              <p:cNvPr id="87" name="Кружок">
                <a:extLst>
                  <a:ext uri="{FF2B5EF4-FFF2-40B4-BE49-F238E27FC236}">
                    <a16:creationId xmlns:a16="http://schemas.microsoft.com/office/drawing/2014/main" id="{5512501D-E9C9-42A7-822C-0C79D7BD11E6}"/>
                  </a:ext>
                </a:extLst>
              </p:cNvPr>
              <p:cNvSpPr/>
              <p:nvPr/>
            </p:nvSpPr>
            <p:spPr>
              <a:xfrm>
                <a:off x="17075034" y="5961922"/>
                <a:ext cx="500377" cy="500378"/>
              </a:xfrm>
              <a:prstGeom prst="ellipse">
                <a:avLst/>
              </a:prstGeom>
              <a:solidFill>
                <a:schemeClr val="tx1"/>
              </a:solidFill>
              <a:ln w="25400">
                <a:noFill/>
                <a:miter lim="400000"/>
              </a:ln>
            </p:spPr>
            <p:txBody>
              <a:bodyPr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1600" b="0" i="0" u="none" strike="noStrike" kern="1200" cap="none" spc="0" normalizeH="0" baseline="0" noProof="0" dirty="0">
                  <a:ln>
                    <a:noFill/>
                  </a:ln>
                  <a:solidFill>
                    <a:srgbClr val="FFFFFF"/>
                  </a:solidFill>
                  <a:effectLst/>
                  <a:uLnTx/>
                  <a:uFillTx/>
                  <a:latin typeface="Arial"/>
                  <a:cs typeface="+mn-ea"/>
                  <a:sym typeface="+mn-lt"/>
                </a:endParaRPr>
              </a:p>
            </p:txBody>
          </p:sp>
        </p:grpSp>
        <p:sp>
          <p:nvSpPr>
            <p:cNvPr id="79" name="Кружок">
              <a:extLst>
                <a:ext uri="{FF2B5EF4-FFF2-40B4-BE49-F238E27FC236}">
                  <a16:creationId xmlns:a16="http://schemas.microsoft.com/office/drawing/2014/main" id="{1700ADD3-B712-4D51-8917-7815DE4BDACE}"/>
                </a:ext>
              </a:extLst>
            </p:cNvPr>
            <p:cNvSpPr/>
            <p:nvPr/>
          </p:nvSpPr>
          <p:spPr>
            <a:xfrm flipH="1">
              <a:off x="19819663" y="2631171"/>
              <a:ext cx="277278" cy="277278"/>
            </a:xfrm>
            <a:prstGeom prst="ellipse">
              <a:avLst/>
            </a:prstGeom>
            <a:solidFill>
              <a:schemeClr val="accent1">
                <a:lumMod val="20000"/>
                <a:lumOff val="80000"/>
              </a:schemeClr>
            </a:solidFill>
            <a:ln w="25400">
              <a:noFill/>
              <a:miter lim="400000"/>
            </a:ln>
          </p:spPr>
          <p:txBody>
            <a:bodyPr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1600" b="0" i="0" u="none" strike="noStrike" kern="1200" cap="none" spc="0" normalizeH="0" baseline="0" noProof="0">
                <a:ln>
                  <a:noFill/>
                </a:ln>
                <a:solidFill>
                  <a:srgbClr val="FFFFFF"/>
                </a:solidFill>
                <a:effectLst/>
                <a:uLnTx/>
                <a:uFillTx/>
                <a:latin typeface="Arial"/>
                <a:cs typeface="+mn-ea"/>
                <a:sym typeface="+mn-lt"/>
              </a:endParaRPr>
            </a:p>
          </p:txBody>
        </p:sp>
        <p:sp>
          <p:nvSpPr>
            <p:cNvPr id="80" name="Кружок">
              <a:extLst>
                <a:ext uri="{FF2B5EF4-FFF2-40B4-BE49-F238E27FC236}">
                  <a16:creationId xmlns:a16="http://schemas.microsoft.com/office/drawing/2014/main" id="{2D4988C7-706D-46B6-9C40-91B72884A2D1}"/>
                </a:ext>
              </a:extLst>
            </p:cNvPr>
            <p:cNvSpPr/>
            <p:nvPr/>
          </p:nvSpPr>
          <p:spPr>
            <a:xfrm>
              <a:off x="20152158" y="5671576"/>
              <a:ext cx="389944" cy="389944"/>
            </a:xfrm>
            <a:prstGeom prst="ellipse">
              <a:avLst/>
            </a:prstGeom>
            <a:solidFill>
              <a:schemeClr val="accent1">
                <a:lumMod val="20000"/>
                <a:lumOff val="80000"/>
              </a:schemeClr>
            </a:solidFill>
            <a:ln w="25400">
              <a:noFill/>
              <a:miter lim="400000"/>
            </a:ln>
          </p:spPr>
          <p:txBody>
            <a:bodyPr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1600" b="0" i="0" u="none" strike="noStrike" kern="1200" cap="none" spc="0" normalizeH="0" baseline="0" noProof="0">
                <a:ln>
                  <a:noFill/>
                </a:ln>
                <a:solidFill>
                  <a:srgbClr val="FFFFFF"/>
                </a:solidFill>
                <a:effectLst/>
                <a:uLnTx/>
                <a:uFillTx/>
                <a:latin typeface="Arial"/>
                <a:cs typeface="+mn-ea"/>
                <a:sym typeface="+mn-lt"/>
              </a:endParaRPr>
            </a:p>
          </p:txBody>
        </p:sp>
        <p:sp>
          <p:nvSpPr>
            <p:cNvPr id="81" name="Кружок">
              <a:extLst>
                <a:ext uri="{FF2B5EF4-FFF2-40B4-BE49-F238E27FC236}">
                  <a16:creationId xmlns:a16="http://schemas.microsoft.com/office/drawing/2014/main" id="{8BDB4E01-850C-4DD5-8803-7FD444DDA4D3}"/>
                </a:ext>
              </a:extLst>
            </p:cNvPr>
            <p:cNvSpPr/>
            <p:nvPr/>
          </p:nvSpPr>
          <p:spPr>
            <a:xfrm>
              <a:off x="18084550" y="4174098"/>
              <a:ext cx="227842" cy="227842"/>
            </a:xfrm>
            <a:prstGeom prst="ellipse">
              <a:avLst/>
            </a:prstGeom>
            <a:solidFill>
              <a:schemeClr val="accent1">
                <a:lumMod val="20000"/>
                <a:lumOff val="80000"/>
              </a:schemeClr>
            </a:solidFill>
            <a:ln w="25400">
              <a:noFill/>
              <a:miter lim="400000"/>
            </a:ln>
          </p:spPr>
          <p:txBody>
            <a:bodyPr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1600" b="0" i="0" u="none" strike="noStrike" kern="1200" cap="none" spc="0" normalizeH="0" baseline="0" noProof="0">
                <a:ln>
                  <a:noFill/>
                </a:ln>
                <a:solidFill>
                  <a:srgbClr val="FFFFFF"/>
                </a:solidFill>
                <a:effectLst/>
                <a:uLnTx/>
                <a:uFillTx/>
                <a:latin typeface="Arial"/>
                <a:cs typeface="+mn-ea"/>
                <a:sym typeface="+mn-lt"/>
              </a:endParaRPr>
            </a:p>
          </p:txBody>
        </p:sp>
        <p:sp>
          <p:nvSpPr>
            <p:cNvPr id="82" name="Кружок">
              <a:extLst>
                <a:ext uri="{FF2B5EF4-FFF2-40B4-BE49-F238E27FC236}">
                  <a16:creationId xmlns:a16="http://schemas.microsoft.com/office/drawing/2014/main" id="{52B2C769-01EF-4B0B-A99D-36E96C7B19FB}"/>
                </a:ext>
              </a:extLst>
            </p:cNvPr>
            <p:cNvSpPr/>
            <p:nvPr/>
          </p:nvSpPr>
          <p:spPr>
            <a:xfrm>
              <a:off x="20542101" y="3882148"/>
              <a:ext cx="533062" cy="533062"/>
            </a:xfrm>
            <a:prstGeom prst="ellipse">
              <a:avLst/>
            </a:prstGeom>
            <a:solidFill>
              <a:schemeClr val="accent1">
                <a:lumMod val="20000"/>
                <a:lumOff val="80000"/>
              </a:schemeClr>
            </a:solidFill>
            <a:ln w="25400">
              <a:noFill/>
              <a:miter lim="400000"/>
            </a:ln>
          </p:spPr>
          <p:txBody>
            <a:bodyPr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1600" b="0" i="0" u="none" strike="noStrike" kern="1200" cap="none" spc="0" normalizeH="0" baseline="0" noProof="0">
                <a:ln>
                  <a:noFill/>
                </a:ln>
                <a:solidFill>
                  <a:srgbClr val="FFFFFF"/>
                </a:solidFill>
                <a:effectLst/>
                <a:uLnTx/>
                <a:uFillTx/>
                <a:latin typeface="Arial"/>
                <a:cs typeface="+mn-ea"/>
                <a:sym typeface="+mn-lt"/>
              </a:endParaRPr>
            </a:p>
          </p:txBody>
        </p:sp>
        <p:sp>
          <p:nvSpPr>
            <p:cNvPr id="84" name="Кружок">
              <a:extLst>
                <a:ext uri="{FF2B5EF4-FFF2-40B4-BE49-F238E27FC236}">
                  <a16:creationId xmlns:a16="http://schemas.microsoft.com/office/drawing/2014/main" id="{BA375ACC-11ED-46E9-80BE-B07B8B0DA6A8}"/>
                </a:ext>
              </a:extLst>
            </p:cNvPr>
            <p:cNvSpPr/>
            <p:nvPr/>
          </p:nvSpPr>
          <p:spPr>
            <a:xfrm>
              <a:off x="18865008" y="4481736"/>
              <a:ext cx="923005" cy="923005"/>
            </a:xfrm>
            <a:prstGeom prst="ellipse">
              <a:avLst/>
            </a:prstGeom>
            <a:solidFill>
              <a:schemeClr val="accent1">
                <a:lumMod val="20000"/>
                <a:lumOff val="80000"/>
              </a:schemeClr>
            </a:solidFill>
            <a:ln w="25400">
              <a:noFill/>
              <a:miter lim="400000"/>
            </a:ln>
          </p:spPr>
          <p:txBody>
            <a:bodyPr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1600" b="0" i="0" u="none" strike="noStrike" kern="1200" cap="none" spc="0" normalizeH="0" baseline="0" noProof="0">
                <a:ln>
                  <a:noFill/>
                </a:ln>
                <a:solidFill>
                  <a:srgbClr val="FFFFFF"/>
                </a:solidFill>
                <a:effectLst/>
                <a:uLnTx/>
                <a:uFillTx/>
                <a:latin typeface="Arial"/>
                <a:cs typeface="+mn-ea"/>
                <a:sym typeface="+mn-lt"/>
              </a:endParaRPr>
            </a:p>
          </p:txBody>
        </p:sp>
      </p:grpSp>
      <p:grpSp>
        <p:nvGrpSpPr>
          <p:cNvPr id="7" name="Группа 207">
            <a:extLst>
              <a:ext uri="{FF2B5EF4-FFF2-40B4-BE49-F238E27FC236}">
                <a16:creationId xmlns:a16="http://schemas.microsoft.com/office/drawing/2014/main" id="{03C174E3-41E7-4D5A-A5E3-C0109F4517AF}"/>
              </a:ext>
            </a:extLst>
          </p:cNvPr>
          <p:cNvGrpSpPr/>
          <p:nvPr/>
        </p:nvGrpSpPr>
        <p:grpSpPr>
          <a:xfrm>
            <a:off x="6419513" y="1945419"/>
            <a:ext cx="2057586" cy="2998024"/>
            <a:chOff x="10175763" y="2868688"/>
            <a:chExt cx="4115171" cy="5996048"/>
          </a:xfrm>
        </p:grpSpPr>
        <p:cxnSp>
          <p:nvCxnSpPr>
            <p:cNvPr id="69" name="Прямая соединительная линия 261">
              <a:extLst>
                <a:ext uri="{FF2B5EF4-FFF2-40B4-BE49-F238E27FC236}">
                  <a16:creationId xmlns:a16="http://schemas.microsoft.com/office/drawing/2014/main" id="{8B7637F3-E6E8-41CE-9BA7-2920CD1133A4}"/>
                </a:ext>
              </a:extLst>
            </p:cNvPr>
            <p:cNvCxnSpPr>
              <a:cxnSpLocks/>
            </p:cNvCxnSpPr>
            <p:nvPr/>
          </p:nvCxnSpPr>
          <p:spPr bwMode="auto">
            <a:xfrm>
              <a:off x="10263371" y="3429136"/>
              <a:ext cx="2942775" cy="0"/>
            </a:xfrm>
            <a:prstGeom prst="line">
              <a:avLst/>
            </a:prstGeom>
            <a:blipFill dpi="0" rotWithShape="0">
              <a:blip r:embed="rId4"/>
              <a:srcRect/>
              <a:tile tx="0" ty="0" sx="100000" sy="100000" flip="none" algn="tl"/>
            </a:blipFill>
            <a:ln w="57150" cap="flat" cmpd="sng" algn="ctr">
              <a:solidFill>
                <a:schemeClr val="accent1">
                  <a:lumMod val="100000"/>
                </a:schemeClr>
              </a:solidFill>
              <a:prstDash val="solid"/>
              <a:miter lim="400000"/>
              <a:headEnd type="none" w="med" len="med"/>
              <a:tailEnd type="none" w="med" len="med"/>
            </a:ln>
            <a:effectLst/>
          </p:spPr>
        </p:cxnSp>
        <p:sp>
          <p:nvSpPr>
            <p:cNvPr id="70" name="TextBox 46">
              <a:extLst>
                <a:ext uri="{FF2B5EF4-FFF2-40B4-BE49-F238E27FC236}">
                  <a16:creationId xmlns:a16="http://schemas.microsoft.com/office/drawing/2014/main" id="{086BDA1B-5BDC-4CEA-910C-B14476385AEB}"/>
                </a:ext>
              </a:extLst>
            </p:cNvPr>
            <p:cNvSpPr txBox="1">
              <a:spLocks noChangeArrowheads="1"/>
            </p:cNvSpPr>
            <p:nvPr/>
          </p:nvSpPr>
          <p:spPr bwMode="auto">
            <a:xfrm>
              <a:off x="10177027" y="2868688"/>
              <a:ext cx="2663045" cy="4924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1pPr>
              <a:lvl2pPr marL="742950" indent="-28575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2pPr>
              <a:lvl3pPr marL="11430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3pPr>
              <a:lvl4pPr marL="16002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4pPr>
              <a:lvl5pPr marL="20574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5pPr>
              <a:lvl6pPr marL="25146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6pPr>
              <a:lvl7pPr marL="29718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7pPr>
              <a:lvl8pPr marL="34290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8pPr>
              <a:lvl9pPr marL="38862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000" b="1" i="0" u="none" strike="noStrike" kern="1200" cap="none" spc="0" normalizeH="0" baseline="0" noProof="0" dirty="0">
                  <a:ln>
                    <a:noFill/>
                  </a:ln>
                  <a:solidFill>
                    <a:schemeClr val="accent1"/>
                  </a:solidFill>
                  <a:effectLst/>
                  <a:uLnTx/>
                  <a:uFillTx/>
                  <a:latin typeface="Arial"/>
                  <a:ea typeface="+mn-ea"/>
                  <a:cs typeface="+mn-ea"/>
                  <a:sym typeface="+mn-lt"/>
                </a:rPr>
                <a:t>Information text</a:t>
              </a:r>
            </a:p>
          </p:txBody>
        </p:sp>
        <p:cxnSp>
          <p:nvCxnSpPr>
            <p:cNvPr id="71" name="Прямая соединительная линия 263">
              <a:extLst>
                <a:ext uri="{FF2B5EF4-FFF2-40B4-BE49-F238E27FC236}">
                  <a16:creationId xmlns:a16="http://schemas.microsoft.com/office/drawing/2014/main" id="{C7E14618-4566-40DA-84CF-6F040FF41C06}"/>
                </a:ext>
              </a:extLst>
            </p:cNvPr>
            <p:cNvCxnSpPr>
              <a:cxnSpLocks/>
            </p:cNvCxnSpPr>
            <p:nvPr/>
          </p:nvCxnSpPr>
          <p:spPr bwMode="auto">
            <a:xfrm>
              <a:off x="10263371" y="4800736"/>
              <a:ext cx="4027563" cy="0"/>
            </a:xfrm>
            <a:prstGeom prst="line">
              <a:avLst/>
            </a:prstGeom>
            <a:blipFill dpi="0" rotWithShape="0">
              <a:blip r:embed="rId4"/>
              <a:srcRect/>
              <a:tile tx="0" ty="0" sx="100000" sy="100000" flip="none" algn="tl"/>
            </a:blipFill>
            <a:ln w="57150" cap="flat" cmpd="sng" algn="ctr">
              <a:solidFill>
                <a:schemeClr val="accent1">
                  <a:lumMod val="100000"/>
                </a:schemeClr>
              </a:solidFill>
              <a:prstDash val="solid"/>
              <a:miter lim="400000"/>
              <a:headEnd type="none" w="med" len="med"/>
              <a:tailEnd type="none" w="med" len="med"/>
            </a:ln>
            <a:effectLst/>
          </p:spPr>
        </p:cxnSp>
        <p:cxnSp>
          <p:nvCxnSpPr>
            <p:cNvPr id="72" name="Прямая соединительная линия 264">
              <a:extLst>
                <a:ext uri="{FF2B5EF4-FFF2-40B4-BE49-F238E27FC236}">
                  <a16:creationId xmlns:a16="http://schemas.microsoft.com/office/drawing/2014/main" id="{70CA6D7A-98A0-4A73-BABC-33DA79473840}"/>
                </a:ext>
              </a:extLst>
            </p:cNvPr>
            <p:cNvCxnSpPr>
              <a:cxnSpLocks/>
            </p:cNvCxnSpPr>
            <p:nvPr/>
          </p:nvCxnSpPr>
          <p:spPr bwMode="auto">
            <a:xfrm>
              <a:off x="10263371" y="7543936"/>
              <a:ext cx="4027563" cy="0"/>
            </a:xfrm>
            <a:prstGeom prst="line">
              <a:avLst/>
            </a:prstGeom>
            <a:blipFill dpi="0" rotWithShape="0">
              <a:blip r:embed="rId4"/>
              <a:srcRect/>
              <a:tile tx="0" ty="0" sx="100000" sy="100000" flip="none" algn="tl"/>
            </a:blipFill>
            <a:ln w="57150" cap="flat" cmpd="sng" algn="ctr">
              <a:solidFill>
                <a:schemeClr val="accent1">
                  <a:lumMod val="100000"/>
                </a:schemeClr>
              </a:solidFill>
              <a:prstDash val="solid"/>
              <a:miter lim="400000"/>
              <a:headEnd type="none" w="med" len="med"/>
              <a:tailEnd type="none" w="med" len="med"/>
            </a:ln>
            <a:effectLst/>
          </p:spPr>
        </p:cxnSp>
        <p:cxnSp>
          <p:nvCxnSpPr>
            <p:cNvPr id="73" name="Прямая соединительная линия 265">
              <a:extLst>
                <a:ext uri="{FF2B5EF4-FFF2-40B4-BE49-F238E27FC236}">
                  <a16:creationId xmlns:a16="http://schemas.microsoft.com/office/drawing/2014/main" id="{63BE27EB-39F5-4B33-B692-6919703BC4AF}"/>
                </a:ext>
              </a:extLst>
            </p:cNvPr>
            <p:cNvCxnSpPr>
              <a:cxnSpLocks/>
            </p:cNvCxnSpPr>
            <p:nvPr/>
          </p:nvCxnSpPr>
          <p:spPr bwMode="auto">
            <a:xfrm>
              <a:off x="10263371" y="8864736"/>
              <a:ext cx="2787994" cy="0"/>
            </a:xfrm>
            <a:prstGeom prst="line">
              <a:avLst/>
            </a:prstGeom>
            <a:blipFill dpi="0" rotWithShape="0">
              <a:blip r:embed="rId4"/>
              <a:srcRect/>
              <a:tile tx="0" ty="0" sx="100000" sy="100000" flip="none" algn="tl"/>
            </a:blipFill>
            <a:ln w="57150" cap="flat" cmpd="sng" algn="ctr">
              <a:solidFill>
                <a:schemeClr val="accent1">
                  <a:lumMod val="100000"/>
                </a:schemeClr>
              </a:solidFill>
              <a:prstDash val="solid"/>
              <a:miter lim="400000"/>
              <a:headEnd type="none" w="med" len="med"/>
              <a:tailEnd type="none" w="med" len="med"/>
            </a:ln>
            <a:effectLst/>
          </p:spPr>
        </p:cxnSp>
        <p:sp>
          <p:nvSpPr>
            <p:cNvPr id="74" name="TextBox 46">
              <a:extLst>
                <a:ext uri="{FF2B5EF4-FFF2-40B4-BE49-F238E27FC236}">
                  <a16:creationId xmlns:a16="http://schemas.microsoft.com/office/drawing/2014/main" id="{0130B573-5C2A-4742-A189-07DAB8664D19}"/>
                </a:ext>
              </a:extLst>
            </p:cNvPr>
            <p:cNvSpPr txBox="1">
              <a:spLocks noChangeArrowheads="1"/>
            </p:cNvSpPr>
            <p:nvPr/>
          </p:nvSpPr>
          <p:spPr bwMode="auto">
            <a:xfrm>
              <a:off x="10184469" y="4192730"/>
              <a:ext cx="3384389" cy="4924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1pPr>
              <a:lvl2pPr marL="742950" indent="-28575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2pPr>
              <a:lvl3pPr marL="11430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3pPr>
              <a:lvl4pPr marL="16002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4pPr>
              <a:lvl5pPr marL="20574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5pPr>
              <a:lvl6pPr marL="25146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6pPr>
              <a:lvl7pPr marL="29718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7pPr>
              <a:lvl8pPr marL="34290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8pPr>
              <a:lvl9pPr marL="38862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000" b="1" i="0" u="none" strike="noStrike" kern="1200" cap="none" spc="0" normalizeH="0" baseline="0" noProof="0" dirty="0">
                  <a:ln>
                    <a:noFill/>
                  </a:ln>
                  <a:solidFill>
                    <a:schemeClr val="accent1"/>
                  </a:solidFill>
                  <a:effectLst/>
                  <a:uLnTx/>
                  <a:uFillTx/>
                  <a:latin typeface="Arial"/>
                  <a:ea typeface="+mn-ea"/>
                  <a:cs typeface="+mn-ea"/>
                  <a:sym typeface="+mn-lt"/>
                </a:rPr>
                <a:t>Information text text</a:t>
              </a:r>
            </a:p>
          </p:txBody>
        </p:sp>
        <p:sp>
          <p:nvSpPr>
            <p:cNvPr id="75" name="TextBox 46">
              <a:extLst>
                <a:ext uri="{FF2B5EF4-FFF2-40B4-BE49-F238E27FC236}">
                  <a16:creationId xmlns:a16="http://schemas.microsoft.com/office/drawing/2014/main" id="{94DC6F85-BF65-44A0-A2DA-42F7B69FED4C}"/>
                </a:ext>
              </a:extLst>
            </p:cNvPr>
            <p:cNvSpPr txBox="1">
              <a:spLocks noChangeArrowheads="1"/>
            </p:cNvSpPr>
            <p:nvPr/>
          </p:nvSpPr>
          <p:spPr bwMode="auto">
            <a:xfrm>
              <a:off x="10175763" y="6961946"/>
              <a:ext cx="3384389" cy="4924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1pPr>
              <a:lvl2pPr marL="742950" indent="-28575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2pPr>
              <a:lvl3pPr marL="11430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3pPr>
              <a:lvl4pPr marL="16002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4pPr>
              <a:lvl5pPr marL="20574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5pPr>
              <a:lvl6pPr marL="25146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6pPr>
              <a:lvl7pPr marL="29718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7pPr>
              <a:lvl8pPr marL="34290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8pPr>
              <a:lvl9pPr marL="38862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000" b="1" i="0" u="none" strike="noStrike" kern="1200" cap="none" spc="0" normalizeH="0" baseline="0" noProof="0" dirty="0">
                  <a:ln>
                    <a:noFill/>
                  </a:ln>
                  <a:solidFill>
                    <a:schemeClr val="accent1"/>
                  </a:solidFill>
                  <a:effectLst/>
                  <a:uLnTx/>
                  <a:uFillTx/>
                  <a:latin typeface="Arial"/>
                  <a:ea typeface="+mn-ea"/>
                  <a:cs typeface="+mn-ea"/>
                  <a:sym typeface="+mn-lt"/>
                </a:rPr>
                <a:t>Information text text</a:t>
              </a:r>
            </a:p>
          </p:txBody>
        </p:sp>
        <p:sp>
          <p:nvSpPr>
            <p:cNvPr id="76" name="TextBox 46">
              <a:extLst>
                <a:ext uri="{FF2B5EF4-FFF2-40B4-BE49-F238E27FC236}">
                  <a16:creationId xmlns:a16="http://schemas.microsoft.com/office/drawing/2014/main" id="{6E287B30-3A15-4F4A-9121-E8FD4D9B95C0}"/>
                </a:ext>
              </a:extLst>
            </p:cNvPr>
            <p:cNvSpPr txBox="1">
              <a:spLocks noChangeArrowheads="1"/>
            </p:cNvSpPr>
            <p:nvPr/>
          </p:nvSpPr>
          <p:spPr bwMode="auto">
            <a:xfrm>
              <a:off x="10177027" y="8278358"/>
              <a:ext cx="2663045" cy="4924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1pPr>
              <a:lvl2pPr marL="742950" indent="-28575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2pPr>
              <a:lvl3pPr marL="11430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3pPr>
              <a:lvl4pPr marL="16002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4pPr>
              <a:lvl5pPr marL="20574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5pPr>
              <a:lvl6pPr marL="25146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6pPr>
              <a:lvl7pPr marL="29718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7pPr>
              <a:lvl8pPr marL="34290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8pPr>
              <a:lvl9pPr marL="38862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000" b="1" i="0" u="none" strike="noStrike" kern="1200" cap="none" spc="0" normalizeH="0" baseline="0" noProof="0" dirty="0">
                  <a:ln>
                    <a:noFill/>
                  </a:ln>
                  <a:solidFill>
                    <a:schemeClr val="accent1"/>
                  </a:solidFill>
                  <a:effectLst/>
                  <a:uLnTx/>
                  <a:uFillTx/>
                  <a:latin typeface="Arial"/>
                  <a:ea typeface="+mn-ea"/>
                  <a:cs typeface="+mn-ea"/>
                  <a:sym typeface="+mn-lt"/>
                </a:rPr>
                <a:t>Information text</a:t>
              </a:r>
            </a:p>
          </p:txBody>
        </p:sp>
      </p:grpSp>
      <p:grpSp>
        <p:nvGrpSpPr>
          <p:cNvPr id="8" name="Группа 208">
            <a:extLst>
              <a:ext uri="{FF2B5EF4-FFF2-40B4-BE49-F238E27FC236}">
                <a16:creationId xmlns:a16="http://schemas.microsoft.com/office/drawing/2014/main" id="{77BDDE75-7A39-41B3-8CE1-5DEB606803B6}"/>
              </a:ext>
            </a:extLst>
          </p:cNvPr>
          <p:cNvGrpSpPr/>
          <p:nvPr/>
        </p:nvGrpSpPr>
        <p:grpSpPr>
          <a:xfrm>
            <a:off x="1449811" y="1945419"/>
            <a:ext cx="2057586" cy="2998024"/>
            <a:chOff x="10175763" y="2868688"/>
            <a:chExt cx="4115171" cy="5996048"/>
          </a:xfrm>
        </p:grpSpPr>
        <p:cxnSp>
          <p:nvCxnSpPr>
            <p:cNvPr id="61" name="Прямая соединительная линия 253">
              <a:extLst>
                <a:ext uri="{FF2B5EF4-FFF2-40B4-BE49-F238E27FC236}">
                  <a16:creationId xmlns:a16="http://schemas.microsoft.com/office/drawing/2014/main" id="{385A89F3-4E21-4566-B5A8-0714B796AA5D}"/>
                </a:ext>
              </a:extLst>
            </p:cNvPr>
            <p:cNvCxnSpPr>
              <a:cxnSpLocks/>
            </p:cNvCxnSpPr>
            <p:nvPr/>
          </p:nvCxnSpPr>
          <p:spPr bwMode="auto">
            <a:xfrm>
              <a:off x="10263371" y="3429136"/>
              <a:ext cx="2942775" cy="0"/>
            </a:xfrm>
            <a:prstGeom prst="line">
              <a:avLst/>
            </a:prstGeom>
            <a:blipFill dpi="0" rotWithShape="0">
              <a:blip r:embed="rId4"/>
              <a:srcRect/>
              <a:tile tx="0" ty="0" sx="100000" sy="100000" flip="none" algn="tl"/>
            </a:blipFill>
            <a:ln w="57150" cap="flat" cmpd="sng" algn="ctr">
              <a:solidFill>
                <a:schemeClr val="accent1">
                  <a:lumMod val="100000"/>
                </a:schemeClr>
              </a:solidFill>
              <a:prstDash val="solid"/>
              <a:miter lim="400000"/>
              <a:headEnd type="none" w="med" len="med"/>
              <a:tailEnd type="none" w="med" len="med"/>
            </a:ln>
            <a:effectLst/>
          </p:spPr>
        </p:cxnSp>
        <p:sp>
          <p:nvSpPr>
            <p:cNvPr id="62" name="TextBox 46">
              <a:extLst>
                <a:ext uri="{FF2B5EF4-FFF2-40B4-BE49-F238E27FC236}">
                  <a16:creationId xmlns:a16="http://schemas.microsoft.com/office/drawing/2014/main" id="{758082EF-C9E2-4DF6-957F-8E353EE15E29}"/>
                </a:ext>
              </a:extLst>
            </p:cNvPr>
            <p:cNvSpPr txBox="1">
              <a:spLocks noChangeArrowheads="1"/>
            </p:cNvSpPr>
            <p:nvPr/>
          </p:nvSpPr>
          <p:spPr bwMode="auto">
            <a:xfrm>
              <a:off x="10177027" y="2868688"/>
              <a:ext cx="2663045" cy="4924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1pPr>
              <a:lvl2pPr marL="742950" indent="-28575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2pPr>
              <a:lvl3pPr marL="11430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3pPr>
              <a:lvl4pPr marL="16002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4pPr>
              <a:lvl5pPr marL="20574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5pPr>
              <a:lvl6pPr marL="25146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6pPr>
              <a:lvl7pPr marL="29718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7pPr>
              <a:lvl8pPr marL="34290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8pPr>
              <a:lvl9pPr marL="38862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000" b="1" i="0" u="none" strike="noStrike" kern="1200" cap="none" spc="0" normalizeH="0" baseline="0" noProof="0" dirty="0">
                  <a:ln>
                    <a:noFill/>
                  </a:ln>
                  <a:solidFill>
                    <a:schemeClr val="accent1"/>
                  </a:solidFill>
                  <a:effectLst/>
                  <a:uLnTx/>
                  <a:uFillTx/>
                  <a:latin typeface="Arial"/>
                  <a:ea typeface="+mn-ea"/>
                  <a:cs typeface="+mn-ea"/>
                  <a:sym typeface="+mn-lt"/>
                </a:rPr>
                <a:t>Information text</a:t>
              </a:r>
            </a:p>
          </p:txBody>
        </p:sp>
        <p:cxnSp>
          <p:nvCxnSpPr>
            <p:cNvPr id="63" name="Прямая соединительная линия 255">
              <a:extLst>
                <a:ext uri="{FF2B5EF4-FFF2-40B4-BE49-F238E27FC236}">
                  <a16:creationId xmlns:a16="http://schemas.microsoft.com/office/drawing/2014/main" id="{D202CD3A-3F68-4B7C-A9EF-3859DFB9F805}"/>
                </a:ext>
              </a:extLst>
            </p:cNvPr>
            <p:cNvCxnSpPr>
              <a:cxnSpLocks/>
            </p:cNvCxnSpPr>
            <p:nvPr/>
          </p:nvCxnSpPr>
          <p:spPr bwMode="auto">
            <a:xfrm>
              <a:off x="10263371" y="4800736"/>
              <a:ext cx="4027563" cy="0"/>
            </a:xfrm>
            <a:prstGeom prst="line">
              <a:avLst/>
            </a:prstGeom>
            <a:blipFill dpi="0" rotWithShape="0">
              <a:blip r:embed="rId4"/>
              <a:srcRect/>
              <a:tile tx="0" ty="0" sx="100000" sy="100000" flip="none" algn="tl"/>
            </a:blipFill>
            <a:ln w="57150" cap="flat" cmpd="sng" algn="ctr">
              <a:solidFill>
                <a:schemeClr val="accent1">
                  <a:lumMod val="100000"/>
                </a:schemeClr>
              </a:solidFill>
              <a:prstDash val="solid"/>
              <a:miter lim="400000"/>
              <a:headEnd type="none" w="med" len="med"/>
              <a:tailEnd type="none" w="med" len="med"/>
            </a:ln>
            <a:effectLst/>
          </p:spPr>
        </p:cxnSp>
        <p:cxnSp>
          <p:nvCxnSpPr>
            <p:cNvPr id="64" name="Прямая соединительная линия 256">
              <a:extLst>
                <a:ext uri="{FF2B5EF4-FFF2-40B4-BE49-F238E27FC236}">
                  <a16:creationId xmlns:a16="http://schemas.microsoft.com/office/drawing/2014/main" id="{AA656FD8-1B07-4872-B3BE-37A80FB700ED}"/>
                </a:ext>
              </a:extLst>
            </p:cNvPr>
            <p:cNvCxnSpPr>
              <a:cxnSpLocks/>
            </p:cNvCxnSpPr>
            <p:nvPr/>
          </p:nvCxnSpPr>
          <p:spPr bwMode="auto">
            <a:xfrm>
              <a:off x="10263371" y="7543936"/>
              <a:ext cx="4027563" cy="0"/>
            </a:xfrm>
            <a:prstGeom prst="line">
              <a:avLst/>
            </a:prstGeom>
            <a:blipFill dpi="0" rotWithShape="0">
              <a:blip r:embed="rId4"/>
              <a:srcRect/>
              <a:tile tx="0" ty="0" sx="100000" sy="100000" flip="none" algn="tl"/>
            </a:blipFill>
            <a:ln w="57150" cap="flat" cmpd="sng" algn="ctr">
              <a:solidFill>
                <a:schemeClr val="accent1">
                  <a:lumMod val="100000"/>
                </a:schemeClr>
              </a:solidFill>
              <a:prstDash val="solid"/>
              <a:miter lim="400000"/>
              <a:headEnd type="none" w="med" len="med"/>
              <a:tailEnd type="none" w="med" len="med"/>
            </a:ln>
            <a:effectLst/>
          </p:spPr>
        </p:cxnSp>
        <p:cxnSp>
          <p:nvCxnSpPr>
            <p:cNvPr id="65" name="Прямая соединительная линия 257">
              <a:extLst>
                <a:ext uri="{FF2B5EF4-FFF2-40B4-BE49-F238E27FC236}">
                  <a16:creationId xmlns:a16="http://schemas.microsoft.com/office/drawing/2014/main" id="{B42D54A3-7552-4F0E-AAF4-E639E3E134A5}"/>
                </a:ext>
              </a:extLst>
            </p:cNvPr>
            <p:cNvCxnSpPr>
              <a:cxnSpLocks/>
            </p:cNvCxnSpPr>
            <p:nvPr/>
          </p:nvCxnSpPr>
          <p:spPr bwMode="auto">
            <a:xfrm>
              <a:off x="10263371" y="8864736"/>
              <a:ext cx="2787994" cy="0"/>
            </a:xfrm>
            <a:prstGeom prst="line">
              <a:avLst/>
            </a:prstGeom>
            <a:blipFill dpi="0" rotWithShape="0">
              <a:blip r:embed="rId4"/>
              <a:srcRect/>
              <a:tile tx="0" ty="0" sx="100000" sy="100000" flip="none" algn="tl"/>
            </a:blipFill>
            <a:ln w="57150" cap="flat" cmpd="sng" algn="ctr">
              <a:solidFill>
                <a:schemeClr val="accent1">
                  <a:lumMod val="100000"/>
                </a:schemeClr>
              </a:solidFill>
              <a:prstDash val="solid"/>
              <a:miter lim="400000"/>
              <a:headEnd type="none" w="med" len="med"/>
              <a:tailEnd type="none" w="med" len="med"/>
            </a:ln>
            <a:effectLst/>
          </p:spPr>
        </p:cxnSp>
        <p:sp>
          <p:nvSpPr>
            <p:cNvPr id="66" name="TextBox 46">
              <a:extLst>
                <a:ext uri="{FF2B5EF4-FFF2-40B4-BE49-F238E27FC236}">
                  <a16:creationId xmlns:a16="http://schemas.microsoft.com/office/drawing/2014/main" id="{48B22E7B-8728-43F7-BF45-093DADD98670}"/>
                </a:ext>
              </a:extLst>
            </p:cNvPr>
            <p:cNvSpPr txBox="1">
              <a:spLocks noChangeArrowheads="1"/>
            </p:cNvSpPr>
            <p:nvPr/>
          </p:nvSpPr>
          <p:spPr bwMode="auto">
            <a:xfrm>
              <a:off x="10184469" y="4192730"/>
              <a:ext cx="3384389" cy="4924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1pPr>
              <a:lvl2pPr marL="742950" indent="-28575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2pPr>
              <a:lvl3pPr marL="11430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3pPr>
              <a:lvl4pPr marL="16002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4pPr>
              <a:lvl5pPr marL="20574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5pPr>
              <a:lvl6pPr marL="25146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6pPr>
              <a:lvl7pPr marL="29718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7pPr>
              <a:lvl8pPr marL="34290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8pPr>
              <a:lvl9pPr marL="38862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000" b="1" i="0" u="none" strike="noStrike" kern="1200" cap="none" spc="0" normalizeH="0" baseline="0" noProof="0" dirty="0">
                  <a:ln>
                    <a:noFill/>
                  </a:ln>
                  <a:solidFill>
                    <a:schemeClr val="accent1"/>
                  </a:solidFill>
                  <a:effectLst/>
                  <a:uLnTx/>
                  <a:uFillTx/>
                  <a:latin typeface="Arial"/>
                  <a:ea typeface="+mn-ea"/>
                  <a:cs typeface="+mn-ea"/>
                  <a:sym typeface="+mn-lt"/>
                </a:rPr>
                <a:t>Information text text</a:t>
              </a:r>
            </a:p>
          </p:txBody>
        </p:sp>
        <p:sp>
          <p:nvSpPr>
            <p:cNvPr id="67" name="TextBox 46">
              <a:extLst>
                <a:ext uri="{FF2B5EF4-FFF2-40B4-BE49-F238E27FC236}">
                  <a16:creationId xmlns:a16="http://schemas.microsoft.com/office/drawing/2014/main" id="{1914DB2C-80C1-4AA5-B5F1-1235DD0F2166}"/>
                </a:ext>
              </a:extLst>
            </p:cNvPr>
            <p:cNvSpPr txBox="1">
              <a:spLocks noChangeArrowheads="1"/>
            </p:cNvSpPr>
            <p:nvPr/>
          </p:nvSpPr>
          <p:spPr bwMode="auto">
            <a:xfrm>
              <a:off x="10175763" y="6961946"/>
              <a:ext cx="3384389" cy="4924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1pPr>
              <a:lvl2pPr marL="742950" indent="-28575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2pPr>
              <a:lvl3pPr marL="11430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3pPr>
              <a:lvl4pPr marL="16002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4pPr>
              <a:lvl5pPr marL="20574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5pPr>
              <a:lvl6pPr marL="25146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6pPr>
              <a:lvl7pPr marL="29718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7pPr>
              <a:lvl8pPr marL="34290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8pPr>
              <a:lvl9pPr marL="38862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000" b="1" i="0" u="none" strike="noStrike" kern="1200" cap="none" spc="0" normalizeH="0" baseline="0" noProof="0" dirty="0">
                  <a:ln>
                    <a:noFill/>
                  </a:ln>
                  <a:solidFill>
                    <a:schemeClr val="accent1"/>
                  </a:solidFill>
                  <a:effectLst/>
                  <a:uLnTx/>
                  <a:uFillTx/>
                  <a:latin typeface="Arial"/>
                  <a:ea typeface="+mn-ea"/>
                  <a:cs typeface="+mn-ea"/>
                  <a:sym typeface="+mn-lt"/>
                </a:rPr>
                <a:t>Information text text</a:t>
              </a:r>
            </a:p>
          </p:txBody>
        </p:sp>
        <p:sp>
          <p:nvSpPr>
            <p:cNvPr id="68" name="TextBox 46">
              <a:extLst>
                <a:ext uri="{FF2B5EF4-FFF2-40B4-BE49-F238E27FC236}">
                  <a16:creationId xmlns:a16="http://schemas.microsoft.com/office/drawing/2014/main" id="{54BEC1E1-57EB-47A4-84C8-A20DE9A80A58}"/>
                </a:ext>
              </a:extLst>
            </p:cNvPr>
            <p:cNvSpPr txBox="1">
              <a:spLocks noChangeArrowheads="1"/>
            </p:cNvSpPr>
            <p:nvPr/>
          </p:nvSpPr>
          <p:spPr bwMode="auto">
            <a:xfrm>
              <a:off x="10177027" y="8278358"/>
              <a:ext cx="2663045" cy="4924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1pPr>
              <a:lvl2pPr marL="742950" indent="-28575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2pPr>
              <a:lvl3pPr marL="11430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3pPr>
              <a:lvl4pPr marL="16002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4pPr>
              <a:lvl5pPr marL="20574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5pPr>
              <a:lvl6pPr marL="25146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6pPr>
              <a:lvl7pPr marL="29718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7pPr>
              <a:lvl8pPr marL="34290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8pPr>
              <a:lvl9pPr marL="38862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000" b="1" i="0" u="none" strike="noStrike" kern="1200" cap="none" spc="0" normalizeH="0" baseline="0" noProof="0" dirty="0">
                  <a:ln>
                    <a:noFill/>
                  </a:ln>
                  <a:solidFill>
                    <a:schemeClr val="accent1"/>
                  </a:solidFill>
                  <a:effectLst/>
                  <a:uLnTx/>
                  <a:uFillTx/>
                  <a:latin typeface="Arial"/>
                  <a:ea typeface="+mn-ea"/>
                  <a:cs typeface="+mn-ea"/>
                  <a:sym typeface="+mn-lt"/>
                </a:rPr>
                <a:t>Information text</a:t>
              </a:r>
            </a:p>
          </p:txBody>
        </p:sp>
      </p:grpSp>
      <p:sp>
        <p:nvSpPr>
          <p:cNvPr id="9" name="TextBox 46">
            <a:extLst>
              <a:ext uri="{FF2B5EF4-FFF2-40B4-BE49-F238E27FC236}">
                <a16:creationId xmlns:a16="http://schemas.microsoft.com/office/drawing/2014/main" id="{953F88E6-523D-4528-A33E-461C6A09AAB4}"/>
              </a:ext>
            </a:extLst>
          </p:cNvPr>
          <p:cNvSpPr txBox="1">
            <a:spLocks noChangeArrowheads="1"/>
          </p:cNvSpPr>
          <p:nvPr/>
        </p:nvSpPr>
        <p:spPr bwMode="auto">
          <a:xfrm>
            <a:off x="1424235" y="1203771"/>
            <a:ext cx="870751"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1pPr>
            <a:lvl2pPr marL="742950" indent="-28575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2pPr>
            <a:lvl3pPr marL="11430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3pPr>
            <a:lvl4pPr marL="16002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4pPr>
            <a:lvl5pPr marL="20574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5pPr>
            <a:lvl6pPr marL="25146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6pPr>
            <a:lvl7pPr marL="29718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7pPr>
            <a:lvl8pPr marL="34290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8pPr>
            <a:lvl9pPr marL="38862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400" b="1" i="0" u="none" strike="noStrike" kern="1200" cap="none" spc="0" normalizeH="0" baseline="0" noProof="0" dirty="0">
                <a:ln>
                  <a:noFill/>
                </a:ln>
                <a:solidFill>
                  <a:schemeClr val="accent1"/>
                </a:solidFill>
                <a:effectLst/>
                <a:uLnTx/>
                <a:uFillTx/>
                <a:latin typeface="Arial"/>
                <a:ea typeface="+mn-ea"/>
                <a:cs typeface="+mn-ea"/>
                <a:sym typeface="+mn-lt"/>
              </a:rPr>
              <a:t>Cause 1</a:t>
            </a:r>
          </a:p>
        </p:txBody>
      </p:sp>
      <p:sp>
        <p:nvSpPr>
          <p:cNvPr id="10" name="TextBox 46">
            <a:extLst>
              <a:ext uri="{FF2B5EF4-FFF2-40B4-BE49-F238E27FC236}">
                <a16:creationId xmlns:a16="http://schemas.microsoft.com/office/drawing/2014/main" id="{235DEFFB-2469-4BC9-9D7A-E75F1B502AB4}"/>
              </a:ext>
            </a:extLst>
          </p:cNvPr>
          <p:cNvSpPr txBox="1">
            <a:spLocks noChangeArrowheads="1"/>
          </p:cNvSpPr>
          <p:nvPr/>
        </p:nvSpPr>
        <p:spPr bwMode="auto">
          <a:xfrm>
            <a:off x="1398704" y="5714587"/>
            <a:ext cx="870751"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1pPr>
            <a:lvl2pPr marL="742950" indent="-28575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2pPr>
            <a:lvl3pPr marL="11430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3pPr>
            <a:lvl4pPr marL="16002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4pPr>
            <a:lvl5pPr marL="20574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5pPr>
            <a:lvl6pPr marL="25146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6pPr>
            <a:lvl7pPr marL="29718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7pPr>
            <a:lvl8pPr marL="34290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8pPr>
            <a:lvl9pPr marL="38862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400" b="1" i="0" u="none" strike="noStrike" kern="1200" cap="none" spc="0" normalizeH="0" baseline="0" noProof="0" dirty="0">
                <a:ln>
                  <a:noFill/>
                </a:ln>
                <a:solidFill>
                  <a:schemeClr val="accent1"/>
                </a:solidFill>
                <a:effectLst/>
                <a:uLnTx/>
                <a:uFillTx/>
                <a:latin typeface="Arial"/>
                <a:ea typeface="+mn-ea"/>
                <a:cs typeface="+mn-ea"/>
                <a:sym typeface="+mn-lt"/>
              </a:rPr>
              <a:t>Cause 2</a:t>
            </a:r>
          </a:p>
        </p:txBody>
      </p:sp>
      <p:sp>
        <p:nvSpPr>
          <p:cNvPr id="11" name="Freeform 8">
            <a:extLst>
              <a:ext uri="{FF2B5EF4-FFF2-40B4-BE49-F238E27FC236}">
                <a16:creationId xmlns:a16="http://schemas.microsoft.com/office/drawing/2014/main" id="{5A7E1ED3-5408-4FD8-87EF-BE4A30FCA7FD}"/>
              </a:ext>
            </a:extLst>
          </p:cNvPr>
          <p:cNvSpPr>
            <a:spLocks/>
          </p:cNvSpPr>
          <p:nvPr/>
        </p:nvSpPr>
        <p:spPr bwMode="auto">
          <a:xfrm flipH="1">
            <a:off x="1472090" y="2517188"/>
            <a:ext cx="2589477" cy="76944"/>
          </a:xfrm>
          <a:custGeom>
            <a:avLst/>
            <a:gdLst>
              <a:gd name="T0" fmla="*/ 0 w 5233536"/>
              <a:gd name="T1" fmla="*/ 4090223 h 4081111"/>
              <a:gd name="T2" fmla="*/ 3351619 w 5233536"/>
              <a:gd name="T3" fmla="*/ 1943 h 4081111"/>
              <a:gd name="T4" fmla="*/ 5239591 w 5233536"/>
              <a:gd name="T5" fmla="*/ 0 h 4081111"/>
              <a:gd name="T6" fmla="*/ 0 60000 65536"/>
              <a:gd name="T7" fmla="*/ 0 60000 65536"/>
              <a:gd name="T8" fmla="*/ 0 60000 65536"/>
            </a:gdLst>
            <a:ahLst/>
            <a:cxnLst>
              <a:cxn ang="T6">
                <a:pos x="T0" y="T1"/>
              </a:cxn>
              <a:cxn ang="T7">
                <a:pos x="T2" y="T3"/>
              </a:cxn>
              <a:cxn ang="T8">
                <a:pos x="T4" y="T5"/>
              </a:cxn>
            </a:cxnLst>
            <a:rect l="0" t="0" r="r" b="b"/>
            <a:pathLst>
              <a:path w="5233536" h="4081111">
                <a:moveTo>
                  <a:pt x="0" y="4081111"/>
                </a:moveTo>
                <a:lnTo>
                  <a:pt x="3347745" y="1936"/>
                </a:lnTo>
                <a:lnTo>
                  <a:pt x="5233536" y="0"/>
                </a:lnTo>
              </a:path>
            </a:pathLst>
          </a:custGeom>
          <a:noFill/>
          <a:ln w="57150" cap="flat" cmpd="sng">
            <a:solidFill>
              <a:schemeClr val="accent1">
                <a:lumMod val="100000"/>
              </a:schemeClr>
            </a:solidFill>
            <a:prstDash val="solid"/>
            <a:miter lim="400000"/>
            <a:headEnd type="none" w="med" len="med"/>
            <a:tailEnd type="none" w="med" len="med"/>
          </a:ln>
          <a:extLst>
            <a:ext uri="{909E8E84-426E-40DD-AFC4-6F175D3DCCD1}">
              <a14:hiddenFill xmlns:a14="http://schemas.microsoft.com/office/drawing/2010/main">
                <a:solidFill>
                  <a:srgbClr val="FFFFFF"/>
                </a:solidFill>
              </a14:hiddenFill>
            </a:ext>
          </a:extLst>
        </p:spPr>
        <p:txBody>
          <a:bodyPr wrap="square" lIns="0" tIns="0" rIns="0" bIns="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500" b="0" i="0" u="none" strike="noStrike" kern="1200" cap="none" spc="0" normalizeH="0" baseline="0" noProof="0">
              <a:ln>
                <a:noFill/>
              </a:ln>
              <a:solidFill>
                <a:srgbClr val="000000"/>
              </a:solidFill>
              <a:effectLst/>
              <a:uLnTx/>
              <a:uFillTx/>
              <a:latin typeface="Arial"/>
              <a:cs typeface="+mn-ea"/>
              <a:sym typeface="+mn-lt"/>
            </a:endParaRPr>
          </a:p>
        </p:txBody>
      </p:sp>
      <p:sp>
        <p:nvSpPr>
          <p:cNvPr id="12" name="Oval 66">
            <a:extLst>
              <a:ext uri="{FF2B5EF4-FFF2-40B4-BE49-F238E27FC236}">
                <a16:creationId xmlns:a16="http://schemas.microsoft.com/office/drawing/2014/main" id="{F9A0C9F3-3D4E-4FD1-B025-24724C311ACC}"/>
              </a:ext>
            </a:extLst>
          </p:cNvPr>
          <p:cNvSpPr>
            <a:spLocks noChangeArrowheads="1"/>
          </p:cNvSpPr>
          <p:nvPr/>
        </p:nvSpPr>
        <p:spPr bwMode="auto">
          <a:xfrm>
            <a:off x="2294492" y="1491405"/>
            <a:ext cx="154159" cy="108198"/>
          </a:xfrm>
          <a:prstGeom prst="ellipse">
            <a:avLst/>
          </a:prstGeom>
          <a:solidFill>
            <a:schemeClr val="accent1">
              <a:lumMod val="100000"/>
            </a:schemeClr>
          </a:solidFill>
          <a:ln w="57150">
            <a:solidFill>
              <a:schemeClr val="accent1">
                <a:lumMod val="100000"/>
              </a:schemeClr>
            </a:solidFill>
            <a:miter lim="400000"/>
            <a:headEnd/>
            <a:tailEnd/>
          </a:ln>
        </p:spPr>
        <p:txBody>
          <a:bodyPr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altLang="en-US" sz="500" b="0" i="0" u="none" strike="noStrike" kern="1200" cap="none" spc="0" normalizeH="0" baseline="0" noProof="0">
              <a:ln>
                <a:noFill/>
              </a:ln>
              <a:solidFill>
                <a:srgbClr val="000000"/>
              </a:solidFill>
              <a:effectLst/>
              <a:uLnTx/>
              <a:uFillTx/>
              <a:latin typeface="Arial"/>
              <a:cs typeface="+mn-ea"/>
              <a:sym typeface="+mn-lt"/>
            </a:endParaRPr>
          </a:p>
        </p:txBody>
      </p:sp>
      <p:sp>
        <p:nvSpPr>
          <p:cNvPr id="13" name="Oval 66">
            <a:extLst>
              <a:ext uri="{FF2B5EF4-FFF2-40B4-BE49-F238E27FC236}">
                <a16:creationId xmlns:a16="http://schemas.microsoft.com/office/drawing/2014/main" id="{65C9F6C1-0A87-4C36-A6F7-ECF52264EA07}"/>
              </a:ext>
            </a:extLst>
          </p:cNvPr>
          <p:cNvSpPr>
            <a:spLocks noChangeArrowheads="1"/>
          </p:cNvSpPr>
          <p:nvPr/>
        </p:nvSpPr>
        <p:spPr bwMode="auto">
          <a:xfrm>
            <a:off x="2879214" y="2174040"/>
            <a:ext cx="154159" cy="108198"/>
          </a:xfrm>
          <a:prstGeom prst="ellipse">
            <a:avLst/>
          </a:prstGeom>
          <a:solidFill>
            <a:schemeClr val="tx2"/>
          </a:solidFill>
          <a:ln w="57150">
            <a:solidFill>
              <a:schemeClr val="accent1">
                <a:lumMod val="100000"/>
              </a:schemeClr>
            </a:solidFill>
            <a:miter lim="400000"/>
            <a:headEnd/>
            <a:tailEnd/>
          </a:ln>
        </p:spPr>
        <p:txBody>
          <a:bodyPr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altLang="en-US" sz="500" b="0" i="0" u="none" strike="noStrike" kern="1200" cap="none" spc="0" normalizeH="0" baseline="0" noProof="0">
              <a:ln>
                <a:noFill/>
              </a:ln>
              <a:solidFill>
                <a:srgbClr val="000000"/>
              </a:solidFill>
              <a:effectLst/>
              <a:uLnTx/>
              <a:uFillTx/>
              <a:latin typeface="Arial"/>
              <a:cs typeface="+mn-ea"/>
              <a:sym typeface="+mn-lt"/>
            </a:endParaRPr>
          </a:p>
        </p:txBody>
      </p:sp>
      <p:sp>
        <p:nvSpPr>
          <p:cNvPr id="14" name="Oval 66">
            <a:extLst>
              <a:ext uri="{FF2B5EF4-FFF2-40B4-BE49-F238E27FC236}">
                <a16:creationId xmlns:a16="http://schemas.microsoft.com/office/drawing/2014/main" id="{11C684A7-4AF7-4765-A65A-777B7BD302C4}"/>
              </a:ext>
            </a:extLst>
          </p:cNvPr>
          <p:cNvSpPr>
            <a:spLocks noChangeArrowheads="1"/>
          </p:cNvSpPr>
          <p:nvPr/>
        </p:nvSpPr>
        <p:spPr bwMode="auto">
          <a:xfrm>
            <a:off x="3421616" y="2856675"/>
            <a:ext cx="154159" cy="108198"/>
          </a:xfrm>
          <a:prstGeom prst="ellipse">
            <a:avLst/>
          </a:prstGeom>
          <a:solidFill>
            <a:schemeClr val="tx2"/>
          </a:solidFill>
          <a:ln w="57150">
            <a:solidFill>
              <a:schemeClr val="accent1">
                <a:lumMod val="100000"/>
              </a:schemeClr>
            </a:solidFill>
            <a:miter lim="400000"/>
            <a:headEnd/>
            <a:tailEnd/>
          </a:ln>
        </p:spPr>
        <p:txBody>
          <a:bodyPr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altLang="en-US" sz="500" b="0" i="0" u="none" strike="noStrike" kern="1200" cap="none" spc="0" normalizeH="0" baseline="0" noProof="0">
              <a:ln>
                <a:noFill/>
              </a:ln>
              <a:solidFill>
                <a:srgbClr val="000000"/>
              </a:solidFill>
              <a:effectLst/>
              <a:uLnTx/>
              <a:uFillTx/>
              <a:latin typeface="Arial"/>
              <a:cs typeface="+mn-ea"/>
              <a:sym typeface="+mn-lt"/>
            </a:endParaRPr>
          </a:p>
        </p:txBody>
      </p:sp>
      <p:sp>
        <p:nvSpPr>
          <p:cNvPr id="15" name="Freeform 8">
            <a:extLst>
              <a:ext uri="{FF2B5EF4-FFF2-40B4-BE49-F238E27FC236}">
                <a16:creationId xmlns:a16="http://schemas.microsoft.com/office/drawing/2014/main" id="{B9E7F99F-4294-452D-9641-7FCC97F43F83}"/>
              </a:ext>
            </a:extLst>
          </p:cNvPr>
          <p:cNvSpPr>
            <a:spLocks/>
          </p:cNvSpPr>
          <p:nvPr/>
        </p:nvSpPr>
        <p:spPr bwMode="auto">
          <a:xfrm flipH="1" flipV="1">
            <a:off x="1472090" y="4592660"/>
            <a:ext cx="2589313" cy="76944"/>
          </a:xfrm>
          <a:custGeom>
            <a:avLst/>
            <a:gdLst>
              <a:gd name="T0" fmla="*/ 0 w 5233536"/>
              <a:gd name="T1" fmla="*/ 4094051 h 4081111"/>
              <a:gd name="T2" fmla="*/ 3350032 w 5233536"/>
              <a:gd name="T3" fmla="*/ 1943 h 4081111"/>
              <a:gd name="T4" fmla="*/ 5237106 w 5233536"/>
              <a:gd name="T5" fmla="*/ 0 h 4081111"/>
              <a:gd name="T6" fmla="*/ 0 60000 65536"/>
              <a:gd name="T7" fmla="*/ 0 60000 65536"/>
              <a:gd name="T8" fmla="*/ 0 60000 65536"/>
            </a:gdLst>
            <a:ahLst/>
            <a:cxnLst>
              <a:cxn ang="T6">
                <a:pos x="T0" y="T1"/>
              </a:cxn>
              <a:cxn ang="T7">
                <a:pos x="T2" y="T3"/>
              </a:cxn>
              <a:cxn ang="T8">
                <a:pos x="T4" y="T5"/>
              </a:cxn>
            </a:cxnLst>
            <a:rect l="0" t="0" r="r" b="b"/>
            <a:pathLst>
              <a:path w="5233536" h="4081111">
                <a:moveTo>
                  <a:pt x="0" y="4081111"/>
                </a:moveTo>
                <a:lnTo>
                  <a:pt x="3347745" y="1936"/>
                </a:lnTo>
                <a:lnTo>
                  <a:pt x="5233536" y="0"/>
                </a:lnTo>
              </a:path>
            </a:pathLst>
          </a:custGeom>
          <a:noFill/>
          <a:ln w="57150" cap="flat" cmpd="sng">
            <a:solidFill>
              <a:schemeClr val="accent1">
                <a:lumMod val="100000"/>
              </a:schemeClr>
            </a:solidFill>
            <a:prstDash val="solid"/>
            <a:miter lim="400000"/>
            <a:headEnd type="none" w="med" len="med"/>
            <a:tailEnd type="none" w="med" len="med"/>
          </a:ln>
          <a:extLst>
            <a:ext uri="{909E8E84-426E-40DD-AFC4-6F175D3DCCD1}">
              <a14:hiddenFill xmlns:a14="http://schemas.microsoft.com/office/drawing/2010/main">
                <a:solidFill>
                  <a:srgbClr val="FFFFFF"/>
                </a:solidFill>
              </a14:hiddenFill>
            </a:ext>
          </a:extLst>
        </p:spPr>
        <p:txBody>
          <a:bodyPr wrap="square" lIns="0" tIns="0" rIns="0" bIns="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500" b="0" i="0" u="none" strike="noStrike" kern="1200" cap="none" spc="0" normalizeH="0" baseline="0" noProof="0">
              <a:ln>
                <a:noFill/>
              </a:ln>
              <a:solidFill>
                <a:srgbClr val="000000"/>
              </a:solidFill>
              <a:effectLst/>
              <a:uLnTx/>
              <a:uFillTx/>
              <a:latin typeface="Arial"/>
              <a:cs typeface="+mn-ea"/>
              <a:sym typeface="+mn-lt"/>
            </a:endParaRPr>
          </a:p>
        </p:txBody>
      </p:sp>
      <p:sp>
        <p:nvSpPr>
          <p:cNvPr id="16" name="Oval 66">
            <a:extLst>
              <a:ext uri="{FF2B5EF4-FFF2-40B4-BE49-F238E27FC236}">
                <a16:creationId xmlns:a16="http://schemas.microsoft.com/office/drawing/2014/main" id="{75FA8BB7-07F4-4658-9FDD-881BE36E92F7}"/>
              </a:ext>
            </a:extLst>
          </p:cNvPr>
          <p:cNvSpPr>
            <a:spLocks noChangeArrowheads="1"/>
          </p:cNvSpPr>
          <p:nvPr/>
        </p:nvSpPr>
        <p:spPr bwMode="auto">
          <a:xfrm>
            <a:off x="2294680" y="5585877"/>
            <a:ext cx="153988" cy="108198"/>
          </a:xfrm>
          <a:prstGeom prst="ellipse">
            <a:avLst/>
          </a:prstGeom>
          <a:solidFill>
            <a:schemeClr val="accent1">
              <a:lumMod val="100000"/>
            </a:schemeClr>
          </a:solidFill>
          <a:ln w="57150">
            <a:solidFill>
              <a:schemeClr val="accent1">
                <a:lumMod val="100000"/>
              </a:schemeClr>
            </a:solidFill>
            <a:miter lim="400000"/>
            <a:headEnd/>
            <a:tailEnd/>
          </a:ln>
        </p:spPr>
        <p:txBody>
          <a:bodyPr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altLang="en-US" sz="500" b="0" i="0" u="none" strike="noStrike" kern="1200" cap="none" spc="0" normalizeH="0" baseline="0" noProof="0">
              <a:ln>
                <a:noFill/>
              </a:ln>
              <a:solidFill>
                <a:srgbClr val="000000"/>
              </a:solidFill>
              <a:effectLst/>
              <a:uLnTx/>
              <a:uFillTx/>
              <a:latin typeface="Arial"/>
              <a:cs typeface="+mn-ea"/>
              <a:sym typeface="+mn-lt"/>
            </a:endParaRPr>
          </a:p>
        </p:txBody>
      </p:sp>
      <p:sp>
        <p:nvSpPr>
          <p:cNvPr id="17" name="Oval 66">
            <a:extLst>
              <a:ext uri="{FF2B5EF4-FFF2-40B4-BE49-F238E27FC236}">
                <a16:creationId xmlns:a16="http://schemas.microsoft.com/office/drawing/2014/main" id="{1637C2FD-2486-4E7E-9713-8BB2C7DD5CD3}"/>
              </a:ext>
            </a:extLst>
          </p:cNvPr>
          <p:cNvSpPr>
            <a:spLocks noChangeArrowheads="1"/>
          </p:cNvSpPr>
          <p:nvPr/>
        </p:nvSpPr>
        <p:spPr bwMode="auto">
          <a:xfrm>
            <a:off x="2878880" y="4905644"/>
            <a:ext cx="154782" cy="108198"/>
          </a:xfrm>
          <a:prstGeom prst="ellipse">
            <a:avLst/>
          </a:prstGeom>
          <a:solidFill>
            <a:schemeClr val="tx2"/>
          </a:solidFill>
          <a:ln w="57150">
            <a:solidFill>
              <a:schemeClr val="accent1">
                <a:lumMod val="100000"/>
              </a:schemeClr>
            </a:solidFill>
            <a:miter lim="400000"/>
            <a:headEnd/>
            <a:tailEnd/>
          </a:ln>
        </p:spPr>
        <p:txBody>
          <a:bodyPr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altLang="en-US" sz="500" b="0" i="0" u="none" strike="noStrike" kern="1200" cap="none" spc="0" normalizeH="0" baseline="0" noProof="0">
              <a:ln>
                <a:noFill/>
              </a:ln>
              <a:solidFill>
                <a:srgbClr val="000000"/>
              </a:solidFill>
              <a:effectLst/>
              <a:uLnTx/>
              <a:uFillTx/>
              <a:latin typeface="Arial"/>
              <a:cs typeface="+mn-ea"/>
              <a:sym typeface="+mn-lt"/>
            </a:endParaRPr>
          </a:p>
        </p:txBody>
      </p:sp>
      <p:sp>
        <p:nvSpPr>
          <p:cNvPr id="18" name="Oval 66">
            <a:extLst>
              <a:ext uri="{FF2B5EF4-FFF2-40B4-BE49-F238E27FC236}">
                <a16:creationId xmlns:a16="http://schemas.microsoft.com/office/drawing/2014/main" id="{ACEDCAC8-D6BA-4D74-8452-C81DEE6E45A8}"/>
              </a:ext>
            </a:extLst>
          </p:cNvPr>
          <p:cNvSpPr>
            <a:spLocks noChangeArrowheads="1"/>
          </p:cNvSpPr>
          <p:nvPr/>
        </p:nvSpPr>
        <p:spPr bwMode="auto">
          <a:xfrm>
            <a:off x="3421274" y="4227791"/>
            <a:ext cx="154782" cy="108198"/>
          </a:xfrm>
          <a:prstGeom prst="ellipse">
            <a:avLst/>
          </a:prstGeom>
          <a:solidFill>
            <a:schemeClr val="tx2"/>
          </a:solidFill>
          <a:ln w="57150">
            <a:solidFill>
              <a:schemeClr val="accent1">
                <a:lumMod val="100000"/>
              </a:schemeClr>
            </a:solidFill>
            <a:miter lim="400000"/>
            <a:headEnd/>
            <a:tailEnd/>
          </a:ln>
        </p:spPr>
        <p:txBody>
          <a:bodyPr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altLang="en-US" sz="500" b="0" i="0" u="none" strike="noStrike" kern="1200" cap="none" spc="0" normalizeH="0" baseline="0" noProof="0">
              <a:ln>
                <a:noFill/>
              </a:ln>
              <a:solidFill>
                <a:srgbClr val="000000"/>
              </a:solidFill>
              <a:effectLst/>
              <a:uLnTx/>
              <a:uFillTx/>
              <a:latin typeface="Arial"/>
              <a:cs typeface="+mn-ea"/>
              <a:sym typeface="+mn-lt"/>
            </a:endParaRPr>
          </a:p>
        </p:txBody>
      </p:sp>
      <p:sp>
        <p:nvSpPr>
          <p:cNvPr id="19" name="TextBox 46">
            <a:extLst>
              <a:ext uri="{FF2B5EF4-FFF2-40B4-BE49-F238E27FC236}">
                <a16:creationId xmlns:a16="http://schemas.microsoft.com/office/drawing/2014/main" id="{A05E028E-F1EB-451A-95D9-18335FCD2A4D}"/>
              </a:ext>
            </a:extLst>
          </p:cNvPr>
          <p:cNvSpPr txBox="1">
            <a:spLocks noChangeArrowheads="1"/>
          </p:cNvSpPr>
          <p:nvPr/>
        </p:nvSpPr>
        <p:spPr bwMode="auto">
          <a:xfrm>
            <a:off x="4723540" y="5715000"/>
            <a:ext cx="870751"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1pPr>
            <a:lvl2pPr marL="742950" indent="-28575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2pPr>
            <a:lvl3pPr marL="11430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3pPr>
            <a:lvl4pPr marL="16002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4pPr>
            <a:lvl5pPr marL="20574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5pPr>
            <a:lvl6pPr marL="25146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6pPr>
            <a:lvl7pPr marL="29718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7pPr>
            <a:lvl8pPr marL="34290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8pPr>
            <a:lvl9pPr marL="38862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400" b="1" i="0" u="none" strike="noStrike" kern="1200" cap="none" spc="0" normalizeH="0" baseline="0" noProof="0" dirty="0">
                <a:ln>
                  <a:noFill/>
                </a:ln>
                <a:solidFill>
                  <a:schemeClr val="accent1"/>
                </a:solidFill>
                <a:effectLst/>
                <a:uLnTx/>
                <a:uFillTx/>
                <a:latin typeface="Arial"/>
                <a:ea typeface="+mn-ea"/>
                <a:cs typeface="+mn-ea"/>
                <a:sym typeface="+mn-lt"/>
              </a:rPr>
              <a:t>Cause 4</a:t>
            </a:r>
          </a:p>
        </p:txBody>
      </p:sp>
      <p:sp>
        <p:nvSpPr>
          <p:cNvPr id="20" name="TextBox 46">
            <a:extLst>
              <a:ext uri="{FF2B5EF4-FFF2-40B4-BE49-F238E27FC236}">
                <a16:creationId xmlns:a16="http://schemas.microsoft.com/office/drawing/2014/main" id="{C3B13346-1120-429C-BF69-97AB82052629}"/>
              </a:ext>
            </a:extLst>
          </p:cNvPr>
          <p:cNvSpPr txBox="1">
            <a:spLocks noChangeArrowheads="1"/>
          </p:cNvSpPr>
          <p:nvPr/>
        </p:nvSpPr>
        <p:spPr bwMode="auto">
          <a:xfrm>
            <a:off x="6410680" y="1203771"/>
            <a:ext cx="870751"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1pPr>
            <a:lvl2pPr marL="742950" indent="-28575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2pPr>
            <a:lvl3pPr marL="11430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3pPr>
            <a:lvl4pPr marL="16002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4pPr>
            <a:lvl5pPr marL="20574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5pPr>
            <a:lvl6pPr marL="25146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6pPr>
            <a:lvl7pPr marL="29718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7pPr>
            <a:lvl8pPr marL="34290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8pPr>
            <a:lvl9pPr marL="38862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400" b="1" i="0" u="none" strike="noStrike" kern="1200" cap="none" spc="0" normalizeH="0" baseline="0" noProof="0">
                <a:ln>
                  <a:noFill/>
                </a:ln>
                <a:solidFill>
                  <a:schemeClr val="accent1"/>
                </a:solidFill>
                <a:effectLst/>
                <a:uLnTx/>
                <a:uFillTx/>
                <a:latin typeface="Arial"/>
                <a:ea typeface="+mn-ea"/>
                <a:cs typeface="+mn-ea"/>
                <a:sym typeface="+mn-lt"/>
              </a:rPr>
              <a:t>Cause 5</a:t>
            </a:r>
          </a:p>
        </p:txBody>
      </p:sp>
      <p:sp>
        <p:nvSpPr>
          <p:cNvPr id="21" name="TextBox 46">
            <a:extLst>
              <a:ext uri="{FF2B5EF4-FFF2-40B4-BE49-F238E27FC236}">
                <a16:creationId xmlns:a16="http://schemas.microsoft.com/office/drawing/2014/main" id="{EF1F0E59-A505-43EE-9E51-AD97393C49A3}"/>
              </a:ext>
            </a:extLst>
          </p:cNvPr>
          <p:cNvSpPr txBox="1">
            <a:spLocks noChangeArrowheads="1"/>
          </p:cNvSpPr>
          <p:nvPr/>
        </p:nvSpPr>
        <p:spPr bwMode="auto">
          <a:xfrm>
            <a:off x="6398246" y="5714587"/>
            <a:ext cx="870751"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1pPr>
            <a:lvl2pPr marL="742950" indent="-28575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2pPr>
            <a:lvl3pPr marL="11430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3pPr>
            <a:lvl4pPr marL="16002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4pPr>
            <a:lvl5pPr marL="20574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5pPr>
            <a:lvl6pPr marL="25146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6pPr>
            <a:lvl7pPr marL="29718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7pPr>
            <a:lvl8pPr marL="34290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8pPr>
            <a:lvl9pPr marL="38862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400" b="1" i="0" u="none" strike="noStrike" kern="1200" cap="none" spc="0" normalizeH="0" baseline="0" noProof="0" dirty="0">
                <a:ln>
                  <a:noFill/>
                </a:ln>
                <a:solidFill>
                  <a:schemeClr val="accent1"/>
                </a:solidFill>
                <a:effectLst/>
                <a:uLnTx/>
                <a:uFillTx/>
                <a:latin typeface="Arial"/>
                <a:ea typeface="+mn-ea"/>
                <a:cs typeface="+mn-ea"/>
                <a:sym typeface="+mn-lt"/>
              </a:rPr>
              <a:t>Cause 6</a:t>
            </a:r>
          </a:p>
        </p:txBody>
      </p:sp>
      <p:cxnSp>
        <p:nvCxnSpPr>
          <p:cNvPr id="22" name="Straight Connector 2">
            <a:extLst>
              <a:ext uri="{FF2B5EF4-FFF2-40B4-BE49-F238E27FC236}">
                <a16:creationId xmlns:a16="http://schemas.microsoft.com/office/drawing/2014/main" id="{847E2F66-F70E-4178-B514-0D17B0D08D5B}"/>
              </a:ext>
            </a:extLst>
          </p:cNvPr>
          <p:cNvCxnSpPr/>
          <p:nvPr/>
        </p:nvCxnSpPr>
        <p:spPr bwMode="auto">
          <a:xfrm>
            <a:off x="695306" y="3592975"/>
            <a:ext cx="10029825" cy="0"/>
          </a:xfrm>
          <a:prstGeom prst="line">
            <a:avLst/>
          </a:prstGeom>
          <a:solidFill>
            <a:schemeClr val="accent1"/>
          </a:solidFill>
          <a:ln w="57150" cap="flat" cmpd="sng" algn="ctr">
            <a:solidFill>
              <a:schemeClr val="accent1">
                <a:lumMod val="100000"/>
              </a:schemeClr>
            </a:solidFill>
            <a:prstDash val="solid"/>
            <a:miter lim="400000"/>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grpSp>
        <p:nvGrpSpPr>
          <p:cNvPr id="23" name="Группа 8">
            <a:extLst>
              <a:ext uri="{FF2B5EF4-FFF2-40B4-BE49-F238E27FC236}">
                <a16:creationId xmlns:a16="http://schemas.microsoft.com/office/drawing/2014/main" id="{4E228967-7B28-4C18-98B1-09B56B684B5C}"/>
              </a:ext>
            </a:extLst>
          </p:cNvPr>
          <p:cNvGrpSpPr/>
          <p:nvPr/>
        </p:nvGrpSpPr>
        <p:grpSpPr>
          <a:xfrm>
            <a:off x="3888338" y="1203771"/>
            <a:ext cx="2637513" cy="4490304"/>
            <a:chOff x="9417376" y="2566472"/>
            <a:chExt cx="5275025" cy="8980608"/>
          </a:xfrm>
        </p:grpSpPr>
        <p:grpSp>
          <p:nvGrpSpPr>
            <p:cNvPr id="47" name="Группа 206">
              <a:extLst>
                <a:ext uri="{FF2B5EF4-FFF2-40B4-BE49-F238E27FC236}">
                  <a16:creationId xmlns:a16="http://schemas.microsoft.com/office/drawing/2014/main" id="{D65E09AD-DE3F-4AF4-B48B-D32B0AE589D3}"/>
                </a:ext>
              </a:extLst>
            </p:cNvPr>
            <p:cNvGrpSpPr/>
            <p:nvPr/>
          </p:nvGrpSpPr>
          <p:grpSpPr>
            <a:xfrm>
              <a:off x="9451424" y="4049768"/>
              <a:ext cx="4115171" cy="6028648"/>
              <a:chOff x="10175763" y="2868688"/>
              <a:chExt cx="4115171" cy="6028648"/>
            </a:xfrm>
          </p:grpSpPr>
          <p:cxnSp>
            <p:nvCxnSpPr>
              <p:cNvPr id="53" name="Прямая соединительная линия 269">
                <a:extLst>
                  <a:ext uri="{FF2B5EF4-FFF2-40B4-BE49-F238E27FC236}">
                    <a16:creationId xmlns:a16="http://schemas.microsoft.com/office/drawing/2014/main" id="{73A01EC4-580D-46FE-8734-49A791C6256E}"/>
                  </a:ext>
                </a:extLst>
              </p:cNvPr>
              <p:cNvCxnSpPr>
                <a:cxnSpLocks/>
              </p:cNvCxnSpPr>
              <p:nvPr/>
            </p:nvCxnSpPr>
            <p:spPr bwMode="auto">
              <a:xfrm>
                <a:off x="10263371" y="3429136"/>
                <a:ext cx="2942775" cy="0"/>
              </a:xfrm>
              <a:prstGeom prst="line">
                <a:avLst/>
              </a:prstGeom>
              <a:blipFill dpi="0" rotWithShape="0">
                <a:blip r:embed="rId4"/>
                <a:srcRect/>
                <a:tile tx="0" ty="0" sx="100000" sy="100000" flip="none" algn="tl"/>
              </a:blipFill>
              <a:ln w="57150" cap="flat" cmpd="sng" algn="ctr">
                <a:solidFill>
                  <a:schemeClr val="accent1">
                    <a:lumMod val="100000"/>
                  </a:schemeClr>
                </a:solidFill>
                <a:prstDash val="solid"/>
                <a:miter lim="400000"/>
                <a:headEnd type="none" w="med" len="med"/>
                <a:tailEnd type="none" w="med" len="med"/>
              </a:ln>
              <a:effectLst/>
            </p:spPr>
          </p:cxnSp>
          <p:sp>
            <p:nvSpPr>
              <p:cNvPr id="54" name="TextBox 46">
                <a:extLst>
                  <a:ext uri="{FF2B5EF4-FFF2-40B4-BE49-F238E27FC236}">
                    <a16:creationId xmlns:a16="http://schemas.microsoft.com/office/drawing/2014/main" id="{EBBE4218-4C04-4051-8AE8-256ABD782BAF}"/>
                  </a:ext>
                </a:extLst>
              </p:cNvPr>
              <p:cNvSpPr txBox="1">
                <a:spLocks noChangeArrowheads="1"/>
              </p:cNvSpPr>
              <p:nvPr/>
            </p:nvSpPr>
            <p:spPr bwMode="auto">
              <a:xfrm>
                <a:off x="10177027" y="2868688"/>
                <a:ext cx="2663045" cy="4924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1pPr>
                <a:lvl2pPr marL="742950" indent="-28575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2pPr>
                <a:lvl3pPr marL="11430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3pPr>
                <a:lvl4pPr marL="16002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4pPr>
                <a:lvl5pPr marL="20574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5pPr>
                <a:lvl6pPr marL="25146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6pPr>
                <a:lvl7pPr marL="29718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7pPr>
                <a:lvl8pPr marL="34290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8pPr>
                <a:lvl9pPr marL="38862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000" b="1" i="0" u="none" strike="noStrike" kern="1200" cap="none" spc="0" normalizeH="0" baseline="0" noProof="0" dirty="0">
                    <a:ln>
                      <a:noFill/>
                    </a:ln>
                    <a:solidFill>
                      <a:schemeClr val="accent1"/>
                    </a:solidFill>
                    <a:effectLst/>
                    <a:uLnTx/>
                    <a:uFillTx/>
                    <a:latin typeface="Arial"/>
                    <a:ea typeface="+mn-ea"/>
                    <a:cs typeface="+mn-ea"/>
                    <a:sym typeface="+mn-lt"/>
                  </a:rPr>
                  <a:t>Information text</a:t>
                </a:r>
              </a:p>
            </p:txBody>
          </p:sp>
          <p:cxnSp>
            <p:nvCxnSpPr>
              <p:cNvPr id="55" name="Прямая соединительная линия 271">
                <a:extLst>
                  <a:ext uri="{FF2B5EF4-FFF2-40B4-BE49-F238E27FC236}">
                    <a16:creationId xmlns:a16="http://schemas.microsoft.com/office/drawing/2014/main" id="{92953367-7BEB-470C-AFCC-7429269A1384}"/>
                  </a:ext>
                </a:extLst>
              </p:cNvPr>
              <p:cNvCxnSpPr>
                <a:cxnSpLocks/>
              </p:cNvCxnSpPr>
              <p:nvPr/>
            </p:nvCxnSpPr>
            <p:spPr bwMode="auto">
              <a:xfrm>
                <a:off x="10263371" y="4800736"/>
                <a:ext cx="4027563" cy="0"/>
              </a:xfrm>
              <a:prstGeom prst="line">
                <a:avLst/>
              </a:prstGeom>
              <a:blipFill dpi="0" rotWithShape="0">
                <a:blip r:embed="rId4"/>
                <a:srcRect/>
                <a:tile tx="0" ty="0" sx="100000" sy="100000" flip="none" algn="tl"/>
              </a:blipFill>
              <a:ln w="57150" cap="flat" cmpd="sng" algn="ctr">
                <a:solidFill>
                  <a:schemeClr val="accent1">
                    <a:lumMod val="100000"/>
                  </a:schemeClr>
                </a:solidFill>
                <a:prstDash val="solid"/>
                <a:miter lim="400000"/>
                <a:headEnd type="none" w="med" len="med"/>
                <a:tailEnd type="none" w="med" len="med"/>
              </a:ln>
              <a:effectLst/>
            </p:spPr>
          </p:cxnSp>
          <p:cxnSp>
            <p:nvCxnSpPr>
              <p:cNvPr id="56" name="Прямая соединительная линия 272">
                <a:extLst>
                  <a:ext uri="{FF2B5EF4-FFF2-40B4-BE49-F238E27FC236}">
                    <a16:creationId xmlns:a16="http://schemas.microsoft.com/office/drawing/2014/main" id="{979D218E-822C-482C-AFAE-374CBF85003D}"/>
                  </a:ext>
                </a:extLst>
              </p:cNvPr>
              <p:cNvCxnSpPr>
                <a:cxnSpLocks/>
              </p:cNvCxnSpPr>
              <p:nvPr/>
            </p:nvCxnSpPr>
            <p:spPr bwMode="auto">
              <a:xfrm>
                <a:off x="10263371" y="7543936"/>
                <a:ext cx="4027563" cy="0"/>
              </a:xfrm>
              <a:prstGeom prst="line">
                <a:avLst/>
              </a:prstGeom>
              <a:blipFill dpi="0" rotWithShape="0">
                <a:blip r:embed="rId4"/>
                <a:srcRect/>
                <a:tile tx="0" ty="0" sx="100000" sy="100000" flip="none" algn="tl"/>
              </a:blipFill>
              <a:ln w="57150" cap="flat" cmpd="sng" algn="ctr">
                <a:solidFill>
                  <a:schemeClr val="accent1">
                    <a:lumMod val="100000"/>
                  </a:schemeClr>
                </a:solidFill>
                <a:prstDash val="solid"/>
                <a:miter lim="400000"/>
                <a:headEnd type="none" w="med" len="med"/>
                <a:tailEnd type="none" w="med" len="med"/>
              </a:ln>
              <a:effectLst/>
            </p:spPr>
          </p:cxnSp>
          <p:cxnSp>
            <p:nvCxnSpPr>
              <p:cNvPr id="57" name="Прямая соединительная линия 273">
                <a:extLst>
                  <a:ext uri="{FF2B5EF4-FFF2-40B4-BE49-F238E27FC236}">
                    <a16:creationId xmlns:a16="http://schemas.microsoft.com/office/drawing/2014/main" id="{6CF40E2F-60B2-4E9F-8944-0B022F88F256}"/>
                  </a:ext>
                </a:extLst>
              </p:cNvPr>
              <p:cNvCxnSpPr>
                <a:cxnSpLocks/>
                <a:endCxn id="45" idx="2"/>
              </p:cNvCxnSpPr>
              <p:nvPr/>
            </p:nvCxnSpPr>
            <p:spPr bwMode="auto">
              <a:xfrm>
                <a:off x="10237785" y="8864736"/>
                <a:ext cx="2856973" cy="32600"/>
              </a:xfrm>
              <a:prstGeom prst="line">
                <a:avLst/>
              </a:prstGeom>
              <a:blipFill dpi="0" rotWithShape="0">
                <a:blip r:embed="rId4"/>
                <a:srcRect/>
                <a:tile tx="0" ty="0" sx="100000" sy="100000" flip="none" algn="tl"/>
              </a:blipFill>
              <a:ln w="57150" cap="flat" cmpd="sng" algn="ctr">
                <a:solidFill>
                  <a:schemeClr val="accent1">
                    <a:lumMod val="100000"/>
                  </a:schemeClr>
                </a:solidFill>
                <a:prstDash val="solid"/>
                <a:miter lim="400000"/>
                <a:headEnd type="none" w="med" len="med"/>
                <a:tailEnd type="none" w="med" len="med"/>
              </a:ln>
              <a:effectLst/>
            </p:spPr>
          </p:cxnSp>
          <p:sp>
            <p:nvSpPr>
              <p:cNvPr id="58" name="TextBox 46">
                <a:extLst>
                  <a:ext uri="{FF2B5EF4-FFF2-40B4-BE49-F238E27FC236}">
                    <a16:creationId xmlns:a16="http://schemas.microsoft.com/office/drawing/2014/main" id="{8A8EDF8D-A962-4610-9E27-A95DF400A1B6}"/>
                  </a:ext>
                </a:extLst>
              </p:cNvPr>
              <p:cNvSpPr txBox="1">
                <a:spLocks noChangeArrowheads="1"/>
              </p:cNvSpPr>
              <p:nvPr/>
            </p:nvSpPr>
            <p:spPr bwMode="auto">
              <a:xfrm>
                <a:off x="10184469" y="4192730"/>
                <a:ext cx="3384389" cy="4924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1pPr>
                <a:lvl2pPr marL="742950" indent="-28575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2pPr>
                <a:lvl3pPr marL="11430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3pPr>
                <a:lvl4pPr marL="16002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4pPr>
                <a:lvl5pPr marL="20574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5pPr>
                <a:lvl6pPr marL="25146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6pPr>
                <a:lvl7pPr marL="29718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7pPr>
                <a:lvl8pPr marL="34290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8pPr>
                <a:lvl9pPr marL="38862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000" b="1" i="0" u="none" strike="noStrike" kern="1200" cap="none" spc="0" normalizeH="0" baseline="0" noProof="0" dirty="0">
                    <a:ln>
                      <a:noFill/>
                    </a:ln>
                    <a:solidFill>
                      <a:schemeClr val="accent1"/>
                    </a:solidFill>
                    <a:effectLst/>
                    <a:uLnTx/>
                    <a:uFillTx/>
                    <a:latin typeface="Arial"/>
                    <a:ea typeface="+mn-ea"/>
                    <a:cs typeface="+mn-ea"/>
                    <a:sym typeface="+mn-lt"/>
                  </a:rPr>
                  <a:t>Information text text</a:t>
                </a:r>
              </a:p>
            </p:txBody>
          </p:sp>
          <p:sp>
            <p:nvSpPr>
              <p:cNvPr id="59" name="TextBox 46">
                <a:extLst>
                  <a:ext uri="{FF2B5EF4-FFF2-40B4-BE49-F238E27FC236}">
                    <a16:creationId xmlns:a16="http://schemas.microsoft.com/office/drawing/2014/main" id="{B17F5741-2A47-418E-838D-29B833DF147E}"/>
                  </a:ext>
                </a:extLst>
              </p:cNvPr>
              <p:cNvSpPr txBox="1">
                <a:spLocks noChangeArrowheads="1"/>
              </p:cNvSpPr>
              <p:nvPr/>
            </p:nvSpPr>
            <p:spPr bwMode="auto">
              <a:xfrm>
                <a:off x="10175763" y="6961946"/>
                <a:ext cx="3384389" cy="4924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1pPr>
                <a:lvl2pPr marL="742950" indent="-28575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2pPr>
                <a:lvl3pPr marL="11430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3pPr>
                <a:lvl4pPr marL="16002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4pPr>
                <a:lvl5pPr marL="20574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5pPr>
                <a:lvl6pPr marL="25146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6pPr>
                <a:lvl7pPr marL="29718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7pPr>
                <a:lvl8pPr marL="34290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8pPr>
                <a:lvl9pPr marL="38862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000" b="1" i="0" u="none" strike="noStrike" kern="1200" cap="none" spc="0" normalizeH="0" baseline="0" noProof="0" dirty="0">
                    <a:ln>
                      <a:noFill/>
                    </a:ln>
                    <a:solidFill>
                      <a:schemeClr val="accent1"/>
                    </a:solidFill>
                    <a:effectLst/>
                    <a:uLnTx/>
                    <a:uFillTx/>
                    <a:latin typeface="Arial"/>
                    <a:ea typeface="+mn-ea"/>
                    <a:cs typeface="+mn-ea"/>
                    <a:sym typeface="+mn-lt"/>
                  </a:rPr>
                  <a:t>Information text text</a:t>
                </a:r>
              </a:p>
            </p:txBody>
          </p:sp>
          <p:sp>
            <p:nvSpPr>
              <p:cNvPr id="60" name="TextBox 46">
                <a:extLst>
                  <a:ext uri="{FF2B5EF4-FFF2-40B4-BE49-F238E27FC236}">
                    <a16:creationId xmlns:a16="http://schemas.microsoft.com/office/drawing/2014/main" id="{D2DED11E-38C4-4685-A333-B6CC0D21D91E}"/>
                  </a:ext>
                </a:extLst>
              </p:cNvPr>
              <p:cNvSpPr txBox="1">
                <a:spLocks noChangeArrowheads="1"/>
              </p:cNvSpPr>
              <p:nvPr/>
            </p:nvSpPr>
            <p:spPr bwMode="auto">
              <a:xfrm>
                <a:off x="10177027" y="8278358"/>
                <a:ext cx="2663045" cy="4924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1pPr>
                <a:lvl2pPr marL="742950" indent="-28575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2pPr>
                <a:lvl3pPr marL="11430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3pPr>
                <a:lvl4pPr marL="16002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4pPr>
                <a:lvl5pPr marL="20574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5pPr>
                <a:lvl6pPr marL="25146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6pPr>
                <a:lvl7pPr marL="29718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7pPr>
                <a:lvl8pPr marL="34290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8pPr>
                <a:lvl9pPr marL="38862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000" b="1" i="0" u="none" strike="noStrike" kern="1200" cap="none" spc="0" normalizeH="0" baseline="0" noProof="0" dirty="0">
                    <a:ln>
                      <a:noFill/>
                    </a:ln>
                    <a:solidFill>
                      <a:schemeClr val="accent1"/>
                    </a:solidFill>
                    <a:effectLst/>
                    <a:uLnTx/>
                    <a:uFillTx/>
                    <a:latin typeface="Arial"/>
                    <a:ea typeface="+mn-ea"/>
                    <a:cs typeface="+mn-ea"/>
                    <a:sym typeface="+mn-lt"/>
                  </a:rPr>
                  <a:t>Information text</a:t>
                </a:r>
              </a:p>
            </p:txBody>
          </p:sp>
        </p:grpSp>
        <p:sp>
          <p:nvSpPr>
            <p:cNvPr id="48" name="TextBox 46">
              <a:extLst>
                <a:ext uri="{FF2B5EF4-FFF2-40B4-BE49-F238E27FC236}">
                  <a16:creationId xmlns:a16="http://schemas.microsoft.com/office/drawing/2014/main" id="{D4B04103-33CC-4549-AF85-A3E8B8084E5A}"/>
                </a:ext>
              </a:extLst>
            </p:cNvPr>
            <p:cNvSpPr txBox="1">
              <a:spLocks noChangeArrowheads="1"/>
            </p:cNvSpPr>
            <p:nvPr/>
          </p:nvSpPr>
          <p:spPr bwMode="auto">
            <a:xfrm>
              <a:off x="9417376" y="2566472"/>
              <a:ext cx="1741502" cy="615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1pPr>
              <a:lvl2pPr marL="742950" indent="-28575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2pPr>
              <a:lvl3pPr marL="11430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3pPr>
              <a:lvl4pPr marL="16002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4pPr>
              <a:lvl5pPr marL="20574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5pPr>
              <a:lvl6pPr marL="25146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6pPr>
              <a:lvl7pPr marL="29718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7pPr>
              <a:lvl8pPr marL="34290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8pPr>
              <a:lvl9pPr marL="38862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400" b="1" i="0" u="none" strike="noStrike" kern="1200" cap="none" spc="0" normalizeH="0" baseline="0" noProof="0" dirty="0">
                  <a:ln>
                    <a:noFill/>
                  </a:ln>
                  <a:solidFill>
                    <a:schemeClr val="accent1"/>
                  </a:solidFill>
                  <a:effectLst/>
                  <a:uLnTx/>
                  <a:uFillTx/>
                  <a:latin typeface="Arial"/>
                  <a:ea typeface="+mn-ea"/>
                  <a:cs typeface="+mn-ea"/>
                  <a:sym typeface="+mn-lt"/>
                </a:rPr>
                <a:t>Cause 3</a:t>
              </a:r>
            </a:p>
          </p:txBody>
        </p:sp>
        <p:sp>
          <p:nvSpPr>
            <p:cNvPr id="49" name="Freeform 8">
              <a:extLst>
                <a:ext uri="{FF2B5EF4-FFF2-40B4-BE49-F238E27FC236}">
                  <a16:creationId xmlns:a16="http://schemas.microsoft.com/office/drawing/2014/main" id="{6E22D139-8CEC-4B40-ACF0-382DC054AB0A}"/>
                </a:ext>
              </a:extLst>
            </p:cNvPr>
            <p:cNvSpPr>
              <a:spLocks/>
            </p:cNvSpPr>
            <p:nvPr/>
          </p:nvSpPr>
          <p:spPr bwMode="auto">
            <a:xfrm flipH="1">
              <a:off x="9513448" y="5193306"/>
              <a:ext cx="5178953" cy="153888"/>
            </a:xfrm>
            <a:custGeom>
              <a:avLst/>
              <a:gdLst>
                <a:gd name="T0" fmla="*/ 0 w 5233536"/>
                <a:gd name="T1" fmla="*/ 4090223 h 4081111"/>
                <a:gd name="T2" fmla="*/ 3351619 w 5233536"/>
                <a:gd name="T3" fmla="*/ 1943 h 4081111"/>
                <a:gd name="T4" fmla="*/ 5239591 w 5233536"/>
                <a:gd name="T5" fmla="*/ 0 h 4081111"/>
                <a:gd name="T6" fmla="*/ 0 60000 65536"/>
                <a:gd name="T7" fmla="*/ 0 60000 65536"/>
                <a:gd name="T8" fmla="*/ 0 60000 65536"/>
              </a:gdLst>
              <a:ahLst/>
              <a:cxnLst>
                <a:cxn ang="T6">
                  <a:pos x="T0" y="T1"/>
                </a:cxn>
                <a:cxn ang="T7">
                  <a:pos x="T2" y="T3"/>
                </a:cxn>
                <a:cxn ang="T8">
                  <a:pos x="T4" y="T5"/>
                </a:cxn>
              </a:cxnLst>
              <a:rect l="0" t="0" r="r" b="b"/>
              <a:pathLst>
                <a:path w="5233536" h="4081111">
                  <a:moveTo>
                    <a:pt x="0" y="4081111"/>
                  </a:moveTo>
                  <a:lnTo>
                    <a:pt x="3347745" y="1936"/>
                  </a:lnTo>
                  <a:lnTo>
                    <a:pt x="5233536" y="0"/>
                  </a:lnTo>
                </a:path>
              </a:pathLst>
            </a:custGeom>
            <a:noFill/>
            <a:ln w="57150" cap="flat" cmpd="sng">
              <a:solidFill>
                <a:schemeClr val="accent1">
                  <a:lumMod val="100000"/>
                </a:schemeClr>
              </a:solidFill>
              <a:prstDash val="solid"/>
              <a:miter lim="400000"/>
              <a:headEnd type="none" w="med" len="med"/>
              <a:tailEnd type="none" w="med" len="med"/>
            </a:ln>
            <a:extLst>
              <a:ext uri="{909E8E84-426E-40DD-AFC4-6F175D3DCCD1}">
                <a14:hiddenFill xmlns:a14="http://schemas.microsoft.com/office/drawing/2010/main">
                  <a:solidFill>
                    <a:srgbClr val="FFFFFF"/>
                  </a:solidFill>
                </a14:hiddenFill>
              </a:ext>
            </a:extLst>
          </p:spPr>
          <p:txBody>
            <a:bodyPr wrap="square" lIns="0" tIns="0" rIns="0" bIns="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500" b="0" i="0" u="none" strike="noStrike" kern="1200" cap="none" spc="0" normalizeH="0" baseline="0" noProof="0">
                <a:ln>
                  <a:noFill/>
                </a:ln>
                <a:solidFill>
                  <a:srgbClr val="0677C7"/>
                </a:solidFill>
                <a:effectLst/>
                <a:uLnTx/>
                <a:uFillTx/>
                <a:latin typeface="Arial"/>
                <a:cs typeface="+mn-ea"/>
                <a:sym typeface="+mn-lt"/>
              </a:endParaRPr>
            </a:p>
          </p:txBody>
        </p:sp>
        <p:sp>
          <p:nvSpPr>
            <p:cNvPr id="50" name="Oval 66">
              <a:extLst>
                <a:ext uri="{FF2B5EF4-FFF2-40B4-BE49-F238E27FC236}">
                  <a16:creationId xmlns:a16="http://schemas.microsoft.com/office/drawing/2014/main" id="{1E1D731C-37D7-4400-8AF9-D1F58F49EA67}"/>
                </a:ext>
              </a:extLst>
            </p:cNvPr>
            <p:cNvSpPr>
              <a:spLocks noChangeArrowheads="1"/>
            </p:cNvSpPr>
            <p:nvPr/>
          </p:nvSpPr>
          <p:spPr bwMode="auto">
            <a:xfrm>
              <a:off x="11158250" y="3141740"/>
              <a:ext cx="308318" cy="216396"/>
            </a:xfrm>
            <a:prstGeom prst="ellipse">
              <a:avLst/>
            </a:prstGeom>
            <a:solidFill>
              <a:schemeClr val="accent1">
                <a:lumMod val="100000"/>
              </a:schemeClr>
            </a:solidFill>
            <a:ln w="57150">
              <a:solidFill>
                <a:schemeClr val="accent1">
                  <a:lumMod val="100000"/>
                </a:schemeClr>
              </a:solidFill>
              <a:miter lim="400000"/>
              <a:headEnd/>
              <a:tailEnd/>
            </a:ln>
          </p:spPr>
          <p:txBody>
            <a:bodyPr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altLang="en-US" sz="500" b="0" i="0" u="none" strike="noStrike" kern="1200" cap="none" spc="0" normalizeH="0" baseline="0" noProof="0">
                <a:ln>
                  <a:noFill/>
                </a:ln>
                <a:solidFill>
                  <a:srgbClr val="0677C7"/>
                </a:solidFill>
                <a:effectLst/>
                <a:uLnTx/>
                <a:uFillTx/>
                <a:latin typeface="Arial"/>
                <a:cs typeface="+mn-ea"/>
                <a:sym typeface="+mn-lt"/>
              </a:endParaRPr>
            </a:p>
          </p:txBody>
        </p:sp>
        <p:sp>
          <p:nvSpPr>
            <p:cNvPr id="51" name="Freeform 8">
              <a:extLst>
                <a:ext uri="{FF2B5EF4-FFF2-40B4-BE49-F238E27FC236}">
                  <a16:creationId xmlns:a16="http://schemas.microsoft.com/office/drawing/2014/main" id="{610B0628-ECCC-47BC-9C64-E0389E59E114}"/>
                </a:ext>
              </a:extLst>
            </p:cNvPr>
            <p:cNvSpPr>
              <a:spLocks/>
            </p:cNvSpPr>
            <p:nvPr/>
          </p:nvSpPr>
          <p:spPr bwMode="auto">
            <a:xfrm flipH="1" flipV="1">
              <a:off x="9513446" y="9344250"/>
              <a:ext cx="5178625" cy="153888"/>
            </a:xfrm>
            <a:custGeom>
              <a:avLst/>
              <a:gdLst>
                <a:gd name="T0" fmla="*/ 0 w 5233536"/>
                <a:gd name="T1" fmla="*/ 4094051 h 4081111"/>
                <a:gd name="T2" fmla="*/ 3350032 w 5233536"/>
                <a:gd name="T3" fmla="*/ 1943 h 4081111"/>
                <a:gd name="T4" fmla="*/ 5237106 w 5233536"/>
                <a:gd name="T5" fmla="*/ 0 h 4081111"/>
                <a:gd name="T6" fmla="*/ 0 60000 65536"/>
                <a:gd name="T7" fmla="*/ 0 60000 65536"/>
                <a:gd name="T8" fmla="*/ 0 60000 65536"/>
              </a:gdLst>
              <a:ahLst/>
              <a:cxnLst>
                <a:cxn ang="T6">
                  <a:pos x="T0" y="T1"/>
                </a:cxn>
                <a:cxn ang="T7">
                  <a:pos x="T2" y="T3"/>
                </a:cxn>
                <a:cxn ang="T8">
                  <a:pos x="T4" y="T5"/>
                </a:cxn>
              </a:cxnLst>
              <a:rect l="0" t="0" r="r" b="b"/>
              <a:pathLst>
                <a:path w="5233536" h="4081111">
                  <a:moveTo>
                    <a:pt x="0" y="4081111"/>
                  </a:moveTo>
                  <a:lnTo>
                    <a:pt x="3347745" y="1936"/>
                  </a:lnTo>
                  <a:lnTo>
                    <a:pt x="5233536" y="0"/>
                  </a:lnTo>
                </a:path>
              </a:pathLst>
            </a:custGeom>
            <a:noFill/>
            <a:ln w="57150" cap="flat" cmpd="sng">
              <a:solidFill>
                <a:schemeClr val="accent1">
                  <a:lumMod val="100000"/>
                </a:schemeClr>
              </a:solidFill>
              <a:prstDash val="solid"/>
              <a:miter lim="400000"/>
              <a:headEnd type="none" w="med" len="med"/>
              <a:tailEnd type="none" w="med" len="med"/>
            </a:ln>
            <a:extLst>
              <a:ext uri="{909E8E84-426E-40DD-AFC4-6F175D3DCCD1}">
                <a14:hiddenFill xmlns:a14="http://schemas.microsoft.com/office/drawing/2010/main">
                  <a:solidFill>
                    <a:srgbClr val="FFFFFF"/>
                  </a:solidFill>
                </a14:hiddenFill>
              </a:ext>
            </a:extLst>
          </p:spPr>
          <p:txBody>
            <a:bodyPr wrap="square" lIns="0" tIns="0" rIns="0" bIns="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500" b="0" i="0" u="none" strike="noStrike" kern="1200" cap="none" spc="0" normalizeH="0" baseline="0" noProof="0">
                <a:ln>
                  <a:noFill/>
                </a:ln>
                <a:solidFill>
                  <a:srgbClr val="0677C7"/>
                </a:solidFill>
                <a:effectLst/>
                <a:uLnTx/>
                <a:uFillTx/>
                <a:latin typeface="Arial"/>
                <a:cs typeface="+mn-ea"/>
                <a:sym typeface="+mn-lt"/>
              </a:endParaRPr>
            </a:p>
          </p:txBody>
        </p:sp>
        <p:sp>
          <p:nvSpPr>
            <p:cNvPr id="52" name="Oval 66">
              <a:extLst>
                <a:ext uri="{FF2B5EF4-FFF2-40B4-BE49-F238E27FC236}">
                  <a16:creationId xmlns:a16="http://schemas.microsoft.com/office/drawing/2014/main" id="{D2362F0B-BA25-473D-93D7-C2AEEB06E104}"/>
                </a:ext>
              </a:extLst>
            </p:cNvPr>
            <p:cNvSpPr>
              <a:spLocks noChangeArrowheads="1"/>
            </p:cNvSpPr>
            <p:nvPr/>
          </p:nvSpPr>
          <p:spPr bwMode="auto">
            <a:xfrm>
              <a:off x="11158628" y="11330684"/>
              <a:ext cx="307976" cy="216396"/>
            </a:xfrm>
            <a:prstGeom prst="ellipse">
              <a:avLst/>
            </a:prstGeom>
            <a:solidFill>
              <a:schemeClr val="accent1">
                <a:lumMod val="100000"/>
              </a:schemeClr>
            </a:solidFill>
            <a:ln w="57150">
              <a:solidFill>
                <a:schemeClr val="accent1">
                  <a:lumMod val="100000"/>
                </a:schemeClr>
              </a:solidFill>
              <a:miter lim="400000"/>
              <a:headEnd/>
              <a:tailEnd/>
            </a:ln>
          </p:spPr>
          <p:txBody>
            <a:bodyPr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altLang="en-US" sz="500" b="0" i="0" u="none" strike="noStrike" kern="1200" cap="none" spc="0" normalizeH="0" baseline="0" noProof="0">
                <a:ln>
                  <a:noFill/>
                </a:ln>
                <a:solidFill>
                  <a:srgbClr val="0677C7"/>
                </a:solidFill>
                <a:effectLst/>
                <a:uLnTx/>
                <a:uFillTx/>
                <a:latin typeface="Arial"/>
                <a:cs typeface="+mn-ea"/>
                <a:sym typeface="+mn-lt"/>
              </a:endParaRPr>
            </a:p>
          </p:txBody>
        </p:sp>
      </p:grpSp>
      <p:sp>
        <p:nvSpPr>
          <p:cNvPr id="24" name="Freeform 8">
            <a:extLst>
              <a:ext uri="{FF2B5EF4-FFF2-40B4-BE49-F238E27FC236}">
                <a16:creationId xmlns:a16="http://schemas.microsoft.com/office/drawing/2014/main" id="{00A0A58C-1FA9-445A-A35E-8029B3CB3918}"/>
              </a:ext>
            </a:extLst>
          </p:cNvPr>
          <p:cNvSpPr>
            <a:spLocks/>
          </p:cNvSpPr>
          <p:nvPr/>
        </p:nvSpPr>
        <p:spPr bwMode="auto">
          <a:xfrm flipH="1">
            <a:off x="6469253" y="2517468"/>
            <a:ext cx="2589477" cy="76944"/>
          </a:xfrm>
          <a:custGeom>
            <a:avLst/>
            <a:gdLst>
              <a:gd name="T0" fmla="*/ 0 w 5233536"/>
              <a:gd name="T1" fmla="*/ 4090223 h 4081111"/>
              <a:gd name="T2" fmla="*/ 3351619 w 5233536"/>
              <a:gd name="T3" fmla="*/ 1943 h 4081111"/>
              <a:gd name="T4" fmla="*/ 5239591 w 5233536"/>
              <a:gd name="T5" fmla="*/ 0 h 4081111"/>
              <a:gd name="T6" fmla="*/ 0 60000 65536"/>
              <a:gd name="T7" fmla="*/ 0 60000 65536"/>
              <a:gd name="T8" fmla="*/ 0 60000 65536"/>
            </a:gdLst>
            <a:ahLst/>
            <a:cxnLst>
              <a:cxn ang="T6">
                <a:pos x="T0" y="T1"/>
              </a:cxn>
              <a:cxn ang="T7">
                <a:pos x="T2" y="T3"/>
              </a:cxn>
              <a:cxn ang="T8">
                <a:pos x="T4" y="T5"/>
              </a:cxn>
            </a:cxnLst>
            <a:rect l="0" t="0" r="r" b="b"/>
            <a:pathLst>
              <a:path w="5233536" h="4081111">
                <a:moveTo>
                  <a:pt x="0" y="4081111"/>
                </a:moveTo>
                <a:lnTo>
                  <a:pt x="3347745" y="1936"/>
                </a:lnTo>
                <a:lnTo>
                  <a:pt x="5233536" y="0"/>
                </a:lnTo>
              </a:path>
            </a:pathLst>
          </a:custGeom>
          <a:noFill/>
          <a:ln w="57150" cap="flat" cmpd="sng">
            <a:solidFill>
              <a:schemeClr val="accent1">
                <a:lumMod val="100000"/>
              </a:schemeClr>
            </a:solidFill>
            <a:prstDash val="solid"/>
            <a:miter lim="400000"/>
            <a:headEnd type="none" w="med" len="med"/>
            <a:tailEnd type="none" w="med" len="med"/>
          </a:ln>
          <a:extLst>
            <a:ext uri="{909E8E84-426E-40DD-AFC4-6F175D3DCCD1}">
              <a14:hiddenFill xmlns:a14="http://schemas.microsoft.com/office/drawing/2010/main">
                <a:solidFill>
                  <a:srgbClr val="FFFFFF"/>
                </a:solidFill>
              </a14:hiddenFill>
            </a:ext>
          </a:extLst>
        </p:spPr>
        <p:txBody>
          <a:bodyPr wrap="square" lIns="0" tIns="0" rIns="0" bIns="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500" b="0" i="0" u="none" strike="noStrike" kern="1200" cap="none" spc="0" normalizeH="0" baseline="0" noProof="0">
              <a:ln>
                <a:noFill/>
              </a:ln>
              <a:solidFill>
                <a:srgbClr val="000000"/>
              </a:solidFill>
              <a:effectLst/>
              <a:uLnTx/>
              <a:uFillTx/>
              <a:latin typeface="Arial"/>
              <a:cs typeface="+mn-ea"/>
              <a:sym typeface="+mn-lt"/>
            </a:endParaRPr>
          </a:p>
        </p:txBody>
      </p:sp>
      <p:sp>
        <p:nvSpPr>
          <p:cNvPr id="25" name="Oval 66">
            <a:extLst>
              <a:ext uri="{FF2B5EF4-FFF2-40B4-BE49-F238E27FC236}">
                <a16:creationId xmlns:a16="http://schemas.microsoft.com/office/drawing/2014/main" id="{8B90E6B4-05AA-4869-902B-2C8EC7BE9159}"/>
              </a:ext>
            </a:extLst>
          </p:cNvPr>
          <p:cNvSpPr>
            <a:spLocks noChangeArrowheads="1"/>
          </p:cNvSpPr>
          <p:nvPr/>
        </p:nvSpPr>
        <p:spPr bwMode="auto">
          <a:xfrm>
            <a:off x="7291654" y="1491685"/>
            <a:ext cx="154159" cy="108198"/>
          </a:xfrm>
          <a:prstGeom prst="ellipse">
            <a:avLst/>
          </a:prstGeom>
          <a:solidFill>
            <a:schemeClr val="accent1">
              <a:lumMod val="100000"/>
            </a:schemeClr>
          </a:solidFill>
          <a:ln w="57150">
            <a:solidFill>
              <a:schemeClr val="accent1">
                <a:lumMod val="100000"/>
              </a:schemeClr>
            </a:solidFill>
            <a:miter lim="400000"/>
            <a:headEnd/>
            <a:tailEnd/>
          </a:ln>
        </p:spPr>
        <p:txBody>
          <a:bodyPr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altLang="en-US" sz="500" b="0" i="0" u="none" strike="noStrike" kern="1200" cap="none" spc="0" normalizeH="0" baseline="0" noProof="0">
              <a:ln>
                <a:noFill/>
              </a:ln>
              <a:solidFill>
                <a:srgbClr val="000000"/>
              </a:solidFill>
              <a:effectLst/>
              <a:uLnTx/>
              <a:uFillTx/>
              <a:latin typeface="Arial"/>
              <a:cs typeface="+mn-ea"/>
              <a:sym typeface="+mn-lt"/>
            </a:endParaRPr>
          </a:p>
        </p:txBody>
      </p:sp>
      <p:sp>
        <p:nvSpPr>
          <p:cNvPr id="26" name="Oval 66">
            <a:extLst>
              <a:ext uri="{FF2B5EF4-FFF2-40B4-BE49-F238E27FC236}">
                <a16:creationId xmlns:a16="http://schemas.microsoft.com/office/drawing/2014/main" id="{ACC11F71-B82B-4886-B571-4F4CA980E679}"/>
              </a:ext>
            </a:extLst>
          </p:cNvPr>
          <p:cNvSpPr>
            <a:spLocks noChangeArrowheads="1"/>
          </p:cNvSpPr>
          <p:nvPr/>
        </p:nvSpPr>
        <p:spPr bwMode="auto">
          <a:xfrm>
            <a:off x="7876377" y="2174320"/>
            <a:ext cx="154159" cy="108198"/>
          </a:xfrm>
          <a:prstGeom prst="ellipse">
            <a:avLst/>
          </a:prstGeom>
          <a:solidFill>
            <a:schemeClr val="tx2"/>
          </a:solidFill>
          <a:ln w="57150">
            <a:solidFill>
              <a:schemeClr val="accent1">
                <a:lumMod val="100000"/>
              </a:schemeClr>
            </a:solidFill>
            <a:miter lim="400000"/>
            <a:headEnd/>
            <a:tailEnd/>
          </a:ln>
        </p:spPr>
        <p:txBody>
          <a:bodyPr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altLang="en-US" sz="500" b="0" i="0" u="none" strike="noStrike" kern="1200" cap="none" spc="0" normalizeH="0" baseline="0" noProof="0">
              <a:ln>
                <a:noFill/>
              </a:ln>
              <a:solidFill>
                <a:srgbClr val="000000"/>
              </a:solidFill>
              <a:effectLst/>
              <a:uLnTx/>
              <a:uFillTx/>
              <a:latin typeface="Arial"/>
              <a:cs typeface="+mn-ea"/>
              <a:sym typeface="+mn-lt"/>
            </a:endParaRPr>
          </a:p>
        </p:txBody>
      </p:sp>
      <p:sp>
        <p:nvSpPr>
          <p:cNvPr id="27" name="Oval 66">
            <a:extLst>
              <a:ext uri="{FF2B5EF4-FFF2-40B4-BE49-F238E27FC236}">
                <a16:creationId xmlns:a16="http://schemas.microsoft.com/office/drawing/2014/main" id="{B5DC7ECF-B85E-4E25-A87A-0DD9DFA999E3}"/>
              </a:ext>
            </a:extLst>
          </p:cNvPr>
          <p:cNvSpPr>
            <a:spLocks noChangeArrowheads="1"/>
          </p:cNvSpPr>
          <p:nvPr/>
        </p:nvSpPr>
        <p:spPr bwMode="auto">
          <a:xfrm>
            <a:off x="8418779" y="2856955"/>
            <a:ext cx="154159" cy="108198"/>
          </a:xfrm>
          <a:prstGeom prst="ellipse">
            <a:avLst/>
          </a:prstGeom>
          <a:solidFill>
            <a:schemeClr val="tx2"/>
          </a:solidFill>
          <a:ln w="57150">
            <a:solidFill>
              <a:schemeClr val="accent1">
                <a:lumMod val="100000"/>
              </a:schemeClr>
            </a:solidFill>
            <a:miter lim="400000"/>
            <a:headEnd/>
            <a:tailEnd/>
          </a:ln>
        </p:spPr>
        <p:txBody>
          <a:bodyPr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altLang="en-US" sz="500" b="0" i="0" u="none" strike="noStrike" kern="1200" cap="none" spc="0" normalizeH="0" baseline="0" noProof="0">
              <a:ln>
                <a:noFill/>
              </a:ln>
              <a:solidFill>
                <a:srgbClr val="000000"/>
              </a:solidFill>
              <a:effectLst/>
              <a:uLnTx/>
              <a:uFillTx/>
              <a:latin typeface="Arial"/>
              <a:cs typeface="+mn-ea"/>
              <a:sym typeface="+mn-lt"/>
            </a:endParaRPr>
          </a:p>
        </p:txBody>
      </p:sp>
      <p:sp>
        <p:nvSpPr>
          <p:cNvPr id="28" name="Freeform 8">
            <a:extLst>
              <a:ext uri="{FF2B5EF4-FFF2-40B4-BE49-F238E27FC236}">
                <a16:creationId xmlns:a16="http://schemas.microsoft.com/office/drawing/2014/main" id="{4BFE78F1-BE1F-4152-9087-5DF4AD06ECA2}"/>
              </a:ext>
            </a:extLst>
          </p:cNvPr>
          <p:cNvSpPr>
            <a:spLocks/>
          </p:cNvSpPr>
          <p:nvPr/>
        </p:nvSpPr>
        <p:spPr bwMode="auto">
          <a:xfrm flipH="1" flipV="1">
            <a:off x="6469252" y="4592940"/>
            <a:ext cx="2589313" cy="76944"/>
          </a:xfrm>
          <a:custGeom>
            <a:avLst/>
            <a:gdLst>
              <a:gd name="T0" fmla="*/ 0 w 5233536"/>
              <a:gd name="T1" fmla="*/ 4094051 h 4081111"/>
              <a:gd name="T2" fmla="*/ 3350032 w 5233536"/>
              <a:gd name="T3" fmla="*/ 1943 h 4081111"/>
              <a:gd name="T4" fmla="*/ 5237106 w 5233536"/>
              <a:gd name="T5" fmla="*/ 0 h 4081111"/>
              <a:gd name="T6" fmla="*/ 0 60000 65536"/>
              <a:gd name="T7" fmla="*/ 0 60000 65536"/>
              <a:gd name="T8" fmla="*/ 0 60000 65536"/>
            </a:gdLst>
            <a:ahLst/>
            <a:cxnLst>
              <a:cxn ang="T6">
                <a:pos x="T0" y="T1"/>
              </a:cxn>
              <a:cxn ang="T7">
                <a:pos x="T2" y="T3"/>
              </a:cxn>
              <a:cxn ang="T8">
                <a:pos x="T4" y="T5"/>
              </a:cxn>
            </a:cxnLst>
            <a:rect l="0" t="0" r="r" b="b"/>
            <a:pathLst>
              <a:path w="5233536" h="4081111">
                <a:moveTo>
                  <a:pt x="0" y="4081111"/>
                </a:moveTo>
                <a:lnTo>
                  <a:pt x="3347745" y="1936"/>
                </a:lnTo>
                <a:lnTo>
                  <a:pt x="5233536" y="0"/>
                </a:lnTo>
              </a:path>
            </a:pathLst>
          </a:custGeom>
          <a:noFill/>
          <a:ln w="57150" cap="flat" cmpd="sng">
            <a:solidFill>
              <a:schemeClr val="accent1">
                <a:lumMod val="100000"/>
              </a:schemeClr>
            </a:solidFill>
            <a:prstDash val="solid"/>
            <a:miter lim="400000"/>
            <a:headEnd type="none" w="med" len="med"/>
            <a:tailEnd type="none" w="med" len="med"/>
          </a:ln>
          <a:extLst>
            <a:ext uri="{909E8E84-426E-40DD-AFC4-6F175D3DCCD1}">
              <a14:hiddenFill xmlns:a14="http://schemas.microsoft.com/office/drawing/2010/main">
                <a:solidFill>
                  <a:srgbClr val="FFFFFF"/>
                </a:solidFill>
              </a14:hiddenFill>
            </a:ext>
          </a:extLst>
        </p:spPr>
        <p:txBody>
          <a:bodyPr wrap="square" lIns="0" tIns="0" rIns="0" bIns="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500" b="0" i="0" u="none" strike="noStrike" kern="1200" cap="none" spc="0" normalizeH="0" baseline="0" noProof="0">
              <a:ln>
                <a:noFill/>
              </a:ln>
              <a:solidFill>
                <a:srgbClr val="000000"/>
              </a:solidFill>
              <a:effectLst/>
              <a:uLnTx/>
              <a:uFillTx/>
              <a:latin typeface="Arial"/>
              <a:cs typeface="+mn-ea"/>
              <a:sym typeface="+mn-lt"/>
            </a:endParaRPr>
          </a:p>
        </p:txBody>
      </p:sp>
      <p:sp>
        <p:nvSpPr>
          <p:cNvPr id="29" name="Oval 66">
            <a:extLst>
              <a:ext uri="{FF2B5EF4-FFF2-40B4-BE49-F238E27FC236}">
                <a16:creationId xmlns:a16="http://schemas.microsoft.com/office/drawing/2014/main" id="{D929E352-A149-4068-A8F9-7AF14747483A}"/>
              </a:ext>
            </a:extLst>
          </p:cNvPr>
          <p:cNvSpPr>
            <a:spLocks noChangeArrowheads="1"/>
          </p:cNvSpPr>
          <p:nvPr/>
        </p:nvSpPr>
        <p:spPr bwMode="auto">
          <a:xfrm>
            <a:off x="7291843" y="5586157"/>
            <a:ext cx="153988" cy="108198"/>
          </a:xfrm>
          <a:prstGeom prst="ellipse">
            <a:avLst/>
          </a:prstGeom>
          <a:solidFill>
            <a:schemeClr val="accent1">
              <a:lumMod val="100000"/>
            </a:schemeClr>
          </a:solidFill>
          <a:ln w="57150">
            <a:solidFill>
              <a:schemeClr val="accent1">
                <a:lumMod val="100000"/>
              </a:schemeClr>
            </a:solidFill>
            <a:miter lim="400000"/>
            <a:headEnd/>
            <a:tailEnd/>
          </a:ln>
        </p:spPr>
        <p:txBody>
          <a:bodyPr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altLang="en-US" sz="500" b="0" i="0" u="none" strike="noStrike" kern="1200" cap="none" spc="0" normalizeH="0" baseline="0" noProof="0">
              <a:ln>
                <a:noFill/>
              </a:ln>
              <a:solidFill>
                <a:srgbClr val="000000"/>
              </a:solidFill>
              <a:effectLst/>
              <a:uLnTx/>
              <a:uFillTx/>
              <a:latin typeface="Arial"/>
              <a:cs typeface="+mn-ea"/>
              <a:sym typeface="+mn-lt"/>
            </a:endParaRPr>
          </a:p>
        </p:txBody>
      </p:sp>
      <p:sp>
        <p:nvSpPr>
          <p:cNvPr id="30" name="Oval 66">
            <a:extLst>
              <a:ext uri="{FF2B5EF4-FFF2-40B4-BE49-F238E27FC236}">
                <a16:creationId xmlns:a16="http://schemas.microsoft.com/office/drawing/2014/main" id="{A0FB179E-636D-4A5D-AFDA-639C96451765}"/>
              </a:ext>
            </a:extLst>
          </p:cNvPr>
          <p:cNvSpPr>
            <a:spLocks noChangeArrowheads="1"/>
          </p:cNvSpPr>
          <p:nvPr/>
        </p:nvSpPr>
        <p:spPr bwMode="auto">
          <a:xfrm>
            <a:off x="7876042" y="4905924"/>
            <a:ext cx="154782" cy="108198"/>
          </a:xfrm>
          <a:prstGeom prst="ellipse">
            <a:avLst/>
          </a:prstGeom>
          <a:solidFill>
            <a:schemeClr val="tx2"/>
          </a:solidFill>
          <a:ln w="57150">
            <a:solidFill>
              <a:schemeClr val="accent1">
                <a:lumMod val="100000"/>
              </a:schemeClr>
            </a:solidFill>
            <a:miter lim="400000"/>
            <a:headEnd/>
            <a:tailEnd/>
          </a:ln>
        </p:spPr>
        <p:txBody>
          <a:bodyPr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altLang="en-US" sz="500" b="0" i="0" u="none" strike="noStrike" kern="1200" cap="none" spc="0" normalizeH="0" baseline="0" noProof="0">
              <a:ln>
                <a:noFill/>
              </a:ln>
              <a:solidFill>
                <a:srgbClr val="000000"/>
              </a:solidFill>
              <a:effectLst/>
              <a:uLnTx/>
              <a:uFillTx/>
              <a:latin typeface="Arial"/>
              <a:cs typeface="+mn-ea"/>
              <a:sym typeface="+mn-lt"/>
            </a:endParaRPr>
          </a:p>
        </p:txBody>
      </p:sp>
      <p:sp>
        <p:nvSpPr>
          <p:cNvPr id="31" name="Oval 66">
            <a:extLst>
              <a:ext uri="{FF2B5EF4-FFF2-40B4-BE49-F238E27FC236}">
                <a16:creationId xmlns:a16="http://schemas.microsoft.com/office/drawing/2014/main" id="{5F753B30-EDF5-4237-B174-825658B4603B}"/>
              </a:ext>
            </a:extLst>
          </p:cNvPr>
          <p:cNvSpPr>
            <a:spLocks noChangeArrowheads="1"/>
          </p:cNvSpPr>
          <p:nvPr/>
        </p:nvSpPr>
        <p:spPr bwMode="auto">
          <a:xfrm>
            <a:off x="8418436" y="4228071"/>
            <a:ext cx="154782" cy="108198"/>
          </a:xfrm>
          <a:prstGeom prst="ellipse">
            <a:avLst/>
          </a:prstGeom>
          <a:solidFill>
            <a:schemeClr val="tx2"/>
          </a:solidFill>
          <a:ln w="57150">
            <a:solidFill>
              <a:schemeClr val="accent1">
                <a:lumMod val="100000"/>
              </a:schemeClr>
            </a:solidFill>
            <a:miter lim="400000"/>
            <a:headEnd/>
            <a:tailEnd/>
          </a:ln>
        </p:spPr>
        <p:txBody>
          <a:bodyPr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altLang="en-US" sz="500" b="0" i="0" u="none" strike="noStrike" kern="1200" cap="none" spc="0" normalizeH="0" baseline="0" noProof="0">
              <a:ln>
                <a:noFill/>
              </a:ln>
              <a:solidFill>
                <a:srgbClr val="000000"/>
              </a:solidFill>
              <a:effectLst/>
              <a:uLnTx/>
              <a:uFillTx/>
              <a:latin typeface="Arial"/>
              <a:cs typeface="+mn-ea"/>
              <a:sym typeface="+mn-lt"/>
            </a:endParaRPr>
          </a:p>
        </p:txBody>
      </p:sp>
      <p:sp>
        <p:nvSpPr>
          <p:cNvPr id="32" name="Oval 42">
            <a:extLst>
              <a:ext uri="{FF2B5EF4-FFF2-40B4-BE49-F238E27FC236}">
                <a16:creationId xmlns:a16="http://schemas.microsoft.com/office/drawing/2014/main" id="{1CB29215-0C6F-4DB9-BB05-751C1BA9902E}"/>
              </a:ext>
            </a:extLst>
          </p:cNvPr>
          <p:cNvSpPr>
            <a:spLocks noChangeArrowheads="1"/>
          </p:cNvSpPr>
          <p:nvPr/>
        </p:nvSpPr>
        <p:spPr bwMode="auto">
          <a:xfrm>
            <a:off x="1443019" y="3539223"/>
            <a:ext cx="153988" cy="108198"/>
          </a:xfrm>
          <a:prstGeom prst="ellipse">
            <a:avLst/>
          </a:prstGeom>
          <a:solidFill>
            <a:schemeClr val="tx2"/>
          </a:solidFill>
          <a:ln w="57150">
            <a:solidFill>
              <a:schemeClr val="accent1">
                <a:lumMod val="100000"/>
              </a:schemeClr>
            </a:solidFill>
            <a:miter lim="400000"/>
            <a:headEnd/>
            <a:tailEnd/>
          </a:ln>
        </p:spPr>
        <p:txBody>
          <a:bodyPr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altLang="en-US" sz="500" b="0" i="0" u="none" strike="noStrike" kern="1200" cap="none" spc="0" normalizeH="0" baseline="0" noProof="0">
              <a:ln>
                <a:noFill/>
              </a:ln>
              <a:solidFill>
                <a:srgbClr val="000000"/>
              </a:solidFill>
              <a:effectLst/>
              <a:uLnTx/>
              <a:uFillTx/>
              <a:latin typeface="Arial"/>
              <a:cs typeface="+mn-ea"/>
              <a:sym typeface="+mn-lt"/>
            </a:endParaRPr>
          </a:p>
        </p:txBody>
      </p:sp>
      <p:sp>
        <p:nvSpPr>
          <p:cNvPr id="33" name="Oval 43">
            <a:extLst>
              <a:ext uri="{FF2B5EF4-FFF2-40B4-BE49-F238E27FC236}">
                <a16:creationId xmlns:a16="http://schemas.microsoft.com/office/drawing/2014/main" id="{F74CA759-9290-45C9-BC71-34378B71EB43}"/>
              </a:ext>
            </a:extLst>
          </p:cNvPr>
          <p:cNvSpPr>
            <a:spLocks noChangeArrowheads="1"/>
          </p:cNvSpPr>
          <p:nvPr/>
        </p:nvSpPr>
        <p:spPr bwMode="auto">
          <a:xfrm>
            <a:off x="9787713" y="3539223"/>
            <a:ext cx="153988" cy="108198"/>
          </a:xfrm>
          <a:prstGeom prst="ellipse">
            <a:avLst/>
          </a:prstGeom>
          <a:solidFill>
            <a:schemeClr val="tx2"/>
          </a:solidFill>
          <a:ln w="57150">
            <a:solidFill>
              <a:schemeClr val="accent1">
                <a:lumMod val="100000"/>
              </a:schemeClr>
            </a:solidFill>
            <a:miter lim="400000"/>
            <a:headEnd/>
            <a:tailEnd/>
          </a:ln>
        </p:spPr>
        <p:txBody>
          <a:bodyPr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altLang="en-US" sz="500" b="0" i="0" u="none" strike="noStrike" kern="1200" cap="none" spc="0" normalizeH="0" baseline="0" noProof="0">
              <a:ln>
                <a:noFill/>
              </a:ln>
              <a:solidFill>
                <a:srgbClr val="000000"/>
              </a:solidFill>
              <a:effectLst/>
              <a:uLnTx/>
              <a:uFillTx/>
              <a:latin typeface="Arial"/>
              <a:cs typeface="+mn-ea"/>
              <a:sym typeface="+mn-lt"/>
            </a:endParaRPr>
          </a:p>
        </p:txBody>
      </p:sp>
      <p:sp>
        <p:nvSpPr>
          <p:cNvPr id="34" name="Oval 44">
            <a:extLst>
              <a:ext uri="{FF2B5EF4-FFF2-40B4-BE49-F238E27FC236}">
                <a16:creationId xmlns:a16="http://schemas.microsoft.com/office/drawing/2014/main" id="{1266486D-4D56-4F00-B302-2FB95016F0C4}"/>
              </a:ext>
            </a:extLst>
          </p:cNvPr>
          <p:cNvSpPr>
            <a:spLocks noChangeArrowheads="1"/>
          </p:cNvSpPr>
          <p:nvPr/>
        </p:nvSpPr>
        <p:spPr bwMode="auto">
          <a:xfrm>
            <a:off x="2277250" y="3539223"/>
            <a:ext cx="153988" cy="108198"/>
          </a:xfrm>
          <a:prstGeom prst="ellipse">
            <a:avLst/>
          </a:prstGeom>
          <a:solidFill>
            <a:schemeClr val="tx2"/>
          </a:solidFill>
          <a:ln w="57150">
            <a:solidFill>
              <a:schemeClr val="accent1">
                <a:lumMod val="100000"/>
              </a:schemeClr>
            </a:solidFill>
            <a:miter lim="400000"/>
            <a:headEnd/>
            <a:tailEnd/>
          </a:ln>
        </p:spPr>
        <p:txBody>
          <a:bodyPr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altLang="en-US" sz="500" b="0" i="0" u="none" strike="noStrike" kern="1200" cap="none" spc="0" normalizeH="0" baseline="0" noProof="0">
              <a:ln>
                <a:noFill/>
              </a:ln>
              <a:solidFill>
                <a:srgbClr val="000000"/>
              </a:solidFill>
              <a:effectLst/>
              <a:uLnTx/>
              <a:uFillTx/>
              <a:latin typeface="Arial"/>
              <a:cs typeface="+mn-ea"/>
              <a:sym typeface="+mn-lt"/>
            </a:endParaRPr>
          </a:p>
        </p:txBody>
      </p:sp>
      <p:sp>
        <p:nvSpPr>
          <p:cNvPr id="35" name="Oval 45">
            <a:extLst>
              <a:ext uri="{FF2B5EF4-FFF2-40B4-BE49-F238E27FC236}">
                <a16:creationId xmlns:a16="http://schemas.microsoft.com/office/drawing/2014/main" id="{D8EC9B34-3BDE-4DDA-B0F1-5392A237C0D4}"/>
              </a:ext>
            </a:extLst>
          </p:cNvPr>
          <p:cNvSpPr>
            <a:spLocks noChangeArrowheads="1"/>
          </p:cNvSpPr>
          <p:nvPr/>
        </p:nvSpPr>
        <p:spPr bwMode="auto">
          <a:xfrm>
            <a:off x="3111481" y="3539223"/>
            <a:ext cx="154782" cy="108198"/>
          </a:xfrm>
          <a:prstGeom prst="ellipse">
            <a:avLst/>
          </a:prstGeom>
          <a:solidFill>
            <a:schemeClr val="tx2"/>
          </a:solidFill>
          <a:ln w="57150">
            <a:solidFill>
              <a:schemeClr val="accent1">
                <a:lumMod val="100000"/>
              </a:schemeClr>
            </a:solidFill>
            <a:miter lim="400000"/>
            <a:headEnd/>
            <a:tailEnd/>
          </a:ln>
        </p:spPr>
        <p:txBody>
          <a:bodyPr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altLang="en-US" sz="500" b="0" i="0" u="none" strike="noStrike" kern="1200" cap="none" spc="0" normalizeH="0" baseline="0" noProof="0">
              <a:ln>
                <a:noFill/>
              </a:ln>
              <a:solidFill>
                <a:srgbClr val="000000"/>
              </a:solidFill>
              <a:effectLst/>
              <a:uLnTx/>
              <a:uFillTx/>
              <a:latin typeface="Arial"/>
              <a:cs typeface="+mn-ea"/>
              <a:sym typeface="+mn-lt"/>
            </a:endParaRPr>
          </a:p>
        </p:txBody>
      </p:sp>
      <p:sp>
        <p:nvSpPr>
          <p:cNvPr id="36" name="Oval 46">
            <a:extLst>
              <a:ext uri="{FF2B5EF4-FFF2-40B4-BE49-F238E27FC236}">
                <a16:creationId xmlns:a16="http://schemas.microsoft.com/office/drawing/2014/main" id="{6F3157F5-F620-4304-9EE6-FC0E26EB1179}"/>
              </a:ext>
            </a:extLst>
          </p:cNvPr>
          <p:cNvSpPr>
            <a:spLocks noChangeArrowheads="1"/>
          </p:cNvSpPr>
          <p:nvPr/>
        </p:nvSpPr>
        <p:spPr bwMode="auto">
          <a:xfrm>
            <a:off x="3946506" y="3539223"/>
            <a:ext cx="153988" cy="108198"/>
          </a:xfrm>
          <a:prstGeom prst="ellipse">
            <a:avLst/>
          </a:prstGeom>
          <a:solidFill>
            <a:schemeClr val="tx2"/>
          </a:solidFill>
          <a:ln w="57150">
            <a:solidFill>
              <a:schemeClr val="accent1">
                <a:lumMod val="100000"/>
              </a:schemeClr>
            </a:solidFill>
            <a:miter lim="400000"/>
            <a:headEnd/>
            <a:tailEnd/>
          </a:ln>
        </p:spPr>
        <p:txBody>
          <a:bodyPr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altLang="en-US" sz="500" b="0" i="0" u="none" strike="noStrike" kern="1200" cap="none" spc="0" normalizeH="0" baseline="0" noProof="0">
              <a:ln>
                <a:noFill/>
              </a:ln>
              <a:solidFill>
                <a:srgbClr val="000000"/>
              </a:solidFill>
              <a:effectLst/>
              <a:uLnTx/>
              <a:uFillTx/>
              <a:latin typeface="Arial"/>
              <a:cs typeface="+mn-ea"/>
              <a:sym typeface="+mn-lt"/>
            </a:endParaRPr>
          </a:p>
        </p:txBody>
      </p:sp>
      <p:sp>
        <p:nvSpPr>
          <p:cNvPr id="37" name="Oval 49">
            <a:extLst>
              <a:ext uri="{FF2B5EF4-FFF2-40B4-BE49-F238E27FC236}">
                <a16:creationId xmlns:a16="http://schemas.microsoft.com/office/drawing/2014/main" id="{B915F12E-B908-4CC2-A5D7-8959C2E4CD5D}"/>
              </a:ext>
            </a:extLst>
          </p:cNvPr>
          <p:cNvSpPr>
            <a:spLocks noChangeArrowheads="1"/>
          </p:cNvSpPr>
          <p:nvPr/>
        </p:nvSpPr>
        <p:spPr bwMode="auto">
          <a:xfrm>
            <a:off x="8953481" y="3539223"/>
            <a:ext cx="153988" cy="108198"/>
          </a:xfrm>
          <a:prstGeom prst="ellipse">
            <a:avLst/>
          </a:prstGeom>
          <a:solidFill>
            <a:schemeClr val="tx2"/>
          </a:solidFill>
          <a:ln w="57150">
            <a:solidFill>
              <a:schemeClr val="accent1">
                <a:lumMod val="100000"/>
              </a:schemeClr>
            </a:solidFill>
            <a:miter lim="400000"/>
            <a:headEnd/>
            <a:tailEnd/>
          </a:ln>
        </p:spPr>
        <p:txBody>
          <a:bodyPr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altLang="en-US" sz="500" b="0" i="0" u="none" strike="noStrike" kern="1200" cap="none" spc="0" normalizeH="0" baseline="0" noProof="0">
              <a:ln>
                <a:noFill/>
              </a:ln>
              <a:solidFill>
                <a:srgbClr val="000000"/>
              </a:solidFill>
              <a:effectLst/>
              <a:uLnTx/>
              <a:uFillTx/>
              <a:latin typeface="Arial"/>
              <a:cs typeface="+mn-ea"/>
              <a:sym typeface="+mn-lt"/>
            </a:endParaRPr>
          </a:p>
        </p:txBody>
      </p:sp>
      <p:sp>
        <p:nvSpPr>
          <p:cNvPr id="38" name="Oval 50">
            <a:extLst>
              <a:ext uri="{FF2B5EF4-FFF2-40B4-BE49-F238E27FC236}">
                <a16:creationId xmlns:a16="http://schemas.microsoft.com/office/drawing/2014/main" id="{9BCF0990-B78C-4435-9E0D-CA5320EE1B5C}"/>
              </a:ext>
            </a:extLst>
          </p:cNvPr>
          <p:cNvSpPr>
            <a:spLocks noChangeArrowheads="1"/>
          </p:cNvSpPr>
          <p:nvPr/>
        </p:nvSpPr>
        <p:spPr bwMode="auto">
          <a:xfrm>
            <a:off x="5614969" y="3539223"/>
            <a:ext cx="154782" cy="108198"/>
          </a:xfrm>
          <a:prstGeom prst="ellipse">
            <a:avLst/>
          </a:prstGeom>
          <a:solidFill>
            <a:schemeClr val="tx2"/>
          </a:solidFill>
          <a:ln w="57150">
            <a:solidFill>
              <a:schemeClr val="accent1">
                <a:lumMod val="100000"/>
              </a:schemeClr>
            </a:solidFill>
            <a:miter lim="400000"/>
            <a:headEnd/>
            <a:tailEnd/>
          </a:ln>
        </p:spPr>
        <p:txBody>
          <a:bodyPr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altLang="en-US" sz="500" b="0" i="0" u="none" strike="noStrike" kern="1200" cap="none" spc="0" normalizeH="0" baseline="0" noProof="0">
              <a:ln>
                <a:noFill/>
              </a:ln>
              <a:solidFill>
                <a:srgbClr val="000000"/>
              </a:solidFill>
              <a:effectLst/>
              <a:uLnTx/>
              <a:uFillTx/>
              <a:latin typeface="Arial"/>
              <a:cs typeface="+mn-ea"/>
              <a:sym typeface="+mn-lt"/>
            </a:endParaRPr>
          </a:p>
        </p:txBody>
      </p:sp>
      <p:sp>
        <p:nvSpPr>
          <p:cNvPr id="39" name="Oval 51">
            <a:extLst>
              <a:ext uri="{FF2B5EF4-FFF2-40B4-BE49-F238E27FC236}">
                <a16:creationId xmlns:a16="http://schemas.microsoft.com/office/drawing/2014/main" id="{07893AF1-B19E-4B21-8848-843016CF46C0}"/>
              </a:ext>
            </a:extLst>
          </p:cNvPr>
          <p:cNvSpPr>
            <a:spLocks noChangeArrowheads="1"/>
          </p:cNvSpPr>
          <p:nvPr/>
        </p:nvSpPr>
        <p:spPr bwMode="auto">
          <a:xfrm>
            <a:off x="8118456" y="3539223"/>
            <a:ext cx="154782" cy="108198"/>
          </a:xfrm>
          <a:prstGeom prst="ellipse">
            <a:avLst/>
          </a:prstGeom>
          <a:solidFill>
            <a:schemeClr val="tx2"/>
          </a:solidFill>
          <a:ln w="57150">
            <a:solidFill>
              <a:schemeClr val="accent1">
                <a:lumMod val="100000"/>
              </a:schemeClr>
            </a:solidFill>
            <a:miter lim="400000"/>
            <a:headEnd/>
            <a:tailEnd/>
          </a:ln>
        </p:spPr>
        <p:txBody>
          <a:bodyPr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altLang="en-US" sz="500" b="0" i="0" u="none" strike="noStrike" kern="1200" cap="none" spc="0" normalizeH="0" baseline="0" noProof="0">
              <a:ln>
                <a:noFill/>
              </a:ln>
              <a:solidFill>
                <a:srgbClr val="000000"/>
              </a:solidFill>
              <a:effectLst/>
              <a:uLnTx/>
              <a:uFillTx/>
              <a:latin typeface="Arial"/>
              <a:cs typeface="+mn-ea"/>
              <a:sym typeface="+mn-lt"/>
            </a:endParaRPr>
          </a:p>
        </p:txBody>
      </p:sp>
      <p:sp>
        <p:nvSpPr>
          <p:cNvPr id="40" name="Oval 52">
            <a:extLst>
              <a:ext uri="{FF2B5EF4-FFF2-40B4-BE49-F238E27FC236}">
                <a16:creationId xmlns:a16="http://schemas.microsoft.com/office/drawing/2014/main" id="{4F957CDE-EBBB-4D78-9164-56AE1718EC78}"/>
              </a:ext>
            </a:extLst>
          </p:cNvPr>
          <p:cNvSpPr>
            <a:spLocks noChangeArrowheads="1"/>
          </p:cNvSpPr>
          <p:nvPr/>
        </p:nvSpPr>
        <p:spPr bwMode="auto">
          <a:xfrm>
            <a:off x="7284225" y="3539223"/>
            <a:ext cx="153988" cy="108198"/>
          </a:xfrm>
          <a:prstGeom prst="ellipse">
            <a:avLst/>
          </a:prstGeom>
          <a:solidFill>
            <a:schemeClr val="tx2"/>
          </a:solidFill>
          <a:ln w="57150">
            <a:solidFill>
              <a:schemeClr val="accent1">
                <a:lumMod val="100000"/>
              </a:schemeClr>
            </a:solidFill>
            <a:miter lim="400000"/>
            <a:headEnd/>
            <a:tailEnd/>
          </a:ln>
        </p:spPr>
        <p:txBody>
          <a:bodyPr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altLang="en-US" sz="500" b="0" i="0" u="none" strike="noStrike" kern="1200" cap="none" spc="0" normalizeH="0" baseline="0" noProof="0">
              <a:ln>
                <a:noFill/>
              </a:ln>
              <a:solidFill>
                <a:srgbClr val="000000"/>
              </a:solidFill>
              <a:effectLst/>
              <a:uLnTx/>
              <a:uFillTx/>
              <a:latin typeface="Arial"/>
              <a:cs typeface="+mn-ea"/>
              <a:sym typeface="+mn-lt"/>
            </a:endParaRPr>
          </a:p>
        </p:txBody>
      </p:sp>
      <p:sp>
        <p:nvSpPr>
          <p:cNvPr id="41" name="Oval 53">
            <a:extLst>
              <a:ext uri="{FF2B5EF4-FFF2-40B4-BE49-F238E27FC236}">
                <a16:creationId xmlns:a16="http://schemas.microsoft.com/office/drawing/2014/main" id="{1591817B-D5AA-4B19-B3BE-6CF94C05D237}"/>
              </a:ext>
            </a:extLst>
          </p:cNvPr>
          <p:cNvSpPr>
            <a:spLocks noChangeArrowheads="1"/>
          </p:cNvSpPr>
          <p:nvPr/>
        </p:nvSpPr>
        <p:spPr bwMode="auto">
          <a:xfrm>
            <a:off x="6449994" y="3539223"/>
            <a:ext cx="153988" cy="108198"/>
          </a:xfrm>
          <a:prstGeom prst="ellipse">
            <a:avLst/>
          </a:prstGeom>
          <a:solidFill>
            <a:schemeClr val="tx2"/>
          </a:solidFill>
          <a:ln w="57150">
            <a:solidFill>
              <a:schemeClr val="accent1">
                <a:lumMod val="100000"/>
              </a:schemeClr>
            </a:solidFill>
            <a:miter lim="400000"/>
            <a:headEnd/>
            <a:tailEnd/>
          </a:ln>
        </p:spPr>
        <p:txBody>
          <a:bodyPr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altLang="en-US" sz="500" b="0" i="0" u="none" strike="noStrike" kern="1200" cap="none" spc="0" normalizeH="0" baseline="0" noProof="0">
              <a:ln>
                <a:noFill/>
              </a:ln>
              <a:solidFill>
                <a:srgbClr val="000000"/>
              </a:solidFill>
              <a:effectLst/>
              <a:uLnTx/>
              <a:uFillTx/>
              <a:latin typeface="Arial"/>
              <a:cs typeface="+mn-ea"/>
              <a:sym typeface="+mn-lt"/>
            </a:endParaRPr>
          </a:p>
        </p:txBody>
      </p:sp>
      <p:sp>
        <p:nvSpPr>
          <p:cNvPr id="42" name="Oval 54">
            <a:extLst>
              <a:ext uri="{FF2B5EF4-FFF2-40B4-BE49-F238E27FC236}">
                <a16:creationId xmlns:a16="http://schemas.microsoft.com/office/drawing/2014/main" id="{8C2BE19A-AE29-4C08-8837-F39F29AF0EC7}"/>
              </a:ext>
            </a:extLst>
          </p:cNvPr>
          <p:cNvSpPr>
            <a:spLocks noChangeArrowheads="1"/>
          </p:cNvSpPr>
          <p:nvPr/>
        </p:nvSpPr>
        <p:spPr bwMode="auto">
          <a:xfrm>
            <a:off x="4780738" y="3539223"/>
            <a:ext cx="153988" cy="108198"/>
          </a:xfrm>
          <a:prstGeom prst="ellipse">
            <a:avLst/>
          </a:prstGeom>
          <a:solidFill>
            <a:schemeClr val="tx2"/>
          </a:solidFill>
          <a:ln w="57150">
            <a:solidFill>
              <a:schemeClr val="accent1">
                <a:lumMod val="100000"/>
              </a:schemeClr>
            </a:solidFill>
            <a:miter lim="400000"/>
            <a:headEnd/>
            <a:tailEnd/>
          </a:ln>
        </p:spPr>
        <p:txBody>
          <a:bodyPr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altLang="en-US" sz="500" b="0" i="0" u="none" strike="noStrike" kern="1200" cap="none" spc="0" normalizeH="0" baseline="0" noProof="0">
              <a:ln>
                <a:noFill/>
              </a:ln>
              <a:solidFill>
                <a:srgbClr val="000000"/>
              </a:solidFill>
              <a:effectLst/>
              <a:uLnTx/>
              <a:uFillTx/>
              <a:latin typeface="Arial"/>
              <a:cs typeface="+mn-ea"/>
              <a:sym typeface="+mn-lt"/>
            </a:endParaRPr>
          </a:p>
        </p:txBody>
      </p:sp>
      <p:sp>
        <p:nvSpPr>
          <p:cNvPr id="43" name="Oval 66">
            <a:extLst>
              <a:ext uri="{FF2B5EF4-FFF2-40B4-BE49-F238E27FC236}">
                <a16:creationId xmlns:a16="http://schemas.microsoft.com/office/drawing/2014/main" id="{1A34CE5F-C606-40C8-AB4B-C1664090322C}"/>
              </a:ext>
            </a:extLst>
          </p:cNvPr>
          <p:cNvSpPr>
            <a:spLocks noChangeArrowheads="1"/>
          </p:cNvSpPr>
          <p:nvPr/>
        </p:nvSpPr>
        <p:spPr bwMode="auto">
          <a:xfrm>
            <a:off x="5365194" y="2174040"/>
            <a:ext cx="154159" cy="108198"/>
          </a:xfrm>
          <a:prstGeom prst="ellipse">
            <a:avLst/>
          </a:prstGeom>
          <a:solidFill>
            <a:schemeClr val="tx1"/>
          </a:solidFill>
          <a:ln w="57150">
            <a:solidFill>
              <a:schemeClr val="accent1">
                <a:lumMod val="100000"/>
              </a:schemeClr>
            </a:solidFill>
            <a:miter lim="400000"/>
            <a:headEnd/>
            <a:tailEnd/>
          </a:ln>
        </p:spPr>
        <p:txBody>
          <a:bodyPr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altLang="en-US" sz="500" b="0" i="0" u="none" strike="noStrike" kern="1200" cap="none" spc="0" normalizeH="0" baseline="0" noProof="0">
              <a:ln>
                <a:noFill/>
              </a:ln>
              <a:solidFill>
                <a:srgbClr val="000000"/>
              </a:solidFill>
              <a:effectLst/>
              <a:uLnTx/>
              <a:uFillTx/>
              <a:latin typeface="Arial"/>
              <a:cs typeface="+mn-ea"/>
              <a:sym typeface="+mn-lt"/>
            </a:endParaRPr>
          </a:p>
        </p:txBody>
      </p:sp>
      <p:sp>
        <p:nvSpPr>
          <p:cNvPr id="44" name="Oval 66">
            <a:extLst>
              <a:ext uri="{FF2B5EF4-FFF2-40B4-BE49-F238E27FC236}">
                <a16:creationId xmlns:a16="http://schemas.microsoft.com/office/drawing/2014/main" id="{5C2DC9BC-CBF0-43D3-8CFB-3CA761F7A7E4}"/>
              </a:ext>
            </a:extLst>
          </p:cNvPr>
          <p:cNvSpPr>
            <a:spLocks noChangeArrowheads="1"/>
          </p:cNvSpPr>
          <p:nvPr/>
        </p:nvSpPr>
        <p:spPr bwMode="auto">
          <a:xfrm>
            <a:off x="5907596" y="2856675"/>
            <a:ext cx="154159" cy="108198"/>
          </a:xfrm>
          <a:prstGeom prst="ellipse">
            <a:avLst/>
          </a:prstGeom>
          <a:solidFill>
            <a:schemeClr val="tx1"/>
          </a:solidFill>
          <a:ln w="57150">
            <a:solidFill>
              <a:schemeClr val="accent1">
                <a:lumMod val="100000"/>
              </a:schemeClr>
            </a:solidFill>
            <a:miter lim="400000"/>
            <a:headEnd/>
            <a:tailEnd/>
          </a:ln>
        </p:spPr>
        <p:txBody>
          <a:bodyPr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altLang="en-US" sz="500" b="0" i="0" u="none" strike="noStrike" kern="1200" cap="none" spc="0" normalizeH="0" baseline="0" noProof="0">
              <a:ln>
                <a:noFill/>
              </a:ln>
              <a:solidFill>
                <a:srgbClr val="000000"/>
              </a:solidFill>
              <a:effectLst/>
              <a:uLnTx/>
              <a:uFillTx/>
              <a:latin typeface="Arial"/>
              <a:cs typeface="+mn-ea"/>
              <a:sym typeface="+mn-lt"/>
            </a:endParaRPr>
          </a:p>
        </p:txBody>
      </p:sp>
      <p:sp>
        <p:nvSpPr>
          <p:cNvPr id="45" name="Oval 66">
            <a:extLst>
              <a:ext uri="{FF2B5EF4-FFF2-40B4-BE49-F238E27FC236}">
                <a16:creationId xmlns:a16="http://schemas.microsoft.com/office/drawing/2014/main" id="{C0EDB932-9308-4716-97AD-4CF7A7EF611D}"/>
              </a:ext>
            </a:extLst>
          </p:cNvPr>
          <p:cNvSpPr>
            <a:spLocks noChangeArrowheads="1"/>
          </p:cNvSpPr>
          <p:nvPr/>
        </p:nvSpPr>
        <p:spPr bwMode="auto">
          <a:xfrm>
            <a:off x="5364860" y="4905644"/>
            <a:ext cx="154782" cy="108198"/>
          </a:xfrm>
          <a:prstGeom prst="ellipse">
            <a:avLst/>
          </a:prstGeom>
          <a:solidFill>
            <a:schemeClr val="tx1"/>
          </a:solidFill>
          <a:ln w="57150">
            <a:solidFill>
              <a:schemeClr val="accent1">
                <a:lumMod val="100000"/>
              </a:schemeClr>
            </a:solidFill>
            <a:miter lim="400000"/>
            <a:headEnd/>
            <a:tailEnd/>
          </a:ln>
        </p:spPr>
        <p:txBody>
          <a:bodyPr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altLang="en-US" sz="500" b="0" i="0" u="none" strike="noStrike" kern="1200" cap="none" spc="0" normalizeH="0" baseline="0" noProof="0">
              <a:ln>
                <a:noFill/>
              </a:ln>
              <a:solidFill>
                <a:srgbClr val="000000"/>
              </a:solidFill>
              <a:effectLst/>
              <a:uLnTx/>
              <a:uFillTx/>
              <a:latin typeface="Arial"/>
              <a:cs typeface="+mn-ea"/>
              <a:sym typeface="+mn-lt"/>
            </a:endParaRPr>
          </a:p>
        </p:txBody>
      </p:sp>
      <p:sp>
        <p:nvSpPr>
          <p:cNvPr id="46" name="Oval 66">
            <a:extLst>
              <a:ext uri="{FF2B5EF4-FFF2-40B4-BE49-F238E27FC236}">
                <a16:creationId xmlns:a16="http://schemas.microsoft.com/office/drawing/2014/main" id="{A91EA5A3-D2EC-4A3F-A780-A17BB8A749C9}"/>
              </a:ext>
            </a:extLst>
          </p:cNvPr>
          <p:cNvSpPr>
            <a:spLocks noChangeArrowheads="1"/>
          </p:cNvSpPr>
          <p:nvPr/>
        </p:nvSpPr>
        <p:spPr bwMode="auto">
          <a:xfrm>
            <a:off x="5907254" y="4227791"/>
            <a:ext cx="154782" cy="108198"/>
          </a:xfrm>
          <a:prstGeom prst="ellipse">
            <a:avLst/>
          </a:prstGeom>
          <a:solidFill>
            <a:schemeClr val="tx1"/>
          </a:solidFill>
          <a:ln w="57150">
            <a:solidFill>
              <a:schemeClr val="accent1">
                <a:lumMod val="100000"/>
              </a:schemeClr>
            </a:solidFill>
            <a:miter lim="400000"/>
            <a:headEnd/>
            <a:tailEnd/>
          </a:ln>
        </p:spPr>
        <p:txBody>
          <a:bodyPr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altLang="en-US" sz="500" b="0" i="0" u="none" strike="noStrike" kern="1200" cap="none" spc="0" normalizeH="0" baseline="0" noProof="0">
              <a:ln>
                <a:noFill/>
              </a:ln>
              <a:solidFill>
                <a:srgbClr val="000000"/>
              </a:solidFill>
              <a:effectLst/>
              <a:uLnTx/>
              <a:uFillTx/>
              <a:latin typeface="Arial"/>
              <a:cs typeface="+mn-ea"/>
              <a:sym typeface="+mn-lt"/>
            </a:endParaRPr>
          </a:p>
        </p:txBody>
      </p:sp>
      <p:sp>
        <p:nvSpPr>
          <p:cNvPr id="5" name="Треугольник 15">
            <a:extLst>
              <a:ext uri="{FF2B5EF4-FFF2-40B4-BE49-F238E27FC236}">
                <a16:creationId xmlns:a16="http://schemas.microsoft.com/office/drawing/2014/main" id="{EE02DB86-5A00-4E24-8023-A5F528FBBF1A}"/>
              </a:ext>
            </a:extLst>
          </p:cNvPr>
          <p:cNvSpPr/>
          <p:nvPr/>
        </p:nvSpPr>
        <p:spPr bwMode="auto">
          <a:xfrm rot="5400000">
            <a:off x="626638" y="3279640"/>
            <a:ext cx="307233" cy="626671"/>
          </a:xfrm>
          <a:prstGeom prst="triangle">
            <a:avLst/>
          </a:prstGeom>
          <a:solidFill>
            <a:schemeClr val="accent1">
              <a:lumMod val="100000"/>
            </a:schemeClr>
          </a:solidFill>
          <a:ln w="12700" cap="flat" cmpd="sng" algn="ctr">
            <a:noFill/>
            <a:prstDash val="solid"/>
            <a:miter lim="400000"/>
            <a:headEnd type="none" w="med" len="med"/>
            <a:tailEnd type="none" w="med" len="med"/>
          </a:ln>
          <a:effectLst/>
        </p:spPr>
        <p:txBody>
          <a:bodyPr vert="horz" wrap="square" lIns="19050" tIns="19050" rIns="19050" bIns="19050" numCol="1" rtlCol="0" anchor="ctr"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Arial"/>
              <a:cs typeface="+mn-ea"/>
              <a:sym typeface="+mn-lt"/>
            </a:endParaRPr>
          </a:p>
        </p:txBody>
      </p:sp>
      <p:sp>
        <p:nvSpPr>
          <p:cNvPr id="6" name="Треугольник 277">
            <a:extLst>
              <a:ext uri="{FF2B5EF4-FFF2-40B4-BE49-F238E27FC236}">
                <a16:creationId xmlns:a16="http://schemas.microsoft.com/office/drawing/2014/main" id="{232DE7DB-D3C5-4F37-9872-86B57A3C1871}"/>
              </a:ext>
            </a:extLst>
          </p:cNvPr>
          <p:cNvSpPr/>
          <p:nvPr/>
        </p:nvSpPr>
        <p:spPr bwMode="auto">
          <a:xfrm rot="5400000">
            <a:off x="10653055" y="3274324"/>
            <a:ext cx="307233" cy="626671"/>
          </a:xfrm>
          <a:prstGeom prst="triangle">
            <a:avLst/>
          </a:prstGeom>
          <a:solidFill>
            <a:schemeClr val="accent1">
              <a:lumMod val="100000"/>
            </a:schemeClr>
          </a:solidFill>
          <a:ln w="12700" cap="flat" cmpd="sng" algn="ctr">
            <a:noFill/>
            <a:prstDash val="solid"/>
            <a:miter lim="400000"/>
            <a:headEnd type="none" w="med" len="med"/>
            <a:tailEnd type="none" w="med" len="med"/>
          </a:ln>
          <a:effectLst/>
        </p:spPr>
        <p:txBody>
          <a:bodyPr vert="horz" wrap="square" lIns="19050" tIns="19050" rIns="19050" bIns="19050" numCol="1" rtlCol="0" anchor="ctr"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Arial"/>
              <a:cs typeface="+mn-ea"/>
              <a:sym typeface="+mn-lt"/>
            </a:endParaRPr>
          </a:p>
        </p:txBody>
      </p:sp>
    </p:spTree>
    <p:extLst>
      <p:ext uri="{BB962C8B-B14F-4D97-AF65-F5344CB8AC3E}">
        <p14:creationId xmlns:p14="http://schemas.microsoft.com/office/powerpoint/2010/main" val="4162600910"/>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7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Группа 7">
            <a:extLst>
              <a:ext uri="{FF2B5EF4-FFF2-40B4-BE49-F238E27FC236}">
                <a16:creationId xmlns:a16="http://schemas.microsoft.com/office/drawing/2014/main" id="{2B890A74-F824-4D34-A1A1-F7B125B1A82D}"/>
              </a:ext>
            </a:extLst>
          </p:cNvPr>
          <p:cNvGrpSpPr/>
          <p:nvPr/>
        </p:nvGrpSpPr>
        <p:grpSpPr>
          <a:xfrm>
            <a:off x="2107966" y="533647"/>
            <a:ext cx="10267600" cy="6135713"/>
            <a:chOff x="4507923" y="2229085"/>
            <a:chExt cx="16687451" cy="9972087"/>
          </a:xfrm>
        </p:grpSpPr>
        <p:grpSp>
          <p:nvGrpSpPr>
            <p:cNvPr id="72" name="Группа 6">
              <a:extLst>
                <a:ext uri="{FF2B5EF4-FFF2-40B4-BE49-F238E27FC236}">
                  <a16:creationId xmlns:a16="http://schemas.microsoft.com/office/drawing/2014/main" id="{DBB691CD-9730-460C-B423-497267C7F81C}"/>
                </a:ext>
              </a:extLst>
            </p:cNvPr>
            <p:cNvGrpSpPr/>
            <p:nvPr/>
          </p:nvGrpSpPr>
          <p:grpSpPr>
            <a:xfrm>
              <a:off x="4507923" y="2651128"/>
              <a:ext cx="14278331" cy="9550044"/>
              <a:chOff x="4507923" y="2651128"/>
              <a:chExt cx="14278331" cy="9550044"/>
            </a:xfrm>
          </p:grpSpPr>
          <p:sp>
            <p:nvSpPr>
              <p:cNvPr id="80" name="Фигура">
                <a:extLst>
                  <a:ext uri="{FF2B5EF4-FFF2-40B4-BE49-F238E27FC236}">
                    <a16:creationId xmlns:a16="http://schemas.microsoft.com/office/drawing/2014/main" id="{96D3EC0E-2067-4822-97F4-FEF22EEDA701}"/>
                  </a:ext>
                </a:extLst>
              </p:cNvPr>
              <p:cNvSpPr/>
              <p:nvPr/>
            </p:nvSpPr>
            <p:spPr>
              <a:xfrm>
                <a:off x="4507923" y="2651128"/>
                <a:ext cx="14278331" cy="9550044"/>
              </a:xfrm>
              <a:custGeom>
                <a:avLst/>
                <a:gdLst/>
                <a:ahLst/>
                <a:cxnLst>
                  <a:cxn ang="0">
                    <a:pos x="wd2" y="hd2"/>
                  </a:cxn>
                  <a:cxn ang="5400000">
                    <a:pos x="wd2" y="hd2"/>
                  </a:cxn>
                  <a:cxn ang="10800000">
                    <a:pos x="wd2" y="hd2"/>
                  </a:cxn>
                  <a:cxn ang="16200000">
                    <a:pos x="wd2" y="hd2"/>
                  </a:cxn>
                </a:cxnLst>
                <a:rect l="0" t="0" r="r" b="b"/>
                <a:pathLst>
                  <a:path w="21591" h="21572" extrusionOk="0">
                    <a:moveTo>
                      <a:pt x="2674" y="10689"/>
                    </a:moveTo>
                    <a:cubicBezTo>
                      <a:pt x="2256" y="10130"/>
                      <a:pt x="1927" y="9441"/>
                      <a:pt x="1708" y="8671"/>
                    </a:cubicBezTo>
                    <a:cubicBezTo>
                      <a:pt x="1403" y="7593"/>
                      <a:pt x="1328" y="6401"/>
                      <a:pt x="1033" y="5316"/>
                    </a:cubicBezTo>
                    <a:cubicBezTo>
                      <a:pt x="852" y="4652"/>
                      <a:pt x="592" y="4041"/>
                      <a:pt x="266" y="3515"/>
                    </a:cubicBezTo>
                    <a:cubicBezTo>
                      <a:pt x="1119" y="3379"/>
                      <a:pt x="1978" y="3678"/>
                      <a:pt x="2703" y="4361"/>
                    </a:cubicBezTo>
                    <a:cubicBezTo>
                      <a:pt x="3263" y="4889"/>
                      <a:pt x="3721" y="5627"/>
                      <a:pt x="4030" y="6501"/>
                    </a:cubicBezTo>
                    <a:cubicBezTo>
                      <a:pt x="4612" y="5491"/>
                      <a:pt x="5305" y="4636"/>
                      <a:pt x="6079" y="3975"/>
                    </a:cubicBezTo>
                    <a:cubicBezTo>
                      <a:pt x="6911" y="3264"/>
                      <a:pt x="7823" y="2788"/>
                      <a:pt x="8770" y="2569"/>
                    </a:cubicBezTo>
                    <a:cubicBezTo>
                      <a:pt x="8647" y="2230"/>
                      <a:pt x="8488" y="1922"/>
                      <a:pt x="8298" y="1659"/>
                    </a:cubicBezTo>
                    <a:cubicBezTo>
                      <a:pt x="8048" y="1311"/>
                      <a:pt x="7751" y="1048"/>
                      <a:pt x="7426" y="886"/>
                    </a:cubicBezTo>
                    <a:cubicBezTo>
                      <a:pt x="7826" y="723"/>
                      <a:pt x="8230" y="581"/>
                      <a:pt x="8636" y="461"/>
                    </a:cubicBezTo>
                    <a:cubicBezTo>
                      <a:pt x="9727" y="141"/>
                      <a:pt x="10875" y="-5"/>
                      <a:pt x="11973" y="0"/>
                    </a:cubicBezTo>
                    <a:cubicBezTo>
                      <a:pt x="12480" y="2"/>
                      <a:pt x="12984" y="40"/>
                      <a:pt x="13474" y="164"/>
                    </a:cubicBezTo>
                    <a:cubicBezTo>
                      <a:pt x="13902" y="273"/>
                      <a:pt x="14322" y="449"/>
                      <a:pt x="14723" y="775"/>
                    </a:cubicBezTo>
                    <a:cubicBezTo>
                      <a:pt x="15253" y="1205"/>
                      <a:pt x="15679" y="1875"/>
                      <a:pt x="15938" y="2689"/>
                    </a:cubicBezTo>
                    <a:cubicBezTo>
                      <a:pt x="16989" y="2991"/>
                      <a:pt x="17987" y="3617"/>
                      <a:pt x="18867" y="4527"/>
                    </a:cubicBezTo>
                    <a:cubicBezTo>
                      <a:pt x="19799" y="5490"/>
                      <a:pt x="20578" y="6749"/>
                      <a:pt x="21147" y="8214"/>
                    </a:cubicBezTo>
                    <a:cubicBezTo>
                      <a:pt x="21316" y="8102"/>
                      <a:pt x="21511" y="8253"/>
                      <a:pt x="21547" y="8524"/>
                    </a:cubicBezTo>
                    <a:cubicBezTo>
                      <a:pt x="21565" y="8656"/>
                      <a:pt x="21536" y="8791"/>
                      <a:pt x="21471" y="8884"/>
                    </a:cubicBezTo>
                    <a:cubicBezTo>
                      <a:pt x="21107" y="8966"/>
                      <a:pt x="20786" y="9211"/>
                      <a:pt x="20536" y="9562"/>
                    </a:cubicBezTo>
                    <a:cubicBezTo>
                      <a:pt x="20343" y="9832"/>
                      <a:pt x="20181" y="10182"/>
                      <a:pt x="20163" y="10611"/>
                    </a:cubicBezTo>
                    <a:cubicBezTo>
                      <a:pt x="20141" y="11094"/>
                      <a:pt x="20312" y="11514"/>
                      <a:pt x="20519" y="11847"/>
                    </a:cubicBezTo>
                    <a:cubicBezTo>
                      <a:pt x="20774" y="12257"/>
                      <a:pt x="21103" y="12572"/>
                      <a:pt x="21487" y="12739"/>
                    </a:cubicBezTo>
                    <a:cubicBezTo>
                      <a:pt x="21542" y="12767"/>
                      <a:pt x="21582" y="12840"/>
                      <a:pt x="21589" y="12927"/>
                    </a:cubicBezTo>
                    <a:cubicBezTo>
                      <a:pt x="21600" y="13057"/>
                      <a:pt x="21555" y="13161"/>
                      <a:pt x="21492" y="13216"/>
                    </a:cubicBezTo>
                    <a:cubicBezTo>
                      <a:pt x="21413" y="13287"/>
                      <a:pt x="21306" y="13281"/>
                      <a:pt x="21230" y="13164"/>
                    </a:cubicBezTo>
                    <a:cubicBezTo>
                      <a:pt x="20311" y="14874"/>
                      <a:pt x="19168" y="16287"/>
                      <a:pt x="17871" y="17314"/>
                    </a:cubicBezTo>
                    <a:cubicBezTo>
                      <a:pt x="16479" y="18417"/>
                      <a:pt x="14943" y="19051"/>
                      <a:pt x="13370" y="19172"/>
                    </a:cubicBezTo>
                    <a:cubicBezTo>
                      <a:pt x="13153" y="19752"/>
                      <a:pt x="12855" y="20257"/>
                      <a:pt x="12497" y="20651"/>
                    </a:cubicBezTo>
                    <a:cubicBezTo>
                      <a:pt x="11934" y="21272"/>
                      <a:pt x="11249" y="21595"/>
                      <a:pt x="10549" y="21570"/>
                    </a:cubicBezTo>
                    <a:cubicBezTo>
                      <a:pt x="10786" y="21235"/>
                      <a:pt x="10985" y="20843"/>
                      <a:pt x="11136" y="20411"/>
                    </a:cubicBezTo>
                    <a:cubicBezTo>
                      <a:pt x="11281" y="19999"/>
                      <a:pt x="11381" y="19555"/>
                      <a:pt x="11432" y="19096"/>
                    </a:cubicBezTo>
                    <a:cubicBezTo>
                      <a:pt x="10781" y="19046"/>
                      <a:pt x="10132" y="18931"/>
                      <a:pt x="9491" y="18753"/>
                    </a:cubicBezTo>
                    <a:cubicBezTo>
                      <a:pt x="8901" y="18589"/>
                      <a:pt x="8318" y="18372"/>
                      <a:pt x="7746" y="18103"/>
                    </a:cubicBezTo>
                    <a:cubicBezTo>
                      <a:pt x="7382" y="18528"/>
                      <a:pt x="6969" y="18853"/>
                      <a:pt x="6528" y="19061"/>
                    </a:cubicBezTo>
                    <a:cubicBezTo>
                      <a:pt x="6066" y="19280"/>
                      <a:pt x="5580" y="19366"/>
                      <a:pt x="5096" y="19317"/>
                    </a:cubicBezTo>
                    <a:cubicBezTo>
                      <a:pt x="5428" y="19133"/>
                      <a:pt x="5730" y="18844"/>
                      <a:pt x="5981" y="18471"/>
                    </a:cubicBezTo>
                    <a:cubicBezTo>
                      <a:pt x="6192" y="18157"/>
                      <a:pt x="6363" y="17790"/>
                      <a:pt x="6486" y="17386"/>
                    </a:cubicBezTo>
                    <a:cubicBezTo>
                      <a:pt x="5999" y="17004"/>
                      <a:pt x="5535" y="16561"/>
                      <a:pt x="5099" y="16061"/>
                    </a:cubicBezTo>
                    <a:cubicBezTo>
                      <a:pt x="4706" y="15610"/>
                      <a:pt x="4337" y="15115"/>
                      <a:pt x="3995" y="14579"/>
                    </a:cubicBezTo>
                    <a:cubicBezTo>
                      <a:pt x="3646" y="15600"/>
                      <a:pt x="3101" y="16443"/>
                      <a:pt x="2429" y="16999"/>
                    </a:cubicBezTo>
                    <a:cubicBezTo>
                      <a:pt x="1690" y="17612"/>
                      <a:pt x="837" y="17846"/>
                      <a:pt x="0" y="17667"/>
                    </a:cubicBezTo>
                    <a:cubicBezTo>
                      <a:pt x="406" y="17128"/>
                      <a:pt x="741" y="16481"/>
                      <a:pt x="988" y="15759"/>
                    </a:cubicBezTo>
                    <a:cubicBezTo>
                      <a:pt x="1346" y="14711"/>
                      <a:pt x="1507" y="13541"/>
                      <a:pt x="1848" y="12483"/>
                    </a:cubicBezTo>
                    <a:cubicBezTo>
                      <a:pt x="2060" y="11826"/>
                      <a:pt x="2338" y="11220"/>
                      <a:pt x="2674" y="10689"/>
                    </a:cubicBezTo>
                    <a:close/>
                  </a:path>
                </a:pathLst>
              </a:custGeom>
              <a:solidFill>
                <a:srgbClr val="FFFFFF"/>
              </a:solidFill>
              <a:ln w="25400">
                <a:noFill/>
                <a:miter lim="400000"/>
              </a:ln>
            </p:spPr>
            <p:txBody>
              <a:bodyPr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1600" b="0" i="0" u="none" strike="noStrike" kern="1200" cap="none" spc="0" normalizeH="0" baseline="0" noProof="0">
                  <a:ln>
                    <a:noFill/>
                  </a:ln>
                  <a:solidFill>
                    <a:srgbClr val="FFFFFF"/>
                  </a:solidFill>
                  <a:effectLst/>
                  <a:uLnTx/>
                  <a:uFillTx/>
                  <a:latin typeface="Arial"/>
                  <a:cs typeface="+mn-ea"/>
                  <a:sym typeface="+mn-lt"/>
                </a:endParaRPr>
              </a:p>
            </p:txBody>
          </p:sp>
          <p:sp>
            <p:nvSpPr>
              <p:cNvPr id="81" name="Кружок">
                <a:extLst>
                  <a:ext uri="{FF2B5EF4-FFF2-40B4-BE49-F238E27FC236}">
                    <a16:creationId xmlns:a16="http://schemas.microsoft.com/office/drawing/2014/main" id="{DE9D4730-0692-4492-A6D5-C3C0C06EDB53}"/>
                  </a:ext>
                </a:extLst>
              </p:cNvPr>
              <p:cNvSpPr/>
              <p:nvPr/>
            </p:nvSpPr>
            <p:spPr>
              <a:xfrm>
                <a:off x="16733721" y="5730676"/>
                <a:ext cx="895136" cy="895136"/>
              </a:xfrm>
              <a:prstGeom prst="ellipse">
                <a:avLst/>
              </a:prstGeom>
              <a:solidFill>
                <a:schemeClr val="accent1">
                  <a:lumMod val="20000"/>
                  <a:lumOff val="80000"/>
                </a:schemeClr>
              </a:solidFill>
              <a:ln w="25400">
                <a:noFill/>
                <a:miter lim="400000"/>
              </a:ln>
            </p:spPr>
            <p:txBody>
              <a:bodyPr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1600" b="0" i="0" u="none" strike="noStrike" kern="1200" cap="none" spc="0" normalizeH="0" baseline="0" noProof="0">
                  <a:ln>
                    <a:noFill/>
                  </a:ln>
                  <a:solidFill>
                    <a:srgbClr val="FFFFFF"/>
                  </a:solidFill>
                  <a:effectLst/>
                  <a:uLnTx/>
                  <a:uFillTx/>
                  <a:latin typeface="Arial"/>
                  <a:cs typeface="+mn-ea"/>
                  <a:sym typeface="+mn-lt"/>
                </a:endParaRPr>
              </a:p>
            </p:txBody>
          </p:sp>
          <p:sp>
            <p:nvSpPr>
              <p:cNvPr id="82" name="Кружок">
                <a:extLst>
                  <a:ext uri="{FF2B5EF4-FFF2-40B4-BE49-F238E27FC236}">
                    <a16:creationId xmlns:a16="http://schemas.microsoft.com/office/drawing/2014/main" id="{EE18813E-FA1D-4C0A-8DE5-22442CFA73FC}"/>
                  </a:ext>
                </a:extLst>
              </p:cNvPr>
              <p:cNvSpPr/>
              <p:nvPr/>
            </p:nvSpPr>
            <p:spPr>
              <a:xfrm>
                <a:off x="17075034" y="5961922"/>
                <a:ext cx="500377" cy="500378"/>
              </a:xfrm>
              <a:prstGeom prst="ellipse">
                <a:avLst/>
              </a:prstGeom>
              <a:solidFill>
                <a:schemeClr val="tx1"/>
              </a:solidFill>
              <a:ln w="25400">
                <a:noFill/>
                <a:miter lim="400000"/>
              </a:ln>
            </p:spPr>
            <p:txBody>
              <a:bodyPr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1600" b="0" i="0" u="none" strike="noStrike" kern="1200" cap="none" spc="0" normalizeH="0" baseline="0" noProof="0" dirty="0">
                  <a:ln>
                    <a:noFill/>
                  </a:ln>
                  <a:solidFill>
                    <a:srgbClr val="FFFFFF"/>
                  </a:solidFill>
                  <a:effectLst/>
                  <a:uLnTx/>
                  <a:uFillTx/>
                  <a:latin typeface="Arial"/>
                  <a:cs typeface="+mn-ea"/>
                  <a:sym typeface="+mn-lt"/>
                </a:endParaRPr>
              </a:p>
            </p:txBody>
          </p:sp>
        </p:grpSp>
        <p:sp>
          <p:nvSpPr>
            <p:cNvPr id="73" name="Кружок">
              <a:extLst>
                <a:ext uri="{FF2B5EF4-FFF2-40B4-BE49-F238E27FC236}">
                  <a16:creationId xmlns:a16="http://schemas.microsoft.com/office/drawing/2014/main" id="{48EB2520-4C17-4426-85E0-3B3B9592E861}"/>
                </a:ext>
              </a:extLst>
            </p:cNvPr>
            <p:cNvSpPr/>
            <p:nvPr/>
          </p:nvSpPr>
          <p:spPr>
            <a:xfrm>
              <a:off x="20662313" y="2364640"/>
              <a:ext cx="533061" cy="533061"/>
            </a:xfrm>
            <a:prstGeom prst="ellipse">
              <a:avLst/>
            </a:prstGeom>
            <a:solidFill>
              <a:schemeClr val="accent1">
                <a:lumMod val="20000"/>
                <a:lumOff val="80000"/>
              </a:schemeClr>
            </a:solidFill>
            <a:ln w="25400">
              <a:noFill/>
              <a:miter lim="400000"/>
            </a:ln>
          </p:spPr>
          <p:txBody>
            <a:bodyPr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1600" b="0" i="0" u="none" strike="noStrike" kern="1200" cap="none" spc="0" normalizeH="0" baseline="0" noProof="0">
                <a:ln>
                  <a:noFill/>
                </a:ln>
                <a:solidFill>
                  <a:srgbClr val="FFFFFF"/>
                </a:solidFill>
                <a:effectLst/>
                <a:uLnTx/>
                <a:uFillTx/>
                <a:latin typeface="Arial"/>
                <a:cs typeface="+mn-ea"/>
                <a:sym typeface="+mn-lt"/>
              </a:endParaRPr>
            </a:p>
          </p:txBody>
        </p:sp>
        <p:sp>
          <p:nvSpPr>
            <p:cNvPr id="74" name="Кружок">
              <a:extLst>
                <a:ext uri="{FF2B5EF4-FFF2-40B4-BE49-F238E27FC236}">
                  <a16:creationId xmlns:a16="http://schemas.microsoft.com/office/drawing/2014/main" id="{F0734E7D-F909-453F-B9E3-66994AB34FB7}"/>
                </a:ext>
              </a:extLst>
            </p:cNvPr>
            <p:cNvSpPr/>
            <p:nvPr/>
          </p:nvSpPr>
          <p:spPr>
            <a:xfrm flipH="1">
              <a:off x="19819663" y="2631171"/>
              <a:ext cx="277278" cy="277278"/>
            </a:xfrm>
            <a:prstGeom prst="ellipse">
              <a:avLst/>
            </a:prstGeom>
            <a:solidFill>
              <a:schemeClr val="accent1">
                <a:lumMod val="20000"/>
                <a:lumOff val="80000"/>
              </a:schemeClr>
            </a:solidFill>
            <a:ln w="25400">
              <a:noFill/>
              <a:miter lim="400000"/>
            </a:ln>
          </p:spPr>
          <p:txBody>
            <a:bodyPr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1600" b="0" i="0" u="none" strike="noStrike" kern="1200" cap="none" spc="0" normalizeH="0" baseline="0" noProof="0">
                <a:ln>
                  <a:noFill/>
                </a:ln>
                <a:solidFill>
                  <a:srgbClr val="FFFFFF"/>
                </a:solidFill>
                <a:effectLst/>
                <a:uLnTx/>
                <a:uFillTx/>
                <a:latin typeface="Arial"/>
                <a:cs typeface="+mn-ea"/>
                <a:sym typeface="+mn-lt"/>
              </a:endParaRPr>
            </a:p>
          </p:txBody>
        </p:sp>
        <p:sp>
          <p:nvSpPr>
            <p:cNvPr id="75" name="Кружок">
              <a:extLst>
                <a:ext uri="{FF2B5EF4-FFF2-40B4-BE49-F238E27FC236}">
                  <a16:creationId xmlns:a16="http://schemas.microsoft.com/office/drawing/2014/main" id="{AA058C45-1201-4403-812D-96EE7ED5F878}"/>
                </a:ext>
              </a:extLst>
            </p:cNvPr>
            <p:cNvSpPr/>
            <p:nvPr/>
          </p:nvSpPr>
          <p:spPr>
            <a:xfrm>
              <a:off x="20152158" y="5671576"/>
              <a:ext cx="389944" cy="389944"/>
            </a:xfrm>
            <a:prstGeom prst="ellipse">
              <a:avLst/>
            </a:prstGeom>
            <a:solidFill>
              <a:schemeClr val="accent1">
                <a:lumMod val="20000"/>
                <a:lumOff val="80000"/>
              </a:schemeClr>
            </a:solidFill>
            <a:ln w="25400">
              <a:noFill/>
              <a:miter lim="400000"/>
            </a:ln>
          </p:spPr>
          <p:txBody>
            <a:bodyPr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1600" b="0" i="0" u="none" strike="noStrike" kern="1200" cap="none" spc="0" normalizeH="0" baseline="0" noProof="0">
                <a:ln>
                  <a:noFill/>
                </a:ln>
                <a:solidFill>
                  <a:srgbClr val="FFFFFF"/>
                </a:solidFill>
                <a:effectLst/>
                <a:uLnTx/>
                <a:uFillTx/>
                <a:latin typeface="Arial"/>
                <a:cs typeface="+mn-ea"/>
                <a:sym typeface="+mn-lt"/>
              </a:endParaRPr>
            </a:p>
          </p:txBody>
        </p:sp>
        <p:sp>
          <p:nvSpPr>
            <p:cNvPr id="76" name="Кружок">
              <a:extLst>
                <a:ext uri="{FF2B5EF4-FFF2-40B4-BE49-F238E27FC236}">
                  <a16:creationId xmlns:a16="http://schemas.microsoft.com/office/drawing/2014/main" id="{398B5CB5-4EFF-4206-B4ED-F09E6C6C4398}"/>
                </a:ext>
              </a:extLst>
            </p:cNvPr>
            <p:cNvSpPr/>
            <p:nvPr/>
          </p:nvSpPr>
          <p:spPr>
            <a:xfrm>
              <a:off x="18084550" y="4174098"/>
              <a:ext cx="227842" cy="227842"/>
            </a:xfrm>
            <a:prstGeom prst="ellipse">
              <a:avLst/>
            </a:prstGeom>
            <a:solidFill>
              <a:schemeClr val="accent1">
                <a:lumMod val="20000"/>
                <a:lumOff val="80000"/>
              </a:schemeClr>
            </a:solidFill>
            <a:ln w="25400">
              <a:noFill/>
              <a:miter lim="400000"/>
            </a:ln>
          </p:spPr>
          <p:txBody>
            <a:bodyPr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1600" b="0" i="0" u="none" strike="noStrike" kern="1200" cap="none" spc="0" normalizeH="0" baseline="0" noProof="0">
                <a:ln>
                  <a:noFill/>
                </a:ln>
                <a:solidFill>
                  <a:srgbClr val="FFFFFF"/>
                </a:solidFill>
                <a:effectLst/>
                <a:uLnTx/>
                <a:uFillTx/>
                <a:latin typeface="Arial"/>
                <a:cs typeface="+mn-ea"/>
                <a:sym typeface="+mn-lt"/>
              </a:endParaRPr>
            </a:p>
          </p:txBody>
        </p:sp>
        <p:sp>
          <p:nvSpPr>
            <p:cNvPr id="77" name="Кружок">
              <a:extLst>
                <a:ext uri="{FF2B5EF4-FFF2-40B4-BE49-F238E27FC236}">
                  <a16:creationId xmlns:a16="http://schemas.microsoft.com/office/drawing/2014/main" id="{34C32361-CD5D-4409-A3B2-5641D7E3D3BE}"/>
                </a:ext>
              </a:extLst>
            </p:cNvPr>
            <p:cNvSpPr/>
            <p:nvPr/>
          </p:nvSpPr>
          <p:spPr>
            <a:xfrm>
              <a:off x="20542101" y="3882148"/>
              <a:ext cx="533062" cy="533062"/>
            </a:xfrm>
            <a:prstGeom prst="ellipse">
              <a:avLst/>
            </a:prstGeom>
            <a:solidFill>
              <a:schemeClr val="accent1">
                <a:lumMod val="20000"/>
                <a:lumOff val="80000"/>
              </a:schemeClr>
            </a:solidFill>
            <a:ln w="25400">
              <a:noFill/>
              <a:miter lim="400000"/>
            </a:ln>
          </p:spPr>
          <p:txBody>
            <a:bodyPr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1600" b="0" i="0" u="none" strike="noStrike" kern="1200" cap="none" spc="0" normalizeH="0" baseline="0" noProof="0">
                <a:ln>
                  <a:noFill/>
                </a:ln>
                <a:solidFill>
                  <a:srgbClr val="FFFFFF"/>
                </a:solidFill>
                <a:effectLst/>
                <a:uLnTx/>
                <a:uFillTx/>
                <a:latin typeface="Arial"/>
                <a:cs typeface="+mn-ea"/>
                <a:sym typeface="+mn-lt"/>
              </a:endParaRPr>
            </a:p>
          </p:txBody>
        </p:sp>
        <p:sp>
          <p:nvSpPr>
            <p:cNvPr id="78" name="Кружок">
              <a:extLst>
                <a:ext uri="{FF2B5EF4-FFF2-40B4-BE49-F238E27FC236}">
                  <a16:creationId xmlns:a16="http://schemas.microsoft.com/office/drawing/2014/main" id="{069B7594-4AEB-4892-8E51-3F874FACC3A4}"/>
                </a:ext>
              </a:extLst>
            </p:cNvPr>
            <p:cNvSpPr/>
            <p:nvPr/>
          </p:nvSpPr>
          <p:spPr>
            <a:xfrm>
              <a:off x="18181763" y="2229085"/>
              <a:ext cx="923005" cy="923005"/>
            </a:xfrm>
            <a:prstGeom prst="ellipse">
              <a:avLst/>
            </a:prstGeom>
            <a:solidFill>
              <a:schemeClr val="accent1">
                <a:lumMod val="20000"/>
                <a:lumOff val="80000"/>
              </a:schemeClr>
            </a:solidFill>
            <a:ln w="25400">
              <a:noFill/>
              <a:miter lim="400000"/>
            </a:ln>
          </p:spPr>
          <p:txBody>
            <a:bodyPr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1600" b="0" i="0" u="none" strike="noStrike" kern="1200" cap="none" spc="0" normalizeH="0" baseline="0" noProof="0">
                <a:ln>
                  <a:noFill/>
                </a:ln>
                <a:solidFill>
                  <a:srgbClr val="FFFFFF"/>
                </a:solidFill>
                <a:effectLst/>
                <a:uLnTx/>
                <a:uFillTx/>
                <a:latin typeface="Arial"/>
                <a:cs typeface="+mn-ea"/>
                <a:sym typeface="+mn-lt"/>
              </a:endParaRPr>
            </a:p>
          </p:txBody>
        </p:sp>
        <p:sp>
          <p:nvSpPr>
            <p:cNvPr id="79" name="Кружок">
              <a:extLst>
                <a:ext uri="{FF2B5EF4-FFF2-40B4-BE49-F238E27FC236}">
                  <a16:creationId xmlns:a16="http://schemas.microsoft.com/office/drawing/2014/main" id="{43B03A35-A23F-447D-AA54-3E831B30051E}"/>
                </a:ext>
              </a:extLst>
            </p:cNvPr>
            <p:cNvSpPr/>
            <p:nvPr/>
          </p:nvSpPr>
          <p:spPr>
            <a:xfrm>
              <a:off x="18865008" y="4481736"/>
              <a:ext cx="923005" cy="923005"/>
            </a:xfrm>
            <a:prstGeom prst="ellipse">
              <a:avLst/>
            </a:prstGeom>
            <a:solidFill>
              <a:schemeClr val="accent1">
                <a:lumMod val="20000"/>
                <a:lumOff val="80000"/>
              </a:schemeClr>
            </a:solidFill>
            <a:ln w="25400">
              <a:noFill/>
              <a:miter lim="400000"/>
            </a:ln>
          </p:spPr>
          <p:txBody>
            <a:bodyPr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1600" b="0" i="0" u="none" strike="noStrike" kern="1200" cap="none" spc="0" normalizeH="0" baseline="0" noProof="0">
                <a:ln>
                  <a:noFill/>
                </a:ln>
                <a:solidFill>
                  <a:srgbClr val="FFFFFF"/>
                </a:solidFill>
                <a:effectLst/>
                <a:uLnTx/>
                <a:uFillTx/>
                <a:latin typeface="Arial"/>
                <a:cs typeface="+mn-ea"/>
                <a:sym typeface="+mn-lt"/>
              </a:endParaRPr>
            </a:p>
          </p:txBody>
        </p:sp>
      </p:grpSp>
      <p:cxnSp>
        <p:nvCxnSpPr>
          <p:cNvPr id="5" name="Прямая соединительная линия 98">
            <a:extLst>
              <a:ext uri="{FF2B5EF4-FFF2-40B4-BE49-F238E27FC236}">
                <a16:creationId xmlns:a16="http://schemas.microsoft.com/office/drawing/2014/main" id="{A4333B33-F28B-441A-8892-8187DD8D8557}"/>
              </a:ext>
            </a:extLst>
          </p:cNvPr>
          <p:cNvCxnSpPr>
            <a:cxnSpLocks/>
          </p:cNvCxnSpPr>
          <p:nvPr/>
        </p:nvCxnSpPr>
        <p:spPr bwMode="auto">
          <a:xfrm>
            <a:off x="6696000" y="2220981"/>
            <a:ext cx="2013782" cy="0"/>
          </a:xfrm>
          <a:prstGeom prst="line">
            <a:avLst/>
          </a:prstGeom>
          <a:blipFill dpi="0" rotWithShape="0">
            <a:blip r:embed="rId4"/>
            <a:srcRect/>
            <a:tile tx="0" ty="0" sx="100000" sy="100000" flip="none" algn="tl"/>
          </a:blipFill>
          <a:ln w="57150" cap="flat" cmpd="sng" algn="ctr">
            <a:solidFill>
              <a:schemeClr val="accent1">
                <a:lumMod val="100000"/>
              </a:schemeClr>
            </a:solidFill>
            <a:prstDash val="solid"/>
            <a:miter lim="400000"/>
            <a:headEnd type="none" w="med" len="med"/>
            <a:tailEnd type="none" w="med" len="med"/>
          </a:ln>
          <a:effectLst/>
        </p:spPr>
      </p:cxnSp>
      <p:sp>
        <p:nvSpPr>
          <p:cNvPr id="6" name="TextBox 46">
            <a:extLst>
              <a:ext uri="{FF2B5EF4-FFF2-40B4-BE49-F238E27FC236}">
                <a16:creationId xmlns:a16="http://schemas.microsoft.com/office/drawing/2014/main" id="{FB2A9F98-66E2-4A54-9E1D-E22DC29B5FEE}"/>
              </a:ext>
            </a:extLst>
          </p:cNvPr>
          <p:cNvSpPr txBox="1">
            <a:spLocks noChangeArrowheads="1"/>
          </p:cNvSpPr>
          <p:nvPr/>
        </p:nvSpPr>
        <p:spPr bwMode="auto">
          <a:xfrm>
            <a:off x="6653175" y="1940757"/>
            <a:ext cx="1870075"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1pPr>
            <a:lvl2pPr marL="742950" indent="-28575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2pPr>
            <a:lvl3pPr marL="11430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3pPr>
            <a:lvl4pPr marL="16002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4pPr>
            <a:lvl5pPr marL="20574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5pPr>
            <a:lvl6pPr marL="25146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6pPr>
            <a:lvl7pPr marL="29718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7pPr>
            <a:lvl8pPr marL="34290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8pPr>
            <a:lvl9pPr marL="38862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000" b="1" i="0" u="none" strike="noStrike" kern="1200" cap="none" spc="0" normalizeH="0" baseline="0" noProof="0" dirty="0">
                <a:ln>
                  <a:noFill/>
                </a:ln>
                <a:solidFill>
                  <a:schemeClr val="accent1"/>
                </a:solidFill>
                <a:effectLst/>
                <a:uLnTx/>
                <a:uFillTx/>
                <a:latin typeface="Arial"/>
                <a:ea typeface="+mn-ea"/>
                <a:cs typeface="+mn-ea"/>
                <a:sym typeface="+mn-lt"/>
              </a:rPr>
              <a:t>Information text demo</a:t>
            </a:r>
          </a:p>
        </p:txBody>
      </p:sp>
      <p:cxnSp>
        <p:nvCxnSpPr>
          <p:cNvPr id="7" name="Прямая соединительная линия 96">
            <a:extLst>
              <a:ext uri="{FF2B5EF4-FFF2-40B4-BE49-F238E27FC236}">
                <a16:creationId xmlns:a16="http://schemas.microsoft.com/office/drawing/2014/main" id="{B698DF43-17FB-4925-9B36-8A6EFE869040}"/>
              </a:ext>
            </a:extLst>
          </p:cNvPr>
          <p:cNvCxnSpPr>
            <a:cxnSpLocks/>
          </p:cNvCxnSpPr>
          <p:nvPr/>
        </p:nvCxnSpPr>
        <p:spPr bwMode="auto">
          <a:xfrm>
            <a:off x="7305600" y="2982981"/>
            <a:ext cx="2013782" cy="0"/>
          </a:xfrm>
          <a:prstGeom prst="line">
            <a:avLst/>
          </a:prstGeom>
          <a:blipFill dpi="0" rotWithShape="0">
            <a:blip r:embed="rId4"/>
            <a:srcRect/>
            <a:tile tx="0" ty="0" sx="100000" sy="100000" flip="none" algn="tl"/>
          </a:blipFill>
          <a:ln w="57150" cap="flat" cmpd="sng" algn="ctr">
            <a:solidFill>
              <a:schemeClr val="accent1">
                <a:lumMod val="100000"/>
              </a:schemeClr>
            </a:solidFill>
            <a:prstDash val="solid"/>
            <a:miter lim="400000"/>
            <a:headEnd type="none" w="med" len="med"/>
            <a:tailEnd type="none" w="med" len="med"/>
          </a:ln>
          <a:effectLst/>
        </p:spPr>
      </p:cxnSp>
      <p:sp>
        <p:nvSpPr>
          <p:cNvPr id="8" name="TextBox 46">
            <a:extLst>
              <a:ext uri="{FF2B5EF4-FFF2-40B4-BE49-F238E27FC236}">
                <a16:creationId xmlns:a16="http://schemas.microsoft.com/office/drawing/2014/main" id="{B9C36EE7-3E56-43F9-81C6-475102445EA8}"/>
              </a:ext>
            </a:extLst>
          </p:cNvPr>
          <p:cNvSpPr txBox="1">
            <a:spLocks noChangeArrowheads="1"/>
          </p:cNvSpPr>
          <p:nvPr/>
        </p:nvSpPr>
        <p:spPr bwMode="auto">
          <a:xfrm>
            <a:off x="7262775" y="2702757"/>
            <a:ext cx="1870075"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1pPr>
            <a:lvl2pPr marL="742950" indent="-28575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2pPr>
            <a:lvl3pPr marL="11430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3pPr>
            <a:lvl4pPr marL="16002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4pPr>
            <a:lvl5pPr marL="20574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5pPr>
            <a:lvl6pPr marL="25146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6pPr>
            <a:lvl7pPr marL="29718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7pPr>
            <a:lvl8pPr marL="34290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8pPr>
            <a:lvl9pPr marL="38862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000" b="1" i="0" u="none" strike="noStrike" kern="1200" cap="none" spc="0" normalizeH="0" baseline="0" noProof="0" dirty="0">
                <a:ln>
                  <a:noFill/>
                </a:ln>
                <a:solidFill>
                  <a:schemeClr val="accent1"/>
                </a:solidFill>
                <a:effectLst/>
                <a:uLnTx/>
                <a:uFillTx/>
                <a:latin typeface="Arial"/>
                <a:ea typeface="+mn-ea"/>
                <a:cs typeface="+mn-ea"/>
                <a:sym typeface="+mn-lt"/>
              </a:rPr>
              <a:t>Information text demo</a:t>
            </a:r>
          </a:p>
        </p:txBody>
      </p:sp>
      <p:cxnSp>
        <p:nvCxnSpPr>
          <p:cNvPr id="9" name="Прямая соединительная линия 94">
            <a:extLst>
              <a:ext uri="{FF2B5EF4-FFF2-40B4-BE49-F238E27FC236}">
                <a16:creationId xmlns:a16="http://schemas.microsoft.com/office/drawing/2014/main" id="{18C57269-7C42-4917-A56B-1CFAD263F0C2}"/>
              </a:ext>
            </a:extLst>
          </p:cNvPr>
          <p:cNvCxnSpPr>
            <a:cxnSpLocks/>
          </p:cNvCxnSpPr>
          <p:nvPr/>
        </p:nvCxnSpPr>
        <p:spPr bwMode="auto">
          <a:xfrm>
            <a:off x="6696000" y="5343182"/>
            <a:ext cx="2013782" cy="0"/>
          </a:xfrm>
          <a:prstGeom prst="line">
            <a:avLst/>
          </a:prstGeom>
          <a:blipFill dpi="0" rotWithShape="0">
            <a:blip r:embed="rId4"/>
            <a:srcRect/>
            <a:tile tx="0" ty="0" sx="100000" sy="100000" flip="none" algn="tl"/>
          </a:blipFill>
          <a:ln w="57150" cap="flat" cmpd="sng" algn="ctr">
            <a:solidFill>
              <a:schemeClr val="accent1">
                <a:lumMod val="100000"/>
              </a:schemeClr>
            </a:solidFill>
            <a:prstDash val="solid"/>
            <a:miter lim="400000"/>
            <a:headEnd type="none" w="med" len="med"/>
            <a:tailEnd type="none" w="med" len="med"/>
          </a:ln>
          <a:effectLst/>
        </p:spPr>
      </p:cxnSp>
      <p:sp>
        <p:nvSpPr>
          <p:cNvPr id="10" name="TextBox 46">
            <a:extLst>
              <a:ext uri="{FF2B5EF4-FFF2-40B4-BE49-F238E27FC236}">
                <a16:creationId xmlns:a16="http://schemas.microsoft.com/office/drawing/2014/main" id="{82C903AD-0646-4FB4-B8E4-A4B8B9C09F7C}"/>
              </a:ext>
            </a:extLst>
          </p:cNvPr>
          <p:cNvSpPr txBox="1">
            <a:spLocks noChangeArrowheads="1"/>
          </p:cNvSpPr>
          <p:nvPr/>
        </p:nvSpPr>
        <p:spPr bwMode="auto">
          <a:xfrm>
            <a:off x="6653175" y="5062958"/>
            <a:ext cx="1870075"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1pPr>
            <a:lvl2pPr marL="742950" indent="-28575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2pPr>
            <a:lvl3pPr marL="11430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3pPr>
            <a:lvl4pPr marL="16002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4pPr>
            <a:lvl5pPr marL="20574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5pPr>
            <a:lvl6pPr marL="25146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6pPr>
            <a:lvl7pPr marL="29718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7pPr>
            <a:lvl8pPr marL="34290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8pPr>
            <a:lvl9pPr marL="38862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000" b="1" i="0" u="none" strike="noStrike" kern="1200" cap="none" spc="0" normalizeH="0" baseline="0" noProof="0" dirty="0">
                <a:ln>
                  <a:noFill/>
                </a:ln>
                <a:solidFill>
                  <a:schemeClr val="accent1"/>
                </a:solidFill>
                <a:effectLst/>
                <a:uLnTx/>
                <a:uFillTx/>
                <a:latin typeface="Arial"/>
                <a:ea typeface="+mn-ea"/>
                <a:cs typeface="+mn-ea"/>
                <a:sym typeface="+mn-lt"/>
              </a:rPr>
              <a:t>Information text demo</a:t>
            </a:r>
          </a:p>
        </p:txBody>
      </p:sp>
      <p:cxnSp>
        <p:nvCxnSpPr>
          <p:cNvPr id="11" name="Прямая соединительная линия 92">
            <a:extLst>
              <a:ext uri="{FF2B5EF4-FFF2-40B4-BE49-F238E27FC236}">
                <a16:creationId xmlns:a16="http://schemas.microsoft.com/office/drawing/2014/main" id="{33D91335-C833-4D51-B47B-5F7CAF0502AE}"/>
              </a:ext>
            </a:extLst>
          </p:cNvPr>
          <p:cNvCxnSpPr>
            <a:cxnSpLocks/>
          </p:cNvCxnSpPr>
          <p:nvPr/>
        </p:nvCxnSpPr>
        <p:spPr bwMode="auto">
          <a:xfrm>
            <a:off x="7305600" y="4596522"/>
            <a:ext cx="2013782" cy="0"/>
          </a:xfrm>
          <a:prstGeom prst="line">
            <a:avLst/>
          </a:prstGeom>
          <a:blipFill dpi="0" rotWithShape="0">
            <a:blip r:embed="rId4"/>
            <a:srcRect/>
            <a:tile tx="0" ty="0" sx="100000" sy="100000" flip="none" algn="tl"/>
          </a:blipFill>
          <a:ln w="57150" cap="flat" cmpd="sng" algn="ctr">
            <a:solidFill>
              <a:schemeClr val="accent1">
                <a:lumMod val="100000"/>
              </a:schemeClr>
            </a:solidFill>
            <a:prstDash val="solid"/>
            <a:miter lim="400000"/>
            <a:headEnd type="none" w="med" len="med"/>
            <a:tailEnd type="none" w="med" len="med"/>
          </a:ln>
          <a:effectLst/>
        </p:spPr>
      </p:cxnSp>
      <p:sp>
        <p:nvSpPr>
          <p:cNvPr id="12" name="TextBox 46">
            <a:extLst>
              <a:ext uri="{FF2B5EF4-FFF2-40B4-BE49-F238E27FC236}">
                <a16:creationId xmlns:a16="http://schemas.microsoft.com/office/drawing/2014/main" id="{C2A29173-CD6F-4F90-89E0-BB58E0D3A5BF}"/>
              </a:ext>
            </a:extLst>
          </p:cNvPr>
          <p:cNvSpPr txBox="1">
            <a:spLocks noChangeArrowheads="1"/>
          </p:cNvSpPr>
          <p:nvPr/>
        </p:nvSpPr>
        <p:spPr bwMode="auto">
          <a:xfrm>
            <a:off x="7262775" y="4316298"/>
            <a:ext cx="1870075"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1pPr>
            <a:lvl2pPr marL="742950" indent="-28575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2pPr>
            <a:lvl3pPr marL="11430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3pPr>
            <a:lvl4pPr marL="16002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4pPr>
            <a:lvl5pPr marL="20574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5pPr>
            <a:lvl6pPr marL="25146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6pPr>
            <a:lvl7pPr marL="29718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7pPr>
            <a:lvl8pPr marL="34290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8pPr>
            <a:lvl9pPr marL="38862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000" b="1" i="0" u="none" strike="noStrike" kern="1200" cap="none" spc="0" normalizeH="0" baseline="0" noProof="0" dirty="0">
                <a:ln>
                  <a:noFill/>
                </a:ln>
                <a:solidFill>
                  <a:schemeClr val="accent1"/>
                </a:solidFill>
                <a:effectLst/>
                <a:uLnTx/>
                <a:uFillTx/>
                <a:latin typeface="Arial"/>
                <a:ea typeface="+mn-ea"/>
                <a:cs typeface="+mn-ea"/>
                <a:sym typeface="+mn-lt"/>
              </a:rPr>
              <a:t>Information text demo</a:t>
            </a:r>
          </a:p>
        </p:txBody>
      </p:sp>
      <p:cxnSp>
        <p:nvCxnSpPr>
          <p:cNvPr id="13" name="Прямая соединительная линия 112">
            <a:extLst>
              <a:ext uri="{FF2B5EF4-FFF2-40B4-BE49-F238E27FC236}">
                <a16:creationId xmlns:a16="http://schemas.microsoft.com/office/drawing/2014/main" id="{FA16DBC6-75F4-4C15-BB8B-41D01A1266C8}"/>
              </a:ext>
            </a:extLst>
          </p:cNvPr>
          <p:cNvCxnSpPr>
            <a:cxnSpLocks/>
          </p:cNvCxnSpPr>
          <p:nvPr/>
        </p:nvCxnSpPr>
        <p:spPr bwMode="auto">
          <a:xfrm>
            <a:off x="3674194" y="2220981"/>
            <a:ext cx="2013782" cy="0"/>
          </a:xfrm>
          <a:prstGeom prst="line">
            <a:avLst/>
          </a:prstGeom>
          <a:blipFill dpi="0" rotWithShape="0">
            <a:blip r:embed="rId4"/>
            <a:srcRect/>
            <a:tile tx="0" ty="0" sx="100000" sy="100000" flip="none" algn="tl"/>
          </a:blipFill>
          <a:ln w="57150" cap="flat" cmpd="sng" algn="ctr">
            <a:solidFill>
              <a:schemeClr val="accent1">
                <a:lumMod val="100000"/>
              </a:schemeClr>
            </a:solidFill>
            <a:prstDash val="solid"/>
            <a:miter lim="400000"/>
            <a:headEnd type="none" w="med" len="med"/>
            <a:tailEnd type="none" w="med" len="med"/>
          </a:ln>
          <a:effectLst/>
        </p:spPr>
      </p:cxnSp>
      <p:sp>
        <p:nvSpPr>
          <p:cNvPr id="14" name="TextBox 46">
            <a:extLst>
              <a:ext uri="{FF2B5EF4-FFF2-40B4-BE49-F238E27FC236}">
                <a16:creationId xmlns:a16="http://schemas.microsoft.com/office/drawing/2014/main" id="{9581DE25-7A85-4718-AA3F-91E5D72BDFAE}"/>
              </a:ext>
            </a:extLst>
          </p:cNvPr>
          <p:cNvSpPr txBox="1">
            <a:spLocks noChangeArrowheads="1"/>
          </p:cNvSpPr>
          <p:nvPr/>
        </p:nvSpPr>
        <p:spPr bwMode="auto">
          <a:xfrm>
            <a:off x="3631369" y="1940757"/>
            <a:ext cx="1870075"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1pPr>
            <a:lvl2pPr marL="742950" indent="-28575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2pPr>
            <a:lvl3pPr marL="11430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3pPr>
            <a:lvl4pPr marL="16002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4pPr>
            <a:lvl5pPr marL="20574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5pPr>
            <a:lvl6pPr marL="25146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6pPr>
            <a:lvl7pPr marL="29718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7pPr>
            <a:lvl8pPr marL="34290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8pPr>
            <a:lvl9pPr marL="38862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000" b="1" i="0" u="none" strike="noStrike" kern="1200" cap="none" spc="0" normalizeH="0" baseline="0" noProof="0" dirty="0">
                <a:ln>
                  <a:noFill/>
                </a:ln>
                <a:solidFill>
                  <a:schemeClr val="accent1"/>
                </a:solidFill>
                <a:effectLst/>
                <a:uLnTx/>
                <a:uFillTx/>
                <a:latin typeface="Arial"/>
                <a:ea typeface="+mn-ea"/>
                <a:cs typeface="+mn-ea"/>
                <a:sym typeface="+mn-lt"/>
              </a:rPr>
              <a:t>Information text demo</a:t>
            </a:r>
          </a:p>
        </p:txBody>
      </p:sp>
      <p:cxnSp>
        <p:nvCxnSpPr>
          <p:cNvPr id="15" name="Прямая соединительная линия 109">
            <a:extLst>
              <a:ext uri="{FF2B5EF4-FFF2-40B4-BE49-F238E27FC236}">
                <a16:creationId xmlns:a16="http://schemas.microsoft.com/office/drawing/2014/main" id="{76090083-3FFA-4483-B851-37F6270CADA8}"/>
              </a:ext>
            </a:extLst>
          </p:cNvPr>
          <p:cNvCxnSpPr>
            <a:cxnSpLocks/>
          </p:cNvCxnSpPr>
          <p:nvPr/>
        </p:nvCxnSpPr>
        <p:spPr bwMode="auto">
          <a:xfrm>
            <a:off x="4283794" y="2982981"/>
            <a:ext cx="2013782" cy="0"/>
          </a:xfrm>
          <a:prstGeom prst="line">
            <a:avLst/>
          </a:prstGeom>
          <a:blipFill dpi="0" rotWithShape="0">
            <a:blip r:embed="rId4"/>
            <a:srcRect/>
            <a:tile tx="0" ty="0" sx="100000" sy="100000" flip="none" algn="tl"/>
          </a:blipFill>
          <a:ln w="57150" cap="flat" cmpd="sng" algn="ctr">
            <a:solidFill>
              <a:schemeClr val="accent1">
                <a:lumMod val="100000"/>
              </a:schemeClr>
            </a:solidFill>
            <a:prstDash val="solid"/>
            <a:miter lim="400000"/>
            <a:headEnd type="none" w="med" len="med"/>
            <a:tailEnd type="none" w="med" len="med"/>
          </a:ln>
          <a:effectLst/>
        </p:spPr>
      </p:cxnSp>
      <p:sp>
        <p:nvSpPr>
          <p:cNvPr id="16" name="TextBox 46">
            <a:extLst>
              <a:ext uri="{FF2B5EF4-FFF2-40B4-BE49-F238E27FC236}">
                <a16:creationId xmlns:a16="http://schemas.microsoft.com/office/drawing/2014/main" id="{F63B5B30-A3B4-41D3-969C-90D6AD3498B6}"/>
              </a:ext>
            </a:extLst>
          </p:cNvPr>
          <p:cNvSpPr txBox="1">
            <a:spLocks noChangeArrowheads="1"/>
          </p:cNvSpPr>
          <p:nvPr/>
        </p:nvSpPr>
        <p:spPr bwMode="auto">
          <a:xfrm>
            <a:off x="4240969" y="2702757"/>
            <a:ext cx="1870075"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1pPr>
            <a:lvl2pPr marL="742950" indent="-28575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2pPr>
            <a:lvl3pPr marL="11430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3pPr>
            <a:lvl4pPr marL="16002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4pPr>
            <a:lvl5pPr marL="20574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5pPr>
            <a:lvl6pPr marL="25146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6pPr>
            <a:lvl7pPr marL="29718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7pPr>
            <a:lvl8pPr marL="34290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8pPr>
            <a:lvl9pPr marL="38862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000" b="1" i="0" u="none" strike="noStrike" kern="1200" cap="none" spc="0" normalizeH="0" baseline="0" noProof="0" dirty="0">
                <a:ln>
                  <a:noFill/>
                </a:ln>
                <a:solidFill>
                  <a:schemeClr val="accent1"/>
                </a:solidFill>
                <a:effectLst/>
                <a:uLnTx/>
                <a:uFillTx/>
                <a:latin typeface="Arial"/>
                <a:ea typeface="+mn-ea"/>
                <a:cs typeface="+mn-ea"/>
                <a:sym typeface="+mn-lt"/>
              </a:rPr>
              <a:t>Information text demo</a:t>
            </a:r>
          </a:p>
        </p:txBody>
      </p:sp>
      <p:cxnSp>
        <p:nvCxnSpPr>
          <p:cNvPr id="17" name="Прямая соединительная линия 107">
            <a:extLst>
              <a:ext uri="{FF2B5EF4-FFF2-40B4-BE49-F238E27FC236}">
                <a16:creationId xmlns:a16="http://schemas.microsoft.com/office/drawing/2014/main" id="{C11AC200-770F-4436-866D-D8D5CAF80D41}"/>
              </a:ext>
            </a:extLst>
          </p:cNvPr>
          <p:cNvCxnSpPr>
            <a:cxnSpLocks/>
          </p:cNvCxnSpPr>
          <p:nvPr/>
        </p:nvCxnSpPr>
        <p:spPr bwMode="auto">
          <a:xfrm>
            <a:off x="3674194" y="5343182"/>
            <a:ext cx="2013782" cy="0"/>
          </a:xfrm>
          <a:prstGeom prst="line">
            <a:avLst/>
          </a:prstGeom>
          <a:blipFill dpi="0" rotWithShape="0">
            <a:blip r:embed="rId4"/>
            <a:srcRect/>
            <a:tile tx="0" ty="0" sx="100000" sy="100000" flip="none" algn="tl"/>
          </a:blipFill>
          <a:ln w="57150" cap="flat" cmpd="sng" algn="ctr">
            <a:solidFill>
              <a:schemeClr val="accent1">
                <a:lumMod val="100000"/>
              </a:schemeClr>
            </a:solidFill>
            <a:prstDash val="solid"/>
            <a:miter lim="400000"/>
            <a:headEnd type="none" w="med" len="med"/>
            <a:tailEnd type="none" w="med" len="med"/>
          </a:ln>
          <a:effectLst/>
        </p:spPr>
      </p:cxnSp>
      <p:sp>
        <p:nvSpPr>
          <p:cNvPr id="18" name="TextBox 46">
            <a:extLst>
              <a:ext uri="{FF2B5EF4-FFF2-40B4-BE49-F238E27FC236}">
                <a16:creationId xmlns:a16="http://schemas.microsoft.com/office/drawing/2014/main" id="{8D962EA7-0101-4935-AF2A-74BA9932315A}"/>
              </a:ext>
            </a:extLst>
          </p:cNvPr>
          <p:cNvSpPr txBox="1">
            <a:spLocks noChangeArrowheads="1"/>
          </p:cNvSpPr>
          <p:nvPr/>
        </p:nvSpPr>
        <p:spPr bwMode="auto">
          <a:xfrm>
            <a:off x="3631369" y="5062958"/>
            <a:ext cx="1870075"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1pPr>
            <a:lvl2pPr marL="742950" indent="-28575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2pPr>
            <a:lvl3pPr marL="11430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3pPr>
            <a:lvl4pPr marL="16002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4pPr>
            <a:lvl5pPr marL="20574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5pPr>
            <a:lvl6pPr marL="25146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6pPr>
            <a:lvl7pPr marL="29718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7pPr>
            <a:lvl8pPr marL="34290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8pPr>
            <a:lvl9pPr marL="38862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000" b="1" i="0" u="none" strike="noStrike" kern="1200" cap="none" spc="0" normalizeH="0" baseline="0" noProof="0" dirty="0">
                <a:ln>
                  <a:noFill/>
                </a:ln>
                <a:solidFill>
                  <a:schemeClr val="accent1"/>
                </a:solidFill>
                <a:effectLst/>
                <a:uLnTx/>
                <a:uFillTx/>
                <a:latin typeface="Arial"/>
                <a:ea typeface="+mn-ea"/>
                <a:cs typeface="+mn-ea"/>
                <a:sym typeface="+mn-lt"/>
              </a:rPr>
              <a:t>Information text demo</a:t>
            </a:r>
          </a:p>
        </p:txBody>
      </p:sp>
      <p:cxnSp>
        <p:nvCxnSpPr>
          <p:cNvPr id="19" name="Прямая соединительная линия 105">
            <a:extLst>
              <a:ext uri="{FF2B5EF4-FFF2-40B4-BE49-F238E27FC236}">
                <a16:creationId xmlns:a16="http://schemas.microsoft.com/office/drawing/2014/main" id="{7375D9B1-B3BA-4361-878E-437FF3FCA6F8}"/>
              </a:ext>
            </a:extLst>
          </p:cNvPr>
          <p:cNvCxnSpPr>
            <a:cxnSpLocks/>
          </p:cNvCxnSpPr>
          <p:nvPr/>
        </p:nvCxnSpPr>
        <p:spPr bwMode="auto">
          <a:xfrm>
            <a:off x="4283794" y="4596522"/>
            <a:ext cx="2013782" cy="0"/>
          </a:xfrm>
          <a:prstGeom prst="line">
            <a:avLst/>
          </a:prstGeom>
          <a:blipFill dpi="0" rotWithShape="0">
            <a:blip r:embed="rId4"/>
            <a:srcRect/>
            <a:tile tx="0" ty="0" sx="100000" sy="100000" flip="none" algn="tl"/>
          </a:blipFill>
          <a:ln w="57150" cap="flat" cmpd="sng" algn="ctr">
            <a:solidFill>
              <a:schemeClr val="accent1">
                <a:lumMod val="100000"/>
              </a:schemeClr>
            </a:solidFill>
            <a:prstDash val="solid"/>
            <a:miter lim="400000"/>
            <a:headEnd type="none" w="med" len="med"/>
            <a:tailEnd type="none" w="med" len="med"/>
          </a:ln>
          <a:effectLst/>
        </p:spPr>
      </p:cxnSp>
      <p:sp>
        <p:nvSpPr>
          <p:cNvPr id="20" name="TextBox 46">
            <a:extLst>
              <a:ext uri="{FF2B5EF4-FFF2-40B4-BE49-F238E27FC236}">
                <a16:creationId xmlns:a16="http://schemas.microsoft.com/office/drawing/2014/main" id="{D21C287C-5B0E-4CF6-AE75-D34A174EF7DC}"/>
              </a:ext>
            </a:extLst>
          </p:cNvPr>
          <p:cNvSpPr txBox="1">
            <a:spLocks noChangeArrowheads="1"/>
          </p:cNvSpPr>
          <p:nvPr/>
        </p:nvSpPr>
        <p:spPr bwMode="auto">
          <a:xfrm>
            <a:off x="4240969" y="4316298"/>
            <a:ext cx="1870075"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1pPr>
            <a:lvl2pPr marL="742950" indent="-28575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2pPr>
            <a:lvl3pPr marL="11430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3pPr>
            <a:lvl4pPr marL="16002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4pPr>
            <a:lvl5pPr marL="20574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5pPr>
            <a:lvl6pPr marL="25146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6pPr>
            <a:lvl7pPr marL="29718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7pPr>
            <a:lvl8pPr marL="34290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8pPr>
            <a:lvl9pPr marL="38862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000" b="1" i="0" u="none" strike="noStrike" kern="1200" cap="none" spc="0" normalizeH="0" baseline="0" noProof="0" dirty="0">
                <a:ln>
                  <a:noFill/>
                </a:ln>
                <a:solidFill>
                  <a:schemeClr val="accent1"/>
                </a:solidFill>
                <a:effectLst/>
                <a:uLnTx/>
                <a:uFillTx/>
                <a:latin typeface="Arial"/>
                <a:ea typeface="+mn-ea"/>
                <a:cs typeface="+mn-ea"/>
                <a:sym typeface="+mn-lt"/>
              </a:rPr>
              <a:t>Information text demo</a:t>
            </a:r>
          </a:p>
        </p:txBody>
      </p:sp>
      <p:cxnSp>
        <p:nvCxnSpPr>
          <p:cNvPr id="21" name="Прямая соединительная линия 127">
            <a:extLst>
              <a:ext uri="{FF2B5EF4-FFF2-40B4-BE49-F238E27FC236}">
                <a16:creationId xmlns:a16="http://schemas.microsoft.com/office/drawing/2014/main" id="{391303AD-263D-4BBE-B5A1-4509796C98EF}"/>
              </a:ext>
            </a:extLst>
          </p:cNvPr>
          <p:cNvCxnSpPr>
            <a:cxnSpLocks/>
          </p:cNvCxnSpPr>
          <p:nvPr/>
        </p:nvCxnSpPr>
        <p:spPr bwMode="auto">
          <a:xfrm>
            <a:off x="651594" y="2220981"/>
            <a:ext cx="2013782" cy="0"/>
          </a:xfrm>
          <a:prstGeom prst="line">
            <a:avLst/>
          </a:prstGeom>
          <a:blipFill dpi="0" rotWithShape="0">
            <a:blip r:embed="rId4"/>
            <a:srcRect/>
            <a:tile tx="0" ty="0" sx="100000" sy="100000" flip="none" algn="tl"/>
          </a:blipFill>
          <a:ln w="57150" cap="flat" cmpd="sng" algn="ctr">
            <a:solidFill>
              <a:schemeClr val="accent1">
                <a:lumMod val="100000"/>
              </a:schemeClr>
            </a:solidFill>
            <a:prstDash val="solid"/>
            <a:miter lim="400000"/>
            <a:headEnd type="none" w="med" len="med"/>
            <a:tailEnd type="none" w="med" len="med"/>
          </a:ln>
          <a:effectLst/>
        </p:spPr>
      </p:cxnSp>
      <p:sp>
        <p:nvSpPr>
          <p:cNvPr id="22" name="TextBox 46">
            <a:extLst>
              <a:ext uri="{FF2B5EF4-FFF2-40B4-BE49-F238E27FC236}">
                <a16:creationId xmlns:a16="http://schemas.microsoft.com/office/drawing/2014/main" id="{8A38408D-B45C-4B05-BF49-77F88320FF52}"/>
              </a:ext>
            </a:extLst>
          </p:cNvPr>
          <p:cNvSpPr txBox="1">
            <a:spLocks noChangeArrowheads="1"/>
          </p:cNvSpPr>
          <p:nvPr/>
        </p:nvSpPr>
        <p:spPr bwMode="auto">
          <a:xfrm>
            <a:off x="608769" y="1940757"/>
            <a:ext cx="1870075"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1pPr>
            <a:lvl2pPr marL="742950" indent="-28575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2pPr>
            <a:lvl3pPr marL="11430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3pPr>
            <a:lvl4pPr marL="16002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4pPr>
            <a:lvl5pPr marL="20574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5pPr>
            <a:lvl6pPr marL="25146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6pPr>
            <a:lvl7pPr marL="29718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7pPr>
            <a:lvl8pPr marL="34290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8pPr>
            <a:lvl9pPr marL="38862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000" b="1" i="0" u="none" strike="noStrike" kern="1200" cap="none" spc="0" normalizeH="0" baseline="0" noProof="0" dirty="0">
                <a:ln>
                  <a:noFill/>
                </a:ln>
                <a:solidFill>
                  <a:schemeClr val="accent1"/>
                </a:solidFill>
                <a:effectLst/>
                <a:uLnTx/>
                <a:uFillTx/>
                <a:latin typeface="Arial"/>
                <a:ea typeface="+mn-ea"/>
                <a:cs typeface="+mn-ea"/>
                <a:sym typeface="+mn-lt"/>
              </a:rPr>
              <a:t>Information text demo</a:t>
            </a:r>
          </a:p>
        </p:txBody>
      </p:sp>
      <p:cxnSp>
        <p:nvCxnSpPr>
          <p:cNvPr id="23" name="Прямая соединительная линия 125">
            <a:extLst>
              <a:ext uri="{FF2B5EF4-FFF2-40B4-BE49-F238E27FC236}">
                <a16:creationId xmlns:a16="http://schemas.microsoft.com/office/drawing/2014/main" id="{3849A334-2264-4AEA-89F2-2F66D1FB518C}"/>
              </a:ext>
            </a:extLst>
          </p:cNvPr>
          <p:cNvCxnSpPr>
            <a:cxnSpLocks/>
          </p:cNvCxnSpPr>
          <p:nvPr/>
        </p:nvCxnSpPr>
        <p:spPr bwMode="auto">
          <a:xfrm>
            <a:off x="1261194" y="2982981"/>
            <a:ext cx="2013782" cy="0"/>
          </a:xfrm>
          <a:prstGeom prst="line">
            <a:avLst/>
          </a:prstGeom>
          <a:blipFill dpi="0" rotWithShape="0">
            <a:blip r:embed="rId4"/>
            <a:srcRect/>
            <a:tile tx="0" ty="0" sx="100000" sy="100000" flip="none" algn="tl"/>
          </a:blipFill>
          <a:ln w="57150" cap="flat" cmpd="sng" algn="ctr">
            <a:solidFill>
              <a:schemeClr val="accent1">
                <a:lumMod val="100000"/>
              </a:schemeClr>
            </a:solidFill>
            <a:prstDash val="solid"/>
            <a:miter lim="400000"/>
            <a:headEnd type="none" w="med" len="med"/>
            <a:tailEnd type="none" w="med" len="med"/>
          </a:ln>
          <a:effectLst/>
        </p:spPr>
      </p:cxnSp>
      <p:sp>
        <p:nvSpPr>
          <p:cNvPr id="24" name="TextBox 46">
            <a:extLst>
              <a:ext uri="{FF2B5EF4-FFF2-40B4-BE49-F238E27FC236}">
                <a16:creationId xmlns:a16="http://schemas.microsoft.com/office/drawing/2014/main" id="{C0AD603A-D59D-467E-998B-130C4359215B}"/>
              </a:ext>
            </a:extLst>
          </p:cNvPr>
          <p:cNvSpPr txBox="1">
            <a:spLocks noChangeArrowheads="1"/>
          </p:cNvSpPr>
          <p:nvPr/>
        </p:nvSpPr>
        <p:spPr bwMode="auto">
          <a:xfrm>
            <a:off x="1218369" y="2702757"/>
            <a:ext cx="1870075"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1pPr>
            <a:lvl2pPr marL="742950" indent="-28575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2pPr>
            <a:lvl3pPr marL="11430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3pPr>
            <a:lvl4pPr marL="16002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4pPr>
            <a:lvl5pPr marL="20574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5pPr>
            <a:lvl6pPr marL="25146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6pPr>
            <a:lvl7pPr marL="29718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7pPr>
            <a:lvl8pPr marL="34290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8pPr>
            <a:lvl9pPr marL="38862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000" b="1" i="0" u="none" strike="noStrike" kern="1200" cap="none" spc="0" normalizeH="0" baseline="0" noProof="0" dirty="0">
                <a:ln>
                  <a:noFill/>
                </a:ln>
                <a:solidFill>
                  <a:schemeClr val="accent1"/>
                </a:solidFill>
                <a:effectLst/>
                <a:uLnTx/>
                <a:uFillTx/>
                <a:latin typeface="Arial"/>
                <a:ea typeface="+mn-ea"/>
                <a:cs typeface="+mn-ea"/>
                <a:sym typeface="+mn-lt"/>
              </a:rPr>
              <a:t>Information text demo</a:t>
            </a:r>
          </a:p>
        </p:txBody>
      </p:sp>
      <p:cxnSp>
        <p:nvCxnSpPr>
          <p:cNvPr id="25" name="Прямая соединительная линия 123">
            <a:extLst>
              <a:ext uri="{FF2B5EF4-FFF2-40B4-BE49-F238E27FC236}">
                <a16:creationId xmlns:a16="http://schemas.microsoft.com/office/drawing/2014/main" id="{A11CB388-48E7-4CC2-A51C-C754D11063D4}"/>
              </a:ext>
            </a:extLst>
          </p:cNvPr>
          <p:cNvCxnSpPr>
            <a:cxnSpLocks/>
          </p:cNvCxnSpPr>
          <p:nvPr/>
        </p:nvCxnSpPr>
        <p:spPr bwMode="auto">
          <a:xfrm>
            <a:off x="651594" y="5343182"/>
            <a:ext cx="2013782" cy="0"/>
          </a:xfrm>
          <a:prstGeom prst="line">
            <a:avLst/>
          </a:prstGeom>
          <a:blipFill dpi="0" rotWithShape="0">
            <a:blip r:embed="rId4"/>
            <a:srcRect/>
            <a:tile tx="0" ty="0" sx="100000" sy="100000" flip="none" algn="tl"/>
          </a:blipFill>
          <a:ln w="57150" cap="flat" cmpd="sng" algn="ctr">
            <a:solidFill>
              <a:schemeClr val="accent1">
                <a:lumMod val="100000"/>
              </a:schemeClr>
            </a:solidFill>
            <a:prstDash val="solid"/>
            <a:miter lim="400000"/>
            <a:headEnd type="none" w="med" len="med"/>
            <a:tailEnd type="none" w="med" len="med"/>
          </a:ln>
          <a:effectLst/>
        </p:spPr>
      </p:cxnSp>
      <p:sp>
        <p:nvSpPr>
          <p:cNvPr id="26" name="TextBox 46">
            <a:extLst>
              <a:ext uri="{FF2B5EF4-FFF2-40B4-BE49-F238E27FC236}">
                <a16:creationId xmlns:a16="http://schemas.microsoft.com/office/drawing/2014/main" id="{A6D35D8B-CAE6-4B38-8A6D-F86C98942E64}"/>
              </a:ext>
            </a:extLst>
          </p:cNvPr>
          <p:cNvSpPr txBox="1">
            <a:spLocks noChangeArrowheads="1"/>
          </p:cNvSpPr>
          <p:nvPr/>
        </p:nvSpPr>
        <p:spPr bwMode="auto">
          <a:xfrm>
            <a:off x="608769" y="5062958"/>
            <a:ext cx="1870075"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1pPr>
            <a:lvl2pPr marL="742950" indent="-28575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2pPr>
            <a:lvl3pPr marL="11430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3pPr>
            <a:lvl4pPr marL="16002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4pPr>
            <a:lvl5pPr marL="20574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5pPr>
            <a:lvl6pPr marL="25146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6pPr>
            <a:lvl7pPr marL="29718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7pPr>
            <a:lvl8pPr marL="34290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8pPr>
            <a:lvl9pPr marL="38862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000" b="1" i="0" u="none" strike="noStrike" kern="1200" cap="none" spc="0" normalizeH="0" baseline="0" noProof="0" dirty="0">
                <a:ln>
                  <a:noFill/>
                </a:ln>
                <a:solidFill>
                  <a:schemeClr val="accent1"/>
                </a:solidFill>
                <a:effectLst/>
                <a:uLnTx/>
                <a:uFillTx/>
                <a:latin typeface="Arial"/>
                <a:ea typeface="+mn-ea"/>
                <a:cs typeface="+mn-ea"/>
                <a:sym typeface="+mn-lt"/>
              </a:rPr>
              <a:t>Information text demo</a:t>
            </a:r>
          </a:p>
        </p:txBody>
      </p:sp>
      <p:cxnSp>
        <p:nvCxnSpPr>
          <p:cNvPr id="27" name="Прямая соединительная линия 121">
            <a:extLst>
              <a:ext uri="{FF2B5EF4-FFF2-40B4-BE49-F238E27FC236}">
                <a16:creationId xmlns:a16="http://schemas.microsoft.com/office/drawing/2014/main" id="{280C2219-DDBF-4F05-B4E3-039B98888A63}"/>
              </a:ext>
            </a:extLst>
          </p:cNvPr>
          <p:cNvCxnSpPr>
            <a:cxnSpLocks/>
          </p:cNvCxnSpPr>
          <p:nvPr/>
        </p:nvCxnSpPr>
        <p:spPr bwMode="auto">
          <a:xfrm>
            <a:off x="1261194" y="4596522"/>
            <a:ext cx="2013782" cy="0"/>
          </a:xfrm>
          <a:prstGeom prst="line">
            <a:avLst/>
          </a:prstGeom>
          <a:blipFill dpi="0" rotWithShape="0">
            <a:blip r:embed="rId4"/>
            <a:srcRect/>
            <a:tile tx="0" ty="0" sx="100000" sy="100000" flip="none" algn="tl"/>
          </a:blipFill>
          <a:ln w="57150" cap="flat" cmpd="sng" algn="ctr">
            <a:solidFill>
              <a:schemeClr val="accent1">
                <a:lumMod val="100000"/>
              </a:schemeClr>
            </a:solidFill>
            <a:prstDash val="solid"/>
            <a:miter lim="400000"/>
            <a:headEnd type="none" w="med" len="med"/>
            <a:tailEnd type="none" w="med" len="med"/>
          </a:ln>
          <a:effectLst/>
        </p:spPr>
      </p:cxnSp>
      <p:sp>
        <p:nvSpPr>
          <p:cNvPr id="28" name="TextBox 46">
            <a:extLst>
              <a:ext uri="{FF2B5EF4-FFF2-40B4-BE49-F238E27FC236}">
                <a16:creationId xmlns:a16="http://schemas.microsoft.com/office/drawing/2014/main" id="{885C44B9-310F-43C8-9646-235A9F63332B}"/>
              </a:ext>
            </a:extLst>
          </p:cNvPr>
          <p:cNvSpPr txBox="1">
            <a:spLocks noChangeArrowheads="1"/>
          </p:cNvSpPr>
          <p:nvPr/>
        </p:nvSpPr>
        <p:spPr bwMode="auto">
          <a:xfrm>
            <a:off x="1218369" y="4316298"/>
            <a:ext cx="1870075"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1pPr>
            <a:lvl2pPr marL="742950" indent="-28575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2pPr>
            <a:lvl3pPr marL="11430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3pPr>
            <a:lvl4pPr marL="16002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4pPr>
            <a:lvl5pPr marL="20574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5pPr>
            <a:lvl6pPr marL="25146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6pPr>
            <a:lvl7pPr marL="29718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7pPr>
            <a:lvl8pPr marL="34290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8pPr>
            <a:lvl9pPr marL="38862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000" b="1" i="0" u="none" strike="noStrike" kern="1200" cap="none" spc="0" normalizeH="0" baseline="0" noProof="0" dirty="0">
                <a:ln>
                  <a:noFill/>
                </a:ln>
                <a:solidFill>
                  <a:schemeClr val="accent1"/>
                </a:solidFill>
                <a:effectLst/>
                <a:uLnTx/>
                <a:uFillTx/>
                <a:latin typeface="Arial"/>
                <a:ea typeface="+mn-ea"/>
                <a:cs typeface="+mn-ea"/>
                <a:sym typeface="+mn-lt"/>
              </a:rPr>
              <a:t>Information text demo</a:t>
            </a:r>
          </a:p>
        </p:txBody>
      </p:sp>
      <p:sp>
        <p:nvSpPr>
          <p:cNvPr id="29" name="Right Arrow 1">
            <a:extLst>
              <a:ext uri="{FF2B5EF4-FFF2-40B4-BE49-F238E27FC236}">
                <a16:creationId xmlns:a16="http://schemas.microsoft.com/office/drawing/2014/main" id="{86552120-F719-41AE-BB4C-33179CF5F7B6}"/>
              </a:ext>
            </a:extLst>
          </p:cNvPr>
          <p:cNvSpPr>
            <a:spLocks noChangeArrowheads="1"/>
          </p:cNvSpPr>
          <p:nvPr/>
        </p:nvSpPr>
        <p:spPr bwMode="auto">
          <a:xfrm>
            <a:off x="568288" y="3639556"/>
            <a:ext cx="10236994" cy="152846"/>
          </a:xfrm>
          <a:prstGeom prst="rightArrow">
            <a:avLst>
              <a:gd name="adj1" fmla="val 50000"/>
              <a:gd name="adj2" fmla="val 49958"/>
            </a:avLst>
          </a:prstGeom>
          <a:solidFill>
            <a:schemeClr val="accent1">
              <a:lumMod val="100000"/>
            </a:schemeClr>
          </a:solidFill>
          <a:ln>
            <a:noFill/>
          </a:ln>
        </p:spPr>
        <p:txBody>
          <a:bodyPr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altLang="en-US" sz="500" b="0" i="0" u="none" strike="noStrike" kern="1200" cap="none" spc="0" normalizeH="0" baseline="0" noProof="0">
              <a:ln>
                <a:noFill/>
              </a:ln>
              <a:solidFill>
                <a:srgbClr val="000000"/>
              </a:solidFill>
              <a:effectLst/>
              <a:uLnTx/>
              <a:uFillTx/>
              <a:latin typeface="Arial"/>
              <a:cs typeface="+mn-ea"/>
              <a:sym typeface="+mn-lt"/>
            </a:endParaRPr>
          </a:p>
        </p:txBody>
      </p:sp>
      <p:sp>
        <p:nvSpPr>
          <p:cNvPr id="30" name="Freeform 8">
            <a:extLst>
              <a:ext uri="{FF2B5EF4-FFF2-40B4-BE49-F238E27FC236}">
                <a16:creationId xmlns:a16="http://schemas.microsoft.com/office/drawing/2014/main" id="{D79AF1BF-A934-490C-8B68-4DB3FAF5E72E}"/>
              </a:ext>
            </a:extLst>
          </p:cNvPr>
          <p:cNvSpPr>
            <a:spLocks/>
          </p:cNvSpPr>
          <p:nvPr/>
        </p:nvSpPr>
        <p:spPr bwMode="auto">
          <a:xfrm flipH="1" flipV="1">
            <a:off x="8075575" y="4905835"/>
            <a:ext cx="1870075" cy="76944"/>
          </a:xfrm>
          <a:custGeom>
            <a:avLst/>
            <a:gdLst>
              <a:gd name="T0" fmla="*/ 0 w 3347745"/>
              <a:gd name="T1" fmla="*/ 6873008 h 4079175"/>
              <a:gd name="T2" fmla="*/ 5827493 w 3347745"/>
              <a:gd name="T3" fmla="*/ 0 h 4079175"/>
              <a:gd name="T4" fmla="*/ 0 60000 65536"/>
              <a:gd name="T5" fmla="*/ 0 60000 65536"/>
            </a:gdLst>
            <a:ahLst/>
            <a:cxnLst>
              <a:cxn ang="T4">
                <a:pos x="T0" y="T1"/>
              </a:cxn>
              <a:cxn ang="T5">
                <a:pos x="T2" y="T3"/>
              </a:cxn>
            </a:cxnLst>
            <a:rect l="0" t="0" r="r" b="b"/>
            <a:pathLst>
              <a:path w="3347745" h="4079175">
                <a:moveTo>
                  <a:pt x="0" y="4079175"/>
                </a:moveTo>
                <a:lnTo>
                  <a:pt x="3347745" y="0"/>
                </a:lnTo>
              </a:path>
            </a:pathLst>
          </a:custGeom>
          <a:noFill/>
          <a:ln w="57150" cap="flat" cmpd="sng">
            <a:solidFill>
              <a:schemeClr val="accent1">
                <a:lumMod val="100000"/>
              </a:schemeClr>
            </a:solidFill>
            <a:prstDash val="solid"/>
            <a:miter lim="400000"/>
            <a:headEnd type="none" w="med" len="med"/>
            <a:tailEnd type="none" w="med" len="med"/>
          </a:ln>
          <a:extLst>
            <a:ext uri="{909E8E84-426E-40DD-AFC4-6F175D3DCCD1}">
              <a14:hiddenFill xmlns:a14="http://schemas.microsoft.com/office/drawing/2010/main">
                <a:solidFill>
                  <a:srgbClr val="FFFFFF"/>
                </a:solidFill>
              </a14:hiddenFill>
            </a:ext>
          </a:extLst>
        </p:spPr>
        <p:txBody>
          <a:bodyPr lIns="0" tIns="0" rIns="0" bIns="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500" b="0" i="0" u="none" strike="noStrike" kern="1200" cap="none" spc="0" normalizeH="0" baseline="0" noProof="0">
              <a:ln>
                <a:noFill/>
              </a:ln>
              <a:solidFill>
                <a:srgbClr val="000000"/>
              </a:solidFill>
              <a:effectLst/>
              <a:uLnTx/>
              <a:uFillTx/>
              <a:latin typeface="Arial"/>
              <a:cs typeface="+mn-ea"/>
              <a:sym typeface="+mn-lt"/>
            </a:endParaRPr>
          </a:p>
        </p:txBody>
      </p:sp>
      <p:sp>
        <p:nvSpPr>
          <p:cNvPr id="31" name="Freeform 8">
            <a:extLst>
              <a:ext uri="{FF2B5EF4-FFF2-40B4-BE49-F238E27FC236}">
                <a16:creationId xmlns:a16="http://schemas.microsoft.com/office/drawing/2014/main" id="{B7DCE732-C0B3-4836-91D0-5E02CCCC4267}"/>
              </a:ext>
            </a:extLst>
          </p:cNvPr>
          <p:cNvSpPr>
            <a:spLocks/>
          </p:cNvSpPr>
          <p:nvPr/>
        </p:nvSpPr>
        <p:spPr bwMode="auto">
          <a:xfrm flipH="1">
            <a:off x="8075575" y="2529744"/>
            <a:ext cx="1870075" cy="76944"/>
          </a:xfrm>
          <a:custGeom>
            <a:avLst/>
            <a:gdLst>
              <a:gd name="T0" fmla="*/ 0 w 3347745"/>
              <a:gd name="T1" fmla="*/ 6882649 h 4079175"/>
              <a:gd name="T2" fmla="*/ 5827493 w 3347745"/>
              <a:gd name="T3" fmla="*/ 0 h 4079175"/>
              <a:gd name="T4" fmla="*/ 0 60000 65536"/>
              <a:gd name="T5" fmla="*/ 0 60000 65536"/>
            </a:gdLst>
            <a:ahLst/>
            <a:cxnLst>
              <a:cxn ang="T4">
                <a:pos x="T0" y="T1"/>
              </a:cxn>
              <a:cxn ang="T5">
                <a:pos x="T2" y="T3"/>
              </a:cxn>
            </a:cxnLst>
            <a:rect l="0" t="0" r="r" b="b"/>
            <a:pathLst>
              <a:path w="3347745" h="4079175">
                <a:moveTo>
                  <a:pt x="0" y="4079175"/>
                </a:moveTo>
                <a:lnTo>
                  <a:pt x="3347745" y="0"/>
                </a:lnTo>
              </a:path>
            </a:pathLst>
          </a:custGeom>
          <a:noFill/>
          <a:ln w="57150" cap="flat" cmpd="sng">
            <a:solidFill>
              <a:schemeClr val="accent1">
                <a:lumMod val="100000"/>
              </a:schemeClr>
            </a:solidFill>
            <a:prstDash val="solid"/>
            <a:miter lim="400000"/>
            <a:headEnd type="none" w="med" len="med"/>
            <a:tailEnd type="none" w="med" len="med"/>
          </a:ln>
          <a:extLst>
            <a:ext uri="{909E8E84-426E-40DD-AFC4-6F175D3DCCD1}">
              <a14:hiddenFill xmlns:a14="http://schemas.microsoft.com/office/drawing/2010/main">
                <a:solidFill>
                  <a:srgbClr val="FFFFFF"/>
                </a:solidFill>
              </a14:hiddenFill>
            </a:ext>
          </a:extLst>
        </p:spPr>
        <p:txBody>
          <a:bodyPr lIns="0" tIns="0" rIns="0" bIns="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500" b="0" i="0" u="none" strike="noStrike" kern="1200" cap="none" spc="0" normalizeH="0" baseline="0" noProof="0" dirty="0">
              <a:ln>
                <a:noFill/>
              </a:ln>
              <a:solidFill>
                <a:srgbClr val="000000"/>
              </a:solidFill>
              <a:effectLst/>
              <a:uLnTx/>
              <a:uFillTx/>
              <a:latin typeface="Arial"/>
              <a:cs typeface="+mn-ea"/>
              <a:sym typeface="+mn-lt"/>
            </a:endParaRPr>
          </a:p>
        </p:txBody>
      </p:sp>
      <p:sp>
        <p:nvSpPr>
          <p:cNvPr id="32" name="Oval 66">
            <a:extLst>
              <a:ext uri="{FF2B5EF4-FFF2-40B4-BE49-F238E27FC236}">
                <a16:creationId xmlns:a16="http://schemas.microsoft.com/office/drawing/2014/main" id="{125B27D2-485E-439C-AEED-C73D44B0BA77}"/>
              </a:ext>
            </a:extLst>
          </p:cNvPr>
          <p:cNvSpPr>
            <a:spLocks noChangeArrowheads="1"/>
          </p:cNvSpPr>
          <p:nvPr/>
        </p:nvSpPr>
        <p:spPr bwMode="auto">
          <a:xfrm>
            <a:off x="8620882" y="2160899"/>
            <a:ext cx="153988" cy="108198"/>
          </a:xfrm>
          <a:prstGeom prst="ellipse">
            <a:avLst/>
          </a:prstGeom>
          <a:solidFill>
            <a:schemeClr val="accent1">
              <a:lumMod val="100000"/>
            </a:schemeClr>
          </a:solidFill>
          <a:ln>
            <a:noFill/>
          </a:ln>
        </p:spPr>
        <p:txBody>
          <a:bodyPr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altLang="en-US" sz="500" b="0" i="0" u="none" strike="noStrike" kern="1200" cap="none" spc="0" normalizeH="0" baseline="0" noProof="0">
              <a:ln>
                <a:noFill/>
              </a:ln>
              <a:solidFill>
                <a:srgbClr val="009FDE"/>
              </a:solidFill>
              <a:effectLst/>
              <a:uLnTx/>
              <a:uFillTx/>
              <a:latin typeface="Arial"/>
              <a:cs typeface="+mn-ea"/>
              <a:sym typeface="+mn-lt"/>
            </a:endParaRPr>
          </a:p>
        </p:txBody>
      </p:sp>
      <p:sp>
        <p:nvSpPr>
          <p:cNvPr id="33" name="Oval 66">
            <a:extLst>
              <a:ext uri="{FF2B5EF4-FFF2-40B4-BE49-F238E27FC236}">
                <a16:creationId xmlns:a16="http://schemas.microsoft.com/office/drawing/2014/main" id="{F3BE2E2B-9161-46FA-9F4C-327AA1D420D7}"/>
              </a:ext>
            </a:extLst>
          </p:cNvPr>
          <p:cNvSpPr>
            <a:spLocks noChangeArrowheads="1"/>
          </p:cNvSpPr>
          <p:nvPr/>
        </p:nvSpPr>
        <p:spPr bwMode="auto">
          <a:xfrm>
            <a:off x="9700382" y="3661880"/>
            <a:ext cx="432594" cy="108198"/>
          </a:xfrm>
          <a:prstGeom prst="ellipse">
            <a:avLst/>
          </a:prstGeom>
          <a:solidFill>
            <a:schemeClr val="accent1">
              <a:lumMod val="100000"/>
            </a:schemeClr>
          </a:solidFill>
          <a:ln>
            <a:noFill/>
          </a:ln>
        </p:spPr>
        <p:txBody>
          <a:bodyPr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altLang="en-US" sz="500" b="0" i="0" u="none" strike="noStrike" kern="1200" cap="none" spc="0" normalizeH="0" baseline="0" noProof="0">
              <a:ln>
                <a:noFill/>
              </a:ln>
              <a:solidFill>
                <a:srgbClr val="000000"/>
              </a:solidFill>
              <a:effectLst/>
              <a:uLnTx/>
              <a:uFillTx/>
              <a:latin typeface="Arial"/>
              <a:cs typeface="+mn-ea"/>
              <a:sym typeface="+mn-lt"/>
            </a:endParaRPr>
          </a:p>
        </p:txBody>
      </p:sp>
      <p:sp>
        <p:nvSpPr>
          <p:cNvPr id="34" name="Oval 66">
            <a:extLst>
              <a:ext uri="{FF2B5EF4-FFF2-40B4-BE49-F238E27FC236}">
                <a16:creationId xmlns:a16="http://schemas.microsoft.com/office/drawing/2014/main" id="{22910076-E26F-455F-9309-FC00CBC862B9}"/>
              </a:ext>
            </a:extLst>
          </p:cNvPr>
          <p:cNvSpPr>
            <a:spLocks noChangeArrowheads="1"/>
          </p:cNvSpPr>
          <p:nvPr/>
        </p:nvSpPr>
        <p:spPr bwMode="auto">
          <a:xfrm>
            <a:off x="7993025" y="1544155"/>
            <a:ext cx="396082" cy="108198"/>
          </a:xfrm>
          <a:prstGeom prst="ellipse">
            <a:avLst/>
          </a:prstGeom>
          <a:solidFill>
            <a:schemeClr val="accent1">
              <a:lumMod val="100000"/>
            </a:schemeClr>
          </a:solidFill>
          <a:ln>
            <a:noFill/>
          </a:ln>
        </p:spPr>
        <p:txBody>
          <a:bodyPr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altLang="en-US" sz="500" b="0" i="0" u="none" strike="noStrike" kern="1200" cap="none" spc="0" normalizeH="0" baseline="0" noProof="0">
              <a:ln>
                <a:noFill/>
              </a:ln>
              <a:solidFill>
                <a:srgbClr val="009FDE"/>
              </a:solidFill>
              <a:effectLst/>
              <a:uLnTx/>
              <a:uFillTx/>
              <a:latin typeface="Arial"/>
              <a:cs typeface="+mn-ea"/>
              <a:sym typeface="+mn-lt"/>
            </a:endParaRPr>
          </a:p>
        </p:txBody>
      </p:sp>
      <p:sp>
        <p:nvSpPr>
          <p:cNvPr id="35" name="TextBox 46">
            <a:extLst>
              <a:ext uri="{FF2B5EF4-FFF2-40B4-BE49-F238E27FC236}">
                <a16:creationId xmlns:a16="http://schemas.microsoft.com/office/drawing/2014/main" id="{68E56337-78CF-4397-ACB8-FCEB4452BA94}"/>
              </a:ext>
            </a:extLst>
          </p:cNvPr>
          <p:cNvSpPr txBox="1">
            <a:spLocks noChangeArrowheads="1"/>
          </p:cNvSpPr>
          <p:nvPr/>
        </p:nvSpPr>
        <p:spPr bwMode="auto">
          <a:xfrm>
            <a:off x="5967375" y="1483557"/>
            <a:ext cx="1870075"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1pPr>
            <a:lvl2pPr marL="742950" indent="-28575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2pPr>
            <a:lvl3pPr marL="11430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3pPr>
            <a:lvl4pPr marL="16002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4pPr>
            <a:lvl5pPr marL="20574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5pPr>
            <a:lvl6pPr marL="25146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6pPr>
            <a:lvl7pPr marL="29718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7pPr>
            <a:lvl8pPr marL="34290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8pPr>
            <a:lvl9pPr marL="38862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altLang="en-US" sz="1400" b="1" i="0" u="none" strike="noStrike" kern="1200" cap="none" spc="0" normalizeH="0" baseline="0" noProof="0">
                <a:ln>
                  <a:noFill/>
                </a:ln>
                <a:solidFill>
                  <a:schemeClr val="accent1"/>
                </a:solidFill>
                <a:effectLst/>
                <a:uLnTx/>
                <a:uFillTx/>
                <a:latin typeface="Arial"/>
                <a:ea typeface="+mn-ea"/>
                <a:cs typeface="+mn-ea"/>
                <a:sym typeface="+mn-lt"/>
              </a:rPr>
              <a:t>Placeholder text</a:t>
            </a:r>
          </a:p>
        </p:txBody>
      </p:sp>
      <p:sp>
        <p:nvSpPr>
          <p:cNvPr id="36" name="TextBox 46">
            <a:extLst>
              <a:ext uri="{FF2B5EF4-FFF2-40B4-BE49-F238E27FC236}">
                <a16:creationId xmlns:a16="http://schemas.microsoft.com/office/drawing/2014/main" id="{51463E03-B972-4744-B647-05C648BEA0D6}"/>
              </a:ext>
            </a:extLst>
          </p:cNvPr>
          <p:cNvSpPr txBox="1">
            <a:spLocks noChangeArrowheads="1"/>
          </p:cNvSpPr>
          <p:nvPr/>
        </p:nvSpPr>
        <p:spPr bwMode="auto">
          <a:xfrm>
            <a:off x="8061086" y="1497845"/>
            <a:ext cx="255199"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1pPr>
            <a:lvl2pPr marL="742950" indent="-28575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2pPr>
            <a:lvl3pPr marL="11430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3pPr>
            <a:lvl4pPr marL="16002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4pPr>
            <a:lvl5pPr marL="20574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5pPr>
            <a:lvl6pPr marL="25146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6pPr>
            <a:lvl7pPr marL="29718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7pPr>
            <a:lvl8pPr marL="34290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8pPr>
            <a:lvl9pPr marL="38862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000" b="1" i="0" u="none" strike="noStrike" kern="1200" cap="none" spc="0" normalizeH="0" baseline="0" noProof="0" dirty="0">
                <a:ln>
                  <a:noFill/>
                </a:ln>
                <a:solidFill>
                  <a:srgbClr val="FFFFFF"/>
                </a:solidFill>
                <a:effectLst/>
                <a:uLnTx/>
                <a:uFillTx/>
                <a:latin typeface="Arial"/>
                <a:ea typeface="+mn-ea"/>
                <a:cs typeface="+mn-ea"/>
                <a:sym typeface="+mn-lt"/>
              </a:rPr>
              <a:t>1</a:t>
            </a:r>
          </a:p>
        </p:txBody>
      </p:sp>
      <p:sp>
        <p:nvSpPr>
          <p:cNvPr id="37" name="Oval 66">
            <a:extLst>
              <a:ext uri="{FF2B5EF4-FFF2-40B4-BE49-F238E27FC236}">
                <a16:creationId xmlns:a16="http://schemas.microsoft.com/office/drawing/2014/main" id="{0C3AB3A2-B922-4C4E-BDA7-93A49C0148A7}"/>
              </a:ext>
            </a:extLst>
          </p:cNvPr>
          <p:cNvSpPr>
            <a:spLocks noChangeArrowheads="1"/>
          </p:cNvSpPr>
          <p:nvPr/>
        </p:nvSpPr>
        <p:spPr bwMode="auto">
          <a:xfrm>
            <a:off x="9269375" y="2916946"/>
            <a:ext cx="153988" cy="108198"/>
          </a:xfrm>
          <a:prstGeom prst="ellipse">
            <a:avLst/>
          </a:prstGeom>
          <a:solidFill>
            <a:schemeClr val="accent1">
              <a:lumMod val="100000"/>
            </a:schemeClr>
          </a:solidFill>
          <a:ln>
            <a:noFill/>
          </a:ln>
        </p:spPr>
        <p:txBody>
          <a:bodyPr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altLang="en-US" sz="500" b="0" i="0" u="none" strike="noStrike" kern="1200" cap="none" spc="0" normalizeH="0" baseline="0" noProof="0">
              <a:ln>
                <a:noFill/>
              </a:ln>
              <a:solidFill>
                <a:srgbClr val="009FDE"/>
              </a:solidFill>
              <a:effectLst/>
              <a:uLnTx/>
              <a:uFillTx/>
              <a:latin typeface="Arial"/>
              <a:cs typeface="+mn-ea"/>
              <a:sym typeface="+mn-lt"/>
            </a:endParaRPr>
          </a:p>
        </p:txBody>
      </p:sp>
      <p:sp>
        <p:nvSpPr>
          <p:cNvPr id="38" name="TextBox 46">
            <a:extLst>
              <a:ext uri="{FF2B5EF4-FFF2-40B4-BE49-F238E27FC236}">
                <a16:creationId xmlns:a16="http://schemas.microsoft.com/office/drawing/2014/main" id="{2131EB67-85A1-4593-9089-7B9ED5A8745C}"/>
              </a:ext>
            </a:extLst>
          </p:cNvPr>
          <p:cNvSpPr txBox="1">
            <a:spLocks noChangeArrowheads="1"/>
          </p:cNvSpPr>
          <p:nvPr/>
        </p:nvSpPr>
        <p:spPr bwMode="auto">
          <a:xfrm>
            <a:off x="9775874" y="3615570"/>
            <a:ext cx="277640"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1pPr>
            <a:lvl2pPr marL="742950" indent="-28575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2pPr>
            <a:lvl3pPr marL="11430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3pPr>
            <a:lvl4pPr marL="16002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4pPr>
            <a:lvl5pPr marL="20574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5pPr>
            <a:lvl6pPr marL="25146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6pPr>
            <a:lvl7pPr marL="29718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7pPr>
            <a:lvl8pPr marL="34290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8pPr>
            <a:lvl9pPr marL="38862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000" b="1" i="0" u="none" strike="noStrike" kern="1200" cap="none" spc="0" normalizeH="0" baseline="0" noProof="0">
                <a:ln>
                  <a:noFill/>
                </a:ln>
                <a:solidFill>
                  <a:srgbClr val="FFFFFF"/>
                </a:solidFill>
                <a:effectLst/>
                <a:uLnTx/>
                <a:uFillTx/>
                <a:latin typeface="Arial"/>
                <a:ea typeface="+mn-ea"/>
                <a:cs typeface="+mn-ea"/>
                <a:sym typeface="+mn-lt"/>
              </a:rPr>
              <a:t>A</a:t>
            </a:r>
          </a:p>
        </p:txBody>
      </p:sp>
      <p:sp>
        <p:nvSpPr>
          <p:cNvPr id="39" name="Oval 66">
            <a:extLst>
              <a:ext uri="{FF2B5EF4-FFF2-40B4-BE49-F238E27FC236}">
                <a16:creationId xmlns:a16="http://schemas.microsoft.com/office/drawing/2014/main" id="{7CAABE53-09E7-4BB7-83D0-889CDB6629BD}"/>
              </a:ext>
            </a:extLst>
          </p:cNvPr>
          <p:cNvSpPr>
            <a:spLocks noChangeArrowheads="1"/>
          </p:cNvSpPr>
          <p:nvPr/>
        </p:nvSpPr>
        <p:spPr bwMode="auto">
          <a:xfrm>
            <a:off x="7996994" y="5900255"/>
            <a:ext cx="396081" cy="108198"/>
          </a:xfrm>
          <a:prstGeom prst="ellipse">
            <a:avLst/>
          </a:prstGeom>
          <a:solidFill>
            <a:schemeClr val="accent1">
              <a:lumMod val="100000"/>
            </a:schemeClr>
          </a:solidFill>
          <a:ln>
            <a:noFill/>
          </a:ln>
        </p:spPr>
        <p:txBody>
          <a:bodyPr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altLang="en-US" sz="500" b="0" i="0" u="none" strike="noStrike" kern="1200" cap="none" spc="0" normalizeH="0" baseline="0" noProof="0">
              <a:ln>
                <a:noFill/>
              </a:ln>
              <a:solidFill>
                <a:srgbClr val="009FDE"/>
              </a:solidFill>
              <a:effectLst/>
              <a:uLnTx/>
              <a:uFillTx/>
              <a:latin typeface="Arial"/>
              <a:cs typeface="+mn-ea"/>
              <a:sym typeface="+mn-lt"/>
            </a:endParaRPr>
          </a:p>
        </p:txBody>
      </p:sp>
      <p:sp>
        <p:nvSpPr>
          <p:cNvPr id="40" name="TextBox 46">
            <a:extLst>
              <a:ext uri="{FF2B5EF4-FFF2-40B4-BE49-F238E27FC236}">
                <a16:creationId xmlns:a16="http://schemas.microsoft.com/office/drawing/2014/main" id="{AB30E27C-6D9F-4ADC-B53D-7448FA17C642}"/>
              </a:ext>
            </a:extLst>
          </p:cNvPr>
          <p:cNvSpPr txBox="1">
            <a:spLocks noChangeArrowheads="1"/>
          </p:cNvSpPr>
          <p:nvPr/>
        </p:nvSpPr>
        <p:spPr bwMode="auto">
          <a:xfrm>
            <a:off x="6120680" y="5840451"/>
            <a:ext cx="1720739"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1pPr>
            <a:lvl2pPr marL="742950" indent="-28575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2pPr>
            <a:lvl3pPr marL="11430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3pPr>
            <a:lvl4pPr marL="16002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4pPr>
            <a:lvl5pPr marL="20574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5pPr>
            <a:lvl6pPr marL="25146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6pPr>
            <a:lvl7pPr marL="29718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7pPr>
            <a:lvl8pPr marL="34290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8pPr>
            <a:lvl9pPr marL="38862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altLang="en-US" sz="1400" b="1" i="0" u="none" strike="noStrike" kern="1200" cap="none" spc="0" normalizeH="0" baseline="0" noProof="0" dirty="0">
                <a:ln>
                  <a:noFill/>
                </a:ln>
                <a:solidFill>
                  <a:schemeClr val="accent1"/>
                </a:solidFill>
                <a:effectLst/>
                <a:uLnTx/>
                <a:uFillTx/>
                <a:latin typeface="Arial"/>
                <a:ea typeface="+mn-ea"/>
                <a:cs typeface="+mn-ea"/>
                <a:sym typeface="+mn-lt"/>
              </a:rPr>
              <a:t>Placeholder text</a:t>
            </a:r>
          </a:p>
        </p:txBody>
      </p:sp>
      <p:sp>
        <p:nvSpPr>
          <p:cNvPr id="41" name="TextBox 148">
            <a:extLst>
              <a:ext uri="{FF2B5EF4-FFF2-40B4-BE49-F238E27FC236}">
                <a16:creationId xmlns:a16="http://schemas.microsoft.com/office/drawing/2014/main" id="{D9B7A183-904A-4269-94FE-EB3C5E9DECC1}"/>
              </a:ext>
            </a:extLst>
          </p:cNvPr>
          <p:cNvSpPr txBox="1">
            <a:spLocks noChangeArrowheads="1"/>
          </p:cNvSpPr>
          <p:nvPr/>
        </p:nvSpPr>
        <p:spPr bwMode="auto">
          <a:xfrm>
            <a:off x="8065055" y="5853945"/>
            <a:ext cx="255199"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1pPr>
            <a:lvl2pPr marL="742950" indent="-28575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2pPr>
            <a:lvl3pPr marL="11430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3pPr>
            <a:lvl4pPr marL="16002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4pPr>
            <a:lvl5pPr marL="20574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5pPr>
            <a:lvl6pPr marL="25146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6pPr>
            <a:lvl7pPr marL="29718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7pPr>
            <a:lvl8pPr marL="34290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8pPr>
            <a:lvl9pPr marL="38862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000" b="1" i="0" u="none" strike="noStrike" kern="1200" cap="none" spc="0" normalizeH="0" baseline="0" noProof="0">
                <a:ln>
                  <a:noFill/>
                </a:ln>
                <a:solidFill>
                  <a:srgbClr val="FFFFFF"/>
                </a:solidFill>
                <a:effectLst/>
                <a:uLnTx/>
                <a:uFillTx/>
                <a:latin typeface="Arial"/>
                <a:ea typeface="+mn-ea"/>
                <a:cs typeface="+mn-ea"/>
                <a:sym typeface="+mn-lt"/>
              </a:rPr>
              <a:t>2</a:t>
            </a:r>
          </a:p>
        </p:txBody>
      </p:sp>
      <p:sp>
        <p:nvSpPr>
          <p:cNvPr id="42" name="Oval 66">
            <a:extLst>
              <a:ext uri="{FF2B5EF4-FFF2-40B4-BE49-F238E27FC236}">
                <a16:creationId xmlns:a16="http://schemas.microsoft.com/office/drawing/2014/main" id="{E519B6A8-4A6C-4622-9C94-53C65D30662B}"/>
              </a:ext>
            </a:extLst>
          </p:cNvPr>
          <p:cNvSpPr>
            <a:spLocks noChangeArrowheads="1"/>
          </p:cNvSpPr>
          <p:nvPr/>
        </p:nvSpPr>
        <p:spPr bwMode="auto">
          <a:xfrm>
            <a:off x="8590719" y="5302165"/>
            <a:ext cx="154781" cy="108198"/>
          </a:xfrm>
          <a:prstGeom prst="ellipse">
            <a:avLst/>
          </a:prstGeom>
          <a:solidFill>
            <a:schemeClr val="accent1">
              <a:lumMod val="100000"/>
            </a:schemeClr>
          </a:solidFill>
          <a:ln>
            <a:noFill/>
          </a:ln>
        </p:spPr>
        <p:txBody>
          <a:bodyPr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altLang="en-US" sz="500" b="0" i="0" u="none" strike="noStrike" kern="1200" cap="none" spc="0" normalizeH="0" baseline="0" noProof="0">
              <a:ln>
                <a:noFill/>
              </a:ln>
              <a:solidFill>
                <a:srgbClr val="009FDE"/>
              </a:solidFill>
              <a:effectLst/>
              <a:uLnTx/>
              <a:uFillTx/>
              <a:latin typeface="Arial"/>
              <a:cs typeface="+mn-ea"/>
              <a:sym typeface="+mn-lt"/>
            </a:endParaRPr>
          </a:p>
        </p:txBody>
      </p:sp>
      <p:sp>
        <p:nvSpPr>
          <p:cNvPr id="43" name="Oval 66">
            <a:extLst>
              <a:ext uri="{FF2B5EF4-FFF2-40B4-BE49-F238E27FC236}">
                <a16:creationId xmlns:a16="http://schemas.microsoft.com/office/drawing/2014/main" id="{E1B085CC-8B37-497A-95F0-72C7B96B80D5}"/>
              </a:ext>
            </a:extLst>
          </p:cNvPr>
          <p:cNvSpPr>
            <a:spLocks noChangeArrowheads="1"/>
          </p:cNvSpPr>
          <p:nvPr/>
        </p:nvSpPr>
        <p:spPr bwMode="auto">
          <a:xfrm>
            <a:off x="9215400" y="4546118"/>
            <a:ext cx="154782" cy="108198"/>
          </a:xfrm>
          <a:prstGeom prst="ellipse">
            <a:avLst/>
          </a:prstGeom>
          <a:solidFill>
            <a:schemeClr val="accent1">
              <a:lumMod val="100000"/>
            </a:schemeClr>
          </a:solidFill>
          <a:ln>
            <a:noFill/>
          </a:ln>
        </p:spPr>
        <p:txBody>
          <a:bodyPr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altLang="en-US" sz="500" b="0" i="0" u="none" strike="noStrike" kern="1200" cap="none" spc="0" normalizeH="0" baseline="0" noProof="0">
              <a:ln>
                <a:noFill/>
              </a:ln>
              <a:solidFill>
                <a:srgbClr val="009FDE"/>
              </a:solidFill>
              <a:effectLst/>
              <a:uLnTx/>
              <a:uFillTx/>
              <a:latin typeface="Arial"/>
              <a:cs typeface="+mn-ea"/>
              <a:sym typeface="+mn-lt"/>
            </a:endParaRPr>
          </a:p>
        </p:txBody>
      </p:sp>
      <p:sp>
        <p:nvSpPr>
          <p:cNvPr id="44" name="Freeform 8">
            <a:extLst>
              <a:ext uri="{FF2B5EF4-FFF2-40B4-BE49-F238E27FC236}">
                <a16:creationId xmlns:a16="http://schemas.microsoft.com/office/drawing/2014/main" id="{3BC96423-6599-40BD-9D04-1726FB17D1C0}"/>
              </a:ext>
            </a:extLst>
          </p:cNvPr>
          <p:cNvSpPr>
            <a:spLocks/>
          </p:cNvSpPr>
          <p:nvPr/>
        </p:nvSpPr>
        <p:spPr bwMode="auto">
          <a:xfrm flipH="1" flipV="1">
            <a:off x="5059325" y="4905835"/>
            <a:ext cx="1870075" cy="76944"/>
          </a:xfrm>
          <a:custGeom>
            <a:avLst/>
            <a:gdLst>
              <a:gd name="T0" fmla="*/ 0 w 3347745"/>
              <a:gd name="T1" fmla="*/ 6873008 h 4079175"/>
              <a:gd name="T2" fmla="*/ 5827493 w 3347745"/>
              <a:gd name="T3" fmla="*/ 0 h 4079175"/>
              <a:gd name="T4" fmla="*/ 0 60000 65536"/>
              <a:gd name="T5" fmla="*/ 0 60000 65536"/>
            </a:gdLst>
            <a:ahLst/>
            <a:cxnLst>
              <a:cxn ang="T4">
                <a:pos x="T0" y="T1"/>
              </a:cxn>
              <a:cxn ang="T5">
                <a:pos x="T2" y="T3"/>
              </a:cxn>
            </a:cxnLst>
            <a:rect l="0" t="0" r="r" b="b"/>
            <a:pathLst>
              <a:path w="3347745" h="4079175">
                <a:moveTo>
                  <a:pt x="0" y="4079175"/>
                </a:moveTo>
                <a:lnTo>
                  <a:pt x="3347745" y="0"/>
                </a:lnTo>
              </a:path>
            </a:pathLst>
          </a:custGeom>
          <a:noFill/>
          <a:ln w="57150" cap="flat" cmpd="sng">
            <a:solidFill>
              <a:schemeClr val="accent1">
                <a:lumMod val="100000"/>
              </a:schemeClr>
            </a:solidFill>
            <a:prstDash val="solid"/>
            <a:miter lim="400000"/>
            <a:headEnd type="none" w="med" len="med"/>
            <a:tailEnd type="none" w="med" len="med"/>
          </a:ln>
          <a:extLst>
            <a:ext uri="{909E8E84-426E-40DD-AFC4-6F175D3DCCD1}">
              <a14:hiddenFill xmlns:a14="http://schemas.microsoft.com/office/drawing/2010/main">
                <a:solidFill>
                  <a:srgbClr val="FFFFFF"/>
                </a:solidFill>
              </a14:hiddenFill>
            </a:ext>
          </a:extLst>
        </p:spPr>
        <p:txBody>
          <a:bodyPr lIns="0" tIns="0" rIns="0" bIns="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500" b="0" i="0" u="none" strike="noStrike" kern="1200" cap="none" spc="0" normalizeH="0" baseline="0" noProof="0">
              <a:ln>
                <a:noFill/>
              </a:ln>
              <a:solidFill>
                <a:srgbClr val="000000"/>
              </a:solidFill>
              <a:effectLst/>
              <a:uLnTx/>
              <a:uFillTx/>
              <a:latin typeface="Arial"/>
              <a:cs typeface="+mn-ea"/>
              <a:sym typeface="+mn-lt"/>
            </a:endParaRPr>
          </a:p>
        </p:txBody>
      </p:sp>
      <p:sp>
        <p:nvSpPr>
          <p:cNvPr id="45" name="Freeform 8">
            <a:extLst>
              <a:ext uri="{FF2B5EF4-FFF2-40B4-BE49-F238E27FC236}">
                <a16:creationId xmlns:a16="http://schemas.microsoft.com/office/drawing/2014/main" id="{9EA4B5D1-E4A4-441A-82CC-3AB2EE49E97C}"/>
              </a:ext>
            </a:extLst>
          </p:cNvPr>
          <p:cNvSpPr>
            <a:spLocks/>
          </p:cNvSpPr>
          <p:nvPr/>
        </p:nvSpPr>
        <p:spPr bwMode="auto">
          <a:xfrm flipH="1">
            <a:off x="5059325" y="2529744"/>
            <a:ext cx="1870075" cy="76944"/>
          </a:xfrm>
          <a:custGeom>
            <a:avLst/>
            <a:gdLst>
              <a:gd name="T0" fmla="*/ 0 w 3347745"/>
              <a:gd name="T1" fmla="*/ 6882649 h 4079175"/>
              <a:gd name="T2" fmla="*/ 5827493 w 3347745"/>
              <a:gd name="T3" fmla="*/ 0 h 4079175"/>
              <a:gd name="T4" fmla="*/ 0 60000 65536"/>
              <a:gd name="T5" fmla="*/ 0 60000 65536"/>
            </a:gdLst>
            <a:ahLst/>
            <a:cxnLst>
              <a:cxn ang="T4">
                <a:pos x="T0" y="T1"/>
              </a:cxn>
              <a:cxn ang="T5">
                <a:pos x="T2" y="T3"/>
              </a:cxn>
            </a:cxnLst>
            <a:rect l="0" t="0" r="r" b="b"/>
            <a:pathLst>
              <a:path w="3347745" h="4079175">
                <a:moveTo>
                  <a:pt x="0" y="4079175"/>
                </a:moveTo>
                <a:lnTo>
                  <a:pt x="3347745" y="0"/>
                </a:lnTo>
              </a:path>
            </a:pathLst>
          </a:custGeom>
          <a:noFill/>
          <a:ln w="57150" cap="flat" cmpd="sng">
            <a:solidFill>
              <a:schemeClr val="accent1">
                <a:lumMod val="100000"/>
              </a:schemeClr>
            </a:solidFill>
            <a:prstDash val="solid"/>
            <a:miter lim="400000"/>
            <a:headEnd type="none" w="med" len="med"/>
            <a:tailEnd type="none" w="med" len="med"/>
          </a:ln>
          <a:extLst>
            <a:ext uri="{909E8E84-426E-40DD-AFC4-6F175D3DCCD1}">
              <a14:hiddenFill xmlns:a14="http://schemas.microsoft.com/office/drawing/2010/main">
                <a:solidFill>
                  <a:srgbClr val="FFFFFF"/>
                </a:solidFill>
              </a14:hiddenFill>
            </a:ext>
          </a:extLst>
        </p:spPr>
        <p:txBody>
          <a:bodyPr lIns="0" tIns="0" rIns="0" bIns="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500" b="0" i="0" u="none" strike="noStrike" kern="1200" cap="none" spc="0" normalizeH="0" baseline="0" noProof="0">
              <a:ln>
                <a:noFill/>
              </a:ln>
              <a:solidFill>
                <a:srgbClr val="000000"/>
              </a:solidFill>
              <a:effectLst/>
              <a:uLnTx/>
              <a:uFillTx/>
              <a:latin typeface="Arial"/>
              <a:cs typeface="+mn-ea"/>
              <a:sym typeface="+mn-lt"/>
            </a:endParaRPr>
          </a:p>
        </p:txBody>
      </p:sp>
      <p:sp>
        <p:nvSpPr>
          <p:cNvPr id="46" name="Oval 66">
            <a:extLst>
              <a:ext uri="{FF2B5EF4-FFF2-40B4-BE49-F238E27FC236}">
                <a16:creationId xmlns:a16="http://schemas.microsoft.com/office/drawing/2014/main" id="{DE0F1198-5610-42C0-9973-5A9D5E91D422}"/>
              </a:ext>
            </a:extLst>
          </p:cNvPr>
          <p:cNvSpPr>
            <a:spLocks noChangeArrowheads="1"/>
          </p:cNvSpPr>
          <p:nvPr/>
        </p:nvSpPr>
        <p:spPr bwMode="auto">
          <a:xfrm>
            <a:off x="5604632" y="2160899"/>
            <a:ext cx="153988" cy="108198"/>
          </a:xfrm>
          <a:prstGeom prst="ellipse">
            <a:avLst/>
          </a:prstGeom>
          <a:solidFill>
            <a:schemeClr val="accent1">
              <a:lumMod val="100000"/>
            </a:schemeClr>
          </a:solidFill>
          <a:ln>
            <a:noFill/>
          </a:ln>
        </p:spPr>
        <p:txBody>
          <a:bodyPr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altLang="en-US" sz="500" b="0" i="0" u="none" strike="noStrike" kern="1200" cap="none" spc="0" normalizeH="0" baseline="0" noProof="0">
              <a:ln>
                <a:noFill/>
              </a:ln>
              <a:solidFill>
                <a:srgbClr val="0677C7"/>
              </a:solidFill>
              <a:effectLst/>
              <a:uLnTx/>
              <a:uFillTx/>
              <a:latin typeface="Arial"/>
              <a:cs typeface="+mn-ea"/>
              <a:sym typeface="+mn-lt"/>
            </a:endParaRPr>
          </a:p>
        </p:txBody>
      </p:sp>
      <p:sp>
        <p:nvSpPr>
          <p:cNvPr id="47" name="Oval 66">
            <a:extLst>
              <a:ext uri="{FF2B5EF4-FFF2-40B4-BE49-F238E27FC236}">
                <a16:creationId xmlns:a16="http://schemas.microsoft.com/office/drawing/2014/main" id="{D352BD90-FB06-4C47-A4E8-9722372C27AC}"/>
              </a:ext>
            </a:extLst>
          </p:cNvPr>
          <p:cNvSpPr>
            <a:spLocks noChangeArrowheads="1"/>
          </p:cNvSpPr>
          <p:nvPr/>
        </p:nvSpPr>
        <p:spPr bwMode="auto">
          <a:xfrm>
            <a:off x="6684132" y="3661880"/>
            <a:ext cx="432594" cy="108198"/>
          </a:xfrm>
          <a:prstGeom prst="ellipse">
            <a:avLst/>
          </a:prstGeom>
          <a:solidFill>
            <a:schemeClr val="accent1">
              <a:lumMod val="100000"/>
            </a:schemeClr>
          </a:solidFill>
          <a:ln>
            <a:noFill/>
          </a:ln>
        </p:spPr>
        <p:txBody>
          <a:bodyPr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altLang="en-US" sz="500" b="0" i="0" u="none" strike="noStrike" kern="1200" cap="none" spc="0" normalizeH="0" baseline="0" noProof="0">
              <a:ln>
                <a:noFill/>
              </a:ln>
              <a:solidFill>
                <a:srgbClr val="009FDE"/>
              </a:solidFill>
              <a:effectLst/>
              <a:uLnTx/>
              <a:uFillTx/>
              <a:latin typeface="Arial"/>
              <a:cs typeface="+mn-ea"/>
              <a:sym typeface="+mn-lt"/>
            </a:endParaRPr>
          </a:p>
        </p:txBody>
      </p:sp>
      <p:sp>
        <p:nvSpPr>
          <p:cNvPr id="48" name="Oval 66">
            <a:extLst>
              <a:ext uri="{FF2B5EF4-FFF2-40B4-BE49-F238E27FC236}">
                <a16:creationId xmlns:a16="http://schemas.microsoft.com/office/drawing/2014/main" id="{6F0C478F-7644-46A6-AD9C-11C86819E8BD}"/>
              </a:ext>
            </a:extLst>
          </p:cNvPr>
          <p:cNvSpPr>
            <a:spLocks noChangeArrowheads="1"/>
          </p:cNvSpPr>
          <p:nvPr/>
        </p:nvSpPr>
        <p:spPr bwMode="auto">
          <a:xfrm>
            <a:off x="4976775" y="1544155"/>
            <a:ext cx="396082" cy="108198"/>
          </a:xfrm>
          <a:prstGeom prst="ellipse">
            <a:avLst/>
          </a:prstGeom>
          <a:solidFill>
            <a:schemeClr val="accent1">
              <a:lumMod val="100000"/>
            </a:schemeClr>
          </a:solidFill>
          <a:ln>
            <a:noFill/>
          </a:ln>
        </p:spPr>
        <p:txBody>
          <a:bodyPr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altLang="en-US" sz="500" b="0" i="0" u="none" strike="noStrike" kern="1200" cap="none" spc="0" normalizeH="0" baseline="0" noProof="0">
              <a:ln>
                <a:noFill/>
              </a:ln>
              <a:solidFill>
                <a:srgbClr val="0677C7"/>
              </a:solidFill>
              <a:effectLst/>
              <a:uLnTx/>
              <a:uFillTx/>
              <a:latin typeface="Arial"/>
              <a:cs typeface="+mn-ea"/>
              <a:sym typeface="+mn-lt"/>
            </a:endParaRPr>
          </a:p>
        </p:txBody>
      </p:sp>
      <p:sp>
        <p:nvSpPr>
          <p:cNvPr id="49" name="TextBox 46">
            <a:extLst>
              <a:ext uri="{FF2B5EF4-FFF2-40B4-BE49-F238E27FC236}">
                <a16:creationId xmlns:a16="http://schemas.microsoft.com/office/drawing/2014/main" id="{C6667C69-124A-432B-9D57-5244EA99437E}"/>
              </a:ext>
            </a:extLst>
          </p:cNvPr>
          <p:cNvSpPr txBox="1">
            <a:spLocks noChangeArrowheads="1"/>
          </p:cNvSpPr>
          <p:nvPr/>
        </p:nvSpPr>
        <p:spPr bwMode="auto">
          <a:xfrm>
            <a:off x="2951125" y="1483557"/>
            <a:ext cx="1870075"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1pPr>
            <a:lvl2pPr marL="742950" indent="-28575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2pPr>
            <a:lvl3pPr marL="11430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3pPr>
            <a:lvl4pPr marL="16002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4pPr>
            <a:lvl5pPr marL="20574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5pPr>
            <a:lvl6pPr marL="25146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6pPr>
            <a:lvl7pPr marL="29718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7pPr>
            <a:lvl8pPr marL="34290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8pPr>
            <a:lvl9pPr marL="38862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altLang="en-US" sz="1400" b="1" i="0" u="none" strike="noStrike" kern="1200" cap="none" spc="0" normalizeH="0" baseline="0" noProof="0" dirty="0">
                <a:ln>
                  <a:noFill/>
                </a:ln>
                <a:solidFill>
                  <a:schemeClr val="accent1"/>
                </a:solidFill>
                <a:effectLst/>
                <a:uLnTx/>
                <a:uFillTx/>
                <a:latin typeface="Arial"/>
                <a:ea typeface="+mn-ea"/>
                <a:cs typeface="+mn-ea"/>
                <a:sym typeface="+mn-lt"/>
              </a:rPr>
              <a:t>Placeholder text</a:t>
            </a:r>
          </a:p>
        </p:txBody>
      </p:sp>
      <p:sp>
        <p:nvSpPr>
          <p:cNvPr id="50" name="TextBox 46">
            <a:extLst>
              <a:ext uri="{FF2B5EF4-FFF2-40B4-BE49-F238E27FC236}">
                <a16:creationId xmlns:a16="http://schemas.microsoft.com/office/drawing/2014/main" id="{AA2E7437-B7B7-4532-A6A0-DCEDD6A8B1CC}"/>
              </a:ext>
            </a:extLst>
          </p:cNvPr>
          <p:cNvSpPr txBox="1">
            <a:spLocks noChangeArrowheads="1"/>
          </p:cNvSpPr>
          <p:nvPr/>
        </p:nvSpPr>
        <p:spPr bwMode="auto">
          <a:xfrm>
            <a:off x="5044836" y="1497845"/>
            <a:ext cx="255199"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1pPr>
            <a:lvl2pPr marL="742950" indent="-28575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2pPr>
            <a:lvl3pPr marL="11430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3pPr>
            <a:lvl4pPr marL="16002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4pPr>
            <a:lvl5pPr marL="20574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5pPr>
            <a:lvl6pPr marL="25146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6pPr>
            <a:lvl7pPr marL="29718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7pPr>
            <a:lvl8pPr marL="34290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8pPr>
            <a:lvl9pPr marL="38862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000" b="1" i="0" u="none" strike="noStrike" kern="1200" cap="none" spc="0" normalizeH="0" baseline="0" noProof="0">
                <a:ln>
                  <a:noFill/>
                </a:ln>
                <a:solidFill>
                  <a:srgbClr val="FFFFFF"/>
                </a:solidFill>
                <a:effectLst/>
                <a:uLnTx/>
                <a:uFillTx/>
                <a:latin typeface="Arial"/>
                <a:ea typeface="+mn-ea"/>
                <a:cs typeface="+mn-ea"/>
                <a:sym typeface="+mn-lt"/>
              </a:rPr>
              <a:t>3</a:t>
            </a:r>
          </a:p>
        </p:txBody>
      </p:sp>
      <p:sp>
        <p:nvSpPr>
          <p:cNvPr id="51" name="Oval 66">
            <a:extLst>
              <a:ext uri="{FF2B5EF4-FFF2-40B4-BE49-F238E27FC236}">
                <a16:creationId xmlns:a16="http://schemas.microsoft.com/office/drawing/2014/main" id="{038E6CF1-D892-48BB-B6B8-998787C79869}"/>
              </a:ext>
            </a:extLst>
          </p:cNvPr>
          <p:cNvSpPr>
            <a:spLocks noChangeArrowheads="1"/>
          </p:cNvSpPr>
          <p:nvPr/>
        </p:nvSpPr>
        <p:spPr bwMode="auto">
          <a:xfrm>
            <a:off x="6253125" y="2916946"/>
            <a:ext cx="153988" cy="108198"/>
          </a:xfrm>
          <a:prstGeom prst="ellipse">
            <a:avLst/>
          </a:prstGeom>
          <a:solidFill>
            <a:schemeClr val="accent1">
              <a:lumMod val="100000"/>
            </a:schemeClr>
          </a:solidFill>
          <a:ln>
            <a:noFill/>
          </a:ln>
        </p:spPr>
        <p:txBody>
          <a:bodyPr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altLang="en-US" sz="500" b="0" i="0" u="none" strike="noStrike" kern="1200" cap="none" spc="0" normalizeH="0" baseline="0" noProof="0">
              <a:ln>
                <a:noFill/>
              </a:ln>
              <a:solidFill>
                <a:srgbClr val="009FDE"/>
              </a:solidFill>
              <a:effectLst/>
              <a:uLnTx/>
              <a:uFillTx/>
              <a:latin typeface="Arial"/>
              <a:cs typeface="+mn-ea"/>
              <a:sym typeface="+mn-lt"/>
            </a:endParaRPr>
          </a:p>
        </p:txBody>
      </p:sp>
      <p:sp>
        <p:nvSpPr>
          <p:cNvPr id="52" name="TextBox 46">
            <a:extLst>
              <a:ext uri="{FF2B5EF4-FFF2-40B4-BE49-F238E27FC236}">
                <a16:creationId xmlns:a16="http://schemas.microsoft.com/office/drawing/2014/main" id="{67A61179-AA7D-4509-8EF4-C416F36E7D3A}"/>
              </a:ext>
            </a:extLst>
          </p:cNvPr>
          <p:cNvSpPr txBox="1">
            <a:spLocks noChangeArrowheads="1"/>
          </p:cNvSpPr>
          <p:nvPr/>
        </p:nvSpPr>
        <p:spPr bwMode="auto">
          <a:xfrm>
            <a:off x="6759624" y="3615570"/>
            <a:ext cx="277640"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1pPr>
            <a:lvl2pPr marL="742950" indent="-28575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2pPr>
            <a:lvl3pPr marL="11430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3pPr>
            <a:lvl4pPr marL="16002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4pPr>
            <a:lvl5pPr marL="20574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5pPr>
            <a:lvl6pPr marL="25146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6pPr>
            <a:lvl7pPr marL="29718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7pPr>
            <a:lvl8pPr marL="34290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8pPr>
            <a:lvl9pPr marL="38862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000" b="1" i="0" u="none" strike="noStrike" kern="1200" cap="none" spc="0" normalizeH="0" baseline="0" noProof="0" dirty="0">
                <a:ln>
                  <a:noFill/>
                </a:ln>
                <a:solidFill>
                  <a:srgbClr val="FFFFFF"/>
                </a:solidFill>
                <a:effectLst/>
                <a:uLnTx/>
                <a:uFillTx/>
                <a:latin typeface="Arial"/>
                <a:ea typeface="+mn-ea"/>
                <a:cs typeface="+mn-ea"/>
                <a:sym typeface="+mn-lt"/>
              </a:rPr>
              <a:t>B</a:t>
            </a:r>
          </a:p>
        </p:txBody>
      </p:sp>
      <p:sp>
        <p:nvSpPr>
          <p:cNvPr id="53" name="Oval 66">
            <a:extLst>
              <a:ext uri="{FF2B5EF4-FFF2-40B4-BE49-F238E27FC236}">
                <a16:creationId xmlns:a16="http://schemas.microsoft.com/office/drawing/2014/main" id="{E38D8DDB-1D9B-4D28-83AE-F004C655C975}"/>
              </a:ext>
            </a:extLst>
          </p:cNvPr>
          <p:cNvSpPr>
            <a:spLocks noChangeArrowheads="1"/>
          </p:cNvSpPr>
          <p:nvPr/>
        </p:nvSpPr>
        <p:spPr bwMode="auto">
          <a:xfrm>
            <a:off x="4980744" y="5900255"/>
            <a:ext cx="396081" cy="108198"/>
          </a:xfrm>
          <a:prstGeom prst="ellipse">
            <a:avLst/>
          </a:prstGeom>
          <a:solidFill>
            <a:schemeClr val="accent1">
              <a:lumMod val="100000"/>
            </a:schemeClr>
          </a:solidFill>
          <a:ln>
            <a:noFill/>
          </a:ln>
        </p:spPr>
        <p:txBody>
          <a:bodyPr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altLang="en-US" sz="500" b="0" i="0" u="none" strike="noStrike" kern="1200" cap="none" spc="0" normalizeH="0" baseline="0" noProof="0">
              <a:ln>
                <a:noFill/>
              </a:ln>
              <a:solidFill>
                <a:srgbClr val="000000"/>
              </a:solidFill>
              <a:effectLst/>
              <a:uLnTx/>
              <a:uFillTx/>
              <a:latin typeface="Arial"/>
              <a:cs typeface="+mn-ea"/>
              <a:sym typeface="+mn-lt"/>
            </a:endParaRPr>
          </a:p>
        </p:txBody>
      </p:sp>
      <p:sp>
        <p:nvSpPr>
          <p:cNvPr id="54" name="TextBox 46">
            <a:extLst>
              <a:ext uri="{FF2B5EF4-FFF2-40B4-BE49-F238E27FC236}">
                <a16:creationId xmlns:a16="http://schemas.microsoft.com/office/drawing/2014/main" id="{C72FDCC4-8AF1-4023-800E-028C2AE31C07}"/>
              </a:ext>
            </a:extLst>
          </p:cNvPr>
          <p:cNvSpPr txBox="1">
            <a:spLocks noChangeArrowheads="1"/>
          </p:cNvSpPr>
          <p:nvPr/>
        </p:nvSpPr>
        <p:spPr bwMode="auto">
          <a:xfrm>
            <a:off x="2955095" y="5840451"/>
            <a:ext cx="1870075"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1pPr>
            <a:lvl2pPr marL="742950" indent="-28575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2pPr>
            <a:lvl3pPr marL="11430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3pPr>
            <a:lvl4pPr marL="16002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4pPr>
            <a:lvl5pPr marL="20574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5pPr>
            <a:lvl6pPr marL="25146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6pPr>
            <a:lvl7pPr marL="29718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7pPr>
            <a:lvl8pPr marL="34290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8pPr>
            <a:lvl9pPr marL="38862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altLang="en-US" sz="1400" b="1" i="0" u="none" strike="noStrike" kern="1200" cap="none" spc="0" normalizeH="0" baseline="0" noProof="0" dirty="0">
                <a:ln>
                  <a:noFill/>
                </a:ln>
                <a:solidFill>
                  <a:schemeClr val="accent1"/>
                </a:solidFill>
                <a:effectLst/>
                <a:uLnTx/>
                <a:uFillTx/>
                <a:latin typeface="Arial"/>
                <a:ea typeface="+mn-ea"/>
                <a:cs typeface="+mn-ea"/>
                <a:sym typeface="+mn-lt"/>
              </a:rPr>
              <a:t>Placeholder text</a:t>
            </a:r>
          </a:p>
        </p:txBody>
      </p:sp>
      <p:sp>
        <p:nvSpPr>
          <p:cNvPr id="55" name="TextBox 46">
            <a:extLst>
              <a:ext uri="{FF2B5EF4-FFF2-40B4-BE49-F238E27FC236}">
                <a16:creationId xmlns:a16="http://schemas.microsoft.com/office/drawing/2014/main" id="{02590712-DD2E-4A8C-85DC-6AD979F58DE7}"/>
              </a:ext>
            </a:extLst>
          </p:cNvPr>
          <p:cNvSpPr txBox="1">
            <a:spLocks noChangeArrowheads="1"/>
          </p:cNvSpPr>
          <p:nvPr/>
        </p:nvSpPr>
        <p:spPr bwMode="auto">
          <a:xfrm>
            <a:off x="5048805" y="5853945"/>
            <a:ext cx="255199"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1pPr>
            <a:lvl2pPr marL="742950" indent="-28575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2pPr>
            <a:lvl3pPr marL="11430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3pPr>
            <a:lvl4pPr marL="16002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4pPr>
            <a:lvl5pPr marL="20574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5pPr>
            <a:lvl6pPr marL="25146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6pPr>
            <a:lvl7pPr marL="29718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7pPr>
            <a:lvl8pPr marL="34290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8pPr>
            <a:lvl9pPr marL="38862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000" b="1" i="0" u="none" strike="noStrike" kern="1200" cap="none" spc="0" normalizeH="0" baseline="0" noProof="0">
                <a:ln>
                  <a:noFill/>
                </a:ln>
                <a:solidFill>
                  <a:srgbClr val="FFFFFF"/>
                </a:solidFill>
                <a:effectLst/>
                <a:uLnTx/>
                <a:uFillTx/>
                <a:latin typeface="Arial"/>
                <a:ea typeface="+mn-ea"/>
                <a:cs typeface="+mn-ea"/>
                <a:sym typeface="+mn-lt"/>
              </a:rPr>
              <a:t>4</a:t>
            </a:r>
          </a:p>
        </p:txBody>
      </p:sp>
      <p:sp>
        <p:nvSpPr>
          <p:cNvPr id="56" name="Oval 66">
            <a:extLst>
              <a:ext uri="{FF2B5EF4-FFF2-40B4-BE49-F238E27FC236}">
                <a16:creationId xmlns:a16="http://schemas.microsoft.com/office/drawing/2014/main" id="{9484A54D-52A0-4113-8E85-B0056351A444}"/>
              </a:ext>
            </a:extLst>
          </p:cNvPr>
          <p:cNvSpPr>
            <a:spLocks noChangeArrowheads="1"/>
          </p:cNvSpPr>
          <p:nvPr/>
        </p:nvSpPr>
        <p:spPr bwMode="auto">
          <a:xfrm>
            <a:off x="5587963" y="5302165"/>
            <a:ext cx="153988" cy="108198"/>
          </a:xfrm>
          <a:prstGeom prst="ellipse">
            <a:avLst/>
          </a:prstGeom>
          <a:solidFill>
            <a:schemeClr val="accent1">
              <a:lumMod val="100000"/>
            </a:schemeClr>
          </a:solidFill>
          <a:ln>
            <a:noFill/>
          </a:ln>
        </p:spPr>
        <p:txBody>
          <a:bodyPr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altLang="en-US" sz="500" b="0" i="0" u="none" strike="noStrike" kern="1200" cap="none" spc="0" normalizeH="0" baseline="0" noProof="0">
              <a:ln>
                <a:noFill/>
              </a:ln>
              <a:solidFill>
                <a:srgbClr val="000000"/>
              </a:solidFill>
              <a:effectLst/>
              <a:uLnTx/>
              <a:uFillTx/>
              <a:latin typeface="Arial"/>
              <a:cs typeface="+mn-ea"/>
              <a:sym typeface="+mn-lt"/>
            </a:endParaRPr>
          </a:p>
        </p:txBody>
      </p:sp>
      <p:sp>
        <p:nvSpPr>
          <p:cNvPr id="57" name="Oval 66">
            <a:extLst>
              <a:ext uri="{FF2B5EF4-FFF2-40B4-BE49-F238E27FC236}">
                <a16:creationId xmlns:a16="http://schemas.microsoft.com/office/drawing/2014/main" id="{B20A2DC9-4EA6-44EE-80A3-FA5F1E9504DF}"/>
              </a:ext>
            </a:extLst>
          </p:cNvPr>
          <p:cNvSpPr>
            <a:spLocks noChangeArrowheads="1"/>
          </p:cNvSpPr>
          <p:nvPr/>
        </p:nvSpPr>
        <p:spPr bwMode="auto">
          <a:xfrm>
            <a:off x="6220582" y="4546118"/>
            <a:ext cx="153988" cy="108198"/>
          </a:xfrm>
          <a:prstGeom prst="ellipse">
            <a:avLst/>
          </a:prstGeom>
          <a:solidFill>
            <a:schemeClr val="accent1">
              <a:lumMod val="100000"/>
            </a:schemeClr>
          </a:solidFill>
          <a:ln>
            <a:noFill/>
          </a:ln>
        </p:spPr>
        <p:txBody>
          <a:bodyPr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altLang="en-US" sz="500" b="0" i="0" u="none" strike="noStrike" kern="1200" cap="none" spc="0" normalizeH="0" baseline="0" noProof="0">
              <a:ln>
                <a:noFill/>
              </a:ln>
              <a:solidFill>
                <a:srgbClr val="009FDE"/>
              </a:solidFill>
              <a:effectLst/>
              <a:uLnTx/>
              <a:uFillTx/>
              <a:latin typeface="Arial"/>
              <a:cs typeface="+mn-ea"/>
              <a:sym typeface="+mn-lt"/>
            </a:endParaRPr>
          </a:p>
        </p:txBody>
      </p:sp>
      <p:sp>
        <p:nvSpPr>
          <p:cNvPr id="58" name="Freeform 8">
            <a:extLst>
              <a:ext uri="{FF2B5EF4-FFF2-40B4-BE49-F238E27FC236}">
                <a16:creationId xmlns:a16="http://schemas.microsoft.com/office/drawing/2014/main" id="{9CC52592-8B51-430E-8F50-3FA05B290BA6}"/>
              </a:ext>
            </a:extLst>
          </p:cNvPr>
          <p:cNvSpPr>
            <a:spLocks/>
          </p:cNvSpPr>
          <p:nvPr/>
        </p:nvSpPr>
        <p:spPr bwMode="auto">
          <a:xfrm flipH="1" flipV="1">
            <a:off x="2043075" y="4905835"/>
            <a:ext cx="1870075" cy="76944"/>
          </a:xfrm>
          <a:custGeom>
            <a:avLst/>
            <a:gdLst>
              <a:gd name="T0" fmla="*/ 0 w 3347745"/>
              <a:gd name="T1" fmla="*/ 6873008 h 4079175"/>
              <a:gd name="T2" fmla="*/ 5827493 w 3347745"/>
              <a:gd name="T3" fmla="*/ 0 h 4079175"/>
              <a:gd name="T4" fmla="*/ 0 60000 65536"/>
              <a:gd name="T5" fmla="*/ 0 60000 65536"/>
            </a:gdLst>
            <a:ahLst/>
            <a:cxnLst>
              <a:cxn ang="T4">
                <a:pos x="T0" y="T1"/>
              </a:cxn>
              <a:cxn ang="T5">
                <a:pos x="T2" y="T3"/>
              </a:cxn>
            </a:cxnLst>
            <a:rect l="0" t="0" r="r" b="b"/>
            <a:pathLst>
              <a:path w="3347745" h="4079175">
                <a:moveTo>
                  <a:pt x="0" y="4079175"/>
                </a:moveTo>
                <a:lnTo>
                  <a:pt x="3347745" y="0"/>
                </a:lnTo>
              </a:path>
            </a:pathLst>
          </a:custGeom>
          <a:noFill/>
          <a:ln w="57150" cap="flat" cmpd="sng">
            <a:solidFill>
              <a:schemeClr val="accent1">
                <a:lumMod val="100000"/>
              </a:schemeClr>
            </a:solidFill>
            <a:prstDash val="solid"/>
            <a:miter lim="400000"/>
            <a:headEnd type="none" w="med" len="med"/>
            <a:tailEnd type="none" w="med" len="med"/>
          </a:ln>
          <a:extLst>
            <a:ext uri="{909E8E84-426E-40DD-AFC4-6F175D3DCCD1}">
              <a14:hiddenFill xmlns:a14="http://schemas.microsoft.com/office/drawing/2010/main">
                <a:solidFill>
                  <a:srgbClr val="FFFFFF"/>
                </a:solidFill>
              </a14:hiddenFill>
            </a:ext>
          </a:extLst>
        </p:spPr>
        <p:txBody>
          <a:bodyPr lIns="0" tIns="0" rIns="0" bIns="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500" b="0" i="0" u="none" strike="noStrike" kern="1200" cap="none" spc="0" normalizeH="0" baseline="0" noProof="0">
              <a:ln>
                <a:noFill/>
              </a:ln>
              <a:solidFill>
                <a:srgbClr val="000000"/>
              </a:solidFill>
              <a:effectLst/>
              <a:uLnTx/>
              <a:uFillTx/>
              <a:latin typeface="Arial"/>
              <a:cs typeface="+mn-ea"/>
              <a:sym typeface="+mn-lt"/>
            </a:endParaRPr>
          </a:p>
        </p:txBody>
      </p:sp>
      <p:sp>
        <p:nvSpPr>
          <p:cNvPr id="59" name="Freeform 8">
            <a:extLst>
              <a:ext uri="{FF2B5EF4-FFF2-40B4-BE49-F238E27FC236}">
                <a16:creationId xmlns:a16="http://schemas.microsoft.com/office/drawing/2014/main" id="{A71E540B-ACAB-42BA-8358-7E4EFC5E7CC9}"/>
              </a:ext>
            </a:extLst>
          </p:cNvPr>
          <p:cNvSpPr>
            <a:spLocks/>
          </p:cNvSpPr>
          <p:nvPr/>
        </p:nvSpPr>
        <p:spPr bwMode="auto">
          <a:xfrm flipH="1">
            <a:off x="2144675" y="2589011"/>
            <a:ext cx="1768475" cy="76944"/>
          </a:xfrm>
          <a:custGeom>
            <a:avLst/>
            <a:gdLst>
              <a:gd name="T0" fmla="*/ 0 w 3347745"/>
              <a:gd name="T1" fmla="*/ 6882649 h 4079175"/>
              <a:gd name="T2" fmla="*/ 5827493 w 3347745"/>
              <a:gd name="T3" fmla="*/ 0 h 4079175"/>
              <a:gd name="T4" fmla="*/ 0 60000 65536"/>
              <a:gd name="T5" fmla="*/ 0 60000 65536"/>
              <a:gd name="connsiteX0" fmla="*/ 0 w 3165864"/>
              <a:gd name="connsiteY0" fmla="*/ 3865660 h 3865660"/>
              <a:gd name="connsiteX1" fmla="*/ 3165864 w 3165864"/>
              <a:gd name="connsiteY1" fmla="*/ 0 h 3865660"/>
            </a:gdLst>
            <a:ahLst/>
            <a:cxnLst>
              <a:cxn ang="0">
                <a:pos x="connsiteX0" y="connsiteY0"/>
              </a:cxn>
              <a:cxn ang="0">
                <a:pos x="connsiteX1" y="connsiteY1"/>
              </a:cxn>
            </a:cxnLst>
            <a:rect l="l" t="t" r="r" b="b"/>
            <a:pathLst>
              <a:path w="3165864" h="3865660">
                <a:moveTo>
                  <a:pt x="0" y="3865660"/>
                </a:moveTo>
                <a:lnTo>
                  <a:pt x="3165864" y="0"/>
                </a:lnTo>
              </a:path>
            </a:pathLst>
          </a:custGeom>
          <a:noFill/>
          <a:ln w="57150" cap="flat" cmpd="sng">
            <a:solidFill>
              <a:schemeClr val="accent1">
                <a:lumMod val="100000"/>
              </a:schemeClr>
            </a:solidFill>
            <a:prstDash val="solid"/>
            <a:miter lim="400000"/>
            <a:headEnd type="none" w="med" len="med"/>
            <a:tailEnd type="none" w="med" len="med"/>
          </a:ln>
          <a:extLst>
            <a:ext uri="{909E8E84-426E-40DD-AFC4-6F175D3DCCD1}">
              <a14:hiddenFill xmlns:a14="http://schemas.microsoft.com/office/drawing/2010/main">
                <a:solidFill>
                  <a:srgbClr val="FFFFFF"/>
                </a:solidFill>
              </a14:hiddenFill>
            </a:ext>
          </a:extLst>
        </p:spPr>
        <p:txBody>
          <a:bodyPr lIns="0" tIns="0" rIns="0" bIns="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500" b="0" i="0" u="none" strike="noStrike" kern="1200" cap="none" spc="0" normalizeH="0" baseline="0" noProof="0" dirty="0">
              <a:ln>
                <a:noFill/>
              </a:ln>
              <a:solidFill>
                <a:srgbClr val="000000"/>
              </a:solidFill>
              <a:effectLst/>
              <a:uLnTx/>
              <a:uFillTx/>
              <a:latin typeface="Arial"/>
              <a:cs typeface="+mn-ea"/>
              <a:sym typeface="+mn-lt"/>
            </a:endParaRPr>
          </a:p>
        </p:txBody>
      </p:sp>
      <p:sp>
        <p:nvSpPr>
          <p:cNvPr id="60" name="Oval 66">
            <a:extLst>
              <a:ext uri="{FF2B5EF4-FFF2-40B4-BE49-F238E27FC236}">
                <a16:creationId xmlns:a16="http://schemas.microsoft.com/office/drawing/2014/main" id="{E4CE0F1E-B4F6-4AB7-96F0-0AAC3DE747A9}"/>
              </a:ext>
            </a:extLst>
          </p:cNvPr>
          <p:cNvSpPr>
            <a:spLocks noChangeArrowheads="1"/>
          </p:cNvSpPr>
          <p:nvPr/>
        </p:nvSpPr>
        <p:spPr bwMode="auto">
          <a:xfrm>
            <a:off x="2588382" y="2160899"/>
            <a:ext cx="153988" cy="108198"/>
          </a:xfrm>
          <a:prstGeom prst="ellipse">
            <a:avLst/>
          </a:prstGeom>
          <a:solidFill>
            <a:schemeClr val="accent1">
              <a:lumMod val="100000"/>
            </a:schemeClr>
          </a:solidFill>
          <a:ln>
            <a:noFill/>
          </a:ln>
        </p:spPr>
        <p:txBody>
          <a:bodyPr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altLang="en-US" sz="500" b="0" i="0" u="none" strike="noStrike" kern="1200" cap="none" spc="0" normalizeH="0" baseline="0" noProof="0">
              <a:ln>
                <a:noFill/>
              </a:ln>
              <a:solidFill>
                <a:srgbClr val="000000"/>
              </a:solidFill>
              <a:effectLst/>
              <a:uLnTx/>
              <a:uFillTx/>
              <a:latin typeface="Arial"/>
              <a:cs typeface="+mn-ea"/>
              <a:sym typeface="+mn-lt"/>
            </a:endParaRPr>
          </a:p>
        </p:txBody>
      </p:sp>
      <p:sp>
        <p:nvSpPr>
          <p:cNvPr id="61" name="Oval 66">
            <a:extLst>
              <a:ext uri="{FF2B5EF4-FFF2-40B4-BE49-F238E27FC236}">
                <a16:creationId xmlns:a16="http://schemas.microsoft.com/office/drawing/2014/main" id="{44AF89B8-7D76-4A7D-814C-9529A04E2ED8}"/>
              </a:ext>
            </a:extLst>
          </p:cNvPr>
          <p:cNvSpPr>
            <a:spLocks noChangeArrowheads="1"/>
          </p:cNvSpPr>
          <p:nvPr/>
        </p:nvSpPr>
        <p:spPr bwMode="auto">
          <a:xfrm>
            <a:off x="3668675" y="3661880"/>
            <a:ext cx="431800" cy="108198"/>
          </a:xfrm>
          <a:prstGeom prst="ellipse">
            <a:avLst/>
          </a:prstGeom>
          <a:solidFill>
            <a:schemeClr val="accent1">
              <a:lumMod val="100000"/>
            </a:schemeClr>
          </a:solidFill>
          <a:ln>
            <a:noFill/>
          </a:ln>
        </p:spPr>
        <p:txBody>
          <a:bodyPr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altLang="en-US" sz="500" b="0" i="0" u="none" strike="noStrike" kern="1200" cap="none" spc="0" normalizeH="0" baseline="0" noProof="0">
              <a:ln>
                <a:noFill/>
              </a:ln>
              <a:solidFill>
                <a:srgbClr val="000000"/>
              </a:solidFill>
              <a:effectLst/>
              <a:uLnTx/>
              <a:uFillTx/>
              <a:latin typeface="Arial"/>
              <a:cs typeface="+mn-ea"/>
              <a:sym typeface="+mn-lt"/>
            </a:endParaRPr>
          </a:p>
        </p:txBody>
      </p:sp>
      <p:sp>
        <p:nvSpPr>
          <p:cNvPr id="62" name="Oval 66">
            <a:extLst>
              <a:ext uri="{FF2B5EF4-FFF2-40B4-BE49-F238E27FC236}">
                <a16:creationId xmlns:a16="http://schemas.microsoft.com/office/drawing/2014/main" id="{C110DA5C-5A3B-44AB-91C4-5F11276B703E}"/>
              </a:ext>
            </a:extLst>
          </p:cNvPr>
          <p:cNvSpPr>
            <a:spLocks noChangeArrowheads="1"/>
          </p:cNvSpPr>
          <p:nvPr/>
        </p:nvSpPr>
        <p:spPr bwMode="auto">
          <a:xfrm>
            <a:off x="1960525" y="1544155"/>
            <a:ext cx="396082" cy="108198"/>
          </a:xfrm>
          <a:prstGeom prst="ellipse">
            <a:avLst/>
          </a:prstGeom>
          <a:solidFill>
            <a:schemeClr val="accent1">
              <a:lumMod val="100000"/>
            </a:schemeClr>
          </a:solidFill>
          <a:ln>
            <a:noFill/>
          </a:ln>
        </p:spPr>
        <p:txBody>
          <a:bodyPr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altLang="en-US" sz="500" b="0" i="0" u="none" strike="noStrike" kern="1200" cap="none" spc="0" normalizeH="0" baseline="0" noProof="0">
              <a:ln>
                <a:noFill/>
              </a:ln>
              <a:solidFill>
                <a:srgbClr val="000000"/>
              </a:solidFill>
              <a:effectLst/>
              <a:uLnTx/>
              <a:uFillTx/>
              <a:latin typeface="Arial"/>
              <a:cs typeface="+mn-ea"/>
              <a:sym typeface="+mn-lt"/>
            </a:endParaRPr>
          </a:p>
        </p:txBody>
      </p:sp>
      <p:sp>
        <p:nvSpPr>
          <p:cNvPr id="63" name="TextBox 46">
            <a:extLst>
              <a:ext uri="{FF2B5EF4-FFF2-40B4-BE49-F238E27FC236}">
                <a16:creationId xmlns:a16="http://schemas.microsoft.com/office/drawing/2014/main" id="{661E0685-4D28-4006-A940-297A25A2D0EC}"/>
              </a:ext>
            </a:extLst>
          </p:cNvPr>
          <p:cNvSpPr txBox="1">
            <a:spLocks noChangeArrowheads="1"/>
          </p:cNvSpPr>
          <p:nvPr/>
        </p:nvSpPr>
        <p:spPr bwMode="auto">
          <a:xfrm>
            <a:off x="0" y="1483557"/>
            <a:ext cx="180495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1pPr>
            <a:lvl2pPr marL="742950" indent="-28575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2pPr>
            <a:lvl3pPr marL="11430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3pPr>
            <a:lvl4pPr marL="16002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4pPr>
            <a:lvl5pPr marL="20574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5pPr>
            <a:lvl6pPr marL="25146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6pPr>
            <a:lvl7pPr marL="29718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7pPr>
            <a:lvl8pPr marL="34290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8pPr>
            <a:lvl9pPr marL="38862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altLang="en-US" sz="1400" b="1" i="0" u="none" strike="noStrike" kern="1200" cap="none" spc="0" normalizeH="0" baseline="0" noProof="0" dirty="0">
                <a:ln>
                  <a:noFill/>
                </a:ln>
                <a:solidFill>
                  <a:schemeClr val="accent1"/>
                </a:solidFill>
                <a:effectLst/>
                <a:uLnTx/>
                <a:uFillTx/>
                <a:latin typeface="Arial"/>
                <a:ea typeface="+mn-ea"/>
                <a:cs typeface="+mn-ea"/>
                <a:sym typeface="+mn-lt"/>
              </a:rPr>
              <a:t>Placeholder text</a:t>
            </a:r>
          </a:p>
        </p:txBody>
      </p:sp>
      <p:sp>
        <p:nvSpPr>
          <p:cNvPr id="64" name="TextBox 46">
            <a:extLst>
              <a:ext uri="{FF2B5EF4-FFF2-40B4-BE49-F238E27FC236}">
                <a16:creationId xmlns:a16="http://schemas.microsoft.com/office/drawing/2014/main" id="{48394D02-71CE-4DFA-8C72-D9248B6A5A1F}"/>
              </a:ext>
            </a:extLst>
          </p:cNvPr>
          <p:cNvSpPr txBox="1">
            <a:spLocks noChangeArrowheads="1"/>
          </p:cNvSpPr>
          <p:nvPr/>
        </p:nvSpPr>
        <p:spPr bwMode="auto">
          <a:xfrm>
            <a:off x="2028586" y="1497845"/>
            <a:ext cx="255199"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1pPr>
            <a:lvl2pPr marL="742950" indent="-28575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2pPr>
            <a:lvl3pPr marL="11430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3pPr>
            <a:lvl4pPr marL="16002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4pPr>
            <a:lvl5pPr marL="20574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5pPr>
            <a:lvl6pPr marL="25146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6pPr>
            <a:lvl7pPr marL="29718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7pPr>
            <a:lvl8pPr marL="34290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8pPr>
            <a:lvl9pPr marL="38862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000" b="1" i="0" u="none" strike="noStrike" kern="1200" cap="none" spc="0" normalizeH="0" baseline="0" noProof="0" dirty="0">
                <a:ln>
                  <a:noFill/>
                </a:ln>
                <a:solidFill>
                  <a:srgbClr val="FFFFFF"/>
                </a:solidFill>
                <a:effectLst/>
                <a:uLnTx/>
                <a:uFillTx/>
                <a:latin typeface="Arial"/>
                <a:ea typeface="+mn-ea"/>
                <a:cs typeface="+mn-ea"/>
                <a:sym typeface="+mn-lt"/>
              </a:rPr>
              <a:t>5</a:t>
            </a:r>
          </a:p>
        </p:txBody>
      </p:sp>
      <p:sp>
        <p:nvSpPr>
          <p:cNvPr id="65" name="Oval 66">
            <a:extLst>
              <a:ext uri="{FF2B5EF4-FFF2-40B4-BE49-F238E27FC236}">
                <a16:creationId xmlns:a16="http://schemas.microsoft.com/office/drawing/2014/main" id="{F7060B43-BABA-42E7-9DA5-20F91407D896}"/>
              </a:ext>
            </a:extLst>
          </p:cNvPr>
          <p:cNvSpPr>
            <a:spLocks noChangeArrowheads="1"/>
          </p:cNvSpPr>
          <p:nvPr/>
        </p:nvSpPr>
        <p:spPr bwMode="auto">
          <a:xfrm>
            <a:off x="3236875" y="2916946"/>
            <a:ext cx="153988" cy="108198"/>
          </a:xfrm>
          <a:prstGeom prst="ellipse">
            <a:avLst/>
          </a:prstGeom>
          <a:solidFill>
            <a:schemeClr val="accent1">
              <a:lumMod val="100000"/>
            </a:schemeClr>
          </a:solidFill>
          <a:ln>
            <a:noFill/>
          </a:ln>
        </p:spPr>
        <p:txBody>
          <a:bodyPr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altLang="en-US" sz="500" b="0" i="0" u="none" strike="noStrike" kern="1200" cap="none" spc="0" normalizeH="0" baseline="0" noProof="0">
              <a:ln>
                <a:noFill/>
              </a:ln>
              <a:solidFill>
                <a:srgbClr val="0677C7"/>
              </a:solidFill>
              <a:effectLst/>
              <a:uLnTx/>
              <a:uFillTx/>
              <a:latin typeface="Arial"/>
              <a:cs typeface="+mn-ea"/>
              <a:sym typeface="+mn-lt"/>
            </a:endParaRPr>
          </a:p>
        </p:txBody>
      </p:sp>
      <p:sp>
        <p:nvSpPr>
          <p:cNvPr id="66" name="TextBox 46">
            <a:extLst>
              <a:ext uri="{FF2B5EF4-FFF2-40B4-BE49-F238E27FC236}">
                <a16:creationId xmlns:a16="http://schemas.microsoft.com/office/drawing/2014/main" id="{D6F538E5-71C4-4E9C-B22C-68AB0F5D49D8}"/>
              </a:ext>
            </a:extLst>
          </p:cNvPr>
          <p:cNvSpPr txBox="1">
            <a:spLocks noChangeArrowheads="1"/>
          </p:cNvSpPr>
          <p:nvPr/>
        </p:nvSpPr>
        <p:spPr bwMode="auto">
          <a:xfrm>
            <a:off x="3743771" y="3615570"/>
            <a:ext cx="277641"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1pPr>
            <a:lvl2pPr marL="742950" indent="-28575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2pPr>
            <a:lvl3pPr marL="11430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3pPr>
            <a:lvl4pPr marL="16002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4pPr>
            <a:lvl5pPr marL="20574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5pPr>
            <a:lvl6pPr marL="25146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6pPr>
            <a:lvl7pPr marL="29718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7pPr>
            <a:lvl8pPr marL="34290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8pPr>
            <a:lvl9pPr marL="38862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000" b="1" i="0" u="none" strike="noStrike" kern="1200" cap="none" spc="0" normalizeH="0" baseline="0" noProof="0">
                <a:ln>
                  <a:noFill/>
                </a:ln>
                <a:solidFill>
                  <a:srgbClr val="FFFFFF"/>
                </a:solidFill>
                <a:effectLst/>
                <a:uLnTx/>
                <a:uFillTx/>
                <a:latin typeface="Arial"/>
                <a:ea typeface="+mn-ea"/>
                <a:cs typeface="+mn-ea"/>
                <a:sym typeface="+mn-lt"/>
              </a:rPr>
              <a:t>C</a:t>
            </a:r>
          </a:p>
        </p:txBody>
      </p:sp>
      <p:sp>
        <p:nvSpPr>
          <p:cNvPr id="67" name="Oval 66">
            <a:extLst>
              <a:ext uri="{FF2B5EF4-FFF2-40B4-BE49-F238E27FC236}">
                <a16:creationId xmlns:a16="http://schemas.microsoft.com/office/drawing/2014/main" id="{659E6AE7-91FE-4343-B2F4-3A6F68136142}"/>
              </a:ext>
            </a:extLst>
          </p:cNvPr>
          <p:cNvSpPr>
            <a:spLocks noChangeArrowheads="1"/>
          </p:cNvSpPr>
          <p:nvPr/>
        </p:nvSpPr>
        <p:spPr bwMode="auto">
          <a:xfrm>
            <a:off x="1964494" y="5900255"/>
            <a:ext cx="396081" cy="108198"/>
          </a:xfrm>
          <a:prstGeom prst="ellipse">
            <a:avLst/>
          </a:prstGeom>
          <a:solidFill>
            <a:schemeClr val="accent1">
              <a:lumMod val="100000"/>
            </a:schemeClr>
          </a:solidFill>
          <a:ln>
            <a:noFill/>
          </a:ln>
        </p:spPr>
        <p:txBody>
          <a:bodyPr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altLang="en-US" sz="500" b="0" i="0" u="none" strike="noStrike" kern="1200" cap="none" spc="0" normalizeH="0" baseline="0" noProof="0">
              <a:ln>
                <a:noFill/>
              </a:ln>
              <a:solidFill>
                <a:srgbClr val="000000"/>
              </a:solidFill>
              <a:effectLst/>
              <a:uLnTx/>
              <a:uFillTx/>
              <a:latin typeface="Arial"/>
              <a:cs typeface="+mn-ea"/>
              <a:sym typeface="+mn-lt"/>
            </a:endParaRPr>
          </a:p>
        </p:txBody>
      </p:sp>
      <p:sp>
        <p:nvSpPr>
          <p:cNvPr id="68" name="TextBox 46">
            <a:extLst>
              <a:ext uri="{FF2B5EF4-FFF2-40B4-BE49-F238E27FC236}">
                <a16:creationId xmlns:a16="http://schemas.microsoft.com/office/drawing/2014/main" id="{89F0CA5D-9ACC-4E3F-9018-B3D02B2757C5}"/>
              </a:ext>
            </a:extLst>
          </p:cNvPr>
          <p:cNvSpPr txBox="1">
            <a:spLocks noChangeArrowheads="1"/>
          </p:cNvSpPr>
          <p:nvPr/>
        </p:nvSpPr>
        <p:spPr bwMode="auto">
          <a:xfrm>
            <a:off x="1" y="5840451"/>
            <a:ext cx="1808919"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1pPr>
            <a:lvl2pPr marL="742950" indent="-28575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2pPr>
            <a:lvl3pPr marL="11430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3pPr>
            <a:lvl4pPr marL="16002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4pPr>
            <a:lvl5pPr marL="20574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5pPr>
            <a:lvl6pPr marL="25146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6pPr>
            <a:lvl7pPr marL="29718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7pPr>
            <a:lvl8pPr marL="34290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8pPr>
            <a:lvl9pPr marL="38862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altLang="en-US" sz="1400" b="1" i="0" u="none" strike="noStrike" kern="1200" cap="none" spc="0" normalizeH="0" baseline="0" noProof="0" dirty="0">
                <a:ln>
                  <a:noFill/>
                </a:ln>
                <a:solidFill>
                  <a:schemeClr val="accent1"/>
                </a:solidFill>
                <a:effectLst/>
                <a:uLnTx/>
                <a:uFillTx/>
                <a:latin typeface="Arial"/>
                <a:ea typeface="+mn-ea"/>
                <a:cs typeface="+mn-ea"/>
                <a:sym typeface="+mn-lt"/>
              </a:rPr>
              <a:t>Placeholder text</a:t>
            </a:r>
          </a:p>
        </p:txBody>
      </p:sp>
      <p:sp>
        <p:nvSpPr>
          <p:cNvPr id="69" name="TextBox 46">
            <a:extLst>
              <a:ext uri="{FF2B5EF4-FFF2-40B4-BE49-F238E27FC236}">
                <a16:creationId xmlns:a16="http://schemas.microsoft.com/office/drawing/2014/main" id="{767CCB3A-11DE-4DD2-9C93-A0866BD5A534}"/>
              </a:ext>
            </a:extLst>
          </p:cNvPr>
          <p:cNvSpPr txBox="1">
            <a:spLocks noChangeArrowheads="1"/>
          </p:cNvSpPr>
          <p:nvPr/>
        </p:nvSpPr>
        <p:spPr bwMode="auto">
          <a:xfrm>
            <a:off x="2032555" y="5853945"/>
            <a:ext cx="255199"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1pPr>
            <a:lvl2pPr marL="742950" indent="-28575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2pPr>
            <a:lvl3pPr marL="11430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3pPr>
            <a:lvl4pPr marL="16002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4pPr>
            <a:lvl5pPr marL="20574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5pPr>
            <a:lvl6pPr marL="25146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6pPr>
            <a:lvl7pPr marL="29718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7pPr>
            <a:lvl8pPr marL="34290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8pPr>
            <a:lvl9pPr marL="38862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000" b="1" i="0" u="none" strike="noStrike" kern="1200" cap="none" spc="0" normalizeH="0" baseline="0" noProof="0">
                <a:ln>
                  <a:noFill/>
                </a:ln>
                <a:solidFill>
                  <a:srgbClr val="FFFFFF"/>
                </a:solidFill>
                <a:effectLst/>
                <a:uLnTx/>
                <a:uFillTx/>
                <a:latin typeface="Arial"/>
                <a:ea typeface="+mn-ea"/>
                <a:cs typeface="+mn-ea"/>
                <a:sym typeface="+mn-lt"/>
              </a:rPr>
              <a:t>6</a:t>
            </a:r>
          </a:p>
        </p:txBody>
      </p:sp>
      <p:sp>
        <p:nvSpPr>
          <p:cNvPr id="70" name="Oval 66">
            <a:extLst>
              <a:ext uri="{FF2B5EF4-FFF2-40B4-BE49-F238E27FC236}">
                <a16:creationId xmlns:a16="http://schemas.microsoft.com/office/drawing/2014/main" id="{51284BC5-C0D1-4A2D-9285-75B770EBA61B}"/>
              </a:ext>
            </a:extLst>
          </p:cNvPr>
          <p:cNvSpPr>
            <a:spLocks noChangeArrowheads="1"/>
          </p:cNvSpPr>
          <p:nvPr/>
        </p:nvSpPr>
        <p:spPr bwMode="auto">
          <a:xfrm>
            <a:off x="2556632" y="5302165"/>
            <a:ext cx="153988" cy="108198"/>
          </a:xfrm>
          <a:prstGeom prst="ellipse">
            <a:avLst/>
          </a:prstGeom>
          <a:solidFill>
            <a:schemeClr val="accent1">
              <a:lumMod val="100000"/>
            </a:schemeClr>
          </a:solidFill>
          <a:ln>
            <a:noFill/>
          </a:ln>
        </p:spPr>
        <p:txBody>
          <a:bodyPr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altLang="en-US" sz="500" b="0" i="0" u="none" strike="noStrike" kern="1200" cap="none" spc="0" normalizeH="0" baseline="0" noProof="0">
              <a:ln>
                <a:noFill/>
              </a:ln>
              <a:solidFill>
                <a:srgbClr val="000000"/>
              </a:solidFill>
              <a:effectLst/>
              <a:uLnTx/>
              <a:uFillTx/>
              <a:latin typeface="Arial"/>
              <a:cs typeface="+mn-ea"/>
              <a:sym typeface="+mn-lt"/>
            </a:endParaRPr>
          </a:p>
        </p:txBody>
      </p:sp>
      <p:sp>
        <p:nvSpPr>
          <p:cNvPr id="71" name="Oval 66">
            <a:extLst>
              <a:ext uri="{FF2B5EF4-FFF2-40B4-BE49-F238E27FC236}">
                <a16:creationId xmlns:a16="http://schemas.microsoft.com/office/drawing/2014/main" id="{9E0B639F-BF95-4B38-AC9C-4B614F9B9EB8}"/>
              </a:ext>
            </a:extLst>
          </p:cNvPr>
          <p:cNvSpPr>
            <a:spLocks noChangeArrowheads="1"/>
          </p:cNvSpPr>
          <p:nvPr/>
        </p:nvSpPr>
        <p:spPr bwMode="auto">
          <a:xfrm>
            <a:off x="3192425" y="4546118"/>
            <a:ext cx="153988" cy="108198"/>
          </a:xfrm>
          <a:prstGeom prst="ellipse">
            <a:avLst/>
          </a:prstGeom>
          <a:solidFill>
            <a:schemeClr val="accent1">
              <a:lumMod val="100000"/>
            </a:schemeClr>
          </a:solidFill>
          <a:ln>
            <a:noFill/>
          </a:ln>
        </p:spPr>
        <p:txBody>
          <a:bodyPr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altLang="en-US" sz="500" b="0" i="0" u="none" strike="noStrike" kern="1200" cap="none" spc="0" normalizeH="0" baseline="0" noProof="0">
              <a:ln>
                <a:noFill/>
              </a:ln>
              <a:solidFill>
                <a:srgbClr val="000000"/>
              </a:solidFill>
              <a:effectLst/>
              <a:uLnTx/>
              <a:uFillTx/>
              <a:latin typeface="Arial"/>
              <a:cs typeface="+mn-ea"/>
              <a:sym typeface="+mn-lt"/>
            </a:endParaRPr>
          </a:p>
        </p:txBody>
      </p:sp>
    </p:spTree>
    <p:extLst>
      <p:ext uri="{BB962C8B-B14F-4D97-AF65-F5344CB8AC3E}">
        <p14:creationId xmlns:p14="http://schemas.microsoft.com/office/powerpoint/2010/main" val="3293182705"/>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7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Линия">
            <a:extLst>
              <a:ext uri="{FF2B5EF4-FFF2-40B4-BE49-F238E27FC236}">
                <a16:creationId xmlns:a16="http://schemas.microsoft.com/office/drawing/2014/main" id="{BE1BD05B-9D0E-47BA-8055-F503DE9396AA}"/>
              </a:ext>
            </a:extLst>
          </p:cNvPr>
          <p:cNvSpPr/>
          <p:nvPr/>
        </p:nvSpPr>
        <p:spPr>
          <a:xfrm>
            <a:off x="5096392" y="992256"/>
            <a:ext cx="4465044" cy="2224721"/>
          </a:xfrm>
          <a:custGeom>
            <a:avLst/>
            <a:gdLst/>
            <a:ahLst/>
            <a:cxnLst>
              <a:cxn ang="0">
                <a:pos x="wd2" y="hd2"/>
              </a:cxn>
              <a:cxn ang="5400000">
                <a:pos x="wd2" y="hd2"/>
              </a:cxn>
              <a:cxn ang="10800000">
                <a:pos x="wd2" y="hd2"/>
              </a:cxn>
              <a:cxn ang="16200000">
                <a:pos x="wd2" y="hd2"/>
              </a:cxn>
            </a:cxnLst>
            <a:rect l="0" t="0" r="r" b="b"/>
            <a:pathLst>
              <a:path w="21600" h="21591" extrusionOk="0">
                <a:moveTo>
                  <a:pt x="0" y="1"/>
                </a:moveTo>
                <a:lnTo>
                  <a:pt x="9653" y="1"/>
                </a:lnTo>
                <a:cubicBezTo>
                  <a:pt x="9773" y="-9"/>
                  <a:pt x="9892" y="55"/>
                  <a:pt x="9994" y="184"/>
                </a:cubicBezTo>
                <a:cubicBezTo>
                  <a:pt x="10081" y="295"/>
                  <a:pt x="10153" y="452"/>
                  <a:pt x="10201" y="637"/>
                </a:cubicBezTo>
                <a:lnTo>
                  <a:pt x="15362" y="20893"/>
                </a:lnTo>
                <a:cubicBezTo>
                  <a:pt x="15411" y="21099"/>
                  <a:pt x="15489" y="21273"/>
                  <a:pt x="15585" y="21396"/>
                </a:cubicBezTo>
                <a:cubicBezTo>
                  <a:pt x="15684" y="21523"/>
                  <a:pt x="15800" y="21591"/>
                  <a:pt x="15918" y="21591"/>
                </a:cubicBezTo>
                <a:lnTo>
                  <a:pt x="21600" y="21591"/>
                </a:lnTo>
              </a:path>
            </a:pathLst>
          </a:custGeom>
          <a:ln w="38100">
            <a:solidFill>
              <a:schemeClr val="accent1">
                <a:lumMod val="100000"/>
              </a:schemeClr>
            </a:solidFill>
            <a:miter lim="400000"/>
          </a:ln>
        </p:spPr>
        <p:txBody>
          <a:bodyPr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1600" b="0" i="0" u="none" strike="noStrike" kern="1200" cap="none" spc="0" normalizeH="0" baseline="0" noProof="0">
              <a:ln>
                <a:noFill/>
              </a:ln>
              <a:solidFill>
                <a:srgbClr val="0677C7"/>
              </a:solidFill>
              <a:effectLst/>
              <a:uLnTx/>
              <a:uFillTx/>
              <a:latin typeface="Arial"/>
              <a:cs typeface="+mn-ea"/>
              <a:sym typeface="+mn-lt"/>
            </a:endParaRPr>
          </a:p>
        </p:txBody>
      </p:sp>
      <p:sp>
        <p:nvSpPr>
          <p:cNvPr id="4" name="Линия">
            <a:extLst>
              <a:ext uri="{FF2B5EF4-FFF2-40B4-BE49-F238E27FC236}">
                <a16:creationId xmlns:a16="http://schemas.microsoft.com/office/drawing/2014/main" id="{964B7E50-CD24-48AA-9612-A70994C39FD6}"/>
              </a:ext>
            </a:extLst>
          </p:cNvPr>
          <p:cNvSpPr/>
          <p:nvPr/>
        </p:nvSpPr>
        <p:spPr>
          <a:xfrm>
            <a:off x="5384424" y="1544506"/>
            <a:ext cx="2151522" cy="155824"/>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0186" y="0"/>
                </a:lnTo>
                <a:cubicBezTo>
                  <a:pt x="20385" y="168"/>
                  <a:pt x="20577" y="1084"/>
                  <a:pt x="20742" y="2649"/>
                </a:cubicBezTo>
                <a:cubicBezTo>
                  <a:pt x="20910" y="4252"/>
                  <a:pt x="21042" y="6471"/>
                  <a:pt x="21124" y="9057"/>
                </a:cubicBezTo>
                <a:lnTo>
                  <a:pt x="21600" y="21600"/>
                </a:lnTo>
              </a:path>
            </a:pathLst>
          </a:custGeom>
          <a:ln w="38100">
            <a:solidFill>
              <a:schemeClr val="accent1">
                <a:lumMod val="100000"/>
              </a:schemeClr>
            </a:solidFill>
            <a:miter lim="400000"/>
          </a:ln>
        </p:spPr>
        <p:txBody>
          <a:bodyPr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1600" b="0" i="0" u="none" strike="noStrike" kern="1200" cap="none" spc="0" normalizeH="0" baseline="0" noProof="0">
              <a:ln>
                <a:noFill/>
              </a:ln>
              <a:solidFill>
                <a:srgbClr val="0677C7"/>
              </a:solidFill>
              <a:effectLst/>
              <a:uLnTx/>
              <a:uFillTx/>
              <a:latin typeface="Arial"/>
              <a:cs typeface="+mn-ea"/>
              <a:sym typeface="+mn-lt"/>
            </a:endParaRPr>
          </a:p>
        </p:txBody>
      </p:sp>
      <p:sp>
        <p:nvSpPr>
          <p:cNvPr id="5" name="Линия">
            <a:extLst>
              <a:ext uri="{FF2B5EF4-FFF2-40B4-BE49-F238E27FC236}">
                <a16:creationId xmlns:a16="http://schemas.microsoft.com/office/drawing/2014/main" id="{F61BBE05-42F6-4B2E-ACDB-B12755C0DFC0}"/>
              </a:ext>
            </a:extLst>
          </p:cNvPr>
          <p:cNvSpPr/>
          <p:nvPr/>
        </p:nvSpPr>
        <p:spPr>
          <a:xfrm>
            <a:off x="2616783" y="1533495"/>
            <a:ext cx="6316993" cy="1778744"/>
          </a:xfrm>
          <a:custGeom>
            <a:avLst/>
            <a:gdLst>
              <a:gd name="connsiteX0" fmla="*/ 0 w 28140"/>
              <a:gd name="connsiteY0" fmla="*/ 1 h 21588"/>
              <a:gd name="connsiteX1" fmla="*/ 10172 w 28140"/>
              <a:gd name="connsiteY1" fmla="*/ 1 h 21588"/>
              <a:gd name="connsiteX2" fmla="*/ 10530 w 28140"/>
              <a:gd name="connsiteY2" fmla="*/ 229 h 21588"/>
              <a:gd name="connsiteX3" fmla="*/ 10748 w 28140"/>
              <a:gd name="connsiteY3" fmla="*/ 796 h 21588"/>
              <a:gd name="connsiteX4" fmla="*/ 15027 w 28140"/>
              <a:gd name="connsiteY4" fmla="*/ 20715 h 21588"/>
              <a:gd name="connsiteX5" fmla="*/ 15262 w 28140"/>
              <a:gd name="connsiteY5" fmla="*/ 21344 h 21588"/>
              <a:gd name="connsiteX6" fmla="*/ 15613 w 28140"/>
              <a:gd name="connsiteY6" fmla="*/ 21588 h 21588"/>
              <a:gd name="connsiteX7" fmla="*/ 28140 w 28140"/>
              <a:gd name="connsiteY7" fmla="*/ 21409 h 21588"/>
              <a:gd name="connsiteX0" fmla="*/ 0 w 32651"/>
              <a:gd name="connsiteY0" fmla="*/ 1 h 21588"/>
              <a:gd name="connsiteX1" fmla="*/ 10172 w 32651"/>
              <a:gd name="connsiteY1" fmla="*/ 1 h 21588"/>
              <a:gd name="connsiteX2" fmla="*/ 10530 w 32651"/>
              <a:gd name="connsiteY2" fmla="*/ 229 h 21588"/>
              <a:gd name="connsiteX3" fmla="*/ 10748 w 32651"/>
              <a:gd name="connsiteY3" fmla="*/ 796 h 21588"/>
              <a:gd name="connsiteX4" fmla="*/ 15027 w 32651"/>
              <a:gd name="connsiteY4" fmla="*/ 20715 h 21588"/>
              <a:gd name="connsiteX5" fmla="*/ 15262 w 32651"/>
              <a:gd name="connsiteY5" fmla="*/ 21344 h 21588"/>
              <a:gd name="connsiteX6" fmla="*/ 15613 w 32651"/>
              <a:gd name="connsiteY6" fmla="*/ 21588 h 21588"/>
              <a:gd name="connsiteX7" fmla="*/ 32651 w 32651"/>
              <a:gd name="connsiteY7" fmla="*/ 21409 h 21588"/>
              <a:gd name="connsiteX0" fmla="*/ 0 w 32651"/>
              <a:gd name="connsiteY0" fmla="*/ 1 h 21767"/>
              <a:gd name="connsiteX1" fmla="*/ 10172 w 32651"/>
              <a:gd name="connsiteY1" fmla="*/ 1 h 21767"/>
              <a:gd name="connsiteX2" fmla="*/ 10530 w 32651"/>
              <a:gd name="connsiteY2" fmla="*/ 229 h 21767"/>
              <a:gd name="connsiteX3" fmla="*/ 10748 w 32651"/>
              <a:gd name="connsiteY3" fmla="*/ 796 h 21767"/>
              <a:gd name="connsiteX4" fmla="*/ 15027 w 32651"/>
              <a:gd name="connsiteY4" fmla="*/ 20715 h 21767"/>
              <a:gd name="connsiteX5" fmla="*/ 15262 w 32651"/>
              <a:gd name="connsiteY5" fmla="*/ 21344 h 21767"/>
              <a:gd name="connsiteX6" fmla="*/ 15613 w 32651"/>
              <a:gd name="connsiteY6" fmla="*/ 21588 h 21767"/>
              <a:gd name="connsiteX7" fmla="*/ 32651 w 32651"/>
              <a:gd name="connsiteY7" fmla="*/ 21767 h 21767"/>
              <a:gd name="connsiteX0" fmla="*/ 0 w 32501"/>
              <a:gd name="connsiteY0" fmla="*/ 1 h 21767"/>
              <a:gd name="connsiteX1" fmla="*/ 10172 w 32501"/>
              <a:gd name="connsiteY1" fmla="*/ 1 h 21767"/>
              <a:gd name="connsiteX2" fmla="*/ 10530 w 32501"/>
              <a:gd name="connsiteY2" fmla="*/ 229 h 21767"/>
              <a:gd name="connsiteX3" fmla="*/ 10748 w 32501"/>
              <a:gd name="connsiteY3" fmla="*/ 796 h 21767"/>
              <a:gd name="connsiteX4" fmla="*/ 15027 w 32501"/>
              <a:gd name="connsiteY4" fmla="*/ 20715 h 21767"/>
              <a:gd name="connsiteX5" fmla="*/ 15262 w 32501"/>
              <a:gd name="connsiteY5" fmla="*/ 21344 h 21767"/>
              <a:gd name="connsiteX6" fmla="*/ 15613 w 32501"/>
              <a:gd name="connsiteY6" fmla="*/ 21588 h 21767"/>
              <a:gd name="connsiteX7" fmla="*/ 32501 w 32501"/>
              <a:gd name="connsiteY7" fmla="*/ 21767 h 21767"/>
              <a:gd name="connsiteX0" fmla="*/ 0 w 32200"/>
              <a:gd name="connsiteY0" fmla="*/ 1 h 21588"/>
              <a:gd name="connsiteX1" fmla="*/ 10172 w 32200"/>
              <a:gd name="connsiteY1" fmla="*/ 1 h 21588"/>
              <a:gd name="connsiteX2" fmla="*/ 10530 w 32200"/>
              <a:gd name="connsiteY2" fmla="*/ 229 h 21588"/>
              <a:gd name="connsiteX3" fmla="*/ 10748 w 32200"/>
              <a:gd name="connsiteY3" fmla="*/ 796 h 21588"/>
              <a:gd name="connsiteX4" fmla="*/ 15027 w 32200"/>
              <a:gd name="connsiteY4" fmla="*/ 20715 h 21588"/>
              <a:gd name="connsiteX5" fmla="*/ 15262 w 32200"/>
              <a:gd name="connsiteY5" fmla="*/ 21344 h 21588"/>
              <a:gd name="connsiteX6" fmla="*/ 15613 w 32200"/>
              <a:gd name="connsiteY6" fmla="*/ 21588 h 21588"/>
              <a:gd name="connsiteX7" fmla="*/ 32200 w 32200"/>
              <a:gd name="connsiteY7" fmla="*/ 21588 h 21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200" h="21588" extrusionOk="0">
                <a:moveTo>
                  <a:pt x="0" y="1"/>
                </a:moveTo>
                <a:lnTo>
                  <a:pt x="10172" y="1"/>
                </a:lnTo>
                <a:cubicBezTo>
                  <a:pt x="10298" y="-12"/>
                  <a:pt x="10423" y="68"/>
                  <a:pt x="10530" y="229"/>
                </a:cubicBezTo>
                <a:cubicBezTo>
                  <a:pt x="10623" y="369"/>
                  <a:pt x="10698" y="564"/>
                  <a:pt x="10748" y="796"/>
                </a:cubicBezTo>
                <a:lnTo>
                  <a:pt x="15027" y="20715"/>
                </a:lnTo>
                <a:cubicBezTo>
                  <a:pt x="15079" y="20973"/>
                  <a:pt x="15161" y="21190"/>
                  <a:pt x="15262" y="21344"/>
                </a:cubicBezTo>
                <a:cubicBezTo>
                  <a:pt x="15367" y="21504"/>
                  <a:pt x="15488" y="21588"/>
                  <a:pt x="15613" y="21588"/>
                </a:cubicBezTo>
                <a:lnTo>
                  <a:pt x="32200" y="21588"/>
                </a:lnTo>
              </a:path>
            </a:pathLst>
          </a:custGeom>
          <a:ln w="38100">
            <a:solidFill>
              <a:schemeClr val="accent1">
                <a:lumMod val="100000"/>
              </a:schemeClr>
            </a:solidFill>
            <a:miter lim="400000"/>
          </a:ln>
        </p:spPr>
        <p:txBody>
          <a:bodyPr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1600" b="0" i="0" u="none" strike="noStrike" kern="1200" cap="none" spc="0" normalizeH="0" baseline="0" noProof="0">
              <a:ln>
                <a:noFill/>
              </a:ln>
              <a:solidFill>
                <a:srgbClr val="0677C7"/>
              </a:solidFill>
              <a:effectLst/>
              <a:uLnTx/>
              <a:uFillTx/>
              <a:latin typeface="Arial"/>
              <a:cs typeface="+mn-ea"/>
              <a:sym typeface="+mn-lt"/>
            </a:endParaRPr>
          </a:p>
        </p:txBody>
      </p:sp>
      <p:sp>
        <p:nvSpPr>
          <p:cNvPr id="6" name="Shape 49">
            <a:extLst>
              <a:ext uri="{FF2B5EF4-FFF2-40B4-BE49-F238E27FC236}">
                <a16:creationId xmlns:a16="http://schemas.microsoft.com/office/drawing/2014/main" id="{3CE14F37-DAE5-46B9-BBD5-8D35176FBE4C}"/>
              </a:ext>
            </a:extLst>
          </p:cNvPr>
          <p:cNvSpPr>
            <a:spLocks noChangeShapeType="1"/>
          </p:cNvSpPr>
          <p:nvPr/>
        </p:nvSpPr>
        <p:spPr bwMode="auto">
          <a:xfrm>
            <a:off x="2298524" y="3403140"/>
            <a:ext cx="6812761" cy="0"/>
          </a:xfrm>
          <a:prstGeom prst="line">
            <a:avLst/>
          </a:prstGeom>
          <a:noFill/>
          <a:ln w="38100">
            <a:solidFill>
              <a:schemeClr val="accent1">
                <a:lumMod val="100000"/>
              </a:schemeClr>
            </a:solidFill>
            <a:miter lim="400000"/>
            <a:headEnd/>
            <a:tailEnd/>
          </a:ln>
          <a:extLst>
            <a:ext uri="{909E8E84-426E-40DD-AFC4-6F175D3DCCD1}">
              <a14:hiddenFill xmlns:a14="http://schemas.microsoft.com/office/drawing/2010/main">
                <a:noFill/>
              </a14:hiddenFill>
            </a:ext>
          </a:extLst>
        </p:spPr>
        <p:txBody>
          <a:bodyPr lIns="25400" tIns="25400" rIns="25400" bIns="254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500" b="0" i="0" u="none" strike="noStrike" kern="1200" cap="none" spc="0" normalizeH="0" baseline="0" noProof="0">
              <a:ln>
                <a:noFill/>
              </a:ln>
              <a:solidFill>
                <a:srgbClr val="0677C7"/>
              </a:solidFill>
              <a:effectLst/>
              <a:uLnTx/>
              <a:uFillTx/>
              <a:latin typeface="Arial"/>
              <a:cs typeface="+mn-ea"/>
              <a:sym typeface="+mn-lt"/>
            </a:endParaRPr>
          </a:p>
        </p:txBody>
      </p:sp>
      <p:sp>
        <p:nvSpPr>
          <p:cNvPr id="7" name="Shape 48">
            <a:extLst>
              <a:ext uri="{FF2B5EF4-FFF2-40B4-BE49-F238E27FC236}">
                <a16:creationId xmlns:a16="http://schemas.microsoft.com/office/drawing/2014/main" id="{DBD4F791-2949-48DA-9E93-32AD2BC47748}"/>
              </a:ext>
            </a:extLst>
          </p:cNvPr>
          <p:cNvSpPr>
            <a:spLocks/>
          </p:cNvSpPr>
          <p:nvPr/>
        </p:nvSpPr>
        <p:spPr bwMode="auto">
          <a:xfrm>
            <a:off x="833489" y="1794208"/>
            <a:ext cx="1543687" cy="3230911"/>
          </a:xfrm>
          <a:custGeom>
            <a:avLst/>
            <a:gdLst>
              <a:gd name="T0" fmla="*/ 2147483646 w 21492"/>
              <a:gd name="T1" fmla="*/ 2147483646 h 21500"/>
              <a:gd name="T2" fmla="*/ 2147483646 w 21492"/>
              <a:gd name="T3" fmla="*/ 2147483646 h 21500"/>
              <a:gd name="T4" fmla="*/ 2147483646 w 21492"/>
              <a:gd name="T5" fmla="*/ 2147483646 h 21500"/>
              <a:gd name="T6" fmla="*/ 2147483646 w 21492"/>
              <a:gd name="T7" fmla="*/ 2147483646 h 21500"/>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21492" h="21500" extrusionOk="0">
                <a:moveTo>
                  <a:pt x="223" y="899"/>
                </a:moveTo>
                <a:cubicBezTo>
                  <a:pt x="-78" y="701"/>
                  <a:pt x="-74" y="432"/>
                  <a:pt x="234" y="235"/>
                </a:cubicBezTo>
                <a:cubicBezTo>
                  <a:pt x="660" y="-37"/>
                  <a:pt x="1481" y="-80"/>
                  <a:pt x="2020" y="142"/>
                </a:cubicBezTo>
                <a:lnTo>
                  <a:pt x="20954" y="10063"/>
                </a:lnTo>
                <a:cubicBezTo>
                  <a:pt x="21329" y="10261"/>
                  <a:pt x="21522" y="10524"/>
                  <a:pt x="21489" y="10791"/>
                </a:cubicBezTo>
                <a:cubicBezTo>
                  <a:pt x="21466" y="10980"/>
                  <a:pt x="21330" y="11161"/>
                  <a:pt x="21097" y="11314"/>
                </a:cubicBezTo>
                <a:lnTo>
                  <a:pt x="2264" y="21274"/>
                </a:lnTo>
                <a:cubicBezTo>
                  <a:pt x="2035" y="21395"/>
                  <a:pt x="1738" y="21467"/>
                  <a:pt x="1429" y="21491"/>
                </a:cubicBezTo>
                <a:cubicBezTo>
                  <a:pt x="1059" y="21520"/>
                  <a:pt x="659" y="21481"/>
                  <a:pt x="364" y="21346"/>
                </a:cubicBezTo>
                <a:cubicBezTo>
                  <a:pt x="-2" y="21178"/>
                  <a:pt x="-59" y="20908"/>
                  <a:pt x="229" y="20708"/>
                </a:cubicBezTo>
                <a:cubicBezTo>
                  <a:pt x="3534" y="17755"/>
                  <a:pt x="5311" y="14466"/>
                  <a:pt x="5414" y="11117"/>
                </a:cubicBezTo>
                <a:cubicBezTo>
                  <a:pt x="5523" y="7556"/>
                  <a:pt x="3737" y="4040"/>
                  <a:pt x="223" y="899"/>
                </a:cubicBezTo>
                <a:close/>
              </a:path>
            </a:pathLst>
          </a:custGeom>
          <a:solidFill>
            <a:schemeClr val="accent1">
              <a:lumMod val="100000"/>
            </a:schemeClr>
          </a:solidFill>
          <a:ln w="12700" cap="flat">
            <a:noFill/>
            <a:miter lim="400000"/>
            <a:headEnd/>
            <a:tailEnd/>
          </a:ln>
        </p:spPr>
        <p:txBody>
          <a:bodyPr lIns="25400" tIns="25400" rIns="25400" bIns="254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500" b="0" i="0" u="none" strike="noStrike" kern="1200" cap="none" spc="0" normalizeH="0" baseline="0" noProof="0">
              <a:ln>
                <a:noFill/>
              </a:ln>
              <a:solidFill>
                <a:srgbClr val="0677C7"/>
              </a:solidFill>
              <a:effectLst/>
              <a:uLnTx/>
              <a:uFillTx/>
              <a:latin typeface="Arial"/>
              <a:cs typeface="+mn-ea"/>
              <a:sym typeface="+mn-lt"/>
            </a:endParaRPr>
          </a:p>
        </p:txBody>
      </p:sp>
      <p:sp>
        <p:nvSpPr>
          <p:cNvPr id="8" name="Линия">
            <a:extLst>
              <a:ext uri="{FF2B5EF4-FFF2-40B4-BE49-F238E27FC236}">
                <a16:creationId xmlns:a16="http://schemas.microsoft.com/office/drawing/2014/main" id="{DB307CD2-E8BD-49A5-B529-A5A27FB24F68}"/>
              </a:ext>
            </a:extLst>
          </p:cNvPr>
          <p:cNvSpPr/>
          <p:nvPr/>
        </p:nvSpPr>
        <p:spPr>
          <a:xfrm>
            <a:off x="5655178" y="2077906"/>
            <a:ext cx="2151522" cy="155824"/>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0186" y="0"/>
                </a:lnTo>
                <a:cubicBezTo>
                  <a:pt x="20385" y="168"/>
                  <a:pt x="20577" y="1084"/>
                  <a:pt x="20742" y="2649"/>
                </a:cubicBezTo>
                <a:cubicBezTo>
                  <a:pt x="20910" y="4252"/>
                  <a:pt x="21042" y="6471"/>
                  <a:pt x="21124" y="9057"/>
                </a:cubicBezTo>
                <a:lnTo>
                  <a:pt x="21600" y="21600"/>
                </a:lnTo>
              </a:path>
            </a:pathLst>
          </a:custGeom>
          <a:ln w="38100">
            <a:solidFill>
              <a:schemeClr val="accent1">
                <a:lumMod val="100000"/>
              </a:schemeClr>
            </a:solidFill>
            <a:miter lim="400000"/>
          </a:ln>
        </p:spPr>
        <p:txBody>
          <a:bodyPr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1600" b="0" i="0" u="none" strike="noStrike" kern="1200" cap="none" spc="0" normalizeH="0" baseline="0" noProof="0">
              <a:ln>
                <a:noFill/>
              </a:ln>
              <a:solidFill>
                <a:srgbClr val="0677C7"/>
              </a:solidFill>
              <a:effectLst/>
              <a:uLnTx/>
              <a:uFillTx/>
              <a:latin typeface="Arial"/>
              <a:cs typeface="+mn-ea"/>
              <a:sym typeface="+mn-lt"/>
            </a:endParaRPr>
          </a:p>
        </p:txBody>
      </p:sp>
      <p:sp>
        <p:nvSpPr>
          <p:cNvPr id="9" name="Линия">
            <a:extLst>
              <a:ext uri="{FF2B5EF4-FFF2-40B4-BE49-F238E27FC236}">
                <a16:creationId xmlns:a16="http://schemas.microsoft.com/office/drawing/2014/main" id="{71FF1B60-9C45-43A7-AA0B-9A111D43E45C}"/>
              </a:ext>
            </a:extLst>
          </p:cNvPr>
          <p:cNvSpPr/>
          <p:nvPr/>
        </p:nvSpPr>
        <p:spPr>
          <a:xfrm>
            <a:off x="5935659" y="2640489"/>
            <a:ext cx="2151522" cy="155824"/>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0186" y="0"/>
                </a:lnTo>
                <a:cubicBezTo>
                  <a:pt x="20385" y="168"/>
                  <a:pt x="20577" y="1084"/>
                  <a:pt x="20742" y="2649"/>
                </a:cubicBezTo>
                <a:cubicBezTo>
                  <a:pt x="20910" y="4252"/>
                  <a:pt x="21042" y="6471"/>
                  <a:pt x="21124" y="9057"/>
                </a:cubicBezTo>
                <a:lnTo>
                  <a:pt x="21600" y="21600"/>
                </a:lnTo>
              </a:path>
            </a:pathLst>
          </a:custGeom>
          <a:ln w="38100">
            <a:solidFill>
              <a:schemeClr val="accent1">
                <a:lumMod val="100000"/>
              </a:schemeClr>
            </a:solidFill>
            <a:miter lim="400000"/>
          </a:ln>
        </p:spPr>
        <p:txBody>
          <a:bodyPr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1600" b="0" i="0" u="none" strike="noStrike" kern="1200" cap="none" spc="0" normalizeH="0" baseline="0" noProof="0">
              <a:ln>
                <a:noFill/>
              </a:ln>
              <a:solidFill>
                <a:srgbClr val="0677C7"/>
              </a:solidFill>
              <a:effectLst/>
              <a:uLnTx/>
              <a:uFillTx/>
              <a:latin typeface="Arial"/>
              <a:cs typeface="+mn-ea"/>
              <a:sym typeface="+mn-lt"/>
            </a:endParaRPr>
          </a:p>
        </p:txBody>
      </p:sp>
      <p:sp>
        <p:nvSpPr>
          <p:cNvPr id="10" name="Линия">
            <a:extLst>
              <a:ext uri="{FF2B5EF4-FFF2-40B4-BE49-F238E27FC236}">
                <a16:creationId xmlns:a16="http://schemas.microsoft.com/office/drawing/2014/main" id="{1EF90936-D45F-458F-B4DA-12668817707E}"/>
              </a:ext>
            </a:extLst>
          </p:cNvPr>
          <p:cNvSpPr/>
          <p:nvPr/>
        </p:nvSpPr>
        <p:spPr>
          <a:xfrm>
            <a:off x="2886738" y="2074912"/>
            <a:ext cx="2151522" cy="155824"/>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0186" y="0"/>
                </a:lnTo>
                <a:cubicBezTo>
                  <a:pt x="20385" y="168"/>
                  <a:pt x="20577" y="1084"/>
                  <a:pt x="20742" y="2649"/>
                </a:cubicBezTo>
                <a:cubicBezTo>
                  <a:pt x="20910" y="4252"/>
                  <a:pt x="21042" y="6471"/>
                  <a:pt x="21124" y="9057"/>
                </a:cubicBezTo>
                <a:lnTo>
                  <a:pt x="21600" y="21600"/>
                </a:lnTo>
              </a:path>
            </a:pathLst>
          </a:custGeom>
          <a:ln w="38100">
            <a:solidFill>
              <a:schemeClr val="accent1">
                <a:lumMod val="100000"/>
              </a:schemeClr>
            </a:solidFill>
            <a:miter lim="400000"/>
          </a:ln>
        </p:spPr>
        <p:txBody>
          <a:bodyPr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1600" b="0" i="0" u="none" strike="noStrike" kern="1200" cap="none" spc="0" normalizeH="0" baseline="0" noProof="0">
              <a:ln>
                <a:noFill/>
              </a:ln>
              <a:solidFill>
                <a:srgbClr val="0677C7"/>
              </a:solidFill>
              <a:effectLst/>
              <a:uLnTx/>
              <a:uFillTx/>
              <a:latin typeface="Arial"/>
              <a:cs typeface="+mn-ea"/>
              <a:sym typeface="+mn-lt"/>
            </a:endParaRPr>
          </a:p>
        </p:txBody>
      </p:sp>
      <p:sp>
        <p:nvSpPr>
          <p:cNvPr id="11" name="Линия">
            <a:extLst>
              <a:ext uri="{FF2B5EF4-FFF2-40B4-BE49-F238E27FC236}">
                <a16:creationId xmlns:a16="http://schemas.microsoft.com/office/drawing/2014/main" id="{D7064BB9-106E-430A-8CD9-EC1E9AFE44EC}"/>
              </a:ext>
            </a:extLst>
          </p:cNvPr>
          <p:cNvSpPr/>
          <p:nvPr/>
        </p:nvSpPr>
        <p:spPr>
          <a:xfrm>
            <a:off x="3186674" y="2637495"/>
            <a:ext cx="2151522" cy="155824"/>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0186" y="0"/>
                </a:lnTo>
                <a:cubicBezTo>
                  <a:pt x="20385" y="168"/>
                  <a:pt x="20577" y="1084"/>
                  <a:pt x="20742" y="2649"/>
                </a:cubicBezTo>
                <a:cubicBezTo>
                  <a:pt x="20910" y="4252"/>
                  <a:pt x="21042" y="6471"/>
                  <a:pt x="21124" y="9057"/>
                </a:cubicBezTo>
                <a:lnTo>
                  <a:pt x="21600" y="21600"/>
                </a:lnTo>
              </a:path>
            </a:pathLst>
          </a:custGeom>
          <a:ln w="38100">
            <a:solidFill>
              <a:schemeClr val="accent1">
                <a:lumMod val="100000"/>
              </a:schemeClr>
            </a:solidFill>
            <a:miter lim="400000"/>
          </a:ln>
        </p:spPr>
        <p:txBody>
          <a:bodyPr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1600" b="0" i="0" u="none" strike="noStrike" kern="1200" cap="none" spc="0" normalizeH="0" baseline="0" noProof="0">
              <a:ln>
                <a:noFill/>
              </a:ln>
              <a:solidFill>
                <a:srgbClr val="0677C7"/>
              </a:solidFill>
              <a:effectLst/>
              <a:uLnTx/>
              <a:uFillTx/>
              <a:latin typeface="Arial"/>
              <a:cs typeface="+mn-ea"/>
              <a:sym typeface="+mn-lt"/>
            </a:endParaRPr>
          </a:p>
        </p:txBody>
      </p:sp>
      <p:sp>
        <p:nvSpPr>
          <p:cNvPr id="12" name="Линия">
            <a:extLst>
              <a:ext uri="{FF2B5EF4-FFF2-40B4-BE49-F238E27FC236}">
                <a16:creationId xmlns:a16="http://schemas.microsoft.com/office/drawing/2014/main" id="{37CDC24F-39C5-445D-BE8C-A190279FCD60}"/>
              </a:ext>
            </a:extLst>
          </p:cNvPr>
          <p:cNvSpPr/>
          <p:nvPr/>
        </p:nvSpPr>
        <p:spPr>
          <a:xfrm flipV="1">
            <a:off x="2612116" y="3494042"/>
            <a:ext cx="6316993" cy="1778400"/>
          </a:xfrm>
          <a:custGeom>
            <a:avLst/>
            <a:gdLst>
              <a:gd name="connsiteX0" fmla="*/ 0 w 28140"/>
              <a:gd name="connsiteY0" fmla="*/ 1 h 21588"/>
              <a:gd name="connsiteX1" fmla="*/ 10172 w 28140"/>
              <a:gd name="connsiteY1" fmla="*/ 1 h 21588"/>
              <a:gd name="connsiteX2" fmla="*/ 10530 w 28140"/>
              <a:gd name="connsiteY2" fmla="*/ 229 h 21588"/>
              <a:gd name="connsiteX3" fmla="*/ 10748 w 28140"/>
              <a:gd name="connsiteY3" fmla="*/ 796 h 21588"/>
              <a:gd name="connsiteX4" fmla="*/ 15027 w 28140"/>
              <a:gd name="connsiteY4" fmla="*/ 20715 h 21588"/>
              <a:gd name="connsiteX5" fmla="*/ 15262 w 28140"/>
              <a:gd name="connsiteY5" fmla="*/ 21344 h 21588"/>
              <a:gd name="connsiteX6" fmla="*/ 15613 w 28140"/>
              <a:gd name="connsiteY6" fmla="*/ 21588 h 21588"/>
              <a:gd name="connsiteX7" fmla="*/ 28140 w 28140"/>
              <a:gd name="connsiteY7" fmla="*/ 21409 h 21588"/>
              <a:gd name="connsiteX0" fmla="*/ 0 w 32651"/>
              <a:gd name="connsiteY0" fmla="*/ 1 h 21588"/>
              <a:gd name="connsiteX1" fmla="*/ 10172 w 32651"/>
              <a:gd name="connsiteY1" fmla="*/ 1 h 21588"/>
              <a:gd name="connsiteX2" fmla="*/ 10530 w 32651"/>
              <a:gd name="connsiteY2" fmla="*/ 229 h 21588"/>
              <a:gd name="connsiteX3" fmla="*/ 10748 w 32651"/>
              <a:gd name="connsiteY3" fmla="*/ 796 h 21588"/>
              <a:gd name="connsiteX4" fmla="*/ 15027 w 32651"/>
              <a:gd name="connsiteY4" fmla="*/ 20715 h 21588"/>
              <a:gd name="connsiteX5" fmla="*/ 15262 w 32651"/>
              <a:gd name="connsiteY5" fmla="*/ 21344 h 21588"/>
              <a:gd name="connsiteX6" fmla="*/ 15613 w 32651"/>
              <a:gd name="connsiteY6" fmla="*/ 21588 h 21588"/>
              <a:gd name="connsiteX7" fmla="*/ 32651 w 32651"/>
              <a:gd name="connsiteY7" fmla="*/ 21409 h 21588"/>
              <a:gd name="connsiteX0" fmla="*/ 0 w 32651"/>
              <a:gd name="connsiteY0" fmla="*/ 1 h 21767"/>
              <a:gd name="connsiteX1" fmla="*/ 10172 w 32651"/>
              <a:gd name="connsiteY1" fmla="*/ 1 h 21767"/>
              <a:gd name="connsiteX2" fmla="*/ 10530 w 32651"/>
              <a:gd name="connsiteY2" fmla="*/ 229 h 21767"/>
              <a:gd name="connsiteX3" fmla="*/ 10748 w 32651"/>
              <a:gd name="connsiteY3" fmla="*/ 796 h 21767"/>
              <a:gd name="connsiteX4" fmla="*/ 15027 w 32651"/>
              <a:gd name="connsiteY4" fmla="*/ 20715 h 21767"/>
              <a:gd name="connsiteX5" fmla="*/ 15262 w 32651"/>
              <a:gd name="connsiteY5" fmla="*/ 21344 h 21767"/>
              <a:gd name="connsiteX6" fmla="*/ 15613 w 32651"/>
              <a:gd name="connsiteY6" fmla="*/ 21588 h 21767"/>
              <a:gd name="connsiteX7" fmla="*/ 32651 w 32651"/>
              <a:gd name="connsiteY7" fmla="*/ 21767 h 21767"/>
              <a:gd name="connsiteX0" fmla="*/ 0 w 32501"/>
              <a:gd name="connsiteY0" fmla="*/ 1 h 21767"/>
              <a:gd name="connsiteX1" fmla="*/ 10172 w 32501"/>
              <a:gd name="connsiteY1" fmla="*/ 1 h 21767"/>
              <a:gd name="connsiteX2" fmla="*/ 10530 w 32501"/>
              <a:gd name="connsiteY2" fmla="*/ 229 h 21767"/>
              <a:gd name="connsiteX3" fmla="*/ 10748 w 32501"/>
              <a:gd name="connsiteY3" fmla="*/ 796 h 21767"/>
              <a:gd name="connsiteX4" fmla="*/ 15027 w 32501"/>
              <a:gd name="connsiteY4" fmla="*/ 20715 h 21767"/>
              <a:gd name="connsiteX5" fmla="*/ 15262 w 32501"/>
              <a:gd name="connsiteY5" fmla="*/ 21344 h 21767"/>
              <a:gd name="connsiteX6" fmla="*/ 15613 w 32501"/>
              <a:gd name="connsiteY6" fmla="*/ 21588 h 21767"/>
              <a:gd name="connsiteX7" fmla="*/ 32501 w 32501"/>
              <a:gd name="connsiteY7" fmla="*/ 21767 h 21767"/>
              <a:gd name="connsiteX0" fmla="*/ 0 w 32200"/>
              <a:gd name="connsiteY0" fmla="*/ 1 h 21588"/>
              <a:gd name="connsiteX1" fmla="*/ 10172 w 32200"/>
              <a:gd name="connsiteY1" fmla="*/ 1 h 21588"/>
              <a:gd name="connsiteX2" fmla="*/ 10530 w 32200"/>
              <a:gd name="connsiteY2" fmla="*/ 229 h 21588"/>
              <a:gd name="connsiteX3" fmla="*/ 10748 w 32200"/>
              <a:gd name="connsiteY3" fmla="*/ 796 h 21588"/>
              <a:gd name="connsiteX4" fmla="*/ 15027 w 32200"/>
              <a:gd name="connsiteY4" fmla="*/ 20715 h 21588"/>
              <a:gd name="connsiteX5" fmla="*/ 15262 w 32200"/>
              <a:gd name="connsiteY5" fmla="*/ 21344 h 21588"/>
              <a:gd name="connsiteX6" fmla="*/ 15613 w 32200"/>
              <a:gd name="connsiteY6" fmla="*/ 21588 h 21588"/>
              <a:gd name="connsiteX7" fmla="*/ 32200 w 32200"/>
              <a:gd name="connsiteY7" fmla="*/ 21588 h 21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200" h="21588" extrusionOk="0">
                <a:moveTo>
                  <a:pt x="0" y="1"/>
                </a:moveTo>
                <a:lnTo>
                  <a:pt x="10172" y="1"/>
                </a:lnTo>
                <a:cubicBezTo>
                  <a:pt x="10298" y="-12"/>
                  <a:pt x="10423" y="68"/>
                  <a:pt x="10530" y="229"/>
                </a:cubicBezTo>
                <a:cubicBezTo>
                  <a:pt x="10623" y="369"/>
                  <a:pt x="10698" y="564"/>
                  <a:pt x="10748" y="796"/>
                </a:cubicBezTo>
                <a:lnTo>
                  <a:pt x="15027" y="20715"/>
                </a:lnTo>
                <a:cubicBezTo>
                  <a:pt x="15079" y="20973"/>
                  <a:pt x="15161" y="21190"/>
                  <a:pt x="15262" y="21344"/>
                </a:cubicBezTo>
                <a:cubicBezTo>
                  <a:pt x="15367" y="21504"/>
                  <a:pt x="15488" y="21588"/>
                  <a:pt x="15613" y="21588"/>
                </a:cubicBezTo>
                <a:lnTo>
                  <a:pt x="32200" y="21588"/>
                </a:lnTo>
              </a:path>
            </a:pathLst>
          </a:custGeom>
          <a:ln w="38100">
            <a:solidFill>
              <a:schemeClr val="accent1">
                <a:lumMod val="100000"/>
              </a:schemeClr>
            </a:solidFill>
            <a:miter lim="400000"/>
          </a:ln>
        </p:spPr>
        <p:txBody>
          <a:bodyPr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1600" b="0" i="0" u="none" strike="noStrike" kern="1200" cap="none" spc="0" normalizeH="0" baseline="0" noProof="0">
              <a:ln>
                <a:noFill/>
              </a:ln>
              <a:solidFill>
                <a:srgbClr val="0677C7"/>
              </a:solidFill>
              <a:effectLst/>
              <a:uLnTx/>
              <a:uFillTx/>
              <a:latin typeface="Arial"/>
              <a:cs typeface="+mn-ea"/>
              <a:sym typeface="+mn-lt"/>
            </a:endParaRPr>
          </a:p>
        </p:txBody>
      </p:sp>
      <p:sp>
        <p:nvSpPr>
          <p:cNvPr id="13" name="Линия">
            <a:extLst>
              <a:ext uri="{FF2B5EF4-FFF2-40B4-BE49-F238E27FC236}">
                <a16:creationId xmlns:a16="http://schemas.microsoft.com/office/drawing/2014/main" id="{A73389A9-85F7-4F4F-B54C-59C5BF560BFE}"/>
              </a:ext>
            </a:extLst>
          </p:cNvPr>
          <p:cNvSpPr/>
          <p:nvPr/>
        </p:nvSpPr>
        <p:spPr>
          <a:xfrm flipV="1">
            <a:off x="5093792" y="3591004"/>
            <a:ext cx="4465044" cy="2224800"/>
          </a:xfrm>
          <a:custGeom>
            <a:avLst/>
            <a:gdLst/>
            <a:ahLst/>
            <a:cxnLst>
              <a:cxn ang="0">
                <a:pos x="wd2" y="hd2"/>
              </a:cxn>
              <a:cxn ang="5400000">
                <a:pos x="wd2" y="hd2"/>
              </a:cxn>
              <a:cxn ang="10800000">
                <a:pos x="wd2" y="hd2"/>
              </a:cxn>
              <a:cxn ang="16200000">
                <a:pos x="wd2" y="hd2"/>
              </a:cxn>
            </a:cxnLst>
            <a:rect l="0" t="0" r="r" b="b"/>
            <a:pathLst>
              <a:path w="21600" h="21591" extrusionOk="0">
                <a:moveTo>
                  <a:pt x="0" y="1"/>
                </a:moveTo>
                <a:lnTo>
                  <a:pt x="9653" y="1"/>
                </a:lnTo>
                <a:cubicBezTo>
                  <a:pt x="9773" y="-9"/>
                  <a:pt x="9892" y="55"/>
                  <a:pt x="9994" y="184"/>
                </a:cubicBezTo>
                <a:cubicBezTo>
                  <a:pt x="10081" y="295"/>
                  <a:pt x="10153" y="452"/>
                  <a:pt x="10201" y="637"/>
                </a:cubicBezTo>
                <a:lnTo>
                  <a:pt x="15362" y="20893"/>
                </a:lnTo>
                <a:cubicBezTo>
                  <a:pt x="15411" y="21099"/>
                  <a:pt x="15489" y="21273"/>
                  <a:pt x="15585" y="21396"/>
                </a:cubicBezTo>
                <a:cubicBezTo>
                  <a:pt x="15684" y="21523"/>
                  <a:pt x="15800" y="21591"/>
                  <a:pt x="15918" y="21591"/>
                </a:cubicBezTo>
                <a:lnTo>
                  <a:pt x="21600" y="21591"/>
                </a:lnTo>
              </a:path>
            </a:pathLst>
          </a:custGeom>
          <a:ln w="38100">
            <a:solidFill>
              <a:schemeClr val="accent1">
                <a:lumMod val="100000"/>
              </a:schemeClr>
            </a:solidFill>
            <a:miter lim="400000"/>
          </a:ln>
        </p:spPr>
        <p:txBody>
          <a:bodyPr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1600" b="0" i="0" u="none" strike="noStrike" kern="1200" cap="none" spc="0" normalizeH="0" baseline="0" noProof="0">
              <a:ln>
                <a:noFill/>
              </a:ln>
              <a:solidFill>
                <a:srgbClr val="0677C7"/>
              </a:solidFill>
              <a:effectLst/>
              <a:uLnTx/>
              <a:uFillTx/>
              <a:latin typeface="Arial"/>
              <a:cs typeface="+mn-ea"/>
              <a:sym typeface="+mn-lt"/>
            </a:endParaRPr>
          </a:p>
        </p:txBody>
      </p:sp>
      <p:sp>
        <p:nvSpPr>
          <p:cNvPr id="14" name="Линия">
            <a:extLst>
              <a:ext uri="{FF2B5EF4-FFF2-40B4-BE49-F238E27FC236}">
                <a16:creationId xmlns:a16="http://schemas.microsoft.com/office/drawing/2014/main" id="{0E18BAC3-7D04-4F66-863A-ACF80E74F1E2}"/>
              </a:ext>
            </a:extLst>
          </p:cNvPr>
          <p:cNvSpPr/>
          <p:nvPr/>
        </p:nvSpPr>
        <p:spPr>
          <a:xfrm flipV="1">
            <a:off x="5384424" y="5109863"/>
            <a:ext cx="2151522" cy="156600"/>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0186" y="0"/>
                </a:lnTo>
                <a:cubicBezTo>
                  <a:pt x="20385" y="168"/>
                  <a:pt x="20577" y="1084"/>
                  <a:pt x="20742" y="2649"/>
                </a:cubicBezTo>
                <a:cubicBezTo>
                  <a:pt x="20910" y="4252"/>
                  <a:pt x="21042" y="6471"/>
                  <a:pt x="21124" y="9057"/>
                </a:cubicBezTo>
                <a:lnTo>
                  <a:pt x="21600" y="21600"/>
                </a:lnTo>
              </a:path>
            </a:pathLst>
          </a:custGeom>
          <a:ln w="38100">
            <a:solidFill>
              <a:schemeClr val="accent1">
                <a:lumMod val="100000"/>
              </a:schemeClr>
            </a:solidFill>
            <a:miter lim="400000"/>
          </a:ln>
        </p:spPr>
        <p:txBody>
          <a:bodyPr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1600" b="0" i="0" u="none" strike="noStrike" kern="1200" cap="none" spc="0" normalizeH="0" baseline="0" noProof="0">
              <a:ln>
                <a:noFill/>
              </a:ln>
              <a:solidFill>
                <a:srgbClr val="0677C7"/>
              </a:solidFill>
              <a:effectLst/>
              <a:uLnTx/>
              <a:uFillTx/>
              <a:latin typeface="Arial"/>
              <a:cs typeface="+mn-ea"/>
              <a:sym typeface="+mn-lt"/>
            </a:endParaRPr>
          </a:p>
        </p:txBody>
      </p:sp>
      <p:sp>
        <p:nvSpPr>
          <p:cNvPr id="15" name="Линия">
            <a:extLst>
              <a:ext uri="{FF2B5EF4-FFF2-40B4-BE49-F238E27FC236}">
                <a16:creationId xmlns:a16="http://schemas.microsoft.com/office/drawing/2014/main" id="{084127AB-136F-4A28-807A-FDB6BFC9193A}"/>
              </a:ext>
            </a:extLst>
          </p:cNvPr>
          <p:cNvSpPr/>
          <p:nvPr/>
        </p:nvSpPr>
        <p:spPr>
          <a:xfrm flipV="1">
            <a:off x="5661346" y="4539292"/>
            <a:ext cx="2151522" cy="156600"/>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0186" y="0"/>
                </a:lnTo>
                <a:cubicBezTo>
                  <a:pt x="20385" y="168"/>
                  <a:pt x="20577" y="1084"/>
                  <a:pt x="20742" y="2649"/>
                </a:cubicBezTo>
                <a:cubicBezTo>
                  <a:pt x="20910" y="4252"/>
                  <a:pt x="21042" y="6471"/>
                  <a:pt x="21124" y="9057"/>
                </a:cubicBezTo>
                <a:lnTo>
                  <a:pt x="21600" y="21600"/>
                </a:lnTo>
              </a:path>
            </a:pathLst>
          </a:custGeom>
          <a:ln w="38100">
            <a:solidFill>
              <a:schemeClr val="accent1">
                <a:lumMod val="100000"/>
              </a:schemeClr>
            </a:solidFill>
            <a:miter lim="400000"/>
          </a:ln>
        </p:spPr>
        <p:txBody>
          <a:bodyPr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1600" b="0" i="0" u="none" strike="noStrike" kern="1200" cap="none" spc="0" normalizeH="0" baseline="0" noProof="0">
              <a:ln>
                <a:noFill/>
              </a:ln>
              <a:solidFill>
                <a:srgbClr val="0677C7"/>
              </a:solidFill>
              <a:effectLst/>
              <a:uLnTx/>
              <a:uFillTx/>
              <a:latin typeface="Arial"/>
              <a:cs typeface="+mn-ea"/>
              <a:sym typeface="+mn-lt"/>
            </a:endParaRPr>
          </a:p>
        </p:txBody>
      </p:sp>
      <p:sp>
        <p:nvSpPr>
          <p:cNvPr id="16" name="Линия">
            <a:extLst>
              <a:ext uri="{FF2B5EF4-FFF2-40B4-BE49-F238E27FC236}">
                <a16:creationId xmlns:a16="http://schemas.microsoft.com/office/drawing/2014/main" id="{6E89B94E-A29E-44E0-8D3D-C9932D109001}"/>
              </a:ext>
            </a:extLst>
          </p:cNvPr>
          <p:cNvSpPr/>
          <p:nvPr/>
        </p:nvSpPr>
        <p:spPr>
          <a:xfrm flipV="1">
            <a:off x="5935108" y="4012621"/>
            <a:ext cx="2151522" cy="156600"/>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0186" y="0"/>
                </a:lnTo>
                <a:cubicBezTo>
                  <a:pt x="20385" y="168"/>
                  <a:pt x="20577" y="1084"/>
                  <a:pt x="20742" y="2649"/>
                </a:cubicBezTo>
                <a:cubicBezTo>
                  <a:pt x="20910" y="4252"/>
                  <a:pt x="21042" y="6471"/>
                  <a:pt x="21124" y="9057"/>
                </a:cubicBezTo>
                <a:lnTo>
                  <a:pt x="21600" y="21600"/>
                </a:lnTo>
              </a:path>
            </a:pathLst>
          </a:custGeom>
          <a:ln w="38100">
            <a:solidFill>
              <a:schemeClr val="accent1">
                <a:lumMod val="100000"/>
              </a:schemeClr>
            </a:solidFill>
            <a:miter lim="400000"/>
          </a:ln>
        </p:spPr>
        <p:txBody>
          <a:bodyPr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1600" b="0" i="0" u="none" strike="noStrike" kern="1200" cap="none" spc="0" normalizeH="0" baseline="0" noProof="0">
              <a:ln>
                <a:noFill/>
              </a:ln>
              <a:solidFill>
                <a:srgbClr val="0677C7"/>
              </a:solidFill>
              <a:effectLst/>
              <a:uLnTx/>
              <a:uFillTx/>
              <a:latin typeface="Arial"/>
              <a:cs typeface="+mn-ea"/>
              <a:sym typeface="+mn-lt"/>
            </a:endParaRPr>
          </a:p>
        </p:txBody>
      </p:sp>
      <p:sp>
        <p:nvSpPr>
          <p:cNvPr id="17" name="Линия">
            <a:extLst>
              <a:ext uri="{FF2B5EF4-FFF2-40B4-BE49-F238E27FC236}">
                <a16:creationId xmlns:a16="http://schemas.microsoft.com/office/drawing/2014/main" id="{86324E4C-C6FC-4A24-911E-2B091C8361DB}"/>
              </a:ext>
            </a:extLst>
          </p:cNvPr>
          <p:cNvSpPr/>
          <p:nvPr/>
        </p:nvSpPr>
        <p:spPr>
          <a:xfrm flipV="1">
            <a:off x="2899274" y="4536758"/>
            <a:ext cx="2151522" cy="156600"/>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0186" y="0"/>
                </a:lnTo>
                <a:cubicBezTo>
                  <a:pt x="20385" y="168"/>
                  <a:pt x="20577" y="1084"/>
                  <a:pt x="20742" y="2649"/>
                </a:cubicBezTo>
                <a:cubicBezTo>
                  <a:pt x="20910" y="4252"/>
                  <a:pt x="21042" y="6471"/>
                  <a:pt x="21124" y="9057"/>
                </a:cubicBezTo>
                <a:lnTo>
                  <a:pt x="21600" y="21600"/>
                </a:lnTo>
              </a:path>
            </a:pathLst>
          </a:custGeom>
          <a:ln w="38100">
            <a:solidFill>
              <a:schemeClr val="accent1">
                <a:lumMod val="100000"/>
              </a:schemeClr>
            </a:solidFill>
            <a:miter lim="400000"/>
          </a:ln>
        </p:spPr>
        <p:txBody>
          <a:bodyPr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1600" b="0" i="0" u="none" strike="noStrike" kern="1200" cap="none" spc="0" normalizeH="0" baseline="0" noProof="0">
              <a:ln>
                <a:noFill/>
              </a:ln>
              <a:solidFill>
                <a:srgbClr val="0677C7"/>
              </a:solidFill>
              <a:effectLst/>
              <a:uLnTx/>
              <a:uFillTx/>
              <a:latin typeface="Arial"/>
              <a:cs typeface="+mn-ea"/>
              <a:sym typeface="+mn-lt"/>
            </a:endParaRPr>
          </a:p>
        </p:txBody>
      </p:sp>
      <p:sp>
        <p:nvSpPr>
          <p:cNvPr id="18" name="Линия">
            <a:extLst>
              <a:ext uri="{FF2B5EF4-FFF2-40B4-BE49-F238E27FC236}">
                <a16:creationId xmlns:a16="http://schemas.microsoft.com/office/drawing/2014/main" id="{FD2DA475-DB2C-44C6-A98D-9D9DEF11A826}"/>
              </a:ext>
            </a:extLst>
          </p:cNvPr>
          <p:cNvSpPr/>
          <p:nvPr/>
        </p:nvSpPr>
        <p:spPr>
          <a:xfrm flipV="1">
            <a:off x="3173036" y="4010087"/>
            <a:ext cx="2151522" cy="156600"/>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0186" y="0"/>
                </a:lnTo>
                <a:cubicBezTo>
                  <a:pt x="20385" y="168"/>
                  <a:pt x="20577" y="1084"/>
                  <a:pt x="20742" y="2649"/>
                </a:cubicBezTo>
                <a:cubicBezTo>
                  <a:pt x="20910" y="4252"/>
                  <a:pt x="21042" y="6471"/>
                  <a:pt x="21124" y="9057"/>
                </a:cubicBezTo>
                <a:lnTo>
                  <a:pt x="21600" y="21600"/>
                </a:lnTo>
              </a:path>
            </a:pathLst>
          </a:custGeom>
          <a:ln w="38100">
            <a:solidFill>
              <a:schemeClr val="accent1">
                <a:lumMod val="100000"/>
              </a:schemeClr>
            </a:solidFill>
            <a:miter lim="400000"/>
          </a:ln>
        </p:spPr>
        <p:txBody>
          <a:bodyPr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1600" b="0" i="0" u="none" strike="noStrike" kern="1200" cap="none" spc="0" normalizeH="0" baseline="0" noProof="0">
              <a:ln>
                <a:noFill/>
              </a:ln>
              <a:solidFill>
                <a:srgbClr val="0677C7"/>
              </a:solidFill>
              <a:effectLst/>
              <a:uLnTx/>
              <a:uFillTx/>
              <a:latin typeface="Arial"/>
              <a:cs typeface="+mn-ea"/>
              <a:sym typeface="+mn-lt"/>
            </a:endParaRPr>
          </a:p>
        </p:txBody>
      </p:sp>
      <p:sp>
        <p:nvSpPr>
          <p:cNvPr id="19" name="Shape 47">
            <a:extLst>
              <a:ext uri="{FF2B5EF4-FFF2-40B4-BE49-F238E27FC236}">
                <a16:creationId xmlns:a16="http://schemas.microsoft.com/office/drawing/2014/main" id="{1286E05D-E8D7-41D0-98A8-8BA104CB8210}"/>
              </a:ext>
            </a:extLst>
          </p:cNvPr>
          <p:cNvSpPr>
            <a:spLocks/>
          </p:cNvSpPr>
          <p:nvPr/>
        </p:nvSpPr>
        <p:spPr bwMode="auto">
          <a:xfrm>
            <a:off x="8859651" y="1893748"/>
            <a:ext cx="2498860" cy="3077151"/>
          </a:xfrm>
          <a:custGeom>
            <a:avLst/>
            <a:gdLst>
              <a:gd name="T0" fmla="*/ 2147483646 w 21455"/>
              <a:gd name="T1" fmla="*/ 2147483646 h 21547"/>
              <a:gd name="T2" fmla="*/ 2147483646 w 21455"/>
              <a:gd name="T3" fmla="*/ 2147483646 h 21547"/>
              <a:gd name="T4" fmla="*/ 2147483646 w 21455"/>
              <a:gd name="T5" fmla="*/ 2147483646 h 21547"/>
              <a:gd name="T6" fmla="*/ 2147483646 w 21455"/>
              <a:gd name="T7" fmla="*/ 2147483646 h 21547"/>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21455" h="21547" extrusionOk="0">
                <a:moveTo>
                  <a:pt x="6771" y="3"/>
                </a:moveTo>
                <a:cubicBezTo>
                  <a:pt x="6609" y="11"/>
                  <a:pt x="6448" y="32"/>
                  <a:pt x="6289" y="63"/>
                </a:cubicBezTo>
                <a:cubicBezTo>
                  <a:pt x="5701" y="178"/>
                  <a:pt x="5167" y="433"/>
                  <a:pt x="4757" y="795"/>
                </a:cubicBezTo>
                <a:cubicBezTo>
                  <a:pt x="1575" y="3641"/>
                  <a:pt x="-127" y="7383"/>
                  <a:pt x="7" y="11232"/>
                </a:cubicBezTo>
                <a:cubicBezTo>
                  <a:pt x="132" y="14824"/>
                  <a:pt x="1852" y="18257"/>
                  <a:pt x="4849" y="20891"/>
                </a:cubicBezTo>
                <a:cubicBezTo>
                  <a:pt x="5271" y="21232"/>
                  <a:pt x="5816" y="21454"/>
                  <a:pt x="6403" y="21524"/>
                </a:cubicBezTo>
                <a:cubicBezTo>
                  <a:pt x="7012" y="21596"/>
                  <a:pt x="7632" y="21502"/>
                  <a:pt x="8168" y="21255"/>
                </a:cubicBezTo>
                <a:cubicBezTo>
                  <a:pt x="10517" y="20042"/>
                  <a:pt x="12750" y="18684"/>
                  <a:pt x="14845" y="17194"/>
                </a:cubicBezTo>
                <a:cubicBezTo>
                  <a:pt x="16973" y="15680"/>
                  <a:pt x="18955" y="14033"/>
                  <a:pt x="20771" y="12269"/>
                </a:cubicBezTo>
                <a:cubicBezTo>
                  <a:pt x="21195" y="11887"/>
                  <a:pt x="21436" y="11395"/>
                  <a:pt x="21454" y="10880"/>
                </a:cubicBezTo>
                <a:cubicBezTo>
                  <a:pt x="21473" y="10322"/>
                  <a:pt x="21229" y="9779"/>
                  <a:pt x="20771" y="9365"/>
                </a:cubicBezTo>
                <a:cubicBezTo>
                  <a:pt x="18967" y="7504"/>
                  <a:pt x="16953" y="5785"/>
                  <a:pt x="14756" y="4230"/>
                </a:cubicBezTo>
                <a:cubicBezTo>
                  <a:pt x="12652" y="2741"/>
                  <a:pt x="10386" y="1409"/>
                  <a:pt x="7989" y="249"/>
                </a:cubicBezTo>
                <a:cubicBezTo>
                  <a:pt x="7763" y="135"/>
                  <a:pt x="7514" y="59"/>
                  <a:pt x="7255" y="24"/>
                </a:cubicBezTo>
                <a:cubicBezTo>
                  <a:pt x="7095" y="3"/>
                  <a:pt x="6933" y="-4"/>
                  <a:pt x="6771" y="3"/>
                </a:cubicBezTo>
                <a:close/>
                <a:moveTo>
                  <a:pt x="9121" y="5291"/>
                </a:moveTo>
                <a:cubicBezTo>
                  <a:pt x="9744" y="5291"/>
                  <a:pt x="10369" y="5485"/>
                  <a:pt x="10845" y="5873"/>
                </a:cubicBezTo>
                <a:cubicBezTo>
                  <a:pt x="11797" y="6649"/>
                  <a:pt x="11797" y="7909"/>
                  <a:pt x="10845" y="8685"/>
                </a:cubicBezTo>
                <a:cubicBezTo>
                  <a:pt x="9893" y="9462"/>
                  <a:pt x="8348" y="9462"/>
                  <a:pt x="7396" y="8685"/>
                </a:cubicBezTo>
                <a:cubicBezTo>
                  <a:pt x="6444" y="7909"/>
                  <a:pt x="6444" y="6649"/>
                  <a:pt x="7396" y="5873"/>
                </a:cubicBezTo>
                <a:cubicBezTo>
                  <a:pt x="7872" y="5485"/>
                  <a:pt x="8497" y="5291"/>
                  <a:pt x="9121" y="5291"/>
                </a:cubicBezTo>
                <a:close/>
              </a:path>
            </a:pathLst>
          </a:custGeom>
          <a:solidFill>
            <a:schemeClr val="accent1">
              <a:lumMod val="100000"/>
            </a:schemeClr>
          </a:solidFill>
          <a:ln>
            <a:noFill/>
          </a:ln>
        </p:spPr>
        <p:txBody>
          <a:bodyPr lIns="25400" tIns="25400" rIns="25400" bIns="254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500" b="0" i="0" u="none" strike="noStrike" kern="1200" cap="none" spc="0" normalizeH="0" baseline="0" noProof="0">
              <a:ln>
                <a:noFill/>
              </a:ln>
              <a:solidFill>
                <a:srgbClr val="0677C7"/>
              </a:solidFill>
              <a:effectLst/>
              <a:uLnTx/>
              <a:uFillTx/>
              <a:latin typeface="Arial"/>
              <a:cs typeface="+mn-ea"/>
              <a:sym typeface="+mn-lt"/>
            </a:endParaRPr>
          </a:p>
        </p:txBody>
      </p:sp>
      <p:sp>
        <p:nvSpPr>
          <p:cNvPr id="20" name="TextBox 46">
            <a:extLst>
              <a:ext uri="{FF2B5EF4-FFF2-40B4-BE49-F238E27FC236}">
                <a16:creationId xmlns:a16="http://schemas.microsoft.com/office/drawing/2014/main" id="{59DB9A9B-0A81-4966-8FF4-1A6D8066C31D}"/>
              </a:ext>
            </a:extLst>
          </p:cNvPr>
          <p:cNvSpPr txBox="1">
            <a:spLocks noChangeArrowheads="1"/>
          </p:cNvSpPr>
          <p:nvPr/>
        </p:nvSpPr>
        <p:spPr bwMode="auto">
          <a:xfrm>
            <a:off x="2846973" y="1851084"/>
            <a:ext cx="1331523"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1pPr>
            <a:lvl2pPr marL="742950" indent="-28575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2pPr>
            <a:lvl3pPr marL="11430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3pPr>
            <a:lvl4pPr marL="16002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4pPr>
            <a:lvl5pPr marL="20574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5pPr>
            <a:lvl6pPr marL="25146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6pPr>
            <a:lvl7pPr marL="29718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7pPr>
            <a:lvl8pPr marL="34290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8pPr>
            <a:lvl9pPr marL="38862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000" b="1" i="0" u="none" strike="noStrike" kern="1200" cap="none" spc="0" normalizeH="0" baseline="0" noProof="0" dirty="0">
                <a:ln>
                  <a:noFill/>
                </a:ln>
                <a:solidFill>
                  <a:schemeClr val="accent1"/>
                </a:solidFill>
                <a:effectLst/>
                <a:uLnTx/>
                <a:uFillTx/>
                <a:latin typeface="Arial"/>
                <a:ea typeface="+mn-ea"/>
                <a:cs typeface="+mn-ea"/>
                <a:sym typeface="+mn-lt"/>
              </a:rPr>
              <a:t>Information text</a:t>
            </a:r>
          </a:p>
        </p:txBody>
      </p:sp>
      <p:sp>
        <p:nvSpPr>
          <p:cNvPr id="21" name="TextBox 46">
            <a:extLst>
              <a:ext uri="{FF2B5EF4-FFF2-40B4-BE49-F238E27FC236}">
                <a16:creationId xmlns:a16="http://schemas.microsoft.com/office/drawing/2014/main" id="{65078E67-2B0C-449B-8A6E-3591B1C0E815}"/>
              </a:ext>
            </a:extLst>
          </p:cNvPr>
          <p:cNvSpPr txBox="1">
            <a:spLocks noChangeArrowheads="1"/>
          </p:cNvSpPr>
          <p:nvPr/>
        </p:nvSpPr>
        <p:spPr bwMode="auto">
          <a:xfrm>
            <a:off x="3138560" y="2411505"/>
            <a:ext cx="1692195"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1pPr>
            <a:lvl2pPr marL="742950" indent="-28575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2pPr>
            <a:lvl3pPr marL="11430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3pPr>
            <a:lvl4pPr marL="16002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4pPr>
            <a:lvl5pPr marL="20574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5pPr>
            <a:lvl6pPr marL="25146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6pPr>
            <a:lvl7pPr marL="29718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7pPr>
            <a:lvl8pPr marL="34290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8pPr>
            <a:lvl9pPr marL="38862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000" b="1" i="0" u="none" strike="noStrike" kern="1200" cap="none" spc="0" normalizeH="0" baseline="0" noProof="0" dirty="0">
                <a:ln>
                  <a:noFill/>
                </a:ln>
                <a:solidFill>
                  <a:schemeClr val="accent1"/>
                </a:solidFill>
                <a:effectLst/>
                <a:uLnTx/>
                <a:uFillTx/>
                <a:latin typeface="Arial"/>
                <a:ea typeface="+mn-ea"/>
                <a:cs typeface="+mn-ea"/>
                <a:sym typeface="+mn-lt"/>
              </a:rPr>
              <a:t>Information text text</a:t>
            </a:r>
          </a:p>
        </p:txBody>
      </p:sp>
      <p:sp>
        <p:nvSpPr>
          <p:cNvPr id="22" name="TextBox 46">
            <a:extLst>
              <a:ext uri="{FF2B5EF4-FFF2-40B4-BE49-F238E27FC236}">
                <a16:creationId xmlns:a16="http://schemas.microsoft.com/office/drawing/2014/main" id="{5AB70F71-BE62-470C-9044-571AFBE98752}"/>
              </a:ext>
            </a:extLst>
          </p:cNvPr>
          <p:cNvSpPr txBox="1">
            <a:spLocks noChangeArrowheads="1"/>
          </p:cNvSpPr>
          <p:nvPr/>
        </p:nvSpPr>
        <p:spPr bwMode="auto">
          <a:xfrm>
            <a:off x="2566765" y="1255949"/>
            <a:ext cx="198934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1pPr>
            <a:lvl2pPr marL="742950" indent="-28575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2pPr>
            <a:lvl3pPr marL="11430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3pPr>
            <a:lvl4pPr marL="16002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4pPr>
            <a:lvl5pPr marL="20574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5pPr>
            <a:lvl6pPr marL="25146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6pPr>
            <a:lvl7pPr marL="29718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7pPr>
            <a:lvl8pPr marL="34290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8pPr>
            <a:lvl9pPr marL="38862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400" b="1" i="0" u="none" strike="noStrike" kern="1200" cap="none" spc="0" normalizeH="0" baseline="0" noProof="0" dirty="0">
                <a:ln>
                  <a:noFill/>
                </a:ln>
                <a:solidFill>
                  <a:schemeClr val="accent1"/>
                </a:solidFill>
                <a:effectLst/>
                <a:uLnTx/>
                <a:uFillTx/>
                <a:latin typeface="Arial"/>
                <a:ea typeface="+mn-ea"/>
                <a:cs typeface="+mn-ea"/>
                <a:sym typeface="+mn-lt"/>
              </a:rPr>
              <a:t>Information text</a:t>
            </a:r>
          </a:p>
        </p:txBody>
      </p:sp>
      <p:sp>
        <p:nvSpPr>
          <p:cNvPr id="23" name="TextBox 46">
            <a:extLst>
              <a:ext uri="{FF2B5EF4-FFF2-40B4-BE49-F238E27FC236}">
                <a16:creationId xmlns:a16="http://schemas.microsoft.com/office/drawing/2014/main" id="{9C741139-E6CD-46B0-BA8A-C939097DBB24}"/>
              </a:ext>
            </a:extLst>
          </p:cNvPr>
          <p:cNvSpPr txBox="1">
            <a:spLocks noChangeArrowheads="1"/>
          </p:cNvSpPr>
          <p:nvPr/>
        </p:nvSpPr>
        <p:spPr bwMode="auto">
          <a:xfrm>
            <a:off x="5047498" y="705616"/>
            <a:ext cx="198934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1pPr>
            <a:lvl2pPr marL="742950" indent="-28575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2pPr>
            <a:lvl3pPr marL="11430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3pPr>
            <a:lvl4pPr marL="16002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4pPr>
            <a:lvl5pPr marL="20574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5pPr>
            <a:lvl6pPr marL="25146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6pPr>
            <a:lvl7pPr marL="29718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7pPr>
            <a:lvl8pPr marL="34290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8pPr>
            <a:lvl9pPr marL="38862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400" b="1" i="0" u="none" strike="noStrike" kern="1200" cap="none" spc="0" normalizeH="0" baseline="0" noProof="0" dirty="0">
                <a:ln>
                  <a:noFill/>
                </a:ln>
                <a:solidFill>
                  <a:schemeClr val="accent1"/>
                </a:solidFill>
                <a:effectLst/>
                <a:uLnTx/>
                <a:uFillTx/>
                <a:latin typeface="Arial"/>
                <a:ea typeface="+mn-ea"/>
                <a:cs typeface="+mn-ea"/>
                <a:sym typeface="+mn-lt"/>
              </a:rPr>
              <a:t>Information text</a:t>
            </a:r>
          </a:p>
        </p:txBody>
      </p:sp>
      <p:sp>
        <p:nvSpPr>
          <p:cNvPr id="24" name="TextBox 46">
            <a:extLst>
              <a:ext uri="{FF2B5EF4-FFF2-40B4-BE49-F238E27FC236}">
                <a16:creationId xmlns:a16="http://schemas.microsoft.com/office/drawing/2014/main" id="{724EE3EF-1B41-4DBE-940C-9066F4750063}"/>
              </a:ext>
            </a:extLst>
          </p:cNvPr>
          <p:cNvSpPr txBox="1">
            <a:spLocks noChangeArrowheads="1"/>
          </p:cNvSpPr>
          <p:nvPr/>
        </p:nvSpPr>
        <p:spPr bwMode="auto">
          <a:xfrm>
            <a:off x="5344640" y="1317684"/>
            <a:ext cx="1331523"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1pPr>
            <a:lvl2pPr marL="742950" indent="-28575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2pPr>
            <a:lvl3pPr marL="11430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3pPr>
            <a:lvl4pPr marL="16002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4pPr>
            <a:lvl5pPr marL="20574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5pPr>
            <a:lvl6pPr marL="25146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6pPr>
            <a:lvl7pPr marL="29718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7pPr>
            <a:lvl8pPr marL="34290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8pPr>
            <a:lvl9pPr marL="38862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000" b="1" i="0" u="none" strike="noStrike" kern="1200" cap="none" spc="0" normalizeH="0" baseline="0" noProof="0" dirty="0">
                <a:ln>
                  <a:noFill/>
                </a:ln>
                <a:solidFill>
                  <a:schemeClr val="accent1"/>
                </a:solidFill>
                <a:effectLst/>
                <a:uLnTx/>
                <a:uFillTx/>
                <a:latin typeface="Arial"/>
                <a:ea typeface="+mn-ea"/>
                <a:cs typeface="+mn-ea"/>
                <a:sym typeface="+mn-lt"/>
              </a:rPr>
              <a:t>Information text</a:t>
            </a:r>
          </a:p>
        </p:txBody>
      </p:sp>
      <p:sp>
        <p:nvSpPr>
          <p:cNvPr id="25" name="TextBox 46">
            <a:extLst>
              <a:ext uri="{FF2B5EF4-FFF2-40B4-BE49-F238E27FC236}">
                <a16:creationId xmlns:a16="http://schemas.microsoft.com/office/drawing/2014/main" id="{B7EC284B-0F31-4552-8DDC-EE142E0936EF}"/>
              </a:ext>
            </a:extLst>
          </p:cNvPr>
          <p:cNvSpPr txBox="1">
            <a:spLocks noChangeArrowheads="1"/>
          </p:cNvSpPr>
          <p:nvPr/>
        </p:nvSpPr>
        <p:spPr bwMode="auto">
          <a:xfrm>
            <a:off x="5619294" y="1844239"/>
            <a:ext cx="1692195"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1pPr>
            <a:lvl2pPr marL="742950" indent="-28575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2pPr>
            <a:lvl3pPr marL="11430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3pPr>
            <a:lvl4pPr marL="16002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4pPr>
            <a:lvl5pPr marL="20574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5pPr>
            <a:lvl6pPr marL="25146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6pPr>
            <a:lvl7pPr marL="29718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7pPr>
            <a:lvl8pPr marL="34290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8pPr>
            <a:lvl9pPr marL="38862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000" b="1" i="0" u="none" strike="noStrike" kern="1200" cap="none" spc="0" normalizeH="0" baseline="0" noProof="0" dirty="0">
                <a:ln>
                  <a:noFill/>
                </a:ln>
                <a:solidFill>
                  <a:schemeClr val="accent1"/>
                </a:solidFill>
                <a:effectLst/>
                <a:uLnTx/>
                <a:uFillTx/>
                <a:latin typeface="Arial"/>
                <a:ea typeface="+mn-ea"/>
                <a:cs typeface="+mn-ea"/>
                <a:sym typeface="+mn-lt"/>
              </a:rPr>
              <a:t>Information text text</a:t>
            </a:r>
          </a:p>
        </p:txBody>
      </p:sp>
      <p:sp>
        <p:nvSpPr>
          <p:cNvPr id="26" name="TextBox 46">
            <a:extLst>
              <a:ext uri="{FF2B5EF4-FFF2-40B4-BE49-F238E27FC236}">
                <a16:creationId xmlns:a16="http://schemas.microsoft.com/office/drawing/2014/main" id="{95DB7EED-70A7-4C17-A6C5-8154889DD8EF}"/>
              </a:ext>
            </a:extLst>
          </p:cNvPr>
          <p:cNvSpPr txBox="1">
            <a:spLocks noChangeArrowheads="1"/>
          </p:cNvSpPr>
          <p:nvPr/>
        </p:nvSpPr>
        <p:spPr bwMode="auto">
          <a:xfrm>
            <a:off x="5881760" y="2411506"/>
            <a:ext cx="1692195"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1pPr>
            <a:lvl2pPr marL="742950" indent="-28575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2pPr>
            <a:lvl3pPr marL="11430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3pPr>
            <a:lvl4pPr marL="16002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4pPr>
            <a:lvl5pPr marL="20574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5pPr>
            <a:lvl6pPr marL="25146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6pPr>
            <a:lvl7pPr marL="29718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7pPr>
            <a:lvl8pPr marL="34290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8pPr>
            <a:lvl9pPr marL="38862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000" b="1" i="0" u="none" strike="noStrike" kern="1200" cap="none" spc="0" normalizeH="0" baseline="0" noProof="0" dirty="0">
                <a:ln>
                  <a:noFill/>
                </a:ln>
                <a:solidFill>
                  <a:schemeClr val="accent1"/>
                </a:solidFill>
                <a:effectLst/>
                <a:uLnTx/>
                <a:uFillTx/>
                <a:latin typeface="Arial"/>
                <a:ea typeface="+mn-ea"/>
                <a:cs typeface="+mn-ea"/>
                <a:sym typeface="+mn-lt"/>
              </a:rPr>
              <a:t>Information text text</a:t>
            </a:r>
          </a:p>
        </p:txBody>
      </p:sp>
      <p:sp>
        <p:nvSpPr>
          <p:cNvPr id="27" name="TextBox 46">
            <a:extLst>
              <a:ext uri="{FF2B5EF4-FFF2-40B4-BE49-F238E27FC236}">
                <a16:creationId xmlns:a16="http://schemas.microsoft.com/office/drawing/2014/main" id="{E7225335-87DE-4F36-ABE9-9E86DDA3A5DD}"/>
              </a:ext>
            </a:extLst>
          </p:cNvPr>
          <p:cNvSpPr txBox="1">
            <a:spLocks noChangeArrowheads="1"/>
          </p:cNvSpPr>
          <p:nvPr/>
        </p:nvSpPr>
        <p:spPr bwMode="auto">
          <a:xfrm>
            <a:off x="5039031" y="5844606"/>
            <a:ext cx="198934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1pPr>
            <a:lvl2pPr marL="742950" indent="-28575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2pPr>
            <a:lvl3pPr marL="11430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3pPr>
            <a:lvl4pPr marL="16002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4pPr>
            <a:lvl5pPr marL="20574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5pPr>
            <a:lvl6pPr marL="25146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6pPr>
            <a:lvl7pPr marL="29718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7pPr>
            <a:lvl8pPr marL="34290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8pPr>
            <a:lvl9pPr marL="38862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400" b="1" i="0" u="none" strike="noStrike" kern="1200" cap="none" spc="0" normalizeH="0" baseline="0" noProof="0" dirty="0">
                <a:ln>
                  <a:noFill/>
                </a:ln>
                <a:solidFill>
                  <a:schemeClr val="accent1"/>
                </a:solidFill>
                <a:effectLst/>
                <a:uLnTx/>
                <a:uFillTx/>
                <a:latin typeface="Arial"/>
                <a:ea typeface="+mn-ea"/>
                <a:cs typeface="+mn-ea"/>
                <a:sym typeface="+mn-lt"/>
              </a:rPr>
              <a:t>Information text</a:t>
            </a:r>
          </a:p>
        </p:txBody>
      </p:sp>
      <p:sp>
        <p:nvSpPr>
          <p:cNvPr id="28" name="TextBox 46">
            <a:extLst>
              <a:ext uri="{FF2B5EF4-FFF2-40B4-BE49-F238E27FC236}">
                <a16:creationId xmlns:a16="http://schemas.microsoft.com/office/drawing/2014/main" id="{DFEA60A7-5D3E-4C2F-B317-1FF05BC297FE}"/>
              </a:ext>
            </a:extLst>
          </p:cNvPr>
          <p:cNvSpPr txBox="1">
            <a:spLocks noChangeArrowheads="1"/>
          </p:cNvSpPr>
          <p:nvPr/>
        </p:nvSpPr>
        <p:spPr bwMode="auto">
          <a:xfrm>
            <a:off x="2558298" y="5311206"/>
            <a:ext cx="198934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1pPr>
            <a:lvl2pPr marL="742950" indent="-28575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2pPr>
            <a:lvl3pPr marL="11430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3pPr>
            <a:lvl4pPr marL="16002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4pPr>
            <a:lvl5pPr marL="20574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5pPr>
            <a:lvl6pPr marL="25146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6pPr>
            <a:lvl7pPr marL="29718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7pPr>
            <a:lvl8pPr marL="34290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8pPr>
            <a:lvl9pPr marL="38862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400" b="1" i="0" u="none" strike="noStrike" kern="1200" cap="none" spc="0" normalizeH="0" baseline="0" noProof="0" dirty="0">
                <a:ln>
                  <a:noFill/>
                </a:ln>
                <a:solidFill>
                  <a:schemeClr val="accent1"/>
                </a:solidFill>
                <a:effectLst/>
                <a:uLnTx/>
                <a:uFillTx/>
                <a:latin typeface="Arial"/>
                <a:ea typeface="+mn-ea"/>
                <a:cs typeface="+mn-ea"/>
                <a:sym typeface="+mn-lt"/>
              </a:rPr>
              <a:t>Information text</a:t>
            </a:r>
          </a:p>
        </p:txBody>
      </p:sp>
      <p:sp>
        <p:nvSpPr>
          <p:cNvPr id="29" name="TextBox 46">
            <a:extLst>
              <a:ext uri="{FF2B5EF4-FFF2-40B4-BE49-F238E27FC236}">
                <a16:creationId xmlns:a16="http://schemas.microsoft.com/office/drawing/2014/main" id="{0D1B923E-D68F-4E4E-B600-FC5DCF1C32B0}"/>
              </a:ext>
            </a:extLst>
          </p:cNvPr>
          <p:cNvSpPr txBox="1">
            <a:spLocks noChangeArrowheads="1"/>
          </p:cNvSpPr>
          <p:nvPr/>
        </p:nvSpPr>
        <p:spPr bwMode="auto">
          <a:xfrm>
            <a:off x="3126373" y="4237897"/>
            <a:ext cx="1331523"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1pPr>
            <a:lvl2pPr marL="742950" indent="-28575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2pPr>
            <a:lvl3pPr marL="11430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3pPr>
            <a:lvl4pPr marL="16002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4pPr>
            <a:lvl5pPr marL="20574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5pPr>
            <a:lvl6pPr marL="25146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6pPr>
            <a:lvl7pPr marL="29718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7pPr>
            <a:lvl8pPr marL="34290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8pPr>
            <a:lvl9pPr marL="38862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000" b="1" i="0" u="none" strike="noStrike" kern="1200" cap="none" spc="0" normalizeH="0" baseline="0" noProof="0" dirty="0">
                <a:ln>
                  <a:noFill/>
                </a:ln>
                <a:solidFill>
                  <a:schemeClr val="accent1"/>
                </a:solidFill>
                <a:effectLst/>
                <a:uLnTx/>
                <a:uFillTx/>
                <a:latin typeface="Arial"/>
                <a:ea typeface="+mn-ea"/>
                <a:cs typeface="+mn-ea"/>
                <a:sym typeface="+mn-lt"/>
              </a:rPr>
              <a:t>Information text</a:t>
            </a:r>
          </a:p>
        </p:txBody>
      </p:sp>
      <p:sp>
        <p:nvSpPr>
          <p:cNvPr id="30" name="TextBox 46">
            <a:extLst>
              <a:ext uri="{FF2B5EF4-FFF2-40B4-BE49-F238E27FC236}">
                <a16:creationId xmlns:a16="http://schemas.microsoft.com/office/drawing/2014/main" id="{04E30138-A25F-48FD-B2D5-E3B625C4D78A}"/>
              </a:ext>
            </a:extLst>
          </p:cNvPr>
          <p:cNvSpPr txBox="1">
            <a:spLocks noChangeArrowheads="1"/>
          </p:cNvSpPr>
          <p:nvPr/>
        </p:nvSpPr>
        <p:spPr bwMode="auto">
          <a:xfrm>
            <a:off x="2842227" y="4764452"/>
            <a:ext cx="1692195"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1pPr>
            <a:lvl2pPr marL="742950" indent="-28575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2pPr>
            <a:lvl3pPr marL="11430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3pPr>
            <a:lvl4pPr marL="16002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4pPr>
            <a:lvl5pPr marL="20574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5pPr>
            <a:lvl6pPr marL="25146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6pPr>
            <a:lvl7pPr marL="29718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7pPr>
            <a:lvl8pPr marL="34290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8pPr>
            <a:lvl9pPr marL="38862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000" b="1" i="0" u="none" strike="noStrike" kern="1200" cap="none" spc="0" normalizeH="0" baseline="0" noProof="0" dirty="0">
                <a:ln>
                  <a:noFill/>
                </a:ln>
                <a:solidFill>
                  <a:schemeClr val="accent1"/>
                </a:solidFill>
                <a:effectLst/>
                <a:uLnTx/>
                <a:uFillTx/>
                <a:latin typeface="Arial"/>
                <a:ea typeface="+mn-ea"/>
                <a:cs typeface="+mn-ea"/>
                <a:sym typeface="+mn-lt"/>
              </a:rPr>
              <a:t>Information text text</a:t>
            </a:r>
          </a:p>
        </p:txBody>
      </p:sp>
      <p:sp>
        <p:nvSpPr>
          <p:cNvPr id="31" name="TextBox 46">
            <a:extLst>
              <a:ext uri="{FF2B5EF4-FFF2-40B4-BE49-F238E27FC236}">
                <a16:creationId xmlns:a16="http://schemas.microsoft.com/office/drawing/2014/main" id="{436EAD09-9C43-4A40-8A86-D86D685759D1}"/>
              </a:ext>
            </a:extLst>
          </p:cNvPr>
          <p:cNvSpPr txBox="1">
            <a:spLocks noChangeArrowheads="1"/>
          </p:cNvSpPr>
          <p:nvPr/>
        </p:nvSpPr>
        <p:spPr bwMode="auto">
          <a:xfrm>
            <a:off x="5336173" y="5330097"/>
            <a:ext cx="1331523"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1pPr>
            <a:lvl2pPr marL="742950" indent="-28575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2pPr>
            <a:lvl3pPr marL="11430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3pPr>
            <a:lvl4pPr marL="16002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4pPr>
            <a:lvl5pPr marL="20574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5pPr>
            <a:lvl6pPr marL="25146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6pPr>
            <a:lvl7pPr marL="29718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7pPr>
            <a:lvl8pPr marL="34290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8pPr>
            <a:lvl9pPr marL="38862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000" b="1" i="0" u="none" strike="noStrike" kern="1200" cap="none" spc="0" normalizeH="0" baseline="0" noProof="0" dirty="0">
                <a:ln>
                  <a:noFill/>
                </a:ln>
                <a:solidFill>
                  <a:schemeClr val="accent1"/>
                </a:solidFill>
                <a:effectLst/>
                <a:uLnTx/>
                <a:uFillTx/>
                <a:latin typeface="Arial"/>
                <a:ea typeface="+mn-ea"/>
                <a:cs typeface="+mn-ea"/>
                <a:sym typeface="+mn-lt"/>
              </a:rPr>
              <a:t>Information text</a:t>
            </a:r>
          </a:p>
        </p:txBody>
      </p:sp>
      <p:sp>
        <p:nvSpPr>
          <p:cNvPr id="32" name="TextBox 46">
            <a:extLst>
              <a:ext uri="{FF2B5EF4-FFF2-40B4-BE49-F238E27FC236}">
                <a16:creationId xmlns:a16="http://schemas.microsoft.com/office/drawing/2014/main" id="{4548C61E-F190-44C7-8645-F4116D0A429B}"/>
              </a:ext>
            </a:extLst>
          </p:cNvPr>
          <p:cNvSpPr txBox="1">
            <a:spLocks noChangeArrowheads="1"/>
          </p:cNvSpPr>
          <p:nvPr/>
        </p:nvSpPr>
        <p:spPr bwMode="auto">
          <a:xfrm>
            <a:off x="5898694" y="4231052"/>
            <a:ext cx="1692195"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1pPr>
            <a:lvl2pPr marL="742950" indent="-28575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2pPr>
            <a:lvl3pPr marL="11430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3pPr>
            <a:lvl4pPr marL="16002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4pPr>
            <a:lvl5pPr marL="20574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5pPr>
            <a:lvl6pPr marL="25146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6pPr>
            <a:lvl7pPr marL="29718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7pPr>
            <a:lvl8pPr marL="34290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8pPr>
            <a:lvl9pPr marL="38862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000" b="1" i="0" u="none" strike="noStrike" kern="1200" cap="none" spc="0" normalizeH="0" baseline="0" noProof="0" dirty="0">
                <a:ln>
                  <a:noFill/>
                </a:ln>
                <a:solidFill>
                  <a:schemeClr val="accent1"/>
                </a:solidFill>
                <a:effectLst/>
                <a:uLnTx/>
                <a:uFillTx/>
                <a:latin typeface="Arial"/>
                <a:ea typeface="+mn-ea"/>
                <a:cs typeface="+mn-ea"/>
                <a:sym typeface="+mn-lt"/>
              </a:rPr>
              <a:t>Information text text</a:t>
            </a:r>
          </a:p>
        </p:txBody>
      </p:sp>
      <p:sp>
        <p:nvSpPr>
          <p:cNvPr id="33" name="TextBox 46">
            <a:extLst>
              <a:ext uri="{FF2B5EF4-FFF2-40B4-BE49-F238E27FC236}">
                <a16:creationId xmlns:a16="http://schemas.microsoft.com/office/drawing/2014/main" id="{8BE4AAEE-AFF0-4F80-A594-4072E93CC882}"/>
              </a:ext>
            </a:extLst>
          </p:cNvPr>
          <p:cNvSpPr txBox="1">
            <a:spLocks noChangeArrowheads="1"/>
          </p:cNvSpPr>
          <p:nvPr/>
        </p:nvSpPr>
        <p:spPr bwMode="auto">
          <a:xfrm>
            <a:off x="5585427" y="4764452"/>
            <a:ext cx="1692195"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1pPr>
            <a:lvl2pPr marL="742950" indent="-28575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2pPr>
            <a:lvl3pPr marL="11430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3pPr>
            <a:lvl4pPr marL="16002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4pPr>
            <a:lvl5pPr marL="20574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5pPr>
            <a:lvl6pPr marL="25146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6pPr>
            <a:lvl7pPr marL="29718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7pPr>
            <a:lvl8pPr marL="34290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8pPr>
            <a:lvl9pPr marL="38862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000" b="1" i="0" u="none" strike="noStrike" kern="1200" cap="none" spc="0" normalizeH="0" baseline="0" noProof="0" dirty="0">
                <a:ln>
                  <a:noFill/>
                </a:ln>
                <a:solidFill>
                  <a:schemeClr val="accent1"/>
                </a:solidFill>
                <a:effectLst/>
                <a:uLnTx/>
                <a:uFillTx/>
                <a:latin typeface="Arial"/>
                <a:ea typeface="+mn-ea"/>
                <a:cs typeface="+mn-ea"/>
                <a:sym typeface="+mn-lt"/>
              </a:rPr>
              <a:t>Information text text</a:t>
            </a:r>
          </a:p>
        </p:txBody>
      </p:sp>
    </p:spTree>
    <p:extLst>
      <p:ext uri="{BB962C8B-B14F-4D97-AF65-F5344CB8AC3E}">
        <p14:creationId xmlns:p14="http://schemas.microsoft.com/office/powerpoint/2010/main" val="2762479788"/>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a:extLst>
              <a:ext uri="{FF2B5EF4-FFF2-40B4-BE49-F238E27FC236}">
                <a16:creationId xmlns:a16="http://schemas.microsoft.com/office/drawing/2014/main" id="{FEC91BF1-B9C5-4F09-B2D4-6CDB406E04BF}"/>
              </a:ext>
            </a:extLst>
          </p:cNvPr>
          <p:cNvSpPr txBox="1"/>
          <p:nvPr/>
        </p:nvSpPr>
        <p:spPr>
          <a:xfrm>
            <a:off x="4759151" y="511705"/>
            <a:ext cx="2673698" cy="1354217"/>
          </a:xfrm>
          <a:prstGeom prst="rect">
            <a:avLst/>
          </a:prstGeom>
          <a:noFill/>
        </p:spPr>
        <p:txBody>
          <a:bodyPr wrap="square" lIns="0" tIns="0" rIns="0" bIns="0" rtlCol="0" anchor="t">
            <a:spAutoFit/>
          </a:bodyPr>
          <a:lstStyle/>
          <a:p>
            <a:pPr algn="dist"/>
            <a:r>
              <a:rPr lang="zh-CN" altLang="en-US" sz="8800" dirty="0">
                <a:solidFill>
                  <a:schemeClr val="accent1"/>
                </a:solidFill>
                <a:latin typeface="+mj-ea"/>
                <a:ea typeface="+mj-ea"/>
              </a:rPr>
              <a:t>目录</a:t>
            </a:r>
          </a:p>
        </p:txBody>
      </p:sp>
      <p:sp>
        <p:nvSpPr>
          <p:cNvPr id="3" name="文本框 2">
            <a:extLst>
              <a:ext uri="{FF2B5EF4-FFF2-40B4-BE49-F238E27FC236}">
                <a16:creationId xmlns:a16="http://schemas.microsoft.com/office/drawing/2014/main" id="{2F6E128B-B5E6-4058-9D64-F7E90E917496}"/>
              </a:ext>
            </a:extLst>
          </p:cNvPr>
          <p:cNvSpPr txBox="1"/>
          <p:nvPr/>
        </p:nvSpPr>
        <p:spPr>
          <a:xfrm>
            <a:off x="4895849" y="1984607"/>
            <a:ext cx="2531437" cy="276999"/>
          </a:xfrm>
          <a:prstGeom prst="rect">
            <a:avLst/>
          </a:prstGeom>
          <a:noFill/>
        </p:spPr>
        <p:txBody>
          <a:bodyPr wrap="square" lIns="0" tIns="0" rIns="0" bIns="0" rtlCol="0" anchor="t">
            <a:spAutoFit/>
          </a:bodyPr>
          <a:lstStyle/>
          <a:p>
            <a:pPr algn="dist"/>
            <a:r>
              <a:rPr lang="en-US" altLang="zh-CN" dirty="0">
                <a:solidFill>
                  <a:schemeClr val="accent1"/>
                </a:solidFill>
              </a:rPr>
              <a:t>CONTENTS</a:t>
            </a:r>
            <a:endParaRPr lang="zh-CN" altLang="en-US" dirty="0">
              <a:solidFill>
                <a:schemeClr val="accent1"/>
              </a:solidFill>
            </a:endParaRPr>
          </a:p>
        </p:txBody>
      </p:sp>
      <p:grpSp>
        <p:nvGrpSpPr>
          <p:cNvPr id="9" name="组合 8">
            <a:extLst>
              <a:ext uri="{FF2B5EF4-FFF2-40B4-BE49-F238E27FC236}">
                <a16:creationId xmlns:a16="http://schemas.microsoft.com/office/drawing/2014/main" id="{BA1F5ED4-5C2C-4667-AC93-4D04C216A2F0}"/>
              </a:ext>
            </a:extLst>
          </p:cNvPr>
          <p:cNvGrpSpPr/>
          <p:nvPr/>
        </p:nvGrpSpPr>
        <p:grpSpPr>
          <a:xfrm>
            <a:off x="622300" y="2781300"/>
            <a:ext cx="2362200" cy="2362200"/>
            <a:chOff x="927100" y="2667000"/>
            <a:chExt cx="2362200" cy="2362200"/>
          </a:xfrm>
        </p:grpSpPr>
        <p:sp>
          <p:nvSpPr>
            <p:cNvPr id="4" name="矩形: 圆角 3">
              <a:extLst>
                <a:ext uri="{FF2B5EF4-FFF2-40B4-BE49-F238E27FC236}">
                  <a16:creationId xmlns:a16="http://schemas.microsoft.com/office/drawing/2014/main" id="{E6722DA8-9BAA-4FAF-B72D-34635C2B16A6}"/>
                </a:ext>
              </a:extLst>
            </p:cNvPr>
            <p:cNvSpPr/>
            <p:nvPr/>
          </p:nvSpPr>
          <p:spPr>
            <a:xfrm>
              <a:off x="927100" y="2667000"/>
              <a:ext cx="2362200" cy="2362200"/>
            </a:xfrm>
            <a:prstGeom prst="roundRect">
              <a:avLst>
                <a:gd name="adj" fmla="val 9140"/>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solidFill>
                  <a:schemeClr val="accent1"/>
                </a:solidFill>
              </a:endParaRPr>
            </a:p>
          </p:txBody>
        </p:sp>
        <p:sp>
          <p:nvSpPr>
            <p:cNvPr id="5" name="文本框 4">
              <a:extLst>
                <a:ext uri="{FF2B5EF4-FFF2-40B4-BE49-F238E27FC236}">
                  <a16:creationId xmlns:a16="http://schemas.microsoft.com/office/drawing/2014/main" id="{1B1A36C2-6A7D-414E-B91A-4C2C7FC28445}"/>
                </a:ext>
              </a:extLst>
            </p:cNvPr>
            <p:cNvSpPr txBox="1"/>
            <p:nvPr/>
          </p:nvSpPr>
          <p:spPr>
            <a:xfrm>
              <a:off x="1816455" y="3128787"/>
              <a:ext cx="583493" cy="615553"/>
            </a:xfrm>
            <a:prstGeom prst="rect">
              <a:avLst/>
            </a:prstGeom>
            <a:noFill/>
          </p:spPr>
          <p:txBody>
            <a:bodyPr wrap="none" lIns="0" tIns="0" rIns="0" bIns="0" rtlCol="0" anchor="t">
              <a:spAutoFit/>
            </a:bodyPr>
            <a:lstStyle/>
            <a:p>
              <a:pPr algn="ctr"/>
              <a:r>
                <a:rPr lang="en-US" altLang="zh-CN" sz="4000" dirty="0">
                  <a:solidFill>
                    <a:schemeClr val="accent1"/>
                  </a:solidFill>
                  <a:latin typeface="+mj-ea"/>
                  <a:ea typeface="+mj-ea"/>
                </a:rPr>
                <a:t>01</a:t>
              </a:r>
              <a:endParaRPr lang="zh-CN" altLang="en-US" sz="4000" dirty="0">
                <a:solidFill>
                  <a:schemeClr val="accent1"/>
                </a:solidFill>
                <a:latin typeface="+mj-ea"/>
                <a:ea typeface="+mj-ea"/>
              </a:endParaRPr>
            </a:p>
          </p:txBody>
        </p:sp>
        <p:sp>
          <p:nvSpPr>
            <p:cNvPr id="6" name="文本框 5">
              <a:extLst>
                <a:ext uri="{FF2B5EF4-FFF2-40B4-BE49-F238E27FC236}">
                  <a16:creationId xmlns:a16="http://schemas.microsoft.com/office/drawing/2014/main" id="{7B84DE76-E6A0-44C7-94DB-179C7251167A}"/>
                </a:ext>
              </a:extLst>
            </p:cNvPr>
            <p:cNvSpPr txBox="1"/>
            <p:nvPr/>
          </p:nvSpPr>
          <p:spPr>
            <a:xfrm>
              <a:off x="1201937" y="3890787"/>
              <a:ext cx="1846659" cy="369332"/>
            </a:xfrm>
            <a:prstGeom prst="rect">
              <a:avLst/>
            </a:prstGeom>
            <a:noFill/>
          </p:spPr>
          <p:txBody>
            <a:bodyPr wrap="none" lIns="0" tIns="0" rIns="0" bIns="0" rtlCol="0" anchor="t">
              <a:spAutoFit/>
            </a:bodyPr>
            <a:lstStyle/>
            <a:p>
              <a:pPr algn="ctr"/>
              <a:r>
                <a:rPr lang="zh-CN" altLang="en-US" sz="2400" dirty="0">
                  <a:solidFill>
                    <a:schemeClr val="accent1"/>
                  </a:solidFill>
                  <a:latin typeface="+mj-ea"/>
                  <a:ea typeface="+mj-ea"/>
                </a:rPr>
                <a:t>输入目录标题</a:t>
              </a:r>
            </a:p>
          </p:txBody>
        </p:sp>
        <p:sp>
          <p:nvSpPr>
            <p:cNvPr id="7" name="文本框 6">
              <a:extLst>
                <a:ext uri="{FF2B5EF4-FFF2-40B4-BE49-F238E27FC236}">
                  <a16:creationId xmlns:a16="http://schemas.microsoft.com/office/drawing/2014/main" id="{2FB03FE3-023D-4D2A-A999-138A72BF3A16}"/>
                </a:ext>
              </a:extLst>
            </p:cNvPr>
            <p:cNvSpPr txBox="1"/>
            <p:nvPr/>
          </p:nvSpPr>
          <p:spPr>
            <a:xfrm>
              <a:off x="1201936" y="4351969"/>
              <a:ext cx="1846660" cy="215444"/>
            </a:xfrm>
            <a:prstGeom prst="rect">
              <a:avLst/>
            </a:prstGeom>
            <a:noFill/>
          </p:spPr>
          <p:txBody>
            <a:bodyPr wrap="square" lIns="0" tIns="0" rIns="0" bIns="0" rtlCol="0" anchor="t">
              <a:spAutoFit/>
            </a:bodyPr>
            <a:lstStyle/>
            <a:p>
              <a:pPr algn="dist"/>
              <a:r>
                <a:rPr lang="en-US" altLang="zh-CN" sz="1400" dirty="0">
                  <a:solidFill>
                    <a:schemeClr val="accent1"/>
                  </a:solidFill>
                </a:rPr>
                <a:t>Contents Title Here</a:t>
              </a:r>
              <a:endParaRPr lang="zh-CN" altLang="en-US" sz="1400" dirty="0">
                <a:solidFill>
                  <a:schemeClr val="accent1"/>
                </a:solidFill>
              </a:endParaRPr>
            </a:p>
          </p:txBody>
        </p:sp>
      </p:grpSp>
      <p:grpSp>
        <p:nvGrpSpPr>
          <p:cNvPr id="15" name="组合 14">
            <a:extLst>
              <a:ext uri="{FF2B5EF4-FFF2-40B4-BE49-F238E27FC236}">
                <a16:creationId xmlns:a16="http://schemas.microsoft.com/office/drawing/2014/main" id="{689786C7-9A8C-4B8D-A88C-B9DEACD491A2}"/>
              </a:ext>
            </a:extLst>
          </p:cNvPr>
          <p:cNvGrpSpPr/>
          <p:nvPr/>
        </p:nvGrpSpPr>
        <p:grpSpPr>
          <a:xfrm>
            <a:off x="3465102" y="2781300"/>
            <a:ext cx="2362200" cy="2362200"/>
            <a:chOff x="927100" y="2667000"/>
            <a:chExt cx="2362200" cy="2362200"/>
          </a:xfrm>
        </p:grpSpPr>
        <p:sp>
          <p:nvSpPr>
            <p:cNvPr id="16" name="矩形: 圆角 15">
              <a:extLst>
                <a:ext uri="{FF2B5EF4-FFF2-40B4-BE49-F238E27FC236}">
                  <a16:creationId xmlns:a16="http://schemas.microsoft.com/office/drawing/2014/main" id="{A4C81DCE-892D-43BB-A262-1A967B0AFC63}"/>
                </a:ext>
              </a:extLst>
            </p:cNvPr>
            <p:cNvSpPr/>
            <p:nvPr/>
          </p:nvSpPr>
          <p:spPr>
            <a:xfrm>
              <a:off x="927100" y="2667000"/>
              <a:ext cx="2362200" cy="2362200"/>
            </a:xfrm>
            <a:prstGeom prst="roundRect">
              <a:avLst>
                <a:gd name="adj" fmla="val 9140"/>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solidFill>
                  <a:schemeClr val="accent1"/>
                </a:solidFill>
              </a:endParaRPr>
            </a:p>
          </p:txBody>
        </p:sp>
        <p:sp>
          <p:nvSpPr>
            <p:cNvPr id="17" name="文本框 16">
              <a:extLst>
                <a:ext uri="{FF2B5EF4-FFF2-40B4-BE49-F238E27FC236}">
                  <a16:creationId xmlns:a16="http://schemas.microsoft.com/office/drawing/2014/main" id="{76E4786E-107D-4CFB-B858-C3D3F35C623F}"/>
                </a:ext>
              </a:extLst>
            </p:cNvPr>
            <p:cNvSpPr txBox="1"/>
            <p:nvPr/>
          </p:nvSpPr>
          <p:spPr>
            <a:xfrm>
              <a:off x="1769968" y="3128787"/>
              <a:ext cx="676467" cy="615553"/>
            </a:xfrm>
            <a:prstGeom prst="rect">
              <a:avLst/>
            </a:prstGeom>
            <a:noFill/>
          </p:spPr>
          <p:txBody>
            <a:bodyPr wrap="none" lIns="0" tIns="0" rIns="0" bIns="0" rtlCol="0" anchor="t">
              <a:spAutoFit/>
            </a:bodyPr>
            <a:lstStyle/>
            <a:p>
              <a:pPr algn="ctr"/>
              <a:r>
                <a:rPr lang="en-US" altLang="zh-CN" sz="4000" dirty="0">
                  <a:solidFill>
                    <a:schemeClr val="accent1"/>
                  </a:solidFill>
                  <a:latin typeface="+mj-ea"/>
                  <a:ea typeface="+mj-ea"/>
                </a:rPr>
                <a:t>02</a:t>
              </a:r>
              <a:endParaRPr lang="zh-CN" altLang="en-US" sz="4000" dirty="0">
                <a:solidFill>
                  <a:schemeClr val="accent1"/>
                </a:solidFill>
                <a:latin typeface="+mj-ea"/>
                <a:ea typeface="+mj-ea"/>
              </a:endParaRPr>
            </a:p>
          </p:txBody>
        </p:sp>
        <p:sp>
          <p:nvSpPr>
            <p:cNvPr id="18" name="文本框 17">
              <a:extLst>
                <a:ext uri="{FF2B5EF4-FFF2-40B4-BE49-F238E27FC236}">
                  <a16:creationId xmlns:a16="http://schemas.microsoft.com/office/drawing/2014/main" id="{9F381CB9-E509-4926-A202-1082025534DF}"/>
                </a:ext>
              </a:extLst>
            </p:cNvPr>
            <p:cNvSpPr txBox="1"/>
            <p:nvPr/>
          </p:nvSpPr>
          <p:spPr>
            <a:xfrm>
              <a:off x="1201937" y="3890787"/>
              <a:ext cx="1846659" cy="369332"/>
            </a:xfrm>
            <a:prstGeom prst="rect">
              <a:avLst/>
            </a:prstGeom>
            <a:noFill/>
          </p:spPr>
          <p:txBody>
            <a:bodyPr wrap="none" lIns="0" tIns="0" rIns="0" bIns="0" rtlCol="0" anchor="t">
              <a:spAutoFit/>
            </a:bodyPr>
            <a:lstStyle/>
            <a:p>
              <a:pPr algn="ctr"/>
              <a:r>
                <a:rPr lang="zh-CN" altLang="en-US" sz="2400" dirty="0">
                  <a:solidFill>
                    <a:schemeClr val="accent1"/>
                  </a:solidFill>
                  <a:latin typeface="+mj-ea"/>
                  <a:ea typeface="+mj-ea"/>
                </a:rPr>
                <a:t>输入目录标题</a:t>
              </a:r>
            </a:p>
          </p:txBody>
        </p:sp>
        <p:sp>
          <p:nvSpPr>
            <p:cNvPr id="19" name="文本框 18">
              <a:extLst>
                <a:ext uri="{FF2B5EF4-FFF2-40B4-BE49-F238E27FC236}">
                  <a16:creationId xmlns:a16="http://schemas.microsoft.com/office/drawing/2014/main" id="{AFBF177F-8C15-40EA-B85B-CCB586795F88}"/>
                </a:ext>
              </a:extLst>
            </p:cNvPr>
            <p:cNvSpPr txBox="1"/>
            <p:nvPr/>
          </p:nvSpPr>
          <p:spPr>
            <a:xfrm>
              <a:off x="1201936" y="4351969"/>
              <a:ext cx="1846660" cy="215444"/>
            </a:xfrm>
            <a:prstGeom prst="rect">
              <a:avLst/>
            </a:prstGeom>
            <a:noFill/>
          </p:spPr>
          <p:txBody>
            <a:bodyPr wrap="square" lIns="0" tIns="0" rIns="0" bIns="0" rtlCol="0" anchor="t">
              <a:spAutoFit/>
            </a:bodyPr>
            <a:lstStyle/>
            <a:p>
              <a:pPr algn="dist"/>
              <a:r>
                <a:rPr lang="en-US" altLang="zh-CN" sz="1400" dirty="0">
                  <a:solidFill>
                    <a:schemeClr val="accent1"/>
                  </a:solidFill>
                </a:rPr>
                <a:t>Contents Title Here</a:t>
              </a:r>
              <a:endParaRPr lang="zh-CN" altLang="en-US" sz="1400" dirty="0">
                <a:solidFill>
                  <a:schemeClr val="accent1"/>
                </a:solidFill>
              </a:endParaRPr>
            </a:p>
          </p:txBody>
        </p:sp>
      </p:grpSp>
      <p:grpSp>
        <p:nvGrpSpPr>
          <p:cNvPr id="20" name="组合 19">
            <a:extLst>
              <a:ext uri="{FF2B5EF4-FFF2-40B4-BE49-F238E27FC236}">
                <a16:creationId xmlns:a16="http://schemas.microsoft.com/office/drawing/2014/main" id="{94F6F072-6E0E-40A0-B638-2D2DAE16CF85}"/>
              </a:ext>
            </a:extLst>
          </p:cNvPr>
          <p:cNvGrpSpPr/>
          <p:nvPr/>
        </p:nvGrpSpPr>
        <p:grpSpPr>
          <a:xfrm>
            <a:off x="6269804" y="2781300"/>
            <a:ext cx="2362200" cy="2362200"/>
            <a:chOff x="927100" y="2667000"/>
            <a:chExt cx="2362200" cy="2362200"/>
          </a:xfrm>
        </p:grpSpPr>
        <p:sp>
          <p:nvSpPr>
            <p:cNvPr id="21" name="矩形: 圆角 20">
              <a:extLst>
                <a:ext uri="{FF2B5EF4-FFF2-40B4-BE49-F238E27FC236}">
                  <a16:creationId xmlns:a16="http://schemas.microsoft.com/office/drawing/2014/main" id="{7F65F05C-0DFF-4228-BBC0-282CDDC803F0}"/>
                </a:ext>
              </a:extLst>
            </p:cNvPr>
            <p:cNvSpPr/>
            <p:nvPr/>
          </p:nvSpPr>
          <p:spPr>
            <a:xfrm>
              <a:off x="927100" y="2667000"/>
              <a:ext cx="2362200" cy="2362200"/>
            </a:xfrm>
            <a:prstGeom prst="roundRect">
              <a:avLst>
                <a:gd name="adj" fmla="val 9140"/>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solidFill>
                  <a:schemeClr val="accent1"/>
                </a:solidFill>
              </a:endParaRPr>
            </a:p>
          </p:txBody>
        </p:sp>
        <p:sp>
          <p:nvSpPr>
            <p:cNvPr id="22" name="文本框 21">
              <a:extLst>
                <a:ext uri="{FF2B5EF4-FFF2-40B4-BE49-F238E27FC236}">
                  <a16:creationId xmlns:a16="http://schemas.microsoft.com/office/drawing/2014/main" id="{AA0FAB44-EB32-4A80-933D-B978C6433F53}"/>
                </a:ext>
              </a:extLst>
            </p:cNvPr>
            <p:cNvSpPr txBox="1"/>
            <p:nvPr/>
          </p:nvSpPr>
          <p:spPr>
            <a:xfrm>
              <a:off x="1769968" y="3128787"/>
              <a:ext cx="676467" cy="615553"/>
            </a:xfrm>
            <a:prstGeom prst="rect">
              <a:avLst/>
            </a:prstGeom>
            <a:noFill/>
          </p:spPr>
          <p:txBody>
            <a:bodyPr wrap="none" lIns="0" tIns="0" rIns="0" bIns="0" rtlCol="0" anchor="t">
              <a:spAutoFit/>
            </a:bodyPr>
            <a:lstStyle/>
            <a:p>
              <a:pPr algn="ctr"/>
              <a:r>
                <a:rPr lang="en-US" altLang="zh-CN" sz="4000" dirty="0">
                  <a:solidFill>
                    <a:schemeClr val="accent1"/>
                  </a:solidFill>
                  <a:latin typeface="+mj-ea"/>
                  <a:ea typeface="+mj-ea"/>
                </a:rPr>
                <a:t>03</a:t>
              </a:r>
              <a:endParaRPr lang="zh-CN" altLang="en-US" sz="4000" dirty="0">
                <a:solidFill>
                  <a:schemeClr val="accent1"/>
                </a:solidFill>
                <a:latin typeface="+mj-ea"/>
                <a:ea typeface="+mj-ea"/>
              </a:endParaRPr>
            </a:p>
          </p:txBody>
        </p:sp>
        <p:sp>
          <p:nvSpPr>
            <p:cNvPr id="23" name="文本框 22">
              <a:extLst>
                <a:ext uri="{FF2B5EF4-FFF2-40B4-BE49-F238E27FC236}">
                  <a16:creationId xmlns:a16="http://schemas.microsoft.com/office/drawing/2014/main" id="{E1B8B61B-BAC4-4CA4-B29C-29644D9EA3CE}"/>
                </a:ext>
              </a:extLst>
            </p:cNvPr>
            <p:cNvSpPr txBox="1"/>
            <p:nvPr/>
          </p:nvSpPr>
          <p:spPr>
            <a:xfrm>
              <a:off x="1201937" y="3890787"/>
              <a:ext cx="1846659" cy="369332"/>
            </a:xfrm>
            <a:prstGeom prst="rect">
              <a:avLst/>
            </a:prstGeom>
            <a:noFill/>
          </p:spPr>
          <p:txBody>
            <a:bodyPr wrap="none" lIns="0" tIns="0" rIns="0" bIns="0" rtlCol="0" anchor="t">
              <a:spAutoFit/>
            </a:bodyPr>
            <a:lstStyle/>
            <a:p>
              <a:pPr algn="ctr"/>
              <a:r>
                <a:rPr lang="zh-CN" altLang="en-US" sz="2400" dirty="0">
                  <a:solidFill>
                    <a:schemeClr val="accent1"/>
                  </a:solidFill>
                  <a:latin typeface="+mj-ea"/>
                  <a:ea typeface="+mj-ea"/>
                </a:rPr>
                <a:t>输入目录标题</a:t>
              </a:r>
            </a:p>
          </p:txBody>
        </p:sp>
        <p:sp>
          <p:nvSpPr>
            <p:cNvPr id="24" name="文本框 23">
              <a:extLst>
                <a:ext uri="{FF2B5EF4-FFF2-40B4-BE49-F238E27FC236}">
                  <a16:creationId xmlns:a16="http://schemas.microsoft.com/office/drawing/2014/main" id="{13867E92-5877-4F5D-9297-C676F425052E}"/>
                </a:ext>
              </a:extLst>
            </p:cNvPr>
            <p:cNvSpPr txBox="1"/>
            <p:nvPr/>
          </p:nvSpPr>
          <p:spPr>
            <a:xfrm>
              <a:off x="1201936" y="4351969"/>
              <a:ext cx="1846660" cy="215444"/>
            </a:xfrm>
            <a:prstGeom prst="rect">
              <a:avLst/>
            </a:prstGeom>
            <a:noFill/>
          </p:spPr>
          <p:txBody>
            <a:bodyPr wrap="square" lIns="0" tIns="0" rIns="0" bIns="0" rtlCol="0" anchor="t">
              <a:spAutoFit/>
            </a:bodyPr>
            <a:lstStyle/>
            <a:p>
              <a:pPr algn="dist"/>
              <a:r>
                <a:rPr lang="en-US" altLang="zh-CN" sz="1400" dirty="0">
                  <a:solidFill>
                    <a:schemeClr val="accent1"/>
                  </a:solidFill>
                </a:rPr>
                <a:t>Contents Title Here</a:t>
              </a:r>
              <a:endParaRPr lang="zh-CN" altLang="en-US" sz="1400" dirty="0">
                <a:solidFill>
                  <a:schemeClr val="accent1"/>
                </a:solidFill>
              </a:endParaRPr>
            </a:p>
          </p:txBody>
        </p:sp>
      </p:grpSp>
      <p:grpSp>
        <p:nvGrpSpPr>
          <p:cNvPr id="25" name="组合 24">
            <a:extLst>
              <a:ext uri="{FF2B5EF4-FFF2-40B4-BE49-F238E27FC236}">
                <a16:creationId xmlns:a16="http://schemas.microsoft.com/office/drawing/2014/main" id="{1E8377A7-B4A0-49DD-AFBC-98045C2D5F4D}"/>
              </a:ext>
            </a:extLst>
          </p:cNvPr>
          <p:cNvGrpSpPr/>
          <p:nvPr/>
        </p:nvGrpSpPr>
        <p:grpSpPr>
          <a:xfrm>
            <a:off x="9112605" y="2781300"/>
            <a:ext cx="2362200" cy="2362200"/>
            <a:chOff x="927100" y="2667000"/>
            <a:chExt cx="2362200" cy="2362200"/>
          </a:xfrm>
        </p:grpSpPr>
        <p:sp>
          <p:nvSpPr>
            <p:cNvPr id="26" name="矩形: 圆角 25">
              <a:extLst>
                <a:ext uri="{FF2B5EF4-FFF2-40B4-BE49-F238E27FC236}">
                  <a16:creationId xmlns:a16="http://schemas.microsoft.com/office/drawing/2014/main" id="{FC70993C-8A1D-462F-A6E5-9C5C09B0E0C5}"/>
                </a:ext>
              </a:extLst>
            </p:cNvPr>
            <p:cNvSpPr/>
            <p:nvPr/>
          </p:nvSpPr>
          <p:spPr>
            <a:xfrm>
              <a:off x="927100" y="2667000"/>
              <a:ext cx="2362200" cy="2362200"/>
            </a:xfrm>
            <a:prstGeom prst="roundRect">
              <a:avLst>
                <a:gd name="adj" fmla="val 9140"/>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solidFill>
                  <a:schemeClr val="accent1"/>
                </a:solidFill>
              </a:endParaRPr>
            </a:p>
          </p:txBody>
        </p:sp>
        <p:sp>
          <p:nvSpPr>
            <p:cNvPr id="27" name="文本框 26">
              <a:extLst>
                <a:ext uri="{FF2B5EF4-FFF2-40B4-BE49-F238E27FC236}">
                  <a16:creationId xmlns:a16="http://schemas.microsoft.com/office/drawing/2014/main" id="{3C269E78-6079-4B36-B4D8-CB1B9B65B22C}"/>
                </a:ext>
              </a:extLst>
            </p:cNvPr>
            <p:cNvSpPr txBox="1"/>
            <p:nvPr/>
          </p:nvSpPr>
          <p:spPr>
            <a:xfrm>
              <a:off x="1769968" y="3128787"/>
              <a:ext cx="676467" cy="615553"/>
            </a:xfrm>
            <a:prstGeom prst="rect">
              <a:avLst/>
            </a:prstGeom>
            <a:noFill/>
          </p:spPr>
          <p:txBody>
            <a:bodyPr wrap="none" lIns="0" tIns="0" rIns="0" bIns="0" rtlCol="0" anchor="t">
              <a:spAutoFit/>
            </a:bodyPr>
            <a:lstStyle/>
            <a:p>
              <a:pPr algn="ctr"/>
              <a:r>
                <a:rPr lang="en-US" altLang="zh-CN" sz="4000" dirty="0">
                  <a:solidFill>
                    <a:schemeClr val="accent1"/>
                  </a:solidFill>
                  <a:latin typeface="+mj-ea"/>
                  <a:ea typeface="+mj-ea"/>
                </a:rPr>
                <a:t>04</a:t>
              </a:r>
              <a:endParaRPr lang="zh-CN" altLang="en-US" sz="4000" dirty="0">
                <a:solidFill>
                  <a:schemeClr val="accent1"/>
                </a:solidFill>
                <a:latin typeface="+mj-ea"/>
                <a:ea typeface="+mj-ea"/>
              </a:endParaRPr>
            </a:p>
          </p:txBody>
        </p:sp>
        <p:sp>
          <p:nvSpPr>
            <p:cNvPr id="28" name="文本框 27">
              <a:extLst>
                <a:ext uri="{FF2B5EF4-FFF2-40B4-BE49-F238E27FC236}">
                  <a16:creationId xmlns:a16="http://schemas.microsoft.com/office/drawing/2014/main" id="{855BE823-112D-4D98-B5C7-E75AF8DC5BB3}"/>
                </a:ext>
              </a:extLst>
            </p:cNvPr>
            <p:cNvSpPr txBox="1"/>
            <p:nvPr/>
          </p:nvSpPr>
          <p:spPr>
            <a:xfrm>
              <a:off x="1201937" y="3890787"/>
              <a:ext cx="1846659" cy="369332"/>
            </a:xfrm>
            <a:prstGeom prst="rect">
              <a:avLst/>
            </a:prstGeom>
            <a:noFill/>
          </p:spPr>
          <p:txBody>
            <a:bodyPr wrap="none" lIns="0" tIns="0" rIns="0" bIns="0" rtlCol="0" anchor="t">
              <a:spAutoFit/>
            </a:bodyPr>
            <a:lstStyle/>
            <a:p>
              <a:pPr algn="ctr"/>
              <a:r>
                <a:rPr lang="zh-CN" altLang="en-US" sz="2400" dirty="0">
                  <a:solidFill>
                    <a:schemeClr val="accent1"/>
                  </a:solidFill>
                  <a:latin typeface="+mj-ea"/>
                  <a:ea typeface="+mj-ea"/>
                </a:rPr>
                <a:t>输入目录标题</a:t>
              </a:r>
            </a:p>
          </p:txBody>
        </p:sp>
        <p:sp>
          <p:nvSpPr>
            <p:cNvPr id="29" name="文本框 28">
              <a:extLst>
                <a:ext uri="{FF2B5EF4-FFF2-40B4-BE49-F238E27FC236}">
                  <a16:creationId xmlns:a16="http://schemas.microsoft.com/office/drawing/2014/main" id="{86D0201D-6C80-455F-B84D-C4E001D30C72}"/>
                </a:ext>
              </a:extLst>
            </p:cNvPr>
            <p:cNvSpPr txBox="1"/>
            <p:nvPr/>
          </p:nvSpPr>
          <p:spPr>
            <a:xfrm>
              <a:off x="1201936" y="4351969"/>
              <a:ext cx="1846660" cy="215444"/>
            </a:xfrm>
            <a:prstGeom prst="rect">
              <a:avLst/>
            </a:prstGeom>
            <a:noFill/>
          </p:spPr>
          <p:txBody>
            <a:bodyPr wrap="square" lIns="0" tIns="0" rIns="0" bIns="0" rtlCol="0" anchor="t">
              <a:spAutoFit/>
            </a:bodyPr>
            <a:lstStyle/>
            <a:p>
              <a:pPr algn="dist"/>
              <a:r>
                <a:rPr lang="en-US" altLang="zh-CN" sz="1400" dirty="0">
                  <a:solidFill>
                    <a:schemeClr val="accent1"/>
                  </a:solidFill>
                </a:rPr>
                <a:t>Contents Title Here</a:t>
              </a:r>
              <a:endParaRPr lang="zh-CN" altLang="en-US" sz="1400" dirty="0">
                <a:solidFill>
                  <a:schemeClr val="accent1"/>
                </a:solidFill>
              </a:endParaRPr>
            </a:p>
          </p:txBody>
        </p:sp>
      </p:grpSp>
    </p:spTree>
    <p:extLst>
      <p:ext uri="{BB962C8B-B14F-4D97-AF65-F5344CB8AC3E}">
        <p14:creationId xmlns:p14="http://schemas.microsoft.com/office/powerpoint/2010/main" val="196482076"/>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7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0" name="组合 39">
            <a:extLst>
              <a:ext uri="{FF2B5EF4-FFF2-40B4-BE49-F238E27FC236}">
                <a16:creationId xmlns:a16="http://schemas.microsoft.com/office/drawing/2014/main" id="{D6ADF72A-49A3-4AC1-8B3F-F6AF32353272}"/>
              </a:ext>
            </a:extLst>
          </p:cNvPr>
          <p:cNvGrpSpPr/>
          <p:nvPr/>
        </p:nvGrpSpPr>
        <p:grpSpPr>
          <a:xfrm>
            <a:off x="1560421" y="1219200"/>
            <a:ext cx="7617710" cy="2306477"/>
            <a:chOff x="1738221" y="1473200"/>
            <a:chExt cx="7617710" cy="2306477"/>
          </a:xfrm>
        </p:grpSpPr>
        <p:grpSp>
          <p:nvGrpSpPr>
            <p:cNvPr id="19" name="组合 18">
              <a:extLst>
                <a:ext uri="{FF2B5EF4-FFF2-40B4-BE49-F238E27FC236}">
                  <a16:creationId xmlns:a16="http://schemas.microsoft.com/office/drawing/2014/main" id="{A1C0F4E9-F44B-44D1-9930-0CB44ED3F7D1}"/>
                </a:ext>
              </a:extLst>
            </p:cNvPr>
            <p:cNvGrpSpPr/>
            <p:nvPr/>
          </p:nvGrpSpPr>
          <p:grpSpPr>
            <a:xfrm>
              <a:off x="2419350" y="1709738"/>
              <a:ext cx="6936581" cy="2069939"/>
              <a:chOff x="2419350" y="1709738"/>
              <a:chExt cx="6936581" cy="2069939"/>
            </a:xfrm>
          </p:grpSpPr>
          <p:grpSp>
            <p:nvGrpSpPr>
              <p:cNvPr id="6" name="组合 5">
                <a:extLst>
                  <a:ext uri="{FF2B5EF4-FFF2-40B4-BE49-F238E27FC236}">
                    <a16:creationId xmlns:a16="http://schemas.microsoft.com/office/drawing/2014/main" id="{C6AE6275-15E4-4428-835C-55DB82D47E16}"/>
                  </a:ext>
                </a:extLst>
              </p:cNvPr>
              <p:cNvGrpSpPr/>
              <p:nvPr/>
            </p:nvGrpSpPr>
            <p:grpSpPr>
              <a:xfrm>
                <a:off x="3278505" y="1709738"/>
                <a:ext cx="492455" cy="2069939"/>
                <a:chOff x="3324225" y="1709738"/>
                <a:chExt cx="492455" cy="2069939"/>
              </a:xfrm>
            </p:grpSpPr>
            <p:sp>
              <p:nvSpPr>
                <p:cNvPr id="4" name="Линия">
                  <a:extLst>
                    <a:ext uri="{FF2B5EF4-FFF2-40B4-BE49-F238E27FC236}">
                      <a16:creationId xmlns:a16="http://schemas.microsoft.com/office/drawing/2014/main" id="{B5696B5D-4FBE-40BD-B17A-863182E8BBA4}"/>
                    </a:ext>
                  </a:extLst>
                </p:cNvPr>
                <p:cNvSpPr/>
                <p:nvPr/>
              </p:nvSpPr>
              <p:spPr>
                <a:xfrm rot="3929065">
                  <a:off x="2718121" y="2681118"/>
                  <a:ext cx="2048738" cy="148380"/>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0186" y="0"/>
                      </a:lnTo>
                      <a:cubicBezTo>
                        <a:pt x="20385" y="168"/>
                        <a:pt x="20577" y="1084"/>
                        <a:pt x="20742" y="2649"/>
                      </a:cubicBezTo>
                      <a:cubicBezTo>
                        <a:pt x="20910" y="4252"/>
                        <a:pt x="21042" y="6471"/>
                        <a:pt x="21124" y="9057"/>
                      </a:cubicBezTo>
                      <a:lnTo>
                        <a:pt x="21600" y="21600"/>
                      </a:lnTo>
                    </a:path>
                  </a:pathLst>
                </a:custGeom>
                <a:ln w="25400" cap="rnd">
                  <a:solidFill>
                    <a:schemeClr val="accent1">
                      <a:lumMod val="100000"/>
                    </a:schemeClr>
                  </a:solidFill>
                  <a:round/>
                </a:ln>
              </p:spPr>
              <p:txBody>
                <a:bodyPr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1600" b="0" i="0" u="none" strike="noStrike" kern="1200" cap="none" spc="0" normalizeH="0" baseline="0" noProof="0">
                    <a:ln>
                      <a:noFill/>
                    </a:ln>
                    <a:solidFill>
                      <a:srgbClr val="0677C7"/>
                    </a:solidFill>
                    <a:effectLst/>
                    <a:uLnTx/>
                    <a:uFillTx/>
                    <a:latin typeface="Arial"/>
                    <a:cs typeface="+mn-ea"/>
                    <a:sym typeface="+mn-lt"/>
                  </a:endParaRPr>
                </a:p>
              </p:txBody>
            </p:sp>
            <p:sp>
              <p:nvSpPr>
                <p:cNvPr id="5" name="椭圆 4">
                  <a:extLst>
                    <a:ext uri="{FF2B5EF4-FFF2-40B4-BE49-F238E27FC236}">
                      <a16:creationId xmlns:a16="http://schemas.microsoft.com/office/drawing/2014/main" id="{B448608E-82A0-4832-9BA6-4260BEBBC604}"/>
                    </a:ext>
                  </a:extLst>
                </p:cNvPr>
                <p:cNvSpPr/>
                <p:nvPr/>
              </p:nvSpPr>
              <p:spPr>
                <a:xfrm>
                  <a:off x="3324225" y="1709738"/>
                  <a:ext cx="82765" cy="82765"/>
                </a:xfrm>
                <a:prstGeom prst="ellipse">
                  <a:avLst/>
                </a:prstGeom>
                <a:ln w="25400" cap="rnd">
                  <a:solidFill>
                    <a:schemeClr val="accent1">
                      <a:lumMod val="100000"/>
                    </a:schemeClr>
                  </a:solidFill>
                  <a:round/>
                </a:ln>
              </p:spPr>
              <p:txBody>
                <a:bodyPr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600" b="0" i="0" u="none" strike="noStrike" kern="1200" cap="none" spc="0" normalizeH="0" baseline="0" noProof="0">
                    <a:ln>
                      <a:noFill/>
                    </a:ln>
                    <a:solidFill>
                      <a:srgbClr val="0677C7"/>
                    </a:solidFill>
                    <a:effectLst/>
                    <a:uLnTx/>
                    <a:uFillTx/>
                    <a:latin typeface="Arial"/>
                    <a:cs typeface="+mn-ea"/>
                  </a:endParaRPr>
                </a:p>
              </p:txBody>
            </p:sp>
          </p:grpSp>
          <p:grpSp>
            <p:nvGrpSpPr>
              <p:cNvPr id="7" name="组合 6">
                <a:extLst>
                  <a:ext uri="{FF2B5EF4-FFF2-40B4-BE49-F238E27FC236}">
                    <a16:creationId xmlns:a16="http://schemas.microsoft.com/office/drawing/2014/main" id="{D88B6F56-C628-4716-8950-0EF1DD7849E2}"/>
                  </a:ext>
                </a:extLst>
              </p:cNvPr>
              <p:cNvGrpSpPr/>
              <p:nvPr/>
            </p:nvGrpSpPr>
            <p:grpSpPr>
              <a:xfrm>
                <a:off x="5053965" y="1709738"/>
                <a:ext cx="492455" cy="2069939"/>
                <a:chOff x="3324225" y="1709738"/>
                <a:chExt cx="492455" cy="2069939"/>
              </a:xfrm>
            </p:grpSpPr>
            <p:sp>
              <p:nvSpPr>
                <p:cNvPr id="8" name="Линия">
                  <a:extLst>
                    <a:ext uri="{FF2B5EF4-FFF2-40B4-BE49-F238E27FC236}">
                      <a16:creationId xmlns:a16="http://schemas.microsoft.com/office/drawing/2014/main" id="{A0BDA674-CFAB-4262-A0A4-DE58F067569E}"/>
                    </a:ext>
                  </a:extLst>
                </p:cNvPr>
                <p:cNvSpPr/>
                <p:nvPr/>
              </p:nvSpPr>
              <p:spPr>
                <a:xfrm rot="3929065">
                  <a:off x="2718121" y="2681118"/>
                  <a:ext cx="2048738" cy="148380"/>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0186" y="0"/>
                      </a:lnTo>
                      <a:cubicBezTo>
                        <a:pt x="20385" y="168"/>
                        <a:pt x="20577" y="1084"/>
                        <a:pt x="20742" y="2649"/>
                      </a:cubicBezTo>
                      <a:cubicBezTo>
                        <a:pt x="20910" y="4252"/>
                        <a:pt x="21042" y="6471"/>
                        <a:pt x="21124" y="9057"/>
                      </a:cubicBezTo>
                      <a:lnTo>
                        <a:pt x="21600" y="21600"/>
                      </a:lnTo>
                    </a:path>
                  </a:pathLst>
                </a:custGeom>
                <a:ln w="25400" cap="rnd">
                  <a:solidFill>
                    <a:schemeClr val="accent1">
                      <a:lumMod val="100000"/>
                    </a:schemeClr>
                  </a:solidFill>
                  <a:round/>
                </a:ln>
              </p:spPr>
              <p:txBody>
                <a:bodyPr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1600" b="0" i="0" u="none" strike="noStrike" kern="1200" cap="none" spc="0" normalizeH="0" baseline="0" noProof="0">
                    <a:ln>
                      <a:noFill/>
                    </a:ln>
                    <a:solidFill>
                      <a:srgbClr val="0677C7"/>
                    </a:solidFill>
                    <a:effectLst/>
                    <a:uLnTx/>
                    <a:uFillTx/>
                    <a:latin typeface="Arial"/>
                    <a:cs typeface="+mn-ea"/>
                    <a:sym typeface="+mn-lt"/>
                  </a:endParaRPr>
                </a:p>
              </p:txBody>
            </p:sp>
            <p:sp>
              <p:nvSpPr>
                <p:cNvPr id="9" name="椭圆 8">
                  <a:extLst>
                    <a:ext uri="{FF2B5EF4-FFF2-40B4-BE49-F238E27FC236}">
                      <a16:creationId xmlns:a16="http://schemas.microsoft.com/office/drawing/2014/main" id="{EED00E88-8FC7-4E18-AC4C-937AAE179978}"/>
                    </a:ext>
                  </a:extLst>
                </p:cNvPr>
                <p:cNvSpPr/>
                <p:nvPr/>
              </p:nvSpPr>
              <p:spPr>
                <a:xfrm>
                  <a:off x="3324225" y="1709738"/>
                  <a:ext cx="82765" cy="82765"/>
                </a:xfrm>
                <a:prstGeom prst="ellipse">
                  <a:avLst/>
                </a:prstGeom>
                <a:ln w="25400" cap="rnd">
                  <a:solidFill>
                    <a:schemeClr val="accent1">
                      <a:lumMod val="100000"/>
                    </a:schemeClr>
                  </a:solidFill>
                  <a:round/>
                </a:ln>
              </p:spPr>
              <p:txBody>
                <a:bodyPr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600" b="0" i="0" u="none" strike="noStrike" kern="1200" cap="none" spc="0" normalizeH="0" baseline="0" noProof="0">
                    <a:ln>
                      <a:noFill/>
                    </a:ln>
                    <a:solidFill>
                      <a:srgbClr val="0677C7"/>
                    </a:solidFill>
                    <a:effectLst/>
                    <a:uLnTx/>
                    <a:uFillTx/>
                    <a:latin typeface="Arial"/>
                    <a:cs typeface="+mn-ea"/>
                  </a:endParaRPr>
                </a:p>
              </p:txBody>
            </p:sp>
          </p:grpSp>
          <p:grpSp>
            <p:nvGrpSpPr>
              <p:cNvPr id="10" name="组合 9">
                <a:extLst>
                  <a:ext uri="{FF2B5EF4-FFF2-40B4-BE49-F238E27FC236}">
                    <a16:creationId xmlns:a16="http://schemas.microsoft.com/office/drawing/2014/main" id="{5859AA93-EBE3-4CC3-B07A-6FCD2B2D2E33}"/>
                  </a:ext>
                </a:extLst>
              </p:cNvPr>
              <p:cNvGrpSpPr/>
              <p:nvPr/>
            </p:nvGrpSpPr>
            <p:grpSpPr>
              <a:xfrm>
                <a:off x="6806565" y="1709738"/>
                <a:ext cx="492455" cy="2069939"/>
                <a:chOff x="3324225" y="1709738"/>
                <a:chExt cx="492455" cy="2069939"/>
              </a:xfrm>
            </p:grpSpPr>
            <p:sp>
              <p:nvSpPr>
                <p:cNvPr id="11" name="Линия">
                  <a:extLst>
                    <a:ext uri="{FF2B5EF4-FFF2-40B4-BE49-F238E27FC236}">
                      <a16:creationId xmlns:a16="http://schemas.microsoft.com/office/drawing/2014/main" id="{91E3ACE8-B10A-448B-A5E3-3AF9DB0CB76C}"/>
                    </a:ext>
                  </a:extLst>
                </p:cNvPr>
                <p:cNvSpPr/>
                <p:nvPr/>
              </p:nvSpPr>
              <p:spPr>
                <a:xfrm rot="3929065">
                  <a:off x="2718121" y="2681118"/>
                  <a:ext cx="2048738" cy="148380"/>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0186" y="0"/>
                      </a:lnTo>
                      <a:cubicBezTo>
                        <a:pt x="20385" y="168"/>
                        <a:pt x="20577" y="1084"/>
                        <a:pt x="20742" y="2649"/>
                      </a:cubicBezTo>
                      <a:cubicBezTo>
                        <a:pt x="20910" y="4252"/>
                        <a:pt x="21042" y="6471"/>
                        <a:pt x="21124" y="9057"/>
                      </a:cubicBezTo>
                      <a:lnTo>
                        <a:pt x="21600" y="21600"/>
                      </a:lnTo>
                    </a:path>
                  </a:pathLst>
                </a:custGeom>
                <a:ln w="25400" cap="rnd">
                  <a:solidFill>
                    <a:schemeClr val="accent1">
                      <a:lumMod val="100000"/>
                    </a:schemeClr>
                  </a:solidFill>
                  <a:round/>
                </a:ln>
              </p:spPr>
              <p:txBody>
                <a:bodyPr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1600" b="0" i="0" u="none" strike="noStrike" kern="1200" cap="none" spc="0" normalizeH="0" baseline="0" noProof="0">
                    <a:ln>
                      <a:noFill/>
                    </a:ln>
                    <a:solidFill>
                      <a:srgbClr val="0677C7"/>
                    </a:solidFill>
                    <a:effectLst/>
                    <a:uLnTx/>
                    <a:uFillTx/>
                    <a:latin typeface="Arial"/>
                    <a:cs typeface="+mn-ea"/>
                    <a:sym typeface="+mn-lt"/>
                  </a:endParaRPr>
                </a:p>
              </p:txBody>
            </p:sp>
            <p:sp>
              <p:nvSpPr>
                <p:cNvPr id="12" name="椭圆 11">
                  <a:extLst>
                    <a:ext uri="{FF2B5EF4-FFF2-40B4-BE49-F238E27FC236}">
                      <a16:creationId xmlns:a16="http://schemas.microsoft.com/office/drawing/2014/main" id="{541977E1-3484-4768-BB5C-C06F00987926}"/>
                    </a:ext>
                  </a:extLst>
                </p:cNvPr>
                <p:cNvSpPr/>
                <p:nvPr/>
              </p:nvSpPr>
              <p:spPr>
                <a:xfrm>
                  <a:off x="3324225" y="1709738"/>
                  <a:ext cx="82765" cy="82765"/>
                </a:xfrm>
                <a:prstGeom prst="ellipse">
                  <a:avLst/>
                </a:prstGeom>
                <a:ln w="25400" cap="rnd">
                  <a:solidFill>
                    <a:schemeClr val="accent1">
                      <a:lumMod val="100000"/>
                    </a:schemeClr>
                  </a:solidFill>
                  <a:round/>
                </a:ln>
              </p:spPr>
              <p:txBody>
                <a:bodyPr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600" b="0" i="0" u="none" strike="noStrike" kern="1200" cap="none" spc="0" normalizeH="0" baseline="0" noProof="0">
                    <a:ln>
                      <a:noFill/>
                    </a:ln>
                    <a:solidFill>
                      <a:srgbClr val="0677C7"/>
                    </a:solidFill>
                    <a:effectLst/>
                    <a:uLnTx/>
                    <a:uFillTx/>
                    <a:latin typeface="Arial"/>
                    <a:cs typeface="+mn-ea"/>
                  </a:endParaRPr>
                </a:p>
              </p:txBody>
            </p:sp>
          </p:grpSp>
          <p:grpSp>
            <p:nvGrpSpPr>
              <p:cNvPr id="13" name="组合 12">
                <a:extLst>
                  <a:ext uri="{FF2B5EF4-FFF2-40B4-BE49-F238E27FC236}">
                    <a16:creationId xmlns:a16="http://schemas.microsoft.com/office/drawing/2014/main" id="{D3E320AA-EBC7-455A-8844-F7AC483AB1CA}"/>
                  </a:ext>
                </a:extLst>
              </p:cNvPr>
              <p:cNvGrpSpPr/>
              <p:nvPr/>
            </p:nvGrpSpPr>
            <p:grpSpPr>
              <a:xfrm>
                <a:off x="8585937" y="1709738"/>
                <a:ext cx="492455" cy="2069939"/>
                <a:chOff x="3324225" y="1709738"/>
                <a:chExt cx="492455" cy="2069939"/>
              </a:xfrm>
            </p:grpSpPr>
            <p:sp>
              <p:nvSpPr>
                <p:cNvPr id="14" name="Линия">
                  <a:extLst>
                    <a:ext uri="{FF2B5EF4-FFF2-40B4-BE49-F238E27FC236}">
                      <a16:creationId xmlns:a16="http://schemas.microsoft.com/office/drawing/2014/main" id="{9018D64A-BBFB-4ED3-82B5-8143A52CB3E4}"/>
                    </a:ext>
                  </a:extLst>
                </p:cNvPr>
                <p:cNvSpPr/>
                <p:nvPr/>
              </p:nvSpPr>
              <p:spPr>
                <a:xfrm rot="3929065">
                  <a:off x="2718121" y="2681118"/>
                  <a:ext cx="2048738" cy="148380"/>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0186" y="0"/>
                      </a:lnTo>
                      <a:cubicBezTo>
                        <a:pt x="20385" y="168"/>
                        <a:pt x="20577" y="1084"/>
                        <a:pt x="20742" y="2649"/>
                      </a:cubicBezTo>
                      <a:cubicBezTo>
                        <a:pt x="20910" y="4252"/>
                        <a:pt x="21042" y="6471"/>
                        <a:pt x="21124" y="9057"/>
                      </a:cubicBezTo>
                      <a:lnTo>
                        <a:pt x="21600" y="21600"/>
                      </a:lnTo>
                    </a:path>
                  </a:pathLst>
                </a:custGeom>
                <a:ln w="25400" cap="rnd">
                  <a:solidFill>
                    <a:schemeClr val="accent1">
                      <a:lumMod val="100000"/>
                    </a:schemeClr>
                  </a:solidFill>
                  <a:round/>
                </a:ln>
              </p:spPr>
              <p:txBody>
                <a:bodyPr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1600" b="0" i="0" u="none" strike="noStrike" kern="1200" cap="none" spc="0" normalizeH="0" baseline="0" noProof="0">
                    <a:ln>
                      <a:noFill/>
                    </a:ln>
                    <a:solidFill>
                      <a:srgbClr val="0677C7"/>
                    </a:solidFill>
                    <a:effectLst/>
                    <a:uLnTx/>
                    <a:uFillTx/>
                    <a:latin typeface="Arial"/>
                    <a:cs typeface="+mn-ea"/>
                    <a:sym typeface="+mn-lt"/>
                  </a:endParaRPr>
                </a:p>
              </p:txBody>
            </p:sp>
            <p:sp>
              <p:nvSpPr>
                <p:cNvPr id="15" name="椭圆 14">
                  <a:extLst>
                    <a:ext uri="{FF2B5EF4-FFF2-40B4-BE49-F238E27FC236}">
                      <a16:creationId xmlns:a16="http://schemas.microsoft.com/office/drawing/2014/main" id="{CEA81D18-E5F1-498B-9F7E-1A37E74ADA9A}"/>
                    </a:ext>
                  </a:extLst>
                </p:cNvPr>
                <p:cNvSpPr/>
                <p:nvPr/>
              </p:nvSpPr>
              <p:spPr>
                <a:xfrm>
                  <a:off x="3324225" y="1709738"/>
                  <a:ext cx="82765" cy="82765"/>
                </a:xfrm>
                <a:prstGeom prst="ellipse">
                  <a:avLst/>
                </a:prstGeom>
                <a:ln w="25400" cap="rnd">
                  <a:solidFill>
                    <a:schemeClr val="accent1">
                      <a:lumMod val="100000"/>
                    </a:schemeClr>
                  </a:solidFill>
                  <a:round/>
                </a:ln>
              </p:spPr>
              <p:txBody>
                <a:bodyPr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600" b="0" i="0" u="none" strike="noStrike" kern="1200" cap="none" spc="0" normalizeH="0" baseline="0" noProof="0">
                    <a:ln>
                      <a:noFill/>
                    </a:ln>
                    <a:solidFill>
                      <a:srgbClr val="0677C7"/>
                    </a:solidFill>
                    <a:effectLst/>
                    <a:uLnTx/>
                    <a:uFillTx/>
                    <a:latin typeface="Arial"/>
                    <a:cs typeface="+mn-ea"/>
                  </a:endParaRPr>
                </a:p>
              </p:txBody>
            </p:sp>
          </p:grpSp>
          <p:cxnSp>
            <p:nvCxnSpPr>
              <p:cNvPr id="17" name="直接连接符 16">
                <a:extLst>
                  <a:ext uri="{FF2B5EF4-FFF2-40B4-BE49-F238E27FC236}">
                    <a16:creationId xmlns:a16="http://schemas.microsoft.com/office/drawing/2014/main" id="{6DDE5196-368B-46E8-8D1A-DF4C0C1D82A8}"/>
                  </a:ext>
                </a:extLst>
              </p:cNvPr>
              <p:cNvCxnSpPr>
                <a:cxnSpLocks/>
              </p:cNvCxnSpPr>
              <p:nvPr/>
            </p:nvCxnSpPr>
            <p:spPr>
              <a:xfrm flipH="1">
                <a:off x="2419350" y="3718113"/>
                <a:ext cx="6936581" cy="0"/>
              </a:xfrm>
              <a:prstGeom prst="line">
                <a:avLst/>
              </a:prstGeom>
              <a:ln w="25400" cap="rnd">
                <a:solidFill>
                  <a:schemeClr val="accent1">
                    <a:lumMod val="100000"/>
                  </a:schemeClr>
                </a:solidFill>
                <a:round/>
              </a:ln>
            </p:spPr>
          </p:cxnSp>
        </p:grpSp>
        <p:sp>
          <p:nvSpPr>
            <p:cNvPr id="36" name="任意多边形: 形状 35">
              <a:extLst>
                <a:ext uri="{FF2B5EF4-FFF2-40B4-BE49-F238E27FC236}">
                  <a16:creationId xmlns:a16="http://schemas.microsoft.com/office/drawing/2014/main" id="{79D3DB54-E189-45E4-804D-21785A2F5C4D}"/>
                </a:ext>
              </a:extLst>
            </p:cNvPr>
            <p:cNvSpPr/>
            <p:nvPr/>
          </p:nvSpPr>
          <p:spPr>
            <a:xfrm>
              <a:off x="5275794" y="1473200"/>
              <a:ext cx="1465994" cy="282575"/>
            </a:xfrm>
            <a:custGeom>
              <a:avLst/>
              <a:gdLst>
                <a:gd name="connsiteX0" fmla="*/ 34398 w 1465994"/>
                <a:gd name="connsiteY0" fmla="*/ 0 h 282575"/>
                <a:gd name="connsiteX1" fmla="*/ 1357307 w 1465994"/>
                <a:gd name="connsiteY1" fmla="*/ 0 h 282575"/>
                <a:gd name="connsiteX2" fmla="*/ 1391705 w 1465994"/>
                <a:gd name="connsiteY2" fmla="*/ 34398 h 282575"/>
                <a:gd name="connsiteX3" fmla="*/ 1391705 w 1465994"/>
                <a:gd name="connsiteY3" fmla="*/ 186635 h 282575"/>
                <a:gd name="connsiteX4" fmla="*/ 1465994 w 1465994"/>
                <a:gd name="connsiteY4" fmla="*/ 282573 h 282575"/>
                <a:gd name="connsiteX5" fmla="*/ 1357312 w 1465994"/>
                <a:gd name="connsiteY5" fmla="*/ 282573 h 282575"/>
                <a:gd name="connsiteX6" fmla="*/ 1357307 w 1465994"/>
                <a:gd name="connsiteY6" fmla="*/ 282575 h 282575"/>
                <a:gd name="connsiteX7" fmla="*/ 34398 w 1465994"/>
                <a:gd name="connsiteY7" fmla="*/ 282575 h 282575"/>
                <a:gd name="connsiteX8" fmla="*/ 0 w 1465994"/>
                <a:gd name="connsiteY8" fmla="*/ 248177 h 282575"/>
                <a:gd name="connsiteX9" fmla="*/ 0 w 1465994"/>
                <a:gd name="connsiteY9" fmla="*/ 34398 h 282575"/>
                <a:gd name="connsiteX10" fmla="*/ 34398 w 1465994"/>
                <a:gd name="connsiteY10" fmla="*/ 0 h 282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65994" h="282575">
                  <a:moveTo>
                    <a:pt x="34398" y="0"/>
                  </a:moveTo>
                  <a:lnTo>
                    <a:pt x="1357307" y="0"/>
                  </a:lnTo>
                  <a:cubicBezTo>
                    <a:pt x="1376304" y="0"/>
                    <a:pt x="1391705" y="15401"/>
                    <a:pt x="1391705" y="34398"/>
                  </a:cubicBezTo>
                  <a:lnTo>
                    <a:pt x="1391705" y="186635"/>
                  </a:lnTo>
                  <a:lnTo>
                    <a:pt x="1465994" y="282573"/>
                  </a:lnTo>
                  <a:lnTo>
                    <a:pt x="1357312" y="282573"/>
                  </a:lnTo>
                  <a:lnTo>
                    <a:pt x="1357307" y="282575"/>
                  </a:lnTo>
                  <a:lnTo>
                    <a:pt x="34398" y="282575"/>
                  </a:lnTo>
                  <a:cubicBezTo>
                    <a:pt x="15401" y="282575"/>
                    <a:pt x="0" y="267174"/>
                    <a:pt x="0" y="248177"/>
                  </a:cubicBezTo>
                  <a:lnTo>
                    <a:pt x="0" y="34398"/>
                  </a:lnTo>
                  <a:cubicBezTo>
                    <a:pt x="0" y="15401"/>
                    <a:pt x="15401" y="0"/>
                    <a:pt x="34398" y="0"/>
                  </a:cubicBezTo>
                  <a:close/>
                </a:path>
              </a:pathLst>
            </a:custGeom>
            <a:solidFill>
              <a:schemeClr val="accent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Arial"/>
                <a:cs typeface="+mn-cs"/>
              </a:endParaRPr>
            </a:p>
          </p:txBody>
        </p:sp>
        <p:sp>
          <p:nvSpPr>
            <p:cNvPr id="37" name="任意多边形: 形状 36">
              <a:extLst>
                <a:ext uri="{FF2B5EF4-FFF2-40B4-BE49-F238E27FC236}">
                  <a16:creationId xmlns:a16="http://schemas.microsoft.com/office/drawing/2014/main" id="{85091949-C0E7-41A3-84B9-C73996D44576}"/>
                </a:ext>
              </a:extLst>
            </p:cNvPr>
            <p:cNvSpPr/>
            <p:nvPr/>
          </p:nvSpPr>
          <p:spPr>
            <a:xfrm>
              <a:off x="7036386" y="1473200"/>
              <a:ext cx="1465994" cy="282575"/>
            </a:xfrm>
            <a:custGeom>
              <a:avLst/>
              <a:gdLst>
                <a:gd name="connsiteX0" fmla="*/ 34398 w 1465994"/>
                <a:gd name="connsiteY0" fmla="*/ 0 h 282575"/>
                <a:gd name="connsiteX1" fmla="*/ 1357307 w 1465994"/>
                <a:gd name="connsiteY1" fmla="*/ 0 h 282575"/>
                <a:gd name="connsiteX2" fmla="*/ 1391705 w 1465994"/>
                <a:gd name="connsiteY2" fmla="*/ 34398 h 282575"/>
                <a:gd name="connsiteX3" fmla="*/ 1391705 w 1465994"/>
                <a:gd name="connsiteY3" fmla="*/ 186635 h 282575"/>
                <a:gd name="connsiteX4" fmla="*/ 1465994 w 1465994"/>
                <a:gd name="connsiteY4" fmla="*/ 282573 h 282575"/>
                <a:gd name="connsiteX5" fmla="*/ 1357312 w 1465994"/>
                <a:gd name="connsiteY5" fmla="*/ 282573 h 282575"/>
                <a:gd name="connsiteX6" fmla="*/ 1357307 w 1465994"/>
                <a:gd name="connsiteY6" fmla="*/ 282575 h 282575"/>
                <a:gd name="connsiteX7" fmla="*/ 34398 w 1465994"/>
                <a:gd name="connsiteY7" fmla="*/ 282575 h 282575"/>
                <a:gd name="connsiteX8" fmla="*/ 0 w 1465994"/>
                <a:gd name="connsiteY8" fmla="*/ 248177 h 282575"/>
                <a:gd name="connsiteX9" fmla="*/ 0 w 1465994"/>
                <a:gd name="connsiteY9" fmla="*/ 34398 h 282575"/>
                <a:gd name="connsiteX10" fmla="*/ 34398 w 1465994"/>
                <a:gd name="connsiteY10" fmla="*/ 0 h 282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65994" h="282575">
                  <a:moveTo>
                    <a:pt x="34398" y="0"/>
                  </a:moveTo>
                  <a:lnTo>
                    <a:pt x="1357307" y="0"/>
                  </a:lnTo>
                  <a:cubicBezTo>
                    <a:pt x="1376304" y="0"/>
                    <a:pt x="1391705" y="15401"/>
                    <a:pt x="1391705" y="34398"/>
                  </a:cubicBezTo>
                  <a:lnTo>
                    <a:pt x="1391705" y="186635"/>
                  </a:lnTo>
                  <a:lnTo>
                    <a:pt x="1465994" y="282573"/>
                  </a:lnTo>
                  <a:lnTo>
                    <a:pt x="1357312" y="282573"/>
                  </a:lnTo>
                  <a:lnTo>
                    <a:pt x="1357307" y="282575"/>
                  </a:lnTo>
                  <a:lnTo>
                    <a:pt x="34398" y="282575"/>
                  </a:lnTo>
                  <a:cubicBezTo>
                    <a:pt x="15401" y="282575"/>
                    <a:pt x="0" y="267174"/>
                    <a:pt x="0" y="248177"/>
                  </a:cubicBezTo>
                  <a:lnTo>
                    <a:pt x="0" y="34398"/>
                  </a:lnTo>
                  <a:cubicBezTo>
                    <a:pt x="0" y="15401"/>
                    <a:pt x="15401" y="0"/>
                    <a:pt x="34398" y="0"/>
                  </a:cubicBezTo>
                  <a:close/>
                </a:path>
              </a:pathLst>
            </a:custGeom>
            <a:solidFill>
              <a:schemeClr val="accent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Arial"/>
                <a:cs typeface="+mn-cs"/>
              </a:endParaRPr>
            </a:p>
          </p:txBody>
        </p:sp>
        <p:sp>
          <p:nvSpPr>
            <p:cNvPr id="38" name="任意多边形: 形状 37">
              <a:extLst>
                <a:ext uri="{FF2B5EF4-FFF2-40B4-BE49-F238E27FC236}">
                  <a16:creationId xmlns:a16="http://schemas.microsoft.com/office/drawing/2014/main" id="{4901E7C7-5A66-4E2B-A2B7-D2FFF2D0AC43}"/>
                </a:ext>
              </a:extLst>
            </p:cNvPr>
            <p:cNvSpPr/>
            <p:nvPr/>
          </p:nvSpPr>
          <p:spPr>
            <a:xfrm>
              <a:off x="3513681" y="1473200"/>
              <a:ext cx="1465994" cy="282575"/>
            </a:xfrm>
            <a:custGeom>
              <a:avLst/>
              <a:gdLst>
                <a:gd name="connsiteX0" fmla="*/ 34398 w 1465994"/>
                <a:gd name="connsiteY0" fmla="*/ 0 h 282575"/>
                <a:gd name="connsiteX1" fmla="*/ 1357307 w 1465994"/>
                <a:gd name="connsiteY1" fmla="*/ 0 h 282575"/>
                <a:gd name="connsiteX2" fmla="*/ 1391705 w 1465994"/>
                <a:gd name="connsiteY2" fmla="*/ 34398 h 282575"/>
                <a:gd name="connsiteX3" fmla="*/ 1391705 w 1465994"/>
                <a:gd name="connsiteY3" fmla="*/ 186635 h 282575"/>
                <a:gd name="connsiteX4" fmla="*/ 1465994 w 1465994"/>
                <a:gd name="connsiteY4" fmla="*/ 282573 h 282575"/>
                <a:gd name="connsiteX5" fmla="*/ 1357312 w 1465994"/>
                <a:gd name="connsiteY5" fmla="*/ 282573 h 282575"/>
                <a:gd name="connsiteX6" fmla="*/ 1357307 w 1465994"/>
                <a:gd name="connsiteY6" fmla="*/ 282575 h 282575"/>
                <a:gd name="connsiteX7" fmla="*/ 34398 w 1465994"/>
                <a:gd name="connsiteY7" fmla="*/ 282575 h 282575"/>
                <a:gd name="connsiteX8" fmla="*/ 0 w 1465994"/>
                <a:gd name="connsiteY8" fmla="*/ 248177 h 282575"/>
                <a:gd name="connsiteX9" fmla="*/ 0 w 1465994"/>
                <a:gd name="connsiteY9" fmla="*/ 34398 h 282575"/>
                <a:gd name="connsiteX10" fmla="*/ 34398 w 1465994"/>
                <a:gd name="connsiteY10" fmla="*/ 0 h 282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65994" h="282575">
                  <a:moveTo>
                    <a:pt x="34398" y="0"/>
                  </a:moveTo>
                  <a:lnTo>
                    <a:pt x="1357307" y="0"/>
                  </a:lnTo>
                  <a:cubicBezTo>
                    <a:pt x="1376304" y="0"/>
                    <a:pt x="1391705" y="15401"/>
                    <a:pt x="1391705" y="34398"/>
                  </a:cubicBezTo>
                  <a:lnTo>
                    <a:pt x="1391705" y="186635"/>
                  </a:lnTo>
                  <a:lnTo>
                    <a:pt x="1465994" y="282573"/>
                  </a:lnTo>
                  <a:lnTo>
                    <a:pt x="1357312" y="282573"/>
                  </a:lnTo>
                  <a:lnTo>
                    <a:pt x="1357307" y="282575"/>
                  </a:lnTo>
                  <a:lnTo>
                    <a:pt x="34398" y="282575"/>
                  </a:lnTo>
                  <a:cubicBezTo>
                    <a:pt x="15401" y="282575"/>
                    <a:pt x="0" y="267174"/>
                    <a:pt x="0" y="248177"/>
                  </a:cubicBezTo>
                  <a:lnTo>
                    <a:pt x="0" y="34398"/>
                  </a:lnTo>
                  <a:cubicBezTo>
                    <a:pt x="0" y="15401"/>
                    <a:pt x="15401" y="0"/>
                    <a:pt x="34398" y="0"/>
                  </a:cubicBezTo>
                  <a:close/>
                </a:path>
              </a:pathLst>
            </a:custGeom>
            <a:solidFill>
              <a:schemeClr val="accent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Arial"/>
                <a:cs typeface="+mn-cs"/>
              </a:endParaRPr>
            </a:p>
          </p:txBody>
        </p:sp>
        <p:sp>
          <p:nvSpPr>
            <p:cNvPr id="39" name="任意多边形: 形状 38">
              <a:extLst>
                <a:ext uri="{FF2B5EF4-FFF2-40B4-BE49-F238E27FC236}">
                  <a16:creationId xmlns:a16="http://schemas.microsoft.com/office/drawing/2014/main" id="{70EEDD41-108C-4334-9528-5DE2E793FEA3}"/>
                </a:ext>
              </a:extLst>
            </p:cNvPr>
            <p:cNvSpPr/>
            <p:nvPr/>
          </p:nvSpPr>
          <p:spPr>
            <a:xfrm>
              <a:off x="1738221" y="1473200"/>
              <a:ext cx="1465994" cy="282575"/>
            </a:xfrm>
            <a:custGeom>
              <a:avLst/>
              <a:gdLst>
                <a:gd name="connsiteX0" fmla="*/ 34398 w 1465994"/>
                <a:gd name="connsiteY0" fmla="*/ 0 h 282575"/>
                <a:gd name="connsiteX1" fmla="*/ 1357307 w 1465994"/>
                <a:gd name="connsiteY1" fmla="*/ 0 h 282575"/>
                <a:gd name="connsiteX2" fmla="*/ 1391705 w 1465994"/>
                <a:gd name="connsiteY2" fmla="*/ 34398 h 282575"/>
                <a:gd name="connsiteX3" fmla="*/ 1391705 w 1465994"/>
                <a:gd name="connsiteY3" fmla="*/ 186635 h 282575"/>
                <a:gd name="connsiteX4" fmla="*/ 1465994 w 1465994"/>
                <a:gd name="connsiteY4" fmla="*/ 282573 h 282575"/>
                <a:gd name="connsiteX5" fmla="*/ 1357312 w 1465994"/>
                <a:gd name="connsiteY5" fmla="*/ 282573 h 282575"/>
                <a:gd name="connsiteX6" fmla="*/ 1357307 w 1465994"/>
                <a:gd name="connsiteY6" fmla="*/ 282575 h 282575"/>
                <a:gd name="connsiteX7" fmla="*/ 34398 w 1465994"/>
                <a:gd name="connsiteY7" fmla="*/ 282575 h 282575"/>
                <a:gd name="connsiteX8" fmla="*/ 0 w 1465994"/>
                <a:gd name="connsiteY8" fmla="*/ 248177 h 282575"/>
                <a:gd name="connsiteX9" fmla="*/ 0 w 1465994"/>
                <a:gd name="connsiteY9" fmla="*/ 34398 h 282575"/>
                <a:gd name="connsiteX10" fmla="*/ 34398 w 1465994"/>
                <a:gd name="connsiteY10" fmla="*/ 0 h 282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65994" h="282575">
                  <a:moveTo>
                    <a:pt x="34398" y="0"/>
                  </a:moveTo>
                  <a:lnTo>
                    <a:pt x="1357307" y="0"/>
                  </a:lnTo>
                  <a:cubicBezTo>
                    <a:pt x="1376304" y="0"/>
                    <a:pt x="1391705" y="15401"/>
                    <a:pt x="1391705" y="34398"/>
                  </a:cubicBezTo>
                  <a:lnTo>
                    <a:pt x="1391705" y="186635"/>
                  </a:lnTo>
                  <a:lnTo>
                    <a:pt x="1465994" y="282573"/>
                  </a:lnTo>
                  <a:lnTo>
                    <a:pt x="1357312" y="282573"/>
                  </a:lnTo>
                  <a:lnTo>
                    <a:pt x="1357307" y="282575"/>
                  </a:lnTo>
                  <a:lnTo>
                    <a:pt x="34398" y="282575"/>
                  </a:lnTo>
                  <a:cubicBezTo>
                    <a:pt x="15401" y="282575"/>
                    <a:pt x="0" y="267174"/>
                    <a:pt x="0" y="248177"/>
                  </a:cubicBezTo>
                  <a:lnTo>
                    <a:pt x="0" y="34398"/>
                  </a:lnTo>
                  <a:cubicBezTo>
                    <a:pt x="0" y="15401"/>
                    <a:pt x="15401" y="0"/>
                    <a:pt x="34398" y="0"/>
                  </a:cubicBezTo>
                  <a:close/>
                </a:path>
              </a:pathLst>
            </a:custGeom>
            <a:solidFill>
              <a:schemeClr val="accent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Arial"/>
                <a:cs typeface="+mn-cs"/>
              </a:endParaRPr>
            </a:p>
          </p:txBody>
        </p:sp>
      </p:grpSp>
      <p:grpSp>
        <p:nvGrpSpPr>
          <p:cNvPr id="41" name="组合 40">
            <a:extLst>
              <a:ext uri="{FF2B5EF4-FFF2-40B4-BE49-F238E27FC236}">
                <a16:creationId xmlns:a16="http://schemas.microsoft.com/office/drawing/2014/main" id="{A3E1980D-C3E9-42EA-9A84-8C5710388F00}"/>
              </a:ext>
            </a:extLst>
          </p:cNvPr>
          <p:cNvGrpSpPr/>
          <p:nvPr/>
        </p:nvGrpSpPr>
        <p:grpSpPr>
          <a:xfrm flipV="1">
            <a:off x="1560421" y="3649831"/>
            <a:ext cx="7617710" cy="2306477"/>
            <a:chOff x="1738221" y="1473200"/>
            <a:chExt cx="7617710" cy="2306477"/>
          </a:xfrm>
        </p:grpSpPr>
        <p:grpSp>
          <p:nvGrpSpPr>
            <p:cNvPr id="42" name="组合 41">
              <a:extLst>
                <a:ext uri="{FF2B5EF4-FFF2-40B4-BE49-F238E27FC236}">
                  <a16:creationId xmlns:a16="http://schemas.microsoft.com/office/drawing/2014/main" id="{5A1A3ED7-B0FD-452A-B0A2-58D8E975BB25}"/>
                </a:ext>
              </a:extLst>
            </p:cNvPr>
            <p:cNvGrpSpPr/>
            <p:nvPr/>
          </p:nvGrpSpPr>
          <p:grpSpPr>
            <a:xfrm>
              <a:off x="2419350" y="1709738"/>
              <a:ext cx="6936581" cy="2069939"/>
              <a:chOff x="2419350" y="1709738"/>
              <a:chExt cx="6936581" cy="2069939"/>
            </a:xfrm>
          </p:grpSpPr>
          <p:grpSp>
            <p:nvGrpSpPr>
              <p:cNvPr id="47" name="组合 46">
                <a:extLst>
                  <a:ext uri="{FF2B5EF4-FFF2-40B4-BE49-F238E27FC236}">
                    <a16:creationId xmlns:a16="http://schemas.microsoft.com/office/drawing/2014/main" id="{2839F5A5-730F-4D3F-A46F-C9568F84855C}"/>
                  </a:ext>
                </a:extLst>
              </p:cNvPr>
              <p:cNvGrpSpPr/>
              <p:nvPr/>
            </p:nvGrpSpPr>
            <p:grpSpPr>
              <a:xfrm>
                <a:off x="3278505" y="1709738"/>
                <a:ext cx="492455" cy="2069939"/>
                <a:chOff x="3324225" y="1709738"/>
                <a:chExt cx="492455" cy="2069939"/>
              </a:xfrm>
            </p:grpSpPr>
            <p:sp>
              <p:nvSpPr>
                <p:cNvPr id="58" name="Линия">
                  <a:extLst>
                    <a:ext uri="{FF2B5EF4-FFF2-40B4-BE49-F238E27FC236}">
                      <a16:creationId xmlns:a16="http://schemas.microsoft.com/office/drawing/2014/main" id="{D92BCE7F-B7AB-4ED1-A5F8-1722BCE8B564}"/>
                    </a:ext>
                  </a:extLst>
                </p:cNvPr>
                <p:cNvSpPr/>
                <p:nvPr/>
              </p:nvSpPr>
              <p:spPr>
                <a:xfrm rot="3929065">
                  <a:off x="2718121" y="2681118"/>
                  <a:ext cx="2048738" cy="148380"/>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0186" y="0"/>
                      </a:lnTo>
                      <a:cubicBezTo>
                        <a:pt x="20385" y="168"/>
                        <a:pt x="20577" y="1084"/>
                        <a:pt x="20742" y="2649"/>
                      </a:cubicBezTo>
                      <a:cubicBezTo>
                        <a:pt x="20910" y="4252"/>
                        <a:pt x="21042" y="6471"/>
                        <a:pt x="21124" y="9057"/>
                      </a:cubicBezTo>
                      <a:lnTo>
                        <a:pt x="21600" y="21600"/>
                      </a:lnTo>
                    </a:path>
                  </a:pathLst>
                </a:custGeom>
                <a:ln w="25400" cap="rnd">
                  <a:solidFill>
                    <a:schemeClr val="accent1">
                      <a:lumMod val="100000"/>
                    </a:schemeClr>
                  </a:solidFill>
                  <a:round/>
                </a:ln>
              </p:spPr>
              <p:txBody>
                <a:bodyPr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1600" b="0" i="0" u="none" strike="noStrike" kern="1200" cap="none" spc="0" normalizeH="0" baseline="0" noProof="0">
                    <a:ln>
                      <a:noFill/>
                    </a:ln>
                    <a:solidFill>
                      <a:srgbClr val="0677C7"/>
                    </a:solidFill>
                    <a:effectLst/>
                    <a:uLnTx/>
                    <a:uFillTx/>
                    <a:latin typeface="Arial"/>
                    <a:cs typeface="+mn-ea"/>
                    <a:sym typeface="+mn-lt"/>
                  </a:endParaRPr>
                </a:p>
              </p:txBody>
            </p:sp>
            <p:sp>
              <p:nvSpPr>
                <p:cNvPr id="59" name="椭圆 58">
                  <a:extLst>
                    <a:ext uri="{FF2B5EF4-FFF2-40B4-BE49-F238E27FC236}">
                      <a16:creationId xmlns:a16="http://schemas.microsoft.com/office/drawing/2014/main" id="{252FC9E5-4362-4214-94FA-8EAB3387FEF2}"/>
                    </a:ext>
                  </a:extLst>
                </p:cNvPr>
                <p:cNvSpPr/>
                <p:nvPr/>
              </p:nvSpPr>
              <p:spPr>
                <a:xfrm>
                  <a:off x="3324225" y="1709738"/>
                  <a:ext cx="82765" cy="82765"/>
                </a:xfrm>
                <a:prstGeom prst="ellipse">
                  <a:avLst/>
                </a:prstGeom>
                <a:ln w="25400" cap="rnd">
                  <a:solidFill>
                    <a:schemeClr val="accent1">
                      <a:lumMod val="100000"/>
                    </a:schemeClr>
                  </a:solidFill>
                  <a:round/>
                </a:ln>
              </p:spPr>
              <p:txBody>
                <a:bodyPr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600" b="0" i="0" u="none" strike="noStrike" kern="1200" cap="none" spc="0" normalizeH="0" baseline="0" noProof="0">
                    <a:ln>
                      <a:noFill/>
                    </a:ln>
                    <a:solidFill>
                      <a:srgbClr val="0677C7"/>
                    </a:solidFill>
                    <a:effectLst/>
                    <a:uLnTx/>
                    <a:uFillTx/>
                    <a:latin typeface="Arial"/>
                    <a:cs typeface="+mn-ea"/>
                  </a:endParaRPr>
                </a:p>
              </p:txBody>
            </p:sp>
          </p:grpSp>
          <p:grpSp>
            <p:nvGrpSpPr>
              <p:cNvPr id="48" name="组合 47">
                <a:extLst>
                  <a:ext uri="{FF2B5EF4-FFF2-40B4-BE49-F238E27FC236}">
                    <a16:creationId xmlns:a16="http://schemas.microsoft.com/office/drawing/2014/main" id="{88AB351E-9859-42D5-8C1C-63BE529C6DD3}"/>
                  </a:ext>
                </a:extLst>
              </p:cNvPr>
              <p:cNvGrpSpPr/>
              <p:nvPr/>
            </p:nvGrpSpPr>
            <p:grpSpPr>
              <a:xfrm>
                <a:off x="5053965" y="1709738"/>
                <a:ext cx="492455" cy="2069939"/>
                <a:chOff x="3324225" y="1709738"/>
                <a:chExt cx="492455" cy="2069939"/>
              </a:xfrm>
            </p:grpSpPr>
            <p:sp>
              <p:nvSpPr>
                <p:cNvPr id="56" name="Линия">
                  <a:extLst>
                    <a:ext uri="{FF2B5EF4-FFF2-40B4-BE49-F238E27FC236}">
                      <a16:creationId xmlns:a16="http://schemas.microsoft.com/office/drawing/2014/main" id="{7AD92066-A166-4666-B642-EC24C3BD2ECC}"/>
                    </a:ext>
                  </a:extLst>
                </p:cNvPr>
                <p:cNvSpPr/>
                <p:nvPr/>
              </p:nvSpPr>
              <p:spPr>
                <a:xfrm rot="3929065">
                  <a:off x="2718121" y="2681118"/>
                  <a:ext cx="2048738" cy="148380"/>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0186" y="0"/>
                      </a:lnTo>
                      <a:cubicBezTo>
                        <a:pt x="20385" y="168"/>
                        <a:pt x="20577" y="1084"/>
                        <a:pt x="20742" y="2649"/>
                      </a:cubicBezTo>
                      <a:cubicBezTo>
                        <a:pt x="20910" y="4252"/>
                        <a:pt x="21042" y="6471"/>
                        <a:pt x="21124" y="9057"/>
                      </a:cubicBezTo>
                      <a:lnTo>
                        <a:pt x="21600" y="21600"/>
                      </a:lnTo>
                    </a:path>
                  </a:pathLst>
                </a:custGeom>
                <a:ln w="25400" cap="rnd">
                  <a:solidFill>
                    <a:schemeClr val="accent1">
                      <a:lumMod val="100000"/>
                    </a:schemeClr>
                  </a:solidFill>
                  <a:round/>
                </a:ln>
              </p:spPr>
              <p:txBody>
                <a:bodyPr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1600" b="0" i="0" u="none" strike="noStrike" kern="1200" cap="none" spc="0" normalizeH="0" baseline="0" noProof="0">
                    <a:ln>
                      <a:noFill/>
                    </a:ln>
                    <a:solidFill>
                      <a:srgbClr val="0677C7"/>
                    </a:solidFill>
                    <a:effectLst/>
                    <a:uLnTx/>
                    <a:uFillTx/>
                    <a:latin typeface="Arial"/>
                    <a:cs typeface="+mn-ea"/>
                    <a:sym typeface="+mn-lt"/>
                  </a:endParaRPr>
                </a:p>
              </p:txBody>
            </p:sp>
            <p:sp>
              <p:nvSpPr>
                <p:cNvPr id="57" name="椭圆 56">
                  <a:extLst>
                    <a:ext uri="{FF2B5EF4-FFF2-40B4-BE49-F238E27FC236}">
                      <a16:creationId xmlns:a16="http://schemas.microsoft.com/office/drawing/2014/main" id="{A8482ECF-737A-4EF3-87EF-C8158EAE8E2D}"/>
                    </a:ext>
                  </a:extLst>
                </p:cNvPr>
                <p:cNvSpPr/>
                <p:nvPr/>
              </p:nvSpPr>
              <p:spPr>
                <a:xfrm>
                  <a:off x="3324225" y="1709738"/>
                  <a:ext cx="82765" cy="82765"/>
                </a:xfrm>
                <a:prstGeom prst="ellipse">
                  <a:avLst/>
                </a:prstGeom>
                <a:ln w="25400" cap="rnd">
                  <a:solidFill>
                    <a:schemeClr val="accent1">
                      <a:lumMod val="100000"/>
                    </a:schemeClr>
                  </a:solidFill>
                  <a:round/>
                </a:ln>
              </p:spPr>
              <p:txBody>
                <a:bodyPr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600" b="0" i="0" u="none" strike="noStrike" kern="1200" cap="none" spc="0" normalizeH="0" baseline="0" noProof="0">
                    <a:ln>
                      <a:noFill/>
                    </a:ln>
                    <a:solidFill>
                      <a:srgbClr val="0677C7"/>
                    </a:solidFill>
                    <a:effectLst/>
                    <a:uLnTx/>
                    <a:uFillTx/>
                    <a:latin typeface="Arial"/>
                    <a:cs typeface="+mn-ea"/>
                  </a:endParaRPr>
                </a:p>
              </p:txBody>
            </p:sp>
          </p:grpSp>
          <p:grpSp>
            <p:nvGrpSpPr>
              <p:cNvPr id="49" name="组合 48">
                <a:extLst>
                  <a:ext uri="{FF2B5EF4-FFF2-40B4-BE49-F238E27FC236}">
                    <a16:creationId xmlns:a16="http://schemas.microsoft.com/office/drawing/2014/main" id="{C9CBEBCA-F554-4A42-BBF0-66093B3B84F1}"/>
                  </a:ext>
                </a:extLst>
              </p:cNvPr>
              <p:cNvGrpSpPr/>
              <p:nvPr/>
            </p:nvGrpSpPr>
            <p:grpSpPr>
              <a:xfrm>
                <a:off x="6806565" y="1709738"/>
                <a:ext cx="492455" cy="2069939"/>
                <a:chOff x="3324225" y="1709738"/>
                <a:chExt cx="492455" cy="2069939"/>
              </a:xfrm>
            </p:grpSpPr>
            <p:sp>
              <p:nvSpPr>
                <p:cNvPr id="54" name="Линия">
                  <a:extLst>
                    <a:ext uri="{FF2B5EF4-FFF2-40B4-BE49-F238E27FC236}">
                      <a16:creationId xmlns:a16="http://schemas.microsoft.com/office/drawing/2014/main" id="{BF1B07AB-873B-4007-871D-C66E3B5CDE90}"/>
                    </a:ext>
                  </a:extLst>
                </p:cNvPr>
                <p:cNvSpPr/>
                <p:nvPr/>
              </p:nvSpPr>
              <p:spPr>
                <a:xfrm rot="3929065">
                  <a:off x="2718121" y="2681118"/>
                  <a:ext cx="2048738" cy="148380"/>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0186" y="0"/>
                      </a:lnTo>
                      <a:cubicBezTo>
                        <a:pt x="20385" y="168"/>
                        <a:pt x="20577" y="1084"/>
                        <a:pt x="20742" y="2649"/>
                      </a:cubicBezTo>
                      <a:cubicBezTo>
                        <a:pt x="20910" y="4252"/>
                        <a:pt x="21042" y="6471"/>
                        <a:pt x="21124" y="9057"/>
                      </a:cubicBezTo>
                      <a:lnTo>
                        <a:pt x="21600" y="21600"/>
                      </a:lnTo>
                    </a:path>
                  </a:pathLst>
                </a:custGeom>
                <a:ln w="25400" cap="rnd">
                  <a:solidFill>
                    <a:schemeClr val="accent1">
                      <a:lumMod val="100000"/>
                    </a:schemeClr>
                  </a:solidFill>
                  <a:round/>
                </a:ln>
              </p:spPr>
              <p:txBody>
                <a:bodyPr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1600" b="0" i="0" u="none" strike="noStrike" kern="1200" cap="none" spc="0" normalizeH="0" baseline="0" noProof="0">
                    <a:ln>
                      <a:noFill/>
                    </a:ln>
                    <a:solidFill>
                      <a:srgbClr val="0677C7"/>
                    </a:solidFill>
                    <a:effectLst/>
                    <a:uLnTx/>
                    <a:uFillTx/>
                    <a:latin typeface="Arial"/>
                    <a:cs typeface="+mn-ea"/>
                    <a:sym typeface="+mn-lt"/>
                  </a:endParaRPr>
                </a:p>
              </p:txBody>
            </p:sp>
            <p:sp>
              <p:nvSpPr>
                <p:cNvPr id="55" name="椭圆 54">
                  <a:extLst>
                    <a:ext uri="{FF2B5EF4-FFF2-40B4-BE49-F238E27FC236}">
                      <a16:creationId xmlns:a16="http://schemas.microsoft.com/office/drawing/2014/main" id="{2B781AF6-7A7C-4318-9BEE-1F30F116A415}"/>
                    </a:ext>
                  </a:extLst>
                </p:cNvPr>
                <p:cNvSpPr/>
                <p:nvPr/>
              </p:nvSpPr>
              <p:spPr>
                <a:xfrm>
                  <a:off x="3324225" y="1709738"/>
                  <a:ext cx="82765" cy="82765"/>
                </a:xfrm>
                <a:prstGeom prst="ellipse">
                  <a:avLst/>
                </a:prstGeom>
                <a:ln w="25400" cap="rnd">
                  <a:solidFill>
                    <a:schemeClr val="accent1">
                      <a:lumMod val="100000"/>
                    </a:schemeClr>
                  </a:solidFill>
                  <a:round/>
                </a:ln>
              </p:spPr>
              <p:txBody>
                <a:bodyPr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600" b="0" i="0" u="none" strike="noStrike" kern="1200" cap="none" spc="0" normalizeH="0" baseline="0" noProof="0">
                    <a:ln>
                      <a:noFill/>
                    </a:ln>
                    <a:solidFill>
                      <a:srgbClr val="0677C7"/>
                    </a:solidFill>
                    <a:effectLst/>
                    <a:uLnTx/>
                    <a:uFillTx/>
                    <a:latin typeface="Arial"/>
                    <a:cs typeface="+mn-ea"/>
                  </a:endParaRPr>
                </a:p>
              </p:txBody>
            </p:sp>
          </p:grpSp>
          <p:grpSp>
            <p:nvGrpSpPr>
              <p:cNvPr id="50" name="组合 49">
                <a:extLst>
                  <a:ext uri="{FF2B5EF4-FFF2-40B4-BE49-F238E27FC236}">
                    <a16:creationId xmlns:a16="http://schemas.microsoft.com/office/drawing/2014/main" id="{A41487AB-C034-4A76-897A-0BBB35BBDF60}"/>
                  </a:ext>
                </a:extLst>
              </p:cNvPr>
              <p:cNvGrpSpPr/>
              <p:nvPr/>
            </p:nvGrpSpPr>
            <p:grpSpPr>
              <a:xfrm>
                <a:off x="8585937" y="1709738"/>
                <a:ext cx="492455" cy="2069939"/>
                <a:chOff x="3324225" y="1709738"/>
                <a:chExt cx="492455" cy="2069939"/>
              </a:xfrm>
            </p:grpSpPr>
            <p:sp>
              <p:nvSpPr>
                <p:cNvPr id="52" name="Линия">
                  <a:extLst>
                    <a:ext uri="{FF2B5EF4-FFF2-40B4-BE49-F238E27FC236}">
                      <a16:creationId xmlns:a16="http://schemas.microsoft.com/office/drawing/2014/main" id="{46165186-C9E5-44A6-88CA-620C95B7546E}"/>
                    </a:ext>
                  </a:extLst>
                </p:cNvPr>
                <p:cNvSpPr/>
                <p:nvPr/>
              </p:nvSpPr>
              <p:spPr>
                <a:xfrm rot="3929065">
                  <a:off x="2718121" y="2681118"/>
                  <a:ext cx="2048738" cy="148380"/>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0186" y="0"/>
                      </a:lnTo>
                      <a:cubicBezTo>
                        <a:pt x="20385" y="168"/>
                        <a:pt x="20577" y="1084"/>
                        <a:pt x="20742" y="2649"/>
                      </a:cubicBezTo>
                      <a:cubicBezTo>
                        <a:pt x="20910" y="4252"/>
                        <a:pt x="21042" y="6471"/>
                        <a:pt x="21124" y="9057"/>
                      </a:cubicBezTo>
                      <a:lnTo>
                        <a:pt x="21600" y="21600"/>
                      </a:lnTo>
                    </a:path>
                  </a:pathLst>
                </a:custGeom>
                <a:ln w="25400" cap="rnd">
                  <a:solidFill>
                    <a:schemeClr val="accent1">
                      <a:lumMod val="100000"/>
                    </a:schemeClr>
                  </a:solidFill>
                  <a:round/>
                </a:ln>
              </p:spPr>
              <p:txBody>
                <a:bodyPr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1600" b="0" i="0" u="none" strike="noStrike" kern="1200" cap="none" spc="0" normalizeH="0" baseline="0" noProof="0">
                    <a:ln>
                      <a:noFill/>
                    </a:ln>
                    <a:solidFill>
                      <a:srgbClr val="0677C7"/>
                    </a:solidFill>
                    <a:effectLst/>
                    <a:uLnTx/>
                    <a:uFillTx/>
                    <a:latin typeface="Arial"/>
                    <a:cs typeface="+mn-ea"/>
                    <a:sym typeface="+mn-lt"/>
                  </a:endParaRPr>
                </a:p>
              </p:txBody>
            </p:sp>
            <p:sp>
              <p:nvSpPr>
                <p:cNvPr id="53" name="椭圆 52">
                  <a:extLst>
                    <a:ext uri="{FF2B5EF4-FFF2-40B4-BE49-F238E27FC236}">
                      <a16:creationId xmlns:a16="http://schemas.microsoft.com/office/drawing/2014/main" id="{C7CEA612-A16F-4222-AB03-92598A0A13F0}"/>
                    </a:ext>
                  </a:extLst>
                </p:cNvPr>
                <p:cNvSpPr/>
                <p:nvPr/>
              </p:nvSpPr>
              <p:spPr>
                <a:xfrm>
                  <a:off x="3324225" y="1709738"/>
                  <a:ext cx="82765" cy="82765"/>
                </a:xfrm>
                <a:prstGeom prst="ellipse">
                  <a:avLst/>
                </a:prstGeom>
                <a:ln w="25400" cap="rnd">
                  <a:solidFill>
                    <a:schemeClr val="accent1">
                      <a:lumMod val="100000"/>
                    </a:schemeClr>
                  </a:solidFill>
                  <a:round/>
                </a:ln>
              </p:spPr>
              <p:txBody>
                <a:bodyPr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600" b="0" i="0" u="none" strike="noStrike" kern="1200" cap="none" spc="0" normalizeH="0" baseline="0" noProof="0">
                    <a:ln>
                      <a:noFill/>
                    </a:ln>
                    <a:solidFill>
                      <a:srgbClr val="0677C7"/>
                    </a:solidFill>
                    <a:effectLst/>
                    <a:uLnTx/>
                    <a:uFillTx/>
                    <a:latin typeface="Arial"/>
                    <a:cs typeface="+mn-ea"/>
                  </a:endParaRPr>
                </a:p>
              </p:txBody>
            </p:sp>
          </p:grpSp>
          <p:cxnSp>
            <p:nvCxnSpPr>
              <p:cNvPr id="51" name="直接连接符 50">
                <a:extLst>
                  <a:ext uri="{FF2B5EF4-FFF2-40B4-BE49-F238E27FC236}">
                    <a16:creationId xmlns:a16="http://schemas.microsoft.com/office/drawing/2014/main" id="{BF44D9B5-E6E3-4B21-AA03-088148DFEEC2}"/>
                  </a:ext>
                </a:extLst>
              </p:cNvPr>
              <p:cNvCxnSpPr>
                <a:cxnSpLocks/>
              </p:cNvCxnSpPr>
              <p:nvPr/>
            </p:nvCxnSpPr>
            <p:spPr>
              <a:xfrm flipH="1">
                <a:off x="2419350" y="3718113"/>
                <a:ext cx="6936581" cy="0"/>
              </a:xfrm>
              <a:prstGeom prst="line">
                <a:avLst/>
              </a:prstGeom>
              <a:ln w="25400" cap="rnd">
                <a:solidFill>
                  <a:schemeClr val="accent1">
                    <a:lumMod val="100000"/>
                  </a:schemeClr>
                </a:solidFill>
                <a:round/>
              </a:ln>
            </p:spPr>
          </p:cxnSp>
        </p:grpSp>
        <p:sp>
          <p:nvSpPr>
            <p:cNvPr id="43" name="任意多边形: 形状 42">
              <a:extLst>
                <a:ext uri="{FF2B5EF4-FFF2-40B4-BE49-F238E27FC236}">
                  <a16:creationId xmlns:a16="http://schemas.microsoft.com/office/drawing/2014/main" id="{9C142D1D-1DCF-466B-BC72-F0F64B4BBA7A}"/>
                </a:ext>
              </a:extLst>
            </p:cNvPr>
            <p:cNvSpPr/>
            <p:nvPr/>
          </p:nvSpPr>
          <p:spPr>
            <a:xfrm>
              <a:off x="5275794" y="1473200"/>
              <a:ext cx="1465994" cy="282575"/>
            </a:xfrm>
            <a:custGeom>
              <a:avLst/>
              <a:gdLst>
                <a:gd name="connsiteX0" fmla="*/ 34398 w 1465994"/>
                <a:gd name="connsiteY0" fmla="*/ 0 h 282575"/>
                <a:gd name="connsiteX1" fmla="*/ 1357307 w 1465994"/>
                <a:gd name="connsiteY1" fmla="*/ 0 h 282575"/>
                <a:gd name="connsiteX2" fmla="*/ 1391705 w 1465994"/>
                <a:gd name="connsiteY2" fmla="*/ 34398 h 282575"/>
                <a:gd name="connsiteX3" fmla="*/ 1391705 w 1465994"/>
                <a:gd name="connsiteY3" fmla="*/ 186635 h 282575"/>
                <a:gd name="connsiteX4" fmla="*/ 1465994 w 1465994"/>
                <a:gd name="connsiteY4" fmla="*/ 282573 h 282575"/>
                <a:gd name="connsiteX5" fmla="*/ 1357312 w 1465994"/>
                <a:gd name="connsiteY5" fmla="*/ 282573 h 282575"/>
                <a:gd name="connsiteX6" fmla="*/ 1357307 w 1465994"/>
                <a:gd name="connsiteY6" fmla="*/ 282575 h 282575"/>
                <a:gd name="connsiteX7" fmla="*/ 34398 w 1465994"/>
                <a:gd name="connsiteY7" fmla="*/ 282575 h 282575"/>
                <a:gd name="connsiteX8" fmla="*/ 0 w 1465994"/>
                <a:gd name="connsiteY8" fmla="*/ 248177 h 282575"/>
                <a:gd name="connsiteX9" fmla="*/ 0 w 1465994"/>
                <a:gd name="connsiteY9" fmla="*/ 34398 h 282575"/>
                <a:gd name="connsiteX10" fmla="*/ 34398 w 1465994"/>
                <a:gd name="connsiteY10" fmla="*/ 0 h 282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65994" h="282575">
                  <a:moveTo>
                    <a:pt x="34398" y="0"/>
                  </a:moveTo>
                  <a:lnTo>
                    <a:pt x="1357307" y="0"/>
                  </a:lnTo>
                  <a:cubicBezTo>
                    <a:pt x="1376304" y="0"/>
                    <a:pt x="1391705" y="15401"/>
                    <a:pt x="1391705" y="34398"/>
                  </a:cubicBezTo>
                  <a:lnTo>
                    <a:pt x="1391705" y="186635"/>
                  </a:lnTo>
                  <a:lnTo>
                    <a:pt x="1465994" y="282573"/>
                  </a:lnTo>
                  <a:lnTo>
                    <a:pt x="1357312" y="282573"/>
                  </a:lnTo>
                  <a:lnTo>
                    <a:pt x="1357307" y="282575"/>
                  </a:lnTo>
                  <a:lnTo>
                    <a:pt x="34398" y="282575"/>
                  </a:lnTo>
                  <a:cubicBezTo>
                    <a:pt x="15401" y="282575"/>
                    <a:pt x="0" y="267174"/>
                    <a:pt x="0" y="248177"/>
                  </a:cubicBezTo>
                  <a:lnTo>
                    <a:pt x="0" y="34398"/>
                  </a:lnTo>
                  <a:cubicBezTo>
                    <a:pt x="0" y="15401"/>
                    <a:pt x="15401" y="0"/>
                    <a:pt x="34398" y="0"/>
                  </a:cubicBezTo>
                  <a:close/>
                </a:path>
              </a:pathLst>
            </a:custGeom>
            <a:solidFill>
              <a:schemeClr val="accent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Arial"/>
                <a:cs typeface="+mn-cs"/>
              </a:endParaRPr>
            </a:p>
          </p:txBody>
        </p:sp>
        <p:sp>
          <p:nvSpPr>
            <p:cNvPr id="44" name="任意多边形: 形状 43">
              <a:extLst>
                <a:ext uri="{FF2B5EF4-FFF2-40B4-BE49-F238E27FC236}">
                  <a16:creationId xmlns:a16="http://schemas.microsoft.com/office/drawing/2014/main" id="{BFB442D7-13E9-4B76-BD29-834331647FB7}"/>
                </a:ext>
              </a:extLst>
            </p:cNvPr>
            <p:cNvSpPr/>
            <p:nvPr/>
          </p:nvSpPr>
          <p:spPr>
            <a:xfrm>
              <a:off x="7036386" y="1473200"/>
              <a:ext cx="1465994" cy="282575"/>
            </a:xfrm>
            <a:custGeom>
              <a:avLst/>
              <a:gdLst>
                <a:gd name="connsiteX0" fmla="*/ 34398 w 1465994"/>
                <a:gd name="connsiteY0" fmla="*/ 0 h 282575"/>
                <a:gd name="connsiteX1" fmla="*/ 1357307 w 1465994"/>
                <a:gd name="connsiteY1" fmla="*/ 0 h 282575"/>
                <a:gd name="connsiteX2" fmla="*/ 1391705 w 1465994"/>
                <a:gd name="connsiteY2" fmla="*/ 34398 h 282575"/>
                <a:gd name="connsiteX3" fmla="*/ 1391705 w 1465994"/>
                <a:gd name="connsiteY3" fmla="*/ 186635 h 282575"/>
                <a:gd name="connsiteX4" fmla="*/ 1465994 w 1465994"/>
                <a:gd name="connsiteY4" fmla="*/ 282573 h 282575"/>
                <a:gd name="connsiteX5" fmla="*/ 1357312 w 1465994"/>
                <a:gd name="connsiteY5" fmla="*/ 282573 h 282575"/>
                <a:gd name="connsiteX6" fmla="*/ 1357307 w 1465994"/>
                <a:gd name="connsiteY6" fmla="*/ 282575 h 282575"/>
                <a:gd name="connsiteX7" fmla="*/ 34398 w 1465994"/>
                <a:gd name="connsiteY7" fmla="*/ 282575 h 282575"/>
                <a:gd name="connsiteX8" fmla="*/ 0 w 1465994"/>
                <a:gd name="connsiteY8" fmla="*/ 248177 h 282575"/>
                <a:gd name="connsiteX9" fmla="*/ 0 w 1465994"/>
                <a:gd name="connsiteY9" fmla="*/ 34398 h 282575"/>
                <a:gd name="connsiteX10" fmla="*/ 34398 w 1465994"/>
                <a:gd name="connsiteY10" fmla="*/ 0 h 282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65994" h="282575">
                  <a:moveTo>
                    <a:pt x="34398" y="0"/>
                  </a:moveTo>
                  <a:lnTo>
                    <a:pt x="1357307" y="0"/>
                  </a:lnTo>
                  <a:cubicBezTo>
                    <a:pt x="1376304" y="0"/>
                    <a:pt x="1391705" y="15401"/>
                    <a:pt x="1391705" y="34398"/>
                  </a:cubicBezTo>
                  <a:lnTo>
                    <a:pt x="1391705" y="186635"/>
                  </a:lnTo>
                  <a:lnTo>
                    <a:pt x="1465994" y="282573"/>
                  </a:lnTo>
                  <a:lnTo>
                    <a:pt x="1357312" y="282573"/>
                  </a:lnTo>
                  <a:lnTo>
                    <a:pt x="1357307" y="282575"/>
                  </a:lnTo>
                  <a:lnTo>
                    <a:pt x="34398" y="282575"/>
                  </a:lnTo>
                  <a:cubicBezTo>
                    <a:pt x="15401" y="282575"/>
                    <a:pt x="0" y="267174"/>
                    <a:pt x="0" y="248177"/>
                  </a:cubicBezTo>
                  <a:lnTo>
                    <a:pt x="0" y="34398"/>
                  </a:lnTo>
                  <a:cubicBezTo>
                    <a:pt x="0" y="15401"/>
                    <a:pt x="15401" y="0"/>
                    <a:pt x="34398" y="0"/>
                  </a:cubicBezTo>
                  <a:close/>
                </a:path>
              </a:pathLst>
            </a:custGeom>
            <a:solidFill>
              <a:schemeClr val="accent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Arial"/>
                <a:cs typeface="+mn-cs"/>
              </a:endParaRPr>
            </a:p>
          </p:txBody>
        </p:sp>
        <p:sp>
          <p:nvSpPr>
            <p:cNvPr id="45" name="任意多边形: 形状 44">
              <a:extLst>
                <a:ext uri="{FF2B5EF4-FFF2-40B4-BE49-F238E27FC236}">
                  <a16:creationId xmlns:a16="http://schemas.microsoft.com/office/drawing/2014/main" id="{6E0A1048-6541-46BB-BF3A-8ACE264A6B61}"/>
                </a:ext>
              </a:extLst>
            </p:cNvPr>
            <p:cNvSpPr/>
            <p:nvPr/>
          </p:nvSpPr>
          <p:spPr>
            <a:xfrm>
              <a:off x="3513681" y="1473200"/>
              <a:ext cx="1465994" cy="282575"/>
            </a:xfrm>
            <a:custGeom>
              <a:avLst/>
              <a:gdLst>
                <a:gd name="connsiteX0" fmla="*/ 34398 w 1465994"/>
                <a:gd name="connsiteY0" fmla="*/ 0 h 282575"/>
                <a:gd name="connsiteX1" fmla="*/ 1357307 w 1465994"/>
                <a:gd name="connsiteY1" fmla="*/ 0 h 282575"/>
                <a:gd name="connsiteX2" fmla="*/ 1391705 w 1465994"/>
                <a:gd name="connsiteY2" fmla="*/ 34398 h 282575"/>
                <a:gd name="connsiteX3" fmla="*/ 1391705 w 1465994"/>
                <a:gd name="connsiteY3" fmla="*/ 186635 h 282575"/>
                <a:gd name="connsiteX4" fmla="*/ 1465994 w 1465994"/>
                <a:gd name="connsiteY4" fmla="*/ 282573 h 282575"/>
                <a:gd name="connsiteX5" fmla="*/ 1357312 w 1465994"/>
                <a:gd name="connsiteY5" fmla="*/ 282573 h 282575"/>
                <a:gd name="connsiteX6" fmla="*/ 1357307 w 1465994"/>
                <a:gd name="connsiteY6" fmla="*/ 282575 h 282575"/>
                <a:gd name="connsiteX7" fmla="*/ 34398 w 1465994"/>
                <a:gd name="connsiteY7" fmla="*/ 282575 h 282575"/>
                <a:gd name="connsiteX8" fmla="*/ 0 w 1465994"/>
                <a:gd name="connsiteY8" fmla="*/ 248177 h 282575"/>
                <a:gd name="connsiteX9" fmla="*/ 0 w 1465994"/>
                <a:gd name="connsiteY9" fmla="*/ 34398 h 282575"/>
                <a:gd name="connsiteX10" fmla="*/ 34398 w 1465994"/>
                <a:gd name="connsiteY10" fmla="*/ 0 h 282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65994" h="282575">
                  <a:moveTo>
                    <a:pt x="34398" y="0"/>
                  </a:moveTo>
                  <a:lnTo>
                    <a:pt x="1357307" y="0"/>
                  </a:lnTo>
                  <a:cubicBezTo>
                    <a:pt x="1376304" y="0"/>
                    <a:pt x="1391705" y="15401"/>
                    <a:pt x="1391705" y="34398"/>
                  </a:cubicBezTo>
                  <a:lnTo>
                    <a:pt x="1391705" y="186635"/>
                  </a:lnTo>
                  <a:lnTo>
                    <a:pt x="1465994" y="282573"/>
                  </a:lnTo>
                  <a:lnTo>
                    <a:pt x="1357312" y="282573"/>
                  </a:lnTo>
                  <a:lnTo>
                    <a:pt x="1357307" y="282575"/>
                  </a:lnTo>
                  <a:lnTo>
                    <a:pt x="34398" y="282575"/>
                  </a:lnTo>
                  <a:cubicBezTo>
                    <a:pt x="15401" y="282575"/>
                    <a:pt x="0" y="267174"/>
                    <a:pt x="0" y="248177"/>
                  </a:cubicBezTo>
                  <a:lnTo>
                    <a:pt x="0" y="34398"/>
                  </a:lnTo>
                  <a:cubicBezTo>
                    <a:pt x="0" y="15401"/>
                    <a:pt x="15401" y="0"/>
                    <a:pt x="34398" y="0"/>
                  </a:cubicBezTo>
                  <a:close/>
                </a:path>
              </a:pathLst>
            </a:custGeom>
            <a:solidFill>
              <a:schemeClr val="accent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Arial"/>
                <a:cs typeface="+mn-cs"/>
              </a:endParaRPr>
            </a:p>
          </p:txBody>
        </p:sp>
        <p:sp>
          <p:nvSpPr>
            <p:cNvPr id="46" name="任意多边形: 形状 45">
              <a:extLst>
                <a:ext uri="{FF2B5EF4-FFF2-40B4-BE49-F238E27FC236}">
                  <a16:creationId xmlns:a16="http://schemas.microsoft.com/office/drawing/2014/main" id="{91C1007F-E6DB-4006-8982-9B6A4D41D10C}"/>
                </a:ext>
              </a:extLst>
            </p:cNvPr>
            <p:cNvSpPr/>
            <p:nvPr/>
          </p:nvSpPr>
          <p:spPr>
            <a:xfrm>
              <a:off x="1738221" y="1473200"/>
              <a:ext cx="1465994" cy="282575"/>
            </a:xfrm>
            <a:custGeom>
              <a:avLst/>
              <a:gdLst>
                <a:gd name="connsiteX0" fmla="*/ 34398 w 1465994"/>
                <a:gd name="connsiteY0" fmla="*/ 0 h 282575"/>
                <a:gd name="connsiteX1" fmla="*/ 1357307 w 1465994"/>
                <a:gd name="connsiteY1" fmla="*/ 0 h 282575"/>
                <a:gd name="connsiteX2" fmla="*/ 1391705 w 1465994"/>
                <a:gd name="connsiteY2" fmla="*/ 34398 h 282575"/>
                <a:gd name="connsiteX3" fmla="*/ 1391705 w 1465994"/>
                <a:gd name="connsiteY3" fmla="*/ 186635 h 282575"/>
                <a:gd name="connsiteX4" fmla="*/ 1465994 w 1465994"/>
                <a:gd name="connsiteY4" fmla="*/ 282573 h 282575"/>
                <a:gd name="connsiteX5" fmla="*/ 1357312 w 1465994"/>
                <a:gd name="connsiteY5" fmla="*/ 282573 h 282575"/>
                <a:gd name="connsiteX6" fmla="*/ 1357307 w 1465994"/>
                <a:gd name="connsiteY6" fmla="*/ 282575 h 282575"/>
                <a:gd name="connsiteX7" fmla="*/ 34398 w 1465994"/>
                <a:gd name="connsiteY7" fmla="*/ 282575 h 282575"/>
                <a:gd name="connsiteX8" fmla="*/ 0 w 1465994"/>
                <a:gd name="connsiteY8" fmla="*/ 248177 h 282575"/>
                <a:gd name="connsiteX9" fmla="*/ 0 w 1465994"/>
                <a:gd name="connsiteY9" fmla="*/ 34398 h 282575"/>
                <a:gd name="connsiteX10" fmla="*/ 34398 w 1465994"/>
                <a:gd name="connsiteY10" fmla="*/ 0 h 282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65994" h="282575">
                  <a:moveTo>
                    <a:pt x="34398" y="0"/>
                  </a:moveTo>
                  <a:lnTo>
                    <a:pt x="1357307" y="0"/>
                  </a:lnTo>
                  <a:cubicBezTo>
                    <a:pt x="1376304" y="0"/>
                    <a:pt x="1391705" y="15401"/>
                    <a:pt x="1391705" y="34398"/>
                  </a:cubicBezTo>
                  <a:lnTo>
                    <a:pt x="1391705" y="186635"/>
                  </a:lnTo>
                  <a:lnTo>
                    <a:pt x="1465994" y="282573"/>
                  </a:lnTo>
                  <a:lnTo>
                    <a:pt x="1357312" y="282573"/>
                  </a:lnTo>
                  <a:lnTo>
                    <a:pt x="1357307" y="282575"/>
                  </a:lnTo>
                  <a:lnTo>
                    <a:pt x="34398" y="282575"/>
                  </a:lnTo>
                  <a:cubicBezTo>
                    <a:pt x="15401" y="282575"/>
                    <a:pt x="0" y="267174"/>
                    <a:pt x="0" y="248177"/>
                  </a:cubicBezTo>
                  <a:lnTo>
                    <a:pt x="0" y="34398"/>
                  </a:lnTo>
                  <a:cubicBezTo>
                    <a:pt x="0" y="15401"/>
                    <a:pt x="15401" y="0"/>
                    <a:pt x="34398" y="0"/>
                  </a:cubicBezTo>
                  <a:close/>
                </a:path>
              </a:pathLst>
            </a:custGeom>
            <a:solidFill>
              <a:schemeClr val="accent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Arial"/>
                <a:cs typeface="+mn-cs"/>
              </a:endParaRPr>
            </a:p>
          </p:txBody>
        </p:sp>
      </p:grpSp>
      <p:sp>
        <p:nvSpPr>
          <p:cNvPr id="60" name="矩形 59">
            <a:extLst>
              <a:ext uri="{FF2B5EF4-FFF2-40B4-BE49-F238E27FC236}">
                <a16:creationId xmlns:a16="http://schemas.microsoft.com/office/drawing/2014/main" id="{B5D188BB-7720-4BEC-A29D-3AEA0FD7E104}"/>
              </a:ext>
            </a:extLst>
          </p:cNvPr>
          <p:cNvSpPr/>
          <p:nvPr/>
        </p:nvSpPr>
        <p:spPr>
          <a:xfrm>
            <a:off x="2241550" y="3524250"/>
            <a:ext cx="7743825" cy="117080"/>
          </a:xfrm>
          <a:prstGeom prst="rect">
            <a:avLst/>
          </a:prstGeom>
          <a:solidFill>
            <a:schemeClr val="accent1">
              <a:lumMod val="100000"/>
            </a:schemeClr>
          </a:solidFill>
          <a:ln>
            <a:solidFill>
              <a:schemeClr val="accent1">
                <a:lumMod val="100000"/>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Arial"/>
              <a:cs typeface="+mn-cs"/>
            </a:endParaRPr>
          </a:p>
        </p:txBody>
      </p:sp>
      <p:sp>
        <p:nvSpPr>
          <p:cNvPr id="61" name="椭圆 60">
            <a:extLst>
              <a:ext uri="{FF2B5EF4-FFF2-40B4-BE49-F238E27FC236}">
                <a16:creationId xmlns:a16="http://schemas.microsoft.com/office/drawing/2014/main" id="{1FFAC2FC-5C30-4570-8295-729A56EA220B}"/>
              </a:ext>
            </a:extLst>
          </p:cNvPr>
          <p:cNvSpPr/>
          <p:nvPr/>
        </p:nvSpPr>
        <p:spPr>
          <a:xfrm>
            <a:off x="9835757" y="3057432"/>
            <a:ext cx="1050715" cy="1050715"/>
          </a:xfrm>
          <a:prstGeom prst="ellipse">
            <a:avLst/>
          </a:prstGeom>
          <a:solidFill>
            <a:schemeClr val="accent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Arial"/>
              <a:cs typeface="+mn-cs"/>
            </a:endParaRPr>
          </a:p>
        </p:txBody>
      </p:sp>
      <p:sp>
        <p:nvSpPr>
          <p:cNvPr id="62" name="椭圆 61">
            <a:extLst>
              <a:ext uri="{FF2B5EF4-FFF2-40B4-BE49-F238E27FC236}">
                <a16:creationId xmlns:a16="http://schemas.microsoft.com/office/drawing/2014/main" id="{646CDE95-F388-4293-AB29-C55D898F9171}"/>
              </a:ext>
            </a:extLst>
          </p:cNvPr>
          <p:cNvSpPr/>
          <p:nvPr/>
        </p:nvSpPr>
        <p:spPr>
          <a:xfrm>
            <a:off x="1758826" y="3309708"/>
            <a:ext cx="546166" cy="546164"/>
          </a:xfrm>
          <a:prstGeom prst="ellipse">
            <a:avLst/>
          </a:prstGeom>
          <a:solidFill>
            <a:schemeClr val="accent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Arial"/>
              <a:cs typeface="+mn-cs"/>
            </a:endParaRPr>
          </a:p>
        </p:txBody>
      </p:sp>
      <p:sp>
        <p:nvSpPr>
          <p:cNvPr id="63" name="TextBox 46">
            <a:extLst>
              <a:ext uri="{FF2B5EF4-FFF2-40B4-BE49-F238E27FC236}">
                <a16:creationId xmlns:a16="http://schemas.microsoft.com/office/drawing/2014/main" id="{554A547A-1AC2-4541-9850-B938ECA4F51A}"/>
              </a:ext>
            </a:extLst>
          </p:cNvPr>
          <p:cNvSpPr txBox="1">
            <a:spLocks noChangeArrowheads="1"/>
          </p:cNvSpPr>
          <p:nvPr/>
        </p:nvSpPr>
        <p:spPr bwMode="auto">
          <a:xfrm>
            <a:off x="1810564" y="1871368"/>
            <a:ext cx="1331523"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1pPr>
            <a:lvl2pPr marL="742950" indent="-28575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2pPr>
            <a:lvl3pPr marL="11430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3pPr>
            <a:lvl4pPr marL="16002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4pPr>
            <a:lvl5pPr marL="20574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5pPr>
            <a:lvl6pPr marL="25146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6pPr>
            <a:lvl7pPr marL="29718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7pPr>
            <a:lvl8pPr marL="34290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8pPr>
            <a:lvl9pPr marL="38862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altLang="en-US" sz="1000" b="1" i="0" u="none" strike="noStrike" kern="1200" cap="none" spc="0" normalizeH="0" baseline="0" noProof="0" dirty="0">
                <a:ln>
                  <a:noFill/>
                </a:ln>
                <a:solidFill>
                  <a:schemeClr val="accent1"/>
                </a:solidFill>
                <a:effectLst/>
                <a:uLnTx/>
                <a:uFillTx/>
                <a:latin typeface="Arial"/>
                <a:ea typeface="+mn-ea"/>
                <a:cs typeface="+mn-ea"/>
                <a:sym typeface="+mn-lt"/>
              </a:rPr>
              <a:t>Information text</a:t>
            </a:r>
          </a:p>
        </p:txBody>
      </p:sp>
      <p:sp>
        <p:nvSpPr>
          <p:cNvPr id="64" name="TextBox 46">
            <a:extLst>
              <a:ext uri="{FF2B5EF4-FFF2-40B4-BE49-F238E27FC236}">
                <a16:creationId xmlns:a16="http://schemas.microsoft.com/office/drawing/2014/main" id="{25B1F888-2FAE-4851-A117-70FC56807E69}"/>
              </a:ext>
            </a:extLst>
          </p:cNvPr>
          <p:cNvSpPr txBox="1">
            <a:spLocks noChangeArrowheads="1"/>
          </p:cNvSpPr>
          <p:nvPr/>
        </p:nvSpPr>
        <p:spPr bwMode="auto">
          <a:xfrm>
            <a:off x="1999005" y="2291215"/>
            <a:ext cx="1331523"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1pPr>
            <a:lvl2pPr marL="742950" indent="-28575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2pPr>
            <a:lvl3pPr marL="11430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3pPr>
            <a:lvl4pPr marL="16002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4pPr>
            <a:lvl5pPr marL="20574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5pPr>
            <a:lvl6pPr marL="25146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6pPr>
            <a:lvl7pPr marL="29718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7pPr>
            <a:lvl8pPr marL="34290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8pPr>
            <a:lvl9pPr marL="38862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altLang="en-US" sz="1000" b="1" i="0" u="none" strike="noStrike" kern="1200" cap="none" spc="0" normalizeH="0" baseline="0" noProof="0" dirty="0">
                <a:ln>
                  <a:noFill/>
                </a:ln>
                <a:solidFill>
                  <a:schemeClr val="accent1"/>
                </a:solidFill>
                <a:effectLst/>
                <a:uLnTx/>
                <a:uFillTx/>
                <a:latin typeface="Arial"/>
                <a:ea typeface="+mn-ea"/>
                <a:cs typeface="+mn-ea"/>
                <a:sym typeface="+mn-lt"/>
              </a:rPr>
              <a:t>Information text</a:t>
            </a:r>
          </a:p>
        </p:txBody>
      </p:sp>
      <p:sp>
        <p:nvSpPr>
          <p:cNvPr id="65" name="TextBox 46">
            <a:extLst>
              <a:ext uri="{FF2B5EF4-FFF2-40B4-BE49-F238E27FC236}">
                <a16:creationId xmlns:a16="http://schemas.microsoft.com/office/drawing/2014/main" id="{66996ADF-5592-4D49-8396-83694250FD62}"/>
              </a:ext>
            </a:extLst>
          </p:cNvPr>
          <p:cNvSpPr txBox="1">
            <a:spLocks noChangeArrowheads="1"/>
          </p:cNvSpPr>
          <p:nvPr/>
        </p:nvSpPr>
        <p:spPr bwMode="auto">
          <a:xfrm>
            <a:off x="2187447" y="2711062"/>
            <a:ext cx="1331523"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1pPr>
            <a:lvl2pPr marL="742950" indent="-28575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2pPr>
            <a:lvl3pPr marL="11430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3pPr>
            <a:lvl4pPr marL="16002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4pPr>
            <a:lvl5pPr marL="20574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5pPr>
            <a:lvl6pPr marL="25146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6pPr>
            <a:lvl7pPr marL="29718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7pPr>
            <a:lvl8pPr marL="34290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8pPr>
            <a:lvl9pPr marL="38862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altLang="en-US" sz="1000" b="1" i="0" u="none" strike="noStrike" kern="1200" cap="none" spc="0" normalizeH="0" baseline="0" noProof="0" dirty="0">
                <a:ln>
                  <a:noFill/>
                </a:ln>
                <a:solidFill>
                  <a:schemeClr val="accent1"/>
                </a:solidFill>
                <a:effectLst/>
                <a:uLnTx/>
                <a:uFillTx/>
                <a:latin typeface="Arial"/>
                <a:ea typeface="+mn-ea"/>
                <a:cs typeface="+mn-ea"/>
                <a:sym typeface="+mn-lt"/>
              </a:rPr>
              <a:t>Information text</a:t>
            </a:r>
          </a:p>
        </p:txBody>
      </p:sp>
      <p:sp>
        <p:nvSpPr>
          <p:cNvPr id="66" name="TextBox 46">
            <a:extLst>
              <a:ext uri="{FF2B5EF4-FFF2-40B4-BE49-F238E27FC236}">
                <a16:creationId xmlns:a16="http://schemas.microsoft.com/office/drawing/2014/main" id="{93526BDA-9DC2-46E7-8DB8-8955FBC6B975}"/>
              </a:ext>
            </a:extLst>
          </p:cNvPr>
          <p:cNvSpPr txBox="1">
            <a:spLocks noChangeArrowheads="1"/>
          </p:cNvSpPr>
          <p:nvPr/>
        </p:nvSpPr>
        <p:spPr bwMode="auto">
          <a:xfrm>
            <a:off x="3598980" y="1871368"/>
            <a:ext cx="1331523"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1pPr>
            <a:lvl2pPr marL="742950" indent="-28575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2pPr>
            <a:lvl3pPr marL="11430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3pPr>
            <a:lvl4pPr marL="16002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4pPr>
            <a:lvl5pPr marL="20574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5pPr>
            <a:lvl6pPr marL="25146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6pPr>
            <a:lvl7pPr marL="29718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7pPr>
            <a:lvl8pPr marL="34290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8pPr>
            <a:lvl9pPr marL="38862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altLang="en-US" sz="1000" b="1" i="0" u="none" strike="noStrike" kern="1200" cap="none" spc="0" normalizeH="0" baseline="0" noProof="0" dirty="0">
                <a:ln>
                  <a:noFill/>
                </a:ln>
                <a:solidFill>
                  <a:schemeClr val="accent1"/>
                </a:solidFill>
                <a:effectLst/>
                <a:uLnTx/>
                <a:uFillTx/>
                <a:latin typeface="Arial"/>
                <a:ea typeface="+mn-ea"/>
                <a:cs typeface="+mn-ea"/>
                <a:sym typeface="+mn-lt"/>
              </a:rPr>
              <a:t>Information text</a:t>
            </a:r>
          </a:p>
        </p:txBody>
      </p:sp>
      <p:sp>
        <p:nvSpPr>
          <p:cNvPr id="67" name="TextBox 46">
            <a:extLst>
              <a:ext uri="{FF2B5EF4-FFF2-40B4-BE49-F238E27FC236}">
                <a16:creationId xmlns:a16="http://schemas.microsoft.com/office/drawing/2014/main" id="{F76A3706-95C1-4D6C-9D89-4BF7FFA5D9E3}"/>
              </a:ext>
            </a:extLst>
          </p:cNvPr>
          <p:cNvSpPr txBox="1">
            <a:spLocks noChangeArrowheads="1"/>
          </p:cNvSpPr>
          <p:nvPr/>
        </p:nvSpPr>
        <p:spPr bwMode="auto">
          <a:xfrm>
            <a:off x="3787421" y="2291215"/>
            <a:ext cx="1331523"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1pPr>
            <a:lvl2pPr marL="742950" indent="-28575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2pPr>
            <a:lvl3pPr marL="11430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3pPr>
            <a:lvl4pPr marL="16002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4pPr>
            <a:lvl5pPr marL="20574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5pPr>
            <a:lvl6pPr marL="25146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6pPr>
            <a:lvl7pPr marL="29718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7pPr>
            <a:lvl8pPr marL="34290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8pPr>
            <a:lvl9pPr marL="38862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altLang="en-US" sz="1000" b="1" i="0" u="none" strike="noStrike" kern="1200" cap="none" spc="0" normalizeH="0" baseline="0" noProof="0" dirty="0">
                <a:ln>
                  <a:noFill/>
                </a:ln>
                <a:solidFill>
                  <a:schemeClr val="accent1"/>
                </a:solidFill>
                <a:effectLst/>
                <a:uLnTx/>
                <a:uFillTx/>
                <a:latin typeface="Arial"/>
                <a:ea typeface="+mn-ea"/>
                <a:cs typeface="+mn-ea"/>
                <a:sym typeface="+mn-lt"/>
              </a:rPr>
              <a:t>Information text</a:t>
            </a:r>
          </a:p>
        </p:txBody>
      </p:sp>
      <p:sp>
        <p:nvSpPr>
          <p:cNvPr id="68" name="TextBox 46">
            <a:extLst>
              <a:ext uri="{FF2B5EF4-FFF2-40B4-BE49-F238E27FC236}">
                <a16:creationId xmlns:a16="http://schemas.microsoft.com/office/drawing/2014/main" id="{5C0F78B6-C346-4F6F-8D15-14AA5D43191B}"/>
              </a:ext>
            </a:extLst>
          </p:cNvPr>
          <p:cNvSpPr txBox="1">
            <a:spLocks noChangeArrowheads="1"/>
          </p:cNvSpPr>
          <p:nvPr/>
        </p:nvSpPr>
        <p:spPr bwMode="auto">
          <a:xfrm>
            <a:off x="3975863" y="2711062"/>
            <a:ext cx="1331523"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1pPr>
            <a:lvl2pPr marL="742950" indent="-28575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2pPr>
            <a:lvl3pPr marL="11430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3pPr>
            <a:lvl4pPr marL="16002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4pPr>
            <a:lvl5pPr marL="20574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5pPr>
            <a:lvl6pPr marL="25146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6pPr>
            <a:lvl7pPr marL="29718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7pPr>
            <a:lvl8pPr marL="34290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8pPr>
            <a:lvl9pPr marL="38862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altLang="en-US" sz="1000" b="1" i="0" u="none" strike="noStrike" kern="1200" cap="none" spc="0" normalizeH="0" baseline="0" noProof="0" dirty="0">
                <a:ln>
                  <a:noFill/>
                </a:ln>
                <a:solidFill>
                  <a:schemeClr val="accent1"/>
                </a:solidFill>
                <a:effectLst/>
                <a:uLnTx/>
                <a:uFillTx/>
                <a:latin typeface="Arial"/>
                <a:ea typeface="+mn-ea"/>
                <a:cs typeface="+mn-ea"/>
                <a:sym typeface="+mn-lt"/>
              </a:rPr>
              <a:t>Information text</a:t>
            </a:r>
          </a:p>
        </p:txBody>
      </p:sp>
      <p:sp>
        <p:nvSpPr>
          <p:cNvPr id="69" name="TextBox 46">
            <a:extLst>
              <a:ext uri="{FF2B5EF4-FFF2-40B4-BE49-F238E27FC236}">
                <a16:creationId xmlns:a16="http://schemas.microsoft.com/office/drawing/2014/main" id="{B49BF4A5-F04E-4C00-91F3-2A8EE061CA70}"/>
              </a:ext>
            </a:extLst>
          </p:cNvPr>
          <p:cNvSpPr txBox="1">
            <a:spLocks noChangeArrowheads="1"/>
          </p:cNvSpPr>
          <p:nvPr/>
        </p:nvSpPr>
        <p:spPr bwMode="auto">
          <a:xfrm>
            <a:off x="5387396" y="1871368"/>
            <a:ext cx="1331523"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1pPr>
            <a:lvl2pPr marL="742950" indent="-28575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2pPr>
            <a:lvl3pPr marL="11430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3pPr>
            <a:lvl4pPr marL="16002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4pPr>
            <a:lvl5pPr marL="20574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5pPr>
            <a:lvl6pPr marL="25146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6pPr>
            <a:lvl7pPr marL="29718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7pPr>
            <a:lvl8pPr marL="34290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8pPr>
            <a:lvl9pPr marL="38862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altLang="en-US" sz="1000" b="1" i="0" u="none" strike="noStrike" kern="1200" cap="none" spc="0" normalizeH="0" baseline="0" noProof="0" dirty="0">
                <a:ln>
                  <a:noFill/>
                </a:ln>
                <a:solidFill>
                  <a:schemeClr val="accent1"/>
                </a:solidFill>
                <a:effectLst/>
                <a:uLnTx/>
                <a:uFillTx/>
                <a:latin typeface="Arial"/>
                <a:ea typeface="+mn-ea"/>
                <a:cs typeface="+mn-ea"/>
                <a:sym typeface="+mn-lt"/>
              </a:rPr>
              <a:t>Information text</a:t>
            </a:r>
          </a:p>
        </p:txBody>
      </p:sp>
      <p:sp>
        <p:nvSpPr>
          <p:cNvPr id="70" name="TextBox 46">
            <a:extLst>
              <a:ext uri="{FF2B5EF4-FFF2-40B4-BE49-F238E27FC236}">
                <a16:creationId xmlns:a16="http://schemas.microsoft.com/office/drawing/2014/main" id="{29AA32A5-B1F0-432B-8C53-DD2A9B9F5092}"/>
              </a:ext>
            </a:extLst>
          </p:cNvPr>
          <p:cNvSpPr txBox="1">
            <a:spLocks noChangeArrowheads="1"/>
          </p:cNvSpPr>
          <p:nvPr/>
        </p:nvSpPr>
        <p:spPr bwMode="auto">
          <a:xfrm>
            <a:off x="5575837" y="2291215"/>
            <a:ext cx="1331523"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1pPr>
            <a:lvl2pPr marL="742950" indent="-28575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2pPr>
            <a:lvl3pPr marL="11430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3pPr>
            <a:lvl4pPr marL="16002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4pPr>
            <a:lvl5pPr marL="20574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5pPr>
            <a:lvl6pPr marL="25146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6pPr>
            <a:lvl7pPr marL="29718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7pPr>
            <a:lvl8pPr marL="34290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8pPr>
            <a:lvl9pPr marL="38862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altLang="en-US" sz="1000" b="1" i="0" u="none" strike="noStrike" kern="1200" cap="none" spc="0" normalizeH="0" baseline="0" noProof="0" dirty="0">
                <a:ln>
                  <a:noFill/>
                </a:ln>
                <a:solidFill>
                  <a:schemeClr val="accent1"/>
                </a:solidFill>
                <a:effectLst/>
                <a:uLnTx/>
                <a:uFillTx/>
                <a:latin typeface="Arial"/>
                <a:ea typeface="+mn-ea"/>
                <a:cs typeface="+mn-ea"/>
                <a:sym typeface="+mn-lt"/>
              </a:rPr>
              <a:t>Information text</a:t>
            </a:r>
          </a:p>
        </p:txBody>
      </p:sp>
      <p:sp>
        <p:nvSpPr>
          <p:cNvPr id="71" name="TextBox 46">
            <a:extLst>
              <a:ext uri="{FF2B5EF4-FFF2-40B4-BE49-F238E27FC236}">
                <a16:creationId xmlns:a16="http://schemas.microsoft.com/office/drawing/2014/main" id="{13E9CF88-1A92-4DDF-8ED3-C066968CD538}"/>
              </a:ext>
            </a:extLst>
          </p:cNvPr>
          <p:cNvSpPr txBox="1">
            <a:spLocks noChangeArrowheads="1"/>
          </p:cNvSpPr>
          <p:nvPr/>
        </p:nvSpPr>
        <p:spPr bwMode="auto">
          <a:xfrm>
            <a:off x="5764279" y="2711062"/>
            <a:ext cx="1331523"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1pPr>
            <a:lvl2pPr marL="742950" indent="-28575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2pPr>
            <a:lvl3pPr marL="11430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3pPr>
            <a:lvl4pPr marL="16002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4pPr>
            <a:lvl5pPr marL="20574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5pPr>
            <a:lvl6pPr marL="25146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6pPr>
            <a:lvl7pPr marL="29718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7pPr>
            <a:lvl8pPr marL="34290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8pPr>
            <a:lvl9pPr marL="38862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altLang="en-US" sz="1000" b="1" i="0" u="none" strike="noStrike" kern="1200" cap="none" spc="0" normalizeH="0" baseline="0" noProof="0" dirty="0">
                <a:ln>
                  <a:noFill/>
                </a:ln>
                <a:solidFill>
                  <a:schemeClr val="accent1"/>
                </a:solidFill>
                <a:effectLst/>
                <a:uLnTx/>
                <a:uFillTx/>
                <a:latin typeface="Arial"/>
                <a:ea typeface="+mn-ea"/>
                <a:cs typeface="+mn-ea"/>
                <a:sym typeface="+mn-lt"/>
              </a:rPr>
              <a:t>Information text</a:t>
            </a:r>
          </a:p>
        </p:txBody>
      </p:sp>
      <p:sp>
        <p:nvSpPr>
          <p:cNvPr id="72" name="TextBox 46">
            <a:extLst>
              <a:ext uri="{FF2B5EF4-FFF2-40B4-BE49-F238E27FC236}">
                <a16:creationId xmlns:a16="http://schemas.microsoft.com/office/drawing/2014/main" id="{0510ABB7-DED0-4551-B61A-08A6263C49FE}"/>
              </a:ext>
            </a:extLst>
          </p:cNvPr>
          <p:cNvSpPr txBox="1">
            <a:spLocks noChangeArrowheads="1"/>
          </p:cNvSpPr>
          <p:nvPr/>
        </p:nvSpPr>
        <p:spPr bwMode="auto">
          <a:xfrm>
            <a:off x="7175812" y="1871368"/>
            <a:ext cx="1331523"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1pPr>
            <a:lvl2pPr marL="742950" indent="-28575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2pPr>
            <a:lvl3pPr marL="11430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3pPr>
            <a:lvl4pPr marL="16002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4pPr>
            <a:lvl5pPr marL="20574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5pPr>
            <a:lvl6pPr marL="25146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6pPr>
            <a:lvl7pPr marL="29718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7pPr>
            <a:lvl8pPr marL="34290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8pPr>
            <a:lvl9pPr marL="38862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altLang="en-US" sz="1000" b="1" i="0" u="none" strike="noStrike" kern="1200" cap="none" spc="0" normalizeH="0" baseline="0" noProof="0" dirty="0">
                <a:ln>
                  <a:noFill/>
                </a:ln>
                <a:solidFill>
                  <a:schemeClr val="accent1"/>
                </a:solidFill>
                <a:effectLst/>
                <a:uLnTx/>
                <a:uFillTx/>
                <a:latin typeface="Arial"/>
                <a:ea typeface="+mn-ea"/>
                <a:cs typeface="+mn-ea"/>
                <a:sym typeface="+mn-lt"/>
              </a:rPr>
              <a:t>Information text</a:t>
            </a:r>
          </a:p>
        </p:txBody>
      </p:sp>
      <p:sp>
        <p:nvSpPr>
          <p:cNvPr id="73" name="TextBox 46">
            <a:extLst>
              <a:ext uri="{FF2B5EF4-FFF2-40B4-BE49-F238E27FC236}">
                <a16:creationId xmlns:a16="http://schemas.microsoft.com/office/drawing/2014/main" id="{7B17D52F-7B1E-414D-A83B-BBA3622E4D81}"/>
              </a:ext>
            </a:extLst>
          </p:cNvPr>
          <p:cNvSpPr txBox="1">
            <a:spLocks noChangeArrowheads="1"/>
          </p:cNvSpPr>
          <p:nvPr/>
        </p:nvSpPr>
        <p:spPr bwMode="auto">
          <a:xfrm>
            <a:off x="7364253" y="2291215"/>
            <a:ext cx="1331523"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1pPr>
            <a:lvl2pPr marL="742950" indent="-28575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2pPr>
            <a:lvl3pPr marL="11430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3pPr>
            <a:lvl4pPr marL="16002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4pPr>
            <a:lvl5pPr marL="20574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5pPr>
            <a:lvl6pPr marL="25146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6pPr>
            <a:lvl7pPr marL="29718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7pPr>
            <a:lvl8pPr marL="34290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8pPr>
            <a:lvl9pPr marL="38862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altLang="en-US" sz="1000" b="1" i="0" u="none" strike="noStrike" kern="1200" cap="none" spc="0" normalizeH="0" baseline="0" noProof="0" dirty="0">
                <a:ln>
                  <a:noFill/>
                </a:ln>
                <a:solidFill>
                  <a:schemeClr val="accent1"/>
                </a:solidFill>
                <a:effectLst/>
                <a:uLnTx/>
                <a:uFillTx/>
                <a:latin typeface="Arial"/>
                <a:ea typeface="+mn-ea"/>
                <a:cs typeface="+mn-ea"/>
                <a:sym typeface="+mn-lt"/>
              </a:rPr>
              <a:t>Information text</a:t>
            </a:r>
          </a:p>
        </p:txBody>
      </p:sp>
      <p:sp>
        <p:nvSpPr>
          <p:cNvPr id="74" name="TextBox 46">
            <a:extLst>
              <a:ext uri="{FF2B5EF4-FFF2-40B4-BE49-F238E27FC236}">
                <a16:creationId xmlns:a16="http://schemas.microsoft.com/office/drawing/2014/main" id="{AE94A450-A6CD-4848-A3C0-F454332DD445}"/>
              </a:ext>
            </a:extLst>
          </p:cNvPr>
          <p:cNvSpPr txBox="1">
            <a:spLocks noChangeArrowheads="1"/>
          </p:cNvSpPr>
          <p:nvPr/>
        </p:nvSpPr>
        <p:spPr bwMode="auto">
          <a:xfrm>
            <a:off x="7552695" y="2711062"/>
            <a:ext cx="1331523"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1pPr>
            <a:lvl2pPr marL="742950" indent="-28575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2pPr>
            <a:lvl3pPr marL="11430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3pPr>
            <a:lvl4pPr marL="16002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4pPr>
            <a:lvl5pPr marL="20574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5pPr>
            <a:lvl6pPr marL="25146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6pPr>
            <a:lvl7pPr marL="29718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7pPr>
            <a:lvl8pPr marL="34290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8pPr>
            <a:lvl9pPr marL="38862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altLang="en-US" sz="1000" b="1" i="0" u="none" strike="noStrike" kern="1200" cap="none" spc="0" normalizeH="0" baseline="0" noProof="0" dirty="0">
                <a:ln>
                  <a:noFill/>
                </a:ln>
                <a:solidFill>
                  <a:schemeClr val="accent1"/>
                </a:solidFill>
                <a:effectLst/>
                <a:uLnTx/>
                <a:uFillTx/>
                <a:latin typeface="Arial"/>
                <a:ea typeface="+mn-ea"/>
                <a:cs typeface="+mn-ea"/>
                <a:sym typeface="+mn-lt"/>
              </a:rPr>
              <a:t>Information text</a:t>
            </a:r>
          </a:p>
        </p:txBody>
      </p:sp>
      <p:sp>
        <p:nvSpPr>
          <p:cNvPr id="77" name="TextBox 46">
            <a:extLst>
              <a:ext uri="{FF2B5EF4-FFF2-40B4-BE49-F238E27FC236}">
                <a16:creationId xmlns:a16="http://schemas.microsoft.com/office/drawing/2014/main" id="{0B98D71E-FFD8-4AD4-A572-FCF6452ED52C}"/>
              </a:ext>
            </a:extLst>
          </p:cNvPr>
          <p:cNvSpPr txBox="1">
            <a:spLocks noChangeArrowheads="1"/>
          </p:cNvSpPr>
          <p:nvPr/>
        </p:nvSpPr>
        <p:spPr bwMode="auto">
          <a:xfrm>
            <a:off x="1810563" y="4905279"/>
            <a:ext cx="1331523"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1pPr>
            <a:lvl2pPr marL="742950" indent="-28575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2pPr>
            <a:lvl3pPr marL="11430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3pPr>
            <a:lvl4pPr marL="16002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4pPr>
            <a:lvl5pPr marL="20574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5pPr>
            <a:lvl6pPr marL="25146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6pPr>
            <a:lvl7pPr marL="29718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7pPr>
            <a:lvl8pPr marL="34290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8pPr>
            <a:lvl9pPr marL="38862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altLang="en-US" sz="1000" b="1" i="0" u="none" strike="noStrike" kern="1200" cap="none" spc="0" normalizeH="0" baseline="0" noProof="0" dirty="0">
                <a:ln>
                  <a:noFill/>
                </a:ln>
                <a:solidFill>
                  <a:schemeClr val="accent1"/>
                </a:solidFill>
                <a:effectLst/>
                <a:uLnTx/>
                <a:uFillTx/>
                <a:latin typeface="Arial"/>
                <a:ea typeface="+mn-ea"/>
                <a:cs typeface="+mn-ea"/>
                <a:sym typeface="+mn-lt"/>
              </a:rPr>
              <a:t>Information text</a:t>
            </a:r>
          </a:p>
        </p:txBody>
      </p:sp>
      <p:sp>
        <p:nvSpPr>
          <p:cNvPr id="78" name="TextBox 46">
            <a:extLst>
              <a:ext uri="{FF2B5EF4-FFF2-40B4-BE49-F238E27FC236}">
                <a16:creationId xmlns:a16="http://schemas.microsoft.com/office/drawing/2014/main" id="{6A9268E2-4EC7-4927-A733-1D10B6E65932}"/>
              </a:ext>
            </a:extLst>
          </p:cNvPr>
          <p:cNvSpPr txBox="1">
            <a:spLocks noChangeArrowheads="1"/>
          </p:cNvSpPr>
          <p:nvPr/>
        </p:nvSpPr>
        <p:spPr bwMode="auto">
          <a:xfrm>
            <a:off x="1999004" y="4485432"/>
            <a:ext cx="1331523"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1pPr>
            <a:lvl2pPr marL="742950" indent="-28575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2pPr>
            <a:lvl3pPr marL="11430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3pPr>
            <a:lvl4pPr marL="16002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4pPr>
            <a:lvl5pPr marL="20574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5pPr>
            <a:lvl6pPr marL="25146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6pPr>
            <a:lvl7pPr marL="29718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7pPr>
            <a:lvl8pPr marL="34290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8pPr>
            <a:lvl9pPr marL="38862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altLang="en-US" sz="1000" b="1" i="0" u="none" strike="noStrike" kern="1200" cap="none" spc="0" normalizeH="0" baseline="0" noProof="0" dirty="0">
                <a:ln>
                  <a:noFill/>
                </a:ln>
                <a:solidFill>
                  <a:schemeClr val="accent1"/>
                </a:solidFill>
                <a:effectLst/>
                <a:uLnTx/>
                <a:uFillTx/>
                <a:latin typeface="Arial"/>
                <a:ea typeface="+mn-ea"/>
                <a:cs typeface="+mn-ea"/>
                <a:sym typeface="+mn-lt"/>
              </a:rPr>
              <a:t>Information text</a:t>
            </a:r>
          </a:p>
        </p:txBody>
      </p:sp>
      <p:sp>
        <p:nvSpPr>
          <p:cNvPr id="79" name="TextBox 46">
            <a:extLst>
              <a:ext uri="{FF2B5EF4-FFF2-40B4-BE49-F238E27FC236}">
                <a16:creationId xmlns:a16="http://schemas.microsoft.com/office/drawing/2014/main" id="{6B29AD79-AD11-43A2-97A7-C81E3A9E9049}"/>
              </a:ext>
            </a:extLst>
          </p:cNvPr>
          <p:cNvSpPr txBox="1">
            <a:spLocks noChangeArrowheads="1"/>
          </p:cNvSpPr>
          <p:nvPr/>
        </p:nvSpPr>
        <p:spPr bwMode="auto">
          <a:xfrm>
            <a:off x="2187446" y="4065585"/>
            <a:ext cx="1331523"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1pPr>
            <a:lvl2pPr marL="742950" indent="-28575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2pPr>
            <a:lvl3pPr marL="11430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3pPr>
            <a:lvl4pPr marL="16002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4pPr>
            <a:lvl5pPr marL="20574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5pPr>
            <a:lvl6pPr marL="25146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6pPr>
            <a:lvl7pPr marL="29718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7pPr>
            <a:lvl8pPr marL="34290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8pPr>
            <a:lvl9pPr marL="38862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altLang="en-US" sz="1000" b="1" i="0" u="none" strike="noStrike" kern="1200" cap="none" spc="0" normalizeH="0" baseline="0" noProof="0" dirty="0">
                <a:ln>
                  <a:noFill/>
                </a:ln>
                <a:solidFill>
                  <a:schemeClr val="accent1"/>
                </a:solidFill>
                <a:effectLst/>
                <a:uLnTx/>
                <a:uFillTx/>
                <a:latin typeface="Arial"/>
                <a:ea typeface="+mn-ea"/>
                <a:cs typeface="+mn-ea"/>
                <a:sym typeface="+mn-lt"/>
              </a:rPr>
              <a:t>Information text</a:t>
            </a:r>
          </a:p>
        </p:txBody>
      </p:sp>
      <p:sp>
        <p:nvSpPr>
          <p:cNvPr id="80" name="TextBox 46">
            <a:extLst>
              <a:ext uri="{FF2B5EF4-FFF2-40B4-BE49-F238E27FC236}">
                <a16:creationId xmlns:a16="http://schemas.microsoft.com/office/drawing/2014/main" id="{71D482EC-4672-42DF-B9F0-F69D176BF201}"/>
              </a:ext>
            </a:extLst>
          </p:cNvPr>
          <p:cNvSpPr txBox="1">
            <a:spLocks noChangeArrowheads="1"/>
          </p:cNvSpPr>
          <p:nvPr/>
        </p:nvSpPr>
        <p:spPr bwMode="auto">
          <a:xfrm>
            <a:off x="3598979" y="4905279"/>
            <a:ext cx="1331523"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1pPr>
            <a:lvl2pPr marL="742950" indent="-28575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2pPr>
            <a:lvl3pPr marL="11430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3pPr>
            <a:lvl4pPr marL="16002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4pPr>
            <a:lvl5pPr marL="20574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5pPr>
            <a:lvl6pPr marL="25146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6pPr>
            <a:lvl7pPr marL="29718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7pPr>
            <a:lvl8pPr marL="34290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8pPr>
            <a:lvl9pPr marL="38862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altLang="en-US" sz="1000" b="1" i="0" u="none" strike="noStrike" kern="1200" cap="none" spc="0" normalizeH="0" baseline="0" noProof="0" dirty="0">
                <a:ln>
                  <a:noFill/>
                </a:ln>
                <a:solidFill>
                  <a:schemeClr val="accent1"/>
                </a:solidFill>
                <a:effectLst/>
                <a:uLnTx/>
                <a:uFillTx/>
                <a:latin typeface="Arial"/>
                <a:ea typeface="+mn-ea"/>
                <a:cs typeface="+mn-ea"/>
                <a:sym typeface="+mn-lt"/>
              </a:rPr>
              <a:t>Information text</a:t>
            </a:r>
          </a:p>
        </p:txBody>
      </p:sp>
      <p:sp>
        <p:nvSpPr>
          <p:cNvPr id="81" name="TextBox 46">
            <a:extLst>
              <a:ext uri="{FF2B5EF4-FFF2-40B4-BE49-F238E27FC236}">
                <a16:creationId xmlns:a16="http://schemas.microsoft.com/office/drawing/2014/main" id="{B1B4C497-2AE3-4949-AA04-6DE3D4A45239}"/>
              </a:ext>
            </a:extLst>
          </p:cNvPr>
          <p:cNvSpPr txBox="1">
            <a:spLocks noChangeArrowheads="1"/>
          </p:cNvSpPr>
          <p:nvPr/>
        </p:nvSpPr>
        <p:spPr bwMode="auto">
          <a:xfrm>
            <a:off x="3787420" y="4485432"/>
            <a:ext cx="1331523"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1pPr>
            <a:lvl2pPr marL="742950" indent="-28575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2pPr>
            <a:lvl3pPr marL="11430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3pPr>
            <a:lvl4pPr marL="16002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4pPr>
            <a:lvl5pPr marL="20574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5pPr>
            <a:lvl6pPr marL="25146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6pPr>
            <a:lvl7pPr marL="29718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7pPr>
            <a:lvl8pPr marL="34290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8pPr>
            <a:lvl9pPr marL="38862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altLang="en-US" sz="1000" b="1" i="0" u="none" strike="noStrike" kern="1200" cap="none" spc="0" normalizeH="0" baseline="0" noProof="0" dirty="0">
                <a:ln>
                  <a:noFill/>
                </a:ln>
                <a:solidFill>
                  <a:schemeClr val="accent1"/>
                </a:solidFill>
                <a:effectLst/>
                <a:uLnTx/>
                <a:uFillTx/>
                <a:latin typeface="Arial"/>
                <a:ea typeface="+mn-ea"/>
                <a:cs typeface="+mn-ea"/>
                <a:sym typeface="+mn-lt"/>
              </a:rPr>
              <a:t>Information text</a:t>
            </a:r>
          </a:p>
        </p:txBody>
      </p:sp>
      <p:sp>
        <p:nvSpPr>
          <p:cNvPr id="82" name="TextBox 46">
            <a:extLst>
              <a:ext uri="{FF2B5EF4-FFF2-40B4-BE49-F238E27FC236}">
                <a16:creationId xmlns:a16="http://schemas.microsoft.com/office/drawing/2014/main" id="{7B1D6F0F-29EA-4E84-B174-BD8C7C438854}"/>
              </a:ext>
            </a:extLst>
          </p:cNvPr>
          <p:cNvSpPr txBox="1">
            <a:spLocks noChangeArrowheads="1"/>
          </p:cNvSpPr>
          <p:nvPr/>
        </p:nvSpPr>
        <p:spPr bwMode="auto">
          <a:xfrm>
            <a:off x="3975862" y="4065585"/>
            <a:ext cx="1331523"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1pPr>
            <a:lvl2pPr marL="742950" indent="-28575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2pPr>
            <a:lvl3pPr marL="11430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3pPr>
            <a:lvl4pPr marL="16002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4pPr>
            <a:lvl5pPr marL="20574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5pPr>
            <a:lvl6pPr marL="25146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6pPr>
            <a:lvl7pPr marL="29718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7pPr>
            <a:lvl8pPr marL="34290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8pPr>
            <a:lvl9pPr marL="38862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altLang="en-US" sz="1000" b="1" i="0" u="none" strike="noStrike" kern="1200" cap="none" spc="0" normalizeH="0" baseline="0" noProof="0" dirty="0">
                <a:ln>
                  <a:noFill/>
                </a:ln>
                <a:solidFill>
                  <a:schemeClr val="accent1"/>
                </a:solidFill>
                <a:effectLst/>
                <a:uLnTx/>
                <a:uFillTx/>
                <a:latin typeface="Arial"/>
                <a:ea typeface="+mn-ea"/>
                <a:cs typeface="+mn-ea"/>
                <a:sym typeface="+mn-lt"/>
              </a:rPr>
              <a:t>Information text</a:t>
            </a:r>
          </a:p>
        </p:txBody>
      </p:sp>
      <p:sp>
        <p:nvSpPr>
          <p:cNvPr id="83" name="TextBox 46">
            <a:extLst>
              <a:ext uri="{FF2B5EF4-FFF2-40B4-BE49-F238E27FC236}">
                <a16:creationId xmlns:a16="http://schemas.microsoft.com/office/drawing/2014/main" id="{AD3A7E08-0C56-4866-B367-3F89D0D93630}"/>
              </a:ext>
            </a:extLst>
          </p:cNvPr>
          <p:cNvSpPr txBox="1">
            <a:spLocks noChangeArrowheads="1"/>
          </p:cNvSpPr>
          <p:nvPr/>
        </p:nvSpPr>
        <p:spPr bwMode="auto">
          <a:xfrm>
            <a:off x="5387395" y="4905279"/>
            <a:ext cx="1331523"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1pPr>
            <a:lvl2pPr marL="742950" indent="-28575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2pPr>
            <a:lvl3pPr marL="11430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3pPr>
            <a:lvl4pPr marL="16002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4pPr>
            <a:lvl5pPr marL="20574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5pPr>
            <a:lvl6pPr marL="25146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6pPr>
            <a:lvl7pPr marL="29718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7pPr>
            <a:lvl8pPr marL="34290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8pPr>
            <a:lvl9pPr marL="38862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altLang="en-US" sz="1000" b="1" i="0" u="none" strike="noStrike" kern="1200" cap="none" spc="0" normalizeH="0" baseline="0" noProof="0" dirty="0">
                <a:ln>
                  <a:noFill/>
                </a:ln>
                <a:solidFill>
                  <a:schemeClr val="accent1"/>
                </a:solidFill>
                <a:effectLst/>
                <a:uLnTx/>
                <a:uFillTx/>
                <a:latin typeface="Arial"/>
                <a:ea typeface="+mn-ea"/>
                <a:cs typeface="+mn-ea"/>
                <a:sym typeface="+mn-lt"/>
              </a:rPr>
              <a:t>Information text</a:t>
            </a:r>
          </a:p>
        </p:txBody>
      </p:sp>
      <p:sp>
        <p:nvSpPr>
          <p:cNvPr id="84" name="TextBox 46">
            <a:extLst>
              <a:ext uri="{FF2B5EF4-FFF2-40B4-BE49-F238E27FC236}">
                <a16:creationId xmlns:a16="http://schemas.microsoft.com/office/drawing/2014/main" id="{F0F5049F-A968-47DC-BA8D-B32694C5F642}"/>
              </a:ext>
            </a:extLst>
          </p:cNvPr>
          <p:cNvSpPr txBox="1">
            <a:spLocks noChangeArrowheads="1"/>
          </p:cNvSpPr>
          <p:nvPr/>
        </p:nvSpPr>
        <p:spPr bwMode="auto">
          <a:xfrm>
            <a:off x="5575836" y="4485432"/>
            <a:ext cx="1331523"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1pPr>
            <a:lvl2pPr marL="742950" indent="-28575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2pPr>
            <a:lvl3pPr marL="11430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3pPr>
            <a:lvl4pPr marL="16002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4pPr>
            <a:lvl5pPr marL="20574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5pPr>
            <a:lvl6pPr marL="25146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6pPr>
            <a:lvl7pPr marL="29718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7pPr>
            <a:lvl8pPr marL="34290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8pPr>
            <a:lvl9pPr marL="38862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altLang="en-US" sz="1000" b="1" i="0" u="none" strike="noStrike" kern="1200" cap="none" spc="0" normalizeH="0" baseline="0" noProof="0" dirty="0">
                <a:ln>
                  <a:noFill/>
                </a:ln>
                <a:solidFill>
                  <a:schemeClr val="accent1"/>
                </a:solidFill>
                <a:effectLst/>
                <a:uLnTx/>
                <a:uFillTx/>
                <a:latin typeface="Arial"/>
                <a:ea typeface="+mn-ea"/>
                <a:cs typeface="+mn-ea"/>
                <a:sym typeface="+mn-lt"/>
              </a:rPr>
              <a:t>Information text</a:t>
            </a:r>
          </a:p>
        </p:txBody>
      </p:sp>
      <p:sp>
        <p:nvSpPr>
          <p:cNvPr id="85" name="TextBox 46">
            <a:extLst>
              <a:ext uri="{FF2B5EF4-FFF2-40B4-BE49-F238E27FC236}">
                <a16:creationId xmlns:a16="http://schemas.microsoft.com/office/drawing/2014/main" id="{26C2E0A0-FC97-43C5-88DC-613708838C50}"/>
              </a:ext>
            </a:extLst>
          </p:cNvPr>
          <p:cNvSpPr txBox="1">
            <a:spLocks noChangeArrowheads="1"/>
          </p:cNvSpPr>
          <p:nvPr/>
        </p:nvSpPr>
        <p:spPr bwMode="auto">
          <a:xfrm>
            <a:off x="5764278" y="4065585"/>
            <a:ext cx="1331523"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1pPr>
            <a:lvl2pPr marL="742950" indent="-28575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2pPr>
            <a:lvl3pPr marL="11430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3pPr>
            <a:lvl4pPr marL="16002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4pPr>
            <a:lvl5pPr marL="20574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5pPr>
            <a:lvl6pPr marL="25146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6pPr>
            <a:lvl7pPr marL="29718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7pPr>
            <a:lvl8pPr marL="34290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8pPr>
            <a:lvl9pPr marL="38862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altLang="en-US" sz="1000" b="1" i="0" u="none" strike="noStrike" kern="1200" cap="none" spc="0" normalizeH="0" baseline="0" noProof="0" dirty="0">
                <a:ln>
                  <a:noFill/>
                </a:ln>
                <a:solidFill>
                  <a:schemeClr val="accent1"/>
                </a:solidFill>
                <a:effectLst/>
                <a:uLnTx/>
                <a:uFillTx/>
                <a:latin typeface="Arial"/>
                <a:ea typeface="+mn-ea"/>
                <a:cs typeface="+mn-ea"/>
                <a:sym typeface="+mn-lt"/>
              </a:rPr>
              <a:t>Information text</a:t>
            </a:r>
          </a:p>
        </p:txBody>
      </p:sp>
      <p:sp>
        <p:nvSpPr>
          <p:cNvPr id="86" name="TextBox 46">
            <a:extLst>
              <a:ext uri="{FF2B5EF4-FFF2-40B4-BE49-F238E27FC236}">
                <a16:creationId xmlns:a16="http://schemas.microsoft.com/office/drawing/2014/main" id="{63107C20-705E-43E9-9552-48D7CF0F914E}"/>
              </a:ext>
            </a:extLst>
          </p:cNvPr>
          <p:cNvSpPr txBox="1">
            <a:spLocks noChangeArrowheads="1"/>
          </p:cNvSpPr>
          <p:nvPr/>
        </p:nvSpPr>
        <p:spPr bwMode="auto">
          <a:xfrm>
            <a:off x="7175811" y="4905279"/>
            <a:ext cx="1331523"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1pPr>
            <a:lvl2pPr marL="742950" indent="-28575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2pPr>
            <a:lvl3pPr marL="11430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3pPr>
            <a:lvl4pPr marL="16002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4pPr>
            <a:lvl5pPr marL="20574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5pPr>
            <a:lvl6pPr marL="25146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6pPr>
            <a:lvl7pPr marL="29718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7pPr>
            <a:lvl8pPr marL="34290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8pPr>
            <a:lvl9pPr marL="38862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altLang="en-US" sz="1000" b="1" i="0" u="none" strike="noStrike" kern="1200" cap="none" spc="0" normalizeH="0" baseline="0" noProof="0" dirty="0">
                <a:ln>
                  <a:noFill/>
                </a:ln>
                <a:solidFill>
                  <a:schemeClr val="accent1"/>
                </a:solidFill>
                <a:effectLst/>
                <a:uLnTx/>
                <a:uFillTx/>
                <a:latin typeface="Arial"/>
                <a:ea typeface="+mn-ea"/>
                <a:cs typeface="+mn-ea"/>
                <a:sym typeface="+mn-lt"/>
              </a:rPr>
              <a:t>Information text</a:t>
            </a:r>
          </a:p>
        </p:txBody>
      </p:sp>
      <p:sp>
        <p:nvSpPr>
          <p:cNvPr id="87" name="TextBox 46">
            <a:extLst>
              <a:ext uri="{FF2B5EF4-FFF2-40B4-BE49-F238E27FC236}">
                <a16:creationId xmlns:a16="http://schemas.microsoft.com/office/drawing/2014/main" id="{1C17CEDD-7537-4508-BBBB-F9CB232F9E31}"/>
              </a:ext>
            </a:extLst>
          </p:cNvPr>
          <p:cNvSpPr txBox="1">
            <a:spLocks noChangeArrowheads="1"/>
          </p:cNvSpPr>
          <p:nvPr/>
        </p:nvSpPr>
        <p:spPr bwMode="auto">
          <a:xfrm>
            <a:off x="7364252" y="4485432"/>
            <a:ext cx="1331523"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1pPr>
            <a:lvl2pPr marL="742950" indent="-28575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2pPr>
            <a:lvl3pPr marL="11430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3pPr>
            <a:lvl4pPr marL="16002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4pPr>
            <a:lvl5pPr marL="20574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5pPr>
            <a:lvl6pPr marL="25146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6pPr>
            <a:lvl7pPr marL="29718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7pPr>
            <a:lvl8pPr marL="34290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8pPr>
            <a:lvl9pPr marL="38862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altLang="en-US" sz="1000" b="1" i="0" u="none" strike="noStrike" kern="1200" cap="none" spc="0" normalizeH="0" baseline="0" noProof="0" dirty="0">
                <a:ln>
                  <a:noFill/>
                </a:ln>
                <a:solidFill>
                  <a:schemeClr val="accent1"/>
                </a:solidFill>
                <a:effectLst/>
                <a:uLnTx/>
                <a:uFillTx/>
                <a:latin typeface="Arial"/>
                <a:ea typeface="+mn-ea"/>
                <a:cs typeface="+mn-ea"/>
                <a:sym typeface="+mn-lt"/>
              </a:rPr>
              <a:t>Information text</a:t>
            </a:r>
          </a:p>
        </p:txBody>
      </p:sp>
      <p:sp>
        <p:nvSpPr>
          <p:cNvPr id="88" name="TextBox 46">
            <a:extLst>
              <a:ext uri="{FF2B5EF4-FFF2-40B4-BE49-F238E27FC236}">
                <a16:creationId xmlns:a16="http://schemas.microsoft.com/office/drawing/2014/main" id="{F6191C5D-3583-4BF7-A704-C7664CC518B3}"/>
              </a:ext>
            </a:extLst>
          </p:cNvPr>
          <p:cNvSpPr txBox="1">
            <a:spLocks noChangeArrowheads="1"/>
          </p:cNvSpPr>
          <p:nvPr/>
        </p:nvSpPr>
        <p:spPr bwMode="auto">
          <a:xfrm>
            <a:off x="7552694" y="4065585"/>
            <a:ext cx="1331523"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1pPr>
            <a:lvl2pPr marL="742950" indent="-28575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2pPr>
            <a:lvl3pPr marL="11430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3pPr>
            <a:lvl4pPr marL="16002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4pPr>
            <a:lvl5pPr marL="20574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5pPr>
            <a:lvl6pPr marL="25146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6pPr>
            <a:lvl7pPr marL="29718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7pPr>
            <a:lvl8pPr marL="34290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8pPr>
            <a:lvl9pPr marL="38862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altLang="en-US" sz="1000" b="1" i="0" u="none" strike="noStrike" kern="1200" cap="none" spc="0" normalizeH="0" baseline="0" noProof="0" dirty="0">
                <a:ln>
                  <a:noFill/>
                </a:ln>
                <a:solidFill>
                  <a:schemeClr val="accent1"/>
                </a:solidFill>
                <a:effectLst/>
                <a:uLnTx/>
                <a:uFillTx/>
                <a:latin typeface="Arial"/>
                <a:ea typeface="+mn-ea"/>
                <a:cs typeface="+mn-ea"/>
                <a:sym typeface="+mn-lt"/>
              </a:rPr>
              <a:t>Information text</a:t>
            </a:r>
          </a:p>
        </p:txBody>
      </p:sp>
      <p:sp>
        <p:nvSpPr>
          <p:cNvPr id="89" name="TextBox 46">
            <a:extLst>
              <a:ext uri="{FF2B5EF4-FFF2-40B4-BE49-F238E27FC236}">
                <a16:creationId xmlns:a16="http://schemas.microsoft.com/office/drawing/2014/main" id="{0F62C184-B0C4-4D79-BDFE-1AAB2082857E}"/>
              </a:ext>
            </a:extLst>
          </p:cNvPr>
          <p:cNvSpPr txBox="1">
            <a:spLocks noChangeArrowheads="1"/>
          </p:cNvSpPr>
          <p:nvPr/>
        </p:nvSpPr>
        <p:spPr bwMode="auto">
          <a:xfrm>
            <a:off x="1570082" y="1236425"/>
            <a:ext cx="1331523"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1pPr>
            <a:lvl2pPr marL="742950" indent="-28575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2pPr>
            <a:lvl3pPr marL="11430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3pPr>
            <a:lvl4pPr marL="16002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4pPr>
            <a:lvl5pPr marL="20574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5pPr>
            <a:lvl6pPr marL="25146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6pPr>
            <a:lvl7pPr marL="29718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7pPr>
            <a:lvl8pPr marL="34290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8pPr>
            <a:lvl9pPr marL="38862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000" b="1" i="0" u="none" strike="noStrike" kern="1200" cap="none" spc="0" normalizeH="0" baseline="0" noProof="0" dirty="0">
                <a:ln>
                  <a:noFill/>
                </a:ln>
                <a:solidFill>
                  <a:srgbClr val="FFFFFF"/>
                </a:solidFill>
                <a:effectLst/>
                <a:uLnTx/>
                <a:uFillTx/>
                <a:latin typeface="Arial"/>
                <a:ea typeface="+mn-ea"/>
                <a:cs typeface="+mn-ea"/>
                <a:sym typeface="+mn-lt"/>
              </a:rPr>
              <a:t>Information text</a:t>
            </a:r>
          </a:p>
        </p:txBody>
      </p:sp>
      <p:sp>
        <p:nvSpPr>
          <p:cNvPr id="90" name="TextBox 46">
            <a:extLst>
              <a:ext uri="{FF2B5EF4-FFF2-40B4-BE49-F238E27FC236}">
                <a16:creationId xmlns:a16="http://schemas.microsoft.com/office/drawing/2014/main" id="{9455B03D-9D23-43DF-9417-64C9CB7D2C6C}"/>
              </a:ext>
            </a:extLst>
          </p:cNvPr>
          <p:cNvSpPr txBox="1">
            <a:spLocks noChangeArrowheads="1"/>
          </p:cNvSpPr>
          <p:nvPr/>
        </p:nvSpPr>
        <p:spPr bwMode="auto">
          <a:xfrm>
            <a:off x="3405578" y="1236425"/>
            <a:ext cx="1331523"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1pPr>
            <a:lvl2pPr marL="742950" indent="-28575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2pPr>
            <a:lvl3pPr marL="11430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3pPr>
            <a:lvl4pPr marL="16002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4pPr>
            <a:lvl5pPr marL="20574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5pPr>
            <a:lvl6pPr marL="25146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6pPr>
            <a:lvl7pPr marL="29718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7pPr>
            <a:lvl8pPr marL="34290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8pPr>
            <a:lvl9pPr marL="38862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000" b="1" i="0" u="none" strike="noStrike" kern="1200" cap="none" spc="0" normalizeH="0" baseline="0" noProof="0" dirty="0">
                <a:ln>
                  <a:noFill/>
                </a:ln>
                <a:solidFill>
                  <a:srgbClr val="FFFFFF"/>
                </a:solidFill>
                <a:effectLst/>
                <a:uLnTx/>
                <a:uFillTx/>
                <a:latin typeface="Arial"/>
                <a:ea typeface="+mn-ea"/>
                <a:cs typeface="+mn-ea"/>
                <a:sym typeface="+mn-lt"/>
              </a:rPr>
              <a:t>Information text</a:t>
            </a:r>
          </a:p>
        </p:txBody>
      </p:sp>
      <p:sp>
        <p:nvSpPr>
          <p:cNvPr id="91" name="TextBox 46">
            <a:extLst>
              <a:ext uri="{FF2B5EF4-FFF2-40B4-BE49-F238E27FC236}">
                <a16:creationId xmlns:a16="http://schemas.microsoft.com/office/drawing/2014/main" id="{574437FA-0FC2-4E54-A215-1846920D221B}"/>
              </a:ext>
            </a:extLst>
          </p:cNvPr>
          <p:cNvSpPr txBox="1">
            <a:spLocks noChangeArrowheads="1"/>
          </p:cNvSpPr>
          <p:nvPr/>
        </p:nvSpPr>
        <p:spPr bwMode="auto">
          <a:xfrm>
            <a:off x="5128086" y="1236425"/>
            <a:ext cx="1331523"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1pPr>
            <a:lvl2pPr marL="742950" indent="-28575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2pPr>
            <a:lvl3pPr marL="11430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3pPr>
            <a:lvl4pPr marL="16002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4pPr>
            <a:lvl5pPr marL="20574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5pPr>
            <a:lvl6pPr marL="25146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6pPr>
            <a:lvl7pPr marL="29718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7pPr>
            <a:lvl8pPr marL="34290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8pPr>
            <a:lvl9pPr marL="38862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000" b="1" i="0" u="none" strike="noStrike" kern="1200" cap="none" spc="0" normalizeH="0" baseline="0" noProof="0" dirty="0">
                <a:ln>
                  <a:noFill/>
                </a:ln>
                <a:solidFill>
                  <a:srgbClr val="FFFFFF"/>
                </a:solidFill>
                <a:effectLst/>
                <a:uLnTx/>
                <a:uFillTx/>
                <a:latin typeface="Arial"/>
                <a:ea typeface="+mn-ea"/>
                <a:cs typeface="+mn-ea"/>
                <a:sym typeface="+mn-lt"/>
              </a:rPr>
              <a:t>Information text</a:t>
            </a:r>
          </a:p>
        </p:txBody>
      </p:sp>
      <p:sp>
        <p:nvSpPr>
          <p:cNvPr id="92" name="TextBox 46">
            <a:extLst>
              <a:ext uri="{FF2B5EF4-FFF2-40B4-BE49-F238E27FC236}">
                <a16:creationId xmlns:a16="http://schemas.microsoft.com/office/drawing/2014/main" id="{3BB96F2E-FE16-4548-B27D-74E595437211}"/>
              </a:ext>
            </a:extLst>
          </p:cNvPr>
          <p:cNvSpPr txBox="1">
            <a:spLocks noChangeArrowheads="1"/>
          </p:cNvSpPr>
          <p:nvPr/>
        </p:nvSpPr>
        <p:spPr bwMode="auto">
          <a:xfrm>
            <a:off x="6897314" y="1236425"/>
            <a:ext cx="1331523"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1pPr>
            <a:lvl2pPr marL="742950" indent="-28575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2pPr>
            <a:lvl3pPr marL="11430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3pPr>
            <a:lvl4pPr marL="16002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4pPr>
            <a:lvl5pPr marL="20574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5pPr>
            <a:lvl6pPr marL="25146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6pPr>
            <a:lvl7pPr marL="29718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7pPr>
            <a:lvl8pPr marL="34290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8pPr>
            <a:lvl9pPr marL="38862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000" b="1" i="0" u="none" strike="noStrike" kern="1200" cap="none" spc="0" normalizeH="0" baseline="0" noProof="0" dirty="0">
                <a:ln>
                  <a:noFill/>
                </a:ln>
                <a:solidFill>
                  <a:srgbClr val="FFFFFF"/>
                </a:solidFill>
                <a:effectLst/>
                <a:uLnTx/>
                <a:uFillTx/>
                <a:latin typeface="Arial"/>
                <a:ea typeface="+mn-ea"/>
                <a:cs typeface="+mn-ea"/>
                <a:sym typeface="+mn-lt"/>
              </a:rPr>
              <a:t>Information text</a:t>
            </a:r>
          </a:p>
        </p:txBody>
      </p:sp>
      <p:sp>
        <p:nvSpPr>
          <p:cNvPr id="93" name="TextBox 46">
            <a:extLst>
              <a:ext uri="{FF2B5EF4-FFF2-40B4-BE49-F238E27FC236}">
                <a16:creationId xmlns:a16="http://schemas.microsoft.com/office/drawing/2014/main" id="{20D1A0B2-5979-4275-B6AD-822BC85AAFE8}"/>
              </a:ext>
            </a:extLst>
          </p:cNvPr>
          <p:cNvSpPr txBox="1">
            <a:spLocks noChangeArrowheads="1"/>
          </p:cNvSpPr>
          <p:nvPr/>
        </p:nvSpPr>
        <p:spPr bwMode="auto">
          <a:xfrm>
            <a:off x="1570082" y="5687520"/>
            <a:ext cx="1331523"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1pPr>
            <a:lvl2pPr marL="742950" indent="-28575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2pPr>
            <a:lvl3pPr marL="11430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3pPr>
            <a:lvl4pPr marL="16002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4pPr>
            <a:lvl5pPr marL="20574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5pPr>
            <a:lvl6pPr marL="25146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6pPr>
            <a:lvl7pPr marL="29718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7pPr>
            <a:lvl8pPr marL="34290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8pPr>
            <a:lvl9pPr marL="38862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000" b="1" i="0" u="none" strike="noStrike" kern="1200" cap="none" spc="0" normalizeH="0" baseline="0" noProof="0" dirty="0">
                <a:ln>
                  <a:noFill/>
                </a:ln>
                <a:solidFill>
                  <a:srgbClr val="FFFFFF"/>
                </a:solidFill>
                <a:effectLst/>
                <a:uLnTx/>
                <a:uFillTx/>
                <a:latin typeface="Arial"/>
                <a:ea typeface="+mn-ea"/>
                <a:cs typeface="+mn-ea"/>
                <a:sym typeface="+mn-lt"/>
              </a:rPr>
              <a:t>Information text</a:t>
            </a:r>
          </a:p>
        </p:txBody>
      </p:sp>
      <p:sp>
        <p:nvSpPr>
          <p:cNvPr id="94" name="TextBox 46">
            <a:extLst>
              <a:ext uri="{FF2B5EF4-FFF2-40B4-BE49-F238E27FC236}">
                <a16:creationId xmlns:a16="http://schemas.microsoft.com/office/drawing/2014/main" id="{E946FEC0-BD86-45C9-A370-44413D1E908A}"/>
              </a:ext>
            </a:extLst>
          </p:cNvPr>
          <p:cNvSpPr txBox="1">
            <a:spLocks noChangeArrowheads="1"/>
          </p:cNvSpPr>
          <p:nvPr/>
        </p:nvSpPr>
        <p:spPr bwMode="auto">
          <a:xfrm>
            <a:off x="3405578" y="5687520"/>
            <a:ext cx="1331523"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1pPr>
            <a:lvl2pPr marL="742950" indent="-28575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2pPr>
            <a:lvl3pPr marL="11430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3pPr>
            <a:lvl4pPr marL="16002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4pPr>
            <a:lvl5pPr marL="20574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5pPr>
            <a:lvl6pPr marL="25146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6pPr>
            <a:lvl7pPr marL="29718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7pPr>
            <a:lvl8pPr marL="34290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8pPr>
            <a:lvl9pPr marL="38862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000" b="1" i="0" u="none" strike="noStrike" kern="1200" cap="none" spc="0" normalizeH="0" baseline="0" noProof="0" dirty="0">
                <a:ln>
                  <a:noFill/>
                </a:ln>
                <a:solidFill>
                  <a:srgbClr val="FFFFFF"/>
                </a:solidFill>
                <a:effectLst/>
                <a:uLnTx/>
                <a:uFillTx/>
                <a:latin typeface="Arial"/>
                <a:ea typeface="+mn-ea"/>
                <a:cs typeface="+mn-ea"/>
                <a:sym typeface="+mn-lt"/>
              </a:rPr>
              <a:t>Information text</a:t>
            </a:r>
          </a:p>
        </p:txBody>
      </p:sp>
      <p:sp>
        <p:nvSpPr>
          <p:cNvPr id="95" name="TextBox 46">
            <a:extLst>
              <a:ext uri="{FF2B5EF4-FFF2-40B4-BE49-F238E27FC236}">
                <a16:creationId xmlns:a16="http://schemas.microsoft.com/office/drawing/2014/main" id="{3837F4F4-647F-40AF-B55F-C3CC096B8EBA}"/>
              </a:ext>
            </a:extLst>
          </p:cNvPr>
          <p:cNvSpPr txBox="1">
            <a:spLocks noChangeArrowheads="1"/>
          </p:cNvSpPr>
          <p:nvPr/>
        </p:nvSpPr>
        <p:spPr bwMode="auto">
          <a:xfrm>
            <a:off x="5128086" y="5687520"/>
            <a:ext cx="1331523"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1pPr>
            <a:lvl2pPr marL="742950" indent="-28575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2pPr>
            <a:lvl3pPr marL="11430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3pPr>
            <a:lvl4pPr marL="16002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4pPr>
            <a:lvl5pPr marL="20574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5pPr>
            <a:lvl6pPr marL="25146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6pPr>
            <a:lvl7pPr marL="29718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7pPr>
            <a:lvl8pPr marL="34290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8pPr>
            <a:lvl9pPr marL="38862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000" b="1" i="0" u="none" strike="noStrike" kern="1200" cap="none" spc="0" normalizeH="0" baseline="0" noProof="0" dirty="0">
                <a:ln>
                  <a:noFill/>
                </a:ln>
                <a:solidFill>
                  <a:srgbClr val="FFFFFF"/>
                </a:solidFill>
                <a:effectLst/>
                <a:uLnTx/>
                <a:uFillTx/>
                <a:latin typeface="Arial"/>
                <a:ea typeface="+mn-ea"/>
                <a:cs typeface="+mn-ea"/>
                <a:sym typeface="+mn-lt"/>
              </a:rPr>
              <a:t>Information text</a:t>
            </a:r>
          </a:p>
        </p:txBody>
      </p:sp>
      <p:sp>
        <p:nvSpPr>
          <p:cNvPr id="96" name="TextBox 46">
            <a:extLst>
              <a:ext uri="{FF2B5EF4-FFF2-40B4-BE49-F238E27FC236}">
                <a16:creationId xmlns:a16="http://schemas.microsoft.com/office/drawing/2014/main" id="{46FE793A-D462-430E-8A79-6351016CD5CB}"/>
              </a:ext>
            </a:extLst>
          </p:cNvPr>
          <p:cNvSpPr txBox="1">
            <a:spLocks noChangeArrowheads="1"/>
          </p:cNvSpPr>
          <p:nvPr/>
        </p:nvSpPr>
        <p:spPr bwMode="auto">
          <a:xfrm>
            <a:off x="6897314" y="5687520"/>
            <a:ext cx="1331523"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1pPr>
            <a:lvl2pPr marL="742950" indent="-28575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2pPr>
            <a:lvl3pPr marL="11430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3pPr>
            <a:lvl4pPr marL="16002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4pPr>
            <a:lvl5pPr marL="20574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5pPr>
            <a:lvl6pPr marL="25146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6pPr>
            <a:lvl7pPr marL="29718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7pPr>
            <a:lvl8pPr marL="34290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8pPr>
            <a:lvl9pPr marL="38862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000" b="1" i="0" u="none" strike="noStrike" kern="1200" cap="none" spc="0" normalizeH="0" baseline="0" noProof="0" dirty="0">
                <a:ln>
                  <a:noFill/>
                </a:ln>
                <a:solidFill>
                  <a:srgbClr val="FFFFFF"/>
                </a:solidFill>
                <a:effectLst/>
                <a:uLnTx/>
                <a:uFillTx/>
                <a:latin typeface="Arial"/>
                <a:ea typeface="+mn-ea"/>
                <a:cs typeface="+mn-ea"/>
                <a:sym typeface="+mn-lt"/>
              </a:rPr>
              <a:t>Information text</a:t>
            </a:r>
          </a:p>
        </p:txBody>
      </p:sp>
      <p:sp>
        <p:nvSpPr>
          <p:cNvPr id="97" name="TextBox 46">
            <a:extLst>
              <a:ext uri="{FF2B5EF4-FFF2-40B4-BE49-F238E27FC236}">
                <a16:creationId xmlns:a16="http://schemas.microsoft.com/office/drawing/2014/main" id="{61275152-9136-42A6-BCF7-4A0C94A384C5}"/>
              </a:ext>
            </a:extLst>
          </p:cNvPr>
          <p:cNvSpPr txBox="1">
            <a:spLocks noChangeArrowheads="1"/>
          </p:cNvSpPr>
          <p:nvPr/>
        </p:nvSpPr>
        <p:spPr bwMode="auto">
          <a:xfrm>
            <a:off x="9942740" y="3398123"/>
            <a:ext cx="836748"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1pPr>
            <a:lvl2pPr marL="742950" indent="-28575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2pPr>
            <a:lvl3pPr marL="11430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3pPr>
            <a:lvl4pPr marL="16002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4pPr>
            <a:lvl5pPr marL="20574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5pPr>
            <a:lvl6pPr marL="25146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6pPr>
            <a:lvl7pPr marL="29718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7pPr>
            <a:lvl8pPr marL="34290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8pPr>
            <a:lvl9pPr marL="38862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800" b="1" i="0" u="none" strike="noStrike" kern="1200" cap="none" spc="0" normalizeH="0" baseline="0" noProof="0">
                <a:ln>
                  <a:noFill/>
                </a:ln>
                <a:solidFill>
                  <a:srgbClr val="FFFFFF"/>
                </a:solidFill>
                <a:effectLst/>
                <a:uLnTx/>
                <a:uFillTx/>
                <a:latin typeface="Arial"/>
                <a:ea typeface="+mn-ea"/>
                <a:cs typeface="+mn-ea"/>
                <a:sym typeface="+mn-lt"/>
              </a:rPr>
              <a:t>text</a:t>
            </a:r>
            <a:endParaRPr kumimoji="0" lang="en-US" altLang="en-US" sz="1800" b="1" i="0" u="none" strike="noStrike" kern="1200" cap="none" spc="0" normalizeH="0" baseline="0" noProof="0" dirty="0">
              <a:ln>
                <a:noFill/>
              </a:ln>
              <a:solidFill>
                <a:srgbClr val="FFFFFF"/>
              </a:solidFill>
              <a:effectLst/>
              <a:uLnTx/>
              <a:uFillTx/>
              <a:latin typeface="Arial"/>
              <a:ea typeface="+mn-ea"/>
              <a:cs typeface="+mn-ea"/>
              <a:sym typeface="+mn-lt"/>
            </a:endParaRPr>
          </a:p>
        </p:txBody>
      </p:sp>
    </p:spTree>
    <p:extLst>
      <p:ext uri="{BB962C8B-B14F-4D97-AF65-F5344CB8AC3E}">
        <p14:creationId xmlns:p14="http://schemas.microsoft.com/office/powerpoint/2010/main" val="4101167405"/>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7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 name="Фигура">
            <a:extLst>
              <a:ext uri="{FF2B5EF4-FFF2-40B4-BE49-F238E27FC236}">
                <a16:creationId xmlns:a16="http://schemas.microsoft.com/office/drawing/2014/main" id="{29C12D57-5F1D-408A-8FBA-9523563009D2}"/>
              </a:ext>
            </a:extLst>
          </p:cNvPr>
          <p:cNvSpPr/>
          <p:nvPr/>
        </p:nvSpPr>
        <p:spPr>
          <a:xfrm rot="159853" flipH="1">
            <a:off x="774730" y="3883363"/>
            <a:ext cx="2159612" cy="2419801"/>
          </a:xfrm>
          <a:custGeom>
            <a:avLst/>
            <a:gdLst/>
            <a:ahLst/>
            <a:cxnLst>
              <a:cxn ang="0">
                <a:pos x="wd2" y="hd2"/>
              </a:cxn>
              <a:cxn ang="5400000">
                <a:pos x="wd2" y="hd2"/>
              </a:cxn>
              <a:cxn ang="10800000">
                <a:pos x="wd2" y="hd2"/>
              </a:cxn>
              <a:cxn ang="16200000">
                <a:pos x="wd2" y="hd2"/>
              </a:cxn>
            </a:cxnLst>
            <a:rect l="0" t="0" r="r" b="b"/>
            <a:pathLst>
              <a:path w="21111" h="21600" extrusionOk="0">
                <a:moveTo>
                  <a:pt x="21111" y="7075"/>
                </a:moveTo>
                <a:cubicBezTo>
                  <a:pt x="18769" y="5156"/>
                  <a:pt x="15859" y="3543"/>
                  <a:pt x="12543" y="2324"/>
                </a:cubicBezTo>
                <a:cubicBezTo>
                  <a:pt x="9336" y="1145"/>
                  <a:pt x="5806" y="357"/>
                  <a:pt x="2138" y="0"/>
                </a:cubicBezTo>
                <a:cubicBezTo>
                  <a:pt x="1077" y="2134"/>
                  <a:pt x="406" y="4337"/>
                  <a:pt x="136" y="6566"/>
                </a:cubicBezTo>
                <a:cubicBezTo>
                  <a:pt x="-489" y="11737"/>
                  <a:pt x="1043" y="16920"/>
                  <a:pt x="4579" y="21600"/>
                </a:cubicBezTo>
                <a:cubicBezTo>
                  <a:pt x="5605" y="19600"/>
                  <a:pt x="6432" y="17562"/>
                  <a:pt x="7056" y="15497"/>
                </a:cubicBezTo>
                <a:cubicBezTo>
                  <a:pt x="7696" y="13378"/>
                  <a:pt x="8120" y="11236"/>
                  <a:pt x="8326" y="9084"/>
                </a:cubicBezTo>
                <a:cubicBezTo>
                  <a:pt x="10368" y="8457"/>
                  <a:pt x="12511" y="7970"/>
                  <a:pt x="14718" y="7631"/>
                </a:cubicBezTo>
                <a:cubicBezTo>
                  <a:pt x="16814" y="7309"/>
                  <a:pt x="18956" y="7123"/>
                  <a:pt x="21111" y="7075"/>
                </a:cubicBezTo>
                <a:close/>
              </a:path>
            </a:pathLst>
          </a:custGeom>
          <a:solidFill>
            <a:schemeClr val="accent1">
              <a:lumMod val="40000"/>
              <a:lumOff val="60000"/>
            </a:schemeClr>
          </a:solidFill>
          <a:ln w="25400">
            <a:noFill/>
            <a:miter lim="400000"/>
          </a:ln>
        </p:spPr>
        <p:txBody>
          <a:bodyPr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1600" b="0" i="0" u="none" strike="noStrike" kern="1200" cap="none" spc="0" normalizeH="0" baseline="0" noProof="0">
              <a:ln>
                <a:noFill/>
              </a:ln>
              <a:solidFill>
                <a:srgbClr val="FFFFFF"/>
              </a:solidFill>
              <a:effectLst/>
              <a:uLnTx/>
              <a:uFillTx/>
              <a:latin typeface="Arial"/>
              <a:cs typeface="+mn-ea"/>
              <a:sym typeface="+mn-lt"/>
            </a:endParaRPr>
          </a:p>
        </p:txBody>
      </p:sp>
      <p:sp>
        <p:nvSpPr>
          <p:cNvPr id="63" name="Фигура">
            <a:extLst>
              <a:ext uri="{FF2B5EF4-FFF2-40B4-BE49-F238E27FC236}">
                <a16:creationId xmlns:a16="http://schemas.microsoft.com/office/drawing/2014/main" id="{78EAB0D7-15BF-4BB8-88C4-09BC1B9189F2}"/>
              </a:ext>
            </a:extLst>
          </p:cNvPr>
          <p:cNvSpPr/>
          <p:nvPr/>
        </p:nvSpPr>
        <p:spPr>
          <a:xfrm rot="159853">
            <a:off x="2592070" y="554836"/>
            <a:ext cx="9041225" cy="4132919"/>
          </a:xfrm>
          <a:custGeom>
            <a:avLst/>
            <a:gdLst/>
            <a:ahLst/>
            <a:cxnLst>
              <a:cxn ang="0">
                <a:pos x="wd2" y="hd2"/>
              </a:cxn>
              <a:cxn ang="5400000">
                <a:pos x="wd2" y="hd2"/>
              </a:cxn>
              <a:cxn ang="10800000">
                <a:pos x="wd2" y="hd2"/>
              </a:cxn>
              <a:cxn ang="16200000">
                <a:pos x="wd2" y="hd2"/>
              </a:cxn>
            </a:cxnLst>
            <a:rect l="0" t="0" r="r" b="b"/>
            <a:pathLst>
              <a:path w="21600" h="21600" extrusionOk="0">
                <a:moveTo>
                  <a:pt x="21600" y="10593"/>
                </a:moveTo>
                <a:cubicBezTo>
                  <a:pt x="21181" y="8723"/>
                  <a:pt x="20319" y="7887"/>
                  <a:pt x="19520" y="7045"/>
                </a:cubicBezTo>
                <a:cubicBezTo>
                  <a:pt x="18515" y="5986"/>
                  <a:pt x="17405" y="5541"/>
                  <a:pt x="16301" y="5127"/>
                </a:cubicBezTo>
                <a:cubicBezTo>
                  <a:pt x="15429" y="4800"/>
                  <a:pt x="14556" y="4487"/>
                  <a:pt x="13678" y="4288"/>
                </a:cubicBezTo>
                <a:cubicBezTo>
                  <a:pt x="12723" y="4070"/>
                  <a:pt x="11761" y="3986"/>
                  <a:pt x="10798" y="4037"/>
                </a:cubicBezTo>
                <a:cubicBezTo>
                  <a:pt x="10522" y="3223"/>
                  <a:pt x="10200" y="2489"/>
                  <a:pt x="9838" y="1854"/>
                </a:cubicBezTo>
                <a:cubicBezTo>
                  <a:pt x="9393" y="1071"/>
                  <a:pt x="8895" y="445"/>
                  <a:pt x="8361" y="0"/>
                </a:cubicBezTo>
                <a:cubicBezTo>
                  <a:pt x="8241" y="1052"/>
                  <a:pt x="8038" y="2049"/>
                  <a:pt x="7761" y="2948"/>
                </a:cubicBezTo>
                <a:cubicBezTo>
                  <a:pt x="7439" y="3990"/>
                  <a:pt x="7024" y="4878"/>
                  <a:pt x="6541" y="5560"/>
                </a:cubicBezTo>
                <a:cubicBezTo>
                  <a:pt x="4954" y="6386"/>
                  <a:pt x="3509" y="8185"/>
                  <a:pt x="2373" y="10744"/>
                </a:cubicBezTo>
                <a:cubicBezTo>
                  <a:pt x="1061" y="13699"/>
                  <a:pt x="228" y="17512"/>
                  <a:pt x="0" y="21600"/>
                </a:cubicBezTo>
                <a:cubicBezTo>
                  <a:pt x="313" y="20492"/>
                  <a:pt x="745" y="19570"/>
                  <a:pt x="1258" y="18910"/>
                </a:cubicBezTo>
                <a:cubicBezTo>
                  <a:pt x="2722" y="17028"/>
                  <a:pt x="4485" y="17491"/>
                  <a:pt x="6143" y="18065"/>
                </a:cubicBezTo>
                <a:cubicBezTo>
                  <a:pt x="6404" y="18156"/>
                  <a:pt x="6665" y="18248"/>
                  <a:pt x="6926" y="18342"/>
                </a:cubicBezTo>
                <a:cubicBezTo>
                  <a:pt x="6910" y="18896"/>
                  <a:pt x="6838" y="19436"/>
                  <a:pt x="6716" y="19923"/>
                </a:cubicBezTo>
                <a:cubicBezTo>
                  <a:pt x="6577" y="20473"/>
                  <a:pt x="6379" y="20940"/>
                  <a:pt x="6138" y="21281"/>
                </a:cubicBezTo>
                <a:cubicBezTo>
                  <a:pt x="6768" y="21416"/>
                  <a:pt x="7403" y="21177"/>
                  <a:pt x="7976" y="20587"/>
                </a:cubicBezTo>
                <a:cubicBezTo>
                  <a:pt x="8400" y="20151"/>
                  <a:pt x="8780" y="19532"/>
                  <a:pt x="9093" y="18768"/>
                </a:cubicBezTo>
                <a:cubicBezTo>
                  <a:pt x="9606" y="18812"/>
                  <a:pt x="10119" y="18818"/>
                  <a:pt x="10632" y="18784"/>
                </a:cubicBezTo>
                <a:cubicBezTo>
                  <a:pt x="11201" y="18746"/>
                  <a:pt x="11770" y="18660"/>
                  <a:pt x="12336" y="18526"/>
                </a:cubicBezTo>
                <a:cubicBezTo>
                  <a:pt x="12311" y="18885"/>
                  <a:pt x="12263" y="19234"/>
                  <a:pt x="12194" y="19564"/>
                </a:cubicBezTo>
                <a:cubicBezTo>
                  <a:pt x="12121" y="19912"/>
                  <a:pt x="12025" y="20235"/>
                  <a:pt x="11910" y="20523"/>
                </a:cubicBezTo>
                <a:cubicBezTo>
                  <a:pt x="12492" y="20514"/>
                  <a:pt x="13064" y="20205"/>
                  <a:pt x="13581" y="19620"/>
                </a:cubicBezTo>
                <a:cubicBezTo>
                  <a:pt x="13960" y="19191"/>
                  <a:pt x="14302" y="18621"/>
                  <a:pt x="14592" y="17936"/>
                </a:cubicBezTo>
                <a:cubicBezTo>
                  <a:pt x="15618" y="17815"/>
                  <a:pt x="16630" y="17553"/>
                  <a:pt x="17624" y="17158"/>
                </a:cubicBezTo>
                <a:cubicBezTo>
                  <a:pt x="18646" y="16752"/>
                  <a:pt x="19681" y="16189"/>
                  <a:pt x="20553" y="14868"/>
                </a:cubicBezTo>
                <a:cubicBezTo>
                  <a:pt x="20927" y="14301"/>
                  <a:pt x="21257" y="13606"/>
                  <a:pt x="21531" y="12811"/>
                </a:cubicBezTo>
                <a:lnTo>
                  <a:pt x="19683" y="12929"/>
                </a:lnTo>
                <a:cubicBezTo>
                  <a:pt x="19975" y="12401"/>
                  <a:pt x="20289" y="11934"/>
                  <a:pt x="20620" y="11535"/>
                </a:cubicBezTo>
                <a:cubicBezTo>
                  <a:pt x="20933" y="11158"/>
                  <a:pt x="21261" y="10843"/>
                  <a:pt x="21600" y="10593"/>
                </a:cubicBezTo>
                <a:close/>
              </a:path>
            </a:pathLst>
          </a:custGeom>
          <a:solidFill>
            <a:schemeClr val="accent1">
              <a:lumMod val="20000"/>
              <a:lumOff val="80000"/>
            </a:schemeClr>
          </a:solidFill>
          <a:ln w="25400">
            <a:noFill/>
            <a:miter lim="400000"/>
          </a:ln>
        </p:spPr>
        <p:txBody>
          <a:bodyPr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1600" b="0" i="0" u="none" strike="noStrike" kern="1200" cap="none" spc="0" normalizeH="0" baseline="0" noProof="0" dirty="0">
              <a:ln>
                <a:noFill/>
              </a:ln>
              <a:solidFill>
                <a:srgbClr val="FFFFFF"/>
              </a:solidFill>
              <a:effectLst/>
              <a:uLnTx/>
              <a:uFillTx/>
              <a:latin typeface="Arial"/>
              <a:cs typeface="+mn-ea"/>
              <a:sym typeface="+mn-lt"/>
            </a:endParaRPr>
          </a:p>
        </p:txBody>
      </p:sp>
      <p:sp>
        <p:nvSpPr>
          <p:cNvPr id="64" name="Кружок">
            <a:extLst>
              <a:ext uri="{FF2B5EF4-FFF2-40B4-BE49-F238E27FC236}">
                <a16:creationId xmlns:a16="http://schemas.microsoft.com/office/drawing/2014/main" id="{A28E34B7-CCA6-4AE9-963A-FC5C4471139F}"/>
              </a:ext>
            </a:extLst>
          </p:cNvPr>
          <p:cNvSpPr/>
          <p:nvPr/>
        </p:nvSpPr>
        <p:spPr>
          <a:xfrm rot="159853">
            <a:off x="10198547" y="2236665"/>
            <a:ext cx="453002" cy="453002"/>
          </a:xfrm>
          <a:prstGeom prst="ellipse">
            <a:avLst/>
          </a:prstGeom>
          <a:solidFill>
            <a:srgbClr val="FFFFFF"/>
          </a:solidFill>
          <a:ln w="25400">
            <a:noFill/>
            <a:miter lim="400000"/>
          </a:ln>
        </p:spPr>
        <p:txBody>
          <a:bodyPr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1600" b="0" i="0" u="none" strike="noStrike" kern="1200" cap="none" spc="0" normalizeH="0" baseline="0" noProof="0">
              <a:ln>
                <a:noFill/>
              </a:ln>
              <a:solidFill>
                <a:srgbClr val="FFFFFF"/>
              </a:solidFill>
              <a:effectLst/>
              <a:uLnTx/>
              <a:uFillTx/>
              <a:latin typeface="Arial"/>
              <a:cs typeface="+mn-ea"/>
              <a:sym typeface="+mn-lt"/>
            </a:endParaRPr>
          </a:p>
        </p:txBody>
      </p:sp>
      <p:sp>
        <p:nvSpPr>
          <p:cNvPr id="65" name="Кружок">
            <a:extLst>
              <a:ext uri="{FF2B5EF4-FFF2-40B4-BE49-F238E27FC236}">
                <a16:creationId xmlns:a16="http://schemas.microsoft.com/office/drawing/2014/main" id="{DB61D0A1-F23B-4C68-8F53-98D0A7B5442C}"/>
              </a:ext>
            </a:extLst>
          </p:cNvPr>
          <p:cNvSpPr/>
          <p:nvPr/>
        </p:nvSpPr>
        <p:spPr>
          <a:xfrm rot="159853">
            <a:off x="10413116" y="2356999"/>
            <a:ext cx="200459" cy="200459"/>
          </a:xfrm>
          <a:prstGeom prst="ellipse">
            <a:avLst/>
          </a:prstGeom>
          <a:solidFill>
            <a:schemeClr val="accent1">
              <a:lumMod val="40000"/>
              <a:lumOff val="60000"/>
            </a:schemeClr>
          </a:solidFill>
          <a:ln w="25400">
            <a:noFill/>
            <a:miter lim="400000"/>
          </a:ln>
        </p:spPr>
        <p:txBody>
          <a:bodyPr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1600" b="0" i="0" u="none" strike="noStrike" kern="1200" cap="none" spc="0" normalizeH="0" baseline="0" noProof="0">
              <a:ln>
                <a:noFill/>
              </a:ln>
              <a:solidFill>
                <a:srgbClr val="FFFFFF"/>
              </a:solidFill>
              <a:effectLst/>
              <a:uLnTx/>
              <a:uFillTx/>
              <a:latin typeface="Arial"/>
              <a:cs typeface="+mn-ea"/>
              <a:sym typeface="+mn-lt"/>
            </a:endParaRPr>
          </a:p>
        </p:txBody>
      </p:sp>
      <p:sp>
        <p:nvSpPr>
          <p:cNvPr id="4" name="Фигура">
            <a:extLst>
              <a:ext uri="{FF2B5EF4-FFF2-40B4-BE49-F238E27FC236}">
                <a16:creationId xmlns:a16="http://schemas.microsoft.com/office/drawing/2014/main" id="{886C55AB-2801-40B2-98DC-6DDB32C4666B}"/>
              </a:ext>
            </a:extLst>
          </p:cNvPr>
          <p:cNvSpPr/>
          <p:nvPr/>
        </p:nvSpPr>
        <p:spPr>
          <a:xfrm rot="159853">
            <a:off x="9077686" y="2042121"/>
            <a:ext cx="567189" cy="1819496"/>
          </a:xfrm>
          <a:custGeom>
            <a:avLst/>
            <a:gdLst/>
            <a:ahLst/>
            <a:cxnLst>
              <a:cxn ang="0">
                <a:pos x="wd2" y="hd2"/>
              </a:cxn>
              <a:cxn ang="5400000">
                <a:pos x="wd2" y="hd2"/>
              </a:cxn>
              <a:cxn ang="10800000">
                <a:pos x="wd2" y="hd2"/>
              </a:cxn>
              <a:cxn ang="16200000">
                <a:pos x="wd2" y="hd2"/>
              </a:cxn>
            </a:cxnLst>
            <a:rect l="0" t="0" r="r" b="b"/>
            <a:pathLst>
              <a:path w="21496" h="21600" extrusionOk="0">
                <a:moveTo>
                  <a:pt x="14820" y="0"/>
                </a:moveTo>
                <a:cubicBezTo>
                  <a:pt x="5446" y="2851"/>
                  <a:pt x="109" y="6759"/>
                  <a:pt x="1" y="10852"/>
                </a:cubicBezTo>
                <a:cubicBezTo>
                  <a:pt x="-104" y="14859"/>
                  <a:pt x="4819" y="18719"/>
                  <a:pt x="13710" y="21600"/>
                </a:cubicBezTo>
                <a:cubicBezTo>
                  <a:pt x="7461" y="18392"/>
                  <a:pt x="4730" y="14633"/>
                  <a:pt x="5933" y="10894"/>
                </a:cubicBezTo>
                <a:cubicBezTo>
                  <a:pt x="7193" y="6980"/>
                  <a:pt x="12683" y="3317"/>
                  <a:pt x="21496" y="514"/>
                </a:cubicBezTo>
                <a:lnTo>
                  <a:pt x="14820" y="0"/>
                </a:lnTo>
                <a:close/>
              </a:path>
            </a:pathLst>
          </a:custGeom>
          <a:solidFill>
            <a:srgbClr val="FFFFFF"/>
          </a:solidFill>
          <a:ln w="25400">
            <a:noFill/>
            <a:miter lim="400000"/>
          </a:ln>
        </p:spPr>
        <p:txBody>
          <a:bodyPr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1600" b="0" i="0" u="none" strike="noStrike" kern="1200" cap="none" spc="0" normalizeH="0" baseline="0" noProof="0">
              <a:ln>
                <a:noFill/>
              </a:ln>
              <a:solidFill>
                <a:srgbClr val="FFFFFF"/>
              </a:solidFill>
              <a:effectLst/>
              <a:uLnTx/>
              <a:uFillTx/>
              <a:latin typeface="Arial"/>
              <a:cs typeface="+mn-ea"/>
              <a:sym typeface="+mn-lt"/>
            </a:endParaRPr>
          </a:p>
        </p:txBody>
      </p:sp>
      <p:sp>
        <p:nvSpPr>
          <p:cNvPr id="6" name="Shape 47">
            <a:extLst>
              <a:ext uri="{FF2B5EF4-FFF2-40B4-BE49-F238E27FC236}">
                <a16:creationId xmlns:a16="http://schemas.microsoft.com/office/drawing/2014/main" id="{C10D89D4-36CC-4FFA-8337-A1C7438A66CA}"/>
              </a:ext>
            </a:extLst>
          </p:cNvPr>
          <p:cNvSpPr>
            <a:spLocks noChangeShapeType="1"/>
          </p:cNvSpPr>
          <p:nvPr/>
        </p:nvSpPr>
        <p:spPr bwMode="auto">
          <a:xfrm flipV="1">
            <a:off x="3768986" y="3084455"/>
            <a:ext cx="5362013" cy="12915"/>
          </a:xfrm>
          <a:prstGeom prst="line">
            <a:avLst/>
          </a:prstGeom>
          <a:noFill/>
          <a:ln w="63500">
            <a:solidFill>
              <a:schemeClr val="tx1"/>
            </a:solidFill>
            <a:miter lim="400000"/>
            <a:headEnd/>
            <a:tailEnd/>
          </a:ln>
          <a:extLst>
            <a:ext uri="{909E8E84-426E-40DD-AFC4-6F175D3DCCD1}">
              <a14:hiddenFill xmlns:a14="http://schemas.microsoft.com/office/drawing/2010/main">
                <a:noFill/>
              </a14:hiddenFill>
            </a:ext>
          </a:extLst>
        </p:spPr>
        <p:txBody>
          <a:bodyPr lIns="25400" tIns="25400" rIns="25400" bIns="254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500" b="0" i="0" u="none" strike="noStrike" kern="1200" cap="none" spc="0" normalizeH="0" baseline="0" noProof="0">
              <a:ln>
                <a:noFill/>
              </a:ln>
              <a:solidFill>
                <a:srgbClr val="000000"/>
              </a:solidFill>
              <a:effectLst/>
              <a:uLnTx/>
              <a:uFillTx/>
              <a:latin typeface="Arial"/>
              <a:cs typeface="+mn-ea"/>
              <a:sym typeface="+mn-lt"/>
            </a:endParaRPr>
          </a:p>
        </p:txBody>
      </p:sp>
      <p:sp>
        <p:nvSpPr>
          <p:cNvPr id="7" name="Shape 48">
            <a:extLst>
              <a:ext uri="{FF2B5EF4-FFF2-40B4-BE49-F238E27FC236}">
                <a16:creationId xmlns:a16="http://schemas.microsoft.com/office/drawing/2014/main" id="{7D98E78B-8012-4C96-8E14-B5E7AA005327}"/>
              </a:ext>
            </a:extLst>
          </p:cNvPr>
          <p:cNvSpPr>
            <a:spLocks noChangeShapeType="1"/>
          </p:cNvSpPr>
          <p:nvPr/>
        </p:nvSpPr>
        <p:spPr bwMode="auto">
          <a:xfrm flipH="1" flipV="1">
            <a:off x="4481334" y="1469000"/>
            <a:ext cx="1484126" cy="1623470"/>
          </a:xfrm>
          <a:prstGeom prst="line">
            <a:avLst/>
          </a:prstGeom>
          <a:noFill/>
          <a:ln w="63500">
            <a:solidFill>
              <a:schemeClr val="accent1">
                <a:lumMod val="100000"/>
              </a:schemeClr>
            </a:solidFill>
            <a:miter lim="400000"/>
            <a:headEnd/>
            <a:tailEnd/>
          </a:ln>
          <a:extLst>
            <a:ext uri="{909E8E84-426E-40DD-AFC4-6F175D3DCCD1}">
              <a14:hiddenFill xmlns:a14="http://schemas.microsoft.com/office/drawing/2010/main">
                <a:noFill/>
              </a14:hiddenFill>
            </a:ext>
          </a:extLst>
        </p:spPr>
        <p:txBody>
          <a:bodyPr lIns="25400" tIns="25400" rIns="25400" bIns="254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500" b="0" i="0" u="none" strike="noStrike" kern="1200" cap="none" spc="0" normalizeH="0" baseline="0" noProof="0">
              <a:ln>
                <a:noFill/>
              </a:ln>
              <a:solidFill>
                <a:srgbClr val="000000"/>
              </a:solidFill>
              <a:effectLst/>
              <a:uLnTx/>
              <a:uFillTx/>
              <a:latin typeface="Arial"/>
              <a:cs typeface="+mn-ea"/>
              <a:sym typeface="+mn-lt"/>
            </a:endParaRPr>
          </a:p>
        </p:txBody>
      </p:sp>
      <p:sp>
        <p:nvSpPr>
          <p:cNvPr id="8" name="Shape 49">
            <a:extLst>
              <a:ext uri="{FF2B5EF4-FFF2-40B4-BE49-F238E27FC236}">
                <a16:creationId xmlns:a16="http://schemas.microsoft.com/office/drawing/2014/main" id="{4C23C86B-58C7-4D21-BE9D-6F3B4C7F7E1C}"/>
              </a:ext>
            </a:extLst>
          </p:cNvPr>
          <p:cNvSpPr>
            <a:spLocks noChangeShapeType="1"/>
          </p:cNvSpPr>
          <p:nvPr/>
        </p:nvSpPr>
        <p:spPr bwMode="auto">
          <a:xfrm flipV="1">
            <a:off x="3422131" y="3130389"/>
            <a:ext cx="1432103" cy="1586356"/>
          </a:xfrm>
          <a:prstGeom prst="line">
            <a:avLst/>
          </a:prstGeom>
          <a:noFill/>
          <a:ln w="63500">
            <a:solidFill>
              <a:schemeClr val="accent1">
                <a:lumMod val="100000"/>
              </a:schemeClr>
            </a:solidFill>
            <a:miter lim="400000"/>
            <a:headEnd/>
            <a:tailEnd/>
          </a:ln>
          <a:extLst>
            <a:ext uri="{909E8E84-426E-40DD-AFC4-6F175D3DCCD1}">
              <a14:hiddenFill xmlns:a14="http://schemas.microsoft.com/office/drawing/2010/main">
                <a:noFill/>
              </a14:hiddenFill>
            </a:ext>
          </a:extLst>
        </p:spPr>
        <p:txBody>
          <a:bodyPr lIns="25400" tIns="25400" rIns="25400" bIns="254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500" b="0" i="0" u="none" strike="noStrike" kern="1200" cap="none" spc="0" normalizeH="0" baseline="0" noProof="0">
              <a:ln>
                <a:noFill/>
              </a:ln>
              <a:solidFill>
                <a:srgbClr val="000000"/>
              </a:solidFill>
              <a:effectLst/>
              <a:uLnTx/>
              <a:uFillTx/>
              <a:latin typeface="Arial"/>
              <a:cs typeface="+mn-ea"/>
              <a:sym typeface="+mn-lt"/>
            </a:endParaRPr>
          </a:p>
        </p:txBody>
      </p:sp>
      <p:sp>
        <p:nvSpPr>
          <p:cNvPr id="9" name="Shape 50">
            <a:extLst>
              <a:ext uri="{FF2B5EF4-FFF2-40B4-BE49-F238E27FC236}">
                <a16:creationId xmlns:a16="http://schemas.microsoft.com/office/drawing/2014/main" id="{0EF59EBA-12D8-4CEE-B6AB-7F63C10F4C8C}"/>
              </a:ext>
            </a:extLst>
          </p:cNvPr>
          <p:cNvSpPr>
            <a:spLocks noChangeShapeType="1"/>
          </p:cNvSpPr>
          <p:nvPr/>
        </p:nvSpPr>
        <p:spPr bwMode="auto">
          <a:xfrm flipH="1" flipV="1">
            <a:off x="6648817" y="1469000"/>
            <a:ext cx="1484127" cy="1623470"/>
          </a:xfrm>
          <a:prstGeom prst="line">
            <a:avLst/>
          </a:prstGeom>
          <a:noFill/>
          <a:ln w="63500">
            <a:solidFill>
              <a:schemeClr val="accent1">
                <a:lumMod val="100000"/>
              </a:schemeClr>
            </a:solidFill>
            <a:miter lim="400000"/>
            <a:headEnd/>
            <a:tailEnd/>
          </a:ln>
          <a:extLst>
            <a:ext uri="{909E8E84-426E-40DD-AFC4-6F175D3DCCD1}">
              <a14:hiddenFill xmlns:a14="http://schemas.microsoft.com/office/drawing/2010/main">
                <a:noFill/>
              </a14:hiddenFill>
            </a:ext>
          </a:extLst>
        </p:spPr>
        <p:txBody>
          <a:bodyPr lIns="25400" tIns="25400" rIns="25400" bIns="254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500" b="0" i="0" u="none" strike="noStrike" kern="1200" cap="none" spc="0" normalizeH="0" baseline="0" noProof="0">
              <a:ln>
                <a:noFill/>
              </a:ln>
              <a:solidFill>
                <a:srgbClr val="000000"/>
              </a:solidFill>
              <a:effectLst/>
              <a:uLnTx/>
              <a:uFillTx/>
              <a:latin typeface="Arial"/>
              <a:cs typeface="+mn-ea"/>
              <a:sym typeface="+mn-lt"/>
            </a:endParaRPr>
          </a:p>
        </p:txBody>
      </p:sp>
      <p:sp>
        <p:nvSpPr>
          <p:cNvPr id="10" name="Shape 51">
            <a:extLst>
              <a:ext uri="{FF2B5EF4-FFF2-40B4-BE49-F238E27FC236}">
                <a16:creationId xmlns:a16="http://schemas.microsoft.com/office/drawing/2014/main" id="{ED071F74-1EF0-400C-BE31-9F0411648575}"/>
              </a:ext>
            </a:extLst>
          </p:cNvPr>
          <p:cNvSpPr>
            <a:spLocks noChangeShapeType="1"/>
          </p:cNvSpPr>
          <p:nvPr/>
        </p:nvSpPr>
        <p:spPr bwMode="auto">
          <a:xfrm flipV="1">
            <a:off x="5593849" y="3130389"/>
            <a:ext cx="1432102" cy="1586356"/>
          </a:xfrm>
          <a:prstGeom prst="line">
            <a:avLst/>
          </a:prstGeom>
          <a:noFill/>
          <a:ln w="63500">
            <a:solidFill>
              <a:schemeClr val="accent1">
                <a:lumMod val="100000"/>
              </a:schemeClr>
            </a:solidFill>
            <a:miter lim="400000"/>
            <a:headEnd/>
            <a:tailEnd/>
          </a:ln>
          <a:extLst>
            <a:ext uri="{909E8E84-426E-40DD-AFC4-6F175D3DCCD1}">
              <a14:hiddenFill xmlns:a14="http://schemas.microsoft.com/office/drawing/2010/main">
                <a:noFill/>
              </a14:hiddenFill>
            </a:ext>
          </a:extLst>
        </p:spPr>
        <p:txBody>
          <a:bodyPr lIns="25400" tIns="25400" rIns="25400" bIns="254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500" b="0" i="0" u="none" strike="noStrike" kern="1200" cap="none" spc="0" normalizeH="0" baseline="0" noProof="0">
              <a:ln>
                <a:noFill/>
              </a:ln>
              <a:solidFill>
                <a:srgbClr val="000000"/>
              </a:solidFill>
              <a:effectLst/>
              <a:uLnTx/>
              <a:uFillTx/>
              <a:latin typeface="Arial"/>
              <a:cs typeface="+mn-ea"/>
              <a:sym typeface="+mn-lt"/>
            </a:endParaRPr>
          </a:p>
        </p:txBody>
      </p:sp>
      <p:sp>
        <p:nvSpPr>
          <p:cNvPr id="11" name="Shape 52">
            <a:extLst>
              <a:ext uri="{FF2B5EF4-FFF2-40B4-BE49-F238E27FC236}">
                <a16:creationId xmlns:a16="http://schemas.microsoft.com/office/drawing/2014/main" id="{0E64E5A4-E689-4D61-9A74-B5CB3EE64B99}"/>
              </a:ext>
            </a:extLst>
          </p:cNvPr>
          <p:cNvSpPr>
            <a:spLocks noChangeArrowheads="1"/>
          </p:cNvSpPr>
          <p:nvPr/>
        </p:nvSpPr>
        <p:spPr bwMode="auto">
          <a:xfrm>
            <a:off x="4785842" y="3023540"/>
            <a:ext cx="158575" cy="158602"/>
          </a:xfrm>
          <a:prstGeom prst="ellipse">
            <a:avLst/>
          </a:prstGeom>
          <a:solidFill>
            <a:srgbClr val="FFFFFF"/>
          </a:solidFill>
          <a:ln w="63500">
            <a:solidFill>
              <a:schemeClr val="accent1">
                <a:lumMod val="100000"/>
              </a:schemeClr>
            </a:solidFill>
            <a:miter lim="400000"/>
            <a:headEnd/>
            <a:tailEnd/>
          </a:ln>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FFFFFF"/>
              </a:solidFill>
              <a:effectLst/>
              <a:uLnTx/>
              <a:uFillTx/>
              <a:latin typeface="Arial"/>
              <a:cs typeface="+mn-ea"/>
              <a:sym typeface="+mn-lt"/>
            </a:endParaRPr>
          </a:p>
        </p:txBody>
      </p:sp>
      <p:sp>
        <p:nvSpPr>
          <p:cNvPr id="12" name="Shape 53">
            <a:extLst>
              <a:ext uri="{FF2B5EF4-FFF2-40B4-BE49-F238E27FC236}">
                <a16:creationId xmlns:a16="http://schemas.microsoft.com/office/drawing/2014/main" id="{25C2FEDD-0E73-4457-A5C6-4D74BCA43959}"/>
              </a:ext>
            </a:extLst>
          </p:cNvPr>
          <p:cNvSpPr>
            <a:spLocks noChangeArrowheads="1"/>
          </p:cNvSpPr>
          <p:nvPr/>
        </p:nvSpPr>
        <p:spPr bwMode="auto">
          <a:xfrm>
            <a:off x="5897100" y="3023540"/>
            <a:ext cx="158575" cy="158602"/>
          </a:xfrm>
          <a:prstGeom prst="ellipse">
            <a:avLst/>
          </a:prstGeom>
          <a:solidFill>
            <a:srgbClr val="FFFFFF"/>
          </a:solidFill>
          <a:ln w="63500">
            <a:solidFill>
              <a:schemeClr val="accent1">
                <a:lumMod val="100000"/>
              </a:schemeClr>
            </a:solidFill>
            <a:miter lim="400000"/>
            <a:headEnd/>
            <a:tailEnd/>
          </a:ln>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FFFFFF"/>
              </a:solidFill>
              <a:effectLst/>
              <a:uLnTx/>
              <a:uFillTx/>
              <a:latin typeface="Arial"/>
              <a:cs typeface="+mn-ea"/>
              <a:sym typeface="+mn-lt"/>
            </a:endParaRPr>
          </a:p>
        </p:txBody>
      </p:sp>
      <p:sp>
        <p:nvSpPr>
          <p:cNvPr id="13" name="Shape 54">
            <a:extLst>
              <a:ext uri="{FF2B5EF4-FFF2-40B4-BE49-F238E27FC236}">
                <a16:creationId xmlns:a16="http://schemas.microsoft.com/office/drawing/2014/main" id="{99C4BB64-CAC0-41C3-B168-25C2E197671A}"/>
              </a:ext>
            </a:extLst>
          </p:cNvPr>
          <p:cNvSpPr>
            <a:spLocks noChangeArrowheads="1"/>
          </p:cNvSpPr>
          <p:nvPr/>
        </p:nvSpPr>
        <p:spPr bwMode="auto">
          <a:xfrm>
            <a:off x="6942831" y="3023540"/>
            <a:ext cx="158575" cy="158602"/>
          </a:xfrm>
          <a:prstGeom prst="ellipse">
            <a:avLst/>
          </a:prstGeom>
          <a:solidFill>
            <a:srgbClr val="FFFFFF"/>
          </a:solidFill>
          <a:ln w="63500">
            <a:solidFill>
              <a:schemeClr val="accent1">
                <a:lumMod val="100000"/>
              </a:schemeClr>
            </a:solidFill>
            <a:miter lim="400000"/>
            <a:headEnd/>
            <a:tailEnd/>
          </a:ln>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FFFFFF"/>
              </a:solidFill>
              <a:effectLst/>
              <a:uLnTx/>
              <a:uFillTx/>
              <a:latin typeface="Arial"/>
              <a:cs typeface="+mn-ea"/>
              <a:sym typeface="+mn-lt"/>
            </a:endParaRPr>
          </a:p>
        </p:txBody>
      </p:sp>
      <p:sp>
        <p:nvSpPr>
          <p:cNvPr id="14" name="Shape 55">
            <a:extLst>
              <a:ext uri="{FF2B5EF4-FFF2-40B4-BE49-F238E27FC236}">
                <a16:creationId xmlns:a16="http://schemas.microsoft.com/office/drawing/2014/main" id="{117B08DD-89C1-4E86-BA66-6340753BC90F}"/>
              </a:ext>
            </a:extLst>
          </p:cNvPr>
          <p:cNvSpPr>
            <a:spLocks noChangeArrowheads="1"/>
          </p:cNvSpPr>
          <p:nvPr/>
        </p:nvSpPr>
        <p:spPr bwMode="auto">
          <a:xfrm>
            <a:off x="8062112" y="3023540"/>
            <a:ext cx="158575" cy="158602"/>
          </a:xfrm>
          <a:prstGeom prst="ellipse">
            <a:avLst/>
          </a:prstGeom>
          <a:solidFill>
            <a:srgbClr val="FFFFFF"/>
          </a:solidFill>
          <a:ln w="63500">
            <a:solidFill>
              <a:schemeClr val="accent1">
                <a:lumMod val="100000"/>
              </a:schemeClr>
            </a:solidFill>
            <a:miter lim="400000"/>
            <a:headEnd/>
            <a:tailEnd/>
          </a:ln>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FFFFFF"/>
              </a:solidFill>
              <a:effectLst/>
              <a:uLnTx/>
              <a:uFillTx/>
              <a:latin typeface="Arial"/>
              <a:cs typeface="+mn-ea"/>
              <a:sym typeface="+mn-lt"/>
            </a:endParaRPr>
          </a:p>
        </p:txBody>
      </p:sp>
      <p:sp>
        <p:nvSpPr>
          <p:cNvPr id="15" name="Shape 56">
            <a:extLst>
              <a:ext uri="{FF2B5EF4-FFF2-40B4-BE49-F238E27FC236}">
                <a16:creationId xmlns:a16="http://schemas.microsoft.com/office/drawing/2014/main" id="{CAFF6AAE-DB1C-46B7-94A0-73E2068DF1BD}"/>
              </a:ext>
            </a:extLst>
          </p:cNvPr>
          <p:cNvSpPr>
            <a:spLocks noChangeArrowheads="1"/>
          </p:cNvSpPr>
          <p:nvPr/>
        </p:nvSpPr>
        <p:spPr bwMode="auto">
          <a:xfrm>
            <a:off x="5137288" y="1899025"/>
            <a:ext cx="1824245" cy="205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altLang="ru-RU" sz="1000" b="0" i="0" u="none" strike="noStrike" kern="1200" cap="none" spc="0" normalizeH="0" baseline="0" noProof="0">
                <a:ln>
                  <a:noFill/>
                </a:ln>
                <a:solidFill>
                  <a:schemeClr val="accent1"/>
                </a:solidFill>
                <a:effectLst/>
                <a:uLnTx/>
                <a:uFillTx/>
                <a:latin typeface="Arial"/>
                <a:cs typeface="+mn-ea"/>
                <a:sym typeface="+mn-lt"/>
              </a:rPr>
              <a:t>Fish bone text block </a:t>
            </a:r>
          </a:p>
        </p:txBody>
      </p:sp>
      <p:sp>
        <p:nvSpPr>
          <p:cNvPr id="16" name="Shape 57">
            <a:extLst>
              <a:ext uri="{FF2B5EF4-FFF2-40B4-BE49-F238E27FC236}">
                <a16:creationId xmlns:a16="http://schemas.microsoft.com/office/drawing/2014/main" id="{8FD41D7A-DDB6-486D-8445-A232A77F893F}"/>
              </a:ext>
            </a:extLst>
          </p:cNvPr>
          <p:cNvSpPr>
            <a:spLocks noChangeArrowheads="1"/>
          </p:cNvSpPr>
          <p:nvPr/>
        </p:nvSpPr>
        <p:spPr bwMode="auto">
          <a:xfrm>
            <a:off x="5612538" y="2413852"/>
            <a:ext cx="1824245" cy="205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altLang="ru-RU" sz="1000" b="0" i="0" u="none" strike="noStrike" kern="1200" cap="none" spc="0" normalizeH="0" baseline="0" noProof="0">
                <a:ln>
                  <a:noFill/>
                </a:ln>
                <a:solidFill>
                  <a:schemeClr val="accent1"/>
                </a:solidFill>
                <a:effectLst/>
                <a:uLnTx/>
                <a:uFillTx/>
                <a:latin typeface="Arial"/>
                <a:cs typeface="+mn-ea"/>
                <a:sym typeface="+mn-lt"/>
              </a:rPr>
              <a:t>Fish bone text block </a:t>
            </a:r>
          </a:p>
        </p:txBody>
      </p:sp>
      <p:sp>
        <p:nvSpPr>
          <p:cNvPr id="17" name="Shape 58">
            <a:extLst>
              <a:ext uri="{FF2B5EF4-FFF2-40B4-BE49-F238E27FC236}">
                <a16:creationId xmlns:a16="http://schemas.microsoft.com/office/drawing/2014/main" id="{118B19BD-AD88-45DA-B472-B251344F1B94}"/>
              </a:ext>
            </a:extLst>
          </p:cNvPr>
          <p:cNvSpPr>
            <a:spLocks noChangeArrowheads="1"/>
          </p:cNvSpPr>
          <p:nvPr/>
        </p:nvSpPr>
        <p:spPr bwMode="auto">
          <a:xfrm>
            <a:off x="7306754" y="1899025"/>
            <a:ext cx="1824245" cy="205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altLang="ru-RU" sz="1000" b="0" i="0" u="none" strike="noStrike" kern="1200" cap="none" spc="0" normalizeH="0" baseline="0" noProof="0">
                <a:ln>
                  <a:noFill/>
                </a:ln>
                <a:solidFill>
                  <a:schemeClr val="accent1"/>
                </a:solidFill>
                <a:effectLst/>
                <a:uLnTx/>
                <a:uFillTx/>
                <a:latin typeface="Arial"/>
                <a:cs typeface="+mn-ea"/>
                <a:sym typeface="+mn-lt"/>
              </a:rPr>
              <a:t>Fish bone text block </a:t>
            </a:r>
          </a:p>
        </p:txBody>
      </p:sp>
      <p:sp>
        <p:nvSpPr>
          <p:cNvPr id="18" name="Shape 59">
            <a:extLst>
              <a:ext uri="{FF2B5EF4-FFF2-40B4-BE49-F238E27FC236}">
                <a16:creationId xmlns:a16="http://schemas.microsoft.com/office/drawing/2014/main" id="{5E41224E-3C10-4380-9D50-A7810A65F9EA}"/>
              </a:ext>
            </a:extLst>
          </p:cNvPr>
          <p:cNvSpPr>
            <a:spLocks noChangeArrowheads="1"/>
          </p:cNvSpPr>
          <p:nvPr/>
        </p:nvSpPr>
        <p:spPr bwMode="auto">
          <a:xfrm>
            <a:off x="7782003" y="2413853"/>
            <a:ext cx="1824245" cy="205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altLang="ru-RU" sz="1000" b="0" i="0" u="none" strike="noStrike" kern="1200" cap="none" spc="0" normalizeH="0" baseline="0" noProof="0">
                <a:ln>
                  <a:noFill/>
                </a:ln>
                <a:solidFill>
                  <a:schemeClr val="accent1"/>
                </a:solidFill>
                <a:effectLst/>
                <a:uLnTx/>
                <a:uFillTx/>
                <a:latin typeface="Arial"/>
                <a:cs typeface="+mn-ea"/>
                <a:sym typeface="+mn-lt"/>
              </a:rPr>
              <a:t>Fish bone text block </a:t>
            </a:r>
          </a:p>
        </p:txBody>
      </p:sp>
      <p:sp>
        <p:nvSpPr>
          <p:cNvPr id="19" name="Shape 60">
            <a:extLst>
              <a:ext uri="{FF2B5EF4-FFF2-40B4-BE49-F238E27FC236}">
                <a16:creationId xmlns:a16="http://schemas.microsoft.com/office/drawing/2014/main" id="{B36A44DD-F4FD-48B3-9110-CF9D8415E1D2}"/>
              </a:ext>
            </a:extLst>
          </p:cNvPr>
          <p:cNvSpPr>
            <a:spLocks noChangeArrowheads="1"/>
          </p:cNvSpPr>
          <p:nvPr/>
        </p:nvSpPr>
        <p:spPr bwMode="auto">
          <a:xfrm>
            <a:off x="4534207" y="3567593"/>
            <a:ext cx="1824245" cy="205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altLang="ru-RU" sz="1000" b="0" i="0" u="none" strike="noStrike" kern="1200" cap="none" spc="0" normalizeH="0" baseline="0" noProof="0">
                <a:ln>
                  <a:noFill/>
                </a:ln>
                <a:solidFill>
                  <a:schemeClr val="accent1"/>
                </a:solidFill>
                <a:effectLst/>
                <a:uLnTx/>
                <a:uFillTx/>
                <a:latin typeface="Arial"/>
                <a:cs typeface="+mn-ea"/>
                <a:sym typeface="+mn-lt"/>
              </a:rPr>
              <a:t>Fish bone text block </a:t>
            </a:r>
          </a:p>
        </p:txBody>
      </p:sp>
      <p:sp>
        <p:nvSpPr>
          <p:cNvPr id="20" name="Shape 61">
            <a:extLst>
              <a:ext uri="{FF2B5EF4-FFF2-40B4-BE49-F238E27FC236}">
                <a16:creationId xmlns:a16="http://schemas.microsoft.com/office/drawing/2014/main" id="{ED50FCD7-2918-4554-91C4-54F516CB8EB2}"/>
              </a:ext>
            </a:extLst>
          </p:cNvPr>
          <p:cNvSpPr>
            <a:spLocks noChangeArrowheads="1"/>
          </p:cNvSpPr>
          <p:nvPr/>
        </p:nvSpPr>
        <p:spPr bwMode="auto">
          <a:xfrm>
            <a:off x="4075999" y="4082420"/>
            <a:ext cx="1824245" cy="205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altLang="ru-RU" sz="1000" b="0" i="0" u="none" strike="noStrike" kern="1200" cap="none" spc="0" normalizeH="0" baseline="0" noProof="0">
                <a:ln>
                  <a:noFill/>
                </a:ln>
                <a:solidFill>
                  <a:schemeClr val="accent1"/>
                </a:solidFill>
                <a:effectLst/>
                <a:uLnTx/>
                <a:uFillTx/>
                <a:latin typeface="Arial"/>
                <a:cs typeface="+mn-ea"/>
                <a:sym typeface="+mn-lt"/>
              </a:rPr>
              <a:t>Fish bone text block </a:t>
            </a:r>
          </a:p>
        </p:txBody>
      </p:sp>
      <p:sp>
        <p:nvSpPr>
          <p:cNvPr id="21" name="Shape 62">
            <a:extLst>
              <a:ext uri="{FF2B5EF4-FFF2-40B4-BE49-F238E27FC236}">
                <a16:creationId xmlns:a16="http://schemas.microsoft.com/office/drawing/2014/main" id="{EB60A440-1EF3-4879-9557-EB38BF14ED0E}"/>
              </a:ext>
            </a:extLst>
          </p:cNvPr>
          <p:cNvSpPr>
            <a:spLocks noChangeArrowheads="1"/>
          </p:cNvSpPr>
          <p:nvPr/>
        </p:nvSpPr>
        <p:spPr bwMode="auto">
          <a:xfrm>
            <a:off x="6712275" y="3567593"/>
            <a:ext cx="1824245" cy="205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altLang="ru-RU" sz="1000" b="0" i="0" u="none" strike="noStrike" kern="1200" cap="none" spc="0" normalizeH="0" baseline="0" noProof="0">
                <a:ln>
                  <a:noFill/>
                </a:ln>
                <a:solidFill>
                  <a:schemeClr val="accent1"/>
                </a:solidFill>
                <a:effectLst/>
                <a:uLnTx/>
                <a:uFillTx/>
                <a:latin typeface="Arial"/>
                <a:cs typeface="+mn-ea"/>
                <a:sym typeface="+mn-lt"/>
              </a:rPr>
              <a:t>Fish bone text block </a:t>
            </a:r>
          </a:p>
        </p:txBody>
      </p:sp>
      <p:sp>
        <p:nvSpPr>
          <p:cNvPr id="22" name="Shape 63">
            <a:extLst>
              <a:ext uri="{FF2B5EF4-FFF2-40B4-BE49-F238E27FC236}">
                <a16:creationId xmlns:a16="http://schemas.microsoft.com/office/drawing/2014/main" id="{71C0D14F-03AA-4134-8C04-FA9B7861EE84}"/>
              </a:ext>
            </a:extLst>
          </p:cNvPr>
          <p:cNvSpPr>
            <a:spLocks noChangeArrowheads="1"/>
          </p:cNvSpPr>
          <p:nvPr/>
        </p:nvSpPr>
        <p:spPr bwMode="auto">
          <a:xfrm>
            <a:off x="6254067" y="4082420"/>
            <a:ext cx="1824245" cy="205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altLang="ru-RU" sz="1000" b="0" i="0" u="none" strike="noStrike" kern="1200" cap="none" spc="0" normalizeH="0" baseline="0" noProof="0">
                <a:ln>
                  <a:noFill/>
                </a:ln>
                <a:solidFill>
                  <a:schemeClr val="accent1"/>
                </a:solidFill>
                <a:effectLst/>
                <a:uLnTx/>
                <a:uFillTx/>
                <a:latin typeface="Arial"/>
                <a:cs typeface="+mn-ea"/>
                <a:sym typeface="+mn-lt"/>
              </a:rPr>
              <a:t>Fish bone text block </a:t>
            </a:r>
          </a:p>
        </p:txBody>
      </p:sp>
      <p:sp>
        <p:nvSpPr>
          <p:cNvPr id="23" name="Shape 65">
            <a:extLst>
              <a:ext uri="{FF2B5EF4-FFF2-40B4-BE49-F238E27FC236}">
                <a16:creationId xmlns:a16="http://schemas.microsoft.com/office/drawing/2014/main" id="{25E039A9-01A6-4E4F-870D-12428F97C92B}"/>
              </a:ext>
            </a:extLst>
          </p:cNvPr>
          <p:cNvSpPr>
            <a:spLocks noChangeShapeType="1"/>
          </p:cNvSpPr>
          <p:nvPr/>
        </p:nvSpPr>
        <p:spPr bwMode="auto">
          <a:xfrm flipH="1" flipV="1">
            <a:off x="2228249" y="1469000"/>
            <a:ext cx="1484126" cy="1623470"/>
          </a:xfrm>
          <a:prstGeom prst="line">
            <a:avLst/>
          </a:prstGeom>
          <a:noFill/>
          <a:ln w="63500">
            <a:solidFill>
              <a:schemeClr val="accent1">
                <a:lumMod val="100000"/>
              </a:schemeClr>
            </a:solidFill>
            <a:miter lim="400000"/>
            <a:headEnd/>
            <a:tailEnd/>
          </a:ln>
          <a:extLst>
            <a:ext uri="{909E8E84-426E-40DD-AFC4-6F175D3DCCD1}">
              <a14:hiddenFill xmlns:a14="http://schemas.microsoft.com/office/drawing/2010/main">
                <a:noFill/>
              </a14:hiddenFill>
            </a:ext>
          </a:extLst>
        </p:spPr>
        <p:txBody>
          <a:bodyPr lIns="25400" tIns="25400" rIns="25400" bIns="254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500" b="0" i="0" u="none" strike="noStrike" kern="1200" cap="none" spc="0" normalizeH="0" baseline="0" noProof="0">
              <a:ln>
                <a:noFill/>
              </a:ln>
              <a:solidFill>
                <a:srgbClr val="000000"/>
              </a:solidFill>
              <a:effectLst/>
              <a:uLnTx/>
              <a:uFillTx/>
              <a:latin typeface="Arial"/>
              <a:cs typeface="+mn-ea"/>
              <a:sym typeface="+mn-lt"/>
            </a:endParaRPr>
          </a:p>
        </p:txBody>
      </p:sp>
      <p:sp>
        <p:nvSpPr>
          <p:cNvPr id="24" name="Shape 66">
            <a:extLst>
              <a:ext uri="{FF2B5EF4-FFF2-40B4-BE49-F238E27FC236}">
                <a16:creationId xmlns:a16="http://schemas.microsoft.com/office/drawing/2014/main" id="{C6A06E7B-030F-49ED-83C8-748860A75CBC}"/>
              </a:ext>
            </a:extLst>
          </p:cNvPr>
          <p:cNvSpPr>
            <a:spLocks noChangeArrowheads="1"/>
          </p:cNvSpPr>
          <p:nvPr/>
        </p:nvSpPr>
        <p:spPr bwMode="auto">
          <a:xfrm>
            <a:off x="3644017" y="3023540"/>
            <a:ext cx="158575" cy="158602"/>
          </a:xfrm>
          <a:prstGeom prst="ellipse">
            <a:avLst/>
          </a:prstGeom>
          <a:solidFill>
            <a:srgbClr val="FFFFFF"/>
          </a:solidFill>
          <a:ln w="63500">
            <a:solidFill>
              <a:schemeClr val="accent1">
                <a:lumMod val="100000"/>
              </a:schemeClr>
            </a:solidFill>
            <a:miter lim="400000"/>
            <a:headEnd/>
            <a:tailEnd/>
          </a:ln>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FFFFFF"/>
              </a:solidFill>
              <a:effectLst/>
              <a:uLnTx/>
              <a:uFillTx/>
              <a:latin typeface="Arial"/>
              <a:cs typeface="+mn-ea"/>
              <a:sym typeface="+mn-lt"/>
            </a:endParaRPr>
          </a:p>
        </p:txBody>
      </p:sp>
      <p:sp>
        <p:nvSpPr>
          <p:cNvPr id="25" name="Shape 67">
            <a:extLst>
              <a:ext uri="{FF2B5EF4-FFF2-40B4-BE49-F238E27FC236}">
                <a16:creationId xmlns:a16="http://schemas.microsoft.com/office/drawing/2014/main" id="{E9835607-F6BB-4C67-B2CF-7959C20BC6C6}"/>
              </a:ext>
            </a:extLst>
          </p:cNvPr>
          <p:cNvSpPr>
            <a:spLocks noChangeArrowheads="1"/>
          </p:cNvSpPr>
          <p:nvPr/>
        </p:nvSpPr>
        <p:spPr bwMode="auto">
          <a:xfrm>
            <a:off x="2884204" y="1899025"/>
            <a:ext cx="1824245" cy="205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altLang="ru-RU" sz="1000" b="0" i="0" u="none" strike="noStrike" kern="1200" cap="none" spc="0" normalizeH="0" baseline="0" noProof="0">
                <a:ln>
                  <a:noFill/>
                </a:ln>
                <a:solidFill>
                  <a:schemeClr val="accent1"/>
                </a:solidFill>
                <a:effectLst/>
                <a:uLnTx/>
                <a:uFillTx/>
                <a:latin typeface="Arial"/>
                <a:cs typeface="+mn-ea"/>
                <a:sym typeface="+mn-lt"/>
              </a:rPr>
              <a:t>Fish bone text block </a:t>
            </a:r>
          </a:p>
        </p:txBody>
      </p:sp>
      <p:sp>
        <p:nvSpPr>
          <p:cNvPr id="26" name="Shape 68">
            <a:extLst>
              <a:ext uri="{FF2B5EF4-FFF2-40B4-BE49-F238E27FC236}">
                <a16:creationId xmlns:a16="http://schemas.microsoft.com/office/drawing/2014/main" id="{0F8155FF-D507-485B-9EB2-A26C89A4D333}"/>
              </a:ext>
            </a:extLst>
          </p:cNvPr>
          <p:cNvSpPr>
            <a:spLocks noChangeArrowheads="1"/>
          </p:cNvSpPr>
          <p:nvPr/>
        </p:nvSpPr>
        <p:spPr bwMode="auto">
          <a:xfrm>
            <a:off x="3359453" y="2413853"/>
            <a:ext cx="1824245" cy="205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altLang="ru-RU" sz="1000" b="0" i="0" u="none" strike="noStrike" kern="1200" cap="none" spc="0" normalizeH="0" baseline="0" noProof="0">
                <a:ln>
                  <a:noFill/>
                </a:ln>
                <a:solidFill>
                  <a:schemeClr val="accent1"/>
                </a:solidFill>
                <a:effectLst/>
                <a:uLnTx/>
                <a:uFillTx/>
                <a:latin typeface="Arial"/>
                <a:cs typeface="+mn-ea"/>
                <a:sym typeface="+mn-lt"/>
              </a:rPr>
              <a:t>Fish bone text block </a:t>
            </a:r>
          </a:p>
        </p:txBody>
      </p:sp>
      <p:sp>
        <p:nvSpPr>
          <p:cNvPr id="27" name="Shape 71">
            <a:extLst>
              <a:ext uri="{FF2B5EF4-FFF2-40B4-BE49-F238E27FC236}">
                <a16:creationId xmlns:a16="http://schemas.microsoft.com/office/drawing/2014/main" id="{4C24D9FC-E478-4041-A376-FCE565BEA2B2}"/>
              </a:ext>
            </a:extLst>
          </p:cNvPr>
          <p:cNvSpPr>
            <a:spLocks noChangeArrowheads="1"/>
          </p:cNvSpPr>
          <p:nvPr/>
        </p:nvSpPr>
        <p:spPr bwMode="auto">
          <a:xfrm>
            <a:off x="3111928" y="4661385"/>
            <a:ext cx="431804" cy="431879"/>
          </a:xfrm>
          <a:prstGeom prst="ellipse">
            <a:avLst/>
          </a:prstGeom>
          <a:solidFill>
            <a:schemeClr val="accent1">
              <a:lumMod val="100000"/>
            </a:schemeClr>
          </a:solidFill>
          <a:ln w="63500">
            <a:solidFill>
              <a:schemeClr val="accent1">
                <a:lumMod val="100000"/>
              </a:schemeClr>
            </a:solidFill>
            <a:miter lim="400000"/>
            <a:headEnd/>
            <a:tailEnd/>
          </a:ln>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FFFFFF"/>
              </a:solidFill>
              <a:effectLst/>
              <a:uLnTx/>
              <a:uFillTx/>
              <a:latin typeface="Arial"/>
              <a:cs typeface="+mn-ea"/>
              <a:sym typeface="+mn-lt"/>
            </a:endParaRPr>
          </a:p>
        </p:txBody>
      </p:sp>
      <p:sp>
        <p:nvSpPr>
          <p:cNvPr id="28" name="Shape 72">
            <a:extLst>
              <a:ext uri="{FF2B5EF4-FFF2-40B4-BE49-F238E27FC236}">
                <a16:creationId xmlns:a16="http://schemas.microsoft.com/office/drawing/2014/main" id="{49BB87DD-6E7A-40F6-B4CA-C9ECD88B20D5}"/>
              </a:ext>
            </a:extLst>
          </p:cNvPr>
          <p:cNvSpPr>
            <a:spLocks noChangeArrowheads="1"/>
          </p:cNvSpPr>
          <p:nvPr/>
        </p:nvSpPr>
        <p:spPr bwMode="auto">
          <a:xfrm>
            <a:off x="3146331" y="4749186"/>
            <a:ext cx="362744" cy="2436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lgn="ctr">
              <a:defRPr sz="2500" cap="all">
                <a:solidFill>
                  <a:srgbClr val="FFFFFF"/>
                </a:solidFill>
                <a:latin typeface="Open Sans Semibold"/>
                <a:ea typeface="Open Sans Semibold"/>
                <a:cs typeface="Open Sans Semibold"/>
                <a:sym typeface="Open Sans Semibold"/>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sz="1250" b="1" i="0" u="none" strike="noStrike" kern="0" cap="all" spc="0" normalizeH="0" baseline="0" noProof="0">
                <a:ln>
                  <a:noFill/>
                </a:ln>
                <a:solidFill>
                  <a:srgbClr val="FFFFFF"/>
                </a:solidFill>
                <a:effectLst/>
                <a:uLnTx/>
                <a:uFillTx/>
                <a:latin typeface="Arial"/>
                <a:ea typeface="+mn-ea"/>
                <a:cs typeface="+mn-ea"/>
                <a:sym typeface="+mn-lt"/>
              </a:rPr>
              <a:t>2</a:t>
            </a:r>
          </a:p>
        </p:txBody>
      </p:sp>
      <p:sp>
        <p:nvSpPr>
          <p:cNvPr id="29" name="Shape 73">
            <a:extLst>
              <a:ext uri="{FF2B5EF4-FFF2-40B4-BE49-F238E27FC236}">
                <a16:creationId xmlns:a16="http://schemas.microsoft.com/office/drawing/2014/main" id="{B7D12B18-4D88-4921-969A-F74748EF3C0E}"/>
              </a:ext>
            </a:extLst>
          </p:cNvPr>
          <p:cNvSpPr>
            <a:spLocks noChangeArrowheads="1"/>
          </p:cNvSpPr>
          <p:nvPr/>
        </p:nvSpPr>
        <p:spPr bwMode="auto">
          <a:xfrm>
            <a:off x="1732663" y="4762680"/>
            <a:ext cx="1267619" cy="2436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lgn="r">
              <a:defRPr sz="2500" b="1" cap="all">
                <a:solidFill>
                  <a:srgbClr val="344245"/>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sz="1250" b="1" i="0" u="none" strike="noStrike" kern="0" cap="all" spc="0" normalizeH="0" baseline="0" noProof="0">
                <a:ln>
                  <a:noFill/>
                </a:ln>
                <a:solidFill>
                  <a:schemeClr val="accent1"/>
                </a:solidFill>
                <a:effectLst/>
                <a:uLnTx/>
                <a:uFillTx/>
                <a:latin typeface="Arial"/>
                <a:cs typeface="+mn-ea"/>
                <a:sym typeface="+mn-lt"/>
              </a:rPr>
              <a:t>Text inform</a:t>
            </a:r>
          </a:p>
        </p:txBody>
      </p:sp>
      <p:sp>
        <p:nvSpPr>
          <p:cNvPr id="30" name="Shape 74">
            <a:extLst>
              <a:ext uri="{FF2B5EF4-FFF2-40B4-BE49-F238E27FC236}">
                <a16:creationId xmlns:a16="http://schemas.microsoft.com/office/drawing/2014/main" id="{EF944C6D-C46C-4D8D-8FF6-886E1CC5873D}"/>
              </a:ext>
            </a:extLst>
          </p:cNvPr>
          <p:cNvSpPr>
            <a:spLocks noChangeArrowheads="1"/>
          </p:cNvSpPr>
          <p:nvPr/>
        </p:nvSpPr>
        <p:spPr bwMode="auto">
          <a:xfrm>
            <a:off x="5307092" y="4661385"/>
            <a:ext cx="431804" cy="431879"/>
          </a:xfrm>
          <a:prstGeom prst="ellipse">
            <a:avLst/>
          </a:prstGeom>
          <a:solidFill>
            <a:schemeClr val="accent1">
              <a:lumMod val="100000"/>
            </a:schemeClr>
          </a:solidFill>
          <a:ln w="63500">
            <a:solidFill>
              <a:schemeClr val="accent1">
                <a:lumMod val="100000"/>
              </a:schemeClr>
            </a:solidFill>
            <a:miter lim="400000"/>
            <a:headEnd/>
            <a:tailEnd/>
          </a:ln>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FFFFFF"/>
              </a:solidFill>
              <a:effectLst/>
              <a:uLnTx/>
              <a:uFillTx/>
              <a:latin typeface="Arial"/>
              <a:cs typeface="+mn-ea"/>
              <a:sym typeface="+mn-lt"/>
            </a:endParaRPr>
          </a:p>
        </p:txBody>
      </p:sp>
      <p:sp>
        <p:nvSpPr>
          <p:cNvPr id="31" name="Shape 75">
            <a:extLst>
              <a:ext uri="{FF2B5EF4-FFF2-40B4-BE49-F238E27FC236}">
                <a16:creationId xmlns:a16="http://schemas.microsoft.com/office/drawing/2014/main" id="{FE7FEB92-8958-4CC4-9685-AF2E7851BF89}"/>
              </a:ext>
            </a:extLst>
          </p:cNvPr>
          <p:cNvSpPr>
            <a:spLocks noChangeArrowheads="1"/>
          </p:cNvSpPr>
          <p:nvPr/>
        </p:nvSpPr>
        <p:spPr bwMode="auto">
          <a:xfrm>
            <a:off x="5341844" y="4749186"/>
            <a:ext cx="362744" cy="2436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lgn="ctr">
              <a:defRPr sz="2500" cap="all">
                <a:solidFill>
                  <a:srgbClr val="FFFFFF"/>
                </a:solidFill>
                <a:latin typeface="Open Sans Semibold"/>
                <a:ea typeface="Open Sans Semibold"/>
                <a:cs typeface="Open Sans Semibold"/>
                <a:sym typeface="Open Sans Semibold"/>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sz="1250" b="1" i="0" u="none" strike="noStrike" kern="0" cap="all" spc="0" normalizeH="0" baseline="0" noProof="0">
                <a:ln>
                  <a:noFill/>
                </a:ln>
                <a:solidFill>
                  <a:srgbClr val="FFFFFF"/>
                </a:solidFill>
                <a:effectLst/>
                <a:uLnTx/>
                <a:uFillTx/>
                <a:latin typeface="Arial"/>
                <a:ea typeface="+mn-ea"/>
                <a:cs typeface="+mn-ea"/>
                <a:sym typeface="+mn-lt"/>
              </a:rPr>
              <a:t>4</a:t>
            </a:r>
          </a:p>
        </p:txBody>
      </p:sp>
      <p:sp>
        <p:nvSpPr>
          <p:cNvPr id="32" name="Shape 76">
            <a:extLst>
              <a:ext uri="{FF2B5EF4-FFF2-40B4-BE49-F238E27FC236}">
                <a16:creationId xmlns:a16="http://schemas.microsoft.com/office/drawing/2014/main" id="{6996A4D2-0169-483B-8558-B43DE0064316}"/>
              </a:ext>
            </a:extLst>
          </p:cNvPr>
          <p:cNvSpPr>
            <a:spLocks noChangeArrowheads="1"/>
          </p:cNvSpPr>
          <p:nvPr/>
        </p:nvSpPr>
        <p:spPr bwMode="auto">
          <a:xfrm>
            <a:off x="3928175" y="4762680"/>
            <a:ext cx="1267619" cy="2436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lgn="r">
              <a:defRPr sz="2500" b="1" cap="all">
                <a:solidFill>
                  <a:srgbClr val="344245"/>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sz="1250" b="1" i="0" u="none" strike="noStrike" kern="0" cap="all" spc="0" normalizeH="0" baseline="0" noProof="0">
                <a:ln>
                  <a:noFill/>
                </a:ln>
                <a:solidFill>
                  <a:schemeClr val="accent1"/>
                </a:solidFill>
                <a:effectLst/>
                <a:uLnTx/>
                <a:uFillTx/>
                <a:latin typeface="Arial"/>
                <a:cs typeface="+mn-ea"/>
                <a:sym typeface="+mn-lt"/>
              </a:rPr>
              <a:t>Text inform</a:t>
            </a:r>
          </a:p>
        </p:txBody>
      </p:sp>
      <p:sp>
        <p:nvSpPr>
          <p:cNvPr id="33" name="Shape 77">
            <a:extLst>
              <a:ext uri="{FF2B5EF4-FFF2-40B4-BE49-F238E27FC236}">
                <a16:creationId xmlns:a16="http://schemas.microsoft.com/office/drawing/2014/main" id="{DA60B39C-95E4-4C2F-B265-09AC424EC0F8}"/>
              </a:ext>
            </a:extLst>
          </p:cNvPr>
          <p:cNvSpPr>
            <a:spLocks noChangeArrowheads="1"/>
          </p:cNvSpPr>
          <p:nvPr/>
        </p:nvSpPr>
        <p:spPr bwMode="auto">
          <a:xfrm>
            <a:off x="4139659" y="1073713"/>
            <a:ext cx="431804" cy="431879"/>
          </a:xfrm>
          <a:prstGeom prst="ellipse">
            <a:avLst/>
          </a:prstGeom>
          <a:solidFill>
            <a:schemeClr val="accent1">
              <a:lumMod val="100000"/>
            </a:schemeClr>
          </a:solidFill>
          <a:ln w="63500">
            <a:solidFill>
              <a:schemeClr val="accent1">
                <a:lumMod val="100000"/>
              </a:schemeClr>
            </a:solidFill>
            <a:miter lim="400000"/>
            <a:headEnd/>
            <a:tailEnd/>
          </a:ln>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FFFFFF"/>
              </a:solidFill>
              <a:effectLst/>
              <a:uLnTx/>
              <a:uFillTx/>
              <a:latin typeface="Arial"/>
              <a:cs typeface="+mn-ea"/>
              <a:sym typeface="+mn-lt"/>
            </a:endParaRPr>
          </a:p>
        </p:txBody>
      </p:sp>
      <p:sp>
        <p:nvSpPr>
          <p:cNvPr id="34" name="Shape 78">
            <a:extLst>
              <a:ext uri="{FF2B5EF4-FFF2-40B4-BE49-F238E27FC236}">
                <a16:creationId xmlns:a16="http://schemas.microsoft.com/office/drawing/2014/main" id="{CAA096E0-0D9B-4152-BC27-14F6109BB8BA}"/>
              </a:ext>
            </a:extLst>
          </p:cNvPr>
          <p:cNvSpPr>
            <a:spLocks noChangeArrowheads="1"/>
          </p:cNvSpPr>
          <p:nvPr/>
        </p:nvSpPr>
        <p:spPr bwMode="auto">
          <a:xfrm>
            <a:off x="4174238" y="1161436"/>
            <a:ext cx="362744" cy="2436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lgn="ctr">
              <a:defRPr sz="2500" cap="all">
                <a:solidFill>
                  <a:srgbClr val="FFFFFF"/>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sz="1250" b="1" i="0" u="none" strike="noStrike" kern="0" cap="all" spc="0" normalizeH="0" baseline="0" noProof="0">
                <a:ln>
                  <a:noFill/>
                </a:ln>
                <a:solidFill>
                  <a:srgbClr val="FFFFFF"/>
                </a:solidFill>
                <a:effectLst/>
                <a:uLnTx/>
                <a:uFillTx/>
                <a:latin typeface="Arial"/>
                <a:cs typeface="+mn-ea"/>
                <a:sym typeface="+mn-lt"/>
              </a:rPr>
              <a:t>3</a:t>
            </a:r>
          </a:p>
        </p:txBody>
      </p:sp>
      <p:sp>
        <p:nvSpPr>
          <p:cNvPr id="35" name="Shape 79">
            <a:extLst>
              <a:ext uri="{FF2B5EF4-FFF2-40B4-BE49-F238E27FC236}">
                <a16:creationId xmlns:a16="http://schemas.microsoft.com/office/drawing/2014/main" id="{9C36EF25-894D-4FD6-B50A-2A665063F67A}"/>
              </a:ext>
            </a:extLst>
          </p:cNvPr>
          <p:cNvSpPr>
            <a:spLocks noChangeArrowheads="1"/>
          </p:cNvSpPr>
          <p:nvPr/>
        </p:nvSpPr>
        <p:spPr bwMode="auto">
          <a:xfrm>
            <a:off x="2760569" y="1174930"/>
            <a:ext cx="1267619" cy="2436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lgn="r">
              <a:defRPr sz="2500" b="1" cap="all">
                <a:solidFill>
                  <a:srgbClr val="344245"/>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sz="1250" b="1" i="0" u="none" strike="noStrike" kern="0" cap="all" spc="0" normalizeH="0" baseline="0" noProof="0">
                <a:ln>
                  <a:noFill/>
                </a:ln>
                <a:solidFill>
                  <a:schemeClr val="accent1"/>
                </a:solidFill>
                <a:effectLst/>
                <a:uLnTx/>
                <a:uFillTx/>
                <a:latin typeface="Arial"/>
                <a:cs typeface="+mn-ea"/>
                <a:sym typeface="+mn-lt"/>
              </a:rPr>
              <a:t>Text inform</a:t>
            </a:r>
          </a:p>
        </p:txBody>
      </p:sp>
      <p:sp>
        <p:nvSpPr>
          <p:cNvPr id="36" name="Shape 80">
            <a:extLst>
              <a:ext uri="{FF2B5EF4-FFF2-40B4-BE49-F238E27FC236}">
                <a16:creationId xmlns:a16="http://schemas.microsoft.com/office/drawing/2014/main" id="{BBBD792C-F7BC-40E1-A5B7-98482B3BFEAC}"/>
              </a:ext>
            </a:extLst>
          </p:cNvPr>
          <p:cNvSpPr>
            <a:spLocks noChangeArrowheads="1"/>
          </p:cNvSpPr>
          <p:nvPr/>
        </p:nvSpPr>
        <p:spPr bwMode="auto">
          <a:xfrm>
            <a:off x="6334823" y="1073713"/>
            <a:ext cx="431804" cy="431879"/>
          </a:xfrm>
          <a:prstGeom prst="ellipse">
            <a:avLst/>
          </a:prstGeom>
          <a:solidFill>
            <a:schemeClr val="accent1">
              <a:lumMod val="100000"/>
            </a:schemeClr>
          </a:solidFill>
          <a:ln w="63500">
            <a:solidFill>
              <a:schemeClr val="accent1">
                <a:lumMod val="100000"/>
              </a:schemeClr>
            </a:solidFill>
            <a:miter lim="400000"/>
            <a:headEnd/>
            <a:tailEnd/>
          </a:ln>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FFFFFF"/>
              </a:solidFill>
              <a:effectLst/>
              <a:uLnTx/>
              <a:uFillTx/>
              <a:latin typeface="Arial"/>
              <a:cs typeface="+mn-ea"/>
              <a:sym typeface="+mn-lt"/>
            </a:endParaRPr>
          </a:p>
        </p:txBody>
      </p:sp>
      <p:sp>
        <p:nvSpPr>
          <p:cNvPr id="37" name="Shape 81">
            <a:extLst>
              <a:ext uri="{FF2B5EF4-FFF2-40B4-BE49-F238E27FC236}">
                <a16:creationId xmlns:a16="http://schemas.microsoft.com/office/drawing/2014/main" id="{C1A901DD-1DC4-4E8F-B553-448AAD1DC232}"/>
              </a:ext>
            </a:extLst>
          </p:cNvPr>
          <p:cNvSpPr>
            <a:spLocks noChangeArrowheads="1"/>
          </p:cNvSpPr>
          <p:nvPr/>
        </p:nvSpPr>
        <p:spPr bwMode="auto">
          <a:xfrm>
            <a:off x="6376100" y="1167786"/>
            <a:ext cx="361950" cy="2436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lgn="ctr">
              <a:defRPr sz="2500" cap="all">
                <a:solidFill>
                  <a:srgbClr val="FFFFFF"/>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sz="1250" b="1" i="0" u="none" strike="noStrike" kern="0" cap="all" spc="0" normalizeH="0" baseline="0" noProof="0" dirty="0">
                <a:ln>
                  <a:noFill/>
                </a:ln>
                <a:solidFill>
                  <a:srgbClr val="FFFFFF"/>
                </a:solidFill>
                <a:effectLst/>
                <a:uLnTx/>
                <a:uFillTx/>
                <a:latin typeface="Arial"/>
                <a:cs typeface="+mn-ea"/>
                <a:sym typeface="+mn-lt"/>
              </a:rPr>
              <a:t>5</a:t>
            </a:r>
          </a:p>
        </p:txBody>
      </p:sp>
      <p:sp>
        <p:nvSpPr>
          <p:cNvPr id="38" name="Shape 82">
            <a:extLst>
              <a:ext uri="{FF2B5EF4-FFF2-40B4-BE49-F238E27FC236}">
                <a16:creationId xmlns:a16="http://schemas.microsoft.com/office/drawing/2014/main" id="{1A75233E-F98B-464C-BB6E-3F66BD0465B0}"/>
              </a:ext>
            </a:extLst>
          </p:cNvPr>
          <p:cNvSpPr>
            <a:spLocks noChangeArrowheads="1"/>
          </p:cNvSpPr>
          <p:nvPr/>
        </p:nvSpPr>
        <p:spPr bwMode="auto">
          <a:xfrm>
            <a:off x="4955288" y="1174930"/>
            <a:ext cx="1268413" cy="2436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lgn="r">
              <a:defRPr sz="2500" b="1" cap="all">
                <a:solidFill>
                  <a:srgbClr val="344245"/>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sz="1250" b="1" i="0" u="none" strike="noStrike" kern="0" cap="all" spc="0" normalizeH="0" baseline="0" noProof="0" dirty="0">
                <a:ln>
                  <a:noFill/>
                </a:ln>
                <a:solidFill>
                  <a:schemeClr val="accent1"/>
                </a:solidFill>
                <a:effectLst/>
                <a:uLnTx/>
                <a:uFillTx/>
                <a:latin typeface="Arial"/>
                <a:cs typeface="+mn-ea"/>
                <a:sym typeface="+mn-lt"/>
              </a:rPr>
              <a:t>Text inform</a:t>
            </a:r>
          </a:p>
        </p:txBody>
      </p:sp>
      <p:sp>
        <p:nvSpPr>
          <p:cNvPr id="39" name="Shape 83">
            <a:extLst>
              <a:ext uri="{FF2B5EF4-FFF2-40B4-BE49-F238E27FC236}">
                <a16:creationId xmlns:a16="http://schemas.microsoft.com/office/drawing/2014/main" id="{FD9E50F4-DEDA-4B9E-8525-FE2CFF3C7B50}"/>
              </a:ext>
            </a:extLst>
          </p:cNvPr>
          <p:cNvSpPr>
            <a:spLocks noChangeArrowheads="1"/>
          </p:cNvSpPr>
          <p:nvPr/>
        </p:nvSpPr>
        <p:spPr bwMode="auto">
          <a:xfrm>
            <a:off x="1937936" y="1073713"/>
            <a:ext cx="431804" cy="431879"/>
          </a:xfrm>
          <a:prstGeom prst="ellipse">
            <a:avLst/>
          </a:prstGeom>
          <a:solidFill>
            <a:schemeClr val="accent1">
              <a:lumMod val="100000"/>
            </a:schemeClr>
          </a:solidFill>
          <a:ln w="63500">
            <a:solidFill>
              <a:schemeClr val="accent1">
                <a:lumMod val="100000"/>
              </a:schemeClr>
            </a:solidFill>
            <a:miter lim="400000"/>
            <a:headEnd/>
            <a:tailEnd/>
          </a:ln>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FFFFFF"/>
              </a:solidFill>
              <a:effectLst/>
              <a:uLnTx/>
              <a:uFillTx/>
              <a:latin typeface="Arial"/>
              <a:cs typeface="+mn-ea"/>
              <a:sym typeface="+mn-lt"/>
            </a:endParaRPr>
          </a:p>
        </p:txBody>
      </p:sp>
      <p:sp>
        <p:nvSpPr>
          <p:cNvPr id="40" name="Shape 84">
            <a:extLst>
              <a:ext uri="{FF2B5EF4-FFF2-40B4-BE49-F238E27FC236}">
                <a16:creationId xmlns:a16="http://schemas.microsoft.com/office/drawing/2014/main" id="{4DC3C42C-F517-43CB-A408-A6789F648F24}"/>
              </a:ext>
            </a:extLst>
          </p:cNvPr>
          <p:cNvSpPr>
            <a:spLocks noChangeArrowheads="1"/>
          </p:cNvSpPr>
          <p:nvPr/>
        </p:nvSpPr>
        <p:spPr bwMode="auto">
          <a:xfrm>
            <a:off x="1972375" y="1161436"/>
            <a:ext cx="362744" cy="2436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lgn="ctr">
              <a:defRPr sz="2500" cap="all">
                <a:solidFill>
                  <a:srgbClr val="FFFFFF"/>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sz="1250" b="1" i="0" u="none" strike="noStrike" kern="0" cap="all" spc="0" normalizeH="0" baseline="0" noProof="0">
                <a:ln>
                  <a:noFill/>
                </a:ln>
                <a:solidFill>
                  <a:srgbClr val="FFFFFF"/>
                </a:solidFill>
                <a:effectLst/>
                <a:uLnTx/>
                <a:uFillTx/>
                <a:latin typeface="Arial"/>
                <a:cs typeface="+mn-ea"/>
                <a:sym typeface="+mn-lt"/>
              </a:rPr>
              <a:t>1</a:t>
            </a:r>
          </a:p>
        </p:txBody>
      </p:sp>
      <p:sp>
        <p:nvSpPr>
          <p:cNvPr id="41" name="Shape 85">
            <a:extLst>
              <a:ext uri="{FF2B5EF4-FFF2-40B4-BE49-F238E27FC236}">
                <a16:creationId xmlns:a16="http://schemas.microsoft.com/office/drawing/2014/main" id="{BCB3D108-8164-4483-BD08-D1E3C4BE34C1}"/>
              </a:ext>
            </a:extLst>
          </p:cNvPr>
          <p:cNvSpPr>
            <a:spLocks noChangeArrowheads="1"/>
          </p:cNvSpPr>
          <p:nvPr/>
        </p:nvSpPr>
        <p:spPr bwMode="auto">
          <a:xfrm>
            <a:off x="558706" y="1174930"/>
            <a:ext cx="1267619" cy="2436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lgn="r">
              <a:defRPr sz="2500" b="1" cap="all">
                <a:solidFill>
                  <a:srgbClr val="344245"/>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sz="1250" b="1" i="0" u="none" strike="noStrike" kern="0" cap="all" spc="0" normalizeH="0" baseline="0" noProof="0">
                <a:ln>
                  <a:noFill/>
                </a:ln>
                <a:solidFill>
                  <a:schemeClr val="accent1"/>
                </a:solidFill>
                <a:effectLst/>
                <a:uLnTx/>
                <a:uFillTx/>
                <a:latin typeface="Arial"/>
                <a:cs typeface="+mn-ea"/>
                <a:sym typeface="+mn-lt"/>
              </a:rPr>
              <a:t>Text inform</a:t>
            </a:r>
          </a:p>
        </p:txBody>
      </p:sp>
      <p:sp>
        <p:nvSpPr>
          <p:cNvPr id="42" name="Shape 86">
            <a:extLst>
              <a:ext uri="{FF2B5EF4-FFF2-40B4-BE49-F238E27FC236}">
                <a16:creationId xmlns:a16="http://schemas.microsoft.com/office/drawing/2014/main" id="{23BA2C65-32D0-479E-A504-204A7BF50BCB}"/>
              </a:ext>
            </a:extLst>
          </p:cNvPr>
          <p:cNvSpPr>
            <a:spLocks noChangeArrowheads="1"/>
          </p:cNvSpPr>
          <p:nvPr/>
        </p:nvSpPr>
        <p:spPr bwMode="auto">
          <a:xfrm>
            <a:off x="2625266" y="1905829"/>
            <a:ext cx="190325" cy="190359"/>
          </a:xfrm>
          <a:prstGeom prst="ellipse">
            <a:avLst/>
          </a:prstGeom>
          <a:solidFill>
            <a:schemeClr val="accent1">
              <a:lumMod val="100000"/>
            </a:schemeClr>
          </a:solidFill>
          <a:ln>
            <a:noFill/>
          </a:ln>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FFFFFF"/>
              </a:solidFill>
              <a:effectLst/>
              <a:uLnTx/>
              <a:uFillTx/>
              <a:latin typeface="Arial"/>
              <a:cs typeface="+mn-ea"/>
              <a:sym typeface="+mn-lt"/>
            </a:endParaRPr>
          </a:p>
        </p:txBody>
      </p:sp>
      <p:sp>
        <p:nvSpPr>
          <p:cNvPr id="43" name="Shape 89">
            <a:extLst>
              <a:ext uri="{FF2B5EF4-FFF2-40B4-BE49-F238E27FC236}">
                <a16:creationId xmlns:a16="http://schemas.microsoft.com/office/drawing/2014/main" id="{DC03B886-0B56-4EB6-8573-819DBE1BB489}"/>
              </a:ext>
            </a:extLst>
          </p:cNvPr>
          <p:cNvSpPr>
            <a:spLocks noChangeArrowheads="1"/>
          </p:cNvSpPr>
          <p:nvPr/>
        </p:nvSpPr>
        <p:spPr bwMode="auto">
          <a:xfrm>
            <a:off x="3072686" y="2423808"/>
            <a:ext cx="190325" cy="190358"/>
          </a:xfrm>
          <a:prstGeom prst="ellipse">
            <a:avLst/>
          </a:prstGeom>
          <a:solidFill>
            <a:schemeClr val="accent1">
              <a:lumMod val="100000"/>
            </a:schemeClr>
          </a:solidFill>
          <a:ln>
            <a:noFill/>
          </a:ln>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FFFFFF"/>
              </a:solidFill>
              <a:effectLst/>
              <a:uLnTx/>
              <a:uFillTx/>
              <a:latin typeface="Arial"/>
              <a:cs typeface="+mn-ea"/>
              <a:sym typeface="+mn-lt"/>
            </a:endParaRPr>
          </a:p>
        </p:txBody>
      </p:sp>
      <p:sp>
        <p:nvSpPr>
          <p:cNvPr id="44" name="Shape 92">
            <a:extLst>
              <a:ext uri="{FF2B5EF4-FFF2-40B4-BE49-F238E27FC236}">
                <a16:creationId xmlns:a16="http://schemas.microsoft.com/office/drawing/2014/main" id="{D0EDC4F8-AF6D-4370-8FB0-A90089858C17}"/>
              </a:ext>
            </a:extLst>
          </p:cNvPr>
          <p:cNvSpPr>
            <a:spLocks noChangeArrowheads="1"/>
          </p:cNvSpPr>
          <p:nvPr/>
        </p:nvSpPr>
        <p:spPr bwMode="auto">
          <a:xfrm>
            <a:off x="4894999" y="1905301"/>
            <a:ext cx="190325" cy="190359"/>
          </a:xfrm>
          <a:prstGeom prst="ellipse">
            <a:avLst/>
          </a:prstGeom>
          <a:solidFill>
            <a:schemeClr val="accent1">
              <a:lumMod val="100000"/>
            </a:schemeClr>
          </a:solidFill>
          <a:ln>
            <a:noFill/>
          </a:ln>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FFFFFF"/>
              </a:solidFill>
              <a:effectLst/>
              <a:uLnTx/>
              <a:uFillTx/>
              <a:latin typeface="Arial"/>
              <a:cs typeface="+mn-ea"/>
              <a:sym typeface="+mn-lt"/>
            </a:endParaRPr>
          </a:p>
        </p:txBody>
      </p:sp>
      <p:sp>
        <p:nvSpPr>
          <p:cNvPr id="45" name="Shape 95">
            <a:extLst>
              <a:ext uri="{FF2B5EF4-FFF2-40B4-BE49-F238E27FC236}">
                <a16:creationId xmlns:a16="http://schemas.microsoft.com/office/drawing/2014/main" id="{984A04FE-4D58-400C-8415-CE783EA89078}"/>
              </a:ext>
            </a:extLst>
          </p:cNvPr>
          <p:cNvSpPr>
            <a:spLocks noChangeArrowheads="1"/>
          </p:cNvSpPr>
          <p:nvPr/>
        </p:nvSpPr>
        <p:spPr bwMode="auto">
          <a:xfrm>
            <a:off x="5348769" y="2423280"/>
            <a:ext cx="190325" cy="190358"/>
          </a:xfrm>
          <a:prstGeom prst="ellipse">
            <a:avLst/>
          </a:prstGeom>
          <a:solidFill>
            <a:schemeClr val="accent1">
              <a:lumMod val="100000"/>
            </a:schemeClr>
          </a:solidFill>
          <a:ln>
            <a:noFill/>
          </a:ln>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FFFFFF"/>
              </a:solidFill>
              <a:effectLst/>
              <a:uLnTx/>
              <a:uFillTx/>
              <a:latin typeface="Arial"/>
              <a:cs typeface="+mn-ea"/>
              <a:sym typeface="+mn-lt"/>
            </a:endParaRPr>
          </a:p>
        </p:txBody>
      </p:sp>
      <p:sp>
        <p:nvSpPr>
          <p:cNvPr id="46" name="Shape 98">
            <a:extLst>
              <a:ext uri="{FF2B5EF4-FFF2-40B4-BE49-F238E27FC236}">
                <a16:creationId xmlns:a16="http://schemas.microsoft.com/office/drawing/2014/main" id="{1F49A88F-D227-4548-B022-9459FD676690}"/>
              </a:ext>
            </a:extLst>
          </p:cNvPr>
          <p:cNvSpPr>
            <a:spLocks noChangeArrowheads="1"/>
          </p:cNvSpPr>
          <p:nvPr/>
        </p:nvSpPr>
        <p:spPr bwMode="auto">
          <a:xfrm>
            <a:off x="7031790" y="1904017"/>
            <a:ext cx="190325" cy="190359"/>
          </a:xfrm>
          <a:prstGeom prst="ellipse">
            <a:avLst/>
          </a:prstGeom>
          <a:solidFill>
            <a:schemeClr val="accent1">
              <a:lumMod val="100000"/>
            </a:schemeClr>
          </a:solidFill>
          <a:ln>
            <a:noFill/>
          </a:ln>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FFFFFF"/>
              </a:solidFill>
              <a:effectLst/>
              <a:uLnTx/>
              <a:uFillTx/>
              <a:latin typeface="Arial"/>
              <a:cs typeface="+mn-ea"/>
              <a:sym typeface="+mn-lt"/>
            </a:endParaRPr>
          </a:p>
        </p:txBody>
      </p:sp>
      <p:sp>
        <p:nvSpPr>
          <p:cNvPr id="47" name="Shape 101">
            <a:extLst>
              <a:ext uri="{FF2B5EF4-FFF2-40B4-BE49-F238E27FC236}">
                <a16:creationId xmlns:a16="http://schemas.microsoft.com/office/drawing/2014/main" id="{76FBABB3-2970-46B9-9D94-D9D583B11EE9}"/>
              </a:ext>
            </a:extLst>
          </p:cNvPr>
          <p:cNvSpPr>
            <a:spLocks noChangeArrowheads="1"/>
          </p:cNvSpPr>
          <p:nvPr/>
        </p:nvSpPr>
        <p:spPr bwMode="auto">
          <a:xfrm>
            <a:off x="7485561" y="2421996"/>
            <a:ext cx="190325" cy="190358"/>
          </a:xfrm>
          <a:prstGeom prst="ellipse">
            <a:avLst/>
          </a:prstGeom>
          <a:solidFill>
            <a:schemeClr val="accent1">
              <a:lumMod val="100000"/>
            </a:schemeClr>
          </a:solidFill>
          <a:ln>
            <a:noFill/>
          </a:ln>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FFFFFF"/>
              </a:solidFill>
              <a:effectLst/>
              <a:uLnTx/>
              <a:uFillTx/>
              <a:latin typeface="Arial"/>
              <a:cs typeface="+mn-ea"/>
              <a:sym typeface="+mn-lt"/>
            </a:endParaRPr>
          </a:p>
        </p:txBody>
      </p:sp>
      <p:sp>
        <p:nvSpPr>
          <p:cNvPr id="48" name="Shape 104">
            <a:extLst>
              <a:ext uri="{FF2B5EF4-FFF2-40B4-BE49-F238E27FC236}">
                <a16:creationId xmlns:a16="http://schemas.microsoft.com/office/drawing/2014/main" id="{AF6A3EA4-17A1-48F0-89A6-D0903FBEE202}"/>
              </a:ext>
            </a:extLst>
          </p:cNvPr>
          <p:cNvSpPr>
            <a:spLocks noChangeArrowheads="1"/>
          </p:cNvSpPr>
          <p:nvPr/>
        </p:nvSpPr>
        <p:spPr bwMode="auto">
          <a:xfrm>
            <a:off x="3812467" y="4088647"/>
            <a:ext cx="190325" cy="190358"/>
          </a:xfrm>
          <a:prstGeom prst="ellipse">
            <a:avLst/>
          </a:prstGeom>
          <a:solidFill>
            <a:schemeClr val="accent1">
              <a:lumMod val="100000"/>
            </a:schemeClr>
          </a:solidFill>
          <a:ln>
            <a:noFill/>
          </a:ln>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FFFFFF"/>
              </a:solidFill>
              <a:effectLst/>
              <a:uLnTx/>
              <a:uFillTx/>
              <a:latin typeface="Arial"/>
              <a:cs typeface="+mn-ea"/>
              <a:sym typeface="+mn-lt"/>
            </a:endParaRPr>
          </a:p>
        </p:txBody>
      </p:sp>
      <p:sp>
        <p:nvSpPr>
          <p:cNvPr id="49" name="Shape 107">
            <a:extLst>
              <a:ext uri="{FF2B5EF4-FFF2-40B4-BE49-F238E27FC236}">
                <a16:creationId xmlns:a16="http://schemas.microsoft.com/office/drawing/2014/main" id="{5A499291-9C18-4F16-A5DE-A354A4119941}"/>
              </a:ext>
            </a:extLst>
          </p:cNvPr>
          <p:cNvSpPr>
            <a:spLocks noChangeArrowheads="1"/>
          </p:cNvSpPr>
          <p:nvPr/>
        </p:nvSpPr>
        <p:spPr bwMode="auto">
          <a:xfrm>
            <a:off x="4254050" y="3576193"/>
            <a:ext cx="190325" cy="190358"/>
          </a:xfrm>
          <a:prstGeom prst="ellipse">
            <a:avLst/>
          </a:prstGeom>
          <a:solidFill>
            <a:schemeClr val="accent1">
              <a:lumMod val="100000"/>
            </a:schemeClr>
          </a:solidFill>
          <a:ln>
            <a:noFill/>
          </a:ln>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FFFFFF"/>
              </a:solidFill>
              <a:effectLst/>
              <a:uLnTx/>
              <a:uFillTx/>
              <a:latin typeface="Arial"/>
              <a:cs typeface="+mn-ea"/>
              <a:sym typeface="+mn-lt"/>
            </a:endParaRPr>
          </a:p>
        </p:txBody>
      </p:sp>
      <p:sp>
        <p:nvSpPr>
          <p:cNvPr id="50" name="Shape 110">
            <a:extLst>
              <a:ext uri="{FF2B5EF4-FFF2-40B4-BE49-F238E27FC236}">
                <a16:creationId xmlns:a16="http://schemas.microsoft.com/office/drawing/2014/main" id="{3B0D52BA-F6EB-411A-867A-0FB58B7CFEAD}"/>
              </a:ext>
            </a:extLst>
          </p:cNvPr>
          <p:cNvSpPr>
            <a:spLocks noChangeArrowheads="1"/>
          </p:cNvSpPr>
          <p:nvPr/>
        </p:nvSpPr>
        <p:spPr bwMode="auto">
          <a:xfrm>
            <a:off x="5990772" y="4086274"/>
            <a:ext cx="190326" cy="190358"/>
          </a:xfrm>
          <a:prstGeom prst="ellipse">
            <a:avLst/>
          </a:prstGeom>
          <a:solidFill>
            <a:schemeClr val="accent1">
              <a:lumMod val="100000"/>
            </a:schemeClr>
          </a:solidFill>
          <a:ln>
            <a:noFill/>
          </a:ln>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FFFFFF"/>
              </a:solidFill>
              <a:effectLst/>
              <a:uLnTx/>
              <a:uFillTx/>
              <a:latin typeface="Arial"/>
              <a:cs typeface="+mn-ea"/>
              <a:sym typeface="+mn-lt"/>
            </a:endParaRPr>
          </a:p>
        </p:txBody>
      </p:sp>
      <p:sp>
        <p:nvSpPr>
          <p:cNvPr id="51" name="Shape 113">
            <a:extLst>
              <a:ext uri="{FF2B5EF4-FFF2-40B4-BE49-F238E27FC236}">
                <a16:creationId xmlns:a16="http://schemas.microsoft.com/office/drawing/2014/main" id="{1519E489-F702-45D8-BD0D-9017064372C1}"/>
              </a:ext>
            </a:extLst>
          </p:cNvPr>
          <p:cNvSpPr>
            <a:spLocks noChangeArrowheads="1"/>
          </p:cNvSpPr>
          <p:nvPr/>
        </p:nvSpPr>
        <p:spPr bwMode="auto">
          <a:xfrm>
            <a:off x="6432353" y="3573820"/>
            <a:ext cx="190325" cy="190358"/>
          </a:xfrm>
          <a:prstGeom prst="ellipse">
            <a:avLst/>
          </a:prstGeom>
          <a:solidFill>
            <a:schemeClr val="accent1">
              <a:lumMod val="100000"/>
            </a:schemeClr>
          </a:solidFill>
          <a:ln>
            <a:noFill/>
          </a:ln>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FFFFFF"/>
              </a:solidFill>
              <a:effectLst/>
              <a:uLnTx/>
              <a:uFillTx/>
              <a:latin typeface="Arial"/>
              <a:cs typeface="+mn-ea"/>
              <a:sym typeface="+mn-lt"/>
            </a:endParaRPr>
          </a:p>
        </p:txBody>
      </p:sp>
      <p:sp>
        <p:nvSpPr>
          <p:cNvPr id="52" name="Shape 87">
            <a:extLst>
              <a:ext uri="{FF2B5EF4-FFF2-40B4-BE49-F238E27FC236}">
                <a16:creationId xmlns:a16="http://schemas.microsoft.com/office/drawing/2014/main" id="{5C4A165A-50D0-4791-90DE-DF9C95769B1A}"/>
              </a:ext>
            </a:extLst>
          </p:cNvPr>
          <p:cNvSpPr>
            <a:spLocks noChangeArrowheads="1"/>
          </p:cNvSpPr>
          <p:nvPr/>
        </p:nvSpPr>
        <p:spPr bwMode="auto">
          <a:xfrm>
            <a:off x="2575922" y="1900368"/>
            <a:ext cx="289012" cy="1897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altLang="ru-RU" sz="900" b="1" i="0" u="none" strike="noStrike" kern="1200" cap="none" spc="0" normalizeH="0" baseline="0" noProof="0" dirty="0" err="1">
                <a:ln>
                  <a:noFill/>
                </a:ln>
                <a:solidFill>
                  <a:srgbClr val="FFFFFF"/>
                </a:solidFill>
                <a:effectLst/>
                <a:uLnTx/>
                <a:uFillTx/>
                <a:latin typeface="Arial"/>
                <a:cs typeface="+mn-ea"/>
                <a:sym typeface="+mn-lt"/>
              </a:rPr>
              <a:t>A</a:t>
            </a:r>
            <a:endParaRPr kumimoji="0" lang="ru-RU" altLang="ru-RU" sz="900" b="1" i="0" u="none" strike="noStrike" kern="1200" cap="none" spc="0" normalizeH="0" baseline="0" noProof="0" dirty="0">
              <a:ln>
                <a:noFill/>
              </a:ln>
              <a:solidFill>
                <a:srgbClr val="FFFFFF"/>
              </a:solidFill>
              <a:effectLst/>
              <a:uLnTx/>
              <a:uFillTx/>
              <a:latin typeface="Arial"/>
              <a:cs typeface="+mn-ea"/>
              <a:sym typeface="+mn-lt"/>
            </a:endParaRPr>
          </a:p>
        </p:txBody>
      </p:sp>
      <p:sp>
        <p:nvSpPr>
          <p:cNvPr id="53" name="Shape 90">
            <a:extLst>
              <a:ext uri="{FF2B5EF4-FFF2-40B4-BE49-F238E27FC236}">
                <a16:creationId xmlns:a16="http://schemas.microsoft.com/office/drawing/2014/main" id="{09A22586-2BFF-422C-A3AF-625C1969D22A}"/>
              </a:ext>
            </a:extLst>
          </p:cNvPr>
          <p:cNvSpPr>
            <a:spLocks noChangeArrowheads="1"/>
          </p:cNvSpPr>
          <p:nvPr/>
        </p:nvSpPr>
        <p:spPr bwMode="auto">
          <a:xfrm>
            <a:off x="3029693" y="2421552"/>
            <a:ext cx="289012" cy="1897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altLang="ru-RU" sz="900" b="1" i="0" u="none" strike="noStrike" kern="1200" cap="none" spc="0" normalizeH="0" baseline="0" noProof="0">
                <a:ln>
                  <a:noFill/>
                </a:ln>
                <a:solidFill>
                  <a:srgbClr val="FFFFFF"/>
                </a:solidFill>
                <a:effectLst/>
                <a:uLnTx/>
                <a:uFillTx/>
                <a:latin typeface="Arial"/>
                <a:cs typeface="+mn-ea"/>
                <a:sym typeface="+mn-lt"/>
              </a:rPr>
              <a:t>B</a:t>
            </a:r>
          </a:p>
        </p:txBody>
      </p:sp>
      <p:sp>
        <p:nvSpPr>
          <p:cNvPr id="54" name="Shape 93">
            <a:extLst>
              <a:ext uri="{FF2B5EF4-FFF2-40B4-BE49-F238E27FC236}">
                <a16:creationId xmlns:a16="http://schemas.microsoft.com/office/drawing/2014/main" id="{2D1B9CE1-D6C4-449B-A952-B28FC0FC41E9}"/>
              </a:ext>
            </a:extLst>
          </p:cNvPr>
          <p:cNvSpPr>
            <a:spLocks noChangeArrowheads="1"/>
          </p:cNvSpPr>
          <p:nvPr/>
        </p:nvSpPr>
        <p:spPr bwMode="auto">
          <a:xfrm>
            <a:off x="4845655" y="1899840"/>
            <a:ext cx="289012" cy="1897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altLang="ru-RU" sz="900" b="1" i="0" u="none" strike="noStrike" kern="1200" cap="none" spc="0" normalizeH="0" baseline="0" noProof="0">
                <a:ln>
                  <a:noFill/>
                </a:ln>
                <a:solidFill>
                  <a:srgbClr val="FFFFFF"/>
                </a:solidFill>
                <a:effectLst/>
                <a:uLnTx/>
                <a:uFillTx/>
                <a:latin typeface="Arial"/>
                <a:cs typeface="+mn-ea"/>
                <a:sym typeface="+mn-lt"/>
              </a:rPr>
              <a:t>A</a:t>
            </a:r>
          </a:p>
        </p:txBody>
      </p:sp>
      <p:sp>
        <p:nvSpPr>
          <p:cNvPr id="55" name="Shape 96">
            <a:extLst>
              <a:ext uri="{FF2B5EF4-FFF2-40B4-BE49-F238E27FC236}">
                <a16:creationId xmlns:a16="http://schemas.microsoft.com/office/drawing/2014/main" id="{2D9C9FFA-D80E-4A89-B74B-7D0498C992C1}"/>
              </a:ext>
            </a:extLst>
          </p:cNvPr>
          <p:cNvSpPr>
            <a:spLocks noChangeArrowheads="1"/>
          </p:cNvSpPr>
          <p:nvPr/>
        </p:nvSpPr>
        <p:spPr bwMode="auto">
          <a:xfrm>
            <a:off x="5305776" y="2421024"/>
            <a:ext cx="289012" cy="1897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altLang="ru-RU" sz="900" b="1" i="0" u="none" strike="noStrike" kern="1200" cap="none" spc="0" normalizeH="0" baseline="0" noProof="0">
                <a:ln>
                  <a:noFill/>
                </a:ln>
                <a:solidFill>
                  <a:srgbClr val="FFFFFF"/>
                </a:solidFill>
                <a:effectLst/>
                <a:uLnTx/>
                <a:uFillTx/>
                <a:latin typeface="Arial"/>
                <a:cs typeface="+mn-ea"/>
                <a:sym typeface="+mn-lt"/>
              </a:rPr>
              <a:t>B</a:t>
            </a:r>
          </a:p>
        </p:txBody>
      </p:sp>
      <p:sp>
        <p:nvSpPr>
          <p:cNvPr id="56" name="Shape 99">
            <a:extLst>
              <a:ext uri="{FF2B5EF4-FFF2-40B4-BE49-F238E27FC236}">
                <a16:creationId xmlns:a16="http://schemas.microsoft.com/office/drawing/2014/main" id="{2F01B268-B6F8-4EDD-B2CE-62DA550D56BE}"/>
              </a:ext>
            </a:extLst>
          </p:cNvPr>
          <p:cNvSpPr>
            <a:spLocks noChangeArrowheads="1"/>
          </p:cNvSpPr>
          <p:nvPr/>
        </p:nvSpPr>
        <p:spPr bwMode="auto">
          <a:xfrm>
            <a:off x="6982447" y="1898556"/>
            <a:ext cx="289012" cy="1897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altLang="ru-RU" sz="900" b="1" i="0" u="none" strike="noStrike" kern="1200" cap="none" spc="0" normalizeH="0" baseline="0" noProof="0" dirty="0" err="1">
                <a:ln>
                  <a:noFill/>
                </a:ln>
                <a:solidFill>
                  <a:srgbClr val="FFFFFF"/>
                </a:solidFill>
                <a:effectLst/>
                <a:uLnTx/>
                <a:uFillTx/>
                <a:latin typeface="Arial"/>
                <a:cs typeface="+mn-ea"/>
                <a:sym typeface="+mn-lt"/>
              </a:rPr>
              <a:t>A</a:t>
            </a:r>
            <a:endParaRPr kumimoji="0" lang="ru-RU" altLang="ru-RU" sz="900" b="1" i="0" u="none" strike="noStrike" kern="1200" cap="none" spc="0" normalizeH="0" baseline="0" noProof="0" dirty="0">
              <a:ln>
                <a:noFill/>
              </a:ln>
              <a:solidFill>
                <a:srgbClr val="FFFFFF"/>
              </a:solidFill>
              <a:effectLst/>
              <a:uLnTx/>
              <a:uFillTx/>
              <a:latin typeface="Arial"/>
              <a:cs typeface="+mn-ea"/>
              <a:sym typeface="+mn-lt"/>
            </a:endParaRPr>
          </a:p>
        </p:txBody>
      </p:sp>
      <p:sp>
        <p:nvSpPr>
          <p:cNvPr id="57" name="Shape 102">
            <a:extLst>
              <a:ext uri="{FF2B5EF4-FFF2-40B4-BE49-F238E27FC236}">
                <a16:creationId xmlns:a16="http://schemas.microsoft.com/office/drawing/2014/main" id="{2324F917-DB88-4350-A590-23DF07BF24A8}"/>
              </a:ext>
            </a:extLst>
          </p:cNvPr>
          <p:cNvSpPr>
            <a:spLocks noChangeArrowheads="1"/>
          </p:cNvSpPr>
          <p:nvPr/>
        </p:nvSpPr>
        <p:spPr bwMode="auto">
          <a:xfrm>
            <a:off x="7442568" y="2419739"/>
            <a:ext cx="289012" cy="1897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altLang="ru-RU" sz="900" b="1" i="0" u="none" strike="noStrike" kern="1200" cap="none" spc="0" normalizeH="0" baseline="0" noProof="0">
                <a:ln>
                  <a:noFill/>
                </a:ln>
                <a:solidFill>
                  <a:srgbClr val="FFFFFF"/>
                </a:solidFill>
                <a:effectLst/>
                <a:uLnTx/>
                <a:uFillTx/>
                <a:latin typeface="Arial"/>
                <a:cs typeface="+mn-ea"/>
                <a:sym typeface="+mn-lt"/>
              </a:rPr>
              <a:t>B</a:t>
            </a:r>
          </a:p>
        </p:txBody>
      </p:sp>
      <p:sp>
        <p:nvSpPr>
          <p:cNvPr id="58" name="Shape 105">
            <a:extLst>
              <a:ext uri="{FF2B5EF4-FFF2-40B4-BE49-F238E27FC236}">
                <a16:creationId xmlns:a16="http://schemas.microsoft.com/office/drawing/2014/main" id="{50B44E64-A488-4366-9D89-8EAD08A89C7E}"/>
              </a:ext>
            </a:extLst>
          </p:cNvPr>
          <p:cNvSpPr>
            <a:spLocks noChangeArrowheads="1"/>
          </p:cNvSpPr>
          <p:nvPr/>
        </p:nvSpPr>
        <p:spPr bwMode="auto">
          <a:xfrm>
            <a:off x="3763123" y="4086390"/>
            <a:ext cx="289012" cy="1897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altLang="ru-RU" sz="900" b="1" i="0" u="none" strike="noStrike" kern="1200" cap="none" spc="0" normalizeH="0" baseline="0" noProof="0">
                <a:ln>
                  <a:noFill/>
                </a:ln>
                <a:solidFill>
                  <a:srgbClr val="FFFFFF"/>
                </a:solidFill>
                <a:effectLst/>
                <a:uLnTx/>
                <a:uFillTx/>
                <a:latin typeface="Arial"/>
                <a:cs typeface="+mn-ea"/>
                <a:sym typeface="+mn-lt"/>
              </a:rPr>
              <a:t>A</a:t>
            </a:r>
          </a:p>
        </p:txBody>
      </p:sp>
      <p:sp>
        <p:nvSpPr>
          <p:cNvPr id="59" name="Shape 108">
            <a:extLst>
              <a:ext uri="{FF2B5EF4-FFF2-40B4-BE49-F238E27FC236}">
                <a16:creationId xmlns:a16="http://schemas.microsoft.com/office/drawing/2014/main" id="{7680B388-B991-4B27-AF78-0DDD33D8E314}"/>
              </a:ext>
            </a:extLst>
          </p:cNvPr>
          <p:cNvSpPr>
            <a:spLocks noChangeArrowheads="1"/>
          </p:cNvSpPr>
          <p:nvPr/>
        </p:nvSpPr>
        <p:spPr bwMode="auto">
          <a:xfrm>
            <a:off x="4211056" y="3573936"/>
            <a:ext cx="289012" cy="1897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altLang="ru-RU" sz="900" b="1" i="0" u="none" strike="noStrike" kern="1200" cap="none" spc="0" normalizeH="0" baseline="0" noProof="0">
                <a:ln>
                  <a:noFill/>
                </a:ln>
                <a:solidFill>
                  <a:srgbClr val="FFFFFF"/>
                </a:solidFill>
                <a:effectLst/>
                <a:uLnTx/>
                <a:uFillTx/>
                <a:latin typeface="Arial"/>
                <a:cs typeface="+mn-ea"/>
                <a:sym typeface="+mn-lt"/>
              </a:rPr>
              <a:t>B</a:t>
            </a:r>
          </a:p>
        </p:txBody>
      </p:sp>
      <p:sp>
        <p:nvSpPr>
          <p:cNvPr id="60" name="Shape 111">
            <a:extLst>
              <a:ext uri="{FF2B5EF4-FFF2-40B4-BE49-F238E27FC236}">
                <a16:creationId xmlns:a16="http://schemas.microsoft.com/office/drawing/2014/main" id="{8558AA28-92DC-42F0-93EB-3D2BCEE39C76}"/>
              </a:ext>
            </a:extLst>
          </p:cNvPr>
          <p:cNvSpPr>
            <a:spLocks noChangeArrowheads="1"/>
          </p:cNvSpPr>
          <p:nvPr/>
        </p:nvSpPr>
        <p:spPr bwMode="auto">
          <a:xfrm>
            <a:off x="5941428" y="4084017"/>
            <a:ext cx="289013" cy="1897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altLang="ru-RU" sz="900" b="1" i="0" u="none" strike="noStrike" kern="1200" cap="none" spc="0" normalizeH="0" baseline="0" noProof="0">
                <a:ln>
                  <a:noFill/>
                </a:ln>
                <a:solidFill>
                  <a:srgbClr val="FFFFFF"/>
                </a:solidFill>
                <a:effectLst/>
                <a:uLnTx/>
                <a:uFillTx/>
                <a:latin typeface="Arial"/>
                <a:cs typeface="+mn-ea"/>
                <a:sym typeface="+mn-lt"/>
              </a:rPr>
              <a:t>A</a:t>
            </a:r>
          </a:p>
        </p:txBody>
      </p:sp>
      <p:sp>
        <p:nvSpPr>
          <p:cNvPr id="61" name="Shape 114">
            <a:extLst>
              <a:ext uri="{FF2B5EF4-FFF2-40B4-BE49-F238E27FC236}">
                <a16:creationId xmlns:a16="http://schemas.microsoft.com/office/drawing/2014/main" id="{DE36FAF4-3A94-409C-8E88-CF0324AA17ED}"/>
              </a:ext>
            </a:extLst>
          </p:cNvPr>
          <p:cNvSpPr>
            <a:spLocks noChangeArrowheads="1"/>
          </p:cNvSpPr>
          <p:nvPr/>
        </p:nvSpPr>
        <p:spPr bwMode="auto">
          <a:xfrm>
            <a:off x="6383010" y="3571563"/>
            <a:ext cx="289012" cy="1897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altLang="ru-RU" sz="900" b="1" i="0" u="none" strike="noStrike" kern="1200" cap="none" spc="0" normalizeH="0" baseline="0" noProof="0">
                <a:ln>
                  <a:noFill/>
                </a:ln>
                <a:solidFill>
                  <a:srgbClr val="FFFFFF"/>
                </a:solidFill>
                <a:effectLst/>
                <a:uLnTx/>
                <a:uFillTx/>
                <a:latin typeface="Arial"/>
                <a:cs typeface="+mn-ea"/>
                <a:sym typeface="+mn-lt"/>
              </a:rPr>
              <a:t>B</a:t>
            </a:r>
          </a:p>
        </p:txBody>
      </p:sp>
    </p:spTree>
    <p:extLst>
      <p:ext uri="{BB962C8B-B14F-4D97-AF65-F5344CB8AC3E}">
        <p14:creationId xmlns:p14="http://schemas.microsoft.com/office/powerpoint/2010/main" val="1635043867"/>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7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 name="Фигура">
            <a:extLst>
              <a:ext uri="{FF2B5EF4-FFF2-40B4-BE49-F238E27FC236}">
                <a16:creationId xmlns:a16="http://schemas.microsoft.com/office/drawing/2014/main" id="{750B1F5D-6C83-4327-AD8D-957C1ADE1977}"/>
              </a:ext>
            </a:extLst>
          </p:cNvPr>
          <p:cNvSpPr/>
          <p:nvPr/>
        </p:nvSpPr>
        <p:spPr>
          <a:xfrm rot="159853">
            <a:off x="1843214" y="4124587"/>
            <a:ext cx="1492706" cy="2419801"/>
          </a:xfrm>
          <a:custGeom>
            <a:avLst/>
            <a:gdLst/>
            <a:ahLst/>
            <a:cxnLst>
              <a:cxn ang="0">
                <a:pos x="wd2" y="hd2"/>
              </a:cxn>
              <a:cxn ang="5400000">
                <a:pos x="wd2" y="hd2"/>
              </a:cxn>
              <a:cxn ang="10800000">
                <a:pos x="wd2" y="hd2"/>
              </a:cxn>
              <a:cxn ang="16200000">
                <a:pos x="wd2" y="hd2"/>
              </a:cxn>
            </a:cxnLst>
            <a:rect l="0" t="0" r="r" b="b"/>
            <a:pathLst>
              <a:path w="21111" h="21600" extrusionOk="0">
                <a:moveTo>
                  <a:pt x="21111" y="7075"/>
                </a:moveTo>
                <a:cubicBezTo>
                  <a:pt x="18769" y="5156"/>
                  <a:pt x="15859" y="3543"/>
                  <a:pt x="12543" y="2324"/>
                </a:cubicBezTo>
                <a:cubicBezTo>
                  <a:pt x="9336" y="1145"/>
                  <a:pt x="5806" y="357"/>
                  <a:pt x="2138" y="0"/>
                </a:cubicBezTo>
                <a:cubicBezTo>
                  <a:pt x="1077" y="2134"/>
                  <a:pt x="406" y="4337"/>
                  <a:pt x="136" y="6566"/>
                </a:cubicBezTo>
                <a:cubicBezTo>
                  <a:pt x="-489" y="11737"/>
                  <a:pt x="1043" y="16920"/>
                  <a:pt x="4579" y="21600"/>
                </a:cubicBezTo>
                <a:cubicBezTo>
                  <a:pt x="5605" y="19600"/>
                  <a:pt x="6432" y="17562"/>
                  <a:pt x="7056" y="15497"/>
                </a:cubicBezTo>
                <a:cubicBezTo>
                  <a:pt x="7696" y="13378"/>
                  <a:pt x="8120" y="11236"/>
                  <a:pt x="8326" y="9084"/>
                </a:cubicBezTo>
                <a:cubicBezTo>
                  <a:pt x="10368" y="8457"/>
                  <a:pt x="12511" y="7970"/>
                  <a:pt x="14718" y="7631"/>
                </a:cubicBezTo>
                <a:cubicBezTo>
                  <a:pt x="16814" y="7309"/>
                  <a:pt x="18956" y="7123"/>
                  <a:pt x="21111" y="7075"/>
                </a:cubicBezTo>
                <a:close/>
              </a:path>
            </a:pathLst>
          </a:custGeom>
          <a:solidFill>
            <a:schemeClr val="accent1">
              <a:lumMod val="40000"/>
              <a:lumOff val="60000"/>
            </a:schemeClr>
          </a:solidFill>
          <a:ln w="25400">
            <a:noFill/>
            <a:miter lim="400000"/>
          </a:ln>
        </p:spPr>
        <p:txBody>
          <a:bodyPr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1600" b="0" i="0" u="none" strike="noStrike" kern="1200" cap="none" spc="0" normalizeH="0" baseline="0" noProof="0">
              <a:ln>
                <a:noFill/>
              </a:ln>
              <a:solidFill>
                <a:srgbClr val="FFFFFF"/>
              </a:solidFill>
              <a:effectLst/>
              <a:uLnTx/>
              <a:uFillTx/>
              <a:latin typeface="Arial"/>
              <a:cs typeface="+mn-ea"/>
              <a:sym typeface="+mn-lt"/>
            </a:endParaRPr>
          </a:p>
        </p:txBody>
      </p:sp>
      <p:sp>
        <p:nvSpPr>
          <p:cNvPr id="78" name="Фигура">
            <a:extLst>
              <a:ext uri="{FF2B5EF4-FFF2-40B4-BE49-F238E27FC236}">
                <a16:creationId xmlns:a16="http://schemas.microsoft.com/office/drawing/2014/main" id="{DE997645-4D0C-4C82-AF9B-1B95C6D9C042}"/>
              </a:ext>
            </a:extLst>
          </p:cNvPr>
          <p:cNvSpPr/>
          <p:nvPr/>
        </p:nvSpPr>
        <p:spPr>
          <a:xfrm rot="159853">
            <a:off x="1989008" y="762057"/>
            <a:ext cx="9041225" cy="4132919"/>
          </a:xfrm>
          <a:custGeom>
            <a:avLst/>
            <a:gdLst/>
            <a:ahLst/>
            <a:cxnLst>
              <a:cxn ang="0">
                <a:pos x="wd2" y="hd2"/>
              </a:cxn>
              <a:cxn ang="5400000">
                <a:pos x="wd2" y="hd2"/>
              </a:cxn>
              <a:cxn ang="10800000">
                <a:pos x="wd2" y="hd2"/>
              </a:cxn>
              <a:cxn ang="16200000">
                <a:pos x="wd2" y="hd2"/>
              </a:cxn>
            </a:cxnLst>
            <a:rect l="0" t="0" r="r" b="b"/>
            <a:pathLst>
              <a:path w="21600" h="21600" extrusionOk="0">
                <a:moveTo>
                  <a:pt x="21600" y="10593"/>
                </a:moveTo>
                <a:cubicBezTo>
                  <a:pt x="21181" y="8723"/>
                  <a:pt x="20319" y="7887"/>
                  <a:pt x="19520" y="7045"/>
                </a:cubicBezTo>
                <a:cubicBezTo>
                  <a:pt x="18515" y="5986"/>
                  <a:pt x="17405" y="5541"/>
                  <a:pt x="16301" y="5127"/>
                </a:cubicBezTo>
                <a:cubicBezTo>
                  <a:pt x="15429" y="4800"/>
                  <a:pt x="14556" y="4487"/>
                  <a:pt x="13678" y="4288"/>
                </a:cubicBezTo>
                <a:cubicBezTo>
                  <a:pt x="12723" y="4070"/>
                  <a:pt x="11761" y="3986"/>
                  <a:pt x="10798" y="4037"/>
                </a:cubicBezTo>
                <a:cubicBezTo>
                  <a:pt x="10522" y="3223"/>
                  <a:pt x="10200" y="2489"/>
                  <a:pt x="9838" y="1854"/>
                </a:cubicBezTo>
                <a:cubicBezTo>
                  <a:pt x="9393" y="1071"/>
                  <a:pt x="8895" y="445"/>
                  <a:pt x="8361" y="0"/>
                </a:cubicBezTo>
                <a:cubicBezTo>
                  <a:pt x="8241" y="1052"/>
                  <a:pt x="8038" y="2049"/>
                  <a:pt x="7761" y="2948"/>
                </a:cubicBezTo>
                <a:cubicBezTo>
                  <a:pt x="7439" y="3990"/>
                  <a:pt x="7024" y="4878"/>
                  <a:pt x="6541" y="5560"/>
                </a:cubicBezTo>
                <a:cubicBezTo>
                  <a:pt x="4954" y="6386"/>
                  <a:pt x="3509" y="8185"/>
                  <a:pt x="2373" y="10744"/>
                </a:cubicBezTo>
                <a:cubicBezTo>
                  <a:pt x="1061" y="13699"/>
                  <a:pt x="228" y="17512"/>
                  <a:pt x="0" y="21600"/>
                </a:cubicBezTo>
                <a:cubicBezTo>
                  <a:pt x="313" y="20492"/>
                  <a:pt x="745" y="19570"/>
                  <a:pt x="1258" y="18910"/>
                </a:cubicBezTo>
                <a:cubicBezTo>
                  <a:pt x="2722" y="17028"/>
                  <a:pt x="4485" y="17491"/>
                  <a:pt x="6143" y="18065"/>
                </a:cubicBezTo>
                <a:cubicBezTo>
                  <a:pt x="6404" y="18156"/>
                  <a:pt x="6665" y="18248"/>
                  <a:pt x="6926" y="18342"/>
                </a:cubicBezTo>
                <a:cubicBezTo>
                  <a:pt x="6910" y="18896"/>
                  <a:pt x="6838" y="19436"/>
                  <a:pt x="6716" y="19923"/>
                </a:cubicBezTo>
                <a:cubicBezTo>
                  <a:pt x="6577" y="20473"/>
                  <a:pt x="6379" y="20940"/>
                  <a:pt x="6138" y="21281"/>
                </a:cubicBezTo>
                <a:cubicBezTo>
                  <a:pt x="6768" y="21416"/>
                  <a:pt x="7403" y="21177"/>
                  <a:pt x="7976" y="20587"/>
                </a:cubicBezTo>
                <a:cubicBezTo>
                  <a:pt x="8400" y="20151"/>
                  <a:pt x="8780" y="19532"/>
                  <a:pt x="9093" y="18768"/>
                </a:cubicBezTo>
                <a:cubicBezTo>
                  <a:pt x="9606" y="18812"/>
                  <a:pt x="10119" y="18818"/>
                  <a:pt x="10632" y="18784"/>
                </a:cubicBezTo>
                <a:cubicBezTo>
                  <a:pt x="11201" y="18746"/>
                  <a:pt x="11770" y="18660"/>
                  <a:pt x="12336" y="18526"/>
                </a:cubicBezTo>
                <a:cubicBezTo>
                  <a:pt x="12311" y="18885"/>
                  <a:pt x="12263" y="19234"/>
                  <a:pt x="12194" y="19564"/>
                </a:cubicBezTo>
                <a:cubicBezTo>
                  <a:pt x="12121" y="19912"/>
                  <a:pt x="12025" y="20235"/>
                  <a:pt x="11910" y="20523"/>
                </a:cubicBezTo>
                <a:cubicBezTo>
                  <a:pt x="12492" y="20514"/>
                  <a:pt x="13064" y="20205"/>
                  <a:pt x="13581" y="19620"/>
                </a:cubicBezTo>
                <a:cubicBezTo>
                  <a:pt x="13960" y="19191"/>
                  <a:pt x="14302" y="18621"/>
                  <a:pt x="14592" y="17936"/>
                </a:cubicBezTo>
                <a:cubicBezTo>
                  <a:pt x="15618" y="17815"/>
                  <a:pt x="16630" y="17553"/>
                  <a:pt x="17624" y="17158"/>
                </a:cubicBezTo>
                <a:cubicBezTo>
                  <a:pt x="18646" y="16752"/>
                  <a:pt x="19681" y="16189"/>
                  <a:pt x="20553" y="14868"/>
                </a:cubicBezTo>
                <a:cubicBezTo>
                  <a:pt x="20927" y="14301"/>
                  <a:pt x="21257" y="13606"/>
                  <a:pt x="21531" y="12811"/>
                </a:cubicBezTo>
                <a:lnTo>
                  <a:pt x="19683" y="12929"/>
                </a:lnTo>
                <a:cubicBezTo>
                  <a:pt x="19975" y="12401"/>
                  <a:pt x="20289" y="11934"/>
                  <a:pt x="20620" y="11535"/>
                </a:cubicBezTo>
                <a:cubicBezTo>
                  <a:pt x="20933" y="11158"/>
                  <a:pt x="21261" y="10843"/>
                  <a:pt x="21600" y="10593"/>
                </a:cubicBezTo>
                <a:close/>
              </a:path>
            </a:pathLst>
          </a:custGeom>
          <a:solidFill>
            <a:schemeClr val="accent1">
              <a:lumMod val="20000"/>
              <a:lumOff val="80000"/>
            </a:schemeClr>
          </a:solidFill>
          <a:ln w="25400">
            <a:noFill/>
            <a:miter lim="400000"/>
          </a:ln>
        </p:spPr>
        <p:txBody>
          <a:bodyPr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1600" b="0" i="0" u="none" strike="noStrike" kern="1200" cap="none" spc="0" normalizeH="0" baseline="0" noProof="0">
              <a:ln>
                <a:noFill/>
              </a:ln>
              <a:solidFill>
                <a:srgbClr val="FFFFFF"/>
              </a:solidFill>
              <a:effectLst/>
              <a:uLnTx/>
              <a:uFillTx/>
              <a:latin typeface="Arial"/>
              <a:cs typeface="+mn-ea"/>
              <a:sym typeface="+mn-lt"/>
            </a:endParaRPr>
          </a:p>
        </p:txBody>
      </p:sp>
      <p:sp>
        <p:nvSpPr>
          <p:cNvPr id="79" name="Фигура">
            <a:extLst>
              <a:ext uri="{FF2B5EF4-FFF2-40B4-BE49-F238E27FC236}">
                <a16:creationId xmlns:a16="http://schemas.microsoft.com/office/drawing/2014/main" id="{6326A856-E97A-4C85-8E8A-891FF80B9CAE}"/>
              </a:ext>
            </a:extLst>
          </p:cNvPr>
          <p:cNvSpPr/>
          <p:nvPr/>
        </p:nvSpPr>
        <p:spPr>
          <a:xfrm rot="159853">
            <a:off x="8490329" y="2223566"/>
            <a:ext cx="567189" cy="1819496"/>
          </a:xfrm>
          <a:custGeom>
            <a:avLst/>
            <a:gdLst/>
            <a:ahLst/>
            <a:cxnLst>
              <a:cxn ang="0">
                <a:pos x="wd2" y="hd2"/>
              </a:cxn>
              <a:cxn ang="5400000">
                <a:pos x="wd2" y="hd2"/>
              </a:cxn>
              <a:cxn ang="10800000">
                <a:pos x="wd2" y="hd2"/>
              </a:cxn>
              <a:cxn ang="16200000">
                <a:pos x="wd2" y="hd2"/>
              </a:cxn>
            </a:cxnLst>
            <a:rect l="0" t="0" r="r" b="b"/>
            <a:pathLst>
              <a:path w="21496" h="21600" extrusionOk="0">
                <a:moveTo>
                  <a:pt x="14820" y="0"/>
                </a:moveTo>
                <a:cubicBezTo>
                  <a:pt x="5446" y="2851"/>
                  <a:pt x="109" y="6759"/>
                  <a:pt x="1" y="10852"/>
                </a:cubicBezTo>
                <a:cubicBezTo>
                  <a:pt x="-104" y="14859"/>
                  <a:pt x="4819" y="18719"/>
                  <a:pt x="13710" y="21600"/>
                </a:cubicBezTo>
                <a:cubicBezTo>
                  <a:pt x="7461" y="18392"/>
                  <a:pt x="4730" y="14633"/>
                  <a:pt x="5933" y="10894"/>
                </a:cubicBezTo>
                <a:cubicBezTo>
                  <a:pt x="7193" y="6980"/>
                  <a:pt x="12683" y="3317"/>
                  <a:pt x="21496" y="514"/>
                </a:cubicBezTo>
                <a:lnTo>
                  <a:pt x="14820" y="0"/>
                </a:lnTo>
                <a:close/>
              </a:path>
            </a:pathLst>
          </a:custGeom>
          <a:solidFill>
            <a:srgbClr val="FFFFFF"/>
          </a:solidFill>
          <a:ln w="25400">
            <a:noFill/>
            <a:miter lim="400000"/>
          </a:ln>
        </p:spPr>
        <p:txBody>
          <a:bodyPr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1600" b="0" i="0" u="none" strike="noStrike" kern="1200" cap="none" spc="0" normalizeH="0" baseline="0" noProof="0">
              <a:ln>
                <a:noFill/>
              </a:ln>
              <a:solidFill>
                <a:srgbClr val="FFFFFF"/>
              </a:solidFill>
              <a:effectLst/>
              <a:uLnTx/>
              <a:uFillTx/>
              <a:latin typeface="Arial"/>
              <a:cs typeface="+mn-ea"/>
              <a:sym typeface="+mn-lt"/>
            </a:endParaRPr>
          </a:p>
        </p:txBody>
      </p:sp>
      <p:sp>
        <p:nvSpPr>
          <p:cNvPr id="80" name="Кружок">
            <a:extLst>
              <a:ext uri="{FF2B5EF4-FFF2-40B4-BE49-F238E27FC236}">
                <a16:creationId xmlns:a16="http://schemas.microsoft.com/office/drawing/2014/main" id="{2C60B49C-5E91-4FC2-9E77-69D005E1D031}"/>
              </a:ext>
            </a:extLst>
          </p:cNvPr>
          <p:cNvSpPr/>
          <p:nvPr/>
        </p:nvSpPr>
        <p:spPr>
          <a:xfrm rot="159853">
            <a:off x="9611190" y="2418110"/>
            <a:ext cx="453002" cy="453002"/>
          </a:xfrm>
          <a:prstGeom prst="ellipse">
            <a:avLst/>
          </a:prstGeom>
          <a:solidFill>
            <a:srgbClr val="FFFFFF"/>
          </a:solidFill>
          <a:ln w="25400">
            <a:noFill/>
            <a:miter lim="400000"/>
          </a:ln>
        </p:spPr>
        <p:txBody>
          <a:bodyPr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1600" b="0" i="0" u="none" strike="noStrike" kern="1200" cap="none" spc="0" normalizeH="0" baseline="0" noProof="0">
              <a:ln>
                <a:noFill/>
              </a:ln>
              <a:solidFill>
                <a:srgbClr val="FFFFFF"/>
              </a:solidFill>
              <a:effectLst/>
              <a:uLnTx/>
              <a:uFillTx/>
              <a:latin typeface="Arial"/>
              <a:cs typeface="+mn-ea"/>
              <a:sym typeface="+mn-lt"/>
            </a:endParaRPr>
          </a:p>
        </p:txBody>
      </p:sp>
      <p:sp>
        <p:nvSpPr>
          <p:cNvPr id="81" name="Кружок">
            <a:extLst>
              <a:ext uri="{FF2B5EF4-FFF2-40B4-BE49-F238E27FC236}">
                <a16:creationId xmlns:a16="http://schemas.microsoft.com/office/drawing/2014/main" id="{BC7BC53B-885E-405C-ADEB-96A8002B7D2A}"/>
              </a:ext>
            </a:extLst>
          </p:cNvPr>
          <p:cNvSpPr/>
          <p:nvPr/>
        </p:nvSpPr>
        <p:spPr>
          <a:xfrm rot="159853">
            <a:off x="9825759" y="2538443"/>
            <a:ext cx="200459" cy="200459"/>
          </a:xfrm>
          <a:prstGeom prst="ellipse">
            <a:avLst/>
          </a:prstGeom>
          <a:solidFill>
            <a:schemeClr val="accent1">
              <a:lumMod val="40000"/>
              <a:lumOff val="60000"/>
            </a:schemeClr>
          </a:solidFill>
          <a:ln w="25400">
            <a:noFill/>
            <a:miter lim="400000"/>
          </a:ln>
        </p:spPr>
        <p:txBody>
          <a:bodyPr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1600" b="0" i="0" u="none" strike="noStrike" kern="1200" cap="none" spc="0" normalizeH="0" baseline="0" noProof="0">
              <a:ln>
                <a:noFill/>
              </a:ln>
              <a:solidFill>
                <a:srgbClr val="FFFFFF"/>
              </a:solidFill>
              <a:effectLst/>
              <a:uLnTx/>
              <a:uFillTx/>
              <a:latin typeface="Arial"/>
              <a:cs typeface="+mn-ea"/>
              <a:sym typeface="+mn-lt"/>
            </a:endParaRPr>
          </a:p>
        </p:txBody>
      </p:sp>
      <p:sp>
        <p:nvSpPr>
          <p:cNvPr id="82" name="Фигура">
            <a:extLst>
              <a:ext uri="{FF2B5EF4-FFF2-40B4-BE49-F238E27FC236}">
                <a16:creationId xmlns:a16="http://schemas.microsoft.com/office/drawing/2014/main" id="{C9304A3E-23D5-4751-8D03-694DA50F28D5}"/>
              </a:ext>
            </a:extLst>
          </p:cNvPr>
          <p:cNvSpPr/>
          <p:nvPr/>
        </p:nvSpPr>
        <p:spPr>
          <a:xfrm rot="159853">
            <a:off x="10160742" y="2836903"/>
            <a:ext cx="886796" cy="658018"/>
          </a:xfrm>
          <a:custGeom>
            <a:avLst/>
            <a:gdLst/>
            <a:ahLst/>
            <a:cxnLst>
              <a:cxn ang="0">
                <a:pos x="wd2" y="hd2"/>
              </a:cxn>
              <a:cxn ang="5400000">
                <a:pos x="wd2" y="hd2"/>
              </a:cxn>
              <a:cxn ang="10800000">
                <a:pos x="wd2" y="hd2"/>
              </a:cxn>
              <a:cxn ang="16200000">
                <a:pos x="wd2" y="hd2"/>
              </a:cxn>
            </a:cxnLst>
            <a:rect l="0" t="0" r="r" b="b"/>
            <a:pathLst>
              <a:path w="21600" h="21600" extrusionOk="0">
                <a:moveTo>
                  <a:pt x="21600" y="5093"/>
                </a:moveTo>
                <a:cubicBezTo>
                  <a:pt x="21304" y="4199"/>
                  <a:pt x="20970" y="3329"/>
                  <a:pt x="20600" y="2488"/>
                </a:cubicBezTo>
                <a:cubicBezTo>
                  <a:pt x="20220" y="1626"/>
                  <a:pt x="19804" y="795"/>
                  <a:pt x="19351" y="0"/>
                </a:cubicBezTo>
                <a:cubicBezTo>
                  <a:pt x="14257" y="2734"/>
                  <a:pt x="9623" y="6822"/>
                  <a:pt x="5726" y="12020"/>
                </a:cubicBezTo>
                <a:cubicBezTo>
                  <a:pt x="3556" y="14914"/>
                  <a:pt x="1636" y="18127"/>
                  <a:pt x="0" y="21600"/>
                </a:cubicBezTo>
                <a:cubicBezTo>
                  <a:pt x="3144" y="18174"/>
                  <a:pt x="6486" y="15092"/>
                  <a:pt x="9994" y="12382"/>
                </a:cubicBezTo>
                <a:cubicBezTo>
                  <a:pt x="13704" y="9517"/>
                  <a:pt x="17586" y="7079"/>
                  <a:pt x="21600" y="5093"/>
                </a:cubicBezTo>
                <a:close/>
              </a:path>
            </a:pathLst>
          </a:custGeom>
          <a:solidFill>
            <a:schemeClr val="accent1">
              <a:lumMod val="40000"/>
              <a:lumOff val="60000"/>
            </a:schemeClr>
          </a:solidFill>
          <a:ln w="25400">
            <a:noFill/>
            <a:miter lim="400000"/>
          </a:ln>
        </p:spPr>
        <p:txBody>
          <a:bodyPr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1600" b="0" i="0" u="none" strike="noStrike" kern="1200" cap="none" spc="0" normalizeH="0" baseline="0" noProof="0">
              <a:ln>
                <a:noFill/>
              </a:ln>
              <a:solidFill>
                <a:srgbClr val="FFFFFF"/>
              </a:solidFill>
              <a:effectLst/>
              <a:uLnTx/>
              <a:uFillTx/>
              <a:latin typeface="Arial"/>
              <a:cs typeface="+mn-ea"/>
              <a:sym typeface="+mn-lt"/>
            </a:endParaRPr>
          </a:p>
        </p:txBody>
      </p:sp>
      <p:grpSp>
        <p:nvGrpSpPr>
          <p:cNvPr id="6" name="Группа 132">
            <a:extLst>
              <a:ext uri="{FF2B5EF4-FFF2-40B4-BE49-F238E27FC236}">
                <a16:creationId xmlns:a16="http://schemas.microsoft.com/office/drawing/2014/main" id="{60BA43B6-5AAE-4AE9-A4B3-A766E5E97842}"/>
              </a:ext>
            </a:extLst>
          </p:cNvPr>
          <p:cNvGrpSpPr/>
          <p:nvPr/>
        </p:nvGrpSpPr>
        <p:grpSpPr>
          <a:xfrm>
            <a:off x="3192930" y="1833022"/>
            <a:ext cx="5155658" cy="2377630"/>
            <a:chOff x="5545856" y="3831143"/>
            <a:chExt cx="10311315" cy="4755260"/>
          </a:xfrm>
        </p:grpSpPr>
        <p:sp>
          <p:nvSpPr>
            <p:cNvPr id="67" name="Shape 87">
              <a:extLst>
                <a:ext uri="{FF2B5EF4-FFF2-40B4-BE49-F238E27FC236}">
                  <a16:creationId xmlns:a16="http://schemas.microsoft.com/office/drawing/2014/main" id="{30A05580-46FA-4CE5-9DBC-3B546907BFD4}"/>
                </a:ext>
              </a:extLst>
            </p:cNvPr>
            <p:cNvSpPr>
              <a:spLocks noChangeArrowheads="1"/>
            </p:cNvSpPr>
            <p:nvPr/>
          </p:nvSpPr>
          <p:spPr bwMode="auto">
            <a:xfrm>
              <a:off x="5545856" y="3834767"/>
              <a:ext cx="578024" cy="3795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altLang="ru-RU" sz="900" b="1" i="0" u="none" strike="noStrike" kern="1200" cap="none" spc="0" normalizeH="0" baseline="0" noProof="0" dirty="0" err="1">
                  <a:ln>
                    <a:noFill/>
                  </a:ln>
                  <a:solidFill>
                    <a:srgbClr val="FFFFFF"/>
                  </a:solidFill>
                  <a:effectLst/>
                  <a:uLnTx/>
                  <a:uFillTx/>
                  <a:latin typeface="Arial"/>
                  <a:cs typeface="+mn-ea"/>
                  <a:sym typeface="+mn-lt"/>
                </a:rPr>
                <a:t>A</a:t>
              </a:r>
              <a:endParaRPr kumimoji="0" lang="ru-RU" altLang="ru-RU" sz="900" b="1" i="0" u="none" strike="noStrike" kern="1200" cap="none" spc="0" normalizeH="0" baseline="0" noProof="0" dirty="0">
                <a:ln>
                  <a:noFill/>
                </a:ln>
                <a:solidFill>
                  <a:srgbClr val="FFFFFF"/>
                </a:solidFill>
                <a:effectLst/>
                <a:uLnTx/>
                <a:uFillTx/>
                <a:latin typeface="Arial"/>
                <a:cs typeface="+mn-ea"/>
                <a:sym typeface="+mn-lt"/>
              </a:endParaRPr>
            </a:p>
          </p:txBody>
        </p:sp>
        <p:sp>
          <p:nvSpPr>
            <p:cNvPr id="68" name="Shape 90">
              <a:extLst>
                <a:ext uri="{FF2B5EF4-FFF2-40B4-BE49-F238E27FC236}">
                  <a16:creationId xmlns:a16="http://schemas.microsoft.com/office/drawing/2014/main" id="{545EE079-8C74-4A21-913E-0FBD7EECF616}"/>
                </a:ext>
              </a:extLst>
            </p:cNvPr>
            <p:cNvSpPr>
              <a:spLocks noChangeArrowheads="1"/>
            </p:cNvSpPr>
            <p:nvPr/>
          </p:nvSpPr>
          <p:spPr bwMode="auto">
            <a:xfrm>
              <a:off x="6453398" y="4877135"/>
              <a:ext cx="578024" cy="3795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altLang="ru-RU" sz="900" b="1" i="0" u="none" strike="noStrike" kern="1200" cap="none" spc="0" normalizeH="0" baseline="0" noProof="0">
                  <a:ln>
                    <a:noFill/>
                  </a:ln>
                  <a:solidFill>
                    <a:srgbClr val="FFFFFF"/>
                  </a:solidFill>
                  <a:effectLst/>
                  <a:uLnTx/>
                  <a:uFillTx/>
                  <a:latin typeface="Arial"/>
                  <a:cs typeface="+mn-ea"/>
                  <a:sym typeface="+mn-lt"/>
                </a:rPr>
                <a:t>B</a:t>
              </a:r>
            </a:p>
          </p:txBody>
        </p:sp>
        <p:sp>
          <p:nvSpPr>
            <p:cNvPr id="69" name="Shape 93">
              <a:extLst>
                <a:ext uri="{FF2B5EF4-FFF2-40B4-BE49-F238E27FC236}">
                  <a16:creationId xmlns:a16="http://schemas.microsoft.com/office/drawing/2014/main" id="{A5D791DC-8908-4CC8-9B87-4C775D4D33B6}"/>
                </a:ext>
              </a:extLst>
            </p:cNvPr>
            <p:cNvSpPr>
              <a:spLocks noChangeArrowheads="1"/>
            </p:cNvSpPr>
            <p:nvPr/>
          </p:nvSpPr>
          <p:spPr bwMode="auto">
            <a:xfrm>
              <a:off x="10085322" y="3833711"/>
              <a:ext cx="578024" cy="3795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altLang="ru-RU" sz="900" b="1" i="0" u="none" strike="noStrike" kern="1200" cap="none" spc="0" normalizeH="0" baseline="0" noProof="0">
                  <a:ln>
                    <a:noFill/>
                  </a:ln>
                  <a:solidFill>
                    <a:srgbClr val="FFFFFF"/>
                  </a:solidFill>
                  <a:effectLst/>
                  <a:uLnTx/>
                  <a:uFillTx/>
                  <a:latin typeface="Arial"/>
                  <a:cs typeface="+mn-ea"/>
                  <a:sym typeface="+mn-lt"/>
                </a:rPr>
                <a:t>A</a:t>
              </a:r>
            </a:p>
          </p:txBody>
        </p:sp>
        <p:sp>
          <p:nvSpPr>
            <p:cNvPr id="70" name="Shape 96">
              <a:extLst>
                <a:ext uri="{FF2B5EF4-FFF2-40B4-BE49-F238E27FC236}">
                  <a16:creationId xmlns:a16="http://schemas.microsoft.com/office/drawing/2014/main" id="{E4820E04-9C65-4262-B16F-CF36228B0F70}"/>
                </a:ext>
              </a:extLst>
            </p:cNvPr>
            <p:cNvSpPr>
              <a:spLocks noChangeArrowheads="1"/>
            </p:cNvSpPr>
            <p:nvPr/>
          </p:nvSpPr>
          <p:spPr bwMode="auto">
            <a:xfrm>
              <a:off x="11005563" y="4876079"/>
              <a:ext cx="578024" cy="3795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altLang="ru-RU" sz="900" b="1" i="0" u="none" strike="noStrike" kern="1200" cap="none" spc="0" normalizeH="0" baseline="0" noProof="0">
                  <a:ln>
                    <a:noFill/>
                  </a:ln>
                  <a:solidFill>
                    <a:srgbClr val="FFFFFF"/>
                  </a:solidFill>
                  <a:effectLst/>
                  <a:uLnTx/>
                  <a:uFillTx/>
                  <a:latin typeface="Arial"/>
                  <a:cs typeface="+mn-ea"/>
                  <a:sym typeface="+mn-lt"/>
                </a:rPr>
                <a:t>B</a:t>
              </a:r>
            </a:p>
          </p:txBody>
        </p:sp>
        <p:sp>
          <p:nvSpPr>
            <p:cNvPr id="71" name="Shape 99">
              <a:extLst>
                <a:ext uri="{FF2B5EF4-FFF2-40B4-BE49-F238E27FC236}">
                  <a16:creationId xmlns:a16="http://schemas.microsoft.com/office/drawing/2014/main" id="{6CB639E5-8597-405F-920F-040EC9593D1E}"/>
                </a:ext>
              </a:extLst>
            </p:cNvPr>
            <p:cNvSpPr>
              <a:spLocks noChangeArrowheads="1"/>
            </p:cNvSpPr>
            <p:nvPr/>
          </p:nvSpPr>
          <p:spPr bwMode="auto">
            <a:xfrm>
              <a:off x="14358905" y="3831143"/>
              <a:ext cx="578024" cy="3795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altLang="ru-RU" sz="900" b="1" i="0" u="none" strike="noStrike" kern="1200" cap="none" spc="0" normalizeH="0" baseline="0" noProof="0" dirty="0" err="1">
                  <a:ln>
                    <a:noFill/>
                  </a:ln>
                  <a:solidFill>
                    <a:srgbClr val="FFFFFF"/>
                  </a:solidFill>
                  <a:effectLst/>
                  <a:uLnTx/>
                  <a:uFillTx/>
                  <a:latin typeface="Arial"/>
                  <a:cs typeface="+mn-ea"/>
                  <a:sym typeface="+mn-lt"/>
                </a:rPr>
                <a:t>A</a:t>
              </a:r>
              <a:endParaRPr kumimoji="0" lang="ru-RU" altLang="ru-RU" sz="900" b="1" i="0" u="none" strike="noStrike" kern="1200" cap="none" spc="0" normalizeH="0" baseline="0" noProof="0" dirty="0">
                <a:ln>
                  <a:noFill/>
                </a:ln>
                <a:solidFill>
                  <a:srgbClr val="FFFFFF"/>
                </a:solidFill>
                <a:effectLst/>
                <a:uLnTx/>
                <a:uFillTx/>
                <a:latin typeface="Arial"/>
                <a:cs typeface="+mn-ea"/>
                <a:sym typeface="+mn-lt"/>
              </a:endParaRPr>
            </a:p>
          </p:txBody>
        </p:sp>
        <p:sp>
          <p:nvSpPr>
            <p:cNvPr id="72" name="Shape 102">
              <a:extLst>
                <a:ext uri="{FF2B5EF4-FFF2-40B4-BE49-F238E27FC236}">
                  <a16:creationId xmlns:a16="http://schemas.microsoft.com/office/drawing/2014/main" id="{355A78DD-734C-49BD-8C11-60AED40AC57B}"/>
                </a:ext>
              </a:extLst>
            </p:cNvPr>
            <p:cNvSpPr>
              <a:spLocks noChangeArrowheads="1"/>
            </p:cNvSpPr>
            <p:nvPr/>
          </p:nvSpPr>
          <p:spPr bwMode="auto">
            <a:xfrm>
              <a:off x="15279147" y="4873509"/>
              <a:ext cx="578024" cy="3795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altLang="ru-RU" sz="900" b="1" i="0" u="none" strike="noStrike" kern="1200" cap="none" spc="0" normalizeH="0" baseline="0" noProof="0">
                  <a:ln>
                    <a:noFill/>
                  </a:ln>
                  <a:solidFill>
                    <a:srgbClr val="FFFFFF"/>
                  </a:solidFill>
                  <a:effectLst/>
                  <a:uLnTx/>
                  <a:uFillTx/>
                  <a:latin typeface="Arial"/>
                  <a:cs typeface="+mn-ea"/>
                  <a:sym typeface="+mn-lt"/>
                </a:rPr>
                <a:t>B</a:t>
              </a:r>
            </a:p>
          </p:txBody>
        </p:sp>
        <p:sp>
          <p:nvSpPr>
            <p:cNvPr id="73" name="Shape 105">
              <a:extLst>
                <a:ext uri="{FF2B5EF4-FFF2-40B4-BE49-F238E27FC236}">
                  <a16:creationId xmlns:a16="http://schemas.microsoft.com/office/drawing/2014/main" id="{32AB2E81-77A4-4BDF-B08E-B7CF1C195BEB}"/>
                </a:ext>
              </a:extLst>
            </p:cNvPr>
            <p:cNvSpPr>
              <a:spLocks noChangeArrowheads="1"/>
            </p:cNvSpPr>
            <p:nvPr/>
          </p:nvSpPr>
          <p:spPr bwMode="auto">
            <a:xfrm>
              <a:off x="7920258" y="8206811"/>
              <a:ext cx="578024" cy="3795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altLang="ru-RU" sz="900" b="1" i="0" u="none" strike="noStrike" kern="1200" cap="none" spc="0" normalizeH="0" baseline="0" noProof="0">
                  <a:ln>
                    <a:noFill/>
                  </a:ln>
                  <a:solidFill>
                    <a:srgbClr val="FFFFFF"/>
                  </a:solidFill>
                  <a:effectLst/>
                  <a:uLnTx/>
                  <a:uFillTx/>
                  <a:latin typeface="Arial"/>
                  <a:cs typeface="+mn-ea"/>
                  <a:sym typeface="+mn-lt"/>
                </a:rPr>
                <a:t>A</a:t>
              </a:r>
            </a:p>
          </p:txBody>
        </p:sp>
        <p:sp>
          <p:nvSpPr>
            <p:cNvPr id="74" name="Shape 108">
              <a:extLst>
                <a:ext uri="{FF2B5EF4-FFF2-40B4-BE49-F238E27FC236}">
                  <a16:creationId xmlns:a16="http://schemas.microsoft.com/office/drawing/2014/main" id="{7F8F52B4-5BD7-4B83-B5A7-A9F2B2161358}"/>
                </a:ext>
              </a:extLst>
            </p:cNvPr>
            <p:cNvSpPr>
              <a:spLocks noChangeArrowheads="1"/>
            </p:cNvSpPr>
            <p:nvPr/>
          </p:nvSpPr>
          <p:spPr bwMode="auto">
            <a:xfrm>
              <a:off x="8816124" y="7181903"/>
              <a:ext cx="578024" cy="3795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altLang="ru-RU" sz="900" b="1" i="0" u="none" strike="noStrike" kern="1200" cap="none" spc="0" normalizeH="0" baseline="0" noProof="0">
                  <a:ln>
                    <a:noFill/>
                  </a:ln>
                  <a:solidFill>
                    <a:srgbClr val="FFFFFF"/>
                  </a:solidFill>
                  <a:effectLst/>
                  <a:uLnTx/>
                  <a:uFillTx/>
                  <a:latin typeface="Arial"/>
                  <a:cs typeface="+mn-ea"/>
                  <a:sym typeface="+mn-lt"/>
                </a:rPr>
                <a:t>B</a:t>
              </a:r>
            </a:p>
          </p:txBody>
        </p:sp>
        <p:sp>
          <p:nvSpPr>
            <p:cNvPr id="75" name="Shape 111">
              <a:extLst>
                <a:ext uri="{FF2B5EF4-FFF2-40B4-BE49-F238E27FC236}">
                  <a16:creationId xmlns:a16="http://schemas.microsoft.com/office/drawing/2014/main" id="{D1C6E944-13C4-411B-9EB8-CE2FA4CFE271}"/>
                </a:ext>
              </a:extLst>
            </p:cNvPr>
            <p:cNvSpPr>
              <a:spLocks noChangeArrowheads="1"/>
            </p:cNvSpPr>
            <p:nvPr/>
          </p:nvSpPr>
          <p:spPr bwMode="auto">
            <a:xfrm>
              <a:off x="12276867" y="8202065"/>
              <a:ext cx="578026" cy="3795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altLang="ru-RU" sz="900" b="1" i="0" u="none" strike="noStrike" kern="1200" cap="none" spc="0" normalizeH="0" baseline="0" noProof="0">
                  <a:ln>
                    <a:noFill/>
                  </a:ln>
                  <a:solidFill>
                    <a:srgbClr val="FFFFFF"/>
                  </a:solidFill>
                  <a:effectLst/>
                  <a:uLnTx/>
                  <a:uFillTx/>
                  <a:latin typeface="Arial"/>
                  <a:cs typeface="+mn-ea"/>
                  <a:sym typeface="+mn-lt"/>
                </a:rPr>
                <a:t>A</a:t>
              </a:r>
            </a:p>
          </p:txBody>
        </p:sp>
        <p:sp>
          <p:nvSpPr>
            <p:cNvPr id="76" name="Shape 114">
              <a:extLst>
                <a:ext uri="{FF2B5EF4-FFF2-40B4-BE49-F238E27FC236}">
                  <a16:creationId xmlns:a16="http://schemas.microsoft.com/office/drawing/2014/main" id="{0FD3C431-F90D-4E07-B522-B2D4AECB4AE1}"/>
                </a:ext>
              </a:extLst>
            </p:cNvPr>
            <p:cNvSpPr>
              <a:spLocks noChangeArrowheads="1"/>
            </p:cNvSpPr>
            <p:nvPr/>
          </p:nvSpPr>
          <p:spPr bwMode="auto">
            <a:xfrm>
              <a:off x="13160031" y="7177157"/>
              <a:ext cx="578024" cy="3795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altLang="ru-RU" sz="900" b="1" i="0" u="none" strike="noStrike" kern="1200" cap="none" spc="0" normalizeH="0" baseline="0" noProof="0">
                  <a:ln>
                    <a:noFill/>
                  </a:ln>
                  <a:solidFill>
                    <a:srgbClr val="FFFFFF"/>
                  </a:solidFill>
                  <a:effectLst/>
                  <a:uLnTx/>
                  <a:uFillTx/>
                  <a:latin typeface="Arial"/>
                  <a:cs typeface="+mn-ea"/>
                  <a:sym typeface="+mn-lt"/>
                </a:rPr>
                <a:t>B</a:t>
              </a:r>
            </a:p>
          </p:txBody>
        </p:sp>
      </p:grpSp>
      <p:sp>
        <p:nvSpPr>
          <p:cNvPr id="7" name="Shape 47">
            <a:extLst>
              <a:ext uri="{FF2B5EF4-FFF2-40B4-BE49-F238E27FC236}">
                <a16:creationId xmlns:a16="http://schemas.microsoft.com/office/drawing/2014/main" id="{0E8077BE-E1CE-42ED-8E2C-675140EB6808}"/>
              </a:ext>
            </a:extLst>
          </p:cNvPr>
          <p:cNvSpPr>
            <a:spLocks noChangeShapeType="1"/>
          </p:cNvSpPr>
          <p:nvPr/>
        </p:nvSpPr>
        <p:spPr bwMode="auto">
          <a:xfrm>
            <a:off x="4385994" y="3031836"/>
            <a:ext cx="4976601" cy="0"/>
          </a:xfrm>
          <a:prstGeom prst="line">
            <a:avLst/>
          </a:prstGeom>
          <a:noFill/>
          <a:ln w="63500">
            <a:solidFill>
              <a:schemeClr val="accent1">
                <a:lumMod val="100000"/>
              </a:schemeClr>
            </a:solidFill>
            <a:miter lim="400000"/>
            <a:headEnd/>
            <a:tailEnd/>
          </a:ln>
          <a:extLst>
            <a:ext uri="{909E8E84-426E-40DD-AFC4-6F175D3DCCD1}">
              <a14:hiddenFill xmlns:a14="http://schemas.microsoft.com/office/drawing/2010/main">
                <a:noFill/>
              </a14:hiddenFill>
            </a:ext>
          </a:extLst>
        </p:spPr>
        <p:txBody>
          <a:bodyPr lIns="25400" tIns="25400" rIns="25400" bIns="254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500" b="0" i="0" u="none" strike="noStrike" kern="1200" cap="none" spc="0" normalizeH="0" baseline="0" noProof="0">
              <a:ln>
                <a:noFill/>
              </a:ln>
              <a:solidFill>
                <a:srgbClr val="000000"/>
              </a:solidFill>
              <a:effectLst/>
              <a:uLnTx/>
              <a:uFillTx/>
              <a:latin typeface="Arial"/>
              <a:cs typeface="+mn-ea"/>
              <a:sym typeface="+mn-lt"/>
            </a:endParaRPr>
          </a:p>
        </p:txBody>
      </p:sp>
      <p:sp>
        <p:nvSpPr>
          <p:cNvPr id="8" name="Shape 54">
            <a:extLst>
              <a:ext uri="{FF2B5EF4-FFF2-40B4-BE49-F238E27FC236}">
                <a16:creationId xmlns:a16="http://schemas.microsoft.com/office/drawing/2014/main" id="{E63D51FF-A036-407D-8AB0-8D0361B49CA8}"/>
              </a:ext>
            </a:extLst>
          </p:cNvPr>
          <p:cNvSpPr>
            <a:spLocks noChangeArrowheads="1"/>
          </p:cNvSpPr>
          <p:nvPr/>
        </p:nvSpPr>
        <p:spPr bwMode="auto">
          <a:xfrm>
            <a:off x="7559839" y="2958006"/>
            <a:ext cx="158575" cy="158602"/>
          </a:xfrm>
          <a:prstGeom prst="ellipse">
            <a:avLst/>
          </a:prstGeom>
          <a:solidFill>
            <a:srgbClr val="FFFFFF"/>
          </a:solidFill>
          <a:ln w="63500">
            <a:solidFill>
              <a:schemeClr val="accent1">
                <a:lumMod val="100000"/>
              </a:schemeClr>
            </a:solidFill>
            <a:miter lim="400000"/>
            <a:headEnd/>
            <a:tailEnd/>
          </a:ln>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FFFFFF"/>
              </a:solidFill>
              <a:effectLst/>
              <a:uLnTx/>
              <a:uFillTx/>
              <a:latin typeface="Arial"/>
              <a:cs typeface="+mn-ea"/>
              <a:sym typeface="+mn-lt"/>
            </a:endParaRPr>
          </a:p>
        </p:txBody>
      </p:sp>
      <p:sp>
        <p:nvSpPr>
          <p:cNvPr id="9" name="Shape 56">
            <a:extLst>
              <a:ext uri="{FF2B5EF4-FFF2-40B4-BE49-F238E27FC236}">
                <a16:creationId xmlns:a16="http://schemas.microsoft.com/office/drawing/2014/main" id="{688B4114-5408-4628-81ED-7FF8DC82D79C}"/>
              </a:ext>
            </a:extLst>
          </p:cNvPr>
          <p:cNvSpPr>
            <a:spLocks noChangeArrowheads="1"/>
          </p:cNvSpPr>
          <p:nvPr/>
        </p:nvSpPr>
        <p:spPr bwMode="auto">
          <a:xfrm>
            <a:off x="5754296" y="1833491"/>
            <a:ext cx="1824245" cy="205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altLang="ru-RU" sz="1000" b="0" i="0" u="none" strike="noStrike" kern="1200" cap="none" spc="0" normalizeH="0" baseline="0" noProof="0">
                <a:ln>
                  <a:noFill/>
                </a:ln>
                <a:solidFill>
                  <a:schemeClr val="accent1"/>
                </a:solidFill>
                <a:effectLst/>
                <a:uLnTx/>
                <a:uFillTx/>
                <a:latin typeface="Arial"/>
                <a:cs typeface="+mn-ea"/>
                <a:sym typeface="+mn-lt"/>
              </a:rPr>
              <a:t>Fish bone text block </a:t>
            </a:r>
          </a:p>
        </p:txBody>
      </p:sp>
      <p:sp>
        <p:nvSpPr>
          <p:cNvPr id="10" name="Shape 57">
            <a:extLst>
              <a:ext uri="{FF2B5EF4-FFF2-40B4-BE49-F238E27FC236}">
                <a16:creationId xmlns:a16="http://schemas.microsoft.com/office/drawing/2014/main" id="{2AACEBBD-1770-4B9E-B6AD-4B06BDA1C60A}"/>
              </a:ext>
            </a:extLst>
          </p:cNvPr>
          <p:cNvSpPr>
            <a:spLocks noChangeArrowheads="1"/>
          </p:cNvSpPr>
          <p:nvPr/>
        </p:nvSpPr>
        <p:spPr bwMode="auto">
          <a:xfrm>
            <a:off x="6229546" y="2348318"/>
            <a:ext cx="1824245" cy="205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altLang="ru-RU" sz="1000" b="0" i="0" u="none" strike="noStrike" kern="1200" cap="none" spc="0" normalizeH="0" baseline="0" noProof="0" dirty="0" err="1">
                <a:ln>
                  <a:noFill/>
                </a:ln>
                <a:solidFill>
                  <a:schemeClr val="accent1"/>
                </a:solidFill>
                <a:effectLst/>
                <a:uLnTx/>
                <a:uFillTx/>
                <a:latin typeface="Arial"/>
                <a:cs typeface="+mn-ea"/>
                <a:sym typeface="+mn-lt"/>
              </a:rPr>
              <a:t>Fish</a:t>
            </a:r>
            <a:r>
              <a:rPr kumimoji="0" lang="ru-RU" altLang="ru-RU" sz="1000" b="0" i="0" u="none" strike="noStrike" kern="1200" cap="none" spc="0" normalizeH="0" baseline="0" noProof="0" dirty="0">
                <a:ln>
                  <a:noFill/>
                </a:ln>
                <a:solidFill>
                  <a:schemeClr val="accent1"/>
                </a:solidFill>
                <a:effectLst/>
                <a:uLnTx/>
                <a:uFillTx/>
                <a:latin typeface="Arial"/>
                <a:cs typeface="+mn-ea"/>
                <a:sym typeface="+mn-lt"/>
              </a:rPr>
              <a:t> </a:t>
            </a:r>
            <a:r>
              <a:rPr kumimoji="0" lang="ru-RU" altLang="ru-RU" sz="1000" b="0" i="0" u="none" strike="noStrike" kern="1200" cap="none" spc="0" normalizeH="0" baseline="0" noProof="0" dirty="0" err="1">
                <a:ln>
                  <a:noFill/>
                </a:ln>
                <a:solidFill>
                  <a:schemeClr val="accent1"/>
                </a:solidFill>
                <a:effectLst/>
                <a:uLnTx/>
                <a:uFillTx/>
                <a:latin typeface="Arial"/>
                <a:cs typeface="+mn-ea"/>
                <a:sym typeface="+mn-lt"/>
              </a:rPr>
              <a:t>bone</a:t>
            </a:r>
            <a:r>
              <a:rPr kumimoji="0" lang="ru-RU" altLang="ru-RU" sz="1000" b="0" i="0" u="none" strike="noStrike" kern="1200" cap="none" spc="0" normalizeH="0" baseline="0" noProof="0" dirty="0">
                <a:ln>
                  <a:noFill/>
                </a:ln>
                <a:solidFill>
                  <a:schemeClr val="accent1"/>
                </a:solidFill>
                <a:effectLst/>
                <a:uLnTx/>
                <a:uFillTx/>
                <a:latin typeface="Arial"/>
                <a:cs typeface="+mn-ea"/>
                <a:sym typeface="+mn-lt"/>
              </a:rPr>
              <a:t> </a:t>
            </a:r>
            <a:r>
              <a:rPr kumimoji="0" lang="ru-RU" altLang="ru-RU" sz="1000" b="0" i="0" u="none" strike="noStrike" kern="1200" cap="none" spc="0" normalizeH="0" baseline="0" noProof="0" dirty="0" err="1">
                <a:ln>
                  <a:noFill/>
                </a:ln>
                <a:solidFill>
                  <a:schemeClr val="accent1"/>
                </a:solidFill>
                <a:effectLst/>
                <a:uLnTx/>
                <a:uFillTx/>
                <a:latin typeface="Arial"/>
                <a:cs typeface="+mn-ea"/>
                <a:sym typeface="+mn-lt"/>
              </a:rPr>
              <a:t>text</a:t>
            </a:r>
            <a:r>
              <a:rPr kumimoji="0" lang="ru-RU" altLang="ru-RU" sz="1000" b="0" i="0" u="none" strike="noStrike" kern="1200" cap="none" spc="0" normalizeH="0" baseline="0" noProof="0" dirty="0">
                <a:ln>
                  <a:noFill/>
                </a:ln>
                <a:solidFill>
                  <a:schemeClr val="accent1"/>
                </a:solidFill>
                <a:effectLst/>
                <a:uLnTx/>
                <a:uFillTx/>
                <a:latin typeface="Arial"/>
                <a:cs typeface="+mn-ea"/>
                <a:sym typeface="+mn-lt"/>
              </a:rPr>
              <a:t> </a:t>
            </a:r>
            <a:r>
              <a:rPr kumimoji="0" lang="ru-RU" altLang="ru-RU" sz="1000" b="0" i="0" u="none" strike="noStrike" kern="1200" cap="none" spc="0" normalizeH="0" baseline="0" noProof="0" dirty="0" err="1">
                <a:ln>
                  <a:noFill/>
                </a:ln>
                <a:solidFill>
                  <a:schemeClr val="accent1"/>
                </a:solidFill>
                <a:effectLst/>
                <a:uLnTx/>
                <a:uFillTx/>
                <a:latin typeface="Arial"/>
                <a:cs typeface="+mn-ea"/>
                <a:sym typeface="+mn-lt"/>
              </a:rPr>
              <a:t>block</a:t>
            </a:r>
            <a:r>
              <a:rPr kumimoji="0" lang="ru-RU" altLang="ru-RU" sz="1000" b="0" i="0" u="none" strike="noStrike" kern="1200" cap="none" spc="0" normalizeH="0" baseline="0" noProof="0" dirty="0">
                <a:ln>
                  <a:noFill/>
                </a:ln>
                <a:solidFill>
                  <a:schemeClr val="accent1"/>
                </a:solidFill>
                <a:effectLst/>
                <a:uLnTx/>
                <a:uFillTx/>
                <a:latin typeface="Arial"/>
                <a:cs typeface="+mn-ea"/>
                <a:sym typeface="+mn-lt"/>
              </a:rPr>
              <a:t> </a:t>
            </a:r>
          </a:p>
        </p:txBody>
      </p:sp>
      <p:sp>
        <p:nvSpPr>
          <p:cNvPr id="11" name="Shape 65">
            <a:extLst>
              <a:ext uri="{FF2B5EF4-FFF2-40B4-BE49-F238E27FC236}">
                <a16:creationId xmlns:a16="http://schemas.microsoft.com/office/drawing/2014/main" id="{D96D6EEF-51E8-4197-B4FC-20ADDD035ED4}"/>
              </a:ext>
            </a:extLst>
          </p:cNvPr>
          <p:cNvSpPr>
            <a:spLocks noChangeShapeType="1"/>
          </p:cNvSpPr>
          <p:nvPr/>
        </p:nvSpPr>
        <p:spPr bwMode="auto">
          <a:xfrm flipH="1" flipV="1">
            <a:off x="2845257" y="1403466"/>
            <a:ext cx="1484126" cy="1623470"/>
          </a:xfrm>
          <a:prstGeom prst="line">
            <a:avLst/>
          </a:prstGeom>
          <a:noFill/>
          <a:ln w="63500">
            <a:solidFill>
              <a:schemeClr val="accent1">
                <a:lumMod val="100000"/>
              </a:schemeClr>
            </a:solidFill>
            <a:miter lim="400000"/>
            <a:headEnd/>
            <a:tailEnd/>
          </a:ln>
          <a:extLst>
            <a:ext uri="{909E8E84-426E-40DD-AFC4-6F175D3DCCD1}">
              <a14:hiddenFill xmlns:a14="http://schemas.microsoft.com/office/drawing/2010/main">
                <a:noFill/>
              </a14:hiddenFill>
            </a:ext>
          </a:extLst>
        </p:spPr>
        <p:txBody>
          <a:bodyPr lIns="25400" tIns="25400" rIns="25400" bIns="254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500" b="0" i="0" u="none" strike="noStrike" kern="1200" cap="none" spc="0" normalizeH="0" baseline="0" noProof="0">
              <a:ln>
                <a:noFill/>
              </a:ln>
              <a:solidFill>
                <a:srgbClr val="000000"/>
              </a:solidFill>
              <a:effectLst/>
              <a:uLnTx/>
              <a:uFillTx/>
              <a:latin typeface="Arial"/>
              <a:cs typeface="+mn-ea"/>
              <a:sym typeface="+mn-lt"/>
            </a:endParaRPr>
          </a:p>
        </p:txBody>
      </p:sp>
      <p:sp>
        <p:nvSpPr>
          <p:cNvPr id="12" name="Shape 67">
            <a:extLst>
              <a:ext uri="{FF2B5EF4-FFF2-40B4-BE49-F238E27FC236}">
                <a16:creationId xmlns:a16="http://schemas.microsoft.com/office/drawing/2014/main" id="{40C428A8-EDA2-4783-95C0-538F8CA70B8D}"/>
              </a:ext>
            </a:extLst>
          </p:cNvPr>
          <p:cNvSpPr>
            <a:spLocks noChangeArrowheads="1"/>
          </p:cNvSpPr>
          <p:nvPr/>
        </p:nvSpPr>
        <p:spPr bwMode="auto">
          <a:xfrm>
            <a:off x="3501212" y="1833491"/>
            <a:ext cx="1824245" cy="205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altLang="ru-RU" sz="1000" b="0" i="0" u="none" strike="noStrike" kern="1200" cap="none" spc="0" normalizeH="0" baseline="0" noProof="0">
                <a:ln>
                  <a:noFill/>
                </a:ln>
                <a:solidFill>
                  <a:schemeClr val="accent1"/>
                </a:solidFill>
                <a:effectLst/>
                <a:uLnTx/>
                <a:uFillTx/>
                <a:latin typeface="Arial"/>
                <a:cs typeface="+mn-ea"/>
                <a:sym typeface="+mn-lt"/>
              </a:rPr>
              <a:t>Fish bone text block </a:t>
            </a:r>
          </a:p>
        </p:txBody>
      </p:sp>
      <p:sp>
        <p:nvSpPr>
          <p:cNvPr id="13" name="Shape 68">
            <a:extLst>
              <a:ext uri="{FF2B5EF4-FFF2-40B4-BE49-F238E27FC236}">
                <a16:creationId xmlns:a16="http://schemas.microsoft.com/office/drawing/2014/main" id="{B7851C2E-1D2A-4CBE-B7AB-F35C9C49F187}"/>
              </a:ext>
            </a:extLst>
          </p:cNvPr>
          <p:cNvSpPr>
            <a:spLocks noChangeArrowheads="1"/>
          </p:cNvSpPr>
          <p:nvPr/>
        </p:nvSpPr>
        <p:spPr bwMode="auto">
          <a:xfrm>
            <a:off x="3976461" y="2348319"/>
            <a:ext cx="1824245" cy="205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altLang="ru-RU" sz="1000" b="0" i="0" u="none" strike="noStrike" kern="1200" cap="none" spc="0" normalizeH="0" baseline="0" noProof="0">
                <a:ln>
                  <a:noFill/>
                </a:ln>
                <a:solidFill>
                  <a:schemeClr val="accent1"/>
                </a:solidFill>
                <a:effectLst/>
                <a:uLnTx/>
                <a:uFillTx/>
                <a:latin typeface="Arial"/>
                <a:cs typeface="+mn-ea"/>
                <a:sym typeface="+mn-lt"/>
              </a:rPr>
              <a:t>Fish bone text block </a:t>
            </a:r>
          </a:p>
        </p:txBody>
      </p:sp>
      <p:sp>
        <p:nvSpPr>
          <p:cNvPr id="14" name="Shape 70">
            <a:extLst>
              <a:ext uri="{FF2B5EF4-FFF2-40B4-BE49-F238E27FC236}">
                <a16:creationId xmlns:a16="http://schemas.microsoft.com/office/drawing/2014/main" id="{548A6885-C760-4A25-9ABE-502ABF9ADFF9}"/>
              </a:ext>
            </a:extLst>
          </p:cNvPr>
          <p:cNvSpPr>
            <a:spLocks noChangeArrowheads="1"/>
          </p:cNvSpPr>
          <p:nvPr/>
        </p:nvSpPr>
        <p:spPr bwMode="auto">
          <a:xfrm>
            <a:off x="2574855" y="2840413"/>
            <a:ext cx="1267619" cy="4360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2500" b="1" cap="all">
                <a:solidFill>
                  <a:srgbClr val="344245"/>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sz="1250" b="1" i="0" u="none" strike="noStrike" kern="0" cap="all" spc="0" normalizeH="0" baseline="0" noProof="0" dirty="0">
                <a:ln>
                  <a:noFill/>
                </a:ln>
                <a:solidFill>
                  <a:schemeClr val="accent1"/>
                </a:solidFill>
                <a:effectLst/>
                <a:uLnTx/>
                <a:uFillTx/>
                <a:latin typeface="Arial"/>
                <a:cs typeface="+mn-ea"/>
                <a:sym typeface="+mn-lt"/>
              </a:rPr>
              <a:t>process efficiency</a:t>
            </a:r>
          </a:p>
        </p:txBody>
      </p:sp>
      <p:sp>
        <p:nvSpPr>
          <p:cNvPr id="15" name="Shape 83">
            <a:extLst>
              <a:ext uri="{FF2B5EF4-FFF2-40B4-BE49-F238E27FC236}">
                <a16:creationId xmlns:a16="http://schemas.microsoft.com/office/drawing/2014/main" id="{CACC3548-CC34-4C63-9E12-D64886BC4447}"/>
              </a:ext>
            </a:extLst>
          </p:cNvPr>
          <p:cNvSpPr>
            <a:spLocks noChangeArrowheads="1"/>
          </p:cNvSpPr>
          <p:nvPr/>
        </p:nvSpPr>
        <p:spPr bwMode="auto">
          <a:xfrm>
            <a:off x="2554944" y="1008179"/>
            <a:ext cx="431804" cy="431879"/>
          </a:xfrm>
          <a:prstGeom prst="ellipse">
            <a:avLst/>
          </a:prstGeom>
          <a:solidFill>
            <a:schemeClr val="tx2"/>
          </a:solidFill>
          <a:ln w="63500">
            <a:solidFill>
              <a:schemeClr val="accent1">
                <a:lumMod val="100000"/>
              </a:schemeClr>
            </a:solidFill>
            <a:miter lim="400000"/>
            <a:headEnd/>
            <a:tailEnd/>
          </a:ln>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FFFFFF"/>
              </a:solidFill>
              <a:effectLst/>
              <a:uLnTx/>
              <a:uFillTx/>
              <a:latin typeface="Arial"/>
              <a:cs typeface="+mn-ea"/>
              <a:sym typeface="+mn-lt"/>
            </a:endParaRPr>
          </a:p>
        </p:txBody>
      </p:sp>
      <p:sp>
        <p:nvSpPr>
          <p:cNvPr id="16" name="Shape 84">
            <a:extLst>
              <a:ext uri="{FF2B5EF4-FFF2-40B4-BE49-F238E27FC236}">
                <a16:creationId xmlns:a16="http://schemas.microsoft.com/office/drawing/2014/main" id="{10361B39-5AF9-40D5-89F8-50445EACD189}"/>
              </a:ext>
            </a:extLst>
          </p:cNvPr>
          <p:cNvSpPr>
            <a:spLocks noChangeArrowheads="1"/>
          </p:cNvSpPr>
          <p:nvPr/>
        </p:nvSpPr>
        <p:spPr bwMode="auto">
          <a:xfrm>
            <a:off x="2589383" y="1095902"/>
            <a:ext cx="362744" cy="2436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lgn="ctr">
              <a:defRPr sz="2500" cap="all">
                <a:solidFill>
                  <a:srgbClr val="FFFFFF"/>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sz="1250" b="1" i="0" u="none" strike="noStrike" kern="0" cap="all" spc="0" normalizeH="0" baseline="0" noProof="0" dirty="0">
                <a:ln>
                  <a:noFill/>
                </a:ln>
                <a:solidFill>
                  <a:srgbClr val="F0F0F0"/>
                </a:solidFill>
                <a:effectLst/>
                <a:uLnTx/>
                <a:uFillTx/>
                <a:latin typeface="Arial"/>
                <a:cs typeface="+mn-ea"/>
                <a:sym typeface="+mn-lt"/>
              </a:rPr>
              <a:t>1</a:t>
            </a:r>
          </a:p>
        </p:txBody>
      </p:sp>
      <p:sp>
        <p:nvSpPr>
          <p:cNvPr id="17" name="Shape 85">
            <a:extLst>
              <a:ext uri="{FF2B5EF4-FFF2-40B4-BE49-F238E27FC236}">
                <a16:creationId xmlns:a16="http://schemas.microsoft.com/office/drawing/2014/main" id="{0AD65FEF-A83C-49E8-9206-9F86701916FB}"/>
              </a:ext>
            </a:extLst>
          </p:cNvPr>
          <p:cNvSpPr>
            <a:spLocks noChangeArrowheads="1"/>
          </p:cNvSpPr>
          <p:nvPr/>
        </p:nvSpPr>
        <p:spPr bwMode="auto">
          <a:xfrm>
            <a:off x="1175714" y="1109396"/>
            <a:ext cx="1267619" cy="2436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lgn="r">
              <a:defRPr sz="2500" b="1" cap="all">
                <a:solidFill>
                  <a:srgbClr val="344245"/>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sz="1250" b="1" i="0" u="none" strike="noStrike" kern="0" cap="all" spc="0" normalizeH="0" baseline="0" noProof="0">
                <a:ln>
                  <a:noFill/>
                </a:ln>
                <a:solidFill>
                  <a:schemeClr val="accent1"/>
                </a:solidFill>
                <a:effectLst/>
                <a:uLnTx/>
                <a:uFillTx/>
                <a:latin typeface="Arial"/>
                <a:cs typeface="+mn-ea"/>
                <a:sym typeface="+mn-lt"/>
              </a:rPr>
              <a:t>Text inform</a:t>
            </a:r>
          </a:p>
        </p:txBody>
      </p:sp>
      <p:sp>
        <p:nvSpPr>
          <p:cNvPr id="18" name="Shape 86">
            <a:extLst>
              <a:ext uri="{FF2B5EF4-FFF2-40B4-BE49-F238E27FC236}">
                <a16:creationId xmlns:a16="http://schemas.microsoft.com/office/drawing/2014/main" id="{AE1A28E4-9682-4BB5-8128-CC2478F6DE51}"/>
              </a:ext>
            </a:extLst>
          </p:cNvPr>
          <p:cNvSpPr>
            <a:spLocks noChangeArrowheads="1"/>
          </p:cNvSpPr>
          <p:nvPr/>
        </p:nvSpPr>
        <p:spPr bwMode="auto">
          <a:xfrm>
            <a:off x="3242274" y="1840295"/>
            <a:ext cx="190325" cy="190359"/>
          </a:xfrm>
          <a:prstGeom prst="ellipse">
            <a:avLst/>
          </a:prstGeom>
          <a:solidFill>
            <a:schemeClr val="accent1">
              <a:lumMod val="100000"/>
            </a:schemeClr>
          </a:solidFill>
          <a:ln>
            <a:noFill/>
          </a:ln>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FFFFFF"/>
              </a:solidFill>
              <a:effectLst/>
              <a:uLnTx/>
              <a:uFillTx/>
              <a:latin typeface="Arial"/>
              <a:cs typeface="+mn-ea"/>
              <a:sym typeface="+mn-lt"/>
            </a:endParaRPr>
          </a:p>
        </p:txBody>
      </p:sp>
      <p:sp>
        <p:nvSpPr>
          <p:cNvPr id="19" name="Shape 89">
            <a:extLst>
              <a:ext uri="{FF2B5EF4-FFF2-40B4-BE49-F238E27FC236}">
                <a16:creationId xmlns:a16="http://schemas.microsoft.com/office/drawing/2014/main" id="{2B8E2675-9C2D-478B-89A5-C0EA52DDC3F4}"/>
              </a:ext>
            </a:extLst>
          </p:cNvPr>
          <p:cNvSpPr>
            <a:spLocks noChangeArrowheads="1"/>
          </p:cNvSpPr>
          <p:nvPr/>
        </p:nvSpPr>
        <p:spPr bwMode="auto">
          <a:xfrm>
            <a:off x="3689694" y="2358274"/>
            <a:ext cx="190325" cy="190358"/>
          </a:xfrm>
          <a:prstGeom prst="ellipse">
            <a:avLst/>
          </a:prstGeom>
          <a:solidFill>
            <a:schemeClr val="accent1">
              <a:lumMod val="100000"/>
            </a:schemeClr>
          </a:solidFill>
          <a:ln>
            <a:noFill/>
          </a:ln>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FFFFFF"/>
              </a:solidFill>
              <a:effectLst/>
              <a:uLnTx/>
              <a:uFillTx/>
              <a:latin typeface="Arial"/>
              <a:cs typeface="+mn-ea"/>
              <a:sym typeface="+mn-lt"/>
            </a:endParaRPr>
          </a:p>
        </p:txBody>
      </p:sp>
      <p:grpSp>
        <p:nvGrpSpPr>
          <p:cNvPr id="20" name="Группа 148">
            <a:extLst>
              <a:ext uri="{FF2B5EF4-FFF2-40B4-BE49-F238E27FC236}">
                <a16:creationId xmlns:a16="http://schemas.microsoft.com/office/drawing/2014/main" id="{F933A518-BBEA-4CCC-9A1B-8A9E88158EC0}"/>
              </a:ext>
            </a:extLst>
          </p:cNvPr>
          <p:cNvGrpSpPr/>
          <p:nvPr/>
        </p:nvGrpSpPr>
        <p:grpSpPr>
          <a:xfrm>
            <a:off x="3377577" y="1008179"/>
            <a:ext cx="3204891" cy="2018757"/>
            <a:chOff x="5915149" y="2181457"/>
            <a:chExt cx="6409782" cy="4037513"/>
          </a:xfrm>
        </p:grpSpPr>
        <p:sp>
          <p:nvSpPr>
            <p:cNvPr id="61" name="Shape 48">
              <a:extLst>
                <a:ext uri="{FF2B5EF4-FFF2-40B4-BE49-F238E27FC236}">
                  <a16:creationId xmlns:a16="http://schemas.microsoft.com/office/drawing/2014/main" id="{9E53882B-7199-41CB-9C19-3531A183E689}"/>
                </a:ext>
              </a:extLst>
            </p:cNvPr>
            <p:cNvSpPr>
              <a:spLocks noChangeShapeType="1"/>
            </p:cNvSpPr>
            <p:nvPr/>
          </p:nvSpPr>
          <p:spPr bwMode="auto">
            <a:xfrm flipH="1" flipV="1">
              <a:off x="9356679" y="2972030"/>
              <a:ext cx="2968252" cy="3246940"/>
            </a:xfrm>
            <a:prstGeom prst="line">
              <a:avLst/>
            </a:prstGeom>
            <a:noFill/>
            <a:ln w="63500">
              <a:solidFill>
                <a:schemeClr val="accent1">
                  <a:lumMod val="100000"/>
                </a:schemeClr>
              </a:solidFill>
              <a:miter lim="400000"/>
              <a:headEnd/>
              <a:tailEnd/>
            </a:ln>
            <a:extLst>
              <a:ext uri="{909E8E84-426E-40DD-AFC4-6F175D3DCCD1}">
                <a14:hiddenFill xmlns:a14="http://schemas.microsoft.com/office/drawing/2010/main">
                  <a:noFill/>
                </a14:hiddenFill>
              </a:ext>
            </a:extLst>
          </p:spPr>
          <p:txBody>
            <a:bodyPr lIns="25400" tIns="25400" rIns="25400" bIns="254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500" b="0" i="0" u="none" strike="noStrike" kern="1200" cap="none" spc="0" normalizeH="0" baseline="0" noProof="0">
                <a:ln>
                  <a:noFill/>
                </a:ln>
                <a:solidFill>
                  <a:srgbClr val="000000"/>
                </a:solidFill>
                <a:effectLst/>
                <a:uLnTx/>
                <a:uFillTx/>
                <a:latin typeface="Arial"/>
                <a:cs typeface="+mn-ea"/>
                <a:sym typeface="+mn-lt"/>
              </a:endParaRPr>
            </a:p>
          </p:txBody>
        </p:sp>
        <p:sp>
          <p:nvSpPr>
            <p:cNvPr id="62" name="Shape 77">
              <a:extLst>
                <a:ext uri="{FF2B5EF4-FFF2-40B4-BE49-F238E27FC236}">
                  <a16:creationId xmlns:a16="http://schemas.microsoft.com/office/drawing/2014/main" id="{D01265E3-AB2C-4847-995E-F706419CC10C}"/>
                </a:ext>
              </a:extLst>
            </p:cNvPr>
            <p:cNvSpPr>
              <a:spLocks noChangeArrowheads="1"/>
            </p:cNvSpPr>
            <p:nvPr/>
          </p:nvSpPr>
          <p:spPr bwMode="auto">
            <a:xfrm>
              <a:off x="8673329" y="2181457"/>
              <a:ext cx="863608" cy="863757"/>
            </a:xfrm>
            <a:prstGeom prst="ellipse">
              <a:avLst/>
            </a:prstGeom>
            <a:solidFill>
              <a:schemeClr val="tx2"/>
            </a:solidFill>
            <a:ln w="63500">
              <a:solidFill>
                <a:schemeClr val="accent1">
                  <a:lumMod val="100000"/>
                </a:schemeClr>
              </a:solidFill>
              <a:miter lim="400000"/>
              <a:headEnd/>
              <a:tailEnd/>
            </a:ln>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FFFFFF"/>
                </a:solidFill>
                <a:effectLst/>
                <a:uLnTx/>
                <a:uFillTx/>
                <a:latin typeface="Arial"/>
                <a:cs typeface="+mn-ea"/>
                <a:sym typeface="+mn-lt"/>
              </a:endParaRPr>
            </a:p>
          </p:txBody>
        </p:sp>
        <p:sp>
          <p:nvSpPr>
            <p:cNvPr id="63" name="Shape 78">
              <a:extLst>
                <a:ext uri="{FF2B5EF4-FFF2-40B4-BE49-F238E27FC236}">
                  <a16:creationId xmlns:a16="http://schemas.microsoft.com/office/drawing/2014/main" id="{3A992479-D0C7-427B-9843-1B9DCC39FC80}"/>
                </a:ext>
              </a:extLst>
            </p:cNvPr>
            <p:cNvSpPr>
              <a:spLocks noChangeArrowheads="1"/>
            </p:cNvSpPr>
            <p:nvPr/>
          </p:nvSpPr>
          <p:spPr bwMode="auto">
            <a:xfrm>
              <a:off x="8742487" y="2356903"/>
              <a:ext cx="725488" cy="487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lgn="ctr">
                <a:defRPr sz="2500" cap="all">
                  <a:solidFill>
                    <a:srgbClr val="FFFFFF"/>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sz="1250" b="1" i="0" u="none" strike="noStrike" kern="0" cap="all" spc="0" normalizeH="0" baseline="0" noProof="0">
                  <a:ln>
                    <a:noFill/>
                  </a:ln>
                  <a:solidFill>
                    <a:srgbClr val="F0F0F0"/>
                  </a:solidFill>
                  <a:effectLst/>
                  <a:uLnTx/>
                  <a:uFillTx/>
                  <a:latin typeface="Arial"/>
                  <a:cs typeface="+mn-ea"/>
                  <a:sym typeface="+mn-lt"/>
                </a:rPr>
                <a:t>3</a:t>
              </a:r>
            </a:p>
          </p:txBody>
        </p:sp>
        <p:sp>
          <p:nvSpPr>
            <p:cNvPr id="64" name="Shape 79">
              <a:extLst>
                <a:ext uri="{FF2B5EF4-FFF2-40B4-BE49-F238E27FC236}">
                  <a16:creationId xmlns:a16="http://schemas.microsoft.com/office/drawing/2014/main" id="{89E72A79-C218-472C-8B48-9D92E1761665}"/>
                </a:ext>
              </a:extLst>
            </p:cNvPr>
            <p:cNvSpPr>
              <a:spLocks noChangeArrowheads="1"/>
            </p:cNvSpPr>
            <p:nvPr/>
          </p:nvSpPr>
          <p:spPr bwMode="auto">
            <a:xfrm>
              <a:off x="5915149" y="2383891"/>
              <a:ext cx="2535238" cy="487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lgn="r">
                <a:defRPr sz="2500" b="1" cap="all">
                  <a:solidFill>
                    <a:srgbClr val="344245"/>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sz="1250" b="1" i="0" u="none" strike="noStrike" kern="0" cap="all" spc="0" normalizeH="0" baseline="0" noProof="0">
                  <a:ln>
                    <a:noFill/>
                  </a:ln>
                  <a:solidFill>
                    <a:schemeClr val="accent1"/>
                  </a:solidFill>
                  <a:effectLst/>
                  <a:uLnTx/>
                  <a:uFillTx/>
                  <a:latin typeface="Arial"/>
                  <a:cs typeface="+mn-ea"/>
                  <a:sym typeface="+mn-lt"/>
                </a:rPr>
                <a:t>Text inform</a:t>
              </a:r>
            </a:p>
          </p:txBody>
        </p:sp>
        <p:sp>
          <p:nvSpPr>
            <p:cNvPr id="65" name="Shape 92">
              <a:extLst>
                <a:ext uri="{FF2B5EF4-FFF2-40B4-BE49-F238E27FC236}">
                  <a16:creationId xmlns:a16="http://schemas.microsoft.com/office/drawing/2014/main" id="{BCDC1B5A-63C5-42FA-B7CC-BB7A05317AC0}"/>
                </a:ext>
              </a:extLst>
            </p:cNvPr>
            <p:cNvSpPr>
              <a:spLocks noChangeArrowheads="1"/>
            </p:cNvSpPr>
            <p:nvPr/>
          </p:nvSpPr>
          <p:spPr bwMode="auto">
            <a:xfrm>
              <a:off x="10184009" y="3844633"/>
              <a:ext cx="380650" cy="380717"/>
            </a:xfrm>
            <a:prstGeom prst="ellipse">
              <a:avLst/>
            </a:prstGeom>
            <a:solidFill>
              <a:schemeClr val="accent1">
                <a:lumMod val="100000"/>
              </a:schemeClr>
            </a:solidFill>
            <a:ln>
              <a:noFill/>
            </a:ln>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FFFFFF"/>
                </a:solidFill>
                <a:effectLst/>
                <a:uLnTx/>
                <a:uFillTx/>
                <a:latin typeface="Arial"/>
                <a:cs typeface="+mn-ea"/>
                <a:sym typeface="+mn-lt"/>
              </a:endParaRPr>
            </a:p>
          </p:txBody>
        </p:sp>
        <p:sp>
          <p:nvSpPr>
            <p:cNvPr id="66" name="Shape 95">
              <a:extLst>
                <a:ext uri="{FF2B5EF4-FFF2-40B4-BE49-F238E27FC236}">
                  <a16:creationId xmlns:a16="http://schemas.microsoft.com/office/drawing/2014/main" id="{E92593F7-5676-41E9-813A-3C5E1F57D0F4}"/>
                </a:ext>
              </a:extLst>
            </p:cNvPr>
            <p:cNvSpPr>
              <a:spLocks noChangeArrowheads="1"/>
            </p:cNvSpPr>
            <p:nvPr/>
          </p:nvSpPr>
          <p:spPr bwMode="auto">
            <a:xfrm>
              <a:off x="11091550" y="4880591"/>
              <a:ext cx="380650" cy="380716"/>
            </a:xfrm>
            <a:prstGeom prst="ellipse">
              <a:avLst/>
            </a:prstGeom>
            <a:solidFill>
              <a:schemeClr val="accent1">
                <a:lumMod val="100000"/>
              </a:schemeClr>
            </a:solidFill>
            <a:ln>
              <a:noFill/>
            </a:ln>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FFFFFF"/>
                </a:solidFill>
                <a:effectLst/>
                <a:uLnTx/>
                <a:uFillTx/>
                <a:latin typeface="Arial"/>
                <a:cs typeface="+mn-ea"/>
                <a:sym typeface="+mn-lt"/>
              </a:endParaRPr>
            </a:p>
          </p:txBody>
        </p:sp>
      </p:grpSp>
      <p:grpSp>
        <p:nvGrpSpPr>
          <p:cNvPr id="21" name="Группа 149">
            <a:extLst>
              <a:ext uri="{FF2B5EF4-FFF2-40B4-BE49-F238E27FC236}">
                <a16:creationId xmlns:a16="http://schemas.microsoft.com/office/drawing/2014/main" id="{F84334E3-999B-4381-B9F6-C4D2FBD7E21F}"/>
              </a:ext>
            </a:extLst>
          </p:cNvPr>
          <p:cNvGrpSpPr/>
          <p:nvPr/>
        </p:nvGrpSpPr>
        <p:grpSpPr>
          <a:xfrm>
            <a:off x="5572296" y="1008179"/>
            <a:ext cx="4650961" cy="2018757"/>
            <a:chOff x="10304587" y="2181457"/>
            <a:chExt cx="9301921" cy="4037513"/>
          </a:xfrm>
        </p:grpSpPr>
        <p:sp>
          <p:nvSpPr>
            <p:cNvPr id="53" name="Shape 50">
              <a:extLst>
                <a:ext uri="{FF2B5EF4-FFF2-40B4-BE49-F238E27FC236}">
                  <a16:creationId xmlns:a16="http://schemas.microsoft.com/office/drawing/2014/main" id="{A58F9CC8-8A25-4A87-8D1F-D6695CECFB8A}"/>
                </a:ext>
              </a:extLst>
            </p:cNvPr>
            <p:cNvSpPr>
              <a:spLocks noChangeShapeType="1"/>
            </p:cNvSpPr>
            <p:nvPr/>
          </p:nvSpPr>
          <p:spPr bwMode="auto">
            <a:xfrm flipH="1" flipV="1">
              <a:off x="13691646" y="2972030"/>
              <a:ext cx="2968253" cy="3246940"/>
            </a:xfrm>
            <a:prstGeom prst="line">
              <a:avLst/>
            </a:prstGeom>
            <a:noFill/>
            <a:ln w="63500">
              <a:solidFill>
                <a:schemeClr val="accent1">
                  <a:lumMod val="100000"/>
                </a:schemeClr>
              </a:solidFill>
              <a:miter lim="400000"/>
              <a:headEnd/>
              <a:tailEnd/>
            </a:ln>
            <a:extLst>
              <a:ext uri="{909E8E84-426E-40DD-AFC4-6F175D3DCCD1}">
                <a14:hiddenFill xmlns:a14="http://schemas.microsoft.com/office/drawing/2010/main">
                  <a:noFill/>
                </a14:hiddenFill>
              </a:ext>
            </a:extLst>
          </p:spPr>
          <p:txBody>
            <a:bodyPr lIns="25400" tIns="25400" rIns="25400" bIns="254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500" b="0" i="0" u="none" strike="noStrike" kern="1200" cap="none" spc="0" normalizeH="0" baseline="0" noProof="0">
                <a:ln>
                  <a:noFill/>
                </a:ln>
                <a:solidFill>
                  <a:srgbClr val="000000"/>
                </a:solidFill>
                <a:effectLst/>
                <a:uLnTx/>
                <a:uFillTx/>
                <a:latin typeface="Arial"/>
                <a:cs typeface="+mn-ea"/>
                <a:sym typeface="+mn-lt"/>
              </a:endParaRPr>
            </a:p>
          </p:txBody>
        </p:sp>
        <p:sp>
          <p:nvSpPr>
            <p:cNvPr id="54" name="Shape 58">
              <a:extLst>
                <a:ext uri="{FF2B5EF4-FFF2-40B4-BE49-F238E27FC236}">
                  <a16:creationId xmlns:a16="http://schemas.microsoft.com/office/drawing/2014/main" id="{6E66C44B-AC4D-43E0-B172-681057AC51F2}"/>
                </a:ext>
              </a:extLst>
            </p:cNvPr>
            <p:cNvSpPr>
              <a:spLocks noChangeArrowheads="1"/>
            </p:cNvSpPr>
            <p:nvPr/>
          </p:nvSpPr>
          <p:spPr bwMode="auto">
            <a:xfrm>
              <a:off x="15007520" y="3832081"/>
              <a:ext cx="3648490" cy="4103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altLang="ru-RU" sz="1000" b="0" i="0" u="none" strike="noStrike" kern="1200" cap="none" spc="0" normalizeH="0" baseline="0" noProof="0">
                  <a:ln>
                    <a:noFill/>
                  </a:ln>
                  <a:solidFill>
                    <a:schemeClr val="accent1"/>
                  </a:solidFill>
                  <a:effectLst/>
                  <a:uLnTx/>
                  <a:uFillTx/>
                  <a:latin typeface="Arial"/>
                  <a:cs typeface="+mn-ea"/>
                  <a:sym typeface="+mn-lt"/>
                </a:rPr>
                <a:t>Fish bone text block </a:t>
              </a:r>
            </a:p>
          </p:txBody>
        </p:sp>
        <p:sp>
          <p:nvSpPr>
            <p:cNvPr id="55" name="Shape 59">
              <a:extLst>
                <a:ext uri="{FF2B5EF4-FFF2-40B4-BE49-F238E27FC236}">
                  <a16:creationId xmlns:a16="http://schemas.microsoft.com/office/drawing/2014/main" id="{E2F76512-5B37-4ED3-89DC-B66895613628}"/>
                </a:ext>
              </a:extLst>
            </p:cNvPr>
            <p:cNvSpPr>
              <a:spLocks noChangeArrowheads="1"/>
            </p:cNvSpPr>
            <p:nvPr/>
          </p:nvSpPr>
          <p:spPr bwMode="auto">
            <a:xfrm>
              <a:off x="15958018" y="4861736"/>
              <a:ext cx="3648490" cy="4103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altLang="ru-RU" sz="1000" b="0" i="0" u="none" strike="noStrike" kern="1200" cap="none" spc="0" normalizeH="0" baseline="0" noProof="0">
                  <a:ln>
                    <a:noFill/>
                  </a:ln>
                  <a:solidFill>
                    <a:schemeClr val="accent1"/>
                  </a:solidFill>
                  <a:effectLst/>
                  <a:uLnTx/>
                  <a:uFillTx/>
                  <a:latin typeface="Arial"/>
                  <a:cs typeface="+mn-ea"/>
                  <a:sym typeface="+mn-lt"/>
                </a:rPr>
                <a:t>Fish bone text block </a:t>
              </a:r>
            </a:p>
          </p:txBody>
        </p:sp>
        <p:sp>
          <p:nvSpPr>
            <p:cNvPr id="56" name="Shape 80">
              <a:extLst>
                <a:ext uri="{FF2B5EF4-FFF2-40B4-BE49-F238E27FC236}">
                  <a16:creationId xmlns:a16="http://schemas.microsoft.com/office/drawing/2014/main" id="{C84DCE59-C04E-4117-B011-F1CE98635455}"/>
                </a:ext>
              </a:extLst>
            </p:cNvPr>
            <p:cNvSpPr>
              <a:spLocks noChangeArrowheads="1"/>
            </p:cNvSpPr>
            <p:nvPr/>
          </p:nvSpPr>
          <p:spPr bwMode="auto">
            <a:xfrm>
              <a:off x="13063657" y="2181457"/>
              <a:ext cx="863608" cy="863757"/>
            </a:xfrm>
            <a:prstGeom prst="ellipse">
              <a:avLst/>
            </a:prstGeom>
            <a:solidFill>
              <a:schemeClr val="tx2"/>
            </a:solidFill>
            <a:ln w="63500">
              <a:solidFill>
                <a:schemeClr val="accent1">
                  <a:lumMod val="100000"/>
                </a:schemeClr>
              </a:solidFill>
              <a:miter lim="400000"/>
              <a:headEnd/>
              <a:tailEnd/>
            </a:ln>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FFFFFF"/>
                </a:solidFill>
                <a:effectLst/>
                <a:uLnTx/>
                <a:uFillTx/>
                <a:latin typeface="Arial"/>
                <a:cs typeface="+mn-ea"/>
                <a:sym typeface="+mn-lt"/>
              </a:endParaRPr>
            </a:p>
          </p:txBody>
        </p:sp>
        <p:sp>
          <p:nvSpPr>
            <p:cNvPr id="57" name="Shape 81">
              <a:extLst>
                <a:ext uri="{FF2B5EF4-FFF2-40B4-BE49-F238E27FC236}">
                  <a16:creationId xmlns:a16="http://schemas.microsoft.com/office/drawing/2014/main" id="{991A9415-F36E-47E2-8112-87FABD36EAC8}"/>
                </a:ext>
              </a:extLst>
            </p:cNvPr>
            <p:cNvSpPr>
              <a:spLocks noChangeArrowheads="1"/>
            </p:cNvSpPr>
            <p:nvPr/>
          </p:nvSpPr>
          <p:spPr bwMode="auto">
            <a:xfrm>
              <a:off x="13146213" y="2369603"/>
              <a:ext cx="723900" cy="487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lgn="ctr">
                <a:defRPr sz="2500" cap="all">
                  <a:solidFill>
                    <a:srgbClr val="FFFFFF"/>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sz="1250" b="1" i="0" u="none" strike="noStrike" kern="0" cap="all" spc="0" normalizeH="0" baseline="0" noProof="0" dirty="0">
                  <a:ln>
                    <a:noFill/>
                  </a:ln>
                  <a:solidFill>
                    <a:srgbClr val="F0F0F0"/>
                  </a:solidFill>
                  <a:effectLst/>
                  <a:uLnTx/>
                  <a:uFillTx/>
                  <a:latin typeface="Arial"/>
                  <a:cs typeface="+mn-ea"/>
                  <a:sym typeface="+mn-lt"/>
                </a:rPr>
                <a:t>5</a:t>
              </a:r>
            </a:p>
          </p:txBody>
        </p:sp>
        <p:sp>
          <p:nvSpPr>
            <p:cNvPr id="58" name="Shape 82">
              <a:extLst>
                <a:ext uri="{FF2B5EF4-FFF2-40B4-BE49-F238E27FC236}">
                  <a16:creationId xmlns:a16="http://schemas.microsoft.com/office/drawing/2014/main" id="{89890A16-4565-4430-8897-022332DA8A2C}"/>
                </a:ext>
              </a:extLst>
            </p:cNvPr>
            <p:cNvSpPr>
              <a:spLocks noChangeArrowheads="1"/>
            </p:cNvSpPr>
            <p:nvPr/>
          </p:nvSpPr>
          <p:spPr bwMode="auto">
            <a:xfrm>
              <a:off x="10304587" y="2383891"/>
              <a:ext cx="2536826" cy="487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lgn="r">
                <a:defRPr sz="2500" b="1" cap="all">
                  <a:solidFill>
                    <a:srgbClr val="344245"/>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sz="1250" b="1" i="0" u="none" strike="noStrike" kern="0" cap="all" spc="0" normalizeH="0" baseline="0" noProof="0" dirty="0">
                  <a:ln>
                    <a:noFill/>
                  </a:ln>
                  <a:solidFill>
                    <a:schemeClr val="accent1"/>
                  </a:solidFill>
                  <a:effectLst/>
                  <a:uLnTx/>
                  <a:uFillTx/>
                  <a:latin typeface="Arial"/>
                  <a:cs typeface="+mn-ea"/>
                  <a:sym typeface="+mn-lt"/>
                </a:rPr>
                <a:t>Text inform</a:t>
              </a:r>
            </a:p>
          </p:txBody>
        </p:sp>
        <p:sp>
          <p:nvSpPr>
            <p:cNvPr id="59" name="Shape 98">
              <a:extLst>
                <a:ext uri="{FF2B5EF4-FFF2-40B4-BE49-F238E27FC236}">
                  <a16:creationId xmlns:a16="http://schemas.microsoft.com/office/drawing/2014/main" id="{A14A26D4-5BC0-4616-A2D9-4CA4EB99CA2B}"/>
                </a:ext>
              </a:extLst>
            </p:cNvPr>
            <p:cNvSpPr>
              <a:spLocks noChangeArrowheads="1"/>
            </p:cNvSpPr>
            <p:nvPr/>
          </p:nvSpPr>
          <p:spPr bwMode="auto">
            <a:xfrm>
              <a:off x="14457592" y="3842065"/>
              <a:ext cx="380650" cy="380717"/>
            </a:xfrm>
            <a:prstGeom prst="ellipse">
              <a:avLst/>
            </a:prstGeom>
            <a:solidFill>
              <a:schemeClr val="accent1">
                <a:lumMod val="100000"/>
              </a:schemeClr>
            </a:solidFill>
            <a:ln>
              <a:noFill/>
            </a:ln>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FFFFFF"/>
                </a:solidFill>
                <a:effectLst/>
                <a:uLnTx/>
                <a:uFillTx/>
                <a:latin typeface="Arial"/>
                <a:cs typeface="+mn-ea"/>
                <a:sym typeface="+mn-lt"/>
              </a:endParaRPr>
            </a:p>
          </p:txBody>
        </p:sp>
        <p:sp>
          <p:nvSpPr>
            <p:cNvPr id="60" name="Shape 101">
              <a:extLst>
                <a:ext uri="{FF2B5EF4-FFF2-40B4-BE49-F238E27FC236}">
                  <a16:creationId xmlns:a16="http://schemas.microsoft.com/office/drawing/2014/main" id="{F6BFD9B4-CC40-4DE9-930A-9EDBC0657A9D}"/>
                </a:ext>
              </a:extLst>
            </p:cNvPr>
            <p:cNvSpPr>
              <a:spLocks noChangeArrowheads="1"/>
            </p:cNvSpPr>
            <p:nvPr/>
          </p:nvSpPr>
          <p:spPr bwMode="auto">
            <a:xfrm>
              <a:off x="15365134" y="4878022"/>
              <a:ext cx="380650" cy="380716"/>
            </a:xfrm>
            <a:prstGeom prst="ellipse">
              <a:avLst/>
            </a:prstGeom>
            <a:solidFill>
              <a:schemeClr val="accent1">
                <a:lumMod val="100000"/>
              </a:schemeClr>
            </a:solidFill>
            <a:ln>
              <a:noFill/>
            </a:ln>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FFFFFF"/>
                </a:solidFill>
                <a:effectLst/>
                <a:uLnTx/>
                <a:uFillTx/>
                <a:latin typeface="Arial"/>
                <a:cs typeface="+mn-ea"/>
                <a:sym typeface="+mn-lt"/>
              </a:endParaRPr>
            </a:p>
          </p:txBody>
        </p:sp>
      </p:grpSp>
      <p:sp>
        <p:nvSpPr>
          <p:cNvPr id="22" name="Shape 52">
            <a:extLst>
              <a:ext uri="{FF2B5EF4-FFF2-40B4-BE49-F238E27FC236}">
                <a16:creationId xmlns:a16="http://schemas.microsoft.com/office/drawing/2014/main" id="{58253C75-F9DC-489D-817A-A2AE34247F32}"/>
              </a:ext>
            </a:extLst>
          </p:cNvPr>
          <p:cNvSpPr>
            <a:spLocks noChangeArrowheads="1"/>
          </p:cNvSpPr>
          <p:nvPr/>
        </p:nvSpPr>
        <p:spPr bwMode="auto">
          <a:xfrm>
            <a:off x="5402850" y="2958006"/>
            <a:ext cx="158575" cy="158602"/>
          </a:xfrm>
          <a:prstGeom prst="ellipse">
            <a:avLst/>
          </a:prstGeom>
          <a:solidFill>
            <a:srgbClr val="FFFFFF"/>
          </a:solidFill>
          <a:ln w="63500">
            <a:solidFill>
              <a:schemeClr val="accent1">
                <a:lumMod val="100000"/>
              </a:schemeClr>
            </a:solidFill>
            <a:miter lim="400000"/>
            <a:headEnd/>
            <a:tailEnd/>
          </a:ln>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FFFFFF"/>
              </a:solidFill>
              <a:effectLst/>
              <a:uLnTx/>
              <a:uFillTx/>
              <a:latin typeface="Arial"/>
              <a:cs typeface="+mn-ea"/>
              <a:sym typeface="+mn-lt"/>
            </a:endParaRPr>
          </a:p>
        </p:txBody>
      </p:sp>
      <p:grpSp>
        <p:nvGrpSpPr>
          <p:cNvPr id="23" name="Группа 151">
            <a:extLst>
              <a:ext uri="{FF2B5EF4-FFF2-40B4-BE49-F238E27FC236}">
                <a16:creationId xmlns:a16="http://schemas.microsoft.com/office/drawing/2014/main" id="{A718E36F-0FE8-4316-BFA1-C71FF19A79B6}"/>
              </a:ext>
            </a:extLst>
          </p:cNvPr>
          <p:cNvGrpSpPr/>
          <p:nvPr/>
        </p:nvGrpSpPr>
        <p:grpSpPr>
          <a:xfrm>
            <a:off x="1195262" y="3064855"/>
            <a:ext cx="4625790" cy="1962875"/>
            <a:chOff x="3859337" y="6294809"/>
            <a:chExt cx="9251580" cy="3925749"/>
          </a:xfrm>
        </p:grpSpPr>
        <p:sp>
          <p:nvSpPr>
            <p:cNvPr id="45" name="Shape 49">
              <a:extLst>
                <a:ext uri="{FF2B5EF4-FFF2-40B4-BE49-F238E27FC236}">
                  <a16:creationId xmlns:a16="http://schemas.microsoft.com/office/drawing/2014/main" id="{49DA51D2-49B3-41C7-8A58-D60377EAB71D}"/>
                </a:ext>
              </a:extLst>
            </p:cNvPr>
            <p:cNvSpPr>
              <a:spLocks noChangeShapeType="1"/>
            </p:cNvSpPr>
            <p:nvPr/>
          </p:nvSpPr>
          <p:spPr bwMode="auto">
            <a:xfrm flipV="1">
              <a:off x="7238274" y="6294809"/>
              <a:ext cx="2864205" cy="3172711"/>
            </a:xfrm>
            <a:prstGeom prst="line">
              <a:avLst/>
            </a:prstGeom>
            <a:noFill/>
            <a:ln w="63500">
              <a:solidFill>
                <a:schemeClr val="accent1">
                  <a:lumMod val="100000"/>
                </a:schemeClr>
              </a:solidFill>
              <a:miter lim="400000"/>
              <a:headEnd/>
              <a:tailEnd/>
            </a:ln>
            <a:extLst>
              <a:ext uri="{909E8E84-426E-40DD-AFC4-6F175D3DCCD1}">
                <a14:hiddenFill xmlns:a14="http://schemas.microsoft.com/office/drawing/2010/main">
                  <a:noFill/>
                </a14:hiddenFill>
              </a:ext>
            </a:extLst>
          </p:spPr>
          <p:txBody>
            <a:bodyPr lIns="25400" tIns="25400" rIns="25400" bIns="254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500" b="0" i="0" u="none" strike="noStrike" kern="1200" cap="none" spc="0" normalizeH="0" baseline="0" noProof="0">
                <a:ln>
                  <a:noFill/>
                </a:ln>
                <a:solidFill>
                  <a:srgbClr val="000000"/>
                </a:solidFill>
                <a:effectLst/>
                <a:uLnTx/>
                <a:uFillTx/>
                <a:latin typeface="Arial"/>
                <a:cs typeface="+mn-ea"/>
                <a:sym typeface="+mn-lt"/>
              </a:endParaRPr>
            </a:p>
          </p:txBody>
        </p:sp>
        <p:sp>
          <p:nvSpPr>
            <p:cNvPr id="46" name="Shape 60">
              <a:extLst>
                <a:ext uri="{FF2B5EF4-FFF2-40B4-BE49-F238E27FC236}">
                  <a16:creationId xmlns:a16="http://schemas.microsoft.com/office/drawing/2014/main" id="{9388009F-79DA-457A-A5EF-838E508D7F37}"/>
                </a:ext>
              </a:extLst>
            </p:cNvPr>
            <p:cNvSpPr>
              <a:spLocks noChangeArrowheads="1"/>
            </p:cNvSpPr>
            <p:nvPr/>
          </p:nvSpPr>
          <p:spPr bwMode="auto">
            <a:xfrm>
              <a:off x="9462427" y="7169217"/>
              <a:ext cx="3648490" cy="4103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altLang="ru-RU" sz="1000" b="0" i="0" u="none" strike="noStrike" kern="1200" cap="none" spc="0" normalizeH="0" baseline="0" noProof="0">
                  <a:ln>
                    <a:noFill/>
                  </a:ln>
                  <a:solidFill>
                    <a:schemeClr val="accent1"/>
                  </a:solidFill>
                  <a:effectLst/>
                  <a:uLnTx/>
                  <a:uFillTx/>
                  <a:latin typeface="Arial"/>
                  <a:cs typeface="+mn-ea"/>
                  <a:sym typeface="+mn-lt"/>
                </a:rPr>
                <a:t>Fish bone text block </a:t>
              </a:r>
            </a:p>
          </p:txBody>
        </p:sp>
        <p:sp>
          <p:nvSpPr>
            <p:cNvPr id="47" name="Shape 61">
              <a:extLst>
                <a:ext uri="{FF2B5EF4-FFF2-40B4-BE49-F238E27FC236}">
                  <a16:creationId xmlns:a16="http://schemas.microsoft.com/office/drawing/2014/main" id="{BFDF86F8-F536-49A5-9D85-888F12A1821E}"/>
                </a:ext>
              </a:extLst>
            </p:cNvPr>
            <p:cNvSpPr>
              <a:spLocks noChangeArrowheads="1"/>
            </p:cNvSpPr>
            <p:nvPr/>
          </p:nvSpPr>
          <p:spPr bwMode="auto">
            <a:xfrm>
              <a:off x="8546009" y="8198871"/>
              <a:ext cx="3648490" cy="4103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altLang="ru-RU" sz="1000" b="0" i="0" u="none" strike="noStrike" kern="1200" cap="none" spc="0" normalizeH="0" baseline="0" noProof="0">
                  <a:ln>
                    <a:noFill/>
                  </a:ln>
                  <a:solidFill>
                    <a:schemeClr val="accent1"/>
                  </a:solidFill>
                  <a:effectLst/>
                  <a:uLnTx/>
                  <a:uFillTx/>
                  <a:latin typeface="Arial"/>
                  <a:cs typeface="+mn-ea"/>
                  <a:sym typeface="+mn-lt"/>
                </a:rPr>
                <a:t>Fish bone text block </a:t>
              </a:r>
            </a:p>
          </p:txBody>
        </p:sp>
        <p:sp>
          <p:nvSpPr>
            <p:cNvPr id="48" name="Shape 71">
              <a:extLst>
                <a:ext uri="{FF2B5EF4-FFF2-40B4-BE49-F238E27FC236}">
                  <a16:creationId xmlns:a16="http://schemas.microsoft.com/office/drawing/2014/main" id="{58C7E0D6-7141-427F-8B24-0F685FBB1A9B}"/>
                </a:ext>
              </a:extLst>
            </p:cNvPr>
            <p:cNvSpPr>
              <a:spLocks noChangeArrowheads="1"/>
            </p:cNvSpPr>
            <p:nvPr/>
          </p:nvSpPr>
          <p:spPr bwMode="auto">
            <a:xfrm>
              <a:off x="6617868" y="9356800"/>
              <a:ext cx="863608" cy="863758"/>
            </a:xfrm>
            <a:prstGeom prst="ellipse">
              <a:avLst/>
            </a:prstGeom>
            <a:solidFill>
              <a:schemeClr val="tx2"/>
            </a:solidFill>
            <a:ln w="63500">
              <a:solidFill>
                <a:schemeClr val="accent1">
                  <a:lumMod val="100000"/>
                </a:schemeClr>
              </a:solidFill>
              <a:miter lim="400000"/>
              <a:headEnd/>
              <a:tailEnd/>
            </a:ln>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FFFFFF"/>
                </a:solidFill>
                <a:effectLst/>
                <a:uLnTx/>
                <a:uFillTx/>
                <a:latin typeface="Arial"/>
                <a:cs typeface="+mn-ea"/>
                <a:sym typeface="+mn-lt"/>
              </a:endParaRPr>
            </a:p>
          </p:txBody>
        </p:sp>
        <p:sp>
          <p:nvSpPr>
            <p:cNvPr id="49" name="Shape 72">
              <a:extLst>
                <a:ext uri="{FF2B5EF4-FFF2-40B4-BE49-F238E27FC236}">
                  <a16:creationId xmlns:a16="http://schemas.microsoft.com/office/drawing/2014/main" id="{B53A14F8-AE7E-4024-82DF-E7EBAB238F2A}"/>
                </a:ext>
              </a:extLst>
            </p:cNvPr>
            <p:cNvSpPr>
              <a:spLocks noChangeArrowheads="1"/>
            </p:cNvSpPr>
            <p:nvPr/>
          </p:nvSpPr>
          <p:spPr bwMode="auto">
            <a:xfrm>
              <a:off x="6686675" y="9532402"/>
              <a:ext cx="725488" cy="487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lgn="ctr">
                <a:defRPr sz="2500" cap="all">
                  <a:solidFill>
                    <a:srgbClr val="FFFFFF"/>
                  </a:solidFill>
                  <a:latin typeface="Open Sans Semibold"/>
                  <a:ea typeface="Open Sans Semibold"/>
                  <a:cs typeface="Open Sans Semibold"/>
                  <a:sym typeface="Open Sans Semibold"/>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sz="1250" b="1" i="0" u="none" strike="noStrike" kern="0" cap="all" spc="0" normalizeH="0" baseline="0" noProof="0">
                  <a:ln>
                    <a:noFill/>
                  </a:ln>
                  <a:solidFill>
                    <a:srgbClr val="F0F0F0"/>
                  </a:solidFill>
                  <a:effectLst/>
                  <a:uLnTx/>
                  <a:uFillTx/>
                  <a:latin typeface="Arial"/>
                  <a:ea typeface="+mn-ea"/>
                  <a:cs typeface="+mn-ea"/>
                  <a:sym typeface="+mn-lt"/>
                </a:rPr>
                <a:t>2</a:t>
              </a:r>
            </a:p>
          </p:txBody>
        </p:sp>
        <p:sp>
          <p:nvSpPr>
            <p:cNvPr id="50" name="Shape 73">
              <a:extLst>
                <a:ext uri="{FF2B5EF4-FFF2-40B4-BE49-F238E27FC236}">
                  <a16:creationId xmlns:a16="http://schemas.microsoft.com/office/drawing/2014/main" id="{CE4C7BAB-0A73-4243-A59F-BF26A0C7AF34}"/>
                </a:ext>
              </a:extLst>
            </p:cNvPr>
            <p:cNvSpPr>
              <a:spLocks noChangeArrowheads="1"/>
            </p:cNvSpPr>
            <p:nvPr/>
          </p:nvSpPr>
          <p:spPr bwMode="auto">
            <a:xfrm>
              <a:off x="3859337" y="9559390"/>
              <a:ext cx="2535238" cy="487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lgn="r">
                <a:defRPr sz="2500" b="1" cap="all">
                  <a:solidFill>
                    <a:srgbClr val="344245"/>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sz="1250" b="1" i="0" u="none" strike="noStrike" kern="0" cap="all" spc="0" normalizeH="0" baseline="0" noProof="0">
                  <a:ln>
                    <a:noFill/>
                  </a:ln>
                  <a:solidFill>
                    <a:schemeClr val="accent1"/>
                  </a:solidFill>
                  <a:effectLst/>
                  <a:uLnTx/>
                  <a:uFillTx/>
                  <a:latin typeface="Arial"/>
                  <a:cs typeface="+mn-ea"/>
                  <a:sym typeface="+mn-lt"/>
                </a:rPr>
                <a:t>Text inform</a:t>
              </a:r>
            </a:p>
          </p:txBody>
        </p:sp>
        <p:sp>
          <p:nvSpPr>
            <p:cNvPr id="51" name="Shape 104">
              <a:extLst>
                <a:ext uri="{FF2B5EF4-FFF2-40B4-BE49-F238E27FC236}">
                  <a16:creationId xmlns:a16="http://schemas.microsoft.com/office/drawing/2014/main" id="{77956F7E-093C-40D2-A83C-4EF4E361E2D2}"/>
                </a:ext>
              </a:extLst>
            </p:cNvPr>
            <p:cNvSpPr>
              <a:spLocks noChangeArrowheads="1"/>
            </p:cNvSpPr>
            <p:nvPr/>
          </p:nvSpPr>
          <p:spPr bwMode="auto">
            <a:xfrm>
              <a:off x="8018945" y="8211324"/>
              <a:ext cx="380650" cy="380716"/>
            </a:xfrm>
            <a:prstGeom prst="ellipse">
              <a:avLst/>
            </a:prstGeom>
            <a:solidFill>
              <a:schemeClr val="accent1">
                <a:lumMod val="100000"/>
              </a:schemeClr>
            </a:solidFill>
            <a:ln>
              <a:noFill/>
            </a:ln>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FFFFFF"/>
                </a:solidFill>
                <a:effectLst/>
                <a:uLnTx/>
                <a:uFillTx/>
                <a:latin typeface="Arial"/>
                <a:cs typeface="+mn-ea"/>
                <a:sym typeface="+mn-lt"/>
              </a:endParaRPr>
            </a:p>
          </p:txBody>
        </p:sp>
        <p:sp>
          <p:nvSpPr>
            <p:cNvPr id="52" name="Shape 107">
              <a:extLst>
                <a:ext uri="{FF2B5EF4-FFF2-40B4-BE49-F238E27FC236}">
                  <a16:creationId xmlns:a16="http://schemas.microsoft.com/office/drawing/2014/main" id="{45FC94A8-8BBF-46C4-9791-0AB413C2DA9C}"/>
                </a:ext>
              </a:extLst>
            </p:cNvPr>
            <p:cNvSpPr>
              <a:spLocks noChangeArrowheads="1"/>
            </p:cNvSpPr>
            <p:nvPr/>
          </p:nvSpPr>
          <p:spPr bwMode="auto">
            <a:xfrm>
              <a:off x="8902111" y="7186416"/>
              <a:ext cx="380650" cy="380716"/>
            </a:xfrm>
            <a:prstGeom prst="ellipse">
              <a:avLst/>
            </a:prstGeom>
            <a:solidFill>
              <a:schemeClr val="accent1">
                <a:lumMod val="100000"/>
              </a:schemeClr>
            </a:solidFill>
            <a:ln>
              <a:noFill/>
            </a:ln>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FFFFFF"/>
                </a:solidFill>
                <a:effectLst/>
                <a:uLnTx/>
                <a:uFillTx/>
                <a:latin typeface="Arial"/>
                <a:cs typeface="+mn-ea"/>
                <a:sym typeface="+mn-lt"/>
              </a:endParaRPr>
            </a:p>
          </p:txBody>
        </p:sp>
      </p:grpSp>
      <p:grpSp>
        <p:nvGrpSpPr>
          <p:cNvPr id="24" name="Группа 152">
            <a:extLst>
              <a:ext uri="{FF2B5EF4-FFF2-40B4-BE49-F238E27FC236}">
                <a16:creationId xmlns:a16="http://schemas.microsoft.com/office/drawing/2014/main" id="{14734F12-BE66-49D1-80A0-E73D5A3A208A}"/>
              </a:ext>
            </a:extLst>
          </p:cNvPr>
          <p:cNvGrpSpPr/>
          <p:nvPr/>
        </p:nvGrpSpPr>
        <p:grpSpPr>
          <a:xfrm>
            <a:off x="3481942" y="3064855"/>
            <a:ext cx="4608345" cy="1962875"/>
            <a:chOff x="8250362" y="6294809"/>
            <a:chExt cx="9216689" cy="3925749"/>
          </a:xfrm>
        </p:grpSpPr>
        <p:sp>
          <p:nvSpPr>
            <p:cNvPr id="37" name="Shape 51">
              <a:extLst>
                <a:ext uri="{FF2B5EF4-FFF2-40B4-BE49-F238E27FC236}">
                  <a16:creationId xmlns:a16="http://schemas.microsoft.com/office/drawing/2014/main" id="{B22F501A-AA14-4289-9606-E0ABD5255A2A}"/>
                </a:ext>
              </a:extLst>
            </p:cNvPr>
            <p:cNvSpPr>
              <a:spLocks noChangeShapeType="1"/>
            </p:cNvSpPr>
            <p:nvPr/>
          </p:nvSpPr>
          <p:spPr bwMode="auto">
            <a:xfrm flipV="1">
              <a:off x="11581710" y="6294809"/>
              <a:ext cx="2864204" cy="3172711"/>
            </a:xfrm>
            <a:prstGeom prst="line">
              <a:avLst/>
            </a:prstGeom>
            <a:noFill/>
            <a:ln w="63500">
              <a:solidFill>
                <a:schemeClr val="accent1">
                  <a:lumMod val="100000"/>
                </a:schemeClr>
              </a:solidFill>
              <a:miter lim="400000"/>
              <a:headEnd/>
              <a:tailEnd/>
            </a:ln>
            <a:extLst>
              <a:ext uri="{909E8E84-426E-40DD-AFC4-6F175D3DCCD1}">
                <a14:hiddenFill xmlns:a14="http://schemas.microsoft.com/office/drawing/2010/main">
                  <a:noFill/>
                </a14:hiddenFill>
              </a:ext>
            </a:extLst>
          </p:spPr>
          <p:txBody>
            <a:bodyPr lIns="25400" tIns="25400" rIns="25400" bIns="254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500" b="0" i="0" u="none" strike="noStrike" kern="1200" cap="none" spc="0" normalizeH="0" baseline="0" noProof="0">
                <a:ln>
                  <a:noFill/>
                </a:ln>
                <a:solidFill>
                  <a:srgbClr val="000000"/>
                </a:solidFill>
                <a:effectLst/>
                <a:uLnTx/>
                <a:uFillTx/>
                <a:latin typeface="Arial"/>
                <a:cs typeface="+mn-ea"/>
                <a:sym typeface="+mn-lt"/>
              </a:endParaRPr>
            </a:p>
          </p:txBody>
        </p:sp>
        <p:sp>
          <p:nvSpPr>
            <p:cNvPr id="38" name="Shape 62">
              <a:extLst>
                <a:ext uri="{FF2B5EF4-FFF2-40B4-BE49-F238E27FC236}">
                  <a16:creationId xmlns:a16="http://schemas.microsoft.com/office/drawing/2014/main" id="{EA9CED8A-E1F3-48E9-9C43-22C1B8E2651E}"/>
                </a:ext>
              </a:extLst>
            </p:cNvPr>
            <p:cNvSpPr>
              <a:spLocks noChangeArrowheads="1"/>
            </p:cNvSpPr>
            <p:nvPr/>
          </p:nvSpPr>
          <p:spPr bwMode="auto">
            <a:xfrm>
              <a:off x="13818561" y="7169217"/>
              <a:ext cx="3648490" cy="4103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altLang="ru-RU" sz="1000" b="0" i="0" u="none" strike="noStrike" kern="1200" cap="none" spc="0" normalizeH="0" baseline="0" noProof="0">
                  <a:ln>
                    <a:noFill/>
                  </a:ln>
                  <a:solidFill>
                    <a:schemeClr val="accent1"/>
                  </a:solidFill>
                  <a:effectLst/>
                  <a:uLnTx/>
                  <a:uFillTx/>
                  <a:latin typeface="Arial"/>
                  <a:cs typeface="+mn-ea"/>
                  <a:sym typeface="+mn-lt"/>
                </a:rPr>
                <a:t>Fish bone text block </a:t>
              </a:r>
            </a:p>
          </p:txBody>
        </p:sp>
        <p:sp>
          <p:nvSpPr>
            <p:cNvPr id="39" name="Shape 63">
              <a:extLst>
                <a:ext uri="{FF2B5EF4-FFF2-40B4-BE49-F238E27FC236}">
                  <a16:creationId xmlns:a16="http://schemas.microsoft.com/office/drawing/2014/main" id="{99C4A45A-C038-4B5E-A9C0-0ACF5EDC749E}"/>
                </a:ext>
              </a:extLst>
            </p:cNvPr>
            <p:cNvSpPr>
              <a:spLocks noChangeArrowheads="1"/>
            </p:cNvSpPr>
            <p:nvPr/>
          </p:nvSpPr>
          <p:spPr bwMode="auto">
            <a:xfrm>
              <a:off x="12902145" y="8198871"/>
              <a:ext cx="3648490" cy="4103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altLang="ru-RU" sz="1000" b="0" i="0" u="none" strike="noStrike" kern="1200" cap="none" spc="0" normalizeH="0" baseline="0" noProof="0">
                  <a:ln>
                    <a:noFill/>
                  </a:ln>
                  <a:solidFill>
                    <a:schemeClr val="accent1"/>
                  </a:solidFill>
                  <a:effectLst/>
                  <a:uLnTx/>
                  <a:uFillTx/>
                  <a:latin typeface="Arial"/>
                  <a:cs typeface="+mn-ea"/>
                  <a:sym typeface="+mn-lt"/>
                </a:rPr>
                <a:t>Fish bone text block </a:t>
              </a:r>
            </a:p>
          </p:txBody>
        </p:sp>
        <p:sp>
          <p:nvSpPr>
            <p:cNvPr id="40" name="Shape 74">
              <a:extLst>
                <a:ext uri="{FF2B5EF4-FFF2-40B4-BE49-F238E27FC236}">
                  <a16:creationId xmlns:a16="http://schemas.microsoft.com/office/drawing/2014/main" id="{A686B115-1091-4418-A979-CD1845147345}"/>
                </a:ext>
              </a:extLst>
            </p:cNvPr>
            <p:cNvSpPr>
              <a:spLocks noChangeArrowheads="1"/>
            </p:cNvSpPr>
            <p:nvPr/>
          </p:nvSpPr>
          <p:spPr bwMode="auto">
            <a:xfrm>
              <a:off x="11008195" y="9356800"/>
              <a:ext cx="863608" cy="863758"/>
            </a:xfrm>
            <a:prstGeom prst="ellipse">
              <a:avLst/>
            </a:prstGeom>
            <a:solidFill>
              <a:schemeClr val="tx2"/>
            </a:solidFill>
            <a:ln w="63500">
              <a:solidFill>
                <a:schemeClr val="accent1">
                  <a:lumMod val="100000"/>
                </a:schemeClr>
              </a:solidFill>
              <a:miter lim="400000"/>
              <a:headEnd/>
              <a:tailEnd/>
            </a:ln>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FFFFFF"/>
                </a:solidFill>
                <a:effectLst/>
                <a:uLnTx/>
                <a:uFillTx/>
                <a:latin typeface="Arial"/>
                <a:cs typeface="+mn-ea"/>
                <a:sym typeface="+mn-lt"/>
              </a:endParaRPr>
            </a:p>
          </p:txBody>
        </p:sp>
        <p:sp>
          <p:nvSpPr>
            <p:cNvPr id="41" name="Shape 75">
              <a:extLst>
                <a:ext uri="{FF2B5EF4-FFF2-40B4-BE49-F238E27FC236}">
                  <a16:creationId xmlns:a16="http://schemas.microsoft.com/office/drawing/2014/main" id="{5F749C67-8C82-48D2-902A-12B620FC5306}"/>
                </a:ext>
              </a:extLst>
            </p:cNvPr>
            <p:cNvSpPr>
              <a:spLocks noChangeArrowheads="1"/>
            </p:cNvSpPr>
            <p:nvPr/>
          </p:nvSpPr>
          <p:spPr bwMode="auto">
            <a:xfrm>
              <a:off x="11077700" y="9532402"/>
              <a:ext cx="725488" cy="487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lgn="ctr">
                <a:defRPr sz="2500" cap="all">
                  <a:solidFill>
                    <a:srgbClr val="FFFFFF"/>
                  </a:solidFill>
                  <a:latin typeface="Open Sans Semibold"/>
                  <a:ea typeface="Open Sans Semibold"/>
                  <a:cs typeface="Open Sans Semibold"/>
                  <a:sym typeface="Open Sans Semibold"/>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sz="1250" b="1" i="0" u="none" strike="noStrike" kern="0" cap="all" spc="0" normalizeH="0" baseline="0" noProof="0">
                  <a:ln>
                    <a:noFill/>
                  </a:ln>
                  <a:solidFill>
                    <a:srgbClr val="F0F0F0"/>
                  </a:solidFill>
                  <a:effectLst/>
                  <a:uLnTx/>
                  <a:uFillTx/>
                  <a:latin typeface="Arial"/>
                  <a:ea typeface="+mn-ea"/>
                  <a:cs typeface="+mn-ea"/>
                  <a:sym typeface="+mn-lt"/>
                </a:rPr>
                <a:t>4</a:t>
              </a:r>
            </a:p>
          </p:txBody>
        </p:sp>
        <p:sp>
          <p:nvSpPr>
            <p:cNvPr id="42" name="Shape 76">
              <a:extLst>
                <a:ext uri="{FF2B5EF4-FFF2-40B4-BE49-F238E27FC236}">
                  <a16:creationId xmlns:a16="http://schemas.microsoft.com/office/drawing/2014/main" id="{86D7C5C2-7C72-4E86-A6B0-37180343B24B}"/>
                </a:ext>
              </a:extLst>
            </p:cNvPr>
            <p:cNvSpPr>
              <a:spLocks noChangeArrowheads="1"/>
            </p:cNvSpPr>
            <p:nvPr/>
          </p:nvSpPr>
          <p:spPr bwMode="auto">
            <a:xfrm>
              <a:off x="8250362" y="9559390"/>
              <a:ext cx="2535238" cy="487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lgn="r">
                <a:defRPr sz="2500" b="1" cap="all">
                  <a:solidFill>
                    <a:srgbClr val="344245"/>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sz="1250" b="1" i="0" u="none" strike="noStrike" kern="0" cap="all" spc="0" normalizeH="0" baseline="0" noProof="0">
                  <a:ln>
                    <a:noFill/>
                  </a:ln>
                  <a:solidFill>
                    <a:schemeClr val="accent1"/>
                  </a:solidFill>
                  <a:effectLst/>
                  <a:uLnTx/>
                  <a:uFillTx/>
                  <a:latin typeface="Arial"/>
                  <a:cs typeface="+mn-ea"/>
                  <a:sym typeface="+mn-lt"/>
                </a:rPr>
                <a:t>Text inform</a:t>
              </a:r>
            </a:p>
          </p:txBody>
        </p:sp>
        <p:sp>
          <p:nvSpPr>
            <p:cNvPr id="43" name="Shape 110">
              <a:extLst>
                <a:ext uri="{FF2B5EF4-FFF2-40B4-BE49-F238E27FC236}">
                  <a16:creationId xmlns:a16="http://schemas.microsoft.com/office/drawing/2014/main" id="{375541AE-D980-42B5-82CE-D8A618BEDCC8}"/>
                </a:ext>
              </a:extLst>
            </p:cNvPr>
            <p:cNvSpPr>
              <a:spLocks noChangeArrowheads="1"/>
            </p:cNvSpPr>
            <p:nvPr/>
          </p:nvSpPr>
          <p:spPr bwMode="auto">
            <a:xfrm>
              <a:off x="12375555" y="8206578"/>
              <a:ext cx="380651" cy="380716"/>
            </a:xfrm>
            <a:prstGeom prst="ellipse">
              <a:avLst/>
            </a:prstGeom>
            <a:solidFill>
              <a:schemeClr val="accent1">
                <a:lumMod val="100000"/>
              </a:schemeClr>
            </a:solidFill>
            <a:ln>
              <a:noFill/>
            </a:ln>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FFFFFF"/>
                </a:solidFill>
                <a:effectLst/>
                <a:uLnTx/>
                <a:uFillTx/>
                <a:latin typeface="Arial"/>
                <a:cs typeface="+mn-ea"/>
                <a:sym typeface="+mn-lt"/>
              </a:endParaRPr>
            </a:p>
          </p:txBody>
        </p:sp>
        <p:sp>
          <p:nvSpPr>
            <p:cNvPr id="44" name="Shape 113">
              <a:extLst>
                <a:ext uri="{FF2B5EF4-FFF2-40B4-BE49-F238E27FC236}">
                  <a16:creationId xmlns:a16="http://schemas.microsoft.com/office/drawing/2014/main" id="{C0DDF886-CF5B-4ABB-8CA7-B139E45DE2F1}"/>
                </a:ext>
              </a:extLst>
            </p:cNvPr>
            <p:cNvSpPr>
              <a:spLocks noChangeArrowheads="1"/>
            </p:cNvSpPr>
            <p:nvPr/>
          </p:nvSpPr>
          <p:spPr bwMode="auto">
            <a:xfrm>
              <a:off x="13258718" y="7181670"/>
              <a:ext cx="380650" cy="380716"/>
            </a:xfrm>
            <a:prstGeom prst="ellipse">
              <a:avLst/>
            </a:prstGeom>
            <a:solidFill>
              <a:schemeClr val="accent1">
                <a:lumMod val="100000"/>
              </a:schemeClr>
            </a:solidFill>
            <a:ln>
              <a:noFill/>
            </a:ln>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FFFFFF"/>
                </a:solidFill>
                <a:effectLst/>
                <a:uLnTx/>
                <a:uFillTx/>
                <a:latin typeface="Arial"/>
                <a:cs typeface="+mn-ea"/>
                <a:sym typeface="+mn-lt"/>
              </a:endParaRPr>
            </a:p>
          </p:txBody>
        </p:sp>
      </p:grpSp>
      <p:grpSp>
        <p:nvGrpSpPr>
          <p:cNvPr id="25" name="Группа 153">
            <a:extLst>
              <a:ext uri="{FF2B5EF4-FFF2-40B4-BE49-F238E27FC236}">
                <a16:creationId xmlns:a16="http://schemas.microsoft.com/office/drawing/2014/main" id="{F69C155E-97A2-4958-A41D-DC918813A964}"/>
              </a:ext>
            </a:extLst>
          </p:cNvPr>
          <p:cNvGrpSpPr/>
          <p:nvPr/>
        </p:nvGrpSpPr>
        <p:grpSpPr>
          <a:xfrm>
            <a:off x="5666373" y="3064855"/>
            <a:ext cx="4608345" cy="1962875"/>
            <a:chOff x="8250362" y="6294809"/>
            <a:chExt cx="9216689" cy="3925749"/>
          </a:xfrm>
        </p:grpSpPr>
        <p:sp>
          <p:nvSpPr>
            <p:cNvPr id="29" name="Shape 51">
              <a:extLst>
                <a:ext uri="{FF2B5EF4-FFF2-40B4-BE49-F238E27FC236}">
                  <a16:creationId xmlns:a16="http://schemas.microsoft.com/office/drawing/2014/main" id="{EE8C9108-EC93-4B68-8835-389BEC5C3426}"/>
                </a:ext>
              </a:extLst>
            </p:cNvPr>
            <p:cNvSpPr>
              <a:spLocks noChangeShapeType="1"/>
            </p:cNvSpPr>
            <p:nvPr/>
          </p:nvSpPr>
          <p:spPr bwMode="auto">
            <a:xfrm flipV="1">
              <a:off x="11581710" y="6294809"/>
              <a:ext cx="2864204" cy="3172711"/>
            </a:xfrm>
            <a:prstGeom prst="line">
              <a:avLst/>
            </a:prstGeom>
            <a:noFill/>
            <a:ln w="63500">
              <a:solidFill>
                <a:schemeClr val="accent1">
                  <a:lumMod val="100000"/>
                </a:schemeClr>
              </a:solidFill>
              <a:miter lim="400000"/>
              <a:headEnd/>
              <a:tailEnd/>
            </a:ln>
            <a:extLst>
              <a:ext uri="{909E8E84-426E-40DD-AFC4-6F175D3DCCD1}">
                <a14:hiddenFill xmlns:a14="http://schemas.microsoft.com/office/drawing/2010/main">
                  <a:noFill/>
                </a14:hiddenFill>
              </a:ext>
            </a:extLst>
          </p:spPr>
          <p:txBody>
            <a:bodyPr lIns="25400" tIns="25400" rIns="25400" bIns="254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500" b="0" i="0" u="none" strike="noStrike" kern="1200" cap="none" spc="0" normalizeH="0" baseline="0" noProof="0">
                <a:ln>
                  <a:noFill/>
                </a:ln>
                <a:solidFill>
                  <a:srgbClr val="000000"/>
                </a:solidFill>
                <a:effectLst/>
                <a:uLnTx/>
                <a:uFillTx/>
                <a:latin typeface="Arial"/>
                <a:cs typeface="+mn-ea"/>
                <a:sym typeface="+mn-lt"/>
              </a:endParaRPr>
            </a:p>
          </p:txBody>
        </p:sp>
        <p:sp>
          <p:nvSpPr>
            <p:cNvPr id="30" name="Shape 62">
              <a:extLst>
                <a:ext uri="{FF2B5EF4-FFF2-40B4-BE49-F238E27FC236}">
                  <a16:creationId xmlns:a16="http://schemas.microsoft.com/office/drawing/2014/main" id="{C49E5CA7-D3AC-4B0A-954D-C8EF5D544E43}"/>
                </a:ext>
              </a:extLst>
            </p:cNvPr>
            <p:cNvSpPr>
              <a:spLocks noChangeArrowheads="1"/>
            </p:cNvSpPr>
            <p:nvPr/>
          </p:nvSpPr>
          <p:spPr bwMode="auto">
            <a:xfrm>
              <a:off x="13818561" y="7169217"/>
              <a:ext cx="3648490" cy="4103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altLang="ru-RU" sz="1000" b="0" i="0" u="none" strike="noStrike" kern="1200" cap="none" spc="0" normalizeH="0" baseline="0" noProof="0">
                  <a:ln>
                    <a:noFill/>
                  </a:ln>
                  <a:solidFill>
                    <a:schemeClr val="accent1"/>
                  </a:solidFill>
                  <a:effectLst/>
                  <a:uLnTx/>
                  <a:uFillTx/>
                  <a:latin typeface="Arial"/>
                  <a:cs typeface="+mn-ea"/>
                  <a:sym typeface="+mn-lt"/>
                </a:rPr>
                <a:t>Fish bone text block </a:t>
              </a:r>
            </a:p>
          </p:txBody>
        </p:sp>
        <p:sp>
          <p:nvSpPr>
            <p:cNvPr id="31" name="Shape 63">
              <a:extLst>
                <a:ext uri="{FF2B5EF4-FFF2-40B4-BE49-F238E27FC236}">
                  <a16:creationId xmlns:a16="http://schemas.microsoft.com/office/drawing/2014/main" id="{5F3A8BA4-9D9D-43F9-AED8-0A7C2D1E9C7D}"/>
                </a:ext>
              </a:extLst>
            </p:cNvPr>
            <p:cNvSpPr>
              <a:spLocks noChangeArrowheads="1"/>
            </p:cNvSpPr>
            <p:nvPr/>
          </p:nvSpPr>
          <p:spPr bwMode="auto">
            <a:xfrm>
              <a:off x="12902145" y="8198871"/>
              <a:ext cx="3648490" cy="4103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altLang="ru-RU" sz="1000" b="0" i="0" u="none" strike="noStrike" kern="1200" cap="none" spc="0" normalizeH="0" baseline="0" noProof="0">
                  <a:ln>
                    <a:noFill/>
                  </a:ln>
                  <a:solidFill>
                    <a:schemeClr val="accent1"/>
                  </a:solidFill>
                  <a:effectLst/>
                  <a:uLnTx/>
                  <a:uFillTx/>
                  <a:latin typeface="Arial"/>
                  <a:cs typeface="+mn-ea"/>
                  <a:sym typeface="+mn-lt"/>
                </a:rPr>
                <a:t>Fish bone text block </a:t>
              </a:r>
            </a:p>
          </p:txBody>
        </p:sp>
        <p:sp>
          <p:nvSpPr>
            <p:cNvPr id="32" name="Shape 74">
              <a:extLst>
                <a:ext uri="{FF2B5EF4-FFF2-40B4-BE49-F238E27FC236}">
                  <a16:creationId xmlns:a16="http://schemas.microsoft.com/office/drawing/2014/main" id="{5001E5D5-17AE-4FEF-B122-F2BB3C2CED88}"/>
                </a:ext>
              </a:extLst>
            </p:cNvPr>
            <p:cNvSpPr>
              <a:spLocks noChangeArrowheads="1"/>
            </p:cNvSpPr>
            <p:nvPr/>
          </p:nvSpPr>
          <p:spPr bwMode="auto">
            <a:xfrm>
              <a:off x="11008195" y="9356800"/>
              <a:ext cx="863608" cy="863758"/>
            </a:xfrm>
            <a:prstGeom prst="ellipse">
              <a:avLst/>
            </a:prstGeom>
            <a:solidFill>
              <a:schemeClr val="tx2"/>
            </a:solidFill>
            <a:ln w="63500">
              <a:solidFill>
                <a:schemeClr val="accent1">
                  <a:lumMod val="100000"/>
                </a:schemeClr>
              </a:solidFill>
              <a:miter lim="400000"/>
              <a:headEnd/>
              <a:tailEnd/>
            </a:ln>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dirty="0">
                <a:ln>
                  <a:noFill/>
                </a:ln>
                <a:solidFill>
                  <a:srgbClr val="FFFFFF"/>
                </a:solidFill>
                <a:effectLst/>
                <a:uLnTx/>
                <a:uFillTx/>
                <a:latin typeface="Arial"/>
                <a:cs typeface="+mn-ea"/>
                <a:sym typeface="+mn-lt"/>
              </a:endParaRPr>
            </a:p>
          </p:txBody>
        </p:sp>
        <p:sp>
          <p:nvSpPr>
            <p:cNvPr id="33" name="Shape 75">
              <a:extLst>
                <a:ext uri="{FF2B5EF4-FFF2-40B4-BE49-F238E27FC236}">
                  <a16:creationId xmlns:a16="http://schemas.microsoft.com/office/drawing/2014/main" id="{5D42A183-0F99-407F-B990-C37951ADF327}"/>
                </a:ext>
              </a:extLst>
            </p:cNvPr>
            <p:cNvSpPr>
              <a:spLocks noChangeArrowheads="1"/>
            </p:cNvSpPr>
            <p:nvPr/>
          </p:nvSpPr>
          <p:spPr bwMode="auto">
            <a:xfrm>
              <a:off x="11077700" y="9532402"/>
              <a:ext cx="725488" cy="487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lgn="ctr">
                <a:defRPr sz="2500" cap="all">
                  <a:solidFill>
                    <a:srgbClr val="FFFFFF"/>
                  </a:solidFill>
                  <a:latin typeface="Open Sans Semibold"/>
                  <a:ea typeface="Open Sans Semibold"/>
                  <a:cs typeface="Open Sans Semibold"/>
                  <a:sym typeface="Open Sans Semibold"/>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250" b="1" i="0" u="none" strike="noStrike" kern="0" cap="all" spc="0" normalizeH="0" baseline="0" noProof="0" dirty="0">
                  <a:ln>
                    <a:noFill/>
                  </a:ln>
                  <a:solidFill>
                    <a:srgbClr val="F0F0F0"/>
                  </a:solidFill>
                  <a:effectLst/>
                  <a:uLnTx/>
                  <a:uFillTx/>
                  <a:latin typeface="Arial"/>
                  <a:ea typeface="+mn-ea"/>
                  <a:cs typeface="+mn-ea"/>
                  <a:sym typeface="+mn-lt"/>
                </a:rPr>
                <a:t>6</a:t>
              </a:r>
              <a:endParaRPr kumimoji="0" sz="1250" b="1" i="0" u="none" strike="noStrike" kern="0" cap="all" spc="0" normalizeH="0" baseline="0" noProof="0" dirty="0">
                <a:ln>
                  <a:noFill/>
                </a:ln>
                <a:solidFill>
                  <a:srgbClr val="F0F0F0"/>
                </a:solidFill>
                <a:effectLst/>
                <a:uLnTx/>
                <a:uFillTx/>
                <a:latin typeface="Arial"/>
                <a:ea typeface="+mn-ea"/>
                <a:cs typeface="+mn-ea"/>
                <a:sym typeface="+mn-lt"/>
              </a:endParaRPr>
            </a:p>
          </p:txBody>
        </p:sp>
        <p:sp>
          <p:nvSpPr>
            <p:cNvPr id="34" name="Shape 76">
              <a:extLst>
                <a:ext uri="{FF2B5EF4-FFF2-40B4-BE49-F238E27FC236}">
                  <a16:creationId xmlns:a16="http://schemas.microsoft.com/office/drawing/2014/main" id="{2A1BE116-CED1-46C4-B6E7-9360F7C3B154}"/>
                </a:ext>
              </a:extLst>
            </p:cNvPr>
            <p:cNvSpPr>
              <a:spLocks noChangeArrowheads="1"/>
            </p:cNvSpPr>
            <p:nvPr/>
          </p:nvSpPr>
          <p:spPr bwMode="auto">
            <a:xfrm>
              <a:off x="8250362" y="9559390"/>
              <a:ext cx="2535238" cy="487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lgn="r">
                <a:defRPr sz="2500" b="1" cap="all">
                  <a:solidFill>
                    <a:srgbClr val="344245"/>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sz="1250" b="1" i="0" u="none" strike="noStrike" kern="0" cap="all" spc="0" normalizeH="0" baseline="0" noProof="0">
                  <a:ln>
                    <a:noFill/>
                  </a:ln>
                  <a:solidFill>
                    <a:schemeClr val="accent1"/>
                  </a:solidFill>
                  <a:effectLst/>
                  <a:uLnTx/>
                  <a:uFillTx/>
                  <a:latin typeface="Arial"/>
                  <a:cs typeface="+mn-ea"/>
                  <a:sym typeface="+mn-lt"/>
                </a:rPr>
                <a:t>Text inform</a:t>
              </a:r>
            </a:p>
          </p:txBody>
        </p:sp>
        <p:sp>
          <p:nvSpPr>
            <p:cNvPr id="35" name="Shape 110">
              <a:extLst>
                <a:ext uri="{FF2B5EF4-FFF2-40B4-BE49-F238E27FC236}">
                  <a16:creationId xmlns:a16="http://schemas.microsoft.com/office/drawing/2014/main" id="{0076F2CC-61A5-4401-99D7-6F9A48D66B78}"/>
                </a:ext>
              </a:extLst>
            </p:cNvPr>
            <p:cNvSpPr>
              <a:spLocks noChangeArrowheads="1"/>
            </p:cNvSpPr>
            <p:nvPr/>
          </p:nvSpPr>
          <p:spPr bwMode="auto">
            <a:xfrm>
              <a:off x="12375555" y="8206578"/>
              <a:ext cx="380651" cy="380716"/>
            </a:xfrm>
            <a:prstGeom prst="ellipse">
              <a:avLst/>
            </a:prstGeom>
            <a:solidFill>
              <a:schemeClr val="accent1">
                <a:lumMod val="100000"/>
              </a:schemeClr>
            </a:solidFill>
            <a:ln>
              <a:noFill/>
            </a:ln>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FFFFFF"/>
                </a:solidFill>
                <a:effectLst/>
                <a:uLnTx/>
                <a:uFillTx/>
                <a:latin typeface="Arial"/>
                <a:cs typeface="+mn-ea"/>
                <a:sym typeface="+mn-lt"/>
              </a:endParaRPr>
            </a:p>
          </p:txBody>
        </p:sp>
        <p:sp>
          <p:nvSpPr>
            <p:cNvPr id="36" name="Shape 113">
              <a:extLst>
                <a:ext uri="{FF2B5EF4-FFF2-40B4-BE49-F238E27FC236}">
                  <a16:creationId xmlns:a16="http://schemas.microsoft.com/office/drawing/2014/main" id="{F2A95BF8-9B3F-44FF-BE0D-E7965E921375}"/>
                </a:ext>
              </a:extLst>
            </p:cNvPr>
            <p:cNvSpPr>
              <a:spLocks noChangeArrowheads="1"/>
            </p:cNvSpPr>
            <p:nvPr/>
          </p:nvSpPr>
          <p:spPr bwMode="auto">
            <a:xfrm>
              <a:off x="13258718" y="7181670"/>
              <a:ext cx="380650" cy="380716"/>
            </a:xfrm>
            <a:prstGeom prst="ellipse">
              <a:avLst/>
            </a:prstGeom>
            <a:solidFill>
              <a:schemeClr val="accent1">
                <a:lumMod val="100000"/>
              </a:schemeClr>
            </a:solidFill>
            <a:ln>
              <a:noFill/>
            </a:ln>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FFFFFF"/>
                </a:solidFill>
                <a:effectLst/>
                <a:uLnTx/>
                <a:uFillTx/>
                <a:latin typeface="Arial"/>
                <a:cs typeface="+mn-ea"/>
                <a:sym typeface="+mn-lt"/>
              </a:endParaRPr>
            </a:p>
          </p:txBody>
        </p:sp>
      </p:grpSp>
      <p:sp>
        <p:nvSpPr>
          <p:cNvPr id="26" name="Shape 53">
            <a:extLst>
              <a:ext uri="{FF2B5EF4-FFF2-40B4-BE49-F238E27FC236}">
                <a16:creationId xmlns:a16="http://schemas.microsoft.com/office/drawing/2014/main" id="{E6847913-34F1-4965-AE8D-B92A5C629ABA}"/>
              </a:ext>
            </a:extLst>
          </p:cNvPr>
          <p:cNvSpPr>
            <a:spLocks noChangeArrowheads="1"/>
          </p:cNvSpPr>
          <p:nvPr/>
        </p:nvSpPr>
        <p:spPr bwMode="auto">
          <a:xfrm>
            <a:off x="6514108" y="2958006"/>
            <a:ext cx="158575" cy="158602"/>
          </a:xfrm>
          <a:prstGeom prst="ellipse">
            <a:avLst/>
          </a:prstGeom>
          <a:solidFill>
            <a:srgbClr val="FFFFFF"/>
          </a:solidFill>
          <a:ln w="63500">
            <a:solidFill>
              <a:schemeClr val="accent1">
                <a:lumMod val="100000"/>
              </a:schemeClr>
            </a:solidFill>
            <a:miter lim="400000"/>
            <a:headEnd/>
            <a:tailEnd/>
          </a:ln>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FFFFFF"/>
              </a:solidFill>
              <a:effectLst/>
              <a:uLnTx/>
              <a:uFillTx/>
              <a:latin typeface="Arial"/>
              <a:cs typeface="+mn-ea"/>
              <a:sym typeface="+mn-lt"/>
            </a:endParaRPr>
          </a:p>
        </p:txBody>
      </p:sp>
      <p:sp>
        <p:nvSpPr>
          <p:cNvPr id="27" name="Shape 55">
            <a:extLst>
              <a:ext uri="{FF2B5EF4-FFF2-40B4-BE49-F238E27FC236}">
                <a16:creationId xmlns:a16="http://schemas.microsoft.com/office/drawing/2014/main" id="{9A2B5255-2931-4814-8528-3E5A7E88D934}"/>
              </a:ext>
            </a:extLst>
          </p:cNvPr>
          <p:cNvSpPr>
            <a:spLocks noChangeArrowheads="1"/>
          </p:cNvSpPr>
          <p:nvPr/>
        </p:nvSpPr>
        <p:spPr bwMode="auto">
          <a:xfrm>
            <a:off x="8679120" y="2958006"/>
            <a:ext cx="158575" cy="158602"/>
          </a:xfrm>
          <a:prstGeom prst="ellipse">
            <a:avLst/>
          </a:prstGeom>
          <a:solidFill>
            <a:srgbClr val="FFFFFF"/>
          </a:solidFill>
          <a:ln w="63500">
            <a:solidFill>
              <a:schemeClr val="accent1">
                <a:lumMod val="100000"/>
              </a:schemeClr>
            </a:solidFill>
            <a:miter lim="400000"/>
            <a:headEnd/>
            <a:tailEnd/>
          </a:ln>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FFFFFF"/>
              </a:solidFill>
              <a:effectLst/>
              <a:uLnTx/>
              <a:uFillTx/>
              <a:latin typeface="Arial"/>
              <a:cs typeface="+mn-ea"/>
              <a:sym typeface="+mn-lt"/>
            </a:endParaRPr>
          </a:p>
        </p:txBody>
      </p:sp>
      <p:sp>
        <p:nvSpPr>
          <p:cNvPr id="28" name="Shape 66">
            <a:extLst>
              <a:ext uri="{FF2B5EF4-FFF2-40B4-BE49-F238E27FC236}">
                <a16:creationId xmlns:a16="http://schemas.microsoft.com/office/drawing/2014/main" id="{30E386C7-1366-48D6-B826-0253B5655D65}"/>
              </a:ext>
            </a:extLst>
          </p:cNvPr>
          <p:cNvSpPr>
            <a:spLocks noChangeArrowheads="1"/>
          </p:cNvSpPr>
          <p:nvPr/>
        </p:nvSpPr>
        <p:spPr bwMode="auto">
          <a:xfrm>
            <a:off x="4261025" y="2958006"/>
            <a:ext cx="158575" cy="158602"/>
          </a:xfrm>
          <a:prstGeom prst="ellipse">
            <a:avLst/>
          </a:prstGeom>
          <a:solidFill>
            <a:srgbClr val="FFFFFF"/>
          </a:solidFill>
          <a:ln w="63500">
            <a:solidFill>
              <a:schemeClr val="accent1">
                <a:lumMod val="100000"/>
              </a:schemeClr>
            </a:solidFill>
            <a:miter lim="400000"/>
            <a:headEnd/>
            <a:tailEnd/>
          </a:ln>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FFFFFF"/>
              </a:solidFill>
              <a:effectLst/>
              <a:uLnTx/>
              <a:uFillTx/>
              <a:latin typeface="Arial"/>
              <a:cs typeface="+mn-ea"/>
              <a:sym typeface="+mn-lt"/>
            </a:endParaRPr>
          </a:p>
        </p:txBody>
      </p:sp>
      <p:sp>
        <p:nvSpPr>
          <p:cNvPr id="5" name="Треугольник 211">
            <a:extLst>
              <a:ext uri="{FF2B5EF4-FFF2-40B4-BE49-F238E27FC236}">
                <a16:creationId xmlns:a16="http://schemas.microsoft.com/office/drawing/2014/main" id="{82C551F3-FF9A-4304-8F8F-D34622728A39}"/>
              </a:ext>
            </a:extLst>
          </p:cNvPr>
          <p:cNvSpPr/>
          <p:nvPr/>
        </p:nvSpPr>
        <p:spPr bwMode="auto">
          <a:xfrm rot="5400000">
            <a:off x="9317113" y="2724240"/>
            <a:ext cx="307233" cy="626671"/>
          </a:xfrm>
          <a:prstGeom prst="triangle">
            <a:avLst/>
          </a:prstGeom>
          <a:solidFill>
            <a:schemeClr val="accent1">
              <a:lumMod val="100000"/>
            </a:schemeClr>
          </a:solidFill>
          <a:ln w="12700" cap="flat" cmpd="sng" algn="ctr">
            <a:noFill/>
            <a:prstDash val="solid"/>
            <a:miter lim="400000"/>
            <a:headEnd type="none" w="med" len="med"/>
            <a:tailEnd type="none" w="med" len="med"/>
          </a:ln>
          <a:effectLst/>
        </p:spPr>
        <p:txBody>
          <a:bodyPr vert="horz" wrap="square" lIns="19050" tIns="19050" rIns="19050" bIns="19050" numCol="1" rtlCol="0" anchor="ctr"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Arial"/>
              <a:cs typeface="+mn-ea"/>
              <a:sym typeface="+mn-lt"/>
            </a:endParaRPr>
          </a:p>
        </p:txBody>
      </p:sp>
    </p:spTree>
    <p:extLst>
      <p:ext uri="{BB962C8B-B14F-4D97-AF65-F5344CB8AC3E}">
        <p14:creationId xmlns:p14="http://schemas.microsoft.com/office/powerpoint/2010/main" val="2392805602"/>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7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7" name="Фигура">
            <a:extLst>
              <a:ext uri="{FF2B5EF4-FFF2-40B4-BE49-F238E27FC236}">
                <a16:creationId xmlns:a16="http://schemas.microsoft.com/office/drawing/2014/main" id="{06D6F0B5-49B0-4BA2-B37D-0054AC364226}"/>
              </a:ext>
            </a:extLst>
          </p:cNvPr>
          <p:cNvSpPr/>
          <p:nvPr/>
        </p:nvSpPr>
        <p:spPr>
          <a:xfrm rot="159853" flipH="1">
            <a:off x="666718" y="3883363"/>
            <a:ext cx="2159612" cy="2419801"/>
          </a:xfrm>
          <a:custGeom>
            <a:avLst/>
            <a:gdLst/>
            <a:ahLst/>
            <a:cxnLst>
              <a:cxn ang="0">
                <a:pos x="wd2" y="hd2"/>
              </a:cxn>
              <a:cxn ang="5400000">
                <a:pos x="wd2" y="hd2"/>
              </a:cxn>
              <a:cxn ang="10800000">
                <a:pos x="wd2" y="hd2"/>
              </a:cxn>
              <a:cxn ang="16200000">
                <a:pos x="wd2" y="hd2"/>
              </a:cxn>
            </a:cxnLst>
            <a:rect l="0" t="0" r="r" b="b"/>
            <a:pathLst>
              <a:path w="21111" h="21600" extrusionOk="0">
                <a:moveTo>
                  <a:pt x="21111" y="7075"/>
                </a:moveTo>
                <a:cubicBezTo>
                  <a:pt x="18769" y="5156"/>
                  <a:pt x="15859" y="3543"/>
                  <a:pt x="12543" y="2324"/>
                </a:cubicBezTo>
                <a:cubicBezTo>
                  <a:pt x="9336" y="1145"/>
                  <a:pt x="5806" y="357"/>
                  <a:pt x="2138" y="0"/>
                </a:cubicBezTo>
                <a:cubicBezTo>
                  <a:pt x="1077" y="2134"/>
                  <a:pt x="406" y="4337"/>
                  <a:pt x="136" y="6566"/>
                </a:cubicBezTo>
                <a:cubicBezTo>
                  <a:pt x="-489" y="11737"/>
                  <a:pt x="1043" y="16920"/>
                  <a:pt x="4579" y="21600"/>
                </a:cubicBezTo>
                <a:cubicBezTo>
                  <a:pt x="5605" y="19600"/>
                  <a:pt x="6432" y="17562"/>
                  <a:pt x="7056" y="15497"/>
                </a:cubicBezTo>
                <a:cubicBezTo>
                  <a:pt x="7696" y="13378"/>
                  <a:pt x="8120" y="11236"/>
                  <a:pt x="8326" y="9084"/>
                </a:cubicBezTo>
                <a:cubicBezTo>
                  <a:pt x="10368" y="8457"/>
                  <a:pt x="12511" y="7970"/>
                  <a:pt x="14718" y="7631"/>
                </a:cubicBezTo>
                <a:cubicBezTo>
                  <a:pt x="16814" y="7309"/>
                  <a:pt x="18956" y="7123"/>
                  <a:pt x="21111" y="7075"/>
                </a:cubicBezTo>
                <a:close/>
              </a:path>
            </a:pathLst>
          </a:custGeom>
          <a:solidFill>
            <a:schemeClr val="accent1">
              <a:lumMod val="40000"/>
              <a:lumOff val="60000"/>
            </a:schemeClr>
          </a:solidFill>
          <a:ln w="25400">
            <a:noFill/>
            <a:miter lim="400000"/>
          </a:ln>
        </p:spPr>
        <p:txBody>
          <a:bodyPr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1600" b="0" i="0" u="none" strike="noStrike" kern="1200" cap="none" spc="0" normalizeH="0" baseline="0" noProof="0">
              <a:ln>
                <a:noFill/>
              </a:ln>
              <a:solidFill>
                <a:srgbClr val="FFFFFF"/>
              </a:solidFill>
              <a:effectLst/>
              <a:uLnTx/>
              <a:uFillTx/>
              <a:latin typeface="Arial"/>
              <a:cs typeface="+mn-ea"/>
              <a:sym typeface="+mn-lt"/>
            </a:endParaRPr>
          </a:p>
        </p:txBody>
      </p:sp>
      <p:sp>
        <p:nvSpPr>
          <p:cNvPr id="108" name="Фигура">
            <a:extLst>
              <a:ext uri="{FF2B5EF4-FFF2-40B4-BE49-F238E27FC236}">
                <a16:creationId xmlns:a16="http://schemas.microsoft.com/office/drawing/2014/main" id="{039CE8C0-D6C0-41C7-B0CC-3625E3037AA2}"/>
              </a:ext>
            </a:extLst>
          </p:cNvPr>
          <p:cNvSpPr/>
          <p:nvPr/>
        </p:nvSpPr>
        <p:spPr>
          <a:xfrm rot="159853">
            <a:off x="2484058" y="554836"/>
            <a:ext cx="9041225" cy="4132919"/>
          </a:xfrm>
          <a:custGeom>
            <a:avLst/>
            <a:gdLst/>
            <a:ahLst/>
            <a:cxnLst>
              <a:cxn ang="0">
                <a:pos x="wd2" y="hd2"/>
              </a:cxn>
              <a:cxn ang="5400000">
                <a:pos x="wd2" y="hd2"/>
              </a:cxn>
              <a:cxn ang="10800000">
                <a:pos x="wd2" y="hd2"/>
              </a:cxn>
              <a:cxn ang="16200000">
                <a:pos x="wd2" y="hd2"/>
              </a:cxn>
            </a:cxnLst>
            <a:rect l="0" t="0" r="r" b="b"/>
            <a:pathLst>
              <a:path w="21600" h="21600" extrusionOk="0">
                <a:moveTo>
                  <a:pt x="21600" y="10593"/>
                </a:moveTo>
                <a:cubicBezTo>
                  <a:pt x="21181" y="8723"/>
                  <a:pt x="20319" y="7887"/>
                  <a:pt x="19520" y="7045"/>
                </a:cubicBezTo>
                <a:cubicBezTo>
                  <a:pt x="18515" y="5986"/>
                  <a:pt x="17405" y="5541"/>
                  <a:pt x="16301" y="5127"/>
                </a:cubicBezTo>
                <a:cubicBezTo>
                  <a:pt x="15429" y="4800"/>
                  <a:pt x="14556" y="4487"/>
                  <a:pt x="13678" y="4288"/>
                </a:cubicBezTo>
                <a:cubicBezTo>
                  <a:pt x="12723" y="4070"/>
                  <a:pt x="11761" y="3986"/>
                  <a:pt x="10798" y="4037"/>
                </a:cubicBezTo>
                <a:cubicBezTo>
                  <a:pt x="10522" y="3223"/>
                  <a:pt x="10200" y="2489"/>
                  <a:pt x="9838" y="1854"/>
                </a:cubicBezTo>
                <a:cubicBezTo>
                  <a:pt x="9393" y="1071"/>
                  <a:pt x="8895" y="445"/>
                  <a:pt x="8361" y="0"/>
                </a:cubicBezTo>
                <a:cubicBezTo>
                  <a:pt x="8241" y="1052"/>
                  <a:pt x="8038" y="2049"/>
                  <a:pt x="7761" y="2948"/>
                </a:cubicBezTo>
                <a:cubicBezTo>
                  <a:pt x="7439" y="3990"/>
                  <a:pt x="7024" y="4878"/>
                  <a:pt x="6541" y="5560"/>
                </a:cubicBezTo>
                <a:cubicBezTo>
                  <a:pt x="4954" y="6386"/>
                  <a:pt x="3509" y="8185"/>
                  <a:pt x="2373" y="10744"/>
                </a:cubicBezTo>
                <a:cubicBezTo>
                  <a:pt x="1061" y="13699"/>
                  <a:pt x="228" y="17512"/>
                  <a:pt x="0" y="21600"/>
                </a:cubicBezTo>
                <a:cubicBezTo>
                  <a:pt x="313" y="20492"/>
                  <a:pt x="745" y="19570"/>
                  <a:pt x="1258" y="18910"/>
                </a:cubicBezTo>
                <a:cubicBezTo>
                  <a:pt x="2722" y="17028"/>
                  <a:pt x="4485" y="17491"/>
                  <a:pt x="6143" y="18065"/>
                </a:cubicBezTo>
                <a:cubicBezTo>
                  <a:pt x="6404" y="18156"/>
                  <a:pt x="6665" y="18248"/>
                  <a:pt x="6926" y="18342"/>
                </a:cubicBezTo>
                <a:cubicBezTo>
                  <a:pt x="6910" y="18896"/>
                  <a:pt x="6838" y="19436"/>
                  <a:pt x="6716" y="19923"/>
                </a:cubicBezTo>
                <a:cubicBezTo>
                  <a:pt x="6577" y="20473"/>
                  <a:pt x="6379" y="20940"/>
                  <a:pt x="6138" y="21281"/>
                </a:cubicBezTo>
                <a:cubicBezTo>
                  <a:pt x="6768" y="21416"/>
                  <a:pt x="7403" y="21177"/>
                  <a:pt x="7976" y="20587"/>
                </a:cubicBezTo>
                <a:cubicBezTo>
                  <a:pt x="8400" y="20151"/>
                  <a:pt x="8780" y="19532"/>
                  <a:pt x="9093" y="18768"/>
                </a:cubicBezTo>
                <a:cubicBezTo>
                  <a:pt x="9606" y="18812"/>
                  <a:pt x="10119" y="18818"/>
                  <a:pt x="10632" y="18784"/>
                </a:cubicBezTo>
                <a:cubicBezTo>
                  <a:pt x="11201" y="18746"/>
                  <a:pt x="11770" y="18660"/>
                  <a:pt x="12336" y="18526"/>
                </a:cubicBezTo>
                <a:cubicBezTo>
                  <a:pt x="12311" y="18885"/>
                  <a:pt x="12263" y="19234"/>
                  <a:pt x="12194" y="19564"/>
                </a:cubicBezTo>
                <a:cubicBezTo>
                  <a:pt x="12121" y="19912"/>
                  <a:pt x="12025" y="20235"/>
                  <a:pt x="11910" y="20523"/>
                </a:cubicBezTo>
                <a:cubicBezTo>
                  <a:pt x="12492" y="20514"/>
                  <a:pt x="13064" y="20205"/>
                  <a:pt x="13581" y="19620"/>
                </a:cubicBezTo>
                <a:cubicBezTo>
                  <a:pt x="13960" y="19191"/>
                  <a:pt x="14302" y="18621"/>
                  <a:pt x="14592" y="17936"/>
                </a:cubicBezTo>
                <a:cubicBezTo>
                  <a:pt x="15618" y="17815"/>
                  <a:pt x="16630" y="17553"/>
                  <a:pt x="17624" y="17158"/>
                </a:cubicBezTo>
                <a:cubicBezTo>
                  <a:pt x="18646" y="16752"/>
                  <a:pt x="19681" y="16189"/>
                  <a:pt x="20553" y="14868"/>
                </a:cubicBezTo>
                <a:cubicBezTo>
                  <a:pt x="20927" y="14301"/>
                  <a:pt x="21257" y="13606"/>
                  <a:pt x="21531" y="12811"/>
                </a:cubicBezTo>
                <a:lnTo>
                  <a:pt x="19683" y="12929"/>
                </a:lnTo>
                <a:cubicBezTo>
                  <a:pt x="19975" y="12401"/>
                  <a:pt x="20289" y="11934"/>
                  <a:pt x="20620" y="11535"/>
                </a:cubicBezTo>
                <a:cubicBezTo>
                  <a:pt x="20933" y="11158"/>
                  <a:pt x="21261" y="10843"/>
                  <a:pt x="21600" y="10593"/>
                </a:cubicBezTo>
                <a:close/>
              </a:path>
            </a:pathLst>
          </a:custGeom>
          <a:solidFill>
            <a:schemeClr val="accent1">
              <a:lumMod val="20000"/>
              <a:lumOff val="80000"/>
            </a:schemeClr>
          </a:solidFill>
          <a:ln w="25400">
            <a:noFill/>
            <a:miter lim="400000"/>
          </a:ln>
        </p:spPr>
        <p:txBody>
          <a:bodyPr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1600" b="0" i="0" u="none" strike="noStrike" kern="1200" cap="none" spc="0" normalizeH="0" baseline="0" noProof="0" dirty="0">
              <a:ln>
                <a:noFill/>
              </a:ln>
              <a:solidFill>
                <a:srgbClr val="FFFFFF"/>
              </a:solidFill>
              <a:effectLst/>
              <a:uLnTx/>
              <a:uFillTx/>
              <a:latin typeface="Arial"/>
              <a:cs typeface="+mn-ea"/>
              <a:sym typeface="+mn-lt"/>
            </a:endParaRPr>
          </a:p>
        </p:txBody>
      </p:sp>
      <p:sp>
        <p:nvSpPr>
          <p:cNvPr id="109" name="Кружок">
            <a:extLst>
              <a:ext uri="{FF2B5EF4-FFF2-40B4-BE49-F238E27FC236}">
                <a16:creationId xmlns:a16="http://schemas.microsoft.com/office/drawing/2014/main" id="{62BB0E0C-33F3-4E6D-B20A-DFB9A9844566}"/>
              </a:ext>
            </a:extLst>
          </p:cNvPr>
          <p:cNvSpPr/>
          <p:nvPr/>
        </p:nvSpPr>
        <p:spPr>
          <a:xfrm rot="159853">
            <a:off x="10090535" y="2236665"/>
            <a:ext cx="453002" cy="453002"/>
          </a:xfrm>
          <a:prstGeom prst="ellipse">
            <a:avLst/>
          </a:prstGeom>
          <a:solidFill>
            <a:srgbClr val="FFFFFF"/>
          </a:solidFill>
          <a:ln w="25400">
            <a:noFill/>
            <a:miter lim="400000"/>
          </a:ln>
        </p:spPr>
        <p:txBody>
          <a:bodyPr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1600" b="0" i="0" u="none" strike="noStrike" kern="1200" cap="none" spc="0" normalizeH="0" baseline="0" noProof="0">
              <a:ln>
                <a:noFill/>
              </a:ln>
              <a:solidFill>
                <a:srgbClr val="FFFFFF"/>
              </a:solidFill>
              <a:effectLst/>
              <a:uLnTx/>
              <a:uFillTx/>
              <a:latin typeface="Arial"/>
              <a:cs typeface="+mn-ea"/>
              <a:sym typeface="+mn-lt"/>
            </a:endParaRPr>
          </a:p>
        </p:txBody>
      </p:sp>
      <p:sp>
        <p:nvSpPr>
          <p:cNvPr id="110" name="Кружок">
            <a:extLst>
              <a:ext uri="{FF2B5EF4-FFF2-40B4-BE49-F238E27FC236}">
                <a16:creationId xmlns:a16="http://schemas.microsoft.com/office/drawing/2014/main" id="{2F01B041-91FA-4097-8A95-8F42D75DAAEE}"/>
              </a:ext>
            </a:extLst>
          </p:cNvPr>
          <p:cNvSpPr/>
          <p:nvPr/>
        </p:nvSpPr>
        <p:spPr>
          <a:xfrm rot="159853">
            <a:off x="10305104" y="2356999"/>
            <a:ext cx="200459" cy="200459"/>
          </a:xfrm>
          <a:prstGeom prst="ellipse">
            <a:avLst/>
          </a:prstGeom>
          <a:solidFill>
            <a:schemeClr val="accent1">
              <a:lumMod val="40000"/>
              <a:lumOff val="60000"/>
            </a:schemeClr>
          </a:solidFill>
          <a:ln w="25400">
            <a:noFill/>
            <a:miter lim="400000"/>
          </a:ln>
        </p:spPr>
        <p:txBody>
          <a:bodyPr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1600" b="0" i="0" u="none" strike="noStrike" kern="1200" cap="none" spc="0" normalizeH="0" baseline="0" noProof="0">
              <a:ln>
                <a:noFill/>
              </a:ln>
              <a:solidFill>
                <a:srgbClr val="FFFFFF"/>
              </a:solidFill>
              <a:effectLst/>
              <a:uLnTx/>
              <a:uFillTx/>
              <a:latin typeface="Arial"/>
              <a:cs typeface="+mn-ea"/>
              <a:sym typeface="+mn-lt"/>
            </a:endParaRPr>
          </a:p>
        </p:txBody>
      </p:sp>
      <p:sp>
        <p:nvSpPr>
          <p:cNvPr id="56" name="Shape 118">
            <a:extLst>
              <a:ext uri="{FF2B5EF4-FFF2-40B4-BE49-F238E27FC236}">
                <a16:creationId xmlns:a16="http://schemas.microsoft.com/office/drawing/2014/main" id="{A1D26F98-8D2B-4A5D-8F5C-829757111D26}"/>
              </a:ext>
            </a:extLst>
          </p:cNvPr>
          <p:cNvSpPr>
            <a:spLocks noChangeShapeType="1"/>
          </p:cNvSpPr>
          <p:nvPr/>
        </p:nvSpPr>
        <p:spPr bwMode="auto">
          <a:xfrm>
            <a:off x="3563092" y="2955924"/>
            <a:ext cx="5516217" cy="1"/>
          </a:xfrm>
          <a:prstGeom prst="line">
            <a:avLst/>
          </a:prstGeom>
          <a:noFill/>
          <a:ln w="63500">
            <a:solidFill>
              <a:schemeClr val="tx1"/>
            </a:solidFill>
            <a:miter lim="400000"/>
            <a:headEnd/>
            <a:tailEnd/>
          </a:ln>
          <a:extLst>
            <a:ext uri="{909E8E84-426E-40DD-AFC4-6F175D3DCCD1}">
              <a14:hiddenFill xmlns:a14="http://schemas.microsoft.com/office/drawing/2010/main">
                <a:noFill/>
              </a14:hiddenFill>
            </a:ext>
          </a:extLst>
        </p:spPr>
        <p:txBody>
          <a:bodyPr lIns="25400" tIns="25400" rIns="25400" bIns="254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500" b="0" i="0" u="none" strike="noStrike" kern="1200" cap="none" spc="0" normalizeH="0" baseline="0" noProof="0">
              <a:ln>
                <a:noFill/>
              </a:ln>
              <a:solidFill>
                <a:srgbClr val="000000"/>
              </a:solidFill>
              <a:effectLst/>
              <a:uLnTx/>
              <a:uFillTx/>
              <a:latin typeface="Arial"/>
              <a:cs typeface="+mn-ea"/>
              <a:sym typeface="+mn-lt"/>
            </a:endParaRPr>
          </a:p>
        </p:txBody>
      </p:sp>
      <p:sp>
        <p:nvSpPr>
          <p:cNvPr id="57" name="Shape 119">
            <a:extLst>
              <a:ext uri="{FF2B5EF4-FFF2-40B4-BE49-F238E27FC236}">
                <a16:creationId xmlns:a16="http://schemas.microsoft.com/office/drawing/2014/main" id="{682F8464-FAE3-4E63-AF81-97E717504341}"/>
              </a:ext>
            </a:extLst>
          </p:cNvPr>
          <p:cNvSpPr>
            <a:spLocks noChangeShapeType="1"/>
          </p:cNvSpPr>
          <p:nvPr/>
        </p:nvSpPr>
        <p:spPr bwMode="auto">
          <a:xfrm flipH="1" flipV="1">
            <a:off x="4275377" y="1328095"/>
            <a:ext cx="1483996" cy="1622930"/>
          </a:xfrm>
          <a:prstGeom prst="line">
            <a:avLst/>
          </a:prstGeom>
          <a:noFill/>
          <a:ln w="63500">
            <a:solidFill>
              <a:schemeClr val="accent1">
                <a:lumMod val="100000"/>
              </a:schemeClr>
            </a:solidFill>
            <a:miter lim="400000"/>
            <a:headEnd/>
            <a:tailEnd/>
          </a:ln>
          <a:extLst>
            <a:ext uri="{909E8E84-426E-40DD-AFC4-6F175D3DCCD1}">
              <a14:hiddenFill xmlns:a14="http://schemas.microsoft.com/office/drawing/2010/main">
                <a:noFill/>
              </a14:hiddenFill>
            </a:ext>
          </a:extLst>
        </p:spPr>
        <p:txBody>
          <a:bodyPr lIns="25400" tIns="25400" rIns="25400" bIns="254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500" b="0" i="0" u="none" strike="noStrike" kern="1200" cap="none" spc="0" normalizeH="0" baseline="0" noProof="0">
              <a:ln>
                <a:noFill/>
              </a:ln>
              <a:solidFill>
                <a:srgbClr val="000000"/>
              </a:solidFill>
              <a:effectLst/>
              <a:uLnTx/>
              <a:uFillTx/>
              <a:latin typeface="Arial"/>
              <a:cs typeface="+mn-ea"/>
              <a:sym typeface="+mn-lt"/>
            </a:endParaRPr>
          </a:p>
        </p:txBody>
      </p:sp>
      <p:sp>
        <p:nvSpPr>
          <p:cNvPr id="58" name="Shape 120">
            <a:extLst>
              <a:ext uri="{FF2B5EF4-FFF2-40B4-BE49-F238E27FC236}">
                <a16:creationId xmlns:a16="http://schemas.microsoft.com/office/drawing/2014/main" id="{A39791DE-5C31-445B-9F34-A469AB18097C}"/>
              </a:ext>
            </a:extLst>
          </p:cNvPr>
          <p:cNvSpPr>
            <a:spLocks noChangeShapeType="1"/>
          </p:cNvSpPr>
          <p:nvPr/>
        </p:nvSpPr>
        <p:spPr bwMode="auto">
          <a:xfrm flipV="1">
            <a:off x="3216268" y="2988932"/>
            <a:ext cx="1431977" cy="1585828"/>
          </a:xfrm>
          <a:prstGeom prst="line">
            <a:avLst/>
          </a:prstGeom>
          <a:noFill/>
          <a:ln w="63500">
            <a:solidFill>
              <a:schemeClr val="accent1">
                <a:lumMod val="100000"/>
              </a:schemeClr>
            </a:solidFill>
            <a:miter lim="400000"/>
            <a:headEnd/>
            <a:tailEnd/>
          </a:ln>
          <a:extLst>
            <a:ext uri="{909E8E84-426E-40DD-AFC4-6F175D3DCCD1}">
              <a14:hiddenFill xmlns:a14="http://schemas.microsoft.com/office/drawing/2010/main">
                <a:noFill/>
              </a14:hiddenFill>
            </a:ext>
          </a:extLst>
        </p:spPr>
        <p:txBody>
          <a:bodyPr lIns="25400" tIns="25400" rIns="25400" bIns="254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500" b="0" i="0" u="none" strike="noStrike" kern="1200" cap="none" spc="0" normalizeH="0" baseline="0" noProof="0">
              <a:ln>
                <a:noFill/>
              </a:ln>
              <a:solidFill>
                <a:srgbClr val="000000"/>
              </a:solidFill>
              <a:effectLst/>
              <a:uLnTx/>
              <a:uFillTx/>
              <a:latin typeface="Arial"/>
              <a:cs typeface="+mn-ea"/>
              <a:sym typeface="+mn-lt"/>
            </a:endParaRPr>
          </a:p>
        </p:txBody>
      </p:sp>
      <p:sp>
        <p:nvSpPr>
          <p:cNvPr id="59" name="Shape 121">
            <a:extLst>
              <a:ext uri="{FF2B5EF4-FFF2-40B4-BE49-F238E27FC236}">
                <a16:creationId xmlns:a16="http://schemas.microsoft.com/office/drawing/2014/main" id="{EBE7A117-D09D-4A06-A49A-E33F9D05FBA6}"/>
              </a:ext>
            </a:extLst>
          </p:cNvPr>
          <p:cNvSpPr>
            <a:spLocks noChangeShapeType="1"/>
          </p:cNvSpPr>
          <p:nvPr/>
        </p:nvSpPr>
        <p:spPr bwMode="auto">
          <a:xfrm flipH="1" flipV="1">
            <a:off x="6442672" y="1328095"/>
            <a:ext cx="1483996" cy="1622930"/>
          </a:xfrm>
          <a:prstGeom prst="line">
            <a:avLst/>
          </a:prstGeom>
          <a:noFill/>
          <a:ln w="63500">
            <a:solidFill>
              <a:schemeClr val="accent1">
                <a:lumMod val="100000"/>
              </a:schemeClr>
            </a:solidFill>
            <a:miter lim="400000"/>
            <a:headEnd/>
            <a:tailEnd/>
          </a:ln>
          <a:extLst>
            <a:ext uri="{909E8E84-426E-40DD-AFC4-6F175D3DCCD1}">
              <a14:hiddenFill xmlns:a14="http://schemas.microsoft.com/office/drawing/2010/main">
                <a:noFill/>
              </a14:hiddenFill>
            </a:ext>
          </a:extLst>
        </p:spPr>
        <p:txBody>
          <a:bodyPr lIns="25400" tIns="25400" rIns="25400" bIns="254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500" b="0" i="0" u="none" strike="noStrike" kern="1200" cap="none" spc="0" normalizeH="0" baseline="0" noProof="0">
              <a:ln>
                <a:noFill/>
              </a:ln>
              <a:solidFill>
                <a:srgbClr val="000000"/>
              </a:solidFill>
              <a:effectLst/>
              <a:uLnTx/>
              <a:uFillTx/>
              <a:latin typeface="Arial"/>
              <a:cs typeface="+mn-ea"/>
              <a:sym typeface="+mn-lt"/>
            </a:endParaRPr>
          </a:p>
        </p:txBody>
      </p:sp>
      <p:sp>
        <p:nvSpPr>
          <p:cNvPr id="60" name="Shape 122">
            <a:extLst>
              <a:ext uri="{FF2B5EF4-FFF2-40B4-BE49-F238E27FC236}">
                <a16:creationId xmlns:a16="http://schemas.microsoft.com/office/drawing/2014/main" id="{D3EE940C-0750-4A8D-909B-6E46496D3D7C}"/>
              </a:ext>
            </a:extLst>
          </p:cNvPr>
          <p:cNvSpPr>
            <a:spLocks noChangeShapeType="1"/>
          </p:cNvSpPr>
          <p:nvPr/>
        </p:nvSpPr>
        <p:spPr bwMode="auto">
          <a:xfrm flipV="1">
            <a:off x="5387796" y="2988932"/>
            <a:ext cx="1431977" cy="1585828"/>
          </a:xfrm>
          <a:prstGeom prst="line">
            <a:avLst/>
          </a:prstGeom>
          <a:noFill/>
          <a:ln w="63500">
            <a:solidFill>
              <a:schemeClr val="accent1">
                <a:lumMod val="100000"/>
              </a:schemeClr>
            </a:solidFill>
            <a:miter lim="400000"/>
            <a:headEnd/>
            <a:tailEnd/>
          </a:ln>
          <a:extLst>
            <a:ext uri="{909E8E84-426E-40DD-AFC4-6F175D3DCCD1}">
              <a14:hiddenFill xmlns:a14="http://schemas.microsoft.com/office/drawing/2010/main">
                <a:noFill/>
              </a14:hiddenFill>
            </a:ext>
          </a:extLst>
        </p:spPr>
        <p:txBody>
          <a:bodyPr lIns="25400" tIns="25400" rIns="25400" bIns="254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500" b="0" i="0" u="none" strike="noStrike" kern="1200" cap="none" spc="0" normalizeH="0" baseline="0" noProof="0">
              <a:ln>
                <a:noFill/>
              </a:ln>
              <a:solidFill>
                <a:srgbClr val="000000"/>
              </a:solidFill>
              <a:effectLst/>
              <a:uLnTx/>
              <a:uFillTx/>
              <a:latin typeface="Arial"/>
              <a:cs typeface="+mn-ea"/>
              <a:sym typeface="+mn-lt"/>
            </a:endParaRPr>
          </a:p>
        </p:txBody>
      </p:sp>
      <p:sp>
        <p:nvSpPr>
          <p:cNvPr id="61" name="Shape 123">
            <a:extLst>
              <a:ext uri="{FF2B5EF4-FFF2-40B4-BE49-F238E27FC236}">
                <a16:creationId xmlns:a16="http://schemas.microsoft.com/office/drawing/2014/main" id="{38745483-8B51-49AB-A818-DD03CDD48647}"/>
              </a:ext>
            </a:extLst>
          </p:cNvPr>
          <p:cNvSpPr>
            <a:spLocks noChangeArrowheads="1"/>
          </p:cNvSpPr>
          <p:nvPr/>
        </p:nvSpPr>
        <p:spPr bwMode="auto">
          <a:xfrm>
            <a:off x="4579860" y="2882119"/>
            <a:ext cx="158561" cy="158549"/>
          </a:xfrm>
          <a:prstGeom prst="ellipse">
            <a:avLst/>
          </a:prstGeom>
          <a:solidFill>
            <a:srgbClr val="FFFFFF"/>
          </a:solidFill>
          <a:ln w="63500">
            <a:solidFill>
              <a:schemeClr val="accent1">
                <a:lumMod val="100000"/>
              </a:schemeClr>
            </a:solidFill>
            <a:miter lim="400000"/>
            <a:headEnd/>
            <a:tailEnd/>
          </a:ln>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FFFFFF"/>
              </a:solidFill>
              <a:effectLst/>
              <a:uLnTx/>
              <a:uFillTx/>
              <a:latin typeface="Arial"/>
              <a:cs typeface="+mn-ea"/>
              <a:sym typeface="+mn-lt"/>
            </a:endParaRPr>
          </a:p>
        </p:txBody>
      </p:sp>
      <p:sp>
        <p:nvSpPr>
          <p:cNvPr id="62" name="Shape 124">
            <a:extLst>
              <a:ext uri="{FF2B5EF4-FFF2-40B4-BE49-F238E27FC236}">
                <a16:creationId xmlns:a16="http://schemas.microsoft.com/office/drawing/2014/main" id="{388D16EE-9221-4744-84F5-7BB98E6C05C0}"/>
              </a:ext>
            </a:extLst>
          </p:cNvPr>
          <p:cNvSpPr>
            <a:spLocks noChangeArrowheads="1"/>
          </p:cNvSpPr>
          <p:nvPr/>
        </p:nvSpPr>
        <p:spPr bwMode="auto">
          <a:xfrm>
            <a:off x="5691021" y="2882119"/>
            <a:ext cx="158561" cy="158549"/>
          </a:xfrm>
          <a:prstGeom prst="ellipse">
            <a:avLst/>
          </a:prstGeom>
          <a:solidFill>
            <a:srgbClr val="FFFFFF"/>
          </a:solidFill>
          <a:ln w="63500">
            <a:solidFill>
              <a:schemeClr val="accent1">
                <a:lumMod val="100000"/>
              </a:schemeClr>
            </a:solidFill>
            <a:miter lim="400000"/>
            <a:headEnd/>
            <a:tailEnd/>
          </a:ln>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FFFFFF"/>
              </a:solidFill>
              <a:effectLst/>
              <a:uLnTx/>
              <a:uFillTx/>
              <a:latin typeface="Arial"/>
              <a:cs typeface="+mn-ea"/>
              <a:sym typeface="+mn-lt"/>
            </a:endParaRPr>
          </a:p>
        </p:txBody>
      </p:sp>
      <p:sp>
        <p:nvSpPr>
          <p:cNvPr id="63" name="Shape 125">
            <a:extLst>
              <a:ext uri="{FF2B5EF4-FFF2-40B4-BE49-F238E27FC236}">
                <a16:creationId xmlns:a16="http://schemas.microsoft.com/office/drawing/2014/main" id="{39A0DC67-71E9-4A47-AF2F-E1F994254065}"/>
              </a:ext>
            </a:extLst>
          </p:cNvPr>
          <p:cNvSpPr>
            <a:spLocks noChangeArrowheads="1"/>
          </p:cNvSpPr>
          <p:nvPr/>
        </p:nvSpPr>
        <p:spPr bwMode="auto">
          <a:xfrm>
            <a:off x="6736659" y="2882119"/>
            <a:ext cx="158561" cy="158549"/>
          </a:xfrm>
          <a:prstGeom prst="ellipse">
            <a:avLst/>
          </a:prstGeom>
          <a:solidFill>
            <a:srgbClr val="FFFFFF"/>
          </a:solidFill>
          <a:ln w="63500">
            <a:solidFill>
              <a:schemeClr val="accent1">
                <a:lumMod val="100000"/>
              </a:schemeClr>
            </a:solidFill>
            <a:miter lim="400000"/>
            <a:headEnd/>
            <a:tailEnd/>
          </a:ln>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FFFFFF"/>
              </a:solidFill>
              <a:effectLst/>
              <a:uLnTx/>
              <a:uFillTx/>
              <a:latin typeface="Arial"/>
              <a:cs typeface="+mn-ea"/>
              <a:sym typeface="+mn-lt"/>
            </a:endParaRPr>
          </a:p>
        </p:txBody>
      </p:sp>
      <p:sp>
        <p:nvSpPr>
          <p:cNvPr id="64" name="Shape 126">
            <a:extLst>
              <a:ext uri="{FF2B5EF4-FFF2-40B4-BE49-F238E27FC236}">
                <a16:creationId xmlns:a16="http://schemas.microsoft.com/office/drawing/2014/main" id="{333378B9-95E6-4B9E-A017-E120E71AF5D7}"/>
              </a:ext>
            </a:extLst>
          </p:cNvPr>
          <p:cNvSpPr>
            <a:spLocks noChangeArrowheads="1"/>
          </p:cNvSpPr>
          <p:nvPr/>
        </p:nvSpPr>
        <p:spPr bwMode="auto">
          <a:xfrm>
            <a:off x="7855842" y="2882119"/>
            <a:ext cx="158561" cy="158549"/>
          </a:xfrm>
          <a:prstGeom prst="ellipse">
            <a:avLst/>
          </a:prstGeom>
          <a:solidFill>
            <a:srgbClr val="FFFFFF"/>
          </a:solidFill>
          <a:ln w="63500">
            <a:solidFill>
              <a:schemeClr val="accent1">
                <a:lumMod val="100000"/>
              </a:schemeClr>
            </a:solidFill>
            <a:miter lim="400000"/>
            <a:headEnd/>
            <a:tailEnd/>
          </a:ln>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FFFFFF"/>
              </a:solidFill>
              <a:effectLst/>
              <a:uLnTx/>
              <a:uFillTx/>
              <a:latin typeface="Arial"/>
              <a:cs typeface="+mn-ea"/>
              <a:sym typeface="+mn-lt"/>
            </a:endParaRPr>
          </a:p>
        </p:txBody>
      </p:sp>
      <p:sp>
        <p:nvSpPr>
          <p:cNvPr id="65" name="Shape 127">
            <a:extLst>
              <a:ext uri="{FF2B5EF4-FFF2-40B4-BE49-F238E27FC236}">
                <a16:creationId xmlns:a16="http://schemas.microsoft.com/office/drawing/2014/main" id="{AF705401-EB5E-49AB-B853-BEC860A6EC9A}"/>
              </a:ext>
            </a:extLst>
          </p:cNvPr>
          <p:cNvSpPr>
            <a:spLocks noChangeArrowheads="1"/>
          </p:cNvSpPr>
          <p:nvPr/>
        </p:nvSpPr>
        <p:spPr bwMode="auto">
          <a:xfrm>
            <a:off x="4108818" y="3472268"/>
            <a:ext cx="104155" cy="104148"/>
          </a:xfrm>
          <a:prstGeom prst="ellipse">
            <a:avLst/>
          </a:prstGeom>
          <a:solidFill>
            <a:schemeClr val="accent1">
              <a:lumMod val="100000"/>
            </a:schemeClr>
          </a:solidFill>
          <a:ln>
            <a:noFill/>
          </a:ln>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FFFFFF"/>
              </a:solidFill>
              <a:effectLst/>
              <a:uLnTx/>
              <a:uFillTx/>
              <a:latin typeface="Arial"/>
              <a:cs typeface="+mn-ea"/>
              <a:sym typeface="+mn-lt"/>
            </a:endParaRPr>
          </a:p>
        </p:txBody>
      </p:sp>
      <p:sp>
        <p:nvSpPr>
          <p:cNvPr id="66" name="Shape 128">
            <a:extLst>
              <a:ext uri="{FF2B5EF4-FFF2-40B4-BE49-F238E27FC236}">
                <a16:creationId xmlns:a16="http://schemas.microsoft.com/office/drawing/2014/main" id="{4BF639A8-8493-438F-9B4E-2A6D935CC26A}"/>
              </a:ext>
            </a:extLst>
          </p:cNvPr>
          <p:cNvSpPr>
            <a:spLocks noChangeArrowheads="1"/>
          </p:cNvSpPr>
          <p:nvPr/>
        </p:nvSpPr>
        <p:spPr bwMode="auto">
          <a:xfrm>
            <a:off x="3643188" y="3992889"/>
            <a:ext cx="104155" cy="104148"/>
          </a:xfrm>
          <a:prstGeom prst="ellipse">
            <a:avLst/>
          </a:prstGeom>
          <a:solidFill>
            <a:schemeClr val="accent1">
              <a:lumMod val="100000"/>
            </a:schemeClr>
          </a:solidFill>
          <a:ln>
            <a:noFill/>
          </a:ln>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FFFFFF"/>
              </a:solidFill>
              <a:effectLst/>
              <a:uLnTx/>
              <a:uFillTx/>
              <a:latin typeface="Arial"/>
              <a:cs typeface="+mn-ea"/>
              <a:sym typeface="+mn-lt"/>
            </a:endParaRPr>
          </a:p>
        </p:txBody>
      </p:sp>
      <p:sp>
        <p:nvSpPr>
          <p:cNvPr id="67" name="Shape 129">
            <a:extLst>
              <a:ext uri="{FF2B5EF4-FFF2-40B4-BE49-F238E27FC236}">
                <a16:creationId xmlns:a16="http://schemas.microsoft.com/office/drawing/2014/main" id="{5CC3CF68-EA2C-4CF9-BDDF-4FE5635019A6}"/>
              </a:ext>
            </a:extLst>
          </p:cNvPr>
          <p:cNvSpPr>
            <a:spLocks noChangeArrowheads="1"/>
          </p:cNvSpPr>
          <p:nvPr/>
        </p:nvSpPr>
        <p:spPr bwMode="auto">
          <a:xfrm>
            <a:off x="2980331" y="4562384"/>
            <a:ext cx="1676641" cy="360368"/>
          </a:xfrm>
          <a:prstGeom prst="roundRect">
            <a:avLst>
              <a:gd name="adj" fmla="val 50000"/>
            </a:avLst>
          </a:prstGeom>
          <a:solidFill>
            <a:schemeClr val="accent1">
              <a:lumMod val="100000"/>
            </a:schemeClr>
          </a:solidFill>
          <a:ln>
            <a:noFill/>
          </a:ln>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FFFFFF"/>
              </a:solidFill>
              <a:effectLst/>
              <a:uLnTx/>
              <a:uFillTx/>
              <a:latin typeface="Arial"/>
              <a:cs typeface="+mn-ea"/>
              <a:sym typeface="+mn-lt"/>
            </a:endParaRPr>
          </a:p>
        </p:txBody>
      </p:sp>
      <p:sp>
        <p:nvSpPr>
          <p:cNvPr id="68" name="Shape 130">
            <a:extLst>
              <a:ext uri="{FF2B5EF4-FFF2-40B4-BE49-F238E27FC236}">
                <a16:creationId xmlns:a16="http://schemas.microsoft.com/office/drawing/2014/main" id="{562B0800-5C8B-4F42-A53F-A1B3F490520C}"/>
              </a:ext>
            </a:extLst>
          </p:cNvPr>
          <p:cNvSpPr>
            <a:spLocks noChangeArrowheads="1"/>
          </p:cNvSpPr>
          <p:nvPr/>
        </p:nvSpPr>
        <p:spPr bwMode="auto">
          <a:xfrm>
            <a:off x="3352930" y="4628847"/>
            <a:ext cx="1171467" cy="2128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altLang="ru-RU" sz="1050" b="1" i="0" u="none" strike="noStrike" kern="1200" cap="none" spc="0" normalizeH="0" baseline="0" noProof="0">
                <a:ln>
                  <a:noFill/>
                </a:ln>
                <a:solidFill>
                  <a:srgbClr val="FFFFFF"/>
                </a:solidFill>
                <a:effectLst/>
                <a:uLnTx/>
                <a:uFillTx/>
                <a:latin typeface="Arial"/>
                <a:cs typeface="+mn-ea"/>
                <a:sym typeface="+mn-lt"/>
              </a:rPr>
              <a:t>Information text</a:t>
            </a:r>
          </a:p>
        </p:txBody>
      </p:sp>
      <p:sp>
        <p:nvSpPr>
          <p:cNvPr id="69" name="Shape 131">
            <a:extLst>
              <a:ext uri="{FF2B5EF4-FFF2-40B4-BE49-F238E27FC236}">
                <a16:creationId xmlns:a16="http://schemas.microsoft.com/office/drawing/2014/main" id="{D8F364F4-7995-4119-BA81-3BFC8EA96603}"/>
              </a:ext>
            </a:extLst>
          </p:cNvPr>
          <p:cNvSpPr>
            <a:spLocks noChangeArrowheads="1"/>
          </p:cNvSpPr>
          <p:nvPr/>
        </p:nvSpPr>
        <p:spPr bwMode="auto">
          <a:xfrm>
            <a:off x="3014580" y="4597365"/>
            <a:ext cx="290426" cy="290405"/>
          </a:xfrm>
          <a:prstGeom prst="ellipse">
            <a:avLst/>
          </a:prstGeom>
          <a:solidFill>
            <a:srgbClr val="FFFFFF"/>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FFFFFF"/>
              </a:solidFill>
              <a:effectLst/>
              <a:uLnTx/>
              <a:uFillTx/>
              <a:latin typeface="Arial"/>
              <a:cs typeface="+mn-ea"/>
              <a:sym typeface="+mn-lt"/>
            </a:endParaRPr>
          </a:p>
        </p:txBody>
      </p:sp>
      <p:sp>
        <p:nvSpPr>
          <p:cNvPr id="70" name="Shape 132">
            <a:extLst>
              <a:ext uri="{FF2B5EF4-FFF2-40B4-BE49-F238E27FC236}">
                <a16:creationId xmlns:a16="http://schemas.microsoft.com/office/drawing/2014/main" id="{DCBB331A-0A63-4C95-B146-E7D21275CAA8}"/>
              </a:ext>
            </a:extLst>
          </p:cNvPr>
          <p:cNvSpPr>
            <a:spLocks noChangeArrowheads="1"/>
          </p:cNvSpPr>
          <p:nvPr/>
        </p:nvSpPr>
        <p:spPr bwMode="auto">
          <a:xfrm>
            <a:off x="5134298" y="4562384"/>
            <a:ext cx="1676641" cy="360368"/>
          </a:xfrm>
          <a:prstGeom prst="roundRect">
            <a:avLst>
              <a:gd name="adj" fmla="val 50000"/>
            </a:avLst>
          </a:prstGeom>
          <a:solidFill>
            <a:schemeClr val="accent1">
              <a:lumMod val="100000"/>
            </a:schemeClr>
          </a:solidFill>
          <a:ln>
            <a:noFill/>
          </a:ln>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FFFFFF"/>
              </a:solidFill>
              <a:effectLst/>
              <a:uLnTx/>
              <a:uFillTx/>
              <a:latin typeface="Arial"/>
              <a:cs typeface="+mn-ea"/>
              <a:sym typeface="+mn-lt"/>
            </a:endParaRPr>
          </a:p>
        </p:txBody>
      </p:sp>
      <p:sp>
        <p:nvSpPr>
          <p:cNvPr id="71" name="Shape 133">
            <a:extLst>
              <a:ext uri="{FF2B5EF4-FFF2-40B4-BE49-F238E27FC236}">
                <a16:creationId xmlns:a16="http://schemas.microsoft.com/office/drawing/2014/main" id="{FC0E7BD9-1957-4153-BB99-2AD090E39154}"/>
              </a:ext>
            </a:extLst>
          </p:cNvPr>
          <p:cNvSpPr>
            <a:spLocks noChangeArrowheads="1"/>
          </p:cNvSpPr>
          <p:nvPr/>
        </p:nvSpPr>
        <p:spPr bwMode="auto">
          <a:xfrm>
            <a:off x="5506897" y="4628847"/>
            <a:ext cx="1171467" cy="2128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altLang="ru-RU" sz="1050" b="1" i="0" u="none" strike="noStrike" kern="1200" cap="none" spc="0" normalizeH="0" baseline="0" noProof="0">
                <a:ln>
                  <a:noFill/>
                </a:ln>
                <a:solidFill>
                  <a:srgbClr val="FFFFFF"/>
                </a:solidFill>
                <a:effectLst/>
                <a:uLnTx/>
                <a:uFillTx/>
                <a:latin typeface="Arial"/>
                <a:cs typeface="+mn-ea"/>
                <a:sym typeface="+mn-lt"/>
              </a:rPr>
              <a:t>Information text</a:t>
            </a:r>
          </a:p>
        </p:txBody>
      </p:sp>
      <p:sp>
        <p:nvSpPr>
          <p:cNvPr id="72" name="Shape 134">
            <a:extLst>
              <a:ext uri="{FF2B5EF4-FFF2-40B4-BE49-F238E27FC236}">
                <a16:creationId xmlns:a16="http://schemas.microsoft.com/office/drawing/2014/main" id="{5674290E-3FE3-4CC1-A2D1-C491EDEC14C2}"/>
              </a:ext>
            </a:extLst>
          </p:cNvPr>
          <p:cNvSpPr>
            <a:spLocks noChangeArrowheads="1"/>
          </p:cNvSpPr>
          <p:nvPr/>
        </p:nvSpPr>
        <p:spPr bwMode="auto">
          <a:xfrm>
            <a:off x="5168547" y="4597365"/>
            <a:ext cx="290426" cy="290405"/>
          </a:xfrm>
          <a:prstGeom prst="ellipse">
            <a:avLst/>
          </a:prstGeom>
          <a:solidFill>
            <a:srgbClr val="FFFFFF"/>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FFFFFF"/>
              </a:solidFill>
              <a:effectLst/>
              <a:uLnTx/>
              <a:uFillTx/>
              <a:latin typeface="Arial"/>
              <a:cs typeface="+mn-ea"/>
              <a:sym typeface="+mn-lt"/>
            </a:endParaRPr>
          </a:p>
        </p:txBody>
      </p:sp>
      <p:sp>
        <p:nvSpPr>
          <p:cNvPr id="73" name="Shape 135">
            <a:extLst>
              <a:ext uri="{FF2B5EF4-FFF2-40B4-BE49-F238E27FC236}">
                <a16:creationId xmlns:a16="http://schemas.microsoft.com/office/drawing/2014/main" id="{AEEF247A-C697-4693-AA7E-237F16F4D343}"/>
              </a:ext>
            </a:extLst>
          </p:cNvPr>
          <p:cNvSpPr>
            <a:spLocks noChangeArrowheads="1"/>
          </p:cNvSpPr>
          <p:nvPr/>
        </p:nvSpPr>
        <p:spPr bwMode="auto">
          <a:xfrm>
            <a:off x="4074267" y="980988"/>
            <a:ext cx="1676641" cy="360368"/>
          </a:xfrm>
          <a:prstGeom prst="roundRect">
            <a:avLst>
              <a:gd name="adj" fmla="val 50000"/>
            </a:avLst>
          </a:prstGeom>
          <a:solidFill>
            <a:schemeClr val="accent1">
              <a:lumMod val="100000"/>
            </a:schemeClr>
          </a:solidFill>
          <a:ln>
            <a:noFill/>
          </a:ln>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FFFFFF"/>
              </a:solidFill>
              <a:effectLst/>
              <a:uLnTx/>
              <a:uFillTx/>
              <a:latin typeface="Arial"/>
              <a:cs typeface="+mn-ea"/>
              <a:sym typeface="+mn-lt"/>
            </a:endParaRPr>
          </a:p>
        </p:txBody>
      </p:sp>
      <p:sp>
        <p:nvSpPr>
          <p:cNvPr id="74" name="Shape 136">
            <a:extLst>
              <a:ext uri="{FF2B5EF4-FFF2-40B4-BE49-F238E27FC236}">
                <a16:creationId xmlns:a16="http://schemas.microsoft.com/office/drawing/2014/main" id="{399B8EB3-8E83-40E6-A6F0-D22CFA4B1552}"/>
              </a:ext>
            </a:extLst>
          </p:cNvPr>
          <p:cNvSpPr>
            <a:spLocks noChangeArrowheads="1"/>
          </p:cNvSpPr>
          <p:nvPr/>
        </p:nvSpPr>
        <p:spPr bwMode="auto">
          <a:xfrm>
            <a:off x="4446866" y="1047451"/>
            <a:ext cx="1171468" cy="2128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altLang="ru-RU" sz="1050" b="1" i="0" u="none" strike="noStrike" kern="1200" cap="none" spc="0" normalizeH="0" baseline="0" noProof="0">
                <a:ln>
                  <a:noFill/>
                </a:ln>
                <a:solidFill>
                  <a:srgbClr val="FFFFFF"/>
                </a:solidFill>
                <a:effectLst/>
                <a:uLnTx/>
                <a:uFillTx/>
                <a:latin typeface="Arial"/>
                <a:cs typeface="+mn-ea"/>
                <a:sym typeface="+mn-lt"/>
              </a:rPr>
              <a:t>Information text</a:t>
            </a:r>
          </a:p>
        </p:txBody>
      </p:sp>
      <p:sp>
        <p:nvSpPr>
          <p:cNvPr id="75" name="Shape 137">
            <a:extLst>
              <a:ext uri="{FF2B5EF4-FFF2-40B4-BE49-F238E27FC236}">
                <a16:creationId xmlns:a16="http://schemas.microsoft.com/office/drawing/2014/main" id="{4212BB21-DC0C-404F-9BB6-FAE19CC81134}"/>
              </a:ext>
            </a:extLst>
          </p:cNvPr>
          <p:cNvSpPr>
            <a:spLocks noChangeArrowheads="1"/>
          </p:cNvSpPr>
          <p:nvPr/>
        </p:nvSpPr>
        <p:spPr bwMode="auto">
          <a:xfrm>
            <a:off x="4108516" y="1015969"/>
            <a:ext cx="290426" cy="290405"/>
          </a:xfrm>
          <a:prstGeom prst="ellipse">
            <a:avLst/>
          </a:prstGeom>
          <a:solidFill>
            <a:srgbClr val="FFFFFF"/>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FFFFFF"/>
              </a:solidFill>
              <a:effectLst/>
              <a:uLnTx/>
              <a:uFillTx/>
              <a:latin typeface="Arial"/>
              <a:cs typeface="+mn-ea"/>
              <a:sym typeface="+mn-lt"/>
            </a:endParaRPr>
          </a:p>
        </p:txBody>
      </p:sp>
      <p:sp>
        <p:nvSpPr>
          <p:cNvPr id="76" name="Shape 138">
            <a:extLst>
              <a:ext uri="{FF2B5EF4-FFF2-40B4-BE49-F238E27FC236}">
                <a16:creationId xmlns:a16="http://schemas.microsoft.com/office/drawing/2014/main" id="{0DB43324-FD86-4D50-A349-F63B032647E2}"/>
              </a:ext>
            </a:extLst>
          </p:cNvPr>
          <p:cNvSpPr>
            <a:spLocks noChangeArrowheads="1"/>
          </p:cNvSpPr>
          <p:nvPr/>
        </p:nvSpPr>
        <p:spPr bwMode="auto">
          <a:xfrm>
            <a:off x="6241561" y="980988"/>
            <a:ext cx="1676641" cy="360368"/>
          </a:xfrm>
          <a:prstGeom prst="roundRect">
            <a:avLst>
              <a:gd name="adj" fmla="val 50000"/>
            </a:avLst>
          </a:prstGeom>
          <a:solidFill>
            <a:schemeClr val="accent1">
              <a:lumMod val="100000"/>
            </a:schemeClr>
          </a:solidFill>
          <a:ln>
            <a:noFill/>
          </a:ln>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FFFFFF"/>
              </a:solidFill>
              <a:effectLst/>
              <a:uLnTx/>
              <a:uFillTx/>
              <a:latin typeface="Arial"/>
              <a:cs typeface="+mn-ea"/>
              <a:sym typeface="+mn-lt"/>
            </a:endParaRPr>
          </a:p>
        </p:txBody>
      </p:sp>
      <p:sp>
        <p:nvSpPr>
          <p:cNvPr id="77" name="Shape 139">
            <a:extLst>
              <a:ext uri="{FF2B5EF4-FFF2-40B4-BE49-F238E27FC236}">
                <a16:creationId xmlns:a16="http://schemas.microsoft.com/office/drawing/2014/main" id="{D77A027F-D7D1-4F34-9EF0-692A3B81EBEB}"/>
              </a:ext>
            </a:extLst>
          </p:cNvPr>
          <p:cNvSpPr>
            <a:spLocks noChangeArrowheads="1"/>
          </p:cNvSpPr>
          <p:nvPr/>
        </p:nvSpPr>
        <p:spPr bwMode="auto">
          <a:xfrm>
            <a:off x="6614160" y="1047451"/>
            <a:ext cx="1171468" cy="2128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altLang="ru-RU" sz="1050" b="1" i="0" u="none" strike="noStrike" kern="1200" cap="none" spc="0" normalizeH="0" baseline="0" noProof="0" dirty="0" err="1">
                <a:ln>
                  <a:noFill/>
                </a:ln>
                <a:solidFill>
                  <a:srgbClr val="FFFFFF"/>
                </a:solidFill>
                <a:effectLst/>
                <a:uLnTx/>
                <a:uFillTx/>
                <a:latin typeface="Arial"/>
                <a:cs typeface="+mn-ea"/>
                <a:sym typeface="+mn-lt"/>
              </a:rPr>
              <a:t>Information</a:t>
            </a:r>
            <a:r>
              <a:rPr kumimoji="0" lang="ru-RU" altLang="ru-RU" sz="1050" b="1" i="0" u="none" strike="noStrike" kern="1200" cap="none" spc="0" normalizeH="0" baseline="0" noProof="0" dirty="0">
                <a:ln>
                  <a:noFill/>
                </a:ln>
                <a:solidFill>
                  <a:srgbClr val="FFFFFF"/>
                </a:solidFill>
                <a:effectLst/>
                <a:uLnTx/>
                <a:uFillTx/>
                <a:latin typeface="Arial"/>
                <a:cs typeface="+mn-ea"/>
                <a:sym typeface="+mn-lt"/>
              </a:rPr>
              <a:t> </a:t>
            </a:r>
            <a:r>
              <a:rPr kumimoji="0" lang="ru-RU" altLang="ru-RU" sz="1050" b="1" i="0" u="none" strike="noStrike" kern="1200" cap="none" spc="0" normalizeH="0" baseline="0" noProof="0" dirty="0" err="1">
                <a:ln>
                  <a:noFill/>
                </a:ln>
                <a:solidFill>
                  <a:srgbClr val="FFFFFF"/>
                </a:solidFill>
                <a:effectLst/>
                <a:uLnTx/>
                <a:uFillTx/>
                <a:latin typeface="Arial"/>
                <a:cs typeface="+mn-ea"/>
                <a:sym typeface="+mn-lt"/>
              </a:rPr>
              <a:t>text</a:t>
            </a:r>
            <a:endParaRPr kumimoji="0" lang="ru-RU" altLang="ru-RU" sz="1050" b="1" i="0" u="none" strike="noStrike" kern="1200" cap="none" spc="0" normalizeH="0" baseline="0" noProof="0" dirty="0">
              <a:ln>
                <a:noFill/>
              </a:ln>
              <a:solidFill>
                <a:srgbClr val="FFFFFF"/>
              </a:solidFill>
              <a:effectLst/>
              <a:uLnTx/>
              <a:uFillTx/>
              <a:latin typeface="Arial"/>
              <a:cs typeface="+mn-ea"/>
              <a:sym typeface="+mn-lt"/>
            </a:endParaRPr>
          </a:p>
        </p:txBody>
      </p:sp>
      <p:sp>
        <p:nvSpPr>
          <p:cNvPr id="78" name="Shape 140">
            <a:extLst>
              <a:ext uri="{FF2B5EF4-FFF2-40B4-BE49-F238E27FC236}">
                <a16:creationId xmlns:a16="http://schemas.microsoft.com/office/drawing/2014/main" id="{873DAC36-0889-425D-814D-7F4321CEB591}"/>
              </a:ext>
            </a:extLst>
          </p:cNvPr>
          <p:cNvSpPr>
            <a:spLocks noChangeArrowheads="1"/>
          </p:cNvSpPr>
          <p:nvPr/>
        </p:nvSpPr>
        <p:spPr bwMode="auto">
          <a:xfrm>
            <a:off x="6275809" y="1015969"/>
            <a:ext cx="290426" cy="290405"/>
          </a:xfrm>
          <a:prstGeom prst="ellipse">
            <a:avLst/>
          </a:prstGeom>
          <a:solidFill>
            <a:srgbClr val="FFFFFF"/>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FFFFFF"/>
              </a:solidFill>
              <a:effectLst/>
              <a:uLnTx/>
              <a:uFillTx/>
              <a:latin typeface="Arial"/>
              <a:cs typeface="+mn-ea"/>
              <a:sym typeface="+mn-lt"/>
            </a:endParaRPr>
          </a:p>
        </p:txBody>
      </p:sp>
      <p:sp>
        <p:nvSpPr>
          <p:cNvPr id="79" name="Shape 141">
            <a:extLst>
              <a:ext uri="{FF2B5EF4-FFF2-40B4-BE49-F238E27FC236}">
                <a16:creationId xmlns:a16="http://schemas.microsoft.com/office/drawing/2014/main" id="{05F96A79-5A92-43DF-B22F-1F7F42DEFAB8}"/>
              </a:ext>
            </a:extLst>
          </p:cNvPr>
          <p:cNvSpPr>
            <a:spLocks noChangeArrowheads="1"/>
          </p:cNvSpPr>
          <p:nvPr/>
        </p:nvSpPr>
        <p:spPr bwMode="auto">
          <a:xfrm>
            <a:off x="6284521" y="3472268"/>
            <a:ext cx="104155" cy="104148"/>
          </a:xfrm>
          <a:prstGeom prst="ellipse">
            <a:avLst/>
          </a:prstGeom>
          <a:solidFill>
            <a:schemeClr val="accent1">
              <a:lumMod val="100000"/>
            </a:schemeClr>
          </a:solidFill>
          <a:ln>
            <a:noFill/>
          </a:ln>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FFFFFF"/>
              </a:solidFill>
              <a:effectLst/>
              <a:uLnTx/>
              <a:uFillTx/>
              <a:latin typeface="Arial"/>
              <a:cs typeface="+mn-ea"/>
              <a:sym typeface="+mn-lt"/>
            </a:endParaRPr>
          </a:p>
        </p:txBody>
      </p:sp>
      <p:sp>
        <p:nvSpPr>
          <p:cNvPr id="80" name="Shape 142">
            <a:extLst>
              <a:ext uri="{FF2B5EF4-FFF2-40B4-BE49-F238E27FC236}">
                <a16:creationId xmlns:a16="http://schemas.microsoft.com/office/drawing/2014/main" id="{7C862BF4-FD24-45FC-82E9-D6366DB64432}"/>
              </a:ext>
            </a:extLst>
          </p:cNvPr>
          <p:cNvSpPr>
            <a:spLocks noChangeArrowheads="1"/>
          </p:cNvSpPr>
          <p:nvPr/>
        </p:nvSpPr>
        <p:spPr bwMode="auto">
          <a:xfrm>
            <a:off x="5818891" y="3992889"/>
            <a:ext cx="104156" cy="104148"/>
          </a:xfrm>
          <a:prstGeom prst="ellipse">
            <a:avLst/>
          </a:prstGeom>
          <a:solidFill>
            <a:schemeClr val="accent1">
              <a:lumMod val="100000"/>
            </a:schemeClr>
          </a:solidFill>
          <a:ln>
            <a:noFill/>
          </a:ln>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FFFFFF"/>
              </a:solidFill>
              <a:effectLst/>
              <a:uLnTx/>
              <a:uFillTx/>
              <a:latin typeface="Arial"/>
              <a:cs typeface="+mn-ea"/>
              <a:sym typeface="+mn-lt"/>
            </a:endParaRPr>
          </a:p>
        </p:txBody>
      </p:sp>
      <p:sp>
        <p:nvSpPr>
          <p:cNvPr id="81" name="Shape 143">
            <a:extLst>
              <a:ext uri="{FF2B5EF4-FFF2-40B4-BE49-F238E27FC236}">
                <a16:creationId xmlns:a16="http://schemas.microsoft.com/office/drawing/2014/main" id="{90DE08F3-F125-4CE0-9275-8B8B8D97D06F}"/>
              </a:ext>
            </a:extLst>
          </p:cNvPr>
          <p:cNvSpPr>
            <a:spLocks noChangeArrowheads="1"/>
          </p:cNvSpPr>
          <p:nvPr/>
        </p:nvSpPr>
        <p:spPr bwMode="auto">
          <a:xfrm>
            <a:off x="4703497" y="1808462"/>
            <a:ext cx="104155" cy="104148"/>
          </a:xfrm>
          <a:prstGeom prst="ellipse">
            <a:avLst/>
          </a:prstGeom>
          <a:solidFill>
            <a:schemeClr val="accent1">
              <a:lumMod val="100000"/>
            </a:schemeClr>
          </a:solidFill>
          <a:ln>
            <a:noFill/>
          </a:ln>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FFFFFF"/>
              </a:solidFill>
              <a:effectLst/>
              <a:uLnTx/>
              <a:uFillTx/>
              <a:latin typeface="Arial"/>
              <a:cs typeface="+mn-ea"/>
              <a:sym typeface="+mn-lt"/>
            </a:endParaRPr>
          </a:p>
        </p:txBody>
      </p:sp>
      <p:sp>
        <p:nvSpPr>
          <p:cNvPr id="82" name="Shape 144">
            <a:extLst>
              <a:ext uri="{FF2B5EF4-FFF2-40B4-BE49-F238E27FC236}">
                <a16:creationId xmlns:a16="http://schemas.microsoft.com/office/drawing/2014/main" id="{68600EE6-E9F0-4E62-AD5E-9212A9A52696}"/>
              </a:ext>
            </a:extLst>
          </p:cNvPr>
          <p:cNvSpPr>
            <a:spLocks noChangeArrowheads="1"/>
          </p:cNvSpPr>
          <p:nvPr/>
        </p:nvSpPr>
        <p:spPr bwMode="auto">
          <a:xfrm>
            <a:off x="5179561" y="2327324"/>
            <a:ext cx="104155" cy="104148"/>
          </a:xfrm>
          <a:prstGeom prst="ellipse">
            <a:avLst/>
          </a:prstGeom>
          <a:solidFill>
            <a:schemeClr val="accent1">
              <a:lumMod val="100000"/>
            </a:schemeClr>
          </a:solidFill>
          <a:ln>
            <a:noFill/>
          </a:ln>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FFFFFF"/>
              </a:solidFill>
              <a:effectLst/>
              <a:uLnTx/>
              <a:uFillTx/>
              <a:latin typeface="Arial"/>
              <a:cs typeface="+mn-ea"/>
              <a:sym typeface="+mn-lt"/>
            </a:endParaRPr>
          </a:p>
        </p:txBody>
      </p:sp>
      <p:sp>
        <p:nvSpPr>
          <p:cNvPr id="83" name="Shape 145">
            <a:extLst>
              <a:ext uri="{FF2B5EF4-FFF2-40B4-BE49-F238E27FC236}">
                <a16:creationId xmlns:a16="http://schemas.microsoft.com/office/drawing/2014/main" id="{7DD3E00D-115D-431B-88FF-B2A8A7F9AA24}"/>
              </a:ext>
            </a:extLst>
          </p:cNvPr>
          <p:cNvSpPr>
            <a:spLocks noChangeArrowheads="1"/>
          </p:cNvSpPr>
          <p:nvPr/>
        </p:nvSpPr>
        <p:spPr bwMode="auto">
          <a:xfrm>
            <a:off x="6878686" y="1808462"/>
            <a:ext cx="104156" cy="104148"/>
          </a:xfrm>
          <a:prstGeom prst="ellipse">
            <a:avLst/>
          </a:prstGeom>
          <a:solidFill>
            <a:schemeClr val="accent1">
              <a:lumMod val="100000"/>
            </a:schemeClr>
          </a:solidFill>
          <a:ln>
            <a:noFill/>
          </a:ln>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FFFFFF"/>
              </a:solidFill>
              <a:effectLst/>
              <a:uLnTx/>
              <a:uFillTx/>
              <a:latin typeface="Arial"/>
              <a:cs typeface="+mn-ea"/>
              <a:sym typeface="+mn-lt"/>
            </a:endParaRPr>
          </a:p>
        </p:txBody>
      </p:sp>
      <p:sp>
        <p:nvSpPr>
          <p:cNvPr id="84" name="Shape 146">
            <a:extLst>
              <a:ext uri="{FF2B5EF4-FFF2-40B4-BE49-F238E27FC236}">
                <a16:creationId xmlns:a16="http://schemas.microsoft.com/office/drawing/2014/main" id="{E8AA804D-E002-4D57-A266-7E0771D62B64}"/>
              </a:ext>
            </a:extLst>
          </p:cNvPr>
          <p:cNvSpPr>
            <a:spLocks noChangeArrowheads="1"/>
          </p:cNvSpPr>
          <p:nvPr/>
        </p:nvSpPr>
        <p:spPr bwMode="auto">
          <a:xfrm>
            <a:off x="7354750" y="2327324"/>
            <a:ext cx="104155" cy="104148"/>
          </a:xfrm>
          <a:prstGeom prst="ellipse">
            <a:avLst/>
          </a:prstGeom>
          <a:solidFill>
            <a:schemeClr val="accent1">
              <a:lumMod val="100000"/>
            </a:schemeClr>
          </a:solidFill>
          <a:ln>
            <a:noFill/>
          </a:ln>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FFFFFF"/>
              </a:solidFill>
              <a:effectLst/>
              <a:uLnTx/>
              <a:uFillTx/>
              <a:latin typeface="Arial"/>
              <a:cs typeface="+mn-ea"/>
              <a:sym typeface="+mn-lt"/>
            </a:endParaRPr>
          </a:p>
        </p:txBody>
      </p:sp>
      <p:sp>
        <p:nvSpPr>
          <p:cNvPr id="85" name="Shape 147">
            <a:extLst>
              <a:ext uri="{FF2B5EF4-FFF2-40B4-BE49-F238E27FC236}">
                <a16:creationId xmlns:a16="http://schemas.microsoft.com/office/drawing/2014/main" id="{414A6EAB-A43E-4B62-93EC-B7EC6FC0C400}"/>
              </a:ext>
            </a:extLst>
          </p:cNvPr>
          <p:cNvSpPr>
            <a:spLocks noChangeArrowheads="1"/>
          </p:cNvSpPr>
          <p:nvPr/>
        </p:nvSpPr>
        <p:spPr bwMode="auto">
          <a:xfrm>
            <a:off x="4931275" y="1757944"/>
            <a:ext cx="1824085" cy="205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altLang="ru-RU" sz="1000" b="0" i="0" u="none" strike="noStrike" kern="1200" cap="none" spc="0" normalizeH="0" baseline="0" noProof="0">
                <a:ln>
                  <a:noFill/>
                </a:ln>
                <a:solidFill>
                  <a:schemeClr val="accent1"/>
                </a:solidFill>
                <a:effectLst/>
                <a:uLnTx/>
                <a:uFillTx/>
                <a:latin typeface="Arial"/>
                <a:cs typeface="+mn-ea"/>
                <a:sym typeface="+mn-lt"/>
              </a:rPr>
              <a:t>Fish bone text block </a:t>
            </a:r>
          </a:p>
        </p:txBody>
      </p:sp>
      <p:sp>
        <p:nvSpPr>
          <p:cNvPr id="86" name="Shape 148">
            <a:extLst>
              <a:ext uri="{FF2B5EF4-FFF2-40B4-BE49-F238E27FC236}">
                <a16:creationId xmlns:a16="http://schemas.microsoft.com/office/drawing/2014/main" id="{9031507C-364D-4B6E-9407-B5FDD3AE6345}"/>
              </a:ext>
            </a:extLst>
          </p:cNvPr>
          <p:cNvSpPr>
            <a:spLocks noChangeArrowheads="1"/>
          </p:cNvSpPr>
          <p:nvPr/>
        </p:nvSpPr>
        <p:spPr bwMode="auto">
          <a:xfrm>
            <a:off x="5406483" y="2272599"/>
            <a:ext cx="1824085" cy="205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altLang="ru-RU" sz="1000" b="0" i="0" u="none" strike="noStrike" kern="1200" cap="none" spc="0" normalizeH="0" baseline="0" noProof="0">
                <a:ln>
                  <a:noFill/>
                </a:ln>
                <a:solidFill>
                  <a:schemeClr val="accent1"/>
                </a:solidFill>
                <a:effectLst/>
                <a:uLnTx/>
                <a:uFillTx/>
                <a:latin typeface="Arial"/>
                <a:cs typeface="+mn-ea"/>
                <a:sym typeface="+mn-lt"/>
              </a:rPr>
              <a:t>Fish bone text block </a:t>
            </a:r>
          </a:p>
        </p:txBody>
      </p:sp>
      <p:sp>
        <p:nvSpPr>
          <p:cNvPr id="87" name="Shape 149">
            <a:extLst>
              <a:ext uri="{FF2B5EF4-FFF2-40B4-BE49-F238E27FC236}">
                <a16:creationId xmlns:a16="http://schemas.microsoft.com/office/drawing/2014/main" id="{585D6B92-B3D3-4EC1-8E6A-510612DB77CA}"/>
              </a:ext>
            </a:extLst>
          </p:cNvPr>
          <p:cNvSpPr>
            <a:spLocks noChangeArrowheads="1"/>
          </p:cNvSpPr>
          <p:nvPr/>
        </p:nvSpPr>
        <p:spPr bwMode="auto">
          <a:xfrm>
            <a:off x="7100551" y="1757944"/>
            <a:ext cx="1824085" cy="205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altLang="ru-RU" sz="1000" b="0" i="0" u="none" strike="noStrike" kern="1200" cap="none" spc="0" normalizeH="0" baseline="0" noProof="0">
                <a:ln>
                  <a:noFill/>
                </a:ln>
                <a:solidFill>
                  <a:schemeClr val="accent1"/>
                </a:solidFill>
                <a:effectLst/>
                <a:uLnTx/>
                <a:uFillTx/>
                <a:latin typeface="Arial"/>
                <a:cs typeface="+mn-ea"/>
                <a:sym typeface="+mn-lt"/>
              </a:rPr>
              <a:t>Fish bone text block </a:t>
            </a:r>
          </a:p>
        </p:txBody>
      </p:sp>
      <p:sp>
        <p:nvSpPr>
          <p:cNvPr id="88" name="Shape 150">
            <a:extLst>
              <a:ext uri="{FF2B5EF4-FFF2-40B4-BE49-F238E27FC236}">
                <a16:creationId xmlns:a16="http://schemas.microsoft.com/office/drawing/2014/main" id="{2C9846FD-F2BC-4950-A8CC-60A9B1C18049}"/>
              </a:ext>
            </a:extLst>
          </p:cNvPr>
          <p:cNvSpPr>
            <a:spLocks noChangeArrowheads="1"/>
          </p:cNvSpPr>
          <p:nvPr/>
        </p:nvSpPr>
        <p:spPr bwMode="auto">
          <a:xfrm>
            <a:off x="7575758" y="2272599"/>
            <a:ext cx="1824085" cy="205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altLang="ru-RU" sz="1000" b="0" i="0" u="none" strike="noStrike" kern="1200" cap="none" spc="0" normalizeH="0" baseline="0" noProof="0">
                <a:ln>
                  <a:noFill/>
                </a:ln>
                <a:solidFill>
                  <a:schemeClr val="accent1"/>
                </a:solidFill>
                <a:effectLst/>
                <a:uLnTx/>
                <a:uFillTx/>
                <a:latin typeface="Arial"/>
                <a:cs typeface="+mn-ea"/>
                <a:sym typeface="+mn-lt"/>
              </a:rPr>
              <a:t>Fish bone text block </a:t>
            </a:r>
          </a:p>
        </p:txBody>
      </p:sp>
      <p:sp>
        <p:nvSpPr>
          <p:cNvPr id="89" name="Shape 151">
            <a:extLst>
              <a:ext uri="{FF2B5EF4-FFF2-40B4-BE49-F238E27FC236}">
                <a16:creationId xmlns:a16="http://schemas.microsoft.com/office/drawing/2014/main" id="{F914C362-4812-4E95-AA5B-EF8A686AF01C}"/>
              </a:ext>
            </a:extLst>
          </p:cNvPr>
          <p:cNvSpPr>
            <a:spLocks noChangeArrowheads="1"/>
          </p:cNvSpPr>
          <p:nvPr/>
        </p:nvSpPr>
        <p:spPr bwMode="auto">
          <a:xfrm>
            <a:off x="4328247" y="3425956"/>
            <a:ext cx="1824085" cy="205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altLang="ru-RU" sz="1000" b="0" i="0" u="none" strike="noStrike" kern="1200" cap="none" spc="0" normalizeH="0" baseline="0" noProof="0" dirty="0" err="1">
                <a:ln>
                  <a:noFill/>
                </a:ln>
                <a:solidFill>
                  <a:schemeClr val="accent1"/>
                </a:solidFill>
                <a:effectLst/>
                <a:uLnTx/>
                <a:uFillTx/>
                <a:latin typeface="Arial"/>
                <a:cs typeface="+mn-ea"/>
                <a:sym typeface="+mn-lt"/>
              </a:rPr>
              <a:t>Fish</a:t>
            </a:r>
            <a:r>
              <a:rPr kumimoji="0" lang="ru-RU" altLang="ru-RU" sz="1000" b="0" i="0" u="none" strike="noStrike" kern="1200" cap="none" spc="0" normalizeH="0" baseline="0" noProof="0" dirty="0">
                <a:ln>
                  <a:noFill/>
                </a:ln>
                <a:solidFill>
                  <a:schemeClr val="accent1"/>
                </a:solidFill>
                <a:effectLst/>
                <a:uLnTx/>
                <a:uFillTx/>
                <a:latin typeface="Arial"/>
                <a:cs typeface="+mn-ea"/>
                <a:sym typeface="+mn-lt"/>
              </a:rPr>
              <a:t> </a:t>
            </a:r>
            <a:r>
              <a:rPr kumimoji="0" lang="ru-RU" altLang="ru-RU" sz="1000" b="0" i="0" u="none" strike="noStrike" kern="1200" cap="none" spc="0" normalizeH="0" baseline="0" noProof="0" dirty="0" err="1">
                <a:ln>
                  <a:noFill/>
                </a:ln>
                <a:solidFill>
                  <a:schemeClr val="accent1"/>
                </a:solidFill>
                <a:effectLst/>
                <a:uLnTx/>
                <a:uFillTx/>
                <a:latin typeface="Arial"/>
                <a:cs typeface="+mn-ea"/>
                <a:sym typeface="+mn-lt"/>
              </a:rPr>
              <a:t>bone</a:t>
            </a:r>
            <a:r>
              <a:rPr kumimoji="0" lang="ru-RU" altLang="ru-RU" sz="1000" b="0" i="0" u="none" strike="noStrike" kern="1200" cap="none" spc="0" normalizeH="0" baseline="0" noProof="0" dirty="0">
                <a:ln>
                  <a:noFill/>
                </a:ln>
                <a:solidFill>
                  <a:schemeClr val="accent1"/>
                </a:solidFill>
                <a:effectLst/>
                <a:uLnTx/>
                <a:uFillTx/>
                <a:latin typeface="Arial"/>
                <a:cs typeface="+mn-ea"/>
                <a:sym typeface="+mn-lt"/>
              </a:rPr>
              <a:t> </a:t>
            </a:r>
            <a:r>
              <a:rPr kumimoji="0" lang="ru-RU" altLang="ru-RU" sz="1000" b="0" i="0" u="none" strike="noStrike" kern="1200" cap="none" spc="0" normalizeH="0" baseline="0" noProof="0" dirty="0" err="1">
                <a:ln>
                  <a:noFill/>
                </a:ln>
                <a:solidFill>
                  <a:schemeClr val="accent1"/>
                </a:solidFill>
                <a:effectLst/>
                <a:uLnTx/>
                <a:uFillTx/>
                <a:latin typeface="Arial"/>
                <a:cs typeface="+mn-ea"/>
                <a:sym typeface="+mn-lt"/>
              </a:rPr>
              <a:t>text</a:t>
            </a:r>
            <a:r>
              <a:rPr kumimoji="0" lang="ru-RU" altLang="ru-RU" sz="1000" b="0" i="0" u="none" strike="noStrike" kern="1200" cap="none" spc="0" normalizeH="0" baseline="0" noProof="0" dirty="0">
                <a:ln>
                  <a:noFill/>
                </a:ln>
                <a:solidFill>
                  <a:schemeClr val="accent1"/>
                </a:solidFill>
                <a:effectLst/>
                <a:uLnTx/>
                <a:uFillTx/>
                <a:latin typeface="Arial"/>
                <a:cs typeface="+mn-ea"/>
                <a:sym typeface="+mn-lt"/>
              </a:rPr>
              <a:t> </a:t>
            </a:r>
            <a:r>
              <a:rPr kumimoji="0" lang="ru-RU" altLang="ru-RU" sz="1000" b="0" i="0" u="none" strike="noStrike" kern="1200" cap="none" spc="0" normalizeH="0" baseline="0" noProof="0" dirty="0" err="1">
                <a:ln>
                  <a:noFill/>
                </a:ln>
                <a:solidFill>
                  <a:schemeClr val="accent1"/>
                </a:solidFill>
                <a:effectLst/>
                <a:uLnTx/>
                <a:uFillTx/>
                <a:latin typeface="Arial"/>
                <a:cs typeface="+mn-ea"/>
                <a:sym typeface="+mn-lt"/>
              </a:rPr>
              <a:t>block</a:t>
            </a:r>
            <a:r>
              <a:rPr kumimoji="0" lang="ru-RU" altLang="ru-RU" sz="1000" b="0" i="0" u="none" strike="noStrike" kern="1200" cap="none" spc="0" normalizeH="0" baseline="0" noProof="0" dirty="0">
                <a:ln>
                  <a:noFill/>
                </a:ln>
                <a:solidFill>
                  <a:schemeClr val="accent1"/>
                </a:solidFill>
                <a:effectLst/>
                <a:uLnTx/>
                <a:uFillTx/>
                <a:latin typeface="Arial"/>
                <a:cs typeface="+mn-ea"/>
                <a:sym typeface="+mn-lt"/>
              </a:rPr>
              <a:t> </a:t>
            </a:r>
          </a:p>
        </p:txBody>
      </p:sp>
      <p:sp>
        <p:nvSpPr>
          <p:cNvPr id="90" name="Shape 152">
            <a:extLst>
              <a:ext uri="{FF2B5EF4-FFF2-40B4-BE49-F238E27FC236}">
                <a16:creationId xmlns:a16="http://schemas.microsoft.com/office/drawing/2014/main" id="{98DF0ACB-D2FB-4FA8-8C02-B89A7E364814}"/>
              </a:ext>
            </a:extLst>
          </p:cNvPr>
          <p:cNvSpPr>
            <a:spLocks noChangeArrowheads="1"/>
          </p:cNvSpPr>
          <p:nvPr/>
        </p:nvSpPr>
        <p:spPr bwMode="auto">
          <a:xfrm>
            <a:off x="3870079" y="3940612"/>
            <a:ext cx="1824085" cy="205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altLang="ru-RU" sz="1000" b="0" i="0" u="none" strike="noStrike" kern="1200" cap="none" spc="0" normalizeH="0" baseline="0" noProof="0">
                <a:ln>
                  <a:noFill/>
                </a:ln>
                <a:solidFill>
                  <a:schemeClr val="accent1"/>
                </a:solidFill>
                <a:effectLst/>
                <a:uLnTx/>
                <a:uFillTx/>
                <a:latin typeface="Arial"/>
                <a:cs typeface="+mn-ea"/>
                <a:sym typeface="+mn-lt"/>
              </a:rPr>
              <a:t>Fish bone text block </a:t>
            </a:r>
          </a:p>
        </p:txBody>
      </p:sp>
      <p:sp>
        <p:nvSpPr>
          <p:cNvPr id="91" name="Shape 153">
            <a:extLst>
              <a:ext uri="{FF2B5EF4-FFF2-40B4-BE49-F238E27FC236}">
                <a16:creationId xmlns:a16="http://schemas.microsoft.com/office/drawing/2014/main" id="{AACDAF4A-DC02-420E-97D8-23C189D72DD3}"/>
              </a:ext>
            </a:extLst>
          </p:cNvPr>
          <p:cNvSpPr>
            <a:spLocks noChangeArrowheads="1"/>
          </p:cNvSpPr>
          <p:nvPr/>
        </p:nvSpPr>
        <p:spPr bwMode="auto">
          <a:xfrm>
            <a:off x="6506123" y="3425956"/>
            <a:ext cx="1824085" cy="205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altLang="ru-RU" sz="1000" b="0" i="0" u="none" strike="noStrike" kern="1200" cap="none" spc="0" normalizeH="0" baseline="0" noProof="0">
                <a:ln>
                  <a:noFill/>
                </a:ln>
                <a:solidFill>
                  <a:schemeClr val="accent1"/>
                </a:solidFill>
                <a:effectLst/>
                <a:uLnTx/>
                <a:uFillTx/>
                <a:latin typeface="Arial"/>
                <a:cs typeface="+mn-ea"/>
                <a:sym typeface="+mn-lt"/>
              </a:rPr>
              <a:t>Fish bone text block </a:t>
            </a:r>
          </a:p>
        </p:txBody>
      </p:sp>
      <p:sp>
        <p:nvSpPr>
          <p:cNvPr id="92" name="Shape 154">
            <a:extLst>
              <a:ext uri="{FF2B5EF4-FFF2-40B4-BE49-F238E27FC236}">
                <a16:creationId xmlns:a16="http://schemas.microsoft.com/office/drawing/2014/main" id="{F3A0E573-9690-4BC4-8759-BAE425D2AE15}"/>
              </a:ext>
            </a:extLst>
          </p:cNvPr>
          <p:cNvSpPr>
            <a:spLocks noChangeArrowheads="1"/>
          </p:cNvSpPr>
          <p:nvPr/>
        </p:nvSpPr>
        <p:spPr bwMode="auto">
          <a:xfrm>
            <a:off x="6047956" y="3940612"/>
            <a:ext cx="1824085" cy="205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altLang="ru-RU" sz="1000" b="0" i="0" u="none" strike="noStrike" kern="1200" cap="none" spc="0" normalizeH="0" baseline="0" noProof="0">
                <a:ln>
                  <a:noFill/>
                </a:ln>
                <a:solidFill>
                  <a:schemeClr val="accent1"/>
                </a:solidFill>
                <a:effectLst/>
                <a:uLnTx/>
                <a:uFillTx/>
                <a:latin typeface="Arial"/>
                <a:cs typeface="+mn-ea"/>
                <a:sym typeface="+mn-lt"/>
              </a:rPr>
              <a:t>Fish bone text block </a:t>
            </a:r>
          </a:p>
        </p:txBody>
      </p:sp>
      <p:sp>
        <p:nvSpPr>
          <p:cNvPr id="93" name="Shape 155">
            <a:extLst>
              <a:ext uri="{FF2B5EF4-FFF2-40B4-BE49-F238E27FC236}">
                <a16:creationId xmlns:a16="http://schemas.microsoft.com/office/drawing/2014/main" id="{184FBF5E-7FBF-46A1-AE00-75B49C001F98}"/>
              </a:ext>
            </a:extLst>
          </p:cNvPr>
          <p:cNvSpPr>
            <a:spLocks/>
          </p:cNvSpPr>
          <p:nvPr/>
        </p:nvSpPr>
        <p:spPr bwMode="auto">
          <a:xfrm>
            <a:off x="5247445" y="4676065"/>
            <a:ext cx="130363" cy="122861"/>
          </a:xfrm>
          <a:custGeom>
            <a:avLst/>
            <a:gdLst>
              <a:gd name="T0" fmla="*/ 18998328 w 21600"/>
              <a:gd name="T1" fmla="*/ 15906903 h 21600"/>
              <a:gd name="T2" fmla="*/ 18998328 w 21600"/>
              <a:gd name="T3" fmla="*/ 15906903 h 21600"/>
              <a:gd name="T4" fmla="*/ 18998328 w 21600"/>
              <a:gd name="T5" fmla="*/ 15906903 h 21600"/>
              <a:gd name="T6" fmla="*/ 18998328 w 21600"/>
              <a:gd name="T7" fmla="*/ 15906903 h 21600"/>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21600" h="21600" extrusionOk="0">
                <a:moveTo>
                  <a:pt x="10901" y="17459"/>
                </a:moveTo>
                <a:lnTo>
                  <a:pt x="17497" y="21600"/>
                </a:lnTo>
                <a:lnTo>
                  <a:pt x="15848" y="13532"/>
                </a:lnTo>
                <a:lnTo>
                  <a:pt x="21600" y="8281"/>
                </a:lnTo>
                <a:lnTo>
                  <a:pt x="13797" y="7428"/>
                </a:lnTo>
                <a:lnTo>
                  <a:pt x="10901" y="0"/>
                </a:lnTo>
                <a:lnTo>
                  <a:pt x="7844" y="7428"/>
                </a:lnTo>
                <a:lnTo>
                  <a:pt x="0" y="8281"/>
                </a:lnTo>
                <a:lnTo>
                  <a:pt x="5993" y="13532"/>
                </a:lnTo>
                <a:lnTo>
                  <a:pt x="4143" y="21600"/>
                </a:lnTo>
                <a:lnTo>
                  <a:pt x="10901" y="17459"/>
                </a:lnTo>
              </a:path>
            </a:pathLst>
          </a:custGeom>
          <a:solidFill>
            <a:schemeClr val="accent1">
              <a:lumMod val="100000"/>
            </a:schemeClr>
          </a:solidFill>
          <a:ln>
            <a:noFill/>
          </a:ln>
        </p:spPr>
        <p:txBody>
          <a:bodyPr lIns="22860" tIns="22860" rIns="22860" bIns="2286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500" b="0" i="0" u="none" strike="noStrike" kern="1200" cap="none" spc="0" normalizeH="0" baseline="0" noProof="0">
              <a:ln>
                <a:noFill/>
              </a:ln>
              <a:solidFill>
                <a:srgbClr val="000000"/>
              </a:solidFill>
              <a:effectLst/>
              <a:uLnTx/>
              <a:uFillTx/>
              <a:latin typeface="Arial"/>
              <a:cs typeface="+mn-ea"/>
              <a:sym typeface="+mn-lt"/>
            </a:endParaRPr>
          </a:p>
        </p:txBody>
      </p:sp>
      <p:sp>
        <p:nvSpPr>
          <p:cNvPr id="94" name="Shape 156">
            <a:extLst>
              <a:ext uri="{FF2B5EF4-FFF2-40B4-BE49-F238E27FC236}">
                <a16:creationId xmlns:a16="http://schemas.microsoft.com/office/drawing/2014/main" id="{8A25E377-CF37-4CD6-B11C-93A34F64837C}"/>
              </a:ext>
            </a:extLst>
          </p:cNvPr>
          <p:cNvSpPr>
            <a:spLocks/>
          </p:cNvSpPr>
          <p:nvPr/>
        </p:nvSpPr>
        <p:spPr bwMode="auto">
          <a:xfrm>
            <a:off x="6360017" y="1096531"/>
            <a:ext cx="127916" cy="129283"/>
          </a:xfrm>
          <a:custGeom>
            <a:avLst/>
            <a:gdLst>
              <a:gd name="T0" fmla="*/ 18033594 w 21549"/>
              <a:gd name="T1" fmla="*/ 18533957 h 21600"/>
              <a:gd name="T2" fmla="*/ 18033594 w 21549"/>
              <a:gd name="T3" fmla="*/ 18533957 h 21600"/>
              <a:gd name="T4" fmla="*/ 18033594 w 21549"/>
              <a:gd name="T5" fmla="*/ 18533957 h 21600"/>
              <a:gd name="T6" fmla="*/ 18033594 w 21549"/>
              <a:gd name="T7" fmla="*/ 18533957 h 21600"/>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21549" h="21600" extrusionOk="0">
                <a:moveTo>
                  <a:pt x="18684" y="11815"/>
                </a:moveTo>
                <a:cubicBezTo>
                  <a:pt x="18684" y="11612"/>
                  <a:pt x="18890" y="11206"/>
                  <a:pt x="18890" y="10800"/>
                </a:cubicBezTo>
                <a:cubicBezTo>
                  <a:pt x="18890" y="10394"/>
                  <a:pt x="18890" y="9947"/>
                  <a:pt x="18684" y="9744"/>
                </a:cubicBezTo>
                <a:lnTo>
                  <a:pt x="20984" y="7877"/>
                </a:lnTo>
                <a:cubicBezTo>
                  <a:pt x="21395" y="7674"/>
                  <a:pt x="21395" y="7471"/>
                  <a:pt x="21189" y="7268"/>
                </a:cubicBezTo>
                <a:lnTo>
                  <a:pt x="19095" y="3329"/>
                </a:lnTo>
                <a:cubicBezTo>
                  <a:pt x="18890" y="3329"/>
                  <a:pt x="18684" y="3126"/>
                  <a:pt x="18233" y="3329"/>
                </a:cubicBezTo>
                <a:lnTo>
                  <a:pt x="15522" y="4344"/>
                </a:lnTo>
                <a:cubicBezTo>
                  <a:pt x="15112" y="3938"/>
                  <a:pt x="14455" y="3735"/>
                  <a:pt x="13633" y="3329"/>
                </a:cubicBezTo>
                <a:lnTo>
                  <a:pt x="13223" y="406"/>
                </a:lnTo>
                <a:cubicBezTo>
                  <a:pt x="13428" y="203"/>
                  <a:pt x="13017" y="0"/>
                  <a:pt x="12771" y="0"/>
                </a:cubicBezTo>
                <a:lnTo>
                  <a:pt x="8377" y="0"/>
                </a:lnTo>
                <a:cubicBezTo>
                  <a:pt x="8172" y="0"/>
                  <a:pt x="7967" y="203"/>
                  <a:pt x="7967" y="406"/>
                </a:cubicBezTo>
                <a:lnTo>
                  <a:pt x="7556" y="3329"/>
                </a:lnTo>
                <a:cubicBezTo>
                  <a:pt x="6694" y="3532"/>
                  <a:pt x="6283" y="3938"/>
                  <a:pt x="5667" y="4344"/>
                </a:cubicBezTo>
                <a:lnTo>
                  <a:pt x="2916" y="3329"/>
                </a:lnTo>
                <a:cubicBezTo>
                  <a:pt x="2710" y="3126"/>
                  <a:pt x="2505" y="3329"/>
                  <a:pt x="2300" y="3532"/>
                </a:cubicBezTo>
                <a:lnTo>
                  <a:pt x="0" y="7268"/>
                </a:lnTo>
                <a:cubicBezTo>
                  <a:pt x="0" y="7471"/>
                  <a:pt x="0" y="7674"/>
                  <a:pt x="205" y="7877"/>
                </a:cubicBezTo>
                <a:lnTo>
                  <a:pt x="2505" y="9744"/>
                </a:lnTo>
                <a:cubicBezTo>
                  <a:pt x="2505" y="9947"/>
                  <a:pt x="2505" y="10394"/>
                  <a:pt x="2505" y="10800"/>
                </a:cubicBezTo>
                <a:cubicBezTo>
                  <a:pt x="2505" y="11206"/>
                  <a:pt x="2505" y="11612"/>
                  <a:pt x="2505" y="11815"/>
                </a:cubicBezTo>
                <a:lnTo>
                  <a:pt x="205" y="13683"/>
                </a:lnTo>
                <a:cubicBezTo>
                  <a:pt x="0" y="13926"/>
                  <a:pt x="0" y="14129"/>
                  <a:pt x="205" y="14332"/>
                </a:cubicBezTo>
                <a:lnTo>
                  <a:pt x="2300" y="18271"/>
                </a:lnTo>
                <a:cubicBezTo>
                  <a:pt x="2505" y="18271"/>
                  <a:pt x="2710" y="18474"/>
                  <a:pt x="2916" y="18271"/>
                </a:cubicBezTo>
                <a:lnTo>
                  <a:pt x="5667" y="17215"/>
                </a:lnTo>
                <a:cubicBezTo>
                  <a:pt x="6283" y="17621"/>
                  <a:pt x="6899" y="18068"/>
                  <a:pt x="7556" y="18271"/>
                </a:cubicBezTo>
                <a:lnTo>
                  <a:pt x="7967" y="21153"/>
                </a:lnTo>
                <a:cubicBezTo>
                  <a:pt x="7967" y="21356"/>
                  <a:pt x="8172" y="21600"/>
                  <a:pt x="8583" y="21600"/>
                </a:cubicBezTo>
                <a:lnTo>
                  <a:pt x="13017" y="21600"/>
                </a:lnTo>
                <a:cubicBezTo>
                  <a:pt x="13223" y="21600"/>
                  <a:pt x="13428" y="21356"/>
                  <a:pt x="13428" y="21153"/>
                </a:cubicBezTo>
                <a:lnTo>
                  <a:pt x="13839" y="18271"/>
                </a:lnTo>
                <a:cubicBezTo>
                  <a:pt x="14660" y="18068"/>
                  <a:pt x="15317" y="17621"/>
                  <a:pt x="15728" y="17215"/>
                </a:cubicBezTo>
                <a:lnTo>
                  <a:pt x="18438" y="18271"/>
                </a:lnTo>
                <a:cubicBezTo>
                  <a:pt x="18684" y="18474"/>
                  <a:pt x="19095" y="18271"/>
                  <a:pt x="19300" y="18068"/>
                </a:cubicBezTo>
                <a:lnTo>
                  <a:pt x="21395" y="14332"/>
                </a:lnTo>
                <a:cubicBezTo>
                  <a:pt x="21600" y="14129"/>
                  <a:pt x="21600" y="13683"/>
                  <a:pt x="21395" y="13683"/>
                </a:cubicBezTo>
                <a:lnTo>
                  <a:pt x="18684" y="11815"/>
                </a:lnTo>
                <a:close/>
                <a:moveTo>
                  <a:pt x="10677" y="14535"/>
                </a:moveTo>
                <a:cubicBezTo>
                  <a:pt x="8583" y="14535"/>
                  <a:pt x="6694" y="12871"/>
                  <a:pt x="6694" y="10800"/>
                </a:cubicBezTo>
                <a:cubicBezTo>
                  <a:pt x="6694" y="8729"/>
                  <a:pt x="8583" y="7065"/>
                  <a:pt x="10677" y="7065"/>
                </a:cubicBezTo>
                <a:cubicBezTo>
                  <a:pt x="12771" y="7065"/>
                  <a:pt x="14455" y="8729"/>
                  <a:pt x="14455" y="10800"/>
                </a:cubicBezTo>
                <a:cubicBezTo>
                  <a:pt x="14455" y="12871"/>
                  <a:pt x="12771" y="14535"/>
                  <a:pt x="10677" y="14535"/>
                </a:cubicBezTo>
                <a:close/>
              </a:path>
            </a:pathLst>
          </a:custGeom>
          <a:solidFill>
            <a:schemeClr val="accent1">
              <a:lumMod val="100000"/>
            </a:schemeClr>
          </a:solidFill>
          <a:ln>
            <a:noFill/>
          </a:ln>
        </p:spPr>
        <p:txBody>
          <a:bodyPr lIns="22860" tIns="22860" rIns="22860" bIns="2286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500" b="0" i="0" u="none" strike="noStrike" kern="1200" cap="none" spc="0" normalizeH="0" baseline="0" noProof="0">
              <a:ln>
                <a:noFill/>
              </a:ln>
              <a:solidFill>
                <a:srgbClr val="000000"/>
              </a:solidFill>
              <a:effectLst/>
              <a:uLnTx/>
              <a:uFillTx/>
              <a:latin typeface="Arial"/>
              <a:cs typeface="+mn-ea"/>
              <a:sym typeface="+mn-lt"/>
            </a:endParaRPr>
          </a:p>
        </p:txBody>
      </p:sp>
      <p:sp>
        <p:nvSpPr>
          <p:cNvPr id="95" name="Shape 157">
            <a:extLst>
              <a:ext uri="{FF2B5EF4-FFF2-40B4-BE49-F238E27FC236}">
                <a16:creationId xmlns:a16="http://schemas.microsoft.com/office/drawing/2014/main" id="{452FC5FB-5976-4AFA-AAC7-121949B47C0C}"/>
              </a:ext>
            </a:extLst>
          </p:cNvPr>
          <p:cNvSpPr>
            <a:spLocks/>
          </p:cNvSpPr>
          <p:nvPr/>
        </p:nvSpPr>
        <p:spPr bwMode="auto">
          <a:xfrm>
            <a:off x="3099267" y="4676909"/>
            <a:ext cx="127916" cy="117466"/>
          </a:xfrm>
          <a:custGeom>
            <a:avLst/>
            <a:gdLst>
              <a:gd name="T0" fmla="*/ 17948527 w 21600"/>
              <a:gd name="T1" fmla="*/ 13902014 h 21600"/>
              <a:gd name="T2" fmla="*/ 17948527 w 21600"/>
              <a:gd name="T3" fmla="*/ 13902014 h 21600"/>
              <a:gd name="T4" fmla="*/ 17948527 w 21600"/>
              <a:gd name="T5" fmla="*/ 13902014 h 21600"/>
              <a:gd name="T6" fmla="*/ 17948527 w 21600"/>
              <a:gd name="T7" fmla="*/ 13902014 h 21600"/>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21600" h="21600" extrusionOk="0">
                <a:moveTo>
                  <a:pt x="0" y="21600"/>
                </a:moveTo>
                <a:lnTo>
                  <a:pt x="3950" y="21600"/>
                </a:lnTo>
                <a:lnTo>
                  <a:pt x="3950" y="8656"/>
                </a:lnTo>
                <a:lnTo>
                  <a:pt x="0" y="8656"/>
                </a:lnTo>
                <a:lnTo>
                  <a:pt x="0" y="21600"/>
                </a:lnTo>
                <a:close/>
                <a:moveTo>
                  <a:pt x="21600" y="9649"/>
                </a:moveTo>
                <a:cubicBezTo>
                  <a:pt x="21600" y="8418"/>
                  <a:pt x="20658" y="7624"/>
                  <a:pt x="19534" y="7624"/>
                </a:cubicBezTo>
                <a:lnTo>
                  <a:pt x="13337" y="7624"/>
                </a:lnTo>
                <a:lnTo>
                  <a:pt x="14460" y="2462"/>
                </a:lnTo>
                <a:lnTo>
                  <a:pt x="14460" y="2263"/>
                </a:lnTo>
                <a:cubicBezTo>
                  <a:pt x="14460" y="1826"/>
                  <a:pt x="14279" y="1429"/>
                  <a:pt x="14098" y="1032"/>
                </a:cubicBezTo>
                <a:lnTo>
                  <a:pt x="12974" y="0"/>
                </a:lnTo>
                <a:lnTo>
                  <a:pt x="6379" y="6988"/>
                </a:lnTo>
                <a:cubicBezTo>
                  <a:pt x="6016" y="7385"/>
                  <a:pt x="5835" y="8021"/>
                  <a:pt x="5835" y="8656"/>
                </a:cubicBezTo>
                <a:lnTo>
                  <a:pt x="5835" y="19337"/>
                </a:lnTo>
                <a:cubicBezTo>
                  <a:pt x="5835" y="20568"/>
                  <a:pt x="6777" y="21600"/>
                  <a:pt x="7901" y="21600"/>
                </a:cubicBezTo>
                <a:lnTo>
                  <a:pt x="16707" y="21600"/>
                </a:lnTo>
                <a:cubicBezTo>
                  <a:pt x="17468" y="21600"/>
                  <a:pt x="18230" y="21004"/>
                  <a:pt x="18411" y="20171"/>
                </a:cubicBezTo>
                <a:lnTo>
                  <a:pt x="21419" y="12547"/>
                </a:lnTo>
                <a:cubicBezTo>
                  <a:pt x="21419" y="12349"/>
                  <a:pt x="21419" y="12150"/>
                  <a:pt x="21419" y="11713"/>
                </a:cubicBezTo>
                <a:lnTo>
                  <a:pt x="21419" y="9649"/>
                </a:lnTo>
                <a:lnTo>
                  <a:pt x="21600" y="9649"/>
                </a:lnTo>
                <a:close/>
              </a:path>
            </a:pathLst>
          </a:custGeom>
          <a:solidFill>
            <a:schemeClr val="accent1">
              <a:lumMod val="100000"/>
            </a:schemeClr>
          </a:solidFill>
          <a:ln>
            <a:noFill/>
          </a:ln>
        </p:spPr>
        <p:txBody>
          <a:bodyPr lIns="22860" tIns="22860" rIns="22860" bIns="2286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500" b="0" i="0" u="none" strike="noStrike" kern="1200" cap="none" spc="0" normalizeH="0" baseline="0" noProof="0">
              <a:ln>
                <a:noFill/>
              </a:ln>
              <a:solidFill>
                <a:srgbClr val="000000"/>
              </a:solidFill>
              <a:effectLst/>
              <a:uLnTx/>
              <a:uFillTx/>
              <a:latin typeface="Arial"/>
              <a:cs typeface="+mn-ea"/>
              <a:sym typeface="+mn-lt"/>
            </a:endParaRPr>
          </a:p>
        </p:txBody>
      </p:sp>
      <p:sp>
        <p:nvSpPr>
          <p:cNvPr id="96" name="Shape 158">
            <a:extLst>
              <a:ext uri="{FF2B5EF4-FFF2-40B4-BE49-F238E27FC236}">
                <a16:creationId xmlns:a16="http://schemas.microsoft.com/office/drawing/2014/main" id="{B6A9242E-4D1B-4428-B365-D7CD8F4A2E0E}"/>
              </a:ext>
            </a:extLst>
          </p:cNvPr>
          <p:cNvSpPr>
            <a:spLocks/>
          </p:cNvSpPr>
          <p:nvPr/>
        </p:nvSpPr>
        <p:spPr bwMode="auto">
          <a:xfrm>
            <a:off x="4187689" y="1111957"/>
            <a:ext cx="144059" cy="98429"/>
          </a:xfrm>
          <a:custGeom>
            <a:avLst/>
            <a:gdLst>
              <a:gd name="T0" fmla="*/ 25637706 w 21600"/>
              <a:gd name="T1" fmla="*/ 8179297 h 21600"/>
              <a:gd name="T2" fmla="*/ 25637706 w 21600"/>
              <a:gd name="T3" fmla="*/ 8179297 h 21600"/>
              <a:gd name="T4" fmla="*/ 25637706 w 21600"/>
              <a:gd name="T5" fmla="*/ 8179297 h 21600"/>
              <a:gd name="T6" fmla="*/ 25637706 w 21600"/>
              <a:gd name="T7" fmla="*/ 8179297 h 21600"/>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21600" h="21600" extrusionOk="0">
                <a:moveTo>
                  <a:pt x="10710" y="0"/>
                </a:moveTo>
                <a:cubicBezTo>
                  <a:pt x="5825" y="0"/>
                  <a:pt x="1520" y="4689"/>
                  <a:pt x="0" y="10958"/>
                </a:cubicBezTo>
                <a:cubicBezTo>
                  <a:pt x="1520" y="17227"/>
                  <a:pt x="5825" y="21600"/>
                  <a:pt x="10710" y="21600"/>
                </a:cubicBezTo>
                <a:cubicBezTo>
                  <a:pt x="15594" y="21600"/>
                  <a:pt x="19899" y="17227"/>
                  <a:pt x="21600" y="10958"/>
                </a:cubicBezTo>
                <a:cubicBezTo>
                  <a:pt x="19899" y="4689"/>
                  <a:pt x="15594" y="0"/>
                  <a:pt x="10710" y="0"/>
                </a:cubicBezTo>
                <a:close/>
                <a:moveTo>
                  <a:pt x="10710" y="18070"/>
                </a:moveTo>
                <a:cubicBezTo>
                  <a:pt x="7887" y="18070"/>
                  <a:pt x="5825" y="14909"/>
                  <a:pt x="5825" y="10958"/>
                </a:cubicBezTo>
                <a:cubicBezTo>
                  <a:pt x="5825" y="7007"/>
                  <a:pt x="7887" y="3846"/>
                  <a:pt x="10710" y="3846"/>
                </a:cubicBezTo>
                <a:cubicBezTo>
                  <a:pt x="13532" y="3846"/>
                  <a:pt x="15594" y="7007"/>
                  <a:pt x="15594" y="10958"/>
                </a:cubicBezTo>
                <a:cubicBezTo>
                  <a:pt x="15594" y="14909"/>
                  <a:pt x="13532" y="18070"/>
                  <a:pt x="10710" y="18070"/>
                </a:cubicBezTo>
                <a:close/>
                <a:moveTo>
                  <a:pt x="10710" y="6585"/>
                </a:moveTo>
                <a:cubicBezTo>
                  <a:pt x="9009" y="6585"/>
                  <a:pt x="7707" y="8482"/>
                  <a:pt x="7707" y="10958"/>
                </a:cubicBezTo>
                <a:cubicBezTo>
                  <a:pt x="7707" y="13381"/>
                  <a:pt x="9009" y="15067"/>
                  <a:pt x="10710" y="15067"/>
                </a:cubicBezTo>
                <a:cubicBezTo>
                  <a:pt x="12410" y="15067"/>
                  <a:pt x="13713" y="13381"/>
                  <a:pt x="13713" y="10958"/>
                </a:cubicBezTo>
                <a:cubicBezTo>
                  <a:pt x="13713" y="8482"/>
                  <a:pt x="12410" y="6585"/>
                  <a:pt x="10710" y="6585"/>
                </a:cubicBezTo>
                <a:close/>
              </a:path>
            </a:pathLst>
          </a:custGeom>
          <a:solidFill>
            <a:schemeClr val="accent1">
              <a:lumMod val="100000"/>
            </a:schemeClr>
          </a:solidFill>
          <a:ln>
            <a:noFill/>
          </a:ln>
        </p:spPr>
        <p:txBody>
          <a:bodyPr lIns="22860" tIns="22860" rIns="22860" bIns="2286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500" b="0" i="0" u="none" strike="noStrike" kern="1200" cap="none" spc="0" normalizeH="0" baseline="0" noProof="0">
              <a:ln>
                <a:noFill/>
              </a:ln>
              <a:solidFill>
                <a:srgbClr val="000000"/>
              </a:solidFill>
              <a:effectLst/>
              <a:uLnTx/>
              <a:uFillTx/>
              <a:latin typeface="Arial"/>
              <a:cs typeface="+mn-ea"/>
              <a:sym typeface="+mn-lt"/>
            </a:endParaRPr>
          </a:p>
        </p:txBody>
      </p:sp>
      <p:sp>
        <p:nvSpPr>
          <p:cNvPr id="97" name="Shape 160">
            <a:extLst>
              <a:ext uri="{FF2B5EF4-FFF2-40B4-BE49-F238E27FC236}">
                <a16:creationId xmlns:a16="http://schemas.microsoft.com/office/drawing/2014/main" id="{3ABA6A81-4259-4BA5-B7CD-3F153022F04B}"/>
              </a:ext>
            </a:extLst>
          </p:cNvPr>
          <p:cNvSpPr>
            <a:spLocks noChangeShapeType="1"/>
          </p:cNvSpPr>
          <p:nvPr/>
        </p:nvSpPr>
        <p:spPr bwMode="auto">
          <a:xfrm flipH="1" flipV="1">
            <a:off x="2022490" y="1328095"/>
            <a:ext cx="1483996" cy="1622930"/>
          </a:xfrm>
          <a:prstGeom prst="line">
            <a:avLst/>
          </a:prstGeom>
          <a:noFill/>
          <a:ln w="63500">
            <a:solidFill>
              <a:schemeClr val="accent1">
                <a:lumMod val="100000"/>
              </a:schemeClr>
            </a:solidFill>
            <a:miter lim="400000"/>
            <a:headEnd/>
            <a:tailEnd/>
          </a:ln>
          <a:extLst>
            <a:ext uri="{909E8E84-426E-40DD-AFC4-6F175D3DCCD1}">
              <a14:hiddenFill xmlns:a14="http://schemas.microsoft.com/office/drawing/2010/main">
                <a:noFill/>
              </a14:hiddenFill>
            </a:ext>
          </a:extLst>
        </p:spPr>
        <p:txBody>
          <a:bodyPr lIns="25400" tIns="25400" rIns="25400" bIns="254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500" b="0" i="0" u="none" strike="noStrike" kern="1200" cap="none" spc="0" normalizeH="0" baseline="0" noProof="0">
              <a:ln>
                <a:noFill/>
              </a:ln>
              <a:solidFill>
                <a:srgbClr val="000000"/>
              </a:solidFill>
              <a:effectLst/>
              <a:uLnTx/>
              <a:uFillTx/>
              <a:latin typeface="Arial"/>
              <a:cs typeface="+mn-ea"/>
              <a:sym typeface="+mn-lt"/>
            </a:endParaRPr>
          </a:p>
        </p:txBody>
      </p:sp>
      <p:sp>
        <p:nvSpPr>
          <p:cNvPr id="98" name="Shape 161">
            <a:extLst>
              <a:ext uri="{FF2B5EF4-FFF2-40B4-BE49-F238E27FC236}">
                <a16:creationId xmlns:a16="http://schemas.microsoft.com/office/drawing/2014/main" id="{4E3C560F-1522-40D7-BC5E-BDF168FABBD7}"/>
              </a:ext>
            </a:extLst>
          </p:cNvPr>
          <p:cNvSpPr>
            <a:spLocks noChangeArrowheads="1"/>
          </p:cNvSpPr>
          <p:nvPr/>
        </p:nvSpPr>
        <p:spPr bwMode="auto">
          <a:xfrm>
            <a:off x="3438134" y="2882119"/>
            <a:ext cx="158561" cy="158549"/>
          </a:xfrm>
          <a:prstGeom prst="ellipse">
            <a:avLst/>
          </a:prstGeom>
          <a:solidFill>
            <a:srgbClr val="FFFFFF"/>
          </a:solidFill>
          <a:ln w="63500">
            <a:solidFill>
              <a:schemeClr val="accent1">
                <a:lumMod val="100000"/>
              </a:schemeClr>
            </a:solidFill>
            <a:miter lim="400000"/>
            <a:headEnd/>
            <a:tailEnd/>
          </a:ln>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FFFFFF"/>
              </a:solidFill>
              <a:effectLst/>
              <a:uLnTx/>
              <a:uFillTx/>
              <a:latin typeface="Arial"/>
              <a:cs typeface="+mn-ea"/>
              <a:sym typeface="+mn-lt"/>
            </a:endParaRPr>
          </a:p>
        </p:txBody>
      </p:sp>
      <p:sp>
        <p:nvSpPr>
          <p:cNvPr id="99" name="Shape 162">
            <a:extLst>
              <a:ext uri="{FF2B5EF4-FFF2-40B4-BE49-F238E27FC236}">
                <a16:creationId xmlns:a16="http://schemas.microsoft.com/office/drawing/2014/main" id="{638D43F9-B5FC-498E-BBFE-F49FA09F42A8}"/>
              </a:ext>
            </a:extLst>
          </p:cNvPr>
          <p:cNvSpPr>
            <a:spLocks noChangeArrowheads="1"/>
          </p:cNvSpPr>
          <p:nvPr/>
        </p:nvSpPr>
        <p:spPr bwMode="auto">
          <a:xfrm>
            <a:off x="1821380" y="980988"/>
            <a:ext cx="1676640" cy="360368"/>
          </a:xfrm>
          <a:prstGeom prst="roundRect">
            <a:avLst>
              <a:gd name="adj" fmla="val 50000"/>
            </a:avLst>
          </a:prstGeom>
          <a:solidFill>
            <a:schemeClr val="accent1">
              <a:lumMod val="100000"/>
            </a:schemeClr>
          </a:solidFill>
          <a:ln>
            <a:noFill/>
          </a:ln>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FFFFFF"/>
              </a:solidFill>
              <a:effectLst/>
              <a:uLnTx/>
              <a:uFillTx/>
              <a:latin typeface="Arial"/>
              <a:cs typeface="+mn-ea"/>
              <a:sym typeface="+mn-lt"/>
            </a:endParaRPr>
          </a:p>
        </p:txBody>
      </p:sp>
      <p:sp>
        <p:nvSpPr>
          <p:cNvPr id="100" name="Shape 163">
            <a:extLst>
              <a:ext uri="{FF2B5EF4-FFF2-40B4-BE49-F238E27FC236}">
                <a16:creationId xmlns:a16="http://schemas.microsoft.com/office/drawing/2014/main" id="{E5BE778C-9E14-433F-92EA-02E8ED166AAE}"/>
              </a:ext>
            </a:extLst>
          </p:cNvPr>
          <p:cNvSpPr>
            <a:spLocks noChangeArrowheads="1"/>
          </p:cNvSpPr>
          <p:nvPr/>
        </p:nvSpPr>
        <p:spPr bwMode="auto">
          <a:xfrm>
            <a:off x="2193979" y="1047451"/>
            <a:ext cx="1171468" cy="2128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altLang="ru-RU" sz="1050" b="1" i="0" u="none" strike="noStrike" kern="1200" cap="none" spc="0" normalizeH="0" baseline="0" noProof="0">
                <a:ln>
                  <a:noFill/>
                </a:ln>
                <a:solidFill>
                  <a:srgbClr val="FFFFFF"/>
                </a:solidFill>
                <a:effectLst/>
                <a:uLnTx/>
                <a:uFillTx/>
                <a:latin typeface="Arial"/>
                <a:cs typeface="+mn-ea"/>
                <a:sym typeface="+mn-lt"/>
              </a:rPr>
              <a:t>Information text</a:t>
            </a:r>
          </a:p>
        </p:txBody>
      </p:sp>
      <p:sp>
        <p:nvSpPr>
          <p:cNvPr id="101" name="Shape 164">
            <a:extLst>
              <a:ext uri="{FF2B5EF4-FFF2-40B4-BE49-F238E27FC236}">
                <a16:creationId xmlns:a16="http://schemas.microsoft.com/office/drawing/2014/main" id="{3DC5D855-FDD2-4425-8FAE-334E93E38170}"/>
              </a:ext>
            </a:extLst>
          </p:cNvPr>
          <p:cNvSpPr>
            <a:spLocks noChangeArrowheads="1"/>
          </p:cNvSpPr>
          <p:nvPr/>
        </p:nvSpPr>
        <p:spPr bwMode="auto">
          <a:xfrm>
            <a:off x="1855629" y="1015969"/>
            <a:ext cx="290426" cy="290405"/>
          </a:xfrm>
          <a:prstGeom prst="ellipse">
            <a:avLst/>
          </a:prstGeom>
          <a:solidFill>
            <a:srgbClr val="FFFFFF"/>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FFFFFF"/>
              </a:solidFill>
              <a:effectLst/>
              <a:uLnTx/>
              <a:uFillTx/>
              <a:latin typeface="Arial"/>
              <a:cs typeface="+mn-ea"/>
              <a:sym typeface="+mn-lt"/>
            </a:endParaRPr>
          </a:p>
        </p:txBody>
      </p:sp>
      <p:sp>
        <p:nvSpPr>
          <p:cNvPr id="102" name="Shape 165">
            <a:extLst>
              <a:ext uri="{FF2B5EF4-FFF2-40B4-BE49-F238E27FC236}">
                <a16:creationId xmlns:a16="http://schemas.microsoft.com/office/drawing/2014/main" id="{25373D60-C839-4FBF-81A5-7FAD135C295F}"/>
              </a:ext>
            </a:extLst>
          </p:cNvPr>
          <p:cNvSpPr>
            <a:spLocks noChangeArrowheads="1"/>
          </p:cNvSpPr>
          <p:nvPr/>
        </p:nvSpPr>
        <p:spPr bwMode="auto">
          <a:xfrm>
            <a:off x="2450610" y="1808462"/>
            <a:ext cx="104155" cy="104148"/>
          </a:xfrm>
          <a:prstGeom prst="ellipse">
            <a:avLst/>
          </a:prstGeom>
          <a:solidFill>
            <a:schemeClr val="accent1">
              <a:lumMod val="100000"/>
            </a:schemeClr>
          </a:solidFill>
          <a:ln>
            <a:noFill/>
          </a:ln>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FFFFFF"/>
              </a:solidFill>
              <a:effectLst/>
              <a:uLnTx/>
              <a:uFillTx/>
              <a:latin typeface="Arial"/>
              <a:cs typeface="+mn-ea"/>
              <a:sym typeface="+mn-lt"/>
            </a:endParaRPr>
          </a:p>
        </p:txBody>
      </p:sp>
      <p:sp>
        <p:nvSpPr>
          <p:cNvPr id="103" name="Shape 166">
            <a:extLst>
              <a:ext uri="{FF2B5EF4-FFF2-40B4-BE49-F238E27FC236}">
                <a16:creationId xmlns:a16="http://schemas.microsoft.com/office/drawing/2014/main" id="{059D8B30-D9CD-49CA-8622-4596BE7E9CF8}"/>
              </a:ext>
            </a:extLst>
          </p:cNvPr>
          <p:cNvSpPr>
            <a:spLocks noChangeArrowheads="1"/>
          </p:cNvSpPr>
          <p:nvPr/>
        </p:nvSpPr>
        <p:spPr bwMode="auto">
          <a:xfrm>
            <a:off x="2926674" y="2327324"/>
            <a:ext cx="104155" cy="104148"/>
          </a:xfrm>
          <a:prstGeom prst="ellipse">
            <a:avLst/>
          </a:prstGeom>
          <a:solidFill>
            <a:schemeClr val="accent1">
              <a:lumMod val="100000"/>
            </a:schemeClr>
          </a:solidFill>
          <a:ln>
            <a:noFill/>
          </a:ln>
        </p:spPr>
        <p:txBody>
          <a:bodyPr lIns="25400" tIns="25400" rIns="25400" bIns="2540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altLang="ru-RU" sz="1600" b="0" i="0" u="none" strike="noStrike" kern="1200" cap="none" spc="0" normalizeH="0" baseline="0" noProof="0">
              <a:ln>
                <a:noFill/>
              </a:ln>
              <a:solidFill>
                <a:srgbClr val="FFFFFF"/>
              </a:solidFill>
              <a:effectLst/>
              <a:uLnTx/>
              <a:uFillTx/>
              <a:latin typeface="Arial"/>
              <a:cs typeface="+mn-ea"/>
              <a:sym typeface="+mn-lt"/>
            </a:endParaRPr>
          </a:p>
        </p:txBody>
      </p:sp>
      <p:sp>
        <p:nvSpPr>
          <p:cNvPr id="104" name="Shape 167">
            <a:extLst>
              <a:ext uri="{FF2B5EF4-FFF2-40B4-BE49-F238E27FC236}">
                <a16:creationId xmlns:a16="http://schemas.microsoft.com/office/drawing/2014/main" id="{0A0DCE34-DA3D-4766-B49D-0B519D38C53B}"/>
              </a:ext>
            </a:extLst>
          </p:cNvPr>
          <p:cNvSpPr>
            <a:spLocks noChangeArrowheads="1"/>
          </p:cNvSpPr>
          <p:nvPr/>
        </p:nvSpPr>
        <p:spPr bwMode="auto">
          <a:xfrm>
            <a:off x="2678388" y="1757944"/>
            <a:ext cx="1824085" cy="205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altLang="ru-RU" sz="1000" b="0" i="0" u="none" strike="noStrike" kern="1200" cap="none" spc="0" normalizeH="0" baseline="0" noProof="0">
                <a:ln>
                  <a:noFill/>
                </a:ln>
                <a:solidFill>
                  <a:schemeClr val="accent1"/>
                </a:solidFill>
                <a:effectLst/>
                <a:uLnTx/>
                <a:uFillTx/>
                <a:latin typeface="Arial"/>
                <a:cs typeface="+mn-ea"/>
                <a:sym typeface="+mn-lt"/>
              </a:rPr>
              <a:t>Fish bone text block </a:t>
            </a:r>
          </a:p>
        </p:txBody>
      </p:sp>
      <p:sp>
        <p:nvSpPr>
          <p:cNvPr id="105" name="Shape 168">
            <a:extLst>
              <a:ext uri="{FF2B5EF4-FFF2-40B4-BE49-F238E27FC236}">
                <a16:creationId xmlns:a16="http://schemas.microsoft.com/office/drawing/2014/main" id="{D7D0BD94-D1A3-432A-9BEF-BEFA9D4BFAE2}"/>
              </a:ext>
            </a:extLst>
          </p:cNvPr>
          <p:cNvSpPr>
            <a:spLocks noChangeArrowheads="1"/>
          </p:cNvSpPr>
          <p:nvPr/>
        </p:nvSpPr>
        <p:spPr bwMode="auto">
          <a:xfrm>
            <a:off x="3153595" y="2272599"/>
            <a:ext cx="1824085" cy="205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altLang="ru-RU" sz="1000" b="0" i="0" u="none" strike="noStrike" kern="1200" cap="none" spc="0" normalizeH="0" baseline="0" noProof="0">
                <a:ln>
                  <a:noFill/>
                </a:ln>
                <a:solidFill>
                  <a:schemeClr val="accent1"/>
                </a:solidFill>
                <a:effectLst/>
                <a:uLnTx/>
                <a:uFillTx/>
                <a:latin typeface="Arial"/>
                <a:cs typeface="+mn-ea"/>
                <a:sym typeface="+mn-lt"/>
              </a:rPr>
              <a:t>Fish bone text block </a:t>
            </a:r>
          </a:p>
        </p:txBody>
      </p:sp>
      <p:sp>
        <p:nvSpPr>
          <p:cNvPr id="106" name="Shape 169">
            <a:extLst>
              <a:ext uri="{FF2B5EF4-FFF2-40B4-BE49-F238E27FC236}">
                <a16:creationId xmlns:a16="http://schemas.microsoft.com/office/drawing/2014/main" id="{D0914C3E-F750-47A2-BE37-3C2896E0E919}"/>
              </a:ext>
            </a:extLst>
          </p:cNvPr>
          <p:cNvSpPr>
            <a:spLocks/>
          </p:cNvSpPr>
          <p:nvPr/>
        </p:nvSpPr>
        <p:spPr bwMode="auto">
          <a:xfrm>
            <a:off x="1934802" y="1111957"/>
            <a:ext cx="144059" cy="98429"/>
          </a:xfrm>
          <a:custGeom>
            <a:avLst/>
            <a:gdLst>
              <a:gd name="T0" fmla="*/ 25637706 w 21600"/>
              <a:gd name="T1" fmla="*/ 8179297 h 21600"/>
              <a:gd name="T2" fmla="*/ 25637706 w 21600"/>
              <a:gd name="T3" fmla="*/ 8179297 h 21600"/>
              <a:gd name="T4" fmla="*/ 25637706 w 21600"/>
              <a:gd name="T5" fmla="*/ 8179297 h 21600"/>
              <a:gd name="T6" fmla="*/ 25637706 w 21600"/>
              <a:gd name="T7" fmla="*/ 8179297 h 21600"/>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21600" h="21600" extrusionOk="0">
                <a:moveTo>
                  <a:pt x="10710" y="0"/>
                </a:moveTo>
                <a:cubicBezTo>
                  <a:pt x="5825" y="0"/>
                  <a:pt x="1520" y="4689"/>
                  <a:pt x="0" y="10958"/>
                </a:cubicBezTo>
                <a:cubicBezTo>
                  <a:pt x="1520" y="17227"/>
                  <a:pt x="5825" y="21600"/>
                  <a:pt x="10710" y="21600"/>
                </a:cubicBezTo>
                <a:cubicBezTo>
                  <a:pt x="15594" y="21600"/>
                  <a:pt x="19899" y="17227"/>
                  <a:pt x="21600" y="10958"/>
                </a:cubicBezTo>
                <a:cubicBezTo>
                  <a:pt x="19899" y="4689"/>
                  <a:pt x="15594" y="0"/>
                  <a:pt x="10710" y="0"/>
                </a:cubicBezTo>
                <a:close/>
                <a:moveTo>
                  <a:pt x="10710" y="18070"/>
                </a:moveTo>
                <a:cubicBezTo>
                  <a:pt x="7887" y="18070"/>
                  <a:pt x="5825" y="14909"/>
                  <a:pt x="5825" y="10958"/>
                </a:cubicBezTo>
                <a:cubicBezTo>
                  <a:pt x="5825" y="7007"/>
                  <a:pt x="7887" y="3846"/>
                  <a:pt x="10710" y="3846"/>
                </a:cubicBezTo>
                <a:cubicBezTo>
                  <a:pt x="13532" y="3846"/>
                  <a:pt x="15594" y="7007"/>
                  <a:pt x="15594" y="10958"/>
                </a:cubicBezTo>
                <a:cubicBezTo>
                  <a:pt x="15594" y="14909"/>
                  <a:pt x="13532" y="18070"/>
                  <a:pt x="10710" y="18070"/>
                </a:cubicBezTo>
                <a:close/>
                <a:moveTo>
                  <a:pt x="10710" y="6585"/>
                </a:moveTo>
                <a:cubicBezTo>
                  <a:pt x="9009" y="6585"/>
                  <a:pt x="7707" y="8482"/>
                  <a:pt x="7707" y="10958"/>
                </a:cubicBezTo>
                <a:cubicBezTo>
                  <a:pt x="7707" y="13381"/>
                  <a:pt x="9009" y="15067"/>
                  <a:pt x="10710" y="15067"/>
                </a:cubicBezTo>
                <a:cubicBezTo>
                  <a:pt x="12410" y="15067"/>
                  <a:pt x="13713" y="13381"/>
                  <a:pt x="13713" y="10958"/>
                </a:cubicBezTo>
                <a:cubicBezTo>
                  <a:pt x="13713" y="8482"/>
                  <a:pt x="12410" y="6585"/>
                  <a:pt x="10710" y="6585"/>
                </a:cubicBezTo>
                <a:close/>
              </a:path>
            </a:pathLst>
          </a:custGeom>
          <a:solidFill>
            <a:schemeClr val="accent1">
              <a:lumMod val="100000"/>
            </a:schemeClr>
          </a:solidFill>
          <a:ln>
            <a:noFill/>
          </a:ln>
        </p:spPr>
        <p:txBody>
          <a:bodyPr lIns="22860" tIns="22860" rIns="22860" bIns="2286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500" b="0" i="0" u="none" strike="noStrike" kern="1200" cap="none" spc="0" normalizeH="0" baseline="0" noProof="0">
              <a:ln>
                <a:noFill/>
              </a:ln>
              <a:solidFill>
                <a:srgbClr val="000000"/>
              </a:solidFill>
              <a:effectLst/>
              <a:uLnTx/>
              <a:uFillTx/>
              <a:latin typeface="Arial"/>
              <a:cs typeface="+mn-ea"/>
              <a:sym typeface="+mn-lt"/>
            </a:endParaRPr>
          </a:p>
        </p:txBody>
      </p:sp>
    </p:spTree>
    <p:extLst>
      <p:ext uri="{BB962C8B-B14F-4D97-AF65-F5344CB8AC3E}">
        <p14:creationId xmlns:p14="http://schemas.microsoft.com/office/powerpoint/2010/main" val="3833724040"/>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7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Line 16">
            <a:extLst>
              <a:ext uri="{FF2B5EF4-FFF2-40B4-BE49-F238E27FC236}">
                <a16:creationId xmlns:a16="http://schemas.microsoft.com/office/drawing/2014/main" id="{9C2536B2-28F7-4D8D-9837-A5BA0D7E3333}"/>
              </a:ext>
            </a:extLst>
          </p:cNvPr>
          <p:cNvSpPr>
            <a:spLocks noChangeShapeType="1"/>
          </p:cNvSpPr>
          <p:nvPr/>
        </p:nvSpPr>
        <p:spPr bwMode="auto">
          <a:xfrm>
            <a:off x="11153775" y="3416300"/>
            <a:ext cx="554038" cy="0"/>
          </a:xfrm>
          <a:prstGeom prst="line">
            <a:avLst/>
          </a:prstGeom>
          <a:noFill/>
          <a:ln w="12700" cap="flat">
            <a:solidFill>
              <a:srgbClr val="B4B4B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cs typeface="+mn-ea"/>
              <a:sym typeface="+mn-lt"/>
            </a:endParaRPr>
          </a:p>
        </p:txBody>
      </p:sp>
      <p:sp>
        <p:nvSpPr>
          <p:cNvPr id="20" name="Line 17">
            <a:extLst>
              <a:ext uri="{FF2B5EF4-FFF2-40B4-BE49-F238E27FC236}">
                <a16:creationId xmlns:a16="http://schemas.microsoft.com/office/drawing/2014/main" id="{C650C569-88B9-4B95-ABD7-715600541E68}"/>
              </a:ext>
            </a:extLst>
          </p:cNvPr>
          <p:cNvSpPr>
            <a:spLocks noChangeShapeType="1"/>
          </p:cNvSpPr>
          <p:nvPr/>
        </p:nvSpPr>
        <p:spPr bwMode="auto">
          <a:xfrm>
            <a:off x="8421688" y="3416300"/>
            <a:ext cx="2058988" cy="0"/>
          </a:xfrm>
          <a:prstGeom prst="line">
            <a:avLst/>
          </a:prstGeom>
          <a:noFill/>
          <a:ln w="12700" cap="flat">
            <a:solidFill>
              <a:srgbClr val="B4B4B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cs typeface="+mn-ea"/>
              <a:sym typeface="+mn-lt"/>
            </a:endParaRPr>
          </a:p>
        </p:txBody>
      </p:sp>
      <p:sp>
        <p:nvSpPr>
          <p:cNvPr id="21" name="Line 18">
            <a:extLst>
              <a:ext uri="{FF2B5EF4-FFF2-40B4-BE49-F238E27FC236}">
                <a16:creationId xmlns:a16="http://schemas.microsoft.com/office/drawing/2014/main" id="{E0B5CD32-0559-481D-84EA-FC17353B5861}"/>
              </a:ext>
            </a:extLst>
          </p:cNvPr>
          <p:cNvSpPr>
            <a:spLocks noChangeShapeType="1"/>
          </p:cNvSpPr>
          <p:nvPr/>
        </p:nvSpPr>
        <p:spPr bwMode="auto">
          <a:xfrm>
            <a:off x="5689600" y="3416300"/>
            <a:ext cx="2058988" cy="0"/>
          </a:xfrm>
          <a:prstGeom prst="line">
            <a:avLst/>
          </a:prstGeom>
          <a:noFill/>
          <a:ln w="12700" cap="flat">
            <a:solidFill>
              <a:srgbClr val="B4B4B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cs typeface="+mn-ea"/>
              <a:sym typeface="+mn-lt"/>
            </a:endParaRPr>
          </a:p>
        </p:txBody>
      </p:sp>
      <p:sp>
        <p:nvSpPr>
          <p:cNvPr id="22" name="Line 19">
            <a:extLst>
              <a:ext uri="{FF2B5EF4-FFF2-40B4-BE49-F238E27FC236}">
                <a16:creationId xmlns:a16="http://schemas.microsoft.com/office/drawing/2014/main" id="{F18B2B22-DBF6-4D72-A0ED-1C2444050D41}"/>
              </a:ext>
            </a:extLst>
          </p:cNvPr>
          <p:cNvSpPr>
            <a:spLocks noChangeShapeType="1"/>
          </p:cNvSpPr>
          <p:nvPr/>
        </p:nvSpPr>
        <p:spPr bwMode="auto">
          <a:xfrm>
            <a:off x="2952750" y="3416300"/>
            <a:ext cx="2063750" cy="0"/>
          </a:xfrm>
          <a:prstGeom prst="line">
            <a:avLst/>
          </a:prstGeom>
          <a:noFill/>
          <a:ln w="12700" cap="flat">
            <a:solidFill>
              <a:srgbClr val="B4B4B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cs typeface="+mn-ea"/>
              <a:sym typeface="+mn-lt"/>
            </a:endParaRPr>
          </a:p>
        </p:txBody>
      </p:sp>
      <p:sp>
        <p:nvSpPr>
          <p:cNvPr id="23" name="Line 20">
            <a:extLst>
              <a:ext uri="{FF2B5EF4-FFF2-40B4-BE49-F238E27FC236}">
                <a16:creationId xmlns:a16="http://schemas.microsoft.com/office/drawing/2014/main" id="{CB731F88-BBCC-488B-A0DC-E8C1D577E831}"/>
              </a:ext>
            </a:extLst>
          </p:cNvPr>
          <p:cNvSpPr>
            <a:spLocks noChangeShapeType="1"/>
          </p:cNvSpPr>
          <p:nvPr/>
        </p:nvSpPr>
        <p:spPr bwMode="auto">
          <a:xfrm>
            <a:off x="1462088" y="3416300"/>
            <a:ext cx="822325" cy="0"/>
          </a:xfrm>
          <a:prstGeom prst="line">
            <a:avLst/>
          </a:prstGeom>
          <a:noFill/>
          <a:ln w="12700" cap="flat">
            <a:solidFill>
              <a:srgbClr val="B4B4B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cs typeface="+mn-ea"/>
              <a:sym typeface="+mn-lt"/>
            </a:endParaRPr>
          </a:p>
        </p:txBody>
      </p:sp>
      <p:sp>
        <p:nvSpPr>
          <p:cNvPr id="24" name="Freeform 21">
            <a:extLst>
              <a:ext uri="{FF2B5EF4-FFF2-40B4-BE49-F238E27FC236}">
                <a16:creationId xmlns:a16="http://schemas.microsoft.com/office/drawing/2014/main" id="{EC7DC2BD-13A1-4D83-BE9C-9A266BA17750}"/>
              </a:ext>
            </a:extLst>
          </p:cNvPr>
          <p:cNvSpPr>
            <a:spLocks/>
          </p:cNvSpPr>
          <p:nvPr/>
        </p:nvSpPr>
        <p:spPr bwMode="auto">
          <a:xfrm>
            <a:off x="11682413" y="3348038"/>
            <a:ext cx="111125" cy="127000"/>
          </a:xfrm>
          <a:custGeom>
            <a:avLst/>
            <a:gdLst>
              <a:gd name="T0" fmla="*/ 70 w 70"/>
              <a:gd name="T1" fmla="*/ 40 h 80"/>
              <a:gd name="T2" fmla="*/ 0 w 70"/>
              <a:gd name="T3" fmla="*/ 0 h 80"/>
              <a:gd name="T4" fmla="*/ 0 w 70"/>
              <a:gd name="T5" fmla="*/ 80 h 80"/>
              <a:gd name="T6" fmla="*/ 70 w 70"/>
              <a:gd name="T7" fmla="*/ 40 h 80"/>
            </a:gdLst>
            <a:ahLst/>
            <a:cxnLst>
              <a:cxn ang="0">
                <a:pos x="T0" y="T1"/>
              </a:cxn>
              <a:cxn ang="0">
                <a:pos x="T2" y="T3"/>
              </a:cxn>
              <a:cxn ang="0">
                <a:pos x="T4" y="T5"/>
              </a:cxn>
              <a:cxn ang="0">
                <a:pos x="T6" y="T7"/>
              </a:cxn>
            </a:cxnLst>
            <a:rect l="0" t="0" r="r" b="b"/>
            <a:pathLst>
              <a:path w="70" h="80">
                <a:moveTo>
                  <a:pt x="70" y="40"/>
                </a:moveTo>
                <a:lnTo>
                  <a:pt x="0" y="0"/>
                </a:lnTo>
                <a:lnTo>
                  <a:pt x="0" y="80"/>
                </a:lnTo>
                <a:lnTo>
                  <a:pt x="70" y="40"/>
                </a:lnTo>
                <a:close/>
              </a:path>
            </a:pathLst>
          </a:custGeom>
          <a:solidFill>
            <a:srgbClr val="B4B4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cs typeface="+mn-ea"/>
              <a:sym typeface="+mn-lt"/>
            </a:endParaRPr>
          </a:p>
        </p:txBody>
      </p:sp>
      <p:sp>
        <p:nvSpPr>
          <p:cNvPr id="25" name="Oval 22">
            <a:extLst>
              <a:ext uri="{FF2B5EF4-FFF2-40B4-BE49-F238E27FC236}">
                <a16:creationId xmlns:a16="http://schemas.microsoft.com/office/drawing/2014/main" id="{15329C59-9E47-4CBF-A70D-8013498E7D95}"/>
              </a:ext>
            </a:extLst>
          </p:cNvPr>
          <p:cNvSpPr>
            <a:spLocks noChangeArrowheads="1"/>
          </p:cNvSpPr>
          <p:nvPr/>
        </p:nvSpPr>
        <p:spPr bwMode="auto">
          <a:xfrm>
            <a:off x="2335213" y="3136900"/>
            <a:ext cx="566738" cy="568325"/>
          </a:xfrm>
          <a:prstGeom prst="ellipse">
            <a:avLst/>
          </a:prstGeom>
          <a:solidFill>
            <a:schemeClr val="accent1">
              <a:lumMod val="10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cs typeface="+mn-ea"/>
              <a:sym typeface="+mn-lt"/>
            </a:endParaRPr>
          </a:p>
        </p:txBody>
      </p:sp>
      <p:sp>
        <p:nvSpPr>
          <p:cNvPr id="26" name="Oval 23">
            <a:extLst>
              <a:ext uri="{FF2B5EF4-FFF2-40B4-BE49-F238E27FC236}">
                <a16:creationId xmlns:a16="http://schemas.microsoft.com/office/drawing/2014/main" id="{20A314DD-70BF-4100-AFA6-27BDE312998E}"/>
              </a:ext>
            </a:extLst>
          </p:cNvPr>
          <p:cNvSpPr>
            <a:spLocks noChangeArrowheads="1"/>
          </p:cNvSpPr>
          <p:nvPr/>
        </p:nvSpPr>
        <p:spPr bwMode="auto">
          <a:xfrm>
            <a:off x="2284413" y="3081338"/>
            <a:ext cx="673100" cy="674688"/>
          </a:xfrm>
          <a:prstGeom prst="ellipse">
            <a:avLst/>
          </a:prstGeom>
          <a:noFill/>
          <a:ln w="15875" cap="flat">
            <a:solidFill>
              <a:schemeClr val="accent1">
                <a:lumMod val="100000"/>
              </a:schemeClr>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cs typeface="+mn-ea"/>
              <a:sym typeface="+mn-lt"/>
            </a:endParaRPr>
          </a:p>
        </p:txBody>
      </p:sp>
      <p:sp>
        <p:nvSpPr>
          <p:cNvPr id="27" name="Freeform 24">
            <a:extLst>
              <a:ext uri="{FF2B5EF4-FFF2-40B4-BE49-F238E27FC236}">
                <a16:creationId xmlns:a16="http://schemas.microsoft.com/office/drawing/2014/main" id="{8BFFC353-8B4A-4271-A316-55D463346C45}"/>
              </a:ext>
            </a:extLst>
          </p:cNvPr>
          <p:cNvSpPr>
            <a:spLocks/>
          </p:cNvSpPr>
          <p:nvPr/>
        </p:nvSpPr>
        <p:spPr bwMode="auto">
          <a:xfrm>
            <a:off x="962025" y="2151063"/>
            <a:ext cx="1363663" cy="271463"/>
          </a:xfrm>
          <a:custGeom>
            <a:avLst/>
            <a:gdLst>
              <a:gd name="T0" fmla="*/ 322 w 322"/>
              <a:gd name="T1" fmla="*/ 64 h 64"/>
              <a:gd name="T2" fmla="*/ 32 w 322"/>
              <a:gd name="T3" fmla="*/ 64 h 64"/>
              <a:gd name="T4" fmla="*/ 0 w 322"/>
              <a:gd name="T5" fmla="*/ 32 h 64"/>
              <a:gd name="T6" fmla="*/ 0 w 322"/>
              <a:gd name="T7" fmla="*/ 32 h 64"/>
              <a:gd name="T8" fmla="*/ 32 w 322"/>
              <a:gd name="T9" fmla="*/ 0 h 64"/>
              <a:gd name="T10" fmla="*/ 296 w 322"/>
              <a:gd name="T11" fmla="*/ 0 h 64"/>
              <a:gd name="T12" fmla="*/ 322 w 322"/>
              <a:gd name="T13" fmla="*/ 64 h 64"/>
            </a:gdLst>
            <a:ahLst/>
            <a:cxnLst>
              <a:cxn ang="0">
                <a:pos x="T0" y="T1"/>
              </a:cxn>
              <a:cxn ang="0">
                <a:pos x="T2" y="T3"/>
              </a:cxn>
              <a:cxn ang="0">
                <a:pos x="T4" y="T5"/>
              </a:cxn>
              <a:cxn ang="0">
                <a:pos x="T6" y="T7"/>
              </a:cxn>
              <a:cxn ang="0">
                <a:pos x="T8" y="T9"/>
              </a:cxn>
              <a:cxn ang="0">
                <a:pos x="T10" y="T11"/>
              </a:cxn>
              <a:cxn ang="0">
                <a:pos x="T12" y="T13"/>
              </a:cxn>
            </a:cxnLst>
            <a:rect l="0" t="0" r="r" b="b"/>
            <a:pathLst>
              <a:path w="322" h="64">
                <a:moveTo>
                  <a:pt x="322" y="64"/>
                </a:moveTo>
                <a:cubicBezTo>
                  <a:pt x="32" y="64"/>
                  <a:pt x="32" y="64"/>
                  <a:pt x="32" y="64"/>
                </a:cubicBezTo>
                <a:cubicBezTo>
                  <a:pt x="14" y="64"/>
                  <a:pt x="0" y="50"/>
                  <a:pt x="0" y="32"/>
                </a:cubicBezTo>
                <a:cubicBezTo>
                  <a:pt x="0" y="32"/>
                  <a:pt x="0" y="32"/>
                  <a:pt x="0" y="32"/>
                </a:cubicBezTo>
                <a:cubicBezTo>
                  <a:pt x="0" y="14"/>
                  <a:pt x="14" y="0"/>
                  <a:pt x="32" y="0"/>
                </a:cubicBezTo>
                <a:cubicBezTo>
                  <a:pt x="296" y="0"/>
                  <a:pt x="296" y="0"/>
                  <a:pt x="296" y="0"/>
                </a:cubicBezTo>
                <a:lnTo>
                  <a:pt x="322" y="64"/>
                </a:lnTo>
                <a:close/>
              </a:path>
            </a:pathLst>
          </a:custGeom>
          <a:solidFill>
            <a:schemeClr val="accent1">
              <a:lumMod val="10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cs typeface="+mn-ea"/>
              <a:sym typeface="+mn-lt"/>
            </a:endParaRPr>
          </a:p>
        </p:txBody>
      </p:sp>
      <p:sp>
        <p:nvSpPr>
          <p:cNvPr id="28" name="Line 25">
            <a:extLst>
              <a:ext uri="{FF2B5EF4-FFF2-40B4-BE49-F238E27FC236}">
                <a16:creationId xmlns:a16="http://schemas.microsoft.com/office/drawing/2014/main" id="{CFF1FA64-B477-4068-ACF3-B537D1E3EB7D}"/>
              </a:ext>
            </a:extLst>
          </p:cNvPr>
          <p:cNvSpPr>
            <a:spLocks noChangeShapeType="1"/>
          </p:cNvSpPr>
          <p:nvPr/>
        </p:nvSpPr>
        <p:spPr bwMode="auto">
          <a:xfrm flipH="1" flipV="1">
            <a:off x="2208213" y="2151063"/>
            <a:ext cx="384175" cy="933450"/>
          </a:xfrm>
          <a:prstGeom prst="line">
            <a:avLst/>
          </a:prstGeom>
          <a:noFill/>
          <a:ln w="15875" cap="flat">
            <a:solidFill>
              <a:schemeClr val="accent1">
                <a:lumMod val="10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cs typeface="+mn-ea"/>
              <a:sym typeface="+mn-lt"/>
            </a:endParaRPr>
          </a:p>
        </p:txBody>
      </p:sp>
      <p:sp>
        <p:nvSpPr>
          <p:cNvPr id="29" name="Freeform 26">
            <a:extLst>
              <a:ext uri="{FF2B5EF4-FFF2-40B4-BE49-F238E27FC236}">
                <a16:creationId xmlns:a16="http://schemas.microsoft.com/office/drawing/2014/main" id="{C34992E6-EF6C-43F3-BF28-5C0A5702A447}"/>
              </a:ext>
            </a:extLst>
          </p:cNvPr>
          <p:cNvSpPr>
            <a:spLocks/>
          </p:cNvSpPr>
          <p:nvPr/>
        </p:nvSpPr>
        <p:spPr bwMode="auto">
          <a:xfrm>
            <a:off x="962025" y="4422775"/>
            <a:ext cx="1363663" cy="274638"/>
          </a:xfrm>
          <a:custGeom>
            <a:avLst/>
            <a:gdLst>
              <a:gd name="T0" fmla="*/ 322 w 322"/>
              <a:gd name="T1" fmla="*/ 0 h 65"/>
              <a:gd name="T2" fmla="*/ 32 w 322"/>
              <a:gd name="T3" fmla="*/ 0 h 65"/>
              <a:gd name="T4" fmla="*/ 0 w 322"/>
              <a:gd name="T5" fmla="*/ 33 h 65"/>
              <a:gd name="T6" fmla="*/ 0 w 322"/>
              <a:gd name="T7" fmla="*/ 33 h 65"/>
              <a:gd name="T8" fmla="*/ 32 w 322"/>
              <a:gd name="T9" fmla="*/ 65 h 65"/>
              <a:gd name="T10" fmla="*/ 296 w 322"/>
              <a:gd name="T11" fmla="*/ 65 h 65"/>
              <a:gd name="T12" fmla="*/ 322 w 322"/>
              <a:gd name="T13" fmla="*/ 0 h 65"/>
            </a:gdLst>
            <a:ahLst/>
            <a:cxnLst>
              <a:cxn ang="0">
                <a:pos x="T0" y="T1"/>
              </a:cxn>
              <a:cxn ang="0">
                <a:pos x="T2" y="T3"/>
              </a:cxn>
              <a:cxn ang="0">
                <a:pos x="T4" y="T5"/>
              </a:cxn>
              <a:cxn ang="0">
                <a:pos x="T6" y="T7"/>
              </a:cxn>
              <a:cxn ang="0">
                <a:pos x="T8" y="T9"/>
              </a:cxn>
              <a:cxn ang="0">
                <a:pos x="T10" y="T11"/>
              </a:cxn>
              <a:cxn ang="0">
                <a:pos x="T12" y="T13"/>
              </a:cxn>
            </a:cxnLst>
            <a:rect l="0" t="0" r="r" b="b"/>
            <a:pathLst>
              <a:path w="322" h="65">
                <a:moveTo>
                  <a:pt x="322" y="0"/>
                </a:moveTo>
                <a:cubicBezTo>
                  <a:pt x="32" y="0"/>
                  <a:pt x="32" y="0"/>
                  <a:pt x="32" y="0"/>
                </a:cubicBezTo>
                <a:cubicBezTo>
                  <a:pt x="14" y="0"/>
                  <a:pt x="0" y="15"/>
                  <a:pt x="0" y="33"/>
                </a:cubicBezTo>
                <a:cubicBezTo>
                  <a:pt x="0" y="33"/>
                  <a:pt x="0" y="33"/>
                  <a:pt x="0" y="33"/>
                </a:cubicBezTo>
                <a:cubicBezTo>
                  <a:pt x="0" y="51"/>
                  <a:pt x="14" y="65"/>
                  <a:pt x="32" y="65"/>
                </a:cubicBezTo>
                <a:cubicBezTo>
                  <a:pt x="296" y="65"/>
                  <a:pt x="296" y="65"/>
                  <a:pt x="296" y="65"/>
                </a:cubicBezTo>
                <a:lnTo>
                  <a:pt x="322" y="0"/>
                </a:lnTo>
                <a:close/>
              </a:path>
            </a:pathLst>
          </a:custGeom>
          <a:solidFill>
            <a:schemeClr val="accent1">
              <a:lumMod val="10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cs typeface="+mn-ea"/>
              <a:sym typeface="+mn-lt"/>
            </a:endParaRPr>
          </a:p>
        </p:txBody>
      </p:sp>
      <p:sp>
        <p:nvSpPr>
          <p:cNvPr id="30" name="Freeform 27">
            <a:extLst>
              <a:ext uri="{FF2B5EF4-FFF2-40B4-BE49-F238E27FC236}">
                <a16:creationId xmlns:a16="http://schemas.microsoft.com/office/drawing/2014/main" id="{13345E4D-0582-4396-AB2E-9F9B90B40D86}"/>
              </a:ext>
            </a:extLst>
          </p:cNvPr>
          <p:cNvSpPr>
            <a:spLocks/>
          </p:cNvSpPr>
          <p:nvPr/>
        </p:nvSpPr>
        <p:spPr bwMode="auto">
          <a:xfrm>
            <a:off x="3562350" y="1828800"/>
            <a:ext cx="1368425" cy="276225"/>
          </a:xfrm>
          <a:custGeom>
            <a:avLst/>
            <a:gdLst>
              <a:gd name="T0" fmla="*/ 323 w 323"/>
              <a:gd name="T1" fmla="*/ 65 h 65"/>
              <a:gd name="T2" fmla="*/ 32 w 323"/>
              <a:gd name="T3" fmla="*/ 65 h 65"/>
              <a:gd name="T4" fmla="*/ 0 w 323"/>
              <a:gd name="T5" fmla="*/ 33 h 65"/>
              <a:gd name="T6" fmla="*/ 0 w 323"/>
              <a:gd name="T7" fmla="*/ 33 h 65"/>
              <a:gd name="T8" fmla="*/ 32 w 323"/>
              <a:gd name="T9" fmla="*/ 0 h 65"/>
              <a:gd name="T10" fmla="*/ 296 w 323"/>
              <a:gd name="T11" fmla="*/ 0 h 65"/>
              <a:gd name="T12" fmla="*/ 323 w 323"/>
              <a:gd name="T13" fmla="*/ 65 h 65"/>
            </a:gdLst>
            <a:ahLst/>
            <a:cxnLst>
              <a:cxn ang="0">
                <a:pos x="T0" y="T1"/>
              </a:cxn>
              <a:cxn ang="0">
                <a:pos x="T2" y="T3"/>
              </a:cxn>
              <a:cxn ang="0">
                <a:pos x="T4" y="T5"/>
              </a:cxn>
              <a:cxn ang="0">
                <a:pos x="T6" y="T7"/>
              </a:cxn>
              <a:cxn ang="0">
                <a:pos x="T8" y="T9"/>
              </a:cxn>
              <a:cxn ang="0">
                <a:pos x="T10" y="T11"/>
              </a:cxn>
              <a:cxn ang="0">
                <a:pos x="T12" y="T13"/>
              </a:cxn>
            </a:cxnLst>
            <a:rect l="0" t="0" r="r" b="b"/>
            <a:pathLst>
              <a:path w="323" h="65">
                <a:moveTo>
                  <a:pt x="323" y="65"/>
                </a:moveTo>
                <a:cubicBezTo>
                  <a:pt x="32" y="65"/>
                  <a:pt x="32" y="65"/>
                  <a:pt x="32" y="65"/>
                </a:cubicBezTo>
                <a:cubicBezTo>
                  <a:pt x="14" y="65"/>
                  <a:pt x="0" y="51"/>
                  <a:pt x="0" y="33"/>
                </a:cubicBezTo>
                <a:cubicBezTo>
                  <a:pt x="0" y="33"/>
                  <a:pt x="0" y="33"/>
                  <a:pt x="0" y="33"/>
                </a:cubicBezTo>
                <a:cubicBezTo>
                  <a:pt x="0" y="15"/>
                  <a:pt x="14" y="0"/>
                  <a:pt x="32" y="0"/>
                </a:cubicBezTo>
                <a:cubicBezTo>
                  <a:pt x="296" y="0"/>
                  <a:pt x="296" y="0"/>
                  <a:pt x="296" y="0"/>
                </a:cubicBezTo>
                <a:lnTo>
                  <a:pt x="323" y="65"/>
                </a:lnTo>
                <a:close/>
              </a:path>
            </a:pathLst>
          </a:custGeom>
          <a:solidFill>
            <a:schemeClr val="accent1">
              <a:lumMod val="10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cs typeface="+mn-ea"/>
              <a:sym typeface="+mn-lt"/>
            </a:endParaRPr>
          </a:p>
        </p:txBody>
      </p:sp>
      <p:sp>
        <p:nvSpPr>
          <p:cNvPr id="31" name="Line 28">
            <a:extLst>
              <a:ext uri="{FF2B5EF4-FFF2-40B4-BE49-F238E27FC236}">
                <a16:creationId xmlns:a16="http://schemas.microsoft.com/office/drawing/2014/main" id="{D7CBCB0B-1059-422D-A4F4-DF5837AD4110}"/>
              </a:ext>
            </a:extLst>
          </p:cNvPr>
          <p:cNvSpPr>
            <a:spLocks noChangeShapeType="1"/>
          </p:cNvSpPr>
          <p:nvPr/>
        </p:nvSpPr>
        <p:spPr bwMode="auto">
          <a:xfrm flipH="1">
            <a:off x="2208213" y="3756025"/>
            <a:ext cx="388938" cy="938213"/>
          </a:xfrm>
          <a:prstGeom prst="line">
            <a:avLst/>
          </a:prstGeom>
          <a:noFill/>
          <a:ln w="15875" cap="flat">
            <a:solidFill>
              <a:schemeClr val="accent1">
                <a:lumMod val="10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cs typeface="+mn-ea"/>
              <a:sym typeface="+mn-lt"/>
            </a:endParaRPr>
          </a:p>
        </p:txBody>
      </p:sp>
      <p:sp>
        <p:nvSpPr>
          <p:cNvPr id="32" name="Line 29">
            <a:extLst>
              <a:ext uri="{FF2B5EF4-FFF2-40B4-BE49-F238E27FC236}">
                <a16:creationId xmlns:a16="http://schemas.microsoft.com/office/drawing/2014/main" id="{6F5F75F7-4215-4C3D-82CB-B55AB5D8990A}"/>
              </a:ext>
            </a:extLst>
          </p:cNvPr>
          <p:cNvSpPr>
            <a:spLocks noChangeShapeType="1"/>
          </p:cNvSpPr>
          <p:nvPr/>
        </p:nvSpPr>
        <p:spPr bwMode="auto">
          <a:xfrm flipH="1" flipV="1">
            <a:off x="4808538" y="1836738"/>
            <a:ext cx="520700" cy="1247775"/>
          </a:xfrm>
          <a:prstGeom prst="line">
            <a:avLst/>
          </a:prstGeom>
          <a:noFill/>
          <a:ln w="15875" cap="flat">
            <a:solidFill>
              <a:schemeClr val="accent1">
                <a:lumMod val="10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cs typeface="+mn-ea"/>
              <a:sym typeface="+mn-lt"/>
            </a:endParaRPr>
          </a:p>
        </p:txBody>
      </p:sp>
      <p:sp>
        <p:nvSpPr>
          <p:cNvPr id="33" name="Line 30">
            <a:extLst>
              <a:ext uri="{FF2B5EF4-FFF2-40B4-BE49-F238E27FC236}">
                <a16:creationId xmlns:a16="http://schemas.microsoft.com/office/drawing/2014/main" id="{4936462A-42DB-487F-842E-C0363709168A}"/>
              </a:ext>
            </a:extLst>
          </p:cNvPr>
          <p:cNvSpPr>
            <a:spLocks noChangeShapeType="1"/>
          </p:cNvSpPr>
          <p:nvPr/>
        </p:nvSpPr>
        <p:spPr bwMode="auto">
          <a:xfrm flipH="1">
            <a:off x="4808538" y="3756025"/>
            <a:ext cx="525463" cy="1255713"/>
          </a:xfrm>
          <a:prstGeom prst="line">
            <a:avLst/>
          </a:prstGeom>
          <a:noFill/>
          <a:ln w="15875" cap="flat">
            <a:solidFill>
              <a:schemeClr val="accent1">
                <a:lumMod val="10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cs typeface="+mn-ea"/>
              <a:sym typeface="+mn-lt"/>
            </a:endParaRPr>
          </a:p>
        </p:txBody>
      </p:sp>
      <p:sp>
        <p:nvSpPr>
          <p:cNvPr id="34" name="Line 31">
            <a:extLst>
              <a:ext uri="{FF2B5EF4-FFF2-40B4-BE49-F238E27FC236}">
                <a16:creationId xmlns:a16="http://schemas.microsoft.com/office/drawing/2014/main" id="{95B9D055-66AC-4B1D-9248-D9520E1379EF}"/>
              </a:ext>
            </a:extLst>
          </p:cNvPr>
          <p:cNvSpPr>
            <a:spLocks noChangeShapeType="1"/>
          </p:cNvSpPr>
          <p:nvPr/>
        </p:nvSpPr>
        <p:spPr bwMode="auto">
          <a:xfrm flipH="1" flipV="1">
            <a:off x="7378700" y="1443038"/>
            <a:ext cx="682625" cy="1641475"/>
          </a:xfrm>
          <a:prstGeom prst="line">
            <a:avLst/>
          </a:prstGeom>
          <a:noFill/>
          <a:ln w="15875" cap="flat">
            <a:solidFill>
              <a:schemeClr val="accent1">
                <a:lumMod val="10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cs typeface="+mn-ea"/>
              <a:sym typeface="+mn-lt"/>
            </a:endParaRPr>
          </a:p>
        </p:txBody>
      </p:sp>
      <p:sp>
        <p:nvSpPr>
          <p:cNvPr id="35" name="Line 32">
            <a:extLst>
              <a:ext uri="{FF2B5EF4-FFF2-40B4-BE49-F238E27FC236}">
                <a16:creationId xmlns:a16="http://schemas.microsoft.com/office/drawing/2014/main" id="{0A236C3B-9B5F-4F50-8047-DDDC43885FDA}"/>
              </a:ext>
            </a:extLst>
          </p:cNvPr>
          <p:cNvSpPr>
            <a:spLocks noChangeShapeType="1"/>
          </p:cNvSpPr>
          <p:nvPr/>
        </p:nvSpPr>
        <p:spPr bwMode="auto">
          <a:xfrm flipH="1">
            <a:off x="7378700" y="3760788"/>
            <a:ext cx="682625" cy="1646238"/>
          </a:xfrm>
          <a:prstGeom prst="line">
            <a:avLst/>
          </a:prstGeom>
          <a:noFill/>
          <a:ln w="15875" cap="flat">
            <a:solidFill>
              <a:schemeClr val="accent1">
                <a:lumMod val="10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cs typeface="+mn-ea"/>
              <a:sym typeface="+mn-lt"/>
            </a:endParaRPr>
          </a:p>
        </p:txBody>
      </p:sp>
      <p:sp>
        <p:nvSpPr>
          <p:cNvPr id="36" name="Line 33">
            <a:extLst>
              <a:ext uri="{FF2B5EF4-FFF2-40B4-BE49-F238E27FC236}">
                <a16:creationId xmlns:a16="http://schemas.microsoft.com/office/drawing/2014/main" id="{97C211AA-7813-4AD1-9D1F-DB4BF7784D82}"/>
              </a:ext>
            </a:extLst>
          </p:cNvPr>
          <p:cNvSpPr>
            <a:spLocks noChangeShapeType="1"/>
          </p:cNvSpPr>
          <p:nvPr/>
        </p:nvSpPr>
        <p:spPr bwMode="auto">
          <a:xfrm flipH="1" flipV="1">
            <a:off x="9963150" y="1081088"/>
            <a:ext cx="830263" cy="2003425"/>
          </a:xfrm>
          <a:prstGeom prst="line">
            <a:avLst/>
          </a:prstGeom>
          <a:noFill/>
          <a:ln w="15875" cap="flat">
            <a:solidFill>
              <a:schemeClr val="accent1">
                <a:lumMod val="10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cs typeface="+mn-ea"/>
              <a:sym typeface="+mn-lt"/>
            </a:endParaRPr>
          </a:p>
        </p:txBody>
      </p:sp>
      <p:sp>
        <p:nvSpPr>
          <p:cNvPr id="37" name="Line 34">
            <a:extLst>
              <a:ext uri="{FF2B5EF4-FFF2-40B4-BE49-F238E27FC236}">
                <a16:creationId xmlns:a16="http://schemas.microsoft.com/office/drawing/2014/main" id="{F6FDFF7F-AE28-4A95-A40B-E5FB85AF495B}"/>
              </a:ext>
            </a:extLst>
          </p:cNvPr>
          <p:cNvSpPr>
            <a:spLocks noChangeShapeType="1"/>
          </p:cNvSpPr>
          <p:nvPr/>
        </p:nvSpPr>
        <p:spPr bwMode="auto">
          <a:xfrm flipH="1">
            <a:off x="9963150" y="3756025"/>
            <a:ext cx="830263" cy="2011363"/>
          </a:xfrm>
          <a:prstGeom prst="line">
            <a:avLst/>
          </a:prstGeom>
          <a:noFill/>
          <a:ln w="15875" cap="flat">
            <a:solidFill>
              <a:schemeClr val="accent1">
                <a:lumMod val="10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cs typeface="+mn-ea"/>
              <a:sym typeface="+mn-lt"/>
            </a:endParaRPr>
          </a:p>
        </p:txBody>
      </p:sp>
      <p:sp>
        <p:nvSpPr>
          <p:cNvPr id="38" name="Freeform 35">
            <a:extLst>
              <a:ext uri="{FF2B5EF4-FFF2-40B4-BE49-F238E27FC236}">
                <a16:creationId xmlns:a16="http://schemas.microsoft.com/office/drawing/2014/main" id="{0F54B40B-179E-457E-ABBE-DC121D931855}"/>
              </a:ext>
            </a:extLst>
          </p:cNvPr>
          <p:cNvSpPr>
            <a:spLocks/>
          </p:cNvSpPr>
          <p:nvPr/>
        </p:nvSpPr>
        <p:spPr bwMode="auto">
          <a:xfrm>
            <a:off x="3562350" y="4740275"/>
            <a:ext cx="1368425" cy="271463"/>
          </a:xfrm>
          <a:custGeom>
            <a:avLst/>
            <a:gdLst>
              <a:gd name="T0" fmla="*/ 323 w 323"/>
              <a:gd name="T1" fmla="*/ 0 h 64"/>
              <a:gd name="T2" fmla="*/ 32 w 323"/>
              <a:gd name="T3" fmla="*/ 0 h 64"/>
              <a:gd name="T4" fmla="*/ 0 w 323"/>
              <a:gd name="T5" fmla="*/ 32 h 64"/>
              <a:gd name="T6" fmla="*/ 0 w 323"/>
              <a:gd name="T7" fmla="*/ 32 h 64"/>
              <a:gd name="T8" fmla="*/ 32 w 323"/>
              <a:gd name="T9" fmla="*/ 64 h 64"/>
              <a:gd name="T10" fmla="*/ 296 w 323"/>
              <a:gd name="T11" fmla="*/ 64 h 64"/>
              <a:gd name="T12" fmla="*/ 323 w 323"/>
              <a:gd name="T13" fmla="*/ 0 h 64"/>
            </a:gdLst>
            <a:ahLst/>
            <a:cxnLst>
              <a:cxn ang="0">
                <a:pos x="T0" y="T1"/>
              </a:cxn>
              <a:cxn ang="0">
                <a:pos x="T2" y="T3"/>
              </a:cxn>
              <a:cxn ang="0">
                <a:pos x="T4" y="T5"/>
              </a:cxn>
              <a:cxn ang="0">
                <a:pos x="T6" y="T7"/>
              </a:cxn>
              <a:cxn ang="0">
                <a:pos x="T8" y="T9"/>
              </a:cxn>
              <a:cxn ang="0">
                <a:pos x="T10" y="T11"/>
              </a:cxn>
              <a:cxn ang="0">
                <a:pos x="T12" y="T13"/>
              </a:cxn>
            </a:cxnLst>
            <a:rect l="0" t="0" r="r" b="b"/>
            <a:pathLst>
              <a:path w="323" h="64">
                <a:moveTo>
                  <a:pt x="323" y="0"/>
                </a:moveTo>
                <a:cubicBezTo>
                  <a:pt x="32" y="0"/>
                  <a:pt x="32" y="0"/>
                  <a:pt x="32" y="0"/>
                </a:cubicBezTo>
                <a:cubicBezTo>
                  <a:pt x="14" y="0"/>
                  <a:pt x="0" y="14"/>
                  <a:pt x="0" y="32"/>
                </a:cubicBezTo>
                <a:cubicBezTo>
                  <a:pt x="0" y="32"/>
                  <a:pt x="0" y="32"/>
                  <a:pt x="0" y="32"/>
                </a:cubicBezTo>
                <a:cubicBezTo>
                  <a:pt x="0" y="50"/>
                  <a:pt x="14" y="64"/>
                  <a:pt x="32" y="64"/>
                </a:cubicBezTo>
                <a:cubicBezTo>
                  <a:pt x="296" y="64"/>
                  <a:pt x="296" y="64"/>
                  <a:pt x="296" y="64"/>
                </a:cubicBezTo>
                <a:lnTo>
                  <a:pt x="323" y="0"/>
                </a:lnTo>
                <a:close/>
              </a:path>
            </a:pathLst>
          </a:custGeom>
          <a:solidFill>
            <a:schemeClr val="accent1">
              <a:lumMod val="10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cs typeface="+mn-ea"/>
              <a:sym typeface="+mn-lt"/>
            </a:endParaRPr>
          </a:p>
        </p:txBody>
      </p:sp>
      <p:sp>
        <p:nvSpPr>
          <p:cNvPr id="39" name="Freeform 36">
            <a:extLst>
              <a:ext uri="{FF2B5EF4-FFF2-40B4-BE49-F238E27FC236}">
                <a16:creationId xmlns:a16="http://schemas.microsoft.com/office/drawing/2014/main" id="{D2F7A765-1CB9-4540-BF32-E157EA90B436}"/>
              </a:ext>
            </a:extLst>
          </p:cNvPr>
          <p:cNvSpPr>
            <a:spLocks/>
          </p:cNvSpPr>
          <p:nvPr/>
        </p:nvSpPr>
        <p:spPr bwMode="auto">
          <a:xfrm>
            <a:off x="6129338" y="1438275"/>
            <a:ext cx="1368425" cy="276225"/>
          </a:xfrm>
          <a:custGeom>
            <a:avLst/>
            <a:gdLst>
              <a:gd name="T0" fmla="*/ 323 w 323"/>
              <a:gd name="T1" fmla="*/ 65 h 65"/>
              <a:gd name="T2" fmla="*/ 32 w 323"/>
              <a:gd name="T3" fmla="*/ 65 h 65"/>
              <a:gd name="T4" fmla="*/ 0 w 323"/>
              <a:gd name="T5" fmla="*/ 32 h 65"/>
              <a:gd name="T6" fmla="*/ 0 w 323"/>
              <a:gd name="T7" fmla="*/ 32 h 65"/>
              <a:gd name="T8" fmla="*/ 32 w 323"/>
              <a:gd name="T9" fmla="*/ 0 h 65"/>
              <a:gd name="T10" fmla="*/ 297 w 323"/>
              <a:gd name="T11" fmla="*/ 0 h 65"/>
              <a:gd name="T12" fmla="*/ 323 w 323"/>
              <a:gd name="T13" fmla="*/ 65 h 65"/>
            </a:gdLst>
            <a:ahLst/>
            <a:cxnLst>
              <a:cxn ang="0">
                <a:pos x="T0" y="T1"/>
              </a:cxn>
              <a:cxn ang="0">
                <a:pos x="T2" y="T3"/>
              </a:cxn>
              <a:cxn ang="0">
                <a:pos x="T4" y="T5"/>
              </a:cxn>
              <a:cxn ang="0">
                <a:pos x="T6" y="T7"/>
              </a:cxn>
              <a:cxn ang="0">
                <a:pos x="T8" y="T9"/>
              </a:cxn>
              <a:cxn ang="0">
                <a:pos x="T10" y="T11"/>
              </a:cxn>
              <a:cxn ang="0">
                <a:pos x="T12" y="T13"/>
              </a:cxn>
            </a:cxnLst>
            <a:rect l="0" t="0" r="r" b="b"/>
            <a:pathLst>
              <a:path w="323" h="65">
                <a:moveTo>
                  <a:pt x="323" y="65"/>
                </a:moveTo>
                <a:cubicBezTo>
                  <a:pt x="32" y="65"/>
                  <a:pt x="32" y="65"/>
                  <a:pt x="32" y="65"/>
                </a:cubicBezTo>
                <a:cubicBezTo>
                  <a:pt x="15" y="65"/>
                  <a:pt x="0" y="50"/>
                  <a:pt x="0" y="32"/>
                </a:cubicBezTo>
                <a:cubicBezTo>
                  <a:pt x="0" y="32"/>
                  <a:pt x="0" y="32"/>
                  <a:pt x="0" y="32"/>
                </a:cubicBezTo>
                <a:cubicBezTo>
                  <a:pt x="0" y="15"/>
                  <a:pt x="15" y="0"/>
                  <a:pt x="32" y="0"/>
                </a:cubicBezTo>
                <a:cubicBezTo>
                  <a:pt x="297" y="0"/>
                  <a:pt x="297" y="0"/>
                  <a:pt x="297" y="0"/>
                </a:cubicBezTo>
                <a:lnTo>
                  <a:pt x="323" y="65"/>
                </a:lnTo>
                <a:close/>
              </a:path>
            </a:pathLst>
          </a:custGeom>
          <a:solidFill>
            <a:schemeClr val="accent1">
              <a:lumMod val="10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cs typeface="+mn-ea"/>
              <a:sym typeface="+mn-lt"/>
            </a:endParaRPr>
          </a:p>
        </p:txBody>
      </p:sp>
      <p:sp>
        <p:nvSpPr>
          <p:cNvPr id="40" name="Freeform 37">
            <a:extLst>
              <a:ext uri="{FF2B5EF4-FFF2-40B4-BE49-F238E27FC236}">
                <a16:creationId xmlns:a16="http://schemas.microsoft.com/office/drawing/2014/main" id="{9ED8A025-9858-4DF8-B619-796FFE68CB4D}"/>
              </a:ext>
            </a:extLst>
          </p:cNvPr>
          <p:cNvSpPr>
            <a:spLocks/>
          </p:cNvSpPr>
          <p:nvPr/>
        </p:nvSpPr>
        <p:spPr bwMode="auto">
          <a:xfrm>
            <a:off x="6129338" y="5135563"/>
            <a:ext cx="1368425" cy="276225"/>
          </a:xfrm>
          <a:custGeom>
            <a:avLst/>
            <a:gdLst>
              <a:gd name="T0" fmla="*/ 323 w 323"/>
              <a:gd name="T1" fmla="*/ 0 h 65"/>
              <a:gd name="T2" fmla="*/ 32 w 323"/>
              <a:gd name="T3" fmla="*/ 0 h 65"/>
              <a:gd name="T4" fmla="*/ 0 w 323"/>
              <a:gd name="T5" fmla="*/ 32 h 65"/>
              <a:gd name="T6" fmla="*/ 0 w 323"/>
              <a:gd name="T7" fmla="*/ 32 h 65"/>
              <a:gd name="T8" fmla="*/ 32 w 323"/>
              <a:gd name="T9" fmla="*/ 65 h 65"/>
              <a:gd name="T10" fmla="*/ 296 w 323"/>
              <a:gd name="T11" fmla="*/ 65 h 65"/>
              <a:gd name="T12" fmla="*/ 323 w 323"/>
              <a:gd name="T13" fmla="*/ 0 h 65"/>
            </a:gdLst>
            <a:ahLst/>
            <a:cxnLst>
              <a:cxn ang="0">
                <a:pos x="T0" y="T1"/>
              </a:cxn>
              <a:cxn ang="0">
                <a:pos x="T2" y="T3"/>
              </a:cxn>
              <a:cxn ang="0">
                <a:pos x="T4" y="T5"/>
              </a:cxn>
              <a:cxn ang="0">
                <a:pos x="T6" y="T7"/>
              </a:cxn>
              <a:cxn ang="0">
                <a:pos x="T8" y="T9"/>
              </a:cxn>
              <a:cxn ang="0">
                <a:pos x="T10" y="T11"/>
              </a:cxn>
              <a:cxn ang="0">
                <a:pos x="T12" y="T13"/>
              </a:cxn>
            </a:cxnLst>
            <a:rect l="0" t="0" r="r" b="b"/>
            <a:pathLst>
              <a:path w="323" h="65">
                <a:moveTo>
                  <a:pt x="323" y="0"/>
                </a:moveTo>
                <a:cubicBezTo>
                  <a:pt x="32" y="0"/>
                  <a:pt x="32" y="0"/>
                  <a:pt x="32" y="0"/>
                </a:cubicBezTo>
                <a:cubicBezTo>
                  <a:pt x="15" y="0"/>
                  <a:pt x="0" y="15"/>
                  <a:pt x="0" y="32"/>
                </a:cubicBezTo>
                <a:cubicBezTo>
                  <a:pt x="0" y="32"/>
                  <a:pt x="0" y="32"/>
                  <a:pt x="0" y="32"/>
                </a:cubicBezTo>
                <a:cubicBezTo>
                  <a:pt x="0" y="50"/>
                  <a:pt x="15" y="65"/>
                  <a:pt x="32" y="65"/>
                </a:cubicBezTo>
                <a:cubicBezTo>
                  <a:pt x="296" y="65"/>
                  <a:pt x="296" y="65"/>
                  <a:pt x="296" y="65"/>
                </a:cubicBezTo>
                <a:lnTo>
                  <a:pt x="323" y="0"/>
                </a:lnTo>
                <a:close/>
              </a:path>
            </a:pathLst>
          </a:custGeom>
          <a:solidFill>
            <a:schemeClr val="accent1">
              <a:lumMod val="10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cs typeface="+mn-ea"/>
              <a:sym typeface="+mn-lt"/>
            </a:endParaRPr>
          </a:p>
        </p:txBody>
      </p:sp>
      <p:sp>
        <p:nvSpPr>
          <p:cNvPr id="41" name="Freeform 38">
            <a:extLst>
              <a:ext uri="{FF2B5EF4-FFF2-40B4-BE49-F238E27FC236}">
                <a16:creationId xmlns:a16="http://schemas.microsoft.com/office/drawing/2014/main" id="{2490A9D1-B1BA-4CCA-B30B-24ABFFF2DDAB}"/>
              </a:ext>
            </a:extLst>
          </p:cNvPr>
          <p:cNvSpPr>
            <a:spLocks/>
          </p:cNvSpPr>
          <p:nvPr/>
        </p:nvSpPr>
        <p:spPr bwMode="auto">
          <a:xfrm>
            <a:off x="8713788" y="1077913"/>
            <a:ext cx="1368425" cy="276225"/>
          </a:xfrm>
          <a:custGeom>
            <a:avLst/>
            <a:gdLst>
              <a:gd name="T0" fmla="*/ 323 w 323"/>
              <a:gd name="T1" fmla="*/ 65 h 65"/>
              <a:gd name="T2" fmla="*/ 32 w 323"/>
              <a:gd name="T3" fmla="*/ 65 h 65"/>
              <a:gd name="T4" fmla="*/ 0 w 323"/>
              <a:gd name="T5" fmla="*/ 32 h 65"/>
              <a:gd name="T6" fmla="*/ 0 w 323"/>
              <a:gd name="T7" fmla="*/ 32 h 65"/>
              <a:gd name="T8" fmla="*/ 32 w 323"/>
              <a:gd name="T9" fmla="*/ 0 h 65"/>
              <a:gd name="T10" fmla="*/ 296 w 323"/>
              <a:gd name="T11" fmla="*/ 0 h 65"/>
              <a:gd name="T12" fmla="*/ 323 w 323"/>
              <a:gd name="T13" fmla="*/ 65 h 65"/>
            </a:gdLst>
            <a:ahLst/>
            <a:cxnLst>
              <a:cxn ang="0">
                <a:pos x="T0" y="T1"/>
              </a:cxn>
              <a:cxn ang="0">
                <a:pos x="T2" y="T3"/>
              </a:cxn>
              <a:cxn ang="0">
                <a:pos x="T4" y="T5"/>
              </a:cxn>
              <a:cxn ang="0">
                <a:pos x="T6" y="T7"/>
              </a:cxn>
              <a:cxn ang="0">
                <a:pos x="T8" y="T9"/>
              </a:cxn>
              <a:cxn ang="0">
                <a:pos x="T10" y="T11"/>
              </a:cxn>
              <a:cxn ang="0">
                <a:pos x="T12" y="T13"/>
              </a:cxn>
            </a:cxnLst>
            <a:rect l="0" t="0" r="r" b="b"/>
            <a:pathLst>
              <a:path w="323" h="65">
                <a:moveTo>
                  <a:pt x="323" y="65"/>
                </a:moveTo>
                <a:cubicBezTo>
                  <a:pt x="32" y="65"/>
                  <a:pt x="32" y="65"/>
                  <a:pt x="32" y="65"/>
                </a:cubicBezTo>
                <a:cubicBezTo>
                  <a:pt x="15" y="65"/>
                  <a:pt x="0" y="50"/>
                  <a:pt x="0" y="32"/>
                </a:cubicBezTo>
                <a:cubicBezTo>
                  <a:pt x="0" y="32"/>
                  <a:pt x="0" y="32"/>
                  <a:pt x="0" y="32"/>
                </a:cubicBezTo>
                <a:cubicBezTo>
                  <a:pt x="0" y="14"/>
                  <a:pt x="15" y="0"/>
                  <a:pt x="32" y="0"/>
                </a:cubicBezTo>
                <a:cubicBezTo>
                  <a:pt x="296" y="0"/>
                  <a:pt x="296" y="0"/>
                  <a:pt x="296" y="0"/>
                </a:cubicBezTo>
                <a:lnTo>
                  <a:pt x="323" y="65"/>
                </a:lnTo>
                <a:close/>
              </a:path>
            </a:pathLst>
          </a:custGeom>
          <a:solidFill>
            <a:schemeClr val="accent1">
              <a:lumMod val="10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cs typeface="+mn-ea"/>
              <a:sym typeface="+mn-lt"/>
            </a:endParaRPr>
          </a:p>
        </p:txBody>
      </p:sp>
      <p:sp>
        <p:nvSpPr>
          <p:cNvPr id="42" name="Freeform 39">
            <a:extLst>
              <a:ext uri="{FF2B5EF4-FFF2-40B4-BE49-F238E27FC236}">
                <a16:creationId xmlns:a16="http://schemas.microsoft.com/office/drawing/2014/main" id="{1FD816EB-F378-4C42-9CEC-2B1D7B11DD16}"/>
              </a:ext>
            </a:extLst>
          </p:cNvPr>
          <p:cNvSpPr>
            <a:spLocks/>
          </p:cNvSpPr>
          <p:nvPr/>
        </p:nvSpPr>
        <p:spPr bwMode="auto">
          <a:xfrm>
            <a:off x="8620125" y="1184275"/>
            <a:ext cx="17463" cy="114300"/>
          </a:xfrm>
          <a:custGeom>
            <a:avLst/>
            <a:gdLst>
              <a:gd name="T0" fmla="*/ 4 w 4"/>
              <a:gd name="T1" fmla="*/ 27 h 27"/>
              <a:gd name="T2" fmla="*/ 0 w 4"/>
              <a:gd name="T3" fmla="*/ 6 h 27"/>
              <a:gd name="T4" fmla="*/ 0 w 4"/>
              <a:gd name="T5" fmla="*/ 6 h 27"/>
              <a:gd name="T6" fmla="*/ 0 w 4"/>
              <a:gd name="T7" fmla="*/ 0 h 27"/>
            </a:gdLst>
            <a:ahLst/>
            <a:cxnLst>
              <a:cxn ang="0">
                <a:pos x="T0" y="T1"/>
              </a:cxn>
              <a:cxn ang="0">
                <a:pos x="T2" y="T3"/>
              </a:cxn>
              <a:cxn ang="0">
                <a:pos x="T4" y="T5"/>
              </a:cxn>
              <a:cxn ang="0">
                <a:pos x="T6" y="T7"/>
              </a:cxn>
            </a:cxnLst>
            <a:rect l="0" t="0" r="r" b="b"/>
            <a:pathLst>
              <a:path w="4" h="27">
                <a:moveTo>
                  <a:pt x="4" y="27"/>
                </a:moveTo>
                <a:cubicBezTo>
                  <a:pt x="1" y="21"/>
                  <a:pt x="0" y="14"/>
                  <a:pt x="0" y="6"/>
                </a:cubicBezTo>
                <a:cubicBezTo>
                  <a:pt x="0" y="6"/>
                  <a:pt x="0" y="6"/>
                  <a:pt x="0" y="6"/>
                </a:cubicBezTo>
                <a:cubicBezTo>
                  <a:pt x="0" y="4"/>
                  <a:pt x="0" y="2"/>
                  <a:pt x="0" y="0"/>
                </a:cubicBezTo>
              </a:path>
            </a:pathLst>
          </a:custGeom>
          <a:noFill/>
          <a:ln w="15875" cap="rnd">
            <a:solidFill>
              <a:schemeClr val="accent1">
                <a:lumMod val="100000"/>
              </a:schemeClr>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cs typeface="+mn-ea"/>
              <a:sym typeface="+mn-lt"/>
            </a:endParaRPr>
          </a:p>
        </p:txBody>
      </p:sp>
      <p:sp>
        <p:nvSpPr>
          <p:cNvPr id="43" name="Line 40">
            <a:extLst>
              <a:ext uri="{FF2B5EF4-FFF2-40B4-BE49-F238E27FC236}">
                <a16:creationId xmlns:a16="http://schemas.microsoft.com/office/drawing/2014/main" id="{D5634BB0-776A-4C90-B544-1D86611CCDE9}"/>
              </a:ext>
            </a:extLst>
          </p:cNvPr>
          <p:cNvSpPr>
            <a:spLocks noChangeShapeType="1"/>
          </p:cNvSpPr>
          <p:nvPr/>
        </p:nvSpPr>
        <p:spPr bwMode="auto">
          <a:xfrm>
            <a:off x="9412288" y="1014413"/>
            <a:ext cx="314325" cy="0"/>
          </a:xfrm>
          <a:prstGeom prst="line">
            <a:avLst/>
          </a:prstGeom>
          <a:noFill/>
          <a:ln w="15875" cap="rnd">
            <a:solidFill>
              <a:schemeClr val="accent1">
                <a:lumMod val="10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cs typeface="+mn-ea"/>
              <a:sym typeface="+mn-lt"/>
            </a:endParaRPr>
          </a:p>
        </p:txBody>
      </p:sp>
      <p:sp>
        <p:nvSpPr>
          <p:cNvPr id="44" name="Freeform 41">
            <a:extLst>
              <a:ext uri="{FF2B5EF4-FFF2-40B4-BE49-F238E27FC236}">
                <a16:creationId xmlns:a16="http://schemas.microsoft.com/office/drawing/2014/main" id="{FDFBAE96-9ACC-42C3-9D30-7AAAB390CCFD}"/>
              </a:ext>
            </a:extLst>
          </p:cNvPr>
          <p:cNvSpPr>
            <a:spLocks/>
          </p:cNvSpPr>
          <p:nvPr/>
        </p:nvSpPr>
        <p:spPr bwMode="auto">
          <a:xfrm>
            <a:off x="8650288" y="1014413"/>
            <a:ext cx="512763" cy="79375"/>
          </a:xfrm>
          <a:custGeom>
            <a:avLst/>
            <a:gdLst>
              <a:gd name="T0" fmla="*/ 0 w 121"/>
              <a:gd name="T1" fmla="*/ 19 h 19"/>
              <a:gd name="T2" fmla="*/ 33 w 121"/>
              <a:gd name="T3" fmla="*/ 0 h 19"/>
              <a:gd name="T4" fmla="*/ 121 w 121"/>
              <a:gd name="T5" fmla="*/ 0 h 19"/>
            </a:gdLst>
            <a:ahLst/>
            <a:cxnLst>
              <a:cxn ang="0">
                <a:pos x="T0" y="T1"/>
              </a:cxn>
              <a:cxn ang="0">
                <a:pos x="T2" y="T3"/>
              </a:cxn>
              <a:cxn ang="0">
                <a:pos x="T4" y="T5"/>
              </a:cxn>
            </a:cxnLst>
            <a:rect l="0" t="0" r="r" b="b"/>
            <a:pathLst>
              <a:path w="121" h="19">
                <a:moveTo>
                  <a:pt x="0" y="19"/>
                </a:moveTo>
                <a:cubicBezTo>
                  <a:pt x="8" y="7"/>
                  <a:pt x="20" y="0"/>
                  <a:pt x="33" y="0"/>
                </a:cubicBezTo>
                <a:cubicBezTo>
                  <a:pt x="121" y="0"/>
                  <a:pt x="121" y="0"/>
                  <a:pt x="121" y="0"/>
                </a:cubicBezTo>
              </a:path>
            </a:pathLst>
          </a:custGeom>
          <a:noFill/>
          <a:ln w="15875" cap="rnd">
            <a:solidFill>
              <a:schemeClr val="accent1">
                <a:lumMod val="100000"/>
              </a:schemeClr>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cs typeface="+mn-ea"/>
              <a:sym typeface="+mn-lt"/>
            </a:endParaRPr>
          </a:p>
        </p:txBody>
      </p:sp>
      <p:sp>
        <p:nvSpPr>
          <p:cNvPr id="45" name="Freeform 42">
            <a:extLst>
              <a:ext uri="{FF2B5EF4-FFF2-40B4-BE49-F238E27FC236}">
                <a16:creationId xmlns:a16="http://schemas.microsoft.com/office/drawing/2014/main" id="{5A128CC8-D9CE-4866-98EB-7B0EC8705026}"/>
              </a:ext>
            </a:extLst>
          </p:cNvPr>
          <p:cNvSpPr>
            <a:spLocks/>
          </p:cNvSpPr>
          <p:nvPr/>
        </p:nvSpPr>
        <p:spPr bwMode="auto">
          <a:xfrm>
            <a:off x="6062663" y="1539875"/>
            <a:ext cx="15875" cy="114300"/>
          </a:xfrm>
          <a:custGeom>
            <a:avLst/>
            <a:gdLst>
              <a:gd name="T0" fmla="*/ 4 w 4"/>
              <a:gd name="T1" fmla="*/ 27 h 27"/>
              <a:gd name="T2" fmla="*/ 0 w 4"/>
              <a:gd name="T3" fmla="*/ 6 h 27"/>
              <a:gd name="T4" fmla="*/ 0 w 4"/>
              <a:gd name="T5" fmla="*/ 6 h 27"/>
              <a:gd name="T6" fmla="*/ 0 w 4"/>
              <a:gd name="T7" fmla="*/ 0 h 27"/>
            </a:gdLst>
            <a:ahLst/>
            <a:cxnLst>
              <a:cxn ang="0">
                <a:pos x="T0" y="T1"/>
              </a:cxn>
              <a:cxn ang="0">
                <a:pos x="T2" y="T3"/>
              </a:cxn>
              <a:cxn ang="0">
                <a:pos x="T4" y="T5"/>
              </a:cxn>
              <a:cxn ang="0">
                <a:pos x="T6" y="T7"/>
              </a:cxn>
            </a:cxnLst>
            <a:rect l="0" t="0" r="r" b="b"/>
            <a:pathLst>
              <a:path w="4" h="27">
                <a:moveTo>
                  <a:pt x="4" y="27"/>
                </a:moveTo>
                <a:cubicBezTo>
                  <a:pt x="1" y="21"/>
                  <a:pt x="0" y="14"/>
                  <a:pt x="0" y="6"/>
                </a:cubicBezTo>
                <a:cubicBezTo>
                  <a:pt x="0" y="6"/>
                  <a:pt x="0" y="6"/>
                  <a:pt x="0" y="6"/>
                </a:cubicBezTo>
                <a:cubicBezTo>
                  <a:pt x="0" y="4"/>
                  <a:pt x="0" y="2"/>
                  <a:pt x="0" y="0"/>
                </a:cubicBezTo>
              </a:path>
            </a:pathLst>
          </a:custGeom>
          <a:noFill/>
          <a:ln w="15875" cap="rnd">
            <a:solidFill>
              <a:schemeClr val="accent1">
                <a:lumMod val="100000"/>
              </a:schemeClr>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cs typeface="+mn-ea"/>
              <a:sym typeface="+mn-lt"/>
            </a:endParaRPr>
          </a:p>
        </p:txBody>
      </p:sp>
      <p:sp>
        <p:nvSpPr>
          <p:cNvPr id="46" name="Line 43">
            <a:extLst>
              <a:ext uri="{FF2B5EF4-FFF2-40B4-BE49-F238E27FC236}">
                <a16:creationId xmlns:a16="http://schemas.microsoft.com/office/drawing/2014/main" id="{5D48CD72-209F-4D80-BC36-1258037F61BB}"/>
              </a:ext>
            </a:extLst>
          </p:cNvPr>
          <p:cNvSpPr>
            <a:spLocks noChangeShapeType="1"/>
          </p:cNvSpPr>
          <p:nvPr/>
        </p:nvSpPr>
        <p:spPr bwMode="auto">
          <a:xfrm>
            <a:off x="6854825" y="1370013"/>
            <a:ext cx="312738" cy="0"/>
          </a:xfrm>
          <a:prstGeom prst="line">
            <a:avLst/>
          </a:prstGeom>
          <a:noFill/>
          <a:ln w="15875" cap="rnd">
            <a:solidFill>
              <a:schemeClr val="accent1">
                <a:lumMod val="10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cs typeface="+mn-ea"/>
              <a:sym typeface="+mn-lt"/>
            </a:endParaRPr>
          </a:p>
        </p:txBody>
      </p:sp>
      <p:sp>
        <p:nvSpPr>
          <p:cNvPr id="47" name="Freeform 44">
            <a:extLst>
              <a:ext uri="{FF2B5EF4-FFF2-40B4-BE49-F238E27FC236}">
                <a16:creationId xmlns:a16="http://schemas.microsoft.com/office/drawing/2014/main" id="{94C5E50E-8808-4A9A-95C7-9D0AA73427A1}"/>
              </a:ext>
            </a:extLst>
          </p:cNvPr>
          <p:cNvSpPr>
            <a:spLocks/>
          </p:cNvSpPr>
          <p:nvPr/>
        </p:nvSpPr>
        <p:spPr bwMode="auto">
          <a:xfrm>
            <a:off x="6091238" y="1370013"/>
            <a:ext cx="512763" cy="80963"/>
          </a:xfrm>
          <a:custGeom>
            <a:avLst/>
            <a:gdLst>
              <a:gd name="T0" fmla="*/ 0 w 121"/>
              <a:gd name="T1" fmla="*/ 19 h 19"/>
              <a:gd name="T2" fmla="*/ 33 w 121"/>
              <a:gd name="T3" fmla="*/ 0 h 19"/>
              <a:gd name="T4" fmla="*/ 121 w 121"/>
              <a:gd name="T5" fmla="*/ 0 h 19"/>
            </a:gdLst>
            <a:ahLst/>
            <a:cxnLst>
              <a:cxn ang="0">
                <a:pos x="T0" y="T1"/>
              </a:cxn>
              <a:cxn ang="0">
                <a:pos x="T2" y="T3"/>
              </a:cxn>
              <a:cxn ang="0">
                <a:pos x="T4" y="T5"/>
              </a:cxn>
            </a:cxnLst>
            <a:rect l="0" t="0" r="r" b="b"/>
            <a:pathLst>
              <a:path w="121" h="19">
                <a:moveTo>
                  <a:pt x="0" y="19"/>
                </a:moveTo>
                <a:cubicBezTo>
                  <a:pt x="8" y="7"/>
                  <a:pt x="20" y="0"/>
                  <a:pt x="33" y="0"/>
                </a:cubicBezTo>
                <a:cubicBezTo>
                  <a:pt x="121" y="0"/>
                  <a:pt x="121" y="0"/>
                  <a:pt x="121" y="0"/>
                </a:cubicBezTo>
              </a:path>
            </a:pathLst>
          </a:custGeom>
          <a:noFill/>
          <a:ln w="15875" cap="rnd">
            <a:solidFill>
              <a:schemeClr val="accent1">
                <a:lumMod val="100000"/>
              </a:schemeClr>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cs typeface="+mn-ea"/>
              <a:sym typeface="+mn-lt"/>
            </a:endParaRPr>
          </a:p>
        </p:txBody>
      </p:sp>
      <p:sp>
        <p:nvSpPr>
          <p:cNvPr id="48" name="Freeform 45">
            <a:extLst>
              <a:ext uri="{FF2B5EF4-FFF2-40B4-BE49-F238E27FC236}">
                <a16:creationId xmlns:a16="http://schemas.microsoft.com/office/drawing/2014/main" id="{88B26E65-95FE-47FC-B1D5-59F8BC4954C5}"/>
              </a:ext>
            </a:extLst>
          </p:cNvPr>
          <p:cNvSpPr>
            <a:spLocks/>
          </p:cNvSpPr>
          <p:nvPr/>
        </p:nvSpPr>
        <p:spPr bwMode="auto">
          <a:xfrm>
            <a:off x="3473450" y="1935163"/>
            <a:ext cx="22225" cy="114300"/>
          </a:xfrm>
          <a:custGeom>
            <a:avLst/>
            <a:gdLst>
              <a:gd name="T0" fmla="*/ 5 w 5"/>
              <a:gd name="T1" fmla="*/ 27 h 27"/>
              <a:gd name="T2" fmla="*/ 0 w 5"/>
              <a:gd name="T3" fmla="*/ 6 h 27"/>
              <a:gd name="T4" fmla="*/ 0 w 5"/>
              <a:gd name="T5" fmla="*/ 6 h 27"/>
              <a:gd name="T6" fmla="*/ 1 w 5"/>
              <a:gd name="T7" fmla="*/ 0 h 27"/>
            </a:gdLst>
            <a:ahLst/>
            <a:cxnLst>
              <a:cxn ang="0">
                <a:pos x="T0" y="T1"/>
              </a:cxn>
              <a:cxn ang="0">
                <a:pos x="T2" y="T3"/>
              </a:cxn>
              <a:cxn ang="0">
                <a:pos x="T4" y="T5"/>
              </a:cxn>
              <a:cxn ang="0">
                <a:pos x="T6" y="T7"/>
              </a:cxn>
            </a:cxnLst>
            <a:rect l="0" t="0" r="r" b="b"/>
            <a:pathLst>
              <a:path w="5" h="27">
                <a:moveTo>
                  <a:pt x="5" y="27"/>
                </a:moveTo>
                <a:cubicBezTo>
                  <a:pt x="2" y="20"/>
                  <a:pt x="0" y="13"/>
                  <a:pt x="0" y="6"/>
                </a:cubicBezTo>
                <a:cubicBezTo>
                  <a:pt x="0" y="6"/>
                  <a:pt x="0" y="6"/>
                  <a:pt x="0" y="6"/>
                </a:cubicBezTo>
                <a:cubicBezTo>
                  <a:pt x="0" y="4"/>
                  <a:pt x="1" y="2"/>
                  <a:pt x="1" y="0"/>
                </a:cubicBezTo>
              </a:path>
            </a:pathLst>
          </a:custGeom>
          <a:noFill/>
          <a:ln w="15875" cap="rnd">
            <a:solidFill>
              <a:schemeClr val="accent1">
                <a:lumMod val="100000"/>
              </a:schemeClr>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cs typeface="+mn-ea"/>
              <a:sym typeface="+mn-lt"/>
            </a:endParaRPr>
          </a:p>
        </p:txBody>
      </p:sp>
      <p:sp>
        <p:nvSpPr>
          <p:cNvPr id="49" name="Line 46">
            <a:extLst>
              <a:ext uri="{FF2B5EF4-FFF2-40B4-BE49-F238E27FC236}">
                <a16:creationId xmlns:a16="http://schemas.microsoft.com/office/drawing/2014/main" id="{65B2EE9C-6584-4F5D-A15A-F0BF5F3E2DD7}"/>
              </a:ext>
            </a:extLst>
          </p:cNvPr>
          <p:cNvSpPr>
            <a:spLocks noChangeShapeType="1"/>
          </p:cNvSpPr>
          <p:nvPr/>
        </p:nvSpPr>
        <p:spPr bwMode="auto">
          <a:xfrm>
            <a:off x="4270375" y="1760538"/>
            <a:ext cx="312738" cy="0"/>
          </a:xfrm>
          <a:prstGeom prst="line">
            <a:avLst/>
          </a:prstGeom>
          <a:noFill/>
          <a:ln w="15875" cap="rnd">
            <a:solidFill>
              <a:schemeClr val="accent1">
                <a:lumMod val="10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cs typeface="+mn-ea"/>
              <a:sym typeface="+mn-lt"/>
            </a:endParaRPr>
          </a:p>
        </p:txBody>
      </p:sp>
      <p:sp>
        <p:nvSpPr>
          <p:cNvPr id="50" name="Freeform 47">
            <a:extLst>
              <a:ext uri="{FF2B5EF4-FFF2-40B4-BE49-F238E27FC236}">
                <a16:creationId xmlns:a16="http://schemas.microsoft.com/office/drawing/2014/main" id="{0A8DEE8B-49EA-48B4-A3A3-73D6F2E43D9E}"/>
              </a:ext>
            </a:extLst>
          </p:cNvPr>
          <p:cNvSpPr>
            <a:spLocks/>
          </p:cNvSpPr>
          <p:nvPr/>
        </p:nvSpPr>
        <p:spPr bwMode="auto">
          <a:xfrm>
            <a:off x="3508375" y="1760538"/>
            <a:ext cx="512763" cy="85725"/>
          </a:xfrm>
          <a:custGeom>
            <a:avLst/>
            <a:gdLst>
              <a:gd name="T0" fmla="*/ 0 w 121"/>
              <a:gd name="T1" fmla="*/ 20 h 20"/>
              <a:gd name="T2" fmla="*/ 33 w 121"/>
              <a:gd name="T3" fmla="*/ 0 h 20"/>
              <a:gd name="T4" fmla="*/ 121 w 121"/>
              <a:gd name="T5" fmla="*/ 0 h 20"/>
            </a:gdLst>
            <a:ahLst/>
            <a:cxnLst>
              <a:cxn ang="0">
                <a:pos x="T0" y="T1"/>
              </a:cxn>
              <a:cxn ang="0">
                <a:pos x="T2" y="T3"/>
              </a:cxn>
              <a:cxn ang="0">
                <a:pos x="T4" y="T5"/>
              </a:cxn>
            </a:cxnLst>
            <a:rect l="0" t="0" r="r" b="b"/>
            <a:pathLst>
              <a:path w="121" h="20">
                <a:moveTo>
                  <a:pt x="0" y="20"/>
                </a:moveTo>
                <a:cubicBezTo>
                  <a:pt x="8" y="8"/>
                  <a:pt x="20" y="0"/>
                  <a:pt x="33" y="0"/>
                </a:cubicBezTo>
                <a:cubicBezTo>
                  <a:pt x="121" y="0"/>
                  <a:pt x="121" y="0"/>
                  <a:pt x="121" y="0"/>
                </a:cubicBezTo>
              </a:path>
            </a:pathLst>
          </a:custGeom>
          <a:noFill/>
          <a:ln w="15875" cap="rnd">
            <a:solidFill>
              <a:schemeClr val="accent1">
                <a:lumMod val="100000"/>
              </a:schemeClr>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cs typeface="+mn-ea"/>
              <a:sym typeface="+mn-lt"/>
            </a:endParaRPr>
          </a:p>
        </p:txBody>
      </p:sp>
      <p:sp>
        <p:nvSpPr>
          <p:cNvPr id="51" name="Freeform 48">
            <a:extLst>
              <a:ext uri="{FF2B5EF4-FFF2-40B4-BE49-F238E27FC236}">
                <a16:creationId xmlns:a16="http://schemas.microsoft.com/office/drawing/2014/main" id="{AC0ABC95-3964-4B8B-8589-0181DD7F2251}"/>
              </a:ext>
            </a:extLst>
          </p:cNvPr>
          <p:cNvSpPr>
            <a:spLocks/>
          </p:cNvSpPr>
          <p:nvPr/>
        </p:nvSpPr>
        <p:spPr bwMode="auto">
          <a:xfrm>
            <a:off x="885825" y="2262188"/>
            <a:ext cx="17463" cy="109538"/>
          </a:xfrm>
          <a:custGeom>
            <a:avLst/>
            <a:gdLst>
              <a:gd name="T0" fmla="*/ 4 w 4"/>
              <a:gd name="T1" fmla="*/ 26 h 26"/>
              <a:gd name="T2" fmla="*/ 0 w 4"/>
              <a:gd name="T3" fmla="*/ 6 h 26"/>
              <a:gd name="T4" fmla="*/ 0 w 4"/>
              <a:gd name="T5" fmla="*/ 6 h 26"/>
              <a:gd name="T6" fmla="*/ 1 w 4"/>
              <a:gd name="T7" fmla="*/ 0 h 26"/>
            </a:gdLst>
            <a:ahLst/>
            <a:cxnLst>
              <a:cxn ang="0">
                <a:pos x="T0" y="T1"/>
              </a:cxn>
              <a:cxn ang="0">
                <a:pos x="T2" y="T3"/>
              </a:cxn>
              <a:cxn ang="0">
                <a:pos x="T4" y="T5"/>
              </a:cxn>
              <a:cxn ang="0">
                <a:pos x="T6" y="T7"/>
              </a:cxn>
            </a:cxnLst>
            <a:rect l="0" t="0" r="r" b="b"/>
            <a:pathLst>
              <a:path w="4" h="26">
                <a:moveTo>
                  <a:pt x="4" y="26"/>
                </a:moveTo>
                <a:cubicBezTo>
                  <a:pt x="2" y="20"/>
                  <a:pt x="0" y="13"/>
                  <a:pt x="0" y="6"/>
                </a:cubicBezTo>
                <a:cubicBezTo>
                  <a:pt x="0" y="6"/>
                  <a:pt x="0" y="6"/>
                  <a:pt x="0" y="6"/>
                </a:cubicBezTo>
                <a:cubicBezTo>
                  <a:pt x="0" y="4"/>
                  <a:pt x="0" y="2"/>
                  <a:pt x="1" y="0"/>
                </a:cubicBezTo>
              </a:path>
            </a:pathLst>
          </a:custGeom>
          <a:noFill/>
          <a:ln w="15875" cap="rnd">
            <a:solidFill>
              <a:schemeClr val="accent1">
                <a:lumMod val="100000"/>
              </a:schemeClr>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cs typeface="+mn-ea"/>
              <a:sym typeface="+mn-lt"/>
            </a:endParaRPr>
          </a:p>
        </p:txBody>
      </p:sp>
      <p:sp>
        <p:nvSpPr>
          <p:cNvPr id="52" name="Line 49">
            <a:extLst>
              <a:ext uri="{FF2B5EF4-FFF2-40B4-BE49-F238E27FC236}">
                <a16:creationId xmlns:a16="http://schemas.microsoft.com/office/drawing/2014/main" id="{BFE8E992-262D-4E42-A39C-B43D937E9720}"/>
              </a:ext>
            </a:extLst>
          </p:cNvPr>
          <p:cNvSpPr>
            <a:spLocks noChangeShapeType="1"/>
          </p:cNvSpPr>
          <p:nvPr/>
        </p:nvSpPr>
        <p:spPr bwMode="auto">
          <a:xfrm>
            <a:off x="1682750" y="2087563"/>
            <a:ext cx="309563" cy="0"/>
          </a:xfrm>
          <a:prstGeom prst="line">
            <a:avLst/>
          </a:prstGeom>
          <a:noFill/>
          <a:ln w="15875" cap="rnd">
            <a:solidFill>
              <a:schemeClr val="accent1">
                <a:lumMod val="10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cs typeface="+mn-ea"/>
              <a:sym typeface="+mn-lt"/>
            </a:endParaRPr>
          </a:p>
        </p:txBody>
      </p:sp>
      <p:sp>
        <p:nvSpPr>
          <p:cNvPr id="53" name="Freeform 50">
            <a:extLst>
              <a:ext uri="{FF2B5EF4-FFF2-40B4-BE49-F238E27FC236}">
                <a16:creationId xmlns:a16="http://schemas.microsoft.com/office/drawing/2014/main" id="{788317DE-DB63-4C66-ACDE-22BCB2D9723D}"/>
              </a:ext>
            </a:extLst>
          </p:cNvPr>
          <p:cNvSpPr>
            <a:spLocks/>
          </p:cNvSpPr>
          <p:nvPr/>
        </p:nvSpPr>
        <p:spPr bwMode="auto">
          <a:xfrm>
            <a:off x="920750" y="2087563"/>
            <a:ext cx="511175" cy="85725"/>
          </a:xfrm>
          <a:custGeom>
            <a:avLst/>
            <a:gdLst>
              <a:gd name="T0" fmla="*/ 0 w 121"/>
              <a:gd name="T1" fmla="*/ 20 h 20"/>
              <a:gd name="T2" fmla="*/ 33 w 121"/>
              <a:gd name="T3" fmla="*/ 0 h 20"/>
              <a:gd name="T4" fmla="*/ 121 w 121"/>
              <a:gd name="T5" fmla="*/ 0 h 20"/>
            </a:gdLst>
            <a:ahLst/>
            <a:cxnLst>
              <a:cxn ang="0">
                <a:pos x="T0" y="T1"/>
              </a:cxn>
              <a:cxn ang="0">
                <a:pos x="T2" y="T3"/>
              </a:cxn>
              <a:cxn ang="0">
                <a:pos x="T4" y="T5"/>
              </a:cxn>
            </a:cxnLst>
            <a:rect l="0" t="0" r="r" b="b"/>
            <a:pathLst>
              <a:path w="121" h="20">
                <a:moveTo>
                  <a:pt x="0" y="20"/>
                </a:moveTo>
                <a:cubicBezTo>
                  <a:pt x="7" y="8"/>
                  <a:pt x="19" y="0"/>
                  <a:pt x="33" y="0"/>
                </a:cubicBezTo>
                <a:cubicBezTo>
                  <a:pt x="121" y="0"/>
                  <a:pt x="121" y="0"/>
                  <a:pt x="121" y="0"/>
                </a:cubicBezTo>
              </a:path>
            </a:pathLst>
          </a:custGeom>
          <a:noFill/>
          <a:ln w="15875" cap="rnd">
            <a:solidFill>
              <a:schemeClr val="accent1">
                <a:lumMod val="100000"/>
              </a:schemeClr>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cs typeface="+mn-ea"/>
              <a:sym typeface="+mn-lt"/>
            </a:endParaRPr>
          </a:p>
        </p:txBody>
      </p:sp>
      <p:sp>
        <p:nvSpPr>
          <p:cNvPr id="54" name="Freeform 51">
            <a:extLst>
              <a:ext uri="{FF2B5EF4-FFF2-40B4-BE49-F238E27FC236}">
                <a16:creationId xmlns:a16="http://schemas.microsoft.com/office/drawing/2014/main" id="{842C8432-AC78-4543-B09A-F15DD6B9E81D}"/>
              </a:ext>
            </a:extLst>
          </p:cNvPr>
          <p:cNvSpPr>
            <a:spLocks/>
          </p:cNvSpPr>
          <p:nvPr/>
        </p:nvSpPr>
        <p:spPr bwMode="auto">
          <a:xfrm>
            <a:off x="8620125" y="5559425"/>
            <a:ext cx="17463" cy="114300"/>
          </a:xfrm>
          <a:custGeom>
            <a:avLst/>
            <a:gdLst>
              <a:gd name="T0" fmla="*/ 4 w 4"/>
              <a:gd name="T1" fmla="*/ 0 h 27"/>
              <a:gd name="T2" fmla="*/ 0 w 4"/>
              <a:gd name="T3" fmla="*/ 21 h 27"/>
              <a:gd name="T4" fmla="*/ 0 w 4"/>
              <a:gd name="T5" fmla="*/ 21 h 27"/>
              <a:gd name="T6" fmla="*/ 0 w 4"/>
              <a:gd name="T7" fmla="*/ 27 h 27"/>
            </a:gdLst>
            <a:ahLst/>
            <a:cxnLst>
              <a:cxn ang="0">
                <a:pos x="T0" y="T1"/>
              </a:cxn>
              <a:cxn ang="0">
                <a:pos x="T2" y="T3"/>
              </a:cxn>
              <a:cxn ang="0">
                <a:pos x="T4" y="T5"/>
              </a:cxn>
              <a:cxn ang="0">
                <a:pos x="T6" y="T7"/>
              </a:cxn>
            </a:cxnLst>
            <a:rect l="0" t="0" r="r" b="b"/>
            <a:pathLst>
              <a:path w="4" h="27">
                <a:moveTo>
                  <a:pt x="4" y="0"/>
                </a:moveTo>
                <a:cubicBezTo>
                  <a:pt x="1" y="7"/>
                  <a:pt x="0" y="14"/>
                  <a:pt x="0" y="21"/>
                </a:cubicBezTo>
                <a:cubicBezTo>
                  <a:pt x="0" y="21"/>
                  <a:pt x="0" y="21"/>
                  <a:pt x="0" y="21"/>
                </a:cubicBezTo>
                <a:cubicBezTo>
                  <a:pt x="0" y="23"/>
                  <a:pt x="0" y="25"/>
                  <a:pt x="0" y="27"/>
                </a:cubicBezTo>
              </a:path>
            </a:pathLst>
          </a:custGeom>
          <a:noFill/>
          <a:ln w="15875" cap="rnd">
            <a:solidFill>
              <a:schemeClr val="accent1">
                <a:lumMod val="100000"/>
              </a:schemeClr>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cs typeface="+mn-ea"/>
              <a:sym typeface="+mn-lt"/>
            </a:endParaRPr>
          </a:p>
        </p:txBody>
      </p:sp>
      <p:sp>
        <p:nvSpPr>
          <p:cNvPr id="55" name="Line 52">
            <a:extLst>
              <a:ext uri="{FF2B5EF4-FFF2-40B4-BE49-F238E27FC236}">
                <a16:creationId xmlns:a16="http://schemas.microsoft.com/office/drawing/2014/main" id="{2CC9BB9D-1383-465F-87C4-92E8891D2F3E}"/>
              </a:ext>
            </a:extLst>
          </p:cNvPr>
          <p:cNvSpPr>
            <a:spLocks noChangeShapeType="1"/>
          </p:cNvSpPr>
          <p:nvPr/>
        </p:nvSpPr>
        <p:spPr bwMode="auto">
          <a:xfrm>
            <a:off x="9412288" y="5848350"/>
            <a:ext cx="314325" cy="0"/>
          </a:xfrm>
          <a:prstGeom prst="line">
            <a:avLst/>
          </a:prstGeom>
          <a:noFill/>
          <a:ln w="15875" cap="rnd">
            <a:solidFill>
              <a:schemeClr val="accent1">
                <a:lumMod val="10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cs typeface="+mn-ea"/>
              <a:sym typeface="+mn-lt"/>
            </a:endParaRPr>
          </a:p>
        </p:txBody>
      </p:sp>
      <p:sp>
        <p:nvSpPr>
          <p:cNvPr id="56" name="Freeform 53">
            <a:extLst>
              <a:ext uri="{FF2B5EF4-FFF2-40B4-BE49-F238E27FC236}">
                <a16:creationId xmlns:a16="http://schemas.microsoft.com/office/drawing/2014/main" id="{70525F13-2531-422A-BA75-172B24DDE0DA}"/>
              </a:ext>
            </a:extLst>
          </p:cNvPr>
          <p:cNvSpPr>
            <a:spLocks/>
          </p:cNvSpPr>
          <p:nvPr/>
        </p:nvSpPr>
        <p:spPr bwMode="auto">
          <a:xfrm>
            <a:off x="8650288" y="5764213"/>
            <a:ext cx="512763" cy="84138"/>
          </a:xfrm>
          <a:custGeom>
            <a:avLst/>
            <a:gdLst>
              <a:gd name="T0" fmla="*/ 0 w 121"/>
              <a:gd name="T1" fmla="*/ 0 h 20"/>
              <a:gd name="T2" fmla="*/ 33 w 121"/>
              <a:gd name="T3" fmla="*/ 20 h 20"/>
              <a:gd name="T4" fmla="*/ 121 w 121"/>
              <a:gd name="T5" fmla="*/ 20 h 20"/>
            </a:gdLst>
            <a:ahLst/>
            <a:cxnLst>
              <a:cxn ang="0">
                <a:pos x="T0" y="T1"/>
              </a:cxn>
              <a:cxn ang="0">
                <a:pos x="T2" y="T3"/>
              </a:cxn>
              <a:cxn ang="0">
                <a:pos x="T4" y="T5"/>
              </a:cxn>
            </a:cxnLst>
            <a:rect l="0" t="0" r="r" b="b"/>
            <a:pathLst>
              <a:path w="121" h="20">
                <a:moveTo>
                  <a:pt x="0" y="0"/>
                </a:moveTo>
                <a:cubicBezTo>
                  <a:pt x="8" y="12"/>
                  <a:pt x="20" y="20"/>
                  <a:pt x="33" y="20"/>
                </a:cubicBezTo>
                <a:cubicBezTo>
                  <a:pt x="121" y="20"/>
                  <a:pt x="121" y="20"/>
                  <a:pt x="121" y="20"/>
                </a:cubicBezTo>
              </a:path>
            </a:pathLst>
          </a:custGeom>
          <a:noFill/>
          <a:ln w="15875" cap="rnd">
            <a:solidFill>
              <a:schemeClr val="accent1">
                <a:lumMod val="100000"/>
              </a:schemeClr>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cs typeface="+mn-ea"/>
              <a:sym typeface="+mn-lt"/>
            </a:endParaRPr>
          </a:p>
        </p:txBody>
      </p:sp>
      <p:sp>
        <p:nvSpPr>
          <p:cNvPr id="57" name="Freeform 54">
            <a:extLst>
              <a:ext uri="{FF2B5EF4-FFF2-40B4-BE49-F238E27FC236}">
                <a16:creationId xmlns:a16="http://schemas.microsoft.com/office/drawing/2014/main" id="{43F8116C-3E3F-409E-883D-6C982B0BB9EA}"/>
              </a:ext>
            </a:extLst>
          </p:cNvPr>
          <p:cNvSpPr>
            <a:spLocks/>
          </p:cNvSpPr>
          <p:nvPr/>
        </p:nvSpPr>
        <p:spPr bwMode="auto">
          <a:xfrm>
            <a:off x="6062663" y="5203825"/>
            <a:ext cx="15875" cy="114300"/>
          </a:xfrm>
          <a:custGeom>
            <a:avLst/>
            <a:gdLst>
              <a:gd name="T0" fmla="*/ 4 w 4"/>
              <a:gd name="T1" fmla="*/ 0 h 27"/>
              <a:gd name="T2" fmla="*/ 0 w 4"/>
              <a:gd name="T3" fmla="*/ 21 h 27"/>
              <a:gd name="T4" fmla="*/ 0 w 4"/>
              <a:gd name="T5" fmla="*/ 21 h 27"/>
              <a:gd name="T6" fmla="*/ 0 w 4"/>
              <a:gd name="T7" fmla="*/ 27 h 27"/>
            </a:gdLst>
            <a:ahLst/>
            <a:cxnLst>
              <a:cxn ang="0">
                <a:pos x="T0" y="T1"/>
              </a:cxn>
              <a:cxn ang="0">
                <a:pos x="T2" y="T3"/>
              </a:cxn>
              <a:cxn ang="0">
                <a:pos x="T4" y="T5"/>
              </a:cxn>
              <a:cxn ang="0">
                <a:pos x="T6" y="T7"/>
              </a:cxn>
            </a:cxnLst>
            <a:rect l="0" t="0" r="r" b="b"/>
            <a:pathLst>
              <a:path w="4" h="27">
                <a:moveTo>
                  <a:pt x="4" y="0"/>
                </a:moveTo>
                <a:cubicBezTo>
                  <a:pt x="1" y="7"/>
                  <a:pt x="0" y="14"/>
                  <a:pt x="0" y="21"/>
                </a:cubicBezTo>
                <a:cubicBezTo>
                  <a:pt x="0" y="21"/>
                  <a:pt x="0" y="21"/>
                  <a:pt x="0" y="21"/>
                </a:cubicBezTo>
                <a:cubicBezTo>
                  <a:pt x="0" y="23"/>
                  <a:pt x="0" y="25"/>
                  <a:pt x="0" y="27"/>
                </a:cubicBezTo>
              </a:path>
            </a:pathLst>
          </a:custGeom>
          <a:noFill/>
          <a:ln w="15875" cap="rnd">
            <a:solidFill>
              <a:schemeClr val="accent1">
                <a:lumMod val="100000"/>
              </a:schemeClr>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cs typeface="+mn-ea"/>
              <a:sym typeface="+mn-lt"/>
            </a:endParaRPr>
          </a:p>
        </p:txBody>
      </p:sp>
      <p:sp>
        <p:nvSpPr>
          <p:cNvPr id="58" name="Line 55">
            <a:extLst>
              <a:ext uri="{FF2B5EF4-FFF2-40B4-BE49-F238E27FC236}">
                <a16:creationId xmlns:a16="http://schemas.microsoft.com/office/drawing/2014/main" id="{D0B5C361-7F5E-4651-B0D6-BB64167E0EDF}"/>
              </a:ext>
            </a:extLst>
          </p:cNvPr>
          <p:cNvSpPr>
            <a:spLocks noChangeShapeType="1"/>
          </p:cNvSpPr>
          <p:nvPr/>
        </p:nvSpPr>
        <p:spPr bwMode="auto">
          <a:xfrm>
            <a:off x="6854825" y="5491163"/>
            <a:ext cx="312738" cy="0"/>
          </a:xfrm>
          <a:prstGeom prst="line">
            <a:avLst/>
          </a:prstGeom>
          <a:noFill/>
          <a:ln w="15875" cap="rnd">
            <a:solidFill>
              <a:schemeClr val="accent1">
                <a:lumMod val="10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cs typeface="+mn-ea"/>
              <a:sym typeface="+mn-lt"/>
            </a:endParaRPr>
          </a:p>
        </p:txBody>
      </p:sp>
      <p:sp>
        <p:nvSpPr>
          <p:cNvPr id="59" name="Freeform 56">
            <a:extLst>
              <a:ext uri="{FF2B5EF4-FFF2-40B4-BE49-F238E27FC236}">
                <a16:creationId xmlns:a16="http://schemas.microsoft.com/office/drawing/2014/main" id="{6A468EB4-496A-407B-8914-3D95994C2BAD}"/>
              </a:ext>
            </a:extLst>
          </p:cNvPr>
          <p:cNvSpPr>
            <a:spLocks/>
          </p:cNvSpPr>
          <p:nvPr/>
        </p:nvSpPr>
        <p:spPr bwMode="auto">
          <a:xfrm>
            <a:off x="6091238" y="5407025"/>
            <a:ext cx="512763" cy="84138"/>
          </a:xfrm>
          <a:custGeom>
            <a:avLst/>
            <a:gdLst>
              <a:gd name="T0" fmla="*/ 0 w 121"/>
              <a:gd name="T1" fmla="*/ 0 h 20"/>
              <a:gd name="T2" fmla="*/ 33 w 121"/>
              <a:gd name="T3" fmla="*/ 20 h 20"/>
              <a:gd name="T4" fmla="*/ 121 w 121"/>
              <a:gd name="T5" fmla="*/ 20 h 20"/>
            </a:gdLst>
            <a:ahLst/>
            <a:cxnLst>
              <a:cxn ang="0">
                <a:pos x="T0" y="T1"/>
              </a:cxn>
              <a:cxn ang="0">
                <a:pos x="T2" y="T3"/>
              </a:cxn>
              <a:cxn ang="0">
                <a:pos x="T4" y="T5"/>
              </a:cxn>
            </a:cxnLst>
            <a:rect l="0" t="0" r="r" b="b"/>
            <a:pathLst>
              <a:path w="121" h="20">
                <a:moveTo>
                  <a:pt x="0" y="0"/>
                </a:moveTo>
                <a:cubicBezTo>
                  <a:pt x="8" y="12"/>
                  <a:pt x="20" y="20"/>
                  <a:pt x="33" y="20"/>
                </a:cubicBezTo>
                <a:cubicBezTo>
                  <a:pt x="121" y="20"/>
                  <a:pt x="121" y="20"/>
                  <a:pt x="121" y="20"/>
                </a:cubicBezTo>
              </a:path>
            </a:pathLst>
          </a:custGeom>
          <a:noFill/>
          <a:ln w="15875" cap="rnd">
            <a:solidFill>
              <a:schemeClr val="accent1">
                <a:lumMod val="100000"/>
              </a:schemeClr>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cs typeface="+mn-ea"/>
              <a:sym typeface="+mn-lt"/>
            </a:endParaRPr>
          </a:p>
        </p:txBody>
      </p:sp>
      <p:sp>
        <p:nvSpPr>
          <p:cNvPr id="60" name="Freeform 57">
            <a:extLst>
              <a:ext uri="{FF2B5EF4-FFF2-40B4-BE49-F238E27FC236}">
                <a16:creationId xmlns:a16="http://schemas.microsoft.com/office/drawing/2014/main" id="{B55C22A0-6AA4-4003-A787-B7B4CDC4EA33}"/>
              </a:ext>
            </a:extLst>
          </p:cNvPr>
          <p:cNvSpPr>
            <a:spLocks/>
          </p:cNvSpPr>
          <p:nvPr/>
        </p:nvSpPr>
        <p:spPr bwMode="auto">
          <a:xfrm>
            <a:off x="3473450" y="4813300"/>
            <a:ext cx="22225" cy="114300"/>
          </a:xfrm>
          <a:custGeom>
            <a:avLst/>
            <a:gdLst>
              <a:gd name="T0" fmla="*/ 5 w 5"/>
              <a:gd name="T1" fmla="*/ 0 h 27"/>
              <a:gd name="T2" fmla="*/ 0 w 5"/>
              <a:gd name="T3" fmla="*/ 20 h 27"/>
              <a:gd name="T4" fmla="*/ 0 w 5"/>
              <a:gd name="T5" fmla="*/ 20 h 27"/>
              <a:gd name="T6" fmla="*/ 1 w 5"/>
              <a:gd name="T7" fmla="*/ 27 h 27"/>
            </a:gdLst>
            <a:ahLst/>
            <a:cxnLst>
              <a:cxn ang="0">
                <a:pos x="T0" y="T1"/>
              </a:cxn>
              <a:cxn ang="0">
                <a:pos x="T2" y="T3"/>
              </a:cxn>
              <a:cxn ang="0">
                <a:pos x="T4" y="T5"/>
              </a:cxn>
              <a:cxn ang="0">
                <a:pos x="T6" y="T7"/>
              </a:cxn>
            </a:cxnLst>
            <a:rect l="0" t="0" r="r" b="b"/>
            <a:pathLst>
              <a:path w="5" h="27">
                <a:moveTo>
                  <a:pt x="5" y="0"/>
                </a:moveTo>
                <a:cubicBezTo>
                  <a:pt x="2" y="6"/>
                  <a:pt x="0" y="13"/>
                  <a:pt x="0" y="20"/>
                </a:cubicBezTo>
                <a:cubicBezTo>
                  <a:pt x="0" y="20"/>
                  <a:pt x="0" y="20"/>
                  <a:pt x="0" y="20"/>
                </a:cubicBezTo>
                <a:cubicBezTo>
                  <a:pt x="0" y="22"/>
                  <a:pt x="1" y="24"/>
                  <a:pt x="1" y="27"/>
                </a:cubicBezTo>
              </a:path>
            </a:pathLst>
          </a:custGeom>
          <a:noFill/>
          <a:ln w="15875" cap="rnd">
            <a:solidFill>
              <a:schemeClr val="accent1">
                <a:lumMod val="100000"/>
              </a:schemeClr>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cs typeface="+mn-ea"/>
              <a:sym typeface="+mn-lt"/>
            </a:endParaRPr>
          </a:p>
        </p:txBody>
      </p:sp>
      <p:sp>
        <p:nvSpPr>
          <p:cNvPr id="61" name="Line 58">
            <a:extLst>
              <a:ext uri="{FF2B5EF4-FFF2-40B4-BE49-F238E27FC236}">
                <a16:creationId xmlns:a16="http://schemas.microsoft.com/office/drawing/2014/main" id="{4FB3ED67-5635-46B1-9E3F-3024D9947AC7}"/>
              </a:ext>
            </a:extLst>
          </p:cNvPr>
          <p:cNvSpPr>
            <a:spLocks noChangeShapeType="1"/>
          </p:cNvSpPr>
          <p:nvPr/>
        </p:nvSpPr>
        <p:spPr bwMode="auto">
          <a:xfrm>
            <a:off x="4270375" y="5097463"/>
            <a:ext cx="312738" cy="0"/>
          </a:xfrm>
          <a:prstGeom prst="line">
            <a:avLst/>
          </a:prstGeom>
          <a:noFill/>
          <a:ln w="15875" cap="rnd">
            <a:solidFill>
              <a:schemeClr val="accent1">
                <a:lumMod val="10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cs typeface="+mn-ea"/>
              <a:sym typeface="+mn-lt"/>
            </a:endParaRPr>
          </a:p>
        </p:txBody>
      </p:sp>
      <p:sp>
        <p:nvSpPr>
          <p:cNvPr id="62" name="Freeform 59">
            <a:extLst>
              <a:ext uri="{FF2B5EF4-FFF2-40B4-BE49-F238E27FC236}">
                <a16:creationId xmlns:a16="http://schemas.microsoft.com/office/drawing/2014/main" id="{1CC314A8-464D-4EBF-9047-B68AA87FC560}"/>
              </a:ext>
            </a:extLst>
          </p:cNvPr>
          <p:cNvSpPr>
            <a:spLocks/>
          </p:cNvSpPr>
          <p:nvPr/>
        </p:nvSpPr>
        <p:spPr bwMode="auto">
          <a:xfrm>
            <a:off x="3508375" y="5016500"/>
            <a:ext cx="512763" cy="80963"/>
          </a:xfrm>
          <a:custGeom>
            <a:avLst/>
            <a:gdLst>
              <a:gd name="T0" fmla="*/ 0 w 121"/>
              <a:gd name="T1" fmla="*/ 0 h 19"/>
              <a:gd name="T2" fmla="*/ 33 w 121"/>
              <a:gd name="T3" fmla="*/ 19 h 19"/>
              <a:gd name="T4" fmla="*/ 121 w 121"/>
              <a:gd name="T5" fmla="*/ 19 h 19"/>
            </a:gdLst>
            <a:ahLst/>
            <a:cxnLst>
              <a:cxn ang="0">
                <a:pos x="T0" y="T1"/>
              </a:cxn>
              <a:cxn ang="0">
                <a:pos x="T2" y="T3"/>
              </a:cxn>
              <a:cxn ang="0">
                <a:pos x="T4" y="T5"/>
              </a:cxn>
            </a:cxnLst>
            <a:rect l="0" t="0" r="r" b="b"/>
            <a:pathLst>
              <a:path w="121" h="19">
                <a:moveTo>
                  <a:pt x="0" y="0"/>
                </a:moveTo>
                <a:cubicBezTo>
                  <a:pt x="8" y="11"/>
                  <a:pt x="20" y="19"/>
                  <a:pt x="33" y="19"/>
                </a:cubicBezTo>
                <a:cubicBezTo>
                  <a:pt x="121" y="19"/>
                  <a:pt x="121" y="19"/>
                  <a:pt x="121" y="19"/>
                </a:cubicBezTo>
              </a:path>
            </a:pathLst>
          </a:custGeom>
          <a:noFill/>
          <a:ln w="15875" cap="rnd">
            <a:solidFill>
              <a:schemeClr val="accent1">
                <a:lumMod val="100000"/>
              </a:schemeClr>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cs typeface="+mn-ea"/>
              <a:sym typeface="+mn-lt"/>
            </a:endParaRPr>
          </a:p>
        </p:txBody>
      </p:sp>
      <p:sp>
        <p:nvSpPr>
          <p:cNvPr id="63" name="Freeform 60">
            <a:extLst>
              <a:ext uri="{FF2B5EF4-FFF2-40B4-BE49-F238E27FC236}">
                <a16:creationId xmlns:a16="http://schemas.microsoft.com/office/drawing/2014/main" id="{01FC70D8-875F-4933-8572-206B2DBE7FEF}"/>
              </a:ext>
            </a:extLst>
          </p:cNvPr>
          <p:cNvSpPr>
            <a:spLocks/>
          </p:cNvSpPr>
          <p:nvPr/>
        </p:nvSpPr>
        <p:spPr bwMode="auto">
          <a:xfrm>
            <a:off x="885825" y="4486275"/>
            <a:ext cx="17463" cy="114300"/>
          </a:xfrm>
          <a:custGeom>
            <a:avLst/>
            <a:gdLst>
              <a:gd name="T0" fmla="*/ 4 w 4"/>
              <a:gd name="T1" fmla="*/ 0 h 27"/>
              <a:gd name="T2" fmla="*/ 0 w 4"/>
              <a:gd name="T3" fmla="*/ 21 h 27"/>
              <a:gd name="T4" fmla="*/ 0 w 4"/>
              <a:gd name="T5" fmla="*/ 21 h 27"/>
              <a:gd name="T6" fmla="*/ 1 w 4"/>
              <a:gd name="T7" fmla="*/ 27 h 27"/>
            </a:gdLst>
            <a:ahLst/>
            <a:cxnLst>
              <a:cxn ang="0">
                <a:pos x="T0" y="T1"/>
              </a:cxn>
              <a:cxn ang="0">
                <a:pos x="T2" y="T3"/>
              </a:cxn>
              <a:cxn ang="0">
                <a:pos x="T4" y="T5"/>
              </a:cxn>
              <a:cxn ang="0">
                <a:pos x="T6" y="T7"/>
              </a:cxn>
            </a:cxnLst>
            <a:rect l="0" t="0" r="r" b="b"/>
            <a:pathLst>
              <a:path w="4" h="27">
                <a:moveTo>
                  <a:pt x="4" y="0"/>
                </a:moveTo>
                <a:cubicBezTo>
                  <a:pt x="2" y="6"/>
                  <a:pt x="0" y="13"/>
                  <a:pt x="0" y="21"/>
                </a:cubicBezTo>
                <a:cubicBezTo>
                  <a:pt x="0" y="21"/>
                  <a:pt x="0" y="21"/>
                  <a:pt x="0" y="21"/>
                </a:cubicBezTo>
                <a:cubicBezTo>
                  <a:pt x="0" y="23"/>
                  <a:pt x="0" y="25"/>
                  <a:pt x="1" y="27"/>
                </a:cubicBezTo>
              </a:path>
            </a:pathLst>
          </a:custGeom>
          <a:noFill/>
          <a:ln w="15875" cap="rnd">
            <a:solidFill>
              <a:schemeClr val="accent1">
                <a:lumMod val="100000"/>
              </a:schemeClr>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cs typeface="+mn-ea"/>
              <a:sym typeface="+mn-lt"/>
            </a:endParaRPr>
          </a:p>
        </p:txBody>
      </p:sp>
      <p:sp>
        <p:nvSpPr>
          <p:cNvPr id="64" name="Line 61">
            <a:extLst>
              <a:ext uri="{FF2B5EF4-FFF2-40B4-BE49-F238E27FC236}">
                <a16:creationId xmlns:a16="http://schemas.microsoft.com/office/drawing/2014/main" id="{C891F659-C7EA-4516-AAB7-C8865FDB3F2D}"/>
              </a:ext>
            </a:extLst>
          </p:cNvPr>
          <p:cNvSpPr>
            <a:spLocks noChangeShapeType="1"/>
          </p:cNvSpPr>
          <p:nvPr/>
        </p:nvSpPr>
        <p:spPr bwMode="auto">
          <a:xfrm>
            <a:off x="1682750" y="4770438"/>
            <a:ext cx="309563" cy="0"/>
          </a:xfrm>
          <a:prstGeom prst="line">
            <a:avLst/>
          </a:prstGeom>
          <a:noFill/>
          <a:ln w="15875" cap="rnd">
            <a:solidFill>
              <a:schemeClr val="accent1">
                <a:lumMod val="10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cs typeface="+mn-ea"/>
              <a:sym typeface="+mn-lt"/>
            </a:endParaRPr>
          </a:p>
        </p:txBody>
      </p:sp>
      <p:sp>
        <p:nvSpPr>
          <p:cNvPr id="65" name="Freeform 62">
            <a:extLst>
              <a:ext uri="{FF2B5EF4-FFF2-40B4-BE49-F238E27FC236}">
                <a16:creationId xmlns:a16="http://schemas.microsoft.com/office/drawing/2014/main" id="{84B131B6-C079-40EA-8825-F7BD3FF99DF2}"/>
              </a:ext>
            </a:extLst>
          </p:cNvPr>
          <p:cNvSpPr>
            <a:spLocks/>
          </p:cNvSpPr>
          <p:nvPr/>
        </p:nvSpPr>
        <p:spPr bwMode="auto">
          <a:xfrm>
            <a:off x="920750" y="4689475"/>
            <a:ext cx="511175" cy="80963"/>
          </a:xfrm>
          <a:custGeom>
            <a:avLst/>
            <a:gdLst>
              <a:gd name="T0" fmla="*/ 0 w 121"/>
              <a:gd name="T1" fmla="*/ 0 h 19"/>
              <a:gd name="T2" fmla="*/ 33 w 121"/>
              <a:gd name="T3" fmla="*/ 19 h 19"/>
              <a:gd name="T4" fmla="*/ 121 w 121"/>
              <a:gd name="T5" fmla="*/ 19 h 19"/>
            </a:gdLst>
            <a:ahLst/>
            <a:cxnLst>
              <a:cxn ang="0">
                <a:pos x="T0" y="T1"/>
              </a:cxn>
              <a:cxn ang="0">
                <a:pos x="T2" y="T3"/>
              </a:cxn>
              <a:cxn ang="0">
                <a:pos x="T4" y="T5"/>
              </a:cxn>
            </a:cxnLst>
            <a:rect l="0" t="0" r="r" b="b"/>
            <a:pathLst>
              <a:path w="121" h="19">
                <a:moveTo>
                  <a:pt x="0" y="0"/>
                </a:moveTo>
                <a:cubicBezTo>
                  <a:pt x="7" y="12"/>
                  <a:pt x="19" y="19"/>
                  <a:pt x="33" y="19"/>
                </a:cubicBezTo>
                <a:cubicBezTo>
                  <a:pt x="121" y="19"/>
                  <a:pt x="121" y="19"/>
                  <a:pt x="121" y="19"/>
                </a:cubicBezTo>
              </a:path>
            </a:pathLst>
          </a:custGeom>
          <a:noFill/>
          <a:ln w="15875" cap="rnd">
            <a:solidFill>
              <a:schemeClr val="accent1">
                <a:lumMod val="100000"/>
              </a:schemeClr>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cs typeface="+mn-ea"/>
              <a:sym typeface="+mn-lt"/>
            </a:endParaRPr>
          </a:p>
        </p:txBody>
      </p:sp>
      <p:sp>
        <p:nvSpPr>
          <p:cNvPr id="66" name="Freeform 63">
            <a:extLst>
              <a:ext uri="{FF2B5EF4-FFF2-40B4-BE49-F238E27FC236}">
                <a16:creationId xmlns:a16="http://schemas.microsoft.com/office/drawing/2014/main" id="{E7200409-78E0-42FA-AA4D-43B4908A0637}"/>
              </a:ext>
            </a:extLst>
          </p:cNvPr>
          <p:cNvSpPr>
            <a:spLocks/>
          </p:cNvSpPr>
          <p:nvPr/>
        </p:nvSpPr>
        <p:spPr bwMode="auto">
          <a:xfrm>
            <a:off x="8713788" y="5495925"/>
            <a:ext cx="1368425" cy="271463"/>
          </a:xfrm>
          <a:custGeom>
            <a:avLst/>
            <a:gdLst>
              <a:gd name="T0" fmla="*/ 323 w 323"/>
              <a:gd name="T1" fmla="*/ 0 h 64"/>
              <a:gd name="T2" fmla="*/ 32 w 323"/>
              <a:gd name="T3" fmla="*/ 0 h 64"/>
              <a:gd name="T4" fmla="*/ 0 w 323"/>
              <a:gd name="T5" fmla="*/ 32 h 64"/>
              <a:gd name="T6" fmla="*/ 0 w 323"/>
              <a:gd name="T7" fmla="*/ 32 h 64"/>
              <a:gd name="T8" fmla="*/ 32 w 323"/>
              <a:gd name="T9" fmla="*/ 64 h 64"/>
              <a:gd name="T10" fmla="*/ 296 w 323"/>
              <a:gd name="T11" fmla="*/ 64 h 64"/>
              <a:gd name="T12" fmla="*/ 323 w 323"/>
              <a:gd name="T13" fmla="*/ 0 h 64"/>
            </a:gdLst>
            <a:ahLst/>
            <a:cxnLst>
              <a:cxn ang="0">
                <a:pos x="T0" y="T1"/>
              </a:cxn>
              <a:cxn ang="0">
                <a:pos x="T2" y="T3"/>
              </a:cxn>
              <a:cxn ang="0">
                <a:pos x="T4" y="T5"/>
              </a:cxn>
              <a:cxn ang="0">
                <a:pos x="T6" y="T7"/>
              </a:cxn>
              <a:cxn ang="0">
                <a:pos x="T8" y="T9"/>
              </a:cxn>
              <a:cxn ang="0">
                <a:pos x="T10" y="T11"/>
              </a:cxn>
              <a:cxn ang="0">
                <a:pos x="T12" y="T13"/>
              </a:cxn>
            </a:cxnLst>
            <a:rect l="0" t="0" r="r" b="b"/>
            <a:pathLst>
              <a:path w="323" h="64">
                <a:moveTo>
                  <a:pt x="323" y="0"/>
                </a:moveTo>
                <a:cubicBezTo>
                  <a:pt x="32" y="0"/>
                  <a:pt x="32" y="0"/>
                  <a:pt x="32" y="0"/>
                </a:cubicBezTo>
                <a:cubicBezTo>
                  <a:pt x="15" y="0"/>
                  <a:pt x="0" y="14"/>
                  <a:pt x="0" y="32"/>
                </a:cubicBezTo>
                <a:cubicBezTo>
                  <a:pt x="0" y="32"/>
                  <a:pt x="0" y="32"/>
                  <a:pt x="0" y="32"/>
                </a:cubicBezTo>
                <a:cubicBezTo>
                  <a:pt x="0" y="50"/>
                  <a:pt x="15" y="64"/>
                  <a:pt x="32" y="64"/>
                </a:cubicBezTo>
                <a:cubicBezTo>
                  <a:pt x="296" y="64"/>
                  <a:pt x="296" y="64"/>
                  <a:pt x="296" y="64"/>
                </a:cubicBezTo>
                <a:lnTo>
                  <a:pt x="323" y="0"/>
                </a:lnTo>
                <a:close/>
              </a:path>
            </a:pathLst>
          </a:custGeom>
          <a:solidFill>
            <a:schemeClr val="accent1">
              <a:lumMod val="10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cs typeface="+mn-ea"/>
              <a:sym typeface="+mn-lt"/>
            </a:endParaRPr>
          </a:p>
        </p:txBody>
      </p:sp>
      <p:sp>
        <p:nvSpPr>
          <p:cNvPr id="67" name="Oval 64">
            <a:extLst>
              <a:ext uri="{FF2B5EF4-FFF2-40B4-BE49-F238E27FC236}">
                <a16:creationId xmlns:a16="http://schemas.microsoft.com/office/drawing/2014/main" id="{870CD5E7-FF68-49D3-B2C4-951B90749B00}"/>
              </a:ext>
            </a:extLst>
          </p:cNvPr>
          <p:cNvSpPr>
            <a:spLocks noChangeArrowheads="1"/>
          </p:cNvSpPr>
          <p:nvPr/>
        </p:nvSpPr>
        <p:spPr bwMode="auto">
          <a:xfrm>
            <a:off x="5070475" y="3136900"/>
            <a:ext cx="568325" cy="568325"/>
          </a:xfrm>
          <a:prstGeom prst="ellipse">
            <a:avLst/>
          </a:prstGeom>
          <a:solidFill>
            <a:schemeClr val="accent1">
              <a:lumMod val="10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cs typeface="+mn-ea"/>
              <a:sym typeface="+mn-lt"/>
            </a:endParaRPr>
          </a:p>
        </p:txBody>
      </p:sp>
      <p:sp>
        <p:nvSpPr>
          <p:cNvPr id="68" name="Oval 65">
            <a:extLst>
              <a:ext uri="{FF2B5EF4-FFF2-40B4-BE49-F238E27FC236}">
                <a16:creationId xmlns:a16="http://schemas.microsoft.com/office/drawing/2014/main" id="{83A94095-5249-4020-8E98-42D04BB9606B}"/>
              </a:ext>
            </a:extLst>
          </p:cNvPr>
          <p:cNvSpPr>
            <a:spLocks noChangeArrowheads="1"/>
          </p:cNvSpPr>
          <p:nvPr/>
        </p:nvSpPr>
        <p:spPr bwMode="auto">
          <a:xfrm>
            <a:off x="5016500" y="3081338"/>
            <a:ext cx="673100" cy="674688"/>
          </a:xfrm>
          <a:prstGeom prst="ellipse">
            <a:avLst/>
          </a:prstGeom>
          <a:noFill/>
          <a:ln w="15875" cap="flat">
            <a:solidFill>
              <a:schemeClr val="accent1">
                <a:lumMod val="100000"/>
              </a:schemeClr>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cs typeface="+mn-ea"/>
              <a:sym typeface="+mn-lt"/>
            </a:endParaRPr>
          </a:p>
        </p:txBody>
      </p:sp>
      <p:sp>
        <p:nvSpPr>
          <p:cNvPr id="69" name="Oval 66">
            <a:extLst>
              <a:ext uri="{FF2B5EF4-FFF2-40B4-BE49-F238E27FC236}">
                <a16:creationId xmlns:a16="http://schemas.microsoft.com/office/drawing/2014/main" id="{9455F687-40E2-44D1-A048-5843406DC8BC}"/>
              </a:ext>
            </a:extLst>
          </p:cNvPr>
          <p:cNvSpPr>
            <a:spLocks noChangeArrowheads="1"/>
          </p:cNvSpPr>
          <p:nvPr/>
        </p:nvSpPr>
        <p:spPr bwMode="auto">
          <a:xfrm>
            <a:off x="7799388" y="3136900"/>
            <a:ext cx="571500" cy="568325"/>
          </a:xfrm>
          <a:prstGeom prst="ellipse">
            <a:avLst/>
          </a:prstGeom>
          <a:solidFill>
            <a:schemeClr val="accent1">
              <a:lumMod val="10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cs typeface="+mn-ea"/>
              <a:sym typeface="+mn-lt"/>
            </a:endParaRPr>
          </a:p>
        </p:txBody>
      </p:sp>
      <p:sp>
        <p:nvSpPr>
          <p:cNvPr id="70" name="Oval 67">
            <a:extLst>
              <a:ext uri="{FF2B5EF4-FFF2-40B4-BE49-F238E27FC236}">
                <a16:creationId xmlns:a16="http://schemas.microsoft.com/office/drawing/2014/main" id="{A4874146-BA43-412B-9408-BD4B141CC4FE}"/>
              </a:ext>
            </a:extLst>
          </p:cNvPr>
          <p:cNvSpPr>
            <a:spLocks noChangeArrowheads="1"/>
          </p:cNvSpPr>
          <p:nvPr/>
        </p:nvSpPr>
        <p:spPr bwMode="auto">
          <a:xfrm>
            <a:off x="7748588" y="3081338"/>
            <a:ext cx="673100" cy="674688"/>
          </a:xfrm>
          <a:prstGeom prst="ellipse">
            <a:avLst/>
          </a:prstGeom>
          <a:noFill/>
          <a:ln w="15875" cap="flat">
            <a:solidFill>
              <a:schemeClr val="accent1">
                <a:lumMod val="100000"/>
              </a:schemeClr>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cs typeface="+mn-ea"/>
              <a:sym typeface="+mn-lt"/>
            </a:endParaRPr>
          </a:p>
        </p:txBody>
      </p:sp>
      <p:sp>
        <p:nvSpPr>
          <p:cNvPr id="71" name="Oval 68">
            <a:extLst>
              <a:ext uri="{FF2B5EF4-FFF2-40B4-BE49-F238E27FC236}">
                <a16:creationId xmlns:a16="http://schemas.microsoft.com/office/drawing/2014/main" id="{08244712-EEF4-4B8B-9F35-FB34E2CB1474}"/>
              </a:ext>
            </a:extLst>
          </p:cNvPr>
          <p:cNvSpPr>
            <a:spLocks noChangeArrowheads="1"/>
          </p:cNvSpPr>
          <p:nvPr/>
        </p:nvSpPr>
        <p:spPr bwMode="auto">
          <a:xfrm>
            <a:off x="10534650" y="3136900"/>
            <a:ext cx="568325" cy="568325"/>
          </a:xfrm>
          <a:prstGeom prst="ellipse">
            <a:avLst/>
          </a:prstGeom>
          <a:solidFill>
            <a:schemeClr val="accent1">
              <a:lumMod val="10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cs typeface="+mn-ea"/>
              <a:sym typeface="+mn-lt"/>
            </a:endParaRPr>
          </a:p>
        </p:txBody>
      </p:sp>
      <p:sp>
        <p:nvSpPr>
          <p:cNvPr id="72" name="Oval 69">
            <a:extLst>
              <a:ext uri="{FF2B5EF4-FFF2-40B4-BE49-F238E27FC236}">
                <a16:creationId xmlns:a16="http://schemas.microsoft.com/office/drawing/2014/main" id="{6F43D2A9-39B5-4A9A-9376-7424BC338332}"/>
              </a:ext>
            </a:extLst>
          </p:cNvPr>
          <p:cNvSpPr>
            <a:spLocks noChangeArrowheads="1"/>
          </p:cNvSpPr>
          <p:nvPr/>
        </p:nvSpPr>
        <p:spPr bwMode="auto">
          <a:xfrm>
            <a:off x="10480675" y="3081338"/>
            <a:ext cx="673100" cy="674688"/>
          </a:xfrm>
          <a:prstGeom prst="ellipse">
            <a:avLst/>
          </a:prstGeom>
          <a:noFill/>
          <a:ln w="15875" cap="flat">
            <a:solidFill>
              <a:schemeClr val="accent1">
                <a:lumMod val="100000"/>
              </a:schemeClr>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cs typeface="+mn-ea"/>
              <a:sym typeface="+mn-lt"/>
            </a:endParaRPr>
          </a:p>
        </p:txBody>
      </p:sp>
      <p:sp>
        <p:nvSpPr>
          <p:cNvPr id="73" name="Freeform 70">
            <a:extLst>
              <a:ext uri="{FF2B5EF4-FFF2-40B4-BE49-F238E27FC236}">
                <a16:creationId xmlns:a16="http://schemas.microsoft.com/office/drawing/2014/main" id="{03444601-CF90-454A-95CB-B0D66CC245DF}"/>
              </a:ext>
            </a:extLst>
          </p:cNvPr>
          <p:cNvSpPr>
            <a:spLocks/>
          </p:cNvSpPr>
          <p:nvPr/>
        </p:nvSpPr>
        <p:spPr bwMode="auto">
          <a:xfrm>
            <a:off x="10679113" y="3271838"/>
            <a:ext cx="198438" cy="280988"/>
          </a:xfrm>
          <a:custGeom>
            <a:avLst/>
            <a:gdLst>
              <a:gd name="T0" fmla="*/ 43 w 47"/>
              <a:gd name="T1" fmla="*/ 66 h 66"/>
              <a:gd name="T2" fmla="*/ 4 w 47"/>
              <a:gd name="T3" fmla="*/ 66 h 66"/>
              <a:gd name="T4" fmla="*/ 0 w 47"/>
              <a:gd name="T5" fmla="*/ 62 h 66"/>
              <a:gd name="T6" fmla="*/ 0 w 47"/>
              <a:gd name="T7" fmla="*/ 4 h 66"/>
              <a:gd name="T8" fmla="*/ 4 w 47"/>
              <a:gd name="T9" fmla="*/ 0 h 66"/>
              <a:gd name="T10" fmla="*/ 30 w 47"/>
              <a:gd name="T11" fmla="*/ 0 h 66"/>
              <a:gd name="T12" fmla="*/ 32 w 47"/>
              <a:gd name="T13" fmla="*/ 1 h 66"/>
              <a:gd name="T14" fmla="*/ 30 w 47"/>
              <a:gd name="T15" fmla="*/ 3 h 66"/>
              <a:gd name="T16" fmla="*/ 4 w 47"/>
              <a:gd name="T17" fmla="*/ 3 h 66"/>
              <a:gd name="T18" fmla="*/ 3 w 47"/>
              <a:gd name="T19" fmla="*/ 4 h 66"/>
              <a:gd name="T20" fmla="*/ 3 w 47"/>
              <a:gd name="T21" fmla="*/ 62 h 66"/>
              <a:gd name="T22" fmla="*/ 4 w 47"/>
              <a:gd name="T23" fmla="*/ 63 h 66"/>
              <a:gd name="T24" fmla="*/ 43 w 47"/>
              <a:gd name="T25" fmla="*/ 63 h 66"/>
              <a:gd name="T26" fmla="*/ 44 w 47"/>
              <a:gd name="T27" fmla="*/ 62 h 66"/>
              <a:gd name="T28" fmla="*/ 44 w 47"/>
              <a:gd name="T29" fmla="*/ 17 h 66"/>
              <a:gd name="T30" fmla="*/ 46 w 47"/>
              <a:gd name="T31" fmla="*/ 15 h 66"/>
              <a:gd name="T32" fmla="*/ 47 w 47"/>
              <a:gd name="T33" fmla="*/ 17 h 66"/>
              <a:gd name="T34" fmla="*/ 47 w 47"/>
              <a:gd name="T35" fmla="*/ 62 h 66"/>
              <a:gd name="T36" fmla="*/ 43 w 47"/>
              <a:gd name="T37"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7" h="66">
                <a:moveTo>
                  <a:pt x="43" y="66"/>
                </a:moveTo>
                <a:cubicBezTo>
                  <a:pt x="4" y="66"/>
                  <a:pt x="4" y="66"/>
                  <a:pt x="4" y="66"/>
                </a:cubicBezTo>
                <a:cubicBezTo>
                  <a:pt x="2" y="66"/>
                  <a:pt x="0" y="64"/>
                  <a:pt x="0" y="62"/>
                </a:cubicBezTo>
                <a:cubicBezTo>
                  <a:pt x="0" y="4"/>
                  <a:pt x="0" y="4"/>
                  <a:pt x="0" y="4"/>
                </a:cubicBezTo>
                <a:cubicBezTo>
                  <a:pt x="0" y="2"/>
                  <a:pt x="2" y="0"/>
                  <a:pt x="4" y="0"/>
                </a:cubicBezTo>
                <a:cubicBezTo>
                  <a:pt x="30" y="0"/>
                  <a:pt x="30" y="0"/>
                  <a:pt x="30" y="0"/>
                </a:cubicBezTo>
                <a:cubicBezTo>
                  <a:pt x="31" y="0"/>
                  <a:pt x="32" y="1"/>
                  <a:pt x="32" y="1"/>
                </a:cubicBezTo>
                <a:cubicBezTo>
                  <a:pt x="32" y="2"/>
                  <a:pt x="31" y="3"/>
                  <a:pt x="30" y="3"/>
                </a:cubicBezTo>
                <a:cubicBezTo>
                  <a:pt x="4" y="3"/>
                  <a:pt x="4" y="3"/>
                  <a:pt x="4" y="3"/>
                </a:cubicBezTo>
                <a:cubicBezTo>
                  <a:pt x="4" y="3"/>
                  <a:pt x="3" y="3"/>
                  <a:pt x="3" y="4"/>
                </a:cubicBezTo>
                <a:cubicBezTo>
                  <a:pt x="3" y="62"/>
                  <a:pt x="3" y="62"/>
                  <a:pt x="3" y="62"/>
                </a:cubicBezTo>
                <a:cubicBezTo>
                  <a:pt x="3" y="63"/>
                  <a:pt x="4" y="63"/>
                  <a:pt x="4" y="63"/>
                </a:cubicBezTo>
                <a:cubicBezTo>
                  <a:pt x="43" y="63"/>
                  <a:pt x="43" y="63"/>
                  <a:pt x="43" y="63"/>
                </a:cubicBezTo>
                <a:cubicBezTo>
                  <a:pt x="44" y="63"/>
                  <a:pt x="44" y="63"/>
                  <a:pt x="44" y="62"/>
                </a:cubicBezTo>
                <a:cubicBezTo>
                  <a:pt x="44" y="17"/>
                  <a:pt x="44" y="17"/>
                  <a:pt x="44" y="17"/>
                </a:cubicBezTo>
                <a:cubicBezTo>
                  <a:pt x="44" y="16"/>
                  <a:pt x="45" y="15"/>
                  <a:pt x="46" y="15"/>
                </a:cubicBezTo>
                <a:cubicBezTo>
                  <a:pt x="47" y="15"/>
                  <a:pt x="47" y="16"/>
                  <a:pt x="47" y="17"/>
                </a:cubicBezTo>
                <a:cubicBezTo>
                  <a:pt x="47" y="62"/>
                  <a:pt x="47" y="62"/>
                  <a:pt x="47" y="62"/>
                </a:cubicBezTo>
                <a:cubicBezTo>
                  <a:pt x="47" y="64"/>
                  <a:pt x="45" y="66"/>
                  <a:pt x="43" y="6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cs typeface="+mn-ea"/>
              <a:sym typeface="+mn-lt"/>
            </a:endParaRPr>
          </a:p>
        </p:txBody>
      </p:sp>
      <p:sp>
        <p:nvSpPr>
          <p:cNvPr id="74" name="Freeform 71">
            <a:extLst>
              <a:ext uri="{FF2B5EF4-FFF2-40B4-BE49-F238E27FC236}">
                <a16:creationId xmlns:a16="http://schemas.microsoft.com/office/drawing/2014/main" id="{DF9AB5F1-8D2A-4AAE-8BF7-373B053029BF}"/>
              </a:ext>
            </a:extLst>
          </p:cNvPr>
          <p:cNvSpPr>
            <a:spLocks noEditPoints="1"/>
          </p:cNvSpPr>
          <p:nvPr/>
        </p:nvSpPr>
        <p:spPr bwMode="auto">
          <a:xfrm>
            <a:off x="10801350" y="3271838"/>
            <a:ext cx="76200" cy="76200"/>
          </a:xfrm>
          <a:custGeom>
            <a:avLst/>
            <a:gdLst>
              <a:gd name="T0" fmla="*/ 17 w 18"/>
              <a:gd name="T1" fmla="*/ 18 h 18"/>
              <a:gd name="T2" fmla="*/ 4 w 18"/>
              <a:gd name="T3" fmla="*/ 18 h 18"/>
              <a:gd name="T4" fmla="*/ 0 w 18"/>
              <a:gd name="T5" fmla="*/ 15 h 18"/>
              <a:gd name="T6" fmla="*/ 0 w 18"/>
              <a:gd name="T7" fmla="*/ 1 h 18"/>
              <a:gd name="T8" fmla="*/ 1 w 18"/>
              <a:gd name="T9" fmla="*/ 0 h 18"/>
              <a:gd name="T10" fmla="*/ 2 w 18"/>
              <a:gd name="T11" fmla="*/ 0 h 18"/>
              <a:gd name="T12" fmla="*/ 18 w 18"/>
              <a:gd name="T13" fmla="*/ 16 h 18"/>
              <a:gd name="T14" fmla="*/ 18 w 18"/>
              <a:gd name="T15" fmla="*/ 17 h 18"/>
              <a:gd name="T16" fmla="*/ 17 w 18"/>
              <a:gd name="T17" fmla="*/ 18 h 18"/>
              <a:gd name="T18" fmla="*/ 3 w 18"/>
              <a:gd name="T19" fmla="*/ 5 h 18"/>
              <a:gd name="T20" fmla="*/ 3 w 18"/>
              <a:gd name="T21" fmla="*/ 15 h 18"/>
              <a:gd name="T22" fmla="*/ 4 w 18"/>
              <a:gd name="T23" fmla="*/ 15 h 18"/>
              <a:gd name="T24" fmla="*/ 13 w 18"/>
              <a:gd name="T25" fmla="*/ 15 h 18"/>
              <a:gd name="T26" fmla="*/ 3 w 18"/>
              <a:gd name="T27" fmla="*/ 5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 h="18">
                <a:moveTo>
                  <a:pt x="17" y="18"/>
                </a:moveTo>
                <a:cubicBezTo>
                  <a:pt x="4" y="18"/>
                  <a:pt x="4" y="18"/>
                  <a:pt x="4" y="18"/>
                </a:cubicBezTo>
                <a:cubicBezTo>
                  <a:pt x="2" y="18"/>
                  <a:pt x="0" y="17"/>
                  <a:pt x="0" y="15"/>
                </a:cubicBezTo>
                <a:cubicBezTo>
                  <a:pt x="0" y="1"/>
                  <a:pt x="0" y="1"/>
                  <a:pt x="0" y="1"/>
                </a:cubicBezTo>
                <a:cubicBezTo>
                  <a:pt x="0" y="1"/>
                  <a:pt x="0" y="0"/>
                  <a:pt x="1" y="0"/>
                </a:cubicBezTo>
                <a:cubicBezTo>
                  <a:pt x="1" y="0"/>
                  <a:pt x="2" y="0"/>
                  <a:pt x="2" y="0"/>
                </a:cubicBezTo>
                <a:cubicBezTo>
                  <a:pt x="18" y="16"/>
                  <a:pt x="18" y="16"/>
                  <a:pt x="18" y="16"/>
                </a:cubicBezTo>
                <a:cubicBezTo>
                  <a:pt x="18" y="16"/>
                  <a:pt x="18" y="17"/>
                  <a:pt x="18" y="17"/>
                </a:cubicBezTo>
                <a:cubicBezTo>
                  <a:pt x="18" y="18"/>
                  <a:pt x="17" y="18"/>
                  <a:pt x="17" y="18"/>
                </a:cubicBezTo>
                <a:close/>
                <a:moveTo>
                  <a:pt x="3" y="5"/>
                </a:moveTo>
                <a:cubicBezTo>
                  <a:pt x="3" y="15"/>
                  <a:pt x="3" y="15"/>
                  <a:pt x="3" y="15"/>
                </a:cubicBezTo>
                <a:cubicBezTo>
                  <a:pt x="3" y="15"/>
                  <a:pt x="3" y="15"/>
                  <a:pt x="4" y="15"/>
                </a:cubicBezTo>
                <a:cubicBezTo>
                  <a:pt x="13" y="15"/>
                  <a:pt x="13" y="15"/>
                  <a:pt x="13" y="15"/>
                </a:cubicBezTo>
                <a:lnTo>
                  <a:pt x="3"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cs typeface="+mn-ea"/>
              <a:sym typeface="+mn-lt"/>
            </a:endParaRPr>
          </a:p>
        </p:txBody>
      </p:sp>
      <p:sp>
        <p:nvSpPr>
          <p:cNvPr id="75" name="Freeform 72">
            <a:extLst>
              <a:ext uri="{FF2B5EF4-FFF2-40B4-BE49-F238E27FC236}">
                <a16:creationId xmlns:a16="http://schemas.microsoft.com/office/drawing/2014/main" id="{D954A83C-EA2E-40B6-9F15-D8E801F30F8C}"/>
              </a:ext>
            </a:extLst>
          </p:cNvPr>
          <p:cNvSpPr>
            <a:spLocks noEditPoints="1"/>
          </p:cNvSpPr>
          <p:nvPr/>
        </p:nvSpPr>
        <p:spPr bwMode="auto">
          <a:xfrm>
            <a:off x="10902950" y="3305175"/>
            <a:ext cx="47625" cy="225425"/>
          </a:xfrm>
          <a:custGeom>
            <a:avLst/>
            <a:gdLst>
              <a:gd name="T0" fmla="*/ 5 w 11"/>
              <a:gd name="T1" fmla="*/ 53 h 53"/>
              <a:gd name="T2" fmla="*/ 0 w 11"/>
              <a:gd name="T3" fmla="*/ 45 h 53"/>
              <a:gd name="T4" fmla="*/ 0 w 11"/>
              <a:gd name="T5" fmla="*/ 1 h 53"/>
              <a:gd name="T6" fmla="*/ 1 w 11"/>
              <a:gd name="T7" fmla="*/ 0 h 53"/>
              <a:gd name="T8" fmla="*/ 10 w 11"/>
              <a:gd name="T9" fmla="*/ 0 h 53"/>
              <a:gd name="T10" fmla="*/ 11 w 11"/>
              <a:gd name="T11" fmla="*/ 1 h 53"/>
              <a:gd name="T12" fmla="*/ 11 w 11"/>
              <a:gd name="T13" fmla="*/ 45 h 53"/>
              <a:gd name="T14" fmla="*/ 5 w 11"/>
              <a:gd name="T15" fmla="*/ 53 h 53"/>
              <a:gd name="T16" fmla="*/ 3 w 11"/>
              <a:gd name="T17" fmla="*/ 3 h 53"/>
              <a:gd name="T18" fmla="*/ 3 w 11"/>
              <a:gd name="T19" fmla="*/ 45 h 53"/>
              <a:gd name="T20" fmla="*/ 8 w 11"/>
              <a:gd name="T21" fmla="*/ 45 h 53"/>
              <a:gd name="T22" fmla="*/ 8 w 11"/>
              <a:gd name="T23" fmla="*/ 3 h 53"/>
              <a:gd name="T24" fmla="*/ 3 w 11"/>
              <a:gd name="T25" fmla="*/ 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 h="53">
                <a:moveTo>
                  <a:pt x="5" y="53"/>
                </a:moveTo>
                <a:cubicBezTo>
                  <a:pt x="3" y="53"/>
                  <a:pt x="0" y="51"/>
                  <a:pt x="0" y="45"/>
                </a:cubicBezTo>
                <a:cubicBezTo>
                  <a:pt x="0" y="1"/>
                  <a:pt x="0" y="1"/>
                  <a:pt x="0" y="1"/>
                </a:cubicBezTo>
                <a:cubicBezTo>
                  <a:pt x="0" y="1"/>
                  <a:pt x="0" y="0"/>
                  <a:pt x="1" y="0"/>
                </a:cubicBezTo>
                <a:cubicBezTo>
                  <a:pt x="10" y="0"/>
                  <a:pt x="10" y="0"/>
                  <a:pt x="10" y="0"/>
                </a:cubicBezTo>
                <a:cubicBezTo>
                  <a:pt x="11" y="0"/>
                  <a:pt x="11" y="1"/>
                  <a:pt x="11" y="1"/>
                </a:cubicBezTo>
                <a:cubicBezTo>
                  <a:pt x="11" y="45"/>
                  <a:pt x="11" y="45"/>
                  <a:pt x="11" y="45"/>
                </a:cubicBezTo>
                <a:cubicBezTo>
                  <a:pt x="11" y="51"/>
                  <a:pt x="8" y="53"/>
                  <a:pt x="5" y="53"/>
                </a:cubicBezTo>
                <a:close/>
                <a:moveTo>
                  <a:pt x="3" y="3"/>
                </a:moveTo>
                <a:cubicBezTo>
                  <a:pt x="3" y="45"/>
                  <a:pt x="3" y="45"/>
                  <a:pt x="3" y="45"/>
                </a:cubicBezTo>
                <a:cubicBezTo>
                  <a:pt x="3" y="52"/>
                  <a:pt x="8" y="52"/>
                  <a:pt x="8" y="45"/>
                </a:cubicBezTo>
                <a:cubicBezTo>
                  <a:pt x="8" y="3"/>
                  <a:pt x="8" y="3"/>
                  <a:pt x="8" y="3"/>
                </a:cubicBezTo>
                <a:lnTo>
                  <a:pt x="3" y="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cs typeface="+mn-ea"/>
              <a:sym typeface="+mn-lt"/>
            </a:endParaRPr>
          </a:p>
        </p:txBody>
      </p:sp>
      <p:sp>
        <p:nvSpPr>
          <p:cNvPr id="76" name="Freeform 73">
            <a:extLst>
              <a:ext uri="{FF2B5EF4-FFF2-40B4-BE49-F238E27FC236}">
                <a16:creationId xmlns:a16="http://schemas.microsoft.com/office/drawing/2014/main" id="{68F095D3-1339-42BC-B95E-2E807A85E305}"/>
              </a:ext>
            </a:extLst>
          </p:cNvPr>
          <p:cNvSpPr>
            <a:spLocks/>
          </p:cNvSpPr>
          <p:nvPr/>
        </p:nvSpPr>
        <p:spPr bwMode="auto">
          <a:xfrm>
            <a:off x="10902950" y="3335338"/>
            <a:ext cx="73025" cy="80963"/>
          </a:xfrm>
          <a:custGeom>
            <a:avLst/>
            <a:gdLst>
              <a:gd name="T0" fmla="*/ 15 w 17"/>
              <a:gd name="T1" fmla="*/ 19 h 19"/>
              <a:gd name="T2" fmla="*/ 14 w 17"/>
              <a:gd name="T3" fmla="*/ 18 h 19"/>
              <a:gd name="T4" fmla="*/ 14 w 17"/>
              <a:gd name="T5" fmla="*/ 3 h 19"/>
              <a:gd name="T6" fmla="*/ 1 w 17"/>
              <a:gd name="T7" fmla="*/ 3 h 19"/>
              <a:gd name="T8" fmla="*/ 0 w 17"/>
              <a:gd name="T9" fmla="*/ 1 h 19"/>
              <a:gd name="T10" fmla="*/ 1 w 17"/>
              <a:gd name="T11" fmla="*/ 0 h 19"/>
              <a:gd name="T12" fmla="*/ 15 w 17"/>
              <a:gd name="T13" fmla="*/ 0 h 19"/>
              <a:gd name="T14" fmla="*/ 16 w 17"/>
              <a:gd name="T15" fmla="*/ 0 h 19"/>
              <a:gd name="T16" fmla="*/ 17 w 17"/>
              <a:gd name="T17" fmla="*/ 1 h 19"/>
              <a:gd name="T18" fmla="*/ 17 w 17"/>
              <a:gd name="T19" fmla="*/ 18 h 19"/>
              <a:gd name="T20" fmla="*/ 15 w 17"/>
              <a:gd name="T21"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 h="19">
                <a:moveTo>
                  <a:pt x="15" y="19"/>
                </a:moveTo>
                <a:cubicBezTo>
                  <a:pt x="14" y="19"/>
                  <a:pt x="14" y="19"/>
                  <a:pt x="14" y="18"/>
                </a:cubicBezTo>
                <a:cubicBezTo>
                  <a:pt x="14" y="3"/>
                  <a:pt x="14" y="3"/>
                  <a:pt x="14" y="3"/>
                </a:cubicBezTo>
                <a:cubicBezTo>
                  <a:pt x="1" y="3"/>
                  <a:pt x="1" y="3"/>
                  <a:pt x="1" y="3"/>
                </a:cubicBezTo>
                <a:cubicBezTo>
                  <a:pt x="0" y="3"/>
                  <a:pt x="0" y="2"/>
                  <a:pt x="0" y="1"/>
                </a:cubicBezTo>
                <a:cubicBezTo>
                  <a:pt x="0" y="0"/>
                  <a:pt x="0" y="0"/>
                  <a:pt x="1" y="0"/>
                </a:cubicBezTo>
                <a:cubicBezTo>
                  <a:pt x="15" y="0"/>
                  <a:pt x="15" y="0"/>
                  <a:pt x="15" y="0"/>
                </a:cubicBezTo>
                <a:cubicBezTo>
                  <a:pt x="16" y="0"/>
                  <a:pt x="16" y="0"/>
                  <a:pt x="16" y="0"/>
                </a:cubicBezTo>
                <a:cubicBezTo>
                  <a:pt x="17" y="1"/>
                  <a:pt x="17" y="1"/>
                  <a:pt x="17" y="1"/>
                </a:cubicBezTo>
                <a:cubicBezTo>
                  <a:pt x="17" y="18"/>
                  <a:pt x="17" y="18"/>
                  <a:pt x="17" y="18"/>
                </a:cubicBezTo>
                <a:cubicBezTo>
                  <a:pt x="17" y="19"/>
                  <a:pt x="16" y="19"/>
                  <a:pt x="15" y="1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cs typeface="+mn-ea"/>
              <a:sym typeface="+mn-lt"/>
            </a:endParaRPr>
          </a:p>
        </p:txBody>
      </p:sp>
      <p:sp>
        <p:nvSpPr>
          <p:cNvPr id="77" name="Freeform 74">
            <a:extLst>
              <a:ext uri="{FF2B5EF4-FFF2-40B4-BE49-F238E27FC236}">
                <a16:creationId xmlns:a16="http://schemas.microsoft.com/office/drawing/2014/main" id="{D33DD124-CFCF-4151-A671-047DA1C9B15E}"/>
              </a:ext>
            </a:extLst>
          </p:cNvPr>
          <p:cNvSpPr>
            <a:spLocks/>
          </p:cNvSpPr>
          <p:nvPr/>
        </p:nvSpPr>
        <p:spPr bwMode="auto">
          <a:xfrm>
            <a:off x="10920413" y="3522663"/>
            <a:ext cx="12700" cy="30163"/>
          </a:xfrm>
          <a:custGeom>
            <a:avLst/>
            <a:gdLst>
              <a:gd name="T0" fmla="*/ 1 w 3"/>
              <a:gd name="T1" fmla="*/ 7 h 7"/>
              <a:gd name="T2" fmla="*/ 0 w 3"/>
              <a:gd name="T3" fmla="*/ 6 h 7"/>
              <a:gd name="T4" fmla="*/ 0 w 3"/>
              <a:gd name="T5" fmla="*/ 1 h 7"/>
              <a:gd name="T6" fmla="*/ 1 w 3"/>
              <a:gd name="T7" fmla="*/ 0 h 7"/>
              <a:gd name="T8" fmla="*/ 3 w 3"/>
              <a:gd name="T9" fmla="*/ 1 h 7"/>
              <a:gd name="T10" fmla="*/ 3 w 3"/>
              <a:gd name="T11" fmla="*/ 6 h 7"/>
              <a:gd name="T12" fmla="*/ 1 w 3"/>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3" h="7">
                <a:moveTo>
                  <a:pt x="1" y="7"/>
                </a:moveTo>
                <a:cubicBezTo>
                  <a:pt x="1" y="7"/>
                  <a:pt x="0" y="7"/>
                  <a:pt x="0" y="6"/>
                </a:cubicBezTo>
                <a:cubicBezTo>
                  <a:pt x="0" y="1"/>
                  <a:pt x="0" y="1"/>
                  <a:pt x="0" y="1"/>
                </a:cubicBezTo>
                <a:cubicBezTo>
                  <a:pt x="0" y="0"/>
                  <a:pt x="1" y="0"/>
                  <a:pt x="1" y="0"/>
                </a:cubicBezTo>
                <a:cubicBezTo>
                  <a:pt x="2" y="0"/>
                  <a:pt x="3" y="0"/>
                  <a:pt x="3" y="1"/>
                </a:cubicBezTo>
                <a:cubicBezTo>
                  <a:pt x="3" y="6"/>
                  <a:pt x="3" y="6"/>
                  <a:pt x="3" y="6"/>
                </a:cubicBezTo>
                <a:cubicBezTo>
                  <a:pt x="3" y="7"/>
                  <a:pt x="2" y="7"/>
                  <a:pt x="1" y="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cs typeface="+mn-ea"/>
              <a:sym typeface="+mn-lt"/>
            </a:endParaRPr>
          </a:p>
        </p:txBody>
      </p:sp>
      <p:sp>
        <p:nvSpPr>
          <p:cNvPr id="78" name="Freeform 75">
            <a:extLst>
              <a:ext uri="{FF2B5EF4-FFF2-40B4-BE49-F238E27FC236}">
                <a16:creationId xmlns:a16="http://schemas.microsoft.com/office/drawing/2014/main" id="{08F50754-0025-4121-9E66-24BE4F1AA9DE}"/>
              </a:ext>
            </a:extLst>
          </p:cNvPr>
          <p:cNvSpPr>
            <a:spLocks/>
          </p:cNvSpPr>
          <p:nvPr/>
        </p:nvSpPr>
        <p:spPr bwMode="auto">
          <a:xfrm>
            <a:off x="10721975" y="3327400"/>
            <a:ext cx="63500" cy="12700"/>
          </a:xfrm>
          <a:custGeom>
            <a:avLst/>
            <a:gdLst>
              <a:gd name="T0" fmla="*/ 14 w 15"/>
              <a:gd name="T1" fmla="*/ 3 h 3"/>
              <a:gd name="T2" fmla="*/ 1 w 15"/>
              <a:gd name="T3" fmla="*/ 3 h 3"/>
              <a:gd name="T4" fmla="*/ 0 w 15"/>
              <a:gd name="T5" fmla="*/ 1 h 3"/>
              <a:gd name="T6" fmla="*/ 1 w 15"/>
              <a:gd name="T7" fmla="*/ 0 h 3"/>
              <a:gd name="T8" fmla="*/ 14 w 15"/>
              <a:gd name="T9" fmla="*/ 0 h 3"/>
              <a:gd name="T10" fmla="*/ 15 w 15"/>
              <a:gd name="T11" fmla="*/ 1 h 3"/>
              <a:gd name="T12" fmla="*/ 14 w 1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15" h="3">
                <a:moveTo>
                  <a:pt x="14" y="3"/>
                </a:moveTo>
                <a:cubicBezTo>
                  <a:pt x="1" y="3"/>
                  <a:pt x="1" y="3"/>
                  <a:pt x="1" y="3"/>
                </a:cubicBezTo>
                <a:cubicBezTo>
                  <a:pt x="0" y="3"/>
                  <a:pt x="0" y="2"/>
                  <a:pt x="0" y="1"/>
                </a:cubicBezTo>
                <a:cubicBezTo>
                  <a:pt x="0" y="0"/>
                  <a:pt x="0" y="0"/>
                  <a:pt x="1" y="0"/>
                </a:cubicBezTo>
                <a:cubicBezTo>
                  <a:pt x="14" y="0"/>
                  <a:pt x="14" y="0"/>
                  <a:pt x="14" y="0"/>
                </a:cubicBezTo>
                <a:cubicBezTo>
                  <a:pt x="15" y="0"/>
                  <a:pt x="15" y="0"/>
                  <a:pt x="15" y="1"/>
                </a:cubicBezTo>
                <a:cubicBezTo>
                  <a:pt x="15" y="2"/>
                  <a:pt x="15" y="3"/>
                  <a:pt x="14" y="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cs typeface="+mn-ea"/>
              <a:sym typeface="+mn-lt"/>
            </a:endParaRPr>
          </a:p>
        </p:txBody>
      </p:sp>
      <p:sp>
        <p:nvSpPr>
          <p:cNvPr id="79" name="Freeform 76">
            <a:extLst>
              <a:ext uri="{FF2B5EF4-FFF2-40B4-BE49-F238E27FC236}">
                <a16:creationId xmlns:a16="http://schemas.microsoft.com/office/drawing/2014/main" id="{CBBBDB93-53B0-403A-8C51-70CF2E66910E}"/>
              </a:ext>
            </a:extLst>
          </p:cNvPr>
          <p:cNvSpPr>
            <a:spLocks/>
          </p:cNvSpPr>
          <p:nvPr/>
        </p:nvSpPr>
        <p:spPr bwMode="auto">
          <a:xfrm>
            <a:off x="10721975" y="3378200"/>
            <a:ext cx="117475" cy="7938"/>
          </a:xfrm>
          <a:custGeom>
            <a:avLst/>
            <a:gdLst>
              <a:gd name="T0" fmla="*/ 26 w 28"/>
              <a:gd name="T1" fmla="*/ 2 h 2"/>
              <a:gd name="T2" fmla="*/ 1 w 28"/>
              <a:gd name="T3" fmla="*/ 2 h 2"/>
              <a:gd name="T4" fmla="*/ 0 w 28"/>
              <a:gd name="T5" fmla="*/ 1 h 2"/>
              <a:gd name="T6" fmla="*/ 1 w 28"/>
              <a:gd name="T7" fmla="*/ 0 h 2"/>
              <a:gd name="T8" fmla="*/ 26 w 28"/>
              <a:gd name="T9" fmla="*/ 0 h 2"/>
              <a:gd name="T10" fmla="*/ 28 w 28"/>
              <a:gd name="T11" fmla="*/ 1 h 2"/>
              <a:gd name="T12" fmla="*/ 26 w 28"/>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28" h="2">
                <a:moveTo>
                  <a:pt x="26" y="2"/>
                </a:moveTo>
                <a:cubicBezTo>
                  <a:pt x="1" y="2"/>
                  <a:pt x="1" y="2"/>
                  <a:pt x="1" y="2"/>
                </a:cubicBezTo>
                <a:cubicBezTo>
                  <a:pt x="0" y="2"/>
                  <a:pt x="0" y="2"/>
                  <a:pt x="0" y="1"/>
                </a:cubicBezTo>
                <a:cubicBezTo>
                  <a:pt x="0" y="0"/>
                  <a:pt x="0" y="0"/>
                  <a:pt x="1" y="0"/>
                </a:cubicBezTo>
                <a:cubicBezTo>
                  <a:pt x="26" y="0"/>
                  <a:pt x="26" y="0"/>
                  <a:pt x="26" y="0"/>
                </a:cubicBezTo>
                <a:cubicBezTo>
                  <a:pt x="27" y="0"/>
                  <a:pt x="28" y="0"/>
                  <a:pt x="28" y="1"/>
                </a:cubicBezTo>
                <a:cubicBezTo>
                  <a:pt x="28" y="2"/>
                  <a:pt x="27" y="2"/>
                  <a:pt x="26" y="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cs typeface="+mn-ea"/>
              <a:sym typeface="+mn-lt"/>
            </a:endParaRPr>
          </a:p>
        </p:txBody>
      </p:sp>
      <p:sp>
        <p:nvSpPr>
          <p:cNvPr id="80" name="Freeform 77">
            <a:extLst>
              <a:ext uri="{FF2B5EF4-FFF2-40B4-BE49-F238E27FC236}">
                <a16:creationId xmlns:a16="http://schemas.microsoft.com/office/drawing/2014/main" id="{D80F3489-16D0-43A2-A3FF-CECB918E06EB}"/>
              </a:ext>
            </a:extLst>
          </p:cNvPr>
          <p:cNvSpPr>
            <a:spLocks/>
          </p:cNvSpPr>
          <p:nvPr/>
        </p:nvSpPr>
        <p:spPr bwMode="auto">
          <a:xfrm>
            <a:off x="10721975" y="3403600"/>
            <a:ext cx="117475" cy="12700"/>
          </a:xfrm>
          <a:custGeom>
            <a:avLst/>
            <a:gdLst>
              <a:gd name="T0" fmla="*/ 26 w 28"/>
              <a:gd name="T1" fmla="*/ 3 h 3"/>
              <a:gd name="T2" fmla="*/ 1 w 28"/>
              <a:gd name="T3" fmla="*/ 3 h 3"/>
              <a:gd name="T4" fmla="*/ 0 w 28"/>
              <a:gd name="T5" fmla="*/ 2 h 3"/>
              <a:gd name="T6" fmla="*/ 1 w 28"/>
              <a:gd name="T7" fmla="*/ 0 h 3"/>
              <a:gd name="T8" fmla="*/ 26 w 28"/>
              <a:gd name="T9" fmla="*/ 0 h 3"/>
              <a:gd name="T10" fmla="*/ 28 w 28"/>
              <a:gd name="T11" fmla="*/ 2 h 3"/>
              <a:gd name="T12" fmla="*/ 26 w 28"/>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28" h="3">
                <a:moveTo>
                  <a:pt x="26" y="3"/>
                </a:moveTo>
                <a:cubicBezTo>
                  <a:pt x="1" y="3"/>
                  <a:pt x="1" y="3"/>
                  <a:pt x="1" y="3"/>
                </a:cubicBezTo>
                <a:cubicBezTo>
                  <a:pt x="0" y="3"/>
                  <a:pt x="0" y="3"/>
                  <a:pt x="0" y="2"/>
                </a:cubicBezTo>
                <a:cubicBezTo>
                  <a:pt x="0" y="1"/>
                  <a:pt x="0" y="0"/>
                  <a:pt x="1" y="0"/>
                </a:cubicBezTo>
                <a:cubicBezTo>
                  <a:pt x="26" y="0"/>
                  <a:pt x="26" y="0"/>
                  <a:pt x="26" y="0"/>
                </a:cubicBezTo>
                <a:cubicBezTo>
                  <a:pt x="27" y="0"/>
                  <a:pt x="28" y="1"/>
                  <a:pt x="28" y="2"/>
                </a:cubicBezTo>
                <a:cubicBezTo>
                  <a:pt x="28" y="3"/>
                  <a:pt x="27" y="3"/>
                  <a:pt x="26" y="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cs typeface="+mn-ea"/>
              <a:sym typeface="+mn-lt"/>
            </a:endParaRPr>
          </a:p>
        </p:txBody>
      </p:sp>
      <p:sp>
        <p:nvSpPr>
          <p:cNvPr id="81" name="Freeform 78">
            <a:extLst>
              <a:ext uri="{FF2B5EF4-FFF2-40B4-BE49-F238E27FC236}">
                <a16:creationId xmlns:a16="http://schemas.microsoft.com/office/drawing/2014/main" id="{8D47CDAC-D237-4564-90DF-286EE09F451D}"/>
              </a:ext>
            </a:extLst>
          </p:cNvPr>
          <p:cNvSpPr>
            <a:spLocks/>
          </p:cNvSpPr>
          <p:nvPr/>
        </p:nvSpPr>
        <p:spPr bwMode="auto">
          <a:xfrm>
            <a:off x="10721975" y="3433763"/>
            <a:ext cx="117475" cy="12700"/>
          </a:xfrm>
          <a:custGeom>
            <a:avLst/>
            <a:gdLst>
              <a:gd name="T0" fmla="*/ 26 w 28"/>
              <a:gd name="T1" fmla="*/ 3 h 3"/>
              <a:gd name="T2" fmla="*/ 1 w 28"/>
              <a:gd name="T3" fmla="*/ 3 h 3"/>
              <a:gd name="T4" fmla="*/ 0 w 28"/>
              <a:gd name="T5" fmla="*/ 2 h 3"/>
              <a:gd name="T6" fmla="*/ 1 w 28"/>
              <a:gd name="T7" fmla="*/ 0 h 3"/>
              <a:gd name="T8" fmla="*/ 26 w 28"/>
              <a:gd name="T9" fmla="*/ 0 h 3"/>
              <a:gd name="T10" fmla="*/ 28 w 28"/>
              <a:gd name="T11" fmla="*/ 2 h 3"/>
              <a:gd name="T12" fmla="*/ 26 w 28"/>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28" h="3">
                <a:moveTo>
                  <a:pt x="26" y="3"/>
                </a:moveTo>
                <a:cubicBezTo>
                  <a:pt x="1" y="3"/>
                  <a:pt x="1" y="3"/>
                  <a:pt x="1" y="3"/>
                </a:cubicBezTo>
                <a:cubicBezTo>
                  <a:pt x="0" y="3"/>
                  <a:pt x="0" y="3"/>
                  <a:pt x="0" y="2"/>
                </a:cubicBezTo>
                <a:cubicBezTo>
                  <a:pt x="0" y="1"/>
                  <a:pt x="0" y="0"/>
                  <a:pt x="1" y="0"/>
                </a:cubicBezTo>
                <a:cubicBezTo>
                  <a:pt x="26" y="0"/>
                  <a:pt x="26" y="0"/>
                  <a:pt x="26" y="0"/>
                </a:cubicBezTo>
                <a:cubicBezTo>
                  <a:pt x="27" y="0"/>
                  <a:pt x="28" y="1"/>
                  <a:pt x="28" y="2"/>
                </a:cubicBezTo>
                <a:cubicBezTo>
                  <a:pt x="28" y="3"/>
                  <a:pt x="27" y="3"/>
                  <a:pt x="26" y="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cs typeface="+mn-ea"/>
              <a:sym typeface="+mn-lt"/>
            </a:endParaRPr>
          </a:p>
        </p:txBody>
      </p:sp>
      <p:sp>
        <p:nvSpPr>
          <p:cNvPr id="82" name="Freeform 79">
            <a:extLst>
              <a:ext uri="{FF2B5EF4-FFF2-40B4-BE49-F238E27FC236}">
                <a16:creationId xmlns:a16="http://schemas.microsoft.com/office/drawing/2014/main" id="{C316168D-4101-40EC-89B7-867F87B8AA60}"/>
              </a:ext>
            </a:extLst>
          </p:cNvPr>
          <p:cNvSpPr>
            <a:spLocks/>
          </p:cNvSpPr>
          <p:nvPr/>
        </p:nvSpPr>
        <p:spPr bwMode="auto">
          <a:xfrm>
            <a:off x="10721975" y="3462338"/>
            <a:ext cx="63500" cy="12700"/>
          </a:xfrm>
          <a:custGeom>
            <a:avLst/>
            <a:gdLst>
              <a:gd name="T0" fmla="*/ 14 w 15"/>
              <a:gd name="T1" fmla="*/ 3 h 3"/>
              <a:gd name="T2" fmla="*/ 1 w 15"/>
              <a:gd name="T3" fmla="*/ 3 h 3"/>
              <a:gd name="T4" fmla="*/ 0 w 15"/>
              <a:gd name="T5" fmla="*/ 2 h 3"/>
              <a:gd name="T6" fmla="*/ 1 w 15"/>
              <a:gd name="T7" fmla="*/ 0 h 3"/>
              <a:gd name="T8" fmla="*/ 14 w 15"/>
              <a:gd name="T9" fmla="*/ 0 h 3"/>
              <a:gd name="T10" fmla="*/ 15 w 15"/>
              <a:gd name="T11" fmla="*/ 2 h 3"/>
              <a:gd name="T12" fmla="*/ 14 w 1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15" h="3">
                <a:moveTo>
                  <a:pt x="14" y="3"/>
                </a:moveTo>
                <a:cubicBezTo>
                  <a:pt x="1" y="3"/>
                  <a:pt x="1" y="3"/>
                  <a:pt x="1" y="3"/>
                </a:cubicBezTo>
                <a:cubicBezTo>
                  <a:pt x="0" y="3"/>
                  <a:pt x="0" y="3"/>
                  <a:pt x="0" y="2"/>
                </a:cubicBezTo>
                <a:cubicBezTo>
                  <a:pt x="0" y="1"/>
                  <a:pt x="0" y="0"/>
                  <a:pt x="1" y="0"/>
                </a:cubicBezTo>
                <a:cubicBezTo>
                  <a:pt x="14" y="0"/>
                  <a:pt x="14" y="0"/>
                  <a:pt x="14" y="0"/>
                </a:cubicBezTo>
                <a:cubicBezTo>
                  <a:pt x="15" y="0"/>
                  <a:pt x="15" y="1"/>
                  <a:pt x="15" y="2"/>
                </a:cubicBezTo>
                <a:cubicBezTo>
                  <a:pt x="15" y="3"/>
                  <a:pt x="15" y="3"/>
                  <a:pt x="14" y="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cs typeface="+mn-ea"/>
              <a:sym typeface="+mn-lt"/>
            </a:endParaRPr>
          </a:p>
        </p:txBody>
      </p:sp>
      <p:sp>
        <p:nvSpPr>
          <p:cNvPr id="83" name="Freeform 80">
            <a:extLst>
              <a:ext uri="{FF2B5EF4-FFF2-40B4-BE49-F238E27FC236}">
                <a16:creationId xmlns:a16="http://schemas.microsoft.com/office/drawing/2014/main" id="{4EE99746-E1D0-47A1-A909-B0071AABB940}"/>
              </a:ext>
            </a:extLst>
          </p:cNvPr>
          <p:cNvSpPr>
            <a:spLocks noEditPoints="1"/>
          </p:cNvSpPr>
          <p:nvPr/>
        </p:nvSpPr>
        <p:spPr bwMode="auto">
          <a:xfrm>
            <a:off x="7929563" y="3246438"/>
            <a:ext cx="322263" cy="314325"/>
          </a:xfrm>
          <a:custGeom>
            <a:avLst/>
            <a:gdLst>
              <a:gd name="T0" fmla="*/ 26 w 76"/>
              <a:gd name="T1" fmla="*/ 73 h 74"/>
              <a:gd name="T2" fmla="*/ 17 w 76"/>
              <a:gd name="T3" fmla="*/ 70 h 74"/>
              <a:gd name="T4" fmla="*/ 10 w 76"/>
              <a:gd name="T5" fmla="*/ 65 h 74"/>
              <a:gd name="T6" fmla="*/ 10 w 76"/>
              <a:gd name="T7" fmla="*/ 64 h 74"/>
              <a:gd name="T8" fmla="*/ 5 w 76"/>
              <a:gd name="T9" fmla="*/ 58 h 74"/>
              <a:gd name="T10" fmla="*/ 1 w 76"/>
              <a:gd name="T11" fmla="*/ 49 h 74"/>
              <a:gd name="T12" fmla="*/ 34 w 76"/>
              <a:gd name="T13" fmla="*/ 7 h 74"/>
              <a:gd name="T14" fmla="*/ 35 w 76"/>
              <a:gd name="T15" fmla="*/ 7 h 74"/>
              <a:gd name="T16" fmla="*/ 36 w 76"/>
              <a:gd name="T17" fmla="*/ 29 h 74"/>
              <a:gd name="T18" fmla="*/ 36 w 76"/>
              <a:gd name="T19" fmla="*/ 40 h 74"/>
              <a:gd name="T20" fmla="*/ 41 w 76"/>
              <a:gd name="T21" fmla="*/ 45 h 74"/>
              <a:gd name="T22" fmla="*/ 47 w 76"/>
              <a:gd name="T23" fmla="*/ 51 h 74"/>
              <a:gd name="T24" fmla="*/ 47 w 76"/>
              <a:gd name="T25" fmla="*/ 51 h 74"/>
              <a:gd name="T26" fmla="*/ 52 w 76"/>
              <a:gd name="T27" fmla="*/ 57 h 74"/>
              <a:gd name="T28" fmla="*/ 58 w 76"/>
              <a:gd name="T29" fmla="*/ 62 h 74"/>
              <a:gd name="T30" fmla="*/ 58 w 76"/>
              <a:gd name="T31" fmla="*/ 65 h 74"/>
              <a:gd name="T32" fmla="*/ 30 w 76"/>
              <a:gd name="T33" fmla="*/ 70 h 74"/>
              <a:gd name="T34" fmla="*/ 49 w 76"/>
              <a:gd name="T35" fmla="*/ 58 h 74"/>
              <a:gd name="T36" fmla="*/ 30 w 76"/>
              <a:gd name="T37" fmla="*/ 70 h 74"/>
              <a:gd name="T38" fmla="*/ 42 w 76"/>
              <a:gd name="T39" fmla="*/ 70 h 74"/>
              <a:gd name="T40" fmla="*/ 51 w 76"/>
              <a:gd name="T41" fmla="*/ 60 h 74"/>
              <a:gd name="T42" fmla="*/ 26 w 76"/>
              <a:gd name="T43" fmla="*/ 69 h 74"/>
              <a:gd name="T44" fmla="*/ 40 w 76"/>
              <a:gd name="T45" fmla="*/ 49 h 74"/>
              <a:gd name="T46" fmla="*/ 14 w 76"/>
              <a:gd name="T47" fmla="*/ 63 h 74"/>
              <a:gd name="T48" fmla="*/ 37 w 76"/>
              <a:gd name="T49" fmla="*/ 46 h 74"/>
              <a:gd name="T50" fmla="*/ 14 w 76"/>
              <a:gd name="T51" fmla="*/ 63 h 74"/>
              <a:gd name="T52" fmla="*/ 12 w 76"/>
              <a:gd name="T53" fmla="*/ 61 h 74"/>
              <a:gd name="T54" fmla="*/ 32 w 76"/>
              <a:gd name="T55" fmla="*/ 34 h 74"/>
              <a:gd name="T56" fmla="*/ 5 w 76"/>
              <a:gd name="T57" fmla="*/ 49 h 74"/>
              <a:gd name="T58" fmla="*/ 32 w 76"/>
              <a:gd name="T59" fmla="*/ 29 h 74"/>
              <a:gd name="T60" fmla="*/ 5 w 76"/>
              <a:gd name="T61" fmla="*/ 49 h 74"/>
              <a:gd name="T62" fmla="*/ 4 w 76"/>
              <a:gd name="T63" fmla="*/ 41 h 74"/>
              <a:gd name="T64" fmla="*/ 32 w 76"/>
              <a:gd name="T65" fmla="*/ 17 h 74"/>
              <a:gd name="T66" fmla="*/ 4 w 76"/>
              <a:gd name="T67" fmla="*/ 39 h 74"/>
              <a:gd name="T68" fmla="*/ 5 w 76"/>
              <a:gd name="T69" fmla="*/ 33 h 74"/>
              <a:gd name="T70" fmla="*/ 65 w 76"/>
              <a:gd name="T71" fmla="*/ 64 h 74"/>
              <a:gd name="T72" fmla="*/ 63 w 76"/>
              <a:gd name="T73" fmla="*/ 64 h 74"/>
              <a:gd name="T74" fmla="*/ 40 w 76"/>
              <a:gd name="T75" fmla="*/ 40 h 74"/>
              <a:gd name="T76" fmla="*/ 42 w 76"/>
              <a:gd name="T77" fmla="*/ 38 h 74"/>
              <a:gd name="T78" fmla="*/ 76 w 76"/>
              <a:gd name="T79" fmla="*/ 40 h 74"/>
              <a:gd name="T80" fmla="*/ 66 w 76"/>
              <a:gd name="T81" fmla="*/ 64 h 74"/>
              <a:gd name="T82" fmla="*/ 46 w 76"/>
              <a:gd name="T83" fmla="*/ 41 h 74"/>
              <a:gd name="T84" fmla="*/ 72 w 76"/>
              <a:gd name="T85" fmla="*/ 41 h 74"/>
              <a:gd name="T86" fmla="*/ 72 w 76"/>
              <a:gd name="T87" fmla="*/ 36 h 74"/>
              <a:gd name="T88" fmla="*/ 38 w 76"/>
              <a:gd name="T89" fmla="*/ 34 h 74"/>
              <a:gd name="T90" fmla="*/ 40 w 76"/>
              <a:gd name="T91" fmla="*/ 0 h 74"/>
              <a:gd name="T92" fmla="*/ 73 w 76"/>
              <a:gd name="T93" fmla="*/ 34 h 74"/>
              <a:gd name="T94" fmla="*/ 72 w 76"/>
              <a:gd name="T95" fmla="*/ 36 h 74"/>
              <a:gd name="T96" fmla="*/ 70 w 76"/>
              <a:gd name="T97" fmla="*/ 32 h 74"/>
              <a:gd name="T98" fmla="*/ 41 w 76"/>
              <a:gd name="T99" fmla="*/ 32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6" h="74">
                <a:moveTo>
                  <a:pt x="34" y="74"/>
                </a:moveTo>
                <a:cubicBezTo>
                  <a:pt x="31" y="74"/>
                  <a:pt x="28" y="74"/>
                  <a:pt x="26" y="73"/>
                </a:cubicBezTo>
                <a:cubicBezTo>
                  <a:pt x="26" y="73"/>
                  <a:pt x="26" y="73"/>
                  <a:pt x="26" y="73"/>
                </a:cubicBezTo>
                <a:cubicBezTo>
                  <a:pt x="23" y="73"/>
                  <a:pt x="20" y="71"/>
                  <a:pt x="17" y="70"/>
                </a:cubicBezTo>
                <a:cubicBezTo>
                  <a:pt x="17" y="70"/>
                  <a:pt x="17" y="70"/>
                  <a:pt x="17" y="70"/>
                </a:cubicBezTo>
                <a:cubicBezTo>
                  <a:pt x="15" y="68"/>
                  <a:pt x="12" y="67"/>
                  <a:pt x="10" y="65"/>
                </a:cubicBezTo>
                <a:cubicBezTo>
                  <a:pt x="10" y="65"/>
                  <a:pt x="10" y="65"/>
                  <a:pt x="10" y="65"/>
                </a:cubicBezTo>
                <a:cubicBezTo>
                  <a:pt x="10" y="64"/>
                  <a:pt x="10" y="64"/>
                  <a:pt x="10" y="64"/>
                </a:cubicBezTo>
                <a:cubicBezTo>
                  <a:pt x="8" y="62"/>
                  <a:pt x="6" y="60"/>
                  <a:pt x="5" y="58"/>
                </a:cubicBezTo>
                <a:cubicBezTo>
                  <a:pt x="5" y="58"/>
                  <a:pt x="5" y="58"/>
                  <a:pt x="5" y="58"/>
                </a:cubicBezTo>
                <a:cubicBezTo>
                  <a:pt x="3" y="55"/>
                  <a:pt x="2" y="52"/>
                  <a:pt x="1" y="49"/>
                </a:cubicBezTo>
                <a:cubicBezTo>
                  <a:pt x="1" y="49"/>
                  <a:pt x="1" y="49"/>
                  <a:pt x="1" y="49"/>
                </a:cubicBezTo>
                <a:cubicBezTo>
                  <a:pt x="1" y="46"/>
                  <a:pt x="0" y="44"/>
                  <a:pt x="0" y="41"/>
                </a:cubicBezTo>
                <a:cubicBezTo>
                  <a:pt x="0" y="22"/>
                  <a:pt x="15" y="7"/>
                  <a:pt x="34" y="7"/>
                </a:cubicBezTo>
                <a:cubicBezTo>
                  <a:pt x="34" y="7"/>
                  <a:pt x="34" y="7"/>
                  <a:pt x="34" y="7"/>
                </a:cubicBezTo>
                <a:cubicBezTo>
                  <a:pt x="34" y="7"/>
                  <a:pt x="35" y="7"/>
                  <a:pt x="35" y="7"/>
                </a:cubicBezTo>
                <a:cubicBezTo>
                  <a:pt x="36" y="8"/>
                  <a:pt x="36" y="8"/>
                  <a:pt x="36" y="9"/>
                </a:cubicBezTo>
                <a:cubicBezTo>
                  <a:pt x="36" y="29"/>
                  <a:pt x="36" y="29"/>
                  <a:pt x="36" y="29"/>
                </a:cubicBezTo>
                <a:cubicBezTo>
                  <a:pt x="36" y="29"/>
                  <a:pt x="36" y="29"/>
                  <a:pt x="36" y="29"/>
                </a:cubicBezTo>
                <a:cubicBezTo>
                  <a:pt x="36" y="40"/>
                  <a:pt x="36" y="40"/>
                  <a:pt x="36" y="40"/>
                </a:cubicBezTo>
                <a:cubicBezTo>
                  <a:pt x="41" y="45"/>
                  <a:pt x="41" y="45"/>
                  <a:pt x="41" y="45"/>
                </a:cubicBezTo>
                <a:cubicBezTo>
                  <a:pt x="41" y="45"/>
                  <a:pt x="41" y="45"/>
                  <a:pt x="41" y="45"/>
                </a:cubicBezTo>
                <a:cubicBezTo>
                  <a:pt x="41" y="45"/>
                  <a:pt x="41" y="45"/>
                  <a:pt x="41" y="45"/>
                </a:cubicBezTo>
                <a:cubicBezTo>
                  <a:pt x="47" y="51"/>
                  <a:pt x="47" y="51"/>
                  <a:pt x="47" y="51"/>
                </a:cubicBezTo>
                <a:cubicBezTo>
                  <a:pt x="47" y="51"/>
                  <a:pt x="47" y="51"/>
                  <a:pt x="47" y="51"/>
                </a:cubicBezTo>
                <a:cubicBezTo>
                  <a:pt x="47" y="51"/>
                  <a:pt x="47" y="51"/>
                  <a:pt x="47" y="51"/>
                </a:cubicBezTo>
                <a:cubicBezTo>
                  <a:pt x="52" y="57"/>
                  <a:pt x="52" y="57"/>
                  <a:pt x="52" y="57"/>
                </a:cubicBezTo>
                <a:cubicBezTo>
                  <a:pt x="52" y="57"/>
                  <a:pt x="52" y="57"/>
                  <a:pt x="52" y="57"/>
                </a:cubicBezTo>
                <a:cubicBezTo>
                  <a:pt x="52" y="57"/>
                  <a:pt x="52" y="57"/>
                  <a:pt x="52" y="57"/>
                </a:cubicBezTo>
                <a:cubicBezTo>
                  <a:pt x="58" y="62"/>
                  <a:pt x="58" y="62"/>
                  <a:pt x="58" y="62"/>
                </a:cubicBezTo>
                <a:cubicBezTo>
                  <a:pt x="58" y="62"/>
                  <a:pt x="58" y="63"/>
                  <a:pt x="58" y="63"/>
                </a:cubicBezTo>
                <a:cubicBezTo>
                  <a:pt x="58" y="64"/>
                  <a:pt x="58" y="64"/>
                  <a:pt x="58" y="65"/>
                </a:cubicBezTo>
                <a:cubicBezTo>
                  <a:pt x="51" y="71"/>
                  <a:pt x="43" y="74"/>
                  <a:pt x="34" y="74"/>
                </a:cubicBezTo>
                <a:close/>
                <a:moveTo>
                  <a:pt x="30" y="70"/>
                </a:moveTo>
                <a:cubicBezTo>
                  <a:pt x="32" y="71"/>
                  <a:pt x="34" y="71"/>
                  <a:pt x="36" y="71"/>
                </a:cubicBezTo>
                <a:cubicBezTo>
                  <a:pt x="49" y="58"/>
                  <a:pt x="49" y="58"/>
                  <a:pt x="49" y="58"/>
                </a:cubicBezTo>
                <a:cubicBezTo>
                  <a:pt x="45" y="55"/>
                  <a:pt x="45" y="55"/>
                  <a:pt x="45" y="55"/>
                </a:cubicBezTo>
                <a:lnTo>
                  <a:pt x="30" y="70"/>
                </a:lnTo>
                <a:close/>
                <a:moveTo>
                  <a:pt x="51" y="60"/>
                </a:moveTo>
                <a:cubicBezTo>
                  <a:pt x="42" y="70"/>
                  <a:pt x="42" y="70"/>
                  <a:pt x="42" y="70"/>
                </a:cubicBezTo>
                <a:cubicBezTo>
                  <a:pt x="46" y="68"/>
                  <a:pt x="50" y="66"/>
                  <a:pt x="54" y="63"/>
                </a:cubicBezTo>
                <a:lnTo>
                  <a:pt x="51" y="60"/>
                </a:lnTo>
                <a:close/>
                <a:moveTo>
                  <a:pt x="21" y="68"/>
                </a:moveTo>
                <a:cubicBezTo>
                  <a:pt x="22" y="68"/>
                  <a:pt x="24" y="69"/>
                  <a:pt x="26" y="69"/>
                </a:cubicBezTo>
                <a:cubicBezTo>
                  <a:pt x="43" y="52"/>
                  <a:pt x="43" y="52"/>
                  <a:pt x="43" y="52"/>
                </a:cubicBezTo>
                <a:cubicBezTo>
                  <a:pt x="40" y="49"/>
                  <a:pt x="40" y="49"/>
                  <a:pt x="40" y="49"/>
                </a:cubicBezTo>
                <a:lnTo>
                  <a:pt x="21" y="68"/>
                </a:lnTo>
                <a:close/>
                <a:moveTo>
                  <a:pt x="14" y="63"/>
                </a:moveTo>
                <a:cubicBezTo>
                  <a:pt x="15" y="64"/>
                  <a:pt x="16" y="65"/>
                  <a:pt x="18" y="66"/>
                </a:cubicBezTo>
                <a:cubicBezTo>
                  <a:pt x="37" y="46"/>
                  <a:pt x="37" y="46"/>
                  <a:pt x="37" y="46"/>
                </a:cubicBezTo>
                <a:cubicBezTo>
                  <a:pt x="34" y="43"/>
                  <a:pt x="34" y="43"/>
                  <a:pt x="34" y="43"/>
                </a:cubicBezTo>
                <a:lnTo>
                  <a:pt x="14" y="63"/>
                </a:lnTo>
                <a:close/>
                <a:moveTo>
                  <a:pt x="9" y="57"/>
                </a:moveTo>
                <a:cubicBezTo>
                  <a:pt x="10" y="58"/>
                  <a:pt x="11" y="60"/>
                  <a:pt x="12" y="61"/>
                </a:cubicBezTo>
                <a:cubicBezTo>
                  <a:pt x="32" y="40"/>
                  <a:pt x="32" y="40"/>
                  <a:pt x="32" y="40"/>
                </a:cubicBezTo>
                <a:cubicBezTo>
                  <a:pt x="32" y="34"/>
                  <a:pt x="32" y="34"/>
                  <a:pt x="32" y="34"/>
                </a:cubicBezTo>
                <a:lnTo>
                  <a:pt x="9" y="57"/>
                </a:lnTo>
                <a:close/>
                <a:moveTo>
                  <a:pt x="5" y="49"/>
                </a:moveTo>
                <a:cubicBezTo>
                  <a:pt x="6" y="51"/>
                  <a:pt x="6" y="52"/>
                  <a:pt x="7" y="54"/>
                </a:cubicBezTo>
                <a:cubicBezTo>
                  <a:pt x="32" y="29"/>
                  <a:pt x="32" y="29"/>
                  <a:pt x="32" y="29"/>
                </a:cubicBezTo>
                <a:cubicBezTo>
                  <a:pt x="32" y="22"/>
                  <a:pt x="32" y="22"/>
                  <a:pt x="32" y="22"/>
                </a:cubicBezTo>
                <a:lnTo>
                  <a:pt x="5" y="49"/>
                </a:lnTo>
                <a:close/>
                <a:moveTo>
                  <a:pt x="4" y="39"/>
                </a:moveTo>
                <a:cubicBezTo>
                  <a:pt x="4" y="40"/>
                  <a:pt x="4" y="40"/>
                  <a:pt x="4" y="41"/>
                </a:cubicBezTo>
                <a:cubicBezTo>
                  <a:pt x="4" y="42"/>
                  <a:pt x="4" y="44"/>
                  <a:pt x="4" y="45"/>
                </a:cubicBezTo>
                <a:cubicBezTo>
                  <a:pt x="32" y="17"/>
                  <a:pt x="32" y="17"/>
                  <a:pt x="32" y="17"/>
                </a:cubicBezTo>
                <a:cubicBezTo>
                  <a:pt x="32" y="11"/>
                  <a:pt x="32" y="11"/>
                  <a:pt x="32" y="11"/>
                </a:cubicBezTo>
                <a:lnTo>
                  <a:pt x="4" y="39"/>
                </a:lnTo>
                <a:close/>
                <a:moveTo>
                  <a:pt x="27" y="11"/>
                </a:moveTo>
                <a:cubicBezTo>
                  <a:pt x="16" y="14"/>
                  <a:pt x="8" y="23"/>
                  <a:pt x="5" y="33"/>
                </a:cubicBezTo>
                <a:lnTo>
                  <a:pt x="27" y="11"/>
                </a:lnTo>
                <a:close/>
                <a:moveTo>
                  <a:pt x="65" y="64"/>
                </a:moveTo>
                <a:cubicBezTo>
                  <a:pt x="65" y="64"/>
                  <a:pt x="65" y="64"/>
                  <a:pt x="65" y="64"/>
                </a:cubicBezTo>
                <a:cubicBezTo>
                  <a:pt x="64" y="64"/>
                  <a:pt x="64" y="64"/>
                  <a:pt x="63" y="64"/>
                </a:cubicBezTo>
                <a:cubicBezTo>
                  <a:pt x="41" y="41"/>
                  <a:pt x="41" y="41"/>
                  <a:pt x="41" y="41"/>
                </a:cubicBezTo>
                <a:cubicBezTo>
                  <a:pt x="40" y="41"/>
                  <a:pt x="40" y="40"/>
                  <a:pt x="40" y="40"/>
                </a:cubicBezTo>
                <a:cubicBezTo>
                  <a:pt x="40" y="40"/>
                  <a:pt x="40" y="39"/>
                  <a:pt x="41" y="39"/>
                </a:cubicBezTo>
                <a:cubicBezTo>
                  <a:pt x="41" y="38"/>
                  <a:pt x="42" y="38"/>
                  <a:pt x="42" y="38"/>
                </a:cubicBezTo>
                <a:cubicBezTo>
                  <a:pt x="74" y="38"/>
                  <a:pt x="74" y="38"/>
                  <a:pt x="74" y="38"/>
                </a:cubicBezTo>
                <a:cubicBezTo>
                  <a:pt x="75" y="38"/>
                  <a:pt x="76" y="39"/>
                  <a:pt x="76" y="40"/>
                </a:cubicBezTo>
                <a:cubicBezTo>
                  <a:pt x="76" y="40"/>
                  <a:pt x="76" y="40"/>
                  <a:pt x="76" y="40"/>
                </a:cubicBezTo>
                <a:cubicBezTo>
                  <a:pt x="76" y="49"/>
                  <a:pt x="72" y="58"/>
                  <a:pt x="66" y="64"/>
                </a:cubicBezTo>
                <a:cubicBezTo>
                  <a:pt x="66" y="64"/>
                  <a:pt x="65" y="64"/>
                  <a:pt x="65" y="64"/>
                </a:cubicBezTo>
                <a:close/>
                <a:moveTo>
                  <a:pt x="46" y="41"/>
                </a:moveTo>
                <a:cubicBezTo>
                  <a:pt x="65" y="60"/>
                  <a:pt x="65" y="60"/>
                  <a:pt x="65" y="60"/>
                </a:cubicBezTo>
                <a:cubicBezTo>
                  <a:pt x="69" y="55"/>
                  <a:pt x="72" y="48"/>
                  <a:pt x="72" y="41"/>
                </a:cubicBezTo>
                <a:lnTo>
                  <a:pt x="46" y="41"/>
                </a:lnTo>
                <a:close/>
                <a:moveTo>
                  <a:pt x="72" y="36"/>
                </a:moveTo>
                <a:cubicBezTo>
                  <a:pt x="40" y="36"/>
                  <a:pt x="40" y="36"/>
                  <a:pt x="40" y="36"/>
                </a:cubicBezTo>
                <a:cubicBezTo>
                  <a:pt x="39" y="36"/>
                  <a:pt x="38" y="35"/>
                  <a:pt x="38" y="34"/>
                </a:cubicBezTo>
                <a:cubicBezTo>
                  <a:pt x="38" y="2"/>
                  <a:pt x="38" y="2"/>
                  <a:pt x="38" y="2"/>
                </a:cubicBezTo>
                <a:cubicBezTo>
                  <a:pt x="38" y="1"/>
                  <a:pt x="39" y="0"/>
                  <a:pt x="40" y="0"/>
                </a:cubicBezTo>
                <a:cubicBezTo>
                  <a:pt x="40" y="0"/>
                  <a:pt x="40" y="0"/>
                  <a:pt x="40" y="0"/>
                </a:cubicBezTo>
                <a:cubicBezTo>
                  <a:pt x="58" y="0"/>
                  <a:pt x="73" y="15"/>
                  <a:pt x="73" y="34"/>
                </a:cubicBezTo>
                <a:cubicBezTo>
                  <a:pt x="73" y="34"/>
                  <a:pt x="73" y="35"/>
                  <a:pt x="73" y="35"/>
                </a:cubicBezTo>
                <a:cubicBezTo>
                  <a:pt x="73" y="35"/>
                  <a:pt x="72" y="36"/>
                  <a:pt x="72" y="36"/>
                </a:cubicBezTo>
                <a:close/>
                <a:moveTo>
                  <a:pt x="41" y="32"/>
                </a:moveTo>
                <a:cubicBezTo>
                  <a:pt x="70" y="32"/>
                  <a:pt x="70" y="32"/>
                  <a:pt x="70" y="32"/>
                </a:cubicBezTo>
                <a:cubicBezTo>
                  <a:pt x="69" y="17"/>
                  <a:pt x="56" y="5"/>
                  <a:pt x="41" y="4"/>
                </a:cubicBezTo>
                <a:lnTo>
                  <a:pt x="41" y="3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cs typeface="+mn-ea"/>
              <a:sym typeface="+mn-lt"/>
            </a:endParaRPr>
          </a:p>
        </p:txBody>
      </p:sp>
      <p:sp>
        <p:nvSpPr>
          <p:cNvPr id="84" name="Rectangle 81">
            <a:extLst>
              <a:ext uri="{FF2B5EF4-FFF2-40B4-BE49-F238E27FC236}">
                <a16:creationId xmlns:a16="http://schemas.microsoft.com/office/drawing/2014/main" id="{102E92EB-2711-403B-A0A5-4DC7DEE3B89E}"/>
              </a:ext>
            </a:extLst>
          </p:cNvPr>
          <p:cNvSpPr>
            <a:spLocks noChangeArrowheads="1"/>
          </p:cNvSpPr>
          <p:nvPr/>
        </p:nvSpPr>
        <p:spPr bwMode="auto">
          <a:xfrm>
            <a:off x="5219700" y="3487738"/>
            <a:ext cx="134938" cy="95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cs typeface="+mn-ea"/>
              <a:sym typeface="+mn-lt"/>
            </a:endParaRPr>
          </a:p>
        </p:txBody>
      </p:sp>
      <p:sp>
        <p:nvSpPr>
          <p:cNvPr id="85" name="Rectangle 82">
            <a:extLst>
              <a:ext uri="{FF2B5EF4-FFF2-40B4-BE49-F238E27FC236}">
                <a16:creationId xmlns:a16="http://schemas.microsoft.com/office/drawing/2014/main" id="{23087B6C-C8E8-4EEE-ACB2-F3D95A815EAD}"/>
              </a:ext>
            </a:extLst>
          </p:cNvPr>
          <p:cNvSpPr>
            <a:spLocks noChangeArrowheads="1"/>
          </p:cNvSpPr>
          <p:nvPr/>
        </p:nvSpPr>
        <p:spPr bwMode="auto">
          <a:xfrm>
            <a:off x="5227638" y="3373438"/>
            <a:ext cx="46038" cy="1190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cs typeface="+mn-ea"/>
              <a:sym typeface="+mn-lt"/>
            </a:endParaRPr>
          </a:p>
        </p:txBody>
      </p:sp>
      <p:sp>
        <p:nvSpPr>
          <p:cNvPr id="86" name="Freeform 83">
            <a:extLst>
              <a:ext uri="{FF2B5EF4-FFF2-40B4-BE49-F238E27FC236}">
                <a16:creationId xmlns:a16="http://schemas.microsoft.com/office/drawing/2014/main" id="{82D13DCB-2EE6-4DD6-BD65-833E4E8FF4D3}"/>
              </a:ext>
            </a:extLst>
          </p:cNvPr>
          <p:cNvSpPr>
            <a:spLocks/>
          </p:cNvSpPr>
          <p:nvPr/>
        </p:nvSpPr>
        <p:spPr bwMode="auto">
          <a:xfrm>
            <a:off x="5227638" y="3373438"/>
            <a:ext cx="46038" cy="119063"/>
          </a:xfrm>
          <a:custGeom>
            <a:avLst/>
            <a:gdLst>
              <a:gd name="T0" fmla="*/ 0 w 29"/>
              <a:gd name="T1" fmla="*/ 75 h 75"/>
              <a:gd name="T2" fmla="*/ 0 w 29"/>
              <a:gd name="T3" fmla="*/ 0 h 75"/>
              <a:gd name="T4" fmla="*/ 29 w 29"/>
              <a:gd name="T5" fmla="*/ 0 h 75"/>
              <a:gd name="T6" fmla="*/ 29 w 29"/>
              <a:gd name="T7" fmla="*/ 75 h 75"/>
            </a:gdLst>
            <a:ahLst/>
            <a:cxnLst>
              <a:cxn ang="0">
                <a:pos x="T0" y="T1"/>
              </a:cxn>
              <a:cxn ang="0">
                <a:pos x="T2" y="T3"/>
              </a:cxn>
              <a:cxn ang="0">
                <a:pos x="T4" y="T5"/>
              </a:cxn>
              <a:cxn ang="0">
                <a:pos x="T6" y="T7"/>
              </a:cxn>
            </a:cxnLst>
            <a:rect l="0" t="0" r="r" b="b"/>
            <a:pathLst>
              <a:path w="29" h="75">
                <a:moveTo>
                  <a:pt x="0" y="75"/>
                </a:moveTo>
                <a:lnTo>
                  <a:pt x="0" y="0"/>
                </a:lnTo>
                <a:lnTo>
                  <a:pt x="29" y="0"/>
                </a:lnTo>
                <a:lnTo>
                  <a:pt x="29" y="7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cs typeface="+mn-ea"/>
              <a:sym typeface="+mn-lt"/>
            </a:endParaRPr>
          </a:p>
        </p:txBody>
      </p:sp>
      <p:sp>
        <p:nvSpPr>
          <p:cNvPr id="87" name="Rectangle 84">
            <a:extLst>
              <a:ext uri="{FF2B5EF4-FFF2-40B4-BE49-F238E27FC236}">
                <a16:creationId xmlns:a16="http://schemas.microsoft.com/office/drawing/2014/main" id="{2E88D1BA-645D-4D2C-9D56-0728E9DDF5CB}"/>
              </a:ext>
            </a:extLst>
          </p:cNvPr>
          <p:cNvSpPr>
            <a:spLocks noChangeArrowheads="1"/>
          </p:cNvSpPr>
          <p:nvPr/>
        </p:nvSpPr>
        <p:spPr bwMode="auto">
          <a:xfrm>
            <a:off x="5299075" y="3322638"/>
            <a:ext cx="47625" cy="1698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cs typeface="+mn-ea"/>
              <a:sym typeface="+mn-lt"/>
            </a:endParaRPr>
          </a:p>
        </p:txBody>
      </p:sp>
      <p:sp>
        <p:nvSpPr>
          <p:cNvPr id="88" name="Freeform 85">
            <a:extLst>
              <a:ext uri="{FF2B5EF4-FFF2-40B4-BE49-F238E27FC236}">
                <a16:creationId xmlns:a16="http://schemas.microsoft.com/office/drawing/2014/main" id="{D53669FE-6217-48FF-9B33-53ED0006C4D0}"/>
              </a:ext>
            </a:extLst>
          </p:cNvPr>
          <p:cNvSpPr>
            <a:spLocks/>
          </p:cNvSpPr>
          <p:nvPr/>
        </p:nvSpPr>
        <p:spPr bwMode="auto">
          <a:xfrm>
            <a:off x="5299075" y="3322638"/>
            <a:ext cx="47625" cy="169863"/>
          </a:xfrm>
          <a:custGeom>
            <a:avLst/>
            <a:gdLst>
              <a:gd name="T0" fmla="*/ 0 w 30"/>
              <a:gd name="T1" fmla="*/ 107 h 107"/>
              <a:gd name="T2" fmla="*/ 0 w 30"/>
              <a:gd name="T3" fmla="*/ 0 h 107"/>
              <a:gd name="T4" fmla="*/ 30 w 30"/>
              <a:gd name="T5" fmla="*/ 0 h 107"/>
              <a:gd name="T6" fmla="*/ 30 w 30"/>
              <a:gd name="T7" fmla="*/ 107 h 107"/>
            </a:gdLst>
            <a:ahLst/>
            <a:cxnLst>
              <a:cxn ang="0">
                <a:pos x="T0" y="T1"/>
              </a:cxn>
              <a:cxn ang="0">
                <a:pos x="T2" y="T3"/>
              </a:cxn>
              <a:cxn ang="0">
                <a:pos x="T4" y="T5"/>
              </a:cxn>
              <a:cxn ang="0">
                <a:pos x="T6" y="T7"/>
              </a:cxn>
            </a:cxnLst>
            <a:rect l="0" t="0" r="r" b="b"/>
            <a:pathLst>
              <a:path w="30" h="107">
                <a:moveTo>
                  <a:pt x="0" y="107"/>
                </a:moveTo>
                <a:lnTo>
                  <a:pt x="0" y="0"/>
                </a:lnTo>
                <a:lnTo>
                  <a:pt x="30" y="0"/>
                </a:lnTo>
                <a:lnTo>
                  <a:pt x="30" y="10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cs typeface="+mn-ea"/>
              <a:sym typeface="+mn-lt"/>
            </a:endParaRPr>
          </a:p>
        </p:txBody>
      </p:sp>
      <p:sp>
        <p:nvSpPr>
          <p:cNvPr id="89" name="Freeform 86">
            <a:extLst>
              <a:ext uri="{FF2B5EF4-FFF2-40B4-BE49-F238E27FC236}">
                <a16:creationId xmlns:a16="http://schemas.microsoft.com/office/drawing/2014/main" id="{FE653D8F-944E-414F-BBC7-37978A6B9814}"/>
              </a:ext>
            </a:extLst>
          </p:cNvPr>
          <p:cNvSpPr>
            <a:spLocks/>
          </p:cNvSpPr>
          <p:nvPr/>
        </p:nvSpPr>
        <p:spPr bwMode="auto">
          <a:xfrm>
            <a:off x="5372100" y="3263900"/>
            <a:ext cx="46038" cy="147638"/>
          </a:xfrm>
          <a:custGeom>
            <a:avLst/>
            <a:gdLst>
              <a:gd name="T0" fmla="*/ 0 w 29"/>
              <a:gd name="T1" fmla="*/ 93 h 93"/>
              <a:gd name="T2" fmla="*/ 0 w 29"/>
              <a:gd name="T3" fmla="*/ 0 h 93"/>
              <a:gd name="T4" fmla="*/ 29 w 29"/>
              <a:gd name="T5" fmla="*/ 0 h 93"/>
              <a:gd name="T6" fmla="*/ 29 w 29"/>
              <a:gd name="T7" fmla="*/ 80 h 93"/>
              <a:gd name="T8" fmla="*/ 0 w 29"/>
              <a:gd name="T9" fmla="*/ 93 h 93"/>
            </a:gdLst>
            <a:ahLst/>
            <a:cxnLst>
              <a:cxn ang="0">
                <a:pos x="T0" y="T1"/>
              </a:cxn>
              <a:cxn ang="0">
                <a:pos x="T2" y="T3"/>
              </a:cxn>
              <a:cxn ang="0">
                <a:pos x="T4" y="T5"/>
              </a:cxn>
              <a:cxn ang="0">
                <a:pos x="T6" y="T7"/>
              </a:cxn>
              <a:cxn ang="0">
                <a:pos x="T8" y="T9"/>
              </a:cxn>
            </a:cxnLst>
            <a:rect l="0" t="0" r="r" b="b"/>
            <a:pathLst>
              <a:path w="29" h="93">
                <a:moveTo>
                  <a:pt x="0" y="93"/>
                </a:moveTo>
                <a:lnTo>
                  <a:pt x="0" y="0"/>
                </a:lnTo>
                <a:lnTo>
                  <a:pt x="29" y="0"/>
                </a:lnTo>
                <a:lnTo>
                  <a:pt x="29" y="80"/>
                </a:lnTo>
                <a:lnTo>
                  <a:pt x="0" y="9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cs typeface="+mn-ea"/>
              <a:sym typeface="+mn-lt"/>
            </a:endParaRPr>
          </a:p>
        </p:txBody>
      </p:sp>
      <p:sp>
        <p:nvSpPr>
          <p:cNvPr id="90" name="Freeform 87">
            <a:extLst>
              <a:ext uri="{FF2B5EF4-FFF2-40B4-BE49-F238E27FC236}">
                <a16:creationId xmlns:a16="http://schemas.microsoft.com/office/drawing/2014/main" id="{D59291F8-B3FF-4452-A8C8-26F84D677628}"/>
              </a:ext>
            </a:extLst>
          </p:cNvPr>
          <p:cNvSpPr>
            <a:spLocks/>
          </p:cNvSpPr>
          <p:nvPr/>
        </p:nvSpPr>
        <p:spPr bwMode="auto">
          <a:xfrm>
            <a:off x="5372100" y="3263900"/>
            <a:ext cx="46038" cy="147638"/>
          </a:xfrm>
          <a:custGeom>
            <a:avLst/>
            <a:gdLst>
              <a:gd name="T0" fmla="*/ 0 w 29"/>
              <a:gd name="T1" fmla="*/ 93 h 93"/>
              <a:gd name="T2" fmla="*/ 0 w 29"/>
              <a:gd name="T3" fmla="*/ 0 h 93"/>
              <a:gd name="T4" fmla="*/ 29 w 29"/>
              <a:gd name="T5" fmla="*/ 0 h 93"/>
              <a:gd name="T6" fmla="*/ 29 w 29"/>
              <a:gd name="T7" fmla="*/ 80 h 93"/>
            </a:gdLst>
            <a:ahLst/>
            <a:cxnLst>
              <a:cxn ang="0">
                <a:pos x="T0" y="T1"/>
              </a:cxn>
              <a:cxn ang="0">
                <a:pos x="T2" y="T3"/>
              </a:cxn>
              <a:cxn ang="0">
                <a:pos x="T4" y="T5"/>
              </a:cxn>
              <a:cxn ang="0">
                <a:pos x="T6" y="T7"/>
              </a:cxn>
            </a:cxnLst>
            <a:rect l="0" t="0" r="r" b="b"/>
            <a:pathLst>
              <a:path w="29" h="93">
                <a:moveTo>
                  <a:pt x="0" y="93"/>
                </a:moveTo>
                <a:lnTo>
                  <a:pt x="0" y="0"/>
                </a:lnTo>
                <a:lnTo>
                  <a:pt x="29" y="0"/>
                </a:lnTo>
                <a:lnTo>
                  <a:pt x="29" y="8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cs typeface="+mn-ea"/>
              <a:sym typeface="+mn-lt"/>
            </a:endParaRPr>
          </a:p>
        </p:txBody>
      </p:sp>
      <p:sp>
        <p:nvSpPr>
          <p:cNvPr id="91" name="Freeform 88">
            <a:extLst>
              <a:ext uri="{FF2B5EF4-FFF2-40B4-BE49-F238E27FC236}">
                <a16:creationId xmlns:a16="http://schemas.microsoft.com/office/drawing/2014/main" id="{3F1E9941-6B01-4048-B6EA-DFDB0030BE95}"/>
              </a:ext>
            </a:extLst>
          </p:cNvPr>
          <p:cNvSpPr>
            <a:spLocks noEditPoints="1"/>
          </p:cNvSpPr>
          <p:nvPr/>
        </p:nvSpPr>
        <p:spPr bwMode="auto">
          <a:xfrm>
            <a:off x="5346700" y="3386138"/>
            <a:ext cx="152400" cy="157163"/>
          </a:xfrm>
          <a:custGeom>
            <a:avLst/>
            <a:gdLst>
              <a:gd name="T0" fmla="*/ 18 w 36"/>
              <a:gd name="T1" fmla="*/ 37 h 37"/>
              <a:gd name="T2" fmla="*/ 0 w 36"/>
              <a:gd name="T3" fmla="*/ 18 h 37"/>
              <a:gd name="T4" fmla="*/ 18 w 36"/>
              <a:gd name="T5" fmla="*/ 0 h 37"/>
              <a:gd name="T6" fmla="*/ 36 w 36"/>
              <a:gd name="T7" fmla="*/ 18 h 37"/>
              <a:gd name="T8" fmla="*/ 18 w 36"/>
              <a:gd name="T9" fmla="*/ 37 h 37"/>
              <a:gd name="T10" fmla="*/ 18 w 36"/>
              <a:gd name="T11" fmla="*/ 2 h 37"/>
              <a:gd name="T12" fmla="*/ 2 w 36"/>
              <a:gd name="T13" fmla="*/ 18 h 37"/>
              <a:gd name="T14" fmla="*/ 18 w 36"/>
              <a:gd name="T15" fmla="*/ 34 h 37"/>
              <a:gd name="T16" fmla="*/ 34 w 36"/>
              <a:gd name="T17" fmla="*/ 18 h 37"/>
              <a:gd name="T18" fmla="*/ 18 w 36"/>
              <a:gd name="T19" fmla="*/ 2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7">
                <a:moveTo>
                  <a:pt x="18" y="37"/>
                </a:moveTo>
                <a:cubicBezTo>
                  <a:pt x="8" y="37"/>
                  <a:pt x="0" y="28"/>
                  <a:pt x="0" y="18"/>
                </a:cubicBezTo>
                <a:cubicBezTo>
                  <a:pt x="0" y="8"/>
                  <a:pt x="8" y="0"/>
                  <a:pt x="18" y="0"/>
                </a:cubicBezTo>
                <a:cubicBezTo>
                  <a:pt x="28" y="0"/>
                  <a:pt x="36" y="8"/>
                  <a:pt x="36" y="18"/>
                </a:cubicBezTo>
                <a:cubicBezTo>
                  <a:pt x="36" y="28"/>
                  <a:pt x="28" y="37"/>
                  <a:pt x="18" y="37"/>
                </a:cubicBezTo>
                <a:close/>
                <a:moveTo>
                  <a:pt x="18" y="2"/>
                </a:moveTo>
                <a:cubicBezTo>
                  <a:pt x="9" y="2"/>
                  <a:pt x="2" y="10"/>
                  <a:pt x="2" y="18"/>
                </a:cubicBezTo>
                <a:cubicBezTo>
                  <a:pt x="2" y="27"/>
                  <a:pt x="9" y="34"/>
                  <a:pt x="18" y="34"/>
                </a:cubicBezTo>
                <a:cubicBezTo>
                  <a:pt x="27" y="34"/>
                  <a:pt x="34" y="27"/>
                  <a:pt x="34" y="18"/>
                </a:cubicBezTo>
                <a:cubicBezTo>
                  <a:pt x="34" y="10"/>
                  <a:pt x="27" y="2"/>
                  <a:pt x="18" y="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cs typeface="+mn-ea"/>
              <a:sym typeface="+mn-lt"/>
            </a:endParaRPr>
          </a:p>
        </p:txBody>
      </p:sp>
      <p:sp>
        <p:nvSpPr>
          <p:cNvPr id="92" name="Freeform 89">
            <a:extLst>
              <a:ext uri="{FF2B5EF4-FFF2-40B4-BE49-F238E27FC236}">
                <a16:creationId xmlns:a16="http://schemas.microsoft.com/office/drawing/2014/main" id="{8FA093A2-380B-4BBE-9AFA-147878FC5AD2}"/>
              </a:ext>
            </a:extLst>
          </p:cNvPr>
          <p:cNvSpPr>
            <a:spLocks/>
          </p:cNvSpPr>
          <p:nvPr/>
        </p:nvSpPr>
        <p:spPr bwMode="auto">
          <a:xfrm>
            <a:off x="5387975" y="3429000"/>
            <a:ext cx="63500" cy="68263"/>
          </a:xfrm>
          <a:custGeom>
            <a:avLst/>
            <a:gdLst>
              <a:gd name="T0" fmla="*/ 1 w 15"/>
              <a:gd name="T1" fmla="*/ 16 h 16"/>
              <a:gd name="T2" fmla="*/ 0 w 15"/>
              <a:gd name="T3" fmla="*/ 14 h 16"/>
              <a:gd name="T4" fmla="*/ 4 w 15"/>
              <a:gd name="T5" fmla="*/ 10 h 16"/>
              <a:gd name="T6" fmla="*/ 14 w 15"/>
              <a:gd name="T7" fmla="*/ 0 h 16"/>
              <a:gd name="T8" fmla="*/ 15 w 15"/>
              <a:gd name="T9" fmla="*/ 2 h 16"/>
              <a:gd name="T10" fmla="*/ 15 w 15"/>
              <a:gd name="T11" fmla="*/ 1 h 16"/>
              <a:gd name="T12" fmla="*/ 15 w 15"/>
              <a:gd name="T13" fmla="*/ 2 h 16"/>
              <a:gd name="T14" fmla="*/ 6 w 15"/>
              <a:gd name="T15" fmla="*/ 12 h 16"/>
              <a:gd name="T16" fmla="*/ 1 w 15"/>
              <a:gd name="T17"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6">
                <a:moveTo>
                  <a:pt x="1" y="16"/>
                </a:moveTo>
                <a:cubicBezTo>
                  <a:pt x="0" y="14"/>
                  <a:pt x="0" y="14"/>
                  <a:pt x="0" y="14"/>
                </a:cubicBezTo>
                <a:cubicBezTo>
                  <a:pt x="0" y="14"/>
                  <a:pt x="2" y="12"/>
                  <a:pt x="4" y="10"/>
                </a:cubicBezTo>
                <a:cubicBezTo>
                  <a:pt x="11" y="2"/>
                  <a:pt x="13" y="0"/>
                  <a:pt x="14" y="0"/>
                </a:cubicBezTo>
                <a:cubicBezTo>
                  <a:pt x="15" y="2"/>
                  <a:pt x="15" y="2"/>
                  <a:pt x="15" y="2"/>
                </a:cubicBezTo>
                <a:cubicBezTo>
                  <a:pt x="15" y="1"/>
                  <a:pt x="15" y="1"/>
                  <a:pt x="15" y="1"/>
                </a:cubicBezTo>
                <a:cubicBezTo>
                  <a:pt x="15" y="2"/>
                  <a:pt x="15" y="2"/>
                  <a:pt x="15" y="2"/>
                </a:cubicBezTo>
                <a:cubicBezTo>
                  <a:pt x="14" y="2"/>
                  <a:pt x="9" y="8"/>
                  <a:pt x="6" y="12"/>
                </a:cubicBezTo>
                <a:cubicBezTo>
                  <a:pt x="4" y="14"/>
                  <a:pt x="2" y="15"/>
                  <a:pt x="1" y="1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cs typeface="+mn-ea"/>
              <a:sym typeface="+mn-lt"/>
            </a:endParaRPr>
          </a:p>
        </p:txBody>
      </p:sp>
      <p:sp>
        <p:nvSpPr>
          <p:cNvPr id="93" name="Freeform 90">
            <a:extLst>
              <a:ext uri="{FF2B5EF4-FFF2-40B4-BE49-F238E27FC236}">
                <a16:creationId xmlns:a16="http://schemas.microsoft.com/office/drawing/2014/main" id="{5406916B-57A2-4AE6-9EBD-7732E04F625A}"/>
              </a:ext>
            </a:extLst>
          </p:cNvPr>
          <p:cNvSpPr>
            <a:spLocks/>
          </p:cNvSpPr>
          <p:nvPr/>
        </p:nvSpPr>
        <p:spPr bwMode="auto">
          <a:xfrm>
            <a:off x="5400675" y="3429000"/>
            <a:ext cx="55563" cy="55563"/>
          </a:xfrm>
          <a:custGeom>
            <a:avLst/>
            <a:gdLst>
              <a:gd name="T0" fmla="*/ 35 w 35"/>
              <a:gd name="T1" fmla="*/ 35 h 35"/>
              <a:gd name="T2" fmla="*/ 30 w 35"/>
              <a:gd name="T3" fmla="*/ 35 h 35"/>
              <a:gd name="T4" fmla="*/ 30 w 35"/>
              <a:gd name="T5" fmla="*/ 5 h 35"/>
              <a:gd name="T6" fmla="*/ 0 w 35"/>
              <a:gd name="T7" fmla="*/ 5 h 35"/>
              <a:gd name="T8" fmla="*/ 0 w 35"/>
              <a:gd name="T9" fmla="*/ 0 h 35"/>
              <a:gd name="T10" fmla="*/ 35 w 35"/>
              <a:gd name="T11" fmla="*/ 0 h 35"/>
              <a:gd name="T12" fmla="*/ 35 w 35"/>
              <a:gd name="T13" fmla="*/ 35 h 35"/>
            </a:gdLst>
            <a:ahLst/>
            <a:cxnLst>
              <a:cxn ang="0">
                <a:pos x="T0" y="T1"/>
              </a:cxn>
              <a:cxn ang="0">
                <a:pos x="T2" y="T3"/>
              </a:cxn>
              <a:cxn ang="0">
                <a:pos x="T4" y="T5"/>
              </a:cxn>
              <a:cxn ang="0">
                <a:pos x="T6" y="T7"/>
              </a:cxn>
              <a:cxn ang="0">
                <a:pos x="T8" y="T9"/>
              </a:cxn>
              <a:cxn ang="0">
                <a:pos x="T10" y="T11"/>
              </a:cxn>
              <a:cxn ang="0">
                <a:pos x="T12" y="T13"/>
              </a:cxn>
            </a:cxnLst>
            <a:rect l="0" t="0" r="r" b="b"/>
            <a:pathLst>
              <a:path w="35" h="35">
                <a:moveTo>
                  <a:pt x="35" y="35"/>
                </a:moveTo>
                <a:lnTo>
                  <a:pt x="30" y="35"/>
                </a:lnTo>
                <a:lnTo>
                  <a:pt x="30" y="5"/>
                </a:lnTo>
                <a:lnTo>
                  <a:pt x="0" y="5"/>
                </a:lnTo>
                <a:lnTo>
                  <a:pt x="0" y="0"/>
                </a:lnTo>
                <a:lnTo>
                  <a:pt x="35" y="0"/>
                </a:lnTo>
                <a:lnTo>
                  <a:pt x="35" y="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cs typeface="+mn-ea"/>
              <a:sym typeface="+mn-lt"/>
            </a:endParaRPr>
          </a:p>
        </p:txBody>
      </p:sp>
      <p:sp>
        <p:nvSpPr>
          <p:cNvPr id="94" name="Freeform 91">
            <a:extLst>
              <a:ext uri="{FF2B5EF4-FFF2-40B4-BE49-F238E27FC236}">
                <a16:creationId xmlns:a16="http://schemas.microsoft.com/office/drawing/2014/main" id="{68FA2E60-CA3C-4FD2-B26B-44DC6824A6FB}"/>
              </a:ext>
            </a:extLst>
          </p:cNvPr>
          <p:cNvSpPr>
            <a:spLocks noEditPoints="1"/>
          </p:cNvSpPr>
          <p:nvPr/>
        </p:nvSpPr>
        <p:spPr bwMode="auto">
          <a:xfrm>
            <a:off x="2503488" y="3292475"/>
            <a:ext cx="246063" cy="207963"/>
          </a:xfrm>
          <a:custGeom>
            <a:avLst/>
            <a:gdLst>
              <a:gd name="T0" fmla="*/ 53 w 58"/>
              <a:gd name="T1" fmla="*/ 49 h 49"/>
              <a:gd name="T2" fmla="*/ 5 w 58"/>
              <a:gd name="T3" fmla="*/ 49 h 49"/>
              <a:gd name="T4" fmla="*/ 0 w 58"/>
              <a:gd name="T5" fmla="*/ 44 h 49"/>
              <a:gd name="T6" fmla="*/ 0 w 58"/>
              <a:gd name="T7" fmla="*/ 14 h 49"/>
              <a:gd name="T8" fmla="*/ 5 w 58"/>
              <a:gd name="T9" fmla="*/ 9 h 49"/>
              <a:gd name="T10" fmla="*/ 17 w 58"/>
              <a:gd name="T11" fmla="*/ 9 h 49"/>
              <a:gd name="T12" fmla="*/ 17 w 58"/>
              <a:gd name="T13" fmla="*/ 6 h 49"/>
              <a:gd name="T14" fmla="*/ 22 w 58"/>
              <a:gd name="T15" fmla="*/ 0 h 49"/>
              <a:gd name="T16" fmla="*/ 36 w 58"/>
              <a:gd name="T17" fmla="*/ 0 h 49"/>
              <a:gd name="T18" fmla="*/ 42 w 58"/>
              <a:gd name="T19" fmla="*/ 6 h 49"/>
              <a:gd name="T20" fmla="*/ 42 w 58"/>
              <a:gd name="T21" fmla="*/ 9 h 49"/>
              <a:gd name="T22" fmla="*/ 53 w 58"/>
              <a:gd name="T23" fmla="*/ 9 h 49"/>
              <a:gd name="T24" fmla="*/ 58 w 58"/>
              <a:gd name="T25" fmla="*/ 14 h 49"/>
              <a:gd name="T26" fmla="*/ 58 w 58"/>
              <a:gd name="T27" fmla="*/ 44 h 49"/>
              <a:gd name="T28" fmla="*/ 53 w 58"/>
              <a:gd name="T29" fmla="*/ 49 h 49"/>
              <a:gd name="T30" fmla="*/ 2 w 58"/>
              <a:gd name="T31" fmla="*/ 33 h 49"/>
              <a:gd name="T32" fmla="*/ 2 w 58"/>
              <a:gd name="T33" fmla="*/ 44 h 49"/>
              <a:gd name="T34" fmla="*/ 5 w 58"/>
              <a:gd name="T35" fmla="*/ 47 h 49"/>
              <a:gd name="T36" fmla="*/ 53 w 58"/>
              <a:gd name="T37" fmla="*/ 47 h 49"/>
              <a:gd name="T38" fmla="*/ 56 w 58"/>
              <a:gd name="T39" fmla="*/ 44 h 49"/>
              <a:gd name="T40" fmla="*/ 56 w 58"/>
              <a:gd name="T41" fmla="*/ 33 h 49"/>
              <a:gd name="T42" fmla="*/ 34 w 58"/>
              <a:gd name="T43" fmla="*/ 33 h 49"/>
              <a:gd name="T44" fmla="*/ 34 w 58"/>
              <a:gd name="T45" fmla="*/ 38 h 49"/>
              <a:gd name="T46" fmla="*/ 24 w 58"/>
              <a:gd name="T47" fmla="*/ 38 h 49"/>
              <a:gd name="T48" fmla="*/ 24 w 58"/>
              <a:gd name="T49" fmla="*/ 33 h 49"/>
              <a:gd name="T50" fmla="*/ 2 w 58"/>
              <a:gd name="T51" fmla="*/ 33 h 49"/>
              <a:gd name="T52" fmla="*/ 26 w 58"/>
              <a:gd name="T53" fmla="*/ 36 h 49"/>
              <a:gd name="T54" fmla="*/ 32 w 58"/>
              <a:gd name="T55" fmla="*/ 36 h 49"/>
              <a:gd name="T56" fmla="*/ 32 w 58"/>
              <a:gd name="T57" fmla="*/ 29 h 49"/>
              <a:gd name="T58" fmla="*/ 26 w 58"/>
              <a:gd name="T59" fmla="*/ 29 h 49"/>
              <a:gd name="T60" fmla="*/ 26 w 58"/>
              <a:gd name="T61" fmla="*/ 36 h 49"/>
              <a:gd name="T62" fmla="*/ 34 w 58"/>
              <a:gd name="T63" fmla="*/ 31 h 49"/>
              <a:gd name="T64" fmla="*/ 56 w 58"/>
              <a:gd name="T65" fmla="*/ 31 h 49"/>
              <a:gd name="T66" fmla="*/ 56 w 58"/>
              <a:gd name="T67" fmla="*/ 14 h 49"/>
              <a:gd name="T68" fmla="*/ 53 w 58"/>
              <a:gd name="T69" fmla="*/ 10 h 49"/>
              <a:gd name="T70" fmla="*/ 40 w 58"/>
              <a:gd name="T71" fmla="*/ 10 h 49"/>
              <a:gd name="T72" fmla="*/ 40 w 58"/>
              <a:gd name="T73" fmla="*/ 6 h 49"/>
              <a:gd name="T74" fmla="*/ 36 w 58"/>
              <a:gd name="T75" fmla="*/ 2 h 49"/>
              <a:gd name="T76" fmla="*/ 22 w 58"/>
              <a:gd name="T77" fmla="*/ 2 h 49"/>
              <a:gd name="T78" fmla="*/ 19 w 58"/>
              <a:gd name="T79" fmla="*/ 6 h 49"/>
              <a:gd name="T80" fmla="*/ 19 w 58"/>
              <a:gd name="T81" fmla="*/ 10 h 49"/>
              <a:gd name="T82" fmla="*/ 5 w 58"/>
              <a:gd name="T83" fmla="*/ 10 h 49"/>
              <a:gd name="T84" fmla="*/ 2 w 58"/>
              <a:gd name="T85" fmla="*/ 14 h 49"/>
              <a:gd name="T86" fmla="*/ 2 w 58"/>
              <a:gd name="T87" fmla="*/ 31 h 49"/>
              <a:gd name="T88" fmla="*/ 24 w 58"/>
              <a:gd name="T89" fmla="*/ 31 h 49"/>
              <a:gd name="T90" fmla="*/ 24 w 58"/>
              <a:gd name="T91" fmla="*/ 27 h 49"/>
              <a:gd name="T92" fmla="*/ 34 w 58"/>
              <a:gd name="T93" fmla="*/ 27 h 49"/>
              <a:gd name="T94" fmla="*/ 34 w 58"/>
              <a:gd name="T95" fmla="*/ 31 h 49"/>
              <a:gd name="T96" fmla="*/ 38 w 58"/>
              <a:gd name="T97" fmla="*/ 10 h 49"/>
              <a:gd name="T98" fmla="*/ 20 w 58"/>
              <a:gd name="T99" fmla="*/ 10 h 49"/>
              <a:gd name="T100" fmla="*/ 20 w 58"/>
              <a:gd name="T101" fmla="*/ 6 h 49"/>
              <a:gd name="T102" fmla="*/ 22 w 58"/>
              <a:gd name="T103" fmla="*/ 4 h 49"/>
              <a:gd name="T104" fmla="*/ 36 w 58"/>
              <a:gd name="T105" fmla="*/ 4 h 49"/>
              <a:gd name="T106" fmla="*/ 38 w 58"/>
              <a:gd name="T107" fmla="*/ 6 h 49"/>
              <a:gd name="T108" fmla="*/ 38 w 58"/>
              <a:gd name="T109" fmla="*/ 10 h 49"/>
              <a:gd name="T110" fmla="*/ 22 w 58"/>
              <a:gd name="T111" fmla="*/ 9 h 49"/>
              <a:gd name="T112" fmla="*/ 36 w 58"/>
              <a:gd name="T113" fmla="*/ 9 h 49"/>
              <a:gd name="T114" fmla="*/ 36 w 58"/>
              <a:gd name="T115" fmla="*/ 6 h 49"/>
              <a:gd name="T116" fmla="*/ 36 w 58"/>
              <a:gd name="T117" fmla="*/ 6 h 49"/>
              <a:gd name="T118" fmla="*/ 22 w 58"/>
              <a:gd name="T119" fmla="*/ 6 h 49"/>
              <a:gd name="T120" fmla="*/ 22 w 58"/>
              <a:gd name="T121" fmla="*/ 6 h 49"/>
              <a:gd name="T122" fmla="*/ 22 w 58"/>
              <a:gd name="T123" fmla="*/ 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8" h="49">
                <a:moveTo>
                  <a:pt x="53" y="49"/>
                </a:moveTo>
                <a:cubicBezTo>
                  <a:pt x="5" y="49"/>
                  <a:pt x="5" y="49"/>
                  <a:pt x="5" y="49"/>
                </a:cubicBezTo>
                <a:cubicBezTo>
                  <a:pt x="3" y="49"/>
                  <a:pt x="0" y="46"/>
                  <a:pt x="0" y="44"/>
                </a:cubicBezTo>
                <a:cubicBezTo>
                  <a:pt x="0" y="14"/>
                  <a:pt x="0" y="14"/>
                  <a:pt x="0" y="14"/>
                </a:cubicBezTo>
                <a:cubicBezTo>
                  <a:pt x="0" y="11"/>
                  <a:pt x="3" y="9"/>
                  <a:pt x="5" y="9"/>
                </a:cubicBezTo>
                <a:cubicBezTo>
                  <a:pt x="17" y="9"/>
                  <a:pt x="17" y="9"/>
                  <a:pt x="17" y="9"/>
                </a:cubicBezTo>
                <a:cubicBezTo>
                  <a:pt x="17" y="6"/>
                  <a:pt x="17" y="6"/>
                  <a:pt x="17" y="6"/>
                </a:cubicBezTo>
                <a:cubicBezTo>
                  <a:pt x="17" y="3"/>
                  <a:pt x="19" y="0"/>
                  <a:pt x="22" y="0"/>
                </a:cubicBezTo>
                <a:cubicBezTo>
                  <a:pt x="36" y="0"/>
                  <a:pt x="36" y="0"/>
                  <a:pt x="36" y="0"/>
                </a:cubicBezTo>
                <a:cubicBezTo>
                  <a:pt x="39" y="0"/>
                  <a:pt x="42" y="3"/>
                  <a:pt x="42" y="6"/>
                </a:cubicBezTo>
                <a:cubicBezTo>
                  <a:pt x="42" y="9"/>
                  <a:pt x="42" y="9"/>
                  <a:pt x="42" y="9"/>
                </a:cubicBezTo>
                <a:cubicBezTo>
                  <a:pt x="53" y="9"/>
                  <a:pt x="53" y="9"/>
                  <a:pt x="53" y="9"/>
                </a:cubicBezTo>
                <a:cubicBezTo>
                  <a:pt x="56" y="9"/>
                  <a:pt x="58" y="11"/>
                  <a:pt x="58" y="14"/>
                </a:cubicBezTo>
                <a:cubicBezTo>
                  <a:pt x="58" y="44"/>
                  <a:pt x="58" y="44"/>
                  <a:pt x="58" y="44"/>
                </a:cubicBezTo>
                <a:cubicBezTo>
                  <a:pt x="58" y="46"/>
                  <a:pt x="56" y="49"/>
                  <a:pt x="53" y="49"/>
                </a:cubicBezTo>
                <a:close/>
                <a:moveTo>
                  <a:pt x="2" y="33"/>
                </a:moveTo>
                <a:cubicBezTo>
                  <a:pt x="2" y="44"/>
                  <a:pt x="2" y="44"/>
                  <a:pt x="2" y="44"/>
                </a:cubicBezTo>
                <a:cubicBezTo>
                  <a:pt x="2" y="45"/>
                  <a:pt x="4" y="47"/>
                  <a:pt x="5" y="47"/>
                </a:cubicBezTo>
                <a:cubicBezTo>
                  <a:pt x="53" y="47"/>
                  <a:pt x="53" y="47"/>
                  <a:pt x="53" y="47"/>
                </a:cubicBezTo>
                <a:cubicBezTo>
                  <a:pt x="55" y="47"/>
                  <a:pt x="56" y="45"/>
                  <a:pt x="56" y="44"/>
                </a:cubicBezTo>
                <a:cubicBezTo>
                  <a:pt x="56" y="33"/>
                  <a:pt x="56" y="33"/>
                  <a:pt x="56" y="33"/>
                </a:cubicBezTo>
                <a:cubicBezTo>
                  <a:pt x="34" y="33"/>
                  <a:pt x="34" y="33"/>
                  <a:pt x="34" y="33"/>
                </a:cubicBezTo>
                <a:cubicBezTo>
                  <a:pt x="34" y="38"/>
                  <a:pt x="34" y="38"/>
                  <a:pt x="34" y="38"/>
                </a:cubicBezTo>
                <a:cubicBezTo>
                  <a:pt x="24" y="38"/>
                  <a:pt x="24" y="38"/>
                  <a:pt x="24" y="38"/>
                </a:cubicBezTo>
                <a:cubicBezTo>
                  <a:pt x="24" y="33"/>
                  <a:pt x="24" y="33"/>
                  <a:pt x="24" y="33"/>
                </a:cubicBezTo>
                <a:lnTo>
                  <a:pt x="2" y="33"/>
                </a:lnTo>
                <a:close/>
                <a:moveTo>
                  <a:pt x="26" y="36"/>
                </a:moveTo>
                <a:cubicBezTo>
                  <a:pt x="32" y="36"/>
                  <a:pt x="32" y="36"/>
                  <a:pt x="32" y="36"/>
                </a:cubicBezTo>
                <a:cubicBezTo>
                  <a:pt x="32" y="29"/>
                  <a:pt x="32" y="29"/>
                  <a:pt x="32" y="29"/>
                </a:cubicBezTo>
                <a:cubicBezTo>
                  <a:pt x="26" y="29"/>
                  <a:pt x="26" y="29"/>
                  <a:pt x="26" y="29"/>
                </a:cubicBezTo>
                <a:lnTo>
                  <a:pt x="26" y="36"/>
                </a:lnTo>
                <a:close/>
                <a:moveTo>
                  <a:pt x="34" y="31"/>
                </a:moveTo>
                <a:cubicBezTo>
                  <a:pt x="56" y="31"/>
                  <a:pt x="56" y="31"/>
                  <a:pt x="56" y="31"/>
                </a:cubicBezTo>
                <a:cubicBezTo>
                  <a:pt x="56" y="14"/>
                  <a:pt x="56" y="14"/>
                  <a:pt x="56" y="14"/>
                </a:cubicBezTo>
                <a:cubicBezTo>
                  <a:pt x="56" y="12"/>
                  <a:pt x="55" y="10"/>
                  <a:pt x="53" y="10"/>
                </a:cubicBezTo>
                <a:cubicBezTo>
                  <a:pt x="40" y="10"/>
                  <a:pt x="40" y="10"/>
                  <a:pt x="40" y="10"/>
                </a:cubicBezTo>
                <a:cubicBezTo>
                  <a:pt x="40" y="6"/>
                  <a:pt x="40" y="6"/>
                  <a:pt x="40" y="6"/>
                </a:cubicBezTo>
                <a:cubicBezTo>
                  <a:pt x="40" y="4"/>
                  <a:pt x="38" y="2"/>
                  <a:pt x="36" y="2"/>
                </a:cubicBezTo>
                <a:cubicBezTo>
                  <a:pt x="22" y="2"/>
                  <a:pt x="22" y="2"/>
                  <a:pt x="22" y="2"/>
                </a:cubicBezTo>
                <a:cubicBezTo>
                  <a:pt x="20" y="2"/>
                  <a:pt x="19" y="4"/>
                  <a:pt x="19" y="6"/>
                </a:cubicBezTo>
                <a:cubicBezTo>
                  <a:pt x="19" y="10"/>
                  <a:pt x="19" y="10"/>
                  <a:pt x="19" y="10"/>
                </a:cubicBezTo>
                <a:cubicBezTo>
                  <a:pt x="5" y="10"/>
                  <a:pt x="5" y="10"/>
                  <a:pt x="5" y="10"/>
                </a:cubicBezTo>
                <a:cubicBezTo>
                  <a:pt x="4" y="10"/>
                  <a:pt x="2" y="12"/>
                  <a:pt x="2" y="14"/>
                </a:cubicBezTo>
                <a:cubicBezTo>
                  <a:pt x="2" y="31"/>
                  <a:pt x="2" y="31"/>
                  <a:pt x="2" y="31"/>
                </a:cubicBezTo>
                <a:cubicBezTo>
                  <a:pt x="24" y="31"/>
                  <a:pt x="24" y="31"/>
                  <a:pt x="24" y="31"/>
                </a:cubicBezTo>
                <a:cubicBezTo>
                  <a:pt x="24" y="27"/>
                  <a:pt x="24" y="27"/>
                  <a:pt x="24" y="27"/>
                </a:cubicBezTo>
                <a:cubicBezTo>
                  <a:pt x="34" y="27"/>
                  <a:pt x="34" y="27"/>
                  <a:pt x="34" y="27"/>
                </a:cubicBezTo>
                <a:lnTo>
                  <a:pt x="34" y="31"/>
                </a:lnTo>
                <a:close/>
                <a:moveTo>
                  <a:pt x="38" y="10"/>
                </a:moveTo>
                <a:cubicBezTo>
                  <a:pt x="20" y="10"/>
                  <a:pt x="20" y="10"/>
                  <a:pt x="20" y="10"/>
                </a:cubicBezTo>
                <a:cubicBezTo>
                  <a:pt x="20" y="6"/>
                  <a:pt x="20" y="6"/>
                  <a:pt x="20" y="6"/>
                </a:cubicBezTo>
                <a:cubicBezTo>
                  <a:pt x="20" y="5"/>
                  <a:pt x="21" y="4"/>
                  <a:pt x="22" y="4"/>
                </a:cubicBezTo>
                <a:cubicBezTo>
                  <a:pt x="36" y="4"/>
                  <a:pt x="36" y="4"/>
                  <a:pt x="36" y="4"/>
                </a:cubicBezTo>
                <a:cubicBezTo>
                  <a:pt x="37" y="4"/>
                  <a:pt x="38" y="5"/>
                  <a:pt x="38" y="6"/>
                </a:cubicBezTo>
                <a:lnTo>
                  <a:pt x="38" y="10"/>
                </a:lnTo>
                <a:close/>
                <a:moveTo>
                  <a:pt x="22" y="9"/>
                </a:moveTo>
                <a:cubicBezTo>
                  <a:pt x="36" y="9"/>
                  <a:pt x="36" y="9"/>
                  <a:pt x="36" y="9"/>
                </a:cubicBezTo>
                <a:cubicBezTo>
                  <a:pt x="36" y="6"/>
                  <a:pt x="36" y="6"/>
                  <a:pt x="36" y="6"/>
                </a:cubicBezTo>
                <a:cubicBezTo>
                  <a:pt x="36" y="6"/>
                  <a:pt x="36" y="6"/>
                  <a:pt x="36" y="6"/>
                </a:cubicBezTo>
                <a:cubicBezTo>
                  <a:pt x="22" y="6"/>
                  <a:pt x="22" y="6"/>
                  <a:pt x="22" y="6"/>
                </a:cubicBezTo>
                <a:cubicBezTo>
                  <a:pt x="22" y="6"/>
                  <a:pt x="22" y="6"/>
                  <a:pt x="22" y="6"/>
                </a:cubicBezTo>
                <a:lnTo>
                  <a:pt x="22" y="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cs typeface="+mn-ea"/>
              <a:sym typeface="+mn-lt"/>
            </a:endParaRPr>
          </a:p>
        </p:txBody>
      </p:sp>
      <p:sp>
        <p:nvSpPr>
          <p:cNvPr id="95" name="Oval 92">
            <a:extLst>
              <a:ext uri="{FF2B5EF4-FFF2-40B4-BE49-F238E27FC236}">
                <a16:creationId xmlns:a16="http://schemas.microsoft.com/office/drawing/2014/main" id="{190FE31F-3365-48E4-8E43-527750D8BE30}"/>
              </a:ext>
            </a:extLst>
          </p:cNvPr>
          <p:cNvSpPr>
            <a:spLocks noChangeArrowheads="1"/>
          </p:cNvSpPr>
          <p:nvPr/>
        </p:nvSpPr>
        <p:spPr bwMode="auto">
          <a:xfrm>
            <a:off x="661988" y="2224088"/>
            <a:ext cx="127000" cy="127000"/>
          </a:xfrm>
          <a:prstGeom prst="ellipse">
            <a:avLst/>
          </a:prstGeom>
          <a:solidFill>
            <a:schemeClr val="accent1">
              <a:lumMod val="10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cs typeface="+mn-ea"/>
              <a:sym typeface="+mn-lt"/>
            </a:endParaRPr>
          </a:p>
        </p:txBody>
      </p:sp>
      <p:sp>
        <p:nvSpPr>
          <p:cNvPr id="96" name="Oval 93">
            <a:extLst>
              <a:ext uri="{FF2B5EF4-FFF2-40B4-BE49-F238E27FC236}">
                <a16:creationId xmlns:a16="http://schemas.microsoft.com/office/drawing/2014/main" id="{6ED953B1-20DF-4ADC-881A-691A605FEEE6}"/>
              </a:ext>
            </a:extLst>
          </p:cNvPr>
          <p:cNvSpPr>
            <a:spLocks noChangeArrowheads="1"/>
          </p:cNvSpPr>
          <p:nvPr/>
        </p:nvSpPr>
        <p:spPr bwMode="auto">
          <a:xfrm>
            <a:off x="512763" y="2257425"/>
            <a:ext cx="60325" cy="58738"/>
          </a:xfrm>
          <a:prstGeom prst="ellipse">
            <a:avLst/>
          </a:prstGeom>
          <a:solidFill>
            <a:schemeClr val="accent1">
              <a:lumMod val="10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cs typeface="+mn-ea"/>
              <a:sym typeface="+mn-lt"/>
            </a:endParaRPr>
          </a:p>
        </p:txBody>
      </p:sp>
      <p:sp>
        <p:nvSpPr>
          <p:cNvPr id="97" name="Oval 94">
            <a:extLst>
              <a:ext uri="{FF2B5EF4-FFF2-40B4-BE49-F238E27FC236}">
                <a16:creationId xmlns:a16="http://schemas.microsoft.com/office/drawing/2014/main" id="{FF568A95-B9A7-4425-AFA3-7ADCD337D902}"/>
              </a:ext>
            </a:extLst>
          </p:cNvPr>
          <p:cNvSpPr>
            <a:spLocks noChangeArrowheads="1"/>
          </p:cNvSpPr>
          <p:nvPr/>
        </p:nvSpPr>
        <p:spPr bwMode="auto">
          <a:xfrm>
            <a:off x="407988" y="2274888"/>
            <a:ext cx="25400" cy="25400"/>
          </a:xfrm>
          <a:prstGeom prst="ellipse">
            <a:avLst/>
          </a:prstGeom>
          <a:solidFill>
            <a:schemeClr val="accent1">
              <a:lumMod val="10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cs typeface="+mn-ea"/>
              <a:sym typeface="+mn-lt"/>
            </a:endParaRPr>
          </a:p>
        </p:txBody>
      </p:sp>
      <p:sp>
        <p:nvSpPr>
          <p:cNvPr id="98" name="Oval 95">
            <a:extLst>
              <a:ext uri="{FF2B5EF4-FFF2-40B4-BE49-F238E27FC236}">
                <a16:creationId xmlns:a16="http://schemas.microsoft.com/office/drawing/2014/main" id="{51CE5869-19FF-448A-BE43-1255068A8066}"/>
              </a:ext>
            </a:extLst>
          </p:cNvPr>
          <p:cNvSpPr>
            <a:spLocks noChangeArrowheads="1"/>
          </p:cNvSpPr>
          <p:nvPr/>
        </p:nvSpPr>
        <p:spPr bwMode="auto">
          <a:xfrm>
            <a:off x="661988" y="4498975"/>
            <a:ext cx="127000" cy="127000"/>
          </a:xfrm>
          <a:prstGeom prst="ellipse">
            <a:avLst/>
          </a:prstGeom>
          <a:solidFill>
            <a:schemeClr val="accent1">
              <a:lumMod val="10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cs typeface="+mn-ea"/>
              <a:sym typeface="+mn-lt"/>
            </a:endParaRPr>
          </a:p>
        </p:txBody>
      </p:sp>
      <p:sp>
        <p:nvSpPr>
          <p:cNvPr id="99" name="Oval 96">
            <a:extLst>
              <a:ext uri="{FF2B5EF4-FFF2-40B4-BE49-F238E27FC236}">
                <a16:creationId xmlns:a16="http://schemas.microsoft.com/office/drawing/2014/main" id="{9A4EAC8B-92A6-4152-A732-B4322D60B680}"/>
              </a:ext>
            </a:extLst>
          </p:cNvPr>
          <p:cNvSpPr>
            <a:spLocks noChangeArrowheads="1"/>
          </p:cNvSpPr>
          <p:nvPr/>
        </p:nvSpPr>
        <p:spPr bwMode="auto">
          <a:xfrm>
            <a:off x="512763" y="4532313"/>
            <a:ext cx="60325" cy="60325"/>
          </a:xfrm>
          <a:prstGeom prst="ellipse">
            <a:avLst/>
          </a:prstGeom>
          <a:solidFill>
            <a:schemeClr val="accent1">
              <a:lumMod val="10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cs typeface="+mn-ea"/>
              <a:sym typeface="+mn-lt"/>
            </a:endParaRPr>
          </a:p>
        </p:txBody>
      </p:sp>
      <p:sp>
        <p:nvSpPr>
          <p:cNvPr id="100" name="Oval 97">
            <a:extLst>
              <a:ext uri="{FF2B5EF4-FFF2-40B4-BE49-F238E27FC236}">
                <a16:creationId xmlns:a16="http://schemas.microsoft.com/office/drawing/2014/main" id="{8A71E19E-7708-4863-8495-116BC0854D1B}"/>
              </a:ext>
            </a:extLst>
          </p:cNvPr>
          <p:cNvSpPr>
            <a:spLocks noChangeArrowheads="1"/>
          </p:cNvSpPr>
          <p:nvPr/>
        </p:nvSpPr>
        <p:spPr bwMode="auto">
          <a:xfrm>
            <a:off x="407988" y="4549775"/>
            <a:ext cx="25400" cy="25400"/>
          </a:xfrm>
          <a:prstGeom prst="ellipse">
            <a:avLst/>
          </a:prstGeom>
          <a:solidFill>
            <a:schemeClr val="accent1">
              <a:lumMod val="10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cs typeface="+mn-ea"/>
              <a:sym typeface="+mn-lt"/>
            </a:endParaRPr>
          </a:p>
        </p:txBody>
      </p:sp>
      <p:sp>
        <p:nvSpPr>
          <p:cNvPr id="101" name="Oval 98">
            <a:extLst>
              <a:ext uri="{FF2B5EF4-FFF2-40B4-BE49-F238E27FC236}">
                <a16:creationId xmlns:a16="http://schemas.microsoft.com/office/drawing/2014/main" id="{9BEE28B2-68E2-4A71-9339-50F2AA207B0A}"/>
              </a:ext>
            </a:extLst>
          </p:cNvPr>
          <p:cNvSpPr>
            <a:spLocks noChangeArrowheads="1"/>
          </p:cNvSpPr>
          <p:nvPr/>
        </p:nvSpPr>
        <p:spPr bwMode="auto">
          <a:xfrm>
            <a:off x="3241675" y="1925638"/>
            <a:ext cx="127000" cy="123825"/>
          </a:xfrm>
          <a:prstGeom prst="ellipse">
            <a:avLst/>
          </a:prstGeom>
          <a:solidFill>
            <a:schemeClr val="accent1">
              <a:lumMod val="10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cs typeface="+mn-ea"/>
              <a:sym typeface="+mn-lt"/>
            </a:endParaRPr>
          </a:p>
        </p:txBody>
      </p:sp>
      <p:sp>
        <p:nvSpPr>
          <p:cNvPr id="102" name="Oval 99">
            <a:extLst>
              <a:ext uri="{FF2B5EF4-FFF2-40B4-BE49-F238E27FC236}">
                <a16:creationId xmlns:a16="http://schemas.microsoft.com/office/drawing/2014/main" id="{F2F99C2E-FBF5-4DDA-83EB-DECA5234E588}"/>
              </a:ext>
            </a:extLst>
          </p:cNvPr>
          <p:cNvSpPr>
            <a:spLocks noChangeArrowheads="1"/>
          </p:cNvSpPr>
          <p:nvPr/>
        </p:nvSpPr>
        <p:spPr bwMode="auto">
          <a:xfrm>
            <a:off x="3092450" y="1960563"/>
            <a:ext cx="60325" cy="58738"/>
          </a:xfrm>
          <a:prstGeom prst="ellipse">
            <a:avLst/>
          </a:prstGeom>
          <a:solidFill>
            <a:schemeClr val="accent1">
              <a:lumMod val="10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cs typeface="+mn-ea"/>
              <a:sym typeface="+mn-lt"/>
            </a:endParaRPr>
          </a:p>
        </p:txBody>
      </p:sp>
      <p:sp>
        <p:nvSpPr>
          <p:cNvPr id="103" name="Oval 100">
            <a:extLst>
              <a:ext uri="{FF2B5EF4-FFF2-40B4-BE49-F238E27FC236}">
                <a16:creationId xmlns:a16="http://schemas.microsoft.com/office/drawing/2014/main" id="{EE95D2B6-AEDC-450C-9475-D41F4AE68194}"/>
              </a:ext>
            </a:extLst>
          </p:cNvPr>
          <p:cNvSpPr>
            <a:spLocks noChangeArrowheads="1"/>
          </p:cNvSpPr>
          <p:nvPr/>
        </p:nvSpPr>
        <p:spPr bwMode="auto">
          <a:xfrm>
            <a:off x="2987675" y="1978025"/>
            <a:ext cx="25400" cy="20638"/>
          </a:xfrm>
          <a:prstGeom prst="ellipse">
            <a:avLst/>
          </a:prstGeom>
          <a:solidFill>
            <a:schemeClr val="accent1">
              <a:lumMod val="10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cs typeface="+mn-ea"/>
              <a:sym typeface="+mn-lt"/>
            </a:endParaRPr>
          </a:p>
        </p:txBody>
      </p:sp>
      <p:sp>
        <p:nvSpPr>
          <p:cNvPr id="104" name="Oval 101">
            <a:extLst>
              <a:ext uri="{FF2B5EF4-FFF2-40B4-BE49-F238E27FC236}">
                <a16:creationId xmlns:a16="http://schemas.microsoft.com/office/drawing/2014/main" id="{5DCD2646-2BE5-4A1C-9528-D2565F656092}"/>
              </a:ext>
            </a:extLst>
          </p:cNvPr>
          <p:cNvSpPr>
            <a:spLocks noChangeArrowheads="1"/>
          </p:cNvSpPr>
          <p:nvPr/>
        </p:nvSpPr>
        <p:spPr bwMode="auto">
          <a:xfrm>
            <a:off x="3241675" y="4829175"/>
            <a:ext cx="127000" cy="128588"/>
          </a:xfrm>
          <a:prstGeom prst="ellipse">
            <a:avLst/>
          </a:prstGeom>
          <a:solidFill>
            <a:schemeClr val="accent1">
              <a:lumMod val="10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cs typeface="+mn-ea"/>
              <a:sym typeface="+mn-lt"/>
            </a:endParaRPr>
          </a:p>
        </p:txBody>
      </p:sp>
      <p:sp>
        <p:nvSpPr>
          <p:cNvPr id="105" name="Oval 102">
            <a:extLst>
              <a:ext uri="{FF2B5EF4-FFF2-40B4-BE49-F238E27FC236}">
                <a16:creationId xmlns:a16="http://schemas.microsoft.com/office/drawing/2014/main" id="{9D705719-F24B-4C7F-8FE6-88B1D151BCC2}"/>
              </a:ext>
            </a:extLst>
          </p:cNvPr>
          <p:cNvSpPr>
            <a:spLocks noChangeArrowheads="1"/>
          </p:cNvSpPr>
          <p:nvPr/>
        </p:nvSpPr>
        <p:spPr bwMode="auto">
          <a:xfrm>
            <a:off x="3092450" y="4864100"/>
            <a:ext cx="60325" cy="58738"/>
          </a:xfrm>
          <a:prstGeom prst="ellipse">
            <a:avLst/>
          </a:prstGeom>
          <a:solidFill>
            <a:schemeClr val="accent1">
              <a:lumMod val="10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cs typeface="+mn-ea"/>
              <a:sym typeface="+mn-lt"/>
            </a:endParaRPr>
          </a:p>
        </p:txBody>
      </p:sp>
      <p:sp>
        <p:nvSpPr>
          <p:cNvPr id="106" name="Oval 103">
            <a:extLst>
              <a:ext uri="{FF2B5EF4-FFF2-40B4-BE49-F238E27FC236}">
                <a16:creationId xmlns:a16="http://schemas.microsoft.com/office/drawing/2014/main" id="{1F19CC2C-2D92-4A00-A345-FB430E89F50B}"/>
              </a:ext>
            </a:extLst>
          </p:cNvPr>
          <p:cNvSpPr>
            <a:spLocks noChangeArrowheads="1"/>
          </p:cNvSpPr>
          <p:nvPr/>
        </p:nvSpPr>
        <p:spPr bwMode="auto">
          <a:xfrm>
            <a:off x="2987675" y="4879975"/>
            <a:ext cx="25400" cy="25400"/>
          </a:xfrm>
          <a:prstGeom prst="ellipse">
            <a:avLst/>
          </a:prstGeom>
          <a:solidFill>
            <a:schemeClr val="accent1">
              <a:lumMod val="10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cs typeface="+mn-ea"/>
              <a:sym typeface="+mn-lt"/>
            </a:endParaRPr>
          </a:p>
        </p:txBody>
      </p:sp>
      <p:sp>
        <p:nvSpPr>
          <p:cNvPr id="107" name="Oval 104">
            <a:extLst>
              <a:ext uri="{FF2B5EF4-FFF2-40B4-BE49-F238E27FC236}">
                <a16:creationId xmlns:a16="http://schemas.microsoft.com/office/drawing/2014/main" id="{87F5517B-8B06-4ACA-93EB-BC181BDED64C}"/>
              </a:ext>
            </a:extLst>
          </p:cNvPr>
          <p:cNvSpPr>
            <a:spLocks noChangeArrowheads="1"/>
          </p:cNvSpPr>
          <p:nvPr/>
        </p:nvSpPr>
        <p:spPr bwMode="auto">
          <a:xfrm>
            <a:off x="5808663" y="1536700"/>
            <a:ext cx="122238" cy="122238"/>
          </a:xfrm>
          <a:prstGeom prst="ellipse">
            <a:avLst/>
          </a:prstGeom>
          <a:solidFill>
            <a:schemeClr val="accent1">
              <a:lumMod val="10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cs typeface="+mn-ea"/>
              <a:sym typeface="+mn-lt"/>
            </a:endParaRPr>
          </a:p>
        </p:txBody>
      </p:sp>
      <p:sp>
        <p:nvSpPr>
          <p:cNvPr id="108" name="Oval 105">
            <a:extLst>
              <a:ext uri="{FF2B5EF4-FFF2-40B4-BE49-F238E27FC236}">
                <a16:creationId xmlns:a16="http://schemas.microsoft.com/office/drawing/2014/main" id="{C499CE42-D75D-48C5-9EA5-1216DC58A9A0}"/>
              </a:ext>
            </a:extLst>
          </p:cNvPr>
          <p:cNvSpPr>
            <a:spLocks noChangeArrowheads="1"/>
          </p:cNvSpPr>
          <p:nvPr/>
        </p:nvSpPr>
        <p:spPr bwMode="auto">
          <a:xfrm>
            <a:off x="5654675" y="1570038"/>
            <a:ext cx="60325" cy="58738"/>
          </a:xfrm>
          <a:prstGeom prst="ellipse">
            <a:avLst/>
          </a:prstGeom>
          <a:solidFill>
            <a:schemeClr val="accent1">
              <a:lumMod val="10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cs typeface="+mn-ea"/>
              <a:sym typeface="+mn-lt"/>
            </a:endParaRPr>
          </a:p>
        </p:txBody>
      </p:sp>
      <p:sp>
        <p:nvSpPr>
          <p:cNvPr id="109" name="Oval 106">
            <a:extLst>
              <a:ext uri="{FF2B5EF4-FFF2-40B4-BE49-F238E27FC236}">
                <a16:creationId xmlns:a16="http://schemas.microsoft.com/office/drawing/2014/main" id="{B3DC6A23-9062-4ECD-A0F1-6E96EB6D2ECC}"/>
              </a:ext>
            </a:extLst>
          </p:cNvPr>
          <p:cNvSpPr>
            <a:spLocks noChangeArrowheads="1"/>
          </p:cNvSpPr>
          <p:nvPr/>
        </p:nvSpPr>
        <p:spPr bwMode="auto">
          <a:xfrm>
            <a:off x="5553075" y="1587500"/>
            <a:ext cx="22225" cy="25400"/>
          </a:xfrm>
          <a:prstGeom prst="ellipse">
            <a:avLst/>
          </a:prstGeom>
          <a:solidFill>
            <a:schemeClr val="accent1">
              <a:lumMod val="10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cs typeface="+mn-ea"/>
              <a:sym typeface="+mn-lt"/>
            </a:endParaRPr>
          </a:p>
        </p:txBody>
      </p:sp>
      <p:sp>
        <p:nvSpPr>
          <p:cNvPr id="110" name="Oval 107">
            <a:extLst>
              <a:ext uri="{FF2B5EF4-FFF2-40B4-BE49-F238E27FC236}">
                <a16:creationId xmlns:a16="http://schemas.microsoft.com/office/drawing/2014/main" id="{735E50AE-258C-41AE-A0BE-08635FABBC38}"/>
              </a:ext>
            </a:extLst>
          </p:cNvPr>
          <p:cNvSpPr>
            <a:spLocks noChangeArrowheads="1"/>
          </p:cNvSpPr>
          <p:nvPr/>
        </p:nvSpPr>
        <p:spPr bwMode="auto">
          <a:xfrm>
            <a:off x="5808663" y="5229225"/>
            <a:ext cx="122238" cy="127000"/>
          </a:xfrm>
          <a:prstGeom prst="ellipse">
            <a:avLst/>
          </a:prstGeom>
          <a:solidFill>
            <a:schemeClr val="accent1">
              <a:lumMod val="10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cs typeface="+mn-ea"/>
              <a:sym typeface="+mn-lt"/>
            </a:endParaRPr>
          </a:p>
        </p:txBody>
      </p:sp>
      <p:sp>
        <p:nvSpPr>
          <p:cNvPr id="111" name="Oval 108">
            <a:extLst>
              <a:ext uri="{FF2B5EF4-FFF2-40B4-BE49-F238E27FC236}">
                <a16:creationId xmlns:a16="http://schemas.microsoft.com/office/drawing/2014/main" id="{E53A239D-8FF9-412F-8711-4599635E08B9}"/>
              </a:ext>
            </a:extLst>
          </p:cNvPr>
          <p:cNvSpPr>
            <a:spLocks noChangeArrowheads="1"/>
          </p:cNvSpPr>
          <p:nvPr/>
        </p:nvSpPr>
        <p:spPr bwMode="auto">
          <a:xfrm>
            <a:off x="5654675" y="5262563"/>
            <a:ext cx="60325" cy="60325"/>
          </a:xfrm>
          <a:prstGeom prst="ellipse">
            <a:avLst/>
          </a:prstGeom>
          <a:solidFill>
            <a:schemeClr val="accent1">
              <a:lumMod val="10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cs typeface="+mn-ea"/>
              <a:sym typeface="+mn-lt"/>
            </a:endParaRPr>
          </a:p>
        </p:txBody>
      </p:sp>
      <p:sp>
        <p:nvSpPr>
          <p:cNvPr id="112" name="Oval 109">
            <a:extLst>
              <a:ext uri="{FF2B5EF4-FFF2-40B4-BE49-F238E27FC236}">
                <a16:creationId xmlns:a16="http://schemas.microsoft.com/office/drawing/2014/main" id="{CAD7BDF1-403D-4897-B1BC-8598E99EC9F2}"/>
              </a:ext>
            </a:extLst>
          </p:cNvPr>
          <p:cNvSpPr>
            <a:spLocks noChangeArrowheads="1"/>
          </p:cNvSpPr>
          <p:nvPr/>
        </p:nvSpPr>
        <p:spPr bwMode="auto">
          <a:xfrm>
            <a:off x="5553075" y="5280025"/>
            <a:ext cx="22225" cy="25400"/>
          </a:xfrm>
          <a:prstGeom prst="ellipse">
            <a:avLst/>
          </a:prstGeom>
          <a:solidFill>
            <a:schemeClr val="accent1">
              <a:lumMod val="10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cs typeface="+mn-ea"/>
              <a:sym typeface="+mn-lt"/>
            </a:endParaRPr>
          </a:p>
        </p:txBody>
      </p:sp>
      <p:sp>
        <p:nvSpPr>
          <p:cNvPr id="113" name="Oval 110">
            <a:extLst>
              <a:ext uri="{FF2B5EF4-FFF2-40B4-BE49-F238E27FC236}">
                <a16:creationId xmlns:a16="http://schemas.microsoft.com/office/drawing/2014/main" id="{32BFBB39-96D6-4523-9ED4-98AC3DECCFAB}"/>
              </a:ext>
            </a:extLst>
          </p:cNvPr>
          <p:cNvSpPr>
            <a:spLocks noChangeArrowheads="1"/>
          </p:cNvSpPr>
          <p:nvPr/>
        </p:nvSpPr>
        <p:spPr bwMode="auto">
          <a:xfrm>
            <a:off x="8396288" y="1158875"/>
            <a:ext cx="122238" cy="127000"/>
          </a:xfrm>
          <a:prstGeom prst="ellipse">
            <a:avLst/>
          </a:prstGeom>
          <a:solidFill>
            <a:schemeClr val="accent1">
              <a:lumMod val="10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cs typeface="+mn-ea"/>
              <a:sym typeface="+mn-lt"/>
            </a:endParaRPr>
          </a:p>
        </p:txBody>
      </p:sp>
      <p:sp>
        <p:nvSpPr>
          <p:cNvPr id="114" name="Oval 111">
            <a:extLst>
              <a:ext uri="{FF2B5EF4-FFF2-40B4-BE49-F238E27FC236}">
                <a16:creationId xmlns:a16="http://schemas.microsoft.com/office/drawing/2014/main" id="{D92A86FA-2AE2-4B7F-8FD7-46EA64C86B8C}"/>
              </a:ext>
            </a:extLst>
          </p:cNvPr>
          <p:cNvSpPr>
            <a:spLocks noChangeArrowheads="1"/>
          </p:cNvSpPr>
          <p:nvPr/>
        </p:nvSpPr>
        <p:spPr bwMode="auto">
          <a:xfrm>
            <a:off x="8243888" y="1192213"/>
            <a:ext cx="58738" cy="58738"/>
          </a:xfrm>
          <a:prstGeom prst="ellipse">
            <a:avLst/>
          </a:prstGeom>
          <a:solidFill>
            <a:schemeClr val="accent1">
              <a:lumMod val="10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cs typeface="+mn-ea"/>
              <a:sym typeface="+mn-lt"/>
            </a:endParaRPr>
          </a:p>
        </p:txBody>
      </p:sp>
      <p:sp>
        <p:nvSpPr>
          <p:cNvPr id="115" name="Oval 112">
            <a:extLst>
              <a:ext uri="{FF2B5EF4-FFF2-40B4-BE49-F238E27FC236}">
                <a16:creationId xmlns:a16="http://schemas.microsoft.com/office/drawing/2014/main" id="{2E385034-7963-4A9F-9960-D53FF4F6753E}"/>
              </a:ext>
            </a:extLst>
          </p:cNvPr>
          <p:cNvSpPr>
            <a:spLocks noChangeArrowheads="1"/>
          </p:cNvSpPr>
          <p:nvPr/>
        </p:nvSpPr>
        <p:spPr bwMode="auto">
          <a:xfrm>
            <a:off x="8142288" y="1209675"/>
            <a:ext cx="25400" cy="25400"/>
          </a:xfrm>
          <a:prstGeom prst="ellipse">
            <a:avLst/>
          </a:prstGeom>
          <a:solidFill>
            <a:schemeClr val="accent1">
              <a:lumMod val="10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cs typeface="+mn-ea"/>
              <a:sym typeface="+mn-lt"/>
            </a:endParaRPr>
          </a:p>
        </p:txBody>
      </p:sp>
      <p:sp>
        <p:nvSpPr>
          <p:cNvPr id="116" name="Oval 113">
            <a:extLst>
              <a:ext uri="{FF2B5EF4-FFF2-40B4-BE49-F238E27FC236}">
                <a16:creationId xmlns:a16="http://schemas.microsoft.com/office/drawing/2014/main" id="{2E617E35-5606-4501-82A6-A1FFC697703A}"/>
              </a:ext>
            </a:extLst>
          </p:cNvPr>
          <p:cNvSpPr>
            <a:spLocks noChangeArrowheads="1"/>
          </p:cNvSpPr>
          <p:nvPr/>
        </p:nvSpPr>
        <p:spPr bwMode="auto">
          <a:xfrm>
            <a:off x="8396288" y="5584825"/>
            <a:ext cx="122238" cy="123825"/>
          </a:xfrm>
          <a:prstGeom prst="ellipse">
            <a:avLst/>
          </a:prstGeom>
          <a:solidFill>
            <a:schemeClr val="accent1">
              <a:lumMod val="10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cs typeface="+mn-ea"/>
              <a:sym typeface="+mn-lt"/>
            </a:endParaRPr>
          </a:p>
        </p:txBody>
      </p:sp>
      <p:sp>
        <p:nvSpPr>
          <p:cNvPr id="117" name="Oval 114">
            <a:extLst>
              <a:ext uri="{FF2B5EF4-FFF2-40B4-BE49-F238E27FC236}">
                <a16:creationId xmlns:a16="http://schemas.microsoft.com/office/drawing/2014/main" id="{800B767A-78B1-428A-9003-39F80E840B33}"/>
              </a:ext>
            </a:extLst>
          </p:cNvPr>
          <p:cNvSpPr>
            <a:spLocks noChangeArrowheads="1"/>
          </p:cNvSpPr>
          <p:nvPr/>
        </p:nvSpPr>
        <p:spPr bwMode="auto">
          <a:xfrm>
            <a:off x="8243888" y="5614988"/>
            <a:ext cx="58738" cy="58738"/>
          </a:xfrm>
          <a:prstGeom prst="ellipse">
            <a:avLst/>
          </a:prstGeom>
          <a:solidFill>
            <a:schemeClr val="accent1">
              <a:lumMod val="10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cs typeface="+mn-ea"/>
              <a:sym typeface="+mn-lt"/>
            </a:endParaRPr>
          </a:p>
        </p:txBody>
      </p:sp>
      <p:sp>
        <p:nvSpPr>
          <p:cNvPr id="118" name="Oval 115">
            <a:extLst>
              <a:ext uri="{FF2B5EF4-FFF2-40B4-BE49-F238E27FC236}">
                <a16:creationId xmlns:a16="http://schemas.microsoft.com/office/drawing/2014/main" id="{3077D38F-1734-4A08-8C2E-661E52ED12D9}"/>
              </a:ext>
            </a:extLst>
          </p:cNvPr>
          <p:cNvSpPr>
            <a:spLocks noChangeArrowheads="1"/>
          </p:cNvSpPr>
          <p:nvPr/>
        </p:nvSpPr>
        <p:spPr bwMode="auto">
          <a:xfrm>
            <a:off x="8142288" y="5635625"/>
            <a:ext cx="25400" cy="22225"/>
          </a:xfrm>
          <a:prstGeom prst="ellipse">
            <a:avLst/>
          </a:prstGeom>
          <a:solidFill>
            <a:schemeClr val="accent1">
              <a:lumMod val="10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cs typeface="+mn-ea"/>
              <a:sym typeface="+mn-lt"/>
            </a:endParaRPr>
          </a:p>
        </p:txBody>
      </p:sp>
      <p:sp>
        <p:nvSpPr>
          <p:cNvPr id="119" name="Shape 163">
            <a:extLst>
              <a:ext uri="{FF2B5EF4-FFF2-40B4-BE49-F238E27FC236}">
                <a16:creationId xmlns:a16="http://schemas.microsoft.com/office/drawing/2014/main" id="{0C6C8147-6795-470F-AB34-904FC79A636D}"/>
              </a:ext>
            </a:extLst>
          </p:cNvPr>
          <p:cNvSpPr>
            <a:spLocks noChangeArrowheads="1"/>
          </p:cNvSpPr>
          <p:nvPr/>
        </p:nvSpPr>
        <p:spPr bwMode="auto">
          <a:xfrm>
            <a:off x="1036745" y="2184963"/>
            <a:ext cx="1171468" cy="2128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altLang="ru-RU" sz="1050" b="1" i="0" u="none" strike="noStrike" kern="1200" cap="none" spc="0" normalizeH="0" baseline="0" noProof="0">
                <a:ln>
                  <a:noFill/>
                </a:ln>
                <a:solidFill>
                  <a:srgbClr val="FFFFFF"/>
                </a:solidFill>
                <a:effectLst/>
                <a:uLnTx/>
                <a:uFillTx/>
                <a:latin typeface="Arial"/>
                <a:cs typeface="+mn-ea"/>
                <a:sym typeface="+mn-lt"/>
              </a:rPr>
              <a:t>Information text</a:t>
            </a:r>
          </a:p>
        </p:txBody>
      </p:sp>
      <p:sp>
        <p:nvSpPr>
          <p:cNvPr id="120" name="Shape 163">
            <a:extLst>
              <a:ext uri="{FF2B5EF4-FFF2-40B4-BE49-F238E27FC236}">
                <a16:creationId xmlns:a16="http://schemas.microsoft.com/office/drawing/2014/main" id="{6BC3CD74-B4E7-4359-BAE9-FDF5C5CBFE99}"/>
              </a:ext>
            </a:extLst>
          </p:cNvPr>
          <p:cNvSpPr>
            <a:spLocks noChangeArrowheads="1"/>
          </p:cNvSpPr>
          <p:nvPr/>
        </p:nvSpPr>
        <p:spPr bwMode="auto">
          <a:xfrm>
            <a:off x="1036745" y="4453654"/>
            <a:ext cx="1171468" cy="2128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altLang="ru-RU" sz="1050" b="1" i="0" u="none" strike="noStrike" kern="1200" cap="none" spc="0" normalizeH="0" baseline="0" noProof="0">
                <a:ln>
                  <a:noFill/>
                </a:ln>
                <a:solidFill>
                  <a:srgbClr val="FFFFFF"/>
                </a:solidFill>
                <a:effectLst/>
                <a:uLnTx/>
                <a:uFillTx/>
                <a:latin typeface="Arial"/>
                <a:cs typeface="+mn-ea"/>
                <a:sym typeface="+mn-lt"/>
              </a:rPr>
              <a:t>Information text</a:t>
            </a:r>
          </a:p>
        </p:txBody>
      </p:sp>
      <p:sp>
        <p:nvSpPr>
          <p:cNvPr id="121" name="Shape 163">
            <a:extLst>
              <a:ext uri="{FF2B5EF4-FFF2-40B4-BE49-F238E27FC236}">
                <a16:creationId xmlns:a16="http://schemas.microsoft.com/office/drawing/2014/main" id="{FA874B41-5FC0-4C08-8239-F1B784DF4496}"/>
              </a:ext>
            </a:extLst>
          </p:cNvPr>
          <p:cNvSpPr>
            <a:spLocks noChangeArrowheads="1"/>
          </p:cNvSpPr>
          <p:nvPr/>
        </p:nvSpPr>
        <p:spPr bwMode="auto">
          <a:xfrm>
            <a:off x="3630720" y="4776821"/>
            <a:ext cx="1171468" cy="2128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altLang="ru-RU" sz="1050" b="1" i="0" u="none" strike="noStrike" kern="1200" cap="none" spc="0" normalizeH="0" baseline="0" noProof="0">
                <a:ln>
                  <a:noFill/>
                </a:ln>
                <a:solidFill>
                  <a:srgbClr val="FFFFFF"/>
                </a:solidFill>
                <a:effectLst/>
                <a:uLnTx/>
                <a:uFillTx/>
                <a:latin typeface="Arial"/>
                <a:cs typeface="+mn-ea"/>
                <a:sym typeface="+mn-lt"/>
              </a:rPr>
              <a:t>Information text</a:t>
            </a:r>
          </a:p>
        </p:txBody>
      </p:sp>
      <p:sp>
        <p:nvSpPr>
          <p:cNvPr id="122" name="Shape 163">
            <a:extLst>
              <a:ext uri="{FF2B5EF4-FFF2-40B4-BE49-F238E27FC236}">
                <a16:creationId xmlns:a16="http://schemas.microsoft.com/office/drawing/2014/main" id="{A1018853-D834-4B74-B0A8-6B6CFBF19A40}"/>
              </a:ext>
            </a:extLst>
          </p:cNvPr>
          <p:cNvSpPr>
            <a:spLocks noChangeArrowheads="1"/>
          </p:cNvSpPr>
          <p:nvPr/>
        </p:nvSpPr>
        <p:spPr bwMode="auto">
          <a:xfrm>
            <a:off x="3630720" y="1862061"/>
            <a:ext cx="1171468" cy="2128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altLang="ru-RU" sz="1050" b="1" i="0" u="none" strike="noStrike" kern="1200" cap="none" spc="0" normalizeH="0" baseline="0" noProof="0">
                <a:ln>
                  <a:noFill/>
                </a:ln>
                <a:solidFill>
                  <a:srgbClr val="FFFFFF"/>
                </a:solidFill>
                <a:effectLst/>
                <a:uLnTx/>
                <a:uFillTx/>
                <a:latin typeface="Arial"/>
                <a:cs typeface="+mn-ea"/>
                <a:sym typeface="+mn-lt"/>
              </a:rPr>
              <a:t>Information text</a:t>
            </a:r>
          </a:p>
        </p:txBody>
      </p:sp>
      <p:sp>
        <p:nvSpPr>
          <p:cNvPr id="123" name="Shape 163">
            <a:extLst>
              <a:ext uri="{FF2B5EF4-FFF2-40B4-BE49-F238E27FC236}">
                <a16:creationId xmlns:a16="http://schemas.microsoft.com/office/drawing/2014/main" id="{DB695BCE-9A99-45CA-B141-58950E90E0A3}"/>
              </a:ext>
            </a:extLst>
          </p:cNvPr>
          <p:cNvSpPr>
            <a:spLocks noChangeArrowheads="1"/>
          </p:cNvSpPr>
          <p:nvPr/>
        </p:nvSpPr>
        <p:spPr bwMode="auto">
          <a:xfrm>
            <a:off x="6213489" y="1460284"/>
            <a:ext cx="1171468" cy="2128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altLang="ru-RU" sz="1050" b="1" i="0" u="none" strike="noStrike" kern="1200" cap="none" spc="0" normalizeH="0" baseline="0" noProof="0">
                <a:ln>
                  <a:noFill/>
                </a:ln>
                <a:solidFill>
                  <a:srgbClr val="FFFFFF"/>
                </a:solidFill>
                <a:effectLst/>
                <a:uLnTx/>
                <a:uFillTx/>
                <a:latin typeface="Arial"/>
                <a:cs typeface="+mn-ea"/>
                <a:sym typeface="+mn-lt"/>
              </a:rPr>
              <a:t>Information text</a:t>
            </a:r>
          </a:p>
        </p:txBody>
      </p:sp>
      <p:sp>
        <p:nvSpPr>
          <p:cNvPr id="124" name="Shape 163">
            <a:extLst>
              <a:ext uri="{FF2B5EF4-FFF2-40B4-BE49-F238E27FC236}">
                <a16:creationId xmlns:a16="http://schemas.microsoft.com/office/drawing/2014/main" id="{F490035F-68F7-4A68-A609-571E6462B314}"/>
              </a:ext>
            </a:extLst>
          </p:cNvPr>
          <p:cNvSpPr>
            <a:spLocks noChangeArrowheads="1"/>
          </p:cNvSpPr>
          <p:nvPr/>
        </p:nvSpPr>
        <p:spPr bwMode="auto">
          <a:xfrm>
            <a:off x="6213489" y="5154458"/>
            <a:ext cx="1171468" cy="2128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altLang="ru-RU" sz="1050" b="1" i="0" u="none" strike="noStrike" kern="1200" cap="none" spc="0" normalizeH="0" baseline="0" noProof="0">
                <a:ln>
                  <a:noFill/>
                </a:ln>
                <a:solidFill>
                  <a:srgbClr val="FFFFFF"/>
                </a:solidFill>
                <a:effectLst/>
                <a:uLnTx/>
                <a:uFillTx/>
                <a:latin typeface="Arial"/>
                <a:cs typeface="+mn-ea"/>
                <a:sym typeface="+mn-lt"/>
              </a:rPr>
              <a:t>Information text</a:t>
            </a:r>
          </a:p>
        </p:txBody>
      </p:sp>
      <p:sp>
        <p:nvSpPr>
          <p:cNvPr id="125" name="Shape 163">
            <a:extLst>
              <a:ext uri="{FF2B5EF4-FFF2-40B4-BE49-F238E27FC236}">
                <a16:creationId xmlns:a16="http://schemas.microsoft.com/office/drawing/2014/main" id="{31BE00DD-016E-43CA-8174-87093F30A87D}"/>
              </a:ext>
            </a:extLst>
          </p:cNvPr>
          <p:cNvSpPr>
            <a:spLocks noChangeArrowheads="1"/>
          </p:cNvSpPr>
          <p:nvPr/>
        </p:nvSpPr>
        <p:spPr bwMode="auto">
          <a:xfrm>
            <a:off x="8791682" y="5532813"/>
            <a:ext cx="1171468" cy="2128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altLang="ru-RU" sz="1050" b="1" i="0" u="none" strike="noStrike" kern="1200" cap="none" spc="0" normalizeH="0" baseline="0" noProof="0">
                <a:ln>
                  <a:noFill/>
                </a:ln>
                <a:solidFill>
                  <a:srgbClr val="FFFFFF"/>
                </a:solidFill>
                <a:effectLst/>
                <a:uLnTx/>
                <a:uFillTx/>
                <a:latin typeface="Arial"/>
                <a:cs typeface="+mn-ea"/>
                <a:sym typeface="+mn-lt"/>
              </a:rPr>
              <a:t>Information text</a:t>
            </a:r>
          </a:p>
        </p:txBody>
      </p:sp>
      <p:sp>
        <p:nvSpPr>
          <p:cNvPr id="126" name="Shape 163">
            <a:extLst>
              <a:ext uri="{FF2B5EF4-FFF2-40B4-BE49-F238E27FC236}">
                <a16:creationId xmlns:a16="http://schemas.microsoft.com/office/drawing/2014/main" id="{B8628C44-1B8F-4BFC-B1DD-C9DC38A42FFC}"/>
              </a:ext>
            </a:extLst>
          </p:cNvPr>
          <p:cNvSpPr>
            <a:spLocks noChangeArrowheads="1"/>
          </p:cNvSpPr>
          <p:nvPr/>
        </p:nvSpPr>
        <p:spPr bwMode="auto">
          <a:xfrm>
            <a:off x="8791682" y="1103235"/>
            <a:ext cx="1171468" cy="2128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25400" tIns="25400" rIns="25400" bIns="25400" anchor="ctr">
            <a:spAutoFit/>
          </a:bodyP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altLang="ru-RU" sz="1050" b="1" i="0" u="none" strike="noStrike" kern="1200" cap="none" spc="0" normalizeH="0" baseline="0" noProof="0">
                <a:ln>
                  <a:noFill/>
                </a:ln>
                <a:solidFill>
                  <a:srgbClr val="FFFFFF"/>
                </a:solidFill>
                <a:effectLst/>
                <a:uLnTx/>
                <a:uFillTx/>
                <a:latin typeface="Arial"/>
                <a:cs typeface="+mn-ea"/>
                <a:sym typeface="+mn-lt"/>
              </a:rPr>
              <a:t>Information text</a:t>
            </a:r>
          </a:p>
        </p:txBody>
      </p:sp>
      <p:sp>
        <p:nvSpPr>
          <p:cNvPr id="127" name="TextBox 46">
            <a:extLst>
              <a:ext uri="{FF2B5EF4-FFF2-40B4-BE49-F238E27FC236}">
                <a16:creationId xmlns:a16="http://schemas.microsoft.com/office/drawing/2014/main" id="{ED1FB18A-D44E-49D4-96E3-F5CAA8C061AE}"/>
              </a:ext>
            </a:extLst>
          </p:cNvPr>
          <p:cNvSpPr txBox="1">
            <a:spLocks noChangeArrowheads="1"/>
          </p:cNvSpPr>
          <p:nvPr/>
        </p:nvSpPr>
        <p:spPr bwMode="auto">
          <a:xfrm>
            <a:off x="956718" y="2614455"/>
            <a:ext cx="1331523"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1pPr>
            <a:lvl2pPr marL="742950" indent="-28575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2pPr>
            <a:lvl3pPr marL="11430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3pPr>
            <a:lvl4pPr marL="16002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4pPr>
            <a:lvl5pPr marL="20574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5pPr>
            <a:lvl6pPr marL="25146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6pPr>
            <a:lvl7pPr marL="29718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7pPr>
            <a:lvl8pPr marL="34290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8pPr>
            <a:lvl9pPr marL="38862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000" b="1" i="0" u="none" strike="noStrike" kern="1200" cap="none" spc="0" normalizeH="0" baseline="0" noProof="0" dirty="0">
                <a:ln>
                  <a:noFill/>
                </a:ln>
                <a:solidFill>
                  <a:schemeClr val="accent1"/>
                </a:solidFill>
                <a:effectLst/>
                <a:uLnTx/>
                <a:uFillTx/>
                <a:latin typeface="Arial"/>
                <a:ea typeface="+mn-ea"/>
                <a:cs typeface="+mn-ea"/>
                <a:sym typeface="+mn-lt"/>
              </a:rPr>
              <a:t>Information text</a:t>
            </a:r>
          </a:p>
        </p:txBody>
      </p:sp>
      <p:sp>
        <p:nvSpPr>
          <p:cNvPr id="129" name="TextBox 46">
            <a:extLst>
              <a:ext uri="{FF2B5EF4-FFF2-40B4-BE49-F238E27FC236}">
                <a16:creationId xmlns:a16="http://schemas.microsoft.com/office/drawing/2014/main" id="{154C1084-8658-4371-AE10-AFC2028AB408}"/>
              </a:ext>
            </a:extLst>
          </p:cNvPr>
          <p:cNvSpPr txBox="1">
            <a:spLocks noChangeArrowheads="1"/>
          </p:cNvSpPr>
          <p:nvPr/>
        </p:nvSpPr>
        <p:spPr bwMode="auto">
          <a:xfrm>
            <a:off x="1064211" y="2892266"/>
            <a:ext cx="1331523"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1pPr>
            <a:lvl2pPr marL="742950" indent="-28575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2pPr>
            <a:lvl3pPr marL="11430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3pPr>
            <a:lvl4pPr marL="16002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4pPr>
            <a:lvl5pPr marL="20574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5pPr>
            <a:lvl6pPr marL="25146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6pPr>
            <a:lvl7pPr marL="29718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7pPr>
            <a:lvl8pPr marL="34290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8pPr>
            <a:lvl9pPr marL="38862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000" b="1" i="0" u="none" strike="noStrike" kern="1200" cap="none" spc="0" normalizeH="0" baseline="0" noProof="0" dirty="0">
                <a:ln>
                  <a:noFill/>
                </a:ln>
                <a:solidFill>
                  <a:schemeClr val="accent1"/>
                </a:solidFill>
                <a:effectLst/>
                <a:uLnTx/>
                <a:uFillTx/>
                <a:latin typeface="Arial"/>
                <a:ea typeface="+mn-ea"/>
                <a:cs typeface="+mn-ea"/>
                <a:sym typeface="+mn-lt"/>
              </a:rPr>
              <a:t>Information text</a:t>
            </a:r>
          </a:p>
        </p:txBody>
      </p:sp>
      <p:sp>
        <p:nvSpPr>
          <p:cNvPr id="130" name="TextBox 46">
            <a:extLst>
              <a:ext uri="{FF2B5EF4-FFF2-40B4-BE49-F238E27FC236}">
                <a16:creationId xmlns:a16="http://schemas.microsoft.com/office/drawing/2014/main" id="{1939ED02-0218-43A3-9340-FD47B743CCB9}"/>
              </a:ext>
            </a:extLst>
          </p:cNvPr>
          <p:cNvSpPr txBox="1">
            <a:spLocks noChangeArrowheads="1"/>
          </p:cNvSpPr>
          <p:nvPr/>
        </p:nvSpPr>
        <p:spPr bwMode="auto">
          <a:xfrm>
            <a:off x="3560011" y="2451347"/>
            <a:ext cx="1331523"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1pPr>
            <a:lvl2pPr marL="742950" indent="-28575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2pPr>
            <a:lvl3pPr marL="11430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3pPr>
            <a:lvl4pPr marL="16002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4pPr>
            <a:lvl5pPr marL="20574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5pPr>
            <a:lvl6pPr marL="25146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6pPr>
            <a:lvl7pPr marL="29718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7pPr>
            <a:lvl8pPr marL="34290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8pPr>
            <a:lvl9pPr marL="38862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000" b="1" i="0" u="none" strike="noStrike" kern="1200" cap="none" spc="0" normalizeH="0" baseline="0" noProof="0" dirty="0">
                <a:ln>
                  <a:noFill/>
                </a:ln>
                <a:solidFill>
                  <a:schemeClr val="accent1"/>
                </a:solidFill>
                <a:effectLst/>
                <a:uLnTx/>
                <a:uFillTx/>
                <a:latin typeface="Arial"/>
                <a:ea typeface="+mn-ea"/>
                <a:cs typeface="+mn-ea"/>
                <a:sym typeface="+mn-lt"/>
              </a:rPr>
              <a:t>Information text</a:t>
            </a:r>
          </a:p>
        </p:txBody>
      </p:sp>
      <p:sp>
        <p:nvSpPr>
          <p:cNvPr id="131" name="TextBox 46">
            <a:extLst>
              <a:ext uri="{FF2B5EF4-FFF2-40B4-BE49-F238E27FC236}">
                <a16:creationId xmlns:a16="http://schemas.microsoft.com/office/drawing/2014/main" id="{A0D3B66D-01E6-4CB5-8EDB-412A80849FB8}"/>
              </a:ext>
            </a:extLst>
          </p:cNvPr>
          <p:cNvSpPr txBox="1">
            <a:spLocks noChangeArrowheads="1"/>
          </p:cNvSpPr>
          <p:nvPr/>
        </p:nvSpPr>
        <p:spPr bwMode="auto">
          <a:xfrm>
            <a:off x="3667504" y="2729158"/>
            <a:ext cx="1331523"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1pPr>
            <a:lvl2pPr marL="742950" indent="-28575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2pPr>
            <a:lvl3pPr marL="11430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3pPr>
            <a:lvl4pPr marL="16002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4pPr>
            <a:lvl5pPr marL="20574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5pPr>
            <a:lvl6pPr marL="25146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6pPr>
            <a:lvl7pPr marL="29718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7pPr>
            <a:lvl8pPr marL="34290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8pPr>
            <a:lvl9pPr marL="38862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000" b="1" i="0" u="none" strike="noStrike" kern="1200" cap="none" spc="0" normalizeH="0" baseline="0" noProof="0" dirty="0">
                <a:ln>
                  <a:noFill/>
                </a:ln>
                <a:solidFill>
                  <a:schemeClr val="accent1"/>
                </a:solidFill>
                <a:effectLst/>
                <a:uLnTx/>
                <a:uFillTx/>
                <a:latin typeface="Arial"/>
                <a:ea typeface="+mn-ea"/>
                <a:cs typeface="+mn-ea"/>
                <a:sym typeface="+mn-lt"/>
              </a:rPr>
              <a:t>Information text</a:t>
            </a:r>
          </a:p>
        </p:txBody>
      </p:sp>
      <p:sp>
        <p:nvSpPr>
          <p:cNvPr id="132" name="TextBox 46">
            <a:extLst>
              <a:ext uri="{FF2B5EF4-FFF2-40B4-BE49-F238E27FC236}">
                <a16:creationId xmlns:a16="http://schemas.microsoft.com/office/drawing/2014/main" id="{841D014E-48D0-4AC3-832E-7849BEE2DD2C}"/>
              </a:ext>
            </a:extLst>
          </p:cNvPr>
          <p:cNvSpPr txBox="1">
            <a:spLocks noChangeArrowheads="1"/>
          </p:cNvSpPr>
          <p:nvPr/>
        </p:nvSpPr>
        <p:spPr bwMode="auto">
          <a:xfrm>
            <a:off x="6115429" y="2208865"/>
            <a:ext cx="1331523"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1pPr>
            <a:lvl2pPr marL="742950" indent="-28575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2pPr>
            <a:lvl3pPr marL="11430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3pPr>
            <a:lvl4pPr marL="16002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4pPr>
            <a:lvl5pPr marL="20574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5pPr>
            <a:lvl6pPr marL="25146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6pPr>
            <a:lvl7pPr marL="29718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7pPr>
            <a:lvl8pPr marL="34290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8pPr>
            <a:lvl9pPr marL="38862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000" b="1" i="0" u="none" strike="noStrike" kern="1200" cap="none" spc="0" normalizeH="0" baseline="0" noProof="0" dirty="0">
                <a:ln>
                  <a:noFill/>
                </a:ln>
                <a:solidFill>
                  <a:schemeClr val="accent1"/>
                </a:solidFill>
                <a:effectLst/>
                <a:uLnTx/>
                <a:uFillTx/>
                <a:latin typeface="Arial"/>
                <a:ea typeface="+mn-ea"/>
                <a:cs typeface="+mn-ea"/>
                <a:sym typeface="+mn-lt"/>
              </a:rPr>
              <a:t>Information text</a:t>
            </a:r>
          </a:p>
        </p:txBody>
      </p:sp>
      <p:sp>
        <p:nvSpPr>
          <p:cNvPr id="133" name="TextBox 46">
            <a:extLst>
              <a:ext uri="{FF2B5EF4-FFF2-40B4-BE49-F238E27FC236}">
                <a16:creationId xmlns:a16="http://schemas.microsoft.com/office/drawing/2014/main" id="{E8323F49-6BE0-43A9-90BF-FADE2BA20525}"/>
              </a:ext>
            </a:extLst>
          </p:cNvPr>
          <p:cNvSpPr txBox="1">
            <a:spLocks noChangeArrowheads="1"/>
          </p:cNvSpPr>
          <p:nvPr/>
        </p:nvSpPr>
        <p:spPr bwMode="auto">
          <a:xfrm>
            <a:off x="6222922" y="2486676"/>
            <a:ext cx="1331523"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1pPr>
            <a:lvl2pPr marL="742950" indent="-28575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2pPr>
            <a:lvl3pPr marL="11430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3pPr>
            <a:lvl4pPr marL="16002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4pPr>
            <a:lvl5pPr marL="20574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5pPr>
            <a:lvl6pPr marL="25146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6pPr>
            <a:lvl7pPr marL="29718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7pPr>
            <a:lvl8pPr marL="34290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8pPr>
            <a:lvl9pPr marL="38862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000" b="1" i="0" u="none" strike="noStrike" kern="1200" cap="none" spc="0" normalizeH="0" baseline="0" noProof="0" dirty="0">
                <a:ln>
                  <a:noFill/>
                </a:ln>
                <a:solidFill>
                  <a:schemeClr val="accent1"/>
                </a:solidFill>
                <a:effectLst/>
                <a:uLnTx/>
                <a:uFillTx/>
                <a:latin typeface="Arial"/>
                <a:ea typeface="+mn-ea"/>
                <a:cs typeface="+mn-ea"/>
                <a:sym typeface="+mn-lt"/>
              </a:rPr>
              <a:t>Information text</a:t>
            </a:r>
          </a:p>
        </p:txBody>
      </p:sp>
      <p:sp>
        <p:nvSpPr>
          <p:cNvPr id="134" name="TextBox 46">
            <a:extLst>
              <a:ext uri="{FF2B5EF4-FFF2-40B4-BE49-F238E27FC236}">
                <a16:creationId xmlns:a16="http://schemas.microsoft.com/office/drawing/2014/main" id="{98F088FB-4200-4418-BCAF-88C1670FB6DB}"/>
              </a:ext>
            </a:extLst>
          </p:cNvPr>
          <p:cNvSpPr txBox="1">
            <a:spLocks noChangeArrowheads="1"/>
          </p:cNvSpPr>
          <p:nvPr/>
        </p:nvSpPr>
        <p:spPr bwMode="auto">
          <a:xfrm>
            <a:off x="8793863" y="2085695"/>
            <a:ext cx="1331523"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1pPr>
            <a:lvl2pPr marL="742950" indent="-28575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2pPr>
            <a:lvl3pPr marL="11430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3pPr>
            <a:lvl4pPr marL="16002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4pPr>
            <a:lvl5pPr marL="20574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5pPr>
            <a:lvl6pPr marL="25146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6pPr>
            <a:lvl7pPr marL="29718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7pPr>
            <a:lvl8pPr marL="34290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8pPr>
            <a:lvl9pPr marL="38862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000" b="1" i="0" u="none" strike="noStrike" kern="1200" cap="none" spc="0" normalizeH="0" baseline="0" noProof="0" dirty="0">
                <a:ln>
                  <a:noFill/>
                </a:ln>
                <a:solidFill>
                  <a:schemeClr val="accent1"/>
                </a:solidFill>
                <a:effectLst/>
                <a:uLnTx/>
                <a:uFillTx/>
                <a:latin typeface="Arial"/>
                <a:ea typeface="+mn-ea"/>
                <a:cs typeface="+mn-ea"/>
                <a:sym typeface="+mn-lt"/>
              </a:rPr>
              <a:t>Information text</a:t>
            </a:r>
          </a:p>
        </p:txBody>
      </p:sp>
      <p:sp>
        <p:nvSpPr>
          <p:cNvPr id="135" name="TextBox 46">
            <a:extLst>
              <a:ext uri="{FF2B5EF4-FFF2-40B4-BE49-F238E27FC236}">
                <a16:creationId xmlns:a16="http://schemas.microsoft.com/office/drawing/2014/main" id="{13D88F6D-20F0-4034-990B-34DDC44D32F7}"/>
              </a:ext>
            </a:extLst>
          </p:cNvPr>
          <p:cNvSpPr txBox="1">
            <a:spLocks noChangeArrowheads="1"/>
          </p:cNvSpPr>
          <p:nvPr/>
        </p:nvSpPr>
        <p:spPr bwMode="auto">
          <a:xfrm>
            <a:off x="8901356" y="2363506"/>
            <a:ext cx="1331523"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1pPr>
            <a:lvl2pPr marL="742950" indent="-28575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2pPr>
            <a:lvl3pPr marL="11430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3pPr>
            <a:lvl4pPr marL="16002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4pPr>
            <a:lvl5pPr marL="20574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5pPr>
            <a:lvl6pPr marL="25146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6pPr>
            <a:lvl7pPr marL="29718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7pPr>
            <a:lvl8pPr marL="34290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8pPr>
            <a:lvl9pPr marL="38862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000" b="1" i="0" u="none" strike="noStrike" kern="1200" cap="none" spc="0" normalizeH="0" baseline="0" noProof="0" dirty="0">
                <a:ln>
                  <a:noFill/>
                </a:ln>
                <a:solidFill>
                  <a:schemeClr val="accent1"/>
                </a:solidFill>
                <a:effectLst/>
                <a:uLnTx/>
                <a:uFillTx/>
                <a:latin typeface="Arial"/>
                <a:ea typeface="+mn-ea"/>
                <a:cs typeface="+mn-ea"/>
                <a:sym typeface="+mn-lt"/>
              </a:rPr>
              <a:t>Information text</a:t>
            </a:r>
          </a:p>
        </p:txBody>
      </p:sp>
      <p:sp>
        <p:nvSpPr>
          <p:cNvPr id="138" name="TextBox 46">
            <a:extLst>
              <a:ext uri="{FF2B5EF4-FFF2-40B4-BE49-F238E27FC236}">
                <a16:creationId xmlns:a16="http://schemas.microsoft.com/office/drawing/2014/main" id="{BA7D4362-81EF-4F8D-B11D-170B64D879E9}"/>
              </a:ext>
            </a:extLst>
          </p:cNvPr>
          <p:cNvSpPr txBox="1">
            <a:spLocks noChangeArrowheads="1"/>
          </p:cNvSpPr>
          <p:nvPr/>
        </p:nvSpPr>
        <p:spPr bwMode="auto">
          <a:xfrm flipH="1">
            <a:off x="8901356" y="4254622"/>
            <a:ext cx="1331523"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1pPr>
            <a:lvl2pPr marL="742950" indent="-28575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2pPr>
            <a:lvl3pPr marL="11430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3pPr>
            <a:lvl4pPr marL="16002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4pPr>
            <a:lvl5pPr marL="20574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5pPr>
            <a:lvl6pPr marL="25146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6pPr>
            <a:lvl7pPr marL="29718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7pPr>
            <a:lvl8pPr marL="34290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8pPr>
            <a:lvl9pPr marL="38862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000" b="1" i="0" u="none" strike="noStrike" kern="1200" cap="none" spc="0" normalizeH="0" baseline="0" noProof="0" dirty="0">
                <a:ln>
                  <a:noFill/>
                </a:ln>
                <a:solidFill>
                  <a:schemeClr val="accent1"/>
                </a:solidFill>
                <a:effectLst/>
                <a:uLnTx/>
                <a:uFillTx/>
                <a:latin typeface="Arial"/>
                <a:ea typeface="+mn-ea"/>
                <a:cs typeface="+mn-ea"/>
                <a:sym typeface="+mn-lt"/>
              </a:rPr>
              <a:t>Information text</a:t>
            </a:r>
          </a:p>
        </p:txBody>
      </p:sp>
      <p:sp>
        <p:nvSpPr>
          <p:cNvPr id="139" name="TextBox 46">
            <a:extLst>
              <a:ext uri="{FF2B5EF4-FFF2-40B4-BE49-F238E27FC236}">
                <a16:creationId xmlns:a16="http://schemas.microsoft.com/office/drawing/2014/main" id="{0460DCAD-8754-45E2-A2AF-998D10A2D410}"/>
              </a:ext>
            </a:extLst>
          </p:cNvPr>
          <p:cNvSpPr txBox="1">
            <a:spLocks noChangeArrowheads="1"/>
          </p:cNvSpPr>
          <p:nvPr/>
        </p:nvSpPr>
        <p:spPr bwMode="auto">
          <a:xfrm flipH="1">
            <a:off x="8793863" y="4532433"/>
            <a:ext cx="1331523"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1pPr>
            <a:lvl2pPr marL="742950" indent="-28575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2pPr>
            <a:lvl3pPr marL="11430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3pPr>
            <a:lvl4pPr marL="16002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4pPr>
            <a:lvl5pPr marL="20574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5pPr>
            <a:lvl6pPr marL="25146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6pPr>
            <a:lvl7pPr marL="29718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7pPr>
            <a:lvl8pPr marL="34290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8pPr>
            <a:lvl9pPr marL="38862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000" b="1" i="0" u="none" strike="noStrike" kern="1200" cap="none" spc="0" normalizeH="0" baseline="0" noProof="0" dirty="0">
                <a:ln>
                  <a:noFill/>
                </a:ln>
                <a:solidFill>
                  <a:schemeClr val="accent1"/>
                </a:solidFill>
                <a:effectLst/>
                <a:uLnTx/>
                <a:uFillTx/>
                <a:latin typeface="Arial"/>
                <a:ea typeface="+mn-ea"/>
                <a:cs typeface="+mn-ea"/>
                <a:sym typeface="+mn-lt"/>
              </a:rPr>
              <a:t>Information text</a:t>
            </a:r>
          </a:p>
        </p:txBody>
      </p:sp>
      <p:sp>
        <p:nvSpPr>
          <p:cNvPr id="140" name="TextBox 46">
            <a:extLst>
              <a:ext uri="{FF2B5EF4-FFF2-40B4-BE49-F238E27FC236}">
                <a16:creationId xmlns:a16="http://schemas.microsoft.com/office/drawing/2014/main" id="{D1C0E940-00A7-487E-BF6C-C9F970BE3D14}"/>
              </a:ext>
            </a:extLst>
          </p:cNvPr>
          <p:cNvSpPr txBox="1">
            <a:spLocks noChangeArrowheads="1"/>
          </p:cNvSpPr>
          <p:nvPr/>
        </p:nvSpPr>
        <p:spPr bwMode="auto">
          <a:xfrm flipH="1">
            <a:off x="6298063" y="4091514"/>
            <a:ext cx="1331523"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1pPr>
            <a:lvl2pPr marL="742950" indent="-28575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2pPr>
            <a:lvl3pPr marL="11430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3pPr>
            <a:lvl4pPr marL="16002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4pPr>
            <a:lvl5pPr marL="20574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5pPr>
            <a:lvl6pPr marL="25146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6pPr>
            <a:lvl7pPr marL="29718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7pPr>
            <a:lvl8pPr marL="34290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8pPr>
            <a:lvl9pPr marL="38862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000" b="1" i="0" u="none" strike="noStrike" kern="1200" cap="none" spc="0" normalizeH="0" baseline="0" noProof="0" dirty="0">
                <a:ln>
                  <a:noFill/>
                </a:ln>
                <a:solidFill>
                  <a:schemeClr val="accent1"/>
                </a:solidFill>
                <a:effectLst/>
                <a:uLnTx/>
                <a:uFillTx/>
                <a:latin typeface="Arial"/>
                <a:ea typeface="+mn-ea"/>
                <a:cs typeface="+mn-ea"/>
                <a:sym typeface="+mn-lt"/>
              </a:rPr>
              <a:t>Information text</a:t>
            </a:r>
          </a:p>
        </p:txBody>
      </p:sp>
      <p:sp>
        <p:nvSpPr>
          <p:cNvPr id="141" name="TextBox 46">
            <a:extLst>
              <a:ext uri="{FF2B5EF4-FFF2-40B4-BE49-F238E27FC236}">
                <a16:creationId xmlns:a16="http://schemas.microsoft.com/office/drawing/2014/main" id="{12AD87DD-46AA-4DCC-AC65-790C1E76ADEE}"/>
              </a:ext>
            </a:extLst>
          </p:cNvPr>
          <p:cNvSpPr txBox="1">
            <a:spLocks noChangeArrowheads="1"/>
          </p:cNvSpPr>
          <p:nvPr/>
        </p:nvSpPr>
        <p:spPr bwMode="auto">
          <a:xfrm flipH="1">
            <a:off x="6190570" y="4369325"/>
            <a:ext cx="1331523"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1pPr>
            <a:lvl2pPr marL="742950" indent="-28575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2pPr>
            <a:lvl3pPr marL="11430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3pPr>
            <a:lvl4pPr marL="16002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4pPr>
            <a:lvl5pPr marL="20574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5pPr>
            <a:lvl6pPr marL="25146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6pPr>
            <a:lvl7pPr marL="29718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7pPr>
            <a:lvl8pPr marL="34290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8pPr>
            <a:lvl9pPr marL="38862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000" b="1" i="0" u="none" strike="noStrike" kern="1200" cap="none" spc="0" normalizeH="0" baseline="0" noProof="0" dirty="0">
                <a:ln>
                  <a:noFill/>
                </a:ln>
                <a:solidFill>
                  <a:schemeClr val="accent1"/>
                </a:solidFill>
                <a:effectLst/>
                <a:uLnTx/>
                <a:uFillTx/>
                <a:latin typeface="Arial"/>
                <a:ea typeface="+mn-ea"/>
                <a:cs typeface="+mn-ea"/>
                <a:sym typeface="+mn-lt"/>
              </a:rPr>
              <a:t>Information text</a:t>
            </a:r>
          </a:p>
        </p:txBody>
      </p:sp>
      <p:sp>
        <p:nvSpPr>
          <p:cNvPr id="142" name="TextBox 46">
            <a:extLst>
              <a:ext uri="{FF2B5EF4-FFF2-40B4-BE49-F238E27FC236}">
                <a16:creationId xmlns:a16="http://schemas.microsoft.com/office/drawing/2014/main" id="{6ADD3944-5DB2-4E7E-B290-94DE78E610EE}"/>
              </a:ext>
            </a:extLst>
          </p:cNvPr>
          <p:cNvSpPr txBox="1">
            <a:spLocks noChangeArrowheads="1"/>
          </p:cNvSpPr>
          <p:nvPr/>
        </p:nvSpPr>
        <p:spPr bwMode="auto">
          <a:xfrm flipH="1">
            <a:off x="3742645" y="3849032"/>
            <a:ext cx="1331523"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1pPr>
            <a:lvl2pPr marL="742950" indent="-28575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2pPr>
            <a:lvl3pPr marL="11430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3pPr>
            <a:lvl4pPr marL="16002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4pPr>
            <a:lvl5pPr marL="20574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5pPr>
            <a:lvl6pPr marL="25146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6pPr>
            <a:lvl7pPr marL="29718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7pPr>
            <a:lvl8pPr marL="34290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8pPr>
            <a:lvl9pPr marL="38862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000" b="1" i="0" u="none" strike="noStrike" kern="1200" cap="none" spc="0" normalizeH="0" baseline="0" noProof="0" dirty="0">
                <a:ln>
                  <a:noFill/>
                </a:ln>
                <a:solidFill>
                  <a:schemeClr val="accent1"/>
                </a:solidFill>
                <a:effectLst/>
                <a:uLnTx/>
                <a:uFillTx/>
                <a:latin typeface="Arial"/>
                <a:ea typeface="+mn-ea"/>
                <a:cs typeface="+mn-ea"/>
                <a:sym typeface="+mn-lt"/>
              </a:rPr>
              <a:t>Information text</a:t>
            </a:r>
          </a:p>
        </p:txBody>
      </p:sp>
      <p:sp>
        <p:nvSpPr>
          <p:cNvPr id="143" name="TextBox 46">
            <a:extLst>
              <a:ext uri="{FF2B5EF4-FFF2-40B4-BE49-F238E27FC236}">
                <a16:creationId xmlns:a16="http://schemas.microsoft.com/office/drawing/2014/main" id="{F5286BCC-6AC2-4155-A449-ABD025839B49}"/>
              </a:ext>
            </a:extLst>
          </p:cNvPr>
          <p:cNvSpPr txBox="1">
            <a:spLocks noChangeArrowheads="1"/>
          </p:cNvSpPr>
          <p:nvPr/>
        </p:nvSpPr>
        <p:spPr bwMode="auto">
          <a:xfrm flipH="1">
            <a:off x="3635152" y="4126843"/>
            <a:ext cx="1331523"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1pPr>
            <a:lvl2pPr marL="742950" indent="-28575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2pPr>
            <a:lvl3pPr marL="11430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3pPr>
            <a:lvl4pPr marL="16002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4pPr>
            <a:lvl5pPr marL="20574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5pPr>
            <a:lvl6pPr marL="25146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6pPr>
            <a:lvl7pPr marL="29718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7pPr>
            <a:lvl8pPr marL="34290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8pPr>
            <a:lvl9pPr marL="38862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000" b="1" i="0" u="none" strike="noStrike" kern="1200" cap="none" spc="0" normalizeH="0" baseline="0" noProof="0" dirty="0">
                <a:ln>
                  <a:noFill/>
                </a:ln>
                <a:solidFill>
                  <a:schemeClr val="accent1"/>
                </a:solidFill>
                <a:effectLst/>
                <a:uLnTx/>
                <a:uFillTx/>
                <a:latin typeface="Arial"/>
                <a:ea typeface="+mn-ea"/>
                <a:cs typeface="+mn-ea"/>
                <a:sym typeface="+mn-lt"/>
              </a:rPr>
              <a:t>Information text</a:t>
            </a:r>
          </a:p>
        </p:txBody>
      </p:sp>
      <p:sp>
        <p:nvSpPr>
          <p:cNvPr id="144" name="TextBox 46">
            <a:extLst>
              <a:ext uri="{FF2B5EF4-FFF2-40B4-BE49-F238E27FC236}">
                <a16:creationId xmlns:a16="http://schemas.microsoft.com/office/drawing/2014/main" id="{DF535D31-9EC2-4519-B449-7BFC52CE12BA}"/>
              </a:ext>
            </a:extLst>
          </p:cNvPr>
          <p:cNvSpPr txBox="1">
            <a:spLocks noChangeArrowheads="1"/>
          </p:cNvSpPr>
          <p:nvPr/>
        </p:nvSpPr>
        <p:spPr bwMode="auto">
          <a:xfrm flipH="1">
            <a:off x="1064211" y="3725862"/>
            <a:ext cx="1331523"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1pPr>
            <a:lvl2pPr marL="742950" indent="-28575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2pPr>
            <a:lvl3pPr marL="11430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3pPr>
            <a:lvl4pPr marL="16002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4pPr>
            <a:lvl5pPr marL="20574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5pPr>
            <a:lvl6pPr marL="25146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6pPr>
            <a:lvl7pPr marL="29718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7pPr>
            <a:lvl8pPr marL="34290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8pPr>
            <a:lvl9pPr marL="38862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000" b="1" i="0" u="none" strike="noStrike" kern="1200" cap="none" spc="0" normalizeH="0" baseline="0" noProof="0" dirty="0">
                <a:ln>
                  <a:noFill/>
                </a:ln>
                <a:solidFill>
                  <a:schemeClr val="accent1"/>
                </a:solidFill>
                <a:effectLst/>
                <a:uLnTx/>
                <a:uFillTx/>
                <a:latin typeface="Arial"/>
                <a:ea typeface="+mn-ea"/>
                <a:cs typeface="+mn-ea"/>
                <a:sym typeface="+mn-lt"/>
              </a:rPr>
              <a:t>Information text</a:t>
            </a:r>
          </a:p>
        </p:txBody>
      </p:sp>
      <p:sp>
        <p:nvSpPr>
          <p:cNvPr id="145" name="TextBox 46">
            <a:extLst>
              <a:ext uri="{FF2B5EF4-FFF2-40B4-BE49-F238E27FC236}">
                <a16:creationId xmlns:a16="http://schemas.microsoft.com/office/drawing/2014/main" id="{377B5190-EBBD-49CA-819A-D80A0C9E2916}"/>
              </a:ext>
            </a:extLst>
          </p:cNvPr>
          <p:cNvSpPr txBox="1">
            <a:spLocks noChangeArrowheads="1"/>
          </p:cNvSpPr>
          <p:nvPr/>
        </p:nvSpPr>
        <p:spPr bwMode="auto">
          <a:xfrm flipH="1">
            <a:off x="956718" y="4003673"/>
            <a:ext cx="1331523"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1pPr>
            <a:lvl2pPr marL="742950" indent="-28575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2pPr>
            <a:lvl3pPr marL="11430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3pPr>
            <a:lvl4pPr marL="16002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4pPr>
            <a:lvl5pPr marL="2057400" indent="-228600">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5pPr>
            <a:lvl6pPr marL="25146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6pPr>
            <a:lvl7pPr marL="29718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7pPr>
            <a:lvl8pPr marL="34290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8pPr>
            <a:lvl9pPr marL="3886200" indent="-228600" defTabSz="825500" eaLnBrk="0" fontAlgn="base" hangingPunct="0">
              <a:spcBef>
                <a:spcPct val="0"/>
              </a:spcBef>
              <a:spcAft>
                <a:spcPct val="0"/>
              </a:spcAft>
              <a:defRPr sz="3000" b="1">
                <a:solidFill>
                  <a:srgbClr val="000000"/>
                </a:solidFill>
                <a:latin typeface="Helvetica Neue" panose="02000503000000020004" pitchFamily="2" charset="0"/>
                <a:ea typeface="Helvetica Neue" panose="02000503000000020004" pitchFamily="2" charset="0"/>
                <a:cs typeface="Helvetica Neue" panose="02000503000000020004" pitchFamily="2" charset="0"/>
                <a:sym typeface="Helvetica Neue" panose="02000503000000020004" pitchFamily="2"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000" b="1" i="0" u="none" strike="noStrike" kern="1200" cap="none" spc="0" normalizeH="0" baseline="0" noProof="0" dirty="0">
                <a:ln>
                  <a:noFill/>
                </a:ln>
                <a:solidFill>
                  <a:schemeClr val="accent1"/>
                </a:solidFill>
                <a:effectLst/>
                <a:uLnTx/>
                <a:uFillTx/>
                <a:latin typeface="Arial"/>
                <a:ea typeface="+mn-ea"/>
                <a:cs typeface="+mn-ea"/>
                <a:sym typeface="+mn-lt"/>
              </a:rPr>
              <a:t>Information text</a:t>
            </a:r>
          </a:p>
        </p:txBody>
      </p:sp>
    </p:spTree>
    <p:extLst>
      <p:ext uri="{BB962C8B-B14F-4D97-AF65-F5344CB8AC3E}">
        <p14:creationId xmlns:p14="http://schemas.microsoft.com/office/powerpoint/2010/main" val="2430240560"/>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7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1" name="Google Shape;55;p15">
            <a:extLst>
              <a:ext uri="{FF2B5EF4-FFF2-40B4-BE49-F238E27FC236}">
                <a16:creationId xmlns:a16="http://schemas.microsoft.com/office/drawing/2014/main" id="{E26F9542-1937-4E52-B087-5B1600AE0A98}"/>
              </a:ext>
            </a:extLst>
          </p:cNvPr>
          <p:cNvGrpSpPr/>
          <p:nvPr/>
        </p:nvGrpSpPr>
        <p:grpSpPr>
          <a:xfrm>
            <a:off x="1111100" y="1728683"/>
            <a:ext cx="9969800" cy="3484067"/>
            <a:chOff x="833325" y="1612325"/>
            <a:chExt cx="7477350" cy="2613050"/>
          </a:xfrm>
        </p:grpSpPr>
        <p:sp>
          <p:nvSpPr>
            <p:cNvPr id="72" name="Google Shape;56;p15">
              <a:extLst>
                <a:ext uri="{FF2B5EF4-FFF2-40B4-BE49-F238E27FC236}">
                  <a16:creationId xmlns:a16="http://schemas.microsoft.com/office/drawing/2014/main" id="{1871DCA6-07B6-4361-A7A1-35036312C05B}"/>
                </a:ext>
              </a:extLst>
            </p:cNvPr>
            <p:cNvSpPr/>
            <p:nvPr/>
          </p:nvSpPr>
          <p:spPr>
            <a:xfrm>
              <a:off x="1561450" y="2888250"/>
              <a:ext cx="5667937" cy="89625"/>
            </a:xfrm>
            <a:custGeom>
              <a:avLst/>
              <a:gdLst/>
              <a:ahLst/>
              <a:cxnLst/>
              <a:rect l="l" t="t" r="r" b="b"/>
              <a:pathLst>
                <a:path w="177428" h="3585" extrusionOk="0">
                  <a:moveTo>
                    <a:pt x="0" y="1"/>
                  </a:moveTo>
                  <a:lnTo>
                    <a:pt x="0" y="3584"/>
                  </a:lnTo>
                  <a:lnTo>
                    <a:pt x="177427" y="3584"/>
                  </a:lnTo>
                  <a:lnTo>
                    <a:pt x="177427" y="1"/>
                  </a:lnTo>
                  <a:close/>
                </a:path>
              </a:pathLst>
            </a:custGeom>
            <a:solidFill>
              <a:srgbClr val="DDE7EC"/>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cs typeface="+mn-ea"/>
                <a:sym typeface="+mn-lt"/>
              </a:endParaRPr>
            </a:p>
          </p:txBody>
        </p:sp>
        <p:sp>
          <p:nvSpPr>
            <p:cNvPr id="73" name="Google Shape;57;p15">
              <a:extLst>
                <a:ext uri="{FF2B5EF4-FFF2-40B4-BE49-F238E27FC236}">
                  <a16:creationId xmlns:a16="http://schemas.microsoft.com/office/drawing/2014/main" id="{B2E413F1-E3B3-45EC-AA66-95310571BE8D}"/>
                </a:ext>
              </a:extLst>
            </p:cNvPr>
            <p:cNvSpPr/>
            <p:nvPr/>
          </p:nvSpPr>
          <p:spPr>
            <a:xfrm>
              <a:off x="6661950" y="1673625"/>
              <a:ext cx="1648725" cy="2551750"/>
            </a:xfrm>
            <a:custGeom>
              <a:avLst/>
              <a:gdLst/>
              <a:ahLst/>
              <a:cxnLst/>
              <a:rect l="l" t="t" r="r" b="b"/>
              <a:pathLst>
                <a:path w="65949" h="102070" extrusionOk="0">
                  <a:moveTo>
                    <a:pt x="9642" y="1"/>
                  </a:moveTo>
                  <a:cubicBezTo>
                    <a:pt x="4702" y="1"/>
                    <a:pt x="0" y="3861"/>
                    <a:pt x="0" y="9600"/>
                  </a:cubicBezTo>
                  <a:lnTo>
                    <a:pt x="0" y="22720"/>
                  </a:lnTo>
                  <a:cubicBezTo>
                    <a:pt x="0" y="26518"/>
                    <a:pt x="1608" y="30150"/>
                    <a:pt x="4429" y="32710"/>
                  </a:cubicBezTo>
                  <a:lnTo>
                    <a:pt x="16824" y="43937"/>
                  </a:lnTo>
                  <a:cubicBezTo>
                    <a:pt x="21027" y="47735"/>
                    <a:pt x="21027" y="54331"/>
                    <a:pt x="16824" y="58141"/>
                  </a:cubicBezTo>
                  <a:lnTo>
                    <a:pt x="4429" y="69369"/>
                  </a:lnTo>
                  <a:cubicBezTo>
                    <a:pt x="1608" y="71917"/>
                    <a:pt x="0" y="75548"/>
                    <a:pt x="0" y="79358"/>
                  </a:cubicBezTo>
                  <a:lnTo>
                    <a:pt x="0" y="92467"/>
                  </a:lnTo>
                  <a:cubicBezTo>
                    <a:pt x="0" y="98209"/>
                    <a:pt x="4706" y="102070"/>
                    <a:pt x="9650" y="102070"/>
                  </a:cubicBezTo>
                  <a:cubicBezTo>
                    <a:pt x="11861" y="102070"/>
                    <a:pt x="14120" y="101297"/>
                    <a:pt x="16026" y="99575"/>
                  </a:cubicBezTo>
                  <a:lnTo>
                    <a:pt x="61746" y="58141"/>
                  </a:lnTo>
                  <a:cubicBezTo>
                    <a:pt x="65949" y="54331"/>
                    <a:pt x="65949" y="47735"/>
                    <a:pt x="61746" y="43937"/>
                  </a:cubicBezTo>
                  <a:lnTo>
                    <a:pt x="16026" y="2504"/>
                  </a:lnTo>
                  <a:cubicBezTo>
                    <a:pt x="14118" y="776"/>
                    <a:pt x="11856" y="1"/>
                    <a:pt x="9642" y="1"/>
                  </a:cubicBezTo>
                  <a:close/>
                </a:path>
              </a:pathLst>
            </a:custGeom>
            <a:solidFill>
              <a:srgbClr val="DDE7EC"/>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cs typeface="+mn-ea"/>
                <a:sym typeface="+mn-lt"/>
              </a:endParaRPr>
            </a:p>
          </p:txBody>
        </p:sp>
        <p:sp>
          <p:nvSpPr>
            <p:cNvPr id="74" name="Google Shape;58;p15">
              <a:extLst>
                <a:ext uri="{FF2B5EF4-FFF2-40B4-BE49-F238E27FC236}">
                  <a16:creationId xmlns:a16="http://schemas.microsoft.com/office/drawing/2014/main" id="{E90339D3-E12B-4204-95BE-177A818E5965}"/>
                </a:ext>
              </a:extLst>
            </p:cNvPr>
            <p:cNvSpPr/>
            <p:nvPr/>
          </p:nvSpPr>
          <p:spPr>
            <a:xfrm>
              <a:off x="833325" y="2320800"/>
              <a:ext cx="853125" cy="1257375"/>
            </a:xfrm>
            <a:custGeom>
              <a:avLst/>
              <a:gdLst/>
              <a:ahLst/>
              <a:cxnLst/>
              <a:rect l="l" t="t" r="r" b="b"/>
              <a:pathLst>
                <a:path w="34125" h="50295" extrusionOk="0">
                  <a:moveTo>
                    <a:pt x="3393" y="0"/>
                  </a:moveTo>
                  <a:cubicBezTo>
                    <a:pt x="1649" y="0"/>
                    <a:pt x="1" y="1371"/>
                    <a:pt x="1" y="3370"/>
                  </a:cubicBezTo>
                  <a:lnTo>
                    <a:pt x="1" y="12014"/>
                  </a:lnTo>
                  <a:cubicBezTo>
                    <a:pt x="1" y="13026"/>
                    <a:pt x="465" y="13990"/>
                    <a:pt x="1251" y="14633"/>
                  </a:cubicBezTo>
                  <a:lnTo>
                    <a:pt x="11038" y="22527"/>
                  </a:lnTo>
                  <a:cubicBezTo>
                    <a:pt x="12705" y="23872"/>
                    <a:pt x="12705" y="26420"/>
                    <a:pt x="11038" y="27766"/>
                  </a:cubicBezTo>
                  <a:lnTo>
                    <a:pt x="1251" y="35671"/>
                  </a:lnTo>
                  <a:cubicBezTo>
                    <a:pt x="465" y="36302"/>
                    <a:pt x="1" y="37267"/>
                    <a:pt x="1" y="38291"/>
                  </a:cubicBezTo>
                  <a:lnTo>
                    <a:pt x="1" y="46923"/>
                  </a:lnTo>
                  <a:cubicBezTo>
                    <a:pt x="1" y="48928"/>
                    <a:pt x="1646" y="50295"/>
                    <a:pt x="3388" y="50295"/>
                  </a:cubicBezTo>
                  <a:cubicBezTo>
                    <a:pt x="4108" y="50295"/>
                    <a:pt x="4845" y="50061"/>
                    <a:pt x="5490" y="49542"/>
                  </a:cubicBezTo>
                  <a:lnTo>
                    <a:pt x="32457" y="27766"/>
                  </a:lnTo>
                  <a:cubicBezTo>
                    <a:pt x="34124" y="26420"/>
                    <a:pt x="34124" y="23872"/>
                    <a:pt x="32457" y="22527"/>
                  </a:cubicBezTo>
                  <a:lnTo>
                    <a:pt x="5490" y="750"/>
                  </a:lnTo>
                  <a:cubicBezTo>
                    <a:pt x="4847" y="233"/>
                    <a:pt x="4112" y="0"/>
                    <a:pt x="3393" y="0"/>
                  </a:cubicBezTo>
                  <a:close/>
                </a:path>
              </a:pathLst>
            </a:custGeom>
            <a:solidFill>
              <a:srgbClr val="DDE7EC"/>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cs typeface="+mn-ea"/>
                <a:sym typeface="+mn-lt"/>
              </a:endParaRPr>
            </a:p>
          </p:txBody>
        </p:sp>
        <p:sp>
          <p:nvSpPr>
            <p:cNvPr id="75" name="Google Shape;59;p15">
              <a:extLst>
                <a:ext uri="{FF2B5EF4-FFF2-40B4-BE49-F238E27FC236}">
                  <a16:creationId xmlns:a16="http://schemas.microsoft.com/office/drawing/2014/main" id="{A9998D9F-BCCC-4B99-8791-25A82D0143BF}"/>
                </a:ext>
              </a:extLst>
            </p:cNvPr>
            <p:cNvSpPr/>
            <p:nvPr/>
          </p:nvSpPr>
          <p:spPr>
            <a:xfrm>
              <a:off x="1561450" y="2843475"/>
              <a:ext cx="5667937" cy="89625"/>
            </a:xfrm>
            <a:custGeom>
              <a:avLst/>
              <a:gdLst/>
              <a:ahLst/>
              <a:cxnLst/>
              <a:rect l="l" t="t" r="r" b="b"/>
              <a:pathLst>
                <a:path w="177428" h="3585" extrusionOk="0">
                  <a:moveTo>
                    <a:pt x="0" y="1"/>
                  </a:moveTo>
                  <a:lnTo>
                    <a:pt x="0" y="3584"/>
                  </a:lnTo>
                  <a:lnTo>
                    <a:pt x="177427" y="3584"/>
                  </a:lnTo>
                  <a:lnTo>
                    <a:pt x="177427" y="1"/>
                  </a:lnTo>
                  <a:close/>
                </a:path>
              </a:pathLst>
            </a:custGeom>
            <a:solidFill>
              <a:schemeClr val="accent1">
                <a:lumMod val="100000"/>
              </a:schemeClr>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cs typeface="+mn-ea"/>
                <a:sym typeface="+mn-lt"/>
              </a:endParaRPr>
            </a:p>
          </p:txBody>
        </p:sp>
        <p:sp>
          <p:nvSpPr>
            <p:cNvPr id="76" name="Google Shape;60;p15">
              <a:extLst>
                <a:ext uri="{FF2B5EF4-FFF2-40B4-BE49-F238E27FC236}">
                  <a16:creationId xmlns:a16="http://schemas.microsoft.com/office/drawing/2014/main" id="{9F4846CA-FE14-4F88-AE70-A1CF559E5C30}"/>
                </a:ext>
              </a:extLst>
            </p:cNvPr>
            <p:cNvSpPr/>
            <p:nvPr/>
          </p:nvSpPr>
          <p:spPr>
            <a:xfrm>
              <a:off x="6661950" y="1612325"/>
              <a:ext cx="1648725" cy="2551925"/>
            </a:xfrm>
            <a:custGeom>
              <a:avLst/>
              <a:gdLst/>
              <a:ahLst/>
              <a:cxnLst/>
              <a:rect l="l" t="t" r="r" b="b"/>
              <a:pathLst>
                <a:path w="65949" h="102077" extrusionOk="0">
                  <a:moveTo>
                    <a:pt x="9642" y="0"/>
                  </a:moveTo>
                  <a:cubicBezTo>
                    <a:pt x="4702" y="0"/>
                    <a:pt x="0" y="3860"/>
                    <a:pt x="0" y="9599"/>
                  </a:cubicBezTo>
                  <a:lnTo>
                    <a:pt x="0" y="22720"/>
                  </a:lnTo>
                  <a:cubicBezTo>
                    <a:pt x="0" y="26530"/>
                    <a:pt x="1608" y="30149"/>
                    <a:pt x="4429" y="32709"/>
                  </a:cubicBezTo>
                  <a:lnTo>
                    <a:pt x="16824" y="43936"/>
                  </a:lnTo>
                  <a:cubicBezTo>
                    <a:pt x="21027" y="47735"/>
                    <a:pt x="21027" y="54331"/>
                    <a:pt x="16824" y="58141"/>
                  </a:cubicBezTo>
                  <a:lnTo>
                    <a:pt x="4429" y="69368"/>
                  </a:lnTo>
                  <a:cubicBezTo>
                    <a:pt x="1608" y="71928"/>
                    <a:pt x="0" y="75548"/>
                    <a:pt x="0" y="79358"/>
                  </a:cubicBezTo>
                  <a:lnTo>
                    <a:pt x="0" y="92466"/>
                  </a:lnTo>
                  <a:cubicBezTo>
                    <a:pt x="0" y="98214"/>
                    <a:pt x="4703" y="102077"/>
                    <a:pt x="9644" y="102077"/>
                  </a:cubicBezTo>
                  <a:cubicBezTo>
                    <a:pt x="11857" y="102077"/>
                    <a:pt x="14118" y="101302"/>
                    <a:pt x="16026" y="99574"/>
                  </a:cubicBezTo>
                  <a:lnTo>
                    <a:pt x="61746" y="58141"/>
                  </a:lnTo>
                  <a:cubicBezTo>
                    <a:pt x="65949" y="54331"/>
                    <a:pt x="65949" y="47735"/>
                    <a:pt x="61746" y="43936"/>
                  </a:cubicBezTo>
                  <a:lnTo>
                    <a:pt x="16026" y="2503"/>
                  </a:lnTo>
                  <a:cubicBezTo>
                    <a:pt x="14118" y="775"/>
                    <a:pt x="11856" y="0"/>
                    <a:pt x="9642" y="0"/>
                  </a:cubicBezTo>
                  <a:close/>
                </a:path>
              </a:pathLst>
            </a:custGeom>
            <a:solidFill>
              <a:schemeClr val="accent1"/>
            </a:solidFill>
            <a:ln>
              <a:noFill/>
            </a:ln>
          </p:spPr>
          <p:txBody>
            <a:bodyPr spcFirstLastPara="1" wrap="square" lIns="121900" tIns="121900" rIns="365733" bIns="121900" anchor="ctr"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1100"/>
                <a:buFontTx/>
                <a:buNone/>
                <a:tabLst/>
                <a:defRPr/>
              </a:pPr>
              <a:r>
                <a:rPr kumimoji="0" lang="en" sz="2267" b="0" i="0" u="none" strike="noStrike" kern="1200" cap="none" spc="0" normalizeH="0" baseline="0" noProof="0">
                  <a:ln>
                    <a:noFill/>
                  </a:ln>
                  <a:solidFill>
                    <a:srgbClr val="FFFFFF"/>
                  </a:solidFill>
                  <a:effectLst/>
                  <a:uLnTx/>
                  <a:uFillTx/>
                  <a:latin typeface="Arial"/>
                  <a:cs typeface="+mn-ea"/>
                  <a:sym typeface="+mn-lt"/>
                </a:rPr>
                <a:t>Neptune</a:t>
              </a:r>
              <a:endParaRPr kumimoji="0" sz="2489" b="0" i="0" u="none" strike="noStrike" kern="1200" cap="none" spc="0" normalizeH="0" baseline="0" noProof="0">
                <a:ln>
                  <a:noFill/>
                </a:ln>
                <a:solidFill>
                  <a:srgbClr val="FFFFFF"/>
                </a:solidFill>
                <a:effectLst/>
                <a:uLnTx/>
                <a:uFillTx/>
                <a:latin typeface="Arial"/>
                <a:cs typeface="+mn-ea"/>
                <a:sym typeface="+mn-lt"/>
              </a:endParaRPr>
            </a:p>
          </p:txBody>
        </p:sp>
        <p:sp>
          <p:nvSpPr>
            <p:cNvPr id="77" name="Google Shape;61;p15">
              <a:extLst>
                <a:ext uri="{FF2B5EF4-FFF2-40B4-BE49-F238E27FC236}">
                  <a16:creationId xmlns:a16="http://schemas.microsoft.com/office/drawing/2014/main" id="{BAB5E2FA-CE60-4F15-B1F5-49B27F00E6F5}"/>
                </a:ext>
              </a:extLst>
            </p:cNvPr>
            <p:cNvSpPr/>
            <p:nvPr/>
          </p:nvSpPr>
          <p:spPr>
            <a:xfrm>
              <a:off x="833325" y="2259575"/>
              <a:ext cx="853125" cy="1257425"/>
            </a:xfrm>
            <a:custGeom>
              <a:avLst/>
              <a:gdLst/>
              <a:ahLst/>
              <a:cxnLst/>
              <a:rect l="l" t="t" r="r" b="b"/>
              <a:pathLst>
                <a:path w="34125" h="50297" extrusionOk="0">
                  <a:moveTo>
                    <a:pt x="3387" y="1"/>
                  </a:moveTo>
                  <a:cubicBezTo>
                    <a:pt x="1645" y="1"/>
                    <a:pt x="1" y="1374"/>
                    <a:pt x="1" y="3378"/>
                  </a:cubicBezTo>
                  <a:lnTo>
                    <a:pt x="1" y="12010"/>
                  </a:lnTo>
                  <a:cubicBezTo>
                    <a:pt x="1" y="13022"/>
                    <a:pt x="465" y="13986"/>
                    <a:pt x="1251" y="14629"/>
                  </a:cubicBezTo>
                  <a:lnTo>
                    <a:pt x="11038" y="22523"/>
                  </a:lnTo>
                  <a:cubicBezTo>
                    <a:pt x="12705" y="23881"/>
                    <a:pt x="12705" y="26417"/>
                    <a:pt x="11038" y="27762"/>
                  </a:cubicBezTo>
                  <a:lnTo>
                    <a:pt x="1251" y="35668"/>
                  </a:lnTo>
                  <a:cubicBezTo>
                    <a:pt x="465" y="36311"/>
                    <a:pt x="1" y="37275"/>
                    <a:pt x="1" y="38287"/>
                  </a:cubicBezTo>
                  <a:lnTo>
                    <a:pt x="1" y="46919"/>
                  </a:lnTo>
                  <a:cubicBezTo>
                    <a:pt x="1" y="48923"/>
                    <a:pt x="1645" y="50296"/>
                    <a:pt x="3387" y="50296"/>
                  </a:cubicBezTo>
                  <a:cubicBezTo>
                    <a:pt x="4107" y="50296"/>
                    <a:pt x="4845" y="50061"/>
                    <a:pt x="5490" y="49538"/>
                  </a:cubicBezTo>
                  <a:lnTo>
                    <a:pt x="32457" y="27762"/>
                  </a:lnTo>
                  <a:cubicBezTo>
                    <a:pt x="34124" y="26417"/>
                    <a:pt x="34124" y="23881"/>
                    <a:pt x="32457" y="22523"/>
                  </a:cubicBezTo>
                  <a:lnTo>
                    <a:pt x="5490" y="759"/>
                  </a:lnTo>
                  <a:cubicBezTo>
                    <a:pt x="4845" y="236"/>
                    <a:pt x="4107" y="1"/>
                    <a:pt x="3387" y="1"/>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cs typeface="+mn-ea"/>
                <a:sym typeface="+mn-lt"/>
              </a:endParaRPr>
            </a:p>
          </p:txBody>
        </p:sp>
        <p:sp>
          <p:nvSpPr>
            <p:cNvPr id="78" name="Google Shape;62;p15">
              <a:extLst>
                <a:ext uri="{FF2B5EF4-FFF2-40B4-BE49-F238E27FC236}">
                  <a16:creationId xmlns:a16="http://schemas.microsoft.com/office/drawing/2014/main" id="{C6B02F3C-8244-45F4-B133-4CEDA74082A1}"/>
                </a:ext>
              </a:extLst>
            </p:cNvPr>
            <p:cNvSpPr/>
            <p:nvPr/>
          </p:nvSpPr>
          <p:spPr>
            <a:xfrm>
              <a:off x="7245050" y="2246675"/>
              <a:ext cx="233375" cy="233400"/>
            </a:xfrm>
            <a:custGeom>
              <a:avLst/>
              <a:gdLst/>
              <a:ahLst/>
              <a:cxnLst/>
              <a:rect l="l" t="t" r="r" b="b"/>
              <a:pathLst>
                <a:path w="9335" h="9336" extrusionOk="0">
                  <a:moveTo>
                    <a:pt x="4668" y="1"/>
                  </a:moveTo>
                  <a:cubicBezTo>
                    <a:pt x="2084" y="1"/>
                    <a:pt x="1" y="2096"/>
                    <a:pt x="1" y="4668"/>
                  </a:cubicBezTo>
                  <a:cubicBezTo>
                    <a:pt x="1" y="7252"/>
                    <a:pt x="2084" y="9335"/>
                    <a:pt x="4668" y="9335"/>
                  </a:cubicBezTo>
                  <a:cubicBezTo>
                    <a:pt x="7240" y="9335"/>
                    <a:pt x="9335" y="7252"/>
                    <a:pt x="9335" y="4668"/>
                  </a:cubicBezTo>
                  <a:cubicBezTo>
                    <a:pt x="9335" y="2096"/>
                    <a:pt x="7240" y="1"/>
                    <a:pt x="4668" y="1"/>
                  </a:cubicBezTo>
                  <a:close/>
                </a:path>
              </a:pathLst>
            </a:custGeom>
            <a:solidFill>
              <a:srgbClr val="FFFFFF"/>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cs typeface="+mn-ea"/>
                <a:sym typeface="+mn-lt"/>
              </a:endParaRPr>
            </a:p>
          </p:txBody>
        </p:sp>
        <p:sp>
          <p:nvSpPr>
            <p:cNvPr id="79" name="Google Shape;63;p15">
              <a:extLst>
                <a:ext uri="{FF2B5EF4-FFF2-40B4-BE49-F238E27FC236}">
                  <a16:creationId xmlns:a16="http://schemas.microsoft.com/office/drawing/2014/main" id="{1A578B7A-5F63-4D0F-8C4A-A87B6E3870D6}"/>
                </a:ext>
              </a:extLst>
            </p:cNvPr>
            <p:cNvSpPr/>
            <p:nvPr/>
          </p:nvSpPr>
          <p:spPr>
            <a:xfrm>
              <a:off x="7245050" y="2246675"/>
              <a:ext cx="233375" cy="135750"/>
            </a:xfrm>
            <a:custGeom>
              <a:avLst/>
              <a:gdLst/>
              <a:ahLst/>
              <a:cxnLst/>
              <a:rect l="l" t="t" r="r" b="b"/>
              <a:pathLst>
                <a:path w="9335" h="5430" extrusionOk="0">
                  <a:moveTo>
                    <a:pt x="4668" y="1"/>
                  </a:moveTo>
                  <a:cubicBezTo>
                    <a:pt x="2084" y="1"/>
                    <a:pt x="1" y="2096"/>
                    <a:pt x="1" y="4668"/>
                  </a:cubicBezTo>
                  <a:cubicBezTo>
                    <a:pt x="1" y="4930"/>
                    <a:pt x="24" y="5192"/>
                    <a:pt x="60" y="5430"/>
                  </a:cubicBezTo>
                  <a:cubicBezTo>
                    <a:pt x="429" y="3215"/>
                    <a:pt x="2346" y="1525"/>
                    <a:pt x="4668" y="1525"/>
                  </a:cubicBezTo>
                  <a:cubicBezTo>
                    <a:pt x="6990" y="1525"/>
                    <a:pt x="8906" y="3215"/>
                    <a:pt x="9264" y="5430"/>
                  </a:cubicBezTo>
                  <a:cubicBezTo>
                    <a:pt x="9311" y="5180"/>
                    <a:pt x="9335" y="4930"/>
                    <a:pt x="9335" y="4668"/>
                  </a:cubicBezTo>
                  <a:cubicBezTo>
                    <a:pt x="9335" y="2096"/>
                    <a:pt x="7240" y="1"/>
                    <a:pt x="4668" y="1"/>
                  </a:cubicBezTo>
                  <a:close/>
                </a:path>
              </a:pathLst>
            </a:custGeom>
            <a:solidFill>
              <a:srgbClr val="DDE7EC"/>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cs typeface="+mn-ea"/>
                <a:sym typeface="+mn-lt"/>
              </a:endParaRPr>
            </a:p>
          </p:txBody>
        </p:sp>
      </p:grpSp>
      <p:grpSp>
        <p:nvGrpSpPr>
          <p:cNvPr id="80" name="Google Shape;65;p15">
            <a:extLst>
              <a:ext uri="{FF2B5EF4-FFF2-40B4-BE49-F238E27FC236}">
                <a16:creationId xmlns:a16="http://schemas.microsoft.com/office/drawing/2014/main" id="{27DB0059-D0EF-4BD6-8B4E-B3DA793FDE77}"/>
              </a:ext>
            </a:extLst>
          </p:cNvPr>
          <p:cNvGrpSpPr/>
          <p:nvPr/>
        </p:nvGrpSpPr>
        <p:grpSpPr>
          <a:xfrm>
            <a:off x="6539567" y="1136617"/>
            <a:ext cx="2076900" cy="2293340"/>
            <a:chOff x="4904675" y="1168275"/>
            <a:chExt cx="1557675" cy="1720005"/>
          </a:xfrm>
        </p:grpSpPr>
        <p:sp>
          <p:nvSpPr>
            <p:cNvPr id="81" name="Google Shape;66;p15">
              <a:extLst>
                <a:ext uri="{FF2B5EF4-FFF2-40B4-BE49-F238E27FC236}">
                  <a16:creationId xmlns:a16="http://schemas.microsoft.com/office/drawing/2014/main" id="{F208DDD8-4F47-403A-8497-90503443393C}"/>
                </a:ext>
              </a:extLst>
            </p:cNvPr>
            <p:cNvSpPr/>
            <p:nvPr/>
          </p:nvSpPr>
          <p:spPr>
            <a:xfrm>
              <a:off x="4904675" y="1701588"/>
              <a:ext cx="1557675" cy="1186693"/>
            </a:xfrm>
            <a:custGeom>
              <a:avLst/>
              <a:gdLst/>
              <a:ahLst/>
              <a:cxnLst/>
              <a:rect l="l" t="t" r="r" b="b"/>
              <a:pathLst>
                <a:path w="62307" h="44959" extrusionOk="0">
                  <a:moveTo>
                    <a:pt x="2454" y="1"/>
                  </a:moveTo>
                  <a:cubicBezTo>
                    <a:pt x="941" y="1"/>
                    <a:pt x="1" y="2430"/>
                    <a:pt x="739" y="4406"/>
                  </a:cubicBezTo>
                  <a:lnTo>
                    <a:pt x="15884" y="44959"/>
                  </a:lnTo>
                  <a:lnTo>
                    <a:pt x="62306" y="44959"/>
                  </a:lnTo>
                  <a:lnTo>
                    <a:pt x="46066" y="1513"/>
                  </a:lnTo>
                  <a:cubicBezTo>
                    <a:pt x="45721" y="584"/>
                    <a:pt x="45066" y="1"/>
                    <a:pt x="44352" y="1"/>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cs typeface="+mn-ea"/>
                <a:sym typeface="+mn-lt"/>
              </a:endParaRPr>
            </a:p>
          </p:txBody>
        </p:sp>
        <p:sp>
          <p:nvSpPr>
            <p:cNvPr id="82" name="Google Shape;67;p15">
              <a:extLst>
                <a:ext uri="{FF2B5EF4-FFF2-40B4-BE49-F238E27FC236}">
                  <a16:creationId xmlns:a16="http://schemas.microsoft.com/office/drawing/2014/main" id="{CCC24A26-2BC1-49C9-9D81-66A7FD161703}"/>
                </a:ext>
              </a:extLst>
            </p:cNvPr>
            <p:cNvSpPr/>
            <p:nvPr/>
          </p:nvSpPr>
          <p:spPr>
            <a:xfrm>
              <a:off x="5326825" y="1201600"/>
              <a:ext cx="349175" cy="349175"/>
            </a:xfrm>
            <a:custGeom>
              <a:avLst/>
              <a:gdLst/>
              <a:ahLst/>
              <a:cxnLst/>
              <a:rect l="l" t="t" r="r" b="b"/>
              <a:pathLst>
                <a:path w="13967" h="13967" extrusionOk="0">
                  <a:moveTo>
                    <a:pt x="6990" y="1"/>
                  </a:moveTo>
                  <a:cubicBezTo>
                    <a:pt x="3132" y="1"/>
                    <a:pt x="1" y="3120"/>
                    <a:pt x="1" y="6978"/>
                  </a:cubicBezTo>
                  <a:cubicBezTo>
                    <a:pt x="1" y="10835"/>
                    <a:pt x="3132" y="13967"/>
                    <a:pt x="6990" y="13967"/>
                  </a:cubicBezTo>
                  <a:cubicBezTo>
                    <a:pt x="10847" y="13967"/>
                    <a:pt x="13967" y="10835"/>
                    <a:pt x="13967" y="6978"/>
                  </a:cubicBezTo>
                  <a:cubicBezTo>
                    <a:pt x="13967" y="3120"/>
                    <a:pt x="10847" y="1"/>
                    <a:pt x="6990" y="1"/>
                  </a:cubicBezTo>
                  <a:close/>
                </a:path>
              </a:pathLst>
            </a:custGeom>
            <a:solidFill>
              <a:srgbClr val="DDE7EC"/>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cs typeface="+mn-ea"/>
                <a:sym typeface="+mn-lt"/>
              </a:endParaRPr>
            </a:p>
          </p:txBody>
        </p:sp>
        <p:sp>
          <p:nvSpPr>
            <p:cNvPr id="83" name="Google Shape;68;p15">
              <a:extLst>
                <a:ext uri="{FF2B5EF4-FFF2-40B4-BE49-F238E27FC236}">
                  <a16:creationId xmlns:a16="http://schemas.microsoft.com/office/drawing/2014/main" id="{4FA778EC-B76C-471B-B938-F2EC2696F5F3}"/>
                </a:ext>
              </a:extLst>
            </p:cNvPr>
            <p:cNvSpPr/>
            <p:nvPr/>
          </p:nvSpPr>
          <p:spPr>
            <a:xfrm>
              <a:off x="5326825" y="1168275"/>
              <a:ext cx="349175" cy="349175"/>
            </a:xfrm>
            <a:custGeom>
              <a:avLst/>
              <a:gdLst/>
              <a:ahLst/>
              <a:cxnLst/>
              <a:rect l="l" t="t" r="r" b="b"/>
              <a:pathLst>
                <a:path w="13967" h="13967" extrusionOk="0">
                  <a:moveTo>
                    <a:pt x="6990" y="0"/>
                  </a:moveTo>
                  <a:cubicBezTo>
                    <a:pt x="3132" y="0"/>
                    <a:pt x="1" y="3131"/>
                    <a:pt x="1" y="6989"/>
                  </a:cubicBezTo>
                  <a:cubicBezTo>
                    <a:pt x="1" y="10847"/>
                    <a:pt x="3132" y="13966"/>
                    <a:pt x="6990" y="13966"/>
                  </a:cubicBezTo>
                  <a:cubicBezTo>
                    <a:pt x="10847" y="13966"/>
                    <a:pt x="13967" y="10847"/>
                    <a:pt x="13967" y="6989"/>
                  </a:cubicBezTo>
                  <a:cubicBezTo>
                    <a:pt x="13967" y="3131"/>
                    <a:pt x="10847" y="0"/>
                    <a:pt x="6990" y="0"/>
                  </a:cubicBezTo>
                  <a:close/>
                </a:path>
              </a:pathLst>
            </a:custGeom>
            <a:solidFill>
              <a:schemeClr val="accent1"/>
            </a:solidFill>
            <a:ln>
              <a:noFill/>
            </a:ln>
          </p:spPr>
          <p:txBody>
            <a:bodyPr spcFirstLastPara="1" wrap="square" lIns="0" tIns="121900" rIns="0" bIns="1219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2489" b="0" i="0" u="none" strike="noStrike" kern="1200" cap="none" spc="0" normalizeH="0" baseline="0" noProof="0">
                  <a:ln>
                    <a:noFill/>
                  </a:ln>
                  <a:solidFill>
                    <a:srgbClr val="FFFFFF"/>
                  </a:solidFill>
                  <a:effectLst/>
                  <a:uLnTx/>
                  <a:uFillTx/>
                  <a:latin typeface="Arial"/>
                  <a:cs typeface="+mn-ea"/>
                  <a:sym typeface="+mn-lt"/>
                </a:rPr>
                <a:t>03</a:t>
              </a:r>
              <a:endParaRPr kumimoji="0" sz="2489" b="0" i="0" u="none" strike="noStrike" kern="1200" cap="none" spc="0" normalizeH="0" baseline="0" noProof="0">
                <a:ln>
                  <a:noFill/>
                </a:ln>
                <a:solidFill>
                  <a:srgbClr val="FFFFFF"/>
                </a:solidFill>
                <a:effectLst/>
                <a:uLnTx/>
                <a:uFillTx/>
                <a:latin typeface="Arial"/>
                <a:cs typeface="+mn-ea"/>
                <a:sym typeface="+mn-lt"/>
              </a:endParaRPr>
            </a:p>
          </p:txBody>
        </p:sp>
        <p:sp>
          <p:nvSpPr>
            <p:cNvPr id="84" name="Google Shape;69;p15">
              <a:extLst>
                <a:ext uri="{FF2B5EF4-FFF2-40B4-BE49-F238E27FC236}">
                  <a16:creationId xmlns:a16="http://schemas.microsoft.com/office/drawing/2014/main" id="{9BDF41BA-65BA-46E5-88D2-6F0755C10CBF}"/>
                </a:ext>
              </a:extLst>
            </p:cNvPr>
            <p:cNvSpPr/>
            <p:nvPr/>
          </p:nvSpPr>
          <p:spPr>
            <a:xfrm>
              <a:off x="5957500" y="1869250"/>
              <a:ext cx="61025" cy="61350"/>
            </a:xfrm>
            <a:custGeom>
              <a:avLst/>
              <a:gdLst/>
              <a:ahLst/>
              <a:cxnLst/>
              <a:rect l="l" t="t" r="r" b="b"/>
              <a:pathLst>
                <a:path w="2441" h="2454" extrusionOk="0">
                  <a:moveTo>
                    <a:pt x="1215" y="1"/>
                  </a:moveTo>
                  <a:cubicBezTo>
                    <a:pt x="548" y="1"/>
                    <a:pt x="0" y="548"/>
                    <a:pt x="0" y="1227"/>
                  </a:cubicBezTo>
                  <a:cubicBezTo>
                    <a:pt x="0" y="1906"/>
                    <a:pt x="548" y="2453"/>
                    <a:pt x="1215" y="2453"/>
                  </a:cubicBezTo>
                  <a:cubicBezTo>
                    <a:pt x="1893" y="2453"/>
                    <a:pt x="2441" y="1906"/>
                    <a:pt x="2441" y="1227"/>
                  </a:cubicBezTo>
                  <a:cubicBezTo>
                    <a:pt x="2441" y="548"/>
                    <a:pt x="1893" y="1"/>
                    <a:pt x="1215" y="1"/>
                  </a:cubicBezTo>
                  <a:close/>
                </a:path>
              </a:pathLst>
            </a:custGeom>
            <a:solidFill>
              <a:srgbClr val="FFFFFF"/>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cs typeface="+mn-ea"/>
                <a:sym typeface="+mn-lt"/>
              </a:endParaRPr>
            </a:p>
          </p:txBody>
        </p:sp>
        <p:sp>
          <p:nvSpPr>
            <p:cNvPr id="85" name="Google Shape;70;p15">
              <a:extLst>
                <a:ext uri="{FF2B5EF4-FFF2-40B4-BE49-F238E27FC236}">
                  <a16:creationId xmlns:a16="http://schemas.microsoft.com/office/drawing/2014/main" id="{2809D4F5-E789-4577-885E-9F84E989F2C2}"/>
                </a:ext>
              </a:extLst>
            </p:cNvPr>
            <p:cNvSpPr/>
            <p:nvPr/>
          </p:nvSpPr>
          <p:spPr>
            <a:xfrm>
              <a:off x="6046200" y="2140725"/>
              <a:ext cx="61325" cy="61325"/>
            </a:xfrm>
            <a:custGeom>
              <a:avLst/>
              <a:gdLst/>
              <a:ahLst/>
              <a:cxnLst/>
              <a:rect l="l" t="t" r="r" b="b"/>
              <a:pathLst>
                <a:path w="2453" h="2453" extrusionOk="0">
                  <a:moveTo>
                    <a:pt x="1227" y="0"/>
                  </a:moveTo>
                  <a:cubicBezTo>
                    <a:pt x="548" y="0"/>
                    <a:pt x="0" y="548"/>
                    <a:pt x="0" y="1226"/>
                  </a:cubicBezTo>
                  <a:cubicBezTo>
                    <a:pt x="0" y="1905"/>
                    <a:pt x="548" y="2453"/>
                    <a:pt x="1227" y="2453"/>
                  </a:cubicBezTo>
                  <a:cubicBezTo>
                    <a:pt x="1905" y="2453"/>
                    <a:pt x="2453" y="1905"/>
                    <a:pt x="2453" y="1226"/>
                  </a:cubicBezTo>
                  <a:cubicBezTo>
                    <a:pt x="2453" y="548"/>
                    <a:pt x="1905" y="0"/>
                    <a:pt x="1227" y="0"/>
                  </a:cubicBezTo>
                  <a:close/>
                </a:path>
              </a:pathLst>
            </a:custGeom>
            <a:solidFill>
              <a:srgbClr val="FFFFFF"/>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cs typeface="+mn-ea"/>
                <a:sym typeface="+mn-lt"/>
              </a:endParaRPr>
            </a:p>
          </p:txBody>
        </p:sp>
        <p:sp>
          <p:nvSpPr>
            <p:cNvPr id="86" name="Google Shape;71;p15">
              <a:extLst>
                <a:ext uri="{FF2B5EF4-FFF2-40B4-BE49-F238E27FC236}">
                  <a16:creationId xmlns:a16="http://schemas.microsoft.com/office/drawing/2014/main" id="{5C0DF600-62CB-4476-B656-33B3E6F2C89B}"/>
                </a:ext>
              </a:extLst>
            </p:cNvPr>
            <p:cNvSpPr/>
            <p:nvPr/>
          </p:nvSpPr>
          <p:spPr>
            <a:xfrm>
              <a:off x="6139350" y="2403250"/>
              <a:ext cx="61050" cy="61050"/>
            </a:xfrm>
            <a:custGeom>
              <a:avLst/>
              <a:gdLst/>
              <a:ahLst/>
              <a:cxnLst/>
              <a:rect l="l" t="t" r="r" b="b"/>
              <a:pathLst>
                <a:path w="2442" h="2442" extrusionOk="0">
                  <a:moveTo>
                    <a:pt x="1227" y="0"/>
                  </a:moveTo>
                  <a:cubicBezTo>
                    <a:pt x="549" y="0"/>
                    <a:pt x="1" y="548"/>
                    <a:pt x="1" y="1227"/>
                  </a:cubicBezTo>
                  <a:cubicBezTo>
                    <a:pt x="1" y="1893"/>
                    <a:pt x="549" y="2441"/>
                    <a:pt x="1227" y="2441"/>
                  </a:cubicBezTo>
                  <a:cubicBezTo>
                    <a:pt x="1894" y="2441"/>
                    <a:pt x="2442" y="1893"/>
                    <a:pt x="2442" y="1227"/>
                  </a:cubicBezTo>
                  <a:cubicBezTo>
                    <a:pt x="2442" y="548"/>
                    <a:pt x="1894" y="0"/>
                    <a:pt x="1227" y="0"/>
                  </a:cubicBezTo>
                  <a:close/>
                </a:path>
              </a:pathLst>
            </a:custGeom>
            <a:solidFill>
              <a:srgbClr val="FFFFFF"/>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cs typeface="+mn-ea"/>
                <a:sym typeface="+mn-lt"/>
              </a:endParaRPr>
            </a:p>
          </p:txBody>
        </p:sp>
        <p:sp>
          <p:nvSpPr>
            <p:cNvPr id="87" name="Google Shape;72;p15">
              <a:extLst>
                <a:ext uri="{FF2B5EF4-FFF2-40B4-BE49-F238E27FC236}">
                  <a16:creationId xmlns:a16="http://schemas.microsoft.com/office/drawing/2014/main" id="{D71FBC9B-3CBE-486A-B60D-D7F6ECE81EA7}"/>
                </a:ext>
              </a:extLst>
            </p:cNvPr>
            <p:cNvSpPr/>
            <p:nvPr/>
          </p:nvSpPr>
          <p:spPr>
            <a:xfrm>
              <a:off x="6222400" y="2671125"/>
              <a:ext cx="61050" cy="61350"/>
            </a:xfrm>
            <a:custGeom>
              <a:avLst/>
              <a:gdLst/>
              <a:ahLst/>
              <a:cxnLst/>
              <a:rect l="l" t="t" r="r" b="b"/>
              <a:pathLst>
                <a:path w="2442" h="2454" extrusionOk="0">
                  <a:moveTo>
                    <a:pt x="1215" y="1"/>
                  </a:moveTo>
                  <a:cubicBezTo>
                    <a:pt x="549" y="1"/>
                    <a:pt x="1" y="549"/>
                    <a:pt x="1" y="1227"/>
                  </a:cubicBezTo>
                  <a:cubicBezTo>
                    <a:pt x="1" y="1906"/>
                    <a:pt x="549" y="2454"/>
                    <a:pt x="1215" y="2454"/>
                  </a:cubicBezTo>
                  <a:cubicBezTo>
                    <a:pt x="1894" y="2454"/>
                    <a:pt x="2442" y="1906"/>
                    <a:pt x="2442" y="1227"/>
                  </a:cubicBezTo>
                  <a:cubicBezTo>
                    <a:pt x="2442" y="549"/>
                    <a:pt x="1894" y="1"/>
                    <a:pt x="1215" y="1"/>
                  </a:cubicBezTo>
                  <a:close/>
                </a:path>
              </a:pathLst>
            </a:custGeom>
            <a:solidFill>
              <a:srgbClr val="FFFFFF"/>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cs typeface="+mn-ea"/>
                <a:sym typeface="+mn-lt"/>
              </a:endParaRPr>
            </a:p>
          </p:txBody>
        </p:sp>
        <p:sp>
          <p:nvSpPr>
            <p:cNvPr id="88" name="Google Shape;73;p15">
              <a:extLst>
                <a:ext uri="{FF2B5EF4-FFF2-40B4-BE49-F238E27FC236}">
                  <a16:creationId xmlns:a16="http://schemas.microsoft.com/office/drawing/2014/main" id="{7D99D028-BB5F-4111-9746-B68D9411BD0C}"/>
                </a:ext>
              </a:extLst>
            </p:cNvPr>
            <p:cNvSpPr txBox="1"/>
            <p:nvPr/>
          </p:nvSpPr>
          <p:spPr>
            <a:xfrm>
              <a:off x="5198500" y="1796597"/>
              <a:ext cx="759000" cy="205500"/>
            </a:xfrm>
            <a:prstGeom prst="rect">
              <a:avLst/>
            </a:prstGeom>
            <a:no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 sz="1467" b="0" i="0" u="none" strike="noStrike" kern="1200" cap="none" spc="0" normalizeH="0" baseline="0" noProof="0">
                  <a:ln>
                    <a:noFill/>
                  </a:ln>
                  <a:solidFill>
                    <a:srgbClr val="FFFFFF"/>
                  </a:solidFill>
                  <a:effectLst/>
                  <a:uLnTx/>
                  <a:uFillTx/>
                  <a:latin typeface="Arial"/>
                  <a:cs typeface="+mn-ea"/>
                  <a:sym typeface="+mn-lt"/>
                </a:rPr>
                <a:t>Mercury</a:t>
              </a:r>
              <a:endParaRPr kumimoji="0" sz="1467" b="0" i="0" u="none" strike="noStrike" kern="1200" cap="none" spc="0" normalizeH="0" baseline="0" noProof="0">
                <a:ln>
                  <a:noFill/>
                </a:ln>
                <a:solidFill>
                  <a:srgbClr val="FFFFFF"/>
                </a:solidFill>
                <a:effectLst/>
                <a:uLnTx/>
                <a:uFillTx/>
                <a:latin typeface="Arial"/>
                <a:cs typeface="+mn-ea"/>
                <a:sym typeface="+mn-lt"/>
              </a:endParaRPr>
            </a:p>
          </p:txBody>
        </p:sp>
        <p:sp>
          <p:nvSpPr>
            <p:cNvPr id="89" name="Google Shape;74;p15">
              <a:extLst>
                <a:ext uri="{FF2B5EF4-FFF2-40B4-BE49-F238E27FC236}">
                  <a16:creationId xmlns:a16="http://schemas.microsoft.com/office/drawing/2014/main" id="{55D52367-DC46-468D-BC86-80012A96FC9C}"/>
                </a:ext>
              </a:extLst>
            </p:cNvPr>
            <p:cNvSpPr txBox="1"/>
            <p:nvPr/>
          </p:nvSpPr>
          <p:spPr>
            <a:xfrm>
              <a:off x="5287200" y="2068635"/>
              <a:ext cx="759000" cy="205500"/>
            </a:xfrm>
            <a:prstGeom prst="rect">
              <a:avLst/>
            </a:prstGeom>
            <a:no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 sz="1467" b="0" i="0" u="none" strike="noStrike" kern="1200" cap="none" spc="0" normalizeH="0" baseline="0" noProof="0">
                  <a:ln>
                    <a:noFill/>
                  </a:ln>
                  <a:solidFill>
                    <a:srgbClr val="FFFFFF"/>
                  </a:solidFill>
                  <a:effectLst/>
                  <a:uLnTx/>
                  <a:uFillTx/>
                  <a:latin typeface="Arial"/>
                  <a:cs typeface="+mn-ea"/>
                  <a:sym typeface="+mn-lt"/>
                </a:rPr>
                <a:t>Venus</a:t>
              </a:r>
              <a:endParaRPr kumimoji="0" sz="1467" b="0" i="0" u="none" strike="noStrike" kern="1200" cap="none" spc="0" normalizeH="0" baseline="0" noProof="0">
                <a:ln>
                  <a:noFill/>
                </a:ln>
                <a:solidFill>
                  <a:srgbClr val="FFFFFF"/>
                </a:solidFill>
                <a:effectLst/>
                <a:uLnTx/>
                <a:uFillTx/>
                <a:latin typeface="Arial"/>
                <a:cs typeface="+mn-ea"/>
                <a:sym typeface="+mn-lt"/>
              </a:endParaRPr>
            </a:p>
          </p:txBody>
        </p:sp>
        <p:sp>
          <p:nvSpPr>
            <p:cNvPr id="90" name="Google Shape;75;p15">
              <a:extLst>
                <a:ext uri="{FF2B5EF4-FFF2-40B4-BE49-F238E27FC236}">
                  <a16:creationId xmlns:a16="http://schemas.microsoft.com/office/drawing/2014/main" id="{B5C4E101-93EB-40A5-B630-6FF670655340}"/>
                </a:ext>
              </a:extLst>
            </p:cNvPr>
            <p:cNvSpPr txBox="1"/>
            <p:nvPr/>
          </p:nvSpPr>
          <p:spPr>
            <a:xfrm>
              <a:off x="5380350" y="2331035"/>
              <a:ext cx="759000" cy="205500"/>
            </a:xfrm>
            <a:prstGeom prst="rect">
              <a:avLst/>
            </a:prstGeom>
            <a:no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 sz="1467" b="0" i="0" u="none" strike="noStrike" kern="1200" cap="none" spc="0" normalizeH="0" baseline="0" noProof="0">
                  <a:ln>
                    <a:noFill/>
                  </a:ln>
                  <a:solidFill>
                    <a:srgbClr val="FFFFFF"/>
                  </a:solidFill>
                  <a:effectLst/>
                  <a:uLnTx/>
                  <a:uFillTx/>
                  <a:latin typeface="Arial"/>
                  <a:cs typeface="+mn-ea"/>
                  <a:sym typeface="+mn-lt"/>
                </a:rPr>
                <a:t>Callisto</a:t>
              </a:r>
              <a:endParaRPr kumimoji="0" sz="1467" b="0" i="0" u="none" strike="noStrike" kern="1200" cap="none" spc="0" normalizeH="0" baseline="0" noProof="0">
                <a:ln>
                  <a:noFill/>
                </a:ln>
                <a:solidFill>
                  <a:srgbClr val="FFFFFF"/>
                </a:solidFill>
                <a:effectLst/>
                <a:uLnTx/>
                <a:uFillTx/>
                <a:latin typeface="Arial"/>
                <a:cs typeface="+mn-ea"/>
                <a:sym typeface="+mn-lt"/>
              </a:endParaRPr>
            </a:p>
          </p:txBody>
        </p:sp>
        <p:sp>
          <p:nvSpPr>
            <p:cNvPr id="91" name="Google Shape;76;p15">
              <a:extLst>
                <a:ext uri="{FF2B5EF4-FFF2-40B4-BE49-F238E27FC236}">
                  <a16:creationId xmlns:a16="http://schemas.microsoft.com/office/drawing/2014/main" id="{AC9D160F-1088-4824-A583-1EAEB734762F}"/>
                </a:ext>
              </a:extLst>
            </p:cNvPr>
            <p:cNvSpPr txBox="1"/>
            <p:nvPr/>
          </p:nvSpPr>
          <p:spPr>
            <a:xfrm>
              <a:off x="5463400" y="2599060"/>
              <a:ext cx="759000" cy="205500"/>
            </a:xfrm>
            <a:prstGeom prst="rect">
              <a:avLst/>
            </a:prstGeom>
            <a:no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 sz="1467" b="0" i="0" u="none" strike="noStrike" kern="1200" cap="none" spc="0" normalizeH="0" baseline="0" noProof="0">
                  <a:ln>
                    <a:noFill/>
                  </a:ln>
                  <a:solidFill>
                    <a:srgbClr val="FFFFFF"/>
                  </a:solidFill>
                  <a:effectLst/>
                  <a:uLnTx/>
                  <a:uFillTx/>
                  <a:latin typeface="Arial"/>
                  <a:cs typeface="+mn-ea"/>
                  <a:sym typeface="+mn-lt"/>
                </a:rPr>
                <a:t>Europa</a:t>
              </a:r>
              <a:endParaRPr kumimoji="0" sz="1467" b="0" i="0" u="none" strike="noStrike" kern="1200" cap="none" spc="0" normalizeH="0" baseline="0" noProof="0">
                <a:ln>
                  <a:noFill/>
                </a:ln>
                <a:solidFill>
                  <a:srgbClr val="FFFFFF"/>
                </a:solidFill>
                <a:effectLst/>
                <a:uLnTx/>
                <a:uFillTx/>
                <a:latin typeface="Arial"/>
                <a:cs typeface="+mn-ea"/>
                <a:sym typeface="+mn-lt"/>
              </a:endParaRPr>
            </a:p>
          </p:txBody>
        </p:sp>
      </p:grpSp>
      <p:grpSp>
        <p:nvGrpSpPr>
          <p:cNvPr id="92" name="Google Shape;77;p15">
            <a:extLst>
              <a:ext uri="{FF2B5EF4-FFF2-40B4-BE49-F238E27FC236}">
                <a16:creationId xmlns:a16="http://schemas.microsoft.com/office/drawing/2014/main" id="{217952B9-4089-4F42-BE6C-DF4DD5620B65}"/>
              </a:ext>
            </a:extLst>
          </p:cNvPr>
          <p:cNvGrpSpPr/>
          <p:nvPr/>
        </p:nvGrpSpPr>
        <p:grpSpPr>
          <a:xfrm>
            <a:off x="4277885" y="1413817"/>
            <a:ext cx="2076900" cy="2016185"/>
            <a:chOff x="3208413" y="1376175"/>
            <a:chExt cx="1557675" cy="1512139"/>
          </a:xfrm>
        </p:grpSpPr>
        <p:sp>
          <p:nvSpPr>
            <p:cNvPr id="93" name="Google Shape;78;p15">
              <a:extLst>
                <a:ext uri="{FF2B5EF4-FFF2-40B4-BE49-F238E27FC236}">
                  <a16:creationId xmlns:a16="http://schemas.microsoft.com/office/drawing/2014/main" id="{41B4C3A0-3C51-4D23-9376-B3FF37F33522}"/>
                </a:ext>
              </a:extLst>
            </p:cNvPr>
            <p:cNvSpPr/>
            <p:nvPr/>
          </p:nvSpPr>
          <p:spPr>
            <a:xfrm>
              <a:off x="3647250" y="1409225"/>
              <a:ext cx="348875" cy="349175"/>
            </a:xfrm>
            <a:custGeom>
              <a:avLst/>
              <a:gdLst/>
              <a:ahLst/>
              <a:cxnLst/>
              <a:rect l="l" t="t" r="r" b="b"/>
              <a:pathLst>
                <a:path w="13955" h="13967" extrusionOk="0">
                  <a:moveTo>
                    <a:pt x="6978" y="0"/>
                  </a:moveTo>
                  <a:cubicBezTo>
                    <a:pt x="3120" y="0"/>
                    <a:pt x="1" y="3132"/>
                    <a:pt x="1" y="6989"/>
                  </a:cubicBezTo>
                  <a:cubicBezTo>
                    <a:pt x="1" y="10835"/>
                    <a:pt x="3120" y="13966"/>
                    <a:pt x="6978" y="13966"/>
                  </a:cubicBezTo>
                  <a:cubicBezTo>
                    <a:pt x="10835" y="13966"/>
                    <a:pt x="13955" y="10835"/>
                    <a:pt x="13955" y="6989"/>
                  </a:cubicBezTo>
                  <a:cubicBezTo>
                    <a:pt x="13955" y="3132"/>
                    <a:pt x="10835" y="0"/>
                    <a:pt x="6978" y="0"/>
                  </a:cubicBezTo>
                  <a:close/>
                </a:path>
              </a:pathLst>
            </a:custGeom>
            <a:solidFill>
              <a:srgbClr val="DDE7EC"/>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cs typeface="+mn-ea"/>
                <a:sym typeface="+mn-lt"/>
              </a:endParaRPr>
            </a:p>
          </p:txBody>
        </p:sp>
        <p:sp>
          <p:nvSpPr>
            <p:cNvPr id="94" name="Google Shape;79;p15">
              <a:extLst>
                <a:ext uri="{FF2B5EF4-FFF2-40B4-BE49-F238E27FC236}">
                  <a16:creationId xmlns:a16="http://schemas.microsoft.com/office/drawing/2014/main" id="{8CE99C6B-2D5C-4264-B2C9-21F75B447248}"/>
                </a:ext>
              </a:extLst>
            </p:cNvPr>
            <p:cNvSpPr/>
            <p:nvPr/>
          </p:nvSpPr>
          <p:spPr>
            <a:xfrm>
              <a:off x="3647250" y="1376175"/>
              <a:ext cx="348875" cy="348875"/>
            </a:xfrm>
            <a:custGeom>
              <a:avLst/>
              <a:gdLst/>
              <a:ahLst/>
              <a:cxnLst/>
              <a:rect l="l" t="t" r="r" b="b"/>
              <a:pathLst>
                <a:path w="13955" h="13955" extrusionOk="0">
                  <a:moveTo>
                    <a:pt x="6978" y="1"/>
                  </a:moveTo>
                  <a:cubicBezTo>
                    <a:pt x="3120" y="1"/>
                    <a:pt x="1" y="3120"/>
                    <a:pt x="1" y="6978"/>
                  </a:cubicBezTo>
                  <a:cubicBezTo>
                    <a:pt x="1" y="10836"/>
                    <a:pt x="3120" y="13955"/>
                    <a:pt x="6978" y="13955"/>
                  </a:cubicBezTo>
                  <a:cubicBezTo>
                    <a:pt x="10835" y="13955"/>
                    <a:pt x="13955" y="10836"/>
                    <a:pt x="13955" y="6978"/>
                  </a:cubicBezTo>
                  <a:cubicBezTo>
                    <a:pt x="13955" y="3120"/>
                    <a:pt x="10835" y="1"/>
                    <a:pt x="6978" y="1"/>
                  </a:cubicBezTo>
                  <a:close/>
                </a:path>
              </a:pathLst>
            </a:custGeom>
            <a:solidFill>
              <a:schemeClr val="accent1"/>
            </a:solidFill>
            <a:ln>
              <a:noFill/>
            </a:ln>
          </p:spPr>
          <p:txBody>
            <a:bodyPr spcFirstLastPara="1" wrap="square" lIns="0" tIns="121900" rIns="0" bIns="1219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2489" b="0" i="0" u="none" strike="noStrike" kern="1200" cap="none" spc="0" normalizeH="0" baseline="0" noProof="0">
                  <a:ln>
                    <a:noFill/>
                  </a:ln>
                  <a:solidFill>
                    <a:srgbClr val="FFFFFF"/>
                  </a:solidFill>
                  <a:effectLst/>
                  <a:uLnTx/>
                  <a:uFillTx/>
                  <a:latin typeface="Arial"/>
                  <a:cs typeface="+mn-ea"/>
                  <a:sym typeface="+mn-lt"/>
                </a:rPr>
                <a:t>02</a:t>
              </a:r>
              <a:endParaRPr kumimoji="0" sz="2489" b="0" i="0" u="none" strike="noStrike" kern="1200" cap="none" spc="0" normalizeH="0" baseline="0" noProof="0">
                <a:ln>
                  <a:noFill/>
                </a:ln>
                <a:solidFill>
                  <a:srgbClr val="FFFFFF"/>
                </a:solidFill>
                <a:effectLst/>
                <a:uLnTx/>
                <a:uFillTx/>
                <a:latin typeface="Arial"/>
                <a:cs typeface="+mn-ea"/>
                <a:sym typeface="+mn-lt"/>
              </a:endParaRPr>
            </a:p>
          </p:txBody>
        </p:sp>
        <p:sp>
          <p:nvSpPr>
            <p:cNvPr id="95" name="Google Shape;80;p15">
              <a:extLst>
                <a:ext uri="{FF2B5EF4-FFF2-40B4-BE49-F238E27FC236}">
                  <a16:creationId xmlns:a16="http://schemas.microsoft.com/office/drawing/2014/main" id="{6587F789-ED15-4B07-B25F-FE335813146C}"/>
                </a:ext>
              </a:extLst>
            </p:cNvPr>
            <p:cNvSpPr/>
            <p:nvPr/>
          </p:nvSpPr>
          <p:spPr>
            <a:xfrm>
              <a:off x="3208413" y="1916525"/>
              <a:ext cx="1557675" cy="971789"/>
            </a:xfrm>
            <a:custGeom>
              <a:avLst/>
              <a:gdLst/>
              <a:ahLst/>
              <a:cxnLst/>
              <a:rect l="l" t="t" r="r" b="b"/>
              <a:pathLst>
                <a:path w="62307" h="44959" extrusionOk="0">
                  <a:moveTo>
                    <a:pt x="2454" y="1"/>
                  </a:moveTo>
                  <a:cubicBezTo>
                    <a:pt x="941" y="1"/>
                    <a:pt x="1" y="2430"/>
                    <a:pt x="739" y="4406"/>
                  </a:cubicBezTo>
                  <a:lnTo>
                    <a:pt x="15884" y="44959"/>
                  </a:lnTo>
                  <a:lnTo>
                    <a:pt x="62306" y="44959"/>
                  </a:lnTo>
                  <a:lnTo>
                    <a:pt x="46066" y="1513"/>
                  </a:lnTo>
                  <a:cubicBezTo>
                    <a:pt x="45721" y="584"/>
                    <a:pt x="45066" y="1"/>
                    <a:pt x="44352" y="1"/>
                  </a:cubicBezTo>
                  <a:close/>
                </a:path>
              </a:pathLst>
            </a:custGeom>
            <a:solidFill>
              <a:schemeClr val="accent1">
                <a:lumMod val="100000"/>
              </a:schemeClr>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cs typeface="+mn-ea"/>
                <a:sym typeface="+mn-lt"/>
              </a:endParaRPr>
            </a:p>
          </p:txBody>
        </p:sp>
        <p:sp>
          <p:nvSpPr>
            <p:cNvPr id="96" name="Google Shape;81;p15">
              <a:extLst>
                <a:ext uri="{FF2B5EF4-FFF2-40B4-BE49-F238E27FC236}">
                  <a16:creationId xmlns:a16="http://schemas.microsoft.com/office/drawing/2014/main" id="{7D635D4F-D70E-4BD4-B3A4-7F1549DBA8C8}"/>
                </a:ext>
              </a:extLst>
            </p:cNvPr>
            <p:cNvSpPr/>
            <p:nvPr/>
          </p:nvSpPr>
          <p:spPr>
            <a:xfrm>
              <a:off x="4288288" y="2140725"/>
              <a:ext cx="61325" cy="61325"/>
            </a:xfrm>
            <a:custGeom>
              <a:avLst/>
              <a:gdLst/>
              <a:ahLst/>
              <a:cxnLst/>
              <a:rect l="l" t="t" r="r" b="b"/>
              <a:pathLst>
                <a:path w="2453" h="2453" extrusionOk="0">
                  <a:moveTo>
                    <a:pt x="1227" y="0"/>
                  </a:moveTo>
                  <a:cubicBezTo>
                    <a:pt x="548" y="0"/>
                    <a:pt x="0" y="548"/>
                    <a:pt x="0" y="1226"/>
                  </a:cubicBezTo>
                  <a:cubicBezTo>
                    <a:pt x="0" y="1905"/>
                    <a:pt x="548" y="2453"/>
                    <a:pt x="1227" y="2453"/>
                  </a:cubicBezTo>
                  <a:cubicBezTo>
                    <a:pt x="1905" y="2453"/>
                    <a:pt x="2453" y="1905"/>
                    <a:pt x="2453" y="1226"/>
                  </a:cubicBezTo>
                  <a:cubicBezTo>
                    <a:pt x="2453" y="548"/>
                    <a:pt x="1905" y="0"/>
                    <a:pt x="1227" y="0"/>
                  </a:cubicBezTo>
                  <a:close/>
                </a:path>
              </a:pathLst>
            </a:custGeom>
            <a:solidFill>
              <a:srgbClr val="FFFFFF"/>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cs typeface="+mn-ea"/>
                <a:sym typeface="+mn-lt"/>
              </a:endParaRPr>
            </a:p>
          </p:txBody>
        </p:sp>
        <p:sp>
          <p:nvSpPr>
            <p:cNvPr id="97" name="Google Shape;82;p15">
              <a:extLst>
                <a:ext uri="{FF2B5EF4-FFF2-40B4-BE49-F238E27FC236}">
                  <a16:creationId xmlns:a16="http://schemas.microsoft.com/office/drawing/2014/main" id="{74D98039-74A8-4E49-8D43-14430A919077}"/>
                </a:ext>
              </a:extLst>
            </p:cNvPr>
            <p:cNvSpPr/>
            <p:nvPr/>
          </p:nvSpPr>
          <p:spPr>
            <a:xfrm>
              <a:off x="4406238" y="2403250"/>
              <a:ext cx="61050" cy="61050"/>
            </a:xfrm>
            <a:custGeom>
              <a:avLst/>
              <a:gdLst/>
              <a:ahLst/>
              <a:cxnLst/>
              <a:rect l="l" t="t" r="r" b="b"/>
              <a:pathLst>
                <a:path w="2442" h="2442" extrusionOk="0">
                  <a:moveTo>
                    <a:pt x="1227" y="0"/>
                  </a:moveTo>
                  <a:cubicBezTo>
                    <a:pt x="549" y="0"/>
                    <a:pt x="1" y="548"/>
                    <a:pt x="1" y="1227"/>
                  </a:cubicBezTo>
                  <a:cubicBezTo>
                    <a:pt x="1" y="1893"/>
                    <a:pt x="549" y="2441"/>
                    <a:pt x="1227" y="2441"/>
                  </a:cubicBezTo>
                  <a:cubicBezTo>
                    <a:pt x="1894" y="2441"/>
                    <a:pt x="2442" y="1893"/>
                    <a:pt x="2442" y="1227"/>
                  </a:cubicBezTo>
                  <a:cubicBezTo>
                    <a:pt x="2442" y="548"/>
                    <a:pt x="1894" y="0"/>
                    <a:pt x="1227" y="0"/>
                  </a:cubicBezTo>
                  <a:close/>
                </a:path>
              </a:pathLst>
            </a:custGeom>
            <a:solidFill>
              <a:srgbClr val="FFFFFF"/>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cs typeface="+mn-ea"/>
                <a:sym typeface="+mn-lt"/>
              </a:endParaRPr>
            </a:p>
          </p:txBody>
        </p:sp>
        <p:sp>
          <p:nvSpPr>
            <p:cNvPr id="98" name="Google Shape;83;p15">
              <a:extLst>
                <a:ext uri="{FF2B5EF4-FFF2-40B4-BE49-F238E27FC236}">
                  <a16:creationId xmlns:a16="http://schemas.microsoft.com/office/drawing/2014/main" id="{ACE112DF-97FD-4FC4-92B4-62F5AA91787F}"/>
                </a:ext>
              </a:extLst>
            </p:cNvPr>
            <p:cNvSpPr/>
            <p:nvPr/>
          </p:nvSpPr>
          <p:spPr>
            <a:xfrm>
              <a:off x="4489288" y="2671125"/>
              <a:ext cx="61050" cy="61350"/>
            </a:xfrm>
            <a:custGeom>
              <a:avLst/>
              <a:gdLst/>
              <a:ahLst/>
              <a:cxnLst/>
              <a:rect l="l" t="t" r="r" b="b"/>
              <a:pathLst>
                <a:path w="2442" h="2454" extrusionOk="0">
                  <a:moveTo>
                    <a:pt x="1215" y="1"/>
                  </a:moveTo>
                  <a:cubicBezTo>
                    <a:pt x="549" y="1"/>
                    <a:pt x="1" y="549"/>
                    <a:pt x="1" y="1227"/>
                  </a:cubicBezTo>
                  <a:cubicBezTo>
                    <a:pt x="1" y="1906"/>
                    <a:pt x="549" y="2454"/>
                    <a:pt x="1215" y="2454"/>
                  </a:cubicBezTo>
                  <a:cubicBezTo>
                    <a:pt x="1894" y="2454"/>
                    <a:pt x="2442" y="1906"/>
                    <a:pt x="2442" y="1227"/>
                  </a:cubicBezTo>
                  <a:cubicBezTo>
                    <a:pt x="2442" y="549"/>
                    <a:pt x="1894" y="1"/>
                    <a:pt x="1215" y="1"/>
                  </a:cubicBezTo>
                  <a:close/>
                </a:path>
              </a:pathLst>
            </a:custGeom>
            <a:solidFill>
              <a:srgbClr val="FFFFFF"/>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cs typeface="+mn-ea"/>
                <a:sym typeface="+mn-lt"/>
              </a:endParaRPr>
            </a:p>
          </p:txBody>
        </p:sp>
        <p:sp>
          <p:nvSpPr>
            <p:cNvPr id="99" name="Google Shape;84;p15">
              <a:extLst>
                <a:ext uri="{FF2B5EF4-FFF2-40B4-BE49-F238E27FC236}">
                  <a16:creationId xmlns:a16="http://schemas.microsoft.com/office/drawing/2014/main" id="{944806C7-34F6-4607-A50C-EEB4C4F58C4E}"/>
                </a:ext>
              </a:extLst>
            </p:cNvPr>
            <p:cNvSpPr txBox="1"/>
            <p:nvPr/>
          </p:nvSpPr>
          <p:spPr>
            <a:xfrm>
              <a:off x="3529288" y="2068635"/>
              <a:ext cx="759000" cy="205500"/>
            </a:xfrm>
            <a:prstGeom prst="rect">
              <a:avLst/>
            </a:prstGeom>
            <a:no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 sz="1467" b="0" i="0" u="none" strike="noStrike" kern="1200" cap="none" spc="0" normalizeH="0" baseline="0" noProof="0">
                  <a:ln>
                    <a:noFill/>
                  </a:ln>
                  <a:solidFill>
                    <a:srgbClr val="FFFFFF"/>
                  </a:solidFill>
                  <a:effectLst/>
                  <a:uLnTx/>
                  <a:uFillTx/>
                  <a:latin typeface="Arial"/>
                  <a:cs typeface="+mn-ea"/>
                  <a:sym typeface="+mn-lt"/>
                </a:rPr>
                <a:t>Phoebe</a:t>
              </a:r>
              <a:endParaRPr kumimoji="0" sz="1467" b="0" i="0" u="none" strike="noStrike" kern="1200" cap="none" spc="0" normalizeH="0" baseline="0" noProof="0">
                <a:ln>
                  <a:noFill/>
                </a:ln>
                <a:solidFill>
                  <a:srgbClr val="FFFFFF"/>
                </a:solidFill>
                <a:effectLst/>
                <a:uLnTx/>
                <a:uFillTx/>
                <a:latin typeface="Arial"/>
                <a:cs typeface="+mn-ea"/>
                <a:sym typeface="+mn-lt"/>
              </a:endParaRPr>
            </a:p>
          </p:txBody>
        </p:sp>
        <p:sp>
          <p:nvSpPr>
            <p:cNvPr id="100" name="Google Shape;85;p15">
              <a:extLst>
                <a:ext uri="{FF2B5EF4-FFF2-40B4-BE49-F238E27FC236}">
                  <a16:creationId xmlns:a16="http://schemas.microsoft.com/office/drawing/2014/main" id="{24063CCB-26AF-4BFE-9C31-C6933255B76B}"/>
                </a:ext>
              </a:extLst>
            </p:cNvPr>
            <p:cNvSpPr txBox="1"/>
            <p:nvPr/>
          </p:nvSpPr>
          <p:spPr>
            <a:xfrm>
              <a:off x="3647238" y="2331035"/>
              <a:ext cx="759000" cy="205500"/>
            </a:xfrm>
            <a:prstGeom prst="rect">
              <a:avLst/>
            </a:prstGeom>
            <a:no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 sz="1467" b="0" i="0" u="none" strike="noStrike" kern="1200" cap="none" spc="0" normalizeH="0" baseline="0" noProof="0">
                  <a:ln>
                    <a:noFill/>
                  </a:ln>
                  <a:solidFill>
                    <a:srgbClr val="FFFFFF"/>
                  </a:solidFill>
                  <a:effectLst/>
                  <a:uLnTx/>
                  <a:uFillTx/>
                  <a:latin typeface="Arial"/>
                  <a:cs typeface="+mn-ea"/>
                  <a:sym typeface="+mn-lt"/>
                </a:rPr>
                <a:t>Pluto</a:t>
              </a:r>
              <a:endParaRPr kumimoji="0" sz="1467" b="0" i="0" u="none" strike="noStrike" kern="1200" cap="none" spc="0" normalizeH="0" baseline="0" noProof="0">
                <a:ln>
                  <a:noFill/>
                </a:ln>
                <a:solidFill>
                  <a:srgbClr val="FFFFFF"/>
                </a:solidFill>
                <a:effectLst/>
                <a:uLnTx/>
                <a:uFillTx/>
                <a:latin typeface="Arial"/>
                <a:cs typeface="+mn-ea"/>
                <a:sym typeface="+mn-lt"/>
              </a:endParaRPr>
            </a:p>
          </p:txBody>
        </p:sp>
        <p:sp>
          <p:nvSpPr>
            <p:cNvPr id="101" name="Google Shape;86;p15">
              <a:extLst>
                <a:ext uri="{FF2B5EF4-FFF2-40B4-BE49-F238E27FC236}">
                  <a16:creationId xmlns:a16="http://schemas.microsoft.com/office/drawing/2014/main" id="{08EBBB13-9B70-4269-B31C-8F2D294C099F}"/>
                </a:ext>
              </a:extLst>
            </p:cNvPr>
            <p:cNvSpPr txBox="1"/>
            <p:nvPr/>
          </p:nvSpPr>
          <p:spPr>
            <a:xfrm>
              <a:off x="3730288" y="2599060"/>
              <a:ext cx="759000" cy="205500"/>
            </a:xfrm>
            <a:prstGeom prst="rect">
              <a:avLst/>
            </a:prstGeom>
            <a:no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 sz="1467" b="0" i="0" u="none" strike="noStrike" kern="1200" cap="none" spc="0" normalizeH="0" baseline="0" noProof="0">
                  <a:ln>
                    <a:noFill/>
                  </a:ln>
                  <a:solidFill>
                    <a:srgbClr val="FFFFFF"/>
                  </a:solidFill>
                  <a:effectLst/>
                  <a:uLnTx/>
                  <a:uFillTx/>
                  <a:latin typeface="Arial"/>
                  <a:cs typeface="+mn-ea"/>
                  <a:sym typeface="+mn-lt"/>
                </a:rPr>
                <a:t>Moon</a:t>
              </a:r>
              <a:endParaRPr kumimoji="0" sz="1467" b="0" i="0" u="none" strike="noStrike" kern="1200" cap="none" spc="0" normalizeH="0" baseline="0" noProof="0">
                <a:ln>
                  <a:noFill/>
                </a:ln>
                <a:solidFill>
                  <a:srgbClr val="FFFFFF"/>
                </a:solidFill>
                <a:effectLst/>
                <a:uLnTx/>
                <a:uFillTx/>
                <a:latin typeface="Arial"/>
                <a:cs typeface="+mn-ea"/>
                <a:sym typeface="+mn-lt"/>
              </a:endParaRPr>
            </a:p>
          </p:txBody>
        </p:sp>
      </p:grpSp>
      <p:grpSp>
        <p:nvGrpSpPr>
          <p:cNvPr id="102" name="Google Shape;87;p15">
            <a:extLst>
              <a:ext uri="{FF2B5EF4-FFF2-40B4-BE49-F238E27FC236}">
                <a16:creationId xmlns:a16="http://schemas.microsoft.com/office/drawing/2014/main" id="{38F04071-8767-45DB-B4BC-FA27F757FFC7}"/>
              </a:ext>
            </a:extLst>
          </p:cNvPr>
          <p:cNvGrpSpPr/>
          <p:nvPr/>
        </p:nvGrpSpPr>
        <p:grpSpPr>
          <a:xfrm>
            <a:off x="2124434" y="1740649"/>
            <a:ext cx="2076900" cy="1689360"/>
            <a:chOff x="1593325" y="1621300"/>
            <a:chExt cx="1557675" cy="1267020"/>
          </a:xfrm>
        </p:grpSpPr>
        <p:sp>
          <p:nvSpPr>
            <p:cNvPr id="103" name="Google Shape;88;p15">
              <a:extLst>
                <a:ext uri="{FF2B5EF4-FFF2-40B4-BE49-F238E27FC236}">
                  <a16:creationId xmlns:a16="http://schemas.microsoft.com/office/drawing/2014/main" id="{9BC30DD8-69E6-43EE-B1F7-9D97C9D86F58}"/>
                </a:ext>
              </a:extLst>
            </p:cNvPr>
            <p:cNvSpPr/>
            <p:nvPr/>
          </p:nvSpPr>
          <p:spPr>
            <a:xfrm>
              <a:off x="2035825" y="1654350"/>
              <a:ext cx="349175" cy="349175"/>
            </a:xfrm>
            <a:custGeom>
              <a:avLst/>
              <a:gdLst/>
              <a:ahLst/>
              <a:cxnLst/>
              <a:rect l="l" t="t" r="r" b="b"/>
              <a:pathLst>
                <a:path w="13967" h="13967" extrusionOk="0">
                  <a:moveTo>
                    <a:pt x="6977" y="0"/>
                  </a:moveTo>
                  <a:cubicBezTo>
                    <a:pt x="3120" y="0"/>
                    <a:pt x="0" y="3132"/>
                    <a:pt x="0" y="6989"/>
                  </a:cubicBezTo>
                  <a:cubicBezTo>
                    <a:pt x="0" y="10835"/>
                    <a:pt x="3120" y="13966"/>
                    <a:pt x="6977" y="13966"/>
                  </a:cubicBezTo>
                  <a:cubicBezTo>
                    <a:pt x="10835" y="13966"/>
                    <a:pt x="13966" y="10835"/>
                    <a:pt x="13966" y="6989"/>
                  </a:cubicBezTo>
                  <a:cubicBezTo>
                    <a:pt x="13966" y="3132"/>
                    <a:pt x="10835" y="0"/>
                    <a:pt x="6977" y="0"/>
                  </a:cubicBezTo>
                  <a:close/>
                </a:path>
              </a:pathLst>
            </a:custGeom>
            <a:solidFill>
              <a:srgbClr val="DDE7EC"/>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cs typeface="+mn-ea"/>
                <a:sym typeface="+mn-lt"/>
              </a:endParaRPr>
            </a:p>
          </p:txBody>
        </p:sp>
        <p:sp>
          <p:nvSpPr>
            <p:cNvPr id="104" name="Google Shape;89;p15">
              <a:extLst>
                <a:ext uri="{FF2B5EF4-FFF2-40B4-BE49-F238E27FC236}">
                  <a16:creationId xmlns:a16="http://schemas.microsoft.com/office/drawing/2014/main" id="{0ADC5345-D183-4060-97CC-F6B697EA53C5}"/>
                </a:ext>
              </a:extLst>
            </p:cNvPr>
            <p:cNvSpPr/>
            <p:nvPr/>
          </p:nvSpPr>
          <p:spPr>
            <a:xfrm>
              <a:off x="2035825" y="1621300"/>
              <a:ext cx="349175" cy="349175"/>
            </a:xfrm>
            <a:custGeom>
              <a:avLst/>
              <a:gdLst/>
              <a:ahLst/>
              <a:cxnLst/>
              <a:rect l="l" t="t" r="r" b="b"/>
              <a:pathLst>
                <a:path w="13967" h="13967" extrusionOk="0">
                  <a:moveTo>
                    <a:pt x="6977" y="1"/>
                  </a:moveTo>
                  <a:cubicBezTo>
                    <a:pt x="3120" y="1"/>
                    <a:pt x="0" y="3120"/>
                    <a:pt x="0" y="6978"/>
                  </a:cubicBezTo>
                  <a:cubicBezTo>
                    <a:pt x="0" y="10835"/>
                    <a:pt x="3120" y="13967"/>
                    <a:pt x="6977" y="13967"/>
                  </a:cubicBezTo>
                  <a:cubicBezTo>
                    <a:pt x="10835" y="13967"/>
                    <a:pt x="13966" y="10835"/>
                    <a:pt x="13966" y="6978"/>
                  </a:cubicBezTo>
                  <a:cubicBezTo>
                    <a:pt x="13966" y="3120"/>
                    <a:pt x="10835" y="1"/>
                    <a:pt x="6977" y="1"/>
                  </a:cubicBezTo>
                  <a:close/>
                </a:path>
              </a:pathLst>
            </a:custGeom>
            <a:solidFill>
              <a:schemeClr val="accent1"/>
            </a:solidFill>
            <a:ln>
              <a:noFill/>
            </a:ln>
          </p:spPr>
          <p:txBody>
            <a:bodyPr spcFirstLastPara="1" wrap="square" lIns="0" tIns="121900" rIns="0" bIns="1219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2489" b="0" i="0" u="none" strike="noStrike" kern="1200" cap="none" spc="0" normalizeH="0" baseline="0" noProof="0">
                  <a:ln>
                    <a:noFill/>
                  </a:ln>
                  <a:solidFill>
                    <a:srgbClr val="FFFFFF"/>
                  </a:solidFill>
                  <a:effectLst/>
                  <a:uLnTx/>
                  <a:uFillTx/>
                  <a:latin typeface="Arial"/>
                  <a:cs typeface="+mn-ea"/>
                  <a:sym typeface="+mn-lt"/>
                </a:rPr>
                <a:t>01</a:t>
              </a:r>
              <a:endParaRPr kumimoji="0" sz="2489" b="0" i="0" u="none" strike="noStrike" kern="1200" cap="none" spc="0" normalizeH="0" baseline="0" noProof="0">
                <a:ln>
                  <a:noFill/>
                </a:ln>
                <a:solidFill>
                  <a:srgbClr val="FFFFFF"/>
                </a:solidFill>
                <a:effectLst/>
                <a:uLnTx/>
                <a:uFillTx/>
                <a:latin typeface="Arial"/>
                <a:cs typeface="+mn-ea"/>
                <a:sym typeface="+mn-lt"/>
              </a:endParaRPr>
            </a:p>
          </p:txBody>
        </p:sp>
        <p:sp>
          <p:nvSpPr>
            <p:cNvPr id="105" name="Google Shape;90;p15">
              <a:extLst>
                <a:ext uri="{FF2B5EF4-FFF2-40B4-BE49-F238E27FC236}">
                  <a16:creationId xmlns:a16="http://schemas.microsoft.com/office/drawing/2014/main" id="{7FD9F125-6C40-41BD-BADD-4542A583418B}"/>
                </a:ext>
              </a:extLst>
            </p:cNvPr>
            <p:cNvSpPr/>
            <p:nvPr/>
          </p:nvSpPr>
          <p:spPr>
            <a:xfrm>
              <a:off x="1593325" y="2155937"/>
              <a:ext cx="1557675" cy="732382"/>
            </a:xfrm>
            <a:custGeom>
              <a:avLst/>
              <a:gdLst/>
              <a:ahLst/>
              <a:cxnLst/>
              <a:rect l="l" t="t" r="r" b="b"/>
              <a:pathLst>
                <a:path w="62307" h="44959" extrusionOk="0">
                  <a:moveTo>
                    <a:pt x="2454" y="1"/>
                  </a:moveTo>
                  <a:cubicBezTo>
                    <a:pt x="941" y="1"/>
                    <a:pt x="1" y="2430"/>
                    <a:pt x="739" y="4406"/>
                  </a:cubicBezTo>
                  <a:lnTo>
                    <a:pt x="15884" y="44959"/>
                  </a:lnTo>
                  <a:lnTo>
                    <a:pt x="62306" y="44959"/>
                  </a:lnTo>
                  <a:lnTo>
                    <a:pt x="46066" y="1513"/>
                  </a:lnTo>
                  <a:cubicBezTo>
                    <a:pt x="45721" y="584"/>
                    <a:pt x="45066" y="1"/>
                    <a:pt x="44352" y="1"/>
                  </a:cubicBezTo>
                  <a:close/>
                </a:path>
              </a:pathLst>
            </a:custGeom>
            <a:solidFill>
              <a:schemeClr val="accent1">
                <a:lumMod val="100000"/>
              </a:schemeClr>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cs typeface="+mn-ea"/>
                <a:sym typeface="+mn-lt"/>
              </a:endParaRPr>
            </a:p>
          </p:txBody>
        </p:sp>
        <p:sp>
          <p:nvSpPr>
            <p:cNvPr id="106" name="Google Shape;91;p15">
              <a:extLst>
                <a:ext uri="{FF2B5EF4-FFF2-40B4-BE49-F238E27FC236}">
                  <a16:creationId xmlns:a16="http://schemas.microsoft.com/office/drawing/2014/main" id="{D79EC6AE-3224-4EF2-99BF-68862615900C}"/>
                </a:ext>
              </a:extLst>
            </p:cNvPr>
            <p:cNvSpPr/>
            <p:nvPr/>
          </p:nvSpPr>
          <p:spPr>
            <a:xfrm>
              <a:off x="2714950" y="2403250"/>
              <a:ext cx="61050" cy="61050"/>
            </a:xfrm>
            <a:custGeom>
              <a:avLst/>
              <a:gdLst/>
              <a:ahLst/>
              <a:cxnLst/>
              <a:rect l="l" t="t" r="r" b="b"/>
              <a:pathLst>
                <a:path w="2442" h="2442" extrusionOk="0">
                  <a:moveTo>
                    <a:pt x="1227" y="0"/>
                  </a:moveTo>
                  <a:cubicBezTo>
                    <a:pt x="549" y="0"/>
                    <a:pt x="1" y="548"/>
                    <a:pt x="1" y="1227"/>
                  </a:cubicBezTo>
                  <a:cubicBezTo>
                    <a:pt x="1" y="1893"/>
                    <a:pt x="549" y="2441"/>
                    <a:pt x="1227" y="2441"/>
                  </a:cubicBezTo>
                  <a:cubicBezTo>
                    <a:pt x="1894" y="2441"/>
                    <a:pt x="2442" y="1893"/>
                    <a:pt x="2442" y="1227"/>
                  </a:cubicBezTo>
                  <a:cubicBezTo>
                    <a:pt x="2442" y="548"/>
                    <a:pt x="1894" y="0"/>
                    <a:pt x="1227" y="0"/>
                  </a:cubicBezTo>
                  <a:close/>
                </a:path>
              </a:pathLst>
            </a:custGeom>
            <a:solidFill>
              <a:srgbClr val="FFFFFF"/>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cs typeface="+mn-ea"/>
                <a:sym typeface="+mn-lt"/>
              </a:endParaRPr>
            </a:p>
          </p:txBody>
        </p:sp>
        <p:sp>
          <p:nvSpPr>
            <p:cNvPr id="107" name="Google Shape;92;p15">
              <a:extLst>
                <a:ext uri="{FF2B5EF4-FFF2-40B4-BE49-F238E27FC236}">
                  <a16:creationId xmlns:a16="http://schemas.microsoft.com/office/drawing/2014/main" id="{DE61B104-4B53-454A-B8A6-3FB3970F7428}"/>
                </a:ext>
              </a:extLst>
            </p:cNvPr>
            <p:cNvSpPr/>
            <p:nvPr/>
          </p:nvSpPr>
          <p:spPr>
            <a:xfrm>
              <a:off x="2874200" y="2671125"/>
              <a:ext cx="61050" cy="61350"/>
            </a:xfrm>
            <a:custGeom>
              <a:avLst/>
              <a:gdLst/>
              <a:ahLst/>
              <a:cxnLst/>
              <a:rect l="l" t="t" r="r" b="b"/>
              <a:pathLst>
                <a:path w="2442" h="2454" extrusionOk="0">
                  <a:moveTo>
                    <a:pt x="1215" y="1"/>
                  </a:moveTo>
                  <a:cubicBezTo>
                    <a:pt x="549" y="1"/>
                    <a:pt x="1" y="549"/>
                    <a:pt x="1" y="1227"/>
                  </a:cubicBezTo>
                  <a:cubicBezTo>
                    <a:pt x="1" y="1906"/>
                    <a:pt x="549" y="2454"/>
                    <a:pt x="1215" y="2454"/>
                  </a:cubicBezTo>
                  <a:cubicBezTo>
                    <a:pt x="1894" y="2454"/>
                    <a:pt x="2442" y="1906"/>
                    <a:pt x="2442" y="1227"/>
                  </a:cubicBezTo>
                  <a:cubicBezTo>
                    <a:pt x="2442" y="549"/>
                    <a:pt x="1894" y="1"/>
                    <a:pt x="1215" y="1"/>
                  </a:cubicBezTo>
                  <a:close/>
                </a:path>
              </a:pathLst>
            </a:custGeom>
            <a:solidFill>
              <a:srgbClr val="FFFFFF"/>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cs typeface="+mn-ea"/>
                <a:sym typeface="+mn-lt"/>
              </a:endParaRPr>
            </a:p>
          </p:txBody>
        </p:sp>
        <p:sp>
          <p:nvSpPr>
            <p:cNvPr id="108" name="Google Shape;93;p15">
              <a:extLst>
                <a:ext uri="{FF2B5EF4-FFF2-40B4-BE49-F238E27FC236}">
                  <a16:creationId xmlns:a16="http://schemas.microsoft.com/office/drawing/2014/main" id="{99C3B83C-19E3-4786-A9AC-8799852A0A59}"/>
                </a:ext>
              </a:extLst>
            </p:cNvPr>
            <p:cNvSpPr txBox="1"/>
            <p:nvPr/>
          </p:nvSpPr>
          <p:spPr>
            <a:xfrm>
              <a:off x="1955950" y="2331035"/>
              <a:ext cx="759000" cy="205500"/>
            </a:xfrm>
            <a:prstGeom prst="rect">
              <a:avLst/>
            </a:prstGeom>
            <a:no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 sz="1467" b="0" i="0" u="none" strike="noStrike" kern="1200" cap="none" spc="0" normalizeH="0" baseline="0" noProof="0">
                  <a:ln>
                    <a:noFill/>
                  </a:ln>
                  <a:solidFill>
                    <a:srgbClr val="FFFFFF"/>
                  </a:solidFill>
                  <a:effectLst/>
                  <a:uLnTx/>
                  <a:uFillTx/>
                  <a:latin typeface="Arial"/>
                  <a:cs typeface="+mn-ea"/>
                  <a:sym typeface="+mn-lt"/>
                </a:rPr>
                <a:t>Mercury</a:t>
              </a:r>
              <a:endParaRPr kumimoji="0" sz="1467" b="0" i="0" u="none" strike="noStrike" kern="1200" cap="none" spc="0" normalizeH="0" baseline="0" noProof="0">
                <a:ln>
                  <a:noFill/>
                </a:ln>
                <a:solidFill>
                  <a:srgbClr val="FFFFFF"/>
                </a:solidFill>
                <a:effectLst/>
                <a:uLnTx/>
                <a:uFillTx/>
                <a:latin typeface="Arial"/>
                <a:cs typeface="+mn-ea"/>
                <a:sym typeface="+mn-lt"/>
              </a:endParaRPr>
            </a:p>
          </p:txBody>
        </p:sp>
        <p:sp>
          <p:nvSpPr>
            <p:cNvPr id="109" name="Google Shape;94;p15">
              <a:extLst>
                <a:ext uri="{FF2B5EF4-FFF2-40B4-BE49-F238E27FC236}">
                  <a16:creationId xmlns:a16="http://schemas.microsoft.com/office/drawing/2014/main" id="{7263B258-99FC-47A6-A878-BA95D7D42AE7}"/>
                </a:ext>
              </a:extLst>
            </p:cNvPr>
            <p:cNvSpPr txBox="1"/>
            <p:nvPr/>
          </p:nvSpPr>
          <p:spPr>
            <a:xfrm>
              <a:off x="2115200" y="2599060"/>
              <a:ext cx="759000" cy="205500"/>
            </a:xfrm>
            <a:prstGeom prst="rect">
              <a:avLst/>
            </a:prstGeom>
            <a:no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 sz="1467" b="0" i="0" u="none" strike="noStrike" kern="1200" cap="none" spc="0" normalizeH="0" baseline="0" noProof="0">
                  <a:ln>
                    <a:noFill/>
                  </a:ln>
                  <a:solidFill>
                    <a:srgbClr val="FFFFFF"/>
                  </a:solidFill>
                  <a:effectLst/>
                  <a:uLnTx/>
                  <a:uFillTx/>
                  <a:latin typeface="Arial"/>
                  <a:cs typeface="+mn-ea"/>
                  <a:sym typeface="+mn-lt"/>
                </a:rPr>
                <a:t>Sun</a:t>
              </a:r>
              <a:endParaRPr kumimoji="0" sz="1467" b="0" i="0" u="none" strike="noStrike" kern="1200" cap="none" spc="0" normalizeH="0" baseline="0" noProof="0">
                <a:ln>
                  <a:noFill/>
                </a:ln>
                <a:solidFill>
                  <a:srgbClr val="FFFFFF"/>
                </a:solidFill>
                <a:effectLst/>
                <a:uLnTx/>
                <a:uFillTx/>
                <a:latin typeface="Arial"/>
                <a:cs typeface="+mn-ea"/>
                <a:sym typeface="+mn-lt"/>
              </a:endParaRPr>
            </a:p>
          </p:txBody>
        </p:sp>
      </p:grpSp>
      <p:grpSp>
        <p:nvGrpSpPr>
          <p:cNvPr id="110" name="Google Shape;95;p15">
            <a:extLst>
              <a:ext uri="{FF2B5EF4-FFF2-40B4-BE49-F238E27FC236}">
                <a16:creationId xmlns:a16="http://schemas.microsoft.com/office/drawing/2014/main" id="{EB3873A8-07EA-45EE-A0F8-2D639528E0D8}"/>
              </a:ext>
            </a:extLst>
          </p:cNvPr>
          <p:cNvGrpSpPr/>
          <p:nvPr/>
        </p:nvGrpSpPr>
        <p:grpSpPr>
          <a:xfrm>
            <a:off x="2124434" y="3429907"/>
            <a:ext cx="2076900" cy="1688243"/>
            <a:chOff x="1593325" y="2888243"/>
            <a:chExt cx="1557675" cy="1266182"/>
          </a:xfrm>
          <a:solidFill>
            <a:schemeClr val="accent1">
              <a:lumMod val="75000"/>
            </a:schemeClr>
          </a:solidFill>
        </p:grpSpPr>
        <p:sp>
          <p:nvSpPr>
            <p:cNvPr id="111" name="Google Shape;96;p15">
              <a:extLst>
                <a:ext uri="{FF2B5EF4-FFF2-40B4-BE49-F238E27FC236}">
                  <a16:creationId xmlns:a16="http://schemas.microsoft.com/office/drawing/2014/main" id="{D55F05F4-80AA-4E61-97AF-4DAC528958FE}"/>
                </a:ext>
              </a:extLst>
            </p:cNvPr>
            <p:cNvSpPr/>
            <p:nvPr/>
          </p:nvSpPr>
          <p:spPr>
            <a:xfrm>
              <a:off x="2035825" y="3805250"/>
              <a:ext cx="349175" cy="349175"/>
            </a:xfrm>
            <a:custGeom>
              <a:avLst/>
              <a:gdLst/>
              <a:ahLst/>
              <a:cxnLst/>
              <a:rect l="l" t="t" r="r" b="b"/>
              <a:pathLst>
                <a:path w="13967" h="13967" extrusionOk="0">
                  <a:moveTo>
                    <a:pt x="6977" y="0"/>
                  </a:moveTo>
                  <a:cubicBezTo>
                    <a:pt x="3120" y="0"/>
                    <a:pt x="0" y="3132"/>
                    <a:pt x="0" y="6989"/>
                  </a:cubicBezTo>
                  <a:cubicBezTo>
                    <a:pt x="0" y="10835"/>
                    <a:pt x="3120" y="13966"/>
                    <a:pt x="6977" y="13966"/>
                  </a:cubicBezTo>
                  <a:cubicBezTo>
                    <a:pt x="10835" y="13966"/>
                    <a:pt x="13966" y="10835"/>
                    <a:pt x="13966" y="6989"/>
                  </a:cubicBezTo>
                  <a:cubicBezTo>
                    <a:pt x="13966" y="3132"/>
                    <a:pt x="10835" y="0"/>
                    <a:pt x="6977" y="0"/>
                  </a:cubicBezTo>
                  <a:close/>
                </a:path>
              </a:pathLst>
            </a:custGeom>
            <a:grp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cs typeface="+mn-ea"/>
                <a:sym typeface="+mn-lt"/>
              </a:endParaRPr>
            </a:p>
          </p:txBody>
        </p:sp>
        <p:sp>
          <p:nvSpPr>
            <p:cNvPr id="112" name="Google Shape;97;p15">
              <a:extLst>
                <a:ext uri="{FF2B5EF4-FFF2-40B4-BE49-F238E27FC236}">
                  <a16:creationId xmlns:a16="http://schemas.microsoft.com/office/drawing/2014/main" id="{82FD3B8F-063D-41CA-AE0A-7F9E39C505D0}"/>
                </a:ext>
              </a:extLst>
            </p:cNvPr>
            <p:cNvSpPr/>
            <p:nvPr/>
          </p:nvSpPr>
          <p:spPr>
            <a:xfrm>
              <a:off x="2035825" y="3772200"/>
              <a:ext cx="349175" cy="348875"/>
            </a:xfrm>
            <a:custGeom>
              <a:avLst/>
              <a:gdLst/>
              <a:ahLst/>
              <a:cxnLst/>
              <a:rect l="l" t="t" r="r" b="b"/>
              <a:pathLst>
                <a:path w="13967" h="13955" extrusionOk="0">
                  <a:moveTo>
                    <a:pt x="6977" y="1"/>
                  </a:moveTo>
                  <a:cubicBezTo>
                    <a:pt x="3120" y="1"/>
                    <a:pt x="0" y="3120"/>
                    <a:pt x="0" y="6978"/>
                  </a:cubicBezTo>
                  <a:cubicBezTo>
                    <a:pt x="0" y="10836"/>
                    <a:pt x="3120" y="13955"/>
                    <a:pt x="6977" y="13955"/>
                  </a:cubicBezTo>
                  <a:cubicBezTo>
                    <a:pt x="10835" y="13955"/>
                    <a:pt x="13966" y="10836"/>
                    <a:pt x="13966" y="6978"/>
                  </a:cubicBezTo>
                  <a:cubicBezTo>
                    <a:pt x="13966" y="3120"/>
                    <a:pt x="10835" y="1"/>
                    <a:pt x="6977" y="1"/>
                  </a:cubicBezTo>
                  <a:close/>
                </a:path>
              </a:pathLst>
            </a:custGeom>
            <a:grpFill/>
            <a:ln>
              <a:noFill/>
            </a:ln>
          </p:spPr>
          <p:txBody>
            <a:bodyPr spcFirstLastPara="1" wrap="square" lIns="0" tIns="121900" rIns="0" bIns="1219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2489" b="0" i="0" u="none" strike="noStrike" kern="1200" cap="none" spc="0" normalizeH="0" baseline="0" noProof="0">
                  <a:ln>
                    <a:noFill/>
                  </a:ln>
                  <a:solidFill>
                    <a:srgbClr val="FFFFFF"/>
                  </a:solidFill>
                  <a:effectLst/>
                  <a:uLnTx/>
                  <a:uFillTx/>
                  <a:latin typeface="Arial"/>
                  <a:cs typeface="+mn-ea"/>
                  <a:sym typeface="+mn-lt"/>
                </a:rPr>
                <a:t>04</a:t>
              </a:r>
              <a:endParaRPr kumimoji="0" sz="2489" b="0" i="0" u="none" strike="noStrike" kern="1200" cap="none" spc="0" normalizeH="0" baseline="0" noProof="0">
                <a:ln>
                  <a:noFill/>
                </a:ln>
                <a:solidFill>
                  <a:srgbClr val="FFFFFF"/>
                </a:solidFill>
                <a:effectLst/>
                <a:uLnTx/>
                <a:uFillTx/>
                <a:latin typeface="Arial"/>
                <a:cs typeface="+mn-ea"/>
                <a:sym typeface="+mn-lt"/>
              </a:endParaRPr>
            </a:p>
          </p:txBody>
        </p:sp>
        <p:sp>
          <p:nvSpPr>
            <p:cNvPr id="113" name="Google Shape;98;p15">
              <a:extLst>
                <a:ext uri="{FF2B5EF4-FFF2-40B4-BE49-F238E27FC236}">
                  <a16:creationId xmlns:a16="http://schemas.microsoft.com/office/drawing/2014/main" id="{BBB385F8-069A-47CD-9A1D-D1A4F6849C69}"/>
                </a:ext>
              </a:extLst>
            </p:cNvPr>
            <p:cNvSpPr/>
            <p:nvPr/>
          </p:nvSpPr>
          <p:spPr>
            <a:xfrm>
              <a:off x="1593325" y="2888243"/>
              <a:ext cx="1557675" cy="732382"/>
            </a:xfrm>
            <a:custGeom>
              <a:avLst/>
              <a:gdLst/>
              <a:ahLst/>
              <a:cxnLst/>
              <a:rect l="l" t="t" r="r" b="b"/>
              <a:pathLst>
                <a:path w="62307" h="44959" extrusionOk="0">
                  <a:moveTo>
                    <a:pt x="15884" y="1"/>
                  </a:moveTo>
                  <a:lnTo>
                    <a:pt x="739" y="40565"/>
                  </a:lnTo>
                  <a:cubicBezTo>
                    <a:pt x="1" y="42542"/>
                    <a:pt x="941" y="44959"/>
                    <a:pt x="2454" y="44959"/>
                  </a:cubicBezTo>
                  <a:lnTo>
                    <a:pt x="44352" y="44959"/>
                  </a:lnTo>
                  <a:cubicBezTo>
                    <a:pt x="45066" y="44959"/>
                    <a:pt x="45721" y="44387"/>
                    <a:pt x="46066" y="43458"/>
                  </a:cubicBezTo>
                  <a:lnTo>
                    <a:pt x="62306" y="1"/>
                  </a:lnTo>
                  <a:close/>
                </a:path>
              </a:pathLst>
            </a:custGeom>
            <a:grpFill/>
            <a:ln>
              <a:noFill/>
            </a:ln>
          </p:spPr>
          <p:txBody>
            <a:bodyPr spcFirstLastPara="1" wrap="square" lIns="121900" tIns="121900" rIns="121900" bIns="1219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FFFFFF"/>
                </a:solidFill>
                <a:effectLst/>
                <a:uLnTx/>
                <a:uFillTx/>
                <a:latin typeface="Arial"/>
                <a:cs typeface="+mn-ea"/>
                <a:sym typeface="+mn-lt"/>
              </a:endParaRPr>
            </a:p>
          </p:txBody>
        </p:sp>
        <p:sp>
          <p:nvSpPr>
            <p:cNvPr id="114" name="Google Shape;99;p15">
              <a:extLst>
                <a:ext uri="{FF2B5EF4-FFF2-40B4-BE49-F238E27FC236}">
                  <a16:creationId xmlns:a16="http://schemas.microsoft.com/office/drawing/2014/main" id="{2313EFAA-3E5C-4803-8AFA-E58A0D508DAB}"/>
                </a:ext>
              </a:extLst>
            </p:cNvPr>
            <p:cNvSpPr/>
            <p:nvPr/>
          </p:nvSpPr>
          <p:spPr>
            <a:xfrm>
              <a:off x="2714950" y="3309497"/>
              <a:ext cx="61050" cy="61025"/>
            </a:xfrm>
            <a:custGeom>
              <a:avLst/>
              <a:gdLst/>
              <a:ahLst/>
              <a:cxnLst/>
              <a:rect l="l" t="t" r="r" b="b"/>
              <a:pathLst>
                <a:path w="2442" h="2441" extrusionOk="0">
                  <a:moveTo>
                    <a:pt x="1227" y="0"/>
                  </a:moveTo>
                  <a:cubicBezTo>
                    <a:pt x="549" y="0"/>
                    <a:pt x="1" y="548"/>
                    <a:pt x="1" y="1215"/>
                  </a:cubicBezTo>
                  <a:cubicBezTo>
                    <a:pt x="1" y="1893"/>
                    <a:pt x="549" y="2441"/>
                    <a:pt x="1227" y="2441"/>
                  </a:cubicBezTo>
                  <a:cubicBezTo>
                    <a:pt x="1894" y="2441"/>
                    <a:pt x="2442" y="1893"/>
                    <a:pt x="2442" y="1215"/>
                  </a:cubicBezTo>
                  <a:cubicBezTo>
                    <a:pt x="2442" y="548"/>
                    <a:pt x="1894" y="0"/>
                    <a:pt x="1227" y="0"/>
                  </a:cubicBezTo>
                  <a:close/>
                </a:path>
              </a:pathLst>
            </a:custGeom>
            <a:grp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cs typeface="+mn-ea"/>
                <a:sym typeface="+mn-lt"/>
              </a:endParaRPr>
            </a:p>
          </p:txBody>
        </p:sp>
        <p:sp>
          <p:nvSpPr>
            <p:cNvPr id="115" name="Google Shape;100;p15">
              <a:extLst>
                <a:ext uri="{FF2B5EF4-FFF2-40B4-BE49-F238E27FC236}">
                  <a16:creationId xmlns:a16="http://schemas.microsoft.com/office/drawing/2014/main" id="{DC1324EB-E28D-41B4-ADB1-2DEEDCDEB7D9}"/>
                </a:ext>
              </a:extLst>
            </p:cNvPr>
            <p:cNvSpPr/>
            <p:nvPr/>
          </p:nvSpPr>
          <p:spPr>
            <a:xfrm>
              <a:off x="2874200" y="3054525"/>
              <a:ext cx="61050" cy="61325"/>
            </a:xfrm>
            <a:custGeom>
              <a:avLst/>
              <a:gdLst/>
              <a:ahLst/>
              <a:cxnLst/>
              <a:rect l="l" t="t" r="r" b="b"/>
              <a:pathLst>
                <a:path w="2442" h="2453" extrusionOk="0">
                  <a:moveTo>
                    <a:pt x="1215" y="0"/>
                  </a:moveTo>
                  <a:cubicBezTo>
                    <a:pt x="549" y="0"/>
                    <a:pt x="1" y="548"/>
                    <a:pt x="1" y="1227"/>
                  </a:cubicBezTo>
                  <a:cubicBezTo>
                    <a:pt x="1" y="1905"/>
                    <a:pt x="549" y="2453"/>
                    <a:pt x="1215" y="2453"/>
                  </a:cubicBezTo>
                  <a:cubicBezTo>
                    <a:pt x="1894" y="2453"/>
                    <a:pt x="2442" y="1905"/>
                    <a:pt x="2442" y="1227"/>
                  </a:cubicBezTo>
                  <a:cubicBezTo>
                    <a:pt x="2442" y="548"/>
                    <a:pt x="1894" y="0"/>
                    <a:pt x="1215" y="0"/>
                  </a:cubicBezTo>
                  <a:close/>
                </a:path>
              </a:pathLst>
            </a:custGeom>
            <a:grp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cs typeface="+mn-ea"/>
                <a:sym typeface="+mn-lt"/>
              </a:endParaRPr>
            </a:p>
          </p:txBody>
        </p:sp>
        <p:sp>
          <p:nvSpPr>
            <p:cNvPr id="116" name="Google Shape;101;p15">
              <a:extLst>
                <a:ext uri="{FF2B5EF4-FFF2-40B4-BE49-F238E27FC236}">
                  <a16:creationId xmlns:a16="http://schemas.microsoft.com/office/drawing/2014/main" id="{850E78F4-5750-418A-85B1-BF5AB839FC92}"/>
                </a:ext>
              </a:extLst>
            </p:cNvPr>
            <p:cNvSpPr txBox="1"/>
            <p:nvPr/>
          </p:nvSpPr>
          <p:spPr>
            <a:xfrm>
              <a:off x="2115200" y="2982435"/>
              <a:ext cx="759000" cy="205500"/>
            </a:xfrm>
            <a:prstGeom prst="rect">
              <a:avLst/>
            </a:prstGeom>
            <a:grp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 sz="1467" b="0" i="0" u="none" strike="noStrike" kern="1200" cap="none" spc="0" normalizeH="0" baseline="0" noProof="0">
                  <a:ln>
                    <a:noFill/>
                  </a:ln>
                  <a:solidFill>
                    <a:srgbClr val="FFFFFF"/>
                  </a:solidFill>
                  <a:effectLst/>
                  <a:uLnTx/>
                  <a:uFillTx/>
                  <a:latin typeface="Arial"/>
                  <a:cs typeface="+mn-ea"/>
                  <a:sym typeface="+mn-lt"/>
                </a:rPr>
                <a:t>Earth</a:t>
              </a:r>
              <a:endParaRPr kumimoji="0" sz="1467" b="0" i="0" u="none" strike="noStrike" kern="1200" cap="none" spc="0" normalizeH="0" baseline="0" noProof="0">
                <a:ln>
                  <a:noFill/>
                </a:ln>
                <a:solidFill>
                  <a:srgbClr val="FFFFFF"/>
                </a:solidFill>
                <a:effectLst/>
                <a:uLnTx/>
                <a:uFillTx/>
                <a:latin typeface="Arial"/>
                <a:cs typeface="+mn-ea"/>
                <a:sym typeface="+mn-lt"/>
              </a:endParaRPr>
            </a:p>
          </p:txBody>
        </p:sp>
        <p:sp>
          <p:nvSpPr>
            <p:cNvPr id="117" name="Google Shape;102;p15">
              <a:extLst>
                <a:ext uri="{FF2B5EF4-FFF2-40B4-BE49-F238E27FC236}">
                  <a16:creationId xmlns:a16="http://schemas.microsoft.com/office/drawing/2014/main" id="{BA56C33D-7450-4A1D-B86D-0C3E228F5E3C}"/>
                </a:ext>
              </a:extLst>
            </p:cNvPr>
            <p:cNvSpPr txBox="1"/>
            <p:nvPr/>
          </p:nvSpPr>
          <p:spPr>
            <a:xfrm>
              <a:off x="1955950" y="3237260"/>
              <a:ext cx="759000" cy="205500"/>
            </a:xfrm>
            <a:prstGeom prst="rect">
              <a:avLst/>
            </a:prstGeom>
            <a:grp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 sz="1467" b="0" i="0" u="none" strike="noStrike" kern="1200" cap="none" spc="0" normalizeH="0" baseline="0" noProof="0">
                  <a:ln>
                    <a:noFill/>
                  </a:ln>
                  <a:solidFill>
                    <a:srgbClr val="FFFFFF"/>
                  </a:solidFill>
                  <a:effectLst/>
                  <a:uLnTx/>
                  <a:uFillTx/>
                  <a:latin typeface="Arial"/>
                  <a:cs typeface="+mn-ea"/>
                  <a:sym typeface="+mn-lt"/>
                </a:rPr>
                <a:t>Venus</a:t>
              </a:r>
              <a:endParaRPr kumimoji="0" sz="1467" b="0" i="0" u="none" strike="noStrike" kern="1200" cap="none" spc="0" normalizeH="0" baseline="0" noProof="0">
                <a:ln>
                  <a:noFill/>
                </a:ln>
                <a:solidFill>
                  <a:srgbClr val="FFFFFF"/>
                </a:solidFill>
                <a:effectLst/>
                <a:uLnTx/>
                <a:uFillTx/>
                <a:latin typeface="Arial"/>
                <a:cs typeface="+mn-ea"/>
                <a:sym typeface="+mn-lt"/>
              </a:endParaRPr>
            </a:p>
          </p:txBody>
        </p:sp>
      </p:grpSp>
      <p:grpSp>
        <p:nvGrpSpPr>
          <p:cNvPr id="118" name="Google Shape;103;p15">
            <a:extLst>
              <a:ext uri="{FF2B5EF4-FFF2-40B4-BE49-F238E27FC236}">
                <a16:creationId xmlns:a16="http://schemas.microsoft.com/office/drawing/2014/main" id="{648A4AD6-07F4-4A78-BD93-77B0F7E086D3}"/>
              </a:ext>
            </a:extLst>
          </p:cNvPr>
          <p:cNvGrpSpPr/>
          <p:nvPr/>
        </p:nvGrpSpPr>
        <p:grpSpPr>
          <a:xfrm>
            <a:off x="4277885" y="3429922"/>
            <a:ext cx="2076900" cy="2008695"/>
            <a:chOff x="3208413" y="2888254"/>
            <a:chExt cx="1557675" cy="1506521"/>
          </a:xfrm>
          <a:solidFill>
            <a:schemeClr val="accent1">
              <a:lumMod val="75000"/>
            </a:schemeClr>
          </a:solidFill>
        </p:grpSpPr>
        <p:sp>
          <p:nvSpPr>
            <p:cNvPr id="119" name="Google Shape;104;p15">
              <a:extLst>
                <a:ext uri="{FF2B5EF4-FFF2-40B4-BE49-F238E27FC236}">
                  <a16:creationId xmlns:a16="http://schemas.microsoft.com/office/drawing/2014/main" id="{F0C972E5-7F64-4127-8E65-56BE0258FCB9}"/>
                </a:ext>
              </a:extLst>
            </p:cNvPr>
            <p:cNvSpPr/>
            <p:nvPr/>
          </p:nvSpPr>
          <p:spPr>
            <a:xfrm>
              <a:off x="3647250" y="4045900"/>
              <a:ext cx="348875" cy="348875"/>
            </a:xfrm>
            <a:custGeom>
              <a:avLst/>
              <a:gdLst/>
              <a:ahLst/>
              <a:cxnLst/>
              <a:rect l="l" t="t" r="r" b="b"/>
              <a:pathLst>
                <a:path w="13955" h="13955" extrusionOk="0">
                  <a:moveTo>
                    <a:pt x="6978" y="0"/>
                  </a:moveTo>
                  <a:cubicBezTo>
                    <a:pt x="3120" y="0"/>
                    <a:pt x="1" y="3120"/>
                    <a:pt x="1" y="6977"/>
                  </a:cubicBezTo>
                  <a:cubicBezTo>
                    <a:pt x="1" y="10835"/>
                    <a:pt x="3120" y="13954"/>
                    <a:pt x="6978" y="13954"/>
                  </a:cubicBezTo>
                  <a:cubicBezTo>
                    <a:pt x="10835" y="13954"/>
                    <a:pt x="13955" y="10835"/>
                    <a:pt x="13955" y="6977"/>
                  </a:cubicBezTo>
                  <a:cubicBezTo>
                    <a:pt x="13955" y="3120"/>
                    <a:pt x="10835" y="0"/>
                    <a:pt x="6978" y="0"/>
                  </a:cubicBezTo>
                  <a:close/>
                </a:path>
              </a:pathLst>
            </a:custGeom>
            <a:grp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cs typeface="+mn-ea"/>
                <a:sym typeface="+mn-lt"/>
              </a:endParaRPr>
            </a:p>
          </p:txBody>
        </p:sp>
        <p:sp>
          <p:nvSpPr>
            <p:cNvPr id="120" name="Google Shape;105;p15">
              <a:extLst>
                <a:ext uri="{FF2B5EF4-FFF2-40B4-BE49-F238E27FC236}">
                  <a16:creationId xmlns:a16="http://schemas.microsoft.com/office/drawing/2014/main" id="{42CED93D-959D-45A7-BCDB-96B8B543FB66}"/>
                </a:ext>
              </a:extLst>
            </p:cNvPr>
            <p:cNvSpPr/>
            <p:nvPr/>
          </p:nvSpPr>
          <p:spPr>
            <a:xfrm>
              <a:off x="3647250" y="4012550"/>
              <a:ext cx="348875" cy="349175"/>
            </a:xfrm>
            <a:custGeom>
              <a:avLst/>
              <a:gdLst/>
              <a:ahLst/>
              <a:cxnLst/>
              <a:rect l="l" t="t" r="r" b="b"/>
              <a:pathLst>
                <a:path w="13955" h="13967" extrusionOk="0">
                  <a:moveTo>
                    <a:pt x="6978" y="1"/>
                  </a:moveTo>
                  <a:cubicBezTo>
                    <a:pt x="3120" y="1"/>
                    <a:pt x="1" y="3132"/>
                    <a:pt x="1" y="6978"/>
                  </a:cubicBezTo>
                  <a:cubicBezTo>
                    <a:pt x="1" y="10835"/>
                    <a:pt x="3120" y="13967"/>
                    <a:pt x="6978" y="13967"/>
                  </a:cubicBezTo>
                  <a:cubicBezTo>
                    <a:pt x="10835" y="13967"/>
                    <a:pt x="13955" y="10835"/>
                    <a:pt x="13955" y="6978"/>
                  </a:cubicBezTo>
                  <a:cubicBezTo>
                    <a:pt x="13955" y="3132"/>
                    <a:pt x="10835" y="1"/>
                    <a:pt x="6978" y="1"/>
                  </a:cubicBezTo>
                  <a:close/>
                </a:path>
              </a:pathLst>
            </a:custGeom>
            <a:grpFill/>
            <a:ln>
              <a:noFill/>
            </a:ln>
          </p:spPr>
          <p:txBody>
            <a:bodyPr spcFirstLastPara="1" wrap="square" lIns="0" tIns="121900" rIns="0" bIns="1219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2489" b="0" i="0" u="none" strike="noStrike" kern="1200" cap="none" spc="0" normalizeH="0" baseline="0" noProof="0">
                  <a:ln>
                    <a:noFill/>
                  </a:ln>
                  <a:solidFill>
                    <a:srgbClr val="FFFFFF"/>
                  </a:solidFill>
                  <a:effectLst/>
                  <a:uLnTx/>
                  <a:uFillTx/>
                  <a:latin typeface="Arial"/>
                  <a:cs typeface="+mn-ea"/>
                  <a:sym typeface="+mn-lt"/>
                </a:rPr>
                <a:t>05</a:t>
              </a:r>
              <a:endParaRPr kumimoji="0" sz="2489" b="0" i="0" u="none" strike="noStrike" kern="1200" cap="none" spc="0" normalizeH="0" baseline="0" noProof="0">
                <a:ln>
                  <a:noFill/>
                </a:ln>
                <a:solidFill>
                  <a:srgbClr val="FFFFFF"/>
                </a:solidFill>
                <a:effectLst/>
                <a:uLnTx/>
                <a:uFillTx/>
                <a:latin typeface="Arial"/>
                <a:cs typeface="+mn-ea"/>
                <a:sym typeface="+mn-lt"/>
              </a:endParaRPr>
            </a:p>
          </p:txBody>
        </p:sp>
        <p:sp>
          <p:nvSpPr>
            <p:cNvPr id="121" name="Google Shape;106;p15">
              <a:extLst>
                <a:ext uri="{FF2B5EF4-FFF2-40B4-BE49-F238E27FC236}">
                  <a16:creationId xmlns:a16="http://schemas.microsoft.com/office/drawing/2014/main" id="{D69C4DF3-E25B-4BF7-9592-EDF1B6388E2E}"/>
                </a:ext>
              </a:extLst>
            </p:cNvPr>
            <p:cNvSpPr/>
            <p:nvPr/>
          </p:nvSpPr>
          <p:spPr>
            <a:xfrm>
              <a:off x="3208413" y="2888254"/>
              <a:ext cx="1557675" cy="971789"/>
            </a:xfrm>
            <a:custGeom>
              <a:avLst/>
              <a:gdLst/>
              <a:ahLst/>
              <a:cxnLst/>
              <a:rect l="l" t="t" r="r" b="b"/>
              <a:pathLst>
                <a:path w="62307" h="44959" extrusionOk="0">
                  <a:moveTo>
                    <a:pt x="15884" y="1"/>
                  </a:moveTo>
                  <a:lnTo>
                    <a:pt x="739" y="40565"/>
                  </a:lnTo>
                  <a:cubicBezTo>
                    <a:pt x="1" y="42542"/>
                    <a:pt x="941" y="44959"/>
                    <a:pt x="2454" y="44959"/>
                  </a:cubicBezTo>
                  <a:lnTo>
                    <a:pt x="44352" y="44959"/>
                  </a:lnTo>
                  <a:cubicBezTo>
                    <a:pt x="45066" y="44959"/>
                    <a:pt x="45721" y="44387"/>
                    <a:pt x="46066" y="43458"/>
                  </a:cubicBezTo>
                  <a:lnTo>
                    <a:pt x="62306" y="1"/>
                  </a:lnTo>
                  <a:close/>
                </a:path>
              </a:pathLst>
            </a:custGeom>
            <a:grpFill/>
            <a:ln>
              <a:noFill/>
            </a:ln>
          </p:spPr>
          <p:txBody>
            <a:bodyPr spcFirstLastPara="1" wrap="square" lIns="121900" tIns="121900" rIns="121900" bIns="1219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FFFFFF"/>
                </a:solidFill>
                <a:effectLst/>
                <a:uLnTx/>
                <a:uFillTx/>
                <a:latin typeface="Arial"/>
                <a:cs typeface="+mn-ea"/>
                <a:sym typeface="+mn-lt"/>
              </a:endParaRPr>
            </a:p>
          </p:txBody>
        </p:sp>
        <p:sp>
          <p:nvSpPr>
            <p:cNvPr id="122" name="Google Shape;107;p15">
              <a:extLst>
                <a:ext uri="{FF2B5EF4-FFF2-40B4-BE49-F238E27FC236}">
                  <a16:creationId xmlns:a16="http://schemas.microsoft.com/office/drawing/2014/main" id="{8AB34B43-F1F0-47C5-8F5C-26F4AF7649D7}"/>
                </a:ext>
              </a:extLst>
            </p:cNvPr>
            <p:cNvSpPr/>
            <p:nvPr/>
          </p:nvSpPr>
          <p:spPr>
            <a:xfrm>
              <a:off x="4288288" y="3558750"/>
              <a:ext cx="61325" cy="61050"/>
            </a:xfrm>
            <a:custGeom>
              <a:avLst/>
              <a:gdLst/>
              <a:ahLst/>
              <a:cxnLst/>
              <a:rect l="l" t="t" r="r" b="b"/>
              <a:pathLst>
                <a:path w="2453" h="2442" extrusionOk="0">
                  <a:moveTo>
                    <a:pt x="1227" y="0"/>
                  </a:moveTo>
                  <a:cubicBezTo>
                    <a:pt x="548" y="0"/>
                    <a:pt x="0" y="548"/>
                    <a:pt x="0" y="1227"/>
                  </a:cubicBezTo>
                  <a:cubicBezTo>
                    <a:pt x="0" y="1893"/>
                    <a:pt x="548" y="2441"/>
                    <a:pt x="1227" y="2441"/>
                  </a:cubicBezTo>
                  <a:cubicBezTo>
                    <a:pt x="1905" y="2441"/>
                    <a:pt x="2453" y="1893"/>
                    <a:pt x="2453" y="1227"/>
                  </a:cubicBezTo>
                  <a:cubicBezTo>
                    <a:pt x="2453" y="548"/>
                    <a:pt x="1905" y="0"/>
                    <a:pt x="1227" y="0"/>
                  </a:cubicBezTo>
                  <a:close/>
                </a:path>
              </a:pathLst>
            </a:custGeom>
            <a:grp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cs typeface="+mn-ea"/>
                <a:sym typeface="+mn-lt"/>
              </a:endParaRPr>
            </a:p>
          </p:txBody>
        </p:sp>
        <p:sp>
          <p:nvSpPr>
            <p:cNvPr id="123" name="Google Shape;108;p15">
              <a:extLst>
                <a:ext uri="{FF2B5EF4-FFF2-40B4-BE49-F238E27FC236}">
                  <a16:creationId xmlns:a16="http://schemas.microsoft.com/office/drawing/2014/main" id="{A6698E57-1A44-4C12-8435-1870267A91BA}"/>
                </a:ext>
              </a:extLst>
            </p:cNvPr>
            <p:cNvSpPr/>
            <p:nvPr/>
          </p:nvSpPr>
          <p:spPr>
            <a:xfrm>
              <a:off x="4406238" y="3309485"/>
              <a:ext cx="61050" cy="61025"/>
            </a:xfrm>
            <a:custGeom>
              <a:avLst/>
              <a:gdLst/>
              <a:ahLst/>
              <a:cxnLst/>
              <a:rect l="l" t="t" r="r" b="b"/>
              <a:pathLst>
                <a:path w="2442" h="2441" extrusionOk="0">
                  <a:moveTo>
                    <a:pt x="1227" y="0"/>
                  </a:moveTo>
                  <a:cubicBezTo>
                    <a:pt x="549" y="0"/>
                    <a:pt x="1" y="548"/>
                    <a:pt x="1" y="1215"/>
                  </a:cubicBezTo>
                  <a:cubicBezTo>
                    <a:pt x="1" y="1893"/>
                    <a:pt x="549" y="2441"/>
                    <a:pt x="1227" y="2441"/>
                  </a:cubicBezTo>
                  <a:cubicBezTo>
                    <a:pt x="1894" y="2441"/>
                    <a:pt x="2442" y="1893"/>
                    <a:pt x="2442" y="1215"/>
                  </a:cubicBezTo>
                  <a:cubicBezTo>
                    <a:pt x="2442" y="548"/>
                    <a:pt x="1894" y="0"/>
                    <a:pt x="1227" y="0"/>
                  </a:cubicBezTo>
                  <a:close/>
                </a:path>
              </a:pathLst>
            </a:custGeom>
            <a:grp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cs typeface="+mn-ea"/>
                <a:sym typeface="+mn-lt"/>
              </a:endParaRPr>
            </a:p>
          </p:txBody>
        </p:sp>
        <p:sp>
          <p:nvSpPr>
            <p:cNvPr id="124" name="Google Shape;109;p15">
              <a:extLst>
                <a:ext uri="{FF2B5EF4-FFF2-40B4-BE49-F238E27FC236}">
                  <a16:creationId xmlns:a16="http://schemas.microsoft.com/office/drawing/2014/main" id="{8A5E2E50-C886-4509-9597-CBA29B776F97}"/>
                </a:ext>
              </a:extLst>
            </p:cNvPr>
            <p:cNvSpPr/>
            <p:nvPr/>
          </p:nvSpPr>
          <p:spPr>
            <a:xfrm>
              <a:off x="4489288" y="3054525"/>
              <a:ext cx="61050" cy="61325"/>
            </a:xfrm>
            <a:custGeom>
              <a:avLst/>
              <a:gdLst/>
              <a:ahLst/>
              <a:cxnLst/>
              <a:rect l="l" t="t" r="r" b="b"/>
              <a:pathLst>
                <a:path w="2442" h="2453" extrusionOk="0">
                  <a:moveTo>
                    <a:pt x="1215" y="0"/>
                  </a:moveTo>
                  <a:cubicBezTo>
                    <a:pt x="549" y="0"/>
                    <a:pt x="1" y="548"/>
                    <a:pt x="1" y="1227"/>
                  </a:cubicBezTo>
                  <a:cubicBezTo>
                    <a:pt x="1" y="1905"/>
                    <a:pt x="549" y="2453"/>
                    <a:pt x="1215" y="2453"/>
                  </a:cubicBezTo>
                  <a:cubicBezTo>
                    <a:pt x="1894" y="2453"/>
                    <a:pt x="2442" y="1905"/>
                    <a:pt x="2442" y="1227"/>
                  </a:cubicBezTo>
                  <a:cubicBezTo>
                    <a:pt x="2442" y="548"/>
                    <a:pt x="1894" y="0"/>
                    <a:pt x="1215" y="0"/>
                  </a:cubicBezTo>
                  <a:close/>
                </a:path>
              </a:pathLst>
            </a:custGeom>
            <a:grp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cs typeface="+mn-ea"/>
                <a:sym typeface="+mn-lt"/>
              </a:endParaRPr>
            </a:p>
          </p:txBody>
        </p:sp>
        <p:sp>
          <p:nvSpPr>
            <p:cNvPr id="125" name="Google Shape;110;p15">
              <a:extLst>
                <a:ext uri="{FF2B5EF4-FFF2-40B4-BE49-F238E27FC236}">
                  <a16:creationId xmlns:a16="http://schemas.microsoft.com/office/drawing/2014/main" id="{3F5233D3-C41A-4548-9EA6-B6A3107E5953}"/>
                </a:ext>
              </a:extLst>
            </p:cNvPr>
            <p:cNvSpPr txBox="1"/>
            <p:nvPr/>
          </p:nvSpPr>
          <p:spPr>
            <a:xfrm>
              <a:off x="3730288" y="2982435"/>
              <a:ext cx="759000" cy="205500"/>
            </a:xfrm>
            <a:prstGeom prst="rect">
              <a:avLst/>
            </a:prstGeom>
            <a:grp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 sz="1467" b="0" i="0" u="none" strike="noStrike" kern="1200" cap="none" spc="0" normalizeH="0" baseline="0" noProof="0">
                  <a:ln>
                    <a:noFill/>
                  </a:ln>
                  <a:solidFill>
                    <a:srgbClr val="FFFFFF"/>
                  </a:solidFill>
                  <a:effectLst/>
                  <a:uLnTx/>
                  <a:uFillTx/>
                  <a:latin typeface="Arial"/>
                  <a:cs typeface="+mn-ea"/>
                  <a:sym typeface="+mn-lt"/>
                </a:rPr>
                <a:t>Mars</a:t>
              </a:r>
              <a:endParaRPr kumimoji="0" sz="1467" b="0" i="0" u="none" strike="noStrike" kern="1200" cap="none" spc="0" normalizeH="0" baseline="0" noProof="0">
                <a:ln>
                  <a:noFill/>
                </a:ln>
                <a:solidFill>
                  <a:srgbClr val="FFFFFF"/>
                </a:solidFill>
                <a:effectLst/>
                <a:uLnTx/>
                <a:uFillTx/>
                <a:latin typeface="Arial"/>
                <a:cs typeface="+mn-ea"/>
                <a:sym typeface="+mn-lt"/>
              </a:endParaRPr>
            </a:p>
          </p:txBody>
        </p:sp>
        <p:sp>
          <p:nvSpPr>
            <p:cNvPr id="126" name="Google Shape;111;p15">
              <a:extLst>
                <a:ext uri="{FF2B5EF4-FFF2-40B4-BE49-F238E27FC236}">
                  <a16:creationId xmlns:a16="http://schemas.microsoft.com/office/drawing/2014/main" id="{AFB70C6A-7D66-4D23-A3EF-AF0201A658B8}"/>
                </a:ext>
              </a:extLst>
            </p:cNvPr>
            <p:cNvSpPr txBox="1"/>
            <p:nvPr/>
          </p:nvSpPr>
          <p:spPr>
            <a:xfrm>
              <a:off x="3647238" y="3237247"/>
              <a:ext cx="759000" cy="205500"/>
            </a:xfrm>
            <a:prstGeom prst="rect">
              <a:avLst/>
            </a:prstGeom>
            <a:grp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 sz="1467" b="0" i="0" u="none" strike="noStrike" kern="1200" cap="none" spc="0" normalizeH="0" baseline="0" noProof="0">
                  <a:ln>
                    <a:noFill/>
                  </a:ln>
                  <a:solidFill>
                    <a:srgbClr val="FFFFFF"/>
                  </a:solidFill>
                  <a:effectLst/>
                  <a:uLnTx/>
                  <a:uFillTx/>
                  <a:latin typeface="Arial"/>
                  <a:cs typeface="+mn-ea"/>
                  <a:sym typeface="+mn-lt"/>
                </a:rPr>
                <a:t>Venus</a:t>
              </a:r>
              <a:endParaRPr kumimoji="0" sz="1467" b="0" i="0" u="none" strike="noStrike" kern="1200" cap="none" spc="0" normalizeH="0" baseline="0" noProof="0">
                <a:ln>
                  <a:noFill/>
                </a:ln>
                <a:solidFill>
                  <a:srgbClr val="FFFFFF"/>
                </a:solidFill>
                <a:effectLst/>
                <a:uLnTx/>
                <a:uFillTx/>
                <a:latin typeface="Arial"/>
                <a:cs typeface="+mn-ea"/>
                <a:sym typeface="+mn-lt"/>
              </a:endParaRPr>
            </a:p>
          </p:txBody>
        </p:sp>
        <p:sp>
          <p:nvSpPr>
            <p:cNvPr id="127" name="Google Shape;112;p15">
              <a:extLst>
                <a:ext uri="{FF2B5EF4-FFF2-40B4-BE49-F238E27FC236}">
                  <a16:creationId xmlns:a16="http://schemas.microsoft.com/office/drawing/2014/main" id="{2992CCDF-499C-435B-B36C-50EDFF503260}"/>
                </a:ext>
              </a:extLst>
            </p:cNvPr>
            <p:cNvSpPr txBox="1"/>
            <p:nvPr/>
          </p:nvSpPr>
          <p:spPr>
            <a:xfrm>
              <a:off x="3529288" y="3486535"/>
              <a:ext cx="759000" cy="205500"/>
            </a:xfrm>
            <a:prstGeom prst="rect">
              <a:avLst/>
            </a:prstGeom>
            <a:grp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 sz="1467" b="0" i="0" u="none" strike="noStrike" kern="1200" cap="none" spc="0" normalizeH="0" baseline="0" noProof="0">
                  <a:ln>
                    <a:noFill/>
                  </a:ln>
                  <a:solidFill>
                    <a:srgbClr val="FFFFFF"/>
                  </a:solidFill>
                  <a:effectLst/>
                  <a:uLnTx/>
                  <a:uFillTx/>
                  <a:latin typeface="Arial"/>
                  <a:cs typeface="+mn-ea"/>
                  <a:sym typeface="+mn-lt"/>
                </a:rPr>
                <a:t>Jupiter</a:t>
              </a:r>
              <a:endParaRPr kumimoji="0" sz="1467" b="0" i="0" u="none" strike="noStrike" kern="1200" cap="none" spc="0" normalizeH="0" baseline="0" noProof="0">
                <a:ln>
                  <a:noFill/>
                </a:ln>
                <a:solidFill>
                  <a:srgbClr val="FFFFFF"/>
                </a:solidFill>
                <a:effectLst/>
                <a:uLnTx/>
                <a:uFillTx/>
                <a:latin typeface="Arial"/>
                <a:cs typeface="+mn-ea"/>
                <a:sym typeface="+mn-lt"/>
              </a:endParaRPr>
            </a:p>
          </p:txBody>
        </p:sp>
      </p:grpSp>
      <p:grpSp>
        <p:nvGrpSpPr>
          <p:cNvPr id="128" name="Google Shape;113;p15">
            <a:extLst>
              <a:ext uri="{FF2B5EF4-FFF2-40B4-BE49-F238E27FC236}">
                <a16:creationId xmlns:a16="http://schemas.microsoft.com/office/drawing/2014/main" id="{8E30831F-D626-43B1-8F2B-48D29DEE81F4}"/>
              </a:ext>
            </a:extLst>
          </p:cNvPr>
          <p:cNvGrpSpPr/>
          <p:nvPr/>
        </p:nvGrpSpPr>
        <p:grpSpPr>
          <a:xfrm>
            <a:off x="6539567" y="3429982"/>
            <a:ext cx="2076900" cy="2291401"/>
            <a:chOff x="4904675" y="2888299"/>
            <a:chExt cx="1557675" cy="1718551"/>
          </a:xfrm>
          <a:solidFill>
            <a:schemeClr val="accent1">
              <a:lumMod val="75000"/>
            </a:schemeClr>
          </a:solidFill>
        </p:grpSpPr>
        <p:sp>
          <p:nvSpPr>
            <p:cNvPr id="129" name="Google Shape;114;p15">
              <a:extLst>
                <a:ext uri="{FF2B5EF4-FFF2-40B4-BE49-F238E27FC236}">
                  <a16:creationId xmlns:a16="http://schemas.microsoft.com/office/drawing/2014/main" id="{90F51470-89B5-407B-B301-76F8D62A1E9E}"/>
                </a:ext>
              </a:extLst>
            </p:cNvPr>
            <p:cNvSpPr/>
            <p:nvPr/>
          </p:nvSpPr>
          <p:spPr>
            <a:xfrm>
              <a:off x="4904675" y="2888299"/>
              <a:ext cx="1557675" cy="1186693"/>
            </a:xfrm>
            <a:custGeom>
              <a:avLst/>
              <a:gdLst/>
              <a:ahLst/>
              <a:cxnLst/>
              <a:rect l="l" t="t" r="r" b="b"/>
              <a:pathLst>
                <a:path w="62307" h="44959" extrusionOk="0">
                  <a:moveTo>
                    <a:pt x="15884" y="1"/>
                  </a:moveTo>
                  <a:lnTo>
                    <a:pt x="739" y="40565"/>
                  </a:lnTo>
                  <a:cubicBezTo>
                    <a:pt x="1" y="42542"/>
                    <a:pt x="941" y="44959"/>
                    <a:pt x="2454" y="44959"/>
                  </a:cubicBezTo>
                  <a:lnTo>
                    <a:pt x="44352" y="44959"/>
                  </a:lnTo>
                  <a:cubicBezTo>
                    <a:pt x="45066" y="44959"/>
                    <a:pt x="45721" y="44387"/>
                    <a:pt x="46066" y="43458"/>
                  </a:cubicBezTo>
                  <a:lnTo>
                    <a:pt x="62306" y="1"/>
                  </a:lnTo>
                  <a:close/>
                </a:path>
              </a:pathLst>
            </a:custGeom>
            <a:grp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cs typeface="+mn-ea"/>
                <a:sym typeface="+mn-lt"/>
              </a:endParaRPr>
            </a:p>
          </p:txBody>
        </p:sp>
        <p:sp>
          <p:nvSpPr>
            <p:cNvPr id="130" name="Google Shape;115;p15">
              <a:extLst>
                <a:ext uri="{FF2B5EF4-FFF2-40B4-BE49-F238E27FC236}">
                  <a16:creationId xmlns:a16="http://schemas.microsoft.com/office/drawing/2014/main" id="{845B4A33-BC7B-4BCD-9351-E20751903FBC}"/>
                </a:ext>
              </a:extLst>
            </p:cNvPr>
            <p:cNvSpPr/>
            <p:nvPr/>
          </p:nvSpPr>
          <p:spPr>
            <a:xfrm>
              <a:off x="5326825" y="4257975"/>
              <a:ext cx="349175" cy="348875"/>
            </a:xfrm>
            <a:custGeom>
              <a:avLst/>
              <a:gdLst/>
              <a:ahLst/>
              <a:cxnLst/>
              <a:rect l="l" t="t" r="r" b="b"/>
              <a:pathLst>
                <a:path w="13967" h="13955" extrusionOk="0">
                  <a:moveTo>
                    <a:pt x="6990" y="0"/>
                  </a:moveTo>
                  <a:cubicBezTo>
                    <a:pt x="3132" y="0"/>
                    <a:pt x="1" y="3119"/>
                    <a:pt x="1" y="6977"/>
                  </a:cubicBezTo>
                  <a:cubicBezTo>
                    <a:pt x="1" y="10835"/>
                    <a:pt x="3132" y="13954"/>
                    <a:pt x="6990" y="13954"/>
                  </a:cubicBezTo>
                  <a:cubicBezTo>
                    <a:pt x="10835" y="13954"/>
                    <a:pt x="13967" y="10835"/>
                    <a:pt x="13967" y="6977"/>
                  </a:cubicBezTo>
                  <a:cubicBezTo>
                    <a:pt x="13967" y="3119"/>
                    <a:pt x="10835" y="0"/>
                    <a:pt x="6990" y="0"/>
                  </a:cubicBezTo>
                  <a:close/>
                </a:path>
              </a:pathLst>
            </a:custGeom>
            <a:grp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cs typeface="+mn-ea"/>
                <a:sym typeface="+mn-lt"/>
              </a:endParaRPr>
            </a:p>
          </p:txBody>
        </p:sp>
        <p:sp>
          <p:nvSpPr>
            <p:cNvPr id="131" name="Google Shape;116;p15">
              <a:extLst>
                <a:ext uri="{FF2B5EF4-FFF2-40B4-BE49-F238E27FC236}">
                  <a16:creationId xmlns:a16="http://schemas.microsoft.com/office/drawing/2014/main" id="{16B098A8-4CAF-4790-B76A-481932CF100C}"/>
                </a:ext>
              </a:extLst>
            </p:cNvPr>
            <p:cNvSpPr/>
            <p:nvPr/>
          </p:nvSpPr>
          <p:spPr>
            <a:xfrm>
              <a:off x="5326825" y="4224625"/>
              <a:ext cx="349175" cy="349175"/>
            </a:xfrm>
            <a:custGeom>
              <a:avLst/>
              <a:gdLst/>
              <a:ahLst/>
              <a:cxnLst/>
              <a:rect l="l" t="t" r="r" b="b"/>
              <a:pathLst>
                <a:path w="13967" h="13967" extrusionOk="0">
                  <a:moveTo>
                    <a:pt x="6990" y="1"/>
                  </a:moveTo>
                  <a:cubicBezTo>
                    <a:pt x="3132" y="1"/>
                    <a:pt x="1" y="3132"/>
                    <a:pt x="1" y="6978"/>
                  </a:cubicBezTo>
                  <a:cubicBezTo>
                    <a:pt x="1" y="10835"/>
                    <a:pt x="3132" y="13967"/>
                    <a:pt x="6990" y="13967"/>
                  </a:cubicBezTo>
                  <a:cubicBezTo>
                    <a:pt x="10835" y="13967"/>
                    <a:pt x="13967" y="10835"/>
                    <a:pt x="13967" y="6978"/>
                  </a:cubicBezTo>
                  <a:cubicBezTo>
                    <a:pt x="13967" y="3132"/>
                    <a:pt x="10835" y="1"/>
                    <a:pt x="6990" y="1"/>
                  </a:cubicBezTo>
                  <a:close/>
                </a:path>
              </a:pathLst>
            </a:custGeom>
            <a:grpFill/>
            <a:ln>
              <a:noFill/>
            </a:ln>
          </p:spPr>
          <p:txBody>
            <a:bodyPr spcFirstLastPara="1" wrap="square" lIns="0" tIns="121900" rIns="0" bIns="1219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2489" b="0" i="0" u="none" strike="noStrike" kern="1200" cap="none" spc="0" normalizeH="0" baseline="0" noProof="0">
                  <a:ln>
                    <a:noFill/>
                  </a:ln>
                  <a:solidFill>
                    <a:srgbClr val="FFFFFF"/>
                  </a:solidFill>
                  <a:effectLst/>
                  <a:uLnTx/>
                  <a:uFillTx/>
                  <a:latin typeface="Arial"/>
                  <a:cs typeface="+mn-ea"/>
                  <a:sym typeface="+mn-lt"/>
                </a:rPr>
                <a:t>06</a:t>
              </a:r>
              <a:endParaRPr kumimoji="0" sz="2489" b="0" i="0" u="none" strike="noStrike" kern="1200" cap="none" spc="0" normalizeH="0" baseline="0" noProof="0">
                <a:ln>
                  <a:noFill/>
                </a:ln>
                <a:solidFill>
                  <a:srgbClr val="FFFFFF"/>
                </a:solidFill>
                <a:effectLst/>
                <a:uLnTx/>
                <a:uFillTx/>
                <a:latin typeface="Arial"/>
                <a:cs typeface="+mn-ea"/>
                <a:sym typeface="+mn-lt"/>
              </a:endParaRPr>
            </a:p>
          </p:txBody>
        </p:sp>
        <p:sp>
          <p:nvSpPr>
            <p:cNvPr id="132" name="Google Shape;117;p15">
              <a:extLst>
                <a:ext uri="{FF2B5EF4-FFF2-40B4-BE49-F238E27FC236}">
                  <a16:creationId xmlns:a16="http://schemas.microsoft.com/office/drawing/2014/main" id="{8B9E55F2-58EB-4D60-8E16-000D96F3D3DB}"/>
                </a:ext>
              </a:extLst>
            </p:cNvPr>
            <p:cNvSpPr/>
            <p:nvPr/>
          </p:nvSpPr>
          <p:spPr>
            <a:xfrm>
              <a:off x="5957500" y="3820375"/>
              <a:ext cx="61025" cy="61350"/>
            </a:xfrm>
            <a:custGeom>
              <a:avLst/>
              <a:gdLst/>
              <a:ahLst/>
              <a:cxnLst/>
              <a:rect l="l" t="t" r="r" b="b"/>
              <a:pathLst>
                <a:path w="2441" h="2454" extrusionOk="0">
                  <a:moveTo>
                    <a:pt x="1215" y="1"/>
                  </a:moveTo>
                  <a:cubicBezTo>
                    <a:pt x="548" y="1"/>
                    <a:pt x="0" y="549"/>
                    <a:pt x="0" y="1227"/>
                  </a:cubicBezTo>
                  <a:cubicBezTo>
                    <a:pt x="0" y="1906"/>
                    <a:pt x="548" y="2454"/>
                    <a:pt x="1215" y="2454"/>
                  </a:cubicBezTo>
                  <a:cubicBezTo>
                    <a:pt x="1893" y="2454"/>
                    <a:pt x="2441" y="1906"/>
                    <a:pt x="2441" y="1227"/>
                  </a:cubicBezTo>
                  <a:cubicBezTo>
                    <a:pt x="2441" y="549"/>
                    <a:pt x="1893" y="1"/>
                    <a:pt x="1215" y="1"/>
                  </a:cubicBezTo>
                  <a:close/>
                </a:path>
              </a:pathLst>
            </a:custGeom>
            <a:grp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cs typeface="+mn-ea"/>
                <a:sym typeface="+mn-lt"/>
              </a:endParaRPr>
            </a:p>
          </p:txBody>
        </p:sp>
        <p:sp>
          <p:nvSpPr>
            <p:cNvPr id="133" name="Google Shape;118;p15">
              <a:extLst>
                <a:ext uri="{FF2B5EF4-FFF2-40B4-BE49-F238E27FC236}">
                  <a16:creationId xmlns:a16="http://schemas.microsoft.com/office/drawing/2014/main" id="{718E2D28-66C4-4F41-A6D3-BB1FA86143BF}"/>
                </a:ext>
              </a:extLst>
            </p:cNvPr>
            <p:cNvSpPr/>
            <p:nvPr/>
          </p:nvSpPr>
          <p:spPr>
            <a:xfrm>
              <a:off x="6046200" y="3558750"/>
              <a:ext cx="61325" cy="61050"/>
            </a:xfrm>
            <a:custGeom>
              <a:avLst/>
              <a:gdLst/>
              <a:ahLst/>
              <a:cxnLst/>
              <a:rect l="l" t="t" r="r" b="b"/>
              <a:pathLst>
                <a:path w="2453" h="2442" extrusionOk="0">
                  <a:moveTo>
                    <a:pt x="1227" y="0"/>
                  </a:moveTo>
                  <a:cubicBezTo>
                    <a:pt x="548" y="0"/>
                    <a:pt x="0" y="548"/>
                    <a:pt x="0" y="1227"/>
                  </a:cubicBezTo>
                  <a:cubicBezTo>
                    <a:pt x="0" y="1893"/>
                    <a:pt x="548" y="2441"/>
                    <a:pt x="1227" y="2441"/>
                  </a:cubicBezTo>
                  <a:cubicBezTo>
                    <a:pt x="1905" y="2441"/>
                    <a:pt x="2453" y="1893"/>
                    <a:pt x="2453" y="1227"/>
                  </a:cubicBezTo>
                  <a:cubicBezTo>
                    <a:pt x="2453" y="548"/>
                    <a:pt x="1905" y="0"/>
                    <a:pt x="1227" y="0"/>
                  </a:cubicBezTo>
                  <a:close/>
                </a:path>
              </a:pathLst>
            </a:custGeom>
            <a:grp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cs typeface="+mn-ea"/>
                <a:sym typeface="+mn-lt"/>
              </a:endParaRPr>
            </a:p>
          </p:txBody>
        </p:sp>
        <p:sp>
          <p:nvSpPr>
            <p:cNvPr id="134" name="Google Shape;119;p15">
              <a:extLst>
                <a:ext uri="{FF2B5EF4-FFF2-40B4-BE49-F238E27FC236}">
                  <a16:creationId xmlns:a16="http://schemas.microsoft.com/office/drawing/2014/main" id="{4E94BEC5-00E4-49F5-9BAD-9C86450F28B4}"/>
                </a:ext>
              </a:extLst>
            </p:cNvPr>
            <p:cNvSpPr/>
            <p:nvPr/>
          </p:nvSpPr>
          <p:spPr>
            <a:xfrm>
              <a:off x="6139350" y="3308425"/>
              <a:ext cx="61050" cy="61025"/>
            </a:xfrm>
            <a:custGeom>
              <a:avLst/>
              <a:gdLst/>
              <a:ahLst/>
              <a:cxnLst/>
              <a:rect l="l" t="t" r="r" b="b"/>
              <a:pathLst>
                <a:path w="2442" h="2441" extrusionOk="0">
                  <a:moveTo>
                    <a:pt x="1227" y="0"/>
                  </a:moveTo>
                  <a:cubicBezTo>
                    <a:pt x="549" y="0"/>
                    <a:pt x="1" y="548"/>
                    <a:pt x="1" y="1215"/>
                  </a:cubicBezTo>
                  <a:cubicBezTo>
                    <a:pt x="1" y="1893"/>
                    <a:pt x="549" y="2441"/>
                    <a:pt x="1227" y="2441"/>
                  </a:cubicBezTo>
                  <a:cubicBezTo>
                    <a:pt x="1894" y="2441"/>
                    <a:pt x="2442" y="1893"/>
                    <a:pt x="2442" y="1215"/>
                  </a:cubicBezTo>
                  <a:cubicBezTo>
                    <a:pt x="2442" y="548"/>
                    <a:pt x="1894" y="0"/>
                    <a:pt x="1227" y="0"/>
                  </a:cubicBezTo>
                  <a:close/>
                </a:path>
              </a:pathLst>
            </a:custGeom>
            <a:grp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cs typeface="+mn-ea"/>
                <a:sym typeface="+mn-lt"/>
              </a:endParaRPr>
            </a:p>
          </p:txBody>
        </p:sp>
        <p:sp>
          <p:nvSpPr>
            <p:cNvPr id="135" name="Google Shape;120;p15">
              <a:extLst>
                <a:ext uri="{FF2B5EF4-FFF2-40B4-BE49-F238E27FC236}">
                  <a16:creationId xmlns:a16="http://schemas.microsoft.com/office/drawing/2014/main" id="{7D868608-67BF-4169-879A-5A9A999D31EB}"/>
                </a:ext>
              </a:extLst>
            </p:cNvPr>
            <p:cNvSpPr/>
            <p:nvPr/>
          </p:nvSpPr>
          <p:spPr>
            <a:xfrm>
              <a:off x="6222400" y="3054525"/>
              <a:ext cx="61050" cy="61325"/>
            </a:xfrm>
            <a:custGeom>
              <a:avLst/>
              <a:gdLst/>
              <a:ahLst/>
              <a:cxnLst/>
              <a:rect l="l" t="t" r="r" b="b"/>
              <a:pathLst>
                <a:path w="2442" h="2453" extrusionOk="0">
                  <a:moveTo>
                    <a:pt x="1215" y="0"/>
                  </a:moveTo>
                  <a:cubicBezTo>
                    <a:pt x="549" y="0"/>
                    <a:pt x="1" y="548"/>
                    <a:pt x="1" y="1227"/>
                  </a:cubicBezTo>
                  <a:cubicBezTo>
                    <a:pt x="1" y="1905"/>
                    <a:pt x="549" y="2453"/>
                    <a:pt x="1215" y="2453"/>
                  </a:cubicBezTo>
                  <a:cubicBezTo>
                    <a:pt x="1894" y="2453"/>
                    <a:pt x="2442" y="1905"/>
                    <a:pt x="2442" y="1227"/>
                  </a:cubicBezTo>
                  <a:cubicBezTo>
                    <a:pt x="2442" y="548"/>
                    <a:pt x="1894" y="0"/>
                    <a:pt x="1215" y="0"/>
                  </a:cubicBezTo>
                  <a:close/>
                </a:path>
              </a:pathLst>
            </a:custGeom>
            <a:grp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cs typeface="+mn-ea"/>
                <a:sym typeface="+mn-lt"/>
              </a:endParaRPr>
            </a:p>
          </p:txBody>
        </p:sp>
        <p:sp>
          <p:nvSpPr>
            <p:cNvPr id="136" name="Google Shape;121;p15">
              <a:extLst>
                <a:ext uri="{FF2B5EF4-FFF2-40B4-BE49-F238E27FC236}">
                  <a16:creationId xmlns:a16="http://schemas.microsoft.com/office/drawing/2014/main" id="{C3470DEF-48C6-49DE-84A0-EC2211A8C7A4}"/>
                </a:ext>
              </a:extLst>
            </p:cNvPr>
            <p:cNvSpPr txBox="1"/>
            <p:nvPr/>
          </p:nvSpPr>
          <p:spPr>
            <a:xfrm>
              <a:off x="5463400" y="2982447"/>
              <a:ext cx="759000" cy="205500"/>
            </a:xfrm>
            <a:prstGeom prst="rect">
              <a:avLst/>
            </a:prstGeom>
            <a:grp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 sz="1467" b="0" i="0" u="none" strike="noStrike" kern="1200" cap="none" spc="0" normalizeH="0" baseline="0" noProof="0">
                  <a:ln>
                    <a:noFill/>
                  </a:ln>
                  <a:solidFill>
                    <a:srgbClr val="FFFFFF"/>
                  </a:solidFill>
                  <a:effectLst/>
                  <a:uLnTx/>
                  <a:uFillTx/>
                  <a:latin typeface="Arial"/>
                  <a:cs typeface="+mn-ea"/>
                  <a:sym typeface="+mn-lt"/>
                </a:rPr>
                <a:t>Thebe</a:t>
              </a:r>
              <a:endParaRPr kumimoji="0" sz="1467" b="0" i="0" u="none" strike="noStrike" kern="1200" cap="none" spc="0" normalizeH="0" baseline="0" noProof="0">
                <a:ln>
                  <a:noFill/>
                </a:ln>
                <a:solidFill>
                  <a:srgbClr val="FFFFFF"/>
                </a:solidFill>
                <a:effectLst/>
                <a:uLnTx/>
                <a:uFillTx/>
                <a:latin typeface="Arial"/>
                <a:cs typeface="+mn-ea"/>
                <a:sym typeface="+mn-lt"/>
              </a:endParaRPr>
            </a:p>
          </p:txBody>
        </p:sp>
        <p:sp>
          <p:nvSpPr>
            <p:cNvPr id="137" name="Google Shape;122;p15">
              <a:extLst>
                <a:ext uri="{FF2B5EF4-FFF2-40B4-BE49-F238E27FC236}">
                  <a16:creationId xmlns:a16="http://schemas.microsoft.com/office/drawing/2014/main" id="{526C4DD9-AEB5-47B0-8529-13DDD4DF8CEC}"/>
                </a:ext>
              </a:extLst>
            </p:cNvPr>
            <p:cNvSpPr txBox="1"/>
            <p:nvPr/>
          </p:nvSpPr>
          <p:spPr>
            <a:xfrm>
              <a:off x="5380350" y="3236197"/>
              <a:ext cx="759000" cy="205500"/>
            </a:xfrm>
            <a:prstGeom prst="rect">
              <a:avLst/>
            </a:prstGeom>
            <a:grp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 sz="1467" b="0" i="0" u="none" strike="noStrike" kern="1200" cap="none" spc="0" normalizeH="0" baseline="0" noProof="0">
                  <a:ln>
                    <a:noFill/>
                  </a:ln>
                  <a:solidFill>
                    <a:srgbClr val="FFFFFF"/>
                  </a:solidFill>
                  <a:effectLst/>
                  <a:uLnTx/>
                  <a:uFillTx/>
                  <a:latin typeface="Arial"/>
                  <a:cs typeface="+mn-ea"/>
                  <a:sym typeface="+mn-lt"/>
                </a:rPr>
                <a:t>Metis</a:t>
              </a:r>
              <a:endParaRPr kumimoji="0" sz="1467" b="0" i="0" u="none" strike="noStrike" kern="1200" cap="none" spc="0" normalizeH="0" baseline="0" noProof="0">
                <a:ln>
                  <a:noFill/>
                </a:ln>
                <a:solidFill>
                  <a:srgbClr val="FFFFFF"/>
                </a:solidFill>
                <a:effectLst/>
                <a:uLnTx/>
                <a:uFillTx/>
                <a:latin typeface="Arial"/>
                <a:cs typeface="+mn-ea"/>
                <a:sym typeface="+mn-lt"/>
              </a:endParaRPr>
            </a:p>
          </p:txBody>
        </p:sp>
        <p:sp>
          <p:nvSpPr>
            <p:cNvPr id="138" name="Google Shape;123;p15">
              <a:extLst>
                <a:ext uri="{FF2B5EF4-FFF2-40B4-BE49-F238E27FC236}">
                  <a16:creationId xmlns:a16="http://schemas.microsoft.com/office/drawing/2014/main" id="{26140F82-D1AD-407A-B11B-6581518E6C5F}"/>
                </a:ext>
              </a:extLst>
            </p:cNvPr>
            <p:cNvSpPr txBox="1"/>
            <p:nvPr/>
          </p:nvSpPr>
          <p:spPr>
            <a:xfrm>
              <a:off x="5287200" y="3486535"/>
              <a:ext cx="759000" cy="205500"/>
            </a:xfrm>
            <a:prstGeom prst="rect">
              <a:avLst/>
            </a:prstGeom>
            <a:grp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 sz="1467" b="0" i="0" u="none" strike="noStrike" kern="1200" cap="none" spc="0" normalizeH="0" baseline="0" noProof="0">
                  <a:ln>
                    <a:noFill/>
                  </a:ln>
                  <a:solidFill>
                    <a:srgbClr val="FFFFFF"/>
                  </a:solidFill>
                  <a:effectLst/>
                  <a:uLnTx/>
                  <a:uFillTx/>
                  <a:latin typeface="Arial"/>
                  <a:cs typeface="+mn-ea"/>
                  <a:sym typeface="+mn-lt"/>
                </a:rPr>
                <a:t>Saturn</a:t>
              </a:r>
              <a:endParaRPr kumimoji="0" sz="1467" b="0" i="0" u="none" strike="noStrike" kern="1200" cap="none" spc="0" normalizeH="0" baseline="0" noProof="0">
                <a:ln>
                  <a:noFill/>
                </a:ln>
                <a:solidFill>
                  <a:srgbClr val="FFFFFF"/>
                </a:solidFill>
                <a:effectLst/>
                <a:uLnTx/>
                <a:uFillTx/>
                <a:latin typeface="Arial"/>
                <a:cs typeface="+mn-ea"/>
                <a:sym typeface="+mn-lt"/>
              </a:endParaRPr>
            </a:p>
          </p:txBody>
        </p:sp>
        <p:sp>
          <p:nvSpPr>
            <p:cNvPr id="139" name="Google Shape;124;p15">
              <a:extLst>
                <a:ext uri="{FF2B5EF4-FFF2-40B4-BE49-F238E27FC236}">
                  <a16:creationId xmlns:a16="http://schemas.microsoft.com/office/drawing/2014/main" id="{79B07343-6EA7-478D-83F8-93A0834EF893}"/>
                </a:ext>
              </a:extLst>
            </p:cNvPr>
            <p:cNvSpPr txBox="1"/>
            <p:nvPr/>
          </p:nvSpPr>
          <p:spPr>
            <a:xfrm>
              <a:off x="5198500" y="3748310"/>
              <a:ext cx="759000" cy="205500"/>
            </a:xfrm>
            <a:prstGeom prst="rect">
              <a:avLst/>
            </a:prstGeom>
            <a:grp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 sz="1467" b="0" i="0" u="none" strike="noStrike" kern="1200" cap="none" spc="0" normalizeH="0" baseline="0" noProof="0">
                  <a:ln>
                    <a:noFill/>
                  </a:ln>
                  <a:solidFill>
                    <a:srgbClr val="FFFFFF"/>
                  </a:solidFill>
                  <a:effectLst/>
                  <a:uLnTx/>
                  <a:uFillTx/>
                  <a:latin typeface="Arial"/>
                  <a:cs typeface="+mn-ea"/>
                  <a:sym typeface="+mn-lt"/>
                </a:rPr>
                <a:t>Phoebe</a:t>
              </a:r>
              <a:endParaRPr kumimoji="0" sz="1467" b="0" i="0" u="none" strike="noStrike" kern="1200" cap="none" spc="0" normalizeH="0" baseline="0" noProof="0">
                <a:ln>
                  <a:noFill/>
                </a:ln>
                <a:solidFill>
                  <a:srgbClr val="FFFFFF"/>
                </a:solidFill>
                <a:effectLst/>
                <a:uLnTx/>
                <a:uFillTx/>
                <a:latin typeface="Arial"/>
                <a:cs typeface="+mn-ea"/>
                <a:sym typeface="+mn-lt"/>
              </a:endParaRPr>
            </a:p>
          </p:txBody>
        </p:sp>
      </p:grpSp>
    </p:spTree>
    <p:extLst>
      <p:ext uri="{BB962C8B-B14F-4D97-AF65-F5344CB8AC3E}">
        <p14:creationId xmlns:p14="http://schemas.microsoft.com/office/powerpoint/2010/main" val="964300196"/>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7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oogle Shape;129;p16">
            <a:extLst>
              <a:ext uri="{FF2B5EF4-FFF2-40B4-BE49-F238E27FC236}">
                <a16:creationId xmlns:a16="http://schemas.microsoft.com/office/drawing/2014/main" id="{6DBB1A1C-B250-45F0-B397-B2274042B67A}"/>
              </a:ext>
            </a:extLst>
          </p:cNvPr>
          <p:cNvGrpSpPr/>
          <p:nvPr/>
        </p:nvGrpSpPr>
        <p:grpSpPr>
          <a:xfrm>
            <a:off x="1137433" y="2077607"/>
            <a:ext cx="9917200" cy="2689267"/>
            <a:chOff x="853075" y="1740788"/>
            <a:chExt cx="7437900" cy="2016950"/>
          </a:xfrm>
          <a:solidFill>
            <a:schemeClr val="accent1"/>
          </a:solidFill>
        </p:grpSpPr>
        <p:sp>
          <p:nvSpPr>
            <p:cNvPr id="3" name="Google Shape;130;p16">
              <a:extLst>
                <a:ext uri="{FF2B5EF4-FFF2-40B4-BE49-F238E27FC236}">
                  <a16:creationId xmlns:a16="http://schemas.microsoft.com/office/drawing/2014/main" id="{FDE38658-3BF9-4D03-9722-7747CB13A9CC}"/>
                </a:ext>
              </a:extLst>
            </p:cNvPr>
            <p:cNvSpPr/>
            <p:nvPr/>
          </p:nvSpPr>
          <p:spPr>
            <a:xfrm>
              <a:off x="1005600" y="2720800"/>
              <a:ext cx="6365473" cy="67000"/>
            </a:xfrm>
            <a:custGeom>
              <a:avLst/>
              <a:gdLst/>
              <a:ahLst/>
              <a:cxnLst/>
              <a:rect l="l" t="t" r="r" b="b"/>
              <a:pathLst>
                <a:path w="234780" h="2680" extrusionOk="0">
                  <a:moveTo>
                    <a:pt x="1346" y="1"/>
                  </a:moveTo>
                  <a:cubicBezTo>
                    <a:pt x="608" y="1"/>
                    <a:pt x="1" y="596"/>
                    <a:pt x="1" y="1334"/>
                  </a:cubicBezTo>
                  <a:cubicBezTo>
                    <a:pt x="1" y="2072"/>
                    <a:pt x="608" y="2680"/>
                    <a:pt x="1346" y="2680"/>
                  </a:cubicBezTo>
                  <a:lnTo>
                    <a:pt x="233446" y="2680"/>
                  </a:lnTo>
                  <a:cubicBezTo>
                    <a:pt x="234185" y="2680"/>
                    <a:pt x="234780" y="2072"/>
                    <a:pt x="234780" y="1334"/>
                  </a:cubicBezTo>
                  <a:cubicBezTo>
                    <a:pt x="234780" y="596"/>
                    <a:pt x="234185" y="1"/>
                    <a:pt x="233446" y="1"/>
                  </a:cubicBezTo>
                  <a:close/>
                </a:path>
              </a:pathLst>
            </a:custGeom>
            <a:grp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cs typeface="+mn-ea"/>
                <a:sym typeface="+mn-lt"/>
              </a:endParaRPr>
            </a:p>
          </p:txBody>
        </p:sp>
        <p:sp>
          <p:nvSpPr>
            <p:cNvPr id="4" name="Google Shape;131;p16">
              <a:extLst>
                <a:ext uri="{FF2B5EF4-FFF2-40B4-BE49-F238E27FC236}">
                  <a16:creationId xmlns:a16="http://schemas.microsoft.com/office/drawing/2014/main" id="{4EC8FBA1-3A6E-43AC-A195-2C0E215CA7F4}"/>
                </a:ext>
              </a:extLst>
            </p:cNvPr>
            <p:cNvSpPr/>
            <p:nvPr/>
          </p:nvSpPr>
          <p:spPr>
            <a:xfrm>
              <a:off x="7289625" y="1740788"/>
              <a:ext cx="1001350" cy="2016950"/>
            </a:xfrm>
            <a:custGeom>
              <a:avLst/>
              <a:gdLst/>
              <a:ahLst/>
              <a:cxnLst/>
              <a:rect l="l" t="t" r="r" b="b"/>
              <a:pathLst>
                <a:path w="40054" h="80678" extrusionOk="0">
                  <a:moveTo>
                    <a:pt x="1251" y="1"/>
                  </a:moveTo>
                  <a:cubicBezTo>
                    <a:pt x="560" y="1"/>
                    <a:pt x="1" y="560"/>
                    <a:pt x="1" y="1251"/>
                  </a:cubicBezTo>
                  <a:lnTo>
                    <a:pt x="1" y="79427"/>
                  </a:lnTo>
                  <a:cubicBezTo>
                    <a:pt x="1" y="80117"/>
                    <a:pt x="560" y="80677"/>
                    <a:pt x="1251" y="80677"/>
                  </a:cubicBezTo>
                  <a:cubicBezTo>
                    <a:pt x="16229" y="80677"/>
                    <a:pt x="40053" y="62211"/>
                    <a:pt x="40053" y="40339"/>
                  </a:cubicBezTo>
                  <a:cubicBezTo>
                    <a:pt x="40053" y="18455"/>
                    <a:pt x="16229" y="1"/>
                    <a:pt x="1251" y="1"/>
                  </a:cubicBezTo>
                  <a:close/>
                </a:path>
              </a:pathLst>
            </a:custGeom>
            <a:grpFill/>
            <a:ln>
              <a:noFill/>
            </a:ln>
          </p:spPr>
          <p:txBody>
            <a:bodyPr spcFirstLastPara="1" wrap="square" lIns="121900" tIns="121900" rIns="121900" bIns="1219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Tx/>
                <a:buNone/>
                <a:tabLst/>
                <a:defRPr/>
              </a:pPr>
              <a:r>
                <a:rPr kumimoji="0" lang="en" sz="2267" b="0" i="0" u="none" strike="noStrike" kern="1200" cap="none" spc="0" normalizeH="0" baseline="0" noProof="0">
                  <a:ln>
                    <a:noFill/>
                  </a:ln>
                  <a:solidFill>
                    <a:srgbClr val="FFFFFF"/>
                  </a:solidFill>
                  <a:effectLst/>
                  <a:uLnTx/>
                  <a:uFillTx/>
                  <a:latin typeface="Arial"/>
                  <a:cs typeface="+mn-ea"/>
                  <a:sym typeface="+mn-lt"/>
                </a:rPr>
                <a:t>Earth</a:t>
              </a:r>
              <a:endParaRPr kumimoji="0" sz="2489" b="0" i="0" u="none" strike="noStrike" kern="1200" cap="none" spc="0" normalizeH="0" baseline="0" noProof="0">
                <a:ln>
                  <a:noFill/>
                </a:ln>
                <a:solidFill>
                  <a:srgbClr val="FFFFFF"/>
                </a:solidFill>
                <a:effectLst/>
                <a:uLnTx/>
                <a:uFillTx/>
                <a:latin typeface="Arial"/>
                <a:cs typeface="+mn-ea"/>
                <a:sym typeface="+mn-lt"/>
              </a:endParaRPr>
            </a:p>
          </p:txBody>
        </p:sp>
        <p:sp>
          <p:nvSpPr>
            <p:cNvPr id="5" name="Google Shape;132;p16">
              <a:extLst>
                <a:ext uri="{FF2B5EF4-FFF2-40B4-BE49-F238E27FC236}">
                  <a16:creationId xmlns:a16="http://schemas.microsoft.com/office/drawing/2014/main" id="{5A5ECF57-241C-4B6E-9110-862FEC6E49AD}"/>
                </a:ext>
              </a:extLst>
            </p:cNvPr>
            <p:cNvSpPr/>
            <p:nvPr/>
          </p:nvSpPr>
          <p:spPr>
            <a:xfrm>
              <a:off x="853075" y="2185513"/>
              <a:ext cx="362275" cy="1137625"/>
            </a:xfrm>
            <a:custGeom>
              <a:avLst/>
              <a:gdLst/>
              <a:ahLst/>
              <a:cxnLst/>
              <a:rect l="l" t="t" r="r" b="b"/>
              <a:pathLst>
                <a:path w="14491" h="45505" extrusionOk="0">
                  <a:moveTo>
                    <a:pt x="1315" y="0"/>
                  </a:moveTo>
                  <a:cubicBezTo>
                    <a:pt x="1186" y="0"/>
                    <a:pt x="1056" y="19"/>
                    <a:pt x="930" y="59"/>
                  </a:cubicBezTo>
                  <a:cubicBezTo>
                    <a:pt x="358" y="249"/>
                    <a:pt x="1" y="821"/>
                    <a:pt x="84" y="1416"/>
                  </a:cubicBezTo>
                  <a:cubicBezTo>
                    <a:pt x="96" y="1547"/>
                    <a:pt x="1846" y="14918"/>
                    <a:pt x="1846" y="22550"/>
                  </a:cubicBezTo>
                  <a:cubicBezTo>
                    <a:pt x="1846" y="30789"/>
                    <a:pt x="96" y="43957"/>
                    <a:pt x="84" y="44088"/>
                  </a:cubicBezTo>
                  <a:cubicBezTo>
                    <a:pt x="1" y="44683"/>
                    <a:pt x="358" y="45255"/>
                    <a:pt x="930" y="45445"/>
                  </a:cubicBezTo>
                  <a:cubicBezTo>
                    <a:pt x="1060" y="45493"/>
                    <a:pt x="1191" y="45505"/>
                    <a:pt x="1322" y="45505"/>
                  </a:cubicBezTo>
                  <a:cubicBezTo>
                    <a:pt x="1763" y="45505"/>
                    <a:pt x="2192" y="45267"/>
                    <a:pt x="2418" y="44862"/>
                  </a:cubicBezTo>
                  <a:lnTo>
                    <a:pt x="14288" y="23359"/>
                  </a:lnTo>
                  <a:cubicBezTo>
                    <a:pt x="14491" y="22978"/>
                    <a:pt x="14491" y="22526"/>
                    <a:pt x="14288" y="22145"/>
                  </a:cubicBezTo>
                  <a:lnTo>
                    <a:pt x="2418" y="642"/>
                  </a:lnTo>
                  <a:cubicBezTo>
                    <a:pt x="2195" y="235"/>
                    <a:pt x="1764" y="0"/>
                    <a:pt x="1315" y="0"/>
                  </a:cubicBezTo>
                  <a:close/>
                </a:path>
              </a:pathLst>
            </a:custGeom>
            <a:grp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cs typeface="+mn-ea"/>
                <a:sym typeface="+mn-lt"/>
              </a:endParaRPr>
            </a:p>
          </p:txBody>
        </p:sp>
      </p:grpSp>
      <p:grpSp>
        <p:nvGrpSpPr>
          <p:cNvPr id="6" name="Google Shape;134;p16">
            <a:extLst>
              <a:ext uri="{FF2B5EF4-FFF2-40B4-BE49-F238E27FC236}">
                <a16:creationId xmlns:a16="http://schemas.microsoft.com/office/drawing/2014/main" id="{08085C8B-11F5-411F-9D53-BF6A86295013}"/>
              </a:ext>
            </a:extLst>
          </p:cNvPr>
          <p:cNvGrpSpPr/>
          <p:nvPr/>
        </p:nvGrpSpPr>
        <p:grpSpPr>
          <a:xfrm>
            <a:off x="3206767" y="1622741"/>
            <a:ext cx="2326416" cy="3612517"/>
            <a:chOff x="2405075" y="1399638"/>
            <a:chExt cx="1744812" cy="2709388"/>
          </a:xfrm>
        </p:grpSpPr>
        <p:sp>
          <p:nvSpPr>
            <p:cNvPr id="7" name="Google Shape;135;p16">
              <a:extLst>
                <a:ext uri="{FF2B5EF4-FFF2-40B4-BE49-F238E27FC236}">
                  <a16:creationId xmlns:a16="http://schemas.microsoft.com/office/drawing/2014/main" id="{C5150CE0-E96F-450A-814B-6D2E4EF04D57}"/>
                </a:ext>
              </a:extLst>
            </p:cNvPr>
            <p:cNvSpPr/>
            <p:nvPr/>
          </p:nvSpPr>
          <p:spPr>
            <a:xfrm>
              <a:off x="2405075" y="1399638"/>
              <a:ext cx="1521625" cy="1159425"/>
            </a:xfrm>
            <a:custGeom>
              <a:avLst/>
              <a:gdLst/>
              <a:ahLst/>
              <a:cxnLst/>
              <a:rect l="l" t="t" r="r" b="b"/>
              <a:pathLst>
                <a:path w="60865" h="46377" extrusionOk="0">
                  <a:moveTo>
                    <a:pt x="43451" y="1"/>
                  </a:moveTo>
                  <a:cubicBezTo>
                    <a:pt x="43299" y="1"/>
                    <a:pt x="43145" y="28"/>
                    <a:pt x="42993" y="85"/>
                  </a:cubicBezTo>
                  <a:cubicBezTo>
                    <a:pt x="42970" y="85"/>
                    <a:pt x="42946" y="97"/>
                    <a:pt x="42922" y="97"/>
                  </a:cubicBezTo>
                  <a:lnTo>
                    <a:pt x="4905" y="97"/>
                  </a:lnTo>
                  <a:cubicBezTo>
                    <a:pt x="2203" y="97"/>
                    <a:pt x="0" y="2300"/>
                    <a:pt x="0" y="5003"/>
                  </a:cubicBezTo>
                  <a:cubicBezTo>
                    <a:pt x="0" y="7717"/>
                    <a:pt x="2203" y="9920"/>
                    <a:pt x="4905" y="9920"/>
                  </a:cubicBezTo>
                  <a:lnTo>
                    <a:pt x="45149" y="9920"/>
                  </a:lnTo>
                  <a:lnTo>
                    <a:pt x="58091" y="45496"/>
                  </a:lnTo>
                  <a:cubicBezTo>
                    <a:pt x="58293" y="46043"/>
                    <a:pt x="58805" y="46377"/>
                    <a:pt x="59353" y="46377"/>
                  </a:cubicBezTo>
                  <a:cubicBezTo>
                    <a:pt x="59507" y="46377"/>
                    <a:pt x="59662" y="46353"/>
                    <a:pt x="59805" y="46305"/>
                  </a:cubicBezTo>
                  <a:cubicBezTo>
                    <a:pt x="60508" y="46043"/>
                    <a:pt x="60865" y="45281"/>
                    <a:pt x="60603" y="44591"/>
                  </a:cubicBezTo>
                  <a:lnTo>
                    <a:pt x="44708" y="895"/>
                  </a:lnTo>
                  <a:cubicBezTo>
                    <a:pt x="44503" y="346"/>
                    <a:pt x="43994" y="1"/>
                    <a:pt x="43451" y="1"/>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cs typeface="+mn-ea"/>
                <a:sym typeface="+mn-lt"/>
              </a:endParaRPr>
            </a:p>
          </p:txBody>
        </p:sp>
        <p:sp>
          <p:nvSpPr>
            <p:cNvPr id="8" name="Google Shape;136;p16">
              <a:extLst>
                <a:ext uri="{FF2B5EF4-FFF2-40B4-BE49-F238E27FC236}">
                  <a16:creationId xmlns:a16="http://schemas.microsoft.com/office/drawing/2014/main" id="{36D8A39D-D393-47EE-A204-D437E9FE4492}"/>
                </a:ext>
              </a:extLst>
            </p:cNvPr>
            <p:cNvSpPr/>
            <p:nvPr/>
          </p:nvSpPr>
          <p:spPr>
            <a:xfrm>
              <a:off x="2405075" y="2949538"/>
              <a:ext cx="1521625" cy="1159425"/>
            </a:xfrm>
            <a:custGeom>
              <a:avLst/>
              <a:gdLst/>
              <a:ahLst/>
              <a:cxnLst/>
              <a:rect l="l" t="t" r="r" b="b"/>
              <a:pathLst>
                <a:path w="60865" h="46377" extrusionOk="0">
                  <a:moveTo>
                    <a:pt x="59345" y="1"/>
                  </a:moveTo>
                  <a:cubicBezTo>
                    <a:pt x="58800" y="1"/>
                    <a:pt x="58286" y="344"/>
                    <a:pt x="58091" y="883"/>
                  </a:cubicBezTo>
                  <a:lnTo>
                    <a:pt x="45149" y="36459"/>
                  </a:lnTo>
                  <a:lnTo>
                    <a:pt x="4905" y="36459"/>
                  </a:lnTo>
                  <a:cubicBezTo>
                    <a:pt x="2203" y="36459"/>
                    <a:pt x="0" y="38661"/>
                    <a:pt x="0" y="41364"/>
                  </a:cubicBezTo>
                  <a:cubicBezTo>
                    <a:pt x="0" y="44079"/>
                    <a:pt x="2203" y="46281"/>
                    <a:pt x="4905" y="46281"/>
                  </a:cubicBezTo>
                  <a:lnTo>
                    <a:pt x="42922" y="46281"/>
                  </a:lnTo>
                  <a:cubicBezTo>
                    <a:pt x="42946" y="46281"/>
                    <a:pt x="42970" y="46293"/>
                    <a:pt x="42993" y="46305"/>
                  </a:cubicBezTo>
                  <a:cubicBezTo>
                    <a:pt x="43136" y="46353"/>
                    <a:pt x="43291" y="46376"/>
                    <a:pt x="43446" y="46376"/>
                  </a:cubicBezTo>
                  <a:cubicBezTo>
                    <a:pt x="43994" y="46376"/>
                    <a:pt x="44506" y="46031"/>
                    <a:pt x="44708" y="45495"/>
                  </a:cubicBezTo>
                  <a:lnTo>
                    <a:pt x="60603" y="1800"/>
                  </a:lnTo>
                  <a:cubicBezTo>
                    <a:pt x="60865" y="1097"/>
                    <a:pt x="60508" y="335"/>
                    <a:pt x="59805" y="85"/>
                  </a:cubicBezTo>
                  <a:cubicBezTo>
                    <a:pt x="59654" y="28"/>
                    <a:pt x="59498" y="1"/>
                    <a:pt x="59345" y="1"/>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cs typeface="+mn-ea"/>
                <a:sym typeface="+mn-lt"/>
              </a:endParaRPr>
            </a:p>
          </p:txBody>
        </p:sp>
        <p:sp>
          <p:nvSpPr>
            <p:cNvPr id="9" name="Google Shape;137;p16">
              <a:extLst>
                <a:ext uri="{FF2B5EF4-FFF2-40B4-BE49-F238E27FC236}">
                  <a16:creationId xmlns:a16="http://schemas.microsoft.com/office/drawing/2014/main" id="{E12FFD46-5372-4FFE-B898-4EC32550540F}"/>
                </a:ext>
              </a:extLst>
            </p:cNvPr>
            <p:cNvSpPr/>
            <p:nvPr/>
          </p:nvSpPr>
          <p:spPr>
            <a:xfrm>
              <a:off x="3590688" y="2474872"/>
              <a:ext cx="559200" cy="559181"/>
            </a:xfrm>
            <a:custGeom>
              <a:avLst/>
              <a:gdLst/>
              <a:ahLst/>
              <a:cxnLst/>
              <a:rect l="l" t="t" r="r" b="b"/>
              <a:pathLst>
                <a:path w="29517" h="29516" extrusionOk="0">
                  <a:moveTo>
                    <a:pt x="14764" y="0"/>
                  </a:moveTo>
                  <a:cubicBezTo>
                    <a:pt x="6621" y="0"/>
                    <a:pt x="1" y="6620"/>
                    <a:pt x="1" y="14752"/>
                  </a:cubicBezTo>
                  <a:cubicBezTo>
                    <a:pt x="1" y="22896"/>
                    <a:pt x="6621" y="29516"/>
                    <a:pt x="14764" y="29516"/>
                  </a:cubicBezTo>
                  <a:cubicBezTo>
                    <a:pt x="22896" y="29516"/>
                    <a:pt x="29516" y="22896"/>
                    <a:pt x="29516" y="14752"/>
                  </a:cubicBezTo>
                  <a:cubicBezTo>
                    <a:pt x="29516" y="6620"/>
                    <a:pt x="22896" y="0"/>
                    <a:pt x="14764" y="0"/>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cs typeface="+mn-ea"/>
                <a:sym typeface="+mn-lt"/>
              </a:endParaRPr>
            </a:p>
          </p:txBody>
        </p:sp>
        <p:sp>
          <p:nvSpPr>
            <p:cNvPr id="10" name="Google Shape;138;p16">
              <a:extLst>
                <a:ext uri="{FF2B5EF4-FFF2-40B4-BE49-F238E27FC236}">
                  <a16:creationId xmlns:a16="http://schemas.microsoft.com/office/drawing/2014/main" id="{2EA28EBA-47F6-48CE-85CC-8FD6530C4181}"/>
                </a:ext>
              </a:extLst>
            </p:cNvPr>
            <p:cNvSpPr/>
            <p:nvPr/>
          </p:nvSpPr>
          <p:spPr>
            <a:xfrm>
              <a:off x="3621359" y="2505544"/>
              <a:ext cx="497837" cy="497837"/>
            </a:xfrm>
            <a:custGeom>
              <a:avLst/>
              <a:gdLst/>
              <a:ahLst/>
              <a:cxnLst/>
              <a:rect l="l" t="t" r="r" b="b"/>
              <a:pathLst>
                <a:path w="26278" h="26278" extrusionOk="0">
                  <a:moveTo>
                    <a:pt x="13145" y="1"/>
                  </a:moveTo>
                  <a:cubicBezTo>
                    <a:pt x="5883" y="1"/>
                    <a:pt x="1" y="5882"/>
                    <a:pt x="1" y="13133"/>
                  </a:cubicBezTo>
                  <a:cubicBezTo>
                    <a:pt x="1" y="20396"/>
                    <a:pt x="5883" y="26278"/>
                    <a:pt x="13145" y="26278"/>
                  </a:cubicBezTo>
                  <a:cubicBezTo>
                    <a:pt x="20396" y="26278"/>
                    <a:pt x="26278" y="20396"/>
                    <a:pt x="26278" y="13133"/>
                  </a:cubicBezTo>
                  <a:cubicBezTo>
                    <a:pt x="26278" y="5882"/>
                    <a:pt x="20396" y="1"/>
                    <a:pt x="13145" y="1"/>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cs typeface="+mn-ea"/>
                <a:sym typeface="+mn-lt"/>
              </a:endParaRPr>
            </a:p>
          </p:txBody>
        </p:sp>
        <p:sp>
          <p:nvSpPr>
            <p:cNvPr id="11" name="Google Shape;139;p16">
              <a:extLst>
                <a:ext uri="{FF2B5EF4-FFF2-40B4-BE49-F238E27FC236}">
                  <a16:creationId xmlns:a16="http://schemas.microsoft.com/office/drawing/2014/main" id="{BEE641CE-6387-4C48-918C-BA9F239229A1}"/>
                </a:ext>
              </a:extLst>
            </p:cNvPr>
            <p:cNvSpPr txBox="1"/>
            <p:nvPr/>
          </p:nvSpPr>
          <p:spPr>
            <a:xfrm>
              <a:off x="2405213" y="1399650"/>
              <a:ext cx="1130700" cy="247800"/>
            </a:xfrm>
            <a:prstGeom prst="rect">
              <a:avLst/>
            </a:prstGeom>
            <a:noFill/>
            <a:ln>
              <a:noFill/>
            </a:ln>
          </p:spPr>
          <p:txBody>
            <a:bodyPr spcFirstLastPara="1" wrap="square" lIns="121900" tIns="121900" rIns="121900" bIns="1219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2489" b="0" i="0" u="none" strike="noStrike" kern="1200" cap="none" spc="0" normalizeH="0" baseline="0" noProof="0">
                  <a:ln>
                    <a:noFill/>
                  </a:ln>
                  <a:solidFill>
                    <a:srgbClr val="FFFFFF"/>
                  </a:solidFill>
                  <a:effectLst/>
                  <a:uLnTx/>
                  <a:uFillTx/>
                  <a:latin typeface="Arial"/>
                  <a:cs typeface="+mn-ea"/>
                  <a:sym typeface="+mn-lt"/>
                </a:rPr>
                <a:t>Mercury</a:t>
              </a:r>
              <a:endParaRPr kumimoji="0" sz="2489" b="0" i="0" u="none" strike="noStrike" kern="1200" cap="none" spc="0" normalizeH="0" baseline="0" noProof="0">
                <a:ln>
                  <a:noFill/>
                </a:ln>
                <a:solidFill>
                  <a:srgbClr val="FFFFFF"/>
                </a:solidFill>
                <a:effectLst/>
                <a:uLnTx/>
                <a:uFillTx/>
                <a:latin typeface="Arial"/>
                <a:cs typeface="+mn-ea"/>
                <a:sym typeface="+mn-lt"/>
              </a:endParaRPr>
            </a:p>
          </p:txBody>
        </p:sp>
        <p:sp>
          <p:nvSpPr>
            <p:cNvPr id="12" name="Google Shape;140;p16">
              <a:extLst>
                <a:ext uri="{FF2B5EF4-FFF2-40B4-BE49-F238E27FC236}">
                  <a16:creationId xmlns:a16="http://schemas.microsoft.com/office/drawing/2014/main" id="{418785F0-85F2-4C89-A090-FEC383FF30D1}"/>
                </a:ext>
              </a:extLst>
            </p:cNvPr>
            <p:cNvSpPr txBox="1"/>
            <p:nvPr/>
          </p:nvSpPr>
          <p:spPr>
            <a:xfrm>
              <a:off x="2405213" y="3861225"/>
              <a:ext cx="1130700" cy="247800"/>
            </a:xfrm>
            <a:prstGeom prst="rect">
              <a:avLst/>
            </a:prstGeom>
            <a:noFill/>
            <a:ln>
              <a:noFill/>
            </a:ln>
          </p:spPr>
          <p:txBody>
            <a:bodyPr spcFirstLastPara="1" wrap="square" lIns="121900" tIns="121900" rIns="121900" bIns="1219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2489" b="0" i="0" u="none" strike="noStrike" kern="1200" cap="none" spc="0" normalizeH="0" baseline="0" noProof="0">
                  <a:ln>
                    <a:noFill/>
                  </a:ln>
                  <a:solidFill>
                    <a:srgbClr val="FFFFFF"/>
                  </a:solidFill>
                  <a:effectLst/>
                  <a:uLnTx/>
                  <a:uFillTx/>
                  <a:latin typeface="Arial"/>
                  <a:cs typeface="+mn-ea"/>
                  <a:sym typeface="+mn-lt"/>
                </a:rPr>
                <a:t>Saturn</a:t>
              </a:r>
              <a:endParaRPr kumimoji="0" sz="2489" b="0" i="0" u="none" strike="noStrike" kern="1200" cap="none" spc="0" normalizeH="0" baseline="0" noProof="0">
                <a:ln>
                  <a:noFill/>
                </a:ln>
                <a:solidFill>
                  <a:srgbClr val="FFFFFF"/>
                </a:solidFill>
                <a:effectLst/>
                <a:uLnTx/>
                <a:uFillTx/>
                <a:latin typeface="Arial"/>
                <a:cs typeface="+mn-ea"/>
                <a:sym typeface="+mn-lt"/>
              </a:endParaRPr>
            </a:p>
          </p:txBody>
        </p:sp>
        <p:sp>
          <p:nvSpPr>
            <p:cNvPr id="13" name="Google Shape;141;p16">
              <a:extLst>
                <a:ext uri="{FF2B5EF4-FFF2-40B4-BE49-F238E27FC236}">
                  <a16:creationId xmlns:a16="http://schemas.microsoft.com/office/drawing/2014/main" id="{98FA60DA-8143-43BF-9B7E-BA3EC7F18433}"/>
                </a:ext>
              </a:extLst>
            </p:cNvPr>
            <p:cNvSpPr txBox="1"/>
            <p:nvPr/>
          </p:nvSpPr>
          <p:spPr>
            <a:xfrm>
              <a:off x="2571725" y="1723650"/>
              <a:ext cx="964200" cy="597300"/>
            </a:xfrm>
            <a:prstGeom prst="rect">
              <a:avLst/>
            </a:prstGeom>
            <a:noFill/>
            <a:ln>
              <a:noFill/>
            </a:ln>
          </p:spPr>
          <p:txBody>
            <a:bodyPr spcFirstLastPara="1" wrap="square" lIns="121900" tIns="121900" rIns="121900" bIns="12190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 sz="1600" b="0" i="0" u="none" strike="noStrike" kern="1200" cap="none" spc="0" normalizeH="0" baseline="0" noProof="0">
                  <a:ln>
                    <a:noFill/>
                  </a:ln>
                  <a:solidFill>
                    <a:srgbClr val="434343"/>
                  </a:solidFill>
                  <a:effectLst/>
                  <a:uLnTx/>
                  <a:uFillTx/>
                  <a:latin typeface="Arial"/>
                  <a:cs typeface="+mn-ea"/>
                  <a:sym typeface="+mn-lt"/>
                </a:rPr>
                <a:t>Mercury is small</a:t>
              </a:r>
              <a:endParaRPr kumimoji="0" sz="1600" b="0" i="0" u="none" strike="noStrike" kern="1200" cap="none" spc="0" normalizeH="0" baseline="0" noProof="0">
                <a:ln>
                  <a:noFill/>
                </a:ln>
                <a:solidFill>
                  <a:srgbClr val="434343"/>
                </a:solidFill>
                <a:effectLst/>
                <a:uLnTx/>
                <a:uFillTx/>
                <a:latin typeface="Arial"/>
                <a:cs typeface="+mn-ea"/>
                <a:sym typeface="+mn-lt"/>
              </a:endParaRPr>
            </a:p>
          </p:txBody>
        </p:sp>
        <p:sp>
          <p:nvSpPr>
            <p:cNvPr id="14" name="Google Shape;142;p16">
              <a:extLst>
                <a:ext uri="{FF2B5EF4-FFF2-40B4-BE49-F238E27FC236}">
                  <a16:creationId xmlns:a16="http://schemas.microsoft.com/office/drawing/2014/main" id="{AC0CD8A3-8063-4599-AE82-4E310AC85D1C}"/>
                </a:ext>
              </a:extLst>
            </p:cNvPr>
            <p:cNvSpPr txBox="1"/>
            <p:nvPr/>
          </p:nvSpPr>
          <p:spPr>
            <a:xfrm>
              <a:off x="2571725" y="3187725"/>
              <a:ext cx="964200" cy="597300"/>
            </a:xfrm>
            <a:prstGeom prst="rect">
              <a:avLst/>
            </a:prstGeom>
            <a:noFill/>
            <a:ln>
              <a:noFill/>
            </a:ln>
          </p:spPr>
          <p:txBody>
            <a:bodyPr spcFirstLastPara="1" wrap="square" lIns="121900" tIns="121900" rIns="121900" bIns="12190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 sz="1600" b="0" i="0" u="none" strike="noStrike" kern="1200" cap="none" spc="0" normalizeH="0" baseline="0" noProof="0">
                  <a:ln>
                    <a:noFill/>
                  </a:ln>
                  <a:solidFill>
                    <a:srgbClr val="434343"/>
                  </a:solidFill>
                  <a:effectLst/>
                  <a:uLnTx/>
                  <a:uFillTx/>
                  <a:latin typeface="Arial"/>
                  <a:cs typeface="+mn-ea"/>
                  <a:sym typeface="+mn-lt"/>
                </a:rPr>
                <a:t>Saturn is ringed</a:t>
              </a:r>
              <a:endParaRPr kumimoji="0" sz="1600" b="0" i="0" u="none" strike="noStrike" kern="1200" cap="none" spc="0" normalizeH="0" baseline="0" noProof="0">
                <a:ln>
                  <a:noFill/>
                </a:ln>
                <a:solidFill>
                  <a:srgbClr val="434343"/>
                </a:solidFill>
                <a:effectLst/>
                <a:uLnTx/>
                <a:uFillTx/>
                <a:latin typeface="Arial"/>
                <a:cs typeface="+mn-ea"/>
                <a:sym typeface="+mn-lt"/>
              </a:endParaRPr>
            </a:p>
          </p:txBody>
        </p:sp>
        <p:sp>
          <p:nvSpPr>
            <p:cNvPr id="15" name="Google Shape;143;p16">
              <a:extLst>
                <a:ext uri="{FF2B5EF4-FFF2-40B4-BE49-F238E27FC236}">
                  <a16:creationId xmlns:a16="http://schemas.microsoft.com/office/drawing/2014/main" id="{EFE292CF-DF96-4C1A-80FD-05EEFE99CF17}"/>
                </a:ext>
              </a:extLst>
            </p:cNvPr>
            <p:cNvSpPr/>
            <p:nvPr/>
          </p:nvSpPr>
          <p:spPr>
            <a:xfrm>
              <a:off x="3786030" y="2658695"/>
              <a:ext cx="168743" cy="181607"/>
            </a:xfrm>
            <a:custGeom>
              <a:avLst/>
              <a:gdLst/>
              <a:ahLst/>
              <a:cxnLst/>
              <a:rect l="l" t="t" r="r" b="b"/>
              <a:pathLst>
                <a:path w="8907" h="9586" fill="none" extrusionOk="0">
                  <a:moveTo>
                    <a:pt x="4787" y="9585"/>
                  </a:moveTo>
                  <a:cubicBezTo>
                    <a:pt x="2144" y="9585"/>
                    <a:pt x="1" y="7442"/>
                    <a:pt x="1" y="4799"/>
                  </a:cubicBezTo>
                  <a:cubicBezTo>
                    <a:pt x="1" y="2144"/>
                    <a:pt x="1965" y="49"/>
                    <a:pt x="4489" y="1"/>
                  </a:cubicBezTo>
                  <a:lnTo>
                    <a:pt x="4489" y="4799"/>
                  </a:lnTo>
                  <a:cubicBezTo>
                    <a:pt x="4489" y="4871"/>
                    <a:pt x="4525" y="4930"/>
                    <a:pt x="4596" y="4966"/>
                  </a:cubicBezTo>
                  <a:lnTo>
                    <a:pt x="8906" y="7252"/>
                  </a:lnTo>
                  <a:cubicBezTo>
                    <a:pt x="8204" y="8621"/>
                    <a:pt x="6501" y="9585"/>
                    <a:pt x="4787" y="9585"/>
                  </a:cubicBezTo>
                  <a:close/>
                </a:path>
              </a:pathLst>
            </a:custGeom>
            <a:noFill/>
            <a:ln w="11025" cap="rnd" cmpd="sng">
              <a:solidFill>
                <a:srgbClr val="FFFFFF"/>
              </a:solidFill>
              <a:prstDash val="solid"/>
              <a:round/>
              <a:headEnd type="none" w="sm" len="sm"/>
              <a:tailEnd type="none" w="sm" len="sm"/>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cs typeface="+mn-ea"/>
                <a:sym typeface="+mn-lt"/>
              </a:endParaRPr>
            </a:p>
          </p:txBody>
        </p:sp>
      </p:grpSp>
      <p:grpSp>
        <p:nvGrpSpPr>
          <p:cNvPr id="16" name="Google Shape;144;p16">
            <a:extLst>
              <a:ext uri="{FF2B5EF4-FFF2-40B4-BE49-F238E27FC236}">
                <a16:creationId xmlns:a16="http://schemas.microsoft.com/office/drawing/2014/main" id="{1C8DDF73-0004-4DFC-8F45-44522E7D0E56}"/>
              </a:ext>
            </a:extLst>
          </p:cNvPr>
          <p:cNvGrpSpPr/>
          <p:nvPr/>
        </p:nvGrpSpPr>
        <p:grpSpPr>
          <a:xfrm>
            <a:off x="1301367" y="1622741"/>
            <a:ext cx="2351053" cy="3612517"/>
            <a:chOff x="976025" y="1399638"/>
            <a:chExt cx="1763290" cy="2709388"/>
          </a:xfrm>
        </p:grpSpPr>
        <p:sp>
          <p:nvSpPr>
            <p:cNvPr id="17" name="Google Shape;145;p16">
              <a:extLst>
                <a:ext uri="{FF2B5EF4-FFF2-40B4-BE49-F238E27FC236}">
                  <a16:creationId xmlns:a16="http://schemas.microsoft.com/office/drawing/2014/main" id="{1A6833AD-1C31-419C-99C0-C56BEE201B7C}"/>
                </a:ext>
              </a:extLst>
            </p:cNvPr>
            <p:cNvSpPr/>
            <p:nvPr/>
          </p:nvSpPr>
          <p:spPr>
            <a:xfrm>
              <a:off x="976025" y="1399638"/>
              <a:ext cx="1521325" cy="1159425"/>
            </a:xfrm>
            <a:custGeom>
              <a:avLst/>
              <a:gdLst/>
              <a:ahLst/>
              <a:cxnLst/>
              <a:rect l="l" t="t" r="r" b="b"/>
              <a:pathLst>
                <a:path w="60853" h="46377" extrusionOk="0">
                  <a:moveTo>
                    <a:pt x="43441" y="1"/>
                  </a:moveTo>
                  <a:cubicBezTo>
                    <a:pt x="43288" y="1"/>
                    <a:pt x="43133" y="28"/>
                    <a:pt x="42982" y="85"/>
                  </a:cubicBezTo>
                  <a:cubicBezTo>
                    <a:pt x="42958" y="85"/>
                    <a:pt x="42934" y="97"/>
                    <a:pt x="42910" y="97"/>
                  </a:cubicBezTo>
                  <a:lnTo>
                    <a:pt x="4905" y="97"/>
                  </a:lnTo>
                  <a:cubicBezTo>
                    <a:pt x="2191" y="97"/>
                    <a:pt x="0" y="2300"/>
                    <a:pt x="0" y="5003"/>
                  </a:cubicBezTo>
                  <a:cubicBezTo>
                    <a:pt x="0" y="7717"/>
                    <a:pt x="2191" y="9920"/>
                    <a:pt x="4905" y="9920"/>
                  </a:cubicBezTo>
                  <a:lnTo>
                    <a:pt x="45137" y="9920"/>
                  </a:lnTo>
                  <a:lnTo>
                    <a:pt x="58091" y="45496"/>
                  </a:lnTo>
                  <a:cubicBezTo>
                    <a:pt x="58281" y="46043"/>
                    <a:pt x="58793" y="46377"/>
                    <a:pt x="59341" y="46377"/>
                  </a:cubicBezTo>
                  <a:cubicBezTo>
                    <a:pt x="59496" y="46377"/>
                    <a:pt x="59650" y="46353"/>
                    <a:pt x="59805" y="46305"/>
                  </a:cubicBezTo>
                  <a:cubicBezTo>
                    <a:pt x="60496" y="46043"/>
                    <a:pt x="60853" y="45281"/>
                    <a:pt x="60603" y="44591"/>
                  </a:cubicBezTo>
                  <a:lnTo>
                    <a:pt x="44696" y="895"/>
                  </a:lnTo>
                  <a:cubicBezTo>
                    <a:pt x="44501" y="346"/>
                    <a:pt x="43986" y="1"/>
                    <a:pt x="43441" y="1"/>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cs typeface="+mn-ea"/>
                <a:sym typeface="+mn-lt"/>
              </a:endParaRPr>
            </a:p>
          </p:txBody>
        </p:sp>
        <p:sp>
          <p:nvSpPr>
            <p:cNvPr id="18" name="Google Shape;146;p16">
              <a:extLst>
                <a:ext uri="{FF2B5EF4-FFF2-40B4-BE49-F238E27FC236}">
                  <a16:creationId xmlns:a16="http://schemas.microsoft.com/office/drawing/2014/main" id="{171A6FD7-8CA6-4CF8-8044-41E66361E1EF}"/>
                </a:ext>
              </a:extLst>
            </p:cNvPr>
            <p:cNvSpPr/>
            <p:nvPr/>
          </p:nvSpPr>
          <p:spPr>
            <a:xfrm>
              <a:off x="976025" y="2949538"/>
              <a:ext cx="1521325" cy="1159425"/>
            </a:xfrm>
            <a:custGeom>
              <a:avLst/>
              <a:gdLst/>
              <a:ahLst/>
              <a:cxnLst/>
              <a:rect l="l" t="t" r="r" b="b"/>
              <a:pathLst>
                <a:path w="60853" h="46377" extrusionOk="0">
                  <a:moveTo>
                    <a:pt x="59340" y="1"/>
                  </a:moveTo>
                  <a:cubicBezTo>
                    <a:pt x="58793" y="1"/>
                    <a:pt x="58286" y="344"/>
                    <a:pt x="58091" y="883"/>
                  </a:cubicBezTo>
                  <a:lnTo>
                    <a:pt x="45137" y="36459"/>
                  </a:lnTo>
                  <a:lnTo>
                    <a:pt x="4905" y="36459"/>
                  </a:lnTo>
                  <a:cubicBezTo>
                    <a:pt x="2191" y="36459"/>
                    <a:pt x="0" y="38661"/>
                    <a:pt x="0" y="41364"/>
                  </a:cubicBezTo>
                  <a:cubicBezTo>
                    <a:pt x="0" y="44079"/>
                    <a:pt x="2191" y="46281"/>
                    <a:pt x="4905" y="46281"/>
                  </a:cubicBezTo>
                  <a:lnTo>
                    <a:pt x="42910" y="46281"/>
                  </a:lnTo>
                  <a:cubicBezTo>
                    <a:pt x="42934" y="46281"/>
                    <a:pt x="42958" y="46293"/>
                    <a:pt x="42982" y="46305"/>
                  </a:cubicBezTo>
                  <a:cubicBezTo>
                    <a:pt x="43136" y="46353"/>
                    <a:pt x="43291" y="46376"/>
                    <a:pt x="43434" y="46376"/>
                  </a:cubicBezTo>
                  <a:cubicBezTo>
                    <a:pt x="43982" y="46376"/>
                    <a:pt x="44494" y="46031"/>
                    <a:pt x="44696" y="45495"/>
                  </a:cubicBezTo>
                  <a:lnTo>
                    <a:pt x="60603" y="1800"/>
                  </a:lnTo>
                  <a:cubicBezTo>
                    <a:pt x="60853" y="1097"/>
                    <a:pt x="60496" y="335"/>
                    <a:pt x="59805" y="85"/>
                  </a:cubicBezTo>
                  <a:cubicBezTo>
                    <a:pt x="59651" y="28"/>
                    <a:pt x="59494" y="1"/>
                    <a:pt x="59340" y="1"/>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cs typeface="+mn-ea"/>
                <a:sym typeface="+mn-lt"/>
              </a:endParaRPr>
            </a:p>
          </p:txBody>
        </p:sp>
        <p:sp>
          <p:nvSpPr>
            <p:cNvPr id="19" name="Google Shape;147;p16">
              <a:extLst>
                <a:ext uri="{FF2B5EF4-FFF2-40B4-BE49-F238E27FC236}">
                  <a16:creationId xmlns:a16="http://schemas.microsoft.com/office/drawing/2014/main" id="{093A839C-14A6-45B8-A13B-310641E5F5B6}"/>
                </a:ext>
              </a:extLst>
            </p:cNvPr>
            <p:cNvSpPr/>
            <p:nvPr/>
          </p:nvSpPr>
          <p:spPr>
            <a:xfrm>
              <a:off x="2180134" y="2474897"/>
              <a:ext cx="559181" cy="559181"/>
            </a:xfrm>
            <a:custGeom>
              <a:avLst/>
              <a:gdLst/>
              <a:ahLst/>
              <a:cxnLst/>
              <a:rect l="l" t="t" r="r" b="b"/>
              <a:pathLst>
                <a:path w="29516" h="29516" extrusionOk="0">
                  <a:moveTo>
                    <a:pt x="14752" y="0"/>
                  </a:moveTo>
                  <a:cubicBezTo>
                    <a:pt x="6620" y="0"/>
                    <a:pt x="0" y="6620"/>
                    <a:pt x="0" y="14752"/>
                  </a:cubicBezTo>
                  <a:cubicBezTo>
                    <a:pt x="0" y="22896"/>
                    <a:pt x="6620" y="29516"/>
                    <a:pt x="14752" y="29516"/>
                  </a:cubicBezTo>
                  <a:cubicBezTo>
                    <a:pt x="22896" y="29516"/>
                    <a:pt x="29516" y="22896"/>
                    <a:pt x="29516" y="14752"/>
                  </a:cubicBezTo>
                  <a:cubicBezTo>
                    <a:pt x="29516" y="6620"/>
                    <a:pt x="22896" y="0"/>
                    <a:pt x="14752" y="0"/>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cs typeface="+mn-ea"/>
                <a:sym typeface="+mn-lt"/>
              </a:endParaRPr>
            </a:p>
          </p:txBody>
        </p:sp>
        <p:sp>
          <p:nvSpPr>
            <p:cNvPr id="20" name="Google Shape;148;p16">
              <a:extLst>
                <a:ext uri="{FF2B5EF4-FFF2-40B4-BE49-F238E27FC236}">
                  <a16:creationId xmlns:a16="http://schemas.microsoft.com/office/drawing/2014/main" id="{8E978B67-CD64-48E3-8900-A93BB33D4AA9}"/>
                </a:ext>
              </a:extLst>
            </p:cNvPr>
            <p:cNvSpPr/>
            <p:nvPr/>
          </p:nvSpPr>
          <p:spPr>
            <a:xfrm>
              <a:off x="2210805" y="2505567"/>
              <a:ext cx="497837" cy="497837"/>
            </a:xfrm>
            <a:custGeom>
              <a:avLst/>
              <a:gdLst/>
              <a:ahLst/>
              <a:cxnLst/>
              <a:rect l="l" t="t" r="r" b="b"/>
              <a:pathLst>
                <a:path w="26278" h="26278" extrusionOk="0">
                  <a:moveTo>
                    <a:pt x="13133" y="1"/>
                  </a:moveTo>
                  <a:cubicBezTo>
                    <a:pt x="5882" y="1"/>
                    <a:pt x="0" y="5882"/>
                    <a:pt x="0" y="13133"/>
                  </a:cubicBezTo>
                  <a:cubicBezTo>
                    <a:pt x="0" y="20396"/>
                    <a:pt x="5882" y="26278"/>
                    <a:pt x="13133" y="26278"/>
                  </a:cubicBezTo>
                  <a:cubicBezTo>
                    <a:pt x="20396" y="26278"/>
                    <a:pt x="26277" y="20396"/>
                    <a:pt x="26277" y="13133"/>
                  </a:cubicBezTo>
                  <a:cubicBezTo>
                    <a:pt x="26277" y="5882"/>
                    <a:pt x="20396" y="1"/>
                    <a:pt x="13133" y="1"/>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cs typeface="+mn-ea"/>
                <a:sym typeface="+mn-lt"/>
              </a:endParaRPr>
            </a:p>
          </p:txBody>
        </p:sp>
        <p:grpSp>
          <p:nvGrpSpPr>
            <p:cNvPr id="21" name="Google Shape;149;p16">
              <a:extLst>
                <a:ext uri="{FF2B5EF4-FFF2-40B4-BE49-F238E27FC236}">
                  <a16:creationId xmlns:a16="http://schemas.microsoft.com/office/drawing/2014/main" id="{800AC3C8-AD2E-43A5-B947-F9B170392690}"/>
                </a:ext>
              </a:extLst>
            </p:cNvPr>
            <p:cNvGrpSpPr/>
            <p:nvPr/>
          </p:nvGrpSpPr>
          <p:grpSpPr>
            <a:xfrm>
              <a:off x="2366981" y="2662665"/>
              <a:ext cx="183615" cy="183615"/>
              <a:chOff x="2337175" y="2633163"/>
              <a:chExt cx="242300" cy="242300"/>
            </a:xfrm>
          </p:grpSpPr>
          <p:sp>
            <p:nvSpPr>
              <p:cNvPr id="26" name="Google Shape;150;p16">
                <a:extLst>
                  <a:ext uri="{FF2B5EF4-FFF2-40B4-BE49-F238E27FC236}">
                    <a16:creationId xmlns:a16="http://schemas.microsoft.com/office/drawing/2014/main" id="{6799D057-24AA-448F-931B-0203AE7554E7}"/>
                  </a:ext>
                </a:extLst>
              </p:cNvPr>
              <p:cNvSpPr/>
              <p:nvPr/>
            </p:nvSpPr>
            <p:spPr>
              <a:xfrm>
                <a:off x="2464875" y="2633163"/>
                <a:ext cx="114600" cy="114925"/>
              </a:xfrm>
              <a:custGeom>
                <a:avLst/>
                <a:gdLst/>
                <a:ahLst/>
                <a:cxnLst/>
                <a:rect l="l" t="t" r="r" b="b"/>
                <a:pathLst>
                  <a:path w="4584" h="4597" fill="none" extrusionOk="0">
                    <a:moveTo>
                      <a:pt x="4584" y="4596"/>
                    </a:moveTo>
                    <a:cubicBezTo>
                      <a:pt x="4584" y="2060"/>
                      <a:pt x="2524" y="0"/>
                      <a:pt x="0" y="0"/>
                    </a:cubicBezTo>
                  </a:path>
                </a:pathLst>
              </a:custGeom>
              <a:noFill/>
              <a:ln w="11025" cap="rnd" cmpd="sng">
                <a:solidFill>
                  <a:srgbClr val="FFFFFF"/>
                </a:solidFill>
                <a:prstDash val="solid"/>
                <a:round/>
                <a:headEnd type="none" w="sm" len="sm"/>
                <a:tailEnd type="none" w="sm" len="sm"/>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cs typeface="+mn-ea"/>
                  <a:sym typeface="+mn-lt"/>
                </a:endParaRPr>
              </a:p>
            </p:txBody>
          </p:sp>
          <p:sp>
            <p:nvSpPr>
              <p:cNvPr id="27" name="Google Shape;151;p16">
                <a:extLst>
                  <a:ext uri="{FF2B5EF4-FFF2-40B4-BE49-F238E27FC236}">
                    <a16:creationId xmlns:a16="http://schemas.microsoft.com/office/drawing/2014/main" id="{87E4619C-F675-4E33-A90C-F7143B95DADF}"/>
                  </a:ext>
                </a:extLst>
              </p:cNvPr>
              <p:cNvSpPr/>
              <p:nvPr/>
            </p:nvSpPr>
            <p:spPr>
              <a:xfrm>
                <a:off x="2463675" y="2670063"/>
                <a:ext cx="78900" cy="79200"/>
              </a:xfrm>
              <a:custGeom>
                <a:avLst/>
                <a:gdLst/>
                <a:ahLst/>
                <a:cxnLst/>
                <a:rect l="l" t="t" r="r" b="b"/>
                <a:pathLst>
                  <a:path w="3156" h="3168" fill="none" extrusionOk="0">
                    <a:moveTo>
                      <a:pt x="3156" y="3168"/>
                    </a:moveTo>
                    <a:cubicBezTo>
                      <a:pt x="3156" y="1418"/>
                      <a:pt x="1739" y="1"/>
                      <a:pt x="1" y="1"/>
                    </a:cubicBezTo>
                  </a:path>
                </a:pathLst>
              </a:custGeom>
              <a:noFill/>
              <a:ln w="11025" cap="rnd" cmpd="sng">
                <a:solidFill>
                  <a:srgbClr val="FFFFFF"/>
                </a:solidFill>
                <a:prstDash val="solid"/>
                <a:round/>
                <a:headEnd type="none" w="sm" len="sm"/>
                <a:tailEnd type="none" w="sm" len="sm"/>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cs typeface="+mn-ea"/>
                  <a:sym typeface="+mn-lt"/>
                </a:endParaRPr>
              </a:p>
            </p:txBody>
          </p:sp>
          <p:sp>
            <p:nvSpPr>
              <p:cNvPr id="28" name="Google Shape;152;p16">
                <a:extLst>
                  <a:ext uri="{FF2B5EF4-FFF2-40B4-BE49-F238E27FC236}">
                    <a16:creationId xmlns:a16="http://schemas.microsoft.com/office/drawing/2014/main" id="{81C67023-DFBF-4682-96BF-5714FDDC5EFB}"/>
                  </a:ext>
                </a:extLst>
              </p:cNvPr>
              <p:cNvSpPr/>
              <p:nvPr/>
            </p:nvSpPr>
            <p:spPr>
              <a:xfrm>
                <a:off x="2337175" y="2659663"/>
                <a:ext cx="230700" cy="215800"/>
              </a:xfrm>
              <a:custGeom>
                <a:avLst/>
                <a:gdLst/>
                <a:ahLst/>
                <a:cxnLst/>
                <a:rect l="l" t="t" r="r" b="b"/>
                <a:pathLst>
                  <a:path w="9228" h="8632" fill="none" extrusionOk="0">
                    <a:moveTo>
                      <a:pt x="6787" y="8632"/>
                    </a:moveTo>
                    <a:cubicBezTo>
                      <a:pt x="6858" y="8632"/>
                      <a:pt x="6930" y="8632"/>
                      <a:pt x="7001" y="8632"/>
                    </a:cubicBezTo>
                    <a:cubicBezTo>
                      <a:pt x="7382" y="8632"/>
                      <a:pt x="7739" y="8549"/>
                      <a:pt x="8025" y="8370"/>
                    </a:cubicBezTo>
                    <a:cubicBezTo>
                      <a:pt x="8168" y="8287"/>
                      <a:pt x="8287" y="8192"/>
                      <a:pt x="8394" y="8072"/>
                    </a:cubicBezTo>
                    <a:lnTo>
                      <a:pt x="8680" y="7763"/>
                    </a:lnTo>
                    <a:cubicBezTo>
                      <a:pt x="9228" y="7144"/>
                      <a:pt x="9180" y="6191"/>
                      <a:pt x="8573" y="5632"/>
                    </a:cubicBezTo>
                    <a:lnTo>
                      <a:pt x="8097" y="5191"/>
                    </a:lnTo>
                    <a:cubicBezTo>
                      <a:pt x="7811" y="4941"/>
                      <a:pt x="7454" y="4810"/>
                      <a:pt x="7085" y="4810"/>
                    </a:cubicBezTo>
                    <a:cubicBezTo>
                      <a:pt x="6656" y="4810"/>
                      <a:pt x="6251" y="4989"/>
                      <a:pt x="5965" y="5298"/>
                    </a:cubicBezTo>
                    <a:lnTo>
                      <a:pt x="5692" y="5620"/>
                    </a:lnTo>
                    <a:cubicBezTo>
                      <a:pt x="5584" y="5739"/>
                      <a:pt x="5489" y="5870"/>
                      <a:pt x="5430" y="6013"/>
                    </a:cubicBezTo>
                    <a:cubicBezTo>
                      <a:pt x="4322" y="5548"/>
                      <a:pt x="3417" y="4715"/>
                      <a:pt x="2846" y="3643"/>
                    </a:cubicBezTo>
                    <a:cubicBezTo>
                      <a:pt x="3048" y="3560"/>
                      <a:pt x="3227" y="3429"/>
                      <a:pt x="3382" y="3274"/>
                    </a:cubicBezTo>
                    <a:lnTo>
                      <a:pt x="3656" y="2953"/>
                    </a:lnTo>
                    <a:cubicBezTo>
                      <a:pt x="3929" y="2655"/>
                      <a:pt x="4072" y="2274"/>
                      <a:pt x="4049" y="1869"/>
                    </a:cubicBezTo>
                    <a:cubicBezTo>
                      <a:pt x="4025" y="1464"/>
                      <a:pt x="3858" y="1095"/>
                      <a:pt x="3560" y="822"/>
                    </a:cubicBezTo>
                    <a:lnTo>
                      <a:pt x="3084" y="393"/>
                    </a:lnTo>
                    <a:cubicBezTo>
                      <a:pt x="2798" y="143"/>
                      <a:pt x="2441" y="0"/>
                      <a:pt x="2072" y="0"/>
                    </a:cubicBezTo>
                    <a:cubicBezTo>
                      <a:pt x="1643" y="0"/>
                      <a:pt x="1239" y="191"/>
                      <a:pt x="953" y="500"/>
                    </a:cubicBezTo>
                    <a:lnTo>
                      <a:pt x="667" y="810"/>
                    </a:lnTo>
                    <a:cubicBezTo>
                      <a:pt x="631" y="857"/>
                      <a:pt x="596" y="905"/>
                      <a:pt x="560" y="953"/>
                    </a:cubicBezTo>
                    <a:cubicBezTo>
                      <a:pt x="250" y="1238"/>
                      <a:pt x="0" y="1845"/>
                      <a:pt x="143" y="2607"/>
                    </a:cubicBezTo>
                    <a:cubicBezTo>
                      <a:pt x="762" y="5858"/>
                      <a:pt x="3501" y="8334"/>
                      <a:pt x="6787" y="8632"/>
                    </a:cubicBezTo>
                    <a:close/>
                  </a:path>
                </a:pathLst>
              </a:custGeom>
              <a:noFill/>
              <a:ln w="11025" cap="rnd" cmpd="sng">
                <a:solidFill>
                  <a:srgbClr val="FFFFFF"/>
                </a:solidFill>
                <a:prstDash val="solid"/>
                <a:round/>
                <a:headEnd type="none" w="sm" len="sm"/>
                <a:tailEnd type="none" w="sm" len="sm"/>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cs typeface="+mn-ea"/>
                  <a:sym typeface="+mn-lt"/>
                </a:endParaRPr>
              </a:p>
            </p:txBody>
          </p:sp>
        </p:grpSp>
        <p:sp>
          <p:nvSpPr>
            <p:cNvPr id="22" name="Google Shape;153;p16">
              <a:extLst>
                <a:ext uri="{FF2B5EF4-FFF2-40B4-BE49-F238E27FC236}">
                  <a16:creationId xmlns:a16="http://schemas.microsoft.com/office/drawing/2014/main" id="{5F0A8125-1DC7-4451-9BF9-1B098282FFD7}"/>
                </a:ext>
              </a:extLst>
            </p:cNvPr>
            <p:cNvSpPr txBox="1"/>
            <p:nvPr/>
          </p:nvSpPr>
          <p:spPr>
            <a:xfrm>
              <a:off x="976025" y="1399650"/>
              <a:ext cx="1130700" cy="247800"/>
            </a:xfrm>
            <a:prstGeom prst="rect">
              <a:avLst/>
            </a:prstGeom>
            <a:noFill/>
            <a:ln>
              <a:noFill/>
            </a:ln>
          </p:spPr>
          <p:txBody>
            <a:bodyPr spcFirstLastPara="1" wrap="square" lIns="121900" tIns="121900" rIns="121900" bIns="1219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2489" b="0" i="0" u="none" strike="noStrike" kern="1200" cap="none" spc="0" normalizeH="0" baseline="0" noProof="0">
                  <a:ln>
                    <a:noFill/>
                  </a:ln>
                  <a:solidFill>
                    <a:srgbClr val="FFFFFF"/>
                  </a:solidFill>
                  <a:effectLst/>
                  <a:uLnTx/>
                  <a:uFillTx/>
                  <a:latin typeface="Arial"/>
                  <a:cs typeface="+mn-ea"/>
                  <a:sym typeface="+mn-lt"/>
                </a:rPr>
                <a:t>Venus</a:t>
              </a:r>
              <a:endParaRPr kumimoji="0" sz="2489" b="0" i="0" u="none" strike="noStrike" kern="1200" cap="none" spc="0" normalizeH="0" baseline="0" noProof="0">
                <a:ln>
                  <a:noFill/>
                </a:ln>
                <a:solidFill>
                  <a:srgbClr val="FFFFFF"/>
                </a:solidFill>
                <a:effectLst/>
                <a:uLnTx/>
                <a:uFillTx/>
                <a:latin typeface="Arial"/>
                <a:cs typeface="+mn-ea"/>
                <a:sym typeface="+mn-lt"/>
              </a:endParaRPr>
            </a:p>
          </p:txBody>
        </p:sp>
        <p:sp>
          <p:nvSpPr>
            <p:cNvPr id="23" name="Google Shape;154;p16">
              <a:extLst>
                <a:ext uri="{FF2B5EF4-FFF2-40B4-BE49-F238E27FC236}">
                  <a16:creationId xmlns:a16="http://schemas.microsoft.com/office/drawing/2014/main" id="{ED3840F4-C362-4D58-BD00-4DE31F1CFC45}"/>
                </a:ext>
              </a:extLst>
            </p:cNvPr>
            <p:cNvSpPr txBox="1"/>
            <p:nvPr/>
          </p:nvSpPr>
          <p:spPr>
            <a:xfrm>
              <a:off x="976025" y="3861225"/>
              <a:ext cx="1130700" cy="247800"/>
            </a:xfrm>
            <a:prstGeom prst="rect">
              <a:avLst/>
            </a:prstGeom>
            <a:noFill/>
            <a:ln>
              <a:noFill/>
            </a:ln>
          </p:spPr>
          <p:txBody>
            <a:bodyPr spcFirstLastPara="1" wrap="square" lIns="121900" tIns="121900" rIns="121900" bIns="1219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2489" b="0" i="0" u="none" strike="noStrike" kern="1200" cap="none" spc="0" normalizeH="0" baseline="0" noProof="0">
                  <a:ln>
                    <a:noFill/>
                  </a:ln>
                  <a:solidFill>
                    <a:srgbClr val="FFFFFF"/>
                  </a:solidFill>
                  <a:effectLst/>
                  <a:uLnTx/>
                  <a:uFillTx/>
                  <a:latin typeface="Arial"/>
                  <a:cs typeface="+mn-ea"/>
                  <a:sym typeface="+mn-lt"/>
                </a:rPr>
                <a:t>Jupiter</a:t>
              </a:r>
              <a:endParaRPr kumimoji="0" sz="2489" b="0" i="0" u="none" strike="noStrike" kern="1200" cap="none" spc="0" normalizeH="0" baseline="0" noProof="0">
                <a:ln>
                  <a:noFill/>
                </a:ln>
                <a:solidFill>
                  <a:srgbClr val="FFFFFF"/>
                </a:solidFill>
                <a:effectLst/>
                <a:uLnTx/>
                <a:uFillTx/>
                <a:latin typeface="Arial"/>
                <a:cs typeface="+mn-ea"/>
                <a:sym typeface="+mn-lt"/>
              </a:endParaRPr>
            </a:p>
          </p:txBody>
        </p:sp>
        <p:sp>
          <p:nvSpPr>
            <p:cNvPr id="24" name="Google Shape;155;p16">
              <a:extLst>
                <a:ext uri="{FF2B5EF4-FFF2-40B4-BE49-F238E27FC236}">
                  <a16:creationId xmlns:a16="http://schemas.microsoft.com/office/drawing/2014/main" id="{0E288472-E37A-4034-A3A7-5E6D91497EC7}"/>
                </a:ext>
              </a:extLst>
            </p:cNvPr>
            <p:cNvSpPr txBox="1"/>
            <p:nvPr/>
          </p:nvSpPr>
          <p:spPr>
            <a:xfrm>
              <a:off x="1142525" y="1723650"/>
              <a:ext cx="964200" cy="597300"/>
            </a:xfrm>
            <a:prstGeom prst="rect">
              <a:avLst/>
            </a:prstGeom>
            <a:noFill/>
            <a:ln>
              <a:noFill/>
            </a:ln>
          </p:spPr>
          <p:txBody>
            <a:bodyPr spcFirstLastPara="1" wrap="square" lIns="121900" tIns="121900" rIns="121900" bIns="12190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 sz="1600" b="0" i="0" u="none" strike="noStrike" kern="1200" cap="none" spc="0" normalizeH="0" baseline="0" noProof="0">
                  <a:ln>
                    <a:noFill/>
                  </a:ln>
                  <a:solidFill>
                    <a:srgbClr val="434343"/>
                  </a:solidFill>
                  <a:effectLst/>
                  <a:uLnTx/>
                  <a:uFillTx/>
                  <a:latin typeface="Arial"/>
                  <a:cs typeface="+mn-ea"/>
                  <a:sym typeface="+mn-lt"/>
                </a:rPr>
                <a:t>Venus is a hot place</a:t>
              </a:r>
              <a:endParaRPr kumimoji="0" sz="1600" b="0" i="0" u="none" strike="noStrike" kern="1200" cap="none" spc="0" normalizeH="0" baseline="0" noProof="0">
                <a:ln>
                  <a:noFill/>
                </a:ln>
                <a:solidFill>
                  <a:srgbClr val="434343"/>
                </a:solidFill>
                <a:effectLst/>
                <a:uLnTx/>
                <a:uFillTx/>
                <a:latin typeface="Arial"/>
                <a:cs typeface="+mn-ea"/>
                <a:sym typeface="+mn-lt"/>
              </a:endParaRPr>
            </a:p>
          </p:txBody>
        </p:sp>
        <p:sp>
          <p:nvSpPr>
            <p:cNvPr id="25" name="Google Shape;156;p16">
              <a:extLst>
                <a:ext uri="{FF2B5EF4-FFF2-40B4-BE49-F238E27FC236}">
                  <a16:creationId xmlns:a16="http://schemas.microsoft.com/office/drawing/2014/main" id="{1D92BE2A-4F56-4145-B4B3-06A5D0846190}"/>
                </a:ext>
              </a:extLst>
            </p:cNvPr>
            <p:cNvSpPr txBox="1"/>
            <p:nvPr/>
          </p:nvSpPr>
          <p:spPr>
            <a:xfrm>
              <a:off x="1142525" y="3187725"/>
              <a:ext cx="964200" cy="597300"/>
            </a:xfrm>
            <a:prstGeom prst="rect">
              <a:avLst/>
            </a:prstGeom>
            <a:noFill/>
            <a:ln>
              <a:noFill/>
            </a:ln>
          </p:spPr>
          <p:txBody>
            <a:bodyPr spcFirstLastPara="1" wrap="square" lIns="121900" tIns="121900" rIns="121900" bIns="12190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 sz="1600" b="0" i="0" u="none" strike="noStrike" kern="1200" cap="none" spc="0" normalizeH="0" baseline="0" noProof="0">
                  <a:ln>
                    <a:noFill/>
                  </a:ln>
                  <a:solidFill>
                    <a:srgbClr val="434343"/>
                  </a:solidFill>
                  <a:effectLst/>
                  <a:uLnTx/>
                  <a:uFillTx/>
                  <a:latin typeface="Arial"/>
                  <a:cs typeface="+mn-ea"/>
                  <a:sym typeface="+mn-lt"/>
                </a:rPr>
                <a:t>Jupiter is a gas giant</a:t>
              </a:r>
              <a:endParaRPr kumimoji="0" sz="1600" b="0" i="0" u="none" strike="noStrike" kern="1200" cap="none" spc="0" normalizeH="0" baseline="0" noProof="0">
                <a:ln>
                  <a:noFill/>
                </a:ln>
                <a:solidFill>
                  <a:srgbClr val="434343"/>
                </a:solidFill>
                <a:effectLst/>
                <a:uLnTx/>
                <a:uFillTx/>
                <a:latin typeface="Arial"/>
                <a:cs typeface="+mn-ea"/>
                <a:sym typeface="+mn-lt"/>
              </a:endParaRPr>
            </a:p>
          </p:txBody>
        </p:sp>
      </p:grpSp>
      <p:grpSp>
        <p:nvGrpSpPr>
          <p:cNvPr id="29" name="Google Shape;157;p16">
            <a:extLst>
              <a:ext uri="{FF2B5EF4-FFF2-40B4-BE49-F238E27FC236}">
                <a16:creationId xmlns:a16="http://schemas.microsoft.com/office/drawing/2014/main" id="{750850BA-5021-4E6B-B0EF-08603B4FA272}"/>
              </a:ext>
            </a:extLst>
          </p:cNvPr>
          <p:cNvGrpSpPr/>
          <p:nvPr/>
        </p:nvGrpSpPr>
        <p:grpSpPr>
          <a:xfrm>
            <a:off x="5112533" y="1622741"/>
            <a:ext cx="2301808" cy="3612517"/>
            <a:chOff x="3834400" y="1399638"/>
            <a:chExt cx="1726356" cy="2709388"/>
          </a:xfrm>
        </p:grpSpPr>
        <p:sp>
          <p:nvSpPr>
            <p:cNvPr id="30" name="Google Shape;158;p16">
              <a:extLst>
                <a:ext uri="{FF2B5EF4-FFF2-40B4-BE49-F238E27FC236}">
                  <a16:creationId xmlns:a16="http://schemas.microsoft.com/office/drawing/2014/main" id="{C5CFCB2F-D407-462D-AB2C-98D72CD01F14}"/>
                </a:ext>
              </a:extLst>
            </p:cNvPr>
            <p:cNvSpPr/>
            <p:nvPr/>
          </p:nvSpPr>
          <p:spPr>
            <a:xfrm>
              <a:off x="3834400" y="2949538"/>
              <a:ext cx="1521350" cy="1159425"/>
            </a:xfrm>
            <a:custGeom>
              <a:avLst/>
              <a:gdLst/>
              <a:ahLst/>
              <a:cxnLst/>
              <a:rect l="l" t="t" r="r" b="b"/>
              <a:pathLst>
                <a:path w="60854" h="46377" extrusionOk="0">
                  <a:moveTo>
                    <a:pt x="59346" y="1"/>
                  </a:moveTo>
                  <a:cubicBezTo>
                    <a:pt x="58801" y="1"/>
                    <a:pt x="58287" y="344"/>
                    <a:pt x="58091" y="883"/>
                  </a:cubicBezTo>
                  <a:lnTo>
                    <a:pt x="45137" y="36459"/>
                  </a:lnTo>
                  <a:lnTo>
                    <a:pt x="4906" y="36459"/>
                  </a:lnTo>
                  <a:cubicBezTo>
                    <a:pt x="2203" y="36459"/>
                    <a:pt x="1" y="38661"/>
                    <a:pt x="1" y="41364"/>
                  </a:cubicBezTo>
                  <a:cubicBezTo>
                    <a:pt x="1" y="44079"/>
                    <a:pt x="2203" y="46281"/>
                    <a:pt x="4906" y="46281"/>
                  </a:cubicBezTo>
                  <a:lnTo>
                    <a:pt x="42911" y="46281"/>
                  </a:lnTo>
                  <a:cubicBezTo>
                    <a:pt x="42935" y="46281"/>
                    <a:pt x="42959" y="46293"/>
                    <a:pt x="42982" y="46305"/>
                  </a:cubicBezTo>
                  <a:cubicBezTo>
                    <a:pt x="43137" y="46353"/>
                    <a:pt x="43292" y="46376"/>
                    <a:pt x="43447" y="46376"/>
                  </a:cubicBezTo>
                  <a:cubicBezTo>
                    <a:pt x="43983" y="46376"/>
                    <a:pt x="44506" y="46031"/>
                    <a:pt x="44697" y="45495"/>
                  </a:cubicBezTo>
                  <a:lnTo>
                    <a:pt x="60604" y="1800"/>
                  </a:lnTo>
                  <a:cubicBezTo>
                    <a:pt x="60854" y="1097"/>
                    <a:pt x="60496" y="335"/>
                    <a:pt x="59806" y="85"/>
                  </a:cubicBezTo>
                  <a:cubicBezTo>
                    <a:pt x="59654" y="28"/>
                    <a:pt x="59499" y="1"/>
                    <a:pt x="59346" y="1"/>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cs typeface="+mn-ea"/>
                <a:sym typeface="+mn-lt"/>
              </a:endParaRPr>
            </a:p>
          </p:txBody>
        </p:sp>
        <p:sp>
          <p:nvSpPr>
            <p:cNvPr id="31" name="Google Shape;159;p16">
              <a:extLst>
                <a:ext uri="{FF2B5EF4-FFF2-40B4-BE49-F238E27FC236}">
                  <a16:creationId xmlns:a16="http://schemas.microsoft.com/office/drawing/2014/main" id="{A26918BF-F43B-4744-B863-3864E8069C68}"/>
                </a:ext>
              </a:extLst>
            </p:cNvPr>
            <p:cNvSpPr/>
            <p:nvPr/>
          </p:nvSpPr>
          <p:spPr>
            <a:xfrm>
              <a:off x="3834400" y="1399638"/>
              <a:ext cx="1521350" cy="1159425"/>
            </a:xfrm>
            <a:custGeom>
              <a:avLst/>
              <a:gdLst/>
              <a:ahLst/>
              <a:cxnLst/>
              <a:rect l="l" t="t" r="r" b="b"/>
              <a:pathLst>
                <a:path w="60854" h="46377" extrusionOk="0">
                  <a:moveTo>
                    <a:pt x="43446" y="1"/>
                  </a:moveTo>
                  <a:cubicBezTo>
                    <a:pt x="43293" y="1"/>
                    <a:pt x="43136" y="28"/>
                    <a:pt x="42982" y="85"/>
                  </a:cubicBezTo>
                  <a:cubicBezTo>
                    <a:pt x="42959" y="85"/>
                    <a:pt x="42935" y="97"/>
                    <a:pt x="42911" y="97"/>
                  </a:cubicBezTo>
                  <a:lnTo>
                    <a:pt x="4906" y="97"/>
                  </a:lnTo>
                  <a:cubicBezTo>
                    <a:pt x="2203" y="97"/>
                    <a:pt x="1" y="2300"/>
                    <a:pt x="1" y="5003"/>
                  </a:cubicBezTo>
                  <a:cubicBezTo>
                    <a:pt x="1" y="7717"/>
                    <a:pt x="2203" y="9920"/>
                    <a:pt x="4906" y="9920"/>
                  </a:cubicBezTo>
                  <a:lnTo>
                    <a:pt x="45137" y="9920"/>
                  </a:lnTo>
                  <a:lnTo>
                    <a:pt x="58091" y="45496"/>
                  </a:lnTo>
                  <a:cubicBezTo>
                    <a:pt x="58282" y="46043"/>
                    <a:pt x="58806" y="46377"/>
                    <a:pt x="59342" y="46377"/>
                  </a:cubicBezTo>
                  <a:cubicBezTo>
                    <a:pt x="59496" y="46377"/>
                    <a:pt x="59651" y="46353"/>
                    <a:pt x="59806" y="46305"/>
                  </a:cubicBezTo>
                  <a:cubicBezTo>
                    <a:pt x="60496" y="46043"/>
                    <a:pt x="60854" y="45281"/>
                    <a:pt x="60604" y="44591"/>
                  </a:cubicBezTo>
                  <a:lnTo>
                    <a:pt x="44697" y="895"/>
                  </a:lnTo>
                  <a:cubicBezTo>
                    <a:pt x="44502" y="346"/>
                    <a:pt x="43994" y="1"/>
                    <a:pt x="43446" y="1"/>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cs typeface="+mn-ea"/>
                <a:sym typeface="+mn-lt"/>
              </a:endParaRPr>
            </a:p>
          </p:txBody>
        </p:sp>
        <p:sp>
          <p:nvSpPr>
            <p:cNvPr id="32" name="Google Shape;160;p16">
              <a:extLst>
                <a:ext uri="{FF2B5EF4-FFF2-40B4-BE49-F238E27FC236}">
                  <a16:creationId xmlns:a16="http://schemas.microsoft.com/office/drawing/2014/main" id="{AAB6A491-40E1-4A08-AC83-88935F84AFD1}"/>
                </a:ext>
              </a:extLst>
            </p:cNvPr>
            <p:cNvSpPr/>
            <p:nvPr/>
          </p:nvSpPr>
          <p:spPr>
            <a:xfrm>
              <a:off x="5001575" y="2474872"/>
              <a:ext cx="559181" cy="559181"/>
            </a:xfrm>
            <a:custGeom>
              <a:avLst/>
              <a:gdLst/>
              <a:ahLst/>
              <a:cxnLst/>
              <a:rect l="l" t="t" r="r" b="b"/>
              <a:pathLst>
                <a:path w="29516" h="29516" extrusionOk="0">
                  <a:moveTo>
                    <a:pt x="14764" y="0"/>
                  </a:moveTo>
                  <a:cubicBezTo>
                    <a:pt x="6620" y="0"/>
                    <a:pt x="0" y="6620"/>
                    <a:pt x="0" y="14752"/>
                  </a:cubicBezTo>
                  <a:cubicBezTo>
                    <a:pt x="0" y="22896"/>
                    <a:pt x="6620" y="29516"/>
                    <a:pt x="14764" y="29516"/>
                  </a:cubicBezTo>
                  <a:cubicBezTo>
                    <a:pt x="22896" y="29516"/>
                    <a:pt x="29516" y="22896"/>
                    <a:pt x="29516" y="14752"/>
                  </a:cubicBezTo>
                  <a:cubicBezTo>
                    <a:pt x="29516" y="6620"/>
                    <a:pt x="22896" y="0"/>
                    <a:pt x="14764" y="0"/>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cs typeface="+mn-ea"/>
                <a:sym typeface="+mn-lt"/>
              </a:endParaRPr>
            </a:p>
          </p:txBody>
        </p:sp>
        <p:sp>
          <p:nvSpPr>
            <p:cNvPr id="33" name="Google Shape;161;p16">
              <a:extLst>
                <a:ext uri="{FF2B5EF4-FFF2-40B4-BE49-F238E27FC236}">
                  <a16:creationId xmlns:a16="http://schemas.microsoft.com/office/drawing/2014/main" id="{D9F63206-65F4-460C-A749-CC1AB606062A}"/>
                </a:ext>
              </a:extLst>
            </p:cNvPr>
            <p:cNvSpPr/>
            <p:nvPr/>
          </p:nvSpPr>
          <p:spPr>
            <a:xfrm>
              <a:off x="5032248" y="2505545"/>
              <a:ext cx="497837" cy="497837"/>
            </a:xfrm>
            <a:custGeom>
              <a:avLst/>
              <a:gdLst/>
              <a:ahLst/>
              <a:cxnLst/>
              <a:rect l="l" t="t" r="r" b="b"/>
              <a:pathLst>
                <a:path w="26278" h="26278" extrusionOk="0">
                  <a:moveTo>
                    <a:pt x="13145" y="1"/>
                  </a:moveTo>
                  <a:cubicBezTo>
                    <a:pt x="5882" y="1"/>
                    <a:pt x="1" y="5882"/>
                    <a:pt x="1" y="13133"/>
                  </a:cubicBezTo>
                  <a:cubicBezTo>
                    <a:pt x="1" y="20396"/>
                    <a:pt x="5882" y="26278"/>
                    <a:pt x="13145" y="26278"/>
                  </a:cubicBezTo>
                  <a:cubicBezTo>
                    <a:pt x="20396" y="26278"/>
                    <a:pt x="26278" y="20396"/>
                    <a:pt x="26278" y="13133"/>
                  </a:cubicBezTo>
                  <a:cubicBezTo>
                    <a:pt x="26278" y="5882"/>
                    <a:pt x="20396" y="1"/>
                    <a:pt x="13145" y="1"/>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cs typeface="+mn-ea"/>
                <a:sym typeface="+mn-lt"/>
              </a:endParaRPr>
            </a:p>
          </p:txBody>
        </p:sp>
        <p:sp>
          <p:nvSpPr>
            <p:cNvPr id="34" name="Google Shape;162;p16">
              <a:extLst>
                <a:ext uri="{FF2B5EF4-FFF2-40B4-BE49-F238E27FC236}">
                  <a16:creationId xmlns:a16="http://schemas.microsoft.com/office/drawing/2014/main" id="{1D9D3A17-81B9-4CD4-8654-24714ECC1E9C}"/>
                </a:ext>
              </a:extLst>
            </p:cNvPr>
            <p:cNvSpPr/>
            <p:nvPr/>
          </p:nvSpPr>
          <p:spPr>
            <a:xfrm>
              <a:off x="5190368" y="2650366"/>
              <a:ext cx="182061" cy="181815"/>
            </a:xfrm>
            <a:custGeom>
              <a:avLst/>
              <a:gdLst/>
              <a:ahLst/>
              <a:cxnLst/>
              <a:rect l="l" t="t" r="r" b="b"/>
              <a:pathLst>
                <a:path w="9610" h="9597" fill="none" extrusionOk="0">
                  <a:moveTo>
                    <a:pt x="6930" y="9133"/>
                  </a:moveTo>
                  <a:cubicBezTo>
                    <a:pt x="7002" y="9204"/>
                    <a:pt x="7097" y="9240"/>
                    <a:pt x="7204" y="9240"/>
                  </a:cubicBezTo>
                  <a:lnTo>
                    <a:pt x="9002" y="9549"/>
                  </a:lnTo>
                  <a:cubicBezTo>
                    <a:pt x="9014" y="9561"/>
                    <a:pt x="9038" y="9561"/>
                    <a:pt x="9062" y="9573"/>
                  </a:cubicBezTo>
                  <a:lnTo>
                    <a:pt x="9133" y="9585"/>
                  </a:lnTo>
                  <a:cubicBezTo>
                    <a:pt x="9252" y="9597"/>
                    <a:pt x="9383" y="9561"/>
                    <a:pt x="9478" y="9466"/>
                  </a:cubicBezTo>
                  <a:cubicBezTo>
                    <a:pt x="9562" y="9383"/>
                    <a:pt x="9609" y="9252"/>
                    <a:pt x="9585" y="9121"/>
                  </a:cubicBezTo>
                  <a:lnTo>
                    <a:pt x="9240" y="7144"/>
                  </a:lnTo>
                  <a:cubicBezTo>
                    <a:pt x="9240" y="7120"/>
                    <a:pt x="9228" y="7097"/>
                    <a:pt x="9216" y="7085"/>
                  </a:cubicBezTo>
                  <a:cubicBezTo>
                    <a:pt x="9216" y="7073"/>
                    <a:pt x="9216" y="7061"/>
                    <a:pt x="9204" y="7049"/>
                  </a:cubicBezTo>
                  <a:cubicBezTo>
                    <a:pt x="9204" y="7037"/>
                    <a:pt x="9193" y="7025"/>
                    <a:pt x="9193" y="7025"/>
                  </a:cubicBezTo>
                  <a:cubicBezTo>
                    <a:pt x="9181" y="7001"/>
                    <a:pt x="9181" y="6989"/>
                    <a:pt x="9169" y="6977"/>
                  </a:cubicBezTo>
                  <a:cubicBezTo>
                    <a:pt x="9157" y="6966"/>
                    <a:pt x="9145" y="6942"/>
                    <a:pt x="9121" y="6930"/>
                  </a:cubicBezTo>
                  <a:lnTo>
                    <a:pt x="9085" y="6882"/>
                  </a:lnTo>
                  <a:lnTo>
                    <a:pt x="3097" y="905"/>
                  </a:lnTo>
                  <a:cubicBezTo>
                    <a:pt x="3061" y="870"/>
                    <a:pt x="3025" y="846"/>
                    <a:pt x="2977" y="822"/>
                  </a:cubicBezTo>
                  <a:cubicBezTo>
                    <a:pt x="2966" y="774"/>
                    <a:pt x="2942" y="739"/>
                    <a:pt x="2906" y="703"/>
                  </a:cubicBezTo>
                  <a:lnTo>
                    <a:pt x="2704" y="512"/>
                  </a:lnTo>
                  <a:cubicBezTo>
                    <a:pt x="2656" y="453"/>
                    <a:pt x="2215" y="12"/>
                    <a:pt x="1584" y="0"/>
                  </a:cubicBezTo>
                  <a:cubicBezTo>
                    <a:pt x="1180" y="0"/>
                    <a:pt x="822" y="155"/>
                    <a:pt x="501" y="477"/>
                  </a:cubicBezTo>
                  <a:cubicBezTo>
                    <a:pt x="168" y="810"/>
                    <a:pt x="1" y="1179"/>
                    <a:pt x="1" y="1584"/>
                  </a:cubicBezTo>
                  <a:cubicBezTo>
                    <a:pt x="1" y="2191"/>
                    <a:pt x="418" y="2620"/>
                    <a:pt x="465" y="2656"/>
                  </a:cubicBezTo>
                  <a:lnTo>
                    <a:pt x="703" y="2906"/>
                  </a:lnTo>
                  <a:cubicBezTo>
                    <a:pt x="739" y="2941"/>
                    <a:pt x="775" y="2965"/>
                    <a:pt x="822" y="2977"/>
                  </a:cubicBezTo>
                  <a:cubicBezTo>
                    <a:pt x="846" y="3025"/>
                    <a:pt x="870" y="3060"/>
                    <a:pt x="906" y="3096"/>
                  </a:cubicBezTo>
                  <a:close/>
                  <a:moveTo>
                    <a:pt x="822" y="2977"/>
                  </a:moveTo>
                  <a:lnTo>
                    <a:pt x="2977" y="822"/>
                  </a:lnTo>
                  <a:moveTo>
                    <a:pt x="9085" y="6882"/>
                  </a:moveTo>
                  <a:lnTo>
                    <a:pt x="6930" y="9133"/>
                  </a:lnTo>
                </a:path>
              </a:pathLst>
            </a:custGeom>
            <a:noFill/>
            <a:ln w="11025" cap="rnd" cmpd="sng">
              <a:solidFill>
                <a:srgbClr val="FFFFFF"/>
              </a:solidFill>
              <a:prstDash val="solid"/>
              <a:round/>
              <a:headEnd type="none" w="sm" len="sm"/>
              <a:tailEnd type="none" w="sm" len="sm"/>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cs typeface="+mn-ea"/>
                <a:sym typeface="+mn-lt"/>
              </a:endParaRPr>
            </a:p>
          </p:txBody>
        </p:sp>
        <p:sp>
          <p:nvSpPr>
            <p:cNvPr id="35" name="Google Shape;163;p16">
              <a:extLst>
                <a:ext uri="{FF2B5EF4-FFF2-40B4-BE49-F238E27FC236}">
                  <a16:creationId xmlns:a16="http://schemas.microsoft.com/office/drawing/2014/main" id="{B99168A4-DF95-41F9-8879-962DAE86131A}"/>
                </a:ext>
              </a:extLst>
            </p:cNvPr>
            <p:cNvSpPr txBox="1"/>
            <p:nvPr/>
          </p:nvSpPr>
          <p:spPr>
            <a:xfrm>
              <a:off x="3834475" y="1399650"/>
              <a:ext cx="1130700" cy="247800"/>
            </a:xfrm>
            <a:prstGeom prst="rect">
              <a:avLst/>
            </a:prstGeom>
            <a:noFill/>
            <a:ln>
              <a:noFill/>
            </a:ln>
          </p:spPr>
          <p:txBody>
            <a:bodyPr spcFirstLastPara="1" wrap="square" lIns="121900" tIns="121900" rIns="121900" bIns="1219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2489" b="0" i="0" u="none" strike="noStrike" kern="1200" cap="none" spc="0" normalizeH="0" baseline="0" noProof="0">
                  <a:ln>
                    <a:noFill/>
                  </a:ln>
                  <a:solidFill>
                    <a:srgbClr val="FFFFFF"/>
                  </a:solidFill>
                  <a:effectLst/>
                  <a:uLnTx/>
                  <a:uFillTx/>
                  <a:latin typeface="Arial"/>
                  <a:cs typeface="+mn-ea"/>
                  <a:sym typeface="+mn-lt"/>
                </a:rPr>
                <a:t>Neptune</a:t>
              </a:r>
              <a:endParaRPr kumimoji="0" sz="2489" b="0" i="0" u="none" strike="noStrike" kern="1200" cap="none" spc="0" normalizeH="0" baseline="0" noProof="0">
                <a:ln>
                  <a:noFill/>
                </a:ln>
                <a:solidFill>
                  <a:srgbClr val="FFFFFF"/>
                </a:solidFill>
                <a:effectLst/>
                <a:uLnTx/>
                <a:uFillTx/>
                <a:latin typeface="Arial"/>
                <a:cs typeface="+mn-ea"/>
                <a:sym typeface="+mn-lt"/>
              </a:endParaRPr>
            </a:p>
          </p:txBody>
        </p:sp>
        <p:sp>
          <p:nvSpPr>
            <p:cNvPr id="36" name="Google Shape;164;p16">
              <a:extLst>
                <a:ext uri="{FF2B5EF4-FFF2-40B4-BE49-F238E27FC236}">
                  <a16:creationId xmlns:a16="http://schemas.microsoft.com/office/drawing/2014/main" id="{096ECCC8-33E3-445F-A1EC-C05A8B9EFEFE}"/>
                </a:ext>
              </a:extLst>
            </p:cNvPr>
            <p:cNvSpPr txBox="1"/>
            <p:nvPr/>
          </p:nvSpPr>
          <p:spPr>
            <a:xfrm>
              <a:off x="3834475" y="3861225"/>
              <a:ext cx="1130700" cy="247800"/>
            </a:xfrm>
            <a:prstGeom prst="rect">
              <a:avLst/>
            </a:prstGeom>
            <a:noFill/>
            <a:ln>
              <a:noFill/>
            </a:ln>
          </p:spPr>
          <p:txBody>
            <a:bodyPr spcFirstLastPara="1" wrap="square" lIns="121900" tIns="121900" rIns="121900" bIns="1219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2489" b="0" i="0" u="none" strike="noStrike" kern="1200" cap="none" spc="0" normalizeH="0" baseline="0" noProof="0">
                  <a:ln>
                    <a:noFill/>
                  </a:ln>
                  <a:solidFill>
                    <a:srgbClr val="FFFFFF"/>
                  </a:solidFill>
                  <a:effectLst/>
                  <a:uLnTx/>
                  <a:uFillTx/>
                  <a:latin typeface="Arial"/>
                  <a:cs typeface="+mn-ea"/>
                  <a:sym typeface="+mn-lt"/>
                </a:rPr>
                <a:t>Sun</a:t>
              </a:r>
              <a:endParaRPr kumimoji="0" sz="2489" b="0" i="0" u="none" strike="noStrike" kern="1200" cap="none" spc="0" normalizeH="0" baseline="0" noProof="0">
                <a:ln>
                  <a:noFill/>
                </a:ln>
                <a:solidFill>
                  <a:srgbClr val="FFFFFF"/>
                </a:solidFill>
                <a:effectLst/>
                <a:uLnTx/>
                <a:uFillTx/>
                <a:latin typeface="Arial"/>
                <a:cs typeface="+mn-ea"/>
                <a:sym typeface="+mn-lt"/>
              </a:endParaRPr>
            </a:p>
          </p:txBody>
        </p:sp>
        <p:sp>
          <p:nvSpPr>
            <p:cNvPr id="37" name="Google Shape;165;p16">
              <a:extLst>
                <a:ext uri="{FF2B5EF4-FFF2-40B4-BE49-F238E27FC236}">
                  <a16:creationId xmlns:a16="http://schemas.microsoft.com/office/drawing/2014/main" id="{518B277E-BA0C-4463-83F6-56B0BBEA9E52}"/>
                </a:ext>
              </a:extLst>
            </p:cNvPr>
            <p:cNvSpPr txBox="1"/>
            <p:nvPr/>
          </p:nvSpPr>
          <p:spPr>
            <a:xfrm>
              <a:off x="4000975" y="1723650"/>
              <a:ext cx="964200" cy="597300"/>
            </a:xfrm>
            <a:prstGeom prst="rect">
              <a:avLst/>
            </a:prstGeom>
            <a:noFill/>
            <a:ln>
              <a:noFill/>
            </a:ln>
          </p:spPr>
          <p:txBody>
            <a:bodyPr spcFirstLastPara="1" wrap="square" lIns="121900" tIns="121900" rIns="121900" bIns="12190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 sz="1600" b="0" i="0" u="none" strike="noStrike" kern="1200" cap="none" spc="0" normalizeH="0" baseline="0" noProof="0">
                  <a:ln>
                    <a:noFill/>
                  </a:ln>
                  <a:solidFill>
                    <a:srgbClr val="434343"/>
                  </a:solidFill>
                  <a:effectLst/>
                  <a:uLnTx/>
                  <a:uFillTx/>
                  <a:latin typeface="Arial"/>
                  <a:cs typeface="+mn-ea"/>
                  <a:sym typeface="+mn-lt"/>
                </a:rPr>
                <a:t>Neptune is far away</a:t>
              </a:r>
              <a:endParaRPr kumimoji="0" sz="1600" b="0" i="0" u="none" strike="noStrike" kern="1200" cap="none" spc="0" normalizeH="0" baseline="0" noProof="0">
                <a:ln>
                  <a:noFill/>
                </a:ln>
                <a:solidFill>
                  <a:srgbClr val="434343"/>
                </a:solidFill>
                <a:effectLst/>
                <a:uLnTx/>
                <a:uFillTx/>
                <a:latin typeface="Arial"/>
                <a:cs typeface="+mn-ea"/>
                <a:sym typeface="+mn-lt"/>
              </a:endParaRPr>
            </a:p>
          </p:txBody>
        </p:sp>
        <p:sp>
          <p:nvSpPr>
            <p:cNvPr id="38" name="Google Shape;166;p16">
              <a:extLst>
                <a:ext uri="{FF2B5EF4-FFF2-40B4-BE49-F238E27FC236}">
                  <a16:creationId xmlns:a16="http://schemas.microsoft.com/office/drawing/2014/main" id="{64F2278E-6B1B-4AC4-8F2A-7791E3E5A68B}"/>
                </a:ext>
              </a:extLst>
            </p:cNvPr>
            <p:cNvSpPr txBox="1"/>
            <p:nvPr/>
          </p:nvSpPr>
          <p:spPr>
            <a:xfrm>
              <a:off x="4000975" y="3187725"/>
              <a:ext cx="964200" cy="597300"/>
            </a:xfrm>
            <a:prstGeom prst="rect">
              <a:avLst/>
            </a:prstGeom>
            <a:noFill/>
            <a:ln>
              <a:noFill/>
            </a:ln>
          </p:spPr>
          <p:txBody>
            <a:bodyPr spcFirstLastPara="1" wrap="square" lIns="121900" tIns="121900" rIns="121900" bIns="12190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 sz="1600" b="0" i="0" u="none" strike="noStrike" kern="1200" cap="none" spc="0" normalizeH="0" baseline="0" noProof="0">
                  <a:ln>
                    <a:noFill/>
                  </a:ln>
                  <a:solidFill>
                    <a:srgbClr val="434343"/>
                  </a:solidFill>
                  <a:effectLst/>
                  <a:uLnTx/>
                  <a:uFillTx/>
                  <a:latin typeface="Arial"/>
                  <a:cs typeface="+mn-ea"/>
                  <a:sym typeface="+mn-lt"/>
                </a:rPr>
                <a:t>The Sun is a star</a:t>
              </a:r>
              <a:endParaRPr kumimoji="0" sz="1600" b="0" i="0" u="none" strike="noStrike" kern="1200" cap="none" spc="0" normalizeH="0" baseline="0" noProof="0">
                <a:ln>
                  <a:noFill/>
                </a:ln>
                <a:solidFill>
                  <a:srgbClr val="434343"/>
                </a:solidFill>
                <a:effectLst/>
                <a:uLnTx/>
                <a:uFillTx/>
                <a:latin typeface="Arial"/>
                <a:cs typeface="+mn-ea"/>
                <a:sym typeface="+mn-lt"/>
              </a:endParaRPr>
            </a:p>
          </p:txBody>
        </p:sp>
      </p:grpSp>
      <p:grpSp>
        <p:nvGrpSpPr>
          <p:cNvPr id="39" name="Google Shape;167;p16">
            <a:extLst>
              <a:ext uri="{FF2B5EF4-FFF2-40B4-BE49-F238E27FC236}">
                <a16:creationId xmlns:a16="http://schemas.microsoft.com/office/drawing/2014/main" id="{D812BE75-2FE4-44B8-80D6-4068637B3119}"/>
              </a:ext>
            </a:extLst>
          </p:cNvPr>
          <p:cNvGrpSpPr/>
          <p:nvPr/>
        </p:nvGrpSpPr>
        <p:grpSpPr>
          <a:xfrm>
            <a:off x="7018300" y="1622741"/>
            <a:ext cx="2318133" cy="3612517"/>
            <a:chOff x="5263725" y="1399638"/>
            <a:chExt cx="1738600" cy="2709388"/>
          </a:xfrm>
        </p:grpSpPr>
        <p:sp>
          <p:nvSpPr>
            <p:cNvPr id="40" name="Google Shape;168;p16">
              <a:extLst>
                <a:ext uri="{FF2B5EF4-FFF2-40B4-BE49-F238E27FC236}">
                  <a16:creationId xmlns:a16="http://schemas.microsoft.com/office/drawing/2014/main" id="{93F496F4-2540-409D-AE42-9A19CEE0ED49}"/>
                </a:ext>
              </a:extLst>
            </p:cNvPr>
            <p:cNvSpPr/>
            <p:nvPr/>
          </p:nvSpPr>
          <p:spPr>
            <a:xfrm>
              <a:off x="5263750" y="2949538"/>
              <a:ext cx="1521350" cy="1159425"/>
            </a:xfrm>
            <a:custGeom>
              <a:avLst/>
              <a:gdLst/>
              <a:ahLst/>
              <a:cxnLst/>
              <a:rect l="l" t="t" r="r" b="b"/>
              <a:pathLst>
                <a:path w="60854" h="46377" extrusionOk="0">
                  <a:moveTo>
                    <a:pt x="59335" y="1"/>
                  </a:moveTo>
                  <a:cubicBezTo>
                    <a:pt x="58793" y="1"/>
                    <a:pt x="58284" y="344"/>
                    <a:pt x="58079" y="883"/>
                  </a:cubicBezTo>
                  <a:lnTo>
                    <a:pt x="45137" y="36459"/>
                  </a:lnTo>
                  <a:lnTo>
                    <a:pt x="4894" y="36459"/>
                  </a:lnTo>
                  <a:cubicBezTo>
                    <a:pt x="2191" y="36459"/>
                    <a:pt x="1" y="38661"/>
                    <a:pt x="1" y="41364"/>
                  </a:cubicBezTo>
                  <a:cubicBezTo>
                    <a:pt x="1" y="44079"/>
                    <a:pt x="2191" y="46281"/>
                    <a:pt x="4894" y="46281"/>
                  </a:cubicBezTo>
                  <a:lnTo>
                    <a:pt x="42911" y="46281"/>
                  </a:lnTo>
                  <a:cubicBezTo>
                    <a:pt x="42935" y="46281"/>
                    <a:pt x="42958" y="46293"/>
                    <a:pt x="42982" y="46305"/>
                  </a:cubicBezTo>
                  <a:cubicBezTo>
                    <a:pt x="43125" y="46353"/>
                    <a:pt x="43280" y="46376"/>
                    <a:pt x="43435" y="46376"/>
                  </a:cubicBezTo>
                  <a:cubicBezTo>
                    <a:pt x="43982" y="46376"/>
                    <a:pt x="44494" y="46031"/>
                    <a:pt x="44697" y="45495"/>
                  </a:cubicBezTo>
                  <a:lnTo>
                    <a:pt x="60603" y="1800"/>
                  </a:lnTo>
                  <a:cubicBezTo>
                    <a:pt x="60853" y="1097"/>
                    <a:pt x="60496" y="335"/>
                    <a:pt x="59794" y="85"/>
                  </a:cubicBezTo>
                  <a:cubicBezTo>
                    <a:pt x="59642" y="28"/>
                    <a:pt x="59487" y="1"/>
                    <a:pt x="59335" y="1"/>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cs typeface="+mn-ea"/>
                <a:sym typeface="+mn-lt"/>
              </a:endParaRPr>
            </a:p>
          </p:txBody>
        </p:sp>
        <p:sp>
          <p:nvSpPr>
            <p:cNvPr id="41" name="Google Shape;169;p16">
              <a:extLst>
                <a:ext uri="{FF2B5EF4-FFF2-40B4-BE49-F238E27FC236}">
                  <a16:creationId xmlns:a16="http://schemas.microsoft.com/office/drawing/2014/main" id="{845F5948-B2B3-43A5-8A5C-D88CFE879168}"/>
                </a:ext>
              </a:extLst>
            </p:cNvPr>
            <p:cNvSpPr/>
            <p:nvPr/>
          </p:nvSpPr>
          <p:spPr>
            <a:xfrm>
              <a:off x="5263750" y="1399638"/>
              <a:ext cx="1521350" cy="1159425"/>
            </a:xfrm>
            <a:custGeom>
              <a:avLst/>
              <a:gdLst/>
              <a:ahLst/>
              <a:cxnLst/>
              <a:rect l="l" t="t" r="r" b="b"/>
              <a:pathLst>
                <a:path w="60854" h="46377" extrusionOk="0">
                  <a:moveTo>
                    <a:pt x="43441" y="1"/>
                  </a:moveTo>
                  <a:cubicBezTo>
                    <a:pt x="43288" y="1"/>
                    <a:pt x="43133" y="28"/>
                    <a:pt x="42982" y="85"/>
                  </a:cubicBezTo>
                  <a:cubicBezTo>
                    <a:pt x="42958" y="85"/>
                    <a:pt x="42935" y="97"/>
                    <a:pt x="42911" y="97"/>
                  </a:cubicBezTo>
                  <a:lnTo>
                    <a:pt x="4894" y="97"/>
                  </a:lnTo>
                  <a:cubicBezTo>
                    <a:pt x="2191" y="97"/>
                    <a:pt x="1" y="2300"/>
                    <a:pt x="1" y="5003"/>
                  </a:cubicBezTo>
                  <a:cubicBezTo>
                    <a:pt x="1" y="7717"/>
                    <a:pt x="2191" y="9920"/>
                    <a:pt x="4894" y="9920"/>
                  </a:cubicBezTo>
                  <a:lnTo>
                    <a:pt x="45137" y="9920"/>
                  </a:lnTo>
                  <a:lnTo>
                    <a:pt x="58079" y="45496"/>
                  </a:lnTo>
                  <a:cubicBezTo>
                    <a:pt x="58282" y="46043"/>
                    <a:pt x="58794" y="46377"/>
                    <a:pt x="59341" y="46377"/>
                  </a:cubicBezTo>
                  <a:cubicBezTo>
                    <a:pt x="59496" y="46377"/>
                    <a:pt x="59651" y="46353"/>
                    <a:pt x="59794" y="46305"/>
                  </a:cubicBezTo>
                  <a:cubicBezTo>
                    <a:pt x="60496" y="46043"/>
                    <a:pt x="60853" y="45281"/>
                    <a:pt x="60603" y="44591"/>
                  </a:cubicBezTo>
                  <a:lnTo>
                    <a:pt x="44697" y="895"/>
                  </a:lnTo>
                  <a:cubicBezTo>
                    <a:pt x="44501" y="346"/>
                    <a:pt x="43986" y="1"/>
                    <a:pt x="43441" y="1"/>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cs typeface="+mn-ea"/>
                <a:sym typeface="+mn-lt"/>
              </a:endParaRPr>
            </a:p>
          </p:txBody>
        </p:sp>
        <p:sp>
          <p:nvSpPr>
            <p:cNvPr id="42" name="Google Shape;170;p16">
              <a:extLst>
                <a:ext uri="{FF2B5EF4-FFF2-40B4-BE49-F238E27FC236}">
                  <a16:creationId xmlns:a16="http://schemas.microsoft.com/office/drawing/2014/main" id="{C133236F-1172-4F79-8537-4CD82605FF1F}"/>
                </a:ext>
              </a:extLst>
            </p:cNvPr>
            <p:cNvSpPr/>
            <p:nvPr/>
          </p:nvSpPr>
          <p:spPr>
            <a:xfrm>
              <a:off x="6443125" y="2474884"/>
              <a:ext cx="559200" cy="559181"/>
            </a:xfrm>
            <a:custGeom>
              <a:avLst/>
              <a:gdLst/>
              <a:ahLst/>
              <a:cxnLst/>
              <a:rect l="l" t="t" r="r" b="b"/>
              <a:pathLst>
                <a:path w="29517" h="29516" extrusionOk="0">
                  <a:moveTo>
                    <a:pt x="14753" y="0"/>
                  </a:moveTo>
                  <a:cubicBezTo>
                    <a:pt x="6621" y="0"/>
                    <a:pt x="1" y="6620"/>
                    <a:pt x="1" y="14752"/>
                  </a:cubicBezTo>
                  <a:cubicBezTo>
                    <a:pt x="1" y="22896"/>
                    <a:pt x="6621" y="29516"/>
                    <a:pt x="14753" y="29516"/>
                  </a:cubicBezTo>
                  <a:cubicBezTo>
                    <a:pt x="22897" y="29516"/>
                    <a:pt x="29517" y="22896"/>
                    <a:pt x="29517" y="14752"/>
                  </a:cubicBezTo>
                  <a:cubicBezTo>
                    <a:pt x="29517" y="6620"/>
                    <a:pt x="22897" y="0"/>
                    <a:pt x="14753" y="0"/>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cs typeface="+mn-ea"/>
                <a:sym typeface="+mn-lt"/>
              </a:endParaRPr>
            </a:p>
          </p:txBody>
        </p:sp>
        <p:sp>
          <p:nvSpPr>
            <p:cNvPr id="43" name="Google Shape;171;p16">
              <a:extLst>
                <a:ext uri="{FF2B5EF4-FFF2-40B4-BE49-F238E27FC236}">
                  <a16:creationId xmlns:a16="http://schemas.microsoft.com/office/drawing/2014/main" id="{4D944A6E-3443-4228-A40A-44B2DAE9D449}"/>
                </a:ext>
              </a:extLst>
            </p:cNvPr>
            <p:cNvSpPr/>
            <p:nvPr/>
          </p:nvSpPr>
          <p:spPr>
            <a:xfrm>
              <a:off x="6473815" y="2505555"/>
              <a:ext cx="497837" cy="497837"/>
            </a:xfrm>
            <a:custGeom>
              <a:avLst/>
              <a:gdLst/>
              <a:ahLst/>
              <a:cxnLst/>
              <a:rect l="l" t="t" r="r" b="b"/>
              <a:pathLst>
                <a:path w="26278" h="26278" extrusionOk="0">
                  <a:moveTo>
                    <a:pt x="13133" y="1"/>
                  </a:moveTo>
                  <a:cubicBezTo>
                    <a:pt x="5882" y="1"/>
                    <a:pt x="0" y="5882"/>
                    <a:pt x="0" y="13133"/>
                  </a:cubicBezTo>
                  <a:cubicBezTo>
                    <a:pt x="0" y="20396"/>
                    <a:pt x="5882" y="26278"/>
                    <a:pt x="13133" y="26278"/>
                  </a:cubicBezTo>
                  <a:cubicBezTo>
                    <a:pt x="20396" y="26278"/>
                    <a:pt x="26277" y="20396"/>
                    <a:pt x="26277" y="13133"/>
                  </a:cubicBezTo>
                  <a:cubicBezTo>
                    <a:pt x="26277" y="5882"/>
                    <a:pt x="20396" y="1"/>
                    <a:pt x="13133" y="1"/>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cs typeface="+mn-ea"/>
                <a:sym typeface="+mn-lt"/>
              </a:endParaRPr>
            </a:p>
          </p:txBody>
        </p:sp>
        <p:grpSp>
          <p:nvGrpSpPr>
            <p:cNvPr id="44" name="Google Shape;172;p16">
              <a:extLst>
                <a:ext uri="{FF2B5EF4-FFF2-40B4-BE49-F238E27FC236}">
                  <a16:creationId xmlns:a16="http://schemas.microsoft.com/office/drawing/2014/main" id="{5DFC1722-56FE-432A-86E5-28D58FC0A5F2}"/>
                </a:ext>
              </a:extLst>
            </p:cNvPr>
            <p:cNvGrpSpPr/>
            <p:nvPr/>
          </p:nvGrpSpPr>
          <p:grpSpPr>
            <a:xfrm>
              <a:off x="6632141" y="2692623"/>
              <a:ext cx="181588" cy="164689"/>
              <a:chOff x="6572225" y="2672738"/>
              <a:chExt cx="239625" cy="217325"/>
            </a:xfrm>
          </p:grpSpPr>
          <p:sp>
            <p:nvSpPr>
              <p:cNvPr id="49" name="Google Shape;173;p16">
                <a:extLst>
                  <a:ext uri="{FF2B5EF4-FFF2-40B4-BE49-F238E27FC236}">
                    <a16:creationId xmlns:a16="http://schemas.microsoft.com/office/drawing/2014/main" id="{3A00DD27-CBDF-445D-A9B0-2CB79CF92052}"/>
                  </a:ext>
                </a:extLst>
              </p:cNvPr>
              <p:cNvSpPr/>
              <p:nvPr/>
            </p:nvSpPr>
            <p:spPr>
              <a:xfrm>
                <a:off x="6572225" y="2672738"/>
                <a:ext cx="239625" cy="217325"/>
              </a:xfrm>
              <a:custGeom>
                <a:avLst/>
                <a:gdLst/>
                <a:ahLst/>
                <a:cxnLst/>
                <a:rect l="l" t="t" r="r" b="b"/>
                <a:pathLst>
                  <a:path w="9585" h="8693" fill="none" extrusionOk="0">
                    <a:moveTo>
                      <a:pt x="1298" y="7073"/>
                    </a:moveTo>
                    <a:lnTo>
                      <a:pt x="5846" y="7073"/>
                    </a:lnTo>
                    <a:lnTo>
                      <a:pt x="8192" y="8657"/>
                    </a:lnTo>
                    <a:cubicBezTo>
                      <a:pt x="8228" y="8681"/>
                      <a:pt x="8275" y="8692"/>
                      <a:pt x="8323" y="8692"/>
                    </a:cubicBezTo>
                    <a:cubicBezTo>
                      <a:pt x="8371" y="8692"/>
                      <a:pt x="8406" y="8681"/>
                      <a:pt x="8442" y="8669"/>
                    </a:cubicBezTo>
                    <a:cubicBezTo>
                      <a:pt x="8525" y="8621"/>
                      <a:pt x="8573" y="8538"/>
                      <a:pt x="8573" y="8442"/>
                    </a:cubicBezTo>
                    <a:lnTo>
                      <a:pt x="8573" y="6954"/>
                    </a:lnTo>
                    <a:cubicBezTo>
                      <a:pt x="9037" y="6764"/>
                      <a:pt x="9585" y="6347"/>
                      <a:pt x="9585" y="5787"/>
                    </a:cubicBezTo>
                    <a:lnTo>
                      <a:pt x="9585" y="1299"/>
                    </a:lnTo>
                    <a:cubicBezTo>
                      <a:pt x="9585" y="584"/>
                      <a:pt x="9002" y="1"/>
                      <a:pt x="8287" y="1"/>
                    </a:cubicBezTo>
                    <a:lnTo>
                      <a:pt x="1298" y="1"/>
                    </a:lnTo>
                    <a:cubicBezTo>
                      <a:pt x="584" y="1"/>
                      <a:pt x="1" y="584"/>
                      <a:pt x="1" y="1299"/>
                    </a:cubicBezTo>
                    <a:lnTo>
                      <a:pt x="1" y="5787"/>
                    </a:lnTo>
                    <a:cubicBezTo>
                      <a:pt x="1" y="6502"/>
                      <a:pt x="584" y="7073"/>
                      <a:pt x="1298" y="7073"/>
                    </a:cubicBezTo>
                    <a:close/>
                  </a:path>
                </a:pathLst>
              </a:custGeom>
              <a:noFill/>
              <a:ln w="11025" cap="rnd" cmpd="sng">
                <a:solidFill>
                  <a:srgbClr val="FFFFFF"/>
                </a:solidFill>
                <a:prstDash val="solid"/>
                <a:round/>
                <a:headEnd type="none" w="sm" len="sm"/>
                <a:tailEnd type="none" w="sm" len="sm"/>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cs typeface="+mn-ea"/>
                  <a:sym typeface="+mn-lt"/>
                </a:endParaRPr>
              </a:p>
            </p:txBody>
          </p:sp>
          <p:sp>
            <p:nvSpPr>
              <p:cNvPr id="50" name="Google Shape;174;p16">
                <a:extLst>
                  <a:ext uri="{FF2B5EF4-FFF2-40B4-BE49-F238E27FC236}">
                    <a16:creationId xmlns:a16="http://schemas.microsoft.com/office/drawing/2014/main" id="{414CF9DC-3CEC-4087-B95D-ED056D0CE4AC}"/>
                  </a:ext>
                </a:extLst>
              </p:cNvPr>
              <p:cNvSpPr/>
              <p:nvPr/>
            </p:nvSpPr>
            <p:spPr>
              <a:xfrm>
                <a:off x="6618950" y="2790013"/>
                <a:ext cx="100925" cy="25"/>
              </a:xfrm>
              <a:custGeom>
                <a:avLst/>
                <a:gdLst/>
                <a:ahLst/>
                <a:cxnLst/>
                <a:rect l="l" t="t" r="r" b="b"/>
                <a:pathLst>
                  <a:path w="4037" h="1" fill="none" extrusionOk="0">
                    <a:moveTo>
                      <a:pt x="1" y="1"/>
                    </a:moveTo>
                    <a:lnTo>
                      <a:pt x="4037" y="1"/>
                    </a:lnTo>
                  </a:path>
                </a:pathLst>
              </a:custGeom>
              <a:noFill/>
              <a:ln w="11025" cap="rnd" cmpd="sng">
                <a:solidFill>
                  <a:srgbClr val="FFFFFF"/>
                </a:solidFill>
                <a:prstDash val="solid"/>
                <a:round/>
                <a:headEnd type="none" w="sm" len="sm"/>
                <a:tailEnd type="none" w="sm" len="sm"/>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cs typeface="+mn-ea"/>
                  <a:sym typeface="+mn-lt"/>
                </a:endParaRPr>
              </a:p>
            </p:txBody>
          </p:sp>
          <p:sp>
            <p:nvSpPr>
              <p:cNvPr id="51" name="Google Shape;175;p16">
                <a:extLst>
                  <a:ext uri="{FF2B5EF4-FFF2-40B4-BE49-F238E27FC236}">
                    <a16:creationId xmlns:a16="http://schemas.microsoft.com/office/drawing/2014/main" id="{4A11E433-629F-4DD1-A03A-FC09C68B1F5E}"/>
                  </a:ext>
                </a:extLst>
              </p:cNvPr>
              <p:cNvSpPr/>
              <p:nvPr/>
            </p:nvSpPr>
            <p:spPr>
              <a:xfrm>
                <a:off x="6618950" y="2736138"/>
                <a:ext cx="146175" cy="25"/>
              </a:xfrm>
              <a:custGeom>
                <a:avLst/>
                <a:gdLst/>
                <a:ahLst/>
                <a:cxnLst/>
                <a:rect l="l" t="t" r="r" b="b"/>
                <a:pathLst>
                  <a:path w="5847" h="1" fill="none" extrusionOk="0">
                    <a:moveTo>
                      <a:pt x="1" y="1"/>
                    </a:moveTo>
                    <a:lnTo>
                      <a:pt x="5847" y="1"/>
                    </a:lnTo>
                  </a:path>
                </a:pathLst>
              </a:custGeom>
              <a:noFill/>
              <a:ln w="11025" cap="rnd" cmpd="sng">
                <a:solidFill>
                  <a:srgbClr val="FFFFFF"/>
                </a:solidFill>
                <a:prstDash val="solid"/>
                <a:round/>
                <a:headEnd type="none" w="sm" len="sm"/>
                <a:tailEnd type="none" w="sm" len="sm"/>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cs typeface="+mn-ea"/>
                  <a:sym typeface="+mn-lt"/>
                </a:endParaRPr>
              </a:p>
            </p:txBody>
          </p:sp>
        </p:grpSp>
        <p:sp>
          <p:nvSpPr>
            <p:cNvPr id="45" name="Google Shape;176;p16">
              <a:extLst>
                <a:ext uri="{FF2B5EF4-FFF2-40B4-BE49-F238E27FC236}">
                  <a16:creationId xmlns:a16="http://schemas.microsoft.com/office/drawing/2014/main" id="{FA18D4B8-7FC7-476C-BFC2-195AE7A1C4EC}"/>
                </a:ext>
              </a:extLst>
            </p:cNvPr>
            <p:cNvSpPr txBox="1"/>
            <p:nvPr/>
          </p:nvSpPr>
          <p:spPr>
            <a:xfrm>
              <a:off x="5263725" y="1399650"/>
              <a:ext cx="1130700" cy="247800"/>
            </a:xfrm>
            <a:prstGeom prst="rect">
              <a:avLst/>
            </a:prstGeom>
            <a:noFill/>
            <a:ln>
              <a:noFill/>
            </a:ln>
          </p:spPr>
          <p:txBody>
            <a:bodyPr spcFirstLastPara="1" wrap="square" lIns="121900" tIns="121900" rIns="121900" bIns="1219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2489" b="0" i="0" u="none" strike="noStrike" kern="1200" cap="none" spc="0" normalizeH="0" baseline="0" noProof="0">
                  <a:ln>
                    <a:noFill/>
                  </a:ln>
                  <a:solidFill>
                    <a:srgbClr val="FFFFFF"/>
                  </a:solidFill>
                  <a:effectLst/>
                  <a:uLnTx/>
                  <a:uFillTx/>
                  <a:latin typeface="Arial"/>
                  <a:cs typeface="+mn-ea"/>
                  <a:sym typeface="+mn-lt"/>
                </a:rPr>
                <a:t>Mars</a:t>
              </a:r>
              <a:endParaRPr kumimoji="0" sz="2489" b="0" i="0" u="none" strike="noStrike" kern="1200" cap="none" spc="0" normalizeH="0" baseline="0" noProof="0">
                <a:ln>
                  <a:noFill/>
                </a:ln>
                <a:solidFill>
                  <a:srgbClr val="FFFFFF"/>
                </a:solidFill>
                <a:effectLst/>
                <a:uLnTx/>
                <a:uFillTx/>
                <a:latin typeface="Arial"/>
                <a:cs typeface="+mn-ea"/>
                <a:sym typeface="+mn-lt"/>
              </a:endParaRPr>
            </a:p>
          </p:txBody>
        </p:sp>
        <p:sp>
          <p:nvSpPr>
            <p:cNvPr id="46" name="Google Shape;177;p16">
              <a:extLst>
                <a:ext uri="{FF2B5EF4-FFF2-40B4-BE49-F238E27FC236}">
                  <a16:creationId xmlns:a16="http://schemas.microsoft.com/office/drawing/2014/main" id="{2096ED91-BC2A-44AE-9D62-AF0AAD88A154}"/>
                </a:ext>
              </a:extLst>
            </p:cNvPr>
            <p:cNvSpPr txBox="1"/>
            <p:nvPr/>
          </p:nvSpPr>
          <p:spPr>
            <a:xfrm>
              <a:off x="5263725" y="3861225"/>
              <a:ext cx="1130700" cy="247800"/>
            </a:xfrm>
            <a:prstGeom prst="rect">
              <a:avLst/>
            </a:prstGeom>
            <a:noFill/>
            <a:ln>
              <a:noFill/>
            </a:ln>
          </p:spPr>
          <p:txBody>
            <a:bodyPr spcFirstLastPara="1" wrap="square" lIns="121900" tIns="121900" rIns="121900" bIns="1219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2489" b="0" i="0" u="none" strike="noStrike" kern="1200" cap="none" spc="0" normalizeH="0" baseline="0" noProof="0">
                  <a:ln>
                    <a:noFill/>
                  </a:ln>
                  <a:solidFill>
                    <a:srgbClr val="FFFFFF"/>
                  </a:solidFill>
                  <a:effectLst/>
                  <a:uLnTx/>
                  <a:uFillTx/>
                  <a:latin typeface="Arial"/>
                  <a:cs typeface="+mn-ea"/>
                  <a:sym typeface="+mn-lt"/>
                </a:rPr>
                <a:t>Pluto</a:t>
              </a:r>
              <a:endParaRPr kumimoji="0" sz="2489" b="0" i="0" u="none" strike="noStrike" kern="1200" cap="none" spc="0" normalizeH="0" baseline="0" noProof="0">
                <a:ln>
                  <a:noFill/>
                </a:ln>
                <a:solidFill>
                  <a:srgbClr val="FFFFFF"/>
                </a:solidFill>
                <a:effectLst/>
                <a:uLnTx/>
                <a:uFillTx/>
                <a:latin typeface="Arial"/>
                <a:cs typeface="+mn-ea"/>
                <a:sym typeface="+mn-lt"/>
              </a:endParaRPr>
            </a:p>
          </p:txBody>
        </p:sp>
        <p:sp>
          <p:nvSpPr>
            <p:cNvPr id="47" name="Google Shape;178;p16">
              <a:extLst>
                <a:ext uri="{FF2B5EF4-FFF2-40B4-BE49-F238E27FC236}">
                  <a16:creationId xmlns:a16="http://schemas.microsoft.com/office/drawing/2014/main" id="{18B98D39-B3CC-4CDD-B038-E4B8056436CA}"/>
                </a:ext>
              </a:extLst>
            </p:cNvPr>
            <p:cNvSpPr txBox="1"/>
            <p:nvPr/>
          </p:nvSpPr>
          <p:spPr>
            <a:xfrm>
              <a:off x="5430225" y="1723650"/>
              <a:ext cx="964200" cy="597300"/>
            </a:xfrm>
            <a:prstGeom prst="rect">
              <a:avLst/>
            </a:prstGeom>
            <a:noFill/>
            <a:ln>
              <a:noFill/>
            </a:ln>
          </p:spPr>
          <p:txBody>
            <a:bodyPr spcFirstLastPara="1" wrap="square" lIns="121900" tIns="121900" rIns="121900" bIns="12190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 sz="1600" b="0" i="0" u="none" strike="noStrike" kern="1200" cap="none" spc="0" normalizeH="0" baseline="0" noProof="0">
                  <a:ln>
                    <a:noFill/>
                  </a:ln>
                  <a:solidFill>
                    <a:srgbClr val="434343"/>
                  </a:solidFill>
                  <a:effectLst/>
                  <a:uLnTx/>
                  <a:uFillTx/>
                  <a:latin typeface="Arial"/>
                  <a:cs typeface="+mn-ea"/>
                  <a:sym typeface="+mn-lt"/>
                </a:rPr>
                <a:t>Mars is a cold place</a:t>
              </a:r>
              <a:endParaRPr kumimoji="0" sz="1600" b="0" i="0" u="none" strike="noStrike" kern="1200" cap="none" spc="0" normalizeH="0" baseline="0" noProof="0">
                <a:ln>
                  <a:noFill/>
                </a:ln>
                <a:solidFill>
                  <a:srgbClr val="434343"/>
                </a:solidFill>
                <a:effectLst/>
                <a:uLnTx/>
                <a:uFillTx/>
                <a:latin typeface="Arial"/>
                <a:cs typeface="+mn-ea"/>
                <a:sym typeface="+mn-lt"/>
              </a:endParaRPr>
            </a:p>
          </p:txBody>
        </p:sp>
        <p:sp>
          <p:nvSpPr>
            <p:cNvPr id="48" name="Google Shape;179;p16">
              <a:extLst>
                <a:ext uri="{FF2B5EF4-FFF2-40B4-BE49-F238E27FC236}">
                  <a16:creationId xmlns:a16="http://schemas.microsoft.com/office/drawing/2014/main" id="{97733A25-3BD9-43EE-AB28-C694FB2DBC73}"/>
                </a:ext>
              </a:extLst>
            </p:cNvPr>
            <p:cNvSpPr txBox="1"/>
            <p:nvPr/>
          </p:nvSpPr>
          <p:spPr>
            <a:xfrm>
              <a:off x="5430225" y="3187725"/>
              <a:ext cx="964200" cy="597300"/>
            </a:xfrm>
            <a:prstGeom prst="rect">
              <a:avLst/>
            </a:prstGeom>
            <a:noFill/>
            <a:ln>
              <a:noFill/>
            </a:ln>
          </p:spPr>
          <p:txBody>
            <a:bodyPr spcFirstLastPara="1" wrap="square" lIns="121900" tIns="121900" rIns="121900" bIns="12190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 sz="1600" b="0" i="0" u="none" strike="noStrike" kern="1200" cap="none" spc="0" normalizeH="0" baseline="0" noProof="0">
                  <a:ln>
                    <a:noFill/>
                  </a:ln>
                  <a:solidFill>
                    <a:srgbClr val="434343"/>
                  </a:solidFill>
                  <a:effectLst/>
                  <a:uLnTx/>
                  <a:uFillTx/>
                  <a:latin typeface="Arial"/>
                  <a:cs typeface="+mn-ea"/>
                  <a:sym typeface="+mn-lt"/>
                </a:rPr>
                <a:t>Pluto is icy and small</a:t>
              </a:r>
              <a:endParaRPr kumimoji="0" sz="1600" b="0" i="0" u="none" strike="noStrike" kern="1200" cap="none" spc="0" normalizeH="0" baseline="0" noProof="0">
                <a:ln>
                  <a:noFill/>
                </a:ln>
                <a:solidFill>
                  <a:srgbClr val="434343"/>
                </a:solidFill>
                <a:effectLst/>
                <a:uLnTx/>
                <a:uFillTx/>
                <a:latin typeface="Arial"/>
                <a:cs typeface="+mn-ea"/>
                <a:sym typeface="+mn-lt"/>
              </a:endParaRPr>
            </a:p>
          </p:txBody>
        </p:sp>
      </p:grpSp>
    </p:spTree>
    <p:extLst>
      <p:ext uri="{BB962C8B-B14F-4D97-AF65-F5344CB8AC3E}">
        <p14:creationId xmlns:p14="http://schemas.microsoft.com/office/powerpoint/2010/main" val="1879186474"/>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7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oogle Shape;185;p17">
            <a:extLst>
              <a:ext uri="{FF2B5EF4-FFF2-40B4-BE49-F238E27FC236}">
                <a16:creationId xmlns:a16="http://schemas.microsoft.com/office/drawing/2014/main" id="{3FCFDEA0-B61A-4D34-A871-11BD4640573E}"/>
              </a:ext>
            </a:extLst>
          </p:cNvPr>
          <p:cNvGrpSpPr/>
          <p:nvPr/>
        </p:nvGrpSpPr>
        <p:grpSpPr>
          <a:xfrm>
            <a:off x="845434" y="2734573"/>
            <a:ext cx="2452133" cy="1399333"/>
            <a:chOff x="634075" y="2319213"/>
            <a:chExt cx="1839100" cy="1049500"/>
          </a:xfrm>
        </p:grpSpPr>
        <p:cxnSp>
          <p:nvCxnSpPr>
            <p:cNvPr id="3" name="Google Shape;186;p17">
              <a:extLst>
                <a:ext uri="{FF2B5EF4-FFF2-40B4-BE49-F238E27FC236}">
                  <a16:creationId xmlns:a16="http://schemas.microsoft.com/office/drawing/2014/main" id="{7FA0473A-617B-4E9B-87A7-0FF53FF305A3}"/>
                </a:ext>
              </a:extLst>
            </p:cNvPr>
            <p:cNvCxnSpPr/>
            <p:nvPr/>
          </p:nvCxnSpPr>
          <p:spPr>
            <a:xfrm rot="10800000">
              <a:off x="1496450" y="2451500"/>
              <a:ext cx="0" cy="391500"/>
            </a:xfrm>
            <a:prstGeom prst="straightConnector1">
              <a:avLst/>
            </a:prstGeom>
            <a:noFill/>
            <a:ln w="9525" cap="flat" cmpd="sng">
              <a:solidFill>
                <a:srgbClr val="434343"/>
              </a:solidFill>
              <a:prstDash val="solid"/>
              <a:round/>
              <a:headEnd type="none" w="med" len="med"/>
              <a:tailEnd type="none" w="med" len="med"/>
            </a:ln>
          </p:spPr>
        </p:cxnSp>
        <p:cxnSp>
          <p:nvCxnSpPr>
            <p:cNvPr id="4" name="Google Shape;187;p17">
              <a:extLst>
                <a:ext uri="{FF2B5EF4-FFF2-40B4-BE49-F238E27FC236}">
                  <a16:creationId xmlns:a16="http://schemas.microsoft.com/office/drawing/2014/main" id="{22D6B5A0-773D-4988-9095-DCEC2AE6F881}"/>
                </a:ext>
              </a:extLst>
            </p:cNvPr>
            <p:cNvCxnSpPr/>
            <p:nvPr/>
          </p:nvCxnSpPr>
          <p:spPr>
            <a:xfrm rot="10800000">
              <a:off x="1496450" y="2857825"/>
              <a:ext cx="0" cy="391500"/>
            </a:xfrm>
            <a:prstGeom prst="straightConnector1">
              <a:avLst/>
            </a:prstGeom>
            <a:noFill/>
            <a:ln w="9525" cap="flat" cmpd="sng">
              <a:solidFill>
                <a:srgbClr val="434343"/>
              </a:solidFill>
              <a:prstDash val="solid"/>
              <a:round/>
              <a:headEnd type="none" w="med" len="med"/>
              <a:tailEnd type="none" w="med" len="med"/>
            </a:ln>
          </p:spPr>
        </p:cxnSp>
        <p:sp>
          <p:nvSpPr>
            <p:cNvPr id="5" name="Google Shape;188;p17">
              <a:extLst>
                <a:ext uri="{FF2B5EF4-FFF2-40B4-BE49-F238E27FC236}">
                  <a16:creationId xmlns:a16="http://schemas.microsoft.com/office/drawing/2014/main" id="{CA9B9F2D-44F3-4494-8E5E-59EE3D5E32DC}"/>
                </a:ext>
              </a:extLst>
            </p:cNvPr>
            <p:cNvSpPr/>
            <p:nvPr/>
          </p:nvSpPr>
          <p:spPr>
            <a:xfrm>
              <a:off x="1468163" y="2423525"/>
              <a:ext cx="56575" cy="56575"/>
            </a:xfrm>
            <a:custGeom>
              <a:avLst/>
              <a:gdLst/>
              <a:ahLst/>
              <a:cxnLst/>
              <a:rect l="l" t="t" r="r" b="b"/>
              <a:pathLst>
                <a:path w="2263" h="2263" extrusionOk="0">
                  <a:moveTo>
                    <a:pt x="1132" y="0"/>
                  </a:moveTo>
                  <a:cubicBezTo>
                    <a:pt x="501" y="0"/>
                    <a:pt x="1" y="501"/>
                    <a:pt x="1" y="1132"/>
                  </a:cubicBezTo>
                  <a:cubicBezTo>
                    <a:pt x="1" y="1751"/>
                    <a:pt x="501" y="2263"/>
                    <a:pt x="1132" y="2263"/>
                  </a:cubicBezTo>
                  <a:cubicBezTo>
                    <a:pt x="1751" y="2263"/>
                    <a:pt x="2263" y="1751"/>
                    <a:pt x="2263" y="1132"/>
                  </a:cubicBezTo>
                  <a:cubicBezTo>
                    <a:pt x="2263" y="501"/>
                    <a:pt x="1751" y="0"/>
                    <a:pt x="1132" y="0"/>
                  </a:cubicBezTo>
                  <a:close/>
                </a:path>
              </a:pathLst>
            </a:custGeom>
            <a:solidFill>
              <a:schemeClr val="accent1">
                <a:lumMod val="100000"/>
              </a:schemeClr>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6" name="Google Shape;189;p17">
              <a:extLst>
                <a:ext uri="{FF2B5EF4-FFF2-40B4-BE49-F238E27FC236}">
                  <a16:creationId xmlns:a16="http://schemas.microsoft.com/office/drawing/2014/main" id="{EEA8277C-B235-405A-877D-33CB4E18748B}"/>
                </a:ext>
              </a:extLst>
            </p:cNvPr>
            <p:cNvSpPr/>
            <p:nvPr/>
          </p:nvSpPr>
          <p:spPr>
            <a:xfrm rot="10800000" flipH="1">
              <a:off x="1468163" y="3211763"/>
              <a:ext cx="56575" cy="56575"/>
            </a:xfrm>
            <a:custGeom>
              <a:avLst/>
              <a:gdLst/>
              <a:ahLst/>
              <a:cxnLst/>
              <a:rect l="l" t="t" r="r" b="b"/>
              <a:pathLst>
                <a:path w="2263" h="2263" extrusionOk="0">
                  <a:moveTo>
                    <a:pt x="1132" y="0"/>
                  </a:moveTo>
                  <a:cubicBezTo>
                    <a:pt x="501" y="0"/>
                    <a:pt x="1" y="501"/>
                    <a:pt x="1" y="1132"/>
                  </a:cubicBezTo>
                  <a:cubicBezTo>
                    <a:pt x="1" y="1751"/>
                    <a:pt x="501" y="2263"/>
                    <a:pt x="1132" y="2263"/>
                  </a:cubicBezTo>
                  <a:cubicBezTo>
                    <a:pt x="1751" y="2263"/>
                    <a:pt x="2263" y="1751"/>
                    <a:pt x="2263" y="1132"/>
                  </a:cubicBezTo>
                  <a:cubicBezTo>
                    <a:pt x="2263" y="501"/>
                    <a:pt x="1751" y="0"/>
                    <a:pt x="1132" y="0"/>
                  </a:cubicBezTo>
                  <a:close/>
                </a:path>
              </a:pathLst>
            </a:custGeom>
            <a:solidFill>
              <a:schemeClr val="accent1">
                <a:lumMod val="100000"/>
              </a:schemeClr>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7" name="Google Shape;190;p17">
              <a:extLst>
                <a:ext uri="{FF2B5EF4-FFF2-40B4-BE49-F238E27FC236}">
                  <a16:creationId xmlns:a16="http://schemas.microsoft.com/office/drawing/2014/main" id="{B2781175-D0B7-42B6-9352-14CF1B187434}"/>
                </a:ext>
              </a:extLst>
            </p:cNvPr>
            <p:cNvSpPr/>
            <p:nvPr/>
          </p:nvSpPr>
          <p:spPr>
            <a:xfrm>
              <a:off x="781475" y="2709288"/>
              <a:ext cx="1691700" cy="265200"/>
            </a:xfrm>
            <a:prstGeom prst="chevron">
              <a:avLst>
                <a:gd name="adj" fmla="val 50000"/>
              </a:avLst>
            </a:prstGeom>
            <a:solidFill>
              <a:schemeClr val="accent1">
                <a:lumMod val="100000"/>
              </a:schemeClr>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8" name="Google Shape;191;p17">
              <a:extLst>
                <a:ext uri="{FF2B5EF4-FFF2-40B4-BE49-F238E27FC236}">
                  <a16:creationId xmlns:a16="http://schemas.microsoft.com/office/drawing/2014/main" id="{F0975CF2-1022-407A-8D3D-7DFC447C7BBA}"/>
                </a:ext>
              </a:extLst>
            </p:cNvPr>
            <p:cNvSpPr/>
            <p:nvPr/>
          </p:nvSpPr>
          <p:spPr>
            <a:xfrm>
              <a:off x="1278700" y="2626225"/>
              <a:ext cx="435500" cy="435500"/>
            </a:xfrm>
            <a:custGeom>
              <a:avLst/>
              <a:gdLst/>
              <a:ahLst/>
              <a:cxnLst/>
              <a:rect l="l" t="t" r="r" b="b"/>
              <a:pathLst>
                <a:path w="17420" h="17420" extrusionOk="0">
                  <a:moveTo>
                    <a:pt x="8716" y="1"/>
                  </a:moveTo>
                  <a:cubicBezTo>
                    <a:pt x="3905" y="1"/>
                    <a:pt x="0" y="3894"/>
                    <a:pt x="0" y="8704"/>
                  </a:cubicBezTo>
                  <a:cubicBezTo>
                    <a:pt x="0" y="13514"/>
                    <a:pt x="3905" y="17419"/>
                    <a:pt x="8716" y="17419"/>
                  </a:cubicBezTo>
                  <a:cubicBezTo>
                    <a:pt x="13526" y="17419"/>
                    <a:pt x="17419" y="13514"/>
                    <a:pt x="17419" y="8704"/>
                  </a:cubicBezTo>
                  <a:cubicBezTo>
                    <a:pt x="17419" y="3894"/>
                    <a:pt x="13526" y="1"/>
                    <a:pt x="8716" y="1"/>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9" name="Google Shape;192;p17">
              <a:extLst>
                <a:ext uri="{FF2B5EF4-FFF2-40B4-BE49-F238E27FC236}">
                  <a16:creationId xmlns:a16="http://schemas.microsoft.com/office/drawing/2014/main" id="{222AF7D4-151A-4F21-A8CD-0996B7506EB3}"/>
                </a:ext>
              </a:extLst>
            </p:cNvPr>
            <p:cNvSpPr/>
            <p:nvPr/>
          </p:nvSpPr>
          <p:spPr>
            <a:xfrm>
              <a:off x="1334363" y="2681900"/>
              <a:ext cx="324175" cy="324150"/>
            </a:xfrm>
            <a:custGeom>
              <a:avLst/>
              <a:gdLst/>
              <a:ahLst/>
              <a:cxnLst/>
              <a:rect l="l" t="t" r="r" b="b"/>
              <a:pathLst>
                <a:path w="12967" h="12966" extrusionOk="0">
                  <a:moveTo>
                    <a:pt x="6490" y="0"/>
                  </a:moveTo>
                  <a:cubicBezTo>
                    <a:pt x="2906" y="0"/>
                    <a:pt x="1" y="2905"/>
                    <a:pt x="1" y="6477"/>
                  </a:cubicBezTo>
                  <a:cubicBezTo>
                    <a:pt x="1" y="10061"/>
                    <a:pt x="2906" y="12966"/>
                    <a:pt x="6490" y="12966"/>
                  </a:cubicBezTo>
                  <a:cubicBezTo>
                    <a:pt x="10061" y="12966"/>
                    <a:pt x="12967" y="10061"/>
                    <a:pt x="12967" y="6477"/>
                  </a:cubicBezTo>
                  <a:cubicBezTo>
                    <a:pt x="12967" y="2905"/>
                    <a:pt x="10061" y="0"/>
                    <a:pt x="6490" y="0"/>
                  </a:cubicBezTo>
                  <a:close/>
                </a:path>
              </a:pathLst>
            </a:custGeom>
            <a:solidFill>
              <a:srgbClr val="FFFFFF"/>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grpSp>
          <p:nvGrpSpPr>
            <p:cNvPr id="10" name="Google Shape;193;p17">
              <a:extLst>
                <a:ext uri="{FF2B5EF4-FFF2-40B4-BE49-F238E27FC236}">
                  <a16:creationId xmlns:a16="http://schemas.microsoft.com/office/drawing/2014/main" id="{3212A01E-D379-421A-9F49-08801625BB53}"/>
                </a:ext>
              </a:extLst>
            </p:cNvPr>
            <p:cNvGrpSpPr/>
            <p:nvPr/>
          </p:nvGrpSpPr>
          <p:grpSpPr>
            <a:xfrm>
              <a:off x="1396889" y="2742057"/>
              <a:ext cx="199121" cy="199090"/>
              <a:chOff x="2685825" y="840375"/>
              <a:chExt cx="481900" cy="481825"/>
            </a:xfrm>
          </p:grpSpPr>
          <p:sp>
            <p:nvSpPr>
              <p:cNvPr id="13" name="Google Shape;194;p17">
                <a:extLst>
                  <a:ext uri="{FF2B5EF4-FFF2-40B4-BE49-F238E27FC236}">
                    <a16:creationId xmlns:a16="http://schemas.microsoft.com/office/drawing/2014/main" id="{F32494DF-0521-4676-BB84-6179ACC6AEC8}"/>
                  </a:ext>
                </a:extLst>
              </p:cNvPr>
              <p:cNvSpPr/>
              <p:nvPr/>
            </p:nvSpPr>
            <p:spPr>
              <a:xfrm>
                <a:off x="2685825" y="840375"/>
                <a:ext cx="481900" cy="481825"/>
              </a:xfrm>
              <a:custGeom>
                <a:avLst/>
                <a:gdLst/>
                <a:ahLst/>
                <a:cxnLst/>
                <a:rect l="l" t="t" r="r" b="b"/>
                <a:pathLst>
                  <a:path w="19276" h="19273" extrusionOk="0">
                    <a:moveTo>
                      <a:pt x="9600" y="4592"/>
                    </a:moveTo>
                    <a:cubicBezTo>
                      <a:pt x="12403" y="4592"/>
                      <a:pt x="14683" y="6872"/>
                      <a:pt x="14683" y="9675"/>
                    </a:cubicBezTo>
                    <a:cubicBezTo>
                      <a:pt x="14683" y="12476"/>
                      <a:pt x="12403" y="14755"/>
                      <a:pt x="9600" y="14755"/>
                    </a:cubicBezTo>
                    <a:cubicBezTo>
                      <a:pt x="6799" y="14755"/>
                      <a:pt x="4520" y="12476"/>
                      <a:pt x="4520" y="9675"/>
                    </a:cubicBezTo>
                    <a:cubicBezTo>
                      <a:pt x="4520" y="6872"/>
                      <a:pt x="6799" y="4592"/>
                      <a:pt x="9600" y="4592"/>
                    </a:cubicBezTo>
                    <a:close/>
                    <a:moveTo>
                      <a:pt x="8471" y="0"/>
                    </a:moveTo>
                    <a:cubicBezTo>
                      <a:pt x="8212" y="0"/>
                      <a:pt x="7986" y="175"/>
                      <a:pt x="7923" y="428"/>
                    </a:cubicBezTo>
                    <a:lnTo>
                      <a:pt x="7691" y="1427"/>
                    </a:lnTo>
                    <a:cubicBezTo>
                      <a:pt x="6778" y="1635"/>
                      <a:pt x="5908" y="1993"/>
                      <a:pt x="5116" y="2490"/>
                    </a:cubicBezTo>
                    <a:lnTo>
                      <a:pt x="4300" y="2002"/>
                    </a:lnTo>
                    <a:cubicBezTo>
                      <a:pt x="4210" y="1949"/>
                      <a:pt x="4110" y="1922"/>
                      <a:pt x="4010" y="1922"/>
                    </a:cubicBezTo>
                    <a:cubicBezTo>
                      <a:pt x="3864" y="1922"/>
                      <a:pt x="3719" y="1978"/>
                      <a:pt x="3611" y="2087"/>
                    </a:cubicBezTo>
                    <a:lnTo>
                      <a:pt x="2015" y="3683"/>
                    </a:lnTo>
                    <a:cubicBezTo>
                      <a:pt x="1831" y="3866"/>
                      <a:pt x="1798" y="4153"/>
                      <a:pt x="1930" y="4372"/>
                    </a:cubicBezTo>
                    <a:lnTo>
                      <a:pt x="2418" y="5188"/>
                    </a:lnTo>
                    <a:cubicBezTo>
                      <a:pt x="1921" y="5980"/>
                      <a:pt x="1563" y="6851"/>
                      <a:pt x="1355" y="7766"/>
                    </a:cubicBezTo>
                    <a:lnTo>
                      <a:pt x="431" y="7995"/>
                    </a:lnTo>
                    <a:cubicBezTo>
                      <a:pt x="178" y="8058"/>
                      <a:pt x="0" y="8284"/>
                      <a:pt x="3" y="8546"/>
                    </a:cubicBezTo>
                    <a:lnTo>
                      <a:pt x="3" y="10804"/>
                    </a:lnTo>
                    <a:cubicBezTo>
                      <a:pt x="0" y="11060"/>
                      <a:pt x="178" y="11286"/>
                      <a:pt x="428" y="11349"/>
                    </a:cubicBezTo>
                    <a:lnTo>
                      <a:pt x="1352" y="11581"/>
                    </a:lnTo>
                    <a:cubicBezTo>
                      <a:pt x="1560" y="12494"/>
                      <a:pt x="1921" y="13364"/>
                      <a:pt x="2418" y="14159"/>
                    </a:cubicBezTo>
                    <a:lnTo>
                      <a:pt x="1927" y="14972"/>
                    </a:lnTo>
                    <a:cubicBezTo>
                      <a:pt x="1795" y="15195"/>
                      <a:pt x="1831" y="15478"/>
                      <a:pt x="2012" y="15662"/>
                    </a:cubicBezTo>
                    <a:lnTo>
                      <a:pt x="3611" y="17261"/>
                    </a:lnTo>
                    <a:cubicBezTo>
                      <a:pt x="3720" y="17368"/>
                      <a:pt x="3864" y="17424"/>
                      <a:pt x="4011" y="17424"/>
                    </a:cubicBezTo>
                    <a:cubicBezTo>
                      <a:pt x="4110" y="17424"/>
                      <a:pt x="4210" y="17398"/>
                      <a:pt x="4300" y="17345"/>
                    </a:cubicBezTo>
                    <a:lnTo>
                      <a:pt x="5113" y="16854"/>
                    </a:lnTo>
                    <a:cubicBezTo>
                      <a:pt x="5908" y="17351"/>
                      <a:pt x="6778" y="17712"/>
                      <a:pt x="7691" y="17920"/>
                    </a:cubicBezTo>
                    <a:lnTo>
                      <a:pt x="7923" y="18844"/>
                    </a:lnTo>
                    <a:cubicBezTo>
                      <a:pt x="7983" y="19094"/>
                      <a:pt x="8212" y="19272"/>
                      <a:pt x="8471" y="19272"/>
                    </a:cubicBezTo>
                    <a:lnTo>
                      <a:pt x="10729" y="19272"/>
                    </a:lnTo>
                    <a:cubicBezTo>
                      <a:pt x="10988" y="19272"/>
                      <a:pt x="11214" y="19097"/>
                      <a:pt x="11277" y="18844"/>
                    </a:cubicBezTo>
                    <a:lnTo>
                      <a:pt x="11509" y="17920"/>
                    </a:lnTo>
                    <a:cubicBezTo>
                      <a:pt x="12421" y="17712"/>
                      <a:pt x="13292" y="17354"/>
                      <a:pt x="14084" y="16857"/>
                    </a:cubicBezTo>
                    <a:lnTo>
                      <a:pt x="14900" y="17345"/>
                    </a:lnTo>
                    <a:cubicBezTo>
                      <a:pt x="14989" y="17399"/>
                      <a:pt x="15090" y="17425"/>
                      <a:pt x="15190" y="17425"/>
                    </a:cubicBezTo>
                    <a:cubicBezTo>
                      <a:pt x="15336" y="17425"/>
                      <a:pt x="15480" y="17369"/>
                      <a:pt x="15589" y="17261"/>
                    </a:cubicBezTo>
                    <a:lnTo>
                      <a:pt x="17185" y="15665"/>
                    </a:lnTo>
                    <a:cubicBezTo>
                      <a:pt x="17369" y="15481"/>
                      <a:pt x="17402" y="15195"/>
                      <a:pt x="17270" y="14975"/>
                    </a:cubicBezTo>
                    <a:lnTo>
                      <a:pt x="16782" y="14159"/>
                    </a:lnTo>
                    <a:cubicBezTo>
                      <a:pt x="17279" y="13367"/>
                      <a:pt x="17637" y="12497"/>
                      <a:pt x="17845" y="11584"/>
                    </a:cubicBezTo>
                    <a:lnTo>
                      <a:pt x="18844" y="11352"/>
                    </a:lnTo>
                    <a:cubicBezTo>
                      <a:pt x="19097" y="11289"/>
                      <a:pt x="19275" y="11063"/>
                      <a:pt x="19275" y="10804"/>
                    </a:cubicBezTo>
                    <a:lnTo>
                      <a:pt x="19275" y="8546"/>
                    </a:lnTo>
                    <a:cubicBezTo>
                      <a:pt x="19275" y="8287"/>
                      <a:pt x="19097" y="8061"/>
                      <a:pt x="18847" y="7998"/>
                    </a:cubicBezTo>
                    <a:lnTo>
                      <a:pt x="17848" y="7766"/>
                    </a:lnTo>
                    <a:cubicBezTo>
                      <a:pt x="17640" y="6854"/>
                      <a:pt x="17279" y="5983"/>
                      <a:pt x="16782" y="5188"/>
                    </a:cubicBezTo>
                    <a:lnTo>
                      <a:pt x="17273" y="4375"/>
                    </a:lnTo>
                    <a:cubicBezTo>
                      <a:pt x="17405" y="4153"/>
                      <a:pt x="17369" y="3869"/>
                      <a:pt x="17188" y="3686"/>
                    </a:cubicBezTo>
                    <a:lnTo>
                      <a:pt x="15589" y="2090"/>
                    </a:lnTo>
                    <a:cubicBezTo>
                      <a:pt x="15480" y="1980"/>
                      <a:pt x="15335" y="1923"/>
                      <a:pt x="15188" y="1923"/>
                    </a:cubicBezTo>
                    <a:cubicBezTo>
                      <a:pt x="15089" y="1923"/>
                      <a:pt x="14989" y="1949"/>
                      <a:pt x="14900" y="2002"/>
                    </a:cubicBezTo>
                    <a:lnTo>
                      <a:pt x="14087" y="2493"/>
                    </a:lnTo>
                    <a:cubicBezTo>
                      <a:pt x="13292" y="1996"/>
                      <a:pt x="12421" y="1635"/>
                      <a:pt x="11509" y="1427"/>
                    </a:cubicBezTo>
                    <a:lnTo>
                      <a:pt x="11277" y="428"/>
                    </a:lnTo>
                    <a:cubicBezTo>
                      <a:pt x="11217" y="178"/>
                      <a:pt x="10988" y="0"/>
                      <a:pt x="10729" y="0"/>
                    </a:cubicBezTo>
                    <a:close/>
                  </a:path>
                </a:pathLst>
              </a:custGeom>
              <a:solidFill>
                <a:schemeClr val="accent1">
                  <a:lumMod val="100000"/>
                </a:schemeClr>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435D74"/>
                  </a:solidFill>
                  <a:effectLst/>
                  <a:uLnTx/>
                  <a:uFillTx/>
                  <a:latin typeface="Arial"/>
                  <a:ea typeface="+mn-ea"/>
                  <a:cs typeface="+mn-ea"/>
                  <a:sym typeface="+mn-lt"/>
                </a:endParaRPr>
              </a:p>
            </p:txBody>
          </p:sp>
          <p:sp>
            <p:nvSpPr>
              <p:cNvPr id="14" name="Google Shape;195;p17">
                <a:extLst>
                  <a:ext uri="{FF2B5EF4-FFF2-40B4-BE49-F238E27FC236}">
                    <a16:creationId xmlns:a16="http://schemas.microsoft.com/office/drawing/2014/main" id="{FB91B531-E137-4AE2-B7B1-848174077F54}"/>
                  </a:ext>
                </a:extLst>
              </p:cNvPr>
              <p:cNvSpPr/>
              <p:nvPr/>
            </p:nvSpPr>
            <p:spPr>
              <a:xfrm>
                <a:off x="2819200" y="983400"/>
                <a:ext cx="205475" cy="197625"/>
              </a:xfrm>
              <a:custGeom>
                <a:avLst/>
                <a:gdLst/>
                <a:ahLst/>
                <a:cxnLst/>
                <a:rect l="l" t="t" r="r" b="b"/>
                <a:pathLst>
                  <a:path w="8219" h="7905" extrusionOk="0">
                    <a:moveTo>
                      <a:pt x="4265" y="1129"/>
                    </a:moveTo>
                    <a:cubicBezTo>
                      <a:pt x="4629" y="1129"/>
                      <a:pt x="4996" y="1199"/>
                      <a:pt x="5346" y="1343"/>
                    </a:cubicBezTo>
                    <a:cubicBezTo>
                      <a:pt x="6400" y="1780"/>
                      <a:pt x="7089" y="2810"/>
                      <a:pt x="7089" y="3954"/>
                    </a:cubicBezTo>
                    <a:cubicBezTo>
                      <a:pt x="7086" y="5511"/>
                      <a:pt x="5825" y="6773"/>
                      <a:pt x="4265" y="6776"/>
                    </a:cubicBezTo>
                    <a:cubicBezTo>
                      <a:pt x="3124" y="6776"/>
                      <a:pt x="2094" y="6089"/>
                      <a:pt x="1657" y="5032"/>
                    </a:cubicBezTo>
                    <a:cubicBezTo>
                      <a:pt x="1221" y="3978"/>
                      <a:pt x="1461" y="2765"/>
                      <a:pt x="2268" y="1958"/>
                    </a:cubicBezTo>
                    <a:cubicBezTo>
                      <a:pt x="2808" y="1416"/>
                      <a:pt x="3530" y="1129"/>
                      <a:pt x="4265" y="1129"/>
                    </a:cubicBezTo>
                    <a:close/>
                    <a:moveTo>
                      <a:pt x="4265" y="0"/>
                    </a:moveTo>
                    <a:cubicBezTo>
                      <a:pt x="2666" y="0"/>
                      <a:pt x="1227" y="964"/>
                      <a:pt x="612" y="2440"/>
                    </a:cubicBezTo>
                    <a:cubicBezTo>
                      <a:pt x="1" y="3918"/>
                      <a:pt x="341" y="5616"/>
                      <a:pt x="1470" y="6749"/>
                    </a:cubicBezTo>
                    <a:cubicBezTo>
                      <a:pt x="2226" y="7504"/>
                      <a:pt x="3237" y="7905"/>
                      <a:pt x="4265" y="7905"/>
                    </a:cubicBezTo>
                    <a:cubicBezTo>
                      <a:pt x="4774" y="7905"/>
                      <a:pt x="5288" y="7806"/>
                      <a:pt x="5777" y="7604"/>
                    </a:cubicBezTo>
                    <a:cubicBezTo>
                      <a:pt x="7255" y="6993"/>
                      <a:pt x="8219" y="5550"/>
                      <a:pt x="8219" y="3954"/>
                    </a:cubicBezTo>
                    <a:cubicBezTo>
                      <a:pt x="8216" y="1771"/>
                      <a:pt x="6448" y="3"/>
                      <a:pt x="4265" y="0"/>
                    </a:cubicBezTo>
                    <a:close/>
                  </a:path>
                </a:pathLst>
              </a:custGeom>
              <a:solidFill>
                <a:schemeClr val="accent1">
                  <a:lumMod val="100000"/>
                </a:schemeClr>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435D74"/>
                  </a:solidFill>
                  <a:effectLst/>
                  <a:uLnTx/>
                  <a:uFillTx/>
                  <a:latin typeface="Arial"/>
                  <a:ea typeface="+mn-ea"/>
                  <a:cs typeface="+mn-ea"/>
                  <a:sym typeface="+mn-lt"/>
                </a:endParaRPr>
              </a:p>
            </p:txBody>
          </p:sp>
        </p:grpSp>
        <p:sp>
          <p:nvSpPr>
            <p:cNvPr id="11" name="Google Shape;196;p17">
              <a:extLst>
                <a:ext uri="{FF2B5EF4-FFF2-40B4-BE49-F238E27FC236}">
                  <a16:creationId xmlns:a16="http://schemas.microsoft.com/office/drawing/2014/main" id="{3F09E456-2C07-42BA-95EF-02CA72C737C9}"/>
                </a:ext>
              </a:extLst>
            </p:cNvPr>
            <p:cNvSpPr txBox="1"/>
            <p:nvPr/>
          </p:nvSpPr>
          <p:spPr>
            <a:xfrm>
              <a:off x="634075" y="2319213"/>
              <a:ext cx="759000" cy="265200"/>
            </a:xfrm>
            <a:prstGeom prst="rect">
              <a:avLst/>
            </a:prstGeom>
            <a:noFill/>
            <a:ln>
              <a:noFill/>
            </a:ln>
          </p:spPr>
          <p:txBody>
            <a:bodyPr spcFirstLastPara="1" wrap="square" lIns="121900" tIns="121900" rIns="121900" bIns="12190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 sz="1467" b="0" i="0" u="none" strike="noStrike" kern="1200" cap="none" spc="0" normalizeH="0" baseline="0" noProof="0">
                  <a:ln>
                    <a:noFill/>
                  </a:ln>
                  <a:solidFill>
                    <a:srgbClr val="434343"/>
                  </a:solidFill>
                  <a:effectLst/>
                  <a:uLnTx/>
                  <a:uFillTx/>
                  <a:latin typeface="Arial"/>
                  <a:ea typeface="+mn-ea"/>
                  <a:cs typeface="+mn-ea"/>
                  <a:sym typeface="+mn-lt"/>
                </a:rPr>
                <a:t>Mercury</a:t>
              </a:r>
              <a:endParaRPr kumimoji="0" sz="1467" b="0" i="0" u="none" strike="noStrike" kern="1200" cap="none" spc="0" normalizeH="0" baseline="0" noProof="0">
                <a:ln>
                  <a:noFill/>
                </a:ln>
                <a:solidFill>
                  <a:srgbClr val="434343"/>
                </a:solidFill>
                <a:effectLst/>
                <a:uLnTx/>
                <a:uFillTx/>
                <a:latin typeface="Arial"/>
                <a:ea typeface="+mn-ea"/>
                <a:cs typeface="+mn-ea"/>
                <a:sym typeface="+mn-lt"/>
              </a:endParaRPr>
            </a:p>
          </p:txBody>
        </p:sp>
        <p:sp>
          <p:nvSpPr>
            <p:cNvPr id="12" name="Google Shape;197;p17">
              <a:extLst>
                <a:ext uri="{FF2B5EF4-FFF2-40B4-BE49-F238E27FC236}">
                  <a16:creationId xmlns:a16="http://schemas.microsoft.com/office/drawing/2014/main" id="{A2B11F58-424A-4F8D-95D9-1F4D71E0429F}"/>
                </a:ext>
              </a:extLst>
            </p:cNvPr>
            <p:cNvSpPr txBox="1"/>
            <p:nvPr/>
          </p:nvSpPr>
          <p:spPr>
            <a:xfrm>
              <a:off x="634075" y="3103513"/>
              <a:ext cx="759000" cy="265200"/>
            </a:xfrm>
            <a:prstGeom prst="rect">
              <a:avLst/>
            </a:prstGeom>
            <a:noFill/>
            <a:ln>
              <a:noFill/>
            </a:ln>
          </p:spPr>
          <p:txBody>
            <a:bodyPr spcFirstLastPara="1" wrap="square" lIns="121900" tIns="121900" rIns="121900" bIns="12190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 sz="1467" b="0" i="0" u="none" strike="noStrike" kern="1200" cap="none" spc="0" normalizeH="0" baseline="0" noProof="0">
                  <a:ln>
                    <a:noFill/>
                  </a:ln>
                  <a:solidFill>
                    <a:srgbClr val="434343"/>
                  </a:solidFill>
                  <a:effectLst/>
                  <a:uLnTx/>
                  <a:uFillTx/>
                  <a:latin typeface="Arial"/>
                  <a:ea typeface="+mn-ea"/>
                  <a:cs typeface="+mn-ea"/>
                  <a:sym typeface="+mn-lt"/>
                </a:rPr>
                <a:t>Callisto</a:t>
              </a:r>
              <a:endParaRPr kumimoji="0" sz="1467" b="0" i="0" u="none" strike="noStrike" kern="1200" cap="none" spc="0" normalizeH="0" baseline="0" noProof="0">
                <a:ln>
                  <a:noFill/>
                </a:ln>
                <a:solidFill>
                  <a:srgbClr val="434343"/>
                </a:solidFill>
                <a:effectLst/>
                <a:uLnTx/>
                <a:uFillTx/>
                <a:latin typeface="Arial"/>
                <a:ea typeface="+mn-ea"/>
                <a:cs typeface="+mn-ea"/>
                <a:sym typeface="+mn-lt"/>
              </a:endParaRPr>
            </a:p>
          </p:txBody>
        </p:sp>
      </p:grpSp>
      <p:grpSp>
        <p:nvGrpSpPr>
          <p:cNvPr id="15" name="Google Shape;198;p17">
            <a:extLst>
              <a:ext uri="{FF2B5EF4-FFF2-40B4-BE49-F238E27FC236}">
                <a16:creationId xmlns:a16="http://schemas.microsoft.com/office/drawing/2014/main" id="{C40317C3-CE78-4C66-9390-E773349A904D}"/>
              </a:ext>
            </a:extLst>
          </p:cNvPr>
          <p:cNvGrpSpPr/>
          <p:nvPr/>
        </p:nvGrpSpPr>
        <p:grpSpPr>
          <a:xfrm>
            <a:off x="2909617" y="2151373"/>
            <a:ext cx="2803483" cy="2560200"/>
            <a:chOff x="2182213" y="1881813"/>
            <a:chExt cx="2102612" cy="1920150"/>
          </a:xfrm>
        </p:grpSpPr>
        <p:sp>
          <p:nvSpPr>
            <p:cNvPr id="16" name="Google Shape;199;p17">
              <a:extLst>
                <a:ext uri="{FF2B5EF4-FFF2-40B4-BE49-F238E27FC236}">
                  <a16:creationId xmlns:a16="http://schemas.microsoft.com/office/drawing/2014/main" id="{7B758554-4360-4E09-9EC6-2F42C897838B}"/>
                </a:ext>
              </a:extLst>
            </p:cNvPr>
            <p:cNvSpPr/>
            <p:nvPr/>
          </p:nvSpPr>
          <p:spPr>
            <a:xfrm>
              <a:off x="3048000" y="2004425"/>
              <a:ext cx="279100" cy="836100"/>
            </a:xfrm>
            <a:custGeom>
              <a:avLst/>
              <a:gdLst/>
              <a:ahLst/>
              <a:cxnLst/>
              <a:rect l="l" t="t" r="r" b="b"/>
              <a:pathLst>
                <a:path w="11164" h="33444" extrusionOk="0">
                  <a:moveTo>
                    <a:pt x="0" y="0"/>
                  </a:moveTo>
                  <a:lnTo>
                    <a:pt x="11164" y="17981"/>
                  </a:lnTo>
                  <a:lnTo>
                    <a:pt x="11164" y="33444"/>
                  </a:lnTo>
                </a:path>
              </a:pathLst>
            </a:custGeom>
            <a:noFill/>
            <a:ln w="9525" cap="flat" cmpd="sng">
              <a:solidFill>
                <a:srgbClr val="434343"/>
              </a:solidFill>
              <a:prstDash val="solid"/>
              <a:round/>
              <a:headEnd type="none" w="med" len="med"/>
              <a:tailEnd type="none" w="med" len="me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17" name="Google Shape;200;p17">
              <a:extLst>
                <a:ext uri="{FF2B5EF4-FFF2-40B4-BE49-F238E27FC236}">
                  <a16:creationId xmlns:a16="http://schemas.microsoft.com/office/drawing/2014/main" id="{036F8483-E367-4506-BB55-6575BB6BCDE2}"/>
                </a:ext>
              </a:extLst>
            </p:cNvPr>
            <p:cNvSpPr/>
            <p:nvPr/>
          </p:nvSpPr>
          <p:spPr>
            <a:xfrm rot="10800000" flipH="1">
              <a:off x="3048000" y="2857825"/>
              <a:ext cx="279100" cy="836100"/>
            </a:xfrm>
            <a:custGeom>
              <a:avLst/>
              <a:gdLst/>
              <a:ahLst/>
              <a:cxnLst/>
              <a:rect l="l" t="t" r="r" b="b"/>
              <a:pathLst>
                <a:path w="11164" h="33444" extrusionOk="0">
                  <a:moveTo>
                    <a:pt x="0" y="0"/>
                  </a:moveTo>
                  <a:lnTo>
                    <a:pt x="11164" y="17981"/>
                  </a:lnTo>
                  <a:lnTo>
                    <a:pt x="11164" y="33444"/>
                  </a:lnTo>
                </a:path>
              </a:pathLst>
            </a:custGeom>
            <a:noFill/>
            <a:ln w="9525" cap="flat" cmpd="sng">
              <a:solidFill>
                <a:srgbClr val="434343"/>
              </a:solidFill>
              <a:prstDash val="solid"/>
              <a:round/>
              <a:headEnd type="none" w="med" len="med"/>
              <a:tailEnd type="none" w="med" len="me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18" name="Google Shape;201;p17">
              <a:extLst>
                <a:ext uri="{FF2B5EF4-FFF2-40B4-BE49-F238E27FC236}">
                  <a16:creationId xmlns:a16="http://schemas.microsoft.com/office/drawing/2014/main" id="{35B68E01-F8AE-454B-943E-E8198B04208F}"/>
                </a:ext>
              </a:extLst>
            </p:cNvPr>
            <p:cNvSpPr/>
            <p:nvPr/>
          </p:nvSpPr>
          <p:spPr>
            <a:xfrm>
              <a:off x="2372625" y="2709288"/>
              <a:ext cx="1912200" cy="265200"/>
            </a:xfrm>
            <a:prstGeom prst="chevron">
              <a:avLst>
                <a:gd name="adj" fmla="val 50000"/>
              </a:avLst>
            </a:prstGeom>
            <a:solidFill>
              <a:schemeClr val="accent1">
                <a:lumMod val="100000"/>
              </a:schemeClr>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19" name="Google Shape;202;p17">
              <a:extLst>
                <a:ext uri="{FF2B5EF4-FFF2-40B4-BE49-F238E27FC236}">
                  <a16:creationId xmlns:a16="http://schemas.microsoft.com/office/drawing/2014/main" id="{9C46D75B-4190-4F30-A8FB-99E8CAB6ABD2}"/>
                </a:ext>
              </a:extLst>
            </p:cNvPr>
            <p:cNvSpPr/>
            <p:nvPr/>
          </p:nvSpPr>
          <p:spPr>
            <a:xfrm>
              <a:off x="3103746" y="2626225"/>
              <a:ext cx="435500" cy="435500"/>
            </a:xfrm>
            <a:custGeom>
              <a:avLst/>
              <a:gdLst/>
              <a:ahLst/>
              <a:cxnLst/>
              <a:rect l="l" t="t" r="r" b="b"/>
              <a:pathLst>
                <a:path w="17420" h="17420" extrusionOk="0">
                  <a:moveTo>
                    <a:pt x="8716" y="1"/>
                  </a:moveTo>
                  <a:cubicBezTo>
                    <a:pt x="3906" y="1"/>
                    <a:pt x="0" y="3894"/>
                    <a:pt x="0" y="8704"/>
                  </a:cubicBezTo>
                  <a:cubicBezTo>
                    <a:pt x="0" y="13514"/>
                    <a:pt x="3906" y="17419"/>
                    <a:pt x="8716" y="17419"/>
                  </a:cubicBezTo>
                  <a:cubicBezTo>
                    <a:pt x="13526" y="17419"/>
                    <a:pt x="17419" y="13514"/>
                    <a:pt x="17419" y="8704"/>
                  </a:cubicBezTo>
                  <a:cubicBezTo>
                    <a:pt x="17419" y="3894"/>
                    <a:pt x="13526" y="1"/>
                    <a:pt x="8716" y="1"/>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20" name="Google Shape;203;p17">
              <a:extLst>
                <a:ext uri="{FF2B5EF4-FFF2-40B4-BE49-F238E27FC236}">
                  <a16:creationId xmlns:a16="http://schemas.microsoft.com/office/drawing/2014/main" id="{B0A57582-9868-4BC1-9702-B7AD9ACF31C8}"/>
                </a:ext>
              </a:extLst>
            </p:cNvPr>
            <p:cNvSpPr/>
            <p:nvPr/>
          </p:nvSpPr>
          <p:spPr>
            <a:xfrm>
              <a:off x="3159396" y="2681900"/>
              <a:ext cx="324175" cy="324150"/>
            </a:xfrm>
            <a:custGeom>
              <a:avLst/>
              <a:gdLst/>
              <a:ahLst/>
              <a:cxnLst/>
              <a:rect l="l" t="t" r="r" b="b"/>
              <a:pathLst>
                <a:path w="12967" h="12966" extrusionOk="0">
                  <a:moveTo>
                    <a:pt x="6490" y="0"/>
                  </a:moveTo>
                  <a:cubicBezTo>
                    <a:pt x="2906" y="0"/>
                    <a:pt x="1" y="2905"/>
                    <a:pt x="1" y="6477"/>
                  </a:cubicBezTo>
                  <a:cubicBezTo>
                    <a:pt x="1" y="10061"/>
                    <a:pt x="2906" y="12966"/>
                    <a:pt x="6490" y="12966"/>
                  </a:cubicBezTo>
                  <a:cubicBezTo>
                    <a:pt x="10062" y="12966"/>
                    <a:pt x="12967" y="10061"/>
                    <a:pt x="12967" y="6477"/>
                  </a:cubicBezTo>
                  <a:cubicBezTo>
                    <a:pt x="12967" y="2905"/>
                    <a:pt x="10062" y="0"/>
                    <a:pt x="6490" y="0"/>
                  </a:cubicBezTo>
                  <a:close/>
                </a:path>
              </a:pathLst>
            </a:custGeom>
            <a:solidFill>
              <a:srgbClr val="FFFFFF"/>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grpSp>
          <p:nvGrpSpPr>
            <p:cNvPr id="21" name="Google Shape;204;p17">
              <a:extLst>
                <a:ext uri="{FF2B5EF4-FFF2-40B4-BE49-F238E27FC236}">
                  <a16:creationId xmlns:a16="http://schemas.microsoft.com/office/drawing/2014/main" id="{30A0EF70-6F87-4BE6-A9EF-0852628FC25F}"/>
                </a:ext>
              </a:extLst>
            </p:cNvPr>
            <p:cNvGrpSpPr/>
            <p:nvPr/>
          </p:nvGrpSpPr>
          <p:grpSpPr>
            <a:xfrm>
              <a:off x="3223141" y="2742057"/>
              <a:ext cx="199090" cy="199090"/>
              <a:chOff x="4456875" y="1435075"/>
              <a:chExt cx="481825" cy="481825"/>
            </a:xfrm>
          </p:grpSpPr>
          <p:sp>
            <p:nvSpPr>
              <p:cNvPr id="30" name="Google Shape;205;p17">
                <a:extLst>
                  <a:ext uri="{FF2B5EF4-FFF2-40B4-BE49-F238E27FC236}">
                    <a16:creationId xmlns:a16="http://schemas.microsoft.com/office/drawing/2014/main" id="{F1F12FC2-5FAB-4F47-A635-1B0E69BA71A1}"/>
                  </a:ext>
                </a:extLst>
              </p:cNvPr>
              <p:cNvSpPr/>
              <p:nvPr/>
            </p:nvSpPr>
            <p:spPr>
              <a:xfrm>
                <a:off x="4624975" y="1465275"/>
                <a:ext cx="56650" cy="86000"/>
              </a:xfrm>
              <a:custGeom>
                <a:avLst/>
                <a:gdLst/>
                <a:ahLst/>
                <a:cxnLst/>
                <a:rect l="l" t="t" r="r" b="b"/>
                <a:pathLst>
                  <a:path w="2266" h="3440" extrusionOk="0">
                    <a:moveTo>
                      <a:pt x="2265" y="0"/>
                    </a:moveTo>
                    <a:cubicBezTo>
                      <a:pt x="1413" y="283"/>
                      <a:pt x="618" y="1196"/>
                      <a:pt x="1" y="2575"/>
                    </a:cubicBezTo>
                    <a:cubicBezTo>
                      <a:pt x="263" y="2801"/>
                      <a:pt x="449" y="3105"/>
                      <a:pt x="534" y="3439"/>
                    </a:cubicBezTo>
                    <a:cubicBezTo>
                      <a:pt x="1106" y="3364"/>
                      <a:pt x="1672" y="3322"/>
                      <a:pt x="2265" y="3304"/>
                    </a:cubicBezTo>
                    <a:lnTo>
                      <a:pt x="2265" y="0"/>
                    </a:lnTo>
                    <a:close/>
                  </a:path>
                </a:pathLst>
              </a:custGeom>
              <a:solidFill>
                <a:schemeClr val="accent1">
                  <a:lumMod val="100000"/>
                </a:schemeClr>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435D74"/>
                  </a:solidFill>
                  <a:effectLst/>
                  <a:uLnTx/>
                  <a:uFillTx/>
                  <a:latin typeface="Arial"/>
                  <a:ea typeface="+mn-ea"/>
                  <a:cs typeface="+mn-ea"/>
                  <a:sym typeface="+mn-lt"/>
                </a:endParaRPr>
              </a:p>
            </p:txBody>
          </p:sp>
          <p:sp>
            <p:nvSpPr>
              <p:cNvPr id="31" name="Google Shape;206;p17">
                <a:extLst>
                  <a:ext uri="{FF2B5EF4-FFF2-40B4-BE49-F238E27FC236}">
                    <a16:creationId xmlns:a16="http://schemas.microsoft.com/office/drawing/2014/main" id="{CBEEADF2-902C-442D-8B4C-FF039452CD20}"/>
                  </a:ext>
                </a:extLst>
              </p:cNvPr>
              <p:cNvSpPr/>
              <p:nvPr/>
            </p:nvSpPr>
            <p:spPr>
              <a:xfrm>
                <a:off x="4615275" y="1797425"/>
                <a:ext cx="66350" cy="89375"/>
              </a:xfrm>
              <a:custGeom>
                <a:avLst/>
                <a:gdLst/>
                <a:ahLst/>
                <a:cxnLst/>
                <a:rect l="l" t="t" r="r" b="b"/>
                <a:pathLst>
                  <a:path w="2654" h="3575" extrusionOk="0">
                    <a:moveTo>
                      <a:pt x="0" y="0"/>
                    </a:moveTo>
                    <a:lnTo>
                      <a:pt x="0" y="0"/>
                    </a:lnTo>
                    <a:cubicBezTo>
                      <a:pt x="618" y="1882"/>
                      <a:pt x="1563" y="3225"/>
                      <a:pt x="2653" y="3574"/>
                    </a:cubicBezTo>
                    <a:lnTo>
                      <a:pt x="2653" y="1316"/>
                    </a:lnTo>
                    <a:cubicBezTo>
                      <a:pt x="2153" y="1135"/>
                      <a:pt x="1768" y="726"/>
                      <a:pt x="1620" y="217"/>
                    </a:cubicBezTo>
                    <a:cubicBezTo>
                      <a:pt x="1057" y="169"/>
                      <a:pt x="518" y="96"/>
                      <a:pt x="0" y="0"/>
                    </a:cubicBezTo>
                    <a:close/>
                  </a:path>
                </a:pathLst>
              </a:custGeom>
              <a:solidFill>
                <a:schemeClr val="accent1">
                  <a:lumMod val="100000"/>
                </a:schemeClr>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435D74"/>
                  </a:solidFill>
                  <a:effectLst/>
                  <a:uLnTx/>
                  <a:uFillTx/>
                  <a:latin typeface="Arial"/>
                  <a:ea typeface="+mn-ea"/>
                  <a:cs typeface="+mn-ea"/>
                  <a:sym typeface="+mn-lt"/>
                </a:endParaRPr>
              </a:p>
            </p:txBody>
          </p:sp>
          <p:sp>
            <p:nvSpPr>
              <p:cNvPr id="32" name="Google Shape;207;p17">
                <a:extLst>
                  <a:ext uri="{FF2B5EF4-FFF2-40B4-BE49-F238E27FC236}">
                    <a16:creationId xmlns:a16="http://schemas.microsoft.com/office/drawing/2014/main" id="{814A42AB-6FE4-4FAC-92A7-ABF0CFDE6A4D}"/>
                  </a:ext>
                </a:extLst>
              </p:cNvPr>
              <p:cNvSpPr/>
              <p:nvPr/>
            </p:nvSpPr>
            <p:spPr>
              <a:xfrm>
                <a:off x="4583125" y="1547250"/>
                <a:ext cx="28250" cy="28250"/>
              </a:xfrm>
              <a:custGeom>
                <a:avLst/>
                <a:gdLst/>
                <a:ahLst/>
                <a:cxnLst/>
                <a:rect l="l" t="t" r="r" b="b"/>
                <a:pathLst>
                  <a:path w="1130" h="1130" extrusionOk="0">
                    <a:moveTo>
                      <a:pt x="567" y="1"/>
                    </a:moveTo>
                    <a:cubicBezTo>
                      <a:pt x="253" y="1"/>
                      <a:pt x="1" y="254"/>
                      <a:pt x="1" y="567"/>
                    </a:cubicBezTo>
                    <a:cubicBezTo>
                      <a:pt x="1" y="880"/>
                      <a:pt x="253" y="1130"/>
                      <a:pt x="567" y="1130"/>
                    </a:cubicBezTo>
                    <a:cubicBezTo>
                      <a:pt x="880" y="1130"/>
                      <a:pt x="1130" y="880"/>
                      <a:pt x="1130" y="567"/>
                    </a:cubicBezTo>
                    <a:cubicBezTo>
                      <a:pt x="1130" y="254"/>
                      <a:pt x="880" y="1"/>
                      <a:pt x="567" y="1"/>
                    </a:cubicBezTo>
                    <a:close/>
                  </a:path>
                </a:pathLst>
              </a:custGeom>
              <a:solidFill>
                <a:schemeClr val="accent1">
                  <a:lumMod val="100000"/>
                </a:schemeClr>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435D74"/>
                  </a:solidFill>
                  <a:effectLst/>
                  <a:uLnTx/>
                  <a:uFillTx/>
                  <a:latin typeface="Arial"/>
                  <a:ea typeface="+mn-ea"/>
                  <a:cs typeface="+mn-ea"/>
                  <a:sym typeface="+mn-lt"/>
                </a:endParaRPr>
              </a:p>
            </p:txBody>
          </p:sp>
          <p:sp>
            <p:nvSpPr>
              <p:cNvPr id="33" name="Google Shape;208;p17">
                <a:extLst>
                  <a:ext uri="{FF2B5EF4-FFF2-40B4-BE49-F238E27FC236}">
                    <a16:creationId xmlns:a16="http://schemas.microsoft.com/office/drawing/2014/main" id="{B6601AE4-3A21-4243-9174-186BE139B9F1}"/>
                  </a:ext>
                </a:extLst>
              </p:cNvPr>
              <p:cNvSpPr/>
              <p:nvPr/>
            </p:nvSpPr>
            <p:spPr>
              <a:xfrm>
                <a:off x="4597950" y="1576075"/>
                <a:ext cx="83675" cy="87525"/>
              </a:xfrm>
              <a:custGeom>
                <a:avLst/>
                <a:gdLst/>
                <a:ahLst/>
                <a:cxnLst/>
                <a:rect l="l" t="t" r="r" b="b"/>
                <a:pathLst>
                  <a:path w="3347" h="3501" extrusionOk="0">
                    <a:moveTo>
                      <a:pt x="3346" y="1"/>
                    </a:moveTo>
                    <a:cubicBezTo>
                      <a:pt x="2723" y="19"/>
                      <a:pt x="2103" y="73"/>
                      <a:pt x="1485" y="161"/>
                    </a:cubicBezTo>
                    <a:cubicBezTo>
                      <a:pt x="1241" y="654"/>
                      <a:pt x="772" y="998"/>
                      <a:pt x="230" y="1082"/>
                    </a:cubicBezTo>
                    <a:cubicBezTo>
                      <a:pt x="100" y="1817"/>
                      <a:pt x="25" y="2714"/>
                      <a:pt x="1" y="3500"/>
                    </a:cubicBezTo>
                    <a:lnTo>
                      <a:pt x="3346" y="3500"/>
                    </a:lnTo>
                    <a:lnTo>
                      <a:pt x="3346" y="1"/>
                    </a:lnTo>
                    <a:close/>
                  </a:path>
                </a:pathLst>
              </a:custGeom>
              <a:solidFill>
                <a:schemeClr val="accent1">
                  <a:lumMod val="100000"/>
                </a:schemeClr>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435D74"/>
                  </a:solidFill>
                  <a:effectLst/>
                  <a:uLnTx/>
                  <a:uFillTx/>
                  <a:latin typeface="Arial"/>
                  <a:ea typeface="+mn-ea"/>
                  <a:cs typeface="+mn-ea"/>
                  <a:sym typeface="+mn-lt"/>
                </a:endParaRPr>
              </a:p>
            </p:txBody>
          </p:sp>
          <p:sp>
            <p:nvSpPr>
              <p:cNvPr id="34" name="Google Shape;209;p17">
                <a:extLst>
                  <a:ext uri="{FF2B5EF4-FFF2-40B4-BE49-F238E27FC236}">
                    <a16:creationId xmlns:a16="http://schemas.microsoft.com/office/drawing/2014/main" id="{43C7612A-FA67-42F4-923A-9618DEA18DA2}"/>
                  </a:ext>
                </a:extLst>
              </p:cNvPr>
              <p:cNvSpPr/>
              <p:nvPr/>
            </p:nvSpPr>
            <p:spPr>
              <a:xfrm>
                <a:off x="4597650" y="1692175"/>
                <a:ext cx="83975" cy="82450"/>
              </a:xfrm>
              <a:custGeom>
                <a:avLst/>
                <a:gdLst/>
                <a:ahLst/>
                <a:cxnLst/>
                <a:rect l="l" t="t" r="r" b="b"/>
                <a:pathLst>
                  <a:path w="3359" h="3298" extrusionOk="0">
                    <a:moveTo>
                      <a:pt x="1" y="0"/>
                    </a:moveTo>
                    <a:cubicBezTo>
                      <a:pt x="31" y="1003"/>
                      <a:pt x="154" y="2006"/>
                      <a:pt x="371" y="2987"/>
                    </a:cubicBezTo>
                    <a:cubicBezTo>
                      <a:pt x="1031" y="3135"/>
                      <a:pt x="1699" y="3237"/>
                      <a:pt x="2371" y="3298"/>
                    </a:cubicBezTo>
                    <a:cubicBezTo>
                      <a:pt x="2548" y="2855"/>
                      <a:pt x="2910" y="2509"/>
                      <a:pt x="3358" y="2346"/>
                    </a:cubicBezTo>
                    <a:lnTo>
                      <a:pt x="3358" y="0"/>
                    </a:lnTo>
                    <a:close/>
                  </a:path>
                </a:pathLst>
              </a:custGeom>
              <a:solidFill>
                <a:schemeClr val="accent1">
                  <a:lumMod val="100000"/>
                </a:schemeClr>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435D74"/>
                  </a:solidFill>
                  <a:effectLst/>
                  <a:uLnTx/>
                  <a:uFillTx/>
                  <a:latin typeface="Arial"/>
                  <a:ea typeface="+mn-ea"/>
                  <a:cs typeface="+mn-ea"/>
                  <a:sym typeface="+mn-lt"/>
                </a:endParaRPr>
              </a:p>
            </p:txBody>
          </p:sp>
          <p:sp>
            <p:nvSpPr>
              <p:cNvPr id="35" name="Google Shape;210;p17">
                <a:extLst>
                  <a:ext uri="{FF2B5EF4-FFF2-40B4-BE49-F238E27FC236}">
                    <a16:creationId xmlns:a16="http://schemas.microsoft.com/office/drawing/2014/main" id="{E33AC3B8-C999-4B73-B56A-0713E7EF2A7D}"/>
                  </a:ext>
                </a:extLst>
              </p:cNvPr>
              <p:cNvSpPr/>
              <p:nvPr/>
            </p:nvSpPr>
            <p:spPr>
              <a:xfrm>
                <a:off x="4798050" y="1663575"/>
                <a:ext cx="28475" cy="28250"/>
              </a:xfrm>
              <a:custGeom>
                <a:avLst/>
                <a:gdLst/>
                <a:ahLst/>
                <a:cxnLst/>
                <a:rect l="l" t="t" r="r" b="b"/>
                <a:pathLst>
                  <a:path w="1139" h="1130" extrusionOk="0">
                    <a:moveTo>
                      <a:pt x="564" y="0"/>
                    </a:moveTo>
                    <a:cubicBezTo>
                      <a:pt x="254" y="0"/>
                      <a:pt x="1" y="253"/>
                      <a:pt x="1" y="566"/>
                    </a:cubicBezTo>
                    <a:cubicBezTo>
                      <a:pt x="4" y="876"/>
                      <a:pt x="257" y="1129"/>
                      <a:pt x="567" y="1129"/>
                    </a:cubicBezTo>
                    <a:lnTo>
                      <a:pt x="573" y="1129"/>
                    </a:lnTo>
                    <a:cubicBezTo>
                      <a:pt x="886" y="1129"/>
                      <a:pt x="1139" y="876"/>
                      <a:pt x="1139" y="563"/>
                    </a:cubicBezTo>
                    <a:cubicBezTo>
                      <a:pt x="1139" y="253"/>
                      <a:pt x="886" y="0"/>
                      <a:pt x="573" y="0"/>
                    </a:cubicBezTo>
                    <a:close/>
                  </a:path>
                </a:pathLst>
              </a:custGeom>
              <a:solidFill>
                <a:schemeClr val="accent1">
                  <a:lumMod val="100000"/>
                </a:schemeClr>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435D74"/>
                  </a:solidFill>
                  <a:effectLst/>
                  <a:uLnTx/>
                  <a:uFillTx/>
                  <a:latin typeface="Arial"/>
                  <a:ea typeface="+mn-ea"/>
                  <a:cs typeface="+mn-ea"/>
                  <a:sym typeface="+mn-lt"/>
                </a:endParaRPr>
              </a:p>
            </p:txBody>
          </p:sp>
          <p:sp>
            <p:nvSpPr>
              <p:cNvPr id="36" name="Google Shape;211;p17">
                <a:extLst>
                  <a:ext uri="{FF2B5EF4-FFF2-40B4-BE49-F238E27FC236}">
                    <a16:creationId xmlns:a16="http://schemas.microsoft.com/office/drawing/2014/main" id="{F745B551-AE54-4859-876F-B5FD9FFC05EA}"/>
                  </a:ext>
                </a:extLst>
              </p:cNvPr>
              <p:cNvSpPr/>
              <p:nvPr/>
            </p:nvSpPr>
            <p:spPr>
              <a:xfrm>
                <a:off x="4710200" y="1435075"/>
                <a:ext cx="228500" cy="228525"/>
              </a:xfrm>
              <a:custGeom>
                <a:avLst/>
                <a:gdLst/>
                <a:ahLst/>
                <a:cxnLst/>
                <a:rect l="l" t="t" r="r" b="b"/>
                <a:pathLst>
                  <a:path w="9140" h="9141" extrusionOk="0">
                    <a:moveTo>
                      <a:pt x="1" y="1"/>
                    </a:moveTo>
                    <a:lnTo>
                      <a:pt x="1" y="34"/>
                    </a:lnTo>
                    <a:cubicBezTo>
                      <a:pt x="1729" y="377"/>
                      <a:pt x="3313" y="2283"/>
                      <a:pt x="4075" y="5069"/>
                    </a:cubicBezTo>
                    <a:cubicBezTo>
                      <a:pt x="6833" y="5828"/>
                      <a:pt x="8763" y="7406"/>
                      <a:pt x="9107" y="9140"/>
                    </a:cubicBezTo>
                    <a:lnTo>
                      <a:pt x="9140" y="9140"/>
                    </a:lnTo>
                    <a:cubicBezTo>
                      <a:pt x="8854" y="4298"/>
                      <a:pt x="4843" y="284"/>
                      <a:pt x="1" y="1"/>
                    </a:cubicBezTo>
                    <a:close/>
                  </a:path>
                </a:pathLst>
              </a:custGeom>
              <a:solidFill>
                <a:schemeClr val="accent1">
                  <a:lumMod val="100000"/>
                </a:schemeClr>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435D74"/>
                  </a:solidFill>
                  <a:effectLst/>
                  <a:uLnTx/>
                  <a:uFillTx/>
                  <a:latin typeface="Arial"/>
                  <a:ea typeface="+mn-ea"/>
                  <a:cs typeface="+mn-ea"/>
                  <a:sym typeface="+mn-lt"/>
                </a:endParaRPr>
              </a:p>
            </p:txBody>
          </p:sp>
          <p:sp>
            <p:nvSpPr>
              <p:cNvPr id="37" name="Google Shape;212;p17">
                <a:extLst>
                  <a:ext uri="{FF2B5EF4-FFF2-40B4-BE49-F238E27FC236}">
                    <a16:creationId xmlns:a16="http://schemas.microsoft.com/office/drawing/2014/main" id="{299B0335-D2CA-4FB6-B349-194F0E2B68E1}"/>
                  </a:ext>
                </a:extLst>
              </p:cNvPr>
              <p:cNvSpPr/>
              <p:nvPr/>
            </p:nvSpPr>
            <p:spPr>
              <a:xfrm>
                <a:off x="4819200" y="1593475"/>
                <a:ext cx="89400" cy="70125"/>
              </a:xfrm>
              <a:custGeom>
                <a:avLst/>
                <a:gdLst/>
                <a:ahLst/>
                <a:cxnLst/>
                <a:rect l="l" t="t" r="r" b="b"/>
                <a:pathLst>
                  <a:path w="3576" h="2805" extrusionOk="0">
                    <a:moveTo>
                      <a:pt x="1" y="1"/>
                    </a:moveTo>
                    <a:cubicBezTo>
                      <a:pt x="94" y="519"/>
                      <a:pt x="166" y="1061"/>
                      <a:pt x="215" y="1621"/>
                    </a:cubicBezTo>
                    <a:cubicBezTo>
                      <a:pt x="727" y="1777"/>
                      <a:pt x="1136" y="2301"/>
                      <a:pt x="1317" y="2804"/>
                    </a:cubicBezTo>
                    <a:lnTo>
                      <a:pt x="3575" y="2804"/>
                    </a:lnTo>
                    <a:cubicBezTo>
                      <a:pt x="3223" y="1711"/>
                      <a:pt x="1883" y="621"/>
                      <a:pt x="1" y="1"/>
                    </a:cubicBezTo>
                    <a:close/>
                  </a:path>
                </a:pathLst>
              </a:custGeom>
              <a:solidFill>
                <a:schemeClr val="accent1">
                  <a:lumMod val="100000"/>
                </a:schemeClr>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435D74"/>
                  </a:solidFill>
                  <a:effectLst/>
                  <a:uLnTx/>
                  <a:uFillTx/>
                  <a:latin typeface="Arial"/>
                  <a:ea typeface="+mn-ea"/>
                  <a:cs typeface="+mn-ea"/>
                  <a:sym typeface="+mn-lt"/>
                </a:endParaRPr>
              </a:p>
            </p:txBody>
          </p:sp>
          <p:sp>
            <p:nvSpPr>
              <p:cNvPr id="38" name="Google Shape;213;p17">
                <a:extLst>
                  <a:ext uri="{FF2B5EF4-FFF2-40B4-BE49-F238E27FC236}">
                    <a16:creationId xmlns:a16="http://schemas.microsoft.com/office/drawing/2014/main" id="{71F62790-C395-43D9-A46D-BCADE61069AA}"/>
                  </a:ext>
                </a:extLst>
              </p:cNvPr>
              <p:cNvSpPr/>
              <p:nvPr/>
            </p:nvSpPr>
            <p:spPr>
              <a:xfrm>
                <a:off x="4819200" y="1692175"/>
                <a:ext cx="89475" cy="66275"/>
              </a:xfrm>
              <a:custGeom>
                <a:avLst/>
                <a:gdLst/>
                <a:ahLst/>
                <a:cxnLst/>
                <a:rect l="l" t="t" r="r" b="b"/>
                <a:pathLst>
                  <a:path w="3579" h="2651" extrusionOk="0">
                    <a:moveTo>
                      <a:pt x="1317" y="0"/>
                    </a:moveTo>
                    <a:cubicBezTo>
                      <a:pt x="1133" y="500"/>
                      <a:pt x="727" y="883"/>
                      <a:pt x="215" y="1033"/>
                    </a:cubicBezTo>
                    <a:cubicBezTo>
                      <a:pt x="166" y="1593"/>
                      <a:pt x="94" y="2132"/>
                      <a:pt x="1" y="2650"/>
                    </a:cubicBezTo>
                    <a:cubicBezTo>
                      <a:pt x="1889" y="2030"/>
                      <a:pt x="3223" y="1078"/>
                      <a:pt x="3578" y="0"/>
                    </a:cubicBezTo>
                    <a:close/>
                  </a:path>
                </a:pathLst>
              </a:custGeom>
              <a:solidFill>
                <a:schemeClr val="accent1">
                  <a:lumMod val="100000"/>
                </a:schemeClr>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435D74"/>
                  </a:solidFill>
                  <a:effectLst/>
                  <a:uLnTx/>
                  <a:uFillTx/>
                  <a:latin typeface="Arial"/>
                  <a:ea typeface="+mn-ea"/>
                  <a:cs typeface="+mn-ea"/>
                  <a:sym typeface="+mn-lt"/>
                </a:endParaRPr>
              </a:p>
            </p:txBody>
          </p:sp>
          <p:sp>
            <p:nvSpPr>
              <p:cNvPr id="39" name="Google Shape;214;p17">
                <a:extLst>
                  <a:ext uri="{FF2B5EF4-FFF2-40B4-BE49-F238E27FC236}">
                    <a16:creationId xmlns:a16="http://schemas.microsoft.com/office/drawing/2014/main" id="{21370042-8C6B-404C-9A02-01AE8CB94691}"/>
                  </a:ext>
                </a:extLst>
              </p:cNvPr>
              <p:cNvSpPr/>
              <p:nvPr/>
            </p:nvSpPr>
            <p:spPr>
              <a:xfrm>
                <a:off x="4456875" y="1691800"/>
                <a:ext cx="225125" cy="225100"/>
              </a:xfrm>
              <a:custGeom>
                <a:avLst/>
                <a:gdLst/>
                <a:ahLst/>
                <a:cxnLst/>
                <a:rect l="l" t="t" r="r" b="b"/>
                <a:pathLst>
                  <a:path w="9005" h="9004" extrusionOk="0">
                    <a:moveTo>
                      <a:pt x="1" y="0"/>
                    </a:moveTo>
                    <a:cubicBezTo>
                      <a:pt x="284" y="4839"/>
                      <a:pt x="4162" y="8721"/>
                      <a:pt x="9004" y="9004"/>
                    </a:cubicBezTo>
                    <a:lnTo>
                      <a:pt x="9004" y="8974"/>
                    </a:lnTo>
                    <a:cubicBezTo>
                      <a:pt x="7273" y="8628"/>
                      <a:pt x="5827" y="6697"/>
                      <a:pt x="5066" y="3942"/>
                    </a:cubicBezTo>
                    <a:cubicBezTo>
                      <a:pt x="2283" y="3180"/>
                      <a:pt x="377" y="1726"/>
                      <a:pt x="31" y="0"/>
                    </a:cubicBezTo>
                    <a:close/>
                  </a:path>
                </a:pathLst>
              </a:custGeom>
              <a:solidFill>
                <a:schemeClr val="accent1">
                  <a:lumMod val="100000"/>
                </a:schemeClr>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435D74"/>
                  </a:solidFill>
                  <a:effectLst/>
                  <a:uLnTx/>
                  <a:uFillTx/>
                  <a:latin typeface="Arial"/>
                  <a:ea typeface="+mn-ea"/>
                  <a:cs typeface="+mn-ea"/>
                  <a:sym typeface="+mn-lt"/>
                </a:endParaRPr>
              </a:p>
            </p:txBody>
          </p:sp>
          <p:sp>
            <p:nvSpPr>
              <p:cNvPr id="40" name="Google Shape;215;p17">
                <a:extLst>
                  <a:ext uri="{FF2B5EF4-FFF2-40B4-BE49-F238E27FC236}">
                    <a16:creationId xmlns:a16="http://schemas.microsoft.com/office/drawing/2014/main" id="{D8A08EF3-6F61-430A-8839-231B2D6D3C7D}"/>
                  </a:ext>
                </a:extLst>
              </p:cNvPr>
              <p:cNvSpPr/>
              <p:nvPr/>
            </p:nvSpPr>
            <p:spPr>
              <a:xfrm>
                <a:off x="4487000" y="1595125"/>
                <a:ext cx="88925" cy="68475"/>
              </a:xfrm>
              <a:custGeom>
                <a:avLst/>
                <a:gdLst/>
                <a:ahLst/>
                <a:cxnLst/>
                <a:rect l="l" t="t" r="r" b="b"/>
                <a:pathLst>
                  <a:path w="3557" h="2739" extrusionOk="0">
                    <a:moveTo>
                      <a:pt x="3397" y="1"/>
                    </a:moveTo>
                    <a:cubicBezTo>
                      <a:pt x="1569" y="636"/>
                      <a:pt x="337" y="1720"/>
                      <a:pt x="0" y="2738"/>
                    </a:cubicBezTo>
                    <a:lnTo>
                      <a:pt x="3313" y="2738"/>
                    </a:lnTo>
                    <a:cubicBezTo>
                      <a:pt x="3337" y="1880"/>
                      <a:pt x="3418" y="913"/>
                      <a:pt x="3556" y="106"/>
                    </a:cubicBezTo>
                    <a:cubicBezTo>
                      <a:pt x="3502" y="73"/>
                      <a:pt x="3448" y="37"/>
                      <a:pt x="3397" y="1"/>
                    </a:cubicBezTo>
                    <a:close/>
                  </a:path>
                </a:pathLst>
              </a:custGeom>
              <a:solidFill>
                <a:schemeClr val="accent1">
                  <a:lumMod val="100000"/>
                </a:schemeClr>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435D74"/>
                  </a:solidFill>
                  <a:effectLst/>
                  <a:uLnTx/>
                  <a:uFillTx/>
                  <a:latin typeface="Arial"/>
                  <a:ea typeface="+mn-ea"/>
                  <a:cs typeface="+mn-ea"/>
                  <a:sym typeface="+mn-lt"/>
                </a:endParaRPr>
              </a:p>
            </p:txBody>
          </p:sp>
          <p:sp>
            <p:nvSpPr>
              <p:cNvPr id="41" name="Google Shape;216;p17">
                <a:extLst>
                  <a:ext uri="{FF2B5EF4-FFF2-40B4-BE49-F238E27FC236}">
                    <a16:creationId xmlns:a16="http://schemas.microsoft.com/office/drawing/2014/main" id="{D09C37A7-1654-453E-938B-7C5B6D8CCDED}"/>
                  </a:ext>
                </a:extLst>
              </p:cNvPr>
              <p:cNvSpPr/>
              <p:nvPr/>
            </p:nvSpPr>
            <p:spPr>
              <a:xfrm>
                <a:off x="4486925" y="1692175"/>
                <a:ext cx="89450" cy="66350"/>
              </a:xfrm>
              <a:custGeom>
                <a:avLst/>
                <a:gdLst/>
                <a:ahLst/>
                <a:cxnLst/>
                <a:rect l="l" t="t" r="r" b="b"/>
                <a:pathLst>
                  <a:path w="3578" h="2654" extrusionOk="0">
                    <a:moveTo>
                      <a:pt x="0" y="0"/>
                    </a:moveTo>
                    <a:cubicBezTo>
                      <a:pt x="352" y="1078"/>
                      <a:pt x="1689" y="2030"/>
                      <a:pt x="3578" y="2653"/>
                    </a:cubicBezTo>
                    <a:cubicBezTo>
                      <a:pt x="3418" y="1777"/>
                      <a:pt x="3325" y="889"/>
                      <a:pt x="3300" y="0"/>
                    </a:cubicBezTo>
                    <a:close/>
                  </a:path>
                </a:pathLst>
              </a:custGeom>
              <a:solidFill>
                <a:schemeClr val="accent1">
                  <a:lumMod val="100000"/>
                </a:schemeClr>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435D74"/>
                  </a:solidFill>
                  <a:effectLst/>
                  <a:uLnTx/>
                  <a:uFillTx/>
                  <a:latin typeface="Arial"/>
                  <a:ea typeface="+mn-ea"/>
                  <a:cs typeface="+mn-ea"/>
                  <a:sym typeface="+mn-lt"/>
                </a:endParaRPr>
              </a:p>
            </p:txBody>
          </p:sp>
          <p:sp>
            <p:nvSpPr>
              <p:cNvPr id="42" name="Google Shape;217;p17">
                <a:extLst>
                  <a:ext uri="{FF2B5EF4-FFF2-40B4-BE49-F238E27FC236}">
                    <a16:creationId xmlns:a16="http://schemas.microsoft.com/office/drawing/2014/main" id="{1FB2F68E-7E53-4068-8686-55564015309F}"/>
                  </a:ext>
                </a:extLst>
              </p:cNvPr>
              <p:cNvSpPr/>
              <p:nvPr/>
            </p:nvSpPr>
            <p:spPr>
              <a:xfrm>
                <a:off x="4456875" y="1435075"/>
                <a:ext cx="225125" cy="228525"/>
              </a:xfrm>
              <a:custGeom>
                <a:avLst/>
                <a:gdLst/>
                <a:ahLst/>
                <a:cxnLst/>
                <a:rect l="l" t="t" r="r" b="b"/>
                <a:pathLst>
                  <a:path w="9005" h="9141" extrusionOk="0">
                    <a:moveTo>
                      <a:pt x="9004" y="1"/>
                    </a:moveTo>
                    <a:cubicBezTo>
                      <a:pt x="4162" y="284"/>
                      <a:pt x="284" y="4298"/>
                      <a:pt x="1" y="9140"/>
                    </a:cubicBezTo>
                    <a:lnTo>
                      <a:pt x="37" y="9140"/>
                    </a:lnTo>
                    <a:cubicBezTo>
                      <a:pt x="329" y="7686"/>
                      <a:pt x="1747" y="6267"/>
                      <a:pt x="3969" y="5433"/>
                    </a:cubicBezTo>
                    <a:cubicBezTo>
                      <a:pt x="3715" y="4375"/>
                      <a:pt x="4516" y="3361"/>
                      <a:pt x="5602" y="3361"/>
                    </a:cubicBezTo>
                    <a:cubicBezTo>
                      <a:pt x="5607" y="3361"/>
                      <a:pt x="5612" y="3361"/>
                      <a:pt x="5617" y="3361"/>
                    </a:cubicBezTo>
                    <a:cubicBezTo>
                      <a:pt x="5638" y="3361"/>
                      <a:pt x="5656" y="3364"/>
                      <a:pt x="5677" y="3367"/>
                    </a:cubicBezTo>
                    <a:cubicBezTo>
                      <a:pt x="6511" y="1476"/>
                      <a:pt x="7688" y="293"/>
                      <a:pt x="9004" y="31"/>
                    </a:cubicBezTo>
                    <a:lnTo>
                      <a:pt x="9004" y="1"/>
                    </a:lnTo>
                    <a:close/>
                  </a:path>
                </a:pathLst>
              </a:custGeom>
              <a:solidFill>
                <a:schemeClr val="accent1">
                  <a:lumMod val="100000"/>
                </a:schemeClr>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435D74"/>
                  </a:solidFill>
                  <a:effectLst/>
                  <a:uLnTx/>
                  <a:uFillTx/>
                  <a:latin typeface="Arial"/>
                  <a:ea typeface="+mn-ea"/>
                  <a:cs typeface="+mn-ea"/>
                  <a:sym typeface="+mn-lt"/>
                </a:endParaRPr>
              </a:p>
            </p:txBody>
          </p:sp>
          <p:sp>
            <p:nvSpPr>
              <p:cNvPr id="43" name="Google Shape;218;p17">
                <a:extLst>
                  <a:ext uri="{FF2B5EF4-FFF2-40B4-BE49-F238E27FC236}">
                    <a16:creationId xmlns:a16="http://schemas.microsoft.com/office/drawing/2014/main" id="{9BED45DB-21FE-4C85-AAC5-0B281004EF12}"/>
                  </a:ext>
                </a:extLst>
              </p:cNvPr>
              <p:cNvSpPr/>
              <p:nvPr/>
            </p:nvSpPr>
            <p:spPr>
              <a:xfrm>
                <a:off x="4710200" y="1691800"/>
                <a:ext cx="228500" cy="225100"/>
              </a:xfrm>
              <a:custGeom>
                <a:avLst/>
                <a:gdLst/>
                <a:ahLst/>
                <a:cxnLst/>
                <a:rect l="l" t="t" r="r" b="b"/>
                <a:pathLst>
                  <a:path w="9140" h="9004" extrusionOk="0">
                    <a:moveTo>
                      <a:pt x="9107" y="0"/>
                    </a:moveTo>
                    <a:cubicBezTo>
                      <a:pt x="8760" y="1726"/>
                      <a:pt x="6857" y="3177"/>
                      <a:pt x="4075" y="3942"/>
                    </a:cubicBezTo>
                    <a:cubicBezTo>
                      <a:pt x="3313" y="6721"/>
                      <a:pt x="1729" y="8628"/>
                      <a:pt x="1" y="8971"/>
                    </a:cubicBezTo>
                    <a:lnTo>
                      <a:pt x="1" y="9004"/>
                    </a:lnTo>
                    <a:cubicBezTo>
                      <a:pt x="4843" y="8721"/>
                      <a:pt x="8854" y="4839"/>
                      <a:pt x="9140" y="0"/>
                    </a:cubicBezTo>
                    <a:close/>
                  </a:path>
                </a:pathLst>
              </a:custGeom>
              <a:solidFill>
                <a:schemeClr val="accent1">
                  <a:lumMod val="100000"/>
                </a:schemeClr>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435D74"/>
                  </a:solidFill>
                  <a:effectLst/>
                  <a:uLnTx/>
                  <a:uFillTx/>
                  <a:latin typeface="Arial"/>
                  <a:ea typeface="+mn-ea"/>
                  <a:cs typeface="+mn-ea"/>
                  <a:sym typeface="+mn-lt"/>
                </a:endParaRPr>
              </a:p>
            </p:txBody>
          </p:sp>
          <p:sp>
            <p:nvSpPr>
              <p:cNvPr id="44" name="Google Shape;219;p17">
                <a:extLst>
                  <a:ext uri="{FF2B5EF4-FFF2-40B4-BE49-F238E27FC236}">
                    <a16:creationId xmlns:a16="http://schemas.microsoft.com/office/drawing/2014/main" id="{A7F34FA9-0E82-4ADE-9BC3-8ECFDAB4E920}"/>
                  </a:ext>
                </a:extLst>
              </p:cNvPr>
              <p:cNvSpPr/>
              <p:nvPr/>
            </p:nvSpPr>
            <p:spPr>
              <a:xfrm>
                <a:off x="4710200" y="1465200"/>
                <a:ext cx="70025" cy="89375"/>
              </a:xfrm>
              <a:custGeom>
                <a:avLst/>
                <a:gdLst/>
                <a:ahLst/>
                <a:cxnLst/>
                <a:rect l="l" t="t" r="r" b="b"/>
                <a:pathLst>
                  <a:path w="2801" h="3575" extrusionOk="0">
                    <a:moveTo>
                      <a:pt x="1" y="0"/>
                    </a:moveTo>
                    <a:lnTo>
                      <a:pt x="1" y="3298"/>
                    </a:lnTo>
                    <a:cubicBezTo>
                      <a:pt x="937" y="3328"/>
                      <a:pt x="1961" y="3421"/>
                      <a:pt x="2801" y="3575"/>
                    </a:cubicBezTo>
                    <a:cubicBezTo>
                      <a:pt x="2181" y="1687"/>
                      <a:pt x="1082" y="350"/>
                      <a:pt x="1" y="0"/>
                    </a:cubicBezTo>
                    <a:close/>
                  </a:path>
                </a:pathLst>
              </a:custGeom>
              <a:solidFill>
                <a:schemeClr val="accent1">
                  <a:lumMod val="100000"/>
                </a:schemeClr>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435D74"/>
                  </a:solidFill>
                  <a:effectLst/>
                  <a:uLnTx/>
                  <a:uFillTx/>
                  <a:latin typeface="Arial"/>
                  <a:ea typeface="+mn-ea"/>
                  <a:cs typeface="+mn-ea"/>
                  <a:sym typeface="+mn-lt"/>
                </a:endParaRPr>
              </a:p>
            </p:txBody>
          </p:sp>
          <p:sp>
            <p:nvSpPr>
              <p:cNvPr id="45" name="Google Shape;220;p17">
                <a:extLst>
                  <a:ext uri="{FF2B5EF4-FFF2-40B4-BE49-F238E27FC236}">
                    <a16:creationId xmlns:a16="http://schemas.microsoft.com/office/drawing/2014/main" id="{D49A36F5-48C2-4E31-845E-9E97969E6BBF}"/>
                  </a:ext>
                </a:extLst>
              </p:cNvPr>
              <p:cNvSpPr/>
              <p:nvPr/>
            </p:nvSpPr>
            <p:spPr>
              <a:xfrm>
                <a:off x="4710200" y="1575850"/>
                <a:ext cx="86150" cy="87750"/>
              </a:xfrm>
              <a:custGeom>
                <a:avLst/>
                <a:gdLst/>
                <a:ahLst/>
                <a:cxnLst/>
                <a:rect l="l" t="t" r="r" b="b"/>
                <a:pathLst>
                  <a:path w="3446" h="3510" extrusionOk="0">
                    <a:moveTo>
                      <a:pt x="1" y="1"/>
                    </a:moveTo>
                    <a:lnTo>
                      <a:pt x="1" y="3509"/>
                    </a:lnTo>
                    <a:lnTo>
                      <a:pt x="2494" y="3509"/>
                    </a:lnTo>
                    <a:cubicBezTo>
                      <a:pt x="2656" y="3054"/>
                      <a:pt x="3003" y="2554"/>
                      <a:pt x="3445" y="2374"/>
                    </a:cubicBezTo>
                    <a:cubicBezTo>
                      <a:pt x="3385" y="1702"/>
                      <a:pt x="3283" y="1034"/>
                      <a:pt x="3135" y="374"/>
                    </a:cubicBezTo>
                    <a:cubicBezTo>
                      <a:pt x="2208" y="167"/>
                      <a:pt x="1063" y="37"/>
                      <a:pt x="1" y="1"/>
                    </a:cubicBezTo>
                    <a:close/>
                  </a:path>
                </a:pathLst>
              </a:custGeom>
              <a:solidFill>
                <a:schemeClr val="accent1">
                  <a:lumMod val="100000"/>
                </a:schemeClr>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435D74"/>
                  </a:solidFill>
                  <a:effectLst/>
                  <a:uLnTx/>
                  <a:uFillTx/>
                  <a:latin typeface="Arial"/>
                  <a:ea typeface="+mn-ea"/>
                  <a:cs typeface="+mn-ea"/>
                  <a:sym typeface="+mn-lt"/>
                </a:endParaRPr>
              </a:p>
            </p:txBody>
          </p:sp>
          <p:sp>
            <p:nvSpPr>
              <p:cNvPr id="46" name="Google Shape;221;p17">
                <a:extLst>
                  <a:ext uri="{FF2B5EF4-FFF2-40B4-BE49-F238E27FC236}">
                    <a16:creationId xmlns:a16="http://schemas.microsoft.com/office/drawing/2014/main" id="{6F51438E-20AD-4D83-BDFE-C327DCF0C0D0}"/>
                  </a:ext>
                </a:extLst>
              </p:cNvPr>
              <p:cNvSpPr/>
              <p:nvPr/>
            </p:nvSpPr>
            <p:spPr>
              <a:xfrm>
                <a:off x="4710200" y="1797500"/>
                <a:ext cx="70025" cy="89375"/>
              </a:xfrm>
              <a:custGeom>
                <a:avLst/>
                <a:gdLst/>
                <a:ahLst/>
                <a:cxnLst/>
                <a:rect l="l" t="t" r="r" b="b"/>
                <a:pathLst>
                  <a:path w="2801" h="3575" extrusionOk="0">
                    <a:moveTo>
                      <a:pt x="2801" y="0"/>
                    </a:moveTo>
                    <a:lnTo>
                      <a:pt x="2801" y="0"/>
                    </a:lnTo>
                    <a:cubicBezTo>
                      <a:pt x="2283" y="93"/>
                      <a:pt x="1609" y="166"/>
                      <a:pt x="1048" y="214"/>
                    </a:cubicBezTo>
                    <a:cubicBezTo>
                      <a:pt x="892" y="726"/>
                      <a:pt x="503" y="1135"/>
                      <a:pt x="1" y="1316"/>
                    </a:cubicBezTo>
                    <a:lnTo>
                      <a:pt x="1" y="3574"/>
                    </a:lnTo>
                    <a:cubicBezTo>
                      <a:pt x="1082" y="3222"/>
                      <a:pt x="2181" y="1885"/>
                      <a:pt x="2801" y="0"/>
                    </a:cubicBezTo>
                    <a:close/>
                  </a:path>
                </a:pathLst>
              </a:custGeom>
              <a:solidFill>
                <a:schemeClr val="accent1">
                  <a:lumMod val="100000"/>
                </a:schemeClr>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435D74"/>
                  </a:solidFill>
                  <a:effectLst/>
                  <a:uLnTx/>
                  <a:uFillTx/>
                  <a:latin typeface="Arial"/>
                  <a:ea typeface="+mn-ea"/>
                  <a:cs typeface="+mn-ea"/>
                  <a:sym typeface="+mn-lt"/>
                </a:endParaRPr>
              </a:p>
            </p:txBody>
          </p:sp>
          <p:sp>
            <p:nvSpPr>
              <p:cNvPr id="47" name="Google Shape;222;p17">
                <a:extLst>
                  <a:ext uri="{FF2B5EF4-FFF2-40B4-BE49-F238E27FC236}">
                    <a16:creationId xmlns:a16="http://schemas.microsoft.com/office/drawing/2014/main" id="{535FCE4E-4F88-4E26-A53C-90DE1B9DCF2A}"/>
                  </a:ext>
                </a:extLst>
              </p:cNvPr>
              <p:cNvSpPr/>
              <p:nvPr/>
            </p:nvSpPr>
            <p:spPr>
              <a:xfrm>
                <a:off x="4681975" y="1776400"/>
                <a:ext cx="28250" cy="28350"/>
              </a:xfrm>
              <a:custGeom>
                <a:avLst/>
                <a:gdLst/>
                <a:ahLst/>
                <a:cxnLst/>
                <a:rect l="l" t="t" r="r" b="b"/>
                <a:pathLst>
                  <a:path w="1130" h="1134" extrusionOk="0">
                    <a:moveTo>
                      <a:pt x="566" y="1"/>
                    </a:moveTo>
                    <a:cubicBezTo>
                      <a:pt x="253" y="1"/>
                      <a:pt x="0" y="251"/>
                      <a:pt x="0" y="564"/>
                    </a:cubicBezTo>
                    <a:lnTo>
                      <a:pt x="0" y="567"/>
                    </a:lnTo>
                    <a:cubicBezTo>
                      <a:pt x="0" y="567"/>
                      <a:pt x="0" y="570"/>
                      <a:pt x="0" y="570"/>
                    </a:cubicBezTo>
                    <a:cubicBezTo>
                      <a:pt x="0" y="880"/>
                      <a:pt x="253" y="1133"/>
                      <a:pt x="566" y="1133"/>
                    </a:cubicBezTo>
                    <a:cubicBezTo>
                      <a:pt x="877" y="1133"/>
                      <a:pt x="1130" y="880"/>
                      <a:pt x="1130" y="570"/>
                    </a:cubicBezTo>
                    <a:cubicBezTo>
                      <a:pt x="1130" y="570"/>
                      <a:pt x="1130" y="567"/>
                      <a:pt x="1130" y="567"/>
                    </a:cubicBezTo>
                    <a:lnTo>
                      <a:pt x="1130" y="564"/>
                    </a:lnTo>
                    <a:cubicBezTo>
                      <a:pt x="1130" y="251"/>
                      <a:pt x="877" y="1"/>
                      <a:pt x="566" y="1"/>
                    </a:cubicBezTo>
                    <a:close/>
                  </a:path>
                </a:pathLst>
              </a:custGeom>
              <a:solidFill>
                <a:schemeClr val="accent1">
                  <a:lumMod val="100000"/>
                </a:schemeClr>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435D74"/>
                  </a:solidFill>
                  <a:effectLst/>
                  <a:uLnTx/>
                  <a:uFillTx/>
                  <a:latin typeface="Arial"/>
                  <a:ea typeface="+mn-ea"/>
                  <a:cs typeface="+mn-ea"/>
                  <a:sym typeface="+mn-lt"/>
                </a:endParaRPr>
              </a:p>
            </p:txBody>
          </p:sp>
          <p:sp>
            <p:nvSpPr>
              <p:cNvPr id="48" name="Google Shape;223;p17">
                <a:extLst>
                  <a:ext uri="{FF2B5EF4-FFF2-40B4-BE49-F238E27FC236}">
                    <a16:creationId xmlns:a16="http://schemas.microsoft.com/office/drawing/2014/main" id="{7D192EED-B055-4528-ACE6-54930A905D9A}"/>
                  </a:ext>
                </a:extLst>
              </p:cNvPr>
              <p:cNvSpPr/>
              <p:nvPr/>
            </p:nvSpPr>
            <p:spPr>
              <a:xfrm>
                <a:off x="4710200" y="1692175"/>
                <a:ext cx="86150" cy="82450"/>
              </a:xfrm>
              <a:custGeom>
                <a:avLst/>
                <a:gdLst/>
                <a:ahLst/>
                <a:cxnLst/>
                <a:rect l="l" t="t" r="r" b="b"/>
                <a:pathLst>
                  <a:path w="3446" h="3298" extrusionOk="0">
                    <a:moveTo>
                      <a:pt x="1" y="0"/>
                    </a:moveTo>
                    <a:lnTo>
                      <a:pt x="1" y="2346"/>
                    </a:lnTo>
                    <a:cubicBezTo>
                      <a:pt x="455" y="2506"/>
                      <a:pt x="820" y="2852"/>
                      <a:pt x="1003" y="3298"/>
                    </a:cubicBezTo>
                    <a:cubicBezTo>
                      <a:pt x="1702" y="3234"/>
                      <a:pt x="2506" y="3129"/>
                      <a:pt x="3135" y="2987"/>
                    </a:cubicBezTo>
                    <a:cubicBezTo>
                      <a:pt x="3283" y="2328"/>
                      <a:pt x="3385" y="1660"/>
                      <a:pt x="3445" y="985"/>
                    </a:cubicBezTo>
                    <a:cubicBezTo>
                      <a:pt x="3003" y="807"/>
                      <a:pt x="2656" y="449"/>
                      <a:pt x="2494" y="0"/>
                    </a:cubicBezTo>
                    <a:close/>
                  </a:path>
                </a:pathLst>
              </a:custGeom>
              <a:solidFill>
                <a:schemeClr val="accent1">
                  <a:lumMod val="100000"/>
                </a:schemeClr>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435D74"/>
                  </a:solidFill>
                  <a:effectLst/>
                  <a:uLnTx/>
                  <a:uFillTx/>
                  <a:latin typeface="Arial"/>
                  <a:ea typeface="+mn-ea"/>
                  <a:cs typeface="+mn-ea"/>
                  <a:sym typeface="+mn-lt"/>
                </a:endParaRPr>
              </a:p>
            </p:txBody>
          </p:sp>
        </p:grpSp>
        <p:sp>
          <p:nvSpPr>
            <p:cNvPr id="22" name="Google Shape;224;p17">
              <a:extLst>
                <a:ext uri="{FF2B5EF4-FFF2-40B4-BE49-F238E27FC236}">
                  <a16:creationId xmlns:a16="http://schemas.microsoft.com/office/drawing/2014/main" id="{246FC44C-5D35-468C-BDA6-CA6933B3F69A}"/>
                </a:ext>
              </a:extLst>
            </p:cNvPr>
            <p:cNvSpPr/>
            <p:nvPr/>
          </p:nvSpPr>
          <p:spPr>
            <a:xfrm>
              <a:off x="3296613" y="2423525"/>
              <a:ext cx="56575" cy="56575"/>
            </a:xfrm>
            <a:custGeom>
              <a:avLst/>
              <a:gdLst/>
              <a:ahLst/>
              <a:cxnLst/>
              <a:rect l="l" t="t" r="r" b="b"/>
              <a:pathLst>
                <a:path w="2263" h="2263" extrusionOk="0">
                  <a:moveTo>
                    <a:pt x="1132" y="0"/>
                  </a:moveTo>
                  <a:cubicBezTo>
                    <a:pt x="501" y="0"/>
                    <a:pt x="0" y="501"/>
                    <a:pt x="0" y="1132"/>
                  </a:cubicBezTo>
                  <a:cubicBezTo>
                    <a:pt x="0" y="1751"/>
                    <a:pt x="501" y="2263"/>
                    <a:pt x="1132" y="2263"/>
                  </a:cubicBezTo>
                  <a:cubicBezTo>
                    <a:pt x="1751" y="2263"/>
                    <a:pt x="2263" y="1751"/>
                    <a:pt x="2263" y="1132"/>
                  </a:cubicBezTo>
                  <a:cubicBezTo>
                    <a:pt x="2263" y="501"/>
                    <a:pt x="1751" y="0"/>
                    <a:pt x="1132" y="0"/>
                  </a:cubicBezTo>
                  <a:close/>
                </a:path>
              </a:pathLst>
            </a:custGeom>
            <a:solidFill>
              <a:schemeClr val="accent1">
                <a:lumMod val="100000"/>
              </a:schemeClr>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23" name="Google Shape;225;p17">
              <a:extLst>
                <a:ext uri="{FF2B5EF4-FFF2-40B4-BE49-F238E27FC236}">
                  <a16:creationId xmlns:a16="http://schemas.microsoft.com/office/drawing/2014/main" id="{7AB5DE87-BE1A-4B4D-9D52-5AA8051884CF}"/>
                </a:ext>
              </a:extLst>
            </p:cNvPr>
            <p:cNvSpPr/>
            <p:nvPr/>
          </p:nvSpPr>
          <p:spPr>
            <a:xfrm>
              <a:off x="3017413" y="1974367"/>
              <a:ext cx="56575" cy="56575"/>
            </a:xfrm>
            <a:custGeom>
              <a:avLst/>
              <a:gdLst/>
              <a:ahLst/>
              <a:cxnLst/>
              <a:rect l="l" t="t" r="r" b="b"/>
              <a:pathLst>
                <a:path w="2263" h="2263" extrusionOk="0">
                  <a:moveTo>
                    <a:pt x="1132" y="0"/>
                  </a:moveTo>
                  <a:cubicBezTo>
                    <a:pt x="513" y="0"/>
                    <a:pt x="1" y="512"/>
                    <a:pt x="1" y="1131"/>
                  </a:cubicBezTo>
                  <a:cubicBezTo>
                    <a:pt x="1" y="1762"/>
                    <a:pt x="513" y="2262"/>
                    <a:pt x="1132" y="2262"/>
                  </a:cubicBezTo>
                  <a:cubicBezTo>
                    <a:pt x="1763" y="2262"/>
                    <a:pt x="2263" y="1762"/>
                    <a:pt x="2263" y="1131"/>
                  </a:cubicBezTo>
                  <a:cubicBezTo>
                    <a:pt x="2263" y="512"/>
                    <a:pt x="1763" y="0"/>
                    <a:pt x="1132" y="0"/>
                  </a:cubicBezTo>
                  <a:close/>
                </a:path>
              </a:pathLst>
            </a:custGeom>
            <a:solidFill>
              <a:schemeClr val="accent1">
                <a:lumMod val="100000"/>
              </a:schemeClr>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24" name="Google Shape;226;p17">
              <a:extLst>
                <a:ext uri="{FF2B5EF4-FFF2-40B4-BE49-F238E27FC236}">
                  <a16:creationId xmlns:a16="http://schemas.microsoft.com/office/drawing/2014/main" id="{955E263B-6F05-43E1-A1E2-5552797047C4}"/>
                </a:ext>
              </a:extLst>
            </p:cNvPr>
            <p:cNvSpPr/>
            <p:nvPr/>
          </p:nvSpPr>
          <p:spPr>
            <a:xfrm rot="10800000" flipH="1">
              <a:off x="3296613" y="3211763"/>
              <a:ext cx="56575" cy="56575"/>
            </a:xfrm>
            <a:custGeom>
              <a:avLst/>
              <a:gdLst/>
              <a:ahLst/>
              <a:cxnLst/>
              <a:rect l="l" t="t" r="r" b="b"/>
              <a:pathLst>
                <a:path w="2263" h="2263" extrusionOk="0">
                  <a:moveTo>
                    <a:pt x="1132" y="0"/>
                  </a:moveTo>
                  <a:cubicBezTo>
                    <a:pt x="501" y="0"/>
                    <a:pt x="0" y="501"/>
                    <a:pt x="0" y="1132"/>
                  </a:cubicBezTo>
                  <a:cubicBezTo>
                    <a:pt x="0" y="1751"/>
                    <a:pt x="501" y="2263"/>
                    <a:pt x="1132" y="2263"/>
                  </a:cubicBezTo>
                  <a:cubicBezTo>
                    <a:pt x="1751" y="2263"/>
                    <a:pt x="2263" y="1751"/>
                    <a:pt x="2263" y="1132"/>
                  </a:cubicBezTo>
                  <a:cubicBezTo>
                    <a:pt x="2263" y="501"/>
                    <a:pt x="1751" y="0"/>
                    <a:pt x="1132" y="0"/>
                  </a:cubicBezTo>
                  <a:close/>
                </a:path>
              </a:pathLst>
            </a:custGeom>
            <a:solidFill>
              <a:schemeClr val="accent1">
                <a:lumMod val="100000"/>
              </a:schemeClr>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25" name="Google Shape;227;p17">
              <a:extLst>
                <a:ext uri="{FF2B5EF4-FFF2-40B4-BE49-F238E27FC236}">
                  <a16:creationId xmlns:a16="http://schemas.microsoft.com/office/drawing/2014/main" id="{E7AEDD75-445D-498F-87D3-9E442D389A43}"/>
                </a:ext>
              </a:extLst>
            </p:cNvPr>
            <p:cNvSpPr/>
            <p:nvPr/>
          </p:nvSpPr>
          <p:spPr>
            <a:xfrm rot="10800000" flipH="1">
              <a:off x="3017413" y="3660921"/>
              <a:ext cx="56575" cy="56575"/>
            </a:xfrm>
            <a:custGeom>
              <a:avLst/>
              <a:gdLst/>
              <a:ahLst/>
              <a:cxnLst/>
              <a:rect l="l" t="t" r="r" b="b"/>
              <a:pathLst>
                <a:path w="2263" h="2263" extrusionOk="0">
                  <a:moveTo>
                    <a:pt x="1132" y="0"/>
                  </a:moveTo>
                  <a:cubicBezTo>
                    <a:pt x="513" y="0"/>
                    <a:pt x="1" y="512"/>
                    <a:pt x="1" y="1131"/>
                  </a:cubicBezTo>
                  <a:cubicBezTo>
                    <a:pt x="1" y="1762"/>
                    <a:pt x="513" y="2262"/>
                    <a:pt x="1132" y="2262"/>
                  </a:cubicBezTo>
                  <a:cubicBezTo>
                    <a:pt x="1763" y="2262"/>
                    <a:pt x="2263" y="1762"/>
                    <a:pt x="2263" y="1131"/>
                  </a:cubicBezTo>
                  <a:cubicBezTo>
                    <a:pt x="2263" y="512"/>
                    <a:pt x="1763" y="0"/>
                    <a:pt x="1132" y="0"/>
                  </a:cubicBezTo>
                  <a:close/>
                </a:path>
              </a:pathLst>
            </a:custGeom>
            <a:solidFill>
              <a:schemeClr val="accent1">
                <a:lumMod val="100000"/>
              </a:schemeClr>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26" name="Google Shape;228;p17">
              <a:extLst>
                <a:ext uri="{FF2B5EF4-FFF2-40B4-BE49-F238E27FC236}">
                  <a16:creationId xmlns:a16="http://schemas.microsoft.com/office/drawing/2014/main" id="{CF102818-A436-4F3A-AC9F-20C7ABB3D1F2}"/>
                </a:ext>
              </a:extLst>
            </p:cNvPr>
            <p:cNvSpPr txBox="1"/>
            <p:nvPr/>
          </p:nvSpPr>
          <p:spPr>
            <a:xfrm>
              <a:off x="2465713" y="2319213"/>
              <a:ext cx="759000" cy="265200"/>
            </a:xfrm>
            <a:prstGeom prst="rect">
              <a:avLst/>
            </a:prstGeom>
            <a:noFill/>
            <a:ln>
              <a:noFill/>
            </a:ln>
          </p:spPr>
          <p:txBody>
            <a:bodyPr spcFirstLastPara="1" wrap="square" lIns="121900" tIns="121900" rIns="121900" bIns="12190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 sz="1467" b="0" i="0" u="none" strike="noStrike" kern="1200" cap="none" spc="0" normalizeH="0" baseline="0" noProof="0">
                  <a:ln>
                    <a:noFill/>
                  </a:ln>
                  <a:solidFill>
                    <a:srgbClr val="434343"/>
                  </a:solidFill>
                  <a:effectLst/>
                  <a:uLnTx/>
                  <a:uFillTx/>
                  <a:latin typeface="Arial"/>
                  <a:ea typeface="+mn-ea"/>
                  <a:cs typeface="+mn-ea"/>
                  <a:sym typeface="+mn-lt"/>
                </a:rPr>
                <a:t>Sun</a:t>
              </a:r>
              <a:endParaRPr kumimoji="0" sz="1467" b="0" i="0" u="none" strike="noStrike" kern="1200" cap="none" spc="0" normalizeH="0" baseline="0" noProof="0">
                <a:ln>
                  <a:noFill/>
                </a:ln>
                <a:solidFill>
                  <a:srgbClr val="434343"/>
                </a:solidFill>
                <a:effectLst/>
                <a:uLnTx/>
                <a:uFillTx/>
                <a:latin typeface="Arial"/>
                <a:ea typeface="+mn-ea"/>
                <a:cs typeface="+mn-ea"/>
                <a:sym typeface="+mn-lt"/>
              </a:endParaRPr>
            </a:p>
          </p:txBody>
        </p:sp>
        <p:sp>
          <p:nvSpPr>
            <p:cNvPr id="27" name="Google Shape;229;p17">
              <a:extLst>
                <a:ext uri="{FF2B5EF4-FFF2-40B4-BE49-F238E27FC236}">
                  <a16:creationId xmlns:a16="http://schemas.microsoft.com/office/drawing/2014/main" id="{2BB008E2-53CF-4E0B-AB96-EC31731220C3}"/>
                </a:ext>
              </a:extLst>
            </p:cNvPr>
            <p:cNvSpPr txBox="1"/>
            <p:nvPr/>
          </p:nvSpPr>
          <p:spPr>
            <a:xfrm>
              <a:off x="2465713" y="3103513"/>
              <a:ext cx="759000" cy="265200"/>
            </a:xfrm>
            <a:prstGeom prst="rect">
              <a:avLst/>
            </a:prstGeom>
            <a:noFill/>
            <a:ln>
              <a:noFill/>
            </a:ln>
          </p:spPr>
          <p:txBody>
            <a:bodyPr spcFirstLastPara="1" wrap="square" lIns="121900" tIns="121900" rIns="121900" bIns="12190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 sz="1467" b="0" i="0" u="none" strike="noStrike" kern="1200" cap="none" spc="0" normalizeH="0" baseline="0" noProof="0">
                  <a:ln>
                    <a:noFill/>
                  </a:ln>
                  <a:solidFill>
                    <a:srgbClr val="434343"/>
                  </a:solidFill>
                  <a:effectLst/>
                  <a:uLnTx/>
                  <a:uFillTx/>
                  <a:latin typeface="Arial"/>
                  <a:ea typeface="+mn-ea"/>
                  <a:cs typeface="+mn-ea"/>
                  <a:sym typeface="+mn-lt"/>
                </a:rPr>
                <a:t>Moon</a:t>
              </a:r>
              <a:endParaRPr kumimoji="0" sz="1467" b="0" i="0" u="none" strike="noStrike" kern="1200" cap="none" spc="0" normalizeH="0" baseline="0" noProof="0">
                <a:ln>
                  <a:noFill/>
                </a:ln>
                <a:solidFill>
                  <a:srgbClr val="434343"/>
                </a:solidFill>
                <a:effectLst/>
                <a:uLnTx/>
                <a:uFillTx/>
                <a:latin typeface="Arial"/>
                <a:ea typeface="+mn-ea"/>
                <a:cs typeface="+mn-ea"/>
                <a:sym typeface="+mn-lt"/>
              </a:endParaRPr>
            </a:p>
          </p:txBody>
        </p:sp>
        <p:sp>
          <p:nvSpPr>
            <p:cNvPr id="28" name="Google Shape;230;p17">
              <a:extLst>
                <a:ext uri="{FF2B5EF4-FFF2-40B4-BE49-F238E27FC236}">
                  <a16:creationId xmlns:a16="http://schemas.microsoft.com/office/drawing/2014/main" id="{D5F75887-D7B6-4966-81BB-3E2B8D1C3A30}"/>
                </a:ext>
              </a:extLst>
            </p:cNvPr>
            <p:cNvSpPr txBox="1"/>
            <p:nvPr/>
          </p:nvSpPr>
          <p:spPr>
            <a:xfrm>
              <a:off x="2182213" y="1881813"/>
              <a:ext cx="759000" cy="265200"/>
            </a:xfrm>
            <a:prstGeom prst="rect">
              <a:avLst/>
            </a:prstGeom>
            <a:noFill/>
            <a:ln>
              <a:noFill/>
            </a:ln>
          </p:spPr>
          <p:txBody>
            <a:bodyPr spcFirstLastPara="1" wrap="square" lIns="121900" tIns="121900" rIns="121900" bIns="12190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 sz="1467" b="0" i="0" u="none" strike="noStrike" kern="1200" cap="none" spc="0" normalizeH="0" baseline="0" noProof="0">
                  <a:ln>
                    <a:noFill/>
                  </a:ln>
                  <a:solidFill>
                    <a:srgbClr val="434343"/>
                  </a:solidFill>
                  <a:effectLst/>
                  <a:uLnTx/>
                  <a:uFillTx/>
                  <a:latin typeface="Arial"/>
                  <a:ea typeface="+mn-ea"/>
                  <a:cs typeface="+mn-ea"/>
                  <a:sym typeface="+mn-lt"/>
                </a:rPr>
                <a:t>Pluto</a:t>
              </a:r>
              <a:endParaRPr kumimoji="0" sz="1467" b="0" i="0" u="none" strike="noStrike" kern="1200" cap="none" spc="0" normalizeH="0" baseline="0" noProof="0">
                <a:ln>
                  <a:noFill/>
                </a:ln>
                <a:solidFill>
                  <a:srgbClr val="434343"/>
                </a:solidFill>
                <a:effectLst/>
                <a:uLnTx/>
                <a:uFillTx/>
                <a:latin typeface="Arial"/>
                <a:ea typeface="+mn-ea"/>
                <a:cs typeface="+mn-ea"/>
                <a:sym typeface="+mn-lt"/>
              </a:endParaRPr>
            </a:p>
          </p:txBody>
        </p:sp>
        <p:sp>
          <p:nvSpPr>
            <p:cNvPr id="29" name="Google Shape;231;p17">
              <a:extLst>
                <a:ext uri="{FF2B5EF4-FFF2-40B4-BE49-F238E27FC236}">
                  <a16:creationId xmlns:a16="http://schemas.microsoft.com/office/drawing/2014/main" id="{678B96F7-E52E-49E5-B7A0-D8C88375DD97}"/>
                </a:ext>
              </a:extLst>
            </p:cNvPr>
            <p:cNvSpPr txBox="1"/>
            <p:nvPr/>
          </p:nvSpPr>
          <p:spPr>
            <a:xfrm>
              <a:off x="2182213" y="3536763"/>
              <a:ext cx="759000" cy="265200"/>
            </a:xfrm>
            <a:prstGeom prst="rect">
              <a:avLst/>
            </a:prstGeom>
            <a:noFill/>
            <a:ln>
              <a:noFill/>
            </a:ln>
          </p:spPr>
          <p:txBody>
            <a:bodyPr spcFirstLastPara="1" wrap="square" lIns="121900" tIns="121900" rIns="121900" bIns="12190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 sz="1467" b="0" i="0" u="none" strike="noStrike" kern="1200" cap="none" spc="0" normalizeH="0" baseline="0" noProof="0">
                  <a:ln>
                    <a:noFill/>
                  </a:ln>
                  <a:solidFill>
                    <a:srgbClr val="434343"/>
                  </a:solidFill>
                  <a:effectLst/>
                  <a:uLnTx/>
                  <a:uFillTx/>
                  <a:latin typeface="Arial"/>
                  <a:ea typeface="+mn-ea"/>
                  <a:cs typeface="+mn-ea"/>
                  <a:sym typeface="+mn-lt"/>
                </a:rPr>
                <a:t>Europa</a:t>
              </a:r>
              <a:endParaRPr kumimoji="0" sz="1467" b="0" i="0" u="none" strike="noStrike" kern="1200" cap="none" spc="0" normalizeH="0" baseline="0" noProof="0">
                <a:ln>
                  <a:noFill/>
                </a:ln>
                <a:solidFill>
                  <a:srgbClr val="434343"/>
                </a:solidFill>
                <a:effectLst/>
                <a:uLnTx/>
                <a:uFillTx/>
                <a:latin typeface="Arial"/>
                <a:ea typeface="+mn-ea"/>
                <a:cs typeface="+mn-ea"/>
                <a:sym typeface="+mn-lt"/>
              </a:endParaRPr>
            </a:p>
          </p:txBody>
        </p:sp>
      </p:grpSp>
      <p:grpSp>
        <p:nvGrpSpPr>
          <p:cNvPr id="49" name="Google Shape;232;p17">
            <a:extLst>
              <a:ext uri="{FF2B5EF4-FFF2-40B4-BE49-F238E27FC236}">
                <a16:creationId xmlns:a16="http://schemas.microsoft.com/office/drawing/2014/main" id="{036E9AA5-5D80-486D-8F76-B6C11533B59E}"/>
              </a:ext>
            </a:extLst>
          </p:cNvPr>
          <p:cNvGrpSpPr/>
          <p:nvPr/>
        </p:nvGrpSpPr>
        <p:grpSpPr>
          <a:xfrm>
            <a:off x="4931951" y="1536790"/>
            <a:ext cx="3137083" cy="3752467"/>
            <a:chOff x="3698963" y="1420875"/>
            <a:chExt cx="2352812" cy="2814350"/>
          </a:xfrm>
        </p:grpSpPr>
        <p:sp>
          <p:nvSpPr>
            <p:cNvPr id="50" name="Google Shape;233;p17">
              <a:extLst>
                <a:ext uri="{FF2B5EF4-FFF2-40B4-BE49-F238E27FC236}">
                  <a16:creationId xmlns:a16="http://schemas.microsoft.com/office/drawing/2014/main" id="{7217D9F8-8489-4776-9715-8F503497F121}"/>
                </a:ext>
              </a:extLst>
            </p:cNvPr>
            <p:cNvSpPr/>
            <p:nvPr/>
          </p:nvSpPr>
          <p:spPr>
            <a:xfrm rot="10800000" flipH="1">
              <a:off x="4557713" y="2857825"/>
              <a:ext cx="567600" cy="1290600"/>
            </a:xfrm>
            <a:custGeom>
              <a:avLst/>
              <a:gdLst/>
              <a:ahLst/>
              <a:cxnLst/>
              <a:rect l="l" t="t" r="r" b="b"/>
              <a:pathLst>
                <a:path w="22704" h="51624" extrusionOk="0">
                  <a:moveTo>
                    <a:pt x="0" y="0"/>
                  </a:moveTo>
                  <a:lnTo>
                    <a:pt x="22704" y="36161"/>
                  </a:lnTo>
                  <a:lnTo>
                    <a:pt x="22704" y="51624"/>
                  </a:lnTo>
                </a:path>
              </a:pathLst>
            </a:custGeom>
            <a:noFill/>
            <a:ln w="9525" cap="flat" cmpd="sng">
              <a:solidFill>
                <a:srgbClr val="434343"/>
              </a:solidFill>
              <a:prstDash val="solid"/>
              <a:round/>
              <a:headEnd type="none" w="med" len="med"/>
              <a:tailEnd type="none" w="med" len="me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51" name="Google Shape;234;p17">
              <a:extLst>
                <a:ext uri="{FF2B5EF4-FFF2-40B4-BE49-F238E27FC236}">
                  <a16:creationId xmlns:a16="http://schemas.microsoft.com/office/drawing/2014/main" id="{E4BDAF86-5A32-441D-84D6-7B2E230C4185}"/>
                </a:ext>
              </a:extLst>
            </p:cNvPr>
            <p:cNvSpPr/>
            <p:nvPr/>
          </p:nvSpPr>
          <p:spPr>
            <a:xfrm>
              <a:off x="4558425" y="1549925"/>
              <a:ext cx="567600" cy="1290600"/>
            </a:xfrm>
            <a:custGeom>
              <a:avLst/>
              <a:gdLst/>
              <a:ahLst/>
              <a:cxnLst/>
              <a:rect l="l" t="t" r="r" b="b"/>
              <a:pathLst>
                <a:path w="22704" h="51624" extrusionOk="0">
                  <a:moveTo>
                    <a:pt x="0" y="0"/>
                  </a:moveTo>
                  <a:lnTo>
                    <a:pt x="22704" y="36161"/>
                  </a:lnTo>
                  <a:lnTo>
                    <a:pt x="22704" y="51624"/>
                  </a:lnTo>
                </a:path>
              </a:pathLst>
            </a:custGeom>
            <a:noFill/>
            <a:ln w="9525" cap="flat" cmpd="sng">
              <a:solidFill>
                <a:srgbClr val="434343"/>
              </a:solidFill>
              <a:prstDash val="solid"/>
              <a:round/>
              <a:headEnd type="none" w="med" len="med"/>
              <a:tailEnd type="none" w="med" len="me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52" name="Google Shape;235;p17">
              <a:extLst>
                <a:ext uri="{FF2B5EF4-FFF2-40B4-BE49-F238E27FC236}">
                  <a16:creationId xmlns:a16="http://schemas.microsoft.com/office/drawing/2014/main" id="{65CE2D4A-AF40-4043-8E25-A6304E6B90E5}"/>
                </a:ext>
              </a:extLst>
            </p:cNvPr>
            <p:cNvSpPr/>
            <p:nvPr/>
          </p:nvSpPr>
          <p:spPr>
            <a:xfrm>
              <a:off x="4184275" y="2709288"/>
              <a:ext cx="1867500" cy="265200"/>
            </a:xfrm>
            <a:prstGeom prst="chevron">
              <a:avLst>
                <a:gd name="adj" fmla="val 50000"/>
              </a:avLst>
            </a:prstGeom>
            <a:solidFill>
              <a:schemeClr val="accent1">
                <a:lumMod val="100000"/>
              </a:schemeClr>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53" name="Google Shape;236;p17">
              <a:extLst>
                <a:ext uri="{FF2B5EF4-FFF2-40B4-BE49-F238E27FC236}">
                  <a16:creationId xmlns:a16="http://schemas.microsoft.com/office/drawing/2014/main" id="{1C6983C0-CDF8-4276-BC70-F48EF8733706}"/>
                </a:ext>
              </a:extLst>
            </p:cNvPr>
            <p:cNvSpPr/>
            <p:nvPr/>
          </p:nvSpPr>
          <p:spPr>
            <a:xfrm>
              <a:off x="4905792" y="2626225"/>
              <a:ext cx="435500" cy="435500"/>
            </a:xfrm>
            <a:custGeom>
              <a:avLst/>
              <a:gdLst/>
              <a:ahLst/>
              <a:cxnLst/>
              <a:rect l="l" t="t" r="r" b="b"/>
              <a:pathLst>
                <a:path w="17420" h="17420" extrusionOk="0">
                  <a:moveTo>
                    <a:pt x="8716" y="1"/>
                  </a:moveTo>
                  <a:cubicBezTo>
                    <a:pt x="3906" y="1"/>
                    <a:pt x="1" y="3894"/>
                    <a:pt x="1" y="8704"/>
                  </a:cubicBezTo>
                  <a:cubicBezTo>
                    <a:pt x="1" y="13514"/>
                    <a:pt x="3906" y="17419"/>
                    <a:pt x="8716" y="17419"/>
                  </a:cubicBezTo>
                  <a:cubicBezTo>
                    <a:pt x="13526" y="17419"/>
                    <a:pt x="17419" y="13514"/>
                    <a:pt x="17419" y="8704"/>
                  </a:cubicBezTo>
                  <a:cubicBezTo>
                    <a:pt x="17419" y="3894"/>
                    <a:pt x="13526" y="1"/>
                    <a:pt x="8716" y="1"/>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54" name="Google Shape;237;p17">
              <a:extLst>
                <a:ext uri="{FF2B5EF4-FFF2-40B4-BE49-F238E27FC236}">
                  <a16:creationId xmlns:a16="http://schemas.microsoft.com/office/drawing/2014/main" id="{8FA6C1BB-2503-42A9-83F8-C467FB39B244}"/>
                </a:ext>
              </a:extLst>
            </p:cNvPr>
            <p:cNvSpPr/>
            <p:nvPr/>
          </p:nvSpPr>
          <p:spPr>
            <a:xfrm>
              <a:off x="4961467" y="2681900"/>
              <a:ext cx="324150" cy="324150"/>
            </a:xfrm>
            <a:custGeom>
              <a:avLst/>
              <a:gdLst/>
              <a:ahLst/>
              <a:cxnLst/>
              <a:rect l="l" t="t" r="r" b="b"/>
              <a:pathLst>
                <a:path w="12966" h="12966" extrusionOk="0">
                  <a:moveTo>
                    <a:pt x="6489" y="0"/>
                  </a:moveTo>
                  <a:cubicBezTo>
                    <a:pt x="2905" y="0"/>
                    <a:pt x="0" y="2905"/>
                    <a:pt x="0" y="6477"/>
                  </a:cubicBezTo>
                  <a:cubicBezTo>
                    <a:pt x="0" y="10061"/>
                    <a:pt x="2905" y="12966"/>
                    <a:pt x="6489" y="12966"/>
                  </a:cubicBezTo>
                  <a:cubicBezTo>
                    <a:pt x="10073" y="12966"/>
                    <a:pt x="12966" y="10061"/>
                    <a:pt x="12966" y="6477"/>
                  </a:cubicBezTo>
                  <a:cubicBezTo>
                    <a:pt x="12966" y="2905"/>
                    <a:pt x="10073" y="0"/>
                    <a:pt x="6489" y="0"/>
                  </a:cubicBezTo>
                  <a:close/>
                </a:path>
              </a:pathLst>
            </a:custGeom>
            <a:solidFill>
              <a:srgbClr val="FFFFFF"/>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grpSp>
          <p:nvGrpSpPr>
            <p:cNvPr id="55" name="Google Shape;238;p17">
              <a:extLst>
                <a:ext uri="{FF2B5EF4-FFF2-40B4-BE49-F238E27FC236}">
                  <a16:creationId xmlns:a16="http://schemas.microsoft.com/office/drawing/2014/main" id="{6C3F0E78-D742-4339-B7F2-0061CBE3AA81}"/>
                </a:ext>
              </a:extLst>
            </p:cNvPr>
            <p:cNvGrpSpPr/>
            <p:nvPr/>
          </p:nvGrpSpPr>
          <p:grpSpPr>
            <a:xfrm>
              <a:off x="5028679" y="2743927"/>
              <a:ext cx="195351" cy="195351"/>
              <a:chOff x="6239925" y="2032450"/>
              <a:chExt cx="472775" cy="472775"/>
            </a:xfrm>
          </p:grpSpPr>
          <p:sp>
            <p:nvSpPr>
              <p:cNvPr id="68" name="Google Shape;239;p17">
                <a:extLst>
                  <a:ext uri="{FF2B5EF4-FFF2-40B4-BE49-F238E27FC236}">
                    <a16:creationId xmlns:a16="http://schemas.microsoft.com/office/drawing/2014/main" id="{B2DB32A4-79A7-485D-B00D-C6AE52F1638D}"/>
                  </a:ext>
                </a:extLst>
              </p:cNvPr>
              <p:cNvSpPr/>
              <p:nvPr/>
            </p:nvSpPr>
            <p:spPr>
              <a:xfrm>
                <a:off x="6239925" y="2032450"/>
                <a:ext cx="472775" cy="472775"/>
              </a:xfrm>
              <a:custGeom>
                <a:avLst/>
                <a:gdLst/>
                <a:ahLst/>
                <a:cxnLst/>
                <a:rect l="l" t="t" r="r" b="b"/>
                <a:pathLst>
                  <a:path w="18911" h="18911" extrusionOk="0">
                    <a:moveTo>
                      <a:pt x="9455" y="2466"/>
                    </a:moveTo>
                    <a:cubicBezTo>
                      <a:pt x="13307" y="2466"/>
                      <a:pt x="16442" y="5601"/>
                      <a:pt x="16442" y="9456"/>
                    </a:cubicBezTo>
                    <a:cubicBezTo>
                      <a:pt x="16442" y="13310"/>
                      <a:pt x="13307" y="16445"/>
                      <a:pt x="9455" y="16445"/>
                    </a:cubicBezTo>
                    <a:cubicBezTo>
                      <a:pt x="5601" y="16445"/>
                      <a:pt x="2466" y="13310"/>
                      <a:pt x="2466" y="9456"/>
                    </a:cubicBezTo>
                    <a:cubicBezTo>
                      <a:pt x="2466" y="5601"/>
                      <a:pt x="5601" y="2466"/>
                      <a:pt x="9455" y="2466"/>
                    </a:cubicBezTo>
                    <a:close/>
                    <a:moveTo>
                      <a:pt x="9455" y="0"/>
                    </a:moveTo>
                    <a:cubicBezTo>
                      <a:pt x="4228" y="0"/>
                      <a:pt x="0" y="4228"/>
                      <a:pt x="0" y="9456"/>
                    </a:cubicBezTo>
                    <a:cubicBezTo>
                      <a:pt x="0" y="14683"/>
                      <a:pt x="4228" y="18911"/>
                      <a:pt x="9455" y="18911"/>
                    </a:cubicBezTo>
                    <a:cubicBezTo>
                      <a:pt x="14680" y="18911"/>
                      <a:pt x="18911" y="14683"/>
                      <a:pt x="18911" y="9456"/>
                    </a:cubicBezTo>
                    <a:cubicBezTo>
                      <a:pt x="18911" y="4231"/>
                      <a:pt x="14680" y="0"/>
                      <a:pt x="9455" y="0"/>
                    </a:cubicBezTo>
                    <a:close/>
                  </a:path>
                </a:pathLst>
              </a:custGeom>
              <a:solidFill>
                <a:schemeClr val="accent1">
                  <a:lumMod val="100000"/>
                </a:schemeClr>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435D74"/>
                  </a:solidFill>
                  <a:effectLst/>
                  <a:uLnTx/>
                  <a:uFillTx/>
                  <a:latin typeface="Arial"/>
                  <a:ea typeface="+mn-ea"/>
                  <a:cs typeface="+mn-ea"/>
                  <a:sym typeface="+mn-lt"/>
                </a:endParaRPr>
              </a:p>
            </p:txBody>
          </p:sp>
          <p:sp>
            <p:nvSpPr>
              <p:cNvPr id="69" name="Google Shape;240;p17">
                <a:extLst>
                  <a:ext uri="{FF2B5EF4-FFF2-40B4-BE49-F238E27FC236}">
                    <a16:creationId xmlns:a16="http://schemas.microsoft.com/office/drawing/2014/main" id="{6ED838D2-83C9-4EF6-829F-1C5B52F68276}"/>
                  </a:ext>
                </a:extLst>
              </p:cNvPr>
              <p:cNvSpPr/>
              <p:nvPr/>
            </p:nvSpPr>
            <p:spPr>
              <a:xfrm>
                <a:off x="6329800" y="2122325"/>
                <a:ext cx="292950" cy="293025"/>
              </a:xfrm>
              <a:custGeom>
                <a:avLst/>
                <a:gdLst/>
                <a:ahLst/>
                <a:cxnLst/>
                <a:rect l="l" t="t" r="r" b="b"/>
                <a:pathLst>
                  <a:path w="11718" h="11721" extrusionOk="0">
                    <a:moveTo>
                      <a:pt x="5860" y="1043"/>
                    </a:moveTo>
                    <a:cubicBezTo>
                      <a:pt x="6171" y="1043"/>
                      <a:pt x="6424" y="1295"/>
                      <a:pt x="6424" y="1609"/>
                    </a:cubicBezTo>
                    <a:lnTo>
                      <a:pt x="6424" y="2542"/>
                    </a:lnTo>
                    <a:cubicBezTo>
                      <a:pt x="7264" y="2792"/>
                      <a:pt x="7839" y="3566"/>
                      <a:pt x="7842" y="4442"/>
                    </a:cubicBezTo>
                    <a:cubicBezTo>
                      <a:pt x="7842" y="4755"/>
                      <a:pt x="7589" y="5008"/>
                      <a:pt x="7276" y="5008"/>
                    </a:cubicBezTo>
                    <a:cubicBezTo>
                      <a:pt x="6966" y="5008"/>
                      <a:pt x="6713" y="4755"/>
                      <a:pt x="6713" y="4442"/>
                    </a:cubicBezTo>
                    <a:cubicBezTo>
                      <a:pt x="6713" y="3929"/>
                      <a:pt x="6292" y="3588"/>
                      <a:pt x="5853" y="3588"/>
                    </a:cubicBezTo>
                    <a:cubicBezTo>
                      <a:pt x="5644" y="3588"/>
                      <a:pt x="5429" y="3666"/>
                      <a:pt x="5255" y="3840"/>
                    </a:cubicBezTo>
                    <a:cubicBezTo>
                      <a:pt x="4719" y="4376"/>
                      <a:pt x="5099" y="5297"/>
                      <a:pt x="5860" y="5297"/>
                    </a:cubicBezTo>
                    <a:cubicBezTo>
                      <a:pt x="5862" y="5297"/>
                      <a:pt x="5865" y="5297"/>
                      <a:pt x="5867" y="5297"/>
                    </a:cubicBezTo>
                    <a:cubicBezTo>
                      <a:pt x="6849" y="5297"/>
                      <a:pt x="7680" y="6019"/>
                      <a:pt x="7821" y="6993"/>
                    </a:cubicBezTo>
                    <a:cubicBezTo>
                      <a:pt x="7962" y="7968"/>
                      <a:pt x="7369" y="8899"/>
                      <a:pt x="6424" y="9179"/>
                    </a:cubicBezTo>
                    <a:lnTo>
                      <a:pt x="6424" y="10115"/>
                    </a:lnTo>
                    <a:cubicBezTo>
                      <a:pt x="6424" y="10426"/>
                      <a:pt x="6171" y="10679"/>
                      <a:pt x="5860" y="10679"/>
                    </a:cubicBezTo>
                    <a:cubicBezTo>
                      <a:pt x="5547" y="10679"/>
                      <a:pt x="5294" y="10426"/>
                      <a:pt x="5294" y="10115"/>
                    </a:cubicBezTo>
                    <a:lnTo>
                      <a:pt x="5294" y="9179"/>
                    </a:lnTo>
                    <a:cubicBezTo>
                      <a:pt x="4454" y="8929"/>
                      <a:pt x="3879" y="8155"/>
                      <a:pt x="3876" y="7279"/>
                    </a:cubicBezTo>
                    <a:cubicBezTo>
                      <a:pt x="3876" y="6966"/>
                      <a:pt x="4129" y="6713"/>
                      <a:pt x="4442" y="6713"/>
                    </a:cubicBezTo>
                    <a:cubicBezTo>
                      <a:pt x="4752" y="6713"/>
                      <a:pt x="5005" y="6966"/>
                      <a:pt x="5005" y="7279"/>
                    </a:cubicBezTo>
                    <a:cubicBezTo>
                      <a:pt x="5005" y="7792"/>
                      <a:pt x="5426" y="8133"/>
                      <a:pt x="5865" y="8133"/>
                    </a:cubicBezTo>
                    <a:cubicBezTo>
                      <a:pt x="6074" y="8133"/>
                      <a:pt x="6288" y="8055"/>
                      <a:pt x="6463" y="7881"/>
                    </a:cubicBezTo>
                    <a:cubicBezTo>
                      <a:pt x="6999" y="7345"/>
                      <a:pt x="6619" y="6427"/>
                      <a:pt x="5860" y="6427"/>
                    </a:cubicBezTo>
                    <a:cubicBezTo>
                      <a:pt x="4873" y="6427"/>
                      <a:pt x="4039" y="5704"/>
                      <a:pt x="3897" y="4728"/>
                    </a:cubicBezTo>
                    <a:cubicBezTo>
                      <a:pt x="3756" y="3753"/>
                      <a:pt x="4349" y="2822"/>
                      <a:pt x="5294" y="2542"/>
                    </a:cubicBezTo>
                    <a:lnTo>
                      <a:pt x="5294" y="1609"/>
                    </a:lnTo>
                    <a:cubicBezTo>
                      <a:pt x="5294" y="1295"/>
                      <a:pt x="5547" y="1043"/>
                      <a:pt x="5860" y="1043"/>
                    </a:cubicBezTo>
                    <a:close/>
                    <a:moveTo>
                      <a:pt x="5860" y="1"/>
                    </a:moveTo>
                    <a:cubicBezTo>
                      <a:pt x="2629" y="1"/>
                      <a:pt x="1" y="2629"/>
                      <a:pt x="1" y="5861"/>
                    </a:cubicBezTo>
                    <a:cubicBezTo>
                      <a:pt x="1" y="9092"/>
                      <a:pt x="2629" y="11720"/>
                      <a:pt x="5860" y="11720"/>
                    </a:cubicBezTo>
                    <a:cubicBezTo>
                      <a:pt x="9088" y="11720"/>
                      <a:pt x="11717" y="9092"/>
                      <a:pt x="11717" y="5861"/>
                    </a:cubicBezTo>
                    <a:cubicBezTo>
                      <a:pt x="11717" y="2629"/>
                      <a:pt x="9088" y="1"/>
                      <a:pt x="5860" y="1"/>
                    </a:cubicBezTo>
                    <a:close/>
                  </a:path>
                </a:pathLst>
              </a:custGeom>
              <a:solidFill>
                <a:schemeClr val="accent1">
                  <a:lumMod val="100000"/>
                </a:schemeClr>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435D74"/>
                  </a:solidFill>
                  <a:effectLst/>
                  <a:uLnTx/>
                  <a:uFillTx/>
                  <a:latin typeface="Arial"/>
                  <a:ea typeface="+mn-ea"/>
                  <a:cs typeface="+mn-ea"/>
                  <a:sym typeface="+mn-lt"/>
                </a:endParaRPr>
              </a:p>
            </p:txBody>
          </p:sp>
        </p:grpSp>
        <p:sp>
          <p:nvSpPr>
            <p:cNvPr id="56" name="Google Shape;241;p17">
              <a:extLst>
                <a:ext uri="{FF2B5EF4-FFF2-40B4-BE49-F238E27FC236}">
                  <a16:creationId xmlns:a16="http://schemas.microsoft.com/office/drawing/2014/main" id="{29575832-A488-48E6-B510-0BE51FFE7C77}"/>
                </a:ext>
              </a:extLst>
            </p:cNvPr>
            <p:cNvSpPr/>
            <p:nvPr/>
          </p:nvSpPr>
          <p:spPr>
            <a:xfrm>
              <a:off x="5092413" y="2423525"/>
              <a:ext cx="56575" cy="56575"/>
            </a:xfrm>
            <a:custGeom>
              <a:avLst/>
              <a:gdLst/>
              <a:ahLst/>
              <a:cxnLst/>
              <a:rect l="l" t="t" r="r" b="b"/>
              <a:pathLst>
                <a:path w="2263" h="2263" extrusionOk="0">
                  <a:moveTo>
                    <a:pt x="1132" y="0"/>
                  </a:moveTo>
                  <a:cubicBezTo>
                    <a:pt x="501" y="0"/>
                    <a:pt x="0" y="501"/>
                    <a:pt x="0" y="1132"/>
                  </a:cubicBezTo>
                  <a:cubicBezTo>
                    <a:pt x="0" y="1751"/>
                    <a:pt x="501" y="2263"/>
                    <a:pt x="1132" y="2263"/>
                  </a:cubicBezTo>
                  <a:cubicBezTo>
                    <a:pt x="1751" y="2263"/>
                    <a:pt x="2263" y="1751"/>
                    <a:pt x="2263" y="1132"/>
                  </a:cubicBezTo>
                  <a:cubicBezTo>
                    <a:pt x="2263" y="501"/>
                    <a:pt x="1751" y="0"/>
                    <a:pt x="1132" y="0"/>
                  </a:cubicBezTo>
                  <a:close/>
                </a:path>
              </a:pathLst>
            </a:custGeom>
            <a:solidFill>
              <a:schemeClr val="accent1">
                <a:lumMod val="100000"/>
              </a:schemeClr>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57" name="Google Shape;242;p17">
              <a:extLst>
                <a:ext uri="{FF2B5EF4-FFF2-40B4-BE49-F238E27FC236}">
                  <a16:creationId xmlns:a16="http://schemas.microsoft.com/office/drawing/2014/main" id="{BB8E72BD-BFFA-4760-AE9C-DC6147A02C27}"/>
                </a:ext>
              </a:extLst>
            </p:cNvPr>
            <p:cNvSpPr/>
            <p:nvPr/>
          </p:nvSpPr>
          <p:spPr>
            <a:xfrm>
              <a:off x="4534163" y="1525208"/>
              <a:ext cx="56575" cy="56575"/>
            </a:xfrm>
            <a:custGeom>
              <a:avLst/>
              <a:gdLst/>
              <a:ahLst/>
              <a:cxnLst/>
              <a:rect l="l" t="t" r="r" b="b"/>
              <a:pathLst>
                <a:path w="2263" h="2263" extrusionOk="0">
                  <a:moveTo>
                    <a:pt x="1132" y="0"/>
                  </a:moveTo>
                  <a:cubicBezTo>
                    <a:pt x="501" y="0"/>
                    <a:pt x="1" y="512"/>
                    <a:pt x="1" y="1131"/>
                  </a:cubicBezTo>
                  <a:cubicBezTo>
                    <a:pt x="1" y="1762"/>
                    <a:pt x="501" y="2262"/>
                    <a:pt x="1132" y="2262"/>
                  </a:cubicBezTo>
                  <a:cubicBezTo>
                    <a:pt x="1751" y="2262"/>
                    <a:pt x="2263" y="1762"/>
                    <a:pt x="2263" y="1131"/>
                  </a:cubicBezTo>
                  <a:cubicBezTo>
                    <a:pt x="2263" y="512"/>
                    <a:pt x="1751" y="0"/>
                    <a:pt x="1132" y="0"/>
                  </a:cubicBezTo>
                  <a:close/>
                </a:path>
              </a:pathLst>
            </a:custGeom>
            <a:solidFill>
              <a:schemeClr val="accent1">
                <a:lumMod val="100000"/>
              </a:schemeClr>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58" name="Google Shape;243;p17">
              <a:extLst>
                <a:ext uri="{FF2B5EF4-FFF2-40B4-BE49-F238E27FC236}">
                  <a16:creationId xmlns:a16="http://schemas.microsoft.com/office/drawing/2014/main" id="{E093FDD3-27F0-4AD0-A750-2C5131BEF9D2}"/>
                </a:ext>
              </a:extLst>
            </p:cNvPr>
            <p:cNvSpPr/>
            <p:nvPr/>
          </p:nvSpPr>
          <p:spPr>
            <a:xfrm>
              <a:off x="4813213" y="1974367"/>
              <a:ext cx="56575" cy="56575"/>
            </a:xfrm>
            <a:custGeom>
              <a:avLst/>
              <a:gdLst/>
              <a:ahLst/>
              <a:cxnLst/>
              <a:rect l="l" t="t" r="r" b="b"/>
              <a:pathLst>
                <a:path w="2263" h="2263" extrusionOk="0">
                  <a:moveTo>
                    <a:pt x="1132" y="0"/>
                  </a:moveTo>
                  <a:cubicBezTo>
                    <a:pt x="513" y="0"/>
                    <a:pt x="1" y="512"/>
                    <a:pt x="1" y="1131"/>
                  </a:cubicBezTo>
                  <a:cubicBezTo>
                    <a:pt x="1" y="1762"/>
                    <a:pt x="513" y="2262"/>
                    <a:pt x="1132" y="2262"/>
                  </a:cubicBezTo>
                  <a:cubicBezTo>
                    <a:pt x="1763" y="2262"/>
                    <a:pt x="2263" y="1762"/>
                    <a:pt x="2263" y="1131"/>
                  </a:cubicBezTo>
                  <a:cubicBezTo>
                    <a:pt x="2263" y="512"/>
                    <a:pt x="1763" y="0"/>
                    <a:pt x="1132" y="0"/>
                  </a:cubicBezTo>
                  <a:close/>
                </a:path>
              </a:pathLst>
            </a:custGeom>
            <a:solidFill>
              <a:schemeClr val="accent1">
                <a:lumMod val="100000"/>
              </a:schemeClr>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59" name="Google Shape;244;p17">
              <a:extLst>
                <a:ext uri="{FF2B5EF4-FFF2-40B4-BE49-F238E27FC236}">
                  <a16:creationId xmlns:a16="http://schemas.microsoft.com/office/drawing/2014/main" id="{9ACC1CD4-8810-4697-8966-CFD50035341F}"/>
                </a:ext>
              </a:extLst>
            </p:cNvPr>
            <p:cNvSpPr/>
            <p:nvPr/>
          </p:nvSpPr>
          <p:spPr>
            <a:xfrm rot="10800000" flipH="1">
              <a:off x="5092413" y="3211763"/>
              <a:ext cx="56575" cy="56575"/>
            </a:xfrm>
            <a:custGeom>
              <a:avLst/>
              <a:gdLst/>
              <a:ahLst/>
              <a:cxnLst/>
              <a:rect l="l" t="t" r="r" b="b"/>
              <a:pathLst>
                <a:path w="2263" h="2263" extrusionOk="0">
                  <a:moveTo>
                    <a:pt x="1132" y="0"/>
                  </a:moveTo>
                  <a:cubicBezTo>
                    <a:pt x="501" y="0"/>
                    <a:pt x="0" y="501"/>
                    <a:pt x="0" y="1132"/>
                  </a:cubicBezTo>
                  <a:cubicBezTo>
                    <a:pt x="0" y="1751"/>
                    <a:pt x="501" y="2263"/>
                    <a:pt x="1132" y="2263"/>
                  </a:cubicBezTo>
                  <a:cubicBezTo>
                    <a:pt x="1751" y="2263"/>
                    <a:pt x="2263" y="1751"/>
                    <a:pt x="2263" y="1132"/>
                  </a:cubicBezTo>
                  <a:cubicBezTo>
                    <a:pt x="2263" y="501"/>
                    <a:pt x="1751" y="0"/>
                    <a:pt x="1132" y="0"/>
                  </a:cubicBezTo>
                  <a:close/>
                </a:path>
              </a:pathLst>
            </a:custGeom>
            <a:solidFill>
              <a:schemeClr val="accent1">
                <a:lumMod val="100000"/>
              </a:schemeClr>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60" name="Google Shape;245;p17">
              <a:extLst>
                <a:ext uri="{FF2B5EF4-FFF2-40B4-BE49-F238E27FC236}">
                  <a16:creationId xmlns:a16="http://schemas.microsoft.com/office/drawing/2014/main" id="{B43069DA-AC52-4BBF-B84F-6FC5D1DBAA82}"/>
                </a:ext>
              </a:extLst>
            </p:cNvPr>
            <p:cNvSpPr/>
            <p:nvPr/>
          </p:nvSpPr>
          <p:spPr>
            <a:xfrm rot="10800000" flipH="1">
              <a:off x="4534163" y="4110079"/>
              <a:ext cx="56575" cy="56575"/>
            </a:xfrm>
            <a:custGeom>
              <a:avLst/>
              <a:gdLst/>
              <a:ahLst/>
              <a:cxnLst/>
              <a:rect l="l" t="t" r="r" b="b"/>
              <a:pathLst>
                <a:path w="2263" h="2263" extrusionOk="0">
                  <a:moveTo>
                    <a:pt x="1132" y="0"/>
                  </a:moveTo>
                  <a:cubicBezTo>
                    <a:pt x="501" y="0"/>
                    <a:pt x="1" y="512"/>
                    <a:pt x="1" y="1131"/>
                  </a:cubicBezTo>
                  <a:cubicBezTo>
                    <a:pt x="1" y="1762"/>
                    <a:pt x="501" y="2262"/>
                    <a:pt x="1132" y="2262"/>
                  </a:cubicBezTo>
                  <a:cubicBezTo>
                    <a:pt x="1751" y="2262"/>
                    <a:pt x="2263" y="1762"/>
                    <a:pt x="2263" y="1131"/>
                  </a:cubicBezTo>
                  <a:cubicBezTo>
                    <a:pt x="2263" y="512"/>
                    <a:pt x="1751" y="0"/>
                    <a:pt x="1132" y="0"/>
                  </a:cubicBezTo>
                  <a:close/>
                </a:path>
              </a:pathLst>
            </a:custGeom>
            <a:solidFill>
              <a:schemeClr val="accent1">
                <a:lumMod val="100000"/>
              </a:schemeClr>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61" name="Google Shape;246;p17">
              <a:extLst>
                <a:ext uri="{FF2B5EF4-FFF2-40B4-BE49-F238E27FC236}">
                  <a16:creationId xmlns:a16="http://schemas.microsoft.com/office/drawing/2014/main" id="{EF7415A1-9FFA-41DB-8198-6C93A84D3FB3}"/>
                </a:ext>
              </a:extLst>
            </p:cNvPr>
            <p:cNvSpPr/>
            <p:nvPr/>
          </p:nvSpPr>
          <p:spPr>
            <a:xfrm rot="10800000" flipH="1">
              <a:off x="4813213" y="3660921"/>
              <a:ext cx="56575" cy="56575"/>
            </a:xfrm>
            <a:custGeom>
              <a:avLst/>
              <a:gdLst/>
              <a:ahLst/>
              <a:cxnLst/>
              <a:rect l="l" t="t" r="r" b="b"/>
              <a:pathLst>
                <a:path w="2263" h="2263" extrusionOk="0">
                  <a:moveTo>
                    <a:pt x="1132" y="0"/>
                  </a:moveTo>
                  <a:cubicBezTo>
                    <a:pt x="513" y="0"/>
                    <a:pt x="1" y="512"/>
                    <a:pt x="1" y="1131"/>
                  </a:cubicBezTo>
                  <a:cubicBezTo>
                    <a:pt x="1" y="1762"/>
                    <a:pt x="513" y="2262"/>
                    <a:pt x="1132" y="2262"/>
                  </a:cubicBezTo>
                  <a:cubicBezTo>
                    <a:pt x="1763" y="2262"/>
                    <a:pt x="2263" y="1762"/>
                    <a:pt x="2263" y="1131"/>
                  </a:cubicBezTo>
                  <a:cubicBezTo>
                    <a:pt x="2263" y="512"/>
                    <a:pt x="1763" y="0"/>
                    <a:pt x="1132" y="0"/>
                  </a:cubicBezTo>
                  <a:close/>
                </a:path>
              </a:pathLst>
            </a:custGeom>
            <a:solidFill>
              <a:schemeClr val="accent1">
                <a:lumMod val="100000"/>
              </a:schemeClr>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62" name="Google Shape;247;p17">
              <a:extLst>
                <a:ext uri="{FF2B5EF4-FFF2-40B4-BE49-F238E27FC236}">
                  <a16:creationId xmlns:a16="http://schemas.microsoft.com/office/drawing/2014/main" id="{2870BBDA-FD0A-4940-8766-9C16B862EDE0}"/>
                </a:ext>
              </a:extLst>
            </p:cNvPr>
            <p:cNvSpPr txBox="1"/>
            <p:nvPr/>
          </p:nvSpPr>
          <p:spPr>
            <a:xfrm>
              <a:off x="4272163" y="2319213"/>
              <a:ext cx="759000" cy="265200"/>
            </a:xfrm>
            <a:prstGeom prst="rect">
              <a:avLst/>
            </a:prstGeom>
            <a:noFill/>
            <a:ln>
              <a:noFill/>
            </a:ln>
          </p:spPr>
          <p:txBody>
            <a:bodyPr spcFirstLastPara="1" wrap="square" lIns="121900" tIns="121900" rIns="121900" bIns="12190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 sz="1467" b="0" i="0" u="none" strike="noStrike" kern="1200" cap="none" spc="0" normalizeH="0" baseline="0" noProof="0">
                  <a:ln>
                    <a:noFill/>
                  </a:ln>
                  <a:solidFill>
                    <a:srgbClr val="434343"/>
                  </a:solidFill>
                  <a:effectLst/>
                  <a:uLnTx/>
                  <a:uFillTx/>
                  <a:latin typeface="Arial"/>
                  <a:ea typeface="+mn-ea"/>
                  <a:cs typeface="+mn-ea"/>
                  <a:sym typeface="+mn-lt"/>
                </a:rPr>
                <a:t>Earth</a:t>
              </a:r>
              <a:endParaRPr kumimoji="0" sz="1467" b="0" i="0" u="none" strike="noStrike" kern="1200" cap="none" spc="0" normalizeH="0" baseline="0" noProof="0">
                <a:ln>
                  <a:noFill/>
                </a:ln>
                <a:solidFill>
                  <a:srgbClr val="434343"/>
                </a:solidFill>
                <a:effectLst/>
                <a:uLnTx/>
                <a:uFillTx/>
                <a:latin typeface="Arial"/>
                <a:ea typeface="+mn-ea"/>
                <a:cs typeface="+mn-ea"/>
                <a:sym typeface="+mn-lt"/>
              </a:endParaRPr>
            </a:p>
          </p:txBody>
        </p:sp>
        <p:sp>
          <p:nvSpPr>
            <p:cNvPr id="63" name="Google Shape;248;p17">
              <a:extLst>
                <a:ext uri="{FF2B5EF4-FFF2-40B4-BE49-F238E27FC236}">
                  <a16:creationId xmlns:a16="http://schemas.microsoft.com/office/drawing/2014/main" id="{BC1E4764-084D-4C9A-9A5B-D15F889AE0F4}"/>
                </a:ext>
              </a:extLst>
            </p:cNvPr>
            <p:cNvSpPr txBox="1"/>
            <p:nvPr/>
          </p:nvSpPr>
          <p:spPr>
            <a:xfrm>
              <a:off x="4272163" y="3103513"/>
              <a:ext cx="759000" cy="265200"/>
            </a:xfrm>
            <a:prstGeom prst="rect">
              <a:avLst/>
            </a:prstGeom>
            <a:noFill/>
            <a:ln>
              <a:noFill/>
            </a:ln>
          </p:spPr>
          <p:txBody>
            <a:bodyPr spcFirstLastPara="1" wrap="square" lIns="121900" tIns="121900" rIns="121900" bIns="12190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 sz="1467" b="0" i="0" u="none" strike="noStrike" kern="1200" cap="none" spc="0" normalizeH="0" baseline="0" noProof="0">
                  <a:ln>
                    <a:noFill/>
                  </a:ln>
                  <a:solidFill>
                    <a:srgbClr val="434343"/>
                  </a:solidFill>
                  <a:effectLst/>
                  <a:uLnTx/>
                  <a:uFillTx/>
                  <a:latin typeface="Arial"/>
                  <a:ea typeface="+mn-ea"/>
                  <a:cs typeface="+mn-ea"/>
                  <a:sym typeface="+mn-lt"/>
                </a:rPr>
                <a:t>Mars</a:t>
              </a:r>
              <a:endParaRPr kumimoji="0" sz="1467" b="0" i="0" u="none" strike="noStrike" kern="1200" cap="none" spc="0" normalizeH="0" baseline="0" noProof="0">
                <a:ln>
                  <a:noFill/>
                </a:ln>
                <a:solidFill>
                  <a:srgbClr val="434343"/>
                </a:solidFill>
                <a:effectLst/>
                <a:uLnTx/>
                <a:uFillTx/>
                <a:latin typeface="Arial"/>
                <a:ea typeface="+mn-ea"/>
                <a:cs typeface="+mn-ea"/>
                <a:sym typeface="+mn-lt"/>
              </a:endParaRPr>
            </a:p>
          </p:txBody>
        </p:sp>
        <p:sp>
          <p:nvSpPr>
            <p:cNvPr id="64" name="Google Shape;249;p17">
              <a:extLst>
                <a:ext uri="{FF2B5EF4-FFF2-40B4-BE49-F238E27FC236}">
                  <a16:creationId xmlns:a16="http://schemas.microsoft.com/office/drawing/2014/main" id="{E26BEBA0-4BA0-4D8B-B49D-026AEF5B4684}"/>
                </a:ext>
              </a:extLst>
            </p:cNvPr>
            <p:cNvSpPr txBox="1"/>
            <p:nvPr/>
          </p:nvSpPr>
          <p:spPr>
            <a:xfrm>
              <a:off x="3988663" y="1881813"/>
              <a:ext cx="759000" cy="265200"/>
            </a:xfrm>
            <a:prstGeom prst="rect">
              <a:avLst/>
            </a:prstGeom>
            <a:noFill/>
            <a:ln>
              <a:noFill/>
            </a:ln>
          </p:spPr>
          <p:txBody>
            <a:bodyPr spcFirstLastPara="1" wrap="square" lIns="121900" tIns="121900" rIns="121900" bIns="12190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 sz="1467" b="0" i="0" u="none" strike="noStrike" kern="1200" cap="none" spc="0" normalizeH="0" baseline="0" noProof="0">
                  <a:ln>
                    <a:noFill/>
                  </a:ln>
                  <a:solidFill>
                    <a:srgbClr val="434343"/>
                  </a:solidFill>
                  <a:effectLst/>
                  <a:uLnTx/>
                  <a:uFillTx/>
                  <a:latin typeface="Arial"/>
                  <a:ea typeface="+mn-ea"/>
                  <a:cs typeface="+mn-ea"/>
                  <a:sym typeface="+mn-lt"/>
                </a:rPr>
                <a:t>Venus</a:t>
              </a:r>
              <a:endParaRPr kumimoji="0" sz="1467" b="0" i="0" u="none" strike="noStrike" kern="1200" cap="none" spc="0" normalizeH="0" baseline="0" noProof="0">
                <a:ln>
                  <a:noFill/>
                </a:ln>
                <a:solidFill>
                  <a:srgbClr val="434343"/>
                </a:solidFill>
                <a:effectLst/>
                <a:uLnTx/>
                <a:uFillTx/>
                <a:latin typeface="Arial"/>
                <a:ea typeface="+mn-ea"/>
                <a:cs typeface="+mn-ea"/>
                <a:sym typeface="+mn-lt"/>
              </a:endParaRPr>
            </a:p>
          </p:txBody>
        </p:sp>
        <p:sp>
          <p:nvSpPr>
            <p:cNvPr id="65" name="Google Shape;250;p17">
              <a:extLst>
                <a:ext uri="{FF2B5EF4-FFF2-40B4-BE49-F238E27FC236}">
                  <a16:creationId xmlns:a16="http://schemas.microsoft.com/office/drawing/2014/main" id="{B79E0DFF-1D7E-4F20-8EB7-5F30EF703E7E}"/>
                </a:ext>
              </a:extLst>
            </p:cNvPr>
            <p:cNvSpPr txBox="1"/>
            <p:nvPr/>
          </p:nvSpPr>
          <p:spPr>
            <a:xfrm>
              <a:off x="3988663" y="3536763"/>
              <a:ext cx="759000" cy="265200"/>
            </a:xfrm>
            <a:prstGeom prst="rect">
              <a:avLst/>
            </a:prstGeom>
            <a:noFill/>
            <a:ln>
              <a:noFill/>
            </a:ln>
          </p:spPr>
          <p:txBody>
            <a:bodyPr spcFirstLastPara="1" wrap="square" lIns="121900" tIns="121900" rIns="121900" bIns="12190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 sz="1467" b="0" i="0" u="none" strike="noStrike" kern="1200" cap="none" spc="0" normalizeH="0" baseline="0" noProof="0">
                  <a:ln>
                    <a:noFill/>
                  </a:ln>
                  <a:solidFill>
                    <a:srgbClr val="434343"/>
                  </a:solidFill>
                  <a:effectLst/>
                  <a:uLnTx/>
                  <a:uFillTx/>
                  <a:latin typeface="Arial"/>
                  <a:ea typeface="+mn-ea"/>
                  <a:cs typeface="+mn-ea"/>
                  <a:sym typeface="+mn-lt"/>
                </a:rPr>
                <a:t>Saturn</a:t>
              </a:r>
              <a:endParaRPr kumimoji="0" sz="1467" b="0" i="0" u="none" strike="noStrike" kern="1200" cap="none" spc="0" normalizeH="0" baseline="0" noProof="0">
                <a:ln>
                  <a:noFill/>
                </a:ln>
                <a:solidFill>
                  <a:srgbClr val="434343"/>
                </a:solidFill>
                <a:effectLst/>
                <a:uLnTx/>
                <a:uFillTx/>
                <a:latin typeface="Arial"/>
                <a:ea typeface="+mn-ea"/>
                <a:cs typeface="+mn-ea"/>
                <a:sym typeface="+mn-lt"/>
              </a:endParaRPr>
            </a:p>
          </p:txBody>
        </p:sp>
        <p:sp>
          <p:nvSpPr>
            <p:cNvPr id="66" name="Google Shape;251;p17">
              <a:extLst>
                <a:ext uri="{FF2B5EF4-FFF2-40B4-BE49-F238E27FC236}">
                  <a16:creationId xmlns:a16="http://schemas.microsoft.com/office/drawing/2014/main" id="{2589E427-C106-4AB7-8D22-1472B8244EDD}"/>
                </a:ext>
              </a:extLst>
            </p:cNvPr>
            <p:cNvSpPr txBox="1"/>
            <p:nvPr/>
          </p:nvSpPr>
          <p:spPr>
            <a:xfrm>
              <a:off x="3698963" y="1420875"/>
              <a:ext cx="759000" cy="265200"/>
            </a:xfrm>
            <a:prstGeom prst="rect">
              <a:avLst/>
            </a:prstGeom>
            <a:noFill/>
            <a:ln>
              <a:noFill/>
            </a:ln>
          </p:spPr>
          <p:txBody>
            <a:bodyPr spcFirstLastPara="1" wrap="square" lIns="121900" tIns="121900" rIns="121900" bIns="12190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 sz="1467" b="0" i="0" u="none" strike="noStrike" kern="1200" cap="none" spc="0" normalizeH="0" baseline="0" noProof="0">
                  <a:ln>
                    <a:noFill/>
                  </a:ln>
                  <a:solidFill>
                    <a:srgbClr val="434343"/>
                  </a:solidFill>
                  <a:effectLst/>
                  <a:uLnTx/>
                  <a:uFillTx/>
                  <a:latin typeface="Arial"/>
                  <a:ea typeface="+mn-ea"/>
                  <a:cs typeface="+mn-ea"/>
                  <a:sym typeface="+mn-lt"/>
                </a:rPr>
                <a:t>Callisto</a:t>
              </a:r>
              <a:endParaRPr kumimoji="0" sz="1467" b="0" i="0" u="none" strike="noStrike" kern="1200" cap="none" spc="0" normalizeH="0" baseline="0" noProof="0">
                <a:ln>
                  <a:noFill/>
                </a:ln>
                <a:solidFill>
                  <a:srgbClr val="434343"/>
                </a:solidFill>
                <a:effectLst/>
                <a:uLnTx/>
                <a:uFillTx/>
                <a:latin typeface="Arial"/>
                <a:ea typeface="+mn-ea"/>
                <a:cs typeface="+mn-ea"/>
                <a:sym typeface="+mn-lt"/>
              </a:endParaRPr>
            </a:p>
          </p:txBody>
        </p:sp>
        <p:sp>
          <p:nvSpPr>
            <p:cNvPr id="67" name="Google Shape;252;p17">
              <a:extLst>
                <a:ext uri="{FF2B5EF4-FFF2-40B4-BE49-F238E27FC236}">
                  <a16:creationId xmlns:a16="http://schemas.microsoft.com/office/drawing/2014/main" id="{E5E4858F-7A9C-4B8D-9B46-8DD095758FDA}"/>
                </a:ext>
              </a:extLst>
            </p:cNvPr>
            <p:cNvSpPr txBox="1"/>
            <p:nvPr/>
          </p:nvSpPr>
          <p:spPr>
            <a:xfrm>
              <a:off x="3698963" y="3970025"/>
              <a:ext cx="759000" cy="265200"/>
            </a:xfrm>
            <a:prstGeom prst="rect">
              <a:avLst/>
            </a:prstGeom>
            <a:noFill/>
            <a:ln>
              <a:noFill/>
            </a:ln>
          </p:spPr>
          <p:txBody>
            <a:bodyPr spcFirstLastPara="1" wrap="square" lIns="121900" tIns="121900" rIns="121900" bIns="12190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 sz="1467" b="0" i="0" u="none" strike="noStrike" kern="1200" cap="none" spc="0" normalizeH="0" baseline="0" noProof="0">
                  <a:ln>
                    <a:noFill/>
                  </a:ln>
                  <a:solidFill>
                    <a:srgbClr val="434343"/>
                  </a:solidFill>
                  <a:effectLst/>
                  <a:uLnTx/>
                  <a:uFillTx/>
                  <a:latin typeface="Arial"/>
                  <a:ea typeface="+mn-ea"/>
                  <a:cs typeface="+mn-ea"/>
                  <a:sym typeface="+mn-lt"/>
                </a:rPr>
                <a:t>Jupiter</a:t>
              </a:r>
              <a:endParaRPr kumimoji="0" sz="1467" b="0" i="0" u="none" strike="noStrike" kern="1200" cap="none" spc="0" normalizeH="0" baseline="0" noProof="0">
                <a:ln>
                  <a:noFill/>
                </a:ln>
                <a:solidFill>
                  <a:srgbClr val="434343"/>
                </a:solidFill>
                <a:effectLst/>
                <a:uLnTx/>
                <a:uFillTx/>
                <a:latin typeface="Arial"/>
                <a:ea typeface="+mn-ea"/>
                <a:cs typeface="+mn-ea"/>
                <a:sym typeface="+mn-lt"/>
              </a:endParaRPr>
            </a:p>
          </p:txBody>
        </p:sp>
      </p:grpSp>
      <p:grpSp>
        <p:nvGrpSpPr>
          <p:cNvPr id="70" name="Google Shape;253;p17">
            <a:extLst>
              <a:ext uri="{FF2B5EF4-FFF2-40B4-BE49-F238E27FC236}">
                <a16:creationId xmlns:a16="http://schemas.microsoft.com/office/drawing/2014/main" id="{A8D6CE0E-E816-4F2A-A5AE-9DBD09259344}"/>
              </a:ext>
            </a:extLst>
          </p:cNvPr>
          <p:cNvGrpSpPr/>
          <p:nvPr/>
        </p:nvGrpSpPr>
        <p:grpSpPr>
          <a:xfrm>
            <a:off x="6968184" y="922191"/>
            <a:ext cx="4181851" cy="5013617"/>
            <a:chOff x="5226138" y="959925"/>
            <a:chExt cx="3136388" cy="3760213"/>
          </a:xfrm>
        </p:grpSpPr>
        <p:sp>
          <p:nvSpPr>
            <p:cNvPr id="71" name="Google Shape;254;p17">
              <a:extLst>
                <a:ext uri="{FF2B5EF4-FFF2-40B4-BE49-F238E27FC236}">
                  <a16:creationId xmlns:a16="http://schemas.microsoft.com/office/drawing/2014/main" id="{AD5BA575-E7F2-4843-9236-C5A9AEB6EB48}"/>
                </a:ext>
              </a:extLst>
            </p:cNvPr>
            <p:cNvSpPr/>
            <p:nvPr/>
          </p:nvSpPr>
          <p:spPr>
            <a:xfrm rot="10800000" flipH="1">
              <a:off x="6091050" y="2850375"/>
              <a:ext cx="840775" cy="1732725"/>
            </a:xfrm>
            <a:custGeom>
              <a:avLst/>
              <a:gdLst/>
              <a:ahLst/>
              <a:cxnLst/>
              <a:rect l="l" t="t" r="r" b="b"/>
              <a:pathLst>
                <a:path w="33631" h="69309" extrusionOk="0">
                  <a:moveTo>
                    <a:pt x="0" y="0"/>
                  </a:moveTo>
                  <a:lnTo>
                    <a:pt x="33631" y="53846"/>
                  </a:lnTo>
                  <a:lnTo>
                    <a:pt x="33631" y="69309"/>
                  </a:lnTo>
                </a:path>
              </a:pathLst>
            </a:custGeom>
            <a:noFill/>
            <a:ln w="9525" cap="flat" cmpd="sng">
              <a:solidFill>
                <a:srgbClr val="434343"/>
              </a:solidFill>
              <a:prstDash val="solid"/>
              <a:round/>
              <a:headEnd type="none" w="med" len="med"/>
              <a:tailEnd type="none" w="med" len="me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72" name="Google Shape;255;p17">
              <a:extLst>
                <a:ext uri="{FF2B5EF4-FFF2-40B4-BE49-F238E27FC236}">
                  <a16:creationId xmlns:a16="http://schemas.microsoft.com/office/drawing/2014/main" id="{89D1759F-40E7-4D50-B150-6B3B988680D6}"/>
                </a:ext>
              </a:extLst>
            </p:cNvPr>
            <p:cNvSpPr/>
            <p:nvPr/>
          </p:nvSpPr>
          <p:spPr>
            <a:xfrm>
              <a:off x="6091050" y="1107800"/>
              <a:ext cx="840775" cy="1732725"/>
            </a:xfrm>
            <a:custGeom>
              <a:avLst/>
              <a:gdLst/>
              <a:ahLst/>
              <a:cxnLst/>
              <a:rect l="l" t="t" r="r" b="b"/>
              <a:pathLst>
                <a:path w="33631" h="69309" extrusionOk="0">
                  <a:moveTo>
                    <a:pt x="0" y="0"/>
                  </a:moveTo>
                  <a:lnTo>
                    <a:pt x="33631" y="53846"/>
                  </a:lnTo>
                  <a:lnTo>
                    <a:pt x="33631" y="69309"/>
                  </a:lnTo>
                </a:path>
              </a:pathLst>
            </a:custGeom>
            <a:noFill/>
            <a:ln w="9525" cap="flat" cmpd="sng">
              <a:solidFill>
                <a:srgbClr val="434343"/>
              </a:solidFill>
              <a:prstDash val="solid"/>
              <a:round/>
              <a:headEnd type="none" w="med" len="med"/>
              <a:tailEnd type="none" w="med" len="me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73" name="Google Shape;256;p17">
              <a:extLst>
                <a:ext uri="{FF2B5EF4-FFF2-40B4-BE49-F238E27FC236}">
                  <a16:creationId xmlns:a16="http://schemas.microsoft.com/office/drawing/2014/main" id="{164DDD45-8292-4E38-B281-788368656629}"/>
                </a:ext>
              </a:extLst>
            </p:cNvPr>
            <p:cNvSpPr/>
            <p:nvPr/>
          </p:nvSpPr>
          <p:spPr>
            <a:xfrm>
              <a:off x="5947525" y="2709288"/>
              <a:ext cx="1833900" cy="265200"/>
            </a:xfrm>
            <a:prstGeom prst="chevron">
              <a:avLst>
                <a:gd name="adj" fmla="val 50000"/>
              </a:avLst>
            </a:prstGeom>
            <a:solidFill>
              <a:schemeClr val="accent1">
                <a:lumMod val="100000"/>
              </a:schemeClr>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74" name="Google Shape;257;p17">
              <a:extLst>
                <a:ext uri="{FF2B5EF4-FFF2-40B4-BE49-F238E27FC236}">
                  <a16:creationId xmlns:a16="http://schemas.microsoft.com/office/drawing/2014/main" id="{E783BD1A-5ADE-4982-B192-370FAB187AA1}"/>
                </a:ext>
              </a:extLst>
            </p:cNvPr>
            <p:cNvSpPr/>
            <p:nvPr/>
          </p:nvSpPr>
          <p:spPr>
            <a:xfrm>
              <a:off x="6896550" y="2629500"/>
              <a:ext cx="1465975" cy="424775"/>
            </a:xfrm>
            <a:custGeom>
              <a:avLst/>
              <a:gdLst/>
              <a:ahLst/>
              <a:cxnLst/>
              <a:rect l="l" t="t" r="r" b="b"/>
              <a:pathLst>
                <a:path w="58639" h="16991" extrusionOk="0">
                  <a:moveTo>
                    <a:pt x="0" y="1"/>
                  </a:moveTo>
                  <a:lnTo>
                    <a:pt x="6787" y="8490"/>
                  </a:lnTo>
                  <a:lnTo>
                    <a:pt x="0" y="16991"/>
                  </a:lnTo>
                  <a:lnTo>
                    <a:pt x="51840" y="16991"/>
                  </a:lnTo>
                  <a:lnTo>
                    <a:pt x="58639" y="8490"/>
                  </a:lnTo>
                  <a:lnTo>
                    <a:pt x="51840" y="1"/>
                  </a:lnTo>
                  <a:close/>
                </a:path>
              </a:pathLst>
            </a:custGeom>
            <a:solidFill>
              <a:schemeClr val="accent1"/>
            </a:solidFill>
            <a:ln>
              <a:noFill/>
            </a:ln>
          </p:spPr>
          <p:txBody>
            <a:bodyPr spcFirstLastPara="1" wrap="square" lIns="121900" tIns="121900" rIns="121900" bIns="1219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2489" b="0" i="0" u="none" strike="noStrike" kern="1200" cap="none" spc="0" normalizeH="0" baseline="0" noProof="0">
                  <a:ln>
                    <a:noFill/>
                  </a:ln>
                  <a:solidFill>
                    <a:srgbClr val="FFFFFF"/>
                  </a:solidFill>
                  <a:effectLst/>
                  <a:uLnTx/>
                  <a:uFillTx/>
                  <a:latin typeface="Arial"/>
                  <a:ea typeface="+mn-ea"/>
                  <a:cs typeface="+mn-ea"/>
                  <a:sym typeface="+mn-lt"/>
                </a:rPr>
                <a:t>Jupiter</a:t>
              </a:r>
              <a:endParaRPr kumimoji="0" sz="2489" b="0" i="0" u="none" strike="noStrike" kern="1200" cap="none" spc="0" normalizeH="0" baseline="0" noProof="0">
                <a:ln>
                  <a:noFill/>
                </a:ln>
                <a:solidFill>
                  <a:srgbClr val="FFFFFF"/>
                </a:solidFill>
                <a:effectLst/>
                <a:uLnTx/>
                <a:uFillTx/>
                <a:latin typeface="Arial"/>
                <a:ea typeface="+mn-ea"/>
                <a:cs typeface="+mn-ea"/>
                <a:sym typeface="+mn-lt"/>
              </a:endParaRPr>
            </a:p>
          </p:txBody>
        </p:sp>
        <p:sp>
          <p:nvSpPr>
            <p:cNvPr id="75" name="Google Shape;258;p17">
              <a:extLst>
                <a:ext uri="{FF2B5EF4-FFF2-40B4-BE49-F238E27FC236}">
                  <a16:creationId xmlns:a16="http://schemas.microsoft.com/office/drawing/2014/main" id="{2B970D51-9EEB-41CF-9647-EBDAFFEC629B}"/>
                </a:ext>
              </a:extLst>
            </p:cNvPr>
            <p:cNvSpPr/>
            <p:nvPr/>
          </p:nvSpPr>
          <p:spPr>
            <a:xfrm>
              <a:off x="6707838" y="2626225"/>
              <a:ext cx="435500" cy="435500"/>
            </a:xfrm>
            <a:custGeom>
              <a:avLst/>
              <a:gdLst/>
              <a:ahLst/>
              <a:cxnLst/>
              <a:rect l="l" t="t" r="r" b="b"/>
              <a:pathLst>
                <a:path w="17420" h="17420" extrusionOk="0">
                  <a:moveTo>
                    <a:pt x="8704" y="1"/>
                  </a:moveTo>
                  <a:cubicBezTo>
                    <a:pt x="3894" y="1"/>
                    <a:pt x="1" y="3894"/>
                    <a:pt x="1" y="8704"/>
                  </a:cubicBezTo>
                  <a:cubicBezTo>
                    <a:pt x="1" y="13514"/>
                    <a:pt x="3894" y="17419"/>
                    <a:pt x="8704" y="17419"/>
                  </a:cubicBezTo>
                  <a:cubicBezTo>
                    <a:pt x="13526" y="17419"/>
                    <a:pt x="17420" y="13514"/>
                    <a:pt x="17420" y="8704"/>
                  </a:cubicBezTo>
                  <a:cubicBezTo>
                    <a:pt x="17420" y="3894"/>
                    <a:pt x="13526" y="1"/>
                    <a:pt x="8704" y="1"/>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76" name="Google Shape;259;p17">
              <a:extLst>
                <a:ext uri="{FF2B5EF4-FFF2-40B4-BE49-F238E27FC236}">
                  <a16:creationId xmlns:a16="http://schemas.microsoft.com/office/drawing/2014/main" id="{71E3EECB-FEB6-46CC-881F-8E49A6ECDAC7}"/>
                </a:ext>
              </a:extLst>
            </p:cNvPr>
            <p:cNvSpPr/>
            <p:nvPr/>
          </p:nvSpPr>
          <p:spPr>
            <a:xfrm>
              <a:off x="6763513" y="2681900"/>
              <a:ext cx="324150" cy="324150"/>
            </a:xfrm>
            <a:custGeom>
              <a:avLst/>
              <a:gdLst/>
              <a:ahLst/>
              <a:cxnLst/>
              <a:rect l="l" t="t" r="r" b="b"/>
              <a:pathLst>
                <a:path w="12966" h="12966" extrusionOk="0">
                  <a:moveTo>
                    <a:pt x="6477" y="0"/>
                  </a:moveTo>
                  <a:cubicBezTo>
                    <a:pt x="2905" y="0"/>
                    <a:pt x="0" y="2905"/>
                    <a:pt x="0" y="6477"/>
                  </a:cubicBezTo>
                  <a:cubicBezTo>
                    <a:pt x="0" y="10061"/>
                    <a:pt x="2905" y="12966"/>
                    <a:pt x="6477" y="12966"/>
                  </a:cubicBezTo>
                  <a:cubicBezTo>
                    <a:pt x="10061" y="12966"/>
                    <a:pt x="12966" y="10061"/>
                    <a:pt x="12966" y="6477"/>
                  </a:cubicBezTo>
                  <a:cubicBezTo>
                    <a:pt x="12966" y="2905"/>
                    <a:pt x="10061" y="0"/>
                    <a:pt x="6477" y="0"/>
                  </a:cubicBezTo>
                  <a:close/>
                </a:path>
              </a:pathLst>
            </a:custGeom>
            <a:solidFill>
              <a:srgbClr val="FFFFFF"/>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grpSp>
          <p:nvGrpSpPr>
            <p:cNvPr id="77" name="Google Shape;260;p17">
              <a:extLst>
                <a:ext uri="{FF2B5EF4-FFF2-40B4-BE49-F238E27FC236}">
                  <a16:creationId xmlns:a16="http://schemas.microsoft.com/office/drawing/2014/main" id="{4C9843F9-5B11-4152-9DFD-B8D45B58D2C9}"/>
                </a:ext>
              </a:extLst>
            </p:cNvPr>
            <p:cNvGrpSpPr/>
            <p:nvPr/>
          </p:nvGrpSpPr>
          <p:grpSpPr>
            <a:xfrm>
              <a:off x="6830860" y="2745493"/>
              <a:ext cx="192739" cy="192210"/>
              <a:chOff x="3270450" y="3213625"/>
              <a:chExt cx="483175" cy="481850"/>
            </a:xfrm>
          </p:grpSpPr>
          <p:sp>
            <p:nvSpPr>
              <p:cNvPr id="94" name="Google Shape;261;p17">
                <a:extLst>
                  <a:ext uri="{FF2B5EF4-FFF2-40B4-BE49-F238E27FC236}">
                    <a16:creationId xmlns:a16="http://schemas.microsoft.com/office/drawing/2014/main" id="{FBC945F0-2254-4D95-AD4D-1E6A630B663D}"/>
                  </a:ext>
                </a:extLst>
              </p:cNvPr>
              <p:cNvSpPr/>
              <p:nvPr/>
            </p:nvSpPr>
            <p:spPr>
              <a:xfrm>
                <a:off x="3392550" y="3335025"/>
                <a:ext cx="239050" cy="239050"/>
              </a:xfrm>
              <a:custGeom>
                <a:avLst/>
                <a:gdLst/>
                <a:ahLst/>
                <a:cxnLst/>
                <a:rect l="l" t="t" r="r" b="b"/>
                <a:pathLst>
                  <a:path w="9562" h="9562" extrusionOk="0">
                    <a:moveTo>
                      <a:pt x="4782" y="1"/>
                    </a:moveTo>
                    <a:cubicBezTo>
                      <a:pt x="2142" y="1"/>
                      <a:pt x="1" y="2139"/>
                      <a:pt x="1" y="4780"/>
                    </a:cubicBezTo>
                    <a:cubicBezTo>
                      <a:pt x="1" y="7421"/>
                      <a:pt x="2142" y="9562"/>
                      <a:pt x="4782" y="9562"/>
                    </a:cubicBezTo>
                    <a:cubicBezTo>
                      <a:pt x="7420" y="9562"/>
                      <a:pt x="9561" y="7421"/>
                      <a:pt x="9561" y="4780"/>
                    </a:cubicBezTo>
                    <a:cubicBezTo>
                      <a:pt x="9561" y="2139"/>
                      <a:pt x="7420" y="1"/>
                      <a:pt x="4782" y="1"/>
                    </a:cubicBezTo>
                    <a:close/>
                  </a:path>
                </a:pathLst>
              </a:custGeom>
              <a:solidFill>
                <a:schemeClr val="accent1">
                  <a:lumMod val="100000"/>
                </a:schemeClr>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435D74"/>
                  </a:solidFill>
                  <a:effectLst/>
                  <a:uLnTx/>
                  <a:uFillTx/>
                  <a:latin typeface="Arial"/>
                  <a:ea typeface="+mn-ea"/>
                  <a:cs typeface="+mn-ea"/>
                  <a:sym typeface="+mn-lt"/>
                </a:endParaRPr>
              </a:p>
            </p:txBody>
          </p:sp>
          <p:sp>
            <p:nvSpPr>
              <p:cNvPr id="95" name="Google Shape;262;p17">
                <a:extLst>
                  <a:ext uri="{FF2B5EF4-FFF2-40B4-BE49-F238E27FC236}">
                    <a16:creationId xmlns:a16="http://schemas.microsoft.com/office/drawing/2014/main" id="{15E60012-D45F-4D96-BB4F-6212FF02AE5A}"/>
                  </a:ext>
                </a:extLst>
              </p:cNvPr>
              <p:cNvSpPr/>
              <p:nvPr/>
            </p:nvSpPr>
            <p:spPr>
              <a:xfrm>
                <a:off x="3270450" y="3213625"/>
                <a:ext cx="483175" cy="481850"/>
              </a:xfrm>
              <a:custGeom>
                <a:avLst/>
                <a:gdLst/>
                <a:ahLst/>
                <a:cxnLst/>
                <a:rect l="l" t="t" r="r" b="b"/>
                <a:pathLst>
                  <a:path w="19327" h="19274" extrusionOk="0">
                    <a:moveTo>
                      <a:pt x="9666" y="3728"/>
                    </a:moveTo>
                    <a:cubicBezTo>
                      <a:pt x="12925" y="3728"/>
                      <a:pt x="15575" y="6378"/>
                      <a:pt x="15575" y="9636"/>
                    </a:cubicBezTo>
                    <a:cubicBezTo>
                      <a:pt x="15575" y="12894"/>
                      <a:pt x="12925" y="15547"/>
                      <a:pt x="9666" y="15547"/>
                    </a:cubicBezTo>
                    <a:cubicBezTo>
                      <a:pt x="6405" y="15547"/>
                      <a:pt x="3755" y="12894"/>
                      <a:pt x="3755" y="9636"/>
                    </a:cubicBezTo>
                    <a:cubicBezTo>
                      <a:pt x="3755" y="6378"/>
                      <a:pt x="6405" y="3728"/>
                      <a:pt x="9666" y="3728"/>
                    </a:cubicBezTo>
                    <a:close/>
                    <a:moveTo>
                      <a:pt x="9665" y="0"/>
                    </a:moveTo>
                    <a:cubicBezTo>
                      <a:pt x="9575" y="0"/>
                      <a:pt x="9484" y="22"/>
                      <a:pt x="9402" y="66"/>
                    </a:cubicBezTo>
                    <a:lnTo>
                      <a:pt x="7532" y="1054"/>
                    </a:lnTo>
                    <a:lnTo>
                      <a:pt x="5418" y="1054"/>
                    </a:lnTo>
                    <a:cubicBezTo>
                      <a:pt x="5231" y="1054"/>
                      <a:pt x="5056" y="1144"/>
                      <a:pt x="4954" y="1301"/>
                    </a:cubicBezTo>
                    <a:lnTo>
                      <a:pt x="3752" y="3053"/>
                    </a:lnTo>
                    <a:lnTo>
                      <a:pt x="1879" y="4041"/>
                    </a:lnTo>
                    <a:cubicBezTo>
                      <a:pt x="1717" y="4128"/>
                      <a:pt x="1605" y="4288"/>
                      <a:pt x="1584" y="4474"/>
                    </a:cubicBezTo>
                    <a:lnTo>
                      <a:pt x="1328" y="6588"/>
                    </a:lnTo>
                    <a:lnTo>
                      <a:pt x="127" y="8341"/>
                    </a:lnTo>
                    <a:cubicBezTo>
                      <a:pt x="24" y="8491"/>
                      <a:pt x="0" y="8687"/>
                      <a:pt x="67" y="8859"/>
                    </a:cubicBezTo>
                    <a:lnTo>
                      <a:pt x="816" y="10852"/>
                    </a:lnTo>
                    <a:lnTo>
                      <a:pt x="560" y="12966"/>
                    </a:lnTo>
                    <a:cubicBezTo>
                      <a:pt x="536" y="13150"/>
                      <a:pt x="606" y="13334"/>
                      <a:pt x="744" y="13457"/>
                    </a:cubicBezTo>
                    <a:lnTo>
                      <a:pt x="2325" y="14869"/>
                    </a:lnTo>
                    <a:lnTo>
                      <a:pt x="3075" y="16860"/>
                    </a:lnTo>
                    <a:cubicBezTo>
                      <a:pt x="3141" y="17034"/>
                      <a:pt x="3289" y="17164"/>
                      <a:pt x="3466" y="17209"/>
                    </a:cubicBezTo>
                    <a:lnTo>
                      <a:pt x="5520" y="17718"/>
                    </a:lnTo>
                    <a:lnTo>
                      <a:pt x="7101" y="19130"/>
                    </a:lnTo>
                    <a:cubicBezTo>
                      <a:pt x="7205" y="19223"/>
                      <a:pt x="7340" y="19273"/>
                      <a:pt x="7477" y="19273"/>
                    </a:cubicBezTo>
                    <a:cubicBezTo>
                      <a:pt x="7523" y="19273"/>
                      <a:pt x="7568" y="19268"/>
                      <a:pt x="7613" y="19257"/>
                    </a:cubicBezTo>
                    <a:lnTo>
                      <a:pt x="9666" y="18745"/>
                    </a:lnTo>
                    <a:lnTo>
                      <a:pt x="11717" y="19254"/>
                    </a:lnTo>
                    <a:cubicBezTo>
                      <a:pt x="11759" y="19266"/>
                      <a:pt x="11807" y="19272"/>
                      <a:pt x="11853" y="19272"/>
                    </a:cubicBezTo>
                    <a:cubicBezTo>
                      <a:pt x="11991" y="19272"/>
                      <a:pt x="12124" y="19221"/>
                      <a:pt x="12229" y="19127"/>
                    </a:cubicBezTo>
                    <a:lnTo>
                      <a:pt x="13810" y="17715"/>
                    </a:lnTo>
                    <a:lnTo>
                      <a:pt x="15861" y="17206"/>
                    </a:lnTo>
                    <a:cubicBezTo>
                      <a:pt x="16041" y="17161"/>
                      <a:pt x="16186" y="17031"/>
                      <a:pt x="16252" y="16857"/>
                    </a:cubicBezTo>
                    <a:lnTo>
                      <a:pt x="17002" y="14866"/>
                    </a:lnTo>
                    <a:lnTo>
                      <a:pt x="18583" y="13454"/>
                    </a:lnTo>
                    <a:cubicBezTo>
                      <a:pt x="18721" y="13331"/>
                      <a:pt x="18791" y="13147"/>
                      <a:pt x="18766" y="12963"/>
                    </a:cubicBezTo>
                    <a:lnTo>
                      <a:pt x="18514" y="10849"/>
                    </a:lnTo>
                    <a:lnTo>
                      <a:pt x="19263" y="8856"/>
                    </a:lnTo>
                    <a:cubicBezTo>
                      <a:pt x="19327" y="8684"/>
                      <a:pt x="19306" y="8491"/>
                      <a:pt x="19200" y="8338"/>
                    </a:cubicBezTo>
                    <a:lnTo>
                      <a:pt x="18002" y="6588"/>
                    </a:lnTo>
                    <a:lnTo>
                      <a:pt x="17746" y="4471"/>
                    </a:lnTo>
                    <a:cubicBezTo>
                      <a:pt x="17725" y="4288"/>
                      <a:pt x="17613" y="4128"/>
                      <a:pt x="17451" y="4041"/>
                    </a:cubicBezTo>
                    <a:lnTo>
                      <a:pt x="15578" y="3050"/>
                    </a:lnTo>
                    <a:lnTo>
                      <a:pt x="14379" y="1298"/>
                    </a:lnTo>
                    <a:cubicBezTo>
                      <a:pt x="14274" y="1144"/>
                      <a:pt x="14099" y="1054"/>
                      <a:pt x="13912" y="1054"/>
                    </a:cubicBezTo>
                    <a:lnTo>
                      <a:pt x="11798" y="1054"/>
                    </a:lnTo>
                    <a:lnTo>
                      <a:pt x="9928" y="66"/>
                    </a:lnTo>
                    <a:cubicBezTo>
                      <a:pt x="9846" y="22"/>
                      <a:pt x="9755" y="0"/>
                      <a:pt x="9665" y="0"/>
                    </a:cubicBezTo>
                    <a:close/>
                  </a:path>
                </a:pathLst>
              </a:custGeom>
              <a:solidFill>
                <a:schemeClr val="accent1">
                  <a:lumMod val="100000"/>
                </a:schemeClr>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435D74"/>
                  </a:solidFill>
                  <a:effectLst/>
                  <a:uLnTx/>
                  <a:uFillTx/>
                  <a:latin typeface="Arial"/>
                  <a:ea typeface="+mn-ea"/>
                  <a:cs typeface="+mn-ea"/>
                  <a:sym typeface="+mn-lt"/>
                </a:endParaRPr>
              </a:p>
            </p:txBody>
          </p:sp>
        </p:grpSp>
        <p:sp>
          <p:nvSpPr>
            <p:cNvPr id="78" name="Google Shape;263;p17">
              <a:extLst>
                <a:ext uri="{FF2B5EF4-FFF2-40B4-BE49-F238E27FC236}">
                  <a16:creationId xmlns:a16="http://schemas.microsoft.com/office/drawing/2014/main" id="{39DED2A7-1748-471C-9632-5FD8B4331F7B}"/>
                </a:ext>
              </a:extLst>
            </p:cNvPr>
            <p:cNvSpPr/>
            <p:nvPr/>
          </p:nvSpPr>
          <p:spPr>
            <a:xfrm>
              <a:off x="6898938" y="2423525"/>
              <a:ext cx="56575" cy="56575"/>
            </a:xfrm>
            <a:custGeom>
              <a:avLst/>
              <a:gdLst/>
              <a:ahLst/>
              <a:cxnLst/>
              <a:rect l="l" t="t" r="r" b="b"/>
              <a:pathLst>
                <a:path w="2263" h="2263" extrusionOk="0">
                  <a:moveTo>
                    <a:pt x="1132" y="0"/>
                  </a:moveTo>
                  <a:cubicBezTo>
                    <a:pt x="501" y="0"/>
                    <a:pt x="0" y="501"/>
                    <a:pt x="0" y="1132"/>
                  </a:cubicBezTo>
                  <a:cubicBezTo>
                    <a:pt x="0" y="1751"/>
                    <a:pt x="501" y="2263"/>
                    <a:pt x="1132" y="2263"/>
                  </a:cubicBezTo>
                  <a:cubicBezTo>
                    <a:pt x="1751" y="2263"/>
                    <a:pt x="2263" y="1751"/>
                    <a:pt x="2263" y="1132"/>
                  </a:cubicBezTo>
                  <a:cubicBezTo>
                    <a:pt x="2263" y="501"/>
                    <a:pt x="1751" y="0"/>
                    <a:pt x="1132" y="0"/>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79" name="Google Shape;264;p17">
              <a:extLst>
                <a:ext uri="{FF2B5EF4-FFF2-40B4-BE49-F238E27FC236}">
                  <a16:creationId xmlns:a16="http://schemas.microsoft.com/office/drawing/2014/main" id="{BF8D8AEF-6C19-4F19-8125-D694AB68A22C}"/>
                </a:ext>
              </a:extLst>
            </p:cNvPr>
            <p:cNvSpPr/>
            <p:nvPr/>
          </p:nvSpPr>
          <p:spPr>
            <a:xfrm>
              <a:off x="6340688" y="1525208"/>
              <a:ext cx="56575" cy="56575"/>
            </a:xfrm>
            <a:custGeom>
              <a:avLst/>
              <a:gdLst/>
              <a:ahLst/>
              <a:cxnLst/>
              <a:rect l="l" t="t" r="r" b="b"/>
              <a:pathLst>
                <a:path w="2263" h="2263" extrusionOk="0">
                  <a:moveTo>
                    <a:pt x="1132" y="0"/>
                  </a:moveTo>
                  <a:cubicBezTo>
                    <a:pt x="501" y="0"/>
                    <a:pt x="1" y="512"/>
                    <a:pt x="1" y="1131"/>
                  </a:cubicBezTo>
                  <a:cubicBezTo>
                    <a:pt x="1" y="1762"/>
                    <a:pt x="501" y="2262"/>
                    <a:pt x="1132" y="2262"/>
                  </a:cubicBezTo>
                  <a:cubicBezTo>
                    <a:pt x="1751" y="2262"/>
                    <a:pt x="2263" y="1762"/>
                    <a:pt x="2263" y="1131"/>
                  </a:cubicBezTo>
                  <a:cubicBezTo>
                    <a:pt x="2263" y="512"/>
                    <a:pt x="1751" y="0"/>
                    <a:pt x="1132" y="0"/>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80" name="Google Shape;265;p17">
              <a:extLst>
                <a:ext uri="{FF2B5EF4-FFF2-40B4-BE49-F238E27FC236}">
                  <a16:creationId xmlns:a16="http://schemas.microsoft.com/office/drawing/2014/main" id="{54131AC4-3ED0-483A-9B04-9B4A2F61E635}"/>
                </a:ext>
              </a:extLst>
            </p:cNvPr>
            <p:cNvSpPr/>
            <p:nvPr/>
          </p:nvSpPr>
          <p:spPr>
            <a:xfrm>
              <a:off x="6619738" y="1974367"/>
              <a:ext cx="56575" cy="56575"/>
            </a:xfrm>
            <a:custGeom>
              <a:avLst/>
              <a:gdLst/>
              <a:ahLst/>
              <a:cxnLst/>
              <a:rect l="l" t="t" r="r" b="b"/>
              <a:pathLst>
                <a:path w="2263" h="2263" extrusionOk="0">
                  <a:moveTo>
                    <a:pt x="1132" y="0"/>
                  </a:moveTo>
                  <a:cubicBezTo>
                    <a:pt x="513" y="0"/>
                    <a:pt x="1" y="512"/>
                    <a:pt x="1" y="1131"/>
                  </a:cubicBezTo>
                  <a:cubicBezTo>
                    <a:pt x="1" y="1762"/>
                    <a:pt x="513" y="2262"/>
                    <a:pt x="1132" y="2262"/>
                  </a:cubicBezTo>
                  <a:cubicBezTo>
                    <a:pt x="1763" y="2262"/>
                    <a:pt x="2263" y="1762"/>
                    <a:pt x="2263" y="1131"/>
                  </a:cubicBezTo>
                  <a:cubicBezTo>
                    <a:pt x="2263" y="512"/>
                    <a:pt x="1763" y="0"/>
                    <a:pt x="1132" y="0"/>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81" name="Google Shape;266;p17">
              <a:extLst>
                <a:ext uri="{FF2B5EF4-FFF2-40B4-BE49-F238E27FC236}">
                  <a16:creationId xmlns:a16="http://schemas.microsoft.com/office/drawing/2014/main" id="{1D42E88E-B3D5-48F3-8780-9B1978CB92EC}"/>
                </a:ext>
              </a:extLst>
            </p:cNvPr>
            <p:cNvSpPr/>
            <p:nvPr/>
          </p:nvSpPr>
          <p:spPr>
            <a:xfrm>
              <a:off x="6059838" y="1076050"/>
              <a:ext cx="56575" cy="56575"/>
            </a:xfrm>
            <a:custGeom>
              <a:avLst/>
              <a:gdLst/>
              <a:ahLst/>
              <a:cxnLst/>
              <a:rect l="l" t="t" r="r" b="b"/>
              <a:pathLst>
                <a:path w="2263" h="2263" extrusionOk="0">
                  <a:moveTo>
                    <a:pt x="1132" y="0"/>
                  </a:moveTo>
                  <a:cubicBezTo>
                    <a:pt x="501" y="0"/>
                    <a:pt x="1" y="512"/>
                    <a:pt x="1" y="1131"/>
                  </a:cubicBezTo>
                  <a:cubicBezTo>
                    <a:pt x="1" y="1762"/>
                    <a:pt x="501" y="2262"/>
                    <a:pt x="1132" y="2262"/>
                  </a:cubicBezTo>
                  <a:cubicBezTo>
                    <a:pt x="1751" y="2262"/>
                    <a:pt x="2263" y="1762"/>
                    <a:pt x="2263" y="1131"/>
                  </a:cubicBezTo>
                  <a:cubicBezTo>
                    <a:pt x="2263" y="512"/>
                    <a:pt x="1751" y="0"/>
                    <a:pt x="1132" y="0"/>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82" name="Google Shape;267;p17">
              <a:extLst>
                <a:ext uri="{FF2B5EF4-FFF2-40B4-BE49-F238E27FC236}">
                  <a16:creationId xmlns:a16="http://schemas.microsoft.com/office/drawing/2014/main" id="{C0514616-322F-4B3D-BCBF-10D738E05877}"/>
                </a:ext>
              </a:extLst>
            </p:cNvPr>
            <p:cNvSpPr/>
            <p:nvPr/>
          </p:nvSpPr>
          <p:spPr>
            <a:xfrm rot="10800000" flipH="1">
              <a:off x="6898938" y="3211763"/>
              <a:ext cx="56575" cy="56575"/>
            </a:xfrm>
            <a:custGeom>
              <a:avLst/>
              <a:gdLst/>
              <a:ahLst/>
              <a:cxnLst/>
              <a:rect l="l" t="t" r="r" b="b"/>
              <a:pathLst>
                <a:path w="2263" h="2263" extrusionOk="0">
                  <a:moveTo>
                    <a:pt x="1132" y="0"/>
                  </a:moveTo>
                  <a:cubicBezTo>
                    <a:pt x="501" y="0"/>
                    <a:pt x="0" y="501"/>
                    <a:pt x="0" y="1132"/>
                  </a:cubicBezTo>
                  <a:cubicBezTo>
                    <a:pt x="0" y="1751"/>
                    <a:pt x="501" y="2263"/>
                    <a:pt x="1132" y="2263"/>
                  </a:cubicBezTo>
                  <a:cubicBezTo>
                    <a:pt x="1751" y="2263"/>
                    <a:pt x="2263" y="1751"/>
                    <a:pt x="2263" y="1132"/>
                  </a:cubicBezTo>
                  <a:cubicBezTo>
                    <a:pt x="2263" y="501"/>
                    <a:pt x="1751" y="0"/>
                    <a:pt x="1132" y="0"/>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83" name="Google Shape;268;p17">
              <a:extLst>
                <a:ext uri="{FF2B5EF4-FFF2-40B4-BE49-F238E27FC236}">
                  <a16:creationId xmlns:a16="http://schemas.microsoft.com/office/drawing/2014/main" id="{741D0284-0907-4F69-A01B-E48303853508}"/>
                </a:ext>
              </a:extLst>
            </p:cNvPr>
            <p:cNvSpPr/>
            <p:nvPr/>
          </p:nvSpPr>
          <p:spPr>
            <a:xfrm rot="10800000" flipH="1">
              <a:off x="6340688" y="4110079"/>
              <a:ext cx="56575" cy="56575"/>
            </a:xfrm>
            <a:custGeom>
              <a:avLst/>
              <a:gdLst/>
              <a:ahLst/>
              <a:cxnLst/>
              <a:rect l="l" t="t" r="r" b="b"/>
              <a:pathLst>
                <a:path w="2263" h="2263" extrusionOk="0">
                  <a:moveTo>
                    <a:pt x="1132" y="0"/>
                  </a:moveTo>
                  <a:cubicBezTo>
                    <a:pt x="501" y="0"/>
                    <a:pt x="1" y="512"/>
                    <a:pt x="1" y="1131"/>
                  </a:cubicBezTo>
                  <a:cubicBezTo>
                    <a:pt x="1" y="1762"/>
                    <a:pt x="501" y="2262"/>
                    <a:pt x="1132" y="2262"/>
                  </a:cubicBezTo>
                  <a:cubicBezTo>
                    <a:pt x="1751" y="2262"/>
                    <a:pt x="2263" y="1762"/>
                    <a:pt x="2263" y="1131"/>
                  </a:cubicBezTo>
                  <a:cubicBezTo>
                    <a:pt x="2263" y="512"/>
                    <a:pt x="1751" y="0"/>
                    <a:pt x="1132" y="0"/>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84" name="Google Shape;269;p17">
              <a:extLst>
                <a:ext uri="{FF2B5EF4-FFF2-40B4-BE49-F238E27FC236}">
                  <a16:creationId xmlns:a16="http://schemas.microsoft.com/office/drawing/2014/main" id="{0AA210A7-CC60-4E81-85CE-67CCABBA8C91}"/>
                </a:ext>
              </a:extLst>
            </p:cNvPr>
            <p:cNvSpPr/>
            <p:nvPr/>
          </p:nvSpPr>
          <p:spPr>
            <a:xfrm rot="10800000" flipH="1">
              <a:off x="6619738" y="3660921"/>
              <a:ext cx="56575" cy="56575"/>
            </a:xfrm>
            <a:custGeom>
              <a:avLst/>
              <a:gdLst/>
              <a:ahLst/>
              <a:cxnLst/>
              <a:rect l="l" t="t" r="r" b="b"/>
              <a:pathLst>
                <a:path w="2263" h="2263" extrusionOk="0">
                  <a:moveTo>
                    <a:pt x="1132" y="0"/>
                  </a:moveTo>
                  <a:cubicBezTo>
                    <a:pt x="513" y="0"/>
                    <a:pt x="1" y="512"/>
                    <a:pt x="1" y="1131"/>
                  </a:cubicBezTo>
                  <a:cubicBezTo>
                    <a:pt x="1" y="1762"/>
                    <a:pt x="513" y="2262"/>
                    <a:pt x="1132" y="2262"/>
                  </a:cubicBezTo>
                  <a:cubicBezTo>
                    <a:pt x="1763" y="2262"/>
                    <a:pt x="2263" y="1762"/>
                    <a:pt x="2263" y="1131"/>
                  </a:cubicBezTo>
                  <a:cubicBezTo>
                    <a:pt x="2263" y="512"/>
                    <a:pt x="1763" y="0"/>
                    <a:pt x="1132" y="0"/>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85" name="Google Shape;270;p17">
              <a:extLst>
                <a:ext uri="{FF2B5EF4-FFF2-40B4-BE49-F238E27FC236}">
                  <a16:creationId xmlns:a16="http://schemas.microsoft.com/office/drawing/2014/main" id="{B73FEFDA-F655-4F99-B59B-BC62FED3EFEE}"/>
                </a:ext>
              </a:extLst>
            </p:cNvPr>
            <p:cNvSpPr/>
            <p:nvPr/>
          </p:nvSpPr>
          <p:spPr>
            <a:xfrm rot="10800000" flipH="1">
              <a:off x="6059838" y="4559238"/>
              <a:ext cx="56575" cy="56575"/>
            </a:xfrm>
            <a:custGeom>
              <a:avLst/>
              <a:gdLst/>
              <a:ahLst/>
              <a:cxnLst/>
              <a:rect l="l" t="t" r="r" b="b"/>
              <a:pathLst>
                <a:path w="2263" h="2263" extrusionOk="0">
                  <a:moveTo>
                    <a:pt x="1132" y="0"/>
                  </a:moveTo>
                  <a:cubicBezTo>
                    <a:pt x="501" y="0"/>
                    <a:pt x="1" y="512"/>
                    <a:pt x="1" y="1131"/>
                  </a:cubicBezTo>
                  <a:cubicBezTo>
                    <a:pt x="1" y="1762"/>
                    <a:pt x="501" y="2262"/>
                    <a:pt x="1132" y="2262"/>
                  </a:cubicBezTo>
                  <a:cubicBezTo>
                    <a:pt x="1751" y="2262"/>
                    <a:pt x="2263" y="1762"/>
                    <a:pt x="2263" y="1131"/>
                  </a:cubicBezTo>
                  <a:cubicBezTo>
                    <a:pt x="2263" y="512"/>
                    <a:pt x="1751" y="0"/>
                    <a:pt x="1132" y="0"/>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86" name="Google Shape;271;p17">
              <a:extLst>
                <a:ext uri="{FF2B5EF4-FFF2-40B4-BE49-F238E27FC236}">
                  <a16:creationId xmlns:a16="http://schemas.microsoft.com/office/drawing/2014/main" id="{8878D9AB-3ADE-4D8C-A6BC-12903998A816}"/>
                </a:ext>
              </a:extLst>
            </p:cNvPr>
            <p:cNvSpPr txBox="1"/>
            <p:nvPr/>
          </p:nvSpPr>
          <p:spPr>
            <a:xfrm>
              <a:off x="6061338" y="2319213"/>
              <a:ext cx="759000" cy="265200"/>
            </a:xfrm>
            <a:prstGeom prst="rect">
              <a:avLst/>
            </a:prstGeom>
            <a:noFill/>
            <a:ln>
              <a:noFill/>
            </a:ln>
          </p:spPr>
          <p:txBody>
            <a:bodyPr spcFirstLastPara="1" wrap="square" lIns="121900" tIns="121900" rIns="121900" bIns="12190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 sz="1467" b="0" i="0" u="none" strike="noStrike" kern="1200" cap="none" spc="0" normalizeH="0" baseline="0" noProof="0">
                  <a:ln>
                    <a:noFill/>
                  </a:ln>
                  <a:solidFill>
                    <a:srgbClr val="434343"/>
                  </a:solidFill>
                  <a:effectLst/>
                  <a:uLnTx/>
                  <a:uFillTx/>
                  <a:latin typeface="Arial"/>
                  <a:ea typeface="+mn-ea"/>
                  <a:cs typeface="+mn-ea"/>
                  <a:sym typeface="+mn-lt"/>
                </a:rPr>
                <a:t>Lysithea</a:t>
              </a:r>
              <a:endParaRPr kumimoji="0" sz="1467" b="0" i="0" u="none" strike="noStrike" kern="1200" cap="none" spc="0" normalizeH="0" baseline="0" noProof="0">
                <a:ln>
                  <a:noFill/>
                </a:ln>
                <a:solidFill>
                  <a:srgbClr val="434343"/>
                </a:solidFill>
                <a:effectLst/>
                <a:uLnTx/>
                <a:uFillTx/>
                <a:latin typeface="Arial"/>
                <a:ea typeface="+mn-ea"/>
                <a:cs typeface="+mn-ea"/>
                <a:sym typeface="+mn-lt"/>
              </a:endParaRPr>
            </a:p>
          </p:txBody>
        </p:sp>
        <p:sp>
          <p:nvSpPr>
            <p:cNvPr id="87" name="Google Shape;272;p17">
              <a:extLst>
                <a:ext uri="{FF2B5EF4-FFF2-40B4-BE49-F238E27FC236}">
                  <a16:creationId xmlns:a16="http://schemas.microsoft.com/office/drawing/2014/main" id="{299ED4DA-9AD6-43B9-9A6D-AC46215E1039}"/>
                </a:ext>
              </a:extLst>
            </p:cNvPr>
            <p:cNvSpPr txBox="1"/>
            <p:nvPr/>
          </p:nvSpPr>
          <p:spPr>
            <a:xfrm>
              <a:off x="6061338" y="3103513"/>
              <a:ext cx="759000" cy="265200"/>
            </a:xfrm>
            <a:prstGeom prst="rect">
              <a:avLst/>
            </a:prstGeom>
            <a:noFill/>
            <a:ln>
              <a:noFill/>
            </a:ln>
          </p:spPr>
          <p:txBody>
            <a:bodyPr spcFirstLastPara="1" wrap="square" lIns="121900" tIns="121900" rIns="121900" bIns="12190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 sz="1467" b="0" i="0" u="none" strike="noStrike" kern="1200" cap="none" spc="0" normalizeH="0" baseline="0" noProof="0">
                  <a:ln>
                    <a:noFill/>
                  </a:ln>
                  <a:solidFill>
                    <a:srgbClr val="434343"/>
                  </a:solidFill>
                  <a:effectLst/>
                  <a:uLnTx/>
                  <a:uFillTx/>
                  <a:latin typeface="Arial"/>
                  <a:ea typeface="+mn-ea"/>
                  <a:cs typeface="+mn-ea"/>
                  <a:sym typeface="+mn-lt"/>
                </a:rPr>
                <a:t>Leda</a:t>
              </a:r>
              <a:endParaRPr kumimoji="0" sz="1467" b="0" i="0" u="none" strike="noStrike" kern="1200" cap="none" spc="0" normalizeH="0" baseline="0" noProof="0">
                <a:ln>
                  <a:noFill/>
                </a:ln>
                <a:solidFill>
                  <a:srgbClr val="434343"/>
                </a:solidFill>
                <a:effectLst/>
                <a:uLnTx/>
                <a:uFillTx/>
                <a:latin typeface="Arial"/>
                <a:ea typeface="+mn-ea"/>
                <a:cs typeface="+mn-ea"/>
                <a:sym typeface="+mn-lt"/>
              </a:endParaRPr>
            </a:p>
          </p:txBody>
        </p:sp>
        <p:sp>
          <p:nvSpPr>
            <p:cNvPr id="88" name="Google Shape;273;p17">
              <a:extLst>
                <a:ext uri="{FF2B5EF4-FFF2-40B4-BE49-F238E27FC236}">
                  <a16:creationId xmlns:a16="http://schemas.microsoft.com/office/drawing/2014/main" id="{42EB72D6-4815-4164-984F-4AC582695C26}"/>
                </a:ext>
              </a:extLst>
            </p:cNvPr>
            <p:cNvSpPr txBox="1"/>
            <p:nvPr/>
          </p:nvSpPr>
          <p:spPr>
            <a:xfrm>
              <a:off x="5777838" y="1881813"/>
              <a:ext cx="759000" cy="265200"/>
            </a:xfrm>
            <a:prstGeom prst="rect">
              <a:avLst/>
            </a:prstGeom>
            <a:noFill/>
            <a:ln>
              <a:noFill/>
            </a:ln>
          </p:spPr>
          <p:txBody>
            <a:bodyPr spcFirstLastPara="1" wrap="square" lIns="121900" tIns="121900" rIns="121900" bIns="12190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 sz="1467" b="0" i="0" u="none" strike="noStrike" kern="1200" cap="none" spc="0" normalizeH="0" baseline="0" noProof="0">
                  <a:ln>
                    <a:noFill/>
                  </a:ln>
                  <a:solidFill>
                    <a:srgbClr val="434343"/>
                  </a:solidFill>
                  <a:effectLst/>
                  <a:uLnTx/>
                  <a:uFillTx/>
                  <a:latin typeface="Arial"/>
                  <a:ea typeface="+mn-ea"/>
                  <a:cs typeface="+mn-ea"/>
                  <a:sym typeface="+mn-lt"/>
                </a:rPr>
                <a:t>Pandia</a:t>
              </a:r>
              <a:endParaRPr kumimoji="0" sz="1467" b="0" i="0" u="none" strike="noStrike" kern="1200" cap="none" spc="0" normalizeH="0" baseline="0" noProof="0">
                <a:ln>
                  <a:noFill/>
                </a:ln>
                <a:solidFill>
                  <a:srgbClr val="434343"/>
                </a:solidFill>
                <a:effectLst/>
                <a:uLnTx/>
                <a:uFillTx/>
                <a:latin typeface="Arial"/>
                <a:ea typeface="+mn-ea"/>
                <a:cs typeface="+mn-ea"/>
                <a:sym typeface="+mn-lt"/>
              </a:endParaRPr>
            </a:p>
          </p:txBody>
        </p:sp>
        <p:sp>
          <p:nvSpPr>
            <p:cNvPr id="89" name="Google Shape;274;p17">
              <a:extLst>
                <a:ext uri="{FF2B5EF4-FFF2-40B4-BE49-F238E27FC236}">
                  <a16:creationId xmlns:a16="http://schemas.microsoft.com/office/drawing/2014/main" id="{3D1E5E32-FD27-4174-A791-FC4B86BA9EC6}"/>
                </a:ext>
              </a:extLst>
            </p:cNvPr>
            <p:cNvSpPr txBox="1"/>
            <p:nvPr/>
          </p:nvSpPr>
          <p:spPr>
            <a:xfrm>
              <a:off x="5777838" y="3536763"/>
              <a:ext cx="759000" cy="265200"/>
            </a:xfrm>
            <a:prstGeom prst="rect">
              <a:avLst/>
            </a:prstGeom>
            <a:noFill/>
            <a:ln>
              <a:noFill/>
            </a:ln>
          </p:spPr>
          <p:txBody>
            <a:bodyPr spcFirstLastPara="1" wrap="square" lIns="121900" tIns="121900" rIns="121900" bIns="12190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 sz="1467" b="0" i="0" u="none" strike="noStrike" kern="1200" cap="none" spc="0" normalizeH="0" baseline="0" noProof="0">
                  <a:ln>
                    <a:noFill/>
                  </a:ln>
                  <a:solidFill>
                    <a:srgbClr val="434343"/>
                  </a:solidFill>
                  <a:effectLst/>
                  <a:uLnTx/>
                  <a:uFillTx/>
                  <a:latin typeface="Arial"/>
                  <a:ea typeface="+mn-ea"/>
                  <a:cs typeface="+mn-ea"/>
                  <a:sym typeface="+mn-lt"/>
                </a:rPr>
                <a:t>Elara</a:t>
              </a:r>
              <a:endParaRPr kumimoji="0" sz="1467" b="0" i="0" u="none" strike="noStrike" kern="1200" cap="none" spc="0" normalizeH="0" baseline="0" noProof="0">
                <a:ln>
                  <a:noFill/>
                </a:ln>
                <a:solidFill>
                  <a:srgbClr val="434343"/>
                </a:solidFill>
                <a:effectLst/>
                <a:uLnTx/>
                <a:uFillTx/>
                <a:latin typeface="Arial"/>
                <a:ea typeface="+mn-ea"/>
                <a:cs typeface="+mn-ea"/>
                <a:sym typeface="+mn-lt"/>
              </a:endParaRPr>
            </a:p>
          </p:txBody>
        </p:sp>
        <p:sp>
          <p:nvSpPr>
            <p:cNvPr id="90" name="Google Shape;275;p17">
              <a:extLst>
                <a:ext uri="{FF2B5EF4-FFF2-40B4-BE49-F238E27FC236}">
                  <a16:creationId xmlns:a16="http://schemas.microsoft.com/office/drawing/2014/main" id="{86503EF5-6EE6-486D-9D60-3936D8090724}"/>
                </a:ext>
              </a:extLst>
            </p:cNvPr>
            <p:cNvSpPr txBox="1"/>
            <p:nvPr/>
          </p:nvSpPr>
          <p:spPr>
            <a:xfrm>
              <a:off x="5488138" y="1420875"/>
              <a:ext cx="759000" cy="265200"/>
            </a:xfrm>
            <a:prstGeom prst="rect">
              <a:avLst/>
            </a:prstGeom>
            <a:noFill/>
            <a:ln>
              <a:noFill/>
            </a:ln>
          </p:spPr>
          <p:txBody>
            <a:bodyPr spcFirstLastPara="1" wrap="square" lIns="121900" tIns="121900" rIns="121900" bIns="12190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 sz="1467" b="0" i="0" u="none" strike="noStrike" kern="1200" cap="none" spc="0" normalizeH="0" baseline="0" noProof="0">
                  <a:ln>
                    <a:noFill/>
                  </a:ln>
                  <a:solidFill>
                    <a:srgbClr val="434343"/>
                  </a:solidFill>
                  <a:effectLst/>
                  <a:uLnTx/>
                  <a:uFillTx/>
                  <a:latin typeface="Arial"/>
                  <a:ea typeface="+mn-ea"/>
                  <a:cs typeface="+mn-ea"/>
                  <a:sym typeface="+mn-lt"/>
                </a:rPr>
                <a:t>Phoebe</a:t>
              </a:r>
              <a:endParaRPr kumimoji="0" sz="1467" b="0" i="0" u="none" strike="noStrike" kern="1200" cap="none" spc="0" normalizeH="0" baseline="0" noProof="0">
                <a:ln>
                  <a:noFill/>
                </a:ln>
                <a:solidFill>
                  <a:srgbClr val="434343"/>
                </a:solidFill>
                <a:effectLst/>
                <a:uLnTx/>
                <a:uFillTx/>
                <a:latin typeface="Arial"/>
                <a:ea typeface="+mn-ea"/>
                <a:cs typeface="+mn-ea"/>
                <a:sym typeface="+mn-lt"/>
              </a:endParaRPr>
            </a:p>
          </p:txBody>
        </p:sp>
        <p:sp>
          <p:nvSpPr>
            <p:cNvPr id="91" name="Google Shape;276;p17">
              <a:extLst>
                <a:ext uri="{FF2B5EF4-FFF2-40B4-BE49-F238E27FC236}">
                  <a16:creationId xmlns:a16="http://schemas.microsoft.com/office/drawing/2014/main" id="{3DF4F080-2351-475E-9147-9746F585A9D5}"/>
                </a:ext>
              </a:extLst>
            </p:cNvPr>
            <p:cNvSpPr txBox="1"/>
            <p:nvPr/>
          </p:nvSpPr>
          <p:spPr>
            <a:xfrm>
              <a:off x="5488138" y="3970025"/>
              <a:ext cx="759000" cy="265200"/>
            </a:xfrm>
            <a:prstGeom prst="rect">
              <a:avLst/>
            </a:prstGeom>
            <a:noFill/>
            <a:ln>
              <a:noFill/>
            </a:ln>
          </p:spPr>
          <p:txBody>
            <a:bodyPr spcFirstLastPara="1" wrap="square" lIns="121900" tIns="121900" rIns="121900" bIns="12190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 sz="1467" b="0" i="0" u="none" strike="noStrike" kern="1200" cap="none" spc="0" normalizeH="0" baseline="0" noProof="0">
                  <a:ln>
                    <a:noFill/>
                  </a:ln>
                  <a:solidFill>
                    <a:srgbClr val="434343"/>
                  </a:solidFill>
                  <a:effectLst/>
                  <a:uLnTx/>
                  <a:uFillTx/>
                  <a:latin typeface="Arial"/>
                  <a:ea typeface="+mn-ea"/>
                  <a:cs typeface="+mn-ea"/>
                  <a:sym typeface="+mn-lt"/>
                </a:rPr>
                <a:t>Dia</a:t>
              </a:r>
              <a:endParaRPr kumimoji="0" sz="1467" b="0" i="0" u="none" strike="noStrike" kern="1200" cap="none" spc="0" normalizeH="0" baseline="0" noProof="0">
                <a:ln>
                  <a:noFill/>
                </a:ln>
                <a:solidFill>
                  <a:srgbClr val="434343"/>
                </a:solidFill>
                <a:effectLst/>
                <a:uLnTx/>
                <a:uFillTx/>
                <a:latin typeface="Arial"/>
                <a:ea typeface="+mn-ea"/>
                <a:cs typeface="+mn-ea"/>
                <a:sym typeface="+mn-lt"/>
              </a:endParaRPr>
            </a:p>
          </p:txBody>
        </p:sp>
        <p:sp>
          <p:nvSpPr>
            <p:cNvPr id="92" name="Google Shape;277;p17">
              <a:extLst>
                <a:ext uri="{FF2B5EF4-FFF2-40B4-BE49-F238E27FC236}">
                  <a16:creationId xmlns:a16="http://schemas.microsoft.com/office/drawing/2014/main" id="{5271C3B1-4FF6-4A00-B09F-155426E586BA}"/>
                </a:ext>
              </a:extLst>
            </p:cNvPr>
            <p:cNvSpPr txBox="1"/>
            <p:nvPr/>
          </p:nvSpPr>
          <p:spPr>
            <a:xfrm>
              <a:off x="5226138" y="959925"/>
              <a:ext cx="759000" cy="265200"/>
            </a:xfrm>
            <a:prstGeom prst="rect">
              <a:avLst/>
            </a:prstGeom>
            <a:noFill/>
            <a:ln>
              <a:noFill/>
            </a:ln>
          </p:spPr>
          <p:txBody>
            <a:bodyPr spcFirstLastPara="1" wrap="square" lIns="121900" tIns="121900" rIns="121900" bIns="12190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 sz="1467" b="0" i="0" u="none" strike="noStrike" kern="1200" cap="none" spc="0" normalizeH="0" baseline="0" noProof="0">
                  <a:ln>
                    <a:noFill/>
                  </a:ln>
                  <a:solidFill>
                    <a:srgbClr val="434343"/>
                  </a:solidFill>
                  <a:effectLst/>
                  <a:uLnTx/>
                  <a:uFillTx/>
                  <a:latin typeface="Arial"/>
                  <a:ea typeface="+mn-ea"/>
                  <a:cs typeface="+mn-ea"/>
                  <a:sym typeface="+mn-lt"/>
                </a:rPr>
                <a:t>Ersa</a:t>
              </a:r>
              <a:endParaRPr kumimoji="0" sz="1467" b="0" i="0" u="none" strike="noStrike" kern="1200" cap="none" spc="0" normalizeH="0" baseline="0" noProof="0">
                <a:ln>
                  <a:noFill/>
                </a:ln>
                <a:solidFill>
                  <a:srgbClr val="434343"/>
                </a:solidFill>
                <a:effectLst/>
                <a:uLnTx/>
                <a:uFillTx/>
                <a:latin typeface="Arial"/>
                <a:ea typeface="+mn-ea"/>
                <a:cs typeface="+mn-ea"/>
                <a:sym typeface="+mn-lt"/>
              </a:endParaRPr>
            </a:p>
          </p:txBody>
        </p:sp>
        <p:sp>
          <p:nvSpPr>
            <p:cNvPr id="93" name="Google Shape;278;p17">
              <a:extLst>
                <a:ext uri="{FF2B5EF4-FFF2-40B4-BE49-F238E27FC236}">
                  <a16:creationId xmlns:a16="http://schemas.microsoft.com/office/drawing/2014/main" id="{A1C4DC94-1D2D-40BD-BF9B-4B50F57A35E3}"/>
                </a:ext>
              </a:extLst>
            </p:cNvPr>
            <p:cNvSpPr txBox="1"/>
            <p:nvPr/>
          </p:nvSpPr>
          <p:spPr>
            <a:xfrm>
              <a:off x="5226138" y="4454938"/>
              <a:ext cx="759000" cy="265200"/>
            </a:xfrm>
            <a:prstGeom prst="rect">
              <a:avLst/>
            </a:prstGeom>
            <a:noFill/>
            <a:ln>
              <a:noFill/>
            </a:ln>
          </p:spPr>
          <p:txBody>
            <a:bodyPr spcFirstLastPara="1" wrap="square" lIns="121900" tIns="121900" rIns="121900" bIns="12190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 sz="1467" b="0" i="0" u="none" strike="noStrike" kern="1200" cap="none" spc="0" normalizeH="0" baseline="0" noProof="0">
                  <a:ln>
                    <a:noFill/>
                  </a:ln>
                  <a:solidFill>
                    <a:srgbClr val="434343"/>
                  </a:solidFill>
                  <a:effectLst/>
                  <a:uLnTx/>
                  <a:uFillTx/>
                  <a:latin typeface="Arial"/>
                  <a:ea typeface="+mn-ea"/>
                  <a:cs typeface="+mn-ea"/>
                  <a:sym typeface="+mn-lt"/>
                </a:rPr>
                <a:t>Thebe</a:t>
              </a:r>
              <a:endParaRPr kumimoji="0" sz="1467" b="0" i="0" u="none" strike="noStrike" kern="1200" cap="none" spc="0" normalizeH="0" baseline="0" noProof="0">
                <a:ln>
                  <a:noFill/>
                </a:ln>
                <a:solidFill>
                  <a:srgbClr val="434343"/>
                </a:solidFill>
                <a:effectLst/>
                <a:uLnTx/>
                <a:uFillTx/>
                <a:latin typeface="Arial"/>
                <a:ea typeface="+mn-ea"/>
                <a:cs typeface="+mn-ea"/>
                <a:sym typeface="+mn-lt"/>
              </a:endParaRPr>
            </a:p>
          </p:txBody>
        </p:sp>
      </p:grpSp>
    </p:spTree>
    <p:extLst>
      <p:ext uri="{BB962C8B-B14F-4D97-AF65-F5344CB8AC3E}">
        <p14:creationId xmlns:p14="http://schemas.microsoft.com/office/powerpoint/2010/main" val="542392653"/>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7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Google Shape;283;p18">
            <a:extLst>
              <a:ext uri="{FF2B5EF4-FFF2-40B4-BE49-F238E27FC236}">
                <a16:creationId xmlns:a16="http://schemas.microsoft.com/office/drawing/2014/main" id="{2E1F97D5-1A50-4FB3-912E-059DC8120D3C}"/>
              </a:ext>
            </a:extLst>
          </p:cNvPr>
          <p:cNvCxnSpPr/>
          <p:nvPr/>
        </p:nvCxnSpPr>
        <p:spPr>
          <a:xfrm>
            <a:off x="2894900" y="3349722"/>
            <a:ext cx="7113600" cy="0"/>
          </a:xfrm>
          <a:prstGeom prst="straightConnector1">
            <a:avLst/>
          </a:prstGeom>
          <a:noFill/>
          <a:ln w="38100" cap="flat" cmpd="sng">
            <a:solidFill>
              <a:schemeClr val="accent1">
                <a:lumMod val="100000"/>
              </a:schemeClr>
            </a:solidFill>
            <a:prstDash val="dot"/>
            <a:round/>
            <a:headEnd type="none" w="med" len="med"/>
            <a:tailEnd type="none" w="med" len="med"/>
          </a:ln>
        </p:spPr>
      </p:cxnSp>
      <p:grpSp>
        <p:nvGrpSpPr>
          <p:cNvPr id="3" name="Google Shape;285;p18">
            <a:extLst>
              <a:ext uri="{FF2B5EF4-FFF2-40B4-BE49-F238E27FC236}">
                <a16:creationId xmlns:a16="http://schemas.microsoft.com/office/drawing/2014/main" id="{A94BA3B8-7875-4643-8AAB-009AB260C29D}"/>
              </a:ext>
            </a:extLst>
          </p:cNvPr>
          <p:cNvGrpSpPr/>
          <p:nvPr/>
        </p:nvGrpSpPr>
        <p:grpSpPr>
          <a:xfrm>
            <a:off x="3087371" y="2001484"/>
            <a:ext cx="2720572" cy="2696124"/>
            <a:chOff x="2415763" y="1701893"/>
            <a:chExt cx="2123677" cy="2104593"/>
          </a:xfrm>
        </p:grpSpPr>
        <p:sp>
          <p:nvSpPr>
            <p:cNvPr id="4" name="Google Shape;286;p18">
              <a:extLst>
                <a:ext uri="{FF2B5EF4-FFF2-40B4-BE49-F238E27FC236}">
                  <a16:creationId xmlns:a16="http://schemas.microsoft.com/office/drawing/2014/main" id="{B59344D0-DE3A-4C8F-BD54-28E86A5FC1B5}"/>
                </a:ext>
              </a:extLst>
            </p:cNvPr>
            <p:cNvSpPr/>
            <p:nvPr/>
          </p:nvSpPr>
          <p:spPr>
            <a:xfrm>
              <a:off x="2728075" y="2221444"/>
              <a:ext cx="1196204" cy="234084"/>
            </a:xfrm>
            <a:custGeom>
              <a:avLst/>
              <a:gdLst/>
              <a:ahLst/>
              <a:cxnLst/>
              <a:rect l="l" t="t" r="r" b="b"/>
              <a:pathLst>
                <a:path w="50805" h="9942" extrusionOk="0">
                  <a:moveTo>
                    <a:pt x="4965" y="0"/>
                  </a:moveTo>
                  <a:cubicBezTo>
                    <a:pt x="2227" y="0"/>
                    <a:pt x="0" y="2227"/>
                    <a:pt x="0" y="4977"/>
                  </a:cubicBezTo>
                  <a:cubicBezTo>
                    <a:pt x="0" y="7716"/>
                    <a:pt x="2227" y="9942"/>
                    <a:pt x="4965" y="9942"/>
                  </a:cubicBezTo>
                  <a:lnTo>
                    <a:pt x="50804" y="9942"/>
                  </a:lnTo>
                  <a:lnTo>
                    <a:pt x="50804" y="0"/>
                  </a:lnTo>
                  <a:close/>
                </a:path>
              </a:pathLst>
            </a:custGeom>
            <a:solidFill>
              <a:srgbClr val="869FB2"/>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 sz="1600" b="0" i="0" u="none" strike="noStrike" kern="1200" cap="none" spc="0" normalizeH="0" baseline="0" noProof="0">
                  <a:ln>
                    <a:noFill/>
                  </a:ln>
                  <a:solidFill>
                    <a:srgbClr val="FFFFFF"/>
                  </a:solidFill>
                  <a:effectLst/>
                  <a:uLnTx/>
                  <a:uFillTx/>
                  <a:latin typeface="Arial"/>
                  <a:ea typeface="+mn-ea"/>
                  <a:cs typeface="+mn-ea"/>
                  <a:sym typeface="+mn-lt"/>
                </a:rPr>
                <a:t>Moon</a:t>
              </a:r>
              <a:endParaRPr kumimoji="0" sz="1600" b="0" i="0" u="none" strike="noStrike" kern="1200" cap="none" spc="0" normalizeH="0" baseline="0" noProof="0">
                <a:ln>
                  <a:noFill/>
                </a:ln>
                <a:solidFill>
                  <a:srgbClr val="FFFFFF"/>
                </a:solidFill>
                <a:effectLst/>
                <a:uLnTx/>
                <a:uFillTx/>
                <a:latin typeface="Arial"/>
                <a:ea typeface="+mn-ea"/>
                <a:cs typeface="+mn-ea"/>
                <a:sym typeface="+mn-lt"/>
              </a:endParaRPr>
            </a:p>
          </p:txBody>
        </p:sp>
        <p:sp>
          <p:nvSpPr>
            <p:cNvPr id="5" name="Google Shape;287;p18">
              <a:extLst>
                <a:ext uri="{FF2B5EF4-FFF2-40B4-BE49-F238E27FC236}">
                  <a16:creationId xmlns:a16="http://schemas.microsoft.com/office/drawing/2014/main" id="{DF14EE95-618D-4BEB-9391-5FCBE44B3F72}"/>
                </a:ext>
              </a:extLst>
            </p:cNvPr>
            <p:cNvSpPr/>
            <p:nvPr/>
          </p:nvSpPr>
          <p:spPr>
            <a:xfrm>
              <a:off x="2728075" y="3023768"/>
              <a:ext cx="1196204" cy="234108"/>
            </a:xfrm>
            <a:custGeom>
              <a:avLst/>
              <a:gdLst/>
              <a:ahLst/>
              <a:cxnLst/>
              <a:rect l="l" t="t" r="r" b="b"/>
              <a:pathLst>
                <a:path w="50805" h="9943" extrusionOk="0">
                  <a:moveTo>
                    <a:pt x="4965" y="1"/>
                  </a:moveTo>
                  <a:cubicBezTo>
                    <a:pt x="2227" y="1"/>
                    <a:pt x="0" y="2215"/>
                    <a:pt x="0" y="4966"/>
                  </a:cubicBezTo>
                  <a:cubicBezTo>
                    <a:pt x="0" y="7716"/>
                    <a:pt x="2227" y="9943"/>
                    <a:pt x="4965" y="9943"/>
                  </a:cubicBezTo>
                  <a:lnTo>
                    <a:pt x="50804" y="9943"/>
                  </a:lnTo>
                  <a:lnTo>
                    <a:pt x="50804" y="1"/>
                  </a:lnTo>
                  <a:close/>
                </a:path>
              </a:pathLst>
            </a:custGeom>
            <a:solidFill>
              <a:srgbClr val="869FB2"/>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 sz="1600" b="0" i="0" u="none" strike="noStrike" kern="1200" cap="none" spc="0" normalizeH="0" baseline="0" noProof="0">
                  <a:ln>
                    <a:noFill/>
                  </a:ln>
                  <a:solidFill>
                    <a:srgbClr val="FFFFFF"/>
                  </a:solidFill>
                  <a:effectLst/>
                  <a:uLnTx/>
                  <a:uFillTx/>
                  <a:latin typeface="Arial"/>
                  <a:ea typeface="+mn-ea"/>
                  <a:cs typeface="+mn-ea"/>
                  <a:sym typeface="+mn-lt"/>
                </a:rPr>
                <a:t>Earth</a:t>
              </a:r>
              <a:endParaRPr kumimoji="0" sz="1600" b="0" i="0" u="none" strike="noStrike" kern="1200" cap="none" spc="0" normalizeH="0" baseline="0" noProof="0">
                <a:ln>
                  <a:noFill/>
                </a:ln>
                <a:solidFill>
                  <a:srgbClr val="FFFFFF"/>
                </a:solidFill>
                <a:effectLst/>
                <a:uLnTx/>
                <a:uFillTx/>
                <a:latin typeface="Arial"/>
                <a:ea typeface="+mn-ea"/>
                <a:cs typeface="+mn-ea"/>
                <a:sym typeface="+mn-lt"/>
              </a:endParaRPr>
            </a:p>
          </p:txBody>
        </p:sp>
        <p:sp>
          <p:nvSpPr>
            <p:cNvPr id="6" name="Google Shape;288;p18">
              <a:extLst>
                <a:ext uri="{FF2B5EF4-FFF2-40B4-BE49-F238E27FC236}">
                  <a16:creationId xmlns:a16="http://schemas.microsoft.com/office/drawing/2014/main" id="{6AB84435-7AF8-48F0-B4E8-F4435D90FF0E}"/>
                </a:ext>
              </a:extLst>
            </p:cNvPr>
            <p:cNvSpPr/>
            <p:nvPr/>
          </p:nvSpPr>
          <p:spPr>
            <a:xfrm>
              <a:off x="2415763" y="1713184"/>
              <a:ext cx="1196204" cy="234084"/>
            </a:xfrm>
            <a:custGeom>
              <a:avLst/>
              <a:gdLst/>
              <a:ahLst/>
              <a:cxnLst/>
              <a:rect l="l" t="t" r="r" b="b"/>
              <a:pathLst>
                <a:path w="50805" h="9942" extrusionOk="0">
                  <a:moveTo>
                    <a:pt x="4966" y="0"/>
                  </a:moveTo>
                  <a:cubicBezTo>
                    <a:pt x="2227" y="0"/>
                    <a:pt x="1" y="2227"/>
                    <a:pt x="1" y="4965"/>
                  </a:cubicBezTo>
                  <a:cubicBezTo>
                    <a:pt x="1" y="7716"/>
                    <a:pt x="2227" y="9942"/>
                    <a:pt x="4966" y="9942"/>
                  </a:cubicBezTo>
                  <a:lnTo>
                    <a:pt x="50805" y="9942"/>
                  </a:lnTo>
                  <a:lnTo>
                    <a:pt x="50805" y="0"/>
                  </a:lnTo>
                  <a:close/>
                </a:path>
              </a:pathLst>
            </a:custGeom>
            <a:solidFill>
              <a:srgbClr val="869FB2"/>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 sz="1600" b="0" i="0" u="none" strike="noStrike" kern="1200" cap="none" spc="0" normalizeH="0" baseline="0" noProof="0">
                  <a:ln>
                    <a:noFill/>
                  </a:ln>
                  <a:solidFill>
                    <a:srgbClr val="FFFFFF"/>
                  </a:solidFill>
                  <a:effectLst/>
                  <a:uLnTx/>
                  <a:uFillTx/>
                  <a:latin typeface="Arial"/>
                  <a:ea typeface="+mn-ea"/>
                  <a:cs typeface="+mn-ea"/>
                  <a:sym typeface="+mn-lt"/>
                </a:rPr>
                <a:t>Pluto</a:t>
              </a:r>
              <a:endParaRPr kumimoji="0" sz="1600" b="0" i="0" u="none" strike="noStrike" kern="1200" cap="none" spc="0" normalizeH="0" baseline="0" noProof="0">
                <a:ln>
                  <a:noFill/>
                </a:ln>
                <a:solidFill>
                  <a:srgbClr val="FFFFFF"/>
                </a:solidFill>
                <a:effectLst/>
                <a:uLnTx/>
                <a:uFillTx/>
                <a:latin typeface="Arial"/>
                <a:ea typeface="+mn-ea"/>
                <a:cs typeface="+mn-ea"/>
                <a:sym typeface="+mn-lt"/>
              </a:endParaRPr>
            </a:p>
          </p:txBody>
        </p:sp>
        <p:sp>
          <p:nvSpPr>
            <p:cNvPr id="7" name="Google Shape;289;p18">
              <a:extLst>
                <a:ext uri="{FF2B5EF4-FFF2-40B4-BE49-F238E27FC236}">
                  <a16:creationId xmlns:a16="http://schemas.microsoft.com/office/drawing/2014/main" id="{9A315F2C-EB27-4162-BB5A-FD142ED7EF69}"/>
                </a:ext>
              </a:extLst>
            </p:cNvPr>
            <p:cNvSpPr/>
            <p:nvPr/>
          </p:nvSpPr>
          <p:spPr>
            <a:xfrm>
              <a:off x="2415763" y="3542976"/>
              <a:ext cx="1196204" cy="234084"/>
            </a:xfrm>
            <a:custGeom>
              <a:avLst/>
              <a:gdLst/>
              <a:ahLst/>
              <a:cxnLst/>
              <a:rect l="l" t="t" r="r" b="b"/>
              <a:pathLst>
                <a:path w="50805" h="9942" extrusionOk="0">
                  <a:moveTo>
                    <a:pt x="4966" y="0"/>
                  </a:moveTo>
                  <a:cubicBezTo>
                    <a:pt x="2227" y="0"/>
                    <a:pt x="1" y="2227"/>
                    <a:pt x="1" y="4977"/>
                  </a:cubicBezTo>
                  <a:cubicBezTo>
                    <a:pt x="1" y="7715"/>
                    <a:pt x="2227" y="9942"/>
                    <a:pt x="4966" y="9942"/>
                  </a:cubicBezTo>
                  <a:lnTo>
                    <a:pt x="50805" y="9942"/>
                  </a:lnTo>
                  <a:lnTo>
                    <a:pt x="50805" y="0"/>
                  </a:lnTo>
                  <a:close/>
                </a:path>
              </a:pathLst>
            </a:custGeom>
            <a:solidFill>
              <a:srgbClr val="869FB2"/>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 sz="1600" b="0" i="0" u="none" strike="noStrike" kern="1200" cap="none" spc="0" normalizeH="0" baseline="0" noProof="0">
                  <a:ln>
                    <a:noFill/>
                  </a:ln>
                  <a:solidFill>
                    <a:srgbClr val="FFFFFF"/>
                  </a:solidFill>
                  <a:effectLst/>
                  <a:uLnTx/>
                  <a:uFillTx/>
                  <a:latin typeface="Arial"/>
                  <a:ea typeface="+mn-ea"/>
                  <a:cs typeface="+mn-ea"/>
                  <a:sym typeface="+mn-lt"/>
                </a:rPr>
                <a:t>Saturn</a:t>
              </a:r>
              <a:endParaRPr kumimoji="0" sz="1600" b="0" i="0" u="none" strike="noStrike" kern="1200" cap="none" spc="0" normalizeH="0" baseline="0" noProof="0">
                <a:ln>
                  <a:noFill/>
                </a:ln>
                <a:solidFill>
                  <a:srgbClr val="FFFFFF"/>
                </a:solidFill>
                <a:effectLst/>
                <a:uLnTx/>
                <a:uFillTx/>
                <a:latin typeface="Arial"/>
                <a:ea typeface="+mn-ea"/>
                <a:cs typeface="+mn-ea"/>
                <a:sym typeface="+mn-lt"/>
              </a:endParaRPr>
            </a:p>
          </p:txBody>
        </p:sp>
        <p:sp>
          <p:nvSpPr>
            <p:cNvPr id="8" name="Google Shape;290;p18">
              <a:extLst>
                <a:ext uri="{FF2B5EF4-FFF2-40B4-BE49-F238E27FC236}">
                  <a16:creationId xmlns:a16="http://schemas.microsoft.com/office/drawing/2014/main" id="{1487E3A0-602C-4456-88D6-804BFA85DBBC}"/>
                </a:ext>
              </a:extLst>
            </p:cNvPr>
            <p:cNvSpPr/>
            <p:nvPr/>
          </p:nvSpPr>
          <p:spPr>
            <a:xfrm>
              <a:off x="3448294" y="1701893"/>
              <a:ext cx="1091146" cy="2104593"/>
            </a:xfrm>
            <a:custGeom>
              <a:avLst/>
              <a:gdLst/>
              <a:ahLst/>
              <a:cxnLst/>
              <a:rect l="l" t="t" r="r" b="b"/>
              <a:pathLst>
                <a:path w="46343" h="89386" extrusionOk="0">
                  <a:moveTo>
                    <a:pt x="6831" y="0"/>
                  </a:moveTo>
                  <a:cubicBezTo>
                    <a:pt x="3221" y="0"/>
                    <a:pt x="1" y="4205"/>
                    <a:pt x="2670" y="7985"/>
                  </a:cubicBezTo>
                  <a:lnTo>
                    <a:pt x="19398" y="31703"/>
                  </a:lnTo>
                  <a:cubicBezTo>
                    <a:pt x="24887" y="39489"/>
                    <a:pt x="24887" y="49907"/>
                    <a:pt x="19398" y="57694"/>
                  </a:cubicBezTo>
                  <a:lnTo>
                    <a:pt x="2670" y="81411"/>
                  </a:lnTo>
                  <a:cubicBezTo>
                    <a:pt x="2" y="85190"/>
                    <a:pt x="3219" y="89386"/>
                    <a:pt x="6827" y="89386"/>
                  </a:cubicBezTo>
                  <a:cubicBezTo>
                    <a:pt x="8016" y="89386"/>
                    <a:pt x="9248" y="88930"/>
                    <a:pt x="10326" y="87852"/>
                  </a:cubicBezTo>
                  <a:lnTo>
                    <a:pt x="37532" y="60647"/>
                  </a:lnTo>
                  <a:cubicBezTo>
                    <a:pt x="46342" y="51836"/>
                    <a:pt x="46342" y="37560"/>
                    <a:pt x="37532" y="28750"/>
                  </a:cubicBezTo>
                  <a:lnTo>
                    <a:pt x="10326" y="1532"/>
                  </a:lnTo>
                  <a:cubicBezTo>
                    <a:pt x="9250" y="456"/>
                    <a:pt x="8019" y="0"/>
                    <a:pt x="6831" y="0"/>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9" name="Google Shape;291;p18">
              <a:extLst>
                <a:ext uri="{FF2B5EF4-FFF2-40B4-BE49-F238E27FC236}">
                  <a16:creationId xmlns:a16="http://schemas.microsoft.com/office/drawing/2014/main" id="{3C88C450-C6C0-4BE0-8EA1-B82367BD8B78}"/>
                </a:ext>
              </a:extLst>
            </p:cNvPr>
            <p:cNvSpPr/>
            <p:nvPr/>
          </p:nvSpPr>
          <p:spPr>
            <a:xfrm>
              <a:off x="3491524" y="3634181"/>
              <a:ext cx="164297" cy="166557"/>
            </a:xfrm>
            <a:custGeom>
              <a:avLst/>
              <a:gdLst/>
              <a:ahLst/>
              <a:cxnLst/>
              <a:rect l="l" t="t" r="r" b="b"/>
              <a:pathLst>
                <a:path w="6978" h="7074" extrusionOk="0">
                  <a:moveTo>
                    <a:pt x="3418" y="1"/>
                  </a:moveTo>
                  <a:lnTo>
                    <a:pt x="1" y="3418"/>
                  </a:lnTo>
                  <a:cubicBezTo>
                    <a:pt x="429" y="5121"/>
                    <a:pt x="1810" y="6525"/>
                    <a:pt x="3465" y="7073"/>
                  </a:cubicBezTo>
                  <a:lnTo>
                    <a:pt x="6978" y="3561"/>
                  </a:lnTo>
                  <a:lnTo>
                    <a:pt x="3418" y="1"/>
                  </a:lnTo>
                  <a:close/>
                </a:path>
              </a:pathLst>
            </a:custGeom>
            <a:solidFill>
              <a:srgbClr val="2FC948"/>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10" name="Google Shape;292;p18">
              <a:extLst>
                <a:ext uri="{FF2B5EF4-FFF2-40B4-BE49-F238E27FC236}">
                  <a16:creationId xmlns:a16="http://schemas.microsoft.com/office/drawing/2014/main" id="{D02A3B5A-4504-43E1-BF6E-43A001166A18}"/>
                </a:ext>
              </a:extLst>
            </p:cNvPr>
            <p:cNvSpPr/>
            <p:nvPr/>
          </p:nvSpPr>
          <p:spPr>
            <a:xfrm>
              <a:off x="3554604" y="1702058"/>
              <a:ext cx="926802" cy="1726602"/>
            </a:xfrm>
            <a:custGeom>
              <a:avLst/>
              <a:gdLst/>
              <a:ahLst/>
              <a:cxnLst/>
              <a:rect l="l" t="t" r="r" b="b"/>
              <a:pathLst>
                <a:path w="39363" h="73332" extrusionOk="0">
                  <a:moveTo>
                    <a:pt x="2330" y="0"/>
                  </a:moveTo>
                  <a:cubicBezTo>
                    <a:pt x="2299" y="0"/>
                    <a:pt x="2269" y="1"/>
                    <a:pt x="2239" y="1"/>
                  </a:cubicBezTo>
                  <a:cubicBezTo>
                    <a:pt x="715" y="1406"/>
                    <a:pt x="1" y="3680"/>
                    <a:pt x="1298" y="6050"/>
                  </a:cubicBezTo>
                  <a:lnTo>
                    <a:pt x="15169" y="31541"/>
                  </a:lnTo>
                  <a:cubicBezTo>
                    <a:pt x="15622" y="32374"/>
                    <a:pt x="16026" y="33243"/>
                    <a:pt x="16372" y="34112"/>
                  </a:cubicBezTo>
                  <a:cubicBezTo>
                    <a:pt x="16919" y="35148"/>
                    <a:pt x="17372" y="36208"/>
                    <a:pt x="17753" y="37291"/>
                  </a:cubicBezTo>
                  <a:cubicBezTo>
                    <a:pt x="29933" y="60580"/>
                    <a:pt x="20324" y="73332"/>
                    <a:pt x="20324" y="73332"/>
                  </a:cubicBezTo>
                  <a:lnTo>
                    <a:pt x="33017" y="60640"/>
                  </a:lnTo>
                  <a:cubicBezTo>
                    <a:pt x="35148" y="58508"/>
                    <a:pt x="36755" y="56056"/>
                    <a:pt x="37862" y="53448"/>
                  </a:cubicBezTo>
                  <a:cubicBezTo>
                    <a:pt x="39363" y="43899"/>
                    <a:pt x="37124" y="35244"/>
                    <a:pt x="33529" y="30707"/>
                  </a:cubicBezTo>
                  <a:lnTo>
                    <a:pt x="28016" y="23742"/>
                  </a:lnTo>
                  <a:lnTo>
                    <a:pt x="5811" y="1525"/>
                  </a:lnTo>
                  <a:cubicBezTo>
                    <a:pt x="4731" y="457"/>
                    <a:pt x="3515" y="0"/>
                    <a:pt x="2330" y="0"/>
                  </a:cubicBezTo>
                  <a:close/>
                </a:path>
              </a:pathLst>
            </a:custGeom>
            <a:solidFill>
              <a:srgbClr val="2FC948"/>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11" name="Google Shape;293;p18">
              <a:extLst>
                <a:ext uri="{FF2B5EF4-FFF2-40B4-BE49-F238E27FC236}">
                  <a16:creationId xmlns:a16="http://schemas.microsoft.com/office/drawing/2014/main" id="{4F791796-A368-4306-A097-0782E1059FB1}"/>
                </a:ext>
              </a:extLst>
            </p:cNvPr>
            <p:cNvSpPr/>
            <p:nvPr/>
          </p:nvSpPr>
          <p:spPr>
            <a:xfrm>
              <a:off x="3448294" y="1701893"/>
              <a:ext cx="1091146" cy="1566967"/>
            </a:xfrm>
            <a:custGeom>
              <a:avLst/>
              <a:gdLst/>
              <a:ahLst/>
              <a:cxnLst/>
              <a:rect l="l" t="t" r="r" b="b"/>
              <a:pathLst>
                <a:path w="46343" h="66552" extrusionOk="0">
                  <a:moveTo>
                    <a:pt x="6831" y="0"/>
                  </a:moveTo>
                  <a:cubicBezTo>
                    <a:pt x="3221" y="0"/>
                    <a:pt x="1" y="4205"/>
                    <a:pt x="2670" y="7985"/>
                  </a:cubicBezTo>
                  <a:lnTo>
                    <a:pt x="19398" y="31703"/>
                  </a:lnTo>
                  <a:cubicBezTo>
                    <a:pt x="19946" y="32476"/>
                    <a:pt x="20434" y="33286"/>
                    <a:pt x="20887" y="34119"/>
                  </a:cubicBezTo>
                  <a:cubicBezTo>
                    <a:pt x="24839" y="40751"/>
                    <a:pt x="35126" y="59194"/>
                    <a:pt x="31626" y="66552"/>
                  </a:cubicBezTo>
                  <a:lnTo>
                    <a:pt x="37532" y="60647"/>
                  </a:lnTo>
                  <a:cubicBezTo>
                    <a:pt x="46342" y="51836"/>
                    <a:pt x="46342" y="37560"/>
                    <a:pt x="37532" y="28750"/>
                  </a:cubicBezTo>
                  <a:lnTo>
                    <a:pt x="10326" y="1532"/>
                  </a:lnTo>
                  <a:cubicBezTo>
                    <a:pt x="9250" y="456"/>
                    <a:pt x="8019" y="0"/>
                    <a:pt x="6831" y="0"/>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12" name="Google Shape;294;p18">
              <a:extLst>
                <a:ext uri="{FF2B5EF4-FFF2-40B4-BE49-F238E27FC236}">
                  <a16:creationId xmlns:a16="http://schemas.microsoft.com/office/drawing/2014/main" id="{09C726EA-23BB-4738-90B5-19BB44015664}"/>
                </a:ext>
              </a:extLst>
            </p:cNvPr>
            <p:cNvSpPr/>
            <p:nvPr/>
          </p:nvSpPr>
          <p:spPr>
            <a:xfrm>
              <a:off x="3496304" y="1787012"/>
              <a:ext cx="159517" cy="176352"/>
            </a:xfrm>
            <a:custGeom>
              <a:avLst/>
              <a:gdLst/>
              <a:ahLst/>
              <a:cxnLst/>
              <a:rect l="l" t="t" r="r" b="b"/>
              <a:pathLst>
                <a:path w="6775" h="7490" extrusionOk="0">
                  <a:moveTo>
                    <a:pt x="3215" y="1"/>
                  </a:moveTo>
                  <a:lnTo>
                    <a:pt x="0" y="3204"/>
                  </a:lnTo>
                  <a:cubicBezTo>
                    <a:pt x="155" y="3596"/>
                    <a:pt x="357" y="3977"/>
                    <a:pt x="631" y="4370"/>
                  </a:cubicBezTo>
                  <a:lnTo>
                    <a:pt x="2834" y="7490"/>
                  </a:lnTo>
                  <a:lnTo>
                    <a:pt x="6775" y="3561"/>
                  </a:lnTo>
                  <a:lnTo>
                    <a:pt x="3215" y="1"/>
                  </a:lnTo>
                  <a:close/>
                </a:path>
              </a:pathLst>
            </a:custGeom>
            <a:solidFill>
              <a:srgbClr val="2FC948"/>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13" name="Google Shape;295;p18">
              <a:extLst>
                <a:ext uri="{FF2B5EF4-FFF2-40B4-BE49-F238E27FC236}">
                  <a16:creationId xmlns:a16="http://schemas.microsoft.com/office/drawing/2014/main" id="{3768C006-D61C-4BC0-B915-372304D045F8}"/>
                </a:ext>
              </a:extLst>
            </p:cNvPr>
            <p:cNvSpPr/>
            <p:nvPr/>
          </p:nvSpPr>
          <p:spPr>
            <a:xfrm>
              <a:off x="4304514" y="2414413"/>
              <a:ext cx="131499" cy="534895"/>
            </a:xfrm>
            <a:custGeom>
              <a:avLst/>
              <a:gdLst/>
              <a:ahLst/>
              <a:cxnLst/>
              <a:rect l="l" t="t" r="r" b="b"/>
              <a:pathLst>
                <a:path w="5585" h="22718" extrusionOk="0">
                  <a:moveTo>
                    <a:pt x="1" y="1"/>
                  </a:moveTo>
                  <a:cubicBezTo>
                    <a:pt x="1965" y="3275"/>
                    <a:pt x="2942" y="7657"/>
                    <a:pt x="3215" y="11467"/>
                  </a:cubicBezTo>
                  <a:cubicBezTo>
                    <a:pt x="3477" y="15277"/>
                    <a:pt x="3346" y="18908"/>
                    <a:pt x="3025" y="22718"/>
                  </a:cubicBezTo>
                  <a:cubicBezTo>
                    <a:pt x="4870" y="19098"/>
                    <a:pt x="5585" y="14919"/>
                    <a:pt x="5049" y="10895"/>
                  </a:cubicBezTo>
                  <a:cubicBezTo>
                    <a:pt x="4513" y="6871"/>
                    <a:pt x="2727" y="3013"/>
                    <a:pt x="1" y="1"/>
                  </a:cubicBezTo>
                  <a:close/>
                </a:path>
              </a:pathLst>
            </a:custGeom>
            <a:solidFill>
              <a:srgbClr val="FFFFFF"/>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14" name="Google Shape;296;p18">
              <a:extLst>
                <a:ext uri="{FF2B5EF4-FFF2-40B4-BE49-F238E27FC236}">
                  <a16:creationId xmlns:a16="http://schemas.microsoft.com/office/drawing/2014/main" id="{5FD4E50A-9E3D-40C6-88FA-8D4DBAC10829}"/>
                </a:ext>
              </a:extLst>
            </p:cNvPr>
            <p:cNvSpPr/>
            <p:nvPr/>
          </p:nvSpPr>
          <p:spPr>
            <a:xfrm>
              <a:off x="3554604" y="1769635"/>
              <a:ext cx="118596" cy="118596"/>
            </a:xfrm>
            <a:custGeom>
              <a:avLst/>
              <a:gdLst/>
              <a:ahLst/>
              <a:cxnLst/>
              <a:rect l="l" t="t" r="r" b="b"/>
              <a:pathLst>
                <a:path w="5037" h="5037" extrusionOk="0">
                  <a:moveTo>
                    <a:pt x="2513" y="1"/>
                  </a:moveTo>
                  <a:cubicBezTo>
                    <a:pt x="1120" y="1"/>
                    <a:pt x="1" y="1120"/>
                    <a:pt x="1" y="2513"/>
                  </a:cubicBezTo>
                  <a:cubicBezTo>
                    <a:pt x="1" y="3906"/>
                    <a:pt x="1120" y="5037"/>
                    <a:pt x="2513" y="5037"/>
                  </a:cubicBezTo>
                  <a:cubicBezTo>
                    <a:pt x="3906" y="5037"/>
                    <a:pt x="5037" y="3906"/>
                    <a:pt x="5037" y="2513"/>
                  </a:cubicBezTo>
                  <a:cubicBezTo>
                    <a:pt x="5037" y="1120"/>
                    <a:pt x="3906" y="1"/>
                    <a:pt x="2513" y="1"/>
                  </a:cubicBezTo>
                  <a:close/>
                </a:path>
              </a:pathLst>
            </a:custGeom>
            <a:solidFill>
              <a:srgbClr val="FFFFFF"/>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15" name="Google Shape;297;p18">
              <a:extLst>
                <a:ext uri="{FF2B5EF4-FFF2-40B4-BE49-F238E27FC236}">
                  <a16:creationId xmlns:a16="http://schemas.microsoft.com/office/drawing/2014/main" id="{2182A1C1-5DBB-40BA-A625-4B91C80BF113}"/>
                </a:ext>
              </a:extLst>
            </p:cNvPr>
            <p:cNvSpPr/>
            <p:nvPr/>
          </p:nvSpPr>
          <p:spPr>
            <a:xfrm>
              <a:off x="3554604" y="3616804"/>
              <a:ext cx="118596" cy="118596"/>
            </a:xfrm>
            <a:custGeom>
              <a:avLst/>
              <a:gdLst/>
              <a:ahLst/>
              <a:cxnLst/>
              <a:rect l="l" t="t" r="r" b="b"/>
              <a:pathLst>
                <a:path w="5037" h="5037" extrusionOk="0">
                  <a:moveTo>
                    <a:pt x="2513" y="1"/>
                  </a:moveTo>
                  <a:cubicBezTo>
                    <a:pt x="1120" y="1"/>
                    <a:pt x="1" y="1132"/>
                    <a:pt x="1" y="2525"/>
                  </a:cubicBezTo>
                  <a:cubicBezTo>
                    <a:pt x="1" y="3906"/>
                    <a:pt x="1120" y="5037"/>
                    <a:pt x="2513" y="5037"/>
                  </a:cubicBezTo>
                  <a:cubicBezTo>
                    <a:pt x="3906" y="5037"/>
                    <a:pt x="5037" y="3906"/>
                    <a:pt x="5037" y="2525"/>
                  </a:cubicBezTo>
                  <a:cubicBezTo>
                    <a:pt x="5037" y="1132"/>
                    <a:pt x="3906" y="1"/>
                    <a:pt x="2513" y="1"/>
                  </a:cubicBezTo>
                  <a:close/>
                </a:path>
              </a:pathLst>
            </a:custGeom>
            <a:solidFill>
              <a:srgbClr val="FFFFFF"/>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grpSp>
      <p:grpSp>
        <p:nvGrpSpPr>
          <p:cNvPr id="16" name="Google Shape;298;p18">
            <a:extLst>
              <a:ext uri="{FF2B5EF4-FFF2-40B4-BE49-F238E27FC236}">
                <a16:creationId xmlns:a16="http://schemas.microsoft.com/office/drawing/2014/main" id="{B7C75492-C244-4B69-8AB4-4B0A8BEFE1A1}"/>
              </a:ext>
            </a:extLst>
          </p:cNvPr>
          <p:cNvGrpSpPr/>
          <p:nvPr/>
        </p:nvGrpSpPr>
        <p:grpSpPr>
          <a:xfrm>
            <a:off x="5319520" y="1708654"/>
            <a:ext cx="2977587" cy="3281944"/>
            <a:chOff x="4158177" y="1473311"/>
            <a:chExt cx="2324303" cy="2561884"/>
          </a:xfrm>
        </p:grpSpPr>
        <p:sp>
          <p:nvSpPr>
            <p:cNvPr id="17" name="Google Shape;299;p18">
              <a:extLst>
                <a:ext uri="{FF2B5EF4-FFF2-40B4-BE49-F238E27FC236}">
                  <a16:creationId xmlns:a16="http://schemas.microsoft.com/office/drawing/2014/main" id="{C2F1EF45-FCBC-4C7E-956D-1CFCCD8C39FD}"/>
                </a:ext>
              </a:extLst>
            </p:cNvPr>
            <p:cNvSpPr/>
            <p:nvPr/>
          </p:nvSpPr>
          <p:spPr>
            <a:xfrm>
              <a:off x="4509457" y="2111273"/>
              <a:ext cx="1196204" cy="234367"/>
            </a:xfrm>
            <a:custGeom>
              <a:avLst/>
              <a:gdLst/>
              <a:ahLst/>
              <a:cxnLst/>
              <a:rect l="l" t="t" r="r" b="b"/>
              <a:pathLst>
                <a:path w="50805" h="9954" extrusionOk="0">
                  <a:moveTo>
                    <a:pt x="4965" y="0"/>
                  </a:moveTo>
                  <a:cubicBezTo>
                    <a:pt x="2227" y="0"/>
                    <a:pt x="0" y="2227"/>
                    <a:pt x="0" y="4977"/>
                  </a:cubicBezTo>
                  <a:cubicBezTo>
                    <a:pt x="0" y="7727"/>
                    <a:pt x="2227" y="9954"/>
                    <a:pt x="4965" y="9954"/>
                  </a:cubicBezTo>
                  <a:lnTo>
                    <a:pt x="50804" y="9954"/>
                  </a:lnTo>
                  <a:lnTo>
                    <a:pt x="50804" y="0"/>
                  </a:lnTo>
                  <a:close/>
                </a:path>
              </a:pathLst>
            </a:custGeom>
            <a:solidFill>
              <a:srgbClr val="869FB2"/>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 sz="1600" b="0" i="0" u="none" strike="noStrike" kern="1200" cap="none" spc="0" normalizeH="0" baseline="0" noProof="0">
                  <a:ln>
                    <a:noFill/>
                  </a:ln>
                  <a:solidFill>
                    <a:srgbClr val="FFFFFF"/>
                  </a:solidFill>
                  <a:effectLst/>
                  <a:uLnTx/>
                  <a:uFillTx/>
                  <a:latin typeface="Arial"/>
                  <a:ea typeface="+mn-ea"/>
                  <a:cs typeface="+mn-ea"/>
                  <a:sym typeface="+mn-lt"/>
                </a:rPr>
                <a:t>Callisto</a:t>
              </a:r>
              <a:endParaRPr kumimoji="0" sz="1600" b="0" i="0" u="none" strike="noStrike" kern="1200" cap="none" spc="0" normalizeH="0" baseline="0" noProof="0">
                <a:ln>
                  <a:noFill/>
                </a:ln>
                <a:solidFill>
                  <a:srgbClr val="FFFFFF"/>
                </a:solidFill>
                <a:effectLst/>
                <a:uLnTx/>
                <a:uFillTx/>
                <a:latin typeface="Arial"/>
                <a:ea typeface="+mn-ea"/>
                <a:cs typeface="+mn-ea"/>
                <a:sym typeface="+mn-lt"/>
              </a:endParaRPr>
            </a:p>
          </p:txBody>
        </p:sp>
        <p:sp>
          <p:nvSpPr>
            <p:cNvPr id="18" name="Google Shape;300;p18">
              <a:extLst>
                <a:ext uri="{FF2B5EF4-FFF2-40B4-BE49-F238E27FC236}">
                  <a16:creationId xmlns:a16="http://schemas.microsoft.com/office/drawing/2014/main" id="{5F7F2ED8-7582-4FA4-BCDC-0A8227CDA819}"/>
                </a:ext>
              </a:extLst>
            </p:cNvPr>
            <p:cNvSpPr/>
            <p:nvPr/>
          </p:nvSpPr>
          <p:spPr>
            <a:xfrm>
              <a:off x="4509457" y="3153293"/>
              <a:ext cx="1196204" cy="234108"/>
            </a:xfrm>
            <a:custGeom>
              <a:avLst/>
              <a:gdLst/>
              <a:ahLst/>
              <a:cxnLst/>
              <a:rect l="l" t="t" r="r" b="b"/>
              <a:pathLst>
                <a:path w="50805" h="9943" extrusionOk="0">
                  <a:moveTo>
                    <a:pt x="4965" y="1"/>
                  </a:moveTo>
                  <a:cubicBezTo>
                    <a:pt x="2227" y="1"/>
                    <a:pt x="0" y="2227"/>
                    <a:pt x="0" y="4965"/>
                  </a:cubicBezTo>
                  <a:cubicBezTo>
                    <a:pt x="0" y="7716"/>
                    <a:pt x="2227" y="9942"/>
                    <a:pt x="4965" y="9942"/>
                  </a:cubicBezTo>
                  <a:lnTo>
                    <a:pt x="50804" y="9942"/>
                  </a:lnTo>
                  <a:lnTo>
                    <a:pt x="50804" y="1"/>
                  </a:lnTo>
                  <a:close/>
                </a:path>
              </a:pathLst>
            </a:custGeom>
            <a:solidFill>
              <a:srgbClr val="869FB2"/>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 sz="1600" b="0" i="0" u="none" strike="noStrike" kern="1200" cap="none" spc="0" normalizeH="0" baseline="0" noProof="0">
                  <a:ln>
                    <a:noFill/>
                  </a:ln>
                  <a:solidFill>
                    <a:srgbClr val="FFFFFF"/>
                  </a:solidFill>
                  <a:effectLst/>
                  <a:uLnTx/>
                  <a:uFillTx/>
                  <a:latin typeface="Arial"/>
                  <a:ea typeface="+mn-ea"/>
                  <a:cs typeface="+mn-ea"/>
                  <a:sym typeface="+mn-lt"/>
                </a:rPr>
                <a:t>Mars</a:t>
              </a:r>
              <a:endParaRPr kumimoji="0" sz="1600" b="0" i="0" u="none" strike="noStrike" kern="1200" cap="none" spc="0" normalizeH="0" baseline="0" noProof="0">
                <a:ln>
                  <a:noFill/>
                </a:ln>
                <a:solidFill>
                  <a:srgbClr val="FFFFFF"/>
                </a:solidFill>
                <a:effectLst/>
                <a:uLnTx/>
                <a:uFillTx/>
                <a:latin typeface="Arial"/>
                <a:ea typeface="+mn-ea"/>
                <a:cs typeface="+mn-ea"/>
                <a:sym typeface="+mn-lt"/>
              </a:endParaRPr>
            </a:p>
          </p:txBody>
        </p:sp>
        <p:sp>
          <p:nvSpPr>
            <p:cNvPr id="19" name="Google Shape;301;p18">
              <a:extLst>
                <a:ext uri="{FF2B5EF4-FFF2-40B4-BE49-F238E27FC236}">
                  <a16:creationId xmlns:a16="http://schemas.microsoft.com/office/drawing/2014/main" id="{F1BDF610-FC5C-4F0E-A403-78E5573ED12E}"/>
                </a:ext>
              </a:extLst>
            </p:cNvPr>
            <p:cNvSpPr/>
            <p:nvPr/>
          </p:nvSpPr>
          <p:spPr>
            <a:xfrm>
              <a:off x="4158177" y="1512173"/>
              <a:ext cx="1196204" cy="234108"/>
            </a:xfrm>
            <a:custGeom>
              <a:avLst/>
              <a:gdLst/>
              <a:ahLst/>
              <a:cxnLst/>
              <a:rect l="l" t="t" r="r" b="b"/>
              <a:pathLst>
                <a:path w="50805" h="9943" extrusionOk="0">
                  <a:moveTo>
                    <a:pt x="4965" y="1"/>
                  </a:moveTo>
                  <a:cubicBezTo>
                    <a:pt x="2227" y="1"/>
                    <a:pt x="1" y="2215"/>
                    <a:pt x="1" y="4965"/>
                  </a:cubicBezTo>
                  <a:cubicBezTo>
                    <a:pt x="1" y="7716"/>
                    <a:pt x="2227" y="9942"/>
                    <a:pt x="4965" y="9942"/>
                  </a:cubicBezTo>
                  <a:lnTo>
                    <a:pt x="50805" y="9942"/>
                  </a:lnTo>
                  <a:lnTo>
                    <a:pt x="50805" y="1"/>
                  </a:lnTo>
                  <a:close/>
                </a:path>
              </a:pathLst>
            </a:custGeom>
            <a:solidFill>
              <a:srgbClr val="869FB2"/>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 sz="1600" b="0" i="0" u="none" strike="noStrike" kern="1200" cap="none" spc="0" normalizeH="0" baseline="0" noProof="0">
                  <a:ln>
                    <a:noFill/>
                  </a:ln>
                  <a:solidFill>
                    <a:srgbClr val="FFFFFF"/>
                  </a:solidFill>
                  <a:effectLst/>
                  <a:uLnTx/>
                  <a:uFillTx/>
                  <a:latin typeface="Arial"/>
                  <a:ea typeface="+mn-ea"/>
                  <a:cs typeface="+mn-ea"/>
                  <a:sym typeface="+mn-lt"/>
                </a:rPr>
                <a:t>Sun</a:t>
              </a:r>
              <a:endParaRPr kumimoji="0" sz="1600" b="0" i="0" u="none" strike="noStrike" kern="1200" cap="none" spc="0" normalizeH="0" baseline="0" noProof="0">
                <a:ln>
                  <a:noFill/>
                </a:ln>
                <a:solidFill>
                  <a:srgbClr val="FFFFFF"/>
                </a:solidFill>
                <a:effectLst/>
                <a:uLnTx/>
                <a:uFillTx/>
                <a:latin typeface="Arial"/>
                <a:ea typeface="+mn-ea"/>
                <a:cs typeface="+mn-ea"/>
                <a:sym typeface="+mn-lt"/>
              </a:endParaRPr>
            </a:p>
          </p:txBody>
        </p:sp>
        <p:sp>
          <p:nvSpPr>
            <p:cNvPr id="20" name="Google Shape;302;p18">
              <a:extLst>
                <a:ext uri="{FF2B5EF4-FFF2-40B4-BE49-F238E27FC236}">
                  <a16:creationId xmlns:a16="http://schemas.microsoft.com/office/drawing/2014/main" id="{FCD23CE3-06A5-4531-BAD1-E354CFC757EC}"/>
                </a:ext>
              </a:extLst>
            </p:cNvPr>
            <p:cNvSpPr/>
            <p:nvPr/>
          </p:nvSpPr>
          <p:spPr>
            <a:xfrm>
              <a:off x="4158177" y="3760516"/>
              <a:ext cx="1196204" cy="234108"/>
            </a:xfrm>
            <a:custGeom>
              <a:avLst/>
              <a:gdLst/>
              <a:ahLst/>
              <a:cxnLst/>
              <a:rect l="l" t="t" r="r" b="b"/>
              <a:pathLst>
                <a:path w="50805" h="9943" extrusionOk="0">
                  <a:moveTo>
                    <a:pt x="4965" y="0"/>
                  </a:moveTo>
                  <a:cubicBezTo>
                    <a:pt x="2227" y="0"/>
                    <a:pt x="1" y="2227"/>
                    <a:pt x="1" y="4977"/>
                  </a:cubicBezTo>
                  <a:cubicBezTo>
                    <a:pt x="1" y="7716"/>
                    <a:pt x="2227" y="9942"/>
                    <a:pt x="4965" y="9942"/>
                  </a:cubicBezTo>
                  <a:lnTo>
                    <a:pt x="50805" y="9942"/>
                  </a:lnTo>
                  <a:lnTo>
                    <a:pt x="50805" y="0"/>
                  </a:lnTo>
                  <a:close/>
                </a:path>
              </a:pathLst>
            </a:custGeom>
            <a:solidFill>
              <a:srgbClr val="869FB2"/>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 sz="1600" b="0" i="0" u="none" strike="noStrike" kern="1200" cap="none" spc="0" normalizeH="0" baseline="0" noProof="0">
                  <a:ln>
                    <a:noFill/>
                  </a:ln>
                  <a:solidFill>
                    <a:srgbClr val="FFFFFF"/>
                  </a:solidFill>
                  <a:effectLst/>
                  <a:uLnTx/>
                  <a:uFillTx/>
                  <a:latin typeface="Arial"/>
                  <a:ea typeface="+mn-ea"/>
                  <a:cs typeface="+mn-ea"/>
                  <a:sym typeface="+mn-lt"/>
                </a:rPr>
                <a:t>Metis</a:t>
              </a:r>
              <a:endParaRPr kumimoji="0" sz="1600" b="0" i="0" u="none" strike="noStrike" kern="1200" cap="none" spc="0" normalizeH="0" baseline="0" noProof="0">
                <a:ln>
                  <a:noFill/>
                </a:ln>
                <a:solidFill>
                  <a:srgbClr val="FFFFFF"/>
                </a:solidFill>
                <a:effectLst/>
                <a:uLnTx/>
                <a:uFillTx/>
                <a:latin typeface="Arial"/>
                <a:ea typeface="+mn-ea"/>
                <a:cs typeface="+mn-ea"/>
                <a:sym typeface="+mn-lt"/>
              </a:endParaRPr>
            </a:p>
          </p:txBody>
        </p:sp>
        <p:sp>
          <p:nvSpPr>
            <p:cNvPr id="21" name="Google Shape;303;p18">
              <a:extLst>
                <a:ext uri="{FF2B5EF4-FFF2-40B4-BE49-F238E27FC236}">
                  <a16:creationId xmlns:a16="http://schemas.microsoft.com/office/drawing/2014/main" id="{48BCC3B1-718B-45BA-BC5F-219E59CAD5F5}"/>
                </a:ext>
              </a:extLst>
            </p:cNvPr>
            <p:cNvSpPr/>
            <p:nvPr/>
          </p:nvSpPr>
          <p:spPr>
            <a:xfrm>
              <a:off x="5154448" y="1473428"/>
              <a:ext cx="1328032" cy="2561767"/>
            </a:xfrm>
            <a:custGeom>
              <a:avLst/>
              <a:gdLst/>
              <a:ahLst/>
              <a:cxnLst/>
              <a:rect l="l" t="t" r="r" b="b"/>
              <a:pathLst>
                <a:path w="56404" h="108803" extrusionOk="0">
                  <a:moveTo>
                    <a:pt x="8299" y="0"/>
                  </a:moveTo>
                  <a:cubicBezTo>
                    <a:pt x="3912" y="0"/>
                    <a:pt x="0" y="5108"/>
                    <a:pt x="3242" y="9711"/>
                  </a:cubicBezTo>
                  <a:lnTo>
                    <a:pt x="23602" y="38584"/>
                  </a:lnTo>
                  <a:cubicBezTo>
                    <a:pt x="30293" y="48061"/>
                    <a:pt x="30293" y="60741"/>
                    <a:pt x="23602" y="70219"/>
                  </a:cubicBezTo>
                  <a:lnTo>
                    <a:pt x="3242" y="99091"/>
                  </a:lnTo>
                  <a:cubicBezTo>
                    <a:pt x="0" y="103694"/>
                    <a:pt x="3912" y="108802"/>
                    <a:pt x="8299" y="108802"/>
                  </a:cubicBezTo>
                  <a:cubicBezTo>
                    <a:pt x="9745" y="108802"/>
                    <a:pt x="11242" y="108248"/>
                    <a:pt x="12553" y="106937"/>
                  </a:cubicBezTo>
                  <a:lnTo>
                    <a:pt x="45676" y="73814"/>
                  </a:lnTo>
                  <a:cubicBezTo>
                    <a:pt x="56403" y="63087"/>
                    <a:pt x="56403" y="45704"/>
                    <a:pt x="45676" y="34988"/>
                  </a:cubicBezTo>
                  <a:lnTo>
                    <a:pt x="12553" y="1865"/>
                  </a:lnTo>
                  <a:cubicBezTo>
                    <a:pt x="11242" y="555"/>
                    <a:pt x="9745" y="0"/>
                    <a:pt x="8299" y="0"/>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22" name="Google Shape;304;p18">
              <a:extLst>
                <a:ext uri="{FF2B5EF4-FFF2-40B4-BE49-F238E27FC236}">
                  <a16:creationId xmlns:a16="http://schemas.microsoft.com/office/drawing/2014/main" id="{6AEEEA36-0E9B-4873-9892-BBB63D08AD07}"/>
                </a:ext>
              </a:extLst>
            </p:cNvPr>
            <p:cNvSpPr/>
            <p:nvPr/>
          </p:nvSpPr>
          <p:spPr>
            <a:xfrm>
              <a:off x="5206673" y="3825373"/>
              <a:ext cx="200156" cy="202722"/>
            </a:xfrm>
            <a:custGeom>
              <a:avLst/>
              <a:gdLst/>
              <a:ahLst/>
              <a:cxnLst/>
              <a:rect l="l" t="t" r="r" b="b"/>
              <a:pathLst>
                <a:path w="8501" h="8610" extrusionOk="0">
                  <a:moveTo>
                    <a:pt x="4167" y="1"/>
                  </a:moveTo>
                  <a:lnTo>
                    <a:pt x="0" y="4156"/>
                  </a:lnTo>
                  <a:cubicBezTo>
                    <a:pt x="536" y="6228"/>
                    <a:pt x="2203" y="7930"/>
                    <a:pt x="4227" y="8609"/>
                  </a:cubicBezTo>
                  <a:lnTo>
                    <a:pt x="8501" y="4335"/>
                  </a:lnTo>
                  <a:lnTo>
                    <a:pt x="4167" y="1"/>
                  </a:ln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23" name="Google Shape;305;p18">
              <a:extLst>
                <a:ext uri="{FF2B5EF4-FFF2-40B4-BE49-F238E27FC236}">
                  <a16:creationId xmlns:a16="http://schemas.microsoft.com/office/drawing/2014/main" id="{344B9016-3313-4A37-8850-42F158003464}"/>
                </a:ext>
              </a:extLst>
            </p:cNvPr>
            <p:cNvSpPr/>
            <p:nvPr/>
          </p:nvSpPr>
          <p:spPr>
            <a:xfrm>
              <a:off x="5283762" y="1473311"/>
              <a:ext cx="1127782" cy="2101956"/>
            </a:xfrm>
            <a:custGeom>
              <a:avLst/>
              <a:gdLst/>
              <a:ahLst/>
              <a:cxnLst/>
              <a:rect l="l" t="t" r="r" b="b"/>
              <a:pathLst>
                <a:path w="47899" h="89274" extrusionOk="0">
                  <a:moveTo>
                    <a:pt x="2773" y="0"/>
                  </a:moveTo>
                  <a:cubicBezTo>
                    <a:pt x="2758" y="0"/>
                    <a:pt x="2742" y="1"/>
                    <a:pt x="2727" y="1"/>
                  </a:cubicBezTo>
                  <a:cubicBezTo>
                    <a:pt x="869" y="1715"/>
                    <a:pt x="0" y="4489"/>
                    <a:pt x="1572" y="7371"/>
                  </a:cubicBezTo>
                  <a:lnTo>
                    <a:pt x="18455" y="38398"/>
                  </a:lnTo>
                  <a:cubicBezTo>
                    <a:pt x="19015" y="39422"/>
                    <a:pt x="19503" y="40470"/>
                    <a:pt x="19919" y="41530"/>
                  </a:cubicBezTo>
                  <a:cubicBezTo>
                    <a:pt x="20586" y="42792"/>
                    <a:pt x="21146" y="44078"/>
                    <a:pt x="21610" y="45411"/>
                  </a:cubicBezTo>
                  <a:cubicBezTo>
                    <a:pt x="36421" y="73748"/>
                    <a:pt x="24741" y="89274"/>
                    <a:pt x="24741" y="89274"/>
                  </a:cubicBezTo>
                  <a:lnTo>
                    <a:pt x="40184" y="73819"/>
                  </a:lnTo>
                  <a:cubicBezTo>
                    <a:pt x="42779" y="71224"/>
                    <a:pt x="44744" y="68247"/>
                    <a:pt x="46077" y="65056"/>
                  </a:cubicBezTo>
                  <a:cubicBezTo>
                    <a:pt x="47899" y="53448"/>
                    <a:pt x="45184" y="42911"/>
                    <a:pt x="40803" y="37374"/>
                  </a:cubicBezTo>
                  <a:lnTo>
                    <a:pt x="34100" y="28897"/>
                  </a:lnTo>
                  <a:lnTo>
                    <a:pt x="7061" y="1870"/>
                  </a:lnTo>
                  <a:cubicBezTo>
                    <a:pt x="5741" y="551"/>
                    <a:pt x="4224" y="0"/>
                    <a:pt x="2773" y="0"/>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24" name="Google Shape;306;p18">
              <a:extLst>
                <a:ext uri="{FF2B5EF4-FFF2-40B4-BE49-F238E27FC236}">
                  <a16:creationId xmlns:a16="http://schemas.microsoft.com/office/drawing/2014/main" id="{6E45A65C-25D4-467A-9E06-539B160B9CB2}"/>
                </a:ext>
              </a:extLst>
            </p:cNvPr>
            <p:cNvSpPr/>
            <p:nvPr/>
          </p:nvSpPr>
          <p:spPr>
            <a:xfrm>
              <a:off x="5154448" y="1473428"/>
              <a:ext cx="1328032" cy="1907286"/>
            </a:xfrm>
            <a:custGeom>
              <a:avLst/>
              <a:gdLst/>
              <a:ahLst/>
              <a:cxnLst/>
              <a:rect l="l" t="t" r="r" b="b"/>
              <a:pathLst>
                <a:path w="56404" h="81006" extrusionOk="0">
                  <a:moveTo>
                    <a:pt x="8299" y="0"/>
                  </a:moveTo>
                  <a:cubicBezTo>
                    <a:pt x="3912" y="0"/>
                    <a:pt x="0" y="5108"/>
                    <a:pt x="3242" y="9711"/>
                  </a:cubicBezTo>
                  <a:lnTo>
                    <a:pt x="23602" y="38584"/>
                  </a:lnTo>
                  <a:cubicBezTo>
                    <a:pt x="24268" y="39536"/>
                    <a:pt x="24876" y="40513"/>
                    <a:pt x="25411" y="41525"/>
                  </a:cubicBezTo>
                  <a:cubicBezTo>
                    <a:pt x="30233" y="49597"/>
                    <a:pt x="42747" y="72040"/>
                    <a:pt x="38484" y="81006"/>
                  </a:cubicBezTo>
                  <a:lnTo>
                    <a:pt x="45676" y="73814"/>
                  </a:lnTo>
                  <a:cubicBezTo>
                    <a:pt x="56403" y="63087"/>
                    <a:pt x="56403" y="45704"/>
                    <a:pt x="45676" y="34988"/>
                  </a:cubicBezTo>
                  <a:lnTo>
                    <a:pt x="12553" y="1865"/>
                  </a:lnTo>
                  <a:cubicBezTo>
                    <a:pt x="11242" y="555"/>
                    <a:pt x="9745" y="0"/>
                    <a:pt x="8299" y="0"/>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25" name="Google Shape;307;p18">
              <a:extLst>
                <a:ext uri="{FF2B5EF4-FFF2-40B4-BE49-F238E27FC236}">
                  <a16:creationId xmlns:a16="http://schemas.microsoft.com/office/drawing/2014/main" id="{CBF30D5F-7F55-47A6-B20E-FC97661ADFF7}"/>
                </a:ext>
              </a:extLst>
            </p:cNvPr>
            <p:cNvSpPr/>
            <p:nvPr/>
          </p:nvSpPr>
          <p:spPr>
            <a:xfrm>
              <a:off x="5212559" y="1576771"/>
              <a:ext cx="194270" cy="215036"/>
            </a:xfrm>
            <a:custGeom>
              <a:avLst/>
              <a:gdLst/>
              <a:ahLst/>
              <a:cxnLst/>
              <a:rect l="l" t="t" r="r" b="b"/>
              <a:pathLst>
                <a:path w="8251" h="9133" extrusionOk="0">
                  <a:moveTo>
                    <a:pt x="3917" y="0"/>
                  </a:moveTo>
                  <a:lnTo>
                    <a:pt x="0" y="3905"/>
                  </a:lnTo>
                  <a:cubicBezTo>
                    <a:pt x="191" y="4382"/>
                    <a:pt x="441" y="4846"/>
                    <a:pt x="774" y="5322"/>
                  </a:cubicBezTo>
                  <a:lnTo>
                    <a:pt x="3453" y="9132"/>
                  </a:lnTo>
                  <a:lnTo>
                    <a:pt x="8251" y="4334"/>
                  </a:lnTo>
                  <a:lnTo>
                    <a:pt x="3917" y="0"/>
                  </a:ln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26" name="Google Shape;308;p18">
              <a:extLst>
                <a:ext uri="{FF2B5EF4-FFF2-40B4-BE49-F238E27FC236}">
                  <a16:creationId xmlns:a16="http://schemas.microsoft.com/office/drawing/2014/main" id="{BE8F7674-FC83-4743-B4B7-8098F12727EA}"/>
                </a:ext>
              </a:extLst>
            </p:cNvPr>
            <p:cNvSpPr/>
            <p:nvPr/>
          </p:nvSpPr>
          <p:spPr>
            <a:xfrm>
              <a:off x="6196280" y="2340692"/>
              <a:ext cx="160082" cy="650949"/>
            </a:xfrm>
            <a:custGeom>
              <a:avLst/>
              <a:gdLst/>
              <a:ahLst/>
              <a:cxnLst/>
              <a:rect l="l" t="t" r="r" b="b"/>
              <a:pathLst>
                <a:path w="6799" h="27647" extrusionOk="0">
                  <a:moveTo>
                    <a:pt x="0" y="1"/>
                  </a:moveTo>
                  <a:lnTo>
                    <a:pt x="0" y="1"/>
                  </a:lnTo>
                  <a:cubicBezTo>
                    <a:pt x="2405" y="3989"/>
                    <a:pt x="3584" y="9311"/>
                    <a:pt x="3917" y="13955"/>
                  </a:cubicBezTo>
                  <a:cubicBezTo>
                    <a:pt x="4251" y="18586"/>
                    <a:pt x="4084" y="23015"/>
                    <a:pt x="3679" y="27647"/>
                  </a:cubicBezTo>
                  <a:cubicBezTo>
                    <a:pt x="5929" y="23241"/>
                    <a:pt x="6799" y="18158"/>
                    <a:pt x="6156" y="13252"/>
                  </a:cubicBezTo>
                  <a:cubicBezTo>
                    <a:pt x="5501" y="8347"/>
                    <a:pt x="3322" y="3668"/>
                    <a:pt x="0" y="1"/>
                  </a:cubicBezTo>
                  <a:close/>
                </a:path>
              </a:pathLst>
            </a:custGeom>
            <a:solidFill>
              <a:srgbClr val="FFFFFF"/>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27" name="Google Shape;309;p18">
              <a:extLst>
                <a:ext uri="{FF2B5EF4-FFF2-40B4-BE49-F238E27FC236}">
                  <a16:creationId xmlns:a16="http://schemas.microsoft.com/office/drawing/2014/main" id="{B304CF10-F71C-472D-866D-9D04AC0BFDD5}"/>
                </a:ext>
              </a:extLst>
            </p:cNvPr>
            <p:cNvSpPr/>
            <p:nvPr/>
          </p:nvSpPr>
          <p:spPr>
            <a:xfrm>
              <a:off x="5283479" y="1555745"/>
              <a:ext cx="144378" cy="144378"/>
            </a:xfrm>
            <a:custGeom>
              <a:avLst/>
              <a:gdLst/>
              <a:ahLst/>
              <a:cxnLst/>
              <a:rect l="l" t="t" r="r" b="b"/>
              <a:pathLst>
                <a:path w="6132" h="6132" extrusionOk="0">
                  <a:moveTo>
                    <a:pt x="3072" y="0"/>
                  </a:moveTo>
                  <a:cubicBezTo>
                    <a:pt x="1370" y="0"/>
                    <a:pt x="0" y="1369"/>
                    <a:pt x="0" y="3060"/>
                  </a:cubicBezTo>
                  <a:cubicBezTo>
                    <a:pt x="0" y="4751"/>
                    <a:pt x="1370" y="6132"/>
                    <a:pt x="3072" y="6132"/>
                  </a:cubicBezTo>
                  <a:cubicBezTo>
                    <a:pt x="4763" y="6132"/>
                    <a:pt x="6132" y="4751"/>
                    <a:pt x="6132" y="3060"/>
                  </a:cubicBezTo>
                  <a:cubicBezTo>
                    <a:pt x="6132" y="1369"/>
                    <a:pt x="4763" y="0"/>
                    <a:pt x="3072" y="0"/>
                  </a:cubicBezTo>
                  <a:close/>
                </a:path>
              </a:pathLst>
            </a:custGeom>
            <a:solidFill>
              <a:srgbClr val="FFFFFF"/>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28" name="Google Shape;310;p18">
              <a:extLst>
                <a:ext uri="{FF2B5EF4-FFF2-40B4-BE49-F238E27FC236}">
                  <a16:creationId xmlns:a16="http://schemas.microsoft.com/office/drawing/2014/main" id="{100A19E7-AC95-4D6E-8769-8ECAAC91F763}"/>
                </a:ext>
              </a:extLst>
            </p:cNvPr>
            <p:cNvSpPr/>
            <p:nvPr/>
          </p:nvSpPr>
          <p:spPr>
            <a:xfrm>
              <a:off x="5283479" y="3804088"/>
              <a:ext cx="144378" cy="144378"/>
            </a:xfrm>
            <a:custGeom>
              <a:avLst/>
              <a:gdLst/>
              <a:ahLst/>
              <a:cxnLst/>
              <a:rect l="l" t="t" r="r" b="b"/>
              <a:pathLst>
                <a:path w="6132" h="6132" extrusionOk="0">
                  <a:moveTo>
                    <a:pt x="3072" y="0"/>
                  </a:moveTo>
                  <a:cubicBezTo>
                    <a:pt x="1370" y="0"/>
                    <a:pt x="0" y="1381"/>
                    <a:pt x="0" y="3072"/>
                  </a:cubicBezTo>
                  <a:cubicBezTo>
                    <a:pt x="0" y="4763"/>
                    <a:pt x="1370" y="6132"/>
                    <a:pt x="3072" y="6132"/>
                  </a:cubicBezTo>
                  <a:cubicBezTo>
                    <a:pt x="4763" y="6132"/>
                    <a:pt x="6132" y="4763"/>
                    <a:pt x="6132" y="3072"/>
                  </a:cubicBezTo>
                  <a:cubicBezTo>
                    <a:pt x="6132" y="1381"/>
                    <a:pt x="4763" y="0"/>
                    <a:pt x="3072" y="0"/>
                  </a:cubicBezTo>
                  <a:close/>
                </a:path>
              </a:pathLst>
            </a:custGeom>
            <a:solidFill>
              <a:srgbClr val="FFFFFF"/>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grpSp>
      <p:grpSp>
        <p:nvGrpSpPr>
          <p:cNvPr id="29" name="Google Shape;311;p18">
            <a:extLst>
              <a:ext uri="{FF2B5EF4-FFF2-40B4-BE49-F238E27FC236}">
                <a16:creationId xmlns:a16="http://schemas.microsoft.com/office/drawing/2014/main" id="{54889070-53D7-45C9-BBB4-114DB664D752}"/>
              </a:ext>
            </a:extLst>
          </p:cNvPr>
          <p:cNvGrpSpPr/>
          <p:nvPr/>
        </p:nvGrpSpPr>
        <p:grpSpPr>
          <a:xfrm>
            <a:off x="946980" y="2341037"/>
            <a:ext cx="2367819" cy="2017373"/>
            <a:chOff x="744975" y="1966949"/>
            <a:chExt cx="1848318" cy="1574760"/>
          </a:xfrm>
        </p:grpSpPr>
        <p:sp>
          <p:nvSpPr>
            <p:cNvPr id="30" name="Google Shape;312;p18">
              <a:extLst>
                <a:ext uri="{FF2B5EF4-FFF2-40B4-BE49-F238E27FC236}">
                  <a16:creationId xmlns:a16="http://schemas.microsoft.com/office/drawing/2014/main" id="{2D77657B-7E59-42E9-B1BA-A1EF74B5773D}"/>
                </a:ext>
              </a:extLst>
            </p:cNvPr>
            <p:cNvSpPr/>
            <p:nvPr/>
          </p:nvSpPr>
          <p:spPr>
            <a:xfrm>
              <a:off x="1046903" y="2312825"/>
              <a:ext cx="1196486" cy="234108"/>
            </a:xfrm>
            <a:custGeom>
              <a:avLst/>
              <a:gdLst/>
              <a:ahLst/>
              <a:cxnLst/>
              <a:rect l="l" t="t" r="r" b="b"/>
              <a:pathLst>
                <a:path w="50817" h="9943" extrusionOk="0">
                  <a:moveTo>
                    <a:pt x="4978" y="1"/>
                  </a:moveTo>
                  <a:cubicBezTo>
                    <a:pt x="2227" y="1"/>
                    <a:pt x="1" y="2227"/>
                    <a:pt x="1" y="4966"/>
                  </a:cubicBezTo>
                  <a:cubicBezTo>
                    <a:pt x="1" y="7716"/>
                    <a:pt x="2227" y="9942"/>
                    <a:pt x="4978" y="9942"/>
                  </a:cubicBezTo>
                  <a:lnTo>
                    <a:pt x="50817" y="9942"/>
                  </a:lnTo>
                  <a:lnTo>
                    <a:pt x="50817" y="1"/>
                  </a:lnTo>
                  <a:close/>
                </a:path>
              </a:pathLst>
            </a:custGeom>
            <a:solidFill>
              <a:srgbClr val="869FB2"/>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 sz="1600" b="0" i="0" u="none" strike="noStrike" kern="1200" cap="none" spc="0" normalizeH="0" baseline="0" noProof="0">
                  <a:ln>
                    <a:noFill/>
                  </a:ln>
                  <a:solidFill>
                    <a:srgbClr val="FFFFFF"/>
                  </a:solidFill>
                  <a:effectLst/>
                  <a:uLnTx/>
                  <a:uFillTx/>
                  <a:latin typeface="Arial"/>
                  <a:ea typeface="+mn-ea"/>
                  <a:cs typeface="+mn-ea"/>
                  <a:sym typeface="+mn-lt"/>
                </a:rPr>
                <a:t>Mercury</a:t>
              </a:r>
              <a:endParaRPr kumimoji="0" sz="1600" b="0" i="0" u="none" strike="noStrike" kern="1200" cap="none" spc="0" normalizeH="0" baseline="0" noProof="0">
                <a:ln>
                  <a:noFill/>
                </a:ln>
                <a:solidFill>
                  <a:srgbClr val="FFFFFF"/>
                </a:solidFill>
                <a:effectLst/>
                <a:uLnTx/>
                <a:uFillTx/>
                <a:latin typeface="Arial"/>
                <a:ea typeface="+mn-ea"/>
                <a:cs typeface="+mn-ea"/>
                <a:sym typeface="+mn-lt"/>
              </a:endParaRPr>
            </a:p>
          </p:txBody>
        </p:sp>
        <p:sp>
          <p:nvSpPr>
            <p:cNvPr id="31" name="Google Shape;313;p18">
              <a:extLst>
                <a:ext uri="{FF2B5EF4-FFF2-40B4-BE49-F238E27FC236}">
                  <a16:creationId xmlns:a16="http://schemas.microsoft.com/office/drawing/2014/main" id="{7D7BAE86-87E1-472E-8278-1EBE4DB2791F}"/>
                </a:ext>
              </a:extLst>
            </p:cNvPr>
            <p:cNvSpPr/>
            <p:nvPr/>
          </p:nvSpPr>
          <p:spPr>
            <a:xfrm>
              <a:off x="1046903" y="2945831"/>
              <a:ext cx="1196486" cy="234108"/>
            </a:xfrm>
            <a:custGeom>
              <a:avLst/>
              <a:gdLst/>
              <a:ahLst/>
              <a:cxnLst/>
              <a:rect l="l" t="t" r="r" b="b"/>
              <a:pathLst>
                <a:path w="50817" h="9943" extrusionOk="0">
                  <a:moveTo>
                    <a:pt x="4978" y="1"/>
                  </a:moveTo>
                  <a:cubicBezTo>
                    <a:pt x="2227" y="1"/>
                    <a:pt x="1" y="2227"/>
                    <a:pt x="1" y="4978"/>
                  </a:cubicBezTo>
                  <a:cubicBezTo>
                    <a:pt x="1" y="7716"/>
                    <a:pt x="2227" y="9943"/>
                    <a:pt x="4978" y="9943"/>
                  </a:cubicBezTo>
                  <a:lnTo>
                    <a:pt x="50817" y="9943"/>
                  </a:lnTo>
                  <a:lnTo>
                    <a:pt x="50817" y="1"/>
                  </a:lnTo>
                  <a:close/>
                </a:path>
              </a:pathLst>
            </a:custGeom>
            <a:solidFill>
              <a:srgbClr val="869FB2"/>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 sz="1600" b="0" i="0" u="none" strike="noStrike" kern="1200" cap="none" spc="0" normalizeH="0" baseline="0" noProof="0">
                  <a:ln>
                    <a:noFill/>
                  </a:ln>
                  <a:solidFill>
                    <a:srgbClr val="FFFFFF"/>
                  </a:solidFill>
                  <a:effectLst/>
                  <a:uLnTx/>
                  <a:uFillTx/>
                  <a:latin typeface="Arial"/>
                  <a:ea typeface="+mn-ea"/>
                  <a:cs typeface="+mn-ea"/>
                  <a:sym typeface="+mn-lt"/>
                </a:rPr>
                <a:t>Jupiter</a:t>
              </a:r>
              <a:endParaRPr kumimoji="0" sz="1600" b="0" i="0" u="none" strike="noStrike" kern="1200" cap="none" spc="0" normalizeH="0" baseline="0" noProof="0">
                <a:ln>
                  <a:noFill/>
                </a:ln>
                <a:solidFill>
                  <a:srgbClr val="FFFFFF"/>
                </a:solidFill>
                <a:effectLst/>
                <a:uLnTx/>
                <a:uFillTx/>
                <a:latin typeface="Arial"/>
                <a:ea typeface="+mn-ea"/>
                <a:cs typeface="+mn-ea"/>
                <a:sym typeface="+mn-lt"/>
              </a:endParaRPr>
            </a:p>
          </p:txBody>
        </p:sp>
        <p:sp>
          <p:nvSpPr>
            <p:cNvPr id="32" name="Google Shape;314;p18">
              <a:extLst>
                <a:ext uri="{FF2B5EF4-FFF2-40B4-BE49-F238E27FC236}">
                  <a16:creationId xmlns:a16="http://schemas.microsoft.com/office/drawing/2014/main" id="{9EC5C595-DC78-4C5C-BB29-A205E1DEFD7F}"/>
                </a:ext>
              </a:extLst>
            </p:cNvPr>
            <p:cNvSpPr/>
            <p:nvPr/>
          </p:nvSpPr>
          <p:spPr>
            <a:xfrm>
              <a:off x="744975" y="1978098"/>
              <a:ext cx="1196204" cy="234108"/>
            </a:xfrm>
            <a:custGeom>
              <a:avLst/>
              <a:gdLst/>
              <a:ahLst/>
              <a:cxnLst/>
              <a:rect l="l" t="t" r="r" b="b"/>
              <a:pathLst>
                <a:path w="50805" h="9943" extrusionOk="0">
                  <a:moveTo>
                    <a:pt x="4978" y="1"/>
                  </a:moveTo>
                  <a:cubicBezTo>
                    <a:pt x="2227" y="1"/>
                    <a:pt x="1" y="2227"/>
                    <a:pt x="1" y="4977"/>
                  </a:cubicBezTo>
                  <a:cubicBezTo>
                    <a:pt x="1" y="7716"/>
                    <a:pt x="2227" y="9942"/>
                    <a:pt x="4978" y="9942"/>
                  </a:cubicBezTo>
                  <a:lnTo>
                    <a:pt x="50805" y="9942"/>
                  </a:lnTo>
                  <a:lnTo>
                    <a:pt x="50805" y="1"/>
                  </a:lnTo>
                  <a:close/>
                </a:path>
              </a:pathLst>
            </a:custGeom>
            <a:solidFill>
              <a:srgbClr val="869FB2"/>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 sz="1600" b="0" i="0" u="none" strike="noStrike" kern="1200" cap="none" spc="0" normalizeH="0" baseline="0" noProof="0">
                  <a:ln>
                    <a:noFill/>
                  </a:ln>
                  <a:solidFill>
                    <a:srgbClr val="FFFFFF"/>
                  </a:solidFill>
                  <a:effectLst/>
                  <a:uLnTx/>
                  <a:uFillTx/>
                  <a:latin typeface="Arial"/>
                  <a:ea typeface="+mn-ea"/>
                  <a:cs typeface="+mn-ea"/>
                  <a:sym typeface="+mn-lt"/>
                </a:rPr>
                <a:t>Venus</a:t>
              </a:r>
              <a:endParaRPr kumimoji="0" sz="1600" b="0" i="0" u="none" strike="noStrike" kern="1200" cap="none" spc="0" normalizeH="0" baseline="0" noProof="0">
                <a:ln>
                  <a:noFill/>
                </a:ln>
                <a:solidFill>
                  <a:srgbClr val="FFFFFF"/>
                </a:solidFill>
                <a:effectLst/>
                <a:uLnTx/>
                <a:uFillTx/>
                <a:latin typeface="Arial"/>
                <a:ea typeface="+mn-ea"/>
                <a:cs typeface="+mn-ea"/>
                <a:sym typeface="+mn-lt"/>
              </a:endParaRPr>
            </a:p>
          </p:txBody>
        </p:sp>
        <p:sp>
          <p:nvSpPr>
            <p:cNvPr id="33" name="Google Shape;315;p18">
              <a:extLst>
                <a:ext uri="{FF2B5EF4-FFF2-40B4-BE49-F238E27FC236}">
                  <a16:creationId xmlns:a16="http://schemas.microsoft.com/office/drawing/2014/main" id="{76E1DAD2-64F5-48A6-9BFE-1FE6B0EFDB0F}"/>
                </a:ext>
              </a:extLst>
            </p:cNvPr>
            <p:cNvSpPr/>
            <p:nvPr/>
          </p:nvSpPr>
          <p:spPr>
            <a:xfrm>
              <a:off x="744975" y="3283925"/>
              <a:ext cx="1196204" cy="234108"/>
            </a:xfrm>
            <a:custGeom>
              <a:avLst/>
              <a:gdLst/>
              <a:ahLst/>
              <a:cxnLst/>
              <a:rect l="l" t="t" r="r" b="b"/>
              <a:pathLst>
                <a:path w="50805" h="9943" extrusionOk="0">
                  <a:moveTo>
                    <a:pt x="4978" y="1"/>
                  </a:moveTo>
                  <a:cubicBezTo>
                    <a:pt x="2227" y="1"/>
                    <a:pt x="1" y="2227"/>
                    <a:pt x="1" y="4966"/>
                  </a:cubicBezTo>
                  <a:cubicBezTo>
                    <a:pt x="1" y="7716"/>
                    <a:pt x="2227" y="9943"/>
                    <a:pt x="4978" y="9943"/>
                  </a:cubicBezTo>
                  <a:lnTo>
                    <a:pt x="50805" y="9943"/>
                  </a:lnTo>
                  <a:lnTo>
                    <a:pt x="50805" y="1"/>
                  </a:lnTo>
                  <a:close/>
                </a:path>
              </a:pathLst>
            </a:custGeom>
            <a:solidFill>
              <a:srgbClr val="869FB2"/>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 sz="1600" b="0" i="0" u="none" strike="noStrike" kern="1200" cap="none" spc="0" normalizeH="0" baseline="0" noProof="0">
                  <a:ln>
                    <a:noFill/>
                  </a:ln>
                  <a:solidFill>
                    <a:srgbClr val="FFFFFF"/>
                  </a:solidFill>
                  <a:effectLst/>
                  <a:uLnTx/>
                  <a:uFillTx/>
                  <a:latin typeface="Arial"/>
                  <a:ea typeface="+mn-ea"/>
                  <a:cs typeface="+mn-ea"/>
                  <a:sym typeface="+mn-lt"/>
                </a:rPr>
                <a:t>Ersa</a:t>
              </a:r>
              <a:endParaRPr kumimoji="0" sz="1600" b="0" i="0" u="none" strike="noStrike" kern="1200" cap="none" spc="0" normalizeH="0" baseline="0" noProof="0">
                <a:ln>
                  <a:noFill/>
                </a:ln>
                <a:solidFill>
                  <a:srgbClr val="FFFFFF"/>
                </a:solidFill>
                <a:effectLst/>
                <a:uLnTx/>
                <a:uFillTx/>
                <a:latin typeface="Arial"/>
                <a:ea typeface="+mn-ea"/>
                <a:cs typeface="+mn-ea"/>
                <a:sym typeface="+mn-lt"/>
              </a:endParaRPr>
            </a:p>
          </p:txBody>
        </p:sp>
        <p:sp>
          <p:nvSpPr>
            <p:cNvPr id="34" name="Google Shape;316;p18">
              <a:extLst>
                <a:ext uri="{FF2B5EF4-FFF2-40B4-BE49-F238E27FC236}">
                  <a16:creationId xmlns:a16="http://schemas.microsoft.com/office/drawing/2014/main" id="{11DDA604-4E77-4C0C-A254-EF7F386BA0F2}"/>
                </a:ext>
              </a:extLst>
            </p:cNvPr>
            <p:cNvSpPr/>
            <p:nvPr/>
          </p:nvSpPr>
          <p:spPr>
            <a:xfrm>
              <a:off x="1777012" y="1966949"/>
              <a:ext cx="816282" cy="1574760"/>
            </a:xfrm>
            <a:custGeom>
              <a:avLst/>
              <a:gdLst/>
              <a:ahLst/>
              <a:cxnLst/>
              <a:rect l="l" t="t" r="r" b="b"/>
              <a:pathLst>
                <a:path w="34669" h="66883" extrusionOk="0">
                  <a:moveTo>
                    <a:pt x="5112" y="0"/>
                  </a:moveTo>
                  <a:cubicBezTo>
                    <a:pt x="2411" y="0"/>
                    <a:pt x="0" y="3146"/>
                    <a:pt x="1998" y="5968"/>
                  </a:cubicBezTo>
                  <a:lnTo>
                    <a:pt x="14512" y="23720"/>
                  </a:lnTo>
                  <a:cubicBezTo>
                    <a:pt x="18619" y="29542"/>
                    <a:pt x="18619" y="37340"/>
                    <a:pt x="14512" y="43163"/>
                  </a:cubicBezTo>
                  <a:lnTo>
                    <a:pt x="1998" y="60915"/>
                  </a:lnTo>
                  <a:cubicBezTo>
                    <a:pt x="0" y="63737"/>
                    <a:pt x="2411" y="66882"/>
                    <a:pt x="5112" y="66882"/>
                  </a:cubicBezTo>
                  <a:cubicBezTo>
                    <a:pt x="6000" y="66882"/>
                    <a:pt x="6920" y="66542"/>
                    <a:pt x="7725" y="65737"/>
                  </a:cubicBezTo>
                  <a:lnTo>
                    <a:pt x="28085" y="45377"/>
                  </a:lnTo>
                  <a:cubicBezTo>
                    <a:pt x="34669" y="38781"/>
                    <a:pt x="34669" y="28101"/>
                    <a:pt x="28085" y="21505"/>
                  </a:cubicBezTo>
                  <a:lnTo>
                    <a:pt x="7725" y="1146"/>
                  </a:lnTo>
                  <a:cubicBezTo>
                    <a:pt x="6920" y="341"/>
                    <a:pt x="6000" y="0"/>
                    <a:pt x="5112" y="0"/>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35" name="Google Shape;317;p18">
              <a:extLst>
                <a:ext uri="{FF2B5EF4-FFF2-40B4-BE49-F238E27FC236}">
                  <a16:creationId xmlns:a16="http://schemas.microsoft.com/office/drawing/2014/main" id="{2E866376-7F3E-484B-AD12-9F1E3365AA1F}"/>
                </a:ext>
              </a:extLst>
            </p:cNvPr>
            <p:cNvSpPr/>
            <p:nvPr/>
          </p:nvSpPr>
          <p:spPr>
            <a:xfrm>
              <a:off x="1809199" y="3412709"/>
              <a:ext cx="123070" cy="124506"/>
            </a:xfrm>
            <a:custGeom>
              <a:avLst/>
              <a:gdLst/>
              <a:ahLst/>
              <a:cxnLst/>
              <a:rect l="l" t="t" r="r" b="b"/>
              <a:pathLst>
                <a:path w="5227" h="5288" extrusionOk="0">
                  <a:moveTo>
                    <a:pt x="2560" y="1"/>
                  </a:moveTo>
                  <a:lnTo>
                    <a:pt x="0" y="2549"/>
                  </a:lnTo>
                  <a:cubicBezTo>
                    <a:pt x="334" y="3835"/>
                    <a:pt x="1358" y="4882"/>
                    <a:pt x="2596" y="5287"/>
                  </a:cubicBezTo>
                  <a:lnTo>
                    <a:pt x="5227" y="2668"/>
                  </a:lnTo>
                  <a:lnTo>
                    <a:pt x="2560" y="1"/>
                  </a:ln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36" name="Google Shape;318;p18">
              <a:extLst>
                <a:ext uri="{FF2B5EF4-FFF2-40B4-BE49-F238E27FC236}">
                  <a16:creationId xmlns:a16="http://schemas.microsoft.com/office/drawing/2014/main" id="{DD6FD052-A64F-4234-AD11-91A7DD2AFE55}"/>
                </a:ext>
              </a:extLst>
            </p:cNvPr>
            <p:cNvSpPr/>
            <p:nvPr/>
          </p:nvSpPr>
          <p:spPr>
            <a:xfrm>
              <a:off x="1856573" y="1966996"/>
              <a:ext cx="693283" cy="1291796"/>
            </a:xfrm>
            <a:custGeom>
              <a:avLst/>
              <a:gdLst/>
              <a:ahLst/>
              <a:cxnLst/>
              <a:rect l="l" t="t" r="r" b="b"/>
              <a:pathLst>
                <a:path w="29445" h="54865" extrusionOk="0">
                  <a:moveTo>
                    <a:pt x="1726" y="0"/>
                  </a:moveTo>
                  <a:cubicBezTo>
                    <a:pt x="1710" y="0"/>
                    <a:pt x="1695" y="0"/>
                    <a:pt x="1679" y="1"/>
                  </a:cubicBezTo>
                  <a:cubicBezTo>
                    <a:pt x="536" y="1048"/>
                    <a:pt x="0" y="2751"/>
                    <a:pt x="965" y="4525"/>
                  </a:cubicBezTo>
                  <a:lnTo>
                    <a:pt x="11347" y="23599"/>
                  </a:lnTo>
                  <a:cubicBezTo>
                    <a:pt x="11692" y="24230"/>
                    <a:pt x="11990" y="24873"/>
                    <a:pt x="12240" y="25527"/>
                  </a:cubicBezTo>
                  <a:cubicBezTo>
                    <a:pt x="12657" y="26301"/>
                    <a:pt x="13002" y="27099"/>
                    <a:pt x="13288" y="27909"/>
                  </a:cubicBezTo>
                  <a:cubicBezTo>
                    <a:pt x="22396" y="45328"/>
                    <a:pt x="15205" y="54864"/>
                    <a:pt x="15205" y="54864"/>
                  </a:cubicBezTo>
                  <a:lnTo>
                    <a:pt x="24706" y="45375"/>
                  </a:lnTo>
                  <a:cubicBezTo>
                    <a:pt x="26301" y="43780"/>
                    <a:pt x="27504" y="41946"/>
                    <a:pt x="28325" y="39994"/>
                  </a:cubicBezTo>
                  <a:cubicBezTo>
                    <a:pt x="29445" y="32850"/>
                    <a:pt x="27778" y="26373"/>
                    <a:pt x="25087" y="22968"/>
                  </a:cubicBezTo>
                  <a:lnTo>
                    <a:pt x="20955" y="17765"/>
                  </a:lnTo>
                  <a:lnTo>
                    <a:pt x="4346" y="1144"/>
                  </a:lnTo>
                  <a:cubicBezTo>
                    <a:pt x="3539" y="336"/>
                    <a:pt x="2616" y="0"/>
                    <a:pt x="1726" y="0"/>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37" name="Google Shape;319;p18">
              <a:extLst>
                <a:ext uri="{FF2B5EF4-FFF2-40B4-BE49-F238E27FC236}">
                  <a16:creationId xmlns:a16="http://schemas.microsoft.com/office/drawing/2014/main" id="{D89D9D35-3C71-46EF-B8E6-7D879FC37DB9}"/>
                </a:ext>
              </a:extLst>
            </p:cNvPr>
            <p:cNvSpPr/>
            <p:nvPr/>
          </p:nvSpPr>
          <p:spPr>
            <a:xfrm>
              <a:off x="1777012" y="1966949"/>
              <a:ext cx="816282" cy="1172423"/>
            </a:xfrm>
            <a:custGeom>
              <a:avLst/>
              <a:gdLst/>
              <a:ahLst/>
              <a:cxnLst/>
              <a:rect l="l" t="t" r="r" b="b"/>
              <a:pathLst>
                <a:path w="34669" h="49795" extrusionOk="0">
                  <a:moveTo>
                    <a:pt x="5112" y="0"/>
                  </a:moveTo>
                  <a:cubicBezTo>
                    <a:pt x="2411" y="0"/>
                    <a:pt x="0" y="3146"/>
                    <a:pt x="1998" y="5968"/>
                  </a:cubicBezTo>
                  <a:lnTo>
                    <a:pt x="14512" y="23720"/>
                  </a:lnTo>
                  <a:cubicBezTo>
                    <a:pt x="14928" y="24303"/>
                    <a:pt x="15298" y="24910"/>
                    <a:pt x="15619" y="25529"/>
                  </a:cubicBezTo>
                  <a:cubicBezTo>
                    <a:pt x="18584" y="30482"/>
                    <a:pt x="26287" y="44282"/>
                    <a:pt x="23656" y="49794"/>
                  </a:cubicBezTo>
                  <a:lnTo>
                    <a:pt x="28085" y="45377"/>
                  </a:lnTo>
                  <a:cubicBezTo>
                    <a:pt x="34669" y="38781"/>
                    <a:pt x="34669" y="28101"/>
                    <a:pt x="28085" y="21505"/>
                  </a:cubicBezTo>
                  <a:lnTo>
                    <a:pt x="7725" y="1146"/>
                  </a:lnTo>
                  <a:cubicBezTo>
                    <a:pt x="6920" y="341"/>
                    <a:pt x="6000" y="0"/>
                    <a:pt x="5112" y="0"/>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38" name="Google Shape;320;p18">
              <a:extLst>
                <a:ext uri="{FF2B5EF4-FFF2-40B4-BE49-F238E27FC236}">
                  <a16:creationId xmlns:a16="http://schemas.microsoft.com/office/drawing/2014/main" id="{FC12EE4F-1DE8-4439-97C8-A729708BC570}"/>
                </a:ext>
              </a:extLst>
            </p:cNvPr>
            <p:cNvSpPr/>
            <p:nvPr/>
          </p:nvSpPr>
          <p:spPr>
            <a:xfrm>
              <a:off x="1812825" y="2030640"/>
              <a:ext cx="119444" cy="132064"/>
            </a:xfrm>
            <a:custGeom>
              <a:avLst/>
              <a:gdLst/>
              <a:ahLst/>
              <a:cxnLst/>
              <a:rect l="l" t="t" r="r" b="b"/>
              <a:pathLst>
                <a:path w="5073" h="5609" extrusionOk="0">
                  <a:moveTo>
                    <a:pt x="2406" y="0"/>
                  </a:moveTo>
                  <a:lnTo>
                    <a:pt x="1" y="2393"/>
                  </a:lnTo>
                  <a:cubicBezTo>
                    <a:pt x="120" y="2691"/>
                    <a:pt x="275" y="2977"/>
                    <a:pt x="477" y="3263"/>
                  </a:cubicBezTo>
                  <a:lnTo>
                    <a:pt x="2120" y="5608"/>
                  </a:lnTo>
                  <a:lnTo>
                    <a:pt x="5073" y="2655"/>
                  </a:lnTo>
                  <a:lnTo>
                    <a:pt x="2406" y="0"/>
                  </a:ln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39" name="Google Shape;321;p18">
              <a:extLst>
                <a:ext uri="{FF2B5EF4-FFF2-40B4-BE49-F238E27FC236}">
                  <a16:creationId xmlns:a16="http://schemas.microsoft.com/office/drawing/2014/main" id="{C65256A4-5D29-408D-A6EA-0D7AD0F0044D}"/>
                </a:ext>
              </a:extLst>
            </p:cNvPr>
            <p:cNvSpPr/>
            <p:nvPr/>
          </p:nvSpPr>
          <p:spPr>
            <a:xfrm>
              <a:off x="2417529" y="2500214"/>
              <a:ext cx="98418" cy="400053"/>
            </a:xfrm>
            <a:custGeom>
              <a:avLst/>
              <a:gdLst/>
              <a:ahLst/>
              <a:cxnLst/>
              <a:rect l="l" t="t" r="r" b="b"/>
              <a:pathLst>
                <a:path w="4180" h="16991" extrusionOk="0">
                  <a:moveTo>
                    <a:pt x="1" y="0"/>
                  </a:moveTo>
                  <a:cubicBezTo>
                    <a:pt x="1477" y="2441"/>
                    <a:pt x="2203" y="5715"/>
                    <a:pt x="2406" y="8573"/>
                  </a:cubicBezTo>
                  <a:cubicBezTo>
                    <a:pt x="2608" y="11418"/>
                    <a:pt x="2513" y="14145"/>
                    <a:pt x="2263" y="16990"/>
                  </a:cubicBezTo>
                  <a:cubicBezTo>
                    <a:pt x="3644" y="14288"/>
                    <a:pt x="4180" y="11156"/>
                    <a:pt x="3787" y="8144"/>
                  </a:cubicBezTo>
                  <a:cubicBezTo>
                    <a:pt x="3382" y="5132"/>
                    <a:pt x="2049" y="2250"/>
                    <a:pt x="1" y="0"/>
                  </a:cubicBezTo>
                  <a:close/>
                </a:path>
              </a:pathLst>
            </a:custGeom>
            <a:solidFill>
              <a:srgbClr val="FFFFFF"/>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40" name="Google Shape;322;p18">
              <a:extLst>
                <a:ext uri="{FF2B5EF4-FFF2-40B4-BE49-F238E27FC236}">
                  <a16:creationId xmlns:a16="http://schemas.microsoft.com/office/drawing/2014/main" id="{D54732D1-0CE9-41DC-A149-3ABDC4C5B826}"/>
                </a:ext>
              </a:extLst>
            </p:cNvPr>
            <p:cNvSpPr/>
            <p:nvPr/>
          </p:nvSpPr>
          <p:spPr>
            <a:xfrm>
              <a:off x="1856573" y="2017455"/>
              <a:ext cx="88600" cy="88882"/>
            </a:xfrm>
            <a:custGeom>
              <a:avLst/>
              <a:gdLst/>
              <a:ahLst/>
              <a:cxnLst/>
              <a:rect l="l" t="t" r="r" b="b"/>
              <a:pathLst>
                <a:path w="3763" h="3775" extrusionOk="0">
                  <a:moveTo>
                    <a:pt x="1882" y="1"/>
                  </a:moveTo>
                  <a:cubicBezTo>
                    <a:pt x="834" y="1"/>
                    <a:pt x="0" y="846"/>
                    <a:pt x="0" y="1882"/>
                  </a:cubicBezTo>
                  <a:cubicBezTo>
                    <a:pt x="0" y="2930"/>
                    <a:pt x="834" y="3775"/>
                    <a:pt x="1882" y="3775"/>
                  </a:cubicBezTo>
                  <a:cubicBezTo>
                    <a:pt x="2917" y="3775"/>
                    <a:pt x="3763" y="2930"/>
                    <a:pt x="3763" y="1882"/>
                  </a:cubicBezTo>
                  <a:cubicBezTo>
                    <a:pt x="3763" y="846"/>
                    <a:pt x="2917" y="1"/>
                    <a:pt x="1882" y="1"/>
                  </a:cubicBezTo>
                  <a:close/>
                </a:path>
              </a:pathLst>
            </a:custGeom>
            <a:solidFill>
              <a:srgbClr val="FFFFFF"/>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41" name="Google Shape;323;p18">
              <a:extLst>
                <a:ext uri="{FF2B5EF4-FFF2-40B4-BE49-F238E27FC236}">
                  <a16:creationId xmlns:a16="http://schemas.microsoft.com/office/drawing/2014/main" id="{F758C433-DC55-478A-8380-342E53285D27}"/>
                </a:ext>
              </a:extLst>
            </p:cNvPr>
            <p:cNvSpPr/>
            <p:nvPr/>
          </p:nvSpPr>
          <p:spPr>
            <a:xfrm>
              <a:off x="1856573" y="3399547"/>
              <a:ext cx="88600" cy="88882"/>
            </a:xfrm>
            <a:custGeom>
              <a:avLst/>
              <a:gdLst/>
              <a:ahLst/>
              <a:cxnLst/>
              <a:rect l="l" t="t" r="r" b="b"/>
              <a:pathLst>
                <a:path w="3763" h="3775" extrusionOk="0">
                  <a:moveTo>
                    <a:pt x="1882" y="0"/>
                  </a:moveTo>
                  <a:cubicBezTo>
                    <a:pt x="834" y="0"/>
                    <a:pt x="0" y="846"/>
                    <a:pt x="0" y="1893"/>
                  </a:cubicBezTo>
                  <a:cubicBezTo>
                    <a:pt x="0" y="2929"/>
                    <a:pt x="834" y="3775"/>
                    <a:pt x="1882" y="3775"/>
                  </a:cubicBezTo>
                  <a:cubicBezTo>
                    <a:pt x="2917" y="3775"/>
                    <a:pt x="3763" y="2929"/>
                    <a:pt x="3763" y="1893"/>
                  </a:cubicBezTo>
                  <a:cubicBezTo>
                    <a:pt x="3763" y="846"/>
                    <a:pt x="2917" y="0"/>
                    <a:pt x="1882" y="0"/>
                  </a:cubicBezTo>
                  <a:close/>
                </a:path>
              </a:pathLst>
            </a:custGeom>
            <a:solidFill>
              <a:srgbClr val="FFFFFF"/>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grpSp>
      <p:grpSp>
        <p:nvGrpSpPr>
          <p:cNvPr id="42" name="Google Shape;324;p18">
            <a:extLst>
              <a:ext uri="{FF2B5EF4-FFF2-40B4-BE49-F238E27FC236}">
                <a16:creationId xmlns:a16="http://schemas.microsoft.com/office/drawing/2014/main" id="{44D85BCC-1CDC-4299-B1DF-6F748915A5EE}"/>
              </a:ext>
            </a:extLst>
          </p:cNvPr>
          <p:cNvGrpSpPr/>
          <p:nvPr/>
        </p:nvGrpSpPr>
        <p:grpSpPr>
          <a:xfrm>
            <a:off x="7634891" y="1483783"/>
            <a:ext cx="3206341" cy="3731792"/>
            <a:chOff x="5965554" y="1297777"/>
            <a:chExt cx="2502868" cy="2913034"/>
          </a:xfrm>
        </p:grpSpPr>
        <p:sp>
          <p:nvSpPr>
            <p:cNvPr id="43" name="Google Shape;325;p18">
              <a:extLst>
                <a:ext uri="{FF2B5EF4-FFF2-40B4-BE49-F238E27FC236}">
                  <a16:creationId xmlns:a16="http://schemas.microsoft.com/office/drawing/2014/main" id="{2B37340D-BA3B-4343-8020-526CD1345712}"/>
                </a:ext>
              </a:extLst>
            </p:cNvPr>
            <p:cNvSpPr/>
            <p:nvPr/>
          </p:nvSpPr>
          <p:spPr>
            <a:xfrm>
              <a:off x="6291028" y="3350937"/>
              <a:ext cx="1304676" cy="234108"/>
            </a:xfrm>
            <a:custGeom>
              <a:avLst/>
              <a:gdLst/>
              <a:ahLst/>
              <a:cxnLst/>
              <a:rect l="l" t="t" r="r" b="b"/>
              <a:pathLst>
                <a:path w="55412" h="9943" extrusionOk="0">
                  <a:moveTo>
                    <a:pt x="4965" y="0"/>
                  </a:moveTo>
                  <a:cubicBezTo>
                    <a:pt x="2227" y="0"/>
                    <a:pt x="0" y="2227"/>
                    <a:pt x="0" y="4977"/>
                  </a:cubicBezTo>
                  <a:cubicBezTo>
                    <a:pt x="0" y="7716"/>
                    <a:pt x="2227" y="9942"/>
                    <a:pt x="4965" y="9942"/>
                  </a:cubicBezTo>
                  <a:lnTo>
                    <a:pt x="55412" y="9942"/>
                  </a:lnTo>
                  <a:lnTo>
                    <a:pt x="55412" y="0"/>
                  </a:lnTo>
                  <a:close/>
                </a:path>
              </a:pathLst>
            </a:custGeom>
            <a:solidFill>
              <a:srgbClr val="869FB2"/>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 sz="1600" b="0" i="0" u="none" strike="noStrike" kern="1200" cap="none" spc="0" normalizeH="0" baseline="0" noProof="0">
                  <a:ln>
                    <a:noFill/>
                  </a:ln>
                  <a:solidFill>
                    <a:srgbClr val="FFFFFF"/>
                  </a:solidFill>
                  <a:effectLst/>
                  <a:uLnTx/>
                  <a:uFillTx/>
                  <a:latin typeface="Arial"/>
                  <a:ea typeface="+mn-ea"/>
                  <a:cs typeface="+mn-ea"/>
                  <a:sym typeface="+mn-lt"/>
                </a:rPr>
                <a:t>Callisto</a:t>
              </a:r>
              <a:endParaRPr kumimoji="0" sz="1600" b="0" i="0" u="none" strike="noStrike" kern="1200" cap="none" spc="0" normalizeH="0" baseline="0" noProof="0">
                <a:ln>
                  <a:noFill/>
                </a:ln>
                <a:solidFill>
                  <a:srgbClr val="FFFFFF"/>
                </a:solidFill>
                <a:effectLst/>
                <a:uLnTx/>
                <a:uFillTx/>
                <a:latin typeface="Arial"/>
                <a:ea typeface="+mn-ea"/>
                <a:cs typeface="+mn-ea"/>
                <a:sym typeface="+mn-lt"/>
              </a:endParaRPr>
            </a:p>
          </p:txBody>
        </p:sp>
        <p:sp>
          <p:nvSpPr>
            <p:cNvPr id="44" name="Google Shape;326;p18">
              <a:extLst>
                <a:ext uri="{FF2B5EF4-FFF2-40B4-BE49-F238E27FC236}">
                  <a16:creationId xmlns:a16="http://schemas.microsoft.com/office/drawing/2014/main" id="{044B59A3-EC19-40B3-BCAE-FC355BAA1C65}"/>
                </a:ext>
              </a:extLst>
            </p:cNvPr>
            <p:cNvSpPr/>
            <p:nvPr/>
          </p:nvSpPr>
          <p:spPr>
            <a:xfrm>
              <a:off x="6291028" y="1953163"/>
              <a:ext cx="1304676" cy="234084"/>
            </a:xfrm>
            <a:custGeom>
              <a:avLst/>
              <a:gdLst/>
              <a:ahLst/>
              <a:cxnLst/>
              <a:rect l="l" t="t" r="r" b="b"/>
              <a:pathLst>
                <a:path w="55412" h="9942" extrusionOk="0">
                  <a:moveTo>
                    <a:pt x="4965" y="0"/>
                  </a:moveTo>
                  <a:cubicBezTo>
                    <a:pt x="2227" y="0"/>
                    <a:pt x="0" y="2226"/>
                    <a:pt x="0" y="4977"/>
                  </a:cubicBezTo>
                  <a:cubicBezTo>
                    <a:pt x="0" y="7715"/>
                    <a:pt x="2227" y="9942"/>
                    <a:pt x="4965" y="9942"/>
                  </a:cubicBezTo>
                  <a:lnTo>
                    <a:pt x="55412" y="9942"/>
                  </a:lnTo>
                  <a:lnTo>
                    <a:pt x="55412" y="0"/>
                  </a:lnTo>
                  <a:close/>
                </a:path>
              </a:pathLst>
            </a:custGeom>
            <a:solidFill>
              <a:srgbClr val="869FB2"/>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 sz="1600" b="0" i="0" u="none" strike="noStrike" kern="1200" cap="none" spc="0" normalizeH="0" baseline="0" noProof="0">
                  <a:ln>
                    <a:noFill/>
                  </a:ln>
                  <a:solidFill>
                    <a:srgbClr val="FFFFFF"/>
                  </a:solidFill>
                  <a:effectLst/>
                  <a:uLnTx/>
                  <a:uFillTx/>
                  <a:latin typeface="Arial"/>
                  <a:ea typeface="+mn-ea"/>
                  <a:cs typeface="+mn-ea"/>
                  <a:sym typeface="+mn-lt"/>
                </a:rPr>
                <a:t>Leda</a:t>
              </a:r>
              <a:endParaRPr kumimoji="0" sz="1600" b="0" i="0" u="none" strike="noStrike" kern="1200" cap="none" spc="0" normalizeH="0" baseline="0" noProof="0">
                <a:ln>
                  <a:noFill/>
                </a:ln>
                <a:solidFill>
                  <a:srgbClr val="FFFFFF"/>
                </a:solidFill>
                <a:effectLst/>
                <a:uLnTx/>
                <a:uFillTx/>
                <a:latin typeface="Arial"/>
                <a:ea typeface="+mn-ea"/>
                <a:cs typeface="+mn-ea"/>
                <a:sym typeface="+mn-lt"/>
              </a:endParaRPr>
            </a:p>
          </p:txBody>
        </p:sp>
        <p:sp>
          <p:nvSpPr>
            <p:cNvPr id="45" name="Google Shape;327;p18">
              <a:extLst>
                <a:ext uri="{FF2B5EF4-FFF2-40B4-BE49-F238E27FC236}">
                  <a16:creationId xmlns:a16="http://schemas.microsoft.com/office/drawing/2014/main" id="{D30433A7-3C2C-45A2-ABFF-20F1FC812514}"/>
                </a:ext>
              </a:extLst>
            </p:cNvPr>
            <p:cNvSpPr/>
            <p:nvPr/>
          </p:nvSpPr>
          <p:spPr>
            <a:xfrm>
              <a:off x="5965554" y="1360232"/>
              <a:ext cx="1196204" cy="234108"/>
            </a:xfrm>
            <a:custGeom>
              <a:avLst/>
              <a:gdLst/>
              <a:ahLst/>
              <a:cxnLst/>
              <a:rect l="l" t="t" r="r" b="b"/>
              <a:pathLst>
                <a:path w="50805" h="9943" extrusionOk="0">
                  <a:moveTo>
                    <a:pt x="4977" y="0"/>
                  </a:moveTo>
                  <a:cubicBezTo>
                    <a:pt x="2227" y="0"/>
                    <a:pt x="0" y="2227"/>
                    <a:pt x="0" y="4977"/>
                  </a:cubicBezTo>
                  <a:cubicBezTo>
                    <a:pt x="0" y="7716"/>
                    <a:pt x="2227" y="9942"/>
                    <a:pt x="4977" y="9942"/>
                  </a:cubicBezTo>
                  <a:lnTo>
                    <a:pt x="50804" y="9942"/>
                  </a:lnTo>
                  <a:lnTo>
                    <a:pt x="50804" y="0"/>
                  </a:lnTo>
                  <a:close/>
                </a:path>
              </a:pathLst>
            </a:custGeom>
            <a:solidFill>
              <a:srgbClr val="869FB2"/>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 sz="1600" b="0" i="0" u="none" strike="noStrike" kern="1200" cap="none" spc="0" normalizeH="0" baseline="0" noProof="0">
                  <a:ln>
                    <a:noFill/>
                  </a:ln>
                  <a:solidFill>
                    <a:srgbClr val="FFFFFF"/>
                  </a:solidFill>
                  <a:effectLst/>
                  <a:uLnTx/>
                  <a:uFillTx/>
                  <a:latin typeface="Arial"/>
                  <a:ea typeface="+mn-ea"/>
                  <a:cs typeface="+mn-ea"/>
                  <a:sym typeface="+mn-lt"/>
                </a:rPr>
                <a:t>Europa</a:t>
              </a:r>
              <a:endParaRPr kumimoji="0" sz="1600" b="0" i="0" u="none" strike="noStrike" kern="1200" cap="none" spc="0" normalizeH="0" baseline="0" noProof="0">
                <a:ln>
                  <a:noFill/>
                </a:ln>
                <a:solidFill>
                  <a:srgbClr val="FFFFFF"/>
                </a:solidFill>
                <a:effectLst/>
                <a:uLnTx/>
                <a:uFillTx/>
                <a:latin typeface="Arial"/>
                <a:ea typeface="+mn-ea"/>
                <a:cs typeface="+mn-ea"/>
                <a:sym typeface="+mn-lt"/>
              </a:endParaRPr>
            </a:p>
          </p:txBody>
        </p:sp>
        <p:sp>
          <p:nvSpPr>
            <p:cNvPr id="46" name="Google Shape;328;p18">
              <a:extLst>
                <a:ext uri="{FF2B5EF4-FFF2-40B4-BE49-F238E27FC236}">
                  <a16:creationId xmlns:a16="http://schemas.microsoft.com/office/drawing/2014/main" id="{75E66978-206A-41B7-B7A9-2051BA089C5E}"/>
                </a:ext>
              </a:extLst>
            </p:cNvPr>
            <p:cNvSpPr/>
            <p:nvPr/>
          </p:nvSpPr>
          <p:spPr>
            <a:xfrm>
              <a:off x="5965554" y="3914412"/>
              <a:ext cx="1196204" cy="234108"/>
            </a:xfrm>
            <a:custGeom>
              <a:avLst/>
              <a:gdLst/>
              <a:ahLst/>
              <a:cxnLst/>
              <a:rect l="l" t="t" r="r" b="b"/>
              <a:pathLst>
                <a:path w="50805" h="9943" extrusionOk="0">
                  <a:moveTo>
                    <a:pt x="4965" y="1"/>
                  </a:moveTo>
                  <a:cubicBezTo>
                    <a:pt x="2227" y="1"/>
                    <a:pt x="0" y="2227"/>
                    <a:pt x="0" y="4978"/>
                  </a:cubicBezTo>
                  <a:cubicBezTo>
                    <a:pt x="0" y="7716"/>
                    <a:pt x="2227" y="9943"/>
                    <a:pt x="4965" y="9943"/>
                  </a:cubicBezTo>
                  <a:lnTo>
                    <a:pt x="50804" y="9943"/>
                  </a:lnTo>
                  <a:lnTo>
                    <a:pt x="50804" y="1"/>
                  </a:lnTo>
                  <a:close/>
                </a:path>
              </a:pathLst>
            </a:custGeom>
            <a:solidFill>
              <a:srgbClr val="869FB2"/>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 sz="1600" b="0" i="0" u="none" strike="noStrike" kern="1200" cap="none" spc="0" normalizeH="0" baseline="0" noProof="0">
                  <a:ln>
                    <a:noFill/>
                  </a:ln>
                  <a:solidFill>
                    <a:srgbClr val="FFFFFF"/>
                  </a:solidFill>
                  <a:effectLst/>
                  <a:uLnTx/>
                  <a:uFillTx/>
                  <a:latin typeface="Arial"/>
                  <a:ea typeface="+mn-ea"/>
                  <a:cs typeface="+mn-ea"/>
                  <a:sym typeface="+mn-lt"/>
                </a:rPr>
                <a:t>Phoebe</a:t>
              </a:r>
              <a:endParaRPr kumimoji="0" sz="1600" b="0" i="0" u="none" strike="noStrike" kern="1200" cap="none" spc="0" normalizeH="0" baseline="0" noProof="0">
                <a:ln>
                  <a:noFill/>
                </a:ln>
                <a:solidFill>
                  <a:srgbClr val="FFFFFF"/>
                </a:solidFill>
                <a:effectLst/>
                <a:uLnTx/>
                <a:uFillTx/>
                <a:latin typeface="Arial"/>
                <a:ea typeface="+mn-ea"/>
                <a:cs typeface="+mn-ea"/>
                <a:sym typeface="+mn-lt"/>
              </a:endParaRPr>
            </a:p>
          </p:txBody>
        </p:sp>
        <p:sp>
          <p:nvSpPr>
            <p:cNvPr id="47" name="Google Shape;329;p18">
              <a:extLst>
                <a:ext uri="{FF2B5EF4-FFF2-40B4-BE49-F238E27FC236}">
                  <a16:creationId xmlns:a16="http://schemas.microsoft.com/office/drawing/2014/main" id="{C7AF7A67-3CFC-46E8-A8A3-518F458B98C4}"/>
                </a:ext>
              </a:extLst>
            </p:cNvPr>
            <p:cNvSpPr/>
            <p:nvPr/>
          </p:nvSpPr>
          <p:spPr>
            <a:xfrm>
              <a:off x="8261837" y="2726513"/>
              <a:ext cx="55802" cy="55731"/>
            </a:xfrm>
            <a:custGeom>
              <a:avLst/>
              <a:gdLst/>
              <a:ahLst/>
              <a:cxnLst/>
              <a:rect l="l" t="t" r="r" b="b"/>
              <a:pathLst>
                <a:path w="2370" h="2367" extrusionOk="0">
                  <a:moveTo>
                    <a:pt x="1192" y="1"/>
                  </a:moveTo>
                  <a:cubicBezTo>
                    <a:pt x="874" y="1"/>
                    <a:pt x="567" y="121"/>
                    <a:pt x="346" y="343"/>
                  </a:cubicBezTo>
                  <a:cubicBezTo>
                    <a:pt x="119" y="569"/>
                    <a:pt x="0" y="867"/>
                    <a:pt x="0" y="1176"/>
                  </a:cubicBezTo>
                  <a:cubicBezTo>
                    <a:pt x="0" y="1260"/>
                    <a:pt x="0" y="1331"/>
                    <a:pt x="24" y="1414"/>
                  </a:cubicBezTo>
                  <a:cubicBezTo>
                    <a:pt x="36" y="1486"/>
                    <a:pt x="60" y="1569"/>
                    <a:pt x="84" y="1641"/>
                  </a:cubicBezTo>
                  <a:cubicBezTo>
                    <a:pt x="119" y="1712"/>
                    <a:pt x="155" y="1772"/>
                    <a:pt x="203" y="1843"/>
                  </a:cubicBezTo>
                  <a:cubicBezTo>
                    <a:pt x="238" y="1902"/>
                    <a:pt x="286" y="1962"/>
                    <a:pt x="346" y="2022"/>
                  </a:cubicBezTo>
                  <a:cubicBezTo>
                    <a:pt x="560" y="2236"/>
                    <a:pt x="870" y="2367"/>
                    <a:pt x="1179" y="2367"/>
                  </a:cubicBezTo>
                  <a:cubicBezTo>
                    <a:pt x="1262" y="2367"/>
                    <a:pt x="1334" y="2355"/>
                    <a:pt x="1417" y="2343"/>
                  </a:cubicBezTo>
                  <a:cubicBezTo>
                    <a:pt x="1489" y="2331"/>
                    <a:pt x="1560" y="2307"/>
                    <a:pt x="1632" y="2272"/>
                  </a:cubicBezTo>
                  <a:cubicBezTo>
                    <a:pt x="1703" y="2248"/>
                    <a:pt x="1774" y="2212"/>
                    <a:pt x="1846" y="2164"/>
                  </a:cubicBezTo>
                  <a:cubicBezTo>
                    <a:pt x="1905" y="2129"/>
                    <a:pt x="1965" y="2069"/>
                    <a:pt x="2024" y="2022"/>
                  </a:cubicBezTo>
                  <a:cubicBezTo>
                    <a:pt x="2072" y="1962"/>
                    <a:pt x="2120" y="1902"/>
                    <a:pt x="2167" y="1843"/>
                  </a:cubicBezTo>
                  <a:cubicBezTo>
                    <a:pt x="2203" y="1772"/>
                    <a:pt x="2251" y="1712"/>
                    <a:pt x="2274" y="1641"/>
                  </a:cubicBezTo>
                  <a:cubicBezTo>
                    <a:pt x="2310" y="1569"/>
                    <a:pt x="2322" y="1486"/>
                    <a:pt x="2346" y="1414"/>
                  </a:cubicBezTo>
                  <a:cubicBezTo>
                    <a:pt x="2358" y="1331"/>
                    <a:pt x="2370" y="1260"/>
                    <a:pt x="2370" y="1176"/>
                  </a:cubicBezTo>
                  <a:cubicBezTo>
                    <a:pt x="2370" y="867"/>
                    <a:pt x="2239" y="569"/>
                    <a:pt x="2024" y="343"/>
                  </a:cubicBezTo>
                  <a:cubicBezTo>
                    <a:pt x="1965" y="295"/>
                    <a:pt x="1905" y="248"/>
                    <a:pt x="1846" y="200"/>
                  </a:cubicBezTo>
                  <a:cubicBezTo>
                    <a:pt x="1774" y="152"/>
                    <a:pt x="1703" y="117"/>
                    <a:pt x="1632" y="93"/>
                  </a:cubicBezTo>
                  <a:cubicBezTo>
                    <a:pt x="1560" y="57"/>
                    <a:pt x="1489" y="33"/>
                    <a:pt x="1417" y="21"/>
                  </a:cubicBezTo>
                  <a:cubicBezTo>
                    <a:pt x="1342" y="8"/>
                    <a:pt x="1267" y="1"/>
                    <a:pt x="1192" y="1"/>
                  </a:cubicBezTo>
                  <a:close/>
                </a:path>
              </a:pathLst>
            </a:custGeom>
            <a:solidFill>
              <a:srgbClr val="FFFFFF"/>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48" name="Google Shape;330;p18">
              <a:extLst>
                <a:ext uri="{FF2B5EF4-FFF2-40B4-BE49-F238E27FC236}">
                  <a16:creationId xmlns:a16="http://schemas.microsoft.com/office/drawing/2014/main" id="{1AAE68A1-D1B3-434B-9897-62149EA37717}"/>
                </a:ext>
              </a:extLst>
            </p:cNvPr>
            <p:cNvSpPr/>
            <p:nvPr/>
          </p:nvSpPr>
          <p:spPr>
            <a:xfrm>
              <a:off x="6958270" y="1297777"/>
              <a:ext cx="1510153" cy="2913034"/>
            </a:xfrm>
            <a:custGeom>
              <a:avLst/>
              <a:gdLst/>
              <a:ahLst/>
              <a:cxnLst/>
              <a:rect l="l" t="t" r="r" b="b"/>
              <a:pathLst>
                <a:path w="64139" h="123722" extrusionOk="0">
                  <a:moveTo>
                    <a:pt x="9442" y="1"/>
                  </a:moveTo>
                  <a:cubicBezTo>
                    <a:pt x="4448" y="1"/>
                    <a:pt x="1" y="5810"/>
                    <a:pt x="3690" y="11039"/>
                  </a:cubicBezTo>
                  <a:lnTo>
                    <a:pt x="26836" y="43865"/>
                  </a:lnTo>
                  <a:cubicBezTo>
                    <a:pt x="34444" y="54652"/>
                    <a:pt x="34444" y="69058"/>
                    <a:pt x="26836" y="79857"/>
                  </a:cubicBezTo>
                  <a:lnTo>
                    <a:pt x="3690" y="112683"/>
                  </a:lnTo>
                  <a:cubicBezTo>
                    <a:pt x="1" y="117913"/>
                    <a:pt x="4448" y="123722"/>
                    <a:pt x="9442" y="123722"/>
                  </a:cubicBezTo>
                  <a:cubicBezTo>
                    <a:pt x="11088" y="123722"/>
                    <a:pt x="12794" y="123091"/>
                    <a:pt x="14287" y="121601"/>
                  </a:cubicBezTo>
                  <a:lnTo>
                    <a:pt x="51946" y="83929"/>
                  </a:lnTo>
                  <a:cubicBezTo>
                    <a:pt x="64138" y="71749"/>
                    <a:pt x="64138" y="51973"/>
                    <a:pt x="51946" y="39781"/>
                  </a:cubicBezTo>
                  <a:lnTo>
                    <a:pt x="14287" y="2122"/>
                  </a:lnTo>
                  <a:cubicBezTo>
                    <a:pt x="12794" y="631"/>
                    <a:pt x="11088" y="1"/>
                    <a:pt x="9442" y="1"/>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49" name="Google Shape;331;p18">
              <a:extLst>
                <a:ext uri="{FF2B5EF4-FFF2-40B4-BE49-F238E27FC236}">
                  <a16:creationId xmlns:a16="http://schemas.microsoft.com/office/drawing/2014/main" id="{D676581E-CD32-40B4-BC6E-DAD256235FD2}"/>
                </a:ext>
              </a:extLst>
            </p:cNvPr>
            <p:cNvSpPr/>
            <p:nvPr/>
          </p:nvSpPr>
          <p:spPr>
            <a:xfrm>
              <a:off x="7017958" y="3966672"/>
              <a:ext cx="232978" cy="235780"/>
            </a:xfrm>
            <a:custGeom>
              <a:avLst/>
              <a:gdLst/>
              <a:ahLst/>
              <a:cxnLst/>
              <a:rect l="l" t="t" r="r" b="b"/>
              <a:pathLst>
                <a:path w="9895" h="10014" extrusionOk="0">
                  <a:moveTo>
                    <a:pt x="4977" y="1"/>
                  </a:moveTo>
                  <a:lnTo>
                    <a:pt x="0" y="4977"/>
                  </a:lnTo>
                  <a:cubicBezTo>
                    <a:pt x="608" y="7323"/>
                    <a:pt x="2489" y="9252"/>
                    <a:pt x="4775" y="10014"/>
                  </a:cubicBezTo>
                  <a:lnTo>
                    <a:pt x="9894" y="4906"/>
                  </a:lnTo>
                  <a:lnTo>
                    <a:pt x="4977" y="1"/>
                  </a:ln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50" name="Google Shape;332;p18">
              <a:extLst>
                <a:ext uri="{FF2B5EF4-FFF2-40B4-BE49-F238E27FC236}">
                  <a16:creationId xmlns:a16="http://schemas.microsoft.com/office/drawing/2014/main" id="{66768888-07CC-4552-83EE-AFBD315FD4FE}"/>
                </a:ext>
              </a:extLst>
            </p:cNvPr>
            <p:cNvSpPr/>
            <p:nvPr/>
          </p:nvSpPr>
          <p:spPr>
            <a:xfrm>
              <a:off x="7105431" y="1297800"/>
              <a:ext cx="1282543" cy="2389865"/>
            </a:xfrm>
            <a:custGeom>
              <a:avLst/>
              <a:gdLst/>
              <a:ahLst/>
              <a:cxnLst/>
              <a:rect l="l" t="t" r="r" b="b"/>
              <a:pathLst>
                <a:path w="54472" h="101502" extrusionOk="0">
                  <a:moveTo>
                    <a:pt x="3189" y="1"/>
                  </a:moveTo>
                  <a:cubicBezTo>
                    <a:pt x="3158" y="1"/>
                    <a:pt x="3127" y="1"/>
                    <a:pt x="3096" y="1"/>
                  </a:cubicBezTo>
                  <a:cubicBezTo>
                    <a:pt x="988" y="1954"/>
                    <a:pt x="0" y="5097"/>
                    <a:pt x="1786" y="8371"/>
                  </a:cubicBezTo>
                  <a:lnTo>
                    <a:pt x="20991" y="43650"/>
                  </a:lnTo>
                  <a:cubicBezTo>
                    <a:pt x="21622" y="44816"/>
                    <a:pt x="22170" y="46007"/>
                    <a:pt x="22646" y="47221"/>
                  </a:cubicBezTo>
                  <a:cubicBezTo>
                    <a:pt x="23408" y="48650"/>
                    <a:pt x="24051" y="50127"/>
                    <a:pt x="24563" y="51627"/>
                  </a:cubicBezTo>
                  <a:cubicBezTo>
                    <a:pt x="41422" y="83857"/>
                    <a:pt x="28135" y="101502"/>
                    <a:pt x="28135" y="101502"/>
                  </a:cubicBezTo>
                  <a:lnTo>
                    <a:pt x="45696" y="83928"/>
                  </a:lnTo>
                  <a:cubicBezTo>
                    <a:pt x="48649" y="80988"/>
                    <a:pt x="50875" y="77594"/>
                    <a:pt x="52399" y="73975"/>
                  </a:cubicBezTo>
                  <a:cubicBezTo>
                    <a:pt x="54471" y="60759"/>
                    <a:pt x="51387" y="48793"/>
                    <a:pt x="46399" y="42495"/>
                  </a:cubicBezTo>
                  <a:lnTo>
                    <a:pt x="38767" y="32863"/>
                  </a:lnTo>
                  <a:lnTo>
                    <a:pt x="8037" y="2121"/>
                  </a:lnTo>
                  <a:cubicBezTo>
                    <a:pt x="6541" y="625"/>
                    <a:pt x="4839" y="1"/>
                    <a:pt x="3189" y="1"/>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51" name="Google Shape;333;p18">
              <a:extLst>
                <a:ext uri="{FF2B5EF4-FFF2-40B4-BE49-F238E27FC236}">
                  <a16:creationId xmlns:a16="http://schemas.microsoft.com/office/drawing/2014/main" id="{63C99C3F-F3B1-415A-BEB7-055C6875171D}"/>
                </a:ext>
              </a:extLst>
            </p:cNvPr>
            <p:cNvSpPr/>
            <p:nvPr/>
          </p:nvSpPr>
          <p:spPr>
            <a:xfrm>
              <a:off x="6958270" y="1297777"/>
              <a:ext cx="1510153" cy="2168989"/>
            </a:xfrm>
            <a:custGeom>
              <a:avLst/>
              <a:gdLst/>
              <a:ahLst/>
              <a:cxnLst/>
              <a:rect l="l" t="t" r="r" b="b"/>
              <a:pathLst>
                <a:path w="64139" h="92121" extrusionOk="0">
                  <a:moveTo>
                    <a:pt x="9442" y="1"/>
                  </a:moveTo>
                  <a:cubicBezTo>
                    <a:pt x="4448" y="1"/>
                    <a:pt x="1" y="5810"/>
                    <a:pt x="3690" y="11039"/>
                  </a:cubicBezTo>
                  <a:lnTo>
                    <a:pt x="26836" y="43865"/>
                  </a:lnTo>
                  <a:cubicBezTo>
                    <a:pt x="27598" y="44948"/>
                    <a:pt x="28289" y="46068"/>
                    <a:pt x="28896" y="47222"/>
                  </a:cubicBezTo>
                  <a:cubicBezTo>
                    <a:pt x="34385" y="56402"/>
                    <a:pt x="48613" y="81929"/>
                    <a:pt x="43767" y="92121"/>
                  </a:cubicBezTo>
                  <a:lnTo>
                    <a:pt x="51946" y="83929"/>
                  </a:lnTo>
                  <a:cubicBezTo>
                    <a:pt x="64138" y="71749"/>
                    <a:pt x="64138" y="51973"/>
                    <a:pt x="51946" y="39781"/>
                  </a:cubicBezTo>
                  <a:lnTo>
                    <a:pt x="14287" y="2122"/>
                  </a:lnTo>
                  <a:cubicBezTo>
                    <a:pt x="12794" y="631"/>
                    <a:pt x="11088" y="1"/>
                    <a:pt x="9442" y="1"/>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52" name="Google Shape;334;p18">
              <a:extLst>
                <a:ext uri="{FF2B5EF4-FFF2-40B4-BE49-F238E27FC236}">
                  <a16:creationId xmlns:a16="http://schemas.microsoft.com/office/drawing/2014/main" id="{94DB4EAE-47AA-414D-9D3F-1B1F681964C5}"/>
                </a:ext>
              </a:extLst>
            </p:cNvPr>
            <p:cNvSpPr/>
            <p:nvPr/>
          </p:nvSpPr>
          <p:spPr>
            <a:xfrm>
              <a:off x="7024692" y="1419202"/>
              <a:ext cx="220640" cy="240559"/>
            </a:xfrm>
            <a:custGeom>
              <a:avLst/>
              <a:gdLst/>
              <a:ahLst/>
              <a:cxnLst/>
              <a:rect l="l" t="t" r="r" b="b"/>
              <a:pathLst>
                <a:path w="9371" h="10217" extrusionOk="0">
                  <a:moveTo>
                    <a:pt x="4298" y="1"/>
                  </a:moveTo>
                  <a:lnTo>
                    <a:pt x="0" y="4287"/>
                  </a:lnTo>
                  <a:cubicBezTo>
                    <a:pt x="214" y="4823"/>
                    <a:pt x="500" y="5359"/>
                    <a:pt x="869" y="5882"/>
                  </a:cubicBezTo>
                  <a:lnTo>
                    <a:pt x="3917" y="10216"/>
                  </a:lnTo>
                  <a:lnTo>
                    <a:pt x="9370" y="4775"/>
                  </a:lnTo>
                  <a:lnTo>
                    <a:pt x="7132" y="929"/>
                  </a:lnTo>
                  <a:lnTo>
                    <a:pt x="6179" y="1775"/>
                  </a:lnTo>
                  <a:lnTo>
                    <a:pt x="4298" y="1"/>
                  </a:ln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53" name="Google Shape;335;p18">
              <a:extLst>
                <a:ext uri="{FF2B5EF4-FFF2-40B4-BE49-F238E27FC236}">
                  <a16:creationId xmlns:a16="http://schemas.microsoft.com/office/drawing/2014/main" id="{8049F442-E006-4E3E-9683-601F2BE9EFD9}"/>
                </a:ext>
              </a:extLst>
            </p:cNvPr>
            <p:cNvSpPr/>
            <p:nvPr/>
          </p:nvSpPr>
          <p:spPr>
            <a:xfrm>
              <a:off x="7105148" y="1391183"/>
              <a:ext cx="164297" cy="164297"/>
            </a:xfrm>
            <a:custGeom>
              <a:avLst/>
              <a:gdLst/>
              <a:ahLst/>
              <a:cxnLst/>
              <a:rect l="l" t="t" r="r" b="b"/>
              <a:pathLst>
                <a:path w="6978" h="6978" extrusionOk="0">
                  <a:moveTo>
                    <a:pt x="3489" y="0"/>
                  </a:moveTo>
                  <a:cubicBezTo>
                    <a:pt x="1560" y="0"/>
                    <a:pt x="0" y="1560"/>
                    <a:pt x="0" y="3489"/>
                  </a:cubicBezTo>
                  <a:cubicBezTo>
                    <a:pt x="0" y="5417"/>
                    <a:pt x="1560" y="6977"/>
                    <a:pt x="3489" y="6977"/>
                  </a:cubicBezTo>
                  <a:cubicBezTo>
                    <a:pt x="5418" y="6977"/>
                    <a:pt x="6977" y="5417"/>
                    <a:pt x="6977" y="3489"/>
                  </a:cubicBezTo>
                  <a:cubicBezTo>
                    <a:pt x="6977" y="1560"/>
                    <a:pt x="5418" y="0"/>
                    <a:pt x="3489" y="0"/>
                  </a:cubicBezTo>
                  <a:close/>
                </a:path>
              </a:pathLst>
            </a:custGeom>
            <a:solidFill>
              <a:srgbClr val="FFFFFF"/>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54" name="Google Shape;336;p18">
              <a:extLst>
                <a:ext uri="{FF2B5EF4-FFF2-40B4-BE49-F238E27FC236}">
                  <a16:creationId xmlns:a16="http://schemas.microsoft.com/office/drawing/2014/main" id="{4524B067-143B-489A-B5E7-96B0C40D2B1D}"/>
                </a:ext>
              </a:extLst>
            </p:cNvPr>
            <p:cNvSpPr/>
            <p:nvPr/>
          </p:nvSpPr>
          <p:spPr>
            <a:xfrm>
              <a:off x="7105148" y="3948165"/>
              <a:ext cx="164297" cy="164014"/>
            </a:xfrm>
            <a:custGeom>
              <a:avLst/>
              <a:gdLst/>
              <a:ahLst/>
              <a:cxnLst/>
              <a:rect l="l" t="t" r="r" b="b"/>
              <a:pathLst>
                <a:path w="6978" h="6966" extrusionOk="0">
                  <a:moveTo>
                    <a:pt x="3489" y="1"/>
                  </a:moveTo>
                  <a:cubicBezTo>
                    <a:pt x="1560" y="1"/>
                    <a:pt x="0" y="1561"/>
                    <a:pt x="0" y="3489"/>
                  </a:cubicBezTo>
                  <a:cubicBezTo>
                    <a:pt x="0" y="5406"/>
                    <a:pt x="1560" y="6966"/>
                    <a:pt x="3489" y="6966"/>
                  </a:cubicBezTo>
                  <a:cubicBezTo>
                    <a:pt x="5418" y="6966"/>
                    <a:pt x="6977" y="5406"/>
                    <a:pt x="6977" y="3489"/>
                  </a:cubicBezTo>
                  <a:cubicBezTo>
                    <a:pt x="6977" y="1561"/>
                    <a:pt x="5418" y="1"/>
                    <a:pt x="3489" y="1"/>
                  </a:cubicBezTo>
                  <a:close/>
                </a:path>
              </a:pathLst>
            </a:custGeom>
            <a:solidFill>
              <a:srgbClr val="FFFFFF"/>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55" name="Google Shape;337;p18">
              <a:extLst>
                <a:ext uri="{FF2B5EF4-FFF2-40B4-BE49-F238E27FC236}">
                  <a16:creationId xmlns:a16="http://schemas.microsoft.com/office/drawing/2014/main" id="{BF1FCE89-CE78-470E-97B9-D891AA7674EE}"/>
                </a:ext>
              </a:extLst>
            </p:cNvPr>
            <p:cNvSpPr/>
            <p:nvPr/>
          </p:nvSpPr>
          <p:spPr>
            <a:xfrm>
              <a:off x="8143260" y="2284064"/>
              <a:ext cx="181956" cy="740090"/>
            </a:xfrm>
            <a:custGeom>
              <a:avLst/>
              <a:gdLst/>
              <a:ahLst/>
              <a:cxnLst/>
              <a:rect l="l" t="t" r="r" b="b"/>
              <a:pathLst>
                <a:path w="7728" h="31433" extrusionOk="0">
                  <a:moveTo>
                    <a:pt x="0" y="0"/>
                  </a:moveTo>
                  <a:lnTo>
                    <a:pt x="0" y="0"/>
                  </a:lnTo>
                  <a:cubicBezTo>
                    <a:pt x="2727" y="4525"/>
                    <a:pt x="4072" y="10585"/>
                    <a:pt x="4441" y="15860"/>
                  </a:cubicBezTo>
                  <a:cubicBezTo>
                    <a:pt x="4822" y="21134"/>
                    <a:pt x="4632" y="26170"/>
                    <a:pt x="4179" y="31433"/>
                  </a:cubicBezTo>
                  <a:cubicBezTo>
                    <a:pt x="6739" y="26432"/>
                    <a:pt x="7727" y="20634"/>
                    <a:pt x="6989" y="15062"/>
                  </a:cubicBezTo>
                  <a:cubicBezTo>
                    <a:pt x="6251" y="9490"/>
                    <a:pt x="3774" y="4168"/>
                    <a:pt x="0" y="0"/>
                  </a:cubicBezTo>
                  <a:close/>
                </a:path>
              </a:pathLst>
            </a:custGeom>
            <a:solidFill>
              <a:srgbClr val="FFFFFF"/>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grpSp>
      <p:sp>
        <p:nvSpPr>
          <p:cNvPr id="56" name="Google Shape;338;p18">
            <a:extLst>
              <a:ext uri="{FF2B5EF4-FFF2-40B4-BE49-F238E27FC236}">
                <a16:creationId xmlns:a16="http://schemas.microsoft.com/office/drawing/2014/main" id="{C37A7AFB-99F9-4783-9935-0A4BFEA24E0E}"/>
              </a:ext>
            </a:extLst>
          </p:cNvPr>
          <p:cNvSpPr/>
          <p:nvPr/>
        </p:nvSpPr>
        <p:spPr>
          <a:xfrm>
            <a:off x="9484553" y="3139843"/>
            <a:ext cx="1760400" cy="419600"/>
          </a:xfrm>
          <a:prstGeom prst="roundRect">
            <a:avLst>
              <a:gd name="adj" fmla="val 50000"/>
            </a:avLst>
          </a:prstGeom>
          <a:solidFill>
            <a:schemeClr val="accent1">
              <a:lumMod val="100000"/>
            </a:schemeClr>
          </a:solidFill>
          <a:ln>
            <a:noFill/>
          </a:ln>
        </p:spPr>
        <p:txBody>
          <a:bodyPr spcFirstLastPara="1" wrap="square" lIns="121900" tIns="121900" rIns="121900" bIns="1219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Tx/>
              <a:buNone/>
              <a:tabLst/>
              <a:defRPr/>
            </a:pPr>
            <a:r>
              <a:rPr kumimoji="0" lang="en" sz="2000" b="0" i="0" u="none" strike="noStrike" kern="1200" cap="none" spc="0" normalizeH="0" baseline="0" noProof="0">
                <a:ln>
                  <a:noFill/>
                </a:ln>
                <a:solidFill>
                  <a:srgbClr val="FFFFFF"/>
                </a:solidFill>
                <a:effectLst/>
                <a:uLnTx/>
                <a:uFillTx/>
                <a:latin typeface="Arial"/>
                <a:ea typeface="+mn-ea"/>
                <a:cs typeface="+mn-ea"/>
                <a:sym typeface="+mn-lt"/>
              </a:rPr>
              <a:t>Neptune</a:t>
            </a:r>
            <a:endParaRPr kumimoji="0" sz="2000" b="0" i="0" u="none" strike="noStrike" kern="1200" cap="none" spc="0" normalizeH="0" baseline="0" noProof="0">
              <a:ln>
                <a:noFill/>
              </a:ln>
              <a:solidFill>
                <a:srgbClr val="FFFFFF"/>
              </a:solidFill>
              <a:effectLst/>
              <a:uLnTx/>
              <a:uFillTx/>
              <a:latin typeface="Arial"/>
              <a:ea typeface="+mn-ea"/>
              <a:cs typeface="+mn-ea"/>
              <a:sym typeface="+mn-lt"/>
            </a:endParaRPr>
          </a:p>
        </p:txBody>
      </p:sp>
    </p:spTree>
    <p:extLst>
      <p:ext uri="{BB962C8B-B14F-4D97-AF65-F5344CB8AC3E}">
        <p14:creationId xmlns:p14="http://schemas.microsoft.com/office/powerpoint/2010/main" val="1398552307"/>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7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oogle Shape;343;p19">
            <a:extLst>
              <a:ext uri="{FF2B5EF4-FFF2-40B4-BE49-F238E27FC236}">
                <a16:creationId xmlns:a16="http://schemas.microsoft.com/office/drawing/2014/main" id="{A671129C-7069-4341-8B07-2377FCF339A7}"/>
              </a:ext>
            </a:extLst>
          </p:cNvPr>
          <p:cNvGrpSpPr/>
          <p:nvPr/>
        </p:nvGrpSpPr>
        <p:grpSpPr>
          <a:xfrm>
            <a:off x="2099434" y="3299326"/>
            <a:ext cx="6078167" cy="575700"/>
            <a:chOff x="1906300" y="2638100"/>
            <a:chExt cx="4558625" cy="431775"/>
          </a:xfrm>
        </p:grpSpPr>
        <p:sp>
          <p:nvSpPr>
            <p:cNvPr id="3" name="Google Shape;344;p19">
              <a:extLst>
                <a:ext uri="{FF2B5EF4-FFF2-40B4-BE49-F238E27FC236}">
                  <a16:creationId xmlns:a16="http://schemas.microsoft.com/office/drawing/2014/main" id="{39F56BA3-BB04-4684-81B7-E23CD15E9ED5}"/>
                </a:ext>
              </a:extLst>
            </p:cNvPr>
            <p:cNvSpPr/>
            <p:nvPr/>
          </p:nvSpPr>
          <p:spPr>
            <a:xfrm>
              <a:off x="2328675" y="2781200"/>
              <a:ext cx="1462100" cy="135450"/>
            </a:xfrm>
            <a:custGeom>
              <a:avLst/>
              <a:gdLst/>
              <a:ahLst/>
              <a:cxnLst/>
              <a:rect l="l" t="t" r="r" b="b"/>
              <a:pathLst>
                <a:path w="58484" h="5418" extrusionOk="0">
                  <a:moveTo>
                    <a:pt x="2715" y="1"/>
                  </a:moveTo>
                  <a:cubicBezTo>
                    <a:pt x="1215" y="1"/>
                    <a:pt x="0" y="1215"/>
                    <a:pt x="0" y="2703"/>
                  </a:cubicBezTo>
                  <a:cubicBezTo>
                    <a:pt x="0" y="4203"/>
                    <a:pt x="1215" y="5418"/>
                    <a:pt x="2715" y="5418"/>
                  </a:cubicBezTo>
                  <a:lnTo>
                    <a:pt x="58484" y="5418"/>
                  </a:lnTo>
                  <a:lnTo>
                    <a:pt x="58484" y="1"/>
                  </a:ln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4" name="Google Shape;345;p19">
              <a:extLst>
                <a:ext uri="{FF2B5EF4-FFF2-40B4-BE49-F238E27FC236}">
                  <a16:creationId xmlns:a16="http://schemas.microsoft.com/office/drawing/2014/main" id="{B5C455E6-A1FE-4E48-857D-DBBE0A48EA1B}"/>
                </a:ext>
              </a:extLst>
            </p:cNvPr>
            <p:cNvSpPr/>
            <p:nvPr/>
          </p:nvSpPr>
          <p:spPr>
            <a:xfrm>
              <a:off x="1906300" y="2638100"/>
              <a:ext cx="282200" cy="431775"/>
            </a:xfrm>
            <a:custGeom>
              <a:avLst/>
              <a:gdLst/>
              <a:ahLst/>
              <a:cxnLst/>
              <a:rect l="l" t="t" r="r" b="b"/>
              <a:pathLst>
                <a:path w="11288" h="17271" extrusionOk="0">
                  <a:moveTo>
                    <a:pt x="1895" y="0"/>
                  </a:moveTo>
                  <a:cubicBezTo>
                    <a:pt x="927" y="0"/>
                    <a:pt x="0" y="755"/>
                    <a:pt x="0" y="1891"/>
                  </a:cubicBezTo>
                  <a:cubicBezTo>
                    <a:pt x="0" y="2391"/>
                    <a:pt x="191" y="2867"/>
                    <a:pt x="548" y="3224"/>
                  </a:cubicBezTo>
                  <a:lnTo>
                    <a:pt x="5965" y="8630"/>
                  </a:lnTo>
                  <a:lnTo>
                    <a:pt x="548" y="14047"/>
                  </a:lnTo>
                  <a:cubicBezTo>
                    <a:pt x="191" y="14404"/>
                    <a:pt x="0" y="14880"/>
                    <a:pt x="0" y="15381"/>
                  </a:cubicBezTo>
                  <a:cubicBezTo>
                    <a:pt x="0" y="16517"/>
                    <a:pt x="927" y="17271"/>
                    <a:pt x="1895" y="17271"/>
                  </a:cubicBezTo>
                  <a:cubicBezTo>
                    <a:pt x="2358" y="17271"/>
                    <a:pt x="2830" y="17099"/>
                    <a:pt x="3215" y="16714"/>
                  </a:cubicBezTo>
                  <a:lnTo>
                    <a:pt x="11287" y="8630"/>
                  </a:lnTo>
                  <a:lnTo>
                    <a:pt x="3215" y="557"/>
                  </a:lnTo>
                  <a:cubicBezTo>
                    <a:pt x="2830" y="172"/>
                    <a:pt x="2358" y="0"/>
                    <a:pt x="1895" y="0"/>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5" name="Google Shape;346;p19">
              <a:extLst>
                <a:ext uri="{FF2B5EF4-FFF2-40B4-BE49-F238E27FC236}">
                  <a16:creationId xmlns:a16="http://schemas.microsoft.com/office/drawing/2014/main" id="{9B22B52A-D869-42A9-B2FD-427B64EE37CF}"/>
                </a:ext>
              </a:extLst>
            </p:cNvPr>
            <p:cNvSpPr/>
            <p:nvPr/>
          </p:nvSpPr>
          <p:spPr>
            <a:xfrm>
              <a:off x="3790750" y="2781200"/>
              <a:ext cx="891500" cy="135450"/>
            </a:xfrm>
            <a:custGeom>
              <a:avLst/>
              <a:gdLst/>
              <a:ahLst/>
              <a:cxnLst/>
              <a:rect l="l" t="t" r="r" b="b"/>
              <a:pathLst>
                <a:path w="35660" h="5418" extrusionOk="0">
                  <a:moveTo>
                    <a:pt x="1" y="1"/>
                  </a:moveTo>
                  <a:lnTo>
                    <a:pt x="1" y="5418"/>
                  </a:lnTo>
                  <a:lnTo>
                    <a:pt x="35660" y="5418"/>
                  </a:lnTo>
                  <a:lnTo>
                    <a:pt x="35660" y="1"/>
                  </a:ln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6" name="Google Shape;347;p19">
              <a:extLst>
                <a:ext uri="{FF2B5EF4-FFF2-40B4-BE49-F238E27FC236}">
                  <a16:creationId xmlns:a16="http://schemas.microsoft.com/office/drawing/2014/main" id="{831C751B-3317-40EA-804B-EDE7E3243DEE}"/>
                </a:ext>
              </a:extLst>
            </p:cNvPr>
            <p:cNvSpPr/>
            <p:nvPr/>
          </p:nvSpPr>
          <p:spPr>
            <a:xfrm>
              <a:off x="4682225" y="2781200"/>
              <a:ext cx="891500" cy="135450"/>
            </a:xfrm>
            <a:custGeom>
              <a:avLst/>
              <a:gdLst/>
              <a:ahLst/>
              <a:cxnLst/>
              <a:rect l="l" t="t" r="r" b="b"/>
              <a:pathLst>
                <a:path w="35660" h="5418" extrusionOk="0">
                  <a:moveTo>
                    <a:pt x="1" y="1"/>
                  </a:moveTo>
                  <a:lnTo>
                    <a:pt x="1" y="5418"/>
                  </a:lnTo>
                  <a:lnTo>
                    <a:pt x="35660" y="5418"/>
                  </a:lnTo>
                  <a:lnTo>
                    <a:pt x="35660" y="1"/>
                  </a:ln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7" name="Google Shape;348;p19">
              <a:extLst>
                <a:ext uri="{FF2B5EF4-FFF2-40B4-BE49-F238E27FC236}">
                  <a16:creationId xmlns:a16="http://schemas.microsoft.com/office/drawing/2014/main" id="{1EF94BE2-146D-4E94-90DE-EB3B50704DD5}"/>
                </a:ext>
              </a:extLst>
            </p:cNvPr>
            <p:cNvSpPr/>
            <p:nvPr/>
          </p:nvSpPr>
          <p:spPr>
            <a:xfrm>
              <a:off x="5573425" y="2781200"/>
              <a:ext cx="891500" cy="135450"/>
            </a:xfrm>
            <a:custGeom>
              <a:avLst/>
              <a:gdLst/>
              <a:ahLst/>
              <a:cxnLst/>
              <a:rect l="l" t="t" r="r" b="b"/>
              <a:pathLst>
                <a:path w="35660" h="5418" extrusionOk="0">
                  <a:moveTo>
                    <a:pt x="0" y="1"/>
                  </a:moveTo>
                  <a:lnTo>
                    <a:pt x="0" y="5418"/>
                  </a:lnTo>
                  <a:lnTo>
                    <a:pt x="35659" y="5418"/>
                  </a:lnTo>
                  <a:lnTo>
                    <a:pt x="35659" y="1"/>
                  </a:ln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grpSp>
      <p:grpSp>
        <p:nvGrpSpPr>
          <p:cNvPr id="8" name="Google Shape;349;p19">
            <a:extLst>
              <a:ext uri="{FF2B5EF4-FFF2-40B4-BE49-F238E27FC236}">
                <a16:creationId xmlns:a16="http://schemas.microsoft.com/office/drawing/2014/main" id="{47FCB7AC-1D91-48B4-B2BA-55B62366F961}"/>
              </a:ext>
            </a:extLst>
          </p:cNvPr>
          <p:cNvGrpSpPr/>
          <p:nvPr/>
        </p:nvGrpSpPr>
        <p:grpSpPr>
          <a:xfrm>
            <a:off x="8177567" y="2770193"/>
            <a:ext cx="2878333" cy="1660167"/>
            <a:chOff x="6464900" y="2241250"/>
            <a:chExt cx="2158750" cy="1245125"/>
          </a:xfrm>
        </p:grpSpPr>
        <p:sp>
          <p:nvSpPr>
            <p:cNvPr id="9" name="Google Shape;350;p19">
              <a:extLst>
                <a:ext uri="{FF2B5EF4-FFF2-40B4-BE49-F238E27FC236}">
                  <a16:creationId xmlns:a16="http://schemas.microsoft.com/office/drawing/2014/main" id="{883E2325-34C7-4DAC-A3B1-5BBCFCB0D570}"/>
                </a:ext>
              </a:extLst>
            </p:cNvPr>
            <p:cNvSpPr/>
            <p:nvPr/>
          </p:nvSpPr>
          <p:spPr>
            <a:xfrm>
              <a:off x="6464900" y="2781200"/>
              <a:ext cx="891500" cy="135450"/>
            </a:xfrm>
            <a:custGeom>
              <a:avLst/>
              <a:gdLst/>
              <a:ahLst/>
              <a:cxnLst/>
              <a:rect l="l" t="t" r="r" b="b"/>
              <a:pathLst>
                <a:path w="35660" h="5418" extrusionOk="0">
                  <a:moveTo>
                    <a:pt x="0" y="1"/>
                  </a:moveTo>
                  <a:lnTo>
                    <a:pt x="0" y="5418"/>
                  </a:lnTo>
                  <a:lnTo>
                    <a:pt x="32945" y="5418"/>
                  </a:lnTo>
                  <a:cubicBezTo>
                    <a:pt x="34445" y="5418"/>
                    <a:pt x="35660" y="4203"/>
                    <a:pt x="35660" y="2703"/>
                  </a:cubicBezTo>
                  <a:cubicBezTo>
                    <a:pt x="35660" y="1215"/>
                    <a:pt x="34445" y="1"/>
                    <a:pt x="32945" y="1"/>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10" name="Google Shape;351;p19">
              <a:extLst>
                <a:ext uri="{FF2B5EF4-FFF2-40B4-BE49-F238E27FC236}">
                  <a16:creationId xmlns:a16="http://schemas.microsoft.com/office/drawing/2014/main" id="{56ACDC56-5D0E-4B93-A40F-161FCB8D83C3}"/>
                </a:ext>
              </a:extLst>
            </p:cNvPr>
            <p:cNvSpPr/>
            <p:nvPr/>
          </p:nvSpPr>
          <p:spPr>
            <a:xfrm>
              <a:off x="6815825" y="2241250"/>
              <a:ext cx="762925" cy="1245125"/>
            </a:xfrm>
            <a:custGeom>
              <a:avLst/>
              <a:gdLst/>
              <a:ahLst/>
              <a:cxnLst/>
              <a:rect l="l" t="t" r="r" b="b"/>
              <a:pathLst>
                <a:path w="30517" h="49805" extrusionOk="0">
                  <a:moveTo>
                    <a:pt x="4025" y="1"/>
                  </a:moveTo>
                  <a:cubicBezTo>
                    <a:pt x="2049" y="1"/>
                    <a:pt x="1" y="1489"/>
                    <a:pt x="1" y="3977"/>
                  </a:cubicBezTo>
                  <a:cubicBezTo>
                    <a:pt x="1" y="5049"/>
                    <a:pt x="418" y="6037"/>
                    <a:pt x="1168" y="6787"/>
                  </a:cubicBezTo>
                  <a:lnTo>
                    <a:pt x="19277" y="24897"/>
                  </a:lnTo>
                  <a:lnTo>
                    <a:pt x="1168" y="43006"/>
                  </a:lnTo>
                  <a:cubicBezTo>
                    <a:pt x="418" y="43756"/>
                    <a:pt x="1" y="44756"/>
                    <a:pt x="1" y="45816"/>
                  </a:cubicBezTo>
                  <a:cubicBezTo>
                    <a:pt x="1" y="48316"/>
                    <a:pt x="2049" y="49804"/>
                    <a:pt x="4025" y="49804"/>
                  </a:cubicBezTo>
                  <a:cubicBezTo>
                    <a:pt x="4751" y="49804"/>
                    <a:pt x="5823" y="49602"/>
                    <a:pt x="6787" y="48626"/>
                  </a:cubicBezTo>
                  <a:lnTo>
                    <a:pt x="30517" y="24897"/>
                  </a:lnTo>
                  <a:lnTo>
                    <a:pt x="6787" y="1167"/>
                  </a:lnTo>
                  <a:cubicBezTo>
                    <a:pt x="5823" y="203"/>
                    <a:pt x="4751" y="1"/>
                    <a:pt x="4025" y="1"/>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11" name="Google Shape;352;p19">
              <a:extLst>
                <a:ext uri="{FF2B5EF4-FFF2-40B4-BE49-F238E27FC236}">
                  <a16:creationId xmlns:a16="http://schemas.microsoft.com/office/drawing/2014/main" id="{EA189BFE-6ECA-453B-92E8-92D0A9BC09A2}"/>
                </a:ext>
              </a:extLst>
            </p:cNvPr>
            <p:cNvSpPr txBox="1"/>
            <p:nvPr/>
          </p:nvSpPr>
          <p:spPr>
            <a:xfrm>
              <a:off x="7654950" y="2692325"/>
              <a:ext cx="968700" cy="313200"/>
            </a:xfrm>
            <a:prstGeom prst="rect">
              <a:avLst/>
            </a:prstGeom>
            <a:no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 sz="2267" b="0" i="0" u="none" strike="noStrike" kern="1200" cap="none" spc="0" normalizeH="0" baseline="0" noProof="0">
                  <a:ln>
                    <a:noFill/>
                  </a:ln>
                  <a:solidFill>
                    <a:srgbClr val="434343"/>
                  </a:solidFill>
                  <a:effectLst/>
                  <a:uLnTx/>
                  <a:uFillTx/>
                  <a:latin typeface="Arial"/>
                  <a:ea typeface="+mn-ea"/>
                  <a:cs typeface="+mn-ea"/>
                  <a:sym typeface="+mn-lt"/>
                </a:rPr>
                <a:t>Jupiter</a:t>
              </a:r>
              <a:endParaRPr kumimoji="0" sz="2267" b="0" i="0" u="none" strike="noStrike" kern="1200" cap="none" spc="0" normalizeH="0" baseline="0" noProof="0">
                <a:ln>
                  <a:noFill/>
                </a:ln>
                <a:solidFill>
                  <a:srgbClr val="434343"/>
                </a:solidFill>
                <a:effectLst/>
                <a:uLnTx/>
                <a:uFillTx/>
                <a:latin typeface="Arial"/>
                <a:ea typeface="+mn-ea"/>
                <a:cs typeface="+mn-ea"/>
                <a:sym typeface="+mn-lt"/>
              </a:endParaRPr>
            </a:p>
          </p:txBody>
        </p:sp>
      </p:grpSp>
      <p:grpSp>
        <p:nvGrpSpPr>
          <p:cNvPr id="12" name="Google Shape;354;p19">
            <a:extLst>
              <a:ext uri="{FF2B5EF4-FFF2-40B4-BE49-F238E27FC236}">
                <a16:creationId xmlns:a16="http://schemas.microsoft.com/office/drawing/2014/main" id="{7425E5FD-CDE2-4E46-B114-CA61C9FB3568}"/>
              </a:ext>
            </a:extLst>
          </p:cNvPr>
          <p:cNvGrpSpPr/>
          <p:nvPr/>
        </p:nvGrpSpPr>
        <p:grpSpPr>
          <a:xfrm>
            <a:off x="1644767" y="1416126"/>
            <a:ext cx="2110433" cy="2512167"/>
            <a:chOff x="1565300" y="1225700"/>
            <a:chExt cx="1582825" cy="1884125"/>
          </a:xfrm>
        </p:grpSpPr>
        <p:sp>
          <p:nvSpPr>
            <p:cNvPr id="13" name="Google Shape;355;p19">
              <a:extLst>
                <a:ext uri="{FF2B5EF4-FFF2-40B4-BE49-F238E27FC236}">
                  <a16:creationId xmlns:a16="http://schemas.microsoft.com/office/drawing/2014/main" id="{0E376F96-2420-48E0-858B-7029ABA44DE0}"/>
                </a:ext>
              </a:extLst>
            </p:cNvPr>
            <p:cNvSpPr/>
            <p:nvPr/>
          </p:nvSpPr>
          <p:spPr>
            <a:xfrm>
              <a:off x="1729775" y="1333450"/>
              <a:ext cx="1237100" cy="1447785"/>
            </a:xfrm>
            <a:custGeom>
              <a:avLst/>
              <a:gdLst/>
              <a:ahLst/>
              <a:cxnLst/>
              <a:rect l="l" t="t" r="r" b="b"/>
              <a:pathLst>
                <a:path w="49484" h="41756" extrusionOk="0">
                  <a:moveTo>
                    <a:pt x="1" y="0"/>
                  </a:moveTo>
                  <a:lnTo>
                    <a:pt x="1" y="893"/>
                  </a:lnTo>
                  <a:lnTo>
                    <a:pt x="34791" y="893"/>
                  </a:lnTo>
                  <a:lnTo>
                    <a:pt x="48638" y="41755"/>
                  </a:lnTo>
                  <a:lnTo>
                    <a:pt x="49483" y="41470"/>
                  </a:lnTo>
                  <a:lnTo>
                    <a:pt x="35434" y="0"/>
                  </a:lnTo>
                  <a:close/>
                </a:path>
              </a:pathLst>
            </a:custGeom>
            <a:solidFill>
              <a:srgbClr val="000000"/>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14" name="Google Shape;356;p19">
              <a:extLst>
                <a:ext uri="{FF2B5EF4-FFF2-40B4-BE49-F238E27FC236}">
                  <a16:creationId xmlns:a16="http://schemas.microsoft.com/office/drawing/2014/main" id="{2FE88D58-7AAA-4727-9BB1-E04829B4C1DB}"/>
                </a:ext>
              </a:extLst>
            </p:cNvPr>
            <p:cNvSpPr/>
            <p:nvPr/>
          </p:nvSpPr>
          <p:spPr>
            <a:xfrm>
              <a:off x="1612800" y="1225700"/>
              <a:ext cx="921275" cy="304825"/>
            </a:xfrm>
            <a:custGeom>
              <a:avLst/>
              <a:gdLst/>
              <a:ahLst/>
              <a:cxnLst/>
              <a:rect l="l" t="t" r="r" b="b"/>
              <a:pathLst>
                <a:path w="36851" h="12193" extrusionOk="0">
                  <a:moveTo>
                    <a:pt x="6097" y="0"/>
                  </a:moveTo>
                  <a:cubicBezTo>
                    <a:pt x="2727" y="0"/>
                    <a:pt x="1" y="2739"/>
                    <a:pt x="1" y="6096"/>
                  </a:cubicBezTo>
                  <a:cubicBezTo>
                    <a:pt x="1" y="9466"/>
                    <a:pt x="2727" y="12192"/>
                    <a:pt x="6097" y="12192"/>
                  </a:cubicBezTo>
                  <a:lnTo>
                    <a:pt x="36850" y="12192"/>
                  </a:lnTo>
                  <a:lnTo>
                    <a:pt x="33243" y="0"/>
                  </a:lnTo>
                  <a:close/>
                </a:path>
              </a:pathLst>
            </a:custGeom>
            <a:solidFill>
              <a:schemeClr val="accent1"/>
            </a:solidFill>
            <a:ln>
              <a:noFill/>
            </a:ln>
          </p:spPr>
          <p:txBody>
            <a:bodyPr spcFirstLastPara="1" wrap="square" lIns="121900" tIns="121900" rIns="121900" bIns="1219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2000" b="0" i="0" u="none" strike="noStrike" kern="1200" cap="none" spc="0" normalizeH="0" baseline="0" noProof="0">
                  <a:ln>
                    <a:noFill/>
                  </a:ln>
                  <a:solidFill>
                    <a:srgbClr val="FFFFFF"/>
                  </a:solidFill>
                  <a:effectLst/>
                  <a:uLnTx/>
                  <a:uFillTx/>
                  <a:latin typeface="Arial"/>
                  <a:ea typeface="+mn-ea"/>
                  <a:cs typeface="+mn-ea"/>
                  <a:sym typeface="+mn-lt"/>
                </a:rPr>
                <a:t>Venus</a:t>
              </a:r>
              <a:endParaRPr kumimoji="0" sz="2000" b="0" i="0" u="none" strike="noStrike" kern="1200" cap="none" spc="0" normalizeH="0" baseline="0" noProof="0">
                <a:ln>
                  <a:noFill/>
                </a:ln>
                <a:solidFill>
                  <a:srgbClr val="FFFFFF"/>
                </a:solidFill>
                <a:effectLst/>
                <a:uLnTx/>
                <a:uFillTx/>
                <a:latin typeface="Arial"/>
                <a:ea typeface="+mn-ea"/>
                <a:cs typeface="+mn-ea"/>
                <a:sym typeface="+mn-lt"/>
              </a:endParaRPr>
            </a:p>
          </p:txBody>
        </p:sp>
        <p:sp>
          <p:nvSpPr>
            <p:cNvPr id="15" name="Google Shape;357;p19">
              <a:extLst>
                <a:ext uri="{FF2B5EF4-FFF2-40B4-BE49-F238E27FC236}">
                  <a16:creationId xmlns:a16="http://schemas.microsoft.com/office/drawing/2014/main" id="{0A03CE8F-36ED-474A-8DB1-993093D7A619}"/>
                </a:ext>
              </a:extLst>
            </p:cNvPr>
            <p:cNvSpPr/>
            <p:nvPr/>
          </p:nvSpPr>
          <p:spPr>
            <a:xfrm>
              <a:off x="2596550" y="2558250"/>
              <a:ext cx="551575" cy="551575"/>
            </a:xfrm>
            <a:custGeom>
              <a:avLst/>
              <a:gdLst/>
              <a:ahLst/>
              <a:cxnLst/>
              <a:rect l="l" t="t" r="r" b="b"/>
              <a:pathLst>
                <a:path w="22063" h="22063" extrusionOk="0">
                  <a:moveTo>
                    <a:pt x="11026" y="1"/>
                  </a:moveTo>
                  <a:cubicBezTo>
                    <a:pt x="4942" y="1"/>
                    <a:pt x="1" y="4942"/>
                    <a:pt x="1" y="11038"/>
                  </a:cubicBezTo>
                  <a:cubicBezTo>
                    <a:pt x="1" y="17122"/>
                    <a:pt x="4942" y="22063"/>
                    <a:pt x="11026" y="22063"/>
                  </a:cubicBezTo>
                  <a:cubicBezTo>
                    <a:pt x="17122" y="22063"/>
                    <a:pt x="22063" y="17122"/>
                    <a:pt x="22063" y="11038"/>
                  </a:cubicBezTo>
                  <a:cubicBezTo>
                    <a:pt x="22063" y="4942"/>
                    <a:pt x="17122" y="1"/>
                    <a:pt x="11026" y="1"/>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2667" b="0" i="0" u="none" strike="noStrike" kern="1200" cap="none" spc="0" normalizeH="0" baseline="0" noProof="0">
                  <a:ln>
                    <a:noFill/>
                  </a:ln>
                  <a:solidFill>
                    <a:srgbClr val="FFFFFF"/>
                  </a:solidFill>
                  <a:effectLst/>
                  <a:uLnTx/>
                  <a:uFillTx/>
                  <a:latin typeface="Arial"/>
                  <a:ea typeface="+mn-ea"/>
                  <a:cs typeface="+mn-ea"/>
                  <a:sym typeface="+mn-lt"/>
                </a:rPr>
                <a:t>01</a:t>
              </a:r>
              <a:endParaRPr kumimoji="0" sz="2667" b="0" i="0" u="none" strike="noStrike" kern="1200" cap="none" spc="0" normalizeH="0" baseline="0" noProof="0">
                <a:ln>
                  <a:noFill/>
                </a:ln>
                <a:solidFill>
                  <a:srgbClr val="FFFFFF"/>
                </a:solidFill>
                <a:effectLst/>
                <a:uLnTx/>
                <a:uFillTx/>
                <a:latin typeface="Arial"/>
                <a:ea typeface="+mn-ea"/>
                <a:cs typeface="+mn-ea"/>
                <a:sym typeface="+mn-lt"/>
              </a:endParaRPr>
            </a:p>
          </p:txBody>
        </p:sp>
        <p:sp>
          <p:nvSpPr>
            <p:cNvPr id="16" name="Google Shape;358;p19">
              <a:extLst>
                <a:ext uri="{FF2B5EF4-FFF2-40B4-BE49-F238E27FC236}">
                  <a16:creationId xmlns:a16="http://schemas.microsoft.com/office/drawing/2014/main" id="{4863DDCF-0F82-4AF3-B800-4285A8E8E269}"/>
                </a:ext>
              </a:extLst>
            </p:cNvPr>
            <p:cNvSpPr/>
            <p:nvPr/>
          </p:nvSpPr>
          <p:spPr>
            <a:xfrm>
              <a:off x="2622750" y="2584450"/>
              <a:ext cx="498900" cy="499200"/>
            </a:xfrm>
            <a:custGeom>
              <a:avLst/>
              <a:gdLst/>
              <a:ahLst/>
              <a:cxnLst/>
              <a:rect l="l" t="t" r="r" b="b"/>
              <a:pathLst>
                <a:path w="19956" h="19968" extrusionOk="0">
                  <a:moveTo>
                    <a:pt x="9978" y="882"/>
                  </a:moveTo>
                  <a:cubicBezTo>
                    <a:pt x="15002" y="882"/>
                    <a:pt x="19086" y="4965"/>
                    <a:pt x="19086" y="9990"/>
                  </a:cubicBezTo>
                  <a:cubicBezTo>
                    <a:pt x="19086" y="15002"/>
                    <a:pt x="15002" y="19086"/>
                    <a:pt x="9978" y="19086"/>
                  </a:cubicBezTo>
                  <a:cubicBezTo>
                    <a:pt x="4965" y="19086"/>
                    <a:pt x="870" y="15002"/>
                    <a:pt x="870" y="9990"/>
                  </a:cubicBezTo>
                  <a:cubicBezTo>
                    <a:pt x="870" y="4965"/>
                    <a:pt x="4965" y="882"/>
                    <a:pt x="9978" y="882"/>
                  </a:cubicBezTo>
                  <a:close/>
                  <a:moveTo>
                    <a:pt x="9978" y="1"/>
                  </a:moveTo>
                  <a:cubicBezTo>
                    <a:pt x="4477" y="1"/>
                    <a:pt x="0" y="4477"/>
                    <a:pt x="0" y="9990"/>
                  </a:cubicBezTo>
                  <a:cubicBezTo>
                    <a:pt x="0" y="15491"/>
                    <a:pt x="4477" y="19967"/>
                    <a:pt x="9978" y="19967"/>
                  </a:cubicBezTo>
                  <a:cubicBezTo>
                    <a:pt x="15479" y="19967"/>
                    <a:pt x="19955" y="15491"/>
                    <a:pt x="19955" y="9990"/>
                  </a:cubicBezTo>
                  <a:cubicBezTo>
                    <a:pt x="19955" y="4477"/>
                    <a:pt x="15479" y="1"/>
                    <a:pt x="9978" y="1"/>
                  </a:cubicBezTo>
                  <a:close/>
                </a:path>
              </a:pathLst>
            </a:custGeom>
            <a:solidFill>
              <a:srgbClr val="FFFFFF"/>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17" name="Google Shape;359;p19">
              <a:extLst>
                <a:ext uri="{FF2B5EF4-FFF2-40B4-BE49-F238E27FC236}">
                  <a16:creationId xmlns:a16="http://schemas.microsoft.com/office/drawing/2014/main" id="{98586A78-4766-48E2-8A75-51E72143A453}"/>
                </a:ext>
              </a:extLst>
            </p:cNvPr>
            <p:cNvSpPr txBox="1"/>
            <p:nvPr/>
          </p:nvSpPr>
          <p:spPr>
            <a:xfrm>
              <a:off x="1565300" y="1664875"/>
              <a:ext cx="964200" cy="759000"/>
            </a:xfrm>
            <a:prstGeom prst="rect">
              <a:avLst/>
            </a:prstGeom>
            <a:noFill/>
            <a:ln>
              <a:noFill/>
            </a:ln>
          </p:spPr>
          <p:txBody>
            <a:bodyPr spcFirstLastPara="1" wrap="square" lIns="121900" tIns="121900" rIns="121900" bIns="12190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 sz="1600" b="0" i="0" u="none" strike="noStrike" kern="1200" cap="none" spc="0" normalizeH="0" baseline="0" noProof="0">
                  <a:ln>
                    <a:noFill/>
                  </a:ln>
                  <a:solidFill>
                    <a:srgbClr val="434343"/>
                  </a:solidFill>
                  <a:effectLst/>
                  <a:uLnTx/>
                  <a:uFillTx/>
                  <a:latin typeface="Arial"/>
                  <a:ea typeface="+mn-ea"/>
                  <a:cs typeface="+mn-ea"/>
                  <a:sym typeface="+mn-lt"/>
                </a:rPr>
                <a:t>Venus is terribly hot</a:t>
              </a:r>
              <a:endParaRPr kumimoji="0" sz="1600" b="0" i="0" u="none" strike="noStrike" kern="1200" cap="none" spc="0" normalizeH="0" baseline="0" noProof="0">
                <a:ln>
                  <a:noFill/>
                </a:ln>
                <a:solidFill>
                  <a:srgbClr val="434343"/>
                </a:solidFill>
                <a:effectLst/>
                <a:uLnTx/>
                <a:uFillTx/>
                <a:latin typeface="Arial"/>
                <a:ea typeface="+mn-ea"/>
                <a:cs typeface="+mn-ea"/>
                <a:sym typeface="+mn-lt"/>
              </a:endParaRPr>
            </a:p>
          </p:txBody>
        </p:sp>
      </p:grpSp>
      <p:grpSp>
        <p:nvGrpSpPr>
          <p:cNvPr id="18" name="Google Shape;360;p19">
            <a:extLst>
              <a:ext uri="{FF2B5EF4-FFF2-40B4-BE49-F238E27FC236}">
                <a16:creationId xmlns:a16="http://schemas.microsoft.com/office/drawing/2014/main" id="{26FE505B-50E7-4590-BD3E-FFE17CB15EE3}"/>
              </a:ext>
            </a:extLst>
          </p:cNvPr>
          <p:cNvGrpSpPr/>
          <p:nvPr/>
        </p:nvGrpSpPr>
        <p:grpSpPr>
          <a:xfrm>
            <a:off x="2899034" y="3192859"/>
            <a:ext cx="2026567" cy="2502733"/>
            <a:chOff x="2506000" y="2558250"/>
            <a:chExt cx="1519925" cy="1877050"/>
          </a:xfrm>
        </p:grpSpPr>
        <p:sp>
          <p:nvSpPr>
            <p:cNvPr id="19" name="Google Shape;361;p19">
              <a:extLst>
                <a:ext uri="{FF2B5EF4-FFF2-40B4-BE49-F238E27FC236}">
                  <a16:creationId xmlns:a16="http://schemas.microsoft.com/office/drawing/2014/main" id="{753A9AFE-6750-4E45-BA8E-F9515A1C2978}"/>
                </a:ext>
              </a:extLst>
            </p:cNvPr>
            <p:cNvSpPr/>
            <p:nvPr/>
          </p:nvSpPr>
          <p:spPr>
            <a:xfrm>
              <a:off x="2665600" y="2916651"/>
              <a:ext cx="1237100" cy="1410935"/>
            </a:xfrm>
            <a:custGeom>
              <a:avLst/>
              <a:gdLst/>
              <a:ahLst/>
              <a:cxnLst/>
              <a:rect l="l" t="t" r="r" b="b"/>
              <a:pathLst>
                <a:path w="49484" h="41756" extrusionOk="0">
                  <a:moveTo>
                    <a:pt x="48638" y="0"/>
                  </a:moveTo>
                  <a:lnTo>
                    <a:pt x="34791" y="40862"/>
                  </a:lnTo>
                  <a:lnTo>
                    <a:pt x="1" y="40862"/>
                  </a:lnTo>
                  <a:lnTo>
                    <a:pt x="1" y="41755"/>
                  </a:lnTo>
                  <a:lnTo>
                    <a:pt x="35434" y="41755"/>
                  </a:lnTo>
                  <a:lnTo>
                    <a:pt x="49483" y="298"/>
                  </a:lnTo>
                  <a:lnTo>
                    <a:pt x="48638" y="0"/>
                  </a:lnTo>
                  <a:close/>
                </a:path>
              </a:pathLst>
            </a:custGeom>
            <a:solidFill>
              <a:srgbClr val="000000"/>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20" name="Google Shape;362;p19">
              <a:extLst>
                <a:ext uri="{FF2B5EF4-FFF2-40B4-BE49-F238E27FC236}">
                  <a16:creationId xmlns:a16="http://schemas.microsoft.com/office/drawing/2014/main" id="{D6A49C00-71E3-413F-9E2A-C9AEA89E0DF4}"/>
                </a:ext>
              </a:extLst>
            </p:cNvPr>
            <p:cNvSpPr/>
            <p:nvPr/>
          </p:nvSpPr>
          <p:spPr>
            <a:xfrm>
              <a:off x="2548625" y="4130475"/>
              <a:ext cx="921575" cy="304825"/>
            </a:xfrm>
            <a:custGeom>
              <a:avLst/>
              <a:gdLst/>
              <a:ahLst/>
              <a:cxnLst/>
              <a:rect l="l" t="t" r="r" b="b"/>
              <a:pathLst>
                <a:path w="36863" h="12193" extrusionOk="0">
                  <a:moveTo>
                    <a:pt x="6097" y="1"/>
                  </a:moveTo>
                  <a:cubicBezTo>
                    <a:pt x="2727" y="1"/>
                    <a:pt x="1" y="2727"/>
                    <a:pt x="1" y="6096"/>
                  </a:cubicBezTo>
                  <a:cubicBezTo>
                    <a:pt x="1" y="9466"/>
                    <a:pt x="2727" y="12192"/>
                    <a:pt x="6097" y="12192"/>
                  </a:cubicBezTo>
                  <a:lnTo>
                    <a:pt x="33243" y="12192"/>
                  </a:lnTo>
                  <a:lnTo>
                    <a:pt x="36863" y="1"/>
                  </a:lnTo>
                  <a:close/>
                </a:path>
              </a:pathLst>
            </a:custGeom>
            <a:solidFill>
              <a:schemeClr val="accent1"/>
            </a:solidFill>
            <a:ln>
              <a:noFill/>
            </a:ln>
          </p:spPr>
          <p:txBody>
            <a:bodyPr spcFirstLastPara="1" wrap="square" lIns="121900" tIns="121900" rIns="121900" bIns="1219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2000" b="0" i="0" u="none" strike="noStrike" kern="1200" cap="none" spc="0" normalizeH="0" baseline="0" noProof="0">
                  <a:ln>
                    <a:noFill/>
                  </a:ln>
                  <a:solidFill>
                    <a:srgbClr val="FFFFFF"/>
                  </a:solidFill>
                  <a:effectLst/>
                  <a:uLnTx/>
                  <a:uFillTx/>
                  <a:latin typeface="Arial"/>
                  <a:ea typeface="+mn-ea"/>
                  <a:cs typeface="+mn-ea"/>
                  <a:sym typeface="+mn-lt"/>
                </a:rPr>
                <a:t>Earth</a:t>
              </a:r>
              <a:endParaRPr kumimoji="0" sz="2000" b="0" i="0" u="none" strike="noStrike" kern="1200" cap="none" spc="0" normalizeH="0" baseline="0" noProof="0">
                <a:ln>
                  <a:noFill/>
                </a:ln>
                <a:solidFill>
                  <a:srgbClr val="FFFFFF"/>
                </a:solidFill>
                <a:effectLst/>
                <a:uLnTx/>
                <a:uFillTx/>
                <a:latin typeface="Arial"/>
                <a:ea typeface="+mn-ea"/>
                <a:cs typeface="+mn-ea"/>
                <a:sym typeface="+mn-lt"/>
              </a:endParaRPr>
            </a:p>
          </p:txBody>
        </p:sp>
        <p:sp>
          <p:nvSpPr>
            <p:cNvPr id="21" name="Google Shape;363;p19">
              <a:extLst>
                <a:ext uri="{FF2B5EF4-FFF2-40B4-BE49-F238E27FC236}">
                  <a16:creationId xmlns:a16="http://schemas.microsoft.com/office/drawing/2014/main" id="{348E4FEC-1BE5-4692-8B0B-44FAC71DCF31}"/>
                </a:ext>
              </a:extLst>
            </p:cNvPr>
            <p:cNvSpPr/>
            <p:nvPr/>
          </p:nvSpPr>
          <p:spPr>
            <a:xfrm>
              <a:off x="3474350" y="2558250"/>
              <a:ext cx="551575" cy="551575"/>
            </a:xfrm>
            <a:custGeom>
              <a:avLst/>
              <a:gdLst/>
              <a:ahLst/>
              <a:cxnLst/>
              <a:rect l="l" t="t" r="r" b="b"/>
              <a:pathLst>
                <a:path w="22063" h="22063" extrusionOk="0">
                  <a:moveTo>
                    <a:pt x="11025" y="1"/>
                  </a:moveTo>
                  <a:cubicBezTo>
                    <a:pt x="4941" y="1"/>
                    <a:pt x="0" y="4942"/>
                    <a:pt x="0" y="11038"/>
                  </a:cubicBezTo>
                  <a:cubicBezTo>
                    <a:pt x="0" y="17122"/>
                    <a:pt x="4941" y="22063"/>
                    <a:pt x="11025" y="22063"/>
                  </a:cubicBezTo>
                  <a:cubicBezTo>
                    <a:pt x="17121" y="22063"/>
                    <a:pt x="22063" y="17122"/>
                    <a:pt x="22063" y="11038"/>
                  </a:cubicBezTo>
                  <a:cubicBezTo>
                    <a:pt x="22063" y="4942"/>
                    <a:pt x="17121" y="1"/>
                    <a:pt x="11025" y="1"/>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2667" b="0" i="0" u="none" strike="noStrike" kern="1200" cap="none" spc="0" normalizeH="0" baseline="0" noProof="0">
                  <a:ln>
                    <a:noFill/>
                  </a:ln>
                  <a:solidFill>
                    <a:srgbClr val="FFFFFF"/>
                  </a:solidFill>
                  <a:effectLst/>
                  <a:uLnTx/>
                  <a:uFillTx/>
                  <a:latin typeface="Arial"/>
                  <a:ea typeface="+mn-ea"/>
                  <a:cs typeface="+mn-ea"/>
                  <a:sym typeface="+mn-lt"/>
                </a:rPr>
                <a:t>02</a:t>
              </a:r>
              <a:endParaRPr kumimoji="0" sz="2667" b="0" i="0" u="none" strike="noStrike" kern="1200" cap="none" spc="0" normalizeH="0" baseline="0" noProof="0">
                <a:ln>
                  <a:noFill/>
                </a:ln>
                <a:solidFill>
                  <a:srgbClr val="FFFFFF"/>
                </a:solidFill>
                <a:effectLst/>
                <a:uLnTx/>
                <a:uFillTx/>
                <a:latin typeface="Arial"/>
                <a:ea typeface="+mn-ea"/>
                <a:cs typeface="+mn-ea"/>
                <a:sym typeface="+mn-lt"/>
              </a:endParaRPr>
            </a:p>
          </p:txBody>
        </p:sp>
        <p:sp>
          <p:nvSpPr>
            <p:cNvPr id="22" name="Google Shape;364;p19">
              <a:extLst>
                <a:ext uri="{FF2B5EF4-FFF2-40B4-BE49-F238E27FC236}">
                  <a16:creationId xmlns:a16="http://schemas.microsoft.com/office/drawing/2014/main" id="{CC239053-246E-48EC-B0CD-59BA510BAA3C}"/>
                </a:ext>
              </a:extLst>
            </p:cNvPr>
            <p:cNvSpPr/>
            <p:nvPr/>
          </p:nvSpPr>
          <p:spPr>
            <a:xfrm>
              <a:off x="3500525" y="2584450"/>
              <a:ext cx="499200" cy="499200"/>
            </a:xfrm>
            <a:custGeom>
              <a:avLst/>
              <a:gdLst/>
              <a:ahLst/>
              <a:cxnLst/>
              <a:rect l="l" t="t" r="r" b="b"/>
              <a:pathLst>
                <a:path w="19968" h="19968" extrusionOk="0">
                  <a:moveTo>
                    <a:pt x="9978" y="882"/>
                  </a:moveTo>
                  <a:cubicBezTo>
                    <a:pt x="15003" y="882"/>
                    <a:pt x="19087" y="4965"/>
                    <a:pt x="19087" y="9990"/>
                  </a:cubicBezTo>
                  <a:cubicBezTo>
                    <a:pt x="19087" y="15002"/>
                    <a:pt x="15003" y="19086"/>
                    <a:pt x="9978" y="19086"/>
                  </a:cubicBezTo>
                  <a:cubicBezTo>
                    <a:pt x="4966" y="19086"/>
                    <a:pt x="882" y="15002"/>
                    <a:pt x="882" y="9990"/>
                  </a:cubicBezTo>
                  <a:cubicBezTo>
                    <a:pt x="882" y="4965"/>
                    <a:pt x="4966" y="882"/>
                    <a:pt x="9978" y="882"/>
                  </a:cubicBezTo>
                  <a:close/>
                  <a:moveTo>
                    <a:pt x="9978" y="1"/>
                  </a:moveTo>
                  <a:cubicBezTo>
                    <a:pt x="4478" y="1"/>
                    <a:pt x="1" y="4477"/>
                    <a:pt x="1" y="9990"/>
                  </a:cubicBezTo>
                  <a:cubicBezTo>
                    <a:pt x="1" y="15491"/>
                    <a:pt x="4478" y="19967"/>
                    <a:pt x="9978" y="19967"/>
                  </a:cubicBezTo>
                  <a:cubicBezTo>
                    <a:pt x="15491" y="19967"/>
                    <a:pt x="19968" y="15491"/>
                    <a:pt x="19968" y="9990"/>
                  </a:cubicBezTo>
                  <a:cubicBezTo>
                    <a:pt x="19968" y="4477"/>
                    <a:pt x="15491" y="1"/>
                    <a:pt x="9978" y="1"/>
                  </a:cubicBezTo>
                  <a:close/>
                </a:path>
              </a:pathLst>
            </a:custGeom>
            <a:solidFill>
              <a:srgbClr val="FFFFFF"/>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23" name="Google Shape;365;p19">
              <a:extLst>
                <a:ext uri="{FF2B5EF4-FFF2-40B4-BE49-F238E27FC236}">
                  <a16:creationId xmlns:a16="http://schemas.microsoft.com/office/drawing/2014/main" id="{108468E5-553E-440C-AFFA-9D8459C2FB8E}"/>
                </a:ext>
              </a:extLst>
            </p:cNvPr>
            <p:cNvSpPr txBox="1"/>
            <p:nvPr/>
          </p:nvSpPr>
          <p:spPr>
            <a:xfrm>
              <a:off x="2506000" y="3240638"/>
              <a:ext cx="964200" cy="759000"/>
            </a:xfrm>
            <a:prstGeom prst="rect">
              <a:avLst/>
            </a:prstGeom>
            <a:noFill/>
            <a:ln>
              <a:noFill/>
            </a:ln>
          </p:spPr>
          <p:txBody>
            <a:bodyPr spcFirstLastPara="1" wrap="square" lIns="121900" tIns="121900" rIns="121900" bIns="12190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 sz="1600" b="0" i="0" u="none" strike="noStrike" kern="1200" cap="none" spc="0" normalizeH="0" baseline="0" noProof="0">
                  <a:ln>
                    <a:noFill/>
                  </a:ln>
                  <a:solidFill>
                    <a:srgbClr val="434343"/>
                  </a:solidFill>
                  <a:effectLst/>
                  <a:uLnTx/>
                  <a:uFillTx/>
                  <a:latin typeface="Arial"/>
                  <a:ea typeface="+mn-ea"/>
                  <a:cs typeface="+mn-ea"/>
                  <a:sym typeface="+mn-lt"/>
                </a:rPr>
                <a:t>Earth harbors life</a:t>
              </a:r>
              <a:endParaRPr kumimoji="0" sz="1600" b="0" i="0" u="none" strike="noStrike" kern="1200" cap="none" spc="0" normalizeH="0" baseline="0" noProof="0">
                <a:ln>
                  <a:noFill/>
                </a:ln>
                <a:solidFill>
                  <a:srgbClr val="434343"/>
                </a:solidFill>
                <a:effectLst/>
                <a:uLnTx/>
                <a:uFillTx/>
                <a:latin typeface="Arial"/>
                <a:ea typeface="+mn-ea"/>
                <a:cs typeface="+mn-ea"/>
                <a:sym typeface="+mn-lt"/>
              </a:endParaRPr>
            </a:p>
          </p:txBody>
        </p:sp>
      </p:grpSp>
      <p:grpSp>
        <p:nvGrpSpPr>
          <p:cNvPr id="24" name="Google Shape;366;p19">
            <a:extLst>
              <a:ext uri="{FF2B5EF4-FFF2-40B4-BE49-F238E27FC236}">
                <a16:creationId xmlns:a16="http://schemas.microsoft.com/office/drawing/2014/main" id="{0503F0DE-3C2A-45E8-AE03-D1DBF2DA4C3C}"/>
              </a:ext>
            </a:extLst>
          </p:cNvPr>
          <p:cNvGrpSpPr/>
          <p:nvPr/>
        </p:nvGrpSpPr>
        <p:grpSpPr>
          <a:xfrm>
            <a:off x="4023000" y="1416126"/>
            <a:ext cx="2073000" cy="2512167"/>
            <a:chOff x="3348975" y="1225700"/>
            <a:chExt cx="1554750" cy="1884125"/>
          </a:xfrm>
        </p:grpSpPr>
        <p:sp>
          <p:nvSpPr>
            <p:cNvPr id="25" name="Google Shape;367;p19">
              <a:extLst>
                <a:ext uri="{FF2B5EF4-FFF2-40B4-BE49-F238E27FC236}">
                  <a16:creationId xmlns:a16="http://schemas.microsoft.com/office/drawing/2014/main" id="{33B0FCBB-22BB-4956-9D95-B750A0A6ED75}"/>
                </a:ext>
              </a:extLst>
            </p:cNvPr>
            <p:cNvSpPr/>
            <p:nvPr/>
          </p:nvSpPr>
          <p:spPr>
            <a:xfrm>
              <a:off x="3508575" y="1333450"/>
              <a:ext cx="1237075" cy="1447785"/>
            </a:xfrm>
            <a:custGeom>
              <a:avLst/>
              <a:gdLst/>
              <a:ahLst/>
              <a:cxnLst/>
              <a:rect l="l" t="t" r="r" b="b"/>
              <a:pathLst>
                <a:path w="49483" h="41756" extrusionOk="0">
                  <a:moveTo>
                    <a:pt x="0" y="0"/>
                  </a:moveTo>
                  <a:lnTo>
                    <a:pt x="0" y="893"/>
                  </a:lnTo>
                  <a:lnTo>
                    <a:pt x="34791" y="893"/>
                  </a:lnTo>
                  <a:lnTo>
                    <a:pt x="48637" y="41755"/>
                  </a:lnTo>
                  <a:lnTo>
                    <a:pt x="49483" y="41470"/>
                  </a:lnTo>
                  <a:lnTo>
                    <a:pt x="35433" y="0"/>
                  </a:lnTo>
                  <a:close/>
                </a:path>
              </a:pathLst>
            </a:custGeom>
            <a:solidFill>
              <a:srgbClr val="000000"/>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26" name="Google Shape;368;p19">
              <a:extLst>
                <a:ext uri="{FF2B5EF4-FFF2-40B4-BE49-F238E27FC236}">
                  <a16:creationId xmlns:a16="http://schemas.microsoft.com/office/drawing/2014/main" id="{BA22887C-BFB1-4B61-9FD6-9220F7C369A5}"/>
                </a:ext>
              </a:extLst>
            </p:cNvPr>
            <p:cNvSpPr/>
            <p:nvPr/>
          </p:nvSpPr>
          <p:spPr>
            <a:xfrm>
              <a:off x="3391600" y="1225700"/>
              <a:ext cx="921575" cy="304825"/>
            </a:xfrm>
            <a:custGeom>
              <a:avLst/>
              <a:gdLst/>
              <a:ahLst/>
              <a:cxnLst/>
              <a:rect l="l" t="t" r="r" b="b"/>
              <a:pathLst>
                <a:path w="36863" h="12193" extrusionOk="0">
                  <a:moveTo>
                    <a:pt x="6096" y="0"/>
                  </a:moveTo>
                  <a:cubicBezTo>
                    <a:pt x="2727" y="0"/>
                    <a:pt x="0" y="2739"/>
                    <a:pt x="0" y="6096"/>
                  </a:cubicBezTo>
                  <a:cubicBezTo>
                    <a:pt x="0" y="9466"/>
                    <a:pt x="2727" y="12192"/>
                    <a:pt x="6096" y="12192"/>
                  </a:cubicBezTo>
                  <a:lnTo>
                    <a:pt x="36862" y="12192"/>
                  </a:lnTo>
                  <a:lnTo>
                    <a:pt x="33243" y="0"/>
                  </a:lnTo>
                  <a:close/>
                </a:path>
              </a:pathLst>
            </a:custGeom>
            <a:solidFill>
              <a:schemeClr val="accent1"/>
            </a:solidFill>
            <a:ln>
              <a:noFill/>
            </a:ln>
          </p:spPr>
          <p:txBody>
            <a:bodyPr spcFirstLastPara="1" wrap="square" lIns="121900" tIns="121900" rIns="121900" bIns="1219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2000" b="0" i="0" u="none" strike="noStrike" kern="1200" cap="none" spc="0" normalizeH="0" baseline="0" noProof="0">
                  <a:ln>
                    <a:noFill/>
                  </a:ln>
                  <a:solidFill>
                    <a:srgbClr val="FFFFFF"/>
                  </a:solidFill>
                  <a:effectLst/>
                  <a:uLnTx/>
                  <a:uFillTx/>
                  <a:latin typeface="Arial"/>
                  <a:ea typeface="+mn-ea"/>
                  <a:cs typeface="+mn-ea"/>
                  <a:sym typeface="+mn-lt"/>
                </a:rPr>
                <a:t>Jupiter</a:t>
              </a:r>
              <a:endParaRPr kumimoji="0" sz="2000" b="0" i="0" u="none" strike="noStrike" kern="1200" cap="none" spc="0" normalizeH="0" baseline="0" noProof="0">
                <a:ln>
                  <a:noFill/>
                </a:ln>
                <a:solidFill>
                  <a:srgbClr val="FFFFFF"/>
                </a:solidFill>
                <a:effectLst/>
                <a:uLnTx/>
                <a:uFillTx/>
                <a:latin typeface="Arial"/>
                <a:ea typeface="+mn-ea"/>
                <a:cs typeface="+mn-ea"/>
                <a:sym typeface="+mn-lt"/>
              </a:endParaRPr>
            </a:p>
          </p:txBody>
        </p:sp>
        <p:sp>
          <p:nvSpPr>
            <p:cNvPr id="27" name="Google Shape;369;p19">
              <a:extLst>
                <a:ext uri="{FF2B5EF4-FFF2-40B4-BE49-F238E27FC236}">
                  <a16:creationId xmlns:a16="http://schemas.microsoft.com/office/drawing/2014/main" id="{AB865DDA-AD31-40E4-8C3F-09649FAB676B}"/>
                </a:ext>
              </a:extLst>
            </p:cNvPr>
            <p:cNvSpPr/>
            <p:nvPr/>
          </p:nvSpPr>
          <p:spPr>
            <a:xfrm>
              <a:off x="4352125" y="2558250"/>
              <a:ext cx="551600" cy="551575"/>
            </a:xfrm>
            <a:custGeom>
              <a:avLst/>
              <a:gdLst/>
              <a:ahLst/>
              <a:cxnLst/>
              <a:rect l="l" t="t" r="r" b="b"/>
              <a:pathLst>
                <a:path w="22064" h="22063" extrusionOk="0">
                  <a:moveTo>
                    <a:pt x="11038" y="1"/>
                  </a:moveTo>
                  <a:cubicBezTo>
                    <a:pt x="4942" y="1"/>
                    <a:pt x="1" y="4942"/>
                    <a:pt x="1" y="11038"/>
                  </a:cubicBezTo>
                  <a:cubicBezTo>
                    <a:pt x="1" y="17122"/>
                    <a:pt x="4942" y="22063"/>
                    <a:pt x="11038" y="22063"/>
                  </a:cubicBezTo>
                  <a:cubicBezTo>
                    <a:pt x="17122" y="22063"/>
                    <a:pt x="22063" y="17122"/>
                    <a:pt x="22063" y="11038"/>
                  </a:cubicBezTo>
                  <a:cubicBezTo>
                    <a:pt x="22063" y="4942"/>
                    <a:pt x="17122" y="1"/>
                    <a:pt x="11038" y="1"/>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2667" b="0" i="0" u="none" strike="noStrike" kern="1200" cap="none" spc="0" normalizeH="0" baseline="0" noProof="0">
                  <a:ln>
                    <a:noFill/>
                  </a:ln>
                  <a:solidFill>
                    <a:srgbClr val="FFFFFF"/>
                  </a:solidFill>
                  <a:effectLst/>
                  <a:uLnTx/>
                  <a:uFillTx/>
                  <a:latin typeface="Arial"/>
                  <a:ea typeface="+mn-ea"/>
                  <a:cs typeface="+mn-ea"/>
                  <a:sym typeface="+mn-lt"/>
                </a:rPr>
                <a:t>03</a:t>
              </a:r>
              <a:endParaRPr kumimoji="0" sz="2667" b="0" i="0" u="none" strike="noStrike" kern="1200" cap="none" spc="0" normalizeH="0" baseline="0" noProof="0">
                <a:ln>
                  <a:noFill/>
                </a:ln>
                <a:solidFill>
                  <a:srgbClr val="FFFFFF"/>
                </a:solidFill>
                <a:effectLst/>
                <a:uLnTx/>
                <a:uFillTx/>
                <a:latin typeface="Arial"/>
                <a:ea typeface="+mn-ea"/>
                <a:cs typeface="+mn-ea"/>
                <a:sym typeface="+mn-lt"/>
              </a:endParaRPr>
            </a:p>
          </p:txBody>
        </p:sp>
        <p:sp>
          <p:nvSpPr>
            <p:cNvPr id="28" name="Google Shape;370;p19">
              <a:extLst>
                <a:ext uri="{FF2B5EF4-FFF2-40B4-BE49-F238E27FC236}">
                  <a16:creationId xmlns:a16="http://schemas.microsoft.com/office/drawing/2014/main" id="{9A1DD6A4-E943-4607-833A-8993A80B3CC2}"/>
                </a:ext>
              </a:extLst>
            </p:cNvPr>
            <p:cNvSpPr/>
            <p:nvPr/>
          </p:nvSpPr>
          <p:spPr>
            <a:xfrm>
              <a:off x="4378325" y="2584450"/>
              <a:ext cx="499200" cy="499200"/>
            </a:xfrm>
            <a:custGeom>
              <a:avLst/>
              <a:gdLst/>
              <a:ahLst/>
              <a:cxnLst/>
              <a:rect l="l" t="t" r="r" b="b"/>
              <a:pathLst>
                <a:path w="19968" h="19968" extrusionOk="0">
                  <a:moveTo>
                    <a:pt x="9990" y="882"/>
                  </a:moveTo>
                  <a:cubicBezTo>
                    <a:pt x="15002" y="882"/>
                    <a:pt x="19086" y="4965"/>
                    <a:pt x="19086" y="9990"/>
                  </a:cubicBezTo>
                  <a:cubicBezTo>
                    <a:pt x="19086" y="15002"/>
                    <a:pt x="15002" y="19086"/>
                    <a:pt x="9990" y="19086"/>
                  </a:cubicBezTo>
                  <a:cubicBezTo>
                    <a:pt x="4965" y="19086"/>
                    <a:pt x="882" y="15002"/>
                    <a:pt x="882" y="9990"/>
                  </a:cubicBezTo>
                  <a:cubicBezTo>
                    <a:pt x="882" y="4965"/>
                    <a:pt x="4965" y="882"/>
                    <a:pt x="9990" y="882"/>
                  </a:cubicBezTo>
                  <a:close/>
                  <a:moveTo>
                    <a:pt x="9990" y="1"/>
                  </a:moveTo>
                  <a:cubicBezTo>
                    <a:pt x="4477" y="1"/>
                    <a:pt x="1" y="4477"/>
                    <a:pt x="1" y="9990"/>
                  </a:cubicBezTo>
                  <a:cubicBezTo>
                    <a:pt x="1" y="15491"/>
                    <a:pt x="4477" y="19967"/>
                    <a:pt x="9990" y="19967"/>
                  </a:cubicBezTo>
                  <a:cubicBezTo>
                    <a:pt x="15491" y="19967"/>
                    <a:pt x="19967" y="15491"/>
                    <a:pt x="19967" y="9990"/>
                  </a:cubicBezTo>
                  <a:cubicBezTo>
                    <a:pt x="19967" y="4477"/>
                    <a:pt x="15491" y="1"/>
                    <a:pt x="9990" y="1"/>
                  </a:cubicBezTo>
                  <a:close/>
                </a:path>
              </a:pathLst>
            </a:custGeom>
            <a:solidFill>
              <a:srgbClr val="FFFFFF"/>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29" name="Google Shape;371;p19">
              <a:extLst>
                <a:ext uri="{FF2B5EF4-FFF2-40B4-BE49-F238E27FC236}">
                  <a16:creationId xmlns:a16="http://schemas.microsoft.com/office/drawing/2014/main" id="{3AE9DF8D-9977-4690-9FE4-AAB244D7A294}"/>
                </a:ext>
              </a:extLst>
            </p:cNvPr>
            <p:cNvSpPr txBox="1"/>
            <p:nvPr/>
          </p:nvSpPr>
          <p:spPr>
            <a:xfrm>
              <a:off x="3348975" y="1664875"/>
              <a:ext cx="964200" cy="759000"/>
            </a:xfrm>
            <a:prstGeom prst="rect">
              <a:avLst/>
            </a:prstGeom>
            <a:noFill/>
            <a:ln>
              <a:noFill/>
            </a:ln>
          </p:spPr>
          <p:txBody>
            <a:bodyPr spcFirstLastPara="1" wrap="square" lIns="121900" tIns="121900" rIns="121900" bIns="12190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 sz="1600" b="0" i="0" u="none" strike="noStrike" kern="1200" cap="none" spc="0" normalizeH="0" baseline="0" noProof="0">
                  <a:ln>
                    <a:noFill/>
                  </a:ln>
                  <a:solidFill>
                    <a:srgbClr val="434343"/>
                  </a:solidFill>
                  <a:effectLst/>
                  <a:uLnTx/>
                  <a:uFillTx/>
                  <a:latin typeface="Arial"/>
                  <a:ea typeface="+mn-ea"/>
                  <a:cs typeface="+mn-ea"/>
                  <a:sym typeface="+mn-lt"/>
                </a:rPr>
                <a:t>Jupiter is a gas giant</a:t>
              </a:r>
              <a:endParaRPr kumimoji="0" sz="1600" b="0" i="0" u="none" strike="noStrike" kern="1200" cap="none" spc="0" normalizeH="0" baseline="0" noProof="0">
                <a:ln>
                  <a:noFill/>
                </a:ln>
                <a:solidFill>
                  <a:srgbClr val="434343"/>
                </a:solidFill>
                <a:effectLst/>
                <a:uLnTx/>
                <a:uFillTx/>
                <a:latin typeface="Arial"/>
                <a:ea typeface="+mn-ea"/>
                <a:cs typeface="+mn-ea"/>
                <a:sym typeface="+mn-lt"/>
              </a:endParaRPr>
            </a:p>
          </p:txBody>
        </p:sp>
      </p:grpSp>
      <p:grpSp>
        <p:nvGrpSpPr>
          <p:cNvPr id="30" name="Google Shape;372;p19">
            <a:extLst>
              <a:ext uri="{FF2B5EF4-FFF2-40B4-BE49-F238E27FC236}">
                <a16:creationId xmlns:a16="http://schemas.microsoft.com/office/drawing/2014/main" id="{A4A2FBEE-53B4-40F3-BA0B-76ADBC38DE41}"/>
              </a:ext>
            </a:extLst>
          </p:cNvPr>
          <p:cNvGrpSpPr/>
          <p:nvPr/>
        </p:nvGrpSpPr>
        <p:grpSpPr>
          <a:xfrm>
            <a:off x="5216800" y="3192859"/>
            <a:ext cx="2049567" cy="2502733"/>
            <a:chOff x="4244325" y="2558250"/>
            <a:chExt cx="1537175" cy="1877050"/>
          </a:xfrm>
        </p:grpSpPr>
        <p:sp>
          <p:nvSpPr>
            <p:cNvPr id="31" name="Google Shape;373;p19">
              <a:extLst>
                <a:ext uri="{FF2B5EF4-FFF2-40B4-BE49-F238E27FC236}">
                  <a16:creationId xmlns:a16="http://schemas.microsoft.com/office/drawing/2014/main" id="{5A3DC848-97C4-4F2E-9F02-D13C08EDEF5C}"/>
                </a:ext>
              </a:extLst>
            </p:cNvPr>
            <p:cNvSpPr/>
            <p:nvPr/>
          </p:nvSpPr>
          <p:spPr>
            <a:xfrm>
              <a:off x="4403925" y="2916651"/>
              <a:ext cx="1237075" cy="1410935"/>
            </a:xfrm>
            <a:custGeom>
              <a:avLst/>
              <a:gdLst/>
              <a:ahLst/>
              <a:cxnLst/>
              <a:rect l="l" t="t" r="r" b="b"/>
              <a:pathLst>
                <a:path w="49483" h="41756" extrusionOk="0">
                  <a:moveTo>
                    <a:pt x="48637" y="0"/>
                  </a:moveTo>
                  <a:lnTo>
                    <a:pt x="34791" y="40862"/>
                  </a:lnTo>
                  <a:lnTo>
                    <a:pt x="0" y="40862"/>
                  </a:lnTo>
                  <a:lnTo>
                    <a:pt x="0" y="41755"/>
                  </a:lnTo>
                  <a:lnTo>
                    <a:pt x="35433" y="41755"/>
                  </a:lnTo>
                  <a:lnTo>
                    <a:pt x="49483" y="298"/>
                  </a:lnTo>
                  <a:lnTo>
                    <a:pt x="48637" y="0"/>
                  </a:lnTo>
                  <a:close/>
                </a:path>
              </a:pathLst>
            </a:custGeom>
            <a:solidFill>
              <a:srgbClr val="000000"/>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32" name="Google Shape;374;p19">
              <a:extLst>
                <a:ext uri="{FF2B5EF4-FFF2-40B4-BE49-F238E27FC236}">
                  <a16:creationId xmlns:a16="http://schemas.microsoft.com/office/drawing/2014/main" id="{062D1739-5361-421F-B5F6-17FC1DA6DA71}"/>
                </a:ext>
              </a:extLst>
            </p:cNvPr>
            <p:cNvSpPr/>
            <p:nvPr/>
          </p:nvSpPr>
          <p:spPr>
            <a:xfrm>
              <a:off x="4286950" y="4130475"/>
              <a:ext cx="921575" cy="304825"/>
            </a:xfrm>
            <a:custGeom>
              <a:avLst/>
              <a:gdLst/>
              <a:ahLst/>
              <a:cxnLst/>
              <a:rect l="l" t="t" r="r" b="b"/>
              <a:pathLst>
                <a:path w="36863" h="12193" extrusionOk="0">
                  <a:moveTo>
                    <a:pt x="6096" y="1"/>
                  </a:moveTo>
                  <a:cubicBezTo>
                    <a:pt x="2727" y="1"/>
                    <a:pt x="0" y="2727"/>
                    <a:pt x="0" y="6096"/>
                  </a:cubicBezTo>
                  <a:cubicBezTo>
                    <a:pt x="0" y="9466"/>
                    <a:pt x="2727" y="12192"/>
                    <a:pt x="6096" y="12192"/>
                  </a:cubicBezTo>
                  <a:lnTo>
                    <a:pt x="33243" y="12192"/>
                  </a:lnTo>
                  <a:lnTo>
                    <a:pt x="36862" y="1"/>
                  </a:lnTo>
                  <a:close/>
                </a:path>
              </a:pathLst>
            </a:custGeom>
            <a:solidFill>
              <a:schemeClr val="accent1"/>
            </a:solidFill>
            <a:ln>
              <a:noFill/>
            </a:ln>
          </p:spPr>
          <p:txBody>
            <a:bodyPr spcFirstLastPara="1" wrap="square" lIns="121900" tIns="121900" rIns="121900" bIns="1219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2000" b="0" i="0" u="none" strike="noStrike" kern="1200" cap="none" spc="0" normalizeH="0" baseline="0" noProof="0">
                  <a:ln>
                    <a:noFill/>
                  </a:ln>
                  <a:solidFill>
                    <a:srgbClr val="FFFFFF"/>
                  </a:solidFill>
                  <a:effectLst/>
                  <a:uLnTx/>
                  <a:uFillTx/>
                  <a:latin typeface="Arial"/>
                  <a:ea typeface="+mn-ea"/>
                  <a:cs typeface="+mn-ea"/>
                  <a:sym typeface="+mn-lt"/>
                </a:rPr>
                <a:t>Saturn</a:t>
              </a:r>
              <a:endParaRPr kumimoji="0" sz="2000" b="0" i="0" u="none" strike="noStrike" kern="1200" cap="none" spc="0" normalizeH="0" baseline="0" noProof="0">
                <a:ln>
                  <a:noFill/>
                </a:ln>
                <a:solidFill>
                  <a:srgbClr val="FFFFFF"/>
                </a:solidFill>
                <a:effectLst/>
                <a:uLnTx/>
                <a:uFillTx/>
                <a:latin typeface="Arial"/>
                <a:ea typeface="+mn-ea"/>
                <a:cs typeface="+mn-ea"/>
                <a:sym typeface="+mn-lt"/>
              </a:endParaRPr>
            </a:p>
          </p:txBody>
        </p:sp>
        <p:sp>
          <p:nvSpPr>
            <p:cNvPr id="33" name="Google Shape;375;p19">
              <a:extLst>
                <a:ext uri="{FF2B5EF4-FFF2-40B4-BE49-F238E27FC236}">
                  <a16:creationId xmlns:a16="http://schemas.microsoft.com/office/drawing/2014/main" id="{EFDCDA39-A005-4818-8A2F-FBC2E76D8130}"/>
                </a:ext>
              </a:extLst>
            </p:cNvPr>
            <p:cNvSpPr/>
            <p:nvPr/>
          </p:nvSpPr>
          <p:spPr>
            <a:xfrm>
              <a:off x="5229925" y="2558250"/>
              <a:ext cx="551575" cy="551575"/>
            </a:xfrm>
            <a:custGeom>
              <a:avLst/>
              <a:gdLst/>
              <a:ahLst/>
              <a:cxnLst/>
              <a:rect l="l" t="t" r="r" b="b"/>
              <a:pathLst>
                <a:path w="22063" h="22063" extrusionOk="0">
                  <a:moveTo>
                    <a:pt x="11037" y="1"/>
                  </a:moveTo>
                  <a:cubicBezTo>
                    <a:pt x="4941" y="1"/>
                    <a:pt x="0" y="4942"/>
                    <a:pt x="0" y="11038"/>
                  </a:cubicBezTo>
                  <a:cubicBezTo>
                    <a:pt x="0" y="17122"/>
                    <a:pt x="4941" y="22063"/>
                    <a:pt x="11037" y="22063"/>
                  </a:cubicBezTo>
                  <a:cubicBezTo>
                    <a:pt x="17121" y="22063"/>
                    <a:pt x="22063" y="17122"/>
                    <a:pt x="22063" y="11038"/>
                  </a:cubicBezTo>
                  <a:cubicBezTo>
                    <a:pt x="22063" y="4942"/>
                    <a:pt x="17121" y="1"/>
                    <a:pt x="11037" y="1"/>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2667" b="0" i="0" u="none" strike="noStrike" kern="1200" cap="none" spc="0" normalizeH="0" baseline="0" noProof="0">
                  <a:ln>
                    <a:noFill/>
                  </a:ln>
                  <a:solidFill>
                    <a:srgbClr val="FFFFFF"/>
                  </a:solidFill>
                  <a:effectLst/>
                  <a:uLnTx/>
                  <a:uFillTx/>
                  <a:latin typeface="Arial"/>
                  <a:ea typeface="+mn-ea"/>
                  <a:cs typeface="+mn-ea"/>
                  <a:sym typeface="+mn-lt"/>
                </a:rPr>
                <a:t>04</a:t>
              </a:r>
              <a:endParaRPr kumimoji="0" sz="2667" b="0" i="0" u="none" strike="noStrike" kern="1200" cap="none" spc="0" normalizeH="0" baseline="0" noProof="0">
                <a:ln>
                  <a:noFill/>
                </a:ln>
                <a:solidFill>
                  <a:srgbClr val="FFFFFF"/>
                </a:solidFill>
                <a:effectLst/>
                <a:uLnTx/>
                <a:uFillTx/>
                <a:latin typeface="Arial"/>
                <a:ea typeface="+mn-ea"/>
                <a:cs typeface="+mn-ea"/>
                <a:sym typeface="+mn-lt"/>
              </a:endParaRPr>
            </a:p>
          </p:txBody>
        </p:sp>
        <p:sp>
          <p:nvSpPr>
            <p:cNvPr id="34" name="Google Shape;376;p19">
              <a:extLst>
                <a:ext uri="{FF2B5EF4-FFF2-40B4-BE49-F238E27FC236}">
                  <a16:creationId xmlns:a16="http://schemas.microsoft.com/office/drawing/2014/main" id="{3872D2A0-3BBE-4179-9DCD-170D425CA83F}"/>
                </a:ext>
              </a:extLst>
            </p:cNvPr>
            <p:cNvSpPr/>
            <p:nvPr/>
          </p:nvSpPr>
          <p:spPr>
            <a:xfrm>
              <a:off x="5256400" y="2584450"/>
              <a:ext cx="498900" cy="499200"/>
            </a:xfrm>
            <a:custGeom>
              <a:avLst/>
              <a:gdLst/>
              <a:ahLst/>
              <a:cxnLst/>
              <a:rect l="l" t="t" r="r" b="b"/>
              <a:pathLst>
                <a:path w="19956" h="19968" extrusionOk="0">
                  <a:moveTo>
                    <a:pt x="9978" y="882"/>
                  </a:moveTo>
                  <a:cubicBezTo>
                    <a:pt x="14991" y="882"/>
                    <a:pt x="19075" y="4965"/>
                    <a:pt x="19075" y="9990"/>
                  </a:cubicBezTo>
                  <a:cubicBezTo>
                    <a:pt x="19075" y="15002"/>
                    <a:pt x="14991" y="19086"/>
                    <a:pt x="9978" y="19086"/>
                  </a:cubicBezTo>
                  <a:cubicBezTo>
                    <a:pt x="4954" y="19086"/>
                    <a:pt x="870" y="15002"/>
                    <a:pt x="870" y="9990"/>
                  </a:cubicBezTo>
                  <a:cubicBezTo>
                    <a:pt x="870" y="4965"/>
                    <a:pt x="4954" y="882"/>
                    <a:pt x="9978" y="882"/>
                  </a:cubicBezTo>
                  <a:close/>
                  <a:moveTo>
                    <a:pt x="9978" y="1"/>
                  </a:moveTo>
                  <a:cubicBezTo>
                    <a:pt x="4478" y="1"/>
                    <a:pt x="1" y="4477"/>
                    <a:pt x="1" y="9990"/>
                  </a:cubicBezTo>
                  <a:cubicBezTo>
                    <a:pt x="1" y="15491"/>
                    <a:pt x="4478" y="19967"/>
                    <a:pt x="9978" y="19967"/>
                  </a:cubicBezTo>
                  <a:cubicBezTo>
                    <a:pt x="15479" y="19967"/>
                    <a:pt x="19956" y="15491"/>
                    <a:pt x="19956" y="9990"/>
                  </a:cubicBezTo>
                  <a:cubicBezTo>
                    <a:pt x="19956" y="4477"/>
                    <a:pt x="15479" y="1"/>
                    <a:pt x="9978" y="1"/>
                  </a:cubicBezTo>
                  <a:close/>
                </a:path>
              </a:pathLst>
            </a:custGeom>
            <a:solidFill>
              <a:srgbClr val="FFFFFF"/>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35" name="Google Shape;377;p19">
              <a:extLst>
                <a:ext uri="{FF2B5EF4-FFF2-40B4-BE49-F238E27FC236}">
                  <a16:creationId xmlns:a16="http://schemas.microsoft.com/office/drawing/2014/main" id="{C0BAFF81-6A72-4867-B946-53CBE3D45025}"/>
                </a:ext>
              </a:extLst>
            </p:cNvPr>
            <p:cNvSpPr txBox="1"/>
            <p:nvPr/>
          </p:nvSpPr>
          <p:spPr>
            <a:xfrm>
              <a:off x="4244325" y="3240638"/>
              <a:ext cx="964200" cy="759000"/>
            </a:xfrm>
            <a:prstGeom prst="rect">
              <a:avLst/>
            </a:prstGeom>
            <a:noFill/>
            <a:ln>
              <a:noFill/>
            </a:ln>
          </p:spPr>
          <p:txBody>
            <a:bodyPr spcFirstLastPara="1" wrap="square" lIns="121900" tIns="121900" rIns="121900" bIns="12190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 sz="1600" b="0" i="0" u="none" strike="noStrike" kern="1200" cap="none" spc="0" normalizeH="0" baseline="0" noProof="0">
                  <a:ln>
                    <a:noFill/>
                  </a:ln>
                  <a:solidFill>
                    <a:srgbClr val="434343"/>
                  </a:solidFill>
                  <a:effectLst/>
                  <a:uLnTx/>
                  <a:uFillTx/>
                  <a:latin typeface="Arial"/>
                  <a:ea typeface="+mn-ea"/>
                  <a:cs typeface="+mn-ea"/>
                  <a:sym typeface="+mn-lt"/>
                </a:rPr>
                <a:t>Saturn is ringed</a:t>
              </a:r>
              <a:endParaRPr kumimoji="0" sz="1600" b="0" i="0" u="none" strike="noStrike" kern="1200" cap="none" spc="0" normalizeH="0" baseline="0" noProof="0">
                <a:ln>
                  <a:noFill/>
                </a:ln>
                <a:solidFill>
                  <a:srgbClr val="434343"/>
                </a:solidFill>
                <a:effectLst/>
                <a:uLnTx/>
                <a:uFillTx/>
                <a:latin typeface="Arial"/>
                <a:ea typeface="+mn-ea"/>
                <a:cs typeface="+mn-ea"/>
                <a:sym typeface="+mn-lt"/>
              </a:endParaRPr>
            </a:p>
          </p:txBody>
        </p:sp>
      </p:grpSp>
      <p:grpSp>
        <p:nvGrpSpPr>
          <p:cNvPr id="36" name="Google Shape;378;p19">
            <a:extLst>
              <a:ext uri="{FF2B5EF4-FFF2-40B4-BE49-F238E27FC236}">
                <a16:creationId xmlns:a16="http://schemas.microsoft.com/office/drawing/2014/main" id="{474C5895-10AB-44B0-8793-DEA05A26DC62}"/>
              </a:ext>
            </a:extLst>
          </p:cNvPr>
          <p:cNvGrpSpPr/>
          <p:nvPr/>
        </p:nvGrpSpPr>
        <p:grpSpPr>
          <a:xfrm>
            <a:off x="6384633" y="1416126"/>
            <a:ext cx="2052133" cy="2512167"/>
            <a:chOff x="5120200" y="1225700"/>
            <a:chExt cx="1539100" cy="1884125"/>
          </a:xfrm>
        </p:grpSpPr>
        <p:sp>
          <p:nvSpPr>
            <p:cNvPr id="37" name="Google Shape;379;p19">
              <a:extLst>
                <a:ext uri="{FF2B5EF4-FFF2-40B4-BE49-F238E27FC236}">
                  <a16:creationId xmlns:a16="http://schemas.microsoft.com/office/drawing/2014/main" id="{532F985B-C32A-4FB5-89B9-FA835DB7967A}"/>
                </a:ext>
              </a:extLst>
            </p:cNvPr>
            <p:cNvSpPr/>
            <p:nvPr/>
          </p:nvSpPr>
          <p:spPr>
            <a:xfrm>
              <a:off x="5258500" y="1333450"/>
              <a:ext cx="1237075" cy="1447785"/>
            </a:xfrm>
            <a:custGeom>
              <a:avLst/>
              <a:gdLst/>
              <a:ahLst/>
              <a:cxnLst/>
              <a:rect l="l" t="t" r="r" b="b"/>
              <a:pathLst>
                <a:path w="49483" h="41756" extrusionOk="0">
                  <a:moveTo>
                    <a:pt x="0" y="0"/>
                  </a:moveTo>
                  <a:lnTo>
                    <a:pt x="0" y="893"/>
                  </a:lnTo>
                  <a:lnTo>
                    <a:pt x="34790" y="893"/>
                  </a:lnTo>
                  <a:lnTo>
                    <a:pt x="48637" y="41755"/>
                  </a:lnTo>
                  <a:lnTo>
                    <a:pt x="49483" y="41470"/>
                  </a:lnTo>
                  <a:lnTo>
                    <a:pt x="35433" y="0"/>
                  </a:lnTo>
                  <a:close/>
                </a:path>
              </a:pathLst>
            </a:custGeom>
            <a:solidFill>
              <a:srgbClr val="000000"/>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38" name="Google Shape;380;p19">
              <a:extLst>
                <a:ext uri="{FF2B5EF4-FFF2-40B4-BE49-F238E27FC236}">
                  <a16:creationId xmlns:a16="http://schemas.microsoft.com/office/drawing/2014/main" id="{F72F54D2-C27A-4A4F-B1CA-078861069A78}"/>
                </a:ext>
              </a:extLst>
            </p:cNvPr>
            <p:cNvSpPr/>
            <p:nvPr/>
          </p:nvSpPr>
          <p:spPr>
            <a:xfrm>
              <a:off x="5141525" y="1225700"/>
              <a:ext cx="921550" cy="304825"/>
            </a:xfrm>
            <a:custGeom>
              <a:avLst/>
              <a:gdLst/>
              <a:ahLst/>
              <a:cxnLst/>
              <a:rect l="l" t="t" r="r" b="b"/>
              <a:pathLst>
                <a:path w="36862" h="12193" extrusionOk="0">
                  <a:moveTo>
                    <a:pt x="6096" y="0"/>
                  </a:moveTo>
                  <a:cubicBezTo>
                    <a:pt x="2727" y="0"/>
                    <a:pt x="0" y="2739"/>
                    <a:pt x="0" y="6096"/>
                  </a:cubicBezTo>
                  <a:cubicBezTo>
                    <a:pt x="0" y="9466"/>
                    <a:pt x="2727" y="12192"/>
                    <a:pt x="6096" y="12192"/>
                  </a:cubicBezTo>
                  <a:lnTo>
                    <a:pt x="36862" y="12192"/>
                  </a:lnTo>
                  <a:lnTo>
                    <a:pt x="33242" y="0"/>
                  </a:lnTo>
                  <a:close/>
                </a:path>
              </a:pathLst>
            </a:custGeom>
            <a:solidFill>
              <a:schemeClr val="accent1"/>
            </a:solidFill>
            <a:ln>
              <a:noFill/>
            </a:ln>
          </p:spPr>
          <p:txBody>
            <a:bodyPr spcFirstLastPara="1" wrap="square" lIns="121900" tIns="121900" rIns="121900" bIns="1219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2000" b="0" i="0" u="none" strike="noStrike" kern="1200" cap="none" spc="0" normalizeH="0" baseline="0" noProof="0">
                  <a:ln>
                    <a:noFill/>
                  </a:ln>
                  <a:solidFill>
                    <a:srgbClr val="FFFFFF"/>
                  </a:solidFill>
                  <a:effectLst/>
                  <a:uLnTx/>
                  <a:uFillTx/>
                  <a:latin typeface="Arial"/>
                  <a:ea typeface="+mn-ea"/>
                  <a:cs typeface="+mn-ea"/>
                  <a:sym typeface="+mn-lt"/>
                </a:rPr>
                <a:t>Mars</a:t>
              </a:r>
              <a:endParaRPr kumimoji="0" sz="2000" b="0" i="0" u="none" strike="noStrike" kern="1200" cap="none" spc="0" normalizeH="0" baseline="0" noProof="0">
                <a:ln>
                  <a:noFill/>
                </a:ln>
                <a:solidFill>
                  <a:srgbClr val="FFFFFF"/>
                </a:solidFill>
                <a:effectLst/>
                <a:uLnTx/>
                <a:uFillTx/>
                <a:latin typeface="Arial"/>
                <a:ea typeface="+mn-ea"/>
                <a:cs typeface="+mn-ea"/>
                <a:sym typeface="+mn-lt"/>
              </a:endParaRPr>
            </a:p>
          </p:txBody>
        </p:sp>
        <p:sp>
          <p:nvSpPr>
            <p:cNvPr id="39" name="Google Shape;381;p19">
              <a:extLst>
                <a:ext uri="{FF2B5EF4-FFF2-40B4-BE49-F238E27FC236}">
                  <a16:creationId xmlns:a16="http://schemas.microsoft.com/office/drawing/2014/main" id="{1969A425-3987-40EF-8F92-87829B87013C}"/>
                </a:ext>
              </a:extLst>
            </p:cNvPr>
            <p:cNvSpPr/>
            <p:nvPr/>
          </p:nvSpPr>
          <p:spPr>
            <a:xfrm>
              <a:off x="6108000" y="2558250"/>
              <a:ext cx="551300" cy="551575"/>
            </a:xfrm>
            <a:custGeom>
              <a:avLst/>
              <a:gdLst/>
              <a:ahLst/>
              <a:cxnLst/>
              <a:rect l="l" t="t" r="r" b="b"/>
              <a:pathLst>
                <a:path w="22052" h="22063" extrusionOk="0">
                  <a:moveTo>
                    <a:pt x="11026" y="1"/>
                  </a:moveTo>
                  <a:cubicBezTo>
                    <a:pt x="4930" y="1"/>
                    <a:pt x="1" y="4942"/>
                    <a:pt x="1" y="11038"/>
                  </a:cubicBezTo>
                  <a:cubicBezTo>
                    <a:pt x="1" y="17122"/>
                    <a:pt x="4930" y="22063"/>
                    <a:pt x="11026" y="22063"/>
                  </a:cubicBezTo>
                  <a:cubicBezTo>
                    <a:pt x="17110" y="22063"/>
                    <a:pt x="22051" y="17122"/>
                    <a:pt x="22051" y="11038"/>
                  </a:cubicBezTo>
                  <a:cubicBezTo>
                    <a:pt x="22051" y="4942"/>
                    <a:pt x="17110" y="1"/>
                    <a:pt x="11026" y="1"/>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2667" b="0" i="0" u="none" strike="noStrike" kern="1200" cap="none" spc="0" normalizeH="0" baseline="0" noProof="0">
                  <a:ln>
                    <a:noFill/>
                  </a:ln>
                  <a:solidFill>
                    <a:srgbClr val="FFFFFF"/>
                  </a:solidFill>
                  <a:effectLst/>
                  <a:uLnTx/>
                  <a:uFillTx/>
                  <a:latin typeface="Arial"/>
                  <a:ea typeface="+mn-ea"/>
                  <a:cs typeface="+mn-ea"/>
                  <a:sym typeface="+mn-lt"/>
                </a:rPr>
                <a:t>05</a:t>
              </a:r>
              <a:endParaRPr kumimoji="0" sz="2667" b="0" i="0" u="none" strike="noStrike" kern="1200" cap="none" spc="0" normalizeH="0" baseline="0" noProof="0">
                <a:ln>
                  <a:noFill/>
                </a:ln>
                <a:solidFill>
                  <a:srgbClr val="FFFFFF"/>
                </a:solidFill>
                <a:effectLst/>
                <a:uLnTx/>
                <a:uFillTx/>
                <a:latin typeface="Arial"/>
                <a:ea typeface="+mn-ea"/>
                <a:cs typeface="+mn-ea"/>
                <a:sym typeface="+mn-lt"/>
              </a:endParaRPr>
            </a:p>
          </p:txBody>
        </p:sp>
        <p:sp>
          <p:nvSpPr>
            <p:cNvPr id="40" name="Google Shape;382;p19">
              <a:extLst>
                <a:ext uri="{FF2B5EF4-FFF2-40B4-BE49-F238E27FC236}">
                  <a16:creationId xmlns:a16="http://schemas.microsoft.com/office/drawing/2014/main" id="{B9595142-E4C1-464A-B019-4DAF2B14A21C}"/>
                </a:ext>
              </a:extLst>
            </p:cNvPr>
            <p:cNvSpPr/>
            <p:nvPr/>
          </p:nvSpPr>
          <p:spPr>
            <a:xfrm>
              <a:off x="6134200" y="2584450"/>
              <a:ext cx="498900" cy="499200"/>
            </a:xfrm>
            <a:custGeom>
              <a:avLst/>
              <a:gdLst/>
              <a:ahLst/>
              <a:cxnLst/>
              <a:rect l="l" t="t" r="r" b="b"/>
              <a:pathLst>
                <a:path w="19956" h="19968" extrusionOk="0">
                  <a:moveTo>
                    <a:pt x="9978" y="882"/>
                  </a:moveTo>
                  <a:cubicBezTo>
                    <a:pt x="15002" y="882"/>
                    <a:pt x="19086" y="4965"/>
                    <a:pt x="19086" y="9990"/>
                  </a:cubicBezTo>
                  <a:cubicBezTo>
                    <a:pt x="19086" y="15002"/>
                    <a:pt x="15002" y="19086"/>
                    <a:pt x="9978" y="19086"/>
                  </a:cubicBezTo>
                  <a:cubicBezTo>
                    <a:pt x="4953" y="19086"/>
                    <a:pt x="870" y="15002"/>
                    <a:pt x="870" y="9990"/>
                  </a:cubicBezTo>
                  <a:cubicBezTo>
                    <a:pt x="870" y="4965"/>
                    <a:pt x="4953" y="882"/>
                    <a:pt x="9978" y="882"/>
                  </a:cubicBezTo>
                  <a:close/>
                  <a:moveTo>
                    <a:pt x="9978" y="1"/>
                  </a:moveTo>
                  <a:cubicBezTo>
                    <a:pt x="4477" y="1"/>
                    <a:pt x="0" y="4477"/>
                    <a:pt x="0" y="9990"/>
                  </a:cubicBezTo>
                  <a:cubicBezTo>
                    <a:pt x="0" y="15491"/>
                    <a:pt x="4477" y="19967"/>
                    <a:pt x="9978" y="19967"/>
                  </a:cubicBezTo>
                  <a:cubicBezTo>
                    <a:pt x="15479" y="19967"/>
                    <a:pt x="19955" y="15491"/>
                    <a:pt x="19955" y="9990"/>
                  </a:cubicBezTo>
                  <a:cubicBezTo>
                    <a:pt x="19955" y="4477"/>
                    <a:pt x="15479" y="1"/>
                    <a:pt x="9978" y="1"/>
                  </a:cubicBezTo>
                  <a:close/>
                </a:path>
              </a:pathLst>
            </a:custGeom>
            <a:solidFill>
              <a:srgbClr val="FFFFFF"/>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41" name="Google Shape;383;p19">
              <a:extLst>
                <a:ext uri="{FF2B5EF4-FFF2-40B4-BE49-F238E27FC236}">
                  <a16:creationId xmlns:a16="http://schemas.microsoft.com/office/drawing/2014/main" id="{D8778D39-8B82-46BF-B447-B5B953CB6374}"/>
                </a:ext>
              </a:extLst>
            </p:cNvPr>
            <p:cNvSpPr txBox="1"/>
            <p:nvPr/>
          </p:nvSpPr>
          <p:spPr>
            <a:xfrm>
              <a:off x="5120200" y="1664875"/>
              <a:ext cx="964200" cy="759000"/>
            </a:xfrm>
            <a:prstGeom prst="rect">
              <a:avLst/>
            </a:prstGeom>
            <a:noFill/>
            <a:ln>
              <a:noFill/>
            </a:ln>
          </p:spPr>
          <p:txBody>
            <a:bodyPr spcFirstLastPara="1" wrap="square" lIns="121900" tIns="121900" rIns="121900" bIns="12190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 sz="1600" b="0" i="0" u="none" strike="noStrike" kern="1200" cap="none" spc="0" normalizeH="0" baseline="0" noProof="0">
                  <a:ln>
                    <a:noFill/>
                  </a:ln>
                  <a:solidFill>
                    <a:srgbClr val="434343"/>
                  </a:solidFill>
                  <a:effectLst/>
                  <a:uLnTx/>
                  <a:uFillTx/>
                  <a:latin typeface="Arial"/>
                  <a:ea typeface="+mn-ea"/>
                  <a:cs typeface="+mn-ea"/>
                  <a:sym typeface="+mn-lt"/>
                </a:rPr>
                <a:t>Mars is a cold place</a:t>
              </a:r>
              <a:endParaRPr kumimoji="0" sz="1600" b="0" i="0" u="none" strike="noStrike" kern="1200" cap="none" spc="0" normalizeH="0" baseline="0" noProof="0">
                <a:ln>
                  <a:noFill/>
                </a:ln>
                <a:solidFill>
                  <a:srgbClr val="434343"/>
                </a:solidFill>
                <a:effectLst/>
                <a:uLnTx/>
                <a:uFillTx/>
                <a:latin typeface="Arial"/>
                <a:ea typeface="+mn-ea"/>
                <a:cs typeface="+mn-ea"/>
                <a:sym typeface="+mn-lt"/>
              </a:endParaRPr>
            </a:p>
          </p:txBody>
        </p:sp>
      </p:grpSp>
    </p:spTree>
    <p:extLst>
      <p:ext uri="{BB962C8B-B14F-4D97-AF65-F5344CB8AC3E}">
        <p14:creationId xmlns:p14="http://schemas.microsoft.com/office/powerpoint/2010/main" val="3995758101"/>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a:extLst>
              <a:ext uri="{FF2B5EF4-FFF2-40B4-BE49-F238E27FC236}">
                <a16:creationId xmlns:a16="http://schemas.microsoft.com/office/drawing/2014/main" id="{FEC91BF1-B9C5-4F09-B2D4-6CDB406E04BF}"/>
              </a:ext>
            </a:extLst>
          </p:cNvPr>
          <p:cNvSpPr txBox="1"/>
          <p:nvPr/>
        </p:nvSpPr>
        <p:spPr>
          <a:xfrm>
            <a:off x="4759151" y="511705"/>
            <a:ext cx="2673698" cy="1354217"/>
          </a:xfrm>
          <a:prstGeom prst="rect">
            <a:avLst/>
          </a:prstGeom>
          <a:noFill/>
        </p:spPr>
        <p:txBody>
          <a:bodyPr wrap="square" lIns="0" tIns="0" rIns="0" bIns="0" rtlCol="0" anchor="t">
            <a:spAutoFit/>
          </a:bodyPr>
          <a:lstStyle/>
          <a:p>
            <a:pPr algn="dist"/>
            <a:r>
              <a:rPr lang="zh-CN" altLang="en-US" sz="8800" dirty="0">
                <a:solidFill>
                  <a:schemeClr val="accent1"/>
                </a:solidFill>
                <a:latin typeface="+mj-ea"/>
                <a:ea typeface="+mj-ea"/>
              </a:rPr>
              <a:t>目录</a:t>
            </a:r>
          </a:p>
        </p:txBody>
      </p:sp>
      <p:sp>
        <p:nvSpPr>
          <p:cNvPr id="3" name="文本框 2">
            <a:extLst>
              <a:ext uri="{FF2B5EF4-FFF2-40B4-BE49-F238E27FC236}">
                <a16:creationId xmlns:a16="http://schemas.microsoft.com/office/drawing/2014/main" id="{2F6E128B-B5E6-4058-9D64-F7E90E917496}"/>
              </a:ext>
            </a:extLst>
          </p:cNvPr>
          <p:cNvSpPr txBox="1"/>
          <p:nvPr/>
        </p:nvSpPr>
        <p:spPr>
          <a:xfrm>
            <a:off x="4895849" y="1984607"/>
            <a:ext cx="2531437" cy="276999"/>
          </a:xfrm>
          <a:prstGeom prst="rect">
            <a:avLst/>
          </a:prstGeom>
          <a:noFill/>
        </p:spPr>
        <p:txBody>
          <a:bodyPr wrap="square" lIns="0" tIns="0" rIns="0" bIns="0" rtlCol="0" anchor="t">
            <a:spAutoFit/>
          </a:bodyPr>
          <a:lstStyle/>
          <a:p>
            <a:pPr algn="dist"/>
            <a:r>
              <a:rPr lang="en-US" altLang="zh-CN" dirty="0">
                <a:solidFill>
                  <a:schemeClr val="accent1"/>
                </a:solidFill>
              </a:rPr>
              <a:t>CONTENTS</a:t>
            </a:r>
            <a:endParaRPr lang="zh-CN" altLang="en-US" dirty="0">
              <a:solidFill>
                <a:schemeClr val="accent1"/>
              </a:solidFill>
            </a:endParaRPr>
          </a:p>
        </p:txBody>
      </p:sp>
      <p:sp>
        <p:nvSpPr>
          <p:cNvPr id="4" name="矩形: 圆角 3">
            <a:extLst>
              <a:ext uri="{FF2B5EF4-FFF2-40B4-BE49-F238E27FC236}">
                <a16:creationId xmlns:a16="http://schemas.microsoft.com/office/drawing/2014/main" id="{E6722DA8-9BAA-4FAF-B72D-34635C2B16A6}"/>
              </a:ext>
            </a:extLst>
          </p:cNvPr>
          <p:cNvSpPr/>
          <p:nvPr/>
        </p:nvSpPr>
        <p:spPr>
          <a:xfrm>
            <a:off x="584200" y="2781300"/>
            <a:ext cx="2362200" cy="2362200"/>
          </a:xfrm>
          <a:prstGeom prst="roundRect">
            <a:avLst>
              <a:gd name="adj" fmla="val 9140"/>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p>
        </p:txBody>
      </p:sp>
      <p:sp>
        <p:nvSpPr>
          <p:cNvPr id="5" name="文本框 4">
            <a:extLst>
              <a:ext uri="{FF2B5EF4-FFF2-40B4-BE49-F238E27FC236}">
                <a16:creationId xmlns:a16="http://schemas.microsoft.com/office/drawing/2014/main" id="{1B1A36C2-6A7D-414E-B91A-4C2C7FC28445}"/>
              </a:ext>
            </a:extLst>
          </p:cNvPr>
          <p:cNvSpPr txBox="1"/>
          <p:nvPr/>
        </p:nvSpPr>
        <p:spPr>
          <a:xfrm>
            <a:off x="1473555" y="3243087"/>
            <a:ext cx="583493" cy="615553"/>
          </a:xfrm>
          <a:prstGeom prst="rect">
            <a:avLst/>
          </a:prstGeom>
          <a:noFill/>
        </p:spPr>
        <p:txBody>
          <a:bodyPr wrap="none" lIns="0" tIns="0" rIns="0" bIns="0" rtlCol="0" anchor="t">
            <a:spAutoFit/>
          </a:bodyPr>
          <a:lstStyle/>
          <a:p>
            <a:pPr algn="ctr"/>
            <a:r>
              <a:rPr lang="en-US" altLang="zh-CN" sz="4000" dirty="0">
                <a:solidFill>
                  <a:schemeClr val="bg1"/>
                </a:solidFill>
                <a:latin typeface="+mj-ea"/>
                <a:ea typeface="+mj-ea"/>
              </a:rPr>
              <a:t>01</a:t>
            </a:r>
            <a:endParaRPr lang="zh-CN" altLang="en-US" sz="4000" dirty="0">
              <a:solidFill>
                <a:schemeClr val="bg1"/>
              </a:solidFill>
              <a:latin typeface="+mj-ea"/>
              <a:ea typeface="+mj-ea"/>
            </a:endParaRPr>
          </a:p>
        </p:txBody>
      </p:sp>
      <p:sp>
        <p:nvSpPr>
          <p:cNvPr id="6" name="文本框 5">
            <a:extLst>
              <a:ext uri="{FF2B5EF4-FFF2-40B4-BE49-F238E27FC236}">
                <a16:creationId xmlns:a16="http://schemas.microsoft.com/office/drawing/2014/main" id="{7B84DE76-E6A0-44C7-94DB-179C7251167A}"/>
              </a:ext>
            </a:extLst>
          </p:cNvPr>
          <p:cNvSpPr txBox="1"/>
          <p:nvPr/>
        </p:nvSpPr>
        <p:spPr>
          <a:xfrm>
            <a:off x="859037" y="4005087"/>
            <a:ext cx="1846659" cy="369332"/>
          </a:xfrm>
          <a:prstGeom prst="rect">
            <a:avLst/>
          </a:prstGeom>
          <a:noFill/>
        </p:spPr>
        <p:txBody>
          <a:bodyPr wrap="none" lIns="0" tIns="0" rIns="0" bIns="0" rtlCol="0" anchor="t">
            <a:spAutoFit/>
          </a:bodyPr>
          <a:lstStyle/>
          <a:p>
            <a:pPr algn="ctr"/>
            <a:r>
              <a:rPr lang="zh-CN" altLang="en-US" sz="2400" dirty="0">
                <a:solidFill>
                  <a:schemeClr val="bg1"/>
                </a:solidFill>
                <a:latin typeface="+mj-ea"/>
                <a:ea typeface="+mj-ea"/>
              </a:rPr>
              <a:t>输入目录标题</a:t>
            </a:r>
          </a:p>
        </p:txBody>
      </p:sp>
      <p:sp>
        <p:nvSpPr>
          <p:cNvPr id="7" name="文本框 6">
            <a:extLst>
              <a:ext uri="{FF2B5EF4-FFF2-40B4-BE49-F238E27FC236}">
                <a16:creationId xmlns:a16="http://schemas.microsoft.com/office/drawing/2014/main" id="{2FB03FE3-023D-4D2A-A999-138A72BF3A16}"/>
              </a:ext>
            </a:extLst>
          </p:cNvPr>
          <p:cNvSpPr txBox="1"/>
          <p:nvPr/>
        </p:nvSpPr>
        <p:spPr>
          <a:xfrm>
            <a:off x="859036" y="4466269"/>
            <a:ext cx="1846660" cy="215444"/>
          </a:xfrm>
          <a:prstGeom prst="rect">
            <a:avLst/>
          </a:prstGeom>
          <a:noFill/>
        </p:spPr>
        <p:txBody>
          <a:bodyPr wrap="square" lIns="0" tIns="0" rIns="0" bIns="0" rtlCol="0" anchor="t">
            <a:spAutoFit/>
          </a:bodyPr>
          <a:lstStyle/>
          <a:p>
            <a:pPr algn="dist"/>
            <a:r>
              <a:rPr lang="en-US" altLang="zh-CN" sz="1400" dirty="0">
                <a:solidFill>
                  <a:schemeClr val="bg1"/>
                </a:solidFill>
              </a:rPr>
              <a:t>Contents Title Here</a:t>
            </a:r>
            <a:endParaRPr lang="zh-CN" altLang="en-US" sz="1400" dirty="0">
              <a:solidFill>
                <a:schemeClr val="bg1"/>
              </a:solidFill>
            </a:endParaRPr>
          </a:p>
        </p:txBody>
      </p:sp>
      <p:sp>
        <p:nvSpPr>
          <p:cNvPr id="16" name="矩形: 圆角 15">
            <a:extLst>
              <a:ext uri="{FF2B5EF4-FFF2-40B4-BE49-F238E27FC236}">
                <a16:creationId xmlns:a16="http://schemas.microsoft.com/office/drawing/2014/main" id="{A4C81DCE-892D-43BB-A262-1A967B0AFC63}"/>
              </a:ext>
            </a:extLst>
          </p:cNvPr>
          <p:cNvSpPr/>
          <p:nvPr/>
        </p:nvSpPr>
        <p:spPr>
          <a:xfrm>
            <a:off x="3427002" y="2781300"/>
            <a:ext cx="2362200" cy="2362200"/>
          </a:xfrm>
          <a:prstGeom prst="roundRect">
            <a:avLst>
              <a:gd name="adj" fmla="val 9140"/>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p>
        </p:txBody>
      </p:sp>
      <p:sp>
        <p:nvSpPr>
          <p:cNvPr id="17" name="文本框 16">
            <a:extLst>
              <a:ext uri="{FF2B5EF4-FFF2-40B4-BE49-F238E27FC236}">
                <a16:creationId xmlns:a16="http://schemas.microsoft.com/office/drawing/2014/main" id="{76E4786E-107D-4CFB-B858-C3D3F35C623F}"/>
              </a:ext>
            </a:extLst>
          </p:cNvPr>
          <p:cNvSpPr txBox="1"/>
          <p:nvPr/>
        </p:nvSpPr>
        <p:spPr>
          <a:xfrm>
            <a:off x="4269870" y="3243087"/>
            <a:ext cx="676467" cy="615553"/>
          </a:xfrm>
          <a:prstGeom prst="rect">
            <a:avLst/>
          </a:prstGeom>
          <a:noFill/>
        </p:spPr>
        <p:txBody>
          <a:bodyPr wrap="none" lIns="0" tIns="0" rIns="0" bIns="0" rtlCol="0" anchor="t">
            <a:spAutoFit/>
          </a:bodyPr>
          <a:lstStyle/>
          <a:p>
            <a:pPr algn="ctr"/>
            <a:r>
              <a:rPr lang="en-US" altLang="zh-CN" sz="4000" dirty="0">
                <a:solidFill>
                  <a:schemeClr val="bg1"/>
                </a:solidFill>
                <a:latin typeface="+mj-ea"/>
                <a:ea typeface="+mj-ea"/>
              </a:rPr>
              <a:t>02</a:t>
            </a:r>
            <a:endParaRPr lang="zh-CN" altLang="en-US" sz="4000" dirty="0">
              <a:solidFill>
                <a:schemeClr val="bg1"/>
              </a:solidFill>
              <a:latin typeface="+mj-ea"/>
              <a:ea typeface="+mj-ea"/>
            </a:endParaRPr>
          </a:p>
        </p:txBody>
      </p:sp>
      <p:sp>
        <p:nvSpPr>
          <p:cNvPr id="18" name="文本框 17">
            <a:extLst>
              <a:ext uri="{FF2B5EF4-FFF2-40B4-BE49-F238E27FC236}">
                <a16:creationId xmlns:a16="http://schemas.microsoft.com/office/drawing/2014/main" id="{9F381CB9-E509-4926-A202-1082025534DF}"/>
              </a:ext>
            </a:extLst>
          </p:cNvPr>
          <p:cNvSpPr txBox="1"/>
          <p:nvPr/>
        </p:nvSpPr>
        <p:spPr>
          <a:xfrm>
            <a:off x="3701839" y="4005087"/>
            <a:ext cx="1846659" cy="369332"/>
          </a:xfrm>
          <a:prstGeom prst="rect">
            <a:avLst/>
          </a:prstGeom>
          <a:noFill/>
        </p:spPr>
        <p:txBody>
          <a:bodyPr wrap="none" lIns="0" tIns="0" rIns="0" bIns="0" rtlCol="0" anchor="t">
            <a:spAutoFit/>
          </a:bodyPr>
          <a:lstStyle/>
          <a:p>
            <a:pPr algn="ctr"/>
            <a:r>
              <a:rPr lang="zh-CN" altLang="en-US" sz="2400" dirty="0">
                <a:solidFill>
                  <a:schemeClr val="bg1"/>
                </a:solidFill>
                <a:latin typeface="+mj-ea"/>
                <a:ea typeface="+mj-ea"/>
              </a:rPr>
              <a:t>输入目录标题</a:t>
            </a:r>
          </a:p>
        </p:txBody>
      </p:sp>
      <p:sp>
        <p:nvSpPr>
          <p:cNvPr id="19" name="文本框 18">
            <a:extLst>
              <a:ext uri="{FF2B5EF4-FFF2-40B4-BE49-F238E27FC236}">
                <a16:creationId xmlns:a16="http://schemas.microsoft.com/office/drawing/2014/main" id="{AFBF177F-8C15-40EA-B85B-CCB586795F88}"/>
              </a:ext>
            </a:extLst>
          </p:cNvPr>
          <p:cNvSpPr txBox="1"/>
          <p:nvPr/>
        </p:nvSpPr>
        <p:spPr>
          <a:xfrm>
            <a:off x="3701838" y="4466269"/>
            <a:ext cx="1846660" cy="215444"/>
          </a:xfrm>
          <a:prstGeom prst="rect">
            <a:avLst/>
          </a:prstGeom>
          <a:noFill/>
        </p:spPr>
        <p:txBody>
          <a:bodyPr wrap="square" lIns="0" tIns="0" rIns="0" bIns="0" rtlCol="0" anchor="t">
            <a:spAutoFit/>
          </a:bodyPr>
          <a:lstStyle/>
          <a:p>
            <a:pPr algn="dist"/>
            <a:r>
              <a:rPr lang="en-US" altLang="zh-CN" sz="1400" dirty="0">
                <a:solidFill>
                  <a:schemeClr val="bg1"/>
                </a:solidFill>
              </a:rPr>
              <a:t>Contents Title Here</a:t>
            </a:r>
            <a:endParaRPr lang="zh-CN" altLang="en-US" sz="1400" dirty="0">
              <a:solidFill>
                <a:schemeClr val="bg1"/>
              </a:solidFill>
            </a:endParaRPr>
          </a:p>
        </p:txBody>
      </p:sp>
      <p:sp>
        <p:nvSpPr>
          <p:cNvPr id="21" name="矩形: 圆角 20">
            <a:extLst>
              <a:ext uri="{FF2B5EF4-FFF2-40B4-BE49-F238E27FC236}">
                <a16:creationId xmlns:a16="http://schemas.microsoft.com/office/drawing/2014/main" id="{7F65F05C-0DFF-4228-BBC0-282CDDC803F0}"/>
              </a:ext>
            </a:extLst>
          </p:cNvPr>
          <p:cNvSpPr/>
          <p:nvPr/>
        </p:nvSpPr>
        <p:spPr>
          <a:xfrm>
            <a:off x="6269804" y="2781300"/>
            <a:ext cx="2362200" cy="2362200"/>
          </a:xfrm>
          <a:prstGeom prst="roundRect">
            <a:avLst>
              <a:gd name="adj" fmla="val 9140"/>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p>
        </p:txBody>
      </p:sp>
      <p:sp>
        <p:nvSpPr>
          <p:cNvPr id="22" name="文本框 21">
            <a:extLst>
              <a:ext uri="{FF2B5EF4-FFF2-40B4-BE49-F238E27FC236}">
                <a16:creationId xmlns:a16="http://schemas.microsoft.com/office/drawing/2014/main" id="{AA0FAB44-EB32-4A80-933D-B978C6433F53}"/>
              </a:ext>
            </a:extLst>
          </p:cNvPr>
          <p:cNvSpPr txBox="1"/>
          <p:nvPr/>
        </p:nvSpPr>
        <p:spPr>
          <a:xfrm>
            <a:off x="7112672" y="3243087"/>
            <a:ext cx="676467" cy="615553"/>
          </a:xfrm>
          <a:prstGeom prst="rect">
            <a:avLst/>
          </a:prstGeom>
          <a:noFill/>
        </p:spPr>
        <p:txBody>
          <a:bodyPr wrap="none" lIns="0" tIns="0" rIns="0" bIns="0" rtlCol="0" anchor="t">
            <a:spAutoFit/>
          </a:bodyPr>
          <a:lstStyle/>
          <a:p>
            <a:pPr algn="ctr"/>
            <a:r>
              <a:rPr lang="en-US" altLang="zh-CN" sz="4000" dirty="0">
                <a:solidFill>
                  <a:schemeClr val="bg1"/>
                </a:solidFill>
                <a:latin typeface="+mj-ea"/>
                <a:ea typeface="+mj-ea"/>
              </a:rPr>
              <a:t>03</a:t>
            </a:r>
            <a:endParaRPr lang="zh-CN" altLang="en-US" sz="4000" dirty="0">
              <a:solidFill>
                <a:schemeClr val="bg1"/>
              </a:solidFill>
              <a:latin typeface="+mj-ea"/>
              <a:ea typeface="+mj-ea"/>
            </a:endParaRPr>
          </a:p>
        </p:txBody>
      </p:sp>
      <p:sp>
        <p:nvSpPr>
          <p:cNvPr id="23" name="文本框 22">
            <a:extLst>
              <a:ext uri="{FF2B5EF4-FFF2-40B4-BE49-F238E27FC236}">
                <a16:creationId xmlns:a16="http://schemas.microsoft.com/office/drawing/2014/main" id="{E1B8B61B-BAC4-4CA4-B29C-29644D9EA3CE}"/>
              </a:ext>
            </a:extLst>
          </p:cNvPr>
          <p:cNvSpPr txBox="1"/>
          <p:nvPr/>
        </p:nvSpPr>
        <p:spPr>
          <a:xfrm>
            <a:off x="6544641" y="4005087"/>
            <a:ext cx="1846659" cy="369332"/>
          </a:xfrm>
          <a:prstGeom prst="rect">
            <a:avLst/>
          </a:prstGeom>
          <a:noFill/>
        </p:spPr>
        <p:txBody>
          <a:bodyPr wrap="none" lIns="0" tIns="0" rIns="0" bIns="0" rtlCol="0" anchor="t">
            <a:spAutoFit/>
          </a:bodyPr>
          <a:lstStyle/>
          <a:p>
            <a:pPr algn="ctr"/>
            <a:r>
              <a:rPr lang="zh-CN" altLang="en-US" sz="2400" dirty="0">
                <a:solidFill>
                  <a:schemeClr val="bg1"/>
                </a:solidFill>
                <a:latin typeface="+mj-ea"/>
                <a:ea typeface="+mj-ea"/>
              </a:rPr>
              <a:t>输入目录标题</a:t>
            </a:r>
          </a:p>
        </p:txBody>
      </p:sp>
      <p:sp>
        <p:nvSpPr>
          <p:cNvPr id="24" name="文本框 23">
            <a:extLst>
              <a:ext uri="{FF2B5EF4-FFF2-40B4-BE49-F238E27FC236}">
                <a16:creationId xmlns:a16="http://schemas.microsoft.com/office/drawing/2014/main" id="{13867E92-5877-4F5D-9297-C676F425052E}"/>
              </a:ext>
            </a:extLst>
          </p:cNvPr>
          <p:cNvSpPr txBox="1"/>
          <p:nvPr/>
        </p:nvSpPr>
        <p:spPr>
          <a:xfrm>
            <a:off x="6544640" y="4466269"/>
            <a:ext cx="1846660" cy="215444"/>
          </a:xfrm>
          <a:prstGeom prst="rect">
            <a:avLst/>
          </a:prstGeom>
          <a:noFill/>
        </p:spPr>
        <p:txBody>
          <a:bodyPr wrap="square" lIns="0" tIns="0" rIns="0" bIns="0" rtlCol="0" anchor="t">
            <a:spAutoFit/>
          </a:bodyPr>
          <a:lstStyle/>
          <a:p>
            <a:pPr algn="dist"/>
            <a:r>
              <a:rPr lang="en-US" altLang="zh-CN" sz="1400" dirty="0">
                <a:solidFill>
                  <a:schemeClr val="bg1"/>
                </a:solidFill>
              </a:rPr>
              <a:t>Contents Title Here</a:t>
            </a:r>
            <a:endParaRPr lang="zh-CN" altLang="en-US" sz="1400" dirty="0">
              <a:solidFill>
                <a:schemeClr val="bg1"/>
              </a:solidFill>
            </a:endParaRPr>
          </a:p>
        </p:txBody>
      </p:sp>
      <p:sp>
        <p:nvSpPr>
          <p:cNvPr id="26" name="矩形: 圆角 25">
            <a:extLst>
              <a:ext uri="{FF2B5EF4-FFF2-40B4-BE49-F238E27FC236}">
                <a16:creationId xmlns:a16="http://schemas.microsoft.com/office/drawing/2014/main" id="{FC70993C-8A1D-462F-A6E5-9C5C09B0E0C5}"/>
              </a:ext>
            </a:extLst>
          </p:cNvPr>
          <p:cNvSpPr/>
          <p:nvPr/>
        </p:nvSpPr>
        <p:spPr>
          <a:xfrm>
            <a:off x="9112605" y="2781300"/>
            <a:ext cx="2362200" cy="2362200"/>
          </a:xfrm>
          <a:prstGeom prst="roundRect">
            <a:avLst>
              <a:gd name="adj" fmla="val 9140"/>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p>
        </p:txBody>
      </p:sp>
      <p:sp>
        <p:nvSpPr>
          <p:cNvPr id="27" name="文本框 26">
            <a:extLst>
              <a:ext uri="{FF2B5EF4-FFF2-40B4-BE49-F238E27FC236}">
                <a16:creationId xmlns:a16="http://schemas.microsoft.com/office/drawing/2014/main" id="{3C269E78-6079-4B36-B4D8-CB1B9B65B22C}"/>
              </a:ext>
            </a:extLst>
          </p:cNvPr>
          <p:cNvSpPr txBox="1"/>
          <p:nvPr/>
        </p:nvSpPr>
        <p:spPr>
          <a:xfrm>
            <a:off x="9955473" y="3243087"/>
            <a:ext cx="676467" cy="615553"/>
          </a:xfrm>
          <a:prstGeom prst="rect">
            <a:avLst/>
          </a:prstGeom>
          <a:noFill/>
        </p:spPr>
        <p:txBody>
          <a:bodyPr wrap="none" lIns="0" tIns="0" rIns="0" bIns="0" rtlCol="0" anchor="t">
            <a:spAutoFit/>
          </a:bodyPr>
          <a:lstStyle/>
          <a:p>
            <a:pPr algn="ctr"/>
            <a:r>
              <a:rPr lang="en-US" altLang="zh-CN" sz="4000" dirty="0">
                <a:solidFill>
                  <a:schemeClr val="bg1"/>
                </a:solidFill>
                <a:latin typeface="+mj-ea"/>
                <a:ea typeface="+mj-ea"/>
              </a:rPr>
              <a:t>04</a:t>
            </a:r>
            <a:endParaRPr lang="zh-CN" altLang="en-US" sz="4000" dirty="0">
              <a:solidFill>
                <a:schemeClr val="bg1"/>
              </a:solidFill>
              <a:latin typeface="+mj-ea"/>
              <a:ea typeface="+mj-ea"/>
            </a:endParaRPr>
          </a:p>
        </p:txBody>
      </p:sp>
      <p:sp>
        <p:nvSpPr>
          <p:cNvPr id="28" name="文本框 27">
            <a:extLst>
              <a:ext uri="{FF2B5EF4-FFF2-40B4-BE49-F238E27FC236}">
                <a16:creationId xmlns:a16="http://schemas.microsoft.com/office/drawing/2014/main" id="{855BE823-112D-4D98-B5C7-E75AF8DC5BB3}"/>
              </a:ext>
            </a:extLst>
          </p:cNvPr>
          <p:cNvSpPr txBox="1"/>
          <p:nvPr/>
        </p:nvSpPr>
        <p:spPr>
          <a:xfrm>
            <a:off x="9387442" y="4005087"/>
            <a:ext cx="1846659" cy="369332"/>
          </a:xfrm>
          <a:prstGeom prst="rect">
            <a:avLst/>
          </a:prstGeom>
          <a:noFill/>
        </p:spPr>
        <p:txBody>
          <a:bodyPr wrap="none" lIns="0" tIns="0" rIns="0" bIns="0" rtlCol="0" anchor="t">
            <a:spAutoFit/>
          </a:bodyPr>
          <a:lstStyle/>
          <a:p>
            <a:pPr algn="ctr"/>
            <a:r>
              <a:rPr lang="zh-CN" altLang="en-US" sz="2400" dirty="0">
                <a:solidFill>
                  <a:schemeClr val="bg1"/>
                </a:solidFill>
                <a:latin typeface="+mj-ea"/>
                <a:ea typeface="+mj-ea"/>
              </a:rPr>
              <a:t>输入目录标题</a:t>
            </a:r>
          </a:p>
        </p:txBody>
      </p:sp>
      <p:sp>
        <p:nvSpPr>
          <p:cNvPr id="29" name="文本框 28">
            <a:extLst>
              <a:ext uri="{FF2B5EF4-FFF2-40B4-BE49-F238E27FC236}">
                <a16:creationId xmlns:a16="http://schemas.microsoft.com/office/drawing/2014/main" id="{86D0201D-6C80-455F-B84D-C4E001D30C72}"/>
              </a:ext>
            </a:extLst>
          </p:cNvPr>
          <p:cNvSpPr txBox="1"/>
          <p:nvPr/>
        </p:nvSpPr>
        <p:spPr>
          <a:xfrm>
            <a:off x="9387441" y="4466269"/>
            <a:ext cx="1846660" cy="215444"/>
          </a:xfrm>
          <a:prstGeom prst="rect">
            <a:avLst/>
          </a:prstGeom>
          <a:noFill/>
        </p:spPr>
        <p:txBody>
          <a:bodyPr wrap="square" lIns="0" tIns="0" rIns="0" bIns="0" rtlCol="0" anchor="t">
            <a:spAutoFit/>
          </a:bodyPr>
          <a:lstStyle/>
          <a:p>
            <a:pPr algn="dist"/>
            <a:r>
              <a:rPr lang="en-US" altLang="zh-CN" sz="1400" dirty="0">
                <a:solidFill>
                  <a:schemeClr val="bg1"/>
                </a:solidFill>
              </a:rPr>
              <a:t>Contents Title Here</a:t>
            </a:r>
            <a:endParaRPr lang="zh-CN" altLang="en-US" sz="1400" dirty="0">
              <a:solidFill>
                <a:schemeClr val="bg1"/>
              </a:solidFill>
            </a:endParaRPr>
          </a:p>
        </p:txBody>
      </p:sp>
      <p:sp>
        <p:nvSpPr>
          <p:cNvPr id="30" name="任意多边形: 形状 29">
            <a:extLst>
              <a:ext uri="{FF2B5EF4-FFF2-40B4-BE49-F238E27FC236}">
                <a16:creationId xmlns:a16="http://schemas.microsoft.com/office/drawing/2014/main" id="{45A17A68-DCF1-4123-B1FB-EAAB978E9DAD}"/>
              </a:ext>
            </a:extLst>
          </p:cNvPr>
          <p:cNvSpPr/>
          <p:nvPr/>
        </p:nvSpPr>
        <p:spPr>
          <a:xfrm>
            <a:off x="0" y="6161248"/>
            <a:ext cx="12192000" cy="696753"/>
          </a:xfrm>
          <a:custGeom>
            <a:avLst/>
            <a:gdLst>
              <a:gd name="connsiteX0" fmla="*/ 12192000 w 12192000"/>
              <a:gd name="connsiteY0" fmla="*/ 0 h 696753"/>
              <a:gd name="connsiteX1" fmla="*/ 12192000 w 12192000"/>
              <a:gd name="connsiteY1" fmla="*/ 696753 h 696753"/>
              <a:gd name="connsiteX2" fmla="*/ 0 w 12192000"/>
              <a:gd name="connsiteY2" fmla="*/ 696753 h 696753"/>
              <a:gd name="connsiteX3" fmla="*/ 0 w 12192000"/>
              <a:gd name="connsiteY3" fmla="*/ 0 h 696753"/>
              <a:gd name="connsiteX4" fmla="*/ 25347 w 12192000"/>
              <a:gd name="connsiteY4" fmla="*/ 3335 h 696753"/>
              <a:gd name="connsiteX5" fmla="*/ 6096000 w 12192000"/>
              <a:gd name="connsiteY5" fmla="*/ 304106 h 696753"/>
              <a:gd name="connsiteX6" fmla="*/ 12166653 w 12192000"/>
              <a:gd name="connsiteY6" fmla="*/ 3335 h 696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696753">
                <a:moveTo>
                  <a:pt x="12192000" y="0"/>
                </a:moveTo>
                <a:lnTo>
                  <a:pt x="12192000" y="696753"/>
                </a:lnTo>
                <a:lnTo>
                  <a:pt x="0" y="696753"/>
                </a:lnTo>
                <a:lnTo>
                  <a:pt x="0" y="0"/>
                </a:lnTo>
                <a:lnTo>
                  <a:pt x="25347" y="3335"/>
                </a:lnTo>
                <a:cubicBezTo>
                  <a:pt x="1578963" y="189167"/>
                  <a:pt x="3725263" y="304106"/>
                  <a:pt x="6096000" y="304106"/>
                </a:cubicBezTo>
                <a:cubicBezTo>
                  <a:pt x="8466737" y="304106"/>
                  <a:pt x="10613037" y="189167"/>
                  <a:pt x="12166653" y="3335"/>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6000" dirty="0"/>
          </a:p>
        </p:txBody>
      </p:sp>
    </p:spTree>
    <p:extLst>
      <p:ext uri="{BB962C8B-B14F-4D97-AF65-F5344CB8AC3E}">
        <p14:creationId xmlns:p14="http://schemas.microsoft.com/office/powerpoint/2010/main" val="3087892207"/>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7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Google Shape;389;p20">
            <a:extLst>
              <a:ext uri="{FF2B5EF4-FFF2-40B4-BE49-F238E27FC236}">
                <a16:creationId xmlns:a16="http://schemas.microsoft.com/office/drawing/2014/main" id="{45EA6AA3-83D1-4510-8CCA-DAF84D5428AD}"/>
              </a:ext>
            </a:extLst>
          </p:cNvPr>
          <p:cNvSpPr/>
          <p:nvPr/>
        </p:nvSpPr>
        <p:spPr>
          <a:xfrm>
            <a:off x="1093164" y="2802957"/>
            <a:ext cx="426967" cy="1477667"/>
          </a:xfrm>
          <a:custGeom>
            <a:avLst/>
            <a:gdLst/>
            <a:ahLst/>
            <a:cxnLst/>
            <a:rect l="l" t="t" r="r" b="b"/>
            <a:pathLst>
              <a:path w="12809" h="44330" extrusionOk="0">
                <a:moveTo>
                  <a:pt x="2514" y="0"/>
                </a:moveTo>
                <a:cubicBezTo>
                  <a:pt x="1255" y="0"/>
                  <a:pt x="0" y="920"/>
                  <a:pt x="21" y="2496"/>
                </a:cubicBezTo>
                <a:cubicBezTo>
                  <a:pt x="152" y="13938"/>
                  <a:pt x="366" y="30702"/>
                  <a:pt x="569" y="41906"/>
                </a:cubicBezTo>
                <a:cubicBezTo>
                  <a:pt x="596" y="43449"/>
                  <a:pt x="1825" y="44330"/>
                  <a:pt x="3057" y="44330"/>
                </a:cubicBezTo>
                <a:cubicBezTo>
                  <a:pt x="3974" y="44330"/>
                  <a:pt x="4893" y="43842"/>
                  <a:pt x="5319" y="42775"/>
                </a:cubicBezTo>
                <a:lnTo>
                  <a:pt x="11499" y="27440"/>
                </a:lnTo>
                <a:cubicBezTo>
                  <a:pt x="12808" y="24178"/>
                  <a:pt x="12785" y="20534"/>
                  <a:pt x="11415" y="17296"/>
                </a:cubicBezTo>
                <a:lnTo>
                  <a:pt x="4760" y="1508"/>
                </a:lnTo>
                <a:cubicBezTo>
                  <a:pt x="4318" y="471"/>
                  <a:pt x="3415" y="0"/>
                  <a:pt x="2514" y="0"/>
                </a:cubicBezTo>
                <a:close/>
              </a:path>
            </a:pathLst>
          </a:custGeom>
          <a:solidFill>
            <a:srgbClr val="869FB2"/>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000" b="0" i="0" u="none" strike="noStrike" kern="1200" cap="none" spc="0" normalizeH="0" baseline="0" noProof="0">
              <a:ln>
                <a:noFill/>
              </a:ln>
              <a:solidFill>
                <a:srgbClr val="000000"/>
              </a:solidFill>
              <a:effectLst/>
              <a:uLnTx/>
              <a:uFillTx/>
              <a:latin typeface="Arial"/>
              <a:ea typeface="+mn-ea"/>
              <a:cs typeface="+mn-ea"/>
              <a:sym typeface="+mn-lt"/>
            </a:endParaRPr>
          </a:p>
        </p:txBody>
      </p:sp>
      <p:grpSp>
        <p:nvGrpSpPr>
          <p:cNvPr id="3" name="Google Shape;390;p20">
            <a:extLst>
              <a:ext uri="{FF2B5EF4-FFF2-40B4-BE49-F238E27FC236}">
                <a16:creationId xmlns:a16="http://schemas.microsoft.com/office/drawing/2014/main" id="{23FA33F0-E5DE-411A-BBD8-66AFD756863C}"/>
              </a:ext>
            </a:extLst>
          </p:cNvPr>
          <p:cNvGrpSpPr/>
          <p:nvPr/>
        </p:nvGrpSpPr>
        <p:grpSpPr>
          <a:xfrm>
            <a:off x="7205630" y="1088708"/>
            <a:ext cx="2241464" cy="4623751"/>
            <a:chOff x="5505075" y="1144888"/>
            <a:chExt cx="1681098" cy="3467813"/>
          </a:xfrm>
        </p:grpSpPr>
        <p:cxnSp>
          <p:nvCxnSpPr>
            <p:cNvPr id="4" name="Google Shape;391;p20">
              <a:extLst>
                <a:ext uri="{FF2B5EF4-FFF2-40B4-BE49-F238E27FC236}">
                  <a16:creationId xmlns:a16="http://schemas.microsoft.com/office/drawing/2014/main" id="{EEEE3758-CB79-4F69-818C-A14686DE1AE9}"/>
                </a:ext>
              </a:extLst>
            </p:cNvPr>
            <p:cNvCxnSpPr/>
            <p:nvPr/>
          </p:nvCxnSpPr>
          <p:spPr>
            <a:xfrm rot="10800000">
              <a:off x="6447950" y="1362275"/>
              <a:ext cx="585300" cy="1621500"/>
            </a:xfrm>
            <a:prstGeom prst="straightConnector1">
              <a:avLst/>
            </a:prstGeom>
            <a:noFill/>
            <a:ln w="19050" cap="flat" cmpd="sng">
              <a:solidFill>
                <a:schemeClr val="dk2"/>
              </a:solidFill>
              <a:prstDash val="solid"/>
              <a:round/>
              <a:headEnd type="none" w="med" len="med"/>
              <a:tailEnd type="none" w="med" len="med"/>
            </a:ln>
          </p:spPr>
        </p:cxnSp>
        <p:cxnSp>
          <p:nvCxnSpPr>
            <p:cNvPr id="5" name="Google Shape;392;p20">
              <a:extLst>
                <a:ext uri="{FF2B5EF4-FFF2-40B4-BE49-F238E27FC236}">
                  <a16:creationId xmlns:a16="http://schemas.microsoft.com/office/drawing/2014/main" id="{E436E9C9-763D-47B5-B79F-47061469C560}"/>
                </a:ext>
              </a:extLst>
            </p:cNvPr>
            <p:cNvCxnSpPr/>
            <p:nvPr/>
          </p:nvCxnSpPr>
          <p:spPr>
            <a:xfrm flipH="1">
              <a:off x="6444375" y="2981300"/>
              <a:ext cx="590100" cy="1631400"/>
            </a:xfrm>
            <a:prstGeom prst="straightConnector1">
              <a:avLst/>
            </a:prstGeom>
            <a:noFill/>
            <a:ln w="19050" cap="flat" cmpd="sng">
              <a:solidFill>
                <a:schemeClr val="dk2"/>
              </a:solidFill>
              <a:prstDash val="solid"/>
              <a:round/>
              <a:headEnd type="none" w="med" len="med"/>
              <a:tailEnd type="none" w="med" len="med"/>
            </a:ln>
          </p:spPr>
        </p:cxnSp>
        <p:sp>
          <p:nvSpPr>
            <p:cNvPr id="6" name="Google Shape;393;p20">
              <a:extLst>
                <a:ext uri="{FF2B5EF4-FFF2-40B4-BE49-F238E27FC236}">
                  <a16:creationId xmlns:a16="http://schemas.microsoft.com/office/drawing/2014/main" id="{3C0B84E4-D359-41BE-A046-5DE119B26544}"/>
                </a:ext>
              </a:extLst>
            </p:cNvPr>
            <p:cNvSpPr/>
            <p:nvPr/>
          </p:nvSpPr>
          <p:spPr>
            <a:xfrm>
              <a:off x="5505075" y="1144888"/>
              <a:ext cx="803700" cy="278925"/>
            </a:xfrm>
            <a:custGeom>
              <a:avLst/>
              <a:gdLst/>
              <a:ahLst/>
              <a:cxnLst/>
              <a:rect l="l" t="t" r="r" b="b"/>
              <a:pathLst>
                <a:path w="32148" h="11157" extrusionOk="0">
                  <a:moveTo>
                    <a:pt x="5549" y="1"/>
                  </a:moveTo>
                  <a:cubicBezTo>
                    <a:pt x="2477" y="1"/>
                    <a:pt x="1" y="2489"/>
                    <a:pt x="1" y="5549"/>
                  </a:cubicBezTo>
                  <a:lnTo>
                    <a:pt x="1" y="5609"/>
                  </a:lnTo>
                  <a:cubicBezTo>
                    <a:pt x="1" y="8680"/>
                    <a:pt x="2477" y="11157"/>
                    <a:pt x="5549" y="11157"/>
                  </a:cubicBezTo>
                  <a:lnTo>
                    <a:pt x="26599" y="11157"/>
                  </a:lnTo>
                  <a:cubicBezTo>
                    <a:pt x="29659" y="11157"/>
                    <a:pt x="32148" y="8680"/>
                    <a:pt x="32148" y="5609"/>
                  </a:cubicBezTo>
                  <a:lnTo>
                    <a:pt x="32148" y="5549"/>
                  </a:lnTo>
                  <a:cubicBezTo>
                    <a:pt x="32148" y="2489"/>
                    <a:pt x="29659" y="1"/>
                    <a:pt x="26599" y="1"/>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2000" b="0" i="0" u="none" strike="noStrike" kern="1200" cap="none" spc="0" normalizeH="0" baseline="0" noProof="0">
                  <a:ln>
                    <a:noFill/>
                  </a:ln>
                  <a:solidFill>
                    <a:srgbClr val="FFFFFF"/>
                  </a:solidFill>
                  <a:effectLst/>
                  <a:uLnTx/>
                  <a:uFillTx/>
                  <a:latin typeface="Arial"/>
                  <a:ea typeface="+mn-ea"/>
                  <a:cs typeface="+mn-ea"/>
                  <a:sym typeface="+mn-lt"/>
                </a:rPr>
                <a:t>Task 4</a:t>
              </a:r>
              <a:endParaRPr kumimoji="0" sz="2000" b="0" i="0" u="none" strike="noStrike" kern="1200" cap="none" spc="0" normalizeH="0" baseline="0" noProof="0">
                <a:ln>
                  <a:noFill/>
                </a:ln>
                <a:solidFill>
                  <a:srgbClr val="FFFFFF"/>
                </a:solidFill>
                <a:effectLst/>
                <a:uLnTx/>
                <a:uFillTx/>
                <a:latin typeface="Arial"/>
                <a:ea typeface="+mn-ea"/>
                <a:cs typeface="+mn-ea"/>
                <a:sym typeface="+mn-lt"/>
              </a:endParaRPr>
            </a:p>
          </p:txBody>
        </p:sp>
        <p:sp>
          <p:nvSpPr>
            <p:cNvPr id="7" name="Google Shape;394;p20">
              <a:extLst>
                <a:ext uri="{FF2B5EF4-FFF2-40B4-BE49-F238E27FC236}">
                  <a16:creationId xmlns:a16="http://schemas.microsoft.com/office/drawing/2014/main" id="{61B7A315-2A9E-4DD3-B790-26B522E04C5E}"/>
                </a:ext>
              </a:extLst>
            </p:cNvPr>
            <p:cNvSpPr/>
            <p:nvPr/>
          </p:nvSpPr>
          <p:spPr>
            <a:xfrm>
              <a:off x="5931700" y="2843900"/>
              <a:ext cx="803700" cy="278925"/>
            </a:xfrm>
            <a:custGeom>
              <a:avLst/>
              <a:gdLst/>
              <a:ahLst/>
              <a:cxnLst/>
              <a:rect l="l" t="t" r="r" b="b"/>
              <a:pathLst>
                <a:path w="32148" h="11157" extrusionOk="0">
                  <a:moveTo>
                    <a:pt x="5549" y="1"/>
                  </a:moveTo>
                  <a:cubicBezTo>
                    <a:pt x="2477" y="1"/>
                    <a:pt x="1" y="2489"/>
                    <a:pt x="1" y="5549"/>
                  </a:cubicBezTo>
                  <a:lnTo>
                    <a:pt x="1" y="5609"/>
                  </a:lnTo>
                  <a:cubicBezTo>
                    <a:pt x="1" y="8680"/>
                    <a:pt x="2477" y="11157"/>
                    <a:pt x="5549" y="11157"/>
                  </a:cubicBezTo>
                  <a:lnTo>
                    <a:pt x="26599" y="11157"/>
                  </a:lnTo>
                  <a:cubicBezTo>
                    <a:pt x="29659" y="11157"/>
                    <a:pt x="32148" y="8680"/>
                    <a:pt x="32148" y="5609"/>
                  </a:cubicBezTo>
                  <a:lnTo>
                    <a:pt x="32148" y="5549"/>
                  </a:lnTo>
                  <a:cubicBezTo>
                    <a:pt x="32148" y="2489"/>
                    <a:pt x="29659" y="1"/>
                    <a:pt x="26599" y="1"/>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2000" b="0" i="0" u="none" strike="noStrike" kern="1200" cap="none" spc="0" normalizeH="0" baseline="0" noProof="0">
                  <a:ln>
                    <a:noFill/>
                  </a:ln>
                  <a:solidFill>
                    <a:srgbClr val="FFFFFF"/>
                  </a:solidFill>
                  <a:effectLst/>
                  <a:uLnTx/>
                  <a:uFillTx/>
                  <a:latin typeface="Arial"/>
                  <a:ea typeface="+mn-ea"/>
                  <a:cs typeface="+mn-ea"/>
                  <a:sym typeface="+mn-lt"/>
                </a:rPr>
                <a:t>2023</a:t>
              </a:r>
              <a:endParaRPr kumimoji="0" sz="2000" b="0" i="0" u="none" strike="noStrike" kern="1200" cap="none" spc="0" normalizeH="0" baseline="0" noProof="0">
                <a:ln>
                  <a:noFill/>
                </a:ln>
                <a:solidFill>
                  <a:srgbClr val="FFFFFF"/>
                </a:solidFill>
                <a:effectLst/>
                <a:uLnTx/>
                <a:uFillTx/>
                <a:latin typeface="Arial"/>
                <a:ea typeface="+mn-ea"/>
                <a:cs typeface="+mn-ea"/>
                <a:sym typeface="+mn-lt"/>
              </a:endParaRPr>
            </a:p>
          </p:txBody>
        </p:sp>
        <p:sp>
          <p:nvSpPr>
            <p:cNvPr id="8" name="Google Shape;395;p20">
              <a:extLst>
                <a:ext uri="{FF2B5EF4-FFF2-40B4-BE49-F238E27FC236}">
                  <a16:creationId xmlns:a16="http://schemas.microsoft.com/office/drawing/2014/main" id="{5A348C40-D270-444F-B7F2-DE44D54EF851}"/>
                </a:ext>
              </a:extLst>
            </p:cNvPr>
            <p:cNvSpPr/>
            <p:nvPr/>
          </p:nvSpPr>
          <p:spPr>
            <a:xfrm>
              <a:off x="6766200" y="2600188"/>
              <a:ext cx="44375" cy="44075"/>
            </a:xfrm>
            <a:custGeom>
              <a:avLst/>
              <a:gdLst/>
              <a:ahLst/>
              <a:cxnLst/>
              <a:rect l="l" t="t" r="r" b="b"/>
              <a:pathLst>
                <a:path w="1775" h="1763" extrusionOk="0">
                  <a:moveTo>
                    <a:pt x="882" y="1"/>
                  </a:moveTo>
                  <a:cubicBezTo>
                    <a:pt x="406" y="1"/>
                    <a:pt x="1" y="394"/>
                    <a:pt x="1" y="882"/>
                  </a:cubicBezTo>
                  <a:cubicBezTo>
                    <a:pt x="1" y="1370"/>
                    <a:pt x="406" y="1763"/>
                    <a:pt x="882" y="1763"/>
                  </a:cubicBezTo>
                  <a:cubicBezTo>
                    <a:pt x="1370" y="1763"/>
                    <a:pt x="1775" y="1370"/>
                    <a:pt x="1775" y="882"/>
                  </a:cubicBezTo>
                  <a:cubicBezTo>
                    <a:pt x="1775" y="394"/>
                    <a:pt x="1370" y="1"/>
                    <a:pt x="882" y="1"/>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000"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9" name="Google Shape;396;p20">
              <a:extLst>
                <a:ext uri="{FF2B5EF4-FFF2-40B4-BE49-F238E27FC236}">
                  <a16:creationId xmlns:a16="http://schemas.microsoft.com/office/drawing/2014/main" id="{01E04140-59B9-4C89-B319-75DCCF05BC81}"/>
                </a:ext>
              </a:extLst>
            </p:cNvPr>
            <p:cNvSpPr/>
            <p:nvPr/>
          </p:nvSpPr>
          <p:spPr>
            <a:xfrm>
              <a:off x="6647900" y="2273075"/>
              <a:ext cx="44375" cy="44075"/>
            </a:xfrm>
            <a:custGeom>
              <a:avLst/>
              <a:gdLst/>
              <a:ahLst/>
              <a:cxnLst/>
              <a:rect l="l" t="t" r="r" b="b"/>
              <a:pathLst>
                <a:path w="1775" h="1763" extrusionOk="0">
                  <a:moveTo>
                    <a:pt x="894" y="0"/>
                  </a:moveTo>
                  <a:cubicBezTo>
                    <a:pt x="406" y="0"/>
                    <a:pt x="1" y="393"/>
                    <a:pt x="1" y="881"/>
                  </a:cubicBezTo>
                  <a:cubicBezTo>
                    <a:pt x="1" y="1370"/>
                    <a:pt x="406" y="1763"/>
                    <a:pt x="894" y="1763"/>
                  </a:cubicBezTo>
                  <a:cubicBezTo>
                    <a:pt x="1370" y="1763"/>
                    <a:pt x="1775" y="1370"/>
                    <a:pt x="1775" y="881"/>
                  </a:cubicBezTo>
                  <a:cubicBezTo>
                    <a:pt x="1775" y="393"/>
                    <a:pt x="1370" y="0"/>
                    <a:pt x="894" y="0"/>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000"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10" name="Google Shape;397;p20">
              <a:extLst>
                <a:ext uri="{FF2B5EF4-FFF2-40B4-BE49-F238E27FC236}">
                  <a16:creationId xmlns:a16="http://schemas.microsoft.com/office/drawing/2014/main" id="{B844A087-CF00-4EE0-8F04-D4F3E4AEE753}"/>
                </a:ext>
              </a:extLst>
            </p:cNvPr>
            <p:cNvSpPr/>
            <p:nvPr/>
          </p:nvSpPr>
          <p:spPr>
            <a:xfrm>
              <a:off x="6529525" y="1945663"/>
              <a:ext cx="44075" cy="44375"/>
            </a:xfrm>
            <a:custGeom>
              <a:avLst/>
              <a:gdLst/>
              <a:ahLst/>
              <a:cxnLst/>
              <a:rect l="l" t="t" r="r" b="b"/>
              <a:pathLst>
                <a:path w="1763" h="1775" extrusionOk="0">
                  <a:moveTo>
                    <a:pt x="881" y="0"/>
                  </a:moveTo>
                  <a:cubicBezTo>
                    <a:pt x="393" y="0"/>
                    <a:pt x="0" y="405"/>
                    <a:pt x="0" y="893"/>
                  </a:cubicBezTo>
                  <a:cubicBezTo>
                    <a:pt x="0" y="1369"/>
                    <a:pt x="393" y="1774"/>
                    <a:pt x="881" y="1774"/>
                  </a:cubicBezTo>
                  <a:cubicBezTo>
                    <a:pt x="1369" y="1774"/>
                    <a:pt x="1762" y="1369"/>
                    <a:pt x="1762" y="893"/>
                  </a:cubicBezTo>
                  <a:cubicBezTo>
                    <a:pt x="1762" y="405"/>
                    <a:pt x="1369" y="0"/>
                    <a:pt x="881" y="0"/>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000"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11" name="Google Shape;398;p20">
              <a:extLst>
                <a:ext uri="{FF2B5EF4-FFF2-40B4-BE49-F238E27FC236}">
                  <a16:creationId xmlns:a16="http://schemas.microsoft.com/office/drawing/2014/main" id="{AC8B9A10-923D-4297-B56C-5F7A9DE2DD6E}"/>
                </a:ext>
              </a:extLst>
            </p:cNvPr>
            <p:cNvSpPr/>
            <p:nvPr/>
          </p:nvSpPr>
          <p:spPr>
            <a:xfrm>
              <a:off x="6410350" y="1618550"/>
              <a:ext cx="44075" cy="44075"/>
            </a:xfrm>
            <a:custGeom>
              <a:avLst/>
              <a:gdLst/>
              <a:ahLst/>
              <a:cxnLst/>
              <a:rect l="l" t="t" r="r" b="b"/>
              <a:pathLst>
                <a:path w="1763" h="1763" extrusionOk="0">
                  <a:moveTo>
                    <a:pt x="882" y="0"/>
                  </a:moveTo>
                  <a:cubicBezTo>
                    <a:pt x="393" y="0"/>
                    <a:pt x="1" y="393"/>
                    <a:pt x="1" y="881"/>
                  </a:cubicBezTo>
                  <a:cubicBezTo>
                    <a:pt x="1" y="1370"/>
                    <a:pt x="393" y="1762"/>
                    <a:pt x="882" y="1762"/>
                  </a:cubicBezTo>
                  <a:cubicBezTo>
                    <a:pt x="1370" y="1762"/>
                    <a:pt x="1763" y="1370"/>
                    <a:pt x="1763" y="881"/>
                  </a:cubicBezTo>
                  <a:cubicBezTo>
                    <a:pt x="1763" y="393"/>
                    <a:pt x="1370" y="0"/>
                    <a:pt x="882" y="0"/>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000"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12" name="Google Shape;399;p20">
              <a:extLst>
                <a:ext uri="{FF2B5EF4-FFF2-40B4-BE49-F238E27FC236}">
                  <a16:creationId xmlns:a16="http://schemas.microsoft.com/office/drawing/2014/main" id="{B8E8D9BB-1F81-4088-ABA4-B5A6BDF97835}"/>
                </a:ext>
              </a:extLst>
            </p:cNvPr>
            <p:cNvSpPr/>
            <p:nvPr/>
          </p:nvSpPr>
          <p:spPr>
            <a:xfrm>
              <a:off x="6811588" y="2797442"/>
              <a:ext cx="374585" cy="374551"/>
            </a:xfrm>
            <a:custGeom>
              <a:avLst/>
              <a:gdLst/>
              <a:ahLst/>
              <a:cxnLst/>
              <a:rect l="l" t="t" r="r" b="b"/>
              <a:pathLst>
                <a:path w="11098" h="11097" extrusionOk="0">
                  <a:moveTo>
                    <a:pt x="5549" y="0"/>
                  </a:moveTo>
                  <a:cubicBezTo>
                    <a:pt x="2489" y="0"/>
                    <a:pt x="1" y="2489"/>
                    <a:pt x="1" y="5548"/>
                  </a:cubicBezTo>
                  <a:cubicBezTo>
                    <a:pt x="1" y="8608"/>
                    <a:pt x="2489" y="11097"/>
                    <a:pt x="5549" y="11097"/>
                  </a:cubicBezTo>
                  <a:cubicBezTo>
                    <a:pt x="8609" y="11097"/>
                    <a:pt x="11097" y="8608"/>
                    <a:pt x="11097" y="5548"/>
                  </a:cubicBezTo>
                  <a:cubicBezTo>
                    <a:pt x="11097" y="2489"/>
                    <a:pt x="8609" y="0"/>
                    <a:pt x="5549" y="0"/>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000"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13" name="Google Shape;400;p20">
              <a:extLst>
                <a:ext uri="{FF2B5EF4-FFF2-40B4-BE49-F238E27FC236}">
                  <a16:creationId xmlns:a16="http://schemas.microsoft.com/office/drawing/2014/main" id="{E64ED0E2-B536-4332-A13C-4E60DA459D94}"/>
                </a:ext>
              </a:extLst>
            </p:cNvPr>
            <p:cNvSpPr txBox="1"/>
            <p:nvPr/>
          </p:nvSpPr>
          <p:spPr>
            <a:xfrm>
              <a:off x="5931000" y="2520697"/>
              <a:ext cx="759000" cy="205500"/>
            </a:xfrm>
            <a:prstGeom prst="rect">
              <a:avLst/>
            </a:prstGeom>
            <a:noFill/>
            <a:ln>
              <a:noFill/>
            </a:ln>
          </p:spPr>
          <p:txBody>
            <a:bodyPr spcFirstLastPara="1" wrap="square" lIns="121900" tIns="121900" rIns="121900" bIns="12190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 sz="1200" b="0" i="0" u="none" strike="noStrike" kern="1200" cap="none" spc="0" normalizeH="0" baseline="0" noProof="0">
                  <a:ln>
                    <a:noFill/>
                  </a:ln>
                  <a:solidFill>
                    <a:srgbClr val="434343"/>
                  </a:solidFill>
                  <a:effectLst/>
                  <a:uLnTx/>
                  <a:uFillTx/>
                  <a:latin typeface="Arial"/>
                  <a:ea typeface="+mn-ea"/>
                  <a:cs typeface="+mn-ea"/>
                  <a:sym typeface="+mn-lt"/>
                </a:rPr>
                <a:t>Mars</a:t>
              </a:r>
              <a:endParaRPr kumimoji="0" sz="1200" b="0" i="0" u="none" strike="noStrike" kern="1200" cap="none" spc="0" normalizeH="0" baseline="0" noProof="0">
                <a:ln>
                  <a:noFill/>
                </a:ln>
                <a:solidFill>
                  <a:srgbClr val="434343"/>
                </a:solidFill>
                <a:effectLst/>
                <a:uLnTx/>
                <a:uFillTx/>
                <a:latin typeface="Arial"/>
                <a:ea typeface="+mn-ea"/>
                <a:cs typeface="+mn-ea"/>
                <a:sym typeface="+mn-lt"/>
              </a:endParaRPr>
            </a:p>
          </p:txBody>
        </p:sp>
        <p:sp>
          <p:nvSpPr>
            <p:cNvPr id="14" name="Google Shape;401;p20">
              <a:extLst>
                <a:ext uri="{FF2B5EF4-FFF2-40B4-BE49-F238E27FC236}">
                  <a16:creationId xmlns:a16="http://schemas.microsoft.com/office/drawing/2014/main" id="{6F1CB28E-004A-4158-8C7F-3D82D6E35B39}"/>
                </a:ext>
              </a:extLst>
            </p:cNvPr>
            <p:cNvSpPr txBox="1"/>
            <p:nvPr/>
          </p:nvSpPr>
          <p:spPr>
            <a:xfrm>
              <a:off x="5812700" y="2192385"/>
              <a:ext cx="759000" cy="205500"/>
            </a:xfrm>
            <a:prstGeom prst="rect">
              <a:avLst/>
            </a:prstGeom>
            <a:noFill/>
            <a:ln>
              <a:noFill/>
            </a:ln>
          </p:spPr>
          <p:txBody>
            <a:bodyPr spcFirstLastPara="1" wrap="square" lIns="121900" tIns="121900" rIns="121900" bIns="12190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 sz="1200" b="0" i="0" u="none" strike="noStrike" kern="1200" cap="none" spc="0" normalizeH="0" baseline="0" noProof="0">
                  <a:ln>
                    <a:noFill/>
                  </a:ln>
                  <a:solidFill>
                    <a:srgbClr val="434343"/>
                  </a:solidFill>
                  <a:effectLst/>
                  <a:uLnTx/>
                  <a:uFillTx/>
                  <a:latin typeface="Arial"/>
                  <a:ea typeface="+mn-ea"/>
                  <a:cs typeface="+mn-ea"/>
                  <a:sym typeface="+mn-lt"/>
                </a:rPr>
                <a:t>Lysithea</a:t>
              </a:r>
              <a:endParaRPr kumimoji="0" sz="1200" b="0" i="0" u="none" strike="noStrike" kern="1200" cap="none" spc="0" normalizeH="0" baseline="0" noProof="0">
                <a:ln>
                  <a:noFill/>
                </a:ln>
                <a:solidFill>
                  <a:srgbClr val="434343"/>
                </a:solidFill>
                <a:effectLst/>
                <a:uLnTx/>
                <a:uFillTx/>
                <a:latin typeface="Arial"/>
                <a:ea typeface="+mn-ea"/>
                <a:cs typeface="+mn-ea"/>
                <a:sym typeface="+mn-lt"/>
              </a:endParaRPr>
            </a:p>
          </p:txBody>
        </p:sp>
        <p:sp>
          <p:nvSpPr>
            <p:cNvPr id="15" name="Google Shape;402;p20">
              <a:extLst>
                <a:ext uri="{FF2B5EF4-FFF2-40B4-BE49-F238E27FC236}">
                  <a16:creationId xmlns:a16="http://schemas.microsoft.com/office/drawing/2014/main" id="{0FE864F0-B263-4D97-965C-ABEE8E4DD370}"/>
                </a:ext>
              </a:extLst>
            </p:cNvPr>
            <p:cNvSpPr txBox="1"/>
            <p:nvPr/>
          </p:nvSpPr>
          <p:spPr>
            <a:xfrm>
              <a:off x="5695425" y="1865097"/>
              <a:ext cx="759000" cy="205500"/>
            </a:xfrm>
            <a:prstGeom prst="rect">
              <a:avLst/>
            </a:prstGeom>
            <a:noFill/>
            <a:ln>
              <a:noFill/>
            </a:ln>
          </p:spPr>
          <p:txBody>
            <a:bodyPr spcFirstLastPara="1" wrap="square" lIns="121900" tIns="121900" rIns="121900" bIns="12190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 sz="1200" b="0" i="0" u="none" strike="noStrike" kern="1200" cap="none" spc="0" normalizeH="0" baseline="0" noProof="0">
                  <a:ln>
                    <a:noFill/>
                  </a:ln>
                  <a:solidFill>
                    <a:srgbClr val="434343"/>
                  </a:solidFill>
                  <a:effectLst/>
                  <a:uLnTx/>
                  <a:uFillTx/>
                  <a:latin typeface="Arial"/>
                  <a:ea typeface="+mn-ea"/>
                  <a:cs typeface="+mn-ea"/>
                  <a:sym typeface="+mn-lt"/>
                </a:rPr>
                <a:t>Venus</a:t>
              </a:r>
              <a:endParaRPr kumimoji="0" sz="1200" b="0" i="0" u="none" strike="noStrike" kern="1200" cap="none" spc="0" normalizeH="0" baseline="0" noProof="0">
                <a:ln>
                  <a:noFill/>
                </a:ln>
                <a:solidFill>
                  <a:srgbClr val="434343"/>
                </a:solidFill>
                <a:effectLst/>
                <a:uLnTx/>
                <a:uFillTx/>
                <a:latin typeface="Arial"/>
                <a:ea typeface="+mn-ea"/>
                <a:cs typeface="+mn-ea"/>
                <a:sym typeface="+mn-lt"/>
              </a:endParaRPr>
            </a:p>
          </p:txBody>
        </p:sp>
        <p:sp>
          <p:nvSpPr>
            <p:cNvPr id="16" name="Google Shape;403;p20">
              <a:extLst>
                <a:ext uri="{FF2B5EF4-FFF2-40B4-BE49-F238E27FC236}">
                  <a16:creationId xmlns:a16="http://schemas.microsoft.com/office/drawing/2014/main" id="{57C37BBD-969A-4A48-A1FD-98ED5C39EF79}"/>
                </a:ext>
              </a:extLst>
            </p:cNvPr>
            <p:cNvSpPr txBox="1"/>
            <p:nvPr/>
          </p:nvSpPr>
          <p:spPr>
            <a:xfrm>
              <a:off x="5575150" y="1541547"/>
              <a:ext cx="759000" cy="205500"/>
            </a:xfrm>
            <a:prstGeom prst="rect">
              <a:avLst/>
            </a:prstGeom>
            <a:noFill/>
            <a:ln>
              <a:noFill/>
            </a:ln>
          </p:spPr>
          <p:txBody>
            <a:bodyPr spcFirstLastPara="1" wrap="square" lIns="121900" tIns="121900" rIns="121900" bIns="12190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 sz="1200" b="0" i="0" u="none" strike="noStrike" kern="1200" cap="none" spc="0" normalizeH="0" baseline="0" noProof="0">
                  <a:ln>
                    <a:noFill/>
                  </a:ln>
                  <a:solidFill>
                    <a:srgbClr val="434343"/>
                  </a:solidFill>
                  <a:effectLst/>
                  <a:uLnTx/>
                  <a:uFillTx/>
                  <a:latin typeface="Arial"/>
                  <a:ea typeface="+mn-ea"/>
                  <a:cs typeface="+mn-ea"/>
                  <a:sym typeface="+mn-lt"/>
                </a:rPr>
                <a:t>Mercury</a:t>
              </a:r>
              <a:endParaRPr kumimoji="0" sz="1200" b="0" i="0" u="none" strike="noStrike" kern="1200" cap="none" spc="0" normalizeH="0" baseline="0" noProof="0">
                <a:ln>
                  <a:noFill/>
                </a:ln>
                <a:solidFill>
                  <a:srgbClr val="434343"/>
                </a:solidFill>
                <a:effectLst/>
                <a:uLnTx/>
                <a:uFillTx/>
                <a:latin typeface="Arial"/>
                <a:ea typeface="+mn-ea"/>
                <a:cs typeface="+mn-ea"/>
                <a:sym typeface="+mn-lt"/>
              </a:endParaRPr>
            </a:p>
          </p:txBody>
        </p:sp>
        <p:sp>
          <p:nvSpPr>
            <p:cNvPr id="17" name="Google Shape;404;p20">
              <a:extLst>
                <a:ext uri="{FF2B5EF4-FFF2-40B4-BE49-F238E27FC236}">
                  <a16:creationId xmlns:a16="http://schemas.microsoft.com/office/drawing/2014/main" id="{0B8CC271-7C09-4643-B248-C9682CDC876D}"/>
                </a:ext>
              </a:extLst>
            </p:cNvPr>
            <p:cNvSpPr/>
            <p:nvPr/>
          </p:nvSpPr>
          <p:spPr>
            <a:xfrm rot="10800000" flipH="1">
              <a:off x="6768425" y="3323075"/>
              <a:ext cx="44375" cy="44075"/>
            </a:xfrm>
            <a:custGeom>
              <a:avLst/>
              <a:gdLst/>
              <a:ahLst/>
              <a:cxnLst/>
              <a:rect l="l" t="t" r="r" b="b"/>
              <a:pathLst>
                <a:path w="1775" h="1763" extrusionOk="0">
                  <a:moveTo>
                    <a:pt x="882" y="1"/>
                  </a:moveTo>
                  <a:cubicBezTo>
                    <a:pt x="406" y="1"/>
                    <a:pt x="1" y="394"/>
                    <a:pt x="1" y="882"/>
                  </a:cubicBezTo>
                  <a:cubicBezTo>
                    <a:pt x="1" y="1370"/>
                    <a:pt x="406" y="1763"/>
                    <a:pt x="882" y="1763"/>
                  </a:cubicBezTo>
                  <a:cubicBezTo>
                    <a:pt x="1370" y="1763"/>
                    <a:pt x="1775" y="1370"/>
                    <a:pt x="1775" y="882"/>
                  </a:cubicBezTo>
                  <a:cubicBezTo>
                    <a:pt x="1775" y="394"/>
                    <a:pt x="1370" y="1"/>
                    <a:pt x="882" y="1"/>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000"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18" name="Google Shape;405;p20">
              <a:extLst>
                <a:ext uri="{FF2B5EF4-FFF2-40B4-BE49-F238E27FC236}">
                  <a16:creationId xmlns:a16="http://schemas.microsoft.com/office/drawing/2014/main" id="{C2E70700-075A-4027-B132-D4ADC2BB66E4}"/>
                </a:ext>
              </a:extLst>
            </p:cNvPr>
            <p:cNvSpPr/>
            <p:nvPr/>
          </p:nvSpPr>
          <p:spPr>
            <a:xfrm rot="10800000" flipH="1">
              <a:off x="6650125" y="3650188"/>
              <a:ext cx="44375" cy="44075"/>
            </a:xfrm>
            <a:custGeom>
              <a:avLst/>
              <a:gdLst/>
              <a:ahLst/>
              <a:cxnLst/>
              <a:rect l="l" t="t" r="r" b="b"/>
              <a:pathLst>
                <a:path w="1775" h="1763" extrusionOk="0">
                  <a:moveTo>
                    <a:pt x="894" y="0"/>
                  </a:moveTo>
                  <a:cubicBezTo>
                    <a:pt x="406" y="0"/>
                    <a:pt x="1" y="393"/>
                    <a:pt x="1" y="881"/>
                  </a:cubicBezTo>
                  <a:cubicBezTo>
                    <a:pt x="1" y="1370"/>
                    <a:pt x="406" y="1763"/>
                    <a:pt x="894" y="1763"/>
                  </a:cubicBezTo>
                  <a:cubicBezTo>
                    <a:pt x="1370" y="1763"/>
                    <a:pt x="1775" y="1370"/>
                    <a:pt x="1775" y="881"/>
                  </a:cubicBezTo>
                  <a:cubicBezTo>
                    <a:pt x="1775" y="393"/>
                    <a:pt x="1370" y="0"/>
                    <a:pt x="894" y="0"/>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000"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19" name="Google Shape;406;p20">
              <a:extLst>
                <a:ext uri="{FF2B5EF4-FFF2-40B4-BE49-F238E27FC236}">
                  <a16:creationId xmlns:a16="http://schemas.microsoft.com/office/drawing/2014/main" id="{A9466070-AB2D-4A6F-A3FF-3798431CD73B}"/>
                </a:ext>
              </a:extLst>
            </p:cNvPr>
            <p:cNvSpPr/>
            <p:nvPr/>
          </p:nvSpPr>
          <p:spPr>
            <a:xfrm rot="10800000" flipH="1">
              <a:off x="6531750" y="3977300"/>
              <a:ext cx="44075" cy="44375"/>
            </a:xfrm>
            <a:custGeom>
              <a:avLst/>
              <a:gdLst/>
              <a:ahLst/>
              <a:cxnLst/>
              <a:rect l="l" t="t" r="r" b="b"/>
              <a:pathLst>
                <a:path w="1763" h="1775" extrusionOk="0">
                  <a:moveTo>
                    <a:pt x="881" y="0"/>
                  </a:moveTo>
                  <a:cubicBezTo>
                    <a:pt x="393" y="0"/>
                    <a:pt x="0" y="405"/>
                    <a:pt x="0" y="893"/>
                  </a:cubicBezTo>
                  <a:cubicBezTo>
                    <a:pt x="0" y="1369"/>
                    <a:pt x="393" y="1774"/>
                    <a:pt x="881" y="1774"/>
                  </a:cubicBezTo>
                  <a:cubicBezTo>
                    <a:pt x="1369" y="1774"/>
                    <a:pt x="1762" y="1369"/>
                    <a:pt x="1762" y="893"/>
                  </a:cubicBezTo>
                  <a:cubicBezTo>
                    <a:pt x="1762" y="405"/>
                    <a:pt x="1369" y="0"/>
                    <a:pt x="881" y="0"/>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000"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20" name="Google Shape;407;p20">
              <a:extLst>
                <a:ext uri="{FF2B5EF4-FFF2-40B4-BE49-F238E27FC236}">
                  <a16:creationId xmlns:a16="http://schemas.microsoft.com/office/drawing/2014/main" id="{1C3F6D63-862C-4058-9C18-13B3F90C10F4}"/>
                </a:ext>
              </a:extLst>
            </p:cNvPr>
            <p:cNvSpPr/>
            <p:nvPr/>
          </p:nvSpPr>
          <p:spPr>
            <a:xfrm rot="10800000" flipH="1">
              <a:off x="6412575" y="4304713"/>
              <a:ext cx="44075" cy="44075"/>
            </a:xfrm>
            <a:custGeom>
              <a:avLst/>
              <a:gdLst/>
              <a:ahLst/>
              <a:cxnLst/>
              <a:rect l="l" t="t" r="r" b="b"/>
              <a:pathLst>
                <a:path w="1763" h="1763" extrusionOk="0">
                  <a:moveTo>
                    <a:pt x="882" y="0"/>
                  </a:moveTo>
                  <a:cubicBezTo>
                    <a:pt x="393" y="0"/>
                    <a:pt x="1" y="393"/>
                    <a:pt x="1" y="881"/>
                  </a:cubicBezTo>
                  <a:cubicBezTo>
                    <a:pt x="1" y="1370"/>
                    <a:pt x="393" y="1762"/>
                    <a:pt x="882" y="1762"/>
                  </a:cubicBezTo>
                  <a:cubicBezTo>
                    <a:pt x="1370" y="1762"/>
                    <a:pt x="1763" y="1370"/>
                    <a:pt x="1763" y="881"/>
                  </a:cubicBezTo>
                  <a:cubicBezTo>
                    <a:pt x="1763" y="393"/>
                    <a:pt x="1370" y="0"/>
                    <a:pt x="882" y="0"/>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000"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21" name="Google Shape;408;p20">
              <a:extLst>
                <a:ext uri="{FF2B5EF4-FFF2-40B4-BE49-F238E27FC236}">
                  <a16:creationId xmlns:a16="http://schemas.microsoft.com/office/drawing/2014/main" id="{4BB5E0E5-7684-4162-AF49-C499ACE1A01B}"/>
                </a:ext>
              </a:extLst>
            </p:cNvPr>
            <p:cNvSpPr txBox="1"/>
            <p:nvPr/>
          </p:nvSpPr>
          <p:spPr>
            <a:xfrm>
              <a:off x="5933225" y="3242360"/>
              <a:ext cx="759000" cy="205500"/>
            </a:xfrm>
            <a:prstGeom prst="rect">
              <a:avLst/>
            </a:prstGeom>
            <a:noFill/>
            <a:ln>
              <a:noFill/>
            </a:ln>
          </p:spPr>
          <p:txBody>
            <a:bodyPr spcFirstLastPara="1" wrap="square" lIns="121900" tIns="121900" rIns="121900" bIns="12190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 sz="1200" b="0" i="0" u="none" strike="noStrike" kern="1200" cap="none" spc="0" normalizeH="0" baseline="0" noProof="0">
                  <a:ln>
                    <a:noFill/>
                  </a:ln>
                  <a:solidFill>
                    <a:srgbClr val="434343"/>
                  </a:solidFill>
                  <a:effectLst/>
                  <a:uLnTx/>
                  <a:uFillTx/>
                  <a:latin typeface="Arial"/>
                  <a:ea typeface="+mn-ea"/>
                  <a:cs typeface="+mn-ea"/>
                  <a:sym typeface="+mn-lt"/>
                </a:rPr>
                <a:t>Callisto</a:t>
              </a:r>
              <a:endParaRPr kumimoji="0" sz="1200" b="0" i="0" u="none" strike="noStrike" kern="1200" cap="none" spc="0" normalizeH="0" baseline="0" noProof="0">
                <a:ln>
                  <a:noFill/>
                </a:ln>
                <a:solidFill>
                  <a:srgbClr val="434343"/>
                </a:solidFill>
                <a:effectLst/>
                <a:uLnTx/>
                <a:uFillTx/>
                <a:latin typeface="Arial"/>
                <a:ea typeface="+mn-ea"/>
                <a:cs typeface="+mn-ea"/>
                <a:sym typeface="+mn-lt"/>
              </a:endParaRPr>
            </a:p>
          </p:txBody>
        </p:sp>
        <p:sp>
          <p:nvSpPr>
            <p:cNvPr id="22" name="Google Shape;409;p20">
              <a:extLst>
                <a:ext uri="{FF2B5EF4-FFF2-40B4-BE49-F238E27FC236}">
                  <a16:creationId xmlns:a16="http://schemas.microsoft.com/office/drawing/2014/main" id="{449BE4F1-0E0E-4B8F-AE2B-6DE2F09904F1}"/>
                </a:ext>
              </a:extLst>
            </p:cNvPr>
            <p:cNvSpPr txBox="1"/>
            <p:nvPr/>
          </p:nvSpPr>
          <p:spPr>
            <a:xfrm>
              <a:off x="5814925" y="3572410"/>
              <a:ext cx="759000" cy="205500"/>
            </a:xfrm>
            <a:prstGeom prst="rect">
              <a:avLst/>
            </a:prstGeom>
            <a:noFill/>
            <a:ln>
              <a:noFill/>
            </a:ln>
          </p:spPr>
          <p:txBody>
            <a:bodyPr spcFirstLastPara="1" wrap="square" lIns="121900" tIns="121900" rIns="121900" bIns="12190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 sz="1200" b="0" i="0" u="none" strike="noStrike" kern="1200" cap="none" spc="0" normalizeH="0" baseline="0" noProof="0">
                  <a:ln>
                    <a:noFill/>
                  </a:ln>
                  <a:solidFill>
                    <a:srgbClr val="434343"/>
                  </a:solidFill>
                  <a:effectLst/>
                  <a:uLnTx/>
                  <a:uFillTx/>
                  <a:latin typeface="Arial"/>
                  <a:ea typeface="+mn-ea"/>
                  <a:cs typeface="+mn-ea"/>
                  <a:sym typeface="+mn-lt"/>
                </a:rPr>
                <a:t>Metis</a:t>
              </a:r>
              <a:endParaRPr kumimoji="0" sz="1200" b="0" i="0" u="none" strike="noStrike" kern="1200" cap="none" spc="0" normalizeH="0" baseline="0" noProof="0">
                <a:ln>
                  <a:noFill/>
                </a:ln>
                <a:solidFill>
                  <a:srgbClr val="434343"/>
                </a:solidFill>
                <a:effectLst/>
                <a:uLnTx/>
                <a:uFillTx/>
                <a:latin typeface="Arial"/>
                <a:ea typeface="+mn-ea"/>
                <a:cs typeface="+mn-ea"/>
                <a:sym typeface="+mn-lt"/>
              </a:endParaRPr>
            </a:p>
          </p:txBody>
        </p:sp>
        <p:sp>
          <p:nvSpPr>
            <p:cNvPr id="23" name="Google Shape;410;p20">
              <a:extLst>
                <a:ext uri="{FF2B5EF4-FFF2-40B4-BE49-F238E27FC236}">
                  <a16:creationId xmlns:a16="http://schemas.microsoft.com/office/drawing/2014/main" id="{3096020E-52D2-4019-9652-E1EACDC8BE35}"/>
                </a:ext>
              </a:extLst>
            </p:cNvPr>
            <p:cNvSpPr txBox="1"/>
            <p:nvPr/>
          </p:nvSpPr>
          <p:spPr>
            <a:xfrm>
              <a:off x="5696550" y="3896747"/>
              <a:ext cx="759000" cy="205500"/>
            </a:xfrm>
            <a:prstGeom prst="rect">
              <a:avLst/>
            </a:prstGeom>
            <a:noFill/>
            <a:ln>
              <a:noFill/>
            </a:ln>
          </p:spPr>
          <p:txBody>
            <a:bodyPr spcFirstLastPara="1" wrap="square" lIns="121900" tIns="121900" rIns="121900" bIns="12190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 sz="1200" b="0" i="0" u="none" strike="noStrike" kern="1200" cap="none" spc="0" normalizeH="0" baseline="0" noProof="0">
                  <a:ln>
                    <a:noFill/>
                  </a:ln>
                  <a:solidFill>
                    <a:srgbClr val="434343"/>
                  </a:solidFill>
                  <a:effectLst/>
                  <a:uLnTx/>
                  <a:uFillTx/>
                  <a:latin typeface="Arial"/>
                  <a:ea typeface="+mn-ea"/>
                  <a:cs typeface="+mn-ea"/>
                  <a:sym typeface="+mn-lt"/>
                </a:rPr>
                <a:t>Ersa</a:t>
              </a:r>
              <a:endParaRPr kumimoji="0" sz="1200" b="0" i="0" u="none" strike="noStrike" kern="1200" cap="none" spc="0" normalizeH="0" baseline="0" noProof="0">
                <a:ln>
                  <a:noFill/>
                </a:ln>
                <a:solidFill>
                  <a:srgbClr val="434343"/>
                </a:solidFill>
                <a:effectLst/>
                <a:uLnTx/>
                <a:uFillTx/>
                <a:latin typeface="Arial"/>
                <a:ea typeface="+mn-ea"/>
                <a:cs typeface="+mn-ea"/>
                <a:sym typeface="+mn-lt"/>
              </a:endParaRPr>
            </a:p>
          </p:txBody>
        </p:sp>
        <p:sp>
          <p:nvSpPr>
            <p:cNvPr id="24" name="Google Shape;411;p20">
              <a:extLst>
                <a:ext uri="{FF2B5EF4-FFF2-40B4-BE49-F238E27FC236}">
                  <a16:creationId xmlns:a16="http://schemas.microsoft.com/office/drawing/2014/main" id="{1388D35B-94E1-472D-A1DD-1C70AD3BF962}"/>
                </a:ext>
              </a:extLst>
            </p:cNvPr>
            <p:cNvSpPr txBox="1"/>
            <p:nvPr/>
          </p:nvSpPr>
          <p:spPr>
            <a:xfrm>
              <a:off x="5577375" y="4224010"/>
              <a:ext cx="759000" cy="205500"/>
            </a:xfrm>
            <a:prstGeom prst="rect">
              <a:avLst/>
            </a:prstGeom>
            <a:noFill/>
            <a:ln>
              <a:noFill/>
            </a:ln>
          </p:spPr>
          <p:txBody>
            <a:bodyPr spcFirstLastPara="1" wrap="square" lIns="121900" tIns="121900" rIns="121900" bIns="12190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 sz="1200" b="0" i="0" u="none" strike="noStrike" kern="1200" cap="none" spc="0" normalizeH="0" baseline="0" noProof="0">
                  <a:ln>
                    <a:noFill/>
                  </a:ln>
                  <a:solidFill>
                    <a:srgbClr val="434343"/>
                  </a:solidFill>
                  <a:effectLst/>
                  <a:uLnTx/>
                  <a:uFillTx/>
                  <a:latin typeface="Arial"/>
                  <a:ea typeface="+mn-ea"/>
                  <a:cs typeface="+mn-ea"/>
                  <a:sym typeface="+mn-lt"/>
                </a:rPr>
                <a:t>Pandia</a:t>
              </a:r>
              <a:endParaRPr kumimoji="0" sz="1200" b="0" i="0" u="none" strike="noStrike" kern="1200" cap="none" spc="0" normalizeH="0" baseline="0" noProof="0">
                <a:ln>
                  <a:noFill/>
                </a:ln>
                <a:solidFill>
                  <a:srgbClr val="434343"/>
                </a:solidFill>
                <a:effectLst/>
                <a:uLnTx/>
                <a:uFillTx/>
                <a:latin typeface="Arial"/>
                <a:ea typeface="+mn-ea"/>
                <a:cs typeface="+mn-ea"/>
                <a:sym typeface="+mn-lt"/>
              </a:endParaRPr>
            </a:p>
          </p:txBody>
        </p:sp>
        <p:grpSp>
          <p:nvGrpSpPr>
            <p:cNvPr id="25" name="Google Shape;412;p20">
              <a:extLst>
                <a:ext uri="{FF2B5EF4-FFF2-40B4-BE49-F238E27FC236}">
                  <a16:creationId xmlns:a16="http://schemas.microsoft.com/office/drawing/2014/main" id="{C7A75B26-A243-4088-94DE-01553D873C08}"/>
                </a:ext>
              </a:extLst>
            </p:cNvPr>
            <p:cNvGrpSpPr/>
            <p:nvPr/>
          </p:nvGrpSpPr>
          <p:grpSpPr>
            <a:xfrm>
              <a:off x="6910196" y="2862855"/>
              <a:ext cx="198025" cy="243738"/>
              <a:chOff x="-39248625" y="3588600"/>
              <a:chExt cx="256775" cy="316050"/>
            </a:xfrm>
          </p:grpSpPr>
          <p:sp>
            <p:nvSpPr>
              <p:cNvPr id="26" name="Google Shape;413;p20">
                <a:extLst>
                  <a:ext uri="{FF2B5EF4-FFF2-40B4-BE49-F238E27FC236}">
                    <a16:creationId xmlns:a16="http://schemas.microsoft.com/office/drawing/2014/main" id="{9BDE7D22-FEEF-43E1-8309-9DE4D62E147E}"/>
                  </a:ext>
                </a:extLst>
              </p:cNvPr>
              <p:cNvSpPr/>
              <p:nvPr/>
            </p:nvSpPr>
            <p:spPr>
              <a:xfrm>
                <a:off x="-39248625" y="3588600"/>
                <a:ext cx="256775" cy="316050"/>
              </a:xfrm>
              <a:custGeom>
                <a:avLst/>
                <a:gdLst/>
                <a:ahLst/>
                <a:cxnLst/>
                <a:rect l="l" t="t" r="r" b="b"/>
                <a:pathLst>
                  <a:path w="10271" h="12642" extrusionOk="0">
                    <a:moveTo>
                      <a:pt x="5364" y="0"/>
                    </a:moveTo>
                    <a:cubicBezTo>
                      <a:pt x="5041" y="0"/>
                      <a:pt x="4710" y="118"/>
                      <a:pt x="4443" y="355"/>
                    </a:cubicBezTo>
                    <a:lnTo>
                      <a:pt x="3277" y="1552"/>
                    </a:lnTo>
                    <a:cubicBezTo>
                      <a:pt x="2804" y="2025"/>
                      <a:pt x="2804" y="2812"/>
                      <a:pt x="3277" y="3316"/>
                    </a:cubicBezTo>
                    <a:lnTo>
                      <a:pt x="3938" y="3978"/>
                    </a:lnTo>
                    <a:lnTo>
                      <a:pt x="1702" y="6215"/>
                    </a:lnTo>
                    <a:cubicBezTo>
                      <a:pt x="1544" y="6152"/>
                      <a:pt x="1355" y="6057"/>
                      <a:pt x="1135" y="6057"/>
                    </a:cubicBezTo>
                    <a:cubicBezTo>
                      <a:pt x="1119" y="6056"/>
                      <a:pt x="1104" y="6056"/>
                      <a:pt x="1089" y="6056"/>
                    </a:cubicBezTo>
                    <a:cubicBezTo>
                      <a:pt x="538" y="6056"/>
                      <a:pt x="0" y="6611"/>
                      <a:pt x="0" y="7286"/>
                    </a:cubicBezTo>
                    <a:cubicBezTo>
                      <a:pt x="0" y="7947"/>
                      <a:pt x="567" y="8515"/>
                      <a:pt x="1229" y="8515"/>
                    </a:cubicBezTo>
                    <a:cubicBezTo>
                      <a:pt x="1418" y="8515"/>
                      <a:pt x="1576" y="8483"/>
                      <a:pt x="1733" y="8388"/>
                    </a:cubicBezTo>
                    <a:lnTo>
                      <a:pt x="3560" y="10216"/>
                    </a:lnTo>
                    <a:cubicBezTo>
                      <a:pt x="2993" y="10720"/>
                      <a:pt x="2615" y="11381"/>
                      <a:pt x="2521" y="12169"/>
                    </a:cubicBezTo>
                    <a:cubicBezTo>
                      <a:pt x="2489" y="12421"/>
                      <a:pt x="2678" y="12642"/>
                      <a:pt x="2930" y="12642"/>
                    </a:cubicBezTo>
                    <a:lnTo>
                      <a:pt x="8633" y="12642"/>
                    </a:lnTo>
                    <a:cubicBezTo>
                      <a:pt x="8853" y="12642"/>
                      <a:pt x="9074" y="12421"/>
                      <a:pt x="9011" y="12169"/>
                    </a:cubicBezTo>
                    <a:cubicBezTo>
                      <a:pt x="8790" y="10562"/>
                      <a:pt x="7404" y="9334"/>
                      <a:pt x="5766" y="9334"/>
                    </a:cubicBezTo>
                    <a:cubicBezTo>
                      <a:pt x="5199" y="9334"/>
                      <a:pt x="4695" y="9491"/>
                      <a:pt x="4222" y="9743"/>
                    </a:cubicBezTo>
                    <a:lnTo>
                      <a:pt x="2300" y="7853"/>
                    </a:lnTo>
                    <a:cubicBezTo>
                      <a:pt x="2363" y="7695"/>
                      <a:pt x="2395" y="7475"/>
                      <a:pt x="2395" y="7286"/>
                    </a:cubicBezTo>
                    <a:cubicBezTo>
                      <a:pt x="2395" y="7097"/>
                      <a:pt x="2363" y="6939"/>
                      <a:pt x="2300" y="6782"/>
                    </a:cubicBezTo>
                    <a:lnTo>
                      <a:pt x="4285" y="4797"/>
                    </a:lnTo>
                    <a:lnTo>
                      <a:pt x="4285" y="4797"/>
                    </a:lnTo>
                    <a:cubicBezTo>
                      <a:pt x="4253" y="5742"/>
                      <a:pt x="4537" y="6624"/>
                      <a:pt x="5073" y="7317"/>
                    </a:cubicBezTo>
                    <a:lnTo>
                      <a:pt x="10271" y="2119"/>
                    </a:lnTo>
                    <a:cubicBezTo>
                      <a:pt x="9636" y="1606"/>
                      <a:pt x="8888" y="1321"/>
                      <a:pt x="8026" y="1321"/>
                    </a:cubicBezTo>
                    <a:cubicBezTo>
                      <a:pt x="7776" y="1321"/>
                      <a:pt x="7516" y="1345"/>
                      <a:pt x="7246" y="1394"/>
                    </a:cubicBezTo>
                    <a:lnTo>
                      <a:pt x="6238" y="355"/>
                    </a:lnTo>
                    <a:cubicBezTo>
                      <a:pt x="6002" y="118"/>
                      <a:pt x="5687" y="0"/>
                      <a:pt x="5364" y="0"/>
                    </a:cubicBezTo>
                    <a:close/>
                  </a:path>
                </a:pathLst>
              </a:custGeom>
              <a:solidFill>
                <a:schemeClr val="l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000"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27" name="Google Shape;414;p20">
                <a:extLst>
                  <a:ext uri="{FF2B5EF4-FFF2-40B4-BE49-F238E27FC236}">
                    <a16:creationId xmlns:a16="http://schemas.microsoft.com/office/drawing/2014/main" id="{AD4C5A2B-3394-474E-BC95-4E5E82B374B8}"/>
                  </a:ext>
                </a:extLst>
              </p:cNvPr>
              <p:cNvSpPr/>
              <p:nvPr/>
            </p:nvSpPr>
            <p:spPr>
              <a:xfrm>
                <a:off x="-39076150" y="3684875"/>
                <a:ext cx="84300" cy="80300"/>
              </a:xfrm>
              <a:custGeom>
                <a:avLst/>
                <a:gdLst/>
                <a:ahLst/>
                <a:cxnLst/>
                <a:rect l="l" t="t" r="r" b="b"/>
                <a:pathLst>
                  <a:path w="3372" h="3212" extrusionOk="0">
                    <a:moveTo>
                      <a:pt x="2868" y="1"/>
                    </a:moveTo>
                    <a:lnTo>
                      <a:pt x="1" y="2868"/>
                    </a:lnTo>
                    <a:cubicBezTo>
                      <a:pt x="353" y="3098"/>
                      <a:pt x="757" y="3212"/>
                      <a:pt x="1156" y="3212"/>
                    </a:cubicBezTo>
                    <a:cubicBezTo>
                      <a:pt x="1686" y="3212"/>
                      <a:pt x="2207" y="3011"/>
                      <a:pt x="2584" y="2616"/>
                    </a:cubicBezTo>
                    <a:cubicBezTo>
                      <a:pt x="3309" y="1891"/>
                      <a:pt x="3372" y="851"/>
                      <a:pt x="2868" y="1"/>
                    </a:cubicBezTo>
                    <a:close/>
                  </a:path>
                </a:pathLst>
              </a:custGeom>
              <a:solidFill>
                <a:schemeClr val="l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000" b="0" i="0" u="none" strike="noStrike" kern="1200" cap="none" spc="0" normalizeH="0" baseline="0" noProof="0">
                  <a:ln>
                    <a:noFill/>
                  </a:ln>
                  <a:solidFill>
                    <a:srgbClr val="000000"/>
                  </a:solidFill>
                  <a:effectLst/>
                  <a:uLnTx/>
                  <a:uFillTx/>
                  <a:latin typeface="Arial"/>
                  <a:ea typeface="+mn-ea"/>
                  <a:cs typeface="+mn-ea"/>
                  <a:sym typeface="+mn-lt"/>
                </a:endParaRPr>
              </a:p>
            </p:txBody>
          </p:sp>
        </p:grpSp>
      </p:grpSp>
      <p:grpSp>
        <p:nvGrpSpPr>
          <p:cNvPr id="28" name="Google Shape;415;p20">
            <a:extLst>
              <a:ext uri="{FF2B5EF4-FFF2-40B4-BE49-F238E27FC236}">
                <a16:creationId xmlns:a16="http://schemas.microsoft.com/office/drawing/2014/main" id="{B4BA0723-10C9-408B-A014-2C90C6ED83ED}"/>
              </a:ext>
            </a:extLst>
          </p:cNvPr>
          <p:cNvGrpSpPr/>
          <p:nvPr/>
        </p:nvGrpSpPr>
        <p:grpSpPr>
          <a:xfrm>
            <a:off x="5314381" y="1485190"/>
            <a:ext cx="2148947" cy="3983013"/>
            <a:chOff x="4086638" y="1442250"/>
            <a:chExt cx="1611710" cy="2987260"/>
          </a:xfrm>
        </p:grpSpPr>
        <p:cxnSp>
          <p:nvCxnSpPr>
            <p:cNvPr id="29" name="Google Shape;416;p20">
              <a:extLst>
                <a:ext uri="{FF2B5EF4-FFF2-40B4-BE49-F238E27FC236}">
                  <a16:creationId xmlns:a16="http://schemas.microsoft.com/office/drawing/2014/main" id="{BCFB5D99-C4A8-483D-BAD6-373D02C704A7}"/>
                </a:ext>
              </a:extLst>
            </p:cNvPr>
            <p:cNvCxnSpPr/>
            <p:nvPr/>
          </p:nvCxnSpPr>
          <p:spPr>
            <a:xfrm rot="10800000">
              <a:off x="5052500" y="1605575"/>
              <a:ext cx="489900" cy="1378200"/>
            </a:xfrm>
            <a:prstGeom prst="straightConnector1">
              <a:avLst/>
            </a:prstGeom>
            <a:noFill/>
            <a:ln w="19050" cap="flat" cmpd="sng">
              <a:solidFill>
                <a:schemeClr val="dk2"/>
              </a:solidFill>
              <a:prstDash val="solid"/>
              <a:round/>
              <a:headEnd type="none" w="med" len="med"/>
              <a:tailEnd type="none" w="med" len="med"/>
            </a:ln>
          </p:spPr>
        </p:cxnSp>
        <p:cxnSp>
          <p:nvCxnSpPr>
            <p:cNvPr id="30" name="Google Shape;417;p20">
              <a:extLst>
                <a:ext uri="{FF2B5EF4-FFF2-40B4-BE49-F238E27FC236}">
                  <a16:creationId xmlns:a16="http://schemas.microsoft.com/office/drawing/2014/main" id="{E3E4C2B8-3B2E-4366-9E7C-D446A23A2C49}"/>
                </a:ext>
              </a:extLst>
            </p:cNvPr>
            <p:cNvCxnSpPr/>
            <p:nvPr/>
          </p:nvCxnSpPr>
          <p:spPr>
            <a:xfrm flipH="1">
              <a:off x="5052525" y="2981300"/>
              <a:ext cx="491100" cy="1388100"/>
            </a:xfrm>
            <a:prstGeom prst="straightConnector1">
              <a:avLst/>
            </a:prstGeom>
            <a:noFill/>
            <a:ln w="19050" cap="flat" cmpd="sng">
              <a:solidFill>
                <a:schemeClr val="dk2"/>
              </a:solidFill>
              <a:prstDash val="solid"/>
              <a:round/>
              <a:headEnd type="none" w="med" len="med"/>
              <a:tailEnd type="none" w="med" len="med"/>
            </a:ln>
          </p:spPr>
        </p:cxnSp>
        <p:sp>
          <p:nvSpPr>
            <p:cNvPr id="31" name="Google Shape;418;p20">
              <a:extLst>
                <a:ext uri="{FF2B5EF4-FFF2-40B4-BE49-F238E27FC236}">
                  <a16:creationId xmlns:a16="http://schemas.microsoft.com/office/drawing/2014/main" id="{FDEC3F32-F034-45CA-AF17-A819FDAB476A}"/>
                </a:ext>
              </a:extLst>
            </p:cNvPr>
            <p:cNvSpPr/>
            <p:nvPr/>
          </p:nvSpPr>
          <p:spPr>
            <a:xfrm>
              <a:off x="4126325" y="1442250"/>
              <a:ext cx="803700" cy="278925"/>
            </a:xfrm>
            <a:custGeom>
              <a:avLst/>
              <a:gdLst/>
              <a:ahLst/>
              <a:cxnLst/>
              <a:rect l="l" t="t" r="r" b="b"/>
              <a:pathLst>
                <a:path w="32148" h="11157" extrusionOk="0">
                  <a:moveTo>
                    <a:pt x="5549" y="1"/>
                  </a:moveTo>
                  <a:cubicBezTo>
                    <a:pt x="2477" y="1"/>
                    <a:pt x="1" y="2489"/>
                    <a:pt x="1" y="5549"/>
                  </a:cubicBezTo>
                  <a:lnTo>
                    <a:pt x="1" y="5609"/>
                  </a:lnTo>
                  <a:cubicBezTo>
                    <a:pt x="1" y="8680"/>
                    <a:pt x="2477" y="11157"/>
                    <a:pt x="5549" y="11157"/>
                  </a:cubicBezTo>
                  <a:lnTo>
                    <a:pt x="26600" y="11157"/>
                  </a:lnTo>
                  <a:cubicBezTo>
                    <a:pt x="29659" y="11157"/>
                    <a:pt x="32148" y="8680"/>
                    <a:pt x="32148" y="5609"/>
                  </a:cubicBezTo>
                  <a:lnTo>
                    <a:pt x="32148" y="5549"/>
                  </a:lnTo>
                  <a:cubicBezTo>
                    <a:pt x="32148" y="2489"/>
                    <a:pt x="29659" y="1"/>
                    <a:pt x="26600" y="1"/>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2000" b="0" i="0" u="none" strike="noStrike" kern="1200" cap="none" spc="0" normalizeH="0" baseline="0" noProof="0">
                  <a:ln>
                    <a:noFill/>
                  </a:ln>
                  <a:solidFill>
                    <a:srgbClr val="FFFFFF"/>
                  </a:solidFill>
                  <a:effectLst/>
                  <a:uLnTx/>
                  <a:uFillTx/>
                  <a:latin typeface="Arial"/>
                  <a:ea typeface="+mn-ea"/>
                  <a:cs typeface="+mn-ea"/>
                  <a:sym typeface="+mn-lt"/>
                </a:rPr>
                <a:t>Task 3</a:t>
              </a:r>
              <a:endParaRPr kumimoji="0" sz="2000" b="0" i="0" u="none" strike="noStrike" kern="1200" cap="none" spc="0" normalizeH="0" baseline="0" noProof="0">
                <a:ln>
                  <a:noFill/>
                </a:ln>
                <a:solidFill>
                  <a:srgbClr val="FFFFFF"/>
                </a:solidFill>
                <a:effectLst/>
                <a:uLnTx/>
                <a:uFillTx/>
                <a:latin typeface="Arial"/>
                <a:ea typeface="+mn-ea"/>
                <a:cs typeface="+mn-ea"/>
                <a:sym typeface="+mn-lt"/>
              </a:endParaRPr>
            </a:p>
          </p:txBody>
        </p:sp>
        <p:sp>
          <p:nvSpPr>
            <p:cNvPr id="32" name="Google Shape;419;p20">
              <a:extLst>
                <a:ext uri="{FF2B5EF4-FFF2-40B4-BE49-F238E27FC236}">
                  <a16:creationId xmlns:a16="http://schemas.microsoft.com/office/drawing/2014/main" id="{E9F3932E-8ED5-4322-AE1D-1290F4220BAE}"/>
                </a:ext>
              </a:extLst>
            </p:cNvPr>
            <p:cNvSpPr/>
            <p:nvPr/>
          </p:nvSpPr>
          <p:spPr>
            <a:xfrm>
              <a:off x="4442375" y="2843900"/>
              <a:ext cx="803700" cy="278925"/>
            </a:xfrm>
            <a:custGeom>
              <a:avLst/>
              <a:gdLst/>
              <a:ahLst/>
              <a:cxnLst/>
              <a:rect l="l" t="t" r="r" b="b"/>
              <a:pathLst>
                <a:path w="32148" h="11157" extrusionOk="0">
                  <a:moveTo>
                    <a:pt x="5549" y="1"/>
                  </a:moveTo>
                  <a:cubicBezTo>
                    <a:pt x="2477" y="1"/>
                    <a:pt x="1" y="2489"/>
                    <a:pt x="1" y="5549"/>
                  </a:cubicBezTo>
                  <a:lnTo>
                    <a:pt x="1" y="5609"/>
                  </a:lnTo>
                  <a:cubicBezTo>
                    <a:pt x="1" y="8680"/>
                    <a:pt x="2477" y="11157"/>
                    <a:pt x="5549" y="11157"/>
                  </a:cubicBezTo>
                  <a:lnTo>
                    <a:pt x="26600" y="11157"/>
                  </a:lnTo>
                  <a:cubicBezTo>
                    <a:pt x="29659" y="11157"/>
                    <a:pt x="32148" y="8680"/>
                    <a:pt x="32148" y="5609"/>
                  </a:cubicBezTo>
                  <a:lnTo>
                    <a:pt x="32148" y="5549"/>
                  </a:lnTo>
                  <a:cubicBezTo>
                    <a:pt x="32148" y="2489"/>
                    <a:pt x="29659" y="1"/>
                    <a:pt x="26600" y="1"/>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2000" b="0" i="0" u="none" strike="noStrike" kern="1200" cap="none" spc="0" normalizeH="0" baseline="0" noProof="0">
                  <a:ln>
                    <a:noFill/>
                  </a:ln>
                  <a:solidFill>
                    <a:srgbClr val="FFFFFF"/>
                  </a:solidFill>
                  <a:effectLst/>
                  <a:uLnTx/>
                  <a:uFillTx/>
                  <a:latin typeface="Arial"/>
                  <a:ea typeface="+mn-ea"/>
                  <a:cs typeface="+mn-ea"/>
                  <a:sym typeface="+mn-lt"/>
                </a:rPr>
                <a:t>2022</a:t>
              </a:r>
              <a:endParaRPr kumimoji="0" sz="2000" b="0" i="0" u="none" strike="noStrike" kern="1200" cap="none" spc="0" normalizeH="0" baseline="0" noProof="0">
                <a:ln>
                  <a:noFill/>
                </a:ln>
                <a:solidFill>
                  <a:srgbClr val="FFFFFF"/>
                </a:solidFill>
                <a:effectLst/>
                <a:uLnTx/>
                <a:uFillTx/>
                <a:latin typeface="Arial"/>
                <a:ea typeface="+mn-ea"/>
                <a:cs typeface="+mn-ea"/>
                <a:sym typeface="+mn-lt"/>
              </a:endParaRPr>
            </a:p>
          </p:txBody>
        </p:sp>
        <p:sp>
          <p:nvSpPr>
            <p:cNvPr id="33" name="Google Shape;420;p20">
              <a:extLst>
                <a:ext uri="{FF2B5EF4-FFF2-40B4-BE49-F238E27FC236}">
                  <a16:creationId xmlns:a16="http://schemas.microsoft.com/office/drawing/2014/main" id="{09E28FCF-8D45-4035-9A08-337C66F0EB26}"/>
                </a:ext>
              </a:extLst>
            </p:cNvPr>
            <p:cNvSpPr/>
            <p:nvPr/>
          </p:nvSpPr>
          <p:spPr>
            <a:xfrm>
              <a:off x="5323763" y="2797442"/>
              <a:ext cx="374585" cy="374551"/>
            </a:xfrm>
            <a:custGeom>
              <a:avLst/>
              <a:gdLst/>
              <a:ahLst/>
              <a:cxnLst/>
              <a:rect l="l" t="t" r="r" b="b"/>
              <a:pathLst>
                <a:path w="11098" h="11097" extrusionOk="0">
                  <a:moveTo>
                    <a:pt x="5549" y="0"/>
                  </a:moveTo>
                  <a:cubicBezTo>
                    <a:pt x="2489" y="0"/>
                    <a:pt x="0" y="2489"/>
                    <a:pt x="0" y="5548"/>
                  </a:cubicBezTo>
                  <a:cubicBezTo>
                    <a:pt x="0" y="8608"/>
                    <a:pt x="2489" y="11097"/>
                    <a:pt x="5549" y="11097"/>
                  </a:cubicBezTo>
                  <a:cubicBezTo>
                    <a:pt x="8609" y="11097"/>
                    <a:pt x="11097" y="8608"/>
                    <a:pt x="11097" y="5548"/>
                  </a:cubicBezTo>
                  <a:cubicBezTo>
                    <a:pt x="11097" y="2489"/>
                    <a:pt x="8609" y="0"/>
                    <a:pt x="5549" y="0"/>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000" b="0" i="0" u="none" strike="noStrike" kern="1200" cap="none" spc="0" normalizeH="0" baseline="0" noProof="0">
                <a:ln>
                  <a:noFill/>
                </a:ln>
                <a:solidFill>
                  <a:srgbClr val="000000"/>
                </a:solidFill>
                <a:effectLst/>
                <a:uLnTx/>
                <a:uFillTx/>
                <a:latin typeface="Arial"/>
                <a:ea typeface="+mn-ea"/>
                <a:cs typeface="+mn-ea"/>
                <a:sym typeface="+mn-lt"/>
              </a:endParaRPr>
            </a:p>
          </p:txBody>
        </p:sp>
        <p:grpSp>
          <p:nvGrpSpPr>
            <p:cNvPr id="34" name="Google Shape;421;p20">
              <a:extLst>
                <a:ext uri="{FF2B5EF4-FFF2-40B4-BE49-F238E27FC236}">
                  <a16:creationId xmlns:a16="http://schemas.microsoft.com/office/drawing/2014/main" id="{EBD53571-3FC2-4F95-A7B6-9A4C64BBB2C1}"/>
                </a:ext>
              </a:extLst>
            </p:cNvPr>
            <p:cNvGrpSpPr/>
            <p:nvPr/>
          </p:nvGrpSpPr>
          <p:grpSpPr>
            <a:xfrm>
              <a:off x="5387141" y="2862328"/>
              <a:ext cx="247844" cy="244798"/>
              <a:chOff x="-37808850" y="3221575"/>
              <a:chExt cx="321375" cy="317425"/>
            </a:xfrm>
          </p:grpSpPr>
          <p:sp>
            <p:nvSpPr>
              <p:cNvPr id="48" name="Google Shape;422;p20">
                <a:extLst>
                  <a:ext uri="{FF2B5EF4-FFF2-40B4-BE49-F238E27FC236}">
                    <a16:creationId xmlns:a16="http://schemas.microsoft.com/office/drawing/2014/main" id="{C90C7366-EEE5-4E25-9F69-571CC0BA6BA9}"/>
                  </a:ext>
                </a:extLst>
              </p:cNvPr>
              <p:cNvSpPr/>
              <p:nvPr/>
            </p:nvSpPr>
            <p:spPr>
              <a:xfrm>
                <a:off x="-37808850" y="3294050"/>
                <a:ext cx="261500" cy="244950"/>
              </a:xfrm>
              <a:custGeom>
                <a:avLst/>
                <a:gdLst/>
                <a:ahLst/>
                <a:cxnLst/>
                <a:rect l="l" t="t" r="r" b="b"/>
                <a:pathLst>
                  <a:path w="10460" h="9798" extrusionOk="0">
                    <a:moveTo>
                      <a:pt x="6091" y="980"/>
                    </a:moveTo>
                    <a:cubicBezTo>
                      <a:pt x="6596" y="980"/>
                      <a:pt x="7119" y="1154"/>
                      <a:pt x="7562" y="1520"/>
                    </a:cubicBezTo>
                    <a:cubicBezTo>
                      <a:pt x="7719" y="1677"/>
                      <a:pt x="7751" y="1898"/>
                      <a:pt x="7593" y="2087"/>
                    </a:cubicBezTo>
                    <a:cubicBezTo>
                      <a:pt x="7518" y="2181"/>
                      <a:pt x="7387" y="2241"/>
                      <a:pt x="7260" y="2241"/>
                    </a:cubicBezTo>
                    <a:cubicBezTo>
                      <a:pt x="7174" y="2241"/>
                      <a:pt x="7090" y="2213"/>
                      <a:pt x="7026" y="2150"/>
                    </a:cubicBezTo>
                    <a:cubicBezTo>
                      <a:pt x="6747" y="1918"/>
                      <a:pt x="6415" y="1807"/>
                      <a:pt x="6101" y="1807"/>
                    </a:cubicBezTo>
                    <a:cubicBezTo>
                      <a:pt x="5776" y="1807"/>
                      <a:pt x="5470" y="1925"/>
                      <a:pt x="5262" y="2150"/>
                    </a:cubicBezTo>
                    <a:cubicBezTo>
                      <a:pt x="5183" y="2229"/>
                      <a:pt x="5073" y="2268"/>
                      <a:pt x="4962" y="2268"/>
                    </a:cubicBezTo>
                    <a:cubicBezTo>
                      <a:pt x="4852" y="2268"/>
                      <a:pt x="4742" y="2229"/>
                      <a:pt x="4663" y="2150"/>
                    </a:cubicBezTo>
                    <a:cubicBezTo>
                      <a:pt x="4506" y="1992"/>
                      <a:pt x="4506" y="1709"/>
                      <a:pt x="4663" y="1551"/>
                    </a:cubicBezTo>
                    <a:cubicBezTo>
                      <a:pt x="5037" y="1177"/>
                      <a:pt x="5553" y="980"/>
                      <a:pt x="6091" y="980"/>
                    </a:cubicBezTo>
                    <a:close/>
                    <a:moveTo>
                      <a:pt x="3781" y="7852"/>
                    </a:moveTo>
                    <a:lnTo>
                      <a:pt x="4348" y="8451"/>
                    </a:lnTo>
                    <a:lnTo>
                      <a:pt x="4002" y="8797"/>
                    </a:lnTo>
                    <a:cubicBezTo>
                      <a:pt x="3923" y="8876"/>
                      <a:pt x="3812" y="8915"/>
                      <a:pt x="3702" y="8915"/>
                    </a:cubicBezTo>
                    <a:cubicBezTo>
                      <a:pt x="3592" y="8915"/>
                      <a:pt x="3482" y="8876"/>
                      <a:pt x="3403" y="8797"/>
                    </a:cubicBezTo>
                    <a:cubicBezTo>
                      <a:pt x="3214" y="8640"/>
                      <a:pt x="3214" y="8356"/>
                      <a:pt x="3403" y="8199"/>
                    </a:cubicBezTo>
                    <a:lnTo>
                      <a:pt x="3781" y="7852"/>
                    </a:lnTo>
                    <a:close/>
                    <a:moveTo>
                      <a:pt x="6201" y="1"/>
                    </a:moveTo>
                    <a:cubicBezTo>
                      <a:pt x="5236" y="1"/>
                      <a:pt x="4264" y="375"/>
                      <a:pt x="3529" y="1110"/>
                    </a:cubicBezTo>
                    <a:lnTo>
                      <a:pt x="2363" y="2307"/>
                    </a:lnTo>
                    <a:cubicBezTo>
                      <a:pt x="2269" y="2370"/>
                      <a:pt x="2206" y="2402"/>
                      <a:pt x="2048" y="2402"/>
                    </a:cubicBezTo>
                    <a:cubicBezTo>
                      <a:pt x="1450" y="2465"/>
                      <a:pt x="851" y="2622"/>
                      <a:pt x="378" y="3095"/>
                    </a:cubicBezTo>
                    <a:cubicBezTo>
                      <a:pt x="0" y="3441"/>
                      <a:pt x="0" y="4040"/>
                      <a:pt x="347" y="4418"/>
                    </a:cubicBezTo>
                    <a:lnTo>
                      <a:pt x="3182" y="7254"/>
                    </a:lnTo>
                    <a:lnTo>
                      <a:pt x="2773" y="7663"/>
                    </a:lnTo>
                    <a:cubicBezTo>
                      <a:pt x="2300" y="8136"/>
                      <a:pt x="2300" y="8923"/>
                      <a:pt x="2773" y="9427"/>
                    </a:cubicBezTo>
                    <a:cubicBezTo>
                      <a:pt x="3009" y="9664"/>
                      <a:pt x="3324" y="9782"/>
                      <a:pt x="3647" y="9782"/>
                    </a:cubicBezTo>
                    <a:cubicBezTo>
                      <a:pt x="3970" y="9782"/>
                      <a:pt x="4301" y="9664"/>
                      <a:pt x="4569" y="9427"/>
                    </a:cubicBezTo>
                    <a:lnTo>
                      <a:pt x="4947" y="9018"/>
                    </a:lnTo>
                    <a:lnTo>
                      <a:pt x="5419" y="9490"/>
                    </a:lnTo>
                    <a:cubicBezTo>
                      <a:pt x="5624" y="9695"/>
                      <a:pt x="5868" y="9798"/>
                      <a:pt x="6112" y="9798"/>
                    </a:cubicBezTo>
                    <a:cubicBezTo>
                      <a:pt x="6357" y="9798"/>
                      <a:pt x="6601" y="9695"/>
                      <a:pt x="6805" y="9490"/>
                    </a:cubicBezTo>
                    <a:cubicBezTo>
                      <a:pt x="7278" y="9018"/>
                      <a:pt x="7436" y="8388"/>
                      <a:pt x="7467" y="7852"/>
                    </a:cubicBezTo>
                    <a:cubicBezTo>
                      <a:pt x="7467" y="7726"/>
                      <a:pt x="7499" y="7663"/>
                      <a:pt x="7593" y="7569"/>
                    </a:cubicBezTo>
                    <a:lnTo>
                      <a:pt x="8696" y="6466"/>
                    </a:lnTo>
                    <a:cubicBezTo>
                      <a:pt x="10460" y="4702"/>
                      <a:pt x="10145" y="1740"/>
                      <a:pt x="8066" y="511"/>
                    </a:cubicBezTo>
                    <a:cubicBezTo>
                      <a:pt x="7496" y="170"/>
                      <a:pt x="6850" y="1"/>
                      <a:pt x="6201" y="1"/>
                    </a:cubicBezTo>
                    <a:close/>
                  </a:path>
                </a:pathLst>
              </a:custGeom>
              <a:solidFill>
                <a:schemeClr val="l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000"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49" name="Google Shape;423;p20">
                <a:extLst>
                  <a:ext uri="{FF2B5EF4-FFF2-40B4-BE49-F238E27FC236}">
                    <a16:creationId xmlns:a16="http://schemas.microsoft.com/office/drawing/2014/main" id="{4A7D072E-A2CE-4056-B57B-42DBE0082887}"/>
                  </a:ext>
                </a:extLst>
              </p:cNvPr>
              <p:cNvSpPr/>
              <p:nvPr/>
            </p:nvSpPr>
            <p:spPr>
              <a:xfrm>
                <a:off x="-37601700" y="3221575"/>
                <a:ext cx="114225" cy="111275"/>
              </a:xfrm>
              <a:custGeom>
                <a:avLst/>
                <a:gdLst/>
                <a:ahLst/>
                <a:cxnLst/>
                <a:rect l="l" t="t" r="r" b="b"/>
                <a:pathLst>
                  <a:path w="4569" h="4451" extrusionOk="0">
                    <a:moveTo>
                      <a:pt x="3226" y="0"/>
                    </a:moveTo>
                    <a:cubicBezTo>
                      <a:pt x="2907" y="0"/>
                      <a:pt x="2584" y="118"/>
                      <a:pt x="2332" y="355"/>
                    </a:cubicBezTo>
                    <a:lnTo>
                      <a:pt x="0" y="2686"/>
                    </a:lnTo>
                    <a:cubicBezTo>
                      <a:pt x="788" y="3095"/>
                      <a:pt x="1355" y="3631"/>
                      <a:pt x="1796" y="4450"/>
                    </a:cubicBezTo>
                    <a:lnTo>
                      <a:pt x="4096" y="2119"/>
                    </a:lnTo>
                    <a:cubicBezTo>
                      <a:pt x="4568" y="1646"/>
                      <a:pt x="4568" y="859"/>
                      <a:pt x="4096" y="355"/>
                    </a:cubicBezTo>
                    <a:cubicBezTo>
                      <a:pt x="3860" y="118"/>
                      <a:pt x="3545" y="0"/>
                      <a:pt x="3226" y="0"/>
                    </a:cubicBezTo>
                    <a:close/>
                  </a:path>
                </a:pathLst>
              </a:custGeom>
              <a:solidFill>
                <a:schemeClr val="l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000" b="0" i="0" u="none" strike="noStrike" kern="1200" cap="none" spc="0" normalizeH="0" baseline="0" noProof="0">
                  <a:ln>
                    <a:noFill/>
                  </a:ln>
                  <a:solidFill>
                    <a:srgbClr val="000000"/>
                  </a:solidFill>
                  <a:effectLst/>
                  <a:uLnTx/>
                  <a:uFillTx/>
                  <a:latin typeface="Arial"/>
                  <a:ea typeface="+mn-ea"/>
                  <a:cs typeface="+mn-ea"/>
                  <a:sym typeface="+mn-lt"/>
                </a:endParaRPr>
              </a:p>
            </p:txBody>
          </p:sp>
        </p:grpSp>
        <p:sp>
          <p:nvSpPr>
            <p:cNvPr id="35" name="Google Shape;424;p20">
              <a:extLst>
                <a:ext uri="{FF2B5EF4-FFF2-40B4-BE49-F238E27FC236}">
                  <a16:creationId xmlns:a16="http://schemas.microsoft.com/office/drawing/2014/main" id="{E52A512D-C185-49D6-891E-408C60125BEA}"/>
                </a:ext>
              </a:extLst>
            </p:cNvPr>
            <p:cNvSpPr/>
            <p:nvPr/>
          </p:nvSpPr>
          <p:spPr>
            <a:xfrm>
              <a:off x="5275475" y="2600188"/>
              <a:ext cx="44375" cy="44075"/>
            </a:xfrm>
            <a:custGeom>
              <a:avLst/>
              <a:gdLst/>
              <a:ahLst/>
              <a:cxnLst/>
              <a:rect l="l" t="t" r="r" b="b"/>
              <a:pathLst>
                <a:path w="1775" h="1763" extrusionOk="0">
                  <a:moveTo>
                    <a:pt x="882" y="1"/>
                  </a:moveTo>
                  <a:cubicBezTo>
                    <a:pt x="406" y="1"/>
                    <a:pt x="1" y="394"/>
                    <a:pt x="1" y="882"/>
                  </a:cubicBezTo>
                  <a:cubicBezTo>
                    <a:pt x="1" y="1370"/>
                    <a:pt x="406" y="1763"/>
                    <a:pt x="882" y="1763"/>
                  </a:cubicBezTo>
                  <a:cubicBezTo>
                    <a:pt x="1370" y="1763"/>
                    <a:pt x="1775" y="1370"/>
                    <a:pt x="1775" y="882"/>
                  </a:cubicBezTo>
                  <a:cubicBezTo>
                    <a:pt x="1775" y="394"/>
                    <a:pt x="1370" y="1"/>
                    <a:pt x="882" y="1"/>
                  </a:cubicBezTo>
                  <a:close/>
                </a:path>
              </a:pathLst>
            </a:custGeom>
            <a:solidFill>
              <a:schemeClr val="accent1">
                <a:lumMod val="100000"/>
              </a:schemeClr>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000"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36" name="Google Shape;425;p20">
              <a:extLst>
                <a:ext uri="{FF2B5EF4-FFF2-40B4-BE49-F238E27FC236}">
                  <a16:creationId xmlns:a16="http://schemas.microsoft.com/office/drawing/2014/main" id="{D7BA82C8-4BC1-4D74-BC3A-FD15B71F4D41}"/>
                </a:ext>
              </a:extLst>
            </p:cNvPr>
            <p:cNvSpPr/>
            <p:nvPr/>
          </p:nvSpPr>
          <p:spPr>
            <a:xfrm>
              <a:off x="5157175" y="2273075"/>
              <a:ext cx="44375" cy="44075"/>
            </a:xfrm>
            <a:custGeom>
              <a:avLst/>
              <a:gdLst/>
              <a:ahLst/>
              <a:cxnLst/>
              <a:rect l="l" t="t" r="r" b="b"/>
              <a:pathLst>
                <a:path w="1775" h="1763" extrusionOk="0">
                  <a:moveTo>
                    <a:pt x="894" y="0"/>
                  </a:moveTo>
                  <a:cubicBezTo>
                    <a:pt x="406" y="0"/>
                    <a:pt x="1" y="393"/>
                    <a:pt x="1" y="881"/>
                  </a:cubicBezTo>
                  <a:cubicBezTo>
                    <a:pt x="1" y="1370"/>
                    <a:pt x="406" y="1763"/>
                    <a:pt x="894" y="1763"/>
                  </a:cubicBezTo>
                  <a:cubicBezTo>
                    <a:pt x="1370" y="1763"/>
                    <a:pt x="1775" y="1370"/>
                    <a:pt x="1775" y="881"/>
                  </a:cubicBezTo>
                  <a:cubicBezTo>
                    <a:pt x="1775" y="393"/>
                    <a:pt x="1370" y="0"/>
                    <a:pt x="894" y="0"/>
                  </a:cubicBezTo>
                  <a:close/>
                </a:path>
              </a:pathLst>
            </a:custGeom>
            <a:solidFill>
              <a:schemeClr val="accent1">
                <a:lumMod val="100000"/>
              </a:schemeClr>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000"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37" name="Google Shape;426;p20">
              <a:extLst>
                <a:ext uri="{FF2B5EF4-FFF2-40B4-BE49-F238E27FC236}">
                  <a16:creationId xmlns:a16="http://schemas.microsoft.com/office/drawing/2014/main" id="{9C238A31-5B4A-4F6B-8F9B-CD84F9D02E31}"/>
                </a:ext>
              </a:extLst>
            </p:cNvPr>
            <p:cNvSpPr/>
            <p:nvPr/>
          </p:nvSpPr>
          <p:spPr>
            <a:xfrm>
              <a:off x="5038800" y="1945663"/>
              <a:ext cx="44075" cy="44375"/>
            </a:xfrm>
            <a:custGeom>
              <a:avLst/>
              <a:gdLst/>
              <a:ahLst/>
              <a:cxnLst/>
              <a:rect l="l" t="t" r="r" b="b"/>
              <a:pathLst>
                <a:path w="1763" h="1775" extrusionOk="0">
                  <a:moveTo>
                    <a:pt x="881" y="0"/>
                  </a:moveTo>
                  <a:cubicBezTo>
                    <a:pt x="393" y="0"/>
                    <a:pt x="0" y="405"/>
                    <a:pt x="0" y="893"/>
                  </a:cubicBezTo>
                  <a:cubicBezTo>
                    <a:pt x="0" y="1369"/>
                    <a:pt x="393" y="1774"/>
                    <a:pt x="881" y="1774"/>
                  </a:cubicBezTo>
                  <a:cubicBezTo>
                    <a:pt x="1369" y="1774"/>
                    <a:pt x="1762" y="1369"/>
                    <a:pt x="1762" y="893"/>
                  </a:cubicBezTo>
                  <a:cubicBezTo>
                    <a:pt x="1762" y="405"/>
                    <a:pt x="1369" y="0"/>
                    <a:pt x="881" y="0"/>
                  </a:cubicBezTo>
                  <a:close/>
                </a:path>
              </a:pathLst>
            </a:custGeom>
            <a:solidFill>
              <a:schemeClr val="accent1">
                <a:lumMod val="100000"/>
              </a:schemeClr>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000"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38" name="Google Shape;427;p20">
              <a:extLst>
                <a:ext uri="{FF2B5EF4-FFF2-40B4-BE49-F238E27FC236}">
                  <a16:creationId xmlns:a16="http://schemas.microsoft.com/office/drawing/2014/main" id="{3A4E832E-9096-4ED9-A033-9A151A1DAEDB}"/>
                </a:ext>
              </a:extLst>
            </p:cNvPr>
            <p:cNvSpPr txBox="1"/>
            <p:nvPr/>
          </p:nvSpPr>
          <p:spPr>
            <a:xfrm>
              <a:off x="4438475" y="2520697"/>
              <a:ext cx="759000" cy="205500"/>
            </a:xfrm>
            <a:prstGeom prst="rect">
              <a:avLst/>
            </a:prstGeom>
            <a:noFill/>
            <a:ln>
              <a:noFill/>
            </a:ln>
          </p:spPr>
          <p:txBody>
            <a:bodyPr spcFirstLastPara="1" wrap="square" lIns="121900" tIns="121900" rIns="121900" bIns="12190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 sz="1200" b="0" i="0" u="none" strike="noStrike" kern="1200" cap="none" spc="0" normalizeH="0" baseline="0" noProof="0">
                  <a:ln>
                    <a:noFill/>
                  </a:ln>
                  <a:solidFill>
                    <a:srgbClr val="434343"/>
                  </a:solidFill>
                  <a:effectLst/>
                  <a:uLnTx/>
                  <a:uFillTx/>
                  <a:latin typeface="Arial"/>
                  <a:ea typeface="+mn-ea"/>
                  <a:cs typeface="+mn-ea"/>
                  <a:sym typeface="+mn-lt"/>
                </a:rPr>
                <a:t>Europa</a:t>
              </a:r>
              <a:endParaRPr kumimoji="0" sz="1200" b="0" i="0" u="none" strike="noStrike" kern="1200" cap="none" spc="0" normalizeH="0" baseline="0" noProof="0">
                <a:ln>
                  <a:noFill/>
                </a:ln>
                <a:solidFill>
                  <a:srgbClr val="434343"/>
                </a:solidFill>
                <a:effectLst/>
                <a:uLnTx/>
                <a:uFillTx/>
                <a:latin typeface="Arial"/>
                <a:ea typeface="+mn-ea"/>
                <a:cs typeface="+mn-ea"/>
                <a:sym typeface="+mn-lt"/>
              </a:endParaRPr>
            </a:p>
          </p:txBody>
        </p:sp>
        <p:sp>
          <p:nvSpPr>
            <p:cNvPr id="39" name="Google Shape;428;p20">
              <a:extLst>
                <a:ext uri="{FF2B5EF4-FFF2-40B4-BE49-F238E27FC236}">
                  <a16:creationId xmlns:a16="http://schemas.microsoft.com/office/drawing/2014/main" id="{6EDEDE6D-F9A1-43FA-9302-C24D844D1075}"/>
                </a:ext>
              </a:extLst>
            </p:cNvPr>
            <p:cNvSpPr txBox="1"/>
            <p:nvPr/>
          </p:nvSpPr>
          <p:spPr>
            <a:xfrm>
              <a:off x="4320175" y="2192385"/>
              <a:ext cx="759000" cy="205500"/>
            </a:xfrm>
            <a:prstGeom prst="rect">
              <a:avLst/>
            </a:prstGeom>
            <a:noFill/>
            <a:ln>
              <a:noFill/>
            </a:ln>
          </p:spPr>
          <p:txBody>
            <a:bodyPr spcFirstLastPara="1" wrap="square" lIns="121900" tIns="121900" rIns="121900" bIns="12190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 sz="1200" b="0" i="0" u="none" strike="noStrike" kern="1200" cap="none" spc="0" normalizeH="0" baseline="0" noProof="0">
                  <a:ln>
                    <a:noFill/>
                  </a:ln>
                  <a:solidFill>
                    <a:srgbClr val="434343"/>
                  </a:solidFill>
                  <a:effectLst/>
                  <a:uLnTx/>
                  <a:uFillTx/>
                  <a:latin typeface="Arial"/>
                  <a:ea typeface="+mn-ea"/>
                  <a:cs typeface="+mn-ea"/>
                  <a:sym typeface="+mn-lt"/>
                </a:rPr>
                <a:t>Phoebe</a:t>
              </a:r>
              <a:endParaRPr kumimoji="0" sz="1200" b="0" i="0" u="none" strike="noStrike" kern="1200" cap="none" spc="0" normalizeH="0" baseline="0" noProof="0">
                <a:ln>
                  <a:noFill/>
                </a:ln>
                <a:solidFill>
                  <a:srgbClr val="434343"/>
                </a:solidFill>
                <a:effectLst/>
                <a:uLnTx/>
                <a:uFillTx/>
                <a:latin typeface="Arial"/>
                <a:ea typeface="+mn-ea"/>
                <a:cs typeface="+mn-ea"/>
                <a:sym typeface="+mn-lt"/>
              </a:endParaRPr>
            </a:p>
          </p:txBody>
        </p:sp>
        <p:sp>
          <p:nvSpPr>
            <p:cNvPr id="40" name="Google Shape;429;p20">
              <a:extLst>
                <a:ext uri="{FF2B5EF4-FFF2-40B4-BE49-F238E27FC236}">
                  <a16:creationId xmlns:a16="http://schemas.microsoft.com/office/drawing/2014/main" id="{8A038891-7F93-4FEC-ACB9-ECF13C6A0D4C}"/>
                </a:ext>
              </a:extLst>
            </p:cNvPr>
            <p:cNvSpPr txBox="1"/>
            <p:nvPr/>
          </p:nvSpPr>
          <p:spPr>
            <a:xfrm>
              <a:off x="4202900" y="1865097"/>
              <a:ext cx="759000" cy="205500"/>
            </a:xfrm>
            <a:prstGeom prst="rect">
              <a:avLst/>
            </a:prstGeom>
            <a:noFill/>
            <a:ln>
              <a:noFill/>
            </a:ln>
          </p:spPr>
          <p:txBody>
            <a:bodyPr spcFirstLastPara="1" wrap="square" lIns="121900" tIns="121900" rIns="121900" bIns="12190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 sz="1200" b="0" i="0" u="none" strike="noStrike" kern="1200" cap="none" spc="0" normalizeH="0" baseline="0" noProof="0">
                  <a:ln>
                    <a:noFill/>
                  </a:ln>
                  <a:solidFill>
                    <a:srgbClr val="434343"/>
                  </a:solidFill>
                  <a:effectLst/>
                  <a:uLnTx/>
                  <a:uFillTx/>
                  <a:latin typeface="Arial"/>
                  <a:ea typeface="+mn-ea"/>
                  <a:cs typeface="+mn-ea"/>
                  <a:sym typeface="+mn-lt"/>
                </a:rPr>
                <a:t>Pluto</a:t>
              </a:r>
              <a:endParaRPr kumimoji="0" sz="1200" b="0" i="0" u="none" strike="noStrike" kern="1200" cap="none" spc="0" normalizeH="0" baseline="0" noProof="0">
                <a:ln>
                  <a:noFill/>
                </a:ln>
                <a:solidFill>
                  <a:srgbClr val="434343"/>
                </a:solidFill>
                <a:effectLst/>
                <a:uLnTx/>
                <a:uFillTx/>
                <a:latin typeface="Arial"/>
                <a:ea typeface="+mn-ea"/>
                <a:cs typeface="+mn-ea"/>
                <a:sym typeface="+mn-lt"/>
              </a:endParaRPr>
            </a:p>
          </p:txBody>
        </p:sp>
        <p:sp>
          <p:nvSpPr>
            <p:cNvPr id="41" name="Google Shape;430;p20">
              <a:extLst>
                <a:ext uri="{FF2B5EF4-FFF2-40B4-BE49-F238E27FC236}">
                  <a16:creationId xmlns:a16="http://schemas.microsoft.com/office/drawing/2014/main" id="{19DB890B-52AD-41C3-94A8-CD633779D30B}"/>
                </a:ext>
              </a:extLst>
            </p:cNvPr>
            <p:cNvSpPr/>
            <p:nvPr/>
          </p:nvSpPr>
          <p:spPr>
            <a:xfrm rot="10800000" flipH="1">
              <a:off x="5277700" y="3323075"/>
              <a:ext cx="44375" cy="44075"/>
            </a:xfrm>
            <a:custGeom>
              <a:avLst/>
              <a:gdLst/>
              <a:ahLst/>
              <a:cxnLst/>
              <a:rect l="l" t="t" r="r" b="b"/>
              <a:pathLst>
                <a:path w="1775" h="1763" extrusionOk="0">
                  <a:moveTo>
                    <a:pt x="882" y="1"/>
                  </a:moveTo>
                  <a:cubicBezTo>
                    <a:pt x="406" y="1"/>
                    <a:pt x="1" y="394"/>
                    <a:pt x="1" y="882"/>
                  </a:cubicBezTo>
                  <a:cubicBezTo>
                    <a:pt x="1" y="1370"/>
                    <a:pt x="406" y="1763"/>
                    <a:pt x="882" y="1763"/>
                  </a:cubicBezTo>
                  <a:cubicBezTo>
                    <a:pt x="1370" y="1763"/>
                    <a:pt x="1775" y="1370"/>
                    <a:pt x="1775" y="882"/>
                  </a:cubicBezTo>
                  <a:cubicBezTo>
                    <a:pt x="1775" y="394"/>
                    <a:pt x="1370" y="1"/>
                    <a:pt x="882" y="1"/>
                  </a:cubicBezTo>
                  <a:close/>
                </a:path>
              </a:pathLst>
            </a:custGeom>
            <a:solidFill>
              <a:schemeClr val="accent1">
                <a:lumMod val="100000"/>
              </a:schemeClr>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000"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42" name="Google Shape;431;p20">
              <a:extLst>
                <a:ext uri="{FF2B5EF4-FFF2-40B4-BE49-F238E27FC236}">
                  <a16:creationId xmlns:a16="http://schemas.microsoft.com/office/drawing/2014/main" id="{7C67826D-0AAD-4F57-AD39-025B115AFADC}"/>
                </a:ext>
              </a:extLst>
            </p:cNvPr>
            <p:cNvSpPr/>
            <p:nvPr/>
          </p:nvSpPr>
          <p:spPr>
            <a:xfrm rot="10800000" flipH="1">
              <a:off x="5159400" y="3650188"/>
              <a:ext cx="44375" cy="44075"/>
            </a:xfrm>
            <a:custGeom>
              <a:avLst/>
              <a:gdLst/>
              <a:ahLst/>
              <a:cxnLst/>
              <a:rect l="l" t="t" r="r" b="b"/>
              <a:pathLst>
                <a:path w="1775" h="1763" extrusionOk="0">
                  <a:moveTo>
                    <a:pt x="894" y="0"/>
                  </a:moveTo>
                  <a:cubicBezTo>
                    <a:pt x="406" y="0"/>
                    <a:pt x="1" y="393"/>
                    <a:pt x="1" y="881"/>
                  </a:cubicBezTo>
                  <a:cubicBezTo>
                    <a:pt x="1" y="1370"/>
                    <a:pt x="406" y="1763"/>
                    <a:pt x="894" y="1763"/>
                  </a:cubicBezTo>
                  <a:cubicBezTo>
                    <a:pt x="1370" y="1763"/>
                    <a:pt x="1775" y="1370"/>
                    <a:pt x="1775" y="881"/>
                  </a:cubicBezTo>
                  <a:cubicBezTo>
                    <a:pt x="1775" y="393"/>
                    <a:pt x="1370" y="0"/>
                    <a:pt x="894" y="0"/>
                  </a:cubicBezTo>
                  <a:close/>
                </a:path>
              </a:pathLst>
            </a:custGeom>
            <a:solidFill>
              <a:schemeClr val="accent1">
                <a:lumMod val="100000"/>
              </a:schemeClr>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000"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43" name="Google Shape;432;p20">
              <a:extLst>
                <a:ext uri="{FF2B5EF4-FFF2-40B4-BE49-F238E27FC236}">
                  <a16:creationId xmlns:a16="http://schemas.microsoft.com/office/drawing/2014/main" id="{2F375141-77A6-4815-B2BC-66185332B348}"/>
                </a:ext>
              </a:extLst>
            </p:cNvPr>
            <p:cNvSpPr/>
            <p:nvPr/>
          </p:nvSpPr>
          <p:spPr>
            <a:xfrm rot="10800000" flipH="1">
              <a:off x="5041025" y="3977300"/>
              <a:ext cx="44075" cy="44375"/>
            </a:xfrm>
            <a:custGeom>
              <a:avLst/>
              <a:gdLst/>
              <a:ahLst/>
              <a:cxnLst/>
              <a:rect l="l" t="t" r="r" b="b"/>
              <a:pathLst>
                <a:path w="1763" h="1775" extrusionOk="0">
                  <a:moveTo>
                    <a:pt x="881" y="0"/>
                  </a:moveTo>
                  <a:cubicBezTo>
                    <a:pt x="393" y="0"/>
                    <a:pt x="0" y="405"/>
                    <a:pt x="0" y="893"/>
                  </a:cubicBezTo>
                  <a:cubicBezTo>
                    <a:pt x="0" y="1369"/>
                    <a:pt x="393" y="1774"/>
                    <a:pt x="881" y="1774"/>
                  </a:cubicBezTo>
                  <a:cubicBezTo>
                    <a:pt x="1369" y="1774"/>
                    <a:pt x="1762" y="1369"/>
                    <a:pt x="1762" y="893"/>
                  </a:cubicBezTo>
                  <a:cubicBezTo>
                    <a:pt x="1762" y="405"/>
                    <a:pt x="1369" y="0"/>
                    <a:pt x="881" y="0"/>
                  </a:cubicBezTo>
                  <a:close/>
                </a:path>
              </a:pathLst>
            </a:custGeom>
            <a:solidFill>
              <a:schemeClr val="accent1">
                <a:lumMod val="100000"/>
              </a:schemeClr>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000"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44" name="Google Shape;433;p20">
              <a:extLst>
                <a:ext uri="{FF2B5EF4-FFF2-40B4-BE49-F238E27FC236}">
                  <a16:creationId xmlns:a16="http://schemas.microsoft.com/office/drawing/2014/main" id="{92A70304-B62F-46DF-AD97-0ED3EAA579CB}"/>
                </a:ext>
              </a:extLst>
            </p:cNvPr>
            <p:cNvSpPr txBox="1"/>
            <p:nvPr/>
          </p:nvSpPr>
          <p:spPr>
            <a:xfrm>
              <a:off x="4442488" y="3242360"/>
              <a:ext cx="759000" cy="205500"/>
            </a:xfrm>
            <a:prstGeom prst="rect">
              <a:avLst/>
            </a:prstGeom>
            <a:noFill/>
            <a:ln>
              <a:noFill/>
            </a:ln>
          </p:spPr>
          <p:txBody>
            <a:bodyPr spcFirstLastPara="1" wrap="square" lIns="121900" tIns="121900" rIns="121900" bIns="12190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 sz="1200" b="0" i="0" u="none" strike="noStrike" kern="1200" cap="none" spc="0" normalizeH="0" baseline="0" noProof="0">
                  <a:ln>
                    <a:noFill/>
                  </a:ln>
                  <a:solidFill>
                    <a:srgbClr val="434343"/>
                  </a:solidFill>
                  <a:effectLst/>
                  <a:uLnTx/>
                  <a:uFillTx/>
                  <a:latin typeface="Arial"/>
                  <a:ea typeface="+mn-ea"/>
                  <a:cs typeface="+mn-ea"/>
                  <a:sym typeface="+mn-lt"/>
                </a:rPr>
                <a:t>Leda</a:t>
              </a:r>
              <a:endParaRPr kumimoji="0" sz="1200" b="0" i="0" u="none" strike="noStrike" kern="1200" cap="none" spc="0" normalizeH="0" baseline="0" noProof="0">
                <a:ln>
                  <a:noFill/>
                </a:ln>
                <a:solidFill>
                  <a:srgbClr val="434343"/>
                </a:solidFill>
                <a:effectLst/>
                <a:uLnTx/>
                <a:uFillTx/>
                <a:latin typeface="Arial"/>
                <a:ea typeface="+mn-ea"/>
                <a:cs typeface="+mn-ea"/>
                <a:sym typeface="+mn-lt"/>
              </a:endParaRPr>
            </a:p>
          </p:txBody>
        </p:sp>
        <p:sp>
          <p:nvSpPr>
            <p:cNvPr id="45" name="Google Shape;434;p20">
              <a:extLst>
                <a:ext uri="{FF2B5EF4-FFF2-40B4-BE49-F238E27FC236}">
                  <a16:creationId xmlns:a16="http://schemas.microsoft.com/office/drawing/2014/main" id="{0E2BCE28-150B-4CF8-8B7B-1D048D5B39F3}"/>
                </a:ext>
              </a:extLst>
            </p:cNvPr>
            <p:cNvSpPr txBox="1"/>
            <p:nvPr/>
          </p:nvSpPr>
          <p:spPr>
            <a:xfrm>
              <a:off x="4324188" y="3572410"/>
              <a:ext cx="759000" cy="205500"/>
            </a:xfrm>
            <a:prstGeom prst="rect">
              <a:avLst/>
            </a:prstGeom>
            <a:noFill/>
            <a:ln>
              <a:noFill/>
            </a:ln>
          </p:spPr>
          <p:txBody>
            <a:bodyPr spcFirstLastPara="1" wrap="square" lIns="121900" tIns="121900" rIns="121900" bIns="12190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 sz="1200" b="0" i="0" u="none" strike="noStrike" kern="1200" cap="none" spc="0" normalizeH="0" baseline="0" noProof="0">
                  <a:ln>
                    <a:noFill/>
                  </a:ln>
                  <a:solidFill>
                    <a:srgbClr val="434343"/>
                  </a:solidFill>
                  <a:effectLst/>
                  <a:uLnTx/>
                  <a:uFillTx/>
                  <a:latin typeface="Arial"/>
                  <a:ea typeface="+mn-ea"/>
                  <a:cs typeface="+mn-ea"/>
                  <a:sym typeface="+mn-lt"/>
                </a:rPr>
                <a:t>Metis</a:t>
              </a:r>
              <a:endParaRPr kumimoji="0" sz="1200" b="0" i="0" u="none" strike="noStrike" kern="1200" cap="none" spc="0" normalizeH="0" baseline="0" noProof="0">
                <a:ln>
                  <a:noFill/>
                </a:ln>
                <a:solidFill>
                  <a:srgbClr val="434343"/>
                </a:solidFill>
                <a:effectLst/>
                <a:uLnTx/>
                <a:uFillTx/>
                <a:latin typeface="Arial"/>
                <a:ea typeface="+mn-ea"/>
                <a:cs typeface="+mn-ea"/>
                <a:sym typeface="+mn-lt"/>
              </a:endParaRPr>
            </a:p>
          </p:txBody>
        </p:sp>
        <p:sp>
          <p:nvSpPr>
            <p:cNvPr id="46" name="Google Shape;435;p20">
              <a:extLst>
                <a:ext uri="{FF2B5EF4-FFF2-40B4-BE49-F238E27FC236}">
                  <a16:creationId xmlns:a16="http://schemas.microsoft.com/office/drawing/2014/main" id="{22519934-469E-4B73-8493-A021244BC7A7}"/>
                </a:ext>
              </a:extLst>
            </p:cNvPr>
            <p:cNvSpPr txBox="1"/>
            <p:nvPr/>
          </p:nvSpPr>
          <p:spPr>
            <a:xfrm>
              <a:off x="4205813" y="3896747"/>
              <a:ext cx="759000" cy="205500"/>
            </a:xfrm>
            <a:prstGeom prst="rect">
              <a:avLst/>
            </a:prstGeom>
            <a:noFill/>
            <a:ln>
              <a:noFill/>
            </a:ln>
          </p:spPr>
          <p:txBody>
            <a:bodyPr spcFirstLastPara="1" wrap="square" lIns="121900" tIns="121900" rIns="121900" bIns="12190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 sz="1200" b="0" i="0" u="none" strike="noStrike" kern="1200" cap="none" spc="0" normalizeH="0" baseline="0" noProof="0">
                  <a:ln>
                    <a:noFill/>
                  </a:ln>
                  <a:solidFill>
                    <a:srgbClr val="434343"/>
                  </a:solidFill>
                  <a:effectLst/>
                  <a:uLnTx/>
                  <a:uFillTx/>
                  <a:latin typeface="Arial"/>
                  <a:ea typeface="+mn-ea"/>
                  <a:cs typeface="+mn-ea"/>
                  <a:sym typeface="+mn-lt"/>
                </a:rPr>
                <a:t>Elara</a:t>
              </a:r>
              <a:endParaRPr kumimoji="0" sz="1200" b="0" i="0" u="none" strike="noStrike" kern="1200" cap="none" spc="0" normalizeH="0" baseline="0" noProof="0">
                <a:ln>
                  <a:noFill/>
                </a:ln>
                <a:solidFill>
                  <a:srgbClr val="434343"/>
                </a:solidFill>
                <a:effectLst/>
                <a:uLnTx/>
                <a:uFillTx/>
                <a:latin typeface="Arial"/>
                <a:ea typeface="+mn-ea"/>
                <a:cs typeface="+mn-ea"/>
                <a:sym typeface="+mn-lt"/>
              </a:endParaRPr>
            </a:p>
          </p:txBody>
        </p:sp>
        <p:sp>
          <p:nvSpPr>
            <p:cNvPr id="47" name="Google Shape;436;p20">
              <a:extLst>
                <a:ext uri="{FF2B5EF4-FFF2-40B4-BE49-F238E27FC236}">
                  <a16:creationId xmlns:a16="http://schemas.microsoft.com/office/drawing/2014/main" id="{3A65970C-40DC-4F14-B869-0625D25BEFC4}"/>
                </a:ext>
              </a:extLst>
            </p:cNvPr>
            <p:cNvSpPr txBox="1"/>
            <p:nvPr/>
          </p:nvSpPr>
          <p:spPr>
            <a:xfrm>
              <a:off x="4086638" y="4224010"/>
              <a:ext cx="759000" cy="205500"/>
            </a:xfrm>
            <a:prstGeom prst="rect">
              <a:avLst/>
            </a:prstGeom>
            <a:noFill/>
            <a:ln>
              <a:noFill/>
            </a:ln>
          </p:spPr>
          <p:txBody>
            <a:bodyPr spcFirstLastPara="1" wrap="square" lIns="121900" tIns="121900" rIns="121900" bIns="12190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 sz="1200" b="0" i="0" u="none" strike="noStrike" kern="1200" cap="none" spc="0" normalizeH="0" baseline="0" noProof="0">
                  <a:ln>
                    <a:noFill/>
                  </a:ln>
                  <a:solidFill>
                    <a:srgbClr val="434343"/>
                  </a:solidFill>
                  <a:effectLst/>
                  <a:uLnTx/>
                  <a:uFillTx/>
                  <a:latin typeface="Arial"/>
                  <a:ea typeface="+mn-ea"/>
                  <a:cs typeface="+mn-ea"/>
                  <a:sym typeface="+mn-lt"/>
                </a:rPr>
                <a:t>Mars</a:t>
              </a:r>
              <a:endParaRPr kumimoji="0" sz="1200" b="0" i="0" u="none" strike="noStrike" kern="1200" cap="none" spc="0" normalizeH="0" baseline="0" noProof="0">
                <a:ln>
                  <a:noFill/>
                </a:ln>
                <a:solidFill>
                  <a:srgbClr val="434343"/>
                </a:solidFill>
                <a:effectLst/>
                <a:uLnTx/>
                <a:uFillTx/>
                <a:latin typeface="Arial"/>
                <a:ea typeface="+mn-ea"/>
                <a:cs typeface="+mn-ea"/>
                <a:sym typeface="+mn-lt"/>
              </a:endParaRPr>
            </a:p>
          </p:txBody>
        </p:sp>
      </p:grpSp>
      <p:grpSp>
        <p:nvGrpSpPr>
          <p:cNvPr id="50" name="Google Shape;437;p20">
            <a:extLst>
              <a:ext uri="{FF2B5EF4-FFF2-40B4-BE49-F238E27FC236}">
                <a16:creationId xmlns:a16="http://schemas.microsoft.com/office/drawing/2014/main" id="{9BF26E75-574B-4926-80CA-DBAB8A70212B}"/>
              </a:ext>
            </a:extLst>
          </p:cNvPr>
          <p:cNvGrpSpPr/>
          <p:nvPr/>
        </p:nvGrpSpPr>
        <p:grpSpPr>
          <a:xfrm>
            <a:off x="3486614" y="1795941"/>
            <a:ext cx="1986280" cy="3266117"/>
            <a:chOff x="2715813" y="1675313"/>
            <a:chExt cx="1489710" cy="2449588"/>
          </a:xfrm>
        </p:grpSpPr>
        <p:cxnSp>
          <p:nvCxnSpPr>
            <p:cNvPr id="51" name="Google Shape;438;p20">
              <a:extLst>
                <a:ext uri="{FF2B5EF4-FFF2-40B4-BE49-F238E27FC236}">
                  <a16:creationId xmlns:a16="http://schemas.microsoft.com/office/drawing/2014/main" id="{24E9740E-8C86-4A34-985E-F0FE374034BA}"/>
                </a:ext>
              </a:extLst>
            </p:cNvPr>
            <p:cNvCxnSpPr/>
            <p:nvPr/>
          </p:nvCxnSpPr>
          <p:spPr>
            <a:xfrm rot="10800000">
              <a:off x="3643250" y="1841375"/>
              <a:ext cx="408300" cy="1142400"/>
            </a:xfrm>
            <a:prstGeom prst="straightConnector1">
              <a:avLst/>
            </a:prstGeom>
            <a:noFill/>
            <a:ln w="19050" cap="flat" cmpd="sng">
              <a:solidFill>
                <a:schemeClr val="dk2"/>
              </a:solidFill>
              <a:prstDash val="solid"/>
              <a:round/>
              <a:headEnd type="none" w="med" len="med"/>
              <a:tailEnd type="none" w="med" len="med"/>
            </a:ln>
          </p:spPr>
        </p:cxnSp>
        <p:cxnSp>
          <p:nvCxnSpPr>
            <p:cNvPr id="52" name="Google Shape;439;p20">
              <a:extLst>
                <a:ext uri="{FF2B5EF4-FFF2-40B4-BE49-F238E27FC236}">
                  <a16:creationId xmlns:a16="http://schemas.microsoft.com/office/drawing/2014/main" id="{5D99FFF6-BC96-450C-B6E4-A4CA3FC97CE2}"/>
                </a:ext>
              </a:extLst>
            </p:cNvPr>
            <p:cNvCxnSpPr/>
            <p:nvPr/>
          </p:nvCxnSpPr>
          <p:spPr>
            <a:xfrm flipH="1">
              <a:off x="3643275" y="2981300"/>
              <a:ext cx="409500" cy="1143600"/>
            </a:xfrm>
            <a:prstGeom prst="straightConnector1">
              <a:avLst/>
            </a:prstGeom>
            <a:noFill/>
            <a:ln w="19050" cap="flat" cmpd="sng">
              <a:solidFill>
                <a:schemeClr val="dk2"/>
              </a:solidFill>
              <a:prstDash val="solid"/>
              <a:round/>
              <a:headEnd type="none" w="med" len="med"/>
              <a:tailEnd type="none" w="med" len="med"/>
            </a:ln>
          </p:spPr>
        </p:cxnSp>
        <p:sp>
          <p:nvSpPr>
            <p:cNvPr id="53" name="Google Shape;440;p20">
              <a:extLst>
                <a:ext uri="{FF2B5EF4-FFF2-40B4-BE49-F238E27FC236}">
                  <a16:creationId xmlns:a16="http://schemas.microsoft.com/office/drawing/2014/main" id="{33044C3A-CFF9-4B6B-B850-0CE5A3CA8B86}"/>
                </a:ext>
              </a:extLst>
            </p:cNvPr>
            <p:cNvSpPr/>
            <p:nvPr/>
          </p:nvSpPr>
          <p:spPr>
            <a:xfrm>
              <a:off x="2715813" y="1675313"/>
              <a:ext cx="803700" cy="278925"/>
            </a:xfrm>
            <a:custGeom>
              <a:avLst/>
              <a:gdLst/>
              <a:ahLst/>
              <a:cxnLst/>
              <a:rect l="l" t="t" r="r" b="b"/>
              <a:pathLst>
                <a:path w="32148" h="11157" extrusionOk="0">
                  <a:moveTo>
                    <a:pt x="5549" y="1"/>
                  </a:moveTo>
                  <a:cubicBezTo>
                    <a:pt x="2477" y="1"/>
                    <a:pt x="1" y="2489"/>
                    <a:pt x="1" y="5549"/>
                  </a:cubicBezTo>
                  <a:lnTo>
                    <a:pt x="1" y="5609"/>
                  </a:lnTo>
                  <a:cubicBezTo>
                    <a:pt x="1" y="8680"/>
                    <a:pt x="2477" y="11157"/>
                    <a:pt x="5549" y="11157"/>
                  </a:cubicBezTo>
                  <a:lnTo>
                    <a:pt x="26599" y="11157"/>
                  </a:lnTo>
                  <a:cubicBezTo>
                    <a:pt x="29659" y="11157"/>
                    <a:pt x="32147" y="8680"/>
                    <a:pt x="32147" y="5609"/>
                  </a:cubicBezTo>
                  <a:lnTo>
                    <a:pt x="32147" y="5549"/>
                  </a:lnTo>
                  <a:cubicBezTo>
                    <a:pt x="32147" y="2489"/>
                    <a:pt x="29659" y="1"/>
                    <a:pt x="26599" y="1"/>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2000" b="0" i="0" u="none" strike="noStrike" kern="1200" cap="none" spc="0" normalizeH="0" baseline="0" noProof="0">
                  <a:ln>
                    <a:noFill/>
                  </a:ln>
                  <a:solidFill>
                    <a:srgbClr val="FFFFFF"/>
                  </a:solidFill>
                  <a:effectLst/>
                  <a:uLnTx/>
                  <a:uFillTx/>
                  <a:latin typeface="Arial"/>
                  <a:ea typeface="+mn-ea"/>
                  <a:cs typeface="+mn-ea"/>
                  <a:sym typeface="+mn-lt"/>
                </a:rPr>
                <a:t>Task 2</a:t>
              </a:r>
              <a:endParaRPr kumimoji="0" sz="2000" b="0" i="0" u="none" strike="noStrike" kern="1200" cap="none" spc="0" normalizeH="0" baseline="0" noProof="0">
                <a:ln>
                  <a:noFill/>
                </a:ln>
                <a:solidFill>
                  <a:srgbClr val="FFFFFF"/>
                </a:solidFill>
                <a:effectLst/>
                <a:uLnTx/>
                <a:uFillTx/>
                <a:latin typeface="Arial"/>
                <a:ea typeface="+mn-ea"/>
                <a:cs typeface="+mn-ea"/>
                <a:sym typeface="+mn-lt"/>
              </a:endParaRPr>
            </a:p>
          </p:txBody>
        </p:sp>
        <p:sp>
          <p:nvSpPr>
            <p:cNvPr id="54" name="Google Shape;441;p20">
              <a:extLst>
                <a:ext uri="{FF2B5EF4-FFF2-40B4-BE49-F238E27FC236}">
                  <a16:creationId xmlns:a16="http://schemas.microsoft.com/office/drawing/2014/main" id="{D7144B55-2FC2-4C96-87C3-C920E837522B}"/>
                </a:ext>
              </a:extLst>
            </p:cNvPr>
            <p:cNvSpPr/>
            <p:nvPr/>
          </p:nvSpPr>
          <p:spPr>
            <a:xfrm>
              <a:off x="2948075" y="2843900"/>
              <a:ext cx="803700" cy="278925"/>
            </a:xfrm>
            <a:custGeom>
              <a:avLst/>
              <a:gdLst/>
              <a:ahLst/>
              <a:cxnLst/>
              <a:rect l="l" t="t" r="r" b="b"/>
              <a:pathLst>
                <a:path w="32148" h="11157" extrusionOk="0">
                  <a:moveTo>
                    <a:pt x="5549" y="1"/>
                  </a:moveTo>
                  <a:cubicBezTo>
                    <a:pt x="2477" y="1"/>
                    <a:pt x="1" y="2489"/>
                    <a:pt x="1" y="5549"/>
                  </a:cubicBezTo>
                  <a:lnTo>
                    <a:pt x="1" y="5609"/>
                  </a:lnTo>
                  <a:cubicBezTo>
                    <a:pt x="1" y="8680"/>
                    <a:pt x="2477" y="11157"/>
                    <a:pt x="5549" y="11157"/>
                  </a:cubicBezTo>
                  <a:lnTo>
                    <a:pt x="26599" y="11157"/>
                  </a:lnTo>
                  <a:cubicBezTo>
                    <a:pt x="29659" y="11157"/>
                    <a:pt x="32147" y="8680"/>
                    <a:pt x="32147" y="5609"/>
                  </a:cubicBezTo>
                  <a:lnTo>
                    <a:pt x="32147" y="5549"/>
                  </a:lnTo>
                  <a:cubicBezTo>
                    <a:pt x="32147" y="2489"/>
                    <a:pt x="29659" y="1"/>
                    <a:pt x="26599" y="1"/>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2000" b="0" i="0" u="none" strike="noStrike" kern="1200" cap="none" spc="0" normalizeH="0" baseline="0" noProof="0">
                  <a:ln>
                    <a:noFill/>
                  </a:ln>
                  <a:solidFill>
                    <a:srgbClr val="FFFFFF"/>
                  </a:solidFill>
                  <a:effectLst/>
                  <a:uLnTx/>
                  <a:uFillTx/>
                  <a:latin typeface="Arial"/>
                  <a:ea typeface="+mn-ea"/>
                  <a:cs typeface="+mn-ea"/>
                  <a:sym typeface="+mn-lt"/>
                </a:rPr>
                <a:t>2021</a:t>
              </a:r>
              <a:endParaRPr kumimoji="0" sz="2000" b="0" i="0" u="none" strike="noStrike" kern="1200" cap="none" spc="0" normalizeH="0" baseline="0" noProof="0">
                <a:ln>
                  <a:noFill/>
                </a:ln>
                <a:solidFill>
                  <a:srgbClr val="FFFFFF"/>
                </a:solidFill>
                <a:effectLst/>
                <a:uLnTx/>
                <a:uFillTx/>
                <a:latin typeface="Arial"/>
                <a:ea typeface="+mn-ea"/>
                <a:cs typeface="+mn-ea"/>
                <a:sym typeface="+mn-lt"/>
              </a:endParaRPr>
            </a:p>
          </p:txBody>
        </p:sp>
        <p:sp>
          <p:nvSpPr>
            <p:cNvPr id="55" name="Google Shape;442;p20">
              <a:extLst>
                <a:ext uri="{FF2B5EF4-FFF2-40B4-BE49-F238E27FC236}">
                  <a16:creationId xmlns:a16="http://schemas.microsoft.com/office/drawing/2014/main" id="{6121C7AC-04AB-4527-9EA6-22C5C0408AA9}"/>
                </a:ext>
              </a:extLst>
            </p:cNvPr>
            <p:cNvSpPr/>
            <p:nvPr/>
          </p:nvSpPr>
          <p:spPr>
            <a:xfrm>
              <a:off x="3830938" y="2797442"/>
              <a:ext cx="374585" cy="374551"/>
            </a:xfrm>
            <a:custGeom>
              <a:avLst/>
              <a:gdLst/>
              <a:ahLst/>
              <a:cxnLst/>
              <a:rect l="l" t="t" r="r" b="b"/>
              <a:pathLst>
                <a:path w="11098" h="11097" extrusionOk="0">
                  <a:moveTo>
                    <a:pt x="5549" y="0"/>
                  </a:moveTo>
                  <a:cubicBezTo>
                    <a:pt x="2489" y="0"/>
                    <a:pt x="0" y="2489"/>
                    <a:pt x="0" y="5548"/>
                  </a:cubicBezTo>
                  <a:cubicBezTo>
                    <a:pt x="0" y="8608"/>
                    <a:pt x="2489" y="11097"/>
                    <a:pt x="5549" y="11097"/>
                  </a:cubicBezTo>
                  <a:cubicBezTo>
                    <a:pt x="8597" y="11097"/>
                    <a:pt x="11097" y="8608"/>
                    <a:pt x="11097" y="5548"/>
                  </a:cubicBezTo>
                  <a:cubicBezTo>
                    <a:pt x="11097" y="2489"/>
                    <a:pt x="8597" y="0"/>
                    <a:pt x="5549" y="0"/>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000" b="0" i="0" u="none" strike="noStrike" kern="1200" cap="none" spc="0" normalizeH="0" baseline="0" noProof="0">
                <a:ln>
                  <a:noFill/>
                </a:ln>
                <a:solidFill>
                  <a:srgbClr val="000000"/>
                </a:solidFill>
                <a:effectLst/>
                <a:uLnTx/>
                <a:uFillTx/>
                <a:latin typeface="Arial"/>
                <a:ea typeface="+mn-ea"/>
                <a:cs typeface="+mn-ea"/>
                <a:sym typeface="+mn-lt"/>
              </a:endParaRPr>
            </a:p>
          </p:txBody>
        </p:sp>
        <p:grpSp>
          <p:nvGrpSpPr>
            <p:cNvPr id="56" name="Google Shape;443;p20">
              <a:extLst>
                <a:ext uri="{FF2B5EF4-FFF2-40B4-BE49-F238E27FC236}">
                  <a16:creationId xmlns:a16="http://schemas.microsoft.com/office/drawing/2014/main" id="{4304F044-548D-4FAF-A541-373F8394174E}"/>
                </a:ext>
              </a:extLst>
            </p:cNvPr>
            <p:cNvGrpSpPr/>
            <p:nvPr/>
          </p:nvGrpSpPr>
          <p:grpSpPr>
            <a:xfrm>
              <a:off x="3895738" y="2862300"/>
              <a:ext cx="250254" cy="244856"/>
              <a:chOff x="-41117650" y="3605525"/>
              <a:chExt cx="324500" cy="317500"/>
            </a:xfrm>
          </p:grpSpPr>
          <p:sp>
            <p:nvSpPr>
              <p:cNvPr id="65" name="Google Shape;444;p20">
                <a:extLst>
                  <a:ext uri="{FF2B5EF4-FFF2-40B4-BE49-F238E27FC236}">
                    <a16:creationId xmlns:a16="http://schemas.microsoft.com/office/drawing/2014/main" id="{BB2C338D-C0E7-4073-858E-34BEE0CD6F83}"/>
                  </a:ext>
                </a:extLst>
              </p:cNvPr>
              <p:cNvSpPr/>
              <p:nvPr/>
            </p:nvSpPr>
            <p:spPr>
              <a:xfrm>
                <a:off x="-41016850" y="3605525"/>
                <a:ext cx="106350" cy="105375"/>
              </a:xfrm>
              <a:custGeom>
                <a:avLst/>
                <a:gdLst/>
                <a:ahLst/>
                <a:cxnLst/>
                <a:rect l="l" t="t" r="r" b="b"/>
                <a:pathLst>
                  <a:path w="4254" h="4215" extrusionOk="0">
                    <a:moveTo>
                      <a:pt x="2064" y="1"/>
                    </a:moveTo>
                    <a:cubicBezTo>
                      <a:pt x="1954" y="1"/>
                      <a:pt x="1844" y="40"/>
                      <a:pt x="1765" y="119"/>
                    </a:cubicBezTo>
                    <a:lnTo>
                      <a:pt x="1" y="1883"/>
                    </a:lnTo>
                    <a:lnTo>
                      <a:pt x="2332" y="4214"/>
                    </a:lnTo>
                    <a:lnTo>
                      <a:pt x="4096" y="2450"/>
                    </a:lnTo>
                    <a:cubicBezTo>
                      <a:pt x="4254" y="2293"/>
                      <a:pt x="4254" y="2009"/>
                      <a:pt x="4096" y="1852"/>
                    </a:cubicBezTo>
                    <a:lnTo>
                      <a:pt x="2364" y="119"/>
                    </a:lnTo>
                    <a:cubicBezTo>
                      <a:pt x="2285" y="40"/>
                      <a:pt x="2175" y="1"/>
                      <a:pt x="2064" y="1"/>
                    </a:cubicBezTo>
                    <a:close/>
                  </a:path>
                </a:pathLst>
              </a:custGeom>
              <a:solidFill>
                <a:schemeClr val="l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000"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66" name="Google Shape;445;p20">
                <a:extLst>
                  <a:ext uri="{FF2B5EF4-FFF2-40B4-BE49-F238E27FC236}">
                    <a16:creationId xmlns:a16="http://schemas.microsoft.com/office/drawing/2014/main" id="{4DA3C238-AF9B-43C2-B083-D6B6CD288E40}"/>
                  </a:ext>
                </a:extLst>
              </p:cNvPr>
              <p:cNvSpPr/>
              <p:nvPr/>
            </p:nvSpPr>
            <p:spPr>
              <a:xfrm>
                <a:off x="-40900275" y="3721300"/>
                <a:ext cx="107125" cy="105375"/>
              </a:xfrm>
              <a:custGeom>
                <a:avLst/>
                <a:gdLst/>
                <a:ahLst/>
                <a:cxnLst/>
                <a:rect l="l" t="t" r="r" b="b"/>
                <a:pathLst>
                  <a:path w="4285" h="4215" extrusionOk="0">
                    <a:moveTo>
                      <a:pt x="2064" y="1"/>
                    </a:moveTo>
                    <a:cubicBezTo>
                      <a:pt x="1954" y="1"/>
                      <a:pt x="1843" y="40"/>
                      <a:pt x="1765" y="119"/>
                    </a:cubicBezTo>
                    <a:lnTo>
                      <a:pt x="0" y="1915"/>
                    </a:lnTo>
                    <a:lnTo>
                      <a:pt x="2300" y="4215"/>
                    </a:lnTo>
                    <a:lnTo>
                      <a:pt x="4128" y="2482"/>
                    </a:lnTo>
                    <a:cubicBezTo>
                      <a:pt x="4285" y="2324"/>
                      <a:pt x="4285" y="2072"/>
                      <a:pt x="4128" y="1915"/>
                    </a:cubicBezTo>
                    <a:lnTo>
                      <a:pt x="2363" y="119"/>
                    </a:lnTo>
                    <a:cubicBezTo>
                      <a:pt x="2285" y="40"/>
                      <a:pt x="2174" y="1"/>
                      <a:pt x="2064" y="1"/>
                    </a:cubicBezTo>
                    <a:close/>
                  </a:path>
                </a:pathLst>
              </a:custGeom>
              <a:solidFill>
                <a:schemeClr val="l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000"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67" name="Google Shape;446;p20">
                <a:extLst>
                  <a:ext uri="{FF2B5EF4-FFF2-40B4-BE49-F238E27FC236}">
                    <a16:creationId xmlns:a16="http://schemas.microsoft.com/office/drawing/2014/main" id="{BFB3F6BB-BDBA-477C-8866-C7DC7FC637B5}"/>
                  </a:ext>
                </a:extLst>
              </p:cNvPr>
              <p:cNvSpPr/>
              <p:nvPr/>
            </p:nvSpPr>
            <p:spPr>
              <a:xfrm>
                <a:off x="-41117650" y="3668350"/>
                <a:ext cx="262300" cy="254675"/>
              </a:xfrm>
              <a:custGeom>
                <a:avLst/>
                <a:gdLst/>
                <a:ahLst/>
                <a:cxnLst/>
                <a:rect l="l" t="t" r="r" b="b"/>
                <a:pathLst>
                  <a:path w="10492" h="10187" extrusionOk="0">
                    <a:moveTo>
                      <a:pt x="3497" y="0"/>
                    </a:moveTo>
                    <a:lnTo>
                      <a:pt x="1764" y="1733"/>
                    </a:lnTo>
                    <a:cubicBezTo>
                      <a:pt x="1166" y="2332"/>
                      <a:pt x="725" y="3088"/>
                      <a:pt x="504" y="3812"/>
                    </a:cubicBezTo>
                    <a:cubicBezTo>
                      <a:pt x="0" y="5514"/>
                      <a:pt x="410" y="7404"/>
                      <a:pt x="1764" y="8759"/>
                    </a:cubicBezTo>
                    <a:cubicBezTo>
                      <a:pt x="2667" y="9661"/>
                      <a:pt x="3919" y="10187"/>
                      <a:pt x="5273" y="10187"/>
                    </a:cubicBezTo>
                    <a:cubicBezTo>
                      <a:pt x="5384" y="10187"/>
                      <a:pt x="5496" y="10183"/>
                      <a:pt x="5608" y="10176"/>
                    </a:cubicBezTo>
                    <a:cubicBezTo>
                      <a:pt x="6679" y="10082"/>
                      <a:pt x="7876" y="9609"/>
                      <a:pt x="8758" y="8759"/>
                    </a:cubicBezTo>
                    <a:lnTo>
                      <a:pt x="10491" y="7026"/>
                    </a:lnTo>
                    <a:lnTo>
                      <a:pt x="8191" y="4694"/>
                    </a:lnTo>
                    <a:lnTo>
                      <a:pt x="6396" y="6396"/>
                    </a:lnTo>
                    <a:cubicBezTo>
                      <a:pt x="6077" y="6715"/>
                      <a:pt x="5645" y="6880"/>
                      <a:pt x="5214" y="6880"/>
                    </a:cubicBezTo>
                    <a:cubicBezTo>
                      <a:pt x="4794" y="6880"/>
                      <a:pt x="4375" y="6722"/>
                      <a:pt x="4064" y="6396"/>
                    </a:cubicBezTo>
                    <a:cubicBezTo>
                      <a:pt x="3434" y="5766"/>
                      <a:pt x="3434" y="4694"/>
                      <a:pt x="4064" y="4064"/>
                    </a:cubicBezTo>
                    <a:lnTo>
                      <a:pt x="5797" y="2332"/>
                    </a:lnTo>
                    <a:lnTo>
                      <a:pt x="3497" y="0"/>
                    </a:lnTo>
                    <a:close/>
                  </a:path>
                </a:pathLst>
              </a:custGeom>
              <a:solidFill>
                <a:schemeClr val="l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000" b="0" i="0" u="none" strike="noStrike" kern="1200" cap="none" spc="0" normalizeH="0" baseline="0" noProof="0">
                  <a:ln>
                    <a:noFill/>
                  </a:ln>
                  <a:solidFill>
                    <a:srgbClr val="000000"/>
                  </a:solidFill>
                  <a:effectLst/>
                  <a:uLnTx/>
                  <a:uFillTx/>
                  <a:latin typeface="Arial"/>
                  <a:ea typeface="+mn-ea"/>
                  <a:cs typeface="+mn-ea"/>
                  <a:sym typeface="+mn-lt"/>
                </a:endParaRPr>
              </a:p>
            </p:txBody>
          </p:sp>
        </p:grpSp>
        <p:sp>
          <p:nvSpPr>
            <p:cNvPr id="57" name="Google Shape;447;p20">
              <a:extLst>
                <a:ext uri="{FF2B5EF4-FFF2-40B4-BE49-F238E27FC236}">
                  <a16:creationId xmlns:a16="http://schemas.microsoft.com/office/drawing/2014/main" id="{C06113D7-B485-4974-AE45-2B6D2701B83E}"/>
                </a:ext>
              </a:extLst>
            </p:cNvPr>
            <p:cNvSpPr/>
            <p:nvPr/>
          </p:nvSpPr>
          <p:spPr>
            <a:xfrm>
              <a:off x="3787013" y="2600188"/>
              <a:ext cx="44375" cy="44075"/>
            </a:xfrm>
            <a:custGeom>
              <a:avLst/>
              <a:gdLst/>
              <a:ahLst/>
              <a:cxnLst/>
              <a:rect l="l" t="t" r="r" b="b"/>
              <a:pathLst>
                <a:path w="1775" h="1763" extrusionOk="0">
                  <a:moveTo>
                    <a:pt x="882" y="1"/>
                  </a:moveTo>
                  <a:cubicBezTo>
                    <a:pt x="406" y="1"/>
                    <a:pt x="1" y="394"/>
                    <a:pt x="1" y="882"/>
                  </a:cubicBezTo>
                  <a:cubicBezTo>
                    <a:pt x="1" y="1370"/>
                    <a:pt x="406" y="1763"/>
                    <a:pt x="882" y="1763"/>
                  </a:cubicBezTo>
                  <a:cubicBezTo>
                    <a:pt x="1370" y="1763"/>
                    <a:pt x="1775" y="1370"/>
                    <a:pt x="1775" y="882"/>
                  </a:cubicBezTo>
                  <a:cubicBezTo>
                    <a:pt x="1775" y="394"/>
                    <a:pt x="1370" y="1"/>
                    <a:pt x="882" y="1"/>
                  </a:cubicBezTo>
                  <a:close/>
                </a:path>
              </a:pathLst>
            </a:custGeom>
            <a:solidFill>
              <a:schemeClr val="accent1">
                <a:lumMod val="100000"/>
              </a:schemeClr>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000"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58" name="Google Shape;448;p20">
              <a:extLst>
                <a:ext uri="{FF2B5EF4-FFF2-40B4-BE49-F238E27FC236}">
                  <a16:creationId xmlns:a16="http://schemas.microsoft.com/office/drawing/2014/main" id="{E01F4455-EF72-4AAA-BAAD-C4B28460105C}"/>
                </a:ext>
              </a:extLst>
            </p:cNvPr>
            <p:cNvSpPr/>
            <p:nvPr/>
          </p:nvSpPr>
          <p:spPr>
            <a:xfrm>
              <a:off x="3668713" y="2273075"/>
              <a:ext cx="44375" cy="44075"/>
            </a:xfrm>
            <a:custGeom>
              <a:avLst/>
              <a:gdLst/>
              <a:ahLst/>
              <a:cxnLst/>
              <a:rect l="l" t="t" r="r" b="b"/>
              <a:pathLst>
                <a:path w="1775" h="1763" extrusionOk="0">
                  <a:moveTo>
                    <a:pt x="894" y="0"/>
                  </a:moveTo>
                  <a:cubicBezTo>
                    <a:pt x="406" y="0"/>
                    <a:pt x="1" y="393"/>
                    <a:pt x="1" y="881"/>
                  </a:cubicBezTo>
                  <a:cubicBezTo>
                    <a:pt x="1" y="1370"/>
                    <a:pt x="406" y="1763"/>
                    <a:pt x="894" y="1763"/>
                  </a:cubicBezTo>
                  <a:cubicBezTo>
                    <a:pt x="1370" y="1763"/>
                    <a:pt x="1775" y="1370"/>
                    <a:pt x="1775" y="881"/>
                  </a:cubicBezTo>
                  <a:cubicBezTo>
                    <a:pt x="1775" y="393"/>
                    <a:pt x="1370" y="0"/>
                    <a:pt x="894" y="0"/>
                  </a:cubicBezTo>
                  <a:close/>
                </a:path>
              </a:pathLst>
            </a:custGeom>
            <a:solidFill>
              <a:schemeClr val="accent1">
                <a:lumMod val="100000"/>
              </a:schemeClr>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000"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59" name="Google Shape;449;p20">
              <a:extLst>
                <a:ext uri="{FF2B5EF4-FFF2-40B4-BE49-F238E27FC236}">
                  <a16:creationId xmlns:a16="http://schemas.microsoft.com/office/drawing/2014/main" id="{DE64B03A-C3B4-4DB2-89C8-C889620082F1}"/>
                </a:ext>
              </a:extLst>
            </p:cNvPr>
            <p:cNvSpPr txBox="1"/>
            <p:nvPr/>
          </p:nvSpPr>
          <p:spPr>
            <a:xfrm>
              <a:off x="2950013" y="2520697"/>
              <a:ext cx="759000" cy="205500"/>
            </a:xfrm>
            <a:prstGeom prst="rect">
              <a:avLst/>
            </a:prstGeom>
            <a:noFill/>
            <a:ln>
              <a:noFill/>
            </a:ln>
          </p:spPr>
          <p:txBody>
            <a:bodyPr spcFirstLastPara="1" wrap="square" lIns="121900" tIns="121900" rIns="121900" bIns="12190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 sz="1200" b="0" i="0" u="none" strike="noStrike" kern="1200" cap="none" spc="0" normalizeH="0" baseline="0" noProof="0">
                  <a:ln>
                    <a:noFill/>
                  </a:ln>
                  <a:solidFill>
                    <a:srgbClr val="434343"/>
                  </a:solidFill>
                  <a:effectLst/>
                  <a:uLnTx/>
                  <a:uFillTx/>
                  <a:latin typeface="Arial"/>
                  <a:ea typeface="+mn-ea"/>
                  <a:cs typeface="+mn-ea"/>
                  <a:sym typeface="+mn-lt"/>
                </a:rPr>
                <a:t>Saturn</a:t>
              </a:r>
              <a:endParaRPr kumimoji="0" sz="1200" b="0" i="0" u="none" strike="noStrike" kern="1200" cap="none" spc="0" normalizeH="0" baseline="0" noProof="0">
                <a:ln>
                  <a:noFill/>
                </a:ln>
                <a:solidFill>
                  <a:srgbClr val="434343"/>
                </a:solidFill>
                <a:effectLst/>
                <a:uLnTx/>
                <a:uFillTx/>
                <a:latin typeface="Arial"/>
                <a:ea typeface="+mn-ea"/>
                <a:cs typeface="+mn-ea"/>
                <a:sym typeface="+mn-lt"/>
              </a:endParaRPr>
            </a:p>
          </p:txBody>
        </p:sp>
        <p:sp>
          <p:nvSpPr>
            <p:cNvPr id="60" name="Google Shape;450;p20">
              <a:extLst>
                <a:ext uri="{FF2B5EF4-FFF2-40B4-BE49-F238E27FC236}">
                  <a16:creationId xmlns:a16="http://schemas.microsoft.com/office/drawing/2014/main" id="{BF957953-B2EE-43C4-908D-384484CD8ACA}"/>
                </a:ext>
              </a:extLst>
            </p:cNvPr>
            <p:cNvSpPr txBox="1"/>
            <p:nvPr/>
          </p:nvSpPr>
          <p:spPr>
            <a:xfrm>
              <a:off x="2831713" y="2192385"/>
              <a:ext cx="759000" cy="205500"/>
            </a:xfrm>
            <a:prstGeom prst="rect">
              <a:avLst/>
            </a:prstGeom>
            <a:noFill/>
            <a:ln>
              <a:noFill/>
            </a:ln>
          </p:spPr>
          <p:txBody>
            <a:bodyPr spcFirstLastPara="1" wrap="square" lIns="121900" tIns="121900" rIns="121900" bIns="12190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 sz="1200" b="0" i="0" u="none" strike="noStrike" kern="1200" cap="none" spc="0" normalizeH="0" baseline="0" noProof="0">
                  <a:ln>
                    <a:noFill/>
                  </a:ln>
                  <a:solidFill>
                    <a:srgbClr val="434343"/>
                  </a:solidFill>
                  <a:effectLst/>
                  <a:uLnTx/>
                  <a:uFillTx/>
                  <a:latin typeface="Arial"/>
                  <a:ea typeface="+mn-ea"/>
                  <a:cs typeface="+mn-ea"/>
                  <a:sym typeface="+mn-lt"/>
                </a:rPr>
                <a:t>Jupiter</a:t>
              </a:r>
              <a:endParaRPr kumimoji="0" sz="1200" b="0" i="0" u="none" strike="noStrike" kern="1200" cap="none" spc="0" normalizeH="0" baseline="0" noProof="0">
                <a:ln>
                  <a:noFill/>
                </a:ln>
                <a:solidFill>
                  <a:srgbClr val="434343"/>
                </a:solidFill>
                <a:effectLst/>
                <a:uLnTx/>
                <a:uFillTx/>
                <a:latin typeface="Arial"/>
                <a:ea typeface="+mn-ea"/>
                <a:cs typeface="+mn-ea"/>
                <a:sym typeface="+mn-lt"/>
              </a:endParaRPr>
            </a:p>
          </p:txBody>
        </p:sp>
        <p:sp>
          <p:nvSpPr>
            <p:cNvPr id="61" name="Google Shape;451;p20">
              <a:extLst>
                <a:ext uri="{FF2B5EF4-FFF2-40B4-BE49-F238E27FC236}">
                  <a16:creationId xmlns:a16="http://schemas.microsoft.com/office/drawing/2014/main" id="{8E3379FC-FFD2-40C2-A2FA-BD588C6CF5E5}"/>
                </a:ext>
              </a:extLst>
            </p:cNvPr>
            <p:cNvSpPr/>
            <p:nvPr/>
          </p:nvSpPr>
          <p:spPr>
            <a:xfrm rot="10800000" flipH="1">
              <a:off x="3789238" y="3323075"/>
              <a:ext cx="44375" cy="44075"/>
            </a:xfrm>
            <a:custGeom>
              <a:avLst/>
              <a:gdLst/>
              <a:ahLst/>
              <a:cxnLst/>
              <a:rect l="l" t="t" r="r" b="b"/>
              <a:pathLst>
                <a:path w="1775" h="1763" extrusionOk="0">
                  <a:moveTo>
                    <a:pt x="882" y="1"/>
                  </a:moveTo>
                  <a:cubicBezTo>
                    <a:pt x="406" y="1"/>
                    <a:pt x="1" y="394"/>
                    <a:pt x="1" y="882"/>
                  </a:cubicBezTo>
                  <a:cubicBezTo>
                    <a:pt x="1" y="1370"/>
                    <a:pt x="406" y="1763"/>
                    <a:pt x="882" y="1763"/>
                  </a:cubicBezTo>
                  <a:cubicBezTo>
                    <a:pt x="1370" y="1763"/>
                    <a:pt x="1775" y="1370"/>
                    <a:pt x="1775" y="882"/>
                  </a:cubicBezTo>
                  <a:cubicBezTo>
                    <a:pt x="1775" y="394"/>
                    <a:pt x="1370" y="1"/>
                    <a:pt x="882" y="1"/>
                  </a:cubicBezTo>
                  <a:close/>
                </a:path>
              </a:pathLst>
            </a:custGeom>
            <a:solidFill>
              <a:schemeClr val="accent1">
                <a:lumMod val="100000"/>
              </a:schemeClr>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000"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62" name="Google Shape;452;p20">
              <a:extLst>
                <a:ext uri="{FF2B5EF4-FFF2-40B4-BE49-F238E27FC236}">
                  <a16:creationId xmlns:a16="http://schemas.microsoft.com/office/drawing/2014/main" id="{8886FA1D-1076-48EE-861D-1376684E58AA}"/>
                </a:ext>
              </a:extLst>
            </p:cNvPr>
            <p:cNvSpPr/>
            <p:nvPr/>
          </p:nvSpPr>
          <p:spPr>
            <a:xfrm rot="10800000" flipH="1">
              <a:off x="3670938" y="3650188"/>
              <a:ext cx="44375" cy="44075"/>
            </a:xfrm>
            <a:custGeom>
              <a:avLst/>
              <a:gdLst/>
              <a:ahLst/>
              <a:cxnLst/>
              <a:rect l="l" t="t" r="r" b="b"/>
              <a:pathLst>
                <a:path w="1775" h="1763" extrusionOk="0">
                  <a:moveTo>
                    <a:pt x="894" y="0"/>
                  </a:moveTo>
                  <a:cubicBezTo>
                    <a:pt x="406" y="0"/>
                    <a:pt x="1" y="393"/>
                    <a:pt x="1" y="881"/>
                  </a:cubicBezTo>
                  <a:cubicBezTo>
                    <a:pt x="1" y="1370"/>
                    <a:pt x="406" y="1763"/>
                    <a:pt x="894" y="1763"/>
                  </a:cubicBezTo>
                  <a:cubicBezTo>
                    <a:pt x="1370" y="1763"/>
                    <a:pt x="1775" y="1370"/>
                    <a:pt x="1775" y="881"/>
                  </a:cubicBezTo>
                  <a:cubicBezTo>
                    <a:pt x="1775" y="393"/>
                    <a:pt x="1370" y="0"/>
                    <a:pt x="894" y="0"/>
                  </a:cubicBezTo>
                  <a:close/>
                </a:path>
              </a:pathLst>
            </a:custGeom>
            <a:solidFill>
              <a:schemeClr val="accent1">
                <a:lumMod val="100000"/>
              </a:schemeClr>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000"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63" name="Google Shape;453;p20">
              <a:extLst>
                <a:ext uri="{FF2B5EF4-FFF2-40B4-BE49-F238E27FC236}">
                  <a16:creationId xmlns:a16="http://schemas.microsoft.com/office/drawing/2014/main" id="{9BE20705-B781-4DF6-BB4E-95675DE1D465}"/>
                </a:ext>
              </a:extLst>
            </p:cNvPr>
            <p:cNvSpPr txBox="1"/>
            <p:nvPr/>
          </p:nvSpPr>
          <p:spPr>
            <a:xfrm>
              <a:off x="2953363" y="3242360"/>
              <a:ext cx="759000" cy="205500"/>
            </a:xfrm>
            <a:prstGeom prst="rect">
              <a:avLst/>
            </a:prstGeom>
            <a:noFill/>
            <a:ln>
              <a:noFill/>
            </a:ln>
          </p:spPr>
          <p:txBody>
            <a:bodyPr spcFirstLastPara="1" wrap="square" lIns="121900" tIns="121900" rIns="121900" bIns="12190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 sz="1200" b="0" i="0" u="none" strike="noStrike" kern="1200" cap="none" spc="0" normalizeH="0" baseline="0" noProof="0">
                  <a:ln>
                    <a:noFill/>
                  </a:ln>
                  <a:solidFill>
                    <a:srgbClr val="434343"/>
                  </a:solidFill>
                  <a:effectLst/>
                  <a:uLnTx/>
                  <a:uFillTx/>
                  <a:latin typeface="Arial"/>
                  <a:ea typeface="+mn-ea"/>
                  <a:cs typeface="+mn-ea"/>
                  <a:sym typeface="+mn-lt"/>
                </a:rPr>
                <a:t>Sun</a:t>
              </a:r>
              <a:endParaRPr kumimoji="0" sz="1200" b="0" i="0" u="none" strike="noStrike" kern="1200" cap="none" spc="0" normalizeH="0" baseline="0" noProof="0">
                <a:ln>
                  <a:noFill/>
                </a:ln>
                <a:solidFill>
                  <a:srgbClr val="434343"/>
                </a:solidFill>
                <a:effectLst/>
                <a:uLnTx/>
                <a:uFillTx/>
                <a:latin typeface="Arial"/>
                <a:ea typeface="+mn-ea"/>
                <a:cs typeface="+mn-ea"/>
                <a:sym typeface="+mn-lt"/>
              </a:endParaRPr>
            </a:p>
          </p:txBody>
        </p:sp>
        <p:sp>
          <p:nvSpPr>
            <p:cNvPr id="64" name="Google Shape;454;p20">
              <a:extLst>
                <a:ext uri="{FF2B5EF4-FFF2-40B4-BE49-F238E27FC236}">
                  <a16:creationId xmlns:a16="http://schemas.microsoft.com/office/drawing/2014/main" id="{3B12A583-A64B-4C1A-97B5-EDB2CEF997D3}"/>
                </a:ext>
              </a:extLst>
            </p:cNvPr>
            <p:cNvSpPr txBox="1"/>
            <p:nvPr/>
          </p:nvSpPr>
          <p:spPr>
            <a:xfrm>
              <a:off x="2835063" y="3572410"/>
              <a:ext cx="759000" cy="205500"/>
            </a:xfrm>
            <a:prstGeom prst="rect">
              <a:avLst/>
            </a:prstGeom>
            <a:noFill/>
            <a:ln>
              <a:noFill/>
            </a:ln>
          </p:spPr>
          <p:txBody>
            <a:bodyPr spcFirstLastPara="1" wrap="square" lIns="121900" tIns="121900" rIns="121900" bIns="12190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 sz="1200" b="0" i="0" u="none" strike="noStrike" kern="1200" cap="none" spc="0" normalizeH="0" baseline="0" noProof="0">
                  <a:ln>
                    <a:noFill/>
                  </a:ln>
                  <a:solidFill>
                    <a:srgbClr val="434343"/>
                  </a:solidFill>
                  <a:effectLst/>
                  <a:uLnTx/>
                  <a:uFillTx/>
                  <a:latin typeface="Arial"/>
                  <a:ea typeface="+mn-ea"/>
                  <a:cs typeface="+mn-ea"/>
                  <a:sym typeface="+mn-lt"/>
                </a:rPr>
                <a:t>Neptune</a:t>
              </a:r>
              <a:endParaRPr kumimoji="0" sz="1200" b="0" i="0" u="none" strike="noStrike" kern="1200" cap="none" spc="0" normalizeH="0" baseline="0" noProof="0">
                <a:ln>
                  <a:noFill/>
                </a:ln>
                <a:solidFill>
                  <a:srgbClr val="434343"/>
                </a:solidFill>
                <a:effectLst/>
                <a:uLnTx/>
                <a:uFillTx/>
                <a:latin typeface="Arial"/>
                <a:ea typeface="+mn-ea"/>
                <a:cs typeface="+mn-ea"/>
                <a:sym typeface="+mn-lt"/>
              </a:endParaRPr>
            </a:p>
          </p:txBody>
        </p:sp>
      </p:grpSp>
      <p:grpSp>
        <p:nvGrpSpPr>
          <p:cNvPr id="68" name="Google Shape;455;p20">
            <a:extLst>
              <a:ext uri="{FF2B5EF4-FFF2-40B4-BE49-F238E27FC236}">
                <a16:creationId xmlns:a16="http://schemas.microsoft.com/office/drawing/2014/main" id="{45C30967-B13F-447A-A2C4-962B1F7A1A11}"/>
              </a:ext>
            </a:extLst>
          </p:cNvPr>
          <p:cNvGrpSpPr/>
          <p:nvPr/>
        </p:nvGrpSpPr>
        <p:grpSpPr>
          <a:xfrm>
            <a:off x="1720231" y="2144007"/>
            <a:ext cx="1764305" cy="2427251"/>
            <a:chOff x="1391025" y="1936363"/>
            <a:chExt cx="1323229" cy="1820438"/>
          </a:xfrm>
        </p:grpSpPr>
        <p:cxnSp>
          <p:nvCxnSpPr>
            <p:cNvPr id="69" name="Google Shape;456;p20">
              <a:extLst>
                <a:ext uri="{FF2B5EF4-FFF2-40B4-BE49-F238E27FC236}">
                  <a16:creationId xmlns:a16="http://schemas.microsoft.com/office/drawing/2014/main" id="{130675CF-F091-4E2C-8887-4A34AEF4818B}"/>
                </a:ext>
              </a:extLst>
            </p:cNvPr>
            <p:cNvCxnSpPr/>
            <p:nvPr/>
          </p:nvCxnSpPr>
          <p:spPr>
            <a:xfrm rot="10800000">
              <a:off x="2283475" y="2213075"/>
              <a:ext cx="273000" cy="770700"/>
            </a:xfrm>
            <a:prstGeom prst="straightConnector1">
              <a:avLst/>
            </a:prstGeom>
            <a:noFill/>
            <a:ln w="19050" cap="flat" cmpd="sng">
              <a:solidFill>
                <a:schemeClr val="dk2"/>
              </a:solidFill>
              <a:prstDash val="solid"/>
              <a:round/>
              <a:headEnd type="none" w="med" len="med"/>
              <a:tailEnd type="none" w="med" len="med"/>
            </a:ln>
          </p:spPr>
        </p:cxnSp>
        <p:cxnSp>
          <p:nvCxnSpPr>
            <p:cNvPr id="70" name="Google Shape;457;p20">
              <a:extLst>
                <a:ext uri="{FF2B5EF4-FFF2-40B4-BE49-F238E27FC236}">
                  <a16:creationId xmlns:a16="http://schemas.microsoft.com/office/drawing/2014/main" id="{06E10A34-4949-47DB-9358-99BF9E8C6988}"/>
                </a:ext>
              </a:extLst>
            </p:cNvPr>
            <p:cNvCxnSpPr/>
            <p:nvPr/>
          </p:nvCxnSpPr>
          <p:spPr>
            <a:xfrm flipH="1">
              <a:off x="2278700" y="2981300"/>
              <a:ext cx="279000" cy="775500"/>
            </a:xfrm>
            <a:prstGeom prst="straightConnector1">
              <a:avLst/>
            </a:prstGeom>
            <a:noFill/>
            <a:ln w="19050" cap="flat" cmpd="sng">
              <a:solidFill>
                <a:schemeClr val="dk2"/>
              </a:solidFill>
              <a:prstDash val="solid"/>
              <a:round/>
              <a:headEnd type="none" w="med" len="med"/>
              <a:tailEnd type="none" w="med" len="med"/>
            </a:ln>
          </p:spPr>
        </p:cxnSp>
        <p:sp>
          <p:nvSpPr>
            <p:cNvPr id="71" name="Google Shape;458;p20">
              <a:extLst>
                <a:ext uri="{FF2B5EF4-FFF2-40B4-BE49-F238E27FC236}">
                  <a16:creationId xmlns:a16="http://schemas.microsoft.com/office/drawing/2014/main" id="{55ADA139-CB00-42D8-A8E5-6ED7155B5D9E}"/>
                </a:ext>
              </a:extLst>
            </p:cNvPr>
            <p:cNvSpPr/>
            <p:nvPr/>
          </p:nvSpPr>
          <p:spPr>
            <a:xfrm>
              <a:off x="1391025" y="1936363"/>
              <a:ext cx="803700" cy="278925"/>
            </a:xfrm>
            <a:custGeom>
              <a:avLst/>
              <a:gdLst/>
              <a:ahLst/>
              <a:cxnLst/>
              <a:rect l="l" t="t" r="r" b="b"/>
              <a:pathLst>
                <a:path w="32148" h="11157" extrusionOk="0">
                  <a:moveTo>
                    <a:pt x="5549" y="1"/>
                  </a:moveTo>
                  <a:cubicBezTo>
                    <a:pt x="2489" y="1"/>
                    <a:pt x="1" y="2489"/>
                    <a:pt x="1" y="5549"/>
                  </a:cubicBezTo>
                  <a:lnTo>
                    <a:pt x="1" y="5609"/>
                  </a:lnTo>
                  <a:cubicBezTo>
                    <a:pt x="1" y="8680"/>
                    <a:pt x="2489" y="11157"/>
                    <a:pt x="5549" y="11157"/>
                  </a:cubicBezTo>
                  <a:lnTo>
                    <a:pt x="26599" y="11157"/>
                  </a:lnTo>
                  <a:cubicBezTo>
                    <a:pt x="29659" y="11157"/>
                    <a:pt x="32148" y="8680"/>
                    <a:pt x="32148" y="5609"/>
                  </a:cubicBezTo>
                  <a:lnTo>
                    <a:pt x="32148" y="5549"/>
                  </a:lnTo>
                  <a:cubicBezTo>
                    <a:pt x="32148" y="2489"/>
                    <a:pt x="29659" y="1"/>
                    <a:pt x="26599" y="1"/>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2000" b="0" i="0" u="none" strike="noStrike" kern="1200" cap="none" spc="0" normalizeH="0" baseline="0" noProof="0">
                  <a:ln>
                    <a:noFill/>
                  </a:ln>
                  <a:solidFill>
                    <a:srgbClr val="FFFFFF"/>
                  </a:solidFill>
                  <a:effectLst/>
                  <a:uLnTx/>
                  <a:uFillTx/>
                  <a:latin typeface="Arial"/>
                  <a:ea typeface="+mn-ea"/>
                  <a:cs typeface="+mn-ea"/>
                  <a:sym typeface="+mn-lt"/>
                </a:rPr>
                <a:t>Task 1</a:t>
              </a:r>
              <a:endParaRPr kumimoji="0" sz="2000" b="0" i="0" u="none" strike="noStrike" kern="1200" cap="none" spc="0" normalizeH="0" baseline="0" noProof="0">
                <a:ln>
                  <a:noFill/>
                </a:ln>
                <a:solidFill>
                  <a:srgbClr val="FFFFFF"/>
                </a:solidFill>
                <a:effectLst/>
                <a:uLnTx/>
                <a:uFillTx/>
                <a:latin typeface="Arial"/>
                <a:ea typeface="+mn-ea"/>
                <a:cs typeface="+mn-ea"/>
                <a:sym typeface="+mn-lt"/>
              </a:endParaRPr>
            </a:p>
          </p:txBody>
        </p:sp>
        <p:sp>
          <p:nvSpPr>
            <p:cNvPr id="72" name="Google Shape;459;p20">
              <a:extLst>
                <a:ext uri="{FF2B5EF4-FFF2-40B4-BE49-F238E27FC236}">
                  <a16:creationId xmlns:a16="http://schemas.microsoft.com/office/drawing/2014/main" id="{E34D82DD-2B05-4EB2-9339-FE5E6301C5A1}"/>
                </a:ext>
              </a:extLst>
            </p:cNvPr>
            <p:cNvSpPr/>
            <p:nvPr/>
          </p:nvSpPr>
          <p:spPr>
            <a:xfrm>
              <a:off x="1467225" y="2843900"/>
              <a:ext cx="803700" cy="278925"/>
            </a:xfrm>
            <a:custGeom>
              <a:avLst/>
              <a:gdLst/>
              <a:ahLst/>
              <a:cxnLst/>
              <a:rect l="l" t="t" r="r" b="b"/>
              <a:pathLst>
                <a:path w="32148" h="11157" extrusionOk="0">
                  <a:moveTo>
                    <a:pt x="5549" y="1"/>
                  </a:moveTo>
                  <a:cubicBezTo>
                    <a:pt x="2489" y="1"/>
                    <a:pt x="1" y="2489"/>
                    <a:pt x="1" y="5549"/>
                  </a:cubicBezTo>
                  <a:lnTo>
                    <a:pt x="1" y="5609"/>
                  </a:lnTo>
                  <a:cubicBezTo>
                    <a:pt x="1" y="8680"/>
                    <a:pt x="2489" y="11157"/>
                    <a:pt x="5549" y="11157"/>
                  </a:cubicBezTo>
                  <a:lnTo>
                    <a:pt x="26599" y="11157"/>
                  </a:lnTo>
                  <a:cubicBezTo>
                    <a:pt x="29659" y="11157"/>
                    <a:pt x="32148" y="8680"/>
                    <a:pt x="32148" y="5609"/>
                  </a:cubicBezTo>
                  <a:lnTo>
                    <a:pt x="32148" y="5549"/>
                  </a:lnTo>
                  <a:cubicBezTo>
                    <a:pt x="32148" y="2489"/>
                    <a:pt x="29659" y="1"/>
                    <a:pt x="26599" y="1"/>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2000" b="0" i="0" u="none" strike="noStrike" kern="1200" cap="none" spc="0" normalizeH="0" baseline="0" noProof="0">
                  <a:ln>
                    <a:noFill/>
                  </a:ln>
                  <a:solidFill>
                    <a:srgbClr val="FFFFFF"/>
                  </a:solidFill>
                  <a:effectLst/>
                  <a:uLnTx/>
                  <a:uFillTx/>
                  <a:latin typeface="Arial"/>
                  <a:ea typeface="+mn-ea"/>
                  <a:cs typeface="+mn-ea"/>
                  <a:sym typeface="+mn-lt"/>
                </a:rPr>
                <a:t>2020</a:t>
              </a:r>
              <a:endParaRPr kumimoji="0" sz="2000" b="0" i="0" u="none" strike="noStrike" kern="1200" cap="none" spc="0" normalizeH="0" baseline="0" noProof="0">
                <a:ln>
                  <a:noFill/>
                </a:ln>
                <a:solidFill>
                  <a:srgbClr val="FFFFFF"/>
                </a:solidFill>
                <a:effectLst/>
                <a:uLnTx/>
                <a:uFillTx/>
                <a:latin typeface="Arial"/>
                <a:ea typeface="+mn-ea"/>
                <a:cs typeface="+mn-ea"/>
                <a:sym typeface="+mn-lt"/>
              </a:endParaRPr>
            </a:p>
          </p:txBody>
        </p:sp>
        <p:sp>
          <p:nvSpPr>
            <p:cNvPr id="73" name="Google Shape;460;p20">
              <a:extLst>
                <a:ext uri="{FF2B5EF4-FFF2-40B4-BE49-F238E27FC236}">
                  <a16:creationId xmlns:a16="http://schemas.microsoft.com/office/drawing/2014/main" id="{622AB2A7-19B1-4DBD-AC4F-F394FAB06CBD}"/>
                </a:ext>
              </a:extLst>
            </p:cNvPr>
            <p:cNvSpPr/>
            <p:nvPr/>
          </p:nvSpPr>
          <p:spPr>
            <a:xfrm>
              <a:off x="2339675" y="2797425"/>
              <a:ext cx="374579" cy="374579"/>
            </a:xfrm>
            <a:custGeom>
              <a:avLst/>
              <a:gdLst/>
              <a:ahLst/>
              <a:cxnLst/>
              <a:rect l="l" t="t" r="r" b="b"/>
              <a:pathLst>
                <a:path w="11097" h="11097" extrusionOk="0">
                  <a:moveTo>
                    <a:pt x="5548" y="0"/>
                  </a:moveTo>
                  <a:cubicBezTo>
                    <a:pt x="2489" y="0"/>
                    <a:pt x="0" y="2489"/>
                    <a:pt x="0" y="5548"/>
                  </a:cubicBezTo>
                  <a:cubicBezTo>
                    <a:pt x="0" y="8608"/>
                    <a:pt x="2489" y="11097"/>
                    <a:pt x="5548" y="11097"/>
                  </a:cubicBezTo>
                  <a:cubicBezTo>
                    <a:pt x="8608" y="11097"/>
                    <a:pt x="11097" y="8608"/>
                    <a:pt x="11097" y="5548"/>
                  </a:cubicBezTo>
                  <a:cubicBezTo>
                    <a:pt x="11097" y="2489"/>
                    <a:pt x="8608" y="0"/>
                    <a:pt x="5548" y="0"/>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000" b="0" i="0" u="none" strike="noStrike" kern="1200" cap="none" spc="0" normalizeH="0" baseline="0" noProof="0">
                <a:ln>
                  <a:noFill/>
                </a:ln>
                <a:solidFill>
                  <a:srgbClr val="000000"/>
                </a:solidFill>
                <a:effectLst/>
                <a:uLnTx/>
                <a:uFillTx/>
                <a:latin typeface="Arial"/>
                <a:ea typeface="+mn-ea"/>
                <a:cs typeface="+mn-ea"/>
                <a:sym typeface="+mn-lt"/>
              </a:endParaRPr>
            </a:p>
          </p:txBody>
        </p:sp>
        <p:grpSp>
          <p:nvGrpSpPr>
            <p:cNvPr id="74" name="Google Shape;461;p20">
              <a:extLst>
                <a:ext uri="{FF2B5EF4-FFF2-40B4-BE49-F238E27FC236}">
                  <a16:creationId xmlns:a16="http://schemas.microsoft.com/office/drawing/2014/main" id="{257002B1-483E-403F-BA54-0614A0CEE761}"/>
                </a:ext>
              </a:extLst>
            </p:cNvPr>
            <p:cNvGrpSpPr/>
            <p:nvPr/>
          </p:nvGrpSpPr>
          <p:grpSpPr>
            <a:xfrm>
              <a:off x="2438877" y="2862930"/>
              <a:ext cx="176181" cy="243584"/>
              <a:chOff x="-38129425" y="3222550"/>
              <a:chExt cx="228450" cy="315850"/>
            </a:xfrm>
          </p:grpSpPr>
          <p:sp>
            <p:nvSpPr>
              <p:cNvPr id="79" name="Google Shape;462;p20">
                <a:extLst>
                  <a:ext uri="{FF2B5EF4-FFF2-40B4-BE49-F238E27FC236}">
                    <a16:creationId xmlns:a16="http://schemas.microsoft.com/office/drawing/2014/main" id="{14E2AB0C-325E-4400-AD38-48C82948FCA3}"/>
                  </a:ext>
                </a:extLst>
              </p:cNvPr>
              <p:cNvSpPr/>
              <p:nvPr/>
            </p:nvSpPr>
            <p:spPr>
              <a:xfrm>
                <a:off x="-38129425" y="3222550"/>
                <a:ext cx="228450" cy="227650"/>
              </a:xfrm>
              <a:custGeom>
                <a:avLst/>
                <a:gdLst/>
                <a:ahLst/>
                <a:cxnLst/>
                <a:rect l="l" t="t" r="r" b="b"/>
                <a:pathLst>
                  <a:path w="9138" h="9106" extrusionOk="0">
                    <a:moveTo>
                      <a:pt x="4097" y="1292"/>
                    </a:moveTo>
                    <a:cubicBezTo>
                      <a:pt x="4349" y="1292"/>
                      <a:pt x="4538" y="1450"/>
                      <a:pt x="4538" y="1702"/>
                    </a:cubicBezTo>
                    <a:cubicBezTo>
                      <a:pt x="4538" y="1922"/>
                      <a:pt x="4349" y="2111"/>
                      <a:pt x="4160" y="2111"/>
                    </a:cubicBezTo>
                    <a:cubicBezTo>
                      <a:pt x="2994" y="2111"/>
                      <a:pt x="2112" y="3056"/>
                      <a:pt x="2049" y="4222"/>
                    </a:cubicBezTo>
                    <a:cubicBezTo>
                      <a:pt x="2049" y="4443"/>
                      <a:pt x="1860" y="4600"/>
                      <a:pt x="1639" y="4600"/>
                    </a:cubicBezTo>
                    <a:cubicBezTo>
                      <a:pt x="1387" y="4600"/>
                      <a:pt x="1198" y="4411"/>
                      <a:pt x="1198" y="4222"/>
                    </a:cubicBezTo>
                    <a:cubicBezTo>
                      <a:pt x="1198" y="2584"/>
                      <a:pt x="2490" y="1324"/>
                      <a:pt x="4097" y="1292"/>
                    </a:cubicBezTo>
                    <a:close/>
                    <a:moveTo>
                      <a:pt x="4569" y="0"/>
                    </a:moveTo>
                    <a:cubicBezTo>
                      <a:pt x="2049" y="0"/>
                      <a:pt x="1" y="2048"/>
                      <a:pt x="1" y="4569"/>
                    </a:cubicBezTo>
                    <a:cubicBezTo>
                      <a:pt x="1" y="6207"/>
                      <a:pt x="946" y="7688"/>
                      <a:pt x="2332" y="8475"/>
                    </a:cubicBezTo>
                    <a:cubicBezTo>
                      <a:pt x="2458" y="8507"/>
                      <a:pt x="2521" y="8664"/>
                      <a:pt x="2521" y="8822"/>
                    </a:cubicBezTo>
                    <a:lnTo>
                      <a:pt x="2521" y="9105"/>
                    </a:lnTo>
                    <a:lnTo>
                      <a:pt x="6680" y="9105"/>
                    </a:lnTo>
                    <a:lnTo>
                      <a:pt x="6680" y="8822"/>
                    </a:lnTo>
                    <a:cubicBezTo>
                      <a:pt x="6680" y="8696"/>
                      <a:pt x="6743" y="8570"/>
                      <a:pt x="6900" y="8507"/>
                    </a:cubicBezTo>
                    <a:cubicBezTo>
                      <a:pt x="8255" y="7719"/>
                      <a:pt x="9137" y="6270"/>
                      <a:pt x="9137" y="4569"/>
                    </a:cubicBezTo>
                    <a:cubicBezTo>
                      <a:pt x="9137" y="2048"/>
                      <a:pt x="7089" y="32"/>
                      <a:pt x="4569" y="0"/>
                    </a:cubicBezTo>
                    <a:close/>
                  </a:path>
                </a:pathLst>
              </a:custGeom>
              <a:solidFill>
                <a:schemeClr val="l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000"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80" name="Google Shape;463;p20">
                <a:extLst>
                  <a:ext uri="{FF2B5EF4-FFF2-40B4-BE49-F238E27FC236}">
                    <a16:creationId xmlns:a16="http://schemas.microsoft.com/office/drawing/2014/main" id="{25529407-E7A2-4972-8B2D-2284E13E4E23}"/>
                  </a:ext>
                </a:extLst>
              </p:cNvPr>
              <p:cNvSpPr/>
              <p:nvPr/>
            </p:nvSpPr>
            <p:spPr>
              <a:xfrm>
                <a:off x="-38067200" y="3470650"/>
                <a:ext cx="103200" cy="67750"/>
              </a:xfrm>
              <a:custGeom>
                <a:avLst/>
                <a:gdLst/>
                <a:ahLst/>
                <a:cxnLst/>
                <a:rect l="l" t="t" r="r" b="b"/>
                <a:pathLst>
                  <a:path w="4128" h="2710" extrusionOk="0">
                    <a:moveTo>
                      <a:pt x="1" y="0"/>
                    </a:moveTo>
                    <a:lnTo>
                      <a:pt x="1" y="662"/>
                    </a:lnTo>
                    <a:cubicBezTo>
                      <a:pt x="1" y="1198"/>
                      <a:pt x="410" y="1702"/>
                      <a:pt x="883" y="1859"/>
                    </a:cubicBezTo>
                    <a:cubicBezTo>
                      <a:pt x="1040" y="2363"/>
                      <a:pt x="1513" y="2710"/>
                      <a:pt x="2049" y="2710"/>
                    </a:cubicBezTo>
                    <a:cubicBezTo>
                      <a:pt x="2647" y="2710"/>
                      <a:pt x="3120" y="2363"/>
                      <a:pt x="3277" y="1859"/>
                    </a:cubicBezTo>
                    <a:cubicBezTo>
                      <a:pt x="3781" y="1702"/>
                      <a:pt x="4128" y="1198"/>
                      <a:pt x="4128" y="662"/>
                    </a:cubicBezTo>
                    <a:lnTo>
                      <a:pt x="4128" y="0"/>
                    </a:lnTo>
                    <a:close/>
                  </a:path>
                </a:pathLst>
              </a:custGeom>
              <a:solidFill>
                <a:schemeClr val="l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000" b="0" i="0" u="none" strike="noStrike" kern="1200" cap="none" spc="0" normalizeH="0" baseline="0" noProof="0">
                  <a:ln>
                    <a:noFill/>
                  </a:ln>
                  <a:solidFill>
                    <a:srgbClr val="000000"/>
                  </a:solidFill>
                  <a:effectLst/>
                  <a:uLnTx/>
                  <a:uFillTx/>
                  <a:latin typeface="Arial"/>
                  <a:ea typeface="+mn-ea"/>
                  <a:cs typeface="+mn-ea"/>
                  <a:sym typeface="+mn-lt"/>
                </a:endParaRPr>
              </a:p>
            </p:txBody>
          </p:sp>
        </p:grpSp>
        <p:sp>
          <p:nvSpPr>
            <p:cNvPr id="75" name="Google Shape;464;p20">
              <a:extLst>
                <a:ext uri="{FF2B5EF4-FFF2-40B4-BE49-F238E27FC236}">
                  <a16:creationId xmlns:a16="http://schemas.microsoft.com/office/drawing/2014/main" id="{776C3C5F-C441-4FD5-BBAA-DB5187713532}"/>
                </a:ext>
              </a:extLst>
            </p:cNvPr>
            <p:cNvSpPr/>
            <p:nvPr/>
          </p:nvSpPr>
          <p:spPr>
            <a:xfrm>
              <a:off x="2292888" y="2600188"/>
              <a:ext cx="44375" cy="44075"/>
            </a:xfrm>
            <a:custGeom>
              <a:avLst/>
              <a:gdLst/>
              <a:ahLst/>
              <a:cxnLst/>
              <a:rect l="l" t="t" r="r" b="b"/>
              <a:pathLst>
                <a:path w="1775" h="1763" extrusionOk="0">
                  <a:moveTo>
                    <a:pt x="882" y="1"/>
                  </a:moveTo>
                  <a:cubicBezTo>
                    <a:pt x="406" y="1"/>
                    <a:pt x="1" y="394"/>
                    <a:pt x="1" y="882"/>
                  </a:cubicBezTo>
                  <a:cubicBezTo>
                    <a:pt x="1" y="1370"/>
                    <a:pt x="406" y="1763"/>
                    <a:pt x="882" y="1763"/>
                  </a:cubicBezTo>
                  <a:cubicBezTo>
                    <a:pt x="1370" y="1763"/>
                    <a:pt x="1775" y="1370"/>
                    <a:pt x="1775" y="882"/>
                  </a:cubicBezTo>
                  <a:cubicBezTo>
                    <a:pt x="1775" y="394"/>
                    <a:pt x="1370" y="1"/>
                    <a:pt x="882" y="1"/>
                  </a:cubicBezTo>
                  <a:close/>
                </a:path>
              </a:pathLst>
            </a:custGeom>
            <a:solidFill>
              <a:schemeClr val="accent1">
                <a:lumMod val="100000"/>
              </a:schemeClr>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000"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76" name="Google Shape;465;p20">
              <a:extLst>
                <a:ext uri="{FF2B5EF4-FFF2-40B4-BE49-F238E27FC236}">
                  <a16:creationId xmlns:a16="http://schemas.microsoft.com/office/drawing/2014/main" id="{EF74B66D-96D6-402A-A68A-2E485D632007}"/>
                </a:ext>
              </a:extLst>
            </p:cNvPr>
            <p:cNvSpPr txBox="1"/>
            <p:nvPr/>
          </p:nvSpPr>
          <p:spPr>
            <a:xfrm>
              <a:off x="1455888" y="2520697"/>
              <a:ext cx="759000" cy="205500"/>
            </a:xfrm>
            <a:prstGeom prst="rect">
              <a:avLst/>
            </a:prstGeom>
            <a:noFill/>
            <a:ln>
              <a:noFill/>
            </a:ln>
          </p:spPr>
          <p:txBody>
            <a:bodyPr spcFirstLastPara="1" wrap="square" lIns="121900" tIns="121900" rIns="121900" bIns="12190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 sz="1200" b="0" i="0" u="none" strike="noStrike" kern="1200" cap="none" spc="0" normalizeH="0" baseline="0" noProof="0">
                  <a:ln>
                    <a:noFill/>
                  </a:ln>
                  <a:solidFill>
                    <a:srgbClr val="434343"/>
                  </a:solidFill>
                  <a:effectLst/>
                  <a:uLnTx/>
                  <a:uFillTx/>
                  <a:latin typeface="Arial"/>
                  <a:ea typeface="+mn-ea"/>
                  <a:cs typeface="+mn-ea"/>
                  <a:sym typeface="+mn-lt"/>
                </a:rPr>
                <a:t>Pluto</a:t>
              </a:r>
              <a:endParaRPr kumimoji="0" sz="1200" b="0" i="0" u="none" strike="noStrike" kern="1200" cap="none" spc="0" normalizeH="0" baseline="0" noProof="0">
                <a:ln>
                  <a:noFill/>
                </a:ln>
                <a:solidFill>
                  <a:srgbClr val="434343"/>
                </a:solidFill>
                <a:effectLst/>
                <a:uLnTx/>
                <a:uFillTx/>
                <a:latin typeface="Arial"/>
                <a:ea typeface="+mn-ea"/>
                <a:cs typeface="+mn-ea"/>
                <a:sym typeface="+mn-lt"/>
              </a:endParaRPr>
            </a:p>
          </p:txBody>
        </p:sp>
        <p:sp>
          <p:nvSpPr>
            <p:cNvPr id="77" name="Google Shape;466;p20">
              <a:extLst>
                <a:ext uri="{FF2B5EF4-FFF2-40B4-BE49-F238E27FC236}">
                  <a16:creationId xmlns:a16="http://schemas.microsoft.com/office/drawing/2014/main" id="{0B9C2566-AB81-458F-BF45-919EB6519389}"/>
                </a:ext>
              </a:extLst>
            </p:cNvPr>
            <p:cNvSpPr/>
            <p:nvPr/>
          </p:nvSpPr>
          <p:spPr>
            <a:xfrm rot="10800000" flipH="1">
              <a:off x="2295113" y="3323075"/>
              <a:ext cx="44375" cy="44075"/>
            </a:xfrm>
            <a:custGeom>
              <a:avLst/>
              <a:gdLst/>
              <a:ahLst/>
              <a:cxnLst/>
              <a:rect l="l" t="t" r="r" b="b"/>
              <a:pathLst>
                <a:path w="1775" h="1763" extrusionOk="0">
                  <a:moveTo>
                    <a:pt x="882" y="1"/>
                  </a:moveTo>
                  <a:cubicBezTo>
                    <a:pt x="406" y="1"/>
                    <a:pt x="1" y="394"/>
                    <a:pt x="1" y="882"/>
                  </a:cubicBezTo>
                  <a:cubicBezTo>
                    <a:pt x="1" y="1370"/>
                    <a:pt x="406" y="1763"/>
                    <a:pt x="882" y="1763"/>
                  </a:cubicBezTo>
                  <a:cubicBezTo>
                    <a:pt x="1370" y="1763"/>
                    <a:pt x="1775" y="1370"/>
                    <a:pt x="1775" y="882"/>
                  </a:cubicBezTo>
                  <a:cubicBezTo>
                    <a:pt x="1775" y="394"/>
                    <a:pt x="1370" y="1"/>
                    <a:pt x="882" y="1"/>
                  </a:cubicBezTo>
                  <a:close/>
                </a:path>
              </a:pathLst>
            </a:custGeom>
            <a:solidFill>
              <a:schemeClr val="accent1">
                <a:lumMod val="100000"/>
              </a:schemeClr>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000"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78" name="Google Shape;467;p20">
              <a:extLst>
                <a:ext uri="{FF2B5EF4-FFF2-40B4-BE49-F238E27FC236}">
                  <a16:creationId xmlns:a16="http://schemas.microsoft.com/office/drawing/2014/main" id="{54718713-718F-411C-AE18-63C94C36A066}"/>
                </a:ext>
              </a:extLst>
            </p:cNvPr>
            <p:cNvSpPr txBox="1"/>
            <p:nvPr/>
          </p:nvSpPr>
          <p:spPr>
            <a:xfrm>
              <a:off x="1459913" y="3242360"/>
              <a:ext cx="759000" cy="205500"/>
            </a:xfrm>
            <a:prstGeom prst="rect">
              <a:avLst/>
            </a:prstGeom>
            <a:noFill/>
            <a:ln>
              <a:noFill/>
            </a:ln>
          </p:spPr>
          <p:txBody>
            <a:bodyPr spcFirstLastPara="1" wrap="square" lIns="121900" tIns="121900" rIns="121900" bIns="12190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 sz="1200" b="0" i="0" u="none" strike="noStrike" kern="1200" cap="none" spc="0" normalizeH="0" baseline="0" noProof="0">
                  <a:ln>
                    <a:noFill/>
                  </a:ln>
                  <a:solidFill>
                    <a:srgbClr val="434343"/>
                  </a:solidFill>
                  <a:effectLst/>
                  <a:uLnTx/>
                  <a:uFillTx/>
                  <a:latin typeface="Arial"/>
                  <a:ea typeface="+mn-ea"/>
                  <a:cs typeface="+mn-ea"/>
                  <a:sym typeface="+mn-lt"/>
                </a:rPr>
                <a:t>Moon</a:t>
              </a:r>
              <a:endParaRPr kumimoji="0" sz="1200" b="0" i="0" u="none" strike="noStrike" kern="1200" cap="none" spc="0" normalizeH="0" baseline="0" noProof="0">
                <a:ln>
                  <a:noFill/>
                </a:ln>
                <a:solidFill>
                  <a:srgbClr val="434343"/>
                </a:solidFill>
                <a:effectLst/>
                <a:uLnTx/>
                <a:uFillTx/>
                <a:latin typeface="Arial"/>
                <a:ea typeface="+mn-ea"/>
                <a:cs typeface="+mn-ea"/>
                <a:sym typeface="+mn-lt"/>
              </a:endParaRPr>
            </a:p>
          </p:txBody>
        </p:sp>
      </p:grpSp>
      <p:grpSp>
        <p:nvGrpSpPr>
          <p:cNvPr id="81" name="Google Shape;468;p20">
            <a:extLst>
              <a:ext uri="{FF2B5EF4-FFF2-40B4-BE49-F238E27FC236}">
                <a16:creationId xmlns:a16="http://schemas.microsoft.com/office/drawing/2014/main" id="{E187B41C-77B8-4F43-A504-01F388C32D95}"/>
              </a:ext>
            </a:extLst>
          </p:cNvPr>
          <p:cNvGrpSpPr/>
          <p:nvPr/>
        </p:nvGrpSpPr>
        <p:grpSpPr>
          <a:xfrm>
            <a:off x="9758263" y="2443190"/>
            <a:ext cx="1071600" cy="2197133"/>
            <a:chOff x="7419550" y="2160750"/>
            <a:chExt cx="803700" cy="1647850"/>
          </a:xfrm>
        </p:grpSpPr>
        <p:sp>
          <p:nvSpPr>
            <p:cNvPr id="82" name="Google Shape;469;p20">
              <a:extLst>
                <a:ext uri="{FF2B5EF4-FFF2-40B4-BE49-F238E27FC236}">
                  <a16:creationId xmlns:a16="http://schemas.microsoft.com/office/drawing/2014/main" id="{7BFBA965-FD2C-4863-8B82-61E60A869E6C}"/>
                </a:ext>
              </a:extLst>
            </p:cNvPr>
            <p:cNvSpPr/>
            <p:nvPr/>
          </p:nvSpPr>
          <p:spPr>
            <a:xfrm>
              <a:off x="7583200" y="2160750"/>
              <a:ext cx="476375" cy="1647850"/>
            </a:xfrm>
            <a:custGeom>
              <a:avLst/>
              <a:gdLst/>
              <a:ahLst/>
              <a:cxnLst/>
              <a:rect l="l" t="t" r="r" b="b"/>
              <a:pathLst>
                <a:path w="19055" h="65914" extrusionOk="0">
                  <a:moveTo>
                    <a:pt x="3743" y="0"/>
                  </a:moveTo>
                  <a:cubicBezTo>
                    <a:pt x="1870" y="0"/>
                    <a:pt x="1" y="1371"/>
                    <a:pt x="28" y="3717"/>
                  </a:cubicBezTo>
                  <a:cubicBezTo>
                    <a:pt x="231" y="20719"/>
                    <a:pt x="552" y="45639"/>
                    <a:pt x="838" y="62307"/>
                  </a:cubicBezTo>
                  <a:cubicBezTo>
                    <a:pt x="879" y="64602"/>
                    <a:pt x="2710" y="65913"/>
                    <a:pt x="4545" y="65913"/>
                  </a:cubicBezTo>
                  <a:cubicBezTo>
                    <a:pt x="5909" y="65913"/>
                    <a:pt x="7276" y="65189"/>
                    <a:pt x="7910" y="63605"/>
                  </a:cubicBezTo>
                  <a:lnTo>
                    <a:pt x="17102" y="40805"/>
                  </a:lnTo>
                  <a:cubicBezTo>
                    <a:pt x="19054" y="35959"/>
                    <a:pt x="19019" y="30541"/>
                    <a:pt x="16983" y="25731"/>
                  </a:cubicBezTo>
                  <a:lnTo>
                    <a:pt x="7077" y="2252"/>
                  </a:lnTo>
                  <a:cubicBezTo>
                    <a:pt x="6426" y="703"/>
                    <a:pt x="5083" y="0"/>
                    <a:pt x="3743" y="0"/>
                  </a:cubicBezTo>
                  <a:close/>
                </a:path>
              </a:pathLst>
            </a:custGeom>
            <a:solidFill>
              <a:srgbClr val="869FB2"/>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000"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83" name="Google Shape;470;p20">
              <a:extLst>
                <a:ext uri="{FF2B5EF4-FFF2-40B4-BE49-F238E27FC236}">
                  <a16:creationId xmlns:a16="http://schemas.microsoft.com/office/drawing/2014/main" id="{8FFA8CD1-9260-411F-BB4B-321553E7FE1D}"/>
                </a:ext>
              </a:extLst>
            </p:cNvPr>
            <p:cNvSpPr/>
            <p:nvPr/>
          </p:nvSpPr>
          <p:spPr>
            <a:xfrm>
              <a:off x="7419550" y="2845200"/>
              <a:ext cx="803700" cy="278925"/>
            </a:xfrm>
            <a:custGeom>
              <a:avLst/>
              <a:gdLst/>
              <a:ahLst/>
              <a:cxnLst/>
              <a:rect l="l" t="t" r="r" b="b"/>
              <a:pathLst>
                <a:path w="32148" h="11157" extrusionOk="0">
                  <a:moveTo>
                    <a:pt x="5549" y="1"/>
                  </a:moveTo>
                  <a:cubicBezTo>
                    <a:pt x="2477" y="1"/>
                    <a:pt x="1" y="2489"/>
                    <a:pt x="1" y="5549"/>
                  </a:cubicBezTo>
                  <a:lnTo>
                    <a:pt x="1" y="5609"/>
                  </a:lnTo>
                  <a:cubicBezTo>
                    <a:pt x="1" y="8680"/>
                    <a:pt x="2477" y="11157"/>
                    <a:pt x="5549" y="11157"/>
                  </a:cubicBezTo>
                  <a:lnTo>
                    <a:pt x="26599" y="11157"/>
                  </a:lnTo>
                  <a:cubicBezTo>
                    <a:pt x="29659" y="11157"/>
                    <a:pt x="32148" y="8680"/>
                    <a:pt x="32148" y="5609"/>
                  </a:cubicBezTo>
                  <a:lnTo>
                    <a:pt x="32148" y="5549"/>
                  </a:lnTo>
                  <a:cubicBezTo>
                    <a:pt x="32148" y="2489"/>
                    <a:pt x="29659" y="1"/>
                    <a:pt x="26599" y="1"/>
                  </a:cubicBezTo>
                  <a:close/>
                </a:path>
              </a:pathLst>
            </a:custGeom>
            <a:solidFill>
              <a:schemeClr val="accent1">
                <a:lumMod val="100000"/>
              </a:schemeClr>
            </a:solidFill>
            <a:ln>
              <a:noFill/>
            </a:ln>
          </p:spPr>
          <p:txBody>
            <a:bodyPr spcFirstLastPara="1" wrap="square" lIns="121900" tIns="121900" rIns="121900" bIns="1219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2000" b="0" i="0" u="none" strike="noStrike" kern="1200" cap="none" spc="0" normalizeH="0" baseline="0" noProof="0">
                  <a:ln>
                    <a:noFill/>
                  </a:ln>
                  <a:solidFill>
                    <a:srgbClr val="FFFFFF"/>
                  </a:solidFill>
                  <a:effectLst/>
                  <a:uLnTx/>
                  <a:uFillTx/>
                  <a:latin typeface="Arial"/>
                  <a:ea typeface="+mn-ea"/>
                  <a:cs typeface="+mn-ea"/>
                  <a:sym typeface="+mn-lt"/>
                </a:rPr>
                <a:t>Earth</a:t>
              </a:r>
              <a:endParaRPr kumimoji="0" sz="2000" b="0" i="0" u="none" strike="noStrike" kern="1200" cap="none" spc="0" normalizeH="0" baseline="0" noProof="0">
                <a:ln>
                  <a:noFill/>
                </a:ln>
                <a:solidFill>
                  <a:srgbClr val="FFFFFF"/>
                </a:solidFill>
                <a:effectLst/>
                <a:uLnTx/>
                <a:uFillTx/>
                <a:latin typeface="Arial"/>
                <a:ea typeface="+mn-ea"/>
                <a:cs typeface="+mn-ea"/>
                <a:sym typeface="+mn-lt"/>
              </a:endParaRPr>
            </a:p>
          </p:txBody>
        </p:sp>
      </p:grpSp>
    </p:spTree>
    <p:extLst>
      <p:ext uri="{BB962C8B-B14F-4D97-AF65-F5344CB8AC3E}">
        <p14:creationId xmlns:p14="http://schemas.microsoft.com/office/powerpoint/2010/main" val="3297106232"/>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7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Google Shape;476;p21">
            <a:extLst>
              <a:ext uri="{FF2B5EF4-FFF2-40B4-BE49-F238E27FC236}">
                <a16:creationId xmlns:a16="http://schemas.microsoft.com/office/drawing/2014/main" id="{6B9A1390-967D-475C-B393-94ECB4B11E0A}"/>
              </a:ext>
            </a:extLst>
          </p:cNvPr>
          <p:cNvSpPr/>
          <p:nvPr/>
        </p:nvSpPr>
        <p:spPr>
          <a:xfrm>
            <a:off x="929685" y="2332084"/>
            <a:ext cx="515567" cy="2240233"/>
          </a:xfrm>
          <a:custGeom>
            <a:avLst/>
            <a:gdLst/>
            <a:ahLst/>
            <a:cxnLst/>
            <a:rect l="l" t="t" r="r" b="b"/>
            <a:pathLst>
              <a:path w="15467" h="67207" extrusionOk="0">
                <a:moveTo>
                  <a:pt x="1194" y="0"/>
                </a:moveTo>
                <a:cubicBezTo>
                  <a:pt x="728" y="0"/>
                  <a:pt x="262" y="337"/>
                  <a:pt x="262" y="927"/>
                </a:cubicBezTo>
                <a:cubicBezTo>
                  <a:pt x="191" y="14453"/>
                  <a:pt x="0" y="53338"/>
                  <a:pt x="119" y="66292"/>
                </a:cubicBezTo>
                <a:cubicBezTo>
                  <a:pt x="126" y="66871"/>
                  <a:pt x="588" y="67207"/>
                  <a:pt x="1052" y="67207"/>
                </a:cubicBezTo>
                <a:cubicBezTo>
                  <a:pt x="1389" y="67207"/>
                  <a:pt x="1728" y="67029"/>
                  <a:pt x="1893" y="66638"/>
                </a:cubicBezTo>
                <a:lnTo>
                  <a:pt x="15240" y="35050"/>
                </a:lnTo>
                <a:cubicBezTo>
                  <a:pt x="15467" y="34527"/>
                  <a:pt x="15467" y="33955"/>
                  <a:pt x="15264" y="33431"/>
                </a:cubicBezTo>
                <a:lnTo>
                  <a:pt x="2036" y="582"/>
                </a:lnTo>
                <a:cubicBezTo>
                  <a:pt x="1880" y="183"/>
                  <a:pt x="1537" y="0"/>
                  <a:pt x="1194" y="0"/>
                </a:cubicBezTo>
                <a:close/>
              </a:path>
            </a:pathLst>
          </a:custGeom>
          <a:solidFill>
            <a:srgbClr val="869FB2"/>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grpSp>
        <p:nvGrpSpPr>
          <p:cNvPr id="3" name="Google Shape;477;p21">
            <a:extLst>
              <a:ext uri="{FF2B5EF4-FFF2-40B4-BE49-F238E27FC236}">
                <a16:creationId xmlns:a16="http://schemas.microsoft.com/office/drawing/2014/main" id="{CC609658-5BC6-46A3-A2B6-D26B190E794A}"/>
              </a:ext>
            </a:extLst>
          </p:cNvPr>
          <p:cNvGrpSpPr/>
          <p:nvPr/>
        </p:nvGrpSpPr>
        <p:grpSpPr>
          <a:xfrm>
            <a:off x="7320834" y="969150"/>
            <a:ext cx="2194684" cy="4919700"/>
            <a:chOff x="5750750" y="909400"/>
            <a:chExt cx="1646013" cy="3689775"/>
          </a:xfrm>
        </p:grpSpPr>
        <p:sp>
          <p:nvSpPr>
            <p:cNvPr id="4" name="Google Shape;478;p21">
              <a:extLst>
                <a:ext uri="{FF2B5EF4-FFF2-40B4-BE49-F238E27FC236}">
                  <a16:creationId xmlns:a16="http://schemas.microsoft.com/office/drawing/2014/main" id="{E22F4F28-1076-4C73-B139-EC41783ABE13}"/>
                </a:ext>
              </a:extLst>
            </p:cNvPr>
            <p:cNvSpPr/>
            <p:nvPr/>
          </p:nvSpPr>
          <p:spPr>
            <a:xfrm>
              <a:off x="6534438" y="909400"/>
              <a:ext cx="787625" cy="3689775"/>
            </a:xfrm>
            <a:custGeom>
              <a:avLst/>
              <a:gdLst/>
              <a:ahLst/>
              <a:cxnLst/>
              <a:rect l="l" t="t" r="r" b="b"/>
              <a:pathLst>
                <a:path w="31505" h="147591" fill="none" extrusionOk="0">
                  <a:moveTo>
                    <a:pt x="0" y="1"/>
                  </a:moveTo>
                  <a:lnTo>
                    <a:pt x="31266" y="74081"/>
                  </a:lnTo>
                  <a:cubicBezTo>
                    <a:pt x="31504" y="74664"/>
                    <a:pt x="31504" y="75307"/>
                    <a:pt x="31278" y="75891"/>
                  </a:cubicBezTo>
                  <a:lnTo>
                    <a:pt x="2382" y="147590"/>
                  </a:lnTo>
                </a:path>
              </a:pathLst>
            </a:custGeom>
            <a:noFill/>
            <a:ln w="35725" cap="rnd" cmpd="sng">
              <a:solidFill>
                <a:srgbClr val="E6E6E6"/>
              </a:solidFill>
              <a:prstDash val="solid"/>
              <a:miter lim="11906"/>
              <a:headEnd type="none" w="sm" len="sm"/>
              <a:tailEnd type="none" w="sm" len="sm"/>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5" name="Google Shape;479;p21">
              <a:extLst>
                <a:ext uri="{FF2B5EF4-FFF2-40B4-BE49-F238E27FC236}">
                  <a16:creationId xmlns:a16="http://schemas.microsoft.com/office/drawing/2014/main" id="{3C900051-C73B-4422-B1A8-2FA7335B9751}"/>
                </a:ext>
              </a:extLst>
            </p:cNvPr>
            <p:cNvSpPr/>
            <p:nvPr/>
          </p:nvSpPr>
          <p:spPr>
            <a:xfrm>
              <a:off x="6209988" y="2597400"/>
              <a:ext cx="1186775" cy="357225"/>
            </a:xfrm>
            <a:custGeom>
              <a:avLst/>
              <a:gdLst/>
              <a:ahLst/>
              <a:cxnLst/>
              <a:rect l="l" t="t" r="r" b="b"/>
              <a:pathLst>
                <a:path w="47471" h="14289" extrusionOk="0">
                  <a:moveTo>
                    <a:pt x="7144" y="1"/>
                  </a:moveTo>
                  <a:cubicBezTo>
                    <a:pt x="3192" y="1"/>
                    <a:pt x="1" y="3203"/>
                    <a:pt x="1" y="7144"/>
                  </a:cubicBezTo>
                  <a:cubicBezTo>
                    <a:pt x="1" y="11085"/>
                    <a:pt x="3192" y="14288"/>
                    <a:pt x="7144" y="14288"/>
                  </a:cubicBezTo>
                  <a:lnTo>
                    <a:pt x="40327" y="14288"/>
                  </a:lnTo>
                  <a:cubicBezTo>
                    <a:pt x="44268" y="14288"/>
                    <a:pt x="47471" y="11085"/>
                    <a:pt x="47471" y="7144"/>
                  </a:cubicBezTo>
                  <a:cubicBezTo>
                    <a:pt x="47471" y="3203"/>
                    <a:pt x="44268" y="1"/>
                    <a:pt x="40327" y="1"/>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2133" b="0" i="0" u="none" strike="noStrike" kern="1200" cap="none" spc="0" normalizeH="0" baseline="0" noProof="0">
                  <a:ln>
                    <a:noFill/>
                  </a:ln>
                  <a:solidFill>
                    <a:srgbClr val="FFFFFF"/>
                  </a:solidFill>
                  <a:effectLst/>
                  <a:uLnTx/>
                  <a:uFillTx/>
                  <a:latin typeface="Arial"/>
                  <a:ea typeface="+mn-ea"/>
                  <a:cs typeface="+mn-ea"/>
                  <a:sym typeface="+mn-lt"/>
                </a:rPr>
                <a:t>2023</a:t>
              </a:r>
              <a:endParaRPr kumimoji="0" sz="2133" b="0" i="0" u="none" strike="noStrike" kern="1200" cap="none" spc="0" normalizeH="0" baseline="0" noProof="0">
                <a:ln>
                  <a:noFill/>
                </a:ln>
                <a:solidFill>
                  <a:srgbClr val="FFFFFF"/>
                </a:solidFill>
                <a:effectLst/>
                <a:uLnTx/>
                <a:uFillTx/>
                <a:latin typeface="Arial"/>
                <a:ea typeface="+mn-ea"/>
                <a:cs typeface="+mn-ea"/>
                <a:sym typeface="+mn-lt"/>
              </a:endParaRPr>
            </a:p>
          </p:txBody>
        </p:sp>
        <p:sp>
          <p:nvSpPr>
            <p:cNvPr id="6" name="Google Shape;480;p21">
              <a:extLst>
                <a:ext uri="{FF2B5EF4-FFF2-40B4-BE49-F238E27FC236}">
                  <a16:creationId xmlns:a16="http://schemas.microsoft.com/office/drawing/2014/main" id="{A018E425-0028-44B6-87FB-5F839AD689A6}"/>
                </a:ext>
              </a:extLst>
            </p:cNvPr>
            <p:cNvSpPr/>
            <p:nvPr/>
          </p:nvSpPr>
          <p:spPr>
            <a:xfrm>
              <a:off x="7050263" y="2194975"/>
              <a:ext cx="116425" cy="116100"/>
            </a:xfrm>
            <a:custGeom>
              <a:avLst/>
              <a:gdLst/>
              <a:ahLst/>
              <a:cxnLst/>
              <a:rect l="l" t="t" r="r" b="b"/>
              <a:pathLst>
                <a:path w="4657" h="4644" extrusionOk="0">
                  <a:moveTo>
                    <a:pt x="2323" y="0"/>
                  </a:moveTo>
                  <a:cubicBezTo>
                    <a:pt x="1037" y="0"/>
                    <a:pt x="1" y="1036"/>
                    <a:pt x="1" y="2322"/>
                  </a:cubicBezTo>
                  <a:cubicBezTo>
                    <a:pt x="1" y="3608"/>
                    <a:pt x="1037" y="4644"/>
                    <a:pt x="2323" y="4644"/>
                  </a:cubicBezTo>
                  <a:cubicBezTo>
                    <a:pt x="3609" y="4644"/>
                    <a:pt x="4656" y="3608"/>
                    <a:pt x="4656" y="2322"/>
                  </a:cubicBezTo>
                  <a:cubicBezTo>
                    <a:pt x="4656" y="1036"/>
                    <a:pt x="3609" y="0"/>
                    <a:pt x="2323" y="0"/>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7" name="Google Shape;481;p21">
              <a:extLst>
                <a:ext uri="{FF2B5EF4-FFF2-40B4-BE49-F238E27FC236}">
                  <a16:creationId xmlns:a16="http://schemas.microsoft.com/office/drawing/2014/main" id="{0E302947-0C74-4381-8904-C001B4B88548}"/>
                </a:ext>
              </a:extLst>
            </p:cNvPr>
            <p:cNvSpPr/>
            <p:nvPr/>
          </p:nvSpPr>
          <p:spPr>
            <a:xfrm>
              <a:off x="6926438" y="3555550"/>
              <a:ext cx="116425" cy="116425"/>
            </a:xfrm>
            <a:custGeom>
              <a:avLst/>
              <a:gdLst/>
              <a:ahLst/>
              <a:cxnLst/>
              <a:rect l="l" t="t" r="r" b="b"/>
              <a:pathLst>
                <a:path w="4657" h="4657" extrusionOk="0">
                  <a:moveTo>
                    <a:pt x="2323" y="1"/>
                  </a:moveTo>
                  <a:cubicBezTo>
                    <a:pt x="1037" y="1"/>
                    <a:pt x="1" y="1049"/>
                    <a:pt x="1" y="2334"/>
                  </a:cubicBezTo>
                  <a:cubicBezTo>
                    <a:pt x="1" y="3620"/>
                    <a:pt x="1037" y="4656"/>
                    <a:pt x="2323" y="4656"/>
                  </a:cubicBezTo>
                  <a:cubicBezTo>
                    <a:pt x="3609" y="4656"/>
                    <a:pt x="4656" y="3620"/>
                    <a:pt x="4656" y="2334"/>
                  </a:cubicBezTo>
                  <a:cubicBezTo>
                    <a:pt x="4656" y="1049"/>
                    <a:pt x="3609" y="1"/>
                    <a:pt x="2323" y="1"/>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8" name="Google Shape;482;p21">
              <a:extLst>
                <a:ext uri="{FF2B5EF4-FFF2-40B4-BE49-F238E27FC236}">
                  <a16:creationId xmlns:a16="http://schemas.microsoft.com/office/drawing/2014/main" id="{4E9320CD-A338-4E70-8C17-A27B512DA996}"/>
                </a:ext>
              </a:extLst>
            </p:cNvPr>
            <p:cNvSpPr/>
            <p:nvPr/>
          </p:nvSpPr>
          <p:spPr>
            <a:xfrm>
              <a:off x="6787738" y="3910650"/>
              <a:ext cx="116400" cy="116425"/>
            </a:xfrm>
            <a:custGeom>
              <a:avLst/>
              <a:gdLst/>
              <a:ahLst/>
              <a:cxnLst/>
              <a:rect l="l" t="t" r="r" b="b"/>
              <a:pathLst>
                <a:path w="4656" h="4657" extrusionOk="0">
                  <a:moveTo>
                    <a:pt x="2322" y="1"/>
                  </a:moveTo>
                  <a:cubicBezTo>
                    <a:pt x="1048" y="1"/>
                    <a:pt x="1" y="1049"/>
                    <a:pt x="1" y="2335"/>
                  </a:cubicBezTo>
                  <a:cubicBezTo>
                    <a:pt x="1" y="3609"/>
                    <a:pt x="1048" y="4656"/>
                    <a:pt x="2322" y="4656"/>
                  </a:cubicBezTo>
                  <a:cubicBezTo>
                    <a:pt x="3608" y="4656"/>
                    <a:pt x="4656" y="3609"/>
                    <a:pt x="4656" y="2335"/>
                  </a:cubicBezTo>
                  <a:cubicBezTo>
                    <a:pt x="4656" y="1049"/>
                    <a:pt x="3608" y="1"/>
                    <a:pt x="2322" y="1"/>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9" name="Google Shape;483;p21">
              <a:extLst>
                <a:ext uri="{FF2B5EF4-FFF2-40B4-BE49-F238E27FC236}">
                  <a16:creationId xmlns:a16="http://schemas.microsoft.com/office/drawing/2014/main" id="{83A75710-661A-470E-AFD6-19E78ADCB730}"/>
                </a:ext>
              </a:extLst>
            </p:cNvPr>
            <p:cNvSpPr/>
            <p:nvPr/>
          </p:nvSpPr>
          <p:spPr>
            <a:xfrm>
              <a:off x="6645463" y="4261900"/>
              <a:ext cx="116400" cy="116100"/>
            </a:xfrm>
            <a:custGeom>
              <a:avLst/>
              <a:gdLst/>
              <a:ahLst/>
              <a:cxnLst/>
              <a:rect l="l" t="t" r="r" b="b"/>
              <a:pathLst>
                <a:path w="4656" h="4644" extrusionOk="0">
                  <a:moveTo>
                    <a:pt x="2334" y="0"/>
                  </a:moveTo>
                  <a:cubicBezTo>
                    <a:pt x="1048" y="0"/>
                    <a:pt x="0" y="1036"/>
                    <a:pt x="0" y="2322"/>
                  </a:cubicBezTo>
                  <a:cubicBezTo>
                    <a:pt x="0" y="3608"/>
                    <a:pt x="1048" y="4644"/>
                    <a:pt x="2334" y="4644"/>
                  </a:cubicBezTo>
                  <a:cubicBezTo>
                    <a:pt x="3608" y="4644"/>
                    <a:pt x="4656" y="3608"/>
                    <a:pt x="4656" y="2322"/>
                  </a:cubicBezTo>
                  <a:cubicBezTo>
                    <a:pt x="4656" y="1036"/>
                    <a:pt x="3608" y="0"/>
                    <a:pt x="2334" y="0"/>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10" name="Google Shape;484;p21">
              <a:extLst>
                <a:ext uri="{FF2B5EF4-FFF2-40B4-BE49-F238E27FC236}">
                  <a16:creationId xmlns:a16="http://schemas.microsoft.com/office/drawing/2014/main" id="{03FDCE1A-5269-499A-A65E-2976C4299B7D}"/>
                </a:ext>
              </a:extLst>
            </p:cNvPr>
            <p:cNvSpPr/>
            <p:nvPr/>
          </p:nvSpPr>
          <p:spPr>
            <a:xfrm>
              <a:off x="6889238" y="1834125"/>
              <a:ext cx="116125" cy="116400"/>
            </a:xfrm>
            <a:custGeom>
              <a:avLst/>
              <a:gdLst/>
              <a:ahLst/>
              <a:cxnLst/>
              <a:rect l="l" t="t" r="r" b="b"/>
              <a:pathLst>
                <a:path w="4645" h="4656" extrusionOk="0">
                  <a:moveTo>
                    <a:pt x="2322" y="0"/>
                  </a:moveTo>
                  <a:cubicBezTo>
                    <a:pt x="1037" y="0"/>
                    <a:pt x="1" y="1048"/>
                    <a:pt x="1" y="2334"/>
                  </a:cubicBezTo>
                  <a:cubicBezTo>
                    <a:pt x="1" y="3620"/>
                    <a:pt x="1037" y="4656"/>
                    <a:pt x="2322" y="4656"/>
                  </a:cubicBezTo>
                  <a:cubicBezTo>
                    <a:pt x="3608" y="4656"/>
                    <a:pt x="4644" y="3620"/>
                    <a:pt x="4644" y="2334"/>
                  </a:cubicBezTo>
                  <a:cubicBezTo>
                    <a:pt x="4644" y="1048"/>
                    <a:pt x="3608" y="0"/>
                    <a:pt x="2322" y="0"/>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11" name="Google Shape;485;p21">
              <a:extLst>
                <a:ext uri="{FF2B5EF4-FFF2-40B4-BE49-F238E27FC236}">
                  <a16:creationId xmlns:a16="http://schemas.microsoft.com/office/drawing/2014/main" id="{0D520774-C2CA-44BF-B54A-00B7AD2D1C69}"/>
                </a:ext>
              </a:extLst>
            </p:cNvPr>
            <p:cNvSpPr/>
            <p:nvPr/>
          </p:nvSpPr>
          <p:spPr>
            <a:xfrm>
              <a:off x="6585938" y="1112700"/>
              <a:ext cx="116100" cy="116400"/>
            </a:xfrm>
            <a:custGeom>
              <a:avLst/>
              <a:gdLst/>
              <a:ahLst/>
              <a:cxnLst/>
              <a:rect l="l" t="t" r="r" b="b"/>
              <a:pathLst>
                <a:path w="4644" h="4656" extrusionOk="0">
                  <a:moveTo>
                    <a:pt x="2322" y="0"/>
                  </a:moveTo>
                  <a:cubicBezTo>
                    <a:pt x="1036" y="0"/>
                    <a:pt x="0" y="1036"/>
                    <a:pt x="0" y="2322"/>
                  </a:cubicBezTo>
                  <a:cubicBezTo>
                    <a:pt x="0" y="3608"/>
                    <a:pt x="1036" y="4656"/>
                    <a:pt x="2322" y="4656"/>
                  </a:cubicBezTo>
                  <a:cubicBezTo>
                    <a:pt x="3608" y="4656"/>
                    <a:pt x="4644" y="3608"/>
                    <a:pt x="4644" y="2322"/>
                  </a:cubicBezTo>
                  <a:cubicBezTo>
                    <a:pt x="4644" y="1036"/>
                    <a:pt x="3608" y="0"/>
                    <a:pt x="2322" y="0"/>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12" name="Google Shape;486;p21">
              <a:extLst>
                <a:ext uri="{FF2B5EF4-FFF2-40B4-BE49-F238E27FC236}">
                  <a16:creationId xmlns:a16="http://schemas.microsoft.com/office/drawing/2014/main" id="{2A375ADC-15C5-4B9D-91A4-26281A9C94D8}"/>
                </a:ext>
              </a:extLst>
            </p:cNvPr>
            <p:cNvSpPr/>
            <p:nvPr/>
          </p:nvSpPr>
          <p:spPr>
            <a:xfrm>
              <a:off x="6751738" y="1473550"/>
              <a:ext cx="116400" cy="116125"/>
            </a:xfrm>
            <a:custGeom>
              <a:avLst/>
              <a:gdLst/>
              <a:ahLst/>
              <a:cxnLst/>
              <a:rect l="l" t="t" r="r" b="b"/>
              <a:pathLst>
                <a:path w="4656" h="4645" extrusionOk="0">
                  <a:moveTo>
                    <a:pt x="2322" y="1"/>
                  </a:moveTo>
                  <a:cubicBezTo>
                    <a:pt x="1036" y="1"/>
                    <a:pt x="0" y="1037"/>
                    <a:pt x="0" y="2323"/>
                  </a:cubicBezTo>
                  <a:cubicBezTo>
                    <a:pt x="0" y="3608"/>
                    <a:pt x="1036" y="4644"/>
                    <a:pt x="2322" y="4644"/>
                  </a:cubicBezTo>
                  <a:cubicBezTo>
                    <a:pt x="3608" y="4644"/>
                    <a:pt x="4655" y="3608"/>
                    <a:pt x="4655" y="2323"/>
                  </a:cubicBezTo>
                  <a:cubicBezTo>
                    <a:pt x="4655" y="1037"/>
                    <a:pt x="3608" y="1"/>
                    <a:pt x="2322" y="1"/>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13" name="Google Shape;487;p21">
              <a:extLst>
                <a:ext uri="{FF2B5EF4-FFF2-40B4-BE49-F238E27FC236}">
                  <a16:creationId xmlns:a16="http://schemas.microsoft.com/office/drawing/2014/main" id="{5612C208-A2EA-4C8A-AB8E-74DEB8C2BA2D}"/>
                </a:ext>
              </a:extLst>
            </p:cNvPr>
            <p:cNvSpPr/>
            <p:nvPr/>
          </p:nvSpPr>
          <p:spPr>
            <a:xfrm>
              <a:off x="7074388" y="3208800"/>
              <a:ext cx="116100" cy="116100"/>
            </a:xfrm>
            <a:custGeom>
              <a:avLst/>
              <a:gdLst/>
              <a:ahLst/>
              <a:cxnLst/>
              <a:rect l="l" t="t" r="r" b="b"/>
              <a:pathLst>
                <a:path w="4644" h="4644" extrusionOk="0">
                  <a:moveTo>
                    <a:pt x="2322" y="0"/>
                  </a:moveTo>
                  <a:cubicBezTo>
                    <a:pt x="1036" y="0"/>
                    <a:pt x="0" y="1036"/>
                    <a:pt x="0" y="2322"/>
                  </a:cubicBezTo>
                  <a:cubicBezTo>
                    <a:pt x="0" y="3608"/>
                    <a:pt x="1036" y="4644"/>
                    <a:pt x="2322" y="4644"/>
                  </a:cubicBezTo>
                  <a:cubicBezTo>
                    <a:pt x="3608" y="4644"/>
                    <a:pt x="4644" y="3608"/>
                    <a:pt x="4644" y="2322"/>
                  </a:cubicBezTo>
                  <a:cubicBezTo>
                    <a:pt x="4644" y="1036"/>
                    <a:pt x="3608" y="0"/>
                    <a:pt x="2322" y="0"/>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14" name="Google Shape;488;p21">
              <a:extLst>
                <a:ext uri="{FF2B5EF4-FFF2-40B4-BE49-F238E27FC236}">
                  <a16:creationId xmlns:a16="http://schemas.microsoft.com/office/drawing/2014/main" id="{A00AEF50-AB3C-4350-A8F3-3A2784B86084}"/>
                </a:ext>
              </a:extLst>
            </p:cNvPr>
            <p:cNvSpPr/>
            <p:nvPr/>
          </p:nvSpPr>
          <p:spPr>
            <a:xfrm>
              <a:off x="6006688" y="2570625"/>
              <a:ext cx="408400" cy="408100"/>
            </a:xfrm>
            <a:custGeom>
              <a:avLst/>
              <a:gdLst/>
              <a:ahLst/>
              <a:cxnLst/>
              <a:rect l="l" t="t" r="r" b="b"/>
              <a:pathLst>
                <a:path w="16336" h="16324" extrusionOk="0">
                  <a:moveTo>
                    <a:pt x="8168" y="0"/>
                  </a:moveTo>
                  <a:cubicBezTo>
                    <a:pt x="3656" y="0"/>
                    <a:pt x="1" y="3655"/>
                    <a:pt x="1" y="8156"/>
                  </a:cubicBezTo>
                  <a:cubicBezTo>
                    <a:pt x="1" y="12668"/>
                    <a:pt x="3656" y="16324"/>
                    <a:pt x="8168" y="16324"/>
                  </a:cubicBezTo>
                  <a:cubicBezTo>
                    <a:pt x="12681" y="16324"/>
                    <a:pt x="16336" y="12668"/>
                    <a:pt x="16336" y="8156"/>
                  </a:cubicBezTo>
                  <a:cubicBezTo>
                    <a:pt x="16336" y="3655"/>
                    <a:pt x="12681" y="0"/>
                    <a:pt x="8168" y="0"/>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15" name="Google Shape;489;p21">
              <a:extLst>
                <a:ext uri="{FF2B5EF4-FFF2-40B4-BE49-F238E27FC236}">
                  <a16:creationId xmlns:a16="http://schemas.microsoft.com/office/drawing/2014/main" id="{B4A05333-CF81-4919-867D-86B6AADDA1E3}"/>
                </a:ext>
              </a:extLst>
            </p:cNvPr>
            <p:cNvSpPr/>
            <p:nvPr/>
          </p:nvSpPr>
          <p:spPr>
            <a:xfrm>
              <a:off x="6049263" y="2612875"/>
              <a:ext cx="323275" cy="323275"/>
            </a:xfrm>
            <a:custGeom>
              <a:avLst/>
              <a:gdLst/>
              <a:ahLst/>
              <a:cxnLst/>
              <a:rect l="l" t="t" r="r" b="b"/>
              <a:pathLst>
                <a:path w="12931" h="12931" extrusionOk="0">
                  <a:moveTo>
                    <a:pt x="6465" y="1"/>
                  </a:moveTo>
                  <a:cubicBezTo>
                    <a:pt x="2905" y="1"/>
                    <a:pt x="0" y="2906"/>
                    <a:pt x="0" y="6466"/>
                  </a:cubicBezTo>
                  <a:cubicBezTo>
                    <a:pt x="0" y="10026"/>
                    <a:pt x="2905" y="12931"/>
                    <a:pt x="6465" y="12931"/>
                  </a:cubicBezTo>
                  <a:cubicBezTo>
                    <a:pt x="10025" y="12931"/>
                    <a:pt x="12930" y="10026"/>
                    <a:pt x="12930" y="6466"/>
                  </a:cubicBezTo>
                  <a:cubicBezTo>
                    <a:pt x="12930" y="2906"/>
                    <a:pt x="10025" y="1"/>
                    <a:pt x="6465" y="1"/>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16" name="Google Shape;490;p21">
              <a:extLst>
                <a:ext uri="{FF2B5EF4-FFF2-40B4-BE49-F238E27FC236}">
                  <a16:creationId xmlns:a16="http://schemas.microsoft.com/office/drawing/2014/main" id="{9AC71A0B-B264-43FE-B689-EAC1B9E8B7B5}"/>
                </a:ext>
              </a:extLst>
            </p:cNvPr>
            <p:cNvSpPr/>
            <p:nvPr/>
          </p:nvSpPr>
          <p:spPr>
            <a:xfrm>
              <a:off x="6137663" y="2703975"/>
              <a:ext cx="144075" cy="144075"/>
            </a:xfrm>
            <a:custGeom>
              <a:avLst/>
              <a:gdLst/>
              <a:ahLst/>
              <a:cxnLst/>
              <a:rect l="l" t="t" r="r" b="b"/>
              <a:pathLst>
                <a:path w="5763" h="5763" extrusionOk="0">
                  <a:moveTo>
                    <a:pt x="2870" y="1846"/>
                  </a:moveTo>
                  <a:cubicBezTo>
                    <a:pt x="3453" y="1846"/>
                    <a:pt x="3929" y="2322"/>
                    <a:pt x="3929" y="2905"/>
                  </a:cubicBezTo>
                  <a:cubicBezTo>
                    <a:pt x="3929" y="3477"/>
                    <a:pt x="3453" y="3941"/>
                    <a:pt x="2870" y="3941"/>
                  </a:cubicBezTo>
                  <a:cubicBezTo>
                    <a:pt x="2298" y="3941"/>
                    <a:pt x="1834" y="3477"/>
                    <a:pt x="1834" y="2905"/>
                  </a:cubicBezTo>
                  <a:cubicBezTo>
                    <a:pt x="1834" y="2322"/>
                    <a:pt x="2298" y="1846"/>
                    <a:pt x="2870" y="1846"/>
                  </a:cubicBezTo>
                  <a:close/>
                  <a:moveTo>
                    <a:pt x="2703" y="0"/>
                  </a:moveTo>
                  <a:cubicBezTo>
                    <a:pt x="2548" y="0"/>
                    <a:pt x="2417" y="131"/>
                    <a:pt x="2417" y="286"/>
                  </a:cubicBezTo>
                  <a:lnTo>
                    <a:pt x="2417" y="524"/>
                  </a:lnTo>
                  <a:cubicBezTo>
                    <a:pt x="2060" y="595"/>
                    <a:pt x="1739" y="738"/>
                    <a:pt x="1465" y="941"/>
                  </a:cubicBezTo>
                  <a:lnTo>
                    <a:pt x="1310" y="786"/>
                  </a:lnTo>
                  <a:cubicBezTo>
                    <a:pt x="1251" y="726"/>
                    <a:pt x="1176" y="697"/>
                    <a:pt x="1102" y="697"/>
                  </a:cubicBezTo>
                  <a:cubicBezTo>
                    <a:pt x="1027" y="697"/>
                    <a:pt x="953" y="726"/>
                    <a:pt x="893" y="786"/>
                  </a:cubicBezTo>
                  <a:lnTo>
                    <a:pt x="715" y="965"/>
                  </a:lnTo>
                  <a:cubicBezTo>
                    <a:pt x="608" y="1072"/>
                    <a:pt x="608" y="1262"/>
                    <a:pt x="715" y="1369"/>
                  </a:cubicBezTo>
                  <a:lnTo>
                    <a:pt x="881" y="1536"/>
                  </a:lnTo>
                  <a:cubicBezTo>
                    <a:pt x="691" y="1822"/>
                    <a:pt x="560" y="2155"/>
                    <a:pt x="500" y="2512"/>
                  </a:cubicBezTo>
                  <a:lnTo>
                    <a:pt x="286" y="2512"/>
                  </a:lnTo>
                  <a:cubicBezTo>
                    <a:pt x="131" y="2512"/>
                    <a:pt x="0" y="2643"/>
                    <a:pt x="0" y="2798"/>
                  </a:cubicBezTo>
                  <a:lnTo>
                    <a:pt x="0" y="3048"/>
                  </a:lnTo>
                  <a:cubicBezTo>
                    <a:pt x="0" y="3203"/>
                    <a:pt x="131" y="3334"/>
                    <a:pt x="286" y="3334"/>
                  </a:cubicBezTo>
                  <a:lnTo>
                    <a:pt x="500" y="3334"/>
                  </a:lnTo>
                  <a:cubicBezTo>
                    <a:pt x="572" y="3703"/>
                    <a:pt x="715" y="4024"/>
                    <a:pt x="917" y="4310"/>
                  </a:cubicBezTo>
                  <a:lnTo>
                    <a:pt x="786" y="4453"/>
                  </a:lnTo>
                  <a:cubicBezTo>
                    <a:pt x="667" y="4560"/>
                    <a:pt x="667" y="4751"/>
                    <a:pt x="786" y="4858"/>
                  </a:cubicBezTo>
                  <a:lnTo>
                    <a:pt x="953" y="5036"/>
                  </a:lnTo>
                  <a:cubicBezTo>
                    <a:pt x="1012" y="5090"/>
                    <a:pt x="1090" y="5117"/>
                    <a:pt x="1166" y="5117"/>
                  </a:cubicBezTo>
                  <a:cubicBezTo>
                    <a:pt x="1242" y="5117"/>
                    <a:pt x="1316" y="5090"/>
                    <a:pt x="1370" y="5036"/>
                  </a:cubicBezTo>
                  <a:lnTo>
                    <a:pt x="1513" y="4894"/>
                  </a:lnTo>
                  <a:cubicBezTo>
                    <a:pt x="1810" y="5096"/>
                    <a:pt x="2144" y="5227"/>
                    <a:pt x="2513" y="5275"/>
                  </a:cubicBezTo>
                  <a:lnTo>
                    <a:pt x="2513" y="5465"/>
                  </a:lnTo>
                  <a:cubicBezTo>
                    <a:pt x="2513" y="5632"/>
                    <a:pt x="2644" y="5763"/>
                    <a:pt x="2798" y="5763"/>
                  </a:cubicBezTo>
                  <a:lnTo>
                    <a:pt x="3048" y="5763"/>
                  </a:lnTo>
                  <a:cubicBezTo>
                    <a:pt x="3203" y="5763"/>
                    <a:pt x="3334" y="5632"/>
                    <a:pt x="3334" y="5465"/>
                  </a:cubicBezTo>
                  <a:lnTo>
                    <a:pt x="3334" y="5275"/>
                  </a:lnTo>
                  <a:cubicBezTo>
                    <a:pt x="3703" y="5203"/>
                    <a:pt x="4025" y="5048"/>
                    <a:pt x="4310" y="4834"/>
                  </a:cubicBezTo>
                  <a:lnTo>
                    <a:pt x="4453" y="4965"/>
                  </a:lnTo>
                  <a:cubicBezTo>
                    <a:pt x="4507" y="5025"/>
                    <a:pt x="4581" y="5054"/>
                    <a:pt x="4656" y="5054"/>
                  </a:cubicBezTo>
                  <a:cubicBezTo>
                    <a:pt x="4730" y="5054"/>
                    <a:pt x="4805" y="5025"/>
                    <a:pt x="4858" y="4965"/>
                  </a:cubicBezTo>
                  <a:lnTo>
                    <a:pt x="5037" y="4798"/>
                  </a:lnTo>
                  <a:cubicBezTo>
                    <a:pt x="5144" y="4679"/>
                    <a:pt x="5144" y="4501"/>
                    <a:pt x="5037" y="4382"/>
                  </a:cubicBezTo>
                  <a:lnTo>
                    <a:pt x="4894" y="4239"/>
                  </a:lnTo>
                  <a:cubicBezTo>
                    <a:pt x="5084" y="3941"/>
                    <a:pt x="5203" y="3608"/>
                    <a:pt x="5263" y="3251"/>
                  </a:cubicBezTo>
                  <a:lnTo>
                    <a:pt x="5465" y="3251"/>
                  </a:lnTo>
                  <a:cubicBezTo>
                    <a:pt x="5632" y="3251"/>
                    <a:pt x="5763" y="3120"/>
                    <a:pt x="5763" y="2953"/>
                  </a:cubicBezTo>
                  <a:lnTo>
                    <a:pt x="5763" y="2715"/>
                  </a:lnTo>
                  <a:cubicBezTo>
                    <a:pt x="5763" y="2548"/>
                    <a:pt x="5632" y="2417"/>
                    <a:pt x="5465" y="2417"/>
                  </a:cubicBezTo>
                  <a:lnTo>
                    <a:pt x="5251" y="2417"/>
                  </a:lnTo>
                  <a:cubicBezTo>
                    <a:pt x="5180" y="2060"/>
                    <a:pt x="5025" y="1738"/>
                    <a:pt x="4811" y="1465"/>
                  </a:cubicBezTo>
                  <a:lnTo>
                    <a:pt x="4965" y="1310"/>
                  </a:lnTo>
                  <a:cubicBezTo>
                    <a:pt x="5084" y="1191"/>
                    <a:pt x="5084" y="1012"/>
                    <a:pt x="4965" y="893"/>
                  </a:cubicBezTo>
                  <a:lnTo>
                    <a:pt x="4799" y="726"/>
                  </a:lnTo>
                  <a:cubicBezTo>
                    <a:pt x="4739" y="667"/>
                    <a:pt x="4665" y="637"/>
                    <a:pt x="4590" y="637"/>
                  </a:cubicBezTo>
                  <a:cubicBezTo>
                    <a:pt x="4516" y="637"/>
                    <a:pt x="4441" y="667"/>
                    <a:pt x="4382" y="726"/>
                  </a:cubicBezTo>
                  <a:lnTo>
                    <a:pt x="4215" y="881"/>
                  </a:lnTo>
                  <a:cubicBezTo>
                    <a:pt x="3929" y="691"/>
                    <a:pt x="3596" y="572"/>
                    <a:pt x="3251" y="512"/>
                  </a:cubicBezTo>
                  <a:lnTo>
                    <a:pt x="3251" y="286"/>
                  </a:lnTo>
                  <a:cubicBezTo>
                    <a:pt x="3251" y="131"/>
                    <a:pt x="3120" y="0"/>
                    <a:pt x="2953" y="0"/>
                  </a:cubicBezTo>
                  <a:close/>
                </a:path>
              </a:pathLst>
            </a:custGeom>
            <a:solidFill>
              <a:srgbClr val="FFFFFF"/>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17" name="Google Shape;491;p21">
              <a:extLst>
                <a:ext uri="{FF2B5EF4-FFF2-40B4-BE49-F238E27FC236}">
                  <a16:creationId xmlns:a16="http://schemas.microsoft.com/office/drawing/2014/main" id="{94047B8F-CCBC-418B-9698-0F37FE2EC6DD}"/>
                </a:ext>
              </a:extLst>
            </p:cNvPr>
            <p:cNvSpPr txBox="1"/>
            <p:nvPr/>
          </p:nvSpPr>
          <p:spPr>
            <a:xfrm>
              <a:off x="6215063" y="2150272"/>
              <a:ext cx="759000" cy="205500"/>
            </a:xfrm>
            <a:prstGeom prst="rect">
              <a:avLst/>
            </a:prstGeom>
            <a:noFill/>
            <a:ln>
              <a:noFill/>
            </a:ln>
          </p:spPr>
          <p:txBody>
            <a:bodyPr spcFirstLastPara="1" wrap="square" lIns="121900" tIns="121900" rIns="121900" bIns="12190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 sz="1467" b="0" i="0" u="none" strike="noStrike" kern="1200" cap="none" spc="0" normalizeH="0" baseline="0" noProof="0">
                  <a:ln>
                    <a:noFill/>
                  </a:ln>
                  <a:solidFill>
                    <a:srgbClr val="434343"/>
                  </a:solidFill>
                  <a:effectLst/>
                  <a:uLnTx/>
                  <a:uFillTx/>
                  <a:latin typeface="Arial"/>
                  <a:ea typeface="+mn-ea"/>
                  <a:cs typeface="+mn-ea"/>
                  <a:sym typeface="+mn-lt"/>
                </a:rPr>
                <a:t>Pandia</a:t>
              </a:r>
              <a:endParaRPr kumimoji="0" sz="1467" b="0" i="0" u="none" strike="noStrike" kern="1200" cap="none" spc="0" normalizeH="0" baseline="0" noProof="0">
                <a:ln>
                  <a:noFill/>
                </a:ln>
                <a:solidFill>
                  <a:srgbClr val="434343"/>
                </a:solidFill>
                <a:effectLst/>
                <a:uLnTx/>
                <a:uFillTx/>
                <a:latin typeface="Arial"/>
                <a:ea typeface="+mn-ea"/>
                <a:cs typeface="+mn-ea"/>
                <a:sym typeface="+mn-lt"/>
              </a:endParaRPr>
            </a:p>
          </p:txBody>
        </p:sp>
        <p:sp>
          <p:nvSpPr>
            <p:cNvPr id="18" name="Google Shape;492;p21">
              <a:extLst>
                <a:ext uri="{FF2B5EF4-FFF2-40B4-BE49-F238E27FC236}">
                  <a16:creationId xmlns:a16="http://schemas.microsoft.com/office/drawing/2014/main" id="{209B5276-07E8-407F-905C-AEDD50D7F65B}"/>
                </a:ext>
              </a:extLst>
            </p:cNvPr>
            <p:cNvSpPr txBox="1"/>
            <p:nvPr/>
          </p:nvSpPr>
          <p:spPr>
            <a:xfrm>
              <a:off x="6054038" y="1789372"/>
              <a:ext cx="759000" cy="205500"/>
            </a:xfrm>
            <a:prstGeom prst="rect">
              <a:avLst/>
            </a:prstGeom>
            <a:noFill/>
            <a:ln>
              <a:noFill/>
            </a:ln>
          </p:spPr>
          <p:txBody>
            <a:bodyPr spcFirstLastPara="1" wrap="square" lIns="121900" tIns="121900" rIns="121900" bIns="12190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 sz="1467" b="0" i="0" u="none" strike="noStrike" kern="1200" cap="none" spc="0" normalizeH="0" baseline="0" noProof="0">
                  <a:ln>
                    <a:noFill/>
                  </a:ln>
                  <a:solidFill>
                    <a:srgbClr val="434343"/>
                  </a:solidFill>
                  <a:effectLst/>
                  <a:uLnTx/>
                  <a:uFillTx/>
                  <a:latin typeface="Arial"/>
                  <a:ea typeface="+mn-ea"/>
                  <a:cs typeface="+mn-ea"/>
                  <a:sym typeface="+mn-lt"/>
                </a:rPr>
                <a:t>Ersa</a:t>
              </a:r>
              <a:endParaRPr kumimoji="0" sz="1467" b="0" i="0" u="none" strike="noStrike" kern="1200" cap="none" spc="0" normalizeH="0" baseline="0" noProof="0">
                <a:ln>
                  <a:noFill/>
                </a:ln>
                <a:solidFill>
                  <a:srgbClr val="434343"/>
                </a:solidFill>
                <a:effectLst/>
                <a:uLnTx/>
                <a:uFillTx/>
                <a:latin typeface="Arial"/>
                <a:ea typeface="+mn-ea"/>
                <a:cs typeface="+mn-ea"/>
                <a:sym typeface="+mn-lt"/>
              </a:endParaRPr>
            </a:p>
          </p:txBody>
        </p:sp>
        <p:sp>
          <p:nvSpPr>
            <p:cNvPr id="19" name="Google Shape;493;p21">
              <a:extLst>
                <a:ext uri="{FF2B5EF4-FFF2-40B4-BE49-F238E27FC236}">
                  <a16:creationId xmlns:a16="http://schemas.microsoft.com/office/drawing/2014/main" id="{4EE5FAF7-A6FE-499E-ACB0-1338B142795E}"/>
                </a:ext>
              </a:extLst>
            </p:cNvPr>
            <p:cNvSpPr txBox="1"/>
            <p:nvPr/>
          </p:nvSpPr>
          <p:spPr>
            <a:xfrm>
              <a:off x="5916538" y="1432335"/>
              <a:ext cx="759000" cy="205500"/>
            </a:xfrm>
            <a:prstGeom prst="rect">
              <a:avLst/>
            </a:prstGeom>
            <a:noFill/>
            <a:ln>
              <a:noFill/>
            </a:ln>
          </p:spPr>
          <p:txBody>
            <a:bodyPr spcFirstLastPara="1" wrap="square" lIns="121900" tIns="121900" rIns="121900" bIns="12190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 sz="1467" b="0" i="0" u="none" strike="noStrike" kern="1200" cap="none" spc="0" normalizeH="0" baseline="0" noProof="0">
                  <a:ln>
                    <a:noFill/>
                  </a:ln>
                  <a:solidFill>
                    <a:srgbClr val="434343"/>
                  </a:solidFill>
                  <a:effectLst/>
                  <a:uLnTx/>
                  <a:uFillTx/>
                  <a:latin typeface="Arial"/>
                  <a:ea typeface="+mn-ea"/>
                  <a:cs typeface="+mn-ea"/>
                  <a:sym typeface="+mn-lt"/>
                </a:rPr>
                <a:t>Sun</a:t>
              </a:r>
              <a:endParaRPr kumimoji="0" sz="1467" b="0" i="0" u="none" strike="noStrike" kern="1200" cap="none" spc="0" normalizeH="0" baseline="0" noProof="0">
                <a:ln>
                  <a:noFill/>
                </a:ln>
                <a:solidFill>
                  <a:srgbClr val="434343"/>
                </a:solidFill>
                <a:effectLst/>
                <a:uLnTx/>
                <a:uFillTx/>
                <a:latin typeface="Arial"/>
                <a:ea typeface="+mn-ea"/>
                <a:cs typeface="+mn-ea"/>
                <a:sym typeface="+mn-lt"/>
              </a:endParaRPr>
            </a:p>
          </p:txBody>
        </p:sp>
        <p:sp>
          <p:nvSpPr>
            <p:cNvPr id="20" name="Google Shape;494;p21">
              <a:extLst>
                <a:ext uri="{FF2B5EF4-FFF2-40B4-BE49-F238E27FC236}">
                  <a16:creationId xmlns:a16="http://schemas.microsoft.com/office/drawing/2014/main" id="{CEE31E5B-4529-4FB0-98B8-821836450E4F}"/>
                </a:ext>
              </a:extLst>
            </p:cNvPr>
            <p:cNvSpPr txBox="1"/>
            <p:nvPr/>
          </p:nvSpPr>
          <p:spPr>
            <a:xfrm>
              <a:off x="5750750" y="1068147"/>
              <a:ext cx="759000" cy="205500"/>
            </a:xfrm>
            <a:prstGeom prst="rect">
              <a:avLst/>
            </a:prstGeom>
            <a:noFill/>
            <a:ln>
              <a:noFill/>
            </a:ln>
          </p:spPr>
          <p:txBody>
            <a:bodyPr spcFirstLastPara="1" wrap="square" lIns="121900" tIns="121900" rIns="121900" bIns="12190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 sz="1467" b="0" i="0" u="none" strike="noStrike" kern="1200" cap="none" spc="0" normalizeH="0" baseline="0" noProof="0">
                  <a:ln>
                    <a:noFill/>
                  </a:ln>
                  <a:solidFill>
                    <a:srgbClr val="434343"/>
                  </a:solidFill>
                  <a:effectLst/>
                  <a:uLnTx/>
                  <a:uFillTx/>
                  <a:latin typeface="Arial"/>
                  <a:ea typeface="+mn-ea"/>
                  <a:cs typeface="+mn-ea"/>
                  <a:sym typeface="+mn-lt"/>
                </a:rPr>
                <a:t>Callisto</a:t>
              </a:r>
              <a:endParaRPr kumimoji="0" sz="1467" b="0" i="0" u="none" strike="noStrike" kern="1200" cap="none" spc="0" normalizeH="0" baseline="0" noProof="0">
                <a:ln>
                  <a:noFill/>
                </a:ln>
                <a:solidFill>
                  <a:srgbClr val="434343"/>
                </a:solidFill>
                <a:effectLst/>
                <a:uLnTx/>
                <a:uFillTx/>
                <a:latin typeface="Arial"/>
                <a:ea typeface="+mn-ea"/>
                <a:cs typeface="+mn-ea"/>
                <a:sym typeface="+mn-lt"/>
              </a:endParaRPr>
            </a:p>
          </p:txBody>
        </p:sp>
        <p:sp>
          <p:nvSpPr>
            <p:cNvPr id="21" name="Google Shape;495;p21">
              <a:extLst>
                <a:ext uri="{FF2B5EF4-FFF2-40B4-BE49-F238E27FC236}">
                  <a16:creationId xmlns:a16="http://schemas.microsoft.com/office/drawing/2014/main" id="{1D3D59CC-3536-4CFE-A316-3C8E11E09B97}"/>
                </a:ext>
              </a:extLst>
            </p:cNvPr>
            <p:cNvSpPr txBox="1"/>
            <p:nvPr/>
          </p:nvSpPr>
          <p:spPr>
            <a:xfrm>
              <a:off x="6239188" y="3164110"/>
              <a:ext cx="759000" cy="205500"/>
            </a:xfrm>
            <a:prstGeom prst="rect">
              <a:avLst/>
            </a:prstGeom>
            <a:noFill/>
            <a:ln>
              <a:noFill/>
            </a:ln>
          </p:spPr>
          <p:txBody>
            <a:bodyPr spcFirstLastPara="1" wrap="square" lIns="121900" tIns="121900" rIns="121900" bIns="12190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 sz="1467" b="0" i="0" u="none" strike="noStrike" kern="1200" cap="none" spc="0" normalizeH="0" baseline="0" noProof="0">
                  <a:ln>
                    <a:noFill/>
                  </a:ln>
                  <a:solidFill>
                    <a:srgbClr val="434343"/>
                  </a:solidFill>
                  <a:effectLst/>
                  <a:uLnTx/>
                  <a:uFillTx/>
                  <a:latin typeface="Arial"/>
                  <a:ea typeface="+mn-ea"/>
                  <a:cs typeface="+mn-ea"/>
                  <a:sym typeface="+mn-lt"/>
                </a:rPr>
                <a:t>Lysithea</a:t>
              </a:r>
              <a:endParaRPr kumimoji="0" sz="1467" b="0" i="0" u="none" strike="noStrike" kern="1200" cap="none" spc="0" normalizeH="0" baseline="0" noProof="0">
                <a:ln>
                  <a:noFill/>
                </a:ln>
                <a:solidFill>
                  <a:srgbClr val="434343"/>
                </a:solidFill>
                <a:effectLst/>
                <a:uLnTx/>
                <a:uFillTx/>
                <a:latin typeface="Arial"/>
                <a:ea typeface="+mn-ea"/>
                <a:cs typeface="+mn-ea"/>
                <a:sym typeface="+mn-lt"/>
              </a:endParaRPr>
            </a:p>
          </p:txBody>
        </p:sp>
        <p:sp>
          <p:nvSpPr>
            <p:cNvPr id="22" name="Google Shape;496;p21">
              <a:extLst>
                <a:ext uri="{FF2B5EF4-FFF2-40B4-BE49-F238E27FC236}">
                  <a16:creationId xmlns:a16="http://schemas.microsoft.com/office/drawing/2014/main" id="{9A8B6B30-DCB3-4CE1-9C79-9EADEB5B810D}"/>
                </a:ext>
              </a:extLst>
            </p:cNvPr>
            <p:cNvSpPr txBox="1"/>
            <p:nvPr/>
          </p:nvSpPr>
          <p:spPr>
            <a:xfrm>
              <a:off x="6091238" y="3513097"/>
              <a:ext cx="759000" cy="205500"/>
            </a:xfrm>
            <a:prstGeom prst="rect">
              <a:avLst/>
            </a:prstGeom>
            <a:noFill/>
            <a:ln>
              <a:noFill/>
            </a:ln>
          </p:spPr>
          <p:txBody>
            <a:bodyPr spcFirstLastPara="1" wrap="square" lIns="121900" tIns="121900" rIns="121900" bIns="12190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 sz="1467" b="0" i="0" u="none" strike="noStrike" kern="1200" cap="none" spc="0" normalizeH="0" baseline="0" noProof="0">
                  <a:ln>
                    <a:noFill/>
                  </a:ln>
                  <a:solidFill>
                    <a:srgbClr val="434343"/>
                  </a:solidFill>
                  <a:effectLst/>
                  <a:uLnTx/>
                  <a:uFillTx/>
                  <a:latin typeface="Arial"/>
                  <a:ea typeface="+mn-ea"/>
                  <a:cs typeface="+mn-ea"/>
                  <a:sym typeface="+mn-lt"/>
                </a:rPr>
                <a:t>Elara</a:t>
              </a:r>
              <a:endParaRPr kumimoji="0" sz="1467" b="0" i="0" u="none" strike="noStrike" kern="1200" cap="none" spc="0" normalizeH="0" baseline="0" noProof="0">
                <a:ln>
                  <a:noFill/>
                </a:ln>
                <a:solidFill>
                  <a:srgbClr val="434343"/>
                </a:solidFill>
                <a:effectLst/>
                <a:uLnTx/>
                <a:uFillTx/>
                <a:latin typeface="Arial"/>
                <a:ea typeface="+mn-ea"/>
                <a:cs typeface="+mn-ea"/>
                <a:sym typeface="+mn-lt"/>
              </a:endParaRPr>
            </a:p>
          </p:txBody>
        </p:sp>
        <p:sp>
          <p:nvSpPr>
            <p:cNvPr id="23" name="Google Shape;497;p21">
              <a:extLst>
                <a:ext uri="{FF2B5EF4-FFF2-40B4-BE49-F238E27FC236}">
                  <a16:creationId xmlns:a16="http://schemas.microsoft.com/office/drawing/2014/main" id="{9E119DED-62B8-459B-8B06-4F5F36702822}"/>
                </a:ext>
              </a:extLst>
            </p:cNvPr>
            <p:cNvSpPr txBox="1"/>
            <p:nvPr/>
          </p:nvSpPr>
          <p:spPr>
            <a:xfrm>
              <a:off x="5952538" y="3868210"/>
              <a:ext cx="759000" cy="205500"/>
            </a:xfrm>
            <a:prstGeom prst="rect">
              <a:avLst/>
            </a:prstGeom>
            <a:noFill/>
            <a:ln>
              <a:noFill/>
            </a:ln>
          </p:spPr>
          <p:txBody>
            <a:bodyPr spcFirstLastPara="1" wrap="square" lIns="121900" tIns="121900" rIns="121900" bIns="12190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 sz="1467" b="0" i="0" u="none" strike="noStrike" kern="1200" cap="none" spc="0" normalizeH="0" baseline="0" noProof="0">
                  <a:ln>
                    <a:noFill/>
                  </a:ln>
                  <a:solidFill>
                    <a:srgbClr val="434343"/>
                  </a:solidFill>
                  <a:effectLst/>
                  <a:uLnTx/>
                  <a:uFillTx/>
                  <a:latin typeface="Arial"/>
                  <a:ea typeface="+mn-ea"/>
                  <a:cs typeface="+mn-ea"/>
                  <a:sym typeface="+mn-lt"/>
                </a:rPr>
                <a:t>Dia</a:t>
              </a:r>
              <a:endParaRPr kumimoji="0" sz="1467" b="0" i="0" u="none" strike="noStrike" kern="1200" cap="none" spc="0" normalizeH="0" baseline="0" noProof="0">
                <a:ln>
                  <a:noFill/>
                </a:ln>
                <a:solidFill>
                  <a:srgbClr val="434343"/>
                </a:solidFill>
                <a:effectLst/>
                <a:uLnTx/>
                <a:uFillTx/>
                <a:latin typeface="Arial"/>
                <a:ea typeface="+mn-ea"/>
                <a:cs typeface="+mn-ea"/>
                <a:sym typeface="+mn-lt"/>
              </a:endParaRPr>
            </a:p>
          </p:txBody>
        </p:sp>
        <p:sp>
          <p:nvSpPr>
            <p:cNvPr id="24" name="Google Shape;498;p21">
              <a:extLst>
                <a:ext uri="{FF2B5EF4-FFF2-40B4-BE49-F238E27FC236}">
                  <a16:creationId xmlns:a16="http://schemas.microsoft.com/office/drawing/2014/main" id="{C98A7733-A74D-4586-B7BB-F89EE4AA32A6}"/>
                </a:ext>
              </a:extLst>
            </p:cNvPr>
            <p:cNvSpPr txBox="1"/>
            <p:nvPr/>
          </p:nvSpPr>
          <p:spPr>
            <a:xfrm>
              <a:off x="5810263" y="4217197"/>
              <a:ext cx="759000" cy="205500"/>
            </a:xfrm>
            <a:prstGeom prst="rect">
              <a:avLst/>
            </a:prstGeom>
            <a:noFill/>
            <a:ln>
              <a:noFill/>
            </a:ln>
          </p:spPr>
          <p:txBody>
            <a:bodyPr spcFirstLastPara="1" wrap="square" lIns="121900" tIns="121900" rIns="121900" bIns="12190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 sz="1467" b="0" i="0" u="none" strike="noStrike" kern="1200" cap="none" spc="0" normalizeH="0" baseline="0" noProof="0">
                  <a:ln>
                    <a:noFill/>
                  </a:ln>
                  <a:solidFill>
                    <a:srgbClr val="434343"/>
                  </a:solidFill>
                  <a:effectLst/>
                  <a:uLnTx/>
                  <a:uFillTx/>
                  <a:latin typeface="Arial"/>
                  <a:ea typeface="+mn-ea"/>
                  <a:cs typeface="+mn-ea"/>
                  <a:sym typeface="+mn-lt"/>
                </a:rPr>
                <a:t>Phoebe</a:t>
              </a:r>
              <a:endParaRPr kumimoji="0" sz="1467" b="0" i="0" u="none" strike="noStrike" kern="1200" cap="none" spc="0" normalizeH="0" baseline="0" noProof="0">
                <a:ln>
                  <a:noFill/>
                </a:ln>
                <a:solidFill>
                  <a:srgbClr val="434343"/>
                </a:solidFill>
                <a:effectLst/>
                <a:uLnTx/>
                <a:uFillTx/>
                <a:latin typeface="Arial"/>
                <a:ea typeface="+mn-ea"/>
                <a:cs typeface="+mn-ea"/>
                <a:sym typeface="+mn-lt"/>
              </a:endParaRPr>
            </a:p>
          </p:txBody>
        </p:sp>
      </p:grpSp>
      <p:grpSp>
        <p:nvGrpSpPr>
          <p:cNvPr id="25" name="Google Shape;499;p21">
            <a:extLst>
              <a:ext uri="{FF2B5EF4-FFF2-40B4-BE49-F238E27FC236}">
                <a16:creationId xmlns:a16="http://schemas.microsoft.com/office/drawing/2014/main" id="{A839DD0F-1111-4FB0-B73D-C3BA198BDEFF}"/>
              </a:ext>
            </a:extLst>
          </p:cNvPr>
          <p:cNvGrpSpPr/>
          <p:nvPr/>
        </p:nvGrpSpPr>
        <p:grpSpPr>
          <a:xfrm>
            <a:off x="5512218" y="1420383"/>
            <a:ext cx="1984367" cy="4028700"/>
            <a:chOff x="4416638" y="1247825"/>
            <a:chExt cx="1488275" cy="3021525"/>
          </a:xfrm>
        </p:grpSpPr>
        <p:sp>
          <p:nvSpPr>
            <p:cNvPr id="26" name="Google Shape;500;p21">
              <a:extLst>
                <a:ext uri="{FF2B5EF4-FFF2-40B4-BE49-F238E27FC236}">
                  <a16:creationId xmlns:a16="http://schemas.microsoft.com/office/drawing/2014/main" id="{1ADA785F-E48A-4482-8479-867AFA9A0282}"/>
                </a:ext>
              </a:extLst>
            </p:cNvPr>
            <p:cNvSpPr/>
            <p:nvPr/>
          </p:nvSpPr>
          <p:spPr>
            <a:xfrm>
              <a:off x="5184863" y="1247825"/>
              <a:ext cx="642950" cy="3021525"/>
            </a:xfrm>
            <a:custGeom>
              <a:avLst/>
              <a:gdLst/>
              <a:ahLst/>
              <a:cxnLst/>
              <a:rect l="l" t="t" r="r" b="b"/>
              <a:pathLst>
                <a:path w="25718" h="120861" fill="none" extrusionOk="0">
                  <a:moveTo>
                    <a:pt x="1" y="1"/>
                  </a:moveTo>
                  <a:lnTo>
                    <a:pt x="25504" y="60508"/>
                  </a:lnTo>
                  <a:cubicBezTo>
                    <a:pt x="25718" y="60996"/>
                    <a:pt x="25718" y="61544"/>
                    <a:pt x="25516" y="62032"/>
                  </a:cubicBezTo>
                  <a:lnTo>
                    <a:pt x="1846" y="120861"/>
                  </a:lnTo>
                </a:path>
              </a:pathLst>
            </a:custGeom>
            <a:noFill/>
            <a:ln w="35725" cap="rnd" cmpd="sng">
              <a:solidFill>
                <a:srgbClr val="E6E6E6"/>
              </a:solidFill>
              <a:prstDash val="solid"/>
              <a:miter lim="11906"/>
              <a:headEnd type="none" w="sm" len="sm"/>
              <a:tailEnd type="none" w="sm" len="sm"/>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27" name="Google Shape;501;p21">
              <a:extLst>
                <a:ext uri="{FF2B5EF4-FFF2-40B4-BE49-F238E27FC236}">
                  <a16:creationId xmlns:a16="http://schemas.microsoft.com/office/drawing/2014/main" id="{C09D6387-4E51-44E2-A204-711CEA7109AD}"/>
                </a:ext>
              </a:extLst>
            </p:cNvPr>
            <p:cNvSpPr/>
            <p:nvPr/>
          </p:nvSpPr>
          <p:spPr>
            <a:xfrm>
              <a:off x="5409888" y="1833925"/>
              <a:ext cx="116100" cy="116400"/>
            </a:xfrm>
            <a:custGeom>
              <a:avLst/>
              <a:gdLst/>
              <a:ahLst/>
              <a:cxnLst/>
              <a:rect l="l" t="t" r="r" b="b"/>
              <a:pathLst>
                <a:path w="4644" h="4656" extrusionOk="0">
                  <a:moveTo>
                    <a:pt x="2322" y="0"/>
                  </a:moveTo>
                  <a:cubicBezTo>
                    <a:pt x="1036" y="0"/>
                    <a:pt x="1" y="1048"/>
                    <a:pt x="1" y="2334"/>
                  </a:cubicBezTo>
                  <a:cubicBezTo>
                    <a:pt x="1" y="3620"/>
                    <a:pt x="1036" y="4656"/>
                    <a:pt x="2322" y="4656"/>
                  </a:cubicBezTo>
                  <a:cubicBezTo>
                    <a:pt x="3608" y="4656"/>
                    <a:pt x="4644" y="3620"/>
                    <a:pt x="4644" y="2334"/>
                  </a:cubicBezTo>
                  <a:cubicBezTo>
                    <a:pt x="4644" y="1048"/>
                    <a:pt x="3608" y="0"/>
                    <a:pt x="2322" y="0"/>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28" name="Google Shape;502;p21">
              <a:extLst>
                <a:ext uri="{FF2B5EF4-FFF2-40B4-BE49-F238E27FC236}">
                  <a16:creationId xmlns:a16="http://schemas.microsoft.com/office/drawing/2014/main" id="{C342F909-1CB9-45B7-B3EE-54B44F80C55C}"/>
                </a:ext>
              </a:extLst>
            </p:cNvPr>
            <p:cNvSpPr/>
            <p:nvPr/>
          </p:nvSpPr>
          <p:spPr>
            <a:xfrm>
              <a:off x="5561688" y="2194975"/>
              <a:ext cx="116125" cy="116100"/>
            </a:xfrm>
            <a:custGeom>
              <a:avLst/>
              <a:gdLst/>
              <a:ahLst/>
              <a:cxnLst/>
              <a:rect l="l" t="t" r="r" b="b"/>
              <a:pathLst>
                <a:path w="4645" h="4644" extrusionOk="0">
                  <a:moveTo>
                    <a:pt x="2323" y="0"/>
                  </a:moveTo>
                  <a:cubicBezTo>
                    <a:pt x="1037" y="0"/>
                    <a:pt x="1" y="1036"/>
                    <a:pt x="1" y="2322"/>
                  </a:cubicBezTo>
                  <a:cubicBezTo>
                    <a:pt x="1" y="3608"/>
                    <a:pt x="1037" y="4644"/>
                    <a:pt x="2323" y="4644"/>
                  </a:cubicBezTo>
                  <a:cubicBezTo>
                    <a:pt x="3608" y="4644"/>
                    <a:pt x="4644" y="3608"/>
                    <a:pt x="4644" y="2322"/>
                  </a:cubicBezTo>
                  <a:cubicBezTo>
                    <a:pt x="4644" y="1036"/>
                    <a:pt x="3608" y="0"/>
                    <a:pt x="2323" y="0"/>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29" name="Google Shape;503;p21">
              <a:extLst>
                <a:ext uri="{FF2B5EF4-FFF2-40B4-BE49-F238E27FC236}">
                  <a16:creationId xmlns:a16="http://schemas.microsoft.com/office/drawing/2014/main" id="{E4267128-A5EF-4FDF-BDE9-243B72F9FA59}"/>
                </a:ext>
              </a:extLst>
            </p:cNvPr>
            <p:cNvSpPr/>
            <p:nvPr/>
          </p:nvSpPr>
          <p:spPr>
            <a:xfrm>
              <a:off x="5439963" y="3555550"/>
              <a:ext cx="116400" cy="116425"/>
            </a:xfrm>
            <a:custGeom>
              <a:avLst/>
              <a:gdLst/>
              <a:ahLst/>
              <a:cxnLst/>
              <a:rect l="l" t="t" r="r" b="b"/>
              <a:pathLst>
                <a:path w="4656" h="4657" extrusionOk="0">
                  <a:moveTo>
                    <a:pt x="2322" y="1"/>
                  </a:moveTo>
                  <a:cubicBezTo>
                    <a:pt x="1048" y="1"/>
                    <a:pt x="0" y="1049"/>
                    <a:pt x="0" y="2334"/>
                  </a:cubicBezTo>
                  <a:cubicBezTo>
                    <a:pt x="0" y="3620"/>
                    <a:pt x="1048" y="4656"/>
                    <a:pt x="2322" y="4656"/>
                  </a:cubicBezTo>
                  <a:cubicBezTo>
                    <a:pt x="3608" y="4656"/>
                    <a:pt x="4656" y="3620"/>
                    <a:pt x="4656" y="2334"/>
                  </a:cubicBezTo>
                  <a:cubicBezTo>
                    <a:pt x="4656" y="1049"/>
                    <a:pt x="3608" y="1"/>
                    <a:pt x="2322" y="1"/>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30" name="Google Shape;504;p21">
              <a:extLst>
                <a:ext uri="{FF2B5EF4-FFF2-40B4-BE49-F238E27FC236}">
                  <a16:creationId xmlns:a16="http://schemas.microsoft.com/office/drawing/2014/main" id="{6BEB652B-3542-42DA-8801-299BAA238126}"/>
                </a:ext>
              </a:extLst>
            </p:cNvPr>
            <p:cNvSpPr/>
            <p:nvPr/>
          </p:nvSpPr>
          <p:spPr>
            <a:xfrm>
              <a:off x="5284288" y="3910650"/>
              <a:ext cx="116100" cy="116425"/>
            </a:xfrm>
            <a:custGeom>
              <a:avLst/>
              <a:gdLst/>
              <a:ahLst/>
              <a:cxnLst/>
              <a:rect l="l" t="t" r="r" b="b"/>
              <a:pathLst>
                <a:path w="4644" h="4657" extrusionOk="0">
                  <a:moveTo>
                    <a:pt x="2322" y="1"/>
                  </a:moveTo>
                  <a:cubicBezTo>
                    <a:pt x="1036" y="1"/>
                    <a:pt x="0" y="1049"/>
                    <a:pt x="0" y="2335"/>
                  </a:cubicBezTo>
                  <a:cubicBezTo>
                    <a:pt x="0" y="3609"/>
                    <a:pt x="1036" y="4656"/>
                    <a:pt x="2322" y="4656"/>
                  </a:cubicBezTo>
                  <a:cubicBezTo>
                    <a:pt x="3608" y="4656"/>
                    <a:pt x="4644" y="3609"/>
                    <a:pt x="4644" y="2335"/>
                  </a:cubicBezTo>
                  <a:cubicBezTo>
                    <a:pt x="4644" y="1049"/>
                    <a:pt x="3608" y="1"/>
                    <a:pt x="2322" y="1"/>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31" name="Google Shape;505;p21">
              <a:extLst>
                <a:ext uri="{FF2B5EF4-FFF2-40B4-BE49-F238E27FC236}">
                  <a16:creationId xmlns:a16="http://schemas.microsoft.com/office/drawing/2014/main" id="{3E9F2337-BD9B-4026-A852-7FBEBE0AB6BB}"/>
                </a:ext>
              </a:extLst>
            </p:cNvPr>
            <p:cNvSpPr/>
            <p:nvPr/>
          </p:nvSpPr>
          <p:spPr>
            <a:xfrm>
              <a:off x="5251838" y="1473450"/>
              <a:ext cx="116400" cy="116125"/>
            </a:xfrm>
            <a:custGeom>
              <a:avLst/>
              <a:gdLst/>
              <a:ahLst/>
              <a:cxnLst/>
              <a:rect l="l" t="t" r="r" b="b"/>
              <a:pathLst>
                <a:path w="4656" h="4645" extrusionOk="0">
                  <a:moveTo>
                    <a:pt x="2322" y="1"/>
                  </a:moveTo>
                  <a:cubicBezTo>
                    <a:pt x="1048" y="1"/>
                    <a:pt x="0" y="1037"/>
                    <a:pt x="0" y="2323"/>
                  </a:cubicBezTo>
                  <a:cubicBezTo>
                    <a:pt x="0" y="3608"/>
                    <a:pt x="1048" y="4644"/>
                    <a:pt x="2322" y="4644"/>
                  </a:cubicBezTo>
                  <a:cubicBezTo>
                    <a:pt x="3608" y="4644"/>
                    <a:pt x="4656" y="3608"/>
                    <a:pt x="4656" y="2323"/>
                  </a:cubicBezTo>
                  <a:cubicBezTo>
                    <a:pt x="4656" y="1037"/>
                    <a:pt x="3608" y="1"/>
                    <a:pt x="2322" y="1"/>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32" name="Google Shape;506;p21">
              <a:extLst>
                <a:ext uri="{FF2B5EF4-FFF2-40B4-BE49-F238E27FC236}">
                  <a16:creationId xmlns:a16="http://schemas.microsoft.com/office/drawing/2014/main" id="{F66EB81A-13DA-4ED9-B1CB-08A4CE52DFA6}"/>
                </a:ext>
              </a:extLst>
            </p:cNvPr>
            <p:cNvSpPr/>
            <p:nvPr/>
          </p:nvSpPr>
          <p:spPr>
            <a:xfrm>
              <a:off x="5574488" y="3208800"/>
              <a:ext cx="116125" cy="116100"/>
            </a:xfrm>
            <a:custGeom>
              <a:avLst/>
              <a:gdLst/>
              <a:ahLst/>
              <a:cxnLst/>
              <a:rect l="l" t="t" r="r" b="b"/>
              <a:pathLst>
                <a:path w="4645" h="4644" extrusionOk="0">
                  <a:moveTo>
                    <a:pt x="2323" y="0"/>
                  </a:moveTo>
                  <a:cubicBezTo>
                    <a:pt x="1037" y="0"/>
                    <a:pt x="1" y="1036"/>
                    <a:pt x="1" y="2322"/>
                  </a:cubicBezTo>
                  <a:cubicBezTo>
                    <a:pt x="1" y="3608"/>
                    <a:pt x="1037" y="4644"/>
                    <a:pt x="2323" y="4644"/>
                  </a:cubicBezTo>
                  <a:cubicBezTo>
                    <a:pt x="3608" y="4644"/>
                    <a:pt x="4644" y="3608"/>
                    <a:pt x="4644" y="2322"/>
                  </a:cubicBezTo>
                  <a:cubicBezTo>
                    <a:pt x="4644" y="1036"/>
                    <a:pt x="3608" y="0"/>
                    <a:pt x="2323" y="0"/>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33" name="Google Shape;507;p21">
              <a:extLst>
                <a:ext uri="{FF2B5EF4-FFF2-40B4-BE49-F238E27FC236}">
                  <a16:creationId xmlns:a16="http://schemas.microsoft.com/office/drawing/2014/main" id="{7912DAE0-8A88-4310-8203-26424069B4AC}"/>
                </a:ext>
              </a:extLst>
            </p:cNvPr>
            <p:cNvSpPr/>
            <p:nvPr/>
          </p:nvSpPr>
          <p:spPr>
            <a:xfrm>
              <a:off x="4717838" y="2597400"/>
              <a:ext cx="1187075" cy="357225"/>
            </a:xfrm>
            <a:custGeom>
              <a:avLst/>
              <a:gdLst/>
              <a:ahLst/>
              <a:cxnLst/>
              <a:rect l="l" t="t" r="r" b="b"/>
              <a:pathLst>
                <a:path w="47483" h="14289" extrusionOk="0">
                  <a:moveTo>
                    <a:pt x="7144" y="1"/>
                  </a:moveTo>
                  <a:cubicBezTo>
                    <a:pt x="3203" y="1"/>
                    <a:pt x="1" y="3203"/>
                    <a:pt x="1" y="7144"/>
                  </a:cubicBezTo>
                  <a:cubicBezTo>
                    <a:pt x="1" y="11085"/>
                    <a:pt x="3203" y="14288"/>
                    <a:pt x="7144" y="14288"/>
                  </a:cubicBezTo>
                  <a:lnTo>
                    <a:pt x="40339" y="14288"/>
                  </a:lnTo>
                  <a:cubicBezTo>
                    <a:pt x="44280" y="14288"/>
                    <a:pt x="47483" y="11085"/>
                    <a:pt x="47483" y="7144"/>
                  </a:cubicBezTo>
                  <a:cubicBezTo>
                    <a:pt x="47483" y="3203"/>
                    <a:pt x="44280" y="1"/>
                    <a:pt x="40339" y="1"/>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2133" b="0" i="0" u="none" strike="noStrike" kern="1200" cap="none" spc="0" normalizeH="0" baseline="0" noProof="0">
                  <a:ln>
                    <a:noFill/>
                  </a:ln>
                  <a:solidFill>
                    <a:srgbClr val="FFFFFF"/>
                  </a:solidFill>
                  <a:effectLst/>
                  <a:uLnTx/>
                  <a:uFillTx/>
                  <a:latin typeface="Arial"/>
                  <a:ea typeface="+mn-ea"/>
                  <a:cs typeface="+mn-ea"/>
                  <a:sym typeface="+mn-lt"/>
                </a:rPr>
                <a:t>2022</a:t>
              </a:r>
              <a:endParaRPr kumimoji="0" sz="2133" b="0" i="0" u="none" strike="noStrike" kern="1200" cap="none" spc="0" normalizeH="0" baseline="0" noProof="0">
                <a:ln>
                  <a:noFill/>
                </a:ln>
                <a:solidFill>
                  <a:srgbClr val="FFFFFF"/>
                </a:solidFill>
                <a:effectLst/>
                <a:uLnTx/>
                <a:uFillTx/>
                <a:latin typeface="Arial"/>
                <a:ea typeface="+mn-ea"/>
                <a:cs typeface="+mn-ea"/>
                <a:sym typeface="+mn-lt"/>
              </a:endParaRPr>
            </a:p>
          </p:txBody>
        </p:sp>
        <p:sp>
          <p:nvSpPr>
            <p:cNvPr id="34" name="Google Shape;508;p21">
              <a:extLst>
                <a:ext uri="{FF2B5EF4-FFF2-40B4-BE49-F238E27FC236}">
                  <a16:creationId xmlns:a16="http://schemas.microsoft.com/office/drawing/2014/main" id="{BD635F4D-985B-4A66-9B4E-FBE225DC2169}"/>
                </a:ext>
              </a:extLst>
            </p:cNvPr>
            <p:cNvSpPr/>
            <p:nvPr/>
          </p:nvSpPr>
          <p:spPr>
            <a:xfrm>
              <a:off x="4518113" y="2570625"/>
              <a:ext cx="408100" cy="408100"/>
            </a:xfrm>
            <a:custGeom>
              <a:avLst/>
              <a:gdLst/>
              <a:ahLst/>
              <a:cxnLst/>
              <a:rect l="l" t="t" r="r" b="b"/>
              <a:pathLst>
                <a:path w="16324" h="16324" extrusionOk="0">
                  <a:moveTo>
                    <a:pt x="8168" y="0"/>
                  </a:moveTo>
                  <a:cubicBezTo>
                    <a:pt x="3656" y="0"/>
                    <a:pt x="0" y="3655"/>
                    <a:pt x="0" y="8156"/>
                  </a:cubicBezTo>
                  <a:cubicBezTo>
                    <a:pt x="0" y="12668"/>
                    <a:pt x="3656" y="16324"/>
                    <a:pt x="8168" y="16324"/>
                  </a:cubicBezTo>
                  <a:cubicBezTo>
                    <a:pt x="12669" y="16324"/>
                    <a:pt x="16324" y="12668"/>
                    <a:pt x="16324" y="8156"/>
                  </a:cubicBezTo>
                  <a:cubicBezTo>
                    <a:pt x="16324" y="3655"/>
                    <a:pt x="12669" y="0"/>
                    <a:pt x="8168" y="0"/>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35" name="Google Shape;509;p21">
              <a:extLst>
                <a:ext uri="{FF2B5EF4-FFF2-40B4-BE49-F238E27FC236}">
                  <a16:creationId xmlns:a16="http://schemas.microsoft.com/office/drawing/2014/main" id="{1AECC51B-163E-4E50-8D4E-9DD7EAA61FBE}"/>
                </a:ext>
              </a:extLst>
            </p:cNvPr>
            <p:cNvSpPr/>
            <p:nvPr/>
          </p:nvSpPr>
          <p:spPr>
            <a:xfrm>
              <a:off x="4560688" y="2612875"/>
              <a:ext cx="322975" cy="323275"/>
            </a:xfrm>
            <a:custGeom>
              <a:avLst/>
              <a:gdLst/>
              <a:ahLst/>
              <a:cxnLst/>
              <a:rect l="l" t="t" r="r" b="b"/>
              <a:pathLst>
                <a:path w="12919" h="12931" extrusionOk="0">
                  <a:moveTo>
                    <a:pt x="6465" y="1"/>
                  </a:moveTo>
                  <a:cubicBezTo>
                    <a:pt x="2893" y="1"/>
                    <a:pt x="0" y="2906"/>
                    <a:pt x="0" y="6466"/>
                  </a:cubicBezTo>
                  <a:cubicBezTo>
                    <a:pt x="0" y="10026"/>
                    <a:pt x="2893" y="12931"/>
                    <a:pt x="6465" y="12931"/>
                  </a:cubicBezTo>
                  <a:cubicBezTo>
                    <a:pt x="10025" y="12931"/>
                    <a:pt x="12918" y="10026"/>
                    <a:pt x="12918" y="6466"/>
                  </a:cubicBezTo>
                  <a:cubicBezTo>
                    <a:pt x="12918" y="2906"/>
                    <a:pt x="10025" y="1"/>
                    <a:pt x="6465" y="1"/>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36" name="Google Shape;510;p21">
              <a:extLst>
                <a:ext uri="{FF2B5EF4-FFF2-40B4-BE49-F238E27FC236}">
                  <a16:creationId xmlns:a16="http://schemas.microsoft.com/office/drawing/2014/main" id="{DEC9B8C0-BB50-4E23-B118-3FAF188D211C}"/>
                </a:ext>
              </a:extLst>
            </p:cNvPr>
            <p:cNvSpPr/>
            <p:nvPr/>
          </p:nvSpPr>
          <p:spPr>
            <a:xfrm>
              <a:off x="4662488" y="2719750"/>
              <a:ext cx="116400" cy="116100"/>
            </a:xfrm>
            <a:custGeom>
              <a:avLst/>
              <a:gdLst/>
              <a:ahLst/>
              <a:cxnLst/>
              <a:rect l="l" t="t" r="r" b="b"/>
              <a:pathLst>
                <a:path w="4656" h="4644" extrusionOk="0">
                  <a:moveTo>
                    <a:pt x="2334" y="0"/>
                  </a:moveTo>
                  <a:cubicBezTo>
                    <a:pt x="1048" y="0"/>
                    <a:pt x="0" y="1036"/>
                    <a:pt x="0" y="2322"/>
                  </a:cubicBezTo>
                  <a:cubicBezTo>
                    <a:pt x="0" y="3608"/>
                    <a:pt x="1048" y="4644"/>
                    <a:pt x="2334" y="4644"/>
                  </a:cubicBezTo>
                  <a:cubicBezTo>
                    <a:pt x="3608" y="4644"/>
                    <a:pt x="4643" y="3620"/>
                    <a:pt x="4655" y="2334"/>
                  </a:cubicBezTo>
                  <a:lnTo>
                    <a:pt x="2346" y="2334"/>
                  </a:lnTo>
                  <a:lnTo>
                    <a:pt x="2346" y="0"/>
                  </a:lnTo>
                  <a:close/>
                </a:path>
              </a:pathLst>
            </a:custGeom>
            <a:solidFill>
              <a:srgbClr val="FFFFFF"/>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37" name="Google Shape;511;p21">
              <a:extLst>
                <a:ext uri="{FF2B5EF4-FFF2-40B4-BE49-F238E27FC236}">
                  <a16:creationId xmlns:a16="http://schemas.microsoft.com/office/drawing/2014/main" id="{1019E306-D6C4-44C1-B720-B8D9A6EECA0F}"/>
                </a:ext>
              </a:extLst>
            </p:cNvPr>
            <p:cNvSpPr/>
            <p:nvPr/>
          </p:nvSpPr>
          <p:spPr>
            <a:xfrm>
              <a:off x="4734213" y="2706650"/>
              <a:ext cx="57775" cy="58650"/>
            </a:xfrm>
            <a:custGeom>
              <a:avLst/>
              <a:gdLst/>
              <a:ahLst/>
              <a:cxnLst/>
              <a:rect l="l" t="t" r="r" b="b"/>
              <a:pathLst>
                <a:path w="2311" h="2346" extrusionOk="0">
                  <a:moveTo>
                    <a:pt x="0" y="0"/>
                  </a:moveTo>
                  <a:lnTo>
                    <a:pt x="0" y="2346"/>
                  </a:lnTo>
                  <a:lnTo>
                    <a:pt x="2310" y="2346"/>
                  </a:lnTo>
                  <a:lnTo>
                    <a:pt x="2310" y="2322"/>
                  </a:lnTo>
                  <a:cubicBezTo>
                    <a:pt x="2310" y="1048"/>
                    <a:pt x="1274" y="12"/>
                    <a:pt x="0" y="0"/>
                  </a:cubicBezTo>
                  <a:close/>
                </a:path>
              </a:pathLst>
            </a:custGeom>
            <a:solidFill>
              <a:srgbClr val="FFFFFF"/>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38" name="Google Shape;512;p21">
              <a:extLst>
                <a:ext uri="{FF2B5EF4-FFF2-40B4-BE49-F238E27FC236}">
                  <a16:creationId xmlns:a16="http://schemas.microsoft.com/office/drawing/2014/main" id="{F7AB6CCB-4B0E-466F-8F07-405CA668AD25}"/>
                </a:ext>
              </a:extLst>
            </p:cNvPr>
            <p:cNvSpPr txBox="1"/>
            <p:nvPr/>
          </p:nvSpPr>
          <p:spPr>
            <a:xfrm>
              <a:off x="4726488" y="2150272"/>
              <a:ext cx="759000" cy="205500"/>
            </a:xfrm>
            <a:prstGeom prst="rect">
              <a:avLst/>
            </a:prstGeom>
            <a:noFill/>
            <a:ln>
              <a:noFill/>
            </a:ln>
          </p:spPr>
          <p:txBody>
            <a:bodyPr spcFirstLastPara="1" wrap="square" lIns="121900" tIns="121900" rIns="121900" bIns="12190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 sz="1467" b="0" i="0" u="none" strike="noStrike" kern="1200" cap="none" spc="0" normalizeH="0" baseline="0" noProof="0">
                  <a:ln>
                    <a:noFill/>
                  </a:ln>
                  <a:solidFill>
                    <a:srgbClr val="434343"/>
                  </a:solidFill>
                  <a:effectLst/>
                  <a:uLnTx/>
                  <a:uFillTx/>
                  <a:latin typeface="Arial"/>
                  <a:ea typeface="+mn-ea"/>
                  <a:cs typeface="+mn-ea"/>
                  <a:sym typeface="+mn-lt"/>
                </a:rPr>
                <a:t>Metis</a:t>
              </a:r>
              <a:endParaRPr kumimoji="0" sz="1467" b="0" i="0" u="none" strike="noStrike" kern="1200" cap="none" spc="0" normalizeH="0" baseline="0" noProof="0">
                <a:ln>
                  <a:noFill/>
                </a:ln>
                <a:solidFill>
                  <a:srgbClr val="434343"/>
                </a:solidFill>
                <a:effectLst/>
                <a:uLnTx/>
                <a:uFillTx/>
                <a:latin typeface="Arial"/>
                <a:ea typeface="+mn-ea"/>
                <a:cs typeface="+mn-ea"/>
                <a:sym typeface="+mn-lt"/>
              </a:endParaRPr>
            </a:p>
          </p:txBody>
        </p:sp>
        <p:sp>
          <p:nvSpPr>
            <p:cNvPr id="39" name="Google Shape;513;p21">
              <a:extLst>
                <a:ext uri="{FF2B5EF4-FFF2-40B4-BE49-F238E27FC236}">
                  <a16:creationId xmlns:a16="http://schemas.microsoft.com/office/drawing/2014/main" id="{16690F23-D8B1-4489-B15A-A54D1366B923}"/>
                </a:ext>
              </a:extLst>
            </p:cNvPr>
            <p:cNvSpPr txBox="1"/>
            <p:nvPr/>
          </p:nvSpPr>
          <p:spPr>
            <a:xfrm>
              <a:off x="4574688" y="1789572"/>
              <a:ext cx="759000" cy="205500"/>
            </a:xfrm>
            <a:prstGeom prst="rect">
              <a:avLst/>
            </a:prstGeom>
            <a:noFill/>
            <a:ln>
              <a:noFill/>
            </a:ln>
          </p:spPr>
          <p:txBody>
            <a:bodyPr spcFirstLastPara="1" wrap="square" lIns="121900" tIns="121900" rIns="121900" bIns="12190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 sz="1467" b="0" i="0" u="none" strike="noStrike" kern="1200" cap="none" spc="0" normalizeH="0" baseline="0" noProof="0">
                  <a:ln>
                    <a:noFill/>
                  </a:ln>
                  <a:solidFill>
                    <a:srgbClr val="434343"/>
                  </a:solidFill>
                  <a:effectLst/>
                  <a:uLnTx/>
                  <a:uFillTx/>
                  <a:latin typeface="Arial"/>
                  <a:ea typeface="+mn-ea"/>
                  <a:cs typeface="+mn-ea"/>
                  <a:sym typeface="+mn-lt"/>
                </a:rPr>
                <a:t>Leda</a:t>
              </a:r>
              <a:endParaRPr kumimoji="0" sz="1467" b="0" i="0" u="none" strike="noStrike" kern="1200" cap="none" spc="0" normalizeH="0" baseline="0" noProof="0">
                <a:ln>
                  <a:noFill/>
                </a:ln>
                <a:solidFill>
                  <a:srgbClr val="434343"/>
                </a:solidFill>
                <a:effectLst/>
                <a:uLnTx/>
                <a:uFillTx/>
                <a:latin typeface="Arial"/>
                <a:ea typeface="+mn-ea"/>
                <a:cs typeface="+mn-ea"/>
                <a:sym typeface="+mn-lt"/>
              </a:endParaRPr>
            </a:p>
          </p:txBody>
        </p:sp>
        <p:sp>
          <p:nvSpPr>
            <p:cNvPr id="40" name="Google Shape;514;p21">
              <a:extLst>
                <a:ext uri="{FF2B5EF4-FFF2-40B4-BE49-F238E27FC236}">
                  <a16:creationId xmlns:a16="http://schemas.microsoft.com/office/drawing/2014/main" id="{F02D0672-596B-4AE0-80B5-BD3BA8038169}"/>
                </a:ext>
              </a:extLst>
            </p:cNvPr>
            <p:cNvSpPr txBox="1"/>
            <p:nvPr/>
          </p:nvSpPr>
          <p:spPr>
            <a:xfrm>
              <a:off x="4416638" y="1432322"/>
              <a:ext cx="759000" cy="205500"/>
            </a:xfrm>
            <a:prstGeom prst="rect">
              <a:avLst/>
            </a:prstGeom>
            <a:noFill/>
            <a:ln>
              <a:noFill/>
            </a:ln>
          </p:spPr>
          <p:txBody>
            <a:bodyPr spcFirstLastPara="1" wrap="square" lIns="121900" tIns="121900" rIns="121900" bIns="12190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 sz="1467" b="0" i="0" u="none" strike="noStrike" kern="1200" cap="none" spc="0" normalizeH="0" baseline="0" noProof="0">
                  <a:ln>
                    <a:noFill/>
                  </a:ln>
                  <a:solidFill>
                    <a:srgbClr val="434343"/>
                  </a:solidFill>
                  <a:effectLst/>
                  <a:uLnTx/>
                  <a:uFillTx/>
                  <a:latin typeface="Arial"/>
                  <a:ea typeface="+mn-ea"/>
                  <a:cs typeface="+mn-ea"/>
                  <a:sym typeface="+mn-lt"/>
                </a:rPr>
                <a:t>Moon</a:t>
              </a:r>
              <a:endParaRPr kumimoji="0" sz="1467" b="0" i="0" u="none" strike="noStrike" kern="1200" cap="none" spc="0" normalizeH="0" baseline="0" noProof="0">
                <a:ln>
                  <a:noFill/>
                </a:ln>
                <a:solidFill>
                  <a:srgbClr val="434343"/>
                </a:solidFill>
                <a:effectLst/>
                <a:uLnTx/>
                <a:uFillTx/>
                <a:latin typeface="Arial"/>
                <a:ea typeface="+mn-ea"/>
                <a:cs typeface="+mn-ea"/>
                <a:sym typeface="+mn-lt"/>
              </a:endParaRPr>
            </a:p>
          </p:txBody>
        </p:sp>
        <p:sp>
          <p:nvSpPr>
            <p:cNvPr id="41" name="Google Shape;515;p21">
              <a:extLst>
                <a:ext uri="{FF2B5EF4-FFF2-40B4-BE49-F238E27FC236}">
                  <a16:creationId xmlns:a16="http://schemas.microsoft.com/office/drawing/2014/main" id="{2DBDFB33-2D26-4768-B525-42E895DB5E33}"/>
                </a:ext>
              </a:extLst>
            </p:cNvPr>
            <p:cNvSpPr txBox="1"/>
            <p:nvPr/>
          </p:nvSpPr>
          <p:spPr>
            <a:xfrm>
              <a:off x="4739288" y="3164110"/>
              <a:ext cx="759000" cy="205500"/>
            </a:xfrm>
            <a:prstGeom prst="rect">
              <a:avLst/>
            </a:prstGeom>
            <a:noFill/>
            <a:ln>
              <a:noFill/>
            </a:ln>
          </p:spPr>
          <p:txBody>
            <a:bodyPr spcFirstLastPara="1" wrap="square" lIns="121900" tIns="121900" rIns="121900" bIns="12190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 sz="1467" b="0" i="0" u="none" strike="noStrike" kern="1200" cap="none" spc="0" normalizeH="0" baseline="0" noProof="0">
                  <a:ln>
                    <a:noFill/>
                  </a:ln>
                  <a:solidFill>
                    <a:srgbClr val="434343"/>
                  </a:solidFill>
                  <a:effectLst/>
                  <a:uLnTx/>
                  <a:uFillTx/>
                  <a:latin typeface="Arial"/>
                  <a:ea typeface="+mn-ea"/>
                  <a:cs typeface="+mn-ea"/>
                  <a:sym typeface="+mn-lt"/>
                </a:rPr>
                <a:t>Mercury</a:t>
              </a:r>
              <a:endParaRPr kumimoji="0" sz="1467" b="0" i="0" u="none" strike="noStrike" kern="1200" cap="none" spc="0" normalizeH="0" baseline="0" noProof="0">
                <a:ln>
                  <a:noFill/>
                </a:ln>
                <a:solidFill>
                  <a:srgbClr val="434343"/>
                </a:solidFill>
                <a:effectLst/>
                <a:uLnTx/>
                <a:uFillTx/>
                <a:latin typeface="Arial"/>
                <a:ea typeface="+mn-ea"/>
                <a:cs typeface="+mn-ea"/>
                <a:sym typeface="+mn-lt"/>
              </a:endParaRPr>
            </a:p>
          </p:txBody>
        </p:sp>
        <p:sp>
          <p:nvSpPr>
            <p:cNvPr id="42" name="Google Shape;516;p21">
              <a:extLst>
                <a:ext uri="{FF2B5EF4-FFF2-40B4-BE49-F238E27FC236}">
                  <a16:creationId xmlns:a16="http://schemas.microsoft.com/office/drawing/2014/main" id="{EF45F40A-4194-46B2-AC8A-1647BEA7689E}"/>
                </a:ext>
              </a:extLst>
            </p:cNvPr>
            <p:cNvSpPr txBox="1"/>
            <p:nvPr/>
          </p:nvSpPr>
          <p:spPr>
            <a:xfrm>
              <a:off x="4604763" y="3513097"/>
              <a:ext cx="759000" cy="205500"/>
            </a:xfrm>
            <a:prstGeom prst="rect">
              <a:avLst/>
            </a:prstGeom>
            <a:noFill/>
            <a:ln>
              <a:noFill/>
            </a:ln>
          </p:spPr>
          <p:txBody>
            <a:bodyPr spcFirstLastPara="1" wrap="square" lIns="121900" tIns="121900" rIns="121900" bIns="12190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 sz="1467" b="0" i="0" u="none" strike="noStrike" kern="1200" cap="none" spc="0" normalizeH="0" baseline="0" noProof="0">
                  <a:ln>
                    <a:noFill/>
                  </a:ln>
                  <a:solidFill>
                    <a:srgbClr val="434343"/>
                  </a:solidFill>
                  <a:effectLst/>
                  <a:uLnTx/>
                  <a:uFillTx/>
                  <a:latin typeface="Arial"/>
                  <a:ea typeface="+mn-ea"/>
                  <a:cs typeface="+mn-ea"/>
                  <a:sym typeface="+mn-lt"/>
                </a:rPr>
                <a:t>Saturn</a:t>
              </a:r>
              <a:endParaRPr kumimoji="0" sz="1467" b="0" i="0" u="none" strike="noStrike" kern="1200" cap="none" spc="0" normalizeH="0" baseline="0" noProof="0">
                <a:ln>
                  <a:noFill/>
                </a:ln>
                <a:solidFill>
                  <a:srgbClr val="434343"/>
                </a:solidFill>
                <a:effectLst/>
                <a:uLnTx/>
                <a:uFillTx/>
                <a:latin typeface="Arial"/>
                <a:ea typeface="+mn-ea"/>
                <a:cs typeface="+mn-ea"/>
                <a:sym typeface="+mn-lt"/>
              </a:endParaRPr>
            </a:p>
          </p:txBody>
        </p:sp>
        <p:sp>
          <p:nvSpPr>
            <p:cNvPr id="43" name="Google Shape;517;p21">
              <a:extLst>
                <a:ext uri="{FF2B5EF4-FFF2-40B4-BE49-F238E27FC236}">
                  <a16:creationId xmlns:a16="http://schemas.microsoft.com/office/drawing/2014/main" id="{F75EBB06-FF14-458B-B636-295EB33EDB7C}"/>
                </a:ext>
              </a:extLst>
            </p:cNvPr>
            <p:cNvSpPr txBox="1"/>
            <p:nvPr/>
          </p:nvSpPr>
          <p:spPr>
            <a:xfrm>
              <a:off x="4449088" y="3868210"/>
              <a:ext cx="759000" cy="205500"/>
            </a:xfrm>
            <a:prstGeom prst="rect">
              <a:avLst/>
            </a:prstGeom>
            <a:noFill/>
            <a:ln>
              <a:noFill/>
            </a:ln>
          </p:spPr>
          <p:txBody>
            <a:bodyPr spcFirstLastPara="1" wrap="square" lIns="121900" tIns="121900" rIns="121900" bIns="12190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 sz="1467" b="0" i="0" u="none" strike="noStrike" kern="1200" cap="none" spc="0" normalizeH="0" baseline="0" noProof="0">
                  <a:ln>
                    <a:noFill/>
                  </a:ln>
                  <a:solidFill>
                    <a:srgbClr val="434343"/>
                  </a:solidFill>
                  <a:effectLst/>
                  <a:uLnTx/>
                  <a:uFillTx/>
                  <a:latin typeface="Arial"/>
                  <a:ea typeface="+mn-ea"/>
                  <a:cs typeface="+mn-ea"/>
                  <a:sym typeface="+mn-lt"/>
                </a:rPr>
                <a:t>Jupiter</a:t>
              </a:r>
              <a:endParaRPr kumimoji="0" sz="1467" b="0" i="0" u="none" strike="noStrike" kern="1200" cap="none" spc="0" normalizeH="0" baseline="0" noProof="0">
                <a:ln>
                  <a:noFill/>
                </a:ln>
                <a:solidFill>
                  <a:srgbClr val="434343"/>
                </a:solidFill>
                <a:effectLst/>
                <a:uLnTx/>
                <a:uFillTx/>
                <a:latin typeface="Arial"/>
                <a:ea typeface="+mn-ea"/>
                <a:cs typeface="+mn-ea"/>
                <a:sym typeface="+mn-lt"/>
              </a:endParaRPr>
            </a:p>
          </p:txBody>
        </p:sp>
      </p:grpSp>
      <p:grpSp>
        <p:nvGrpSpPr>
          <p:cNvPr id="44" name="Google Shape;518;p21">
            <a:extLst>
              <a:ext uri="{FF2B5EF4-FFF2-40B4-BE49-F238E27FC236}">
                <a16:creationId xmlns:a16="http://schemas.microsoft.com/office/drawing/2014/main" id="{C0B34268-1679-48E8-9E97-7CA2AD742BAD}"/>
              </a:ext>
            </a:extLst>
          </p:cNvPr>
          <p:cNvGrpSpPr/>
          <p:nvPr/>
        </p:nvGrpSpPr>
        <p:grpSpPr>
          <a:xfrm>
            <a:off x="3624452" y="1879183"/>
            <a:ext cx="1854633" cy="3092467"/>
            <a:chOff x="3066438" y="1591925"/>
            <a:chExt cx="1390975" cy="2319350"/>
          </a:xfrm>
        </p:grpSpPr>
        <p:sp>
          <p:nvSpPr>
            <p:cNvPr id="45" name="Google Shape;519;p21">
              <a:extLst>
                <a:ext uri="{FF2B5EF4-FFF2-40B4-BE49-F238E27FC236}">
                  <a16:creationId xmlns:a16="http://schemas.microsoft.com/office/drawing/2014/main" id="{012A207D-2DA4-4703-A157-A0441117F811}"/>
                </a:ext>
              </a:extLst>
            </p:cNvPr>
            <p:cNvSpPr/>
            <p:nvPr/>
          </p:nvSpPr>
          <p:spPr>
            <a:xfrm>
              <a:off x="3873088" y="1591925"/>
              <a:ext cx="498600" cy="2319350"/>
            </a:xfrm>
            <a:custGeom>
              <a:avLst/>
              <a:gdLst/>
              <a:ahLst/>
              <a:cxnLst/>
              <a:rect l="l" t="t" r="r" b="b"/>
              <a:pathLst>
                <a:path w="19944" h="92774" fill="none" extrusionOk="0">
                  <a:moveTo>
                    <a:pt x="1" y="0"/>
                  </a:moveTo>
                  <a:lnTo>
                    <a:pt x="19777" y="46685"/>
                  </a:lnTo>
                  <a:cubicBezTo>
                    <a:pt x="19944" y="47078"/>
                    <a:pt x="19944" y="47506"/>
                    <a:pt x="19789" y="47899"/>
                  </a:cubicBezTo>
                  <a:lnTo>
                    <a:pt x="1691" y="92774"/>
                  </a:lnTo>
                </a:path>
              </a:pathLst>
            </a:custGeom>
            <a:noFill/>
            <a:ln w="35725" cap="rnd" cmpd="sng">
              <a:solidFill>
                <a:srgbClr val="E6E6E6"/>
              </a:solidFill>
              <a:prstDash val="solid"/>
              <a:miter lim="11906"/>
              <a:headEnd type="none" w="sm" len="sm"/>
              <a:tailEnd type="none" w="sm" len="sm"/>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46" name="Google Shape;520;p21">
              <a:extLst>
                <a:ext uri="{FF2B5EF4-FFF2-40B4-BE49-F238E27FC236}">
                  <a16:creationId xmlns:a16="http://schemas.microsoft.com/office/drawing/2014/main" id="{D1F90F9D-D7C5-4F88-B0EC-420BCA661021}"/>
                </a:ext>
              </a:extLst>
            </p:cNvPr>
            <p:cNvSpPr/>
            <p:nvPr/>
          </p:nvSpPr>
          <p:spPr>
            <a:xfrm>
              <a:off x="4110038" y="2194975"/>
              <a:ext cx="116100" cy="116100"/>
            </a:xfrm>
            <a:custGeom>
              <a:avLst/>
              <a:gdLst/>
              <a:ahLst/>
              <a:cxnLst/>
              <a:rect l="l" t="t" r="r" b="b"/>
              <a:pathLst>
                <a:path w="4644" h="4644" extrusionOk="0">
                  <a:moveTo>
                    <a:pt x="2322" y="0"/>
                  </a:moveTo>
                  <a:cubicBezTo>
                    <a:pt x="1036" y="0"/>
                    <a:pt x="0" y="1036"/>
                    <a:pt x="0" y="2322"/>
                  </a:cubicBezTo>
                  <a:cubicBezTo>
                    <a:pt x="0" y="3608"/>
                    <a:pt x="1036" y="4644"/>
                    <a:pt x="2322" y="4644"/>
                  </a:cubicBezTo>
                  <a:cubicBezTo>
                    <a:pt x="3608" y="4644"/>
                    <a:pt x="4643" y="3608"/>
                    <a:pt x="4643" y="2322"/>
                  </a:cubicBezTo>
                  <a:cubicBezTo>
                    <a:pt x="4643" y="1036"/>
                    <a:pt x="3608" y="0"/>
                    <a:pt x="2322" y="0"/>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47" name="Google Shape;521;p21">
              <a:extLst>
                <a:ext uri="{FF2B5EF4-FFF2-40B4-BE49-F238E27FC236}">
                  <a16:creationId xmlns:a16="http://schemas.microsoft.com/office/drawing/2014/main" id="{003964CA-C249-41E0-8262-D5F499C3A391}"/>
                </a:ext>
              </a:extLst>
            </p:cNvPr>
            <p:cNvSpPr/>
            <p:nvPr/>
          </p:nvSpPr>
          <p:spPr>
            <a:xfrm>
              <a:off x="3974888" y="3555550"/>
              <a:ext cx="116400" cy="116425"/>
            </a:xfrm>
            <a:custGeom>
              <a:avLst/>
              <a:gdLst/>
              <a:ahLst/>
              <a:cxnLst/>
              <a:rect l="l" t="t" r="r" b="b"/>
              <a:pathLst>
                <a:path w="4656" h="4657" extrusionOk="0">
                  <a:moveTo>
                    <a:pt x="2322" y="1"/>
                  </a:moveTo>
                  <a:cubicBezTo>
                    <a:pt x="1048" y="1"/>
                    <a:pt x="1" y="1049"/>
                    <a:pt x="1" y="2334"/>
                  </a:cubicBezTo>
                  <a:cubicBezTo>
                    <a:pt x="1" y="3620"/>
                    <a:pt x="1048" y="4656"/>
                    <a:pt x="2322" y="4656"/>
                  </a:cubicBezTo>
                  <a:cubicBezTo>
                    <a:pt x="3608" y="4656"/>
                    <a:pt x="4656" y="3620"/>
                    <a:pt x="4656" y="2334"/>
                  </a:cubicBezTo>
                  <a:cubicBezTo>
                    <a:pt x="4656" y="1049"/>
                    <a:pt x="3608" y="1"/>
                    <a:pt x="2322" y="1"/>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48" name="Google Shape;522;p21">
              <a:extLst>
                <a:ext uri="{FF2B5EF4-FFF2-40B4-BE49-F238E27FC236}">
                  <a16:creationId xmlns:a16="http://schemas.microsoft.com/office/drawing/2014/main" id="{BE583304-D440-406A-B617-63ACEA7841CB}"/>
                </a:ext>
              </a:extLst>
            </p:cNvPr>
            <p:cNvSpPr/>
            <p:nvPr/>
          </p:nvSpPr>
          <p:spPr>
            <a:xfrm>
              <a:off x="3948688" y="1833925"/>
              <a:ext cx="116425" cy="116400"/>
            </a:xfrm>
            <a:custGeom>
              <a:avLst/>
              <a:gdLst/>
              <a:ahLst/>
              <a:cxnLst/>
              <a:rect l="l" t="t" r="r" b="b"/>
              <a:pathLst>
                <a:path w="4657" h="4656" extrusionOk="0">
                  <a:moveTo>
                    <a:pt x="2334" y="0"/>
                  </a:moveTo>
                  <a:cubicBezTo>
                    <a:pt x="1049" y="0"/>
                    <a:pt x="1" y="1048"/>
                    <a:pt x="1" y="2334"/>
                  </a:cubicBezTo>
                  <a:cubicBezTo>
                    <a:pt x="1" y="3620"/>
                    <a:pt x="1049" y="4656"/>
                    <a:pt x="2334" y="4656"/>
                  </a:cubicBezTo>
                  <a:cubicBezTo>
                    <a:pt x="3608" y="4656"/>
                    <a:pt x="4656" y="3620"/>
                    <a:pt x="4656" y="2334"/>
                  </a:cubicBezTo>
                  <a:cubicBezTo>
                    <a:pt x="4656" y="1048"/>
                    <a:pt x="3608" y="0"/>
                    <a:pt x="2334" y="0"/>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49" name="Google Shape;523;p21">
              <a:extLst>
                <a:ext uri="{FF2B5EF4-FFF2-40B4-BE49-F238E27FC236}">
                  <a16:creationId xmlns:a16="http://schemas.microsoft.com/office/drawing/2014/main" id="{99C576D1-3EB8-4FE2-896F-162AF57A897B}"/>
                </a:ext>
              </a:extLst>
            </p:cNvPr>
            <p:cNvSpPr/>
            <p:nvPr/>
          </p:nvSpPr>
          <p:spPr>
            <a:xfrm>
              <a:off x="4122813" y="3208800"/>
              <a:ext cx="116125" cy="116100"/>
            </a:xfrm>
            <a:custGeom>
              <a:avLst/>
              <a:gdLst/>
              <a:ahLst/>
              <a:cxnLst/>
              <a:rect l="l" t="t" r="r" b="b"/>
              <a:pathLst>
                <a:path w="4645" h="4644" extrusionOk="0">
                  <a:moveTo>
                    <a:pt x="2323" y="0"/>
                  </a:moveTo>
                  <a:cubicBezTo>
                    <a:pt x="1037" y="0"/>
                    <a:pt x="1" y="1036"/>
                    <a:pt x="1" y="2322"/>
                  </a:cubicBezTo>
                  <a:cubicBezTo>
                    <a:pt x="1" y="3608"/>
                    <a:pt x="1037" y="4644"/>
                    <a:pt x="2323" y="4644"/>
                  </a:cubicBezTo>
                  <a:cubicBezTo>
                    <a:pt x="3609" y="4644"/>
                    <a:pt x="4644" y="3608"/>
                    <a:pt x="4644" y="2322"/>
                  </a:cubicBezTo>
                  <a:cubicBezTo>
                    <a:pt x="4644" y="1036"/>
                    <a:pt x="3609" y="0"/>
                    <a:pt x="2323" y="0"/>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50" name="Google Shape;524;p21">
              <a:extLst>
                <a:ext uri="{FF2B5EF4-FFF2-40B4-BE49-F238E27FC236}">
                  <a16:creationId xmlns:a16="http://schemas.microsoft.com/office/drawing/2014/main" id="{5464B116-D4B9-4373-96E9-919FD5056741}"/>
                </a:ext>
              </a:extLst>
            </p:cNvPr>
            <p:cNvSpPr/>
            <p:nvPr/>
          </p:nvSpPr>
          <p:spPr>
            <a:xfrm>
              <a:off x="3270638" y="2597400"/>
              <a:ext cx="1186775" cy="357225"/>
            </a:xfrm>
            <a:custGeom>
              <a:avLst/>
              <a:gdLst/>
              <a:ahLst/>
              <a:cxnLst/>
              <a:rect l="l" t="t" r="r" b="b"/>
              <a:pathLst>
                <a:path w="47471" h="14289" extrusionOk="0">
                  <a:moveTo>
                    <a:pt x="7144" y="1"/>
                  </a:moveTo>
                  <a:cubicBezTo>
                    <a:pt x="3191" y="1"/>
                    <a:pt x="0" y="3203"/>
                    <a:pt x="0" y="7144"/>
                  </a:cubicBezTo>
                  <a:cubicBezTo>
                    <a:pt x="0" y="11085"/>
                    <a:pt x="3191" y="14288"/>
                    <a:pt x="7144" y="14288"/>
                  </a:cubicBezTo>
                  <a:lnTo>
                    <a:pt x="40327" y="14288"/>
                  </a:lnTo>
                  <a:cubicBezTo>
                    <a:pt x="44268" y="14288"/>
                    <a:pt x="47471" y="11085"/>
                    <a:pt x="47471" y="7144"/>
                  </a:cubicBezTo>
                  <a:cubicBezTo>
                    <a:pt x="47471" y="3203"/>
                    <a:pt x="44268" y="1"/>
                    <a:pt x="40327" y="1"/>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2133" b="0" i="0" u="none" strike="noStrike" kern="1200" cap="none" spc="0" normalizeH="0" baseline="0" noProof="0">
                  <a:ln>
                    <a:noFill/>
                  </a:ln>
                  <a:solidFill>
                    <a:srgbClr val="FFFFFF"/>
                  </a:solidFill>
                  <a:effectLst/>
                  <a:uLnTx/>
                  <a:uFillTx/>
                  <a:latin typeface="Arial"/>
                  <a:ea typeface="+mn-ea"/>
                  <a:cs typeface="+mn-ea"/>
                  <a:sym typeface="+mn-lt"/>
                </a:rPr>
                <a:t>2021</a:t>
              </a:r>
              <a:endParaRPr kumimoji="0" sz="2133" b="0" i="0" u="none" strike="noStrike" kern="1200" cap="none" spc="0" normalizeH="0" baseline="0" noProof="0">
                <a:ln>
                  <a:noFill/>
                </a:ln>
                <a:solidFill>
                  <a:srgbClr val="FFFFFF"/>
                </a:solidFill>
                <a:effectLst/>
                <a:uLnTx/>
                <a:uFillTx/>
                <a:latin typeface="Arial"/>
                <a:ea typeface="+mn-ea"/>
                <a:cs typeface="+mn-ea"/>
                <a:sym typeface="+mn-lt"/>
              </a:endParaRPr>
            </a:p>
          </p:txBody>
        </p:sp>
        <p:sp>
          <p:nvSpPr>
            <p:cNvPr id="51" name="Google Shape;525;p21">
              <a:extLst>
                <a:ext uri="{FF2B5EF4-FFF2-40B4-BE49-F238E27FC236}">
                  <a16:creationId xmlns:a16="http://schemas.microsoft.com/office/drawing/2014/main" id="{72A61FA5-027D-47B6-8F00-09C683ADA34A}"/>
                </a:ext>
              </a:extLst>
            </p:cNvPr>
            <p:cNvSpPr/>
            <p:nvPr/>
          </p:nvSpPr>
          <p:spPr>
            <a:xfrm>
              <a:off x="3066438" y="2570625"/>
              <a:ext cx="408125" cy="408100"/>
            </a:xfrm>
            <a:custGeom>
              <a:avLst/>
              <a:gdLst/>
              <a:ahLst/>
              <a:cxnLst/>
              <a:rect l="l" t="t" r="r" b="b"/>
              <a:pathLst>
                <a:path w="16325" h="16324" extrusionOk="0">
                  <a:moveTo>
                    <a:pt x="8168" y="0"/>
                  </a:moveTo>
                  <a:cubicBezTo>
                    <a:pt x="3656" y="0"/>
                    <a:pt x="1" y="3655"/>
                    <a:pt x="1" y="8156"/>
                  </a:cubicBezTo>
                  <a:cubicBezTo>
                    <a:pt x="1" y="12668"/>
                    <a:pt x="3656" y="16324"/>
                    <a:pt x="8168" y="16324"/>
                  </a:cubicBezTo>
                  <a:cubicBezTo>
                    <a:pt x="12669" y="16324"/>
                    <a:pt x="16324" y="12668"/>
                    <a:pt x="16324" y="8156"/>
                  </a:cubicBezTo>
                  <a:cubicBezTo>
                    <a:pt x="16324" y="3655"/>
                    <a:pt x="12669" y="0"/>
                    <a:pt x="8168" y="0"/>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52" name="Google Shape;526;p21">
              <a:extLst>
                <a:ext uri="{FF2B5EF4-FFF2-40B4-BE49-F238E27FC236}">
                  <a16:creationId xmlns:a16="http://schemas.microsoft.com/office/drawing/2014/main" id="{F98843D1-FB16-43C5-AF8B-705A0A951964}"/>
                </a:ext>
              </a:extLst>
            </p:cNvPr>
            <p:cNvSpPr/>
            <p:nvPr/>
          </p:nvSpPr>
          <p:spPr>
            <a:xfrm>
              <a:off x="3109013" y="2612875"/>
              <a:ext cx="322975" cy="323275"/>
            </a:xfrm>
            <a:custGeom>
              <a:avLst/>
              <a:gdLst/>
              <a:ahLst/>
              <a:cxnLst/>
              <a:rect l="l" t="t" r="r" b="b"/>
              <a:pathLst>
                <a:path w="12919" h="12931" extrusionOk="0">
                  <a:moveTo>
                    <a:pt x="6465" y="1"/>
                  </a:moveTo>
                  <a:cubicBezTo>
                    <a:pt x="2894" y="1"/>
                    <a:pt x="0" y="2906"/>
                    <a:pt x="0" y="6466"/>
                  </a:cubicBezTo>
                  <a:cubicBezTo>
                    <a:pt x="0" y="10026"/>
                    <a:pt x="2894" y="12931"/>
                    <a:pt x="6465" y="12931"/>
                  </a:cubicBezTo>
                  <a:cubicBezTo>
                    <a:pt x="10025" y="12931"/>
                    <a:pt x="12919" y="10026"/>
                    <a:pt x="12919" y="6466"/>
                  </a:cubicBezTo>
                  <a:cubicBezTo>
                    <a:pt x="12919" y="2906"/>
                    <a:pt x="10025" y="1"/>
                    <a:pt x="6465" y="1"/>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53" name="Google Shape;527;p21">
              <a:extLst>
                <a:ext uri="{FF2B5EF4-FFF2-40B4-BE49-F238E27FC236}">
                  <a16:creationId xmlns:a16="http://schemas.microsoft.com/office/drawing/2014/main" id="{FA8C444B-2FE5-484D-9995-F9A9015D79FC}"/>
                </a:ext>
              </a:extLst>
            </p:cNvPr>
            <p:cNvSpPr/>
            <p:nvPr/>
          </p:nvSpPr>
          <p:spPr>
            <a:xfrm>
              <a:off x="3195913" y="2726000"/>
              <a:ext cx="138750" cy="91700"/>
            </a:xfrm>
            <a:custGeom>
              <a:avLst/>
              <a:gdLst/>
              <a:ahLst/>
              <a:cxnLst/>
              <a:rect l="l" t="t" r="r" b="b"/>
              <a:pathLst>
                <a:path w="5550" h="3668" extrusionOk="0">
                  <a:moveTo>
                    <a:pt x="2656" y="0"/>
                  </a:moveTo>
                  <a:cubicBezTo>
                    <a:pt x="1763" y="0"/>
                    <a:pt x="1037" y="726"/>
                    <a:pt x="1037" y="1619"/>
                  </a:cubicBezTo>
                  <a:cubicBezTo>
                    <a:pt x="1037" y="1679"/>
                    <a:pt x="1049" y="1727"/>
                    <a:pt x="1061" y="1774"/>
                  </a:cubicBezTo>
                  <a:cubicBezTo>
                    <a:pt x="1025" y="1774"/>
                    <a:pt x="989" y="1762"/>
                    <a:pt x="942" y="1762"/>
                  </a:cubicBezTo>
                  <a:cubicBezTo>
                    <a:pt x="430" y="1762"/>
                    <a:pt x="1" y="2191"/>
                    <a:pt x="1" y="2715"/>
                  </a:cubicBezTo>
                  <a:cubicBezTo>
                    <a:pt x="1" y="3215"/>
                    <a:pt x="406" y="3632"/>
                    <a:pt x="906" y="3655"/>
                  </a:cubicBezTo>
                  <a:lnTo>
                    <a:pt x="4561" y="3655"/>
                  </a:lnTo>
                  <a:cubicBezTo>
                    <a:pt x="4573" y="3655"/>
                    <a:pt x="4585" y="3667"/>
                    <a:pt x="4597" y="3667"/>
                  </a:cubicBezTo>
                  <a:cubicBezTo>
                    <a:pt x="5121" y="3667"/>
                    <a:pt x="5549" y="3239"/>
                    <a:pt x="5549" y="2715"/>
                  </a:cubicBezTo>
                  <a:cubicBezTo>
                    <a:pt x="5549" y="2203"/>
                    <a:pt x="5121" y="1774"/>
                    <a:pt x="4609" y="1774"/>
                  </a:cubicBezTo>
                  <a:cubicBezTo>
                    <a:pt x="4478" y="1774"/>
                    <a:pt x="4371" y="1798"/>
                    <a:pt x="4263" y="1846"/>
                  </a:cubicBezTo>
                  <a:cubicBezTo>
                    <a:pt x="4275" y="1774"/>
                    <a:pt x="4287" y="1691"/>
                    <a:pt x="4287" y="1619"/>
                  </a:cubicBezTo>
                  <a:cubicBezTo>
                    <a:pt x="4287" y="726"/>
                    <a:pt x="3561" y="0"/>
                    <a:pt x="2656" y="0"/>
                  </a:cubicBezTo>
                  <a:close/>
                </a:path>
              </a:pathLst>
            </a:custGeom>
            <a:solidFill>
              <a:srgbClr val="FFFFFF"/>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54" name="Google Shape;528;p21">
              <a:extLst>
                <a:ext uri="{FF2B5EF4-FFF2-40B4-BE49-F238E27FC236}">
                  <a16:creationId xmlns:a16="http://schemas.microsoft.com/office/drawing/2014/main" id="{711A1D25-8A78-4C52-8C34-13060A9775AD}"/>
                </a:ext>
              </a:extLst>
            </p:cNvPr>
            <p:cNvSpPr txBox="1"/>
            <p:nvPr/>
          </p:nvSpPr>
          <p:spPr>
            <a:xfrm>
              <a:off x="3274838" y="2150272"/>
              <a:ext cx="759000" cy="205500"/>
            </a:xfrm>
            <a:prstGeom prst="rect">
              <a:avLst/>
            </a:prstGeom>
            <a:noFill/>
            <a:ln>
              <a:noFill/>
            </a:ln>
          </p:spPr>
          <p:txBody>
            <a:bodyPr spcFirstLastPara="1" wrap="square" lIns="121900" tIns="121900" rIns="121900" bIns="12190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 sz="1467" b="0" i="0" u="none" strike="noStrike" kern="1200" cap="none" spc="0" normalizeH="0" baseline="0" noProof="0">
                  <a:ln>
                    <a:noFill/>
                  </a:ln>
                  <a:solidFill>
                    <a:srgbClr val="434343"/>
                  </a:solidFill>
                  <a:effectLst/>
                  <a:uLnTx/>
                  <a:uFillTx/>
                  <a:latin typeface="Arial"/>
                  <a:ea typeface="+mn-ea"/>
                  <a:cs typeface="+mn-ea"/>
                  <a:sym typeface="+mn-lt"/>
                </a:rPr>
                <a:t>Venus</a:t>
              </a:r>
              <a:endParaRPr kumimoji="0" sz="1467" b="0" i="0" u="none" strike="noStrike" kern="1200" cap="none" spc="0" normalizeH="0" baseline="0" noProof="0">
                <a:ln>
                  <a:noFill/>
                </a:ln>
                <a:solidFill>
                  <a:srgbClr val="434343"/>
                </a:solidFill>
                <a:effectLst/>
                <a:uLnTx/>
                <a:uFillTx/>
                <a:latin typeface="Arial"/>
                <a:ea typeface="+mn-ea"/>
                <a:cs typeface="+mn-ea"/>
                <a:sym typeface="+mn-lt"/>
              </a:endParaRPr>
            </a:p>
          </p:txBody>
        </p:sp>
        <p:sp>
          <p:nvSpPr>
            <p:cNvPr id="55" name="Google Shape;529;p21">
              <a:extLst>
                <a:ext uri="{FF2B5EF4-FFF2-40B4-BE49-F238E27FC236}">
                  <a16:creationId xmlns:a16="http://schemas.microsoft.com/office/drawing/2014/main" id="{F4F736A2-CCC0-4038-96F8-10F712366266}"/>
                </a:ext>
              </a:extLst>
            </p:cNvPr>
            <p:cNvSpPr txBox="1"/>
            <p:nvPr/>
          </p:nvSpPr>
          <p:spPr>
            <a:xfrm>
              <a:off x="3113488" y="1789572"/>
              <a:ext cx="759000" cy="205500"/>
            </a:xfrm>
            <a:prstGeom prst="rect">
              <a:avLst/>
            </a:prstGeom>
            <a:noFill/>
            <a:ln>
              <a:noFill/>
            </a:ln>
          </p:spPr>
          <p:txBody>
            <a:bodyPr spcFirstLastPara="1" wrap="square" lIns="121900" tIns="121900" rIns="121900" bIns="12190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 sz="1467" b="0" i="0" u="none" strike="noStrike" kern="1200" cap="none" spc="0" normalizeH="0" baseline="0" noProof="0">
                  <a:ln>
                    <a:noFill/>
                  </a:ln>
                  <a:solidFill>
                    <a:srgbClr val="434343"/>
                  </a:solidFill>
                  <a:effectLst/>
                  <a:uLnTx/>
                  <a:uFillTx/>
                  <a:latin typeface="Arial"/>
                  <a:ea typeface="+mn-ea"/>
                  <a:cs typeface="+mn-ea"/>
                  <a:sym typeface="+mn-lt"/>
                </a:rPr>
                <a:t>Earth</a:t>
              </a:r>
              <a:endParaRPr kumimoji="0" sz="1467" b="0" i="0" u="none" strike="noStrike" kern="1200" cap="none" spc="0" normalizeH="0" baseline="0" noProof="0">
                <a:ln>
                  <a:noFill/>
                </a:ln>
                <a:solidFill>
                  <a:srgbClr val="434343"/>
                </a:solidFill>
                <a:effectLst/>
                <a:uLnTx/>
                <a:uFillTx/>
                <a:latin typeface="Arial"/>
                <a:ea typeface="+mn-ea"/>
                <a:cs typeface="+mn-ea"/>
                <a:sym typeface="+mn-lt"/>
              </a:endParaRPr>
            </a:p>
          </p:txBody>
        </p:sp>
        <p:sp>
          <p:nvSpPr>
            <p:cNvPr id="56" name="Google Shape;530;p21">
              <a:extLst>
                <a:ext uri="{FF2B5EF4-FFF2-40B4-BE49-F238E27FC236}">
                  <a16:creationId xmlns:a16="http://schemas.microsoft.com/office/drawing/2014/main" id="{311F4E65-8BCB-4528-861C-4C5DC8DA420D}"/>
                </a:ext>
              </a:extLst>
            </p:cNvPr>
            <p:cNvSpPr txBox="1"/>
            <p:nvPr/>
          </p:nvSpPr>
          <p:spPr>
            <a:xfrm>
              <a:off x="3287613" y="3164110"/>
              <a:ext cx="759000" cy="205500"/>
            </a:xfrm>
            <a:prstGeom prst="rect">
              <a:avLst/>
            </a:prstGeom>
            <a:noFill/>
            <a:ln>
              <a:noFill/>
            </a:ln>
          </p:spPr>
          <p:txBody>
            <a:bodyPr spcFirstLastPara="1" wrap="square" lIns="121900" tIns="121900" rIns="121900" bIns="12190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 sz="1467" b="0" i="0" u="none" strike="noStrike" kern="1200" cap="none" spc="0" normalizeH="0" baseline="0" noProof="0">
                  <a:ln>
                    <a:noFill/>
                  </a:ln>
                  <a:solidFill>
                    <a:srgbClr val="434343"/>
                  </a:solidFill>
                  <a:effectLst/>
                  <a:uLnTx/>
                  <a:uFillTx/>
                  <a:latin typeface="Arial"/>
                  <a:ea typeface="+mn-ea"/>
                  <a:cs typeface="+mn-ea"/>
                  <a:sym typeface="+mn-lt"/>
                </a:rPr>
                <a:t>Pluto</a:t>
              </a:r>
              <a:endParaRPr kumimoji="0" sz="1467" b="0" i="0" u="none" strike="noStrike" kern="1200" cap="none" spc="0" normalizeH="0" baseline="0" noProof="0">
                <a:ln>
                  <a:noFill/>
                </a:ln>
                <a:solidFill>
                  <a:srgbClr val="434343"/>
                </a:solidFill>
                <a:effectLst/>
                <a:uLnTx/>
                <a:uFillTx/>
                <a:latin typeface="Arial"/>
                <a:ea typeface="+mn-ea"/>
                <a:cs typeface="+mn-ea"/>
                <a:sym typeface="+mn-lt"/>
              </a:endParaRPr>
            </a:p>
          </p:txBody>
        </p:sp>
        <p:sp>
          <p:nvSpPr>
            <p:cNvPr id="57" name="Google Shape;531;p21">
              <a:extLst>
                <a:ext uri="{FF2B5EF4-FFF2-40B4-BE49-F238E27FC236}">
                  <a16:creationId xmlns:a16="http://schemas.microsoft.com/office/drawing/2014/main" id="{8BA3DE03-7E8F-4757-A4A9-F7EA8E9DE3DC}"/>
                </a:ext>
              </a:extLst>
            </p:cNvPr>
            <p:cNvSpPr txBox="1"/>
            <p:nvPr/>
          </p:nvSpPr>
          <p:spPr>
            <a:xfrm>
              <a:off x="3153088" y="3513097"/>
              <a:ext cx="759000" cy="205500"/>
            </a:xfrm>
            <a:prstGeom prst="rect">
              <a:avLst/>
            </a:prstGeom>
            <a:noFill/>
            <a:ln>
              <a:noFill/>
            </a:ln>
          </p:spPr>
          <p:txBody>
            <a:bodyPr spcFirstLastPara="1" wrap="square" lIns="121900" tIns="121900" rIns="121900" bIns="12190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 sz="1467" b="0" i="0" u="none" strike="noStrike" kern="1200" cap="none" spc="0" normalizeH="0" baseline="0" noProof="0">
                  <a:ln>
                    <a:noFill/>
                  </a:ln>
                  <a:solidFill>
                    <a:srgbClr val="434343"/>
                  </a:solidFill>
                  <a:effectLst/>
                  <a:uLnTx/>
                  <a:uFillTx/>
                  <a:latin typeface="Arial"/>
                  <a:ea typeface="+mn-ea"/>
                  <a:cs typeface="+mn-ea"/>
                  <a:sym typeface="+mn-lt"/>
                </a:rPr>
                <a:t>Europa</a:t>
              </a:r>
              <a:endParaRPr kumimoji="0" sz="1467" b="0" i="0" u="none" strike="noStrike" kern="1200" cap="none" spc="0" normalizeH="0" baseline="0" noProof="0">
                <a:ln>
                  <a:noFill/>
                </a:ln>
                <a:solidFill>
                  <a:srgbClr val="434343"/>
                </a:solidFill>
                <a:effectLst/>
                <a:uLnTx/>
                <a:uFillTx/>
                <a:latin typeface="Arial"/>
                <a:ea typeface="+mn-ea"/>
                <a:cs typeface="+mn-ea"/>
                <a:sym typeface="+mn-lt"/>
              </a:endParaRPr>
            </a:p>
          </p:txBody>
        </p:sp>
      </p:grpSp>
      <p:grpSp>
        <p:nvGrpSpPr>
          <p:cNvPr id="58" name="Google Shape;532;p21">
            <a:extLst>
              <a:ext uri="{FF2B5EF4-FFF2-40B4-BE49-F238E27FC236}">
                <a16:creationId xmlns:a16="http://schemas.microsoft.com/office/drawing/2014/main" id="{BDA03C28-6F02-4863-8CD6-4E50E6172E19}"/>
              </a:ext>
            </a:extLst>
          </p:cNvPr>
          <p:cNvGrpSpPr/>
          <p:nvPr/>
        </p:nvGrpSpPr>
        <p:grpSpPr>
          <a:xfrm>
            <a:off x="1609517" y="2365750"/>
            <a:ext cx="1850667" cy="2126500"/>
            <a:chOff x="1555238" y="1956850"/>
            <a:chExt cx="1388000" cy="1594875"/>
          </a:xfrm>
        </p:grpSpPr>
        <p:sp>
          <p:nvSpPr>
            <p:cNvPr id="59" name="Google Shape;533;p21">
              <a:extLst>
                <a:ext uri="{FF2B5EF4-FFF2-40B4-BE49-F238E27FC236}">
                  <a16:creationId xmlns:a16="http://schemas.microsoft.com/office/drawing/2014/main" id="{A7AD083B-B78E-4DDA-AACD-3ED0B2C6605E}"/>
                </a:ext>
              </a:extLst>
            </p:cNvPr>
            <p:cNvSpPr/>
            <p:nvPr/>
          </p:nvSpPr>
          <p:spPr>
            <a:xfrm>
              <a:off x="2529763" y="1956850"/>
              <a:ext cx="340550" cy="1594875"/>
            </a:xfrm>
            <a:custGeom>
              <a:avLst/>
              <a:gdLst/>
              <a:ahLst/>
              <a:cxnLst/>
              <a:rect l="l" t="t" r="r" b="b"/>
              <a:pathLst>
                <a:path w="13622" h="63795" fill="none" extrusionOk="0">
                  <a:moveTo>
                    <a:pt x="1" y="1"/>
                  </a:moveTo>
                  <a:lnTo>
                    <a:pt x="13514" y="32028"/>
                  </a:lnTo>
                  <a:cubicBezTo>
                    <a:pt x="13621" y="32266"/>
                    <a:pt x="13621" y="32552"/>
                    <a:pt x="13514" y="32802"/>
                  </a:cubicBezTo>
                  <a:lnTo>
                    <a:pt x="1037" y="63794"/>
                  </a:lnTo>
                </a:path>
              </a:pathLst>
            </a:custGeom>
            <a:noFill/>
            <a:ln w="35725" cap="rnd" cmpd="sng">
              <a:solidFill>
                <a:srgbClr val="E6E6E6"/>
              </a:solidFill>
              <a:prstDash val="solid"/>
              <a:miter lim="11906"/>
              <a:headEnd type="none" w="sm" len="sm"/>
              <a:tailEnd type="none" w="sm" len="sm"/>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60" name="Google Shape;534;p21">
              <a:extLst>
                <a:ext uri="{FF2B5EF4-FFF2-40B4-BE49-F238E27FC236}">
                  <a16:creationId xmlns:a16="http://schemas.microsoft.com/office/drawing/2014/main" id="{671AE0DA-6D65-48ED-A4B8-0A176E2B56CC}"/>
                </a:ext>
              </a:extLst>
            </p:cNvPr>
            <p:cNvSpPr/>
            <p:nvPr/>
          </p:nvSpPr>
          <p:spPr>
            <a:xfrm>
              <a:off x="2598538" y="2194975"/>
              <a:ext cx="116400" cy="116100"/>
            </a:xfrm>
            <a:custGeom>
              <a:avLst/>
              <a:gdLst/>
              <a:ahLst/>
              <a:cxnLst/>
              <a:rect l="l" t="t" r="r" b="b"/>
              <a:pathLst>
                <a:path w="4656" h="4644" extrusionOk="0">
                  <a:moveTo>
                    <a:pt x="2322" y="0"/>
                  </a:moveTo>
                  <a:cubicBezTo>
                    <a:pt x="1036" y="0"/>
                    <a:pt x="0" y="1036"/>
                    <a:pt x="0" y="2322"/>
                  </a:cubicBezTo>
                  <a:cubicBezTo>
                    <a:pt x="0" y="3608"/>
                    <a:pt x="1036" y="4644"/>
                    <a:pt x="2322" y="4644"/>
                  </a:cubicBezTo>
                  <a:cubicBezTo>
                    <a:pt x="3608" y="4644"/>
                    <a:pt x="4655" y="3608"/>
                    <a:pt x="4655" y="2322"/>
                  </a:cubicBezTo>
                  <a:cubicBezTo>
                    <a:pt x="4655" y="1036"/>
                    <a:pt x="3608" y="0"/>
                    <a:pt x="2322" y="0"/>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61" name="Google Shape;535;p21">
              <a:extLst>
                <a:ext uri="{FF2B5EF4-FFF2-40B4-BE49-F238E27FC236}">
                  <a16:creationId xmlns:a16="http://schemas.microsoft.com/office/drawing/2014/main" id="{C1DC5D0B-2E00-412A-AEF1-2439CD0E6EDB}"/>
                </a:ext>
              </a:extLst>
            </p:cNvPr>
            <p:cNvSpPr/>
            <p:nvPr/>
          </p:nvSpPr>
          <p:spPr>
            <a:xfrm>
              <a:off x="2611338" y="3208800"/>
              <a:ext cx="116400" cy="116100"/>
            </a:xfrm>
            <a:custGeom>
              <a:avLst/>
              <a:gdLst/>
              <a:ahLst/>
              <a:cxnLst/>
              <a:rect l="l" t="t" r="r" b="b"/>
              <a:pathLst>
                <a:path w="4656" h="4644" extrusionOk="0">
                  <a:moveTo>
                    <a:pt x="2322" y="0"/>
                  </a:moveTo>
                  <a:cubicBezTo>
                    <a:pt x="1048" y="0"/>
                    <a:pt x="0" y="1036"/>
                    <a:pt x="0" y="2322"/>
                  </a:cubicBezTo>
                  <a:cubicBezTo>
                    <a:pt x="0" y="3608"/>
                    <a:pt x="1048" y="4644"/>
                    <a:pt x="2322" y="4644"/>
                  </a:cubicBezTo>
                  <a:cubicBezTo>
                    <a:pt x="3608" y="4644"/>
                    <a:pt x="4655" y="3608"/>
                    <a:pt x="4655" y="2322"/>
                  </a:cubicBezTo>
                  <a:cubicBezTo>
                    <a:pt x="4655" y="1036"/>
                    <a:pt x="3608" y="0"/>
                    <a:pt x="2322" y="0"/>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62" name="Google Shape;536;p21">
              <a:extLst>
                <a:ext uri="{FF2B5EF4-FFF2-40B4-BE49-F238E27FC236}">
                  <a16:creationId xmlns:a16="http://schemas.microsoft.com/office/drawing/2014/main" id="{9922167D-6B8F-44E6-9004-D80AC751D990}"/>
                </a:ext>
              </a:extLst>
            </p:cNvPr>
            <p:cNvSpPr/>
            <p:nvPr/>
          </p:nvSpPr>
          <p:spPr>
            <a:xfrm>
              <a:off x="1756163" y="2597400"/>
              <a:ext cx="1187075" cy="357225"/>
            </a:xfrm>
            <a:custGeom>
              <a:avLst/>
              <a:gdLst/>
              <a:ahLst/>
              <a:cxnLst/>
              <a:rect l="l" t="t" r="r" b="b"/>
              <a:pathLst>
                <a:path w="47483" h="14289" extrusionOk="0">
                  <a:moveTo>
                    <a:pt x="7144" y="1"/>
                  </a:moveTo>
                  <a:cubicBezTo>
                    <a:pt x="3203" y="1"/>
                    <a:pt x="0" y="3203"/>
                    <a:pt x="0" y="7144"/>
                  </a:cubicBezTo>
                  <a:cubicBezTo>
                    <a:pt x="0" y="11085"/>
                    <a:pt x="3203" y="14288"/>
                    <a:pt x="7144" y="14288"/>
                  </a:cubicBezTo>
                  <a:lnTo>
                    <a:pt x="40339" y="14288"/>
                  </a:lnTo>
                  <a:cubicBezTo>
                    <a:pt x="44280" y="14288"/>
                    <a:pt x="47483" y="11085"/>
                    <a:pt x="47483" y="7144"/>
                  </a:cubicBezTo>
                  <a:cubicBezTo>
                    <a:pt x="47483" y="3203"/>
                    <a:pt x="44280" y="1"/>
                    <a:pt x="40339" y="1"/>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2133" b="0" i="0" u="none" strike="noStrike" kern="1200" cap="none" spc="0" normalizeH="0" baseline="0" noProof="0">
                  <a:ln>
                    <a:noFill/>
                  </a:ln>
                  <a:solidFill>
                    <a:srgbClr val="FFFFFF"/>
                  </a:solidFill>
                  <a:effectLst/>
                  <a:uLnTx/>
                  <a:uFillTx/>
                  <a:latin typeface="Arial"/>
                  <a:ea typeface="+mn-ea"/>
                  <a:cs typeface="+mn-ea"/>
                  <a:sym typeface="+mn-lt"/>
                </a:rPr>
                <a:t>2020</a:t>
              </a:r>
              <a:endParaRPr kumimoji="0" sz="2133" b="0" i="0" u="none" strike="noStrike" kern="1200" cap="none" spc="0" normalizeH="0" baseline="0" noProof="0">
                <a:ln>
                  <a:noFill/>
                </a:ln>
                <a:solidFill>
                  <a:srgbClr val="FFFFFF"/>
                </a:solidFill>
                <a:effectLst/>
                <a:uLnTx/>
                <a:uFillTx/>
                <a:latin typeface="Arial"/>
                <a:ea typeface="+mn-ea"/>
                <a:cs typeface="+mn-ea"/>
                <a:sym typeface="+mn-lt"/>
              </a:endParaRPr>
            </a:p>
          </p:txBody>
        </p:sp>
        <p:sp>
          <p:nvSpPr>
            <p:cNvPr id="63" name="Google Shape;537;p21">
              <a:extLst>
                <a:ext uri="{FF2B5EF4-FFF2-40B4-BE49-F238E27FC236}">
                  <a16:creationId xmlns:a16="http://schemas.microsoft.com/office/drawing/2014/main" id="{52B034E9-122E-4CBE-9420-2B74B7C828D1}"/>
                </a:ext>
              </a:extLst>
            </p:cNvPr>
            <p:cNvSpPr/>
            <p:nvPr/>
          </p:nvSpPr>
          <p:spPr>
            <a:xfrm>
              <a:off x="1555238" y="2570625"/>
              <a:ext cx="408125" cy="408100"/>
            </a:xfrm>
            <a:custGeom>
              <a:avLst/>
              <a:gdLst/>
              <a:ahLst/>
              <a:cxnLst/>
              <a:rect l="l" t="t" r="r" b="b"/>
              <a:pathLst>
                <a:path w="16325" h="16324" extrusionOk="0">
                  <a:moveTo>
                    <a:pt x="8156" y="0"/>
                  </a:moveTo>
                  <a:cubicBezTo>
                    <a:pt x="3644" y="0"/>
                    <a:pt x="1" y="3655"/>
                    <a:pt x="1" y="8156"/>
                  </a:cubicBezTo>
                  <a:cubicBezTo>
                    <a:pt x="1" y="12668"/>
                    <a:pt x="3644" y="16324"/>
                    <a:pt x="8156" y="16324"/>
                  </a:cubicBezTo>
                  <a:cubicBezTo>
                    <a:pt x="12669" y="16324"/>
                    <a:pt x="16324" y="12668"/>
                    <a:pt x="16324" y="8156"/>
                  </a:cubicBezTo>
                  <a:cubicBezTo>
                    <a:pt x="16324" y="3655"/>
                    <a:pt x="12669" y="0"/>
                    <a:pt x="8156" y="0"/>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64" name="Google Shape;538;p21">
              <a:extLst>
                <a:ext uri="{FF2B5EF4-FFF2-40B4-BE49-F238E27FC236}">
                  <a16:creationId xmlns:a16="http://schemas.microsoft.com/office/drawing/2014/main" id="{0B4E846C-85AF-4254-B22E-EF96CBBEDED3}"/>
                </a:ext>
              </a:extLst>
            </p:cNvPr>
            <p:cNvSpPr/>
            <p:nvPr/>
          </p:nvSpPr>
          <p:spPr>
            <a:xfrm>
              <a:off x="1597513" y="2612875"/>
              <a:ext cx="323275" cy="323275"/>
            </a:xfrm>
            <a:custGeom>
              <a:avLst/>
              <a:gdLst/>
              <a:ahLst/>
              <a:cxnLst/>
              <a:rect l="l" t="t" r="r" b="b"/>
              <a:pathLst>
                <a:path w="12931" h="12931" extrusionOk="0">
                  <a:moveTo>
                    <a:pt x="6465" y="1"/>
                  </a:moveTo>
                  <a:cubicBezTo>
                    <a:pt x="2905" y="1"/>
                    <a:pt x="0" y="2906"/>
                    <a:pt x="0" y="6466"/>
                  </a:cubicBezTo>
                  <a:cubicBezTo>
                    <a:pt x="0" y="10026"/>
                    <a:pt x="2905" y="12931"/>
                    <a:pt x="6465" y="12931"/>
                  </a:cubicBezTo>
                  <a:cubicBezTo>
                    <a:pt x="10025" y="12931"/>
                    <a:pt x="12931" y="10026"/>
                    <a:pt x="12931" y="6466"/>
                  </a:cubicBezTo>
                  <a:cubicBezTo>
                    <a:pt x="12931" y="2906"/>
                    <a:pt x="10025" y="1"/>
                    <a:pt x="6465" y="1"/>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65" name="Google Shape;539;p21">
              <a:extLst>
                <a:ext uri="{FF2B5EF4-FFF2-40B4-BE49-F238E27FC236}">
                  <a16:creationId xmlns:a16="http://schemas.microsoft.com/office/drawing/2014/main" id="{149D12E6-3002-4643-8BBB-41C64AF0C81B}"/>
                </a:ext>
              </a:extLst>
            </p:cNvPr>
            <p:cNvSpPr/>
            <p:nvPr/>
          </p:nvSpPr>
          <p:spPr>
            <a:xfrm>
              <a:off x="1727588" y="2709025"/>
              <a:ext cx="61625" cy="61950"/>
            </a:xfrm>
            <a:custGeom>
              <a:avLst/>
              <a:gdLst/>
              <a:ahLst/>
              <a:cxnLst/>
              <a:rect l="l" t="t" r="r" b="b"/>
              <a:pathLst>
                <a:path w="2465" h="2478" extrusionOk="0">
                  <a:moveTo>
                    <a:pt x="1239" y="1"/>
                  </a:moveTo>
                  <a:cubicBezTo>
                    <a:pt x="548" y="1"/>
                    <a:pt x="0" y="560"/>
                    <a:pt x="0" y="1239"/>
                  </a:cubicBezTo>
                  <a:cubicBezTo>
                    <a:pt x="0" y="1917"/>
                    <a:pt x="548" y="2477"/>
                    <a:pt x="1239" y="2477"/>
                  </a:cubicBezTo>
                  <a:cubicBezTo>
                    <a:pt x="1917" y="2477"/>
                    <a:pt x="2465" y="1917"/>
                    <a:pt x="2465" y="1239"/>
                  </a:cubicBezTo>
                  <a:cubicBezTo>
                    <a:pt x="2465" y="560"/>
                    <a:pt x="1917" y="1"/>
                    <a:pt x="1239" y="1"/>
                  </a:cubicBezTo>
                  <a:close/>
                </a:path>
              </a:pathLst>
            </a:custGeom>
            <a:solidFill>
              <a:srgbClr val="FFFFFF"/>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66" name="Google Shape;540;p21">
              <a:extLst>
                <a:ext uri="{FF2B5EF4-FFF2-40B4-BE49-F238E27FC236}">
                  <a16:creationId xmlns:a16="http://schemas.microsoft.com/office/drawing/2014/main" id="{9066DFDA-032A-4B37-8FD8-684EABF39F63}"/>
                </a:ext>
              </a:extLst>
            </p:cNvPr>
            <p:cNvSpPr/>
            <p:nvPr/>
          </p:nvSpPr>
          <p:spPr>
            <a:xfrm>
              <a:off x="1707638" y="2788800"/>
              <a:ext cx="101525" cy="50625"/>
            </a:xfrm>
            <a:custGeom>
              <a:avLst/>
              <a:gdLst/>
              <a:ahLst/>
              <a:cxnLst/>
              <a:rect l="l" t="t" r="r" b="b"/>
              <a:pathLst>
                <a:path w="4061" h="2025" extrusionOk="0">
                  <a:moveTo>
                    <a:pt x="2037" y="0"/>
                  </a:moveTo>
                  <a:cubicBezTo>
                    <a:pt x="917" y="0"/>
                    <a:pt x="13" y="905"/>
                    <a:pt x="1" y="2024"/>
                  </a:cubicBezTo>
                  <a:lnTo>
                    <a:pt x="4061" y="2024"/>
                  </a:lnTo>
                  <a:cubicBezTo>
                    <a:pt x="4049" y="905"/>
                    <a:pt x="3144" y="0"/>
                    <a:pt x="2037" y="0"/>
                  </a:cubicBezTo>
                  <a:close/>
                </a:path>
              </a:pathLst>
            </a:custGeom>
            <a:solidFill>
              <a:srgbClr val="FFFFFF"/>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67" name="Google Shape;541;p21">
              <a:extLst>
                <a:ext uri="{FF2B5EF4-FFF2-40B4-BE49-F238E27FC236}">
                  <a16:creationId xmlns:a16="http://schemas.microsoft.com/office/drawing/2014/main" id="{3DFCD74C-2808-47A5-BE61-22B3D8A26C93}"/>
                </a:ext>
              </a:extLst>
            </p:cNvPr>
            <p:cNvSpPr txBox="1"/>
            <p:nvPr/>
          </p:nvSpPr>
          <p:spPr>
            <a:xfrm>
              <a:off x="1763338" y="2150272"/>
              <a:ext cx="759000" cy="205500"/>
            </a:xfrm>
            <a:prstGeom prst="rect">
              <a:avLst/>
            </a:prstGeom>
            <a:noFill/>
            <a:ln>
              <a:noFill/>
            </a:ln>
          </p:spPr>
          <p:txBody>
            <a:bodyPr spcFirstLastPara="1" wrap="square" lIns="121900" tIns="121900" rIns="121900" bIns="12190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 sz="1467" b="0" i="0" u="none" strike="noStrike" kern="1200" cap="none" spc="0" normalizeH="0" baseline="0" noProof="0">
                  <a:ln>
                    <a:noFill/>
                  </a:ln>
                  <a:solidFill>
                    <a:srgbClr val="434343"/>
                  </a:solidFill>
                  <a:effectLst/>
                  <a:uLnTx/>
                  <a:uFillTx/>
                  <a:latin typeface="Arial"/>
                  <a:ea typeface="+mn-ea"/>
                  <a:cs typeface="+mn-ea"/>
                  <a:sym typeface="+mn-lt"/>
                </a:rPr>
                <a:t>Mars</a:t>
              </a:r>
              <a:endParaRPr kumimoji="0" sz="1467" b="0" i="0" u="none" strike="noStrike" kern="1200" cap="none" spc="0" normalizeH="0" baseline="0" noProof="0">
                <a:ln>
                  <a:noFill/>
                </a:ln>
                <a:solidFill>
                  <a:srgbClr val="434343"/>
                </a:solidFill>
                <a:effectLst/>
                <a:uLnTx/>
                <a:uFillTx/>
                <a:latin typeface="Arial"/>
                <a:ea typeface="+mn-ea"/>
                <a:cs typeface="+mn-ea"/>
                <a:sym typeface="+mn-lt"/>
              </a:endParaRPr>
            </a:p>
          </p:txBody>
        </p:sp>
        <p:sp>
          <p:nvSpPr>
            <p:cNvPr id="68" name="Google Shape;542;p21">
              <a:extLst>
                <a:ext uri="{FF2B5EF4-FFF2-40B4-BE49-F238E27FC236}">
                  <a16:creationId xmlns:a16="http://schemas.microsoft.com/office/drawing/2014/main" id="{7C388DAD-6F5F-47BA-927A-9CCC127F9A6A}"/>
                </a:ext>
              </a:extLst>
            </p:cNvPr>
            <p:cNvSpPr txBox="1"/>
            <p:nvPr/>
          </p:nvSpPr>
          <p:spPr>
            <a:xfrm>
              <a:off x="1776138" y="3164110"/>
              <a:ext cx="759000" cy="205500"/>
            </a:xfrm>
            <a:prstGeom prst="rect">
              <a:avLst/>
            </a:prstGeom>
            <a:noFill/>
            <a:ln>
              <a:noFill/>
            </a:ln>
          </p:spPr>
          <p:txBody>
            <a:bodyPr spcFirstLastPara="1" wrap="square" lIns="121900" tIns="121900" rIns="121900" bIns="12190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 sz="1467" b="0" i="0" u="none" strike="noStrike" kern="1200" cap="none" spc="0" normalizeH="0" baseline="0" noProof="0">
                  <a:ln>
                    <a:noFill/>
                  </a:ln>
                  <a:solidFill>
                    <a:srgbClr val="434343"/>
                  </a:solidFill>
                  <a:effectLst/>
                  <a:uLnTx/>
                  <a:uFillTx/>
                  <a:latin typeface="Arial"/>
                  <a:ea typeface="+mn-ea"/>
                  <a:cs typeface="+mn-ea"/>
                  <a:sym typeface="+mn-lt"/>
                </a:rPr>
                <a:t>Earth</a:t>
              </a:r>
              <a:endParaRPr kumimoji="0" sz="1467" b="0" i="0" u="none" strike="noStrike" kern="1200" cap="none" spc="0" normalizeH="0" baseline="0" noProof="0">
                <a:ln>
                  <a:noFill/>
                </a:ln>
                <a:solidFill>
                  <a:srgbClr val="434343"/>
                </a:solidFill>
                <a:effectLst/>
                <a:uLnTx/>
                <a:uFillTx/>
                <a:latin typeface="Arial"/>
                <a:ea typeface="+mn-ea"/>
                <a:cs typeface="+mn-ea"/>
                <a:sym typeface="+mn-lt"/>
              </a:endParaRPr>
            </a:p>
          </p:txBody>
        </p:sp>
      </p:grpSp>
      <p:grpSp>
        <p:nvGrpSpPr>
          <p:cNvPr id="69" name="Google Shape;543;p21">
            <a:extLst>
              <a:ext uri="{FF2B5EF4-FFF2-40B4-BE49-F238E27FC236}">
                <a16:creationId xmlns:a16="http://schemas.microsoft.com/office/drawing/2014/main" id="{363EF3DD-290F-4A46-8E0B-7C10C9D1B4D7}"/>
              </a:ext>
            </a:extLst>
          </p:cNvPr>
          <p:cNvGrpSpPr/>
          <p:nvPr/>
        </p:nvGrpSpPr>
        <p:grpSpPr>
          <a:xfrm>
            <a:off x="9679918" y="1869617"/>
            <a:ext cx="1582367" cy="3165367"/>
            <a:chOff x="7259938" y="1584750"/>
            <a:chExt cx="1186775" cy="2374025"/>
          </a:xfrm>
        </p:grpSpPr>
        <p:sp>
          <p:nvSpPr>
            <p:cNvPr id="70" name="Google Shape;544;p21">
              <a:extLst>
                <a:ext uri="{FF2B5EF4-FFF2-40B4-BE49-F238E27FC236}">
                  <a16:creationId xmlns:a16="http://schemas.microsoft.com/office/drawing/2014/main" id="{76AEC9D4-AF5D-472D-80BE-D2CF0EA48BCF}"/>
                </a:ext>
              </a:extLst>
            </p:cNvPr>
            <p:cNvSpPr/>
            <p:nvPr/>
          </p:nvSpPr>
          <p:spPr>
            <a:xfrm>
              <a:off x="7580363" y="1584750"/>
              <a:ext cx="545925" cy="2374025"/>
            </a:xfrm>
            <a:custGeom>
              <a:avLst/>
              <a:gdLst/>
              <a:ahLst/>
              <a:cxnLst/>
              <a:rect l="l" t="t" r="r" b="b"/>
              <a:pathLst>
                <a:path w="21837" h="94961" extrusionOk="0">
                  <a:moveTo>
                    <a:pt x="1613" y="1"/>
                  </a:moveTo>
                  <a:cubicBezTo>
                    <a:pt x="954" y="1"/>
                    <a:pt x="298" y="476"/>
                    <a:pt x="298" y="1300"/>
                  </a:cubicBezTo>
                  <a:cubicBezTo>
                    <a:pt x="215" y="20421"/>
                    <a:pt x="1" y="75356"/>
                    <a:pt x="203" y="93668"/>
                  </a:cubicBezTo>
                  <a:cubicBezTo>
                    <a:pt x="210" y="94487"/>
                    <a:pt x="862" y="94960"/>
                    <a:pt x="1516" y="94960"/>
                  </a:cubicBezTo>
                  <a:cubicBezTo>
                    <a:pt x="1994" y="94960"/>
                    <a:pt x="2472" y="94709"/>
                    <a:pt x="2703" y="94156"/>
                  </a:cubicBezTo>
                  <a:lnTo>
                    <a:pt x="21527" y="49496"/>
                  </a:lnTo>
                  <a:cubicBezTo>
                    <a:pt x="21825" y="48758"/>
                    <a:pt x="21837" y="47948"/>
                    <a:pt x="21539" y="47210"/>
                  </a:cubicBezTo>
                  <a:lnTo>
                    <a:pt x="2811" y="823"/>
                  </a:lnTo>
                  <a:cubicBezTo>
                    <a:pt x="2583" y="258"/>
                    <a:pt x="2098" y="1"/>
                    <a:pt x="1613" y="1"/>
                  </a:cubicBezTo>
                  <a:close/>
                </a:path>
              </a:pathLst>
            </a:custGeom>
            <a:solidFill>
              <a:srgbClr val="869FB2"/>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71" name="Google Shape;545;p21">
              <a:extLst>
                <a:ext uri="{FF2B5EF4-FFF2-40B4-BE49-F238E27FC236}">
                  <a16:creationId xmlns:a16="http://schemas.microsoft.com/office/drawing/2014/main" id="{57BE5E73-98F4-4F3A-83EA-EEE6FA7250CB}"/>
                </a:ext>
              </a:extLst>
            </p:cNvPr>
            <p:cNvSpPr/>
            <p:nvPr/>
          </p:nvSpPr>
          <p:spPr>
            <a:xfrm>
              <a:off x="7259938" y="2593150"/>
              <a:ext cx="1186775" cy="357225"/>
            </a:xfrm>
            <a:custGeom>
              <a:avLst/>
              <a:gdLst/>
              <a:ahLst/>
              <a:cxnLst/>
              <a:rect l="l" t="t" r="r" b="b"/>
              <a:pathLst>
                <a:path w="47471" h="14289" extrusionOk="0">
                  <a:moveTo>
                    <a:pt x="7144" y="1"/>
                  </a:moveTo>
                  <a:cubicBezTo>
                    <a:pt x="3192" y="1"/>
                    <a:pt x="1" y="3203"/>
                    <a:pt x="1" y="7144"/>
                  </a:cubicBezTo>
                  <a:cubicBezTo>
                    <a:pt x="1" y="11085"/>
                    <a:pt x="3192" y="14288"/>
                    <a:pt x="7144" y="14288"/>
                  </a:cubicBezTo>
                  <a:lnTo>
                    <a:pt x="40327" y="14288"/>
                  </a:lnTo>
                  <a:cubicBezTo>
                    <a:pt x="44268" y="14288"/>
                    <a:pt x="47471" y="11085"/>
                    <a:pt x="47471" y="7144"/>
                  </a:cubicBezTo>
                  <a:cubicBezTo>
                    <a:pt x="47471" y="3203"/>
                    <a:pt x="44268" y="1"/>
                    <a:pt x="40327" y="1"/>
                  </a:cubicBezTo>
                  <a:close/>
                </a:path>
              </a:pathLst>
            </a:custGeom>
            <a:solidFill>
              <a:schemeClr val="accent1">
                <a:lumMod val="100000"/>
              </a:schemeClr>
            </a:solidFill>
            <a:ln>
              <a:noFill/>
            </a:ln>
          </p:spPr>
          <p:txBody>
            <a:bodyPr spcFirstLastPara="1" wrap="square" lIns="121900" tIns="121900" rIns="121900" bIns="1219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2133" b="0" i="0" u="none" strike="noStrike" kern="1200" cap="none" spc="0" normalizeH="0" baseline="0" noProof="0">
                  <a:ln>
                    <a:noFill/>
                  </a:ln>
                  <a:solidFill>
                    <a:srgbClr val="FFFFFF"/>
                  </a:solidFill>
                  <a:effectLst/>
                  <a:uLnTx/>
                  <a:uFillTx/>
                  <a:latin typeface="Arial"/>
                  <a:ea typeface="+mn-ea"/>
                  <a:cs typeface="+mn-ea"/>
                  <a:sym typeface="+mn-lt"/>
                </a:rPr>
                <a:t>Mercury</a:t>
              </a:r>
              <a:endParaRPr kumimoji="0" sz="2133" b="0" i="0" u="none" strike="noStrike" kern="1200" cap="none" spc="0" normalizeH="0" baseline="0" noProof="0">
                <a:ln>
                  <a:noFill/>
                </a:ln>
                <a:solidFill>
                  <a:srgbClr val="FFFFFF"/>
                </a:solidFill>
                <a:effectLst/>
                <a:uLnTx/>
                <a:uFillTx/>
                <a:latin typeface="Arial"/>
                <a:ea typeface="+mn-ea"/>
                <a:cs typeface="+mn-ea"/>
                <a:sym typeface="+mn-lt"/>
              </a:endParaRPr>
            </a:p>
          </p:txBody>
        </p:sp>
      </p:grpSp>
    </p:spTree>
    <p:extLst>
      <p:ext uri="{BB962C8B-B14F-4D97-AF65-F5344CB8AC3E}">
        <p14:creationId xmlns:p14="http://schemas.microsoft.com/office/powerpoint/2010/main" val="2970649154"/>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7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oogle Shape;550;p22">
            <a:extLst>
              <a:ext uri="{FF2B5EF4-FFF2-40B4-BE49-F238E27FC236}">
                <a16:creationId xmlns:a16="http://schemas.microsoft.com/office/drawing/2014/main" id="{DA639BF1-E4FB-4F43-A996-B89EC3FA540A}"/>
              </a:ext>
            </a:extLst>
          </p:cNvPr>
          <p:cNvGrpSpPr/>
          <p:nvPr/>
        </p:nvGrpSpPr>
        <p:grpSpPr>
          <a:xfrm>
            <a:off x="1475634" y="2376311"/>
            <a:ext cx="9240805" cy="2305337"/>
            <a:chOff x="1106725" y="1889809"/>
            <a:chExt cx="6930604" cy="1729003"/>
          </a:xfrm>
        </p:grpSpPr>
        <p:grpSp>
          <p:nvGrpSpPr>
            <p:cNvPr id="3" name="Google Shape;551;p22">
              <a:extLst>
                <a:ext uri="{FF2B5EF4-FFF2-40B4-BE49-F238E27FC236}">
                  <a16:creationId xmlns:a16="http://schemas.microsoft.com/office/drawing/2014/main" id="{7CCA75CD-A37D-4007-A1A2-91D8BB8A2027}"/>
                </a:ext>
              </a:extLst>
            </p:cNvPr>
            <p:cNvGrpSpPr/>
            <p:nvPr/>
          </p:nvGrpSpPr>
          <p:grpSpPr>
            <a:xfrm>
              <a:off x="1106725" y="2316000"/>
              <a:ext cx="6361804" cy="876625"/>
              <a:chOff x="705725" y="2420075"/>
              <a:chExt cx="6361804" cy="876625"/>
            </a:xfrm>
          </p:grpSpPr>
          <p:sp>
            <p:nvSpPr>
              <p:cNvPr id="5" name="Google Shape;552;p22">
                <a:extLst>
                  <a:ext uri="{FF2B5EF4-FFF2-40B4-BE49-F238E27FC236}">
                    <a16:creationId xmlns:a16="http://schemas.microsoft.com/office/drawing/2014/main" id="{70377E35-B586-4BA4-B249-7FBD4BBEE3B6}"/>
                  </a:ext>
                </a:extLst>
              </p:cNvPr>
              <p:cNvSpPr/>
              <p:nvPr/>
            </p:nvSpPr>
            <p:spPr>
              <a:xfrm>
                <a:off x="705725" y="2420075"/>
                <a:ext cx="756075" cy="876625"/>
              </a:xfrm>
              <a:custGeom>
                <a:avLst/>
                <a:gdLst/>
                <a:ahLst/>
                <a:cxnLst/>
                <a:rect l="l" t="t" r="r" b="b"/>
                <a:pathLst>
                  <a:path w="30243" h="35065" extrusionOk="0">
                    <a:moveTo>
                      <a:pt x="6704" y="0"/>
                    </a:moveTo>
                    <a:cubicBezTo>
                      <a:pt x="4335" y="0"/>
                      <a:pt x="2072" y="477"/>
                      <a:pt x="1" y="1322"/>
                    </a:cubicBezTo>
                    <a:lnTo>
                      <a:pt x="1" y="3941"/>
                    </a:lnTo>
                    <a:lnTo>
                      <a:pt x="9788" y="3941"/>
                    </a:lnTo>
                    <a:cubicBezTo>
                      <a:pt x="10228" y="3941"/>
                      <a:pt x="10597" y="4298"/>
                      <a:pt x="10597" y="4751"/>
                    </a:cubicBezTo>
                    <a:cubicBezTo>
                      <a:pt x="10597" y="5191"/>
                      <a:pt x="10228" y="5561"/>
                      <a:pt x="9788" y="5561"/>
                    </a:cubicBezTo>
                    <a:lnTo>
                      <a:pt x="1" y="5561"/>
                    </a:lnTo>
                    <a:lnTo>
                      <a:pt x="1" y="8144"/>
                    </a:lnTo>
                    <a:lnTo>
                      <a:pt x="10192" y="8144"/>
                    </a:lnTo>
                    <a:cubicBezTo>
                      <a:pt x="10633" y="8144"/>
                      <a:pt x="11002" y="8501"/>
                      <a:pt x="11002" y="8954"/>
                    </a:cubicBezTo>
                    <a:cubicBezTo>
                      <a:pt x="11002" y="9394"/>
                      <a:pt x="10633" y="9752"/>
                      <a:pt x="10192" y="9752"/>
                    </a:cubicBezTo>
                    <a:lnTo>
                      <a:pt x="1" y="9752"/>
                    </a:lnTo>
                    <a:lnTo>
                      <a:pt x="1" y="12347"/>
                    </a:lnTo>
                    <a:lnTo>
                      <a:pt x="10895" y="12347"/>
                    </a:lnTo>
                    <a:cubicBezTo>
                      <a:pt x="11335" y="12347"/>
                      <a:pt x="11693" y="12704"/>
                      <a:pt x="11693" y="13157"/>
                    </a:cubicBezTo>
                    <a:cubicBezTo>
                      <a:pt x="11693" y="13597"/>
                      <a:pt x="11335" y="13954"/>
                      <a:pt x="10895" y="13954"/>
                    </a:cubicBezTo>
                    <a:lnTo>
                      <a:pt x="1" y="13954"/>
                    </a:lnTo>
                    <a:lnTo>
                      <a:pt x="1" y="16550"/>
                    </a:lnTo>
                    <a:lnTo>
                      <a:pt x="10895" y="16550"/>
                    </a:lnTo>
                    <a:cubicBezTo>
                      <a:pt x="11335" y="16550"/>
                      <a:pt x="11693" y="16907"/>
                      <a:pt x="11693" y="17348"/>
                    </a:cubicBezTo>
                    <a:cubicBezTo>
                      <a:pt x="11693" y="17800"/>
                      <a:pt x="11335" y="18157"/>
                      <a:pt x="10895" y="18157"/>
                    </a:cubicBezTo>
                    <a:lnTo>
                      <a:pt x="1" y="18157"/>
                    </a:lnTo>
                    <a:lnTo>
                      <a:pt x="1" y="20741"/>
                    </a:lnTo>
                    <a:lnTo>
                      <a:pt x="10895" y="20741"/>
                    </a:lnTo>
                    <a:cubicBezTo>
                      <a:pt x="11335" y="20741"/>
                      <a:pt x="11693" y="21110"/>
                      <a:pt x="11693" y="21551"/>
                    </a:cubicBezTo>
                    <a:cubicBezTo>
                      <a:pt x="11693" y="22003"/>
                      <a:pt x="11335" y="22360"/>
                      <a:pt x="10895" y="22360"/>
                    </a:cubicBezTo>
                    <a:lnTo>
                      <a:pt x="1" y="22360"/>
                    </a:lnTo>
                    <a:lnTo>
                      <a:pt x="1" y="24944"/>
                    </a:lnTo>
                    <a:lnTo>
                      <a:pt x="10192" y="24944"/>
                    </a:lnTo>
                    <a:cubicBezTo>
                      <a:pt x="10633" y="24944"/>
                      <a:pt x="11002" y="25313"/>
                      <a:pt x="11002" y="25753"/>
                    </a:cubicBezTo>
                    <a:cubicBezTo>
                      <a:pt x="11002" y="26194"/>
                      <a:pt x="10633" y="26563"/>
                      <a:pt x="10192" y="26563"/>
                    </a:cubicBezTo>
                    <a:lnTo>
                      <a:pt x="1" y="26563"/>
                    </a:lnTo>
                    <a:lnTo>
                      <a:pt x="1" y="29147"/>
                    </a:lnTo>
                    <a:lnTo>
                      <a:pt x="9788" y="29147"/>
                    </a:lnTo>
                    <a:cubicBezTo>
                      <a:pt x="10228" y="29147"/>
                      <a:pt x="10597" y="29516"/>
                      <a:pt x="10597" y="29956"/>
                    </a:cubicBezTo>
                    <a:cubicBezTo>
                      <a:pt x="10597" y="30397"/>
                      <a:pt x="10228" y="30766"/>
                      <a:pt x="9788" y="30766"/>
                    </a:cubicBezTo>
                    <a:lnTo>
                      <a:pt x="1" y="30766"/>
                    </a:lnTo>
                    <a:lnTo>
                      <a:pt x="1" y="33743"/>
                    </a:lnTo>
                    <a:cubicBezTo>
                      <a:pt x="2072" y="34600"/>
                      <a:pt x="4335" y="35064"/>
                      <a:pt x="6704" y="35064"/>
                    </a:cubicBezTo>
                    <a:cubicBezTo>
                      <a:pt x="14193" y="35064"/>
                      <a:pt x="20587" y="30373"/>
                      <a:pt x="23099" y="23765"/>
                    </a:cubicBezTo>
                    <a:cubicBezTo>
                      <a:pt x="24218" y="20812"/>
                      <a:pt x="27087" y="18919"/>
                      <a:pt x="30243" y="18919"/>
                    </a:cubicBezTo>
                    <a:lnTo>
                      <a:pt x="30243" y="16157"/>
                    </a:lnTo>
                    <a:cubicBezTo>
                      <a:pt x="27087" y="16157"/>
                      <a:pt x="24218" y="14252"/>
                      <a:pt x="23099" y="11311"/>
                    </a:cubicBezTo>
                    <a:cubicBezTo>
                      <a:pt x="20587" y="4691"/>
                      <a:pt x="14193" y="0"/>
                      <a:pt x="6704" y="0"/>
                    </a:cubicBezTo>
                    <a:close/>
                  </a:path>
                </a:pathLst>
              </a:custGeom>
              <a:solidFill>
                <a:srgbClr val="869FB2"/>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6" name="Google Shape;553;p22">
                <a:extLst>
                  <a:ext uri="{FF2B5EF4-FFF2-40B4-BE49-F238E27FC236}">
                    <a16:creationId xmlns:a16="http://schemas.microsoft.com/office/drawing/2014/main" id="{5149F1CB-E9F8-4979-9261-9D3054F03D2D}"/>
                  </a:ext>
                </a:extLst>
              </p:cNvPr>
              <p:cNvSpPr/>
              <p:nvPr/>
            </p:nvSpPr>
            <p:spPr>
              <a:xfrm>
                <a:off x="1460312" y="2824000"/>
                <a:ext cx="5607216" cy="68775"/>
              </a:xfrm>
              <a:custGeom>
                <a:avLst/>
                <a:gdLst/>
                <a:ahLst/>
                <a:cxnLst/>
                <a:rect l="l" t="t" r="r" b="b"/>
                <a:pathLst>
                  <a:path w="180166" h="2751" extrusionOk="0">
                    <a:moveTo>
                      <a:pt x="0" y="0"/>
                    </a:moveTo>
                    <a:lnTo>
                      <a:pt x="0" y="2750"/>
                    </a:lnTo>
                    <a:lnTo>
                      <a:pt x="180165" y="2750"/>
                    </a:lnTo>
                    <a:lnTo>
                      <a:pt x="180165" y="0"/>
                    </a:lnTo>
                    <a:close/>
                  </a:path>
                </a:pathLst>
              </a:custGeom>
              <a:solidFill>
                <a:srgbClr val="869FB2"/>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grpSp>
        <p:sp>
          <p:nvSpPr>
            <p:cNvPr id="4" name="Google Shape;554;p22">
              <a:extLst>
                <a:ext uri="{FF2B5EF4-FFF2-40B4-BE49-F238E27FC236}">
                  <a16:creationId xmlns:a16="http://schemas.microsoft.com/office/drawing/2014/main" id="{0A3641DC-C915-4B44-8F50-D04EC7536210}"/>
                </a:ext>
              </a:extLst>
            </p:cNvPr>
            <p:cNvSpPr/>
            <p:nvPr/>
          </p:nvSpPr>
          <p:spPr>
            <a:xfrm>
              <a:off x="7244321" y="1889809"/>
              <a:ext cx="793007" cy="1729003"/>
            </a:xfrm>
            <a:custGeom>
              <a:avLst/>
              <a:gdLst/>
              <a:ahLst/>
              <a:cxnLst/>
              <a:rect l="l" t="t" r="r" b="b"/>
              <a:pathLst>
                <a:path w="44828" h="97739" extrusionOk="0">
                  <a:moveTo>
                    <a:pt x="22420" y="1"/>
                  </a:moveTo>
                  <a:cubicBezTo>
                    <a:pt x="10038" y="1"/>
                    <a:pt x="1" y="10038"/>
                    <a:pt x="1" y="22408"/>
                  </a:cubicBezTo>
                  <a:lnTo>
                    <a:pt x="1" y="75332"/>
                  </a:lnTo>
                  <a:cubicBezTo>
                    <a:pt x="1" y="87714"/>
                    <a:pt x="10038" y="97739"/>
                    <a:pt x="22420" y="97739"/>
                  </a:cubicBezTo>
                  <a:cubicBezTo>
                    <a:pt x="34791" y="97739"/>
                    <a:pt x="44828" y="87714"/>
                    <a:pt x="44828" y="75332"/>
                  </a:cubicBezTo>
                  <a:lnTo>
                    <a:pt x="44828" y="22408"/>
                  </a:lnTo>
                  <a:cubicBezTo>
                    <a:pt x="44828" y="10038"/>
                    <a:pt x="34791" y="1"/>
                    <a:pt x="22420" y="1"/>
                  </a:cubicBezTo>
                  <a:close/>
                </a:path>
              </a:pathLst>
            </a:custGeom>
            <a:solidFill>
              <a:schemeClr val="accent1">
                <a:lumMod val="100000"/>
              </a:schemeClr>
            </a:solidFill>
            <a:ln>
              <a:noFill/>
            </a:ln>
          </p:spPr>
          <p:txBody>
            <a:bodyPr spcFirstLastPara="1" wrap="square" lIns="121900" tIns="121900" rIns="121900" bIns="1219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Tx/>
                <a:buNone/>
                <a:tabLst/>
                <a:defRPr/>
              </a:pPr>
              <a:r>
                <a:rPr kumimoji="0" lang="en" sz="2267" b="0" i="0" u="none" strike="noStrike" kern="1200" cap="none" spc="0" normalizeH="0" baseline="0" noProof="0">
                  <a:ln>
                    <a:noFill/>
                  </a:ln>
                  <a:solidFill>
                    <a:srgbClr val="FFFFFF"/>
                  </a:solidFill>
                  <a:effectLst/>
                  <a:uLnTx/>
                  <a:uFillTx/>
                  <a:latin typeface="Arial"/>
                  <a:ea typeface="+mn-ea"/>
                  <a:cs typeface="+mn-ea"/>
                  <a:sym typeface="+mn-lt"/>
                </a:rPr>
                <a:t>Earth</a:t>
              </a: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grpSp>
      <p:grpSp>
        <p:nvGrpSpPr>
          <p:cNvPr id="7" name="Google Shape;556;p22">
            <a:extLst>
              <a:ext uri="{FF2B5EF4-FFF2-40B4-BE49-F238E27FC236}">
                <a16:creationId xmlns:a16="http://schemas.microsoft.com/office/drawing/2014/main" id="{2975923E-6F55-441F-998C-45EEAC78E5DF}"/>
              </a:ext>
            </a:extLst>
          </p:cNvPr>
          <p:cNvGrpSpPr/>
          <p:nvPr/>
        </p:nvGrpSpPr>
        <p:grpSpPr>
          <a:xfrm>
            <a:off x="2772552" y="1899983"/>
            <a:ext cx="1494417" cy="3257967"/>
            <a:chOff x="2226163" y="1532563"/>
            <a:chExt cx="1120813" cy="2443475"/>
          </a:xfrm>
        </p:grpSpPr>
        <p:sp>
          <p:nvSpPr>
            <p:cNvPr id="8" name="Google Shape;557;p22">
              <a:extLst>
                <a:ext uri="{FF2B5EF4-FFF2-40B4-BE49-F238E27FC236}">
                  <a16:creationId xmlns:a16="http://schemas.microsoft.com/office/drawing/2014/main" id="{2EF55CB1-AA89-4752-B2CA-7A04D56C4BF6}"/>
                </a:ext>
              </a:extLst>
            </p:cNvPr>
            <p:cNvSpPr/>
            <p:nvPr/>
          </p:nvSpPr>
          <p:spPr>
            <a:xfrm>
              <a:off x="2226163" y="1532563"/>
              <a:ext cx="1120700" cy="2443475"/>
            </a:xfrm>
            <a:custGeom>
              <a:avLst/>
              <a:gdLst/>
              <a:ahLst/>
              <a:cxnLst/>
              <a:rect l="l" t="t" r="r" b="b"/>
              <a:pathLst>
                <a:path w="44828" h="97739" extrusionOk="0">
                  <a:moveTo>
                    <a:pt x="22420" y="1"/>
                  </a:moveTo>
                  <a:cubicBezTo>
                    <a:pt x="10037" y="1"/>
                    <a:pt x="0" y="10038"/>
                    <a:pt x="0" y="22408"/>
                  </a:cubicBezTo>
                  <a:lnTo>
                    <a:pt x="0" y="75332"/>
                  </a:lnTo>
                  <a:cubicBezTo>
                    <a:pt x="0" y="87714"/>
                    <a:pt x="10037" y="97739"/>
                    <a:pt x="22420" y="97739"/>
                  </a:cubicBezTo>
                  <a:cubicBezTo>
                    <a:pt x="34790" y="97739"/>
                    <a:pt x="44827" y="87714"/>
                    <a:pt x="44827" y="75332"/>
                  </a:cubicBezTo>
                  <a:lnTo>
                    <a:pt x="44827" y="22408"/>
                  </a:lnTo>
                  <a:cubicBezTo>
                    <a:pt x="44827" y="10038"/>
                    <a:pt x="34790" y="1"/>
                    <a:pt x="22420" y="1"/>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9" name="Google Shape;558;p22">
              <a:extLst>
                <a:ext uri="{FF2B5EF4-FFF2-40B4-BE49-F238E27FC236}">
                  <a16:creationId xmlns:a16="http://schemas.microsoft.com/office/drawing/2014/main" id="{8A6FC424-A678-4990-8E47-E42B78630213}"/>
                </a:ext>
              </a:extLst>
            </p:cNvPr>
            <p:cNvSpPr/>
            <p:nvPr/>
          </p:nvSpPr>
          <p:spPr>
            <a:xfrm>
              <a:off x="2423213" y="1723063"/>
              <a:ext cx="730475" cy="730475"/>
            </a:xfrm>
            <a:custGeom>
              <a:avLst/>
              <a:gdLst/>
              <a:ahLst/>
              <a:cxnLst/>
              <a:rect l="l" t="t" r="r" b="b"/>
              <a:pathLst>
                <a:path w="29219" h="29219" extrusionOk="0">
                  <a:moveTo>
                    <a:pt x="14609" y="1"/>
                  </a:moveTo>
                  <a:cubicBezTo>
                    <a:pt x="6537" y="1"/>
                    <a:pt x="0" y="6537"/>
                    <a:pt x="0" y="14610"/>
                  </a:cubicBezTo>
                  <a:cubicBezTo>
                    <a:pt x="0" y="22682"/>
                    <a:pt x="6537" y="29219"/>
                    <a:pt x="14609" y="29219"/>
                  </a:cubicBezTo>
                  <a:cubicBezTo>
                    <a:pt x="22682" y="29219"/>
                    <a:pt x="29218" y="22682"/>
                    <a:pt x="29218" y="14610"/>
                  </a:cubicBezTo>
                  <a:cubicBezTo>
                    <a:pt x="29218" y="6537"/>
                    <a:pt x="22682" y="1"/>
                    <a:pt x="14609" y="1"/>
                  </a:cubicBezTo>
                  <a:close/>
                </a:path>
              </a:pathLst>
            </a:custGeom>
            <a:solidFill>
              <a:srgbClr val="FFFFFF"/>
            </a:solidFill>
            <a:ln>
              <a:noFill/>
            </a:ln>
          </p:spPr>
          <p:txBody>
            <a:bodyPr spcFirstLastPara="1" wrap="square" lIns="121900" tIns="121900" rIns="121900" bIns="1219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2667" b="0" i="0" u="none" strike="noStrike" kern="1200" cap="none" spc="0" normalizeH="0" baseline="0" noProof="0">
                  <a:ln>
                    <a:noFill/>
                  </a:ln>
                  <a:solidFill>
                    <a:srgbClr val="434343"/>
                  </a:solidFill>
                  <a:effectLst/>
                  <a:uLnTx/>
                  <a:uFillTx/>
                  <a:latin typeface="Arial"/>
                  <a:ea typeface="+mn-ea"/>
                  <a:cs typeface="+mn-ea"/>
                  <a:sym typeface="+mn-lt"/>
                </a:rPr>
                <a:t>01</a:t>
              </a:r>
              <a:endParaRPr kumimoji="0" sz="2667" b="0" i="0" u="none" strike="noStrike" kern="1200" cap="none" spc="0" normalizeH="0" baseline="0" noProof="0">
                <a:ln>
                  <a:noFill/>
                </a:ln>
                <a:solidFill>
                  <a:srgbClr val="434343"/>
                </a:solidFill>
                <a:effectLst/>
                <a:uLnTx/>
                <a:uFillTx/>
                <a:latin typeface="Arial"/>
                <a:ea typeface="+mn-ea"/>
                <a:cs typeface="+mn-ea"/>
                <a:sym typeface="+mn-lt"/>
              </a:endParaRPr>
            </a:p>
          </p:txBody>
        </p:sp>
        <p:sp>
          <p:nvSpPr>
            <p:cNvPr id="10" name="Google Shape;559;p22">
              <a:extLst>
                <a:ext uri="{FF2B5EF4-FFF2-40B4-BE49-F238E27FC236}">
                  <a16:creationId xmlns:a16="http://schemas.microsoft.com/office/drawing/2014/main" id="{4C505085-8446-4148-AC3B-E50AA022FB00}"/>
                </a:ext>
              </a:extLst>
            </p:cNvPr>
            <p:cNvSpPr txBox="1"/>
            <p:nvPr/>
          </p:nvSpPr>
          <p:spPr>
            <a:xfrm>
              <a:off x="2226175" y="2627075"/>
              <a:ext cx="1120800" cy="429600"/>
            </a:xfrm>
            <a:prstGeom prst="rect">
              <a:avLst/>
            </a:prstGeom>
            <a:noFill/>
            <a:ln>
              <a:noFill/>
            </a:ln>
          </p:spPr>
          <p:txBody>
            <a:bodyPr spcFirstLastPara="1" wrap="square" lIns="121900" tIns="121900" rIns="121900" bIns="1219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2267" b="0" i="0" u="none" strike="noStrike" kern="1200" cap="none" spc="0" normalizeH="0" baseline="0" noProof="0">
                  <a:ln>
                    <a:noFill/>
                  </a:ln>
                  <a:solidFill>
                    <a:srgbClr val="FFFFFF"/>
                  </a:solidFill>
                  <a:effectLst/>
                  <a:uLnTx/>
                  <a:uFillTx/>
                  <a:latin typeface="Arial"/>
                  <a:ea typeface="+mn-ea"/>
                  <a:cs typeface="+mn-ea"/>
                  <a:sym typeface="+mn-lt"/>
                </a:rPr>
                <a:t>Venus</a:t>
              </a:r>
              <a:endParaRPr kumimoji="0" sz="2267" b="0" i="0" u="none" strike="noStrike" kern="1200" cap="none" spc="0" normalizeH="0" baseline="0" noProof="0">
                <a:ln>
                  <a:noFill/>
                </a:ln>
                <a:solidFill>
                  <a:srgbClr val="FFFFFF"/>
                </a:solidFill>
                <a:effectLst/>
                <a:uLnTx/>
                <a:uFillTx/>
                <a:latin typeface="Arial"/>
                <a:ea typeface="+mn-ea"/>
                <a:cs typeface="+mn-ea"/>
                <a:sym typeface="+mn-lt"/>
              </a:endParaRPr>
            </a:p>
          </p:txBody>
        </p:sp>
        <p:sp>
          <p:nvSpPr>
            <p:cNvPr id="11" name="Google Shape;560;p22">
              <a:extLst>
                <a:ext uri="{FF2B5EF4-FFF2-40B4-BE49-F238E27FC236}">
                  <a16:creationId xmlns:a16="http://schemas.microsoft.com/office/drawing/2014/main" id="{2B7D0CC4-5167-4B7F-9DE9-4651D61A2A79}"/>
                </a:ext>
              </a:extLst>
            </p:cNvPr>
            <p:cNvSpPr txBox="1"/>
            <p:nvPr/>
          </p:nvSpPr>
          <p:spPr>
            <a:xfrm>
              <a:off x="2226175" y="2973925"/>
              <a:ext cx="1120800" cy="691500"/>
            </a:xfrm>
            <a:prstGeom prst="rect">
              <a:avLst/>
            </a:prstGeom>
            <a:noFill/>
            <a:ln>
              <a:noFill/>
            </a:ln>
          </p:spPr>
          <p:txBody>
            <a:bodyPr spcFirstLastPara="1" wrap="square" lIns="121900" tIns="121900" rIns="121900" bIns="121900" anchor="t"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1600" b="0" i="0" u="none" strike="noStrike" kern="1200" cap="none" spc="0" normalizeH="0" baseline="0" noProof="0">
                  <a:ln>
                    <a:noFill/>
                  </a:ln>
                  <a:solidFill>
                    <a:srgbClr val="FFFFFF"/>
                  </a:solidFill>
                  <a:effectLst/>
                  <a:uLnTx/>
                  <a:uFillTx/>
                  <a:latin typeface="Arial"/>
                  <a:ea typeface="+mn-ea"/>
                  <a:cs typeface="+mn-ea"/>
                  <a:sym typeface="+mn-lt"/>
                </a:rPr>
                <a:t>Venus has a beautiful name </a:t>
              </a:r>
              <a:endParaRPr kumimoji="0" sz="1600" b="0" i="0" u="none" strike="noStrike" kern="1200" cap="none" spc="0" normalizeH="0" baseline="0" noProof="0">
                <a:ln>
                  <a:noFill/>
                </a:ln>
                <a:solidFill>
                  <a:srgbClr val="FFFFFF"/>
                </a:solidFill>
                <a:effectLst/>
                <a:uLnTx/>
                <a:uFillTx/>
                <a:latin typeface="Arial"/>
                <a:ea typeface="+mn-ea"/>
                <a:cs typeface="+mn-ea"/>
                <a:sym typeface="+mn-lt"/>
              </a:endParaRPr>
            </a:p>
          </p:txBody>
        </p:sp>
      </p:grpSp>
      <p:grpSp>
        <p:nvGrpSpPr>
          <p:cNvPr id="12" name="Google Shape;561;p22">
            <a:extLst>
              <a:ext uri="{FF2B5EF4-FFF2-40B4-BE49-F238E27FC236}">
                <a16:creationId xmlns:a16="http://schemas.microsoft.com/office/drawing/2014/main" id="{FDB351DA-4B6F-4E10-8810-E263F3A4BE71}"/>
              </a:ext>
            </a:extLst>
          </p:cNvPr>
          <p:cNvGrpSpPr/>
          <p:nvPr/>
        </p:nvGrpSpPr>
        <p:grpSpPr>
          <a:xfrm>
            <a:off x="4448100" y="1899983"/>
            <a:ext cx="1494400" cy="3257967"/>
            <a:chOff x="3406625" y="1532563"/>
            <a:chExt cx="1120800" cy="2443475"/>
          </a:xfrm>
        </p:grpSpPr>
        <p:sp>
          <p:nvSpPr>
            <p:cNvPr id="13" name="Google Shape;562;p22">
              <a:extLst>
                <a:ext uri="{FF2B5EF4-FFF2-40B4-BE49-F238E27FC236}">
                  <a16:creationId xmlns:a16="http://schemas.microsoft.com/office/drawing/2014/main" id="{93CB7A52-EE8C-42B9-8021-0918879E2092}"/>
                </a:ext>
              </a:extLst>
            </p:cNvPr>
            <p:cNvSpPr/>
            <p:nvPr/>
          </p:nvSpPr>
          <p:spPr>
            <a:xfrm>
              <a:off x="3406663" y="1532563"/>
              <a:ext cx="1120700" cy="2443475"/>
            </a:xfrm>
            <a:custGeom>
              <a:avLst/>
              <a:gdLst/>
              <a:ahLst/>
              <a:cxnLst/>
              <a:rect l="l" t="t" r="r" b="b"/>
              <a:pathLst>
                <a:path w="44828" h="97739" extrusionOk="0">
                  <a:moveTo>
                    <a:pt x="22420" y="1"/>
                  </a:moveTo>
                  <a:cubicBezTo>
                    <a:pt x="10037" y="1"/>
                    <a:pt x="1" y="10038"/>
                    <a:pt x="1" y="22408"/>
                  </a:cubicBezTo>
                  <a:lnTo>
                    <a:pt x="1" y="75332"/>
                  </a:lnTo>
                  <a:cubicBezTo>
                    <a:pt x="1" y="87714"/>
                    <a:pt x="10037" y="97739"/>
                    <a:pt x="22420" y="97739"/>
                  </a:cubicBezTo>
                  <a:cubicBezTo>
                    <a:pt x="34791" y="97739"/>
                    <a:pt x="44828" y="87714"/>
                    <a:pt x="44828" y="75332"/>
                  </a:cubicBezTo>
                  <a:lnTo>
                    <a:pt x="44828" y="22408"/>
                  </a:lnTo>
                  <a:cubicBezTo>
                    <a:pt x="44828" y="10038"/>
                    <a:pt x="34791" y="1"/>
                    <a:pt x="22420" y="1"/>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14" name="Google Shape;563;p22">
              <a:extLst>
                <a:ext uri="{FF2B5EF4-FFF2-40B4-BE49-F238E27FC236}">
                  <a16:creationId xmlns:a16="http://schemas.microsoft.com/office/drawing/2014/main" id="{772596B9-3D33-443F-BF72-AD015A476182}"/>
                </a:ext>
              </a:extLst>
            </p:cNvPr>
            <p:cNvSpPr/>
            <p:nvPr/>
          </p:nvSpPr>
          <p:spPr>
            <a:xfrm>
              <a:off x="3596563" y="1723063"/>
              <a:ext cx="730475" cy="730475"/>
            </a:xfrm>
            <a:custGeom>
              <a:avLst/>
              <a:gdLst/>
              <a:ahLst/>
              <a:cxnLst/>
              <a:rect l="l" t="t" r="r" b="b"/>
              <a:pathLst>
                <a:path w="29219" h="29219" extrusionOk="0">
                  <a:moveTo>
                    <a:pt x="14610" y="1"/>
                  </a:moveTo>
                  <a:cubicBezTo>
                    <a:pt x="6537" y="1"/>
                    <a:pt x="1" y="6537"/>
                    <a:pt x="1" y="14610"/>
                  </a:cubicBezTo>
                  <a:cubicBezTo>
                    <a:pt x="1" y="22682"/>
                    <a:pt x="6537" y="29219"/>
                    <a:pt x="14610" y="29219"/>
                  </a:cubicBezTo>
                  <a:cubicBezTo>
                    <a:pt x="22670" y="29219"/>
                    <a:pt x="29219" y="22682"/>
                    <a:pt x="29219" y="14610"/>
                  </a:cubicBezTo>
                  <a:cubicBezTo>
                    <a:pt x="29219" y="6537"/>
                    <a:pt x="22670" y="1"/>
                    <a:pt x="14610" y="1"/>
                  </a:cubicBezTo>
                  <a:close/>
                </a:path>
              </a:pathLst>
            </a:custGeom>
            <a:solidFill>
              <a:srgbClr val="FFFFFF"/>
            </a:solidFill>
            <a:ln>
              <a:noFill/>
            </a:ln>
          </p:spPr>
          <p:txBody>
            <a:bodyPr spcFirstLastPara="1" wrap="square" lIns="121900" tIns="121900" rIns="121900" bIns="1219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2667" b="0" i="0" u="none" strike="noStrike" kern="1200" cap="none" spc="0" normalizeH="0" baseline="0" noProof="0">
                  <a:ln>
                    <a:noFill/>
                  </a:ln>
                  <a:solidFill>
                    <a:srgbClr val="434343"/>
                  </a:solidFill>
                  <a:effectLst/>
                  <a:uLnTx/>
                  <a:uFillTx/>
                  <a:latin typeface="Arial"/>
                  <a:ea typeface="+mn-ea"/>
                  <a:cs typeface="+mn-ea"/>
                  <a:sym typeface="+mn-lt"/>
                </a:rPr>
                <a:t>02</a:t>
              </a:r>
              <a:endParaRPr kumimoji="0" sz="2667" b="0" i="0" u="none" strike="noStrike" kern="1200" cap="none" spc="0" normalizeH="0" baseline="0" noProof="0">
                <a:ln>
                  <a:noFill/>
                </a:ln>
                <a:solidFill>
                  <a:srgbClr val="434343"/>
                </a:solidFill>
                <a:effectLst/>
                <a:uLnTx/>
                <a:uFillTx/>
                <a:latin typeface="Arial"/>
                <a:ea typeface="+mn-ea"/>
                <a:cs typeface="+mn-ea"/>
                <a:sym typeface="+mn-lt"/>
              </a:endParaRPr>
            </a:p>
          </p:txBody>
        </p:sp>
        <p:sp>
          <p:nvSpPr>
            <p:cNvPr id="15" name="Google Shape;564;p22">
              <a:extLst>
                <a:ext uri="{FF2B5EF4-FFF2-40B4-BE49-F238E27FC236}">
                  <a16:creationId xmlns:a16="http://schemas.microsoft.com/office/drawing/2014/main" id="{0CD5B82A-6F8E-4E74-A9B6-C05F649B287E}"/>
                </a:ext>
              </a:extLst>
            </p:cNvPr>
            <p:cNvSpPr txBox="1"/>
            <p:nvPr/>
          </p:nvSpPr>
          <p:spPr>
            <a:xfrm>
              <a:off x="3406625" y="2627075"/>
              <a:ext cx="1120800" cy="429600"/>
            </a:xfrm>
            <a:prstGeom prst="rect">
              <a:avLst/>
            </a:prstGeom>
            <a:noFill/>
            <a:ln>
              <a:noFill/>
            </a:ln>
          </p:spPr>
          <p:txBody>
            <a:bodyPr spcFirstLastPara="1" wrap="square" lIns="121900" tIns="121900" rIns="121900" bIns="1219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2267" b="0" i="0" u="none" strike="noStrike" kern="1200" cap="none" spc="0" normalizeH="0" baseline="0" noProof="0">
                  <a:ln>
                    <a:noFill/>
                  </a:ln>
                  <a:solidFill>
                    <a:srgbClr val="FFFFFF"/>
                  </a:solidFill>
                  <a:effectLst/>
                  <a:uLnTx/>
                  <a:uFillTx/>
                  <a:latin typeface="Arial"/>
                  <a:ea typeface="+mn-ea"/>
                  <a:cs typeface="+mn-ea"/>
                  <a:sym typeface="+mn-lt"/>
                </a:rPr>
                <a:t>Saturn</a:t>
              </a:r>
              <a:endParaRPr kumimoji="0" sz="2267" b="0" i="0" u="none" strike="noStrike" kern="1200" cap="none" spc="0" normalizeH="0" baseline="0" noProof="0">
                <a:ln>
                  <a:noFill/>
                </a:ln>
                <a:solidFill>
                  <a:srgbClr val="FFFFFF"/>
                </a:solidFill>
                <a:effectLst/>
                <a:uLnTx/>
                <a:uFillTx/>
                <a:latin typeface="Arial"/>
                <a:ea typeface="+mn-ea"/>
                <a:cs typeface="+mn-ea"/>
                <a:sym typeface="+mn-lt"/>
              </a:endParaRPr>
            </a:p>
          </p:txBody>
        </p:sp>
        <p:sp>
          <p:nvSpPr>
            <p:cNvPr id="16" name="Google Shape;565;p22">
              <a:extLst>
                <a:ext uri="{FF2B5EF4-FFF2-40B4-BE49-F238E27FC236}">
                  <a16:creationId xmlns:a16="http://schemas.microsoft.com/office/drawing/2014/main" id="{A322D3FE-E30F-4B98-B37E-03F15377D56E}"/>
                </a:ext>
              </a:extLst>
            </p:cNvPr>
            <p:cNvSpPr txBox="1"/>
            <p:nvPr/>
          </p:nvSpPr>
          <p:spPr>
            <a:xfrm>
              <a:off x="3406625" y="2973925"/>
              <a:ext cx="1120800" cy="691500"/>
            </a:xfrm>
            <a:prstGeom prst="rect">
              <a:avLst/>
            </a:prstGeom>
            <a:noFill/>
            <a:ln>
              <a:noFill/>
            </a:ln>
          </p:spPr>
          <p:txBody>
            <a:bodyPr spcFirstLastPara="1" wrap="square" lIns="121900" tIns="121900" rIns="121900" bIns="121900" anchor="t"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1600" b="0" i="0" u="none" strike="noStrike" kern="1200" cap="none" spc="0" normalizeH="0" baseline="0" noProof="0">
                  <a:ln>
                    <a:noFill/>
                  </a:ln>
                  <a:solidFill>
                    <a:srgbClr val="FFFFFF"/>
                  </a:solidFill>
                  <a:effectLst/>
                  <a:uLnTx/>
                  <a:uFillTx/>
                  <a:latin typeface="Arial"/>
                  <a:ea typeface="+mn-ea"/>
                  <a:cs typeface="+mn-ea"/>
                  <a:sym typeface="+mn-lt"/>
                </a:rPr>
                <a:t>Saturn is a gas giant and has rings</a:t>
              </a:r>
              <a:endParaRPr kumimoji="0" sz="1600" b="0" i="0" u="none" strike="noStrike" kern="1200" cap="none" spc="0" normalizeH="0" baseline="0" noProof="0">
                <a:ln>
                  <a:noFill/>
                </a:ln>
                <a:solidFill>
                  <a:srgbClr val="FFFFFF"/>
                </a:solidFill>
                <a:effectLst/>
                <a:uLnTx/>
                <a:uFillTx/>
                <a:latin typeface="Arial"/>
                <a:ea typeface="+mn-ea"/>
                <a:cs typeface="+mn-ea"/>
                <a:sym typeface="+mn-lt"/>
              </a:endParaRPr>
            </a:p>
          </p:txBody>
        </p:sp>
      </p:grpSp>
      <p:grpSp>
        <p:nvGrpSpPr>
          <p:cNvPr id="17" name="Google Shape;566;p22">
            <a:extLst>
              <a:ext uri="{FF2B5EF4-FFF2-40B4-BE49-F238E27FC236}">
                <a16:creationId xmlns:a16="http://schemas.microsoft.com/office/drawing/2014/main" id="{4B8B432C-012A-4C1A-9683-582D6DF4F049}"/>
              </a:ext>
            </a:extLst>
          </p:cNvPr>
          <p:cNvGrpSpPr/>
          <p:nvPr/>
        </p:nvGrpSpPr>
        <p:grpSpPr>
          <a:xfrm>
            <a:off x="6123700" y="1899983"/>
            <a:ext cx="1494400" cy="3257967"/>
            <a:chOff x="4587125" y="1532563"/>
            <a:chExt cx="1120800" cy="2443475"/>
          </a:xfrm>
        </p:grpSpPr>
        <p:sp>
          <p:nvSpPr>
            <p:cNvPr id="18" name="Google Shape;567;p22">
              <a:extLst>
                <a:ext uri="{FF2B5EF4-FFF2-40B4-BE49-F238E27FC236}">
                  <a16:creationId xmlns:a16="http://schemas.microsoft.com/office/drawing/2014/main" id="{DA60C4D6-4CB2-4AAF-B3B2-6F472528624D}"/>
                </a:ext>
              </a:extLst>
            </p:cNvPr>
            <p:cNvSpPr/>
            <p:nvPr/>
          </p:nvSpPr>
          <p:spPr>
            <a:xfrm>
              <a:off x="4587163" y="1532563"/>
              <a:ext cx="1120700" cy="2443475"/>
            </a:xfrm>
            <a:custGeom>
              <a:avLst/>
              <a:gdLst/>
              <a:ahLst/>
              <a:cxnLst/>
              <a:rect l="l" t="t" r="r" b="b"/>
              <a:pathLst>
                <a:path w="44828" h="97739" extrusionOk="0">
                  <a:moveTo>
                    <a:pt x="22420" y="1"/>
                  </a:moveTo>
                  <a:cubicBezTo>
                    <a:pt x="10038" y="1"/>
                    <a:pt x="1" y="10038"/>
                    <a:pt x="1" y="22408"/>
                  </a:cubicBezTo>
                  <a:lnTo>
                    <a:pt x="1" y="75332"/>
                  </a:lnTo>
                  <a:cubicBezTo>
                    <a:pt x="1" y="87714"/>
                    <a:pt x="10038" y="97739"/>
                    <a:pt x="22420" y="97739"/>
                  </a:cubicBezTo>
                  <a:cubicBezTo>
                    <a:pt x="34791" y="97739"/>
                    <a:pt x="44828" y="87714"/>
                    <a:pt x="44828" y="75332"/>
                  </a:cubicBezTo>
                  <a:lnTo>
                    <a:pt x="44828" y="22408"/>
                  </a:lnTo>
                  <a:cubicBezTo>
                    <a:pt x="44828" y="10038"/>
                    <a:pt x="34791" y="1"/>
                    <a:pt x="22420" y="1"/>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19" name="Google Shape;568;p22">
              <a:extLst>
                <a:ext uri="{FF2B5EF4-FFF2-40B4-BE49-F238E27FC236}">
                  <a16:creationId xmlns:a16="http://schemas.microsoft.com/office/drawing/2014/main" id="{1B78FCFD-D841-4E60-B616-83FA3503ED51}"/>
                </a:ext>
              </a:extLst>
            </p:cNvPr>
            <p:cNvSpPr/>
            <p:nvPr/>
          </p:nvSpPr>
          <p:spPr>
            <a:xfrm>
              <a:off x="4772913" y="1723063"/>
              <a:ext cx="730475" cy="730475"/>
            </a:xfrm>
            <a:custGeom>
              <a:avLst/>
              <a:gdLst/>
              <a:ahLst/>
              <a:cxnLst/>
              <a:rect l="l" t="t" r="r" b="b"/>
              <a:pathLst>
                <a:path w="29219" h="29219" extrusionOk="0">
                  <a:moveTo>
                    <a:pt x="14609" y="1"/>
                  </a:moveTo>
                  <a:cubicBezTo>
                    <a:pt x="6537" y="1"/>
                    <a:pt x="0" y="6537"/>
                    <a:pt x="0" y="14610"/>
                  </a:cubicBezTo>
                  <a:cubicBezTo>
                    <a:pt x="0" y="22682"/>
                    <a:pt x="6537" y="29219"/>
                    <a:pt x="14609" y="29219"/>
                  </a:cubicBezTo>
                  <a:cubicBezTo>
                    <a:pt x="22682" y="29219"/>
                    <a:pt x="29218" y="22682"/>
                    <a:pt x="29218" y="14610"/>
                  </a:cubicBezTo>
                  <a:cubicBezTo>
                    <a:pt x="29218" y="6537"/>
                    <a:pt x="22682" y="1"/>
                    <a:pt x="14609" y="1"/>
                  </a:cubicBezTo>
                  <a:close/>
                </a:path>
              </a:pathLst>
            </a:custGeom>
            <a:solidFill>
              <a:srgbClr val="FFFFFF"/>
            </a:solidFill>
            <a:ln>
              <a:noFill/>
            </a:ln>
          </p:spPr>
          <p:txBody>
            <a:bodyPr spcFirstLastPara="1" wrap="square" lIns="121900" tIns="121900" rIns="121900" bIns="1219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2667" b="0" i="0" u="none" strike="noStrike" kern="1200" cap="none" spc="0" normalizeH="0" baseline="0" noProof="0">
                  <a:ln>
                    <a:noFill/>
                  </a:ln>
                  <a:solidFill>
                    <a:srgbClr val="434343"/>
                  </a:solidFill>
                  <a:effectLst/>
                  <a:uLnTx/>
                  <a:uFillTx/>
                  <a:latin typeface="Arial"/>
                  <a:ea typeface="+mn-ea"/>
                  <a:cs typeface="+mn-ea"/>
                  <a:sym typeface="+mn-lt"/>
                </a:rPr>
                <a:t>03</a:t>
              </a:r>
              <a:endParaRPr kumimoji="0" sz="2667" b="0" i="0" u="none" strike="noStrike" kern="1200" cap="none" spc="0" normalizeH="0" baseline="0" noProof="0">
                <a:ln>
                  <a:noFill/>
                </a:ln>
                <a:solidFill>
                  <a:srgbClr val="434343"/>
                </a:solidFill>
                <a:effectLst/>
                <a:uLnTx/>
                <a:uFillTx/>
                <a:latin typeface="Arial"/>
                <a:ea typeface="+mn-ea"/>
                <a:cs typeface="+mn-ea"/>
                <a:sym typeface="+mn-lt"/>
              </a:endParaRPr>
            </a:p>
          </p:txBody>
        </p:sp>
        <p:sp>
          <p:nvSpPr>
            <p:cNvPr id="20" name="Google Shape;569;p22">
              <a:extLst>
                <a:ext uri="{FF2B5EF4-FFF2-40B4-BE49-F238E27FC236}">
                  <a16:creationId xmlns:a16="http://schemas.microsoft.com/office/drawing/2014/main" id="{66652403-6C5B-403D-B97C-CEF752FED10E}"/>
                </a:ext>
              </a:extLst>
            </p:cNvPr>
            <p:cNvSpPr txBox="1"/>
            <p:nvPr/>
          </p:nvSpPr>
          <p:spPr>
            <a:xfrm>
              <a:off x="4587125" y="2627075"/>
              <a:ext cx="1120800" cy="429600"/>
            </a:xfrm>
            <a:prstGeom prst="rect">
              <a:avLst/>
            </a:prstGeom>
            <a:noFill/>
            <a:ln>
              <a:noFill/>
            </a:ln>
          </p:spPr>
          <p:txBody>
            <a:bodyPr spcFirstLastPara="1" wrap="square" lIns="121900" tIns="121900" rIns="121900" bIns="1219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2267" b="0" i="0" u="none" strike="noStrike" kern="1200" cap="none" spc="0" normalizeH="0" baseline="0" noProof="0">
                  <a:ln>
                    <a:noFill/>
                  </a:ln>
                  <a:solidFill>
                    <a:srgbClr val="FFFFFF"/>
                  </a:solidFill>
                  <a:effectLst/>
                  <a:uLnTx/>
                  <a:uFillTx/>
                  <a:latin typeface="Arial"/>
                  <a:ea typeface="+mn-ea"/>
                  <a:cs typeface="+mn-ea"/>
                  <a:sym typeface="+mn-lt"/>
                </a:rPr>
                <a:t>Neptune</a:t>
              </a:r>
              <a:endParaRPr kumimoji="0" sz="2267" b="0" i="0" u="none" strike="noStrike" kern="1200" cap="none" spc="0" normalizeH="0" baseline="0" noProof="0">
                <a:ln>
                  <a:noFill/>
                </a:ln>
                <a:solidFill>
                  <a:srgbClr val="FFFFFF"/>
                </a:solidFill>
                <a:effectLst/>
                <a:uLnTx/>
                <a:uFillTx/>
                <a:latin typeface="Arial"/>
                <a:ea typeface="+mn-ea"/>
                <a:cs typeface="+mn-ea"/>
                <a:sym typeface="+mn-lt"/>
              </a:endParaRPr>
            </a:p>
          </p:txBody>
        </p:sp>
        <p:sp>
          <p:nvSpPr>
            <p:cNvPr id="21" name="Google Shape;570;p22">
              <a:extLst>
                <a:ext uri="{FF2B5EF4-FFF2-40B4-BE49-F238E27FC236}">
                  <a16:creationId xmlns:a16="http://schemas.microsoft.com/office/drawing/2014/main" id="{840E97AB-3355-4E8F-B589-FDC9DC731C68}"/>
                </a:ext>
              </a:extLst>
            </p:cNvPr>
            <p:cNvSpPr txBox="1"/>
            <p:nvPr/>
          </p:nvSpPr>
          <p:spPr>
            <a:xfrm>
              <a:off x="4587125" y="2973925"/>
              <a:ext cx="1120800" cy="691500"/>
            </a:xfrm>
            <a:prstGeom prst="rect">
              <a:avLst/>
            </a:prstGeom>
            <a:noFill/>
            <a:ln>
              <a:noFill/>
            </a:ln>
          </p:spPr>
          <p:txBody>
            <a:bodyPr spcFirstLastPara="1" wrap="square" lIns="121900" tIns="121900" rIns="121900" bIns="121900" anchor="t"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1600" b="0" i="0" u="none" strike="noStrike" kern="1200" cap="none" spc="0" normalizeH="0" baseline="0" noProof="0">
                  <a:ln>
                    <a:noFill/>
                  </a:ln>
                  <a:solidFill>
                    <a:srgbClr val="FFFFFF"/>
                  </a:solidFill>
                  <a:effectLst/>
                  <a:uLnTx/>
                  <a:uFillTx/>
                  <a:latin typeface="Arial"/>
                  <a:ea typeface="+mn-ea"/>
                  <a:cs typeface="+mn-ea"/>
                  <a:sym typeface="+mn-lt"/>
                </a:rPr>
                <a:t>Neptune is the farthest planet</a:t>
              </a:r>
              <a:endParaRPr kumimoji="0" sz="1600" b="0" i="0" u="none" strike="noStrike" kern="1200" cap="none" spc="0" normalizeH="0" baseline="0" noProof="0">
                <a:ln>
                  <a:noFill/>
                </a:ln>
                <a:solidFill>
                  <a:srgbClr val="FFFFFF"/>
                </a:solidFill>
                <a:effectLst/>
                <a:uLnTx/>
                <a:uFillTx/>
                <a:latin typeface="Arial"/>
                <a:ea typeface="+mn-ea"/>
                <a:cs typeface="+mn-ea"/>
                <a:sym typeface="+mn-lt"/>
              </a:endParaRPr>
            </a:p>
          </p:txBody>
        </p:sp>
      </p:grpSp>
      <p:grpSp>
        <p:nvGrpSpPr>
          <p:cNvPr id="22" name="Google Shape;571;p22">
            <a:extLst>
              <a:ext uri="{FF2B5EF4-FFF2-40B4-BE49-F238E27FC236}">
                <a16:creationId xmlns:a16="http://schemas.microsoft.com/office/drawing/2014/main" id="{D0BB9E3C-9476-482E-81B9-FF634C49F9D8}"/>
              </a:ext>
            </a:extLst>
          </p:cNvPr>
          <p:cNvGrpSpPr/>
          <p:nvPr/>
        </p:nvGrpSpPr>
        <p:grpSpPr>
          <a:xfrm>
            <a:off x="7799300" y="1899983"/>
            <a:ext cx="1494400" cy="3257967"/>
            <a:chOff x="5767625" y="1532563"/>
            <a:chExt cx="1120800" cy="2443475"/>
          </a:xfrm>
        </p:grpSpPr>
        <p:sp>
          <p:nvSpPr>
            <p:cNvPr id="23" name="Google Shape;572;p22">
              <a:extLst>
                <a:ext uri="{FF2B5EF4-FFF2-40B4-BE49-F238E27FC236}">
                  <a16:creationId xmlns:a16="http://schemas.microsoft.com/office/drawing/2014/main" id="{0B793B9C-C8C2-49EB-8D02-4A9BABE97027}"/>
                </a:ext>
              </a:extLst>
            </p:cNvPr>
            <p:cNvSpPr/>
            <p:nvPr/>
          </p:nvSpPr>
          <p:spPr>
            <a:xfrm>
              <a:off x="5767663" y="1532563"/>
              <a:ext cx="1120700" cy="2443475"/>
            </a:xfrm>
            <a:custGeom>
              <a:avLst/>
              <a:gdLst/>
              <a:ahLst/>
              <a:cxnLst/>
              <a:rect l="l" t="t" r="r" b="b"/>
              <a:pathLst>
                <a:path w="44828" h="97739" extrusionOk="0">
                  <a:moveTo>
                    <a:pt x="22420" y="1"/>
                  </a:moveTo>
                  <a:cubicBezTo>
                    <a:pt x="10038" y="1"/>
                    <a:pt x="1" y="10038"/>
                    <a:pt x="1" y="22408"/>
                  </a:cubicBezTo>
                  <a:lnTo>
                    <a:pt x="1" y="75332"/>
                  </a:lnTo>
                  <a:cubicBezTo>
                    <a:pt x="1" y="87714"/>
                    <a:pt x="10038" y="97739"/>
                    <a:pt x="22420" y="97739"/>
                  </a:cubicBezTo>
                  <a:cubicBezTo>
                    <a:pt x="34791" y="97739"/>
                    <a:pt x="44828" y="87714"/>
                    <a:pt x="44828" y="75332"/>
                  </a:cubicBezTo>
                  <a:lnTo>
                    <a:pt x="44828" y="22408"/>
                  </a:lnTo>
                  <a:cubicBezTo>
                    <a:pt x="44828" y="10038"/>
                    <a:pt x="34791" y="1"/>
                    <a:pt x="22420" y="1"/>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24" name="Google Shape;573;p22">
              <a:extLst>
                <a:ext uri="{FF2B5EF4-FFF2-40B4-BE49-F238E27FC236}">
                  <a16:creationId xmlns:a16="http://schemas.microsoft.com/office/drawing/2014/main" id="{3AC192B6-AC28-4C66-8D1B-98D1443F0553}"/>
                </a:ext>
              </a:extLst>
            </p:cNvPr>
            <p:cNvSpPr/>
            <p:nvPr/>
          </p:nvSpPr>
          <p:spPr>
            <a:xfrm>
              <a:off x="5952513" y="1723063"/>
              <a:ext cx="730475" cy="730475"/>
            </a:xfrm>
            <a:custGeom>
              <a:avLst/>
              <a:gdLst/>
              <a:ahLst/>
              <a:cxnLst/>
              <a:rect l="l" t="t" r="r" b="b"/>
              <a:pathLst>
                <a:path w="29219" h="29219" extrusionOk="0">
                  <a:moveTo>
                    <a:pt x="14610" y="1"/>
                  </a:moveTo>
                  <a:cubicBezTo>
                    <a:pt x="6549" y="1"/>
                    <a:pt x="1" y="6537"/>
                    <a:pt x="1" y="14610"/>
                  </a:cubicBezTo>
                  <a:cubicBezTo>
                    <a:pt x="1" y="22682"/>
                    <a:pt x="6549" y="29219"/>
                    <a:pt x="14610" y="29219"/>
                  </a:cubicBezTo>
                  <a:cubicBezTo>
                    <a:pt x="22682" y="29219"/>
                    <a:pt x="29219" y="22682"/>
                    <a:pt x="29219" y="14610"/>
                  </a:cubicBezTo>
                  <a:cubicBezTo>
                    <a:pt x="29219" y="6537"/>
                    <a:pt x="22682" y="1"/>
                    <a:pt x="14610" y="1"/>
                  </a:cubicBezTo>
                  <a:close/>
                </a:path>
              </a:pathLst>
            </a:custGeom>
            <a:solidFill>
              <a:srgbClr val="FFFFFF"/>
            </a:solidFill>
            <a:ln>
              <a:noFill/>
            </a:ln>
          </p:spPr>
          <p:txBody>
            <a:bodyPr spcFirstLastPara="1" wrap="square" lIns="121900" tIns="121900" rIns="121900" bIns="1219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2667" b="0" i="0" u="none" strike="noStrike" kern="1200" cap="none" spc="0" normalizeH="0" baseline="0" noProof="0">
                  <a:ln>
                    <a:noFill/>
                  </a:ln>
                  <a:solidFill>
                    <a:srgbClr val="434343"/>
                  </a:solidFill>
                  <a:effectLst/>
                  <a:uLnTx/>
                  <a:uFillTx/>
                  <a:latin typeface="Arial"/>
                  <a:ea typeface="+mn-ea"/>
                  <a:cs typeface="+mn-ea"/>
                  <a:sym typeface="+mn-lt"/>
                </a:rPr>
                <a:t>04</a:t>
              </a:r>
              <a:endParaRPr kumimoji="0" sz="2667" b="0" i="0" u="none" strike="noStrike" kern="1200" cap="none" spc="0" normalizeH="0" baseline="0" noProof="0">
                <a:ln>
                  <a:noFill/>
                </a:ln>
                <a:solidFill>
                  <a:srgbClr val="434343"/>
                </a:solidFill>
                <a:effectLst/>
                <a:uLnTx/>
                <a:uFillTx/>
                <a:latin typeface="Arial"/>
                <a:ea typeface="+mn-ea"/>
                <a:cs typeface="+mn-ea"/>
                <a:sym typeface="+mn-lt"/>
              </a:endParaRPr>
            </a:p>
          </p:txBody>
        </p:sp>
        <p:sp>
          <p:nvSpPr>
            <p:cNvPr id="25" name="Google Shape;574;p22">
              <a:extLst>
                <a:ext uri="{FF2B5EF4-FFF2-40B4-BE49-F238E27FC236}">
                  <a16:creationId xmlns:a16="http://schemas.microsoft.com/office/drawing/2014/main" id="{3F9F09A5-80B2-48F5-8668-3882A957FDC0}"/>
                </a:ext>
              </a:extLst>
            </p:cNvPr>
            <p:cNvSpPr txBox="1"/>
            <p:nvPr/>
          </p:nvSpPr>
          <p:spPr>
            <a:xfrm>
              <a:off x="5767625" y="2627075"/>
              <a:ext cx="1120800" cy="429600"/>
            </a:xfrm>
            <a:prstGeom prst="rect">
              <a:avLst/>
            </a:prstGeom>
            <a:noFill/>
            <a:ln>
              <a:noFill/>
            </a:ln>
          </p:spPr>
          <p:txBody>
            <a:bodyPr spcFirstLastPara="1" wrap="square" lIns="121900" tIns="121900" rIns="121900" bIns="1219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2267" b="0" i="0" u="none" strike="noStrike" kern="1200" cap="none" spc="0" normalizeH="0" baseline="0" noProof="0">
                  <a:ln>
                    <a:noFill/>
                  </a:ln>
                  <a:solidFill>
                    <a:srgbClr val="FFFFFF"/>
                  </a:solidFill>
                  <a:effectLst/>
                  <a:uLnTx/>
                  <a:uFillTx/>
                  <a:latin typeface="Arial"/>
                  <a:ea typeface="+mn-ea"/>
                  <a:cs typeface="+mn-ea"/>
                  <a:sym typeface="+mn-lt"/>
                </a:rPr>
                <a:t>Mercury</a:t>
              </a:r>
              <a:endParaRPr kumimoji="0" sz="2267" b="0" i="0" u="none" strike="noStrike" kern="1200" cap="none" spc="0" normalizeH="0" baseline="0" noProof="0">
                <a:ln>
                  <a:noFill/>
                </a:ln>
                <a:solidFill>
                  <a:srgbClr val="FFFFFF"/>
                </a:solidFill>
                <a:effectLst/>
                <a:uLnTx/>
                <a:uFillTx/>
                <a:latin typeface="Arial"/>
                <a:ea typeface="+mn-ea"/>
                <a:cs typeface="+mn-ea"/>
                <a:sym typeface="+mn-lt"/>
              </a:endParaRPr>
            </a:p>
          </p:txBody>
        </p:sp>
        <p:sp>
          <p:nvSpPr>
            <p:cNvPr id="26" name="Google Shape;575;p22">
              <a:extLst>
                <a:ext uri="{FF2B5EF4-FFF2-40B4-BE49-F238E27FC236}">
                  <a16:creationId xmlns:a16="http://schemas.microsoft.com/office/drawing/2014/main" id="{18CF898B-7B37-4E18-847C-331F00BEA9E2}"/>
                </a:ext>
              </a:extLst>
            </p:cNvPr>
            <p:cNvSpPr txBox="1"/>
            <p:nvPr/>
          </p:nvSpPr>
          <p:spPr>
            <a:xfrm>
              <a:off x="5767625" y="2973925"/>
              <a:ext cx="1120800" cy="691500"/>
            </a:xfrm>
            <a:prstGeom prst="rect">
              <a:avLst/>
            </a:prstGeom>
            <a:noFill/>
            <a:ln>
              <a:noFill/>
            </a:ln>
          </p:spPr>
          <p:txBody>
            <a:bodyPr spcFirstLastPara="1" wrap="square" lIns="121900" tIns="121900" rIns="121900" bIns="121900" anchor="t"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1600" b="0" i="0" u="none" strike="noStrike" kern="1200" cap="none" spc="0" normalizeH="0" baseline="0" noProof="0">
                  <a:ln>
                    <a:noFill/>
                  </a:ln>
                  <a:solidFill>
                    <a:srgbClr val="FFFFFF"/>
                  </a:solidFill>
                  <a:effectLst/>
                  <a:uLnTx/>
                  <a:uFillTx/>
                  <a:latin typeface="Arial"/>
                  <a:ea typeface="+mn-ea"/>
                  <a:cs typeface="+mn-ea"/>
                  <a:sym typeface="+mn-lt"/>
                </a:rPr>
                <a:t>Mercury is the smallest planet</a:t>
              </a:r>
              <a:endParaRPr kumimoji="0" sz="1600" b="0" i="0" u="none" strike="noStrike" kern="1200" cap="none" spc="0" normalizeH="0" baseline="0" noProof="0">
                <a:ln>
                  <a:noFill/>
                </a:ln>
                <a:solidFill>
                  <a:srgbClr val="FFFFFF"/>
                </a:solidFill>
                <a:effectLst/>
                <a:uLnTx/>
                <a:uFillTx/>
                <a:latin typeface="Arial"/>
                <a:ea typeface="+mn-ea"/>
                <a:cs typeface="+mn-ea"/>
                <a:sym typeface="+mn-lt"/>
              </a:endParaRPr>
            </a:p>
          </p:txBody>
        </p:sp>
      </p:grpSp>
    </p:spTree>
    <p:extLst>
      <p:ext uri="{BB962C8B-B14F-4D97-AF65-F5344CB8AC3E}">
        <p14:creationId xmlns:p14="http://schemas.microsoft.com/office/powerpoint/2010/main" val="1831955707"/>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7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oogle Shape;581;p23">
            <a:extLst>
              <a:ext uri="{FF2B5EF4-FFF2-40B4-BE49-F238E27FC236}">
                <a16:creationId xmlns:a16="http://schemas.microsoft.com/office/drawing/2014/main" id="{93920786-1709-4347-AE75-CDFA51404D89}"/>
              </a:ext>
            </a:extLst>
          </p:cNvPr>
          <p:cNvGrpSpPr/>
          <p:nvPr/>
        </p:nvGrpSpPr>
        <p:grpSpPr>
          <a:xfrm>
            <a:off x="6408541" y="1081381"/>
            <a:ext cx="2570200" cy="4340184"/>
            <a:chOff x="4865200" y="1207724"/>
            <a:chExt cx="1927650" cy="3255138"/>
          </a:xfrm>
        </p:grpSpPr>
        <p:sp>
          <p:nvSpPr>
            <p:cNvPr id="3" name="Google Shape;582;p23">
              <a:extLst>
                <a:ext uri="{FF2B5EF4-FFF2-40B4-BE49-F238E27FC236}">
                  <a16:creationId xmlns:a16="http://schemas.microsoft.com/office/drawing/2014/main" id="{2E4E88B9-8B6A-41E4-ABE1-89931BBA14AF}"/>
                </a:ext>
              </a:extLst>
            </p:cNvPr>
            <p:cNvSpPr/>
            <p:nvPr/>
          </p:nvSpPr>
          <p:spPr>
            <a:xfrm>
              <a:off x="4865200" y="4190188"/>
              <a:ext cx="1170100" cy="16400"/>
            </a:xfrm>
            <a:custGeom>
              <a:avLst/>
              <a:gdLst/>
              <a:ahLst/>
              <a:cxnLst/>
              <a:rect l="l" t="t" r="r" b="b"/>
              <a:pathLst>
                <a:path w="46804" h="656" extrusionOk="0">
                  <a:moveTo>
                    <a:pt x="0" y="0"/>
                  </a:moveTo>
                  <a:lnTo>
                    <a:pt x="0" y="655"/>
                  </a:lnTo>
                  <a:lnTo>
                    <a:pt x="46804" y="655"/>
                  </a:lnTo>
                  <a:lnTo>
                    <a:pt x="46804" y="0"/>
                  </a:lnTo>
                  <a:close/>
                </a:path>
              </a:pathLst>
            </a:custGeom>
            <a:solidFill>
              <a:srgbClr val="869FB2"/>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4" name="Google Shape;583;p23">
              <a:extLst>
                <a:ext uri="{FF2B5EF4-FFF2-40B4-BE49-F238E27FC236}">
                  <a16:creationId xmlns:a16="http://schemas.microsoft.com/office/drawing/2014/main" id="{C5EFAAED-9D82-4F6F-8E0D-9829D49A76E3}"/>
                </a:ext>
              </a:extLst>
            </p:cNvPr>
            <p:cNvSpPr/>
            <p:nvPr/>
          </p:nvSpPr>
          <p:spPr>
            <a:xfrm>
              <a:off x="5049450" y="3774963"/>
              <a:ext cx="1169800" cy="16075"/>
            </a:xfrm>
            <a:custGeom>
              <a:avLst/>
              <a:gdLst/>
              <a:ahLst/>
              <a:cxnLst/>
              <a:rect l="l" t="t" r="r" b="b"/>
              <a:pathLst>
                <a:path w="46792" h="643" extrusionOk="0">
                  <a:moveTo>
                    <a:pt x="0" y="0"/>
                  </a:moveTo>
                  <a:lnTo>
                    <a:pt x="0" y="643"/>
                  </a:lnTo>
                  <a:lnTo>
                    <a:pt x="46792" y="643"/>
                  </a:lnTo>
                  <a:lnTo>
                    <a:pt x="46792" y="0"/>
                  </a:lnTo>
                  <a:close/>
                </a:path>
              </a:pathLst>
            </a:custGeom>
            <a:solidFill>
              <a:srgbClr val="869FB2"/>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5" name="Google Shape;584;p23">
              <a:extLst>
                <a:ext uri="{FF2B5EF4-FFF2-40B4-BE49-F238E27FC236}">
                  <a16:creationId xmlns:a16="http://schemas.microsoft.com/office/drawing/2014/main" id="{8790E74C-E172-4784-ABA0-72B46BAC9467}"/>
                </a:ext>
              </a:extLst>
            </p:cNvPr>
            <p:cNvSpPr/>
            <p:nvPr/>
          </p:nvSpPr>
          <p:spPr>
            <a:xfrm>
              <a:off x="5226550" y="3368938"/>
              <a:ext cx="1170100" cy="16100"/>
            </a:xfrm>
            <a:custGeom>
              <a:avLst/>
              <a:gdLst/>
              <a:ahLst/>
              <a:cxnLst/>
              <a:rect l="l" t="t" r="r" b="b"/>
              <a:pathLst>
                <a:path w="46804" h="644" extrusionOk="0">
                  <a:moveTo>
                    <a:pt x="1" y="1"/>
                  </a:moveTo>
                  <a:lnTo>
                    <a:pt x="1" y="644"/>
                  </a:lnTo>
                  <a:lnTo>
                    <a:pt x="46804" y="644"/>
                  </a:lnTo>
                  <a:lnTo>
                    <a:pt x="46804" y="1"/>
                  </a:lnTo>
                  <a:close/>
                </a:path>
              </a:pathLst>
            </a:custGeom>
            <a:solidFill>
              <a:srgbClr val="869FB2"/>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6" name="Google Shape;585;p23">
              <a:extLst>
                <a:ext uri="{FF2B5EF4-FFF2-40B4-BE49-F238E27FC236}">
                  <a16:creationId xmlns:a16="http://schemas.microsoft.com/office/drawing/2014/main" id="{89C54282-ACE9-4449-991F-E44F2210274C}"/>
                </a:ext>
              </a:extLst>
            </p:cNvPr>
            <p:cNvSpPr/>
            <p:nvPr/>
          </p:nvSpPr>
          <p:spPr>
            <a:xfrm>
              <a:off x="4865200" y="1911913"/>
              <a:ext cx="1170100" cy="16100"/>
            </a:xfrm>
            <a:custGeom>
              <a:avLst/>
              <a:gdLst/>
              <a:ahLst/>
              <a:cxnLst/>
              <a:rect l="l" t="t" r="r" b="b"/>
              <a:pathLst>
                <a:path w="46804" h="644" extrusionOk="0">
                  <a:moveTo>
                    <a:pt x="0" y="1"/>
                  </a:moveTo>
                  <a:lnTo>
                    <a:pt x="0" y="644"/>
                  </a:lnTo>
                  <a:lnTo>
                    <a:pt x="46804" y="644"/>
                  </a:lnTo>
                  <a:lnTo>
                    <a:pt x="46804" y="1"/>
                  </a:lnTo>
                  <a:close/>
                </a:path>
              </a:pathLst>
            </a:custGeom>
            <a:solidFill>
              <a:srgbClr val="869FB2"/>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7" name="Google Shape;586;p23">
              <a:extLst>
                <a:ext uri="{FF2B5EF4-FFF2-40B4-BE49-F238E27FC236}">
                  <a16:creationId xmlns:a16="http://schemas.microsoft.com/office/drawing/2014/main" id="{D4EEDDBB-DA6F-4FB5-A637-DE6052924B9E}"/>
                </a:ext>
              </a:extLst>
            </p:cNvPr>
            <p:cNvSpPr/>
            <p:nvPr/>
          </p:nvSpPr>
          <p:spPr>
            <a:xfrm>
              <a:off x="5049450" y="2327463"/>
              <a:ext cx="1169800" cy="16075"/>
            </a:xfrm>
            <a:custGeom>
              <a:avLst/>
              <a:gdLst/>
              <a:ahLst/>
              <a:cxnLst/>
              <a:rect l="l" t="t" r="r" b="b"/>
              <a:pathLst>
                <a:path w="46792" h="643" extrusionOk="0">
                  <a:moveTo>
                    <a:pt x="0" y="0"/>
                  </a:moveTo>
                  <a:lnTo>
                    <a:pt x="0" y="643"/>
                  </a:lnTo>
                  <a:lnTo>
                    <a:pt x="46792" y="643"/>
                  </a:lnTo>
                  <a:lnTo>
                    <a:pt x="46792" y="0"/>
                  </a:lnTo>
                  <a:close/>
                </a:path>
              </a:pathLst>
            </a:custGeom>
            <a:solidFill>
              <a:srgbClr val="869FB2"/>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8" name="Google Shape;587;p23">
              <a:extLst>
                <a:ext uri="{FF2B5EF4-FFF2-40B4-BE49-F238E27FC236}">
                  <a16:creationId xmlns:a16="http://schemas.microsoft.com/office/drawing/2014/main" id="{B3A8C759-6B7A-4298-810B-1758C7E643AF}"/>
                </a:ext>
              </a:extLst>
            </p:cNvPr>
            <p:cNvSpPr/>
            <p:nvPr/>
          </p:nvSpPr>
          <p:spPr>
            <a:xfrm>
              <a:off x="5226550" y="2733463"/>
              <a:ext cx="1170100" cy="16100"/>
            </a:xfrm>
            <a:custGeom>
              <a:avLst/>
              <a:gdLst/>
              <a:ahLst/>
              <a:cxnLst/>
              <a:rect l="l" t="t" r="r" b="b"/>
              <a:pathLst>
                <a:path w="46804" h="644" extrusionOk="0">
                  <a:moveTo>
                    <a:pt x="1" y="0"/>
                  </a:moveTo>
                  <a:lnTo>
                    <a:pt x="1" y="643"/>
                  </a:lnTo>
                  <a:lnTo>
                    <a:pt x="46804" y="643"/>
                  </a:lnTo>
                  <a:lnTo>
                    <a:pt x="46804" y="0"/>
                  </a:lnTo>
                  <a:close/>
                </a:path>
              </a:pathLst>
            </a:custGeom>
            <a:solidFill>
              <a:srgbClr val="869FB2"/>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9" name="Google Shape;588;p23">
              <a:extLst>
                <a:ext uri="{FF2B5EF4-FFF2-40B4-BE49-F238E27FC236}">
                  <a16:creationId xmlns:a16="http://schemas.microsoft.com/office/drawing/2014/main" id="{24BA75F2-3FE9-45B6-9508-9C63A26D4E6B}"/>
                </a:ext>
              </a:extLst>
            </p:cNvPr>
            <p:cNvSpPr/>
            <p:nvPr/>
          </p:nvSpPr>
          <p:spPr>
            <a:xfrm>
              <a:off x="5746850" y="1658613"/>
              <a:ext cx="942700" cy="2801275"/>
            </a:xfrm>
            <a:custGeom>
              <a:avLst/>
              <a:gdLst/>
              <a:ahLst/>
              <a:cxnLst/>
              <a:rect l="l" t="t" r="r" b="b"/>
              <a:pathLst>
                <a:path w="37708" h="112051" extrusionOk="0">
                  <a:moveTo>
                    <a:pt x="1" y="1"/>
                  </a:moveTo>
                  <a:lnTo>
                    <a:pt x="23361" y="56020"/>
                  </a:lnTo>
                  <a:lnTo>
                    <a:pt x="1" y="112050"/>
                  </a:lnTo>
                  <a:lnTo>
                    <a:pt x="14348" y="112050"/>
                  </a:lnTo>
                  <a:lnTo>
                    <a:pt x="37708" y="56020"/>
                  </a:lnTo>
                  <a:lnTo>
                    <a:pt x="14348" y="1"/>
                  </a:ln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10" name="Google Shape;589;p23">
              <a:extLst>
                <a:ext uri="{FF2B5EF4-FFF2-40B4-BE49-F238E27FC236}">
                  <a16:creationId xmlns:a16="http://schemas.microsoft.com/office/drawing/2014/main" id="{CFD7A2B8-C0EC-4191-B371-9FAFAD9A97EF}"/>
                </a:ext>
              </a:extLst>
            </p:cNvPr>
            <p:cNvSpPr/>
            <p:nvPr/>
          </p:nvSpPr>
          <p:spPr>
            <a:xfrm>
              <a:off x="6192450" y="1655338"/>
              <a:ext cx="600400" cy="2807525"/>
            </a:xfrm>
            <a:custGeom>
              <a:avLst/>
              <a:gdLst/>
              <a:ahLst/>
              <a:cxnLst/>
              <a:rect l="l" t="t" r="r" b="b"/>
              <a:pathLst>
                <a:path w="24016" h="112301" extrusionOk="0">
                  <a:moveTo>
                    <a:pt x="596" y="1"/>
                  </a:moveTo>
                  <a:lnTo>
                    <a:pt x="0" y="251"/>
                  </a:lnTo>
                  <a:lnTo>
                    <a:pt x="23313" y="56151"/>
                  </a:lnTo>
                  <a:lnTo>
                    <a:pt x="0" y="112050"/>
                  </a:lnTo>
                  <a:lnTo>
                    <a:pt x="596" y="112300"/>
                  </a:lnTo>
                  <a:lnTo>
                    <a:pt x="23968" y="56282"/>
                  </a:lnTo>
                  <a:lnTo>
                    <a:pt x="24015" y="56151"/>
                  </a:lnTo>
                  <a:lnTo>
                    <a:pt x="596" y="1"/>
                  </a:lnTo>
                  <a:close/>
                </a:path>
              </a:pathLst>
            </a:custGeom>
            <a:solidFill>
              <a:srgbClr val="869FB2"/>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11" name="Google Shape;590;p23">
              <a:extLst>
                <a:ext uri="{FF2B5EF4-FFF2-40B4-BE49-F238E27FC236}">
                  <a16:creationId xmlns:a16="http://schemas.microsoft.com/office/drawing/2014/main" id="{4E62A877-F0FC-4F45-BE57-B45BF7BBB5E1}"/>
                </a:ext>
              </a:extLst>
            </p:cNvPr>
            <p:cNvSpPr/>
            <p:nvPr/>
          </p:nvSpPr>
          <p:spPr>
            <a:xfrm>
              <a:off x="5746850" y="3059088"/>
              <a:ext cx="942700" cy="1400800"/>
            </a:xfrm>
            <a:custGeom>
              <a:avLst/>
              <a:gdLst/>
              <a:ahLst/>
              <a:cxnLst/>
              <a:rect l="l" t="t" r="r" b="b"/>
              <a:pathLst>
                <a:path w="37708" h="56032" extrusionOk="0">
                  <a:moveTo>
                    <a:pt x="23361" y="1"/>
                  </a:moveTo>
                  <a:lnTo>
                    <a:pt x="1" y="56031"/>
                  </a:lnTo>
                  <a:lnTo>
                    <a:pt x="14348" y="56031"/>
                  </a:lnTo>
                  <a:lnTo>
                    <a:pt x="37708" y="1"/>
                  </a:ln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grpSp>
          <p:nvGrpSpPr>
            <p:cNvPr id="12" name="Google Shape;591;p23">
              <a:extLst>
                <a:ext uri="{FF2B5EF4-FFF2-40B4-BE49-F238E27FC236}">
                  <a16:creationId xmlns:a16="http://schemas.microsoft.com/office/drawing/2014/main" id="{BDD59F09-035A-4534-8ED0-FB01944D5355}"/>
                </a:ext>
              </a:extLst>
            </p:cNvPr>
            <p:cNvGrpSpPr/>
            <p:nvPr/>
          </p:nvGrpSpPr>
          <p:grpSpPr>
            <a:xfrm>
              <a:off x="5790051" y="1207724"/>
              <a:ext cx="294237" cy="292655"/>
              <a:chOff x="-27351575" y="3175300"/>
              <a:chExt cx="297750" cy="296150"/>
            </a:xfrm>
          </p:grpSpPr>
          <p:sp>
            <p:nvSpPr>
              <p:cNvPr id="19" name="Google Shape;592;p23">
                <a:extLst>
                  <a:ext uri="{FF2B5EF4-FFF2-40B4-BE49-F238E27FC236}">
                    <a16:creationId xmlns:a16="http://schemas.microsoft.com/office/drawing/2014/main" id="{AC723220-4A8D-4395-B0A0-2CB35940188B}"/>
                  </a:ext>
                </a:extLst>
              </p:cNvPr>
              <p:cNvSpPr/>
              <p:nvPr/>
            </p:nvSpPr>
            <p:spPr>
              <a:xfrm>
                <a:off x="-27351575" y="3175300"/>
                <a:ext cx="296975" cy="157550"/>
              </a:xfrm>
              <a:custGeom>
                <a:avLst/>
                <a:gdLst/>
                <a:ahLst/>
                <a:cxnLst/>
                <a:rect l="l" t="t" r="r" b="b"/>
                <a:pathLst>
                  <a:path w="11879" h="6302" extrusionOk="0">
                    <a:moveTo>
                      <a:pt x="7688" y="2080"/>
                    </a:moveTo>
                    <a:lnTo>
                      <a:pt x="7688" y="2836"/>
                    </a:lnTo>
                    <a:lnTo>
                      <a:pt x="4191" y="2836"/>
                    </a:lnTo>
                    <a:lnTo>
                      <a:pt x="4191" y="2080"/>
                    </a:lnTo>
                    <a:close/>
                    <a:moveTo>
                      <a:pt x="10177" y="3497"/>
                    </a:moveTo>
                    <a:cubicBezTo>
                      <a:pt x="10586" y="3497"/>
                      <a:pt x="10996" y="3781"/>
                      <a:pt x="11154" y="4222"/>
                    </a:cubicBezTo>
                    <a:lnTo>
                      <a:pt x="820" y="4222"/>
                    </a:lnTo>
                    <a:cubicBezTo>
                      <a:pt x="914" y="3812"/>
                      <a:pt x="1292" y="3497"/>
                      <a:pt x="1765" y="3497"/>
                    </a:cubicBezTo>
                    <a:close/>
                    <a:moveTo>
                      <a:pt x="3844" y="0"/>
                    </a:moveTo>
                    <a:cubicBezTo>
                      <a:pt x="2899" y="0"/>
                      <a:pt x="2112" y="788"/>
                      <a:pt x="2112" y="1733"/>
                    </a:cubicBezTo>
                    <a:lnTo>
                      <a:pt x="2112" y="2836"/>
                    </a:lnTo>
                    <a:lnTo>
                      <a:pt x="1734" y="2836"/>
                    </a:lnTo>
                    <a:cubicBezTo>
                      <a:pt x="788" y="2836"/>
                      <a:pt x="1" y="3623"/>
                      <a:pt x="1" y="4568"/>
                    </a:cubicBezTo>
                    <a:lnTo>
                      <a:pt x="1" y="6301"/>
                    </a:lnTo>
                    <a:lnTo>
                      <a:pt x="1387" y="6301"/>
                    </a:lnTo>
                    <a:lnTo>
                      <a:pt x="1387" y="5955"/>
                    </a:lnTo>
                    <a:lnTo>
                      <a:pt x="1418" y="5955"/>
                    </a:lnTo>
                    <a:cubicBezTo>
                      <a:pt x="1418" y="5734"/>
                      <a:pt x="1576" y="5577"/>
                      <a:pt x="1765" y="5577"/>
                    </a:cubicBezTo>
                    <a:lnTo>
                      <a:pt x="3151" y="5577"/>
                    </a:lnTo>
                    <a:cubicBezTo>
                      <a:pt x="3340" y="5577"/>
                      <a:pt x="3529" y="5734"/>
                      <a:pt x="3529" y="5955"/>
                    </a:cubicBezTo>
                    <a:lnTo>
                      <a:pt x="3529" y="6301"/>
                    </a:lnTo>
                    <a:lnTo>
                      <a:pt x="8413" y="6301"/>
                    </a:lnTo>
                    <a:lnTo>
                      <a:pt x="8413" y="5955"/>
                    </a:lnTo>
                    <a:cubicBezTo>
                      <a:pt x="8413" y="5734"/>
                      <a:pt x="8570" y="5577"/>
                      <a:pt x="8759" y="5577"/>
                    </a:cubicBezTo>
                    <a:lnTo>
                      <a:pt x="10145" y="5577"/>
                    </a:lnTo>
                    <a:cubicBezTo>
                      <a:pt x="10334" y="5577"/>
                      <a:pt x="10492" y="5734"/>
                      <a:pt x="10492" y="5955"/>
                    </a:cubicBezTo>
                    <a:lnTo>
                      <a:pt x="10492" y="6301"/>
                    </a:lnTo>
                    <a:lnTo>
                      <a:pt x="11878" y="6301"/>
                    </a:lnTo>
                    <a:lnTo>
                      <a:pt x="11878" y="4568"/>
                    </a:lnTo>
                    <a:cubicBezTo>
                      <a:pt x="11878" y="3623"/>
                      <a:pt x="11091" y="2836"/>
                      <a:pt x="10145" y="2836"/>
                    </a:cubicBezTo>
                    <a:lnTo>
                      <a:pt x="9767" y="2836"/>
                    </a:lnTo>
                    <a:lnTo>
                      <a:pt x="9767" y="1733"/>
                    </a:lnTo>
                    <a:cubicBezTo>
                      <a:pt x="9767" y="788"/>
                      <a:pt x="8980" y="0"/>
                      <a:pt x="8035" y="0"/>
                    </a:cubicBezTo>
                    <a:close/>
                  </a:path>
                </a:pathLst>
              </a:custGeom>
              <a:solidFill>
                <a:schemeClr val="accent1">
                  <a:lumMod val="100000"/>
                </a:schemeClr>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20" name="Google Shape;593;p23">
                <a:extLst>
                  <a:ext uri="{FF2B5EF4-FFF2-40B4-BE49-F238E27FC236}">
                    <a16:creationId xmlns:a16="http://schemas.microsoft.com/office/drawing/2014/main" id="{4D8DF193-7BFE-412E-8042-9D7E92C7A03F}"/>
                  </a:ext>
                </a:extLst>
              </p:cNvPr>
              <p:cNvSpPr/>
              <p:nvPr/>
            </p:nvSpPr>
            <p:spPr>
              <a:xfrm>
                <a:off x="-27123950" y="3332825"/>
                <a:ext cx="17350" cy="52000"/>
              </a:xfrm>
              <a:custGeom>
                <a:avLst/>
                <a:gdLst/>
                <a:ahLst/>
                <a:cxnLst/>
                <a:rect l="l" t="t" r="r" b="b"/>
                <a:pathLst>
                  <a:path w="694" h="2080" extrusionOk="0">
                    <a:moveTo>
                      <a:pt x="1" y="0"/>
                    </a:moveTo>
                    <a:lnTo>
                      <a:pt x="1" y="1733"/>
                    </a:lnTo>
                    <a:cubicBezTo>
                      <a:pt x="1" y="1922"/>
                      <a:pt x="158" y="2079"/>
                      <a:pt x="347" y="2079"/>
                    </a:cubicBezTo>
                    <a:cubicBezTo>
                      <a:pt x="536" y="2079"/>
                      <a:pt x="694" y="1922"/>
                      <a:pt x="694" y="1733"/>
                    </a:cubicBezTo>
                    <a:lnTo>
                      <a:pt x="694" y="0"/>
                    </a:lnTo>
                    <a:close/>
                  </a:path>
                </a:pathLst>
              </a:custGeom>
              <a:solidFill>
                <a:schemeClr val="accent1">
                  <a:lumMod val="100000"/>
                </a:schemeClr>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21" name="Google Shape;594;p23">
                <a:extLst>
                  <a:ext uri="{FF2B5EF4-FFF2-40B4-BE49-F238E27FC236}">
                    <a16:creationId xmlns:a16="http://schemas.microsoft.com/office/drawing/2014/main" id="{2ED705AE-2ABE-4E39-9F77-4D120B189705}"/>
                  </a:ext>
                </a:extLst>
              </p:cNvPr>
              <p:cNvSpPr/>
              <p:nvPr/>
            </p:nvSpPr>
            <p:spPr>
              <a:xfrm>
                <a:off x="-27350775" y="3350150"/>
                <a:ext cx="296950" cy="121300"/>
              </a:xfrm>
              <a:custGeom>
                <a:avLst/>
                <a:gdLst/>
                <a:ahLst/>
                <a:cxnLst/>
                <a:rect l="l" t="t" r="r" b="b"/>
                <a:pathLst>
                  <a:path w="11878" h="4852" extrusionOk="0">
                    <a:moveTo>
                      <a:pt x="5923" y="693"/>
                    </a:moveTo>
                    <a:cubicBezTo>
                      <a:pt x="6112" y="693"/>
                      <a:pt x="6270" y="851"/>
                      <a:pt x="6270" y="1040"/>
                    </a:cubicBezTo>
                    <a:lnTo>
                      <a:pt x="6270" y="1733"/>
                    </a:lnTo>
                    <a:lnTo>
                      <a:pt x="6994" y="1733"/>
                    </a:lnTo>
                    <a:cubicBezTo>
                      <a:pt x="7183" y="1733"/>
                      <a:pt x="7341" y="1891"/>
                      <a:pt x="7341" y="2080"/>
                    </a:cubicBezTo>
                    <a:cubicBezTo>
                      <a:pt x="7341" y="2300"/>
                      <a:pt x="7183" y="2458"/>
                      <a:pt x="6994" y="2458"/>
                    </a:cubicBezTo>
                    <a:lnTo>
                      <a:pt x="6270" y="2458"/>
                    </a:lnTo>
                    <a:lnTo>
                      <a:pt x="6270" y="3151"/>
                    </a:lnTo>
                    <a:cubicBezTo>
                      <a:pt x="6270" y="3340"/>
                      <a:pt x="6112" y="3497"/>
                      <a:pt x="5923" y="3497"/>
                    </a:cubicBezTo>
                    <a:cubicBezTo>
                      <a:pt x="5734" y="3497"/>
                      <a:pt x="5577" y="3340"/>
                      <a:pt x="5577" y="3151"/>
                    </a:cubicBezTo>
                    <a:lnTo>
                      <a:pt x="5577" y="2458"/>
                    </a:lnTo>
                    <a:lnTo>
                      <a:pt x="4852" y="2458"/>
                    </a:lnTo>
                    <a:cubicBezTo>
                      <a:pt x="4663" y="2458"/>
                      <a:pt x="4505" y="2300"/>
                      <a:pt x="4505" y="2080"/>
                    </a:cubicBezTo>
                    <a:cubicBezTo>
                      <a:pt x="4537" y="1891"/>
                      <a:pt x="4695" y="1733"/>
                      <a:pt x="4852" y="1733"/>
                    </a:cubicBezTo>
                    <a:lnTo>
                      <a:pt x="5577" y="1733"/>
                    </a:lnTo>
                    <a:lnTo>
                      <a:pt x="5577" y="1040"/>
                    </a:lnTo>
                    <a:cubicBezTo>
                      <a:pt x="5577" y="851"/>
                      <a:pt x="5734" y="693"/>
                      <a:pt x="5923" y="693"/>
                    </a:cubicBezTo>
                    <a:close/>
                    <a:moveTo>
                      <a:pt x="126" y="0"/>
                    </a:moveTo>
                    <a:lnTo>
                      <a:pt x="126" y="3119"/>
                    </a:lnTo>
                    <a:cubicBezTo>
                      <a:pt x="0" y="4064"/>
                      <a:pt x="756" y="4852"/>
                      <a:pt x="1733" y="4852"/>
                    </a:cubicBezTo>
                    <a:lnTo>
                      <a:pt x="10145" y="4852"/>
                    </a:lnTo>
                    <a:cubicBezTo>
                      <a:pt x="11090" y="4852"/>
                      <a:pt x="11878" y="4064"/>
                      <a:pt x="11878" y="3119"/>
                    </a:cubicBezTo>
                    <a:lnTo>
                      <a:pt x="11878" y="0"/>
                    </a:lnTo>
                    <a:lnTo>
                      <a:pt x="10491" y="0"/>
                    </a:lnTo>
                    <a:lnTo>
                      <a:pt x="10491" y="1040"/>
                    </a:lnTo>
                    <a:cubicBezTo>
                      <a:pt x="10491" y="1639"/>
                      <a:pt x="10019" y="2048"/>
                      <a:pt x="9452" y="2048"/>
                    </a:cubicBezTo>
                    <a:cubicBezTo>
                      <a:pt x="8885" y="2048"/>
                      <a:pt x="8444" y="1576"/>
                      <a:pt x="8444" y="1040"/>
                    </a:cubicBezTo>
                    <a:lnTo>
                      <a:pt x="8444" y="0"/>
                    </a:lnTo>
                    <a:lnTo>
                      <a:pt x="3560" y="0"/>
                    </a:lnTo>
                    <a:lnTo>
                      <a:pt x="3560" y="1040"/>
                    </a:lnTo>
                    <a:cubicBezTo>
                      <a:pt x="3560" y="1639"/>
                      <a:pt x="3088" y="2048"/>
                      <a:pt x="2521" y="2048"/>
                    </a:cubicBezTo>
                    <a:cubicBezTo>
                      <a:pt x="1954" y="2048"/>
                      <a:pt x="1513" y="1576"/>
                      <a:pt x="1513" y="1040"/>
                    </a:cubicBezTo>
                    <a:lnTo>
                      <a:pt x="1513" y="0"/>
                    </a:lnTo>
                    <a:close/>
                  </a:path>
                </a:pathLst>
              </a:custGeom>
              <a:solidFill>
                <a:schemeClr val="accent1">
                  <a:lumMod val="100000"/>
                </a:schemeClr>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22" name="Google Shape;595;p23">
                <a:extLst>
                  <a:ext uri="{FF2B5EF4-FFF2-40B4-BE49-F238E27FC236}">
                    <a16:creationId xmlns:a16="http://schemas.microsoft.com/office/drawing/2014/main" id="{EAA663A0-3F0C-4C76-8DE6-7634C71465FD}"/>
                  </a:ext>
                </a:extLst>
              </p:cNvPr>
              <p:cNvSpPr/>
              <p:nvPr/>
            </p:nvSpPr>
            <p:spPr>
              <a:xfrm>
                <a:off x="-27299575" y="3332825"/>
                <a:ext cx="18125" cy="52000"/>
              </a:xfrm>
              <a:custGeom>
                <a:avLst/>
                <a:gdLst/>
                <a:ahLst/>
                <a:cxnLst/>
                <a:rect l="l" t="t" r="r" b="b"/>
                <a:pathLst>
                  <a:path w="725" h="2080" extrusionOk="0">
                    <a:moveTo>
                      <a:pt x="0" y="0"/>
                    </a:moveTo>
                    <a:lnTo>
                      <a:pt x="0" y="1733"/>
                    </a:lnTo>
                    <a:cubicBezTo>
                      <a:pt x="0" y="1922"/>
                      <a:pt x="158" y="2079"/>
                      <a:pt x="378" y="2079"/>
                    </a:cubicBezTo>
                    <a:cubicBezTo>
                      <a:pt x="567" y="2079"/>
                      <a:pt x="725" y="1922"/>
                      <a:pt x="725" y="1733"/>
                    </a:cubicBezTo>
                    <a:lnTo>
                      <a:pt x="725" y="0"/>
                    </a:lnTo>
                    <a:close/>
                  </a:path>
                </a:pathLst>
              </a:custGeom>
              <a:solidFill>
                <a:schemeClr val="accent1">
                  <a:lumMod val="100000"/>
                </a:schemeClr>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grpSp>
        <p:sp>
          <p:nvSpPr>
            <p:cNvPr id="13" name="Google Shape;596;p23">
              <a:extLst>
                <a:ext uri="{FF2B5EF4-FFF2-40B4-BE49-F238E27FC236}">
                  <a16:creationId xmlns:a16="http://schemas.microsoft.com/office/drawing/2014/main" id="{E0F0967D-9356-4AF2-8AA3-019126F17F56}"/>
                </a:ext>
              </a:extLst>
            </p:cNvPr>
            <p:cNvSpPr txBox="1"/>
            <p:nvPr/>
          </p:nvSpPr>
          <p:spPr>
            <a:xfrm>
              <a:off x="4865200" y="1706422"/>
              <a:ext cx="759000" cy="205500"/>
            </a:xfrm>
            <a:prstGeom prst="rect">
              <a:avLst/>
            </a:prstGeom>
            <a:no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 sz="1467" b="0" i="0" u="none" strike="noStrike" kern="1200" cap="none" spc="0" normalizeH="0" baseline="0" noProof="0">
                  <a:ln>
                    <a:noFill/>
                  </a:ln>
                  <a:solidFill>
                    <a:srgbClr val="434343"/>
                  </a:solidFill>
                  <a:effectLst/>
                  <a:uLnTx/>
                  <a:uFillTx/>
                  <a:latin typeface="Arial"/>
                  <a:ea typeface="+mn-ea"/>
                  <a:cs typeface="+mn-ea"/>
                  <a:sym typeface="+mn-lt"/>
                </a:rPr>
                <a:t>Mercury</a:t>
              </a:r>
              <a:endParaRPr kumimoji="0" sz="1467" b="0" i="0" u="none" strike="noStrike" kern="1200" cap="none" spc="0" normalizeH="0" baseline="0" noProof="0">
                <a:ln>
                  <a:noFill/>
                </a:ln>
                <a:solidFill>
                  <a:srgbClr val="434343"/>
                </a:solidFill>
                <a:effectLst/>
                <a:uLnTx/>
                <a:uFillTx/>
                <a:latin typeface="Arial"/>
                <a:ea typeface="+mn-ea"/>
                <a:cs typeface="+mn-ea"/>
                <a:sym typeface="+mn-lt"/>
              </a:endParaRPr>
            </a:p>
          </p:txBody>
        </p:sp>
        <p:sp>
          <p:nvSpPr>
            <p:cNvPr id="14" name="Google Shape;597;p23">
              <a:extLst>
                <a:ext uri="{FF2B5EF4-FFF2-40B4-BE49-F238E27FC236}">
                  <a16:creationId xmlns:a16="http://schemas.microsoft.com/office/drawing/2014/main" id="{6A5CADD5-C729-4433-8141-CA7B6A8F351C}"/>
                </a:ext>
              </a:extLst>
            </p:cNvPr>
            <p:cNvSpPr txBox="1"/>
            <p:nvPr/>
          </p:nvSpPr>
          <p:spPr>
            <a:xfrm>
              <a:off x="5049450" y="2119997"/>
              <a:ext cx="759000" cy="205500"/>
            </a:xfrm>
            <a:prstGeom prst="rect">
              <a:avLst/>
            </a:prstGeom>
            <a:no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 sz="1467" b="0" i="0" u="none" strike="noStrike" kern="1200" cap="none" spc="0" normalizeH="0" baseline="0" noProof="0">
                  <a:ln>
                    <a:noFill/>
                  </a:ln>
                  <a:solidFill>
                    <a:srgbClr val="434343"/>
                  </a:solidFill>
                  <a:effectLst/>
                  <a:uLnTx/>
                  <a:uFillTx/>
                  <a:latin typeface="Arial"/>
                  <a:ea typeface="+mn-ea"/>
                  <a:cs typeface="+mn-ea"/>
                  <a:sym typeface="+mn-lt"/>
                </a:rPr>
                <a:t>Venus</a:t>
              </a:r>
              <a:endParaRPr kumimoji="0" sz="1467" b="0" i="0" u="none" strike="noStrike" kern="1200" cap="none" spc="0" normalizeH="0" baseline="0" noProof="0">
                <a:ln>
                  <a:noFill/>
                </a:ln>
                <a:solidFill>
                  <a:srgbClr val="434343"/>
                </a:solidFill>
                <a:effectLst/>
                <a:uLnTx/>
                <a:uFillTx/>
                <a:latin typeface="Arial"/>
                <a:ea typeface="+mn-ea"/>
                <a:cs typeface="+mn-ea"/>
                <a:sym typeface="+mn-lt"/>
              </a:endParaRPr>
            </a:p>
          </p:txBody>
        </p:sp>
        <p:sp>
          <p:nvSpPr>
            <p:cNvPr id="15" name="Google Shape;598;p23">
              <a:extLst>
                <a:ext uri="{FF2B5EF4-FFF2-40B4-BE49-F238E27FC236}">
                  <a16:creationId xmlns:a16="http://schemas.microsoft.com/office/drawing/2014/main" id="{4FB4583C-BA50-4CA2-97B1-E5274F432213}"/>
                </a:ext>
              </a:extLst>
            </p:cNvPr>
            <p:cNvSpPr txBox="1"/>
            <p:nvPr/>
          </p:nvSpPr>
          <p:spPr>
            <a:xfrm>
              <a:off x="5227025" y="2527972"/>
              <a:ext cx="759000" cy="205500"/>
            </a:xfrm>
            <a:prstGeom prst="rect">
              <a:avLst/>
            </a:prstGeom>
            <a:no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 sz="1467" b="0" i="0" u="none" strike="noStrike" kern="1200" cap="none" spc="0" normalizeH="0" baseline="0" noProof="0">
                  <a:ln>
                    <a:noFill/>
                  </a:ln>
                  <a:solidFill>
                    <a:srgbClr val="434343"/>
                  </a:solidFill>
                  <a:effectLst/>
                  <a:uLnTx/>
                  <a:uFillTx/>
                  <a:latin typeface="Arial"/>
                  <a:ea typeface="+mn-ea"/>
                  <a:cs typeface="+mn-ea"/>
                  <a:sym typeface="+mn-lt"/>
                </a:rPr>
                <a:t>Sun</a:t>
              </a:r>
              <a:endParaRPr kumimoji="0" sz="1467" b="0" i="0" u="none" strike="noStrike" kern="1200" cap="none" spc="0" normalizeH="0" baseline="0" noProof="0">
                <a:ln>
                  <a:noFill/>
                </a:ln>
                <a:solidFill>
                  <a:srgbClr val="434343"/>
                </a:solidFill>
                <a:effectLst/>
                <a:uLnTx/>
                <a:uFillTx/>
                <a:latin typeface="Arial"/>
                <a:ea typeface="+mn-ea"/>
                <a:cs typeface="+mn-ea"/>
                <a:sym typeface="+mn-lt"/>
              </a:endParaRPr>
            </a:p>
          </p:txBody>
        </p:sp>
        <p:sp>
          <p:nvSpPr>
            <p:cNvPr id="16" name="Google Shape;599;p23">
              <a:extLst>
                <a:ext uri="{FF2B5EF4-FFF2-40B4-BE49-F238E27FC236}">
                  <a16:creationId xmlns:a16="http://schemas.microsoft.com/office/drawing/2014/main" id="{59F8EB5C-4438-4D4C-9983-7D3BAC213B1E}"/>
                </a:ext>
              </a:extLst>
            </p:cNvPr>
            <p:cNvSpPr txBox="1"/>
            <p:nvPr/>
          </p:nvSpPr>
          <p:spPr>
            <a:xfrm>
              <a:off x="5227025" y="3164122"/>
              <a:ext cx="759000" cy="205500"/>
            </a:xfrm>
            <a:prstGeom prst="rect">
              <a:avLst/>
            </a:prstGeom>
            <a:no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 sz="1467" b="0" i="0" u="none" strike="noStrike" kern="1200" cap="none" spc="0" normalizeH="0" baseline="0" noProof="0">
                  <a:ln>
                    <a:noFill/>
                  </a:ln>
                  <a:solidFill>
                    <a:srgbClr val="434343"/>
                  </a:solidFill>
                  <a:effectLst/>
                  <a:uLnTx/>
                  <a:uFillTx/>
                  <a:latin typeface="Arial"/>
                  <a:ea typeface="+mn-ea"/>
                  <a:cs typeface="+mn-ea"/>
                  <a:sym typeface="+mn-lt"/>
                </a:rPr>
                <a:t>Leda</a:t>
              </a:r>
              <a:endParaRPr kumimoji="0" sz="1467" b="0" i="0" u="none" strike="noStrike" kern="1200" cap="none" spc="0" normalizeH="0" baseline="0" noProof="0">
                <a:ln>
                  <a:noFill/>
                </a:ln>
                <a:solidFill>
                  <a:srgbClr val="434343"/>
                </a:solidFill>
                <a:effectLst/>
                <a:uLnTx/>
                <a:uFillTx/>
                <a:latin typeface="Arial"/>
                <a:ea typeface="+mn-ea"/>
                <a:cs typeface="+mn-ea"/>
                <a:sym typeface="+mn-lt"/>
              </a:endParaRPr>
            </a:p>
          </p:txBody>
        </p:sp>
        <p:sp>
          <p:nvSpPr>
            <p:cNvPr id="17" name="Google Shape;600;p23">
              <a:extLst>
                <a:ext uri="{FF2B5EF4-FFF2-40B4-BE49-F238E27FC236}">
                  <a16:creationId xmlns:a16="http://schemas.microsoft.com/office/drawing/2014/main" id="{69C04F9C-A657-4717-BAAF-1CAD93CD338B}"/>
                </a:ext>
              </a:extLst>
            </p:cNvPr>
            <p:cNvSpPr txBox="1"/>
            <p:nvPr/>
          </p:nvSpPr>
          <p:spPr>
            <a:xfrm>
              <a:off x="5049450" y="3571122"/>
              <a:ext cx="759000" cy="205500"/>
            </a:xfrm>
            <a:prstGeom prst="rect">
              <a:avLst/>
            </a:prstGeom>
            <a:no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 sz="1467" b="0" i="0" u="none" strike="noStrike" kern="1200" cap="none" spc="0" normalizeH="0" baseline="0" noProof="0">
                  <a:ln>
                    <a:noFill/>
                  </a:ln>
                  <a:solidFill>
                    <a:srgbClr val="434343"/>
                  </a:solidFill>
                  <a:effectLst/>
                  <a:uLnTx/>
                  <a:uFillTx/>
                  <a:latin typeface="Arial"/>
                  <a:ea typeface="+mn-ea"/>
                  <a:cs typeface="+mn-ea"/>
                  <a:sym typeface="+mn-lt"/>
                </a:rPr>
                <a:t>Jupiter</a:t>
              </a:r>
              <a:endParaRPr kumimoji="0" sz="1467" b="0" i="0" u="none" strike="noStrike" kern="1200" cap="none" spc="0" normalizeH="0" baseline="0" noProof="0">
                <a:ln>
                  <a:noFill/>
                </a:ln>
                <a:solidFill>
                  <a:srgbClr val="434343"/>
                </a:solidFill>
                <a:effectLst/>
                <a:uLnTx/>
                <a:uFillTx/>
                <a:latin typeface="Arial"/>
                <a:ea typeface="+mn-ea"/>
                <a:cs typeface="+mn-ea"/>
                <a:sym typeface="+mn-lt"/>
              </a:endParaRPr>
            </a:p>
          </p:txBody>
        </p:sp>
        <p:sp>
          <p:nvSpPr>
            <p:cNvPr id="18" name="Google Shape;601;p23">
              <a:extLst>
                <a:ext uri="{FF2B5EF4-FFF2-40B4-BE49-F238E27FC236}">
                  <a16:creationId xmlns:a16="http://schemas.microsoft.com/office/drawing/2014/main" id="{729D5113-049F-4B17-BFDA-0996EC6E930A}"/>
                </a:ext>
              </a:extLst>
            </p:cNvPr>
            <p:cNvSpPr txBox="1"/>
            <p:nvPr/>
          </p:nvSpPr>
          <p:spPr>
            <a:xfrm>
              <a:off x="4865200" y="3984710"/>
              <a:ext cx="759000" cy="205500"/>
            </a:xfrm>
            <a:prstGeom prst="rect">
              <a:avLst/>
            </a:prstGeom>
            <a:no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 sz="1467" b="0" i="0" u="none" strike="noStrike" kern="1200" cap="none" spc="0" normalizeH="0" baseline="0" noProof="0">
                  <a:ln>
                    <a:noFill/>
                  </a:ln>
                  <a:solidFill>
                    <a:srgbClr val="434343"/>
                  </a:solidFill>
                  <a:effectLst/>
                  <a:uLnTx/>
                  <a:uFillTx/>
                  <a:latin typeface="Arial"/>
                  <a:ea typeface="+mn-ea"/>
                  <a:cs typeface="+mn-ea"/>
                  <a:sym typeface="+mn-lt"/>
                </a:rPr>
                <a:t>Saturn</a:t>
              </a:r>
              <a:endParaRPr kumimoji="0" sz="1467" b="0" i="0" u="none" strike="noStrike" kern="1200" cap="none" spc="0" normalizeH="0" baseline="0" noProof="0">
                <a:ln>
                  <a:noFill/>
                </a:ln>
                <a:solidFill>
                  <a:srgbClr val="434343"/>
                </a:solidFill>
                <a:effectLst/>
                <a:uLnTx/>
                <a:uFillTx/>
                <a:latin typeface="Arial"/>
                <a:ea typeface="+mn-ea"/>
                <a:cs typeface="+mn-ea"/>
                <a:sym typeface="+mn-lt"/>
              </a:endParaRPr>
            </a:p>
          </p:txBody>
        </p:sp>
      </p:grpSp>
      <p:grpSp>
        <p:nvGrpSpPr>
          <p:cNvPr id="23" name="Google Shape;602;p23">
            <a:extLst>
              <a:ext uri="{FF2B5EF4-FFF2-40B4-BE49-F238E27FC236}">
                <a16:creationId xmlns:a16="http://schemas.microsoft.com/office/drawing/2014/main" id="{7A09751B-3CDD-42AF-9916-67D21FAB5C9D}"/>
              </a:ext>
            </a:extLst>
          </p:cNvPr>
          <p:cNvGrpSpPr/>
          <p:nvPr/>
        </p:nvGrpSpPr>
        <p:grpSpPr>
          <a:xfrm>
            <a:off x="4158241" y="1265415"/>
            <a:ext cx="2595600" cy="3975551"/>
            <a:chOff x="3177475" y="1345749"/>
            <a:chExt cx="1946700" cy="2981663"/>
          </a:xfrm>
        </p:grpSpPr>
        <p:sp>
          <p:nvSpPr>
            <p:cNvPr id="24" name="Google Shape;603;p23">
              <a:extLst>
                <a:ext uri="{FF2B5EF4-FFF2-40B4-BE49-F238E27FC236}">
                  <a16:creationId xmlns:a16="http://schemas.microsoft.com/office/drawing/2014/main" id="{3FB9AE7C-14A6-430F-89DE-2DBFD5A9CE0A}"/>
                </a:ext>
              </a:extLst>
            </p:cNvPr>
            <p:cNvSpPr/>
            <p:nvPr/>
          </p:nvSpPr>
          <p:spPr>
            <a:xfrm>
              <a:off x="3177475" y="4124113"/>
              <a:ext cx="1170125" cy="16075"/>
            </a:xfrm>
            <a:custGeom>
              <a:avLst/>
              <a:gdLst/>
              <a:ahLst/>
              <a:cxnLst/>
              <a:rect l="l" t="t" r="r" b="b"/>
              <a:pathLst>
                <a:path w="46805" h="643" extrusionOk="0">
                  <a:moveTo>
                    <a:pt x="1" y="0"/>
                  </a:moveTo>
                  <a:lnTo>
                    <a:pt x="1" y="643"/>
                  </a:lnTo>
                  <a:lnTo>
                    <a:pt x="46804" y="643"/>
                  </a:lnTo>
                  <a:lnTo>
                    <a:pt x="46804" y="0"/>
                  </a:lnTo>
                  <a:close/>
                </a:path>
              </a:pathLst>
            </a:custGeom>
            <a:solidFill>
              <a:srgbClr val="869FB2"/>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25" name="Google Shape;604;p23">
              <a:extLst>
                <a:ext uri="{FF2B5EF4-FFF2-40B4-BE49-F238E27FC236}">
                  <a16:creationId xmlns:a16="http://schemas.microsoft.com/office/drawing/2014/main" id="{AFE631D9-9B76-42EE-AAFE-34BAF7CE8816}"/>
                </a:ext>
              </a:extLst>
            </p:cNvPr>
            <p:cNvSpPr/>
            <p:nvPr/>
          </p:nvSpPr>
          <p:spPr>
            <a:xfrm>
              <a:off x="3361725" y="3727625"/>
              <a:ext cx="1179369" cy="16100"/>
            </a:xfrm>
            <a:custGeom>
              <a:avLst/>
              <a:gdLst/>
              <a:ahLst/>
              <a:cxnLst/>
              <a:rect l="l" t="t" r="r" b="b"/>
              <a:pathLst>
                <a:path w="46805" h="644" extrusionOk="0">
                  <a:moveTo>
                    <a:pt x="1" y="1"/>
                  </a:moveTo>
                  <a:lnTo>
                    <a:pt x="1" y="644"/>
                  </a:lnTo>
                  <a:lnTo>
                    <a:pt x="46804" y="644"/>
                  </a:lnTo>
                  <a:lnTo>
                    <a:pt x="46804" y="1"/>
                  </a:lnTo>
                  <a:close/>
                </a:path>
              </a:pathLst>
            </a:custGeom>
            <a:solidFill>
              <a:srgbClr val="869FB2"/>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26" name="Google Shape;605;p23">
              <a:extLst>
                <a:ext uri="{FF2B5EF4-FFF2-40B4-BE49-F238E27FC236}">
                  <a16:creationId xmlns:a16="http://schemas.microsoft.com/office/drawing/2014/main" id="{A607E1AA-88EF-4E3F-865F-FA39956B1D51}"/>
                </a:ext>
              </a:extLst>
            </p:cNvPr>
            <p:cNvSpPr/>
            <p:nvPr/>
          </p:nvSpPr>
          <p:spPr>
            <a:xfrm>
              <a:off x="3557900" y="3340363"/>
              <a:ext cx="1169800" cy="16100"/>
            </a:xfrm>
            <a:custGeom>
              <a:avLst/>
              <a:gdLst/>
              <a:ahLst/>
              <a:cxnLst/>
              <a:rect l="l" t="t" r="r" b="b"/>
              <a:pathLst>
                <a:path w="46792" h="644" extrusionOk="0">
                  <a:moveTo>
                    <a:pt x="0" y="1"/>
                  </a:moveTo>
                  <a:lnTo>
                    <a:pt x="0" y="644"/>
                  </a:lnTo>
                  <a:lnTo>
                    <a:pt x="46792" y="644"/>
                  </a:lnTo>
                  <a:lnTo>
                    <a:pt x="46792" y="1"/>
                  </a:lnTo>
                  <a:close/>
                </a:path>
              </a:pathLst>
            </a:custGeom>
            <a:solidFill>
              <a:srgbClr val="869FB2"/>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27" name="Google Shape;606;p23">
              <a:extLst>
                <a:ext uri="{FF2B5EF4-FFF2-40B4-BE49-F238E27FC236}">
                  <a16:creationId xmlns:a16="http://schemas.microsoft.com/office/drawing/2014/main" id="{E6007F4D-E911-44A6-8A80-527955D3383E}"/>
                </a:ext>
              </a:extLst>
            </p:cNvPr>
            <p:cNvSpPr/>
            <p:nvPr/>
          </p:nvSpPr>
          <p:spPr>
            <a:xfrm>
              <a:off x="3177475" y="1978013"/>
              <a:ext cx="1170125" cy="16375"/>
            </a:xfrm>
            <a:custGeom>
              <a:avLst/>
              <a:gdLst/>
              <a:ahLst/>
              <a:cxnLst/>
              <a:rect l="l" t="t" r="r" b="b"/>
              <a:pathLst>
                <a:path w="46805" h="655" extrusionOk="0">
                  <a:moveTo>
                    <a:pt x="1" y="0"/>
                  </a:moveTo>
                  <a:lnTo>
                    <a:pt x="1" y="655"/>
                  </a:lnTo>
                  <a:lnTo>
                    <a:pt x="46804" y="655"/>
                  </a:lnTo>
                  <a:lnTo>
                    <a:pt x="46804" y="0"/>
                  </a:lnTo>
                  <a:close/>
                </a:path>
              </a:pathLst>
            </a:custGeom>
            <a:solidFill>
              <a:srgbClr val="869FB2"/>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28" name="Google Shape;607;p23">
              <a:extLst>
                <a:ext uri="{FF2B5EF4-FFF2-40B4-BE49-F238E27FC236}">
                  <a16:creationId xmlns:a16="http://schemas.microsoft.com/office/drawing/2014/main" id="{28783573-4127-45A5-A94E-1F8ECD92BE20}"/>
                </a:ext>
              </a:extLst>
            </p:cNvPr>
            <p:cNvSpPr/>
            <p:nvPr/>
          </p:nvSpPr>
          <p:spPr>
            <a:xfrm>
              <a:off x="3361725" y="2374788"/>
              <a:ext cx="1170125" cy="16100"/>
            </a:xfrm>
            <a:custGeom>
              <a:avLst/>
              <a:gdLst/>
              <a:ahLst/>
              <a:cxnLst/>
              <a:rect l="l" t="t" r="r" b="b"/>
              <a:pathLst>
                <a:path w="46805" h="644" extrusionOk="0">
                  <a:moveTo>
                    <a:pt x="1" y="0"/>
                  </a:moveTo>
                  <a:lnTo>
                    <a:pt x="1" y="643"/>
                  </a:lnTo>
                  <a:lnTo>
                    <a:pt x="46804" y="643"/>
                  </a:lnTo>
                  <a:lnTo>
                    <a:pt x="46804" y="0"/>
                  </a:lnTo>
                  <a:close/>
                </a:path>
              </a:pathLst>
            </a:custGeom>
            <a:solidFill>
              <a:srgbClr val="869FB2"/>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29" name="Google Shape;608;p23">
              <a:extLst>
                <a:ext uri="{FF2B5EF4-FFF2-40B4-BE49-F238E27FC236}">
                  <a16:creationId xmlns:a16="http://schemas.microsoft.com/office/drawing/2014/main" id="{8F636D9E-F4A0-4F0A-9320-AA4B28E70C1F}"/>
                </a:ext>
              </a:extLst>
            </p:cNvPr>
            <p:cNvSpPr/>
            <p:nvPr/>
          </p:nvSpPr>
          <p:spPr>
            <a:xfrm>
              <a:off x="3539300" y="2761738"/>
              <a:ext cx="1169800" cy="16100"/>
            </a:xfrm>
            <a:custGeom>
              <a:avLst/>
              <a:gdLst/>
              <a:ahLst/>
              <a:cxnLst/>
              <a:rect l="l" t="t" r="r" b="b"/>
              <a:pathLst>
                <a:path w="46792" h="644" extrusionOk="0">
                  <a:moveTo>
                    <a:pt x="0" y="0"/>
                  </a:moveTo>
                  <a:lnTo>
                    <a:pt x="0" y="643"/>
                  </a:lnTo>
                  <a:lnTo>
                    <a:pt x="46792" y="643"/>
                  </a:lnTo>
                  <a:lnTo>
                    <a:pt x="46792" y="0"/>
                  </a:lnTo>
                  <a:close/>
                </a:path>
              </a:pathLst>
            </a:custGeom>
            <a:solidFill>
              <a:srgbClr val="869FB2"/>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30" name="Google Shape;609;p23">
              <a:extLst>
                <a:ext uri="{FF2B5EF4-FFF2-40B4-BE49-F238E27FC236}">
                  <a16:creationId xmlns:a16="http://schemas.microsoft.com/office/drawing/2014/main" id="{0685D86A-287C-4B27-84C4-11224E620840}"/>
                </a:ext>
              </a:extLst>
            </p:cNvPr>
            <p:cNvSpPr/>
            <p:nvPr/>
          </p:nvSpPr>
          <p:spPr>
            <a:xfrm>
              <a:off x="4078200" y="1794063"/>
              <a:ext cx="942400" cy="2530075"/>
            </a:xfrm>
            <a:custGeom>
              <a:avLst/>
              <a:gdLst/>
              <a:ahLst/>
              <a:cxnLst/>
              <a:rect l="l" t="t" r="r" b="b"/>
              <a:pathLst>
                <a:path w="37696" h="101203" extrusionOk="0">
                  <a:moveTo>
                    <a:pt x="0" y="0"/>
                  </a:moveTo>
                  <a:lnTo>
                    <a:pt x="23360" y="50602"/>
                  </a:lnTo>
                  <a:lnTo>
                    <a:pt x="0" y="101203"/>
                  </a:lnTo>
                  <a:lnTo>
                    <a:pt x="14335" y="101203"/>
                  </a:lnTo>
                  <a:lnTo>
                    <a:pt x="37695" y="50602"/>
                  </a:lnTo>
                  <a:lnTo>
                    <a:pt x="14335" y="0"/>
                  </a:ln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31" name="Google Shape;610;p23">
              <a:extLst>
                <a:ext uri="{FF2B5EF4-FFF2-40B4-BE49-F238E27FC236}">
                  <a16:creationId xmlns:a16="http://schemas.microsoft.com/office/drawing/2014/main" id="{CFB74569-447E-4B3D-B9BC-266CEAE2E14C}"/>
                </a:ext>
              </a:extLst>
            </p:cNvPr>
            <p:cNvSpPr/>
            <p:nvPr/>
          </p:nvSpPr>
          <p:spPr>
            <a:xfrm>
              <a:off x="4523775" y="1790788"/>
              <a:ext cx="600400" cy="2536625"/>
            </a:xfrm>
            <a:custGeom>
              <a:avLst/>
              <a:gdLst/>
              <a:ahLst/>
              <a:cxnLst/>
              <a:rect l="l" t="t" r="r" b="b"/>
              <a:pathLst>
                <a:path w="24016" h="101465" extrusionOk="0">
                  <a:moveTo>
                    <a:pt x="596" y="0"/>
                  </a:moveTo>
                  <a:lnTo>
                    <a:pt x="1" y="274"/>
                  </a:lnTo>
                  <a:lnTo>
                    <a:pt x="23301" y="50733"/>
                  </a:lnTo>
                  <a:lnTo>
                    <a:pt x="1" y="101203"/>
                  </a:lnTo>
                  <a:lnTo>
                    <a:pt x="596" y="101465"/>
                  </a:lnTo>
                  <a:lnTo>
                    <a:pt x="23956" y="50875"/>
                  </a:lnTo>
                  <a:lnTo>
                    <a:pt x="24016" y="50733"/>
                  </a:lnTo>
                  <a:lnTo>
                    <a:pt x="596" y="0"/>
                  </a:lnTo>
                  <a:close/>
                </a:path>
              </a:pathLst>
            </a:custGeom>
            <a:solidFill>
              <a:srgbClr val="869FB2"/>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32" name="Google Shape;611;p23">
              <a:extLst>
                <a:ext uri="{FF2B5EF4-FFF2-40B4-BE49-F238E27FC236}">
                  <a16:creationId xmlns:a16="http://schemas.microsoft.com/office/drawing/2014/main" id="{B21B5BC6-A9FD-4A14-86DE-5E2C1D8B50CC}"/>
                </a:ext>
              </a:extLst>
            </p:cNvPr>
            <p:cNvSpPr/>
            <p:nvPr/>
          </p:nvSpPr>
          <p:spPr>
            <a:xfrm>
              <a:off x="4078200" y="3059088"/>
              <a:ext cx="942400" cy="1265050"/>
            </a:xfrm>
            <a:custGeom>
              <a:avLst/>
              <a:gdLst/>
              <a:ahLst/>
              <a:cxnLst/>
              <a:rect l="l" t="t" r="r" b="b"/>
              <a:pathLst>
                <a:path w="37696" h="50602" extrusionOk="0">
                  <a:moveTo>
                    <a:pt x="23360" y="1"/>
                  </a:moveTo>
                  <a:lnTo>
                    <a:pt x="0" y="50602"/>
                  </a:lnTo>
                  <a:lnTo>
                    <a:pt x="14335" y="50602"/>
                  </a:lnTo>
                  <a:lnTo>
                    <a:pt x="37695" y="1"/>
                  </a:ln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grpSp>
          <p:nvGrpSpPr>
            <p:cNvPr id="33" name="Google Shape;612;p23">
              <a:extLst>
                <a:ext uri="{FF2B5EF4-FFF2-40B4-BE49-F238E27FC236}">
                  <a16:creationId xmlns:a16="http://schemas.microsoft.com/office/drawing/2014/main" id="{72C19335-DADE-4FFA-B5AA-2058AD547BEF}"/>
                </a:ext>
              </a:extLst>
            </p:cNvPr>
            <p:cNvGrpSpPr/>
            <p:nvPr/>
          </p:nvGrpSpPr>
          <p:grpSpPr>
            <a:xfrm>
              <a:off x="4138618" y="1345749"/>
              <a:ext cx="257648" cy="292655"/>
              <a:chOff x="-28069875" y="3175300"/>
              <a:chExt cx="260725" cy="296150"/>
            </a:xfrm>
          </p:grpSpPr>
          <p:sp>
            <p:nvSpPr>
              <p:cNvPr id="40" name="Google Shape;613;p23">
                <a:extLst>
                  <a:ext uri="{FF2B5EF4-FFF2-40B4-BE49-F238E27FC236}">
                    <a16:creationId xmlns:a16="http://schemas.microsoft.com/office/drawing/2014/main" id="{343320D2-A1E5-4EFA-9B4D-6CE9BB832588}"/>
                  </a:ext>
                </a:extLst>
              </p:cNvPr>
              <p:cNvSpPr/>
              <p:nvPr/>
            </p:nvSpPr>
            <p:spPr>
              <a:xfrm>
                <a:off x="-28059650" y="3192625"/>
                <a:ext cx="26025" cy="70125"/>
              </a:xfrm>
              <a:custGeom>
                <a:avLst/>
                <a:gdLst/>
                <a:ahLst/>
                <a:cxnLst/>
                <a:rect l="l" t="t" r="r" b="b"/>
                <a:pathLst>
                  <a:path w="1041" h="2805" extrusionOk="0">
                    <a:moveTo>
                      <a:pt x="536" y="0"/>
                    </a:moveTo>
                    <a:cubicBezTo>
                      <a:pt x="253" y="0"/>
                      <a:pt x="1" y="252"/>
                      <a:pt x="1" y="536"/>
                    </a:cubicBezTo>
                    <a:lnTo>
                      <a:pt x="1" y="2458"/>
                    </a:lnTo>
                    <a:cubicBezTo>
                      <a:pt x="410" y="2458"/>
                      <a:pt x="757" y="2584"/>
                      <a:pt x="1040" y="2804"/>
                    </a:cubicBezTo>
                    <a:lnTo>
                      <a:pt x="1040" y="536"/>
                    </a:lnTo>
                    <a:cubicBezTo>
                      <a:pt x="1040" y="252"/>
                      <a:pt x="788" y="0"/>
                      <a:pt x="536" y="0"/>
                    </a:cubicBezTo>
                    <a:close/>
                  </a:path>
                </a:pathLst>
              </a:custGeom>
              <a:solidFill>
                <a:schemeClr val="accent1">
                  <a:lumMod val="100000"/>
                </a:schemeClr>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41" name="Google Shape;614;p23">
                <a:extLst>
                  <a:ext uri="{FF2B5EF4-FFF2-40B4-BE49-F238E27FC236}">
                    <a16:creationId xmlns:a16="http://schemas.microsoft.com/office/drawing/2014/main" id="{9FBFE782-64F3-4C38-8763-E731068D9582}"/>
                  </a:ext>
                </a:extLst>
              </p:cNvPr>
              <p:cNvSpPr/>
              <p:nvPr/>
            </p:nvSpPr>
            <p:spPr>
              <a:xfrm>
                <a:off x="-27843050" y="3192625"/>
                <a:ext cx="26025" cy="69325"/>
              </a:xfrm>
              <a:custGeom>
                <a:avLst/>
                <a:gdLst/>
                <a:ahLst/>
                <a:cxnLst/>
                <a:rect l="l" t="t" r="r" b="b"/>
                <a:pathLst>
                  <a:path w="1041" h="2773" extrusionOk="0">
                    <a:moveTo>
                      <a:pt x="536" y="0"/>
                    </a:moveTo>
                    <a:cubicBezTo>
                      <a:pt x="253" y="0"/>
                      <a:pt x="1" y="252"/>
                      <a:pt x="1" y="536"/>
                    </a:cubicBezTo>
                    <a:lnTo>
                      <a:pt x="1" y="2773"/>
                    </a:lnTo>
                    <a:cubicBezTo>
                      <a:pt x="284" y="2584"/>
                      <a:pt x="694" y="2426"/>
                      <a:pt x="1040" y="2426"/>
                    </a:cubicBezTo>
                    <a:lnTo>
                      <a:pt x="1040" y="536"/>
                    </a:lnTo>
                    <a:cubicBezTo>
                      <a:pt x="1040" y="252"/>
                      <a:pt x="788" y="0"/>
                      <a:pt x="536" y="0"/>
                    </a:cubicBezTo>
                    <a:close/>
                  </a:path>
                </a:pathLst>
              </a:custGeom>
              <a:solidFill>
                <a:schemeClr val="accent1">
                  <a:lumMod val="100000"/>
                </a:schemeClr>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42" name="Google Shape;615;p23">
                <a:extLst>
                  <a:ext uri="{FF2B5EF4-FFF2-40B4-BE49-F238E27FC236}">
                    <a16:creationId xmlns:a16="http://schemas.microsoft.com/office/drawing/2014/main" id="{B819BA38-468E-4D68-AF68-03E21266EE2E}"/>
                  </a:ext>
                </a:extLst>
              </p:cNvPr>
              <p:cNvSpPr/>
              <p:nvPr/>
            </p:nvSpPr>
            <p:spPr>
              <a:xfrm>
                <a:off x="-27973000" y="3202075"/>
                <a:ext cx="26000" cy="57525"/>
              </a:xfrm>
              <a:custGeom>
                <a:avLst/>
                <a:gdLst/>
                <a:ahLst/>
                <a:cxnLst/>
                <a:rect l="l" t="t" r="r" b="b"/>
                <a:pathLst>
                  <a:path w="1040" h="2301" extrusionOk="0">
                    <a:moveTo>
                      <a:pt x="536" y="0"/>
                    </a:moveTo>
                    <a:cubicBezTo>
                      <a:pt x="252" y="0"/>
                      <a:pt x="0" y="221"/>
                      <a:pt x="0" y="504"/>
                    </a:cubicBezTo>
                    <a:lnTo>
                      <a:pt x="0" y="1954"/>
                    </a:lnTo>
                    <a:cubicBezTo>
                      <a:pt x="410" y="1985"/>
                      <a:pt x="756" y="2080"/>
                      <a:pt x="1040" y="2300"/>
                    </a:cubicBezTo>
                    <a:lnTo>
                      <a:pt x="1040" y="504"/>
                    </a:lnTo>
                    <a:cubicBezTo>
                      <a:pt x="1040" y="221"/>
                      <a:pt x="788" y="0"/>
                      <a:pt x="536" y="0"/>
                    </a:cubicBezTo>
                    <a:close/>
                  </a:path>
                </a:pathLst>
              </a:custGeom>
              <a:solidFill>
                <a:schemeClr val="accent1">
                  <a:lumMod val="100000"/>
                </a:schemeClr>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43" name="Google Shape;616;p23">
                <a:extLst>
                  <a:ext uri="{FF2B5EF4-FFF2-40B4-BE49-F238E27FC236}">
                    <a16:creationId xmlns:a16="http://schemas.microsoft.com/office/drawing/2014/main" id="{ABE89335-F827-4D12-85D9-0F1DCC78331D}"/>
                  </a:ext>
                </a:extLst>
              </p:cNvPr>
              <p:cNvSpPr/>
              <p:nvPr/>
            </p:nvSpPr>
            <p:spPr>
              <a:xfrm>
                <a:off x="-27929675" y="3202075"/>
                <a:ext cx="26000" cy="57525"/>
              </a:xfrm>
              <a:custGeom>
                <a:avLst/>
                <a:gdLst/>
                <a:ahLst/>
                <a:cxnLst/>
                <a:rect l="l" t="t" r="r" b="b"/>
                <a:pathLst>
                  <a:path w="1040" h="2301" extrusionOk="0">
                    <a:moveTo>
                      <a:pt x="536" y="0"/>
                    </a:moveTo>
                    <a:cubicBezTo>
                      <a:pt x="252" y="0"/>
                      <a:pt x="0" y="221"/>
                      <a:pt x="0" y="504"/>
                    </a:cubicBezTo>
                    <a:lnTo>
                      <a:pt x="0" y="2300"/>
                    </a:lnTo>
                    <a:cubicBezTo>
                      <a:pt x="315" y="2111"/>
                      <a:pt x="693" y="1985"/>
                      <a:pt x="1040" y="1954"/>
                    </a:cubicBezTo>
                    <a:lnTo>
                      <a:pt x="1040" y="504"/>
                    </a:lnTo>
                    <a:cubicBezTo>
                      <a:pt x="1040" y="221"/>
                      <a:pt x="788" y="0"/>
                      <a:pt x="536" y="0"/>
                    </a:cubicBezTo>
                    <a:close/>
                  </a:path>
                </a:pathLst>
              </a:custGeom>
              <a:solidFill>
                <a:schemeClr val="accent1">
                  <a:lumMod val="100000"/>
                </a:schemeClr>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44" name="Google Shape;617;p23">
                <a:extLst>
                  <a:ext uri="{FF2B5EF4-FFF2-40B4-BE49-F238E27FC236}">
                    <a16:creationId xmlns:a16="http://schemas.microsoft.com/office/drawing/2014/main" id="{C93ED085-DE4C-46A3-B972-03167D9020C6}"/>
                  </a:ext>
                </a:extLst>
              </p:cNvPr>
              <p:cNvSpPr/>
              <p:nvPr/>
            </p:nvSpPr>
            <p:spPr>
              <a:xfrm>
                <a:off x="-28016325" y="3175300"/>
                <a:ext cx="26025" cy="91375"/>
              </a:xfrm>
              <a:custGeom>
                <a:avLst/>
                <a:gdLst/>
                <a:ahLst/>
                <a:cxnLst/>
                <a:rect l="l" t="t" r="r" b="b"/>
                <a:pathLst>
                  <a:path w="1041" h="3655" extrusionOk="0">
                    <a:moveTo>
                      <a:pt x="536" y="0"/>
                    </a:moveTo>
                    <a:cubicBezTo>
                      <a:pt x="253" y="0"/>
                      <a:pt x="1" y="221"/>
                      <a:pt x="1" y="504"/>
                    </a:cubicBezTo>
                    <a:lnTo>
                      <a:pt x="1" y="3655"/>
                    </a:lnTo>
                    <a:cubicBezTo>
                      <a:pt x="1" y="3655"/>
                      <a:pt x="1" y="3623"/>
                      <a:pt x="64" y="3623"/>
                    </a:cubicBezTo>
                    <a:cubicBezTo>
                      <a:pt x="284" y="3371"/>
                      <a:pt x="631" y="3182"/>
                      <a:pt x="1040" y="3056"/>
                    </a:cubicBezTo>
                    <a:lnTo>
                      <a:pt x="1040" y="504"/>
                    </a:lnTo>
                    <a:cubicBezTo>
                      <a:pt x="1040" y="221"/>
                      <a:pt x="788" y="0"/>
                      <a:pt x="536" y="0"/>
                    </a:cubicBezTo>
                    <a:close/>
                  </a:path>
                </a:pathLst>
              </a:custGeom>
              <a:solidFill>
                <a:schemeClr val="accent1">
                  <a:lumMod val="100000"/>
                </a:schemeClr>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45" name="Google Shape;618;p23">
                <a:extLst>
                  <a:ext uri="{FF2B5EF4-FFF2-40B4-BE49-F238E27FC236}">
                    <a16:creationId xmlns:a16="http://schemas.microsoft.com/office/drawing/2014/main" id="{E021776D-998E-439B-9B02-D842E7108ACB}"/>
                  </a:ext>
                </a:extLst>
              </p:cNvPr>
              <p:cNvSpPr/>
              <p:nvPr/>
            </p:nvSpPr>
            <p:spPr>
              <a:xfrm>
                <a:off x="-27886375" y="3176075"/>
                <a:ext cx="26025" cy="91400"/>
              </a:xfrm>
              <a:custGeom>
                <a:avLst/>
                <a:gdLst/>
                <a:ahLst/>
                <a:cxnLst/>
                <a:rect l="l" t="t" r="r" b="b"/>
                <a:pathLst>
                  <a:path w="1041" h="3656" extrusionOk="0">
                    <a:moveTo>
                      <a:pt x="536" y="1"/>
                    </a:moveTo>
                    <a:cubicBezTo>
                      <a:pt x="253" y="1"/>
                      <a:pt x="1" y="221"/>
                      <a:pt x="1" y="505"/>
                    </a:cubicBezTo>
                    <a:lnTo>
                      <a:pt x="1" y="3088"/>
                    </a:lnTo>
                    <a:cubicBezTo>
                      <a:pt x="379" y="3151"/>
                      <a:pt x="726" y="3340"/>
                      <a:pt x="1041" y="3655"/>
                    </a:cubicBezTo>
                    <a:lnTo>
                      <a:pt x="1041" y="505"/>
                    </a:lnTo>
                    <a:cubicBezTo>
                      <a:pt x="1041" y="253"/>
                      <a:pt x="789" y="1"/>
                      <a:pt x="536" y="1"/>
                    </a:cubicBezTo>
                    <a:close/>
                  </a:path>
                </a:pathLst>
              </a:custGeom>
              <a:solidFill>
                <a:schemeClr val="accent1">
                  <a:lumMod val="100000"/>
                </a:schemeClr>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46" name="Google Shape;619;p23">
                <a:extLst>
                  <a:ext uri="{FF2B5EF4-FFF2-40B4-BE49-F238E27FC236}">
                    <a16:creationId xmlns:a16="http://schemas.microsoft.com/office/drawing/2014/main" id="{114F4590-98C9-44AC-B7D8-0DF60F1203D7}"/>
                  </a:ext>
                </a:extLst>
              </p:cNvPr>
              <p:cNvSpPr/>
              <p:nvPr/>
            </p:nvSpPr>
            <p:spPr>
              <a:xfrm>
                <a:off x="-28017900" y="3269025"/>
                <a:ext cx="161475" cy="133125"/>
              </a:xfrm>
              <a:custGeom>
                <a:avLst/>
                <a:gdLst/>
                <a:ahLst/>
                <a:cxnLst/>
                <a:rect l="l" t="t" r="r" b="b"/>
                <a:pathLst>
                  <a:path w="6459" h="5325" extrusionOk="0">
                    <a:moveTo>
                      <a:pt x="1733" y="0"/>
                    </a:moveTo>
                    <a:cubicBezTo>
                      <a:pt x="1355" y="0"/>
                      <a:pt x="946" y="158"/>
                      <a:pt x="662" y="410"/>
                    </a:cubicBezTo>
                    <a:cubicBezTo>
                      <a:pt x="64" y="882"/>
                      <a:pt x="1" y="1639"/>
                      <a:pt x="347" y="2237"/>
                    </a:cubicBezTo>
                    <a:cubicBezTo>
                      <a:pt x="1324" y="2458"/>
                      <a:pt x="2048" y="3340"/>
                      <a:pt x="2174" y="4348"/>
                    </a:cubicBezTo>
                    <a:lnTo>
                      <a:pt x="3214" y="5325"/>
                    </a:lnTo>
                    <a:lnTo>
                      <a:pt x="4285" y="4348"/>
                    </a:lnTo>
                    <a:cubicBezTo>
                      <a:pt x="4380" y="3340"/>
                      <a:pt x="5073" y="2521"/>
                      <a:pt x="6113" y="2237"/>
                    </a:cubicBezTo>
                    <a:cubicBezTo>
                      <a:pt x="6459" y="1639"/>
                      <a:pt x="6333" y="882"/>
                      <a:pt x="5860" y="410"/>
                    </a:cubicBezTo>
                    <a:cubicBezTo>
                      <a:pt x="5577" y="158"/>
                      <a:pt x="5199" y="0"/>
                      <a:pt x="4789" y="0"/>
                    </a:cubicBezTo>
                    <a:cubicBezTo>
                      <a:pt x="4411" y="0"/>
                      <a:pt x="4002" y="158"/>
                      <a:pt x="3750" y="410"/>
                    </a:cubicBezTo>
                    <a:lnTo>
                      <a:pt x="3277" y="882"/>
                    </a:lnTo>
                    <a:lnTo>
                      <a:pt x="2805" y="410"/>
                    </a:lnTo>
                    <a:cubicBezTo>
                      <a:pt x="2521" y="158"/>
                      <a:pt x="2143" y="0"/>
                      <a:pt x="1733" y="0"/>
                    </a:cubicBezTo>
                    <a:close/>
                  </a:path>
                </a:pathLst>
              </a:custGeom>
              <a:solidFill>
                <a:schemeClr val="accent1">
                  <a:lumMod val="100000"/>
                </a:schemeClr>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47" name="Google Shape;620;p23">
                <a:extLst>
                  <a:ext uri="{FF2B5EF4-FFF2-40B4-BE49-F238E27FC236}">
                    <a16:creationId xmlns:a16="http://schemas.microsoft.com/office/drawing/2014/main" id="{A9088733-7295-4339-BB73-C2D206B1CB20}"/>
                  </a:ext>
                </a:extLst>
              </p:cNvPr>
              <p:cNvSpPr/>
              <p:nvPr/>
            </p:nvSpPr>
            <p:spPr>
              <a:xfrm>
                <a:off x="-27930475" y="3269800"/>
                <a:ext cx="121325" cy="201650"/>
              </a:xfrm>
              <a:custGeom>
                <a:avLst/>
                <a:gdLst/>
                <a:ahLst/>
                <a:cxnLst/>
                <a:rect l="l" t="t" r="r" b="b"/>
                <a:pathLst>
                  <a:path w="4853" h="8066" extrusionOk="0">
                    <a:moveTo>
                      <a:pt x="4506" y="1"/>
                    </a:moveTo>
                    <a:cubicBezTo>
                      <a:pt x="3876" y="1"/>
                      <a:pt x="3403" y="505"/>
                      <a:pt x="3403" y="1198"/>
                    </a:cubicBezTo>
                    <a:lnTo>
                      <a:pt x="3403" y="2395"/>
                    </a:lnTo>
                    <a:cubicBezTo>
                      <a:pt x="3403" y="2584"/>
                      <a:pt x="3246" y="2742"/>
                      <a:pt x="3025" y="2742"/>
                    </a:cubicBezTo>
                    <a:cubicBezTo>
                      <a:pt x="2679" y="2742"/>
                      <a:pt x="2363" y="2868"/>
                      <a:pt x="2080" y="3025"/>
                    </a:cubicBezTo>
                    <a:cubicBezTo>
                      <a:pt x="1702" y="3372"/>
                      <a:pt x="1418" y="3939"/>
                      <a:pt x="1418" y="4474"/>
                    </a:cubicBezTo>
                    <a:lnTo>
                      <a:pt x="1418" y="5231"/>
                    </a:lnTo>
                    <a:cubicBezTo>
                      <a:pt x="1418" y="5420"/>
                      <a:pt x="1261" y="5577"/>
                      <a:pt x="1072" y="5577"/>
                    </a:cubicBezTo>
                    <a:cubicBezTo>
                      <a:pt x="883" y="5577"/>
                      <a:pt x="725" y="5420"/>
                      <a:pt x="725" y="5231"/>
                    </a:cubicBezTo>
                    <a:lnTo>
                      <a:pt x="1" y="5892"/>
                    </a:lnTo>
                    <a:lnTo>
                      <a:pt x="1" y="8066"/>
                    </a:lnTo>
                    <a:lnTo>
                      <a:pt x="3813" y="8066"/>
                    </a:lnTo>
                    <a:cubicBezTo>
                      <a:pt x="4033" y="8066"/>
                      <a:pt x="4191" y="7908"/>
                      <a:pt x="4191" y="7719"/>
                    </a:cubicBezTo>
                    <a:cubicBezTo>
                      <a:pt x="4191" y="7530"/>
                      <a:pt x="4033" y="7373"/>
                      <a:pt x="3813" y="7373"/>
                    </a:cubicBezTo>
                    <a:lnTo>
                      <a:pt x="3466" y="7373"/>
                    </a:lnTo>
                    <a:lnTo>
                      <a:pt x="3466" y="6270"/>
                    </a:lnTo>
                    <a:cubicBezTo>
                      <a:pt x="3466" y="6176"/>
                      <a:pt x="3498" y="6050"/>
                      <a:pt x="3592" y="6018"/>
                    </a:cubicBezTo>
                    <a:lnTo>
                      <a:pt x="4128" y="5420"/>
                    </a:lnTo>
                    <a:cubicBezTo>
                      <a:pt x="4600" y="4947"/>
                      <a:pt x="4852" y="4380"/>
                      <a:pt x="4852" y="3687"/>
                    </a:cubicBezTo>
                    <a:lnTo>
                      <a:pt x="4852" y="347"/>
                    </a:lnTo>
                    <a:cubicBezTo>
                      <a:pt x="4852" y="158"/>
                      <a:pt x="4695" y="1"/>
                      <a:pt x="4506" y="1"/>
                    </a:cubicBezTo>
                    <a:close/>
                  </a:path>
                </a:pathLst>
              </a:custGeom>
              <a:solidFill>
                <a:schemeClr val="accent1">
                  <a:lumMod val="100000"/>
                </a:schemeClr>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48" name="Google Shape;621;p23">
                <a:extLst>
                  <a:ext uri="{FF2B5EF4-FFF2-40B4-BE49-F238E27FC236}">
                    <a16:creationId xmlns:a16="http://schemas.microsoft.com/office/drawing/2014/main" id="{8B14D2FE-EC4A-4F8E-AB5F-009A5BCBB2A7}"/>
                  </a:ext>
                </a:extLst>
              </p:cNvPr>
              <p:cNvSpPr/>
              <p:nvPr/>
            </p:nvSpPr>
            <p:spPr>
              <a:xfrm>
                <a:off x="-28069875" y="3271375"/>
                <a:ext cx="122875" cy="200075"/>
              </a:xfrm>
              <a:custGeom>
                <a:avLst/>
                <a:gdLst/>
                <a:ahLst/>
                <a:cxnLst/>
                <a:rect l="l" t="t" r="r" b="b"/>
                <a:pathLst>
                  <a:path w="4915" h="8003" extrusionOk="0">
                    <a:moveTo>
                      <a:pt x="347" y="1"/>
                    </a:moveTo>
                    <a:cubicBezTo>
                      <a:pt x="158" y="1"/>
                      <a:pt x="0" y="158"/>
                      <a:pt x="0" y="379"/>
                    </a:cubicBezTo>
                    <a:lnTo>
                      <a:pt x="0" y="3718"/>
                    </a:lnTo>
                    <a:cubicBezTo>
                      <a:pt x="0" y="4348"/>
                      <a:pt x="221" y="4979"/>
                      <a:pt x="693" y="5451"/>
                    </a:cubicBezTo>
                    <a:lnTo>
                      <a:pt x="1323" y="5955"/>
                    </a:lnTo>
                    <a:cubicBezTo>
                      <a:pt x="1418" y="6018"/>
                      <a:pt x="1449" y="6113"/>
                      <a:pt x="1449" y="6207"/>
                    </a:cubicBezTo>
                    <a:lnTo>
                      <a:pt x="1449" y="7310"/>
                    </a:lnTo>
                    <a:lnTo>
                      <a:pt x="1103" y="7310"/>
                    </a:lnTo>
                    <a:cubicBezTo>
                      <a:pt x="882" y="7310"/>
                      <a:pt x="725" y="7467"/>
                      <a:pt x="725" y="7656"/>
                    </a:cubicBezTo>
                    <a:cubicBezTo>
                      <a:pt x="725" y="7845"/>
                      <a:pt x="882" y="8003"/>
                      <a:pt x="1103" y="8003"/>
                    </a:cubicBezTo>
                    <a:lnTo>
                      <a:pt x="4915" y="8003"/>
                    </a:lnTo>
                    <a:lnTo>
                      <a:pt x="4915" y="5829"/>
                    </a:lnTo>
                    <a:lnTo>
                      <a:pt x="4190" y="5168"/>
                    </a:lnTo>
                    <a:cubicBezTo>
                      <a:pt x="4190" y="5357"/>
                      <a:pt x="4033" y="5514"/>
                      <a:pt x="3844" y="5514"/>
                    </a:cubicBezTo>
                    <a:cubicBezTo>
                      <a:pt x="3655" y="5514"/>
                      <a:pt x="3497" y="5357"/>
                      <a:pt x="3497" y="5168"/>
                    </a:cubicBezTo>
                    <a:lnTo>
                      <a:pt x="3497" y="4411"/>
                    </a:lnTo>
                    <a:cubicBezTo>
                      <a:pt x="3497" y="3876"/>
                      <a:pt x="3214" y="3372"/>
                      <a:pt x="2741" y="3057"/>
                    </a:cubicBezTo>
                    <a:cubicBezTo>
                      <a:pt x="2458" y="2899"/>
                      <a:pt x="2143" y="2773"/>
                      <a:pt x="1796" y="2773"/>
                    </a:cubicBezTo>
                    <a:cubicBezTo>
                      <a:pt x="1607" y="2773"/>
                      <a:pt x="1449" y="2616"/>
                      <a:pt x="1449" y="2427"/>
                    </a:cubicBezTo>
                    <a:lnTo>
                      <a:pt x="1449" y="1229"/>
                    </a:lnTo>
                    <a:cubicBezTo>
                      <a:pt x="1449" y="473"/>
                      <a:pt x="945" y="1"/>
                      <a:pt x="347" y="1"/>
                    </a:cubicBezTo>
                    <a:close/>
                  </a:path>
                </a:pathLst>
              </a:custGeom>
              <a:solidFill>
                <a:schemeClr val="accent1">
                  <a:lumMod val="100000"/>
                </a:schemeClr>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grpSp>
        <p:sp>
          <p:nvSpPr>
            <p:cNvPr id="34" name="Google Shape;622;p23">
              <a:extLst>
                <a:ext uri="{FF2B5EF4-FFF2-40B4-BE49-F238E27FC236}">
                  <a16:creationId xmlns:a16="http://schemas.microsoft.com/office/drawing/2014/main" id="{FA4C1987-BF08-4CDB-92C6-92E0C2F8675A}"/>
                </a:ext>
              </a:extLst>
            </p:cNvPr>
            <p:cNvSpPr txBox="1"/>
            <p:nvPr/>
          </p:nvSpPr>
          <p:spPr>
            <a:xfrm>
              <a:off x="3177475" y="1772122"/>
              <a:ext cx="759000" cy="205500"/>
            </a:xfrm>
            <a:prstGeom prst="rect">
              <a:avLst/>
            </a:prstGeom>
            <a:no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 sz="1467" b="0" i="0" u="none" strike="noStrike" kern="1200" cap="none" spc="0" normalizeH="0" baseline="0" noProof="0">
                  <a:ln>
                    <a:noFill/>
                  </a:ln>
                  <a:solidFill>
                    <a:srgbClr val="434343"/>
                  </a:solidFill>
                  <a:effectLst/>
                  <a:uLnTx/>
                  <a:uFillTx/>
                  <a:latin typeface="Arial"/>
                  <a:ea typeface="+mn-ea"/>
                  <a:cs typeface="+mn-ea"/>
                  <a:sym typeface="+mn-lt"/>
                </a:rPr>
                <a:t>Moon</a:t>
              </a:r>
              <a:endParaRPr kumimoji="0" sz="1467" b="0" i="0" u="none" strike="noStrike" kern="1200" cap="none" spc="0" normalizeH="0" baseline="0" noProof="0">
                <a:ln>
                  <a:noFill/>
                </a:ln>
                <a:solidFill>
                  <a:srgbClr val="434343"/>
                </a:solidFill>
                <a:effectLst/>
                <a:uLnTx/>
                <a:uFillTx/>
                <a:latin typeface="Arial"/>
                <a:ea typeface="+mn-ea"/>
                <a:cs typeface="+mn-ea"/>
                <a:sym typeface="+mn-lt"/>
              </a:endParaRPr>
            </a:p>
          </p:txBody>
        </p:sp>
        <p:sp>
          <p:nvSpPr>
            <p:cNvPr id="35" name="Google Shape;623;p23">
              <a:extLst>
                <a:ext uri="{FF2B5EF4-FFF2-40B4-BE49-F238E27FC236}">
                  <a16:creationId xmlns:a16="http://schemas.microsoft.com/office/drawing/2014/main" id="{16C08A65-3116-4DDE-9064-310F6DFF8519}"/>
                </a:ext>
              </a:extLst>
            </p:cNvPr>
            <p:cNvSpPr txBox="1"/>
            <p:nvPr/>
          </p:nvSpPr>
          <p:spPr>
            <a:xfrm>
              <a:off x="3361725" y="2169297"/>
              <a:ext cx="759000" cy="205500"/>
            </a:xfrm>
            <a:prstGeom prst="rect">
              <a:avLst/>
            </a:prstGeom>
            <a:no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 sz="1467" b="0" i="0" u="none" strike="noStrike" kern="1200" cap="none" spc="0" normalizeH="0" baseline="0" noProof="0">
                  <a:ln>
                    <a:noFill/>
                  </a:ln>
                  <a:solidFill>
                    <a:srgbClr val="434343"/>
                  </a:solidFill>
                  <a:effectLst/>
                  <a:uLnTx/>
                  <a:uFillTx/>
                  <a:latin typeface="Arial"/>
                  <a:ea typeface="+mn-ea"/>
                  <a:cs typeface="+mn-ea"/>
                  <a:sym typeface="+mn-lt"/>
                </a:rPr>
                <a:t>Pluto</a:t>
              </a:r>
              <a:endParaRPr kumimoji="0" sz="1467" b="0" i="0" u="none" strike="noStrike" kern="1200" cap="none" spc="0" normalizeH="0" baseline="0" noProof="0">
                <a:ln>
                  <a:noFill/>
                </a:ln>
                <a:solidFill>
                  <a:srgbClr val="434343"/>
                </a:solidFill>
                <a:effectLst/>
                <a:uLnTx/>
                <a:uFillTx/>
                <a:latin typeface="Arial"/>
                <a:ea typeface="+mn-ea"/>
                <a:cs typeface="+mn-ea"/>
                <a:sym typeface="+mn-lt"/>
              </a:endParaRPr>
            </a:p>
          </p:txBody>
        </p:sp>
        <p:sp>
          <p:nvSpPr>
            <p:cNvPr id="36" name="Google Shape;624;p23">
              <a:extLst>
                <a:ext uri="{FF2B5EF4-FFF2-40B4-BE49-F238E27FC236}">
                  <a16:creationId xmlns:a16="http://schemas.microsoft.com/office/drawing/2014/main" id="{3AA59B42-2C42-4864-BBDD-48DC43A2B2C5}"/>
                </a:ext>
              </a:extLst>
            </p:cNvPr>
            <p:cNvSpPr txBox="1"/>
            <p:nvPr/>
          </p:nvSpPr>
          <p:spPr>
            <a:xfrm>
              <a:off x="3539300" y="2556247"/>
              <a:ext cx="759000" cy="205500"/>
            </a:xfrm>
            <a:prstGeom prst="rect">
              <a:avLst/>
            </a:prstGeom>
            <a:no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 sz="1467" b="0" i="0" u="none" strike="noStrike" kern="1200" cap="none" spc="0" normalizeH="0" baseline="0" noProof="0">
                  <a:ln>
                    <a:noFill/>
                  </a:ln>
                  <a:solidFill>
                    <a:srgbClr val="434343"/>
                  </a:solidFill>
                  <a:effectLst/>
                  <a:uLnTx/>
                  <a:uFillTx/>
                  <a:latin typeface="Arial"/>
                  <a:ea typeface="+mn-ea"/>
                  <a:cs typeface="+mn-ea"/>
                  <a:sym typeface="+mn-lt"/>
                </a:rPr>
                <a:t>Neptune</a:t>
              </a:r>
              <a:endParaRPr kumimoji="0" sz="1467" b="0" i="0" u="none" strike="noStrike" kern="1200" cap="none" spc="0" normalizeH="0" baseline="0" noProof="0">
                <a:ln>
                  <a:noFill/>
                </a:ln>
                <a:solidFill>
                  <a:srgbClr val="434343"/>
                </a:solidFill>
                <a:effectLst/>
                <a:uLnTx/>
                <a:uFillTx/>
                <a:latin typeface="Arial"/>
                <a:ea typeface="+mn-ea"/>
                <a:cs typeface="+mn-ea"/>
                <a:sym typeface="+mn-lt"/>
              </a:endParaRPr>
            </a:p>
          </p:txBody>
        </p:sp>
        <p:sp>
          <p:nvSpPr>
            <p:cNvPr id="37" name="Google Shape;625;p23">
              <a:extLst>
                <a:ext uri="{FF2B5EF4-FFF2-40B4-BE49-F238E27FC236}">
                  <a16:creationId xmlns:a16="http://schemas.microsoft.com/office/drawing/2014/main" id="{0F42BD74-3891-4892-9C09-03F55CA42087}"/>
                </a:ext>
              </a:extLst>
            </p:cNvPr>
            <p:cNvSpPr txBox="1"/>
            <p:nvPr/>
          </p:nvSpPr>
          <p:spPr>
            <a:xfrm>
              <a:off x="3558350" y="3134872"/>
              <a:ext cx="759000" cy="205500"/>
            </a:xfrm>
            <a:prstGeom prst="rect">
              <a:avLst/>
            </a:prstGeom>
            <a:no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 sz="1467" b="0" i="0" u="none" strike="noStrike" kern="1200" cap="none" spc="0" normalizeH="0" baseline="0" noProof="0">
                  <a:ln>
                    <a:noFill/>
                  </a:ln>
                  <a:solidFill>
                    <a:srgbClr val="434343"/>
                  </a:solidFill>
                  <a:effectLst/>
                  <a:uLnTx/>
                  <a:uFillTx/>
                  <a:latin typeface="Arial"/>
                  <a:ea typeface="+mn-ea"/>
                  <a:cs typeface="+mn-ea"/>
                  <a:sym typeface="+mn-lt"/>
                </a:rPr>
                <a:t>Thebe</a:t>
              </a:r>
              <a:endParaRPr kumimoji="0" sz="1467" b="0" i="0" u="none" strike="noStrike" kern="1200" cap="none" spc="0" normalizeH="0" baseline="0" noProof="0">
                <a:ln>
                  <a:noFill/>
                </a:ln>
                <a:solidFill>
                  <a:srgbClr val="434343"/>
                </a:solidFill>
                <a:effectLst/>
                <a:uLnTx/>
                <a:uFillTx/>
                <a:latin typeface="Arial"/>
                <a:ea typeface="+mn-ea"/>
                <a:cs typeface="+mn-ea"/>
                <a:sym typeface="+mn-lt"/>
              </a:endParaRPr>
            </a:p>
          </p:txBody>
        </p:sp>
        <p:sp>
          <p:nvSpPr>
            <p:cNvPr id="38" name="Google Shape;626;p23">
              <a:extLst>
                <a:ext uri="{FF2B5EF4-FFF2-40B4-BE49-F238E27FC236}">
                  <a16:creationId xmlns:a16="http://schemas.microsoft.com/office/drawing/2014/main" id="{2C2FCFD6-A361-47A2-A8B9-B68C801D85EF}"/>
                </a:ext>
              </a:extLst>
            </p:cNvPr>
            <p:cNvSpPr txBox="1"/>
            <p:nvPr/>
          </p:nvSpPr>
          <p:spPr>
            <a:xfrm>
              <a:off x="3177475" y="3918997"/>
              <a:ext cx="759000" cy="205500"/>
            </a:xfrm>
            <a:prstGeom prst="rect">
              <a:avLst/>
            </a:prstGeom>
            <a:no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 sz="1467" b="0" i="0" u="none" strike="noStrike" kern="1200" cap="none" spc="0" normalizeH="0" baseline="0" noProof="0">
                  <a:ln>
                    <a:noFill/>
                  </a:ln>
                  <a:solidFill>
                    <a:srgbClr val="434343"/>
                  </a:solidFill>
                  <a:effectLst/>
                  <a:uLnTx/>
                  <a:uFillTx/>
                  <a:latin typeface="Arial"/>
                  <a:ea typeface="+mn-ea"/>
                  <a:cs typeface="+mn-ea"/>
                  <a:sym typeface="+mn-lt"/>
                </a:rPr>
                <a:t>Callisto</a:t>
              </a:r>
              <a:endParaRPr kumimoji="0" sz="1467" b="0" i="0" u="none" strike="noStrike" kern="1200" cap="none" spc="0" normalizeH="0" baseline="0" noProof="0">
                <a:ln>
                  <a:noFill/>
                </a:ln>
                <a:solidFill>
                  <a:srgbClr val="434343"/>
                </a:solidFill>
                <a:effectLst/>
                <a:uLnTx/>
                <a:uFillTx/>
                <a:latin typeface="Arial"/>
                <a:ea typeface="+mn-ea"/>
                <a:cs typeface="+mn-ea"/>
                <a:sym typeface="+mn-lt"/>
              </a:endParaRPr>
            </a:p>
          </p:txBody>
        </p:sp>
        <p:sp>
          <p:nvSpPr>
            <p:cNvPr id="39" name="Google Shape;627;p23">
              <a:extLst>
                <a:ext uri="{FF2B5EF4-FFF2-40B4-BE49-F238E27FC236}">
                  <a16:creationId xmlns:a16="http://schemas.microsoft.com/office/drawing/2014/main" id="{B9918CB2-9985-4BCD-8988-E46E257F5CB1}"/>
                </a:ext>
              </a:extLst>
            </p:cNvPr>
            <p:cNvSpPr txBox="1"/>
            <p:nvPr/>
          </p:nvSpPr>
          <p:spPr>
            <a:xfrm>
              <a:off x="3361725" y="3522135"/>
              <a:ext cx="759000" cy="205500"/>
            </a:xfrm>
            <a:prstGeom prst="rect">
              <a:avLst/>
            </a:prstGeom>
            <a:no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 sz="1467" b="0" i="0" u="none" strike="noStrike" kern="1200" cap="none" spc="0" normalizeH="0" baseline="0" noProof="0">
                  <a:ln>
                    <a:noFill/>
                  </a:ln>
                  <a:solidFill>
                    <a:srgbClr val="434343"/>
                  </a:solidFill>
                  <a:effectLst/>
                  <a:uLnTx/>
                  <a:uFillTx/>
                  <a:latin typeface="Arial"/>
                  <a:ea typeface="+mn-ea"/>
                  <a:cs typeface="+mn-ea"/>
                  <a:sym typeface="+mn-lt"/>
                </a:rPr>
                <a:t>Europa</a:t>
              </a:r>
              <a:endParaRPr kumimoji="0" sz="1467" b="0" i="0" u="none" strike="noStrike" kern="1200" cap="none" spc="0" normalizeH="0" baseline="0" noProof="0">
                <a:ln>
                  <a:noFill/>
                </a:ln>
                <a:solidFill>
                  <a:srgbClr val="434343"/>
                </a:solidFill>
                <a:effectLst/>
                <a:uLnTx/>
                <a:uFillTx/>
                <a:latin typeface="Arial"/>
                <a:ea typeface="+mn-ea"/>
                <a:cs typeface="+mn-ea"/>
                <a:sym typeface="+mn-lt"/>
              </a:endParaRPr>
            </a:p>
          </p:txBody>
        </p:sp>
      </p:grpSp>
      <p:grpSp>
        <p:nvGrpSpPr>
          <p:cNvPr id="49" name="Google Shape;628;p23">
            <a:extLst>
              <a:ext uri="{FF2B5EF4-FFF2-40B4-BE49-F238E27FC236}">
                <a16:creationId xmlns:a16="http://schemas.microsoft.com/office/drawing/2014/main" id="{3D54EA4C-2C71-4D67-A137-EF61BFC99E9C}"/>
              </a:ext>
            </a:extLst>
          </p:cNvPr>
          <p:cNvGrpSpPr/>
          <p:nvPr/>
        </p:nvGrpSpPr>
        <p:grpSpPr>
          <a:xfrm>
            <a:off x="1643275" y="1573185"/>
            <a:ext cx="2886100" cy="3367348"/>
            <a:chOff x="1291250" y="1576577"/>
            <a:chExt cx="2164575" cy="2525511"/>
          </a:xfrm>
        </p:grpSpPr>
        <p:sp>
          <p:nvSpPr>
            <p:cNvPr id="50" name="Google Shape;629;p23">
              <a:extLst>
                <a:ext uri="{FF2B5EF4-FFF2-40B4-BE49-F238E27FC236}">
                  <a16:creationId xmlns:a16="http://schemas.microsoft.com/office/drawing/2014/main" id="{667AACD6-4985-4F1A-8E13-DBFE3465ED49}"/>
                </a:ext>
              </a:extLst>
            </p:cNvPr>
            <p:cNvSpPr/>
            <p:nvPr/>
          </p:nvSpPr>
          <p:spPr>
            <a:xfrm>
              <a:off x="1291250" y="2484313"/>
              <a:ext cx="323275" cy="1149875"/>
            </a:xfrm>
            <a:custGeom>
              <a:avLst/>
              <a:gdLst/>
              <a:ahLst/>
              <a:cxnLst/>
              <a:rect l="l" t="t" r="r" b="b"/>
              <a:pathLst>
                <a:path w="12931" h="45995" extrusionOk="0">
                  <a:moveTo>
                    <a:pt x="0" y="1"/>
                  </a:moveTo>
                  <a:lnTo>
                    <a:pt x="4989" y="22992"/>
                  </a:lnTo>
                  <a:lnTo>
                    <a:pt x="0" y="45994"/>
                  </a:lnTo>
                  <a:lnTo>
                    <a:pt x="12930" y="22992"/>
                  </a:lnTo>
                  <a:lnTo>
                    <a:pt x="0" y="1"/>
                  </a:lnTo>
                  <a:close/>
                </a:path>
              </a:pathLst>
            </a:custGeom>
            <a:solidFill>
              <a:srgbClr val="869FB2"/>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51" name="Google Shape;630;p23">
              <a:extLst>
                <a:ext uri="{FF2B5EF4-FFF2-40B4-BE49-F238E27FC236}">
                  <a16:creationId xmlns:a16="http://schemas.microsoft.com/office/drawing/2014/main" id="{0344CD70-4FC4-497E-A7AD-AAFED40C783E}"/>
                </a:ext>
              </a:extLst>
            </p:cNvPr>
            <p:cNvSpPr/>
            <p:nvPr/>
          </p:nvSpPr>
          <p:spPr>
            <a:xfrm>
              <a:off x="1378750" y="2480438"/>
              <a:ext cx="339650" cy="1157625"/>
            </a:xfrm>
            <a:custGeom>
              <a:avLst/>
              <a:gdLst/>
              <a:ahLst/>
              <a:cxnLst/>
              <a:rect l="l" t="t" r="r" b="b"/>
              <a:pathLst>
                <a:path w="13586" h="46305" extrusionOk="0">
                  <a:moveTo>
                    <a:pt x="560" y="1"/>
                  </a:moveTo>
                  <a:lnTo>
                    <a:pt x="0" y="310"/>
                  </a:lnTo>
                  <a:lnTo>
                    <a:pt x="12835" y="23147"/>
                  </a:lnTo>
                  <a:lnTo>
                    <a:pt x="0" y="45983"/>
                  </a:lnTo>
                  <a:lnTo>
                    <a:pt x="560" y="46304"/>
                  </a:lnTo>
                  <a:lnTo>
                    <a:pt x="13585" y="23147"/>
                  </a:lnTo>
                  <a:lnTo>
                    <a:pt x="560" y="1"/>
                  </a:lnTo>
                  <a:close/>
                </a:path>
              </a:pathLst>
            </a:custGeom>
            <a:solidFill>
              <a:srgbClr val="869FB2"/>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52" name="Google Shape;631;p23">
              <a:extLst>
                <a:ext uri="{FF2B5EF4-FFF2-40B4-BE49-F238E27FC236}">
                  <a16:creationId xmlns:a16="http://schemas.microsoft.com/office/drawing/2014/main" id="{686E1F8C-EC25-47CC-B369-203298089341}"/>
                </a:ext>
              </a:extLst>
            </p:cNvPr>
            <p:cNvSpPr/>
            <p:nvPr/>
          </p:nvSpPr>
          <p:spPr>
            <a:xfrm>
              <a:off x="1499300" y="3982113"/>
              <a:ext cx="1170100" cy="16100"/>
            </a:xfrm>
            <a:custGeom>
              <a:avLst/>
              <a:gdLst/>
              <a:ahLst/>
              <a:cxnLst/>
              <a:rect l="l" t="t" r="r" b="b"/>
              <a:pathLst>
                <a:path w="46804" h="644" extrusionOk="0">
                  <a:moveTo>
                    <a:pt x="0" y="1"/>
                  </a:moveTo>
                  <a:lnTo>
                    <a:pt x="0" y="644"/>
                  </a:lnTo>
                  <a:lnTo>
                    <a:pt x="46804" y="644"/>
                  </a:lnTo>
                  <a:lnTo>
                    <a:pt x="46804" y="1"/>
                  </a:lnTo>
                  <a:close/>
                </a:path>
              </a:pathLst>
            </a:custGeom>
            <a:solidFill>
              <a:srgbClr val="869FB2"/>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53" name="Google Shape;632;p23">
              <a:extLst>
                <a:ext uri="{FF2B5EF4-FFF2-40B4-BE49-F238E27FC236}">
                  <a16:creationId xmlns:a16="http://schemas.microsoft.com/office/drawing/2014/main" id="{05A6C598-28FE-416F-9846-EBE2E512C11A}"/>
                </a:ext>
              </a:extLst>
            </p:cNvPr>
            <p:cNvSpPr/>
            <p:nvPr/>
          </p:nvSpPr>
          <p:spPr>
            <a:xfrm>
              <a:off x="1683500" y="3632975"/>
              <a:ext cx="1179344" cy="16100"/>
            </a:xfrm>
            <a:custGeom>
              <a:avLst/>
              <a:gdLst/>
              <a:ahLst/>
              <a:cxnLst/>
              <a:rect l="l" t="t" r="r" b="b"/>
              <a:pathLst>
                <a:path w="46804" h="644" extrusionOk="0">
                  <a:moveTo>
                    <a:pt x="1" y="1"/>
                  </a:moveTo>
                  <a:lnTo>
                    <a:pt x="1" y="644"/>
                  </a:lnTo>
                  <a:lnTo>
                    <a:pt x="46804" y="644"/>
                  </a:lnTo>
                  <a:lnTo>
                    <a:pt x="46804" y="1"/>
                  </a:lnTo>
                  <a:close/>
                </a:path>
              </a:pathLst>
            </a:custGeom>
            <a:solidFill>
              <a:srgbClr val="869FB2"/>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54" name="Google Shape;633;p23">
              <a:extLst>
                <a:ext uri="{FF2B5EF4-FFF2-40B4-BE49-F238E27FC236}">
                  <a16:creationId xmlns:a16="http://schemas.microsoft.com/office/drawing/2014/main" id="{BCCBC07B-8FBF-43C6-99DC-4C24CA4ABABF}"/>
                </a:ext>
              </a:extLst>
            </p:cNvPr>
            <p:cNvSpPr/>
            <p:nvPr/>
          </p:nvSpPr>
          <p:spPr>
            <a:xfrm>
              <a:off x="1861125" y="3283825"/>
              <a:ext cx="1197974" cy="16100"/>
            </a:xfrm>
            <a:custGeom>
              <a:avLst/>
              <a:gdLst/>
              <a:ahLst/>
              <a:cxnLst/>
              <a:rect l="l" t="t" r="r" b="b"/>
              <a:pathLst>
                <a:path w="46805" h="644" extrusionOk="0">
                  <a:moveTo>
                    <a:pt x="1" y="1"/>
                  </a:moveTo>
                  <a:lnTo>
                    <a:pt x="1" y="644"/>
                  </a:lnTo>
                  <a:lnTo>
                    <a:pt x="46804" y="644"/>
                  </a:lnTo>
                  <a:lnTo>
                    <a:pt x="46804" y="1"/>
                  </a:lnTo>
                  <a:close/>
                </a:path>
              </a:pathLst>
            </a:custGeom>
            <a:solidFill>
              <a:srgbClr val="869FB2"/>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55" name="Google Shape;634;p23">
              <a:extLst>
                <a:ext uri="{FF2B5EF4-FFF2-40B4-BE49-F238E27FC236}">
                  <a16:creationId xmlns:a16="http://schemas.microsoft.com/office/drawing/2014/main" id="{CF0B00F1-7CB2-473F-978B-52C30EA23BEF}"/>
                </a:ext>
              </a:extLst>
            </p:cNvPr>
            <p:cNvSpPr/>
            <p:nvPr/>
          </p:nvSpPr>
          <p:spPr>
            <a:xfrm>
              <a:off x="1499300" y="2119988"/>
              <a:ext cx="1170100" cy="16100"/>
            </a:xfrm>
            <a:custGeom>
              <a:avLst/>
              <a:gdLst/>
              <a:ahLst/>
              <a:cxnLst/>
              <a:rect l="l" t="t" r="r" b="b"/>
              <a:pathLst>
                <a:path w="46804" h="644" extrusionOk="0">
                  <a:moveTo>
                    <a:pt x="0" y="0"/>
                  </a:moveTo>
                  <a:lnTo>
                    <a:pt x="0" y="643"/>
                  </a:lnTo>
                  <a:lnTo>
                    <a:pt x="46804" y="643"/>
                  </a:lnTo>
                  <a:lnTo>
                    <a:pt x="46804" y="0"/>
                  </a:lnTo>
                  <a:close/>
                </a:path>
              </a:pathLst>
            </a:custGeom>
            <a:solidFill>
              <a:srgbClr val="869FB2"/>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56" name="Google Shape;635;p23">
              <a:extLst>
                <a:ext uri="{FF2B5EF4-FFF2-40B4-BE49-F238E27FC236}">
                  <a16:creationId xmlns:a16="http://schemas.microsoft.com/office/drawing/2014/main" id="{A30F333D-A0E8-424A-AAF9-EB310B0D0184}"/>
                </a:ext>
              </a:extLst>
            </p:cNvPr>
            <p:cNvSpPr/>
            <p:nvPr/>
          </p:nvSpPr>
          <p:spPr>
            <a:xfrm>
              <a:off x="1683550" y="2469138"/>
              <a:ext cx="1170100" cy="16400"/>
            </a:xfrm>
            <a:custGeom>
              <a:avLst/>
              <a:gdLst/>
              <a:ahLst/>
              <a:cxnLst/>
              <a:rect l="l" t="t" r="r" b="b"/>
              <a:pathLst>
                <a:path w="46804" h="656" extrusionOk="0">
                  <a:moveTo>
                    <a:pt x="1" y="0"/>
                  </a:moveTo>
                  <a:lnTo>
                    <a:pt x="1" y="655"/>
                  </a:lnTo>
                  <a:lnTo>
                    <a:pt x="46804" y="655"/>
                  </a:lnTo>
                  <a:lnTo>
                    <a:pt x="46804" y="0"/>
                  </a:lnTo>
                  <a:close/>
                </a:path>
              </a:pathLst>
            </a:custGeom>
            <a:solidFill>
              <a:srgbClr val="869FB2"/>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57" name="Google Shape;636;p23">
              <a:extLst>
                <a:ext uri="{FF2B5EF4-FFF2-40B4-BE49-F238E27FC236}">
                  <a16:creationId xmlns:a16="http://schemas.microsoft.com/office/drawing/2014/main" id="{A91EFC39-E200-42E2-94F5-EB911133F875}"/>
                </a:ext>
              </a:extLst>
            </p:cNvPr>
            <p:cNvSpPr/>
            <p:nvPr/>
          </p:nvSpPr>
          <p:spPr>
            <a:xfrm>
              <a:off x="1861125" y="2818588"/>
              <a:ext cx="1170125" cy="16100"/>
            </a:xfrm>
            <a:custGeom>
              <a:avLst/>
              <a:gdLst/>
              <a:ahLst/>
              <a:cxnLst/>
              <a:rect l="l" t="t" r="r" b="b"/>
              <a:pathLst>
                <a:path w="46805" h="644" extrusionOk="0">
                  <a:moveTo>
                    <a:pt x="1" y="0"/>
                  </a:moveTo>
                  <a:lnTo>
                    <a:pt x="1" y="643"/>
                  </a:lnTo>
                  <a:lnTo>
                    <a:pt x="46804" y="643"/>
                  </a:lnTo>
                  <a:lnTo>
                    <a:pt x="46804" y="0"/>
                  </a:lnTo>
                  <a:close/>
                </a:path>
              </a:pathLst>
            </a:custGeom>
            <a:solidFill>
              <a:srgbClr val="869FB2"/>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58" name="Google Shape;637;p23">
              <a:extLst>
                <a:ext uri="{FF2B5EF4-FFF2-40B4-BE49-F238E27FC236}">
                  <a16:creationId xmlns:a16="http://schemas.microsoft.com/office/drawing/2014/main" id="{7E16E2CC-E57E-45E7-870F-4C616FFBFB11}"/>
                </a:ext>
              </a:extLst>
            </p:cNvPr>
            <p:cNvSpPr/>
            <p:nvPr/>
          </p:nvSpPr>
          <p:spPr>
            <a:xfrm>
              <a:off x="2409225" y="2020263"/>
              <a:ext cx="942700" cy="2077975"/>
            </a:xfrm>
            <a:custGeom>
              <a:avLst/>
              <a:gdLst/>
              <a:ahLst/>
              <a:cxnLst/>
              <a:rect l="l" t="t" r="r" b="b"/>
              <a:pathLst>
                <a:path w="37708" h="83119" extrusionOk="0">
                  <a:moveTo>
                    <a:pt x="1" y="1"/>
                  </a:moveTo>
                  <a:lnTo>
                    <a:pt x="23373" y="41554"/>
                  </a:lnTo>
                  <a:lnTo>
                    <a:pt x="1" y="83118"/>
                  </a:lnTo>
                  <a:lnTo>
                    <a:pt x="14348" y="83118"/>
                  </a:lnTo>
                  <a:lnTo>
                    <a:pt x="37708" y="41554"/>
                  </a:lnTo>
                  <a:lnTo>
                    <a:pt x="14348" y="1"/>
                  </a:ln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59" name="Google Shape;638;p23">
              <a:extLst>
                <a:ext uri="{FF2B5EF4-FFF2-40B4-BE49-F238E27FC236}">
                  <a16:creationId xmlns:a16="http://schemas.microsoft.com/office/drawing/2014/main" id="{2549CC30-E738-4253-AC22-EA0557F48B0D}"/>
                </a:ext>
              </a:extLst>
            </p:cNvPr>
            <p:cNvSpPr/>
            <p:nvPr/>
          </p:nvSpPr>
          <p:spPr>
            <a:xfrm>
              <a:off x="2409225" y="3059088"/>
              <a:ext cx="942700" cy="1039150"/>
            </a:xfrm>
            <a:custGeom>
              <a:avLst/>
              <a:gdLst/>
              <a:ahLst/>
              <a:cxnLst/>
              <a:rect l="l" t="t" r="r" b="b"/>
              <a:pathLst>
                <a:path w="37708" h="41566" extrusionOk="0">
                  <a:moveTo>
                    <a:pt x="23373" y="1"/>
                  </a:moveTo>
                  <a:lnTo>
                    <a:pt x="1" y="41565"/>
                  </a:lnTo>
                  <a:lnTo>
                    <a:pt x="14348" y="41565"/>
                  </a:lnTo>
                  <a:lnTo>
                    <a:pt x="37708" y="1"/>
                  </a:ln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grpSp>
          <p:nvGrpSpPr>
            <p:cNvPr id="60" name="Google Shape;639;p23">
              <a:extLst>
                <a:ext uri="{FF2B5EF4-FFF2-40B4-BE49-F238E27FC236}">
                  <a16:creationId xmlns:a16="http://schemas.microsoft.com/office/drawing/2014/main" id="{7F16F964-E8F3-48C1-9F9A-15FB8047364F}"/>
                </a:ext>
              </a:extLst>
            </p:cNvPr>
            <p:cNvGrpSpPr/>
            <p:nvPr/>
          </p:nvGrpSpPr>
          <p:grpSpPr>
            <a:xfrm>
              <a:off x="2409228" y="1576577"/>
              <a:ext cx="335630" cy="291336"/>
              <a:chOff x="-28462125" y="3199700"/>
              <a:chExt cx="298550" cy="259150"/>
            </a:xfrm>
          </p:grpSpPr>
          <p:sp>
            <p:nvSpPr>
              <p:cNvPr id="68" name="Google Shape;640;p23">
                <a:extLst>
                  <a:ext uri="{FF2B5EF4-FFF2-40B4-BE49-F238E27FC236}">
                    <a16:creationId xmlns:a16="http://schemas.microsoft.com/office/drawing/2014/main" id="{752FD1D1-5C26-430D-80B9-33BA71C1D6CF}"/>
                  </a:ext>
                </a:extLst>
              </p:cNvPr>
              <p:cNvSpPr/>
              <p:nvPr/>
            </p:nvSpPr>
            <p:spPr>
              <a:xfrm>
                <a:off x="-28459750" y="3284775"/>
                <a:ext cx="296175" cy="104775"/>
              </a:xfrm>
              <a:custGeom>
                <a:avLst/>
                <a:gdLst/>
                <a:ahLst/>
                <a:cxnLst/>
                <a:rect l="l" t="t" r="r" b="b"/>
                <a:pathLst>
                  <a:path w="11847" h="4191" extrusionOk="0">
                    <a:moveTo>
                      <a:pt x="5230" y="0"/>
                    </a:moveTo>
                    <a:cubicBezTo>
                      <a:pt x="5073" y="0"/>
                      <a:pt x="4947" y="63"/>
                      <a:pt x="4915" y="189"/>
                    </a:cubicBezTo>
                    <a:lnTo>
                      <a:pt x="4096" y="2080"/>
                    </a:lnTo>
                    <a:lnTo>
                      <a:pt x="347" y="2080"/>
                    </a:lnTo>
                    <a:cubicBezTo>
                      <a:pt x="158" y="2080"/>
                      <a:pt x="0" y="2237"/>
                      <a:pt x="0" y="2426"/>
                    </a:cubicBezTo>
                    <a:cubicBezTo>
                      <a:pt x="0" y="2615"/>
                      <a:pt x="158" y="2773"/>
                      <a:pt x="347" y="2773"/>
                    </a:cubicBezTo>
                    <a:lnTo>
                      <a:pt x="4316" y="2773"/>
                    </a:lnTo>
                    <a:cubicBezTo>
                      <a:pt x="4411" y="2773"/>
                      <a:pt x="4505" y="2710"/>
                      <a:pt x="4600" y="2584"/>
                    </a:cubicBezTo>
                    <a:lnTo>
                      <a:pt x="5199" y="1292"/>
                    </a:lnTo>
                    <a:lnTo>
                      <a:pt x="6238" y="3970"/>
                    </a:lnTo>
                    <a:cubicBezTo>
                      <a:pt x="6301" y="4096"/>
                      <a:pt x="6396" y="4159"/>
                      <a:pt x="6522" y="4191"/>
                    </a:cubicBezTo>
                    <a:lnTo>
                      <a:pt x="6553" y="4191"/>
                    </a:lnTo>
                    <a:cubicBezTo>
                      <a:pt x="6679" y="4191"/>
                      <a:pt x="6805" y="4127"/>
                      <a:pt x="6868" y="4033"/>
                    </a:cubicBezTo>
                    <a:lnTo>
                      <a:pt x="7624" y="2836"/>
                    </a:lnTo>
                    <a:lnTo>
                      <a:pt x="11500" y="2836"/>
                    </a:lnTo>
                    <a:cubicBezTo>
                      <a:pt x="11689" y="2836"/>
                      <a:pt x="11846" y="2678"/>
                      <a:pt x="11846" y="2458"/>
                    </a:cubicBezTo>
                    <a:cubicBezTo>
                      <a:pt x="11846" y="2269"/>
                      <a:pt x="11689" y="2111"/>
                      <a:pt x="11500" y="2111"/>
                    </a:cubicBezTo>
                    <a:lnTo>
                      <a:pt x="7435" y="2111"/>
                    </a:lnTo>
                    <a:cubicBezTo>
                      <a:pt x="7309" y="2111"/>
                      <a:pt x="7183" y="2206"/>
                      <a:pt x="7120" y="2269"/>
                    </a:cubicBezTo>
                    <a:lnTo>
                      <a:pt x="6648" y="3056"/>
                    </a:lnTo>
                    <a:lnTo>
                      <a:pt x="5545" y="221"/>
                    </a:lnTo>
                    <a:cubicBezTo>
                      <a:pt x="5514" y="95"/>
                      <a:pt x="5388" y="0"/>
                      <a:pt x="5230" y="0"/>
                    </a:cubicBezTo>
                    <a:close/>
                  </a:path>
                </a:pathLst>
              </a:custGeom>
              <a:solidFill>
                <a:schemeClr val="accent1">
                  <a:lumMod val="100000"/>
                </a:schemeClr>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69" name="Google Shape;641;p23">
                <a:extLst>
                  <a:ext uri="{FF2B5EF4-FFF2-40B4-BE49-F238E27FC236}">
                    <a16:creationId xmlns:a16="http://schemas.microsoft.com/office/drawing/2014/main" id="{99FA9346-D630-42F0-9179-A32ED4D2E7BC}"/>
                  </a:ext>
                </a:extLst>
              </p:cNvPr>
              <p:cNvSpPr/>
              <p:nvPr/>
            </p:nvSpPr>
            <p:spPr>
              <a:xfrm>
                <a:off x="-28462125" y="3199700"/>
                <a:ext cx="295400" cy="125275"/>
              </a:xfrm>
              <a:custGeom>
                <a:avLst/>
                <a:gdLst/>
                <a:ahLst/>
                <a:cxnLst/>
                <a:rect l="l" t="t" r="r" b="b"/>
                <a:pathLst>
                  <a:path w="11816" h="5011" extrusionOk="0">
                    <a:moveTo>
                      <a:pt x="3151" y="1"/>
                    </a:moveTo>
                    <a:cubicBezTo>
                      <a:pt x="1387" y="1"/>
                      <a:pt x="1" y="1419"/>
                      <a:pt x="1" y="3277"/>
                    </a:cubicBezTo>
                    <a:cubicBezTo>
                      <a:pt x="1" y="3876"/>
                      <a:pt x="158" y="4349"/>
                      <a:pt x="442" y="4821"/>
                    </a:cubicBezTo>
                    <a:lnTo>
                      <a:pt x="3655" y="4821"/>
                    </a:lnTo>
                    <a:lnTo>
                      <a:pt x="4285" y="3340"/>
                    </a:lnTo>
                    <a:cubicBezTo>
                      <a:pt x="4443" y="2994"/>
                      <a:pt x="4821" y="2773"/>
                      <a:pt x="5199" y="2710"/>
                    </a:cubicBezTo>
                    <a:cubicBezTo>
                      <a:pt x="5672" y="2710"/>
                      <a:pt x="6018" y="2994"/>
                      <a:pt x="6176" y="3403"/>
                    </a:cubicBezTo>
                    <a:lnTo>
                      <a:pt x="6806" y="5010"/>
                    </a:lnTo>
                    <a:cubicBezTo>
                      <a:pt x="6963" y="4884"/>
                      <a:pt x="7215" y="4821"/>
                      <a:pt x="7404" y="4821"/>
                    </a:cubicBezTo>
                    <a:lnTo>
                      <a:pt x="11374" y="4821"/>
                    </a:lnTo>
                    <a:cubicBezTo>
                      <a:pt x="11626" y="4349"/>
                      <a:pt x="11815" y="3813"/>
                      <a:pt x="11815" y="3277"/>
                    </a:cubicBezTo>
                    <a:cubicBezTo>
                      <a:pt x="11815" y="1419"/>
                      <a:pt x="10429" y="1"/>
                      <a:pt x="8665" y="1"/>
                    </a:cubicBezTo>
                    <a:cubicBezTo>
                      <a:pt x="7247" y="1"/>
                      <a:pt x="6396" y="977"/>
                      <a:pt x="5924" y="1860"/>
                    </a:cubicBezTo>
                    <a:cubicBezTo>
                      <a:pt x="5451" y="977"/>
                      <a:pt x="4537" y="1"/>
                      <a:pt x="3151" y="1"/>
                    </a:cubicBezTo>
                    <a:close/>
                  </a:path>
                </a:pathLst>
              </a:custGeom>
              <a:solidFill>
                <a:schemeClr val="accent1">
                  <a:lumMod val="100000"/>
                </a:schemeClr>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70" name="Google Shape;642;p23">
                <a:extLst>
                  <a:ext uri="{FF2B5EF4-FFF2-40B4-BE49-F238E27FC236}">
                    <a16:creationId xmlns:a16="http://schemas.microsoft.com/office/drawing/2014/main" id="{FCB85BF4-F06B-4C29-8C81-B2CEC95F9831}"/>
                  </a:ext>
                </a:extLst>
              </p:cNvPr>
              <p:cNvSpPr/>
              <p:nvPr/>
            </p:nvSpPr>
            <p:spPr>
              <a:xfrm>
                <a:off x="-28405400" y="3360375"/>
                <a:ext cx="186675" cy="98475"/>
              </a:xfrm>
              <a:custGeom>
                <a:avLst/>
                <a:gdLst/>
                <a:ahLst/>
                <a:cxnLst/>
                <a:rect l="l" t="t" r="r" b="b"/>
                <a:pathLst>
                  <a:path w="7467" h="3939" extrusionOk="0">
                    <a:moveTo>
                      <a:pt x="2962" y="1"/>
                    </a:moveTo>
                    <a:cubicBezTo>
                      <a:pt x="2773" y="284"/>
                      <a:pt x="2458" y="442"/>
                      <a:pt x="2111" y="442"/>
                    </a:cubicBezTo>
                    <a:lnTo>
                      <a:pt x="0" y="442"/>
                    </a:lnTo>
                    <a:cubicBezTo>
                      <a:pt x="158" y="599"/>
                      <a:pt x="347" y="757"/>
                      <a:pt x="536" y="914"/>
                    </a:cubicBezTo>
                    <a:cubicBezTo>
                      <a:pt x="1449" y="1734"/>
                      <a:pt x="2426" y="2647"/>
                      <a:pt x="3434" y="3813"/>
                    </a:cubicBezTo>
                    <a:cubicBezTo>
                      <a:pt x="3529" y="3907"/>
                      <a:pt x="3592" y="3939"/>
                      <a:pt x="3718" y="3939"/>
                    </a:cubicBezTo>
                    <a:cubicBezTo>
                      <a:pt x="3844" y="3939"/>
                      <a:pt x="3907" y="3907"/>
                      <a:pt x="4001" y="3813"/>
                    </a:cubicBezTo>
                    <a:cubicBezTo>
                      <a:pt x="4978" y="2584"/>
                      <a:pt x="6018" y="1734"/>
                      <a:pt x="6900" y="914"/>
                    </a:cubicBezTo>
                    <a:cubicBezTo>
                      <a:pt x="7120" y="757"/>
                      <a:pt x="7278" y="599"/>
                      <a:pt x="7467" y="442"/>
                    </a:cubicBezTo>
                    <a:lnTo>
                      <a:pt x="5860" y="442"/>
                    </a:lnTo>
                    <a:lnTo>
                      <a:pt x="5293" y="1324"/>
                    </a:lnTo>
                    <a:cubicBezTo>
                      <a:pt x="5104" y="1639"/>
                      <a:pt x="4789" y="1860"/>
                      <a:pt x="4379" y="1860"/>
                    </a:cubicBezTo>
                    <a:lnTo>
                      <a:pt x="4316" y="1860"/>
                    </a:lnTo>
                    <a:cubicBezTo>
                      <a:pt x="3907" y="1797"/>
                      <a:pt x="3592" y="1576"/>
                      <a:pt x="3434" y="1167"/>
                    </a:cubicBezTo>
                    <a:lnTo>
                      <a:pt x="2962" y="1"/>
                    </a:lnTo>
                    <a:close/>
                  </a:path>
                </a:pathLst>
              </a:custGeom>
              <a:solidFill>
                <a:schemeClr val="accent1">
                  <a:lumMod val="100000"/>
                </a:schemeClr>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grpSp>
        <p:sp>
          <p:nvSpPr>
            <p:cNvPr id="61" name="Google Shape;643;p23">
              <a:extLst>
                <a:ext uri="{FF2B5EF4-FFF2-40B4-BE49-F238E27FC236}">
                  <a16:creationId xmlns:a16="http://schemas.microsoft.com/office/drawing/2014/main" id="{1CDC2D11-E2B2-48E0-B26D-89EAD1DF4FA1}"/>
                </a:ext>
              </a:extLst>
            </p:cNvPr>
            <p:cNvSpPr txBox="1"/>
            <p:nvPr/>
          </p:nvSpPr>
          <p:spPr>
            <a:xfrm>
              <a:off x="1499300" y="1913097"/>
              <a:ext cx="759000" cy="205500"/>
            </a:xfrm>
            <a:prstGeom prst="rect">
              <a:avLst/>
            </a:prstGeom>
            <a:no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 sz="1467" b="0" i="0" u="none" strike="noStrike" kern="1200" cap="none" spc="0" normalizeH="0" baseline="0" noProof="0">
                  <a:ln>
                    <a:noFill/>
                  </a:ln>
                  <a:solidFill>
                    <a:srgbClr val="434343"/>
                  </a:solidFill>
                  <a:effectLst/>
                  <a:uLnTx/>
                  <a:uFillTx/>
                  <a:latin typeface="Arial"/>
                  <a:ea typeface="+mn-ea"/>
                  <a:cs typeface="+mn-ea"/>
                  <a:sym typeface="+mn-lt"/>
                </a:rPr>
                <a:t>Saturn</a:t>
              </a:r>
              <a:endParaRPr kumimoji="0" sz="1467" b="0" i="0" u="none" strike="noStrike" kern="1200" cap="none" spc="0" normalizeH="0" baseline="0" noProof="0">
                <a:ln>
                  <a:noFill/>
                </a:ln>
                <a:solidFill>
                  <a:srgbClr val="434343"/>
                </a:solidFill>
                <a:effectLst/>
                <a:uLnTx/>
                <a:uFillTx/>
                <a:latin typeface="Arial"/>
                <a:ea typeface="+mn-ea"/>
                <a:cs typeface="+mn-ea"/>
                <a:sym typeface="+mn-lt"/>
              </a:endParaRPr>
            </a:p>
          </p:txBody>
        </p:sp>
        <p:sp>
          <p:nvSpPr>
            <p:cNvPr id="62" name="Google Shape;644;p23">
              <a:extLst>
                <a:ext uri="{FF2B5EF4-FFF2-40B4-BE49-F238E27FC236}">
                  <a16:creationId xmlns:a16="http://schemas.microsoft.com/office/drawing/2014/main" id="{28885B5E-9470-42B4-BBB5-3A203B7615D8}"/>
                </a:ext>
              </a:extLst>
            </p:cNvPr>
            <p:cNvSpPr txBox="1"/>
            <p:nvPr/>
          </p:nvSpPr>
          <p:spPr>
            <a:xfrm>
              <a:off x="1683550" y="2263647"/>
              <a:ext cx="759000" cy="205500"/>
            </a:xfrm>
            <a:prstGeom prst="rect">
              <a:avLst/>
            </a:prstGeom>
            <a:no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 sz="1467" b="0" i="0" u="none" strike="noStrike" kern="1200" cap="none" spc="0" normalizeH="0" baseline="0" noProof="0">
                  <a:ln>
                    <a:noFill/>
                  </a:ln>
                  <a:solidFill>
                    <a:srgbClr val="434343"/>
                  </a:solidFill>
                  <a:effectLst/>
                  <a:uLnTx/>
                  <a:uFillTx/>
                  <a:latin typeface="Arial"/>
                  <a:ea typeface="+mn-ea"/>
                  <a:cs typeface="+mn-ea"/>
                  <a:sym typeface="+mn-lt"/>
                </a:rPr>
                <a:t>Earth</a:t>
              </a:r>
              <a:endParaRPr kumimoji="0" sz="1467" b="0" i="0" u="none" strike="noStrike" kern="1200" cap="none" spc="0" normalizeH="0" baseline="0" noProof="0">
                <a:ln>
                  <a:noFill/>
                </a:ln>
                <a:solidFill>
                  <a:srgbClr val="434343"/>
                </a:solidFill>
                <a:effectLst/>
                <a:uLnTx/>
                <a:uFillTx/>
                <a:latin typeface="Arial"/>
                <a:ea typeface="+mn-ea"/>
                <a:cs typeface="+mn-ea"/>
                <a:sym typeface="+mn-lt"/>
              </a:endParaRPr>
            </a:p>
          </p:txBody>
        </p:sp>
        <p:sp>
          <p:nvSpPr>
            <p:cNvPr id="63" name="Google Shape;645;p23">
              <a:extLst>
                <a:ext uri="{FF2B5EF4-FFF2-40B4-BE49-F238E27FC236}">
                  <a16:creationId xmlns:a16="http://schemas.microsoft.com/office/drawing/2014/main" id="{8FF50FFE-B88E-4EE4-B6E9-9B020713CA53}"/>
                </a:ext>
              </a:extLst>
            </p:cNvPr>
            <p:cNvSpPr txBox="1"/>
            <p:nvPr/>
          </p:nvSpPr>
          <p:spPr>
            <a:xfrm>
              <a:off x="1861125" y="2614197"/>
              <a:ext cx="759000" cy="205500"/>
            </a:xfrm>
            <a:prstGeom prst="rect">
              <a:avLst/>
            </a:prstGeom>
            <a:no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 sz="1467" b="0" i="0" u="none" strike="noStrike" kern="1200" cap="none" spc="0" normalizeH="0" baseline="0" noProof="0">
                  <a:ln>
                    <a:noFill/>
                  </a:ln>
                  <a:solidFill>
                    <a:srgbClr val="434343"/>
                  </a:solidFill>
                  <a:effectLst/>
                  <a:uLnTx/>
                  <a:uFillTx/>
                  <a:latin typeface="Arial"/>
                  <a:ea typeface="+mn-ea"/>
                  <a:cs typeface="+mn-ea"/>
                  <a:sym typeface="+mn-lt"/>
                </a:rPr>
                <a:t>Mars</a:t>
              </a:r>
              <a:endParaRPr kumimoji="0" sz="1467" b="0" i="0" u="none" strike="noStrike" kern="1200" cap="none" spc="0" normalizeH="0" baseline="0" noProof="0">
                <a:ln>
                  <a:noFill/>
                </a:ln>
                <a:solidFill>
                  <a:srgbClr val="434343"/>
                </a:solidFill>
                <a:effectLst/>
                <a:uLnTx/>
                <a:uFillTx/>
                <a:latin typeface="Arial"/>
                <a:ea typeface="+mn-ea"/>
                <a:cs typeface="+mn-ea"/>
                <a:sym typeface="+mn-lt"/>
              </a:endParaRPr>
            </a:p>
          </p:txBody>
        </p:sp>
        <p:sp>
          <p:nvSpPr>
            <p:cNvPr id="64" name="Google Shape;646;p23">
              <a:extLst>
                <a:ext uri="{FF2B5EF4-FFF2-40B4-BE49-F238E27FC236}">
                  <a16:creationId xmlns:a16="http://schemas.microsoft.com/office/drawing/2014/main" id="{BCBACA7E-E86F-4330-B87B-F5D8CE234A00}"/>
                </a:ext>
              </a:extLst>
            </p:cNvPr>
            <p:cNvSpPr/>
            <p:nvPr/>
          </p:nvSpPr>
          <p:spPr>
            <a:xfrm>
              <a:off x="2855425" y="2016113"/>
              <a:ext cx="600400" cy="2085975"/>
            </a:xfrm>
            <a:custGeom>
              <a:avLst/>
              <a:gdLst/>
              <a:ahLst/>
              <a:cxnLst/>
              <a:rect l="l" t="t" r="r" b="b"/>
              <a:pathLst>
                <a:path w="24016" h="83439" extrusionOk="0">
                  <a:moveTo>
                    <a:pt x="560" y="0"/>
                  </a:moveTo>
                  <a:lnTo>
                    <a:pt x="0" y="322"/>
                  </a:lnTo>
                  <a:lnTo>
                    <a:pt x="23277" y="41720"/>
                  </a:lnTo>
                  <a:lnTo>
                    <a:pt x="0" y="83129"/>
                  </a:lnTo>
                  <a:lnTo>
                    <a:pt x="560" y="83439"/>
                  </a:lnTo>
                  <a:lnTo>
                    <a:pt x="23932" y="41874"/>
                  </a:lnTo>
                  <a:lnTo>
                    <a:pt x="24015" y="41720"/>
                  </a:lnTo>
                  <a:lnTo>
                    <a:pt x="560" y="0"/>
                  </a:lnTo>
                  <a:close/>
                </a:path>
              </a:pathLst>
            </a:custGeom>
            <a:solidFill>
              <a:srgbClr val="869FB2"/>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65" name="Google Shape;647;p23">
              <a:extLst>
                <a:ext uri="{FF2B5EF4-FFF2-40B4-BE49-F238E27FC236}">
                  <a16:creationId xmlns:a16="http://schemas.microsoft.com/office/drawing/2014/main" id="{5EF1F197-CD4A-47E9-9C4C-267A2F79609E}"/>
                </a:ext>
              </a:extLst>
            </p:cNvPr>
            <p:cNvSpPr txBox="1"/>
            <p:nvPr/>
          </p:nvSpPr>
          <p:spPr>
            <a:xfrm>
              <a:off x="1861125" y="3078322"/>
              <a:ext cx="759000" cy="205500"/>
            </a:xfrm>
            <a:prstGeom prst="rect">
              <a:avLst/>
            </a:prstGeom>
            <a:no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 sz="1467" b="0" i="0" u="none" strike="noStrike" kern="1200" cap="none" spc="0" normalizeH="0" baseline="0" noProof="0">
                  <a:ln>
                    <a:noFill/>
                  </a:ln>
                  <a:solidFill>
                    <a:srgbClr val="434343"/>
                  </a:solidFill>
                  <a:effectLst/>
                  <a:uLnTx/>
                  <a:uFillTx/>
                  <a:latin typeface="Arial"/>
                  <a:ea typeface="+mn-ea"/>
                  <a:cs typeface="+mn-ea"/>
                  <a:sym typeface="+mn-lt"/>
                </a:rPr>
                <a:t>Mercury</a:t>
              </a:r>
              <a:endParaRPr kumimoji="0" sz="1467" b="0" i="0" u="none" strike="noStrike" kern="1200" cap="none" spc="0" normalizeH="0" baseline="0" noProof="0">
                <a:ln>
                  <a:noFill/>
                </a:ln>
                <a:solidFill>
                  <a:srgbClr val="434343"/>
                </a:solidFill>
                <a:effectLst/>
                <a:uLnTx/>
                <a:uFillTx/>
                <a:latin typeface="Arial"/>
                <a:ea typeface="+mn-ea"/>
                <a:cs typeface="+mn-ea"/>
                <a:sym typeface="+mn-lt"/>
              </a:endParaRPr>
            </a:p>
          </p:txBody>
        </p:sp>
        <p:sp>
          <p:nvSpPr>
            <p:cNvPr id="66" name="Google Shape;648;p23">
              <a:extLst>
                <a:ext uri="{FF2B5EF4-FFF2-40B4-BE49-F238E27FC236}">
                  <a16:creationId xmlns:a16="http://schemas.microsoft.com/office/drawing/2014/main" id="{17F35D54-B9F5-46B5-A64C-11D42D0E13AA}"/>
                </a:ext>
              </a:extLst>
            </p:cNvPr>
            <p:cNvSpPr txBox="1"/>
            <p:nvPr/>
          </p:nvSpPr>
          <p:spPr>
            <a:xfrm>
              <a:off x="1683550" y="3427485"/>
              <a:ext cx="759000" cy="205500"/>
            </a:xfrm>
            <a:prstGeom prst="rect">
              <a:avLst/>
            </a:prstGeom>
            <a:no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 sz="1467" b="0" i="0" u="none" strike="noStrike" kern="1200" cap="none" spc="0" normalizeH="0" baseline="0" noProof="0">
                  <a:ln>
                    <a:noFill/>
                  </a:ln>
                  <a:solidFill>
                    <a:srgbClr val="434343"/>
                  </a:solidFill>
                  <a:effectLst/>
                  <a:uLnTx/>
                  <a:uFillTx/>
                  <a:latin typeface="Arial"/>
                  <a:ea typeface="+mn-ea"/>
                  <a:cs typeface="+mn-ea"/>
                  <a:sym typeface="+mn-lt"/>
                </a:rPr>
                <a:t>Leda</a:t>
              </a:r>
              <a:endParaRPr kumimoji="0" sz="1467" b="0" i="0" u="none" strike="noStrike" kern="1200" cap="none" spc="0" normalizeH="0" baseline="0" noProof="0">
                <a:ln>
                  <a:noFill/>
                </a:ln>
                <a:solidFill>
                  <a:srgbClr val="434343"/>
                </a:solidFill>
                <a:effectLst/>
                <a:uLnTx/>
                <a:uFillTx/>
                <a:latin typeface="Arial"/>
                <a:ea typeface="+mn-ea"/>
                <a:cs typeface="+mn-ea"/>
                <a:sym typeface="+mn-lt"/>
              </a:endParaRPr>
            </a:p>
          </p:txBody>
        </p:sp>
        <p:sp>
          <p:nvSpPr>
            <p:cNvPr id="67" name="Google Shape;649;p23">
              <a:extLst>
                <a:ext uri="{FF2B5EF4-FFF2-40B4-BE49-F238E27FC236}">
                  <a16:creationId xmlns:a16="http://schemas.microsoft.com/office/drawing/2014/main" id="{877816C9-BE15-46FF-AE42-7E3CDE7916BA}"/>
                </a:ext>
              </a:extLst>
            </p:cNvPr>
            <p:cNvSpPr txBox="1"/>
            <p:nvPr/>
          </p:nvSpPr>
          <p:spPr>
            <a:xfrm>
              <a:off x="1499300" y="3776622"/>
              <a:ext cx="759000" cy="205500"/>
            </a:xfrm>
            <a:prstGeom prst="rect">
              <a:avLst/>
            </a:prstGeom>
            <a:no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 sz="1467" b="0" i="0" u="none" strike="noStrike" kern="1200" cap="none" spc="0" normalizeH="0" baseline="0" noProof="0">
                  <a:ln>
                    <a:noFill/>
                  </a:ln>
                  <a:solidFill>
                    <a:srgbClr val="434343"/>
                  </a:solidFill>
                  <a:effectLst/>
                  <a:uLnTx/>
                  <a:uFillTx/>
                  <a:latin typeface="Arial"/>
                  <a:ea typeface="+mn-ea"/>
                  <a:cs typeface="+mn-ea"/>
                  <a:sym typeface="+mn-lt"/>
                </a:rPr>
                <a:t>Metis</a:t>
              </a:r>
              <a:endParaRPr kumimoji="0" sz="1467" b="0" i="0" u="none" strike="noStrike" kern="1200" cap="none" spc="0" normalizeH="0" baseline="0" noProof="0">
                <a:ln>
                  <a:noFill/>
                </a:ln>
                <a:solidFill>
                  <a:srgbClr val="434343"/>
                </a:solidFill>
                <a:effectLst/>
                <a:uLnTx/>
                <a:uFillTx/>
                <a:latin typeface="Arial"/>
                <a:ea typeface="+mn-ea"/>
                <a:cs typeface="+mn-ea"/>
                <a:sym typeface="+mn-lt"/>
              </a:endParaRPr>
            </a:p>
          </p:txBody>
        </p:sp>
      </p:grpSp>
      <p:grpSp>
        <p:nvGrpSpPr>
          <p:cNvPr id="71" name="Google Shape;650;p23">
            <a:extLst>
              <a:ext uri="{FF2B5EF4-FFF2-40B4-BE49-F238E27FC236}">
                <a16:creationId xmlns:a16="http://schemas.microsoft.com/office/drawing/2014/main" id="{4F930D6F-EE2C-4194-85CC-C266C6B46156}"/>
              </a:ext>
            </a:extLst>
          </p:cNvPr>
          <p:cNvGrpSpPr/>
          <p:nvPr/>
        </p:nvGrpSpPr>
        <p:grpSpPr>
          <a:xfrm>
            <a:off x="8793790" y="2264853"/>
            <a:ext cx="1683280" cy="2570563"/>
            <a:chOff x="6717800" y="2192613"/>
            <a:chExt cx="1135000" cy="1733275"/>
          </a:xfrm>
        </p:grpSpPr>
        <p:sp>
          <p:nvSpPr>
            <p:cNvPr id="72" name="Google Shape;651;p23">
              <a:extLst>
                <a:ext uri="{FF2B5EF4-FFF2-40B4-BE49-F238E27FC236}">
                  <a16:creationId xmlns:a16="http://schemas.microsoft.com/office/drawing/2014/main" id="{2A2EC559-0A6A-452E-B73C-9301B0B1BC2E}"/>
                </a:ext>
              </a:extLst>
            </p:cNvPr>
            <p:cNvSpPr/>
            <p:nvPr/>
          </p:nvSpPr>
          <p:spPr>
            <a:xfrm>
              <a:off x="6717800" y="2192613"/>
              <a:ext cx="1135000" cy="1733275"/>
            </a:xfrm>
            <a:custGeom>
              <a:avLst/>
              <a:gdLst/>
              <a:ahLst/>
              <a:cxnLst/>
              <a:rect l="l" t="t" r="r" b="b"/>
              <a:pathLst>
                <a:path w="45400" h="69331" extrusionOk="0">
                  <a:moveTo>
                    <a:pt x="1" y="1"/>
                  </a:moveTo>
                  <a:lnTo>
                    <a:pt x="15800" y="34660"/>
                  </a:lnTo>
                  <a:lnTo>
                    <a:pt x="1" y="69330"/>
                  </a:lnTo>
                  <a:lnTo>
                    <a:pt x="2454" y="68688"/>
                  </a:lnTo>
                  <a:cubicBezTo>
                    <a:pt x="21420" y="63711"/>
                    <a:pt x="37077" y="51328"/>
                    <a:pt x="45328" y="34814"/>
                  </a:cubicBezTo>
                  <a:lnTo>
                    <a:pt x="45399" y="34660"/>
                  </a:lnTo>
                  <a:lnTo>
                    <a:pt x="45328" y="34517"/>
                  </a:lnTo>
                  <a:cubicBezTo>
                    <a:pt x="37077" y="17991"/>
                    <a:pt x="21420" y="5620"/>
                    <a:pt x="2454" y="643"/>
                  </a:cubicBezTo>
                  <a:lnTo>
                    <a:pt x="1" y="1"/>
                  </a:lnTo>
                  <a:close/>
                </a:path>
              </a:pathLst>
            </a:custGeom>
            <a:solidFill>
              <a:srgbClr val="869FB2"/>
            </a:solidFill>
            <a:ln>
              <a:noFill/>
            </a:ln>
          </p:spPr>
          <p:txBody>
            <a:bodyPr spcFirstLastPara="1" wrap="square" lIns="121900" tIns="121900" rIns="121900" bIns="121900" anchor="ctr"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1100"/>
                <a:buFontTx/>
                <a:buNone/>
                <a:tabLst/>
                <a:defRPr/>
              </a:pPr>
              <a:endParaRPr kumimoji="0" sz="2489" b="0" i="0" u="none" strike="noStrike" kern="1200" cap="none" spc="0" normalizeH="0" baseline="0" noProof="0">
                <a:ln>
                  <a:noFill/>
                </a:ln>
                <a:solidFill>
                  <a:srgbClr val="FFFFFF"/>
                </a:solidFill>
                <a:effectLst/>
                <a:uLnTx/>
                <a:uFillTx/>
                <a:latin typeface="Arial"/>
                <a:ea typeface="+mn-ea"/>
                <a:cs typeface="+mn-ea"/>
                <a:sym typeface="+mn-lt"/>
              </a:endParaRPr>
            </a:p>
          </p:txBody>
        </p:sp>
        <p:sp>
          <p:nvSpPr>
            <p:cNvPr id="73" name="Google Shape;652;p23">
              <a:extLst>
                <a:ext uri="{FF2B5EF4-FFF2-40B4-BE49-F238E27FC236}">
                  <a16:creationId xmlns:a16="http://schemas.microsoft.com/office/drawing/2014/main" id="{6BCCDD7D-35B4-498E-9BF0-CF2EA2D2D5E8}"/>
                </a:ext>
              </a:extLst>
            </p:cNvPr>
            <p:cNvSpPr txBox="1"/>
            <p:nvPr/>
          </p:nvSpPr>
          <p:spPr>
            <a:xfrm>
              <a:off x="7057800" y="2821856"/>
              <a:ext cx="795000" cy="337800"/>
            </a:xfrm>
            <a:prstGeom prst="rect">
              <a:avLst/>
            </a:prstGeom>
            <a:noFill/>
            <a:ln>
              <a:noFill/>
            </a:ln>
          </p:spPr>
          <p:txBody>
            <a:bodyPr spcFirstLastPara="1" wrap="square" lIns="121900" tIns="121900" rIns="121900" bIns="1219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2267" b="0" i="0" u="none" strike="noStrike" kern="1200" cap="none" spc="0" normalizeH="0" baseline="0" noProof="0">
                  <a:ln>
                    <a:noFill/>
                  </a:ln>
                  <a:solidFill>
                    <a:srgbClr val="FFFFFF"/>
                  </a:solidFill>
                  <a:effectLst/>
                  <a:uLnTx/>
                  <a:uFillTx/>
                  <a:latin typeface="Arial"/>
                  <a:ea typeface="+mn-ea"/>
                  <a:cs typeface="+mn-ea"/>
                  <a:sym typeface="+mn-lt"/>
                </a:rPr>
                <a:t>Pluto</a:t>
              </a:r>
              <a:endParaRPr kumimoji="0" sz="2267" b="0" i="0" u="none" strike="noStrike" kern="1200" cap="none" spc="0" normalizeH="0" baseline="0" noProof="0">
                <a:ln>
                  <a:noFill/>
                </a:ln>
                <a:solidFill>
                  <a:srgbClr val="FFFFFF"/>
                </a:solidFill>
                <a:effectLst/>
                <a:uLnTx/>
                <a:uFillTx/>
                <a:latin typeface="Arial"/>
                <a:ea typeface="+mn-ea"/>
                <a:cs typeface="+mn-ea"/>
                <a:sym typeface="+mn-lt"/>
              </a:endParaRPr>
            </a:p>
          </p:txBody>
        </p:sp>
      </p:grpSp>
    </p:spTree>
    <p:extLst>
      <p:ext uri="{BB962C8B-B14F-4D97-AF65-F5344CB8AC3E}">
        <p14:creationId xmlns:p14="http://schemas.microsoft.com/office/powerpoint/2010/main" val="3222630884"/>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7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Google Shape;657;p24">
            <a:extLst>
              <a:ext uri="{FF2B5EF4-FFF2-40B4-BE49-F238E27FC236}">
                <a16:creationId xmlns:a16="http://schemas.microsoft.com/office/drawing/2014/main" id="{FA993C6B-2681-4F98-89F0-EC86BB3CC17A}"/>
              </a:ext>
            </a:extLst>
          </p:cNvPr>
          <p:cNvSpPr/>
          <p:nvPr/>
        </p:nvSpPr>
        <p:spPr>
          <a:xfrm>
            <a:off x="8988398" y="2998215"/>
            <a:ext cx="1760400" cy="861600"/>
          </a:xfrm>
          <a:prstGeom prst="roundRect">
            <a:avLst>
              <a:gd name="adj" fmla="val 14879"/>
            </a:avLst>
          </a:prstGeom>
          <a:solidFill>
            <a:schemeClr val="accent1">
              <a:lumMod val="100000"/>
            </a:schemeClr>
          </a:solidFill>
          <a:ln>
            <a:noFill/>
          </a:ln>
        </p:spPr>
        <p:txBody>
          <a:bodyPr spcFirstLastPara="1" wrap="square" lIns="121900" tIns="121900" rIns="121900" bIns="1219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2267" b="0" i="0" u="none" strike="noStrike" kern="1200" cap="none" spc="0" normalizeH="0" baseline="0" noProof="0">
                <a:ln>
                  <a:noFill/>
                </a:ln>
                <a:solidFill>
                  <a:srgbClr val="778495"/>
                </a:solidFill>
                <a:effectLst/>
                <a:uLnTx/>
                <a:uFillTx/>
                <a:latin typeface="Arial"/>
                <a:ea typeface="+mn-ea"/>
                <a:cs typeface="+mn-ea"/>
                <a:sym typeface="+mn-lt"/>
              </a:rPr>
              <a:t>Saturn</a:t>
            </a:r>
            <a:endParaRPr kumimoji="0" sz="2267" b="0" i="0" u="none" strike="noStrike" kern="1200" cap="none" spc="0" normalizeH="0" baseline="0" noProof="0">
              <a:ln>
                <a:noFill/>
              </a:ln>
              <a:solidFill>
                <a:srgbClr val="778495"/>
              </a:solidFill>
              <a:effectLst/>
              <a:uLnTx/>
              <a:uFillTx/>
              <a:latin typeface="Arial"/>
              <a:ea typeface="+mn-ea"/>
              <a:cs typeface="+mn-ea"/>
              <a:sym typeface="+mn-lt"/>
            </a:endParaRPr>
          </a:p>
        </p:txBody>
      </p:sp>
      <p:grpSp>
        <p:nvGrpSpPr>
          <p:cNvPr id="3" name="Google Shape;658;p24">
            <a:extLst>
              <a:ext uri="{FF2B5EF4-FFF2-40B4-BE49-F238E27FC236}">
                <a16:creationId xmlns:a16="http://schemas.microsoft.com/office/drawing/2014/main" id="{931941AC-CEE1-45DF-9F02-B7BDA335CA93}"/>
              </a:ext>
            </a:extLst>
          </p:cNvPr>
          <p:cNvGrpSpPr/>
          <p:nvPr/>
        </p:nvGrpSpPr>
        <p:grpSpPr>
          <a:xfrm>
            <a:off x="4152511" y="1603453"/>
            <a:ext cx="2007941" cy="3325257"/>
            <a:chOff x="3631086" y="1563324"/>
            <a:chExt cx="1505956" cy="2493943"/>
          </a:xfrm>
        </p:grpSpPr>
        <p:sp>
          <p:nvSpPr>
            <p:cNvPr id="4" name="Google Shape;659;p24">
              <a:extLst>
                <a:ext uri="{FF2B5EF4-FFF2-40B4-BE49-F238E27FC236}">
                  <a16:creationId xmlns:a16="http://schemas.microsoft.com/office/drawing/2014/main" id="{89DC84AD-FB7E-4FF2-80E0-69F02AFB9691}"/>
                </a:ext>
              </a:extLst>
            </p:cNvPr>
            <p:cNvSpPr/>
            <p:nvPr/>
          </p:nvSpPr>
          <p:spPr>
            <a:xfrm>
              <a:off x="3631086" y="1563324"/>
              <a:ext cx="887194" cy="245454"/>
            </a:xfrm>
            <a:custGeom>
              <a:avLst/>
              <a:gdLst/>
              <a:ahLst/>
              <a:cxnLst/>
              <a:rect l="l" t="t" r="r" b="b"/>
              <a:pathLst>
                <a:path w="40327" h="11157" extrusionOk="0">
                  <a:moveTo>
                    <a:pt x="5572" y="0"/>
                  </a:moveTo>
                  <a:cubicBezTo>
                    <a:pt x="2488" y="0"/>
                    <a:pt x="0" y="2501"/>
                    <a:pt x="0" y="5584"/>
                  </a:cubicBezTo>
                  <a:cubicBezTo>
                    <a:pt x="0" y="8668"/>
                    <a:pt x="2488" y="11157"/>
                    <a:pt x="5572" y="11157"/>
                  </a:cubicBezTo>
                  <a:lnTo>
                    <a:pt x="34743" y="11157"/>
                  </a:lnTo>
                  <a:cubicBezTo>
                    <a:pt x="37826" y="11157"/>
                    <a:pt x="40327" y="8668"/>
                    <a:pt x="40327" y="5584"/>
                  </a:cubicBezTo>
                  <a:cubicBezTo>
                    <a:pt x="40327" y="2501"/>
                    <a:pt x="37826" y="0"/>
                    <a:pt x="34743" y="0"/>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2489" b="0" i="0" u="none" strike="noStrike" kern="1200" cap="none" spc="0" normalizeH="0" baseline="0" noProof="0">
                  <a:ln>
                    <a:noFill/>
                  </a:ln>
                  <a:solidFill>
                    <a:srgbClr val="FFFFFF"/>
                  </a:solidFill>
                  <a:effectLst/>
                  <a:uLnTx/>
                  <a:uFillTx/>
                  <a:latin typeface="Arial"/>
                  <a:ea typeface="+mn-ea"/>
                  <a:cs typeface="+mn-ea"/>
                  <a:sym typeface="+mn-lt"/>
                </a:rPr>
                <a:t>Item 2</a:t>
              </a:r>
              <a:endParaRPr kumimoji="0" sz="2489" b="0" i="0" u="none" strike="noStrike" kern="1200" cap="none" spc="0" normalizeH="0" baseline="0" noProof="0">
                <a:ln>
                  <a:noFill/>
                </a:ln>
                <a:solidFill>
                  <a:srgbClr val="FFFFFF"/>
                </a:solidFill>
                <a:effectLst/>
                <a:uLnTx/>
                <a:uFillTx/>
                <a:latin typeface="Arial"/>
                <a:ea typeface="+mn-ea"/>
                <a:cs typeface="+mn-ea"/>
                <a:sym typeface="+mn-lt"/>
              </a:endParaRPr>
            </a:p>
          </p:txBody>
        </p:sp>
        <p:sp>
          <p:nvSpPr>
            <p:cNvPr id="5" name="Google Shape;660;p24">
              <a:extLst>
                <a:ext uri="{FF2B5EF4-FFF2-40B4-BE49-F238E27FC236}">
                  <a16:creationId xmlns:a16="http://schemas.microsoft.com/office/drawing/2014/main" id="{F2C4082B-12F7-44D9-AD0C-A29EF2B206A3}"/>
                </a:ext>
              </a:extLst>
            </p:cNvPr>
            <p:cNvSpPr/>
            <p:nvPr/>
          </p:nvSpPr>
          <p:spPr>
            <a:xfrm>
              <a:off x="3718009" y="2930911"/>
              <a:ext cx="1419033" cy="1126356"/>
            </a:xfrm>
            <a:custGeom>
              <a:avLst/>
              <a:gdLst/>
              <a:ahLst/>
              <a:cxnLst/>
              <a:rect l="l" t="t" r="r" b="b"/>
              <a:pathLst>
                <a:path w="55496" h="51198" extrusionOk="0">
                  <a:moveTo>
                    <a:pt x="11252" y="1"/>
                  </a:moveTo>
                  <a:lnTo>
                    <a:pt x="1" y="32279"/>
                  </a:lnTo>
                  <a:lnTo>
                    <a:pt x="37625" y="51198"/>
                  </a:lnTo>
                  <a:lnTo>
                    <a:pt x="55496" y="25"/>
                  </a:lnTo>
                  <a:lnTo>
                    <a:pt x="11252" y="1"/>
                  </a:ln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6" name="Google Shape;661;p24">
              <a:extLst>
                <a:ext uri="{FF2B5EF4-FFF2-40B4-BE49-F238E27FC236}">
                  <a16:creationId xmlns:a16="http://schemas.microsoft.com/office/drawing/2014/main" id="{9558DC37-5491-4717-97B7-37F944D15813}"/>
                </a:ext>
              </a:extLst>
            </p:cNvPr>
            <p:cNvSpPr txBox="1"/>
            <p:nvPr/>
          </p:nvSpPr>
          <p:spPr>
            <a:xfrm>
              <a:off x="3904689" y="2153000"/>
              <a:ext cx="887100" cy="534900"/>
            </a:xfrm>
            <a:prstGeom prst="rect">
              <a:avLst/>
            </a:prstGeom>
            <a:noFill/>
            <a:ln>
              <a:noFill/>
            </a:ln>
          </p:spPr>
          <p:txBody>
            <a:bodyPr spcFirstLastPara="1" wrap="square" lIns="121900" tIns="121900" rIns="121900" bIns="1219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1467" b="0" i="0" u="none" strike="noStrike" kern="1200" cap="none" spc="0" normalizeH="0" baseline="0" noProof="0">
                  <a:ln>
                    <a:noFill/>
                  </a:ln>
                  <a:solidFill>
                    <a:srgbClr val="434343"/>
                  </a:solidFill>
                  <a:effectLst/>
                  <a:uLnTx/>
                  <a:uFillTx/>
                  <a:latin typeface="Arial"/>
                  <a:ea typeface="+mn-ea"/>
                  <a:cs typeface="+mn-ea"/>
                  <a:sym typeface="+mn-lt"/>
                </a:rPr>
                <a:t>Despite being red, Mars is cold</a:t>
              </a:r>
              <a:endParaRPr kumimoji="0" sz="1467" b="0" i="0" u="none" strike="noStrike" kern="1200" cap="none" spc="0" normalizeH="0" baseline="0" noProof="0">
                <a:ln>
                  <a:noFill/>
                </a:ln>
                <a:solidFill>
                  <a:srgbClr val="434343"/>
                </a:solidFill>
                <a:effectLst/>
                <a:uLnTx/>
                <a:uFillTx/>
                <a:latin typeface="Arial"/>
                <a:ea typeface="+mn-ea"/>
                <a:cs typeface="+mn-ea"/>
                <a:sym typeface="+mn-lt"/>
              </a:endParaRPr>
            </a:p>
          </p:txBody>
        </p:sp>
        <p:grpSp>
          <p:nvGrpSpPr>
            <p:cNvPr id="7" name="Google Shape;662;p24">
              <a:extLst>
                <a:ext uri="{FF2B5EF4-FFF2-40B4-BE49-F238E27FC236}">
                  <a16:creationId xmlns:a16="http://schemas.microsoft.com/office/drawing/2014/main" id="{D3D9F0CC-ED87-47D9-88E1-EE5C8798F5F8}"/>
                </a:ext>
              </a:extLst>
            </p:cNvPr>
            <p:cNvGrpSpPr/>
            <p:nvPr/>
          </p:nvGrpSpPr>
          <p:grpSpPr>
            <a:xfrm>
              <a:off x="4162332" y="3254545"/>
              <a:ext cx="371814" cy="338690"/>
              <a:chOff x="-40745125" y="3632900"/>
              <a:chExt cx="318225" cy="289875"/>
            </a:xfrm>
          </p:grpSpPr>
          <p:sp>
            <p:nvSpPr>
              <p:cNvPr id="8" name="Google Shape;663;p24">
                <a:extLst>
                  <a:ext uri="{FF2B5EF4-FFF2-40B4-BE49-F238E27FC236}">
                    <a16:creationId xmlns:a16="http://schemas.microsoft.com/office/drawing/2014/main" id="{50701BE7-171C-4232-8674-CD9D93D4726D}"/>
                  </a:ext>
                </a:extLst>
              </p:cNvPr>
              <p:cNvSpPr/>
              <p:nvPr/>
            </p:nvSpPr>
            <p:spPr>
              <a:xfrm>
                <a:off x="-40745125" y="3632900"/>
                <a:ext cx="300125" cy="82725"/>
              </a:xfrm>
              <a:custGeom>
                <a:avLst/>
                <a:gdLst/>
                <a:ahLst/>
                <a:cxnLst/>
                <a:rect l="l" t="t" r="r" b="b"/>
                <a:pathLst>
                  <a:path w="12005" h="3309" extrusionOk="0">
                    <a:moveTo>
                      <a:pt x="1671" y="0"/>
                    </a:moveTo>
                    <a:cubicBezTo>
                      <a:pt x="757" y="0"/>
                      <a:pt x="1" y="757"/>
                      <a:pt x="1" y="1670"/>
                    </a:cubicBezTo>
                    <a:cubicBezTo>
                      <a:pt x="1" y="2552"/>
                      <a:pt x="757" y="3308"/>
                      <a:pt x="1671" y="3308"/>
                    </a:cubicBezTo>
                    <a:lnTo>
                      <a:pt x="11469" y="3308"/>
                    </a:lnTo>
                    <a:cubicBezTo>
                      <a:pt x="11815" y="3308"/>
                      <a:pt x="12004" y="2930"/>
                      <a:pt x="11784" y="2647"/>
                    </a:cubicBezTo>
                    <a:cubicBezTo>
                      <a:pt x="11595" y="2363"/>
                      <a:pt x="11469" y="2017"/>
                      <a:pt x="11469" y="1670"/>
                    </a:cubicBezTo>
                    <a:cubicBezTo>
                      <a:pt x="11469" y="1292"/>
                      <a:pt x="11595" y="946"/>
                      <a:pt x="11784" y="662"/>
                    </a:cubicBezTo>
                    <a:cubicBezTo>
                      <a:pt x="11973" y="410"/>
                      <a:pt x="11784" y="0"/>
                      <a:pt x="11469" y="0"/>
                    </a:cubicBezTo>
                    <a:close/>
                  </a:path>
                </a:pathLst>
              </a:custGeom>
              <a:solidFill>
                <a:schemeClr val="l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9" name="Google Shape;664;p24">
                <a:extLst>
                  <a:ext uri="{FF2B5EF4-FFF2-40B4-BE49-F238E27FC236}">
                    <a16:creationId xmlns:a16="http://schemas.microsoft.com/office/drawing/2014/main" id="{AAC1AAB8-C647-4B9A-87CD-45AFC579D550}"/>
                  </a:ext>
                </a:extLst>
              </p:cNvPr>
              <p:cNvSpPr/>
              <p:nvPr/>
            </p:nvSpPr>
            <p:spPr>
              <a:xfrm>
                <a:off x="-40508050" y="3736075"/>
                <a:ext cx="21300" cy="82725"/>
              </a:xfrm>
              <a:custGeom>
                <a:avLst/>
                <a:gdLst/>
                <a:ahLst/>
                <a:cxnLst/>
                <a:rect l="l" t="t" r="r" b="b"/>
                <a:pathLst>
                  <a:path w="852" h="3309" extrusionOk="0">
                    <a:moveTo>
                      <a:pt x="1" y="1"/>
                    </a:moveTo>
                    <a:lnTo>
                      <a:pt x="1" y="3309"/>
                    </a:lnTo>
                    <a:lnTo>
                      <a:pt x="852" y="3309"/>
                    </a:lnTo>
                    <a:lnTo>
                      <a:pt x="852" y="1"/>
                    </a:lnTo>
                    <a:close/>
                  </a:path>
                </a:pathLst>
              </a:custGeom>
              <a:solidFill>
                <a:schemeClr val="l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10" name="Google Shape;665;p24">
                <a:extLst>
                  <a:ext uri="{FF2B5EF4-FFF2-40B4-BE49-F238E27FC236}">
                    <a16:creationId xmlns:a16="http://schemas.microsoft.com/office/drawing/2014/main" id="{F3EF2914-D924-44F5-991E-8A863AE09776}"/>
                  </a:ext>
                </a:extLst>
              </p:cNvPr>
              <p:cNvSpPr/>
              <p:nvPr/>
            </p:nvSpPr>
            <p:spPr>
              <a:xfrm>
                <a:off x="-40466300" y="3736875"/>
                <a:ext cx="39400" cy="82725"/>
              </a:xfrm>
              <a:custGeom>
                <a:avLst/>
                <a:gdLst/>
                <a:ahLst/>
                <a:cxnLst/>
                <a:rect l="l" t="t" r="r" b="b"/>
                <a:pathLst>
                  <a:path w="1576" h="3309" extrusionOk="0">
                    <a:moveTo>
                      <a:pt x="1" y="0"/>
                    </a:moveTo>
                    <a:lnTo>
                      <a:pt x="1" y="3308"/>
                    </a:lnTo>
                    <a:lnTo>
                      <a:pt x="1198" y="3308"/>
                    </a:lnTo>
                    <a:cubicBezTo>
                      <a:pt x="1387" y="3277"/>
                      <a:pt x="1576" y="3088"/>
                      <a:pt x="1576" y="2899"/>
                    </a:cubicBezTo>
                    <a:lnTo>
                      <a:pt x="1576" y="410"/>
                    </a:lnTo>
                    <a:cubicBezTo>
                      <a:pt x="1576" y="158"/>
                      <a:pt x="1387" y="0"/>
                      <a:pt x="1198" y="0"/>
                    </a:cubicBezTo>
                    <a:close/>
                  </a:path>
                </a:pathLst>
              </a:custGeom>
              <a:solidFill>
                <a:schemeClr val="l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11" name="Google Shape;666;p24">
                <a:extLst>
                  <a:ext uri="{FF2B5EF4-FFF2-40B4-BE49-F238E27FC236}">
                    <a16:creationId xmlns:a16="http://schemas.microsoft.com/office/drawing/2014/main" id="{5F057DFF-2387-49CD-9B26-594D006F2B70}"/>
                  </a:ext>
                </a:extLst>
              </p:cNvPr>
              <p:cNvSpPr/>
              <p:nvPr/>
            </p:nvSpPr>
            <p:spPr>
              <a:xfrm>
                <a:off x="-40723050" y="3736075"/>
                <a:ext cx="194550" cy="82725"/>
              </a:xfrm>
              <a:custGeom>
                <a:avLst/>
                <a:gdLst/>
                <a:ahLst/>
                <a:cxnLst/>
                <a:rect l="l" t="t" r="r" b="b"/>
                <a:pathLst>
                  <a:path w="7782" h="3309" extrusionOk="0">
                    <a:moveTo>
                      <a:pt x="441" y="1"/>
                    </a:moveTo>
                    <a:cubicBezTo>
                      <a:pt x="189" y="1"/>
                      <a:pt x="0" y="221"/>
                      <a:pt x="0" y="442"/>
                    </a:cubicBezTo>
                    <a:lnTo>
                      <a:pt x="0" y="2931"/>
                    </a:lnTo>
                    <a:cubicBezTo>
                      <a:pt x="0" y="3151"/>
                      <a:pt x="189" y="3309"/>
                      <a:pt x="441" y="3309"/>
                    </a:cubicBezTo>
                    <a:lnTo>
                      <a:pt x="7782" y="3309"/>
                    </a:lnTo>
                    <a:lnTo>
                      <a:pt x="7782" y="1"/>
                    </a:lnTo>
                    <a:close/>
                  </a:path>
                </a:pathLst>
              </a:custGeom>
              <a:solidFill>
                <a:schemeClr val="l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12" name="Google Shape;667;p24">
                <a:extLst>
                  <a:ext uri="{FF2B5EF4-FFF2-40B4-BE49-F238E27FC236}">
                    <a16:creationId xmlns:a16="http://schemas.microsoft.com/office/drawing/2014/main" id="{CB38E088-E1DB-4EB1-A94E-876032B9CACC}"/>
                  </a:ext>
                </a:extLst>
              </p:cNvPr>
              <p:cNvSpPr/>
              <p:nvPr/>
            </p:nvSpPr>
            <p:spPr>
              <a:xfrm>
                <a:off x="-40681325" y="3839250"/>
                <a:ext cx="21300" cy="82725"/>
              </a:xfrm>
              <a:custGeom>
                <a:avLst/>
                <a:gdLst/>
                <a:ahLst/>
                <a:cxnLst/>
                <a:rect l="l" t="t" r="r" b="b"/>
                <a:pathLst>
                  <a:path w="852" h="3309" extrusionOk="0">
                    <a:moveTo>
                      <a:pt x="1" y="1"/>
                    </a:moveTo>
                    <a:lnTo>
                      <a:pt x="1" y="3309"/>
                    </a:lnTo>
                    <a:lnTo>
                      <a:pt x="851" y="3309"/>
                    </a:lnTo>
                    <a:lnTo>
                      <a:pt x="851" y="1"/>
                    </a:lnTo>
                    <a:close/>
                  </a:path>
                </a:pathLst>
              </a:custGeom>
              <a:solidFill>
                <a:schemeClr val="l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13" name="Google Shape;668;p24">
                <a:extLst>
                  <a:ext uri="{FF2B5EF4-FFF2-40B4-BE49-F238E27FC236}">
                    <a16:creationId xmlns:a16="http://schemas.microsoft.com/office/drawing/2014/main" id="{6BAF85C9-7A6B-4877-8D94-A0174F7F15E7}"/>
                  </a:ext>
                </a:extLst>
              </p:cNvPr>
              <p:cNvSpPr/>
              <p:nvPr/>
            </p:nvSpPr>
            <p:spPr>
              <a:xfrm>
                <a:off x="-40639575" y="3840825"/>
                <a:ext cx="190625" cy="81950"/>
              </a:xfrm>
              <a:custGeom>
                <a:avLst/>
                <a:gdLst/>
                <a:ahLst/>
                <a:cxnLst/>
                <a:rect l="l" t="t" r="r" b="b"/>
                <a:pathLst>
                  <a:path w="7625" h="3278" extrusionOk="0">
                    <a:moveTo>
                      <a:pt x="1" y="1"/>
                    </a:moveTo>
                    <a:lnTo>
                      <a:pt x="1" y="3277"/>
                    </a:lnTo>
                    <a:lnTo>
                      <a:pt x="7247" y="3277"/>
                    </a:lnTo>
                    <a:cubicBezTo>
                      <a:pt x="7467" y="3277"/>
                      <a:pt x="7625" y="3057"/>
                      <a:pt x="7625" y="2868"/>
                    </a:cubicBezTo>
                    <a:lnTo>
                      <a:pt x="7625" y="379"/>
                    </a:lnTo>
                    <a:cubicBezTo>
                      <a:pt x="7625" y="158"/>
                      <a:pt x="7436" y="1"/>
                      <a:pt x="7247" y="1"/>
                    </a:cubicBezTo>
                    <a:close/>
                  </a:path>
                </a:pathLst>
              </a:custGeom>
              <a:solidFill>
                <a:schemeClr val="l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14" name="Google Shape;669;p24">
                <a:extLst>
                  <a:ext uri="{FF2B5EF4-FFF2-40B4-BE49-F238E27FC236}">
                    <a16:creationId xmlns:a16="http://schemas.microsoft.com/office/drawing/2014/main" id="{2E427E72-4F51-4837-92AF-B1036B940CBE}"/>
                  </a:ext>
                </a:extLst>
              </p:cNvPr>
              <p:cNvSpPr/>
              <p:nvPr/>
            </p:nvSpPr>
            <p:spPr>
              <a:xfrm>
                <a:off x="-40745125" y="3840050"/>
                <a:ext cx="43350" cy="82725"/>
              </a:xfrm>
              <a:custGeom>
                <a:avLst/>
                <a:gdLst/>
                <a:ahLst/>
                <a:cxnLst/>
                <a:rect l="l" t="t" r="r" b="b"/>
                <a:pathLst>
                  <a:path w="1734" h="3309" extrusionOk="0">
                    <a:moveTo>
                      <a:pt x="442" y="0"/>
                    </a:moveTo>
                    <a:cubicBezTo>
                      <a:pt x="190" y="0"/>
                      <a:pt x="1" y="189"/>
                      <a:pt x="1" y="378"/>
                    </a:cubicBezTo>
                    <a:lnTo>
                      <a:pt x="1" y="2867"/>
                    </a:lnTo>
                    <a:cubicBezTo>
                      <a:pt x="1" y="3088"/>
                      <a:pt x="190" y="3308"/>
                      <a:pt x="442" y="3308"/>
                    </a:cubicBezTo>
                    <a:lnTo>
                      <a:pt x="1734" y="3308"/>
                    </a:lnTo>
                    <a:lnTo>
                      <a:pt x="1734" y="0"/>
                    </a:lnTo>
                    <a:close/>
                  </a:path>
                </a:pathLst>
              </a:custGeom>
              <a:solidFill>
                <a:schemeClr val="l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grpSp>
      </p:grpSp>
      <p:grpSp>
        <p:nvGrpSpPr>
          <p:cNvPr id="15" name="Google Shape;670;p24">
            <a:extLst>
              <a:ext uri="{FF2B5EF4-FFF2-40B4-BE49-F238E27FC236}">
                <a16:creationId xmlns:a16="http://schemas.microsoft.com/office/drawing/2014/main" id="{0F772D59-C599-4D3E-869C-72C01BA9C194}"/>
              </a:ext>
            </a:extLst>
          </p:cNvPr>
          <p:cNvGrpSpPr/>
          <p:nvPr/>
        </p:nvGrpSpPr>
        <p:grpSpPr>
          <a:xfrm>
            <a:off x="5540931" y="1175621"/>
            <a:ext cx="2119056" cy="4343335"/>
            <a:chOff x="4672400" y="1242450"/>
            <a:chExt cx="1589292" cy="3257501"/>
          </a:xfrm>
        </p:grpSpPr>
        <p:sp>
          <p:nvSpPr>
            <p:cNvPr id="16" name="Google Shape;671;p24">
              <a:extLst>
                <a:ext uri="{FF2B5EF4-FFF2-40B4-BE49-F238E27FC236}">
                  <a16:creationId xmlns:a16="http://schemas.microsoft.com/office/drawing/2014/main" id="{8CB2BC77-084A-4CBD-B2C0-E15BB82E31E2}"/>
                </a:ext>
              </a:extLst>
            </p:cNvPr>
            <p:cNvSpPr/>
            <p:nvPr/>
          </p:nvSpPr>
          <p:spPr>
            <a:xfrm>
              <a:off x="4672400" y="1242450"/>
              <a:ext cx="887458" cy="245454"/>
            </a:xfrm>
            <a:custGeom>
              <a:avLst/>
              <a:gdLst/>
              <a:ahLst/>
              <a:cxnLst/>
              <a:rect l="l" t="t" r="r" b="b"/>
              <a:pathLst>
                <a:path w="40339" h="11157" extrusionOk="0">
                  <a:moveTo>
                    <a:pt x="5584" y="0"/>
                  </a:moveTo>
                  <a:cubicBezTo>
                    <a:pt x="2501" y="0"/>
                    <a:pt x="0" y="2501"/>
                    <a:pt x="0" y="5584"/>
                  </a:cubicBezTo>
                  <a:cubicBezTo>
                    <a:pt x="0" y="8668"/>
                    <a:pt x="2501" y="11156"/>
                    <a:pt x="5584" y="11156"/>
                  </a:cubicBezTo>
                  <a:lnTo>
                    <a:pt x="34755" y="11156"/>
                  </a:lnTo>
                  <a:cubicBezTo>
                    <a:pt x="37838" y="11156"/>
                    <a:pt x="40339" y="8668"/>
                    <a:pt x="40339" y="5584"/>
                  </a:cubicBezTo>
                  <a:cubicBezTo>
                    <a:pt x="40339" y="2501"/>
                    <a:pt x="37838" y="0"/>
                    <a:pt x="34755" y="0"/>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2489" b="0" i="0" u="none" strike="noStrike" kern="1200" cap="none" spc="0" normalizeH="0" baseline="0" noProof="0">
                  <a:ln>
                    <a:noFill/>
                  </a:ln>
                  <a:solidFill>
                    <a:srgbClr val="FFFFFF"/>
                  </a:solidFill>
                  <a:effectLst/>
                  <a:uLnTx/>
                  <a:uFillTx/>
                  <a:latin typeface="Arial"/>
                  <a:ea typeface="+mn-ea"/>
                  <a:cs typeface="+mn-ea"/>
                  <a:sym typeface="+mn-lt"/>
                </a:rPr>
                <a:t>Item 3</a:t>
              </a:r>
              <a:endParaRPr kumimoji="0" sz="2489" b="0" i="0" u="none" strike="noStrike" kern="1200" cap="none" spc="0" normalizeH="0" baseline="0" noProof="0">
                <a:ln>
                  <a:noFill/>
                </a:ln>
                <a:solidFill>
                  <a:srgbClr val="FFFFFF"/>
                </a:solidFill>
                <a:effectLst/>
                <a:uLnTx/>
                <a:uFillTx/>
                <a:latin typeface="Arial"/>
                <a:ea typeface="+mn-ea"/>
                <a:cs typeface="+mn-ea"/>
                <a:sym typeface="+mn-lt"/>
              </a:endParaRPr>
            </a:p>
          </p:txBody>
        </p:sp>
        <p:sp>
          <p:nvSpPr>
            <p:cNvPr id="17" name="Google Shape;672;p24">
              <a:extLst>
                <a:ext uri="{FF2B5EF4-FFF2-40B4-BE49-F238E27FC236}">
                  <a16:creationId xmlns:a16="http://schemas.microsoft.com/office/drawing/2014/main" id="{E08C48DA-D2CE-4949-A0CB-5F654A78C9DC}"/>
                </a:ext>
              </a:extLst>
            </p:cNvPr>
            <p:cNvSpPr/>
            <p:nvPr/>
          </p:nvSpPr>
          <p:spPr>
            <a:xfrm>
              <a:off x="4680085" y="2931439"/>
              <a:ext cx="1581607" cy="1568512"/>
            </a:xfrm>
            <a:custGeom>
              <a:avLst/>
              <a:gdLst/>
              <a:ahLst/>
              <a:cxnLst/>
              <a:rect l="l" t="t" r="r" b="b"/>
              <a:pathLst>
                <a:path w="61854" h="71296" extrusionOk="0">
                  <a:moveTo>
                    <a:pt x="17872" y="1"/>
                  </a:moveTo>
                  <a:lnTo>
                    <a:pt x="1" y="51174"/>
                  </a:lnTo>
                  <a:lnTo>
                    <a:pt x="39196" y="71295"/>
                  </a:lnTo>
                  <a:lnTo>
                    <a:pt x="61854" y="1"/>
                  </a:ln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18" name="Google Shape;673;p24">
              <a:extLst>
                <a:ext uri="{FF2B5EF4-FFF2-40B4-BE49-F238E27FC236}">
                  <a16:creationId xmlns:a16="http://schemas.microsoft.com/office/drawing/2014/main" id="{5CF3E291-19DA-4FE1-B448-5A4DD1B2B6EE}"/>
                </a:ext>
              </a:extLst>
            </p:cNvPr>
            <p:cNvSpPr txBox="1"/>
            <p:nvPr/>
          </p:nvSpPr>
          <p:spPr>
            <a:xfrm>
              <a:off x="4954152" y="1848200"/>
              <a:ext cx="887100" cy="534900"/>
            </a:xfrm>
            <a:prstGeom prst="rect">
              <a:avLst/>
            </a:prstGeom>
            <a:noFill/>
            <a:ln>
              <a:noFill/>
            </a:ln>
          </p:spPr>
          <p:txBody>
            <a:bodyPr spcFirstLastPara="1" wrap="square" lIns="121900" tIns="121900" rIns="121900" bIns="1219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1600" b="0" i="0" u="none" strike="noStrike" kern="1200" cap="none" spc="0" normalizeH="0" baseline="0" noProof="0">
                  <a:ln>
                    <a:noFill/>
                  </a:ln>
                  <a:solidFill>
                    <a:srgbClr val="434343"/>
                  </a:solidFill>
                  <a:effectLst/>
                  <a:uLnTx/>
                  <a:uFillTx/>
                  <a:latin typeface="Arial"/>
                  <a:ea typeface="+mn-ea"/>
                  <a:cs typeface="+mn-ea"/>
                  <a:sym typeface="+mn-lt"/>
                </a:rPr>
                <a:t>Saturn is a gas giant and has rings</a:t>
              </a:r>
              <a:endParaRPr kumimoji="0" sz="1467" b="0" i="0" u="none" strike="noStrike" kern="1200" cap="none" spc="0" normalizeH="0" baseline="0" noProof="0">
                <a:ln>
                  <a:noFill/>
                </a:ln>
                <a:solidFill>
                  <a:srgbClr val="434343"/>
                </a:solidFill>
                <a:effectLst/>
                <a:uLnTx/>
                <a:uFillTx/>
                <a:latin typeface="Arial"/>
                <a:ea typeface="+mn-ea"/>
                <a:cs typeface="+mn-ea"/>
                <a:sym typeface="+mn-lt"/>
              </a:endParaRPr>
            </a:p>
          </p:txBody>
        </p:sp>
        <p:grpSp>
          <p:nvGrpSpPr>
            <p:cNvPr id="19" name="Google Shape;674;p24">
              <a:extLst>
                <a:ext uri="{FF2B5EF4-FFF2-40B4-BE49-F238E27FC236}">
                  <a16:creationId xmlns:a16="http://schemas.microsoft.com/office/drawing/2014/main" id="{2D268177-E01E-4E94-B852-3D476C4704B8}"/>
                </a:ext>
              </a:extLst>
            </p:cNvPr>
            <p:cNvGrpSpPr/>
            <p:nvPr/>
          </p:nvGrpSpPr>
          <p:grpSpPr>
            <a:xfrm>
              <a:off x="5212262" y="3483613"/>
              <a:ext cx="370879" cy="337755"/>
              <a:chOff x="-40378075" y="3267450"/>
              <a:chExt cx="317425" cy="289075"/>
            </a:xfrm>
          </p:grpSpPr>
          <p:sp>
            <p:nvSpPr>
              <p:cNvPr id="20" name="Google Shape;675;p24">
                <a:extLst>
                  <a:ext uri="{FF2B5EF4-FFF2-40B4-BE49-F238E27FC236}">
                    <a16:creationId xmlns:a16="http://schemas.microsoft.com/office/drawing/2014/main" id="{430682A9-633A-4CBE-B0B9-287D2761B0BF}"/>
                  </a:ext>
                </a:extLst>
              </p:cNvPr>
              <p:cNvSpPr/>
              <p:nvPr/>
            </p:nvSpPr>
            <p:spPr>
              <a:xfrm>
                <a:off x="-40218975" y="3308400"/>
                <a:ext cx="158325" cy="248125"/>
              </a:xfrm>
              <a:custGeom>
                <a:avLst/>
                <a:gdLst/>
                <a:ahLst/>
                <a:cxnLst/>
                <a:rect l="l" t="t" r="r" b="b"/>
                <a:pathLst>
                  <a:path w="6333" h="9925" extrusionOk="0">
                    <a:moveTo>
                      <a:pt x="4694" y="1"/>
                    </a:moveTo>
                    <a:lnTo>
                      <a:pt x="4694" y="7877"/>
                    </a:lnTo>
                    <a:cubicBezTo>
                      <a:pt x="4694" y="8097"/>
                      <a:pt x="4474" y="8255"/>
                      <a:pt x="4253" y="8255"/>
                    </a:cubicBezTo>
                    <a:cubicBezTo>
                      <a:pt x="2993" y="8255"/>
                      <a:pt x="1638" y="8696"/>
                      <a:pt x="693" y="9452"/>
                    </a:cubicBezTo>
                    <a:cubicBezTo>
                      <a:pt x="536" y="9546"/>
                      <a:pt x="189" y="9925"/>
                      <a:pt x="0" y="9925"/>
                    </a:cubicBezTo>
                    <a:lnTo>
                      <a:pt x="5073" y="9925"/>
                    </a:lnTo>
                    <a:cubicBezTo>
                      <a:pt x="5734" y="9925"/>
                      <a:pt x="6333" y="9357"/>
                      <a:pt x="6333" y="8696"/>
                    </a:cubicBezTo>
                    <a:lnTo>
                      <a:pt x="6333" y="1229"/>
                    </a:lnTo>
                    <a:cubicBezTo>
                      <a:pt x="6333" y="536"/>
                      <a:pt x="5766" y="1"/>
                      <a:pt x="5073" y="1"/>
                    </a:cubicBezTo>
                    <a:close/>
                  </a:path>
                </a:pathLst>
              </a:custGeom>
              <a:solidFill>
                <a:schemeClr val="l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21" name="Google Shape;676;p24">
                <a:extLst>
                  <a:ext uri="{FF2B5EF4-FFF2-40B4-BE49-F238E27FC236}">
                    <a16:creationId xmlns:a16="http://schemas.microsoft.com/office/drawing/2014/main" id="{E2D02E2C-F461-41A2-B7B2-020E93F8FB3B}"/>
                  </a:ext>
                </a:extLst>
              </p:cNvPr>
              <p:cNvSpPr/>
              <p:nvPr/>
            </p:nvSpPr>
            <p:spPr>
              <a:xfrm>
                <a:off x="-40316650" y="3267450"/>
                <a:ext cx="86675" cy="257575"/>
              </a:xfrm>
              <a:custGeom>
                <a:avLst/>
                <a:gdLst/>
                <a:ahLst/>
                <a:cxnLst/>
                <a:rect l="l" t="t" r="r" b="b"/>
                <a:pathLst>
                  <a:path w="3467" h="10303" extrusionOk="0">
                    <a:moveTo>
                      <a:pt x="1" y="0"/>
                    </a:moveTo>
                    <a:lnTo>
                      <a:pt x="1" y="9105"/>
                    </a:lnTo>
                    <a:cubicBezTo>
                      <a:pt x="1166" y="9200"/>
                      <a:pt x="2489" y="9578"/>
                      <a:pt x="3466" y="10302"/>
                    </a:cubicBezTo>
                    <a:lnTo>
                      <a:pt x="3466" y="1197"/>
                    </a:lnTo>
                    <a:cubicBezTo>
                      <a:pt x="2489" y="473"/>
                      <a:pt x="1229" y="95"/>
                      <a:pt x="1" y="0"/>
                    </a:cubicBezTo>
                    <a:close/>
                  </a:path>
                </a:pathLst>
              </a:custGeom>
              <a:solidFill>
                <a:schemeClr val="l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22" name="Google Shape;677;p24">
                <a:extLst>
                  <a:ext uri="{FF2B5EF4-FFF2-40B4-BE49-F238E27FC236}">
                    <a16:creationId xmlns:a16="http://schemas.microsoft.com/office/drawing/2014/main" id="{367E9F8D-9470-412A-97C4-A94CE3B3D9ED}"/>
                  </a:ext>
                </a:extLst>
              </p:cNvPr>
              <p:cNvSpPr/>
              <p:nvPr/>
            </p:nvSpPr>
            <p:spPr>
              <a:xfrm>
                <a:off x="-40209525" y="3267450"/>
                <a:ext cx="86650" cy="257575"/>
              </a:xfrm>
              <a:custGeom>
                <a:avLst/>
                <a:gdLst/>
                <a:ahLst/>
                <a:cxnLst/>
                <a:rect l="l" t="t" r="r" b="b"/>
                <a:pathLst>
                  <a:path w="3466" h="10303" extrusionOk="0">
                    <a:moveTo>
                      <a:pt x="3466" y="0"/>
                    </a:moveTo>
                    <a:cubicBezTo>
                      <a:pt x="2300" y="95"/>
                      <a:pt x="977" y="473"/>
                      <a:pt x="0" y="1197"/>
                    </a:cubicBezTo>
                    <a:lnTo>
                      <a:pt x="0" y="10302"/>
                    </a:lnTo>
                    <a:cubicBezTo>
                      <a:pt x="977" y="9578"/>
                      <a:pt x="2237" y="9200"/>
                      <a:pt x="3466" y="9105"/>
                    </a:cubicBezTo>
                    <a:lnTo>
                      <a:pt x="3466" y="0"/>
                    </a:lnTo>
                    <a:close/>
                  </a:path>
                </a:pathLst>
              </a:custGeom>
              <a:solidFill>
                <a:schemeClr val="l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23" name="Google Shape;678;p24">
                <a:extLst>
                  <a:ext uri="{FF2B5EF4-FFF2-40B4-BE49-F238E27FC236}">
                    <a16:creationId xmlns:a16="http://schemas.microsoft.com/office/drawing/2014/main" id="{9F869A0D-628A-4FCA-B18E-10D3E28518AA}"/>
                  </a:ext>
                </a:extLst>
              </p:cNvPr>
              <p:cNvSpPr/>
              <p:nvPr/>
            </p:nvSpPr>
            <p:spPr>
              <a:xfrm>
                <a:off x="-40378075" y="3308400"/>
                <a:ext cx="157550" cy="248125"/>
              </a:xfrm>
              <a:custGeom>
                <a:avLst/>
                <a:gdLst/>
                <a:ahLst/>
                <a:cxnLst/>
                <a:rect l="l" t="t" r="r" b="b"/>
                <a:pathLst>
                  <a:path w="6302" h="9925" extrusionOk="0">
                    <a:moveTo>
                      <a:pt x="1229" y="1"/>
                    </a:moveTo>
                    <a:cubicBezTo>
                      <a:pt x="567" y="1"/>
                      <a:pt x="0" y="536"/>
                      <a:pt x="0" y="1198"/>
                    </a:cubicBezTo>
                    <a:lnTo>
                      <a:pt x="0" y="8664"/>
                    </a:lnTo>
                    <a:cubicBezTo>
                      <a:pt x="32" y="9357"/>
                      <a:pt x="567" y="9925"/>
                      <a:pt x="1229" y="9925"/>
                    </a:cubicBezTo>
                    <a:lnTo>
                      <a:pt x="6301" y="9925"/>
                    </a:lnTo>
                    <a:cubicBezTo>
                      <a:pt x="6112" y="9925"/>
                      <a:pt x="5766" y="9609"/>
                      <a:pt x="5608" y="9452"/>
                    </a:cubicBezTo>
                    <a:cubicBezTo>
                      <a:pt x="4631" y="8664"/>
                      <a:pt x="3277" y="8255"/>
                      <a:pt x="2048" y="8255"/>
                    </a:cubicBezTo>
                    <a:cubicBezTo>
                      <a:pt x="1828" y="8255"/>
                      <a:pt x="1638" y="8066"/>
                      <a:pt x="1638" y="7877"/>
                    </a:cubicBezTo>
                    <a:lnTo>
                      <a:pt x="1638" y="1"/>
                    </a:lnTo>
                    <a:close/>
                  </a:path>
                </a:pathLst>
              </a:custGeom>
              <a:solidFill>
                <a:schemeClr val="l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grpSp>
      </p:grpSp>
      <p:grpSp>
        <p:nvGrpSpPr>
          <p:cNvPr id="24" name="Google Shape;679;p24">
            <a:extLst>
              <a:ext uri="{FF2B5EF4-FFF2-40B4-BE49-F238E27FC236}">
                <a16:creationId xmlns:a16="http://schemas.microsoft.com/office/drawing/2014/main" id="{A9533B5F-F95C-4F99-9DF3-F0751AD0089B}"/>
              </a:ext>
            </a:extLst>
          </p:cNvPr>
          <p:cNvGrpSpPr/>
          <p:nvPr/>
        </p:nvGrpSpPr>
        <p:grpSpPr>
          <a:xfrm>
            <a:off x="2903890" y="2144805"/>
            <a:ext cx="1748131" cy="2228947"/>
            <a:chOff x="2694619" y="1969339"/>
            <a:chExt cx="1311098" cy="1671710"/>
          </a:xfrm>
        </p:grpSpPr>
        <p:sp>
          <p:nvSpPr>
            <p:cNvPr id="25" name="Google Shape;680;p24">
              <a:extLst>
                <a:ext uri="{FF2B5EF4-FFF2-40B4-BE49-F238E27FC236}">
                  <a16:creationId xmlns:a16="http://schemas.microsoft.com/office/drawing/2014/main" id="{13B19DAB-B799-45C6-9566-D7457CAA543B}"/>
                </a:ext>
              </a:extLst>
            </p:cNvPr>
            <p:cNvSpPr/>
            <p:nvPr/>
          </p:nvSpPr>
          <p:spPr>
            <a:xfrm>
              <a:off x="2694619" y="1969339"/>
              <a:ext cx="887194" cy="245454"/>
            </a:xfrm>
            <a:custGeom>
              <a:avLst/>
              <a:gdLst/>
              <a:ahLst/>
              <a:cxnLst/>
              <a:rect l="l" t="t" r="r" b="b"/>
              <a:pathLst>
                <a:path w="40327" h="11157" extrusionOk="0">
                  <a:moveTo>
                    <a:pt x="5573" y="0"/>
                  </a:moveTo>
                  <a:cubicBezTo>
                    <a:pt x="2489" y="0"/>
                    <a:pt x="0" y="2500"/>
                    <a:pt x="0" y="5584"/>
                  </a:cubicBezTo>
                  <a:cubicBezTo>
                    <a:pt x="0" y="8668"/>
                    <a:pt x="2489" y="11156"/>
                    <a:pt x="5573" y="11156"/>
                  </a:cubicBezTo>
                  <a:lnTo>
                    <a:pt x="34743" y="11156"/>
                  </a:lnTo>
                  <a:cubicBezTo>
                    <a:pt x="37827" y="11156"/>
                    <a:pt x="40327" y="8668"/>
                    <a:pt x="40327" y="5584"/>
                  </a:cubicBezTo>
                  <a:cubicBezTo>
                    <a:pt x="40327" y="2500"/>
                    <a:pt x="37827" y="0"/>
                    <a:pt x="34743" y="0"/>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2489" b="0" i="0" u="none" strike="noStrike" kern="1200" cap="none" spc="0" normalizeH="0" baseline="0" noProof="0">
                  <a:ln>
                    <a:noFill/>
                  </a:ln>
                  <a:solidFill>
                    <a:srgbClr val="FFFFFF"/>
                  </a:solidFill>
                  <a:effectLst/>
                  <a:uLnTx/>
                  <a:uFillTx/>
                  <a:latin typeface="Arial"/>
                  <a:ea typeface="+mn-ea"/>
                  <a:cs typeface="+mn-ea"/>
                  <a:sym typeface="+mn-lt"/>
                </a:rPr>
                <a:t>Item 1</a:t>
              </a:r>
              <a:endParaRPr kumimoji="0" sz="2489" b="0" i="0" u="none" strike="noStrike" kern="1200" cap="none" spc="0" normalizeH="0" baseline="0" noProof="0">
                <a:ln>
                  <a:noFill/>
                </a:ln>
                <a:solidFill>
                  <a:srgbClr val="FFFFFF"/>
                </a:solidFill>
                <a:effectLst/>
                <a:uLnTx/>
                <a:uFillTx/>
                <a:latin typeface="Arial"/>
                <a:ea typeface="+mn-ea"/>
                <a:cs typeface="+mn-ea"/>
                <a:sym typeface="+mn-lt"/>
              </a:endParaRPr>
            </a:p>
          </p:txBody>
        </p:sp>
        <p:sp>
          <p:nvSpPr>
            <p:cNvPr id="26" name="Google Shape;681;p24">
              <a:extLst>
                <a:ext uri="{FF2B5EF4-FFF2-40B4-BE49-F238E27FC236}">
                  <a16:creationId xmlns:a16="http://schemas.microsoft.com/office/drawing/2014/main" id="{BAC45182-954D-4C36-B4A3-8B68AB1B7BD6}"/>
                </a:ext>
              </a:extLst>
            </p:cNvPr>
            <p:cNvSpPr/>
            <p:nvPr/>
          </p:nvSpPr>
          <p:spPr>
            <a:xfrm>
              <a:off x="2755651" y="2930911"/>
              <a:ext cx="1250066" cy="710138"/>
            </a:xfrm>
            <a:custGeom>
              <a:avLst/>
              <a:gdLst/>
              <a:ahLst/>
              <a:cxnLst/>
              <a:rect l="l" t="t" r="r" b="b"/>
              <a:pathLst>
                <a:path w="48888" h="32279" extrusionOk="0">
                  <a:moveTo>
                    <a:pt x="4632" y="1"/>
                  </a:moveTo>
                  <a:lnTo>
                    <a:pt x="0" y="13324"/>
                  </a:lnTo>
                  <a:lnTo>
                    <a:pt x="37636" y="32279"/>
                  </a:lnTo>
                  <a:lnTo>
                    <a:pt x="48887" y="1"/>
                  </a:ln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27" name="Google Shape;682;p24">
              <a:extLst>
                <a:ext uri="{FF2B5EF4-FFF2-40B4-BE49-F238E27FC236}">
                  <a16:creationId xmlns:a16="http://schemas.microsoft.com/office/drawing/2014/main" id="{1ED9D843-21E7-49F2-979C-A223C375FF74}"/>
                </a:ext>
              </a:extLst>
            </p:cNvPr>
            <p:cNvSpPr txBox="1"/>
            <p:nvPr/>
          </p:nvSpPr>
          <p:spPr>
            <a:xfrm>
              <a:off x="2874102" y="2305400"/>
              <a:ext cx="887100" cy="534900"/>
            </a:xfrm>
            <a:prstGeom prst="rect">
              <a:avLst/>
            </a:prstGeom>
            <a:noFill/>
            <a:ln>
              <a:noFill/>
            </a:ln>
          </p:spPr>
          <p:txBody>
            <a:bodyPr spcFirstLastPara="1" wrap="square" lIns="121900" tIns="121900" rIns="121900" bIns="1219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1467" b="0" i="0" u="none" strike="noStrike" kern="1200" cap="none" spc="0" normalizeH="0" baseline="0" noProof="0">
                  <a:ln>
                    <a:noFill/>
                  </a:ln>
                  <a:solidFill>
                    <a:srgbClr val="434343"/>
                  </a:solidFill>
                  <a:effectLst/>
                  <a:uLnTx/>
                  <a:uFillTx/>
                  <a:latin typeface="Arial"/>
                  <a:ea typeface="+mn-ea"/>
                  <a:cs typeface="+mn-ea"/>
                  <a:sym typeface="+mn-lt"/>
                </a:rPr>
                <a:t>Venus is the 2nd</a:t>
              </a:r>
              <a:endParaRPr kumimoji="0" sz="1467" b="0" i="0" u="none" strike="noStrike" kern="1200" cap="none" spc="0" normalizeH="0" baseline="0" noProof="0">
                <a:ln>
                  <a:noFill/>
                </a:ln>
                <a:solidFill>
                  <a:srgbClr val="434343"/>
                </a:solidFill>
                <a:effectLst/>
                <a:uLnTx/>
                <a:uFillTx/>
                <a:latin typeface="Arial"/>
                <a:ea typeface="+mn-ea"/>
                <a:cs typeface="+mn-ea"/>
                <a:sym typeface="+mn-lt"/>
              </a:endParaRPr>
            </a:p>
          </p:txBody>
        </p:sp>
        <p:sp>
          <p:nvSpPr>
            <p:cNvPr id="28" name="Google Shape;683;p24">
              <a:extLst>
                <a:ext uri="{FF2B5EF4-FFF2-40B4-BE49-F238E27FC236}">
                  <a16:creationId xmlns:a16="http://schemas.microsoft.com/office/drawing/2014/main" id="{DB87B314-E2C3-4698-B5F1-5C8F0C883435}"/>
                </a:ext>
              </a:extLst>
            </p:cNvPr>
            <p:cNvSpPr/>
            <p:nvPr/>
          </p:nvSpPr>
          <p:spPr>
            <a:xfrm>
              <a:off x="3147624" y="3010649"/>
              <a:ext cx="340055" cy="337758"/>
            </a:xfrm>
            <a:custGeom>
              <a:avLst/>
              <a:gdLst/>
              <a:ahLst/>
              <a:cxnLst/>
              <a:rect l="l" t="t" r="r" b="b"/>
              <a:pathLst>
                <a:path w="12729" h="12643" extrusionOk="0">
                  <a:moveTo>
                    <a:pt x="6365" y="2395"/>
                  </a:moveTo>
                  <a:cubicBezTo>
                    <a:pt x="7026" y="2395"/>
                    <a:pt x="7562" y="2962"/>
                    <a:pt x="7562" y="3655"/>
                  </a:cubicBezTo>
                  <a:cubicBezTo>
                    <a:pt x="7562" y="4348"/>
                    <a:pt x="7026" y="4884"/>
                    <a:pt x="6365" y="4884"/>
                  </a:cubicBezTo>
                  <a:cubicBezTo>
                    <a:pt x="5672" y="4884"/>
                    <a:pt x="5136" y="4348"/>
                    <a:pt x="5136" y="3655"/>
                  </a:cubicBezTo>
                  <a:cubicBezTo>
                    <a:pt x="5073" y="2962"/>
                    <a:pt x="5672" y="2395"/>
                    <a:pt x="6365" y="2395"/>
                  </a:cubicBezTo>
                  <a:close/>
                  <a:moveTo>
                    <a:pt x="6806" y="5640"/>
                  </a:moveTo>
                  <a:lnTo>
                    <a:pt x="8349" y="8192"/>
                  </a:lnTo>
                  <a:lnTo>
                    <a:pt x="7530" y="8192"/>
                  </a:lnTo>
                  <a:cubicBezTo>
                    <a:pt x="7373" y="7719"/>
                    <a:pt x="6900" y="7373"/>
                    <a:pt x="6333" y="7373"/>
                  </a:cubicBezTo>
                  <a:cubicBezTo>
                    <a:pt x="5798" y="7373"/>
                    <a:pt x="5357" y="7719"/>
                    <a:pt x="5167" y="8192"/>
                  </a:cubicBezTo>
                  <a:lnTo>
                    <a:pt x="4285" y="8192"/>
                  </a:lnTo>
                  <a:lnTo>
                    <a:pt x="5829" y="5640"/>
                  </a:lnTo>
                  <a:cubicBezTo>
                    <a:pt x="5987" y="5671"/>
                    <a:pt x="6144" y="5734"/>
                    <a:pt x="6365" y="5734"/>
                  </a:cubicBezTo>
                  <a:cubicBezTo>
                    <a:pt x="6491" y="5734"/>
                    <a:pt x="6680" y="5671"/>
                    <a:pt x="6806" y="5640"/>
                  </a:cubicBezTo>
                  <a:close/>
                  <a:moveTo>
                    <a:pt x="6365" y="8192"/>
                  </a:moveTo>
                  <a:cubicBezTo>
                    <a:pt x="6585" y="8192"/>
                    <a:pt x="6743" y="8412"/>
                    <a:pt x="6743" y="8633"/>
                  </a:cubicBezTo>
                  <a:cubicBezTo>
                    <a:pt x="6743" y="8822"/>
                    <a:pt x="6585" y="9042"/>
                    <a:pt x="6365" y="9042"/>
                  </a:cubicBezTo>
                  <a:cubicBezTo>
                    <a:pt x="6113" y="9042"/>
                    <a:pt x="5955" y="8822"/>
                    <a:pt x="5955" y="8633"/>
                  </a:cubicBezTo>
                  <a:cubicBezTo>
                    <a:pt x="5955" y="8412"/>
                    <a:pt x="6144" y="8255"/>
                    <a:pt x="6365" y="8192"/>
                  </a:cubicBezTo>
                  <a:close/>
                  <a:moveTo>
                    <a:pt x="6428" y="0"/>
                  </a:moveTo>
                  <a:cubicBezTo>
                    <a:pt x="5766" y="0"/>
                    <a:pt x="5199" y="568"/>
                    <a:pt x="5199" y="1229"/>
                  </a:cubicBezTo>
                  <a:lnTo>
                    <a:pt x="5199" y="2080"/>
                  </a:lnTo>
                  <a:cubicBezTo>
                    <a:pt x="4695" y="2489"/>
                    <a:pt x="4380" y="3025"/>
                    <a:pt x="4380" y="3718"/>
                  </a:cubicBezTo>
                  <a:cubicBezTo>
                    <a:pt x="4380" y="4065"/>
                    <a:pt x="4443" y="4380"/>
                    <a:pt x="4600" y="4695"/>
                  </a:cubicBezTo>
                  <a:lnTo>
                    <a:pt x="2458" y="8286"/>
                  </a:lnTo>
                  <a:lnTo>
                    <a:pt x="505" y="8286"/>
                  </a:lnTo>
                  <a:cubicBezTo>
                    <a:pt x="284" y="8286"/>
                    <a:pt x="95" y="8475"/>
                    <a:pt x="95" y="8664"/>
                  </a:cubicBezTo>
                  <a:cubicBezTo>
                    <a:pt x="1" y="8822"/>
                    <a:pt x="190" y="9042"/>
                    <a:pt x="410" y="9042"/>
                  </a:cubicBezTo>
                  <a:lnTo>
                    <a:pt x="1859" y="9042"/>
                  </a:lnTo>
                  <a:cubicBezTo>
                    <a:pt x="1261" y="9987"/>
                    <a:pt x="631" y="10775"/>
                    <a:pt x="631" y="11437"/>
                  </a:cubicBezTo>
                  <a:cubicBezTo>
                    <a:pt x="631" y="12108"/>
                    <a:pt x="1021" y="12642"/>
                    <a:pt x="1366" y="12642"/>
                  </a:cubicBezTo>
                  <a:cubicBezTo>
                    <a:pt x="1491" y="12642"/>
                    <a:pt x="1610" y="12572"/>
                    <a:pt x="1702" y="12413"/>
                  </a:cubicBezTo>
                  <a:lnTo>
                    <a:pt x="3781" y="9074"/>
                  </a:lnTo>
                  <a:lnTo>
                    <a:pt x="5167" y="9074"/>
                  </a:lnTo>
                  <a:cubicBezTo>
                    <a:pt x="5325" y="9546"/>
                    <a:pt x="5798" y="9893"/>
                    <a:pt x="6333" y="9893"/>
                  </a:cubicBezTo>
                  <a:cubicBezTo>
                    <a:pt x="6900" y="9893"/>
                    <a:pt x="7341" y="9546"/>
                    <a:pt x="7530" y="9074"/>
                  </a:cubicBezTo>
                  <a:lnTo>
                    <a:pt x="8854" y="9074"/>
                  </a:lnTo>
                  <a:lnTo>
                    <a:pt x="10964" y="12413"/>
                  </a:lnTo>
                  <a:cubicBezTo>
                    <a:pt x="11056" y="12572"/>
                    <a:pt x="11173" y="12642"/>
                    <a:pt x="11295" y="12642"/>
                  </a:cubicBezTo>
                  <a:cubicBezTo>
                    <a:pt x="11630" y="12642"/>
                    <a:pt x="12004" y="12108"/>
                    <a:pt x="12004" y="11437"/>
                  </a:cubicBezTo>
                  <a:cubicBezTo>
                    <a:pt x="12004" y="10775"/>
                    <a:pt x="11374" y="9987"/>
                    <a:pt x="10807" y="9042"/>
                  </a:cubicBezTo>
                  <a:lnTo>
                    <a:pt x="12288" y="9042"/>
                  </a:lnTo>
                  <a:cubicBezTo>
                    <a:pt x="12540" y="9042"/>
                    <a:pt x="12729" y="8822"/>
                    <a:pt x="12729" y="8633"/>
                  </a:cubicBezTo>
                  <a:cubicBezTo>
                    <a:pt x="12729" y="8412"/>
                    <a:pt x="12540" y="8255"/>
                    <a:pt x="12288" y="8255"/>
                  </a:cubicBezTo>
                  <a:lnTo>
                    <a:pt x="10334" y="8255"/>
                  </a:lnTo>
                  <a:lnTo>
                    <a:pt x="8192" y="4695"/>
                  </a:lnTo>
                  <a:cubicBezTo>
                    <a:pt x="8349" y="4380"/>
                    <a:pt x="8475" y="4065"/>
                    <a:pt x="8475" y="3718"/>
                  </a:cubicBezTo>
                  <a:cubicBezTo>
                    <a:pt x="8475" y="3056"/>
                    <a:pt x="8160" y="2458"/>
                    <a:pt x="7656" y="2080"/>
                  </a:cubicBezTo>
                  <a:lnTo>
                    <a:pt x="7656" y="1229"/>
                  </a:lnTo>
                  <a:cubicBezTo>
                    <a:pt x="7656" y="568"/>
                    <a:pt x="7089" y="0"/>
                    <a:pt x="6428" y="0"/>
                  </a:cubicBezTo>
                  <a:close/>
                </a:path>
              </a:pathLst>
            </a:custGeom>
            <a:solidFill>
              <a:schemeClr val="l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grpSp>
      <p:grpSp>
        <p:nvGrpSpPr>
          <p:cNvPr id="29" name="Google Shape;685;p24">
            <a:extLst>
              <a:ext uri="{FF2B5EF4-FFF2-40B4-BE49-F238E27FC236}">
                <a16:creationId xmlns:a16="http://schemas.microsoft.com/office/drawing/2014/main" id="{8556E8B7-610A-4ACF-92ED-672DC24D9040}"/>
              </a:ext>
            </a:extLst>
          </p:cNvPr>
          <p:cNvGrpSpPr/>
          <p:nvPr/>
        </p:nvGrpSpPr>
        <p:grpSpPr>
          <a:xfrm>
            <a:off x="1622512" y="1197628"/>
            <a:ext cx="7569075" cy="4462744"/>
            <a:chOff x="1733586" y="1258956"/>
            <a:chExt cx="5676806" cy="3347058"/>
          </a:xfrm>
        </p:grpSpPr>
        <p:sp>
          <p:nvSpPr>
            <p:cNvPr id="30" name="Google Shape;686;p24">
              <a:extLst>
                <a:ext uri="{FF2B5EF4-FFF2-40B4-BE49-F238E27FC236}">
                  <a16:creationId xmlns:a16="http://schemas.microsoft.com/office/drawing/2014/main" id="{357A89DB-DD49-4EAE-8E26-E842F54DF6C2}"/>
                </a:ext>
              </a:extLst>
            </p:cNvPr>
            <p:cNvSpPr/>
            <p:nvPr/>
          </p:nvSpPr>
          <p:spPr>
            <a:xfrm>
              <a:off x="4680085" y="1805883"/>
              <a:ext cx="456987" cy="2251370"/>
            </a:xfrm>
            <a:custGeom>
              <a:avLst/>
              <a:gdLst/>
              <a:ahLst/>
              <a:cxnLst/>
              <a:rect l="l" t="t" r="r" b="b"/>
              <a:pathLst>
                <a:path w="17872" h="102335" fill="none" extrusionOk="0">
                  <a:moveTo>
                    <a:pt x="1" y="1"/>
                  </a:moveTo>
                  <a:lnTo>
                    <a:pt x="17872" y="51162"/>
                  </a:lnTo>
                  <a:lnTo>
                    <a:pt x="1" y="102335"/>
                  </a:lnTo>
                </a:path>
              </a:pathLst>
            </a:custGeom>
            <a:noFill/>
            <a:ln w="12500" cap="flat" cmpd="sng">
              <a:solidFill>
                <a:srgbClr val="000000"/>
              </a:solidFill>
              <a:prstDash val="solid"/>
              <a:miter lim="11906"/>
              <a:headEnd type="none" w="sm" len="sm"/>
              <a:tailEnd type="none" w="sm" len="sm"/>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31" name="Google Shape;687;p24">
              <a:extLst>
                <a:ext uri="{FF2B5EF4-FFF2-40B4-BE49-F238E27FC236}">
                  <a16:creationId xmlns:a16="http://schemas.microsoft.com/office/drawing/2014/main" id="{6866C105-72F7-43FD-96DE-D9374520018B}"/>
                </a:ext>
              </a:extLst>
            </p:cNvPr>
            <p:cNvSpPr/>
            <p:nvPr/>
          </p:nvSpPr>
          <p:spPr>
            <a:xfrm>
              <a:off x="3718009" y="2222634"/>
              <a:ext cx="287739" cy="1418406"/>
            </a:xfrm>
            <a:custGeom>
              <a:avLst/>
              <a:gdLst/>
              <a:ahLst/>
              <a:cxnLst/>
              <a:rect l="l" t="t" r="r" b="b"/>
              <a:pathLst>
                <a:path w="11253" h="64473" fill="none" extrusionOk="0">
                  <a:moveTo>
                    <a:pt x="1" y="0"/>
                  </a:moveTo>
                  <a:lnTo>
                    <a:pt x="11252" y="32219"/>
                  </a:lnTo>
                  <a:lnTo>
                    <a:pt x="1" y="64473"/>
                  </a:lnTo>
                </a:path>
              </a:pathLst>
            </a:custGeom>
            <a:noFill/>
            <a:ln w="12500" cap="flat" cmpd="sng">
              <a:solidFill>
                <a:srgbClr val="000000"/>
              </a:solidFill>
              <a:prstDash val="solid"/>
              <a:miter lim="11906"/>
              <a:headEnd type="none" w="sm" len="sm"/>
              <a:tailEnd type="none" w="sm" len="sm"/>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32" name="Google Shape;688;p24">
              <a:extLst>
                <a:ext uri="{FF2B5EF4-FFF2-40B4-BE49-F238E27FC236}">
                  <a16:creationId xmlns:a16="http://schemas.microsoft.com/office/drawing/2014/main" id="{5553F77B-A4CC-40D7-881C-B3206A827D14}"/>
                </a:ext>
              </a:extLst>
            </p:cNvPr>
            <p:cNvSpPr/>
            <p:nvPr/>
          </p:nvSpPr>
          <p:spPr>
            <a:xfrm>
              <a:off x="2755651" y="2639385"/>
              <a:ext cx="118440" cy="584650"/>
            </a:xfrm>
            <a:custGeom>
              <a:avLst/>
              <a:gdLst/>
              <a:ahLst/>
              <a:cxnLst/>
              <a:rect l="l" t="t" r="r" b="b"/>
              <a:pathLst>
                <a:path w="4632" h="26575" fill="none" extrusionOk="0">
                  <a:moveTo>
                    <a:pt x="0" y="0"/>
                  </a:moveTo>
                  <a:lnTo>
                    <a:pt x="4632" y="13276"/>
                  </a:lnTo>
                  <a:lnTo>
                    <a:pt x="0" y="26575"/>
                  </a:lnTo>
                </a:path>
              </a:pathLst>
            </a:custGeom>
            <a:noFill/>
            <a:ln w="12500" cap="flat" cmpd="sng">
              <a:solidFill>
                <a:srgbClr val="000000"/>
              </a:solidFill>
              <a:prstDash val="solid"/>
              <a:miter lim="11906"/>
              <a:headEnd type="none" w="sm" len="sm"/>
              <a:tailEnd type="none" w="sm" len="sm"/>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33" name="Google Shape;689;p24">
              <a:extLst>
                <a:ext uri="{FF2B5EF4-FFF2-40B4-BE49-F238E27FC236}">
                  <a16:creationId xmlns:a16="http://schemas.microsoft.com/office/drawing/2014/main" id="{E5A83714-0E41-419B-A3AF-3B4C10F2D05C}"/>
                </a:ext>
              </a:extLst>
            </p:cNvPr>
            <p:cNvSpPr/>
            <p:nvPr/>
          </p:nvSpPr>
          <p:spPr>
            <a:xfrm>
              <a:off x="2537660" y="2932495"/>
              <a:ext cx="4167245" cy="22"/>
            </a:xfrm>
            <a:custGeom>
              <a:avLst/>
              <a:gdLst/>
              <a:ahLst/>
              <a:cxnLst/>
              <a:rect l="l" t="t" r="r" b="b"/>
              <a:pathLst>
                <a:path w="162974" h="1" fill="none" extrusionOk="0">
                  <a:moveTo>
                    <a:pt x="0" y="0"/>
                  </a:moveTo>
                  <a:lnTo>
                    <a:pt x="162973" y="0"/>
                  </a:lnTo>
                </a:path>
              </a:pathLst>
            </a:custGeom>
            <a:noFill/>
            <a:ln w="12500" cap="flat" cmpd="sng">
              <a:solidFill>
                <a:srgbClr val="000000"/>
              </a:solidFill>
              <a:prstDash val="solid"/>
              <a:miter lim="11906"/>
              <a:headEnd type="none" w="sm" len="sm"/>
              <a:tailEnd type="none" w="sm" len="sm"/>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34" name="Google Shape;690;p24">
              <a:extLst>
                <a:ext uri="{FF2B5EF4-FFF2-40B4-BE49-F238E27FC236}">
                  <a16:creationId xmlns:a16="http://schemas.microsoft.com/office/drawing/2014/main" id="{52F30DED-7A9C-4133-99D3-FD5C95E775B4}"/>
                </a:ext>
              </a:extLst>
            </p:cNvPr>
            <p:cNvSpPr/>
            <p:nvPr/>
          </p:nvSpPr>
          <p:spPr>
            <a:xfrm>
              <a:off x="1733586" y="2209280"/>
              <a:ext cx="829644" cy="1446434"/>
            </a:xfrm>
            <a:custGeom>
              <a:avLst/>
              <a:gdLst/>
              <a:ahLst/>
              <a:cxnLst/>
              <a:rect l="l" t="t" r="r" b="b"/>
              <a:pathLst>
                <a:path w="32446" h="65747" extrusionOk="0">
                  <a:moveTo>
                    <a:pt x="1" y="0"/>
                  </a:moveTo>
                  <a:lnTo>
                    <a:pt x="9062" y="32873"/>
                  </a:lnTo>
                  <a:lnTo>
                    <a:pt x="1" y="65746"/>
                  </a:lnTo>
                  <a:lnTo>
                    <a:pt x="1" y="65746"/>
                  </a:lnTo>
                  <a:lnTo>
                    <a:pt x="32445" y="32873"/>
                  </a:lnTo>
                  <a:lnTo>
                    <a:pt x="1" y="0"/>
                  </a:lnTo>
                  <a:close/>
                </a:path>
              </a:pathLst>
            </a:custGeom>
            <a:solidFill>
              <a:srgbClr val="869FB2"/>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35" name="Google Shape;691;p24">
              <a:extLst>
                <a:ext uri="{FF2B5EF4-FFF2-40B4-BE49-F238E27FC236}">
                  <a16:creationId xmlns:a16="http://schemas.microsoft.com/office/drawing/2014/main" id="{3B0DFA13-2BDF-4A8B-9E9E-C65309483357}"/>
                </a:ext>
              </a:extLst>
            </p:cNvPr>
            <p:cNvSpPr/>
            <p:nvPr/>
          </p:nvSpPr>
          <p:spPr>
            <a:xfrm>
              <a:off x="5682358" y="2931439"/>
              <a:ext cx="579365" cy="1568512"/>
            </a:xfrm>
            <a:custGeom>
              <a:avLst/>
              <a:gdLst/>
              <a:ahLst/>
              <a:cxnLst/>
              <a:rect l="l" t="t" r="r" b="b"/>
              <a:pathLst>
                <a:path w="22658" h="71296" fill="none" extrusionOk="0">
                  <a:moveTo>
                    <a:pt x="22658" y="1"/>
                  </a:moveTo>
                  <a:lnTo>
                    <a:pt x="0" y="71295"/>
                  </a:lnTo>
                </a:path>
              </a:pathLst>
            </a:custGeom>
            <a:noFill/>
            <a:ln w="12500" cap="flat" cmpd="sng">
              <a:solidFill>
                <a:srgbClr val="000000"/>
              </a:solidFill>
              <a:prstDash val="solid"/>
              <a:miter lim="11906"/>
              <a:headEnd type="none" w="sm" len="sm"/>
              <a:tailEnd type="none" w="sm" len="sm"/>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36" name="Google Shape;692;p24">
              <a:extLst>
                <a:ext uri="{FF2B5EF4-FFF2-40B4-BE49-F238E27FC236}">
                  <a16:creationId xmlns:a16="http://schemas.microsoft.com/office/drawing/2014/main" id="{6C22FF5A-D8CC-4AD8-984D-D3F697943230}"/>
                </a:ext>
              </a:extLst>
            </p:cNvPr>
            <p:cNvSpPr/>
            <p:nvPr/>
          </p:nvSpPr>
          <p:spPr>
            <a:xfrm>
              <a:off x="5682358" y="1362687"/>
              <a:ext cx="579365" cy="1568226"/>
            </a:xfrm>
            <a:custGeom>
              <a:avLst/>
              <a:gdLst/>
              <a:ahLst/>
              <a:cxnLst/>
              <a:rect l="l" t="t" r="r" b="b"/>
              <a:pathLst>
                <a:path w="22658" h="71283" fill="none" extrusionOk="0">
                  <a:moveTo>
                    <a:pt x="22658" y="71283"/>
                  </a:moveTo>
                  <a:lnTo>
                    <a:pt x="0" y="0"/>
                  </a:lnTo>
                </a:path>
              </a:pathLst>
            </a:custGeom>
            <a:noFill/>
            <a:ln w="12500" cap="flat" cmpd="sng">
              <a:solidFill>
                <a:srgbClr val="000000"/>
              </a:solidFill>
              <a:prstDash val="solid"/>
              <a:miter lim="11906"/>
              <a:headEnd type="none" w="sm" len="sm"/>
              <a:tailEnd type="none" w="sm" len="sm"/>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37" name="Google Shape;693;p24">
              <a:extLst>
                <a:ext uri="{FF2B5EF4-FFF2-40B4-BE49-F238E27FC236}">
                  <a16:creationId xmlns:a16="http://schemas.microsoft.com/office/drawing/2014/main" id="{ACBA56A7-19EF-49EB-A75C-176DF5B952D4}"/>
                </a:ext>
              </a:extLst>
            </p:cNvPr>
            <p:cNvSpPr/>
            <p:nvPr/>
          </p:nvSpPr>
          <p:spPr>
            <a:xfrm>
              <a:off x="6086965" y="1258956"/>
              <a:ext cx="1323426" cy="3347058"/>
            </a:xfrm>
            <a:custGeom>
              <a:avLst/>
              <a:gdLst/>
              <a:ahLst/>
              <a:cxnLst/>
              <a:rect l="l" t="t" r="r" b="b"/>
              <a:pathLst>
                <a:path w="51757" h="152139" extrusionOk="0">
                  <a:moveTo>
                    <a:pt x="33397" y="60127"/>
                  </a:moveTo>
                  <a:cubicBezTo>
                    <a:pt x="35112" y="60127"/>
                    <a:pt x="36481" y="61508"/>
                    <a:pt x="36481" y="63211"/>
                  </a:cubicBezTo>
                  <a:cubicBezTo>
                    <a:pt x="36481" y="64913"/>
                    <a:pt x="35112" y="66294"/>
                    <a:pt x="33397" y="66294"/>
                  </a:cubicBezTo>
                  <a:cubicBezTo>
                    <a:pt x="31695" y="66294"/>
                    <a:pt x="30326" y="64913"/>
                    <a:pt x="30326" y="63211"/>
                  </a:cubicBezTo>
                  <a:cubicBezTo>
                    <a:pt x="30326" y="61508"/>
                    <a:pt x="31695" y="60127"/>
                    <a:pt x="33397" y="60127"/>
                  </a:cubicBezTo>
                  <a:close/>
                  <a:moveTo>
                    <a:pt x="0" y="0"/>
                  </a:moveTo>
                  <a:lnTo>
                    <a:pt x="24170" y="76069"/>
                  </a:lnTo>
                  <a:lnTo>
                    <a:pt x="0" y="152138"/>
                  </a:lnTo>
                  <a:lnTo>
                    <a:pt x="0" y="152138"/>
                  </a:lnTo>
                  <a:lnTo>
                    <a:pt x="51757" y="76069"/>
                  </a:lnTo>
                  <a:lnTo>
                    <a:pt x="0" y="0"/>
                  </a:lnTo>
                  <a:close/>
                </a:path>
              </a:pathLst>
            </a:custGeom>
            <a:solidFill>
              <a:srgbClr val="869FB2"/>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grpSp>
    </p:spTree>
    <p:extLst>
      <p:ext uri="{BB962C8B-B14F-4D97-AF65-F5344CB8AC3E}">
        <p14:creationId xmlns:p14="http://schemas.microsoft.com/office/powerpoint/2010/main" val="2771101477"/>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7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oogle Shape;699;p25">
            <a:extLst>
              <a:ext uri="{FF2B5EF4-FFF2-40B4-BE49-F238E27FC236}">
                <a16:creationId xmlns:a16="http://schemas.microsoft.com/office/drawing/2014/main" id="{80FCE463-1A78-427F-BBC1-8CBB8A0B77C2}"/>
              </a:ext>
            </a:extLst>
          </p:cNvPr>
          <p:cNvGrpSpPr/>
          <p:nvPr/>
        </p:nvGrpSpPr>
        <p:grpSpPr>
          <a:xfrm>
            <a:off x="1521433" y="2982905"/>
            <a:ext cx="9149129" cy="1118376"/>
            <a:chOff x="1141074" y="2459055"/>
            <a:chExt cx="6861847" cy="838782"/>
          </a:xfrm>
        </p:grpSpPr>
        <p:sp>
          <p:nvSpPr>
            <p:cNvPr id="3" name="Google Shape;700;p25">
              <a:extLst>
                <a:ext uri="{FF2B5EF4-FFF2-40B4-BE49-F238E27FC236}">
                  <a16:creationId xmlns:a16="http://schemas.microsoft.com/office/drawing/2014/main" id="{4D872C37-E898-4AF2-AADF-9D0B4E4250B8}"/>
                </a:ext>
              </a:extLst>
            </p:cNvPr>
            <p:cNvSpPr/>
            <p:nvPr/>
          </p:nvSpPr>
          <p:spPr>
            <a:xfrm>
              <a:off x="1444225" y="2846200"/>
              <a:ext cx="5406688" cy="60373"/>
            </a:xfrm>
            <a:custGeom>
              <a:avLst/>
              <a:gdLst/>
              <a:ahLst/>
              <a:cxnLst/>
              <a:rect l="l" t="t" r="r" b="b"/>
              <a:pathLst>
                <a:path w="170760" h="2811" extrusionOk="0">
                  <a:moveTo>
                    <a:pt x="0" y="1"/>
                  </a:moveTo>
                  <a:lnTo>
                    <a:pt x="0" y="2811"/>
                  </a:lnTo>
                  <a:lnTo>
                    <a:pt x="170760" y="2811"/>
                  </a:lnTo>
                  <a:lnTo>
                    <a:pt x="170760" y="1"/>
                  </a:lnTo>
                  <a:close/>
                </a:path>
              </a:pathLst>
            </a:custGeom>
            <a:solidFill>
              <a:srgbClr val="869FB2"/>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4" name="Google Shape;701;p25">
              <a:extLst>
                <a:ext uri="{FF2B5EF4-FFF2-40B4-BE49-F238E27FC236}">
                  <a16:creationId xmlns:a16="http://schemas.microsoft.com/office/drawing/2014/main" id="{2BDCB311-25B2-4271-B719-70EFE48883E2}"/>
                </a:ext>
              </a:extLst>
            </p:cNvPr>
            <p:cNvSpPr/>
            <p:nvPr/>
          </p:nvSpPr>
          <p:spPr>
            <a:xfrm>
              <a:off x="6720499" y="2459055"/>
              <a:ext cx="1282422" cy="838782"/>
            </a:xfrm>
            <a:custGeom>
              <a:avLst/>
              <a:gdLst/>
              <a:ahLst/>
              <a:cxnLst/>
              <a:rect l="l" t="t" r="r" b="b"/>
              <a:pathLst>
                <a:path w="59710" h="39054" extrusionOk="0">
                  <a:moveTo>
                    <a:pt x="0" y="1"/>
                  </a:moveTo>
                  <a:lnTo>
                    <a:pt x="0" y="39053"/>
                  </a:lnTo>
                  <a:lnTo>
                    <a:pt x="40184" y="39053"/>
                  </a:lnTo>
                  <a:cubicBezTo>
                    <a:pt x="50959" y="39053"/>
                    <a:pt x="59710" y="30314"/>
                    <a:pt x="59710" y="19527"/>
                  </a:cubicBezTo>
                  <a:cubicBezTo>
                    <a:pt x="59710" y="8740"/>
                    <a:pt x="50959" y="1"/>
                    <a:pt x="40184" y="1"/>
                  </a:cubicBezTo>
                  <a:close/>
                </a:path>
              </a:pathLst>
            </a:custGeom>
            <a:solidFill>
              <a:srgbClr val="869FB2"/>
            </a:solidFill>
            <a:ln>
              <a:noFill/>
            </a:ln>
          </p:spPr>
          <p:txBody>
            <a:bodyPr spcFirstLastPara="1" wrap="square" lIns="121900" tIns="121900" rIns="121900" bIns="1219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Tx/>
                <a:buNone/>
                <a:tabLst/>
                <a:defRPr/>
              </a:pPr>
              <a:r>
                <a:rPr kumimoji="0" lang="en" sz="2267" b="0" i="0" u="none" strike="noStrike" kern="1200" cap="none" spc="0" normalizeH="0" baseline="0" noProof="0">
                  <a:ln>
                    <a:noFill/>
                  </a:ln>
                  <a:solidFill>
                    <a:srgbClr val="FFFFFF"/>
                  </a:solidFill>
                  <a:effectLst/>
                  <a:uLnTx/>
                  <a:uFillTx/>
                  <a:latin typeface="Arial"/>
                  <a:ea typeface="+mn-ea"/>
                  <a:cs typeface="+mn-ea"/>
                  <a:sym typeface="+mn-lt"/>
                </a:rPr>
                <a:t>Neptune</a:t>
              </a:r>
              <a:endParaRPr kumimoji="0" sz="2489" b="0" i="0" u="none" strike="noStrike" kern="1200" cap="none" spc="0" normalizeH="0" baseline="0" noProof="0">
                <a:ln>
                  <a:noFill/>
                </a:ln>
                <a:solidFill>
                  <a:srgbClr val="FFFFFF"/>
                </a:solidFill>
                <a:effectLst/>
                <a:uLnTx/>
                <a:uFillTx/>
                <a:latin typeface="Arial"/>
                <a:ea typeface="+mn-ea"/>
                <a:cs typeface="+mn-ea"/>
                <a:sym typeface="+mn-lt"/>
              </a:endParaRPr>
            </a:p>
          </p:txBody>
        </p:sp>
        <p:sp>
          <p:nvSpPr>
            <p:cNvPr id="5" name="Google Shape;702;p25">
              <a:extLst>
                <a:ext uri="{FF2B5EF4-FFF2-40B4-BE49-F238E27FC236}">
                  <a16:creationId xmlns:a16="http://schemas.microsoft.com/office/drawing/2014/main" id="{A762676C-F614-4023-B7B5-114DA810F9F1}"/>
                </a:ext>
              </a:extLst>
            </p:cNvPr>
            <p:cNvSpPr/>
            <p:nvPr/>
          </p:nvSpPr>
          <p:spPr>
            <a:xfrm>
              <a:off x="1141074" y="2673024"/>
              <a:ext cx="394960" cy="395029"/>
            </a:xfrm>
            <a:custGeom>
              <a:avLst/>
              <a:gdLst/>
              <a:ahLst/>
              <a:cxnLst/>
              <a:rect l="l" t="t" r="r" b="b"/>
              <a:pathLst>
                <a:path w="27314" h="27314" extrusionOk="0">
                  <a:moveTo>
                    <a:pt x="13657" y="0"/>
                  </a:moveTo>
                  <a:cubicBezTo>
                    <a:pt x="6109" y="0"/>
                    <a:pt x="1" y="6120"/>
                    <a:pt x="1" y="13657"/>
                  </a:cubicBezTo>
                  <a:cubicBezTo>
                    <a:pt x="1" y="21205"/>
                    <a:pt x="6109" y="27313"/>
                    <a:pt x="13657" y="27313"/>
                  </a:cubicBezTo>
                  <a:cubicBezTo>
                    <a:pt x="21206" y="27313"/>
                    <a:pt x="27314" y="21205"/>
                    <a:pt x="27314" y="13657"/>
                  </a:cubicBezTo>
                  <a:cubicBezTo>
                    <a:pt x="27314" y="6120"/>
                    <a:pt x="21206" y="0"/>
                    <a:pt x="13657" y="0"/>
                  </a:cubicBezTo>
                  <a:close/>
                </a:path>
              </a:pathLst>
            </a:custGeom>
            <a:solidFill>
              <a:srgbClr val="869FB2"/>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grpSp>
      <p:sp>
        <p:nvSpPr>
          <p:cNvPr id="6" name="Google Shape;703;p25">
            <a:extLst>
              <a:ext uri="{FF2B5EF4-FFF2-40B4-BE49-F238E27FC236}">
                <a16:creationId xmlns:a16="http://schemas.microsoft.com/office/drawing/2014/main" id="{869FE595-63CB-43CD-AAFB-661C9F7F59B3}"/>
              </a:ext>
            </a:extLst>
          </p:cNvPr>
          <p:cNvSpPr/>
          <p:nvPr/>
        </p:nvSpPr>
        <p:spPr>
          <a:xfrm>
            <a:off x="4084744" y="3420364"/>
            <a:ext cx="97880" cy="98911"/>
          </a:xfrm>
          <a:custGeom>
            <a:avLst/>
            <a:gdLst/>
            <a:ahLst/>
            <a:cxnLst/>
            <a:rect l="l" t="t" r="r" b="b"/>
            <a:pathLst>
              <a:path w="3418" h="3454" extrusionOk="0">
                <a:moveTo>
                  <a:pt x="3418" y="0"/>
                </a:moveTo>
                <a:lnTo>
                  <a:pt x="1" y="989"/>
                </a:lnTo>
                <a:lnTo>
                  <a:pt x="2561" y="3453"/>
                </a:lnTo>
                <a:lnTo>
                  <a:pt x="3418" y="0"/>
                </a:lnTo>
                <a:close/>
              </a:path>
            </a:pathLst>
          </a:custGeom>
          <a:solidFill>
            <a:srgbClr val="000000"/>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7" name="Google Shape;704;p25">
            <a:extLst>
              <a:ext uri="{FF2B5EF4-FFF2-40B4-BE49-F238E27FC236}">
                <a16:creationId xmlns:a16="http://schemas.microsoft.com/office/drawing/2014/main" id="{3CC6ACE7-87F9-4D58-8B07-32FF33015E4A}"/>
              </a:ext>
            </a:extLst>
          </p:cNvPr>
          <p:cNvSpPr/>
          <p:nvPr/>
        </p:nvSpPr>
        <p:spPr>
          <a:xfrm>
            <a:off x="4084744" y="3554700"/>
            <a:ext cx="97880" cy="98568"/>
          </a:xfrm>
          <a:custGeom>
            <a:avLst/>
            <a:gdLst/>
            <a:ahLst/>
            <a:cxnLst/>
            <a:rect l="l" t="t" r="r" b="b"/>
            <a:pathLst>
              <a:path w="3418" h="3442" extrusionOk="0">
                <a:moveTo>
                  <a:pt x="2561" y="0"/>
                </a:moveTo>
                <a:lnTo>
                  <a:pt x="1" y="2453"/>
                </a:lnTo>
                <a:lnTo>
                  <a:pt x="3418" y="3441"/>
                </a:lnTo>
                <a:lnTo>
                  <a:pt x="2561" y="0"/>
                </a:lnTo>
                <a:close/>
              </a:path>
            </a:pathLst>
          </a:custGeom>
          <a:solidFill>
            <a:srgbClr val="000000"/>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grpSp>
        <p:nvGrpSpPr>
          <p:cNvPr id="8" name="Google Shape;705;p25">
            <a:extLst>
              <a:ext uri="{FF2B5EF4-FFF2-40B4-BE49-F238E27FC236}">
                <a16:creationId xmlns:a16="http://schemas.microsoft.com/office/drawing/2014/main" id="{A0660720-A540-43CF-A80F-BF7C4D95E8AE}"/>
              </a:ext>
            </a:extLst>
          </p:cNvPr>
          <p:cNvGrpSpPr/>
          <p:nvPr/>
        </p:nvGrpSpPr>
        <p:grpSpPr>
          <a:xfrm>
            <a:off x="6501718" y="1216062"/>
            <a:ext cx="1798245" cy="4630560"/>
            <a:chOff x="4876288" y="1133923"/>
            <a:chExt cx="1348684" cy="3472920"/>
          </a:xfrm>
        </p:grpSpPr>
        <p:sp>
          <p:nvSpPr>
            <p:cNvPr id="9" name="Google Shape;706;p25">
              <a:extLst>
                <a:ext uri="{FF2B5EF4-FFF2-40B4-BE49-F238E27FC236}">
                  <a16:creationId xmlns:a16="http://schemas.microsoft.com/office/drawing/2014/main" id="{42648F49-FEBA-43EB-967F-611346B6C7DB}"/>
                </a:ext>
              </a:extLst>
            </p:cNvPr>
            <p:cNvSpPr/>
            <p:nvPr/>
          </p:nvSpPr>
          <p:spPr>
            <a:xfrm>
              <a:off x="6151819" y="2790220"/>
              <a:ext cx="73152" cy="73926"/>
            </a:xfrm>
            <a:custGeom>
              <a:avLst/>
              <a:gdLst/>
              <a:ahLst/>
              <a:cxnLst/>
              <a:rect l="l" t="t" r="r" b="b"/>
              <a:pathLst>
                <a:path w="3406" h="3442" extrusionOk="0">
                  <a:moveTo>
                    <a:pt x="3406" y="0"/>
                  </a:moveTo>
                  <a:lnTo>
                    <a:pt x="1" y="988"/>
                  </a:lnTo>
                  <a:lnTo>
                    <a:pt x="2561" y="3441"/>
                  </a:lnTo>
                  <a:lnTo>
                    <a:pt x="3406" y="0"/>
                  </a:lnTo>
                  <a:close/>
                </a:path>
              </a:pathLst>
            </a:custGeom>
            <a:solidFill>
              <a:srgbClr val="000000"/>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10" name="Google Shape;707;p25">
              <a:extLst>
                <a:ext uri="{FF2B5EF4-FFF2-40B4-BE49-F238E27FC236}">
                  <a16:creationId xmlns:a16="http://schemas.microsoft.com/office/drawing/2014/main" id="{58CA39AC-BBCF-45A9-8D46-AAC7076950F6}"/>
                </a:ext>
              </a:extLst>
            </p:cNvPr>
            <p:cNvSpPr/>
            <p:nvPr/>
          </p:nvSpPr>
          <p:spPr>
            <a:xfrm>
              <a:off x="6151819" y="2885087"/>
              <a:ext cx="73152" cy="73926"/>
            </a:xfrm>
            <a:custGeom>
              <a:avLst/>
              <a:gdLst/>
              <a:ahLst/>
              <a:cxnLst/>
              <a:rect l="l" t="t" r="r" b="b"/>
              <a:pathLst>
                <a:path w="3406" h="3442" extrusionOk="0">
                  <a:moveTo>
                    <a:pt x="2561" y="0"/>
                  </a:moveTo>
                  <a:lnTo>
                    <a:pt x="1" y="2453"/>
                  </a:lnTo>
                  <a:lnTo>
                    <a:pt x="3406" y="3441"/>
                  </a:lnTo>
                  <a:lnTo>
                    <a:pt x="2561" y="0"/>
                  </a:lnTo>
                  <a:close/>
                </a:path>
              </a:pathLst>
            </a:custGeom>
            <a:solidFill>
              <a:srgbClr val="000000"/>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11" name="Google Shape;708;p25">
              <a:extLst>
                <a:ext uri="{FF2B5EF4-FFF2-40B4-BE49-F238E27FC236}">
                  <a16:creationId xmlns:a16="http://schemas.microsoft.com/office/drawing/2014/main" id="{C36BEC55-501A-44D3-8913-1EDDA1532B80}"/>
                </a:ext>
              </a:extLst>
            </p:cNvPr>
            <p:cNvSpPr/>
            <p:nvPr/>
          </p:nvSpPr>
          <p:spPr>
            <a:xfrm>
              <a:off x="5457304" y="1356166"/>
              <a:ext cx="749264" cy="1484203"/>
            </a:xfrm>
            <a:custGeom>
              <a:avLst/>
              <a:gdLst/>
              <a:ahLst/>
              <a:cxnLst/>
              <a:rect l="l" t="t" r="r" b="b"/>
              <a:pathLst>
                <a:path w="34886" h="69105" extrusionOk="0">
                  <a:moveTo>
                    <a:pt x="452" y="1"/>
                  </a:moveTo>
                  <a:cubicBezTo>
                    <a:pt x="332" y="1"/>
                    <a:pt x="214" y="52"/>
                    <a:pt x="132" y="155"/>
                  </a:cubicBezTo>
                  <a:cubicBezTo>
                    <a:pt x="1" y="322"/>
                    <a:pt x="24" y="584"/>
                    <a:pt x="203" y="715"/>
                  </a:cubicBezTo>
                  <a:cubicBezTo>
                    <a:pt x="15062" y="12478"/>
                    <a:pt x="23480" y="30338"/>
                    <a:pt x="27921" y="43244"/>
                  </a:cubicBezTo>
                  <a:cubicBezTo>
                    <a:pt x="32743" y="57258"/>
                    <a:pt x="34053" y="68628"/>
                    <a:pt x="34064" y="68747"/>
                  </a:cubicBezTo>
                  <a:cubicBezTo>
                    <a:pt x="34088" y="68950"/>
                    <a:pt x="34267" y="69104"/>
                    <a:pt x="34469" y="69104"/>
                  </a:cubicBezTo>
                  <a:cubicBezTo>
                    <a:pt x="34481" y="69104"/>
                    <a:pt x="34493" y="69104"/>
                    <a:pt x="34505" y="69092"/>
                  </a:cubicBezTo>
                  <a:cubicBezTo>
                    <a:pt x="34731" y="69069"/>
                    <a:pt x="34886" y="68878"/>
                    <a:pt x="34862" y="68652"/>
                  </a:cubicBezTo>
                  <a:cubicBezTo>
                    <a:pt x="34850" y="68545"/>
                    <a:pt x="33529" y="57091"/>
                    <a:pt x="28683" y="43006"/>
                  </a:cubicBezTo>
                  <a:cubicBezTo>
                    <a:pt x="24206" y="29992"/>
                    <a:pt x="15717" y="11978"/>
                    <a:pt x="703" y="84"/>
                  </a:cubicBezTo>
                  <a:cubicBezTo>
                    <a:pt x="628" y="29"/>
                    <a:pt x="539" y="1"/>
                    <a:pt x="452" y="1"/>
                  </a:cubicBezTo>
                  <a:close/>
                </a:path>
              </a:pathLst>
            </a:custGeom>
            <a:solidFill>
              <a:srgbClr val="000000"/>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12" name="Google Shape;709;p25">
              <a:extLst>
                <a:ext uri="{FF2B5EF4-FFF2-40B4-BE49-F238E27FC236}">
                  <a16:creationId xmlns:a16="http://schemas.microsoft.com/office/drawing/2014/main" id="{D66F4522-D060-49D9-8BBC-4290F0A98651}"/>
                </a:ext>
              </a:extLst>
            </p:cNvPr>
            <p:cNvSpPr/>
            <p:nvPr/>
          </p:nvSpPr>
          <p:spPr>
            <a:xfrm>
              <a:off x="5662385" y="2516852"/>
              <a:ext cx="476414" cy="12543"/>
            </a:xfrm>
            <a:custGeom>
              <a:avLst/>
              <a:gdLst/>
              <a:ahLst/>
              <a:cxnLst/>
              <a:rect l="l" t="t" r="r" b="b"/>
              <a:pathLst>
                <a:path w="22182" h="584" extrusionOk="0">
                  <a:moveTo>
                    <a:pt x="286" y="0"/>
                  </a:moveTo>
                  <a:cubicBezTo>
                    <a:pt x="131" y="0"/>
                    <a:pt x="0" y="131"/>
                    <a:pt x="0" y="286"/>
                  </a:cubicBezTo>
                  <a:cubicBezTo>
                    <a:pt x="0" y="453"/>
                    <a:pt x="131" y="584"/>
                    <a:pt x="286" y="584"/>
                  </a:cubicBezTo>
                  <a:lnTo>
                    <a:pt x="21896" y="584"/>
                  </a:lnTo>
                  <a:cubicBezTo>
                    <a:pt x="22051" y="584"/>
                    <a:pt x="22182" y="453"/>
                    <a:pt x="22182" y="286"/>
                  </a:cubicBezTo>
                  <a:cubicBezTo>
                    <a:pt x="22182" y="131"/>
                    <a:pt x="22051" y="0"/>
                    <a:pt x="21896" y="0"/>
                  </a:cubicBezTo>
                  <a:close/>
                </a:path>
              </a:pathLst>
            </a:custGeom>
            <a:solidFill>
              <a:srgbClr val="000000"/>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13" name="Google Shape;710;p25">
              <a:extLst>
                <a:ext uri="{FF2B5EF4-FFF2-40B4-BE49-F238E27FC236}">
                  <a16:creationId xmlns:a16="http://schemas.microsoft.com/office/drawing/2014/main" id="{89C5D720-C432-4E54-AEEB-BE1884219152}"/>
                </a:ext>
              </a:extLst>
            </p:cNvPr>
            <p:cNvSpPr/>
            <p:nvPr/>
          </p:nvSpPr>
          <p:spPr>
            <a:xfrm>
              <a:off x="5648833" y="2096662"/>
              <a:ext cx="234513" cy="432729"/>
            </a:xfrm>
            <a:custGeom>
              <a:avLst/>
              <a:gdLst/>
              <a:ahLst/>
              <a:cxnLst/>
              <a:rect l="l" t="t" r="r" b="b"/>
              <a:pathLst>
                <a:path w="10919" h="20148" extrusionOk="0">
                  <a:moveTo>
                    <a:pt x="378" y="0"/>
                  </a:moveTo>
                  <a:cubicBezTo>
                    <a:pt x="326" y="0"/>
                    <a:pt x="274" y="13"/>
                    <a:pt x="226" y="38"/>
                  </a:cubicBezTo>
                  <a:cubicBezTo>
                    <a:pt x="60" y="122"/>
                    <a:pt x="0" y="312"/>
                    <a:pt x="83" y="479"/>
                  </a:cubicBezTo>
                  <a:lnTo>
                    <a:pt x="10251" y="19969"/>
                  </a:lnTo>
                  <a:cubicBezTo>
                    <a:pt x="10311" y="20088"/>
                    <a:pt x="10430" y="20148"/>
                    <a:pt x="10549" y="20148"/>
                  </a:cubicBezTo>
                  <a:cubicBezTo>
                    <a:pt x="10597" y="20148"/>
                    <a:pt x="10644" y="20136"/>
                    <a:pt x="10692" y="20112"/>
                  </a:cubicBezTo>
                  <a:cubicBezTo>
                    <a:pt x="10859" y="20029"/>
                    <a:pt x="10918" y="19838"/>
                    <a:pt x="10835" y="19672"/>
                  </a:cubicBezTo>
                  <a:lnTo>
                    <a:pt x="667" y="169"/>
                  </a:lnTo>
                  <a:cubicBezTo>
                    <a:pt x="609" y="62"/>
                    <a:pt x="494" y="0"/>
                    <a:pt x="378" y="0"/>
                  </a:cubicBezTo>
                  <a:close/>
                </a:path>
              </a:pathLst>
            </a:custGeom>
            <a:solidFill>
              <a:srgbClr val="000000"/>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14" name="Google Shape;711;p25">
              <a:extLst>
                <a:ext uri="{FF2B5EF4-FFF2-40B4-BE49-F238E27FC236}">
                  <a16:creationId xmlns:a16="http://schemas.microsoft.com/office/drawing/2014/main" id="{C7A29C7D-3542-414E-8E5F-6ECDFF150AC6}"/>
                </a:ext>
              </a:extLst>
            </p:cNvPr>
            <p:cNvSpPr/>
            <p:nvPr/>
          </p:nvSpPr>
          <p:spPr>
            <a:xfrm>
              <a:off x="5457304" y="2903220"/>
              <a:ext cx="749264" cy="1483988"/>
            </a:xfrm>
            <a:custGeom>
              <a:avLst/>
              <a:gdLst/>
              <a:ahLst/>
              <a:cxnLst/>
              <a:rect l="l" t="t" r="r" b="b"/>
              <a:pathLst>
                <a:path w="34886" h="69095" extrusionOk="0">
                  <a:moveTo>
                    <a:pt x="34461" y="0"/>
                  </a:moveTo>
                  <a:cubicBezTo>
                    <a:pt x="34264" y="0"/>
                    <a:pt x="34087" y="149"/>
                    <a:pt x="34064" y="360"/>
                  </a:cubicBezTo>
                  <a:cubicBezTo>
                    <a:pt x="34053" y="467"/>
                    <a:pt x="32743" y="11837"/>
                    <a:pt x="27921" y="25851"/>
                  </a:cubicBezTo>
                  <a:cubicBezTo>
                    <a:pt x="23480" y="38757"/>
                    <a:pt x="15062" y="56617"/>
                    <a:pt x="203" y="68380"/>
                  </a:cubicBezTo>
                  <a:cubicBezTo>
                    <a:pt x="24" y="68523"/>
                    <a:pt x="1" y="68773"/>
                    <a:pt x="132" y="68951"/>
                  </a:cubicBezTo>
                  <a:cubicBezTo>
                    <a:pt x="215" y="69047"/>
                    <a:pt x="334" y="69094"/>
                    <a:pt x="453" y="69094"/>
                  </a:cubicBezTo>
                  <a:cubicBezTo>
                    <a:pt x="536" y="69094"/>
                    <a:pt x="632" y="69070"/>
                    <a:pt x="703" y="69011"/>
                  </a:cubicBezTo>
                  <a:cubicBezTo>
                    <a:pt x="15717" y="57117"/>
                    <a:pt x="24206" y="39114"/>
                    <a:pt x="28683" y="26089"/>
                  </a:cubicBezTo>
                  <a:cubicBezTo>
                    <a:pt x="33529" y="12004"/>
                    <a:pt x="34850" y="562"/>
                    <a:pt x="34862" y="443"/>
                  </a:cubicBezTo>
                  <a:cubicBezTo>
                    <a:pt x="34886" y="229"/>
                    <a:pt x="34731" y="26"/>
                    <a:pt x="34505" y="2"/>
                  </a:cubicBezTo>
                  <a:cubicBezTo>
                    <a:pt x="34490" y="1"/>
                    <a:pt x="34476" y="0"/>
                    <a:pt x="34461" y="0"/>
                  </a:cubicBezTo>
                  <a:close/>
                </a:path>
              </a:pathLst>
            </a:custGeom>
            <a:solidFill>
              <a:srgbClr val="000000"/>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15" name="Google Shape;712;p25">
              <a:extLst>
                <a:ext uri="{FF2B5EF4-FFF2-40B4-BE49-F238E27FC236}">
                  <a16:creationId xmlns:a16="http://schemas.microsoft.com/office/drawing/2014/main" id="{0C83F8FF-0331-4B1B-AAFB-FE28BA908E08}"/>
                </a:ext>
              </a:extLst>
            </p:cNvPr>
            <p:cNvSpPr/>
            <p:nvPr/>
          </p:nvSpPr>
          <p:spPr>
            <a:xfrm>
              <a:off x="5662385" y="3224177"/>
              <a:ext cx="476414" cy="12285"/>
            </a:xfrm>
            <a:custGeom>
              <a:avLst/>
              <a:gdLst/>
              <a:ahLst/>
              <a:cxnLst/>
              <a:rect l="l" t="t" r="r" b="b"/>
              <a:pathLst>
                <a:path w="22182" h="572" extrusionOk="0">
                  <a:moveTo>
                    <a:pt x="286" y="0"/>
                  </a:moveTo>
                  <a:cubicBezTo>
                    <a:pt x="131" y="0"/>
                    <a:pt x="0" y="119"/>
                    <a:pt x="0" y="286"/>
                  </a:cubicBezTo>
                  <a:cubicBezTo>
                    <a:pt x="0" y="441"/>
                    <a:pt x="131" y="572"/>
                    <a:pt x="286" y="572"/>
                  </a:cubicBezTo>
                  <a:lnTo>
                    <a:pt x="21896" y="572"/>
                  </a:lnTo>
                  <a:cubicBezTo>
                    <a:pt x="22051" y="572"/>
                    <a:pt x="22182" y="441"/>
                    <a:pt x="22182" y="286"/>
                  </a:cubicBezTo>
                  <a:cubicBezTo>
                    <a:pt x="22182" y="119"/>
                    <a:pt x="22051" y="0"/>
                    <a:pt x="21896" y="0"/>
                  </a:cubicBezTo>
                  <a:close/>
                </a:path>
              </a:pathLst>
            </a:custGeom>
            <a:solidFill>
              <a:srgbClr val="000000"/>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16" name="Google Shape;713;p25">
              <a:extLst>
                <a:ext uri="{FF2B5EF4-FFF2-40B4-BE49-F238E27FC236}">
                  <a16:creationId xmlns:a16="http://schemas.microsoft.com/office/drawing/2014/main" id="{F60E1B18-8606-496B-A46F-FA38F34DC66F}"/>
                </a:ext>
              </a:extLst>
            </p:cNvPr>
            <p:cNvSpPr/>
            <p:nvPr/>
          </p:nvSpPr>
          <p:spPr>
            <a:xfrm>
              <a:off x="5648833" y="3223877"/>
              <a:ext cx="234513" cy="432986"/>
            </a:xfrm>
            <a:custGeom>
              <a:avLst/>
              <a:gdLst/>
              <a:ahLst/>
              <a:cxnLst/>
              <a:rect l="l" t="t" r="r" b="b"/>
              <a:pathLst>
                <a:path w="10919" h="20160" extrusionOk="0">
                  <a:moveTo>
                    <a:pt x="10543" y="0"/>
                  </a:moveTo>
                  <a:cubicBezTo>
                    <a:pt x="10425" y="0"/>
                    <a:pt x="10309" y="65"/>
                    <a:pt x="10251" y="181"/>
                  </a:cubicBezTo>
                  <a:lnTo>
                    <a:pt x="83" y="19671"/>
                  </a:lnTo>
                  <a:cubicBezTo>
                    <a:pt x="0" y="19838"/>
                    <a:pt x="60" y="20028"/>
                    <a:pt x="226" y="20112"/>
                  </a:cubicBezTo>
                  <a:cubicBezTo>
                    <a:pt x="274" y="20136"/>
                    <a:pt x="322" y="20159"/>
                    <a:pt x="369" y="20159"/>
                  </a:cubicBezTo>
                  <a:cubicBezTo>
                    <a:pt x="488" y="20159"/>
                    <a:pt x="607" y="20088"/>
                    <a:pt x="667" y="19981"/>
                  </a:cubicBezTo>
                  <a:lnTo>
                    <a:pt x="10835" y="478"/>
                  </a:lnTo>
                  <a:cubicBezTo>
                    <a:pt x="10918" y="324"/>
                    <a:pt x="10859" y="121"/>
                    <a:pt x="10692" y="38"/>
                  </a:cubicBezTo>
                  <a:cubicBezTo>
                    <a:pt x="10645" y="13"/>
                    <a:pt x="10594" y="0"/>
                    <a:pt x="10543" y="0"/>
                  </a:cubicBezTo>
                  <a:close/>
                </a:path>
              </a:pathLst>
            </a:custGeom>
            <a:solidFill>
              <a:srgbClr val="000000"/>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17" name="Google Shape;714;p25">
              <a:extLst>
                <a:ext uri="{FF2B5EF4-FFF2-40B4-BE49-F238E27FC236}">
                  <a16:creationId xmlns:a16="http://schemas.microsoft.com/office/drawing/2014/main" id="{3C4FCCB0-820C-4D0A-8165-80C70DB5C443}"/>
                </a:ext>
              </a:extLst>
            </p:cNvPr>
            <p:cNvSpPr/>
            <p:nvPr/>
          </p:nvSpPr>
          <p:spPr>
            <a:xfrm>
              <a:off x="6072803" y="2485645"/>
              <a:ext cx="66000" cy="76224"/>
            </a:xfrm>
            <a:custGeom>
              <a:avLst/>
              <a:gdLst/>
              <a:ahLst/>
              <a:cxnLst/>
              <a:rect l="l" t="t" r="r" b="b"/>
              <a:pathLst>
                <a:path w="3073" h="3549" extrusionOk="0">
                  <a:moveTo>
                    <a:pt x="1" y="1"/>
                  </a:moveTo>
                  <a:lnTo>
                    <a:pt x="1" y="3549"/>
                  </a:lnTo>
                  <a:lnTo>
                    <a:pt x="3073" y="1775"/>
                  </a:lnTo>
                  <a:lnTo>
                    <a:pt x="1" y="1"/>
                  </a:lnTo>
                  <a:close/>
                </a:path>
              </a:pathLst>
            </a:custGeom>
            <a:solidFill>
              <a:srgbClr val="000000"/>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18" name="Google Shape;715;p25">
              <a:extLst>
                <a:ext uri="{FF2B5EF4-FFF2-40B4-BE49-F238E27FC236}">
                  <a16:creationId xmlns:a16="http://schemas.microsoft.com/office/drawing/2014/main" id="{C5211A87-6245-4E6E-A74B-5647EF3B52FD}"/>
                </a:ext>
              </a:extLst>
            </p:cNvPr>
            <p:cNvSpPr/>
            <p:nvPr/>
          </p:nvSpPr>
          <p:spPr>
            <a:xfrm>
              <a:off x="5819129" y="2453428"/>
              <a:ext cx="69845" cy="75708"/>
            </a:xfrm>
            <a:custGeom>
              <a:avLst/>
              <a:gdLst/>
              <a:ahLst/>
              <a:cxnLst/>
              <a:rect l="l" t="t" r="r" b="b"/>
              <a:pathLst>
                <a:path w="3252" h="3525" extrusionOk="0">
                  <a:moveTo>
                    <a:pt x="3251" y="1"/>
                  </a:moveTo>
                  <a:lnTo>
                    <a:pt x="1" y="1418"/>
                  </a:lnTo>
                  <a:lnTo>
                    <a:pt x="2858" y="3525"/>
                  </a:lnTo>
                  <a:lnTo>
                    <a:pt x="3251" y="1"/>
                  </a:lnTo>
                  <a:close/>
                </a:path>
              </a:pathLst>
            </a:custGeom>
            <a:solidFill>
              <a:srgbClr val="000000"/>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19" name="Google Shape;716;p25">
              <a:extLst>
                <a:ext uri="{FF2B5EF4-FFF2-40B4-BE49-F238E27FC236}">
                  <a16:creationId xmlns:a16="http://schemas.microsoft.com/office/drawing/2014/main" id="{7A37744C-6E15-4DEC-B3B9-3D23686B1793}"/>
                </a:ext>
              </a:extLst>
            </p:cNvPr>
            <p:cNvSpPr/>
            <p:nvPr/>
          </p:nvSpPr>
          <p:spPr>
            <a:xfrm>
              <a:off x="6072803" y="3190930"/>
              <a:ext cx="66000" cy="76224"/>
            </a:xfrm>
            <a:custGeom>
              <a:avLst/>
              <a:gdLst/>
              <a:ahLst/>
              <a:cxnLst/>
              <a:rect l="l" t="t" r="r" b="b"/>
              <a:pathLst>
                <a:path w="3073" h="3549" extrusionOk="0">
                  <a:moveTo>
                    <a:pt x="1" y="0"/>
                  </a:moveTo>
                  <a:lnTo>
                    <a:pt x="1" y="3548"/>
                  </a:lnTo>
                  <a:lnTo>
                    <a:pt x="3073" y="1774"/>
                  </a:lnTo>
                  <a:lnTo>
                    <a:pt x="1" y="0"/>
                  </a:lnTo>
                  <a:close/>
                </a:path>
              </a:pathLst>
            </a:custGeom>
            <a:solidFill>
              <a:srgbClr val="000000"/>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20" name="Google Shape;717;p25">
              <a:extLst>
                <a:ext uri="{FF2B5EF4-FFF2-40B4-BE49-F238E27FC236}">
                  <a16:creationId xmlns:a16="http://schemas.microsoft.com/office/drawing/2014/main" id="{CCBC8359-1EDF-4527-B667-44F905E47A25}"/>
                </a:ext>
              </a:extLst>
            </p:cNvPr>
            <p:cNvSpPr/>
            <p:nvPr/>
          </p:nvSpPr>
          <p:spPr>
            <a:xfrm>
              <a:off x="5819129" y="3223662"/>
              <a:ext cx="69845" cy="75708"/>
            </a:xfrm>
            <a:custGeom>
              <a:avLst/>
              <a:gdLst/>
              <a:ahLst/>
              <a:cxnLst/>
              <a:rect l="l" t="t" r="r" b="b"/>
              <a:pathLst>
                <a:path w="3252" h="3525" extrusionOk="0">
                  <a:moveTo>
                    <a:pt x="2858" y="0"/>
                  </a:moveTo>
                  <a:lnTo>
                    <a:pt x="1" y="2108"/>
                  </a:lnTo>
                  <a:lnTo>
                    <a:pt x="3251" y="3524"/>
                  </a:lnTo>
                  <a:lnTo>
                    <a:pt x="2858" y="0"/>
                  </a:lnTo>
                  <a:close/>
                </a:path>
              </a:pathLst>
            </a:custGeom>
            <a:solidFill>
              <a:srgbClr val="000000"/>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21" name="Google Shape;718;p25">
              <a:extLst>
                <a:ext uri="{FF2B5EF4-FFF2-40B4-BE49-F238E27FC236}">
                  <a16:creationId xmlns:a16="http://schemas.microsoft.com/office/drawing/2014/main" id="{D3581365-3D43-4305-BA84-BF4FCF85885D}"/>
                </a:ext>
              </a:extLst>
            </p:cNvPr>
            <p:cNvSpPr/>
            <p:nvPr/>
          </p:nvSpPr>
          <p:spPr>
            <a:xfrm>
              <a:off x="5173703" y="4155236"/>
              <a:ext cx="451607" cy="451607"/>
            </a:xfrm>
            <a:custGeom>
              <a:avLst/>
              <a:gdLst/>
              <a:ahLst/>
              <a:cxnLst/>
              <a:rect l="l" t="t" r="r" b="b"/>
              <a:pathLst>
                <a:path w="21027" h="21027" extrusionOk="0">
                  <a:moveTo>
                    <a:pt x="10514" y="1"/>
                  </a:moveTo>
                  <a:cubicBezTo>
                    <a:pt x="4703" y="1"/>
                    <a:pt x="0" y="4704"/>
                    <a:pt x="0" y="10514"/>
                  </a:cubicBezTo>
                  <a:cubicBezTo>
                    <a:pt x="0" y="16324"/>
                    <a:pt x="4703" y="21027"/>
                    <a:pt x="10514" y="21027"/>
                  </a:cubicBezTo>
                  <a:cubicBezTo>
                    <a:pt x="16312" y="21027"/>
                    <a:pt x="21027" y="16324"/>
                    <a:pt x="21027" y="10514"/>
                  </a:cubicBezTo>
                  <a:cubicBezTo>
                    <a:pt x="21027" y="4704"/>
                    <a:pt x="16312" y="1"/>
                    <a:pt x="10514" y="1"/>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Tx/>
                <a:buNone/>
                <a:tabLst/>
                <a:defRPr/>
              </a:pPr>
              <a:r>
                <a:rPr kumimoji="0" lang="en" sz="2267" b="0" i="0" u="none" strike="noStrike" kern="1200" cap="none" spc="0" normalizeH="0" baseline="0" noProof="0">
                  <a:ln>
                    <a:noFill/>
                  </a:ln>
                  <a:solidFill>
                    <a:srgbClr val="FFFFFF"/>
                  </a:solidFill>
                  <a:effectLst/>
                  <a:uLnTx/>
                  <a:uFillTx/>
                  <a:latin typeface="Arial"/>
                  <a:ea typeface="+mn-ea"/>
                  <a:cs typeface="+mn-ea"/>
                  <a:sym typeface="+mn-lt"/>
                </a:rPr>
                <a:t>B</a:t>
              </a: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22" name="Google Shape;719;p25">
              <a:extLst>
                <a:ext uri="{FF2B5EF4-FFF2-40B4-BE49-F238E27FC236}">
                  <a16:creationId xmlns:a16="http://schemas.microsoft.com/office/drawing/2014/main" id="{B4718466-225B-4884-B6A8-8D0885DDAAB4}"/>
                </a:ext>
              </a:extLst>
            </p:cNvPr>
            <p:cNvSpPr/>
            <p:nvPr/>
          </p:nvSpPr>
          <p:spPr>
            <a:xfrm>
              <a:off x="5173703" y="1133923"/>
              <a:ext cx="451607" cy="451607"/>
            </a:xfrm>
            <a:custGeom>
              <a:avLst/>
              <a:gdLst/>
              <a:ahLst/>
              <a:cxnLst/>
              <a:rect l="l" t="t" r="r" b="b"/>
              <a:pathLst>
                <a:path w="21027" h="21027" extrusionOk="0">
                  <a:moveTo>
                    <a:pt x="10514" y="1"/>
                  </a:moveTo>
                  <a:cubicBezTo>
                    <a:pt x="4703" y="1"/>
                    <a:pt x="0" y="4704"/>
                    <a:pt x="0" y="10514"/>
                  </a:cubicBezTo>
                  <a:cubicBezTo>
                    <a:pt x="0" y="16312"/>
                    <a:pt x="4703" y="21027"/>
                    <a:pt x="10514" y="21027"/>
                  </a:cubicBezTo>
                  <a:cubicBezTo>
                    <a:pt x="16312" y="21027"/>
                    <a:pt x="21027" y="16312"/>
                    <a:pt x="21027" y="10514"/>
                  </a:cubicBezTo>
                  <a:cubicBezTo>
                    <a:pt x="21027" y="4704"/>
                    <a:pt x="16312" y="1"/>
                    <a:pt x="10514" y="1"/>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Tx/>
                <a:buNone/>
                <a:tabLst/>
                <a:defRPr/>
              </a:pPr>
              <a:r>
                <a:rPr kumimoji="0" lang="en" sz="2267" b="0" i="0" u="none" strike="noStrike" kern="1200" cap="none" spc="0" normalizeH="0" baseline="0" noProof="0">
                  <a:ln>
                    <a:noFill/>
                  </a:ln>
                  <a:solidFill>
                    <a:srgbClr val="FFFFFF"/>
                  </a:solidFill>
                  <a:effectLst/>
                  <a:uLnTx/>
                  <a:uFillTx/>
                  <a:latin typeface="Arial"/>
                  <a:ea typeface="+mn-ea"/>
                  <a:cs typeface="+mn-ea"/>
                  <a:sym typeface="+mn-lt"/>
                </a:rPr>
                <a:t>A</a:t>
              </a: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23" name="Google Shape;720;p25">
              <a:extLst>
                <a:ext uri="{FF2B5EF4-FFF2-40B4-BE49-F238E27FC236}">
                  <a16:creationId xmlns:a16="http://schemas.microsoft.com/office/drawing/2014/main" id="{E1352D12-AD54-4982-B624-4F0EBABE76A5}"/>
                </a:ext>
              </a:extLst>
            </p:cNvPr>
            <p:cNvSpPr txBox="1"/>
            <p:nvPr/>
          </p:nvSpPr>
          <p:spPr>
            <a:xfrm>
              <a:off x="4876288" y="1973447"/>
              <a:ext cx="759000" cy="205500"/>
            </a:xfrm>
            <a:prstGeom prst="rect">
              <a:avLst/>
            </a:prstGeom>
            <a:noFill/>
            <a:ln>
              <a:noFill/>
            </a:ln>
          </p:spPr>
          <p:txBody>
            <a:bodyPr spcFirstLastPara="1" wrap="square" lIns="121900" tIns="121900" rIns="121900" bIns="12190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 sz="1467" b="0" i="0" u="none" strike="noStrike" kern="1200" cap="none" spc="0" normalizeH="0" baseline="0" noProof="0">
                  <a:ln>
                    <a:noFill/>
                  </a:ln>
                  <a:solidFill>
                    <a:srgbClr val="434343"/>
                  </a:solidFill>
                  <a:effectLst/>
                  <a:uLnTx/>
                  <a:uFillTx/>
                  <a:latin typeface="Arial"/>
                  <a:ea typeface="+mn-ea"/>
                  <a:cs typeface="+mn-ea"/>
                  <a:sym typeface="+mn-lt"/>
                </a:rPr>
                <a:t>Venus</a:t>
              </a:r>
              <a:endParaRPr kumimoji="0" sz="1467" b="0" i="0" u="none" strike="noStrike" kern="1200" cap="none" spc="0" normalizeH="0" baseline="0" noProof="0">
                <a:ln>
                  <a:noFill/>
                </a:ln>
                <a:solidFill>
                  <a:srgbClr val="434343"/>
                </a:solidFill>
                <a:effectLst/>
                <a:uLnTx/>
                <a:uFillTx/>
                <a:latin typeface="Arial"/>
                <a:ea typeface="+mn-ea"/>
                <a:cs typeface="+mn-ea"/>
                <a:sym typeface="+mn-lt"/>
              </a:endParaRPr>
            </a:p>
          </p:txBody>
        </p:sp>
        <p:sp>
          <p:nvSpPr>
            <p:cNvPr id="24" name="Google Shape;721;p25">
              <a:extLst>
                <a:ext uri="{FF2B5EF4-FFF2-40B4-BE49-F238E27FC236}">
                  <a16:creationId xmlns:a16="http://schemas.microsoft.com/office/drawing/2014/main" id="{CEE9492B-04B7-4685-9BF4-CC7AEE4AD6E4}"/>
                </a:ext>
              </a:extLst>
            </p:cNvPr>
            <p:cNvSpPr txBox="1"/>
            <p:nvPr/>
          </p:nvSpPr>
          <p:spPr>
            <a:xfrm>
              <a:off x="4876288" y="2409822"/>
              <a:ext cx="759000" cy="205500"/>
            </a:xfrm>
            <a:prstGeom prst="rect">
              <a:avLst/>
            </a:prstGeom>
            <a:noFill/>
            <a:ln>
              <a:noFill/>
            </a:ln>
          </p:spPr>
          <p:txBody>
            <a:bodyPr spcFirstLastPara="1" wrap="square" lIns="121900" tIns="121900" rIns="121900" bIns="12190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 sz="1467" b="0" i="0" u="none" strike="noStrike" kern="1200" cap="none" spc="0" normalizeH="0" baseline="0" noProof="0">
                  <a:ln>
                    <a:noFill/>
                  </a:ln>
                  <a:solidFill>
                    <a:srgbClr val="434343"/>
                  </a:solidFill>
                  <a:effectLst/>
                  <a:uLnTx/>
                  <a:uFillTx/>
                  <a:latin typeface="Arial"/>
                  <a:ea typeface="+mn-ea"/>
                  <a:cs typeface="+mn-ea"/>
                  <a:sym typeface="+mn-lt"/>
                </a:rPr>
                <a:t>Saturn</a:t>
              </a:r>
              <a:endParaRPr kumimoji="0" sz="1467" b="0" i="0" u="none" strike="noStrike" kern="1200" cap="none" spc="0" normalizeH="0" baseline="0" noProof="0">
                <a:ln>
                  <a:noFill/>
                </a:ln>
                <a:solidFill>
                  <a:srgbClr val="434343"/>
                </a:solidFill>
                <a:effectLst/>
                <a:uLnTx/>
                <a:uFillTx/>
                <a:latin typeface="Arial"/>
                <a:ea typeface="+mn-ea"/>
                <a:cs typeface="+mn-ea"/>
                <a:sym typeface="+mn-lt"/>
              </a:endParaRPr>
            </a:p>
          </p:txBody>
        </p:sp>
        <p:sp>
          <p:nvSpPr>
            <p:cNvPr id="25" name="Google Shape;722;p25">
              <a:extLst>
                <a:ext uri="{FF2B5EF4-FFF2-40B4-BE49-F238E27FC236}">
                  <a16:creationId xmlns:a16="http://schemas.microsoft.com/office/drawing/2014/main" id="{1B710A6D-8860-4A60-B4AF-083BAE812522}"/>
                </a:ext>
              </a:extLst>
            </p:cNvPr>
            <p:cNvSpPr txBox="1"/>
            <p:nvPr/>
          </p:nvSpPr>
          <p:spPr>
            <a:xfrm>
              <a:off x="4876288" y="3137447"/>
              <a:ext cx="759000" cy="205500"/>
            </a:xfrm>
            <a:prstGeom prst="rect">
              <a:avLst/>
            </a:prstGeom>
            <a:noFill/>
            <a:ln>
              <a:noFill/>
            </a:ln>
          </p:spPr>
          <p:txBody>
            <a:bodyPr spcFirstLastPara="1" wrap="square" lIns="121900" tIns="121900" rIns="121900" bIns="12190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 sz="1467" b="0" i="0" u="none" strike="noStrike" kern="1200" cap="none" spc="0" normalizeH="0" baseline="0" noProof="0">
                  <a:ln>
                    <a:noFill/>
                  </a:ln>
                  <a:solidFill>
                    <a:srgbClr val="434343"/>
                  </a:solidFill>
                  <a:effectLst/>
                  <a:uLnTx/>
                  <a:uFillTx/>
                  <a:latin typeface="Arial"/>
                  <a:ea typeface="+mn-ea"/>
                  <a:cs typeface="+mn-ea"/>
                  <a:sym typeface="+mn-lt"/>
                </a:rPr>
                <a:t>Earth</a:t>
              </a:r>
              <a:endParaRPr kumimoji="0" sz="1467" b="0" i="0" u="none" strike="noStrike" kern="1200" cap="none" spc="0" normalizeH="0" baseline="0" noProof="0">
                <a:ln>
                  <a:noFill/>
                </a:ln>
                <a:solidFill>
                  <a:srgbClr val="434343"/>
                </a:solidFill>
                <a:effectLst/>
                <a:uLnTx/>
                <a:uFillTx/>
                <a:latin typeface="Arial"/>
                <a:ea typeface="+mn-ea"/>
                <a:cs typeface="+mn-ea"/>
                <a:sym typeface="+mn-lt"/>
              </a:endParaRPr>
            </a:p>
          </p:txBody>
        </p:sp>
        <p:sp>
          <p:nvSpPr>
            <p:cNvPr id="26" name="Google Shape;723;p25">
              <a:extLst>
                <a:ext uri="{FF2B5EF4-FFF2-40B4-BE49-F238E27FC236}">
                  <a16:creationId xmlns:a16="http://schemas.microsoft.com/office/drawing/2014/main" id="{E081CAD7-E91C-4D93-935C-D38AE9318FA7}"/>
                </a:ext>
              </a:extLst>
            </p:cNvPr>
            <p:cNvSpPr txBox="1"/>
            <p:nvPr/>
          </p:nvSpPr>
          <p:spPr>
            <a:xfrm>
              <a:off x="4876288" y="3573822"/>
              <a:ext cx="759000" cy="205500"/>
            </a:xfrm>
            <a:prstGeom prst="rect">
              <a:avLst/>
            </a:prstGeom>
            <a:noFill/>
            <a:ln>
              <a:noFill/>
            </a:ln>
          </p:spPr>
          <p:txBody>
            <a:bodyPr spcFirstLastPara="1" wrap="square" lIns="121900" tIns="121900" rIns="121900" bIns="12190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 sz="1467" b="0" i="0" u="none" strike="noStrike" kern="1200" cap="none" spc="0" normalizeH="0" baseline="0" noProof="0">
                  <a:ln>
                    <a:noFill/>
                  </a:ln>
                  <a:solidFill>
                    <a:srgbClr val="434343"/>
                  </a:solidFill>
                  <a:effectLst/>
                  <a:uLnTx/>
                  <a:uFillTx/>
                  <a:latin typeface="Arial"/>
                  <a:ea typeface="+mn-ea"/>
                  <a:cs typeface="+mn-ea"/>
                  <a:sym typeface="+mn-lt"/>
                </a:rPr>
                <a:t>Moon</a:t>
              </a:r>
              <a:endParaRPr kumimoji="0" sz="1467" b="0" i="0" u="none" strike="noStrike" kern="1200" cap="none" spc="0" normalizeH="0" baseline="0" noProof="0">
                <a:ln>
                  <a:noFill/>
                </a:ln>
                <a:solidFill>
                  <a:srgbClr val="434343"/>
                </a:solidFill>
                <a:effectLst/>
                <a:uLnTx/>
                <a:uFillTx/>
                <a:latin typeface="Arial"/>
                <a:ea typeface="+mn-ea"/>
                <a:cs typeface="+mn-ea"/>
                <a:sym typeface="+mn-lt"/>
              </a:endParaRPr>
            </a:p>
          </p:txBody>
        </p:sp>
      </p:grpSp>
      <p:grpSp>
        <p:nvGrpSpPr>
          <p:cNvPr id="27" name="Google Shape;724;p25">
            <a:extLst>
              <a:ext uri="{FF2B5EF4-FFF2-40B4-BE49-F238E27FC236}">
                <a16:creationId xmlns:a16="http://schemas.microsoft.com/office/drawing/2014/main" id="{22B405A5-4FA6-4BCC-94D7-A5D56FB7656F}"/>
              </a:ext>
            </a:extLst>
          </p:cNvPr>
          <p:cNvGrpSpPr/>
          <p:nvPr/>
        </p:nvGrpSpPr>
        <p:grpSpPr>
          <a:xfrm>
            <a:off x="4393118" y="1425462"/>
            <a:ext cx="1789543" cy="4227776"/>
            <a:chOff x="3294838" y="1290973"/>
            <a:chExt cx="1342157" cy="3170832"/>
          </a:xfrm>
        </p:grpSpPr>
        <p:sp>
          <p:nvSpPr>
            <p:cNvPr id="28" name="Google Shape;725;p25">
              <a:extLst>
                <a:ext uri="{FF2B5EF4-FFF2-40B4-BE49-F238E27FC236}">
                  <a16:creationId xmlns:a16="http://schemas.microsoft.com/office/drawing/2014/main" id="{43E722A8-0859-4CFC-A168-CED3C34E170E}"/>
                </a:ext>
              </a:extLst>
            </p:cNvPr>
            <p:cNvSpPr/>
            <p:nvPr/>
          </p:nvSpPr>
          <p:spPr>
            <a:xfrm>
              <a:off x="3947818" y="1571660"/>
              <a:ext cx="678174" cy="1312404"/>
            </a:xfrm>
            <a:custGeom>
              <a:avLst/>
              <a:gdLst/>
              <a:ahLst/>
              <a:cxnLst/>
              <a:rect l="l" t="t" r="r" b="b"/>
              <a:pathLst>
                <a:path w="31576" h="61106" extrusionOk="0">
                  <a:moveTo>
                    <a:pt x="402" y="0"/>
                  </a:moveTo>
                  <a:cubicBezTo>
                    <a:pt x="295" y="0"/>
                    <a:pt x="189" y="49"/>
                    <a:pt x="119" y="146"/>
                  </a:cubicBezTo>
                  <a:cubicBezTo>
                    <a:pt x="0" y="301"/>
                    <a:pt x="24" y="527"/>
                    <a:pt x="179" y="646"/>
                  </a:cubicBezTo>
                  <a:cubicBezTo>
                    <a:pt x="13633" y="11052"/>
                    <a:pt x="21253" y="26840"/>
                    <a:pt x="25277" y="38258"/>
                  </a:cubicBezTo>
                  <a:cubicBezTo>
                    <a:pt x="29647" y="50640"/>
                    <a:pt x="30837" y="60689"/>
                    <a:pt x="30849" y="60796"/>
                  </a:cubicBezTo>
                  <a:cubicBezTo>
                    <a:pt x="30861" y="60975"/>
                    <a:pt x="31016" y="61106"/>
                    <a:pt x="31206" y="61106"/>
                  </a:cubicBezTo>
                  <a:lnTo>
                    <a:pt x="31242" y="61106"/>
                  </a:lnTo>
                  <a:cubicBezTo>
                    <a:pt x="31445" y="61082"/>
                    <a:pt x="31576" y="60903"/>
                    <a:pt x="31564" y="60713"/>
                  </a:cubicBezTo>
                  <a:cubicBezTo>
                    <a:pt x="31552" y="60606"/>
                    <a:pt x="30349" y="50485"/>
                    <a:pt x="25968" y="38032"/>
                  </a:cubicBezTo>
                  <a:cubicBezTo>
                    <a:pt x="21908" y="26518"/>
                    <a:pt x="14216" y="10588"/>
                    <a:pt x="619" y="74"/>
                  </a:cubicBezTo>
                  <a:cubicBezTo>
                    <a:pt x="555" y="25"/>
                    <a:pt x="478" y="0"/>
                    <a:pt x="402" y="0"/>
                  </a:cubicBezTo>
                  <a:close/>
                </a:path>
              </a:pathLst>
            </a:custGeom>
            <a:solidFill>
              <a:srgbClr val="000000"/>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29" name="Google Shape;726;p25">
              <a:extLst>
                <a:ext uri="{FF2B5EF4-FFF2-40B4-BE49-F238E27FC236}">
                  <a16:creationId xmlns:a16="http://schemas.microsoft.com/office/drawing/2014/main" id="{A81300A4-C47D-4C8A-904A-90AC5FA42268}"/>
                </a:ext>
              </a:extLst>
            </p:cNvPr>
            <p:cNvSpPr/>
            <p:nvPr/>
          </p:nvSpPr>
          <p:spPr>
            <a:xfrm>
              <a:off x="4066977" y="2516852"/>
              <a:ext cx="476414" cy="12543"/>
            </a:xfrm>
            <a:custGeom>
              <a:avLst/>
              <a:gdLst/>
              <a:ahLst/>
              <a:cxnLst/>
              <a:rect l="l" t="t" r="r" b="b"/>
              <a:pathLst>
                <a:path w="22182" h="584" extrusionOk="0">
                  <a:moveTo>
                    <a:pt x="286" y="0"/>
                  </a:moveTo>
                  <a:cubicBezTo>
                    <a:pt x="120" y="0"/>
                    <a:pt x="1" y="131"/>
                    <a:pt x="1" y="286"/>
                  </a:cubicBezTo>
                  <a:cubicBezTo>
                    <a:pt x="1" y="453"/>
                    <a:pt x="120" y="584"/>
                    <a:pt x="286" y="584"/>
                  </a:cubicBezTo>
                  <a:lnTo>
                    <a:pt x="21884" y="584"/>
                  </a:lnTo>
                  <a:cubicBezTo>
                    <a:pt x="22051" y="584"/>
                    <a:pt x="22182" y="453"/>
                    <a:pt x="22182" y="286"/>
                  </a:cubicBezTo>
                  <a:cubicBezTo>
                    <a:pt x="22182" y="131"/>
                    <a:pt x="22051" y="0"/>
                    <a:pt x="21884" y="0"/>
                  </a:cubicBezTo>
                  <a:close/>
                </a:path>
              </a:pathLst>
            </a:custGeom>
            <a:solidFill>
              <a:srgbClr val="000000"/>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30" name="Google Shape;727;p25">
              <a:extLst>
                <a:ext uri="{FF2B5EF4-FFF2-40B4-BE49-F238E27FC236}">
                  <a16:creationId xmlns:a16="http://schemas.microsoft.com/office/drawing/2014/main" id="{6751D11C-8681-47D6-BB01-C6BCB2DBE1A8}"/>
                </a:ext>
              </a:extLst>
            </p:cNvPr>
            <p:cNvSpPr/>
            <p:nvPr/>
          </p:nvSpPr>
          <p:spPr>
            <a:xfrm>
              <a:off x="4053424" y="2096662"/>
              <a:ext cx="234513" cy="432729"/>
            </a:xfrm>
            <a:custGeom>
              <a:avLst/>
              <a:gdLst/>
              <a:ahLst/>
              <a:cxnLst/>
              <a:rect l="l" t="t" r="r" b="b"/>
              <a:pathLst>
                <a:path w="10919" h="20148" extrusionOk="0">
                  <a:moveTo>
                    <a:pt x="375" y="0"/>
                  </a:moveTo>
                  <a:cubicBezTo>
                    <a:pt x="325" y="0"/>
                    <a:pt x="274" y="13"/>
                    <a:pt x="227" y="38"/>
                  </a:cubicBezTo>
                  <a:cubicBezTo>
                    <a:pt x="60" y="122"/>
                    <a:pt x="0" y="312"/>
                    <a:pt x="84" y="479"/>
                  </a:cubicBezTo>
                  <a:lnTo>
                    <a:pt x="10252" y="19969"/>
                  </a:lnTo>
                  <a:cubicBezTo>
                    <a:pt x="10311" y="20088"/>
                    <a:pt x="10430" y="20148"/>
                    <a:pt x="10538" y="20148"/>
                  </a:cubicBezTo>
                  <a:cubicBezTo>
                    <a:pt x="10597" y="20148"/>
                    <a:pt x="10645" y="20136"/>
                    <a:pt x="10692" y="20112"/>
                  </a:cubicBezTo>
                  <a:cubicBezTo>
                    <a:pt x="10859" y="20029"/>
                    <a:pt x="10919" y="19838"/>
                    <a:pt x="10835" y="19672"/>
                  </a:cubicBezTo>
                  <a:lnTo>
                    <a:pt x="655" y="169"/>
                  </a:lnTo>
                  <a:cubicBezTo>
                    <a:pt x="598" y="62"/>
                    <a:pt x="488" y="0"/>
                    <a:pt x="375" y="0"/>
                  </a:cubicBezTo>
                  <a:close/>
                </a:path>
              </a:pathLst>
            </a:custGeom>
            <a:solidFill>
              <a:srgbClr val="000000"/>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31" name="Google Shape;728;p25">
              <a:extLst>
                <a:ext uri="{FF2B5EF4-FFF2-40B4-BE49-F238E27FC236}">
                  <a16:creationId xmlns:a16="http://schemas.microsoft.com/office/drawing/2014/main" id="{0B9365D7-99A2-4A6B-B6D7-2EC0926B1862}"/>
                </a:ext>
              </a:extLst>
            </p:cNvPr>
            <p:cNvSpPr/>
            <p:nvPr/>
          </p:nvSpPr>
          <p:spPr>
            <a:xfrm>
              <a:off x="3947818" y="2869172"/>
              <a:ext cx="678174" cy="1312404"/>
            </a:xfrm>
            <a:custGeom>
              <a:avLst/>
              <a:gdLst/>
              <a:ahLst/>
              <a:cxnLst/>
              <a:rect l="l" t="t" r="r" b="b"/>
              <a:pathLst>
                <a:path w="31576" h="61106" extrusionOk="0">
                  <a:moveTo>
                    <a:pt x="31198" y="1"/>
                  </a:moveTo>
                  <a:cubicBezTo>
                    <a:pt x="31015" y="1"/>
                    <a:pt x="30860" y="137"/>
                    <a:pt x="30849" y="325"/>
                  </a:cubicBezTo>
                  <a:cubicBezTo>
                    <a:pt x="30837" y="420"/>
                    <a:pt x="29647" y="10469"/>
                    <a:pt x="25277" y="22863"/>
                  </a:cubicBezTo>
                  <a:cubicBezTo>
                    <a:pt x="21253" y="34269"/>
                    <a:pt x="13633" y="50069"/>
                    <a:pt x="179" y="60463"/>
                  </a:cubicBezTo>
                  <a:cubicBezTo>
                    <a:pt x="24" y="60582"/>
                    <a:pt x="0" y="60808"/>
                    <a:pt x="119" y="60975"/>
                  </a:cubicBezTo>
                  <a:cubicBezTo>
                    <a:pt x="191" y="61058"/>
                    <a:pt x="298" y="61106"/>
                    <a:pt x="405" y="61106"/>
                  </a:cubicBezTo>
                  <a:cubicBezTo>
                    <a:pt x="476" y="61106"/>
                    <a:pt x="560" y="61082"/>
                    <a:pt x="619" y="61035"/>
                  </a:cubicBezTo>
                  <a:cubicBezTo>
                    <a:pt x="14216" y="50521"/>
                    <a:pt x="21908" y="34591"/>
                    <a:pt x="25968" y="23077"/>
                  </a:cubicBezTo>
                  <a:cubicBezTo>
                    <a:pt x="30349" y="10624"/>
                    <a:pt x="31552" y="503"/>
                    <a:pt x="31564" y="396"/>
                  </a:cubicBezTo>
                  <a:cubicBezTo>
                    <a:pt x="31576" y="206"/>
                    <a:pt x="31445" y="27"/>
                    <a:pt x="31242" y="3"/>
                  </a:cubicBezTo>
                  <a:cubicBezTo>
                    <a:pt x="31227" y="1"/>
                    <a:pt x="31213" y="1"/>
                    <a:pt x="31198" y="1"/>
                  </a:cubicBezTo>
                  <a:close/>
                </a:path>
              </a:pathLst>
            </a:custGeom>
            <a:solidFill>
              <a:srgbClr val="000000"/>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32" name="Google Shape;729;p25">
              <a:extLst>
                <a:ext uri="{FF2B5EF4-FFF2-40B4-BE49-F238E27FC236}">
                  <a16:creationId xmlns:a16="http://schemas.microsoft.com/office/drawing/2014/main" id="{A83CB4CE-4A6F-4D3E-A780-8C463B9FD0D0}"/>
                </a:ext>
              </a:extLst>
            </p:cNvPr>
            <p:cNvSpPr/>
            <p:nvPr/>
          </p:nvSpPr>
          <p:spPr>
            <a:xfrm>
              <a:off x="4066977" y="3224177"/>
              <a:ext cx="476414" cy="12285"/>
            </a:xfrm>
            <a:custGeom>
              <a:avLst/>
              <a:gdLst/>
              <a:ahLst/>
              <a:cxnLst/>
              <a:rect l="l" t="t" r="r" b="b"/>
              <a:pathLst>
                <a:path w="22182" h="572" extrusionOk="0">
                  <a:moveTo>
                    <a:pt x="286" y="0"/>
                  </a:moveTo>
                  <a:cubicBezTo>
                    <a:pt x="120" y="0"/>
                    <a:pt x="1" y="119"/>
                    <a:pt x="1" y="286"/>
                  </a:cubicBezTo>
                  <a:cubicBezTo>
                    <a:pt x="1" y="441"/>
                    <a:pt x="120" y="572"/>
                    <a:pt x="286" y="572"/>
                  </a:cubicBezTo>
                  <a:lnTo>
                    <a:pt x="21884" y="572"/>
                  </a:lnTo>
                  <a:cubicBezTo>
                    <a:pt x="22051" y="572"/>
                    <a:pt x="22182" y="441"/>
                    <a:pt x="22182" y="286"/>
                  </a:cubicBezTo>
                  <a:cubicBezTo>
                    <a:pt x="22182" y="119"/>
                    <a:pt x="22051" y="0"/>
                    <a:pt x="21884" y="0"/>
                  </a:cubicBezTo>
                  <a:close/>
                </a:path>
              </a:pathLst>
            </a:custGeom>
            <a:solidFill>
              <a:srgbClr val="000000"/>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33" name="Google Shape;730;p25">
              <a:extLst>
                <a:ext uri="{FF2B5EF4-FFF2-40B4-BE49-F238E27FC236}">
                  <a16:creationId xmlns:a16="http://schemas.microsoft.com/office/drawing/2014/main" id="{9394DF9A-7AC9-4510-AD96-524D84E66070}"/>
                </a:ext>
              </a:extLst>
            </p:cNvPr>
            <p:cNvSpPr/>
            <p:nvPr/>
          </p:nvSpPr>
          <p:spPr>
            <a:xfrm>
              <a:off x="4053424" y="3223877"/>
              <a:ext cx="234513" cy="432986"/>
            </a:xfrm>
            <a:custGeom>
              <a:avLst/>
              <a:gdLst/>
              <a:ahLst/>
              <a:cxnLst/>
              <a:rect l="l" t="t" r="r" b="b"/>
              <a:pathLst>
                <a:path w="10919" h="20160" extrusionOk="0">
                  <a:moveTo>
                    <a:pt x="10543" y="0"/>
                  </a:moveTo>
                  <a:cubicBezTo>
                    <a:pt x="10426" y="0"/>
                    <a:pt x="10310" y="65"/>
                    <a:pt x="10252" y="181"/>
                  </a:cubicBezTo>
                  <a:lnTo>
                    <a:pt x="84" y="19671"/>
                  </a:lnTo>
                  <a:cubicBezTo>
                    <a:pt x="0" y="19838"/>
                    <a:pt x="60" y="20028"/>
                    <a:pt x="227" y="20112"/>
                  </a:cubicBezTo>
                  <a:cubicBezTo>
                    <a:pt x="274" y="20136"/>
                    <a:pt x="322" y="20159"/>
                    <a:pt x="370" y="20159"/>
                  </a:cubicBezTo>
                  <a:cubicBezTo>
                    <a:pt x="489" y="20159"/>
                    <a:pt x="608" y="20088"/>
                    <a:pt x="655" y="19981"/>
                  </a:cubicBezTo>
                  <a:lnTo>
                    <a:pt x="10835" y="478"/>
                  </a:lnTo>
                  <a:cubicBezTo>
                    <a:pt x="10919" y="324"/>
                    <a:pt x="10859" y="121"/>
                    <a:pt x="10692" y="38"/>
                  </a:cubicBezTo>
                  <a:cubicBezTo>
                    <a:pt x="10645" y="13"/>
                    <a:pt x="10594" y="0"/>
                    <a:pt x="10543" y="0"/>
                  </a:cubicBezTo>
                  <a:close/>
                </a:path>
              </a:pathLst>
            </a:custGeom>
            <a:solidFill>
              <a:srgbClr val="000000"/>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34" name="Google Shape;731;p25">
              <a:extLst>
                <a:ext uri="{FF2B5EF4-FFF2-40B4-BE49-F238E27FC236}">
                  <a16:creationId xmlns:a16="http://schemas.microsoft.com/office/drawing/2014/main" id="{56A8666E-5300-4442-B8F6-8A48D7BC9CA0}"/>
                </a:ext>
              </a:extLst>
            </p:cNvPr>
            <p:cNvSpPr/>
            <p:nvPr/>
          </p:nvSpPr>
          <p:spPr>
            <a:xfrm>
              <a:off x="4477158" y="2485645"/>
              <a:ext cx="65979" cy="76224"/>
            </a:xfrm>
            <a:custGeom>
              <a:avLst/>
              <a:gdLst/>
              <a:ahLst/>
              <a:cxnLst/>
              <a:rect l="l" t="t" r="r" b="b"/>
              <a:pathLst>
                <a:path w="3072" h="3549" extrusionOk="0">
                  <a:moveTo>
                    <a:pt x="0" y="1"/>
                  </a:moveTo>
                  <a:lnTo>
                    <a:pt x="0" y="3549"/>
                  </a:lnTo>
                  <a:lnTo>
                    <a:pt x="3072" y="1775"/>
                  </a:lnTo>
                  <a:lnTo>
                    <a:pt x="0" y="1"/>
                  </a:lnTo>
                  <a:close/>
                </a:path>
              </a:pathLst>
            </a:custGeom>
            <a:solidFill>
              <a:srgbClr val="000000"/>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35" name="Google Shape;732;p25">
              <a:extLst>
                <a:ext uri="{FF2B5EF4-FFF2-40B4-BE49-F238E27FC236}">
                  <a16:creationId xmlns:a16="http://schemas.microsoft.com/office/drawing/2014/main" id="{1C5D8E48-8398-4436-9948-53E6E9FF61FC}"/>
                </a:ext>
              </a:extLst>
            </p:cNvPr>
            <p:cNvSpPr/>
            <p:nvPr/>
          </p:nvSpPr>
          <p:spPr>
            <a:xfrm>
              <a:off x="4223485" y="2453428"/>
              <a:ext cx="69823" cy="75708"/>
            </a:xfrm>
            <a:custGeom>
              <a:avLst/>
              <a:gdLst/>
              <a:ahLst/>
              <a:cxnLst/>
              <a:rect l="l" t="t" r="r" b="b"/>
              <a:pathLst>
                <a:path w="3251" h="3525" extrusionOk="0">
                  <a:moveTo>
                    <a:pt x="3251" y="1"/>
                  </a:moveTo>
                  <a:lnTo>
                    <a:pt x="0" y="1418"/>
                  </a:lnTo>
                  <a:lnTo>
                    <a:pt x="2858" y="3525"/>
                  </a:lnTo>
                  <a:lnTo>
                    <a:pt x="3251" y="1"/>
                  </a:lnTo>
                  <a:close/>
                </a:path>
              </a:pathLst>
            </a:custGeom>
            <a:solidFill>
              <a:srgbClr val="000000"/>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36" name="Google Shape;733;p25">
              <a:extLst>
                <a:ext uri="{FF2B5EF4-FFF2-40B4-BE49-F238E27FC236}">
                  <a16:creationId xmlns:a16="http://schemas.microsoft.com/office/drawing/2014/main" id="{FA9EF9D0-34A2-403C-8A0F-0028D0BED287}"/>
                </a:ext>
              </a:extLst>
            </p:cNvPr>
            <p:cNvSpPr/>
            <p:nvPr/>
          </p:nvSpPr>
          <p:spPr>
            <a:xfrm>
              <a:off x="4477158" y="3190930"/>
              <a:ext cx="65979" cy="76224"/>
            </a:xfrm>
            <a:custGeom>
              <a:avLst/>
              <a:gdLst/>
              <a:ahLst/>
              <a:cxnLst/>
              <a:rect l="l" t="t" r="r" b="b"/>
              <a:pathLst>
                <a:path w="3072" h="3549" extrusionOk="0">
                  <a:moveTo>
                    <a:pt x="0" y="0"/>
                  </a:moveTo>
                  <a:lnTo>
                    <a:pt x="0" y="3548"/>
                  </a:lnTo>
                  <a:lnTo>
                    <a:pt x="3072" y="1774"/>
                  </a:lnTo>
                  <a:lnTo>
                    <a:pt x="0" y="0"/>
                  </a:lnTo>
                  <a:close/>
                </a:path>
              </a:pathLst>
            </a:custGeom>
            <a:solidFill>
              <a:srgbClr val="000000"/>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37" name="Google Shape;734;p25">
              <a:extLst>
                <a:ext uri="{FF2B5EF4-FFF2-40B4-BE49-F238E27FC236}">
                  <a16:creationId xmlns:a16="http://schemas.microsoft.com/office/drawing/2014/main" id="{5008F383-CDCE-4B29-8A43-AF808CE4707F}"/>
                </a:ext>
              </a:extLst>
            </p:cNvPr>
            <p:cNvSpPr/>
            <p:nvPr/>
          </p:nvSpPr>
          <p:spPr>
            <a:xfrm>
              <a:off x="4223485" y="3223662"/>
              <a:ext cx="69823" cy="75708"/>
            </a:xfrm>
            <a:custGeom>
              <a:avLst/>
              <a:gdLst/>
              <a:ahLst/>
              <a:cxnLst/>
              <a:rect l="l" t="t" r="r" b="b"/>
              <a:pathLst>
                <a:path w="3251" h="3525" extrusionOk="0">
                  <a:moveTo>
                    <a:pt x="2858" y="0"/>
                  </a:moveTo>
                  <a:lnTo>
                    <a:pt x="0" y="2108"/>
                  </a:lnTo>
                  <a:lnTo>
                    <a:pt x="3251" y="3524"/>
                  </a:lnTo>
                  <a:lnTo>
                    <a:pt x="2858" y="0"/>
                  </a:lnTo>
                  <a:close/>
                </a:path>
              </a:pathLst>
            </a:custGeom>
            <a:solidFill>
              <a:srgbClr val="000000"/>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38" name="Google Shape;735;p25">
              <a:extLst>
                <a:ext uri="{FF2B5EF4-FFF2-40B4-BE49-F238E27FC236}">
                  <a16:creationId xmlns:a16="http://schemas.microsoft.com/office/drawing/2014/main" id="{6EA8ADA4-F0E3-47B6-9654-C601541F24D9}"/>
                </a:ext>
              </a:extLst>
            </p:cNvPr>
            <p:cNvSpPr/>
            <p:nvPr/>
          </p:nvSpPr>
          <p:spPr>
            <a:xfrm>
              <a:off x="4563584" y="2786633"/>
              <a:ext cx="73410" cy="73926"/>
            </a:xfrm>
            <a:custGeom>
              <a:avLst/>
              <a:gdLst/>
              <a:ahLst/>
              <a:cxnLst/>
              <a:rect l="l" t="t" r="r" b="b"/>
              <a:pathLst>
                <a:path w="3418" h="3442" extrusionOk="0">
                  <a:moveTo>
                    <a:pt x="3418" y="0"/>
                  </a:moveTo>
                  <a:lnTo>
                    <a:pt x="0" y="989"/>
                  </a:lnTo>
                  <a:lnTo>
                    <a:pt x="2560" y="3441"/>
                  </a:lnTo>
                  <a:lnTo>
                    <a:pt x="3418" y="0"/>
                  </a:lnTo>
                  <a:close/>
                </a:path>
              </a:pathLst>
            </a:custGeom>
            <a:solidFill>
              <a:srgbClr val="000000"/>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39" name="Google Shape;736;p25">
              <a:extLst>
                <a:ext uri="{FF2B5EF4-FFF2-40B4-BE49-F238E27FC236}">
                  <a16:creationId xmlns:a16="http://schemas.microsoft.com/office/drawing/2014/main" id="{216DEF52-7F2E-420C-AD14-B760713E1FED}"/>
                </a:ext>
              </a:extLst>
            </p:cNvPr>
            <p:cNvSpPr/>
            <p:nvPr/>
          </p:nvSpPr>
          <p:spPr>
            <a:xfrm>
              <a:off x="4563584" y="2888674"/>
              <a:ext cx="73410" cy="73904"/>
            </a:xfrm>
            <a:custGeom>
              <a:avLst/>
              <a:gdLst/>
              <a:ahLst/>
              <a:cxnLst/>
              <a:rect l="l" t="t" r="r" b="b"/>
              <a:pathLst>
                <a:path w="3418" h="3441" extrusionOk="0">
                  <a:moveTo>
                    <a:pt x="2560" y="0"/>
                  </a:moveTo>
                  <a:lnTo>
                    <a:pt x="0" y="2453"/>
                  </a:lnTo>
                  <a:lnTo>
                    <a:pt x="3418" y="3441"/>
                  </a:lnTo>
                  <a:lnTo>
                    <a:pt x="2560" y="0"/>
                  </a:lnTo>
                  <a:close/>
                </a:path>
              </a:pathLst>
            </a:custGeom>
            <a:solidFill>
              <a:srgbClr val="000000"/>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40" name="Google Shape;737;p25">
              <a:extLst>
                <a:ext uri="{FF2B5EF4-FFF2-40B4-BE49-F238E27FC236}">
                  <a16:creationId xmlns:a16="http://schemas.microsoft.com/office/drawing/2014/main" id="{A33E03EE-28B8-4CFB-9BE0-91E6840ED371}"/>
                </a:ext>
              </a:extLst>
            </p:cNvPr>
            <p:cNvSpPr txBox="1"/>
            <p:nvPr/>
          </p:nvSpPr>
          <p:spPr>
            <a:xfrm>
              <a:off x="3294838" y="1973447"/>
              <a:ext cx="759000" cy="205500"/>
            </a:xfrm>
            <a:prstGeom prst="rect">
              <a:avLst/>
            </a:prstGeom>
            <a:noFill/>
            <a:ln>
              <a:noFill/>
            </a:ln>
          </p:spPr>
          <p:txBody>
            <a:bodyPr spcFirstLastPara="1" wrap="square" lIns="121900" tIns="121900" rIns="121900" bIns="12190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 sz="1467" b="0" i="0" u="none" strike="noStrike" kern="1200" cap="none" spc="0" normalizeH="0" baseline="0" noProof="0">
                  <a:ln>
                    <a:noFill/>
                  </a:ln>
                  <a:solidFill>
                    <a:srgbClr val="434343"/>
                  </a:solidFill>
                  <a:effectLst/>
                  <a:uLnTx/>
                  <a:uFillTx/>
                  <a:latin typeface="Arial"/>
                  <a:ea typeface="+mn-ea"/>
                  <a:cs typeface="+mn-ea"/>
                  <a:sym typeface="+mn-lt"/>
                </a:rPr>
                <a:t>Jupiter</a:t>
              </a:r>
              <a:endParaRPr kumimoji="0" sz="1467" b="0" i="0" u="none" strike="noStrike" kern="1200" cap="none" spc="0" normalizeH="0" baseline="0" noProof="0">
                <a:ln>
                  <a:noFill/>
                </a:ln>
                <a:solidFill>
                  <a:srgbClr val="434343"/>
                </a:solidFill>
                <a:effectLst/>
                <a:uLnTx/>
                <a:uFillTx/>
                <a:latin typeface="Arial"/>
                <a:ea typeface="+mn-ea"/>
                <a:cs typeface="+mn-ea"/>
                <a:sym typeface="+mn-lt"/>
              </a:endParaRPr>
            </a:p>
          </p:txBody>
        </p:sp>
        <p:sp>
          <p:nvSpPr>
            <p:cNvPr id="41" name="Google Shape;738;p25">
              <a:extLst>
                <a:ext uri="{FF2B5EF4-FFF2-40B4-BE49-F238E27FC236}">
                  <a16:creationId xmlns:a16="http://schemas.microsoft.com/office/drawing/2014/main" id="{C7EB1709-C8A1-49F4-A86F-1A00CC2B6D49}"/>
                </a:ext>
              </a:extLst>
            </p:cNvPr>
            <p:cNvSpPr txBox="1"/>
            <p:nvPr/>
          </p:nvSpPr>
          <p:spPr>
            <a:xfrm>
              <a:off x="3294838" y="2409822"/>
              <a:ext cx="759000" cy="205500"/>
            </a:xfrm>
            <a:prstGeom prst="rect">
              <a:avLst/>
            </a:prstGeom>
            <a:noFill/>
            <a:ln>
              <a:noFill/>
            </a:ln>
          </p:spPr>
          <p:txBody>
            <a:bodyPr spcFirstLastPara="1" wrap="square" lIns="121900" tIns="121900" rIns="121900" bIns="12190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 sz="1467" b="0" i="0" u="none" strike="noStrike" kern="1200" cap="none" spc="0" normalizeH="0" baseline="0" noProof="0">
                  <a:ln>
                    <a:noFill/>
                  </a:ln>
                  <a:solidFill>
                    <a:srgbClr val="434343"/>
                  </a:solidFill>
                  <a:effectLst/>
                  <a:uLnTx/>
                  <a:uFillTx/>
                  <a:latin typeface="Arial"/>
                  <a:ea typeface="+mn-ea"/>
                  <a:cs typeface="+mn-ea"/>
                  <a:sym typeface="+mn-lt"/>
                </a:rPr>
                <a:t>Mercury</a:t>
              </a:r>
              <a:endParaRPr kumimoji="0" sz="1467" b="0" i="0" u="none" strike="noStrike" kern="1200" cap="none" spc="0" normalizeH="0" baseline="0" noProof="0">
                <a:ln>
                  <a:noFill/>
                </a:ln>
                <a:solidFill>
                  <a:srgbClr val="434343"/>
                </a:solidFill>
                <a:effectLst/>
                <a:uLnTx/>
                <a:uFillTx/>
                <a:latin typeface="Arial"/>
                <a:ea typeface="+mn-ea"/>
                <a:cs typeface="+mn-ea"/>
                <a:sym typeface="+mn-lt"/>
              </a:endParaRPr>
            </a:p>
          </p:txBody>
        </p:sp>
        <p:sp>
          <p:nvSpPr>
            <p:cNvPr id="42" name="Google Shape;739;p25">
              <a:extLst>
                <a:ext uri="{FF2B5EF4-FFF2-40B4-BE49-F238E27FC236}">
                  <a16:creationId xmlns:a16="http://schemas.microsoft.com/office/drawing/2014/main" id="{ED801334-F476-4FFC-9D75-3DA2E234C239}"/>
                </a:ext>
              </a:extLst>
            </p:cNvPr>
            <p:cNvSpPr txBox="1"/>
            <p:nvPr/>
          </p:nvSpPr>
          <p:spPr>
            <a:xfrm>
              <a:off x="3294838" y="3137447"/>
              <a:ext cx="759000" cy="205500"/>
            </a:xfrm>
            <a:prstGeom prst="rect">
              <a:avLst/>
            </a:prstGeom>
            <a:noFill/>
            <a:ln>
              <a:noFill/>
            </a:ln>
          </p:spPr>
          <p:txBody>
            <a:bodyPr spcFirstLastPara="1" wrap="square" lIns="121900" tIns="121900" rIns="121900" bIns="12190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 sz="1467" b="0" i="0" u="none" strike="noStrike" kern="1200" cap="none" spc="0" normalizeH="0" baseline="0" noProof="0">
                  <a:ln>
                    <a:noFill/>
                  </a:ln>
                  <a:solidFill>
                    <a:srgbClr val="434343"/>
                  </a:solidFill>
                  <a:effectLst/>
                  <a:uLnTx/>
                  <a:uFillTx/>
                  <a:latin typeface="Arial"/>
                  <a:ea typeface="+mn-ea"/>
                  <a:cs typeface="+mn-ea"/>
                  <a:sym typeface="+mn-lt"/>
                </a:rPr>
                <a:t>Europa</a:t>
              </a:r>
              <a:endParaRPr kumimoji="0" sz="1467" b="0" i="0" u="none" strike="noStrike" kern="1200" cap="none" spc="0" normalizeH="0" baseline="0" noProof="0">
                <a:ln>
                  <a:noFill/>
                </a:ln>
                <a:solidFill>
                  <a:srgbClr val="434343"/>
                </a:solidFill>
                <a:effectLst/>
                <a:uLnTx/>
                <a:uFillTx/>
                <a:latin typeface="Arial"/>
                <a:ea typeface="+mn-ea"/>
                <a:cs typeface="+mn-ea"/>
                <a:sym typeface="+mn-lt"/>
              </a:endParaRPr>
            </a:p>
          </p:txBody>
        </p:sp>
        <p:sp>
          <p:nvSpPr>
            <p:cNvPr id="43" name="Google Shape;740;p25">
              <a:extLst>
                <a:ext uri="{FF2B5EF4-FFF2-40B4-BE49-F238E27FC236}">
                  <a16:creationId xmlns:a16="http://schemas.microsoft.com/office/drawing/2014/main" id="{85FE376E-48FD-4841-9F90-23295FE592DF}"/>
                </a:ext>
              </a:extLst>
            </p:cNvPr>
            <p:cNvSpPr txBox="1"/>
            <p:nvPr/>
          </p:nvSpPr>
          <p:spPr>
            <a:xfrm>
              <a:off x="3294838" y="3573822"/>
              <a:ext cx="759000" cy="205500"/>
            </a:xfrm>
            <a:prstGeom prst="rect">
              <a:avLst/>
            </a:prstGeom>
            <a:noFill/>
            <a:ln>
              <a:noFill/>
            </a:ln>
          </p:spPr>
          <p:txBody>
            <a:bodyPr spcFirstLastPara="1" wrap="square" lIns="121900" tIns="121900" rIns="121900" bIns="12190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 sz="1467" b="0" i="0" u="none" strike="noStrike" kern="1200" cap="none" spc="0" normalizeH="0" baseline="0" noProof="0">
                  <a:ln>
                    <a:noFill/>
                  </a:ln>
                  <a:solidFill>
                    <a:srgbClr val="434343"/>
                  </a:solidFill>
                  <a:effectLst/>
                  <a:uLnTx/>
                  <a:uFillTx/>
                  <a:latin typeface="Arial"/>
                  <a:ea typeface="+mn-ea"/>
                  <a:cs typeface="+mn-ea"/>
                  <a:sym typeface="+mn-lt"/>
                </a:rPr>
                <a:t>Pluto</a:t>
              </a:r>
              <a:endParaRPr kumimoji="0" sz="1467" b="0" i="0" u="none" strike="noStrike" kern="1200" cap="none" spc="0" normalizeH="0" baseline="0" noProof="0">
                <a:ln>
                  <a:noFill/>
                </a:ln>
                <a:solidFill>
                  <a:srgbClr val="434343"/>
                </a:solidFill>
                <a:effectLst/>
                <a:uLnTx/>
                <a:uFillTx/>
                <a:latin typeface="Arial"/>
                <a:ea typeface="+mn-ea"/>
                <a:cs typeface="+mn-ea"/>
                <a:sym typeface="+mn-lt"/>
              </a:endParaRPr>
            </a:p>
          </p:txBody>
        </p:sp>
        <p:sp>
          <p:nvSpPr>
            <p:cNvPr id="44" name="Google Shape;741;p25">
              <a:extLst>
                <a:ext uri="{FF2B5EF4-FFF2-40B4-BE49-F238E27FC236}">
                  <a16:creationId xmlns:a16="http://schemas.microsoft.com/office/drawing/2014/main" id="{61C95E18-37B1-4C5D-8604-03D3CEB01024}"/>
                </a:ext>
              </a:extLst>
            </p:cNvPr>
            <p:cNvSpPr/>
            <p:nvPr/>
          </p:nvSpPr>
          <p:spPr>
            <a:xfrm>
              <a:off x="3742990" y="1290973"/>
              <a:ext cx="451607" cy="451607"/>
            </a:xfrm>
            <a:custGeom>
              <a:avLst/>
              <a:gdLst/>
              <a:ahLst/>
              <a:cxnLst/>
              <a:rect l="l" t="t" r="r" b="b"/>
              <a:pathLst>
                <a:path w="21027" h="21027" extrusionOk="0">
                  <a:moveTo>
                    <a:pt x="10514" y="1"/>
                  </a:moveTo>
                  <a:cubicBezTo>
                    <a:pt x="4703" y="1"/>
                    <a:pt x="0" y="4704"/>
                    <a:pt x="0" y="10514"/>
                  </a:cubicBezTo>
                  <a:cubicBezTo>
                    <a:pt x="0" y="16312"/>
                    <a:pt x="4703" y="21027"/>
                    <a:pt x="10514" y="21027"/>
                  </a:cubicBezTo>
                  <a:cubicBezTo>
                    <a:pt x="16312" y="21027"/>
                    <a:pt x="21027" y="16312"/>
                    <a:pt x="21027" y="10514"/>
                  </a:cubicBezTo>
                  <a:cubicBezTo>
                    <a:pt x="21027" y="4704"/>
                    <a:pt x="16312" y="1"/>
                    <a:pt x="10514" y="1"/>
                  </a:cubicBezTo>
                  <a:close/>
                </a:path>
              </a:pathLst>
            </a:custGeom>
            <a:solidFill>
              <a:schemeClr val="accent1">
                <a:lumMod val="100000"/>
              </a:schemeClr>
            </a:solidFill>
            <a:ln>
              <a:noFill/>
            </a:ln>
          </p:spPr>
          <p:txBody>
            <a:bodyPr spcFirstLastPara="1" wrap="square" lIns="121900" tIns="121900" rIns="121900" bIns="1219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Tx/>
                <a:buNone/>
                <a:tabLst/>
                <a:defRPr/>
              </a:pPr>
              <a:r>
                <a:rPr kumimoji="0" lang="en" sz="2267" b="0" i="0" u="none" strike="noStrike" kern="1200" cap="none" spc="0" normalizeH="0" baseline="0" noProof="0">
                  <a:ln>
                    <a:noFill/>
                  </a:ln>
                  <a:solidFill>
                    <a:srgbClr val="FFFFFF"/>
                  </a:solidFill>
                  <a:effectLst/>
                  <a:uLnTx/>
                  <a:uFillTx/>
                  <a:latin typeface="Arial"/>
                  <a:ea typeface="+mn-ea"/>
                  <a:cs typeface="+mn-ea"/>
                  <a:sym typeface="+mn-lt"/>
                </a:rPr>
                <a:t>D</a:t>
              </a: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45" name="Google Shape;742;p25">
              <a:extLst>
                <a:ext uri="{FF2B5EF4-FFF2-40B4-BE49-F238E27FC236}">
                  <a16:creationId xmlns:a16="http://schemas.microsoft.com/office/drawing/2014/main" id="{62E0C7F6-B9CC-4D20-9610-70900B40709E}"/>
                </a:ext>
              </a:extLst>
            </p:cNvPr>
            <p:cNvSpPr/>
            <p:nvPr/>
          </p:nvSpPr>
          <p:spPr>
            <a:xfrm>
              <a:off x="3742990" y="4010198"/>
              <a:ext cx="451607" cy="451607"/>
            </a:xfrm>
            <a:custGeom>
              <a:avLst/>
              <a:gdLst/>
              <a:ahLst/>
              <a:cxnLst/>
              <a:rect l="l" t="t" r="r" b="b"/>
              <a:pathLst>
                <a:path w="21027" h="21027" extrusionOk="0">
                  <a:moveTo>
                    <a:pt x="10514" y="1"/>
                  </a:moveTo>
                  <a:cubicBezTo>
                    <a:pt x="4703" y="1"/>
                    <a:pt x="0" y="4704"/>
                    <a:pt x="0" y="10514"/>
                  </a:cubicBezTo>
                  <a:cubicBezTo>
                    <a:pt x="0" y="16312"/>
                    <a:pt x="4703" y="21027"/>
                    <a:pt x="10514" y="21027"/>
                  </a:cubicBezTo>
                  <a:cubicBezTo>
                    <a:pt x="16312" y="21027"/>
                    <a:pt x="21027" y="16312"/>
                    <a:pt x="21027" y="10514"/>
                  </a:cubicBezTo>
                  <a:cubicBezTo>
                    <a:pt x="21027" y="4704"/>
                    <a:pt x="16312" y="1"/>
                    <a:pt x="10514" y="1"/>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Tx/>
                <a:buNone/>
                <a:tabLst/>
                <a:defRPr/>
              </a:pPr>
              <a:r>
                <a:rPr kumimoji="0" lang="en" sz="2267" b="0" i="0" u="none" strike="noStrike" kern="1200" cap="none" spc="0" normalizeH="0" baseline="0" noProof="0">
                  <a:ln>
                    <a:noFill/>
                  </a:ln>
                  <a:solidFill>
                    <a:srgbClr val="FFFFFF"/>
                  </a:solidFill>
                  <a:effectLst/>
                  <a:uLnTx/>
                  <a:uFillTx/>
                  <a:latin typeface="Arial"/>
                  <a:ea typeface="+mn-ea"/>
                  <a:cs typeface="+mn-ea"/>
                  <a:sym typeface="+mn-lt"/>
                </a:rPr>
                <a:t>C</a:t>
              </a: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grpSp>
      <p:grpSp>
        <p:nvGrpSpPr>
          <p:cNvPr id="46" name="Google Shape;743;p25">
            <a:extLst>
              <a:ext uri="{FF2B5EF4-FFF2-40B4-BE49-F238E27FC236}">
                <a16:creationId xmlns:a16="http://schemas.microsoft.com/office/drawing/2014/main" id="{25FF6143-273B-49A4-9B17-27ED9544925F}"/>
              </a:ext>
            </a:extLst>
          </p:cNvPr>
          <p:cNvGrpSpPr/>
          <p:nvPr/>
        </p:nvGrpSpPr>
        <p:grpSpPr>
          <a:xfrm>
            <a:off x="2381767" y="1618962"/>
            <a:ext cx="1785187" cy="3840776"/>
            <a:chOff x="1786325" y="1436098"/>
            <a:chExt cx="1338890" cy="2880582"/>
          </a:xfrm>
        </p:grpSpPr>
        <p:sp>
          <p:nvSpPr>
            <p:cNvPr id="47" name="Google Shape;744;p25">
              <a:extLst>
                <a:ext uri="{FF2B5EF4-FFF2-40B4-BE49-F238E27FC236}">
                  <a16:creationId xmlns:a16="http://schemas.microsoft.com/office/drawing/2014/main" id="{A4DD117F-83F5-4160-BB47-37A4A6043A84}"/>
                </a:ext>
              </a:extLst>
            </p:cNvPr>
            <p:cNvSpPr/>
            <p:nvPr/>
          </p:nvSpPr>
          <p:spPr>
            <a:xfrm>
              <a:off x="2598158" y="1796661"/>
              <a:ext cx="527058" cy="1086139"/>
            </a:xfrm>
            <a:custGeom>
              <a:avLst/>
              <a:gdLst/>
              <a:ahLst/>
              <a:cxnLst/>
              <a:rect l="l" t="t" r="r" b="b"/>
              <a:pathLst>
                <a:path w="24540" h="50571" extrusionOk="0">
                  <a:moveTo>
                    <a:pt x="318" y="1"/>
                  </a:moveTo>
                  <a:cubicBezTo>
                    <a:pt x="237" y="1"/>
                    <a:pt x="155" y="34"/>
                    <a:pt x="96" y="100"/>
                  </a:cubicBezTo>
                  <a:cubicBezTo>
                    <a:pt x="0" y="231"/>
                    <a:pt x="12" y="409"/>
                    <a:pt x="131" y="516"/>
                  </a:cubicBezTo>
                  <a:cubicBezTo>
                    <a:pt x="20146" y="17007"/>
                    <a:pt x="23920" y="49987"/>
                    <a:pt x="23956" y="50308"/>
                  </a:cubicBezTo>
                  <a:cubicBezTo>
                    <a:pt x="23968" y="50463"/>
                    <a:pt x="24087" y="50570"/>
                    <a:pt x="24242" y="50570"/>
                  </a:cubicBezTo>
                  <a:lnTo>
                    <a:pt x="24265" y="50570"/>
                  </a:lnTo>
                  <a:cubicBezTo>
                    <a:pt x="24432" y="50546"/>
                    <a:pt x="24539" y="50415"/>
                    <a:pt x="24527" y="50249"/>
                  </a:cubicBezTo>
                  <a:cubicBezTo>
                    <a:pt x="24492" y="49915"/>
                    <a:pt x="20705" y="16709"/>
                    <a:pt x="501" y="64"/>
                  </a:cubicBezTo>
                  <a:cubicBezTo>
                    <a:pt x="448" y="22"/>
                    <a:pt x="383" y="1"/>
                    <a:pt x="318" y="1"/>
                  </a:cubicBezTo>
                  <a:close/>
                </a:path>
              </a:pathLst>
            </a:custGeom>
            <a:solidFill>
              <a:srgbClr val="000000"/>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48" name="Google Shape;745;p25">
              <a:extLst>
                <a:ext uri="{FF2B5EF4-FFF2-40B4-BE49-F238E27FC236}">
                  <a16:creationId xmlns:a16="http://schemas.microsoft.com/office/drawing/2014/main" id="{3E09607D-CB83-4A02-8A01-62260A0B5C9D}"/>
                </a:ext>
              </a:extLst>
            </p:cNvPr>
            <p:cNvSpPr/>
            <p:nvPr/>
          </p:nvSpPr>
          <p:spPr>
            <a:xfrm>
              <a:off x="2571310" y="2516852"/>
              <a:ext cx="473600" cy="12543"/>
            </a:xfrm>
            <a:custGeom>
              <a:avLst/>
              <a:gdLst/>
              <a:ahLst/>
              <a:cxnLst/>
              <a:rect l="l" t="t" r="r" b="b"/>
              <a:pathLst>
                <a:path w="22051" h="584" extrusionOk="0">
                  <a:moveTo>
                    <a:pt x="298" y="0"/>
                  </a:moveTo>
                  <a:cubicBezTo>
                    <a:pt x="131" y="0"/>
                    <a:pt x="0" y="131"/>
                    <a:pt x="0" y="286"/>
                  </a:cubicBezTo>
                  <a:cubicBezTo>
                    <a:pt x="0" y="453"/>
                    <a:pt x="131" y="584"/>
                    <a:pt x="298" y="584"/>
                  </a:cubicBezTo>
                  <a:lnTo>
                    <a:pt x="21896" y="584"/>
                  </a:lnTo>
                  <a:cubicBezTo>
                    <a:pt x="22051" y="584"/>
                    <a:pt x="21979" y="453"/>
                    <a:pt x="21979" y="286"/>
                  </a:cubicBezTo>
                  <a:cubicBezTo>
                    <a:pt x="21979" y="131"/>
                    <a:pt x="22051" y="0"/>
                    <a:pt x="21896" y="0"/>
                  </a:cubicBezTo>
                  <a:close/>
                </a:path>
              </a:pathLst>
            </a:custGeom>
            <a:solidFill>
              <a:srgbClr val="000000"/>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49" name="Google Shape;746;p25">
              <a:extLst>
                <a:ext uri="{FF2B5EF4-FFF2-40B4-BE49-F238E27FC236}">
                  <a16:creationId xmlns:a16="http://schemas.microsoft.com/office/drawing/2014/main" id="{1995991A-28F8-47C1-A256-96B4710082B7}"/>
                </a:ext>
              </a:extLst>
            </p:cNvPr>
            <p:cNvSpPr/>
            <p:nvPr/>
          </p:nvSpPr>
          <p:spPr>
            <a:xfrm>
              <a:off x="2558016" y="2096662"/>
              <a:ext cx="234255" cy="432729"/>
            </a:xfrm>
            <a:custGeom>
              <a:avLst/>
              <a:gdLst/>
              <a:ahLst/>
              <a:cxnLst/>
              <a:rect l="l" t="t" r="r" b="b"/>
              <a:pathLst>
                <a:path w="10907" h="20148" extrusionOk="0">
                  <a:moveTo>
                    <a:pt x="371" y="0"/>
                  </a:moveTo>
                  <a:cubicBezTo>
                    <a:pt x="319" y="0"/>
                    <a:pt x="266" y="13"/>
                    <a:pt x="214" y="38"/>
                  </a:cubicBezTo>
                  <a:cubicBezTo>
                    <a:pt x="60" y="122"/>
                    <a:pt x="0" y="312"/>
                    <a:pt x="84" y="479"/>
                  </a:cubicBezTo>
                  <a:lnTo>
                    <a:pt x="10251" y="19969"/>
                  </a:lnTo>
                  <a:cubicBezTo>
                    <a:pt x="10311" y="20088"/>
                    <a:pt x="10418" y="20148"/>
                    <a:pt x="10537" y="20148"/>
                  </a:cubicBezTo>
                  <a:cubicBezTo>
                    <a:pt x="10585" y="20148"/>
                    <a:pt x="10644" y="20136"/>
                    <a:pt x="10692" y="20112"/>
                  </a:cubicBezTo>
                  <a:cubicBezTo>
                    <a:pt x="10847" y="20029"/>
                    <a:pt x="10906" y="19838"/>
                    <a:pt x="10823" y="19672"/>
                  </a:cubicBezTo>
                  <a:lnTo>
                    <a:pt x="655" y="169"/>
                  </a:lnTo>
                  <a:cubicBezTo>
                    <a:pt x="597" y="62"/>
                    <a:pt x="488" y="0"/>
                    <a:pt x="371" y="0"/>
                  </a:cubicBezTo>
                  <a:close/>
                </a:path>
              </a:pathLst>
            </a:custGeom>
            <a:solidFill>
              <a:srgbClr val="000000"/>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50" name="Google Shape;747;p25">
              <a:extLst>
                <a:ext uri="{FF2B5EF4-FFF2-40B4-BE49-F238E27FC236}">
                  <a16:creationId xmlns:a16="http://schemas.microsoft.com/office/drawing/2014/main" id="{1D9B3121-A586-4D61-B1F9-0FBD328F9D85}"/>
                </a:ext>
              </a:extLst>
            </p:cNvPr>
            <p:cNvSpPr/>
            <p:nvPr/>
          </p:nvSpPr>
          <p:spPr>
            <a:xfrm>
              <a:off x="2598158" y="2870482"/>
              <a:ext cx="527058" cy="1086332"/>
            </a:xfrm>
            <a:custGeom>
              <a:avLst/>
              <a:gdLst/>
              <a:ahLst/>
              <a:cxnLst/>
              <a:rect l="l" t="t" r="r" b="b"/>
              <a:pathLst>
                <a:path w="24540" h="50580" extrusionOk="0">
                  <a:moveTo>
                    <a:pt x="24242" y="1"/>
                  </a:moveTo>
                  <a:cubicBezTo>
                    <a:pt x="24096" y="1"/>
                    <a:pt x="23967" y="105"/>
                    <a:pt x="23956" y="264"/>
                  </a:cubicBezTo>
                  <a:cubicBezTo>
                    <a:pt x="23920" y="597"/>
                    <a:pt x="20158" y="33565"/>
                    <a:pt x="131" y="50067"/>
                  </a:cubicBezTo>
                  <a:cubicBezTo>
                    <a:pt x="12" y="50163"/>
                    <a:pt x="0" y="50353"/>
                    <a:pt x="96" y="50472"/>
                  </a:cubicBezTo>
                  <a:cubicBezTo>
                    <a:pt x="155" y="50544"/>
                    <a:pt x="239" y="50579"/>
                    <a:pt x="322" y="50579"/>
                  </a:cubicBezTo>
                  <a:cubicBezTo>
                    <a:pt x="381" y="50579"/>
                    <a:pt x="453" y="50556"/>
                    <a:pt x="501" y="50508"/>
                  </a:cubicBezTo>
                  <a:cubicBezTo>
                    <a:pt x="20705" y="33863"/>
                    <a:pt x="24492" y="657"/>
                    <a:pt x="24527" y="323"/>
                  </a:cubicBezTo>
                  <a:cubicBezTo>
                    <a:pt x="24539" y="168"/>
                    <a:pt x="24432" y="26"/>
                    <a:pt x="24265" y="2"/>
                  </a:cubicBezTo>
                  <a:cubicBezTo>
                    <a:pt x="24258" y="1"/>
                    <a:pt x="24250" y="1"/>
                    <a:pt x="24242" y="1"/>
                  </a:cubicBezTo>
                  <a:close/>
                </a:path>
              </a:pathLst>
            </a:custGeom>
            <a:solidFill>
              <a:srgbClr val="000000"/>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51" name="Google Shape;748;p25">
              <a:extLst>
                <a:ext uri="{FF2B5EF4-FFF2-40B4-BE49-F238E27FC236}">
                  <a16:creationId xmlns:a16="http://schemas.microsoft.com/office/drawing/2014/main" id="{6AB1D7A3-3D28-4513-9BA6-66C0C192CFBC}"/>
                </a:ext>
              </a:extLst>
            </p:cNvPr>
            <p:cNvSpPr/>
            <p:nvPr/>
          </p:nvSpPr>
          <p:spPr>
            <a:xfrm>
              <a:off x="2571310" y="3224177"/>
              <a:ext cx="473600" cy="12285"/>
            </a:xfrm>
            <a:custGeom>
              <a:avLst/>
              <a:gdLst/>
              <a:ahLst/>
              <a:cxnLst/>
              <a:rect l="l" t="t" r="r" b="b"/>
              <a:pathLst>
                <a:path w="22051" h="572" extrusionOk="0">
                  <a:moveTo>
                    <a:pt x="298" y="0"/>
                  </a:moveTo>
                  <a:cubicBezTo>
                    <a:pt x="131" y="0"/>
                    <a:pt x="0" y="119"/>
                    <a:pt x="0" y="286"/>
                  </a:cubicBezTo>
                  <a:cubicBezTo>
                    <a:pt x="0" y="441"/>
                    <a:pt x="131" y="572"/>
                    <a:pt x="298" y="572"/>
                  </a:cubicBezTo>
                  <a:lnTo>
                    <a:pt x="21896" y="572"/>
                  </a:lnTo>
                  <a:cubicBezTo>
                    <a:pt x="22051" y="572"/>
                    <a:pt x="22003" y="441"/>
                    <a:pt x="22003" y="286"/>
                  </a:cubicBezTo>
                  <a:cubicBezTo>
                    <a:pt x="22003" y="119"/>
                    <a:pt x="22051" y="0"/>
                    <a:pt x="21896" y="0"/>
                  </a:cubicBezTo>
                  <a:close/>
                </a:path>
              </a:pathLst>
            </a:custGeom>
            <a:solidFill>
              <a:srgbClr val="000000"/>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52" name="Google Shape;749;p25">
              <a:extLst>
                <a:ext uri="{FF2B5EF4-FFF2-40B4-BE49-F238E27FC236}">
                  <a16:creationId xmlns:a16="http://schemas.microsoft.com/office/drawing/2014/main" id="{243ED901-667B-436E-B786-06BA2E06BFF3}"/>
                </a:ext>
              </a:extLst>
            </p:cNvPr>
            <p:cNvSpPr/>
            <p:nvPr/>
          </p:nvSpPr>
          <p:spPr>
            <a:xfrm>
              <a:off x="2558016" y="3223877"/>
              <a:ext cx="234255" cy="432986"/>
            </a:xfrm>
            <a:custGeom>
              <a:avLst/>
              <a:gdLst/>
              <a:ahLst/>
              <a:cxnLst/>
              <a:rect l="l" t="t" r="r" b="b"/>
              <a:pathLst>
                <a:path w="10907" h="20160" extrusionOk="0">
                  <a:moveTo>
                    <a:pt x="10537" y="0"/>
                  </a:moveTo>
                  <a:cubicBezTo>
                    <a:pt x="10420" y="0"/>
                    <a:pt x="10310" y="65"/>
                    <a:pt x="10251" y="181"/>
                  </a:cubicBezTo>
                  <a:lnTo>
                    <a:pt x="84" y="19671"/>
                  </a:lnTo>
                  <a:cubicBezTo>
                    <a:pt x="0" y="19838"/>
                    <a:pt x="60" y="20028"/>
                    <a:pt x="214" y="20112"/>
                  </a:cubicBezTo>
                  <a:cubicBezTo>
                    <a:pt x="262" y="20136"/>
                    <a:pt x="322" y="20159"/>
                    <a:pt x="369" y="20159"/>
                  </a:cubicBezTo>
                  <a:cubicBezTo>
                    <a:pt x="488" y="20159"/>
                    <a:pt x="595" y="20088"/>
                    <a:pt x="655" y="19981"/>
                  </a:cubicBezTo>
                  <a:lnTo>
                    <a:pt x="10823" y="478"/>
                  </a:lnTo>
                  <a:cubicBezTo>
                    <a:pt x="10906" y="324"/>
                    <a:pt x="10847" y="121"/>
                    <a:pt x="10692" y="38"/>
                  </a:cubicBezTo>
                  <a:cubicBezTo>
                    <a:pt x="10641" y="13"/>
                    <a:pt x="10589" y="0"/>
                    <a:pt x="10537" y="0"/>
                  </a:cubicBezTo>
                  <a:close/>
                </a:path>
              </a:pathLst>
            </a:custGeom>
            <a:solidFill>
              <a:srgbClr val="000000"/>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53" name="Google Shape;750;p25">
              <a:extLst>
                <a:ext uri="{FF2B5EF4-FFF2-40B4-BE49-F238E27FC236}">
                  <a16:creationId xmlns:a16="http://schemas.microsoft.com/office/drawing/2014/main" id="{61C0F2C8-0030-467E-914F-4B69E5C7AF95}"/>
                </a:ext>
              </a:extLst>
            </p:cNvPr>
            <p:cNvSpPr/>
            <p:nvPr/>
          </p:nvSpPr>
          <p:spPr>
            <a:xfrm>
              <a:off x="2979945" y="2485645"/>
              <a:ext cx="66258" cy="76224"/>
            </a:xfrm>
            <a:custGeom>
              <a:avLst/>
              <a:gdLst/>
              <a:ahLst/>
              <a:cxnLst/>
              <a:rect l="l" t="t" r="r" b="b"/>
              <a:pathLst>
                <a:path w="3085" h="3549" extrusionOk="0">
                  <a:moveTo>
                    <a:pt x="0" y="1"/>
                  </a:moveTo>
                  <a:lnTo>
                    <a:pt x="0" y="3549"/>
                  </a:lnTo>
                  <a:lnTo>
                    <a:pt x="3084" y="1775"/>
                  </a:lnTo>
                  <a:lnTo>
                    <a:pt x="0" y="1"/>
                  </a:lnTo>
                  <a:close/>
                </a:path>
              </a:pathLst>
            </a:custGeom>
            <a:solidFill>
              <a:srgbClr val="000000"/>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54" name="Google Shape;751;p25">
              <a:extLst>
                <a:ext uri="{FF2B5EF4-FFF2-40B4-BE49-F238E27FC236}">
                  <a16:creationId xmlns:a16="http://schemas.microsoft.com/office/drawing/2014/main" id="{64C80F68-1999-4AF6-A666-69453385E40D}"/>
                </a:ext>
              </a:extLst>
            </p:cNvPr>
            <p:cNvSpPr/>
            <p:nvPr/>
          </p:nvSpPr>
          <p:spPr>
            <a:xfrm>
              <a:off x="2726530" y="2453428"/>
              <a:ext cx="69823" cy="75708"/>
            </a:xfrm>
            <a:custGeom>
              <a:avLst/>
              <a:gdLst/>
              <a:ahLst/>
              <a:cxnLst/>
              <a:rect l="l" t="t" r="r" b="b"/>
              <a:pathLst>
                <a:path w="3251" h="3525" extrusionOk="0">
                  <a:moveTo>
                    <a:pt x="3251" y="1"/>
                  </a:moveTo>
                  <a:lnTo>
                    <a:pt x="0" y="1418"/>
                  </a:lnTo>
                  <a:lnTo>
                    <a:pt x="2858" y="3525"/>
                  </a:lnTo>
                  <a:lnTo>
                    <a:pt x="3251" y="1"/>
                  </a:lnTo>
                  <a:close/>
                </a:path>
              </a:pathLst>
            </a:custGeom>
            <a:solidFill>
              <a:srgbClr val="000000"/>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55" name="Google Shape;752;p25">
              <a:extLst>
                <a:ext uri="{FF2B5EF4-FFF2-40B4-BE49-F238E27FC236}">
                  <a16:creationId xmlns:a16="http://schemas.microsoft.com/office/drawing/2014/main" id="{D6E557D3-ED54-440E-B466-F1CE37A1C1FE}"/>
                </a:ext>
              </a:extLst>
            </p:cNvPr>
            <p:cNvSpPr/>
            <p:nvPr/>
          </p:nvSpPr>
          <p:spPr>
            <a:xfrm>
              <a:off x="2979945" y="3190930"/>
              <a:ext cx="66258" cy="76224"/>
            </a:xfrm>
            <a:custGeom>
              <a:avLst/>
              <a:gdLst/>
              <a:ahLst/>
              <a:cxnLst/>
              <a:rect l="l" t="t" r="r" b="b"/>
              <a:pathLst>
                <a:path w="3085" h="3549" extrusionOk="0">
                  <a:moveTo>
                    <a:pt x="0" y="0"/>
                  </a:moveTo>
                  <a:lnTo>
                    <a:pt x="0" y="3548"/>
                  </a:lnTo>
                  <a:lnTo>
                    <a:pt x="3084" y="1774"/>
                  </a:lnTo>
                  <a:lnTo>
                    <a:pt x="0" y="0"/>
                  </a:lnTo>
                  <a:close/>
                </a:path>
              </a:pathLst>
            </a:custGeom>
            <a:solidFill>
              <a:srgbClr val="000000"/>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56" name="Google Shape;753;p25">
              <a:extLst>
                <a:ext uri="{FF2B5EF4-FFF2-40B4-BE49-F238E27FC236}">
                  <a16:creationId xmlns:a16="http://schemas.microsoft.com/office/drawing/2014/main" id="{04E6785A-AC80-4372-93DD-BDC5B2FC0642}"/>
                </a:ext>
              </a:extLst>
            </p:cNvPr>
            <p:cNvSpPr/>
            <p:nvPr/>
          </p:nvSpPr>
          <p:spPr>
            <a:xfrm>
              <a:off x="2726530" y="3223662"/>
              <a:ext cx="69823" cy="75708"/>
            </a:xfrm>
            <a:custGeom>
              <a:avLst/>
              <a:gdLst/>
              <a:ahLst/>
              <a:cxnLst/>
              <a:rect l="l" t="t" r="r" b="b"/>
              <a:pathLst>
                <a:path w="3251" h="3525" extrusionOk="0">
                  <a:moveTo>
                    <a:pt x="2858" y="0"/>
                  </a:moveTo>
                  <a:lnTo>
                    <a:pt x="0" y="2108"/>
                  </a:lnTo>
                  <a:lnTo>
                    <a:pt x="3251" y="3524"/>
                  </a:lnTo>
                  <a:lnTo>
                    <a:pt x="2858" y="0"/>
                  </a:lnTo>
                  <a:close/>
                </a:path>
              </a:pathLst>
            </a:custGeom>
            <a:solidFill>
              <a:srgbClr val="000000"/>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57" name="Google Shape;754;p25">
              <a:extLst>
                <a:ext uri="{FF2B5EF4-FFF2-40B4-BE49-F238E27FC236}">
                  <a16:creationId xmlns:a16="http://schemas.microsoft.com/office/drawing/2014/main" id="{089F7585-9C89-4128-8559-AC0B729F603A}"/>
                </a:ext>
              </a:extLst>
            </p:cNvPr>
            <p:cNvSpPr txBox="1"/>
            <p:nvPr/>
          </p:nvSpPr>
          <p:spPr>
            <a:xfrm>
              <a:off x="1786325" y="1973447"/>
              <a:ext cx="759000" cy="205500"/>
            </a:xfrm>
            <a:prstGeom prst="rect">
              <a:avLst/>
            </a:prstGeom>
            <a:noFill/>
            <a:ln>
              <a:noFill/>
            </a:ln>
          </p:spPr>
          <p:txBody>
            <a:bodyPr spcFirstLastPara="1" wrap="square" lIns="121900" tIns="121900" rIns="121900" bIns="12190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 sz="1467" b="0" i="0" u="none" strike="noStrike" kern="1200" cap="none" spc="0" normalizeH="0" baseline="0" noProof="0">
                  <a:ln>
                    <a:noFill/>
                  </a:ln>
                  <a:solidFill>
                    <a:srgbClr val="434343"/>
                  </a:solidFill>
                  <a:effectLst/>
                  <a:uLnTx/>
                  <a:uFillTx/>
                  <a:latin typeface="Arial"/>
                  <a:ea typeface="+mn-ea"/>
                  <a:cs typeface="+mn-ea"/>
                  <a:sym typeface="+mn-lt"/>
                </a:rPr>
                <a:t>Mars</a:t>
              </a:r>
              <a:endParaRPr kumimoji="0" sz="1467" b="0" i="0" u="none" strike="noStrike" kern="1200" cap="none" spc="0" normalizeH="0" baseline="0" noProof="0">
                <a:ln>
                  <a:noFill/>
                </a:ln>
                <a:solidFill>
                  <a:srgbClr val="434343"/>
                </a:solidFill>
                <a:effectLst/>
                <a:uLnTx/>
                <a:uFillTx/>
                <a:latin typeface="Arial"/>
                <a:ea typeface="+mn-ea"/>
                <a:cs typeface="+mn-ea"/>
                <a:sym typeface="+mn-lt"/>
              </a:endParaRPr>
            </a:p>
          </p:txBody>
        </p:sp>
        <p:sp>
          <p:nvSpPr>
            <p:cNvPr id="58" name="Google Shape;755;p25">
              <a:extLst>
                <a:ext uri="{FF2B5EF4-FFF2-40B4-BE49-F238E27FC236}">
                  <a16:creationId xmlns:a16="http://schemas.microsoft.com/office/drawing/2014/main" id="{53EDD07C-9DCC-4DD8-8241-394FB3C23DA7}"/>
                </a:ext>
              </a:extLst>
            </p:cNvPr>
            <p:cNvSpPr txBox="1"/>
            <p:nvPr/>
          </p:nvSpPr>
          <p:spPr>
            <a:xfrm>
              <a:off x="1786325" y="2409822"/>
              <a:ext cx="759000" cy="205500"/>
            </a:xfrm>
            <a:prstGeom prst="rect">
              <a:avLst/>
            </a:prstGeom>
            <a:noFill/>
            <a:ln>
              <a:noFill/>
            </a:ln>
          </p:spPr>
          <p:txBody>
            <a:bodyPr spcFirstLastPara="1" wrap="square" lIns="121900" tIns="121900" rIns="121900" bIns="12190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 sz="1467" b="0" i="0" u="none" strike="noStrike" kern="1200" cap="none" spc="0" normalizeH="0" baseline="0" noProof="0">
                  <a:ln>
                    <a:noFill/>
                  </a:ln>
                  <a:solidFill>
                    <a:srgbClr val="434343"/>
                  </a:solidFill>
                  <a:effectLst/>
                  <a:uLnTx/>
                  <a:uFillTx/>
                  <a:latin typeface="Arial"/>
                  <a:ea typeface="+mn-ea"/>
                  <a:cs typeface="+mn-ea"/>
                  <a:sym typeface="+mn-lt"/>
                </a:rPr>
                <a:t>Calisto</a:t>
              </a:r>
              <a:endParaRPr kumimoji="0" sz="1467" b="0" i="0" u="none" strike="noStrike" kern="1200" cap="none" spc="0" normalizeH="0" baseline="0" noProof="0">
                <a:ln>
                  <a:noFill/>
                </a:ln>
                <a:solidFill>
                  <a:srgbClr val="434343"/>
                </a:solidFill>
                <a:effectLst/>
                <a:uLnTx/>
                <a:uFillTx/>
                <a:latin typeface="Arial"/>
                <a:ea typeface="+mn-ea"/>
                <a:cs typeface="+mn-ea"/>
                <a:sym typeface="+mn-lt"/>
              </a:endParaRPr>
            </a:p>
          </p:txBody>
        </p:sp>
        <p:sp>
          <p:nvSpPr>
            <p:cNvPr id="59" name="Google Shape;756;p25">
              <a:extLst>
                <a:ext uri="{FF2B5EF4-FFF2-40B4-BE49-F238E27FC236}">
                  <a16:creationId xmlns:a16="http://schemas.microsoft.com/office/drawing/2014/main" id="{302F22FF-946A-4ED9-9239-260C73745ED1}"/>
                </a:ext>
              </a:extLst>
            </p:cNvPr>
            <p:cNvSpPr txBox="1"/>
            <p:nvPr/>
          </p:nvSpPr>
          <p:spPr>
            <a:xfrm>
              <a:off x="1786325" y="3137447"/>
              <a:ext cx="759000" cy="205500"/>
            </a:xfrm>
            <a:prstGeom prst="rect">
              <a:avLst/>
            </a:prstGeom>
            <a:noFill/>
            <a:ln>
              <a:noFill/>
            </a:ln>
          </p:spPr>
          <p:txBody>
            <a:bodyPr spcFirstLastPara="1" wrap="square" lIns="121900" tIns="121900" rIns="121900" bIns="12190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 sz="1467" b="0" i="0" u="none" strike="noStrike" kern="1200" cap="none" spc="0" normalizeH="0" baseline="0" noProof="0">
                  <a:ln>
                    <a:noFill/>
                  </a:ln>
                  <a:solidFill>
                    <a:srgbClr val="434343"/>
                  </a:solidFill>
                  <a:effectLst/>
                  <a:uLnTx/>
                  <a:uFillTx/>
                  <a:latin typeface="Arial"/>
                  <a:ea typeface="+mn-ea"/>
                  <a:cs typeface="+mn-ea"/>
                  <a:sym typeface="+mn-lt"/>
                </a:rPr>
                <a:t>Uranus</a:t>
              </a:r>
              <a:endParaRPr kumimoji="0" sz="1467" b="0" i="0" u="none" strike="noStrike" kern="1200" cap="none" spc="0" normalizeH="0" baseline="0" noProof="0">
                <a:ln>
                  <a:noFill/>
                </a:ln>
                <a:solidFill>
                  <a:srgbClr val="434343"/>
                </a:solidFill>
                <a:effectLst/>
                <a:uLnTx/>
                <a:uFillTx/>
                <a:latin typeface="Arial"/>
                <a:ea typeface="+mn-ea"/>
                <a:cs typeface="+mn-ea"/>
                <a:sym typeface="+mn-lt"/>
              </a:endParaRPr>
            </a:p>
          </p:txBody>
        </p:sp>
        <p:sp>
          <p:nvSpPr>
            <p:cNvPr id="60" name="Google Shape;757;p25">
              <a:extLst>
                <a:ext uri="{FF2B5EF4-FFF2-40B4-BE49-F238E27FC236}">
                  <a16:creationId xmlns:a16="http://schemas.microsoft.com/office/drawing/2014/main" id="{5AB58EED-EC70-4CB5-85DB-65E03B433C6C}"/>
                </a:ext>
              </a:extLst>
            </p:cNvPr>
            <p:cNvSpPr txBox="1"/>
            <p:nvPr/>
          </p:nvSpPr>
          <p:spPr>
            <a:xfrm>
              <a:off x="1786325" y="3573822"/>
              <a:ext cx="759000" cy="205500"/>
            </a:xfrm>
            <a:prstGeom prst="rect">
              <a:avLst/>
            </a:prstGeom>
            <a:noFill/>
            <a:ln>
              <a:noFill/>
            </a:ln>
          </p:spPr>
          <p:txBody>
            <a:bodyPr spcFirstLastPara="1" wrap="square" lIns="121900" tIns="121900" rIns="121900" bIns="12190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 sz="1467" b="0" i="0" u="none" strike="noStrike" kern="1200" cap="none" spc="0" normalizeH="0" baseline="0" noProof="0">
                  <a:ln>
                    <a:noFill/>
                  </a:ln>
                  <a:solidFill>
                    <a:srgbClr val="434343"/>
                  </a:solidFill>
                  <a:effectLst/>
                  <a:uLnTx/>
                  <a:uFillTx/>
                  <a:latin typeface="Arial"/>
                  <a:ea typeface="+mn-ea"/>
                  <a:cs typeface="+mn-ea"/>
                  <a:sym typeface="+mn-lt"/>
                </a:rPr>
                <a:t>Neptune</a:t>
              </a:r>
              <a:endParaRPr kumimoji="0" sz="1467" b="0" i="0" u="none" strike="noStrike" kern="1200" cap="none" spc="0" normalizeH="0" baseline="0" noProof="0">
                <a:ln>
                  <a:noFill/>
                </a:ln>
                <a:solidFill>
                  <a:srgbClr val="434343"/>
                </a:solidFill>
                <a:effectLst/>
                <a:uLnTx/>
                <a:uFillTx/>
                <a:latin typeface="Arial"/>
                <a:ea typeface="+mn-ea"/>
                <a:cs typeface="+mn-ea"/>
                <a:sym typeface="+mn-lt"/>
              </a:endParaRPr>
            </a:p>
          </p:txBody>
        </p:sp>
        <p:sp>
          <p:nvSpPr>
            <p:cNvPr id="61" name="Google Shape;758;p25">
              <a:extLst>
                <a:ext uri="{FF2B5EF4-FFF2-40B4-BE49-F238E27FC236}">
                  <a16:creationId xmlns:a16="http://schemas.microsoft.com/office/drawing/2014/main" id="{A8F8D27E-F92C-49AA-B414-CADF7FAFCE34}"/>
                </a:ext>
              </a:extLst>
            </p:cNvPr>
            <p:cNvSpPr/>
            <p:nvPr/>
          </p:nvSpPr>
          <p:spPr>
            <a:xfrm>
              <a:off x="2333090" y="1436098"/>
              <a:ext cx="451607" cy="451607"/>
            </a:xfrm>
            <a:custGeom>
              <a:avLst/>
              <a:gdLst/>
              <a:ahLst/>
              <a:cxnLst/>
              <a:rect l="l" t="t" r="r" b="b"/>
              <a:pathLst>
                <a:path w="21027" h="21027" extrusionOk="0">
                  <a:moveTo>
                    <a:pt x="10514" y="1"/>
                  </a:moveTo>
                  <a:cubicBezTo>
                    <a:pt x="4703" y="1"/>
                    <a:pt x="0" y="4704"/>
                    <a:pt x="0" y="10514"/>
                  </a:cubicBezTo>
                  <a:cubicBezTo>
                    <a:pt x="0" y="16312"/>
                    <a:pt x="4703" y="21027"/>
                    <a:pt x="10514" y="21027"/>
                  </a:cubicBezTo>
                  <a:cubicBezTo>
                    <a:pt x="16312" y="21027"/>
                    <a:pt x="21027" y="16312"/>
                    <a:pt x="21027" y="10514"/>
                  </a:cubicBezTo>
                  <a:cubicBezTo>
                    <a:pt x="21027" y="4704"/>
                    <a:pt x="16312" y="1"/>
                    <a:pt x="10514" y="1"/>
                  </a:cubicBezTo>
                  <a:close/>
                </a:path>
              </a:pathLst>
            </a:custGeom>
            <a:solidFill>
              <a:schemeClr val="accent1">
                <a:lumMod val="100000"/>
              </a:schemeClr>
            </a:solidFill>
            <a:ln>
              <a:noFill/>
            </a:ln>
          </p:spPr>
          <p:txBody>
            <a:bodyPr spcFirstLastPara="1" wrap="square" lIns="121900" tIns="121900" rIns="121900" bIns="1219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Tx/>
                <a:buNone/>
                <a:tabLst/>
                <a:defRPr/>
              </a:pPr>
              <a:r>
                <a:rPr kumimoji="0" lang="en" sz="2267" b="0" i="0" u="none" strike="noStrike" kern="1200" cap="none" spc="0" normalizeH="0" baseline="0" noProof="0">
                  <a:ln>
                    <a:noFill/>
                  </a:ln>
                  <a:solidFill>
                    <a:srgbClr val="FFFFFF"/>
                  </a:solidFill>
                  <a:effectLst/>
                  <a:uLnTx/>
                  <a:uFillTx/>
                  <a:latin typeface="Arial"/>
                  <a:ea typeface="+mn-ea"/>
                  <a:cs typeface="+mn-ea"/>
                  <a:sym typeface="+mn-lt"/>
                </a:rPr>
                <a:t>E</a:t>
              </a: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62" name="Google Shape;759;p25">
              <a:extLst>
                <a:ext uri="{FF2B5EF4-FFF2-40B4-BE49-F238E27FC236}">
                  <a16:creationId xmlns:a16="http://schemas.microsoft.com/office/drawing/2014/main" id="{B0350192-BDBB-4F5B-8AE0-919077164106}"/>
                </a:ext>
              </a:extLst>
            </p:cNvPr>
            <p:cNvSpPr/>
            <p:nvPr/>
          </p:nvSpPr>
          <p:spPr>
            <a:xfrm>
              <a:off x="2333090" y="3865073"/>
              <a:ext cx="451607" cy="451607"/>
            </a:xfrm>
            <a:custGeom>
              <a:avLst/>
              <a:gdLst/>
              <a:ahLst/>
              <a:cxnLst/>
              <a:rect l="l" t="t" r="r" b="b"/>
              <a:pathLst>
                <a:path w="21027" h="21027" extrusionOk="0">
                  <a:moveTo>
                    <a:pt x="10514" y="1"/>
                  </a:moveTo>
                  <a:cubicBezTo>
                    <a:pt x="4703" y="1"/>
                    <a:pt x="0" y="4704"/>
                    <a:pt x="0" y="10514"/>
                  </a:cubicBezTo>
                  <a:cubicBezTo>
                    <a:pt x="0" y="16312"/>
                    <a:pt x="4703" y="21027"/>
                    <a:pt x="10514" y="21027"/>
                  </a:cubicBezTo>
                  <a:cubicBezTo>
                    <a:pt x="16312" y="21027"/>
                    <a:pt x="21027" y="16312"/>
                    <a:pt x="21027" y="10514"/>
                  </a:cubicBezTo>
                  <a:cubicBezTo>
                    <a:pt x="21027" y="4704"/>
                    <a:pt x="16312" y="1"/>
                    <a:pt x="10514" y="1"/>
                  </a:cubicBezTo>
                  <a:close/>
                </a:path>
              </a:pathLst>
            </a:custGeom>
            <a:solidFill>
              <a:schemeClr val="accent1">
                <a:lumMod val="100000"/>
              </a:schemeClr>
            </a:solidFill>
            <a:ln>
              <a:noFill/>
            </a:ln>
          </p:spPr>
          <p:txBody>
            <a:bodyPr spcFirstLastPara="1" wrap="square" lIns="121900" tIns="121900" rIns="121900" bIns="1219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Tx/>
                <a:buNone/>
                <a:tabLst/>
                <a:defRPr/>
              </a:pPr>
              <a:r>
                <a:rPr kumimoji="0" lang="en" sz="2267" b="0" i="0" u="none" strike="noStrike" kern="1200" cap="none" spc="0" normalizeH="0" baseline="0" noProof="0">
                  <a:ln>
                    <a:noFill/>
                  </a:ln>
                  <a:solidFill>
                    <a:srgbClr val="FFFFFF"/>
                  </a:solidFill>
                  <a:effectLst/>
                  <a:uLnTx/>
                  <a:uFillTx/>
                  <a:latin typeface="Arial"/>
                  <a:ea typeface="+mn-ea"/>
                  <a:cs typeface="+mn-ea"/>
                  <a:sym typeface="+mn-lt"/>
                </a:rPr>
                <a:t>F</a:t>
              </a: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grpSp>
    </p:spTree>
    <p:extLst>
      <p:ext uri="{BB962C8B-B14F-4D97-AF65-F5344CB8AC3E}">
        <p14:creationId xmlns:p14="http://schemas.microsoft.com/office/powerpoint/2010/main" val="3204090597"/>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7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oogle Shape;764;p26">
            <a:extLst>
              <a:ext uri="{FF2B5EF4-FFF2-40B4-BE49-F238E27FC236}">
                <a16:creationId xmlns:a16="http://schemas.microsoft.com/office/drawing/2014/main" id="{CAD8210C-429A-45D8-8000-77F56B3E188B}"/>
              </a:ext>
            </a:extLst>
          </p:cNvPr>
          <p:cNvGrpSpPr/>
          <p:nvPr/>
        </p:nvGrpSpPr>
        <p:grpSpPr>
          <a:xfrm>
            <a:off x="632553" y="2690062"/>
            <a:ext cx="10926899" cy="1478185"/>
            <a:chOff x="474415" y="2199998"/>
            <a:chExt cx="8195174" cy="1108639"/>
          </a:xfrm>
        </p:grpSpPr>
        <p:sp>
          <p:nvSpPr>
            <p:cNvPr id="3" name="Google Shape;765;p26">
              <a:extLst>
                <a:ext uri="{FF2B5EF4-FFF2-40B4-BE49-F238E27FC236}">
                  <a16:creationId xmlns:a16="http://schemas.microsoft.com/office/drawing/2014/main" id="{D70A0C9A-3894-48B3-9872-D1AF01A64CB5}"/>
                </a:ext>
              </a:extLst>
            </p:cNvPr>
            <p:cNvSpPr/>
            <p:nvPr/>
          </p:nvSpPr>
          <p:spPr>
            <a:xfrm>
              <a:off x="853463" y="2722938"/>
              <a:ext cx="7032000" cy="62700"/>
            </a:xfrm>
            <a:prstGeom prst="rect">
              <a:avLst/>
            </a:prstGeom>
            <a:solidFill>
              <a:schemeClr val="accent1">
                <a:lumMod val="100000"/>
              </a:schemeClr>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4" name="Google Shape;766;p26">
              <a:extLst>
                <a:ext uri="{FF2B5EF4-FFF2-40B4-BE49-F238E27FC236}">
                  <a16:creationId xmlns:a16="http://schemas.microsoft.com/office/drawing/2014/main" id="{A745514C-A92C-487C-B2EC-613FD0FDFCEE}"/>
                </a:ext>
              </a:extLst>
            </p:cNvPr>
            <p:cNvSpPr/>
            <p:nvPr/>
          </p:nvSpPr>
          <p:spPr>
            <a:xfrm>
              <a:off x="7718892" y="2199998"/>
              <a:ext cx="950697" cy="1108639"/>
            </a:xfrm>
            <a:custGeom>
              <a:avLst/>
              <a:gdLst/>
              <a:ahLst/>
              <a:cxnLst/>
              <a:rect l="l" t="t" r="r" b="b"/>
              <a:pathLst>
                <a:path w="26528" h="30933" extrusionOk="0">
                  <a:moveTo>
                    <a:pt x="0" y="0"/>
                  </a:moveTo>
                  <a:lnTo>
                    <a:pt x="4667" y="15466"/>
                  </a:lnTo>
                  <a:lnTo>
                    <a:pt x="0" y="30932"/>
                  </a:lnTo>
                  <a:lnTo>
                    <a:pt x="7942" y="26301"/>
                  </a:lnTo>
                  <a:lnTo>
                    <a:pt x="26527" y="15466"/>
                  </a:lnTo>
                  <a:lnTo>
                    <a:pt x="0" y="0"/>
                  </a:lnTo>
                  <a:close/>
                </a:path>
              </a:pathLst>
            </a:custGeom>
            <a:solidFill>
              <a:srgbClr val="869FB2"/>
            </a:solidFill>
            <a:ln>
              <a:noFill/>
            </a:ln>
          </p:spPr>
          <p:txBody>
            <a:bodyPr spcFirstLastPara="1" wrap="square" lIns="121900" tIns="121900" rIns="121900" bIns="1219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Tx/>
                <a:buNone/>
                <a:tabLst/>
                <a:defRPr/>
              </a:pPr>
              <a:r>
                <a:rPr kumimoji="0" lang="en" sz="2267" b="0" i="0" u="none" strike="noStrike" kern="1200" cap="none" spc="0" normalizeH="0" baseline="0" noProof="0">
                  <a:ln>
                    <a:noFill/>
                  </a:ln>
                  <a:solidFill>
                    <a:srgbClr val="FFFFFF"/>
                  </a:solidFill>
                  <a:effectLst/>
                  <a:uLnTx/>
                  <a:uFillTx/>
                  <a:latin typeface="Arial"/>
                  <a:ea typeface="+mn-ea"/>
                  <a:cs typeface="+mn-ea"/>
                  <a:sym typeface="+mn-lt"/>
                </a:rPr>
                <a:t>Mars</a:t>
              </a: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5" name="Google Shape;767;p26">
              <a:extLst>
                <a:ext uri="{FF2B5EF4-FFF2-40B4-BE49-F238E27FC236}">
                  <a16:creationId xmlns:a16="http://schemas.microsoft.com/office/drawing/2014/main" id="{37979971-1A81-41CD-B2DF-1CCD92FB79EB}"/>
                </a:ext>
              </a:extLst>
            </p:cNvPr>
            <p:cNvSpPr/>
            <p:nvPr/>
          </p:nvSpPr>
          <p:spPr>
            <a:xfrm>
              <a:off x="474415" y="2619051"/>
              <a:ext cx="478599" cy="270467"/>
            </a:xfrm>
            <a:custGeom>
              <a:avLst/>
              <a:gdLst/>
              <a:ahLst/>
              <a:cxnLst/>
              <a:rect l="l" t="t" r="r" b="b"/>
              <a:pathLst>
                <a:path w="38958" h="22016" extrusionOk="0">
                  <a:moveTo>
                    <a:pt x="20074" y="1"/>
                  </a:moveTo>
                  <a:lnTo>
                    <a:pt x="20074" y="1"/>
                  </a:lnTo>
                  <a:lnTo>
                    <a:pt x="20074" y="1"/>
                  </a:lnTo>
                  <a:close/>
                  <a:moveTo>
                    <a:pt x="0" y="1"/>
                  </a:moveTo>
                  <a:lnTo>
                    <a:pt x="3322" y="11014"/>
                  </a:lnTo>
                  <a:lnTo>
                    <a:pt x="0" y="22016"/>
                  </a:lnTo>
                  <a:lnTo>
                    <a:pt x="5656" y="18718"/>
                  </a:lnTo>
                  <a:lnTo>
                    <a:pt x="8120" y="17289"/>
                  </a:lnTo>
                  <a:lnTo>
                    <a:pt x="6692" y="22016"/>
                  </a:lnTo>
                  <a:lnTo>
                    <a:pt x="14812" y="17289"/>
                  </a:lnTo>
                  <a:lnTo>
                    <a:pt x="13383" y="22016"/>
                  </a:lnTo>
                  <a:lnTo>
                    <a:pt x="19038" y="18718"/>
                  </a:lnTo>
                  <a:lnTo>
                    <a:pt x="21503" y="17289"/>
                  </a:lnTo>
                  <a:lnTo>
                    <a:pt x="20074" y="22016"/>
                  </a:lnTo>
                  <a:lnTo>
                    <a:pt x="38958" y="11014"/>
                  </a:lnTo>
                  <a:lnTo>
                    <a:pt x="20074" y="1"/>
                  </a:lnTo>
                  <a:lnTo>
                    <a:pt x="21503" y="4740"/>
                  </a:lnTo>
                  <a:lnTo>
                    <a:pt x="13383" y="1"/>
                  </a:lnTo>
                  <a:lnTo>
                    <a:pt x="14812" y="4740"/>
                  </a:lnTo>
                  <a:lnTo>
                    <a:pt x="6692" y="1"/>
                  </a:lnTo>
                  <a:lnTo>
                    <a:pt x="8120" y="4740"/>
                  </a:lnTo>
                  <a:lnTo>
                    <a:pt x="0" y="1"/>
                  </a:lnTo>
                  <a:close/>
                  <a:moveTo>
                    <a:pt x="0" y="22016"/>
                  </a:moveTo>
                  <a:lnTo>
                    <a:pt x="0" y="22016"/>
                  </a:lnTo>
                  <a:lnTo>
                    <a:pt x="0" y="22016"/>
                  </a:lnTo>
                  <a:close/>
                  <a:moveTo>
                    <a:pt x="13383" y="22016"/>
                  </a:moveTo>
                  <a:lnTo>
                    <a:pt x="13383" y="22016"/>
                  </a:lnTo>
                  <a:lnTo>
                    <a:pt x="13383" y="22016"/>
                  </a:lnTo>
                  <a:close/>
                  <a:moveTo>
                    <a:pt x="20074" y="22016"/>
                  </a:moveTo>
                  <a:lnTo>
                    <a:pt x="20074" y="22016"/>
                  </a:lnTo>
                  <a:lnTo>
                    <a:pt x="20074" y="22016"/>
                  </a:lnTo>
                  <a:close/>
                </a:path>
              </a:pathLst>
            </a:custGeom>
            <a:solidFill>
              <a:srgbClr val="869FB2"/>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grpSp>
      <p:grpSp>
        <p:nvGrpSpPr>
          <p:cNvPr id="6" name="Google Shape;769;p26">
            <a:extLst>
              <a:ext uri="{FF2B5EF4-FFF2-40B4-BE49-F238E27FC236}">
                <a16:creationId xmlns:a16="http://schemas.microsoft.com/office/drawing/2014/main" id="{31510973-EB36-4FFC-892B-C0C1A4276F55}"/>
              </a:ext>
            </a:extLst>
          </p:cNvPr>
          <p:cNvGrpSpPr/>
          <p:nvPr/>
        </p:nvGrpSpPr>
        <p:grpSpPr>
          <a:xfrm>
            <a:off x="3270051" y="2073808"/>
            <a:ext cx="2481591" cy="2710383"/>
            <a:chOff x="2452538" y="1737808"/>
            <a:chExt cx="1861193" cy="2032787"/>
          </a:xfrm>
        </p:grpSpPr>
        <p:grpSp>
          <p:nvGrpSpPr>
            <p:cNvPr id="7" name="Google Shape;770;p26">
              <a:extLst>
                <a:ext uri="{FF2B5EF4-FFF2-40B4-BE49-F238E27FC236}">
                  <a16:creationId xmlns:a16="http://schemas.microsoft.com/office/drawing/2014/main" id="{2955C781-4943-4679-97CA-3C8BA71B36A2}"/>
                </a:ext>
              </a:extLst>
            </p:cNvPr>
            <p:cNvGrpSpPr/>
            <p:nvPr/>
          </p:nvGrpSpPr>
          <p:grpSpPr>
            <a:xfrm>
              <a:off x="3301976" y="1737808"/>
              <a:ext cx="1011754" cy="2032787"/>
              <a:chOff x="3505603" y="1737808"/>
              <a:chExt cx="1011754" cy="2032787"/>
            </a:xfrm>
          </p:grpSpPr>
          <p:sp>
            <p:nvSpPr>
              <p:cNvPr id="22" name="Google Shape;771;p26">
                <a:extLst>
                  <a:ext uri="{FF2B5EF4-FFF2-40B4-BE49-F238E27FC236}">
                    <a16:creationId xmlns:a16="http://schemas.microsoft.com/office/drawing/2014/main" id="{76EF8F28-DA83-4B5F-8218-9B228A59BEC9}"/>
                  </a:ext>
                </a:extLst>
              </p:cNvPr>
              <p:cNvSpPr/>
              <p:nvPr/>
            </p:nvSpPr>
            <p:spPr>
              <a:xfrm>
                <a:off x="3505603" y="2754300"/>
                <a:ext cx="1011754" cy="1016295"/>
              </a:xfrm>
              <a:custGeom>
                <a:avLst/>
                <a:gdLst/>
                <a:ahLst/>
                <a:cxnLst/>
                <a:rect l="l" t="t" r="r" b="b"/>
                <a:pathLst>
                  <a:path w="55698" h="55948" extrusionOk="0">
                    <a:moveTo>
                      <a:pt x="24575" y="0"/>
                    </a:moveTo>
                    <a:lnTo>
                      <a:pt x="0" y="55948"/>
                    </a:lnTo>
                    <a:lnTo>
                      <a:pt x="31111" y="55948"/>
                    </a:lnTo>
                    <a:lnTo>
                      <a:pt x="55698" y="0"/>
                    </a:ln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23" name="Google Shape;772;p26">
                <a:extLst>
                  <a:ext uri="{FF2B5EF4-FFF2-40B4-BE49-F238E27FC236}">
                    <a16:creationId xmlns:a16="http://schemas.microsoft.com/office/drawing/2014/main" id="{FB8E58CD-C8D6-487C-AFA4-7500AAB5FF8E}"/>
                  </a:ext>
                </a:extLst>
              </p:cNvPr>
              <p:cNvSpPr/>
              <p:nvPr/>
            </p:nvSpPr>
            <p:spPr>
              <a:xfrm>
                <a:off x="3872820" y="2754300"/>
                <a:ext cx="644531" cy="643223"/>
              </a:xfrm>
              <a:custGeom>
                <a:avLst/>
                <a:gdLst/>
                <a:ahLst/>
                <a:cxnLst/>
                <a:rect l="l" t="t" r="r" b="b"/>
                <a:pathLst>
                  <a:path w="35482" h="35410" extrusionOk="0">
                    <a:moveTo>
                      <a:pt x="4359" y="0"/>
                    </a:moveTo>
                    <a:lnTo>
                      <a:pt x="1" y="9918"/>
                    </a:lnTo>
                    <a:lnTo>
                      <a:pt x="19920" y="35409"/>
                    </a:lnTo>
                    <a:lnTo>
                      <a:pt x="35482" y="0"/>
                    </a:lnTo>
                    <a:close/>
                  </a:path>
                </a:pathLst>
              </a:custGeom>
              <a:solidFill>
                <a:srgbClr val="000000">
                  <a:alpha val="28490"/>
                </a:srgbClr>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24" name="Google Shape;773;p26">
                <a:extLst>
                  <a:ext uri="{FF2B5EF4-FFF2-40B4-BE49-F238E27FC236}">
                    <a16:creationId xmlns:a16="http://schemas.microsoft.com/office/drawing/2014/main" id="{61F4DA2B-4DC5-4201-89BA-B50B6EA2D702}"/>
                  </a:ext>
                </a:extLst>
              </p:cNvPr>
              <p:cNvSpPr/>
              <p:nvPr/>
            </p:nvSpPr>
            <p:spPr>
              <a:xfrm>
                <a:off x="3505603" y="1737808"/>
                <a:ext cx="1011754" cy="1659736"/>
              </a:xfrm>
              <a:custGeom>
                <a:avLst/>
                <a:gdLst/>
                <a:ahLst/>
                <a:cxnLst/>
                <a:rect l="l" t="t" r="r" b="b"/>
                <a:pathLst>
                  <a:path w="55698" h="91370" extrusionOk="0">
                    <a:moveTo>
                      <a:pt x="0" y="1"/>
                    </a:moveTo>
                    <a:lnTo>
                      <a:pt x="40136" y="91369"/>
                    </a:lnTo>
                    <a:lnTo>
                      <a:pt x="55698" y="55960"/>
                    </a:lnTo>
                    <a:lnTo>
                      <a:pt x="31111" y="1"/>
                    </a:ln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grpSp>
        <p:grpSp>
          <p:nvGrpSpPr>
            <p:cNvPr id="8" name="Google Shape;774;p26">
              <a:extLst>
                <a:ext uri="{FF2B5EF4-FFF2-40B4-BE49-F238E27FC236}">
                  <a16:creationId xmlns:a16="http://schemas.microsoft.com/office/drawing/2014/main" id="{5423D1F5-1A06-48DB-AA3D-D4D5D1EC5C54}"/>
                </a:ext>
              </a:extLst>
            </p:cNvPr>
            <p:cNvGrpSpPr/>
            <p:nvPr/>
          </p:nvGrpSpPr>
          <p:grpSpPr>
            <a:xfrm>
              <a:off x="3604657" y="1890188"/>
              <a:ext cx="247745" cy="231977"/>
              <a:chOff x="-25834600" y="3564375"/>
              <a:chExt cx="296950" cy="278050"/>
            </a:xfrm>
          </p:grpSpPr>
          <p:sp>
            <p:nvSpPr>
              <p:cNvPr id="14" name="Google Shape;775;p26">
                <a:extLst>
                  <a:ext uri="{FF2B5EF4-FFF2-40B4-BE49-F238E27FC236}">
                    <a16:creationId xmlns:a16="http://schemas.microsoft.com/office/drawing/2014/main" id="{6A490773-C3DD-4EF1-8F32-7C5E091736D5}"/>
                  </a:ext>
                </a:extLst>
              </p:cNvPr>
              <p:cNvSpPr/>
              <p:nvPr/>
            </p:nvSpPr>
            <p:spPr>
              <a:xfrm>
                <a:off x="-25694400" y="3703775"/>
                <a:ext cx="17350" cy="17375"/>
              </a:xfrm>
              <a:custGeom>
                <a:avLst/>
                <a:gdLst/>
                <a:ahLst/>
                <a:cxnLst/>
                <a:rect l="l" t="t" r="r" b="b"/>
                <a:pathLst>
                  <a:path w="694" h="695" extrusionOk="0">
                    <a:moveTo>
                      <a:pt x="347" y="1"/>
                    </a:moveTo>
                    <a:cubicBezTo>
                      <a:pt x="158" y="1"/>
                      <a:pt x="0" y="158"/>
                      <a:pt x="0" y="347"/>
                    </a:cubicBezTo>
                    <a:cubicBezTo>
                      <a:pt x="0" y="537"/>
                      <a:pt x="158" y="694"/>
                      <a:pt x="347" y="694"/>
                    </a:cubicBezTo>
                    <a:cubicBezTo>
                      <a:pt x="536" y="694"/>
                      <a:pt x="693" y="537"/>
                      <a:pt x="693" y="347"/>
                    </a:cubicBezTo>
                    <a:cubicBezTo>
                      <a:pt x="693" y="158"/>
                      <a:pt x="504" y="1"/>
                      <a:pt x="347" y="1"/>
                    </a:cubicBezTo>
                    <a:close/>
                  </a:path>
                </a:pathLst>
              </a:custGeom>
              <a:solidFill>
                <a:srgbClr val="FFFFFF"/>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15" name="Google Shape;776;p26">
                <a:extLst>
                  <a:ext uri="{FF2B5EF4-FFF2-40B4-BE49-F238E27FC236}">
                    <a16:creationId xmlns:a16="http://schemas.microsoft.com/office/drawing/2014/main" id="{5E1B8B97-35B4-499A-90C3-9F919455564B}"/>
                  </a:ext>
                </a:extLst>
              </p:cNvPr>
              <p:cNvSpPr/>
              <p:nvPr/>
            </p:nvSpPr>
            <p:spPr>
              <a:xfrm>
                <a:off x="-25591225" y="3703775"/>
                <a:ext cx="53575" cy="18150"/>
              </a:xfrm>
              <a:custGeom>
                <a:avLst/>
                <a:gdLst/>
                <a:ahLst/>
                <a:cxnLst/>
                <a:rect l="l" t="t" r="r" b="b"/>
                <a:pathLst>
                  <a:path w="2143" h="726" extrusionOk="0">
                    <a:moveTo>
                      <a:pt x="347" y="1"/>
                    </a:moveTo>
                    <a:cubicBezTo>
                      <a:pt x="158" y="1"/>
                      <a:pt x="0" y="158"/>
                      <a:pt x="0" y="347"/>
                    </a:cubicBezTo>
                    <a:cubicBezTo>
                      <a:pt x="0" y="537"/>
                      <a:pt x="158" y="726"/>
                      <a:pt x="347" y="726"/>
                    </a:cubicBezTo>
                    <a:lnTo>
                      <a:pt x="1765" y="726"/>
                    </a:lnTo>
                    <a:cubicBezTo>
                      <a:pt x="1985" y="726"/>
                      <a:pt x="2143" y="568"/>
                      <a:pt x="2143" y="347"/>
                    </a:cubicBezTo>
                    <a:cubicBezTo>
                      <a:pt x="2143" y="158"/>
                      <a:pt x="1985" y="1"/>
                      <a:pt x="1765" y="1"/>
                    </a:cubicBezTo>
                    <a:close/>
                  </a:path>
                </a:pathLst>
              </a:custGeom>
              <a:solidFill>
                <a:srgbClr val="FFFFFF"/>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16" name="Google Shape;777;p26">
                <a:extLst>
                  <a:ext uri="{FF2B5EF4-FFF2-40B4-BE49-F238E27FC236}">
                    <a16:creationId xmlns:a16="http://schemas.microsoft.com/office/drawing/2014/main" id="{E1ED5D73-0901-4E0A-869B-F38242B37439}"/>
                  </a:ext>
                </a:extLst>
              </p:cNvPr>
              <p:cNvSpPr/>
              <p:nvPr/>
            </p:nvSpPr>
            <p:spPr>
              <a:xfrm>
                <a:off x="-25834600" y="3703775"/>
                <a:ext cx="53575" cy="18150"/>
              </a:xfrm>
              <a:custGeom>
                <a:avLst/>
                <a:gdLst/>
                <a:ahLst/>
                <a:cxnLst/>
                <a:rect l="l" t="t" r="r" b="b"/>
                <a:pathLst>
                  <a:path w="2143" h="726" extrusionOk="0">
                    <a:moveTo>
                      <a:pt x="378" y="1"/>
                    </a:moveTo>
                    <a:cubicBezTo>
                      <a:pt x="158" y="1"/>
                      <a:pt x="0" y="158"/>
                      <a:pt x="0" y="347"/>
                    </a:cubicBezTo>
                    <a:cubicBezTo>
                      <a:pt x="0" y="568"/>
                      <a:pt x="158" y="726"/>
                      <a:pt x="378" y="726"/>
                    </a:cubicBezTo>
                    <a:lnTo>
                      <a:pt x="1796" y="726"/>
                    </a:lnTo>
                    <a:cubicBezTo>
                      <a:pt x="1985" y="726"/>
                      <a:pt x="2143" y="568"/>
                      <a:pt x="2143" y="347"/>
                    </a:cubicBezTo>
                    <a:cubicBezTo>
                      <a:pt x="2143" y="158"/>
                      <a:pt x="1985" y="1"/>
                      <a:pt x="1796" y="1"/>
                    </a:cubicBezTo>
                    <a:close/>
                  </a:path>
                </a:pathLst>
              </a:custGeom>
              <a:solidFill>
                <a:srgbClr val="FFFFFF"/>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17" name="Google Shape;778;p26">
                <a:extLst>
                  <a:ext uri="{FF2B5EF4-FFF2-40B4-BE49-F238E27FC236}">
                    <a16:creationId xmlns:a16="http://schemas.microsoft.com/office/drawing/2014/main" id="{7B8ED61F-BBCF-4401-B104-632943D55E2F}"/>
                  </a:ext>
                </a:extLst>
              </p:cNvPr>
              <p:cNvSpPr/>
              <p:nvPr/>
            </p:nvSpPr>
            <p:spPr>
              <a:xfrm>
                <a:off x="-25695200" y="3564375"/>
                <a:ext cx="17350" cy="52800"/>
              </a:xfrm>
              <a:custGeom>
                <a:avLst/>
                <a:gdLst/>
                <a:ahLst/>
                <a:cxnLst/>
                <a:rect l="l" t="t" r="r" b="b"/>
                <a:pathLst>
                  <a:path w="694" h="2112" extrusionOk="0">
                    <a:moveTo>
                      <a:pt x="347" y="1"/>
                    </a:moveTo>
                    <a:cubicBezTo>
                      <a:pt x="158" y="1"/>
                      <a:pt x="1" y="158"/>
                      <a:pt x="1" y="347"/>
                    </a:cubicBezTo>
                    <a:lnTo>
                      <a:pt x="1" y="1765"/>
                    </a:lnTo>
                    <a:cubicBezTo>
                      <a:pt x="1" y="1954"/>
                      <a:pt x="158" y="2111"/>
                      <a:pt x="347" y="2111"/>
                    </a:cubicBezTo>
                    <a:cubicBezTo>
                      <a:pt x="536" y="2111"/>
                      <a:pt x="694" y="1954"/>
                      <a:pt x="694" y="1765"/>
                    </a:cubicBezTo>
                    <a:lnTo>
                      <a:pt x="694" y="347"/>
                    </a:lnTo>
                    <a:cubicBezTo>
                      <a:pt x="694" y="158"/>
                      <a:pt x="536" y="1"/>
                      <a:pt x="347" y="1"/>
                    </a:cubicBezTo>
                    <a:close/>
                  </a:path>
                </a:pathLst>
              </a:custGeom>
              <a:solidFill>
                <a:srgbClr val="FFFFFF"/>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18" name="Google Shape;779;p26">
                <a:extLst>
                  <a:ext uri="{FF2B5EF4-FFF2-40B4-BE49-F238E27FC236}">
                    <a16:creationId xmlns:a16="http://schemas.microsoft.com/office/drawing/2014/main" id="{AA220D6F-2C84-47B9-9540-F928545F66B7}"/>
                  </a:ext>
                </a:extLst>
              </p:cNvPr>
              <p:cNvSpPr/>
              <p:nvPr/>
            </p:nvSpPr>
            <p:spPr>
              <a:xfrm>
                <a:off x="-25792850" y="3606125"/>
                <a:ext cx="42550" cy="40975"/>
              </a:xfrm>
              <a:custGeom>
                <a:avLst/>
                <a:gdLst/>
                <a:ahLst/>
                <a:cxnLst/>
                <a:rect l="l" t="t" r="r" b="b"/>
                <a:pathLst>
                  <a:path w="1702" h="1639" extrusionOk="0">
                    <a:moveTo>
                      <a:pt x="351" y="0"/>
                    </a:moveTo>
                    <a:cubicBezTo>
                      <a:pt x="260" y="0"/>
                      <a:pt x="173" y="32"/>
                      <a:pt x="126" y="95"/>
                    </a:cubicBezTo>
                    <a:cubicBezTo>
                      <a:pt x="0" y="221"/>
                      <a:pt x="0" y="441"/>
                      <a:pt x="126" y="567"/>
                    </a:cubicBezTo>
                    <a:lnTo>
                      <a:pt x="1103" y="1544"/>
                    </a:lnTo>
                    <a:cubicBezTo>
                      <a:pt x="1166" y="1607"/>
                      <a:pt x="1252" y="1639"/>
                      <a:pt x="1339" y="1639"/>
                    </a:cubicBezTo>
                    <a:cubicBezTo>
                      <a:pt x="1426" y="1639"/>
                      <a:pt x="1512" y="1607"/>
                      <a:pt x="1575" y="1544"/>
                    </a:cubicBezTo>
                    <a:cubicBezTo>
                      <a:pt x="1701" y="1418"/>
                      <a:pt x="1701" y="1198"/>
                      <a:pt x="1575" y="1071"/>
                    </a:cubicBezTo>
                    <a:lnTo>
                      <a:pt x="599" y="95"/>
                    </a:lnTo>
                    <a:cubicBezTo>
                      <a:pt x="536" y="32"/>
                      <a:pt x="441" y="0"/>
                      <a:pt x="351" y="0"/>
                    </a:cubicBezTo>
                    <a:close/>
                  </a:path>
                </a:pathLst>
              </a:custGeom>
              <a:solidFill>
                <a:srgbClr val="FFFFFF"/>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19" name="Google Shape;780;p26">
                <a:extLst>
                  <a:ext uri="{FF2B5EF4-FFF2-40B4-BE49-F238E27FC236}">
                    <a16:creationId xmlns:a16="http://schemas.microsoft.com/office/drawing/2014/main" id="{EE09A354-50AE-48D4-8B1A-BC782E2A9A50}"/>
                  </a:ext>
                </a:extLst>
              </p:cNvPr>
              <p:cNvSpPr/>
              <p:nvPr/>
            </p:nvSpPr>
            <p:spPr>
              <a:xfrm>
                <a:off x="-25621950" y="3606125"/>
                <a:ext cx="43350" cy="40975"/>
              </a:xfrm>
              <a:custGeom>
                <a:avLst/>
                <a:gdLst/>
                <a:ahLst/>
                <a:cxnLst/>
                <a:rect l="l" t="t" r="r" b="b"/>
                <a:pathLst>
                  <a:path w="1734" h="1639" extrusionOk="0">
                    <a:moveTo>
                      <a:pt x="1351" y="0"/>
                    </a:moveTo>
                    <a:cubicBezTo>
                      <a:pt x="1261" y="0"/>
                      <a:pt x="1166" y="32"/>
                      <a:pt x="1103" y="95"/>
                    </a:cubicBezTo>
                    <a:lnTo>
                      <a:pt x="127" y="1071"/>
                    </a:lnTo>
                    <a:cubicBezTo>
                      <a:pt x="1" y="1198"/>
                      <a:pt x="1" y="1418"/>
                      <a:pt x="127" y="1544"/>
                    </a:cubicBezTo>
                    <a:cubicBezTo>
                      <a:pt x="190" y="1607"/>
                      <a:pt x="284" y="1639"/>
                      <a:pt x="375" y="1639"/>
                    </a:cubicBezTo>
                    <a:cubicBezTo>
                      <a:pt x="465" y="1639"/>
                      <a:pt x="552" y="1607"/>
                      <a:pt x="599" y="1544"/>
                    </a:cubicBezTo>
                    <a:lnTo>
                      <a:pt x="1576" y="567"/>
                    </a:lnTo>
                    <a:cubicBezTo>
                      <a:pt x="1733" y="441"/>
                      <a:pt x="1733" y="221"/>
                      <a:pt x="1576" y="95"/>
                    </a:cubicBezTo>
                    <a:cubicBezTo>
                      <a:pt x="1529" y="32"/>
                      <a:pt x="1442" y="0"/>
                      <a:pt x="1351" y="0"/>
                    </a:cubicBezTo>
                    <a:close/>
                  </a:path>
                </a:pathLst>
              </a:custGeom>
              <a:solidFill>
                <a:srgbClr val="FFFFFF"/>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20" name="Google Shape;781;p26">
                <a:extLst>
                  <a:ext uri="{FF2B5EF4-FFF2-40B4-BE49-F238E27FC236}">
                    <a16:creationId xmlns:a16="http://schemas.microsoft.com/office/drawing/2014/main" id="{CD94683A-C9BF-4D07-A95E-FCD19B8DFD53}"/>
                  </a:ext>
                </a:extLst>
              </p:cNvPr>
              <p:cNvSpPr/>
              <p:nvPr/>
            </p:nvSpPr>
            <p:spPr>
              <a:xfrm>
                <a:off x="-25783400" y="3806975"/>
                <a:ext cx="192200" cy="35450"/>
              </a:xfrm>
              <a:custGeom>
                <a:avLst/>
                <a:gdLst/>
                <a:ahLst/>
                <a:cxnLst/>
                <a:rect l="l" t="t" r="r" b="b"/>
                <a:pathLst>
                  <a:path w="7688" h="1418" extrusionOk="0">
                    <a:moveTo>
                      <a:pt x="725" y="0"/>
                    </a:moveTo>
                    <a:cubicBezTo>
                      <a:pt x="315" y="0"/>
                      <a:pt x="0" y="315"/>
                      <a:pt x="0" y="725"/>
                    </a:cubicBezTo>
                    <a:lnTo>
                      <a:pt x="0" y="1071"/>
                    </a:lnTo>
                    <a:cubicBezTo>
                      <a:pt x="0" y="1260"/>
                      <a:pt x="158" y="1418"/>
                      <a:pt x="378" y="1418"/>
                    </a:cubicBezTo>
                    <a:lnTo>
                      <a:pt x="7309" y="1418"/>
                    </a:lnTo>
                    <a:cubicBezTo>
                      <a:pt x="7530" y="1418"/>
                      <a:pt x="7687" y="1260"/>
                      <a:pt x="7687" y="1071"/>
                    </a:cubicBezTo>
                    <a:lnTo>
                      <a:pt x="7687" y="725"/>
                    </a:lnTo>
                    <a:cubicBezTo>
                      <a:pt x="7687" y="315"/>
                      <a:pt x="7372" y="0"/>
                      <a:pt x="6994" y="0"/>
                    </a:cubicBezTo>
                    <a:close/>
                  </a:path>
                </a:pathLst>
              </a:custGeom>
              <a:solidFill>
                <a:srgbClr val="FFFFFF"/>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21" name="Google Shape;782;p26">
                <a:extLst>
                  <a:ext uri="{FF2B5EF4-FFF2-40B4-BE49-F238E27FC236}">
                    <a16:creationId xmlns:a16="http://schemas.microsoft.com/office/drawing/2014/main" id="{75D0B4AB-53EC-4463-BFDA-BB9475399E2D}"/>
                  </a:ext>
                </a:extLst>
              </p:cNvPr>
              <p:cNvSpPr/>
              <p:nvPr/>
            </p:nvSpPr>
            <p:spPr>
              <a:xfrm>
                <a:off x="-25764500" y="3635275"/>
                <a:ext cx="153600" cy="155175"/>
              </a:xfrm>
              <a:custGeom>
                <a:avLst/>
                <a:gdLst/>
                <a:ahLst/>
                <a:cxnLst/>
                <a:rect l="l" t="t" r="r" b="b"/>
                <a:pathLst>
                  <a:path w="6144" h="6207" extrusionOk="0">
                    <a:moveTo>
                      <a:pt x="3025" y="0"/>
                    </a:moveTo>
                    <a:cubicBezTo>
                      <a:pt x="1355" y="0"/>
                      <a:pt x="0" y="1355"/>
                      <a:pt x="0" y="3087"/>
                    </a:cubicBezTo>
                    <a:lnTo>
                      <a:pt x="0" y="6206"/>
                    </a:lnTo>
                    <a:lnTo>
                      <a:pt x="2773" y="6206"/>
                    </a:lnTo>
                    <a:lnTo>
                      <a:pt x="2773" y="4064"/>
                    </a:lnTo>
                    <a:cubicBezTo>
                      <a:pt x="2363" y="3938"/>
                      <a:pt x="2048" y="3560"/>
                      <a:pt x="2048" y="3087"/>
                    </a:cubicBezTo>
                    <a:cubicBezTo>
                      <a:pt x="2048" y="2489"/>
                      <a:pt x="2521" y="2079"/>
                      <a:pt x="3088" y="2079"/>
                    </a:cubicBezTo>
                    <a:cubicBezTo>
                      <a:pt x="3655" y="2079"/>
                      <a:pt x="4096" y="2552"/>
                      <a:pt x="4096" y="3087"/>
                    </a:cubicBezTo>
                    <a:cubicBezTo>
                      <a:pt x="4096" y="3529"/>
                      <a:pt x="3812" y="3938"/>
                      <a:pt x="3403" y="4064"/>
                    </a:cubicBezTo>
                    <a:lnTo>
                      <a:pt x="3403" y="6206"/>
                    </a:lnTo>
                    <a:lnTo>
                      <a:pt x="6144" y="6206"/>
                    </a:lnTo>
                    <a:lnTo>
                      <a:pt x="6144" y="3087"/>
                    </a:lnTo>
                    <a:cubicBezTo>
                      <a:pt x="6144" y="1355"/>
                      <a:pt x="4726" y="0"/>
                      <a:pt x="3025" y="0"/>
                    </a:cubicBezTo>
                    <a:close/>
                  </a:path>
                </a:pathLst>
              </a:custGeom>
              <a:solidFill>
                <a:srgbClr val="FFFFFF"/>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grpSp>
        <p:grpSp>
          <p:nvGrpSpPr>
            <p:cNvPr id="9" name="Google Shape;783;p26">
              <a:extLst>
                <a:ext uri="{FF2B5EF4-FFF2-40B4-BE49-F238E27FC236}">
                  <a16:creationId xmlns:a16="http://schemas.microsoft.com/office/drawing/2014/main" id="{156AA7CC-73D7-433C-9758-186F0FEC9166}"/>
                </a:ext>
              </a:extLst>
            </p:cNvPr>
            <p:cNvGrpSpPr/>
            <p:nvPr/>
          </p:nvGrpSpPr>
          <p:grpSpPr>
            <a:xfrm>
              <a:off x="3577771" y="3371749"/>
              <a:ext cx="220818" cy="246452"/>
              <a:chOff x="-23962425" y="3519475"/>
              <a:chExt cx="264675" cy="295400"/>
            </a:xfrm>
          </p:grpSpPr>
          <p:sp>
            <p:nvSpPr>
              <p:cNvPr id="12" name="Google Shape;784;p26">
                <a:extLst>
                  <a:ext uri="{FF2B5EF4-FFF2-40B4-BE49-F238E27FC236}">
                    <a16:creationId xmlns:a16="http://schemas.microsoft.com/office/drawing/2014/main" id="{11DD9B71-3CBB-4A1E-B4E2-735A19E8150D}"/>
                  </a:ext>
                </a:extLst>
              </p:cNvPr>
              <p:cNvSpPr/>
              <p:nvPr/>
            </p:nvSpPr>
            <p:spPr>
              <a:xfrm>
                <a:off x="-23961625" y="3580925"/>
                <a:ext cx="263875" cy="233950"/>
              </a:xfrm>
              <a:custGeom>
                <a:avLst/>
                <a:gdLst/>
                <a:ahLst/>
                <a:cxnLst/>
                <a:rect l="l" t="t" r="r" b="b"/>
                <a:pathLst>
                  <a:path w="10555" h="9358" extrusionOk="0">
                    <a:moveTo>
                      <a:pt x="1701" y="3119"/>
                    </a:moveTo>
                    <a:cubicBezTo>
                      <a:pt x="1890" y="3119"/>
                      <a:pt x="2048" y="3277"/>
                      <a:pt x="2048" y="3466"/>
                    </a:cubicBezTo>
                    <a:lnTo>
                      <a:pt x="2048" y="4159"/>
                    </a:lnTo>
                    <a:cubicBezTo>
                      <a:pt x="2048" y="4379"/>
                      <a:pt x="2205" y="4537"/>
                      <a:pt x="2394" y="4537"/>
                    </a:cubicBezTo>
                    <a:lnTo>
                      <a:pt x="3119" y="4537"/>
                    </a:lnTo>
                    <a:cubicBezTo>
                      <a:pt x="3308" y="4537"/>
                      <a:pt x="3466" y="4663"/>
                      <a:pt x="3466" y="4883"/>
                    </a:cubicBezTo>
                    <a:cubicBezTo>
                      <a:pt x="3466" y="5072"/>
                      <a:pt x="3308" y="5230"/>
                      <a:pt x="3119" y="5230"/>
                    </a:cubicBezTo>
                    <a:lnTo>
                      <a:pt x="2394" y="5230"/>
                    </a:lnTo>
                    <a:cubicBezTo>
                      <a:pt x="1796" y="5198"/>
                      <a:pt x="1323" y="4726"/>
                      <a:pt x="1323" y="4159"/>
                    </a:cubicBezTo>
                    <a:lnTo>
                      <a:pt x="1323" y="3466"/>
                    </a:lnTo>
                    <a:cubicBezTo>
                      <a:pt x="1323" y="3277"/>
                      <a:pt x="1512" y="3119"/>
                      <a:pt x="1701" y="3119"/>
                    </a:cubicBezTo>
                    <a:close/>
                    <a:moveTo>
                      <a:pt x="3781" y="6585"/>
                    </a:moveTo>
                    <a:lnTo>
                      <a:pt x="3781" y="6931"/>
                    </a:lnTo>
                    <a:cubicBezTo>
                      <a:pt x="3781" y="7120"/>
                      <a:pt x="3623" y="7278"/>
                      <a:pt x="3434" y="7278"/>
                    </a:cubicBezTo>
                    <a:cubicBezTo>
                      <a:pt x="3214" y="7278"/>
                      <a:pt x="3056" y="7120"/>
                      <a:pt x="3056" y="6931"/>
                    </a:cubicBezTo>
                    <a:lnTo>
                      <a:pt x="3056" y="6585"/>
                    </a:lnTo>
                    <a:close/>
                    <a:moveTo>
                      <a:pt x="6900" y="0"/>
                    </a:moveTo>
                    <a:cubicBezTo>
                      <a:pt x="5986" y="0"/>
                      <a:pt x="5293" y="693"/>
                      <a:pt x="5293" y="1607"/>
                    </a:cubicBezTo>
                    <a:cubicBezTo>
                      <a:pt x="5293" y="2363"/>
                      <a:pt x="5765" y="2741"/>
                      <a:pt x="6238" y="3182"/>
                    </a:cubicBezTo>
                    <a:lnTo>
                      <a:pt x="7561" y="4379"/>
                    </a:lnTo>
                    <a:lnTo>
                      <a:pt x="7561" y="7624"/>
                    </a:lnTo>
                    <a:cubicBezTo>
                      <a:pt x="7561" y="8223"/>
                      <a:pt x="7089" y="8664"/>
                      <a:pt x="6553" y="8664"/>
                    </a:cubicBezTo>
                    <a:lnTo>
                      <a:pt x="4820" y="8664"/>
                    </a:lnTo>
                    <a:cubicBezTo>
                      <a:pt x="4348" y="8664"/>
                      <a:pt x="3938" y="8349"/>
                      <a:pt x="3812" y="7876"/>
                    </a:cubicBezTo>
                    <a:cubicBezTo>
                      <a:pt x="4222" y="7719"/>
                      <a:pt x="4505" y="7372"/>
                      <a:pt x="4505" y="6931"/>
                    </a:cubicBezTo>
                    <a:lnTo>
                      <a:pt x="4505" y="6585"/>
                    </a:lnTo>
                    <a:lnTo>
                      <a:pt x="5198" y="6585"/>
                    </a:lnTo>
                    <a:cubicBezTo>
                      <a:pt x="6144" y="6585"/>
                      <a:pt x="6931" y="5797"/>
                      <a:pt x="6931" y="4852"/>
                    </a:cubicBezTo>
                    <a:lnTo>
                      <a:pt x="6931" y="4631"/>
                    </a:lnTo>
                    <a:lnTo>
                      <a:pt x="5829" y="3686"/>
                    </a:lnTo>
                    <a:cubicBezTo>
                      <a:pt x="5671" y="3529"/>
                      <a:pt x="5482" y="3371"/>
                      <a:pt x="5293" y="3182"/>
                    </a:cubicBezTo>
                    <a:cubicBezTo>
                      <a:pt x="4568" y="3151"/>
                      <a:pt x="3875" y="2899"/>
                      <a:pt x="3182" y="2332"/>
                    </a:cubicBezTo>
                    <a:cubicBezTo>
                      <a:pt x="2720" y="1911"/>
                      <a:pt x="1880" y="1701"/>
                      <a:pt x="1091" y="1701"/>
                    </a:cubicBezTo>
                    <a:cubicBezTo>
                      <a:pt x="697" y="1701"/>
                      <a:pt x="315" y="1754"/>
                      <a:pt x="0" y="1859"/>
                    </a:cubicBezTo>
                    <a:lnTo>
                      <a:pt x="0" y="4883"/>
                    </a:lnTo>
                    <a:cubicBezTo>
                      <a:pt x="0" y="5829"/>
                      <a:pt x="788" y="6616"/>
                      <a:pt x="1733" y="6616"/>
                    </a:cubicBezTo>
                    <a:lnTo>
                      <a:pt x="2457" y="6616"/>
                    </a:lnTo>
                    <a:lnTo>
                      <a:pt x="2457" y="6963"/>
                    </a:lnTo>
                    <a:cubicBezTo>
                      <a:pt x="2394" y="7404"/>
                      <a:pt x="2678" y="7782"/>
                      <a:pt x="3119" y="7908"/>
                    </a:cubicBezTo>
                    <a:cubicBezTo>
                      <a:pt x="3277" y="8727"/>
                      <a:pt x="3970" y="9357"/>
                      <a:pt x="4820" y="9357"/>
                    </a:cubicBezTo>
                    <a:lnTo>
                      <a:pt x="6553" y="9357"/>
                    </a:lnTo>
                    <a:cubicBezTo>
                      <a:pt x="7498" y="9357"/>
                      <a:pt x="8286" y="8569"/>
                      <a:pt x="8286" y="7624"/>
                    </a:cubicBezTo>
                    <a:lnTo>
                      <a:pt x="8286" y="4379"/>
                    </a:lnTo>
                    <a:cubicBezTo>
                      <a:pt x="9294" y="3497"/>
                      <a:pt x="9546" y="3277"/>
                      <a:pt x="9546" y="3277"/>
                    </a:cubicBezTo>
                    <a:cubicBezTo>
                      <a:pt x="9987" y="2867"/>
                      <a:pt x="10554" y="2395"/>
                      <a:pt x="10554" y="1607"/>
                    </a:cubicBezTo>
                    <a:cubicBezTo>
                      <a:pt x="10554" y="693"/>
                      <a:pt x="9830" y="0"/>
                      <a:pt x="8948" y="0"/>
                    </a:cubicBezTo>
                    <a:cubicBezTo>
                      <a:pt x="8538" y="0"/>
                      <a:pt x="8191" y="126"/>
                      <a:pt x="7908" y="347"/>
                    </a:cubicBezTo>
                    <a:cubicBezTo>
                      <a:pt x="7656" y="95"/>
                      <a:pt x="7278" y="0"/>
                      <a:pt x="6900" y="0"/>
                    </a:cubicBezTo>
                    <a:close/>
                  </a:path>
                </a:pathLst>
              </a:custGeom>
              <a:solidFill>
                <a:srgbClr val="FFFFFF"/>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13" name="Google Shape;785;p26">
                <a:extLst>
                  <a:ext uri="{FF2B5EF4-FFF2-40B4-BE49-F238E27FC236}">
                    <a16:creationId xmlns:a16="http://schemas.microsoft.com/office/drawing/2014/main" id="{E969858C-BAE1-45E1-AECA-622B26F70274}"/>
                  </a:ext>
                </a:extLst>
              </p:cNvPr>
              <p:cNvSpPr/>
              <p:nvPr/>
            </p:nvSpPr>
            <p:spPr>
              <a:xfrm>
                <a:off x="-23962425" y="3519475"/>
                <a:ext cx="158350" cy="122125"/>
              </a:xfrm>
              <a:custGeom>
                <a:avLst/>
                <a:gdLst/>
                <a:ahLst/>
                <a:cxnLst/>
                <a:rect l="l" t="t" r="r" b="b"/>
                <a:pathLst>
                  <a:path w="6334" h="4885" extrusionOk="0">
                    <a:moveTo>
                      <a:pt x="3844" y="631"/>
                    </a:moveTo>
                    <a:cubicBezTo>
                      <a:pt x="4065" y="631"/>
                      <a:pt x="4222" y="788"/>
                      <a:pt x="4222" y="1009"/>
                    </a:cubicBezTo>
                    <a:lnTo>
                      <a:pt x="4222" y="1387"/>
                    </a:lnTo>
                    <a:lnTo>
                      <a:pt x="2773" y="1387"/>
                    </a:lnTo>
                    <a:lnTo>
                      <a:pt x="2773" y="1009"/>
                    </a:lnTo>
                    <a:cubicBezTo>
                      <a:pt x="2773" y="788"/>
                      <a:pt x="2931" y="631"/>
                      <a:pt x="3151" y="631"/>
                    </a:cubicBezTo>
                    <a:close/>
                    <a:moveTo>
                      <a:pt x="3088" y="1"/>
                    </a:moveTo>
                    <a:cubicBezTo>
                      <a:pt x="2521" y="1"/>
                      <a:pt x="2080" y="473"/>
                      <a:pt x="2080" y="1040"/>
                    </a:cubicBezTo>
                    <a:lnTo>
                      <a:pt x="2080" y="1419"/>
                    </a:lnTo>
                    <a:lnTo>
                      <a:pt x="1733" y="1419"/>
                    </a:lnTo>
                    <a:cubicBezTo>
                      <a:pt x="788" y="1419"/>
                      <a:pt x="1" y="2206"/>
                      <a:pt x="1" y="3151"/>
                    </a:cubicBezTo>
                    <a:lnTo>
                      <a:pt x="1" y="3592"/>
                    </a:lnTo>
                    <a:cubicBezTo>
                      <a:pt x="332" y="3503"/>
                      <a:pt x="705" y="3459"/>
                      <a:pt x="1087" y="3459"/>
                    </a:cubicBezTo>
                    <a:cubicBezTo>
                      <a:pt x="2048" y="3459"/>
                      <a:pt x="3069" y="3736"/>
                      <a:pt x="3655" y="4254"/>
                    </a:cubicBezTo>
                    <a:cubicBezTo>
                      <a:pt x="4002" y="4569"/>
                      <a:pt x="4411" y="4758"/>
                      <a:pt x="4789" y="4884"/>
                    </a:cubicBezTo>
                    <a:cubicBezTo>
                      <a:pt x="4726" y="4664"/>
                      <a:pt x="4632" y="4380"/>
                      <a:pt x="4632" y="4096"/>
                    </a:cubicBezTo>
                    <a:cubicBezTo>
                      <a:pt x="4632" y="2994"/>
                      <a:pt x="5356" y="2112"/>
                      <a:pt x="6333" y="1860"/>
                    </a:cubicBezTo>
                    <a:cubicBezTo>
                      <a:pt x="6018" y="1576"/>
                      <a:pt x="5608" y="1419"/>
                      <a:pt x="5199" y="1419"/>
                    </a:cubicBezTo>
                    <a:lnTo>
                      <a:pt x="4821" y="1419"/>
                    </a:lnTo>
                    <a:lnTo>
                      <a:pt x="4821" y="1040"/>
                    </a:lnTo>
                    <a:cubicBezTo>
                      <a:pt x="4821" y="442"/>
                      <a:pt x="4348" y="1"/>
                      <a:pt x="3813" y="1"/>
                    </a:cubicBezTo>
                    <a:close/>
                  </a:path>
                </a:pathLst>
              </a:custGeom>
              <a:solidFill>
                <a:srgbClr val="FFFFFF"/>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grpSp>
        <p:sp>
          <p:nvSpPr>
            <p:cNvPr id="10" name="Google Shape;786;p26">
              <a:extLst>
                <a:ext uri="{FF2B5EF4-FFF2-40B4-BE49-F238E27FC236}">
                  <a16:creationId xmlns:a16="http://schemas.microsoft.com/office/drawing/2014/main" id="{654CED6D-F8D2-4E94-B3C8-0503A45F4DC2}"/>
                </a:ext>
              </a:extLst>
            </p:cNvPr>
            <p:cNvSpPr txBox="1"/>
            <p:nvPr/>
          </p:nvSpPr>
          <p:spPr>
            <a:xfrm>
              <a:off x="2452538" y="1954813"/>
              <a:ext cx="964200" cy="597300"/>
            </a:xfrm>
            <a:prstGeom prst="rect">
              <a:avLst/>
            </a:prstGeom>
            <a:noFill/>
            <a:ln>
              <a:noFill/>
            </a:ln>
          </p:spPr>
          <p:txBody>
            <a:bodyPr spcFirstLastPara="1" wrap="square" lIns="121900" tIns="121900" rIns="121900" bIns="12190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 sz="1600" b="0" i="0" u="none" strike="noStrike" kern="1200" cap="none" spc="0" normalizeH="0" baseline="0" noProof="0">
                  <a:ln>
                    <a:noFill/>
                  </a:ln>
                  <a:solidFill>
                    <a:srgbClr val="434343"/>
                  </a:solidFill>
                  <a:effectLst/>
                  <a:uLnTx/>
                  <a:uFillTx/>
                  <a:latin typeface="Arial"/>
                  <a:ea typeface="+mn-ea"/>
                  <a:cs typeface="+mn-ea"/>
                  <a:sym typeface="+mn-lt"/>
                </a:rPr>
                <a:t>Mercury is the first</a:t>
              </a:r>
              <a:endParaRPr kumimoji="0" sz="1600" b="0" i="0" u="none" strike="noStrike" kern="1200" cap="none" spc="0" normalizeH="0" baseline="0" noProof="0">
                <a:ln>
                  <a:noFill/>
                </a:ln>
                <a:solidFill>
                  <a:srgbClr val="434343"/>
                </a:solidFill>
                <a:effectLst/>
                <a:uLnTx/>
                <a:uFillTx/>
                <a:latin typeface="Arial"/>
                <a:ea typeface="+mn-ea"/>
                <a:cs typeface="+mn-ea"/>
                <a:sym typeface="+mn-lt"/>
              </a:endParaRPr>
            </a:p>
          </p:txBody>
        </p:sp>
        <p:sp>
          <p:nvSpPr>
            <p:cNvPr id="11" name="Google Shape;787;p26">
              <a:extLst>
                <a:ext uri="{FF2B5EF4-FFF2-40B4-BE49-F238E27FC236}">
                  <a16:creationId xmlns:a16="http://schemas.microsoft.com/office/drawing/2014/main" id="{53CF6B52-3C28-40AF-B2D3-B48B230A303C}"/>
                </a:ext>
              </a:extLst>
            </p:cNvPr>
            <p:cNvSpPr txBox="1"/>
            <p:nvPr/>
          </p:nvSpPr>
          <p:spPr>
            <a:xfrm>
              <a:off x="2452538" y="2956450"/>
              <a:ext cx="964200" cy="597300"/>
            </a:xfrm>
            <a:prstGeom prst="rect">
              <a:avLst/>
            </a:prstGeom>
            <a:noFill/>
            <a:ln>
              <a:noFill/>
            </a:ln>
          </p:spPr>
          <p:txBody>
            <a:bodyPr spcFirstLastPara="1" wrap="square" lIns="121900" tIns="121900" rIns="121900" bIns="12190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 sz="1600" b="0" i="0" u="none" strike="noStrike" kern="1200" cap="none" spc="0" normalizeH="0" baseline="0" noProof="0">
                  <a:ln>
                    <a:noFill/>
                  </a:ln>
                  <a:solidFill>
                    <a:srgbClr val="434343"/>
                  </a:solidFill>
                  <a:effectLst/>
                  <a:uLnTx/>
                  <a:uFillTx/>
                  <a:latin typeface="Arial"/>
                  <a:ea typeface="+mn-ea"/>
                  <a:cs typeface="+mn-ea"/>
                  <a:sym typeface="+mn-lt"/>
                </a:rPr>
                <a:t>Saturn is ringed</a:t>
              </a:r>
              <a:endParaRPr kumimoji="0" sz="1600" b="0" i="0" u="none" strike="noStrike" kern="1200" cap="none" spc="0" normalizeH="0" baseline="0" noProof="0">
                <a:ln>
                  <a:noFill/>
                </a:ln>
                <a:solidFill>
                  <a:srgbClr val="434343"/>
                </a:solidFill>
                <a:effectLst/>
                <a:uLnTx/>
                <a:uFillTx/>
                <a:latin typeface="Arial"/>
                <a:ea typeface="+mn-ea"/>
                <a:cs typeface="+mn-ea"/>
                <a:sym typeface="+mn-lt"/>
              </a:endParaRPr>
            </a:p>
          </p:txBody>
        </p:sp>
      </p:grpSp>
      <p:grpSp>
        <p:nvGrpSpPr>
          <p:cNvPr id="25" name="Google Shape;788;p26">
            <a:extLst>
              <a:ext uri="{FF2B5EF4-FFF2-40B4-BE49-F238E27FC236}">
                <a16:creationId xmlns:a16="http://schemas.microsoft.com/office/drawing/2014/main" id="{FBB20D29-F67D-4199-A346-DBD211C7223B}"/>
              </a:ext>
            </a:extLst>
          </p:cNvPr>
          <p:cNvGrpSpPr/>
          <p:nvPr/>
        </p:nvGrpSpPr>
        <p:grpSpPr>
          <a:xfrm>
            <a:off x="995518" y="2246541"/>
            <a:ext cx="2477740" cy="2364912"/>
            <a:chOff x="746638" y="1867358"/>
            <a:chExt cx="1858305" cy="1773684"/>
          </a:xfrm>
        </p:grpSpPr>
        <p:grpSp>
          <p:nvGrpSpPr>
            <p:cNvPr id="26" name="Google Shape;789;p26">
              <a:extLst>
                <a:ext uri="{FF2B5EF4-FFF2-40B4-BE49-F238E27FC236}">
                  <a16:creationId xmlns:a16="http://schemas.microsoft.com/office/drawing/2014/main" id="{5A175561-AE18-46EA-B3D7-3552B76673FD}"/>
                </a:ext>
              </a:extLst>
            </p:cNvPr>
            <p:cNvGrpSpPr/>
            <p:nvPr/>
          </p:nvGrpSpPr>
          <p:grpSpPr>
            <a:xfrm>
              <a:off x="1650063" y="1867358"/>
              <a:ext cx="954880" cy="1773684"/>
              <a:chOff x="2175150" y="1867358"/>
              <a:chExt cx="954880" cy="1773684"/>
            </a:xfrm>
          </p:grpSpPr>
          <p:sp>
            <p:nvSpPr>
              <p:cNvPr id="34" name="Google Shape;790;p26">
                <a:extLst>
                  <a:ext uri="{FF2B5EF4-FFF2-40B4-BE49-F238E27FC236}">
                    <a16:creationId xmlns:a16="http://schemas.microsoft.com/office/drawing/2014/main" id="{FEACB45F-0F31-4E70-8F58-7C5662810509}"/>
                  </a:ext>
                </a:extLst>
              </p:cNvPr>
              <p:cNvSpPr/>
              <p:nvPr/>
            </p:nvSpPr>
            <p:spPr>
              <a:xfrm>
                <a:off x="2175150" y="2754300"/>
                <a:ext cx="954880" cy="886743"/>
              </a:xfrm>
              <a:custGeom>
                <a:avLst/>
                <a:gdLst/>
                <a:ahLst/>
                <a:cxnLst/>
                <a:rect l="l" t="t" r="r" b="b"/>
                <a:pathLst>
                  <a:path w="52567" h="48816" extrusionOk="0">
                    <a:moveTo>
                      <a:pt x="21444" y="0"/>
                    </a:moveTo>
                    <a:lnTo>
                      <a:pt x="1" y="48816"/>
                    </a:lnTo>
                    <a:lnTo>
                      <a:pt x="31124" y="48816"/>
                    </a:lnTo>
                    <a:lnTo>
                      <a:pt x="52567" y="0"/>
                    </a:ln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35" name="Google Shape;791;p26">
                <a:extLst>
                  <a:ext uri="{FF2B5EF4-FFF2-40B4-BE49-F238E27FC236}">
                    <a16:creationId xmlns:a16="http://schemas.microsoft.com/office/drawing/2014/main" id="{04240741-79BE-4F49-B81C-1EA9FE6EDB50}"/>
                  </a:ext>
                </a:extLst>
              </p:cNvPr>
              <p:cNvSpPr/>
              <p:nvPr/>
            </p:nvSpPr>
            <p:spPr>
              <a:xfrm>
                <a:off x="2485512" y="2754300"/>
                <a:ext cx="644512" cy="643223"/>
              </a:xfrm>
              <a:custGeom>
                <a:avLst/>
                <a:gdLst/>
                <a:ahLst/>
                <a:cxnLst/>
                <a:rect l="l" t="t" r="r" b="b"/>
                <a:pathLst>
                  <a:path w="35481" h="35410" extrusionOk="0">
                    <a:moveTo>
                      <a:pt x="4358" y="0"/>
                    </a:moveTo>
                    <a:lnTo>
                      <a:pt x="0" y="9918"/>
                    </a:lnTo>
                    <a:lnTo>
                      <a:pt x="19919" y="35409"/>
                    </a:lnTo>
                    <a:lnTo>
                      <a:pt x="35481" y="0"/>
                    </a:lnTo>
                    <a:close/>
                  </a:path>
                </a:pathLst>
              </a:custGeom>
              <a:solidFill>
                <a:srgbClr val="000000">
                  <a:alpha val="28490"/>
                </a:srgbClr>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36" name="Google Shape;792;p26">
                <a:extLst>
                  <a:ext uri="{FF2B5EF4-FFF2-40B4-BE49-F238E27FC236}">
                    <a16:creationId xmlns:a16="http://schemas.microsoft.com/office/drawing/2014/main" id="{F37E636F-ABB9-4847-91A2-94862F1B484C}"/>
                  </a:ext>
                </a:extLst>
              </p:cNvPr>
              <p:cNvSpPr/>
              <p:nvPr/>
            </p:nvSpPr>
            <p:spPr>
              <a:xfrm>
                <a:off x="2175150" y="1867358"/>
                <a:ext cx="954880" cy="1530183"/>
              </a:xfrm>
              <a:custGeom>
                <a:avLst/>
                <a:gdLst/>
                <a:ahLst/>
                <a:cxnLst/>
                <a:rect l="l" t="t" r="r" b="b"/>
                <a:pathLst>
                  <a:path w="52567" h="84238" extrusionOk="0">
                    <a:moveTo>
                      <a:pt x="1" y="1"/>
                    </a:moveTo>
                    <a:lnTo>
                      <a:pt x="37005" y="84237"/>
                    </a:lnTo>
                    <a:lnTo>
                      <a:pt x="52567" y="48828"/>
                    </a:lnTo>
                    <a:lnTo>
                      <a:pt x="31124" y="1"/>
                    </a:ln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grpSp>
        <p:grpSp>
          <p:nvGrpSpPr>
            <p:cNvPr id="27" name="Google Shape;793;p26">
              <a:extLst>
                <a:ext uri="{FF2B5EF4-FFF2-40B4-BE49-F238E27FC236}">
                  <a16:creationId xmlns:a16="http://schemas.microsoft.com/office/drawing/2014/main" id="{0CADAA79-9358-40A5-B24B-1018243D6C99}"/>
                </a:ext>
              </a:extLst>
            </p:cNvPr>
            <p:cNvGrpSpPr/>
            <p:nvPr/>
          </p:nvGrpSpPr>
          <p:grpSpPr>
            <a:xfrm>
              <a:off x="1966505" y="2019754"/>
              <a:ext cx="159706" cy="246431"/>
              <a:chOff x="-28032075" y="3916450"/>
              <a:chExt cx="191425" cy="295375"/>
            </a:xfrm>
          </p:grpSpPr>
          <p:sp>
            <p:nvSpPr>
              <p:cNvPr id="31" name="Google Shape;794;p26">
                <a:extLst>
                  <a:ext uri="{FF2B5EF4-FFF2-40B4-BE49-F238E27FC236}">
                    <a16:creationId xmlns:a16="http://schemas.microsoft.com/office/drawing/2014/main" id="{848360ED-678B-41D8-B352-364B64144BD1}"/>
                  </a:ext>
                </a:extLst>
              </p:cNvPr>
              <p:cNvSpPr/>
              <p:nvPr/>
            </p:nvSpPr>
            <p:spPr>
              <a:xfrm>
                <a:off x="-27996625" y="3916450"/>
                <a:ext cx="120525" cy="51225"/>
              </a:xfrm>
              <a:custGeom>
                <a:avLst/>
                <a:gdLst/>
                <a:ahLst/>
                <a:cxnLst/>
                <a:rect l="l" t="t" r="r" b="b"/>
                <a:pathLst>
                  <a:path w="4821" h="2049" extrusionOk="0">
                    <a:moveTo>
                      <a:pt x="1040" y="0"/>
                    </a:moveTo>
                    <a:cubicBezTo>
                      <a:pt x="441" y="0"/>
                      <a:pt x="0" y="473"/>
                      <a:pt x="0" y="1040"/>
                    </a:cubicBezTo>
                    <a:cubicBezTo>
                      <a:pt x="0" y="1607"/>
                      <a:pt x="473" y="2048"/>
                      <a:pt x="1040" y="2048"/>
                    </a:cubicBezTo>
                    <a:lnTo>
                      <a:pt x="3781" y="2048"/>
                    </a:lnTo>
                    <a:cubicBezTo>
                      <a:pt x="4379" y="2048"/>
                      <a:pt x="4820" y="1575"/>
                      <a:pt x="4820" y="1040"/>
                    </a:cubicBezTo>
                    <a:cubicBezTo>
                      <a:pt x="4820" y="441"/>
                      <a:pt x="4348" y="0"/>
                      <a:pt x="3781" y="0"/>
                    </a:cubicBezTo>
                    <a:close/>
                  </a:path>
                </a:pathLst>
              </a:custGeom>
              <a:solidFill>
                <a:srgbClr val="FFFFFF"/>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32" name="Google Shape;795;p26">
                <a:extLst>
                  <a:ext uri="{FF2B5EF4-FFF2-40B4-BE49-F238E27FC236}">
                    <a16:creationId xmlns:a16="http://schemas.microsoft.com/office/drawing/2014/main" id="{5E7E19C0-5975-4E57-B1FC-E5524D5FFBAE}"/>
                  </a:ext>
                </a:extLst>
              </p:cNvPr>
              <p:cNvSpPr/>
              <p:nvPr/>
            </p:nvSpPr>
            <p:spPr>
              <a:xfrm>
                <a:off x="-28032075" y="4089975"/>
                <a:ext cx="191425" cy="121850"/>
              </a:xfrm>
              <a:custGeom>
                <a:avLst/>
                <a:gdLst/>
                <a:ahLst/>
                <a:cxnLst/>
                <a:rect l="l" t="t" r="r" b="b"/>
                <a:pathLst>
                  <a:path w="7657" h="4874" extrusionOk="0">
                    <a:moveTo>
                      <a:pt x="1733" y="715"/>
                    </a:moveTo>
                    <a:cubicBezTo>
                      <a:pt x="1954" y="715"/>
                      <a:pt x="2111" y="872"/>
                      <a:pt x="2111" y="1061"/>
                    </a:cubicBezTo>
                    <a:cubicBezTo>
                      <a:pt x="2111" y="1250"/>
                      <a:pt x="1954" y="1408"/>
                      <a:pt x="1733" y="1408"/>
                    </a:cubicBezTo>
                    <a:cubicBezTo>
                      <a:pt x="1544" y="1408"/>
                      <a:pt x="1387" y="1250"/>
                      <a:pt x="1387" y="1061"/>
                    </a:cubicBezTo>
                    <a:cubicBezTo>
                      <a:pt x="1418" y="872"/>
                      <a:pt x="1576" y="715"/>
                      <a:pt x="1733" y="715"/>
                    </a:cubicBezTo>
                    <a:close/>
                    <a:moveTo>
                      <a:pt x="3151" y="1376"/>
                    </a:moveTo>
                    <a:cubicBezTo>
                      <a:pt x="3372" y="1376"/>
                      <a:pt x="3529" y="1534"/>
                      <a:pt x="3529" y="1723"/>
                    </a:cubicBezTo>
                    <a:cubicBezTo>
                      <a:pt x="3529" y="1912"/>
                      <a:pt x="3372" y="2070"/>
                      <a:pt x="3151" y="2070"/>
                    </a:cubicBezTo>
                    <a:cubicBezTo>
                      <a:pt x="2962" y="2070"/>
                      <a:pt x="2804" y="1912"/>
                      <a:pt x="2804" y="1723"/>
                    </a:cubicBezTo>
                    <a:cubicBezTo>
                      <a:pt x="2804" y="1534"/>
                      <a:pt x="2962" y="1376"/>
                      <a:pt x="3151" y="1376"/>
                    </a:cubicBezTo>
                    <a:close/>
                    <a:moveTo>
                      <a:pt x="5199" y="2070"/>
                    </a:moveTo>
                    <a:cubicBezTo>
                      <a:pt x="5419" y="2070"/>
                      <a:pt x="5577" y="2227"/>
                      <a:pt x="5577" y="2448"/>
                    </a:cubicBezTo>
                    <a:cubicBezTo>
                      <a:pt x="5577" y="2637"/>
                      <a:pt x="5419" y="2794"/>
                      <a:pt x="5199" y="2794"/>
                    </a:cubicBezTo>
                    <a:cubicBezTo>
                      <a:pt x="5010" y="2794"/>
                      <a:pt x="4852" y="2637"/>
                      <a:pt x="4852" y="2448"/>
                    </a:cubicBezTo>
                    <a:cubicBezTo>
                      <a:pt x="4884" y="2227"/>
                      <a:pt x="5041" y="2070"/>
                      <a:pt x="5199" y="2070"/>
                    </a:cubicBezTo>
                    <a:close/>
                    <a:moveTo>
                      <a:pt x="3151" y="2794"/>
                    </a:moveTo>
                    <a:cubicBezTo>
                      <a:pt x="3372" y="2794"/>
                      <a:pt x="3529" y="2952"/>
                      <a:pt x="3529" y="3141"/>
                    </a:cubicBezTo>
                    <a:cubicBezTo>
                      <a:pt x="3529" y="3330"/>
                      <a:pt x="3372" y="3487"/>
                      <a:pt x="3151" y="3487"/>
                    </a:cubicBezTo>
                    <a:cubicBezTo>
                      <a:pt x="2962" y="3487"/>
                      <a:pt x="2804" y="3330"/>
                      <a:pt x="2804" y="3141"/>
                    </a:cubicBezTo>
                    <a:cubicBezTo>
                      <a:pt x="2804" y="2952"/>
                      <a:pt x="2962" y="2794"/>
                      <a:pt x="3151" y="2794"/>
                    </a:cubicBezTo>
                    <a:close/>
                    <a:moveTo>
                      <a:pt x="1748" y="1"/>
                    </a:moveTo>
                    <a:cubicBezTo>
                      <a:pt x="1181" y="1"/>
                      <a:pt x="615" y="166"/>
                      <a:pt x="63" y="494"/>
                    </a:cubicBezTo>
                    <a:cubicBezTo>
                      <a:pt x="63" y="715"/>
                      <a:pt x="0" y="872"/>
                      <a:pt x="0" y="1061"/>
                    </a:cubicBezTo>
                    <a:cubicBezTo>
                      <a:pt x="0" y="2196"/>
                      <a:pt x="536" y="3298"/>
                      <a:pt x="1418" y="4023"/>
                    </a:cubicBezTo>
                    <a:cubicBezTo>
                      <a:pt x="2111" y="4558"/>
                      <a:pt x="2962" y="4874"/>
                      <a:pt x="3844" y="4874"/>
                    </a:cubicBezTo>
                    <a:cubicBezTo>
                      <a:pt x="4096" y="4874"/>
                      <a:pt x="4380" y="4842"/>
                      <a:pt x="4663" y="4811"/>
                    </a:cubicBezTo>
                    <a:cubicBezTo>
                      <a:pt x="6144" y="4495"/>
                      <a:pt x="7341" y="3267"/>
                      <a:pt x="7625" y="1723"/>
                    </a:cubicBezTo>
                    <a:cubicBezTo>
                      <a:pt x="7656" y="1439"/>
                      <a:pt x="7656" y="1219"/>
                      <a:pt x="7656" y="935"/>
                    </a:cubicBezTo>
                    <a:lnTo>
                      <a:pt x="7656" y="935"/>
                    </a:lnTo>
                    <a:cubicBezTo>
                      <a:pt x="7033" y="1235"/>
                      <a:pt x="6444" y="1354"/>
                      <a:pt x="5904" y="1354"/>
                    </a:cubicBezTo>
                    <a:cubicBezTo>
                      <a:pt x="4969" y="1354"/>
                      <a:pt x="4183" y="1000"/>
                      <a:pt x="3624" y="620"/>
                    </a:cubicBezTo>
                    <a:cubicBezTo>
                      <a:pt x="3010" y="206"/>
                      <a:pt x="2378" y="1"/>
                      <a:pt x="1748" y="1"/>
                    </a:cubicBezTo>
                    <a:close/>
                  </a:path>
                </a:pathLst>
              </a:custGeom>
              <a:solidFill>
                <a:srgbClr val="FFFFFF"/>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33" name="Google Shape;796;p26">
                <a:extLst>
                  <a:ext uri="{FF2B5EF4-FFF2-40B4-BE49-F238E27FC236}">
                    <a16:creationId xmlns:a16="http://schemas.microsoft.com/office/drawing/2014/main" id="{CA1BE8BA-475C-44F5-853B-5AC3CF1A77EB}"/>
                  </a:ext>
                </a:extLst>
              </p:cNvPr>
              <p:cNvSpPr/>
              <p:nvPr/>
            </p:nvSpPr>
            <p:spPr>
              <a:xfrm>
                <a:off x="-28024975" y="3985750"/>
                <a:ext cx="181950" cy="121975"/>
              </a:xfrm>
              <a:custGeom>
                <a:avLst/>
                <a:gdLst/>
                <a:ahLst/>
                <a:cxnLst/>
                <a:rect l="l" t="t" r="r" b="b"/>
                <a:pathLst>
                  <a:path w="7278" h="4879" extrusionOk="0">
                    <a:moveTo>
                      <a:pt x="1827" y="1"/>
                    </a:moveTo>
                    <a:lnTo>
                      <a:pt x="1827" y="1639"/>
                    </a:lnTo>
                    <a:cubicBezTo>
                      <a:pt x="1827" y="1765"/>
                      <a:pt x="1733" y="1891"/>
                      <a:pt x="1607" y="1922"/>
                    </a:cubicBezTo>
                    <a:cubicBezTo>
                      <a:pt x="914" y="2363"/>
                      <a:pt x="315" y="3025"/>
                      <a:pt x="0" y="3813"/>
                    </a:cubicBezTo>
                    <a:cubicBezTo>
                      <a:pt x="492" y="3611"/>
                      <a:pt x="988" y="3505"/>
                      <a:pt x="1488" y="3505"/>
                    </a:cubicBezTo>
                    <a:cubicBezTo>
                      <a:pt x="2237" y="3505"/>
                      <a:pt x="2993" y="3743"/>
                      <a:pt x="3749" y="4254"/>
                    </a:cubicBezTo>
                    <a:cubicBezTo>
                      <a:pt x="4370" y="4673"/>
                      <a:pt x="5000" y="4878"/>
                      <a:pt x="5629" y="4878"/>
                    </a:cubicBezTo>
                    <a:cubicBezTo>
                      <a:pt x="6181" y="4878"/>
                      <a:pt x="6733" y="4721"/>
                      <a:pt x="7278" y="4411"/>
                    </a:cubicBezTo>
                    <a:cubicBezTo>
                      <a:pt x="7057" y="3372"/>
                      <a:pt x="6427" y="2427"/>
                      <a:pt x="5450" y="1922"/>
                    </a:cubicBezTo>
                    <a:cubicBezTo>
                      <a:pt x="5356" y="1859"/>
                      <a:pt x="5293" y="1765"/>
                      <a:pt x="5293" y="1639"/>
                    </a:cubicBezTo>
                    <a:lnTo>
                      <a:pt x="5293" y="1"/>
                    </a:lnTo>
                    <a:close/>
                  </a:path>
                </a:pathLst>
              </a:custGeom>
              <a:solidFill>
                <a:srgbClr val="FFFFFF"/>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grpSp>
        <p:sp>
          <p:nvSpPr>
            <p:cNvPr id="28" name="Google Shape;797;p26">
              <a:extLst>
                <a:ext uri="{FF2B5EF4-FFF2-40B4-BE49-F238E27FC236}">
                  <a16:creationId xmlns:a16="http://schemas.microsoft.com/office/drawing/2014/main" id="{0B28336B-3F34-4CE9-9FF5-40BAA9F8AFE4}"/>
                </a:ext>
              </a:extLst>
            </p:cNvPr>
            <p:cNvSpPr/>
            <p:nvPr/>
          </p:nvSpPr>
          <p:spPr>
            <a:xfrm>
              <a:off x="1905428" y="3243263"/>
              <a:ext cx="246431" cy="245785"/>
            </a:xfrm>
            <a:custGeom>
              <a:avLst/>
              <a:gdLst/>
              <a:ahLst/>
              <a:cxnLst/>
              <a:rect l="l" t="t" r="r" b="b"/>
              <a:pathLst>
                <a:path w="11815" h="11784" extrusionOk="0">
                  <a:moveTo>
                    <a:pt x="6616" y="3434"/>
                  </a:moveTo>
                  <a:cubicBezTo>
                    <a:pt x="7215" y="3434"/>
                    <a:pt x="7625" y="3907"/>
                    <a:pt x="7625" y="4474"/>
                  </a:cubicBezTo>
                  <a:lnTo>
                    <a:pt x="7625" y="5514"/>
                  </a:lnTo>
                  <a:lnTo>
                    <a:pt x="6742" y="5514"/>
                  </a:lnTo>
                  <a:cubicBezTo>
                    <a:pt x="6648" y="5451"/>
                    <a:pt x="6585" y="5325"/>
                    <a:pt x="6490" y="5262"/>
                  </a:cubicBezTo>
                  <a:cubicBezTo>
                    <a:pt x="5986" y="4789"/>
                    <a:pt x="5388" y="4411"/>
                    <a:pt x="4695" y="4222"/>
                  </a:cubicBezTo>
                  <a:lnTo>
                    <a:pt x="4569" y="3434"/>
                  </a:lnTo>
                  <a:close/>
                  <a:moveTo>
                    <a:pt x="3466" y="4884"/>
                  </a:moveTo>
                  <a:lnTo>
                    <a:pt x="3466" y="5577"/>
                  </a:lnTo>
                  <a:cubicBezTo>
                    <a:pt x="3056" y="5640"/>
                    <a:pt x="2678" y="5797"/>
                    <a:pt x="2363" y="6018"/>
                  </a:cubicBezTo>
                  <a:lnTo>
                    <a:pt x="1891" y="5577"/>
                  </a:lnTo>
                  <a:cubicBezTo>
                    <a:pt x="2332" y="5199"/>
                    <a:pt x="2867" y="4978"/>
                    <a:pt x="3466" y="4884"/>
                  </a:cubicBezTo>
                  <a:close/>
                  <a:moveTo>
                    <a:pt x="4128" y="4852"/>
                  </a:moveTo>
                  <a:cubicBezTo>
                    <a:pt x="4726" y="4947"/>
                    <a:pt x="5262" y="5167"/>
                    <a:pt x="5703" y="5514"/>
                  </a:cubicBezTo>
                  <a:lnTo>
                    <a:pt x="5230" y="6049"/>
                  </a:lnTo>
                  <a:cubicBezTo>
                    <a:pt x="4915" y="5797"/>
                    <a:pt x="4537" y="5640"/>
                    <a:pt x="4128" y="5577"/>
                  </a:cubicBezTo>
                  <a:lnTo>
                    <a:pt x="4128" y="4852"/>
                  </a:lnTo>
                  <a:close/>
                  <a:moveTo>
                    <a:pt x="1387" y="6049"/>
                  </a:moveTo>
                  <a:lnTo>
                    <a:pt x="1859" y="6522"/>
                  </a:lnTo>
                  <a:cubicBezTo>
                    <a:pt x="1607" y="6837"/>
                    <a:pt x="1450" y="7215"/>
                    <a:pt x="1387" y="7625"/>
                  </a:cubicBezTo>
                  <a:lnTo>
                    <a:pt x="662" y="7625"/>
                  </a:lnTo>
                  <a:cubicBezTo>
                    <a:pt x="788" y="7026"/>
                    <a:pt x="1009" y="6459"/>
                    <a:pt x="1387" y="6049"/>
                  </a:cubicBezTo>
                  <a:close/>
                  <a:moveTo>
                    <a:pt x="6175" y="6049"/>
                  </a:moveTo>
                  <a:cubicBezTo>
                    <a:pt x="6553" y="6459"/>
                    <a:pt x="6774" y="7026"/>
                    <a:pt x="6837" y="7625"/>
                  </a:cubicBezTo>
                  <a:lnTo>
                    <a:pt x="6175" y="7625"/>
                  </a:lnTo>
                  <a:cubicBezTo>
                    <a:pt x="6112" y="7215"/>
                    <a:pt x="5955" y="6837"/>
                    <a:pt x="5703" y="6522"/>
                  </a:cubicBezTo>
                  <a:lnTo>
                    <a:pt x="6175" y="6049"/>
                  </a:lnTo>
                  <a:close/>
                  <a:moveTo>
                    <a:pt x="1418" y="8318"/>
                  </a:moveTo>
                  <a:cubicBezTo>
                    <a:pt x="1481" y="8727"/>
                    <a:pt x="1670" y="9105"/>
                    <a:pt x="1891" y="9420"/>
                  </a:cubicBezTo>
                  <a:lnTo>
                    <a:pt x="1418" y="9893"/>
                  </a:lnTo>
                  <a:cubicBezTo>
                    <a:pt x="1009" y="9452"/>
                    <a:pt x="788" y="8916"/>
                    <a:pt x="693" y="8318"/>
                  </a:cubicBezTo>
                  <a:close/>
                  <a:moveTo>
                    <a:pt x="6931" y="8318"/>
                  </a:moveTo>
                  <a:cubicBezTo>
                    <a:pt x="6805" y="8916"/>
                    <a:pt x="6585" y="9452"/>
                    <a:pt x="6207" y="9893"/>
                  </a:cubicBezTo>
                  <a:lnTo>
                    <a:pt x="5766" y="9420"/>
                  </a:lnTo>
                  <a:cubicBezTo>
                    <a:pt x="5986" y="9105"/>
                    <a:pt x="6144" y="8727"/>
                    <a:pt x="6207" y="8318"/>
                  </a:cubicBezTo>
                  <a:close/>
                  <a:moveTo>
                    <a:pt x="2363" y="9893"/>
                  </a:moveTo>
                  <a:cubicBezTo>
                    <a:pt x="2678" y="10145"/>
                    <a:pt x="3056" y="10303"/>
                    <a:pt x="3466" y="10366"/>
                  </a:cubicBezTo>
                  <a:lnTo>
                    <a:pt x="3466" y="11027"/>
                  </a:lnTo>
                  <a:cubicBezTo>
                    <a:pt x="2867" y="10964"/>
                    <a:pt x="2332" y="10712"/>
                    <a:pt x="1891" y="10366"/>
                  </a:cubicBezTo>
                  <a:lnTo>
                    <a:pt x="2363" y="9893"/>
                  </a:lnTo>
                  <a:close/>
                  <a:moveTo>
                    <a:pt x="5230" y="9861"/>
                  </a:moveTo>
                  <a:lnTo>
                    <a:pt x="5703" y="10334"/>
                  </a:lnTo>
                  <a:cubicBezTo>
                    <a:pt x="5262" y="10744"/>
                    <a:pt x="4726" y="10996"/>
                    <a:pt x="4128" y="11027"/>
                  </a:cubicBezTo>
                  <a:lnTo>
                    <a:pt x="4128" y="10334"/>
                  </a:lnTo>
                  <a:cubicBezTo>
                    <a:pt x="4537" y="10240"/>
                    <a:pt x="4915" y="10082"/>
                    <a:pt x="5230" y="9861"/>
                  </a:cubicBezTo>
                  <a:close/>
                  <a:moveTo>
                    <a:pt x="9326" y="10366"/>
                  </a:moveTo>
                  <a:cubicBezTo>
                    <a:pt x="9546" y="10366"/>
                    <a:pt x="9704" y="10523"/>
                    <a:pt x="9704" y="10712"/>
                  </a:cubicBezTo>
                  <a:cubicBezTo>
                    <a:pt x="9672" y="10933"/>
                    <a:pt x="9546" y="11090"/>
                    <a:pt x="9326" y="11090"/>
                  </a:cubicBezTo>
                  <a:cubicBezTo>
                    <a:pt x="9137" y="11090"/>
                    <a:pt x="8979" y="10933"/>
                    <a:pt x="8979" y="10712"/>
                  </a:cubicBezTo>
                  <a:cubicBezTo>
                    <a:pt x="8979" y="10523"/>
                    <a:pt x="9137" y="10366"/>
                    <a:pt x="9326" y="10366"/>
                  </a:cubicBezTo>
                  <a:close/>
                  <a:moveTo>
                    <a:pt x="1103" y="0"/>
                  </a:moveTo>
                  <a:cubicBezTo>
                    <a:pt x="504" y="0"/>
                    <a:pt x="63" y="473"/>
                    <a:pt x="63" y="1040"/>
                  </a:cubicBezTo>
                  <a:cubicBezTo>
                    <a:pt x="63" y="1576"/>
                    <a:pt x="536" y="2048"/>
                    <a:pt x="1103" y="2048"/>
                  </a:cubicBezTo>
                  <a:cubicBezTo>
                    <a:pt x="2048" y="2048"/>
                    <a:pt x="2363" y="2836"/>
                    <a:pt x="2489" y="3497"/>
                  </a:cubicBezTo>
                  <a:lnTo>
                    <a:pt x="2584" y="4348"/>
                  </a:lnTo>
                  <a:cubicBezTo>
                    <a:pt x="1072" y="4852"/>
                    <a:pt x="0" y="6301"/>
                    <a:pt x="0" y="7971"/>
                  </a:cubicBezTo>
                  <a:cubicBezTo>
                    <a:pt x="0" y="10050"/>
                    <a:pt x="1702" y="11783"/>
                    <a:pt x="3812" y="11783"/>
                  </a:cubicBezTo>
                  <a:cubicBezTo>
                    <a:pt x="5797" y="11783"/>
                    <a:pt x="7436" y="10240"/>
                    <a:pt x="7593" y="8318"/>
                  </a:cubicBezTo>
                  <a:lnTo>
                    <a:pt x="9011" y="8318"/>
                  </a:lnTo>
                  <a:lnTo>
                    <a:pt x="9011" y="9767"/>
                  </a:lnTo>
                  <a:cubicBezTo>
                    <a:pt x="8633" y="9924"/>
                    <a:pt x="8318" y="10271"/>
                    <a:pt x="8318" y="10744"/>
                  </a:cubicBezTo>
                  <a:cubicBezTo>
                    <a:pt x="8318" y="11342"/>
                    <a:pt x="8790" y="11783"/>
                    <a:pt x="9326" y="11783"/>
                  </a:cubicBezTo>
                  <a:cubicBezTo>
                    <a:pt x="9767" y="11783"/>
                    <a:pt x="10145" y="11500"/>
                    <a:pt x="10302" y="11059"/>
                  </a:cubicBezTo>
                  <a:lnTo>
                    <a:pt x="11468" y="11059"/>
                  </a:lnTo>
                  <a:cubicBezTo>
                    <a:pt x="11657" y="11059"/>
                    <a:pt x="11815" y="10901"/>
                    <a:pt x="11815" y="10712"/>
                  </a:cubicBezTo>
                  <a:cubicBezTo>
                    <a:pt x="11815" y="10555"/>
                    <a:pt x="11657" y="10397"/>
                    <a:pt x="11468" y="10397"/>
                  </a:cubicBezTo>
                  <a:lnTo>
                    <a:pt x="10302" y="10397"/>
                  </a:lnTo>
                  <a:cubicBezTo>
                    <a:pt x="10208" y="10145"/>
                    <a:pt x="9956" y="9893"/>
                    <a:pt x="9672" y="9767"/>
                  </a:cubicBezTo>
                  <a:lnTo>
                    <a:pt x="9672" y="8318"/>
                  </a:lnTo>
                  <a:lnTo>
                    <a:pt x="10744" y="8318"/>
                  </a:lnTo>
                  <a:cubicBezTo>
                    <a:pt x="10933" y="8318"/>
                    <a:pt x="11122" y="8160"/>
                    <a:pt x="11122" y="7971"/>
                  </a:cubicBezTo>
                  <a:cubicBezTo>
                    <a:pt x="11122" y="7782"/>
                    <a:pt x="10933" y="7593"/>
                    <a:pt x="10744" y="7593"/>
                  </a:cubicBezTo>
                  <a:lnTo>
                    <a:pt x="10397" y="7593"/>
                  </a:lnTo>
                  <a:lnTo>
                    <a:pt x="10397" y="7247"/>
                  </a:lnTo>
                  <a:cubicBezTo>
                    <a:pt x="10397" y="6301"/>
                    <a:pt x="9609" y="5514"/>
                    <a:pt x="8664" y="5514"/>
                  </a:cubicBezTo>
                  <a:lnTo>
                    <a:pt x="8318" y="5514"/>
                  </a:lnTo>
                  <a:lnTo>
                    <a:pt x="8318" y="4506"/>
                  </a:lnTo>
                  <a:cubicBezTo>
                    <a:pt x="8318" y="3560"/>
                    <a:pt x="7530" y="2773"/>
                    <a:pt x="6585" y="2773"/>
                  </a:cubicBezTo>
                  <a:lnTo>
                    <a:pt x="4411" y="2773"/>
                  </a:lnTo>
                  <a:cubicBezTo>
                    <a:pt x="3970" y="1040"/>
                    <a:pt x="2741" y="0"/>
                    <a:pt x="1103" y="0"/>
                  </a:cubicBezTo>
                  <a:close/>
                </a:path>
              </a:pathLst>
            </a:custGeom>
            <a:solidFill>
              <a:srgbClr val="FFFFFF"/>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29" name="Google Shape;798;p26">
              <a:extLst>
                <a:ext uri="{FF2B5EF4-FFF2-40B4-BE49-F238E27FC236}">
                  <a16:creationId xmlns:a16="http://schemas.microsoft.com/office/drawing/2014/main" id="{FA37FF9B-7604-431C-9F9D-F861E4C87614}"/>
                </a:ext>
              </a:extLst>
            </p:cNvPr>
            <p:cNvSpPr txBox="1"/>
            <p:nvPr/>
          </p:nvSpPr>
          <p:spPr>
            <a:xfrm>
              <a:off x="746638" y="2031013"/>
              <a:ext cx="964200" cy="597300"/>
            </a:xfrm>
            <a:prstGeom prst="rect">
              <a:avLst/>
            </a:prstGeom>
            <a:noFill/>
            <a:ln>
              <a:noFill/>
            </a:ln>
          </p:spPr>
          <p:txBody>
            <a:bodyPr spcFirstLastPara="1" wrap="square" lIns="121900" tIns="121900" rIns="121900" bIns="12190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 sz="1600" b="0" i="0" u="none" strike="noStrike" kern="1200" cap="none" spc="0" normalizeH="0" baseline="0" noProof="0">
                  <a:ln>
                    <a:noFill/>
                  </a:ln>
                  <a:solidFill>
                    <a:srgbClr val="434343"/>
                  </a:solidFill>
                  <a:effectLst/>
                  <a:uLnTx/>
                  <a:uFillTx/>
                  <a:latin typeface="Arial"/>
                  <a:ea typeface="+mn-ea"/>
                  <a:cs typeface="+mn-ea"/>
                  <a:sym typeface="+mn-lt"/>
                </a:rPr>
                <a:t>Venus is the second</a:t>
              </a:r>
              <a:endParaRPr kumimoji="0" sz="1600" b="0" i="0" u="none" strike="noStrike" kern="1200" cap="none" spc="0" normalizeH="0" baseline="0" noProof="0">
                <a:ln>
                  <a:noFill/>
                </a:ln>
                <a:solidFill>
                  <a:srgbClr val="434343"/>
                </a:solidFill>
                <a:effectLst/>
                <a:uLnTx/>
                <a:uFillTx/>
                <a:latin typeface="Arial"/>
                <a:ea typeface="+mn-ea"/>
                <a:cs typeface="+mn-ea"/>
                <a:sym typeface="+mn-lt"/>
              </a:endParaRPr>
            </a:p>
          </p:txBody>
        </p:sp>
        <p:sp>
          <p:nvSpPr>
            <p:cNvPr id="30" name="Google Shape;799;p26">
              <a:extLst>
                <a:ext uri="{FF2B5EF4-FFF2-40B4-BE49-F238E27FC236}">
                  <a16:creationId xmlns:a16="http://schemas.microsoft.com/office/drawing/2014/main" id="{24D797C1-9851-42F3-B09F-D7B841FE5515}"/>
                </a:ext>
              </a:extLst>
            </p:cNvPr>
            <p:cNvSpPr txBox="1"/>
            <p:nvPr/>
          </p:nvSpPr>
          <p:spPr>
            <a:xfrm>
              <a:off x="746638" y="2880250"/>
              <a:ext cx="964200" cy="597300"/>
            </a:xfrm>
            <a:prstGeom prst="rect">
              <a:avLst/>
            </a:prstGeom>
            <a:noFill/>
            <a:ln>
              <a:noFill/>
            </a:ln>
          </p:spPr>
          <p:txBody>
            <a:bodyPr spcFirstLastPara="1" wrap="square" lIns="121900" tIns="121900" rIns="121900" bIns="12190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 sz="1600" b="0" i="0" u="none" strike="noStrike" kern="1200" cap="none" spc="0" normalizeH="0" baseline="0" noProof="0">
                  <a:ln>
                    <a:noFill/>
                  </a:ln>
                  <a:solidFill>
                    <a:srgbClr val="434343"/>
                  </a:solidFill>
                  <a:effectLst/>
                  <a:uLnTx/>
                  <a:uFillTx/>
                  <a:latin typeface="Arial"/>
                  <a:ea typeface="+mn-ea"/>
                  <a:cs typeface="+mn-ea"/>
                  <a:sym typeface="+mn-lt"/>
                </a:rPr>
                <a:t>Jupiter is a gas giant</a:t>
              </a:r>
              <a:endParaRPr kumimoji="0" sz="1600" b="0" i="0" u="none" strike="noStrike" kern="1200" cap="none" spc="0" normalizeH="0" baseline="0" noProof="0">
                <a:ln>
                  <a:noFill/>
                </a:ln>
                <a:solidFill>
                  <a:srgbClr val="434343"/>
                </a:solidFill>
                <a:effectLst/>
                <a:uLnTx/>
                <a:uFillTx/>
                <a:latin typeface="Arial"/>
                <a:ea typeface="+mn-ea"/>
                <a:cs typeface="+mn-ea"/>
                <a:sym typeface="+mn-lt"/>
              </a:endParaRPr>
            </a:p>
          </p:txBody>
        </p:sp>
      </p:grpSp>
      <p:grpSp>
        <p:nvGrpSpPr>
          <p:cNvPr id="37" name="Google Shape;800;p26">
            <a:extLst>
              <a:ext uri="{FF2B5EF4-FFF2-40B4-BE49-F238E27FC236}">
                <a16:creationId xmlns:a16="http://schemas.microsoft.com/office/drawing/2014/main" id="{5097E6C3-4C4A-469E-9900-C579AE67A9AC}"/>
              </a:ext>
            </a:extLst>
          </p:cNvPr>
          <p:cNvGrpSpPr/>
          <p:nvPr/>
        </p:nvGrpSpPr>
        <p:grpSpPr>
          <a:xfrm>
            <a:off x="5548452" y="1927619"/>
            <a:ext cx="2475937" cy="3002788"/>
            <a:chOff x="4161338" y="1628166"/>
            <a:chExt cx="1856953" cy="2252091"/>
          </a:xfrm>
        </p:grpSpPr>
        <p:grpSp>
          <p:nvGrpSpPr>
            <p:cNvPr id="38" name="Google Shape;801;p26">
              <a:extLst>
                <a:ext uri="{FF2B5EF4-FFF2-40B4-BE49-F238E27FC236}">
                  <a16:creationId xmlns:a16="http://schemas.microsoft.com/office/drawing/2014/main" id="{D7E68EFA-1D19-4452-8504-9E79402E943A}"/>
                </a:ext>
              </a:extLst>
            </p:cNvPr>
            <p:cNvGrpSpPr/>
            <p:nvPr/>
          </p:nvGrpSpPr>
          <p:grpSpPr>
            <a:xfrm>
              <a:off x="4958290" y="1628166"/>
              <a:ext cx="1060000" cy="2252091"/>
              <a:chOff x="4844683" y="1628166"/>
              <a:chExt cx="1060000" cy="2252091"/>
            </a:xfrm>
          </p:grpSpPr>
          <p:sp>
            <p:nvSpPr>
              <p:cNvPr id="49" name="Google Shape;802;p26">
                <a:extLst>
                  <a:ext uri="{FF2B5EF4-FFF2-40B4-BE49-F238E27FC236}">
                    <a16:creationId xmlns:a16="http://schemas.microsoft.com/office/drawing/2014/main" id="{E981A78B-BCC2-47F8-AFAB-9E04DBBF4E82}"/>
                  </a:ext>
                </a:extLst>
              </p:cNvPr>
              <p:cNvSpPr/>
              <p:nvPr/>
            </p:nvSpPr>
            <p:spPr>
              <a:xfrm>
                <a:off x="4844683" y="2754300"/>
                <a:ext cx="1060000" cy="1125958"/>
              </a:xfrm>
              <a:custGeom>
                <a:avLst/>
                <a:gdLst/>
                <a:ahLst/>
                <a:cxnLst/>
                <a:rect l="l" t="t" r="r" b="b"/>
                <a:pathLst>
                  <a:path w="58354" h="61985" extrusionOk="0">
                    <a:moveTo>
                      <a:pt x="27230" y="0"/>
                    </a:moveTo>
                    <a:lnTo>
                      <a:pt x="1" y="61984"/>
                    </a:lnTo>
                    <a:lnTo>
                      <a:pt x="31124" y="61984"/>
                    </a:lnTo>
                    <a:lnTo>
                      <a:pt x="58353" y="0"/>
                    </a:ln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50" name="Google Shape;803;p26">
                <a:extLst>
                  <a:ext uri="{FF2B5EF4-FFF2-40B4-BE49-F238E27FC236}">
                    <a16:creationId xmlns:a16="http://schemas.microsoft.com/office/drawing/2014/main" id="{46E9682D-62A9-47EE-B7F4-CAFE0CACCF50}"/>
                  </a:ext>
                </a:extLst>
              </p:cNvPr>
              <p:cNvSpPr/>
              <p:nvPr/>
            </p:nvSpPr>
            <p:spPr>
              <a:xfrm>
                <a:off x="5260146" y="2754300"/>
                <a:ext cx="644531" cy="643223"/>
              </a:xfrm>
              <a:custGeom>
                <a:avLst/>
                <a:gdLst/>
                <a:ahLst/>
                <a:cxnLst/>
                <a:rect l="l" t="t" r="r" b="b"/>
                <a:pathLst>
                  <a:path w="35482" h="35410" extrusionOk="0">
                    <a:moveTo>
                      <a:pt x="4358" y="0"/>
                    </a:moveTo>
                    <a:lnTo>
                      <a:pt x="1" y="9918"/>
                    </a:lnTo>
                    <a:lnTo>
                      <a:pt x="19920" y="35409"/>
                    </a:lnTo>
                    <a:lnTo>
                      <a:pt x="35481" y="0"/>
                    </a:lnTo>
                    <a:close/>
                  </a:path>
                </a:pathLst>
              </a:custGeom>
              <a:solidFill>
                <a:srgbClr val="000000">
                  <a:alpha val="28490"/>
                </a:srgbClr>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51" name="Google Shape;804;p26">
                <a:extLst>
                  <a:ext uri="{FF2B5EF4-FFF2-40B4-BE49-F238E27FC236}">
                    <a16:creationId xmlns:a16="http://schemas.microsoft.com/office/drawing/2014/main" id="{27A601BE-A630-4C67-A961-0513731F5895}"/>
                  </a:ext>
                </a:extLst>
              </p:cNvPr>
              <p:cNvSpPr/>
              <p:nvPr/>
            </p:nvSpPr>
            <p:spPr>
              <a:xfrm>
                <a:off x="4844683" y="1628166"/>
                <a:ext cx="1060000" cy="1769380"/>
              </a:xfrm>
              <a:custGeom>
                <a:avLst/>
                <a:gdLst/>
                <a:ahLst/>
                <a:cxnLst/>
                <a:rect l="l" t="t" r="r" b="b"/>
                <a:pathLst>
                  <a:path w="58354" h="97406" extrusionOk="0">
                    <a:moveTo>
                      <a:pt x="1" y="1"/>
                    </a:moveTo>
                    <a:lnTo>
                      <a:pt x="42792" y="97405"/>
                    </a:lnTo>
                    <a:lnTo>
                      <a:pt x="58353" y="61996"/>
                    </a:lnTo>
                    <a:lnTo>
                      <a:pt x="31124" y="1"/>
                    </a:ln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grpSp>
        <p:grpSp>
          <p:nvGrpSpPr>
            <p:cNvPr id="39" name="Google Shape;805;p26">
              <a:extLst>
                <a:ext uri="{FF2B5EF4-FFF2-40B4-BE49-F238E27FC236}">
                  <a16:creationId xmlns:a16="http://schemas.microsoft.com/office/drawing/2014/main" id="{E3DC7C5C-A744-442E-97C9-2F256EF9B725}"/>
                </a:ext>
              </a:extLst>
            </p:cNvPr>
            <p:cNvGrpSpPr/>
            <p:nvPr/>
          </p:nvGrpSpPr>
          <p:grpSpPr>
            <a:xfrm>
              <a:off x="5214433" y="3489068"/>
              <a:ext cx="253022" cy="247078"/>
              <a:chOff x="-28463700" y="3914875"/>
              <a:chExt cx="303275" cy="296150"/>
            </a:xfrm>
          </p:grpSpPr>
          <p:sp>
            <p:nvSpPr>
              <p:cNvPr id="47" name="Google Shape;806;p26">
                <a:extLst>
                  <a:ext uri="{FF2B5EF4-FFF2-40B4-BE49-F238E27FC236}">
                    <a16:creationId xmlns:a16="http://schemas.microsoft.com/office/drawing/2014/main" id="{C7498C10-3CDA-4849-9E36-3FA7CC146F57}"/>
                  </a:ext>
                </a:extLst>
              </p:cNvPr>
              <p:cNvSpPr/>
              <p:nvPr/>
            </p:nvSpPr>
            <p:spPr>
              <a:xfrm>
                <a:off x="-28333725" y="4057375"/>
                <a:ext cx="86650" cy="64650"/>
              </a:xfrm>
              <a:custGeom>
                <a:avLst/>
                <a:gdLst/>
                <a:ahLst/>
                <a:cxnLst/>
                <a:rect l="l" t="t" r="r" b="b"/>
                <a:pathLst>
                  <a:path w="3466" h="2586" extrusionOk="0">
                    <a:moveTo>
                      <a:pt x="614" y="0"/>
                    </a:moveTo>
                    <a:cubicBezTo>
                      <a:pt x="287" y="0"/>
                      <a:pt x="0" y="305"/>
                      <a:pt x="0" y="696"/>
                    </a:cubicBezTo>
                    <a:cubicBezTo>
                      <a:pt x="0" y="1326"/>
                      <a:pt x="1008" y="2019"/>
                      <a:pt x="1733" y="2586"/>
                    </a:cubicBezTo>
                    <a:cubicBezTo>
                      <a:pt x="2426" y="2019"/>
                      <a:pt x="3466" y="1326"/>
                      <a:pt x="3466" y="696"/>
                    </a:cubicBezTo>
                    <a:cubicBezTo>
                      <a:pt x="3466" y="349"/>
                      <a:pt x="3214" y="3"/>
                      <a:pt x="2741" y="3"/>
                    </a:cubicBezTo>
                    <a:cubicBezTo>
                      <a:pt x="2237" y="3"/>
                      <a:pt x="2048" y="570"/>
                      <a:pt x="2048" y="570"/>
                    </a:cubicBezTo>
                    <a:cubicBezTo>
                      <a:pt x="2001" y="743"/>
                      <a:pt x="1851" y="830"/>
                      <a:pt x="1701" y="830"/>
                    </a:cubicBezTo>
                    <a:cubicBezTo>
                      <a:pt x="1552" y="830"/>
                      <a:pt x="1402" y="743"/>
                      <a:pt x="1355" y="570"/>
                    </a:cubicBezTo>
                    <a:cubicBezTo>
                      <a:pt x="1355" y="538"/>
                      <a:pt x="1166" y="3"/>
                      <a:pt x="662" y="3"/>
                    </a:cubicBezTo>
                    <a:cubicBezTo>
                      <a:pt x="646" y="1"/>
                      <a:pt x="630" y="0"/>
                      <a:pt x="614" y="0"/>
                    </a:cubicBezTo>
                    <a:close/>
                  </a:path>
                </a:pathLst>
              </a:custGeom>
              <a:solidFill>
                <a:srgbClr val="FFFFFF"/>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48" name="Google Shape;807;p26">
                <a:extLst>
                  <a:ext uri="{FF2B5EF4-FFF2-40B4-BE49-F238E27FC236}">
                    <a16:creationId xmlns:a16="http://schemas.microsoft.com/office/drawing/2014/main" id="{E4C5B5AD-2680-4175-848B-8DE7F4F39EBA}"/>
                  </a:ext>
                </a:extLst>
              </p:cNvPr>
              <p:cNvSpPr/>
              <p:nvPr/>
            </p:nvSpPr>
            <p:spPr>
              <a:xfrm>
                <a:off x="-28463700" y="3914875"/>
                <a:ext cx="303275" cy="296150"/>
              </a:xfrm>
              <a:custGeom>
                <a:avLst/>
                <a:gdLst/>
                <a:ahLst/>
                <a:cxnLst/>
                <a:rect l="l" t="t" r="r" b="b"/>
                <a:pathLst>
                  <a:path w="12131" h="11846" extrusionOk="0">
                    <a:moveTo>
                      <a:pt x="3744" y="3555"/>
                    </a:moveTo>
                    <a:cubicBezTo>
                      <a:pt x="3907" y="3555"/>
                      <a:pt x="4040" y="3674"/>
                      <a:pt x="4096" y="3844"/>
                    </a:cubicBezTo>
                    <a:cubicBezTo>
                      <a:pt x="4128" y="4033"/>
                      <a:pt x="3970" y="4190"/>
                      <a:pt x="3813" y="4253"/>
                    </a:cubicBezTo>
                    <a:cubicBezTo>
                      <a:pt x="2931" y="4379"/>
                      <a:pt x="2427" y="5451"/>
                      <a:pt x="2899" y="6333"/>
                    </a:cubicBezTo>
                    <a:cubicBezTo>
                      <a:pt x="2994" y="6490"/>
                      <a:pt x="2931" y="6711"/>
                      <a:pt x="2773" y="6805"/>
                    </a:cubicBezTo>
                    <a:cubicBezTo>
                      <a:pt x="2723" y="6825"/>
                      <a:pt x="2667" y="6836"/>
                      <a:pt x="2611" y="6836"/>
                    </a:cubicBezTo>
                    <a:cubicBezTo>
                      <a:pt x="2489" y="6836"/>
                      <a:pt x="2365" y="6787"/>
                      <a:pt x="2301" y="6679"/>
                    </a:cubicBezTo>
                    <a:cubicBezTo>
                      <a:pt x="1608" y="5419"/>
                      <a:pt x="2364" y="3812"/>
                      <a:pt x="3687" y="3560"/>
                    </a:cubicBezTo>
                    <a:cubicBezTo>
                      <a:pt x="3706" y="3557"/>
                      <a:pt x="3726" y="3555"/>
                      <a:pt x="3744" y="3555"/>
                    </a:cubicBezTo>
                    <a:close/>
                    <a:moveTo>
                      <a:pt x="7940" y="4946"/>
                    </a:moveTo>
                    <a:cubicBezTo>
                      <a:pt x="8728" y="4946"/>
                      <a:pt x="9326" y="5577"/>
                      <a:pt x="9326" y="6364"/>
                    </a:cubicBezTo>
                    <a:cubicBezTo>
                      <a:pt x="9326" y="7341"/>
                      <a:pt x="8381" y="7939"/>
                      <a:pt x="7121" y="9011"/>
                    </a:cubicBezTo>
                    <a:cubicBezTo>
                      <a:pt x="7058" y="9074"/>
                      <a:pt x="6979" y="9105"/>
                      <a:pt x="6900" y="9105"/>
                    </a:cubicBezTo>
                    <a:cubicBezTo>
                      <a:pt x="6822" y="9105"/>
                      <a:pt x="6743" y="9074"/>
                      <a:pt x="6680" y="9011"/>
                    </a:cubicBezTo>
                    <a:cubicBezTo>
                      <a:pt x="5420" y="7971"/>
                      <a:pt x="4474" y="7341"/>
                      <a:pt x="4474" y="6364"/>
                    </a:cubicBezTo>
                    <a:cubicBezTo>
                      <a:pt x="4474" y="5577"/>
                      <a:pt x="5105" y="4946"/>
                      <a:pt x="5861" y="4946"/>
                    </a:cubicBezTo>
                    <a:cubicBezTo>
                      <a:pt x="6365" y="4946"/>
                      <a:pt x="6711" y="5230"/>
                      <a:pt x="6932" y="5451"/>
                    </a:cubicBezTo>
                    <a:cubicBezTo>
                      <a:pt x="7121" y="5198"/>
                      <a:pt x="7467" y="4946"/>
                      <a:pt x="7940" y="4946"/>
                    </a:cubicBezTo>
                    <a:close/>
                    <a:moveTo>
                      <a:pt x="7404" y="0"/>
                    </a:moveTo>
                    <a:cubicBezTo>
                      <a:pt x="6459" y="0"/>
                      <a:pt x="5703" y="788"/>
                      <a:pt x="5703" y="1733"/>
                    </a:cubicBezTo>
                    <a:lnTo>
                      <a:pt x="5703" y="2899"/>
                    </a:lnTo>
                    <a:cubicBezTo>
                      <a:pt x="5136" y="2395"/>
                      <a:pt x="4443" y="2111"/>
                      <a:pt x="3687" y="2111"/>
                    </a:cubicBezTo>
                    <a:cubicBezTo>
                      <a:pt x="1450" y="2111"/>
                      <a:pt x="1" y="4505"/>
                      <a:pt x="977" y="6616"/>
                    </a:cubicBezTo>
                    <a:lnTo>
                      <a:pt x="2899" y="10649"/>
                    </a:lnTo>
                    <a:cubicBezTo>
                      <a:pt x="3246" y="11373"/>
                      <a:pt x="3939" y="11846"/>
                      <a:pt x="4727" y="11846"/>
                    </a:cubicBezTo>
                    <a:cubicBezTo>
                      <a:pt x="5231" y="11846"/>
                      <a:pt x="5703" y="11657"/>
                      <a:pt x="6050" y="11342"/>
                    </a:cubicBezTo>
                    <a:cubicBezTo>
                      <a:pt x="6396" y="11688"/>
                      <a:pt x="6869" y="11846"/>
                      <a:pt x="7404" y="11846"/>
                    </a:cubicBezTo>
                    <a:cubicBezTo>
                      <a:pt x="8192" y="11846"/>
                      <a:pt x="8885" y="11405"/>
                      <a:pt x="9200" y="10649"/>
                    </a:cubicBezTo>
                    <a:lnTo>
                      <a:pt x="11122" y="6616"/>
                    </a:lnTo>
                    <a:cubicBezTo>
                      <a:pt x="12130" y="4505"/>
                      <a:pt x="10618" y="2111"/>
                      <a:pt x="8413" y="2111"/>
                    </a:cubicBezTo>
                    <a:cubicBezTo>
                      <a:pt x="7656" y="2111"/>
                      <a:pt x="6963" y="2395"/>
                      <a:pt x="6396" y="2899"/>
                    </a:cubicBezTo>
                    <a:lnTo>
                      <a:pt x="6396" y="1733"/>
                    </a:lnTo>
                    <a:cubicBezTo>
                      <a:pt x="6396" y="1166"/>
                      <a:pt x="6837" y="693"/>
                      <a:pt x="7404" y="693"/>
                    </a:cubicBezTo>
                    <a:cubicBezTo>
                      <a:pt x="7593" y="693"/>
                      <a:pt x="7751" y="536"/>
                      <a:pt x="7751" y="347"/>
                    </a:cubicBezTo>
                    <a:cubicBezTo>
                      <a:pt x="7751" y="158"/>
                      <a:pt x="7593" y="0"/>
                      <a:pt x="7404" y="0"/>
                    </a:cubicBezTo>
                    <a:close/>
                  </a:path>
                </a:pathLst>
              </a:custGeom>
              <a:solidFill>
                <a:srgbClr val="FFFFFF"/>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grpSp>
        <p:grpSp>
          <p:nvGrpSpPr>
            <p:cNvPr id="40" name="Google Shape;808;p26">
              <a:extLst>
                <a:ext uri="{FF2B5EF4-FFF2-40B4-BE49-F238E27FC236}">
                  <a16:creationId xmlns:a16="http://schemas.microsoft.com/office/drawing/2014/main" id="{03C3C6B2-1482-47F4-8B2E-D88C1314112F}"/>
                </a:ext>
              </a:extLst>
            </p:cNvPr>
            <p:cNvGrpSpPr/>
            <p:nvPr/>
          </p:nvGrpSpPr>
          <p:grpSpPr>
            <a:xfrm>
              <a:off x="5278379" y="1780577"/>
              <a:ext cx="160352" cy="245806"/>
              <a:chOff x="-23930925" y="3149300"/>
              <a:chExt cx="192200" cy="294625"/>
            </a:xfrm>
          </p:grpSpPr>
          <p:sp>
            <p:nvSpPr>
              <p:cNvPr id="43" name="Google Shape;809;p26">
                <a:extLst>
                  <a:ext uri="{FF2B5EF4-FFF2-40B4-BE49-F238E27FC236}">
                    <a16:creationId xmlns:a16="http://schemas.microsoft.com/office/drawing/2014/main" id="{EFE57EC5-4A8B-4639-9953-BADF0E7EDA91}"/>
                  </a:ext>
                </a:extLst>
              </p:cNvPr>
              <p:cNvSpPr/>
              <p:nvPr/>
            </p:nvSpPr>
            <p:spPr>
              <a:xfrm>
                <a:off x="-23930125" y="3149300"/>
                <a:ext cx="191400" cy="35475"/>
              </a:xfrm>
              <a:custGeom>
                <a:avLst/>
                <a:gdLst/>
                <a:ahLst/>
                <a:cxnLst/>
                <a:rect l="l" t="t" r="r" b="b"/>
                <a:pathLst>
                  <a:path w="7656" h="1419" extrusionOk="0">
                    <a:moveTo>
                      <a:pt x="1040" y="1"/>
                    </a:moveTo>
                    <a:cubicBezTo>
                      <a:pt x="441" y="1"/>
                      <a:pt x="0" y="473"/>
                      <a:pt x="0" y="1040"/>
                    </a:cubicBezTo>
                    <a:lnTo>
                      <a:pt x="0" y="1418"/>
                    </a:lnTo>
                    <a:lnTo>
                      <a:pt x="7656" y="1418"/>
                    </a:lnTo>
                    <a:lnTo>
                      <a:pt x="7656" y="1040"/>
                    </a:lnTo>
                    <a:lnTo>
                      <a:pt x="7593" y="1040"/>
                    </a:lnTo>
                    <a:cubicBezTo>
                      <a:pt x="7593" y="442"/>
                      <a:pt x="7120" y="1"/>
                      <a:pt x="6585" y="1"/>
                    </a:cubicBezTo>
                    <a:close/>
                  </a:path>
                </a:pathLst>
              </a:custGeom>
              <a:solidFill>
                <a:srgbClr val="FFFFFF"/>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44" name="Google Shape;810;p26">
                <a:extLst>
                  <a:ext uri="{FF2B5EF4-FFF2-40B4-BE49-F238E27FC236}">
                    <a16:creationId xmlns:a16="http://schemas.microsoft.com/office/drawing/2014/main" id="{FF3AC5CA-18F9-4078-816D-E88539B841CD}"/>
                  </a:ext>
                </a:extLst>
              </p:cNvPr>
              <p:cNvSpPr/>
              <p:nvPr/>
            </p:nvSpPr>
            <p:spPr>
              <a:xfrm>
                <a:off x="-23878925" y="3237525"/>
                <a:ext cx="86650" cy="86650"/>
              </a:xfrm>
              <a:custGeom>
                <a:avLst/>
                <a:gdLst/>
                <a:ahLst/>
                <a:cxnLst/>
                <a:rect l="l" t="t" r="r" b="b"/>
                <a:pathLst>
                  <a:path w="3466" h="3466" extrusionOk="0">
                    <a:moveTo>
                      <a:pt x="1386" y="0"/>
                    </a:moveTo>
                    <a:lnTo>
                      <a:pt x="1386" y="1008"/>
                    </a:lnTo>
                    <a:cubicBezTo>
                      <a:pt x="1386" y="1197"/>
                      <a:pt x="1229" y="1355"/>
                      <a:pt x="1008" y="1355"/>
                    </a:cubicBezTo>
                    <a:lnTo>
                      <a:pt x="0" y="1355"/>
                    </a:lnTo>
                    <a:lnTo>
                      <a:pt x="0" y="2079"/>
                    </a:lnTo>
                    <a:lnTo>
                      <a:pt x="1008" y="2079"/>
                    </a:lnTo>
                    <a:cubicBezTo>
                      <a:pt x="1229" y="2079"/>
                      <a:pt x="1386" y="2237"/>
                      <a:pt x="1386" y="2426"/>
                    </a:cubicBezTo>
                    <a:lnTo>
                      <a:pt x="1386" y="3466"/>
                    </a:lnTo>
                    <a:lnTo>
                      <a:pt x="2079" y="3466"/>
                    </a:lnTo>
                    <a:lnTo>
                      <a:pt x="2079" y="2426"/>
                    </a:lnTo>
                    <a:cubicBezTo>
                      <a:pt x="2079" y="2237"/>
                      <a:pt x="2237" y="2079"/>
                      <a:pt x="2426" y="2079"/>
                    </a:cubicBezTo>
                    <a:lnTo>
                      <a:pt x="3466" y="2079"/>
                    </a:lnTo>
                    <a:lnTo>
                      <a:pt x="3466" y="1355"/>
                    </a:lnTo>
                    <a:lnTo>
                      <a:pt x="2426" y="1355"/>
                    </a:lnTo>
                    <a:cubicBezTo>
                      <a:pt x="2237" y="1355"/>
                      <a:pt x="2079" y="1197"/>
                      <a:pt x="2079" y="1008"/>
                    </a:cubicBezTo>
                    <a:lnTo>
                      <a:pt x="2079" y="0"/>
                    </a:lnTo>
                    <a:close/>
                  </a:path>
                </a:pathLst>
              </a:custGeom>
              <a:solidFill>
                <a:srgbClr val="FFFFFF"/>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45" name="Google Shape;811;p26">
                <a:extLst>
                  <a:ext uri="{FF2B5EF4-FFF2-40B4-BE49-F238E27FC236}">
                    <a16:creationId xmlns:a16="http://schemas.microsoft.com/office/drawing/2014/main" id="{9A06A75C-3018-457A-A3AD-43DD64DC2537}"/>
                  </a:ext>
                </a:extLst>
              </p:cNvPr>
              <p:cNvSpPr/>
              <p:nvPr/>
            </p:nvSpPr>
            <p:spPr>
              <a:xfrm>
                <a:off x="-23930925" y="3375350"/>
                <a:ext cx="190625" cy="68575"/>
              </a:xfrm>
              <a:custGeom>
                <a:avLst/>
                <a:gdLst/>
                <a:ahLst/>
                <a:cxnLst/>
                <a:rect l="l" t="t" r="r" b="b"/>
                <a:pathLst>
                  <a:path w="7625" h="2743" extrusionOk="0">
                    <a:moveTo>
                      <a:pt x="4159" y="694"/>
                    </a:moveTo>
                    <a:cubicBezTo>
                      <a:pt x="4348" y="694"/>
                      <a:pt x="4506" y="851"/>
                      <a:pt x="4506" y="1040"/>
                    </a:cubicBezTo>
                    <a:cubicBezTo>
                      <a:pt x="4506" y="1261"/>
                      <a:pt x="4348" y="1418"/>
                      <a:pt x="4159" y="1418"/>
                    </a:cubicBezTo>
                    <a:lnTo>
                      <a:pt x="3466" y="1418"/>
                    </a:lnTo>
                    <a:cubicBezTo>
                      <a:pt x="3246" y="1418"/>
                      <a:pt x="3088" y="1261"/>
                      <a:pt x="3088" y="1040"/>
                    </a:cubicBezTo>
                    <a:cubicBezTo>
                      <a:pt x="3088" y="851"/>
                      <a:pt x="3246" y="694"/>
                      <a:pt x="3466" y="694"/>
                    </a:cubicBezTo>
                    <a:close/>
                    <a:moveTo>
                      <a:pt x="1" y="0"/>
                    </a:moveTo>
                    <a:lnTo>
                      <a:pt x="1" y="1733"/>
                    </a:lnTo>
                    <a:cubicBezTo>
                      <a:pt x="1" y="2300"/>
                      <a:pt x="473" y="2741"/>
                      <a:pt x="1009" y="2741"/>
                    </a:cubicBezTo>
                    <a:lnTo>
                      <a:pt x="6554" y="2741"/>
                    </a:lnTo>
                    <a:cubicBezTo>
                      <a:pt x="6573" y="2742"/>
                      <a:pt x="6592" y="2743"/>
                      <a:pt x="6610" y="2743"/>
                    </a:cubicBezTo>
                    <a:cubicBezTo>
                      <a:pt x="7182" y="2743"/>
                      <a:pt x="7625" y="2282"/>
                      <a:pt x="7625" y="1733"/>
                    </a:cubicBezTo>
                    <a:lnTo>
                      <a:pt x="7625" y="0"/>
                    </a:lnTo>
                    <a:close/>
                  </a:path>
                </a:pathLst>
              </a:custGeom>
              <a:solidFill>
                <a:srgbClr val="FFFFFF"/>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46" name="Google Shape;812;p26">
                <a:extLst>
                  <a:ext uri="{FF2B5EF4-FFF2-40B4-BE49-F238E27FC236}">
                    <a16:creationId xmlns:a16="http://schemas.microsoft.com/office/drawing/2014/main" id="{5B31738E-8083-4B20-9896-2DE5BDAE307C}"/>
                  </a:ext>
                </a:extLst>
              </p:cNvPr>
              <p:cNvSpPr/>
              <p:nvPr/>
            </p:nvSpPr>
            <p:spPr>
              <a:xfrm>
                <a:off x="-23930925" y="3202075"/>
                <a:ext cx="190625" cy="155975"/>
              </a:xfrm>
              <a:custGeom>
                <a:avLst/>
                <a:gdLst/>
                <a:ahLst/>
                <a:cxnLst/>
                <a:rect l="l" t="t" r="r" b="b"/>
                <a:pathLst>
                  <a:path w="7625" h="6239" extrusionOk="0">
                    <a:moveTo>
                      <a:pt x="4506" y="693"/>
                    </a:moveTo>
                    <a:cubicBezTo>
                      <a:pt x="4727" y="693"/>
                      <a:pt x="4884" y="851"/>
                      <a:pt x="4884" y="1040"/>
                    </a:cubicBezTo>
                    <a:lnTo>
                      <a:pt x="4884" y="2080"/>
                    </a:lnTo>
                    <a:lnTo>
                      <a:pt x="5892" y="2080"/>
                    </a:lnTo>
                    <a:cubicBezTo>
                      <a:pt x="6081" y="2080"/>
                      <a:pt x="6239" y="2237"/>
                      <a:pt x="6239" y="2426"/>
                    </a:cubicBezTo>
                    <a:lnTo>
                      <a:pt x="6239" y="3812"/>
                    </a:lnTo>
                    <a:cubicBezTo>
                      <a:pt x="6239" y="4001"/>
                      <a:pt x="6081" y="4159"/>
                      <a:pt x="5892" y="4159"/>
                    </a:cubicBezTo>
                    <a:lnTo>
                      <a:pt x="4884" y="4159"/>
                    </a:lnTo>
                    <a:lnTo>
                      <a:pt x="4884" y="5199"/>
                    </a:lnTo>
                    <a:cubicBezTo>
                      <a:pt x="4884" y="5388"/>
                      <a:pt x="4727" y="5545"/>
                      <a:pt x="4506" y="5545"/>
                    </a:cubicBezTo>
                    <a:lnTo>
                      <a:pt x="3151" y="5545"/>
                    </a:lnTo>
                    <a:cubicBezTo>
                      <a:pt x="2931" y="5545"/>
                      <a:pt x="2773" y="5388"/>
                      <a:pt x="2773" y="5199"/>
                    </a:cubicBezTo>
                    <a:lnTo>
                      <a:pt x="2773" y="4159"/>
                    </a:lnTo>
                    <a:lnTo>
                      <a:pt x="1765" y="4159"/>
                    </a:lnTo>
                    <a:cubicBezTo>
                      <a:pt x="1576" y="4159"/>
                      <a:pt x="1419" y="4001"/>
                      <a:pt x="1419" y="3812"/>
                    </a:cubicBezTo>
                    <a:lnTo>
                      <a:pt x="1419" y="2426"/>
                    </a:lnTo>
                    <a:cubicBezTo>
                      <a:pt x="1419" y="2237"/>
                      <a:pt x="1576" y="2080"/>
                      <a:pt x="1765" y="2080"/>
                    </a:cubicBezTo>
                    <a:lnTo>
                      <a:pt x="2773" y="2080"/>
                    </a:lnTo>
                    <a:lnTo>
                      <a:pt x="2773" y="1040"/>
                    </a:lnTo>
                    <a:cubicBezTo>
                      <a:pt x="2773" y="851"/>
                      <a:pt x="2931" y="693"/>
                      <a:pt x="3151" y="693"/>
                    </a:cubicBezTo>
                    <a:close/>
                    <a:moveTo>
                      <a:pt x="1" y="0"/>
                    </a:moveTo>
                    <a:lnTo>
                      <a:pt x="1" y="6238"/>
                    </a:lnTo>
                    <a:lnTo>
                      <a:pt x="7625" y="6238"/>
                    </a:lnTo>
                    <a:lnTo>
                      <a:pt x="7625" y="0"/>
                    </a:lnTo>
                    <a:close/>
                  </a:path>
                </a:pathLst>
              </a:custGeom>
              <a:solidFill>
                <a:srgbClr val="FFFFFF"/>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grpSp>
        <p:sp>
          <p:nvSpPr>
            <p:cNvPr id="41" name="Google Shape;813;p26">
              <a:extLst>
                <a:ext uri="{FF2B5EF4-FFF2-40B4-BE49-F238E27FC236}">
                  <a16:creationId xmlns:a16="http://schemas.microsoft.com/office/drawing/2014/main" id="{3F3EF94C-AF2A-4AF3-84D4-957E0A570D47}"/>
                </a:ext>
              </a:extLst>
            </p:cNvPr>
            <p:cNvSpPr txBox="1"/>
            <p:nvPr/>
          </p:nvSpPr>
          <p:spPr>
            <a:xfrm>
              <a:off x="4161338" y="1878613"/>
              <a:ext cx="964200" cy="597300"/>
            </a:xfrm>
            <a:prstGeom prst="rect">
              <a:avLst/>
            </a:prstGeom>
            <a:noFill/>
            <a:ln>
              <a:noFill/>
            </a:ln>
          </p:spPr>
          <p:txBody>
            <a:bodyPr spcFirstLastPara="1" wrap="square" lIns="121900" tIns="121900" rIns="121900" bIns="12190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 sz="1600" b="0" i="0" u="none" strike="noStrike" kern="1200" cap="none" spc="0" normalizeH="0" baseline="0" noProof="0">
                  <a:ln>
                    <a:noFill/>
                  </a:ln>
                  <a:solidFill>
                    <a:srgbClr val="434343"/>
                  </a:solidFill>
                  <a:effectLst/>
                  <a:uLnTx/>
                  <a:uFillTx/>
                  <a:latin typeface="Arial"/>
                  <a:ea typeface="+mn-ea"/>
                  <a:cs typeface="+mn-ea"/>
                  <a:sym typeface="+mn-lt"/>
                </a:rPr>
                <a:t>The Sun is a star</a:t>
              </a:r>
              <a:endParaRPr kumimoji="0" sz="1600" b="0" i="0" u="none" strike="noStrike" kern="1200" cap="none" spc="0" normalizeH="0" baseline="0" noProof="0">
                <a:ln>
                  <a:noFill/>
                </a:ln>
                <a:solidFill>
                  <a:srgbClr val="434343"/>
                </a:solidFill>
                <a:effectLst/>
                <a:uLnTx/>
                <a:uFillTx/>
                <a:latin typeface="Arial"/>
                <a:ea typeface="+mn-ea"/>
                <a:cs typeface="+mn-ea"/>
                <a:sym typeface="+mn-lt"/>
              </a:endParaRPr>
            </a:p>
          </p:txBody>
        </p:sp>
        <p:sp>
          <p:nvSpPr>
            <p:cNvPr id="42" name="Google Shape;814;p26">
              <a:extLst>
                <a:ext uri="{FF2B5EF4-FFF2-40B4-BE49-F238E27FC236}">
                  <a16:creationId xmlns:a16="http://schemas.microsoft.com/office/drawing/2014/main" id="{2B99982D-1891-4223-A80D-8493DB2B28C0}"/>
                </a:ext>
              </a:extLst>
            </p:cNvPr>
            <p:cNvSpPr txBox="1"/>
            <p:nvPr/>
          </p:nvSpPr>
          <p:spPr>
            <a:xfrm>
              <a:off x="4161338" y="3032650"/>
              <a:ext cx="964200" cy="597300"/>
            </a:xfrm>
            <a:prstGeom prst="rect">
              <a:avLst/>
            </a:prstGeom>
            <a:noFill/>
            <a:ln>
              <a:noFill/>
            </a:ln>
          </p:spPr>
          <p:txBody>
            <a:bodyPr spcFirstLastPara="1" wrap="square" lIns="121900" tIns="121900" rIns="121900" bIns="12190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 sz="1600" b="0" i="0" u="none" strike="noStrike" kern="1200" cap="none" spc="0" normalizeH="0" baseline="0" noProof="0">
                  <a:ln>
                    <a:noFill/>
                  </a:ln>
                  <a:solidFill>
                    <a:srgbClr val="434343"/>
                  </a:solidFill>
                  <a:effectLst/>
                  <a:uLnTx/>
                  <a:uFillTx/>
                  <a:latin typeface="Arial"/>
                  <a:ea typeface="+mn-ea"/>
                  <a:cs typeface="+mn-ea"/>
                  <a:sym typeface="+mn-lt"/>
                </a:rPr>
                <a:t>Neptune is far away</a:t>
              </a:r>
              <a:endParaRPr kumimoji="0" sz="1600" b="0" i="0" u="none" strike="noStrike" kern="1200" cap="none" spc="0" normalizeH="0" baseline="0" noProof="0">
                <a:ln>
                  <a:noFill/>
                </a:ln>
                <a:solidFill>
                  <a:srgbClr val="434343"/>
                </a:solidFill>
                <a:effectLst/>
                <a:uLnTx/>
                <a:uFillTx/>
                <a:latin typeface="Arial"/>
                <a:ea typeface="+mn-ea"/>
                <a:cs typeface="+mn-ea"/>
                <a:sym typeface="+mn-lt"/>
              </a:endParaRPr>
            </a:p>
          </p:txBody>
        </p:sp>
      </p:grpSp>
      <p:grpSp>
        <p:nvGrpSpPr>
          <p:cNvPr id="52" name="Google Shape;815;p26">
            <a:extLst>
              <a:ext uri="{FF2B5EF4-FFF2-40B4-BE49-F238E27FC236}">
                <a16:creationId xmlns:a16="http://schemas.microsoft.com/office/drawing/2014/main" id="{15BDED5B-6830-41DE-B8D2-EE9CE1EB1F49}"/>
              </a:ext>
            </a:extLst>
          </p:cNvPr>
          <p:cNvGrpSpPr/>
          <p:nvPr/>
        </p:nvGrpSpPr>
        <p:grpSpPr>
          <a:xfrm>
            <a:off x="7821185" y="1713664"/>
            <a:ext cx="2470657" cy="3430993"/>
            <a:chOff x="5865888" y="1467700"/>
            <a:chExt cx="1852993" cy="2573245"/>
          </a:xfrm>
        </p:grpSpPr>
        <p:grpSp>
          <p:nvGrpSpPr>
            <p:cNvPr id="53" name="Google Shape;816;p26">
              <a:extLst>
                <a:ext uri="{FF2B5EF4-FFF2-40B4-BE49-F238E27FC236}">
                  <a16:creationId xmlns:a16="http://schemas.microsoft.com/office/drawing/2014/main" id="{590CD591-219F-4129-A8A1-C5D5F7C86645}"/>
                </a:ext>
              </a:extLst>
            </p:cNvPr>
            <p:cNvGrpSpPr/>
            <p:nvPr/>
          </p:nvGrpSpPr>
          <p:grpSpPr>
            <a:xfrm>
              <a:off x="6588400" y="1467700"/>
              <a:ext cx="1130481" cy="2573245"/>
              <a:chOff x="6161512" y="1467700"/>
              <a:chExt cx="1130481" cy="2573245"/>
            </a:xfrm>
          </p:grpSpPr>
          <p:sp>
            <p:nvSpPr>
              <p:cNvPr id="65" name="Google Shape;817;p26">
                <a:extLst>
                  <a:ext uri="{FF2B5EF4-FFF2-40B4-BE49-F238E27FC236}">
                    <a16:creationId xmlns:a16="http://schemas.microsoft.com/office/drawing/2014/main" id="{C70D68D1-E953-4C3B-92A5-BED8E2B5C248}"/>
                  </a:ext>
                </a:extLst>
              </p:cNvPr>
              <p:cNvSpPr/>
              <p:nvPr/>
            </p:nvSpPr>
            <p:spPr>
              <a:xfrm>
                <a:off x="6161512" y="2754300"/>
                <a:ext cx="1130481" cy="1286645"/>
              </a:xfrm>
              <a:custGeom>
                <a:avLst/>
                <a:gdLst/>
                <a:ahLst/>
                <a:cxnLst/>
                <a:rect l="l" t="t" r="r" b="b"/>
                <a:pathLst>
                  <a:path w="62234" h="70831" extrusionOk="0">
                    <a:moveTo>
                      <a:pt x="31111" y="0"/>
                    </a:moveTo>
                    <a:lnTo>
                      <a:pt x="0" y="70830"/>
                    </a:lnTo>
                    <a:lnTo>
                      <a:pt x="31111" y="70830"/>
                    </a:lnTo>
                    <a:lnTo>
                      <a:pt x="62234" y="0"/>
                    </a:ln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66" name="Google Shape;818;p26">
                <a:extLst>
                  <a:ext uri="{FF2B5EF4-FFF2-40B4-BE49-F238E27FC236}">
                    <a16:creationId xmlns:a16="http://schemas.microsoft.com/office/drawing/2014/main" id="{66681171-5C98-4862-9FD8-45D53E4FFEF1}"/>
                  </a:ext>
                </a:extLst>
              </p:cNvPr>
              <p:cNvSpPr/>
              <p:nvPr/>
            </p:nvSpPr>
            <p:spPr>
              <a:xfrm>
                <a:off x="6647472" y="2754300"/>
                <a:ext cx="644512" cy="643223"/>
              </a:xfrm>
              <a:custGeom>
                <a:avLst/>
                <a:gdLst/>
                <a:ahLst/>
                <a:cxnLst/>
                <a:rect l="l" t="t" r="r" b="b"/>
                <a:pathLst>
                  <a:path w="35481" h="35410" extrusionOk="0">
                    <a:moveTo>
                      <a:pt x="4358" y="0"/>
                    </a:moveTo>
                    <a:lnTo>
                      <a:pt x="0" y="9918"/>
                    </a:lnTo>
                    <a:lnTo>
                      <a:pt x="19920" y="35409"/>
                    </a:lnTo>
                    <a:lnTo>
                      <a:pt x="35481" y="0"/>
                    </a:lnTo>
                    <a:close/>
                  </a:path>
                </a:pathLst>
              </a:custGeom>
              <a:solidFill>
                <a:srgbClr val="000000">
                  <a:alpha val="28490"/>
                </a:srgbClr>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67" name="Google Shape;819;p26">
                <a:extLst>
                  <a:ext uri="{FF2B5EF4-FFF2-40B4-BE49-F238E27FC236}">
                    <a16:creationId xmlns:a16="http://schemas.microsoft.com/office/drawing/2014/main" id="{3AA8B659-58F0-4961-916D-FCD02F0CA7AC}"/>
                  </a:ext>
                </a:extLst>
              </p:cNvPr>
              <p:cNvSpPr/>
              <p:nvPr/>
            </p:nvSpPr>
            <p:spPr>
              <a:xfrm>
                <a:off x="6161512" y="1467700"/>
                <a:ext cx="1130481" cy="1929850"/>
              </a:xfrm>
              <a:custGeom>
                <a:avLst/>
                <a:gdLst/>
                <a:ahLst/>
                <a:cxnLst/>
                <a:rect l="l" t="t" r="r" b="b"/>
                <a:pathLst>
                  <a:path w="62234" h="106240" extrusionOk="0">
                    <a:moveTo>
                      <a:pt x="0" y="0"/>
                    </a:moveTo>
                    <a:lnTo>
                      <a:pt x="46673" y="106239"/>
                    </a:lnTo>
                    <a:lnTo>
                      <a:pt x="62234" y="70830"/>
                    </a:lnTo>
                    <a:lnTo>
                      <a:pt x="31111" y="0"/>
                    </a:ln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grpSp>
        <p:grpSp>
          <p:nvGrpSpPr>
            <p:cNvPr id="54" name="Google Shape;820;p26">
              <a:extLst>
                <a:ext uri="{FF2B5EF4-FFF2-40B4-BE49-F238E27FC236}">
                  <a16:creationId xmlns:a16="http://schemas.microsoft.com/office/drawing/2014/main" id="{A87FC7AA-16EC-4A11-A9E0-E8538A1D4DA6}"/>
                </a:ext>
              </a:extLst>
            </p:cNvPr>
            <p:cNvGrpSpPr/>
            <p:nvPr/>
          </p:nvGrpSpPr>
          <p:grpSpPr>
            <a:xfrm>
              <a:off x="6859991" y="3641456"/>
              <a:ext cx="241843" cy="247099"/>
              <a:chOff x="-24353875" y="3147725"/>
              <a:chExt cx="289875" cy="296175"/>
            </a:xfrm>
          </p:grpSpPr>
          <p:sp>
            <p:nvSpPr>
              <p:cNvPr id="63" name="Google Shape;821;p26">
                <a:extLst>
                  <a:ext uri="{FF2B5EF4-FFF2-40B4-BE49-F238E27FC236}">
                    <a16:creationId xmlns:a16="http://schemas.microsoft.com/office/drawing/2014/main" id="{B61C9460-C528-4EAF-BAC7-E4F47A82636C}"/>
                  </a:ext>
                </a:extLst>
              </p:cNvPr>
              <p:cNvSpPr/>
              <p:nvPr/>
            </p:nvSpPr>
            <p:spPr>
              <a:xfrm>
                <a:off x="-24238100" y="3271375"/>
                <a:ext cx="52025" cy="51225"/>
              </a:xfrm>
              <a:custGeom>
                <a:avLst/>
                <a:gdLst/>
                <a:ahLst/>
                <a:cxnLst/>
                <a:rect l="l" t="t" r="r" b="b"/>
                <a:pathLst>
                  <a:path w="2081" h="2049" extrusionOk="0">
                    <a:moveTo>
                      <a:pt x="1041" y="1"/>
                    </a:moveTo>
                    <a:cubicBezTo>
                      <a:pt x="505" y="1"/>
                      <a:pt x="32" y="473"/>
                      <a:pt x="32" y="1040"/>
                    </a:cubicBezTo>
                    <a:cubicBezTo>
                      <a:pt x="1" y="1576"/>
                      <a:pt x="473" y="2049"/>
                      <a:pt x="1041" y="2049"/>
                    </a:cubicBezTo>
                    <a:cubicBezTo>
                      <a:pt x="1639" y="2049"/>
                      <a:pt x="2080" y="1576"/>
                      <a:pt x="2080" y="1040"/>
                    </a:cubicBezTo>
                    <a:cubicBezTo>
                      <a:pt x="2080" y="442"/>
                      <a:pt x="1608" y="1"/>
                      <a:pt x="1041" y="1"/>
                    </a:cubicBezTo>
                    <a:close/>
                  </a:path>
                </a:pathLst>
              </a:custGeom>
              <a:solidFill>
                <a:srgbClr val="FFFFFF"/>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64" name="Google Shape;822;p26">
                <a:extLst>
                  <a:ext uri="{FF2B5EF4-FFF2-40B4-BE49-F238E27FC236}">
                    <a16:creationId xmlns:a16="http://schemas.microsoft.com/office/drawing/2014/main" id="{5518388D-E8FD-49D8-8585-0DDC78472E42}"/>
                  </a:ext>
                </a:extLst>
              </p:cNvPr>
              <p:cNvSpPr/>
              <p:nvPr/>
            </p:nvSpPr>
            <p:spPr>
              <a:xfrm>
                <a:off x="-24353875" y="3147725"/>
                <a:ext cx="289875" cy="296175"/>
              </a:xfrm>
              <a:custGeom>
                <a:avLst/>
                <a:gdLst/>
                <a:ahLst/>
                <a:cxnLst/>
                <a:rect l="l" t="t" r="r" b="b"/>
                <a:pathLst>
                  <a:path w="11595" h="11847" extrusionOk="0">
                    <a:moveTo>
                      <a:pt x="5672" y="757"/>
                    </a:moveTo>
                    <a:cubicBezTo>
                      <a:pt x="6144" y="757"/>
                      <a:pt x="6680" y="1544"/>
                      <a:pt x="7026" y="2710"/>
                    </a:cubicBezTo>
                    <a:cubicBezTo>
                      <a:pt x="6585" y="2867"/>
                      <a:pt x="6176" y="3025"/>
                      <a:pt x="5672" y="3214"/>
                    </a:cubicBezTo>
                    <a:cubicBezTo>
                      <a:pt x="5262" y="3025"/>
                      <a:pt x="4789" y="2836"/>
                      <a:pt x="4348" y="2710"/>
                    </a:cubicBezTo>
                    <a:cubicBezTo>
                      <a:pt x="4695" y="1481"/>
                      <a:pt x="5199" y="757"/>
                      <a:pt x="5672" y="757"/>
                    </a:cubicBezTo>
                    <a:close/>
                    <a:moveTo>
                      <a:pt x="4191" y="3372"/>
                    </a:moveTo>
                    <a:cubicBezTo>
                      <a:pt x="4411" y="3466"/>
                      <a:pt x="4632" y="3529"/>
                      <a:pt x="4852" y="3624"/>
                    </a:cubicBezTo>
                    <a:cubicBezTo>
                      <a:pt x="4159" y="3970"/>
                      <a:pt x="4726" y="3655"/>
                      <a:pt x="4065" y="4096"/>
                    </a:cubicBezTo>
                    <a:lnTo>
                      <a:pt x="4191" y="3372"/>
                    </a:lnTo>
                    <a:close/>
                    <a:moveTo>
                      <a:pt x="7184" y="3372"/>
                    </a:moveTo>
                    <a:lnTo>
                      <a:pt x="7310" y="4096"/>
                    </a:lnTo>
                    <a:cubicBezTo>
                      <a:pt x="6585" y="3655"/>
                      <a:pt x="7184" y="4002"/>
                      <a:pt x="6522" y="3624"/>
                    </a:cubicBezTo>
                    <a:cubicBezTo>
                      <a:pt x="6743" y="3529"/>
                      <a:pt x="6995" y="3466"/>
                      <a:pt x="7184" y="3372"/>
                    </a:cubicBezTo>
                    <a:close/>
                    <a:moveTo>
                      <a:pt x="9191" y="3001"/>
                    </a:moveTo>
                    <a:cubicBezTo>
                      <a:pt x="9631" y="3001"/>
                      <a:pt x="10026" y="3084"/>
                      <a:pt x="10177" y="3340"/>
                    </a:cubicBezTo>
                    <a:cubicBezTo>
                      <a:pt x="10208" y="3435"/>
                      <a:pt x="10240" y="3529"/>
                      <a:pt x="10208" y="3655"/>
                    </a:cubicBezTo>
                    <a:cubicBezTo>
                      <a:pt x="9925" y="3687"/>
                      <a:pt x="9673" y="3907"/>
                      <a:pt x="9515" y="4159"/>
                    </a:cubicBezTo>
                    <a:cubicBezTo>
                      <a:pt x="9358" y="4474"/>
                      <a:pt x="9295" y="4852"/>
                      <a:pt x="9452" y="5104"/>
                    </a:cubicBezTo>
                    <a:cubicBezTo>
                      <a:pt x="9358" y="5230"/>
                      <a:pt x="9263" y="5356"/>
                      <a:pt x="9137" y="5482"/>
                    </a:cubicBezTo>
                    <a:cubicBezTo>
                      <a:pt x="8791" y="5167"/>
                      <a:pt x="8444" y="4884"/>
                      <a:pt x="8034" y="4600"/>
                    </a:cubicBezTo>
                    <a:cubicBezTo>
                      <a:pt x="8003" y="4128"/>
                      <a:pt x="7940" y="3655"/>
                      <a:pt x="7845" y="3183"/>
                    </a:cubicBezTo>
                    <a:cubicBezTo>
                      <a:pt x="8174" y="3100"/>
                      <a:pt x="8710" y="3001"/>
                      <a:pt x="9191" y="3001"/>
                    </a:cubicBezTo>
                    <a:close/>
                    <a:moveTo>
                      <a:pt x="2994" y="3119"/>
                    </a:moveTo>
                    <a:cubicBezTo>
                      <a:pt x="3151" y="3151"/>
                      <a:pt x="3309" y="3151"/>
                      <a:pt x="3466" y="3214"/>
                    </a:cubicBezTo>
                    <a:cubicBezTo>
                      <a:pt x="3403" y="3655"/>
                      <a:pt x="3309" y="4128"/>
                      <a:pt x="3277" y="4632"/>
                    </a:cubicBezTo>
                    <a:cubicBezTo>
                      <a:pt x="2899" y="4915"/>
                      <a:pt x="2490" y="5230"/>
                      <a:pt x="2174" y="5514"/>
                    </a:cubicBezTo>
                    <a:cubicBezTo>
                      <a:pt x="1733" y="5010"/>
                      <a:pt x="851" y="3939"/>
                      <a:pt x="1166" y="3340"/>
                    </a:cubicBezTo>
                    <a:cubicBezTo>
                      <a:pt x="1198" y="3277"/>
                      <a:pt x="1261" y="3183"/>
                      <a:pt x="1387" y="3151"/>
                    </a:cubicBezTo>
                    <a:cubicBezTo>
                      <a:pt x="1576" y="3372"/>
                      <a:pt x="1859" y="3529"/>
                      <a:pt x="2174" y="3529"/>
                    </a:cubicBezTo>
                    <a:cubicBezTo>
                      <a:pt x="2521" y="3529"/>
                      <a:pt x="2836" y="3372"/>
                      <a:pt x="2994" y="3119"/>
                    </a:cubicBezTo>
                    <a:close/>
                    <a:moveTo>
                      <a:pt x="3277" y="5482"/>
                    </a:moveTo>
                    <a:lnTo>
                      <a:pt x="3277" y="5482"/>
                    </a:lnTo>
                    <a:cubicBezTo>
                      <a:pt x="3246" y="6144"/>
                      <a:pt x="3246" y="5986"/>
                      <a:pt x="3277" y="6428"/>
                    </a:cubicBezTo>
                    <a:cubicBezTo>
                      <a:pt x="3088" y="6270"/>
                      <a:pt x="2899" y="6112"/>
                      <a:pt x="2742" y="5955"/>
                    </a:cubicBezTo>
                    <a:cubicBezTo>
                      <a:pt x="2899" y="5797"/>
                      <a:pt x="3088" y="5640"/>
                      <a:pt x="3277" y="5482"/>
                    </a:cubicBezTo>
                    <a:close/>
                    <a:moveTo>
                      <a:pt x="8097" y="5514"/>
                    </a:moveTo>
                    <a:cubicBezTo>
                      <a:pt x="8286" y="5671"/>
                      <a:pt x="8475" y="5829"/>
                      <a:pt x="8633" y="5986"/>
                    </a:cubicBezTo>
                    <a:cubicBezTo>
                      <a:pt x="8475" y="6144"/>
                      <a:pt x="8286" y="6301"/>
                      <a:pt x="8097" y="6459"/>
                    </a:cubicBezTo>
                    <a:lnTo>
                      <a:pt x="8097" y="5514"/>
                    </a:lnTo>
                    <a:close/>
                    <a:moveTo>
                      <a:pt x="5703" y="4002"/>
                    </a:moveTo>
                    <a:cubicBezTo>
                      <a:pt x="6333" y="4317"/>
                      <a:pt x="6743" y="4569"/>
                      <a:pt x="7373" y="5010"/>
                    </a:cubicBezTo>
                    <a:cubicBezTo>
                      <a:pt x="7436" y="5671"/>
                      <a:pt x="7436" y="6238"/>
                      <a:pt x="7373" y="6963"/>
                    </a:cubicBezTo>
                    <a:cubicBezTo>
                      <a:pt x="6837" y="7310"/>
                      <a:pt x="6333" y="7625"/>
                      <a:pt x="5703" y="7940"/>
                    </a:cubicBezTo>
                    <a:cubicBezTo>
                      <a:pt x="5073" y="7625"/>
                      <a:pt x="4537" y="7373"/>
                      <a:pt x="4002" y="6963"/>
                    </a:cubicBezTo>
                    <a:cubicBezTo>
                      <a:pt x="3907" y="6270"/>
                      <a:pt x="3907" y="5671"/>
                      <a:pt x="4002" y="5010"/>
                    </a:cubicBezTo>
                    <a:cubicBezTo>
                      <a:pt x="4600" y="4600"/>
                      <a:pt x="5041" y="4317"/>
                      <a:pt x="5703" y="4002"/>
                    </a:cubicBezTo>
                    <a:close/>
                    <a:moveTo>
                      <a:pt x="4065" y="7845"/>
                    </a:moveTo>
                    <a:cubicBezTo>
                      <a:pt x="4506" y="8097"/>
                      <a:pt x="4254" y="8003"/>
                      <a:pt x="4852" y="8318"/>
                    </a:cubicBezTo>
                    <a:cubicBezTo>
                      <a:pt x="4632" y="8381"/>
                      <a:pt x="4380" y="8507"/>
                      <a:pt x="4191" y="8538"/>
                    </a:cubicBezTo>
                    <a:lnTo>
                      <a:pt x="4065" y="7845"/>
                    </a:lnTo>
                    <a:close/>
                    <a:moveTo>
                      <a:pt x="7278" y="7845"/>
                    </a:moveTo>
                    <a:cubicBezTo>
                      <a:pt x="7247" y="8066"/>
                      <a:pt x="7215" y="8318"/>
                      <a:pt x="7152" y="8538"/>
                    </a:cubicBezTo>
                    <a:cubicBezTo>
                      <a:pt x="6900" y="8475"/>
                      <a:pt x="6711" y="8381"/>
                      <a:pt x="6491" y="8318"/>
                    </a:cubicBezTo>
                    <a:cubicBezTo>
                      <a:pt x="6837" y="8097"/>
                      <a:pt x="6869" y="8097"/>
                      <a:pt x="7278" y="7845"/>
                    </a:cubicBezTo>
                    <a:close/>
                    <a:moveTo>
                      <a:pt x="2237" y="6459"/>
                    </a:moveTo>
                    <a:cubicBezTo>
                      <a:pt x="2584" y="6774"/>
                      <a:pt x="2931" y="7058"/>
                      <a:pt x="3340" y="7310"/>
                    </a:cubicBezTo>
                    <a:cubicBezTo>
                      <a:pt x="3372" y="7845"/>
                      <a:pt x="3435" y="8255"/>
                      <a:pt x="3529" y="8727"/>
                    </a:cubicBezTo>
                    <a:cubicBezTo>
                      <a:pt x="3008" y="8861"/>
                      <a:pt x="2544" y="8927"/>
                      <a:pt x="2165" y="8927"/>
                    </a:cubicBezTo>
                    <a:cubicBezTo>
                      <a:pt x="1650" y="8927"/>
                      <a:pt x="1293" y="8806"/>
                      <a:pt x="1166" y="8570"/>
                    </a:cubicBezTo>
                    <a:cubicBezTo>
                      <a:pt x="851" y="8003"/>
                      <a:pt x="1733" y="6932"/>
                      <a:pt x="2237" y="6459"/>
                    </a:cubicBezTo>
                    <a:close/>
                    <a:moveTo>
                      <a:pt x="9137" y="6459"/>
                    </a:moveTo>
                    <a:cubicBezTo>
                      <a:pt x="9610" y="6932"/>
                      <a:pt x="10523" y="8003"/>
                      <a:pt x="10177" y="8570"/>
                    </a:cubicBezTo>
                    <a:cubicBezTo>
                      <a:pt x="10032" y="8806"/>
                      <a:pt x="9678" y="8927"/>
                      <a:pt x="9169" y="8927"/>
                    </a:cubicBezTo>
                    <a:cubicBezTo>
                      <a:pt x="8794" y="8927"/>
                      <a:pt x="8335" y="8861"/>
                      <a:pt x="7814" y="8727"/>
                    </a:cubicBezTo>
                    <a:cubicBezTo>
                      <a:pt x="7940" y="8318"/>
                      <a:pt x="8003" y="7845"/>
                      <a:pt x="8034" y="7310"/>
                    </a:cubicBezTo>
                    <a:cubicBezTo>
                      <a:pt x="8444" y="7058"/>
                      <a:pt x="8822" y="6743"/>
                      <a:pt x="9137" y="6459"/>
                    </a:cubicBezTo>
                    <a:close/>
                    <a:moveTo>
                      <a:pt x="5640" y="8696"/>
                    </a:moveTo>
                    <a:cubicBezTo>
                      <a:pt x="6081" y="8885"/>
                      <a:pt x="6554" y="9074"/>
                      <a:pt x="6995" y="9200"/>
                    </a:cubicBezTo>
                    <a:cubicBezTo>
                      <a:pt x="6680" y="10429"/>
                      <a:pt x="6176" y="11185"/>
                      <a:pt x="5672" y="11185"/>
                    </a:cubicBezTo>
                    <a:cubicBezTo>
                      <a:pt x="5609" y="11185"/>
                      <a:pt x="5482" y="11090"/>
                      <a:pt x="5356" y="11059"/>
                    </a:cubicBezTo>
                    <a:cubicBezTo>
                      <a:pt x="5482" y="10775"/>
                      <a:pt x="5451" y="10460"/>
                      <a:pt x="5293" y="10177"/>
                    </a:cubicBezTo>
                    <a:cubicBezTo>
                      <a:pt x="5136" y="9862"/>
                      <a:pt x="4821" y="9736"/>
                      <a:pt x="4474" y="9673"/>
                    </a:cubicBezTo>
                    <a:cubicBezTo>
                      <a:pt x="4411" y="9515"/>
                      <a:pt x="4348" y="9357"/>
                      <a:pt x="4317" y="9200"/>
                    </a:cubicBezTo>
                    <a:cubicBezTo>
                      <a:pt x="4726" y="9042"/>
                      <a:pt x="5167" y="8885"/>
                      <a:pt x="5640" y="8696"/>
                    </a:cubicBezTo>
                    <a:close/>
                    <a:moveTo>
                      <a:pt x="5640" y="1"/>
                    </a:moveTo>
                    <a:cubicBezTo>
                      <a:pt x="4758" y="1"/>
                      <a:pt x="4065" y="1072"/>
                      <a:pt x="3655" y="2489"/>
                    </a:cubicBezTo>
                    <a:cubicBezTo>
                      <a:pt x="3498" y="2426"/>
                      <a:pt x="3340" y="2395"/>
                      <a:pt x="3214" y="2395"/>
                    </a:cubicBezTo>
                    <a:cubicBezTo>
                      <a:pt x="3183" y="1859"/>
                      <a:pt x="2742" y="1418"/>
                      <a:pt x="2174" y="1418"/>
                    </a:cubicBezTo>
                    <a:cubicBezTo>
                      <a:pt x="1607" y="1418"/>
                      <a:pt x="1166" y="1891"/>
                      <a:pt x="1166" y="2426"/>
                    </a:cubicBezTo>
                    <a:cubicBezTo>
                      <a:pt x="883" y="2552"/>
                      <a:pt x="694" y="2710"/>
                      <a:pt x="568" y="2962"/>
                    </a:cubicBezTo>
                    <a:cubicBezTo>
                      <a:pt x="32" y="3907"/>
                      <a:pt x="977" y="5104"/>
                      <a:pt x="1702" y="5892"/>
                    </a:cubicBezTo>
                    <a:cubicBezTo>
                      <a:pt x="946" y="6743"/>
                      <a:pt x="1" y="8003"/>
                      <a:pt x="568" y="8885"/>
                    </a:cubicBezTo>
                    <a:cubicBezTo>
                      <a:pt x="879" y="9433"/>
                      <a:pt x="1519" y="9600"/>
                      <a:pt x="2210" y="9600"/>
                    </a:cubicBezTo>
                    <a:cubicBezTo>
                      <a:pt x="2710" y="9600"/>
                      <a:pt x="3237" y="9513"/>
                      <a:pt x="3687" y="9420"/>
                    </a:cubicBezTo>
                    <a:cubicBezTo>
                      <a:pt x="3718" y="9578"/>
                      <a:pt x="3750" y="9673"/>
                      <a:pt x="3844" y="9830"/>
                    </a:cubicBezTo>
                    <a:cubicBezTo>
                      <a:pt x="3403" y="10145"/>
                      <a:pt x="3246" y="10744"/>
                      <a:pt x="3529" y="11216"/>
                    </a:cubicBezTo>
                    <a:cubicBezTo>
                      <a:pt x="3718" y="11531"/>
                      <a:pt x="4065" y="11720"/>
                      <a:pt x="4411" y="11720"/>
                    </a:cubicBezTo>
                    <a:cubicBezTo>
                      <a:pt x="4600" y="11720"/>
                      <a:pt x="4789" y="11689"/>
                      <a:pt x="4947" y="11563"/>
                    </a:cubicBezTo>
                    <a:cubicBezTo>
                      <a:pt x="5167" y="11720"/>
                      <a:pt x="5419" y="11846"/>
                      <a:pt x="5703" y="11846"/>
                    </a:cubicBezTo>
                    <a:cubicBezTo>
                      <a:pt x="6585" y="11846"/>
                      <a:pt x="7278" y="10775"/>
                      <a:pt x="7688" y="9357"/>
                    </a:cubicBezTo>
                    <a:cubicBezTo>
                      <a:pt x="8143" y="9478"/>
                      <a:pt x="8678" y="9576"/>
                      <a:pt x="9184" y="9576"/>
                    </a:cubicBezTo>
                    <a:cubicBezTo>
                      <a:pt x="9868" y="9576"/>
                      <a:pt x="10499" y="9397"/>
                      <a:pt x="10807" y="8853"/>
                    </a:cubicBezTo>
                    <a:cubicBezTo>
                      <a:pt x="11374" y="7908"/>
                      <a:pt x="10429" y="6680"/>
                      <a:pt x="9673" y="5892"/>
                    </a:cubicBezTo>
                    <a:cubicBezTo>
                      <a:pt x="9799" y="5797"/>
                      <a:pt x="9862" y="5671"/>
                      <a:pt x="9988" y="5545"/>
                    </a:cubicBezTo>
                    <a:cubicBezTo>
                      <a:pt x="10145" y="5640"/>
                      <a:pt x="10271" y="5671"/>
                      <a:pt x="10429" y="5671"/>
                    </a:cubicBezTo>
                    <a:cubicBezTo>
                      <a:pt x="10775" y="5671"/>
                      <a:pt x="11122" y="5482"/>
                      <a:pt x="11311" y="5167"/>
                    </a:cubicBezTo>
                    <a:cubicBezTo>
                      <a:pt x="11594" y="4632"/>
                      <a:pt x="11437" y="4002"/>
                      <a:pt x="10933" y="3750"/>
                    </a:cubicBezTo>
                    <a:cubicBezTo>
                      <a:pt x="10964" y="3466"/>
                      <a:pt x="10901" y="3183"/>
                      <a:pt x="10775" y="2962"/>
                    </a:cubicBezTo>
                    <a:cubicBezTo>
                      <a:pt x="10457" y="2432"/>
                      <a:pt x="9842" y="2259"/>
                      <a:pt x="9179" y="2259"/>
                    </a:cubicBezTo>
                    <a:cubicBezTo>
                      <a:pt x="8661" y="2259"/>
                      <a:pt x="8113" y="2365"/>
                      <a:pt x="7656" y="2489"/>
                    </a:cubicBezTo>
                    <a:cubicBezTo>
                      <a:pt x="7278" y="1072"/>
                      <a:pt x="6585" y="1"/>
                      <a:pt x="5640" y="1"/>
                    </a:cubicBezTo>
                    <a:close/>
                  </a:path>
                </a:pathLst>
              </a:custGeom>
              <a:solidFill>
                <a:srgbClr val="FFFFFF"/>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grpSp>
        <p:grpSp>
          <p:nvGrpSpPr>
            <p:cNvPr id="55" name="Google Shape;823;p26">
              <a:extLst>
                <a:ext uri="{FF2B5EF4-FFF2-40B4-BE49-F238E27FC236}">
                  <a16:creationId xmlns:a16="http://schemas.microsoft.com/office/drawing/2014/main" id="{F6C09FD6-DB5C-4CA5-B8E1-27E134C705AD}"/>
                </a:ext>
              </a:extLst>
            </p:cNvPr>
            <p:cNvGrpSpPr/>
            <p:nvPr/>
          </p:nvGrpSpPr>
          <p:grpSpPr>
            <a:xfrm>
              <a:off x="6886657" y="1620109"/>
              <a:ext cx="247745" cy="247745"/>
              <a:chOff x="-25834600" y="3176875"/>
              <a:chExt cx="296950" cy="296950"/>
            </a:xfrm>
          </p:grpSpPr>
          <p:sp>
            <p:nvSpPr>
              <p:cNvPr id="58" name="Google Shape;824;p26">
                <a:extLst>
                  <a:ext uri="{FF2B5EF4-FFF2-40B4-BE49-F238E27FC236}">
                    <a16:creationId xmlns:a16="http://schemas.microsoft.com/office/drawing/2014/main" id="{270258BC-90D4-4FF9-841F-2421B05D2931}"/>
                  </a:ext>
                </a:extLst>
              </p:cNvPr>
              <p:cNvSpPr/>
              <p:nvPr/>
            </p:nvSpPr>
            <p:spPr>
              <a:xfrm>
                <a:off x="-25625875" y="3316275"/>
                <a:ext cx="69325" cy="85875"/>
              </a:xfrm>
              <a:custGeom>
                <a:avLst/>
                <a:gdLst/>
                <a:ahLst/>
                <a:cxnLst/>
                <a:rect l="l" t="t" r="r" b="b"/>
                <a:pathLst>
                  <a:path w="2773" h="3435" extrusionOk="0">
                    <a:moveTo>
                      <a:pt x="0" y="1"/>
                    </a:moveTo>
                    <a:lnTo>
                      <a:pt x="0" y="3435"/>
                    </a:lnTo>
                    <a:lnTo>
                      <a:pt x="2773" y="3435"/>
                    </a:lnTo>
                    <a:lnTo>
                      <a:pt x="2773" y="2741"/>
                    </a:lnTo>
                    <a:lnTo>
                      <a:pt x="1040" y="2741"/>
                    </a:lnTo>
                    <a:cubicBezTo>
                      <a:pt x="851" y="2741"/>
                      <a:pt x="693" y="2584"/>
                      <a:pt x="693" y="2395"/>
                    </a:cubicBezTo>
                    <a:cubicBezTo>
                      <a:pt x="693" y="2206"/>
                      <a:pt x="851" y="2048"/>
                      <a:pt x="1040" y="2048"/>
                    </a:cubicBezTo>
                    <a:lnTo>
                      <a:pt x="2773" y="2048"/>
                    </a:lnTo>
                    <a:lnTo>
                      <a:pt x="2773" y="1324"/>
                    </a:lnTo>
                    <a:lnTo>
                      <a:pt x="1040" y="1324"/>
                    </a:lnTo>
                    <a:cubicBezTo>
                      <a:pt x="851" y="1324"/>
                      <a:pt x="693" y="1166"/>
                      <a:pt x="693" y="977"/>
                    </a:cubicBezTo>
                    <a:cubicBezTo>
                      <a:pt x="693" y="851"/>
                      <a:pt x="851" y="694"/>
                      <a:pt x="1040" y="694"/>
                    </a:cubicBezTo>
                    <a:lnTo>
                      <a:pt x="2773" y="694"/>
                    </a:lnTo>
                    <a:lnTo>
                      <a:pt x="2773" y="1"/>
                    </a:lnTo>
                    <a:close/>
                  </a:path>
                </a:pathLst>
              </a:custGeom>
              <a:solidFill>
                <a:srgbClr val="FFFFFF"/>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59" name="Google Shape;825;p26">
                <a:extLst>
                  <a:ext uri="{FF2B5EF4-FFF2-40B4-BE49-F238E27FC236}">
                    <a16:creationId xmlns:a16="http://schemas.microsoft.com/office/drawing/2014/main" id="{AFB2FF76-FAB1-416E-B525-A7DD4CA7C8CC}"/>
                  </a:ext>
                </a:extLst>
              </p:cNvPr>
              <p:cNvSpPr/>
              <p:nvPr/>
            </p:nvSpPr>
            <p:spPr>
              <a:xfrm>
                <a:off x="-25729075" y="3176875"/>
                <a:ext cx="191425" cy="296950"/>
              </a:xfrm>
              <a:custGeom>
                <a:avLst/>
                <a:gdLst/>
                <a:ahLst/>
                <a:cxnLst/>
                <a:rect l="l" t="t" r="r" b="b"/>
                <a:pathLst>
                  <a:path w="7657" h="11878" extrusionOk="0">
                    <a:moveTo>
                      <a:pt x="2049" y="693"/>
                    </a:moveTo>
                    <a:lnTo>
                      <a:pt x="2049" y="2773"/>
                    </a:lnTo>
                    <a:lnTo>
                      <a:pt x="1356" y="2773"/>
                    </a:lnTo>
                    <a:lnTo>
                      <a:pt x="1356" y="693"/>
                    </a:lnTo>
                    <a:close/>
                    <a:moveTo>
                      <a:pt x="3435" y="693"/>
                    </a:moveTo>
                    <a:lnTo>
                      <a:pt x="3435" y="2773"/>
                    </a:lnTo>
                    <a:lnTo>
                      <a:pt x="2710" y="2773"/>
                    </a:lnTo>
                    <a:lnTo>
                      <a:pt x="2710" y="693"/>
                    </a:lnTo>
                    <a:close/>
                    <a:moveTo>
                      <a:pt x="4821" y="693"/>
                    </a:moveTo>
                    <a:lnTo>
                      <a:pt x="4821" y="2773"/>
                    </a:lnTo>
                    <a:lnTo>
                      <a:pt x="4097" y="2773"/>
                    </a:lnTo>
                    <a:lnTo>
                      <a:pt x="4097" y="693"/>
                    </a:lnTo>
                    <a:close/>
                    <a:moveTo>
                      <a:pt x="6176" y="693"/>
                    </a:moveTo>
                    <a:lnTo>
                      <a:pt x="6176" y="2773"/>
                    </a:lnTo>
                    <a:lnTo>
                      <a:pt x="5483" y="2773"/>
                    </a:lnTo>
                    <a:lnTo>
                      <a:pt x="5483" y="693"/>
                    </a:lnTo>
                    <a:close/>
                    <a:moveTo>
                      <a:pt x="1041" y="0"/>
                    </a:moveTo>
                    <a:cubicBezTo>
                      <a:pt x="442" y="0"/>
                      <a:pt x="1" y="473"/>
                      <a:pt x="1" y="1040"/>
                    </a:cubicBezTo>
                    <a:lnTo>
                      <a:pt x="1" y="3119"/>
                    </a:lnTo>
                    <a:cubicBezTo>
                      <a:pt x="1" y="3308"/>
                      <a:pt x="158" y="3466"/>
                      <a:pt x="379" y="3466"/>
                    </a:cubicBezTo>
                    <a:lnTo>
                      <a:pt x="726" y="3466"/>
                    </a:lnTo>
                    <a:lnTo>
                      <a:pt x="726" y="4883"/>
                    </a:lnTo>
                    <a:lnTo>
                      <a:pt x="2458" y="4883"/>
                    </a:lnTo>
                    <a:cubicBezTo>
                      <a:pt x="2647" y="4883"/>
                      <a:pt x="2805" y="5041"/>
                      <a:pt x="2805" y="5262"/>
                    </a:cubicBezTo>
                    <a:lnTo>
                      <a:pt x="2805" y="9420"/>
                    </a:lnTo>
                    <a:cubicBezTo>
                      <a:pt x="2805" y="9609"/>
                      <a:pt x="2647" y="9767"/>
                      <a:pt x="2458" y="9767"/>
                    </a:cubicBezTo>
                    <a:lnTo>
                      <a:pt x="2112" y="9767"/>
                    </a:lnTo>
                    <a:cubicBezTo>
                      <a:pt x="2112" y="10523"/>
                      <a:pt x="1797" y="11247"/>
                      <a:pt x="1261" y="11751"/>
                    </a:cubicBezTo>
                    <a:cubicBezTo>
                      <a:pt x="1419" y="11815"/>
                      <a:pt x="1576" y="11878"/>
                      <a:pt x="1734" y="11878"/>
                    </a:cubicBezTo>
                    <a:lnTo>
                      <a:pt x="5924" y="11878"/>
                    </a:lnTo>
                    <a:cubicBezTo>
                      <a:pt x="6522" y="11878"/>
                      <a:pt x="6932" y="11405"/>
                      <a:pt x="6932" y="10838"/>
                    </a:cubicBezTo>
                    <a:lnTo>
                      <a:pt x="6932" y="9798"/>
                    </a:lnTo>
                    <a:lnTo>
                      <a:pt x="3813" y="9798"/>
                    </a:lnTo>
                    <a:cubicBezTo>
                      <a:pt x="3624" y="9798"/>
                      <a:pt x="3467" y="9672"/>
                      <a:pt x="3467" y="9452"/>
                    </a:cubicBezTo>
                    <a:lnTo>
                      <a:pt x="3467" y="5293"/>
                    </a:lnTo>
                    <a:cubicBezTo>
                      <a:pt x="3467" y="5104"/>
                      <a:pt x="3624" y="4946"/>
                      <a:pt x="3813" y="4946"/>
                    </a:cubicBezTo>
                    <a:lnTo>
                      <a:pt x="6932" y="4946"/>
                    </a:lnTo>
                    <a:lnTo>
                      <a:pt x="6932" y="3529"/>
                    </a:lnTo>
                    <a:lnTo>
                      <a:pt x="7310" y="3529"/>
                    </a:lnTo>
                    <a:cubicBezTo>
                      <a:pt x="7499" y="3529"/>
                      <a:pt x="7657" y="3371"/>
                      <a:pt x="7657" y="3151"/>
                    </a:cubicBezTo>
                    <a:lnTo>
                      <a:pt x="7657" y="1040"/>
                    </a:lnTo>
                    <a:lnTo>
                      <a:pt x="7625" y="1040"/>
                    </a:lnTo>
                    <a:cubicBezTo>
                      <a:pt x="7625" y="441"/>
                      <a:pt x="7153" y="0"/>
                      <a:pt x="6585" y="0"/>
                    </a:cubicBezTo>
                    <a:close/>
                  </a:path>
                </a:pathLst>
              </a:custGeom>
              <a:solidFill>
                <a:srgbClr val="FFFFFF"/>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60" name="Google Shape;826;p26">
                <a:extLst>
                  <a:ext uri="{FF2B5EF4-FFF2-40B4-BE49-F238E27FC236}">
                    <a16:creationId xmlns:a16="http://schemas.microsoft.com/office/drawing/2014/main" id="{F0647DA2-0CF6-462D-AAD0-B5B9D8205F91}"/>
                  </a:ext>
                </a:extLst>
              </p:cNvPr>
              <p:cNvSpPr/>
              <p:nvPr/>
            </p:nvSpPr>
            <p:spPr>
              <a:xfrm>
                <a:off x="-25834600" y="3350150"/>
                <a:ext cx="69325" cy="96100"/>
              </a:xfrm>
              <a:custGeom>
                <a:avLst/>
                <a:gdLst/>
                <a:ahLst/>
                <a:cxnLst/>
                <a:rect l="l" t="t" r="r" b="b"/>
                <a:pathLst>
                  <a:path w="2773" h="3844" extrusionOk="0">
                    <a:moveTo>
                      <a:pt x="2143" y="0"/>
                    </a:moveTo>
                    <a:cubicBezTo>
                      <a:pt x="1008" y="0"/>
                      <a:pt x="63" y="945"/>
                      <a:pt x="63" y="2080"/>
                    </a:cubicBezTo>
                    <a:cubicBezTo>
                      <a:pt x="0" y="2804"/>
                      <a:pt x="378" y="3434"/>
                      <a:pt x="914" y="3844"/>
                    </a:cubicBezTo>
                    <a:cubicBezTo>
                      <a:pt x="788" y="3529"/>
                      <a:pt x="725" y="3151"/>
                      <a:pt x="725" y="2804"/>
                    </a:cubicBezTo>
                    <a:cubicBezTo>
                      <a:pt x="725" y="1544"/>
                      <a:pt x="1576" y="473"/>
                      <a:pt x="2773" y="126"/>
                    </a:cubicBezTo>
                    <a:cubicBezTo>
                      <a:pt x="2584" y="63"/>
                      <a:pt x="2332" y="0"/>
                      <a:pt x="2143" y="0"/>
                    </a:cubicBezTo>
                    <a:close/>
                  </a:path>
                </a:pathLst>
              </a:custGeom>
              <a:solidFill>
                <a:srgbClr val="FFFFFF"/>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61" name="Google Shape;827;p26">
                <a:extLst>
                  <a:ext uri="{FF2B5EF4-FFF2-40B4-BE49-F238E27FC236}">
                    <a16:creationId xmlns:a16="http://schemas.microsoft.com/office/drawing/2014/main" id="{6F17A46C-ED20-44DC-AF7E-A9CC00287650}"/>
                  </a:ext>
                </a:extLst>
              </p:cNvPr>
              <p:cNvSpPr/>
              <p:nvPr/>
            </p:nvSpPr>
            <p:spPr>
              <a:xfrm>
                <a:off x="-25799950" y="3368250"/>
                <a:ext cx="104775" cy="104000"/>
              </a:xfrm>
              <a:custGeom>
                <a:avLst/>
                <a:gdLst/>
                <a:ahLst/>
                <a:cxnLst/>
                <a:rect l="l" t="t" r="r" b="b"/>
                <a:pathLst>
                  <a:path w="4191" h="4160" extrusionOk="0">
                    <a:moveTo>
                      <a:pt x="2080" y="694"/>
                    </a:moveTo>
                    <a:cubicBezTo>
                      <a:pt x="2836" y="694"/>
                      <a:pt x="3466" y="1324"/>
                      <a:pt x="3466" y="2080"/>
                    </a:cubicBezTo>
                    <a:cubicBezTo>
                      <a:pt x="3466" y="2364"/>
                      <a:pt x="3403" y="2584"/>
                      <a:pt x="3246" y="2836"/>
                    </a:cubicBezTo>
                    <a:lnTo>
                      <a:pt x="1292" y="915"/>
                    </a:lnTo>
                    <a:cubicBezTo>
                      <a:pt x="1576" y="788"/>
                      <a:pt x="1828" y="694"/>
                      <a:pt x="2080" y="694"/>
                    </a:cubicBezTo>
                    <a:close/>
                    <a:moveTo>
                      <a:pt x="2111" y="1"/>
                    </a:moveTo>
                    <a:cubicBezTo>
                      <a:pt x="946" y="1"/>
                      <a:pt x="1" y="946"/>
                      <a:pt x="1" y="2080"/>
                    </a:cubicBezTo>
                    <a:cubicBezTo>
                      <a:pt x="1" y="3214"/>
                      <a:pt x="946" y="4160"/>
                      <a:pt x="2111" y="4160"/>
                    </a:cubicBezTo>
                    <a:cubicBezTo>
                      <a:pt x="3246" y="4160"/>
                      <a:pt x="4191" y="3214"/>
                      <a:pt x="4191" y="2080"/>
                    </a:cubicBezTo>
                    <a:cubicBezTo>
                      <a:pt x="4191" y="946"/>
                      <a:pt x="3246" y="1"/>
                      <a:pt x="2111" y="1"/>
                    </a:cubicBezTo>
                    <a:close/>
                  </a:path>
                </a:pathLst>
              </a:custGeom>
              <a:solidFill>
                <a:srgbClr val="FFFFFF"/>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62" name="Google Shape;828;p26">
                <a:extLst>
                  <a:ext uri="{FF2B5EF4-FFF2-40B4-BE49-F238E27FC236}">
                    <a16:creationId xmlns:a16="http://schemas.microsoft.com/office/drawing/2014/main" id="{A7F2703E-B3C9-4528-A889-625833C874C1}"/>
                  </a:ext>
                </a:extLst>
              </p:cNvPr>
              <p:cNvSpPr/>
              <p:nvPr/>
            </p:nvSpPr>
            <p:spPr>
              <a:xfrm>
                <a:off x="-25712525" y="3317075"/>
                <a:ext cx="34675" cy="86650"/>
              </a:xfrm>
              <a:custGeom>
                <a:avLst/>
                <a:gdLst/>
                <a:ahLst/>
                <a:cxnLst/>
                <a:rect l="l" t="t" r="r" b="b"/>
                <a:pathLst>
                  <a:path w="1387" h="3466" extrusionOk="0">
                    <a:moveTo>
                      <a:pt x="1" y="0"/>
                    </a:moveTo>
                    <a:lnTo>
                      <a:pt x="1" y="1764"/>
                    </a:lnTo>
                    <a:cubicBezTo>
                      <a:pt x="631" y="2111"/>
                      <a:pt x="1072" y="2709"/>
                      <a:pt x="1261" y="3466"/>
                    </a:cubicBezTo>
                    <a:lnTo>
                      <a:pt x="1387" y="3466"/>
                    </a:lnTo>
                    <a:lnTo>
                      <a:pt x="1387" y="0"/>
                    </a:lnTo>
                    <a:close/>
                  </a:path>
                </a:pathLst>
              </a:custGeom>
              <a:solidFill>
                <a:srgbClr val="FFFFFF"/>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grpSp>
        <p:sp>
          <p:nvSpPr>
            <p:cNvPr id="56" name="Google Shape;829;p26">
              <a:extLst>
                <a:ext uri="{FF2B5EF4-FFF2-40B4-BE49-F238E27FC236}">
                  <a16:creationId xmlns:a16="http://schemas.microsoft.com/office/drawing/2014/main" id="{CA6A8142-B007-4CE2-A423-C79C342EBFAF}"/>
                </a:ext>
              </a:extLst>
            </p:cNvPr>
            <p:cNvSpPr txBox="1"/>
            <p:nvPr/>
          </p:nvSpPr>
          <p:spPr>
            <a:xfrm>
              <a:off x="5865888" y="1802413"/>
              <a:ext cx="964200" cy="597300"/>
            </a:xfrm>
            <a:prstGeom prst="rect">
              <a:avLst/>
            </a:prstGeom>
            <a:noFill/>
            <a:ln>
              <a:noFill/>
            </a:ln>
          </p:spPr>
          <p:txBody>
            <a:bodyPr spcFirstLastPara="1" wrap="square" lIns="121900" tIns="121900" rIns="121900" bIns="12190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 sz="1600" b="0" i="0" u="none" strike="noStrike" kern="1200" cap="none" spc="0" normalizeH="0" baseline="0" noProof="0">
                  <a:ln>
                    <a:noFill/>
                  </a:ln>
                  <a:solidFill>
                    <a:srgbClr val="434343"/>
                  </a:solidFill>
                  <a:effectLst/>
                  <a:uLnTx/>
                  <a:uFillTx/>
                  <a:latin typeface="Arial"/>
                  <a:ea typeface="+mn-ea"/>
                  <a:cs typeface="+mn-ea"/>
                  <a:sym typeface="+mn-lt"/>
                </a:rPr>
                <a:t>Mars is a cold place</a:t>
              </a:r>
              <a:endParaRPr kumimoji="0" sz="1600" b="0" i="0" u="none" strike="noStrike" kern="1200" cap="none" spc="0" normalizeH="0" baseline="0" noProof="0">
                <a:ln>
                  <a:noFill/>
                </a:ln>
                <a:solidFill>
                  <a:srgbClr val="434343"/>
                </a:solidFill>
                <a:effectLst/>
                <a:uLnTx/>
                <a:uFillTx/>
                <a:latin typeface="Arial"/>
                <a:ea typeface="+mn-ea"/>
                <a:cs typeface="+mn-ea"/>
                <a:sym typeface="+mn-lt"/>
              </a:endParaRPr>
            </a:p>
          </p:txBody>
        </p:sp>
        <p:sp>
          <p:nvSpPr>
            <p:cNvPr id="57" name="Google Shape;830;p26">
              <a:extLst>
                <a:ext uri="{FF2B5EF4-FFF2-40B4-BE49-F238E27FC236}">
                  <a16:creationId xmlns:a16="http://schemas.microsoft.com/office/drawing/2014/main" id="{A985F121-FF8F-4F6E-B3AD-F0362B673AC7}"/>
                </a:ext>
              </a:extLst>
            </p:cNvPr>
            <p:cNvSpPr txBox="1"/>
            <p:nvPr/>
          </p:nvSpPr>
          <p:spPr>
            <a:xfrm>
              <a:off x="5865888" y="3108850"/>
              <a:ext cx="964200" cy="597300"/>
            </a:xfrm>
            <a:prstGeom prst="rect">
              <a:avLst/>
            </a:prstGeom>
            <a:noFill/>
            <a:ln>
              <a:noFill/>
            </a:ln>
          </p:spPr>
          <p:txBody>
            <a:bodyPr spcFirstLastPara="1" wrap="square" lIns="121900" tIns="121900" rIns="121900" bIns="12190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 sz="1600" b="0" i="0" u="none" strike="noStrike" kern="1200" cap="none" spc="0" normalizeH="0" baseline="0" noProof="0">
                  <a:ln>
                    <a:noFill/>
                  </a:ln>
                  <a:solidFill>
                    <a:srgbClr val="434343"/>
                  </a:solidFill>
                  <a:effectLst/>
                  <a:uLnTx/>
                  <a:uFillTx/>
                  <a:latin typeface="Arial"/>
                  <a:ea typeface="+mn-ea"/>
                  <a:cs typeface="+mn-ea"/>
                  <a:sym typeface="+mn-lt"/>
                </a:rPr>
                <a:t>Pluto is icy and small</a:t>
              </a:r>
              <a:endParaRPr kumimoji="0" sz="1600" b="0" i="0" u="none" strike="noStrike" kern="1200" cap="none" spc="0" normalizeH="0" baseline="0" noProof="0">
                <a:ln>
                  <a:noFill/>
                </a:ln>
                <a:solidFill>
                  <a:srgbClr val="434343"/>
                </a:solidFill>
                <a:effectLst/>
                <a:uLnTx/>
                <a:uFillTx/>
                <a:latin typeface="Arial"/>
                <a:ea typeface="+mn-ea"/>
                <a:cs typeface="+mn-ea"/>
                <a:sym typeface="+mn-lt"/>
              </a:endParaRPr>
            </a:p>
          </p:txBody>
        </p:sp>
      </p:grpSp>
    </p:spTree>
    <p:extLst>
      <p:ext uri="{BB962C8B-B14F-4D97-AF65-F5344CB8AC3E}">
        <p14:creationId xmlns:p14="http://schemas.microsoft.com/office/powerpoint/2010/main" val="1007228539"/>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7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oogle Shape;835;p27">
            <a:extLst>
              <a:ext uri="{FF2B5EF4-FFF2-40B4-BE49-F238E27FC236}">
                <a16:creationId xmlns:a16="http://schemas.microsoft.com/office/drawing/2014/main" id="{25C0DD6E-1708-44FB-B1CD-C0F1007C3D33}"/>
              </a:ext>
            </a:extLst>
          </p:cNvPr>
          <p:cNvGrpSpPr/>
          <p:nvPr/>
        </p:nvGrpSpPr>
        <p:grpSpPr>
          <a:xfrm>
            <a:off x="1124757" y="2364477"/>
            <a:ext cx="10134912" cy="2129045"/>
            <a:chOff x="924250" y="2024639"/>
            <a:chExt cx="7601184" cy="1596784"/>
          </a:xfrm>
        </p:grpSpPr>
        <p:sp>
          <p:nvSpPr>
            <p:cNvPr id="3" name="Google Shape;836;p27">
              <a:extLst>
                <a:ext uri="{FF2B5EF4-FFF2-40B4-BE49-F238E27FC236}">
                  <a16:creationId xmlns:a16="http://schemas.microsoft.com/office/drawing/2014/main" id="{53059056-CC17-40C5-A28A-248FFA8290E1}"/>
                </a:ext>
              </a:extLst>
            </p:cNvPr>
            <p:cNvSpPr/>
            <p:nvPr/>
          </p:nvSpPr>
          <p:spPr>
            <a:xfrm>
              <a:off x="6630098" y="2261166"/>
              <a:ext cx="841945" cy="1123731"/>
            </a:xfrm>
            <a:custGeom>
              <a:avLst/>
              <a:gdLst/>
              <a:ahLst/>
              <a:cxnLst/>
              <a:rect l="l" t="t" r="r" b="b"/>
              <a:pathLst>
                <a:path w="44185" h="58973" extrusionOk="0">
                  <a:moveTo>
                    <a:pt x="22753" y="12395"/>
                  </a:moveTo>
                  <a:cubicBezTo>
                    <a:pt x="26135" y="12395"/>
                    <a:pt x="28885" y="15134"/>
                    <a:pt x="28885" y="18527"/>
                  </a:cubicBezTo>
                  <a:cubicBezTo>
                    <a:pt x="28885" y="21920"/>
                    <a:pt x="26135" y="24659"/>
                    <a:pt x="22753" y="24659"/>
                  </a:cubicBezTo>
                  <a:cubicBezTo>
                    <a:pt x="19360" y="24659"/>
                    <a:pt x="16610" y="21920"/>
                    <a:pt x="16610" y="18527"/>
                  </a:cubicBezTo>
                  <a:cubicBezTo>
                    <a:pt x="16610" y="15134"/>
                    <a:pt x="19360" y="12395"/>
                    <a:pt x="22753" y="12395"/>
                  </a:cubicBezTo>
                  <a:close/>
                  <a:moveTo>
                    <a:pt x="13800" y="1"/>
                  </a:moveTo>
                  <a:cubicBezTo>
                    <a:pt x="13799" y="1"/>
                    <a:pt x="0" y="26814"/>
                    <a:pt x="16610" y="58972"/>
                  </a:cubicBezTo>
                  <a:cubicBezTo>
                    <a:pt x="35493" y="47638"/>
                    <a:pt x="44184" y="34243"/>
                    <a:pt x="44184" y="30314"/>
                  </a:cubicBezTo>
                  <a:lnTo>
                    <a:pt x="44184" y="30278"/>
                  </a:lnTo>
                  <a:cubicBezTo>
                    <a:pt x="44184" y="26147"/>
                    <a:pt x="33945" y="11097"/>
                    <a:pt x="13800" y="1"/>
                  </a:cubicBezTo>
                  <a:close/>
                </a:path>
              </a:pathLst>
            </a:custGeom>
            <a:solidFill>
              <a:srgbClr val="869FB2"/>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4" name="Google Shape;837;p27">
              <a:extLst>
                <a:ext uri="{FF2B5EF4-FFF2-40B4-BE49-F238E27FC236}">
                  <a16:creationId xmlns:a16="http://schemas.microsoft.com/office/drawing/2014/main" id="{279C1A77-C593-4F18-8A04-BB2910DAED99}"/>
                </a:ext>
              </a:extLst>
            </p:cNvPr>
            <p:cNvSpPr/>
            <p:nvPr/>
          </p:nvSpPr>
          <p:spPr>
            <a:xfrm>
              <a:off x="924250" y="2024639"/>
              <a:ext cx="724454" cy="1596784"/>
            </a:xfrm>
            <a:custGeom>
              <a:avLst/>
              <a:gdLst/>
              <a:ahLst/>
              <a:cxnLst/>
              <a:rect l="l" t="t" r="r" b="b"/>
              <a:pathLst>
                <a:path w="37732" h="83155" extrusionOk="0">
                  <a:moveTo>
                    <a:pt x="345" y="1"/>
                  </a:moveTo>
                  <a:cubicBezTo>
                    <a:pt x="117" y="1"/>
                    <a:pt x="0" y="18"/>
                    <a:pt x="0" y="18"/>
                  </a:cubicBezTo>
                  <a:cubicBezTo>
                    <a:pt x="5263" y="1208"/>
                    <a:pt x="13609" y="17877"/>
                    <a:pt x="15788" y="29950"/>
                  </a:cubicBezTo>
                  <a:cubicBezTo>
                    <a:pt x="16705" y="35022"/>
                    <a:pt x="18455" y="38856"/>
                    <a:pt x="20181" y="41594"/>
                  </a:cubicBezTo>
                  <a:cubicBezTo>
                    <a:pt x="18455" y="44345"/>
                    <a:pt x="16705" y="48178"/>
                    <a:pt x="15788" y="53250"/>
                  </a:cubicBezTo>
                  <a:cubicBezTo>
                    <a:pt x="13609" y="65323"/>
                    <a:pt x="6061" y="81944"/>
                    <a:pt x="786" y="83147"/>
                  </a:cubicBezTo>
                  <a:cubicBezTo>
                    <a:pt x="786" y="83147"/>
                    <a:pt x="850" y="83155"/>
                    <a:pt x="976" y="83155"/>
                  </a:cubicBezTo>
                  <a:cubicBezTo>
                    <a:pt x="2137" y="83155"/>
                    <a:pt x="8590" y="82487"/>
                    <a:pt x="19884" y="68907"/>
                  </a:cubicBezTo>
                  <a:cubicBezTo>
                    <a:pt x="24491" y="63359"/>
                    <a:pt x="27289" y="59573"/>
                    <a:pt x="29313" y="57013"/>
                  </a:cubicBezTo>
                  <a:cubicBezTo>
                    <a:pt x="35302" y="49321"/>
                    <a:pt x="37731" y="40677"/>
                    <a:pt x="37731" y="40677"/>
                  </a:cubicBezTo>
                  <a:cubicBezTo>
                    <a:pt x="37172" y="36379"/>
                    <a:pt x="30683" y="27700"/>
                    <a:pt x="29492" y="26140"/>
                  </a:cubicBezTo>
                  <a:cubicBezTo>
                    <a:pt x="29492" y="26140"/>
                    <a:pt x="29492" y="26139"/>
                    <a:pt x="29491" y="26139"/>
                  </a:cubicBezTo>
                  <a:lnTo>
                    <a:pt x="29491" y="26139"/>
                  </a:lnTo>
                  <a:cubicBezTo>
                    <a:pt x="27479" y="23567"/>
                    <a:pt x="24491" y="19543"/>
                    <a:pt x="19884" y="13996"/>
                  </a:cubicBezTo>
                  <a:cubicBezTo>
                    <a:pt x="8934" y="829"/>
                    <a:pt x="1933" y="1"/>
                    <a:pt x="345" y="1"/>
                  </a:cubicBezTo>
                  <a:close/>
                </a:path>
              </a:pathLst>
            </a:custGeom>
            <a:solidFill>
              <a:srgbClr val="869FB2"/>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5" name="Google Shape;838;p27">
              <a:extLst>
                <a:ext uri="{FF2B5EF4-FFF2-40B4-BE49-F238E27FC236}">
                  <a16:creationId xmlns:a16="http://schemas.microsoft.com/office/drawing/2014/main" id="{9DDE8ECA-3000-408E-A24C-0A240C67E6BA}"/>
                </a:ext>
              </a:extLst>
            </p:cNvPr>
            <p:cNvSpPr/>
            <p:nvPr/>
          </p:nvSpPr>
          <p:spPr>
            <a:xfrm>
              <a:off x="1499648" y="2790707"/>
              <a:ext cx="5484766" cy="64648"/>
            </a:xfrm>
            <a:custGeom>
              <a:avLst/>
              <a:gdLst/>
              <a:ahLst/>
              <a:cxnLst/>
              <a:rect l="l" t="t" r="r" b="b"/>
              <a:pathLst>
                <a:path w="150484" h="2716" extrusionOk="0">
                  <a:moveTo>
                    <a:pt x="0" y="1"/>
                  </a:moveTo>
                  <a:lnTo>
                    <a:pt x="0" y="2715"/>
                  </a:lnTo>
                  <a:lnTo>
                    <a:pt x="150483" y="2715"/>
                  </a:lnTo>
                  <a:lnTo>
                    <a:pt x="150483" y="1"/>
                  </a:lnTo>
                  <a:close/>
                </a:path>
              </a:pathLst>
            </a:custGeom>
            <a:solidFill>
              <a:srgbClr val="869FB2"/>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6" name="Google Shape;839;p27">
              <a:extLst>
                <a:ext uri="{FF2B5EF4-FFF2-40B4-BE49-F238E27FC236}">
                  <a16:creationId xmlns:a16="http://schemas.microsoft.com/office/drawing/2014/main" id="{FBA69020-7EBF-416F-84A2-2963D1859642}"/>
                </a:ext>
              </a:extLst>
            </p:cNvPr>
            <p:cNvSpPr txBox="1"/>
            <p:nvPr/>
          </p:nvSpPr>
          <p:spPr>
            <a:xfrm>
              <a:off x="7468824" y="2658631"/>
              <a:ext cx="1056610" cy="328800"/>
            </a:xfrm>
            <a:prstGeom prst="rect">
              <a:avLst/>
            </a:prstGeom>
            <a:no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 sz="2267" b="0" i="0" u="none" strike="noStrike" kern="1200" cap="none" spc="0" normalizeH="0" baseline="0" noProof="0">
                  <a:ln>
                    <a:noFill/>
                  </a:ln>
                  <a:solidFill>
                    <a:srgbClr val="434343"/>
                  </a:solidFill>
                  <a:effectLst/>
                  <a:uLnTx/>
                  <a:uFillTx/>
                  <a:latin typeface="Arial"/>
                  <a:ea typeface="+mn-ea"/>
                  <a:cs typeface="+mn-ea"/>
                  <a:sym typeface="+mn-lt"/>
                </a:rPr>
                <a:t>Neptune</a:t>
              </a:r>
              <a:endParaRPr kumimoji="0" sz="2267" b="0" i="0" u="none" strike="noStrike" kern="1200" cap="none" spc="0" normalizeH="0" baseline="0" noProof="0">
                <a:ln>
                  <a:noFill/>
                </a:ln>
                <a:solidFill>
                  <a:srgbClr val="434343"/>
                </a:solidFill>
                <a:effectLst/>
                <a:uLnTx/>
                <a:uFillTx/>
                <a:latin typeface="Arial"/>
                <a:ea typeface="+mn-ea"/>
                <a:cs typeface="+mn-ea"/>
                <a:sym typeface="+mn-lt"/>
              </a:endParaRPr>
            </a:p>
          </p:txBody>
        </p:sp>
      </p:grpSp>
      <p:grpSp>
        <p:nvGrpSpPr>
          <p:cNvPr id="7" name="Google Shape;841;p27">
            <a:extLst>
              <a:ext uri="{FF2B5EF4-FFF2-40B4-BE49-F238E27FC236}">
                <a16:creationId xmlns:a16="http://schemas.microsoft.com/office/drawing/2014/main" id="{B1D8FFDC-285F-4B3B-88CC-811EFE0739BD}"/>
              </a:ext>
            </a:extLst>
          </p:cNvPr>
          <p:cNvGrpSpPr/>
          <p:nvPr/>
        </p:nvGrpSpPr>
        <p:grpSpPr>
          <a:xfrm>
            <a:off x="2284690" y="1838092"/>
            <a:ext cx="2078584" cy="3262333"/>
            <a:chOff x="1794200" y="1566100"/>
            <a:chExt cx="1558938" cy="2446750"/>
          </a:xfrm>
        </p:grpSpPr>
        <p:sp>
          <p:nvSpPr>
            <p:cNvPr id="8" name="Google Shape;842;p27">
              <a:extLst>
                <a:ext uri="{FF2B5EF4-FFF2-40B4-BE49-F238E27FC236}">
                  <a16:creationId xmlns:a16="http://schemas.microsoft.com/office/drawing/2014/main" id="{1A022BAA-AB03-4C18-817E-2692043750E0}"/>
                </a:ext>
              </a:extLst>
            </p:cNvPr>
            <p:cNvSpPr/>
            <p:nvPr/>
          </p:nvSpPr>
          <p:spPr>
            <a:xfrm>
              <a:off x="2775963" y="1805425"/>
              <a:ext cx="352425" cy="1913925"/>
            </a:xfrm>
            <a:custGeom>
              <a:avLst/>
              <a:gdLst/>
              <a:ahLst/>
              <a:cxnLst/>
              <a:rect l="l" t="t" r="r" b="b"/>
              <a:pathLst>
                <a:path w="14097" h="76557" extrusionOk="0">
                  <a:moveTo>
                    <a:pt x="11901" y="1"/>
                  </a:moveTo>
                  <a:cubicBezTo>
                    <a:pt x="11219" y="1"/>
                    <a:pt x="10555" y="363"/>
                    <a:pt x="10204" y="1000"/>
                  </a:cubicBezTo>
                  <a:cubicBezTo>
                    <a:pt x="10001" y="1369"/>
                    <a:pt x="5215" y="10192"/>
                    <a:pt x="2786" y="23800"/>
                  </a:cubicBezTo>
                  <a:cubicBezTo>
                    <a:pt x="536" y="36385"/>
                    <a:pt x="0" y="55554"/>
                    <a:pt x="10180" y="75497"/>
                  </a:cubicBezTo>
                  <a:cubicBezTo>
                    <a:pt x="10513" y="76176"/>
                    <a:pt x="11192" y="76557"/>
                    <a:pt x="11894" y="76557"/>
                  </a:cubicBezTo>
                  <a:cubicBezTo>
                    <a:pt x="12192" y="76557"/>
                    <a:pt x="12490" y="76486"/>
                    <a:pt x="12775" y="76343"/>
                  </a:cubicBezTo>
                  <a:cubicBezTo>
                    <a:pt x="13728" y="75855"/>
                    <a:pt x="14097" y="74700"/>
                    <a:pt x="13621" y="73747"/>
                  </a:cubicBezTo>
                  <a:cubicBezTo>
                    <a:pt x="3953" y="54804"/>
                    <a:pt x="4441" y="36588"/>
                    <a:pt x="6560" y="24622"/>
                  </a:cubicBezTo>
                  <a:cubicBezTo>
                    <a:pt x="8858" y="11644"/>
                    <a:pt x="13502" y="3012"/>
                    <a:pt x="13585" y="2869"/>
                  </a:cubicBezTo>
                  <a:cubicBezTo>
                    <a:pt x="14097" y="1929"/>
                    <a:pt x="13764" y="750"/>
                    <a:pt x="12823" y="238"/>
                  </a:cubicBezTo>
                  <a:cubicBezTo>
                    <a:pt x="12531" y="77"/>
                    <a:pt x="12214" y="1"/>
                    <a:pt x="11901" y="1"/>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9" name="Google Shape;843;p27">
              <a:extLst>
                <a:ext uri="{FF2B5EF4-FFF2-40B4-BE49-F238E27FC236}">
                  <a16:creationId xmlns:a16="http://schemas.microsoft.com/office/drawing/2014/main" id="{AE837CDB-56B3-46D4-9FBF-8982CA025221}"/>
                </a:ext>
              </a:extLst>
            </p:cNvPr>
            <p:cNvSpPr/>
            <p:nvPr/>
          </p:nvSpPr>
          <p:spPr>
            <a:xfrm>
              <a:off x="2834588" y="1566100"/>
              <a:ext cx="518550" cy="518525"/>
            </a:xfrm>
            <a:custGeom>
              <a:avLst/>
              <a:gdLst/>
              <a:ahLst/>
              <a:cxnLst/>
              <a:rect l="l" t="t" r="r" b="b"/>
              <a:pathLst>
                <a:path w="20742" h="20741" extrusionOk="0">
                  <a:moveTo>
                    <a:pt x="10371" y="0"/>
                  </a:moveTo>
                  <a:cubicBezTo>
                    <a:pt x="4644" y="0"/>
                    <a:pt x="1" y="4644"/>
                    <a:pt x="1" y="10371"/>
                  </a:cubicBezTo>
                  <a:cubicBezTo>
                    <a:pt x="1" y="16098"/>
                    <a:pt x="4644" y="20741"/>
                    <a:pt x="10371" y="20741"/>
                  </a:cubicBezTo>
                  <a:cubicBezTo>
                    <a:pt x="16098" y="20741"/>
                    <a:pt x="20741" y="16098"/>
                    <a:pt x="20741" y="10371"/>
                  </a:cubicBezTo>
                  <a:cubicBezTo>
                    <a:pt x="20741" y="4644"/>
                    <a:pt x="16098" y="0"/>
                    <a:pt x="10371" y="0"/>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10" name="Google Shape;844;p27">
              <a:extLst>
                <a:ext uri="{FF2B5EF4-FFF2-40B4-BE49-F238E27FC236}">
                  <a16:creationId xmlns:a16="http://schemas.microsoft.com/office/drawing/2014/main" id="{F8D94D60-C143-4EE3-8206-C5141891CDB8}"/>
                </a:ext>
              </a:extLst>
            </p:cNvPr>
            <p:cNvSpPr/>
            <p:nvPr/>
          </p:nvSpPr>
          <p:spPr>
            <a:xfrm>
              <a:off x="2859288" y="1590500"/>
              <a:ext cx="469125" cy="469425"/>
            </a:xfrm>
            <a:custGeom>
              <a:avLst/>
              <a:gdLst/>
              <a:ahLst/>
              <a:cxnLst/>
              <a:rect l="l" t="t" r="r" b="b"/>
              <a:pathLst>
                <a:path w="18765" h="18777" extrusionOk="0">
                  <a:moveTo>
                    <a:pt x="9383" y="1"/>
                  </a:moveTo>
                  <a:cubicBezTo>
                    <a:pt x="4192" y="1"/>
                    <a:pt x="1" y="4204"/>
                    <a:pt x="1" y="9395"/>
                  </a:cubicBezTo>
                  <a:cubicBezTo>
                    <a:pt x="1" y="14574"/>
                    <a:pt x="4192" y="18777"/>
                    <a:pt x="9383" y="18777"/>
                  </a:cubicBezTo>
                  <a:cubicBezTo>
                    <a:pt x="14562" y="18777"/>
                    <a:pt x="18765" y="14574"/>
                    <a:pt x="18765" y="9395"/>
                  </a:cubicBezTo>
                  <a:cubicBezTo>
                    <a:pt x="18765" y="4204"/>
                    <a:pt x="14562" y="13"/>
                    <a:pt x="9383" y="1"/>
                  </a:cubicBezTo>
                  <a:close/>
                </a:path>
              </a:pathLst>
            </a:custGeom>
            <a:solidFill>
              <a:srgbClr val="FFFFFF"/>
            </a:solidFill>
            <a:ln>
              <a:noFill/>
            </a:ln>
          </p:spPr>
          <p:txBody>
            <a:bodyPr spcFirstLastPara="1" wrap="square" lIns="121900" tIns="121900" rIns="121900" bIns="1219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Tx/>
                <a:buNone/>
                <a:tabLst/>
                <a:defRPr/>
              </a:pPr>
              <a:r>
                <a:rPr kumimoji="0" lang="en" sz="2267" b="0" i="0" u="none" strike="noStrike" kern="1200" cap="none" spc="0" normalizeH="0" baseline="0" noProof="0">
                  <a:ln>
                    <a:noFill/>
                  </a:ln>
                  <a:solidFill>
                    <a:schemeClr val="accent1"/>
                  </a:solidFill>
                  <a:effectLst/>
                  <a:uLnTx/>
                  <a:uFillTx/>
                  <a:latin typeface="Arial"/>
                  <a:ea typeface="+mn-ea"/>
                  <a:cs typeface="+mn-ea"/>
                  <a:sym typeface="+mn-lt"/>
                </a:rPr>
                <a:t>03</a:t>
              </a:r>
              <a:endParaRPr kumimoji="0" sz="2489" b="0" i="0" u="none" strike="noStrike" kern="1200" cap="none" spc="0" normalizeH="0" baseline="0" noProof="0">
                <a:ln>
                  <a:noFill/>
                </a:ln>
                <a:solidFill>
                  <a:schemeClr val="accent1"/>
                </a:solidFill>
                <a:effectLst/>
                <a:uLnTx/>
                <a:uFillTx/>
                <a:latin typeface="Arial"/>
                <a:ea typeface="+mn-ea"/>
                <a:cs typeface="+mn-ea"/>
                <a:sym typeface="+mn-lt"/>
              </a:endParaRPr>
            </a:p>
          </p:txBody>
        </p:sp>
        <p:sp>
          <p:nvSpPr>
            <p:cNvPr id="11" name="Google Shape;845;p27">
              <a:extLst>
                <a:ext uri="{FF2B5EF4-FFF2-40B4-BE49-F238E27FC236}">
                  <a16:creationId xmlns:a16="http://schemas.microsoft.com/office/drawing/2014/main" id="{572C2548-2267-4067-9758-A97D950D2C29}"/>
                </a:ext>
              </a:extLst>
            </p:cNvPr>
            <p:cNvSpPr/>
            <p:nvPr/>
          </p:nvSpPr>
          <p:spPr>
            <a:xfrm>
              <a:off x="2834588" y="3494300"/>
              <a:ext cx="518550" cy="518550"/>
            </a:xfrm>
            <a:custGeom>
              <a:avLst/>
              <a:gdLst/>
              <a:ahLst/>
              <a:cxnLst/>
              <a:rect l="l" t="t" r="r" b="b"/>
              <a:pathLst>
                <a:path w="20742" h="20742" extrusionOk="0">
                  <a:moveTo>
                    <a:pt x="10371" y="1"/>
                  </a:moveTo>
                  <a:cubicBezTo>
                    <a:pt x="4644" y="1"/>
                    <a:pt x="1" y="4644"/>
                    <a:pt x="1" y="10371"/>
                  </a:cubicBezTo>
                  <a:cubicBezTo>
                    <a:pt x="1" y="16098"/>
                    <a:pt x="4644" y="20742"/>
                    <a:pt x="10371" y="20742"/>
                  </a:cubicBezTo>
                  <a:cubicBezTo>
                    <a:pt x="16098" y="20742"/>
                    <a:pt x="20741" y="16098"/>
                    <a:pt x="20741" y="10371"/>
                  </a:cubicBezTo>
                  <a:cubicBezTo>
                    <a:pt x="20741" y="4644"/>
                    <a:pt x="16098" y="1"/>
                    <a:pt x="10371" y="1"/>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12" name="Google Shape;846;p27">
              <a:extLst>
                <a:ext uri="{FF2B5EF4-FFF2-40B4-BE49-F238E27FC236}">
                  <a16:creationId xmlns:a16="http://schemas.microsoft.com/office/drawing/2014/main" id="{C70472FB-7098-4BFC-ADCB-A6CC0764333E}"/>
                </a:ext>
              </a:extLst>
            </p:cNvPr>
            <p:cNvSpPr/>
            <p:nvPr/>
          </p:nvSpPr>
          <p:spPr>
            <a:xfrm>
              <a:off x="2859288" y="3519025"/>
              <a:ext cx="469125" cy="469125"/>
            </a:xfrm>
            <a:custGeom>
              <a:avLst/>
              <a:gdLst/>
              <a:ahLst/>
              <a:cxnLst/>
              <a:rect l="l" t="t" r="r" b="b"/>
              <a:pathLst>
                <a:path w="18765" h="18765" extrusionOk="0">
                  <a:moveTo>
                    <a:pt x="9383" y="0"/>
                  </a:moveTo>
                  <a:cubicBezTo>
                    <a:pt x="4192" y="0"/>
                    <a:pt x="1" y="4203"/>
                    <a:pt x="1" y="9382"/>
                  </a:cubicBezTo>
                  <a:cubicBezTo>
                    <a:pt x="1" y="14573"/>
                    <a:pt x="4192" y="18764"/>
                    <a:pt x="9383" y="18764"/>
                  </a:cubicBezTo>
                  <a:cubicBezTo>
                    <a:pt x="14562" y="18764"/>
                    <a:pt x="18765" y="14573"/>
                    <a:pt x="18765" y="9382"/>
                  </a:cubicBezTo>
                  <a:cubicBezTo>
                    <a:pt x="18765" y="4203"/>
                    <a:pt x="14562" y="0"/>
                    <a:pt x="9383" y="0"/>
                  </a:cubicBezTo>
                  <a:close/>
                </a:path>
              </a:pathLst>
            </a:custGeom>
            <a:solidFill>
              <a:srgbClr val="FFFFFF"/>
            </a:solidFill>
            <a:ln>
              <a:noFill/>
            </a:ln>
          </p:spPr>
          <p:txBody>
            <a:bodyPr spcFirstLastPara="1" wrap="square" lIns="121900" tIns="121900" rIns="121900" bIns="1219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Tx/>
                <a:buNone/>
                <a:tabLst/>
                <a:defRPr/>
              </a:pPr>
              <a:r>
                <a:rPr kumimoji="0" lang="en" sz="2267" b="0" i="0" u="none" strike="noStrike" kern="1200" cap="none" spc="0" normalizeH="0" baseline="0" noProof="0">
                  <a:ln>
                    <a:noFill/>
                  </a:ln>
                  <a:solidFill>
                    <a:schemeClr val="accent1"/>
                  </a:solidFill>
                  <a:effectLst/>
                  <a:uLnTx/>
                  <a:uFillTx/>
                  <a:latin typeface="Arial"/>
                  <a:ea typeface="+mn-ea"/>
                  <a:cs typeface="+mn-ea"/>
                  <a:sym typeface="+mn-lt"/>
                </a:rPr>
                <a:t>06</a:t>
              </a:r>
              <a:endParaRPr kumimoji="0" sz="2489" b="0" i="0" u="none" strike="noStrike" kern="1200" cap="none" spc="0" normalizeH="0" baseline="0" noProof="0">
                <a:ln>
                  <a:noFill/>
                </a:ln>
                <a:solidFill>
                  <a:schemeClr val="accent1"/>
                </a:solidFill>
                <a:effectLst/>
                <a:uLnTx/>
                <a:uFillTx/>
                <a:latin typeface="Arial"/>
                <a:ea typeface="+mn-ea"/>
                <a:cs typeface="+mn-ea"/>
                <a:sym typeface="+mn-lt"/>
              </a:endParaRPr>
            </a:p>
          </p:txBody>
        </p:sp>
        <p:sp>
          <p:nvSpPr>
            <p:cNvPr id="13" name="Google Shape;847;p27">
              <a:extLst>
                <a:ext uri="{FF2B5EF4-FFF2-40B4-BE49-F238E27FC236}">
                  <a16:creationId xmlns:a16="http://schemas.microsoft.com/office/drawing/2014/main" id="{41416ACE-C744-414D-8720-EFADEB7D93E3}"/>
                </a:ext>
              </a:extLst>
            </p:cNvPr>
            <p:cNvSpPr/>
            <p:nvPr/>
          </p:nvSpPr>
          <p:spPr>
            <a:xfrm>
              <a:off x="2590513" y="2498350"/>
              <a:ext cx="518550" cy="518550"/>
            </a:xfrm>
            <a:custGeom>
              <a:avLst/>
              <a:gdLst/>
              <a:ahLst/>
              <a:cxnLst/>
              <a:rect l="l" t="t" r="r" b="b"/>
              <a:pathLst>
                <a:path w="20742" h="20742" extrusionOk="0">
                  <a:moveTo>
                    <a:pt x="10371" y="1"/>
                  </a:moveTo>
                  <a:cubicBezTo>
                    <a:pt x="4644" y="1"/>
                    <a:pt x="0" y="4644"/>
                    <a:pt x="0" y="10371"/>
                  </a:cubicBezTo>
                  <a:cubicBezTo>
                    <a:pt x="0" y="16098"/>
                    <a:pt x="4644" y="20741"/>
                    <a:pt x="10371" y="20741"/>
                  </a:cubicBezTo>
                  <a:cubicBezTo>
                    <a:pt x="16098" y="20741"/>
                    <a:pt x="20741" y="16098"/>
                    <a:pt x="20741" y="10371"/>
                  </a:cubicBezTo>
                  <a:cubicBezTo>
                    <a:pt x="20741" y="4644"/>
                    <a:pt x="16098" y="1"/>
                    <a:pt x="10371" y="1"/>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14" name="Google Shape;848;p27">
              <a:extLst>
                <a:ext uri="{FF2B5EF4-FFF2-40B4-BE49-F238E27FC236}">
                  <a16:creationId xmlns:a16="http://schemas.microsoft.com/office/drawing/2014/main" id="{12C7C425-9D60-497A-B8D2-C6F0E6AE8521}"/>
                </a:ext>
              </a:extLst>
            </p:cNvPr>
            <p:cNvSpPr/>
            <p:nvPr/>
          </p:nvSpPr>
          <p:spPr>
            <a:xfrm>
              <a:off x="2614913" y="2523050"/>
              <a:ext cx="469425" cy="469425"/>
            </a:xfrm>
            <a:custGeom>
              <a:avLst/>
              <a:gdLst/>
              <a:ahLst/>
              <a:cxnLst/>
              <a:rect l="l" t="t" r="r" b="b"/>
              <a:pathLst>
                <a:path w="18777" h="18777" extrusionOk="0">
                  <a:moveTo>
                    <a:pt x="9395" y="1"/>
                  </a:moveTo>
                  <a:cubicBezTo>
                    <a:pt x="4204" y="1"/>
                    <a:pt x="1" y="4204"/>
                    <a:pt x="1" y="9383"/>
                  </a:cubicBezTo>
                  <a:cubicBezTo>
                    <a:pt x="1" y="14574"/>
                    <a:pt x="4204" y="18777"/>
                    <a:pt x="9395" y="18777"/>
                  </a:cubicBezTo>
                  <a:cubicBezTo>
                    <a:pt x="14574" y="18777"/>
                    <a:pt x="18777" y="14574"/>
                    <a:pt x="18777" y="9383"/>
                  </a:cubicBezTo>
                  <a:cubicBezTo>
                    <a:pt x="18777" y="4204"/>
                    <a:pt x="14574" y="1"/>
                    <a:pt x="9395" y="1"/>
                  </a:cubicBezTo>
                  <a:close/>
                </a:path>
              </a:pathLst>
            </a:custGeom>
            <a:solidFill>
              <a:srgbClr val="FFFFFF"/>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15" name="Google Shape;849;p27">
              <a:extLst>
                <a:ext uri="{FF2B5EF4-FFF2-40B4-BE49-F238E27FC236}">
                  <a16:creationId xmlns:a16="http://schemas.microsoft.com/office/drawing/2014/main" id="{B8ACF754-F9D6-4ECA-8764-834B4A998604}"/>
                </a:ext>
              </a:extLst>
            </p:cNvPr>
            <p:cNvSpPr/>
            <p:nvPr/>
          </p:nvSpPr>
          <p:spPr>
            <a:xfrm>
              <a:off x="2784588" y="2867450"/>
              <a:ext cx="128300" cy="19075"/>
            </a:xfrm>
            <a:custGeom>
              <a:avLst/>
              <a:gdLst/>
              <a:ahLst/>
              <a:cxnLst/>
              <a:rect l="l" t="t" r="r" b="b"/>
              <a:pathLst>
                <a:path w="5132" h="763" extrusionOk="0">
                  <a:moveTo>
                    <a:pt x="0" y="0"/>
                  </a:moveTo>
                  <a:lnTo>
                    <a:pt x="0" y="762"/>
                  </a:lnTo>
                  <a:lnTo>
                    <a:pt x="5132" y="762"/>
                  </a:lnTo>
                  <a:lnTo>
                    <a:pt x="5132" y="0"/>
                  </a:ln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16" name="Google Shape;850;p27">
              <a:extLst>
                <a:ext uri="{FF2B5EF4-FFF2-40B4-BE49-F238E27FC236}">
                  <a16:creationId xmlns:a16="http://schemas.microsoft.com/office/drawing/2014/main" id="{88BBE058-D320-4440-80C7-11FAE749DF49}"/>
                </a:ext>
              </a:extLst>
            </p:cNvPr>
            <p:cNvSpPr/>
            <p:nvPr/>
          </p:nvSpPr>
          <p:spPr>
            <a:xfrm>
              <a:off x="2798563" y="2918350"/>
              <a:ext cx="98550" cy="26225"/>
            </a:xfrm>
            <a:custGeom>
              <a:avLst/>
              <a:gdLst/>
              <a:ahLst/>
              <a:cxnLst/>
              <a:rect l="l" t="t" r="r" b="b"/>
              <a:pathLst>
                <a:path w="3942" h="1049" extrusionOk="0">
                  <a:moveTo>
                    <a:pt x="1" y="0"/>
                  </a:moveTo>
                  <a:cubicBezTo>
                    <a:pt x="1" y="0"/>
                    <a:pt x="72" y="1048"/>
                    <a:pt x="2001" y="1048"/>
                  </a:cubicBezTo>
                  <a:cubicBezTo>
                    <a:pt x="3942" y="1048"/>
                    <a:pt x="3942" y="0"/>
                    <a:pt x="3942" y="0"/>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17" name="Google Shape;851;p27">
              <a:extLst>
                <a:ext uri="{FF2B5EF4-FFF2-40B4-BE49-F238E27FC236}">
                  <a16:creationId xmlns:a16="http://schemas.microsoft.com/office/drawing/2014/main" id="{8635CB3C-D43E-4656-9A21-1C139AA2BD9D}"/>
                </a:ext>
              </a:extLst>
            </p:cNvPr>
            <p:cNvSpPr/>
            <p:nvPr/>
          </p:nvSpPr>
          <p:spPr>
            <a:xfrm>
              <a:off x="2796788" y="2891550"/>
              <a:ext cx="100325" cy="21750"/>
            </a:xfrm>
            <a:custGeom>
              <a:avLst/>
              <a:gdLst/>
              <a:ahLst/>
              <a:cxnLst/>
              <a:rect l="l" t="t" r="r" b="b"/>
              <a:pathLst>
                <a:path w="4013" h="870" extrusionOk="0">
                  <a:moveTo>
                    <a:pt x="0" y="1"/>
                  </a:moveTo>
                  <a:lnTo>
                    <a:pt x="0" y="870"/>
                  </a:lnTo>
                  <a:lnTo>
                    <a:pt x="4013" y="870"/>
                  </a:lnTo>
                  <a:lnTo>
                    <a:pt x="4013" y="1"/>
                  </a:ln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18" name="Google Shape;852;p27">
              <a:extLst>
                <a:ext uri="{FF2B5EF4-FFF2-40B4-BE49-F238E27FC236}">
                  <a16:creationId xmlns:a16="http://schemas.microsoft.com/office/drawing/2014/main" id="{3AFF25AA-15F6-4B56-9524-E3B8635BB2DA}"/>
                </a:ext>
              </a:extLst>
            </p:cNvPr>
            <p:cNvSpPr/>
            <p:nvPr/>
          </p:nvSpPr>
          <p:spPr>
            <a:xfrm>
              <a:off x="2733988" y="2580200"/>
              <a:ext cx="231300" cy="279225"/>
            </a:xfrm>
            <a:custGeom>
              <a:avLst/>
              <a:gdLst/>
              <a:ahLst/>
              <a:cxnLst/>
              <a:rect l="l" t="t" r="r" b="b"/>
              <a:pathLst>
                <a:path w="9252" h="11169" extrusionOk="0">
                  <a:moveTo>
                    <a:pt x="4632" y="1"/>
                  </a:moveTo>
                  <a:cubicBezTo>
                    <a:pt x="2072" y="1"/>
                    <a:pt x="0" y="2073"/>
                    <a:pt x="0" y="4632"/>
                  </a:cubicBezTo>
                  <a:cubicBezTo>
                    <a:pt x="0" y="5930"/>
                    <a:pt x="548" y="7109"/>
                    <a:pt x="1417" y="7954"/>
                  </a:cubicBezTo>
                  <a:lnTo>
                    <a:pt x="2548" y="11169"/>
                  </a:lnTo>
                  <a:lnTo>
                    <a:pt x="3227" y="11169"/>
                  </a:lnTo>
                  <a:cubicBezTo>
                    <a:pt x="2917" y="9538"/>
                    <a:pt x="2608" y="7895"/>
                    <a:pt x="2298" y="6252"/>
                  </a:cubicBezTo>
                  <a:cubicBezTo>
                    <a:pt x="2239" y="5942"/>
                    <a:pt x="2179" y="5621"/>
                    <a:pt x="2120" y="5299"/>
                  </a:cubicBezTo>
                  <a:cubicBezTo>
                    <a:pt x="2069" y="5013"/>
                    <a:pt x="2255" y="4860"/>
                    <a:pt x="2454" y="4860"/>
                  </a:cubicBezTo>
                  <a:cubicBezTo>
                    <a:pt x="2629" y="4860"/>
                    <a:pt x="2813" y="4978"/>
                    <a:pt x="2858" y="5228"/>
                  </a:cubicBezTo>
                  <a:cubicBezTo>
                    <a:pt x="2893" y="5371"/>
                    <a:pt x="2917" y="5525"/>
                    <a:pt x="2941" y="5668"/>
                  </a:cubicBezTo>
                  <a:cubicBezTo>
                    <a:pt x="3513" y="5495"/>
                    <a:pt x="4111" y="5408"/>
                    <a:pt x="4710" y="5408"/>
                  </a:cubicBezTo>
                  <a:cubicBezTo>
                    <a:pt x="5183" y="5408"/>
                    <a:pt x="5657" y="5463"/>
                    <a:pt x="6120" y="5573"/>
                  </a:cubicBezTo>
                  <a:cubicBezTo>
                    <a:pt x="6144" y="5454"/>
                    <a:pt x="6156" y="5347"/>
                    <a:pt x="6180" y="5228"/>
                  </a:cubicBezTo>
                  <a:cubicBezTo>
                    <a:pt x="6230" y="4978"/>
                    <a:pt x="6417" y="4860"/>
                    <a:pt x="6592" y="4860"/>
                  </a:cubicBezTo>
                  <a:cubicBezTo>
                    <a:pt x="6792" y="4860"/>
                    <a:pt x="6975" y="5013"/>
                    <a:pt x="6918" y="5299"/>
                  </a:cubicBezTo>
                  <a:cubicBezTo>
                    <a:pt x="6549" y="7264"/>
                    <a:pt x="6180" y="9216"/>
                    <a:pt x="5810" y="11169"/>
                  </a:cubicBezTo>
                  <a:lnTo>
                    <a:pt x="6703" y="11169"/>
                  </a:lnTo>
                  <a:lnTo>
                    <a:pt x="7846" y="7954"/>
                  </a:lnTo>
                  <a:cubicBezTo>
                    <a:pt x="8716" y="7109"/>
                    <a:pt x="9251" y="5930"/>
                    <a:pt x="9251" y="4632"/>
                  </a:cubicBezTo>
                  <a:cubicBezTo>
                    <a:pt x="9251" y="2073"/>
                    <a:pt x="7180" y="1"/>
                    <a:pt x="4632" y="1"/>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19" name="Google Shape;853;p27">
              <a:extLst>
                <a:ext uri="{FF2B5EF4-FFF2-40B4-BE49-F238E27FC236}">
                  <a16:creationId xmlns:a16="http://schemas.microsoft.com/office/drawing/2014/main" id="{16313B57-FCAE-4F9F-AC07-7E9C59CC4FDD}"/>
                </a:ext>
              </a:extLst>
            </p:cNvPr>
            <p:cNvSpPr/>
            <p:nvPr/>
          </p:nvSpPr>
          <p:spPr>
            <a:xfrm>
              <a:off x="2811663" y="2736875"/>
              <a:ext cx="71175" cy="122550"/>
            </a:xfrm>
            <a:custGeom>
              <a:avLst/>
              <a:gdLst/>
              <a:ahLst/>
              <a:cxnLst/>
              <a:rect l="l" t="t" r="r" b="b"/>
              <a:pathLst>
                <a:path w="2847" h="4902" extrusionOk="0">
                  <a:moveTo>
                    <a:pt x="1591" y="1"/>
                  </a:moveTo>
                  <a:cubicBezTo>
                    <a:pt x="1053" y="1"/>
                    <a:pt x="515" y="85"/>
                    <a:pt x="1" y="258"/>
                  </a:cubicBezTo>
                  <a:cubicBezTo>
                    <a:pt x="287" y="1806"/>
                    <a:pt x="584" y="3354"/>
                    <a:pt x="870" y="4902"/>
                  </a:cubicBezTo>
                  <a:lnTo>
                    <a:pt x="1953" y="4902"/>
                  </a:lnTo>
                  <a:cubicBezTo>
                    <a:pt x="2251" y="3318"/>
                    <a:pt x="2549" y="1735"/>
                    <a:pt x="2846" y="151"/>
                  </a:cubicBezTo>
                  <a:cubicBezTo>
                    <a:pt x="2434" y="52"/>
                    <a:pt x="2012" y="1"/>
                    <a:pt x="1591" y="1"/>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20" name="Google Shape;854;p27">
              <a:extLst>
                <a:ext uri="{FF2B5EF4-FFF2-40B4-BE49-F238E27FC236}">
                  <a16:creationId xmlns:a16="http://schemas.microsoft.com/office/drawing/2014/main" id="{902ED3D8-2880-45B4-B621-8321CAD5F134}"/>
                </a:ext>
              </a:extLst>
            </p:cNvPr>
            <p:cNvSpPr txBox="1"/>
            <p:nvPr/>
          </p:nvSpPr>
          <p:spPr>
            <a:xfrm>
              <a:off x="1794200" y="1895800"/>
              <a:ext cx="964200" cy="597300"/>
            </a:xfrm>
            <a:prstGeom prst="rect">
              <a:avLst/>
            </a:prstGeom>
            <a:noFill/>
            <a:ln>
              <a:noFill/>
            </a:ln>
          </p:spPr>
          <p:txBody>
            <a:bodyPr spcFirstLastPara="1" wrap="square" lIns="121900" tIns="121900" rIns="121900" bIns="12190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 sz="1600" b="0" i="0" u="none" strike="noStrike" kern="1200" cap="none" spc="0" normalizeH="0" baseline="0" noProof="0">
                  <a:ln>
                    <a:noFill/>
                  </a:ln>
                  <a:solidFill>
                    <a:srgbClr val="434343"/>
                  </a:solidFill>
                  <a:effectLst/>
                  <a:uLnTx/>
                  <a:uFillTx/>
                  <a:latin typeface="Arial"/>
                  <a:ea typeface="+mn-ea"/>
                  <a:cs typeface="+mn-ea"/>
                  <a:sym typeface="+mn-lt"/>
                </a:rPr>
                <a:t>Mercury is the first</a:t>
              </a:r>
              <a:endParaRPr kumimoji="0" sz="1600" b="0" i="0" u="none" strike="noStrike" kern="1200" cap="none" spc="0" normalizeH="0" baseline="0" noProof="0">
                <a:ln>
                  <a:noFill/>
                </a:ln>
                <a:solidFill>
                  <a:srgbClr val="434343"/>
                </a:solidFill>
                <a:effectLst/>
                <a:uLnTx/>
                <a:uFillTx/>
                <a:latin typeface="Arial"/>
                <a:ea typeface="+mn-ea"/>
                <a:cs typeface="+mn-ea"/>
                <a:sym typeface="+mn-lt"/>
              </a:endParaRPr>
            </a:p>
          </p:txBody>
        </p:sp>
        <p:sp>
          <p:nvSpPr>
            <p:cNvPr id="21" name="Google Shape;855;p27">
              <a:extLst>
                <a:ext uri="{FF2B5EF4-FFF2-40B4-BE49-F238E27FC236}">
                  <a16:creationId xmlns:a16="http://schemas.microsoft.com/office/drawing/2014/main" id="{72B577BB-EFAE-4A6F-A52B-3F327712E25C}"/>
                </a:ext>
              </a:extLst>
            </p:cNvPr>
            <p:cNvSpPr txBox="1"/>
            <p:nvPr/>
          </p:nvSpPr>
          <p:spPr>
            <a:xfrm>
              <a:off x="1794200" y="3002338"/>
              <a:ext cx="964200" cy="597300"/>
            </a:xfrm>
            <a:prstGeom prst="rect">
              <a:avLst/>
            </a:prstGeom>
            <a:noFill/>
            <a:ln>
              <a:noFill/>
            </a:ln>
          </p:spPr>
          <p:txBody>
            <a:bodyPr spcFirstLastPara="1" wrap="square" lIns="121900" tIns="121900" rIns="121900" bIns="12190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 sz="1600" b="0" i="0" u="none" strike="noStrike" kern="1200" cap="none" spc="0" normalizeH="0" baseline="0" noProof="0">
                  <a:ln>
                    <a:noFill/>
                  </a:ln>
                  <a:solidFill>
                    <a:srgbClr val="434343"/>
                  </a:solidFill>
                  <a:effectLst/>
                  <a:uLnTx/>
                  <a:uFillTx/>
                  <a:latin typeface="Arial"/>
                  <a:ea typeface="+mn-ea"/>
                  <a:cs typeface="+mn-ea"/>
                  <a:sym typeface="+mn-lt"/>
                </a:rPr>
                <a:t>Saturn is ringed</a:t>
              </a:r>
              <a:endParaRPr kumimoji="0" sz="1600" b="0" i="0" u="none" strike="noStrike" kern="1200" cap="none" spc="0" normalizeH="0" baseline="0" noProof="0">
                <a:ln>
                  <a:noFill/>
                </a:ln>
                <a:solidFill>
                  <a:srgbClr val="434343"/>
                </a:solidFill>
                <a:effectLst/>
                <a:uLnTx/>
                <a:uFillTx/>
                <a:latin typeface="Arial"/>
                <a:ea typeface="+mn-ea"/>
                <a:cs typeface="+mn-ea"/>
                <a:sym typeface="+mn-lt"/>
              </a:endParaRPr>
            </a:p>
          </p:txBody>
        </p:sp>
      </p:grpSp>
      <p:grpSp>
        <p:nvGrpSpPr>
          <p:cNvPr id="22" name="Google Shape;856;p27">
            <a:extLst>
              <a:ext uri="{FF2B5EF4-FFF2-40B4-BE49-F238E27FC236}">
                <a16:creationId xmlns:a16="http://schemas.microsoft.com/office/drawing/2014/main" id="{CE4DD2D0-8640-41B4-9130-1736F67ADCD0}"/>
              </a:ext>
            </a:extLst>
          </p:cNvPr>
          <p:cNvGrpSpPr/>
          <p:nvPr/>
        </p:nvGrpSpPr>
        <p:grpSpPr>
          <a:xfrm>
            <a:off x="4416957" y="1393192"/>
            <a:ext cx="2078317" cy="4152133"/>
            <a:chOff x="3393400" y="1232425"/>
            <a:chExt cx="1558738" cy="3114100"/>
          </a:xfrm>
        </p:grpSpPr>
        <p:sp>
          <p:nvSpPr>
            <p:cNvPr id="23" name="Google Shape;857;p27">
              <a:extLst>
                <a:ext uri="{FF2B5EF4-FFF2-40B4-BE49-F238E27FC236}">
                  <a16:creationId xmlns:a16="http://schemas.microsoft.com/office/drawing/2014/main" id="{102C520C-0CB0-4B33-993F-1A357563CBA1}"/>
                </a:ext>
              </a:extLst>
            </p:cNvPr>
            <p:cNvSpPr/>
            <p:nvPr/>
          </p:nvSpPr>
          <p:spPr>
            <a:xfrm>
              <a:off x="4389538" y="1597900"/>
              <a:ext cx="352750" cy="2383100"/>
            </a:xfrm>
            <a:custGeom>
              <a:avLst/>
              <a:gdLst/>
              <a:ahLst/>
              <a:cxnLst/>
              <a:rect l="l" t="t" r="r" b="b"/>
              <a:pathLst>
                <a:path w="14110" h="95324" extrusionOk="0">
                  <a:moveTo>
                    <a:pt x="11899" y="1"/>
                  </a:moveTo>
                  <a:cubicBezTo>
                    <a:pt x="11218" y="1"/>
                    <a:pt x="10555" y="454"/>
                    <a:pt x="10204" y="1252"/>
                  </a:cubicBezTo>
                  <a:cubicBezTo>
                    <a:pt x="10002" y="1717"/>
                    <a:pt x="5216" y="12694"/>
                    <a:pt x="2787" y="29649"/>
                  </a:cubicBezTo>
                  <a:cubicBezTo>
                    <a:pt x="537" y="45294"/>
                    <a:pt x="1" y="69177"/>
                    <a:pt x="10181" y="94014"/>
                  </a:cubicBezTo>
                  <a:cubicBezTo>
                    <a:pt x="10514" y="94847"/>
                    <a:pt x="11193" y="95324"/>
                    <a:pt x="11895" y="95324"/>
                  </a:cubicBezTo>
                  <a:cubicBezTo>
                    <a:pt x="12193" y="95324"/>
                    <a:pt x="12490" y="95240"/>
                    <a:pt x="12776" y="95062"/>
                  </a:cubicBezTo>
                  <a:cubicBezTo>
                    <a:pt x="13729" y="94454"/>
                    <a:pt x="14110" y="93002"/>
                    <a:pt x="13622" y="91823"/>
                  </a:cubicBezTo>
                  <a:cubicBezTo>
                    <a:pt x="3954" y="68249"/>
                    <a:pt x="4442" y="45556"/>
                    <a:pt x="6561" y="30661"/>
                  </a:cubicBezTo>
                  <a:cubicBezTo>
                    <a:pt x="8871" y="14445"/>
                    <a:pt x="13550" y="3669"/>
                    <a:pt x="13598" y="3562"/>
                  </a:cubicBezTo>
                  <a:cubicBezTo>
                    <a:pt x="14110" y="2407"/>
                    <a:pt x="13764" y="943"/>
                    <a:pt x="12824" y="300"/>
                  </a:cubicBezTo>
                  <a:cubicBezTo>
                    <a:pt x="12531" y="97"/>
                    <a:pt x="12213" y="1"/>
                    <a:pt x="11899" y="1"/>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24" name="Google Shape;858;p27">
              <a:extLst>
                <a:ext uri="{FF2B5EF4-FFF2-40B4-BE49-F238E27FC236}">
                  <a16:creationId xmlns:a16="http://schemas.microsoft.com/office/drawing/2014/main" id="{C1A4F1B4-2961-47C7-9F1D-CC58D576F703}"/>
                </a:ext>
              </a:extLst>
            </p:cNvPr>
            <p:cNvSpPr/>
            <p:nvPr/>
          </p:nvSpPr>
          <p:spPr>
            <a:xfrm>
              <a:off x="4433588" y="1232425"/>
              <a:ext cx="518550" cy="518550"/>
            </a:xfrm>
            <a:custGeom>
              <a:avLst/>
              <a:gdLst/>
              <a:ahLst/>
              <a:cxnLst/>
              <a:rect l="l" t="t" r="r" b="b"/>
              <a:pathLst>
                <a:path w="20742" h="20742" extrusionOk="0">
                  <a:moveTo>
                    <a:pt x="10371" y="0"/>
                  </a:moveTo>
                  <a:cubicBezTo>
                    <a:pt x="4644" y="0"/>
                    <a:pt x="1" y="4644"/>
                    <a:pt x="1" y="10371"/>
                  </a:cubicBezTo>
                  <a:cubicBezTo>
                    <a:pt x="1" y="16098"/>
                    <a:pt x="4644" y="20741"/>
                    <a:pt x="10371" y="20741"/>
                  </a:cubicBezTo>
                  <a:cubicBezTo>
                    <a:pt x="16098" y="20741"/>
                    <a:pt x="20742" y="16098"/>
                    <a:pt x="20742" y="10371"/>
                  </a:cubicBezTo>
                  <a:cubicBezTo>
                    <a:pt x="20742" y="4644"/>
                    <a:pt x="16098" y="0"/>
                    <a:pt x="10371" y="0"/>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25" name="Google Shape;859;p27">
              <a:extLst>
                <a:ext uri="{FF2B5EF4-FFF2-40B4-BE49-F238E27FC236}">
                  <a16:creationId xmlns:a16="http://schemas.microsoft.com/office/drawing/2014/main" id="{7F287E76-EF47-422B-ABD9-35F517AD8DEF}"/>
                </a:ext>
              </a:extLst>
            </p:cNvPr>
            <p:cNvSpPr/>
            <p:nvPr/>
          </p:nvSpPr>
          <p:spPr>
            <a:xfrm>
              <a:off x="4458313" y="1257125"/>
              <a:ext cx="469125" cy="469125"/>
            </a:xfrm>
            <a:custGeom>
              <a:avLst/>
              <a:gdLst/>
              <a:ahLst/>
              <a:cxnLst/>
              <a:rect l="l" t="t" r="r" b="b"/>
              <a:pathLst>
                <a:path w="18765" h="18765" extrusionOk="0">
                  <a:moveTo>
                    <a:pt x="9382" y="1"/>
                  </a:moveTo>
                  <a:cubicBezTo>
                    <a:pt x="4203" y="1"/>
                    <a:pt x="0" y="4192"/>
                    <a:pt x="0" y="9383"/>
                  </a:cubicBezTo>
                  <a:cubicBezTo>
                    <a:pt x="0" y="14562"/>
                    <a:pt x="4203" y="18765"/>
                    <a:pt x="9382" y="18765"/>
                  </a:cubicBezTo>
                  <a:cubicBezTo>
                    <a:pt x="14561" y="18765"/>
                    <a:pt x="18764" y="14562"/>
                    <a:pt x="18764" y="9383"/>
                  </a:cubicBezTo>
                  <a:cubicBezTo>
                    <a:pt x="18764" y="4204"/>
                    <a:pt x="14561" y="1"/>
                    <a:pt x="9382" y="1"/>
                  </a:cubicBezTo>
                  <a:close/>
                </a:path>
              </a:pathLst>
            </a:custGeom>
            <a:solidFill>
              <a:srgbClr val="FFFFFF"/>
            </a:solidFill>
            <a:ln>
              <a:noFill/>
            </a:ln>
          </p:spPr>
          <p:txBody>
            <a:bodyPr spcFirstLastPara="1" wrap="square" lIns="121900" tIns="121900" rIns="121900" bIns="1219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Tx/>
                <a:buNone/>
                <a:tabLst/>
                <a:defRPr/>
              </a:pPr>
              <a:r>
                <a:rPr kumimoji="0" lang="en" sz="2267" b="0" i="0" u="none" strike="noStrike" kern="1200" cap="none" spc="0" normalizeH="0" baseline="0" noProof="0">
                  <a:ln>
                    <a:noFill/>
                  </a:ln>
                  <a:solidFill>
                    <a:srgbClr val="014864"/>
                  </a:solidFill>
                  <a:effectLst/>
                  <a:uLnTx/>
                  <a:uFillTx/>
                  <a:latin typeface="Arial"/>
                  <a:ea typeface="+mn-ea"/>
                  <a:cs typeface="+mn-ea"/>
                  <a:sym typeface="+mn-lt"/>
                </a:rPr>
                <a:t>02</a:t>
              </a:r>
              <a:endParaRPr kumimoji="0" sz="2489" b="0" i="0" u="none" strike="noStrike" kern="1200" cap="none" spc="0" normalizeH="0" baseline="0" noProof="0">
                <a:ln>
                  <a:noFill/>
                </a:ln>
                <a:solidFill>
                  <a:srgbClr val="014864"/>
                </a:solidFill>
                <a:effectLst/>
                <a:uLnTx/>
                <a:uFillTx/>
                <a:latin typeface="Arial"/>
                <a:ea typeface="+mn-ea"/>
                <a:cs typeface="+mn-ea"/>
                <a:sym typeface="+mn-lt"/>
              </a:endParaRPr>
            </a:p>
          </p:txBody>
        </p:sp>
        <p:sp>
          <p:nvSpPr>
            <p:cNvPr id="26" name="Google Shape;860;p27">
              <a:extLst>
                <a:ext uri="{FF2B5EF4-FFF2-40B4-BE49-F238E27FC236}">
                  <a16:creationId xmlns:a16="http://schemas.microsoft.com/office/drawing/2014/main" id="{E77404FC-BC4E-4A2F-9BE4-69F074864B5B}"/>
                </a:ext>
              </a:extLst>
            </p:cNvPr>
            <p:cNvSpPr/>
            <p:nvPr/>
          </p:nvSpPr>
          <p:spPr>
            <a:xfrm>
              <a:off x="4433588" y="3827975"/>
              <a:ext cx="518550" cy="518550"/>
            </a:xfrm>
            <a:custGeom>
              <a:avLst/>
              <a:gdLst/>
              <a:ahLst/>
              <a:cxnLst/>
              <a:rect l="l" t="t" r="r" b="b"/>
              <a:pathLst>
                <a:path w="20742" h="20742" extrusionOk="0">
                  <a:moveTo>
                    <a:pt x="10371" y="1"/>
                  </a:moveTo>
                  <a:cubicBezTo>
                    <a:pt x="4644" y="1"/>
                    <a:pt x="1" y="4644"/>
                    <a:pt x="1" y="10371"/>
                  </a:cubicBezTo>
                  <a:cubicBezTo>
                    <a:pt x="1" y="16098"/>
                    <a:pt x="4644" y="20741"/>
                    <a:pt x="10371" y="20741"/>
                  </a:cubicBezTo>
                  <a:cubicBezTo>
                    <a:pt x="16098" y="20741"/>
                    <a:pt x="20742" y="16098"/>
                    <a:pt x="20742" y="10371"/>
                  </a:cubicBezTo>
                  <a:cubicBezTo>
                    <a:pt x="20742" y="4644"/>
                    <a:pt x="16098" y="1"/>
                    <a:pt x="10371" y="1"/>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27" name="Google Shape;861;p27">
              <a:extLst>
                <a:ext uri="{FF2B5EF4-FFF2-40B4-BE49-F238E27FC236}">
                  <a16:creationId xmlns:a16="http://schemas.microsoft.com/office/drawing/2014/main" id="{C1D880B0-CC15-43ED-B44E-E07387F23FBC}"/>
                </a:ext>
              </a:extLst>
            </p:cNvPr>
            <p:cNvSpPr/>
            <p:nvPr/>
          </p:nvSpPr>
          <p:spPr>
            <a:xfrm>
              <a:off x="4458313" y="3852675"/>
              <a:ext cx="469125" cy="469150"/>
            </a:xfrm>
            <a:custGeom>
              <a:avLst/>
              <a:gdLst/>
              <a:ahLst/>
              <a:cxnLst/>
              <a:rect l="l" t="t" r="r" b="b"/>
              <a:pathLst>
                <a:path w="18765" h="18766" extrusionOk="0">
                  <a:moveTo>
                    <a:pt x="9382" y="1"/>
                  </a:moveTo>
                  <a:cubicBezTo>
                    <a:pt x="4203" y="1"/>
                    <a:pt x="0" y="4204"/>
                    <a:pt x="0" y="9383"/>
                  </a:cubicBezTo>
                  <a:cubicBezTo>
                    <a:pt x="0" y="14562"/>
                    <a:pt x="4203" y="18765"/>
                    <a:pt x="9382" y="18765"/>
                  </a:cubicBezTo>
                  <a:cubicBezTo>
                    <a:pt x="14561" y="18765"/>
                    <a:pt x="18764" y="14562"/>
                    <a:pt x="18764" y="9383"/>
                  </a:cubicBezTo>
                  <a:cubicBezTo>
                    <a:pt x="18764" y="4204"/>
                    <a:pt x="14561" y="1"/>
                    <a:pt x="9382" y="1"/>
                  </a:cubicBezTo>
                  <a:close/>
                </a:path>
              </a:pathLst>
            </a:custGeom>
            <a:solidFill>
              <a:srgbClr val="FFFFFF"/>
            </a:solidFill>
            <a:ln>
              <a:noFill/>
            </a:ln>
          </p:spPr>
          <p:txBody>
            <a:bodyPr spcFirstLastPara="1" wrap="square" lIns="121900" tIns="121900" rIns="121900" bIns="1219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Tx/>
                <a:buNone/>
                <a:tabLst/>
                <a:defRPr/>
              </a:pPr>
              <a:r>
                <a:rPr kumimoji="0" lang="en" sz="2267" b="0" i="0" u="none" strike="noStrike" kern="1200" cap="none" spc="0" normalizeH="0" baseline="0" noProof="0">
                  <a:ln>
                    <a:noFill/>
                  </a:ln>
                  <a:solidFill>
                    <a:srgbClr val="014864"/>
                  </a:solidFill>
                  <a:effectLst/>
                  <a:uLnTx/>
                  <a:uFillTx/>
                  <a:latin typeface="Arial"/>
                  <a:ea typeface="+mn-ea"/>
                  <a:cs typeface="+mn-ea"/>
                  <a:sym typeface="+mn-lt"/>
                </a:rPr>
                <a:t>05</a:t>
              </a:r>
              <a:endParaRPr kumimoji="0" sz="2489" b="0" i="0" u="none" strike="noStrike" kern="1200" cap="none" spc="0" normalizeH="0" baseline="0" noProof="0">
                <a:ln>
                  <a:noFill/>
                </a:ln>
                <a:solidFill>
                  <a:srgbClr val="014864"/>
                </a:solidFill>
                <a:effectLst/>
                <a:uLnTx/>
                <a:uFillTx/>
                <a:latin typeface="Arial"/>
                <a:ea typeface="+mn-ea"/>
                <a:cs typeface="+mn-ea"/>
                <a:sym typeface="+mn-lt"/>
              </a:endParaRPr>
            </a:p>
          </p:txBody>
        </p:sp>
        <p:sp>
          <p:nvSpPr>
            <p:cNvPr id="28" name="Google Shape;862;p27">
              <a:extLst>
                <a:ext uri="{FF2B5EF4-FFF2-40B4-BE49-F238E27FC236}">
                  <a16:creationId xmlns:a16="http://schemas.microsoft.com/office/drawing/2014/main" id="{D2030BD0-D1BD-49C6-BCB4-E90F44DE830D}"/>
                </a:ext>
              </a:extLst>
            </p:cNvPr>
            <p:cNvSpPr/>
            <p:nvPr/>
          </p:nvSpPr>
          <p:spPr>
            <a:xfrm>
              <a:off x="4216613" y="2498350"/>
              <a:ext cx="518525" cy="518550"/>
            </a:xfrm>
            <a:custGeom>
              <a:avLst/>
              <a:gdLst/>
              <a:ahLst/>
              <a:cxnLst/>
              <a:rect l="l" t="t" r="r" b="b"/>
              <a:pathLst>
                <a:path w="20741" h="20742" extrusionOk="0">
                  <a:moveTo>
                    <a:pt x="10371" y="1"/>
                  </a:moveTo>
                  <a:cubicBezTo>
                    <a:pt x="4644" y="1"/>
                    <a:pt x="0" y="4644"/>
                    <a:pt x="0" y="10371"/>
                  </a:cubicBezTo>
                  <a:cubicBezTo>
                    <a:pt x="0" y="16098"/>
                    <a:pt x="4644" y="20741"/>
                    <a:pt x="10371" y="20741"/>
                  </a:cubicBezTo>
                  <a:cubicBezTo>
                    <a:pt x="16098" y="20741"/>
                    <a:pt x="20741" y="16098"/>
                    <a:pt x="20741" y="10371"/>
                  </a:cubicBezTo>
                  <a:cubicBezTo>
                    <a:pt x="20741" y="4644"/>
                    <a:pt x="16098" y="1"/>
                    <a:pt x="10371" y="1"/>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29" name="Google Shape;863;p27">
              <a:extLst>
                <a:ext uri="{FF2B5EF4-FFF2-40B4-BE49-F238E27FC236}">
                  <a16:creationId xmlns:a16="http://schemas.microsoft.com/office/drawing/2014/main" id="{51B93058-11EC-4641-BD44-08469C229544}"/>
                </a:ext>
              </a:extLst>
            </p:cNvPr>
            <p:cNvSpPr/>
            <p:nvPr/>
          </p:nvSpPr>
          <p:spPr>
            <a:xfrm>
              <a:off x="4241313" y="2523050"/>
              <a:ext cx="469125" cy="469425"/>
            </a:xfrm>
            <a:custGeom>
              <a:avLst/>
              <a:gdLst/>
              <a:ahLst/>
              <a:cxnLst/>
              <a:rect l="l" t="t" r="r" b="b"/>
              <a:pathLst>
                <a:path w="18765" h="18777" extrusionOk="0">
                  <a:moveTo>
                    <a:pt x="9383" y="1"/>
                  </a:moveTo>
                  <a:cubicBezTo>
                    <a:pt x="4203" y="1"/>
                    <a:pt x="0" y="4204"/>
                    <a:pt x="0" y="9383"/>
                  </a:cubicBezTo>
                  <a:cubicBezTo>
                    <a:pt x="0" y="14574"/>
                    <a:pt x="4203" y="18777"/>
                    <a:pt x="9383" y="18777"/>
                  </a:cubicBezTo>
                  <a:cubicBezTo>
                    <a:pt x="14562" y="18777"/>
                    <a:pt x="18765" y="14574"/>
                    <a:pt x="18765" y="9383"/>
                  </a:cubicBezTo>
                  <a:cubicBezTo>
                    <a:pt x="18765" y="4204"/>
                    <a:pt x="14562" y="1"/>
                    <a:pt x="9383" y="1"/>
                  </a:cubicBezTo>
                  <a:close/>
                </a:path>
              </a:pathLst>
            </a:custGeom>
            <a:solidFill>
              <a:srgbClr val="FFFFFF"/>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30" name="Google Shape;864;p27">
              <a:extLst>
                <a:ext uri="{FF2B5EF4-FFF2-40B4-BE49-F238E27FC236}">
                  <a16:creationId xmlns:a16="http://schemas.microsoft.com/office/drawing/2014/main" id="{8C07F83B-928A-42B5-BD79-749A88649565}"/>
                </a:ext>
              </a:extLst>
            </p:cNvPr>
            <p:cNvSpPr/>
            <p:nvPr/>
          </p:nvSpPr>
          <p:spPr>
            <a:xfrm>
              <a:off x="4407988" y="2637950"/>
              <a:ext cx="135775" cy="136050"/>
            </a:xfrm>
            <a:custGeom>
              <a:avLst/>
              <a:gdLst/>
              <a:ahLst/>
              <a:cxnLst/>
              <a:rect l="l" t="t" r="r" b="b"/>
              <a:pathLst>
                <a:path w="5431" h="5442" extrusionOk="0">
                  <a:moveTo>
                    <a:pt x="2716" y="1"/>
                  </a:moveTo>
                  <a:cubicBezTo>
                    <a:pt x="1215" y="1"/>
                    <a:pt x="1" y="1215"/>
                    <a:pt x="1" y="2715"/>
                  </a:cubicBezTo>
                  <a:cubicBezTo>
                    <a:pt x="1" y="3287"/>
                    <a:pt x="168" y="3834"/>
                    <a:pt x="501" y="4299"/>
                  </a:cubicBezTo>
                  <a:cubicBezTo>
                    <a:pt x="1013" y="5013"/>
                    <a:pt x="1835" y="5442"/>
                    <a:pt x="2716" y="5442"/>
                  </a:cubicBezTo>
                  <a:cubicBezTo>
                    <a:pt x="3597" y="5442"/>
                    <a:pt x="4418" y="5013"/>
                    <a:pt x="4930" y="4299"/>
                  </a:cubicBezTo>
                  <a:cubicBezTo>
                    <a:pt x="5264" y="3834"/>
                    <a:pt x="5430" y="3287"/>
                    <a:pt x="5430" y="2715"/>
                  </a:cubicBezTo>
                  <a:cubicBezTo>
                    <a:pt x="5430" y="1215"/>
                    <a:pt x="4216" y="1"/>
                    <a:pt x="2716" y="1"/>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31" name="Google Shape;865;p27">
              <a:extLst>
                <a:ext uri="{FF2B5EF4-FFF2-40B4-BE49-F238E27FC236}">
                  <a16:creationId xmlns:a16="http://schemas.microsoft.com/office/drawing/2014/main" id="{040EBAF1-F791-41D3-9C89-F97122C86532}"/>
                </a:ext>
              </a:extLst>
            </p:cNvPr>
            <p:cNvSpPr/>
            <p:nvPr/>
          </p:nvSpPr>
          <p:spPr>
            <a:xfrm>
              <a:off x="4371388" y="2768925"/>
              <a:ext cx="208675" cy="108675"/>
            </a:xfrm>
            <a:custGeom>
              <a:avLst/>
              <a:gdLst/>
              <a:ahLst/>
              <a:cxnLst/>
              <a:rect l="l" t="t" r="r" b="b"/>
              <a:pathLst>
                <a:path w="8347" h="4347" extrusionOk="0">
                  <a:moveTo>
                    <a:pt x="1608" y="0"/>
                  </a:moveTo>
                  <a:cubicBezTo>
                    <a:pt x="596" y="739"/>
                    <a:pt x="1" y="1893"/>
                    <a:pt x="1" y="3156"/>
                  </a:cubicBezTo>
                  <a:lnTo>
                    <a:pt x="1" y="4346"/>
                  </a:lnTo>
                  <a:lnTo>
                    <a:pt x="8347" y="4346"/>
                  </a:lnTo>
                  <a:lnTo>
                    <a:pt x="8347" y="3156"/>
                  </a:lnTo>
                  <a:cubicBezTo>
                    <a:pt x="8347" y="1893"/>
                    <a:pt x="7751" y="739"/>
                    <a:pt x="6751" y="0"/>
                  </a:cubicBezTo>
                  <a:cubicBezTo>
                    <a:pt x="6478" y="310"/>
                    <a:pt x="6168" y="560"/>
                    <a:pt x="5811" y="750"/>
                  </a:cubicBezTo>
                  <a:cubicBezTo>
                    <a:pt x="5716" y="798"/>
                    <a:pt x="5632" y="846"/>
                    <a:pt x="5537" y="881"/>
                  </a:cubicBezTo>
                  <a:cubicBezTo>
                    <a:pt x="5108" y="1072"/>
                    <a:pt x="4644" y="1167"/>
                    <a:pt x="4180" y="1167"/>
                  </a:cubicBezTo>
                  <a:cubicBezTo>
                    <a:pt x="3191" y="1167"/>
                    <a:pt x="2251" y="739"/>
                    <a:pt x="1608" y="0"/>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32" name="Google Shape;866;p27">
              <a:extLst>
                <a:ext uri="{FF2B5EF4-FFF2-40B4-BE49-F238E27FC236}">
                  <a16:creationId xmlns:a16="http://schemas.microsoft.com/office/drawing/2014/main" id="{2043F755-3B28-4CAF-B190-FC9882E934F3}"/>
                </a:ext>
              </a:extLst>
            </p:cNvPr>
            <p:cNvSpPr txBox="1"/>
            <p:nvPr/>
          </p:nvSpPr>
          <p:spPr>
            <a:xfrm>
              <a:off x="3393400" y="1895800"/>
              <a:ext cx="964200" cy="597300"/>
            </a:xfrm>
            <a:prstGeom prst="rect">
              <a:avLst/>
            </a:prstGeom>
            <a:noFill/>
            <a:ln>
              <a:noFill/>
            </a:ln>
          </p:spPr>
          <p:txBody>
            <a:bodyPr spcFirstLastPara="1" wrap="square" lIns="121900" tIns="121900" rIns="121900" bIns="12190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 sz="1600" b="0" i="0" u="none" strike="noStrike" kern="1200" cap="none" spc="0" normalizeH="0" baseline="0" noProof="0">
                  <a:ln>
                    <a:noFill/>
                  </a:ln>
                  <a:solidFill>
                    <a:srgbClr val="434343"/>
                  </a:solidFill>
                  <a:effectLst/>
                  <a:uLnTx/>
                  <a:uFillTx/>
                  <a:latin typeface="Arial"/>
                  <a:ea typeface="+mn-ea"/>
                  <a:cs typeface="+mn-ea"/>
                  <a:sym typeface="+mn-lt"/>
                </a:rPr>
                <a:t>Venus is terribly hot</a:t>
              </a:r>
              <a:endParaRPr kumimoji="0" sz="1600" b="0" i="0" u="none" strike="noStrike" kern="1200" cap="none" spc="0" normalizeH="0" baseline="0" noProof="0">
                <a:ln>
                  <a:noFill/>
                </a:ln>
                <a:solidFill>
                  <a:srgbClr val="434343"/>
                </a:solidFill>
                <a:effectLst/>
                <a:uLnTx/>
                <a:uFillTx/>
                <a:latin typeface="Arial"/>
                <a:ea typeface="+mn-ea"/>
                <a:cs typeface="+mn-ea"/>
                <a:sym typeface="+mn-lt"/>
              </a:endParaRPr>
            </a:p>
          </p:txBody>
        </p:sp>
        <p:sp>
          <p:nvSpPr>
            <p:cNvPr id="33" name="Google Shape;867;p27">
              <a:extLst>
                <a:ext uri="{FF2B5EF4-FFF2-40B4-BE49-F238E27FC236}">
                  <a16:creationId xmlns:a16="http://schemas.microsoft.com/office/drawing/2014/main" id="{5DB4E521-BA0F-4B9B-9688-B051CC3A2901}"/>
                </a:ext>
              </a:extLst>
            </p:cNvPr>
            <p:cNvSpPr txBox="1"/>
            <p:nvPr/>
          </p:nvSpPr>
          <p:spPr>
            <a:xfrm>
              <a:off x="3393400" y="3002338"/>
              <a:ext cx="964200" cy="597300"/>
            </a:xfrm>
            <a:prstGeom prst="rect">
              <a:avLst/>
            </a:prstGeom>
            <a:noFill/>
            <a:ln>
              <a:noFill/>
            </a:ln>
          </p:spPr>
          <p:txBody>
            <a:bodyPr spcFirstLastPara="1" wrap="square" lIns="121900" tIns="121900" rIns="121900" bIns="12190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 sz="1600" b="0" i="0" u="none" strike="noStrike" kern="1200" cap="none" spc="0" normalizeH="0" baseline="0" noProof="0">
                  <a:ln>
                    <a:noFill/>
                  </a:ln>
                  <a:solidFill>
                    <a:srgbClr val="434343"/>
                  </a:solidFill>
                  <a:effectLst/>
                  <a:uLnTx/>
                  <a:uFillTx/>
                  <a:latin typeface="Arial"/>
                  <a:ea typeface="+mn-ea"/>
                  <a:cs typeface="+mn-ea"/>
                  <a:sym typeface="+mn-lt"/>
                </a:rPr>
                <a:t>The Sun is a star</a:t>
              </a:r>
              <a:endParaRPr kumimoji="0" sz="1600" b="0" i="0" u="none" strike="noStrike" kern="1200" cap="none" spc="0" normalizeH="0" baseline="0" noProof="0">
                <a:ln>
                  <a:noFill/>
                </a:ln>
                <a:solidFill>
                  <a:srgbClr val="434343"/>
                </a:solidFill>
                <a:effectLst/>
                <a:uLnTx/>
                <a:uFillTx/>
                <a:latin typeface="Arial"/>
                <a:ea typeface="+mn-ea"/>
                <a:cs typeface="+mn-ea"/>
                <a:sym typeface="+mn-lt"/>
              </a:endParaRPr>
            </a:p>
          </p:txBody>
        </p:sp>
      </p:grpSp>
      <p:grpSp>
        <p:nvGrpSpPr>
          <p:cNvPr id="34" name="Google Shape;868;p27">
            <a:extLst>
              <a:ext uri="{FF2B5EF4-FFF2-40B4-BE49-F238E27FC236}">
                <a16:creationId xmlns:a16="http://schemas.microsoft.com/office/drawing/2014/main" id="{D8BF5E7B-3090-4637-B7F8-5131CB4F6B93}"/>
              </a:ext>
            </a:extLst>
          </p:cNvPr>
          <p:cNvGrpSpPr/>
          <p:nvPr/>
        </p:nvGrpSpPr>
        <p:grpSpPr>
          <a:xfrm>
            <a:off x="6606657" y="1838092"/>
            <a:ext cx="2046017" cy="3262333"/>
            <a:chOff x="5035675" y="1566100"/>
            <a:chExt cx="1534513" cy="2446750"/>
          </a:xfrm>
        </p:grpSpPr>
        <p:sp>
          <p:nvSpPr>
            <p:cNvPr id="35" name="Google Shape;869;p27">
              <a:extLst>
                <a:ext uri="{FF2B5EF4-FFF2-40B4-BE49-F238E27FC236}">
                  <a16:creationId xmlns:a16="http://schemas.microsoft.com/office/drawing/2014/main" id="{A2DCA38C-02A6-48AE-9ED3-36D806EC8DD9}"/>
                </a:ext>
              </a:extLst>
            </p:cNvPr>
            <p:cNvSpPr/>
            <p:nvPr/>
          </p:nvSpPr>
          <p:spPr>
            <a:xfrm>
              <a:off x="6015338" y="1805425"/>
              <a:ext cx="352750" cy="1913925"/>
            </a:xfrm>
            <a:custGeom>
              <a:avLst/>
              <a:gdLst/>
              <a:ahLst/>
              <a:cxnLst/>
              <a:rect l="l" t="t" r="r" b="b"/>
              <a:pathLst>
                <a:path w="14110" h="76557" extrusionOk="0">
                  <a:moveTo>
                    <a:pt x="11909" y="1"/>
                  </a:moveTo>
                  <a:cubicBezTo>
                    <a:pt x="11226" y="1"/>
                    <a:pt x="10567" y="363"/>
                    <a:pt x="10216" y="1000"/>
                  </a:cubicBezTo>
                  <a:cubicBezTo>
                    <a:pt x="10014" y="1369"/>
                    <a:pt x="5228" y="10192"/>
                    <a:pt x="2787" y="23800"/>
                  </a:cubicBezTo>
                  <a:cubicBezTo>
                    <a:pt x="548" y="36385"/>
                    <a:pt x="1" y="55554"/>
                    <a:pt x="10181" y="75497"/>
                  </a:cubicBezTo>
                  <a:cubicBezTo>
                    <a:pt x="10526" y="76176"/>
                    <a:pt x="11205" y="76557"/>
                    <a:pt x="11907" y="76557"/>
                  </a:cubicBezTo>
                  <a:cubicBezTo>
                    <a:pt x="12205" y="76557"/>
                    <a:pt x="12502" y="76486"/>
                    <a:pt x="12788" y="76343"/>
                  </a:cubicBezTo>
                  <a:cubicBezTo>
                    <a:pt x="13741" y="75855"/>
                    <a:pt x="14110" y="74700"/>
                    <a:pt x="13621" y="73747"/>
                  </a:cubicBezTo>
                  <a:cubicBezTo>
                    <a:pt x="3966" y="54804"/>
                    <a:pt x="4454" y="36588"/>
                    <a:pt x="6573" y="24622"/>
                  </a:cubicBezTo>
                  <a:cubicBezTo>
                    <a:pt x="8871" y="11644"/>
                    <a:pt x="13514" y="3012"/>
                    <a:pt x="13598" y="2869"/>
                  </a:cubicBezTo>
                  <a:cubicBezTo>
                    <a:pt x="14110" y="1929"/>
                    <a:pt x="13776" y="750"/>
                    <a:pt x="12836" y="238"/>
                  </a:cubicBezTo>
                  <a:cubicBezTo>
                    <a:pt x="12540" y="77"/>
                    <a:pt x="12222" y="1"/>
                    <a:pt x="11909" y="1"/>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36" name="Google Shape;870;p27">
              <a:extLst>
                <a:ext uri="{FF2B5EF4-FFF2-40B4-BE49-F238E27FC236}">
                  <a16:creationId xmlns:a16="http://schemas.microsoft.com/office/drawing/2014/main" id="{DBC75286-AEA9-4E98-A60A-1732731130D6}"/>
                </a:ext>
              </a:extLst>
            </p:cNvPr>
            <p:cNvSpPr/>
            <p:nvPr/>
          </p:nvSpPr>
          <p:spPr>
            <a:xfrm>
              <a:off x="6051363" y="1566100"/>
              <a:ext cx="518825" cy="518525"/>
            </a:xfrm>
            <a:custGeom>
              <a:avLst/>
              <a:gdLst/>
              <a:ahLst/>
              <a:cxnLst/>
              <a:rect l="l" t="t" r="r" b="b"/>
              <a:pathLst>
                <a:path w="20753" h="20741" extrusionOk="0">
                  <a:moveTo>
                    <a:pt x="10383" y="0"/>
                  </a:moveTo>
                  <a:cubicBezTo>
                    <a:pt x="4656" y="0"/>
                    <a:pt x="0" y="4644"/>
                    <a:pt x="0" y="10371"/>
                  </a:cubicBezTo>
                  <a:cubicBezTo>
                    <a:pt x="0" y="16098"/>
                    <a:pt x="4656" y="20741"/>
                    <a:pt x="10383" y="20741"/>
                  </a:cubicBezTo>
                  <a:cubicBezTo>
                    <a:pt x="16110" y="20741"/>
                    <a:pt x="20753" y="16098"/>
                    <a:pt x="20753" y="10371"/>
                  </a:cubicBezTo>
                  <a:cubicBezTo>
                    <a:pt x="20753" y="4644"/>
                    <a:pt x="16110" y="0"/>
                    <a:pt x="10383" y="0"/>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37" name="Google Shape;871;p27">
              <a:extLst>
                <a:ext uri="{FF2B5EF4-FFF2-40B4-BE49-F238E27FC236}">
                  <a16:creationId xmlns:a16="http://schemas.microsoft.com/office/drawing/2014/main" id="{EDB5D5CA-9660-4C48-B281-E4D3B6A773B1}"/>
                </a:ext>
              </a:extLst>
            </p:cNvPr>
            <p:cNvSpPr/>
            <p:nvPr/>
          </p:nvSpPr>
          <p:spPr>
            <a:xfrm>
              <a:off x="6076063" y="1590500"/>
              <a:ext cx="469425" cy="469425"/>
            </a:xfrm>
            <a:custGeom>
              <a:avLst/>
              <a:gdLst/>
              <a:ahLst/>
              <a:cxnLst/>
              <a:rect l="l" t="t" r="r" b="b"/>
              <a:pathLst>
                <a:path w="18777" h="18777" extrusionOk="0">
                  <a:moveTo>
                    <a:pt x="9395" y="1"/>
                  </a:moveTo>
                  <a:cubicBezTo>
                    <a:pt x="4204" y="1"/>
                    <a:pt x="1" y="4204"/>
                    <a:pt x="1" y="9395"/>
                  </a:cubicBezTo>
                  <a:cubicBezTo>
                    <a:pt x="1" y="14574"/>
                    <a:pt x="4204" y="18777"/>
                    <a:pt x="9395" y="18777"/>
                  </a:cubicBezTo>
                  <a:cubicBezTo>
                    <a:pt x="14574" y="18777"/>
                    <a:pt x="18777" y="14574"/>
                    <a:pt x="18777" y="9395"/>
                  </a:cubicBezTo>
                  <a:cubicBezTo>
                    <a:pt x="18777" y="4204"/>
                    <a:pt x="14574" y="13"/>
                    <a:pt x="9395" y="1"/>
                  </a:cubicBezTo>
                  <a:close/>
                </a:path>
              </a:pathLst>
            </a:custGeom>
            <a:solidFill>
              <a:srgbClr val="FFFFFF"/>
            </a:solidFill>
            <a:ln>
              <a:noFill/>
            </a:ln>
          </p:spPr>
          <p:txBody>
            <a:bodyPr spcFirstLastPara="1" wrap="square" lIns="121900" tIns="121900" rIns="121900" bIns="1219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Tx/>
                <a:buNone/>
                <a:tabLst/>
                <a:defRPr/>
              </a:pPr>
              <a:r>
                <a:rPr kumimoji="0" lang="en" sz="2267" b="0" i="0" u="none" strike="noStrike" kern="1200" cap="none" spc="0" normalizeH="0" baseline="0" noProof="0">
                  <a:ln>
                    <a:noFill/>
                  </a:ln>
                  <a:solidFill>
                    <a:schemeClr val="accent1"/>
                  </a:solidFill>
                  <a:effectLst/>
                  <a:uLnTx/>
                  <a:uFillTx/>
                  <a:latin typeface="Arial"/>
                  <a:ea typeface="+mn-ea"/>
                  <a:cs typeface="+mn-ea"/>
                  <a:sym typeface="+mn-lt"/>
                </a:rPr>
                <a:t>01</a:t>
              </a:r>
              <a:endParaRPr kumimoji="0" sz="2489" b="0" i="0" u="none" strike="noStrike" kern="1200" cap="none" spc="0" normalizeH="0" baseline="0" noProof="0">
                <a:ln>
                  <a:noFill/>
                </a:ln>
                <a:solidFill>
                  <a:schemeClr val="accent1"/>
                </a:solidFill>
                <a:effectLst/>
                <a:uLnTx/>
                <a:uFillTx/>
                <a:latin typeface="Arial"/>
                <a:ea typeface="+mn-ea"/>
                <a:cs typeface="+mn-ea"/>
                <a:sym typeface="+mn-lt"/>
              </a:endParaRPr>
            </a:p>
          </p:txBody>
        </p:sp>
        <p:sp>
          <p:nvSpPr>
            <p:cNvPr id="38" name="Google Shape;872;p27">
              <a:extLst>
                <a:ext uri="{FF2B5EF4-FFF2-40B4-BE49-F238E27FC236}">
                  <a16:creationId xmlns:a16="http://schemas.microsoft.com/office/drawing/2014/main" id="{441B789A-443C-4FBA-AE2B-3013AC93208D}"/>
                </a:ext>
              </a:extLst>
            </p:cNvPr>
            <p:cNvSpPr/>
            <p:nvPr/>
          </p:nvSpPr>
          <p:spPr>
            <a:xfrm>
              <a:off x="6051363" y="3494300"/>
              <a:ext cx="518825" cy="518550"/>
            </a:xfrm>
            <a:custGeom>
              <a:avLst/>
              <a:gdLst/>
              <a:ahLst/>
              <a:cxnLst/>
              <a:rect l="l" t="t" r="r" b="b"/>
              <a:pathLst>
                <a:path w="20753" h="20742" extrusionOk="0">
                  <a:moveTo>
                    <a:pt x="10383" y="1"/>
                  </a:moveTo>
                  <a:cubicBezTo>
                    <a:pt x="4656" y="1"/>
                    <a:pt x="0" y="4644"/>
                    <a:pt x="0" y="10371"/>
                  </a:cubicBezTo>
                  <a:cubicBezTo>
                    <a:pt x="0" y="16098"/>
                    <a:pt x="4656" y="20742"/>
                    <a:pt x="10383" y="20742"/>
                  </a:cubicBezTo>
                  <a:cubicBezTo>
                    <a:pt x="16110" y="20742"/>
                    <a:pt x="20753" y="16098"/>
                    <a:pt x="20753" y="10371"/>
                  </a:cubicBezTo>
                  <a:cubicBezTo>
                    <a:pt x="20753" y="4644"/>
                    <a:pt x="16110" y="1"/>
                    <a:pt x="10383" y="1"/>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39" name="Google Shape;873;p27">
              <a:extLst>
                <a:ext uri="{FF2B5EF4-FFF2-40B4-BE49-F238E27FC236}">
                  <a16:creationId xmlns:a16="http://schemas.microsoft.com/office/drawing/2014/main" id="{F7488480-67FF-45FB-8EEE-C92CB37C81CE}"/>
                </a:ext>
              </a:extLst>
            </p:cNvPr>
            <p:cNvSpPr/>
            <p:nvPr/>
          </p:nvSpPr>
          <p:spPr>
            <a:xfrm>
              <a:off x="6076063" y="3519025"/>
              <a:ext cx="469425" cy="469125"/>
            </a:xfrm>
            <a:custGeom>
              <a:avLst/>
              <a:gdLst/>
              <a:ahLst/>
              <a:cxnLst/>
              <a:rect l="l" t="t" r="r" b="b"/>
              <a:pathLst>
                <a:path w="18777" h="18765" extrusionOk="0">
                  <a:moveTo>
                    <a:pt x="9395" y="0"/>
                  </a:moveTo>
                  <a:cubicBezTo>
                    <a:pt x="4204" y="0"/>
                    <a:pt x="1" y="4203"/>
                    <a:pt x="1" y="9382"/>
                  </a:cubicBezTo>
                  <a:cubicBezTo>
                    <a:pt x="1" y="14573"/>
                    <a:pt x="4204" y="18764"/>
                    <a:pt x="9395" y="18764"/>
                  </a:cubicBezTo>
                  <a:cubicBezTo>
                    <a:pt x="14574" y="18764"/>
                    <a:pt x="18777" y="14573"/>
                    <a:pt x="18777" y="9382"/>
                  </a:cubicBezTo>
                  <a:cubicBezTo>
                    <a:pt x="18777" y="4203"/>
                    <a:pt x="14574" y="0"/>
                    <a:pt x="9395" y="0"/>
                  </a:cubicBezTo>
                  <a:close/>
                </a:path>
              </a:pathLst>
            </a:custGeom>
            <a:solidFill>
              <a:srgbClr val="FFFFFF"/>
            </a:solidFill>
            <a:ln>
              <a:noFill/>
            </a:ln>
          </p:spPr>
          <p:txBody>
            <a:bodyPr spcFirstLastPara="1" wrap="square" lIns="121900" tIns="121900" rIns="121900" bIns="1219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Tx/>
                <a:buNone/>
                <a:tabLst/>
                <a:defRPr/>
              </a:pPr>
              <a:r>
                <a:rPr kumimoji="0" lang="en" sz="2267" b="0" i="0" u="none" strike="noStrike" kern="1200" cap="none" spc="0" normalizeH="0" baseline="0" noProof="0">
                  <a:ln>
                    <a:noFill/>
                  </a:ln>
                  <a:solidFill>
                    <a:schemeClr val="accent1"/>
                  </a:solidFill>
                  <a:effectLst/>
                  <a:uLnTx/>
                  <a:uFillTx/>
                  <a:latin typeface="Arial"/>
                  <a:ea typeface="+mn-ea"/>
                  <a:cs typeface="+mn-ea"/>
                  <a:sym typeface="+mn-lt"/>
                </a:rPr>
                <a:t>04</a:t>
              </a:r>
              <a:endParaRPr kumimoji="0" sz="2489" b="0" i="0" u="none" strike="noStrike" kern="1200" cap="none" spc="0" normalizeH="0" baseline="0" noProof="0">
                <a:ln>
                  <a:noFill/>
                </a:ln>
                <a:solidFill>
                  <a:schemeClr val="accent1"/>
                </a:solidFill>
                <a:effectLst/>
                <a:uLnTx/>
                <a:uFillTx/>
                <a:latin typeface="Arial"/>
                <a:ea typeface="+mn-ea"/>
                <a:cs typeface="+mn-ea"/>
                <a:sym typeface="+mn-lt"/>
              </a:endParaRPr>
            </a:p>
          </p:txBody>
        </p:sp>
        <p:sp>
          <p:nvSpPr>
            <p:cNvPr id="40" name="Google Shape;874;p27">
              <a:extLst>
                <a:ext uri="{FF2B5EF4-FFF2-40B4-BE49-F238E27FC236}">
                  <a16:creationId xmlns:a16="http://schemas.microsoft.com/office/drawing/2014/main" id="{B26279A0-9A83-4025-92D0-CC528E0DF7D6}"/>
                </a:ext>
              </a:extLst>
            </p:cNvPr>
            <p:cNvSpPr/>
            <p:nvPr/>
          </p:nvSpPr>
          <p:spPr>
            <a:xfrm>
              <a:off x="5842713" y="2498350"/>
              <a:ext cx="518525" cy="518550"/>
            </a:xfrm>
            <a:custGeom>
              <a:avLst/>
              <a:gdLst/>
              <a:ahLst/>
              <a:cxnLst/>
              <a:rect l="l" t="t" r="r" b="b"/>
              <a:pathLst>
                <a:path w="20741" h="20742" extrusionOk="0">
                  <a:moveTo>
                    <a:pt x="10370" y="1"/>
                  </a:moveTo>
                  <a:cubicBezTo>
                    <a:pt x="4644" y="1"/>
                    <a:pt x="0" y="4644"/>
                    <a:pt x="0" y="10371"/>
                  </a:cubicBezTo>
                  <a:cubicBezTo>
                    <a:pt x="0" y="16098"/>
                    <a:pt x="4644" y="20741"/>
                    <a:pt x="10370" y="20741"/>
                  </a:cubicBezTo>
                  <a:cubicBezTo>
                    <a:pt x="16097" y="20741"/>
                    <a:pt x="20741" y="16098"/>
                    <a:pt x="20741" y="10371"/>
                  </a:cubicBezTo>
                  <a:cubicBezTo>
                    <a:pt x="20741" y="4644"/>
                    <a:pt x="16097" y="1"/>
                    <a:pt x="10370" y="1"/>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41" name="Google Shape;875;p27">
              <a:extLst>
                <a:ext uri="{FF2B5EF4-FFF2-40B4-BE49-F238E27FC236}">
                  <a16:creationId xmlns:a16="http://schemas.microsoft.com/office/drawing/2014/main" id="{E0A0550B-60DE-4E7C-B11C-75763AC30321}"/>
                </a:ext>
              </a:extLst>
            </p:cNvPr>
            <p:cNvSpPr/>
            <p:nvPr/>
          </p:nvSpPr>
          <p:spPr>
            <a:xfrm>
              <a:off x="5867413" y="2523050"/>
              <a:ext cx="469125" cy="469425"/>
            </a:xfrm>
            <a:custGeom>
              <a:avLst/>
              <a:gdLst/>
              <a:ahLst/>
              <a:cxnLst/>
              <a:rect l="l" t="t" r="r" b="b"/>
              <a:pathLst>
                <a:path w="18765" h="18777" extrusionOk="0">
                  <a:moveTo>
                    <a:pt x="9382" y="1"/>
                  </a:moveTo>
                  <a:cubicBezTo>
                    <a:pt x="4203" y="1"/>
                    <a:pt x="0" y="4204"/>
                    <a:pt x="0" y="9383"/>
                  </a:cubicBezTo>
                  <a:cubicBezTo>
                    <a:pt x="0" y="14574"/>
                    <a:pt x="4203" y="18777"/>
                    <a:pt x="9382" y="18777"/>
                  </a:cubicBezTo>
                  <a:cubicBezTo>
                    <a:pt x="14562" y="18777"/>
                    <a:pt x="18765" y="14574"/>
                    <a:pt x="18765" y="9383"/>
                  </a:cubicBezTo>
                  <a:cubicBezTo>
                    <a:pt x="18765" y="4204"/>
                    <a:pt x="14562" y="1"/>
                    <a:pt x="9382" y="1"/>
                  </a:cubicBezTo>
                  <a:close/>
                </a:path>
              </a:pathLst>
            </a:custGeom>
            <a:solidFill>
              <a:srgbClr val="FFFFFF"/>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42" name="Google Shape;876;p27">
              <a:extLst>
                <a:ext uri="{FF2B5EF4-FFF2-40B4-BE49-F238E27FC236}">
                  <a16:creationId xmlns:a16="http://schemas.microsoft.com/office/drawing/2014/main" id="{5D5C156E-9755-4354-8359-DCD3D3815B4E}"/>
                </a:ext>
              </a:extLst>
            </p:cNvPr>
            <p:cNvSpPr/>
            <p:nvPr/>
          </p:nvSpPr>
          <p:spPr>
            <a:xfrm>
              <a:off x="5983788" y="2603425"/>
              <a:ext cx="236375" cy="328650"/>
            </a:xfrm>
            <a:custGeom>
              <a:avLst/>
              <a:gdLst/>
              <a:ahLst/>
              <a:cxnLst/>
              <a:rect l="l" t="t" r="r" b="b"/>
              <a:pathLst>
                <a:path w="9455" h="13146" extrusionOk="0">
                  <a:moveTo>
                    <a:pt x="4727" y="1167"/>
                  </a:moveTo>
                  <a:lnTo>
                    <a:pt x="5775" y="3287"/>
                  </a:lnTo>
                  <a:lnTo>
                    <a:pt x="8121" y="3632"/>
                  </a:lnTo>
                  <a:lnTo>
                    <a:pt x="6418" y="5275"/>
                  </a:lnTo>
                  <a:lnTo>
                    <a:pt x="6728" y="7025"/>
                  </a:lnTo>
                  <a:lnTo>
                    <a:pt x="6823" y="7609"/>
                  </a:lnTo>
                  <a:lnTo>
                    <a:pt x="5716" y="7025"/>
                  </a:lnTo>
                  <a:lnTo>
                    <a:pt x="4727" y="6513"/>
                  </a:lnTo>
                  <a:lnTo>
                    <a:pt x="3739" y="7025"/>
                  </a:lnTo>
                  <a:lnTo>
                    <a:pt x="2632" y="7609"/>
                  </a:lnTo>
                  <a:lnTo>
                    <a:pt x="2727" y="7025"/>
                  </a:lnTo>
                  <a:lnTo>
                    <a:pt x="3037" y="5275"/>
                  </a:lnTo>
                  <a:lnTo>
                    <a:pt x="1334" y="3632"/>
                  </a:lnTo>
                  <a:lnTo>
                    <a:pt x="3680" y="3287"/>
                  </a:lnTo>
                  <a:lnTo>
                    <a:pt x="4727" y="1167"/>
                  </a:lnTo>
                  <a:close/>
                  <a:moveTo>
                    <a:pt x="4727" y="1"/>
                  </a:moveTo>
                  <a:cubicBezTo>
                    <a:pt x="2525" y="1"/>
                    <a:pt x="667" y="1513"/>
                    <a:pt x="144" y="3549"/>
                  </a:cubicBezTo>
                  <a:cubicBezTo>
                    <a:pt x="48" y="3930"/>
                    <a:pt x="1" y="4323"/>
                    <a:pt x="1" y="4727"/>
                  </a:cubicBezTo>
                  <a:cubicBezTo>
                    <a:pt x="1" y="6382"/>
                    <a:pt x="846" y="7835"/>
                    <a:pt x="2120" y="8668"/>
                  </a:cubicBezTo>
                  <a:lnTo>
                    <a:pt x="1596" y="13145"/>
                  </a:lnTo>
                  <a:lnTo>
                    <a:pt x="4727" y="11645"/>
                  </a:lnTo>
                  <a:lnTo>
                    <a:pt x="7859" y="13145"/>
                  </a:lnTo>
                  <a:lnTo>
                    <a:pt x="7335" y="8668"/>
                  </a:lnTo>
                  <a:cubicBezTo>
                    <a:pt x="8621" y="7823"/>
                    <a:pt x="9454" y="6382"/>
                    <a:pt x="9454" y="4727"/>
                  </a:cubicBezTo>
                  <a:cubicBezTo>
                    <a:pt x="9454" y="4239"/>
                    <a:pt x="9383" y="3763"/>
                    <a:pt x="9240" y="3322"/>
                  </a:cubicBezTo>
                  <a:cubicBezTo>
                    <a:pt x="8645" y="1405"/>
                    <a:pt x="6871" y="12"/>
                    <a:pt x="4751" y="1"/>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43" name="Google Shape;877;p27">
              <a:extLst>
                <a:ext uri="{FF2B5EF4-FFF2-40B4-BE49-F238E27FC236}">
                  <a16:creationId xmlns:a16="http://schemas.microsoft.com/office/drawing/2014/main" id="{442F0498-254B-4449-8AD8-1AEAB1347993}"/>
                </a:ext>
              </a:extLst>
            </p:cNvPr>
            <p:cNvSpPr txBox="1"/>
            <p:nvPr/>
          </p:nvSpPr>
          <p:spPr>
            <a:xfrm>
              <a:off x="5035675" y="1895800"/>
              <a:ext cx="964200" cy="597300"/>
            </a:xfrm>
            <a:prstGeom prst="rect">
              <a:avLst/>
            </a:prstGeom>
            <a:noFill/>
            <a:ln>
              <a:noFill/>
            </a:ln>
          </p:spPr>
          <p:txBody>
            <a:bodyPr spcFirstLastPara="1" wrap="square" lIns="121900" tIns="121900" rIns="121900" bIns="12190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 sz="1600" b="0" i="0" u="none" strike="noStrike" kern="1200" cap="none" spc="0" normalizeH="0" baseline="0" noProof="0">
                  <a:ln>
                    <a:noFill/>
                  </a:ln>
                  <a:solidFill>
                    <a:srgbClr val="434343"/>
                  </a:solidFill>
                  <a:effectLst/>
                  <a:uLnTx/>
                  <a:uFillTx/>
                  <a:latin typeface="Arial"/>
                  <a:ea typeface="+mn-ea"/>
                  <a:cs typeface="+mn-ea"/>
                  <a:sym typeface="+mn-lt"/>
                </a:rPr>
                <a:t>Mars is a cold place</a:t>
              </a:r>
              <a:endParaRPr kumimoji="0" sz="1600" b="0" i="0" u="none" strike="noStrike" kern="1200" cap="none" spc="0" normalizeH="0" baseline="0" noProof="0">
                <a:ln>
                  <a:noFill/>
                </a:ln>
                <a:solidFill>
                  <a:srgbClr val="434343"/>
                </a:solidFill>
                <a:effectLst/>
                <a:uLnTx/>
                <a:uFillTx/>
                <a:latin typeface="Arial"/>
                <a:ea typeface="+mn-ea"/>
                <a:cs typeface="+mn-ea"/>
                <a:sym typeface="+mn-lt"/>
              </a:endParaRPr>
            </a:p>
          </p:txBody>
        </p:sp>
        <p:sp>
          <p:nvSpPr>
            <p:cNvPr id="44" name="Google Shape;878;p27">
              <a:extLst>
                <a:ext uri="{FF2B5EF4-FFF2-40B4-BE49-F238E27FC236}">
                  <a16:creationId xmlns:a16="http://schemas.microsoft.com/office/drawing/2014/main" id="{D072D746-CA8A-4B55-80E8-6118E939022D}"/>
                </a:ext>
              </a:extLst>
            </p:cNvPr>
            <p:cNvSpPr txBox="1"/>
            <p:nvPr/>
          </p:nvSpPr>
          <p:spPr>
            <a:xfrm>
              <a:off x="5035675" y="3002338"/>
              <a:ext cx="964200" cy="597300"/>
            </a:xfrm>
            <a:prstGeom prst="rect">
              <a:avLst/>
            </a:prstGeom>
            <a:noFill/>
            <a:ln>
              <a:noFill/>
            </a:ln>
          </p:spPr>
          <p:txBody>
            <a:bodyPr spcFirstLastPara="1" wrap="square" lIns="121900" tIns="121900" rIns="121900" bIns="12190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 sz="1600" b="0" i="0" u="none" strike="noStrike" kern="1200" cap="none" spc="0" normalizeH="0" baseline="0" noProof="0">
                  <a:ln>
                    <a:noFill/>
                  </a:ln>
                  <a:solidFill>
                    <a:srgbClr val="434343"/>
                  </a:solidFill>
                  <a:effectLst/>
                  <a:uLnTx/>
                  <a:uFillTx/>
                  <a:latin typeface="Arial"/>
                  <a:ea typeface="+mn-ea"/>
                  <a:cs typeface="+mn-ea"/>
                  <a:sym typeface="+mn-lt"/>
                </a:rPr>
                <a:t>Earth harbors life</a:t>
              </a:r>
              <a:endParaRPr kumimoji="0" sz="1600" b="0" i="0" u="none" strike="noStrike" kern="1200" cap="none" spc="0" normalizeH="0" baseline="0" noProof="0">
                <a:ln>
                  <a:noFill/>
                </a:ln>
                <a:solidFill>
                  <a:srgbClr val="434343"/>
                </a:solidFill>
                <a:effectLst/>
                <a:uLnTx/>
                <a:uFillTx/>
                <a:latin typeface="Arial"/>
                <a:ea typeface="+mn-ea"/>
                <a:cs typeface="+mn-ea"/>
                <a:sym typeface="+mn-lt"/>
              </a:endParaRPr>
            </a:p>
          </p:txBody>
        </p:sp>
      </p:grpSp>
    </p:spTree>
    <p:extLst>
      <p:ext uri="{BB962C8B-B14F-4D97-AF65-F5344CB8AC3E}">
        <p14:creationId xmlns:p14="http://schemas.microsoft.com/office/powerpoint/2010/main" val="2797042141"/>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7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Google Shape;884;p28">
            <a:extLst>
              <a:ext uri="{FF2B5EF4-FFF2-40B4-BE49-F238E27FC236}">
                <a16:creationId xmlns:a16="http://schemas.microsoft.com/office/drawing/2014/main" id="{652191BE-136F-471E-94C7-1D4D991FA30B}"/>
              </a:ext>
            </a:extLst>
          </p:cNvPr>
          <p:cNvSpPr/>
          <p:nvPr/>
        </p:nvSpPr>
        <p:spPr>
          <a:xfrm>
            <a:off x="5863017" y="1218391"/>
            <a:ext cx="49380" cy="4318881"/>
          </a:xfrm>
          <a:custGeom>
            <a:avLst/>
            <a:gdLst/>
            <a:ahLst/>
            <a:cxnLst/>
            <a:rect l="l" t="t" r="r" b="b"/>
            <a:pathLst>
              <a:path w="1609" h="140726" extrusionOk="0">
                <a:moveTo>
                  <a:pt x="804" y="0"/>
                </a:moveTo>
                <a:cubicBezTo>
                  <a:pt x="403" y="0"/>
                  <a:pt x="1" y="259"/>
                  <a:pt x="1" y="777"/>
                </a:cubicBezTo>
                <a:lnTo>
                  <a:pt x="1" y="39472"/>
                </a:lnTo>
                <a:lnTo>
                  <a:pt x="1" y="120470"/>
                </a:lnTo>
                <a:lnTo>
                  <a:pt x="1" y="139949"/>
                </a:lnTo>
                <a:cubicBezTo>
                  <a:pt x="1" y="140467"/>
                  <a:pt x="403" y="140726"/>
                  <a:pt x="804" y="140726"/>
                </a:cubicBezTo>
                <a:cubicBezTo>
                  <a:pt x="1206" y="140726"/>
                  <a:pt x="1608" y="140467"/>
                  <a:pt x="1608" y="139949"/>
                </a:cubicBezTo>
                <a:lnTo>
                  <a:pt x="1608" y="101254"/>
                </a:lnTo>
                <a:lnTo>
                  <a:pt x="1608" y="20256"/>
                </a:lnTo>
                <a:lnTo>
                  <a:pt x="1608" y="777"/>
                </a:lnTo>
                <a:cubicBezTo>
                  <a:pt x="1608" y="259"/>
                  <a:pt x="1206" y="0"/>
                  <a:pt x="804" y="0"/>
                </a:cubicBezTo>
                <a:close/>
              </a:path>
            </a:pathLst>
          </a:custGeom>
          <a:solidFill>
            <a:srgbClr val="E0E0E0"/>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3" name="Google Shape;885;p28">
            <a:extLst>
              <a:ext uri="{FF2B5EF4-FFF2-40B4-BE49-F238E27FC236}">
                <a16:creationId xmlns:a16="http://schemas.microsoft.com/office/drawing/2014/main" id="{A49FD46C-DFF6-4738-8CE9-4D25E3C24CBE}"/>
              </a:ext>
            </a:extLst>
          </p:cNvPr>
          <p:cNvSpPr/>
          <p:nvPr/>
        </p:nvSpPr>
        <p:spPr>
          <a:xfrm>
            <a:off x="4023156" y="1744220"/>
            <a:ext cx="49380" cy="3267257"/>
          </a:xfrm>
          <a:custGeom>
            <a:avLst/>
            <a:gdLst/>
            <a:ahLst/>
            <a:cxnLst/>
            <a:rect l="l" t="t" r="r" b="b"/>
            <a:pathLst>
              <a:path w="1609" h="106460" extrusionOk="0">
                <a:moveTo>
                  <a:pt x="804" y="0"/>
                </a:moveTo>
                <a:cubicBezTo>
                  <a:pt x="403" y="0"/>
                  <a:pt x="1" y="259"/>
                  <a:pt x="1" y="777"/>
                </a:cubicBezTo>
                <a:lnTo>
                  <a:pt x="1" y="22339"/>
                </a:lnTo>
                <a:lnTo>
                  <a:pt x="1" y="103337"/>
                </a:lnTo>
                <a:lnTo>
                  <a:pt x="1" y="105683"/>
                </a:lnTo>
                <a:cubicBezTo>
                  <a:pt x="1" y="106201"/>
                  <a:pt x="403" y="106460"/>
                  <a:pt x="804" y="106460"/>
                </a:cubicBezTo>
                <a:cubicBezTo>
                  <a:pt x="1206" y="106460"/>
                  <a:pt x="1608" y="106201"/>
                  <a:pt x="1608" y="105683"/>
                </a:cubicBezTo>
                <a:lnTo>
                  <a:pt x="1608" y="84121"/>
                </a:lnTo>
                <a:lnTo>
                  <a:pt x="1608" y="11695"/>
                </a:lnTo>
                <a:lnTo>
                  <a:pt x="1608" y="777"/>
                </a:lnTo>
                <a:cubicBezTo>
                  <a:pt x="1608" y="259"/>
                  <a:pt x="1206" y="0"/>
                  <a:pt x="804" y="0"/>
                </a:cubicBezTo>
                <a:close/>
              </a:path>
            </a:pathLst>
          </a:custGeom>
          <a:solidFill>
            <a:srgbClr val="E0E0E0"/>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4" name="Google Shape;886;p28">
            <a:extLst>
              <a:ext uri="{FF2B5EF4-FFF2-40B4-BE49-F238E27FC236}">
                <a16:creationId xmlns:a16="http://schemas.microsoft.com/office/drawing/2014/main" id="{A3860ECD-CA00-4219-B9EE-EB89DB6DC929}"/>
              </a:ext>
            </a:extLst>
          </p:cNvPr>
          <p:cNvSpPr/>
          <p:nvPr/>
        </p:nvSpPr>
        <p:spPr>
          <a:xfrm>
            <a:off x="7701435" y="1744220"/>
            <a:ext cx="49349" cy="3267257"/>
          </a:xfrm>
          <a:custGeom>
            <a:avLst/>
            <a:gdLst/>
            <a:ahLst/>
            <a:cxnLst/>
            <a:rect l="l" t="t" r="r" b="b"/>
            <a:pathLst>
              <a:path w="1608" h="106460" extrusionOk="0">
                <a:moveTo>
                  <a:pt x="804" y="0"/>
                </a:moveTo>
                <a:cubicBezTo>
                  <a:pt x="402" y="0"/>
                  <a:pt x="0" y="259"/>
                  <a:pt x="0" y="777"/>
                </a:cubicBezTo>
                <a:lnTo>
                  <a:pt x="0" y="22339"/>
                </a:lnTo>
                <a:lnTo>
                  <a:pt x="0" y="103337"/>
                </a:lnTo>
                <a:lnTo>
                  <a:pt x="0" y="105683"/>
                </a:lnTo>
                <a:cubicBezTo>
                  <a:pt x="0" y="106201"/>
                  <a:pt x="402" y="106460"/>
                  <a:pt x="804" y="106460"/>
                </a:cubicBezTo>
                <a:cubicBezTo>
                  <a:pt x="1206" y="106460"/>
                  <a:pt x="1607" y="106201"/>
                  <a:pt x="1607" y="105683"/>
                </a:cubicBezTo>
                <a:lnTo>
                  <a:pt x="1607" y="84121"/>
                </a:lnTo>
                <a:lnTo>
                  <a:pt x="1607" y="11695"/>
                </a:lnTo>
                <a:lnTo>
                  <a:pt x="1607" y="777"/>
                </a:lnTo>
                <a:cubicBezTo>
                  <a:pt x="1607" y="259"/>
                  <a:pt x="1206" y="0"/>
                  <a:pt x="804" y="0"/>
                </a:cubicBezTo>
                <a:close/>
              </a:path>
            </a:pathLst>
          </a:custGeom>
          <a:solidFill>
            <a:srgbClr val="E0E0E0"/>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grpSp>
        <p:nvGrpSpPr>
          <p:cNvPr id="5" name="Google Shape;887;p28">
            <a:extLst>
              <a:ext uri="{FF2B5EF4-FFF2-40B4-BE49-F238E27FC236}">
                <a16:creationId xmlns:a16="http://schemas.microsoft.com/office/drawing/2014/main" id="{67EA415B-011F-43F1-8661-F82EE67F6FB3}"/>
              </a:ext>
            </a:extLst>
          </p:cNvPr>
          <p:cNvGrpSpPr/>
          <p:nvPr/>
        </p:nvGrpSpPr>
        <p:grpSpPr>
          <a:xfrm>
            <a:off x="1417870" y="2147606"/>
            <a:ext cx="9356259" cy="2562787"/>
            <a:chOff x="1245688" y="1881700"/>
            <a:chExt cx="6652630" cy="1822232"/>
          </a:xfrm>
        </p:grpSpPr>
        <p:sp>
          <p:nvSpPr>
            <p:cNvPr id="6" name="Google Shape;888;p28">
              <a:extLst>
                <a:ext uri="{FF2B5EF4-FFF2-40B4-BE49-F238E27FC236}">
                  <a16:creationId xmlns:a16="http://schemas.microsoft.com/office/drawing/2014/main" id="{93507C51-4694-4426-848E-3092360F5628}"/>
                </a:ext>
              </a:extLst>
            </p:cNvPr>
            <p:cNvSpPr/>
            <p:nvPr/>
          </p:nvSpPr>
          <p:spPr>
            <a:xfrm>
              <a:off x="1245688" y="1881700"/>
              <a:ext cx="6652630" cy="1822232"/>
            </a:xfrm>
            <a:custGeom>
              <a:avLst/>
              <a:gdLst/>
              <a:ahLst/>
              <a:cxnLst/>
              <a:rect l="l" t="t" r="r" b="b"/>
              <a:pathLst>
                <a:path w="285858" h="83512" extrusionOk="0">
                  <a:moveTo>
                    <a:pt x="260164" y="1"/>
                  </a:moveTo>
                  <a:lnTo>
                    <a:pt x="260164" y="39613"/>
                  </a:lnTo>
                  <a:lnTo>
                    <a:pt x="16014" y="39613"/>
                  </a:lnTo>
                  <a:lnTo>
                    <a:pt x="0" y="13217"/>
                  </a:lnTo>
                  <a:lnTo>
                    <a:pt x="0" y="70283"/>
                  </a:lnTo>
                  <a:lnTo>
                    <a:pt x="16478" y="43899"/>
                  </a:lnTo>
                  <a:lnTo>
                    <a:pt x="260164" y="43899"/>
                  </a:lnTo>
                  <a:lnTo>
                    <a:pt x="260164" y="83511"/>
                  </a:lnTo>
                  <a:lnTo>
                    <a:pt x="285857" y="42351"/>
                  </a:lnTo>
                  <a:lnTo>
                    <a:pt x="260164" y="1"/>
                  </a:lnTo>
                  <a:close/>
                </a:path>
              </a:pathLst>
            </a:custGeom>
            <a:solidFill>
              <a:srgbClr val="E0E0E0"/>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7" name="Google Shape;889;p28">
              <a:extLst>
                <a:ext uri="{FF2B5EF4-FFF2-40B4-BE49-F238E27FC236}">
                  <a16:creationId xmlns:a16="http://schemas.microsoft.com/office/drawing/2014/main" id="{15E5D928-5912-43EC-B9D9-002152AEA22D}"/>
                </a:ext>
              </a:extLst>
            </p:cNvPr>
            <p:cNvSpPr txBox="1"/>
            <p:nvPr/>
          </p:nvSpPr>
          <p:spPr>
            <a:xfrm rot="-5400000">
              <a:off x="7033450" y="2638513"/>
              <a:ext cx="934800" cy="308700"/>
            </a:xfrm>
            <a:prstGeom prst="rect">
              <a:avLst/>
            </a:prstGeom>
            <a:noFill/>
            <a:ln>
              <a:noFill/>
            </a:ln>
          </p:spPr>
          <p:txBody>
            <a:bodyPr spcFirstLastPara="1" wrap="square" lIns="121900" tIns="121900" rIns="121900" bIns="1219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2267" b="0" i="0" u="none" strike="noStrike" kern="1200" cap="none" spc="0" normalizeH="0" baseline="0" noProof="0">
                  <a:ln>
                    <a:noFill/>
                  </a:ln>
                  <a:solidFill>
                    <a:srgbClr val="434343"/>
                  </a:solidFill>
                  <a:effectLst/>
                  <a:uLnTx/>
                  <a:uFillTx/>
                  <a:latin typeface="Arial"/>
                  <a:ea typeface="+mn-ea"/>
                  <a:cs typeface="+mn-ea"/>
                  <a:sym typeface="+mn-lt"/>
                </a:rPr>
                <a:t>Venus</a:t>
              </a:r>
              <a:endParaRPr kumimoji="0" sz="2267" b="0" i="0" u="none" strike="noStrike" kern="1200" cap="none" spc="0" normalizeH="0" baseline="0" noProof="0">
                <a:ln>
                  <a:noFill/>
                </a:ln>
                <a:solidFill>
                  <a:srgbClr val="434343"/>
                </a:solidFill>
                <a:effectLst/>
                <a:uLnTx/>
                <a:uFillTx/>
                <a:latin typeface="Arial"/>
                <a:ea typeface="+mn-ea"/>
                <a:cs typeface="+mn-ea"/>
                <a:sym typeface="+mn-lt"/>
              </a:endParaRPr>
            </a:p>
          </p:txBody>
        </p:sp>
      </p:grpSp>
      <p:grpSp>
        <p:nvGrpSpPr>
          <p:cNvPr id="8" name="Google Shape;890;p28">
            <a:extLst>
              <a:ext uri="{FF2B5EF4-FFF2-40B4-BE49-F238E27FC236}">
                <a16:creationId xmlns:a16="http://schemas.microsoft.com/office/drawing/2014/main" id="{1C0571C6-DE06-4AE4-A975-92338AA16E6A}"/>
              </a:ext>
            </a:extLst>
          </p:cNvPr>
          <p:cNvGrpSpPr/>
          <p:nvPr/>
        </p:nvGrpSpPr>
        <p:grpSpPr>
          <a:xfrm>
            <a:off x="2436525" y="1978546"/>
            <a:ext cx="1406124" cy="2920747"/>
            <a:chOff x="1827166" y="1704842"/>
            <a:chExt cx="1054593" cy="2190560"/>
          </a:xfrm>
        </p:grpSpPr>
        <p:sp>
          <p:nvSpPr>
            <p:cNvPr id="9" name="Google Shape;891;p28">
              <a:extLst>
                <a:ext uri="{FF2B5EF4-FFF2-40B4-BE49-F238E27FC236}">
                  <a16:creationId xmlns:a16="http://schemas.microsoft.com/office/drawing/2014/main" id="{961F1149-35C4-4E01-BB5E-899CBECB33E0}"/>
                </a:ext>
              </a:extLst>
            </p:cNvPr>
            <p:cNvSpPr/>
            <p:nvPr/>
          </p:nvSpPr>
          <p:spPr>
            <a:xfrm>
              <a:off x="2067522" y="3301780"/>
              <a:ext cx="593621" cy="593621"/>
            </a:xfrm>
            <a:custGeom>
              <a:avLst/>
              <a:gdLst/>
              <a:ahLst/>
              <a:cxnLst/>
              <a:rect l="l" t="t" r="r" b="b"/>
              <a:pathLst>
                <a:path w="25790" h="25790" extrusionOk="0">
                  <a:moveTo>
                    <a:pt x="12895" y="1"/>
                  </a:moveTo>
                  <a:cubicBezTo>
                    <a:pt x="5775" y="1"/>
                    <a:pt x="1" y="5775"/>
                    <a:pt x="1" y="12895"/>
                  </a:cubicBezTo>
                  <a:cubicBezTo>
                    <a:pt x="1" y="20015"/>
                    <a:pt x="5775" y="25790"/>
                    <a:pt x="12895" y="25790"/>
                  </a:cubicBezTo>
                  <a:cubicBezTo>
                    <a:pt x="20015" y="25790"/>
                    <a:pt x="25790" y="20015"/>
                    <a:pt x="25790" y="12895"/>
                  </a:cubicBezTo>
                  <a:cubicBezTo>
                    <a:pt x="25790" y="5775"/>
                    <a:pt x="20015" y="1"/>
                    <a:pt x="12895" y="1"/>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10" name="Google Shape;892;p28">
              <a:extLst>
                <a:ext uri="{FF2B5EF4-FFF2-40B4-BE49-F238E27FC236}">
                  <a16:creationId xmlns:a16="http://schemas.microsoft.com/office/drawing/2014/main" id="{C713DD31-6EE2-4EE3-B3A7-0AED2590B1F7}"/>
                </a:ext>
              </a:extLst>
            </p:cNvPr>
            <p:cNvSpPr/>
            <p:nvPr/>
          </p:nvSpPr>
          <p:spPr>
            <a:xfrm>
              <a:off x="2065335" y="1704842"/>
              <a:ext cx="597995" cy="597995"/>
            </a:xfrm>
            <a:custGeom>
              <a:avLst/>
              <a:gdLst/>
              <a:ahLst/>
              <a:cxnLst/>
              <a:rect l="l" t="t" r="r" b="b"/>
              <a:pathLst>
                <a:path w="25980" h="25980" extrusionOk="0">
                  <a:moveTo>
                    <a:pt x="12990" y="0"/>
                  </a:moveTo>
                  <a:cubicBezTo>
                    <a:pt x="5811" y="0"/>
                    <a:pt x="0" y="5822"/>
                    <a:pt x="0" y="12990"/>
                  </a:cubicBezTo>
                  <a:cubicBezTo>
                    <a:pt x="0" y="20169"/>
                    <a:pt x="5811" y="25980"/>
                    <a:pt x="12990" y="25980"/>
                  </a:cubicBezTo>
                  <a:cubicBezTo>
                    <a:pt x="20170" y="25980"/>
                    <a:pt x="25980" y="20169"/>
                    <a:pt x="25980" y="12990"/>
                  </a:cubicBezTo>
                  <a:cubicBezTo>
                    <a:pt x="25980" y="5822"/>
                    <a:pt x="20170" y="0"/>
                    <a:pt x="12990" y="0"/>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11" name="Google Shape;893;p28">
              <a:extLst>
                <a:ext uri="{FF2B5EF4-FFF2-40B4-BE49-F238E27FC236}">
                  <a16:creationId xmlns:a16="http://schemas.microsoft.com/office/drawing/2014/main" id="{6CC0D7C6-A310-4841-83EB-FA73C3816C21}"/>
                </a:ext>
              </a:extLst>
            </p:cNvPr>
            <p:cNvSpPr/>
            <p:nvPr/>
          </p:nvSpPr>
          <p:spPr>
            <a:xfrm>
              <a:off x="1827166" y="1831718"/>
              <a:ext cx="1054593" cy="911792"/>
            </a:xfrm>
            <a:custGeom>
              <a:avLst/>
              <a:gdLst/>
              <a:ahLst/>
              <a:cxnLst/>
              <a:rect l="l" t="t" r="r" b="b"/>
              <a:pathLst>
                <a:path w="45817" h="39613" extrusionOk="0">
                  <a:moveTo>
                    <a:pt x="45816" y="1"/>
                  </a:moveTo>
                  <a:lnTo>
                    <a:pt x="1" y="13217"/>
                  </a:lnTo>
                  <a:lnTo>
                    <a:pt x="1" y="39613"/>
                  </a:lnTo>
                  <a:lnTo>
                    <a:pt x="45816" y="39613"/>
                  </a:lnTo>
                  <a:lnTo>
                    <a:pt x="45816" y="1"/>
                  </a:lnTo>
                  <a:close/>
                </a:path>
              </a:pathLst>
            </a:custGeom>
            <a:solidFill>
              <a:srgbClr val="F4F3F2"/>
            </a:solidFill>
            <a:ln>
              <a:noFill/>
            </a:ln>
          </p:spPr>
          <p:txBody>
            <a:bodyPr spcFirstLastPara="1" wrap="square" lIns="121900" tIns="121900" rIns="121900" bIns="121900" anchor="b"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Tx/>
                <a:buNone/>
                <a:tabLst/>
                <a:defRPr/>
              </a:pPr>
              <a:r>
                <a:rPr kumimoji="0" lang="en" sz="1600" b="0" i="0" u="none" strike="noStrike" kern="1200" cap="none" spc="0" normalizeH="0" baseline="0" noProof="0">
                  <a:ln>
                    <a:noFill/>
                  </a:ln>
                  <a:solidFill>
                    <a:srgbClr val="434343"/>
                  </a:solidFill>
                  <a:effectLst/>
                  <a:uLnTx/>
                  <a:uFillTx/>
                  <a:latin typeface="Arial"/>
                  <a:ea typeface="+mn-ea"/>
                  <a:cs typeface="+mn-ea"/>
                  <a:sym typeface="+mn-lt"/>
                </a:rPr>
                <a:t>The Sun is a star</a:t>
              </a: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12" name="Google Shape;894;p28">
              <a:extLst>
                <a:ext uri="{FF2B5EF4-FFF2-40B4-BE49-F238E27FC236}">
                  <a16:creationId xmlns:a16="http://schemas.microsoft.com/office/drawing/2014/main" id="{DB141666-D50E-41DA-BD21-5499EF8BEA60}"/>
                </a:ext>
              </a:extLst>
            </p:cNvPr>
            <p:cNvSpPr/>
            <p:nvPr/>
          </p:nvSpPr>
          <p:spPr>
            <a:xfrm>
              <a:off x="1827166" y="2842197"/>
              <a:ext cx="1054593" cy="911792"/>
            </a:xfrm>
            <a:custGeom>
              <a:avLst/>
              <a:gdLst/>
              <a:ahLst/>
              <a:cxnLst/>
              <a:rect l="l" t="t" r="r" b="b"/>
              <a:pathLst>
                <a:path w="45817" h="39613" extrusionOk="0">
                  <a:moveTo>
                    <a:pt x="1" y="0"/>
                  </a:moveTo>
                  <a:lnTo>
                    <a:pt x="1" y="26384"/>
                  </a:lnTo>
                  <a:lnTo>
                    <a:pt x="45816" y="39612"/>
                  </a:lnTo>
                  <a:lnTo>
                    <a:pt x="45816" y="0"/>
                  </a:lnTo>
                  <a:close/>
                </a:path>
              </a:pathLst>
            </a:custGeom>
            <a:solidFill>
              <a:srgbClr val="F4F3F2"/>
            </a:solidFill>
            <a:ln>
              <a:noFill/>
            </a:ln>
          </p:spPr>
          <p:txBody>
            <a:bodyPr spcFirstLastPara="1" wrap="square" lIns="121900" tIns="121900" rIns="121900" bIns="12190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Tx/>
                <a:buNone/>
                <a:tabLst/>
                <a:defRPr/>
              </a:pPr>
              <a:r>
                <a:rPr kumimoji="0" lang="en" sz="1600" b="0" i="0" u="none" strike="noStrike" kern="1200" cap="none" spc="0" normalizeH="0" baseline="0" noProof="0">
                  <a:ln>
                    <a:noFill/>
                  </a:ln>
                  <a:solidFill>
                    <a:srgbClr val="434343"/>
                  </a:solidFill>
                  <a:effectLst/>
                  <a:uLnTx/>
                  <a:uFillTx/>
                  <a:latin typeface="Arial"/>
                  <a:ea typeface="+mn-ea"/>
                  <a:cs typeface="+mn-ea"/>
                  <a:sym typeface="+mn-lt"/>
                </a:rPr>
                <a:t>Jupiter is a gas giant</a:t>
              </a:r>
              <a:endParaRPr kumimoji="0" sz="1600" b="0" i="0" u="none" strike="noStrike" kern="1200" cap="none" spc="0" normalizeH="0" baseline="0" noProof="0">
                <a:ln>
                  <a:noFill/>
                </a:ln>
                <a:solidFill>
                  <a:srgbClr val="434343"/>
                </a:solidFill>
                <a:effectLst/>
                <a:uLnTx/>
                <a:uFillTx/>
                <a:latin typeface="Arial"/>
                <a:ea typeface="+mn-ea"/>
                <a:cs typeface="+mn-ea"/>
                <a:sym typeface="+mn-lt"/>
              </a:endParaRPr>
            </a:p>
          </p:txBody>
        </p:sp>
        <p:sp>
          <p:nvSpPr>
            <p:cNvPr id="13" name="Google Shape;895;p28">
              <a:extLst>
                <a:ext uri="{FF2B5EF4-FFF2-40B4-BE49-F238E27FC236}">
                  <a16:creationId xmlns:a16="http://schemas.microsoft.com/office/drawing/2014/main" id="{94E9F002-9B07-4168-88A1-59769515F92E}"/>
                </a:ext>
              </a:extLst>
            </p:cNvPr>
            <p:cNvSpPr/>
            <p:nvPr/>
          </p:nvSpPr>
          <p:spPr>
            <a:xfrm>
              <a:off x="2137682" y="3371940"/>
              <a:ext cx="453307" cy="453307"/>
            </a:xfrm>
            <a:custGeom>
              <a:avLst/>
              <a:gdLst/>
              <a:ahLst/>
              <a:cxnLst/>
              <a:rect l="l" t="t" r="r" b="b"/>
              <a:pathLst>
                <a:path w="19694" h="19694" extrusionOk="0">
                  <a:moveTo>
                    <a:pt x="9847" y="1"/>
                  </a:moveTo>
                  <a:cubicBezTo>
                    <a:pt x="4406" y="1"/>
                    <a:pt x="1" y="4406"/>
                    <a:pt x="1" y="9847"/>
                  </a:cubicBezTo>
                  <a:cubicBezTo>
                    <a:pt x="1" y="15288"/>
                    <a:pt x="4406" y="19694"/>
                    <a:pt x="9847" y="19694"/>
                  </a:cubicBezTo>
                  <a:cubicBezTo>
                    <a:pt x="15288" y="19694"/>
                    <a:pt x="19694" y="15288"/>
                    <a:pt x="19694" y="9847"/>
                  </a:cubicBezTo>
                  <a:cubicBezTo>
                    <a:pt x="19694" y="4406"/>
                    <a:pt x="15288" y="1"/>
                    <a:pt x="9847" y="1"/>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14" name="Google Shape;896;p28">
              <a:extLst>
                <a:ext uri="{FF2B5EF4-FFF2-40B4-BE49-F238E27FC236}">
                  <a16:creationId xmlns:a16="http://schemas.microsoft.com/office/drawing/2014/main" id="{DF6F6463-06BF-42B0-A76D-C6D6ED75F9DB}"/>
                </a:ext>
              </a:extLst>
            </p:cNvPr>
            <p:cNvSpPr/>
            <p:nvPr/>
          </p:nvSpPr>
          <p:spPr>
            <a:xfrm>
              <a:off x="2137682" y="1777188"/>
              <a:ext cx="453307" cy="453307"/>
            </a:xfrm>
            <a:custGeom>
              <a:avLst/>
              <a:gdLst/>
              <a:ahLst/>
              <a:cxnLst/>
              <a:rect l="l" t="t" r="r" b="b"/>
              <a:pathLst>
                <a:path w="19694" h="19694" extrusionOk="0">
                  <a:moveTo>
                    <a:pt x="9847" y="0"/>
                  </a:moveTo>
                  <a:cubicBezTo>
                    <a:pt x="4406" y="0"/>
                    <a:pt x="1" y="4406"/>
                    <a:pt x="1" y="9847"/>
                  </a:cubicBezTo>
                  <a:cubicBezTo>
                    <a:pt x="1" y="15288"/>
                    <a:pt x="4406" y="19693"/>
                    <a:pt x="9847" y="19693"/>
                  </a:cubicBezTo>
                  <a:cubicBezTo>
                    <a:pt x="15288" y="19693"/>
                    <a:pt x="19694" y="15288"/>
                    <a:pt x="19694" y="9847"/>
                  </a:cubicBezTo>
                  <a:cubicBezTo>
                    <a:pt x="19694" y="4406"/>
                    <a:pt x="15288" y="0"/>
                    <a:pt x="9847" y="0"/>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15" name="Google Shape;897;p28">
              <a:extLst>
                <a:ext uri="{FF2B5EF4-FFF2-40B4-BE49-F238E27FC236}">
                  <a16:creationId xmlns:a16="http://schemas.microsoft.com/office/drawing/2014/main" id="{9ADA1161-0D80-41F7-9A6B-C43CDAB3AF59}"/>
                </a:ext>
              </a:extLst>
            </p:cNvPr>
            <p:cNvSpPr/>
            <p:nvPr/>
          </p:nvSpPr>
          <p:spPr>
            <a:xfrm>
              <a:off x="2818169" y="2609506"/>
              <a:ext cx="59224" cy="366715"/>
            </a:xfrm>
            <a:custGeom>
              <a:avLst/>
              <a:gdLst/>
              <a:ahLst/>
              <a:cxnLst/>
              <a:rect l="l" t="t" r="r" b="b"/>
              <a:pathLst>
                <a:path w="2573" h="15932" extrusionOk="0">
                  <a:moveTo>
                    <a:pt x="1287" y="1"/>
                  </a:moveTo>
                  <a:cubicBezTo>
                    <a:pt x="584" y="1"/>
                    <a:pt x="1" y="584"/>
                    <a:pt x="1" y="1287"/>
                  </a:cubicBezTo>
                  <a:lnTo>
                    <a:pt x="1" y="14645"/>
                  </a:lnTo>
                  <a:cubicBezTo>
                    <a:pt x="1" y="15348"/>
                    <a:pt x="584" y="15931"/>
                    <a:pt x="1287" y="15931"/>
                  </a:cubicBezTo>
                  <a:cubicBezTo>
                    <a:pt x="2001" y="15931"/>
                    <a:pt x="2573" y="15348"/>
                    <a:pt x="2573" y="14645"/>
                  </a:cubicBezTo>
                  <a:lnTo>
                    <a:pt x="2573" y="1287"/>
                  </a:lnTo>
                  <a:cubicBezTo>
                    <a:pt x="2573" y="584"/>
                    <a:pt x="2001" y="1"/>
                    <a:pt x="1287" y="1"/>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grpSp>
          <p:nvGrpSpPr>
            <p:cNvPr id="16" name="Google Shape;898;p28">
              <a:extLst>
                <a:ext uri="{FF2B5EF4-FFF2-40B4-BE49-F238E27FC236}">
                  <a16:creationId xmlns:a16="http://schemas.microsoft.com/office/drawing/2014/main" id="{BA6B0C59-21D2-4997-8D31-C53AC69D871E}"/>
                </a:ext>
              </a:extLst>
            </p:cNvPr>
            <p:cNvGrpSpPr/>
            <p:nvPr/>
          </p:nvGrpSpPr>
          <p:grpSpPr>
            <a:xfrm>
              <a:off x="2227626" y="3462623"/>
              <a:ext cx="273435" cy="271961"/>
              <a:chOff x="-35482200" y="3561225"/>
              <a:chExt cx="292225" cy="290650"/>
            </a:xfrm>
          </p:grpSpPr>
          <p:sp>
            <p:nvSpPr>
              <p:cNvPr id="20" name="Google Shape;899;p28">
                <a:extLst>
                  <a:ext uri="{FF2B5EF4-FFF2-40B4-BE49-F238E27FC236}">
                    <a16:creationId xmlns:a16="http://schemas.microsoft.com/office/drawing/2014/main" id="{5BF26EEE-3E93-4B32-A1AE-F41D90C49C65}"/>
                  </a:ext>
                </a:extLst>
              </p:cNvPr>
              <p:cNvSpPr/>
              <p:nvPr/>
            </p:nvSpPr>
            <p:spPr>
              <a:xfrm>
                <a:off x="-35482200" y="3749475"/>
                <a:ext cx="292225" cy="102400"/>
              </a:xfrm>
              <a:custGeom>
                <a:avLst/>
                <a:gdLst/>
                <a:ahLst/>
                <a:cxnLst/>
                <a:rect l="l" t="t" r="r" b="b"/>
                <a:pathLst>
                  <a:path w="11689" h="4096" extrusionOk="0">
                    <a:moveTo>
                      <a:pt x="1701" y="0"/>
                    </a:moveTo>
                    <a:cubicBezTo>
                      <a:pt x="1040" y="0"/>
                      <a:pt x="473" y="315"/>
                      <a:pt x="63" y="819"/>
                    </a:cubicBezTo>
                    <a:cubicBezTo>
                      <a:pt x="0" y="945"/>
                      <a:pt x="0" y="1040"/>
                      <a:pt x="32" y="1166"/>
                    </a:cubicBezTo>
                    <a:cubicBezTo>
                      <a:pt x="63" y="1292"/>
                      <a:pt x="189" y="1355"/>
                      <a:pt x="347" y="1355"/>
                    </a:cubicBezTo>
                    <a:lnTo>
                      <a:pt x="1008" y="1355"/>
                    </a:lnTo>
                    <a:cubicBezTo>
                      <a:pt x="1418" y="1355"/>
                      <a:pt x="1670" y="1670"/>
                      <a:pt x="1670" y="2048"/>
                    </a:cubicBezTo>
                    <a:cubicBezTo>
                      <a:pt x="1670" y="2426"/>
                      <a:pt x="1355" y="2710"/>
                      <a:pt x="1008" y="2710"/>
                    </a:cubicBezTo>
                    <a:lnTo>
                      <a:pt x="347" y="2710"/>
                    </a:lnTo>
                    <a:cubicBezTo>
                      <a:pt x="221" y="2710"/>
                      <a:pt x="95" y="2773"/>
                      <a:pt x="32" y="2899"/>
                    </a:cubicBezTo>
                    <a:cubicBezTo>
                      <a:pt x="0" y="3025"/>
                      <a:pt x="0" y="3151"/>
                      <a:pt x="63" y="3245"/>
                    </a:cubicBezTo>
                    <a:cubicBezTo>
                      <a:pt x="410" y="3781"/>
                      <a:pt x="1040" y="4096"/>
                      <a:pt x="1701" y="4096"/>
                    </a:cubicBezTo>
                    <a:cubicBezTo>
                      <a:pt x="2615" y="4096"/>
                      <a:pt x="3371" y="3497"/>
                      <a:pt x="3655" y="2710"/>
                    </a:cubicBezTo>
                    <a:lnTo>
                      <a:pt x="8065" y="2710"/>
                    </a:lnTo>
                    <a:cubicBezTo>
                      <a:pt x="8317" y="3497"/>
                      <a:pt x="9073" y="4096"/>
                      <a:pt x="9987" y="4096"/>
                    </a:cubicBezTo>
                    <a:cubicBezTo>
                      <a:pt x="10649" y="4096"/>
                      <a:pt x="11247" y="3781"/>
                      <a:pt x="11594" y="3245"/>
                    </a:cubicBezTo>
                    <a:cubicBezTo>
                      <a:pt x="11688" y="3119"/>
                      <a:pt x="11688" y="3025"/>
                      <a:pt x="11625" y="2899"/>
                    </a:cubicBezTo>
                    <a:cubicBezTo>
                      <a:pt x="11594" y="2773"/>
                      <a:pt x="11468" y="2710"/>
                      <a:pt x="11310" y="2710"/>
                    </a:cubicBezTo>
                    <a:lnTo>
                      <a:pt x="10649" y="2710"/>
                    </a:lnTo>
                    <a:cubicBezTo>
                      <a:pt x="10271" y="2710"/>
                      <a:pt x="9987" y="2395"/>
                      <a:pt x="9987" y="2048"/>
                    </a:cubicBezTo>
                    <a:cubicBezTo>
                      <a:pt x="9987" y="1670"/>
                      <a:pt x="10302" y="1355"/>
                      <a:pt x="10649" y="1355"/>
                    </a:cubicBezTo>
                    <a:lnTo>
                      <a:pt x="11310" y="1355"/>
                    </a:lnTo>
                    <a:cubicBezTo>
                      <a:pt x="11436" y="1355"/>
                      <a:pt x="11562" y="1292"/>
                      <a:pt x="11625" y="1166"/>
                    </a:cubicBezTo>
                    <a:cubicBezTo>
                      <a:pt x="11688" y="1040"/>
                      <a:pt x="11688" y="945"/>
                      <a:pt x="11594" y="819"/>
                    </a:cubicBezTo>
                    <a:cubicBezTo>
                      <a:pt x="11247" y="315"/>
                      <a:pt x="10649" y="0"/>
                      <a:pt x="9987" y="0"/>
                    </a:cubicBezTo>
                    <a:cubicBezTo>
                      <a:pt x="9073" y="0"/>
                      <a:pt x="8349" y="567"/>
                      <a:pt x="8065" y="1355"/>
                    </a:cubicBezTo>
                    <a:lnTo>
                      <a:pt x="3655" y="1355"/>
                    </a:lnTo>
                    <a:cubicBezTo>
                      <a:pt x="3371" y="567"/>
                      <a:pt x="2615" y="0"/>
                      <a:pt x="1701" y="0"/>
                    </a:cubicBezTo>
                    <a:close/>
                  </a:path>
                </a:pathLst>
              </a:custGeom>
              <a:solidFill>
                <a:srgbClr val="FFFFFF"/>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21" name="Google Shape;900;p28">
                <a:extLst>
                  <a:ext uri="{FF2B5EF4-FFF2-40B4-BE49-F238E27FC236}">
                    <a16:creationId xmlns:a16="http://schemas.microsoft.com/office/drawing/2014/main" id="{71E0F81E-872D-424B-9151-1575EE1887F9}"/>
                  </a:ext>
                </a:extLst>
              </p:cNvPr>
              <p:cNvSpPr/>
              <p:nvPr/>
            </p:nvSpPr>
            <p:spPr>
              <a:xfrm>
                <a:off x="-35371150" y="3561225"/>
                <a:ext cx="68550" cy="68550"/>
              </a:xfrm>
              <a:custGeom>
                <a:avLst/>
                <a:gdLst/>
                <a:ahLst/>
                <a:cxnLst/>
                <a:rect l="l" t="t" r="r" b="b"/>
                <a:pathLst>
                  <a:path w="2742" h="2742" extrusionOk="0">
                    <a:moveTo>
                      <a:pt x="1355" y="1"/>
                    </a:moveTo>
                    <a:cubicBezTo>
                      <a:pt x="630" y="1"/>
                      <a:pt x="0" y="631"/>
                      <a:pt x="0" y="1387"/>
                    </a:cubicBezTo>
                    <a:cubicBezTo>
                      <a:pt x="0" y="2111"/>
                      <a:pt x="630" y="2741"/>
                      <a:pt x="1355" y="2741"/>
                    </a:cubicBezTo>
                    <a:cubicBezTo>
                      <a:pt x="2111" y="2741"/>
                      <a:pt x="2741" y="2111"/>
                      <a:pt x="2741" y="1387"/>
                    </a:cubicBezTo>
                    <a:cubicBezTo>
                      <a:pt x="2741" y="631"/>
                      <a:pt x="2111" y="1"/>
                      <a:pt x="1355" y="1"/>
                    </a:cubicBezTo>
                    <a:close/>
                  </a:path>
                </a:pathLst>
              </a:custGeom>
              <a:solidFill>
                <a:srgbClr val="FFFFFF"/>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22" name="Google Shape;901;p28">
                <a:extLst>
                  <a:ext uri="{FF2B5EF4-FFF2-40B4-BE49-F238E27FC236}">
                    <a16:creationId xmlns:a16="http://schemas.microsoft.com/office/drawing/2014/main" id="{E7DD2920-1A82-47AB-9A4F-8FF4A4971AC1}"/>
                  </a:ext>
                </a:extLst>
              </p:cNvPr>
              <p:cNvSpPr/>
              <p:nvPr/>
            </p:nvSpPr>
            <p:spPr>
              <a:xfrm>
                <a:off x="-35405025" y="3647075"/>
                <a:ext cx="136275" cy="119750"/>
              </a:xfrm>
              <a:custGeom>
                <a:avLst/>
                <a:gdLst/>
                <a:ahLst/>
                <a:cxnLst/>
                <a:rect l="l" t="t" r="r" b="b"/>
                <a:pathLst>
                  <a:path w="5451" h="4790" extrusionOk="0">
                    <a:moveTo>
                      <a:pt x="2710" y="1"/>
                    </a:moveTo>
                    <a:cubicBezTo>
                      <a:pt x="1387" y="1"/>
                      <a:pt x="253" y="1009"/>
                      <a:pt x="32" y="2300"/>
                    </a:cubicBezTo>
                    <a:cubicBezTo>
                      <a:pt x="1" y="2521"/>
                      <a:pt x="158" y="2710"/>
                      <a:pt x="410" y="2710"/>
                    </a:cubicBezTo>
                    <a:lnTo>
                      <a:pt x="2395" y="2710"/>
                    </a:lnTo>
                    <a:lnTo>
                      <a:pt x="2395" y="4789"/>
                    </a:lnTo>
                    <a:lnTo>
                      <a:pt x="3088" y="4789"/>
                    </a:lnTo>
                    <a:lnTo>
                      <a:pt x="3088" y="2710"/>
                    </a:lnTo>
                    <a:lnTo>
                      <a:pt x="5073" y="2710"/>
                    </a:lnTo>
                    <a:cubicBezTo>
                      <a:pt x="5293" y="2710"/>
                      <a:pt x="5451" y="2521"/>
                      <a:pt x="5451" y="2300"/>
                    </a:cubicBezTo>
                    <a:cubicBezTo>
                      <a:pt x="5230" y="977"/>
                      <a:pt x="4096" y="1"/>
                      <a:pt x="2710" y="1"/>
                    </a:cubicBezTo>
                    <a:close/>
                  </a:path>
                </a:pathLst>
              </a:custGeom>
              <a:solidFill>
                <a:srgbClr val="FFFFFF"/>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grpSp>
        <p:grpSp>
          <p:nvGrpSpPr>
            <p:cNvPr id="17" name="Google Shape;902;p28">
              <a:extLst>
                <a:ext uri="{FF2B5EF4-FFF2-40B4-BE49-F238E27FC236}">
                  <a16:creationId xmlns:a16="http://schemas.microsoft.com/office/drawing/2014/main" id="{7F51876D-50C5-4579-8443-AE21471C9A37}"/>
                </a:ext>
              </a:extLst>
            </p:cNvPr>
            <p:cNvGrpSpPr/>
            <p:nvPr/>
          </p:nvGrpSpPr>
          <p:grpSpPr>
            <a:xfrm>
              <a:off x="2221399" y="1867665"/>
              <a:ext cx="273435" cy="272382"/>
              <a:chOff x="-35123050" y="3561225"/>
              <a:chExt cx="292225" cy="291100"/>
            </a:xfrm>
          </p:grpSpPr>
          <p:sp>
            <p:nvSpPr>
              <p:cNvPr id="18" name="Google Shape;903;p28">
                <a:extLst>
                  <a:ext uri="{FF2B5EF4-FFF2-40B4-BE49-F238E27FC236}">
                    <a16:creationId xmlns:a16="http://schemas.microsoft.com/office/drawing/2014/main" id="{D9E62F85-DC62-47D3-94C8-9BFBC5DF14E5}"/>
                  </a:ext>
                </a:extLst>
              </p:cNvPr>
              <p:cNvSpPr/>
              <p:nvPr/>
            </p:nvSpPr>
            <p:spPr>
              <a:xfrm>
                <a:off x="-35123050" y="3629750"/>
                <a:ext cx="205575" cy="222575"/>
              </a:xfrm>
              <a:custGeom>
                <a:avLst/>
                <a:gdLst/>
                <a:ahLst/>
                <a:cxnLst/>
                <a:rect l="l" t="t" r="r" b="b"/>
                <a:pathLst>
                  <a:path w="8223" h="8903" extrusionOk="0">
                    <a:moveTo>
                      <a:pt x="2080" y="2710"/>
                    </a:moveTo>
                    <a:cubicBezTo>
                      <a:pt x="2458" y="2710"/>
                      <a:pt x="2741" y="3056"/>
                      <a:pt x="2741" y="3403"/>
                    </a:cubicBezTo>
                    <a:cubicBezTo>
                      <a:pt x="2741" y="3781"/>
                      <a:pt x="2426" y="4065"/>
                      <a:pt x="2080" y="4065"/>
                    </a:cubicBezTo>
                    <a:cubicBezTo>
                      <a:pt x="1733" y="4065"/>
                      <a:pt x="1418" y="3750"/>
                      <a:pt x="1418" y="3403"/>
                    </a:cubicBezTo>
                    <a:cubicBezTo>
                      <a:pt x="1418" y="3056"/>
                      <a:pt x="1670" y="2710"/>
                      <a:pt x="2080" y="2710"/>
                    </a:cubicBezTo>
                    <a:close/>
                    <a:moveTo>
                      <a:pt x="4127" y="2710"/>
                    </a:moveTo>
                    <a:cubicBezTo>
                      <a:pt x="4506" y="2710"/>
                      <a:pt x="4789" y="3056"/>
                      <a:pt x="4789" y="3403"/>
                    </a:cubicBezTo>
                    <a:cubicBezTo>
                      <a:pt x="4789" y="3781"/>
                      <a:pt x="4474" y="4065"/>
                      <a:pt x="4127" y="4065"/>
                    </a:cubicBezTo>
                    <a:cubicBezTo>
                      <a:pt x="3718" y="4065"/>
                      <a:pt x="3466" y="3750"/>
                      <a:pt x="3466" y="3403"/>
                    </a:cubicBezTo>
                    <a:cubicBezTo>
                      <a:pt x="3466" y="3056"/>
                      <a:pt x="3718" y="2710"/>
                      <a:pt x="4127" y="2710"/>
                    </a:cubicBezTo>
                    <a:close/>
                    <a:moveTo>
                      <a:pt x="6207" y="2710"/>
                    </a:moveTo>
                    <a:cubicBezTo>
                      <a:pt x="6616" y="2710"/>
                      <a:pt x="6868" y="3056"/>
                      <a:pt x="6868" y="3403"/>
                    </a:cubicBezTo>
                    <a:cubicBezTo>
                      <a:pt x="6868" y="3781"/>
                      <a:pt x="6553" y="4065"/>
                      <a:pt x="6207" y="4065"/>
                    </a:cubicBezTo>
                    <a:cubicBezTo>
                      <a:pt x="5829" y="4065"/>
                      <a:pt x="5545" y="3750"/>
                      <a:pt x="5545" y="3403"/>
                    </a:cubicBezTo>
                    <a:cubicBezTo>
                      <a:pt x="5514" y="3056"/>
                      <a:pt x="5829" y="2710"/>
                      <a:pt x="6207" y="2710"/>
                    </a:cubicBezTo>
                    <a:close/>
                    <a:moveTo>
                      <a:pt x="1733" y="0"/>
                    </a:moveTo>
                    <a:cubicBezTo>
                      <a:pt x="788" y="0"/>
                      <a:pt x="0" y="757"/>
                      <a:pt x="0" y="1702"/>
                    </a:cubicBezTo>
                    <a:lnTo>
                      <a:pt x="0" y="5136"/>
                    </a:lnTo>
                    <a:cubicBezTo>
                      <a:pt x="0" y="5955"/>
                      <a:pt x="630" y="6616"/>
                      <a:pt x="1418" y="6774"/>
                    </a:cubicBezTo>
                    <a:lnTo>
                      <a:pt x="1418" y="8570"/>
                    </a:lnTo>
                    <a:cubicBezTo>
                      <a:pt x="1418" y="8696"/>
                      <a:pt x="1481" y="8822"/>
                      <a:pt x="1607" y="8885"/>
                    </a:cubicBezTo>
                    <a:cubicBezTo>
                      <a:pt x="1649" y="8895"/>
                      <a:pt x="1695" y="8902"/>
                      <a:pt x="1739" y="8902"/>
                    </a:cubicBezTo>
                    <a:cubicBezTo>
                      <a:pt x="1828" y="8902"/>
                      <a:pt x="1912" y="8874"/>
                      <a:pt x="1954" y="8790"/>
                    </a:cubicBezTo>
                    <a:lnTo>
                      <a:pt x="3938" y="6837"/>
                    </a:lnTo>
                    <a:lnTo>
                      <a:pt x="6522" y="6837"/>
                    </a:lnTo>
                    <a:cubicBezTo>
                      <a:pt x="7467" y="6837"/>
                      <a:pt x="8223" y="6081"/>
                      <a:pt x="8223" y="5136"/>
                    </a:cubicBezTo>
                    <a:lnTo>
                      <a:pt x="8223" y="1702"/>
                    </a:lnTo>
                    <a:cubicBezTo>
                      <a:pt x="8223" y="757"/>
                      <a:pt x="7467" y="0"/>
                      <a:pt x="6522" y="0"/>
                    </a:cubicBezTo>
                    <a:close/>
                  </a:path>
                </a:pathLst>
              </a:custGeom>
              <a:solidFill>
                <a:srgbClr val="FFFFFF"/>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19" name="Google Shape;904;p28">
                <a:extLst>
                  <a:ext uri="{FF2B5EF4-FFF2-40B4-BE49-F238E27FC236}">
                    <a16:creationId xmlns:a16="http://schemas.microsoft.com/office/drawing/2014/main" id="{FC368DBD-D6E1-4A2B-9DB7-4B4D5140CB05}"/>
                  </a:ext>
                </a:extLst>
              </p:cNvPr>
              <p:cNvSpPr/>
              <p:nvPr/>
            </p:nvSpPr>
            <p:spPr>
              <a:xfrm>
                <a:off x="-35053750" y="3561225"/>
                <a:ext cx="222925" cy="221825"/>
              </a:xfrm>
              <a:custGeom>
                <a:avLst/>
                <a:gdLst/>
                <a:ahLst/>
                <a:cxnLst/>
                <a:rect l="l" t="t" r="r" b="b"/>
                <a:pathLst>
                  <a:path w="8917" h="8873" extrusionOk="0">
                    <a:moveTo>
                      <a:pt x="1702" y="1"/>
                    </a:moveTo>
                    <a:cubicBezTo>
                      <a:pt x="757" y="1"/>
                      <a:pt x="1" y="725"/>
                      <a:pt x="1" y="1702"/>
                    </a:cubicBezTo>
                    <a:lnTo>
                      <a:pt x="1" y="2048"/>
                    </a:lnTo>
                    <a:lnTo>
                      <a:pt x="3781" y="2048"/>
                    </a:lnTo>
                    <a:cubicBezTo>
                      <a:pt x="5136" y="2048"/>
                      <a:pt x="6207" y="3088"/>
                      <a:pt x="6207" y="4443"/>
                    </a:cubicBezTo>
                    <a:lnTo>
                      <a:pt x="6207" y="7877"/>
                    </a:lnTo>
                    <a:lnTo>
                      <a:pt x="6207" y="8003"/>
                    </a:lnTo>
                    <a:lnTo>
                      <a:pt x="6995" y="8790"/>
                    </a:lnTo>
                    <a:cubicBezTo>
                      <a:pt x="7055" y="8850"/>
                      <a:pt x="7127" y="8872"/>
                      <a:pt x="7205" y="8872"/>
                    </a:cubicBezTo>
                    <a:cubicBezTo>
                      <a:pt x="7249" y="8872"/>
                      <a:pt x="7295" y="8865"/>
                      <a:pt x="7341" y="8853"/>
                    </a:cubicBezTo>
                    <a:cubicBezTo>
                      <a:pt x="7467" y="8822"/>
                      <a:pt x="7530" y="8664"/>
                      <a:pt x="7530" y="8538"/>
                    </a:cubicBezTo>
                    <a:lnTo>
                      <a:pt x="7530" y="6806"/>
                    </a:lnTo>
                    <a:cubicBezTo>
                      <a:pt x="8318" y="6648"/>
                      <a:pt x="8917" y="5955"/>
                      <a:pt x="8917" y="5104"/>
                    </a:cubicBezTo>
                    <a:lnTo>
                      <a:pt x="8917" y="1702"/>
                    </a:lnTo>
                    <a:cubicBezTo>
                      <a:pt x="8917" y="725"/>
                      <a:pt x="8129" y="1"/>
                      <a:pt x="7184" y="1"/>
                    </a:cubicBezTo>
                    <a:close/>
                  </a:path>
                </a:pathLst>
              </a:custGeom>
              <a:solidFill>
                <a:srgbClr val="FFFFFF"/>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grpSp>
      </p:grpSp>
      <p:grpSp>
        <p:nvGrpSpPr>
          <p:cNvPr id="23" name="Google Shape;905;p28">
            <a:extLst>
              <a:ext uri="{FF2B5EF4-FFF2-40B4-BE49-F238E27FC236}">
                <a16:creationId xmlns:a16="http://schemas.microsoft.com/office/drawing/2014/main" id="{B7C507EE-AFF1-43BC-A434-0BCC55878381}"/>
              </a:ext>
            </a:extLst>
          </p:cNvPr>
          <p:cNvGrpSpPr/>
          <p:nvPr/>
        </p:nvGrpSpPr>
        <p:grpSpPr>
          <a:xfrm>
            <a:off x="6110048" y="1385473"/>
            <a:ext cx="1406503" cy="4068527"/>
            <a:chOff x="4582308" y="1260037"/>
            <a:chExt cx="1054877" cy="3051395"/>
          </a:xfrm>
        </p:grpSpPr>
        <p:sp>
          <p:nvSpPr>
            <p:cNvPr id="24" name="Google Shape;906;p28">
              <a:extLst>
                <a:ext uri="{FF2B5EF4-FFF2-40B4-BE49-F238E27FC236}">
                  <a16:creationId xmlns:a16="http://schemas.microsoft.com/office/drawing/2014/main" id="{8895846B-F540-47AA-AAD2-46625D060439}"/>
                </a:ext>
              </a:extLst>
            </p:cNvPr>
            <p:cNvSpPr/>
            <p:nvPr/>
          </p:nvSpPr>
          <p:spPr>
            <a:xfrm>
              <a:off x="4788391" y="3647653"/>
              <a:ext cx="664055" cy="663779"/>
            </a:xfrm>
            <a:custGeom>
              <a:avLst/>
              <a:gdLst/>
              <a:ahLst/>
              <a:cxnLst/>
              <a:rect l="l" t="t" r="r" b="b"/>
              <a:pathLst>
                <a:path w="28850" h="28838" extrusionOk="0">
                  <a:moveTo>
                    <a:pt x="14419" y="0"/>
                  </a:moveTo>
                  <a:cubicBezTo>
                    <a:pt x="6454" y="0"/>
                    <a:pt x="1" y="6454"/>
                    <a:pt x="1" y="14419"/>
                  </a:cubicBezTo>
                  <a:cubicBezTo>
                    <a:pt x="1" y="22384"/>
                    <a:pt x="6454" y="28837"/>
                    <a:pt x="14419" y="28837"/>
                  </a:cubicBezTo>
                  <a:cubicBezTo>
                    <a:pt x="22385" y="28837"/>
                    <a:pt x="28850" y="22384"/>
                    <a:pt x="28850" y="14419"/>
                  </a:cubicBezTo>
                  <a:cubicBezTo>
                    <a:pt x="28850" y="6454"/>
                    <a:pt x="22385" y="0"/>
                    <a:pt x="14419" y="0"/>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25" name="Google Shape;907;p28">
              <a:extLst>
                <a:ext uri="{FF2B5EF4-FFF2-40B4-BE49-F238E27FC236}">
                  <a16:creationId xmlns:a16="http://schemas.microsoft.com/office/drawing/2014/main" id="{3F4BDCBE-4D1E-4C0C-A996-2933DCB4CD97}"/>
                </a:ext>
              </a:extLst>
            </p:cNvPr>
            <p:cNvSpPr/>
            <p:nvPr/>
          </p:nvSpPr>
          <p:spPr>
            <a:xfrm>
              <a:off x="4775247" y="1260037"/>
              <a:ext cx="690088" cy="689811"/>
            </a:xfrm>
            <a:custGeom>
              <a:avLst/>
              <a:gdLst/>
              <a:ahLst/>
              <a:cxnLst/>
              <a:rect l="l" t="t" r="r" b="b"/>
              <a:pathLst>
                <a:path w="29981" h="29969" extrusionOk="0">
                  <a:moveTo>
                    <a:pt x="14990" y="0"/>
                  </a:moveTo>
                  <a:cubicBezTo>
                    <a:pt x="6716" y="0"/>
                    <a:pt x="0" y="6704"/>
                    <a:pt x="0" y="14978"/>
                  </a:cubicBezTo>
                  <a:cubicBezTo>
                    <a:pt x="0" y="23265"/>
                    <a:pt x="6716" y="29968"/>
                    <a:pt x="14990" y="29968"/>
                  </a:cubicBezTo>
                  <a:cubicBezTo>
                    <a:pt x="23277" y="29968"/>
                    <a:pt x="29980" y="23265"/>
                    <a:pt x="29980" y="14978"/>
                  </a:cubicBezTo>
                  <a:cubicBezTo>
                    <a:pt x="29980" y="6704"/>
                    <a:pt x="23277" y="0"/>
                    <a:pt x="14990" y="0"/>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26" name="Google Shape;908;p28">
              <a:extLst>
                <a:ext uri="{FF2B5EF4-FFF2-40B4-BE49-F238E27FC236}">
                  <a16:creationId xmlns:a16="http://schemas.microsoft.com/office/drawing/2014/main" id="{B7351032-C7E6-4345-8AC6-8D166416ABB4}"/>
                </a:ext>
              </a:extLst>
            </p:cNvPr>
            <p:cNvSpPr/>
            <p:nvPr/>
          </p:nvSpPr>
          <p:spPr>
            <a:xfrm>
              <a:off x="4582308" y="1437346"/>
              <a:ext cx="1054846" cy="1306151"/>
            </a:xfrm>
            <a:custGeom>
              <a:avLst/>
              <a:gdLst/>
              <a:ahLst/>
              <a:cxnLst/>
              <a:rect l="l" t="t" r="r" b="b"/>
              <a:pathLst>
                <a:path w="45828" h="56746" extrusionOk="0">
                  <a:moveTo>
                    <a:pt x="0" y="1"/>
                  </a:moveTo>
                  <a:lnTo>
                    <a:pt x="0" y="56746"/>
                  </a:lnTo>
                  <a:lnTo>
                    <a:pt x="45828" y="56746"/>
                  </a:lnTo>
                  <a:lnTo>
                    <a:pt x="45828" y="13229"/>
                  </a:lnTo>
                  <a:lnTo>
                    <a:pt x="0" y="1"/>
                  </a:lnTo>
                  <a:close/>
                </a:path>
              </a:pathLst>
            </a:custGeom>
            <a:solidFill>
              <a:srgbClr val="F4F3F2"/>
            </a:solidFill>
            <a:ln>
              <a:noFill/>
            </a:ln>
          </p:spPr>
          <p:txBody>
            <a:bodyPr spcFirstLastPara="1" wrap="square" lIns="121900" tIns="121900" rIns="121900" bIns="365733" anchor="b"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Tx/>
                <a:buNone/>
                <a:tabLst/>
                <a:defRPr/>
              </a:pPr>
              <a:r>
                <a:rPr kumimoji="0" lang="en" sz="1600" b="0" i="0" u="none" strike="noStrike" kern="1200" cap="none" spc="0" normalizeH="0" baseline="0" noProof="0">
                  <a:ln>
                    <a:noFill/>
                  </a:ln>
                  <a:solidFill>
                    <a:srgbClr val="434343"/>
                  </a:solidFill>
                  <a:effectLst/>
                  <a:uLnTx/>
                  <a:uFillTx/>
                  <a:latin typeface="Arial"/>
                  <a:ea typeface="+mn-ea"/>
                  <a:cs typeface="+mn-ea"/>
                  <a:sym typeface="+mn-lt"/>
                </a:rPr>
                <a:t>Earth harbors life</a:t>
              </a:r>
              <a:endParaRPr kumimoji="0" sz="1600" b="0" i="0" u="none" strike="noStrike" kern="1200" cap="none" spc="0" normalizeH="0" baseline="0" noProof="0">
                <a:ln>
                  <a:noFill/>
                </a:ln>
                <a:solidFill>
                  <a:srgbClr val="434343"/>
                </a:solidFill>
                <a:effectLst/>
                <a:uLnTx/>
                <a:uFillTx/>
                <a:latin typeface="Arial"/>
                <a:ea typeface="+mn-ea"/>
                <a:cs typeface="+mn-ea"/>
                <a:sym typeface="+mn-lt"/>
              </a:endParaRPr>
            </a:p>
          </p:txBody>
        </p:sp>
        <p:sp>
          <p:nvSpPr>
            <p:cNvPr id="27" name="Google Shape;909;p28">
              <a:extLst>
                <a:ext uri="{FF2B5EF4-FFF2-40B4-BE49-F238E27FC236}">
                  <a16:creationId xmlns:a16="http://schemas.microsoft.com/office/drawing/2014/main" id="{F12A0457-72A8-4A79-B91B-6097AB0E4E81}"/>
                </a:ext>
              </a:extLst>
            </p:cNvPr>
            <p:cNvSpPr/>
            <p:nvPr/>
          </p:nvSpPr>
          <p:spPr>
            <a:xfrm>
              <a:off x="4582308" y="2842197"/>
              <a:ext cx="1054846" cy="1306151"/>
            </a:xfrm>
            <a:custGeom>
              <a:avLst/>
              <a:gdLst/>
              <a:ahLst/>
              <a:cxnLst/>
              <a:rect l="l" t="t" r="r" b="b"/>
              <a:pathLst>
                <a:path w="45828" h="56746" extrusionOk="0">
                  <a:moveTo>
                    <a:pt x="0" y="0"/>
                  </a:moveTo>
                  <a:lnTo>
                    <a:pt x="0" y="56745"/>
                  </a:lnTo>
                  <a:lnTo>
                    <a:pt x="45828" y="43517"/>
                  </a:lnTo>
                  <a:lnTo>
                    <a:pt x="45828" y="0"/>
                  </a:lnTo>
                  <a:close/>
                </a:path>
              </a:pathLst>
            </a:custGeom>
            <a:solidFill>
              <a:srgbClr val="F4F3F2"/>
            </a:solidFill>
            <a:ln>
              <a:noFill/>
            </a:ln>
          </p:spPr>
          <p:txBody>
            <a:bodyPr spcFirstLastPara="1" wrap="square" lIns="121900" tIns="365733" rIns="121900" bIns="12190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Tx/>
                <a:buNone/>
                <a:tabLst/>
                <a:defRPr/>
              </a:pPr>
              <a:r>
                <a:rPr kumimoji="0" lang="en" sz="1600" b="0" i="0" u="none" strike="noStrike" kern="1200" cap="none" spc="0" normalizeH="0" baseline="0" noProof="0">
                  <a:ln>
                    <a:noFill/>
                  </a:ln>
                  <a:solidFill>
                    <a:srgbClr val="434343"/>
                  </a:solidFill>
                  <a:effectLst/>
                  <a:uLnTx/>
                  <a:uFillTx/>
                  <a:latin typeface="Arial"/>
                  <a:ea typeface="+mn-ea"/>
                  <a:cs typeface="+mn-ea"/>
                  <a:sym typeface="+mn-lt"/>
                </a:rPr>
                <a:t>Neptune is far away</a:t>
              </a:r>
              <a:endParaRPr kumimoji="0" sz="1600" b="0" i="0" u="none" strike="noStrike" kern="1200" cap="none" spc="0" normalizeH="0" baseline="0" noProof="0">
                <a:ln>
                  <a:noFill/>
                </a:ln>
                <a:solidFill>
                  <a:srgbClr val="434343"/>
                </a:solidFill>
                <a:effectLst/>
                <a:uLnTx/>
                <a:uFillTx/>
                <a:latin typeface="Arial"/>
                <a:ea typeface="+mn-ea"/>
                <a:cs typeface="+mn-ea"/>
                <a:sym typeface="+mn-lt"/>
              </a:endParaRPr>
            </a:p>
          </p:txBody>
        </p:sp>
        <p:sp>
          <p:nvSpPr>
            <p:cNvPr id="28" name="Google Shape;910;p28">
              <a:extLst>
                <a:ext uri="{FF2B5EF4-FFF2-40B4-BE49-F238E27FC236}">
                  <a16:creationId xmlns:a16="http://schemas.microsoft.com/office/drawing/2014/main" id="{91F08B5D-5ADB-4FC3-86E5-6ABE35BD5886}"/>
                </a:ext>
              </a:extLst>
            </p:cNvPr>
            <p:cNvSpPr/>
            <p:nvPr/>
          </p:nvSpPr>
          <p:spPr>
            <a:xfrm>
              <a:off x="4854177" y="1338690"/>
              <a:ext cx="532234" cy="532510"/>
            </a:xfrm>
            <a:custGeom>
              <a:avLst/>
              <a:gdLst/>
              <a:ahLst/>
              <a:cxnLst/>
              <a:rect l="l" t="t" r="r" b="b"/>
              <a:pathLst>
                <a:path w="23123" h="23135" extrusionOk="0">
                  <a:moveTo>
                    <a:pt x="11561" y="1"/>
                  </a:moveTo>
                  <a:cubicBezTo>
                    <a:pt x="5180" y="1"/>
                    <a:pt x="0" y="5180"/>
                    <a:pt x="0" y="11561"/>
                  </a:cubicBezTo>
                  <a:cubicBezTo>
                    <a:pt x="0" y="17955"/>
                    <a:pt x="5180" y="23134"/>
                    <a:pt x="11561" y="23134"/>
                  </a:cubicBezTo>
                  <a:cubicBezTo>
                    <a:pt x="17955" y="23134"/>
                    <a:pt x="23122" y="17955"/>
                    <a:pt x="23122" y="11561"/>
                  </a:cubicBezTo>
                  <a:cubicBezTo>
                    <a:pt x="23122" y="5180"/>
                    <a:pt x="17955" y="1"/>
                    <a:pt x="11561" y="1"/>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29" name="Google Shape;911;p28">
              <a:extLst>
                <a:ext uri="{FF2B5EF4-FFF2-40B4-BE49-F238E27FC236}">
                  <a16:creationId xmlns:a16="http://schemas.microsoft.com/office/drawing/2014/main" id="{2E5300F9-9567-4AF8-AF67-958242F9E0DD}"/>
                </a:ext>
              </a:extLst>
            </p:cNvPr>
            <p:cNvSpPr/>
            <p:nvPr/>
          </p:nvSpPr>
          <p:spPr>
            <a:xfrm>
              <a:off x="4854177" y="3713416"/>
              <a:ext cx="532234" cy="532234"/>
            </a:xfrm>
            <a:custGeom>
              <a:avLst/>
              <a:gdLst/>
              <a:ahLst/>
              <a:cxnLst/>
              <a:rect l="l" t="t" r="r" b="b"/>
              <a:pathLst>
                <a:path w="23123" h="23123" extrusionOk="0">
                  <a:moveTo>
                    <a:pt x="11561" y="1"/>
                  </a:moveTo>
                  <a:cubicBezTo>
                    <a:pt x="5180" y="1"/>
                    <a:pt x="0" y="5180"/>
                    <a:pt x="0" y="11562"/>
                  </a:cubicBezTo>
                  <a:cubicBezTo>
                    <a:pt x="0" y="17956"/>
                    <a:pt x="5180" y="23123"/>
                    <a:pt x="11561" y="23123"/>
                  </a:cubicBezTo>
                  <a:cubicBezTo>
                    <a:pt x="17955" y="23123"/>
                    <a:pt x="23122" y="17956"/>
                    <a:pt x="23122" y="11562"/>
                  </a:cubicBezTo>
                  <a:cubicBezTo>
                    <a:pt x="23122" y="5180"/>
                    <a:pt x="17955" y="1"/>
                    <a:pt x="11561" y="1"/>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30" name="Google Shape;912;p28">
              <a:extLst>
                <a:ext uri="{FF2B5EF4-FFF2-40B4-BE49-F238E27FC236}">
                  <a16:creationId xmlns:a16="http://schemas.microsoft.com/office/drawing/2014/main" id="{3F298EDD-9E8F-43CF-A15B-4C652909EFCD}"/>
                </a:ext>
              </a:extLst>
            </p:cNvPr>
            <p:cNvSpPr/>
            <p:nvPr/>
          </p:nvSpPr>
          <p:spPr>
            <a:xfrm>
              <a:off x="5577961" y="2609506"/>
              <a:ext cx="59224" cy="366715"/>
            </a:xfrm>
            <a:custGeom>
              <a:avLst/>
              <a:gdLst/>
              <a:ahLst/>
              <a:cxnLst/>
              <a:rect l="l" t="t" r="r" b="b"/>
              <a:pathLst>
                <a:path w="2573" h="15932" extrusionOk="0">
                  <a:moveTo>
                    <a:pt x="1287" y="1"/>
                  </a:moveTo>
                  <a:cubicBezTo>
                    <a:pt x="572" y="1"/>
                    <a:pt x="1" y="584"/>
                    <a:pt x="1" y="1287"/>
                  </a:cubicBezTo>
                  <a:lnTo>
                    <a:pt x="1" y="14645"/>
                  </a:lnTo>
                  <a:cubicBezTo>
                    <a:pt x="1" y="15348"/>
                    <a:pt x="572" y="15931"/>
                    <a:pt x="1287" y="15931"/>
                  </a:cubicBezTo>
                  <a:cubicBezTo>
                    <a:pt x="1989" y="15931"/>
                    <a:pt x="2573" y="15348"/>
                    <a:pt x="2573" y="14645"/>
                  </a:cubicBezTo>
                  <a:lnTo>
                    <a:pt x="2573" y="1287"/>
                  </a:lnTo>
                  <a:cubicBezTo>
                    <a:pt x="2573" y="584"/>
                    <a:pt x="1989" y="1"/>
                    <a:pt x="1287" y="1"/>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grpSp>
          <p:nvGrpSpPr>
            <p:cNvPr id="31" name="Google Shape;913;p28">
              <a:extLst>
                <a:ext uri="{FF2B5EF4-FFF2-40B4-BE49-F238E27FC236}">
                  <a16:creationId xmlns:a16="http://schemas.microsoft.com/office/drawing/2014/main" id="{AC122CEC-0191-499A-8B91-1E84CE37BC9F}"/>
                </a:ext>
              </a:extLst>
            </p:cNvPr>
            <p:cNvGrpSpPr/>
            <p:nvPr/>
          </p:nvGrpSpPr>
          <p:grpSpPr>
            <a:xfrm>
              <a:off x="4977517" y="1462907"/>
              <a:ext cx="287374" cy="286612"/>
              <a:chOff x="-30345325" y="3184750"/>
              <a:chExt cx="292225" cy="291450"/>
            </a:xfrm>
          </p:grpSpPr>
          <p:sp>
            <p:nvSpPr>
              <p:cNvPr id="37" name="Google Shape;914;p28">
                <a:extLst>
                  <a:ext uri="{FF2B5EF4-FFF2-40B4-BE49-F238E27FC236}">
                    <a16:creationId xmlns:a16="http://schemas.microsoft.com/office/drawing/2014/main" id="{EA99F380-E89A-48C9-9241-44C1DB0BAA7B}"/>
                  </a:ext>
                </a:extLst>
              </p:cNvPr>
              <p:cNvSpPr/>
              <p:nvPr/>
            </p:nvSpPr>
            <p:spPr>
              <a:xfrm>
                <a:off x="-30328000" y="3184750"/>
                <a:ext cx="258375" cy="120950"/>
              </a:xfrm>
              <a:custGeom>
                <a:avLst/>
                <a:gdLst/>
                <a:ahLst/>
                <a:cxnLst/>
                <a:rect l="l" t="t" r="r" b="b"/>
                <a:pathLst>
                  <a:path w="10335" h="4838" extrusionOk="0">
                    <a:moveTo>
                      <a:pt x="1040" y="0"/>
                    </a:moveTo>
                    <a:cubicBezTo>
                      <a:pt x="473" y="0"/>
                      <a:pt x="1" y="473"/>
                      <a:pt x="1" y="1071"/>
                    </a:cubicBezTo>
                    <a:lnTo>
                      <a:pt x="1" y="2458"/>
                    </a:lnTo>
                    <a:cubicBezTo>
                      <a:pt x="1" y="2993"/>
                      <a:pt x="473" y="3466"/>
                      <a:pt x="1040" y="3466"/>
                    </a:cubicBezTo>
                    <a:lnTo>
                      <a:pt x="2048" y="3466"/>
                    </a:lnTo>
                    <a:lnTo>
                      <a:pt x="2048" y="4505"/>
                    </a:lnTo>
                    <a:cubicBezTo>
                      <a:pt x="2048" y="4663"/>
                      <a:pt x="2143" y="4757"/>
                      <a:pt x="2269" y="4820"/>
                    </a:cubicBezTo>
                    <a:cubicBezTo>
                      <a:pt x="2300" y="4831"/>
                      <a:pt x="2339" y="4838"/>
                      <a:pt x="2380" y="4838"/>
                    </a:cubicBezTo>
                    <a:cubicBezTo>
                      <a:pt x="2461" y="4838"/>
                      <a:pt x="2552" y="4810"/>
                      <a:pt x="2615" y="4726"/>
                    </a:cubicBezTo>
                    <a:lnTo>
                      <a:pt x="3876" y="3466"/>
                    </a:lnTo>
                    <a:lnTo>
                      <a:pt x="6365" y="3466"/>
                    </a:lnTo>
                    <a:lnTo>
                      <a:pt x="7625" y="4726"/>
                    </a:lnTo>
                    <a:cubicBezTo>
                      <a:pt x="7688" y="4810"/>
                      <a:pt x="7765" y="4838"/>
                      <a:pt x="7846" y="4838"/>
                    </a:cubicBezTo>
                    <a:cubicBezTo>
                      <a:pt x="7887" y="4838"/>
                      <a:pt x="7929" y="4831"/>
                      <a:pt x="7971" y="4820"/>
                    </a:cubicBezTo>
                    <a:cubicBezTo>
                      <a:pt x="8097" y="4789"/>
                      <a:pt x="8160" y="4631"/>
                      <a:pt x="8160" y="4505"/>
                    </a:cubicBezTo>
                    <a:lnTo>
                      <a:pt x="8160" y="3466"/>
                    </a:lnTo>
                    <a:lnTo>
                      <a:pt x="9231" y="3466"/>
                    </a:lnTo>
                    <a:cubicBezTo>
                      <a:pt x="9862" y="3466"/>
                      <a:pt x="10334" y="2993"/>
                      <a:pt x="10334" y="2458"/>
                    </a:cubicBezTo>
                    <a:lnTo>
                      <a:pt x="10334" y="1071"/>
                    </a:lnTo>
                    <a:cubicBezTo>
                      <a:pt x="10334" y="536"/>
                      <a:pt x="9862" y="0"/>
                      <a:pt x="9294" y="0"/>
                    </a:cubicBezTo>
                    <a:close/>
                  </a:path>
                </a:pathLst>
              </a:custGeom>
              <a:solidFill>
                <a:srgbClr val="FFFFFF"/>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38" name="Google Shape;915;p28">
                <a:extLst>
                  <a:ext uri="{FF2B5EF4-FFF2-40B4-BE49-F238E27FC236}">
                    <a16:creationId xmlns:a16="http://schemas.microsoft.com/office/drawing/2014/main" id="{09C3C2C0-4688-4388-B293-F253EEC1754E}"/>
                  </a:ext>
                </a:extLst>
              </p:cNvPr>
              <p:cNvSpPr/>
              <p:nvPr/>
            </p:nvSpPr>
            <p:spPr>
              <a:xfrm>
                <a:off x="-30310675" y="3322575"/>
                <a:ext cx="68550" cy="69350"/>
              </a:xfrm>
              <a:custGeom>
                <a:avLst/>
                <a:gdLst/>
                <a:ahLst/>
                <a:cxnLst/>
                <a:rect l="l" t="t" r="r" b="b"/>
                <a:pathLst>
                  <a:path w="2742" h="2774" extrusionOk="0">
                    <a:moveTo>
                      <a:pt x="1387" y="1"/>
                    </a:moveTo>
                    <a:cubicBezTo>
                      <a:pt x="599" y="1"/>
                      <a:pt x="1" y="631"/>
                      <a:pt x="1" y="1387"/>
                    </a:cubicBezTo>
                    <a:cubicBezTo>
                      <a:pt x="1" y="2143"/>
                      <a:pt x="599" y="2773"/>
                      <a:pt x="1387" y="2773"/>
                    </a:cubicBezTo>
                    <a:cubicBezTo>
                      <a:pt x="2143" y="2773"/>
                      <a:pt x="2742" y="2143"/>
                      <a:pt x="2742" y="1387"/>
                    </a:cubicBezTo>
                    <a:cubicBezTo>
                      <a:pt x="2742" y="631"/>
                      <a:pt x="2143" y="1"/>
                      <a:pt x="1387" y="1"/>
                    </a:cubicBezTo>
                    <a:close/>
                  </a:path>
                </a:pathLst>
              </a:custGeom>
              <a:solidFill>
                <a:srgbClr val="FFFFFF"/>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39" name="Google Shape;916;p28">
                <a:extLst>
                  <a:ext uri="{FF2B5EF4-FFF2-40B4-BE49-F238E27FC236}">
                    <a16:creationId xmlns:a16="http://schemas.microsoft.com/office/drawing/2014/main" id="{9B5B4721-7950-4E26-ABC4-1B2D09ADEC6D}"/>
                  </a:ext>
                </a:extLst>
              </p:cNvPr>
              <p:cNvSpPr/>
              <p:nvPr/>
            </p:nvSpPr>
            <p:spPr>
              <a:xfrm>
                <a:off x="-30345325" y="3408425"/>
                <a:ext cx="137075" cy="67775"/>
              </a:xfrm>
              <a:custGeom>
                <a:avLst/>
                <a:gdLst/>
                <a:ahLst/>
                <a:cxnLst/>
                <a:rect l="l" t="t" r="r" b="b"/>
                <a:pathLst>
                  <a:path w="5483" h="2711" extrusionOk="0">
                    <a:moveTo>
                      <a:pt x="2741" y="1"/>
                    </a:moveTo>
                    <a:cubicBezTo>
                      <a:pt x="1387" y="1"/>
                      <a:pt x="221" y="1040"/>
                      <a:pt x="32" y="2332"/>
                    </a:cubicBezTo>
                    <a:cubicBezTo>
                      <a:pt x="0" y="2521"/>
                      <a:pt x="158" y="2710"/>
                      <a:pt x="378" y="2710"/>
                    </a:cubicBezTo>
                    <a:lnTo>
                      <a:pt x="5104" y="2710"/>
                    </a:lnTo>
                    <a:cubicBezTo>
                      <a:pt x="5325" y="2710"/>
                      <a:pt x="5482" y="2521"/>
                      <a:pt x="5482" y="2332"/>
                    </a:cubicBezTo>
                    <a:cubicBezTo>
                      <a:pt x="5262" y="977"/>
                      <a:pt x="4128" y="1"/>
                      <a:pt x="2741" y="1"/>
                    </a:cubicBezTo>
                    <a:close/>
                  </a:path>
                </a:pathLst>
              </a:custGeom>
              <a:solidFill>
                <a:srgbClr val="FFFFFF"/>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40" name="Google Shape;917;p28">
                <a:extLst>
                  <a:ext uri="{FF2B5EF4-FFF2-40B4-BE49-F238E27FC236}">
                    <a16:creationId xmlns:a16="http://schemas.microsoft.com/office/drawing/2014/main" id="{A812E4D6-441B-4195-969A-F78DC7F08D5A}"/>
                  </a:ext>
                </a:extLst>
              </p:cNvPr>
              <p:cNvSpPr/>
              <p:nvPr/>
            </p:nvSpPr>
            <p:spPr>
              <a:xfrm>
                <a:off x="-30156300" y="3322575"/>
                <a:ext cx="68550" cy="69350"/>
              </a:xfrm>
              <a:custGeom>
                <a:avLst/>
                <a:gdLst/>
                <a:ahLst/>
                <a:cxnLst/>
                <a:rect l="l" t="t" r="r" b="b"/>
                <a:pathLst>
                  <a:path w="2742" h="2774" extrusionOk="0">
                    <a:moveTo>
                      <a:pt x="1387" y="1"/>
                    </a:moveTo>
                    <a:cubicBezTo>
                      <a:pt x="631" y="1"/>
                      <a:pt x="1" y="631"/>
                      <a:pt x="1" y="1387"/>
                    </a:cubicBezTo>
                    <a:cubicBezTo>
                      <a:pt x="1" y="2143"/>
                      <a:pt x="631" y="2773"/>
                      <a:pt x="1387" y="2773"/>
                    </a:cubicBezTo>
                    <a:cubicBezTo>
                      <a:pt x="2111" y="2773"/>
                      <a:pt x="2742" y="2143"/>
                      <a:pt x="2742" y="1387"/>
                    </a:cubicBezTo>
                    <a:cubicBezTo>
                      <a:pt x="2742" y="631"/>
                      <a:pt x="2111" y="1"/>
                      <a:pt x="1387" y="1"/>
                    </a:cubicBezTo>
                    <a:close/>
                  </a:path>
                </a:pathLst>
              </a:custGeom>
              <a:solidFill>
                <a:srgbClr val="FFFFFF"/>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41" name="Google Shape;918;p28">
                <a:extLst>
                  <a:ext uri="{FF2B5EF4-FFF2-40B4-BE49-F238E27FC236}">
                    <a16:creationId xmlns:a16="http://schemas.microsoft.com/office/drawing/2014/main" id="{BD789A8E-172D-436E-9D12-19BEB2709330}"/>
                  </a:ext>
                </a:extLst>
              </p:cNvPr>
              <p:cNvSpPr/>
              <p:nvPr/>
            </p:nvSpPr>
            <p:spPr>
              <a:xfrm>
                <a:off x="-30190950" y="3408425"/>
                <a:ext cx="137850" cy="67775"/>
              </a:xfrm>
              <a:custGeom>
                <a:avLst/>
                <a:gdLst/>
                <a:ahLst/>
                <a:cxnLst/>
                <a:rect l="l" t="t" r="r" b="b"/>
                <a:pathLst>
                  <a:path w="5514" h="2711" extrusionOk="0">
                    <a:moveTo>
                      <a:pt x="2773" y="1"/>
                    </a:moveTo>
                    <a:cubicBezTo>
                      <a:pt x="1387" y="1"/>
                      <a:pt x="252" y="1040"/>
                      <a:pt x="32" y="2332"/>
                    </a:cubicBezTo>
                    <a:cubicBezTo>
                      <a:pt x="0" y="2521"/>
                      <a:pt x="158" y="2710"/>
                      <a:pt x="410" y="2710"/>
                    </a:cubicBezTo>
                    <a:lnTo>
                      <a:pt x="5167" y="2710"/>
                    </a:lnTo>
                    <a:cubicBezTo>
                      <a:pt x="5356" y="2710"/>
                      <a:pt x="5514" y="2521"/>
                      <a:pt x="5514" y="2332"/>
                    </a:cubicBezTo>
                    <a:cubicBezTo>
                      <a:pt x="5293" y="977"/>
                      <a:pt x="4128" y="1"/>
                      <a:pt x="2773" y="1"/>
                    </a:cubicBezTo>
                    <a:close/>
                  </a:path>
                </a:pathLst>
              </a:custGeom>
              <a:solidFill>
                <a:srgbClr val="FFFFFF"/>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grpSp>
        <p:grpSp>
          <p:nvGrpSpPr>
            <p:cNvPr id="32" name="Google Shape;919;p28">
              <a:extLst>
                <a:ext uri="{FF2B5EF4-FFF2-40B4-BE49-F238E27FC236}">
                  <a16:creationId xmlns:a16="http://schemas.microsoft.com/office/drawing/2014/main" id="{C3C15183-CC7B-4AF8-BB25-D05CE31C2AC7}"/>
                </a:ext>
              </a:extLst>
            </p:cNvPr>
            <p:cNvGrpSpPr/>
            <p:nvPr/>
          </p:nvGrpSpPr>
          <p:grpSpPr>
            <a:xfrm>
              <a:off x="4977530" y="3836143"/>
              <a:ext cx="286612" cy="287054"/>
              <a:chOff x="-31093575" y="3552550"/>
              <a:chExt cx="291450" cy="291900"/>
            </a:xfrm>
          </p:grpSpPr>
          <p:sp>
            <p:nvSpPr>
              <p:cNvPr id="33" name="Google Shape;920;p28">
                <a:extLst>
                  <a:ext uri="{FF2B5EF4-FFF2-40B4-BE49-F238E27FC236}">
                    <a16:creationId xmlns:a16="http://schemas.microsoft.com/office/drawing/2014/main" id="{D10D9431-54F6-4055-BA52-3B24FCFBC596}"/>
                  </a:ext>
                </a:extLst>
              </p:cNvPr>
              <p:cNvSpPr/>
              <p:nvPr/>
            </p:nvSpPr>
            <p:spPr>
              <a:xfrm>
                <a:off x="-31011650" y="3745525"/>
                <a:ext cx="7900" cy="12625"/>
              </a:xfrm>
              <a:custGeom>
                <a:avLst/>
                <a:gdLst/>
                <a:ahLst/>
                <a:cxnLst/>
                <a:rect l="l" t="t" r="r" b="b"/>
                <a:pathLst>
                  <a:path w="316" h="505" extrusionOk="0">
                    <a:moveTo>
                      <a:pt x="158" y="1"/>
                    </a:moveTo>
                    <a:lnTo>
                      <a:pt x="0" y="505"/>
                    </a:lnTo>
                    <a:lnTo>
                      <a:pt x="315" y="505"/>
                    </a:lnTo>
                    <a:lnTo>
                      <a:pt x="158" y="1"/>
                    </a:lnTo>
                    <a:close/>
                  </a:path>
                </a:pathLst>
              </a:custGeom>
              <a:solidFill>
                <a:srgbClr val="FFFFFF"/>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34" name="Google Shape;921;p28">
                <a:extLst>
                  <a:ext uri="{FF2B5EF4-FFF2-40B4-BE49-F238E27FC236}">
                    <a16:creationId xmlns:a16="http://schemas.microsoft.com/office/drawing/2014/main" id="{C318E993-FB00-47A7-8AA8-A2DAECE3D1E6}"/>
                  </a:ext>
                </a:extLst>
              </p:cNvPr>
              <p:cNvSpPr/>
              <p:nvPr/>
            </p:nvSpPr>
            <p:spPr>
              <a:xfrm>
                <a:off x="-31093575" y="3671500"/>
                <a:ext cx="171725" cy="172950"/>
              </a:xfrm>
              <a:custGeom>
                <a:avLst/>
                <a:gdLst/>
                <a:ahLst/>
                <a:cxnLst/>
                <a:rect l="l" t="t" r="r" b="b"/>
                <a:pathLst>
                  <a:path w="6869" h="6918" extrusionOk="0">
                    <a:moveTo>
                      <a:pt x="3427" y="1449"/>
                    </a:moveTo>
                    <a:cubicBezTo>
                      <a:pt x="3569" y="1449"/>
                      <a:pt x="3718" y="1512"/>
                      <a:pt x="3781" y="1638"/>
                    </a:cubicBezTo>
                    <a:lnTo>
                      <a:pt x="4317" y="3466"/>
                    </a:lnTo>
                    <a:lnTo>
                      <a:pt x="4474" y="3466"/>
                    </a:lnTo>
                    <a:cubicBezTo>
                      <a:pt x="4695" y="3466"/>
                      <a:pt x="4852" y="3623"/>
                      <a:pt x="4852" y="3812"/>
                    </a:cubicBezTo>
                    <a:cubicBezTo>
                      <a:pt x="4852" y="3970"/>
                      <a:pt x="4726" y="4127"/>
                      <a:pt x="4537" y="4127"/>
                    </a:cubicBezTo>
                    <a:lnTo>
                      <a:pt x="4789" y="5072"/>
                    </a:lnTo>
                    <a:cubicBezTo>
                      <a:pt x="4852" y="5262"/>
                      <a:pt x="4758" y="5419"/>
                      <a:pt x="4569" y="5514"/>
                    </a:cubicBezTo>
                    <a:cubicBezTo>
                      <a:pt x="4545" y="5518"/>
                      <a:pt x="4521" y="5520"/>
                      <a:pt x="4498" y="5520"/>
                    </a:cubicBezTo>
                    <a:cubicBezTo>
                      <a:pt x="4341" y="5520"/>
                      <a:pt x="4210" y="5427"/>
                      <a:pt x="4128" y="5262"/>
                    </a:cubicBezTo>
                    <a:lnTo>
                      <a:pt x="3781" y="4127"/>
                    </a:lnTo>
                    <a:lnTo>
                      <a:pt x="3057" y="4127"/>
                    </a:lnTo>
                    <a:lnTo>
                      <a:pt x="2710" y="5262"/>
                    </a:lnTo>
                    <a:cubicBezTo>
                      <a:pt x="2683" y="5427"/>
                      <a:pt x="2535" y="5520"/>
                      <a:pt x="2351" y="5520"/>
                    </a:cubicBezTo>
                    <a:cubicBezTo>
                      <a:pt x="2325" y="5520"/>
                      <a:pt x="2297" y="5518"/>
                      <a:pt x="2269" y="5514"/>
                    </a:cubicBezTo>
                    <a:cubicBezTo>
                      <a:pt x="2080" y="5451"/>
                      <a:pt x="2017" y="5262"/>
                      <a:pt x="2049" y="5072"/>
                    </a:cubicBezTo>
                    <a:lnTo>
                      <a:pt x="2332" y="4127"/>
                    </a:lnTo>
                    <a:cubicBezTo>
                      <a:pt x="2175" y="4096"/>
                      <a:pt x="2017" y="3970"/>
                      <a:pt x="2017" y="3812"/>
                    </a:cubicBezTo>
                    <a:cubicBezTo>
                      <a:pt x="2049" y="3623"/>
                      <a:pt x="2206" y="3466"/>
                      <a:pt x="2395" y="3466"/>
                    </a:cubicBezTo>
                    <a:lnTo>
                      <a:pt x="2553" y="3466"/>
                    </a:lnTo>
                    <a:lnTo>
                      <a:pt x="3120" y="1638"/>
                    </a:lnTo>
                    <a:cubicBezTo>
                      <a:pt x="3151" y="1512"/>
                      <a:pt x="3285" y="1449"/>
                      <a:pt x="3427" y="1449"/>
                    </a:cubicBezTo>
                    <a:close/>
                    <a:moveTo>
                      <a:pt x="3435" y="0"/>
                    </a:moveTo>
                    <a:cubicBezTo>
                      <a:pt x="1544" y="0"/>
                      <a:pt x="1" y="1544"/>
                      <a:pt x="1" y="3434"/>
                    </a:cubicBezTo>
                    <a:cubicBezTo>
                      <a:pt x="1" y="5356"/>
                      <a:pt x="1544" y="6900"/>
                      <a:pt x="3435" y="6900"/>
                    </a:cubicBezTo>
                    <a:cubicBezTo>
                      <a:pt x="4065" y="6900"/>
                      <a:pt x="4632" y="6742"/>
                      <a:pt x="5168" y="6427"/>
                    </a:cubicBezTo>
                    <a:lnTo>
                      <a:pt x="6365" y="6900"/>
                    </a:lnTo>
                    <a:cubicBezTo>
                      <a:pt x="6407" y="6910"/>
                      <a:pt x="6449" y="6917"/>
                      <a:pt x="6491" y="6917"/>
                    </a:cubicBezTo>
                    <a:cubicBezTo>
                      <a:pt x="6575" y="6917"/>
                      <a:pt x="6659" y="6889"/>
                      <a:pt x="6743" y="6805"/>
                    </a:cubicBezTo>
                    <a:cubicBezTo>
                      <a:pt x="6806" y="6742"/>
                      <a:pt x="6869" y="6616"/>
                      <a:pt x="6869" y="6459"/>
                    </a:cubicBezTo>
                    <a:lnTo>
                      <a:pt x="6491" y="5009"/>
                    </a:lnTo>
                    <a:cubicBezTo>
                      <a:pt x="6743" y="4537"/>
                      <a:pt x="6869" y="4001"/>
                      <a:pt x="6869" y="3466"/>
                    </a:cubicBezTo>
                    <a:cubicBezTo>
                      <a:pt x="6869" y="3119"/>
                      <a:pt x="6774" y="2804"/>
                      <a:pt x="6711" y="2489"/>
                    </a:cubicBezTo>
                    <a:cubicBezTo>
                      <a:pt x="6617" y="2426"/>
                      <a:pt x="6491" y="2395"/>
                      <a:pt x="6428" y="2363"/>
                    </a:cubicBezTo>
                    <a:lnTo>
                      <a:pt x="5514" y="2710"/>
                    </a:lnTo>
                    <a:cubicBezTo>
                      <a:pt x="5389" y="2755"/>
                      <a:pt x="5256" y="2780"/>
                      <a:pt x="5125" y="2780"/>
                    </a:cubicBezTo>
                    <a:cubicBezTo>
                      <a:pt x="4892" y="2780"/>
                      <a:pt x="4667" y="2702"/>
                      <a:pt x="4506" y="2521"/>
                    </a:cubicBezTo>
                    <a:cubicBezTo>
                      <a:pt x="4222" y="2269"/>
                      <a:pt x="4096" y="1891"/>
                      <a:pt x="4159" y="1481"/>
                    </a:cubicBezTo>
                    <a:lnTo>
                      <a:pt x="4443" y="221"/>
                    </a:lnTo>
                    <a:cubicBezTo>
                      <a:pt x="4443" y="189"/>
                      <a:pt x="4443" y="189"/>
                      <a:pt x="4411" y="158"/>
                    </a:cubicBezTo>
                    <a:cubicBezTo>
                      <a:pt x="4096" y="63"/>
                      <a:pt x="3781" y="0"/>
                      <a:pt x="3435" y="0"/>
                    </a:cubicBezTo>
                    <a:close/>
                  </a:path>
                </a:pathLst>
              </a:custGeom>
              <a:solidFill>
                <a:srgbClr val="FFFFFF"/>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35" name="Google Shape;922;p28">
                <a:extLst>
                  <a:ext uri="{FF2B5EF4-FFF2-40B4-BE49-F238E27FC236}">
                    <a16:creationId xmlns:a16="http://schemas.microsoft.com/office/drawing/2014/main" id="{B816D506-E919-423C-9E20-5D9D72706643}"/>
                  </a:ext>
                </a:extLst>
              </p:cNvPr>
              <p:cNvSpPr/>
              <p:nvPr/>
            </p:nvSpPr>
            <p:spPr>
              <a:xfrm>
                <a:off x="-30895875" y="3621075"/>
                <a:ext cx="15775" cy="26025"/>
              </a:xfrm>
              <a:custGeom>
                <a:avLst/>
                <a:gdLst/>
                <a:ahLst/>
                <a:cxnLst/>
                <a:rect l="l" t="t" r="r" b="b"/>
                <a:pathLst>
                  <a:path w="631" h="1041" extrusionOk="0">
                    <a:moveTo>
                      <a:pt x="0" y="1"/>
                    </a:moveTo>
                    <a:cubicBezTo>
                      <a:pt x="32" y="410"/>
                      <a:pt x="126" y="694"/>
                      <a:pt x="315" y="1041"/>
                    </a:cubicBezTo>
                    <a:cubicBezTo>
                      <a:pt x="473" y="694"/>
                      <a:pt x="599" y="347"/>
                      <a:pt x="631" y="1"/>
                    </a:cubicBezTo>
                    <a:close/>
                  </a:path>
                </a:pathLst>
              </a:custGeom>
              <a:solidFill>
                <a:srgbClr val="FFFFFF"/>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36" name="Google Shape;923;p28">
                <a:extLst>
                  <a:ext uri="{FF2B5EF4-FFF2-40B4-BE49-F238E27FC236}">
                    <a16:creationId xmlns:a16="http://schemas.microsoft.com/office/drawing/2014/main" id="{3AC07A6B-8533-443C-9EAD-5547C945C140}"/>
                  </a:ext>
                </a:extLst>
              </p:cNvPr>
              <p:cNvSpPr/>
              <p:nvPr/>
            </p:nvSpPr>
            <p:spPr>
              <a:xfrm>
                <a:off x="-30974650" y="3552550"/>
                <a:ext cx="172525" cy="172400"/>
              </a:xfrm>
              <a:custGeom>
                <a:avLst/>
                <a:gdLst/>
                <a:ahLst/>
                <a:cxnLst/>
                <a:rect l="l" t="t" r="r" b="b"/>
                <a:pathLst>
                  <a:path w="6901" h="6896" extrusionOk="0">
                    <a:moveTo>
                      <a:pt x="3435" y="1356"/>
                    </a:moveTo>
                    <a:cubicBezTo>
                      <a:pt x="3624" y="1356"/>
                      <a:pt x="3782" y="1513"/>
                      <a:pt x="3782" y="1734"/>
                    </a:cubicBezTo>
                    <a:lnTo>
                      <a:pt x="3782" y="2080"/>
                    </a:lnTo>
                    <a:lnTo>
                      <a:pt x="4821" y="2080"/>
                    </a:lnTo>
                    <a:cubicBezTo>
                      <a:pt x="5010" y="2080"/>
                      <a:pt x="5168" y="2238"/>
                      <a:pt x="5168" y="2427"/>
                    </a:cubicBezTo>
                    <a:cubicBezTo>
                      <a:pt x="5168" y="2616"/>
                      <a:pt x="5010" y="2742"/>
                      <a:pt x="4821" y="2742"/>
                    </a:cubicBezTo>
                    <a:lnTo>
                      <a:pt x="4412" y="2742"/>
                    </a:lnTo>
                    <a:cubicBezTo>
                      <a:pt x="4380" y="3341"/>
                      <a:pt x="4191" y="3876"/>
                      <a:pt x="3876" y="4412"/>
                    </a:cubicBezTo>
                    <a:cubicBezTo>
                      <a:pt x="3908" y="4443"/>
                      <a:pt x="3908" y="4475"/>
                      <a:pt x="3939" y="4506"/>
                    </a:cubicBezTo>
                    <a:lnTo>
                      <a:pt x="4349" y="4916"/>
                    </a:lnTo>
                    <a:cubicBezTo>
                      <a:pt x="4443" y="5042"/>
                      <a:pt x="4443" y="5262"/>
                      <a:pt x="4349" y="5388"/>
                    </a:cubicBezTo>
                    <a:cubicBezTo>
                      <a:pt x="4286" y="5451"/>
                      <a:pt x="4191" y="5483"/>
                      <a:pt x="4101" y="5483"/>
                    </a:cubicBezTo>
                    <a:cubicBezTo>
                      <a:pt x="4010" y="5483"/>
                      <a:pt x="3923" y="5451"/>
                      <a:pt x="3876" y="5388"/>
                    </a:cubicBezTo>
                    <a:lnTo>
                      <a:pt x="3466" y="4979"/>
                    </a:lnTo>
                    <a:lnTo>
                      <a:pt x="3435" y="4947"/>
                    </a:lnTo>
                    <a:lnTo>
                      <a:pt x="3403" y="4979"/>
                    </a:lnTo>
                    <a:lnTo>
                      <a:pt x="2994" y="5388"/>
                    </a:lnTo>
                    <a:cubicBezTo>
                      <a:pt x="2931" y="5451"/>
                      <a:pt x="2844" y="5483"/>
                      <a:pt x="2758" y="5483"/>
                    </a:cubicBezTo>
                    <a:cubicBezTo>
                      <a:pt x="2671" y="5483"/>
                      <a:pt x="2584" y="5451"/>
                      <a:pt x="2521" y="5388"/>
                    </a:cubicBezTo>
                    <a:cubicBezTo>
                      <a:pt x="2395" y="5262"/>
                      <a:pt x="2395" y="5042"/>
                      <a:pt x="2521" y="4916"/>
                    </a:cubicBezTo>
                    <a:lnTo>
                      <a:pt x="2931" y="4506"/>
                    </a:lnTo>
                    <a:cubicBezTo>
                      <a:pt x="2962" y="4475"/>
                      <a:pt x="2962" y="4443"/>
                      <a:pt x="2994" y="4412"/>
                    </a:cubicBezTo>
                    <a:cubicBezTo>
                      <a:pt x="2679" y="3939"/>
                      <a:pt x="2490" y="3341"/>
                      <a:pt x="2458" y="2742"/>
                    </a:cubicBezTo>
                    <a:lnTo>
                      <a:pt x="2049" y="2742"/>
                    </a:lnTo>
                    <a:cubicBezTo>
                      <a:pt x="1860" y="2742"/>
                      <a:pt x="1702" y="2584"/>
                      <a:pt x="1702" y="2395"/>
                    </a:cubicBezTo>
                    <a:cubicBezTo>
                      <a:pt x="1702" y="2206"/>
                      <a:pt x="1860" y="2049"/>
                      <a:pt x="2049" y="2049"/>
                    </a:cubicBezTo>
                    <a:lnTo>
                      <a:pt x="3088" y="2049"/>
                    </a:lnTo>
                    <a:lnTo>
                      <a:pt x="3088" y="1734"/>
                    </a:lnTo>
                    <a:cubicBezTo>
                      <a:pt x="3088" y="1513"/>
                      <a:pt x="3246" y="1356"/>
                      <a:pt x="3435" y="1356"/>
                    </a:cubicBezTo>
                    <a:close/>
                    <a:moveTo>
                      <a:pt x="3466" y="1"/>
                    </a:moveTo>
                    <a:cubicBezTo>
                      <a:pt x="1576" y="1"/>
                      <a:pt x="32" y="1576"/>
                      <a:pt x="32" y="3467"/>
                    </a:cubicBezTo>
                    <a:cubicBezTo>
                      <a:pt x="32" y="3971"/>
                      <a:pt x="158" y="4506"/>
                      <a:pt x="411" y="4979"/>
                    </a:cubicBezTo>
                    <a:lnTo>
                      <a:pt x="32" y="6459"/>
                    </a:lnTo>
                    <a:cubicBezTo>
                      <a:pt x="1" y="6554"/>
                      <a:pt x="32" y="6680"/>
                      <a:pt x="158" y="6806"/>
                    </a:cubicBezTo>
                    <a:cubicBezTo>
                      <a:pt x="225" y="6851"/>
                      <a:pt x="324" y="6895"/>
                      <a:pt x="420" y="6895"/>
                    </a:cubicBezTo>
                    <a:cubicBezTo>
                      <a:pt x="460" y="6895"/>
                      <a:pt x="500" y="6887"/>
                      <a:pt x="537" y="6869"/>
                    </a:cubicBezTo>
                    <a:lnTo>
                      <a:pt x="1734" y="6396"/>
                    </a:lnTo>
                    <a:cubicBezTo>
                      <a:pt x="2269" y="6712"/>
                      <a:pt x="2899" y="6869"/>
                      <a:pt x="3466" y="6869"/>
                    </a:cubicBezTo>
                    <a:cubicBezTo>
                      <a:pt x="5357" y="6869"/>
                      <a:pt x="6901" y="5357"/>
                      <a:pt x="6901" y="3435"/>
                    </a:cubicBezTo>
                    <a:cubicBezTo>
                      <a:pt x="6901" y="1576"/>
                      <a:pt x="5325" y="1"/>
                      <a:pt x="3466" y="1"/>
                    </a:cubicBezTo>
                    <a:close/>
                  </a:path>
                </a:pathLst>
              </a:custGeom>
              <a:solidFill>
                <a:srgbClr val="FFFFFF"/>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grpSp>
      </p:grpSp>
      <p:grpSp>
        <p:nvGrpSpPr>
          <p:cNvPr id="42" name="Google Shape;924;p28">
            <a:extLst>
              <a:ext uri="{FF2B5EF4-FFF2-40B4-BE49-F238E27FC236}">
                <a16:creationId xmlns:a16="http://schemas.microsoft.com/office/drawing/2014/main" id="{E3D93549-F60F-4181-B6FC-5D4414EDC1C3}"/>
              </a:ext>
            </a:extLst>
          </p:cNvPr>
          <p:cNvGrpSpPr/>
          <p:nvPr/>
        </p:nvGrpSpPr>
        <p:grpSpPr>
          <a:xfrm>
            <a:off x="4250084" y="1382925"/>
            <a:ext cx="1406503" cy="4078377"/>
            <a:chOff x="3187335" y="1258126"/>
            <a:chExt cx="1054877" cy="3058783"/>
          </a:xfrm>
        </p:grpSpPr>
        <p:sp>
          <p:nvSpPr>
            <p:cNvPr id="43" name="Google Shape;925;p28">
              <a:extLst>
                <a:ext uri="{FF2B5EF4-FFF2-40B4-BE49-F238E27FC236}">
                  <a16:creationId xmlns:a16="http://schemas.microsoft.com/office/drawing/2014/main" id="{2D7F97C6-5790-4775-990B-2FAA93E75696}"/>
                </a:ext>
              </a:extLst>
            </p:cNvPr>
            <p:cNvSpPr/>
            <p:nvPr/>
          </p:nvSpPr>
          <p:spPr>
            <a:xfrm>
              <a:off x="3377535" y="3642451"/>
              <a:ext cx="674459" cy="674459"/>
            </a:xfrm>
            <a:custGeom>
              <a:avLst/>
              <a:gdLst/>
              <a:ahLst/>
              <a:cxnLst/>
              <a:rect l="l" t="t" r="r" b="b"/>
              <a:pathLst>
                <a:path w="29302" h="29302" extrusionOk="0">
                  <a:moveTo>
                    <a:pt x="14645" y="0"/>
                  </a:moveTo>
                  <a:cubicBezTo>
                    <a:pt x="6561" y="0"/>
                    <a:pt x="1" y="6561"/>
                    <a:pt x="1" y="14645"/>
                  </a:cubicBezTo>
                  <a:cubicBezTo>
                    <a:pt x="1" y="22741"/>
                    <a:pt x="6561" y="29301"/>
                    <a:pt x="14645" y="29301"/>
                  </a:cubicBezTo>
                  <a:cubicBezTo>
                    <a:pt x="22741" y="29301"/>
                    <a:pt x="29302" y="22741"/>
                    <a:pt x="29302" y="14645"/>
                  </a:cubicBezTo>
                  <a:cubicBezTo>
                    <a:pt x="29302" y="6561"/>
                    <a:pt x="22741" y="0"/>
                    <a:pt x="14645" y="0"/>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44" name="Google Shape;926;p28">
              <a:extLst>
                <a:ext uri="{FF2B5EF4-FFF2-40B4-BE49-F238E27FC236}">
                  <a16:creationId xmlns:a16="http://schemas.microsoft.com/office/drawing/2014/main" id="{D7C492A4-FFAD-4CAD-AAE8-9B2EDCAF93D2}"/>
                </a:ext>
              </a:extLst>
            </p:cNvPr>
            <p:cNvSpPr/>
            <p:nvPr/>
          </p:nvSpPr>
          <p:spPr>
            <a:xfrm>
              <a:off x="3367936" y="1258126"/>
              <a:ext cx="693655" cy="693632"/>
            </a:xfrm>
            <a:custGeom>
              <a:avLst/>
              <a:gdLst/>
              <a:ahLst/>
              <a:cxnLst/>
              <a:rect l="l" t="t" r="r" b="b"/>
              <a:pathLst>
                <a:path w="30136" h="30135" extrusionOk="0">
                  <a:moveTo>
                    <a:pt x="15062" y="0"/>
                  </a:moveTo>
                  <a:cubicBezTo>
                    <a:pt x="6740" y="0"/>
                    <a:pt x="1" y="6739"/>
                    <a:pt x="1" y="15061"/>
                  </a:cubicBezTo>
                  <a:cubicBezTo>
                    <a:pt x="1" y="23384"/>
                    <a:pt x="6740" y="30135"/>
                    <a:pt x="15062" y="30135"/>
                  </a:cubicBezTo>
                  <a:cubicBezTo>
                    <a:pt x="23385" y="30135"/>
                    <a:pt x="30136" y="23384"/>
                    <a:pt x="30136" y="15061"/>
                  </a:cubicBezTo>
                  <a:cubicBezTo>
                    <a:pt x="30136" y="6739"/>
                    <a:pt x="23385" y="0"/>
                    <a:pt x="15062" y="0"/>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45" name="Google Shape;927;p28">
              <a:extLst>
                <a:ext uri="{FF2B5EF4-FFF2-40B4-BE49-F238E27FC236}">
                  <a16:creationId xmlns:a16="http://schemas.microsoft.com/office/drawing/2014/main" id="{E8F8C7F8-8EED-4084-9B46-18E169F3241E}"/>
                </a:ext>
              </a:extLst>
            </p:cNvPr>
            <p:cNvSpPr/>
            <p:nvPr/>
          </p:nvSpPr>
          <p:spPr>
            <a:xfrm>
              <a:off x="3187335" y="1437346"/>
              <a:ext cx="1054846" cy="1306151"/>
            </a:xfrm>
            <a:custGeom>
              <a:avLst/>
              <a:gdLst/>
              <a:ahLst/>
              <a:cxnLst/>
              <a:rect l="l" t="t" r="r" b="b"/>
              <a:pathLst>
                <a:path w="45828" h="56746" extrusionOk="0">
                  <a:moveTo>
                    <a:pt x="45828" y="1"/>
                  </a:moveTo>
                  <a:lnTo>
                    <a:pt x="1" y="13229"/>
                  </a:lnTo>
                  <a:lnTo>
                    <a:pt x="1" y="56746"/>
                  </a:lnTo>
                  <a:lnTo>
                    <a:pt x="45828" y="56746"/>
                  </a:lnTo>
                  <a:lnTo>
                    <a:pt x="45828" y="1"/>
                  </a:lnTo>
                  <a:close/>
                </a:path>
              </a:pathLst>
            </a:custGeom>
            <a:solidFill>
              <a:srgbClr val="F4F3F2"/>
            </a:solidFill>
            <a:ln>
              <a:noFill/>
            </a:ln>
          </p:spPr>
          <p:txBody>
            <a:bodyPr spcFirstLastPara="1" wrap="square" lIns="121900" tIns="121900" rIns="121900" bIns="365733" anchor="b"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Tx/>
                <a:buNone/>
                <a:tabLst/>
                <a:defRPr/>
              </a:pPr>
              <a:r>
                <a:rPr kumimoji="0" lang="en" sz="1600" b="0" i="0" u="none" strike="noStrike" kern="1200" cap="none" spc="0" normalizeH="0" baseline="0" noProof="0">
                  <a:ln>
                    <a:noFill/>
                  </a:ln>
                  <a:solidFill>
                    <a:srgbClr val="434343"/>
                  </a:solidFill>
                  <a:effectLst/>
                  <a:uLnTx/>
                  <a:uFillTx/>
                  <a:latin typeface="Arial"/>
                  <a:ea typeface="+mn-ea"/>
                  <a:cs typeface="+mn-ea"/>
                  <a:sym typeface="+mn-lt"/>
                </a:rPr>
                <a:t>Mercury is the first</a:t>
              </a:r>
              <a:endParaRPr kumimoji="0" sz="1600" b="0" i="0" u="none" strike="noStrike" kern="1200" cap="none" spc="0" normalizeH="0" baseline="0" noProof="0">
                <a:ln>
                  <a:noFill/>
                </a:ln>
                <a:solidFill>
                  <a:srgbClr val="434343"/>
                </a:solidFill>
                <a:effectLst/>
                <a:uLnTx/>
                <a:uFillTx/>
                <a:latin typeface="Arial"/>
                <a:ea typeface="+mn-ea"/>
                <a:cs typeface="+mn-ea"/>
                <a:sym typeface="+mn-lt"/>
              </a:endParaRPr>
            </a:p>
          </p:txBody>
        </p:sp>
        <p:sp>
          <p:nvSpPr>
            <p:cNvPr id="46" name="Google Shape;928;p28">
              <a:extLst>
                <a:ext uri="{FF2B5EF4-FFF2-40B4-BE49-F238E27FC236}">
                  <a16:creationId xmlns:a16="http://schemas.microsoft.com/office/drawing/2014/main" id="{79682026-4A6E-47F9-AA32-CA4123ABEC26}"/>
                </a:ext>
              </a:extLst>
            </p:cNvPr>
            <p:cNvSpPr/>
            <p:nvPr/>
          </p:nvSpPr>
          <p:spPr>
            <a:xfrm>
              <a:off x="3187335" y="2842197"/>
              <a:ext cx="1054846" cy="1306151"/>
            </a:xfrm>
            <a:custGeom>
              <a:avLst/>
              <a:gdLst/>
              <a:ahLst/>
              <a:cxnLst/>
              <a:rect l="l" t="t" r="r" b="b"/>
              <a:pathLst>
                <a:path w="45828" h="56746" extrusionOk="0">
                  <a:moveTo>
                    <a:pt x="1" y="0"/>
                  </a:moveTo>
                  <a:lnTo>
                    <a:pt x="1" y="43517"/>
                  </a:lnTo>
                  <a:lnTo>
                    <a:pt x="45828" y="56745"/>
                  </a:lnTo>
                  <a:lnTo>
                    <a:pt x="45828" y="0"/>
                  </a:lnTo>
                  <a:close/>
                </a:path>
              </a:pathLst>
            </a:custGeom>
            <a:solidFill>
              <a:srgbClr val="F4F3F2"/>
            </a:solidFill>
            <a:ln>
              <a:noFill/>
            </a:ln>
          </p:spPr>
          <p:txBody>
            <a:bodyPr spcFirstLastPara="1" wrap="square" lIns="121900" tIns="365733" rIns="121900" bIns="12190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Tx/>
                <a:buNone/>
                <a:tabLst/>
                <a:defRPr/>
              </a:pPr>
              <a:r>
                <a:rPr kumimoji="0" lang="en" sz="1600" b="0" i="0" u="none" strike="noStrike" kern="1200" cap="none" spc="0" normalizeH="0" baseline="0" noProof="0">
                  <a:ln>
                    <a:noFill/>
                  </a:ln>
                  <a:solidFill>
                    <a:srgbClr val="434343"/>
                  </a:solidFill>
                  <a:effectLst/>
                  <a:uLnTx/>
                  <a:uFillTx/>
                  <a:latin typeface="Arial"/>
                  <a:ea typeface="+mn-ea"/>
                  <a:cs typeface="+mn-ea"/>
                  <a:sym typeface="+mn-lt"/>
                </a:rPr>
                <a:t>Saturn is ringed</a:t>
              </a:r>
              <a:endParaRPr kumimoji="0" sz="1600" b="0" i="0" u="none" strike="noStrike" kern="1200" cap="none" spc="0" normalizeH="0" baseline="0" noProof="0">
                <a:ln>
                  <a:noFill/>
                </a:ln>
                <a:solidFill>
                  <a:srgbClr val="434343"/>
                </a:solidFill>
                <a:effectLst/>
                <a:uLnTx/>
                <a:uFillTx/>
                <a:latin typeface="Arial"/>
                <a:ea typeface="+mn-ea"/>
                <a:cs typeface="+mn-ea"/>
                <a:sym typeface="+mn-lt"/>
              </a:endParaRPr>
            </a:p>
          </p:txBody>
        </p:sp>
        <p:sp>
          <p:nvSpPr>
            <p:cNvPr id="47" name="Google Shape;929;p28">
              <a:extLst>
                <a:ext uri="{FF2B5EF4-FFF2-40B4-BE49-F238E27FC236}">
                  <a16:creationId xmlns:a16="http://schemas.microsoft.com/office/drawing/2014/main" id="{7A6A3059-5B6B-491A-8F1F-DF44B07B6181}"/>
                </a:ext>
              </a:extLst>
            </p:cNvPr>
            <p:cNvSpPr/>
            <p:nvPr/>
          </p:nvSpPr>
          <p:spPr>
            <a:xfrm>
              <a:off x="3448523" y="1338690"/>
              <a:ext cx="532510" cy="532510"/>
            </a:xfrm>
            <a:custGeom>
              <a:avLst/>
              <a:gdLst/>
              <a:ahLst/>
              <a:cxnLst/>
              <a:rect l="l" t="t" r="r" b="b"/>
              <a:pathLst>
                <a:path w="23135" h="23135" extrusionOk="0">
                  <a:moveTo>
                    <a:pt x="11561" y="1"/>
                  </a:moveTo>
                  <a:cubicBezTo>
                    <a:pt x="5179" y="1"/>
                    <a:pt x="0" y="5180"/>
                    <a:pt x="0" y="11561"/>
                  </a:cubicBezTo>
                  <a:cubicBezTo>
                    <a:pt x="0" y="17955"/>
                    <a:pt x="5179" y="23134"/>
                    <a:pt x="11561" y="23134"/>
                  </a:cubicBezTo>
                  <a:cubicBezTo>
                    <a:pt x="17955" y="23134"/>
                    <a:pt x="23134" y="17955"/>
                    <a:pt x="23134" y="11561"/>
                  </a:cubicBezTo>
                  <a:cubicBezTo>
                    <a:pt x="23134" y="5180"/>
                    <a:pt x="17955" y="1"/>
                    <a:pt x="11561" y="1"/>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48" name="Google Shape;930;p28">
              <a:extLst>
                <a:ext uri="{FF2B5EF4-FFF2-40B4-BE49-F238E27FC236}">
                  <a16:creationId xmlns:a16="http://schemas.microsoft.com/office/drawing/2014/main" id="{28A99BD9-8F93-49F2-9F0B-09ADEDE545E1}"/>
                </a:ext>
              </a:extLst>
            </p:cNvPr>
            <p:cNvSpPr/>
            <p:nvPr/>
          </p:nvSpPr>
          <p:spPr>
            <a:xfrm>
              <a:off x="3448523" y="3713416"/>
              <a:ext cx="532510" cy="532234"/>
            </a:xfrm>
            <a:custGeom>
              <a:avLst/>
              <a:gdLst/>
              <a:ahLst/>
              <a:cxnLst/>
              <a:rect l="l" t="t" r="r" b="b"/>
              <a:pathLst>
                <a:path w="23135" h="23123" extrusionOk="0">
                  <a:moveTo>
                    <a:pt x="11561" y="1"/>
                  </a:moveTo>
                  <a:cubicBezTo>
                    <a:pt x="5179" y="1"/>
                    <a:pt x="0" y="5180"/>
                    <a:pt x="0" y="11562"/>
                  </a:cubicBezTo>
                  <a:cubicBezTo>
                    <a:pt x="0" y="17956"/>
                    <a:pt x="5179" y="23123"/>
                    <a:pt x="11561" y="23123"/>
                  </a:cubicBezTo>
                  <a:cubicBezTo>
                    <a:pt x="17955" y="23123"/>
                    <a:pt x="23134" y="17956"/>
                    <a:pt x="23134" y="11562"/>
                  </a:cubicBezTo>
                  <a:cubicBezTo>
                    <a:pt x="23134" y="5180"/>
                    <a:pt x="17955" y="1"/>
                    <a:pt x="11561" y="1"/>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49" name="Google Shape;931;p28">
              <a:extLst>
                <a:ext uri="{FF2B5EF4-FFF2-40B4-BE49-F238E27FC236}">
                  <a16:creationId xmlns:a16="http://schemas.microsoft.com/office/drawing/2014/main" id="{58FB3C9F-9AAE-4F75-99BE-37844BA9EB62}"/>
                </a:ext>
              </a:extLst>
            </p:cNvPr>
            <p:cNvSpPr/>
            <p:nvPr/>
          </p:nvSpPr>
          <p:spPr>
            <a:xfrm>
              <a:off x="4182988" y="2609506"/>
              <a:ext cx="59224" cy="366715"/>
            </a:xfrm>
            <a:custGeom>
              <a:avLst/>
              <a:gdLst/>
              <a:ahLst/>
              <a:cxnLst/>
              <a:rect l="l" t="t" r="r" b="b"/>
              <a:pathLst>
                <a:path w="2573" h="15932" extrusionOk="0">
                  <a:moveTo>
                    <a:pt x="1287" y="1"/>
                  </a:moveTo>
                  <a:cubicBezTo>
                    <a:pt x="572" y="1"/>
                    <a:pt x="1" y="584"/>
                    <a:pt x="1" y="1287"/>
                  </a:cubicBezTo>
                  <a:lnTo>
                    <a:pt x="1" y="14645"/>
                  </a:lnTo>
                  <a:cubicBezTo>
                    <a:pt x="1" y="15348"/>
                    <a:pt x="572" y="15931"/>
                    <a:pt x="1287" y="15931"/>
                  </a:cubicBezTo>
                  <a:cubicBezTo>
                    <a:pt x="1989" y="15931"/>
                    <a:pt x="2573" y="15348"/>
                    <a:pt x="2573" y="14645"/>
                  </a:cubicBezTo>
                  <a:lnTo>
                    <a:pt x="2573" y="1287"/>
                  </a:lnTo>
                  <a:cubicBezTo>
                    <a:pt x="2573" y="584"/>
                    <a:pt x="1989" y="1"/>
                    <a:pt x="1287" y="1"/>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50" name="Google Shape;932;p28">
              <a:extLst>
                <a:ext uri="{FF2B5EF4-FFF2-40B4-BE49-F238E27FC236}">
                  <a16:creationId xmlns:a16="http://schemas.microsoft.com/office/drawing/2014/main" id="{2F95077B-2D21-41FB-AFAC-DA28E367D6F3}"/>
                </a:ext>
              </a:extLst>
            </p:cNvPr>
            <p:cNvSpPr/>
            <p:nvPr/>
          </p:nvSpPr>
          <p:spPr>
            <a:xfrm>
              <a:off x="3571472" y="1461651"/>
              <a:ext cx="286612" cy="286587"/>
            </a:xfrm>
            <a:custGeom>
              <a:avLst/>
              <a:gdLst/>
              <a:ahLst/>
              <a:cxnLst/>
              <a:rect l="l" t="t" r="r" b="b"/>
              <a:pathLst>
                <a:path w="11658" h="11657" extrusionOk="0">
                  <a:moveTo>
                    <a:pt x="5955" y="1733"/>
                  </a:moveTo>
                  <a:cubicBezTo>
                    <a:pt x="7089" y="1733"/>
                    <a:pt x="8003" y="2647"/>
                    <a:pt x="8003" y="3781"/>
                  </a:cubicBezTo>
                  <a:cubicBezTo>
                    <a:pt x="7877" y="4442"/>
                    <a:pt x="7562" y="5041"/>
                    <a:pt x="7058" y="5419"/>
                  </a:cubicBezTo>
                  <a:cubicBezTo>
                    <a:pt x="6837" y="5577"/>
                    <a:pt x="6522" y="5892"/>
                    <a:pt x="6522" y="6333"/>
                  </a:cubicBezTo>
                  <a:lnTo>
                    <a:pt x="6522" y="6522"/>
                  </a:lnTo>
                  <a:cubicBezTo>
                    <a:pt x="6522" y="6931"/>
                    <a:pt x="6207" y="7215"/>
                    <a:pt x="5861" y="7215"/>
                  </a:cubicBezTo>
                  <a:cubicBezTo>
                    <a:pt x="5482" y="7215"/>
                    <a:pt x="5199" y="6900"/>
                    <a:pt x="5199" y="6522"/>
                  </a:cubicBezTo>
                  <a:lnTo>
                    <a:pt x="5199" y="6333"/>
                  </a:lnTo>
                  <a:cubicBezTo>
                    <a:pt x="5199" y="5577"/>
                    <a:pt x="5577" y="4852"/>
                    <a:pt x="6302" y="4316"/>
                  </a:cubicBezTo>
                  <a:cubicBezTo>
                    <a:pt x="6491" y="4190"/>
                    <a:pt x="6585" y="4001"/>
                    <a:pt x="6585" y="3781"/>
                  </a:cubicBezTo>
                  <a:cubicBezTo>
                    <a:pt x="6585" y="3371"/>
                    <a:pt x="6270" y="3119"/>
                    <a:pt x="5892" y="3119"/>
                  </a:cubicBezTo>
                  <a:cubicBezTo>
                    <a:pt x="5514" y="3119"/>
                    <a:pt x="5230" y="3434"/>
                    <a:pt x="5230" y="3781"/>
                  </a:cubicBezTo>
                  <a:cubicBezTo>
                    <a:pt x="5230" y="4159"/>
                    <a:pt x="4915" y="4442"/>
                    <a:pt x="4569" y="4442"/>
                  </a:cubicBezTo>
                  <a:cubicBezTo>
                    <a:pt x="4191" y="4442"/>
                    <a:pt x="3907" y="4127"/>
                    <a:pt x="3907" y="3781"/>
                  </a:cubicBezTo>
                  <a:cubicBezTo>
                    <a:pt x="3907" y="2647"/>
                    <a:pt x="4821" y="1733"/>
                    <a:pt x="5955" y="1733"/>
                  </a:cubicBezTo>
                  <a:close/>
                  <a:moveTo>
                    <a:pt x="5829" y="8570"/>
                  </a:moveTo>
                  <a:cubicBezTo>
                    <a:pt x="6176" y="8570"/>
                    <a:pt x="6491" y="8885"/>
                    <a:pt x="6491" y="9263"/>
                  </a:cubicBezTo>
                  <a:cubicBezTo>
                    <a:pt x="6491" y="9641"/>
                    <a:pt x="6207" y="9924"/>
                    <a:pt x="5829" y="9924"/>
                  </a:cubicBezTo>
                  <a:cubicBezTo>
                    <a:pt x="5419" y="9924"/>
                    <a:pt x="5167" y="9609"/>
                    <a:pt x="5167" y="9263"/>
                  </a:cubicBezTo>
                  <a:cubicBezTo>
                    <a:pt x="5167" y="8853"/>
                    <a:pt x="5482" y="8570"/>
                    <a:pt x="5829" y="8570"/>
                  </a:cubicBezTo>
                  <a:close/>
                  <a:moveTo>
                    <a:pt x="5829" y="0"/>
                  </a:moveTo>
                  <a:cubicBezTo>
                    <a:pt x="2647" y="0"/>
                    <a:pt x="1" y="2615"/>
                    <a:pt x="1" y="5829"/>
                  </a:cubicBezTo>
                  <a:cubicBezTo>
                    <a:pt x="1" y="9011"/>
                    <a:pt x="2647" y="11657"/>
                    <a:pt x="5829" y="11657"/>
                  </a:cubicBezTo>
                  <a:cubicBezTo>
                    <a:pt x="9011" y="11657"/>
                    <a:pt x="11657" y="9011"/>
                    <a:pt x="11657" y="5829"/>
                  </a:cubicBezTo>
                  <a:cubicBezTo>
                    <a:pt x="11657" y="2647"/>
                    <a:pt x="9011" y="0"/>
                    <a:pt x="5829" y="0"/>
                  </a:cubicBezTo>
                  <a:close/>
                </a:path>
              </a:pathLst>
            </a:custGeom>
            <a:solidFill>
              <a:srgbClr val="FFFFFF"/>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grpSp>
          <p:nvGrpSpPr>
            <p:cNvPr id="51" name="Google Shape;933;p28">
              <a:extLst>
                <a:ext uri="{FF2B5EF4-FFF2-40B4-BE49-F238E27FC236}">
                  <a16:creationId xmlns:a16="http://schemas.microsoft.com/office/drawing/2014/main" id="{40F40F5B-FAAD-40D3-894A-48406BC16953}"/>
                </a:ext>
              </a:extLst>
            </p:cNvPr>
            <p:cNvGrpSpPr/>
            <p:nvPr/>
          </p:nvGrpSpPr>
          <p:grpSpPr>
            <a:xfrm>
              <a:off x="3571091" y="3836485"/>
              <a:ext cx="287374" cy="286096"/>
              <a:chOff x="-30735200" y="3552550"/>
              <a:chExt cx="292225" cy="290925"/>
            </a:xfrm>
          </p:grpSpPr>
          <p:sp>
            <p:nvSpPr>
              <p:cNvPr id="52" name="Google Shape;934;p28">
                <a:extLst>
                  <a:ext uri="{FF2B5EF4-FFF2-40B4-BE49-F238E27FC236}">
                    <a16:creationId xmlns:a16="http://schemas.microsoft.com/office/drawing/2014/main" id="{33682E4E-3628-414C-8D4C-FCB507941DA2}"/>
                  </a:ext>
                </a:extLst>
              </p:cNvPr>
              <p:cNvSpPr/>
              <p:nvPr/>
            </p:nvSpPr>
            <p:spPr>
              <a:xfrm>
                <a:off x="-30613900" y="3655750"/>
                <a:ext cx="170925" cy="187725"/>
              </a:xfrm>
              <a:custGeom>
                <a:avLst/>
                <a:gdLst/>
                <a:ahLst/>
                <a:cxnLst/>
                <a:rect l="l" t="t" r="r" b="b"/>
                <a:pathLst>
                  <a:path w="6837" h="7509" extrusionOk="0">
                    <a:moveTo>
                      <a:pt x="5120" y="2079"/>
                    </a:moveTo>
                    <a:cubicBezTo>
                      <a:pt x="5206" y="2079"/>
                      <a:pt x="5293" y="2111"/>
                      <a:pt x="5356" y="2174"/>
                    </a:cubicBezTo>
                    <a:cubicBezTo>
                      <a:pt x="5451" y="2268"/>
                      <a:pt x="5451" y="2458"/>
                      <a:pt x="5356" y="2647"/>
                    </a:cubicBezTo>
                    <a:lnTo>
                      <a:pt x="3308" y="4694"/>
                    </a:lnTo>
                    <a:cubicBezTo>
                      <a:pt x="3214" y="4757"/>
                      <a:pt x="3151" y="4789"/>
                      <a:pt x="3056" y="4789"/>
                    </a:cubicBezTo>
                    <a:cubicBezTo>
                      <a:pt x="2993" y="4789"/>
                      <a:pt x="2899" y="4757"/>
                      <a:pt x="2836" y="4694"/>
                    </a:cubicBezTo>
                    <a:lnTo>
                      <a:pt x="2174" y="4001"/>
                    </a:lnTo>
                    <a:cubicBezTo>
                      <a:pt x="2048" y="3907"/>
                      <a:pt x="2048" y="3655"/>
                      <a:pt x="2174" y="3529"/>
                    </a:cubicBezTo>
                    <a:cubicBezTo>
                      <a:pt x="2221" y="3481"/>
                      <a:pt x="2308" y="3458"/>
                      <a:pt x="2399" y="3458"/>
                    </a:cubicBezTo>
                    <a:cubicBezTo>
                      <a:pt x="2489" y="3458"/>
                      <a:pt x="2584" y="3481"/>
                      <a:pt x="2647" y="3529"/>
                    </a:cubicBezTo>
                    <a:lnTo>
                      <a:pt x="3056" y="3970"/>
                    </a:lnTo>
                    <a:lnTo>
                      <a:pt x="4883" y="2174"/>
                    </a:lnTo>
                    <a:cubicBezTo>
                      <a:pt x="4946" y="2111"/>
                      <a:pt x="5033" y="2079"/>
                      <a:pt x="5120" y="2079"/>
                    </a:cubicBezTo>
                    <a:close/>
                    <a:moveTo>
                      <a:pt x="1701" y="0"/>
                    </a:moveTo>
                    <a:cubicBezTo>
                      <a:pt x="725" y="0"/>
                      <a:pt x="0" y="756"/>
                      <a:pt x="0" y="1701"/>
                    </a:cubicBezTo>
                    <a:lnTo>
                      <a:pt x="0" y="4411"/>
                    </a:lnTo>
                    <a:cubicBezTo>
                      <a:pt x="0" y="5356"/>
                      <a:pt x="725" y="6112"/>
                      <a:pt x="1701" y="6112"/>
                    </a:cubicBezTo>
                    <a:lnTo>
                      <a:pt x="2048" y="6112"/>
                    </a:lnTo>
                    <a:lnTo>
                      <a:pt x="2048" y="7152"/>
                    </a:lnTo>
                    <a:cubicBezTo>
                      <a:pt x="2048" y="7309"/>
                      <a:pt x="2111" y="7435"/>
                      <a:pt x="2237" y="7467"/>
                    </a:cubicBezTo>
                    <a:cubicBezTo>
                      <a:pt x="2289" y="7493"/>
                      <a:pt x="2347" y="7508"/>
                      <a:pt x="2401" y="7508"/>
                    </a:cubicBezTo>
                    <a:cubicBezTo>
                      <a:pt x="2477" y="7508"/>
                      <a:pt x="2547" y="7478"/>
                      <a:pt x="2584" y="7404"/>
                    </a:cubicBezTo>
                    <a:lnTo>
                      <a:pt x="3844" y="6112"/>
                    </a:lnTo>
                    <a:lnTo>
                      <a:pt x="5073" y="6112"/>
                    </a:lnTo>
                    <a:cubicBezTo>
                      <a:pt x="6018" y="6112"/>
                      <a:pt x="6805" y="5356"/>
                      <a:pt x="6805" y="4411"/>
                    </a:cubicBezTo>
                    <a:lnTo>
                      <a:pt x="6805" y="1701"/>
                    </a:lnTo>
                    <a:cubicBezTo>
                      <a:pt x="6837" y="756"/>
                      <a:pt x="6049" y="0"/>
                      <a:pt x="5104" y="0"/>
                    </a:cubicBezTo>
                    <a:close/>
                  </a:path>
                </a:pathLst>
              </a:custGeom>
              <a:solidFill>
                <a:srgbClr val="FFFFFF"/>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53" name="Google Shape;935;p28">
                <a:extLst>
                  <a:ext uri="{FF2B5EF4-FFF2-40B4-BE49-F238E27FC236}">
                    <a16:creationId xmlns:a16="http://schemas.microsoft.com/office/drawing/2014/main" id="{B3FDA7A7-6706-4A66-80C4-4781C0339E8A}"/>
                  </a:ext>
                </a:extLst>
              </p:cNvPr>
              <p:cNvSpPr/>
              <p:nvPr/>
            </p:nvSpPr>
            <p:spPr>
              <a:xfrm>
                <a:off x="-30735200" y="3552550"/>
                <a:ext cx="188275" cy="205075"/>
              </a:xfrm>
              <a:custGeom>
                <a:avLst/>
                <a:gdLst/>
                <a:ahLst/>
                <a:cxnLst/>
                <a:rect l="l" t="t" r="r" b="b"/>
                <a:pathLst>
                  <a:path w="7531" h="8203" extrusionOk="0">
                    <a:moveTo>
                      <a:pt x="3781" y="1356"/>
                    </a:moveTo>
                    <a:cubicBezTo>
                      <a:pt x="4317" y="1356"/>
                      <a:pt x="4789" y="1828"/>
                      <a:pt x="4789" y="2395"/>
                    </a:cubicBezTo>
                    <a:cubicBezTo>
                      <a:pt x="4789" y="2710"/>
                      <a:pt x="4632" y="3025"/>
                      <a:pt x="4411" y="3214"/>
                    </a:cubicBezTo>
                    <a:cubicBezTo>
                      <a:pt x="4254" y="3341"/>
                      <a:pt x="4128" y="3530"/>
                      <a:pt x="4128" y="3782"/>
                    </a:cubicBezTo>
                    <a:cubicBezTo>
                      <a:pt x="4128" y="3971"/>
                      <a:pt x="3970" y="4128"/>
                      <a:pt x="3781" y="4128"/>
                    </a:cubicBezTo>
                    <a:cubicBezTo>
                      <a:pt x="3592" y="4128"/>
                      <a:pt x="3434" y="3971"/>
                      <a:pt x="3434" y="3782"/>
                    </a:cubicBezTo>
                    <a:cubicBezTo>
                      <a:pt x="3434" y="3341"/>
                      <a:pt x="3624" y="2931"/>
                      <a:pt x="3970" y="2679"/>
                    </a:cubicBezTo>
                    <a:cubicBezTo>
                      <a:pt x="4065" y="2584"/>
                      <a:pt x="4096" y="2521"/>
                      <a:pt x="4096" y="2395"/>
                    </a:cubicBezTo>
                    <a:cubicBezTo>
                      <a:pt x="4096" y="2206"/>
                      <a:pt x="3939" y="2049"/>
                      <a:pt x="3750" y="2049"/>
                    </a:cubicBezTo>
                    <a:cubicBezTo>
                      <a:pt x="3529" y="2049"/>
                      <a:pt x="3371" y="2206"/>
                      <a:pt x="3371" y="2395"/>
                    </a:cubicBezTo>
                    <a:cubicBezTo>
                      <a:pt x="3371" y="2584"/>
                      <a:pt x="3214" y="2742"/>
                      <a:pt x="3025" y="2742"/>
                    </a:cubicBezTo>
                    <a:cubicBezTo>
                      <a:pt x="2836" y="2742"/>
                      <a:pt x="2678" y="2584"/>
                      <a:pt x="2678" y="2395"/>
                    </a:cubicBezTo>
                    <a:cubicBezTo>
                      <a:pt x="2741" y="1828"/>
                      <a:pt x="3214" y="1356"/>
                      <a:pt x="3781" y="1356"/>
                    </a:cubicBezTo>
                    <a:close/>
                    <a:moveTo>
                      <a:pt x="3781" y="4758"/>
                    </a:moveTo>
                    <a:cubicBezTo>
                      <a:pt x="3970" y="4758"/>
                      <a:pt x="4128" y="4916"/>
                      <a:pt x="4128" y="5105"/>
                    </a:cubicBezTo>
                    <a:cubicBezTo>
                      <a:pt x="4128" y="5294"/>
                      <a:pt x="3970" y="5451"/>
                      <a:pt x="3781" y="5451"/>
                    </a:cubicBezTo>
                    <a:cubicBezTo>
                      <a:pt x="3592" y="5451"/>
                      <a:pt x="3434" y="5294"/>
                      <a:pt x="3434" y="5105"/>
                    </a:cubicBezTo>
                    <a:cubicBezTo>
                      <a:pt x="3434" y="4916"/>
                      <a:pt x="3592" y="4758"/>
                      <a:pt x="3781" y="4758"/>
                    </a:cubicBezTo>
                    <a:close/>
                    <a:moveTo>
                      <a:pt x="1733" y="1"/>
                    </a:moveTo>
                    <a:cubicBezTo>
                      <a:pt x="788" y="1"/>
                      <a:pt x="0" y="789"/>
                      <a:pt x="0" y="1734"/>
                    </a:cubicBezTo>
                    <a:lnTo>
                      <a:pt x="0" y="5136"/>
                    </a:lnTo>
                    <a:cubicBezTo>
                      <a:pt x="0" y="5987"/>
                      <a:pt x="631" y="6649"/>
                      <a:pt x="1418" y="6806"/>
                    </a:cubicBezTo>
                    <a:lnTo>
                      <a:pt x="1418" y="7846"/>
                    </a:lnTo>
                    <a:cubicBezTo>
                      <a:pt x="1418" y="8003"/>
                      <a:pt x="1481" y="8129"/>
                      <a:pt x="1607" y="8161"/>
                    </a:cubicBezTo>
                    <a:cubicBezTo>
                      <a:pt x="1659" y="8187"/>
                      <a:pt x="1717" y="8202"/>
                      <a:pt x="1771" y="8202"/>
                    </a:cubicBezTo>
                    <a:cubicBezTo>
                      <a:pt x="1848" y="8202"/>
                      <a:pt x="1917" y="8172"/>
                      <a:pt x="1954" y="8098"/>
                    </a:cubicBezTo>
                    <a:lnTo>
                      <a:pt x="3214" y="6838"/>
                    </a:lnTo>
                    <a:lnTo>
                      <a:pt x="4096" y="6838"/>
                    </a:lnTo>
                    <a:lnTo>
                      <a:pt x="4096" y="5798"/>
                    </a:lnTo>
                    <a:cubicBezTo>
                      <a:pt x="4096" y="4475"/>
                      <a:pt x="5167" y="3404"/>
                      <a:pt x="6490" y="3404"/>
                    </a:cubicBezTo>
                    <a:lnTo>
                      <a:pt x="7530" y="3404"/>
                    </a:lnTo>
                    <a:lnTo>
                      <a:pt x="7530" y="1734"/>
                    </a:lnTo>
                    <a:cubicBezTo>
                      <a:pt x="7530" y="789"/>
                      <a:pt x="6774" y="1"/>
                      <a:pt x="5829" y="1"/>
                    </a:cubicBezTo>
                    <a:close/>
                  </a:path>
                </a:pathLst>
              </a:custGeom>
              <a:solidFill>
                <a:srgbClr val="FFFFFF"/>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grpSp>
      </p:grpSp>
      <p:grpSp>
        <p:nvGrpSpPr>
          <p:cNvPr id="54" name="Google Shape;936;p28">
            <a:extLst>
              <a:ext uri="{FF2B5EF4-FFF2-40B4-BE49-F238E27FC236}">
                <a16:creationId xmlns:a16="http://schemas.microsoft.com/office/drawing/2014/main" id="{AF21FE20-F015-4B22-B504-38A12B1D61AC}"/>
              </a:ext>
            </a:extLst>
          </p:cNvPr>
          <p:cNvGrpSpPr/>
          <p:nvPr/>
        </p:nvGrpSpPr>
        <p:grpSpPr>
          <a:xfrm>
            <a:off x="7923607" y="1978546"/>
            <a:ext cx="1406461" cy="2899940"/>
            <a:chOff x="5942478" y="1704842"/>
            <a:chExt cx="1054846" cy="2174955"/>
          </a:xfrm>
        </p:grpSpPr>
        <p:sp>
          <p:nvSpPr>
            <p:cNvPr id="55" name="Google Shape;937;p28">
              <a:extLst>
                <a:ext uri="{FF2B5EF4-FFF2-40B4-BE49-F238E27FC236}">
                  <a16:creationId xmlns:a16="http://schemas.microsoft.com/office/drawing/2014/main" id="{C65EF559-AC53-428E-8AF4-F601B49BCA55}"/>
                </a:ext>
              </a:extLst>
            </p:cNvPr>
            <p:cNvSpPr/>
            <p:nvPr/>
          </p:nvSpPr>
          <p:spPr>
            <a:xfrm>
              <a:off x="6189671" y="3317410"/>
              <a:ext cx="562110" cy="562387"/>
            </a:xfrm>
            <a:custGeom>
              <a:avLst/>
              <a:gdLst/>
              <a:ahLst/>
              <a:cxnLst/>
              <a:rect l="l" t="t" r="r" b="b"/>
              <a:pathLst>
                <a:path w="24421" h="24433" extrusionOk="0">
                  <a:moveTo>
                    <a:pt x="12216" y="0"/>
                  </a:moveTo>
                  <a:cubicBezTo>
                    <a:pt x="5466" y="0"/>
                    <a:pt x="1" y="5477"/>
                    <a:pt x="1" y="12216"/>
                  </a:cubicBezTo>
                  <a:cubicBezTo>
                    <a:pt x="1" y="18955"/>
                    <a:pt x="5466" y="24432"/>
                    <a:pt x="12216" y="24432"/>
                  </a:cubicBezTo>
                  <a:cubicBezTo>
                    <a:pt x="18955" y="24432"/>
                    <a:pt x="24420" y="18955"/>
                    <a:pt x="24420" y="12216"/>
                  </a:cubicBezTo>
                  <a:cubicBezTo>
                    <a:pt x="24420" y="5477"/>
                    <a:pt x="18955" y="0"/>
                    <a:pt x="12216" y="0"/>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56" name="Google Shape;938;p28">
              <a:extLst>
                <a:ext uri="{FF2B5EF4-FFF2-40B4-BE49-F238E27FC236}">
                  <a16:creationId xmlns:a16="http://schemas.microsoft.com/office/drawing/2014/main" id="{344FC005-5540-4453-9AD7-5F4B20048677}"/>
                </a:ext>
              </a:extLst>
            </p:cNvPr>
            <p:cNvSpPr/>
            <p:nvPr/>
          </p:nvSpPr>
          <p:spPr>
            <a:xfrm>
              <a:off x="6171854" y="1704842"/>
              <a:ext cx="598018" cy="597995"/>
            </a:xfrm>
            <a:custGeom>
              <a:avLst/>
              <a:gdLst/>
              <a:ahLst/>
              <a:cxnLst/>
              <a:rect l="l" t="t" r="r" b="b"/>
              <a:pathLst>
                <a:path w="25981" h="25980" extrusionOk="0">
                  <a:moveTo>
                    <a:pt x="12990" y="0"/>
                  </a:moveTo>
                  <a:cubicBezTo>
                    <a:pt x="5811" y="0"/>
                    <a:pt x="1" y="5822"/>
                    <a:pt x="1" y="12990"/>
                  </a:cubicBezTo>
                  <a:cubicBezTo>
                    <a:pt x="1" y="20169"/>
                    <a:pt x="5811" y="25980"/>
                    <a:pt x="12990" y="25980"/>
                  </a:cubicBezTo>
                  <a:cubicBezTo>
                    <a:pt x="20158" y="25980"/>
                    <a:pt x="25980" y="20169"/>
                    <a:pt x="25980" y="12990"/>
                  </a:cubicBezTo>
                  <a:cubicBezTo>
                    <a:pt x="25980" y="5822"/>
                    <a:pt x="20158" y="0"/>
                    <a:pt x="12990" y="0"/>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57" name="Google Shape;939;p28">
              <a:extLst>
                <a:ext uri="{FF2B5EF4-FFF2-40B4-BE49-F238E27FC236}">
                  <a16:creationId xmlns:a16="http://schemas.microsoft.com/office/drawing/2014/main" id="{71855FD6-41FF-4276-8EAD-3389B51CA99B}"/>
                </a:ext>
              </a:extLst>
            </p:cNvPr>
            <p:cNvSpPr/>
            <p:nvPr/>
          </p:nvSpPr>
          <p:spPr>
            <a:xfrm>
              <a:off x="5942478" y="1831718"/>
              <a:ext cx="1054846" cy="911792"/>
            </a:xfrm>
            <a:custGeom>
              <a:avLst/>
              <a:gdLst/>
              <a:ahLst/>
              <a:cxnLst/>
              <a:rect l="l" t="t" r="r" b="b"/>
              <a:pathLst>
                <a:path w="45828" h="39613" extrusionOk="0">
                  <a:moveTo>
                    <a:pt x="0" y="1"/>
                  </a:moveTo>
                  <a:lnTo>
                    <a:pt x="0" y="39613"/>
                  </a:lnTo>
                  <a:lnTo>
                    <a:pt x="45827" y="39613"/>
                  </a:lnTo>
                  <a:lnTo>
                    <a:pt x="45827" y="13217"/>
                  </a:lnTo>
                  <a:lnTo>
                    <a:pt x="0" y="1"/>
                  </a:lnTo>
                  <a:close/>
                </a:path>
              </a:pathLst>
            </a:custGeom>
            <a:solidFill>
              <a:srgbClr val="F4F3F2"/>
            </a:solidFill>
            <a:ln>
              <a:noFill/>
            </a:ln>
          </p:spPr>
          <p:txBody>
            <a:bodyPr spcFirstLastPara="1" wrap="square" lIns="121900" tIns="121900" rIns="121900" bIns="121900" anchor="b"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Tx/>
                <a:buNone/>
                <a:tabLst/>
                <a:defRPr/>
              </a:pPr>
              <a:r>
                <a:rPr kumimoji="0" lang="en" sz="1600" b="0" i="0" u="none" strike="noStrike" kern="1200" cap="none" spc="0" normalizeH="0" baseline="0" noProof="0">
                  <a:ln>
                    <a:noFill/>
                  </a:ln>
                  <a:solidFill>
                    <a:srgbClr val="434343"/>
                  </a:solidFill>
                  <a:effectLst/>
                  <a:uLnTx/>
                  <a:uFillTx/>
                  <a:latin typeface="Arial"/>
                  <a:ea typeface="+mn-ea"/>
                  <a:cs typeface="+mn-ea"/>
                  <a:sym typeface="+mn-lt"/>
                </a:rPr>
                <a:t>Mars is a cold place</a:t>
              </a: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58" name="Google Shape;940;p28">
              <a:extLst>
                <a:ext uri="{FF2B5EF4-FFF2-40B4-BE49-F238E27FC236}">
                  <a16:creationId xmlns:a16="http://schemas.microsoft.com/office/drawing/2014/main" id="{CBEA903C-0603-4F60-830D-F2B9EB06A57A}"/>
                </a:ext>
              </a:extLst>
            </p:cNvPr>
            <p:cNvSpPr/>
            <p:nvPr/>
          </p:nvSpPr>
          <p:spPr>
            <a:xfrm>
              <a:off x="5942478" y="2842197"/>
              <a:ext cx="1054846" cy="911792"/>
            </a:xfrm>
            <a:custGeom>
              <a:avLst/>
              <a:gdLst/>
              <a:ahLst/>
              <a:cxnLst/>
              <a:rect l="l" t="t" r="r" b="b"/>
              <a:pathLst>
                <a:path w="45828" h="39613" extrusionOk="0">
                  <a:moveTo>
                    <a:pt x="0" y="0"/>
                  </a:moveTo>
                  <a:lnTo>
                    <a:pt x="0" y="39612"/>
                  </a:lnTo>
                  <a:lnTo>
                    <a:pt x="45827" y="26384"/>
                  </a:lnTo>
                  <a:lnTo>
                    <a:pt x="45827" y="0"/>
                  </a:lnTo>
                  <a:close/>
                </a:path>
              </a:pathLst>
            </a:custGeom>
            <a:solidFill>
              <a:srgbClr val="F4F3F2"/>
            </a:solidFill>
            <a:ln>
              <a:noFill/>
            </a:ln>
          </p:spPr>
          <p:txBody>
            <a:bodyPr spcFirstLastPara="1" wrap="square" lIns="121900" tIns="121900" rIns="121900" bIns="121900" anchor="t"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1600" b="0" i="0" u="none" strike="noStrike" kern="1200" cap="none" spc="0" normalizeH="0" baseline="0" noProof="0">
                  <a:ln>
                    <a:noFill/>
                  </a:ln>
                  <a:solidFill>
                    <a:srgbClr val="434343"/>
                  </a:solidFill>
                  <a:effectLst/>
                  <a:uLnTx/>
                  <a:uFillTx/>
                  <a:latin typeface="Arial"/>
                  <a:ea typeface="+mn-ea"/>
                  <a:cs typeface="+mn-ea"/>
                  <a:sym typeface="+mn-lt"/>
                </a:rPr>
                <a:t>Pluto is icy and small</a:t>
              </a:r>
              <a:endParaRPr kumimoji="0" sz="1600" b="0" i="0" u="none" strike="noStrike" kern="1200" cap="none" spc="0" normalizeH="0" baseline="0" noProof="0">
                <a:ln>
                  <a:noFill/>
                </a:ln>
                <a:solidFill>
                  <a:srgbClr val="434343"/>
                </a:solidFill>
                <a:effectLst/>
                <a:uLnTx/>
                <a:uFillTx/>
                <a:latin typeface="Arial"/>
                <a:ea typeface="+mn-ea"/>
                <a:cs typeface="+mn-ea"/>
                <a:sym typeface="+mn-lt"/>
              </a:endParaRPr>
            </a:p>
            <a:p>
              <a:pPr marL="0" marR="0" lvl="0" indent="0" algn="ctr" defTabSz="914400" rtl="0" eaLnBrk="1" fontAlgn="auto" latinLnBrk="0" hangingPunct="1">
                <a:lnSpc>
                  <a:spcPct val="100000"/>
                </a:lnSpc>
                <a:spcBef>
                  <a:spcPts val="0"/>
                </a:spcBef>
                <a:spcAft>
                  <a:spcPts val="0"/>
                </a:spcAft>
                <a:buClr>
                  <a:srgbClr val="000000"/>
                </a:buClr>
                <a:buSzPts val="1100"/>
                <a:buFontTx/>
                <a:buNone/>
                <a:tabLst/>
                <a:defRPr/>
              </a:pPr>
              <a:endParaRPr kumimoji="0" sz="1600" b="0" i="0" u="none" strike="noStrike" kern="1200" cap="none" spc="0" normalizeH="0" baseline="0" noProof="0">
                <a:ln>
                  <a:noFill/>
                </a:ln>
                <a:solidFill>
                  <a:srgbClr val="434343"/>
                </a:solidFill>
                <a:effectLst/>
                <a:uLnTx/>
                <a:uFillTx/>
                <a:latin typeface="Arial"/>
                <a:ea typeface="+mn-ea"/>
                <a:cs typeface="+mn-ea"/>
                <a:sym typeface="+mn-lt"/>
              </a:endParaRPr>
            </a:p>
          </p:txBody>
        </p:sp>
        <p:sp>
          <p:nvSpPr>
            <p:cNvPr id="59" name="Google Shape;941;p28">
              <a:extLst>
                <a:ext uri="{FF2B5EF4-FFF2-40B4-BE49-F238E27FC236}">
                  <a16:creationId xmlns:a16="http://schemas.microsoft.com/office/drawing/2014/main" id="{83CF0E7F-31A6-4309-9F20-BBED68C2D486}"/>
                </a:ext>
              </a:extLst>
            </p:cNvPr>
            <p:cNvSpPr/>
            <p:nvPr/>
          </p:nvSpPr>
          <p:spPr>
            <a:xfrm>
              <a:off x="6243947" y="3371940"/>
              <a:ext cx="453560" cy="453307"/>
            </a:xfrm>
            <a:custGeom>
              <a:avLst/>
              <a:gdLst/>
              <a:ahLst/>
              <a:cxnLst/>
              <a:rect l="l" t="t" r="r" b="b"/>
              <a:pathLst>
                <a:path w="19705" h="19694" extrusionOk="0">
                  <a:moveTo>
                    <a:pt x="9858" y="1"/>
                  </a:moveTo>
                  <a:cubicBezTo>
                    <a:pt x="4417" y="1"/>
                    <a:pt x="0" y="4406"/>
                    <a:pt x="0" y="9847"/>
                  </a:cubicBezTo>
                  <a:cubicBezTo>
                    <a:pt x="0" y="15288"/>
                    <a:pt x="4417" y="19694"/>
                    <a:pt x="9858" y="19694"/>
                  </a:cubicBezTo>
                  <a:cubicBezTo>
                    <a:pt x="15300" y="19694"/>
                    <a:pt x="19705" y="15288"/>
                    <a:pt x="19705" y="9847"/>
                  </a:cubicBezTo>
                  <a:cubicBezTo>
                    <a:pt x="19705" y="4406"/>
                    <a:pt x="15300" y="1"/>
                    <a:pt x="9858" y="1"/>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60" name="Google Shape;942;p28">
              <a:extLst>
                <a:ext uri="{FF2B5EF4-FFF2-40B4-BE49-F238E27FC236}">
                  <a16:creationId xmlns:a16="http://schemas.microsoft.com/office/drawing/2014/main" id="{6226CABC-70B7-4B3B-9B6B-98DBAA295EC0}"/>
                </a:ext>
              </a:extLst>
            </p:cNvPr>
            <p:cNvSpPr/>
            <p:nvPr/>
          </p:nvSpPr>
          <p:spPr>
            <a:xfrm>
              <a:off x="6243947" y="1777188"/>
              <a:ext cx="453560" cy="453307"/>
            </a:xfrm>
            <a:custGeom>
              <a:avLst/>
              <a:gdLst/>
              <a:ahLst/>
              <a:cxnLst/>
              <a:rect l="l" t="t" r="r" b="b"/>
              <a:pathLst>
                <a:path w="19705" h="19694" extrusionOk="0">
                  <a:moveTo>
                    <a:pt x="9858" y="0"/>
                  </a:moveTo>
                  <a:cubicBezTo>
                    <a:pt x="4417" y="0"/>
                    <a:pt x="0" y="4406"/>
                    <a:pt x="0" y="9847"/>
                  </a:cubicBezTo>
                  <a:cubicBezTo>
                    <a:pt x="0" y="15288"/>
                    <a:pt x="4417" y="19693"/>
                    <a:pt x="9858" y="19693"/>
                  </a:cubicBezTo>
                  <a:cubicBezTo>
                    <a:pt x="15300" y="19693"/>
                    <a:pt x="19705" y="15288"/>
                    <a:pt x="19705" y="9847"/>
                  </a:cubicBezTo>
                  <a:cubicBezTo>
                    <a:pt x="19705" y="4406"/>
                    <a:pt x="15300" y="0"/>
                    <a:pt x="9858" y="0"/>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61" name="Google Shape;943;p28">
              <a:extLst>
                <a:ext uri="{FF2B5EF4-FFF2-40B4-BE49-F238E27FC236}">
                  <a16:creationId xmlns:a16="http://schemas.microsoft.com/office/drawing/2014/main" id="{359EE594-A821-4753-9AEB-51DA468F4C18}"/>
                </a:ext>
              </a:extLst>
            </p:cNvPr>
            <p:cNvSpPr/>
            <p:nvPr/>
          </p:nvSpPr>
          <p:spPr>
            <a:xfrm>
              <a:off x="6893406" y="2609506"/>
              <a:ext cx="59224" cy="366715"/>
            </a:xfrm>
            <a:custGeom>
              <a:avLst/>
              <a:gdLst/>
              <a:ahLst/>
              <a:cxnLst/>
              <a:rect l="l" t="t" r="r" b="b"/>
              <a:pathLst>
                <a:path w="2573" h="15932" extrusionOk="0">
                  <a:moveTo>
                    <a:pt x="1286" y="1"/>
                  </a:moveTo>
                  <a:cubicBezTo>
                    <a:pt x="584" y="1"/>
                    <a:pt x="1" y="584"/>
                    <a:pt x="1" y="1287"/>
                  </a:cubicBezTo>
                  <a:lnTo>
                    <a:pt x="1" y="14645"/>
                  </a:lnTo>
                  <a:cubicBezTo>
                    <a:pt x="1" y="15348"/>
                    <a:pt x="584" y="15931"/>
                    <a:pt x="1286" y="15931"/>
                  </a:cubicBezTo>
                  <a:cubicBezTo>
                    <a:pt x="2001" y="15931"/>
                    <a:pt x="2572" y="15348"/>
                    <a:pt x="2572" y="14645"/>
                  </a:cubicBezTo>
                  <a:lnTo>
                    <a:pt x="2572" y="1287"/>
                  </a:lnTo>
                  <a:cubicBezTo>
                    <a:pt x="2572" y="584"/>
                    <a:pt x="2001" y="1"/>
                    <a:pt x="1286" y="1"/>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grpSp>
          <p:nvGrpSpPr>
            <p:cNvPr id="62" name="Google Shape;944;p28">
              <a:extLst>
                <a:ext uri="{FF2B5EF4-FFF2-40B4-BE49-F238E27FC236}">
                  <a16:creationId xmlns:a16="http://schemas.microsoft.com/office/drawing/2014/main" id="{C0AD8251-4310-407A-8733-EF8489AB38A6}"/>
                </a:ext>
              </a:extLst>
            </p:cNvPr>
            <p:cNvGrpSpPr/>
            <p:nvPr/>
          </p:nvGrpSpPr>
          <p:grpSpPr>
            <a:xfrm>
              <a:off x="6340162" y="3468749"/>
              <a:ext cx="273435" cy="273435"/>
              <a:chOff x="-31452725" y="3551775"/>
              <a:chExt cx="292225" cy="292225"/>
            </a:xfrm>
          </p:grpSpPr>
          <p:sp>
            <p:nvSpPr>
              <p:cNvPr id="69" name="Google Shape;945;p28">
                <a:extLst>
                  <a:ext uri="{FF2B5EF4-FFF2-40B4-BE49-F238E27FC236}">
                    <a16:creationId xmlns:a16="http://schemas.microsoft.com/office/drawing/2014/main" id="{EAAA5EC0-B5B4-4AB4-88B2-0962B99E2152}"/>
                  </a:ext>
                </a:extLst>
              </p:cNvPr>
              <p:cNvSpPr/>
              <p:nvPr/>
            </p:nvSpPr>
            <p:spPr>
              <a:xfrm>
                <a:off x="-31452725" y="3756550"/>
                <a:ext cx="155175" cy="34675"/>
              </a:xfrm>
              <a:custGeom>
                <a:avLst/>
                <a:gdLst/>
                <a:ahLst/>
                <a:cxnLst/>
                <a:rect l="l" t="t" r="r" b="b"/>
                <a:pathLst>
                  <a:path w="6207" h="1387" extrusionOk="0">
                    <a:moveTo>
                      <a:pt x="32" y="1"/>
                    </a:moveTo>
                    <a:lnTo>
                      <a:pt x="32" y="1040"/>
                    </a:lnTo>
                    <a:cubicBezTo>
                      <a:pt x="0" y="1292"/>
                      <a:pt x="158" y="1387"/>
                      <a:pt x="347" y="1387"/>
                    </a:cubicBezTo>
                    <a:lnTo>
                      <a:pt x="6207" y="1387"/>
                    </a:lnTo>
                    <a:lnTo>
                      <a:pt x="6207" y="1"/>
                    </a:lnTo>
                    <a:close/>
                  </a:path>
                </a:pathLst>
              </a:custGeom>
              <a:solidFill>
                <a:srgbClr val="FFFFFF"/>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70" name="Google Shape;946;p28">
                <a:extLst>
                  <a:ext uri="{FF2B5EF4-FFF2-40B4-BE49-F238E27FC236}">
                    <a16:creationId xmlns:a16="http://schemas.microsoft.com/office/drawing/2014/main" id="{DB6E1BBA-8648-4474-8CBA-EF2A62D10D5F}"/>
                  </a:ext>
                </a:extLst>
              </p:cNvPr>
              <p:cNvSpPr/>
              <p:nvPr/>
            </p:nvSpPr>
            <p:spPr>
              <a:xfrm>
                <a:off x="-31452725" y="3551775"/>
                <a:ext cx="183525" cy="188275"/>
              </a:xfrm>
              <a:custGeom>
                <a:avLst/>
                <a:gdLst/>
                <a:ahLst/>
                <a:cxnLst/>
                <a:rect l="l" t="t" r="r" b="b"/>
                <a:pathLst>
                  <a:path w="7341" h="7531" extrusionOk="0">
                    <a:moveTo>
                      <a:pt x="4474" y="0"/>
                    </a:moveTo>
                    <a:cubicBezTo>
                      <a:pt x="3939" y="0"/>
                      <a:pt x="3466" y="473"/>
                      <a:pt x="3466" y="1040"/>
                    </a:cubicBezTo>
                    <a:cubicBezTo>
                      <a:pt x="3466" y="1576"/>
                      <a:pt x="3939" y="2080"/>
                      <a:pt x="4474" y="2080"/>
                    </a:cubicBezTo>
                    <a:cubicBezTo>
                      <a:pt x="4600" y="2080"/>
                      <a:pt x="4726" y="2017"/>
                      <a:pt x="4852" y="1985"/>
                    </a:cubicBezTo>
                    <a:lnTo>
                      <a:pt x="4852" y="2773"/>
                    </a:lnTo>
                    <a:lnTo>
                      <a:pt x="2741" y="2773"/>
                    </a:lnTo>
                    <a:cubicBezTo>
                      <a:pt x="1261" y="2773"/>
                      <a:pt x="0" y="4002"/>
                      <a:pt x="0" y="5482"/>
                    </a:cubicBezTo>
                    <a:lnTo>
                      <a:pt x="0" y="7530"/>
                    </a:lnTo>
                    <a:lnTo>
                      <a:pt x="6175" y="7530"/>
                    </a:lnTo>
                    <a:lnTo>
                      <a:pt x="6175" y="5167"/>
                    </a:lnTo>
                    <a:cubicBezTo>
                      <a:pt x="6175" y="4191"/>
                      <a:pt x="6648" y="3372"/>
                      <a:pt x="7341" y="2773"/>
                    </a:cubicBezTo>
                    <a:lnTo>
                      <a:pt x="5514" y="2773"/>
                    </a:lnTo>
                    <a:lnTo>
                      <a:pt x="5514" y="1040"/>
                    </a:lnTo>
                    <a:cubicBezTo>
                      <a:pt x="5514" y="505"/>
                      <a:pt x="5041" y="0"/>
                      <a:pt x="4474" y="0"/>
                    </a:cubicBezTo>
                    <a:close/>
                  </a:path>
                </a:pathLst>
              </a:custGeom>
              <a:solidFill>
                <a:srgbClr val="FFFFFF"/>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71" name="Google Shape;947;p28">
                <a:extLst>
                  <a:ext uri="{FF2B5EF4-FFF2-40B4-BE49-F238E27FC236}">
                    <a16:creationId xmlns:a16="http://schemas.microsoft.com/office/drawing/2014/main" id="{FB5B5AD1-FBF7-4ACA-A547-230FEA519524}"/>
                  </a:ext>
                </a:extLst>
              </p:cNvPr>
              <p:cNvSpPr/>
              <p:nvPr/>
            </p:nvSpPr>
            <p:spPr>
              <a:xfrm>
                <a:off x="-31366100" y="3808550"/>
                <a:ext cx="52025" cy="35450"/>
              </a:xfrm>
              <a:custGeom>
                <a:avLst/>
                <a:gdLst/>
                <a:ahLst/>
                <a:cxnLst/>
                <a:rect l="l" t="t" r="r" b="b"/>
                <a:pathLst>
                  <a:path w="2081" h="1418" extrusionOk="0">
                    <a:moveTo>
                      <a:pt x="32" y="0"/>
                    </a:moveTo>
                    <a:lnTo>
                      <a:pt x="32" y="1040"/>
                    </a:lnTo>
                    <a:lnTo>
                      <a:pt x="1" y="1040"/>
                    </a:lnTo>
                    <a:cubicBezTo>
                      <a:pt x="1" y="1260"/>
                      <a:pt x="159" y="1418"/>
                      <a:pt x="348" y="1418"/>
                    </a:cubicBezTo>
                    <a:lnTo>
                      <a:pt x="1734" y="1418"/>
                    </a:lnTo>
                    <a:cubicBezTo>
                      <a:pt x="1923" y="1418"/>
                      <a:pt x="2080" y="1260"/>
                      <a:pt x="2080" y="1040"/>
                    </a:cubicBezTo>
                    <a:lnTo>
                      <a:pt x="2080" y="0"/>
                    </a:lnTo>
                    <a:close/>
                  </a:path>
                </a:pathLst>
              </a:custGeom>
              <a:solidFill>
                <a:srgbClr val="FFFFFF"/>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72" name="Google Shape;948;p28">
                <a:extLst>
                  <a:ext uri="{FF2B5EF4-FFF2-40B4-BE49-F238E27FC236}">
                    <a16:creationId xmlns:a16="http://schemas.microsoft.com/office/drawing/2014/main" id="{83B912C0-593F-4A02-B7EC-BA6D06C5C742}"/>
                  </a:ext>
                </a:extLst>
              </p:cNvPr>
              <p:cNvSpPr/>
              <p:nvPr/>
            </p:nvSpPr>
            <p:spPr>
              <a:xfrm>
                <a:off x="-31281025" y="3621075"/>
                <a:ext cx="120525" cy="171725"/>
              </a:xfrm>
              <a:custGeom>
                <a:avLst/>
                <a:gdLst/>
                <a:ahLst/>
                <a:cxnLst/>
                <a:rect l="l" t="t" r="r" b="b"/>
                <a:pathLst>
                  <a:path w="4821" h="6869" extrusionOk="0">
                    <a:moveTo>
                      <a:pt x="3435" y="2017"/>
                    </a:moveTo>
                    <a:cubicBezTo>
                      <a:pt x="3624" y="2017"/>
                      <a:pt x="3781" y="2175"/>
                      <a:pt x="3781" y="2364"/>
                    </a:cubicBezTo>
                    <a:cubicBezTo>
                      <a:pt x="3750" y="2553"/>
                      <a:pt x="3592" y="2710"/>
                      <a:pt x="3435" y="2710"/>
                    </a:cubicBezTo>
                    <a:lnTo>
                      <a:pt x="1387" y="2710"/>
                    </a:lnTo>
                    <a:cubicBezTo>
                      <a:pt x="1198" y="2710"/>
                      <a:pt x="1040" y="2553"/>
                      <a:pt x="1040" y="2364"/>
                    </a:cubicBezTo>
                    <a:cubicBezTo>
                      <a:pt x="1040" y="2175"/>
                      <a:pt x="1198" y="2017"/>
                      <a:pt x="1387" y="2017"/>
                    </a:cubicBezTo>
                    <a:close/>
                    <a:moveTo>
                      <a:pt x="3088" y="4128"/>
                    </a:moveTo>
                    <a:cubicBezTo>
                      <a:pt x="3466" y="4128"/>
                      <a:pt x="3750" y="4443"/>
                      <a:pt x="3750" y="4821"/>
                    </a:cubicBezTo>
                    <a:cubicBezTo>
                      <a:pt x="3750" y="5168"/>
                      <a:pt x="3466" y="5483"/>
                      <a:pt x="3088" y="5483"/>
                    </a:cubicBezTo>
                    <a:lnTo>
                      <a:pt x="1702" y="5483"/>
                    </a:lnTo>
                    <a:cubicBezTo>
                      <a:pt x="1324" y="5483"/>
                      <a:pt x="1040" y="5168"/>
                      <a:pt x="1040" y="4821"/>
                    </a:cubicBezTo>
                    <a:cubicBezTo>
                      <a:pt x="1040" y="4412"/>
                      <a:pt x="1355" y="4128"/>
                      <a:pt x="1702" y="4128"/>
                    </a:cubicBezTo>
                    <a:close/>
                    <a:moveTo>
                      <a:pt x="2426" y="1"/>
                    </a:moveTo>
                    <a:cubicBezTo>
                      <a:pt x="1072" y="1"/>
                      <a:pt x="1" y="1072"/>
                      <a:pt x="1" y="2395"/>
                    </a:cubicBezTo>
                    <a:lnTo>
                      <a:pt x="1" y="6869"/>
                    </a:lnTo>
                    <a:lnTo>
                      <a:pt x="4474" y="6869"/>
                    </a:lnTo>
                    <a:cubicBezTo>
                      <a:pt x="4663" y="6869"/>
                      <a:pt x="4821" y="6711"/>
                      <a:pt x="4821" y="6491"/>
                    </a:cubicBezTo>
                    <a:lnTo>
                      <a:pt x="4821" y="2395"/>
                    </a:lnTo>
                    <a:cubicBezTo>
                      <a:pt x="4789" y="1072"/>
                      <a:pt x="3718" y="1"/>
                      <a:pt x="2426" y="1"/>
                    </a:cubicBezTo>
                    <a:close/>
                  </a:path>
                </a:pathLst>
              </a:custGeom>
              <a:solidFill>
                <a:srgbClr val="FFFFFF"/>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grpSp>
        <p:grpSp>
          <p:nvGrpSpPr>
            <p:cNvPr id="63" name="Google Shape;949;p28">
              <a:extLst>
                <a:ext uri="{FF2B5EF4-FFF2-40B4-BE49-F238E27FC236}">
                  <a16:creationId xmlns:a16="http://schemas.microsoft.com/office/drawing/2014/main" id="{AA1116E4-770C-462A-BAAC-8EFEF5C5C412}"/>
                </a:ext>
              </a:extLst>
            </p:cNvPr>
            <p:cNvGrpSpPr/>
            <p:nvPr/>
          </p:nvGrpSpPr>
          <p:grpSpPr>
            <a:xfrm>
              <a:off x="6354724" y="1881711"/>
              <a:ext cx="244293" cy="244293"/>
              <a:chOff x="-34003850" y="3227275"/>
              <a:chExt cx="291450" cy="291450"/>
            </a:xfrm>
          </p:grpSpPr>
          <p:sp>
            <p:nvSpPr>
              <p:cNvPr id="64" name="Google Shape;950;p28">
                <a:extLst>
                  <a:ext uri="{FF2B5EF4-FFF2-40B4-BE49-F238E27FC236}">
                    <a16:creationId xmlns:a16="http://schemas.microsoft.com/office/drawing/2014/main" id="{78B86F26-8299-41BF-8E38-6BAA93FC4108}"/>
                  </a:ext>
                </a:extLst>
              </p:cNvPr>
              <p:cNvSpPr/>
              <p:nvPr/>
            </p:nvSpPr>
            <p:spPr>
              <a:xfrm>
                <a:off x="-33852625" y="3313925"/>
                <a:ext cx="128425" cy="49625"/>
              </a:xfrm>
              <a:custGeom>
                <a:avLst/>
                <a:gdLst/>
                <a:ahLst/>
                <a:cxnLst/>
                <a:rect l="l" t="t" r="r" b="b"/>
                <a:pathLst>
                  <a:path w="5137" h="1985" extrusionOk="0">
                    <a:moveTo>
                      <a:pt x="473" y="0"/>
                    </a:moveTo>
                    <a:cubicBezTo>
                      <a:pt x="316" y="0"/>
                      <a:pt x="158" y="32"/>
                      <a:pt x="1" y="126"/>
                    </a:cubicBezTo>
                    <a:lnTo>
                      <a:pt x="2521" y="1985"/>
                    </a:lnTo>
                    <a:lnTo>
                      <a:pt x="5136" y="158"/>
                    </a:lnTo>
                    <a:cubicBezTo>
                      <a:pt x="4979" y="32"/>
                      <a:pt x="4790" y="0"/>
                      <a:pt x="4569" y="0"/>
                    </a:cubicBezTo>
                    <a:close/>
                  </a:path>
                </a:pathLst>
              </a:custGeom>
              <a:solidFill>
                <a:schemeClr val="l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65" name="Google Shape;951;p28">
                <a:extLst>
                  <a:ext uri="{FF2B5EF4-FFF2-40B4-BE49-F238E27FC236}">
                    <a16:creationId xmlns:a16="http://schemas.microsoft.com/office/drawing/2014/main" id="{C4B63115-63C6-4B0F-810E-E1590605DCE8}"/>
                  </a:ext>
                </a:extLst>
              </p:cNvPr>
              <p:cNvSpPr/>
              <p:nvPr/>
            </p:nvSpPr>
            <p:spPr>
              <a:xfrm>
                <a:off x="-33866000" y="3328875"/>
                <a:ext cx="153600" cy="103200"/>
              </a:xfrm>
              <a:custGeom>
                <a:avLst/>
                <a:gdLst/>
                <a:ahLst/>
                <a:cxnLst/>
                <a:rect l="l" t="t" r="r" b="b"/>
                <a:pathLst>
                  <a:path w="6144" h="4128" extrusionOk="0">
                    <a:moveTo>
                      <a:pt x="63" y="1"/>
                    </a:moveTo>
                    <a:cubicBezTo>
                      <a:pt x="32" y="127"/>
                      <a:pt x="0" y="284"/>
                      <a:pt x="0" y="379"/>
                    </a:cubicBezTo>
                    <a:lnTo>
                      <a:pt x="0" y="3120"/>
                    </a:lnTo>
                    <a:cubicBezTo>
                      <a:pt x="0" y="3655"/>
                      <a:pt x="473" y="4128"/>
                      <a:pt x="1040" y="4128"/>
                    </a:cubicBezTo>
                    <a:lnTo>
                      <a:pt x="5136" y="4128"/>
                    </a:lnTo>
                    <a:cubicBezTo>
                      <a:pt x="5671" y="4128"/>
                      <a:pt x="6144" y="3655"/>
                      <a:pt x="6144" y="3120"/>
                    </a:cubicBezTo>
                    <a:lnTo>
                      <a:pt x="6144" y="379"/>
                    </a:lnTo>
                    <a:cubicBezTo>
                      <a:pt x="6144" y="284"/>
                      <a:pt x="6112" y="190"/>
                      <a:pt x="6112" y="64"/>
                    </a:cubicBezTo>
                    <a:lnTo>
                      <a:pt x="3277" y="2048"/>
                    </a:lnTo>
                    <a:cubicBezTo>
                      <a:pt x="3214" y="2080"/>
                      <a:pt x="3151" y="2080"/>
                      <a:pt x="3056" y="2080"/>
                    </a:cubicBezTo>
                    <a:cubicBezTo>
                      <a:pt x="2993" y="2080"/>
                      <a:pt x="2962" y="2080"/>
                      <a:pt x="2867" y="2048"/>
                    </a:cubicBezTo>
                    <a:lnTo>
                      <a:pt x="63" y="1"/>
                    </a:lnTo>
                    <a:close/>
                  </a:path>
                </a:pathLst>
              </a:custGeom>
              <a:solidFill>
                <a:schemeClr val="l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66" name="Google Shape;952;p28">
                <a:extLst>
                  <a:ext uri="{FF2B5EF4-FFF2-40B4-BE49-F238E27FC236}">
                    <a16:creationId xmlns:a16="http://schemas.microsoft.com/office/drawing/2014/main" id="{05162BD3-7130-4A9E-8758-3953FD002BC6}"/>
                  </a:ext>
                </a:extLst>
              </p:cNvPr>
              <p:cNvSpPr/>
              <p:nvPr/>
            </p:nvSpPr>
            <p:spPr>
              <a:xfrm>
                <a:off x="-34003850" y="3279250"/>
                <a:ext cx="189050" cy="188275"/>
              </a:xfrm>
              <a:custGeom>
                <a:avLst/>
                <a:gdLst/>
                <a:ahLst/>
                <a:cxnLst/>
                <a:rect l="l" t="t" r="r" b="b"/>
                <a:pathLst>
                  <a:path w="7562" h="7531" extrusionOk="0">
                    <a:moveTo>
                      <a:pt x="3781" y="2017"/>
                    </a:moveTo>
                    <a:cubicBezTo>
                      <a:pt x="3970" y="2017"/>
                      <a:pt x="4128" y="2175"/>
                      <a:pt x="4128" y="2364"/>
                    </a:cubicBezTo>
                    <a:cubicBezTo>
                      <a:pt x="4128" y="2584"/>
                      <a:pt x="3970" y="2742"/>
                      <a:pt x="3781" y="2742"/>
                    </a:cubicBezTo>
                    <a:lnTo>
                      <a:pt x="1702" y="2742"/>
                    </a:lnTo>
                    <a:cubicBezTo>
                      <a:pt x="1482" y="2742"/>
                      <a:pt x="1324" y="2584"/>
                      <a:pt x="1324" y="2364"/>
                    </a:cubicBezTo>
                    <a:cubicBezTo>
                      <a:pt x="1324" y="2175"/>
                      <a:pt x="1482" y="2017"/>
                      <a:pt x="1702" y="2017"/>
                    </a:cubicBezTo>
                    <a:close/>
                    <a:moveTo>
                      <a:pt x="3057" y="3403"/>
                    </a:moveTo>
                    <a:cubicBezTo>
                      <a:pt x="3277" y="3403"/>
                      <a:pt x="3435" y="3561"/>
                      <a:pt x="3435" y="3750"/>
                    </a:cubicBezTo>
                    <a:cubicBezTo>
                      <a:pt x="3466" y="3939"/>
                      <a:pt x="3277" y="4096"/>
                      <a:pt x="3057" y="4096"/>
                    </a:cubicBezTo>
                    <a:lnTo>
                      <a:pt x="1702" y="4096"/>
                    </a:lnTo>
                    <a:cubicBezTo>
                      <a:pt x="1482" y="4096"/>
                      <a:pt x="1324" y="3939"/>
                      <a:pt x="1324" y="3750"/>
                    </a:cubicBezTo>
                    <a:cubicBezTo>
                      <a:pt x="1324" y="3561"/>
                      <a:pt x="1482" y="3403"/>
                      <a:pt x="1702" y="3403"/>
                    </a:cubicBezTo>
                    <a:close/>
                    <a:moveTo>
                      <a:pt x="2395" y="4790"/>
                    </a:moveTo>
                    <a:cubicBezTo>
                      <a:pt x="2584" y="4790"/>
                      <a:pt x="2742" y="4947"/>
                      <a:pt x="2742" y="5136"/>
                    </a:cubicBezTo>
                    <a:cubicBezTo>
                      <a:pt x="2742" y="5325"/>
                      <a:pt x="2584" y="5483"/>
                      <a:pt x="2395" y="5483"/>
                    </a:cubicBezTo>
                    <a:lnTo>
                      <a:pt x="1702" y="5483"/>
                    </a:lnTo>
                    <a:cubicBezTo>
                      <a:pt x="1482" y="5483"/>
                      <a:pt x="1324" y="5325"/>
                      <a:pt x="1324" y="5136"/>
                    </a:cubicBezTo>
                    <a:cubicBezTo>
                      <a:pt x="1324" y="4947"/>
                      <a:pt x="1482" y="4790"/>
                      <a:pt x="1702" y="4790"/>
                    </a:cubicBezTo>
                    <a:close/>
                    <a:moveTo>
                      <a:pt x="1" y="1"/>
                    </a:moveTo>
                    <a:lnTo>
                      <a:pt x="1" y="7530"/>
                    </a:lnTo>
                    <a:lnTo>
                      <a:pt x="7562" y="7530"/>
                    </a:lnTo>
                    <a:lnTo>
                      <a:pt x="7562" y="6837"/>
                    </a:lnTo>
                    <a:lnTo>
                      <a:pt x="6522" y="6837"/>
                    </a:lnTo>
                    <a:cubicBezTo>
                      <a:pt x="5577" y="6837"/>
                      <a:pt x="4853" y="6081"/>
                      <a:pt x="4853" y="5136"/>
                    </a:cubicBezTo>
                    <a:lnTo>
                      <a:pt x="4853" y="2395"/>
                    </a:lnTo>
                    <a:cubicBezTo>
                      <a:pt x="4853" y="1450"/>
                      <a:pt x="5577" y="725"/>
                      <a:pt x="6522" y="725"/>
                    </a:cubicBezTo>
                    <a:lnTo>
                      <a:pt x="7562" y="725"/>
                    </a:lnTo>
                    <a:lnTo>
                      <a:pt x="7562" y="1"/>
                    </a:lnTo>
                    <a:close/>
                  </a:path>
                </a:pathLst>
              </a:custGeom>
              <a:solidFill>
                <a:schemeClr val="l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67" name="Google Shape;953;p28">
                <a:extLst>
                  <a:ext uri="{FF2B5EF4-FFF2-40B4-BE49-F238E27FC236}">
                    <a16:creationId xmlns:a16="http://schemas.microsoft.com/office/drawing/2014/main" id="{4DB3F7FA-8B36-4CC3-AEE6-E43F51B232A5}"/>
                  </a:ext>
                </a:extLst>
              </p:cNvPr>
              <p:cNvSpPr/>
              <p:nvPr/>
            </p:nvSpPr>
            <p:spPr>
              <a:xfrm>
                <a:off x="-34003850" y="3227275"/>
                <a:ext cx="189050" cy="34675"/>
              </a:xfrm>
              <a:custGeom>
                <a:avLst/>
                <a:gdLst/>
                <a:ahLst/>
                <a:cxnLst/>
                <a:rect l="l" t="t" r="r" b="b"/>
                <a:pathLst>
                  <a:path w="7562" h="1387" extrusionOk="0">
                    <a:moveTo>
                      <a:pt x="1009" y="1"/>
                    </a:moveTo>
                    <a:cubicBezTo>
                      <a:pt x="473" y="1"/>
                      <a:pt x="1" y="473"/>
                      <a:pt x="1" y="1040"/>
                    </a:cubicBezTo>
                    <a:lnTo>
                      <a:pt x="1" y="1387"/>
                    </a:lnTo>
                    <a:lnTo>
                      <a:pt x="7562" y="1387"/>
                    </a:lnTo>
                    <a:lnTo>
                      <a:pt x="7562" y="1040"/>
                    </a:lnTo>
                    <a:cubicBezTo>
                      <a:pt x="7562" y="473"/>
                      <a:pt x="7089" y="1"/>
                      <a:pt x="6522" y="1"/>
                    </a:cubicBezTo>
                    <a:close/>
                  </a:path>
                </a:pathLst>
              </a:custGeom>
              <a:solidFill>
                <a:schemeClr val="l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68" name="Google Shape;954;p28">
                <a:extLst>
                  <a:ext uri="{FF2B5EF4-FFF2-40B4-BE49-F238E27FC236}">
                    <a16:creationId xmlns:a16="http://schemas.microsoft.com/office/drawing/2014/main" id="{2C48F423-8ECC-43E7-AA6B-EF94CE634086}"/>
                  </a:ext>
                </a:extLst>
              </p:cNvPr>
              <p:cNvSpPr/>
              <p:nvPr/>
            </p:nvSpPr>
            <p:spPr>
              <a:xfrm>
                <a:off x="-34003850" y="3484050"/>
                <a:ext cx="189050" cy="34675"/>
              </a:xfrm>
              <a:custGeom>
                <a:avLst/>
                <a:gdLst/>
                <a:ahLst/>
                <a:cxnLst/>
                <a:rect l="l" t="t" r="r" b="b"/>
                <a:pathLst>
                  <a:path w="7562" h="1387" extrusionOk="0">
                    <a:moveTo>
                      <a:pt x="1" y="0"/>
                    </a:moveTo>
                    <a:lnTo>
                      <a:pt x="1" y="347"/>
                    </a:lnTo>
                    <a:cubicBezTo>
                      <a:pt x="1" y="945"/>
                      <a:pt x="442" y="1386"/>
                      <a:pt x="1009" y="1386"/>
                    </a:cubicBezTo>
                    <a:lnTo>
                      <a:pt x="6522" y="1386"/>
                    </a:lnTo>
                    <a:cubicBezTo>
                      <a:pt x="7089" y="1386"/>
                      <a:pt x="7562" y="914"/>
                      <a:pt x="7562" y="347"/>
                    </a:cubicBezTo>
                    <a:lnTo>
                      <a:pt x="7562" y="0"/>
                    </a:lnTo>
                    <a:close/>
                  </a:path>
                </a:pathLst>
              </a:custGeom>
              <a:solidFill>
                <a:schemeClr val="l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grpSp>
      </p:grpSp>
    </p:spTree>
    <p:extLst>
      <p:ext uri="{BB962C8B-B14F-4D97-AF65-F5344CB8AC3E}">
        <p14:creationId xmlns:p14="http://schemas.microsoft.com/office/powerpoint/2010/main" val="420513344"/>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7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oogle Shape;959;p29">
            <a:extLst>
              <a:ext uri="{FF2B5EF4-FFF2-40B4-BE49-F238E27FC236}">
                <a16:creationId xmlns:a16="http://schemas.microsoft.com/office/drawing/2014/main" id="{7D6D7D45-04FE-4EE3-AE8E-D4B0DAE9A092}"/>
              </a:ext>
            </a:extLst>
          </p:cNvPr>
          <p:cNvGrpSpPr/>
          <p:nvPr/>
        </p:nvGrpSpPr>
        <p:grpSpPr>
          <a:xfrm>
            <a:off x="1186223" y="2264325"/>
            <a:ext cx="9819553" cy="2478577"/>
            <a:chOff x="889500" y="1825990"/>
            <a:chExt cx="7364665" cy="1858933"/>
          </a:xfrm>
        </p:grpSpPr>
        <p:sp>
          <p:nvSpPr>
            <p:cNvPr id="3" name="Google Shape;960;p29">
              <a:extLst>
                <a:ext uri="{FF2B5EF4-FFF2-40B4-BE49-F238E27FC236}">
                  <a16:creationId xmlns:a16="http://schemas.microsoft.com/office/drawing/2014/main" id="{61185DBC-063E-40B2-A16B-08E242B3D372}"/>
                </a:ext>
              </a:extLst>
            </p:cNvPr>
            <p:cNvSpPr/>
            <p:nvPr/>
          </p:nvSpPr>
          <p:spPr>
            <a:xfrm>
              <a:off x="889500" y="1825990"/>
              <a:ext cx="7364665" cy="1858933"/>
            </a:xfrm>
            <a:custGeom>
              <a:avLst/>
              <a:gdLst/>
              <a:ahLst/>
              <a:cxnLst/>
              <a:rect l="l" t="t" r="r" b="b"/>
              <a:pathLst>
                <a:path w="337519" h="85194" extrusionOk="0">
                  <a:moveTo>
                    <a:pt x="312424" y="1"/>
                  </a:moveTo>
                  <a:cubicBezTo>
                    <a:pt x="310945" y="1"/>
                    <a:pt x="310004" y="2067"/>
                    <a:pt x="310004" y="6085"/>
                  </a:cubicBezTo>
                  <a:lnTo>
                    <a:pt x="310004" y="41304"/>
                  </a:lnTo>
                  <a:lnTo>
                    <a:pt x="16789" y="41304"/>
                  </a:lnTo>
                  <a:cubicBezTo>
                    <a:pt x="16574" y="37803"/>
                    <a:pt x="15669" y="34398"/>
                    <a:pt x="14038" y="31719"/>
                  </a:cubicBezTo>
                  <a:lnTo>
                    <a:pt x="6883" y="19920"/>
                  </a:lnTo>
                  <a:cubicBezTo>
                    <a:pt x="5185" y="17122"/>
                    <a:pt x="3625" y="15754"/>
                    <a:pt x="2422" y="15754"/>
                  </a:cubicBezTo>
                  <a:cubicBezTo>
                    <a:pt x="942" y="15754"/>
                    <a:pt x="1" y="17823"/>
                    <a:pt x="1" y="21849"/>
                  </a:cubicBezTo>
                  <a:lnTo>
                    <a:pt x="1" y="63306"/>
                  </a:lnTo>
                  <a:cubicBezTo>
                    <a:pt x="1" y="67349"/>
                    <a:pt x="972" y="69430"/>
                    <a:pt x="2495" y="69430"/>
                  </a:cubicBezTo>
                  <a:cubicBezTo>
                    <a:pt x="3721" y="69430"/>
                    <a:pt x="5305" y="68080"/>
                    <a:pt x="7025" y="65319"/>
                  </a:cubicBezTo>
                  <a:lnTo>
                    <a:pt x="13895" y="54317"/>
                  </a:lnTo>
                  <a:cubicBezTo>
                    <a:pt x="15705" y="51424"/>
                    <a:pt x="16669" y="47673"/>
                    <a:pt x="16812" y="43852"/>
                  </a:cubicBezTo>
                  <a:lnTo>
                    <a:pt x="310004" y="43852"/>
                  </a:lnTo>
                  <a:lnTo>
                    <a:pt x="310004" y="79070"/>
                  </a:lnTo>
                  <a:cubicBezTo>
                    <a:pt x="310004" y="83113"/>
                    <a:pt x="310972" y="85194"/>
                    <a:pt x="312493" y="85194"/>
                  </a:cubicBezTo>
                  <a:cubicBezTo>
                    <a:pt x="313718" y="85194"/>
                    <a:pt x="315302" y="83844"/>
                    <a:pt x="317028" y="81082"/>
                  </a:cubicBezTo>
                  <a:lnTo>
                    <a:pt x="333590" y="54543"/>
                  </a:lnTo>
                  <a:cubicBezTo>
                    <a:pt x="337460" y="48352"/>
                    <a:pt x="337519" y="38184"/>
                    <a:pt x="333733" y="31945"/>
                  </a:cubicBezTo>
                  <a:lnTo>
                    <a:pt x="316886" y="4168"/>
                  </a:lnTo>
                  <a:cubicBezTo>
                    <a:pt x="315187" y="1369"/>
                    <a:pt x="313627" y="1"/>
                    <a:pt x="312424" y="1"/>
                  </a:cubicBezTo>
                  <a:close/>
                </a:path>
              </a:pathLst>
            </a:custGeom>
            <a:solidFill>
              <a:srgbClr val="869FB2"/>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000"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4" name="Google Shape;961;p29">
              <a:extLst>
                <a:ext uri="{FF2B5EF4-FFF2-40B4-BE49-F238E27FC236}">
                  <a16:creationId xmlns:a16="http://schemas.microsoft.com/office/drawing/2014/main" id="{DFE6E458-8F74-4D44-9B5E-87759E81CD2B}"/>
                </a:ext>
              </a:extLst>
            </p:cNvPr>
            <p:cNvSpPr txBox="1"/>
            <p:nvPr/>
          </p:nvSpPr>
          <p:spPr>
            <a:xfrm rot="-5400000">
              <a:off x="7396637" y="2591545"/>
              <a:ext cx="986100" cy="325500"/>
            </a:xfrm>
            <a:prstGeom prst="rect">
              <a:avLst/>
            </a:prstGeom>
            <a:noFill/>
            <a:ln>
              <a:noFill/>
            </a:ln>
          </p:spPr>
          <p:txBody>
            <a:bodyPr spcFirstLastPara="1" wrap="square" lIns="121900" tIns="121900" rIns="121900" bIns="1219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1800" b="0" i="0" u="none" strike="noStrike" kern="1200" cap="none" spc="0" normalizeH="0" baseline="0" noProof="0">
                  <a:ln>
                    <a:noFill/>
                  </a:ln>
                  <a:solidFill>
                    <a:srgbClr val="FFFFFF"/>
                  </a:solidFill>
                  <a:effectLst/>
                  <a:uLnTx/>
                  <a:uFillTx/>
                  <a:latin typeface="Arial"/>
                  <a:ea typeface="+mn-ea"/>
                  <a:cs typeface="+mn-ea"/>
                  <a:sym typeface="+mn-lt"/>
                </a:rPr>
                <a:t>Venus</a:t>
              </a:r>
              <a:endParaRPr kumimoji="0" sz="1800" b="0" i="0" u="none" strike="noStrike" kern="1200" cap="none" spc="0" normalizeH="0" baseline="0" noProof="0">
                <a:ln>
                  <a:noFill/>
                </a:ln>
                <a:solidFill>
                  <a:srgbClr val="FFFFFF"/>
                </a:solidFill>
                <a:effectLst/>
                <a:uLnTx/>
                <a:uFillTx/>
                <a:latin typeface="Arial"/>
                <a:ea typeface="+mn-ea"/>
                <a:cs typeface="+mn-ea"/>
                <a:sym typeface="+mn-lt"/>
              </a:endParaRPr>
            </a:p>
          </p:txBody>
        </p:sp>
      </p:grpSp>
      <p:grpSp>
        <p:nvGrpSpPr>
          <p:cNvPr id="5" name="Google Shape;963;p29">
            <a:extLst>
              <a:ext uri="{FF2B5EF4-FFF2-40B4-BE49-F238E27FC236}">
                <a16:creationId xmlns:a16="http://schemas.microsoft.com/office/drawing/2014/main" id="{81709795-8B9E-4793-9671-77595AFD672D}"/>
              </a:ext>
            </a:extLst>
          </p:cNvPr>
          <p:cNvGrpSpPr/>
          <p:nvPr/>
        </p:nvGrpSpPr>
        <p:grpSpPr>
          <a:xfrm>
            <a:off x="3681574" y="1727057"/>
            <a:ext cx="1975897" cy="3549881"/>
            <a:chOff x="2913413" y="1423039"/>
            <a:chExt cx="1481923" cy="2662411"/>
          </a:xfrm>
        </p:grpSpPr>
        <p:sp>
          <p:nvSpPr>
            <p:cNvPr id="6" name="Google Shape;964;p29">
              <a:extLst>
                <a:ext uri="{FF2B5EF4-FFF2-40B4-BE49-F238E27FC236}">
                  <a16:creationId xmlns:a16="http://schemas.microsoft.com/office/drawing/2014/main" id="{B486EF75-B018-4F1C-A5E8-42DE01CB1065}"/>
                </a:ext>
              </a:extLst>
            </p:cNvPr>
            <p:cNvSpPr/>
            <p:nvPr/>
          </p:nvSpPr>
          <p:spPr>
            <a:xfrm>
              <a:off x="3664388" y="1424676"/>
              <a:ext cx="730948" cy="2660774"/>
            </a:xfrm>
            <a:custGeom>
              <a:avLst/>
              <a:gdLst/>
              <a:ahLst/>
              <a:cxnLst/>
              <a:rect l="l" t="t" r="r" b="b"/>
              <a:pathLst>
                <a:path w="33499" h="121942" extrusionOk="0">
                  <a:moveTo>
                    <a:pt x="2000" y="0"/>
                  </a:moveTo>
                  <a:cubicBezTo>
                    <a:pt x="934" y="0"/>
                    <a:pt x="1" y="1292"/>
                    <a:pt x="1030" y="2104"/>
                  </a:cubicBezTo>
                  <a:cubicBezTo>
                    <a:pt x="9377" y="8676"/>
                    <a:pt x="16961" y="16166"/>
                    <a:pt x="22235" y="25476"/>
                  </a:cubicBezTo>
                  <a:cubicBezTo>
                    <a:pt x="28331" y="36275"/>
                    <a:pt x="30367" y="48705"/>
                    <a:pt x="30415" y="60969"/>
                  </a:cubicBezTo>
                  <a:cubicBezTo>
                    <a:pt x="30463" y="73280"/>
                    <a:pt x="28212" y="85603"/>
                    <a:pt x="22235" y="96461"/>
                  </a:cubicBezTo>
                  <a:cubicBezTo>
                    <a:pt x="17080" y="105796"/>
                    <a:pt x="9329" y="113296"/>
                    <a:pt x="1030" y="119833"/>
                  </a:cubicBezTo>
                  <a:cubicBezTo>
                    <a:pt x="2" y="120644"/>
                    <a:pt x="932" y="121942"/>
                    <a:pt x="1997" y="121942"/>
                  </a:cubicBezTo>
                  <a:cubicBezTo>
                    <a:pt x="2276" y="121942"/>
                    <a:pt x="2564" y="121853"/>
                    <a:pt x="2828" y="121643"/>
                  </a:cubicBezTo>
                  <a:cubicBezTo>
                    <a:pt x="11008" y="115190"/>
                    <a:pt x="18461" y="107855"/>
                    <a:pt x="23807" y="98842"/>
                  </a:cubicBezTo>
                  <a:cubicBezTo>
                    <a:pt x="29701" y="88913"/>
                    <a:pt x="32249" y="77494"/>
                    <a:pt x="32856" y="66053"/>
                  </a:cubicBezTo>
                  <a:cubicBezTo>
                    <a:pt x="33499" y="53873"/>
                    <a:pt x="32118" y="41180"/>
                    <a:pt x="27236" y="29917"/>
                  </a:cubicBezTo>
                  <a:cubicBezTo>
                    <a:pt x="23081" y="20321"/>
                    <a:pt x="16544" y="12225"/>
                    <a:pt x="8805" y="5271"/>
                  </a:cubicBezTo>
                  <a:cubicBezTo>
                    <a:pt x="6876" y="3545"/>
                    <a:pt x="4864" y="1902"/>
                    <a:pt x="2828" y="295"/>
                  </a:cubicBezTo>
                  <a:cubicBezTo>
                    <a:pt x="2565" y="88"/>
                    <a:pt x="2278" y="0"/>
                    <a:pt x="2000" y="0"/>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000"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7" name="Google Shape;965;p29">
              <a:extLst>
                <a:ext uri="{FF2B5EF4-FFF2-40B4-BE49-F238E27FC236}">
                  <a16:creationId xmlns:a16="http://schemas.microsoft.com/office/drawing/2014/main" id="{94615A9A-7E1B-4898-ACEA-9BD42E4866C4}"/>
                </a:ext>
              </a:extLst>
            </p:cNvPr>
            <p:cNvSpPr/>
            <p:nvPr/>
          </p:nvSpPr>
          <p:spPr>
            <a:xfrm>
              <a:off x="2913413" y="1423039"/>
              <a:ext cx="1065951" cy="290992"/>
            </a:xfrm>
            <a:custGeom>
              <a:avLst/>
              <a:gdLst/>
              <a:ahLst/>
              <a:cxnLst/>
              <a:rect l="l" t="t" r="r" b="b"/>
              <a:pathLst>
                <a:path w="48852" h="13336" extrusionOk="0">
                  <a:moveTo>
                    <a:pt x="6585" y="0"/>
                  </a:moveTo>
                  <a:cubicBezTo>
                    <a:pt x="6513" y="0"/>
                    <a:pt x="6454" y="12"/>
                    <a:pt x="6382" y="24"/>
                  </a:cubicBezTo>
                  <a:cubicBezTo>
                    <a:pt x="2834" y="167"/>
                    <a:pt x="0" y="3084"/>
                    <a:pt x="0" y="6668"/>
                  </a:cubicBezTo>
                  <a:cubicBezTo>
                    <a:pt x="0" y="10264"/>
                    <a:pt x="2834" y="13169"/>
                    <a:pt x="6382" y="13323"/>
                  </a:cubicBezTo>
                  <a:cubicBezTo>
                    <a:pt x="6454" y="13323"/>
                    <a:pt x="6513" y="13335"/>
                    <a:pt x="6585" y="13335"/>
                  </a:cubicBezTo>
                  <a:lnTo>
                    <a:pt x="48852" y="13335"/>
                  </a:lnTo>
                  <a:lnTo>
                    <a:pt x="36172" y="0"/>
                  </a:ln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100"/>
                <a:buFontTx/>
                <a:buNone/>
                <a:tabLst/>
                <a:defRPr/>
              </a:pPr>
              <a:r>
                <a:rPr kumimoji="0" lang="en" sz="2000" b="0" i="0" u="none" strike="noStrike" kern="1200" cap="none" spc="0" normalizeH="0" baseline="0" noProof="0">
                  <a:ln>
                    <a:noFill/>
                  </a:ln>
                  <a:solidFill>
                    <a:srgbClr val="FFFFFF"/>
                  </a:solidFill>
                  <a:effectLst/>
                  <a:uLnTx/>
                  <a:uFillTx/>
                  <a:latin typeface="Arial"/>
                  <a:ea typeface="+mn-ea"/>
                  <a:cs typeface="+mn-ea"/>
                  <a:sym typeface="+mn-lt"/>
                </a:rPr>
                <a:t>Mercury</a:t>
              </a:r>
              <a:endParaRPr kumimoji="0" sz="2000"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8" name="Google Shape;966;p29">
              <a:extLst>
                <a:ext uri="{FF2B5EF4-FFF2-40B4-BE49-F238E27FC236}">
                  <a16:creationId xmlns:a16="http://schemas.microsoft.com/office/drawing/2014/main" id="{FA68A815-FDA1-4EBD-A7A2-2A8F25422550}"/>
                </a:ext>
              </a:extLst>
            </p:cNvPr>
            <p:cNvSpPr/>
            <p:nvPr/>
          </p:nvSpPr>
          <p:spPr>
            <a:xfrm>
              <a:off x="2913413" y="3793525"/>
              <a:ext cx="1065951" cy="290992"/>
            </a:xfrm>
            <a:custGeom>
              <a:avLst/>
              <a:gdLst/>
              <a:ahLst/>
              <a:cxnLst/>
              <a:rect l="l" t="t" r="r" b="b"/>
              <a:pathLst>
                <a:path w="48852" h="13336" extrusionOk="0">
                  <a:moveTo>
                    <a:pt x="6585" y="1"/>
                  </a:moveTo>
                  <a:cubicBezTo>
                    <a:pt x="6513" y="1"/>
                    <a:pt x="6454" y="1"/>
                    <a:pt x="6382" y="13"/>
                  </a:cubicBezTo>
                  <a:cubicBezTo>
                    <a:pt x="2834" y="156"/>
                    <a:pt x="0" y="3073"/>
                    <a:pt x="0" y="6668"/>
                  </a:cubicBezTo>
                  <a:cubicBezTo>
                    <a:pt x="0" y="10252"/>
                    <a:pt x="2834" y="13169"/>
                    <a:pt x="6382" y="13312"/>
                  </a:cubicBezTo>
                  <a:cubicBezTo>
                    <a:pt x="6454" y="13324"/>
                    <a:pt x="6513" y="13336"/>
                    <a:pt x="6585" y="13336"/>
                  </a:cubicBezTo>
                  <a:lnTo>
                    <a:pt x="36172" y="13336"/>
                  </a:lnTo>
                  <a:lnTo>
                    <a:pt x="48852" y="1"/>
                  </a:ln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100"/>
                <a:buFontTx/>
                <a:buNone/>
                <a:tabLst/>
                <a:defRPr/>
              </a:pPr>
              <a:r>
                <a:rPr kumimoji="0" lang="en" sz="2000" b="0" i="0" u="none" strike="noStrike" kern="1200" cap="none" spc="0" normalizeH="0" baseline="0" noProof="0">
                  <a:ln>
                    <a:noFill/>
                  </a:ln>
                  <a:solidFill>
                    <a:srgbClr val="FFFFFF"/>
                  </a:solidFill>
                  <a:effectLst/>
                  <a:uLnTx/>
                  <a:uFillTx/>
                  <a:latin typeface="Arial"/>
                  <a:ea typeface="+mn-ea"/>
                  <a:cs typeface="+mn-ea"/>
                  <a:sym typeface="+mn-lt"/>
                </a:rPr>
                <a:t>Saturn</a:t>
              </a:r>
              <a:endParaRPr kumimoji="0" sz="2000"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9" name="Google Shape;967;p29">
              <a:extLst>
                <a:ext uri="{FF2B5EF4-FFF2-40B4-BE49-F238E27FC236}">
                  <a16:creationId xmlns:a16="http://schemas.microsoft.com/office/drawing/2014/main" id="{3E206B38-323E-4382-B364-B636AE6422E6}"/>
                </a:ext>
              </a:extLst>
            </p:cNvPr>
            <p:cNvSpPr/>
            <p:nvPr/>
          </p:nvSpPr>
          <p:spPr>
            <a:xfrm>
              <a:off x="3585264" y="2609853"/>
              <a:ext cx="780458" cy="290992"/>
            </a:xfrm>
            <a:custGeom>
              <a:avLst/>
              <a:gdLst/>
              <a:ahLst/>
              <a:cxnLst/>
              <a:rect l="l" t="t" r="r" b="b"/>
              <a:pathLst>
                <a:path w="35768" h="13336" extrusionOk="0">
                  <a:moveTo>
                    <a:pt x="6597" y="0"/>
                  </a:moveTo>
                  <a:cubicBezTo>
                    <a:pt x="6526" y="0"/>
                    <a:pt x="6454" y="12"/>
                    <a:pt x="6383" y="24"/>
                  </a:cubicBezTo>
                  <a:cubicBezTo>
                    <a:pt x="2835" y="167"/>
                    <a:pt x="1" y="3084"/>
                    <a:pt x="1" y="6668"/>
                  </a:cubicBezTo>
                  <a:cubicBezTo>
                    <a:pt x="1" y="10263"/>
                    <a:pt x="2835" y="13180"/>
                    <a:pt x="6383" y="13323"/>
                  </a:cubicBezTo>
                  <a:cubicBezTo>
                    <a:pt x="6454" y="13335"/>
                    <a:pt x="6526" y="13335"/>
                    <a:pt x="6597" y="13335"/>
                  </a:cubicBezTo>
                  <a:lnTo>
                    <a:pt x="35767" y="13335"/>
                  </a:lnTo>
                  <a:lnTo>
                    <a:pt x="35767" y="0"/>
                  </a:lnTo>
                  <a:close/>
                </a:path>
              </a:pathLst>
            </a:custGeom>
            <a:solidFill>
              <a:schemeClr val="accent1"/>
            </a:solidFill>
            <a:ln>
              <a:noFill/>
            </a:ln>
          </p:spPr>
          <p:txBody>
            <a:bodyPr spcFirstLastPara="1" wrap="square" lIns="121900" tIns="121900" rIns="121900" bIns="1219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Tx/>
                <a:buNone/>
                <a:tabLst/>
                <a:defRPr/>
              </a:pPr>
              <a:r>
                <a:rPr kumimoji="0" lang="en" sz="2000" b="0" i="0" u="none" strike="noStrike" kern="1200" cap="none" spc="0" normalizeH="0" baseline="0" noProof="0">
                  <a:ln>
                    <a:noFill/>
                  </a:ln>
                  <a:solidFill>
                    <a:srgbClr val="FFFFFF"/>
                  </a:solidFill>
                  <a:effectLst/>
                  <a:uLnTx/>
                  <a:uFillTx/>
                  <a:latin typeface="Arial"/>
                  <a:ea typeface="+mn-ea"/>
                  <a:cs typeface="+mn-ea"/>
                  <a:sym typeface="+mn-lt"/>
                </a:rPr>
                <a:t>Item 3</a:t>
              </a:r>
              <a:endParaRPr kumimoji="0" sz="2000"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10" name="Google Shape;968;p29">
              <a:extLst>
                <a:ext uri="{FF2B5EF4-FFF2-40B4-BE49-F238E27FC236}">
                  <a16:creationId xmlns:a16="http://schemas.microsoft.com/office/drawing/2014/main" id="{974D1C77-853E-46CA-B550-F32C92B5E24D}"/>
                </a:ext>
              </a:extLst>
            </p:cNvPr>
            <p:cNvSpPr txBox="1"/>
            <p:nvPr/>
          </p:nvSpPr>
          <p:spPr>
            <a:xfrm>
              <a:off x="3133525" y="1842813"/>
              <a:ext cx="964200" cy="597300"/>
            </a:xfrm>
            <a:prstGeom prst="rect">
              <a:avLst/>
            </a:prstGeom>
            <a:noFill/>
            <a:ln>
              <a:noFill/>
            </a:ln>
          </p:spPr>
          <p:txBody>
            <a:bodyPr spcFirstLastPara="1" wrap="square" lIns="121900" tIns="121900" rIns="121900" bIns="12190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 sz="1200" b="0" i="0" u="none" strike="noStrike" kern="1200" cap="none" spc="0" normalizeH="0" baseline="0" noProof="0">
                  <a:ln>
                    <a:noFill/>
                  </a:ln>
                  <a:solidFill>
                    <a:srgbClr val="434343"/>
                  </a:solidFill>
                  <a:effectLst/>
                  <a:uLnTx/>
                  <a:uFillTx/>
                  <a:latin typeface="Arial"/>
                  <a:ea typeface="+mn-ea"/>
                  <a:cs typeface="+mn-ea"/>
                  <a:sym typeface="+mn-lt"/>
                </a:rPr>
                <a:t>Mercury is the first</a:t>
              </a:r>
              <a:endParaRPr kumimoji="0" sz="1200" b="0" i="0" u="none" strike="noStrike" kern="1200" cap="none" spc="0" normalizeH="0" baseline="0" noProof="0">
                <a:ln>
                  <a:noFill/>
                </a:ln>
                <a:solidFill>
                  <a:srgbClr val="434343"/>
                </a:solidFill>
                <a:effectLst/>
                <a:uLnTx/>
                <a:uFillTx/>
                <a:latin typeface="Arial"/>
                <a:ea typeface="+mn-ea"/>
                <a:cs typeface="+mn-ea"/>
                <a:sym typeface="+mn-lt"/>
              </a:endParaRPr>
            </a:p>
          </p:txBody>
        </p:sp>
        <p:sp>
          <p:nvSpPr>
            <p:cNvPr id="11" name="Google Shape;969;p29">
              <a:extLst>
                <a:ext uri="{FF2B5EF4-FFF2-40B4-BE49-F238E27FC236}">
                  <a16:creationId xmlns:a16="http://schemas.microsoft.com/office/drawing/2014/main" id="{7B293F50-F431-4E6A-8074-A377BF71AD00}"/>
                </a:ext>
              </a:extLst>
            </p:cNvPr>
            <p:cNvSpPr txBox="1"/>
            <p:nvPr/>
          </p:nvSpPr>
          <p:spPr>
            <a:xfrm>
              <a:off x="3128275" y="3044188"/>
              <a:ext cx="964200" cy="597300"/>
            </a:xfrm>
            <a:prstGeom prst="rect">
              <a:avLst/>
            </a:prstGeom>
            <a:noFill/>
            <a:ln>
              <a:noFill/>
            </a:ln>
          </p:spPr>
          <p:txBody>
            <a:bodyPr spcFirstLastPara="1" wrap="square" lIns="121900" tIns="121900" rIns="121900" bIns="12190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 sz="1200" b="0" i="0" u="none" strike="noStrike" kern="1200" cap="none" spc="0" normalizeH="0" baseline="0" noProof="0">
                  <a:ln>
                    <a:noFill/>
                  </a:ln>
                  <a:solidFill>
                    <a:srgbClr val="434343"/>
                  </a:solidFill>
                  <a:effectLst/>
                  <a:uLnTx/>
                  <a:uFillTx/>
                  <a:latin typeface="Arial"/>
                  <a:ea typeface="+mn-ea"/>
                  <a:cs typeface="+mn-ea"/>
                  <a:sym typeface="+mn-lt"/>
                </a:rPr>
                <a:t>Saturn is ringed</a:t>
              </a:r>
              <a:endParaRPr kumimoji="0" sz="1200" b="0" i="0" u="none" strike="noStrike" kern="1200" cap="none" spc="0" normalizeH="0" baseline="0" noProof="0">
                <a:ln>
                  <a:noFill/>
                </a:ln>
                <a:solidFill>
                  <a:srgbClr val="434343"/>
                </a:solidFill>
                <a:effectLst/>
                <a:uLnTx/>
                <a:uFillTx/>
                <a:latin typeface="Arial"/>
                <a:ea typeface="+mn-ea"/>
                <a:cs typeface="+mn-ea"/>
                <a:sym typeface="+mn-lt"/>
              </a:endParaRPr>
            </a:p>
          </p:txBody>
        </p:sp>
      </p:grpSp>
      <p:grpSp>
        <p:nvGrpSpPr>
          <p:cNvPr id="12" name="Google Shape;970;p29">
            <a:extLst>
              <a:ext uri="{FF2B5EF4-FFF2-40B4-BE49-F238E27FC236}">
                <a16:creationId xmlns:a16="http://schemas.microsoft.com/office/drawing/2014/main" id="{A964C243-7B18-474C-8CD0-AE878EEF48E2}"/>
              </a:ext>
            </a:extLst>
          </p:cNvPr>
          <p:cNvGrpSpPr/>
          <p:nvPr/>
        </p:nvGrpSpPr>
        <p:grpSpPr>
          <a:xfrm>
            <a:off x="1603094" y="1875674"/>
            <a:ext cx="2014705" cy="3251431"/>
            <a:chOff x="1354553" y="1534502"/>
            <a:chExt cx="1511029" cy="2438573"/>
          </a:xfrm>
        </p:grpSpPr>
        <p:sp>
          <p:nvSpPr>
            <p:cNvPr id="13" name="Google Shape;971;p29">
              <a:extLst>
                <a:ext uri="{FF2B5EF4-FFF2-40B4-BE49-F238E27FC236}">
                  <a16:creationId xmlns:a16="http://schemas.microsoft.com/office/drawing/2014/main" id="{26FB7C98-EB5C-4B02-BC25-42BC34069C13}"/>
                </a:ext>
              </a:extLst>
            </p:cNvPr>
            <p:cNvSpPr/>
            <p:nvPr/>
          </p:nvSpPr>
          <p:spPr>
            <a:xfrm>
              <a:off x="1354553" y="1534502"/>
              <a:ext cx="1110398" cy="290992"/>
            </a:xfrm>
            <a:custGeom>
              <a:avLst/>
              <a:gdLst/>
              <a:ahLst/>
              <a:cxnLst/>
              <a:rect l="l" t="t" r="r" b="b"/>
              <a:pathLst>
                <a:path w="50889" h="13336" extrusionOk="0">
                  <a:moveTo>
                    <a:pt x="6585" y="0"/>
                  </a:moveTo>
                  <a:cubicBezTo>
                    <a:pt x="6514" y="0"/>
                    <a:pt x="6442" y="12"/>
                    <a:pt x="6383" y="12"/>
                  </a:cubicBezTo>
                  <a:cubicBezTo>
                    <a:pt x="2835" y="167"/>
                    <a:pt x="1" y="3084"/>
                    <a:pt x="1" y="6668"/>
                  </a:cubicBezTo>
                  <a:cubicBezTo>
                    <a:pt x="1" y="10251"/>
                    <a:pt x="2835" y="13168"/>
                    <a:pt x="6383" y="13323"/>
                  </a:cubicBezTo>
                  <a:cubicBezTo>
                    <a:pt x="6442" y="13323"/>
                    <a:pt x="6514" y="13335"/>
                    <a:pt x="6585" y="13335"/>
                  </a:cubicBezTo>
                  <a:lnTo>
                    <a:pt x="50888" y="13335"/>
                  </a:lnTo>
                  <a:lnTo>
                    <a:pt x="36172" y="0"/>
                  </a:ln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100"/>
                <a:buFontTx/>
                <a:buNone/>
                <a:tabLst/>
                <a:defRPr/>
              </a:pPr>
              <a:r>
                <a:rPr kumimoji="0" lang="en" sz="2000" b="0" i="0" u="none" strike="noStrike" kern="1200" cap="none" spc="0" normalizeH="0" baseline="0" noProof="0">
                  <a:ln>
                    <a:noFill/>
                  </a:ln>
                  <a:solidFill>
                    <a:srgbClr val="FFFFFF"/>
                  </a:solidFill>
                  <a:effectLst/>
                  <a:uLnTx/>
                  <a:uFillTx/>
                  <a:latin typeface="Arial"/>
                  <a:ea typeface="+mn-ea"/>
                  <a:cs typeface="+mn-ea"/>
                  <a:sym typeface="+mn-lt"/>
                </a:rPr>
                <a:t>Sun</a:t>
              </a:r>
              <a:endParaRPr kumimoji="0" sz="2000"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14" name="Google Shape;972;p29">
              <a:extLst>
                <a:ext uri="{FF2B5EF4-FFF2-40B4-BE49-F238E27FC236}">
                  <a16:creationId xmlns:a16="http://schemas.microsoft.com/office/drawing/2014/main" id="{CF901381-CF48-431F-8A99-212287A06828}"/>
                </a:ext>
              </a:extLst>
            </p:cNvPr>
            <p:cNvSpPr/>
            <p:nvPr/>
          </p:nvSpPr>
          <p:spPr>
            <a:xfrm>
              <a:off x="1354553" y="3682084"/>
              <a:ext cx="1110398" cy="290992"/>
            </a:xfrm>
            <a:custGeom>
              <a:avLst/>
              <a:gdLst/>
              <a:ahLst/>
              <a:cxnLst/>
              <a:rect l="l" t="t" r="r" b="b"/>
              <a:pathLst>
                <a:path w="50889" h="13336" extrusionOk="0">
                  <a:moveTo>
                    <a:pt x="6585" y="0"/>
                  </a:moveTo>
                  <a:cubicBezTo>
                    <a:pt x="6514" y="0"/>
                    <a:pt x="6442" y="12"/>
                    <a:pt x="6383" y="12"/>
                  </a:cubicBezTo>
                  <a:cubicBezTo>
                    <a:pt x="2835" y="167"/>
                    <a:pt x="1" y="3084"/>
                    <a:pt x="1" y="6668"/>
                  </a:cubicBezTo>
                  <a:cubicBezTo>
                    <a:pt x="1" y="10251"/>
                    <a:pt x="2835" y="13168"/>
                    <a:pt x="6383" y="13323"/>
                  </a:cubicBezTo>
                  <a:cubicBezTo>
                    <a:pt x="6442" y="13323"/>
                    <a:pt x="6514" y="13335"/>
                    <a:pt x="6585" y="13335"/>
                  </a:cubicBezTo>
                  <a:lnTo>
                    <a:pt x="36172" y="13335"/>
                  </a:lnTo>
                  <a:lnTo>
                    <a:pt x="50888" y="0"/>
                  </a:ln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100"/>
                <a:buFontTx/>
                <a:buNone/>
                <a:tabLst/>
                <a:defRPr/>
              </a:pPr>
              <a:r>
                <a:rPr kumimoji="0" lang="en" sz="2000" b="0" i="0" u="none" strike="noStrike" kern="1200" cap="none" spc="0" normalizeH="0" baseline="0" noProof="0">
                  <a:ln>
                    <a:noFill/>
                  </a:ln>
                  <a:solidFill>
                    <a:srgbClr val="FFFFFF"/>
                  </a:solidFill>
                  <a:effectLst/>
                  <a:uLnTx/>
                  <a:uFillTx/>
                  <a:latin typeface="Arial"/>
                  <a:ea typeface="+mn-ea"/>
                  <a:cs typeface="+mn-ea"/>
                  <a:sym typeface="+mn-lt"/>
                </a:rPr>
                <a:t>Neptune</a:t>
              </a:r>
              <a:endParaRPr kumimoji="0" sz="2000"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15" name="Google Shape;973;p29">
              <a:extLst>
                <a:ext uri="{FF2B5EF4-FFF2-40B4-BE49-F238E27FC236}">
                  <a16:creationId xmlns:a16="http://schemas.microsoft.com/office/drawing/2014/main" id="{4F5AD8EC-55F2-46F9-9387-C23041BA9A1E}"/>
                </a:ext>
              </a:extLst>
            </p:cNvPr>
            <p:cNvSpPr/>
            <p:nvPr/>
          </p:nvSpPr>
          <p:spPr>
            <a:xfrm>
              <a:off x="2026426" y="2609853"/>
              <a:ext cx="780436" cy="290992"/>
            </a:xfrm>
            <a:custGeom>
              <a:avLst/>
              <a:gdLst/>
              <a:ahLst/>
              <a:cxnLst/>
              <a:rect l="l" t="t" r="r" b="b"/>
              <a:pathLst>
                <a:path w="35767" h="13336" extrusionOk="0">
                  <a:moveTo>
                    <a:pt x="6597" y="0"/>
                  </a:moveTo>
                  <a:cubicBezTo>
                    <a:pt x="6525" y="0"/>
                    <a:pt x="6454" y="12"/>
                    <a:pt x="6382" y="24"/>
                  </a:cubicBezTo>
                  <a:cubicBezTo>
                    <a:pt x="2834" y="167"/>
                    <a:pt x="0" y="3084"/>
                    <a:pt x="0" y="6668"/>
                  </a:cubicBezTo>
                  <a:cubicBezTo>
                    <a:pt x="0" y="10263"/>
                    <a:pt x="2834" y="13180"/>
                    <a:pt x="6382" y="13323"/>
                  </a:cubicBezTo>
                  <a:cubicBezTo>
                    <a:pt x="6454" y="13335"/>
                    <a:pt x="6525" y="13335"/>
                    <a:pt x="6597" y="13335"/>
                  </a:cubicBezTo>
                  <a:lnTo>
                    <a:pt x="35767" y="13335"/>
                  </a:lnTo>
                  <a:lnTo>
                    <a:pt x="35767" y="0"/>
                  </a:lnTo>
                  <a:close/>
                </a:path>
              </a:pathLst>
            </a:custGeom>
            <a:solidFill>
              <a:schemeClr val="accent1"/>
            </a:solidFill>
            <a:ln>
              <a:noFill/>
            </a:ln>
          </p:spPr>
          <p:txBody>
            <a:bodyPr spcFirstLastPara="1" wrap="square" lIns="121900" tIns="121900" rIns="121900" bIns="1219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Tx/>
                <a:buNone/>
                <a:tabLst/>
                <a:defRPr/>
              </a:pPr>
              <a:r>
                <a:rPr kumimoji="0" lang="en" sz="2000" b="0" i="0" u="none" strike="noStrike" kern="1200" cap="none" spc="0" normalizeH="0" baseline="0" noProof="0">
                  <a:ln>
                    <a:noFill/>
                  </a:ln>
                  <a:solidFill>
                    <a:srgbClr val="FFFFFF"/>
                  </a:solidFill>
                  <a:effectLst/>
                  <a:uLnTx/>
                  <a:uFillTx/>
                  <a:latin typeface="Arial"/>
                  <a:ea typeface="+mn-ea"/>
                  <a:cs typeface="+mn-ea"/>
                  <a:sym typeface="+mn-lt"/>
                </a:rPr>
                <a:t>Item 4</a:t>
              </a:r>
              <a:endParaRPr kumimoji="0" sz="2000"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16" name="Google Shape;974;p29">
              <a:extLst>
                <a:ext uri="{FF2B5EF4-FFF2-40B4-BE49-F238E27FC236}">
                  <a16:creationId xmlns:a16="http://schemas.microsoft.com/office/drawing/2014/main" id="{AFC23BCA-84B7-4D81-A7BF-F0F7640E8566}"/>
                </a:ext>
              </a:extLst>
            </p:cNvPr>
            <p:cNvSpPr/>
            <p:nvPr/>
          </p:nvSpPr>
          <p:spPr>
            <a:xfrm>
              <a:off x="2067472" y="1534502"/>
              <a:ext cx="798110" cy="2438450"/>
            </a:xfrm>
            <a:custGeom>
              <a:avLst/>
              <a:gdLst/>
              <a:ahLst/>
              <a:cxnLst/>
              <a:rect l="l" t="t" r="r" b="b"/>
              <a:pathLst>
                <a:path w="36577" h="111753" extrusionOk="0">
                  <a:moveTo>
                    <a:pt x="144" y="0"/>
                  </a:moveTo>
                  <a:cubicBezTo>
                    <a:pt x="144" y="381"/>
                    <a:pt x="334" y="762"/>
                    <a:pt x="798" y="988"/>
                  </a:cubicBezTo>
                  <a:cubicBezTo>
                    <a:pt x="21551" y="11013"/>
                    <a:pt x="33755" y="32742"/>
                    <a:pt x="33886" y="55483"/>
                  </a:cubicBezTo>
                  <a:cubicBezTo>
                    <a:pt x="34017" y="78165"/>
                    <a:pt x="21360" y="100048"/>
                    <a:pt x="798" y="109990"/>
                  </a:cubicBezTo>
                  <a:cubicBezTo>
                    <a:pt x="1" y="110371"/>
                    <a:pt x="13" y="111192"/>
                    <a:pt x="429" y="111752"/>
                  </a:cubicBezTo>
                  <a:lnTo>
                    <a:pt x="2942" y="111752"/>
                  </a:lnTo>
                  <a:cubicBezTo>
                    <a:pt x="23944" y="101155"/>
                    <a:pt x="36303" y="78736"/>
                    <a:pt x="36434" y="55483"/>
                  </a:cubicBezTo>
                  <a:cubicBezTo>
                    <a:pt x="36577" y="32861"/>
                    <a:pt x="24397" y="10823"/>
                    <a:pt x="4454" y="0"/>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000"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17" name="Google Shape;975;p29">
              <a:extLst>
                <a:ext uri="{FF2B5EF4-FFF2-40B4-BE49-F238E27FC236}">
                  <a16:creationId xmlns:a16="http://schemas.microsoft.com/office/drawing/2014/main" id="{19905399-DB74-49C3-8007-3660DC0543A6}"/>
                </a:ext>
              </a:extLst>
            </p:cNvPr>
            <p:cNvSpPr txBox="1"/>
            <p:nvPr/>
          </p:nvSpPr>
          <p:spPr>
            <a:xfrm>
              <a:off x="1579525" y="1919013"/>
              <a:ext cx="964200" cy="597300"/>
            </a:xfrm>
            <a:prstGeom prst="rect">
              <a:avLst/>
            </a:prstGeom>
            <a:noFill/>
            <a:ln>
              <a:noFill/>
            </a:ln>
          </p:spPr>
          <p:txBody>
            <a:bodyPr spcFirstLastPara="1" wrap="square" lIns="121900" tIns="121900" rIns="121900" bIns="12190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 sz="1200" b="0" i="0" u="none" strike="noStrike" kern="1200" cap="none" spc="0" normalizeH="0" baseline="0" noProof="0">
                  <a:ln>
                    <a:noFill/>
                  </a:ln>
                  <a:solidFill>
                    <a:srgbClr val="434343"/>
                  </a:solidFill>
                  <a:effectLst/>
                  <a:uLnTx/>
                  <a:uFillTx/>
                  <a:latin typeface="Arial"/>
                  <a:ea typeface="+mn-ea"/>
                  <a:cs typeface="+mn-ea"/>
                  <a:sym typeface="+mn-lt"/>
                </a:rPr>
                <a:t>The Sun is a star</a:t>
              </a:r>
              <a:endParaRPr kumimoji="0" sz="1200" b="0" i="0" u="none" strike="noStrike" kern="1200" cap="none" spc="0" normalizeH="0" baseline="0" noProof="0">
                <a:ln>
                  <a:noFill/>
                </a:ln>
                <a:solidFill>
                  <a:srgbClr val="434343"/>
                </a:solidFill>
                <a:effectLst/>
                <a:uLnTx/>
                <a:uFillTx/>
                <a:latin typeface="Arial"/>
                <a:ea typeface="+mn-ea"/>
                <a:cs typeface="+mn-ea"/>
                <a:sym typeface="+mn-lt"/>
              </a:endParaRPr>
            </a:p>
          </p:txBody>
        </p:sp>
        <p:sp>
          <p:nvSpPr>
            <p:cNvPr id="18" name="Google Shape;976;p29">
              <a:extLst>
                <a:ext uri="{FF2B5EF4-FFF2-40B4-BE49-F238E27FC236}">
                  <a16:creationId xmlns:a16="http://schemas.microsoft.com/office/drawing/2014/main" id="{05789D9C-DC98-4F43-998C-992B70FEF4CF}"/>
                </a:ext>
              </a:extLst>
            </p:cNvPr>
            <p:cNvSpPr txBox="1"/>
            <p:nvPr/>
          </p:nvSpPr>
          <p:spPr>
            <a:xfrm>
              <a:off x="1579525" y="2967988"/>
              <a:ext cx="964200" cy="597300"/>
            </a:xfrm>
            <a:prstGeom prst="rect">
              <a:avLst/>
            </a:prstGeom>
            <a:noFill/>
            <a:ln>
              <a:noFill/>
            </a:ln>
          </p:spPr>
          <p:txBody>
            <a:bodyPr spcFirstLastPara="1" wrap="square" lIns="121900" tIns="121900" rIns="121900" bIns="12190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 sz="1200" b="0" i="0" u="none" strike="noStrike" kern="1200" cap="none" spc="0" normalizeH="0" baseline="0" noProof="0">
                  <a:ln>
                    <a:noFill/>
                  </a:ln>
                  <a:solidFill>
                    <a:srgbClr val="434343"/>
                  </a:solidFill>
                  <a:effectLst/>
                  <a:uLnTx/>
                  <a:uFillTx/>
                  <a:latin typeface="Arial"/>
                  <a:ea typeface="+mn-ea"/>
                  <a:cs typeface="+mn-ea"/>
                  <a:sym typeface="+mn-lt"/>
                </a:rPr>
                <a:t>Neptune is far away</a:t>
              </a:r>
              <a:endParaRPr kumimoji="0" sz="1200" b="0" i="0" u="none" strike="noStrike" kern="1200" cap="none" spc="0" normalizeH="0" baseline="0" noProof="0">
                <a:ln>
                  <a:noFill/>
                </a:ln>
                <a:solidFill>
                  <a:srgbClr val="434343"/>
                </a:solidFill>
                <a:effectLst/>
                <a:uLnTx/>
                <a:uFillTx/>
                <a:latin typeface="Arial"/>
                <a:ea typeface="+mn-ea"/>
                <a:cs typeface="+mn-ea"/>
                <a:sym typeface="+mn-lt"/>
              </a:endParaRPr>
            </a:p>
          </p:txBody>
        </p:sp>
      </p:grpSp>
      <p:grpSp>
        <p:nvGrpSpPr>
          <p:cNvPr id="19" name="Google Shape;977;p29">
            <a:extLst>
              <a:ext uri="{FF2B5EF4-FFF2-40B4-BE49-F238E27FC236}">
                <a16:creationId xmlns:a16="http://schemas.microsoft.com/office/drawing/2014/main" id="{2A06AC83-7945-4D2F-A704-59659915DD8B}"/>
              </a:ext>
            </a:extLst>
          </p:cNvPr>
          <p:cNvGrpSpPr/>
          <p:nvPr/>
        </p:nvGrpSpPr>
        <p:grpSpPr>
          <a:xfrm>
            <a:off x="5760025" y="1578789"/>
            <a:ext cx="1993936" cy="3846604"/>
            <a:chOff x="4472251" y="1311838"/>
            <a:chExt cx="1495452" cy="2884953"/>
          </a:xfrm>
        </p:grpSpPr>
        <p:sp>
          <p:nvSpPr>
            <p:cNvPr id="20" name="Google Shape;978;p29">
              <a:extLst>
                <a:ext uri="{FF2B5EF4-FFF2-40B4-BE49-F238E27FC236}">
                  <a16:creationId xmlns:a16="http://schemas.microsoft.com/office/drawing/2014/main" id="{44B8863A-D234-418B-AA24-C7C14EAD05EC}"/>
                </a:ext>
              </a:extLst>
            </p:cNvPr>
            <p:cNvSpPr/>
            <p:nvPr/>
          </p:nvSpPr>
          <p:spPr>
            <a:xfrm>
              <a:off x="5223248" y="1313344"/>
              <a:ext cx="744455" cy="2883448"/>
            </a:xfrm>
            <a:custGeom>
              <a:avLst/>
              <a:gdLst/>
              <a:ahLst/>
              <a:cxnLst/>
              <a:rect l="l" t="t" r="r" b="b"/>
              <a:pathLst>
                <a:path w="34118" h="132147" extrusionOk="0">
                  <a:moveTo>
                    <a:pt x="1993" y="0"/>
                  </a:moveTo>
                  <a:cubicBezTo>
                    <a:pt x="930" y="0"/>
                    <a:pt x="3" y="1288"/>
                    <a:pt x="1030" y="2098"/>
                  </a:cubicBezTo>
                  <a:cubicBezTo>
                    <a:pt x="9912" y="9135"/>
                    <a:pt x="17175" y="17827"/>
                    <a:pt x="22235" y="27995"/>
                  </a:cubicBezTo>
                  <a:cubicBezTo>
                    <a:pt x="28093" y="39770"/>
                    <a:pt x="30367" y="52998"/>
                    <a:pt x="30426" y="66071"/>
                  </a:cubicBezTo>
                  <a:cubicBezTo>
                    <a:pt x="30474" y="79179"/>
                    <a:pt x="27974" y="92324"/>
                    <a:pt x="22235" y="104147"/>
                  </a:cubicBezTo>
                  <a:cubicBezTo>
                    <a:pt x="17282" y="114327"/>
                    <a:pt x="9864" y="123042"/>
                    <a:pt x="1030" y="130043"/>
                  </a:cubicBezTo>
                  <a:cubicBezTo>
                    <a:pt x="0" y="130855"/>
                    <a:pt x="934" y="132147"/>
                    <a:pt x="2000" y="132147"/>
                  </a:cubicBezTo>
                  <a:cubicBezTo>
                    <a:pt x="2278" y="132147"/>
                    <a:pt x="2564" y="132059"/>
                    <a:pt x="2828" y="131853"/>
                  </a:cubicBezTo>
                  <a:cubicBezTo>
                    <a:pt x="11507" y="124983"/>
                    <a:pt x="18699" y="116493"/>
                    <a:pt x="23806" y="106671"/>
                  </a:cubicBezTo>
                  <a:cubicBezTo>
                    <a:pt x="29521" y="95729"/>
                    <a:pt x="32212" y="83478"/>
                    <a:pt x="32855" y="71202"/>
                  </a:cubicBezTo>
                  <a:cubicBezTo>
                    <a:pt x="34117" y="46806"/>
                    <a:pt x="26616" y="22637"/>
                    <a:pt x="8805" y="5468"/>
                  </a:cubicBezTo>
                  <a:cubicBezTo>
                    <a:pt x="6912" y="3634"/>
                    <a:pt x="4899" y="1932"/>
                    <a:pt x="2828" y="301"/>
                  </a:cubicBezTo>
                  <a:cubicBezTo>
                    <a:pt x="2562" y="90"/>
                    <a:pt x="2273" y="0"/>
                    <a:pt x="1993" y="0"/>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000"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21" name="Google Shape;979;p29">
              <a:extLst>
                <a:ext uri="{FF2B5EF4-FFF2-40B4-BE49-F238E27FC236}">
                  <a16:creationId xmlns:a16="http://schemas.microsoft.com/office/drawing/2014/main" id="{63227D9F-D130-4E6C-B018-0F75EBEDEAFD}"/>
                </a:ext>
              </a:extLst>
            </p:cNvPr>
            <p:cNvSpPr/>
            <p:nvPr/>
          </p:nvSpPr>
          <p:spPr>
            <a:xfrm>
              <a:off x="4472251" y="1311838"/>
              <a:ext cx="1065972" cy="290992"/>
            </a:xfrm>
            <a:custGeom>
              <a:avLst/>
              <a:gdLst/>
              <a:ahLst/>
              <a:cxnLst/>
              <a:rect l="l" t="t" r="r" b="b"/>
              <a:pathLst>
                <a:path w="48853" h="13336" extrusionOk="0">
                  <a:moveTo>
                    <a:pt x="6597" y="1"/>
                  </a:moveTo>
                  <a:cubicBezTo>
                    <a:pt x="6526" y="1"/>
                    <a:pt x="6454" y="12"/>
                    <a:pt x="6383" y="12"/>
                  </a:cubicBezTo>
                  <a:cubicBezTo>
                    <a:pt x="2835" y="167"/>
                    <a:pt x="1" y="3084"/>
                    <a:pt x="1" y="6668"/>
                  </a:cubicBezTo>
                  <a:cubicBezTo>
                    <a:pt x="1" y="10252"/>
                    <a:pt x="2835" y="13169"/>
                    <a:pt x="6383" y="13324"/>
                  </a:cubicBezTo>
                  <a:cubicBezTo>
                    <a:pt x="6454" y="13324"/>
                    <a:pt x="6526" y="13336"/>
                    <a:pt x="6597" y="13336"/>
                  </a:cubicBezTo>
                  <a:lnTo>
                    <a:pt x="48852" y="13336"/>
                  </a:lnTo>
                  <a:lnTo>
                    <a:pt x="36172" y="1"/>
                  </a:ln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100"/>
                <a:buFontTx/>
                <a:buNone/>
                <a:tabLst/>
                <a:defRPr/>
              </a:pPr>
              <a:r>
                <a:rPr kumimoji="0" lang="en" sz="2000" b="0" i="0" u="none" strike="noStrike" kern="1200" cap="none" spc="0" normalizeH="0" baseline="0" noProof="0">
                  <a:ln>
                    <a:noFill/>
                  </a:ln>
                  <a:solidFill>
                    <a:srgbClr val="FFFFFF"/>
                  </a:solidFill>
                  <a:effectLst/>
                  <a:uLnTx/>
                  <a:uFillTx/>
                  <a:latin typeface="Arial"/>
                  <a:ea typeface="+mn-ea"/>
                  <a:cs typeface="+mn-ea"/>
                  <a:sym typeface="+mn-lt"/>
                </a:rPr>
                <a:t>Earth</a:t>
              </a:r>
              <a:endParaRPr kumimoji="0" sz="2000"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22" name="Google Shape;980;p29">
              <a:extLst>
                <a:ext uri="{FF2B5EF4-FFF2-40B4-BE49-F238E27FC236}">
                  <a16:creationId xmlns:a16="http://schemas.microsoft.com/office/drawing/2014/main" id="{E536998E-A3D2-4093-A892-B61CCBB09FDD}"/>
                </a:ext>
              </a:extLst>
            </p:cNvPr>
            <p:cNvSpPr/>
            <p:nvPr/>
          </p:nvSpPr>
          <p:spPr>
            <a:xfrm>
              <a:off x="4472251" y="3904726"/>
              <a:ext cx="1065972" cy="290992"/>
            </a:xfrm>
            <a:custGeom>
              <a:avLst/>
              <a:gdLst/>
              <a:ahLst/>
              <a:cxnLst/>
              <a:rect l="l" t="t" r="r" b="b"/>
              <a:pathLst>
                <a:path w="48853" h="13336" extrusionOk="0">
                  <a:moveTo>
                    <a:pt x="6597" y="1"/>
                  </a:moveTo>
                  <a:cubicBezTo>
                    <a:pt x="6526" y="1"/>
                    <a:pt x="6454" y="13"/>
                    <a:pt x="6383" y="13"/>
                  </a:cubicBezTo>
                  <a:cubicBezTo>
                    <a:pt x="2835" y="167"/>
                    <a:pt x="1" y="3084"/>
                    <a:pt x="1" y="6668"/>
                  </a:cubicBezTo>
                  <a:cubicBezTo>
                    <a:pt x="1" y="10252"/>
                    <a:pt x="2835" y="13169"/>
                    <a:pt x="6383" y="13324"/>
                  </a:cubicBezTo>
                  <a:cubicBezTo>
                    <a:pt x="6454" y="13324"/>
                    <a:pt x="6526" y="13336"/>
                    <a:pt x="6597" y="13336"/>
                  </a:cubicBezTo>
                  <a:lnTo>
                    <a:pt x="36172" y="13336"/>
                  </a:lnTo>
                  <a:lnTo>
                    <a:pt x="48852" y="1"/>
                  </a:ln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100"/>
                <a:buFontTx/>
                <a:buNone/>
                <a:tabLst/>
                <a:defRPr/>
              </a:pPr>
              <a:r>
                <a:rPr kumimoji="0" lang="en" sz="2000" b="0" i="0" u="none" strike="noStrike" kern="1200" cap="none" spc="0" normalizeH="0" baseline="0" noProof="0">
                  <a:ln>
                    <a:noFill/>
                  </a:ln>
                  <a:solidFill>
                    <a:srgbClr val="FFFFFF"/>
                  </a:solidFill>
                  <a:effectLst/>
                  <a:uLnTx/>
                  <a:uFillTx/>
                  <a:latin typeface="Arial"/>
                  <a:ea typeface="+mn-ea"/>
                  <a:cs typeface="+mn-ea"/>
                  <a:sym typeface="+mn-lt"/>
                </a:rPr>
                <a:t>Pluto</a:t>
              </a:r>
              <a:endParaRPr kumimoji="0" sz="2000"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23" name="Google Shape;981;p29">
              <a:extLst>
                <a:ext uri="{FF2B5EF4-FFF2-40B4-BE49-F238E27FC236}">
                  <a16:creationId xmlns:a16="http://schemas.microsoft.com/office/drawing/2014/main" id="{1C8AF042-DAE5-4F1D-815E-9C45A656F8F1}"/>
                </a:ext>
              </a:extLst>
            </p:cNvPr>
            <p:cNvSpPr/>
            <p:nvPr/>
          </p:nvSpPr>
          <p:spPr>
            <a:xfrm>
              <a:off x="5144125" y="2609853"/>
              <a:ext cx="780436" cy="290992"/>
            </a:xfrm>
            <a:custGeom>
              <a:avLst/>
              <a:gdLst/>
              <a:ahLst/>
              <a:cxnLst/>
              <a:rect l="l" t="t" r="r" b="b"/>
              <a:pathLst>
                <a:path w="35767" h="13336" extrusionOk="0">
                  <a:moveTo>
                    <a:pt x="6597" y="0"/>
                  </a:moveTo>
                  <a:cubicBezTo>
                    <a:pt x="6525" y="0"/>
                    <a:pt x="6454" y="12"/>
                    <a:pt x="6382" y="24"/>
                  </a:cubicBezTo>
                  <a:cubicBezTo>
                    <a:pt x="2834" y="167"/>
                    <a:pt x="0" y="3084"/>
                    <a:pt x="0" y="6668"/>
                  </a:cubicBezTo>
                  <a:cubicBezTo>
                    <a:pt x="0" y="10263"/>
                    <a:pt x="2834" y="13180"/>
                    <a:pt x="6382" y="13323"/>
                  </a:cubicBezTo>
                  <a:cubicBezTo>
                    <a:pt x="6454" y="13335"/>
                    <a:pt x="6525" y="13335"/>
                    <a:pt x="6597" y="13335"/>
                  </a:cubicBezTo>
                  <a:lnTo>
                    <a:pt x="35767" y="13335"/>
                  </a:lnTo>
                  <a:lnTo>
                    <a:pt x="35767" y="0"/>
                  </a:lnTo>
                  <a:close/>
                </a:path>
              </a:pathLst>
            </a:custGeom>
            <a:solidFill>
              <a:schemeClr val="accent1"/>
            </a:solidFill>
            <a:ln>
              <a:noFill/>
            </a:ln>
          </p:spPr>
          <p:txBody>
            <a:bodyPr spcFirstLastPara="1" wrap="square" lIns="121900" tIns="121900" rIns="121900" bIns="1219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2000" b="0" i="0" u="none" strike="noStrike" kern="1200" cap="none" spc="0" normalizeH="0" baseline="0" noProof="0">
                  <a:ln>
                    <a:noFill/>
                  </a:ln>
                  <a:solidFill>
                    <a:srgbClr val="FFFFFF"/>
                  </a:solidFill>
                  <a:effectLst/>
                  <a:uLnTx/>
                  <a:uFillTx/>
                  <a:latin typeface="Arial"/>
                  <a:ea typeface="+mn-ea"/>
                  <a:cs typeface="+mn-ea"/>
                  <a:sym typeface="+mn-lt"/>
                </a:rPr>
                <a:t>Item 2</a:t>
              </a:r>
              <a:endParaRPr kumimoji="0" sz="2000"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24" name="Google Shape;982;p29">
              <a:extLst>
                <a:ext uri="{FF2B5EF4-FFF2-40B4-BE49-F238E27FC236}">
                  <a16:creationId xmlns:a16="http://schemas.microsoft.com/office/drawing/2014/main" id="{14AAAFED-A565-4A91-87EC-CFDFF8E776B0}"/>
                </a:ext>
              </a:extLst>
            </p:cNvPr>
            <p:cNvSpPr txBox="1"/>
            <p:nvPr/>
          </p:nvSpPr>
          <p:spPr>
            <a:xfrm>
              <a:off x="4687525" y="1766613"/>
              <a:ext cx="964200" cy="597300"/>
            </a:xfrm>
            <a:prstGeom prst="rect">
              <a:avLst/>
            </a:prstGeom>
            <a:noFill/>
            <a:ln>
              <a:noFill/>
            </a:ln>
          </p:spPr>
          <p:txBody>
            <a:bodyPr spcFirstLastPara="1" wrap="square" lIns="121900" tIns="121900" rIns="121900" bIns="12190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 sz="1200" b="0" i="0" u="none" strike="noStrike" kern="1200" cap="none" spc="0" normalizeH="0" baseline="0" noProof="0">
                  <a:ln>
                    <a:noFill/>
                  </a:ln>
                  <a:solidFill>
                    <a:srgbClr val="434343"/>
                  </a:solidFill>
                  <a:effectLst/>
                  <a:uLnTx/>
                  <a:uFillTx/>
                  <a:latin typeface="Arial"/>
                  <a:ea typeface="+mn-ea"/>
                  <a:cs typeface="+mn-ea"/>
                  <a:sym typeface="+mn-lt"/>
                </a:rPr>
                <a:t>Earth harbors life</a:t>
              </a:r>
              <a:endParaRPr kumimoji="0" sz="1200" b="0" i="0" u="none" strike="noStrike" kern="1200" cap="none" spc="0" normalizeH="0" baseline="0" noProof="0">
                <a:ln>
                  <a:noFill/>
                </a:ln>
                <a:solidFill>
                  <a:srgbClr val="434343"/>
                </a:solidFill>
                <a:effectLst/>
                <a:uLnTx/>
                <a:uFillTx/>
                <a:latin typeface="Arial"/>
                <a:ea typeface="+mn-ea"/>
                <a:cs typeface="+mn-ea"/>
                <a:sym typeface="+mn-lt"/>
              </a:endParaRPr>
            </a:p>
          </p:txBody>
        </p:sp>
        <p:sp>
          <p:nvSpPr>
            <p:cNvPr id="25" name="Google Shape;983;p29">
              <a:extLst>
                <a:ext uri="{FF2B5EF4-FFF2-40B4-BE49-F238E27FC236}">
                  <a16:creationId xmlns:a16="http://schemas.microsoft.com/office/drawing/2014/main" id="{EE8C34F9-E381-4EA5-93DD-A10F131E27D2}"/>
                </a:ext>
              </a:extLst>
            </p:cNvPr>
            <p:cNvSpPr txBox="1"/>
            <p:nvPr/>
          </p:nvSpPr>
          <p:spPr>
            <a:xfrm>
              <a:off x="4687525" y="3120388"/>
              <a:ext cx="964200" cy="597300"/>
            </a:xfrm>
            <a:prstGeom prst="rect">
              <a:avLst/>
            </a:prstGeom>
            <a:noFill/>
            <a:ln>
              <a:noFill/>
            </a:ln>
          </p:spPr>
          <p:txBody>
            <a:bodyPr spcFirstLastPara="1" wrap="square" lIns="121900" tIns="121900" rIns="121900" bIns="12190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 sz="1200" b="0" i="0" u="none" strike="noStrike" kern="1200" cap="none" spc="0" normalizeH="0" baseline="0" noProof="0">
                  <a:ln>
                    <a:noFill/>
                  </a:ln>
                  <a:solidFill>
                    <a:srgbClr val="434343"/>
                  </a:solidFill>
                  <a:effectLst/>
                  <a:uLnTx/>
                  <a:uFillTx/>
                  <a:latin typeface="Arial"/>
                  <a:ea typeface="+mn-ea"/>
                  <a:cs typeface="+mn-ea"/>
                  <a:sym typeface="+mn-lt"/>
                </a:rPr>
                <a:t>Pluto is icy and small</a:t>
              </a:r>
              <a:endParaRPr kumimoji="0" sz="1200" b="0" i="0" u="none" strike="noStrike" kern="1200" cap="none" spc="0" normalizeH="0" baseline="0" noProof="0">
                <a:ln>
                  <a:noFill/>
                </a:ln>
                <a:solidFill>
                  <a:srgbClr val="434343"/>
                </a:solidFill>
                <a:effectLst/>
                <a:uLnTx/>
                <a:uFillTx/>
                <a:latin typeface="Arial"/>
                <a:ea typeface="+mn-ea"/>
                <a:cs typeface="+mn-ea"/>
                <a:sym typeface="+mn-lt"/>
              </a:endParaRPr>
            </a:p>
          </p:txBody>
        </p:sp>
      </p:grpSp>
      <p:grpSp>
        <p:nvGrpSpPr>
          <p:cNvPr id="26" name="Google Shape;984;p29">
            <a:extLst>
              <a:ext uri="{FF2B5EF4-FFF2-40B4-BE49-F238E27FC236}">
                <a16:creationId xmlns:a16="http://schemas.microsoft.com/office/drawing/2014/main" id="{DB2915C0-4FA1-4E8F-B0DB-47E923B033C9}"/>
              </a:ext>
            </a:extLst>
          </p:cNvPr>
          <p:cNvGrpSpPr/>
          <p:nvPr/>
        </p:nvGrpSpPr>
        <p:grpSpPr>
          <a:xfrm>
            <a:off x="7838505" y="1430172"/>
            <a:ext cx="1994256" cy="4143647"/>
            <a:chOff x="6031111" y="1200375"/>
            <a:chExt cx="1495692" cy="3107735"/>
          </a:xfrm>
        </p:grpSpPr>
        <p:sp>
          <p:nvSpPr>
            <p:cNvPr id="27" name="Google Shape;985;p29">
              <a:extLst>
                <a:ext uri="{FF2B5EF4-FFF2-40B4-BE49-F238E27FC236}">
                  <a16:creationId xmlns:a16="http://schemas.microsoft.com/office/drawing/2014/main" id="{4A39C00B-423D-4C2D-A50C-B15B6B8252CB}"/>
                </a:ext>
              </a:extLst>
            </p:cNvPr>
            <p:cNvSpPr/>
            <p:nvPr/>
          </p:nvSpPr>
          <p:spPr>
            <a:xfrm>
              <a:off x="6782327" y="1201903"/>
              <a:ext cx="744477" cy="3106208"/>
            </a:xfrm>
            <a:custGeom>
              <a:avLst/>
              <a:gdLst/>
              <a:ahLst/>
              <a:cxnLst/>
              <a:rect l="l" t="t" r="r" b="b"/>
              <a:pathLst>
                <a:path w="34119" h="142356" extrusionOk="0">
                  <a:moveTo>
                    <a:pt x="1987" y="1"/>
                  </a:moveTo>
                  <a:cubicBezTo>
                    <a:pt x="925" y="1"/>
                    <a:pt x="0" y="1298"/>
                    <a:pt x="1019" y="2110"/>
                  </a:cubicBezTo>
                  <a:cubicBezTo>
                    <a:pt x="21546" y="18409"/>
                    <a:pt x="30309" y="45722"/>
                    <a:pt x="30416" y="71178"/>
                  </a:cubicBezTo>
                  <a:cubicBezTo>
                    <a:pt x="30511" y="96562"/>
                    <a:pt x="21439" y="124041"/>
                    <a:pt x="1019" y="140258"/>
                  </a:cubicBezTo>
                  <a:cubicBezTo>
                    <a:pt x="2" y="141068"/>
                    <a:pt x="923" y="142356"/>
                    <a:pt x="1983" y="142356"/>
                  </a:cubicBezTo>
                  <a:cubicBezTo>
                    <a:pt x="2263" y="142356"/>
                    <a:pt x="2552" y="142266"/>
                    <a:pt x="2817" y="142055"/>
                  </a:cubicBezTo>
                  <a:cubicBezTo>
                    <a:pt x="22462" y="126458"/>
                    <a:pt x="31606" y="100765"/>
                    <a:pt x="32845" y="76369"/>
                  </a:cubicBezTo>
                  <a:cubicBezTo>
                    <a:pt x="34119" y="51151"/>
                    <a:pt x="26665" y="24089"/>
                    <a:pt x="8794" y="5658"/>
                  </a:cubicBezTo>
                  <a:cubicBezTo>
                    <a:pt x="6925" y="3741"/>
                    <a:pt x="4925" y="1967"/>
                    <a:pt x="2817" y="300"/>
                  </a:cubicBezTo>
                  <a:cubicBezTo>
                    <a:pt x="2553" y="90"/>
                    <a:pt x="2265" y="1"/>
                    <a:pt x="1987" y="1"/>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000"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28" name="Google Shape;986;p29">
              <a:extLst>
                <a:ext uri="{FF2B5EF4-FFF2-40B4-BE49-F238E27FC236}">
                  <a16:creationId xmlns:a16="http://schemas.microsoft.com/office/drawing/2014/main" id="{7BA536FF-50B0-4113-9DDC-3B7304684546}"/>
                </a:ext>
              </a:extLst>
            </p:cNvPr>
            <p:cNvSpPr/>
            <p:nvPr/>
          </p:nvSpPr>
          <p:spPr>
            <a:xfrm>
              <a:off x="6031111" y="1200375"/>
              <a:ext cx="1065951" cy="290992"/>
            </a:xfrm>
            <a:custGeom>
              <a:avLst/>
              <a:gdLst/>
              <a:ahLst/>
              <a:cxnLst/>
              <a:rect l="l" t="t" r="r" b="b"/>
              <a:pathLst>
                <a:path w="48852" h="13336" extrusionOk="0">
                  <a:moveTo>
                    <a:pt x="6596" y="1"/>
                  </a:moveTo>
                  <a:cubicBezTo>
                    <a:pt x="6525" y="1"/>
                    <a:pt x="6454" y="13"/>
                    <a:pt x="6382" y="13"/>
                  </a:cubicBezTo>
                  <a:cubicBezTo>
                    <a:pt x="2834" y="167"/>
                    <a:pt x="0" y="3084"/>
                    <a:pt x="0" y="6668"/>
                  </a:cubicBezTo>
                  <a:cubicBezTo>
                    <a:pt x="0" y="10252"/>
                    <a:pt x="2834" y="13169"/>
                    <a:pt x="6382" y="13324"/>
                  </a:cubicBezTo>
                  <a:cubicBezTo>
                    <a:pt x="6454" y="13324"/>
                    <a:pt x="6525" y="13336"/>
                    <a:pt x="6596" y="13336"/>
                  </a:cubicBezTo>
                  <a:lnTo>
                    <a:pt x="48852" y="13336"/>
                  </a:lnTo>
                  <a:lnTo>
                    <a:pt x="36172" y="1"/>
                  </a:ln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100"/>
                <a:buFontTx/>
                <a:buNone/>
                <a:tabLst/>
                <a:defRPr/>
              </a:pPr>
              <a:r>
                <a:rPr kumimoji="0" lang="en" sz="2000" b="0" i="0" u="none" strike="noStrike" kern="1200" cap="none" spc="0" normalizeH="0" baseline="0" noProof="0">
                  <a:ln>
                    <a:noFill/>
                  </a:ln>
                  <a:solidFill>
                    <a:srgbClr val="FFFFFF"/>
                  </a:solidFill>
                  <a:effectLst/>
                  <a:uLnTx/>
                  <a:uFillTx/>
                  <a:latin typeface="Arial"/>
                  <a:ea typeface="+mn-ea"/>
                  <a:cs typeface="+mn-ea"/>
                  <a:sym typeface="+mn-lt"/>
                </a:rPr>
                <a:t>Mars</a:t>
              </a:r>
              <a:endParaRPr kumimoji="0" sz="2000"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29" name="Google Shape;987;p29">
              <a:extLst>
                <a:ext uri="{FF2B5EF4-FFF2-40B4-BE49-F238E27FC236}">
                  <a16:creationId xmlns:a16="http://schemas.microsoft.com/office/drawing/2014/main" id="{37E5508A-ED03-45A4-A4AB-45475819ECE3}"/>
                </a:ext>
              </a:extLst>
            </p:cNvPr>
            <p:cNvSpPr/>
            <p:nvPr/>
          </p:nvSpPr>
          <p:spPr>
            <a:xfrm>
              <a:off x="6031111" y="4016189"/>
              <a:ext cx="1065951" cy="290992"/>
            </a:xfrm>
            <a:custGeom>
              <a:avLst/>
              <a:gdLst/>
              <a:ahLst/>
              <a:cxnLst/>
              <a:rect l="l" t="t" r="r" b="b"/>
              <a:pathLst>
                <a:path w="48852" h="13336" extrusionOk="0">
                  <a:moveTo>
                    <a:pt x="6596" y="0"/>
                  </a:moveTo>
                  <a:cubicBezTo>
                    <a:pt x="6525" y="0"/>
                    <a:pt x="6454" y="12"/>
                    <a:pt x="6382" y="12"/>
                  </a:cubicBezTo>
                  <a:cubicBezTo>
                    <a:pt x="2834" y="167"/>
                    <a:pt x="0" y="3084"/>
                    <a:pt x="0" y="6668"/>
                  </a:cubicBezTo>
                  <a:cubicBezTo>
                    <a:pt x="0" y="10252"/>
                    <a:pt x="2834" y="13169"/>
                    <a:pt x="6382" y="13324"/>
                  </a:cubicBezTo>
                  <a:cubicBezTo>
                    <a:pt x="6454" y="13324"/>
                    <a:pt x="6525" y="13335"/>
                    <a:pt x="6596" y="13335"/>
                  </a:cubicBezTo>
                  <a:lnTo>
                    <a:pt x="36172" y="13335"/>
                  </a:lnTo>
                  <a:lnTo>
                    <a:pt x="48852" y="0"/>
                  </a:ln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100"/>
                <a:buFontTx/>
                <a:buNone/>
                <a:tabLst/>
                <a:defRPr/>
              </a:pPr>
              <a:r>
                <a:rPr kumimoji="0" lang="en" sz="2000" b="0" i="0" u="none" strike="noStrike" kern="1200" cap="none" spc="0" normalizeH="0" baseline="0" noProof="0">
                  <a:ln>
                    <a:noFill/>
                  </a:ln>
                  <a:solidFill>
                    <a:srgbClr val="FFFFFF"/>
                  </a:solidFill>
                  <a:effectLst/>
                  <a:uLnTx/>
                  <a:uFillTx/>
                  <a:latin typeface="Arial"/>
                  <a:ea typeface="+mn-ea"/>
                  <a:cs typeface="+mn-ea"/>
                  <a:sym typeface="+mn-lt"/>
                </a:rPr>
                <a:t>Jupiter</a:t>
              </a:r>
              <a:endParaRPr kumimoji="0" sz="2000"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30" name="Google Shape;988;p29">
              <a:extLst>
                <a:ext uri="{FF2B5EF4-FFF2-40B4-BE49-F238E27FC236}">
                  <a16:creationId xmlns:a16="http://schemas.microsoft.com/office/drawing/2014/main" id="{614B73F3-CDB6-4FA7-B0F4-D20D9AF23394}"/>
                </a:ext>
              </a:extLst>
            </p:cNvPr>
            <p:cNvSpPr/>
            <p:nvPr/>
          </p:nvSpPr>
          <p:spPr>
            <a:xfrm>
              <a:off x="6703225" y="2609853"/>
              <a:ext cx="780196" cy="290992"/>
            </a:xfrm>
            <a:custGeom>
              <a:avLst/>
              <a:gdLst/>
              <a:ahLst/>
              <a:cxnLst/>
              <a:rect l="l" t="t" r="r" b="b"/>
              <a:pathLst>
                <a:path w="35756" h="13336" extrusionOk="0">
                  <a:moveTo>
                    <a:pt x="6585" y="0"/>
                  </a:moveTo>
                  <a:cubicBezTo>
                    <a:pt x="6514" y="0"/>
                    <a:pt x="6454" y="12"/>
                    <a:pt x="6383" y="24"/>
                  </a:cubicBezTo>
                  <a:cubicBezTo>
                    <a:pt x="2835" y="167"/>
                    <a:pt x="1" y="3084"/>
                    <a:pt x="1" y="6668"/>
                  </a:cubicBezTo>
                  <a:cubicBezTo>
                    <a:pt x="1" y="10263"/>
                    <a:pt x="2835" y="13180"/>
                    <a:pt x="6383" y="13323"/>
                  </a:cubicBezTo>
                  <a:cubicBezTo>
                    <a:pt x="6454" y="13335"/>
                    <a:pt x="6514" y="13335"/>
                    <a:pt x="6585" y="13335"/>
                  </a:cubicBezTo>
                  <a:lnTo>
                    <a:pt x="35755" y="13335"/>
                  </a:lnTo>
                  <a:lnTo>
                    <a:pt x="35755" y="0"/>
                  </a:lnTo>
                  <a:close/>
                </a:path>
              </a:pathLst>
            </a:custGeom>
            <a:solidFill>
              <a:schemeClr val="accent1"/>
            </a:solidFill>
            <a:ln>
              <a:noFill/>
            </a:ln>
          </p:spPr>
          <p:txBody>
            <a:bodyPr spcFirstLastPara="1" wrap="square" lIns="121900" tIns="121900" rIns="121900" bIns="1219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Tx/>
                <a:buNone/>
                <a:tabLst/>
                <a:defRPr/>
              </a:pPr>
              <a:r>
                <a:rPr kumimoji="0" lang="en" sz="2000" b="0" i="0" u="none" strike="noStrike" kern="1200" cap="none" spc="0" normalizeH="0" baseline="0" noProof="0">
                  <a:ln>
                    <a:noFill/>
                  </a:ln>
                  <a:solidFill>
                    <a:srgbClr val="FFFFFF"/>
                  </a:solidFill>
                  <a:effectLst/>
                  <a:uLnTx/>
                  <a:uFillTx/>
                  <a:latin typeface="Arial"/>
                  <a:ea typeface="+mn-ea"/>
                  <a:cs typeface="+mn-ea"/>
                  <a:sym typeface="+mn-lt"/>
                </a:rPr>
                <a:t>Item 1</a:t>
              </a:r>
              <a:endParaRPr kumimoji="0" sz="2000"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31" name="Google Shape;989;p29">
              <a:extLst>
                <a:ext uri="{FF2B5EF4-FFF2-40B4-BE49-F238E27FC236}">
                  <a16:creationId xmlns:a16="http://schemas.microsoft.com/office/drawing/2014/main" id="{2AD4C67C-B97E-46FC-AB82-AB76CD3A8C3C}"/>
                </a:ext>
              </a:extLst>
            </p:cNvPr>
            <p:cNvSpPr txBox="1"/>
            <p:nvPr/>
          </p:nvSpPr>
          <p:spPr>
            <a:xfrm>
              <a:off x="6241525" y="1690413"/>
              <a:ext cx="964200" cy="597300"/>
            </a:xfrm>
            <a:prstGeom prst="rect">
              <a:avLst/>
            </a:prstGeom>
            <a:noFill/>
            <a:ln>
              <a:noFill/>
            </a:ln>
          </p:spPr>
          <p:txBody>
            <a:bodyPr spcFirstLastPara="1" wrap="square" lIns="121900" tIns="121900" rIns="121900" bIns="12190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 sz="1200" b="0" i="0" u="none" strike="noStrike" kern="1200" cap="none" spc="0" normalizeH="0" baseline="0" noProof="0">
                  <a:ln>
                    <a:noFill/>
                  </a:ln>
                  <a:solidFill>
                    <a:srgbClr val="434343"/>
                  </a:solidFill>
                  <a:effectLst/>
                  <a:uLnTx/>
                  <a:uFillTx/>
                  <a:latin typeface="Arial"/>
                  <a:ea typeface="+mn-ea"/>
                  <a:cs typeface="+mn-ea"/>
                  <a:sym typeface="+mn-lt"/>
                </a:rPr>
                <a:t>Mars is a cold place</a:t>
              </a:r>
              <a:endParaRPr kumimoji="0" sz="1200" b="0" i="0" u="none" strike="noStrike" kern="1200" cap="none" spc="0" normalizeH="0" baseline="0" noProof="0">
                <a:ln>
                  <a:noFill/>
                </a:ln>
                <a:solidFill>
                  <a:srgbClr val="434343"/>
                </a:solidFill>
                <a:effectLst/>
                <a:uLnTx/>
                <a:uFillTx/>
                <a:latin typeface="Arial"/>
                <a:ea typeface="+mn-ea"/>
                <a:cs typeface="+mn-ea"/>
                <a:sym typeface="+mn-lt"/>
              </a:endParaRPr>
            </a:p>
          </p:txBody>
        </p:sp>
        <p:sp>
          <p:nvSpPr>
            <p:cNvPr id="32" name="Google Shape;990;p29">
              <a:extLst>
                <a:ext uri="{FF2B5EF4-FFF2-40B4-BE49-F238E27FC236}">
                  <a16:creationId xmlns:a16="http://schemas.microsoft.com/office/drawing/2014/main" id="{8D5D2FC6-74F3-41A6-A2CA-8126490C7988}"/>
                </a:ext>
              </a:extLst>
            </p:cNvPr>
            <p:cNvSpPr txBox="1"/>
            <p:nvPr/>
          </p:nvSpPr>
          <p:spPr>
            <a:xfrm>
              <a:off x="6241525" y="3196588"/>
              <a:ext cx="964200" cy="597300"/>
            </a:xfrm>
            <a:prstGeom prst="rect">
              <a:avLst/>
            </a:prstGeom>
            <a:noFill/>
            <a:ln>
              <a:noFill/>
            </a:ln>
          </p:spPr>
          <p:txBody>
            <a:bodyPr spcFirstLastPara="1" wrap="square" lIns="121900" tIns="121900" rIns="121900" bIns="12190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 sz="1200" b="0" i="0" u="none" strike="noStrike" kern="1200" cap="none" spc="0" normalizeH="0" baseline="0" noProof="0">
                  <a:ln>
                    <a:noFill/>
                  </a:ln>
                  <a:solidFill>
                    <a:srgbClr val="434343"/>
                  </a:solidFill>
                  <a:effectLst/>
                  <a:uLnTx/>
                  <a:uFillTx/>
                  <a:latin typeface="Arial"/>
                  <a:ea typeface="+mn-ea"/>
                  <a:cs typeface="+mn-ea"/>
                  <a:sym typeface="+mn-lt"/>
                </a:rPr>
                <a:t>Jupiter is a gas giant</a:t>
              </a:r>
              <a:endParaRPr kumimoji="0" sz="1200" b="0" i="0" u="none" strike="noStrike" kern="1200" cap="none" spc="0" normalizeH="0" baseline="0" noProof="0">
                <a:ln>
                  <a:noFill/>
                </a:ln>
                <a:solidFill>
                  <a:srgbClr val="434343"/>
                </a:solidFill>
                <a:effectLst/>
                <a:uLnTx/>
                <a:uFillTx/>
                <a:latin typeface="Arial"/>
                <a:ea typeface="+mn-ea"/>
                <a:cs typeface="+mn-ea"/>
                <a:sym typeface="+mn-lt"/>
              </a:endParaRPr>
            </a:p>
          </p:txBody>
        </p:sp>
      </p:grpSp>
    </p:spTree>
    <p:extLst>
      <p:ext uri="{BB962C8B-B14F-4D97-AF65-F5344CB8AC3E}">
        <p14:creationId xmlns:p14="http://schemas.microsoft.com/office/powerpoint/2010/main" val="3278609271"/>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任意多边形: 形状 2">
            <a:extLst>
              <a:ext uri="{FF2B5EF4-FFF2-40B4-BE49-F238E27FC236}">
                <a16:creationId xmlns:a16="http://schemas.microsoft.com/office/drawing/2014/main" id="{43B7D35D-7C38-42EA-BBF9-A56A23D621AC}"/>
              </a:ext>
            </a:extLst>
          </p:cNvPr>
          <p:cNvSpPr/>
          <p:nvPr/>
        </p:nvSpPr>
        <p:spPr>
          <a:xfrm flipH="1">
            <a:off x="-3388" y="4906424"/>
            <a:ext cx="1049226" cy="1951575"/>
          </a:xfrm>
          <a:custGeom>
            <a:avLst/>
            <a:gdLst>
              <a:gd name="connsiteX0" fmla="*/ 1848986 w 1848986"/>
              <a:gd name="connsiteY0" fmla="*/ 0 h 3439142"/>
              <a:gd name="connsiteX1" fmla="*/ 1848986 w 1848986"/>
              <a:gd name="connsiteY1" fmla="*/ 3439142 h 3439142"/>
              <a:gd name="connsiteX2" fmla="*/ 0 w 1848986"/>
              <a:gd name="connsiteY2" fmla="*/ 3439142 h 3439142"/>
            </a:gdLst>
            <a:ahLst/>
            <a:cxnLst>
              <a:cxn ang="0">
                <a:pos x="connsiteX0" y="connsiteY0"/>
              </a:cxn>
              <a:cxn ang="0">
                <a:pos x="connsiteX1" y="connsiteY1"/>
              </a:cxn>
              <a:cxn ang="0">
                <a:pos x="connsiteX2" y="connsiteY2"/>
              </a:cxn>
            </a:cxnLst>
            <a:rect l="l" t="t" r="r" b="b"/>
            <a:pathLst>
              <a:path w="1848986" h="3439142">
                <a:moveTo>
                  <a:pt x="1848986" y="0"/>
                </a:moveTo>
                <a:lnTo>
                  <a:pt x="1848986" y="3439142"/>
                </a:lnTo>
                <a:lnTo>
                  <a:pt x="0" y="3439142"/>
                </a:lnTo>
                <a:close/>
              </a:path>
            </a:pathLst>
          </a:custGeom>
          <a:solidFill>
            <a:schemeClr val="accent1">
              <a:lumMod val="75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dirty="0"/>
          </a:p>
        </p:txBody>
      </p:sp>
      <p:sp>
        <p:nvSpPr>
          <p:cNvPr id="4" name="任意多边形: 形状 3">
            <a:extLst>
              <a:ext uri="{FF2B5EF4-FFF2-40B4-BE49-F238E27FC236}">
                <a16:creationId xmlns:a16="http://schemas.microsoft.com/office/drawing/2014/main" id="{94EE283D-6C00-4F6B-AE12-22E6C8D5A144}"/>
              </a:ext>
            </a:extLst>
          </p:cNvPr>
          <p:cNvSpPr/>
          <p:nvPr/>
        </p:nvSpPr>
        <p:spPr>
          <a:xfrm flipH="1">
            <a:off x="-3389" y="5929466"/>
            <a:ext cx="499208" cy="928534"/>
          </a:xfrm>
          <a:custGeom>
            <a:avLst/>
            <a:gdLst>
              <a:gd name="connsiteX0" fmla="*/ 879723 w 879723"/>
              <a:gd name="connsiteY0" fmla="*/ 0 h 1636299"/>
              <a:gd name="connsiteX1" fmla="*/ 879723 w 879723"/>
              <a:gd name="connsiteY1" fmla="*/ 1636299 h 1636299"/>
              <a:gd name="connsiteX2" fmla="*/ 0 w 879723"/>
              <a:gd name="connsiteY2" fmla="*/ 1636299 h 1636299"/>
            </a:gdLst>
            <a:ahLst/>
            <a:cxnLst>
              <a:cxn ang="0">
                <a:pos x="connsiteX0" y="connsiteY0"/>
              </a:cxn>
              <a:cxn ang="0">
                <a:pos x="connsiteX1" y="connsiteY1"/>
              </a:cxn>
              <a:cxn ang="0">
                <a:pos x="connsiteX2" y="connsiteY2"/>
              </a:cxn>
            </a:cxnLst>
            <a:rect l="l" t="t" r="r" b="b"/>
            <a:pathLst>
              <a:path w="879723" h="1636299">
                <a:moveTo>
                  <a:pt x="879723" y="0"/>
                </a:moveTo>
                <a:lnTo>
                  <a:pt x="879723" y="1636299"/>
                </a:lnTo>
                <a:lnTo>
                  <a:pt x="0" y="1636299"/>
                </a:lnTo>
                <a:close/>
              </a:path>
            </a:pathLst>
          </a:custGeom>
          <a:solidFill>
            <a:schemeClr val="accent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p>
        </p:txBody>
      </p:sp>
      <p:sp>
        <p:nvSpPr>
          <p:cNvPr id="6" name="任意多边形: 形状 5">
            <a:extLst>
              <a:ext uri="{FF2B5EF4-FFF2-40B4-BE49-F238E27FC236}">
                <a16:creationId xmlns:a16="http://schemas.microsoft.com/office/drawing/2014/main" id="{24022B81-1977-4228-9DB1-77F5F034BC21}"/>
              </a:ext>
            </a:extLst>
          </p:cNvPr>
          <p:cNvSpPr/>
          <p:nvPr/>
        </p:nvSpPr>
        <p:spPr>
          <a:xfrm>
            <a:off x="11161506" y="4906424"/>
            <a:ext cx="1049226" cy="1951575"/>
          </a:xfrm>
          <a:custGeom>
            <a:avLst/>
            <a:gdLst>
              <a:gd name="connsiteX0" fmla="*/ 1848986 w 1848986"/>
              <a:gd name="connsiteY0" fmla="*/ 0 h 3439142"/>
              <a:gd name="connsiteX1" fmla="*/ 1848986 w 1848986"/>
              <a:gd name="connsiteY1" fmla="*/ 3439142 h 3439142"/>
              <a:gd name="connsiteX2" fmla="*/ 0 w 1848986"/>
              <a:gd name="connsiteY2" fmla="*/ 3439142 h 3439142"/>
            </a:gdLst>
            <a:ahLst/>
            <a:cxnLst>
              <a:cxn ang="0">
                <a:pos x="connsiteX0" y="connsiteY0"/>
              </a:cxn>
              <a:cxn ang="0">
                <a:pos x="connsiteX1" y="connsiteY1"/>
              </a:cxn>
              <a:cxn ang="0">
                <a:pos x="connsiteX2" y="connsiteY2"/>
              </a:cxn>
            </a:cxnLst>
            <a:rect l="l" t="t" r="r" b="b"/>
            <a:pathLst>
              <a:path w="1848986" h="3439142">
                <a:moveTo>
                  <a:pt x="1848986" y="0"/>
                </a:moveTo>
                <a:lnTo>
                  <a:pt x="1848986" y="3439142"/>
                </a:lnTo>
                <a:lnTo>
                  <a:pt x="0" y="3439142"/>
                </a:lnTo>
                <a:close/>
              </a:path>
            </a:pathLst>
          </a:custGeom>
          <a:solidFill>
            <a:schemeClr val="accent1">
              <a:lumMod val="75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p>
        </p:txBody>
      </p:sp>
      <p:sp>
        <p:nvSpPr>
          <p:cNvPr id="7" name="任意多边形: 形状 6">
            <a:extLst>
              <a:ext uri="{FF2B5EF4-FFF2-40B4-BE49-F238E27FC236}">
                <a16:creationId xmlns:a16="http://schemas.microsoft.com/office/drawing/2014/main" id="{3992BB66-4A4F-40D7-9A77-CB32CCF10A0C}"/>
              </a:ext>
            </a:extLst>
          </p:cNvPr>
          <p:cNvSpPr/>
          <p:nvPr/>
        </p:nvSpPr>
        <p:spPr>
          <a:xfrm>
            <a:off x="11711526" y="5929466"/>
            <a:ext cx="499207" cy="928534"/>
          </a:xfrm>
          <a:custGeom>
            <a:avLst/>
            <a:gdLst>
              <a:gd name="connsiteX0" fmla="*/ 879723 w 879723"/>
              <a:gd name="connsiteY0" fmla="*/ 0 h 1636299"/>
              <a:gd name="connsiteX1" fmla="*/ 879723 w 879723"/>
              <a:gd name="connsiteY1" fmla="*/ 1636299 h 1636299"/>
              <a:gd name="connsiteX2" fmla="*/ 0 w 879723"/>
              <a:gd name="connsiteY2" fmla="*/ 1636299 h 1636299"/>
            </a:gdLst>
            <a:ahLst/>
            <a:cxnLst>
              <a:cxn ang="0">
                <a:pos x="connsiteX0" y="connsiteY0"/>
              </a:cxn>
              <a:cxn ang="0">
                <a:pos x="connsiteX1" y="connsiteY1"/>
              </a:cxn>
              <a:cxn ang="0">
                <a:pos x="connsiteX2" y="connsiteY2"/>
              </a:cxn>
            </a:cxnLst>
            <a:rect l="l" t="t" r="r" b="b"/>
            <a:pathLst>
              <a:path w="879723" h="1636299">
                <a:moveTo>
                  <a:pt x="879723" y="0"/>
                </a:moveTo>
                <a:lnTo>
                  <a:pt x="879723" y="1636299"/>
                </a:lnTo>
                <a:lnTo>
                  <a:pt x="0" y="1636299"/>
                </a:lnTo>
                <a:close/>
              </a:path>
            </a:pathLst>
          </a:custGeom>
          <a:solidFill>
            <a:schemeClr val="accent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p>
        </p:txBody>
      </p:sp>
      <p:sp>
        <p:nvSpPr>
          <p:cNvPr id="8" name="Picture 4-mask">
            <a:extLst>
              <a:ext uri="{FF2B5EF4-FFF2-40B4-BE49-F238E27FC236}">
                <a16:creationId xmlns:a16="http://schemas.microsoft.com/office/drawing/2014/main" id="{60023F30-F931-461C-8CFA-8BEB83FD443D}"/>
              </a:ext>
            </a:extLst>
          </p:cNvPr>
          <p:cNvSpPr/>
          <p:nvPr/>
        </p:nvSpPr>
        <p:spPr>
          <a:xfrm>
            <a:off x="2658" y="0"/>
            <a:ext cx="12191999" cy="3009900"/>
          </a:xfrm>
          <a:prstGeom prst="rect">
            <a:avLst/>
          </a:prstGeom>
          <a:solidFill>
            <a:schemeClr val="accent1">
              <a:lumMod val="75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 name="矩形: 圆角 8">
            <a:extLst>
              <a:ext uri="{FF2B5EF4-FFF2-40B4-BE49-F238E27FC236}">
                <a16:creationId xmlns:a16="http://schemas.microsoft.com/office/drawing/2014/main" id="{4F61E521-C449-4DA6-AB68-BE434C6644B2}"/>
              </a:ext>
            </a:extLst>
          </p:cNvPr>
          <p:cNvSpPr/>
          <p:nvPr/>
        </p:nvSpPr>
        <p:spPr>
          <a:xfrm>
            <a:off x="542927" y="2319861"/>
            <a:ext cx="11106148" cy="3009900"/>
          </a:xfrm>
          <a:prstGeom prst="roundRect">
            <a:avLst>
              <a:gd name="adj" fmla="val 854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10" name="文本框 9">
            <a:extLst>
              <a:ext uri="{FF2B5EF4-FFF2-40B4-BE49-F238E27FC236}">
                <a16:creationId xmlns:a16="http://schemas.microsoft.com/office/drawing/2014/main" id="{F5ABA323-5B1C-4247-A6A3-05C10745A479}"/>
              </a:ext>
            </a:extLst>
          </p:cNvPr>
          <p:cNvSpPr txBox="1"/>
          <p:nvPr/>
        </p:nvSpPr>
        <p:spPr>
          <a:xfrm>
            <a:off x="4950714" y="395137"/>
            <a:ext cx="2051844" cy="1231106"/>
          </a:xfrm>
          <a:prstGeom prst="rect">
            <a:avLst/>
          </a:prstGeom>
          <a:noFill/>
        </p:spPr>
        <p:txBody>
          <a:bodyPr wrap="none" lIns="0" tIns="0" rIns="0" bIns="0" rtlCol="0" anchor="t">
            <a:spAutoFit/>
          </a:bodyPr>
          <a:lstStyle/>
          <a:p>
            <a:pPr marL="0" marR="0" lvl="0" indent="0" algn="dist" defTabSz="914400" rtl="0" eaLnBrk="1" fontAlgn="auto" latinLnBrk="0" hangingPunct="1">
              <a:lnSpc>
                <a:spcPct val="100000"/>
              </a:lnSpc>
              <a:spcBef>
                <a:spcPts val="0"/>
              </a:spcBef>
              <a:spcAft>
                <a:spcPts val="0"/>
              </a:spcAft>
              <a:buClrTx/>
              <a:buSzTx/>
              <a:buFontTx/>
              <a:buNone/>
              <a:tabLst/>
              <a:defRPr/>
            </a:pPr>
            <a:r>
              <a:rPr kumimoji="0" lang="zh-CN" altLang="en-US" sz="8000" b="0" i="0" u="none" strike="noStrike" kern="1200" cap="none" spc="0" normalizeH="0" baseline="0" noProof="0" dirty="0">
                <a:ln>
                  <a:noFill/>
                </a:ln>
                <a:solidFill>
                  <a:schemeClr val="bg1"/>
                </a:solidFill>
                <a:effectLst/>
                <a:uLnTx/>
                <a:uFillTx/>
                <a:latin typeface="OPPOSans H"/>
                <a:ea typeface="OPPOSans H"/>
                <a:cs typeface="+mn-cs"/>
              </a:rPr>
              <a:t>目录</a:t>
            </a:r>
          </a:p>
        </p:txBody>
      </p:sp>
      <p:sp>
        <p:nvSpPr>
          <p:cNvPr id="11" name="文本框 10">
            <a:extLst>
              <a:ext uri="{FF2B5EF4-FFF2-40B4-BE49-F238E27FC236}">
                <a16:creationId xmlns:a16="http://schemas.microsoft.com/office/drawing/2014/main" id="{7770DD8F-82AB-4B44-A5AC-9A97F8AEC3AB}"/>
              </a:ext>
            </a:extLst>
          </p:cNvPr>
          <p:cNvSpPr txBox="1"/>
          <p:nvPr/>
        </p:nvSpPr>
        <p:spPr>
          <a:xfrm>
            <a:off x="5049553" y="1626243"/>
            <a:ext cx="1854168" cy="276999"/>
          </a:xfrm>
          <a:prstGeom prst="rect">
            <a:avLst/>
          </a:prstGeom>
          <a:noFill/>
        </p:spPr>
        <p:txBody>
          <a:bodyPr wrap="square" lIns="0" tIns="0" rIns="0" bIns="0" rtlCol="0" anchor="t">
            <a:spAutoFit/>
          </a:bodyPr>
          <a:lstStyle/>
          <a:p>
            <a:pPr marL="0" marR="0" lvl="0" indent="0" algn="dist" defTabSz="914400" rtl="0" eaLnBrk="1" fontAlgn="auto" latinLnBrk="0" hangingPunct="1">
              <a:lnSpc>
                <a:spcPct val="100000"/>
              </a:lnSpc>
              <a:spcBef>
                <a:spcPts val="0"/>
              </a:spcBef>
              <a:spcAft>
                <a:spcPts val="0"/>
              </a:spcAft>
              <a:buClrTx/>
              <a:buSzTx/>
              <a:buFontTx/>
              <a:buNone/>
              <a:tabLst/>
              <a:defRPr/>
            </a:pPr>
            <a:r>
              <a:rPr kumimoji="0" lang="en-US" altLang="zh-CN" sz="1800" b="0" i="0" u="none" strike="noStrike" kern="1200" cap="none" spc="0" normalizeH="0" baseline="0" noProof="0" dirty="0">
                <a:ln>
                  <a:noFill/>
                </a:ln>
                <a:solidFill>
                  <a:schemeClr val="bg1"/>
                </a:solidFill>
                <a:effectLst/>
                <a:uLnTx/>
                <a:uFillTx/>
                <a:latin typeface="OPPOSans R"/>
                <a:ea typeface="OPPOSans R"/>
                <a:cs typeface="+mn-cs"/>
              </a:rPr>
              <a:t>CONTENTS</a:t>
            </a:r>
            <a:endParaRPr kumimoji="0" lang="zh-CN" altLang="en-US" sz="1800" b="0" i="0" u="none" strike="noStrike" kern="1200" cap="none" spc="0" normalizeH="0" baseline="0" noProof="0" dirty="0">
              <a:ln>
                <a:noFill/>
              </a:ln>
              <a:solidFill>
                <a:schemeClr val="bg1"/>
              </a:solidFill>
              <a:effectLst/>
              <a:uLnTx/>
              <a:uFillTx/>
              <a:latin typeface="OPPOSans R"/>
              <a:ea typeface="OPPOSans R"/>
              <a:cs typeface="+mn-cs"/>
            </a:endParaRPr>
          </a:p>
        </p:txBody>
      </p:sp>
      <p:grpSp>
        <p:nvGrpSpPr>
          <p:cNvPr id="12" name="组合 11">
            <a:extLst>
              <a:ext uri="{FF2B5EF4-FFF2-40B4-BE49-F238E27FC236}">
                <a16:creationId xmlns:a16="http://schemas.microsoft.com/office/drawing/2014/main" id="{C4E30A64-7302-49CB-91A3-703B52D3A684}"/>
              </a:ext>
            </a:extLst>
          </p:cNvPr>
          <p:cNvGrpSpPr/>
          <p:nvPr/>
        </p:nvGrpSpPr>
        <p:grpSpPr>
          <a:xfrm>
            <a:off x="949516" y="2901509"/>
            <a:ext cx="2656713" cy="684292"/>
            <a:chOff x="1615995" y="3486156"/>
            <a:chExt cx="2656713" cy="684292"/>
          </a:xfrm>
        </p:grpSpPr>
        <p:sp>
          <p:nvSpPr>
            <p:cNvPr id="13" name="椭圆 12">
              <a:extLst>
                <a:ext uri="{FF2B5EF4-FFF2-40B4-BE49-F238E27FC236}">
                  <a16:creationId xmlns:a16="http://schemas.microsoft.com/office/drawing/2014/main" id="{7E7D781F-1B7E-4931-8BC3-F932AFDA53D8}"/>
                </a:ext>
              </a:extLst>
            </p:cNvPr>
            <p:cNvSpPr/>
            <p:nvPr/>
          </p:nvSpPr>
          <p:spPr>
            <a:xfrm>
              <a:off x="1615995" y="3486156"/>
              <a:ext cx="684292" cy="684292"/>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050" dirty="0">
                  <a:solidFill>
                    <a:schemeClr val="bg1"/>
                  </a:solidFill>
                </a:rPr>
                <a:t>图标</a:t>
              </a:r>
            </a:p>
          </p:txBody>
        </p:sp>
        <p:sp>
          <p:nvSpPr>
            <p:cNvPr id="14" name="文本框 13">
              <a:extLst>
                <a:ext uri="{FF2B5EF4-FFF2-40B4-BE49-F238E27FC236}">
                  <a16:creationId xmlns:a16="http://schemas.microsoft.com/office/drawing/2014/main" id="{DFD48B42-3180-40B9-B76B-A6000CE3ECC9}"/>
                </a:ext>
              </a:extLst>
            </p:cNvPr>
            <p:cNvSpPr txBox="1"/>
            <p:nvPr/>
          </p:nvSpPr>
          <p:spPr>
            <a:xfrm>
              <a:off x="2426049" y="3535914"/>
              <a:ext cx="1846659" cy="369332"/>
            </a:xfrm>
            <a:prstGeom prst="rect">
              <a:avLst/>
            </a:prstGeom>
            <a:noFill/>
          </p:spPr>
          <p:txBody>
            <a:bodyPr wrap="none" lIns="0" tIns="0" rIns="0" bIns="0" rtlCol="0" anchor="t">
              <a:spAutoFit/>
            </a:bodyPr>
            <a:lstStyle/>
            <a:p>
              <a:r>
                <a:rPr lang="zh-CN" altLang="en-US" sz="2400" dirty="0">
                  <a:solidFill>
                    <a:schemeClr val="bg1"/>
                  </a:solidFill>
                  <a:latin typeface="+mj-ea"/>
                  <a:ea typeface="+mj-ea"/>
                </a:rPr>
                <a:t>输入目录标题</a:t>
              </a:r>
            </a:p>
          </p:txBody>
        </p:sp>
        <p:sp>
          <p:nvSpPr>
            <p:cNvPr id="15" name="文本框 14">
              <a:extLst>
                <a:ext uri="{FF2B5EF4-FFF2-40B4-BE49-F238E27FC236}">
                  <a16:creationId xmlns:a16="http://schemas.microsoft.com/office/drawing/2014/main" id="{75BA3D38-81B8-455B-9A0F-85BEF4D7817D}"/>
                </a:ext>
              </a:extLst>
            </p:cNvPr>
            <p:cNvSpPr txBox="1"/>
            <p:nvPr/>
          </p:nvSpPr>
          <p:spPr>
            <a:xfrm>
              <a:off x="2426049" y="3905246"/>
              <a:ext cx="1803052" cy="215444"/>
            </a:xfrm>
            <a:prstGeom prst="rect">
              <a:avLst/>
            </a:prstGeom>
            <a:noFill/>
          </p:spPr>
          <p:txBody>
            <a:bodyPr wrap="square" lIns="0" tIns="0" rIns="0" bIns="0" rtlCol="0" anchor="t">
              <a:spAutoFit/>
            </a:bodyPr>
            <a:lstStyle/>
            <a:p>
              <a:pPr algn="dist"/>
              <a:r>
                <a:rPr lang="en-US" altLang="zh-CN" sz="1400" dirty="0">
                  <a:solidFill>
                    <a:schemeClr val="bg1"/>
                  </a:solidFill>
                </a:rPr>
                <a:t>Contents Title Here</a:t>
              </a:r>
              <a:endParaRPr lang="zh-CN" altLang="en-US" sz="1400" dirty="0">
                <a:solidFill>
                  <a:schemeClr val="bg1"/>
                </a:solidFill>
              </a:endParaRPr>
            </a:p>
          </p:txBody>
        </p:sp>
      </p:grpSp>
      <p:grpSp>
        <p:nvGrpSpPr>
          <p:cNvPr id="16" name="组合 15">
            <a:extLst>
              <a:ext uri="{FF2B5EF4-FFF2-40B4-BE49-F238E27FC236}">
                <a16:creationId xmlns:a16="http://schemas.microsoft.com/office/drawing/2014/main" id="{5D4DD581-CFDE-40C3-9DF0-13DE92176CC6}"/>
              </a:ext>
            </a:extLst>
          </p:cNvPr>
          <p:cNvGrpSpPr/>
          <p:nvPr/>
        </p:nvGrpSpPr>
        <p:grpSpPr>
          <a:xfrm>
            <a:off x="4767644" y="2901509"/>
            <a:ext cx="2656713" cy="684292"/>
            <a:chOff x="1615995" y="3486156"/>
            <a:chExt cx="2656713" cy="684292"/>
          </a:xfrm>
        </p:grpSpPr>
        <p:sp>
          <p:nvSpPr>
            <p:cNvPr id="17" name="椭圆 16">
              <a:extLst>
                <a:ext uri="{FF2B5EF4-FFF2-40B4-BE49-F238E27FC236}">
                  <a16:creationId xmlns:a16="http://schemas.microsoft.com/office/drawing/2014/main" id="{C718B61F-9D67-4EEA-AB7A-8BD175686804}"/>
                </a:ext>
              </a:extLst>
            </p:cNvPr>
            <p:cNvSpPr/>
            <p:nvPr/>
          </p:nvSpPr>
          <p:spPr>
            <a:xfrm>
              <a:off x="1615995" y="3486156"/>
              <a:ext cx="684292" cy="684292"/>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050" dirty="0">
                  <a:solidFill>
                    <a:schemeClr val="bg1"/>
                  </a:solidFill>
                </a:rPr>
                <a:t>图标</a:t>
              </a:r>
            </a:p>
          </p:txBody>
        </p:sp>
        <p:sp>
          <p:nvSpPr>
            <p:cNvPr id="18" name="文本框 17">
              <a:extLst>
                <a:ext uri="{FF2B5EF4-FFF2-40B4-BE49-F238E27FC236}">
                  <a16:creationId xmlns:a16="http://schemas.microsoft.com/office/drawing/2014/main" id="{5D1A5CF3-273D-43A6-8D6B-4E4939776B45}"/>
                </a:ext>
              </a:extLst>
            </p:cNvPr>
            <p:cNvSpPr txBox="1"/>
            <p:nvPr/>
          </p:nvSpPr>
          <p:spPr>
            <a:xfrm>
              <a:off x="2426049" y="3535914"/>
              <a:ext cx="1846659" cy="369332"/>
            </a:xfrm>
            <a:prstGeom prst="rect">
              <a:avLst/>
            </a:prstGeom>
            <a:noFill/>
          </p:spPr>
          <p:txBody>
            <a:bodyPr wrap="none" lIns="0" tIns="0" rIns="0" bIns="0" rtlCol="0" anchor="t">
              <a:spAutoFit/>
            </a:bodyPr>
            <a:lstStyle/>
            <a:p>
              <a:r>
                <a:rPr lang="zh-CN" altLang="en-US" sz="2400" dirty="0">
                  <a:solidFill>
                    <a:schemeClr val="bg1"/>
                  </a:solidFill>
                  <a:latin typeface="+mj-ea"/>
                  <a:ea typeface="+mj-ea"/>
                </a:rPr>
                <a:t>输入目录标题</a:t>
              </a:r>
            </a:p>
          </p:txBody>
        </p:sp>
        <p:sp>
          <p:nvSpPr>
            <p:cNvPr id="19" name="文本框 18">
              <a:extLst>
                <a:ext uri="{FF2B5EF4-FFF2-40B4-BE49-F238E27FC236}">
                  <a16:creationId xmlns:a16="http://schemas.microsoft.com/office/drawing/2014/main" id="{71727BF8-6E9F-4996-B9FB-5A2F73F7D7DB}"/>
                </a:ext>
              </a:extLst>
            </p:cNvPr>
            <p:cNvSpPr txBox="1"/>
            <p:nvPr/>
          </p:nvSpPr>
          <p:spPr>
            <a:xfrm>
              <a:off x="2426049" y="3905246"/>
              <a:ext cx="1803052" cy="215444"/>
            </a:xfrm>
            <a:prstGeom prst="rect">
              <a:avLst/>
            </a:prstGeom>
            <a:noFill/>
          </p:spPr>
          <p:txBody>
            <a:bodyPr wrap="square" lIns="0" tIns="0" rIns="0" bIns="0" rtlCol="0" anchor="t">
              <a:spAutoFit/>
            </a:bodyPr>
            <a:lstStyle/>
            <a:p>
              <a:pPr algn="dist"/>
              <a:r>
                <a:rPr lang="en-US" altLang="zh-CN" sz="1400" dirty="0">
                  <a:solidFill>
                    <a:schemeClr val="bg1"/>
                  </a:solidFill>
                </a:rPr>
                <a:t>Contents Title Here</a:t>
              </a:r>
              <a:endParaRPr lang="zh-CN" altLang="en-US" sz="1400" dirty="0">
                <a:solidFill>
                  <a:schemeClr val="bg1"/>
                </a:solidFill>
              </a:endParaRPr>
            </a:p>
          </p:txBody>
        </p:sp>
      </p:grpSp>
      <p:grpSp>
        <p:nvGrpSpPr>
          <p:cNvPr id="20" name="组合 19">
            <a:extLst>
              <a:ext uri="{FF2B5EF4-FFF2-40B4-BE49-F238E27FC236}">
                <a16:creationId xmlns:a16="http://schemas.microsoft.com/office/drawing/2014/main" id="{B6C81888-AB7D-449B-A637-F2073F2F02C8}"/>
              </a:ext>
            </a:extLst>
          </p:cNvPr>
          <p:cNvGrpSpPr/>
          <p:nvPr/>
        </p:nvGrpSpPr>
        <p:grpSpPr>
          <a:xfrm>
            <a:off x="8585772" y="2901509"/>
            <a:ext cx="2656713" cy="684292"/>
            <a:chOff x="1615995" y="3486156"/>
            <a:chExt cx="2656713" cy="684292"/>
          </a:xfrm>
        </p:grpSpPr>
        <p:sp>
          <p:nvSpPr>
            <p:cNvPr id="21" name="椭圆 20">
              <a:extLst>
                <a:ext uri="{FF2B5EF4-FFF2-40B4-BE49-F238E27FC236}">
                  <a16:creationId xmlns:a16="http://schemas.microsoft.com/office/drawing/2014/main" id="{A342DF5A-C32E-467F-BA49-A0716540A29C}"/>
                </a:ext>
              </a:extLst>
            </p:cNvPr>
            <p:cNvSpPr/>
            <p:nvPr/>
          </p:nvSpPr>
          <p:spPr>
            <a:xfrm>
              <a:off x="1615995" y="3486156"/>
              <a:ext cx="684292" cy="684292"/>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050" dirty="0">
                  <a:solidFill>
                    <a:schemeClr val="bg1"/>
                  </a:solidFill>
                </a:rPr>
                <a:t>图标</a:t>
              </a:r>
            </a:p>
          </p:txBody>
        </p:sp>
        <p:sp>
          <p:nvSpPr>
            <p:cNvPr id="22" name="文本框 21">
              <a:extLst>
                <a:ext uri="{FF2B5EF4-FFF2-40B4-BE49-F238E27FC236}">
                  <a16:creationId xmlns:a16="http://schemas.microsoft.com/office/drawing/2014/main" id="{34678AD4-AC8A-45A9-AA2F-EA099EA20717}"/>
                </a:ext>
              </a:extLst>
            </p:cNvPr>
            <p:cNvSpPr txBox="1"/>
            <p:nvPr/>
          </p:nvSpPr>
          <p:spPr>
            <a:xfrm>
              <a:off x="2426049" y="3535914"/>
              <a:ext cx="1846659" cy="369332"/>
            </a:xfrm>
            <a:prstGeom prst="rect">
              <a:avLst/>
            </a:prstGeom>
            <a:noFill/>
          </p:spPr>
          <p:txBody>
            <a:bodyPr wrap="none" lIns="0" tIns="0" rIns="0" bIns="0" rtlCol="0" anchor="t">
              <a:spAutoFit/>
            </a:bodyPr>
            <a:lstStyle/>
            <a:p>
              <a:r>
                <a:rPr lang="zh-CN" altLang="en-US" sz="2400" dirty="0">
                  <a:solidFill>
                    <a:schemeClr val="bg1"/>
                  </a:solidFill>
                  <a:latin typeface="+mj-ea"/>
                  <a:ea typeface="+mj-ea"/>
                </a:rPr>
                <a:t>输入目录标题</a:t>
              </a:r>
            </a:p>
          </p:txBody>
        </p:sp>
        <p:sp>
          <p:nvSpPr>
            <p:cNvPr id="23" name="文本框 22">
              <a:extLst>
                <a:ext uri="{FF2B5EF4-FFF2-40B4-BE49-F238E27FC236}">
                  <a16:creationId xmlns:a16="http://schemas.microsoft.com/office/drawing/2014/main" id="{55D1C646-ECA6-4E88-B651-EE6F55FF8C6E}"/>
                </a:ext>
              </a:extLst>
            </p:cNvPr>
            <p:cNvSpPr txBox="1"/>
            <p:nvPr/>
          </p:nvSpPr>
          <p:spPr>
            <a:xfrm>
              <a:off x="2426049" y="3905246"/>
              <a:ext cx="1803052" cy="215444"/>
            </a:xfrm>
            <a:prstGeom prst="rect">
              <a:avLst/>
            </a:prstGeom>
            <a:noFill/>
          </p:spPr>
          <p:txBody>
            <a:bodyPr wrap="square" lIns="0" tIns="0" rIns="0" bIns="0" rtlCol="0" anchor="t">
              <a:spAutoFit/>
            </a:bodyPr>
            <a:lstStyle/>
            <a:p>
              <a:pPr algn="dist"/>
              <a:r>
                <a:rPr lang="en-US" altLang="zh-CN" sz="1400" dirty="0">
                  <a:solidFill>
                    <a:schemeClr val="bg1"/>
                  </a:solidFill>
                </a:rPr>
                <a:t>Contents Title Here</a:t>
              </a:r>
              <a:endParaRPr lang="zh-CN" altLang="en-US" sz="1400" dirty="0">
                <a:solidFill>
                  <a:schemeClr val="bg1"/>
                </a:solidFill>
              </a:endParaRPr>
            </a:p>
          </p:txBody>
        </p:sp>
      </p:grpSp>
      <p:grpSp>
        <p:nvGrpSpPr>
          <p:cNvPr id="24" name="组合 23">
            <a:extLst>
              <a:ext uri="{FF2B5EF4-FFF2-40B4-BE49-F238E27FC236}">
                <a16:creationId xmlns:a16="http://schemas.microsoft.com/office/drawing/2014/main" id="{11FAE724-DA5A-46FD-928C-8CEB8B83CBE0}"/>
              </a:ext>
            </a:extLst>
          </p:cNvPr>
          <p:cNvGrpSpPr/>
          <p:nvPr/>
        </p:nvGrpSpPr>
        <p:grpSpPr>
          <a:xfrm>
            <a:off x="949516" y="4098306"/>
            <a:ext cx="2656713" cy="684292"/>
            <a:chOff x="1615995" y="3486156"/>
            <a:chExt cx="2656713" cy="684292"/>
          </a:xfrm>
        </p:grpSpPr>
        <p:sp>
          <p:nvSpPr>
            <p:cNvPr id="25" name="椭圆 24">
              <a:extLst>
                <a:ext uri="{FF2B5EF4-FFF2-40B4-BE49-F238E27FC236}">
                  <a16:creationId xmlns:a16="http://schemas.microsoft.com/office/drawing/2014/main" id="{50BBD1D6-9114-4493-95CB-FB1BA80253F1}"/>
                </a:ext>
              </a:extLst>
            </p:cNvPr>
            <p:cNvSpPr/>
            <p:nvPr/>
          </p:nvSpPr>
          <p:spPr>
            <a:xfrm>
              <a:off x="1615995" y="3486156"/>
              <a:ext cx="684292" cy="684292"/>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050" dirty="0">
                  <a:solidFill>
                    <a:schemeClr val="bg1"/>
                  </a:solidFill>
                </a:rPr>
                <a:t>图标</a:t>
              </a:r>
            </a:p>
          </p:txBody>
        </p:sp>
        <p:sp>
          <p:nvSpPr>
            <p:cNvPr id="26" name="文本框 25">
              <a:extLst>
                <a:ext uri="{FF2B5EF4-FFF2-40B4-BE49-F238E27FC236}">
                  <a16:creationId xmlns:a16="http://schemas.microsoft.com/office/drawing/2014/main" id="{D9F614B7-229F-47E3-A45C-B931DA2BFB33}"/>
                </a:ext>
              </a:extLst>
            </p:cNvPr>
            <p:cNvSpPr txBox="1"/>
            <p:nvPr/>
          </p:nvSpPr>
          <p:spPr>
            <a:xfrm>
              <a:off x="2426049" y="3535914"/>
              <a:ext cx="1846659" cy="369332"/>
            </a:xfrm>
            <a:prstGeom prst="rect">
              <a:avLst/>
            </a:prstGeom>
            <a:noFill/>
          </p:spPr>
          <p:txBody>
            <a:bodyPr wrap="none" lIns="0" tIns="0" rIns="0" bIns="0" rtlCol="0" anchor="t">
              <a:spAutoFit/>
            </a:bodyPr>
            <a:lstStyle/>
            <a:p>
              <a:r>
                <a:rPr lang="zh-CN" altLang="en-US" sz="2400" dirty="0">
                  <a:solidFill>
                    <a:schemeClr val="bg1"/>
                  </a:solidFill>
                  <a:latin typeface="+mj-ea"/>
                  <a:ea typeface="+mj-ea"/>
                </a:rPr>
                <a:t>输入目录标题</a:t>
              </a:r>
            </a:p>
          </p:txBody>
        </p:sp>
        <p:sp>
          <p:nvSpPr>
            <p:cNvPr id="27" name="文本框 26">
              <a:extLst>
                <a:ext uri="{FF2B5EF4-FFF2-40B4-BE49-F238E27FC236}">
                  <a16:creationId xmlns:a16="http://schemas.microsoft.com/office/drawing/2014/main" id="{D0BAD32F-7212-4D8A-A79A-AD5D9989E9FB}"/>
                </a:ext>
              </a:extLst>
            </p:cNvPr>
            <p:cNvSpPr txBox="1"/>
            <p:nvPr/>
          </p:nvSpPr>
          <p:spPr>
            <a:xfrm>
              <a:off x="2426049" y="3905246"/>
              <a:ext cx="1803052" cy="215444"/>
            </a:xfrm>
            <a:prstGeom prst="rect">
              <a:avLst/>
            </a:prstGeom>
            <a:noFill/>
          </p:spPr>
          <p:txBody>
            <a:bodyPr wrap="square" lIns="0" tIns="0" rIns="0" bIns="0" rtlCol="0" anchor="t">
              <a:spAutoFit/>
            </a:bodyPr>
            <a:lstStyle/>
            <a:p>
              <a:pPr algn="dist"/>
              <a:r>
                <a:rPr lang="en-US" altLang="zh-CN" sz="1400" dirty="0">
                  <a:solidFill>
                    <a:schemeClr val="bg1"/>
                  </a:solidFill>
                </a:rPr>
                <a:t>Contents Title Here</a:t>
              </a:r>
              <a:endParaRPr lang="zh-CN" altLang="en-US" sz="1400" dirty="0">
                <a:solidFill>
                  <a:schemeClr val="bg1"/>
                </a:solidFill>
              </a:endParaRPr>
            </a:p>
          </p:txBody>
        </p:sp>
      </p:grpSp>
      <p:grpSp>
        <p:nvGrpSpPr>
          <p:cNvPr id="28" name="组合 27">
            <a:extLst>
              <a:ext uri="{FF2B5EF4-FFF2-40B4-BE49-F238E27FC236}">
                <a16:creationId xmlns:a16="http://schemas.microsoft.com/office/drawing/2014/main" id="{95B74903-1CEC-4455-8FE3-8427393AD733}"/>
              </a:ext>
            </a:extLst>
          </p:cNvPr>
          <p:cNvGrpSpPr/>
          <p:nvPr/>
        </p:nvGrpSpPr>
        <p:grpSpPr>
          <a:xfrm>
            <a:off x="4767644" y="4098306"/>
            <a:ext cx="2656713" cy="684292"/>
            <a:chOff x="1615995" y="3486156"/>
            <a:chExt cx="2656713" cy="684292"/>
          </a:xfrm>
        </p:grpSpPr>
        <p:sp>
          <p:nvSpPr>
            <p:cNvPr id="29" name="椭圆 28">
              <a:extLst>
                <a:ext uri="{FF2B5EF4-FFF2-40B4-BE49-F238E27FC236}">
                  <a16:creationId xmlns:a16="http://schemas.microsoft.com/office/drawing/2014/main" id="{6D19290B-99B2-4F15-AA0C-63F007CD136C}"/>
                </a:ext>
              </a:extLst>
            </p:cNvPr>
            <p:cNvSpPr/>
            <p:nvPr/>
          </p:nvSpPr>
          <p:spPr>
            <a:xfrm>
              <a:off x="1615995" y="3486156"/>
              <a:ext cx="684292" cy="684292"/>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050" dirty="0">
                  <a:solidFill>
                    <a:schemeClr val="bg1"/>
                  </a:solidFill>
                </a:rPr>
                <a:t>图标</a:t>
              </a:r>
            </a:p>
          </p:txBody>
        </p:sp>
        <p:sp>
          <p:nvSpPr>
            <p:cNvPr id="30" name="文本框 29">
              <a:extLst>
                <a:ext uri="{FF2B5EF4-FFF2-40B4-BE49-F238E27FC236}">
                  <a16:creationId xmlns:a16="http://schemas.microsoft.com/office/drawing/2014/main" id="{79D777AE-9434-4974-ABE5-5D901B38D6E2}"/>
                </a:ext>
              </a:extLst>
            </p:cNvPr>
            <p:cNvSpPr txBox="1"/>
            <p:nvPr/>
          </p:nvSpPr>
          <p:spPr>
            <a:xfrm>
              <a:off x="2426049" y="3535914"/>
              <a:ext cx="1846659" cy="369332"/>
            </a:xfrm>
            <a:prstGeom prst="rect">
              <a:avLst/>
            </a:prstGeom>
            <a:noFill/>
          </p:spPr>
          <p:txBody>
            <a:bodyPr wrap="none" lIns="0" tIns="0" rIns="0" bIns="0" rtlCol="0" anchor="t">
              <a:spAutoFit/>
            </a:bodyPr>
            <a:lstStyle/>
            <a:p>
              <a:r>
                <a:rPr lang="zh-CN" altLang="en-US" sz="2400" dirty="0">
                  <a:solidFill>
                    <a:schemeClr val="bg1"/>
                  </a:solidFill>
                  <a:latin typeface="+mj-ea"/>
                  <a:ea typeface="+mj-ea"/>
                </a:rPr>
                <a:t>输入目录标题</a:t>
              </a:r>
            </a:p>
          </p:txBody>
        </p:sp>
        <p:sp>
          <p:nvSpPr>
            <p:cNvPr id="31" name="文本框 30">
              <a:extLst>
                <a:ext uri="{FF2B5EF4-FFF2-40B4-BE49-F238E27FC236}">
                  <a16:creationId xmlns:a16="http://schemas.microsoft.com/office/drawing/2014/main" id="{B2B1CC49-8E58-4392-A9A4-C89FB863587B}"/>
                </a:ext>
              </a:extLst>
            </p:cNvPr>
            <p:cNvSpPr txBox="1"/>
            <p:nvPr/>
          </p:nvSpPr>
          <p:spPr>
            <a:xfrm>
              <a:off x="2426049" y="3905246"/>
              <a:ext cx="1803052" cy="215444"/>
            </a:xfrm>
            <a:prstGeom prst="rect">
              <a:avLst/>
            </a:prstGeom>
            <a:noFill/>
          </p:spPr>
          <p:txBody>
            <a:bodyPr wrap="square" lIns="0" tIns="0" rIns="0" bIns="0" rtlCol="0" anchor="t">
              <a:spAutoFit/>
            </a:bodyPr>
            <a:lstStyle/>
            <a:p>
              <a:pPr algn="dist"/>
              <a:r>
                <a:rPr lang="en-US" altLang="zh-CN" sz="1400" dirty="0">
                  <a:solidFill>
                    <a:schemeClr val="bg1"/>
                  </a:solidFill>
                </a:rPr>
                <a:t>Contents Title Here</a:t>
              </a:r>
              <a:endParaRPr lang="zh-CN" altLang="en-US" sz="1400" dirty="0">
                <a:solidFill>
                  <a:schemeClr val="bg1"/>
                </a:solidFill>
              </a:endParaRPr>
            </a:p>
          </p:txBody>
        </p:sp>
      </p:grpSp>
      <p:grpSp>
        <p:nvGrpSpPr>
          <p:cNvPr id="32" name="组合 31">
            <a:extLst>
              <a:ext uri="{FF2B5EF4-FFF2-40B4-BE49-F238E27FC236}">
                <a16:creationId xmlns:a16="http://schemas.microsoft.com/office/drawing/2014/main" id="{E656BB64-889F-4B69-AAC8-38066F5924E2}"/>
              </a:ext>
            </a:extLst>
          </p:cNvPr>
          <p:cNvGrpSpPr/>
          <p:nvPr/>
        </p:nvGrpSpPr>
        <p:grpSpPr>
          <a:xfrm>
            <a:off x="8585772" y="4098306"/>
            <a:ext cx="2656713" cy="684292"/>
            <a:chOff x="1615995" y="3486156"/>
            <a:chExt cx="2656713" cy="684292"/>
          </a:xfrm>
        </p:grpSpPr>
        <p:sp>
          <p:nvSpPr>
            <p:cNvPr id="33" name="椭圆 32">
              <a:extLst>
                <a:ext uri="{FF2B5EF4-FFF2-40B4-BE49-F238E27FC236}">
                  <a16:creationId xmlns:a16="http://schemas.microsoft.com/office/drawing/2014/main" id="{6F3CD55F-03C0-4627-A508-1EF024D0D541}"/>
                </a:ext>
              </a:extLst>
            </p:cNvPr>
            <p:cNvSpPr/>
            <p:nvPr/>
          </p:nvSpPr>
          <p:spPr>
            <a:xfrm>
              <a:off x="1615995" y="3486156"/>
              <a:ext cx="684292" cy="684292"/>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050" dirty="0">
                  <a:solidFill>
                    <a:schemeClr val="bg1"/>
                  </a:solidFill>
                </a:rPr>
                <a:t>图标</a:t>
              </a:r>
            </a:p>
          </p:txBody>
        </p:sp>
        <p:sp>
          <p:nvSpPr>
            <p:cNvPr id="34" name="文本框 33">
              <a:extLst>
                <a:ext uri="{FF2B5EF4-FFF2-40B4-BE49-F238E27FC236}">
                  <a16:creationId xmlns:a16="http://schemas.microsoft.com/office/drawing/2014/main" id="{FEE41AEE-3CAA-4D50-A5F1-05F565003A1D}"/>
                </a:ext>
              </a:extLst>
            </p:cNvPr>
            <p:cNvSpPr txBox="1"/>
            <p:nvPr/>
          </p:nvSpPr>
          <p:spPr>
            <a:xfrm>
              <a:off x="2426049" y="3535914"/>
              <a:ext cx="1846659" cy="369332"/>
            </a:xfrm>
            <a:prstGeom prst="rect">
              <a:avLst/>
            </a:prstGeom>
            <a:noFill/>
          </p:spPr>
          <p:txBody>
            <a:bodyPr wrap="none" lIns="0" tIns="0" rIns="0" bIns="0" rtlCol="0" anchor="t">
              <a:spAutoFit/>
            </a:bodyPr>
            <a:lstStyle/>
            <a:p>
              <a:r>
                <a:rPr lang="zh-CN" altLang="en-US" sz="2400" dirty="0">
                  <a:solidFill>
                    <a:schemeClr val="bg1"/>
                  </a:solidFill>
                  <a:latin typeface="+mj-ea"/>
                  <a:ea typeface="+mj-ea"/>
                </a:rPr>
                <a:t>输入目录标题</a:t>
              </a:r>
            </a:p>
          </p:txBody>
        </p:sp>
        <p:sp>
          <p:nvSpPr>
            <p:cNvPr id="35" name="文本框 34">
              <a:extLst>
                <a:ext uri="{FF2B5EF4-FFF2-40B4-BE49-F238E27FC236}">
                  <a16:creationId xmlns:a16="http://schemas.microsoft.com/office/drawing/2014/main" id="{276B77D1-93C7-48E3-98E6-B0AE7048A5F7}"/>
                </a:ext>
              </a:extLst>
            </p:cNvPr>
            <p:cNvSpPr txBox="1"/>
            <p:nvPr/>
          </p:nvSpPr>
          <p:spPr>
            <a:xfrm>
              <a:off x="2426049" y="3905246"/>
              <a:ext cx="1803052" cy="215444"/>
            </a:xfrm>
            <a:prstGeom prst="rect">
              <a:avLst/>
            </a:prstGeom>
            <a:noFill/>
          </p:spPr>
          <p:txBody>
            <a:bodyPr wrap="square" lIns="0" tIns="0" rIns="0" bIns="0" rtlCol="0" anchor="t">
              <a:spAutoFit/>
            </a:bodyPr>
            <a:lstStyle/>
            <a:p>
              <a:pPr algn="dist"/>
              <a:r>
                <a:rPr lang="en-US" altLang="zh-CN" sz="1400" dirty="0">
                  <a:solidFill>
                    <a:schemeClr val="bg1"/>
                  </a:solidFill>
                </a:rPr>
                <a:t>Contents Title Here</a:t>
              </a:r>
              <a:endParaRPr lang="zh-CN" altLang="en-US" sz="1400" dirty="0">
                <a:solidFill>
                  <a:schemeClr val="bg1"/>
                </a:solidFill>
              </a:endParaRPr>
            </a:p>
          </p:txBody>
        </p:sp>
      </p:grpSp>
    </p:spTree>
    <p:extLst>
      <p:ext uri="{BB962C8B-B14F-4D97-AF65-F5344CB8AC3E}">
        <p14:creationId xmlns:p14="http://schemas.microsoft.com/office/powerpoint/2010/main" val="4113776099"/>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7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oogle Shape;996;p30">
            <a:extLst>
              <a:ext uri="{FF2B5EF4-FFF2-40B4-BE49-F238E27FC236}">
                <a16:creationId xmlns:a16="http://schemas.microsoft.com/office/drawing/2014/main" id="{0F5EDECA-07A6-491F-982B-B354C649DE97}"/>
              </a:ext>
            </a:extLst>
          </p:cNvPr>
          <p:cNvGrpSpPr/>
          <p:nvPr/>
        </p:nvGrpSpPr>
        <p:grpSpPr>
          <a:xfrm>
            <a:off x="1992906" y="2343869"/>
            <a:ext cx="7704181" cy="1891711"/>
            <a:chOff x="1682938" y="2120972"/>
            <a:chExt cx="5778136" cy="1418783"/>
          </a:xfrm>
        </p:grpSpPr>
        <p:sp>
          <p:nvSpPr>
            <p:cNvPr id="3" name="Google Shape;997;p30">
              <a:extLst>
                <a:ext uri="{FF2B5EF4-FFF2-40B4-BE49-F238E27FC236}">
                  <a16:creationId xmlns:a16="http://schemas.microsoft.com/office/drawing/2014/main" id="{28C61D9F-BD2F-49AE-8C94-AB9AEF576E80}"/>
                </a:ext>
              </a:extLst>
            </p:cNvPr>
            <p:cNvSpPr/>
            <p:nvPr/>
          </p:nvSpPr>
          <p:spPr>
            <a:xfrm>
              <a:off x="2021001" y="2782052"/>
              <a:ext cx="4722573" cy="96555"/>
            </a:xfrm>
            <a:custGeom>
              <a:avLst/>
              <a:gdLst/>
              <a:ahLst/>
              <a:cxnLst/>
              <a:rect l="l" t="t" r="r" b="b"/>
              <a:pathLst>
                <a:path w="209729" h="4288" extrusionOk="0">
                  <a:moveTo>
                    <a:pt x="2155" y="1"/>
                  </a:moveTo>
                  <a:cubicBezTo>
                    <a:pt x="965" y="1"/>
                    <a:pt x="0" y="953"/>
                    <a:pt x="0" y="2144"/>
                  </a:cubicBezTo>
                  <a:cubicBezTo>
                    <a:pt x="0" y="3335"/>
                    <a:pt x="965" y="4287"/>
                    <a:pt x="2155" y="4287"/>
                  </a:cubicBezTo>
                  <a:lnTo>
                    <a:pt x="207586" y="4287"/>
                  </a:lnTo>
                  <a:cubicBezTo>
                    <a:pt x="208764" y="4287"/>
                    <a:pt x="209729" y="3335"/>
                    <a:pt x="209729" y="2144"/>
                  </a:cubicBezTo>
                  <a:cubicBezTo>
                    <a:pt x="209729" y="953"/>
                    <a:pt x="208764" y="1"/>
                    <a:pt x="207586" y="1"/>
                  </a:cubicBezTo>
                  <a:close/>
                </a:path>
              </a:pathLst>
            </a:custGeom>
            <a:solidFill>
              <a:srgbClr val="869FB2"/>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4" name="Google Shape;998;p30">
              <a:extLst>
                <a:ext uri="{FF2B5EF4-FFF2-40B4-BE49-F238E27FC236}">
                  <a16:creationId xmlns:a16="http://schemas.microsoft.com/office/drawing/2014/main" id="{5C8A53E6-F95D-4A7B-9853-BD3878361C87}"/>
                </a:ext>
              </a:extLst>
            </p:cNvPr>
            <p:cNvSpPr/>
            <p:nvPr/>
          </p:nvSpPr>
          <p:spPr>
            <a:xfrm>
              <a:off x="1682938" y="2302589"/>
              <a:ext cx="559537" cy="1055530"/>
            </a:xfrm>
            <a:custGeom>
              <a:avLst/>
              <a:gdLst/>
              <a:ahLst/>
              <a:cxnLst/>
              <a:rect l="l" t="t" r="r" b="b"/>
              <a:pathLst>
                <a:path w="24849" h="46876" extrusionOk="0">
                  <a:moveTo>
                    <a:pt x="1131" y="0"/>
                  </a:moveTo>
                  <a:cubicBezTo>
                    <a:pt x="552" y="0"/>
                    <a:pt x="0" y="448"/>
                    <a:pt x="0" y="1126"/>
                  </a:cubicBezTo>
                  <a:lnTo>
                    <a:pt x="0" y="45750"/>
                  </a:lnTo>
                  <a:cubicBezTo>
                    <a:pt x="0" y="46428"/>
                    <a:pt x="552" y="46876"/>
                    <a:pt x="1131" y="46876"/>
                  </a:cubicBezTo>
                  <a:cubicBezTo>
                    <a:pt x="1406" y="46876"/>
                    <a:pt x="1687" y="46775"/>
                    <a:pt x="1917" y="46548"/>
                  </a:cubicBezTo>
                  <a:lnTo>
                    <a:pt x="24408" y="24236"/>
                  </a:lnTo>
                  <a:cubicBezTo>
                    <a:pt x="24849" y="23795"/>
                    <a:pt x="24849" y="23081"/>
                    <a:pt x="24408" y="22640"/>
                  </a:cubicBezTo>
                  <a:lnTo>
                    <a:pt x="1917" y="328"/>
                  </a:lnTo>
                  <a:cubicBezTo>
                    <a:pt x="1687" y="102"/>
                    <a:pt x="1406" y="0"/>
                    <a:pt x="1131" y="0"/>
                  </a:cubicBezTo>
                  <a:close/>
                </a:path>
              </a:pathLst>
            </a:custGeom>
            <a:solidFill>
              <a:srgbClr val="869FB2"/>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5" name="Google Shape;999;p30">
              <a:extLst>
                <a:ext uri="{FF2B5EF4-FFF2-40B4-BE49-F238E27FC236}">
                  <a16:creationId xmlns:a16="http://schemas.microsoft.com/office/drawing/2014/main" id="{6BC2F7DE-36F1-43A0-94B9-32F2D0D9573A}"/>
                </a:ext>
              </a:extLst>
            </p:cNvPr>
            <p:cNvSpPr/>
            <p:nvPr/>
          </p:nvSpPr>
          <p:spPr>
            <a:xfrm>
              <a:off x="6633443" y="2120972"/>
              <a:ext cx="827631" cy="1418783"/>
            </a:xfrm>
            <a:custGeom>
              <a:avLst/>
              <a:gdLst/>
              <a:ahLst/>
              <a:cxnLst/>
              <a:rect l="l" t="t" r="r" b="b"/>
              <a:pathLst>
                <a:path w="36755" h="63008" extrusionOk="0">
                  <a:moveTo>
                    <a:pt x="0" y="0"/>
                  </a:moveTo>
                  <a:lnTo>
                    <a:pt x="0" y="63008"/>
                  </a:lnTo>
                  <a:cubicBezTo>
                    <a:pt x="13764" y="63008"/>
                    <a:pt x="36755" y="48911"/>
                    <a:pt x="36755" y="31504"/>
                  </a:cubicBezTo>
                  <a:cubicBezTo>
                    <a:pt x="36755" y="14097"/>
                    <a:pt x="13764" y="0"/>
                    <a:pt x="0" y="0"/>
                  </a:cubicBezTo>
                  <a:close/>
                </a:path>
              </a:pathLst>
            </a:custGeom>
            <a:solidFill>
              <a:srgbClr val="869FB2"/>
            </a:solidFill>
            <a:ln>
              <a:noFill/>
            </a:ln>
          </p:spPr>
          <p:txBody>
            <a:bodyPr spcFirstLastPara="1" wrap="square" lIns="121900" tIns="121900" rIns="121900" bIns="1219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Tx/>
                <a:buNone/>
                <a:tabLst/>
                <a:defRPr/>
              </a:pPr>
              <a:r>
                <a:rPr kumimoji="0" lang="en" sz="2267" b="0" i="0" u="none" strike="noStrike" kern="1200" cap="none" spc="0" normalizeH="0" baseline="0" noProof="0">
                  <a:ln>
                    <a:noFill/>
                  </a:ln>
                  <a:solidFill>
                    <a:srgbClr val="FFFFFF"/>
                  </a:solidFill>
                  <a:effectLst/>
                  <a:uLnTx/>
                  <a:uFillTx/>
                  <a:latin typeface="Arial"/>
                  <a:ea typeface="+mn-ea"/>
                  <a:cs typeface="+mn-ea"/>
                  <a:sym typeface="+mn-lt"/>
                </a:rPr>
                <a:t>Venus</a:t>
              </a:r>
              <a:endParaRPr kumimoji="0" sz="2489" b="0" i="0" u="none" strike="noStrike" kern="1200" cap="none" spc="0" normalizeH="0" baseline="0" noProof="0">
                <a:ln>
                  <a:noFill/>
                </a:ln>
                <a:solidFill>
                  <a:srgbClr val="FFFFFF"/>
                </a:solidFill>
                <a:effectLst/>
                <a:uLnTx/>
                <a:uFillTx/>
                <a:latin typeface="Arial"/>
                <a:ea typeface="+mn-ea"/>
                <a:cs typeface="+mn-ea"/>
                <a:sym typeface="+mn-lt"/>
              </a:endParaRPr>
            </a:p>
          </p:txBody>
        </p:sp>
      </p:grpSp>
      <p:grpSp>
        <p:nvGrpSpPr>
          <p:cNvPr id="6" name="Google Shape;1000;p30">
            <a:extLst>
              <a:ext uri="{FF2B5EF4-FFF2-40B4-BE49-F238E27FC236}">
                <a16:creationId xmlns:a16="http://schemas.microsoft.com/office/drawing/2014/main" id="{F677F337-6C6A-47AC-89A8-E40CD077F64C}"/>
              </a:ext>
            </a:extLst>
          </p:cNvPr>
          <p:cNvGrpSpPr/>
          <p:nvPr/>
        </p:nvGrpSpPr>
        <p:grpSpPr>
          <a:xfrm>
            <a:off x="3079553" y="1569637"/>
            <a:ext cx="1532481" cy="1726581"/>
            <a:chOff x="2497923" y="1540298"/>
            <a:chExt cx="1149361" cy="1294936"/>
          </a:xfrm>
        </p:grpSpPr>
        <p:sp>
          <p:nvSpPr>
            <p:cNvPr id="7" name="Google Shape;1001;p30">
              <a:extLst>
                <a:ext uri="{FF2B5EF4-FFF2-40B4-BE49-F238E27FC236}">
                  <a16:creationId xmlns:a16="http://schemas.microsoft.com/office/drawing/2014/main" id="{7BA9091C-625C-4146-B975-0E69648DAA0B}"/>
                </a:ext>
              </a:extLst>
            </p:cNvPr>
            <p:cNvSpPr/>
            <p:nvPr/>
          </p:nvSpPr>
          <p:spPr>
            <a:xfrm>
              <a:off x="2497923" y="1540298"/>
              <a:ext cx="1149361" cy="1294936"/>
            </a:xfrm>
            <a:custGeom>
              <a:avLst/>
              <a:gdLst/>
              <a:ahLst/>
              <a:cxnLst/>
              <a:rect l="l" t="t" r="r" b="b"/>
              <a:pathLst>
                <a:path w="51043" h="57508" extrusionOk="0">
                  <a:moveTo>
                    <a:pt x="25527" y="0"/>
                  </a:moveTo>
                  <a:cubicBezTo>
                    <a:pt x="11442" y="0"/>
                    <a:pt x="0" y="11335"/>
                    <a:pt x="0" y="25420"/>
                  </a:cubicBezTo>
                  <a:lnTo>
                    <a:pt x="0" y="36743"/>
                  </a:lnTo>
                  <a:cubicBezTo>
                    <a:pt x="0" y="38898"/>
                    <a:pt x="1810" y="40624"/>
                    <a:pt x="3977" y="40624"/>
                  </a:cubicBezTo>
                  <a:lnTo>
                    <a:pt x="21658" y="40624"/>
                  </a:lnTo>
                  <a:cubicBezTo>
                    <a:pt x="22027" y="40779"/>
                    <a:pt x="24849" y="41565"/>
                    <a:pt x="25004" y="45684"/>
                  </a:cubicBezTo>
                  <a:lnTo>
                    <a:pt x="25004" y="56995"/>
                  </a:lnTo>
                  <a:cubicBezTo>
                    <a:pt x="25004" y="57281"/>
                    <a:pt x="25242" y="57507"/>
                    <a:pt x="25516" y="57507"/>
                  </a:cubicBezTo>
                  <a:cubicBezTo>
                    <a:pt x="25801" y="57507"/>
                    <a:pt x="26039" y="57281"/>
                    <a:pt x="26039" y="56995"/>
                  </a:cubicBezTo>
                  <a:lnTo>
                    <a:pt x="26039" y="46054"/>
                  </a:lnTo>
                  <a:cubicBezTo>
                    <a:pt x="26039" y="41613"/>
                    <a:pt x="29087" y="40779"/>
                    <a:pt x="29468" y="40624"/>
                  </a:cubicBezTo>
                  <a:lnTo>
                    <a:pt x="47149" y="40624"/>
                  </a:lnTo>
                  <a:cubicBezTo>
                    <a:pt x="49316" y="40624"/>
                    <a:pt x="51043" y="38898"/>
                    <a:pt x="51043" y="36743"/>
                  </a:cubicBezTo>
                  <a:lnTo>
                    <a:pt x="51043" y="25420"/>
                  </a:lnTo>
                  <a:cubicBezTo>
                    <a:pt x="51043" y="11335"/>
                    <a:pt x="39636" y="0"/>
                    <a:pt x="25551" y="0"/>
                  </a:cubicBezTo>
                  <a:close/>
                </a:path>
              </a:pathLst>
            </a:custGeom>
            <a:solidFill>
              <a:srgbClr val="F2F2F2"/>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8" name="Google Shape;1002;p30">
              <a:extLst>
                <a:ext uri="{FF2B5EF4-FFF2-40B4-BE49-F238E27FC236}">
                  <a16:creationId xmlns:a16="http://schemas.microsoft.com/office/drawing/2014/main" id="{3FC7522A-C399-4EE5-B755-A76050CABB8C}"/>
                </a:ext>
              </a:extLst>
            </p:cNvPr>
            <p:cNvSpPr/>
            <p:nvPr/>
          </p:nvSpPr>
          <p:spPr>
            <a:xfrm>
              <a:off x="2552075" y="1591230"/>
              <a:ext cx="1042921" cy="811553"/>
            </a:xfrm>
            <a:custGeom>
              <a:avLst/>
              <a:gdLst/>
              <a:ahLst/>
              <a:cxnLst/>
              <a:rect l="l" t="t" r="r" b="b"/>
              <a:pathLst>
                <a:path w="46316" h="36041" extrusionOk="0">
                  <a:moveTo>
                    <a:pt x="23158" y="0"/>
                  </a:moveTo>
                  <a:cubicBezTo>
                    <a:pt x="10395" y="0"/>
                    <a:pt x="0" y="10395"/>
                    <a:pt x="0" y="23158"/>
                  </a:cubicBezTo>
                  <a:lnTo>
                    <a:pt x="0" y="34481"/>
                  </a:lnTo>
                  <a:cubicBezTo>
                    <a:pt x="0" y="35338"/>
                    <a:pt x="703" y="36041"/>
                    <a:pt x="1572" y="36041"/>
                  </a:cubicBezTo>
                  <a:lnTo>
                    <a:pt x="44744" y="36041"/>
                  </a:lnTo>
                  <a:cubicBezTo>
                    <a:pt x="45613" y="36041"/>
                    <a:pt x="46316" y="35338"/>
                    <a:pt x="46316" y="34481"/>
                  </a:cubicBezTo>
                  <a:lnTo>
                    <a:pt x="46316" y="23158"/>
                  </a:lnTo>
                  <a:cubicBezTo>
                    <a:pt x="46316" y="10395"/>
                    <a:pt x="35934" y="0"/>
                    <a:pt x="23158" y="0"/>
                  </a:cubicBezTo>
                  <a:close/>
                </a:path>
              </a:pathLst>
            </a:custGeom>
            <a:solidFill>
              <a:schemeClr val="accent1"/>
            </a:solidFill>
            <a:ln>
              <a:noFill/>
            </a:ln>
          </p:spPr>
          <p:txBody>
            <a:bodyPr spcFirstLastPara="1" wrap="square" lIns="121900" tIns="121900" rIns="121900" bIns="121900" anchor="b"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Tx/>
                <a:buNone/>
                <a:tabLst/>
                <a:defRPr/>
              </a:pPr>
              <a:r>
                <a:rPr kumimoji="0" lang="en" sz="2267" b="0" i="0" u="none" strike="noStrike" kern="1200" cap="none" spc="0" normalizeH="0" baseline="0" noProof="0">
                  <a:ln>
                    <a:noFill/>
                  </a:ln>
                  <a:solidFill>
                    <a:srgbClr val="FFFFFF"/>
                  </a:solidFill>
                  <a:effectLst/>
                  <a:uLnTx/>
                  <a:uFillTx/>
                  <a:latin typeface="Arial"/>
                  <a:ea typeface="+mn-ea"/>
                  <a:cs typeface="+mn-ea"/>
                  <a:sym typeface="+mn-lt"/>
                </a:rPr>
                <a:t>Mars</a:t>
              </a:r>
              <a:endParaRPr kumimoji="0" sz="2489" b="0" i="0" u="none" strike="noStrike" kern="1200" cap="none" spc="0" normalizeH="0" baseline="0" noProof="0">
                <a:ln>
                  <a:noFill/>
                </a:ln>
                <a:solidFill>
                  <a:srgbClr val="FFFFFF"/>
                </a:solidFill>
                <a:effectLst/>
                <a:uLnTx/>
                <a:uFillTx/>
                <a:latin typeface="Arial"/>
                <a:ea typeface="+mn-ea"/>
                <a:cs typeface="+mn-ea"/>
                <a:sym typeface="+mn-lt"/>
              </a:endParaRPr>
            </a:p>
          </p:txBody>
        </p:sp>
        <p:grpSp>
          <p:nvGrpSpPr>
            <p:cNvPr id="9" name="Google Shape;1003;p30">
              <a:extLst>
                <a:ext uri="{FF2B5EF4-FFF2-40B4-BE49-F238E27FC236}">
                  <a16:creationId xmlns:a16="http://schemas.microsoft.com/office/drawing/2014/main" id="{794EF330-3722-42B0-8713-30FF954D1B55}"/>
                </a:ext>
              </a:extLst>
            </p:cNvPr>
            <p:cNvGrpSpPr/>
            <p:nvPr/>
          </p:nvGrpSpPr>
          <p:grpSpPr>
            <a:xfrm>
              <a:off x="2953680" y="1667432"/>
              <a:ext cx="239969" cy="333512"/>
              <a:chOff x="2953680" y="1746457"/>
              <a:chExt cx="239969" cy="333512"/>
            </a:xfrm>
          </p:grpSpPr>
          <p:sp>
            <p:nvSpPr>
              <p:cNvPr id="10" name="Google Shape;1004;p30">
                <a:extLst>
                  <a:ext uri="{FF2B5EF4-FFF2-40B4-BE49-F238E27FC236}">
                    <a16:creationId xmlns:a16="http://schemas.microsoft.com/office/drawing/2014/main" id="{21FF0BE5-EF64-46CA-90D1-04AF9DC54102}"/>
                  </a:ext>
                </a:extLst>
              </p:cNvPr>
              <p:cNvSpPr/>
              <p:nvPr/>
            </p:nvSpPr>
            <p:spPr>
              <a:xfrm>
                <a:off x="2953680" y="1746457"/>
                <a:ext cx="239969" cy="272664"/>
              </a:xfrm>
              <a:custGeom>
                <a:avLst/>
                <a:gdLst/>
                <a:ahLst/>
                <a:cxnLst/>
                <a:rect l="l" t="t" r="r" b="b"/>
                <a:pathLst>
                  <a:path w="10657" h="12109" fill="none" extrusionOk="0">
                    <a:moveTo>
                      <a:pt x="10656" y="5334"/>
                    </a:moveTo>
                    <a:cubicBezTo>
                      <a:pt x="10656" y="2393"/>
                      <a:pt x="8263" y="0"/>
                      <a:pt x="5322" y="0"/>
                    </a:cubicBezTo>
                    <a:cubicBezTo>
                      <a:pt x="2381" y="0"/>
                      <a:pt x="0" y="2393"/>
                      <a:pt x="0" y="5334"/>
                    </a:cubicBezTo>
                    <a:cubicBezTo>
                      <a:pt x="0" y="7584"/>
                      <a:pt x="1393" y="9501"/>
                      <a:pt x="3358" y="10287"/>
                    </a:cubicBezTo>
                    <a:lnTo>
                      <a:pt x="3358" y="12109"/>
                    </a:lnTo>
                    <a:lnTo>
                      <a:pt x="7287" y="12109"/>
                    </a:lnTo>
                    <a:lnTo>
                      <a:pt x="7287" y="10287"/>
                    </a:lnTo>
                    <a:cubicBezTo>
                      <a:pt x="9251" y="9501"/>
                      <a:pt x="10656" y="7584"/>
                      <a:pt x="10656" y="5334"/>
                    </a:cubicBezTo>
                    <a:close/>
                  </a:path>
                </a:pathLst>
              </a:custGeom>
              <a:noFill/>
              <a:ln w="15175" cap="rnd" cmpd="sng">
                <a:solidFill>
                  <a:srgbClr val="FFFFFF"/>
                </a:solidFill>
                <a:prstDash val="solid"/>
                <a:miter lim="11906"/>
                <a:headEnd type="none" w="sm" len="sm"/>
                <a:tailEnd type="none" w="sm" len="sm"/>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11" name="Google Shape;1005;p30">
                <a:extLst>
                  <a:ext uri="{FF2B5EF4-FFF2-40B4-BE49-F238E27FC236}">
                    <a16:creationId xmlns:a16="http://schemas.microsoft.com/office/drawing/2014/main" id="{7FCB034C-EDDA-40B2-99B8-A325D8231069}"/>
                  </a:ext>
                </a:extLst>
              </p:cNvPr>
              <p:cNvSpPr/>
              <p:nvPr/>
            </p:nvSpPr>
            <p:spPr>
              <a:xfrm>
                <a:off x="3028998" y="2038922"/>
                <a:ext cx="89304" cy="23"/>
              </a:xfrm>
              <a:custGeom>
                <a:avLst/>
                <a:gdLst/>
                <a:ahLst/>
                <a:cxnLst/>
                <a:rect l="l" t="t" r="r" b="b"/>
                <a:pathLst>
                  <a:path w="3966" h="1" fill="none" extrusionOk="0">
                    <a:moveTo>
                      <a:pt x="1" y="1"/>
                    </a:moveTo>
                    <a:lnTo>
                      <a:pt x="3965" y="1"/>
                    </a:lnTo>
                  </a:path>
                </a:pathLst>
              </a:custGeom>
              <a:noFill/>
              <a:ln w="15175" cap="rnd" cmpd="sng">
                <a:solidFill>
                  <a:srgbClr val="FFFFFF"/>
                </a:solidFill>
                <a:prstDash val="solid"/>
                <a:miter lim="11906"/>
                <a:headEnd type="none" w="sm" len="sm"/>
                <a:tailEnd type="none" w="sm" len="sm"/>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12" name="Google Shape;1006;p30">
                <a:extLst>
                  <a:ext uri="{FF2B5EF4-FFF2-40B4-BE49-F238E27FC236}">
                    <a16:creationId xmlns:a16="http://schemas.microsoft.com/office/drawing/2014/main" id="{1B42EFF4-2805-475A-A179-2137B8746004}"/>
                  </a:ext>
                </a:extLst>
              </p:cNvPr>
              <p:cNvSpPr/>
              <p:nvPr/>
            </p:nvSpPr>
            <p:spPr>
              <a:xfrm>
                <a:off x="3028998" y="2058759"/>
                <a:ext cx="89304" cy="23"/>
              </a:xfrm>
              <a:custGeom>
                <a:avLst/>
                <a:gdLst/>
                <a:ahLst/>
                <a:cxnLst/>
                <a:rect l="l" t="t" r="r" b="b"/>
                <a:pathLst>
                  <a:path w="3966" h="1" fill="none" extrusionOk="0">
                    <a:moveTo>
                      <a:pt x="1" y="1"/>
                    </a:moveTo>
                    <a:lnTo>
                      <a:pt x="3965" y="1"/>
                    </a:lnTo>
                  </a:path>
                </a:pathLst>
              </a:custGeom>
              <a:noFill/>
              <a:ln w="15175" cap="rnd" cmpd="sng">
                <a:solidFill>
                  <a:srgbClr val="FFFFFF"/>
                </a:solidFill>
                <a:prstDash val="solid"/>
                <a:miter lim="11906"/>
                <a:headEnd type="none" w="sm" len="sm"/>
                <a:tailEnd type="none" w="sm" len="sm"/>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13" name="Google Shape;1007;p30">
                <a:extLst>
                  <a:ext uri="{FF2B5EF4-FFF2-40B4-BE49-F238E27FC236}">
                    <a16:creationId xmlns:a16="http://schemas.microsoft.com/office/drawing/2014/main" id="{81551F09-D328-416C-9D99-87111272E6C0}"/>
                  </a:ext>
                </a:extLst>
              </p:cNvPr>
              <p:cNvSpPr/>
              <p:nvPr/>
            </p:nvSpPr>
            <p:spPr>
              <a:xfrm>
                <a:off x="3059035" y="2079947"/>
                <a:ext cx="28980" cy="23"/>
              </a:xfrm>
              <a:custGeom>
                <a:avLst/>
                <a:gdLst/>
                <a:ahLst/>
                <a:cxnLst/>
                <a:rect l="l" t="t" r="r" b="b"/>
                <a:pathLst>
                  <a:path w="1287" h="1" fill="none" extrusionOk="0">
                    <a:moveTo>
                      <a:pt x="0" y="0"/>
                    </a:moveTo>
                    <a:lnTo>
                      <a:pt x="1286" y="0"/>
                    </a:lnTo>
                  </a:path>
                </a:pathLst>
              </a:custGeom>
              <a:noFill/>
              <a:ln w="15175" cap="rnd" cmpd="sng">
                <a:solidFill>
                  <a:srgbClr val="FFFFFF"/>
                </a:solidFill>
                <a:prstDash val="solid"/>
                <a:miter lim="11906"/>
                <a:headEnd type="none" w="sm" len="sm"/>
                <a:tailEnd type="none" w="sm" len="sm"/>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14" name="Google Shape;1008;p30">
                <a:extLst>
                  <a:ext uri="{FF2B5EF4-FFF2-40B4-BE49-F238E27FC236}">
                    <a16:creationId xmlns:a16="http://schemas.microsoft.com/office/drawing/2014/main" id="{E86C0409-05ED-42A2-AEFD-9B0CBC5D0EF1}"/>
                  </a:ext>
                </a:extLst>
              </p:cNvPr>
              <p:cNvSpPr/>
              <p:nvPr/>
            </p:nvSpPr>
            <p:spPr>
              <a:xfrm>
                <a:off x="3073513" y="1872459"/>
                <a:ext cx="23" cy="146656"/>
              </a:xfrm>
              <a:custGeom>
                <a:avLst/>
                <a:gdLst/>
                <a:ahLst/>
                <a:cxnLst/>
                <a:rect l="l" t="t" r="r" b="b"/>
                <a:pathLst>
                  <a:path w="1" h="6513" fill="none" extrusionOk="0">
                    <a:moveTo>
                      <a:pt x="0" y="6513"/>
                    </a:moveTo>
                    <a:lnTo>
                      <a:pt x="0" y="0"/>
                    </a:lnTo>
                  </a:path>
                </a:pathLst>
              </a:custGeom>
              <a:noFill/>
              <a:ln w="15175" cap="rnd" cmpd="sng">
                <a:solidFill>
                  <a:srgbClr val="FFFFFF"/>
                </a:solidFill>
                <a:prstDash val="solid"/>
                <a:miter lim="11906"/>
                <a:headEnd type="none" w="sm" len="sm"/>
                <a:tailEnd type="none" w="sm" len="sm"/>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15" name="Google Shape;1009;p30">
                <a:extLst>
                  <a:ext uri="{FF2B5EF4-FFF2-40B4-BE49-F238E27FC236}">
                    <a16:creationId xmlns:a16="http://schemas.microsoft.com/office/drawing/2014/main" id="{1832B4C1-1BCD-446D-8889-3AD535806724}"/>
                  </a:ext>
                </a:extLst>
              </p:cNvPr>
              <p:cNvSpPr/>
              <p:nvPr/>
            </p:nvSpPr>
            <p:spPr>
              <a:xfrm>
                <a:off x="3053406" y="1872459"/>
                <a:ext cx="40239" cy="23"/>
              </a:xfrm>
              <a:custGeom>
                <a:avLst/>
                <a:gdLst/>
                <a:ahLst/>
                <a:cxnLst/>
                <a:rect l="l" t="t" r="r" b="b"/>
                <a:pathLst>
                  <a:path w="1787" h="1" fill="none" extrusionOk="0">
                    <a:moveTo>
                      <a:pt x="0" y="0"/>
                    </a:moveTo>
                    <a:lnTo>
                      <a:pt x="1786" y="0"/>
                    </a:lnTo>
                  </a:path>
                </a:pathLst>
              </a:custGeom>
              <a:noFill/>
              <a:ln w="15175" cap="rnd" cmpd="sng">
                <a:solidFill>
                  <a:srgbClr val="FFFFFF"/>
                </a:solidFill>
                <a:prstDash val="solid"/>
                <a:miter lim="11906"/>
                <a:headEnd type="none" w="sm" len="sm"/>
                <a:tailEnd type="none" w="sm" len="sm"/>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grpSp>
      </p:grpSp>
      <p:grpSp>
        <p:nvGrpSpPr>
          <p:cNvPr id="16" name="Google Shape;1010;p30">
            <a:extLst>
              <a:ext uri="{FF2B5EF4-FFF2-40B4-BE49-F238E27FC236}">
                <a16:creationId xmlns:a16="http://schemas.microsoft.com/office/drawing/2014/main" id="{5547976E-97F6-4352-AB0D-3733F5A54BE1}"/>
              </a:ext>
            </a:extLst>
          </p:cNvPr>
          <p:cNvGrpSpPr/>
          <p:nvPr/>
        </p:nvGrpSpPr>
        <p:grpSpPr>
          <a:xfrm>
            <a:off x="4880034" y="1225407"/>
            <a:ext cx="1532841" cy="2072961"/>
            <a:chOff x="3848284" y="1282125"/>
            <a:chExt cx="1149631" cy="1554721"/>
          </a:xfrm>
        </p:grpSpPr>
        <p:sp>
          <p:nvSpPr>
            <p:cNvPr id="17" name="Google Shape;1011;p30">
              <a:extLst>
                <a:ext uri="{FF2B5EF4-FFF2-40B4-BE49-F238E27FC236}">
                  <a16:creationId xmlns:a16="http://schemas.microsoft.com/office/drawing/2014/main" id="{FEA409FB-B6F4-4002-9D1A-B18BA3789D77}"/>
                </a:ext>
              </a:extLst>
            </p:cNvPr>
            <p:cNvSpPr/>
            <p:nvPr/>
          </p:nvSpPr>
          <p:spPr>
            <a:xfrm>
              <a:off x="3848284" y="1282125"/>
              <a:ext cx="1149631" cy="1554721"/>
            </a:xfrm>
            <a:custGeom>
              <a:avLst/>
              <a:gdLst/>
              <a:ahLst/>
              <a:cxnLst/>
              <a:rect l="l" t="t" r="r" b="b"/>
              <a:pathLst>
                <a:path w="51055" h="69045" extrusionOk="0">
                  <a:moveTo>
                    <a:pt x="25515" y="1"/>
                  </a:moveTo>
                  <a:cubicBezTo>
                    <a:pt x="11430" y="1"/>
                    <a:pt x="0" y="11454"/>
                    <a:pt x="0" y="25539"/>
                  </a:cubicBezTo>
                  <a:lnTo>
                    <a:pt x="0" y="48209"/>
                  </a:lnTo>
                  <a:cubicBezTo>
                    <a:pt x="0" y="50364"/>
                    <a:pt x="1762" y="52090"/>
                    <a:pt x="3917" y="52090"/>
                  </a:cubicBezTo>
                  <a:lnTo>
                    <a:pt x="21598" y="52090"/>
                  </a:lnTo>
                  <a:cubicBezTo>
                    <a:pt x="21967" y="52245"/>
                    <a:pt x="24860" y="53031"/>
                    <a:pt x="25003" y="57139"/>
                  </a:cubicBezTo>
                  <a:lnTo>
                    <a:pt x="25003" y="68533"/>
                  </a:lnTo>
                  <a:cubicBezTo>
                    <a:pt x="25003" y="68819"/>
                    <a:pt x="25241" y="69045"/>
                    <a:pt x="25527" y="69045"/>
                  </a:cubicBezTo>
                  <a:cubicBezTo>
                    <a:pt x="25801" y="69045"/>
                    <a:pt x="26051" y="68819"/>
                    <a:pt x="26051" y="68533"/>
                  </a:cubicBezTo>
                  <a:lnTo>
                    <a:pt x="26051" y="57520"/>
                  </a:lnTo>
                  <a:cubicBezTo>
                    <a:pt x="26051" y="53079"/>
                    <a:pt x="29028" y="52245"/>
                    <a:pt x="29421" y="52090"/>
                  </a:cubicBezTo>
                  <a:lnTo>
                    <a:pt x="47101" y="52090"/>
                  </a:lnTo>
                  <a:cubicBezTo>
                    <a:pt x="49256" y="52090"/>
                    <a:pt x="51054" y="50364"/>
                    <a:pt x="51054" y="48209"/>
                  </a:cubicBezTo>
                  <a:lnTo>
                    <a:pt x="51054" y="25539"/>
                  </a:lnTo>
                  <a:cubicBezTo>
                    <a:pt x="51054" y="11454"/>
                    <a:pt x="39612" y="1"/>
                    <a:pt x="25527" y="1"/>
                  </a:cubicBezTo>
                  <a:close/>
                </a:path>
              </a:pathLst>
            </a:custGeom>
            <a:solidFill>
              <a:srgbClr val="F2F2F2"/>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18" name="Google Shape;1012;p30">
              <a:extLst>
                <a:ext uri="{FF2B5EF4-FFF2-40B4-BE49-F238E27FC236}">
                  <a16:creationId xmlns:a16="http://schemas.microsoft.com/office/drawing/2014/main" id="{B6575DB6-A45D-492B-89F3-6470146DB909}"/>
                </a:ext>
              </a:extLst>
            </p:cNvPr>
            <p:cNvSpPr/>
            <p:nvPr/>
          </p:nvSpPr>
          <p:spPr>
            <a:xfrm>
              <a:off x="3901085" y="1335736"/>
              <a:ext cx="1042943" cy="1067059"/>
            </a:xfrm>
            <a:custGeom>
              <a:avLst/>
              <a:gdLst/>
              <a:ahLst/>
              <a:cxnLst/>
              <a:rect l="l" t="t" r="r" b="b"/>
              <a:pathLst>
                <a:path w="46317" h="47388" extrusionOk="0">
                  <a:moveTo>
                    <a:pt x="23158" y="1"/>
                  </a:moveTo>
                  <a:cubicBezTo>
                    <a:pt x="10395" y="1"/>
                    <a:pt x="1" y="10383"/>
                    <a:pt x="1" y="23158"/>
                  </a:cubicBezTo>
                  <a:lnTo>
                    <a:pt x="1" y="45828"/>
                  </a:lnTo>
                  <a:cubicBezTo>
                    <a:pt x="1" y="46685"/>
                    <a:pt x="703" y="47388"/>
                    <a:pt x="1572" y="47388"/>
                  </a:cubicBezTo>
                  <a:lnTo>
                    <a:pt x="44756" y="47388"/>
                  </a:lnTo>
                  <a:cubicBezTo>
                    <a:pt x="45614" y="47388"/>
                    <a:pt x="46316" y="46685"/>
                    <a:pt x="46316" y="45828"/>
                  </a:cubicBezTo>
                  <a:lnTo>
                    <a:pt x="46316" y="23158"/>
                  </a:lnTo>
                  <a:cubicBezTo>
                    <a:pt x="46316" y="10383"/>
                    <a:pt x="35934" y="1"/>
                    <a:pt x="23158" y="1"/>
                  </a:cubicBezTo>
                  <a:close/>
                </a:path>
              </a:pathLst>
            </a:custGeom>
            <a:solidFill>
              <a:schemeClr val="accent1"/>
            </a:solidFill>
            <a:ln>
              <a:noFill/>
            </a:ln>
          </p:spPr>
          <p:txBody>
            <a:bodyPr spcFirstLastPara="1" wrap="square" lIns="121900" tIns="121900" rIns="121900" bIns="121900" anchor="b"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Tx/>
                <a:buNone/>
                <a:tabLst/>
                <a:defRPr/>
              </a:pPr>
              <a:r>
                <a:rPr kumimoji="0" lang="en" sz="2267" b="0" i="0" u="none" strike="noStrike" kern="1200" cap="none" spc="0" normalizeH="0" baseline="0" noProof="0">
                  <a:ln>
                    <a:noFill/>
                  </a:ln>
                  <a:solidFill>
                    <a:srgbClr val="FFFFFF"/>
                  </a:solidFill>
                  <a:effectLst/>
                  <a:uLnTx/>
                  <a:uFillTx/>
                  <a:latin typeface="Arial"/>
                  <a:ea typeface="+mn-ea"/>
                  <a:cs typeface="+mn-ea"/>
                  <a:sym typeface="+mn-lt"/>
                </a:rPr>
                <a:t>Jupiter</a:t>
              </a:r>
              <a:endParaRPr kumimoji="0" sz="2489" b="0" i="0" u="none" strike="noStrike" kern="1200" cap="none" spc="0" normalizeH="0" baseline="0" noProof="0">
                <a:ln>
                  <a:noFill/>
                </a:ln>
                <a:solidFill>
                  <a:srgbClr val="FFFFFF"/>
                </a:solidFill>
                <a:effectLst/>
                <a:uLnTx/>
                <a:uFillTx/>
                <a:latin typeface="Arial"/>
                <a:ea typeface="+mn-ea"/>
                <a:cs typeface="+mn-ea"/>
                <a:sym typeface="+mn-lt"/>
              </a:endParaRPr>
            </a:p>
          </p:txBody>
        </p:sp>
        <p:grpSp>
          <p:nvGrpSpPr>
            <p:cNvPr id="19" name="Google Shape;1013;p30">
              <a:extLst>
                <a:ext uri="{FF2B5EF4-FFF2-40B4-BE49-F238E27FC236}">
                  <a16:creationId xmlns:a16="http://schemas.microsoft.com/office/drawing/2014/main" id="{353382E6-7334-43FE-99B9-86A8D1A39330}"/>
                </a:ext>
              </a:extLst>
            </p:cNvPr>
            <p:cNvGrpSpPr/>
            <p:nvPr/>
          </p:nvGrpSpPr>
          <p:grpSpPr>
            <a:xfrm>
              <a:off x="4264885" y="1541356"/>
              <a:ext cx="315313" cy="315313"/>
              <a:chOff x="4264885" y="1541356"/>
              <a:chExt cx="315313" cy="315313"/>
            </a:xfrm>
          </p:grpSpPr>
          <p:sp>
            <p:nvSpPr>
              <p:cNvPr id="20" name="Google Shape;1014;p30">
                <a:extLst>
                  <a:ext uri="{FF2B5EF4-FFF2-40B4-BE49-F238E27FC236}">
                    <a16:creationId xmlns:a16="http://schemas.microsoft.com/office/drawing/2014/main" id="{9A76A7FF-D2E1-41B5-8B9A-D5937CC95D95}"/>
                  </a:ext>
                </a:extLst>
              </p:cNvPr>
              <p:cNvSpPr/>
              <p:nvPr/>
            </p:nvSpPr>
            <p:spPr>
              <a:xfrm>
                <a:off x="4426283" y="1580782"/>
                <a:ext cx="11281" cy="19320"/>
              </a:xfrm>
              <a:custGeom>
                <a:avLst/>
                <a:gdLst/>
                <a:ahLst/>
                <a:cxnLst/>
                <a:rect l="l" t="t" r="r" b="b"/>
                <a:pathLst>
                  <a:path w="501" h="858" extrusionOk="0">
                    <a:moveTo>
                      <a:pt x="250" y="0"/>
                    </a:moveTo>
                    <a:cubicBezTo>
                      <a:pt x="107" y="0"/>
                      <a:pt x="0" y="119"/>
                      <a:pt x="0" y="250"/>
                    </a:cubicBezTo>
                    <a:lnTo>
                      <a:pt x="0" y="607"/>
                    </a:lnTo>
                    <a:cubicBezTo>
                      <a:pt x="0" y="750"/>
                      <a:pt x="107" y="857"/>
                      <a:pt x="250" y="857"/>
                    </a:cubicBezTo>
                    <a:cubicBezTo>
                      <a:pt x="381" y="857"/>
                      <a:pt x="500" y="750"/>
                      <a:pt x="500" y="607"/>
                    </a:cubicBezTo>
                    <a:lnTo>
                      <a:pt x="500" y="250"/>
                    </a:lnTo>
                    <a:cubicBezTo>
                      <a:pt x="500" y="119"/>
                      <a:pt x="381" y="0"/>
                      <a:pt x="250" y="0"/>
                    </a:cubicBezTo>
                    <a:close/>
                  </a:path>
                </a:pathLst>
              </a:custGeom>
              <a:solidFill>
                <a:srgbClr val="FFFFFF"/>
              </a:solidFill>
              <a:ln w="3275" cap="flat" cmpd="sng">
                <a:solidFill>
                  <a:srgbClr val="FFFFFF"/>
                </a:solidFill>
                <a:prstDash val="solid"/>
                <a:miter lim="11906"/>
                <a:headEnd type="none" w="sm" len="sm"/>
                <a:tailEnd type="none" w="sm" len="sm"/>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21" name="Google Shape;1015;p30">
                <a:extLst>
                  <a:ext uri="{FF2B5EF4-FFF2-40B4-BE49-F238E27FC236}">
                    <a16:creationId xmlns:a16="http://schemas.microsoft.com/office/drawing/2014/main" id="{FE134F84-41F0-42A6-8218-9443DAE4A8A8}"/>
                  </a:ext>
                </a:extLst>
              </p:cNvPr>
              <p:cNvSpPr/>
              <p:nvPr/>
            </p:nvSpPr>
            <p:spPr>
              <a:xfrm>
                <a:off x="4499462" y="1614016"/>
                <a:ext cx="17991" cy="16911"/>
              </a:xfrm>
              <a:custGeom>
                <a:avLst/>
                <a:gdLst/>
                <a:ahLst/>
                <a:cxnLst/>
                <a:rect l="l" t="t" r="r" b="b"/>
                <a:pathLst>
                  <a:path w="799" h="751" extrusionOk="0">
                    <a:moveTo>
                      <a:pt x="530" y="0"/>
                    </a:moveTo>
                    <a:cubicBezTo>
                      <a:pt x="468" y="0"/>
                      <a:pt x="405" y="24"/>
                      <a:pt x="358" y="72"/>
                    </a:cubicBezTo>
                    <a:lnTo>
                      <a:pt x="96" y="334"/>
                    </a:lnTo>
                    <a:cubicBezTo>
                      <a:pt x="0" y="429"/>
                      <a:pt x="0" y="584"/>
                      <a:pt x="96" y="679"/>
                    </a:cubicBezTo>
                    <a:cubicBezTo>
                      <a:pt x="143" y="727"/>
                      <a:pt x="215" y="751"/>
                      <a:pt x="274" y="751"/>
                    </a:cubicBezTo>
                    <a:cubicBezTo>
                      <a:pt x="334" y="751"/>
                      <a:pt x="393" y="727"/>
                      <a:pt x="453" y="679"/>
                    </a:cubicBezTo>
                    <a:lnTo>
                      <a:pt x="703" y="417"/>
                    </a:lnTo>
                    <a:cubicBezTo>
                      <a:pt x="798" y="322"/>
                      <a:pt x="798" y="167"/>
                      <a:pt x="703" y="72"/>
                    </a:cubicBezTo>
                    <a:cubicBezTo>
                      <a:pt x="655" y="24"/>
                      <a:pt x="593" y="0"/>
                      <a:pt x="530" y="0"/>
                    </a:cubicBezTo>
                    <a:close/>
                  </a:path>
                </a:pathLst>
              </a:custGeom>
              <a:solidFill>
                <a:srgbClr val="FFFFFF"/>
              </a:solidFill>
              <a:ln w="3275" cap="flat" cmpd="sng">
                <a:solidFill>
                  <a:srgbClr val="FFFFFF"/>
                </a:solidFill>
                <a:prstDash val="solid"/>
                <a:miter lim="11906"/>
                <a:headEnd type="none" w="sm" len="sm"/>
                <a:tailEnd type="none" w="sm" len="sm"/>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22" name="Google Shape;1016;p30">
                <a:extLst>
                  <a:ext uri="{FF2B5EF4-FFF2-40B4-BE49-F238E27FC236}">
                    <a16:creationId xmlns:a16="http://schemas.microsoft.com/office/drawing/2014/main" id="{F37D7154-6BA8-4F31-A2C4-E91BF9EB0A3B}"/>
                  </a:ext>
                </a:extLst>
              </p:cNvPr>
              <p:cNvSpPr/>
              <p:nvPr/>
            </p:nvSpPr>
            <p:spPr>
              <a:xfrm>
                <a:off x="4530287" y="1693634"/>
                <a:ext cx="19320" cy="11281"/>
              </a:xfrm>
              <a:custGeom>
                <a:avLst/>
                <a:gdLst/>
                <a:ahLst/>
                <a:cxnLst/>
                <a:rect l="l" t="t" r="r" b="b"/>
                <a:pathLst>
                  <a:path w="858" h="501" extrusionOk="0">
                    <a:moveTo>
                      <a:pt x="251" y="1"/>
                    </a:moveTo>
                    <a:cubicBezTo>
                      <a:pt x="120" y="1"/>
                      <a:pt x="1" y="108"/>
                      <a:pt x="1" y="251"/>
                    </a:cubicBezTo>
                    <a:cubicBezTo>
                      <a:pt x="1" y="382"/>
                      <a:pt x="120" y="501"/>
                      <a:pt x="251" y="501"/>
                    </a:cubicBezTo>
                    <a:lnTo>
                      <a:pt x="608" y="501"/>
                    </a:lnTo>
                    <a:cubicBezTo>
                      <a:pt x="751" y="501"/>
                      <a:pt x="858" y="382"/>
                      <a:pt x="858" y="251"/>
                    </a:cubicBezTo>
                    <a:cubicBezTo>
                      <a:pt x="858" y="108"/>
                      <a:pt x="751" y="1"/>
                      <a:pt x="608" y="1"/>
                    </a:cubicBezTo>
                    <a:close/>
                  </a:path>
                </a:pathLst>
              </a:custGeom>
              <a:solidFill>
                <a:srgbClr val="FFFFFF"/>
              </a:solidFill>
              <a:ln w="3275" cap="flat" cmpd="sng">
                <a:solidFill>
                  <a:srgbClr val="FFFFFF"/>
                </a:solidFill>
                <a:prstDash val="solid"/>
                <a:miter lim="11906"/>
                <a:headEnd type="none" w="sm" len="sm"/>
                <a:tailEnd type="none" w="sm" len="sm"/>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23" name="Google Shape;1017;p30">
                <a:extLst>
                  <a:ext uri="{FF2B5EF4-FFF2-40B4-BE49-F238E27FC236}">
                    <a16:creationId xmlns:a16="http://schemas.microsoft.com/office/drawing/2014/main" id="{731FB88B-D4DD-45C6-8AD7-1B163D937A51}"/>
                  </a:ext>
                </a:extLst>
              </p:cNvPr>
              <p:cNvSpPr/>
              <p:nvPr/>
            </p:nvSpPr>
            <p:spPr>
              <a:xfrm>
                <a:off x="4499192" y="1767353"/>
                <a:ext cx="17721" cy="16911"/>
              </a:xfrm>
              <a:custGeom>
                <a:avLst/>
                <a:gdLst/>
                <a:ahLst/>
                <a:cxnLst/>
                <a:rect l="l" t="t" r="r" b="b"/>
                <a:pathLst>
                  <a:path w="787" h="751" extrusionOk="0">
                    <a:moveTo>
                      <a:pt x="268" y="1"/>
                    </a:moveTo>
                    <a:cubicBezTo>
                      <a:pt x="206" y="1"/>
                      <a:pt x="143" y="25"/>
                      <a:pt x="96" y="72"/>
                    </a:cubicBezTo>
                    <a:cubicBezTo>
                      <a:pt x="1" y="168"/>
                      <a:pt x="1" y="322"/>
                      <a:pt x="96" y="429"/>
                    </a:cubicBezTo>
                    <a:lnTo>
                      <a:pt x="346" y="679"/>
                    </a:lnTo>
                    <a:cubicBezTo>
                      <a:pt x="393" y="727"/>
                      <a:pt x="453" y="751"/>
                      <a:pt x="524" y="751"/>
                    </a:cubicBezTo>
                    <a:cubicBezTo>
                      <a:pt x="584" y="751"/>
                      <a:pt x="644" y="727"/>
                      <a:pt x="691" y="679"/>
                    </a:cubicBezTo>
                    <a:cubicBezTo>
                      <a:pt x="786" y="584"/>
                      <a:pt x="786" y="429"/>
                      <a:pt x="691" y="334"/>
                    </a:cubicBezTo>
                    <a:lnTo>
                      <a:pt x="441" y="72"/>
                    </a:lnTo>
                    <a:cubicBezTo>
                      <a:pt x="393" y="25"/>
                      <a:pt x="331" y="1"/>
                      <a:pt x="268" y="1"/>
                    </a:cubicBezTo>
                    <a:close/>
                  </a:path>
                </a:pathLst>
              </a:custGeom>
              <a:solidFill>
                <a:srgbClr val="FFFFFF"/>
              </a:solidFill>
              <a:ln w="3275" cap="flat" cmpd="sng">
                <a:solidFill>
                  <a:srgbClr val="FFFFFF"/>
                </a:solidFill>
                <a:prstDash val="solid"/>
                <a:miter lim="11906"/>
                <a:headEnd type="none" w="sm" len="sm"/>
                <a:tailEnd type="none" w="sm" len="sm"/>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24" name="Google Shape;1018;p30">
                <a:extLst>
                  <a:ext uri="{FF2B5EF4-FFF2-40B4-BE49-F238E27FC236}">
                    <a16:creationId xmlns:a16="http://schemas.microsoft.com/office/drawing/2014/main" id="{F1F39BFC-A712-4295-9273-EC8C9B63D433}"/>
                  </a:ext>
                </a:extLst>
              </p:cNvPr>
              <p:cNvSpPr/>
              <p:nvPr/>
            </p:nvSpPr>
            <p:spPr>
              <a:xfrm>
                <a:off x="4425743" y="1797660"/>
                <a:ext cx="11011" cy="19320"/>
              </a:xfrm>
              <a:custGeom>
                <a:avLst/>
                <a:gdLst/>
                <a:ahLst/>
                <a:cxnLst/>
                <a:rect l="l" t="t" r="r" b="b"/>
                <a:pathLst>
                  <a:path w="489" h="858" extrusionOk="0">
                    <a:moveTo>
                      <a:pt x="250" y="0"/>
                    </a:moveTo>
                    <a:cubicBezTo>
                      <a:pt x="107" y="0"/>
                      <a:pt x="0" y="119"/>
                      <a:pt x="0" y="250"/>
                    </a:cubicBezTo>
                    <a:lnTo>
                      <a:pt x="0" y="619"/>
                    </a:lnTo>
                    <a:cubicBezTo>
                      <a:pt x="0" y="750"/>
                      <a:pt x="107" y="857"/>
                      <a:pt x="250" y="857"/>
                    </a:cubicBezTo>
                    <a:cubicBezTo>
                      <a:pt x="381" y="857"/>
                      <a:pt x="488" y="750"/>
                      <a:pt x="488" y="619"/>
                    </a:cubicBezTo>
                    <a:lnTo>
                      <a:pt x="488" y="250"/>
                    </a:lnTo>
                    <a:cubicBezTo>
                      <a:pt x="488" y="119"/>
                      <a:pt x="381" y="0"/>
                      <a:pt x="250" y="0"/>
                    </a:cubicBezTo>
                    <a:close/>
                  </a:path>
                </a:pathLst>
              </a:custGeom>
              <a:solidFill>
                <a:srgbClr val="FFFFFF"/>
              </a:solidFill>
              <a:ln w="3275" cap="flat" cmpd="sng">
                <a:solidFill>
                  <a:srgbClr val="FFFFFF"/>
                </a:solidFill>
                <a:prstDash val="solid"/>
                <a:miter lim="11906"/>
                <a:headEnd type="none" w="sm" len="sm"/>
                <a:tailEnd type="none" w="sm" len="sm"/>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25" name="Google Shape;1019;p30">
                <a:extLst>
                  <a:ext uri="{FF2B5EF4-FFF2-40B4-BE49-F238E27FC236}">
                    <a16:creationId xmlns:a16="http://schemas.microsoft.com/office/drawing/2014/main" id="{AD6159F5-0D18-4E24-8F53-FF350ABA268C}"/>
                  </a:ext>
                </a:extLst>
              </p:cNvPr>
              <p:cNvSpPr/>
              <p:nvPr/>
            </p:nvSpPr>
            <p:spPr>
              <a:xfrm>
                <a:off x="4345584" y="1767082"/>
                <a:ext cx="17969" cy="16663"/>
              </a:xfrm>
              <a:custGeom>
                <a:avLst/>
                <a:gdLst/>
                <a:ahLst/>
                <a:cxnLst/>
                <a:rect l="l" t="t" r="r" b="b"/>
                <a:pathLst>
                  <a:path w="798" h="740" extrusionOk="0">
                    <a:moveTo>
                      <a:pt x="530" y="1"/>
                    </a:moveTo>
                    <a:cubicBezTo>
                      <a:pt x="468" y="1"/>
                      <a:pt x="405" y="25"/>
                      <a:pt x="357" y="72"/>
                    </a:cubicBezTo>
                    <a:lnTo>
                      <a:pt x="107" y="322"/>
                    </a:lnTo>
                    <a:cubicBezTo>
                      <a:pt x="0" y="418"/>
                      <a:pt x="0" y="572"/>
                      <a:pt x="107" y="668"/>
                    </a:cubicBezTo>
                    <a:cubicBezTo>
                      <a:pt x="155" y="715"/>
                      <a:pt x="215" y="739"/>
                      <a:pt x="274" y="739"/>
                    </a:cubicBezTo>
                    <a:cubicBezTo>
                      <a:pt x="334" y="739"/>
                      <a:pt x="405" y="715"/>
                      <a:pt x="453" y="668"/>
                    </a:cubicBezTo>
                    <a:lnTo>
                      <a:pt x="703" y="418"/>
                    </a:lnTo>
                    <a:cubicBezTo>
                      <a:pt x="798" y="322"/>
                      <a:pt x="798" y="168"/>
                      <a:pt x="703" y="72"/>
                    </a:cubicBezTo>
                    <a:cubicBezTo>
                      <a:pt x="655" y="25"/>
                      <a:pt x="593" y="1"/>
                      <a:pt x="530" y="1"/>
                    </a:cubicBezTo>
                    <a:close/>
                  </a:path>
                </a:pathLst>
              </a:custGeom>
              <a:solidFill>
                <a:srgbClr val="FFFFFF"/>
              </a:solidFill>
              <a:ln w="3275" cap="flat" cmpd="sng">
                <a:solidFill>
                  <a:srgbClr val="FFFFFF"/>
                </a:solidFill>
                <a:prstDash val="solid"/>
                <a:miter lim="11906"/>
                <a:headEnd type="none" w="sm" len="sm"/>
                <a:tailEnd type="none" w="sm" len="sm"/>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26" name="Google Shape;1020;p30">
                <a:extLst>
                  <a:ext uri="{FF2B5EF4-FFF2-40B4-BE49-F238E27FC236}">
                    <a16:creationId xmlns:a16="http://schemas.microsoft.com/office/drawing/2014/main" id="{5EDDDC1D-B788-4080-A9A3-6907889F0F0C}"/>
                  </a:ext>
                </a:extLst>
              </p:cNvPr>
              <p:cNvSpPr/>
              <p:nvPr/>
            </p:nvSpPr>
            <p:spPr>
              <a:xfrm>
                <a:off x="4313408" y="1693094"/>
                <a:ext cx="19320" cy="11011"/>
              </a:xfrm>
              <a:custGeom>
                <a:avLst/>
                <a:gdLst/>
                <a:ahLst/>
                <a:cxnLst/>
                <a:rect l="l" t="t" r="r" b="b"/>
                <a:pathLst>
                  <a:path w="858" h="489" extrusionOk="0">
                    <a:moveTo>
                      <a:pt x="251" y="1"/>
                    </a:moveTo>
                    <a:cubicBezTo>
                      <a:pt x="120" y="1"/>
                      <a:pt x="1" y="108"/>
                      <a:pt x="1" y="251"/>
                    </a:cubicBezTo>
                    <a:cubicBezTo>
                      <a:pt x="1" y="382"/>
                      <a:pt x="120" y="489"/>
                      <a:pt x="251" y="489"/>
                    </a:cubicBezTo>
                    <a:lnTo>
                      <a:pt x="608" y="489"/>
                    </a:lnTo>
                    <a:cubicBezTo>
                      <a:pt x="751" y="489"/>
                      <a:pt x="858" y="382"/>
                      <a:pt x="858" y="251"/>
                    </a:cubicBezTo>
                    <a:cubicBezTo>
                      <a:pt x="858" y="108"/>
                      <a:pt x="751" y="1"/>
                      <a:pt x="608" y="1"/>
                    </a:cubicBezTo>
                    <a:close/>
                  </a:path>
                </a:pathLst>
              </a:custGeom>
              <a:solidFill>
                <a:srgbClr val="FFFFFF"/>
              </a:solidFill>
              <a:ln w="3275" cap="flat" cmpd="sng">
                <a:solidFill>
                  <a:srgbClr val="FFFFFF"/>
                </a:solidFill>
                <a:prstDash val="solid"/>
                <a:miter lim="11906"/>
                <a:headEnd type="none" w="sm" len="sm"/>
                <a:tailEnd type="none" w="sm" len="sm"/>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27" name="Google Shape;1021;p30">
                <a:extLst>
                  <a:ext uri="{FF2B5EF4-FFF2-40B4-BE49-F238E27FC236}">
                    <a16:creationId xmlns:a16="http://schemas.microsoft.com/office/drawing/2014/main" id="{7462F516-4112-47DC-8505-9C7991E35A0E}"/>
                  </a:ext>
                </a:extLst>
              </p:cNvPr>
              <p:cNvSpPr/>
              <p:nvPr/>
            </p:nvSpPr>
            <p:spPr>
              <a:xfrm>
                <a:off x="4346124" y="1613543"/>
                <a:ext cx="17969" cy="16843"/>
              </a:xfrm>
              <a:custGeom>
                <a:avLst/>
                <a:gdLst/>
                <a:ahLst/>
                <a:cxnLst/>
                <a:rect l="l" t="t" r="r" b="b"/>
                <a:pathLst>
                  <a:path w="798" h="748" extrusionOk="0">
                    <a:moveTo>
                      <a:pt x="268" y="1"/>
                    </a:moveTo>
                    <a:cubicBezTo>
                      <a:pt x="205" y="1"/>
                      <a:pt x="143" y="27"/>
                      <a:pt x="95" y="81"/>
                    </a:cubicBezTo>
                    <a:cubicBezTo>
                      <a:pt x="0" y="176"/>
                      <a:pt x="0" y="331"/>
                      <a:pt x="95" y="426"/>
                    </a:cubicBezTo>
                    <a:lnTo>
                      <a:pt x="357" y="676"/>
                    </a:lnTo>
                    <a:cubicBezTo>
                      <a:pt x="405" y="724"/>
                      <a:pt x="464" y="748"/>
                      <a:pt x="524" y="748"/>
                    </a:cubicBezTo>
                    <a:cubicBezTo>
                      <a:pt x="595" y="748"/>
                      <a:pt x="655" y="724"/>
                      <a:pt x="703" y="676"/>
                    </a:cubicBezTo>
                    <a:cubicBezTo>
                      <a:pt x="798" y="581"/>
                      <a:pt x="798" y="426"/>
                      <a:pt x="703" y="331"/>
                    </a:cubicBezTo>
                    <a:lnTo>
                      <a:pt x="441" y="81"/>
                    </a:lnTo>
                    <a:cubicBezTo>
                      <a:pt x="393" y="27"/>
                      <a:pt x="331" y="1"/>
                      <a:pt x="268" y="1"/>
                    </a:cubicBezTo>
                    <a:close/>
                  </a:path>
                </a:pathLst>
              </a:custGeom>
              <a:solidFill>
                <a:srgbClr val="FFFFFF"/>
              </a:solidFill>
              <a:ln w="3275" cap="flat" cmpd="sng">
                <a:solidFill>
                  <a:srgbClr val="FFFFFF"/>
                </a:solidFill>
                <a:prstDash val="solid"/>
                <a:miter lim="11906"/>
                <a:headEnd type="none" w="sm" len="sm"/>
                <a:tailEnd type="none" w="sm" len="sm"/>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28" name="Google Shape;1022;p30">
                <a:extLst>
                  <a:ext uri="{FF2B5EF4-FFF2-40B4-BE49-F238E27FC236}">
                    <a16:creationId xmlns:a16="http://schemas.microsoft.com/office/drawing/2014/main" id="{DC8AE0F8-EA23-4225-815C-D98A3118566E}"/>
                  </a:ext>
                </a:extLst>
              </p:cNvPr>
              <p:cNvSpPr/>
              <p:nvPr/>
            </p:nvSpPr>
            <p:spPr>
              <a:xfrm>
                <a:off x="4379088" y="1617506"/>
                <a:ext cx="116100" cy="116596"/>
              </a:xfrm>
              <a:custGeom>
                <a:avLst/>
                <a:gdLst/>
                <a:ahLst/>
                <a:cxnLst/>
                <a:rect l="l" t="t" r="r" b="b"/>
                <a:pathLst>
                  <a:path w="5156" h="5178" extrusionOk="0">
                    <a:moveTo>
                      <a:pt x="2346" y="3215"/>
                    </a:moveTo>
                    <a:cubicBezTo>
                      <a:pt x="2572" y="3215"/>
                      <a:pt x="2751" y="3405"/>
                      <a:pt x="2751" y="3632"/>
                    </a:cubicBezTo>
                    <a:cubicBezTo>
                      <a:pt x="2751" y="3858"/>
                      <a:pt x="2572" y="4036"/>
                      <a:pt x="2346" y="4036"/>
                    </a:cubicBezTo>
                    <a:cubicBezTo>
                      <a:pt x="2120" y="4036"/>
                      <a:pt x="1929" y="3858"/>
                      <a:pt x="1929" y="3632"/>
                    </a:cubicBezTo>
                    <a:cubicBezTo>
                      <a:pt x="1929" y="3405"/>
                      <a:pt x="2120" y="3215"/>
                      <a:pt x="2346" y="3215"/>
                    </a:cubicBezTo>
                    <a:close/>
                    <a:moveTo>
                      <a:pt x="2346" y="0"/>
                    </a:moveTo>
                    <a:cubicBezTo>
                      <a:pt x="2203" y="0"/>
                      <a:pt x="2096" y="119"/>
                      <a:pt x="2096" y="250"/>
                    </a:cubicBezTo>
                    <a:lnTo>
                      <a:pt x="2096" y="2763"/>
                    </a:lnTo>
                    <a:cubicBezTo>
                      <a:pt x="1798" y="2846"/>
                      <a:pt x="1560" y="3084"/>
                      <a:pt x="1477" y="3382"/>
                    </a:cubicBezTo>
                    <a:lnTo>
                      <a:pt x="251" y="3382"/>
                    </a:lnTo>
                    <a:cubicBezTo>
                      <a:pt x="120" y="3382"/>
                      <a:pt x="1" y="3489"/>
                      <a:pt x="1" y="3632"/>
                    </a:cubicBezTo>
                    <a:cubicBezTo>
                      <a:pt x="1" y="3763"/>
                      <a:pt x="120" y="3882"/>
                      <a:pt x="251" y="3882"/>
                    </a:cubicBezTo>
                    <a:lnTo>
                      <a:pt x="1477" y="3882"/>
                    </a:lnTo>
                    <a:cubicBezTo>
                      <a:pt x="1584" y="4251"/>
                      <a:pt x="1929" y="4537"/>
                      <a:pt x="2346" y="4537"/>
                    </a:cubicBezTo>
                    <a:cubicBezTo>
                      <a:pt x="2608" y="4537"/>
                      <a:pt x="2834" y="4429"/>
                      <a:pt x="3001" y="4251"/>
                    </a:cubicBezTo>
                    <a:lnTo>
                      <a:pt x="4763" y="5144"/>
                    </a:lnTo>
                    <a:cubicBezTo>
                      <a:pt x="4801" y="5167"/>
                      <a:pt x="4842" y="5177"/>
                      <a:pt x="4882" y="5177"/>
                    </a:cubicBezTo>
                    <a:cubicBezTo>
                      <a:pt x="4966" y="5177"/>
                      <a:pt x="5048" y="5129"/>
                      <a:pt x="5096" y="5048"/>
                    </a:cubicBezTo>
                    <a:cubicBezTo>
                      <a:pt x="5156" y="4918"/>
                      <a:pt x="5108" y="4775"/>
                      <a:pt x="4989" y="4715"/>
                    </a:cubicBezTo>
                    <a:lnTo>
                      <a:pt x="3227" y="3810"/>
                    </a:lnTo>
                    <a:cubicBezTo>
                      <a:pt x="3239" y="3751"/>
                      <a:pt x="3251" y="3691"/>
                      <a:pt x="3251" y="3632"/>
                    </a:cubicBezTo>
                    <a:cubicBezTo>
                      <a:pt x="3251" y="3215"/>
                      <a:pt x="2965" y="2870"/>
                      <a:pt x="2596" y="2763"/>
                    </a:cubicBezTo>
                    <a:lnTo>
                      <a:pt x="2596" y="250"/>
                    </a:lnTo>
                    <a:cubicBezTo>
                      <a:pt x="2596" y="119"/>
                      <a:pt x="2477" y="0"/>
                      <a:pt x="2346" y="0"/>
                    </a:cubicBezTo>
                    <a:close/>
                  </a:path>
                </a:pathLst>
              </a:custGeom>
              <a:solidFill>
                <a:srgbClr val="FFFFFF"/>
              </a:solidFill>
              <a:ln w="3275" cap="flat" cmpd="sng">
                <a:solidFill>
                  <a:srgbClr val="FFFFFF"/>
                </a:solidFill>
                <a:prstDash val="solid"/>
                <a:miter lim="11906"/>
                <a:headEnd type="none" w="sm" len="sm"/>
                <a:tailEnd type="none" w="sm" len="sm"/>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29" name="Google Shape;1023;p30">
                <a:extLst>
                  <a:ext uri="{FF2B5EF4-FFF2-40B4-BE49-F238E27FC236}">
                    <a16:creationId xmlns:a16="http://schemas.microsoft.com/office/drawing/2014/main" id="{A911259C-D922-4E88-8907-195C4B633D9C}"/>
                  </a:ext>
                </a:extLst>
              </p:cNvPr>
              <p:cNvSpPr/>
              <p:nvPr/>
            </p:nvSpPr>
            <p:spPr>
              <a:xfrm>
                <a:off x="4264885" y="1541356"/>
                <a:ext cx="315313" cy="315313"/>
              </a:xfrm>
              <a:custGeom>
                <a:avLst/>
                <a:gdLst/>
                <a:ahLst/>
                <a:cxnLst/>
                <a:rect l="l" t="t" r="r" b="b"/>
                <a:pathLst>
                  <a:path w="14003" h="14003" fill="none" extrusionOk="0">
                    <a:moveTo>
                      <a:pt x="14002" y="7002"/>
                    </a:moveTo>
                    <a:cubicBezTo>
                      <a:pt x="14002" y="10859"/>
                      <a:pt x="10871" y="14003"/>
                      <a:pt x="7001" y="14003"/>
                    </a:cubicBezTo>
                    <a:cubicBezTo>
                      <a:pt x="3144" y="14003"/>
                      <a:pt x="1" y="10859"/>
                      <a:pt x="1" y="7002"/>
                    </a:cubicBezTo>
                    <a:cubicBezTo>
                      <a:pt x="1" y="3132"/>
                      <a:pt x="3144" y="1"/>
                      <a:pt x="7001" y="1"/>
                    </a:cubicBezTo>
                    <a:cubicBezTo>
                      <a:pt x="10871" y="1"/>
                      <a:pt x="14002" y="3132"/>
                      <a:pt x="14002" y="7002"/>
                    </a:cubicBezTo>
                    <a:close/>
                  </a:path>
                </a:pathLst>
              </a:custGeom>
              <a:noFill/>
              <a:ln w="15775" cap="rnd" cmpd="sng">
                <a:solidFill>
                  <a:srgbClr val="FFFFFF"/>
                </a:solidFill>
                <a:prstDash val="solid"/>
                <a:miter lim="11906"/>
                <a:headEnd type="none" w="sm" len="sm"/>
                <a:tailEnd type="none" w="sm" len="sm"/>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grpSp>
      </p:grpSp>
      <p:grpSp>
        <p:nvGrpSpPr>
          <p:cNvPr id="30" name="Google Shape;1024;p30">
            <a:extLst>
              <a:ext uri="{FF2B5EF4-FFF2-40B4-BE49-F238E27FC236}">
                <a16:creationId xmlns:a16="http://schemas.microsoft.com/office/drawing/2014/main" id="{ADEA4DB9-E94D-469A-9E57-1BE781130B74}"/>
              </a:ext>
            </a:extLst>
          </p:cNvPr>
          <p:cNvGrpSpPr/>
          <p:nvPr/>
        </p:nvGrpSpPr>
        <p:grpSpPr>
          <a:xfrm>
            <a:off x="6680846" y="1060257"/>
            <a:ext cx="1528217" cy="2247067"/>
            <a:chOff x="5198893" y="1158263"/>
            <a:chExt cx="1146163" cy="1685300"/>
          </a:xfrm>
        </p:grpSpPr>
        <p:sp>
          <p:nvSpPr>
            <p:cNvPr id="31" name="Google Shape;1025;p30">
              <a:extLst>
                <a:ext uri="{FF2B5EF4-FFF2-40B4-BE49-F238E27FC236}">
                  <a16:creationId xmlns:a16="http://schemas.microsoft.com/office/drawing/2014/main" id="{7BD3E0A1-AA3D-4E45-9C5B-627951C5AA76}"/>
                </a:ext>
              </a:extLst>
            </p:cNvPr>
            <p:cNvSpPr/>
            <p:nvPr/>
          </p:nvSpPr>
          <p:spPr>
            <a:xfrm>
              <a:off x="5198893" y="1158263"/>
              <a:ext cx="1146163" cy="1685300"/>
            </a:xfrm>
            <a:custGeom>
              <a:avLst/>
              <a:gdLst/>
              <a:ahLst/>
              <a:cxnLst/>
              <a:rect l="l" t="t" r="r" b="b"/>
              <a:pathLst>
                <a:path w="50901" h="74844" extrusionOk="0">
                  <a:moveTo>
                    <a:pt x="25421" y="1"/>
                  </a:moveTo>
                  <a:cubicBezTo>
                    <a:pt x="25427" y="1"/>
                    <a:pt x="25433" y="1"/>
                    <a:pt x="25439" y="1"/>
                  </a:cubicBezTo>
                  <a:lnTo>
                    <a:pt x="25439" y="1"/>
                  </a:lnTo>
                  <a:cubicBezTo>
                    <a:pt x="25445" y="1"/>
                    <a:pt x="25450" y="1"/>
                    <a:pt x="25456" y="1"/>
                  </a:cubicBezTo>
                  <a:close/>
                  <a:moveTo>
                    <a:pt x="25439" y="1"/>
                  </a:moveTo>
                  <a:lnTo>
                    <a:pt x="25439" y="1"/>
                  </a:lnTo>
                  <a:cubicBezTo>
                    <a:pt x="11362" y="11"/>
                    <a:pt x="1" y="11389"/>
                    <a:pt x="1" y="25468"/>
                  </a:cubicBezTo>
                  <a:lnTo>
                    <a:pt x="1" y="53710"/>
                  </a:lnTo>
                  <a:cubicBezTo>
                    <a:pt x="1" y="55865"/>
                    <a:pt x="1692" y="57591"/>
                    <a:pt x="3847" y="57591"/>
                  </a:cubicBezTo>
                  <a:lnTo>
                    <a:pt x="21527" y="57591"/>
                  </a:lnTo>
                  <a:cubicBezTo>
                    <a:pt x="21896" y="57746"/>
                    <a:pt x="24706" y="58532"/>
                    <a:pt x="24849" y="62640"/>
                  </a:cubicBezTo>
                  <a:lnTo>
                    <a:pt x="24849" y="74331"/>
                  </a:lnTo>
                  <a:cubicBezTo>
                    <a:pt x="24849" y="74617"/>
                    <a:pt x="25087" y="74843"/>
                    <a:pt x="25373" y="74843"/>
                  </a:cubicBezTo>
                  <a:cubicBezTo>
                    <a:pt x="25647" y="74843"/>
                    <a:pt x="25897" y="74617"/>
                    <a:pt x="25897" y="74331"/>
                  </a:cubicBezTo>
                  <a:lnTo>
                    <a:pt x="25897" y="63021"/>
                  </a:lnTo>
                  <a:cubicBezTo>
                    <a:pt x="25897" y="58580"/>
                    <a:pt x="28969" y="57746"/>
                    <a:pt x="29350" y="57591"/>
                  </a:cubicBezTo>
                  <a:lnTo>
                    <a:pt x="47031" y="57591"/>
                  </a:lnTo>
                  <a:cubicBezTo>
                    <a:pt x="49186" y="57591"/>
                    <a:pt x="50900" y="55865"/>
                    <a:pt x="50900" y="53710"/>
                  </a:cubicBezTo>
                  <a:lnTo>
                    <a:pt x="50900" y="25468"/>
                  </a:lnTo>
                  <a:cubicBezTo>
                    <a:pt x="50900" y="11389"/>
                    <a:pt x="39515" y="11"/>
                    <a:pt x="25439" y="1"/>
                  </a:cubicBezTo>
                  <a:close/>
                </a:path>
              </a:pathLst>
            </a:custGeom>
            <a:solidFill>
              <a:srgbClr val="F2F2F2"/>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32" name="Google Shape;1026;p30">
              <a:extLst>
                <a:ext uri="{FF2B5EF4-FFF2-40B4-BE49-F238E27FC236}">
                  <a16:creationId xmlns:a16="http://schemas.microsoft.com/office/drawing/2014/main" id="{E3A8C447-9BE4-4CA4-9514-2ACB70485DAC}"/>
                </a:ext>
              </a:extLst>
            </p:cNvPr>
            <p:cNvSpPr/>
            <p:nvPr/>
          </p:nvSpPr>
          <p:spPr>
            <a:xfrm>
              <a:off x="5250365" y="1210275"/>
              <a:ext cx="1042943" cy="1192527"/>
            </a:xfrm>
            <a:custGeom>
              <a:avLst/>
              <a:gdLst/>
              <a:ahLst/>
              <a:cxnLst/>
              <a:rect l="l" t="t" r="r" b="b"/>
              <a:pathLst>
                <a:path w="46317" h="52960" extrusionOk="0">
                  <a:moveTo>
                    <a:pt x="23159" y="1"/>
                  </a:moveTo>
                  <a:cubicBezTo>
                    <a:pt x="10383" y="1"/>
                    <a:pt x="1" y="10383"/>
                    <a:pt x="1" y="23158"/>
                  </a:cubicBezTo>
                  <a:lnTo>
                    <a:pt x="1" y="51400"/>
                  </a:lnTo>
                  <a:cubicBezTo>
                    <a:pt x="1" y="52257"/>
                    <a:pt x="703" y="52960"/>
                    <a:pt x="1561" y="52960"/>
                  </a:cubicBezTo>
                  <a:lnTo>
                    <a:pt x="44745" y="52960"/>
                  </a:lnTo>
                  <a:cubicBezTo>
                    <a:pt x="45602" y="52960"/>
                    <a:pt x="46316" y="52257"/>
                    <a:pt x="46316" y="51400"/>
                  </a:cubicBezTo>
                  <a:lnTo>
                    <a:pt x="46316" y="23158"/>
                  </a:lnTo>
                  <a:cubicBezTo>
                    <a:pt x="46316" y="10383"/>
                    <a:pt x="35922" y="1"/>
                    <a:pt x="23159" y="1"/>
                  </a:cubicBezTo>
                  <a:close/>
                </a:path>
              </a:pathLst>
            </a:custGeom>
            <a:solidFill>
              <a:schemeClr val="accent1"/>
            </a:solidFill>
            <a:ln>
              <a:noFill/>
            </a:ln>
          </p:spPr>
          <p:txBody>
            <a:bodyPr spcFirstLastPara="1" wrap="square" lIns="121900" tIns="121900" rIns="121900" bIns="121900" anchor="b"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Tx/>
                <a:buNone/>
                <a:tabLst/>
                <a:defRPr/>
              </a:pPr>
              <a:r>
                <a:rPr kumimoji="0" lang="en" sz="2267" b="0" i="0" u="none" strike="noStrike" kern="1200" cap="none" spc="0" normalizeH="0" baseline="0" noProof="0">
                  <a:ln>
                    <a:noFill/>
                  </a:ln>
                  <a:solidFill>
                    <a:srgbClr val="FFFFFF"/>
                  </a:solidFill>
                  <a:effectLst/>
                  <a:uLnTx/>
                  <a:uFillTx/>
                  <a:latin typeface="Arial"/>
                  <a:ea typeface="+mn-ea"/>
                  <a:cs typeface="+mn-ea"/>
                  <a:sym typeface="+mn-lt"/>
                </a:rPr>
                <a:t>Saturn</a:t>
              </a:r>
              <a:endParaRPr kumimoji="0" sz="2489" b="0" i="0" u="none" strike="noStrike" kern="1200" cap="none" spc="0" normalizeH="0" baseline="0" noProof="0">
                <a:ln>
                  <a:noFill/>
                </a:ln>
                <a:solidFill>
                  <a:srgbClr val="FFFFFF"/>
                </a:solidFill>
                <a:effectLst/>
                <a:uLnTx/>
                <a:uFillTx/>
                <a:latin typeface="Arial"/>
                <a:ea typeface="+mn-ea"/>
                <a:cs typeface="+mn-ea"/>
                <a:sym typeface="+mn-lt"/>
              </a:endParaRPr>
            </a:p>
          </p:txBody>
        </p:sp>
        <p:sp>
          <p:nvSpPr>
            <p:cNvPr id="33" name="Google Shape;1027;p30">
              <a:extLst>
                <a:ext uri="{FF2B5EF4-FFF2-40B4-BE49-F238E27FC236}">
                  <a16:creationId xmlns:a16="http://schemas.microsoft.com/office/drawing/2014/main" id="{BA1A2B80-ACE0-4A0D-BD65-CB664F86E68D}"/>
                </a:ext>
              </a:extLst>
            </p:cNvPr>
            <p:cNvSpPr/>
            <p:nvPr/>
          </p:nvSpPr>
          <p:spPr>
            <a:xfrm>
              <a:off x="5567511" y="1385137"/>
              <a:ext cx="326301" cy="316844"/>
            </a:xfrm>
            <a:custGeom>
              <a:avLst/>
              <a:gdLst/>
              <a:ahLst/>
              <a:cxnLst/>
              <a:rect l="l" t="t" r="r" b="b"/>
              <a:pathLst>
                <a:path w="14491" h="14071" extrusionOk="0">
                  <a:moveTo>
                    <a:pt x="12705" y="1557"/>
                  </a:moveTo>
                  <a:lnTo>
                    <a:pt x="4966" y="9594"/>
                  </a:lnTo>
                  <a:lnTo>
                    <a:pt x="1108" y="8415"/>
                  </a:lnTo>
                  <a:lnTo>
                    <a:pt x="5576" y="5768"/>
                  </a:lnTo>
                  <a:lnTo>
                    <a:pt x="5576" y="5768"/>
                  </a:lnTo>
                  <a:cubicBezTo>
                    <a:pt x="5591" y="5763"/>
                    <a:pt x="5606" y="5756"/>
                    <a:pt x="5621" y="5748"/>
                  </a:cubicBezTo>
                  <a:lnTo>
                    <a:pt x="12705" y="1557"/>
                  </a:lnTo>
                  <a:close/>
                  <a:moveTo>
                    <a:pt x="13860" y="1450"/>
                  </a:moveTo>
                  <a:lnTo>
                    <a:pt x="13860" y="12321"/>
                  </a:lnTo>
                  <a:lnTo>
                    <a:pt x="7657" y="10416"/>
                  </a:lnTo>
                  <a:lnTo>
                    <a:pt x="13860" y="1450"/>
                  </a:lnTo>
                  <a:close/>
                  <a:moveTo>
                    <a:pt x="11574" y="3641"/>
                  </a:moveTo>
                  <a:lnTo>
                    <a:pt x="6883" y="10416"/>
                  </a:lnTo>
                  <a:cubicBezTo>
                    <a:pt x="6847" y="10463"/>
                    <a:pt x="6835" y="10523"/>
                    <a:pt x="6835" y="10594"/>
                  </a:cubicBezTo>
                  <a:lnTo>
                    <a:pt x="6835" y="12523"/>
                  </a:lnTo>
                  <a:lnTo>
                    <a:pt x="5442" y="9999"/>
                  </a:lnTo>
                  <a:lnTo>
                    <a:pt x="11574" y="3641"/>
                  </a:lnTo>
                  <a:close/>
                  <a:moveTo>
                    <a:pt x="7466" y="11023"/>
                  </a:moveTo>
                  <a:lnTo>
                    <a:pt x="9014" y="11487"/>
                  </a:lnTo>
                  <a:lnTo>
                    <a:pt x="7466" y="12999"/>
                  </a:lnTo>
                  <a:lnTo>
                    <a:pt x="7466" y="11023"/>
                  </a:lnTo>
                  <a:close/>
                  <a:moveTo>
                    <a:pt x="14175" y="1"/>
                  </a:moveTo>
                  <a:cubicBezTo>
                    <a:pt x="14119" y="1"/>
                    <a:pt x="14062" y="15"/>
                    <a:pt x="14015" y="45"/>
                  </a:cubicBezTo>
                  <a:lnTo>
                    <a:pt x="5299" y="5201"/>
                  </a:lnTo>
                  <a:cubicBezTo>
                    <a:pt x="5279" y="5211"/>
                    <a:pt x="5261" y="5224"/>
                    <a:pt x="5245" y="5238"/>
                  </a:cubicBezTo>
                  <a:lnTo>
                    <a:pt x="5245" y="5238"/>
                  </a:lnTo>
                  <a:lnTo>
                    <a:pt x="180" y="8237"/>
                  </a:lnTo>
                  <a:cubicBezTo>
                    <a:pt x="61" y="8296"/>
                    <a:pt x="1" y="8415"/>
                    <a:pt x="25" y="8546"/>
                  </a:cubicBezTo>
                  <a:cubicBezTo>
                    <a:pt x="37" y="8665"/>
                    <a:pt x="120" y="8772"/>
                    <a:pt x="239" y="8808"/>
                  </a:cubicBezTo>
                  <a:lnTo>
                    <a:pt x="4835" y="10213"/>
                  </a:lnTo>
                  <a:lnTo>
                    <a:pt x="6871" y="13904"/>
                  </a:lnTo>
                  <a:cubicBezTo>
                    <a:pt x="6871" y="13916"/>
                    <a:pt x="6871" y="13916"/>
                    <a:pt x="6871" y="13916"/>
                  </a:cubicBezTo>
                  <a:cubicBezTo>
                    <a:pt x="6907" y="13975"/>
                    <a:pt x="6954" y="14023"/>
                    <a:pt x="7026" y="14047"/>
                  </a:cubicBezTo>
                  <a:cubicBezTo>
                    <a:pt x="7061" y="14059"/>
                    <a:pt x="7109" y="14071"/>
                    <a:pt x="7145" y="14071"/>
                  </a:cubicBezTo>
                  <a:cubicBezTo>
                    <a:pt x="7228" y="14071"/>
                    <a:pt x="7311" y="14035"/>
                    <a:pt x="7371" y="13975"/>
                  </a:cubicBezTo>
                  <a:lnTo>
                    <a:pt x="9693" y="11701"/>
                  </a:lnTo>
                  <a:lnTo>
                    <a:pt x="14086" y="13047"/>
                  </a:lnTo>
                  <a:cubicBezTo>
                    <a:pt x="14122" y="13059"/>
                    <a:pt x="14146" y="13059"/>
                    <a:pt x="14181" y="13059"/>
                  </a:cubicBezTo>
                  <a:cubicBezTo>
                    <a:pt x="14241" y="13059"/>
                    <a:pt x="14312" y="13035"/>
                    <a:pt x="14372" y="12999"/>
                  </a:cubicBezTo>
                  <a:cubicBezTo>
                    <a:pt x="14443" y="12940"/>
                    <a:pt x="14491" y="12844"/>
                    <a:pt x="14491" y="12737"/>
                  </a:cubicBezTo>
                  <a:lnTo>
                    <a:pt x="14491" y="319"/>
                  </a:lnTo>
                  <a:cubicBezTo>
                    <a:pt x="14491" y="212"/>
                    <a:pt x="14431" y="105"/>
                    <a:pt x="14336" y="45"/>
                  </a:cubicBezTo>
                  <a:cubicBezTo>
                    <a:pt x="14288" y="15"/>
                    <a:pt x="14232" y="1"/>
                    <a:pt x="14175" y="1"/>
                  </a:cubicBezTo>
                  <a:close/>
                </a:path>
              </a:pathLst>
            </a:custGeom>
            <a:solidFill>
              <a:srgbClr val="FFFFFF"/>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grpSp>
      <p:grpSp>
        <p:nvGrpSpPr>
          <p:cNvPr id="34" name="Google Shape;1028;p30">
            <a:extLst>
              <a:ext uri="{FF2B5EF4-FFF2-40B4-BE49-F238E27FC236}">
                <a16:creationId xmlns:a16="http://schemas.microsoft.com/office/drawing/2014/main" id="{066D9532-10A0-4643-9106-B19DF4449A6F}"/>
              </a:ext>
            </a:extLst>
          </p:cNvPr>
          <p:cNvGrpSpPr/>
          <p:nvPr/>
        </p:nvGrpSpPr>
        <p:grpSpPr>
          <a:xfrm>
            <a:off x="6680846" y="3276437"/>
            <a:ext cx="1528217" cy="2243133"/>
            <a:chOff x="5198893" y="2820398"/>
            <a:chExt cx="1146163" cy="1682350"/>
          </a:xfrm>
        </p:grpSpPr>
        <p:sp>
          <p:nvSpPr>
            <p:cNvPr id="35" name="Google Shape;1029;p30">
              <a:extLst>
                <a:ext uri="{FF2B5EF4-FFF2-40B4-BE49-F238E27FC236}">
                  <a16:creationId xmlns:a16="http://schemas.microsoft.com/office/drawing/2014/main" id="{6F3BFC36-AA33-4A2A-9A80-D85A56BE8D48}"/>
                </a:ext>
              </a:extLst>
            </p:cNvPr>
            <p:cNvSpPr/>
            <p:nvPr/>
          </p:nvSpPr>
          <p:spPr>
            <a:xfrm>
              <a:off x="5682795" y="3085528"/>
              <a:ext cx="83945" cy="144270"/>
            </a:xfrm>
            <a:custGeom>
              <a:avLst/>
              <a:gdLst/>
              <a:ahLst/>
              <a:cxnLst/>
              <a:rect l="l" t="t" r="r" b="b"/>
              <a:pathLst>
                <a:path w="3728" h="6407" extrusionOk="0">
                  <a:moveTo>
                    <a:pt x="3418" y="1"/>
                  </a:moveTo>
                  <a:cubicBezTo>
                    <a:pt x="3418" y="4751"/>
                    <a:pt x="1" y="5359"/>
                    <a:pt x="1" y="5359"/>
                  </a:cubicBezTo>
                  <a:lnTo>
                    <a:pt x="3727" y="6406"/>
                  </a:lnTo>
                  <a:lnTo>
                    <a:pt x="3727" y="1"/>
                  </a:lnTo>
                  <a:close/>
                </a:path>
              </a:pathLst>
            </a:custGeom>
            <a:solidFill>
              <a:srgbClr val="FFFFFF"/>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36" name="Google Shape;1030;p30">
              <a:extLst>
                <a:ext uri="{FF2B5EF4-FFF2-40B4-BE49-F238E27FC236}">
                  <a16:creationId xmlns:a16="http://schemas.microsoft.com/office/drawing/2014/main" id="{6CBDC12E-4633-4C39-9A09-A1F2F2506B18}"/>
                </a:ext>
              </a:extLst>
            </p:cNvPr>
            <p:cNvSpPr/>
            <p:nvPr/>
          </p:nvSpPr>
          <p:spPr>
            <a:xfrm>
              <a:off x="5775833" y="3085528"/>
              <a:ext cx="84733" cy="144270"/>
            </a:xfrm>
            <a:custGeom>
              <a:avLst/>
              <a:gdLst/>
              <a:ahLst/>
              <a:cxnLst/>
              <a:rect l="l" t="t" r="r" b="b"/>
              <a:pathLst>
                <a:path w="3763" h="6407" extrusionOk="0">
                  <a:moveTo>
                    <a:pt x="0" y="1"/>
                  </a:moveTo>
                  <a:lnTo>
                    <a:pt x="0" y="6406"/>
                  </a:lnTo>
                  <a:lnTo>
                    <a:pt x="3763" y="5430"/>
                  </a:lnTo>
                  <a:cubicBezTo>
                    <a:pt x="3763" y="5430"/>
                    <a:pt x="298" y="4751"/>
                    <a:pt x="298" y="1"/>
                  </a:cubicBezTo>
                  <a:close/>
                </a:path>
              </a:pathLst>
            </a:custGeom>
            <a:solidFill>
              <a:srgbClr val="FFFFFF"/>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37" name="Google Shape;1031;p30">
              <a:extLst>
                <a:ext uri="{FF2B5EF4-FFF2-40B4-BE49-F238E27FC236}">
                  <a16:creationId xmlns:a16="http://schemas.microsoft.com/office/drawing/2014/main" id="{5A83AF74-6D35-4C42-B7A7-77E43F28BA1C}"/>
                </a:ext>
              </a:extLst>
            </p:cNvPr>
            <p:cNvSpPr/>
            <p:nvPr/>
          </p:nvSpPr>
          <p:spPr>
            <a:xfrm>
              <a:off x="5682795" y="3085528"/>
              <a:ext cx="83945" cy="144270"/>
            </a:xfrm>
            <a:custGeom>
              <a:avLst/>
              <a:gdLst/>
              <a:ahLst/>
              <a:cxnLst/>
              <a:rect l="l" t="t" r="r" b="b"/>
              <a:pathLst>
                <a:path w="3728" h="6407" extrusionOk="0">
                  <a:moveTo>
                    <a:pt x="3418" y="1"/>
                  </a:moveTo>
                  <a:cubicBezTo>
                    <a:pt x="3418" y="4751"/>
                    <a:pt x="1" y="5359"/>
                    <a:pt x="1" y="5359"/>
                  </a:cubicBezTo>
                  <a:lnTo>
                    <a:pt x="3727" y="6406"/>
                  </a:lnTo>
                  <a:lnTo>
                    <a:pt x="3727" y="1"/>
                  </a:lnTo>
                  <a:close/>
                </a:path>
              </a:pathLst>
            </a:custGeom>
            <a:solidFill>
              <a:srgbClr val="FFFFFF"/>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38" name="Google Shape;1032;p30">
              <a:extLst>
                <a:ext uri="{FF2B5EF4-FFF2-40B4-BE49-F238E27FC236}">
                  <a16:creationId xmlns:a16="http://schemas.microsoft.com/office/drawing/2014/main" id="{A18F7322-2064-4538-B53F-1B898EF1490A}"/>
                </a:ext>
              </a:extLst>
            </p:cNvPr>
            <p:cNvSpPr/>
            <p:nvPr/>
          </p:nvSpPr>
          <p:spPr>
            <a:xfrm>
              <a:off x="5775833" y="3085528"/>
              <a:ext cx="84733" cy="144270"/>
            </a:xfrm>
            <a:custGeom>
              <a:avLst/>
              <a:gdLst/>
              <a:ahLst/>
              <a:cxnLst/>
              <a:rect l="l" t="t" r="r" b="b"/>
              <a:pathLst>
                <a:path w="3763" h="6407" extrusionOk="0">
                  <a:moveTo>
                    <a:pt x="0" y="1"/>
                  </a:moveTo>
                  <a:lnTo>
                    <a:pt x="0" y="6406"/>
                  </a:lnTo>
                  <a:lnTo>
                    <a:pt x="3763" y="5430"/>
                  </a:lnTo>
                  <a:cubicBezTo>
                    <a:pt x="3763" y="5430"/>
                    <a:pt x="298" y="4751"/>
                    <a:pt x="298" y="1"/>
                  </a:cubicBezTo>
                  <a:close/>
                </a:path>
              </a:pathLst>
            </a:custGeom>
            <a:solidFill>
              <a:srgbClr val="FFFFFF"/>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39" name="Google Shape;1033;p30">
              <a:extLst>
                <a:ext uri="{FF2B5EF4-FFF2-40B4-BE49-F238E27FC236}">
                  <a16:creationId xmlns:a16="http://schemas.microsoft.com/office/drawing/2014/main" id="{F6D805C5-A8D0-42F9-B911-500F8C4A78AE}"/>
                </a:ext>
              </a:extLst>
            </p:cNvPr>
            <p:cNvSpPr/>
            <p:nvPr/>
          </p:nvSpPr>
          <p:spPr>
            <a:xfrm>
              <a:off x="5198893" y="2820398"/>
              <a:ext cx="1146163" cy="1682350"/>
            </a:xfrm>
            <a:custGeom>
              <a:avLst/>
              <a:gdLst/>
              <a:ahLst/>
              <a:cxnLst/>
              <a:rect l="l" t="t" r="r" b="b"/>
              <a:pathLst>
                <a:path w="50901" h="74713" extrusionOk="0">
                  <a:moveTo>
                    <a:pt x="25373" y="0"/>
                  </a:moveTo>
                  <a:cubicBezTo>
                    <a:pt x="25087" y="0"/>
                    <a:pt x="24849" y="239"/>
                    <a:pt x="24849" y="512"/>
                  </a:cubicBezTo>
                  <a:lnTo>
                    <a:pt x="24849" y="12169"/>
                  </a:lnTo>
                  <a:cubicBezTo>
                    <a:pt x="24706" y="15621"/>
                    <a:pt x="22754" y="16812"/>
                    <a:pt x="21885" y="17110"/>
                  </a:cubicBezTo>
                  <a:lnTo>
                    <a:pt x="3847" y="17110"/>
                  </a:lnTo>
                  <a:cubicBezTo>
                    <a:pt x="1692" y="17110"/>
                    <a:pt x="1" y="18836"/>
                    <a:pt x="1" y="20991"/>
                  </a:cubicBezTo>
                  <a:lnTo>
                    <a:pt x="1" y="49233"/>
                  </a:lnTo>
                  <a:cubicBezTo>
                    <a:pt x="1" y="63312"/>
                    <a:pt x="11374" y="74702"/>
                    <a:pt x="25450" y="74712"/>
                  </a:cubicBezTo>
                  <a:lnTo>
                    <a:pt x="25450" y="74712"/>
                  </a:lnTo>
                  <a:cubicBezTo>
                    <a:pt x="39527" y="74702"/>
                    <a:pt x="50900" y="63312"/>
                    <a:pt x="50900" y="49233"/>
                  </a:cubicBezTo>
                  <a:lnTo>
                    <a:pt x="50900" y="20991"/>
                  </a:lnTo>
                  <a:cubicBezTo>
                    <a:pt x="50900" y="18836"/>
                    <a:pt x="49186" y="17110"/>
                    <a:pt x="47031" y="17110"/>
                  </a:cubicBezTo>
                  <a:lnTo>
                    <a:pt x="28993" y="17110"/>
                  </a:lnTo>
                  <a:cubicBezTo>
                    <a:pt x="28088" y="16812"/>
                    <a:pt x="25897" y="15538"/>
                    <a:pt x="25897" y="11788"/>
                  </a:cubicBezTo>
                  <a:lnTo>
                    <a:pt x="25897" y="512"/>
                  </a:lnTo>
                  <a:cubicBezTo>
                    <a:pt x="25897" y="239"/>
                    <a:pt x="25647" y="0"/>
                    <a:pt x="25373" y="0"/>
                  </a:cubicBezTo>
                  <a:close/>
                  <a:moveTo>
                    <a:pt x="25450" y="74712"/>
                  </a:moveTo>
                  <a:lnTo>
                    <a:pt x="25450" y="74712"/>
                  </a:lnTo>
                  <a:cubicBezTo>
                    <a:pt x="25445" y="74712"/>
                    <a:pt x="25439" y="74712"/>
                    <a:pt x="25433" y="74712"/>
                  </a:cubicBezTo>
                  <a:lnTo>
                    <a:pt x="25468" y="74712"/>
                  </a:lnTo>
                  <a:cubicBezTo>
                    <a:pt x="25462" y="74712"/>
                    <a:pt x="25456" y="74712"/>
                    <a:pt x="25450" y="74712"/>
                  </a:cubicBezTo>
                  <a:close/>
                </a:path>
              </a:pathLst>
            </a:custGeom>
            <a:solidFill>
              <a:srgbClr val="F2F2F2"/>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40" name="Google Shape;1034;p30">
              <a:extLst>
                <a:ext uri="{FF2B5EF4-FFF2-40B4-BE49-F238E27FC236}">
                  <a16:creationId xmlns:a16="http://schemas.microsoft.com/office/drawing/2014/main" id="{B62F5D07-3D56-4AD4-BCA4-FBB17E7AFD8E}"/>
                </a:ext>
              </a:extLst>
            </p:cNvPr>
            <p:cNvSpPr/>
            <p:nvPr/>
          </p:nvSpPr>
          <p:spPr>
            <a:xfrm>
              <a:off x="5245817" y="3253365"/>
              <a:ext cx="1051770" cy="1201624"/>
            </a:xfrm>
            <a:custGeom>
              <a:avLst/>
              <a:gdLst/>
              <a:ahLst/>
              <a:cxnLst/>
              <a:rect l="l" t="t" r="r" b="b"/>
              <a:pathLst>
                <a:path w="46709" h="53364" extrusionOk="0">
                  <a:moveTo>
                    <a:pt x="44947" y="393"/>
                  </a:moveTo>
                  <a:cubicBezTo>
                    <a:pt x="45697" y="393"/>
                    <a:pt x="46316" y="1012"/>
                    <a:pt x="46316" y="1762"/>
                  </a:cubicBezTo>
                  <a:lnTo>
                    <a:pt x="46316" y="30004"/>
                  </a:lnTo>
                  <a:cubicBezTo>
                    <a:pt x="46316" y="42672"/>
                    <a:pt x="36017" y="52971"/>
                    <a:pt x="23361" y="52971"/>
                  </a:cubicBezTo>
                  <a:cubicBezTo>
                    <a:pt x="10692" y="52971"/>
                    <a:pt x="393" y="42672"/>
                    <a:pt x="393" y="30004"/>
                  </a:cubicBezTo>
                  <a:lnTo>
                    <a:pt x="393" y="1762"/>
                  </a:lnTo>
                  <a:cubicBezTo>
                    <a:pt x="393" y="1012"/>
                    <a:pt x="1013" y="393"/>
                    <a:pt x="1763" y="393"/>
                  </a:cubicBezTo>
                  <a:close/>
                  <a:moveTo>
                    <a:pt x="1763" y="0"/>
                  </a:moveTo>
                  <a:cubicBezTo>
                    <a:pt x="798" y="0"/>
                    <a:pt x="0" y="798"/>
                    <a:pt x="0" y="1762"/>
                  </a:cubicBezTo>
                  <a:lnTo>
                    <a:pt x="0" y="30004"/>
                  </a:lnTo>
                  <a:cubicBezTo>
                    <a:pt x="0" y="42886"/>
                    <a:pt x="10478" y="53364"/>
                    <a:pt x="23361" y="53364"/>
                  </a:cubicBezTo>
                  <a:cubicBezTo>
                    <a:pt x="36231" y="53364"/>
                    <a:pt x="46709" y="42886"/>
                    <a:pt x="46709" y="30004"/>
                  </a:cubicBezTo>
                  <a:lnTo>
                    <a:pt x="46709" y="1762"/>
                  </a:lnTo>
                  <a:cubicBezTo>
                    <a:pt x="46709" y="798"/>
                    <a:pt x="45923" y="0"/>
                    <a:pt x="44947" y="0"/>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41" name="Google Shape;1035;p30">
              <a:extLst>
                <a:ext uri="{FF2B5EF4-FFF2-40B4-BE49-F238E27FC236}">
                  <a16:creationId xmlns:a16="http://schemas.microsoft.com/office/drawing/2014/main" id="{9B5769AA-096B-4203-B2A5-D221CD557EF3}"/>
                </a:ext>
              </a:extLst>
            </p:cNvPr>
            <p:cNvSpPr txBox="1"/>
            <p:nvPr/>
          </p:nvSpPr>
          <p:spPr>
            <a:xfrm>
              <a:off x="5246900" y="3443927"/>
              <a:ext cx="1051500" cy="820500"/>
            </a:xfrm>
            <a:prstGeom prst="rect">
              <a:avLst/>
            </a:prstGeom>
            <a:noFill/>
            <a:ln>
              <a:noFill/>
            </a:ln>
          </p:spPr>
          <p:txBody>
            <a:bodyPr spcFirstLastPara="1" wrap="square" lIns="121900" tIns="121900" rIns="121900" bIns="1219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1600" b="0" i="0" u="none" strike="noStrike" kern="1200" cap="none" spc="0" normalizeH="0" baseline="0" noProof="0">
                  <a:ln>
                    <a:noFill/>
                  </a:ln>
                  <a:solidFill>
                    <a:srgbClr val="434343"/>
                  </a:solidFill>
                  <a:effectLst/>
                  <a:uLnTx/>
                  <a:uFillTx/>
                  <a:latin typeface="Arial"/>
                  <a:ea typeface="+mn-ea"/>
                  <a:cs typeface="+mn-ea"/>
                  <a:sym typeface="+mn-lt"/>
                </a:rPr>
                <a:t>Saturn has several rings</a:t>
              </a:r>
              <a:endParaRPr kumimoji="0" sz="1600" b="0" i="0" u="none" strike="noStrike" kern="1200" cap="none" spc="0" normalizeH="0" baseline="0" noProof="0">
                <a:ln>
                  <a:noFill/>
                </a:ln>
                <a:solidFill>
                  <a:srgbClr val="434343"/>
                </a:solidFill>
                <a:effectLst/>
                <a:uLnTx/>
                <a:uFillTx/>
                <a:latin typeface="Arial"/>
                <a:ea typeface="+mn-ea"/>
                <a:cs typeface="+mn-ea"/>
                <a:sym typeface="+mn-lt"/>
              </a:endParaRPr>
            </a:p>
          </p:txBody>
        </p:sp>
      </p:grpSp>
      <p:grpSp>
        <p:nvGrpSpPr>
          <p:cNvPr id="42" name="Google Shape;1036;p30">
            <a:extLst>
              <a:ext uri="{FF2B5EF4-FFF2-40B4-BE49-F238E27FC236}">
                <a16:creationId xmlns:a16="http://schemas.microsoft.com/office/drawing/2014/main" id="{5F69A741-E077-4DD7-BEBC-18AC95277226}"/>
              </a:ext>
            </a:extLst>
          </p:cNvPr>
          <p:cNvGrpSpPr/>
          <p:nvPr/>
        </p:nvGrpSpPr>
        <p:grpSpPr>
          <a:xfrm>
            <a:off x="4880034" y="3267491"/>
            <a:ext cx="1532841" cy="2086561"/>
            <a:chOff x="3848284" y="2813688"/>
            <a:chExt cx="1149631" cy="1564921"/>
          </a:xfrm>
        </p:grpSpPr>
        <p:sp>
          <p:nvSpPr>
            <p:cNvPr id="43" name="Google Shape;1037;p30">
              <a:extLst>
                <a:ext uri="{FF2B5EF4-FFF2-40B4-BE49-F238E27FC236}">
                  <a16:creationId xmlns:a16="http://schemas.microsoft.com/office/drawing/2014/main" id="{195BB74F-FA93-4021-B448-2FA25A2E749C}"/>
                </a:ext>
              </a:extLst>
            </p:cNvPr>
            <p:cNvSpPr/>
            <p:nvPr/>
          </p:nvSpPr>
          <p:spPr>
            <a:xfrm>
              <a:off x="4333785" y="3085528"/>
              <a:ext cx="83945" cy="144270"/>
            </a:xfrm>
            <a:custGeom>
              <a:avLst/>
              <a:gdLst/>
              <a:ahLst/>
              <a:cxnLst/>
              <a:rect l="l" t="t" r="r" b="b"/>
              <a:pathLst>
                <a:path w="3728" h="6407" extrusionOk="0">
                  <a:moveTo>
                    <a:pt x="3418" y="1"/>
                  </a:moveTo>
                  <a:cubicBezTo>
                    <a:pt x="3418" y="4751"/>
                    <a:pt x="0" y="5359"/>
                    <a:pt x="0" y="5359"/>
                  </a:cubicBezTo>
                  <a:lnTo>
                    <a:pt x="3727" y="6406"/>
                  </a:lnTo>
                  <a:lnTo>
                    <a:pt x="3727" y="1"/>
                  </a:lnTo>
                  <a:close/>
                </a:path>
              </a:pathLst>
            </a:custGeom>
            <a:solidFill>
              <a:srgbClr val="FFFFFF"/>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44" name="Google Shape;1038;p30">
              <a:extLst>
                <a:ext uri="{FF2B5EF4-FFF2-40B4-BE49-F238E27FC236}">
                  <a16:creationId xmlns:a16="http://schemas.microsoft.com/office/drawing/2014/main" id="{84720427-82D7-47FD-873F-D2C2B4CF7576}"/>
                </a:ext>
              </a:extLst>
            </p:cNvPr>
            <p:cNvSpPr/>
            <p:nvPr/>
          </p:nvSpPr>
          <p:spPr>
            <a:xfrm>
              <a:off x="4426531" y="3085528"/>
              <a:ext cx="85026" cy="144270"/>
            </a:xfrm>
            <a:custGeom>
              <a:avLst/>
              <a:gdLst/>
              <a:ahLst/>
              <a:cxnLst/>
              <a:rect l="l" t="t" r="r" b="b"/>
              <a:pathLst>
                <a:path w="3776" h="6407" extrusionOk="0">
                  <a:moveTo>
                    <a:pt x="1" y="1"/>
                  </a:moveTo>
                  <a:lnTo>
                    <a:pt x="1" y="6406"/>
                  </a:lnTo>
                  <a:lnTo>
                    <a:pt x="3775" y="5430"/>
                  </a:lnTo>
                  <a:cubicBezTo>
                    <a:pt x="3775" y="5430"/>
                    <a:pt x="311" y="4751"/>
                    <a:pt x="311" y="1"/>
                  </a:cubicBezTo>
                  <a:close/>
                </a:path>
              </a:pathLst>
            </a:custGeom>
            <a:solidFill>
              <a:srgbClr val="FFFFFF"/>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45" name="Google Shape;1039;p30">
              <a:extLst>
                <a:ext uri="{FF2B5EF4-FFF2-40B4-BE49-F238E27FC236}">
                  <a16:creationId xmlns:a16="http://schemas.microsoft.com/office/drawing/2014/main" id="{C1FDAA36-6A4F-42C4-883B-AD45A634E157}"/>
                </a:ext>
              </a:extLst>
            </p:cNvPr>
            <p:cNvSpPr/>
            <p:nvPr/>
          </p:nvSpPr>
          <p:spPr>
            <a:xfrm>
              <a:off x="4333785" y="3085528"/>
              <a:ext cx="83945" cy="144270"/>
            </a:xfrm>
            <a:custGeom>
              <a:avLst/>
              <a:gdLst/>
              <a:ahLst/>
              <a:cxnLst/>
              <a:rect l="l" t="t" r="r" b="b"/>
              <a:pathLst>
                <a:path w="3728" h="6407" extrusionOk="0">
                  <a:moveTo>
                    <a:pt x="3418" y="1"/>
                  </a:moveTo>
                  <a:cubicBezTo>
                    <a:pt x="3418" y="4751"/>
                    <a:pt x="0" y="5359"/>
                    <a:pt x="0" y="5359"/>
                  </a:cubicBezTo>
                  <a:lnTo>
                    <a:pt x="3727" y="6406"/>
                  </a:lnTo>
                  <a:lnTo>
                    <a:pt x="3727" y="1"/>
                  </a:lnTo>
                  <a:close/>
                </a:path>
              </a:pathLst>
            </a:custGeom>
            <a:solidFill>
              <a:srgbClr val="FFFFFF"/>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46" name="Google Shape;1040;p30">
              <a:extLst>
                <a:ext uri="{FF2B5EF4-FFF2-40B4-BE49-F238E27FC236}">
                  <a16:creationId xmlns:a16="http://schemas.microsoft.com/office/drawing/2014/main" id="{33CA85B5-8FCD-4A34-BE07-BDC0AA41176B}"/>
                </a:ext>
              </a:extLst>
            </p:cNvPr>
            <p:cNvSpPr/>
            <p:nvPr/>
          </p:nvSpPr>
          <p:spPr>
            <a:xfrm>
              <a:off x="4426531" y="3085528"/>
              <a:ext cx="85026" cy="144270"/>
            </a:xfrm>
            <a:custGeom>
              <a:avLst/>
              <a:gdLst/>
              <a:ahLst/>
              <a:cxnLst/>
              <a:rect l="l" t="t" r="r" b="b"/>
              <a:pathLst>
                <a:path w="3776" h="6407" extrusionOk="0">
                  <a:moveTo>
                    <a:pt x="1" y="1"/>
                  </a:moveTo>
                  <a:lnTo>
                    <a:pt x="1" y="6406"/>
                  </a:lnTo>
                  <a:lnTo>
                    <a:pt x="3775" y="5430"/>
                  </a:lnTo>
                  <a:cubicBezTo>
                    <a:pt x="3775" y="5430"/>
                    <a:pt x="311" y="4751"/>
                    <a:pt x="311" y="1"/>
                  </a:cubicBezTo>
                  <a:close/>
                </a:path>
              </a:pathLst>
            </a:custGeom>
            <a:solidFill>
              <a:srgbClr val="FFFFFF"/>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47" name="Google Shape;1041;p30">
              <a:extLst>
                <a:ext uri="{FF2B5EF4-FFF2-40B4-BE49-F238E27FC236}">
                  <a16:creationId xmlns:a16="http://schemas.microsoft.com/office/drawing/2014/main" id="{F1392AE6-4F2E-49D5-873E-C910B1A4F893}"/>
                </a:ext>
              </a:extLst>
            </p:cNvPr>
            <p:cNvSpPr/>
            <p:nvPr/>
          </p:nvSpPr>
          <p:spPr>
            <a:xfrm>
              <a:off x="3848284" y="2813688"/>
              <a:ext cx="1149631" cy="1564921"/>
            </a:xfrm>
            <a:custGeom>
              <a:avLst/>
              <a:gdLst/>
              <a:ahLst/>
              <a:cxnLst/>
              <a:rect l="l" t="t" r="r" b="b"/>
              <a:pathLst>
                <a:path w="51055" h="69498" extrusionOk="0">
                  <a:moveTo>
                    <a:pt x="25527" y="1"/>
                  </a:moveTo>
                  <a:cubicBezTo>
                    <a:pt x="25241" y="1"/>
                    <a:pt x="25003" y="239"/>
                    <a:pt x="25003" y="513"/>
                  </a:cubicBezTo>
                  <a:lnTo>
                    <a:pt x="25003" y="12467"/>
                  </a:lnTo>
                  <a:cubicBezTo>
                    <a:pt x="24860" y="15919"/>
                    <a:pt x="22813" y="17110"/>
                    <a:pt x="21955" y="17408"/>
                  </a:cubicBezTo>
                  <a:lnTo>
                    <a:pt x="3917" y="17408"/>
                  </a:lnTo>
                  <a:cubicBezTo>
                    <a:pt x="1762" y="17408"/>
                    <a:pt x="0" y="19134"/>
                    <a:pt x="0" y="21289"/>
                  </a:cubicBezTo>
                  <a:lnTo>
                    <a:pt x="0" y="43959"/>
                  </a:lnTo>
                  <a:cubicBezTo>
                    <a:pt x="0" y="58044"/>
                    <a:pt x="11418" y="69497"/>
                    <a:pt x="25503" y="69497"/>
                  </a:cubicBezTo>
                  <a:lnTo>
                    <a:pt x="25527" y="69497"/>
                  </a:lnTo>
                  <a:cubicBezTo>
                    <a:pt x="39612" y="69497"/>
                    <a:pt x="51054" y="58044"/>
                    <a:pt x="51054" y="43959"/>
                  </a:cubicBezTo>
                  <a:lnTo>
                    <a:pt x="51054" y="21289"/>
                  </a:lnTo>
                  <a:cubicBezTo>
                    <a:pt x="51054" y="19134"/>
                    <a:pt x="49256" y="17408"/>
                    <a:pt x="47101" y="17408"/>
                  </a:cubicBezTo>
                  <a:lnTo>
                    <a:pt x="29063" y="17408"/>
                  </a:lnTo>
                  <a:cubicBezTo>
                    <a:pt x="28147" y="17110"/>
                    <a:pt x="26051" y="15836"/>
                    <a:pt x="26051" y="12086"/>
                  </a:cubicBezTo>
                  <a:lnTo>
                    <a:pt x="26051" y="513"/>
                  </a:lnTo>
                  <a:cubicBezTo>
                    <a:pt x="26051" y="239"/>
                    <a:pt x="25801" y="1"/>
                    <a:pt x="25527" y="1"/>
                  </a:cubicBezTo>
                  <a:close/>
                </a:path>
              </a:pathLst>
            </a:custGeom>
            <a:solidFill>
              <a:srgbClr val="F2F2F2"/>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48" name="Google Shape;1042;p30">
              <a:extLst>
                <a:ext uri="{FF2B5EF4-FFF2-40B4-BE49-F238E27FC236}">
                  <a16:creationId xmlns:a16="http://schemas.microsoft.com/office/drawing/2014/main" id="{BF3B671A-A7FD-43CA-BDD9-0D31C43596CE}"/>
                </a:ext>
              </a:extLst>
            </p:cNvPr>
            <p:cNvSpPr/>
            <p:nvPr/>
          </p:nvSpPr>
          <p:spPr>
            <a:xfrm>
              <a:off x="3896807" y="3253365"/>
              <a:ext cx="1051770" cy="1076156"/>
            </a:xfrm>
            <a:custGeom>
              <a:avLst/>
              <a:gdLst/>
              <a:ahLst/>
              <a:cxnLst/>
              <a:rect l="l" t="t" r="r" b="b"/>
              <a:pathLst>
                <a:path w="46709" h="47792" extrusionOk="0">
                  <a:moveTo>
                    <a:pt x="44946" y="393"/>
                  </a:moveTo>
                  <a:cubicBezTo>
                    <a:pt x="45696" y="393"/>
                    <a:pt x="46316" y="1012"/>
                    <a:pt x="46316" y="1762"/>
                  </a:cubicBezTo>
                  <a:lnTo>
                    <a:pt x="46316" y="24432"/>
                  </a:lnTo>
                  <a:cubicBezTo>
                    <a:pt x="46316" y="37100"/>
                    <a:pt x="36017" y="47399"/>
                    <a:pt x="23348" y="47399"/>
                  </a:cubicBezTo>
                  <a:cubicBezTo>
                    <a:pt x="10692" y="47399"/>
                    <a:pt x="393" y="37100"/>
                    <a:pt x="393" y="24432"/>
                  </a:cubicBezTo>
                  <a:lnTo>
                    <a:pt x="393" y="1762"/>
                  </a:lnTo>
                  <a:cubicBezTo>
                    <a:pt x="393" y="1012"/>
                    <a:pt x="1012" y="393"/>
                    <a:pt x="1762" y="393"/>
                  </a:cubicBezTo>
                  <a:close/>
                  <a:moveTo>
                    <a:pt x="1762" y="0"/>
                  </a:moveTo>
                  <a:cubicBezTo>
                    <a:pt x="786" y="0"/>
                    <a:pt x="0" y="798"/>
                    <a:pt x="0" y="1762"/>
                  </a:cubicBezTo>
                  <a:lnTo>
                    <a:pt x="0" y="24432"/>
                  </a:lnTo>
                  <a:cubicBezTo>
                    <a:pt x="0" y="37314"/>
                    <a:pt x="10478" y="47792"/>
                    <a:pt x="23348" y="47792"/>
                  </a:cubicBezTo>
                  <a:cubicBezTo>
                    <a:pt x="36231" y="47792"/>
                    <a:pt x="46708" y="37314"/>
                    <a:pt x="46708" y="24432"/>
                  </a:cubicBezTo>
                  <a:lnTo>
                    <a:pt x="46708" y="1762"/>
                  </a:lnTo>
                  <a:cubicBezTo>
                    <a:pt x="46708" y="798"/>
                    <a:pt x="45911" y="0"/>
                    <a:pt x="44946" y="0"/>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49" name="Google Shape;1043;p30">
              <a:extLst>
                <a:ext uri="{FF2B5EF4-FFF2-40B4-BE49-F238E27FC236}">
                  <a16:creationId xmlns:a16="http://schemas.microsoft.com/office/drawing/2014/main" id="{4FDC7C1B-54B2-4B87-B61E-14EDC409E5CC}"/>
                </a:ext>
              </a:extLst>
            </p:cNvPr>
            <p:cNvSpPr txBox="1"/>
            <p:nvPr/>
          </p:nvSpPr>
          <p:spPr>
            <a:xfrm>
              <a:off x="3897338" y="3381193"/>
              <a:ext cx="1051500" cy="820500"/>
            </a:xfrm>
            <a:prstGeom prst="rect">
              <a:avLst/>
            </a:prstGeom>
            <a:noFill/>
            <a:ln>
              <a:noFill/>
            </a:ln>
          </p:spPr>
          <p:txBody>
            <a:bodyPr spcFirstLastPara="1" wrap="square" lIns="121900" tIns="121900" rIns="121900" bIns="1219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1600" b="0" i="0" u="none" strike="noStrike" kern="1200" cap="none" spc="0" normalizeH="0" baseline="0" noProof="0">
                  <a:ln>
                    <a:noFill/>
                  </a:ln>
                  <a:solidFill>
                    <a:srgbClr val="434343"/>
                  </a:solidFill>
                  <a:effectLst/>
                  <a:uLnTx/>
                  <a:uFillTx/>
                  <a:latin typeface="Arial"/>
                  <a:ea typeface="+mn-ea"/>
                  <a:cs typeface="+mn-ea"/>
                  <a:sym typeface="+mn-lt"/>
                </a:rPr>
                <a:t>Jupiter is a gas giant</a:t>
              </a:r>
              <a:endParaRPr kumimoji="0" sz="1600" b="0" i="0" u="none" strike="noStrike" kern="1200" cap="none" spc="0" normalizeH="0" baseline="0" noProof="0">
                <a:ln>
                  <a:noFill/>
                </a:ln>
                <a:solidFill>
                  <a:srgbClr val="434343"/>
                </a:solidFill>
                <a:effectLst/>
                <a:uLnTx/>
                <a:uFillTx/>
                <a:latin typeface="Arial"/>
                <a:ea typeface="+mn-ea"/>
                <a:cs typeface="+mn-ea"/>
                <a:sym typeface="+mn-lt"/>
              </a:endParaRPr>
            </a:p>
          </p:txBody>
        </p:sp>
      </p:grpSp>
      <p:grpSp>
        <p:nvGrpSpPr>
          <p:cNvPr id="50" name="Google Shape;1044;p30">
            <a:extLst>
              <a:ext uri="{FF2B5EF4-FFF2-40B4-BE49-F238E27FC236}">
                <a16:creationId xmlns:a16="http://schemas.microsoft.com/office/drawing/2014/main" id="{AB6357B8-75BD-4991-BF7C-6F1F52CCA772}"/>
              </a:ext>
            </a:extLst>
          </p:cNvPr>
          <p:cNvGrpSpPr/>
          <p:nvPr/>
        </p:nvGrpSpPr>
        <p:grpSpPr>
          <a:xfrm>
            <a:off x="3079553" y="3265359"/>
            <a:ext cx="1532481" cy="1744807"/>
            <a:chOff x="2497923" y="2812089"/>
            <a:chExt cx="1149361" cy="1308605"/>
          </a:xfrm>
        </p:grpSpPr>
        <p:sp>
          <p:nvSpPr>
            <p:cNvPr id="51" name="Google Shape;1045;p30">
              <a:extLst>
                <a:ext uri="{FF2B5EF4-FFF2-40B4-BE49-F238E27FC236}">
                  <a16:creationId xmlns:a16="http://schemas.microsoft.com/office/drawing/2014/main" id="{5D1241D6-3D17-4E77-9602-66C39C6EBE66}"/>
                </a:ext>
              </a:extLst>
            </p:cNvPr>
            <p:cNvSpPr/>
            <p:nvPr/>
          </p:nvSpPr>
          <p:spPr>
            <a:xfrm>
              <a:off x="2984775" y="3085528"/>
              <a:ext cx="83653" cy="144270"/>
            </a:xfrm>
            <a:custGeom>
              <a:avLst/>
              <a:gdLst/>
              <a:ahLst/>
              <a:cxnLst/>
              <a:rect l="l" t="t" r="r" b="b"/>
              <a:pathLst>
                <a:path w="3715" h="6407" extrusionOk="0">
                  <a:moveTo>
                    <a:pt x="3417" y="1"/>
                  </a:moveTo>
                  <a:cubicBezTo>
                    <a:pt x="3417" y="4751"/>
                    <a:pt x="0" y="5359"/>
                    <a:pt x="0" y="5359"/>
                  </a:cubicBezTo>
                  <a:lnTo>
                    <a:pt x="3715" y="6406"/>
                  </a:lnTo>
                  <a:lnTo>
                    <a:pt x="3715" y="1"/>
                  </a:lnTo>
                  <a:close/>
                </a:path>
              </a:pathLst>
            </a:custGeom>
            <a:solidFill>
              <a:srgbClr val="FFFFFF"/>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52" name="Google Shape;1046;p30">
              <a:extLst>
                <a:ext uri="{FF2B5EF4-FFF2-40B4-BE49-F238E27FC236}">
                  <a16:creationId xmlns:a16="http://schemas.microsoft.com/office/drawing/2014/main" id="{FDA118F8-B48B-4086-8919-B1AF15C85750}"/>
                </a:ext>
              </a:extLst>
            </p:cNvPr>
            <p:cNvSpPr/>
            <p:nvPr/>
          </p:nvSpPr>
          <p:spPr>
            <a:xfrm>
              <a:off x="3077521" y="3085528"/>
              <a:ext cx="85004" cy="144270"/>
            </a:xfrm>
            <a:custGeom>
              <a:avLst/>
              <a:gdLst/>
              <a:ahLst/>
              <a:cxnLst/>
              <a:rect l="l" t="t" r="r" b="b"/>
              <a:pathLst>
                <a:path w="3775" h="6407" extrusionOk="0">
                  <a:moveTo>
                    <a:pt x="1" y="1"/>
                  </a:moveTo>
                  <a:lnTo>
                    <a:pt x="1" y="6406"/>
                  </a:lnTo>
                  <a:lnTo>
                    <a:pt x="3775" y="5430"/>
                  </a:lnTo>
                  <a:cubicBezTo>
                    <a:pt x="3775" y="5430"/>
                    <a:pt x="310" y="4751"/>
                    <a:pt x="310" y="1"/>
                  </a:cubicBezTo>
                  <a:close/>
                </a:path>
              </a:pathLst>
            </a:custGeom>
            <a:solidFill>
              <a:srgbClr val="FFFFFF"/>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53" name="Google Shape;1047;p30">
              <a:extLst>
                <a:ext uri="{FF2B5EF4-FFF2-40B4-BE49-F238E27FC236}">
                  <a16:creationId xmlns:a16="http://schemas.microsoft.com/office/drawing/2014/main" id="{EDDC4A22-1A03-4F12-873D-AC2ABDA02650}"/>
                </a:ext>
              </a:extLst>
            </p:cNvPr>
            <p:cNvSpPr/>
            <p:nvPr/>
          </p:nvSpPr>
          <p:spPr>
            <a:xfrm>
              <a:off x="2984775" y="3085528"/>
              <a:ext cx="83653" cy="144270"/>
            </a:xfrm>
            <a:custGeom>
              <a:avLst/>
              <a:gdLst/>
              <a:ahLst/>
              <a:cxnLst/>
              <a:rect l="l" t="t" r="r" b="b"/>
              <a:pathLst>
                <a:path w="3715" h="6407" extrusionOk="0">
                  <a:moveTo>
                    <a:pt x="3417" y="1"/>
                  </a:moveTo>
                  <a:cubicBezTo>
                    <a:pt x="3417" y="4751"/>
                    <a:pt x="0" y="5359"/>
                    <a:pt x="0" y="5359"/>
                  </a:cubicBezTo>
                  <a:lnTo>
                    <a:pt x="3715" y="6406"/>
                  </a:lnTo>
                  <a:lnTo>
                    <a:pt x="3715" y="1"/>
                  </a:lnTo>
                  <a:close/>
                </a:path>
              </a:pathLst>
            </a:custGeom>
            <a:solidFill>
              <a:srgbClr val="FFFFFF"/>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54" name="Google Shape;1048;p30">
              <a:extLst>
                <a:ext uri="{FF2B5EF4-FFF2-40B4-BE49-F238E27FC236}">
                  <a16:creationId xmlns:a16="http://schemas.microsoft.com/office/drawing/2014/main" id="{C7F705A9-976A-4474-8A57-B6DC6AB5EB1D}"/>
                </a:ext>
              </a:extLst>
            </p:cNvPr>
            <p:cNvSpPr/>
            <p:nvPr/>
          </p:nvSpPr>
          <p:spPr>
            <a:xfrm>
              <a:off x="3077521" y="3085528"/>
              <a:ext cx="85004" cy="144270"/>
            </a:xfrm>
            <a:custGeom>
              <a:avLst/>
              <a:gdLst/>
              <a:ahLst/>
              <a:cxnLst/>
              <a:rect l="l" t="t" r="r" b="b"/>
              <a:pathLst>
                <a:path w="3775" h="6407" extrusionOk="0">
                  <a:moveTo>
                    <a:pt x="1" y="1"/>
                  </a:moveTo>
                  <a:lnTo>
                    <a:pt x="1" y="6406"/>
                  </a:lnTo>
                  <a:lnTo>
                    <a:pt x="3775" y="5430"/>
                  </a:lnTo>
                  <a:cubicBezTo>
                    <a:pt x="3775" y="5430"/>
                    <a:pt x="310" y="4751"/>
                    <a:pt x="310" y="1"/>
                  </a:cubicBezTo>
                  <a:close/>
                </a:path>
              </a:pathLst>
            </a:custGeom>
            <a:solidFill>
              <a:srgbClr val="FFFFFF"/>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55" name="Google Shape;1049;p30">
              <a:extLst>
                <a:ext uri="{FF2B5EF4-FFF2-40B4-BE49-F238E27FC236}">
                  <a16:creationId xmlns:a16="http://schemas.microsoft.com/office/drawing/2014/main" id="{5A57902D-241A-450B-AD9E-F30D80968040}"/>
                </a:ext>
              </a:extLst>
            </p:cNvPr>
            <p:cNvSpPr/>
            <p:nvPr/>
          </p:nvSpPr>
          <p:spPr>
            <a:xfrm>
              <a:off x="2497923" y="2812089"/>
              <a:ext cx="1149361" cy="1308605"/>
            </a:xfrm>
            <a:custGeom>
              <a:avLst/>
              <a:gdLst/>
              <a:ahLst/>
              <a:cxnLst/>
              <a:rect l="l" t="t" r="r" b="b"/>
              <a:pathLst>
                <a:path w="51043" h="58115" extrusionOk="0">
                  <a:moveTo>
                    <a:pt x="25516" y="0"/>
                  </a:moveTo>
                  <a:cubicBezTo>
                    <a:pt x="25242" y="0"/>
                    <a:pt x="25004" y="227"/>
                    <a:pt x="25004" y="512"/>
                  </a:cubicBezTo>
                  <a:lnTo>
                    <a:pt x="25004" y="12538"/>
                  </a:lnTo>
                  <a:cubicBezTo>
                    <a:pt x="24849" y="15990"/>
                    <a:pt x="22872" y="17181"/>
                    <a:pt x="22003" y="17479"/>
                  </a:cubicBezTo>
                  <a:lnTo>
                    <a:pt x="3977" y="17479"/>
                  </a:lnTo>
                  <a:cubicBezTo>
                    <a:pt x="1810" y="17479"/>
                    <a:pt x="0" y="19205"/>
                    <a:pt x="0" y="21360"/>
                  </a:cubicBezTo>
                  <a:lnTo>
                    <a:pt x="0" y="32683"/>
                  </a:lnTo>
                  <a:cubicBezTo>
                    <a:pt x="0" y="46768"/>
                    <a:pt x="11442" y="58115"/>
                    <a:pt x="25527" y="58115"/>
                  </a:cubicBezTo>
                  <a:lnTo>
                    <a:pt x="25539" y="58115"/>
                  </a:lnTo>
                  <a:cubicBezTo>
                    <a:pt x="39624" y="58115"/>
                    <a:pt x="51043" y="46768"/>
                    <a:pt x="51043" y="32683"/>
                  </a:cubicBezTo>
                  <a:lnTo>
                    <a:pt x="51043" y="21360"/>
                  </a:lnTo>
                  <a:cubicBezTo>
                    <a:pt x="51043" y="19205"/>
                    <a:pt x="49316" y="17479"/>
                    <a:pt x="47149" y="17479"/>
                  </a:cubicBezTo>
                  <a:lnTo>
                    <a:pt x="29111" y="17479"/>
                  </a:lnTo>
                  <a:cubicBezTo>
                    <a:pt x="28206" y="17181"/>
                    <a:pt x="26039" y="15907"/>
                    <a:pt x="26039" y="12157"/>
                  </a:cubicBezTo>
                  <a:lnTo>
                    <a:pt x="26039" y="512"/>
                  </a:lnTo>
                  <a:cubicBezTo>
                    <a:pt x="26039" y="227"/>
                    <a:pt x="25801" y="0"/>
                    <a:pt x="25516" y="0"/>
                  </a:cubicBezTo>
                  <a:close/>
                </a:path>
              </a:pathLst>
            </a:custGeom>
            <a:solidFill>
              <a:srgbClr val="F2F2F2"/>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56" name="Google Shape;1050;p30">
              <a:extLst>
                <a:ext uri="{FF2B5EF4-FFF2-40B4-BE49-F238E27FC236}">
                  <a16:creationId xmlns:a16="http://schemas.microsoft.com/office/drawing/2014/main" id="{61BCA64E-2BE9-40F4-979C-78379CD97054}"/>
                </a:ext>
              </a:extLst>
            </p:cNvPr>
            <p:cNvSpPr/>
            <p:nvPr/>
          </p:nvSpPr>
          <p:spPr>
            <a:xfrm>
              <a:off x="2547775" y="3253365"/>
              <a:ext cx="1051522" cy="820403"/>
            </a:xfrm>
            <a:custGeom>
              <a:avLst/>
              <a:gdLst/>
              <a:ahLst/>
              <a:cxnLst/>
              <a:rect l="l" t="t" r="r" b="b"/>
              <a:pathLst>
                <a:path w="46698" h="36434" extrusionOk="0">
                  <a:moveTo>
                    <a:pt x="44935" y="393"/>
                  </a:moveTo>
                  <a:cubicBezTo>
                    <a:pt x="45697" y="393"/>
                    <a:pt x="46316" y="1012"/>
                    <a:pt x="46316" y="1762"/>
                  </a:cubicBezTo>
                  <a:lnTo>
                    <a:pt x="46316" y="13085"/>
                  </a:lnTo>
                  <a:cubicBezTo>
                    <a:pt x="46316" y="25741"/>
                    <a:pt x="36017" y="36040"/>
                    <a:pt x="23349" y="36040"/>
                  </a:cubicBezTo>
                  <a:cubicBezTo>
                    <a:pt x="10693" y="36040"/>
                    <a:pt x="394" y="25741"/>
                    <a:pt x="394" y="13085"/>
                  </a:cubicBezTo>
                  <a:lnTo>
                    <a:pt x="394" y="1762"/>
                  </a:lnTo>
                  <a:cubicBezTo>
                    <a:pt x="394" y="1012"/>
                    <a:pt x="1001" y="393"/>
                    <a:pt x="1763" y="393"/>
                  </a:cubicBezTo>
                  <a:close/>
                  <a:moveTo>
                    <a:pt x="1763" y="0"/>
                  </a:moveTo>
                  <a:cubicBezTo>
                    <a:pt x="787" y="0"/>
                    <a:pt x="1" y="798"/>
                    <a:pt x="1" y="1762"/>
                  </a:cubicBezTo>
                  <a:lnTo>
                    <a:pt x="1" y="13085"/>
                  </a:lnTo>
                  <a:cubicBezTo>
                    <a:pt x="1" y="25956"/>
                    <a:pt x="10478" y="36433"/>
                    <a:pt x="23349" y="36433"/>
                  </a:cubicBezTo>
                  <a:cubicBezTo>
                    <a:pt x="36232" y="36433"/>
                    <a:pt x="46697" y="25956"/>
                    <a:pt x="46697" y="13085"/>
                  </a:cubicBezTo>
                  <a:lnTo>
                    <a:pt x="46697" y="1762"/>
                  </a:lnTo>
                  <a:cubicBezTo>
                    <a:pt x="46697" y="798"/>
                    <a:pt x="45911" y="0"/>
                    <a:pt x="44935" y="0"/>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57" name="Google Shape;1051;p30">
              <a:extLst>
                <a:ext uri="{FF2B5EF4-FFF2-40B4-BE49-F238E27FC236}">
                  <a16:creationId xmlns:a16="http://schemas.microsoft.com/office/drawing/2014/main" id="{D35E7993-5070-4E2A-9DEF-FBE4CB7D5B6B}"/>
                </a:ext>
              </a:extLst>
            </p:cNvPr>
            <p:cNvSpPr txBox="1"/>
            <p:nvPr/>
          </p:nvSpPr>
          <p:spPr>
            <a:xfrm>
              <a:off x="2548875" y="3338966"/>
              <a:ext cx="1051500" cy="649200"/>
            </a:xfrm>
            <a:prstGeom prst="rect">
              <a:avLst/>
            </a:prstGeom>
            <a:noFill/>
            <a:ln>
              <a:noFill/>
            </a:ln>
          </p:spPr>
          <p:txBody>
            <a:bodyPr spcFirstLastPara="1" wrap="square" lIns="121900" tIns="121900" rIns="121900" bIns="1219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1600" b="0" i="0" u="none" strike="noStrike" kern="1200" cap="none" spc="0" normalizeH="0" baseline="0" noProof="0">
                  <a:ln>
                    <a:noFill/>
                  </a:ln>
                  <a:solidFill>
                    <a:srgbClr val="434343"/>
                  </a:solidFill>
                  <a:effectLst/>
                  <a:uLnTx/>
                  <a:uFillTx/>
                  <a:latin typeface="Arial"/>
                  <a:ea typeface="+mn-ea"/>
                  <a:cs typeface="+mn-ea"/>
                  <a:sym typeface="+mn-lt"/>
                </a:rPr>
                <a:t>Mars is a cold place</a:t>
              </a:r>
              <a:endParaRPr kumimoji="0" sz="1600" b="0" i="0" u="none" strike="noStrike" kern="1200" cap="none" spc="0" normalizeH="0" baseline="0" noProof="0">
                <a:ln>
                  <a:noFill/>
                </a:ln>
                <a:solidFill>
                  <a:srgbClr val="434343"/>
                </a:solidFill>
                <a:effectLst/>
                <a:uLnTx/>
                <a:uFillTx/>
                <a:latin typeface="Arial"/>
                <a:ea typeface="+mn-ea"/>
                <a:cs typeface="+mn-ea"/>
                <a:sym typeface="+mn-lt"/>
              </a:endParaRPr>
            </a:p>
          </p:txBody>
        </p:sp>
      </p:grpSp>
    </p:spTree>
    <p:extLst>
      <p:ext uri="{BB962C8B-B14F-4D97-AF65-F5344CB8AC3E}">
        <p14:creationId xmlns:p14="http://schemas.microsoft.com/office/powerpoint/2010/main" val="902030322"/>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7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Google Shape;1057;p31">
            <a:extLst>
              <a:ext uri="{FF2B5EF4-FFF2-40B4-BE49-F238E27FC236}">
                <a16:creationId xmlns:a16="http://schemas.microsoft.com/office/drawing/2014/main" id="{561554A5-DEE0-4D9E-8BD3-A36162C47644}"/>
              </a:ext>
            </a:extLst>
          </p:cNvPr>
          <p:cNvSpPr/>
          <p:nvPr/>
        </p:nvSpPr>
        <p:spPr>
          <a:xfrm>
            <a:off x="2209201" y="3423820"/>
            <a:ext cx="7121983" cy="185367"/>
          </a:xfrm>
          <a:custGeom>
            <a:avLst/>
            <a:gdLst/>
            <a:ahLst/>
            <a:cxnLst/>
            <a:rect l="l" t="t" r="r" b="b"/>
            <a:pathLst>
              <a:path w="165962" h="5561" extrusionOk="0">
                <a:moveTo>
                  <a:pt x="2774" y="1"/>
                </a:moveTo>
                <a:cubicBezTo>
                  <a:pt x="1238" y="1"/>
                  <a:pt x="0" y="1239"/>
                  <a:pt x="0" y="2775"/>
                </a:cubicBezTo>
                <a:cubicBezTo>
                  <a:pt x="0" y="4311"/>
                  <a:pt x="1238" y="5561"/>
                  <a:pt x="2774" y="5561"/>
                </a:cubicBezTo>
                <a:lnTo>
                  <a:pt x="163175" y="5561"/>
                </a:lnTo>
                <a:cubicBezTo>
                  <a:pt x="164711" y="5561"/>
                  <a:pt x="165961" y="4311"/>
                  <a:pt x="165961" y="2775"/>
                </a:cubicBezTo>
                <a:cubicBezTo>
                  <a:pt x="165961" y="1239"/>
                  <a:pt x="164711" y="1"/>
                  <a:pt x="163175" y="1"/>
                </a:cubicBezTo>
                <a:close/>
              </a:path>
            </a:pathLst>
          </a:custGeom>
          <a:solidFill>
            <a:srgbClr val="D9D9D9"/>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grpSp>
        <p:nvGrpSpPr>
          <p:cNvPr id="3" name="Google Shape;1058;p31">
            <a:extLst>
              <a:ext uri="{FF2B5EF4-FFF2-40B4-BE49-F238E27FC236}">
                <a16:creationId xmlns:a16="http://schemas.microsoft.com/office/drawing/2014/main" id="{578D99CC-090B-4AC3-B34E-4E9A2C4FA09D}"/>
              </a:ext>
            </a:extLst>
          </p:cNvPr>
          <p:cNvGrpSpPr/>
          <p:nvPr/>
        </p:nvGrpSpPr>
        <p:grpSpPr>
          <a:xfrm>
            <a:off x="9551685" y="2186786"/>
            <a:ext cx="1535167" cy="2659067"/>
            <a:chOff x="6502425" y="1911000"/>
            <a:chExt cx="1151375" cy="1994300"/>
          </a:xfrm>
        </p:grpSpPr>
        <p:sp>
          <p:nvSpPr>
            <p:cNvPr id="4" name="Google Shape;1059;p31">
              <a:extLst>
                <a:ext uri="{FF2B5EF4-FFF2-40B4-BE49-F238E27FC236}">
                  <a16:creationId xmlns:a16="http://schemas.microsoft.com/office/drawing/2014/main" id="{5DE47F54-8620-4DBD-9444-E98F018B5227}"/>
                </a:ext>
              </a:extLst>
            </p:cNvPr>
            <p:cNvSpPr/>
            <p:nvPr/>
          </p:nvSpPr>
          <p:spPr>
            <a:xfrm>
              <a:off x="6502425" y="1911000"/>
              <a:ext cx="1151375" cy="1994300"/>
            </a:xfrm>
            <a:custGeom>
              <a:avLst/>
              <a:gdLst/>
              <a:ahLst/>
              <a:cxnLst/>
              <a:rect l="l" t="t" r="r" b="b"/>
              <a:pathLst>
                <a:path w="46055" h="79772" extrusionOk="0">
                  <a:moveTo>
                    <a:pt x="7846" y="1"/>
                  </a:moveTo>
                  <a:cubicBezTo>
                    <a:pt x="4520" y="1"/>
                    <a:pt x="2136" y="1139"/>
                    <a:pt x="1560" y="3381"/>
                  </a:cubicBezTo>
                  <a:cubicBezTo>
                    <a:pt x="1" y="9466"/>
                    <a:pt x="3120" y="23741"/>
                    <a:pt x="3120" y="39886"/>
                  </a:cubicBezTo>
                  <a:cubicBezTo>
                    <a:pt x="3120" y="56031"/>
                    <a:pt x="1" y="70318"/>
                    <a:pt x="1560" y="76390"/>
                  </a:cubicBezTo>
                  <a:cubicBezTo>
                    <a:pt x="2136" y="78633"/>
                    <a:pt x="4520" y="79771"/>
                    <a:pt x="7846" y="79771"/>
                  </a:cubicBezTo>
                  <a:cubicBezTo>
                    <a:pt x="13528" y="79771"/>
                    <a:pt x="21963" y="76451"/>
                    <a:pt x="28850" y="69640"/>
                  </a:cubicBezTo>
                  <a:cubicBezTo>
                    <a:pt x="39768" y="58841"/>
                    <a:pt x="46054" y="47030"/>
                    <a:pt x="46054" y="39886"/>
                  </a:cubicBezTo>
                  <a:cubicBezTo>
                    <a:pt x="46054" y="32742"/>
                    <a:pt x="39768" y="20931"/>
                    <a:pt x="28850" y="10132"/>
                  </a:cubicBezTo>
                  <a:cubicBezTo>
                    <a:pt x="21963" y="3321"/>
                    <a:pt x="13528" y="1"/>
                    <a:pt x="7846" y="1"/>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Tx/>
                <a:buNone/>
                <a:tabLst/>
                <a:defRPr/>
              </a:pPr>
              <a:r>
                <a:rPr kumimoji="0" lang="en" sz="2267" b="0" i="0" u="none" strike="noStrike" kern="1200" cap="none" spc="0" normalizeH="0" baseline="0" noProof="0">
                  <a:ln>
                    <a:noFill/>
                  </a:ln>
                  <a:solidFill>
                    <a:srgbClr val="FFFFFF"/>
                  </a:solidFill>
                  <a:effectLst/>
                  <a:uLnTx/>
                  <a:uFillTx/>
                  <a:latin typeface="Arial"/>
                  <a:ea typeface="+mn-ea"/>
                  <a:cs typeface="+mn-ea"/>
                  <a:sym typeface="+mn-lt"/>
                </a:rPr>
                <a:t>Saturn</a:t>
              </a:r>
              <a:endParaRPr kumimoji="0" sz="2489" b="0" i="0" u="none" strike="noStrike" kern="1200" cap="none" spc="0" normalizeH="0" baseline="0" noProof="0">
                <a:ln>
                  <a:noFill/>
                </a:ln>
                <a:solidFill>
                  <a:srgbClr val="FFFFFF"/>
                </a:solidFill>
                <a:effectLst/>
                <a:uLnTx/>
                <a:uFillTx/>
                <a:latin typeface="Arial"/>
                <a:ea typeface="+mn-ea"/>
                <a:cs typeface="+mn-ea"/>
                <a:sym typeface="+mn-lt"/>
              </a:endParaRPr>
            </a:p>
          </p:txBody>
        </p:sp>
        <p:sp>
          <p:nvSpPr>
            <p:cNvPr id="5" name="Google Shape;1060;p31">
              <a:extLst>
                <a:ext uri="{FF2B5EF4-FFF2-40B4-BE49-F238E27FC236}">
                  <a16:creationId xmlns:a16="http://schemas.microsoft.com/office/drawing/2014/main" id="{2D2669D4-B35E-40A3-8B95-6D8FA6BD49BA}"/>
                </a:ext>
              </a:extLst>
            </p:cNvPr>
            <p:cNvSpPr/>
            <p:nvPr/>
          </p:nvSpPr>
          <p:spPr>
            <a:xfrm>
              <a:off x="6528625" y="2897725"/>
              <a:ext cx="1125175" cy="1007575"/>
            </a:xfrm>
            <a:custGeom>
              <a:avLst/>
              <a:gdLst/>
              <a:ahLst/>
              <a:cxnLst/>
              <a:rect l="l" t="t" r="r" b="b"/>
              <a:pathLst>
                <a:path w="45007" h="40303" extrusionOk="0">
                  <a:moveTo>
                    <a:pt x="44994" y="0"/>
                  </a:moveTo>
                  <a:cubicBezTo>
                    <a:pt x="39232" y="8132"/>
                    <a:pt x="24087" y="25861"/>
                    <a:pt x="215" y="28575"/>
                  </a:cubicBezTo>
                  <a:cubicBezTo>
                    <a:pt x="0" y="32087"/>
                    <a:pt x="12" y="34945"/>
                    <a:pt x="512" y="36921"/>
                  </a:cubicBezTo>
                  <a:cubicBezTo>
                    <a:pt x="1088" y="39164"/>
                    <a:pt x="3472" y="40302"/>
                    <a:pt x="6798" y="40302"/>
                  </a:cubicBezTo>
                  <a:cubicBezTo>
                    <a:pt x="12480" y="40302"/>
                    <a:pt x="20915" y="36982"/>
                    <a:pt x="27802" y="30171"/>
                  </a:cubicBezTo>
                  <a:cubicBezTo>
                    <a:pt x="38720" y="19372"/>
                    <a:pt x="45006" y="7561"/>
                    <a:pt x="45006" y="417"/>
                  </a:cubicBezTo>
                  <a:cubicBezTo>
                    <a:pt x="45006" y="286"/>
                    <a:pt x="44994" y="143"/>
                    <a:pt x="44994" y="0"/>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grpSp>
      <p:grpSp>
        <p:nvGrpSpPr>
          <p:cNvPr id="6" name="Google Shape;1061;p31">
            <a:extLst>
              <a:ext uri="{FF2B5EF4-FFF2-40B4-BE49-F238E27FC236}">
                <a16:creationId xmlns:a16="http://schemas.microsoft.com/office/drawing/2014/main" id="{71D404FC-06F0-467D-AA71-F6C6A2F99D1C}"/>
              </a:ext>
            </a:extLst>
          </p:cNvPr>
          <p:cNvGrpSpPr/>
          <p:nvPr/>
        </p:nvGrpSpPr>
        <p:grpSpPr>
          <a:xfrm>
            <a:off x="7172167" y="1497786"/>
            <a:ext cx="2057484" cy="4018200"/>
            <a:chOff x="5423463" y="1244363"/>
            <a:chExt cx="1543113" cy="3013650"/>
          </a:xfrm>
        </p:grpSpPr>
        <p:grpSp>
          <p:nvGrpSpPr>
            <p:cNvPr id="7" name="Google Shape;1062;p31">
              <a:extLst>
                <a:ext uri="{FF2B5EF4-FFF2-40B4-BE49-F238E27FC236}">
                  <a16:creationId xmlns:a16="http://schemas.microsoft.com/office/drawing/2014/main" id="{2D712AD4-D111-4206-8A09-1BF0C8620918}"/>
                </a:ext>
              </a:extLst>
            </p:cNvPr>
            <p:cNvGrpSpPr/>
            <p:nvPr/>
          </p:nvGrpSpPr>
          <p:grpSpPr>
            <a:xfrm>
              <a:off x="6304388" y="1244363"/>
              <a:ext cx="366125" cy="362800"/>
              <a:chOff x="5986000" y="1241850"/>
              <a:chExt cx="366125" cy="362800"/>
            </a:xfrm>
          </p:grpSpPr>
          <p:sp>
            <p:nvSpPr>
              <p:cNvPr id="14" name="Google Shape;1063;p31">
                <a:extLst>
                  <a:ext uri="{FF2B5EF4-FFF2-40B4-BE49-F238E27FC236}">
                    <a16:creationId xmlns:a16="http://schemas.microsoft.com/office/drawing/2014/main" id="{01E6A889-BE8A-4E23-B103-7596331DD536}"/>
                  </a:ext>
                </a:extLst>
              </p:cNvPr>
              <p:cNvSpPr/>
              <p:nvPr/>
            </p:nvSpPr>
            <p:spPr>
              <a:xfrm>
                <a:off x="6207450" y="1463325"/>
                <a:ext cx="144675" cy="141325"/>
              </a:xfrm>
              <a:custGeom>
                <a:avLst/>
                <a:gdLst/>
                <a:ahLst/>
                <a:cxnLst/>
                <a:rect l="l" t="t" r="r" b="b"/>
                <a:pathLst>
                  <a:path w="5787" h="5653" extrusionOk="0">
                    <a:moveTo>
                      <a:pt x="1929" y="0"/>
                    </a:moveTo>
                    <a:cubicBezTo>
                      <a:pt x="1429" y="774"/>
                      <a:pt x="775" y="1429"/>
                      <a:pt x="1" y="1917"/>
                    </a:cubicBezTo>
                    <a:lnTo>
                      <a:pt x="3334" y="5251"/>
                    </a:lnTo>
                    <a:cubicBezTo>
                      <a:pt x="3596" y="5519"/>
                      <a:pt x="3945" y="5653"/>
                      <a:pt x="4293" y="5653"/>
                    </a:cubicBezTo>
                    <a:cubicBezTo>
                      <a:pt x="4641" y="5653"/>
                      <a:pt x="4989" y="5519"/>
                      <a:pt x="5251" y="5251"/>
                    </a:cubicBezTo>
                    <a:cubicBezTo>
                      <a:pt x="5787" y="4727"/>
                      <a:pt x="5787" y="3858"/>
                      <a:pt x="5251" y="3334"/>
                    </a:cubicBezTo>
                    <a:lnTo>
                      <a:pt x="1929" y="0"/>
                    </a:ln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15" name="Google Shape;1064;p31">
                <a:extLst>
                  <a:ext uri="{FF2B5EF4-FFF2-40B4-BE49-F238E27FC236}">
                    <a16:creationId xmlns:a16="http://schemas.microsoft.com/office/drawing/2014/main" id="{7081723C-ED37-41D8-B3DF-054B61F16C99}"/>
                  </a:ext>
                </a:extLst>
              </p:cNvPr>
              <p:cNvSpPr/>
              <p:nvPr/>
            </p:nvSpPr>
            <p:spPr>
              <a:xfrm>
                <a:off x="5986000" y="1241850"/>
                <a:ext cx="272075" cy="272100"/>
              </a:xfrm>
              <a:custGeom>
                <a:avLst/>
                <a:gdLst/>
                <a:ahLst/>
                <a:cxnLst/>
                <a:rect l="l" t="t" r="r" b="b"/>
                <a:pathLst>
                  <a:path w="10883" h="10884" extrusionOk="0">
                    <a:moveTo>
                      <a:pt x="5442" y="1358"/>
                    </a:moveTo>
                    <a:cubicBezTo>
                      <a:pt x="7692" y="1358"/>
                      <a:pt x="9525" y="3192"/>
                      <a:pt x="9525" y="5442"/>
                    </a:cubicBezTo>
                    <a:cubicBezTo>
                      <a:pt x="9525" y="7692"/>
                      <a:pt x="7692" y="9526"/>
                      <a:pt x="5442" y="9526"/>
                    </a:cubicBezTo>
                    <a:cubicBezTo>
                      <a:pt x="3191" y="9526"/>
                      <a:pt x="1358" y="7692"/>
                      <a:pt x="1358" y="5442"/>
                    </a:cubicBezTo>
                    <a:cubicBezTo>
                      <a:pt x="1358" y="3192"/>
                      <a:pt x="3191" y="1358"/>
                      <a:pt x="5442" y="1358"/>
                    </a:cubicBezTo>
                    <a:close/>
                    <a:moveTo>
                      <a:pt x="5442" y="1"/>
                    </a:moveTo>
                    <a:cubicBezTo>
                      <a:pt x="2441" y="1"/>
                      <a:pt x="0" y="2430"/>
                      <a:pt x="0" y="5442"/>
                    </a:cubicBezTo>
                    <a:cubicBezTo>
                      <a:pt x="0" y="8442"/>
                      <a:pt x="2441" y="10883"/>
                      <a:pt x="5442" y="10883"/>
                    </a:cubicBezTo>
                    <a:cubicBezTo>
                      <a:pt x="8442" y="10883"/>
                      <a:pt x="10883" y="8442"/>
                      <a:pt x="10883" y="5442"/>
                    </a:cubicBezTo>
                    <a:cubicBezTo>
                      <a:pt x="10883" y="2430"/>
                      <a:pt x="8442" y="1"/>
                      <a:pt x="5442" y="1"/>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16" name="Google Shape;1065;p31">
                <a:extLst>
                  <a:ext uri="{FF2B5EF4-FFF2-40B4-BE49-F238E27FC236}">
                    <a16:creationId xmlns:a16="http://schemas.microsoft.com/office/drawing/2014/main" id="{A1F1D178-4CA5-42BA-8900-84939AE25CDA}"/>
                  </a:ext>
                </a:extLst>
              </p:cNvPr>
              <p:cNvSpPr/>
              <p:nvPr/>
            </p:nvSpPr>
            <p:spPr>
              <a:xfrm>
                <a:off x="6042550" y="1298425"/>
                <a:ext cx="79500" cy="79500"/>
              </a:xfrm>
              <a:custGeom>
                <a:avLst/>
                <a:gdLst/>
                <a:ahLst/>
                <a:cxnLst/>
                <a:rect l="l" t="t" r="r" b="b"/>
                <a:pathLst>
                  <a:path w="3180" h="3180" extrusionOk="0">
                    <a:moveTo>
                      <a:pt x="3180" y="0"/>
                    </a:moveTo>
                    <a:cubicBezTo>
                      <a:pt x="1429" y="0"/>
                      <a:pt x="1" y="1429"/>
                      <a:pt x="1" y="3179"/>
                    </a:cubicBezTo>
                    <a:lnTo>
                      <a:pt x="917" y="3179"/>
                    </a:lnTo>
                    <a:cubicBezTo>
                      <a:pt x="917" y="1929"/>
                      <a:pt x="1929" y="905"/>
                      <a:pt x="3180" y="905"/>
                    </a:cubicBezTo>
                    <a:lnTo>
                      <a:pt x="3180" y="0"/>
                    </a:ln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grpSp>
        <p:grpSp>
          <p:nvGrpSpPr>
            <p:cNvPr id="8" name="Google Shape;1066;p31">
              <a:extLst>
                <a:ext uri="{FF2B5EF4-FFF2-40B4-BE49-F238E27FC236}">
                  <a16:creationId xmlns:a16="http://schemas.microsoft.com/office/drawing/2014/main" id="{A2EB6F81-7347-4CC7-B32A-86D5F6D3AFBE}"/>
                </a:ext>
              </a:extLst>
            </p:cNvPr>
            <p:cNvGrpSpPr/>
            <p:nvPr/>
          </p:nvGrpSpPr>
          <p:grpSpPr>
            <a:xfrm>
              <a:off x="5423463" y="1399763"/>
              <a:ext cx="621550" cy="2717100"/>
              <a:chOff x="5133200" y="1549650"/>
              <a:chExt cx="621550" cy="2717100"/>
            </a:xfrm>
          </p:grpSpPr>
          <p:sp>
            <p:nvSpPr>
              <p:cNvPr id="12" name="Google Shape;1067;p31">
                <a:extLst>
                  <a:ext uri="{FF2B5EF4-FFF2-40B4-BE49-F238E27FC236}">
                    <a16:creationId xmlns:a16="http://schemas.microsoft.com/office/drawing/2014/main" id="{6A40C069-CF19-4022-B86E-F5233EF9F9D1}"/>
                  </a:ext>
                </a:extLst>
              </p:cNvPr>
              <p:cNvSpPr/>
              <p:nvPr/>
            </p:nvSpPr>
            <p:spPr>
              <a:xfrm>
                <a:off x="5133200" y="1549650"/>
                <a:ext cx="621550" cy="2717100"/>
              </a:xfrm>
              <a:custGeom>
                <a:avLst/>
                <a:gdLst/>
                <a:ahLst/>
                <a:cxnLst/>
                <a:rect l="l" t="t" r="r" b="b"/>
                <a:pathLst>
                  <a:path w="24862" h="108684" extrusionOk="0">
                    <a:moveTo>
                      <a:pt x="4795" y="0"/>
                    </a:moveTo>
                    <a:cubicBezTo>
                      <a:pt x="4363" y="0"/>
                      <a:pt x="3945" y="92"/>
                      <a:pt x="3537" y="262"/>
                    </a:cubicBezTo>
                    <a:cubicBezTo>
                      <a:pt x="1" y="1750"/>
                      <a:pt x="1573" y="12144"/>
                      <a:pt x="3930" y="26253"/>
                    </a:cubicBezTo>
                    <a:cubicBezTo>
                      <a:pt x="5740" y="37076"/>
                      <a:pt x="7538" y="46041"/>
                      <a:pt x="7538" y="54340"/>
                    </a:cubicBezTo>
                    <a:cubicBezTo>
                      <a:pt x="7538" y="62639"/>
                      <a:pt x="5740" y="71616"/>
                      <a:pt x="3930" y="82427"/>
                    </a:cubicBezTo>
                    <a:cubicBezTo>
                      <a:pt x="1573" y="96536"/>
                      <a:pt x="1" y="106930"/>
                      <a:pt x="3537" y="108418"/>
                    </a:cubicBezTo>
                    <a:cubicBezTo>
                      <a:pt x="3947" y="108591"/>
                      <a:pt x="4368" y="108683"/>
                      <a:pt x="4802" y="108683"/>
                    </a:cubicBezTo>
                    <a:cubicBezTo>
                      <a:pt x="8110" y="108683"/>
                      <a:pt x="12182" y="103299"/>
                      <a:pt x="18087" y="86880"/>
                    </a:cubicBezTo>
                    <a:cubicBezTo>
                      <a:pt x="23004" y="73235"/>
                      <a:pt x="24861" y="60150"/>
                      <a:pt x="24861" y="54340"/>
                    </a:cubicBezTo>
                    <a:cubicBezTo>
                      <a:pt x="24861" y="48530"/>
                      <a:pt x="23004" y="35445"/>
                      <a:pt x="18087" y="21800"/>
                    </a:cubicBezTo>
                    <a:cubicBezTo>
                      <a:pt x="12177" y="5379"/>
                      <a:pt x="8104" y="0"/>
                      <a:pt x="4795" y="0"/>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13" name="Google Shape;1068;p31">
                <a:extLst>
                  <a:ext uri="{FF2B5EF4-FFF2-40B4-BE49-F238E27FC236}">
                    <a16:creationId xmlns:a16="http://schemas.microsoft.com/office/drawing/2014/main" id="{3BCA6459-A2C4-4DDA-BAB9-EA8A371DCB95}"/>
                  </a:ext>
                </a:extLst>
              </p:cNvPr>
              <p:cNvSpPr/>
              <p:nvPr/>
            </p:nvSpPr>
            <p:spPr>
              <a:xfrm>
                <a:off x="5133200" y="2600650"/>
                <a:ext cx="621550" cy="1666100"/>
              </a:xfrm>
              <a:custGeom>
                <a:avLst/>
                <a:gdLst/>
                <a:ahLst/>
                <a:cxnLst/>
                <a:rect l="l" t="t" r="r" b="b"/>
                <a:pathLst>
                  <a:path w="24862" h="66644" extrusionOk="0">
                    <a:moveTo>
                      <a:pt x="23504" y="1"/>
                    </a:moveTo>
                    <a:cubicBezTo>
                      <a:pt x="21813" y="10240"/>
                      <a:pt x="16979" y="23873"/>
                      <a:pt x="4442" y="37398"/>
                    </a:cubicBezTo>
                    <a:cubicBezTo>
                      <a:pt x="4275" y="38386"/>
                      <a:pt x="4097" y="39375"/>
                      <a:pt x="3930" y="40387"/>
                    </a:cubicBezTo>
                    <a:cubicBezTo>
                      <a:pt x="1573" y="54496"/>
                      <a:pt x="1" y="64890"/>
                      <a:pt x="3537" y="66378"/>
                    </a:cubicBezTo>
                    <a:cubicBezTo>
                      <a:pt x="3947" y="66551"/>
                      <a:pt x="4368" y="66643"/>
                      <a:pt x="4802" y="66643"/>
                    </a:cubicBezTo>
                    <a:cubicBezTo>
                      <a:pt x="8110" y="66643"/>
                      <a:pt x="12182" y="61259"/>
                      <a:pt x="18087" y="44840"/>
                    </a:cubicBezTo>
                    <a:cubicBezTo>
                      <a:pt x="23004" y="31195"/>
                      <a:pt x="24861" y="18110"/>
                      <a:pt x="24861" y="12300"/>
                    </a:cubicBezTo>
                    <a:cubicBezTo>
                      <a:pt x="24861" y="9573"/>
                      <a:pt x="24445" y="5240"/>
                      <a:pt x="23504" y="1"/>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grpSp>
        <p:sp>
          <p:nvSpPr>
            <p:cNvPr id="9" name="Google Shape;1069;p31">
              <a:extLst>
                <a:ext uri="{FF2B5EF4-FFF2-40B4-BE49-F238E27FC236}">
                  <a16:creationId xmlns:a16="http://schemas.microsoft.com/office/drawing/2014/main" id="{935FC2C2-926B-464A-8582-35AA183DC832}"/>
                </a:ext>
              </a:extLst>
            </p:cNvPr>
            <p:cNvSpPr txBox="1"/>
            <p:nvPr/>
          </p:nvSpPr>
          <p:spPr>
            <a:xfrm>
              <a:off x="6002363" y="1742550"/>
              <a:ext cx="964200" cy="597300"/>
            </a:xfrm>
            <a:prstGeom prst="rect">
              <a:avLst/>
            </a:prstGeom>
            <a:noFill/>
            <a:ln>
              <a:noFill/>
            </a:ln>
          </p:spPr>
          <p:txBody>
            <a:bodyPr spcFirstLastPara="1" wrap="square" lIns="121900" tIns="121900" rIns="121900" bIns="12190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 sz="1600" b="0" i="0" u="none" strike="noStrike" kern="1200" cap="none" spc="0" normalizeH="0" baseline="0" noProof="0">
                  <a:ln>
                    <a:noFill/>
                  </a:ln>
                  <a:solidFill>
                    <a:srgbClr val="434343"/>
                  </a:solidFill>
                  <a:effectLst/>
                  <a:uLnTx/>
                  <a:uFillTx/>
                  <a:latin typeface="Arial"/>
                  <a:ea typeface="+mn-ea"/>
                  <a:cs typeface="+mn-ea"/>
                  <a:sym typeface="+mn-lt"/>
                </a:rPr>
                <a:t>Mars is a cold place</a:t>
              </a:r>
              <a:endParaRPr kumimoji="0" sz="1600" b="0" i="0" u="none" strike="noStrike" kern="1200" cap="none" spc="0" normalizeH="0" baseline="0" noProof="0">
                <a:ln>
                  <a:noFill/>
                </a:ln>
                <a:solidFill>
                  <a:srgbClr val="434343"/>
                </a:solidFill>
                <a:effectLst/>
                <a:uLnTx/>
                <a:uFillTx/>
                <a:latin typeface="Arial"/>
                <a:ea typeface="+mn-ea"/>
                <a:cs typeface="+mn-ea"/>
                <a:sym typeface="+mn-lt"/>
              </a:endParaRPr>
            </a:p>
          </p:txBody>
        </p:sp>
        <p:sp>
          <p:nvSpPr>
            <p:cNvPr id="10" name="Google Shape;1070;p31">
              <a:extLst>
                <a:ext uri="{FF2B5EF4-FFF2-40B4-BE49-F238E27FC236}">
                  <a16:creationId xmlns:a16="http://schemas.microsoft.com/office/drawing/2014/main" id="{EAFB6F08-B05B-4A75-8C27-9676A3351AD5}"/>
                </a:ext>
              </a:extLst>
            </p:cNvPr>
            <p:cNvSpPr txBox="1"/>
            <p:nvPr/>
          </p:nvSpPr>
          <p:spPr>
            <a:xfrm>
              <a:off x="6002375" y="3139663"/>
              <a:ext cx="964200" cy="597300"/>
            </a:xfrm>
            <a:prstGeom prst="rect">
              <a:avLst/>
            </a:prstGeom>
            <a:noFill/>
            <a:ln>
              <a:noFill/>
            </a:ln>
          </p:spPr>
          <p:txBody>
            <a:bodyPr spcFirstLastPara="1" wrap="square" lIns="121900" tIns="121900" rIns="121900" bIns="12190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 sz="1600" b="0" i="0" u="none" strike="noStrike" kern="1200" cap="none" spc="0" normalizeH="0" baseline="0" noProof="0">
                  <a:ln>
                    <a:noFill/>
                  </a:ln>
                  <a:solidFill>
                    <a:srgbClr val="434343"/>
                  </a:solidFill>
                  <a:effectLst/>
                  <a:uLnTx/>
                  <a:uFillTx/>
                  <a:latin typeface="Arial"/>
                  <a:ea typeface="+mn-ea"/>
                  <a:cs typeface="+mn-ea"/>
                  <a:sym typeface="+mn-lt"/>
                </a:rPr>
                <a:t>The Sun is a star</a:t>
              </a:r>
              <a:endParaRPr kumimoji="0" sz="1600" b="0" i="0" u="none" strike="noStrike" kern="1200" cap="none" spc="0" normalizeH="0" baseline="0" noProof="0">
                <a:ln>
                  <a:noFill/>
                </a:ln>
                <a:solidFill>
                  <a:srgbClr val="434343"/>
                </a:solidFill>
                <a:effectLst/>
                <a:uLnTx/>
                <a:uFillTx/>
                <a:latin typeface="Arial"/>
                <a:ea typeface="+mn-ea"/>
                <a:cs typeface="+mn-ea"/>
                <a:sym typeface="+mn-lt"/>
              </a:endParaRPr>
            </a:p>
          </p:txBody>
        </p:sp>
        <p:sp>
          <p:nvSpPr>
            <p:cNvPr id="11" name="Google Shape;1071;p31">
              <a:extLst>
                <a:ext uri="{FF2B5EF4-FFF2-40B4-BE49-F238E27FC236}">
                  <a16:creationId xmlns:a16="http://schemas.microsoft.com/office/drawing/2014/main" id="{49208CA4-A57E-4517-9482-126E465A2AC0}"/>
                </a:ext>
              </a:extLst>
            </p:cNvPr>
            <p:cNvSpPr txBox="1"/>
            <p:nvPr/>
          </p:nvSpPr>
          <p:spPr>
            <a:xfrm>
              <a:off x="6173675" y="3751013"/>
              <a:ext cx="621600" cy="507000"/>
            </a:xfrm>
            <a:prstGeom prst="rect">
              <a:avLst/>
            </a:prstGeom>
            <a:noFill/>
            <a:ln>
              <a:noFill/>
            </a:ln>
          </p:spPr>
          <p:txBody>
            <a:bodyPr spcFirstLastPara="1" wrap="square" lIns="121900" tIns="121900" rIns="121900" bIns="1219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3333" b="0" i="0" u="none" strike="noStrike" kern="1200" cap="none" spc="0" normalizeH="0" baseline="0" noProof="0">
                  <a:ln>
                    <a:noFill/>
                  </a:ln>
                  <a:solidFill>
                    <a:schemeClr val="accent1"/>
                  </a:solidFill>
                  <a:effectLst/>
                  <a:uLnTx/>
                  <a:uFillTx/>
                  <a:latin typeface="Arial"/>
                  <a:ea typeface="+mn-ea"/>
                  <a:cs typeface="+mn-ea"/>
                  <a:sym typeface="+mn-lt"/>
                </a:rPr>
                <a:t>01</a:t>
              </a:r>
              <a:endParaRPr kumimoji="0" sz="3333" b="0" i="0" u="none" strike="noStrike" kern="1200" cap="none" spc="0" normalizeH="0" baseline="0" noProof="0">
                <a:ln>
                  <a:noFill/>
                </a:ln>
                <a:solidFill>
                  <a:schemeClr val="accent1"/>
                </a:solidFill>
                <a:effectLst/>
                <a:uLnTx/>
                <a:uFillTx/>
                <a:latin typeface="Arial"/>
                <a:ea typeface="+mn-ea"/>
                <a:cs typeface="+mn-ea"/>
                <a:sym typeface="+mn-lt"/>
              </a:endParaRPr>
            </a:p>
          </p:txBody>
        </p:sp>
      </p:grpSp>
      <p:grpSp>
        <p:nvGrpSpPr>
          <p:cNvPr id="17" name="Google Shape;1072;p31">
            <a:extLst>
              <a:ext uri="{FF2B5EF4-FFF2-40B4-BE49-F238E27FC236}">
                <a16:creationId xmlns:a16="http://schemas.microsoft.com/office/drawing/2014/main" id="{5A9DE55D-DB39-4D3C-BE85-497DE635EB13}"/>
              </a:ext>
            </a:extLst>
          </p:cNvPr>
          <p:cNvGrpSpPr/>
          <p:nvPr/>
        </p:nvGrpSpPr>
        <p:grpSpPr>
          <a:xfrm>
            <a:off x="5286667" y="1603253"/>
            <a:ext cx="1939584" cy="3826100"/>
            <a:chOff x="4009338" y="1323463"/>
            <a:chExt cx="1454688" cy="2869575"/>
          </a:xfrm>
        </p:grpSpPr>
        <p:grpSp>
          <p:nvGrpSpPr>
            <p:cNvPr id="18" name="Google Shape;1073;p31">
              <a:extLst>
                <a:ext uri="{FF2B5EF4-FFF2-40B4-BE49-F238E27FC236}">
                  <a16:creationId xmlns:a16="http://schemas.microsoft.com/office/drawing/2014/main" id="{CABD05FC-428A-4E4C-8B27-EE7F6CEC4C29}"/>
                </a:ext>
              </a:extLst>
            </p:cNvPr>
            <p:cNvGrpSpPr/>
            <p:nvPr/>
          </p:nvGrpSpPr>
          <p:grpSpPr>
            <a:xfrm>
              <a:off x="4799763" y="1323463"/>
              <a:ext cx="370300" cy="361075"/>
              <a:chOff x="4704300" y="1243350"/>
              <a:chExt cx="370300" cy="361075"/>
            </a:xfrm>
          </p:grpSpPr>
          <p:sp>
            <p:nvSpPr>
              <p:cNvPr id="25" name="Google Shape;1074;p31">
                <a:extLst>
                  <a:ext uri="{FF2B5EF4-FFF2-40B4-BE49-F238E27FC236}">
                    <a16:creationId xmlns:a16="http://schemas.microsoft.com/office/drawing/2014/main" id="{FD818E31-1EA4-419E-B8B6-5808613FA567}"/>
                  </a:ext>
                </a:extLst>
              </p:cNvPr>
              <p:cNvSpPr/>
              <p:nvPr/>
            </p:nvSpPr>
            <p:spPr>
              <a:xfrm>
                <a:off x="4704300" y="1271625"/>
                <a:ext cx="332800" cy="332800"/>
              </a:xfrm>
              <a:custGeom>
                <a:avLst/>
                <a:gdLst/>
                <a:ahLst/>
                <a:cxnLst/>
                <a:rect l="l" t="t" r="r" b="b"/>
                <a:pathLst>
                  <a:path w="13312" h="13312" extrusionOk="0">
                    <a:moveTo>
                      <a:pt x="6656" y="1"/>
                    </a:moveTo>
                    <a:cubicBezTo>
                      <a:pt x="2989" y="1"/>
                      <a:pt x="0" y="2989"/>
                      <a:pt x="0" y="6656"/>
                    </a:cubicBezTo>
                    <a:cubicBezTo>
                      <a:pt x="0" y="10335"/>
                      <a:pt x="2989" y="13312"/>
                      <a:pt x="6656" y="13312"/>
                    </a:cubicBezTo>
                    <a:cubicBezTo>
                      <a:pt x="10335" y="13312"/>
                      <a:pt x="13311" y="10335"/>
                      <a:pt x="13311" y="6656"/>
                    </a:cubicBezTo>
                    <a:lnTo>
                      <a:pt x="6656" y="6656"/>
                    </a:lnTo>
                    <a:lnTo>
                      <a:pt x="6656" y="1"/>
                    </a:ln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26" name="Google Shape;1075;p31">
                <a:extLst>
                  <a:ext uri="{FF2B5EF4-FFF2-40B4-BE49-F238E27FC236}">
                    <a16:creationId xmlns:a16="http://schemas.microsoft.com/office/drawing/2014/main" id="{2AC4A4A4-4E09-4CC5-AAEC-D0BBF8A4D3B2}"/>
                  </a:ext>
                </a:extLst>
              </p:cNvPr>
              <p:cNvSpPr/>
              <p:nvPr/>
            </p:nvSpPr>
            <p:spPr>
              <a:xfrm>
                <a:off x="4908175" y="1243350"/>
                <a:ext cx="166425" cy="166400"/>
              </a:xfrm>
              <a:custGeom>
                <a:avLst/>
                <a:gdLst/>
                <a:ahLst/>
                <a:cxnLst/>
                <a:rect l="l" t="t" r="r" b="b"/>
                <a:pathLst>
                  <a:path w="6657" h="6656" extrusionOk="0">
                    <a:moveTo>
                      <a:pt x="1" y="0"/>
                    </a:moveTo>
                    <a:lnTo>
                      <a:pt x="1" y="6656"/>
                    </a:lnTo>
                    <a:lnTo>
                      <a:pt x="6656" y="6656"/>
                    </a:lnTo>
                    <a:cubicBezTo>
                      <a:pt x="6656" y="2989"/>
                      <a:pt x="3680" y="0"/>
                      <a:pt x="1" y="0"/>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grpSp>
        <p:grpSp>
          <p:nvGrpSpPr>
            <p:cNvPr id="19" name="Google Shape;1076;p31">
              <a:extLst>
                <a:ext uri="{FF2B5EF4-FFF2-40B4-BE49-F238E27FC236}">
                  <a16:creationId xmlns:a16="http://schemas.microsoft.com/office/drawing/2014/main" id="{D3F32FBB-6B23-40BA-82EB-6F6CEC6166F8}"/>
                </a:ext>
              </a:extLst>
            </p:cNvPr>
            <p:cNvGrpSpPr/>
            <p:nvPr/>
          </p:nvGrpSpPr>
          <p:grpSpPr>
            <a:xfrm>
              <a:off x="4009338" y="1597763"/>
              <a:ext cx="531050" cy="2321100"/>
              <a:chOff x="3957175" y="1747650"/>
              <a:chExt cx="531050" cy="2321100"/>
            </a:xfrm>
          </p:grpSpPr>
          <p:sp>
            <p:nvSpPr>
              <p:cNvPr id="23" name="Google Shape;1077;p31">
                <a:extLst>
                  <a:ext uri="{FF2B5EF4-FFF2-40B4-BE49-F238E27FC236}">
                    <a16:creationId xmlns:a16="http://schemas.microsoft.com/office/drawing/2014/main" id="{662F0E5E-5757-4084-A69A-C3DDBAE37804}"/>
                  </a:ext>
                </a:extLst>
              </p:cNvPr>
              <p:cNvSpPr/>
              <p:nvPr/>
            </p:nvSpPr>
            <p:spPr>
              <a:xfrm>
                <a:off x="3957175" y="1747650"/>
                <a:ext cx="531050" cy="2321100"/>
              </a:xfrm>
              <a:custGeom>
                <a:avLst/>
                <a:gdLst/>
                <a:ahLst/>
                <a:cxnLst/>
                <a:rect l="l" t="t" r="r" b="b"/>
                <a:pathLst>
                  <a:path w="21242" h="92844" extrusionOk="0">
                    <a:moveTo>
                      <a:pt x="4100" y="0"/>
                    </a:moveTo>
                    <a:cubicBezTo>
                      <a:pt x="3731" y="0"/>
                      <a:pt x="3373" y="78"/>
                      <a:pt x="3025" y="224"/>
                    </a:cubicBezTo>
                    <a:cubicBezTo>
                      <a:pt x="0" y="1498"/>
                      <a:pt x="1346" y="10380"/>
                      <a:pt x="3370" y="22429"/>
                    </a:cubicBezTo>
                    <a:cubicBezTo>
                      <a:pt x="4906" y="31668"/>
                      <a:pt x="6454" y="39336"/>
                      <a:pt x="6454" y="46420"/>
                    </a:cubicBezTo>
                    <a:cubicBezTo>
                      <a:pt x="6454" y="53516"/>
                      <a:pt x="4906" y="61172"/>
                      <a:pt x="3370" y="70411"/>
                    </a:cubicBezTo>
                    <a:cubicBezTo>
                      <a:pt x="1346" y="82472"/>
                      <a:pt x="0" y="91342"/>
                      <a:pt x="3025" y="92616"/>
                    </a:cubicBezTo>
                    <a:cubicBezTo>
                      <a:pt x="3376" y="92764"/>
                      <a:pt x="3736" y="92843"/>
                      <a:pt x="4107" y="92843"/>
                    </a:cubicBezTo>
                    <a:cubicBezTo>
                      <a:pt x="6935" y="92843"/>
                      <a:pt x="10415" y="88239"/>
                      <a:pt x="15467" y="74221"/>
                    </a:cubicBezTo>
                    <a:cubicBezTo>
                      <a:pt x="19658" y="62565"/>
                      <a:pt x="21241" y="51385"/>
                      <a:pt x="21241" y="46420"/>
                    </a:cubicBezTo>
                    <a:cubicBezTo>
                      <a:pt x="21241" y="41455"/>
                      <a:pt x="19658" y="30287"/>
                      <a:pt x="15467" y="18619"/>
                    </a:cubicBezTo>
                    <a:cubicBezTo>
                      <a:pt x="10410" y="4599"/>
                      <a:pt x="6929" y="0"/>
                      <a:pt x="4100" y="0"/>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24" name="Google Shape;1078;p31">
                <a:extLst>
                  <a:ext uri="{FF2B5EF4-FFF2-40B4-BE49-F238E27FC236}">
                    <a16:creationId xmlns:a16="http://schemas.microsoft.com/office/drawing/2014/main" id="{1A47EC2D-7233-49EA-A775-21E75CEFF051}"/>
                  </a:ext>
                </a:extLst>
              </p:cNvPr>
              <p:cNvSpPr/>
              <p:nvPr/>
            </p:nvSpPr>
            <p:spPr>
              <a:xfrm>
                <a:off x="3957175" y="2645300"/>
                <a:ext cx="531050" cy="1423450"/>
              </a:xfrm>
              <a:custGeom>
                <a:avLst/>
                <a:gdLst/>
                <a:ahLst/>
                <a:cxnLst/>
                <a:rect l="l" t="t" r="r" b="b"/>
                <a:pathLst>
                  <a:path w="21242" h="56938" extrusionOk="0">
                    <a:moveTo>
                      <a:pt x="20086" y="1"/>
                    </a:moveTo>
                    <a:cubicBezTo>
                      <a:pt x="18646" y="8752"/>
                      <a:pt x="14514" y="20396"/>
                      <a:pt x="3798" y="31957"/>
                    </a:cubicBezTo>
                    <a:cubicBezTo>
                      <a:pt x="3656" y="32790"/>
                      <a:pt x="3513" y="33648"/>
                      <a:pt x="3370" y="34505"/>
                    </a:cubicBezTo>
                    <a:cubicBezTo>
                      <a:pt x="1346" y="46566"/>
                      <a:pt x="0" y="55436"/>
                      <a:pt x="3025" y="56710"/>
                    </a:cubicBezTo>
                    <a:cubicBezTo>
                      <a:pt x="3376" y="56858"/>
                      <a:pt x="3736" y="56937"/>
                      <a:pt x="4107" y="56937"/>
                    </a:cubicBezTo>
                    <a:cubicBezTo>
                      <a:pt x="6935" y="56937"/>
                      <a:pt x="10415" y="52333"/>
                      <a:pt x="15467" y="38315"/>
                    </a:cubicBezTo>
                    <a:cubicBezTo>
                      <a:pt x="19658" y="26659"/>
                      <a:pt x="21241" y="15479"/>
                      <a:pt x="21241" y="10514"/>
                    </a:cubicBezTo>
                    <a:cubicBezTo>
                      <a:pt x="21241" y="8180"/>
                      <a:pt x="20896" y="4477"/>
                      <a:pt x="20086" y="1"/>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grpSp>
        <p:sp>
          <p:nvSpPr>
            <p:cNvPr id="20" name="Google Shape;1079;p31">
              <a:extLst>
                <a:ext uri="{FF2B5EF4-FFF2-40B4-BE49-F238E27FC236}">
                  <a16:creationId xmlns:a16="http://schemas.microsoft.com/office/drawing/2014/main" id="{CF050BD8-91BE-4846-BE54-F07BA393D160}"/>
                </a:ext>
              </a:extLst>
            </p:cNvPr>
            <p:cNvSpPr txBox="1"/>
            <p:nvPr/>
          </p:nvSpPr>
          <p:spPr>
            <a:xfrm>
              <a:off x="4499825" y="1818750"/>
              <a:ext cx="964200" cy="597300"/>
            </a:xfrm>
            <a:prstGeom prst="rect">
              <a:avLst/>
            </a:prstGeom>
            <a:noFill/>
            <a:ln>
              <a:noFill/>
            </a:ln>
          </p:spPr>
          <p:txBody>
            <a:bodyPr spcFirstLastPara="1" wrap="square" lIns="121900" tIns="121900" rIns="121900" bIns="12190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 sz="1600" b="0" i="0" u="none" strike="noStrike" kern="1200" cap="none" spc="0" normalizeH="0" baseline="0" noProof="0">
                  <a:ln>
                    <a:noFill/>
                  </a:ln>
                  <a:solidFill>
                    <a:srgbClr val="434343"/>
                  </a:solidFill>
                  <a:effectLst/>
                  <a:uLnTx/>
                  <a:uFillTx/>
                  <a:latin typeface="Arial"/>
                  <a:ea typeface="+mn-ea"/>
                  <a:cs typeface="+mn-ea"/>
                  <a:sym typeface="+mn-lt"/>
                </a:rPr>
                <a:t>Earth harbors life</a:t>
              </a:r>
              <a:endParaRPr kumimoji="0" sz="1600" b="0" i="0" u="none" strike="noStrike" kern="1200" cap="none" spc="0" normalizeH="0" baseline="0" noProof="0">
                <a:ln>
                  <a:noFill/>
                </a:ln>
                <a:solidFill>
                  <a:srgbClr val="434343"/>
                </a:solidFill>
                <a:effectLst/>
                <a:uLnTx/>
                <a:uFillTx/>
                <a:latin typeface="Arial"/>
                <a:ea typeface="+mn-ea"/>
                <a:cs typeface="+mn-ea"/>
                <a:sym typeface="+mn-lt"/>
              </a:endParaRPr>
            </a:p>
          </p:txBody>
        </p:sp>
        <p:sp>
          <p:nvSpPr>
            <p:cNvPr id="21" name="Google Shape;1080;p31">
              <a:extLst>
                <a:ext uri="{FF2B5EF4-FFF2-40B4-BE49-F238E27FC236}">
                  <a16:creationId xmlns:a16="http://schemas.microsoft.com/office/drawing/2014/main" id="{48C09990-717E-457D-AF61-EC72592829BA}"/>
                </a:ext>
              </a:extLst>
            </p:cNvPr>
            <p:cNvSpPr txBox="1"/>
            <p:nvPr/>
          </p:nvSpPr>
          <p:spPr>
            <a:xfrm>
              <a:off x="4499825" y="3073413"/>
              <a:ext cx="964200" cy="597300"/>
            </a:xfrm>
            <a:prstGeom prst="rect">
              <a:avLst/>
            </a:prstGeom>
            <a:noFill/>
            <a:ln>
              <a:noFill/>
            </a:ln>
          </p:spPr>
          <p:txBody>
            <a:bodyPr spcFirstLastPara="1" wrap="square" lIns="121900" tIns="121900" rIns="121900" bIns="12190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 sz="1600" b="0" i="0" u="none" strike="noStrike" kern="1200" cap="none" spc="0" normalizeH="0" baseline="0" noProof="0">
                  <a:ln>
                    <a:noFill/>
                  </a:ln>
                  <a:solidFill>
                    <a:srgbClr val="434343"/>
                  </a:solidFill>
                  <a:effectLst/>
                  <a:uLnTx/>
                  <a:uFillTx/>
                  <a:latin typeface="Arial"/>
                  <a:ea typeface="+mn-ea"/>
                  <a:cs typeface="+mn-ea"/>
                  <a:sym typeface="+mn-lt"/>
                </a:rPr>
                <a:t>Neptune is far away</a:t>
              </a:r>
              <a:endParaRPr kumimoji="0" sz="1600" b="0" i="0" u="none" strike="noStrike" kern="1200" cap="none" spc="0" normalizeH="0" baseline="0" noProof="0">
                <a:ln>
                  <a:noFill/>
                </a:ln>
                <a:solidFill>
                  <a:srgbClr val="434343"/>
                </a:solidFill>
                <a:effectLst/>
                <a:uLnTx/>
                <a:uFillTx/>
                <a:latin typeface="Arial"/>
                <a:ea typeface="+mn-ea"/>
                <a:cs typeface="+mn-ea"/>
                <a:sym typeface="+mn-lt"/>
              </a:endParaRPr>
            </a:p>
          </p:txBody>
        </p:sp>
        <p:sp>
          <p:nvSpPr>
            <p:cNvPr id="22" name="Google Shape;1081;p31">
              <a:extLst>
                <a:ext uri="{FF2B5EF4-FFF2-40B4-BE49-F238E27FC236}">
                  <a16:creationId xmlns:a16="http://schemas.microsoft.com/office/drawing/2014/main" id="{53CA2EF0-1348-489D-A02B-677221531B45}"/>
                </a:ext>
              </a:extLst>
            </p:cNvPr>
            <p:cNvSpPr txBox="1"/>
            <p:nvPr/>
          </p:nvSpPr>
          <p:spPr>
            <a:xfrm>
              <a:off x="4671125" y="3686038"/>
              <a:ext cx="621600" cy="507000"/>
            </a:xfrm>
            <a:prstGeom prst="rect">
              <a:avLst/>
            </a:prstGeom>
            <a:noFill/>
            <a:ln>
              <a:noFill/>
            </a:ln>
          </p:spPr>
          <p:txBody>
            <a:bodyPr spcFirstLastPara="1" wrap="square" lIns="121900" tIns="121900" rIns="121900" bIns="1219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3333" b="0" i="0" u="none" strike="noStrike" kern="1200" cap="none" spc="0" normalizeH="0" baseline="0" noProof="0">
                  <a:ln>
                    <a:noFill/>
                  </a:ln>
                  <a:solidFill>
                    <a:schemeClr val="accent1"/>
                  </a:solidFill>
                  <a:effectLst/>
                  <a:uLnTx/>
                  <a:uFillTx/>
                  <a:latin typeface="Arial"/>
                  <a:ea typeface="+mn-ea"/>
                  <a:cs typeface="+mn-ea"/>
                  <a:sym typeface="+mn-lt"/>
                </a:rPr>
                <a:t>02</a:t>
              </a:r>
              <a:endParaRPr kumimoji="0" sz="3333" b="0" i="0" u="none" strike="noStrike" kern="1200" cap="none" spc="0" normalizeH="0" baseline="0" noProof="0">
                <a:ln>
                  <a:noFill/>
                </a:ln>
                <a:solidFill>
                  <a:schemeClr val="accent1"/>
                </a:solidFill>
                <a:effectLst/>
                <a:uLnTx/>
                <a:uFillTx/>
                <a:latin typeface="Arial"/>
                <a:ea typeface="+mn-ea"/>
                <a:cs typeface="+mn-ea"/>
                <a:sym typeface="+mn-lt"/>
              </a:endParaRPr>
            </a:p>
          </p:txBody>
        </p:sp>
      </p:grpSp>
      <p:grpSp>
        <p:nvGrpSpPr>
          <p:cNvPr id="27" name="Google Shape;1082;p31">
            <a:extLst>
              <a:ext uri="{FF2B5EF4-FFF2-40B4-BE49-F238E27FC236}">
                <a16:creationId xmlns:a16="http://schemas.microsoft.com/office/drawing/2014/main" id="{D0CBBA28-8430-4C7F-B8AF-FE9AF7919470}"/>
              </a:ext>
            </a:extLst>
          </p:cNvPr>
          <p:cNvGrpSpPr/>
          <p:nvPr/>
        </p:nvGrpSpPr>
        <p:grpSpPr>
          <a:xfrm>
            <a:off x="3346000" y="1697319"/>
            <a:ext cx="1947917" cy="3624067"/>
            <a:chOff x="2553838" y="1394013"/>
            <a:chExt cx="1460938" cy="2718050"/>
          </a:xfrm>
        </p:grpSpPr>
        <p:sp>
          <p:nvSpPr>
            <p:cNvPr id="28" name="Google Shape;1083;p31">
              <a:extLst>
                <a:ext uri="{FF2B5EF4-FFF2-40B4-BE49-F238E27FC236}">
                  <a16:creationId xmlns:a16="http://schemas.microsoft.com/office/drawing/2014/main" id="{ADF5A50E-4068-4A1F-8152-8EC34FD0D9DB}"/>
                </a:ext>
              </a:extLst>
            </p:cNvPr>
            <p:cNvSpPr/>
            <p:nvPr/>
          </p:nvSpPr>
          <p:spPr>
            <a:xfrm>
              <a:off x="3315388" y="1394013"/>
              <a:ext cx="440550" cy="367925"/>
            </a:xfrm>
            <a:custGeom>
              <a:avLst/>
              <a:gdLst/>
              <a:ahLst/>
              <a:cxnLst/>
              <a:rect l="l" t="t" r="r" b="b"/>
              <a:pathLst>
                <a:path w="17622" h="14717" extrusionOk="0">
                  <a:moveTo>
                    <a:pt x="8811" y="1"/>
                  </a:moveTo>
                  <a:cubicBezTo>
                    <a:pt x="5623" y="1"/>
                    <a:pt x="2435" y="1215"/>
                    <a:pt x="0" y="3644"/>
                  </a:cubicBezTo>
                  <a:lnTo>
                    <a:pt x="1608" y="5252"/>
                  </a:lnTo>
                  <a:cubicBezTo>
                    <a:pt x="3596" y="3263"/>
                    <a:pt x="6203" y="2269"/>
                    <a:pt x="8811" y="2269"/>
                  </a:cubicBezTo>
                  <a:cubicBezTo>
                    <a:pt x="11418" y="2269"/>
                    <a:pt x="14026" y="3263"/>
                    <a:pt x="16014" y="5252"/>
                  </a:cubicBezTo>
                  <a:lnTo>
                    <a:pt x="17621" y="3644"/>
                  </a:lnTo>
                  <a:cubicBezTo>
                    <a:pt x="15187" y="1215"/>
                    <a:pt x="11999" y="1"/>
                    <a:pt x="8811" y="1"/>
                  </a:cubicBezTo>
                  <a:close/>
                  <a:moveTo>
                    <a:pt x="8811" y="3397"/>
                  </a:moveTo>
                  <a:cubicBezTo>
                    <a:pt x="6492" y="3397"/>
                    <a:pt x="4173" y="4281"/>
                    <a:pt x="2405" y="6049"/>
                  </a:cubicBezTo>
                  <a:lnTo>
                    <a:pt x="4013" y="7657"/>
                  </a:lnTo>
                  <a:cubicBezTo>
                    <a:pt x="5334" y="6329"/>
                    <a:pt x="7072" y="5665"/>
                    <a:pt x="8812" y="5665"/>
                  </a:cubicBezTo>
                  <a:cubicBezTo>
                    <a:pt x="10552" y="5665"/>
                    <a:pt x="12293" y="6329"/>
                    <a:pt x="13621" y="7657"/>
                  </a:cubicBezTo>
                  <a:lnTo>
                    <a:pt x="15216" y="6049"/>
                  </a:lnTo>
                  <a:cubicBezTo>
                    <a:pt x="13448" y="4281"/>
                    <a:pt x="11130" y="3397"/>
                    <a:pt x="8811" y="3397"/>
                  </a:cubicBezTo>
                  <a:close/>
                  <a:moveTo>
                    <a:pt x="8815" y="6793"/>
                  </a:moveTo>
                  <a:cubicBezTo>
                    <a:pt x="7367" y="6793"/>
                    <a:pt x="5918" y="7347"/>
                    <a:pt x="4810" y="8454"/>
                  </a:cubicBezTo>
                  <a:lnTo>
                    <a:pt x="6406" y="10050"/>
                  </a:lnTo>
                  <a:cubicBezTo>
                    <a:pt x="7072" y="9389"/>
                    <a:pt x="7942" y="9059"/>
                    <a:pt x="8811" y="9059"/>
                  </a:cubicBezTo>
                  <a:cubicBezTo>
                    <a:pt x="9680" y="9059"/>
                    <a:pt x="10549" y="9389"/>
                    <a:pt x="11216" y="10050"/>
                  </a:cubicBezTo>
                  <a:lnTo>
                    <a:pt x="12811" y="8454"/>
                  </a:lnTo>
                  <a:cubicBezTo>
                    <a:pt x="11710" y="7347"/>
                    <a:pt x="10263" y="6793"/>
                    <a:pt x="8815" y="6793"/>
                  </a:cubicBezTo>
                  <a:close/>
                  <a:moveTo>
                    <a:pt x="8811" y="10193"/>
                  </a:moveTo>
                  <a:cubicBezTo>
                    <a:pt x="7561" y="10193"/>
                    <a:pt x="6549" y="11205"/>
                    <a:pt x="6549" y="12455"/>
                  </a:cubicBezTo>
                  <a:cubicBezTo>
                    <a:pt x="6549" y="13705"/>
                    <a:pt x="7561" y="14717"/>
                    <a:pt x="8811" y="14717"/>
                  </a:cubicBezTo>
                  <a:cubicBezTo>
                    <a:pt x="10061" y="14717"/>
                    <a:pt x="11073" y="13705"/>
                    <a:pt x="11073" y="12455"/>
                  </a:cubicBezTo>
                  <a:cubicBezTo>
                    <a:pt x="11073" y="11205"/>
                    <a:pt x="10061" y="10193"/>
                    <a:pt x="8811" y="10193"/>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grpSp>
          <p:nvGrpSpPr>
            <p:cNvPr id="29" name="Google Shape;1084;p31">
              <a:extLst>
                <a:ext uri="{FF2B5EF4-FFF2-40B4-BE49-F238E27FC236}">
                  <a16:creationId xmlns:a16="http://schemas.microsoft.com/office/drawing/2014/main" id="{E8CFB514-9A36-4C99-A16E-273B441D0A9E}"/>
                </a:ext>
              </a:extLst>
            </p:cNvPr>
            <p:cNvGrpSpPr/>
            <p:nvPr/>
          </p:nvGrpSpPr>
          <p:grpSpPr>
            <a:xfrm>
              <a:off x="2553838" y="1739438"/>
              <a:ext cx="502175" cy="2037850"/>
              <a:chOff x="2804950" y="1889325"/>
              <a:chExt cx="502175" cy="2037850"/>
            </a:xfrm>
          </p:grpSpPr>
          <p:sp>
            <p:nvSpPr>
              <p:cNvPr id="33" name="Google Shape;1085;p31">
                <a:extLst>
                  <a:ext uri="{FF2B5EF4-FFF2-40B4-BE49-F238E27FC236}">
                    <a16:creationId xmlns:a16="http://schemas.microsoft.com/office/drawing/2014/main" id="{D5100957-3E1C-491F-8AE0-B5DDF271AF9A}"/>
                  </a:ext>
                </a:extLst>
              </p:cNvPr>
              <p:cNvSpPr/>
              <p:nvPr/>
            </p:nvSpPr>
            <p:spPr>
              <a:xfrm>
                <a:off x="2804950" y="1889325"/>
                <a:ext cx="502175" cy="2037850"/>
              </a:xfrm>
              <a:custGeom>
                <a:avLst/>
                <a:gdLst/>
                <a:ahLst/>
                <a:cxnLst/>
                <a:rect l="l" t="t" r="r" b="b"/>
                <a:pathLst>
                  <a:path w="20087" h="81514" extrusionOk="0">
                    <a:moveTo>
                      <a:pt x="3881" y="1"/>
                    </a:moveTo>
                    <a:cubicBezTo>
                      <a:pt x="3530" y="1"/>
                      <a:pt x="3190" y="70"/>
                      <a:pt x="2858" y="200"/>
                    </a:cubicBezTo>
                    <a:cubicBezTo>
                      <a:pt x="0" y="1308"/>
                      <a:pt x="1262" y="9106"/>
                      <a:pt x="3179" y="19691"/>
                    </a:cubicBezTo>
                    <a:cubicBezTo>
                      <a:pt x="4632" y="27799"/>
                      <a:pt x="6096" y="34526"/>
                      <a:pt x="6096" y="40753"/>
                    </a:cubicBezTo>
                    <a:cubicBezTo>
                      <a:pt x="6096" y="46980"/>
                      <a:pt x="4632" y="53707"/>
                      <a:pt x="3179" y="61827"/>
                    </a:cubicBezTo>
                    <a:cubicBezTo>
                      <a:pt x="1262" y="72400"/>
                      <a:pt x="0" y="80198"/>
                      <a:pt x="2858" y="81317"/>
                    </a:cubicBezTo>
                    <a:cubicBezTo>
                      <a:pt x="3188" y="81445"/>
                      <a:pt x="3526" y="81514"/>
                      <a:pt x="3875" y="81514"/>
                    </a:cubicBezTo>
                    <a:cubicBezTo>
                      <a:pt x="6549" y="81514"/>
                      <a:pt x="9840" y="77483"/>
                      <a:pt x="14621" y="65161"/>
                    </a:cubicBezTo>
                    <a:cubicBezTo>
                      <a:pt x="18586" y="54933"/>
                      <a:pt x="20086" y="45111"/>
                      <a:pt x="20086" y="40753"/>
                    </a:cubicBezTo>
                    <a:cubicBezTo>
                      <a:pt x="20086" y="36395"/>
                      <a:pt x="18586" y="26585"/>
                      <a:pt x="14621" y="16345"/>
                    </a:cubicBezTo>
                    <a:cubicBezTo>
                      <a:pt x="9843" y="4043"/>
                      <a:pt x="6554" y="1"/>
                      <a:pt x="3881" y="1"/>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34" name="Google Shape;1086;p31">
                <a:extLst>
                  <a:ext uri="{FF2B5EF4-FFF2-40B4-BE49-F238E27FC236}">
                    <a16:creationId xmlns:a16="http://schemas.microsoft.com/office/drawing/2014/main" id="{FF2B5C9C-E72F-4C71-88E6-4D63048E09D3}"/>
                  </a:ext>
                </a:extLst>
              </p:cNvPr>
              <p:cNvSpPr/>
              <p:nvPr/>
            </p:nvSpPr>
            <p:spPr>
              <a:xfrm>
                <a:off x="2804950" y="2677450"/>
                <a:ext cx="502175" cy="1249725"/>
              </a:xfrm>
              <a:custGeom>
                <a:avLst/>
                <a:gdLst/>
                <a:ahLst/>
                <a:cxnLst/>
                <a:rect l="l" t="t" r="r" b="b"/>
                <a:pathLst>
                  <a:path w="20087" h="49989" extrusionOk="0">
                    <a:moveTo>
                      <a:pt x="18991" y="1"/>
                    </a:moveTo>
                    <a:cubicBezTo>
                      <a:pt x="17622" y="7680"/>
                      <a:pt x="13716" y="17908"/>
                      <a:pt x="3584" y="28052"/>
                    </a:cubicBezTo>
                    <a:cubicBezTo>
                      <a:pt x="3453" y="28790"/>
                      <a:pt x="3310" y="29540"/>
                      <a:pt x="3179" y="30302"/>
                    </a:cubicBezTo>
                    <a:cubicBezTo>
                      <a:pt x="1262" y="40875"/>
                      <a:pt x="0" y="48673"/>
                      <a:pt x="2858" y="49792"/>
                    </a:cubicBezTo>
                    <a:cubicBezTo>
                      <a:pt x="3188" y="49920"/>
                      <a:pt x="3526" y="49989"/>
                      <a:pt x="3875" y="49989"/>
                    </a:cubicBezTo>
                    <a:cubicBezTo>
                      <a:pt x="6549" y="49989"/>
                      <a:pt x="9840" y="45958"/>
                      <a:pt x="14621" y="33636"/>
                    </a:cubicBezTo>
                    <a:cubicBezTo>
                      <a:pt x="18586" y="23408"/>
                      <a:pt x="20086" y="13586"/>
                      <a:pt x="20086" y="9228"/>
                    </a:cubicBezTo>
                    <a:cubicBezTo>
                      <a:pt x="20086" y="7180"/>
                      <a:pt x="19753" y="3930"/>
                      <a:pt x="18991" y="1"/>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grpSp>
        <p:sp>
          <p:nvSpPr>
            <p:cNvPr id="30" name="Google Shape;1087;p31">
              <a:extLst>
                <a:ext uri="{FF2B5EF4-FFF2-40B4-BE49-F238E27FC236}">
                  <a16:creationId xmlns:a16="http://schemas.microsoft.com/office/drawing/2014/main" id="{811644FF-F1D3-4EEE-BBC6-31D6041C1133}"/>
                </a:ext>
              </a:extLst>
            </p:cNvPr>
            <p:cNvSpPr txBox="1"/>
            <p:nvPr/>
          </p:nvSpPr>
          <p:spPr>
            <a:xfrm>
              <a:off x="3050575" y="1894950"/>
              <a:ext cx="964200" cy="597300"/>
            </a:xfrm>
            <a:prstGeom prst="rect">
              <a:avLst/>
            </a:prstGeom>
            <a:noFill/>
            <a:ln>
              <a:noFill/>
            </a:ln>
          </p:spPr>
          <p:txBody>
            <a:bodyPr spcFirstLastPara="1" wrap="square" lIns="121900" tIns="121900" rIns="121900" bIns="12190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 sz="1600" b="0" i="0" u="none" strike="noStrike" kern="1200" cap="none" spc="0" normalizeH="0" baseline="0" noProof="0">
                  <a:ln>
                    <a:noFill/>
                  </a:ln>
                  <a:solidFill>
                    <a:srgbClr val="434343"/>
                  </a:solidFill>
                  <a:effectLst/>
                  <a:uLnTx/>
                  <a:uFillTx/>
                  <a:latin typeface="Arial"/>
                  <a:ea typeface="+mn-ea"/>
                  <a:cs typeface="+mn-ea"/>
                  <a:sym typeface="+mn-lt"/>
                </a:rPr>
                <a:t>Mercury is the first</a:t>
              </a:r>
              <a:endParaRPr kumimoji="0" sz="1600" b="0" i="0" u="none" strike="noStrike" kern="1200" cap="none" spc="0" normalizeH="0" baseline="0" noProof="0">
                <a:ln>
                  <a:noFill/>
                </a:ln>
                <a:solidFill>
                  <a:srgbClr val="434343"/>
                </a:solidFill>
                <a:effectLst/>
                <a:uLnTx/>
                <a:uFillTx/>
                <a:latin typeface="Arial"/>
                <a:ea typeface="+mn-ea"/>
                <a:cs typeface="+mn-ea"/>
                <a:sym typeface="+mn-lt"/>
              </a:endParaRPr>
            </a:p>
          </p:txBody>
        </p:sp>
        <p:sp>
          <p:nvSpPr>
            <p:cNvPr id="31" name="Google Shape;1088;p31">
              <a:extLst>
                <a:ext uri="{FF2B5EF4-FFF2-40B4-BE49-F238E27FC236}">
                  <a16:creationId xmlns:a16="http://schemas.microsoft.com/office/drawing/2014/main" id="{238DCA44-6A7D-45A1-ADE8-F04200399044}"/>
                </a:ext>
              </a:extLst>
            </p:cNvPr>
            <p:cNvSpPr txBox="1"/>
            <p:nvPr/>
          </p:nvSpPr>
          <p:spPr>
            <a:xfrm>
              <a:off x="3050575" y="2994713"/>
              <a:ext cx="964200" cy="597300"/>
            </a:xfrm>
            <a:prstGeom prst="rect">
              <a:avLst/>
            </a:prstGeom>
            <a:noFill/>
            <a:ln>
              <a:noFill/>
            </a:ln>
          </p:spPr>
          <p:txBody>
            <a:bodyPr spcFirstLastPara="1" wrap="square" lIns="121900" tIns="121900" rIns="121900" bIns="12190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 sz="1600" b="0" i="0" u="none" strike="noStrike" kern="1200" cap="none" spc="0" normalizeH="0" baseline="0" noProof="0">
                  <a:ln>
                    <a:noFill/>
                  </a:ln>
                  <a:solidFill>
                    <a:srgbClr val="434343"/>
                  </a:solidFill>
                  <a:effectLst/>
                  <a:uLnTx/>
                  <a:uFillTx/>
                  <a:latin typeface="Arial"/>
                  <a:ea typeface="+mn-ea"/>
                  <a:cs typeface="+mn-ea"/>
                  <a:sym typeface="+mn-lt"/>
                </a:rPr>
                <a:t>Pluto is icy and small</a:t>
              </a:r>
              <a:endParaRPr kumimoji="0" sz="1600" b="0" i="0" u="none" strike="noStrike" kern="1200" cap="none" spc="0" normalizeH="0" baseline="0" noProof="0">
                <a:ln>
                  <a:noFill/>
                </a:ln>
                <a:solidFill>
                  <a:srgbClr val="434343"/>
                </a:solidFill>
                <a:effectLst/>
                <a:uLnTx/>
                <a:uFillTx/>
                <a:latin typeface="Arial"/>
                <a:ea typeface="+mn-ea"/>
                <a:cs typeface="+mn-ea"/>
                <a:sym typeface="+mn-lt"/>
              </a:endParaRPr>
            </a:p>
          </p:txBody>
        </p:sp>
        <p:sp>
          <p:nvSpPr>
            <p:cNvPr id="32" name="Google Shape;1089;p31">
              <a:extLst>
                <a:ext uri="{FF2B5EF4-FFF2-40B4-BE49-F238E27FC236}">
                  <a16:creationId xmlns:a16="http://schemas.microsoft.com/office/drawing/2014/main" id="{6DEBFA1A-C57F-4B42-842B-3BD875EBA5AF}"/>
                </a:ext>
              </a:extLst>
            </p:cNvPr>
            <p:cNvSpPr txBox="1"/>
            <p:nvPr/>
          </p:nvSpPr>
          <p:spPr>
            <a:xfrm>
              <a:off x="3221875" y="3605063"/>
              <a:ext cx="621600" cy="507000"/>
            </a:xfrm>
            <a:prstGeom prst="rect">
              <a:avLst/>
            </a:prstGeom>
            <a:noFill/>
            <a:ln>
              <a:noFill/>
            </a:ln>
          </p:spPr>
          <p:txBody>
            <a:bodyPr spcFirstLastPara="1" wrap="square" lIns="121900" tIns="121900" rIns="121900" bIns="1219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3333" b="0" i="0" u="none" strike="noStrike" kern="1200" cap="none" spc="0" normalizeH="0" baseline="0" noProof="0">
                  <a:ln>
                    <a:noFill/>
                  </a:ln>
                  <a:solidFill>
                    <a:srgbClr val="DDDDDD"/>
                  </a:solidFill>
                  <a:effectLst/>
                  <a:uLnTx/>
                  <a:uFillTx/>
                  <a:latin typeface="Arial"/>
                  <a:ea typeface="+mn-ea"/>
                  <a:cs typeface="+mn-ea"/>
                  <a:sym typeface="+mn-lt"/>
                </a:rPr>
                <a:t>03</a:t>
              </a:r>
              <a:endParaRPr kumimoji="0" sz="3333" b="0" i="0" u="none" strike="noStrike" kern="1200" cap="none" spc="0" normalizeH="0" baseline="0" noProof="0">
                <a:ln>
                  <a:noFill/>
                </a:ln>
                <a:solidFill>
                  <a:srgbClr val="DDDDDD"/>
                </a:solidFill>
                <a:effectLst/>
                <a:uLnTx/>
                <a:uFillTx/>
                <a:latin typeface="Arial"/>
                <a:ea typeface="+mn-ea"/>
                <a:cs typeface="+mn-ea"/>
                <a:sym typeface="+mn-lt"/>
              </a:endParaRPr>
            </a:p>
          </p:txBody>
        </p:sp>
      </p:grpSp>
      <p:grpSp>
        <p:nvGrpSpPr>
          <p:cNvPr id="35" name="Google Shape;1090;p31">
            <a:extLst>
              <a:ext uri="{FF2B5EF4-FFF2-40B4-BE49-F238E27FC236}">
                <a16:creationId xmlns:a16="http://schemas.microsoft.com/office/drawing/2014/main" id="{9BE93B45-34A0-4D6A-B9FB-7B9E406136F8}"/>
              </a:ext>
            </a:extLst>
          </p:cNvPr>
          <p:cNvGrpSpPr/>
          <p:nvPr/>
        </p:nvGrpSpPr>
        <p:grpSpPr>
          <a:xfrm>
            <a:off x="1105218" y="1825620"/>
            <a:ext cx="2260933" cy="3389900"/>
            <a:chOff x="873250" y="1490238"/>
            <a:chExt cx="1695700" cy="2542425"/>
          </a:xfrm>
        </p:grpSpPr>
        <p:sp>
          <p:nvSpPr>
            <p:cNvPr id="36" name="Google Shape;1091;p31">
              <a:extLst>
                <a:ext uri="{FF2B5EF4-FFF2-40B4-BE49-F238E27FC236}">
                  <a16:creationId xmlns:a16="http://schemas.microsoft.com/office/drawing/2014/main" id="{E953739F-7D18-40C1-B6A7-2B559C49FD31}"/>
                </a:ext>
              </a:extLst>
            </p:cNvPr>
            <p:cNvSpPr/>
            <p:nvPr/>
          </p:nvSpPr>
          <p:spPr>
            <a:xfrm>
              <a:off x="1879238" y="1490238"/>
              <a:ext cx="421200" cy="347075"/>
            </a:xfrm>
            <a:custGeom>
              <a:avLst/>
              <a:gdLst/>
              <a:ahLst/>
              <a:cxnLst/>
              <a:rect l="l" t="t" r="r" b="b"/>
              <a:pathLst>
                <a:path w="16848" h="13883" extrusionOk="0">
                  <a:moveTo>
                    <a:pt x="8418" y="0"/>
                  </a:moveTo>
                  <a:cubicBezTo>
                    <a:pt x="7263" y="0"/>
                    <a:pt x="6322" y="941"/>
                    <a:pt x="6322" y="2096"/>
                  </a:cubicBezTo>
                  <a:cubicBezTo>
                    <a:pt x="6322" y="3251"/>
                    <a:pt x="7263" y="4191"/>
                    <a:pt x="8418" y="4191"/>
                  </a:cubicBezTo>
                  <a:cubicBezTo>
                    <a:pt x="9573" y="4191"/>
                    <a:pt x="10513" y="3251"/>
                    <a:pt x="10513" y="2096"/>
                  </a:cubicBezTo>
                  <a:cubicBezTo>
                    <a:pt x="10513" y="941"/>
                    <a:pt x="9573" y="0"/>
                    <a:pt x="8418" y="0"/>
                  </a:cubicBezTo>
                  <a:close/>
                  <a:moveTo>
                    <a:pt x="4405" y="2834"/>
                  </a:moveTo>
                  <a:cubicBezTo>
                    <a:pt x="3620" y="2834"/>
                    <a:pt x="2977" y="3465"/>
                    <a:pt x="2977" y="4251"/>
                  </a:cubicBezTo>
                  <a:cubicBezTo>
                    <a:pt x="2977" y="5037"/>
                    <a:pt x="3620" y="5668"/>
                    <a:pt x="4405" y="5668"/>
                  </a:cubicBezTo>
                  <a:cubicBezTo>
                    <a:pt x="5179" y="5668"/>
                    <a:pt x="5822" y="5037"/>
                    <a:pt x="5822" y="4251"/>
                  </a:cubicBezTo>
                  <a:cubicBezTo>
                    <a:pt x="5822" y="3465"/>
                    <a:pt x="5179" y="2834"/>
                    <a:pt x="4405" y="2834"/>
                  </a:cubicBezTo>
                  <a:close/>
                  <a:moveTo>
                    <a:pt x="12442" y="2834"/>
                  </a:moveTo>
                  <a:cubicBezTo>
                    <a:pt x="11656" y="2834"/>
                    <a:pt x="11025" y="3465"/>
                    <a:pt x="11025" y="4251"/>
                  </a:cubicBezTo>
                  <a:cubicBezTo>
                    <a:pt x="11025" y="5037"/>
                    <a:pt x="11656" y="5668"/>
                    <a:pt x="12442" y="5668"/>
                  </a:cubicBezTo>
                  <a:cubicBezTo>
                    <a:pt x="13228" y="5668"/>
                    <a:pt x="13859" y="5037"/>
                    <a:pt x="13859" y="4251"/>
                  </a:cubicBezTo>
                  <a:cubicBezTo>
                    <a:pt x="13859" y="3465"/>
                    <a:pt x="13216" y="2834"/>
                    <a:pt x="12442" y="2834"/>
                  </a:cubicBezTo>
                  <a:close/>
                  <a:moveTo>
                    <a:pt x="1572" y="4572"/>
                  </a:moveTo>
                  <a:cubicBezTo>
                    <a:pt x="1036" y="4572"/>
                    <a:pt x="607" y="5001"/>
                    <a:pt x="607" y="5525"/>
                  </a:cubicBezTo>
                  <a:cubicBezTo>
                    <a:pt x="607" y="6049"/>
                    <a:pt x="1036" y="6477"/>
                    <a:pt x="1572" y="6477"/>
                  </a:cubicBezTo>
                  <a:cubicBezTo>
                    <a:pt x="2096" y="6477"/>
                    <a:pt x="2524" y="6049"/>
                    <a:pt x="2524" y="5525"/>
                  </a:cubicBezTo>
                  <a:cubicBezTo>
                    <a:pt x="2524" y="5001"/>
                    <a:pt x="2096" y="4572"/>
                    <a:pt x="1572" y="4572"/>
                  </a:cubicBezTo>
                  <a:close/>
                  <a:moveTo>
                    <a:pt x="15276" y="4572"/>
                  </a:moveTo>
                  <a:cubicBezTo>
                    <a:pt x="14752" y="4572"/>
                    <a:pt x="14323" y="5001"/>
                    <a:pt x="14323" y="5525"/>
                  </a:cubicBezTo>
                  <a:cubicBezTo>
                    <a:pt x="14323" y="6049"/>
                    <a:pt x="14752" y="6477"/>
                    <a:pt x="15276" y="6477"/>
                  </a:cubicBezTo>
                  <a:cubicBezTo>
                    <a:pt x="15800" y="6477"/>
                    <a:pt x="16228" y="6049"/>
                    <a:pt x="16228" y="5525"/>
                  </a:cubicBezTo>
                  <a:cubicBezTo>
                    <a:pt x="16228" y="5001"/>
                    <a:pt x="15800" y="4572"/>
                    <a:pt x="15276" y="4572"/>
                  </a:cubicBezTo>
                  <a:close/>
                  <a:moveTo>
                    <a:pt x="1572" y="7013"/>
                  </a:moveTo>
                  <a:cubicBezTo>
                    <a:pt x="703" y="7013"/>
                    <a:pt x="0" y="7715"/>
                    <a:pt x="0" y="8585"/>
                  </a:cubicBezTo>
                  <a:lnTo>
                    <a:pt x="0" y="11466"/>
                  </a:lnTo>
                  <a:lnTo>
                    <a:pt x="1619" y="11466"/>
                  </a:lnTo>
                  <a:lnTo>
                    <a:pt x="1619" y="8489"/>
                  </a:lnTo>
                  <a:cubicBezTo>
                    <a:pt x="1619" y="7977"/>
                    <a:pt x="1762" y="7501"/>
                    <a:pt x="2012" y="7084"/>
                  </a:cubicBezTo>
                  <a:cubicBezTo>
                    <a:pt x="1869" y="7049"/>
                    <a:pt x="1727" y="7013"/>
                    <a:pt x="1572" y="7013"/>
                  </a:cubicBezTo>
                  <a:close/>
                  <a:moveTo>
                    <a:pt x="15276" y="7013"/>
                  </a:moveTo>
                  <a:cubicBezTo>
                    <a:pt x="15121" y="7013"/>
                    <a:pt x="14978" y="7049"/>
                    <a:pt x="14835" y="7084"/>
                  </a:cubicBezTo>
                  <a:cubicBezTo>
                    <a:pt x="15073" y="7501"/>
                    <a:pt x="15228" y="7977"/>
                    <a:pt x="15228" y="8489"/>
                  </a:cubicBezTo>
                  <a:lnTo>
                    <a:pt x="15228" y="11466"/>
                  </a:lnTo>
                  <a:lnTo>
                    <a:pt x="16848" y="11466"/>
                  </a:lnTo>
                  <a:lnTo>
                    <a:pt x="16848" y="8585"/>
                  </a:lnTo>
                  <a:cubicBezTo>
                    <a:pt x="16848" y="7715"/>
                    <a:pt x="16133" y="7013"/>
                    <a:pt x="15276" y="7013"/>
                  </a:cubicBezTo>
                  <a:close/>
                  <a:moveTo>
                    <a:pt x="4405" y="6215"/>
                  </a:moveTo>
                  <a:cubicBezTo>
                    <a:pt x="3155" y="6215"/>
                    <a:pt x="2131" y="7239"/>
                    <a:pt x="2131" y="8489"/>
                  </a:cubicBezTo>
                  <a:lnTo>
                    <a:pt x="2131" y="12573"/>
                  </a:lnTo>
                  <a:lnTo>
                    <a:pt x="4608" y="12573"/>
                  </a:lnTo>
                  <a:lnTo>
                    <a:pt x="4608" y="8037"/>
                  </a:lnTo>
                  <a:cubicBezTo>
                    <a:pt x="4608" y="7418"/>
                    <a:pt x="4775" y="6846"/>
                    <a:pt x="5037" y="6322"/>
                  </a:cubicBezTo>
                  <a:cubicBezTo>
                    <a:pt x="4834" y="6263"/>
                    <a:pt x="4632" y="6215"/>
                    <a:pt x="4405" y="6215"/>
                  </a:cubicBezTo>
                  <a:close/>
                  <a:moveTo>
                    <a:pt x="12442" y="6215"/>
                  </a:moveTo>
                  <a:cubicBezTo>
                    <a:pt x="12216" y="6215"/>
                    <a:pt x="12002" y="6263"/>
                    <a:pt x="11799" y="6322"/>
                  </a:cubicBezTo>
                  <a:cubicBezTo>
                    <a:pt x="12061" y="6846"/>
                    <a:pt x="12228" y="7418"/>
                    <a:pt x="12228" y="8049"/>
                  </a:cubicBezTo>
                  <a:lnTo>
                    <a:pt x="12228" y="12573"/>
                  </a:lnTo>
                  <a:lnTo>
                    <a:pt x="14704" y="12573"/>
                  </a:lnTo>
                  <a:lnTo>
                    <a:pt x="14704" y="8489"/>
                  </a:lnTo>
                  <a:cubicBezTo>
                    <a:pt x="14704" y="7239"/>
                    <a:pt x="13692" y="6215"/>
                    <a:pt x="12442" y="6215"/>
                  </a:cubicBezTo>
                  <a:close/>
                  <a:moveTo>
                    <a:pt x="8418" y="4751"/>
                  </a:moveTo>
                  <a:cubicBezTo>
                    <a:pt x="6608" y="4751"/>
                    <a:pt x="5132" y="6227"/>
                    <a:pt x="5132" y="8049"/>
                  </a:cubicBezTo>
                  <a:lnTo>
                    <a:pt x="5132" y="13883"/>
                  </a:lnTo>
                  <a:lnTo>
                    <a:pt x="11704" y="13883"/>
                  </a:lnTo>
                  <a:lnTo>
                    <a:pt x="11704" y="8049"/>
                  </a:lnTo>
                  <a:cubicBezTo>
                    <a:pt x="11704" y="6227"/>
                    <a:pt x="10228" y="4751"/>
                    <a:pt x="8418" y="4751"/>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grpSp>
          <p:nvGrpSpPr>
            <p:cNvPr id="37" name="Google Shape;1092;p31">
              <a:extLst>
                <a:ext uri="{FF2B5EF4-FFF2-40B4-BE49-F238E27FC236}">
                  <a16:creationId xmlns:a16="http://schemas.microsoft.com/office/drawing/2014/main" id="{918780F3-89A6-454D-9231-651878D2BD2D}"/>
                </a:ext>
              </a:extLst>
            </p:cNvPr>
            <p:cNvGrpSpPr/>
            <p:nvPr/>
          </p:nvGrpSpPr>
          <p:grpSpPr>
            <a:xfrm>
              <a:off x="873250" y="2069713"/>
              <a:ext cx="662600" cy="1377375"/>
              <a:chOff x="1490200" y="2219600"/>
              <a:chExt cx="662600" cy="1377375"/>
            </a:xfrm>
          </p:grpSpPr>
          <p:sp>
            <p:nvSpPr>
              <p:cNvPr id="41" name="Google Shape;1093;p31">
                <a:extLst>
                  <a:ext uri="{FF2B5EF4-FFF2-40B4-BE49-F238E27FC236}">
                    <a16:creationId xmlns:a16="http://schemas.microsoft.com/office/drawing/2014/main" id="{4121B294-4649-433B-9402-AD9CB9A6ECD9}"/>
                  </a:ext>
                </a:extLst>
              </p:cNvPr>
              <p:cNvSpPr/>
              <p:nvPr/>
            </p:nvSpPr>
            <p:spPr>
              <a:xfrm>
                <a:off x="1490200" y="2219600"/>
                <a:ext cx="662600" cy="1377375"/>
              </a:xfrm>
              <a:custGeom>
                <a:avLst/>
                <a:gdLst/>
                <a:ahLst/>
                <a:cxnLst/>
                <a:rect l="l" t="t" r="r" b="b"/>
                <a:pathLst>
                  <a:path w="26504" h="55095" extrusionOk="0">
                    <a:moveTo>
                      <a:pt x="5121" y="0"/>
                    </a:moveTo>
                    <a:cubicBezTo>
                      <a:pt x="4659" y="0"/>
                      <a:pt x="4211" y="47"/>
                      <a:pt x="3775" y="134"/>
                    </a:cubicBezTo>
                    <a:cubicBezTo>
                      <a:pt x="0" y="884"/>
                      <a:pt x="1679" y="6158"/>
                      <a:pt x="4191" y="13302"/>
                    </a:cubicBezTo>
                    <a:cubicBezTo>
                      <a:pt x="6120" y="18791"/>
                      <a:pt x="8049" y="23339"/>
                      <a:pt x="8049" y="27542"/>
                    </a:cubicBezTo>
                    <a:cubicBezTo>
                      <a:pt x="8049" y="31757"/>
                      <a:pt x="6120" y="36293"/>
                      <a:pt x="4191" y="41782"/>
                    </a:cubicBezTo>
                    <a:cubicBezTo>
                      <a:pt x="1679" y="48937"/>
                      <a:pt x="0" y="54200"/>
                      <a:pt x="3775" y="54962"/>
                    </a:cubicBezTo>
                    <a:cubicBezTo>
                      <a:pt x="4210" y="55049"/>
                      <a:pt x="4657" y="55095"/>
                      <a:pt x="5117" y="55095"/>
                    </a:cubicBezTo>
                    <a:cubicBezTo>
                      <a:pt x="8648" y="55095"/>
                      <a:pt x="12990" y="52365"/>
                      <a:pt x="19288" y="44044"/>
                    </a:cubicBezTo>
                    <a:cubicBezTo>
                      <a:pt x="24539" y="37126"/>
                      <a:pt x="26504" y="30483"/>
                      <a:pt x="26504" y="27542"/>
                    </a:cubicBezTo>
                    <a:cubicBezTo>
                      <a:pt x="26504" y="24601"/>
                      <a:pt x="24539" y="17969"/>
                      <a:pt x="19288" y="11052"/>
                    </a:cubicBezTo>
                    <a:cubicBezTo>
                      <a:pt x="12992" y="2724"/>
                      <a:pt x="8651" y="0"/>
                      <a:pt x="5121" y="0"/>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42" name="Google Shape;1094;p31">
                <a:extLst>
                  <a:ext uri="{FF2B5EF4-FFF2-40B4-BE49-F238E27FC236}">
                    <a16:creationId xmlns:a16="http://schemas.microsoft.com/office/drawing/2014/main" id="{E08DE064-0A69-4D12-9E2B-B19BE0DF82BF}"/>
                  </a:ext>
                </a:extLst>
              </p:cNvPr>
              <p:cNvSpPr/>
              <p:nvPr/>
            </p:nvSpPr>
            <p:spPr>
              <a:xfrm>
                <a:off x="1500900" y="2868550"/>
                <a:ext cx="651900" cy="728425"/>
              </a:xfrm>
              <a:custGeom>
                <a:avLst/>
                <a:gdLst/>
                <a:ahLst/>
                <a:cxnLst/>
                <a:rect l="l" t="t" r="r" b="b"/>
                <a:pathLst>
                  <a:path w="26076" h="29137" extrusionOk="0">
                    <a:moveTo>
                      <a:pt x="25933" y="0"/>
                    </a:moveTo>
                    <a:cubicBezTo>
                      <a:pt x="21373" y="10371"/>
                      <a:pt x="9895" y="15752"/>
                      <a:pt x="2966" y="18145"/>
                    </a:cubicBezTo>
                    <a:cubicBezTo>
                      <a:pt x="942" y="24099"/>
                      <a:pt x="1" y="28325"/>
                      <a:pt x="3347" y="29004"/>
                    </a:cubicBezTo>
                    <a:cubicBezTo>
                      <a:pt x="3782" y="29091"/>
                      <a:pt x="4229" y="29137"/>
                      <a:pt x="4689" y="29137"/>
                    </a:cubicBezTo>
                    <a:cubicBezTo>
                      <a:pt x="8220" y="29137"/>
                      <a:pt x="12562" y="26407"/>
                      <a:pt x="18860" y="18086"/>
                    </a:cubicBezTo>
                    <a:cubicBezTo>
                      <a:pt x="24111" y="11168"/>
                      <a:pt x="26076" y="4525"/>
                      <a:pt x="26076" y="1584"/>
                    </a:cubicBezTo>
                    <a:cubicBezTo>
                      <a:pt x="26076" y="1143"/>
                      <a:pt x="26028" y="608"/>
                      <a:pt x="25933" y="0"/>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grpSp>
        <p:sp>
          <p:nvSpPr>
            <p:cNvPr id="38" name="Google Shape;1095;p31">
              <a:extLst>
                <a:ext uri="{FF2B5EF4-FFF2-40B4-BE49-F238E27FC236}">
                  <a16:creationId xmlns:a16="http://schemas.microsoft.com/office/drawing/2014/main" id="{399B028F-49D5-45C5-81DC-88D677548CE8}"/>
                </a:ext>
              </a:extLst>
            </p:cNvPr>
            <p:cNvSpPr txBox="1"/>
            <p:nvPr/>
          </p:nvSpPr>
          <p:spPr>
            <a:xfrm>
              <a:off x="1604750" y="1971150"/>
              <a:ext cx="964200" cy="597300"/>
            </a:xfrm>
            <a:prstGeom prst="rect">
              <a:avLst/>
            </a:prstGeom>
            <a:noFill/>
            <a:ln>
              <a:noFill/>
            </a:ln>
          </p:spPr>
          <p:txBody>
            <a:bodyPr spcFirstLastPara="1" wrap="square" lIns="121900" tIns="121900" rIns="121900" bIns="12190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 sz="1600" b="0" i="0" u="none" strike="noStrike" kern="1200" cap="none" spc="0" normalizeH="0" baseline="0" noProof="0">
                  <a:ln>
                    <a:noFill/>
                  </a:ln>
                  <a:solidFill>
                    <a:srgbClr val="434343"/>
                  </a:solidFill>
                  <a:effectLst/>
                  <a:uLnTx/>
                  <a:uFillTx/>
                  <a:latin typeface="Arial"/>
                  <a:ea typeface="+mn-ea"/>
                  <a:cs typeface="+mn-ea"/>
                  <a:sym typeface="+mn-lt"/>
                </a:rPr>
                <a:t>Venus is terribly hot</a:t>
              </a:r>
              <a:endParaRPr kumimoji="0" sz="1600" b="0" i="0" u="none" strike="noStrike" kern="1200" cap="none" spc="0" normalizeH="0" baseline="0" noProof="0">
                <a:ln>
                  <a:noFill/>
                </a:ln>
                <a:solidFill>
                  <a:srgbClr val="434343"/>
                </a:solidFill>
                <a:effectLst/>
                <a:uLnTx/>
                <a:uFillTx/>
                <a:latin typeface="Arial"/>
                <a:ea typeface="+mn-ea"/>
                <a:cs typeface="+mn-ea"/>
                <a:sym typeface="+mn-lt"/>
              </a:endParaRPr>
            </a:p>
          </p:txBody>
        </p:sp>
        <p:sp>
          <p:nvSpPr>
            <p:cNvPr id="39" name="Google Shape;1096;p31">
              <a:extLst>
                <a:ext uri="{FF2B5EF4-FFF2-40B4-BE49-F238E27FC236}">
                  <a16:creationId xmlns:a16="http://schemas.microsoft.com/office/drawing/2014/main" id="{A57BE2EB-ACD7-4A44-81AF-795DD0285CB8}"/>
                </a:ext>
              </a:extLst>
            </p:cNvPr>
            <p:cNvSpPr txBox="1"/>
            <p:nvPr/>
          </p:nvSpPr>
          <p:spPr>
            <a:xfrm>
              <a:off x="1604750" y="2913563"/>
              <a:ext cx="964200" cy="597300"/>
            </a:xfrm>
            <a:prstGeom prst="rect">
              <a:avLst/>
            </a:prstGeom>
            <a:noFill/>
            <a:ln>
              <a:noFill/>
            </a:ln>
          </p:spPr>
          <p:txBody>
            <a:bodyPr spcFirstLastPara="1" wrap="square" lIns="121900" tIns="121900" rIns="121900" bIns="12190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 sz="1600" b="0" i="0" u="none" strike="noStrike" kern="1200" cap="none" spc="0" normalizeH="0" baseline="0" noProof="0">
                  <a:ln>
                    <a:noFill/>
                  </a:ln>
                  <a:solidFill>
                    <a:srgbClr val="434343"/>
                  </a:solidFill>
                  <a:effectLst/>
                  <a:uLnTx/>
                  <a:uFillTx/>
                  <a:latin typeface="Arial"/>
                  <a:ea typeface="+mn-ea"/>
                  <a:cs typeface="+mn-ea"/>
                  <a:sym typeface="+mn-lt"/>
                </a:rPr>
                <a:t>Jupiter is a gas giant</a:t>
              </a:r>
              <a:endParaRPr kumimoji="0" sz="1600" b="0" i="0" u="none" strike="noStrike" kern="1200" cap="none" spc="0" normalizeH="0" baseline="0" noProof="0">
                <a:ln>
                  <a:noFill/>
                </a:ln>
                <a:solidFill>
                  <a:srgbClr val="434343"/>
                </a:solidFill>
                <a:effectLst/>
                <a:uLnTx/>
                <a:uFillTx/>
                <a:latin typeface="Arial"/>
                <a:ea typeface="+mn-ea"/>
                <a:cs typeface="+mn-ea"/>
                <a:sym typeface="+mn-lt"/>
              </a:endParaRPr>
            </a:p>
          </p:txBody>
        </p:sp>
        <p:sp>
          <p:nvSpPr>
            <p:cNvPr id="40" name="Google Shape;1097;p31">
              <a:extLst>
                <a:ext uri="{FF2B5EF4-FFF2-40B4-BE49-F238E27FC236}">
                  <a16:creationId xmlns:a16="http://schemas.microsoft.com/office/drawing/2014/main" id="{0A67673C-BB58-46E9-B450-31B746234675}"/>
                </a:ext>
              </a:extLst>
            </p:cNvPr>
            <p:cNvSpPr txBox="1"/>
            <p:nvPr/>
          </p:nvSpPr>
          <p:spPr>
            <a:xfrm>
              <a:off x="1776050" y="3525663"/>
              <a:ext cx="621600" cy="507000"/>
            </a:xfrm>
            <a:prstGeom prst="rect">
              <a:avLst/>
            </a:prstGeom>
            <a:noFill/>
            <a:ln>
              <a:noFill/>
            </a:ln>
          </p:spPr>
          <p:txBody>
            <a:bodyPr spcFirstLastPara="1" wrap="square" lIns="121900" tIns="121900" rIns="121900" bIns="1219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3333" b="0" i="0" u="none" strike="noStrike" kern="1200" cap="none" spc="0" normalizeH="0" baseline="0" noProof="0">
                  <a:ln>
                    <a:noFill/>
                  </a:ln>
                  <a:solidFill>
                    <a:srgbClr val="B2B2B2"/>
                  </a:solidFill>
                  <a:effectLst/>
                  <a:uLnTx/>
                  <a:uFillTx/>
                  <a:latin typeface="Arial"/>
                  <a:ea typeface="+mn-ea"/>
                  <a:cs typeface="+mn-ea"/>
                  <a:sym typeface="+mn-lt"/>
                </a:rPr>
                <a:t>04</a:t>
              </a:r>
              <a:endParaRPr kumimoji="0" sz="3333" b="0" i="0" u="none" strike="noStrike" kern="1200" cap="none" spc="0" normalizeH="0" baseline="0" noProof="0">
                <a:ln>
                  <a:noFill/>
                </a:ln>
                <a:solidFill>
                  <a:srgbClr val="B2B2B2"/>
                </a:solidFill>
                <a:effectLst/>
                <a:uLnTx/>
                <a:uFillTx/>
                <a:latin typeface="Arial"/>
                <a:ea typeface="+mn-ea"/>
                <a:cs typeface="+mn-ea"/>
                <a:sym typeface="+mn-lt"/>
              </a:endParaRPr>
            </a:p>
          </p:txBody>
        </p:sp>
      </p:grpSp>
    </p:spTree>
    <p:extLst>
      <p:ext uri="{BB962C8B-B14F-4D97-AF65-F5344CB8AC3E}">
        <p14:creationId xmlns:p14="http://schemas.microsoft.com/office/powerpoint/2010/main" val="921628047"/>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7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oogle Shape;1102;p32">
            <a:extLst>
              <a:ext uri="{FF2B5EF4-FFF2-40B4-BE49-F238E27FC236}">
                <a16:creationId xmlns:a16="http://schemas.microsoft.com/office/drawing/2014/main" id="{B5BD912F-2B8C-41E7-AC06-CA590342CC52}"/>
              </a:ext>
            </a:extLst>
          </p:cNvPr>
          <p:cNvGrpSpPr/>
          <p:nvPr/>
        </p:nvGrpSpPr>
        <p:grpSpPr>
          <a:xfrm>
            <a:off x="1633394" y="2876228"/>
            <a:ext cx="9343567" cy="1105547"/>
            <a:chOff x="1258663" y="2415922"/>
            <a:chExt cx="7007675" cy="829160"/>
          </a:xfrm>
        </p:grpSpPr>
        <p:sp>
          <p:nvSpPr>
            <p:cNvPr id="3" name="Google Shape;1103;p32">
              <a:extLst>
                <a:ext uri="{FF2B5EF4-FFF2-40B4-BE49-F238E27FC236}">
                  <a16:creationId xmlns:a16="http://schemas.microsoft.com/office/drawing/2014/main" id="{DBFB95D7-B417-43D9-9FD9-0C278E35FCD0}"/>
                </a:ext>
              </a:extLst>
            </p:cNvPr>
            <p:cNvSpPr/>
            <p:nvPr/>
          </p:nvSpPr>
          <p:spPr>
            <a:xfrm>
              <a:off x="6910100" y="2415922"/>
              <a:ext cx="363234" cy="829160"/>
            </a:xfrm>
            <a:custGeom>
              <a:avLst/>
              <a:gdLst/>
              <a:ahLst/>
              <a:cxnLst/>
              <a:rect l="l" t="t" r="r" b="b"/>
              <a:pathLst>
                <a:path w="16133" h="36827" extrusionOk="0">
                  <a:moveTo>
                    <a:pt x="3716" y="0"/>
                  </a:moveTo>
                  <a:cubicBezTo>
                    <a:pt x="1847" y="0"/>
                    <a:pt x="0" y="1389"/>
                    <a:pt x="0" y="3679"/>
                  </a:cubicBezTo>
                  <a:lnTo>
                    <a:pt x="0" y="33147"/>
                  </a:lnTo>
                  <a:cubicBezTo>
                    <a:pt x="0" y="35437"/>
                    <a:pt x="1847" y="36826"/>
                    <a:pt x="3716" y="36826"/>
                  </a:cubicBezTo>
                  <a:cubicBezTo>
                    <a:pt x="4908" y="36826"/>
                    <a:pt x="6109" y="36261"/>
                    <a:pt x="6846" y="35005"/>
                  </a:cubicBezTo>
                  <a:lnTo>
                    <a:pt x="15454" y="20265"/>
                  </a:lnTo>
                  <a:cubicBezTo>
                    <a:pt x="16133" y="19122"/>
                    <a:pt x="16133" y="17705"/>
                    <a:pt x="15454" y="16562"/>
                  </a:cubicBezTo>
                  <a:lnTo>
                    <a:pt x="6846" y="1822"/>
                  </a:lnTo>
                  <a:cubicBezTo>
                    <a:pt x="6109" y="565"/>
                    <a:pt x="4908" y="0"/>
                    <a:pt x="3716" y="0"/>
                  </a:cubicBezTo>
                  <a:close/>
                </a:path>
              </a:pathLst>
            </a:custGeom>
            <a:solidFill>
              <a:schemeClr val="accent1">
                <a:lumMod val="100000"/>
              </a:schemeClr>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000"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4" name="Google Shape;1104;p32">
              <a:extLst>
                <a:ext uri="{FF2B5EF4-FFF2-40B4-BE49-F238E27FC236}">
                  <a16:creationId xmlns:a16="http://schemas.microsoft.com/office/drawing/2014/main" id="{D6F67911-9085-42BF-B90F-F60991C0A5C0}"/>
                </a:ext>
              </a:extLst>
            </p:cNvPr>
            <p:cNvSpPr/>
            <p:nvPr/>
          </p:nvSpPr>
          <p:spPr>
            <a:xfrm>
              <a:off x="1258663" y="2641725"/>
              <a:ext cx="215559" cy="377554"/>
            </a:xfrm>
            <a:custGeom>
              <a:avLst/>
              <a:gdLst/>
              <a:ahLst/>
              <a:cxnLst/>
              <a:rect l="l" t="t" r="r" b="b"/>
              <a:pathLst>
                <a:path w="9574" h="16769" extrusionOk="0">
                  <a:moveTo>
                    <a:pt x="7286" y="0"/>
                  </a:moveTo>
                  <a:cubicBezTo>
                    <a:pt x="6649" y="0"/>
                    <a:pt x="6002" y="266"/>
                    <a:pt x="5525" y="861"/>
                  </a:cubicBezTo>
                  <a:lnTo>
                    <a:pt x="667" y="6969"/>
                  </a:lnTo>
                  <a:cubicBezTo>
                    <a:pt x="1" y="7791"/>
                    <a:pt x="1" y="8970"/>
                    <a:pt x="667" y="9791"/>
                  </a:cubicBezTo>
                  <a:lnTo>
                    <a:pt x="5525" y="15911"/>
                  </a:lnTo>
                  <a:cubicBezTo>
                    <a:pt x="6000" y="16504"/>
                    <a:pt x="6645" y="16768"/>
                    <a:pt x="7279" y="16768"/>
                  </a:cubicBezTo>
                  <a:cubicBezTo>
                    <a:pt x="8442" y="16768"/>
                    <a:pt x="9573" y="15880"/>
                    <a:pt x="9573" y="14494"/>
                  </a:cubicBezTo>
                  <a:lnTo>
                    <a:pt x="9573" y="2266"/>
                  </a:lnTo>
                  <a:cubicBezTo>
                    <a:pt x="9573" y="883"/>
                    <a:pt x="8447" y="0"/>
                    <a:pt x="7286" y="0"/>
                  </a:cubicBezTo>
                  <a:close/>
                </a:path>
              </a:pathLst>
            </a:custGeom>
            <a:solidFill>
              <a:schemeClr val="accent1">
                <a:lumMod val="100000"/>
              </a:schemeClr>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000" b="0" i="0" u="none" strike="noStrike" kern="1200" cap="none" spc="0" normalizeH="0" baseline="0" noProof="0">
                <a:ln>
                  <a:noFill/>
                </a:ln>
                <a:solidFill>
                  <a:srgbClr val="000000"/>
                </a:solidFill>
                <a:effectLst/>
                <a:uLnTx/>
                <a:uFillTx/>
                <a:latin typeface="Arial"/>
                <a:ea typeface="+mn-ea"/>
                <a:cs typeface="+mn-ea"/>
                <a:sym typeface="+mn-lt"/>
              </a:endParaRPr>
            </a:p>
          </p:txBody>
        </p:sp>
        <p:cxnSp>
          <p:nvCxnSpPr>
            <p:cNvPr id="5" name="Google Shape;1105;p32">
              <a:extLst>
                <a:ext uri="{FF2B5EF4-FFF2-40B4-BE49-F238E27FC236}">
                  <a16:creationId xmlns:a16="http://schemas.microsoft.com/office/drawing/2014/main" id="{DAD5FF74-2767-4418-9181-DFA0B7D61ABB}"/>
                </a:ext>
              </a:extLst>
            </p:cNvPr>
            <p:cNvCxnSpPr/>
            <p:nvPr/>
          </p:nvCxnSpPr>
          <p:spPr>
            <a:xfrm>
              <a:off x="1452907" y="2830502"/>
              <a:ext cx="5682300" cy="0"/>
            </a:xfrm>
            <a:prstGeom prst="straightConnector1">
              <a:avLst/>
            </a:prstGeom>
            <a:noFill/>
            <a:ln w="38100" cap="flat" cmpd="sng">
              <a:solidFill>
                <a:schemeClr val="accent1">
                  <a:lumMod val="100000"/>
                </a:schemeClr>
              </a:solidFill>
              <a:prstDash val="solid"/>
              <a:round/>
              <a:headEnd type="none" w="med" len="med"/>
              <a:tailEnd type="none" w="med" len="med"/>
            </a:ln>
          </p:spPr>
        </p:cxnSp>
        <p:sp>
          <p:nvSpPr>
            <p:cNvPr id="6" name="Google Shape;1106;p32">
              <a:extLst>
                <a:ext uri="{FF2B5EF4-FFF2-40B4-BE49-F238E27FC236}">
                  <a16:creationId xmlns:a16="http://schemas.microsoft.com/office/drawing/2014/main" id="{5C92B133-CA17-4CBF-8B11-1164BA6E1F20}"/>
                </a:ext>
              </a:extLst>
            </p:cNvPr>
            <p:cNvSpPr txBox="1"/>
            <p:nvPr/>
          </p:nvSpPr>
          <p:spPr>
            <a:xfrm>
              <a:off x="7349538" y="2656500"/>
              <a:ext cx="916800" cy="348000"/>
            </a:xfrm>
            <a:prstGeom prst="rect">
              <a:avLst/>
            </a:prstGeom>
            <a:no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 sz="1800" b="0" i="0" u="none" strike="noStrike" kern="1200" cap="none" spc="0" normalizeH="0" baseline="0" noProof="0">
                  <a:ln>
                    <a:noFill/>
                  </a:ln>
                  <a:solidFill>
                    <a:srgbClr val="434343"/>
                  </a:solidFill>
                  <a:effectLst/>
                  <a:uLnTx/>
                  <a:uFillTx/>
                  <a:latin typeface="Arial"/>
                  <a:ea typeface="+mn-ea"/>
                  <a:cs typeface="+mn-ea"/>
                  <a:sym typeface="+mn-lt"/>
                </a:rPr>
                <a:t>Neptune</a:t>
              </a:r>
              <a:endParaRPr kumimoji="0" sz="1800" b="0" i="0" u="none" strike="noStrike" kern="1200" cap="none" spc="0" normalizeH="0" baseline="0" noProof="0">
                <a:ln>
                  <a:noFill/>
                </a:ln>
                <a:solidFill>
                  <a:srgbClr val="434343"/>
                </a:solidFill>
                <a:effectLst/>
                <a:uLnTx/>
                <a:uFillTx/>
                <a:latin typeface="Arial"/>
                <a:ea typeface="+mn-ea"/>
                <a:cs typeface="+mn-ea"/>
                <a:sym typeface="+mn-lt"/>
              </a:endParaRPr>
            </a:p>
          </p:txBody>
        </p:sp>
      </p:grpSp>
      <p:grpSp>
        <p:nvGrpSpPr>
          <p:cNvPr id="7" name="Google Shape;1108;p32">
            <a:extLst>
              <a:ext uri="{FF2B5EF4-FFF2-40B4-BE49-F238E27FC236}">
                <a16:creationId xmlns:a16="http://schemas.microsoft.com/office/drawing/2014/main" id="{CABC706D-79A9-450E-B2EF-FB0FEB21F3AB}"/>
              </a:ext>
            </a:extLst>
          </p:cNvPr>
          <p:cNvGrpSpPr/>
          <p:nvPr/>
        </p:nvGrpSpPr>
        <p:grpSpPr>
          <a:xfrm>
            <a:off x="1633392" y="2111666"/>
            <a:ext cx="2750713" cy="2634667"/>
            <a:chOff x="1258661" y="1842500"/>
            <a:chExt cx="2063035" cy="1976000"/>
          </a:xfrm>
        </p:grpSpPr>
        <p:sp>
          <p:nvSpPr>
            <p:cNvPr id="8" name="Google Shape;1109;p32">
              <a:extLst>
                <a:ext uri="{FF2B5EF4-FFF2-40B4-BE49-F238E27FC236}">
                  <a16:creationId xmlns:a16="http://schemas.microsoft.com/office/drawing/2014/main" id="{28D801A4-F12D-4962-AB2C-5A3DD32580CB}"/>
                </a:ext>
              </a:extLst>
            </p:cNvPr>
            <p:cNvSpPr/>
            <p:nvPr/>
          </p:nvSpPr>
          <p:spPr>
            <a:xfrm rot="10800000" flipH="1">
              <a:off x="2205518" y="2822817"/>
              <a:ext cx="916833" cy="866039"/>
            </a:xfrm>
            <a:custGeom>
              <a:avLst/>
              <a:gdLst/>
              <a:ahLst/>
              <a:cxnLst/>
              <a:rect l="l" t="t" r="r" b="b"/>
              <a:pathLst>
                <a:path w="40721" h="38465" extrusionOk="0">
                  <a:moveTo>
                    <a:pt x="40721" y="38465"/>
                  </a:moveTo>
                  <a:lnTo>
                    <a:pt x="24649" y="0"/>
                  </a:lnTo>
                  <a:lnTo>
                    <a:pt x="0" y="0"/>
                  </a:lnTo>
                </a:path>
              </a:pathLst>
            </a:custGeom>
            <a:noFill/>
            <a:ln w="28575" cap="flat" cmpd="sng">
              <a:solidFill>
                <a:schemeClr val="lt2"/>
              </a:solidFill>
              <a:prstDash val="solid"/>
              <a:round/>
              <a:headEnd type="none" w="med" len="med"/>
              <a:tailEnd type="none" w="med" len="me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400"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9" name="Google Shape;1110;p32">
              <a:extLst>
                <a:ext uri="{FF2B5EF4-FFF2-40B4-BE49-F238E27FC236}">
                  <a16:creationId xmlns:a16="http://schemas.microsoft.com/office/drawing/2014/main" id="{7EE79182-C26E-4CD1-85FD-0A328D5C0FD6}"/>
                </a:ext>
              </a:extLst>
            </p:cNvPr>
            <p:cNvSpPr/>
            <p:nvPr/>
          </p:nvSpPr>
          <p:spPr>
            <a:xfrm>
              <a:off x="2205518" y="1969119"/>
              <a:ext cx="916833" cy="866039"/>
            </a:xfrm>
            <a:custGeom>
              <a:avLst/>
              <a:gdLst/>
              <a:ahLst/>
              <a:cxnLst/>
              <a:rect l="l" t="t" r="r" b="b"/>
              <a:pathLst>
                <a:path w="40721" h="38465" extrusionOk="0">
                  <a:moveTo>
                    <a:pt x="40721" y="38465"/>
                  </a:moveTo>
                  <a:lnTo>
                    <a:pt x="24649" y="0"/>
                  </a:lnTo>
                  <a:lnTo>
                    <a:pt x="0" y="0"/>
                  </a:lnTo>
                </a:path>
              </a:pathLst>
            </a:custGeom>
            <a:noFill/>
            <a:ln w="28575" cap="flat" cmpd="sng">
              <a:solidFill>
                <a:srgbClr val="E6E6E6"/>
              </a:solidFill>
              <a:prstDash val="solid"/>
              <a:round/>
              <a:headEnd type="none" w="med" len="med"/>
              <a:tailEnd type="none" w="med" len="me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400"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10" name="Google Shape;1111;p32">
              <a:extLst>
                <a:ext uri="{FF2B5EF4-FFF2-40B4-BE49-F238E27FC236}">
                  <a16:creationId xmlns:a16="http://schemas.microsoft.com/office/drawing/2014/main" id="{575BB5D6-F98E-4C54-A523-E79617D7A9AB}"/>
                </a:ext>
              </a:extLst>
            </p:cNvPr>
            <p:cNvSpPr/>
            <p:nvPr/>
          </p:nvSpPr>
          <p:spPr>
            <a:xfrm>
              <a:off x="2872625" y="2605956"/>
              <a:ext cx="449071" cy="449092"/>
            </a:xfrm>
            <a:custGeom>
              <a:avLst/>
              <a:gdLst/>
              <a:ahLst/>
              <a:cxnLst/>
              <a:rect l="l" t="t" r="r" b="b"/>
              <a:pathLst>
                <a:path w="21098" h="21099" extrusionOk="0">
                  <a:moveTo>
                    <a:pt x="10549" y="1"/>
                  </a:moveTo>
                  <a:cubicBezTo>
                    <a:pt x="4715" y="1"/>
                    <a:pt x="0" y="4728"/>
                    <a:pt x="0" y="10550"/>
                  </a:cubicBezTo>
                  <a:cubicBezTo>
                    <a:pt x="0" y="16372"/>
                    <a:pt x="4715" y="21099"/>
                    <a:pt x="10549" y="21099"/>
                  </a:cubicBezTo>
                  <a:cubicBezTo>
                    <a:pt x="16371" y="21099"/>
                    <a:pt x="21098" y="16372"/>
                    <a:pt x="21098" y="10550"/>
                  </a:cubicBezTo>
                  <a:cubicBezTo>
                    <a:pt x="21098" y="4728"/>
                    <a:pt x="16371" y="1"/>
                    <a:pt x="10549" y="1"/>
                  </a:cubicBezTo>
                  <a:close/>
                </a:path>
              </a:pathLst>
            </a:custGeom>
            <a:solidFill>
              <a:schemeClr val="accent1">
                <a:lumMod val="100000"/>
              </a:schemeClr>
            </a:solidFill>
            <a:ln>
              <a:noFill/>
            </a:ln>
          </p:spPr>
          <p:txBody>
            <a:bodyPr spcFirstLastPara="1" wrap="square" lIns="121900" tIns="121900" rIns="121900" bIns="1219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2000" b="0" i="0" u="none" strike="noStrike" kern="1200" cap="none" spc="0" normalizeH="0" baseline="0" noProof="0">
                  <a:ln>
                    <a:noFill/>
                  </a:ln>
                  <a:solidFill>
                    <a:srgbClr val="FFFFFF"/>
                  </a:solidFill>
                  <a:effectLst/>
                  <a:uLnTx/>
                  <a:uFillTx/>
                  <a:latin typeface="Arial"/>
                  <a:ea typeface="+mn-ea"/>
                  <a:cs typeface="+mn-ea"/>
                  <a:sym typeface="+mn-lt"/>
                </a:rPr>
                <a:t>03</a:t>
              </a:r>
              <a:endParaRPr kumimoji="0" sz="2000" b="0" i="0" u="none" strike="noStrike" kern="1200" cap="none" spc="0" normalizeH="0" baseline="0" noProof="0">
                <a:ln>
                  <a:noFill/>
                </a:ln>
                <a:solidFill>
                  <a:srgbClr val="FFFFFF"/>
                </a:solidFill>
                <a:effectLst/>
                <a:uLnTx/>
                <a:uFillTx/>
                <a:latin typeface="Arial"/>
                <a:ea typeface="+mn-ea"/>
                <a:cs typeface="+mn-ea"/>
                <a:sym typeface="+mn-lt"/>
              </a:endParaRPr>
            </a:p>
          </p:txBody>
        </p:sp>
        <p:sp>
          <p:nvSpPr>
            <p:cNvPr id="11" name="Google Shape;1112;p32">
              <a:extLst>
                <a:ext uri="{FF2B5EF4-FFF2-40B4-BE49-F238E27FC236}">
                  <a16:creationId xmlns:a16="http://schemas.microsoft.com/office/drawing/2014/main" id="{6DC6D077-7870-4D08-A814-4EB7BDFA2A2A}"/>
                </a:ext>
              </a:extLst>
            </p:cNvPr>
            <p:cNvSpPr/>
            <p:nvPr/>
          </p:nvSpPr>
          <p:spPr>
            <a:xfrm>
              <a:off x="2876486" y="2307851"/>
              <a:ext cx="104560" cy="104560"/>
            </a:xfrm>
            <a:custGeom>
              <a:avLst/>
              <a:gdLst/>
              <a:ahLst/>
              <a:cxnLst/>
              <a:rect l="l" t="t" r="r" b="b"/>
              <a:pathLst>
                <a:path w="4644" h="4644" extrusionOk="0">
                  <a:moveTo>
                    <a:pt x="2322" y="0"/>
                  </a:moveTo>
                  <a:cubicBezTo>
                    <a:pt x="1036" y="0"/>
                    <a:pt x="0" y="1036"/>
                    <a:pt x="0" y="2322"/>
                  </a:cubicBezTo>
                  <a:cubicBezTo>
                    <a:pt x="0" y="3608"/>
                    <a:pt x="1036" y="4644"/>
                    <a:pt x="2322" y="4644"/>
                  </a:cubicBezTo>
                  <a:cubicBezTo>
                    <a:pt x="3608" y="4644"/>
                    <a:pt x="4643" y="3608"/>
                    <a:pt x="4643" y="2322"/>
                  </a:cubicBezTo>
                  <a:cubicBezTo>
                    <a:pt x="4643" y="1036"/>
                    <a:pt x="3608" y="0"/>
                    <a:pt x="2322" y="0"/>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000"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12" name="Google Shape;1113;p32">
              <a:extLst>
                <a:ext uri="{FF2B5EF4-FFF2-40B4-BE49-F238E27FC236}">
                  <a16:creationId xmlns:a16="http://schemas.microsoft.com/office/drawing/2014/main" id="{DD66870D-953B-47D1-9C78-2988DD15D871}"/>
                </a:ext>
              </a:extLst>
            </p:cNvPr>
            <p:cNvSpPr/>
            <p:nvPr/>
          </p:nvSpPr>
          <p:spPr>
            <a:xfrm>
              <a:off x="2887991" y="3220887"/>
              <a:ext cx="104582" cy="104560"/>
            </a:xfrm>
            <a:custGeom>
              <a:avLst/>
              <a:gdLst/>
              <a:ahLst/>
              <a:cxnLst/>
              <a:rect l="l" t="t" r="r" b="b"/>
              <a:pathLst>
                <a:path w="4645" h="4644" extrusionOk="0">
                  <a:moveTo>
                    <a:pt x="2323" y="0"/>
                  </a:moveTo>
                  <a:cubicBezTo>
                    <a:pt x="1037" y="0"/>
                    <a:pt x="1" y="1036"/>
                    <a:pt x="1" y="2322"/>
                  </a:cubicBezTo>
                  <a:cubicBezTo>
                    <a:pt x="1" y="3608"/>
                    <a:pt x="1037" y="4644"/>
                    <a:pt x="2323" y="4644"/>
                  </a:cubicBezTo>
                  <a:cubicBezTo>
                    <a:pt x="3609" y="4644"/>
                    <a:pt x="4644" y="3608"/>
                    <a:pt x="4644" y="2322"/>
                  </a:cubicBezTo>
                  <a:cubicBezTo>
                    <a:pt x="4644" y="1036"/>
                    <a:pt x="3609" y="0"/>
                    <a:pt x="2323" y="0"/>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000"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13" name="Google Shape;1114;p32">
              <a:extLst>
                <a:ext uri="{FF2B5EF4-FFF2-40B4-BE49-F238E27FC236}">
                  <a16:creationId xmlns:a16="http://schemas.microsoft.com/office/drawing/2014/main" id="{031AFF53-56A0-451C-807B-33F49A058528}"/>
                </a:ext>
              </a:extLst>
            </p:cNvPr>
            <p:cNvSpPr txBox="1"/>
            <p:nvPr/>
          </p:nvSpPr>
          <p:spPr>
            <a:xfrm>
              <a:off x="2002610" y="2267600"/>
              <a:ext cx="816600" cy="185100"/>
            </a:xfrm>
            <a:prstGeom prst="rect">
              <a:avLst/>
            </a:prstGeom>
            <a:noFill/>
            <a:ln>
              <a:noFill/>
            </a:ln>
          </p:spPr>
          <p:txBody>
            <a:bodyPr spcFirstLastPara="1" wrap="square" lIns="121900" tIns="121900" rIns="121900" bIns="12190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 sz="1200" b="0" i="0" u="none" strike="noStrike" kern="1200" cap="none" spc="0" normalizeH="0" baseline="0" noProof="0">
                  <a:ln>
                    <a:noFill/>
                  </a:ln>
                  <a:solidFill>
                    <a:srgbClr val="434343"/>
                  </a:solidFill>
                  <a:effectLst/>
                  <a:uLnTx/>
                  <a:uFillTx/>
                  <a:latin typeface="Arial"/>
                  <a:ea typeface="+mn-ea"/>
                  <a:cs typeface="+mn-ea"/>
                  <a:sym typeface="+mn-lt"/>
                </a:rPr>
                <a:t>Venus</a:t>
              </a:r>
              <a:endParaRPr kumimoji="0" sz="1200" b="0" i="0" u="none" strike="noStrike" kern="1200" cap="none" spc="0" normalizeH="0" baseline="0" noProof="0">
                <a:ln>
                  <a:noFill/>
                </a:ln>
                <a:solidFill>
                  <a:srgbClr val="434343"/>
                </a:solidFill>
                <a:effectLst/>
                <a:uLnTx/>
                <a:uFillTx/>
                <a:latin typeface="Arial"/>
                <a:ea typeface="+mn-ea"/>
                <a:cs typeface="+mn-ea"/>
                <a:sym typeface="+mn-lt"/>
              </a:endParaRPr>
            </a:p>
          </p:txBody>
        </p:sp>
        <p:sp>
          <p:nvSpPr>
            <p:cNvPr id="14" name="Google Shape;1115;p32">
              <a:extLst>
                <a:ext uri="{FF2B5EF4-FFF2-40B4-BE49-F238E27FC236}">
                  <a16:creationId xmlns:a16="http://schemas.microsoft.com/office/drawing/2014/main" id="{6C6C285F-D773-4E04-BA9B-5DA59E0E0FB3}"/>
                </a:ext>
              </a:extLst>
            </p:cNvPr>
            <p:cNvSpPr txBox="1"/>
            <p:nvPr/>
          </p:nvSpPr>
          <p:spPr>
            <a:xfrm>
              <a:off x="2002610" y="3180649"/>
              <a:ext cx="816600" cy="185100"/>
            </a:xfrm>
            <a:prstGeom prst="rect">
              <a:avLst/>
            </a:prstGeom>
            <a:noFill/>
            <a:ln>
              <a:noFill/>
            </a:ln>
          </p:spPr>
          <p:txBody>
            <a:bodyPr spcFirstLastPara="1" wrap="square" lIns="121900" tIns="121900" rIns="121900" bIns="12190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 sz="1200" b="0" i="0" u="none" strike="noStrike" kern="1200" cap="none" spc="0" normalizeH="0" baseline="0" noProof="0">
                  <a:ln>
                    <a:noFill/>
                  </a:ln>
                  <a:solidFill>
                    <a:srgbClr val="434343"/>
                  </a:solidFill>
                  <a:effectLst/>
                  <a:uLnTx/>
                  <a:uFillTx/>
                  <a:latin typeface="Arial"/>
                  <a:ea typeface="+mn-ea"/>
                  <a:cs typeface="+mn-ea"/>
                  <a:sym typeface="+mn-lt"/>
                </a:rPr>
                <a:t>Pluto</a:t>
              </a:r>
              <a:endParaRPr kumimoji="0" sz="1200" b="0" i="0" u="none" strike="noStrike" kern="1200" cap="none" spc="0" normalizeH="0" baseline="0" noProof="0">
                <a:ln>
                  <a:noFill/>
                </a:ln>
                <a:solidFill>
                  <a:srgbClr val="434343"/>
                </a:solidFill>
                <a:effectLst/>
                <a:uLnTx/>
                <a:uFillTx/>
                <a:latin typeface="Arial"/>
                <a:ea typeface="+mn-ea"/>
                <a:cs typeface="+mn-ea"/>
                <a:sym typeface="+mn-lt"/>
              </a:endParaRPr>
            </a:p>
          </p:txBody>
        </p:sp>
        <p:sp>
          <p:nvSpPr>
            <p:cNvPr id="15" name="Google Shape;1116;p32">
              <a:extLst>
                <a:ext uri="{FF2B5EF4-FFF2-40B4-BE49-F238E27FC236}">
                  <a16:creationId xmlns:a16="http://schemas.microsoft.com/office/drawing/2014/main" id="{6DD97FB6-18E4-44CC-97BB-A3767713F329}"/>
                </a:ext>
              </a:extLst>
            </p:cNvPr>
            <p:cNvSpPr/>
            <p:nvPr/>
          </p:nvSpPr>
          <p:spPr>
            <a:xfrm>
              <a:off x="1258661" y="1842500"/>
              <a:ext cx="946858" cy="242081"/>
            </a:xfrm>
            <a:custGeom>
              <a:avLst/>
              <a:gdLst/>
              <a:ahLst/>
              <a:cxnLst/>
              <a:rect l="l" t="t" r="r" b="b"/>
              <a:pathLst>
                <a:path w="34779" h="10752" extrusionOk="0">
                  <a:moveTo>
                    <a:pt x="0" y="1"/>
                  </a:moveTo>
                  <a:lnTo>
                    <a:pt x="0" y="10752"/>
                  </a:lnTo>
                  <a:lnTo>
                    <a:pt x="34778" y="10752"/>
                  </a:lnTo>
                  <a:lnTo>
                    <a:pt x="34778" y="1"/>
                  </a:lnTo>
                  <a:close/>
                </a:path>
              </a:pathLst>
            </a:custGeom>
            <a:solidFill>
              <a:schemeClr val="accent1">
                <a:lumMod val="100000"/>
              </a:schemeClr>
            </a:solidFill>
            <a:ln>
              <a:noFill/>
            </a:ln>
          </p:spPr>
          <p:txBody>
            <a:bodyPr spcFirstLastPara="1" wrap="square" lIns="121900" tIns="121900" rIns="121900" bIns="1219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Tx/>
                <a:buNone/>
                <a:tabLst/>
                <a:defRPr/>
              </a:pPr>
              <a:r>
                <a:rPr kumimoji="0" lang="en" sz="2000" b="0" i="0" u="none" strike="noStrike" kern="1200" cap="none" spc="0" normalizeH="0" baseline="0" noProof="0">
                  <a:ln>
                    <a:noFill/>
                  </a:ln>
                  <a:solidFill>
                    <a:srgbClr val="FFFFFF"/>
                  </a:solidFill>
                  <a:effectLst/>
                  <a:uLnTx/>
                  <a:uFillTx/>
                  <a:latin typeface="Arial"/>
                  <a:ea typeface="+mn-ea"/>
                  <a:cs typeface="+mn-ea"/>
                  <a:sym typeface="+mn-lt"/>
                </a:rPr>
                <a:t>Venus</a:t>
              </a:r>
              <a:endParaRPr kumimoji="0" sz="2000"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16" name="Google Shape;1117;p32">
              <a:extLst>
                <a:ext uri="{FF2B5EF4-FFF2-40B4-BE49-F238E27FC236}">
                  <a16:creationId xmlns:a16="http://schemas.microsoft.com/office/drawing/2014/main" id="{1135F17F-3A6E-4D77-B6E2-3BEFED077BF8}"/>
                </a:ext>
              </a:extLst>
            </p:cNvPr>
            <p:cNvSpPr/>
            <p:nvPr/>
          </p:nvSpPr>
          <p:spPr>
            <a:xfrm>
              <a:off x="1258661" y="3576419"/>
              <a:ext cx="946858" cy="242081"/>
            </a:xfrm>
            <a:custGeom>
              <a:avLst/>
              <a:gdLst/>
              <a:ahLst/>
              <a:cxnLst/>
              <a:rect l="l" t="t" r="r" b="b"/>
              <a:pathLst>
                <a:path w="34779" h="10752" extrusionOk="0">
                  <a:moveTo>
                    <a:pt x="0" y="1"/>
                  </a:moveTo>
                  <a:lnTo>
                    <a:pt x="0" y="10752"/>
                  </a:lnTo>
                  <a:lnTo>
                    <a:pt x="34778" y="10752"/>
                  </a:lnTo>
                  <a:lnTo>
                    <a:pt x="34778" y="1"/>
                  </a:lnTo>
                  <a:close/>
                </a:path>
              </a:pathLst>
            </a:custGeom>
            <a:solidFill>
              <a:schemeClr val="accent1">
                <a:lumMod val="100000"/>
              </a:schemeClr>
            </a:solidFill>
            <a:ln>
              <a:noFill/>
            </a:ln>
          </p:spPr>
          <p:txBody>
            <a:bodyPr spcFirstLastPara="1" wrap="square" lIns="121900" tIns="121900" rIns="121900" bIns="1219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Tx/>
                <a:buNone/>
                <a:tabLst/>
                <a:defRPr/>
              </a:pPr>
              <a:r>
                <a:rPr kumimoji="0" lang="en" sz="2000" b="0" i="0" u="none" strike="noStrike" kern="1200" cap="none" spc="0" normalizeH="0" baseline="0" noProof="0">
                  <a:ln>
                    <a:noFill/>
                  </a:ln>
                  <a:solidFill>
                    <a:srgbClr val="FFFFFF"/>
                  </a:solidFill>
                  <a:effectLst/>
                  <a:uLnTx/>
                  <a:uFillTx/>
                  <a:latin typeface="Arial"/>
                  <a:ea typeface="+mn-ea"/>
                  <a:cs typeface="+mn-ea"/>
                  <a:sym typeface="+mn-lt"/>
                </a:rPr>
                <a:t>Saturn</a:t>
              </a:r>
              <a:endParaRPr kumimoji="0" sz="2000" b="0" i="0" u="none" strike="noStrike" kern="1200" cap="none" spc="0" normalizeH="0" baseline="0" noProof="0">
                <a:ln>
                  <a:noFill/>
                </a:ln>
                <a:solidFill>
                  <a:srgbClr val="000000"/>
                </a:solidFill>
                <a:effectLst/>
                <a:uLnTx/>
                <a:uFillTx/>
                <a:latin typeface="Arial"/>
                <a:ea typeface="+mn-ea"/>
                <a:cs typeface="+mn-ea"/>
                <a:sym typeface="+mn-lt"/>
              </a:endParaRPr>
            </a:p>
          </p:txBody>
        </p:sp>
      </p:grpSp>
      <p:grpSp>
        <p:nvGrpSpPr>
          <p:cNvPr id="17" name="Google Shape;1118;p32">
            <a:extLst>
              <a:ext uri="{FF2B5EF4-FFF2-40B4-BE49-F238E27FC236}">
                <a16:creationId xmlns:a16="http://schemas.microsoft.com/office/drawing/2014/main" id="{4A6C3239-CDAC-4CF2-AC17-4839D5B54F04}"/>
              </a:ext>
            </a:extLst>
          </p:cNvPr>
          <p:cNvGrpSpPr/>
          <p:nvPr/>
        </p:nvGrpSpPr>
        <p:grpSpPr>
          <a:xfrm>
            <a:off x="3691293" y="1715333"/>
            <a:ext cx="2919892" cy="3427333"/>
            <a:chOff x="2802087" y="1545250"/>
            <a:chExt cx="2189919" cy="2570500"/>
          </a:xfrm>
        </p:grpSpPr>
        <p:sp>
          <p:nvSpPr>
            <p:cNvPr id="18" name="Google Shape;1119;p32">
              <a:extLst>
                <a:ext uri="{FF2B5EF4-FFF2-40B4-BE49-F238E27FC236}">
                  <a16:creationId xmlns:a16="http://schemas.microsoft.com/office/drawing/2014/main" id="{E7A87770-5C0C-45EF-BCDB-44AB9CDD81E4}"/>
                </a:ext>
              </a:extLst>
            </p:cNvPr>
            <p:cNvSpPr/>
            <p:nvPr/>
          </p:nvSpPr>
          <p:spPr>
            <a:xfrm>
              <a:off x="3748936" y="1660736"/>
              <a:ext cx="1052531" cy="1172176"/>
            </a:xfrm>
            <a:custGeom>
              <a:avLst/>
              <a:gdLst/>
              <a:ahLst/>
              <a:cxnLst/>
              <a:rect l="l" t="t" r="r" b="b"/>
              <a:pathLst>
                <a:path w="46748" h="52062" extrusionOk="0">
                  <a:moveTo>
                    <a:pt x="46748" y="52062"/>
                  </a:moveTo>
                  <a:lnTo>
                    <a:pt x="24649" y="0"/>
                  </a:lnTo>
                  <a:lnTo>
                    <a:pt x="0" y="0"/>
                  </a:lnTo>
                </a:path>
              </a:pathLst>
            </a:custGeom>
            <a:noFill/>
            <a:ln w="28575" cap="flat" cmpd="sng">
              <a:solidFill>
                <a:srgbClr val="E6E6E6"/>
              </a:solidFill>
              <a:prstDash val="solid"/>
              <a:round/>
              <a:headEnd type="none" w="med" len="med"/>
              <a:tailEnd type="none" w="med" len="me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400"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19" name="Google Shape;1120;p32">
              <a:extLst>
                <a:ext uri="{FF2B5EF4-FFF2-40B4-BE49-F238E27FC236}">
                  <a16:creationId xmlns:a16="http://schemas.microsoft.com/office/drawing/2014/main" id="{5224F7EE-520C-4324-BDBF-D396E550DC18}"/>
                </a:ext>
              </a:extLst>
            </p:cNvPr>
            <p:cNvSpPr/>
            <p:nvPr/>
          </p:nvSpPr>
          <p:spPr>
            <a:xfrm rot="10800000" flipH="1">
              <a:off x="3748936" y="2825063"/>
              <a:ext cx="1052531" cy="1172176"/>
            </a:xfrm>
            <a:custGeom>
              <a:avLst/>
              <a:gdLst/>
              <a:ahLst/>
              <a:cxnLst/>
              <a:rect l="l" t="t" r="r" b="b"/>
              <a:pathLst>
                <a:path w="46748" h="52062" extrusionOk="0">
                  <a:moveTo>
                    <a:pt x="46748" y="52062"/>
                  </a:moveTo>
                  <a:lnTo>
                    <a:pt x="24649" y="0"/>
                  </a:lnTo>
                  <a:lnTo>
                    <a:pt x="0" y="0"/>
                  </a:lnTo>
                </a:path>
              </a:pathLst>
            </a:custGeom>
            <a:noFill/>
            <a:ln w="28575" cap="flat" cmpd="sng">
              <a:solidFill>
                <a:srgbClr val="E6E6E6"/>
              </a:solidFill>
              <a:prstDash val="solid"/>
              <a:round/>
              <a:headEnd type="none" w="med" len="med"/>
              <a:tailEnd type="none" w="med" len="me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400"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20" name="Google Shape;1121;p32">
              <a:extLst>
                <a:ext uri="{FF2B5EF4-FFF2-40B4-BE49-F238E27FC236}">
                  <a16:creationId xmlns:a16="http://schemas.microsoft.com/office/drawing/2014/main" id="{C164B85C-94CA-4D87-A25D-7C91D0F61633}"/>
                </a:ext>
              </a:extLst>
            </p:cNvPr>
            <p:cNvSpPr/>
            <p:nvPr/>
          </p:nvSpPr>
          <p:spPr>
            <a:xfrm>
              <a:off x="4542935" y="2605956"/>
              <a:ext cx="449071" cy="449092"/>
            </a:xfrm>
            <a:custGeom>
              <a:avLst/>
              <a:gdLst/>
              <a:ahLst/>
              <a:cxnLst/>
              <a:rect l="l" t="t" r="r" b="b"/>
              <a:pathLst>
                <a:path w="21098" h="21099" extrusionOk="0">
                  <a:moveTo>
                    <a:pt x="10549" y="1"/>
                  </a:moveTo>
                  <a:cubicBezTo>
                    <a:pt x="4715" y="1"/>
                    <a:pt x="0" y="4728"/>
                    <a:pt x="0" y="10550"/>
                  </a:cubicBezTo>
                  <a:cubicBezTo>
                    <a:pt x="0" y="16372"/>
                    <a:pt x="4715" y="21099"/>
                    <a:pt x="10549" y="21099"/>
                  </a:cubicBezTo>
                  <a:cubicBezTo>
                    <a:pt x="16371" y="21099"/>
                    <a:pt x="21098" y="16372"/>
                    <a:pt x="21098" y="10550"/>
                  </a:cubicBezTo>
                  <a:cubicBezTo>
                    <a:pt x="21098" y="4728"/>
                    <a:pt x="16371" y="1"/>
                    <a:pt x="10549" y="1"/>
                  </a:cubicBezTo>
                  <a:close/>
                </a:path>
              </a:pathLst>
            </a:custGeom>
            <a:solidFill>
              <a:schemeClr val="accent1">
                <a:lumMod val="100000"/>
              </a:schemeClr>
            </a:solidFill>
            <a:ln>
              <a:noFill/>
            </a:ln>
          </p:spPr>
          <p:txBody>
            <a:bodyPr spcFirstLastPara="1" wrap="square" lIns="121900" tIns="121900" rIns="121900" bIns="1219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Tx/>
                <a:buNone/>
                <a:tabLst/>
                <a:defRPr/>
              </a:pPr>
              <a:r>
                <a:rPr kumimoji="0" lang="en" sz="2000" b="0" i="0" u="none" strike="noStrike" kern="1200" cap="none" spc="0" normalizeH="0" baseline="0" noProof="0">
                  <a:ln>
                    <a:noFill/>
                  </a:ln>
                  <a:solidFill>
                    <a:srgbClr val="FFFFFF"/>
                  </a:solidFill>
                  <a:effectLst/>
                  <a:uLnTx/>
                  <a:uFillTx/>
                  <a:latin typeface="Arial"/>
                  <a:ea typeface="+mn-ea"/>
                  <a:cs typeface="+mn-ea"/>
                  <a:sym typeface="+mn-lt"/>
                </a:rPr>
                <a:t>02</a:t>
              </a:r>
              <a:endParaRPr kumimoji="0" sz="2000"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21" name="Google Shape;1122;p32">
              <a:extLst>
                <a:ext uri="{FF2B5EF4-FFF2-40B4-BE49-F238E27FC236}">
                  <a16:creationId xmlns:a16="http://schemas.microsoft.com/office/drawing/2014/main" id="{5A952254-BD1B-46CD-AD2D-0343472B69F1}"/>
                </a:ext>
              </a:extLst>
            </p:cNvPr>
            <p:cNvSpPr/>
            <p:nvPr/>
          </p:nvSpPr>
          <p:spPr>
            <a:xfrm>
              <a:off x="4411011" y="1982695"/>
              <a:ext cx="104560" cy="104830"/>
            </a:xfrm>
            <a:custGeom>
              <a:avLst/>
              <a:gdLst/>
              <a:ahLst/>
              <a:cxnLst/>
              <a:rect l="l" t="t" r="r" b="b"/>
              <a:pathLst>
                <a:path w="4644" h="4656" extrusionOk="0">
                  <a:moveTo>
                    <a:pt x="2322" y="0"/>
                  </a:moveTo>
                  <a:cubicBezTo>
                    <a:pt x="1036" y="0"/>
                    <a:pt x="1" y="1048"/>
                    <a:pt x="1" y="2334"/>
                  </a:cubicBezTo>
                  <a:cubicBezTo>
                    <a:pt x="1" y="3620"/>
                    <a:pt x="1036" y="4656"/>
                    <a:pt x="2322" y="4656"/>
                  </a:cubicBezTo>
                  <a:cubicBezTo>
                    <a:pt x="3608" y="4656"/>
                    <a:pt x="4644" y="3620"/>
                    <a:pt x="4644" y="2334"/>
                  </a:cubicBezTo>
                  <a:cubicBezTo>
                    <a:pt x="4644" y="1048"/>
                    <a:pt x="3608" y="0"/>
                    <a:pt x="2322" y="0"/>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000"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22" name="Google Shape;1123;p32">
              <a:extLst>
                <a:ext uri="{FF2B5EF4-FFF2-40B4-BE49-F238E27FC236}">
                  <a16:creationId xmlns:a16="http://schemas.microsoft.com/office/drawing/2014/main" id="{A95D03D5-F4BD-4D24-AB23-505D2B488E25}"/>
                </a:ext>
              </a:extLst>
            </p:cNvPr>
            <p:cNvSpPr/>
            <p:nvPr/>
          </p:nvSpPr>
          <p:spPr>
            <a:xfrm>
              <a:off x="4547720" y="2307851"/>
              <a:ext cx="104582" cy="104560"/>
            </a:xfrm>
            <a:custGeom>
              <a:avLst/>
              <a:gdLst/>
              <a:ahLst/>
              <a:cxnLst/>
              <a:rect l="l" t="t" r="r" b="b"/>
              <a:pathLst>
                <a:path w="4645" h="4644" extrusionOk="0">
                  <a:moveTo>
                    <a:pt x="2323" y="0"/>
                  </a:moveTo>
                  <a:cubicBezTo>
                    <a:pt x="1037" y="0"/>
                    <a:pt x="1" y="1036"/>
                    <a:pt x="1" y="2322"/>
                  </a:cubicBezTo>
                  <a:cubicBezTo>
                    <a:pt x="1" y="3608"/>
                    <a:pt x="1037" y="4644"/>
                    <a:pt x="2323" y="4644"/>
                  </a:cubicBezTo>
                  <a:cubicBezTo>
                    <a:pt x="3608" y="4644"/>
                    <a:pt x="4644" y="3608"/>
                    <a:pt x="4644" y="2322"/>
                  </a:cubicBezTo>
                  <a:cubicBezTo>
                    <a:pt x="4644" y="1036"/>
                    <a:pt x="3608" y="0"/>
                    <a:pt x="2323" y="0"/>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000"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23" name="Google Shape;1124;p32">
              <a:extLst>
                <a:ext uri="{FF2B5EF4-FFF2-40B4-BE49-F238E27FC236}">
                  <a16:creationId xmlns:a16="http://schemas.microsoft.com/office/drawing/2014/main" id="{139BF65D-95F4-4E64-B1E3-B6C0AA51C84D}"/>
                </a:ext>
              </a:extLst>
            </p:cNvPr>
            <p:cNvSpPr/>
            <p:nvPr/>
          </p:nvSpPr>
          <p:spPr>
            <a:xfrm>
              <a:off x="4438096" y="3533165"/>
              <a:ext cx="104830" cy="104852"/>
            </a:xfrm>
            <a:custGeom>
              <a:avLst/>
              <a:gdLst/>
              <a:ahLst/>
              <a:cxnLst/>
              <a:rect l="l" t="t" r="r" b="b"/>
              <a:pathLst>
                <a:path w="4656" h="4657" extrusionOk="0">
                  <a:moveTo>
                    <a:pt x="2322" y="1"/>
                  </a:moveTo>
                  <a:cubicBezTo>
                    <a:pt x="1048" y="1"/>
                    <a:pt x="0" y="1049"/>
                    <a:pt x="0" y="2334"/>
                  </a:cubicBezTo>
                  <a:cubicBezTo>
                    <a:pt x="0" y="3620"/>
                    <a:pt x="1048" y="4656"/>
                    <a:pt x="2322" y="4656"/>
                  </a:cubicBezTo>
                  <a:cubicBezTo>
                    <a:pt x="3608" y="4656"/>
                    <a:pt x="4656" y="3620"/>
                    <a:pt x="4656" y="2334"/>
                  </a:cubicBezTo>
                  <a:cubicBezTo>
                    <a:pt x="4656" y="1049"/>
                    <a:pt x="3608" y="1"/>
                    <a:pt x="2322" y="1"/>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000"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24" name="Google Shape;1125;p32">
              <a:extLst>
                <a:ext uri="{FF2B5EF4-FFF2-40B4-BE49-F238E27FC236}">
                  <a16:creationId xmlns:a16="http://schemas.microsoft.com/office/drawing/2014/main" id="{BB3968FD-93D1-4969-AA9C-9CDF22574E69}"/>
                </a:ext>
              </a:extLst>
            </p:cNvPr>
            <p:cNvSpPr/>
            <p:nvPr/>
          </p:nvSpPr>
          <p:spPr>
            <a:xfrm>
              <a:off x="4559247" y="3220887"/>
              <a:ext cx="104582" cy="104560"/>
            </a:xfrm>
            <a:custGeom>
              <a:avLst/>
              <a:gdLst/>
              <a:ahLst/>
              <a:cxnLst/>
              <a:rect l="l" t="t" r="r" b="b"/>
              <a:pathLst>
                <a:path w="4645" h="4644" extrusionOk="0">
                  <a:moveTo>
                    <a:pt x="2323" y="0"/>
                  </a:moveTo>
                  <a:cubicBezTo>
                    <a:pt x="1037" y="0"/>
                    <a:pt x="1" y="1036"/>
                    <a:pt x="1" y="2322"/>
                  </a:cubicBezTo>
                  <a:cubicBezTo>
                    <a:pt x="1" y="3608"/>
                    <a:pt x="1037" y="4644"/>
                    <a:pt x="2323" y="4644"/>
                  </a:cubicBezTo>
                  <a:cubicBezTo>
                    <a:pt x="3608" y="4644"/>
                    <a:pt x="4644" y="3608"/>
                    <a:pt x="4644" y="2322"/>
                  </a:cubicBezTo>
                  <a:cubicBezTo>
                    <a:pt x="4644" y="1036"/>
                    <a:pt x="3608" y="0"/>
                    <a:pt x="2323" y="0"/>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000"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25" name="Google Shape;1126;p32">
              <a:extLst>
                <a:ext uri="{FF2B5EF4-FFF2-40B4-BE49-F238E27FC236}">
                  <a16:creationId xmlns:a16="http://schemas.microsoft.com/office/drawing/2014/main" id="{0448AC8E-8C68-4E9F-A390-8E9DF23DD980}"/>
                </a:ext>
              </a:extLst>
            </p:cNvPr>
            <p:cNvSpPr txBox="1"/>
            <p:nvPr/>
          </p:nvSpPr>
          <p:spPr>
            <a:xfrm>
              <a:off x="3673889" y="2267600"/>
              <a:ext cx="816600" cy="185100"/>
            </a:xfrm>
            <a:prstGeom prst="rect">
              <a:avLst/>
            </a:prstGeom>
            <a:noFill/>
            <a:ln>
              <a:noFill/>
            </a:ln>
          </p:spPr>
          <p:txBody>
            <a:bodyPr spcFirstLastPara="1" wrap="square" lIns="121900" tIns="121900" rIns="121900" bIns="12190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 sz="1200" b="0" i="0" u="none" strike="noStrike" kern="1200" cap="none" spc="0" normalizeH="0" baseline="0" noProof="0">
                  <a:ln>
                    <a:noFill/>
                  </a:ln>
                  <a:solidFill>
                    <a:srgbClr val="434343"/>
                  </a:solidFill>
                  <a:effectLst/>
                  <a:uLnTx/>
                  <a:uFillTx/>
                  <a:latin typeface="Arial"/>
                  <a:ea typeface="+mn-ea"/>
                  <a:cs typeface="+mn-ea"/>
                  <a:sym typeface="+mn-lt"/>
                </a:rPr>
                <a:t>Earth</a:t>
              </a:r>
              <a:endParaRPr kumimoji="0" sz="1200" b="0" i="0" u="none" strike="noStrike" kern="1200" cap="none" spc="0" normalizeH="0" baseline="0" noProof="0">
                <a:ln>
                  <a:noFill/>
                </a:ln>
                <a:solidFill>
                  <a:srgbClr val="434343"/>
                </a:solidFill>
                <a:effectLst/>
                <a:uLnTx/>
                <a:uFillTx/>
                <a:latin typeface="Arial"/>
                <a:ea typeface="+mn-ea"/>
                <a:cs typeface="+mn-ea"/>
                <a:sym typeface="+mn-lt"/>
              </a:endParaRPr>
            </a:p>
          </p:txBody>
        </p:sp>
        <p:sp>
          <p:nvSpPr>
            <p:cNvPr id="26" name="Google Shape;1127;p32">
              <a:extLst>
                <a:ext uri="{FF2B5EF4-FFF2-40B4-BE49-F238E27FC236}">
                  <a16:creationId xmlns:a16="http://schemas.microsoft.com/office/drawing/2014/main" id="{1112F74C-2E76-464B-9525-B3A137DC55E3}"/>
                </a:ext>
              </a:extLst>
            </p:cNvPr>
            <p:cNvSpPr txBox="1"/>
            <p:nvPr/>
          </p:nvSpPr>
          <p:spPr>
            <a:xfrm>
              <a:off x="3552739" y="1942750"/>
              <a:ext cx="816600" cy="185100"/>
            </a:xfrm>
            <a:prstGeom prst="rect">
              <a:avLst/>
            </a:prstGeom>
            <a:noFill/>
            <a:ln>
              <a:noFill/>
            </a:ln>
          </p:spPr>
          <p:txBody>
            <a:bodyPr spcFirstLastPara="1" wrap="square" lIns="121900" tIns="121900" rIns="121900" bIns="12190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 sz="1200" b="0" i="0" u="none" strike="noStrike" kern="1200" cap="none" spc="0" normalizeH="0" baseline="0" noProof="0">
                  <a:ln>
                    <a:noFill/>
                  </a:ln>
                  <a:solidFill>
                    <a:srgbClr val="434343"/>
                  </a:solidFill>
                  <a:effectLst/>
                  <a:uLnTx/>
                  <a:uFillTx/>
                  <a:latin typeface="Arial"/>
                  <a:ea typeface="+mn-ea"/>
                  <a:cs typeface="+mn-ea"/>
                  <a:sym typeface="+mn-lt"/>
                </a:rPr>
                <a:t>Europa</a:t>
              </a:r>
              <a:endParaRPr kumimoji="0" sz="1200" b="0" i="0" u="none" strike="noStrike" kern="1200" cap="none" spc="0" normalizeH="0" baseline="0" noProof="0">
                <a:ln>
                  <a:noFill/>
                </a:ln>
                <a:solidFill>
                  <a:srgbClr val="434343"/>
                </a:solidFill>
                <a:effectLst/>
                <a:uLnTx/>
                <a:uFillTx/>
                <a:latin typeface="Arial"/>
                <a:ea typeface="+mn-ea"/>
                <a:cs typeface="+mn-ea"/>
                <a:sym typeface="+mn-lt"/>
              </a:endParaRPr>
            </a:p>
          </p:txBody>
        </p:sp>
        <p:sp>
          <p:nvSpPr>
            <p:cNvPr id="27" name="Google Shape;1128;p32">
              <a:extLst>
                <a:ext uri="{FF2B5EF4-FFF2-40B4-BE49-F238E27FC236}">
                  <a16:creationId xmlns:a16="http://schemas.microsoft.com/office/drawing/2014/main" id="{7E2157AD-917B-48E4-AF45-F743CA58907B}"/>
                </a:ext>
              </a:extLst>
            </p:cNvPr>
            <p:cNvSpPr txBox="1"/>
            <p:nvPr/>
          </p:nvSpPr>
          <p:spPr>
            <a:xfrm>
              <a:off x="3673889" y="3180649"/>
              <a:ext cx="816600" cy="185100"/>
            </a:xfrm>
            <a:prstGeom prst="rect">
              <a:avLst/>
            </a:prstGeom>
            <a:noFill/>
            <a:ln>
              <a:noFill/>
            </a:ln>
          </p:spPr>
          <p:txBody>
            <a:bodyPr spcFirstLastPara="1" wrap="square" lIns="121900" tIns="121900" rIns="121900" bIns="12190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 sz="1200" b="0" i="0" u="none" strike="noStrike" kern="1200" cap="none" spc="0" normalizeH="0" baseline="0" noProof="0">
                  <a:ln>
                    <a:noFill/>
                  </a:ln>
                  <a:solidFill>
                    <a:srgbClr val="434343"/>
                  </a:solidFill>
                  <a:effectLst/>
                  <a:uLnTx/>
                  <a:uFillTx/>
                  <a:latin typeface="Arial"/>
                  <a:ea typeface="+mn-ea"/>
                  <a:cs typeface="+mn-ea"/>
                  <a:sym typeface="+mn-lt"/>
                </a:rPr>
                <a:t>Mercury</a:t>
              </a:r>
              <a:endParaRPr kumimoji="0" sz="1200" b="0" i="0" u="none" strike="noStrike" kern="1200" cap="none" spc="0" normalizeH="0" baseline="0" noProof="0">
                <a:ln>
                  <a:noFill/>
                </a:ln>
                <a:solidFill>
                  <a:srgbClr val="434343"/>
                </a:solidFill>
                <a:effectLst/>
                <a:uLnTx/>
                <a:uFillTx/>
                <a:latin typeface="Arial"/>
                <a:ea typeface="+mn-ea"/>
                <a:cs typeface="+mn-ea"/>
                <a:sym typeface="+mn-lt"/>
              </a:endParaRPr>
            </a:p>
          </p:txBody>
        </p:sp>
        <p:sp>
          <p:nvSpPr>
            <p:cNvPr id="28" name="Google Shape;1129;p32">
              <a:extLst>
                <a:ext uri="{FF2B5EF4-FFF2-40B4-BE49-F238E27FC236}">
                  <a16:creationId xmlns:a16="http://schemas.microsoft.com/office/drawing/2014/main" id="{6DFB05D5-56F8-44A5-B059-D817B3D02F1A}"/>
                </a:ext>
              </a:extLst>
            </p:cNvPr>
            <p:cNvSpPr txBox="1"/>
            <p:nvPr/>
          </p:nvSpPr>
          <p:spPr>
            <a:xfrm>
              <a:off x="3552739" y="3494926"/>
              <a:ext cx="816600" cy="185100"/>
            </a:xfrm>
            <a:prstGeom prst="rect">
              <a:avLst/>
            </a:prstGeom>
            <a:noFill/>
            <a:ln>
              <a:noFill/>
            </a:ln>
          </p:spPr>
          <p:txBody>
            <a:bodyPr spcFirstLastPara="1" wrap="square" lIns="121900" tIns="121900" rIns="121900" bIns="12190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 sz="1200" b="0" i="0" u="none" strike="noStrike" kern="1200" cap="none" spc="0" normalizeH="0" baseline="0" noProof="0">
                  <a:ln>
                    <a:noFill/>
                  </a:ln>
                  <a:solidFill>
                    <a:srgbClr val="434343"/>
                  </a:solidFill>
                  <a:effectLst/>
                  <a:uLnTx/>
                  <a:uFillTx/>
                  <a:latin typeface="Arial"/>
                  <a:ea typeface="+mn-ea"/>
                  <a:cs typeface="+mn-ea"/>
                  <a:sym typeface="+mn-lt"/>
                </a:rPr>
                <a:t>Saturn</a:t>
              </a:r>
              <a:endParaRPr kumimoji="0" sz="1200" b="0" i="0" u="none" strike="noStrike" kern="1200" cap="none" spc="0" normalizeH="0" baseline="0" noProof="0">
                <a:ln>
                  <a:noFill/>
                </a:ln>
                <a:solidFill>
                  <a:srgbClr val="434343"/>
                </a:solidFill>
                <a:effectLst/>
                <a:uLnTx/>
                <a:uFillTx/>
                <a:latin typeface="Arial"/>
                <a:ea typeface="+mn-ea"/>
                <a:cs typeface="+mn-ea"/>
                <a:sym typeface="+mn-lt"/>
              </a:endParaRPr>
            </a:p>
          </p:txBody>
        </p:sp>
        <p:sp>
          <p:nvSpPr>
            <p:cNvPr id="29" name="Google Shape;1130;p32">
              <a:extLst>
                <a:ext uri="{FF2B5EF4-FFF2-40B4-BE49-F238E27FC236}">
                  <a16:creationId xmlns:a16="http://schemas.microsoft.com/office/drawing/2014/main" id="{C3CF2703-02DD-49AD-9A24-4784B78EFC44}"/>
                </a:ext>
              </a:extLst>
            </p:cNvPr>
            <p:cNvSpPr/>
            <p:nvPr/>
          </p:nvSpPr>
          <p:spPr>
            <a:xfrm>
              <a:off x="2802087" y="1545250"/>
              <a:ext cx="946858" cy="242081"/>
            </a:xfrm>
            <a:custGeom>
              <a:avLst/>
              <a:gdLst/>
              <a:ahLst/>
              <a:cxnLst/>
              <a:rect l="l" t="t" r="r" b="b"/>
              <a:pathLst>
                <a:path w="34779" h="10752" extrusionOk="0">
                  <a:moveTo>
                    <a:pt x="0" y="1"/>
                  </a:moveTo>
                  <a:lnTo>
                    <a:pt x="0" y="10752"/>
                  </a:lnTo>
                  <a:lnTo>
                    <a:pt x="34778" y="10752"/>
                  </a:lnTo>
                  <a:lnTo>
                    <a:pt x="34778" y="1"/>
                  </a:lnTo>
                  <a:close/>
                </a:path>
              </a:pathLst>
            </a:custGeom>
            <a:solidFill>
              <a:schemeClr val="accent1">
                <a:lumMod val="100000"/>
              </a:schemeClr>
            </a:solidFill>
            <a:ln>
              <a:noFill/>
            </a:ln>
          </p:spPr>
          <p:txBody>
            <a:bodyPr spcFirstLastPara="1" wrap="square" lIns="121900" tIns="121900" rIns="121900" bIns="1219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Tx/>
                <a:buNone/>
                <a:tabLst/>
                <a:defRPr/>
              </a:pPr>
              <a:r>
                <a:rPr kumimoji="0" lang="en" sz="2000" b="0" i="0" u="none" strike="noStrike" kern="1200" cap="none" spc="0" normalizeH="0" baseline="0" noProof="0">
                  <a:ln>
                    <a:noFill/>
                  </a:ln>
                  <a:solidFill>
                    <a:srgbClr val="FFFFFF"/>
                  </a:solidFill>
                  <a:effectLst/>
                  <a:uLnTx/>
                  <a:uFillTx/>
                  <a:latin typeface="Arial"/>
                  <a:ea typeface="+mn-ea"/>
                  <a:cs typeface="+mn-ea"/>
                  <a:sym typeface="+mn-lt"/>
                </a:rPr>
                <a:t>Mercury</a:t>
              </a:r>
              <a:endParaRPr kumimoji="0" sz="2000"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30" name="Google Shape;1131;p32">
              <a:extLst>
                <a:ext uri="{FF2B5EF4-FFF2-40B4-BE49-F238E27FC236}">
                  <a16:creationId xmlns:a16="http://schemas.microsoft.com/office/drawing/2014/main" id="{EB0079A9-546C-411A-B08C-3D00F67C902F}"/>
                </a:ext>
              </a:extLst>
            </p:cNvPr>
            <p:cNvSpPr/>
            <p:nvPr/>
          </p:nvSpPr>
          <p:spPr>
            <a:xfrm>
              <a:off x="2802087" y="3873669"/>
              <a:ext cx="946858" cy="242081"/>
            </a:xfrm>
            <a:custGeom>
              <a:avLst/>
              <a:gdLst/>
              <a:ahLst/>
              <a:cxnLst/>
              <a:rect l="l" t="t" r="r" b="b"/>
              <a:pathLst>
                <a:path w="34779" h="10752" extrusionOk="0">
                  <a:moveTo>
                    <a:pt x="0" y="1"/>
                  </a:moveTo>
                  <a:lnTo>
                    <a:pt x="0" y="10752"/>
                  </a:lnTo>
                  <a:lnTo>
                    <a:pt x="34778" y="10752"/>
                  </a:lnTo>
                  <a:lnTo>
                    <a:pt x="34778" y="1"/>
                  </a:lnTo>
                  <a:close/>
                </a:path>
              </a:pathLst>
            </a:custGeom>
            <a:solidFill>
              <a:schemeClr val="accent1">
                <a:lumMod val="100000"/>
              </a:schemeClr>
            </a:solidFill>
            <a:ln>
              <a:noFill/>
            </a:ln>
          </p:spPr>
          <p:txBody>
            <a:bodyPr spcFirstLastPara="1" wrap="square" lIns="121900" tIns="121900" rIns="121900" bIns="1219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Tx/>
                <a:buNone/>
                <a:tabLst/>
                <a:defRPr/>
              </a:pPr>
              <a:r>
                <a:rPr kumimoji="0" lang="en" sz="2000" b="0" i="0" u="none" strike="noStrike" kern="1200" cap="none" spc="0" normalizeH="0" baseline="0" noProof="0">
                  <a:ln>
                    <a:noFill/>
                  </a:ln>
                  <a:solidFill>
                    <a:srgbClr val="FFFFFF"/>
                  </a:solidFill>
                  <a:effectLst/>
                  <a:uLnTx/>
                  <a:uFillTx/>
                  <a:latin typeface="Arial"/>
                  <a:ea typeface="+mn-ea"/>
                  <a:cs typeface="+mn-ea"/>
                  <a:sym typeface="+mn-lt"/>
                </a:rPr>
                <a:t>Jupiter</a:t>
              </a:r>
              <a:endParaRPr kumimoji="0" sz="2000" b="0" i="0" u="none" strike="noStrike" kern="1200" cap="none" spc="0" normalizeH="0" baseline="0" noProof="0">
                <a:ln>
                  <a:noFill/>
                </a:ln>
                <a:solidFill>
                  <a:srgbClr val="000000"/>
                </a:solidFill>
                <a:effectLst/>
                <a:uLnTx/>
                <a:uFillTx/>
                <a:latin typeface="Arial"/>
                <a:ea typeface="+mn-ea"/>
                <a:cs typeface="+mn-ea"/>
                <a:sym typeface="+mn-lt"/>
              </a:endParaRPr>
            </a:p>
          </p:txBody>
        </p:sp>
      </p:grpSp>
      <p:grpSp>
        <p:nvGrpSpPr>
          <p:cNvPr id="31" name="Google Shape;1132;p32">
            <a:extLst>
              <a:ext uri="{FF2B5EF4-FFF2-40B4-BE49-F238E27FC236}">
                <a16:creationId xmlns:a16="http://schemas.microsoft.com/office/drawing/2014/main" id="{5E11B519-5E84-44FB-B04E-A990CE9D2BEA}"/>
              </a:ext>
            </a:extLst>
          </p:cNvPr>
          <p:cNvGrpSpPr/>
          <p:nvPr/>
        </p:nvGrpSpPr>
        <p:grpSpPr>
          <a:xfrm>
            <a:off x="5700578" y="1225999"/>
            <a:ext cx="3137687" cy="4406000"/>
            <a:chOff x="4309051" y="1178250"/>
            <a:chExt cx="2353265" cy="3304500"/>
          </a:xfrm>
        </p:grpSpPr>
        <p:sp>
          <p:nvSpPr>
            <p:cNvPr id="32" name="Google Shape;1133;p32">
              <a:extLst>
                <a:ext uri="{FF2B5EF4-FFF2-40B4-BE49-F238E27FC236}">
                  <a16:creationId xmlns:a16="http://schemas.microsoft.com/office/drawing/2014/main" id="{6E1BBCBB-8DD5-48E2-B8E6-AAF482F1D573}"/>
                </a:ext>
              </a:extLst>
            </p:cNvPr>
            <p:cNvSpPr/>
            <p:nvPr/>
          </p:nvSpPr>
          <p:spPr>
            <a:xfrm>
              <a:off x="5255902" y="1293748"/>
              <a:ext cx="1199734" cy="1539170"/>
            </a:xfrm>
            <a:custGeom>
              <a:avLst/>
              <a:gdLst/>
              <a:ahLst/>
              <a:cxnLst/>
              <a:rect l="l" t="t" r="r" b="b"/>
              <a:pathLst>
                <a:path w="53286" h="68362" extrusionOk="0">
                  <a:moveTo>
                    <a:pt x="53286" y="68362"/>
                  </a:moveTo>
                  <a:lnTo>
                    <a:pt x="24649" y="0"/>
                  </a:lnTo>
                  <a:lnTo>
                    <a:pt x="0" y="0"/>
                  </a:lnTo>
                </a:path>
              </a:pathLst>
            </a:custGeom>
            <a:noFill/>
            <a:ln w="28575" cap="flat" cmpd="sng">
              <a:solidFill>
                <a:srgbClr val="E6E6E6"/>
              </a:solidFill>
              <a:prstDash val="solid"/>
              <a:round/>
              <a:headEnd type="none" w="med" len="med"/>
              <a:tailEnd type="none" w="med" len="me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400"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33" name="Google Shape;1134;p32">
              <a:extLst>
                <a:ext uri="{FF2B5EF4-FFF2-40B4-BE49-F238E27FC236}">
                  <a16:creationId xmlns:a16="http://schemas.microsoft.com/office/drawing/2014/main" id="{DC5732FB-46FB-445F-A006-C3BA7BDD5314}"/>
                </a:ext>
              </a:extLst>
            </p:cNvPr>
            <p:cNvSpPr/>
            <p:nvPr/>
          </p:nvSpPr>
          <p:spPr>
            <a:xfrm rot="10800000" flipH="1">
              <a:off x="5255902" y="2825057"/>
              <a:ext cx="1199734" cy="1539170"/>
            </a:xfrm>
            <a:custGeom>
              <a:avLst/>
              <a:gdLst/>
              <a:ahLst/>
              <a:cxnLst/>
              <a:rect l="l" t="t" r="r" b="b"/>
              <a:pathLst>
                <a:path w="53286" h="68362" extrusionOk="0">
                  <a:moveTo>
                    <a:pt x="53286" y="68362"/>
                  </a:moveTo>
                  <a:lnTo>
                    <a:pt x="24649" y="0"/>
                  </a:lnTo>
                  <a:lnTo>
                    <a:pt x="0" y="0"/>
                  </a:lnTo>
                </a:path>
              </a:pathLst>
            </a:custGeom>
            <a:noFill/>
            <a:ln w="28575" cap="flat" cmpd="sng">
              <a:solidFill>
                <a:srgbClr val="E6E6E6"/>
              </a:solidFill>
              <a:prstDash val="solid"/>
              <a:round/>
              <a:headEnd type="none" w="med" len="med"/>
              <a:tailEnd type="none" w="med" len="me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400"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34" name="Google Shape;1135;p32">
              <a:extLst>
                <a:ext uri="{FF2B5EF4-FFF2-40B4-BE49-F238E27FC236}">
                  <a16:creationId xmlns:a16="http://schemas.microsoft.com/office/drawing/2014/main" id="{7AC4DC84-B749-4821-A2B7-4F337A12DA7A}"/>
                </a:ext>
              </a:extLst>
            </p:cNvPr>
            <p:cNvSpPr/>
            <p:nvPr/>
          </p:nvSpPr>
          <p:spPr>
            <a:xfrm>
              <a:off x="6213246" y="2605956"/>
              <a:ext cx="449071" cy="449092"/>
            </a:xfrm>
            <a:custGeom>
              <a:avLst/>
              <a:gdLst/>
              <a:ahLst/>
              <a:cxnLst/>
              <a:rect l="l" t="t" r="r" b="b"/>
              <a:pathLst>
                <a:path w="21098" h="21099" extrusionOk="0">
                  <a:moveTo>
                    <a:pt x="10549" y="1"/>
                  </a:moveTo>
                  <a:cubicBezTo>
                    <a:pt x="4715" y="1"/>
                    <a:pt x="0" y="4728"/>
                    <a:pt x="0" y="10550"/>
                  </a:cubicBezTo>
                  <a:cubicBezTo>
                    <a:pt x="0" y="16372"/>
                    <a:pt x="4715" y="21099"/>
                    <a:pt x="10549" y="21099"/>
                  </a:cubicBezTo>
                  <a:cubicBezTo>
                    <a:pt x="16371" y="21099"/>
                    <a:pt x="21098" y="16372"/>
                    <a:pt x="21098" y="10550"/>
                  </a:cubicBezTo>
                  <a:cubicBezTo>
                    <a:pt x="21098" y="4728"/>
                    <a:pt x="16371" y="1"/>
                    <a:pt x="10549" y="1"/>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Tx/>
                <a:buNone/>
                <a:tabLst/>
                <a:defRPr/>
              </a:pPr>
              <a:r>
                <a:rPr kumimoji="0" lang="en" sz="2000" b="0" i="0" u="none" strike="noStrike" kern="1200" cap="none" spc="0" normalizeH="0" baseline="0" noProof="0">
                  <a:ln>
                    <a:noFill/>
                  </a:ln>
                  <a:solidFill>
                    <a:srgbClr val="FFFFFF"/>
                  </a:solidFill>
                  <a:effectLst/>
                  <a:uLnTx/>
                  <a:uFillTx/>
                  <a:latin typeface="Arial"/>
                  <a:ea typeface="+mn-ea"/>
                  <a:cs typeface="+mn-ea"/>
                  <a:sym typeface="+mn-lt"/>
                </a:rPr>
                <a:t>01</a:t>
              </a:r>
              <a:endParaRPr kumimoji="0" sz="2000"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35" name="Google Shape;1136;p32">
              <a:extLst>
                <a:ext uri="{FF2B5EF4-FFF2-40B4-BE49-F238E27FC236}">
                  <a16:creationId xmlns:a16="http://schemas.microsoft.com/office/drawing/2014/main" id="{9792649E-FE91-4C03-87E9-4677FF85DBE6}"/>
                </a:ext>
              </a:extLst>
            </p:cNvPr>
            <p:cNvSpPr/>
            <p:nvPr/>
          </p:nvSpPr>
          <p:spPr>
            <a:xfrm>
              <a:off x="6213234" y="2307851"/>
              <a:ext cx="104852" cy="104560"/>
            </a:xfrm>
            <a:custGeom>
              <a:avLst/>
              <a:gdLst/>
              <a:ahLst/>
              <a:cxnLst/>
              <a:rect l="l" t="t" r="r" b="b"/>
              <a:pathLst>
                <a:path w="4657" h="4644" extrusionOk="0">
                  <a:moveTo>
                    <a:pt x="2323" y="0"/>
                  </a:moveTo>
                  <a:cubicBezTo>
                    <a:pt x="1037" y="0"/>
                    <a:pt x="1" y="1036"/>
                    <a:pt x="1" y="2322"/>
                  </a:cubicBezTo>
                  <a:cubicBezTo>
                    <a:pt x="1" y="3608"/>
                    <a:pt x="1037" y="4644"/>
                    <a:pt x="2323" y="4644"/>
                  </a:cubicBezTo>
                  <a:cubicBezTo>
                    <a:pt x="3609" y="4644"/>
                    <a:pt x="4656" y="3608"/>
                    <a:pt x="4656" y="2322"/>
                  </a:cubicBezTo>
                  <a:cubicBezTo>
                    <a:pt x="4656" y="1036"/>
                    <a:pt x="3609" y="0"/>
                    <a:pt x="2323" y="0"/>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000"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36" name="Google Shape;1137;p32">
              <a:extLst>
                <a:ext uri="{FF2B5EF4-FFF2-40B4-BE49-F238E27FC236}">
                  <a16:creationId xmlns:a16="http://schemas.microsoft.com/office/drawing/2014/main" id="{736DAE99-6089-4002-B766-3DA0D3E595F4}"/>
                </a:ext>
              </a:extLst>
            </p:cNvPr>
            <p:cNvSpPr/>
            <p:nvPr/>
          </p:nvSpPr>
          <p:spPr>
            <a:xfrm>
              <a:off x="6068082" y="3533165"/>
              <a:ext cx="104852" cy="104852"/>
            </a:xfrm>
            <a:custGeom>
              <a:avLst/>
              <a:gdLst/>
              <a:ahLst/>
              <a:cxnLst/>
              <a:rect l="l" t="t" r="r" b="b"/>
              <a:pathLst>
                <a:path w="4657" h="4657" extrusionOk="0">
                  <a:moveTo>
                    <a:pt x="2323" y="1"/>
                  </a:moveTo>
                  <a:cubicBezTo>
                    <a:pt x="1037" y="1"/>
                    <a:pt x="1" y="1049"/>
                    <a:pt x="1" y="2334"/>
                  </a:cubicBezTo>
                  <a:cubicBezTo>
                    <a:pt x="1" y="3620"/>
                    <a:pt x="1037" y="4656"/>
                    <a:pt x="2323" y="4656"/>
                  </a:cubicBezTo>
                  <a:cubicBezTo>
                    <a:pt x="3609" y="4656"/>
                    <a:pt x="4656" y="3620"/>
                    <a:pt x="4656" y="2334"/>
                  </a:cubicBezTo>
                  <a:cubicBezTo>
                    <a:pt x="4656" y="1049"/>
                    <a:pt x="3609" y="1"/>
                    <a:pt x="2323" y="1"/>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000"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37" name="Google Shape;1138;p32">
              <a:extLst>
                <a:ext uri="{FF2B5EF4-FFF2-40B4-BE49-F238E27FC236}">
                  <a16:creationId xmlns:a16="http://schemas.microsoft.com/office/drawing/2014/main" id="{6F99CA8A-AB24-43F7-971E-7019C4DD1761}"/>
                </a:ext>
              </a:extLst>
            </p:cNvPr>
            <p:cNvSpPr/>
            <p:nvPr/>
          </p:nvSpPr>
          <p:spPr>
            <a:xfrm>
              <a:off x="5944396" y="3852963"/>
              <a:ext cx="104830" cy="104852"/>
            </a:xfrm>
            <a:custGeom>
              <a:avLst/>
              <a:gdLst/>
              <a:ahLst/>
              <a:cxnLst/>
              <a:rect l="l" t="t" r="r" b="b"/>
              <a:pathLst>
                <a:path w="4656" h="4657" extrusionOk="0">
                  <a:moveTo>
                    <a:pt x="2322" y="1"/>
                  </a:moveTo>
                  <a:cubicBezTo>
                    <a:pt x="1048" y="1"/>
                    <a:pt x="1" y="1049"/>
                    <a:pt x="1" y="2335"/>
                  </a:cubicBezTo>
                  <a:cubicBezTo>
                    <a:pt x="1" y="3609"/>
                    <a:pt x="1048" y="4656"/>
                    <a:pt x="2322" y="4656"/>
                  </a:cubicBezTo>
                  <a:cubicBezTo>
                    <a:pt x="3608" y="4656"/>
                    <a:pt x="4656" y="3609"/>
                    <a:pt x="4656" y="2335"/>
                  </a:cubicBezTo>
                  <a:cubicBezTo>
                    <a:pt x="4656" y="1049"/>
                    <a:pt x="3608" y="1"/>
                    <a:pt x="2322" y="1"/>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000"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38" name="Google Shape;1139;p32">
              <a:extLst>
                <a:ext uri="{FF2B5EF4-FFF2-40B4-BE49-F238E27FC236}">
                  <a16:creationId xmlns:a16="http://schemas.microsoft.com/office/drawing/2014/main" id="{AD9666B6-C92E-42FD-9D0E-6080F45B3FE5}"/>
                </a:ext>
              </a:extLst>
            </p:cNvPr>
            <p:cNvSpPr/>
            <p:nvPr/>
          </p:nvSpPr>
          <p:spPr>
            <a:xfrm>
              <a:off x="6068218" y="1982875"/>
              <a:ext cx="104582" cy="104830"/>
            </a:xfrm>
            <a:custGeom>
              <a:avLst/>
              <a:gdLst/>
              <a:ahLst/>
              <a:cxnLst/>
              <a:rect l="l" t="t" r="r" b="b"/>
              <a:pathLst>
                <a:path w="4645" h="4656" extrusionOk="0">
                  <a:moveTo>
                    <a:pt x="2322" y="0"/>
                  </a:moveTo>
                  <a:cubicBezTo>
                    <a:pt x="1037" y="0"/>
                    <a:pt x="1" y="1048"/>
                    <a:pt x="1" y="2334"/>
                  </a:cubicBezTo>
                  <a:cubicBezTo>
                    <a:pt x="1" y="3620"/>
                    <a:pt x="1037" y="4656"/>
                    <a:pt x="2322" y="4656"/>
                  </a:cubicBezTo>
                  <a:cubicBezTo>
                    <a:pt x="3608" y="4656"/>
                    <a:pt x="4644" y="3620"/>
                    <a:pt x="4644" y="2334"/>
                  </a:cubicBezTo>
                  <a:cubicBezTo>
                    <a:pt x="4644" y="1048"/>
                    <a:pt x="3608" y="0"/>
                    <a:pt x="2322" y="0"/>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000"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39" name="Google Shape;1140;p32">
              <a:extLst>
                <a:ext uri="{FF2B5EF4-FFF2-40B4-BE49-F238E27FC236}">
                  <a16:creationId xmlns:a16="http://schemas.microsoft.com/office/drawing/2014/main" id="{5F642C3A-4BF9-444C-8C59-D1262A7CFB90}"/>
                </a:ext>
              </a:extLst>
            </p:cNvPr>
            <p:cNvSpPr/>
            <p:nvPr/>
          </p:nvSpPr>
          <p:spPr>
            <a:xfrm>
              <a:off x="5944388" y="1658147"/>
              <a:ext cx="104830" cy="104582"/>
            </a:xfrm>
            <a:custGeom>
              <a:avLst/>
              <a:gdLst/>
              <a:ahLst/>
              <a:cxnLst/>
              <a:rect l="l" t="t" r="r" b="b"/>
              <a:pathLst>
                <a:path w="4656" h="4645" extrusionOk="0">
                  <a:moveTo>
                    <a:pt x="2322" y="1"/>
                  </a:moveTo>
                  <a:cubicBezTo>
                    <a:pt x="1036" y="1"/>
                    <a:pt x="0" y="1037"/>
                    <a:pt x="0" y="2323"/>
                  </a:cubicBezTo>
                  <a:cubicBezTo>
                    <a:pt x="0" y="3608"/>
                    <a:pt x="1036" y="4644"/>
                    <a:pt x="2322" y="4644"/>
                  </a:cubicBezTo>
                  <a:cubicBezTo>
                    <a:pt x="3608" y="4644"/>
                    <a:pt x="4655" y="3608"/>
                    <a:pt x="4655" y="2323"/>
                  </a:cubicBezTo>
                  <a:cubicBezTo>
                    <a:pt x="4655" y="1037"/>
                    <a:pt x="3608" y="1"/>
                    <a:pt x="2322" y="1"/>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000"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40" name="Google Shape;1141;p32">
              <a:extLst>
                <a:ext uri="{FF2B5EF4-FFF2-40B4-BE49-F238E27FC236}">
                  <a16:creationId xmlns:a16="http://schemas.microsoft.com/office/drawing/2014/main" id="{4D8722A3-43DE-427E-A7FD-650315F19C2C}"/>
                </a:ext>
              </a:extLst>
            </p:cNvPr>
            <p:cNvSpPr/>
            <p:nvPr/>
          </p:nvSpPr>
          <p:spPr>
            <a:xfrm>
              <a:off x="6213373" y="3220887"/>
              <a:ext cx="104560" cy="104560"/>
            </a:xfrm>
            <a:custGeom>
              <a:avLst/>
              <a:gdLst/>
              <a:ahLst/>
              <a:cxnLst/>
              <a:rect l="l" t="t" r="r" b="b"/>
              <a:pathLst>
                <a:path w="4644" h="4644" extrusionOk="0">
                  <a:moveTo>
                    <a:pt x="2322" y="0"/>
                  </a:moveTo>
                  <a:cubicBezTo>
                    <a:pt x="1036" y="0"/>
                    <a:pt x="0" y="1036"/>
                    <a:pt x="0" y="2322"/>
                  </a:cubicBezTo>
                  <a:cubicBezTo>
                    <a:pt x="0" y="3608"/>
                    <a:pt x="1036" y="4644"/>
                    <a:pt x="2322" y="4644"/>
                  </a:cubicBezTo>
                  <a:cubicBezTo>
                    <a:pt x="3608" y="4644"/>
                    <a:pt x="4644" y="3608"/>
                    <a:pt x="4644" y="2322"/>
                  </a:cubicBezTo>
                  <a:cubicBezTo>
                    <a:pt x="4644" y="1036"/>
                    <a:pt x="3608" y="0"/>
                    <a:pt x="2322" y="0"/>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000"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41" name="Google Shape;1142;p32">
              <a:extLst>
                <a:ext uri="{FF2B5EF4-FFF2-40B4-BE49-F238E27FC236}">
                  <a16:creationId xmlns:a16="http://schemas.microsoft.com/office/drawing/2014/main" id="{D6A334D6-46A7-4C3D-8C5A-78000EE912EB}"/>
                </a:ext>
              </a:extLst>
            </p:cNvPr>
            <p:cNvSpPr txBox="1"/>
            <p:nvPr/>
          </p:nvSpPr>
          <p:spPr>
            <a:xfrm>
              <a:off x="5349561" y="2267600"/>
              <a:ext cx="816600" cy="185100"/>
            </a:xfrm>
            <a:prstGeom prst="rect">
              <a:avLst/>
            </a:prstGeom>
            <a:noFill/>
            <a:ln>
              <a:noFill/>
            </a:ln>
          </p:spPr>
          <p:txBody>
            <a:bodyPr spcFirstLastPara="1" wrap="square" lIns="121900" tIns="121900" rIns="121900" bIns="12190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 sz="1200" b="0" i="0" u="none" strike="noStrike" kern="1200" cap="none" spc="0" normalizeH="0" baseline="0" noProof="0">
                  <a:ln>
                    <a:noFill/>
                  </a:ln>
                  <a:solidFill>
                    <a:srgbClr val="434343"/>
                  </a:solidFill>
                  <a:effectLst/>
                  <a:uLnTx/>
                  <a:uFillTx/>
                  <a:latin typeface="Arial"/>
                  <a:ea typeface="+mn-ea"/>
                  <a:cs typeface="+mn-ea"/>
                  <a:sym typeface="+mn-lt"/>
                </a:rPr>
                <a:t>Neptune</a:t>
              </a:r>
              <a:endParaRPr kumimoji="0" sz="1200" b="0" i="0" u="none" strike="noStrike" kern="1200" cap="none" spc="0" normalizeH="0" baseline="0" noProof="0">
                <a:ln>
                  <a:noFill/>
                </a:ln>
                <a:solidFill>
                  <a:srgbClr val="434343"/>
                </a:solidFill>
                <a:effectLst/>
                <a:uLnTx/>
                <a:uFillTx/>
                <a:latin typeface="Arial"/>
                <a:ea typeface="+mn-ea"/>
                <a:cs typeface="+mn-ea"/>
                <a:sym typeface="+mn-lt"/>
              </a:endParaRPr>
            </a:p>
          </p:txBody>
        </p:sp>
        <p:sp>
          <p:nvSpPr>
            <p:cNvPr id="42" name="Google Shape;1143;p32">
              <a:extLst>
                <a:ext uri="{FF2B5EF4-FFF2-40B4-BE49-F238E27FC236}">
                  <a16:creationId xmlns:a16="http://schemas.microsoft.com/office/drawing/2014/main" id="{1DA1D454-7AE3-4DFB-9316-0B89320214BC}"/>
                </a:ext>
              </a:extLst>
            </p:cNvPr>
            <p:cNvSpPr txBox="1"/>
            <p:nvPr/>
          </p:nvSpPr>
          <p:spPr>
            <a:xfrm>
              <a:off x="5216364" y="1942575"/>
              <a:ext cx="816600" cy="185100"/>
            </a:xfrm>
            <a:prstGeom prst="rect">
              <a:avLst/>
            </a:prstGeom>
            <a:noFill/>
            <a:ln>
              <a:noFill/>
            </a:ln>
          </p:spPr>
          <p:txBody>
            <a:bodyPr spcFirstLastPara="1" wrap="square" lIns="121900" tIns="121900" rIns="121900" bIns="12190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 sz="1200" b="0" i="0" u="none" strike="noStrike" kern="1200" cap="none" spc="0" normalizeH="0" baseline="0" noProof="0">
                  <a:ln>
                    <a:noFill/>
                  </a:ln>
                  <a:solidFill>
                    <a:srgbClr val="434343"/>
                  </a:solidFill>
                  <a:effectLst/>
                  <a:uLnTx/>
                  <a:uFillTx/>
                  <a:latin typeface="Arial"/>
                  <a:ea typeface="+mn-ea"/>
                  <a:cs typeface="+mn-ea"/>
                  <a:sym typeface="+mn-lt"/>
                </a:rPr>
                <a:t>Saturn</a:t>
              </a:r>
              <a:endParaRPr kumimoji="0" sz="1200" b="0" i="0" u="none" strike="noStrike" kern="1200" cap="none" spc="0" normalizeH="0" baseline="0" noProof="0">
                <a:ln>
                  <a:noFill/>
                </a:ln>
                <a:solidFill>
                  <a:srgbClr val="434343"/>
                </a:solidFill>
                <a:effectLst/>
                <a:uLnTx/>
                <a:uFillTx/>
                <a:latin typeface="Arial"/>
                <a:ea typeface="+mn-ea"/>
                <a:cs typeface="+mn-ea"/>
                <a:sym typeface="+mn-lt"/>
              </a:endParaRPr>
            </a:p>
          </p:txBody>
        </p:sp>
        <p:sp>
          <p:nvSpPr>
            <p:cNvPr id="43" name="Google Shape;1144;p32">
              <a:extLst>
                <a:ext uri="{FF2B5EF4-FFF2-40B4-BE49-F238E27FC236}">
                  <a16:creationId xmlns:a16="http://schemas.microsoft.com/office/drawing/2014/main" id="{AE7267DA-38D1-4715-B8EA-952B79DDCDB4}"/>
                </a:ext>
              </a:extLst>
            </p:cNvPr>
            <p:cNvSpPr txBox="1"/>
            <p:nvPr/>
          </p:nvSpPr>
          <p:spPr>
            <a:xfrm>
              <a:off x="5091437" y="1621025"/>
              <a:ext cx="816600" cy="185100"/>
            </a:xfrm>
            <a:prstGeom prst="rect">
              <a:avLst/>
            </a:prstGeom>
            <a:noFill/>
            <a:ln>
              <a:noFill/>
            </a:ln>
          </p:spPr>
          <p:txBody>
            <a:bodyPr spcFirstLastPara="1" wrap="square" lIns="121900" tIns="121900" rIns="121900" bIns="12190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 sz="1200" b="0" i="0" u="none" strike="noStrike" kern="1200" cap="none" spc="0" normalizeH="0" baseline="0" noProof="0">
                  <a:ln>
                    <a:noFill/>
                  </a:ln>
                  <a:solidFill>
                    <a:srgbClr val="434343"/>
                  </a:solidFill>
                  <a:effectLst/>
                  <a:uLnTx/>
                  <a:uFillTx/>
                  <a:latin typeface="Arial"/>
                  <a:ea typeface="+mn-ea"/>
                  <a:cs typeface="+mn-ea"/>
                  <a:sym typeface="+mn-lt"/>
                </a:rPr>
                <a:t>Jupiter</a:t>
              </a:r>
              <a:endParaRPr kumimoji="0" sz="1200" b="0" i="0" u="none" strike="noStrike" kern="1200" cap="none" spc="0" normalizeH="0" baseline="0" noProof="0">
                <a:ln>
                  <a:noFill/>
                </a:ln>
                <a:solidFill>
                  <a:srgbClr val="434343"/>
                </a:solidFill>
                <a:effectLst/>
                <a:uLnTx/>
                <a:uFillTx/>
                <a:latin typeface="Arial"/>
                <a:ea typeface="+mn-ea"/>
                <a:cs typeface="+mn-ea"/>
                <a:sym typeface="+mn-lt"/>
              </a:endParaRPr>
            </a:p>
          </p:txBody>
        </p:sp>
        <p:sp>
          <p:nvSpPr>
            <p:cNvPr id="44" name="Google Shape;1145;p32">
              <a:extLst>
                <a:ext uri="{FF2B5EF4-FFF2-40B4-BE49-F238E27FC236}">
                  <a16:creationId xmlns:a16="http://schemas.microsoft.com/office/drawing/2014/main" id="{03F24DBF-5815-4BBA-A408-2B7104E1A46D}"/>
                </a:ext>
              </a:extLst>
            </p:cNvPr>
            <p:cNvSpPr txBox="1"/>
            <p:nvPr/>
          </p:nvSpPr>
          <p:spPr>
            <a:xfrm>
              <a:off x="5349561" y="3180649"/>
              <a:ext cx="816600" cy="185100"/>
            </a:xfrm>
            <a:prstGeom prst="rect">
              <a:avLst/>
            </a:prstGeom>
            <a:noFill/>
            <a:ln>
              <a:noFill/>
            </a:ln>
          </p:spPr>
          <p:txBody>
            <a:bodyPr spcFirstLastPara="1" wrap="square" lIns="121900" tIns="121900" rIns="121900" bIns="12190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 sz="1200" b="0" i="0" u="none" strike="noStrike" kern="1200" cap="none" spc="0" normalizeH="0" baseline="0" noProof="0">
                  <a:ln>
                    <a:noFill/>
                  </a:ln>
                  <a:solidFill>
                    <a:srgbClr val="434343"/>
                  </a:solidFill>
                  <a:effectLst/>
                  <a:uLnTx/>
                  <a:uFillTx/>
                  <a:latin typeface="Arial"/>
                  <a:ea typeface="+mn-ea"/>
                  <a:cs typeface="+mn-ea"/>
                  <a:sym typeface="+mn-lt"/>
                </a:rPr>
                <a:t>Thebe</a:t>
              </a:r>
              <a:endParaRPr kumimoji="0" sz="1200" b="0" i="0" u="none" strike="noStrike" kern="1200" cap="none" spc="0" normalizeH="0" baseline="0" noProof="0">
                <a:ln>
                  <a:noFill/>
                </a:ln>
                <a:solidFill>
                  <a:srgbClr val="434343"/>
                </a:solidFill>
                <a:effectLst/>
                <a:uLnTx/>
                <a:uFillTx/>
                <a:latin typeface="Arial"/>
                <a:ea typeface="+mn-ea"/>
                <a:cs typeface="+mn-ea"/>
                <a:sym typeface="+mn-lt"/>
              </a:endParaRPr>
            </a:p>
          </p:txBody>
        </p:sp>
        <p:sp>
          <p:nvSpPr>
            <p:cNvPr id="45" name="Google Shape;1146;p32">
              <a:extLst>
                <a:ext uri="{FF2B5EF4-FFF2-40B4-BE49-F238E27FC236}">
                  <a16:creationId xmlns:a16="http://schemas.microsoft.com/office/drawing/2014/main" id="{5223EBAA-5D55-4609-AACD-BA42626034B8}"/>
                </a:ext>
              </a:extLst>
            </p:cNvPr>
            <p:cNvSpPr txBox="1"/>
            <p:nvPr/>
          </p:nvSpPr>
          <p:spPr>
            <a:xfrm>
              <a:off x="5216364" y="3494926"/>
              <a:ext cx="816600" cy="185100"/>
            </a:xfrm>
            <a:prstGeom prst="rect">
              <a:avLst/>
            </a:prstGeom>
            <a:noFill/>
            <a:ln>
              <a:noFill/>
            </a:ln>
          </p:spPr>
          <p:txBody>
            <a:bodyPr spcFirstLastPara="1" wrap="square" lIns="121900" tIns="121900" rIns="121900" bIns="12190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 sz="1200" b="0" i="0" u="none" strike="noStrike" kern="1200" cap="none" spc="0" normalizeH="0" baseline="0" noProof="0">
                  <a:ln>
                    <a:noFill/>
                  </a:ln>
                  <a:solidFill>
                    <a:srgbClr val="434343"/>
                  </a:solidFill>
                  <a:effectLst/>
                  <a:uLnTx/>
                  <a:uFillTx/>
                  <a:latin typeface="Arial"/>
                  <a:ea typeface="+mn-ea"/>
                  <a:cs typeface="+mn-ea"/>
                  <a:sym typeface="+mn-lt"/>
                </a:rPr>
                <a:t>Medis</a:t>
              </a:r>
              <a:endParaRPr kumimoji="0" sz="1200" b="0" i="0" u="none" strike="noStrike" kern="1200" cap="none" spc="0" normalizeH="0" baseline="0" noProof="0">
                <a:ln>
                  <a:noFill/>
                </a:ln>
                <a:solidFill>
                  <a:srgbClr val="434343"/>
                </a:solidFill>
                <a:effectLst/>
                <a:uLnTx/>
                <a:uFillTx/>
                <a:latin typeface="Arial"/>
                <a:ea typeface="+mn-ea"/>
                <a:cs typeface="+mn-ea"/>
                <a:sym typeface="+mn-lt"/>
              </a:endParaRPr>
            </a:p>
          </p:txBody>
        </p:sp>
        <p:sp>
          <p:nvSpPr>
            <p:cNvPr id="46" name="Google Shape;1147;p32">
              <a:extLst>
                <a:ext uri="{FF2B5EF4-FFF2-40B4-BE49-F238E27FC236}">
                  <a16:creationId xmlns:a16="http://schemas.microsoft.com/office/drawing/2014/main" id="{695D36B4-6A33-451E-8D4E-4E3E4ECF8936}"/>
                </a:ext>
              </a:extLst>
            </p:cNvPr>
            <p:cNvSpPr txBox="1"/>
            <p:nvPr/>
          </p:nvSpPr>
          <p:spPr>
            <a:xfrm>
              <a:off x="5091437" y="3814749"/>
              <a:ext cx="816600" cy="185100"/>
            </a:xfrm>
            <a:prstGeom prst="rect">
              <a:avLst/>
            </a:prstGeom>
            <a:noFill/>
            <a:ln>
              <a:noFill/>
            </a:ln>
          </p:spPr>
          <p:txBody>
            <a:bodyPr spcFirstLastPara="1" wrap="square" lIns="121900" tIns="121900" rIns="121900" bIns="12190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 sz="1200" b="0" i="0" u="none" strike="noStrike" kern="1200" cap="none" spc="0" normalizeH="0" baseline="0" noProof="0">
                  <a:ln>
                    <a:noFill/>
                  </a:ln>
                  <a:solidFill>
                    <a:srgbClr val="434343"/>
                  </a:solidFill>
                  <a:effectLst/>
                  <a:uLnTx/>
                  <a:uFillTx/>
                  <a:latin typeface="Arial"/>
                  <a:ea typeface="+mn-ea"/>
                  <a:cs typeface="+mn-ea"/>
                  <a:sym typeface="+mn-lt"/>
                </a:rPr>
                <a:t>Moon</a:t>
              </a:r>
              <a:endParaRPr kumimoji="0" sz="1200" b="0" i="0" u="none" strike="noStrike" kern="1200" cap="none" spc="0" normalizeH="0" baseline="0" noProof="0">
                <a:ln>
                  <a:noFill/>
                </a:ln>
                <a:solidFill>
                  <a:srgbClr val="434343"/>
                </a:solidFill>
                <a:effectLst/>
                <a:uLnTx/>
                <a:uFillTx/>
                <a:latin typeface="Arial"/>
                <a:ea typeface="+mn-ea"/>
                <a:cs typeface="+mn-ea"/>
                <a:sym typeface="+mn-lt"/>
              </a:endParaRPr>
            </a:p>
          </p:txBody>
        </p:sp>
        <p:sp>
          <p:nvSpPr>
            <p:cNvPr id="47" name="Google Shape;1148;p32">
              <a:extLst>
                <a:ext uri="{FF2B5EF4-FFF2-40B4-BE49-F238E27FC236}">
                  <a16:creationId xmlns:a16="http://schemas.microsoft.com/office/drawing/2014/main" id="{2E8B24D8-79CA-4C65-9546-C43632BDC448}"/>
                </a:ext>
              </a:extLst>
            </p:cNvPr>
            <p:cNvSpPr/>
            <p:nvPr/>
          </p:nvSpPr>
          <p:spPr>
            <a:xfrm>
              <a:off x="4309051" y="1178250"/>
              <a:ext cx="946858" cy="242081"/>
            </a:xfrm>
            <a:custGeom>
              <a:avLst/>
              <a:gdLst/>
              <a:ahLst/>
              <a:cxnLst/>
              <a:rect l="l" t="t" r="r" b="b"/>
              <a:pathLst>
                <a:path w="34779" h="10752" extrusionOk="0">
                  <a:moveTo>
                    <a:pt x="0" y="1"/>
                  </a:moveTo>
                  <a:lnTo>
                    <a:pt x="0" y="10752"/>
                  </a:lnTo>
                  <a:lnTo>
                    <a:pt x="34778" y="10752"/>
                  </a:lnTo>
                  <a:lnTo>
                    <a:pt x="34778" y="1"/>
                  </a:lnTo>
                  <a:close/>
                </a:path>
              </a:pathLst>
            </a:custGeom>
            <a:solidFill>
              <a:schemeClr val="accent1">
                <a:lumMod val="100000"/>
              </a:schemeClr>
            </a:solidFill>
            <a:ln>
              <a:noFill/>
            </a:ln>
          </p:spPr>
          <p:txBody>
            <a:bodyPr spcFirstLastPara="1" wrap="square" lIns="121900" tIns="121900" rIns="121900" bIns="1219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Tx/>
                <a:buNone/>
                <a:tabLst/>
                <a:defRPr/>
              </a:pPr>
              <a:r>
                <a:rPr kumimoji="0" lang="en" sz="2000" b="0" i="0" u="none" strike="noStrike" kern="1200" cap="none" spc="0" normalizeH="0" baseline="0" noProof="0">
                  <a:ln>
                    <a:noFill/>
                  </a:ln>
                  <a:solidFill>
                    <a:srgbClr val="FFFFFF"/>
                  </a:solidFill>
                  <a:effectLst/>
                  <a:uLnTx/>
                  <a:uFillTx/>
                  <a:latin typeface="Arial"/>
                  <a:ea typeface="+mn-ea"/>
                  <a:cs typeface="+mn-ea"/>
                  <a:sym typeface="+mn-lt"/>
                </a:rPr>
                <a:t>Earth</a:t>
              </a:r>
              <a:endParaRPr kumimoji="0" sz="2000"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48" name="Google Shape;1149;p32">
              <a:extLst>
                <a:ext uri="{FF2B5EF4-FFF2-40B4-BE49-F238E27FC236}">
                  <a16:creationId xmlns:a16="http://schemas.microsoft.com/office/drawing/2014/main" id="{C156276E-1DCC-4DE8-AB92-5C6DA2373A7F}"/>
                </a:ext>
              </a:extLst>
            </p:cNvPr>
            <p:cNvSpPr/>
            <p:nvPr/>
          </p:nvSpPr>
          <p:spPr>
            <a:xfrm>
              <a:off x="4309051" y="4240669"/>
              <a:ext cx="946858" cy="242081"/>
            </a:xfrm>
            <a:custGeom>
              <a:avLst/>
              <a:gdLst/>
              <a:ahLst/>
              <a:cxnLst/>
              <a:rect l="l" t="t" r="r" b="b"/>
              <a:pathLst>
                <a:path w="34779" h="10752" extrusionOk="0">
                  <a:moveTo>
                    <a:pt x="0" y="1"/>
                  </a:moveTo>
                  <a:lnTo>
                    <a:pt x="0" y="10752"/>
                  </a:lnTo>
                  <a:lnTo>
                    <a:pt x="34778" y="10752"/>
                  </a:lnTo>
                  <a:lnTo>
                    <a:pt x="34778" y="1"/>
                  </a:lnTo>
                  <a:close/>
                </a:path>
              </a:pathLst>
            </a:custGeom>
            <a:solidFill>
              <a:schemeClr val="accent1">
                <a:lumMod val="100000"/>
              </a:schemeClr>
            </a:solidFill>
            <a:ln>
              <a:noFill/>
            </a:ln>
          </p:spPr>
          <p:txBody>
            <a:bodyPr spcFirstLastPara="1" wrap="square" lIns="121900" tIns="121900" rIns="121900" bIns="1219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Tx/>
                <a:buNone/>
                <a:tabLst/>
                <a:defRPr/>
              </a:pPr>
              <a:r>
                <a:rPr kumimoji="0" lang="en" sz="2000" b="0" i="0" u="none" strike="noStrike" kern="1200" cap="none" spc="0" normalizeH="0" baseline="0" noProof="0">
                  <a:ln>
                    <a:noFill/>
                  </a:ln>
                  <a:solidFill>
                    <a:srgbClr val="FFFFFF"/>
                  </a:solidFill>
                  <a:effectLst/>
                  <a:uLnTx/>
                  <a:uFillTx/>
                  <a:latin typeface="Arial"/>
                  <a:ea typeface="+mn-ea"/>
                  <a:cs typeface="+mn-ea"/>
                  <a:sym typeface="+mn-lt"/>
                </a:rPr>
                <a:t>Mars</a:t>
              </a:r>
              <a:endParaRPr kumimoji="0" sz="2000" b="0" i="0" u="none" strike="noStrike" kern="1200" cap="none" spc="0" normalizeH="0" baseline="0" noProof="0">
                <a:ln>
                  <a:noFill/>
                </a:ln>
                <a:solidFill>
                  <a:srgbClr val="000000"/>
                </a:solidFill>
                <a:effectLst/>
                <a:uLnTx/>
                <a:uFillTx/>
                <a:latin typeface="Arial"/>
                <a:ea typeface="+mn-ea"/>
                <a:cs typeface="+mn-ea"/>
                <a:sym typeface="+mn-lt"/>
              </a:endParaRPr>
            </a:p>
          </p:txBody>
        </p:sp>
      </p:grpSp>
    </p:spTree>
    <p:extLst>
      <p:ext uri="{BB962C8B-B14F-4D97-AF65-F5344CB8AC3E}">
        <p14:creationId xmlns:p14="http://schemas.microsoft.com/office/powerpoint/2010/main" val="3617018602"/>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7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Google Shape;1155;p33">
            <a:extLst>
              <a:ext uri="{FF2B5EF4-FFF2-40B4-BE49-F238E27FC236}">
                <a16:creationId xmlns:a16="http://schemas.microsoft.com/office/drawing/2014/main" id="{CE361483-FC46-4D31-9AE2-3A67AF7D4B58}"/>
              </a:ext>
            </a:extLst>
          </p:cNvPr>
          <p:cNvSpPr/>
          <p:nvPr/>
        </p:nvSpPr>
        <p:spPr>
          <a:xfrm>
            <a:off x="4002999" y="3400530"/>
            <a:ext cx="27" cy="27"/>
          </a:xfrm>
          <a:custGeom>
            <a:avLst/>
            <a:gdLst/>
            <a:ahLst/>
            <a:cxnLst/>
            <a:rect l="l" t="t" r="r" b="b"/>
            <a:pathLst>
              <a:path w="1" h="1" extrusionOk="0">
                <a:moveTo>
                  <a:pt x="1" y="0"/>
                </a:moveTo>
                <a:close/>
              </a:path>
            </a:pathLst>
          </a:custGeom>
          <a:solidFill>
            <a:srgbClr val="000000"/>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3" name="Google Shape;1156;p33">
            <a:extLst>
              <a:ext uri="{FF2B5EF4-FFF2-40B4-BE49-F238E27FC236}">
                <a16:creationId xmlns:a16="http://schemas.microsoft.com/office/drawing/2014/main" id="{F4D89A0C-77C3-4BD7-B890-A71541B2B521}"/>
              </a:ext>
            </a:extLst>
          </p:cNvPr>
          <p:cNvSpPr/>
          <p:nvPr/>
        </p:nvSpPr>
        <p:spPr>
          <a:xfrm>
            <a:off x="6025328" y="3400530"/>
            <a:ext cx="27" cy="27"/>
          </a:xfrm>
          <a:custGeom>
            <a:avLst/>
            <a:gdLst/>
            <a:ahLst/>
            <a:cxnLst/>
            <a:rect l="l" t="t" r="r" b="b"/>
            <a:pathLst>
              <a:path w="1" h="1" extrusionOk="0">
                <a:moveTo>
                  <a:pt x="1" y="0"/>
                </a:moveTo>
                <a:close/>
              </a:path>
            </a:pathLst>
          </a:custGeom>
          <a:solidFill>
            <a:srgbClr val="000000"/>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4" name="Google Shape;1157;p33">
            <a:extLst>
              <a:ext uri="{FF2B5EF4-FFF2-40B4-BE49-F238E27FC236}">
                <a16:creationId xmlns:a16="http://schemas.microsoft.com/office/drawing/2014/main" id="{E87F1807-BD64-439B-9864-2534C57B09FA}"/>
              </a:ext>
            </a:extLst>
          </p:cNvPr>
          <p:cNvSpPr/>
          <p:nvPr/>
        </p:nvSpPr>
        <p:spPr>
          <a:xfrm>
            <a:off x="6090872" y="3400530"/>
            <a:ext cx="27" cy="27"/>
          </a:xfrm>
          <a:custGeom>
            <a:avLst/>
            <a:gdLst/>
            <a:ahLst/>
            <a:cxnLst/>
            <a:rect l="l" t="t" r="r" b="b"/>
            <a:pathLst>
              <a:path w="1" h="1" extrusionOk="0">
                <a:moveTo>
                  <a:pt x="0" y="0"/>
                </a:moveTo>
                <a:close/>
              </a:path>
            </a:pathLst>
          </a:custGeom>
          <a:solidFill>
            <a:srgbClr val="000000"/>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5" name="Google Shape;1158;p33">
            <a:extLst>
              <a:ext uri="{FF2B5EF4-FFF2-40B4-BE49-F238E27FC236}">
                <a16:creationId xmlns:a16="http://schemas.microsoft.com/office/drawing/2014/main" id="{0D39EE60-2B3B-49EB-9EEB-C923B43F9FA9}"/>
              </a:ext>
            </a:extLst>
          </p:cNvPr>
          <p:cNvSpPr/>
          <p:nvPr/>
        </p:nvSpPr>
        <p:spPr>
          <a:xfrm>
            <a:off x="8358947" y="3400530"/>
            <a:ext cx="27" cy="27"/>
          </a:xfrm>
          <a:custGeom>
            <a:avLst/>
            <a:gdLst/>
            <a:ahLst/>
            <a:cxnLst/>
            <a:rect l="l" t="t" r="r" b="b"/>
            <a:pathLst>
              <a:path w="1" h="1" extrusionOk="0">
                <a:moveTo>
                  <a:pt x="1" y="0"/>
                </a:moveTo>
                <a:close/>
              </a:path>
            </a:pathLst>
          </a:custGeom>
          <a:solidFill>
            <a:srgbClr val="000000"/>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6" name="Google Shape;1159;p33">
            <a:extLst>
              <a:ext uri="{FF2B5EF4-FFF2-40B4-BE49-F238E27FC236}">
                <a16:creationId xmlns:a16="http://schemas.microsoft.com/office/drawing/2014/main" id="{33D0928F-8D56-4DC3-9FF4-40987B1EF2B2}"/>
              </a:ext>
            </a:extLst>
          </p:cNvPr>
          <p:cNvSpPr/>
          <p:nvPr/>
        </p:nvSpPr>
        <p:spPr>
          <a:xfrm>
            <a:off x="8363365" y="3459114"/>
            <a:ext cx="27" cy="27"/>
          </a:xfrm>
          <a:custGeom>
            <a:avLst/>
            <a:gdLst/>
            <a:ahLst/>
            <a:cxnLst/>
            <a:rect l="l" t="t" r="r" b="b"/>
            <a:pathLst>
              <a:path w="1" h="1" extrusionOk="0">
                <a:moveTo>
                  <a:pt x="0" y="1"/>
                </a:moveTo>
                <a:close/>
              </a:path>
            </a:pathLst>
          </a:custGeom>
          <a:solidFill>
            <a:srgbClr val="869FB2"/>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7" name="Google Shape;1160;p33">
            <a:extLst>
              <a:ext uri="{FF2B5EF4-FFF2-40B4-BE49-F238E27FC236}">
                <a16:creationId xmlns:a16="http://schemas.microsoft.com/office/drawing/2014/main" id="{97B04B46-523B-4BD1-8A5B-91C61E128A3D}"/>
              </a:ext>
            </a:extLst>
          </p:cNvPr>
          <p:cNvSpPr/>
          <p:nvPr/>
        </p:nvSpPr>
        <p:spPr>
          <a:xfrm>
            <a:off x="6095900" y="3459114"/>
            <a:ext cx="27" cy="27"/>
          </a:xfrm>
          <a:custGeom>
            <a:avLst/>
            <a:gdLst/>
            <a:ahLst/>
            <a:cxnLst/>
            <a:rect l="l" t="t" r="r" b="b"/>
            <a:pathLst>
              <a:path w="1" h="1" extrusionOk="0">
                <a:moveTo>
                  <a:pt x="1" y="1"/>
                </a:moveTo>
                <a:close/>
              </a:path>
            </a:pathLst>
          </a:custGeom>
          <a:solidFill>
            <a:srgbClr val="869FB2"/>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8" name="Google Shape;1161;p33">
            <a:extLst>
              <a:ext uri="{FF2B5EF4-FFF2-40B4-BE49-F238E27FC236}">
                <a16:creationId xmlns:a16="http://schemas.microsoft.com/office/drawing/2014/main" id="{2AA91D27-EB16-40D6-AAD6-7562F0F73D4B}"/>
              </a:ext>
            </a:extLst>
          </p:cNvPr>
          <p:cNvSpPr/>
          <p:nvPr/>
        </p:nvSpPr>
        <p:spPr>
          <a:xfrm>
            <a:off x="6030381" y="3459114"/>
            <a:ext cx="27" cy="27"/>
          </a:xfrm>
          <a:custGeom>
            <a:avLst/>
            <a:gdLst/>
            <a:ahLst/>
            <a:cxnLst/>
            <a:rect l="l" t="t" r="r" b="b"/>
            <a:pathLst>
              <a:path w="1" h="1" extrusionOk="0">
                <a:moveTo>
                  <a:pt x="0" y="1"/>
                </a:moveTo>
                <a:close/>
              </a:path>
            </a:pathLst>
          </a:custGeom>
          <a:solidFill>
            <a:srgbClr val="869FB2"/>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9" name="Google Shape;1162;p33">
            <a:extLst>
              <a:ext uri="{FF2B5EF4-FFF2-40B4-BE49-F238E27FC236}">
                <a16:creationId xmlns:a16="http://schemas.microsoft.com/office/drawing/2014/main" id="{1BB56A7C-3AD0-4FA8-B1AF-D6B96FA5D2E8}"/>
              </a:ext>
            </a:extLst>
          </p:cNvPr>
          <p:cNvSpPr/>
          <p:nvPr/>
        </p:nvSpPr>
        <p:spPr>
          <a:xfrm>
            <a:off x="4010249" y="3459114"/>
            <a:ext cx="27" cy="27"/>
          </a:xfrm>
          <a:custGeom>
            <a:avLst/>
            <a:gdLst/>
            <a:ahLst/>
            <a:cxnLst/>
            <a:rect l="l" t="t" r="r" b="b"/>
            <a:pathLst>
              <a:path w="1" h="1" extrusionOk="0">
                <a:moveTo>
                  <a:pt x="1" y="1"/>
                </a:moveTo>
                <a:close/>
              </a:path>
            </a:pathLst>
          </a:custGeom>
          <a:solidFill>
            <a:srgbClr val="869FB2"/>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grpSp>
        <p:nvGrpSpPr>
          <p:cNvPr id="10" name="Google Shape;1163;p33">
            <a:extLst>
              <a:ext uri="{FF2B5EF4-FFF2-40B4-BE49-F238E27FC236}">
                <a16:creationId xmlns:a16="http://schemas.microsoft.com/office/drawing/2014/main" id="{2BA48A8C-CCEB-48BC-902A-87F505A148DF}"/>
              </a:ext>
            </a:extLst>
          </p:cNvPr>
          <p:cNvGrpSpPr/>
          <p:nvPr/>
        </p:nvGrpSpPr>
        <p:grpSpPr>
          <a:xfrm>
            <a:off x="4326516" y="1550837"/>
            <a:ext cx="1830160" cy="1849643"/>
            <a:chOff x="3517188" y="1337847"/>
            <a:chExt cx="1372620" cy="1387232"/>
          </a:xfrm>
        </p:grpSpPr>
        <p:sp>
          <p:nvSpPr>
            <p:cNvPr id="11" name="Google Shape;1164;p33">
              <a:extLst>
                <a:ext uri="{FF2B5EF4-FFF2-40B4-BE49-F238E27FC236}">
                  <a16:creationId xmlns:a16="http://schemas.microsoft.com/office/drawing/2014/main" id="{AF3AD7CC-2A44-4903-B123-C2E170474198}"/>
                </a:ext>
              </a:extLst>
            </p:cNvPr>
            <p:cNvSpPr/>
            <p:nvPr/>
          </p:nvSpPr>
          <p:spPr>
            <a:xfrm>
              <a:off x="4035639" y="1485759"/>
              <a:ext cx="854168" cy="1239320"/>
            </a:xfrm>
            <a:custGeom>
              <a:avLst/>
              <a:gdLst/>
              <a:ahLst/>
              <a:cxnLst/>
              <a:rect l="l" t="t" r="r" b="b"/>
              <a:pathLst>
                <a:path w="43042" h="62450" extrusionOk="0">
                  <a:moveTo>
                    <a:pt x="0" y="1"/>
                  </a:moveTo>
                  <a:lnTo>
                    <a:pt x="0" y="2215"/>
                  </a:lnTo>
                  <a:lnTo>
                    <a:pt x="10418" y="2215"/>
                  </a:lnTo>
                  <a:lnTo>
                    <a:pt x="40565" y="62449"/>
                  </a:lnTo>
                  <a:lnTo>
                    <a:pt x="43041" y="62449"/>
                  </a:lnTo>
                  <a:lnTo>
                    <a:pt x="11788" y="1"/>
                  </a:ln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12" name="Google Shape;1165;p33">
              <a:extLst>
                <a:ext uri="{FF2B5EF4-FFF2-40B4-BE49-F238E27FC236}">
                  <a16:creationId xmlns:a16="http://schemas.microsoft.com/office/drawing/2014/main" id="{6DC2B097-8BF0-499F-8E79-207D47CA7E05}"/>
                </a:ext>
              </a:extLst>
            </p:cNvPr>
            <p:cNvSpPr/>
            <p:nvPr/>
          </p:nvSpPr>
          <p:spPr>
            <a:xfrm>
              <a:off x="3708618" y="1337847"/>
              <a:ext cx="335063" cy="334825"/>
            </a:xfrm>
            <a:custGeom>
              <a:avLst/>
              <a:gdLst/>
              <a:ahLst/>
              <a:cxnLst/>
              <a:rect l="l" t="t" r="r" b="b"/>
              <a:pathLst>
                <a:path w="16884" h="16872" extrusionOk="0">
                  <a:moveTo>
                    <a:pt x="8442" y="1"/>
                  </a:moveTo>
                  <a:cubicBezTo>
                    <a:pt x="3774" y="1"/>
                    <a:pt x="0" y="3775"/>
                    <a:pt x="0" y="8442"/>
                  </a:cubicBezTo>
                  <a:cubicBezTo>
                    <a:pt x="0" y="13097"/>
                    <a:pt x="3774" y="16872"/>
                    <a:pt x="8442" y="16872"/>
                  </a:cubicBezTo>
                  <a:cubicBezTo>
                    <a:pt x="13097" y="16872"/>
                    <a:pt x="16883" y="13097"/>
                    <a:pt x="16883" y="8442"/>
                  </a:cubicBezTo>
                  <a:cubicBezTo>
                    <a:pt x="16883" y="3775"/>
                    <a:pt x="13097" y="1"/>
                    <a:pt x="8442" y="1"/>
                  </a:cubicBezTo>
                  <a:close/>
                </a:path>
              </a:pathLst>
            </a:custGeom>
            <a:solidFill>
              <a:srgbClr val="FFFFFF"/>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13" name="Google Shape;1166;p33">
              <a:extLst>
                <a:ext uri="{FF2B5EF4-FFF2-40B4-BE49-F238E27FC236}">
                  <a16:creationId xmlns:a16="http://schemas.microsoft.com/office/drawing/2014/main" id="{26E72D8A-139B-45AB-B34C-DFDC0F0F52C2}"/>
                </a:ext>
              </a:extLst>
            </p:cNvPr>
            <p:cNvSpPr/>
            <p:nvPr/>
          </p:nvSpPr>
          <p:spPr>
            <a:xfrm>
              <a:off x="3708618" y="1337847"/>
              <a:ext cx="335063" cy="334825"/>
            </a:xfrm>
            <a:custGeom>
              <a:avLst/>
              <a:gdLst/>
              <a:ahLst/>
              <a:cxnLst/>
              <a:rect l="l" t="t" r="r" b="b"/>
              <a:pathLst>
                <a:path w="16884" h="16872" fill="none" extrusionOk="0">
                  <a:moveTo>
                    <a:pt x="16883" y="8442"/>
                  </a:moveTo>
                  <a:cubicBezTo>
                    <a:pt x="16883" y="13097"/>
                    <a:pt x="13097" y="16872"/>
                    <a:pt x="8442" y="16872"/>
                  </a:cubicBezTo>
                  <a:cubicBezTo>
                    <a:pt x="3774" y="16872"/>
                    <a:pt x="0" y="13097"/>
                    <a:pt x="0" y="8442"/>
                  </a:cubicBezTo>
                  <a:cubicBezTo>
                    <a:pt x="0" y="3775"/>
                    <a:pt x="3774" y="1"/>
                    <a:pt x="8442" y="1"/>
                  </a:cubicBezTo>
                  <a:cubicBezTo>
                    <a:pt x="13097" y="1"/>
                    <a:pt x="16883" y="3775"/>
                    <a:pt x="16883" y="8442"/>
                  </a:cubicBezTo>
                  <a:close/>
                </a:path>
              </a:pathLst>
            </a:custGeom>
            <a:noFill/>
            <a:ln w="33350" cap="flat" cmpd="sng">
              <a:solidFill>
                <a:schemeClr val="accent1"/>
              </a:solidFill>
              <a:prstDash val="solid"/>
              <a:miter lim="11906"/>
              <a:headEnd type="none" w="sm" len="sm"/>
              <a:tailEnd type="none" w="sm" len="sm"/>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14" name="Google Shape;1167;p33">
              <a:extLst>
                <a:ext uri="{FF2B5EF4-FFF2-40B4-BE49-F238E27FC236}">
                  <a16:creationId xmlns:a16="http://schemas.microsoft.com/office/drawing/2014/main" id="{63D539A8-C98F-4632-B455-C29787F36364}"/>
                </a:ext>
              </a:extLst>
            </p:cNvPr>
            <p:cNvSpPr/>
            <p:nvPr/>
          </p:nvSpPr>
          <p:spPr>
            <a:xfrm>
              <a:off x="3801477" y="1430944"/>
              <a:ext cx="149572" cy="150306"/>
            </a:xfrm>
            <a:custGeom>
              <a:avLst/>
              <a:gdLst/>
              <a:ahLst/>
              <a:cxnLst/>
              <a:rect l="l" t="t" r="r" b="b"/>
              <a:pathLst>
                <a:path w="7537" h="7574" extrusionOk="0">
                  <a:moveTo>
                    <a:pt x="3775" y="2299"/>
                  </a:moveTo>
                  <a:cubicBezTo>
                    <a:pt x="4596" y="2299"/>
                    <a:pt x="5263" y="2965"/>
                    <a:pt x="5263" y="3787"/>
                  </a:cubicBezTo>
                  <a:cubicBezTo>
                    <a:pt x="5263" y="4620"/>
                    <a:pt x="4596" y="5287"/>
                    <a:pt x="3775" y="5287"/>
                  </a:cubicBezTo>
                  <a:cubicBezTo>
                    <a:pt x="2941" y="5287"/>
                    <a:pt x="2274" y="4620"/>
                    <a:pt x="2274" y="3787"/>
                  </a:cubicBezTo>
                  <a:cubicBezTo>
                    <a:pt x="2274" y="2965"/>
                    <a:pt x="2941" y="2299"/>
                    <a:pt x="3775" y="2299"/>
                  </a:cubicBezTo>
                  <a:close/>
                  <a:moveTo>
                    <a:pt x="3013" y="1"/>
                  </a:moveTo>
                  <a:cubicBezTo>
                    <a:pt x="2798" y="1"/>
                    <a:pt x="2620" y="179"/>
                    <a:pt x="2620" y="394"/>
                  </a:cubicBezTo>
                  <a:lnTo>
                    <a:pt x="2620" y="846"/>
                  </a:lnTo>
                  <a:cubicBezTo>
                    <a:pt x="2620" y="894"/>
                    <a:pt x="2596" y="929"/>
                    <a:pt x="2560" y="941"/>
                  </a:cubicBezTo>
                  <a:cubicBezTo>
                    <a:pt x="2239" y="1060"/>
                    <a:pt x="1941" y="1239"/>
                    <a:pt x="1679" y="1465"/>
                  </a:cubicBezTo>
                  <a:cubicBezTo>
                    <a:pt x="1658" y="1479"/>
                    <a:pt x="1633" y="1485"/>
                    <a:pt x="1609" y="1485"/>
                  </a:cubicBezTo>
                  <a:cubicBezTo>
                    <a:pt x="1592" y="1485"/>
                    <a:pt x="1575" y="1482"/>
                    <a:pt x="1560" y="1477"/>
                  </a:cubicBezTo>
                  <a:lnTo>
                    <a:pt x="1286" y="1310"/>
                  </a:lnTo>
                  <a:cubicBezTo>
                    <a:pt x="1223" y="1275"/>
                    <a:pt x="1154" y="1257"/>
                    <a:pt x="1086" y="1257"/>
                  </a:cubicBezTo>
                  <a:cubicBezTo>
                    <a:pt x="951" y="1257"/>
                    <a:pt x="822" y="1326"/>
                    <a:pt x="750" y="1453"/>
                  </a:cubicBezTo>
                  <a:lnTo>
                    <a:pt x="107" y="2549"/>
                  </a:lnTo>
                  <a:cubicBezTo>
                    <a:pt x="0" y="2739"/>
                    <a:pt x="72" y="2977"/>
                    <a:pt x="262" y="3084"/>
                  </a:cubicBezTo>
                  <a:lnTo>
                    <a:pt x="584" y="3275"/>
                  </a:lnTo>
                  <a:cubicBezTo>
                    <a:pt x="607" y="3299"/>
                    <a:pt x="631" y="3334"/>
                    <a:pt x="631" y="3370"/>
                  </a:cubicBezTo>
                  <a:cubicBezTo>
                    <a:pt x="607" y="3513"/>
                    <a:pt x="596" y="3644"/>
                    <a:pt x="596" y="3787"/>
                  </a:cubicBezTo>
                  <a:cubicBezTo>
                    <a:pt x="596" y="4025"/>
                    <a:pt x="619" y="4239"/>
                    <a:pt x="667" y="4454"/>
                  </a:cubicBezTo>
                  <a:cubicBezTo>
                    <a:pt x="679" y="4501"/>
                    <a:pt x="667" y="4537"/>
                    <a:pt x="631" y="4561"/>
                  </a:cubicBezTo>
                  <a:lnTo>
                    <a:pt x="381" y="4704"/>
                  </a:lnTo>
                  <a:cubicBezTo>
                    <a:pt x="191" y="4811"/>
                    <a:pt x="131" y="5049"/>
                    <a:pt x="238" y="5239"/>
                  </a:cubicBezTo>
                  <a:lnTo>
                    <a:pt x="869" y="6335"/>
                  </a:lnTo>
                  <a:cubicBezTo>
                    <a:pt x="941" y="6462"/>
                    <a:pt x="1070" y="6531"/>
                    <a:pt x="1205" y="6531"/>
                  </a:cubicBezTo>
                  <a:cubicBezTo>
                    <a:pt x="1273" y="6531"/>
                    <a:pt x="1342" y="6513"/>
                    <a:pt x="1405" y="6478"/>
                  </a:cubicBezTo>
                  <a:lnTo>
                    <a:pt x="1774" y="6263"/>
                  </a:lnTo>
                  <a:cubicBezTo>
                    <a:pt x="1789" y="6258"/>
                    <a:pt x="1804" y="6256"/>
                    <a:pt x="1819" y="6256"/>
                  </a:cubicBezTo>
                  <a:cubicBezTo>
                    <a:pt x="1840" y="6256"/>
                    <a:pt x="1861" y="6261"/>
                    <a:pt x="1881" y="6275"/>
                  </a:cubicBezTo>
                  <a:cubicBezTo>
                    <a:pt x="2155" y="6478"/>
                    <a:pt x="2465" y="6621"/>
                    <a:pt x="2798" y="6716"/>
                  </a:cubicBezTo>
                  <a:cubicBezTo>
                    <a:pt x="2834" y="6728"/>
                    <a:pt x="2870" y="6763"/>
                    <a:pt x="2870" y="6811"/>
                  </a:cubicBezTo>
                  <a:lnTo>
                    <a:pt x="2870" y="7180"/>
                  </a:lnTo>
                  <a:cubicBezTo>
                    <a:pt x="2870" y="7406"/>
                    <a:pt x="3048" y="7573"/>
                    <a:pt x="3263" y="7573"/>
                  </a:cubicBezTo>
                  <a:lnTo>
                    <a:pt x="4525" y="7573"/>
                  </a:lnTo>
                  <a:cubicBezTo>
                    <a:pt x="4739" y="7573"/>
                    <a:pt x="4918" y="7406"/>
                    <a:pt x="4918" y="7180"/>
                  </a:cubicBezTo>
                  <a:lnTo>
                    <a:pt x="4918" y="6621"/>
                  </a:lnTo>
                  <a:cubicBezTo>
                    <a:pt x="4918" y="6585"/>
                    <a:pt x="4941" y="6561"/>
                    <a:pt x="4977" y="6537"/>
                  </a:cubicBezTo>
                  <a:cubicBezTo>
                    <a:pt x="5239" y="6406"/>
                    <a:pt x="5489" y="6240"/>
                    <a:pt x="5715" y="6037"/>
                  </a:cubicBezTo>
                  <a:cubicBezTo>
                    <a:pt x="5735" y="6017"/>
                    <a:pt x="5755" y="6009"/>
                    <a:pt x="5774" y="6009"/>
                  </a:cubicBezTo>
                  <a:cubicBezTo>
                    <a:pt x="5790" y="6009"/>
                    <a:pt x="5806" y="6015"/>
                    <a:pt x="5822" y="6025"/>
                  </a:cubicBezTo>
                  <a:lnTo>
                    <a:pt x="6251" y="6275"/>
                  </a:lnTo>
                  <a:cubicBezTo>
                    <a:pt x="6311" y="6309"/>
                    <a:pt x="6376" y="6325"/>
                    <a:pt x="6441" y="6325"/>
                  </a:cubicBezTo>
                  <a:cubicBezTo>
                    <a:pt x="6580" y="6325"/>
                    <a:pt x="6717" y="6251"/>
                    <a:pt x="6799" y="6120"/>
                  </a:cubicBezTo>
                  <a:lnTo>
                    <a:pt x="7430" y="5037"/>
                  </a:lnTo>
                  <a:cubicBezTo>
                    <a:pt x="7537" y="4847"/>
                    <a:pt x="7465" y="4596"/>
                    <a:pt x="7287" y="4489"/>
                  </a:cubicBezTo>
                  <a:lnTo>
                    <a:pt x="6727" y="4180"/>
                  </a:lnTo>
                  <a:cubicBezTo>
                    <a:pt x="6703" y="4156"/>
                    <a:pt x="6680" y="4120"/>
                    <a:pt x="6692" y="4085"/>
                  </a:cubicBezTo>
                  <a:cubicBezTo>
                    <a:pt x="6692" y="3989"/>
                    <a:pt x="6703" y="3894"/>
                    <a:pt x="6703" y="3787"/>
                  </a:cubicBezTo>
                  <a:cubicBezTo>
                    <a:pt x="6703" y="3608"/>
                    <a:pt x="6680" y="3418"/>
                    <a:pt x="6656" y="3239"/>
                  </a:cubicBezTo>
                  <a:cubicBezTo>
                    <a:pt x="6644" y="3203"/>
                    <a:pt x="6668" y="3168"/>
                    <a:pt x="6703" y="3144"/>
                  </a:cubicBezTo>
                  <a:lnTo>
                    <a:pt x="7156" y="2882"/>
                  </a:lnTo>
                  <a:cubicBezTo>
                    <a:pt x="7346" y="2763"/>
                    <a:pt x="7418" y="2525"/>
                    <a:pt x="7299" y="2334"/>
                  </a:cubicBezTo>
                  <a:lnTo>
                    <a:pt x="6668" y="1239"/>
                  </a:lnTo>
                  <a:cubicBezTo>
                    <a:pt x="6595" y="1118"/>
                    <a:pt x="6462" y="1046"/>
                    <a:pt x="6324" y="1046"/>
                  </a:cubicBezTo>
                  <a:cubicBezTo>
                    <a:pt x="6259" y="1046"/>
                    <a:pt x="6193" y="1062"/>
                    <a:pt x="6132" y="1096"/>
                  </a:cubicBezTo>
                  <a:lnTo>
                    <a:pt x="5632" y="1394"/>
                  </a:lnTo>
                  <a:cubicBezTo>
                    <a:pt x="5617" y="1399"/>
                    <a:pt x="5602" y="1402"/>
                    <a:pt x="5588" y="1402"/>
                  </a:cubicBezTo>
                  <a:cubicBezTo>
                    <a:pt x="5567" y="1402"/>
                    <a:pt x="5546" y="1396"/>
                    <a:pt x="5525" y="1382"/>
                  </a:cubicBezTo>
                  <a:cubicBezTo>
                    <a:pt x="5287" y="1203"/>
                    <a:pt x="5025" y="1048"/>
                    <a:pt x="4739" y="941"/>
                  </a:cubicBezTo>
                  <a:cubicBezTo>
                    <a:pt x="4703" y="929"/>
                    <a:pt x="4679" y="894"/>
                    <a:pt x="4679" y="846"/>
                  </a:cubicBezTo>
                  <a:lnTo>
                    <a:pt x="4679" y="394"/>
                  </a:lnTo>
                  <a:cubicBezTo>
                    <a:pt x="4679" y="179"/>
                    <a:pt x="4501" y="1"/>
                    <a:pt x="4275" y="1"/>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15" name="Google Shape;1168;p33">
              <a:extLst>
                <a:ext uri="{FF2B5EF4-FFF2-40B4-BE49-F238E27FC236}">
                  <a16:creationId xmlns:a16="http://schemas.microsoft.com/office/drawing/2014/main" id="{F42B70F3-B253-43BC-891C-98A3AB0AC5A1}"/>
                </a:ext>
              </a:extLst>
            </p:cNvPr>
            <p:cNvSpPr txBox="1"/>
            <p:nvPr/>
          </p:nvSpPr>
          <p:spPr>
            <a:xfrm>
              <a:off x="3517188" y="1972775"/>
              <a:ext cx="964200" cy="597300"/>
            </a:xfrm>
            <a:prstGeom prst="rect">
              <a:avLst/>
            </a:prstGeom>
            <a:noFill/>
            <a:ln>
              <a:noFill/>
            </a:ln>
          </p:spPr>
          <p:txBody>
            <a:bodyPr spcFirstLastPara="1" wrap="square" lIns="121900" tIns="121900" rIns="121900" bIns="12190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 sz="1600" b="0" i="0" u="none" strike="noStrike" kern="1200" cap="none" spc="0" normalizeH="0" baseline="0" noProof="0">
                  <a:ln>
                    <a:noFill/>
                  </a:ln>
                  <a:solidFill>
                    <a:srgbClr val="434343"/>
                  </a:solidFill>
                  <a:effectLst/>
                  <a:uLnTx/>
                  <a:uFillTx/>
                  <a:latin typeface="Arial"/>
                  <a:ea typeface="+mn-ea"/>
                  <a:cs typeface="+mn-ea"/>
                  <a:sym typeface="+mn-lt"/>
                </a:rPr>
                <a:t>Mercury is the first</a:t>
              </a:r>
              <a:endParaRPr kumimoji="0" sz="1600" b="0" i="0" u="none" strike="noStrike" kern="1200" cap="none" spc="0" normalizeH="0" baseline="0" noProof="0">
                <a:ln>
                  <a:noFill/>
                </a:ln>
                <a:solidFill>
                  <a:srgbClr val="434343"/>
                </a:solidFill>
                <a:effectLst/>
                <a:uLnTx/>
                <a:uFillTx/>
                <a:latin typeface="Arial"/>
                <a:ea typeface="+mn-ea"/>
                <a:cs typeface="+mn-ea"/>
                <a:sym typeface="+mn-lt"/>
              </a:endParaRPr>
            </a:p>
          </p:txBody>
        </p:sp>
      </p:grpSp>
      <p:grpSp>
        <p:nvGrpSpPr>
          <p:cNvPr id="16" name="Google Shape;1169;p33">
            <a:extLst>
              <a:ext uri="{FF2B5EF4-FFF2-40B4-BE49-F238E27FC236}">
                <a16:creationId xmlns:a16="http://schemas.microsoft.com/office/drawing/2014/main" id="{83AE6B60-E36C-4B5F-8D74-33ED8A85515F}"/>
              </a:ext>
            </a:extLst>
          </p:cNvPr>
          <p:cNvGrpSpPr/>
          <p:nvPr/>
        </p:nvGrpSpPr>
        <p:grpSpPr>
          <a:xfrm>
            <a:off x="4326517" y="3460385"/>
            <a:ext cx="1835188" cy="1853139"/>
            <a:chOff x="3517188" y="2770008"/>
            <a:chExt cx="1376391" cy="1389854"/>
          </a:xfrm>
        </p:grpSpPr>
        <p:sp>
          <p:nvSpPr>
            <p:cNvPr id="17" name="Google Shape;1170;p33">
              <a:extLst>
                <a:ext uri="{FF2B5EF4-FFF2-40B4-BE49-F238E27FC236}">
                  <a16:creationId xmlns:a16="http://schemas.microsoft.com/office/drawing/2014/main" id="{46C04A8A-4048-4D79-B8F1-BBA30BDEECC6}"/>
                </a:ext>
              </a:extLst>
            </p:cNvPr>
            <p:cNvSpPr/>
            <p:nvPr/>
          </p:nvSpPr>
          <p:spPr>
            <a:xfrm>
              <a:off x="3708618" y="3824799"/>
              <a:ext cx="335063" cy="335063"/>
            </a:xfrm>
            <a:custGeom>
              <a:avLst/>
              <a:gdLst/>
              <a:ahLst/>
              <a:cxnLst/>
              <a:rect l="l" t="t" r="r" b="b"/>
              <a:pathLst>
                <a:path w="16884" h="16884" extrusionOk="0">
                  <a:moveTo>
                    <a:pt x="8442" y="1"/>
                  </a:moveTo>
                  <a:cubicBezTo>
                    <a:pt x="3774" y="1"/>
                    <a:pt x="0" y="3787"/>
                    <a:pt x="0" y="8442"/>
                  </a:cubicBezTo>
                  <a:cubicBezTo>
                    <a:pt x="0" y="13109"/>
                    <a:pt x="3774" y="16884"/>
                    <a:pt x="8442" y="16884"/>
                  </a:cubicBezTo>
                  <a:cubicBezTo>
                    <a:pt x="13097" y="16884"/>
                    <a:pt x="16883" y="13109"/>
                    <a:pt x="16883" y="8442"/>
                  </a:cubicBezTo>
                  <a:cubicBezTo>
                    <a:pt x="16883" y="3787"/>
                    <a:pt x="13097" y="1"/>
                    <a:pt x="8442" y="1"/>
                  </a:cubicBezTo>
                  <a:close/>
                </a:path>
              </a:pathLst>
            </a:custGeom>
            <a:solidFill>
              <a:srgbClr val="FFFFFF"/>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18" name="Google Shape;1171;p33">
              <a:extLst>
                <a:ext uri="{FF2B5EF4-FFF2-40B4-BE49-F238E27FC236}">
                  <a16:creationId xmlns:a16="http://schemas.microsoft.com/office/drawing/2014/main" id="{4A06CE7E-A232-492E-B0B4-4608802060E4}"/>
                </a:ext>
              </a:extLst>
            </p:cNvPr>
            <p:cNvSpPr/>
            <p:nvPr/>
          </p:nvSpPr>
          <p:spPr>
            <a:xfrm>
              <a:off x="3708618" y="3824799"/>
              <a:ext cx="335063" cy="335063"/>
            </a:xfrm>
            <a:custGeom>
              <a:avLst/>
              <a:gdLst/>
              <a:ahLst/>
              <a:cxnLst/>
              <a:rect l="l" t="t" r="r" b="b"/>
              <a:pathLst>
                <a:path w="16884" h="16884" fill="none" extrusionOk="0">
                  <a:moveTo>
                    <a:pt x="16883" y="8442"/>
                  </a:moveTo>
                  <a:cubicBezTo>
                    <a:pt x="16883" y="13109"/>
                    <a:pt x="13097" y="16884"/>
                    <a:pt x="8442" y="16884"/>
                  </a:cubicBezTo>
                  <a:cubicBezTo>
                    <a:pt x="3774" y="16884"/>
                    <a:pt x="0" y="13109"/>
                    <a:pt x="0" y="8442"/>
                  </a:cubicBezTo>
                  <a:cubicBezTo>
                    <a:pt x="0" y="3787"/>
                    <a:pt x="3774" y="1"/>
                    <a:pt x="8442" y="1"/>
                  </a:cubicBezTo>
                  <a:cubicBezTo>
                    <a:pt x="13097" y="1"/>
                    <a:pt x="16883" y="3787"/>
                    <a:pt x="16883" y="8442"/>
                  </a:cubicBezTo>
                  <a:close/>
                </a:path>
              </a:pathLst>
            </a:custGeom>
            <a:noFill/>
            <a:ln w="33350" cap="flat" cmpd="sng">
              <a:solidFill>
                <a:schemeClr val="accent1"/>
              </a:solidFill>
              <a:prstDash val="solid"/>
              <a:miter lim="11906"/>
              <a:headEnd type="none" w="sm" len="sm"/>
              <a:tailEnd type="none" w="sm" len="sm"/>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19" name="Google Shape;1172;p33">
              <a:extLst>
                <a:ext uri="{FF2B5EF4-FFF2-40B4-BE49-F238E27FC236}">
                  <a16:creationId xmlns:a16="http://schemas.microsoft.com/office/drawing/2014/main" id="{D001C845-9274-40F1-B9C6-98B0ED6428E6}"/>
                </a:ext>
              </a:extLst>
            </p:cNvPr>
            <p:cNvSpPr/>
            <p:nvPr/>
          </p:nvSpPr>
          <p:spPr>
            <a:xfrm>
              <a:off x="3784529" y="3903944"/>
              <a:ext cx="178268" cy="177950"/>
            </a:xfrm>
            <a:custGeom>
              <a:avLst/>
              <a:gdLst/>
              <a:ahLst/>
              <a:cxnLst/>
              <a:rect l="l" t="t" r="r" b="b"/>
              <a:pathLst>
                <a:path w="8983" h="8967" extrusionOk="0">
                  <a:moveTo>
                    <a:pt x="6774" y="1"/>
                  </a:moveTo>
                  <a:cubicBezTo>
                    <a:pt x="6769" y="1"/>
                    <a:pt x="6765" y="1"/>
                    <a:pt x="6760" y="1"/>
                  </a:cubicBezTo>
                  <a:cubicBezTo>
                    <a:pt x="6224" y="13"/>
                    <a:pt x="5700" y="216"/>
                    <a:pt x="5295" y="632"/>
                  </a:cubicBezTo>
                  <a:cubicBezTo>
                    <a:pt x="4688" y="1228"/>
                    <a:pt x="4521" y="2085"/>
                    <a:pt x="4771" y="2835"/>
                  </a:cubicBezTo>
                  <a:cubicBezTo>
                    <a:pt x="4795" y="2930"/>
                    <a:pt x="4783" y="3037"/>
                    <a:pt x="4712" y="3109"/>
                  </a:cubicBezTo>
                  <a:lnTo>
                    <a:pt x="3116" y="4704"/>
                  </a:lnTo>
                  <a:cubicBezTo>
                    <a:pt x="3067" y="4754"/>
                    <a:pt x="3001" y="4780"/>
                    <a:pt x="2933" y="4780"/>
                  </a:cubicBezTo>
                  <a:cubicBezTo>
                    <a:pt x="2903" y="4780"/>
                    <a:pt x="2872" y="4775"/>
                    <a:pt x="2843" y="4764"/>
                  </a:cubicBezTo>
                  <a:cubicBezTo>
                    <a:pt x="2620" y="4692"/>
                    <a:pt x="2387" y="4656"/>
                    <a:pt x="2155" y="4656"/>
                  </a:cubicBezTo>
                  <a:cubicBezTo>
                    <a:pt x="1618" y="4656"/>
                    <a:pt x="1083" y="4849"/>
                    <a:pt x="676" y="5240"/>
                  </a:cubicBezTo>
                  <a:cubicBezTo>
                    <a:pt x="235" y="5657"/>
                    <a:pt x="21" y="6204"/>
                    <a:pt x="9" y="6752"/>
                  </a:cubicBezTo>
                  <a:cubicBezTo>
                    <a:pt x="1" y="6922"/>
                    <a:pt x="131" y="7032"/>
                    <a:pt x="267" y="7032"/>
                  </a:cubicBezTo>
                  <a:cubicBezTo>
                    <a:pt x="331" y="7032"/>
                    <a:pt x="396" y="7008"/>
                    <a:pt x="449" y="6954"/>
                  </a:cubicBezTo>
                  <a:lnTo>
                    <a:pt x="1259" y="6157"/>
                  </a:lnTo>
                  <a:cubicBezTo>
                    <a:pt x="1307" y="6103"/>
                    <a:pt x="1372" y="6076"/>
                    <a:pt x="1439" y="6076"/>
                  </a:cubicBezTo>
                  <a:cubicBezTo>
                    <a:pt x="1506" y="6076"/>
                    <a:pt x="1575" y="6103"/>
                    <a:pt x="1628" y="6157"/>
                  </a:cubicBezTo>
                  <a:lnTo>
                    <a:pt x="2819" y="7347"/>
                  </a:lnTo>
                  <a:cubicBezTo>
                    <a:pt x="2926" y="7455"/>
                    <a:pt x="2926" y="7621"/>
                    <a:pt x="2819" y="7716"/>
                  </a:cubicBezTo>
                  <a:lnTo>
                    <a:pt x="2021" y="8526"/>
                  </a:lnTo>
                  <a:cubicBezTo>
                    <a:pt x="1858" y="8689"/>
                    <a:pt x="1969" y="8967"/>
                    <a:pt x="2197" y="8967"/>
                  </a:cubicBezTo>
                  <a:cubicBezTo>
                    <a:pt x="2202" y="8967"/>
                    <a:pt x="2207" y="8967"/>
                    <a:pt x="2212" y="8967"/>
                  </a:cubicBezTo>
                  <a:cubicBezTo>
                    <a:pt x="2747" y="8955"/>
                    <a:pt x="3283" y="8752"/>
                    <a:pt x="3688" y="8336"/>
                  </a:cubicBezTo>
                  <a:cubicBezTo>
                    <a:pt x="4295" y="7740"/>
                    <a:pt x="4462" y="6883"/>
                    <a:pt x="4212" y="6133"/>
                  </a:cubicBezTo>
                  <a:cubicBezTo>
                    <a:pt x="4188" y="6038"/>
                    <a:pt x="4200" y="5931"/>
                    <a:pt x="4271" y="5859"/>
                  </a:cubicBezTo>
                  <a:lnTo>
                    <a:pt x="5867" y="4264"/>
                  </a:lnTo>
                  <a:cubicBezTo>
                    <a:pt x="5916" y="4214"/>
                    <a:pt x="5982" y="4188"/>
                    <a:pt x="6050" y="4188"/>
                  </a:cubicBezTo>
                  <a:cubicBezTo>
                    <a:pt x="6081" y="4188"/>
                    <a:pt x="6111" y="4193"/>
                    <a:pt x="6141" y="4204"/>
                  </a:cubicBezTo>
                  <a:cubicBezTo>
                    <a:pt x="6363" y="4276"/>
                    <a:pt x="6595" y="4312"/>
                    <a:pt x="6826" y="4312"/>
                  </a:cubicBezTo>
                  <a:cubicBezTo>
                    <a:pt x="7360" y="4312"/>
                    <a:pt x="7892" y="4119"/>
                    <a:pt x="8308" y="3728"/>
                  </a:cubicBezTo>
                  <a:cubicBezTo>
                    <a:pt x="8736" y="3311"/>
                    <a:pt x="8962" y="2763"/>
                    <a:pt x="8974" y="2216"/>
                  </a:cubicBezTo>
                  <a:cubicBezTo>
                    <a:pt x="8982" y="2046"/>
                    <a:pt x="8853" y="1936"/>
                    <a:pt x="8716" y="1936"/>
                  </a:cubicBezTo>
                  <a:cubicBezTo>
                    <a:pt x="8652" y="1936"/>
                    <a:pt x="8587" y="1960"/>
                    <a:pt x="8534" y="2013"/>
                  </a:cubicBezTo>
                  <a:lnTo>
                    <a:pt x="7808" y="2740"/>
                  </a:lnTo>
                  <a:cubicBezTo>
                    <a:pt x="7707" y="2840"/>
                    <a:pt x="7610" y="2884"/>
                    <a:pt x="7525" y="2884"/>
                  </a:cubicBezTo>
                  <a:cubicBezTo>
                    <a:pt x="7460" y="2884"/>
                    <a:pt x="7402" y="2858"/>
                    <a:pt x="7355" y="2811"/>
                  </a:cubicBezTo>
                  <a:lnTo>
                    <a:pt x="6164" y="1620"/>
                  </a:lnTo>
                  <a:cubicBezTo>
                    <a:pt x="6057" y="1513"/>
                    <a:pt x="6057" y="1347"/>
                    <a:pt x="6164" y="1251"/>
                  </a:cubicBezTo>
                  <a:lnTo>
                    <a:pt x="6962" y="442"/>
                  </a:lnTo>
                  <a:cubicBezTo>
                    <a:pt x="7125" y="278"/>
                    <a:pt x="7003" y="1"/>
                    <a:pt x="6774" y="1"/>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20" name="Google Shape;1173;p33">
              <a:extLst>
                <a:ext uri="{FF2B5EF4-FFF2-40B4-BE49-F238E27FC236}">
                  <a16:creationId xmlns:a16="http://schemas.microsoft.com/office/drawing/2014/main" id="{D5D9E119-E839-4FF0-BC7F-905C7DB2EC8C}"/>
                </a:ext>
              </a:extLst>
            </p:cNvPr>
            <p:cNvSpPr/>
            <p:nvPr/>
          </p:nvSpPr>
          <p:spPr>
            <a:xfrm>
              <a:off x="4036354" y="2770008"/>
              <a:ext cx="857225" cy="1246385"/>
            </a:xfrm>
            <a:custGeom>
              <a:avLst/>
              <a:gdLst/>
              <a:ahLst/>
              <a:cxnLst/>
              <a:rect l="l" t="t" r="r" b="b"/>
              <a:pathLst>
                <a:path w="43196" h="62806" extrusionOk="0">
                  <a:moveTo>
                    <a:pt x="40719" y="0"/>
                  </a:moveTo>
                  <a:lnTo>
                    <a:pt x="10382" y="60579"/>
                  </a:lnTo>
                  <a:lnTo>
                    <a:pt x="0" y="60579"/>
                  </a:lnTo>
                  <a:lnTo>
                    <a:pt x="0" y="62806"/>
                  </a:lnTo>
                  <a:lnTo>
                    <a:pt x="11752" y="62806"/>
                  </a:lnTo>
                  <a:lnTo>
                    <a:pt x="43196" y="0"/>
                  </a:ln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21" name="Google Shape;1174;p33">
              <a:extLst>
                <a:ext uri="{FF2B5EF4-FFF2-40B4-BE49-F238E27FC236}">
                  <a16:creationId xmlns:a16="http://schemas.microsoft.com/office/drawing/2014/main" id="{19B612AA-7C85-4E52-B509-2C3D5639E964}"/>
                </a:ext>
              </a:extLst>
            </p:cNvPr>
            <p:cNvSpPr txBox="1"/>
            <p:nvPr/>
          </p:nvSpPr>
          <p:spPr>
            <a:xfrm>
              <a:off x="3517188" y="2932338"/>
              <a:ext cx="964200" cy="597300"/>
            </a:xfrm>
            <a:prstGeom prst="rect">
              <a:avLst/>
            </a:prstGeom>
            <a:noFill/>
            <a:ln>
              <a:noFill/>
            </a:ln>
          </p:spPr>
          <p:txBody>
            <a:bodyPr spcFirstLastPara="1" wrap="square" lIns="121900" tIns="121900" rIns="121900" bIns="12190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 sz="1600" b="0" i="0" u="none" strike="noStrike" kern="1200" cap="none" spc="0" normalizeH="0" baseline="0" noProof="0">
                  <a:ln>
                    <a:noFill/>
                  </a:ln>
                  <a:solidFill>
                    <a:srgbClr val="434343"/>
                  </a:solidFill>
                  <a:effectLst/>
                  <a:uLnTx/>
                  <a:uFillTx/>
                  <a:latin typeface="Arial"/>
                  <a:ea typeface="+mn-ea"/>
                  <a:cs typeface="+mn-ea"/>
                  <a:sym typeface="+mn-lt"/>
                </a:rPr>
                <a:t>Saturn is ringed</a:t>
              </a:r>
              <a:endParaRPr kumimoji="0" sz="1600" b="0" i="0" u="none" strike="noStrike" kern="1200" cap="none" spc="0" normalizeH="0" baseline="0" noProof="0">
                <a:ln>
                  <a:noFill/>
                </a:ln>
                <a:solidFill>
                  <a:srgbClr val="434343"/>
                </a:solidFill>
                <a:effectLst/>
                <a:uLnTx/>
                <a:uFillTx/>
                <a:latin typeface="Arial"/>
                <a:ea typeface="+mn-ea"/>
                <a:cs typeface="+mn-ea"/>
                <a:sym typeface="+mn-lt"/>
              </a:endParaRPr>
            </a:p>
          </p:txBody>
        </p:sp>
      </p:grpSp>
      <p:grpSp>
        <p:nvGrpSpPr>
          <p:cNvPr id="22" name="Google Shape;1175;p33">
            <a:extLst>
              <a:ext uri="{FF2B5EF4-FFF2-40B4-BE49-F238E27FC236}">
                <a16:creationId xmlns:a16="http://schemas.microsoft.com/office/drawing/2014/main" id="{0D50425F-6690-40DE-AC01-70D52BB109F3}"/>
              </a:ext>
            </a:extLst>
          </p:cNvPr>
          <p:cNvGrpSpPr/>
          <p:nvPr/>
        </p:nvGrpSpPr>
        <p:grpSpPr>
          <a:xfrm>
            <a:off x="1929285" y="2023726"/>
            <a:ext cx="1972087" cy="1376776"/>
            <a:chOff x="1719263" y="1692514"/>
            <a:chExt cx="1479065" cy="1032582"/>
          </a:xfrm>
        </p:grpSpPr>
        <p:sp>
          <p:nvSpPr>
            <p:cNvPr id="23" name="Google Shape;1176;p33">
              <a:extLst>
                <a:ext uri="{FF2B5EF4-FFF2-40B4-BE49-F238E27FC236}">
                  <a16:creationId xmlns:a16="http://schemas.microsoft.com/office/drawing/2014/main" id="{13A21EFF-4513-4710-8194-042888E8E88E}"/>
                </a:ext>
              </a:extLst>
            </p:cNvPr>
            <p:cNvSpPr/>
            <p:nvPr/>
          </p:nvSpPr>
          <p:spPr>
            <a:xfrm>
              <a:off x="2347235" y="1840207"/>
              <a:ext cx="851093" cy="884889"/>
            </a:xfrm>
            <a:custGeom>
              <a:avLst/>
              <a:gdLst/>
              <a:ahLst/>
              <a:cxnLst/>
              <a:rect l="l" t="t" r="r" b="b"/>
              <a:pathLst>
                <a:path w="42887" h="44590" extrusionOk="0">
                  <a:moveTo>
                    <a:pt x="0" y="0"/>
                  </a:moveTo>
                  <a:lnTo>
                    <a:pt x="0" y="2215"/>
                  </a:lnTo>
                  <a:lnTo>
                    <a:pt x="10526" y="2215"/>
                  </a:lnTo>
                  <a:lnTo>
                    <a:pt x="40184" y="44589"/>
                  </a:lnTo>
                  <a:lnTo>
                    <a:pt x="42887" y="44589"/>
                  </a:lnTo>
                  <a:lnTo>
                    <a:pt x="11680" y="0"/>
                  </a:ln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24" name="Google Shape;1177;p33">
              <a:extLst>
                <a:ext uri="{FF2B5EF4-FFF2-40B4-BE49-F238E27FC236}">
                  <a16:creationId xmlns:a16="http://schemas.microsoft.com/office/drawing/2014/main" id="{56089131-1E1E-48EA-8893-FF987F39EA3A}"/>
                </a:ext>
              </a:extLst>
            </p:cNvPr>
            <p:cNvSpPr/>
            <p:nvPr/>
          </p:nvSpPr>
          <p:spPr>
            <a:xfrm>
              <a:off x="2015709" y="1692514"/>
              <a:ext cx="334825" cy="334825"/>
            </a:xfrm>
            <a:custGeom>
              <a:avLst/>
              <a:gdLst/>
              <a:ahLst/>
              <a:cxnLst/>
              <a:rect l="l" t="t" r="r" b="b"/>
              <a:pathLst>
                <a:path w="16872" h="16872" extrusionOk="0">
                  <a:moveTo>
                    <a:pt x="8431" y="1"/>
                  </a:moveTo>
                  <a:cubicBezTo>
                    <a:pt x="3775" y="1"/>
                    <a:pt x="1" y="3775"/>
                    <a:pt x="1" y="8430"/>
                  </a:cubicBezTo>
                  <a:cubicBezTo>
                    <a:pt x="1" y="13098"/>
                    <a:pt x="3775" y="16872"/>
                    <a:pt x="8431" y="16872"/>
                  </a:cubicBezTo>
                  <a:cubicBezTo>
                    <a:pt x="13098" y="16872"/>
                    <a:pt x="16872" y="13098"/>
                    <a:pt x="16872" y="8430"/>
                  </a:cubicBezTo>
                  <a:cubicBezTo>
                    <a:pt x="16872" y="3775"/>
                    <a:pt x="13098" y="1"/>
                    <a:pt x="8431" y="1"/>
                  </a:cubicBezTo>
                  <a:close/>
                </a:path>
              </a:pathLst>
            </a:custGeom>
            <a:solidFill>
              <a:srgbClr val="FFFFFF"/>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25" name="Google Shape;1178;p33">
              <a:extLst>
                <a:ext uri="{FF2B5EF4-FFF2-40B4-BE49-F238E27FC236}">
                  <a16:creationId xmlns:a16="http://schemas.microsoft.com/office/drawing/2014/main" id="{F13A8BFB-BC18-4498-931C-27E06C3C0AD2}"/>
                </a:ext>
              </a:extLst>
            </p:cNvPr>
            <p:cNvSpPr/>
            <p:nvPr/>
          </p:nvSpPr>
          <p:spPr>
            <a:xfrm>
              <a:off x="2015709" y="1692514"/>
              <a:ext cx="334825" cy="334825"/>
            </a:xfrm>
            <a:custGeom>
              <a:avLst/>
              <a:gdLst/>
              <a:ahLst/>
              <a:cxnLst/>
              <a:rect l="l" t="t" r="r" b="b"/>
              <a:pathLst>
                <a:path w="16872" h="16872" fill="none" extrusionOk="0">
                  <a:moveTo>
                    <a:pt x="16872" y="8430"/>
                  </a:moveTo>
                  <a:cubicBezTo>
                    <a:pt x="16872" y="13098"/>
                    <a:pt x="13098" y="16872"/>
                    <a:pt x="8431" y="16872"/>
                  </a:cubicBezTo>
                  <a:cubicBezTo>
                    <a:pt x="3775" y="16872"/>
                    <a:pt x="1" y="13098"/>
                    <a:pt x="1" y="8430"/>
                  </a:cubicBezTo>
                  <a:cubicBezTo>
                    <a:pt x="1" y="3775"/>
                    <a:pt x="3775" y="1"/>
                    <a:pt x="8431" y="1"/>
                  </a:cubicBezTo>
                  <a:cubicBezTo>
                    <a:pt x="13098" y="1"/>
                    <a:pt x="16872" y="3775"/>
                    <a:pt x="16872" y="8430"/>
                  </a:cubicBezTo>
                  <a:close/>
                </a:path>
              </a:pathLst>
            </a:custGeom>
            <a:noFill/>
            <a:ln w="33350" cap="flat" cmpd="sng">
              <a:solidFill>
                <a:schemeClr val="accent1"/>
              </a:solidFill>
              <a:prstDash val="solid"/>
              <a:miter lim="11906"/>
              <a:headEnd type="none" w="sm" len="sm"/>
              <a:tailEnd type="none" w="sm" len="sm"/>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26" name="Google Shape;1179;p33">
              <a:extLst>
                <a:ext uri="{FF2B5EF4-FFF2-40B4-BE49-F238E27FC236}">
                  <a16:creationId xmlns:a16="http://schemas.microsoft.com/office/drawing/2014/main" id="{D33B507D-C742-402D-A6ED-A17477136775}"/>
                </a:ext>
              </a:extLst>
            </p:cNvPr>
            <p:cNvSpPr/>
            <p:nvPr/>
          </p:nvSpPr>
          <p:spPr>
            <a:xfrm>
              <a:off x="2145918" y="1794125"/>
              <a:ext cx="73724" cy="73744"/>
            </a:xfrm>
            <a:custGeom>
              <a:avLst/>
              <a:gdLst/>
              <a:ahLst/>
              <a:cxnLst/>
              <a:rect l="l" t="t" r="r" b="b"/>
              <a:pathLst>
                <a:path w="3715" h="3716" extrusionOk="0">
                  <a:moveTo>
                    <a:pt x="1858" y="1"/>
                  </a:moveTo>
                  <a:cubicBezTo>
                    <a:pt x="834" y="1"/>
                    <a:pt x="0" y="834"/>
                    <a:pt x="0" y="1858"/>
                  </a:cubicBezTo>
                  <a:cubicBezTo>
                    <a:pt x="0" y="2882"/>
                    <a:pt x="834" y="3715"/>
                    <a:pt x="1858" y="3715"/>
                  </a:cubicBezTo>
                  <a:cubicBezTo>
                    <a:pt x="2882" y="3715"/>
                    <a:pt x="3715" y="2882"/>
                    <a:pt x="3715" y="1858"/>
                  </a:cubicBezTo>
                  <a:cubicBezTo>
                    <a:pt x="3715" y="834"/>
                    <a:pt x="2882" y="1"/>
                    <a:pt x="1858" y="1"/>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27" name="Google Shape;1180;p33">
              <a:extLst>
                <a:ext uri="{FF2B5EF4-FFF2-40B4-BE49-F238E27FC236}">
                  <a16:creationId xmlns:a16="http://schemas.microsoft.com/office/drawing/2014/main" id="{D859C01A-3260-445D-A342-C1C428C027FF}"/>
                </a:ext>
              </a:extLst>
            </p:cNvPr>
            <p:cNvSpPr/>
            <p:nvPr/>
          </p:nvSpPr>
          <p:spPr>
            <a:xfrm>
              <a:off x="2121567" y="1867852"/>
              <a:ext cx="122424" cy="57431"/>
            </a:xfrm>
            <a:custGeom>
              <a:avLst/>
              <a:gdLst/>
              <a:ahLst/>
              <a:cxnLst/>
              <a:rect l="l" t="t" r="r" b="b"/>
              <a:pathLst>
                <a:path w="6169" h="2894" extrusionOk="0">
                  <a:moveTo>
                    <a:pt x="3085" y="0"/>
                  </a:moveTo>
                  <a:cubicBezTo>
                    <a:pt x="1442" y="0"/>
                    <a:pt x="108" y="1274"/>
                    <a:pt x="1" y="2893"/>
                  </a:cubicBezTo>
                  <a:lnTo>
                    <a:pt x="6168" y="2893"/>
                  </a:lnTo>
                  <a:cubicBezTo>
                    <a:pt x="6061" y="1274"/>
                    <a:pt x="4728" y="0"/>
                    <a:pt x="3085" y="0"/>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28" name="Google Shape;1181;p33">
              <a:extLst>
                <a:ext uri="{FF2B5EF4-FFF2-40B4-BE49-F238E27FC236}">
                  <a16:creationId xmlns:a16="http://schemas.microsoft.com/office/drawing/2014/main" id="{F01D1134-50F9-4DC1-98D7-1D7ACC77CC1D}"/>
                </a:ext>
              </a:extLst>
            </p:cNvPr>
            <p:cNvSpPr txBox="1"/>
            <p:nvPr/>
          </p:nvSpPr>
          <p:spPr>
            <a:xfrm>
              <a:off x="1719263" y="2048975"/>
              <a:ext cx="964200" cy="597300"/>
            </a:xfrm>
            <a:prstGeom prst="rect">
              <a:avLst/>
            </a:prstGeom>
            <a:noFill/>
            <a:ln>
              <a:noFill/>
            </a:ln>
          </p:spPr>
          <p:txBody>
            <a:bodyPr spcFirstLastPara="1" wrap="square" lIns="121900" tIns="121900" rIns="121900" bIns="12190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 sz="1600" b="0" i="0" u="none" strike="noStrike" kern="1200" cap="none" spc="0" normalizeH="0" baseline="0" noProof="0">
                  <a:ln>
                    <a:noFill/>
                  </a:ln>
                  <a:solidFill>
                    <a:srgbClr val="434343"/>
                  </a:solidFill>
                  <a:effectLst/>
                  <a:uLnTx/>
                  <a:uFillTx/>
                  <a:latin typeface="Arial"/>
                  <a:ea typeface="+mn-ea"/>
                  <a:cs typeface="+mn-ea"/>
                  <a:sym typeface="+mn-lt"/>
                </a:rPr>
                <a:t>Venus is hot</a:t>
              </a:r>
              <a:endParaRPr kumimoji="0" sz="1600" b="0" i="0" u="none" strike="noStrike" kern="1200" cap="none" spc="0" normalizeH="0" baseline="0" noProof="0">
                <a:ln>
                  <a:noFill/>
                </a:ln>
                <a:solidFill>
                  <a:srgbClr val="434343"/>
                </a:solidFill>
                <a:effectLst/>
                <a:uLnTx/>
                <a:uFillTx/>
                <a:latin typeface="Arial"/>
                <a:ea typeface="+mn-ea"/>
                <a:cs typeface="+mn-ea"/>
                <a:sym typeface="+mn-lt"/>
              </a:endParaRPr>
            </a:p>
          </p:txBody>
        </p:sp>
      </p:grpSp>
      <p:grpSp>
        <p:nvGrpSpPr>
          <p:cNvPr id="29" name="Google Shape;1182;p33">
            <a:extLst>
              <a:ext uri="{FF2B5EF4-FFF2-40B4-BE49-F238E27FC236}">
                <a16:creationId xmlns:a16="http://schemas.microsoft.com/office/drawing/2014/main" id="{F2ED9A0B-1A8C-4696-8CD3-7CDA14F522A7}"/>
              </a:ext>
            </a:extLst>
          </p:cNvPr>
          <p:cNvGrpSpPr/>
          <p:nvPr/>
        </p:nvGrpSpPr>
        <p:grpSpPr>
          <a:xfrm>
            <a:off x="1929285" y="3459115"/>
            <a:ext cx="1979337" cy="1384033"/>
            <a:chOff x="1719263" y="2769055"/>
            <a:chExt cx="1484503" cy="1038025"/>
          </a:xfrm>
        </p:grpSpPr>
        <p:sp>
          <p:nvSpPr>
            <p:cNvPr id="30" name="Google Shape;1183;p33">
              <a:extLst>
                <a:ext uri="{FF2B5EF4-FFF2-40B4-BE49-F238E27FC236}">
                  <a16:creationId xmlns:a16="http://schemas.microsoft.com/office/drawing/2014/main" id="{4A05720A-2377-4A67-9B82-6CD01584FCB8}"/>
                </a:ext>
              </a:extLst>
            </p:cNvPr>
            <p:cNvSpPr/>
            <p:nvPr/>
          </p:nvSpPr>
          <p:spPr>
            <a:xfrm>
              <a:off x="2347235" y="2769055"/>
              <a:ext cx="856530" cy="892449"/>
            </a:xfrm>
            <a:custGeom>
              <a:avLst/>
              <a:gdLst/>
              <a:ahLst/>
              <a:cxnLst/>
              <a:rect l="l" t="t" r="r" b="b"/>
              <a:pathLst>
                <a:path w="43161" h="44971" extrusionOk="0">
                  <a:moveTo>
                    <a:pt x="40458" y="1"/>
                  </a:moveTo>
                  <a:lnTo>
                    <a:pt x="10526" y="42756"/>
                  </a:lnTo>
                  <a:lnTo>
                    <a:pt x="0" y="42756"/>
                  </a:lnTo>
                  <a:lnTo>
                    <a:pt x="0" y="44970"/>
                  </a:lnTo>
                  <a:lnTo>
                    <a:pt x="11680" y="44970"/>
                  </a:lnTo>
                  <a:lnTo>
                    <a:pt x="43161" y="1"/>
                  </a:ln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31" name="Google Shape;1184;p33">
              <a:extLst>
                <a:ext uri="{FF2B5EF4-FFF2-40B4-BE49-F238E27FC236}">
                  <a16:creationId xmlns:a16="http://schemas.microsoft.com/office/drawing/2014/main" id="{BD781188-016B-4C56-943D-E4C1E42D4C7A}"/>
                </a:ext>
              </a:extLst>
            </p:cNvPr>
            <p:cNvSpPr/>
            <p:nvPr/>
          </p:nvSpPr>
          <p:spPr>
            <a:xfrm>
              <a:off x="2015709" y="3472018"/>
              <a:ext cx="334825" cy="335063"/>
            </a:xfrm>
            <a:custGeom>
              <a:avLst/>
              <a:gdLst/>
              <a:ahLst/>
              <a:cxnLst/>
              <a:rect l="l" t="t" r="r" b="b"/>
              <a:pathLst>
                <a:path w="16872" h="16884" extrusionOk="0">
                  <a:moveTo>
                    <a:pt x="8431" y="1"/>
                  </a:moveTo>
                  <a:cubicBezTo>
                    <a:pt x="3775" y="1"/>
                    <a:pt x="1" y="3775"/>
                    <a:pt x="1" y="8442"/>
                  </a:cubicBezTo>
                  <a:cubicBezTo>
                    <a:pt x="1" y="13097"/>
                    <a:pt x="3775" y="16884"/>
                    <a:pt x="8431" y="16884"/>
                  </a:cubicBezTo>
                  <a:cubicBezTo>
                    <a:pt x="13098" y="16884"/>
                    <a:pt x="16872" y="13097"/>
                    <a:pt x="16872" y="8442"/>
                  </a:cubicBezTo>
                  <a:cubicBezTo>
                    <a:pt x="16872" y="3775"/>
                    <a:pt x="13098" y="1"/>
                    <a:pt x="8431" y="1"/>
                  </a:cubicBezTo>
                  <a:close/>
                </a:path>
              </a:pathLst>
            </a:custGeom>
            <a:solidFill>
              <a:srgbClr val="FFFFFF"/>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32" name="Google Shape;1185;p33">
              <a:extLst>
                <a:ext uri="{FF2B5EF4-FFF2-40B4-BE49-F238E27FC236}">
                  <a16:creationId xmlns:a16="http://schemas.microsoft.com/office/drawing/2014/main" id="{B0A90679-2D2A-4125-BDBA-8A9AB35E7FA3}"/>
                </a:ext>
              </a:extLst>
            </p:cNvPr>
            <p:cNvSpPr/>
            <p:nvPr/>
          </p:nvSpPr>
          <p:spPr>
            <a:xfrm>
              <a:off x="2015709" y="3472018"/>
              <a:ext cx="334825" cy="335063"/>
            </a:xfrm>
            <a:custGeom>
              <a:avLst/>
              <a:gdLst/>
              <a:ahLst/>
              <a:cxnLst/>
              <a:rect l="l" t="t" r="r" b="b"/>
              <a:pathLst>
                <a:path w="16872" h="16884" fill="none" extrusionOk="0">
                  <a:moveTo>
                    <a:pt x="16872" y="8442"/>
                  </a:moveTo>
                  <a:cubicBezTo>
                    <a:pt x="16872" y="13097"/>
                    <a:pt x="13098" y="16884"/>
                    <a:pt x="8431" y="16884"/>
                  </a:cubicBezTo>
                  <a:cubicBezTo>
                    <a:pt x="3775" y="16884"/>
                    <a:pt x="1" y="13097"/>
                    <a:pt x="1" y="8442"/>
                  </a:cubicBezTo>
                  <a:cubicBezTo>
                    <a:pt x="1" y="3775"/>
                    <a:pt x="3775" y="1"/>
                    <a:pt x="8431" y="1"/>
                  </a:cubicBezTo>
                  <a:cubicBezTo>
                    <a:pt x="13098" y="1"/>
                    <a:pt x="16872" y="3775"/>
                    <a:pt x="16872" y="8442"/>
                  </a:cubicBezTo>
                  <a:close/>
                </a:path>
              </a:pathLst>
            </a:custGeom>
            <a:noFill/>
            <a:ln w="33350" cap="flat" cmpd="sng">
              <a:solidFill>
                <a:schemeClr val="accent1"/>
              </a:solidFill>
              <a:prstDash val="solid"/>
              <a:miter lim="11906"/>
              <a:headEnd type="none" w="sm" len="sm"/>
              <a:tailEnd type="none" w="sm" len="sm"/>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33" name="Google Shape;1186;p33">
              <a:extLst>
                <a:ext uri="{FF2B5EF4-FFF2-40B4-BE49-F238E27FC236}">
                  <a16:creationId xmlns:a16="http://schemas.microsoft.com/office/drawing/2014/main" id="{A3EDB346-A955-4EAA-8811-1F85E0DD8DE3}"/>
                </a:ext>
              </a:extLst>
            </p:cNvPr>
            <p:cNvSpPr/>
            <p:nvPr/>
          </p:nvSpPr>
          <p:spPr>
            <a:xfrm>
              <a:off x="2088265" y="3575276"/>
              <a:ext cx="191623" cy="109187"/>
            </a:xfrm>
            <a:custGeom>
              <a:avLst/>
              <a:gdLst/>
              <a:ahLst/>
              <a:cxnLst/>
              <a:rect l="l" t="t" r="r" b="b"/>
              <a:pathLst>
                <a:path w="9656" h="5502" extrusionOk="0">
                  <a:moveTo>
                    <a:pt x="5167" y="1"/>
                  </a:moveTo>
                  <a:cubicBezTo>
                    <a:pt x="3977" y="1"/>
                    <a:pt x="2953" y="691"/>
                    <a:pt x="2465" y="1679"/>
                  </a:cubicBezTo>
                  <a:cubicBezTo>
                    <a:pt x="2298" y="1632"/>
                    <a:pt x="2119" y="1608"/>
                    <a:pt x="1941" y="1608"/>
                  </a:cubicBezTo>
                  <a:cubicBezTo>
                    <a:pt x="869" y="1608"/>
                    <a:pt x="0" y="2477"/>
                    <a:pt x="0" y="3549"/>
                  </a:cubicBezTo>
                  <a:cubicBezTo>
                    <a:pt x="0" y="4632"/>
                    <a:pt x="869" y="5501"/>
                    <a:pt x="1941" y="5501"/>
                  </a:cubicBezTo>
                  <a:lnTo>
                    <a:pt x="8180" y="5501"/>
                  </a:lnTo>
                  <a:cubicBezTo>
                    <a:pt x="8989" y="5501"/>
                    <a:pt x="9656" y="4835"/>
                    <a:pt x="9656" y="4025"/>
                  </a:cubicBezTo>
                  <a:cubicBezTo>
                    <a:pt x="9656" y="3203"/>
                    <a:pt x="8989" y="2549"/>
                    <a:pt x="8180" y="2549"/>
                  </a:cubicBezTo>
                  <a:lnTo>
                    <a:pt x="8144" y="2549"/>
                  </a:lnTo>
                  <a:cubicBezTo>
                    <a:pt x="7918" y="1108"/>
                    <a:pt x="6668" y="1"/>
                    <a:pt x="5167" y="1"/>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34" name="Google Shape;1187;p33">
              <a:extLst>
                <a:ext uri="{FF2B5EF4-FFF2-40B4-BE49-F238E27FC236}">
                  <a16:creationId xmlns:a16="http://schemas.microsoft.com/office/drawing/2014/main" id="{ED62AD89-C4FF-4FA2-B827-C3F1798B13B2}"/>
                </a:ext>
              </a:extLst>
            </p:cNvPr>
            <p:cNvSpPr txBox="1"/>
            <p:nvPr/>
          </p:nvSpPr>
          <p:spPr>
            <a:xfrm>
              <a:off x="1719263" y="2856138"/>
              <a:ext cx="964200" cy="597300"/>
            </a:xfrm>
            <a:prstGeom prst="rect">
              <a:avLst/>
            </a:prstGeom>
            <a:noFill/>
            <a:ln>
              <a:noFill/>
            </a:ln>
          </p:spPr>
          <p:txBody>
            <a:bodyPr spcFirstLastPara="1" wrap="square" lIns="121900" tIns="121900" rIns="121900" bIns="12190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 sz="1600" b="0" i="0" u="none" strike="noStrike" kern="1200" cap="none" spc="0" normalizeH="0" baseline="0" noProof="0">
                  <a:ln>
                    <a:noFill/>
                  </a:ln>
                  <a:solidFill>
                    <a:srgbClr val="434343"/>
                  </a:solidFill>
                  <a:effectLst/>
                  <a:uLnTx/>
                  <a:uFillTx/>
                  <a:latin typeface="Arial"/>
                  <a:ea typeface="+mn-ea"/>
                  <a:cs typeface="+mn-ea"/>
                  <a:sym typeface="+mn-lt"/>
                </a:rPr>
                <a:t>Jupiter is a gas giant</a:t>
              </a:r>
              <a:endParaRPr kumimoji="0" sz="1600" b="0" i="0" u="none" strike="noStrike" kern="1200" cap="none" spc="0" normalizeH="0" baseline="0" noProof="0">
                <a:ln>
                  <a:noFill/>
                </a:ln>
                <a:solidFill>
                  <a:srgbClr val="434343"/>
                </a:solidFill>
                <a:effectLst/>
                <a:uLnTx/>
                <a:uFillTx/>
                <a:latin typeface="Arial"/>
                <a:ea typeface="+mn-ea"/>
                <a:cs typeface="+mn-ea"/>
                <a:sym typeface="+mn-lt"/>
              </a:endParaRPr>
            </a:p>
          </p:txBody>
        </p:sp>
      </p:grpSp>
      <p:grpSp>
        <p:nvGrpSpPr>
          <p:cNvPr id="35" name="Google Shape;1188;p33">
            <a:extLst>
              <a:ext uri="{FF2B5EF4-FFF2-40B4-BE49-F238E27FC236}">
                <a16:creationId xmlns:a16="http://schemas.microsoft.com/office/drawing/2014/main" id="{9F9CDA00-BFB7-41D8-B661-5D251311E11B}"/>
              </a:ext>
            </a:extLst>
          </p:cNvPr>
          <p:cNvGrpSpPr/>
          <p:nvPr/>
        </p:nvGrpSpPr>
        <p:grpSpPr>
          <a:xfrm>
            <a:off x="6586852" y="1304775"/>
            <a:ext cx="1836025" cy="2095693"/>
            <a:chOff x="5212438" y="1153300"/>
            <a:chExt cx="1377019" cy="1571770"/>
          </a:xfrm>
        </p:grpSpPr>
        <p:sp>
          <p:nvSpPr>
            <p:cNvPr id="36" name="Google Shape;1189;p33">
              <a:extLst>
                <a:ext uri="{FF2B5EF4-FFF2-40B4-BE49-F238E27FC236}">
                  <a16:creationId xmlns:a16="http://schemas.microsoft.com/office/drawing/2014/main" id="{C4B0E949-15A4-43E9-B4C2-E8329549E88B}"/>
                </a:ext>
              </a:extLst>
            </p:cNvPr>
            <p:cNvSpPr/>
            <p:nvPr/>
          </p:nvSpPr>
          <p:spPr>
            <a:xfrm>
              <a:off x="5734097" y="1295794"/>
              <a:ext cx="855359" cy="1429277"/>
            </a:xfrm>
            <a:custGeom>
              <a:avLst/>
              <a:gdLst/>
              <a:ahLst/>
              <a:cxnLst/>
              <a:rect l="l" t="t" r="r" b="b"/>
              <a:pathLst>
                <a:path w="43102" h="72022" extrusionOk="0">
                  <a:moveTo>
                    <a:pt x="1" y="0"/>
                  </a:moveTo>
                  <a:lnTo>
                    <a:pt x="1" y="2215"/>
                  </a:lnTo>
                  <a:lnTo>
                    <a:pt x="10383" y="2215"/>
                  </a:lnTo>
                  <a:lnTo>
                    <a:pt x="40685" y="72021"/>
                  </a:lnTo>
                  <a:lnTo>
                    <a:pt x="43102" y="72021"/>
                  </a:lnTo>
                  <a:lnTo>
                    <a:pt x="12121" y="667"/>
                  </a:lnTo>
                  <a:lnTo>
                    <a:pt x="11836" y="0"/>
                  </a:ln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37" name="Google Shape;1190;p33">
              <a:extLst>
                <a:ext uri="{FF2B5EF4-FFF2-40B4-BE49-F238E27FC236}">
                  <a16:creationId xmlns:a16="http://schemas.microsoft.com/office/drawing/2014/main" id="{5DDA7008-40E5-47CA-A42A-5DE00F79810E}"/>
                </a:ext>
              </a:extLst>
            </p:cNvPr>
            <p:cNvSpPr/>
            <p:nvPr/>
          </p:nvSpPr>
          <p:spPr>
            <a:xfrm>
              <a:off x="5415590" y="1153300"/>
              <a:ext cx="335063" cy="334825"/>
            </a:xfrm>
            <a:custGeom>
              <a:avLst/>
              <a:gdLst/>
              <a:ahLst/>
              <a:cxnLst/>
              <a:rect l="l" t="t" r="r" b="b"/>
              <a:pathLst>
                <a:path w="16884" h="16872" extrusionOk="0">
                  <a:moveTo>
                    <a:pt x="8442" y="1"/>
                  </a:moveTo>
                  <a:cubicBezTo>
                    <a:pt x="3786" y="1"/>
                    <a:pt x="0" y="3775"/>
                    <a:pt x="0" y="8430"/>
                  </a:cubicBezTo>
                  <a:cubicBezTo>
                    <a:pt x="0" y="13098"/>
                    <a:pt x="3786" y="16872"/>
                    <a:pt x="8442" y="16872"/>
                  </a:cubicBezTo>
                  <a:cubicBezTo>
                    <a:pt x="13109" y="16872"/>
                    <a:pt x="16883" y="13098"/>
                    <a:pt x="16883" y="8430"/>
                  </a:cubicBezTo>
                  <a:cubicBezTo>
                    <a:pt x="16883" y="3775"/>
                    <a:pt x="13109" y="1"/>
                    <a:pt x="8442" y="1"/>
                  </a:cubicBezTo>
                  <a:close/>
                </a:path>
              </a:pathLst>
            </a:custGeom>
            <a:solidFill>
              <a:srgbClr val="FFFFFF"/>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38" name="Google Shape;1191;p33">
              <a:extLst>
                <a:ext uri="{FF2B5EF4-FFF2-40B4-BE49-F238E27FC236}">
                  <a16:creationId xmlns:a16="http://schemas.microsoft.com/office/drawing/2014/main" id="{1EDD8160-C110-4935-B2DA-CFC02B79BD32}"/>
                </a:ext>
              </a:extLst>
            </p:cNvPr>
            <p:cNvSpPr/>
            <p:nvPr/>
          </p:nvSpPr>
          <p:spPr>
            <a:xfrm>
              <a:off x="5415590" y="1153300"/>
              <a:ext cx="335063" cy="334825"/>
            </a:xfrm>
            <a:custGeom>
              <a:avLst/>
              <a:gdLst/>
              <a:ahLst/>
              <a:cxnLst/>
              <a:rect l="l" t="t" r="r" b="b"/>
              <a:pathLst>
                <a:path w="16884" h="16872" fill="none" extrusionOk="0">
                  <a:moveTo>
                    <a:pt x="16883" y="8430"/>
                  </a:moveTo>
                  <a:cubicBezTo>
                    <a:pt x="16883" y="13098"/>
                    <a:pt x="13109" y="16872"/>
                    <a:pt x="8442" y="16872"/>
                  </a:cubicBezTo>
                  <a:cubicBezTo>
                    <a:pt x="3786" y="16872"/>
                    <a:pt x="0" y="13098"/>
                    <a:pt x="0" y="8430"/>
                  </a:cubicBezTo>
                  <a:cubicBezTo>
                    <a:pt x="0" y="3775"/>
                    <a:pt x="3786" y="1"/>
                    <a:pt x="8442" y="1"/>
                  </a:cubicBezTo>
                  <a:cubicBezTo>
                    <a:pt x="13109" y="1"/>
                    <a:pt x="16883" y="3775"/>
                    <a:pt x="16883" y="8430"/>
                  </a:cubicBezTo>
                  <a:close/>
                </a:path>
              </a:pathLst>
            </a:custGeom>
            <a:noFill/>
            <a:ln w="33350" cap="flat" cmpd="sng">
              <a:solidFill>
                <a:schemeClr val="accent1"/>
              </a:solidFill>
              <a:prstDash val="solid"/>
              <a:miter lim="11906"/>
              <a:headEnd type="none" w="sm" len="sm"/>
              <a:tailEnd type="none" w="sm" len="sm"/>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39" name="Google Shape;1192;p33">
              <a:extLst>
                <a:ext uri="{FF2B5EF4-FFF2-40B4-BE49-F238E27FC236}">
                  <a16:creationId xmlns:a16="http://schemas.microsoft.com/office/drawing/2014/main" id="{96F883EF-A9DA-439D-A118-B56B7864E4BC}"/>
                </a:ext>
              </a:extLst>
            </p:cNvPr>
            <p:cNvSpPr/>
            <p:nvPr/>
          </p:nvSpPr>
          <p:spPr>
            <a:xfrm>
              <a:off x="5506087" y="1257987"/>
              <a:ext cx="131612" cy="127782"/>
            </a:xfrm>
            <a:custGeom>
              <a:avLst/>
              <a:gdLst/>
              <a:ahLst/>
              <a:cxnLst/>
              <a:rect l="l" t="t" r="r" b="b"/>
              <a:pathLst>
                <a:path w="6632" h="6439" extrusionOk="0">
                  <a:moveTo>
                    <a:pt x="3417" y="0"/>
                  </a:moveTo>
                  <a:cubicBezTo>
                    <a:pt x="1512" y="0"/>
                    <a:pt x="0" y="1643"/>
                    <a:pt x="215" y="3584"/>
                  </a:cubicBezTo>
                  <a:cubicBezTo>
                    <a:pt x="381" y="5060"/>
                    <a:pt x="1572" y="6263"/>
                    <a:pt x="3048" y="6418"/>
                  </a:cubicBezTo>
                  <a:cubicBezTo>
                    <a:pt x="3172" y="6431"/>
                    <a:pt x="3294" y="6438"/>
                    <a:pt x="3415" y="6438"/>
                  </a:cubicBezTo>
                  <a:cubicBezTo>
                    <a:pt x="5192" y="6438"/>
                    <a:pt x="6632" y="5000"/>
                    <a:pt x="6632" y="3227"/>
                  </a:cubicBezTo>
                  <a:lnTo>
                    <a:pt x="3417" y="3227"/>
                  </a:lnTo>
                  <a:lnTo>
                    <a:pt x="3417" y="0"/>
                  </a:ln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40" name="Google Shape;1193;p33">
              <a:extLst>
                <a:ext uri="{FF2B5EF4-FFF2-40B4-BE49-F238E27FC236}">
                  <a16:creationId xmlns:a16="http://schemas.microsoft.com/office/drawing/2014/main" id="{915F3A70-8061-4917-9C5F-BEFD5C3F9358}"/>
                </a:ext>
              </a:extLst>
            </p:cNvPr>
            <p:cNvSpPr/>
            <p:nvPr/>
          </p:nvSpPr>
          <p:spPr>
            <a:xfrm>
              <a:off x="5591623" y="1240265"/>
              <a:ext cx="64040" cy="63822"/>
            </a:xfrm>
            <a:custGeom>
              <a:avLst/>
              <a:gdLst/>
              <a:ahLst/>
              <a:cxnLst/>
              <a:rect l="l" t="t" r="r" b="b"/>
              <a:pathLst>
                <a:path w="3227" h="3216" extrusionOk="0">
                  <a:moveTo>
                    <a:pt x="0" y="0"/>
                  </a:moveTo>
                  <a:lnTo>
                    <a:pt x="0" y="3215"/>
                  </a:lnTo>
                  <a:lnTo>
                    <a:pt x="3227" y="3215"/>
                  </a:lnTo>
                  <a:cubicBezTo>
                    <a:pt x="3227" y="1441"/>
                    <a:pt x="1786" y="0"/>
                    <a:pt x="0" y="0"/>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41" name="Google Shape;1194;p33">
              <a:extLst>
                <a:ext uri="{FF2B5EF4-FFF2-40B4-BE49-F238E27FC236}">
                  <a16:creationId xmlns:a16="http://schemas.microsoft.com/office/drawing/2014/main" id="{8A35B009-8E94-4D26-83CE-46A07483404A}"/>
                </a:ext>
              </a:extLst>
            </p:cNvPr>
            <p:cNvSpPr txBox="1"/>
            <p:nvPr/>
          </p:nvSpPr>
          <p:spPr>
            <a:xfrm>
              <a:off x="5212438" y="1896575"/>
              <a:ext cx="964200" cy="597300"/>
            </a:xfrm>
            <a:prstGeom prst="rect">
              <a:avLst/>
            </a:prstGeom>
            <a:noFill/>
            <a:ln>
              <a:noFill/>
            </a:ln>
          </p:spPr>
          <p:txBody>
            <a:bodyPr spcFirstLastPara="1" wrap="square" lIns="121900" tIns="121900" rIns="121900" bIns="12190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 sz="1600" b="0" i="0" u="none" strike="noStrike" kern="1200" cap="none" spc="0" normalizeH="0" baseline="0" noProof="0">
                  <a:ln>
                    <a:noFill/>
                  </a:ln>
                  <a:solidFill>
                    <a:srgbClr val="434343"/>
                  </a:solidFill>
                  <a:effectLst/>
                  <a:uLnTx/>
                  <a:uFillTx/>
                  <a:latin typeface="Arial"/>
                  <a:ea typeface="+mn-ea"/>
                  <a:cs typeface="+mn-ea"/>
                  <a:sym typeface="+mn-lt"/>
                </a:rPr>
                <a:t>Earth harbors life</a:t>
              </a:r>
              <a:endParaRPr kumimoji="0" sz="1600" b="0" i="0" u="none" strike="noStrike" kern="1200" cap="none" spc="0" normalizeH="0" baseline="0" noProof="0">
                <a:ln>
                  <a:noFill/>
                </a:ln>
                <a:solidFill>
                  <a:srgbClr val="434343"/>
                </a:solidFill>
                <a:effectLst/>
                <a:uLnTx/>
                <a:uFillTx/>
                <a:latin typeface="Arial"/>
                <a:ea typeface="+mn-ea"/>
                <a:cs typeface="+mn-ea"/>
                <a:sym typeface="+mn-lt"/>
              </a:endParaRPr>
            </a:p>
          </p:txBody>
        </p:sp>
      </p:grpSp>
      <p:grpSp>
        <p:nvGrpSpPr>
          <p:cNvPr id="42" name="Google Shape;1195;p33">
            <a:extLst>
              <a:ext uri="{FF2B5EF4-FFF2-40B4-BE49-F238E27FC236}">
                <a16:creationId xmlns:a16="http://schemas.microsoft.com/office/drawing/2014/main" id="{1F9E1D53-4C31-451B-8DAB-21DBB819C933}"/>
              </a:ext>
            </a:extLst>
          </p:cNvPr>
          <p:cNvGrpSpPr/>
          <p:nvPr/>
        </p:nvGrpSpPr>
        <p:grpSpPr>
          <a:xfrm>
            <a:off x="6586851" y="3459115"/>
            <a:ext cx="1840444" cy="2114972"/>
            <a:chOff x="5212438" y="2769055"/>
            <a:chExt cx="1380333" cy="1586229"/>
          </a:xfrm>
        </p:grpSpPr>
        <p:sp>
          <p:nvSpPr>
            <p:cNvPr id="43" name="Google Shape;1196;p33">
              <a:extLst>
                <a:ext uri="{FF2B5EF4-FFF2-40B4-BE49-F238E27FC236}">
                  <a16:creationId xmlns:a16="http://schemas.microsoft.com/office/drawing/2014/main" id="{2BA91ED6-68DE-4F8E-80AF-5E1A0222375B}"/>
                </a:ext>
              </a:extLst>
            </p:cNvPr>
            <p:cNvSpPr/>
            <p:nvPr/>
          </p:nvSpPr>
          <p:spPr>
            <a:xfrm>
              <a:off x="5734097" y="2769055"/>
              <a:ext cx="858673" cy="1437076"/>
            </a:xfrm>
            <a:custGeom>
              <a:avLst/>
              <a:gdLst/>
              <a:ahLst/>
              <a:cxnLst/>
              <a:rect l="l" t="t" r="r" b="b"/>
              <a:pathLst>
                <a:path w="43269" h="72415" extrusionOk="0">
                  <a:moveTo>
                    <a:pt x="40851" y="1"/>
                  </a:moveTo>
                  <a:lnTo>
                    <a:pt x="10383" y="70200"/>
                  </a:lnTo>
                  <a:lnTo>
                    <a:pt x="1" y="70200"/>
                  </a:lnTo>
                  <a:lnTo>
                    <a:pt x="1" y="72414"/>
                  </a:lnTo>
                  <a:lnTo>
                    <a:pt x="11836" y="72414"/>
                  </a:lnTo>
                  <a:lnTo>
                    <a:pt x="43268" y="1"/>
                  </a:lnTo>
                  <a:close/>
                </a:path>
              </a:pathLst>
            </a:custGeom>
            <a:solidFill>
              <a:srgbClr val="869FB2"/>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44" name="Google Shape;1197;p33">
              <a:extLst>
                <a:ext uri="{FF2B5EF4-FFF2-40B4-BE49-F238E27FC236}">
                  <a16:creationId xmlns:a16="http://schemas.microsoft.com/office/drawing/2014/main" id="{988F53DD-D635-4A3E-9582-7148BD88C4AF}"/>
                </a:ext>
              </a:extLst>
            </p:cNvPr>
            <p:cNvSpPr/>
            <p:nvPr/>
          </p:nvSpPr>
          <p:spPr>
            <a:xfrm>
              <a:off x="5415590" y="4020440"/>
              <a:ext cx="335063" cy="334845"/>
            </a:xfrm>
            <a:custGeom>
              <a:avLst/>
              <a:gdLst/>
              <a:ahLst/>
              <a:cxnLst/>
              <a:rect l="l" t="t" r="r" b="b"/>
              <a:pathLst>
                <a:path w="16884" h="16873" extrusionOk="0">
                  <a:moveTo>
                    <a:pt x="8442" y="1"/>
                  </a:moveTo>
                  <a:cubicBezTo>
                    <a:pt x="3786" y="1"/>
                    <a:pt x="0" y="3775"/>
                    <a:pt x="0" y="8431"/>
                  </a:cubicBezTo>
                  <a:cubicBezTo>
                    <a:pt x="0" y="13098"/>
                    <a:pt x="3786" y="16872"/>
                    <a:pt x="8442" y="16872"/>
                  </a:cubicBezTo>
                  <a:cubicBezTo>
                    <a:pt x="13109" y="16872"/>
                    <a:pt x="16883" y="13098"/>
                    <a:pt x="16883" y="8431"/>
                  </a:cubicBezTo>
                  <a:cubicBezTo>
                    <a:pt x="16883" y="3775"/>
                    <a:pt x="13109" y="1"/>
                    <a:pt x="8442" y="1"/>
                  </a:cubicBezTo>
                  <a:close/>
                </a:path>
              </a:pathLst>
            </a:custGeom>
            <a:solidFill>
              <a:srgbClr val="FFFFFF"/>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45" name="Google Shape;1198;p33">
              <a:extLst>
                <a:ext uri="{FF2B5EF4-FFF2-40B4-BE49-F238E27FC236}">
                  <a16:creationId xmlns:a16="http://schemas.microsoft.com/office/drawing/2014/main" id="{CDDCD97C-1D72-46A1-9D74-7D4B3411EBA3}"/>
                </a:ext>
              </a:extLst>
            </p:cNvPr>
            <p:cNvSpPr/>
            <p:nvPr/>
          </p:nvSpPr>
          <p:spPr>
            <a:xfrm>
              <a:off x="5415590" y="4020440"/>
              <a:ext cx="335063" cy="334845"/>
            </a:xfrm>
            <a:custGeom>
              <a:avLst/>
              <a:gdLst/>
              <a:ahLst/>
              <a:cxnLst/>
              <a:rect l="l" t="t" r="r" b="b"/>
              <a:pathLst>
                <a:path w="16884" h="16873" fill="none" extrusionOk="0">
                  <a:moveTo>
                    <a:pt x="16883" y="8431"/>
                  </a:moveTo>
                  <a:cubicBezTo>
                    <a:pt x="16883" y="13098"/>
                    <a:pt x="13109" y="16872"/>
                    <a:pt x="8442" y="16872"/>
                  </a:cubicBezTo>
                  <a:cubicBezTo>
                    <a:pt x="3786" y="16872"/>
                    <a:pt x="0" y="13098"/>
                    <a:pt x="0" y="8431"/>
                  </a:cubicBezTo>
                  <a:cubicBezTo>
                    <a:pt x="0" y="3775"/>
                    <a:pt x="3786" y="1"/>
                    <a:pt x="8442" y="1"/>
                  </a:cubicBezTo>
                  <a:cubicBezTo>
                    <a:pt x="13109" y="1"/>
                    <a:pt x="16883" y="3775"/>
                    <a:pt x="16883" y="8431"/>
                  </a:cubicBezTo>
                  <a:close/>
                </a:path>
              </a:pathLst>
            </a:custGeom>
            <a:noFill/>
            <a:ln w="33350" cap="flat" cmpd="sng">
              <a:solidFill>
                <a:srgbClr val="869FB2"/>
              </a:solidFill>
              <a:prstDash val="solid"/>
              <a:miter lim="11906"/>
              <a:headEnd type="none" w="sm" len="sm"/>
              <a:tailEnd type="none" w="sm" len="sm"/>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46" name="Google Shape;1199;p33">
              <a:extLst>
                <a:ext uri="{FF2B5EF4-FFF2-40B4-BE49-F238E27FC236}">
                  <a16:creationId xmlns:a16="http://schemas.microsoft.com/office/drawing/2014/main" id="{EC6DB72F-AB5E-4406-A231-6ED8E6E11E0C}"/>
                </a:ext>
              </a:extLst>
            </p:cNvPr>
            <p:cNvSpPr/>
            <p:nvPr/>
          </p:nvSpPr>
          <p:spPr>
            <a:xfrm>
              <a:off x="5523572" y="4122289"/>
              <a:ext cx="121471" cy="143916"/>
            </a:xfrm>
            <a:custGeom>
              <a:avLst/>
              <a:gdLst/>
              <a:ahLst/>
              <a:cxnLst/>
              <a:rect l="l" t="t" r="r" b="b"/>
              <a:pathLst>
                <a:path w="6121" h="7252" extrusionOk="0">
                  <a:moveTo>
                    <a:pt x="3060" y="1751"/>
                  </a:moveTo>
                  <a:cubicBezTo>
                    <a:pt x="3751" y="1751"/>
                    <a:pt x="4310" y="2310"/>
                    <a:pt x="4310" y="3001"/>
                  </a:cubicBezTo>
                  <a:cubicBezTo>
                    <a:pt x="4310" y="3692"/>
                    <a:pt x="3751" y="4239"/>
                    <a:pt x="3060" y="4239"/>
                  </a:cubicBezTo>
                  <a:cubicBezTo>
                    <a:pt x="2370" y="4239"/>
                    <a:pt x="1822" y="3692"/>
                    <a:pt x="1822" y="3001"/>
                  </a:cubicBezTo>
                  <a:cubicBezTo>
                    <a:pt x="1822" y="2310"/>
                    <a:pt x="2370" y="1751"/>
                    <a:pt x="3060" y="1751"/>
                  </a:cubicBezTo>
                  <a:close/>
                  <a:moveTo>
                    <a:pt x="2917" y="1"/>
                  </a:moveTo>
                  <a:cubicBezTo>
                    <a:pt x="1405" y="72"/>
                    <a:pt x="143" y="1310"/>
                    <a:pt x="60" y="2822"/>
                  </a:cubicBezTo>
                  <a:cubicBezTo>
                    <a:pt x="0" y="3799"/>
                    <a:pt x="477" y="4430"/>
                    <a:pt x="1084" y="5263"/>
                  </a:cubicBezTo>
                  <a:cubicBezTo>
                    <a:pt x="1358" y="5632"/>
                    <a:pt x="2441" y="6835"/>
                    <a:pt x="2691" y="7085"/>
                  </a:cubicBezTo>
                  <a:cubicBezTo>
                    <a:pt x="2798" y="7192"/>
                    <a:pt x="2929" y="7251"/>
                    <a:pt x="3060" y="7251"/>
                  </a:cubicBezTo>
                  <a:cubicBezTo>
                    <a:pt x="3191" y="7251"/>
                    <a:pt x="3322" y="7192"/>
                    <a:pt x="3429" y="7085"/>
                  </a:cubicBezTo>
                  <a:cubicBezTo>
                    <a:pt x="3679" y="6835"/>
                    <a:pt x="4763" y="5632"/>
                    <a:pt x="5037" y="5263"/>
                  </a:cubicBezTo>
                  <a:cubicBezTo>
                    <a:pt x="5644" y="4430"/>
                    <a:pt x="6120" y="3799"/>
                    <a:pt x="6061" y="2822"/>
                  </a:cubicBezTo>
                  <a:cubicBezTo>
                    <a:pt x="5977" y="1310"/>
                    <a:pt x="4727" y="72"/>
                    <a:pt x="3203" y="1"/>
                  </a:cubicBezTo>
                  <a:close/>
                </a:path>
              </a:pathLst>
            </a:custGeom>
            <a:solidFill>
              <a:srgbClr val="869FB2"/>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47" name="Google Shape;1200;p33">
              <a:extLst>
                <a:ext uri="{FF2B5EF4-FFF2-40B4-BE49-F238E27FC236}">
                  <a16:creationId xmlns:a16="http://schemas.microsoft.com/office/drawing/2014/main" id="{2F0E1552-CBD0-4E7A-A13D-B11C8A07655A}"/>
                </a:ext>
              </a:extLst>
            </p:cNvPr>
            <p:cNvSpPr txBox="1"/>
            <p:nvPr/>
          </p:nvSpPr>
          <p:spPr>
            <a:xfrm>
              <a:off x="5212438" y="3008538"/>
              <a:ext cx="964200" cy="597300"/>
            </a:xfrm>
            <a:prstGeom prst="rect">
              <a:avLst/>
            </a:prstGeom>
            <a:noFill/>
            <a:ln>
              <a:noFill/>
            </a:ln>
          </p:spPr>
          <p:txBody>
            <a:bodyPr spcFirstLastPara="1" wrap="square" lIns="121900" tIns="121900" rIns="121900" bIns="12190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 sz="1600" b="0" i="0" u="none" strike="noStrike" kern="1200" cap="none" spc="0" normalizeH="0" baseline="0" noProof="0">
                  <a:ln>
                    <a:noFill/>
                  </a:ln>
                  <a:solidFill>
                    <a:srgbClr val="434343"/>
                  </a:solidFill>
                  <a:effectLst/>
                  <a:uLnTx/>
                  <a:uFillTx/>
                  <a:latin typeface="Arial"/>
                  <a:ea typeface="+mn-ea"/>
                  <a:cs typeface="+mn-ea"/>
                  <a:sym typeface="+mn-lt"/>
                </a:rPr>
                <a:t>The Sun is a star</a:t>
              </a:r>
              <a:endParaRPr kumimoji="0" sz="1600" b="0" i="0" u="none" strike="noStrike" kern="1200" cap="none" spc="0" normalizeH="0" baseline="0" noProof="0">
                <a:ln>
                  <a:noFill/>
                </a:ln>
                <a:solidFill>
                  <a:srgbClr val="434343"/>
                </a:solidFill>
                <a:effectLst/>
                <a:uLnTx/>
                <a:uFillTx/>
                <a:latin typeface="Arial"/>
                <a:ea typeface="+mn-ea"/>
                <a:cs typeface="+mn-ea"/>
                <a:sym typeface="+mn-lt"/>
              </a:endParaRPr>
            </a:p>
          </p:txBody>
        </p:sp>
      </p:grpSp>
      <p:grpSp>
        <p:nvGrpSpPr>
          <p:cNvPr id="48" name="Google Shape;1201;p33">
            <a:extLst>
              <a:ext uri="{FF2B5EF4-FFF2-40B4-BE49-F238E27FC236}">
                <a16:creationId xmlns:a16="http://schemas.microsoft.com/office/drawing/2014/main" id="{59B232C1-CF15-4EE5-8E72-E4BF17DBE91A}"/>
              </a:ext>
            </a:extLst>
          </p:cNvPr>
          <p:cNvGrpSpPr/>
          <p:nvPr/>
        </p:nvGrpSpPr>
        <p:grpSpPr>
          <a:xfrm>
            <a:off x="1309951" y="2238300"/>
            <a:ext cx="9572084" cy="2381400"/>
            <a:chOff x="1254763" y="1853444"/>
            <a:chExt cx="7179063" cy="1786050"/>
          </a:xfrm>
        </p:grpSpPr>
        <p:sp>
          <p:nvSpPr>
            <p:cNvPr id="49" name="Google Shape;1202;p33">
              <a:extLst>
                <a:ext uri="{FF2B5EF4-FFF2-40B4-BE49-F238E27FC236}">
                  <a16:creationId xmlns:a16="http://schemas.microsoft.com/office/drawing/2014/main" id="{DAFAE34B-D56C-4832-B706-15CEF5F722C7}"/>
                </a:ext>
              </a:extLst>
            </p:cNvPr>
            <p:cNvSpPr/>
            <p:nvPr/>
          </p:nvSpPr>
          <p:spPr>
            <a:xfrm>
              <a:off x="1305101" y="2713050"/>
              <a:ext cx="5706769" cy="66897"/>
            </a:xfrm>
            <a:custGeom>
              <a:avLst/>
              <a:gdLst/>
              <a:ahLst/>
              <a:cxnLst/>
              <a:rect l="l" t="t" r="r" b="b"/>
              <a:pathLst>
                <a:path w="267892" h="3371" extrusionOk="0">
                  <a:moveTo>
                    <a:pt x="1" y="1"/>
                  </a:moveTo>
                  <a:lnTo>
                    <a:pt x="1" y="3370"/>
                  </a:lnTo>
                  <a:lnTo>
                    <a:pt x="267891" y="3370"/>
                  </a:lnTo>
                  <a:lnTo>
                    <a:pt x="267891" y="1"/>
                  </a:lnTo>
                  <a:close/>
                </a:path>
              </a:pathLst>
            </a:custGeom>
            <a:solidFill>
              <a:srgbClr val="576F7A"/>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50" name="Google Shape;1203;p33">
              <a:extLst>
                <a:ext uri="{FF2B5EF4-FFF2-40B4-BE49-F238E27FC236}">
                  <a16:creationId xmlns:a16="http://schemas.microsoft.com/office/drawing/2014/main" id="{4FD5B757-2B78-444D-935B-27D28C7AC6EC}"/>
                </a:ext>
              </a:extLst>
            </p:cNvPr>
            <p:cNvSpPr/>
            <p:nvPr/>
          </p:nvSpPr>
          <p:spPr>
            <a:xfrm>
              <a:off x="6937298" y="1853444"/>
              <a:ext cx="522439" cy="1786050"/>
            </a:xfrm>
            <a:custGeom>
              <a:avLst/>
              <a:gdLst/>
              <a:ahLst/>
              <a:cxnLst/>
              <a:rect l="l" t="t" r="r" b="b"/>
              <a:pathLst>
                <a:path w="26326" h="90000" extrusionOk="0">
                  <a:moveTo>
                    <a:pt x="1" y="0"/>
                  </a:moveTo>
                  <a:lnTo>
                    <a:pt x="1" y="89999"/>
                  </a:lnTo>
                  <a:lnTo>
                    <a:pt x="26325" y="44994"/>
                  </a:lnTo>
                  <a:lnTo>
                    <a:pt x="1" y="0"/>
                  </a:lnTo>
                  <a:close/>
                </a:path>
              </a:pathLst>
            </a:custGeom>
            <a:solidFill>
              <a:srgbClr val="576F7A"/>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51" name="Google Shape;1204;p33">
              <a:extLst>
                <a:ext uri="{FF2B5EF4-FFF2-40B4-BE49-F238E27FC236}">
                  <a16:creationId xmlns:a16="http://schemas.microsoft.com/office/drawing/2014/main" id="{2C9A237F-E898-43F6-8252-8CFF79A5F8A0}"/>
                </a:ext>
              </a:extLst>
            </p:cNvPr>
            <p:cNvSpPr/>
            <p:nvPr/>
          </p:nvSpPr>
          <p:spPr>
            <a:xfrm>
              <a:off x="1254763" y="2478650"/>
              <a:ext cx="213373" cy="535676"/>
            </a:xfrm>
            <a:custGeom>
              <a:avLst/>
              <a:gdLst/>
              <a:ahLst/>
              <a:cxnLst/>
              <a:rect l="l" t="t" r="r" b="b"/>
              <a:pathLst>
                <a:path w="10752" h="26993" extrusionOk="0">
                  <a:moveTo>
                    <a:pt x="10752" y="1"/>
                  </a:moveTo>
                  <a:lnTo>
                    <a:pt x="1" y="13491"/>
                  </a:lnTo>
                  <a:lnTo>
                    <a:pt x="10752" y="26992"/>
                  </a:lnTo>
                  <a:lnTo>
                    <a:pt x="10752" y="1"/>
                  </a:lnTo>
                  <a:close/>
                </a:path>
              </a:pathLst>
            </a:custGeom>
            <a:solidFill>
              <a:srgbClr val="576F7A"/>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52" name="Google Shape;1205;p33">
              <a:extLst>
                <a:ext uri="{FF2B5EF4-FFF2-40B4-BE49-F238E27FC236}">
                  <a16:creationId xmlns:a16="http://schemas.microsoft.com/office/drawing/2014/main" id="{68117AF2-DFF1-4BDB-BAFA-218AD83CB791}"/>
                </a:ext>
              </a:extLst>
            </p:cNvPr>
            <p:cNvSpPr txBox="1"/>
            <p:nvPr/>
          </p:nvSpPr>
          <p:spPr>
            <a:xfrm>
              <a:off x="7459725" y="2531675"/>
              <a:ext cx="974100" cy="429600"/>
            </a:xfrm>
            <a:prstGeom prst="rect">
              <a:avLst/>
            </a:prstGeom>
            <a:no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 sz="2267" b="0" i="0" u="none" strike="noStrike" kern="1200" cap="none" spc="0" normalizeH="0" baseline="0" noProof="0">
                  <a:ln>
                    <a:noFill/>
                  </a:ln>
                  <a:solidFill>
                    <a:srgbClr val="434343"/>
                  </a:solidFill>
                  <a:effectLst/>
                  <a:uLnTx/>
                  <a:uFillTx/>
                  <a:latin typeface="Arial"/>
                  <a:ea typeface="+mn-ea"/>
                  <a:cs typeface="+mn-ea"/>
                  <a:sym typeface="+mn-lt"/>
                </a:rPr>
                <a:t>Mercury</a:t>
              </a:r>
              <a:endParaRPr kumimoji="0" sz="2267" b="0" i="0" u="none" strike="noStrike" kern="1200" cap="none" spc="0" normalizeH="0" baseline="0" noProof="0">
                <a:ln>
                  <a:noFill/>
                </a:ln>
                <a:solidFill>
                  <a:srgbClr val="434343"/>
                </a:solidFill>
                <a:effectLst/>
                <a:uLnTx/>
                <a:uFillTx/>
                <a:latin typeface="Arial"/>
                <a:ea typeface="+mn-ea"/>
                <a:cs typeface="+mn-ea"/>
                <a:sym typeface="+mn-lt"/>
              </a:endParaRPr>
            </a:p>
          </p:txBody>
        </p:sp>
      </p:grpSp>
    </p:spTree>
    <p:extLst>
      <p:ext uri="{BB962C8B-B14F-4D97-AF65-F5344CB8AC3E}">
        <p14:creationId xmlns:p14="http://schemas.microsoft.com/office/powerpoint/2010/main" val="658396063"/>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7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oogle Shape;1210;p34">
            <a:extLst>
              <a:ext uri="{FF2B5EF4-FFF2-40B4-BE49-F238E27FC236}">
                <a16:creationId xmlns:a16="http://schemas.microsoft.com/office/drawing/2014/main" id="{87B5D1C4-E9A2-40D1-A16E-D3D958440D3E}"/>
              </a:ext>
            </a:extLst>
          </p:cNvPr>
          <p:cNvGrpSpPr/>
          <p:nvPr/>
        </p:nvGrpSpPr>
        <p:grpSpPr>
          <a:xfrm>
            <a:off x="1544909" y="2052229"/>
            <a:ext cx="9030467" cy="2526400"/>
            <a:chOff x="1185575" y="1754325"/>
            <a:chExt cx="6772850" cy="1894800"/>
          </a:xfrm>
        </p:grpSpPr>
        <p:sp>
          <p:nvSpPr>
            <p:cNvPr id="3" name="Google Shape;1211;p34">
              <a:extLst>
                <a:ext uri="{FF2B5EF4-FFF2-40B4-BE49-F238E27FC236}">
                  <a16:creationId xmlns:a16="http://schemas.microsoft.com/office/drawing/2014/main" id="{CC3911AD-475C-4340-9E83-EA0060D96E30}"/>
                </a:ext>
              </a:extLst>
            </p:cNvPr>
            <p:cNvSpPr/>
            <p:nvPr/>
          </p:nvSpPr>
          <p:spPr>
            <a:xfrm>
              <a:off x="1410775" y="2688613"/>
              <a:ext cx="1279650" cy="26225"/>
            </a:xfrm>
            <a:custGeom>
              <a:avLst/>
              <a:gdLst/>
              <a:ahLst/>
              <a:cxnLst/>
              <a:rect l="l" t="t" r="r" b="b"/>
              <a:pathLst>
                <a:path w="51186" h="1049" extrusionOk="0">
                  <a:moveTo>
                    <a:pt x="0" y="0"/>
                  </a:moveTo>
                  <a:lnTo>
                    <a:pt x="0" y="1048"/>
                  </a:lnTo>
                  <a:lnTo>
                    <a:pt x="51185" y="1048"/>
                  </a:lnTo>
                  <a:lnTo>
                    <a:pt x="51185" y="0"/>
                  </a:lnTo>
                  <a:close/>
                </a:path>
              </a:pathLst>
            </a:custGeom>
            <a:solidFill>
              <a:srgbClr val="869FB2"/>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000"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4" name="Google Shape;1212;p34">
              <a:extLst>
                <a:ext uri="{FF2B5EF4-FFF2-40B4-BE49-F238E27FC236}">
                  <a16:creationId xmlns:a16="http://schemas.microsoft.com/office/drawing/2014/main" id="{389B700C-BD4D-4F37-BCBB-29DA7A9A98F3}"/>
                </a:ext>
              </a:extLst>
            </p:cNvPr>
            <p:cNvSpPr/>
            <p:nvPr/>
          </p:nvSpPr>
          <p:spPr>
            <a:xfrm>
              <a:off x="2716875" y="2688613"/>
              <a:ext cx="1279650" cy="26225"/>
            </a:xfrm>
            <a:custGeom>
              <a:avLst/>
              <a:gdLst/>
              <a:ahLst/>
              <a:cxnLst/>
              <a:rect l="l" t="t" r="r" b="b"/>
              <a:pathLst>
                <a:path w="51186" h="1049" extrusionOk="0">
                  <a:moveTo>
                    <a:pt x="1" y="0"/>
                  </a:moveTo>
                  <a:lnTo>
                    <a:pt x="1" y="1048"/>
                  </a:lnTo>
                  <a:lnTo>
                    <a:pt x="51186" y="1048"/>
                  </a:lnTo>
                  <a:lnTo>
                    <a:pt x="51186" y="0"/>
                  </a:lnTo>
                  <a:close/>
                </a:path>
              </a:pathLst>
            </a:custGeom>
            <a:solidFill>
              <a:srgbClr val="869FB2"/>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000"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5" name="Google Shape;1213;p34">
              <a:extLst>
                <a:ext uri="{FF2B5EF4-FFF2-40B4-BE49-F238E27FC236}">
                  <a16:creationId xmlns:a16="http://schemas.microsoft.com/office/drawing/2014/main" id="{C214F70D-5FB5-4848-B270-BEE9E2CC6B99}"/>
                </a:ext>
              </a:extLst>
            </p:cNvPr>
            <p:cNvSpPr/>
            <p:nvPr/>
          </p:nvSpPr>
          <p:spPr>
            <a:xfrm>
              <a:off x="4022700" y="2688613"/>
              <a:ext cx="1279650" cy="26225"/>
            </a:xfrm>
            <a:custGeom>
              <a:avLst/>
              <a:gdLst/>
              <a:ahLst/>
              <a:cxnLst/>
              <a:rect l="l" t="t" r="r" b="b"/>
              <a:pathLst>
                <a:path w="51186" h="1049" extrusionOk="0">
                  <a:moveTo>
                    <a:pt x="1" y="0"/>
                  </a:moveTo>
                  <a:lnTo>
                    <a:pt x="1" y="1048"/>
                  </a:lnTo>
                  <a:lnTo>
                    <a:pt x="51186" y="1048"/>
                  </a:lnTo>
                  <a:lnTo>
                    <a:pt x="51186" y="0"/>
                  </a:lnTo>
                  <a:close/>
                </a:path>
              </a:pathLst>
            </a:custGeom>
            <a:solidFill>
              <a:srgbClr val="869FB2"/>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000"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6" name="Google Shape;1214;p34">
              <a:extLst>
                <a:ext uri="{FF2B5EF4-FFF2-40B4-BE49-F238E27FC236}">
                  <a16:creationId xmlns:a16="http://schemas.microsoft.com/office/drawing/2014/main" id="{7EAA90A8-A51B-4EA3-B22E-8B80DF2FCDE6}"/>
                </a:ext>
              </a:extLst>
            </p:cNvPr>
            <p:cNvSpPr/>
            <p:nvPr/>
          </p:nvSpPr>
          <p:spPr>
            <a:xfrm>
              <a:off x="5328525" y="2688475"/>
              <a:ext cx="1279650" cy="26500"/>
            </a:xfrm>
            <a:custGeom>
              <a:avLst/>
              <a:gdLst/>
              <a:ahLst/>
              <a:cxnLst/>
              <a:rect l="l" t="t" r="r" b="b"/>
              <a:pathLst>
                <a:path w="51186" h="1060" extrusionOk="0">
                  <a:moveTo>
                    <a:pt x="0" y="0"/>
                  </a:moveTo>
                  <a:lnTo>
                    <a:pt x="0" y="1060"/>
                  </a:lnTo>
                  <a:lnTo>
                    <a:pt x="51185" y="1060"/>
                  </a:lnTo>
                  <a:lnTo>
                    <a:pt x="51185" y="0"/>
                  </a:lnTo>
                  <a:close/>
                </a:path>
              </a:pathLst>
            </a:custGeom>
            <a:solidFill>
              <a:srgbClr val="869FB2"/>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000"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7" name="Google Shape;1215;p34">
              <a:extLst>
                <a:ext uri="{FF2B5EF4-FFF2-40B4-BE49-F238E27FC236}">
                  <a16:creationId xmlns:a16="http://schemas.microsoft.com/office/drawing/2014/main" id="{72418566-5E16-4F91-A592-B106E4ED4A2D}"/>
                </a:ext>
              </a:extLst>
            </p:cNvPr>
            <p:cNvSpPr/>
            <p:nvPr/>
          </p:nvSpPr>
          <p:spPr>
            <a:xfrm>
              <a:off x="6608150" y="1754325"/>
              <a:ext cx="424475" cy="1894800"/>
            </a:xfrm>
            <a:custGeom>
              <a:avLst/>
              <a:gdLst/>
              <a:ahLst/>
              <a:cxnLst/>
              <a:rect l="l" t="t" r="r" b="b"/>
              <a:pathLst>
                <a:path w="16979" h="75792" extrusionOk="0">
                  <a:moveTo>
                    <a:pt x="1530" y="0"/>
                  </a:moveTo>
                  <a:cubicBezTo>
                    <a:pt x="765" y="0"/>
                    <a:pt x="0" y="552"/>
                    <a:pt x="0" y="1516"/>
                  </a:cubicBezTo>
                  <a:lnTo>
                    <a:pt x="0" y="74287"/>
                  </a:lnTo>
                  <a:cubicBezTo>
                    <a:pt x="0" y="75243"/>
                    <a:pt x="764" y="75791"/>
                    <a:pt x="1527" y="75791"/>
                  </a:cubicBezTo>
                  <a:cubicBezTo>
                    <a:pt x="2095" y="75791"/>
                    <a:pt x="2663" y="75488"/>
                    <a:pt x="2917" y="74823"/>
                  </a:cubicBezTo>
                  <a:lnTo>
                    <a:pt x="16848" y="38437"/>
                  </a:lnTo>
                  <a:cubicBezTo>
                    <a:pt x="16979" y="38092"/>
                    <a:pt x="16979" y="37699"/>
                    <a:pt x="16848" y="37354"/>
                  </a:cubicBezTo>
                  <a:lnTo>
                    <a:pt x="2917" y="968"/>
                  </a:lnTo>
                  <a:cubicBezTo>
                    <a:pt x="2664" y="304"/>
                    <a:pt x="2097" y="0"/>
                    <a:pt x="1530" y="0"/>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000"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8" name="Google Shape;1216;p34">
              <a:extLst>
                <a:ext uri="{FF2B5EF4-FFF2-40B4-BE49-F238E27FC236}">
                  <a16:creationId xmlns:a16="http://schemas.microsoft.com/office/drawing/2014/main" id="{C5B7E7EB-BB2A-4A05-AB8D-6C1CF7D036A0}"/>
                </a:ext>
              </a:extLst>
            </p:cNvPr>
            <p:cNvSpPr/>
            <p:nvPr/>
          </p:nvSpPr>
          <p:spPr>
            <a:xfrm>
              <a:off x="1185575" y="2142400"/>
              <a:ext cx="250650" cy="1118650"/>
            </a:xfrm>
            <a:custGeom>
              <a:avLst/>
              <a:gdLst/>
              <a:ahLst/>
              <a:cxnLst/>
              <a:rect l="l" t="t" r="r" b="b"/>
              <a:pathLst>
                <a:path w="10026" h="44746" extrusionOk="0">
                  <a:moveTo>
                    <a:pt x="901" y="0"/>
                  </a:moveTo>
                  <a:cubicBezTo>
                    <a:pt x="452" y="0"/>
                    <a:pt x="1" y="324"/>
                    <a:pt x="1" y="891"/>
                  </a:cubicBezTo>
                  <a:lnTo>
                    <a:pt x="1" y="43861"/>
                  </a:lnTo>
                  <a:cubicBezTo>
                    <a:pt x="1" y="44421"/>
                    <a:pt x="452" y="44746"/>
                    <a:pt x="901" y="44746"/>
                  </a:cubicBezTo>
                  <a:cubicBezTo>
                    <a:pt x="1235" y="44746"/>
                    <a:pt x="1568" y="44566"/>
                    <a:pt x="1715" y="44170"/>
                  </a:cubicBezTo>
                  <a:lnTo>
                    <a:pt x="9955" y="22692"/>
                  </a:lnTo>
                  <a:cubicBezTo>
                    <a:pt x="10026" y="22489"/>
                    <a:pt x="10026" y="22263"/>
                    <a:pt x="9955" y="22061"/>
                  </a:cubicBezTo>
                  <a:lnTo>
                    <a:pt x="1715" y="570"/>
                  </a:lnTo>
                  <a:cubicBezTo>
                    <a:pt x="1568" y="179"/>
                    <a:pt x="1235" y="0"/>
                    <a:pt x="901" y="0"/>
                  </a:cubicBezTo>
                  <a:close/>
                </a:path>
              </a:pathLst>
            </a:custGeom>
            <a:solidFill>
              <a:srgbClr val="869FB2"/>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000"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9" name="Google Shape;1217;p34">
              <a:extLst>
                <a:ext uri="{FF2B5EF4-FFF2-40B4-BE49-F238E27FC236}">
                  <a16:creationId xmlns:a16="http://schemas.microsoft.com/office/drawing/2014/main" id="{30826659-A851-40F0-BCC4-40C105FA59F1}"/>
                </a:ext>
              </a:extLst>
            </p:cNvPr>
            <p:cNvSpPr txBox="1"/>
            <p:nvPr/>
          </p:nvSpPr>
          <p:spPr>
            <a:xfrm>
              <a:off x="7032625" y="2486925"/>
              <a:ext cx="925800" cy="429600"/>
            </a:xfrm>
            <a:prstGeom prst="rect">
              <a:avLst/>
            </a:prstGeom>
            <a:no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 sz="1800" b="0" i="0" u="none" strike="noStrike" kern="1200" cap="none" spc="0" normalizeH="0" baseline="0" noProof="0">
                  <a:ln>
                    <a:noFill/>
                  </a:ln>
                  <a:solidFill>
                    <a:srgbClr val="434343"/>
                  </a:solidFill>
                  <a:effectLst/>
                  <a:uLnTx/>
                  <a:uFillTx/>
                  <a:latin typeface="Arial"/>
                  <a:ea typeface="+mn-ea"/>
                  <a:cs typeface="+mn-ea"/>
                  <a:sym typeface="+mn-lt"/>
                </a:rPr>
                <a:t>Mercury</a:t>
              </a:r>
              <a:endParaRPr kumimoji="0" sz="1800" b="0" i="0" u="none" strike="noStrike" kern="1200" cap="none" spc="0" normalizeH="0" baseline="0" noProof="0">
                <a:ln>
                  <a:noFill/>
                </a:ln>
                <a:solidFill>
                  <a:srgbClr val="434343"/>
                </a:solidFill>
                <a:effectLst/>
                <a:uLnTx/>
                <a:uFillTx/>
                <a:latin typeface="Arial"/>
                <a:ea typeface="+mn-ea"/>
                <a:cs typeface="+mn-ea"/>
                <a:sym typeface="+mn-lt"/>
              </a:endParaRPr>
            </a:p>
          </p:txBody>
        </p:sp>
      </p:grpSp>
      <p:sp>
        <p:nvSpPr>
          <p:cNvPr id="10" name="Google Shape;1219;p34">
            <a:extLst>
              <a:ext uri="{FF2B5EF4-FFF2-40B4-BE49-F238E27FC236}">
                <a16:creationId xmlns:a16="http://schemas.microsoft.com/office/drawing/2014/main" id="{EC1DAC3B-6298-4D0A-A3D7-607CA60DFCE7}"/>
              </a:ext>
            </a:extLst>
          </p:cNvPr>
          <p:cNvSpPr/>
          <p:nvPr/>
        </p:nvSpPr>
        <p:spPr>
          <a:xfrm>
            <a:off x="7033909" y="1382480"/>
            <a:ext cx="34967" cy="4006100"/>
          </a:xfrm>
          <a:custGeom>
            <a:avLst/>
            <a:gdLst/>
            <a:ahLst/>
            <a:cxnLst/>
            <a:rect l="l" t="t" r="r" b="b"/>
            <a:pathLst>
              <a:path w="1049" h="120183" extrusionOk="0">
                <a:moveTo>
                  <a:pt x="1" y="1"/>
                </a:moveTo>
                <a:lnTo>
                  <a:pt x="1" y="120182"/>
                </a:lnTo>
                <a:lnTo>
                  <a:pt x="1048" y="120182"/>
                </a:lnTo>
                <a:lnTo>
                  <a:pt x="1048" y="1"/>
                </a:ln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000"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11" name="Google Shape;1220;p34">
            <a:extLst>
              <a:ext uri="{FF2B5EF4-FFF2-40B4-BE49-F238E27FC236}">
                <a16:creationId xmlns:a16="http://schemas.microsoft.com/office/drawing/2014/main" id="{5B79F5F2-BAE1-45C9-B720-A83C3F97FCA1}"/>
              </a:ext>
            </a:extLst>
          </p:cNvPr>
          <p:cNvSpPr/>
          <p:nvPr/>
        </p:nvSpPr>
        <p:spPr>
          <a:xfrm>
            <a:off x="5292809" y="1549180"/>
            <a:ext cx="34967" cy="3672300"/>
          </a:xfrm>
          <a:custGeom>
            <a:avLst/>
            <a:gdLst/>
            <a:ahLst/>
            <a:cxnLst/>
            <a:rect l="l" t="t" r="r" b="b"/>
            <a:pathLst>
              <a:path w="1049" h="110169" extrusionOk="0">
                <a:moveTo>
                  <a:pt x="1" y="0"/>
                </a:moveTo>
                <a:lnTo>
                  <a:pt x="1" y="110169"/>
                </a:lnTo>
                <a:lnTo>
                  <a:pt x="1049" y="110169"/>
                </a:lnTo>
                <a:lnTo>
                  <a:pt x="1049" y="0"/>
                </a:ln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000"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12" name="Google Shape;1221;p34">
            <a:extLst>
              <a:ext uri="{FF2B5EF4-FFF2-40B4-BE49-F238E27FC236}">
                <a16:creationId xmlns:a16="http://schemas.microsoft.com/office/drawing/2014/main" id="{A575C177-CC11-4ED1-AF39-51942A9096A1}"/>
              </a:ext>
            </a:extLst>
          </p:cNvPr>
          <p:cNvSpPr/>
          <p:nvPr/>
        </p:nvSpPr>
        <p:spPr>
          <a:xfrm>
            <a:off x="3551342" y="1716247"/>
            <a:ext cx="35333" cy="3338133"/>
          </a:xfrm>
          <a:custGeom>
            <a:avLst/>
            <a:gdLst/>
            <a:ahLst/>
            <a:cxnLst/>
            <a:rect l="l" t="t" r="r" b="b"/>
            <a:pathLst>
              <a:path w="1060" h="100144" extrusionOk="0">
                <a:moveTo>
                  <a:pt x="0" y="1"/>
                </a:moveTo>
                <a:lnTo>
                  <a:pt x="0" y="100144"/>
                </a:lnTo>
                <a:lnTo>
                  <a:pt x="1060" y="100144"/>
                </a:lnTo>
                <a:lnTo>
                  <a:pt x="1060" y="1"/>
                </a:ln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000" b="0" i="0" u="none" strike="noStrike" kern="1200" cap="none" spc="0" normalizeH="0" baseline="0" noProof="0">
              <a:ln>
                <a:noFill/>
              </a:ln>
              <a:solidFill>
                <a:srgbClr val="000000"/>
              </a:solidFill>
              <a:effectLst/>
              <a:uLnTx/>
              <a:uFillTx/>
              <a:latin typeface="Arial"/>
              <a:ea typeface="+mn-ea"/>
              <a:cs typeface="+mn-ea"/>
              <a:sym typeface="+mn-lt"/>
            </a:endParaRPr>
          </a:p>
        </p:txBody>
      </p:sp>
      <p:grpSp>
        <p:nvGrpSpPr>
          <p:cNvPr id="13" name="Google Shape;1222;p34">
            <a:extLst>
              <a:ext uri="{FF2B5EF4-FFF2-40B4-BE49-F238E27FC236}">
                <a16:creationId xmlns:a16="http://schemas.microsoft.com/office/drawing/2014/main" id="{79B9BE7B-CC5A-4F7E-9ADB-666E243B0659}"/>
              </a:ext>
            </a:extLst>
          </p:cNvPr>
          <p:cNvGrpSpPr/>
          <p:nvPr/>
        </p:nvGrpSpPr>
        <p:grpSpPr>
          <a:xfrm>
            <a:off x="3796942" y="1791763"/>
            <a:ext cx="1285600" cy="2841551"/>
            <a:chOff x="3349950" y="1558975"/>
            <a:chExt cx="964200" cy="2131163"/>
          </a:xfrm>
        </p:grpSpPr>
        <p:sp>
          <p:nvSpPr>
            <p:cNvPr id="14" name="Google Shape;1223;p34">
              <a:extLst>
                <a:ext uri="{FF2B5EF4-FFF2-40B4-BE49-F238E27FC236}">
                  <a16:creationId xmlns:a16="http://schemas.microsoft.com/office/drawing/2014/main" id="{32650DA7-FD20-46C5-993E-0C99EAA93185}"/>
                </a:ext>
              </a:extLst>
            </p:cNvPr>
            <p:cNvSpPr/>
            <p:nvPr/>
          </p:nvSpPr>
          <p:spPr>
            <a:xfrm>
              <a:off x="3788150" y="2660213"/>
              <a:ext cx="87525" cy="83075"/>
            </a:xfrm>
            <a:custGeom>
              <a:avLst/>
              <a:gdLst/>
              <a:ahLst/>
              <a:cxnLst/>
              <a:rect l="l" t="t" r="r" b="b"/>
              <a:pathLst>
                <a:path w="3501" h="3323" extrusionOk="0">
                  <a:moveTo>
                    <a:pt x="1750" y="1"/>
                  </a:moveTo>
                  <a:cubicBezTo>
                    <a:pt x="1500" y="1"/>
                    <a:pt x="1262" y="96"/>
                    <a:pt x="1084" y="275"/>
                  </a:cubicBezTo>
                  <a:lnTo>
                    <a:pt x="369" y="1001"/>
                  </a:lnTo>
                  <a:cubicBezTo>
                    <a:pt x="0" y="1370"/>
                    <a:pt x="0" y="1966"/>
                    <a:pt x="369" y="2323"/>
                  </a:cubicBezTo>
                  <a:lnTo>
                    <a:pt x="1084" y="3049"/>
                  </a:lnTo>
                  <a:cubicBezTo>
                    <a:pt x="1262" y="3228"/>
                    <a:pt x="1500" y="3323"/>
                    <a:pt x="1750" y="3323"/>
                  </a:cubicBezTo>
                  <a:cubicBezTo>
                    <a:pt x="2000" y="3323"/>
                    <a:pt x="2239" y="3228"/>
                    <a:pt x="2417" y="3049"/>
                  </a:cubicBezTo>
                  <a:lnTo>
                    <a:pt x="3131" y="2323"/>
                  </a:lnTo>
                  <a:cubicBezTo>
                    <a:pt x="3501" y="1966"/>
                    <a:pt x="3501" y="1370"/>
                    <a:pt x="3131" y="1001"/>
                  </a:cubicBezTo>
                  <a:lnTo>
                    <a:pt x="2417" y="275"/>
                  </a:lnTo>
                  <a:cubicBezTo>
                    <a:pt x="2239" y="96"/>
                    <a:pt x="2000" y="1"/>
                    <a:pt x="1750" y="1"/>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000"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15" name="Google Shape;1224;p34">
              <a:extLst>
                <a:ext uri="{FF2B5EF4-FFF2-40B4-BE49-F238E27FC236}">
                  <a16:creationId xmlns:a16="http://schemas.microsoft.com/office/drawing/2014/main" id="{0F53A880-3BD6-48FC-AA5D-38F98FC12294}"/>
                </a:ext>
              </a:extLst>
            </p:cNvPr>
            <p:cNvSpPr/>
            <p:nvPr/>
          </p:nvSpPr>
          <p:spPr>
            <a:xfrm>
              <a:off x="3542275" y="2933763"/>
              <a:ext cx="579575" cy="756375"/>
            </a:xfrm>
            <a:custGeom>
              <a:avLst/>
              <a:gdLst/>
              <a:ahLst/>
              <a:cxnLst/>
              <a:rect l="l" t="t" r="r" b="b"/>
              <a:pathLst>
                <a:path w="23183" h="30255" extrusionOk="0">
                  <a:moveTo>
                    <a:pt x="11585" y="1370"/>
                  </a:moveTo>
                  <a:cubicBezTo>
                    <a:pt x="12669" y="1370"/>
                    <a:pt x="13681" y="1787"/>
                    <a:pt x="14443" y="2549"/>
                  </a:cubicBezTo>
                  <a:lnTo>
                    <a:pt x="20622" y="8728"/>
                  </a:lnTo>
                  <a:cubicBezTo>
                    <a:pt x="22206" y="10312"/>
                    <a:pt x="22206" y="12871"/>
                    <a:pt x="20622" y="14443"/>
                  </a:cubicBezTo>
                  <a:lnTo>
                    <a:pt x="14443" y="20622"/>
                  </a:lnTo>
                  <a:cubicBezTo>
                    <a:pt x="13681" y="21384"/>
                    <a:pt x="12669" y="21801"/>
                    <a:pt x="11585" y="21801"/>
                  </a:cubicBezTo>
                  <a:cubicBezTo>
                    <a:pt x="10514" y="21801"/>
                    <a:pt x="9490" y="21384"/>
                    <a:pt x="8728" y="20622"/>
                  </a:cubicBezTo>
                  <a:lnTo>
                    <a:pt x="2549" y="14443"/>
                  </a:lnTo>
                  <a:cubicBezTo>
                    <a:pt x="977" y="12871"/>
                    <a:pt x="977" y="10312"/>
                    <a:pt x="2549" y="8728"/>
                  </a:cubicBezTo>
                  <a:lnTo>
                    <a:pt x="8728" y="2549"/>
                  </a:lnTo>
                  <a:cubicBezTo>
                    <a:pt x="9490" y="1787"/>
                    <a:pt x="10514" y="1370"/>
                    <a:pt x="11585" y="1370"/>
                  </a:cubicBezTo>
                  <a:close/>
                  <a:moveTo>
                    <a:pt x="11585" y="1"/>
                  </a:moveTo>
                  <a:cubicBezTo>
                    <a:pt x="10145" y="1"/>
                    <a:pt x="8787" y="560"/>
                    <a:pt x="7763" y="1584"/>
                  </a:cubicBezTo>
                  <a:lnTo>
                    <a:pt x="1572" y="7764"/>
                  </a:lnTo>
                  <a:cubicBezTo>
                    <a:pt x="524" y="8823"/>
                    <a:pt x="1" y="10204"/>
                    <a:pt x="1" y="11586"/>
                  </a:cubicBezTo>
                  <a:lnTo>
                    <a:pt x="1" y="27087"/>
                  </a:lnTo>
                  <a:cubicBezTo>
                    <a:pt x="1" y="28838"/>
                    <a:pt x="1417" y="30255"/>
                    <a:pt x="3168" y="30255"/>
                  </a:cubicBezTo>
                  <a:lnTo>
                    <a:pt x="20003" y="30255"/>
                  </a:lnTo>
                  <a:cubicBezTo>
                    <a:pt x="21765" y="30255"/>
                    <a:pt x="23182" y="28838"/>
                    <a:pt x="23182" y="27087"/>
                  </a:cubicBezTo>
                  <a:lnTo>
                    <a:pt x="23182" y="11586"/>
                  </a:lnTo>
                  <a:cubicBezTo>
                    <a:pt x="23182" y="10204"/>
                    <a:pt x="22658" y="8823"/>
                    <a:pt x="21599" y="7764"/>
                  </a:cubicBezTo>
                  <a:lnTo>
                    <a:pt x="15419" y="1584"/>
                  </a:lnTo>
                  <a:cubicBezTo>
                    <a:pt x="14395" y="560"/>
                    <a:pt x="13038" y="1"/>
                    <a:pt x="11585" y="1"/>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000"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16" name="Google Shape;1225;p34">
              <a:extLst>
                <a:ext uri="{FF2B5EF4-FFF2-40B4-BE49-F238E27FC236}">
                  <a16:creationId xmlns:a16="http://schemas.microsoft.com/office/drawing/2014/main" id="{30773FEE-1640-42D5-8963-CD8B509F188F}"/>
                </a:ext>
              </a:extLst>
            </p:cNvPr>
            <p:cNvSpPr/>
            <p:nvPr/>
          </p:nvSpPr>
          <p:spPr>
            <a:xfrm>
              <a:off x="3484525" y="2232478"/>
              <a:ext cx="692075" cy="227759"/>
            </a:xfrm>
            <a:custGeom>
              <a:avLst/>
              <a:gdLst/>
              <a:ahLst/>
              <a:cxnLst/>
              <a:rect l="l" t="t" r="r" b="b"/>
              <a:pathLst>
                <a:path w="27683" h="7585" extrusionOk="0">
                  <a:moveTo>
                    <a:pt x="1346" y="1"/>
                  </a:moveTo>
                  <a:cubicBezTo>
                    <a:pt x="596" y="1"/>
                    <a:pt x="1" y="596"/>
                    <a:pt x="1" y="1334"/>
                  </a:cubicBezTo>
                  <a:lnTo>
                    <a:pt x="1" y="6251"/>
                  </a:lnTo>
                  <a:cubicBezTo>
                    <a:pt x="1" y="6990"/>
                    <a:pt x="596" y="7585"/>
                    <a:pt x="1346" y="7585"/>
                  </a:cubicBezTo>
                  <a:lnTo>
                    <a:pt x="26349" y="7585"/>
                  </a:lnTo>
                  <a:cubicBezTo>
                    <a:pt x="27087" y="7585"/>
                    <a:pt x="27683" y="6990"/>
                    <a:pt x="27683" y="6251"/>
                  </a:cubicBezTo>
                  <a:lnTo>
                    <a:pt x="27683" y="1334"/>
                  </a:lnTo>
                  <a:cubicBezTo>
                    <a:pt x="27683" y="596"/>
                    <a:pt x="27087" y="1"/>
                    <a:pt x="26349" y="1"/>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Tx/>
                <a:buNone/>
                <a:tabLst/>
                <a:defRPr/>
              </a:pPr>
              <a:r>
                <a:rPr kumimoji="0" lang="en" sz="2000" b="0" i="0" u="none" strike="noStrike" kern="1200" cap="none" spc="0" normalizeH="0" baseline="0" noProof="0">
                  <a:ln>
                    <a:noFill/>
                  </a:ln>
                  <a:solidFill>
                    <a:srgbClr val="FFFFFF"/>
                  </a:solidFill>
                  <a:effectLst/>
                  <a:uLnTx/>
                  <a:uFillTx/>
                  <a:latin typeface="Arial"/>
                  <a:ea typeface="+mn-ea"/>
                  <a:cs typeface="+mn-ea"/>
                  <a:sym typeface="+mn-lt"/>
                </a:rPr>
                <a:t>2022</a:t>
              </a:r>
              <a:endParaRPr kumimoji="0" sz="2000"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17" name="Google Shape;1226;p34">
              <a:extLst>
                <a:ext uri="{FF2B5EF4-FFF2-40B4-BE49-F238E27FC236}">
                  <a16:creationId xmlns:a16="http://schemas.microsoft.com/office/drawing/2014/main" id="{03F60C07-671A-430C-ABA6-12F314899A5E}"/>
                </a:ext>
              </a:extLst>
            </p:cNvPr>
            <p:cNvSpPr txBox="1"/>
            <p:nvPr/>
          </p:nvSpPr>
          <p:spPr>
            <a:xfrm>
              <a:off x="3349950" y="1558975"/>
              <a:ext cx="964200" cy="597300"/>
            </a:xfrm>
            <a:prstGeom prst="rect">
              <a:avLst/>
            </a:prstGeom>
            <a:noFill/>
            <a:ln>
              <a:noFill/>
            </a:ln>
          </p:spPr>
          <p:txBody>
            <a:bodyPr spcFirstLastPara="1" wrap="square" lIns="121900" tIns="121900" rIns="121900" bIns="1219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1200" b="0" i="0" u="none" strike="noStrike" kern="1200" cap="none" spc="0" normalizeH="0" baseline="0" noProof="0">
                  <a:ln>
                    <a:noFill/>
                  </a:ln>
                  <a:solidFill>
                    <a:srgbClr val="434343"/>
                  </a:solidFill>
                  <a:effectLst/>
                  <a:uLnTx/>
                  <a:uFillTx/>
                  <a:latin typeface="Arial"/>
                  <a:ea typeface="+mn-ea"/>
                  <a:cs typeface="+mn-ea"/>
                  <a:sym typeface="+mn-lt"/>
                </a:rPr>
                <a:t>Mercury is the first</a:t>
              </a:r>
              <a:endParaRPr kumimoji="0" sz="1200" b="0" i="0" u="none" strike="noStrike" kern="1200" cap="none" spc="0" normalizeH="0" baseline="0" noProof="0">
                <a:ln>
                  <a:noFill/>
                </a:ln>
                <a:solidFill>
                  <a:srgbClr val="434343"/>
                </a:solidFill>
                <a:effectLst/>
                <a:uLnTx/>
                <a:uFillTx/>
                <a:latin typeface="Arial"/>
                <a:ea typeface="+mn-ea"/>
                <a:cs typeface="+mn-ea"/>
                <a:sym typeface="+mn-lt"/>
              </a:endParaRPr>
            </a:p>
          </p:txBody>
        </p:sp>
        <p:grpSp>
          <p:nvGrpSpPr>
            <p:cNvPr id="18" name="Google Shape;1227;p34">
              <a:extLst>
                <a:ext uri="{FF2B5EF4-FFF2-40B4-BE49-F238E27FC236}">
                  <a16:creationId xmlns:a16="http://schemas.microsoft.com/office/drawing/2014/main" id="{0260FC82-DAF2-443A-B74D-DB19B75FF99E}"/>
                </a:ext>
              </a:extLst>
            </p:cNvPr>
            <p:cNvGrpSpPr/>
            <p:nvPr/>
          </p:nvGrpSpPr>
          <p:grpSpPr>
            <a:xfrm>
              <a:off x="3693879" y="3067751"/>
              <a:ext cx="276338" cy="275281"/>
              <a:chOff x="2085450" y="842250"/>
              <a:chExt cx="483700" cy="481850"/>
            </a:xfrm>
          </p:grpSpPr>
          <p:sp>
            <p:nvSpPr>
              <p:cNvPr id="19" name="Google Shape;1228;p34">
                <a:extLst>
                  <a:ext uri="{FF2B5EF4-FFF2-40B4-BE49-F238E27FC236}">
                    <a16:creationId xmlns:a16="http://schemas.microsoft.com/office/drawing/2014/main" id="{FD1E9C00-BF56-41FB-848A-241AA43A70C1}"/>
                  </a:ext>
                </a:extLst>
              </p:cNvPr>
              <p:cNvSpPr/>
              <p:nvPr/>
            </p:nvSpPr>
            <p:spPr>
              <a:xfrm>
                <a:off x="2085525" y="926925"/>
                <a:ext cx="483625" cy="397175"/>
              </a:xfrm>
              <a:custGeom>
                <a:avLst/>
                <a:gdLst/>
                <a:ahLst/>
                <a:cxnLst/>
                <a:rect l="l" t="t" r="r" b="b"/>
                <a:pathLst>
                  <a:path w="19345" h="15887" extrusionOk="0">
                    <a:moveTo>
                      <a:pt x="1693" y="1"/>
                    </a:moveTo>
                    <a:cubicBezTo>
                      <a:pt x="756" y="1"/>
                      <a:pt x="0" y="760"/>
                      <a:pt x="0" y="1696"/>
                    </a:cubicBezTo>
                    <a:cubicBezTo>
                      <a:pt x="0" y="2630"/>
                      <a:pt x="756" y="3389"/>
                      <a:pt x="1693" y="3389"/>
                    </a:cubicBezTo>
                    <a:lnTo>
                      <a:pt x="3990" y="3389"/>
                    </a:lnTo>
                    <a:cubicBezTo>
                      <a:pt x="4924" y="3389"/>
                      <a:pt x="5683" y="4147"/>
                      <a:pt x="5683" y="5084"/>
                    </a:cubicBezTo>
                    <a:lnTo>
                      <a:pt x="5683" y="8547"/>
                    </a:lnTo>
                    <a:cubicBezTo>
                      <a:pt x="5683" y="11347"/>
                      <a:pt x="7962" y="13627"/>
                      <a:pt x="10766" y="13627"/>
                    </a:cubicBezTo>
                    <a:lnTo>
                      <a:pt x="13626" y="13627"/>
                    </a:lnTo>
                    <a:lnTo>
                      <a:pt x="13626" y="15322"/>
                    </a:lnTo>
                    <a:cubicBezTo>
                      <a:pt x="13626" y="15656"/>
                      <a:pt x="13901" y="15887"/>
                      <a:pt x="14194" y="15887"/>
                    </a:cubicBezTo>
                    <a:cubicBezTo>
                      <a:pt x="14308" y="15887"/>
                      <a:pt x="14425" y="15852"/>
                      <a:pt x="14530" y="15774"/>
                    </a:cubicBezTo>
                    <a:lnTo>
                      <a:pt x="19046" y="12386"/>
                    </a:lnTo>
                    <a:cubicBezTo>
                      <a:pt x="19345" y="12160"/>
                      <a:pt x="19345" y="11706"/>
                      <a:pt x="19046" y="11483"/>
                    </a:cubicBezTo>
                    <a:lnTo>
                      <a:pt x="14530" y="8095"/>
                    </a:lnTo>
                    <a:cubicBezTo>
                      <a:pt x="14424" y="8016"/>
                      <a:pt x="14307" y="7981"/>
                      <a:pt x="14192" y="7981"/>
                    </a:cubicBezTo>
                    <a:cubicBezTo>
                      <a:pt x="13899" y="7981"/>
                      <a:pt x="13626" y="8212"/>
                      <a:pt x="13626" y="8547"/>
                    </a:cubicBezTo>
                    <a:lnTo>
                      <a:pt x="13626" y="10239"/>
                    </a:lnTo>
                    <a:lnTo>
                      <a:pt x="10766" y="10239"/>
                    </a:lnTo>
                    <a:cubicBezTo>
                      <a:pt x="9829" y="10239"/>
                      <a:pt x="9070" y="9480"/>
                      <a:pt x="9070" y="8547"/>
                    </a:cubicBezTo>
                    <a:lnTo>
                      <a:pt x="9070" y="5084"/>
                    </a:lnTo>
                    <a:cubicBezTo>
                      <a:pt x="9070" y="2280"/>
                      <a:pt x="6791" y="1"/>
                      <a:pt x="3990" y="1"/>
                    </a:cubicBezTo>
                    <a:close/>
                  </a:path>
                </a:pathLst>
              </a:custGeom>
              <a:solidFill>
                <a:schemeClr val="accent1">
                  <a:lumMod val="100000"/>
                </a:schemeClr>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000" b="0" i="0" u="none" strike="noStrike" kern="1200" cap="none" spc="0" normalizeH="0" baseline="0" noProof="0">
                  <a:ln>
                    <a:noFill/>
                  </a:ln>
                  <a:solidFill>
                    <a:srgbClr val="435D74"/>
                  </a:solidFill>
                  <a:effectLst/>
                  <a:uLnTx/>
                  <a:uFillTx/>
                  <a:latin typeface="Arial"/>
                  <a:ea typeface="+mn-ea"/>
                  <a:cs typeface="+mn-ea"/>
                  <a:sym typeface="+mn-lt"/>
                </a:endParaRPr>
              </a:p>
            </p:txBody>
          </p:sp>
          <p:sp>
            <p:nvSpPr>
              <p:cNvPr id="20" name="Google Shape;1229;p34">
                <a:extLst>
                  <a:ext uri="{FF2B5EF4-FFF2-40B4-BE49-F238E27FC236}">
                    <a16:creationId xmlns:a16="http://schemas.microsoft.com/office/drawing/2014/main" id="{5ADE9E92-75B8-4298-A671-BF099FAAD9CE}"/>
                  </a:ext>
                </a:extLst>
              </p:cNvPr>
              <p:cNvSpPr/>
              <p:nvPr/>
            </p:nvSpPr>
            <p:spPr>
              <a:xfrm>
                <a:off x="2085450" y="1151875"/>
                <a:ext cx="143650" cy="87575"/>
              </a:xfrm>
              <a:custGeom>
                <a:avLst/>
                <a:gdLst/>
                <a:ahLst/>
                <a:cxnLst/>
                <a:rect l="l" t="t" r="r" b="b"/>
                <a:pathLst>
                  <a:path w="5746" h="3503" extrusionOk="0">
                    <a:moveTo>
                      <a:pt x="4577" y="1"/>
                    </a:moveTo>
                    <a:cubicBezTo>
                      <a:pt x="4391" y="73"/>
                      <a:pt x="4192" y="112"/>
                      <a:pt x="3990" y="115"/>
                    </a:cubicBezTo>
                    <a:lnTo>
                      <a:pt x="1693" y="115"/>
                    </a:lnTo>
                    <a:cubicBezTo>
                      <a:pt x="759" y="115"/>
                      <a:pt x="0" y="871"/>
                      <a:pt x="0" y="1807"/>
                    </a:cubicBezTo>
                    <a:cubicBezTo>
                      <a:pt x="0" y="2744"/>
                      <a:pt x="759" y="3503"/>
                      <a:pt x="1693" y="3503"/>
                    </a:cubicBezTo>
                    <a:lnTo>
                      <a:pt x="1696" y="3500"/>
                    </a:lnTo>
                    <a:lnTo>
                      <a:pt x="3993" y="3500"/>
                    </a:lnTo>
                    <a:cubicBezTo>
                      <a:pt x="4589" y="3500"/>
                      <a:pt x="5183" y="3391"/>
                      <a:pt x="5746" y="3186"/>
                    </a:cubicBezTo>
                    <a:cubicBezTo>
                      <a:pt x="5065" y="2253"/>
                      <a:pt x="4662" y="1151"/>
                      <a:pt x="4577" y="1"/>
                    </a:cubicBezTo>
                    <a:close/>
                  </a:path>
                </a:pathLst>
              </a:custGeom>
              <a:solidFill>
                <a:schemeClr val="accent1">
                  <a:lumMod val="100000"/>
                </a:schemeClr>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000" b="0" i="0" u="none" strike="noStrike" kern="1200" cap="none" spc="0" normalizeH="0" baseline="0" noProof="0">
                  <a:ln>
                    <a:noFill/>
                  </a:ln>
                  <a:solidFill>
                    <a:srgbClr val="435D74"/>
                  </a:solidFill>
                  <a:effectLst/>
                  <a:uLnTx/>
                  <a:uFillTx/>
                  <a:latin typeface="Arial"/>
                  <a:ea typeface="+mn-ea"/>
                  <a:cs typeface="+mn-ea"/>
                  <a:sym typeface="+mn-lt"/>
                </a:endParaRPr>
              </a:p>
            </p:txBody>
          </p:sp>
          <p:sp>
            <p:nvSpPr>
              <p:cNvPr id="21" name="Google Shape;1230;p34">
                <a:extLst>
                  <a:ext uri="{FF2B5EF4-FFF2-40B4-BE49-F238E27FC236}">
                    <a16:creationId xmlns:a16="http://schemas.microsoft.com/office/drawing/2014/main" id="{6498EA59-9728-421F-AC0E-A5611728C6E8}"/>
                  </a:ext>
                </a:extLst>
              </p:cNvPr>
              <p:cNvSpPr/>
              <p:nvPr/>
            </p:nvSpPr>
            <p:spPr>
              <a:xfrm>
                <a:off x="2274775" y="842250"/>
                <a:ext cx="294375" cy="197650"/>
              </a:xfrm>
              <a:custGeom>
                <a:avLst/>
                <a:gdLst/>
                <a:ahLst/>
                <a:cxnLst/>
                <a:rect l="l" t="t" r="r" b="b"/>
                <a:pathLst>
                  <a:path w="11775" h="7906" extrusionOk="0">
                    <a:moveTo>
                      <a:pt x="6622" y="0"/>
                    </a:moveTo>
                    <a:cubicBezTo>
                      <a:pt x="6329" y="0"/>
                      <a:pt x="6056" y="231"/>
                      <a:pt x="6056" y="566"/>
                    </a:cubicBezTo>
                    <a:lnTo>
                      <a:pt x="6056" y="2259"/>
                    </a:lnTo>
                    <a:lnTo>
                      <a:pt x="3196" y="2259"/>
                    </a:lnTo>
                    <a:cubicBezTo>
                      <a:pt x="2030" y="2265"/>
                      <a:pt x="904" y="2668"/>
                      <a:pt x="1" y="3406"/>
                    </a:cubicBezTo>
                    <a:cubicBezTo>
                      <a:pt x="940" y="4068"/>
                      <a:pt x="1675" y="4978"/>
                      <a:pt x="2130" y="6032"/>
                    </a:cubicBezTo>
                    <a:cubicBezTo>
                      <a:pt x="2431" y="5785"/>
                      <a:pt x="2804" y="5649"/>
                      <a:pt x="3196" y="5646"/>
                    </a:cubicBezTo>
                    <a:lnTo>
                      <a:pt x="6056" y="5646"/>
                    </a:lnTo>
                    <a:lnTo>
                      <a:pt x="6056" y="7342"/>
                    </a:lnTo>
                    <a:cubicBezTo>
                      <a:pt x="6056" y="7679"/>
                      <a:pt x="6334" y="7906"/>
                      <a:pt x="6625" y="7906"/>
                    </a:cubicBezTo>
                    <a:cubicBezTo>
                      <a:pt x="6740" y="7906"/>
                      <a:pt x="6857" y="7871"/>
                      <a:pt x="6960" y="7793"/>
                    </a:cubicBezTo>
                    <a:lnTo>
                      <a:pt x="11476" y="4406"/>
                    </a:lnTo>
                    <a:cubicBezTo>
                      <a:pt x="11775" y="4180"/>
                      <a:pt x="11775" y="3725"/>
                      <a:pt x="11476" y="3502"/>
                    </a:cubicBezTo>
                    <a:lnTo>
                      <a:pt x="6960" y="115"/>
                    </a:lnTo>
                    <a:cubicBezTo>
                      <a:pt x="6854" y="36"/>
                      <a:pt x="6737" y="0"/>
                      <a:pt x="6622" y="0"/>
                    </a:cubicBezTo>
                    <a:close/>
                  </a:path>
                </a:pathLst>
              </a:custGeom>
              <a:solidFill>
                <a:schemeClr val="accent1">
                  <a:lumMod val="100000"/>
                </a:schemeClr>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000" b="0" i="0" u="none" strike="noStrike" kern="1200" cap="none" spc="0" normalizeH="0" baseline="0" noProof="0">
                  <a:ln>
                    <a:noFill/>
                  </a:ln>
                  <a:solidFill>
                    <a:srgbClr val="435D74"/>
                  </a:solidFill>
                  <a:effectLst/>
                  <a:uLnTx/>
                  <a:uFillTx/>
                  <a:latin typeface="Arial"/>
                  <a:ea typeface="+mn-ea"/>
                  <a:cs typeface="+mn-ea"/>
                  <a:sym typeface="+mn-lt"/>
                </a:endParaRPr>
              </a:p>
            </p:txBody>
          </p:sp>
        </p:grpSp>
      </p:grpSp>
      <p:grpSp>
        <p:nvGrpSpPr>
          <p:cNvPr id="22" name="Google Shape;1231;p34">
            <a:extLst>
              <a:ext uri="{FF2B5EF4-FFF2-40B4-BE49-F238E27FC236}">
                <a16:creationId xmlns:a16="http://schemas.microsoft.com/office/drawing/2014/main" id="{72B4562A-F130-4875-9A8A-78513898F39D}"/>
              </a:ext>
            </a:extLst>
          </p:cNvPr>
          <p:cNvGrpSpPr/>
          <p:nvPr/>
        </p:nvGrpSpPr>
        <p:grpSpPr>
          <a:xfrm>
            <a:off x="2055859" y="1982146"/>
            <a:ext cx="1285600" cy="2843184"/>
            <a:chOff x="2044138" y="1701763"/>
            <a:chExt cx="964200" cy="2132388"/>
          </a:xfrm>
        </p:grpSpPr>
        <p:sp>
          <p:nvSpPr>
            <p:cNvPr id="23" name="Google Shape;1232;p34">
              <a:extLst>
                <a:ext uri="{FF2B5EF4-FFF2-40B4-BE49-F238E27FC236}">
                  <a16:creationId xmlns:a16="http://schemas.microsoft.com/office/drawing/2014/main" id="{1C3F70BD-85AA-492B-BBE0-32A9709E8B35}"/>
                </a:ext>
              </a:extLst>
            </p:cNvPr>
            <p:cNvSpPr/>
            <p:nvPr/>
          </p:nvSpPr>
          <p:spPr>
            <a:xfrm>
              <a:off x="2482325" y="2660213"/>
              <a:ext cx="87525" cy="83075"/>
            </a:xfrm>
            <a:custGeom>
              <a:avLst/>
              <a:gdLst/>
              <a:ahLst/>
              <a:cxnLst/>
              <a:rect l="l" t="t" r="r" b="b"/>
              <a:pathLst>
                <a:path w="3501" h="3323" extrusionOk="0">
                  <a:moveTo>
                    <a:pt x="1751" y="1"/>
                  </a:moveTo>
                  <a:cubicBezTo>
                    <a:pt x="1501" y="1"/>
                    <a:pt x="1262" y="96"/>
                    <a:pt x="1084" y="275"/>
                  </a:cubicBezTo>
                  <a:lnTo>
                    <a:pt x="370" y="1001"/>
                  </a:lnTo>
                  <a:cubicBezTo>
                    <a:pt x="0" y="1370"/>
                    <a:pt x="0" y="1966"/>
                    <a:pt x="370" y="2323"/>
                  </a:cubicBezTo>
                  <a:lnTo>
                    <a:pt x="1084" y="3049"/>
                  </a:lnTo>
                  <a:cubicBezTo>
                    <a:pt x="1262" y="3228"/>
                    <a:pt x="1501" y="3323"/>
                    <a:pt x="1751" y="3323"/>
                  </a:cubicBezTo>
                  <a:cubicBezTo>
                    <a:pt x="2001" y="3323"/>
                    <a:pt x="2239" y="3228"/>
                    <a:pt x="2417" y="3049"/>
                  </a:cubicBezTo>
                  <a:lnTo>
                    <a:pt x="3132" y="2323"/>
                  </a:lnTo>
                  <a:cubicBezTo>
                    <a:pt x="3501" y="1966"/>
                    <a:pt x="3501" y="1370"/>
                    <a:pt x="3132" y="1001"/>
                  </a:cubicBezTo>
                  <a:lnTo>
                    <a:pt x="2417" y="275"/>
                  </a:lnTo>
                  <a:cubicBezTo>
                    <a:pt x="2239" y="96"/>
                    <a:pt x="2001" y="1"/>
                    <a:pt x="1751" y="1"/>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000"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24" name="Google Shape;1233;p34">
              <a:extLst>
                <a:ext uri="{FF2B5EF4-FFF2-40B4-BE49-F238E27FC236}">
                  <a16:creationId xmlns:a16="http://schemas.microsoft.com/office/drawing/2014/main" id="{0F0DB8C0-D2E0-4CCF-9220-287F2F2F821F}"/>
                </a:ext>
              </a:extLst>
            </p:cNvPr>
            <p:cNvSpPr/>
            <p:nvPr/>
          </p:nvSpPr>
          <p:spPr>
            <a:xfrm>
              <a:off x="2234675" y="1701763"/>
              <a:ext cx="582525" cy="760250"/>
            </a:xfrm>
            <a:custGeom>
              <a:avLst/>
              <a:gdLst/>
              <a:ahLst/>
              <a:cxnLst/>
              <a:rect l="l" t="t" r="r" b="b"/>
              <a:pathLst>
                <a:path w="23301" h="30410" extrusionOk="0">
                  <a:moveTo>
                    <a:pt x="11657" y="8490"/>
                  </a:moveTo>
                  <a:cubicBezTo>
                    <a:pt x="12740" y="8490"/>
                    <a:pt x="13764" y="8919"/>
                    <a:pt x="14526" y="9681"/>
                  </a:cubicBezTo>
                  <a:lnTo>
                    <a:pt x="20741" y="15896"/>
                  </a:lnTo>
                  <a:cubicBezTo>
                    <a:pt x="22325" y="17479"/>
                    <a:pt x="22325" y="20051"/>
                    <a:pt x="20741" y="21635"/>
                  </a:cubicBezTo>
                  <a:lnTo>
                    <a:pt x="14526" y="27838"/>
                  </a:lnTo>
                  <a:cubicBezTo>
                    <a:pt x="13764" y="28612"/>
                    <a:pt x="12740" y="29028"/>
                    <a:pt x="11657" y="29028"/>
                  </a:cubicBezTo>
                  <a:cubicBezTo>
                    <a:pt x="10573" y="29028"/>
                    <a:pt x="9549" y="28612"/>
                    <a:pt x="8787" y="27838"/>
                  </a:cubicBezTo>
                  <a:lnTo>
                    <a:pt x="2572" y="21635"/>
                  </a:lnTo>
                  <a:cubicBezTo>
                    <a:pt x="989" y="20051"/>
                    <a:pt x="989" y="17479"/>
                    <a:pt x="2572" y="15896"/>
                  </a:cubicBezTo>
                  <a:lnTo>
                    <a:pt x="8787" y="9681"/>
                  </a:lnTo>
                  <a:cubicBezTo>
                    <a:pt x="9549" y="8919"/>
                    <a:pt x="10573" y="8490"/>
                    <a:pt x="11657" y="8490"/>
                  </a:cubicBezTo>
                  <a:close/>
                  <a:moveTo>
                    <a:pt x="2822" y="1"/>
                  </a:moveTo>
                  <a:cubicBezTo>
                    <a:pt x="1262" y="1"/>
                    <a:pt x="0" y="1263"/>
                    <a:pt x="0" y="2811"/>
                  </a:cubicBezTo>
                  <a:lnTo>
                    <a:pt x="0" y="18765"/>
                  </a:lnTo>
                  <a:cubicBezTo>
                    <a:pt x="0" y="20158"/>
                    <a:pt x="536" y="21551"/>
                    <a:pt x="1596" y="22611"/>
                  </a:cubicBezTo>
                  <a:lnTo>
                    <a:pt x="7811" y="28814"/>
                  </a:lnTo>
                  <a:cubicBezTo>
                    <a:pt x="8835" y="29838"/>
                    <a:pt x="10204" y="30409"/>
                    <a:pt x="11657" y="30409"/>
                  </a:cubicBezTo>
                  <a:cubicBezTo>
                    <a:pt x="13109" y="30409"/>
                    <a:pt x="14478" y="29838"/>
                    <a:pt x="15502" y="28814"/>
                  </a:cubicBezTo>
                  <a:lnTo>
                    <a:pt x="21717" y="22611"/>
                  </a:lnTo>
                  <a:cubicBezTo>
                    <a:pt x="22777" y="21551"/>
                    <a:pt x="23301" y="20158"/>
                    <a:pt x="23301" y="18765"/>
                  </a:cubicBezTo>
                  <a:lnTo>
                    <a:pt x="23301" y="2811"/>
                  </a:lnTo>
                  <a:cubicBezTo>
                    <a:pt x="23301" y="1263"/>
                    <a:pt x="22051" y="1"/>
                    <a:pt x="20491" y="1"/>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000"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25" name="Google Shape;1234;p34">
              <a:extLst>
                <a:ext uri="{FF2B5EF4-FFF2-40B4-BE49-F238E27FC236}">
                  <a16:creationId xmlns:a16="http://schemas.microsoft.com/office/drawing/2014/main" id="{F28FA048-A787-4883-B481-3980F79E84E7}"/>
                </a:ext>
              </a:extLst>
            </p:cNvPr>
            <p:cNvSpPr/>
            <p:nvPr/>
          </p:nvSpPr>
          <p:spPr>
            <a:xfrm>
              <a:off x="2180200" y="2932903"/>
              <a:ext cx="692075" cy="227759"/>
            </a:xfrm>
            <a:custGeom>
              <a:avLst/>
              <a:gdLst/>
              <a:ahLst/>
              <a:cxnLst/>
              <a:rect l="l" t="t" r="r" b="b"/>
              <a:pathLst>
                <a:path w="27683" h="7585" extrusionOk="0">
                  <a:moveTo>
                    <a:pt x="1334" y="0"/>
                  </a:moveTo>
                  <a:cubicBezTo>
                    <a:pt x="595" y="0"/>
                    <a:pt x="0" y="595"/>
                    <a:pt x="0" y="1334"/>
                  </a:cubicBezTo>
                  <a:lnTo>
                    <a:pt x="0" y="6251"/>
                  </a:lnTo>
                  <a:cubicBezTo>
                    <a:pt x="0" y="6989"/>
                    <a:pt x="595" y="7584"/>
                    <a:pt x="1334" y="7584"/>
                  </a:cubicBezTo>
                  <a:lnTo>
                    <a:pt x="26337" y="7584"/>
                  </a:lnTo>
                  <a:cubicBezTo>
                    <a:pt x="27075" y="7584"/>
                    <a:pt x="27682" y="6989"/>
                    <a:pt x="27682" y="6251"/>
                  </a:cubicBezTo>
                  <a:lnTo>
                    <a:pt x="27682" y="1334"/>
                  </a:lnTo>
                  <a:cubicBezTo>
                    <a:pt x="27682" y="595"/>
                    <a:pt x="27075" y="0"/>
                    <a:pt x="26337" y="0"/>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Tx/>
                <a:buNone/>
                <a:tabLst/>
                <a:defRPr/>
              </a:pPr>
              <a:r>
                <a:rPr kumimoji="0" lang="en" sz="2000" b="0" i="0" u="none" strike="noStrike" kern="1200" cap="none" spc="0" normalizeH="0" baseline="0" noProof="0">
                  <a:ln>
                    <a:noFill/>
                  </a:ln>
                  <a:solidFill>
                    <a:srgbClr val="FFFFFF"/>
                  </a:solidFill>
                  <a:effectLst/>
                  <a:uLnTx/>
                  <a:uFillTx/>
                  <a:latin typeface="Arial"/>
                  <a:ea typeface="+mn-ea"/>
                  <a:cs typeface="+mn-ea"/>
                  <a:sym typeface="+mn-lt"/>
                </a:rPr>
                <a:t>2023</a:t>
              </a:r>
              <a:endParaRPr kumimoji="0" sz="2000"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26" name="Google Shape;1235;p34">
              <a:extLst>
                <a:ext uri="{FF2B5EF4-FFF2-40B4-BE49-F238E27FC236}">
                  <a16:creationId xmlns:a16="http://schemas.microsoft.com/office/drawing/2014/main" id="{647B6E17-ECDF-4617-8590-DE0830A2E0AD}"/>
                </a:ext>
              </a:extLst>
            </p:cNvPr>
            <p:cNvSpPr txBox="1"/>
            <p:nvPr/>
          </p:nvSpPr>
          <p:spPr>
            <a:xfrm>
              <a:off x="2044138" y="3236850"/>
              <a:ext cx="964200" cy="597300"/>
            </a:xfrm>
            <a:prstGeom prst="rect">
              <a:avLst/>
            </a:prstGeom>
            <a:noFill/>
            <a:ln>
              <a:noFill/>
            </a:ln>
          </p:spPr>
          <p:txBody>
            <a:bodyPr spcFirstLastPara="1" wrap="square" lIns="121900" tIns="121900" rIns="121900" bIns="1219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1200" b="0" i="0" u="none" strike="noStrike" kern="1200" cap="none" spc="0" normalizeH="0" baseline="0" noProof="0">
                  <a:ln>
                    <a:noFill/>
                  </a:ln>
                  <a:solidFill>
                    <a:srgbClr val="434343"/>
                  </a:solidFill>
                  <a:effectLst/>
                  <a:uLnTx/>
                  <a:uFillTx/>
                  <a:latin typeface="Arial"/>
                  <a:ea typeface="+mn-ea"/>
                  <a:cs typeface="+mn-ea"/>
                  <a:sym typeface="+mn-lt"/>
                </a:rPr>
                <a:t>Venus is the second</a:t>
              </a:r>
              <a:endParaRPr kumimoji="0" sz="1200" b="0" i="0" u="none" strike="noStrike" kern="1200" cap="none" spc="0" normalizeH="0" baseline="0" noProof="0">
                <a:ln>
                  <a:noFill/>
                </a:ln>
                <a:solidFill>
                  <a:srgbClr val="434343"/>
                </a:solidFill>
                <a:effectLst/>
                <a:uLnTx/>
                <a:uFillTx/>
                <a:latin typeface="Arial"/>
                <a:ea typeface="+mn-ea"/>
                <a:cs typeface="+mn-ea"/>
                <a:sym typeface="+mn-lt"/>
              </a:endParaRPr>
            </a:p>
          </p:txBody>
        </p:sp>
        <p:grpSp>
          <p:nvGrpSpPr>
            <p:cNvPr id="27" name="Google Shape;1236;p34">
              <a:extLst>
                <a:ext uri="{FF2B5EF4-FFF2-40B4-BE49-F238E27FC236}">
                  <a16:creationId xmlns:a16="http://schemas.microsoft.com/office/drawing/2014/main" id="{6066666B-29DB-4918-9DB1-C214FEBA51AF}"/>
                </a:ext>
              </a:extLst>
            </p:cNvPr>
            <p:cNvGrpSpPr/>
            <p:nvPr/>
          </p:nvGrpSpPr>
          <p:grpSpPr>
            <a:xfrm>
              <a:off x="2388080" y="2029222"/>
              <a:ext cx="276321" cy="266091"/>
              <a:chOff x="2071000" y="1435025"/>
              <a:chExt cx="500400" cy="481875"/>
            </a:xfrm>
          </p:grpSpPr>
          <p:sp>
            <p:nvSpPr>
              <p:cNvPr id="28" name="Google Shape;1237;p34">
                <a:extLst>
                  <a:ext uri="{FF2B5EF4-FFF2-40B4-BE49-F238E27FC236}">
                    <a16:creationId xmlns:a16="http://schemas.microsoft.com/office/drawing/2014/main" id="{1C2EA8BA-E09C-448B-A26D-566FD180C7A4}"/>
                  </a:ext>
                </a:extLst>
              </p:cNvPr>
              <p:cNvSpPr/>
              <p:nvPr/>
            </p:nvSpPr>
            <p:spPr>
              <a:xfrm>
                <a:off x="2425125" y="1718700"/>
                <a:ext cx="146275" cy="141750"/>
              </a:xfrm>
              <a:custGeom>
                <a:avLst/>
                <a:gdLst/>
                <a:ahLst/>
                <a:cxnLst/>
                <a:rect l="l" t="t" r="r" b="b"/>
                <a:pathLst>
                  <a:path w="5851" h="5670" extrusionOk="0">
                    <a:moveTo>
                      <a:pt x="1598" y="0"/>
                    </a:moveTo>
                    <a:cubicBezTo>
                      <a:pt x="1159" y="0"/>
                      <a:pt x="720" y="160"/>
                      <a:pt x="401" y="481"/>
                    </a:cubicBezTo>
                    <a:lnTo>
                      <a:pt x="0" y="879"/>
                    </a:lnTo>
                    <a:lnTo>
                      <a:pt x="4791" y="5669"/>
                    </a:lnTo>
                    <a:lnTo>
                      <a:pt x="5191" y="5272"/>
                    </a:lnTo>
                    <a:cubicBezTo>
                      <a:pt x="5851" y="4610"/>
                      <a:pt x="5851" y="3538"/>
                      <a:pt x="5191" y="2875"/>
                    </a:cubicBezTo>
                    <a:lnTo>
                      <a:pt x="2795" y="481"/>
                    </a:lnTo>
                    <a:cubicBezTo>
                      <a:pt x="2475" y="160"/>
                      <a:pt x="2036" y="0"/>
                      <a:pt x="1598" y="0"/>
                    </a:cubicBezTo>
                    <a:close/>
                  </a:path>
                </a:pathLst>
              </a:custGeom>
              <a:solidFill>
                <a:schemeClr val="accent1">
                  <a:lumMod val="100000"/>
                </a:schemeClr>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000" b="0" i="0" u="none" strike="noStrike" kern="1200" cap="none" spc="0" normalizeH="0" baseline="0" noProof="0">
                  <a:ln>
                    <a:noFill/>
                  </a:ln>
                  <a:solidFill>
                    <a:srgbClr val="435D74"/>
                  </a:solidFill>
                  <a:effectLst/>
                  <a:uLnTx/>
                  <a:uFillTx/>
                  <a:latin typeface="Arial"/>
                  <a:ea typeface="+mn-ea"/>
                  <a:cs typeface="+mn-ea"/>
                  <a:sym typeface="+mn-lt"/>
                </a:endParaRPr>
              </a:p>
            </p:txBody>
          </p:sp>
          <p:sp>
            <p:nvSpPr>
              <p:cNvPr id="29" name="Google Shape;1238;p34">
                <a:extLst>
                  <a:ext uri="{FF2B5EF4-FFF2-40B4-BE49-F238E27FC236}">
                    <a16:creationId xmlns:a16="http://schemas.microsoft.com/office/drawing/2014/main" id="{113D3807-4FE7-444D-81D1-E4CE47CA502F}"/>
                  </a:ext>
                </a:extLst>
              </p:cNvPr>
              <p:cNvSpPr/>
              <p:nvPr/>
            </p:nvSpPr>
            <p:spPr>
              <a:xfrm>
                <a:off x="2071000" y="1477850"/>
                <a:ext cx="453125" cy="439050"/>
              </a:xfrm>
              <a:custGeom>
                <a:avLst/>
                <a:gdLst/>
                <a:ahLst/>
                <a:cxnLst/>
                <a:rect l="l" t="t" r="r" b="b"/>
                <a:pathLst>
                  <a:path w="18125" h="17562" extrusionOk="0">
                    <a:moveTo>
                      <a:pt x="2057" y="0"/>
                    </a:moveTo>
                    <a:cubicBezTo>
                      <a:pt x="0" y="2397"/>
                      <a:pt x="81" y="6008"/>
                      <a:pt x="2352" y="8278"/>
                    </a:cubicBezTo>
                    <a:lnTo>
                      <a:pt x="9847" y="15776"/>
                    </a:lnTo>
                    <a:cubicBezTo>
                      <a:pt x="11008" y="16937"/>
                      <a:pt x="12564" y="17561"/>
                      <a:pt x="14149" y="17561"/>
                    </a:cubicBezTo>
                    <a:cubicBezTo>
                      <a:pt x="15535" y="17561"/>
                      <a:pt x="16943" y="17083"/>
                      <a:pt x="18125" y="16068"/>
                    </a:cubicBezTo>
                    <a:lnTo>
                      <a:pt x="13346" y="11289"/>
                    </a:lnTo>
                    <a:cubicBezTo>
                      <a:pt x="13108" y="11473"/>
                      <a:pt x="12823" y="11568"/>
                      <a:pt x="12540" y="11568"/>
                    </a:cubicBezTo>
                    <a:cubicBezTo>
                      <a:pt x="12221" y="11568"/>
                      <a:pt x="11904" y="11448"/>
                      <a:pt x="11660" y="11202"/>
                    </a:cubicBezTo>
                    <a:lnTo>
                      <a:pt x="6926" y="6465"/>
                    </a:lnTo>
                    <a:cubicBezTo>
                      <a:pt x="6462" y="6002"/>
                      <a:pt x="6447" y="5282"/>
                      <a:pt x="6839" y="4779"/>
                    </a:cubicBezTo>
                    <a:lnTo>
                      <a:pt x="2057" y="0"/>
                    </a:lnTo>
                    <a:close/>
                  </a:path>
                </a:pathLst>
              </a:custGeom>
              <a:solidFill>
                <a:schemeClr val="accent1">
                  <a:lumMod val="100000"/>
                </a:schemeClr>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000" b="0" i="0" u="none" strike="noStrike" kern="1200" cap="none" spc="0" normalizeH="0" baseline="0" noProof="0">
                  <a:ln>
                    <a:noFill/>
                  </a:ln>
                  <a:solidFill>
                    <a:srgbClr val="435D74"/>
                  </a:solidFill>
                  <a:effectLst/>
                  <a:uLnTx/>
                  <a:uFillTx/>
                  <a:latin typeface="Arial"/>
                  <a:ea typeface="+mn-ea"/>
                  <a:cs typeface="+mn-ea"/>
                  <a:sym typeface="+mn-lt"/>
                </a:endParaRPr>
              </a:p>
            </p:txBody>
          </p:sp>
          <p:sp>
            <p:nvSpPr>
              <p:cNvPr id="30" name="Google Shape;1239;p34">
                <a:extLst>
                  <a:ext uri="{FF2B5EF4-FFF2-40B4-BE49-F238E27FC236}">
                    <a16:creationId xmlns:a16="http://schemas.microsoft.com/office/drawing/2014/main" id="{568B6582-A98E-4042-ACEC-C5336A2B7C60}"/>
                  </a:ext>
                </a:extLst>
              </p:cNvPr>
              <p:cNvSpPr/>
              <p:nvPr/>
            </p:nvSpPr>
            <p:spPr>
              <a:xfrm>
                <a:off x="2141600" y="1435025"/>
                <a:ext cx="146300" cy="141850"/>
              </a:xfrm>
              <a:custGeom>
                <a:avLst/>
                <a:gdLst/>
                <a:ahLst/>
                <a:cxnLst/>
                <a:rect l="l" t="t" r="r" b="b"/>
                <a:pathLst>
                  <a:path w="5852" h="5674" extrusionOk="0">
                    <a:moveTo>
                      <a:pt x="1597" y="1"/>
                    </a:moveTo>
                    <a:cubicBezTo>
                      <a:pt x="1158" y="1"/>
                      <a:pt x="719" y="161"/>
                      <a:pt x="398" y="482"/>
                    </a:cubicBezTo>
                    <a:lnTo>
                      <a:pt x="1" y="882"/>
                    </a:lnTo>
                    <a:lnTo>
                      <a:pt x="4792" y="5673"/>
                    </a:lnTo>
                    <a:lnTo>
                      <a:pt x="5189" y="5273"/>
                    </a:lnTo>
                    <a:cubicBezTo>
                      <a:pt x="5852" y="4610"/>
                      <a:pt x="5852" y="3538"/>
                      <a:pt x="5189" y="2879"/>
                    </a:cubicBezTo>
                    <a:lnTo>
                      <a:pt x="2795" y="482"/>
                    </a:lnTo>
                    <a:cubicBezTo>
                      <a:pt x="2474" y="161"/>
                      <a:pt x="2036" y="1"/>
                      <a:pt x="1597" y="1"/>
                    </a:cubicBezTo>
                    <a:close/>
                  </a:path>
                </a:pathLst>
              </a:custGeom>
              <a:solidFill>
                <a:schemeClr val="accent1">
                  <a:lumMod val="100000"/>
                </a:schemeClr>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000" b="0" i="0" u="none" strike="noStrike" kern="1200" cap="none" spc="0" normalizeH="0" baseline="0" noProof="0">
                  <a:ln>
                    <a:noFill/>
                  </a:ln>
                  <a:solidFill>
                    <a:srgbClr val="435D74"/>
                  </a:solidFill>
                  <a:effectLst/>
                  <a:uLnTx/>
                  <a:uFillTx/>
                  <a:latin typeface="Arial"/>
                  <a:ea typeface="+mn-ea"/>
                  <a:cs typeface="+mn-ea"/>
                  <a:sym typeface="+mn-lt"/>
                </a:endParaRPr>
              </a:p>
            </p:txBody>
          </p:sp>
        </p:grpSp>
      </p:grpSp>
      <p:grpSp>
        <p:nvGrpSpPr>
          <p:cNvPr id="31" name="Google Shape;1240;p34">
            <a:extLst>
              <a:ext uri="{FF2B5EF4-FFF2-40B4-BE49-F238E27FC236}">
                <a16:creationId xmlns:a16="http://schemas.microsoft.com/office/drawing/2014/main" id="{A14F7C6E-7F7A-4643-B906-B6C072E16778}"/>
              </a:ext>
            </a:extLst>
          </p:cNvPr>
          <p:cNvGrpSpPr/>
          <p:nvPr/>
        </p:nvGrpSpPr>
        <p:grpSpPr>
          <a:xfrm>
            <a:off x="5538042" y="1805546"/>
            <a:ext cx="1285600" cy="3019784"/>
            <a:chOff x="4655775" y="1569313"/>
            <a:chExt cx="964200" cy="2264838"/>
          </a:xfrm>
        </p:grpSpPr>
        <p:sp>
          <p:nvSpPr>
            <p:cNvPr id="32" name="Google Shape;1241;p34">
              <a:extLst>
                <a:ext uri="{FF2B5EF4-FFF2-40B4-BE49-F238E27FC236}">
                  <a16:creationId xmlns:a16="http://schemas.microsoft.com/office/drawing/2014/main" id="{7DAE22FF-92C3-4294-B0D1-5AFCF2D3D7CD}"/>
                </a:ext>
              </a:extLst>
            </p:cNvPr>
            <p:cNvSpPr/>
            <p:nvPr/>
          </p:nvSpPr>
          <p:spPr>
            <a:xfrm>
              <a:off x="5094250" y="2660213"/>
              <a:ext cx="87250" cy="83075"/>
            </a:xfrm>
            <a:custGeom>
              <a:avLst/>
              <a:gdLst/>
              <a:ahLst/>
              <a:cxnLst/>
              <a:rect l="l" t="t" r="r" b="b"/>
              <a:pathLst>
                <a:path w="3490" h="3323" extrusionOk="0">
                  <a:moveTo>
                    <a:pt x="1751" y="1"/>
                  </a:moveTo>
                  <a:cubicBezTo>
                    <a:pt x="1501" y="1"/>
                    <a:pt x="1263" y="96"/>
                    <a:pt x="1084" y="275"/>
                  </a:cubicBezTo>
                  <a:lnTo>
                    <a:pt x="358" y="1001"/>
                  </a:lnTo>
                  <a:cubicBezTo>
                    <a:pt x="1" y="1370"/>
                    <a:pt x="1" y="1966"/>
                    <a:pt x="358" y="2323"/>
                  </a:cubicBezTo>
                  <a:lnTo>
                    <a:pt x="1084" y="3049"/>
                  </a:lnTo>
                  <a:cubicBezTo>
                    <a:pt x="1263" y="3228"/>
                    <a:pt x="1501" y="3323"/>
                    <a:pt x="1751" y="3323"/>
                  </a:cubicBezTo>
                  <a:cubicBezTo>
                    <a:pt x="2001" y="3323"/>
                    <a:pt x="2227" y="3228"/>
                    <a:pt x="2406" y="3049"/>
                  </a:cubicBezTo>
                  <a:lnTo>
                    <a:pt x="3132" y="2323"/>
                  </a:lnTo>
                  <a:cubicBezTo>
                    <a:pt x="3489" y="1966"/>
                    <a:pt x="3489" y="1370"/>
                    <a:pt x="3132" y="1001"/>
                  </a:cubicBezTo>
                  <a:lnTo>
                    <a:pt x="2406" y="275"/>
                  </a:lnTo>
                  <a:cubicBezTo>
                    <a:pt x="2227" y="96"/>
                    <a:pt x="2001" y="1"/>
                    <a:pt x="1751" y="1"/>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000"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33" name="Google Shape;1242;p34">
              <a:extLst>
                <a:ext uri="{FF2B5EF4-FFF2-40B4-BE49-F238E27FC236}">
                  <a16:creationId xmlns:a16="http://schemas.microsoft.com/office/drawing/2014/main" id="{D12AD325-CCFE-4CD5-8504-A4E35BBC8766}"/>
                </a:ext>
              </a:extLst>
            </p:cNvPr>
            <p:cNvSpPr/>
            <p:nvPr/>
          </p:nvSpPr>
          <p:spPr>
            <a:xfrm>
              <a:off x="4802850" y="1569313"/>
              <a:ext cx="670050" cy="874850"/>
            </a:xfrm>
            <a:custGeom>
              <a:avLst/>
              <a:gdLst/>
              <a:ahLst/>
              <a:cxnLst/>
              <a:rect l="l" t="t" r="r" b="b"/>
              <a:pathLst>
                <a:path w="26802" h="34994" extrusionOk="0">
                  <a:moveTo>
                    <a:pt x="13407" y="9776"/>
                  </a:moveTo>
                  <a:cubicBezTo>
                    <a:pt x="14645" y="9776"/>
                    <a:pt x="15824" y="10264"/>
                    <a:pt x="16705" y="11145"/>
                  </a:cubicBezTo>
                  <a:lnTo>
                    <a:pt x="23849" y="18289"/>
                  </a:lnTo>
                  <a:cubicBezTo>
                    <a:pt x="25670" y="20110"/>
                    <a:pt x="25670" y="23075"/>
                    <a:pt x="23849" y="24897"/>
                  </a:cubicBezTo>
                  <a:lnTo>
                    <a:pt x="16705" y="32040"/>
                  </a:lnTo>
                  <a:cubicBezTo>
                    <a:pt x="15824" y="32921"/>
                    <a:pt x="14645" y="33410"/>
                    <a:pt x="13407" y="33410"/>
                  </a:cubicBezTo>
                  <a:cubicBezTo>
                    <a:pt x="12157" y="33410"/>
                    <a:pt x="10978" y="32921"/>
                    <a:pt x="10097" y="32040"/>
                  </a:cubicBezTo>
                  <a:lnTo>
                    <a:pt x="2953" y="24897"/>
                  </a:lnTo>
                  <a:cubicBezTo>
                    <a:pt x="1132" y="23075"/>
                    <a:pt x="1132" y="20110"/>
                    <a:pt x="2953" y="18289"/>
                  </a:cubicBezTo>
                  <a:lnTo>
                    <a:pt x="10097" y="11145"/>
                  </a:lnTo>
                  <a:cubicBezTo>
                    <a:pt x="10978" y="10264"/>
                    <a:pt x="12157" y="9776"/>
                    <a:pt x="13407" y="9776"/>
                  </a:cubicBezTo>
                  <a:close/>
                  <a:moveTo>
                    <a:pt x="3370" y="1"/>
                  </a:moveTo>
                  <a:cubicBezTo>
                    <a:pt x="1501" y="1"/>
                    <a:pt x="1" y="1513"/>
                    <a:pt x="1" y="3370"/>
                  </a:cubicBezTo>
                  <a:lnTo>
                    <a:pt x="1" y="21599"/>
                  </a:lnTo>
                  <a:cubicBezTo>
                    <a:pt x="1" y="23194"/>
                    <a:pt x="608" y="24801"/>
                    <a:pt x="1822" y="26016"/>
                  </a:cubicBezTo>
                  <a:lnTo>
                    <a:pt x="8978" y="33159"/>
                  </a:lnTo>
                  <a:cubicBezTo>
                    <a:pt x="10157" y="34350"/>
                    <a:pt x="11728" y="34993"/>
                    <a:pt x="13407" y="34993"/>
                  </a:cubicBezTo>
                  <a:cubicBezTo>
                    <a:pt x="15074" y="34993"/>
                    <a:pt x="16645" y="34350"/>
                    <a:pt x="17824" y="33159"/>
                  </a:cubicBezTo>
                  <a:lnTo>
                    <a:pt x="24980" y="26016"/>
                  </a:lnTo>
                  <a:cubicBezTo>
                    <a:pt x="26194" y="24801"/>
                    <a:pt x="26802" y="23194"/>
                    <a:pt x="26802" y="21599"/>
                  </a:cubicBezTo>
                  <a:lnTo>
                    <a:pt x="26802" y="3370"/>
                  </a:lnTo>
                  <a:cubicBezTo>
                    <a:pt x="26802" y="1513"/>
                    <a:pt x="25301" y="1"/>
                    <a:pt x="23444" y="1"/>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000"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34" name="Google Shape;1243;p34">
              <a:extLst>
                <a:ext uri="{FF2B5EF4-FFF2-40B4-BE49-F238E27FC236}">
                  <a16:creationId xmlns:a16="http://schemas.microsoft.com/office/drawing/2014/main" id="{89E00E6B-C828-47C0-9CF6-81C8D2D41F26}"/>
                </a:ext>
              </a:extLst>
            </p:cNvPr>
            <p:cNvSpPr/>
            <p:nvPr/>
          </p:nvSpPr>
          <p:spPr>
            <a:xfrm>
              <a:off x="4790650" y="2932903"/>
              <a:ext cx="692075" cy="227759"/>
            </a:xfrm>
            <a:custGeom>
              <a:avLst/>
              <a:gdLst/>
              <a:ahLst/>
              <a:cxnLst/>
              <a:rect l="l" t="t" r="r" b="b"/>
              <a:pathLst>
                <a:path w="27683" h="7585" extrusionOk="0">
                  <a:moveTo>
                    <a:pt x="1334" y="0"/>
                  </a:moveTo>
                  <a:cubicBezTo>
                    <a:pt x="596" y="0"/>
                    <a:pt x="0" y="595"/>
                    <a:pt x="0" y="1334"/>
                  </a:cubicBezTo>
                  <a:lnTo>
                    <a:pt x="0" y="6251"/>
                  </a:lnTo>
                  <a:cubicBezTo>
                    <a:pt x="0" y="6989"/>
                    <a:pt x="596" y="7584"/>
                    <a:pt x="1334" y="7584"/>
                  </a:cubicBezTo>
                  <a:lnTo>
                    <a:pt x="26337" y="7584"/>
                  </a:lnTo>
                  <a:cubicBezTo>
                    <a:pt x="27075" y="7584"/>
                    <a:pt x="27682" y="6989"/>
                    <a:pt x="27682" y="6251"/>
                  </a:cubicBezTo>
                  <a:lnTo>
                    <a:pt x="27682" y="1334"/>
                  </a:lnTo>
                  <a:cubicBezTo>
                    <a:pt x="27682" y="595"/>
                    <a:pt x="27075" y="0"/>
                    <a:pt x="26337" y="0"/>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Tx/>
                <a:buNone/>
                <a:tabLst/>
                <a:defRPr/>
              </a:pPr>
              <a:r>
                <a:rPr kumimoji="0" lang="en" sz="2000" b="0" i="0" u="none" strike="noStrike" kern="1200" cap="none" spc="0" normalizeH="0" baseline="0" noProof="0">
                  <a:ln>
                    <a:noFill/>
                  </a:ln>
                  <a:solidFill>
                    <a:srgbClr val="FFFFFF"/>
                  </a:solidFill>
                  <a:effectLst/>
                  <a:uLnTx/>
                  <a:uFillTx/>
                  <a:latin typeface="Arial"/>
                  <a:ea typeface="+mn-ea"/>
                  <a:cs typeface="+mn-ea"/>
                  <a:sym typeface="+mn-lt"/>
                </a:rPr>
                <a:t>2021</a:t>
              </a:r>
              <a:endParaRPr kumimoji="0" sz="2000"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35" name="Google Shape;1244;p34">
              <a:extLst>
                <a:ext uri="{FF2B5EF4-FFF2-40B4-BE49-F238E27FC236}">
                  <a16:creationId xmlns:a16="http://schemas.microsoft.com/office/drawing/2014/main" id="{AF1CEC41-4D18-45FA-B8B1-0B41C642D8BF}"/>
                </a:ext>
              </a:extLst>
            </p:cNvPr>
            <p:cNvSpPr txBox="1"/>
            <p:nvPr/>
          </p:nvSpPr>
          <p:spPr>
            <a:xfrm>
              <a:off x="4655775" y="3236850"/>
              <a:ext cx="964200" cy="597300"/>
            </a:xfrm>
            <a:prstGeom prst="rect">
              <a:avLst/>
            </a:prstGeom>
            <a:noFill/>
            <a:ln>
              <a:noFill/>
            </a:ln>
          </p:spPr>
          <p:txBody>
            <a:bodyPr spcFirstLastPara="1" wrap="square" lIns="121900" tIns="121900" rIns="121900" bIns="1219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1200" b="0" i="0" u="none" strike="noStrike" kern="1200" cap="none" spc="0" normalizeH="0" baseline="0" noProof="0">
                  <a:ln>
                    <a:noFill/>
                  </a:ln>
                  <a:solidFill>
                    <a:srgbClr val="434343"/>
                  </a:solidFill>
                  <a:effectLst/>
                  <a:uLnTx/>
                  <a:uFillTx/>
                  <a:latin typeface="Arial"/>
                  <a:ea typeface="+mn-ea"/>
                  <a:cs typeface="+mn-ea"/>
                  <a:sym typeface="+mn-lt"/>
                </a:rPr>
                <a:t>Mars is a cold place</a:t>
              </a:r>
              <a:endParaRPr kumimoji="0" sz="1200" b="0" i="0" u="none" strike="noStrike" kern="1200" cap="none" spc="0" normalizeH="0" baseline="0" noProof="0">
                <a:ln>
                  <a:noFill/>
                </a:ln>
                <a:solidFill>
                  <a:srgbClr val="434343"/>
                </a:solidFill>
                <a:effectLst/>
                <a:uLnTx/>
                <a:uFillTx/>
                <a:latin typeface="Arial"/>
                <a:ea typeface="+mn-ea"/>
                <a:cs typeface="+mn-ea"/>
                <a:sym typeface="+mn-lt"/>
              </a:endParaRPr>
            </a:p>
          </p:txBody>
        </p:sp>
        <p:grpSp>
          <p:nvGrpSpPr>
            <p:cNvPr id="36" name="Google Shape;1245;p34">
              <a:extLst>
                <a:ext uri="{FF2B5EF4-FFF2-40B4-BE49-F238E27FC236}">
                  <a16:creationId xmlns:a16="http://schemas.microsoft.com/office/drawing/2014/main" id="{20A4304C-E557-461B-8570-407F564F4E70}"/>
                </a:ext>
              </a:extLst>
            </p:cNvPr>
            <p:cNvGrpSpPr/>
            <p:nvPr/>
          </p:nvGrpSpPr>
          <p:grpSpPr>
            <a:xfrm>
              <a:off x="5036222" y="1949362"/>
              <a:ext cx="203307" cy="313522"/>
              <a:chOff x="5726350" y="2028150"/>
              <a:chExt cx="312300" cy="481600"/>
            </a:xfrm>
          </p:grpSpPr>
          <p:sp>
            <p:nvSpPr>
              <p:cNvPr id="37" name="Google Shape;1246;p34">
                <a:extLst>
                  <a:ext uri="{FF2B5EF4-FFF2-40B4-BE49-F238E27FC236}">
                    <a16:creationId xmlns:a16="http://schemas.microsoft.com/office/drawing/2014/main" id="{BA0D7AB8-D8AD-4F28-B9BF-1E3CBEAF4477}"/>
                  </a:ext>
                </a:extLst>
              </p:cNvPr>
              <p:cNvSpPr/>
              <p:nvPr/>
            </p:nvSpPr>
            <p:spPr>
              <a:xfrm>
                <a:off x="5756075" y="2028150"/>
                <a:ext cx="252825" cy="83275"/>
              </a:xfrm>
              <a:custGeom>
                <a:avLst/>
                <a:gdLst/>
                <a:ahLst/>
                <a:cxnLst/>
                <a:rect l="l" t="t" r="r" b="b"/>
                <a:pathLst>
                  <a:path w="10113" h="3331" extrusionOk="0">
                    <a:moveTo>
                      <a:pt x="1639" y="1"/>
                    </a:moveTo>
                    <a:cubicBezTo>
                      <a:pt x="730" y="13"/>
                      <a:pt x="1" y="753"/>
                      <a:pt x="1" y="1666"/>
                    </a:cubicBezTo>
                    <a:cubicBezTo>
                      <a:pt x="1" y="2575"/>
                      <a:pt x="730" y="3316"/>
                      <a:pt x="1639" y="3331"/>
                    </a:cubicBezTo>
                    <a:lnTo>
                      <a:pt x="8474" y="3331"/>
                    </a:lnTo>
                    <a:cubicBezTo>
                      <a:pt x="9384" y="3316"/>
                      <a:pt x="10113" y="2575"/>
                      <a:pt x="10113" y="1666"/>
                    </a:cubicBezTo>
                    <a:cubicBezTo>
                      <a:pt x="10113" y="753"/>
                      <a:pt x="9384" y="13"/>
                      <a:pt x="8474" y="1"/>
                    </a:cubicBezTo>
                    <a:close/>
                  </a:path>
                </a:pathLst>
              </a:custGeom>
              <a:solidFill>
                <a:schemeClr val="accent1">
                  <a:lumMod val="100000"/>
                </a:schemeClr>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000" b="0" i="0" u="none" strike="noStrike" kern="1200" cap="none" spc="0" normalizeH="0" baseline="0" noProof="0">
                  <a:ln>
                    <a:noFill/>
                  </a:ln>
                  <a:solidFill>
                    <a:srgbClr val="435D74"/>
                  </a:solidFill>
                  <a:effectLst/>
                  <a:uLnTx/>
                  <a:uFillTx/>
                  <a:latin typeface="Arial"/>
                  <a:ea typeface="+mn-ea"/>
                  <a:cs typeface="+mn-ea"/>
                  <a:sym typeface="+mn-lt"/>
                </a:endParaRPr>
              </a:p>
            </p:txBody>
          </p:sp>
          <p:sp>
            <p:nvSpPr>
              <p:cNvPr id="38" name="Google Shape;1247;p34">
                <a:extLst>
                  <a:ext uri="{FF2B5EF4-FFF2-40B4-BE49-F238E27FC236}">
                    <a16:creationId xmlns:a16="http://schemas.microsoft.com/office/drawing/2014/main" id="{50502BC9-404A-49D2-8B03-B31323C650EC}"/>
                  </a:ext>
                </a:extLst>
              </p:cNvPr>
              <p:cNvSpPr/>
              <p:nvPr/>
            </p:nvSpPr>
            <p:spPr>
              <a:xfrm>
                <a:off x="5726350" y="2139650"/>
                <a:ext cx="312300" cy="224425"/>
              </a:xfrm>
              <a:custGeom>
                <a:avLst/>
                <a:gdLst/>
                <a:ahLst/>
                <a:cxnLst/>
                <a:rect l="l" t="t" r="r" b="b"/>
                <a:pathLst>
                  <a:path w="12492" h="8977" extrusionOk="0">
                    <a:moveTo>
                      <a:pt x="2822" y="0"/>
                    </a:moveTo>
                    <a:lnTo>
                      <a:pt x="2822" y="4800"/>
                    </a:lnTo>
                    <a:cubicBezTo>
                      <a:pt x="1527" y="5589"/>
                      <a:pt x="542" y="6797"/>
                      <a:pt x="36" y="8224"/>
                    </a:cubicBezTo>
                    <a:lnTo>
                      <a:pt x="30" y="8233"/>
                    </a:lnTo>
                    <a:cubicBezTo>
                      <a:pt x="27" y="8242"/>
                      <a:pt x="24" y="8254"/>
                      <a:pt x="21" y="8266"/>
                    </a:cubicBezTo>
                    <a:cubicBezTo>
                      <a:pt x="18" y="8278"/>
                      <a:pt x="15" y="8281"/>
                      <a:pt x="15" y="8287"/>
                    </a:cubicBezTo>
                    <a:cubicBezTo>
                      <a:pt x="12" y="8296"/>
                      <a:pt x="9" y="8308"/>
                      <a:pt x="9" y="8317"/>
                    </a:cubicBezTo>
                    <a:cubicBezTo>
                      <a:pt x="6" y="8326"/>
                      <a:pt x="6" y="8335"/>
                      <a:pt x="3" y="8347"/>
                    </a:cubicBezTo>
                    <a:cubicBezTo>
                      <a:pt x="3" y="8356"/>
                      <a:pt x="3" y="8362"/>
                      <a:pt x="3" y="8368"/>
                    </a:cubicBezTo>
                    <a:cubicBezTo>
                      <a:pt x="0" y="8378"/>
                      <a:pt x="3" y="8393"/>
                      <a:pt x="3" y="8405"/>
                    </a:cubicBezTo>
                    <a:cubicBezTo>
                      <a:pt x="3" y="8408"/>
                      <a:pt x="3" y="8411"/>
                      <a:pt x="3" y="8414"/>
                    </a:cubicBezTo>
                    <a:lnTo>
                      <a:pt x="3" y="8426"/>
                    </a:lnTo>
                    <a:cubicBezTo>
                      <a:pt x="3" y="8438"/>
                      <a:pt x="3" y="8450"/>
                      <a:pt x="3" y="8462"/>
                    </a:cubicBezTo>
                    <a:lnTo>
                      <a:pt x="6" y="8483"/>
                    </a:lnTo>
                    <a:cubicBezTo>
                      <a:pt x="6" y="8495"/>
                      <a:pt x="9" y="8504"/>
                      <a:pt x="12" y="8513"/>
                    </a:cubicBezTo>
                    <a:cubicBezTo>
                      <a:pt x="12" y="8525"/>
                      <a:pt x="15" y="8531"/>
                      <a:pt x="15" y="8540"/>
                    </a:cubicBezTo>
                    <a:cubicBezTo>
                      <a:pt x="18" y="8549"/>
                      <a:pt x="21" y="8558"/>
                      <a:pt x="21" y="8564"/>
                    </a:cubicBezTo>
                    <a:cubicBezTo>
                      <a:pt x="24" y="8573"/>
                      <a:pt x="27" y="8585"/>
                      <a:pt x="33" y="8594"/>
                    </a:cubicBezTo>
                    <a:cubicBezTo>
                      <a:pt x="36" y="8606"/>
                      <a:pt x="36" y="8609"/>
                      <a:pt x="40" y="8615"/>
                    </a:cubicBezTo>
                    <a:cubicBezTo>
                      <a:pt x="43" y="8624"/>
                      <a:pt x="49" y="8636"/>
                      <a:pt x="52" y="8646"/>
                    </a:cubicBezTo>
                    <a:cubicBezTo>
                      <a:pt x="58" y="8658"/>
                      <a:pt x="58" y="8661"/>
                      <a:pt x="61" y="8667"/>
                    </a:cubicBezTo>
                    <a:cubicBezTo>
                      <a:pt x="67" y="8673"/>
                      <a:pt x="73" y="8685"/>
                      <a:pt x="76" y="8694"/>
                    </a:cubicBezTo>
                    <a:cubicBezTo>
                      <a:pt x="82" y="8703"/>
                      <a:pt x="85" y="8709"/>
                      <a:pt x="88" y="8715"/>
                    </a:cubicBezTo>
                    <a:cubicBezTo>
                      <a:pt x="94" y="8721"/>
                      <a:pt x="100" y="8730"/>
                      <a:pt x="106" y="8739"/>
                    </a:cubicBezTo>
                    <a:cubicBezTo>
                      <a:pt x="112" y="8748"/>
                      <a:pt x="115" y="8754"/>
                      <a:pt x="121" y="8760"/>
                    </a:cubicBezTo>
                    <a:cubicBezTo>
                      <a:pt x="127" y="8769"/>
                      <a:pt x="133" y="8775"/>
                      <a:pt x="139" y="8781"/>
                    </a:cubicBezTo>
                    <a:cubicBezTo>
                      <a:pt x="145" y="8787"/>
                      <a:pt x="151" y="8796"/>
                      <a:pt x="157" y="8802"/>
                    </a:cubicBezTo>
                    <a:lnTo>
                      <a:pt x="175" y="8820"/>
                    </a:lnTo>
                    <a:cubicBezTo>
                      <a:pt x="181" y="8826"/>
                      <a:pt x="190" y="8832"/>
                      <a:pt x="196" y="8841"/>
                    </a:cubicBezTo>
                    <a:lnTo>
                      <a:pt x="217" y="8856"/>
                    </a:lnTo>
                    <a:lnTo>
                      <a:pt x="238" y="8874"/>
                    </a:lnTo>
                    <a:lnTo>
                      <a:pt x="262" y="8889"/>
                    </a:lnTo>
                    <a:lnTo>
                      <a:pt x="283" y="8901"/>
                    </a:lnTo>
                    <a:lnTo>
                      <a:pt x="314" y="8917"/>
                    </a:lnTo>
                    <a:cubicBezTo>
                      <a:pt x="320" y="8920"/>
                      <a:pt x="326" y="8923"/>
                      <a:pt x="332" y="8926"/>
                    </a:cubicBezTo>
                    <a:cubicBezTo>
                      <a:pt x="341" y="8929"/>
                      <a:pt x="356" y="8938"/>
                      <a:pt x="368" y="8941"/>
                    </a:cubicBezTo>
                    <a:lnTo>
                      <a:pt x="377" y="8947"/>
                    </a:lnTo>
                    <a:lnTo>
                      <a:pt x="386" y="8947"/>
                    </a:lnTo>
                    <a:lnTo>
                      <a:pt x="413" y="8956"/>
                    </a:lnTo>
                    <a:lnTo>
                      <a:pt x="437" y="8962"/>
                    </a:lnTo>
                    <a:lnTo>
                      <a:pt x="461" y="8968"/>
                    </a:lnTo>
                    <a:cubicBezTo>
                      <a:pt x="473" y="8971"/>
                      <a:pt x="485" y="8971"/>
                      <a:pt x="497" y="8974"/>
                    </a:cubicBezTo>
                    <a:lnTo>
                      <a:pt x="512" y="8977"/>
                    </a:lnTo>
                    <a:lnTo>
                      <a:pt x="11928" y="8977"/>
                    </a:lnTo>
                    <a:cubicBezTo>
                      <a:pt x="11946" y="8977"/>
                      <a:pt x="11967" y="8977"/>
                      <a:pt x="11985" y="8974"/>
                    </a:cubicBezTo>
                    <a:lnTo>
                      <a:pt x="11991" y="8974"/>
                    </a:lnTo>
                    <a:cubicBezTo>
                      <a:pt x="12006" y="8974"/>
                      <a:pt x="12021" y="8971"/>
                      <a:pt x="12033" y="8968"/>
                    </a:cubicBezTo>
                    <a:lnTo>
                      <a:pt x="12051" y="8965"/>
                    </a:lnTo>
                    <a:cubicBezTo>
                      <a:pt x="12063" y="8962"/>
                      <a:pt x="12072" y="8959"/>
                      <a:pt x="12085" y="8956"/>
                    </a:cubicBezTo>
                    <a:lnTo>
                      <a:pt x="12106" y="8950"/>
                    </a:lnTo>
                    <a:lnTo>
                      <a:pt x="12118" y="8947"/>
                    </a:lnTo>
                    <a:lnTo>
                      <a:pt x="12130" y="8941"/>
                    </a:lnTo>
                    <a:lnTo>
                      <a:pt x="12160" y="8929"/>
                    </a:lnTo>
                    <a:lnTo>
                      <a:pt x="12184" y="8917"/>
                    </a:lnTo>
                    <a:cubicBezTo>
                      <a:pt x="12193" y="8914"/>
                      <a:pt x="12199" y="8907"/>
                      <a:pt x="12208" y="8904"/>
                    </a:cubicBezTo>
                    <a:cubicBezTo>
                      <a:pt x="12214" y="8898"/>
                      <a:pt x="12226" y="8892"/>
                      <a:pt x="12235" y="8889"/>
                    </a:cubicBezTo>
                    <a:lnTo>
                      <a:pt x="12253" y="8877"/>
                    </a:lnTo>
                    <a:cubicBezTo>
                      <a:pt x="12262" y="8868"/>
                      <a:pt x="12271" y="8862"/>
                      <a:pt x="12280" y="8856"/>
                    </a:cubicBezTo>
                    <a:lnTo>
                      <a:pt x="12295" y="8844"/>
                    </a:lnTo>
                    <a:cubicBezTo>
                      <a:pt x="12304" y="8835"/>
                      <a:pt x="12313" y="8826"/>
                      <a:pt x="12319" y="8820"/>
                    </a:cubicBezTo>
                    <a:lnTo>
                      <a:pt x="12334" y="8805"/>
                    </a:lnTo>
                    <a:cubicBezTo>
                      <a:pt x="12343" y="8796"/>
                      <a:pt x="12349" y="8790"/>
                      <a:pt x="12359" y="8781"/>
                    </a:cubicBezTo>
                    <a:lnTo>
                      <a:pt x="12371" y="8763"/>
                    </a:lnTo>
                    <a:lnTo>
                      <a:pt x="12389" y="8739"/>
                    </a:lnTo>
                    <a:lnTo>
                      <a:pt x="12404" y="8718"/>
                    </a:lnTo>
                    <a:cubicBezTo>
                      <a:pt x="12410" y="8709"/>
                      <a:pt x="12413" y="8703"/>
                      <a:pt x="12419" y="8694"/>
                    </a:cubicBezTo>
                    <a:cubicBezTo>
                      <a:pt x="12422" y="8688"/>
                      <a:pt x="12428" y="8679"/>
                      <a:pt x="12431" y="8670"/>
                    </a:cubicBezTo>
                    <a:cubicBezTo>
                      <a:pt x="12437" y="8661"/>
                      <a:pt x="12440" y="8655"/>
                      <a:pt x="12443" y="8646"/>
                    </a:cubicBezTo>
                    <a:cubicBezTo>
                      <a:pt x="12446" y="8639"/>
                      <a:pt x="12449" y="8627"/>
                      <a:pt x="12455" y="8618"/>
                    </a:cubicBezTo>
                    <a:cubicBezTo>
                      <a:pt x="12458" y="8609"/>
                      <a:pt x="12461" y="8603"/>
                      <a:pt x="12461" y="8594"/>
                    </a:cubicBezTo>
                    <a:cubicBezTo>
                      <a:pt x="12464" y="8588"/>
                      <a:pt x="12467" y="8576"/>
                      <a:pt x="12470" y="8567"/>
                    </a:cubicBezTo>
                    <a:cubicBezTo>
                      <a:pt x="12473" y="8558"/>
                      <a:pt x="12476" y="8549"/>
                      <a:pt x="12479" y="8540"/>
                    </a:cubicBezTo>
                    <a:cubicBezTo>
                      <a:pt x="12479" y="8534"/>
                      <a:pt x="12482" y="8525"/>
                      <a:pt x="12482" y="8516"/>
                    </a:cubicBezTo>
                    <a:cubicBezTo>
                      <a:pt x="12485" y="8507"/>
                      <a:pt x="12485" y="8495"/>
                      <a:pt x="12488" y="8486"/>
                    </a:cubicBezTo>
                    <a:lnTo>
                      <a:pt x="12491" y="8462"/>
                    </a:lnTo>
                    <a:cubicBezTo>
                      <a:pt x="12491" y="8450"/>
                      <a:pt x="12491" y="8438"/>
                      <a:pt x="12491" y="8426"/>
                    </a:cubicBezTo>
                    <a:lnTo>
                      <a:pt x="12491" y="8414"/>
                    </a:lnTo>
                    <a:cubicBezTo>
                      <a:pt x="12491" y="8411"/>
                      <a:pt x="12491" y="8408"/>
                      <a:pt x="12491" y="8405"/>
                    </a:cubicBezTo>
                    <a:lnTo>
                      <a:pt x="12491" y="8371"/>
                    </a:lnTo>
                    <a:cubicBezTo>
                      <a:pt x="12491" y="8359"/>
                      <a:pt x="12491" y="8356"/>
                      <a:pt x="12491" y="8347"/>
                    </a:cubicBezTo>
                    <a:cubicBezTo>
                      <a:pt x="12488" y="8338"/>
                      <a:pt x="12488" y="8329"/>
                      <a:pt x="12485" y="8317"/>
                    </a:cubicBezTo>
                    <a:cubicBezTo>
                      <a:pt x="12482" y="8308"/>
                      <a:pt x="12482" y="8299"/>
                      <a:pt x="12479" y="8290"/>
                    </a:cubicBezTo>
                    <a:cubicBezTo>
                      <a:pt x="12476" y="8278"/>
                      <a:pt x="12476" y="8275"/>
                      <a:pt x="12473" y="8266"/>
                    </a:cubicBezTo>
                    <a:cubicBezTo>
                      <a:pt x="12473" y="8260"/>
                      <a:pt x="12467" y="8245"/>
                      <a:pt x="12464" y="8233"/>
                    </a:cubicBezTo>
                    <a:lnTo>
                      <a:pt x="12461" y="8224"/>
                    </a:lnTo>
                    <a:cubicBezTo>
                      <a:pt x="11955" y="6797"/>
                      <a:pt x="10970" y="5589"/>
                      <a:pt x="9676" y="4803"/>
                    </a:cubicBezTo>
                    <a:lnTo>
                      <a:pt x="9676" y="0"/>
                    </a:lnTo>
                    <a:close/>
                  </a:path>
                </a:pathLst>
              </a:custGeom>
              <a:solidFill>
                <a:schemeClr val="accent1">
                  <a:lumMod val="100000"/>
                </a:schemeClr>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000" b="0" i="0" u="none" strike="noStrike" kern="1200" cap="none" spc="0" normalizeH="0" baseline="0" noProof="0">
                  <a:ln>
                    <a:noFill/>
                  </a:ln>
                  <a:solidFill>
                    <a:srgbClr val="435D74"/>
                  </a:solidFill>
                  <a:effectLst/>
                  <a:uLnTx/>
                  <a:uFillTx/>
                  <a:latin typeface="Arial"/>
                  <a:ea typeface="+mn-ea"/>
                  <a:cs typeface="+mn-ea"/>
                  <a:sym typeface="+mn-lt"/>
                </a:endParaRPr>
              </a:p>
            </p:txBody>
          </p:sp>
          <p:sp>
            <p:nvSpPr>
              <p:cNvPr id="39" name="Google Shape;1248;p34">
                <a:extLst>
                  <a:ext uri="{FF2B5EF4-FFF2-40B4-BE49-F238E27FC236}">
                    <a16:creationId xmlns:a16="http://schemas.microsoft.com/office/drawing/2014/main" id="{3D9EFF1D-C699-4AEB-934C-A4A29FB84C82}"/>
                  </a:ext>
                </a:extLst>
              </p:cNvPr>
              <p:cNvSpPr/>
              <p:nvPr/>
            </p:nvSpPr>
            <p:spPr>
              <a:xfrm>
                <a:off x="5842500" y="2392350"/>
                <a:ext cx="79975" cy="117400"/>
              </a:xfrm>
              <a:custGeom>
                <a:avLst/>
                <a:gdLst/>
                <a:ahLst/>
                <a:cxnLst/>
                <a:rect l="l" t="t" r="r" b="b"/>
                <a:pathLst>
                  <a:path w="3199" h="4696" extrusionOk="0">
                    <a:moveTo>
                      <a:pt x="4" y="1"/>
                    </a:moveTo>
                    <a:lnTo>
                      <a:pt x="4" y="1651"/>
                    </a:lnTo>
                    <a:cubicBezTo>
                      <a:pt x="1" y="2591"/>
                      <a:pt x="287" y="3509"/>
                      <a:pt x="820" y="4283"/>
                    </a:cubicBezTo>
                    <a:cubicBezTo>
                      <a:pt x="994" y="4542"/>
                      <a:pt x="1287" y="4696"/>
                      <a:pt x="1600" y="4696"/>
                    </a:cubicBezTo>
                    <a:cubicBezTo>
                      <a:pt x="1913" y="4696"/>
                      <a:pt x="2205" y="4542"/>
                      <a:pt x="2380" y="4283"/>
                    </a:cubicBezTo>
                    <a:cubicBezTo>
                      <a:pt x="2913" y="3509"/>
                      <a:pt x="3199" y="2591"/>
                      <a:pt x="3196" y="1651"/>
                    </a:cubicBezTo>
                    <a:lnTo>
                      <a:pt x="3196" y="1"/>
                    </a:lnTo>
                    <a:close/>
                  </a:path>
                </a:pathLst>
              </a:custGeom>
              <a:solidFill>
                <a:schemeClr val="accent1">
                  <a:lumMod val="100000"/>
                </a:schemeClr>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000" b="0" i="0" u="none" strike="noStrike" kern="1200" cap="none" spc="0" normalizeH="0" baseline="0" noProof="0">
                  <a:ln>
                    <a:noFill/>
                  </a:ln>
                  <a:solidFill>
                    <a:srgbClr val="435D74"/>
                  </a:solidFill>
                  <a:effectLst/>
                  <a:uLnTx/>
                  <a:uFillTx/>
                  <a:latin typeface="Arial"/>
                  <a:ea typeface="+mn-ea"/>
                  <a:cs typeface="+mn-ea"/>
                  <a:sym typeface="+mn-lt"/>
                </a:endParaRPr>
              </a:p>
            </p:txBody>
          </p:sp>
        </p:grpSp>
      </p:grpSp>
      <p:grpSp>
        <p:nvGrpSpPr>
          <p:cNvPr id="40" name="Google Shape;1249;p34">
            <a:extLst>
              <a:ext uri="{FF2B5EF4-FFF2-40B4-BE49-F238E27FC236}">
                <a16:creationId xmlns:a16="http://schemas.microsoft.com/office/drawing/2014/main" id="{E8623C3B-D068-4200-92BC-2C76205CE7C1}"/>
              </a:ext>
            </a:extLst>
          </p:cNvPr>
          <p:cNvGrpSpPr/>
          <p:nvPr/>
        </p:nvGrpSpPr>
        <p:grpSpPr>
          <a:xfrm>
            <a:off x="7279142" y="1791763"/>
            <a:ext cx="1285600" cy="3062217"/>
            <a:chOff x="5961600" y="1558975"/>
            <a:chExt cx="964200" cy="2296663"/>
          </a:xfrm>
        </p:grpSpPr>
        <p:sp>
          <p:nvSpPr>
            <p:cNvPr id="41" name="Google Shape;1250;p34">
              <a:extLst>
                <a:ext uri="{FF2B5EF4-FFF2-40B4-BE49-F238E27FC236}">
                  <a16:creationId xmlns:a16="http://schemas.microsoft.com/office/drawing/2014/main" id="{BA908225-E716-46B5-9AAB-A1F8092F60C6}"/>
                </a:ext>
              </a:extLst>
            </p:cNvPr>
            <p:cNvSpPr/>
            <p:nvPr/>
          </p:nvSpPr>
          <p:spPr>
            <a:xfrm>
              <a:off x="6400075" y="2660213"/>
              <a:ext cx="87525" cy="83075"/>
            </a:xfrm>
            <a:custGeom>
              <a:avLst/>
              <a:gdLst/>
              <a:ahLst/>
              <a:cxnLst/>
              <a:rect l="l" t="t" r="r" b="b"/>
              <a:pathLst>
                <a:path w="3501" h="3323" extrusionOk="0">
                  <a:moveTo>
                    <a:pt x="1751" y="1"/>
                  </a:moveTo>
                  <a:cubicBezTo>
                    <a:pt x="1501" y="1"/>
                    <a:pt x="1263" y="96"/>
                    <a:pt x="1084" y="275"/>
                  </a:cubicBezTo>
                  <a:lnTo>
                    <a:pt x="370" y="1001"/>
                  </a:lnTo>
                  <a:cubicBezTo>
                    <a:pt x="0" y="1370"/>
                    <a:pt x="0" y="1966"/>
                    <a:pt x="370" y="2323"/>
                  </a:cubicBezTo>
                  <a:lnTo>
                    <a:pt x="1084" y="3049"/>
                  </a:lnTo>
                  <a:cubicBezTo>
                    <a:pt x="1263" y="3228"/>
                    <a:pt x="1501" y="3323"/>
                    <a:pt x="1751" y="3323"/>
                  </a:cubicBezTo>
                  <a:cubicBezTo>
                    <a:pt x="2001" y="3323"/>
                    <a:pt x="2239" y="3228"/>
                    <a:pt x="2417" y="3049"/>
                  </a:cubicBezTo>
                  <a:lnTo>
                    <a:pt x="3132" y="2323"/>
                  </a:lnTo>
                  <a:cubicBezTo>
                    <a:pt x="3501" y="1966"/>
                    <a:pt x="3501" y="1370"/>
                    <a:pt x="3132" y="1001"/>
                  </a:cubicBezTo>
                  <a:lnTo>
                    <a:pt x="2417" y="275"/>
                  </a:lnTo>
                  <a:cubicBezTo>
                    <a:pt x="2239" y="96"/>
                    <a:pt x="2001" y="1"/>
                    <a:pt x="1751" y="1"/>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000"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42" name="Google Shape;1251;p34">
              <a:extLst>
                <a:ext uri="{FF2B5EF4-FFF2-40B4-BE49-F238E27FC236}">
                  <a16:creationId xmlns:a16="http://schemas.microsoft.com/office/drawing/2014/main" id="{83F3D33D-9DFE-4FA5-B3D9-FD46616250A0}"/>
                </a:ext>
              </a:extLst>
            </p:cNvPr>
            <p:cNvSpPr/>
            <p:nvPr/>
          </p:nvSpPr>
          <p:spPr>
            <a:xfrm>
              <a:off x="6090500" y="2933763"/>
              <a:ext cx="706375" cy="921875"/>
            </a:xfrm>
            <a:custGeom>
              <a:avLst/>
              <a:gdLst/>
              <a:ahLst/>
              <a:cxnLst/>
              <a:rect l="l" t="t" r="r" b="b"/>
              <a:pathLst>
                <a:path w="28255" h="36875" extrusionOk="0">
                  <a:moveTo>
                    <a:pt x="14134" y="1668"/>
                  </a:moveTo>
                  <a:cubicBezTo>
                    <a:pt x="15443" y="1668"/>
                    <a:pt x="16682" y="2180"/>
                    <a:pt x="17610" y="3108"/>
                  </a:cubicBezTo>
                  <a:lnTo>
                    <a:pt x="25147" y="10645"/>
                  </a:lnTo>
                  <a:cubicBezTo>
                    <a:pt x="27064" y="12562"/>
                    <a:pt x="27064" y="15681"/>
                    <a:pt x="25147" y="17598"/>
                  </a:cubicBezTo>
                  <a:lnTo>
                    <a:pt x="17610" y="25135"/>
                  </a:lnTo>
                  <a:cubicBezTo>
                    <a:pt x="16682" y="26064"/>
                    <a:pt x="15443" y="26575"/>
                    <a:pt x="14134" y="26575"/>
                  </a:cubicBezTo>
                  <a:cubicBezTo>
                    <a:pt x="12812" y="26575"/>
                    <a:pt x="11586" y="26064"/>
                    <a:pt x="10657" y="25135"/>
                  </a:cubicBezTo>
                  <a:lnTo>
                    <a:pt x="3120" y="17598"/>
                  </a:lnTo>
                  <a:cubicBezTo>
                    <a:pt x="1192" y="15681"/>
                    <a:pt x="1192" y="12562"/>
                    <a:pt x="3120" y="10645"/>
                  </a:cubicBezTo>
                  <a:lnTo>
                    <a:pt x="10657" y="3108"/>
                  </a:lnTo>
                  <a:cubicBezTo>
                    <a:pt x="11586" y="2180"/>
                    <a:pt x="12812" y="1668"/>
                    <a:pt x="14134" y="1668"/>
                  </a:cubicBezTo>
                  <a:close/>
                  <a:moveTo>
                    <a:pt x="14134" y="1"/>
                  </a:moveTo>
                  <a:cubicBezTo>
                    <a:pt x="12372" y="1"/>
                    <a:pt x="10717" y="679"/>
                    <a:pt x="9466" y="1930"/>
                  </a:cubicBezTo>
                  <a:lnTo>
                    <a:pt x="1930" y="9466"/>
                  </a:lnTo>
                  <a:cubicBezTo>
                    <a:pt x="644" y="10752"/>
                    <a:pt x="1" y="12431"/>
                    <a:pt x="1" y="14122"/>
                  </a:cubicBezTo>
                  <a:lnTo>
                    <a:pt x="1" y="33195"/>
                  </a:lnTo>
                  <a:cubicBezTo>
                    <a:pt x="1" y="35231"/>
                    <a:pt x="1656" y="36874"/>
                    <a:pt x="3680" y="36874"/>
                  </a:cubicBezTo>
                  <a:lnTo>
                    <a:pt x="24575" y="36874"/>
                  </a:lnTo>
                  <a:cubicBezTo>
                    <a:pt x="26611" y="36874"/>
                    <a:pt x="28255" y="35231"/>
                    <a:pt x="28255" y="33195"/>
                  </a:cubicBezTo>
                  <a:lnTo>
                    <a:pt x="28255" y="14122"/>
                  </a:lnTo>
                  <a:cubicBezTo>
                    <a:pt x="28255" y="12431"/>
                    <a:pt x="27612" y="10752"/>
                    <a:pt x="26326" y="9466"/>
                  </a:cubicBezTo>
                  <a:lnTo>
                    <a:pt x="18789" y="1930"/>
                  </a:lnTo>
                  <a:cubicBezTo>
                    <a:pt x="17551" y="679"/>
                    <a:pt x="15896" y="1"/>
                    <a:pt x="14134" y="1"/>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000"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43" name="Google Shape;1252;p34">
              <a:extLst>
                <a:ext uri="{FF2B5EF4-FFF2-40B4-BE49-F238E27FC236}">
                  <a16:creationId xmlns:a16="http://schemas.microsoft.com/office/drawing/2014/main" id="{F8546A75-B8F0-4534-9A84-95A872EC6E80}"/>
                </a:ext>
              </a:extLst>
            </p:cNvPr>
            <p:cNvSpPr/>
            <p:nvPr/>
          </p:nvSpPr>
          <p:spPr>
            <a:xfrm>
              <a:off x="6096475" y="2232478"/>
              <a:ext cx="692075" cy="227759"/>
            </a:xfrm>
            <a:custGeom>
              <a:avLst/>
              <a:gdLst/>
              <a:ahLst/>
              <a:cxnLst/>
              <a:rect l="l" t="t" r="r" b="b"/>
              <a:pathLst>
                <a:path w="27683" h="7585" extrusionOk="0">
                  <a:moveTo>
                    <a:pt x="1346" y="1"/>
                  </a:moveTo>
                  <a:cubicBezTo>
                    <a:pt x="595" y="1"/>
                    <a:pt x="0" y="596"/>
                    <a:pt x="0" y="1334"/>
                  </a:cubicBezTo>
                  <a:lnTo>
                    <a:pt x="0" y="6251"/>
                  </a:lnTo>
                  <a:cubicBezTo>
                    <a:pt x="0" y="6990"/>
                    <a:pt x="595" y="7585"/>
                    <a:pt x="1346" y="7585"/>
                  </a:cubicBezTo>
                  <a:lnTo>
                    <a:pt x="26349" y="7585"/>
                  </a:lnTo>
                  <a:cubicBezTo>
                    <a:pt x="27087" y="7585"/>
                    <a:pt x="27682" y="6990"/>
                    <a:pt x="27682" y="6251"/>
                  </a:cubicBezTo>
                  <a:lnTo>
                    <a:pt x="27682" y="1334"/>
                  </a:lnTo>
                  <a:cubicBezTo>
                    <a:pt x="27682" y="596"/>
                    <a:pt x="27087" y="1"/>
                    <a:pt x="26349" y="1"/>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Tx/>
                <a:buNone/>
                <a:tabLst/>
                <a:defRPr/>
              </a:pPr>
              <a:r>
                <a:rPr kumimoji="0" lang="en" sz="2000" b="0" i="0" u="none" strike="noStrike" kern="1200" cap="none" spc="0" normalizeH="0" baseline="0" noProof="0">
                  <a:ln>
                    <a:noFill/>
                  </a:ln>
                  <a:solidFill>
                    <a:srgbClr val="FFFFFF"/>
                  </a:solidFill>
                  <a:effectLst/>
                  <a:uLnTx/>
                  <a:uFillTx/>
                  <a:latin typeface="Arial"/>
                  <a:ea typeface="+mn-ea"/>
                  <a:cs typeface="+mn-ea"/>
                  <a:sym typeface="+mn-lt"/>
                </a:rPr>
                <a:t>2020</a:t>
              </a:r>
              <a:endParaRPr kumimoji="0" sz="2000"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44" name="Google Shape;1253;p34">
              <a:extLst>
                <a:ext uri="{FF2B5EF4-FFF2-40B4-BE49-F238E27FC236}">
                  <a16:creationId xmlns:a16="http://schemas.microsoft.com/office/drawing/2014/main" id="{336616CE-9758-41DD-A4C6-21445B758548}"/>
                </a:ext>
              </a:extLst>
            </p:cNvPr>
            <p:cNvSpPr txBox="1"/>
            <p:nvPr/>
          </p:nvSpPr>
          <p:spPr>
            <a:xfrm>
              <a:off x="5961600" y="1558975"/>
              <a:ext cx="964200" cy="597300"/>
            </a:xfrm>
            <a:prstGeom prst="rect">
              <a:avLst/>
            </a:prstGeom>
            <a:noFill/>
            <a:ln>
              <a:noFill/>
            </a:ln>
          </p:spPr>
          <p:txBody>
            <a:bodyPr spcFirstLastPara="1" wrap="square" lIns="121900" tIns="121900" rIns="121900" bIns="1219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1200" b="0" i="0" u="none" strike="noStrike" kern="1200" cap="none" spc="0" normalizeH="0" baseline="0" noProof="0">
                  <a:ln>
                    <a:noFill/>
                  </a:ln>
                  <a:solidFill>
                    <a:srgbClr val="434343"/>
                  </a:solidFill>
                  <a:effectLst/>
                  <a:uLnTx/>
                  <a:uFillTx/>
                  <a:latin typeface="Arial"/>
                  <a:ea typeface="+mn-ea"/>
                  <a:cs typeface="+mn-ea"/>
                  <a:sym typeface="+mn-lt"/>
                </a:rPr>
                <a:t>Pluto is icy and small</a:t>
              </a:r>
              <a:endParaRPr kumimoji="0" sz="1200" b="0" i="0" u="none" strike="noStrike" kern="1200" cap="none" spc="0" normalizeH="0" baseline="0" noProof="0">
                <a:ln>
                  <a:noFill/>
                </a:ln>
                <a:solidFill>
                  <a:srgbClr val="434343"/>
                </a:solidFill>
                <a:effectLst/>
                <a:uLnTx/>
                <a:uFillTx/>
                <a:latin typeface="Arial"/>
                <a:ea typeface="+mn-ea"/>
                <a:cs typeface="+mn-ea"/>
                <a:sym typeface="+mn-lt"/>
              </a:endParaRPr>
            </a:p>
          </p:txBody>
        </p:sp>
        <p:grpSp>
          <p:nvGrpSpPr>
            <p:cNvPr id="45" name="Google Shape;1254;p34">
              <a:extLst>
                <a:ext uri="{FF2B5EF4-FFF2-40B4-BE49-F238E27FC236}">
                  <a16:creationId xmlns:a16="http://schemas.microsoft.com/office/drawing/2014/main" id="{BBBE9840-6C3A-4B12-843B-CC3F08566070}"/>
                </a:ext>
              </a:extLst>
            </p:cNvPr>
            <p:cNvGrpSpPr/>
            <p:nvPr/>
          </p:nvGrpSpPr>
          <p:grpSpPr>
            <a:xfrm>
              <a:off x="6307076" y="3112899"/>
              <a:ext cx="273241" cy="313245"/>
              <a:chOff x="3895050" y="3806775"/>
              <a:chExt cx="419725" cy="481175"/>
            </a:xfrm>
          </p:grpSpPr>
          <p:sp>
            <p:nvSpPr>
              <p:cNvPr id="46" name="Google Shape;1255;p34">
                <a:extLst>
                  <a:ext uri="{FF2B5EF4-FFF2-40B4-BE49-F238E27FC236}">
                    <a16:creationId xmlns:a16="http://schemas.microsoft.com/office/drawing/2014/main" id="{AE963600-7461-47E8-949B-7ED2E95C8A12}"/>
                  </a:ext>
                </a:extLst>
              </p:cNvPr>
              <p:cNvSpPr/>
              <p:nvPr/>
            </p:nvSpPr>
            <p:spPr>
              <a:xfrm>
                <a:off x="3895050" y="3942650"/>
                <a:ext cx="419725" cy="345300"/>
              </a:xfrm>
              <a:custGeom>
                <a:avLst/>
                <a:gdLst/>
                <a:ahLst/>
                <a:cxnLst/>
                <a:rect l="l" t="t" r="r" b="b"/>
                <a:pathLst>
                  <a:path w="16789" h="13812" extrusionOk="0">
                    <a:moveTo>
                      <a:pt x="4448" y="1"/>
                    </a:moveTo>
                    <a:cubicBezTo>
                      <a:pt x="4233" y="1"/>
                      <a:pt x="4016" y="18"/>
                      <a:pt x="3801" y="54"/>
                    </a:cubicBezTo>
                    <a:cubicBezTo>
                      <a:pt x="1545" y="418"/>
                      <a:pt x="1" y="2604"/>
                      <a:pt x="356" y="4929"/>
                    </a:cubicBezTo>
                    <a:cubicBezTo>
                      <a:pt x="994" y="9100"/>
                      <a:pt x="2205" y="11942"/>
                      <a:pt x="3858" y="13147"/>
                    </a:cubicBezTo>
                    <a:cubicBezTo>
                      <a:pt x="4470" y="13592"/>
                      <a:pt x="5129" y="13811"/>
                      <a:pt x="5863" y="13811"/>
                    </a:cubicBezTo>
                    <a:cubicBezTo>
                      <a:pt x="6071" y="13811"/>
                      <a:pt x="6286" y="13793"/>
                      <a:pt x="6508" y="13758"/>
                    </a:cubicBezTo>
                    <a:cubicBezTo>
                      <a:pt x="7125" y="13659"/>
                      <a:pt x="7610" y="13406"/>
                      <a:pt x="7999" y="12987"/>
                    </a:cubicBezTo>
                    <a:lnTo>
                      <a:pt x="8396" y="12557"/>
                    </a:lnTo>
                    <a:lnTo>
                      <a:pt x="8791" y="12987"/>
                    </a:lnTo>
                    <a:cubicBezTo>
                      <a:pt x="9179" y="13406"/>
                      <a:pt x="9667" y="13659"/>
                      <a:pt x="10281" y="13758"/>
                    </a:cubicBezTo>
                    <a:cubicBezTo>
                      <a:pt x="10503" y="13793"/>
                      <a:pt x="10718" y="13811"/>
                      <a:pt x="10927" y="13811"/>
                    </a:cubicBezTo>
                    <a:cubicBezTo>
                      <a:pt x="11660" y="13811"/>
                      <a:pt x="12319" y="13592"/>
                      <a:pt x="12931" y="13147"/>
                    </a:cubicBezTo>
                    <a:cubicBezTo>
                      <a:pt x="14587" y="11942"/>
                      <a:pt x="15795" y="9100"/>
                      <a:pt x="16433" y="4929"/>
                    </a:cubicBezTo>
                    <a:cubicBezTo>
                      <a:pt x="16788" y="2604"/>
                      <a:pt x="15244" y="418"/>
                      <a:pt x="12988" y="54"/>
                    </a:cubicBezTo>
                    <a:cubicBezTo>
                      <a:pt x="12773" y="18"/>
                      <a:pt x="12556" y="1"/>
                      <a:pt x="12341" y="1"/>
                    </a:cubicBezTo>
                    <a:cubicBezTo>
                      <a:pt x="11461" y="1"/>
                      <a:pt x="10599" y="293"/>
                      <a:pt x="9893" y="840"/>
                    </a:cubicBezTo>
                    <a:cubicBezTo>
                      <a:pt x="9601" y="1063"/>
                      <a:pt x="9263" y="1216"/>
                      <a:pt x="8905" y="1292"/>
                    </a:cubicBezTo>
                    <a:cubicBezTo>
                      <a:pt x="8736" y="1326"/>
                      <a:pt x="8567" y="1343"/>
                      <a:pt x="8397" y="1343"/>
                    </a:cubicBezTo>
                    <a:cubicBezTo>
                      <a:pt x="8296" y="1343"/>
                      <a:pt x="8196" y="1337"/>
                      <a:pt x="8095" y="1325"/>
                    </a:cubicBezTo>
                    <a:cubicBezTo>
                      <a:pt x="7658" y="1273"/>
                      <a:pt x="7246" y="1105"/>
                      <a:pt x="6896" y="840"/>
                    </a:cubicBezTo>
                    <a:cubicBezTo>
                      <a:pt x="6190" y="293"/>
                      <a:pt x="5328" y="1"/>
                      <a:pt x="4448" y="1"/>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000" b="0" i="0" u="none" strike="noStrike" kern="1200" cap="none" spc="0" normalizeH="0" baseline="0" noProof="0">
                  <a:ln>
                    <a:noFill/>
                  </a:ln>
                  <a:solidFill>
                    <a:srgbClr val="435D74"/>
                  </a:solidFill>
                  <a:effectLst/>
                  <a:uLnTx/>
                  <a:uFillTx/>
                  <a:latin typeface="Arial"/>
                  <a:ea typeface="+mn-ea"/>
                  <a:cs typeface="+mn-ea"/>
                  <a:sym typeface="+mn-lt"/>
                </a:endParaRPr>
              </a:p>
            </p:txBody>
          </p:sp>
          <p:sp>
            <p:nvSpPr>
              <p:cNvPr id="47" name="Google Shape;1256;p34">
                <a:extLst>
                  <a:ext uri="{FF2B5EF4-FFF2-40B4-BE49-F238E27FC236}">
                    <a16:creationId xmlns:a16="http://schemas.microsoft.com/office/drawing/2014/main" id="{92349318-DCF0-43D2-8E85-D2EDB2D74828}"/>
                  </a:ext>
                </a:extLst>
              </p:cNvPr>
              <p:cNvSpPr/>
              <p:nvPr/>
            </p:nvSpPr>
            <p:spPr>
              <a:xfrm>
                <a:off x="4016325" y="3806775"/>
                <a:ext cx="199225" cy="142475"/>
              </a:xfrm>
              <a:custGeom>
                <a:avLst/>
                <a:gdLst/>
                <a:ahLst/>
                <a:cxnLst/>
                <a:rect l="l" t="t" r="r" b="b"/>
                <a:pathLst>
                  <a:path w="7969" h="5699" extrusionOk="0">
                    <a:moveTo>
                      <a:pt x="1350" y="0"/>
                    </a:moveTo>
                    <a:cubicBezTo>
                      <a:pt x="1132" y="0"/>
                      <a:pt x="925" y="129"/>
                      <a:pt x="832" y="343"/>
                    </a:cubicBezTo>
                    <a:cubicBezTo>
                      <a:pt x="799" y="424"/>
                      <a:pt x="1" y="2330"/>
                      <a:pt x="678" y="4101"/>
                    </a:cubicBezTo>
                    <a:cubicBezTo>
                      <a:pt x="736" y="4242"/>
                      <a:pt x="796" y="4381"/>
                      <a:pt x="868" y="4516"/>
                    </a:cubicBezTo>
                    <a:cubicBezTo>
                      <a:pt x="1534" y="4691"/>
                      <a:pt x="2157" y="4995"/>
                      <a:pt x="2702" y="5414"/>
                    </a:cubicBezTo>
                    <a:cubicBezTo>
                      <a:pt x="2950" y="5603"/>
                      <a:pt x="3247" y="5698"/>
                      <a:pt x="3544" y="5698"/>
                    </a:cubicBezTo>
                    <a:cubicBezTo>
                      <a:pt x="3840" y="5698"/>
                      <a:pt x="4137" y="5603"/>
                      <a:pt x="4385" y="5414"/>
                    </a:cubicBezTo>
                    <a:cubicBezTo>
                      <a:pt x="4442" y="5368"/>
                      <a:pt x="4503" y="5326"/>
                      <a:pt x="4563" y="5284"/>
                    </a:cubicBezTo>
                    <a:cubicBezTo>
                      <a:pt x="4870" y="4592"/>
                      <a:pt x="5355" y="3968"/>
                      <a:pt x="6020" y="3417"/>
                    </a:cubicBezTo>
                    <a:cubicBezTo>
                      <a:pt x="6478" y="3035"/>
                      <a:pt x="6987" y="2722"/>
                      <a:pt x="7532" y="2484"/>
                    </a:cubicBezTo>
                    <a:cubicBezTo>
                      <a:pt x="7824" y="2372"/>
                      <a:pt x="7969" y="2044"/>
                      <a:pt x="7854" y="1752"/>
                    </a:cubicBezTo>
                    <a:cubicBezTo>
                      <a:pt x="7768" y="1529"/>
                      <a:pt x="7554" y="1392"/>
                      <a:pt x="7327" y="1392"/>
                    </a:cubicBezTo>
                    <a:cubicBezTo>
                      <a:pt x="7260" y="1392"/>
                      <a:pt x="7192" y="1404"/>
                      <a:pt x="7125" y="1430"/>
                    </a:cubicBezTo>
                    <a:lnTo>
                      <a:pt x="7125" y="1433"/>
                    </a:lnTo>
                    <a:cubicBezTo>
                      <a:pt x="7089" y="1445"/>
                      <a:pt x="6243" y="1776"/>
                      <a:pt x="5334" y="2520"/>
                    </a:cubicBezTo>
                    <a:cubicBezTo>
                      <a:pt x="4997" y="2794"/>
                      <a:pt x="4689" y="3098"/>
                      <a:pt x="4412" y="3429"/>
                    </a:cubicBezTo>
                    <a:cubicBezTo>
                      <a:pt x="4367" y="3194"/>
                      <a:pt x="4301" y="2965"/>
                      <a:pt x="4217" y="2743"/>
                    </a:cubicBezTo>
                    <a:cubicBezTo>
                      <a:pt x="3536" y="972"/>
                      <a:pt x="1669" y="90"/>
                      <a:pt x="1588" y="54"/>
                    </a:cubicBezTo>
                    <a:cubicBezTo>
                      <a:pt x="1511" y="17"/>
                      <a:pt x="1430" y="0"/>
                      <a:pt x="1350" y="0"/>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000" b="0" i="0" u="none" strike="noStrike" kern="1200" cap="none" spc="0" normalizeH="0" baseline="0" noProof="0">
                  <a:ln>
                    <a:noFill/>
                  </a:ln>
                  <a:solidFill>
                    <a:srgbClr val="435D74"/>
                  </a:solidFill>
                  <a:effectLst/>
                  <a:uLnTx/>
                  <a:uFillTx/>
                  <a:latin typeface="Arial"/>
                  <a:ea typeface="+mn-ea"/>
                  <a:cs typeface="+mn-ea"/>
                  <a:sym typeface="+mn-lt"/>
                </a:endParaRPr>
              </a:p>
            </p:txBody>
          </p:sp>
        </p:grpSp>
      </p:grpSp>
    </p:spTree>
    <p:extLst>
      <p:ext uri="{BB962C8B-B14F-4D97-AF65-F5344CB8AC3E}">
        <p14:creationId xmlns:p14="http://schemas.microsoft.com/office/powerpoint/2010/main" val="1677181628"/>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7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Google Shape;1262;p35">
            <a:extLst>
              <a:ext uri="{FF2B5EF4-FFF2-40B4-BE49-F238E27FC236}">
                <a16:creationId xmlns:a16="http://schemas.microsoft.com/office/drawing/2014/main" id="{D56DCE60-09D4-410F-8A8E-4DFDC60CA386}"/>
              </a:ext>
            </a:extLst>
          </p:cNvPr>
          <p:cNvSpPr/>
          <p:nvPr/>
        </p:nvSpPr>
        <p:spPr>
          <a:xfrm>
            <a:off x="1287683" y="2547716"/>
            <a:ext cx="391077" cy="1762565"/>
          </a:xfrm>
          <a:custGeom>
            <a:avLst/>
            <a:gdLst/>
            <a:ahLst/>
            <a:cxnLst/>
            <a:rect l="l" t="t" r="r" b="b"/>
            <a:pathLst>
              <a:path w="9561" h="43091" extrusionOk="0">
                <a:moveTo>
                  <a:pt x="807" y="0"/>
                </a:moveTo>
                <a:cubicBezTo>
                  <a:pt x="403" y="0"/>
                  <a:pt x="0" y="293"/>
                  <a:pt x="0" y="805"/>
                </a:cubicBezTo>
                <a:lnTo>
                  <a:pt x="0" y="42286"/>
                </a:lnTo>
                <a:cubicBezTo>
                  <a:pt x="0" y="42798"/>
                  <a:pt x="403" y="43090"/>
                  <a:pt x="807" y="43090"/>
                </a:cubicBezTo>
                <a:cubicBezTo>
                  <a:pt x="1108" y="43090"/>
                  <a:pt x="1411" y="42928"/>
                  <a:pt x="1548" y="42572"/>
                </a:cubicBezTo>
                <a:lnTo>
                  <a:pt x="9489" y="21831"/>
                </a:lnTo>
                <a:cubicBezTo>
                  <a:pt x="9561" y="21641"/>
                  <a:pt x="9561" y="21438"/>
                  <a:pt x="9489" y="21260"/>
                </a:cubicBezTo>
                <a:lnTo>
                  <a:pt x="1548" y="519"/>
                </a:lnTo>
                <a:cubicBezTo>
                  <a:pt x="1411" y="163"/>
                  <a:pt x="1108" y="0"/>
                  <a:pt x="807" y="0"/>
                </a:cubicBezTo>
                <a:close/>
              </a:path>
            </a:pathLst>
          </a:custGeom>
          <a:solidFill>
            <a:srgbClr val="869FB2"/>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grpSp>
        <p:nvGrpSpPr>
          <p:cNvPr id="3" name="Google Shape;1263;p35">
            <a:extLst>
              <a:ext uri="{FF2B5EF4-FFF2-40B4-BE49-F238E27FC236}">
                <a16:creationId xmlns:a16="http://schemas.microsoft.com/office/drawing/2014/main" id="{C89B2FA4-7DA6-4396-B8ED-2DB799A3DD85}"/>
              </a:ext>
            </a:extLst>
          </p:cNvPr>
          <p:cNvGrpSpPr/>
          <p:nvPr/>
        </p:nvGrpSpPr>
        <p:grpSpPr>
          <a:xfrm>
            <a:off x="9485625" y="1982903"/>
            <a:ext cx="1809904" cy="2892193"/>
            <a:chOff x="7427781" y="1775484"/>
            <a:chExt cx="1357428" cy="2169145"/>
          </a:xfrm>
        </p:grpSpPr>
        <p:sp>
          <p:nvSpPr>
            <p:cNvPr id="4" name="Google Shape;1264;p35">
              <a:extLst>
                <a:ext uri="{FF2B5EF4-FFF2-40B4-BE49-F238E27FC236}">
                  <a16:creationId xmlns:a16="http://schemas.microsoft.com/office/drawing/2014/main" id="{D63EEC2F-4DE4-4A30-BD2B-23F034B13454}"/>
                </a:ext>
              </a:extLst>
            </p:cNvPr>
            <p:cNvSpPr/>
            <p:nvPr/>
          </p:nvSpPr>
          <p:spPr>
            <a:xfrm>
              <a:off x="7427781" y="1775484"/>
              <a:ext cx="426295" cy="2169145"/>
            </a:xfrm>
            <a:custGeom>
              <a:avLst/>
              <a:gdLst/>
              <a:ahLst/>
              <a:cxnLst/>
              <a:rect l="l" t="t" r="r" b="b"/>
              <a:pathLst>
                <a:path w="13896" h="70708" extrusionOk="0">
                  <a:moveTo>
                    <a:pt x="1370" y="1"/>
                  </a:moveTo>
                  <a:cubicBezTo>
                    <a:pt x="685" y="1"/>
                    <a:pt x="1" y="491"/>
                    <a:pt x="1" y="1363"/>
                  </a:cubicBezTo>
                  <a:lnTo>
                    <a:pt x="1" y="69348"/>
                  </a:lnTo>
                  <a:cubicBezTo>
                    <a:pt x="1" y="70218"/>
                    <a:pt x="682" y="70708"/>
                    <a:pt x="1365" y="70708"/>
                  </a:cubicBezTo>
                  <a:cubicBezTo>
                    <a:pt x="1897" y="70708"/>
                    <a:pt x="2430" y="70411"/>
                    <a:pt x="2644" y="69764"/>
                  </a:cubicBezTo>
                  <a:lnTo>
                    <a:pt x="13812" y="35784"/>
                  </a:lnTo>
                  <a:cubicBezTo>
                    <a:pt x="13896" y="35498"/>
                    <a:pt x="13896" y="35201"/>
                    <a:pt x="13812" y="34927"/>
                  </a:cubicBezTo>
                  <a:lnTo>
                    <a:pt x="2644" y="934"/>
                  </a:lnTo>
                  <a:cubicBezTo>
                    <a:pt x="2431" y="295"/>
                    <a:pt x="1900" y="1"/>
                    <a:pt x="1370" y="1"/>
                  </a:cubicBezTo>
                  <a:close/>
                </a:path>
              </a:pathLst>
            </a:custGeom>
            <a:solidFill>
              <a:srgbClr val="869FB2"/>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5" name="Google Shape;1265;p35">
              <a:extLst>
                <a:ext uri="{FF2B5EF4-FFF2-40B4-BE49-F238E27FC236}">
                  <a16:creationId xmlns:a16="http://schemas.microsoft.com/office/drawing/2014/main" id="{2CD64FE2-4ECA-459E-AFD7-3008C42B06BA}"/>
                </a:ext>
              </a:extLst>
            </p:cNvPr>
            <p:cNvSpPr txBox="1"/>
            <p:nvPr/>
          </p:nvSpPr>
          <p:spPr>
            <a:xfrm>
              <a:off x="7930275" y="2645263"/>
              <a:ext cx="854934" cy="429600"/>
            </a:xfrm>
            <a:prstGeom prst="rect">
              <a:avLst/>
            </a:prstGeom>
            <a:no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 sz="2267" b="0" i="0" u="none" strike="noStrike" kern="1200" cap="none" spc="0" normalizeH="0" baseline="0" noProof="0">
                  <a:ln>
                    <a:noFill/>
                  </a:ln>
                  <a:solidFill>
                    <a:srgbClr val="434343"/>
                  </a:solidFill>
                  <a:effectLst/>
                  <a:uLnTx/>
                  <a:uFillTx/>
                  <a:latin typeface="Arial"/>
                  <a:ea typeface="+mn-ea"/>
                  <a:cs typeface="+mn-ea"/>
                  <a:sym typeface="+mn-lt"/>
                </a:rPr>
                <a:t>Saturn</a:t>
              </a:r>
              <a:endParaRPr kumimoji="0" sz="2267" b="0" i="0" u="none" strike="noStrike" kern="1200" cap="none" spc="0" normalizeH="0" baseline="0" noProof="0">
                <a:ln>
                  <a:noFill/>
                </a:ln>
                <a:solidFill>
                  <a:srgbClr val="434343"/>
                </a:solidFill>
                <a:effectLst/>
                <a:uLnTx/>
                <a:uFillTx/>
                <a:latin typeface="Arial"/>
                <a:ea typeface="+mn-ea"/>
                <a:cs typeface="+mn-ea"/>
                <a:sym typeface="+mn-lt"/>
              </a:endParaRPr>
            </a:p>
          </p:txBody>
        </p:sp>
      </p:grpSp>
      <p:grpSp>
        <p:nvGrpSpPr>
          <p:cNvPr id="6" name="Google Shape;1266;p35">
            <a:extLst>
              <a:ext uri="{FF2B5EF4-FFF2-40B4-BE49-F238E27FC236}">
                <a16:creationId xmlns:a16="http://schemas.microsoft.com/office/drawing/2014/main" id="{03028149-CD40-4E7C-9263-2FEF65083EA9}"/>
              </a:ext>
            </a:extLst>
          </p:cNvPr>
          <p:cNvGrpSpPr/>
          <p:nvPr/>
        </p:nvGrpSpPr>
        <p:grpSpPr>
          <a:xfrm>
            <a:off x="1592586" y="2151077"/>
            <a:ext cx="2802711" cy="2555855"/>
            <a:chOff x="1194439" y="1901615"/>
            <a:chExt cx="2102033" cy="1916891"/>
          </a:xfrm>
        </p:grpSpPr>
        <p:grpSp>
          <p:nvGrpSpPr>
            <p:cNvPr id="7" name="Google Shape;1267;p35">
              <a:extLst>
                <a:ext uri="{FF2B5EF4-FFF2-40B4-BE49-F238E27FC236}">
                  <a16:creationId xmlns:a16="http://schemas.microsoft.com/office/drawing/2014/main" id="{8BA87CB9-6550-4482-BF52-B42BBE783726}"/>
                </a:ext>
              </a:extLst>
            </p:cNvPr>
            <p:cNvGrpSpPr/>
            <p:nvPr/>
          </p:nvGrpSpPr>
          <p:grpSpPr>
            <a:xfrm>
              <a:off x="1194439" y="1901615"/>
              <a:ext cx="2102033" cy="1916884"/>
              <a:chOff x="1508001" y="1901615"/>
              <a:chExt cx="2102033" cy="1916884"/>
            </a:xfrm>
          </p:grpSpPr>
          <p:sp>
            <p:nvSpPr>
              <p:cNvPr id="11" name="Google Shape;1268;p35">
                <a:extLst>
                  <a:ext uri="{FF2B5EF4-FFF2-40B4-BE49-F238E27FC236}">
                    <a16:creationId xmlns:a16="http://schemas.microsoft.com/office/drawing/2014/main" id="{FE6BB944-C412-4288-BA89-2999EE8BADDD}"/>
                  </a:ext>
                </a:extLst>
              </p:cNvPr>
              <p:cNvSpPr/>
              <p:nvPr/>
            </p:nvSpPr>
            <p:spPr>
              <a:xfrm>
                <a:off x="2857579" y="1901615"/>
                <a:ext cx="498601" cy="1916884"/>
              </a:xfrm>
              <a:custGeom>
                <a:avLst/>
                <a:gdLst/>
                <a:ahLst/>
                <a:cxnLst/>
                <a:rect l="l" t="t" r="r" b="b"/>
                <a:pathLst>
                  <a:path w="16253" h="62485" extrusionOk="0">
                    <a:moveTo>
                      <a:pt x="1072" y="0"/>
                    </a:moveTo>
                    <a:lnTo>
                      <a:pt x="1" y="72"/>
                    </a:lnTo>
                    <a:lnTo>
                      <a:pt x="10669" y="22646"/>
                    </a:lnTo>
                    <a:lnTo>
                      <a:pt x="15146" y="32123"/>
                    </a:lnTo>
                    <a:lnTo>
                      <a:pt x="11312" y="40243"/>
                    </a:lnTo>
                    <a:lnTo>
                      <a:pt x="834" y="62401"/>
                    </a:lnTo>
                    <a:lnTo>
                      <a:pt x="1906" y="62484"/>
                    </a:lnTo>
                    <a:lnTo>
                      <a:pt x="12169" y="40744"/>
                    </a:lnTo>
                    <a:lnTo>
                      <a:pt x="16253" y="32123"/>
                    </a:lnTo>
                    <a:lnTo>
                      <a:pt x="11502" y="22063"/>
                    </a:lnTo>
                    <a:lnTo>
                      <a:pt x="1072" y="0"/>
                    </a:ln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12" name="Google Shape;1269;p35">
                <a:extLst>
                  <a:ext uri="{FF2B5EF4-FFF2-40B4-BE49-F238E27FC236}">
                    <a16:creationId xmlns:a16="http://schemas.microsoft.com/office/drawing/2014/main" id="{551606C6-9E96-49B4-9D19-73805D3C8FB9}"/>
                  </a:ext>
                </a:extLst>
              </p:cNvPr>
              <p:cNvSpPr/>
              <p:nvPr/>
            </p:nvSpPr>
            <p:spPr>
              <a:xfrm>
                <a:off x="3047532" y="2578974"/>
                <a:ext cx="562503" cy="562165"/>
              </a:xfrm>
              <a:custGeom>
                <a:avLst/>
                <a:gdLst/>
                <a:ahLst/>
                <a:cxnLst/>
                <a:rect l="l" t="t" r="r" b="b"/>
                <a:pathLst>
                  <a:path w="18336" h="18325" extrusionOk="0">
                    <a:moveTo>
                      <a:pt x="9168" y="1"/>
                    </a:moveTo>
                    <a:cubicBezTo>
                      <a:pt x="4108" y="1"/>
                      <a:pt x="0" y="4108"/>
                      <a:pt x="0" y="9169"/>
                    </a:cubicBezTo>
                    <a:cubicBezTo>
                      <a:pt x="0" y="14229"/>
                      <a:pt x="4108" y="18324"/>
                      <a:pt x="9168" y="18324"/>
                    </a:cubicBezTo>
                    <a:cubicBezTo>
                      <a:pt x="14228" y="18324"/>
                      <a:pt x="18336" y="14229"/>
                      <a:pt x="18336" y="9169"/>
                    </a:cubicBezTo>
                    <a:cubicBezTo>
                      <a:pt x="18336" y="4108"/>
                      <a:pt x="14228" y="1"/>
                      <a:pt x="9168" y="1"/>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Tx/>
                  <a:buNone/>
                  <a:tabLst/>
                  <a:defRPr/>
                </a:pPr>
                <a:r>
                  <a:rPr kumimoji="0" lang="en" sz="2667" b="0" i="0" u="none" strike="noStrike" kern="1200" cap="none" spc="0" normalizeH="0" baseline="0" noProof="0">
                    <a:ln>
                      <a:noFill/>
                    </a:ln>
                    <a:solidFill>
                      <a:srgbClr val="FFFFFF"/>
                    </a:solidFill>
                    <a:effectLst/>
                    <a:uLnTx/>
                    <a:uFillTx/>
                    <a:latin typeface="Arial"/>
                    <a:ea typeface="+mn-ea"/>
                    <a:cs typeface="+mn-ea"/>
                    <a:sym typeface="+mn-lt"/>
                  </a:rPr>
                  <a:t>03</a:t>
                </a: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13" name="Google Shape;1270;p35">
                <a:extLst>
                  <a:ext uri="{FF2B5EF4-FFF2-40B4-BE49-F238E27FC236}">
                    <a16:creationId xmlns:a16="http://schemas.microsoft.com/office/drawing/2014/main" id="{E7D4E386-9DD5-48ED-8DFC-0B7EED0E4313}"/>
                  </a:ext>
                </a:extLst>
              </p:cNvPr>
              <p:cNvSpPr/>
              <p:nvPr/>
            </p:nvSpPr>
            <p:spPr>
              <a:xfrm>
                <a:off x="1508001" y="1901621"/>
                <a:ext cx="1260140" cy="397427"/>
              </a:xfrm>
              <a:custGeom>
                <a:avLst/>
                <a:gdLst/>
                <a:ahLst/>
                <a:cxnLst/>
                <a:rect l="l" t="t" r="r" b="b"/>
                <a:pathLst>
                  <a:path w="41077" h="12955" extrusionOk="0">
                    <a:moveTo>
                      <a:pt x="6477" y="1"/>
                    </a:moveTo>
                    <a:cubicBezTo>
                      <a:pt x="2893" y="1"/>
                      <a:pt x="0" y="2894"/>
                      <a:pt x="0" y="6478"/>
                    </a:cubicBezTo>
                    <a:cubicBezTo>
                      <a:pt x="0" y="10049"/>
                      <a:pt x="2893" y="12955"/>
                      <a:pt x="6477" y="12955"/>
                    </a:cubicBezTo>
                    <a:lnTo>
                      <a:pt x="34600" y="12955"/>
                    </a:lnTo>
                    <a:cubicBezTo>
                      <a:pt x="38184" y="12955"/>
                      <a:pt x="41077" y="10049"/>
                      <a:pt x="41077" y="6478"/>
                    </a:cubicBezTo>
                    <a:cubicBezTo>
                      <a:pt x="41077" y="2894"/>
                      <a:pt x="38184" y="1"/>
                      <a:pt x="34600" y="1"/>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Tx/>
                  <a:buNone/>
                  <a:tabLst/>
                  <a:defRPr/>
                </a:pPr>
                <a:r>
                  <a:rPr kumimoji="0" lang="en" sz="2267" b="0" i="0" u="none" strike="noStrike" kern="1200" cap="none" spc="0" normalizeH="0" baseline="0" noProof="0">
                    <a:ln>
                      <a:noFill/>
                    </a:ln>
                    <a:solidFill>
                      <a:srgbClr val="FFFFFF"/>
                    </a:solidFill>
                    <a:effectLst/>
                    <a:uLnTx/>
                    <a:uFillTx/>
                    <a:latin typeface="Arial"/>
                    <a:ea typeface="+mn-ea"/>
                    <a:cs typeface="+mn-ea"/>
                    <a:sym typeface="+mn-lt"/>
                  </a:rPr>
                  <a:t>2022</a:t>
                </a:r>
                <a:endParaRPr kumimoji="0" sz="2489" b="0" i="0" u="none" strike="noStrike" kern="1200" cap="none" spc="0" normalizeH="0" baseline="0" noProof="0">
                  <a:ln>
                    <a:noFill/>
                  </a:ln>
                  <a:solidFill>
                    <a:srgbClr val="FFFFFF"/>
                  </a:solidFill>
                  <a:effectLst/>
                  <a:uLnTx/>
                  <a:uFillTx/>
                  <a:latin typeface="Arial"/>
                  <a:ea typeface="+mn-ea"/>
                  <a:cs typeface="+mn-ea"/>
                  <a:sym typeface="+mn-lt"/>
                </a:endParaRPr>
              </a:p>
            </p:txBody>
          </p:sp>
          <p:grpSp>
            <p:nvGrpSpPr>
              <p:cNvPr id="14" name="Google Shape;1271;p35">
                <a:extLst>
                  <a:ext uri="{FF2B5EF4-FFF2-40B4-BE49-F238E27FC236}">
                    <a16:creationId xmlns:a16="http://schemas.microsoft.com/office/drawing/2014/main" id="{F0F80CC6-9C40-4976-AF45-4788321E7CBC}"/>
                  </a:ext>
                </a:extLst>
              </p:cNvPr>
              <p:cNvGrpSpPr/>
              <p:nvPr/>
            </p:nvGrpSpPr>
            <p:grpSpPr>
              <a:xfrm>
                <a:off x="1887725" y="2418756"/>
                <a:ext cx="1088488" cy="882600"/>
                <a:chOff x="5523225" y="2445013"/>
                <a:chExt cx="1088488" cy="882600"/>
              </a:xfrm>
            </p:grpSpPr>
            <p:sp>
              <p:nvSpPr>
                <p:cNvPr id="15" name="Google Shape;1272;p35">
                  <a:extLst>
                    <a:ext uri="{FF2B5EF4-FFF2-40B4-BE49-F238E27FC236}">
                      <a16:creationId xmlns:a16="http://schemas.microsoft.com/office/drawing/2014/main" id="{804A9AA3-8CED-4ECC-AD22-A6CDA5E8FDE6}"/>
                    </a:ext>
                  </a:extLst>
                </p:cNvPr>
                <p:cNvSpPr txBox="1"/>
                <p:nvPr/>
              </p:nvSpPr>
              <p:spPr>
                <a:xfrm>
                  <a:off x="5523225" y="2730313"/>
                  <a:ext cx="1088400" cy="597300"/>
                </a:xfrm>
                <a:prstGeom prst="rect">
                  <a:avLst/>
                </a:prstGeom>
                <a:noFill/>
                <a:ln>
                  <a:noFill/>
                </a:ln>
              </p:spPr>
              <p:txBody>
                <a:bodyPr spcFirstLastPara="1" wrap="square" lIns="121900" tIns="121900" rIns="121900" bIns="12190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 sz="1600" b="0" i="0" u="none" strike="noStrike" kern="1200" cap="none" spc="0" normalizeH="0" baseline="0" noProof="0">
                      <a:ln>
                        <a:noFill/>
                      </a:ln>
                      <a:solidFill>
                        <a:srgbClr val="434343"/>
                      </a:solidFill>
                      <a:effectLst/>
                      <a:uLnTx/>
                      <a:uFillTx/>
                      <a:latin typeface="Arial"/>
                      <a:ea typeface="+mn-ea"/>
                      <a:cs typeface="+mn-ea"/>
                      <a:sym typeface="+mn-lt"/>
                    </a:rPr>
                    <a:t>Jupiter is a gas giant</a:t>
                  </a:r>
                  <a:endParaRPr kumimoji="0" sz="1600" b="0" i="0" u="none" strike="noStrike" kern="1200" cap="none" spc="0" normalizeH="0" baseline="0" noProof="0">
                    <a:ln>
                      <a:noFill/>
                    </a:ln>
                    <a:solidFill>
                      <a:srgbClr val="434343"/>
                    </a:solidFill>
                    <a:effectLst/>
                    <a:uLnTx/>
                    <a:uFillTx/>
                    <a:latin typeface="Arial"/>
                    <a:ea typeface="+mn-ea"/>
                    <a:cs typeface="+mn-ea"/>
                    <a:sym typeface="+mn-lt"/>
                  </a:endParaRPr>
                </a:p>
              </p:txBody>
            </p:sp>
            <p:sp>
              <p:nvSpPr>
                <p:cNvPr id="16" name="Google Shape;1273;p35">
                  <a:extLst>
                    <a:ext uri="{FF2B5EF4-FFF2-40B4-BE49-F238E27FC236}">
                      <a16:creationId xmlns:a16="http://schemas.microsoft.com/office/drawing/2014/main" id="{3E75404C-965A-43FD-ACCB-006E51C955E1}"/>
                    </a:ext>
                  </a:extLst>
                </p:cNvPr>
                <p:cNvSpPr txBox="1"/>
                <p:nvPr/>
              </p:nvSpPr>
              <p:spPr>
                <a:xfrm>
                  <a:off x="5523313" y="2445013"/>
                  <a:ext cx="1088400" cy="346800"/>
                </a:xfrm>
                <a:prstGeom prst="rect">
                  <a:avLst/>
                </a:prstGeom>
                <a:noFill/>
                <a:ln>
                  <a:noFill/>
                </a:ln>
              </p:spPr>
              <p:txBody>
                <a:bodyPr spcFirstLastPara="1" wrap="square" lIns="121900" tIns="121900" rIns="121900" bIns="12190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 sz="2267" b="0" i="0" u="none" strike="noStrike" kern="1200" cap="none" spc="0" normalizeH="0" baseline="0" noProof="0">
                      <a:ln>
                        <a:noFill/>
                      </a:ln>
                      <a:solidFill>
                        <a:srgbClr val="434343"/>
                      </a:solidFill>
                      <a:effectLst/>
                      <a:uLnTx/>
                      <a:uFillTx/>
                      <a:latin typeface="Arial"/>
                      <a:ea typeface="+mn-ea"/>
                      <a:cs typeface="+mn-ea"/>
                      <a:sym typeface="+mn-lt"/>
                    </a:rPr>
                    <a:t>Jupiter</a:t>
                  </a:r>
                  <a:endParaRPr kumimoji="0" sz="2267" b="0" i="0" u="none" strike="noStrike" kern="1200" cap="none" spc="0" normalizeH="0" baseline="0" noProof="0">
                    <a:ln>
                      <a:noFill/>
                    </a:ln>
                    <a:solidFill>
                      <a:srgbClr val="434343"/>
                    </a:solidFill>
                    <a:effectLst/>
                    <a:uLnTx/>
                    <a:uFillTx/>
                    <a:latin typeface="Arial"/>
                    <a:ea typeface="+mn-ea"/>
                    <a:cs typeface="+mn-ea"/>
                    <a:sym typeface="+mn-lt"/>
                  </a:endParaRPr>
                </a:p>
              </p:txBody>
            </p:sp>
          </p:grpSp>
        </p:grpSp>
        <p:grpSp>
          <p:nvGrpSpPr>
            <p:cNvPr id="8" name="Google Shape;1274;p35">
              <a:extLst>
                <a:ext uri="{FF2B5EF4-FFF2-40B4-BE49-F238E27FC236}">
                  <a16:creationId xmlns:a16="http://schemas.microsoft.com/office/drawing/2014/main" id="{C4D304D2-79CA-49E0-9DAA-C5B81122A34E}"/>
                </a:ext>
              </a:extLst>
            </p:cNvPr>
            <p:cNvGrpSpPr/>
            <p:nvPr/>
          </p:nvGrpSpPr>
          <p:grpSpPr>
            <a:xfrm>
              <a:off x="2071927" y="3479252"/>
              <a:ext cx="339253" cy="339253"/>
              <a:chOff x="5049725" y="249400"/>
              <a:chExt cx="481825" cy="481825"/>
            </a:xfrm>
          </p:grpSpPr>
          <p:sp>
            <p:nvSpPr>
              <p:cNvPr id="9" name="Google Shape;1275;p35">
                <a:extLst>
                  <a:ext uri="{FF2B5EF4-FFF2-40B4-BE49-F238E27FC236}">
                    <a16:creationId xmlns:a16="http://schemas.microsoft.com/office/drawing/2014/main" id="{3B7F4C59-46AD-4FAF-ACFC-75E0D81ADF00}"/>
                  </a:ext>
                </a:extLst>
              </p:cNvPr>
              <p:cNvSpPr/>
              <p:nvPr/>
            </p:nvSpPr>
            <p:spPr>
              <a:xfrm>
                <a:off x="5191775" y="560925"/>
                <a:ext cx="197625" cy="170300"/>
              </a:xfrm>
              <a:custGeom>
                <a:avLst/>
                <a:gdLst/>
                <a:ahLst/>
                <a:cxnLst/>
                <a:rect l="l" t="t" r="r" b="b"/>
                <a:pathLst>
                  <a:path w="7905" h="6812" extrusionOk="0">
                    <a:moveTo>
                      <a:pt x="6213" y="1129"/>
                    </a:moveTo>
                    <a:cubicBezTo>
                      <a:pt x="6523" y="1129"/>
                      <a:pt x="6776" y="1379"/>
                      <a:pt x="6776" y="1693"/>
                    </a:cubicBezTo>
                    <a:cubicBezTo>
                      <a:pt x="6776" y="2006"/>
                      <a:pt x="6523" y="2259"/>
                      <a:pt x="6213" y="2259"/>
                    </a:cubicBezTo>
                    <a:lnTo>
                      <a:pt x="1696" y="2259"/>
                    </a:lnTo>
                    <a:cubicBezTo>
                      <a:pt x="1383" y="2259"/>
                      <a:pt x="1130" y="2006"/>
                      <a:pt x="1130" y="1693"/>
                    </a:cubicBezTo>
                    <a:cubicBezTo>
                      <a:pt x="1130" y="1379"/>
                      <a:pt x="1383" y="1129"/>
                      <a:pt x="1696" y="1129"/>
                    </a:cubicBezTo>
                    <a:close/>
                    <a:moveTo>
                      <a:pt x="6213" y="3388"/>
                    </a:moveTo>
                    <a:cubicBezTo>
                      <a:pt x="6523" y="3388"/>
                      <a:pt x="6776" y="3638"/>
                      <a:pt x="6776" y="3951"/>
                    </a:cubicBezTo>
                    <a:cubicBezTo>
                      <a:pt x="6776" y="4264"/>
                      <a:pt x="6523" y="4517"/>
                      <a:pt x="6213" y="4517"/>
                    </a:cubicBezTo>
                    <a:lnTo>
                      <a:pt x="1696" y="4517"/>
                    </a:lnTo>
                    <a:cubicBezTo>
                      <a:pt x="1383" y="4517"/>
                      <a:pt x="1130" y="4264"/>
                      <a:pt x="1130" y="3951"/>
                    </a:cubicBezTo>
                    <a:cubicBezTo>
                      <a:pt x="1130" y="3638"/>
                      <a:pt x="1383" y="3388"/>
                      <a:pt x="1696" y="3388"/>
                    </a:cubicBezTo>
                    <a:close/>
                    <a:moveTo>
                      <a:pt x="0" y="0"/>
                    </a:moveTo>
                    <a:lnTo>
                      <a:pt x="0" y="6249"/>
                    </a:lnTo>
                    <a:cubicBezTo>
                      <a:pt x="0" y="6559"/>
                      <a:pt x="253" y="6812"/>
                      <a:pt x="567" y="6812"/>
                    </a:cubicBezTo>
                    <a:lnTo>
                      <a:pt x="7342" y="6812"/>
                    </a:lnTo>
                    <a:cubicBezTo>
                      <a:pt x="7652" y="6812"/>
                      <a:pt x="7905" y="6559"/>
                      <a:pt x="7905" y="6249"/>
                    </a:cubicBezTo>
                    <a:lnTo>
                      <a:pt x="7905" y="0"/>
                    </a:lnTo>
                    <a:close/>
                  </a:path>
                </a:pathLst>
              </a:custGeom>
              <a:solidFill>
                <a:schemeClr val="accent1">
                  <a:lumMod val="100000"/>
                </a:schemeClr>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435D74"/>
                  </a:solidFill>
                  <a:effectLst/>
                  <a:uLnTx/>
                  <a:uFillTx/>
                  <a:latin typeface="Arial"/>
                  <a:ea typeface="+mn-ea"/>
                  <a:cs typeface="+mn-ea"/>
                  <a:sym typeface="+mn-lt"/>
                </a:endParaRPr>
              </a:p>
            </p:txBody>
          </p:sp>
          <p:sp>
            <p:nvSpPr>
              <p:cNvPr id="10" name="Google Shape;1276;p35">
                <a:extLst>
                  <a:ext uri="{FF2B5EF4-FFF2-40B4-BE49-F238E27FC236}">
                    <a16:creationId xmlns:a16="http://schemas.microsoft.com/office/drawing/2014/main" id="{D4D848B5-74FD-4189-91BD-76FF165BF82F}"/>
                  </a:ext>
                </a:extLst>
              </p:cNvPr>
              <p:cNvSpPr/>
              <p:nvPr/>
            </p:nvSpPr>
            <p:spPr>
              <a:xfrm>
                <a:off x="5049725" y="249400"/>
                <a:ext cx="481825" cy="396225"/>
              </a:xfrm>
              <a:custGeom>
                <a:avLst/>
                <a:gdLst/>
                <a:ahLst/>
                <a:cxnLst/>
                <a:rect l="l" t="t" r="r" b="b"/>
                <a:pathLst>
                  <a:path w="19273" h="15849" extrusionOk="0">
                    <a:moveTo>
                      <a:pt x="4553" y="4518"/>
                    </a:moveTo>
                    <a:lnTo>
                      <a:pt x="4553" y="5686"/>
                    </a:lnTo>
                    <a:lnTo>
                      <a:pt x="3424" y="5686"/>
                    </a:lnTo>
                    <a:lnTo>
                      <a:pt x="3424" y="4948"/>
                    </a:lnTo>
                    <a:cubicBezTo>
                      <a:pt x="3424" y="4710"/>
                      <a:pt x="3617" y="4518"/>
                      <a:pt x="3852" y="4518"/>
                    </a:cubicBezTo>
                    <a:close/>
                    <a:moveTo>
                      <a:pt x="15418" y="4518"/>
                    </a:moveTo>
                    <a:cubicBezTo>
                      <a:pt x="15653" y="4518"/>
                      <a:pt x="15845" y="4710"/>
                      <a:pt x="15845" y="4948"/>
                    </a:cubicBezTo>
                    <a:lnTo>
                      <a:pt x="15845" y="5686"/>
                    </a:lnTo>
                    <a:lnTo>
                      <a:pt x="14716" y="5686"/>
                    </a:lnTo>
                    <a:lnTo>
                      <a:pt x="14716" y="4518"/>
                    </a:lnTo>
                    <a:close/>
                    <a:moveTo>
                      <a:pt x="10199" y="1130"/>
                    </a:moveTo>
                    <a:lnTo>
                      <a:pt x="10199" y="3954"/>
                    </a:lnTo>
                    <a:cubicBezTo>
                      <a:pt x="10199" y="4265"/>
                      <a:pt x="10452" y="4518"/>
                      <a:pt x="10765" y="4518"/>
                    </a:cubicBezTo>
                    <a:lnTo>
                      <a:pt x="13587" y="4518"/>
                    </a:lnTo>
                    <a:lnTo>
                      <a:pt x="13587" y="6815"/>
                    </a:lnTo>
                    <a:lnTo>
                      <a:pt x="5682" y="6815"/>
                    </a:lnTo>
                    <a:lnTo>
                      <a:pt x="5682" y="1130"/>
                    </a:lnTo>
                    <a:close/>
                    <a:moveTo>
                      <a:pt x="16412" y="9074"/>
                    </a:moveTo>
                    <a:cubicBezTo>
                      <a:pt x="16722" y="9074"/>
                      <a:pt x="16975" y="9324"/>
                      <a:pt x="16975" y="9637"/>
                    </a:cubicBezTo>
                    <a:cubicBezTo>
                      <a:pt x="16975" y="9950"/>
                      <a:pt x="16722" y="10203"/>
                      <a:pt x="16412" y="10203"/>
                    </a:cubicBezTo>
                    <a:lnTo>
                      <a:pt x="15282" y="10203"/>
                    </a:lnTo>
                    <a:cubicBezTo>
                      <a:pt x="14969" y="10203"/>
                      <a:pt x="14716" y="9950"/>
                      <a:pt x="14716" y="9637"/>
                    </a:cubicBezTo>
                    <a:cubicBezTo>
                      <a:pt x="14716" y="9324"/>
                      <a:pt x="14969" y="9074"/>
                      <a:pt x="15282" y="9074"/>
                    </a:cubicBezTo>
                    <a:close/>
                    <a:moveTo>
                      <a:pt x="10782" y="1"/>
                    </a:moveTo>
                    <a:cubicBezTo>
                      <a:pt x="10776" y="1"/>
                      <a:pt x="10771" y="1"/>
                      <a:pt x="10765" y="1"/>
                    </a:cubicBezTo>
                    <a:lnTo>
                      <a:pt x="5119" y="1"/>
                    </a:lnTo>
                    <a:cubicBezTo>
                      <a:pt x="4806" y="1"/>
                      <a:pt x="4553" y="254"/>
                      <a:pt x="4553" y="567"/>
                    </a:cubicBezTo>
                    <a:lnTo>
                      <a:pt x="4553" y="3388"/>
                    </a:lnTo>
                    <a:lnTo>
                      <a:pt x="3852" y="3388"/>
                    </a:lnTo>
                    <a:cubicBezTo>
                      <a:pt x="2993" y="3388"/>
                      <a:pt x="2295" y="4087"/>
                      <a:pt x="2295" y="4948"/>
                    </a:cubicBezTo>
                    <a:lnTo>
                      <a:pt x="2295" y="5686"/>
                    </a:lnTo>
                    <a:lnTo>
                      <a:pt x="1693" y="5686"/>
                    </a:lnTo>
                    <a:cubicBezTo>
                      <a:pt x="756" y="5686"/>
                      <a:pt x="0" y="6442"/>
                      <a:pt x="0" y="7378"/>
                    </a:cubicBezTo>
                    <a:lnTo>
                      <a:pt x="0" y="14154"/>
                    </a:lnTo>
                    <a:cubicBezTo>
                      <a:pt x="0" y="15090"/>
                      <a:pt x="756" y="15846"/>
                      <a:pt x="1693" y="15849"/>
                    </a:cubicBezTo>
                    <a:lnTo>
                      <a:pt x="4553" y="15849"/>
                    </a:lnTo>
                    <a:lnTo>
                      <a:pt x="4553" y="12461"/>
                    </a:lnTo>
                    <a:lnTo>
                      <a:pt x="3990" y="12461"/>
                    </a:lnTo>
                    <a:cubicBezTo>
                      <a:pt x="3677" y="12461"/>
                      <a:pt x="3424" y="12208"/>
                      <a:pt x="3424" y="11895"/>
                    </a:cubicBezTo>
                    <a:cubicBezTo>
                      <a:pt x="3424" y="11582"/>
                      <a:pt x="3677" y="11332"/>
                      <a:pt x="3990" y="11332"/>
                    </a:cubicBezTo>
                    <a:lnTo>
                      <a:pt x="15282" y="11332"/>
                    </a:lnTo>
                    <a:cubicBezTo>
                      <a:pt x="15593" y="11332"/>
                      <a:pt x="15845" y="11582"/>
                      <a:pt x="15845" y="11895"/>
                    </a:cubicBezTo>
                    <a:cubicBezTo>
                      <a:pt x="15845" y="12208"/>
                      <a:pt x="15593" y="12461"/>
                      <a:pt x="15282" y="12461"/>
                    </a:cubicBezTo>
                    <a:lnTo>
                      <a:pt x="14716" y="12461"/>
                    </a:lnTo>
                    <a:lnTo>
                      <a:pt x="14716" y="15849"/>
                    </a:lnTo>
                    <a:lnTo>
                      <a:pt x="17541" y="15849"/>
                    </a:lnTo>
                    <a:cubicBezTo>
                      <a:pt x="18474" y="15849"/>
                      <a:pt x="19272" y="15087"/>
                      <a:pt x="19272" y="14154"/>
                    </a:cubicBezTo>
                    <a:lnTo>
                      <a:pt x="19272" y="7378"/>
                    </a:lnTo>
                    <a:cubicBezTo>
                      <a:pt x="19272" y="6445"/>
                      <a:pt x="18474" y="5686"/>
                      <a:pt x="17541" y="5686"/>
                    </a:cubicBezTo>
                    <a:lnTo>
                      <a:pt x="16975" y="5686"/>
                    </a:lnTo>
                    <a:lnTo>
                      <a:pt x="16975" y="4948"/>
                    </a:lnTo>
                    <a:cubicBezTo>
                      <a:pt x="16975" y="4087"/>
                      <a:pt x="16276" y="3388"/>
                      <a:pt x="15418" y="3388"/>
                    </a:cubicBezTo>
                    <a:lnTo>
                      <a:pt x="14385" y="3388"/>
                    </a:lnTo>
                    <a:cubicBezTo>
                      <a:pt x="11026" y="30"/>
                      <a:pt x="11079" y="1"/>
                      <a:pt x="10782" y="1"/>
                    </a:cubicBezTo>
                    <a:close/>
                  </a:path>
                </a:pathLst>
              </a:custGeom>
              <a:solidFill>
                <a:schemeClr val="accent1">
                  <a:lumMod val="100000"/>
                </a:schemeClr>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435D74"/>
                  </a:solidFill>
                  <a:effectLst/>
                  <a:uLnTx/>
                  <a:uFillTx/>
                  <a:latin typeface="Arial"/>
                  <a:ea typeface="+mn-ea"/>
                  <a:cs typeface="+mn-ea"/>
                  <a:sym typeface="+mn-lt"/>
                </a:endParaRPr>
              </a:p>
            </p:txBody>
          </p:sp>
        </p:grpSp>
      </p:grpSp>
      <p:grpSp>
        <p:nvGrpSpPr>
          <p:cNvPr id="17" name="Google Shape;1277;p35">
            <a:extLst>
              <a:ext uri="{FF2B5EF4-FFF2-40B4-BE49-F238E27FC236}">
                <a16:creationId xmlns:a16="http://schemas.microsoft.com/office/drawing/2014/main" id="{2AF91D60-C21F-4A7E-B9BD-E33E34A657B7}"/>
              </a:ext>
            </a:extLst>
          </p:cNvPr>
          <p:cNvGrpSpPr/>
          <p:nvPr/>
        </p:nvGrpSpPr>
        <p:grpSpPr>
          <a:xfrm>
            <a:off x="3894751" y="1993292"/>
            <a:ext cx="2887952" cy="2871415"/>
            <a:chOff x="2921063" y="1783276"/>
            <a:chExt cx="2165964" cy="2153561"/>
          </a:xfrm>
        </p:grpSpPr>
        <p:grpSp>
          <p:nvGrpSpPr>
            <p:cNvPr id="18" name="Google Shape;1278;p35">
              <a:extLst>
                <a:ext uri="{FF2B5EF4-FFF2-40B4-BE49-F238E27FC236}">
                  <a16:creationId xmlns:a16="http://schemas.microsoft.com/office/drawing/2014/main" id="{7BC3B3D9-E4FD-41E9-9408-B8EF3D9B3959}"/>
                </a:ext>
              </a:extLst>
            </p:cNvPr>
            <p:cNvGrpSpPr/>
            <p:nvPr/>
          </p:nvGrpSpPr>
          <p:grpSpPr>
            <a:xfrm>
              <a:off x="2921063" y="1783276"/>
              <a:ext cx="2165964" cy="2153561"/>
              <a:chOff x="3302592" y="1783276"/>
              <a:chExt cx="2165964" cy="2153561"/>
            </a:xfrm>
          </p:grpSpPr>
          <p:sp>
            <p:nvSpPr>
              <p:cNvPr id="22" name="Google Shape;1279;p35">
                <a:extLst>
                  <a:ext uri="{FF2B5EF4-FFF2-40B4-BE49-F238E27FC236}">
                    <a16:creationId xmlns:a16="http://schemas.microsoft.com/office/drawing/2014/main" id="{A24884EA-0D11-4721-8D53-6F01FAD4BAEB}"/>
                  </a:ext>
                </a:extLst>
              </p:cNvPr>
              <p:cNvSpPr/>
              <p:nvPr/>
            </p:nvSpPr>
            <p:spPr>
              <a:xfrm>
                <a:off x="4656188" y="1783276"/>
                <a:ext cx="554496" cy="2153561"/>
              </a:xfrm>
              <a:custGeom>
                <a:avLst/>
                <a:gdLst/>
                <a:ahLst/>
                <a:cxnLst/>
                <a:rect l="l" t="t" r="r" b="b"/>
                <a:pathLst>
                  <a:path w="18075" h="70200" extrusionOk="0">
                    <a:moveTo>
                      <a:pt x="1072" y="1"/>
                    </a:moveTo>
                    <a:lnTo>
                      <a:pt x="1" y="84"/>
                    </a:lnTo>
                    <a:lnTo>
                      <a:pt x="12597" y="26718"/>
                    </a:lnTo>
                    <a:lnTo>
                      <a:pt x="16967" y="35981"/>
                    </a:lnTo>
                    <a:lnTo>
                      <a:pt x="13205" y="43959"/>
                    </a:lnTo>
                    <a:lnTo>
                      <a:pt x="834" y="70128"/>
                    </a:lnTo>
                    <a:lnTo>
                      <a:pt x="1906" y="70200"/>
                    </a:lnTo>
                    <a:lnTo>
                      <a:pt x="14038" y="44530"/>
                    </a:lnTo>
                    <a:lnTo>
                      <a:pt x="17943" y="36267"/>
                    </a:lnTo>
                    <a:lnTo>
                      <a:pt x="18074" y="35981"/>
                    </a:lnTo>
                    <a:lnTo>
                      <a:pt x="13383" y="26052"/>
                    </a:lnTo>
                    <a:lnTo>
                      <a:pt x="1072" y="1"/>
                    </a:ln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23" name="Google Shape;1280;p35">
                <a:extLst>
                  <a:ext uri="{FF2B5EF4-FFF2-40B4-BE49-F238E27FC236}">
                    <a16:creationId xmlns:a16="http://schemas.microsoft.com/office/drawing/2014/main" id="{98927590-8225-47DC-B34B-E655B4D6DC71}"/>
                  </a:ext>
                </a:extLst>
              </p:cNvPr>
              <p:cNvSpPr/>
              <p:nvPr/>
            </p:nvSpPr>
            <p:spPr>
              <a:xfrm>
                <a:off x="4906023" y="2578974"/>
                <a:ext cx="562533" cy="562165"/>
              </a:xfrm>
              <a:custGeom>
                <a:avLst/>
                <a:gdLst/>
                <a:ahLst/>
                <a:cxnLst/>
                <a:rect l="l" t="t" r="r" b="b"/>
                <a:pathLst>
                  <a:path w="18337" h="18325" extrusionOk="0">
                    <a:moveTo>
                      <a:pt x="9168" y="1"/>
                    </a:moveTo>
                    <a:cubicBezTo>
                      <a:pt x="4108" y="1"/>
                      <a:pt x="1" y="4108"/>
                      <a:pt x="1" y="9169"/>
                    </a:cubicBezTo>
                    <a:cubicBezTo>
                      <a:pt x="1" y="14229"/>
                      <a:pt x="4108" y="18324"/>
                      <a:pt x="9168" y="18324"/>
                    </a:cubicBezTo>
                    <a:cubicBezTo>
                      <a:pt x="14228" y="18324"/>
                      <a:pt x="18336" y="14229"/>
                      <a:pt x="18336" y="9169"/>
                    </a:cubicBezTo>
                    <a:cubicBezTo>
                      <a:pt x="18336" y="4108"/>
                      <a:pt x="14228" y="1"/>
                      <a:pt x="9168" y="1"/>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Tx/>
                  <a:buNone/>
                  <a:tabLst/>
                  <a:defRPr/>
                </a:pPr>
                <a:r>
                  <a:rPr kumimoji="0" lang="en" sz="2667" b="0" i="0" u="none" strike="noStrike" kern="1200" cap="none" spc="0" normalizeH="0" baseline="0" noProof="0">
                    <a:ln>
                      <a:noFill/>
                    </a:ln>
                    <a:solidFill>
                      <a:srgbClr val="FFFFFF"/>
                    </a:solidFill>
                    <a:effectLst/>
                    <a:uLnTx/>
                    <a:uFillTx/>
                    <a:latin typeface="Arial"/>
                    <a:ea typeface="+mn-ea"/>
                    <a:cs typeface="+mn-ea"/>
                    <a:sym typeface="+mn-lt"/>
                  </a:rPr>
                  <a:t>02</a:t>
                </a: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24" name="Google Shape;1281;p35">
                <a:extLst>
                  <a:ext uri="{FF2B5EF4-FFF2-40B4-BE49-F238E27FC236}">
                    <a16:creationId xmlns:a16="http://schemas.microsoft.com/office/drawing/2014/main" id="{E33C0D2A-B50C-4286-92A9-A65AB643A6A7}"/>
                  </a:ext>
                </a:extLst>
              </p:cNvPr>
              <p:cNvSpPr/>
              <p:nvPr/>
            </p:nvSpPr>
            <p:spPr>
              <a:xfrm>
                <a:off x="3302592" y="1783276"/>
                <a:ext cx="1260140" cy="397396"/>
              </a:xfrm>
              <a:custGeom>
                <a:avLst/>
                <a:gdLst/>
                <a:ahLst/>
                <a:cxnLst/>
                <a:rect l="l" t="t" r="r" b="b"/>
                <a:pathLst>
                  <a:path w="41077" h="12954" extrusionOk="0">
                    <a:moveTo>
                      <a:pt x="6477" y="0"/>
                    </a:moveTo>
                    <a:cubicBezTo>
                      <a:pt x="2893" y="0"/>
                      <a:pt x="0" y="2893"/>
                      <a:pt x="0" y="6477"/>
                    </a:cubicBezTo>
                    <a:cubicBezTo>
                      <a:pt x="0" y="10049"/>
                      <a:pt x="2893" y="12954"/>
                      <a:pt x="6477" y="12954"/>
                    </a:cubicBezTo>
                    <a:lnTo>
                      <a:pt x="34600" y="12954"/>
                    </a:lnTo>
                    <a:cubicBezTo>
                      <a:pt x="38183" y="12954"/>
                      <a:pt x="41077" y="10049"/>
                      <a:pt x="41077" y="6477"/>
                    </a:cubicBezTo>
                    <a:cubicBezTo>
                      <a:pt x="41077" y="2893"/>
                      <a:pt x="38183" y="0"/>
                      <a:pt x="34600" y="0"/>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Tx/>
                  <a:buNone/>
                  <a:tabLst/>
                  <a:defRPr/>
                </a:pPr>
                <a:r>
                  <a:rPr kumimoji="0" lang="en" sz="2267" b="0" i="0" u="none" strike="noStrike" kern="1200" cap="none" spc="0" normalizeH="0" baseline="0" noProof="0">
                    <a:ln>
                      <a:noFill/>
                    </a:ln>
                    <a:solidFill>
                      <a:srgbClr val="FFFFFF"/>
                    </a:solidFill>
                    <a:effectLst/>
                    <a:uLnTx/>
                    <a:uFillTx/>
                    <a:latin typeface="Arial"/>
                    <a:ea typeface="+mn-ea"/>
                    <a:cs typeface="+mn-ea"/>
                    <a:sym typeface="+mn-lt"/>
                  </a:rPr>
                  <a:t>2021</a:t>
                </a:r>
                <a:endParaRPr kumimoji="0" sz="2489" b="0" i="0" u="none" strike="noStrike" kern="1200" cap="none" spc="0" normalizeH="0" baseline="0" noProof="0">
                  <a:ln>
                    <a:noFill/>
                  </a:ln>
                  <a:solidFill>
                    <a:srgbClr val="FFFFFF"/>
                  </a:solidFill>
                  <a:effectLst/>
                  <a:uLnTx/>
                  <a:uFillTx/>
                  <a:latin typeface="Arial"/>
                  <a:ea typeface="+mn-ea"/>
                  <a:cs typeface="+mn-ea"/>
                  <a:sym typeface="+mn-lt"/>
                </a:endParaRPr>
              </a:p>
            </p:txBody>
          </p:sp>
          <p:grpSp>
            <p:nvGrpSpPr>
              <p:cNvPr id="25" name="Google Shape;1282;p35">
                <a:extLst>
                  <a:ext uri="{FF2B5EF4-FFF2-40B4-BE49-F238E27FC236}">
                    <a16:creationId xmlns:a16="http://schemas.microsoft.com/office/drawing/2014/main" id="{B2C01664-1E1D-4D01-9A91-C878D4D584C6}"/>
                  </a:ext>
                </a:extLst>
              </p:cNvPr>
              <p:cNvGrpSpPr/>
              <p:nvPr/>
            </p:nvGrpSpPr>
            <p:grpSpPr>
              <a:xfrm>
                <a:off x="3741325" y="2418756"/>
                <a:ext cx="1088488" cy="882600"/>
                <a:chOff x="5523225" y="2445013"/>
                <a:chExt cx="1088488" cy="882600"/>
              </a:xfrm>
            </p:grpSpPr>
            <p:sp>
              <p:nvSpPr>
                <p:cNvPr id="26" name="Google Shape;1283;p35">
                  <a:extLst>
                    <a:ext uri="{FF2B5EF4-FFF2-40B4-BE49-F238E27FC236}">
                      <a16:creationId xmlns:a16="http://schemas.microsoft.com/office/drawing/2014/main" id="{0920EE6A-A27F-42AB-8911-18A5E79915A6}"/>
                    </a:ext>
                  </a:extLst>
                </p:cNvPr>
                <p:cNvSpPr txBox="1"/>
                <p:nvPr/>
              </p:nvSpPr>
              <p:spPr>
                <a:xfrm>
                  <a:off x="5523225" y="2730313"/>
                  <a:ext cx="1088400" cy="597300"/>
                </a:xfrm>
                <a:prstGeom prst="rect">
                  <a:avLst/>
                </a:prstGeom>
                <a:noFill/>
                <a:ln>
                  <a:noFill/>
                </a:ln>
              </p:spPr>
              <p:txBody>
                <a:bodyPr spcFirstLastPara="1" wrap="square" lIns="121900" tIns="121900" rIns="121900" bIns="12190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 sz="1600" b="0" i="0" u="none" strike="noStrike" kern="1200" cap="none" spc="0" normalizeH="0" baseline="0" noProof="0">
                      <a:ln>
                        <a:noFill/>
                      </a:ln>
                      <a:solidFill>
                        <a:srgbClr val="434343"/>
                      </a:solidFill>
                      <a:effectLst/>
                      <a:uLnTx/>
                      <a:uFillTx/>
                      <a:latin typeface="Arial"/>
                      <a:ea typeface="+mn-ea"/>
                      <a:cs typeface="+mn-ea"/>
                      <a:sym typeface="+mn-lt"/>
                    </a:rPr>
                    <a:t>Saturn is ringed</a:t>
                  </a:r>
                  <a:endParaRPr kumimoji="0" sz="1600" b="0" i="0" u="none" strike="noStrike" kern="1200" cap="none" spc="0" normalizeH="0" baseline="0" noProof="0">
                    <a:ln>
                      <a:noFill/>
                    </a:ln>
                    <a:solidFill>
                      <a:srgbClr val="434343"/>
                    </a:solidFill>
                    <a:effectLst/>
                    <a:uLnTx/>
                    <a:uFillTx/>
                    <a:latin typeface="Arial"/>
                    <a:ea typeface="+mn-ea"/>
                    <a:cs typeface="+mn-ea"/>
                    <a:sym typeface="+mn-lt"/>
                  </a:endParaRPr>
                </a:p>
              </p:txBody>
            </p:sp>
            <p:sp>
              <p:nvSpPr>
                <p:cNvPr id="27" name="Google Shape;1284;p35">
                  <a:extLst>
                    <a:ext uri="{FF2B5EF4-FFF2-40B4-BE49-F238E27FC236}">
                      <a16:creationId xmlns:a16="http://schemas.microsoft.com/office/drawing/2014/main" id="{8E87C4C8-0C77-4353-BEE2-AC2A037BCB75}"/>
                    </a:ext>
                  </a:extLst>
                </p:cNvPr>
                <p:cNvSpPr txBox="1"/>
                <p:nvPr/>
              </p:nvSpPr>
              <p:spPr>
                <a:xfrm>
                  <a:off x="5523313" y="2445013"/>
                  <a:ext cx="1088400" cy="346800"/>
                </a:xfrm>
                <a:prstGeom prst="rect">
                  <a:avLst/>
                </a:prstGeom>
                <a:noFill/>
                <a:ln>
                  <a:noFill/>
                </a:ln>
              </p:spPr>
              <p:txBody>
                <a:bodyPr spcFirstLastPara="1" wrap="square" lIns="121900" tIns="121900" rIns="121900" bIns="12190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 sz="2267" b="0" i="0" u="none" strike="noStrike" kern="1200" cap="none" spc="0" normalizeH="0" baseline="0" noProof="0">
                      <a:ln>
                        <a:noFill/>
                      </a:ln>
                      <a:solidFill>
                        <a:srgbClr val="434343"/>
                      </a:solidFill>
                      <a:effectLst/>
                      <a:uLnTx/>
                      <a:uFillTx/>
                      <a:latin typeface="Arial"/>
                      <a:ea typeface="+mn-ea"/>
                      <a:cs typeface="+mn-ea"/>
                      <a:sym typeface="+mn-lt"/>
                    </a:rPr>
                    <a:t>Saturn</a:t>
                  </a:r>
                  <a:endParaRPr kumimoji="0" sz="2267" b="0" i="0" u="none" strike="noStrike" kern="1200" cap="none" spc="0" normalizeH="0" baseline="0" noProof="0">
                    <a:ln>
                      <a:noFill/>
                    </a:ln>
                    <a:solidFill>
                      <a:srgbClr val="434343"/>
                    </a:solidFill>
                    <a:effectLst/>
                    <a:uLnTx/>
                    <a:uFillTx/>
                    <a:latin typeface="Arial"/>
                    <a:ea typeface="+mn-ea"/>
                    <a:cs typeface="+mn-ea"/>
                    <a:sym typeface="+mn-lt"/>
                  </a:endParaRPr>
                </a:p>
              </p:txBody>
            </p:sp>
          </p:grpSp>
        </p:grpSp>
        <p:grpSp>
          <p:nvGrpSpPr>
            <p:cNvPr id="19" name="Google Shape;1285;p35">
              <a:extLst>
                <a:ext uri="{FF2B5EF4-FFF2-40B4-BE49-F238E27FC236}">
                  <a16:creationId xmlns:a16="http://schemas.microsoft.com/office/drawing/2014/main" id="{A3021854-EB2C-4B60-A09D-0CCBC21BA2BF}"/>
                </a:ext>
              </a:extLst>
            </p:cNvPr>
            <p:cNvGrpSpPr/>
            <p:nvPr/>
          </p:nvGrpSpPr>
          <p:grpSpPr>
            <a:xfrm>
              <a:off x="3812743" y="3597577"/>
              <a:ext cx="339253" cy="339253"/>
              <a:chOff x="5660400" y="238125"/>
              <a:chExt cx="481825" cy="481825"/>
            </a:xfrm>
          </p:grpSpPr>
          <p:sp>
            <p:nvSpPr>
              <p:cNvPr id="20" name="Google Shape;1286;p35">
                <a:extLst>
                  <a:ext uri="{FF2B5EF4-FFF2-40B4-BE49-F238E27FC236}">
                    <a16:creationId xmlns:a16="http://schemas.microsoft.com/office/drawing/2014/main" id="{740CC54C-298A-4954-BDBD-8CE722F87A27}"/>
                  </a:ext>
                </a:extLst>
              </p:cNvPr>
              <p:cNvSpPr/>
              <p:nvPr/>
            </p:nvSpPr>
            <p:spPr>
              <a:xfrm>
                <a:off x="5660400" y="436700"/>
                <a:ext cx="481825" cy="283250"/>
              </a:xfrm>
              <a:custGeom>
                <a:avLst/>
                <a:gdLst/>
                <a:ahLst/>
                <a:cxnLst/>
                <a:rect l="l" t="t" r="r" b="b"/>
                <a:pathLst>
                  <a:path w="19273" h="11330" extrusionOk="0">
                    <a:moveTo>
                      <a:pt x="5120" y="1130"/>
                    </a:moveTo>
                    <a:cubicBezTo>
                      <a:pt x="5433" y="1130"/>
                      <a:pt x="5683" y="1380"/>
                      <a:pt x="5683" y="1693"/>
                    </a:cubicBezTo>
                    <a:cubicBezTo>
                      <a:pt x="5683" y="2006"/>
                      <a:pt x="5433" y="2259"/>
                      <a:pt x="5120" y="2259"/>
                    </a:cubicBezTo>
                    <a:lnTo>
                      <a:pt x="2861" y="2259"/>
                    </a:lnTo>
                    <a:cubicBezTo>
                      <a:pt x="2548" y="2259"/>
                      <a:pt x="2298" y="2006"/>
                      <a:pt x="2298" y="1693"/>
                    </a:cubicBezTo>
                    <a:cubicBezTo>
                      <a:pt x="2298" y="1380"/>
                      <a:pt x="2548" y="1130"/>
                      <a:pt x="2861" y="1130"/>
                    </a:cubicBezTo>
                    <a:close/>
                    <a:moveTo>
                      <a:pt x="10766" y="1130"/>
                    </a:moveTo>
                    <a:cubicBezTo>
                      <a:pt x="11079" y="1130"/>
                      <a:pt x="11329" y="1380"/>
                      <a:pt x="11329" y="1693"/>
                    </a:cubicBezTo>
                    <a:cubicBezTo>
                      <a:pt x="11329" y="2006"/>
                      <a:pt x="11079" y="2259"/>
                      <a:pt x="10766" y="2259"/>
                    </a:cubicBezTo>
                    <a:lnTo>
                      <a:pt x="8507" y="2259"/>
                    </a:lnTo>
                    <a:cubicBezTo>
                      <a:pt x="8194" y="2259"/>
                      <a:pt x="7944" y="2006"/>
                      <a:pt x="7944" y="1693"/>
                    </a:cubicBezTo>
                    <a:cubicBezTo>
                      <a:pt x="7944" y="1380"/>
                      <a:pt x="8194" y="1130"/>
                      <a:pt x="8507" y="1130"/>
                    </a:cubicBezTo>
                    <a:close/>
                    <a:moveTo>
                      <a:pt x="16412" y="1130"/>
                    </a:moveTo>
                    <a:cubicBezTo>
                      <a:pt x="16725" y="1130"/>
                      <a:pt x="16975" y="1380"/>
                      <a:pt x="16975" y="1693"/>
                    </a:cubicBezTo>
                    <a:cubicBezTo>
                      <a:pt x="16975" y="2006"/>
                      <a:pt x="16725" y="2259"/>
                      <a:pt x="16412" y="2259"/>
                    </a:cubicBezTo>
                    <a:lnTo>
                      <a:pt x="14153" y="2259"/>
                    </a:lnTo>
                    <a:cubicBezTo>
                      <a:pt x="13840" y="2259"/>
                      <a:pt x="13590" y="2006"/>
                      <a:pt x="13590" y="1693"/>
                    </a:cubicBezTo>
                    <a:cubicBezTo>
                      <a:pt x="13590" y="1380"/>
                      <a:pt x="13840" y="1130"/>
                      <a:pt x="14153" y="1130"/>
                    </a:cubicBezTo>
                    <a:close/>
                    <a:moveTo>
                      <a:pt x="5120" y="4518"/>
                    </a:moveTo>
                    <a:cubicBezTo>
                      <a:pt x="5433" y="4518"/>
                      <a:pt x="5683" y="4767"/>
                      <a:pt x="5683" y="5081"/>
                    </a:cubicBezTo>
                    <a:cubicBezTo>
                      <a:pt x="5683" y="5394"/>
                      <a:pt x="5433" y="5647"/>
                      <a:pt x="5120" y="5647"/>
                    </a:cubicBezTo>
                    <a:lnTo>
                      <a:pt x="2861" y="5647"/>
                    </a:lnTo>
                    <a:cubicBezTo>
                      <a:pt x="2548" y="5647"/>
                      <a:pt x="2298" y="5394"/>
                      <a:pt x="2298" y="5081"/>
                    </a:cubicBezTo>
                    <a:cubicBezTo>
                      <a:pt x="2298" y="4767"/>
                      <a:pt x="2548" y="4518"/>
                      <a:pt x="2861" y="4518"/>
                    </a:cubicBezTo>
                    <a:close/>
                    <a:moveTo>
                      <a:pt x="10766" y="4518"/>
                    </a:moveTo>
                    <a:cubicBezTo>
                      <a:pt x="11079" y="4518"/>
                      <a:pt x="11329" y="4767"/>
                      <a:pt x="11329" y="5081"/>
                    </a:cubicBezTo>
                    <a:cubicBezTo>
                      <a:pt x="11329" y="5394"/>
                      <a:pt x="11079" y="5647"/>
                      <a:pt x="10766" y="5647"/>
                    </a:cubicBezTo>
                    <a:lnTo>
                      <a:pt x="8507" y="5647"/>
                    </a:lnTo>
                    <a:cubicBezTo>
                      <a:pt x="8194" y="5647"/>
                      <a:pt x="7944" y="5394"/>
                      <a:pt x="7944" y="5081"/>
                    </a:cubicBezTo>
                    <a:cubicBezTo>
                      <a:pt x="7944" y="4767"/>
                      <a:pt x="8194" y="4518"/>
                      <a:pt x="8507" y="4518"/>
                    </a:cubicBezTo>
                    <a:close/>
                    <a:moveTo>
                      <a:pt x="16412" y="4518"/>
                    </a:moveTo>
                    <a:cubicBezTo>
                      <a:pt x="16725" y="4518"/>
                      <a:pt x="16975" y="4767"/>
                      <a:pt x="16975" y="5081"/>
                    </a:cubicBezTo>
                    <a:cubicBezTo>
                      <a:pt x="16975" y="5394"/>
                      <a:pt x="16725" y="5647"/>
                      <a:pt x="16412" y="5647"/>
                    </a:cubicBezTo>
                    <a:lnTo>
                      <a:pt x="14153" y="5647"/>
                    </a:lnTo>
                    <a:cubicBezTo>
                      <a:pt x="13840" y="5647"/>
                      <a:pt x="13590" y="5394"/>
                      <a:pt x="13590" y="5081"/>
                    </a:cubicBezTo>
                    <a:cubicBezTo>
                      <a:pt x="13590" y="4767"/>
                      <a:pt x="13840" y="4518"/>
                      <a:pt x="14153" y="4518"/>
                    </a:cubicBezTo>
                    <a:close/>
                    <a:moveTo>
                      <a:pt x="5120" y="7941"/>
                    </a:moveTo>
                    <a:cubicBezTo>
                      <a:pt x="5433" y="7941"/>
                      <a:pt x="5683" y="8194"/>
                      <a:pt x="5683" y="8507"/>
                    </a:cubicBezTo>
                    <a:cubicBezTo>
                      <a:pt x="5683" y="8818"/>
                      <a:pt x="5433" y="9071"/>
                      <a:pt x="5120" y="9071"/>
                    </a:cubicBezTo>
                    <a:lnTo>
                      <a:pt x="2861" y="9071"/>
                    </a:lnTo>
                    <a:cubicBezTo>
                      <a:pt x="2548" y="9071"/>
                      <a:pt x="2298" y="8818"/>
                      <a:pt x="2298" y="8507"/>
                    </a:cubicBezTo>
                    <a:cubicBezTo>
                      <a:pt x="2298" y="8194"/>
                      <a:pt x="2548" y="7941"/>
                      <a:pt x="2861" y="7941"/>
                    </a:cubicBezTo>
                    <a:close/>
                    <a:moveTo>
                      <a:pt x="10766" y="7941"/>
                    </a:moveTo>
                    <a:cubicBezTo>
                      <a:pt x="11079" y="7941"/>
                      <a:pt x="11329" y="8194"/>
                      <a:pt x="11329" y="8507"/>
                    </a:cubicBezTo>
                    <a:cubicBezTo>
                      <a:pt x="11329" y="8818"/>
                      <a:pt x="11079" y="9071"/>
                      <a:pt x="10766" y="9071"/>
                    </a:cubicBezTo>
                    <a:lnTo>
                      <a:pt x="8507" y="9071"/>
                    </a:lnTo>
                    <a:cubicBezTo>
                      <a:pt x="8194" y="9071"/>
                      <a:pt x="7944" y="8818"/>
                      <a:pt x="7944" y="8507"/>
                    </a:cubicBezTo>
                    <a:cubicBezTo>
                      <a:pt x="7944" y="8194"/>
                      <a:pt x="8194" y="7941"/>
                      <a:pt x="8507" y="7941"/>
                    </a:cubicBezTo>
                    <a:close/>
                    <a:moveTo>
                      <a:pt x="16412" y="7941"/>
                    </a:moveTo>
                    <a:cubicBezTo>
                      <a:pt x="16725" y="7941"/>
                      <a:pt x="16975" y="8194"/>
                      <a:pt x="16975" y="8507"/>
                    </a:cubicBezTo>
                    <a:cubicBezTo>
                      <a:pt x="16975" y="8818"/>
                      <a:pt x="16725" y="9071"/>
                      <a:pt x="16412" y="9071"/>
                    </a:cubicBezTo>
                    <a:lnTo>
                      <a:pt x="14153" y="9071"/>
                    </a:lnTo>
                    <a:cubicBezTo>
                      <a:pt x="13840" y="9071"/>
                      <a:pt x="13590" y="8818"/>
                      <a:pt x="13590" y="8507"/>
                    </a:cubicBezTo>
                    <a:cubicBezTo>
                      <a:pt x="13590" y="8194"/>
                      <a:pt x="13840" y="7941"/>
                      <a:pt x="14153" y="7941"/>
                    </a:cubicBezTo>
                    <a:close/>
                    <a:moveTo>
                      <a:pt x="1" y="1"/>
                    </a:moveTo>
                    <a:lnTo>
                      <a:pt x="1" y="9637"/>
                    </a:lnTo>
                    <a:cubicBezTo>
                      <a:pt x="1" y="10570"/>
                      <a:pt x="759" y="11329"/>
                      <a:pt x="1696" y="11329"/>
                    </a:cubicBezTo>
                    <a:lnTo>
                      <a:pt x="17580" y="11329"/>
                    </a:lnTo>
                    <a:cubicBezTo>
                      <a:pt x="18514" y="11329"/>
                      <a:pt x="19273" y="10570"/>
                      <a:pt x="19273" y="9637"/>
                    </a:cubicBezTo>
                    <a:lnTo>
                      <a:pt x="19273" y="1"/>
                    </a:lnTo>
                    <a:close/>
                  </a:path>
                </a:pathLst>
              </a:custGeom>
              <a:solidFill>
                <a:schemeClr val="accent1">
                  <a:lumMod val="100000"/>
                </a:schemeClr>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435D74"/>
                  </a:solidFill>
                  <a:effectLst/>
                  <a:uLnTx/>
                  <a:uFillTx/>
                  <a:latin typeface="Arial"/>
                  <a:ea typeface="+mn-ea"/>
                  <a:cs typeface="+mn-ea"/>
                  <a:sym typeface="+mn-lt"/>
                </a:endParaRPr>
              </a:p>
            </p:txBody>
          </p:sp>
          <p:sp>
            <p:nvSpPr>
              <p:cNvPr id="21" name="Google Shape;1287;p35">
                <a:extLst>
                  <a:ext uri="{FF2B5EF4-FFF2-40B4-BE49-F238E27FC236}">
                    <a16:creationId xmlns:a16="http://schemas.microsoft.com/office/drawing/2014/main" id="{9759EE69-D165-4ACF-BED6-D0BA7E47F76C}"/>
                  </a:ext>
                </a:extLst>
              </p:cNvPr>
              <p:cNvSpPr/>
              <p:nvPr/>
            </p:nvSpPr>
            <p:spPr>
              <a:xfrm>
                <a:off x="5660400" y="238125"/>
                <a:ext cx="481825" cy="170375"/>
              </a:xfrm>
              <a:custGeom>
                <a:avLst/>
                <a:gdLst/>
                <a:ahLst/>
                <a:cxnLst/>
                <a:rect l="l" t="t" r="r" b="b"/>
                <a:pathLst>
                  <a:path w="19273" h="6815" extrusionOk="0">
                    <a:moveTo>
                      <a:pt x="3990" y="1129"/>
                    </a:moveTo>
                    <a:cubicBezTo>
                      <a:pt x="4304" y="1129"/>
                      <a:pt x="4557" y="1382"/>
                      <a:pt x="4557" y="1695"/>
                    </a:cubicBezTo>
                    <a:lnTo>
                      <a:pt x="4557" y="3954"/>
                    </a:lnTo>
                    <a:cubicBezTo>
                      <a:pt x="4557" y="4264"/>
                      <a:pt x="4304" y="4517"/>
                      <a:pt x="3990" y="4517"/>
                    </a:cubicBezTo>
                    <a:cubicBezTo>
                      <a:pt x="3677" y="4517"/>
                      <a:pt x="3427" y="4264"/>
                      <a:pt x="3427" y="3954"/>
                    </a:cubicBezTo>
                    <a:lnTo>
                      <a:pt x="3427" y="1695"/>
                    </a:lnTo>
                    <a:cubicBezTo>
                      <a:pt x="3427" y="1382"/>
                      <a:pt x="3677" y="1129"/>
                      <a:pt x="3990" y="1129"/>
                    </a:cubicBezTo>
                    <a:close/>
                    <a:moveTo>
                      <a:pt x="9637" y="1129"/>
                    </a:moveTo>
                    <a:cubicBezTo>
                      <a:pt x="9950" y="1129"/>
                      <a:pt x="10203" y="1382"/>
                      <a:pt x="10203" y="1695"/>
                    </a:cubicBezTo>
                    <a:lnTo>
                      <a:pt x="10203" y="3954"/>
                    </a:lnTo>
                    <a:cubicBezTo>
                      <a:pt x="10203" y="4264"/>
                      <a:pt x="9950" y="4517"/>
                      <a:pt x="9637" y="4517"/>
                    </a:cubicBezTo>
                    <a:cubicBezTo>
                      <a:pt x="9323" y="4517"/>
                      <a:pt x="9073" y="4264"/>
                      <a:pt x="9073" y="3954"/>
                    </a:cubicBezTo>
                    <a:lnTo>
                      <a:pt x="9073" y="1695"/>
                    </a:lnTo>
                    <a:cubicBezTo>
                      <a:pt x="9073" y="1382"/>
                      <a:pt x="9323" y="1129"/>
                      <a:pt x="9637" y="1129"/>
                    </a:cubicBezTo>
                    <a:close/>
                    <a:moveTo>
                      <a:pt x="15283" y="1129"/>
                    </a:moveTo>
                    <a:cubicBezTo>
                      <a:pt x="15596" y="1129"/>
                      <a:pt x="15849" y="1382"/>
                      <a:pt x="15849" y="1695"/>
                    </a:cubicBezTo>
                    <a:lnTo>
                      <a:pt x="15849" y="3954"/>
                    </a:lnTo>
                    <a:cubicBezTo>
                      <a:pt x="15849" y="4264"/>
                      <a:pt x="15596" y="4517"/>
                      <a:pt x="15283" y="4517"/>
                    </a:cubicBezTo>
                    <a:cubicBezTo>
                      <a:pt x="14969" y="4517"/>
                      <a:pt x="14719" y="4264"/>
                      <a:pt x="14719" y="3954"/>
                    </a:cubicBezTo>
                    <a:lnTo>
                      <a:pt x="14719" y="1695"/>
                    </a:lnTo>
                    <a:cubicBezTo>
                      <a:pt x="14719" y="1382"/>
                      <a:pt x="14969" y="1129"/>
                      <a:pt x="15283" y="1129"/>
                    </a:cubicBezTo>
                    <a:close/>
                    <a:moveTo>
                      <a:pt x="3990" y="0"/>
                    </a:moveTo>
                    <a:cubicBezTo>
                      <a:pt x="3054" y="0"/>
                      <a:pt x="2298" y="759"/>
                      <a:pt x="2298" y="1695"/>
                    </a:cubicBezTo>
                    <a:lnTo>
                      <a:pt x="2298" y="2258"/>
                    </a:lnTo>
                    <a:lnTo>
                      <a:pt x="1696" y="2258"/>
                    </a:lnTo>
                    <a:cubicBezTo>
                      <a:pt x="759" y="2258"/>
                      <a:pt x="1" y="3017"/>
                      <a:pt x="1" y="3954"/>
                    </a:cubicBezTo>
                    <a:lnTo>
                      <a:pt x="1" y="6814"/>
                    </a:lnTo>
                    <a:lnTo>
                      <a:pt x="19273" y="6814"/>
                    </a:lnTo>
                    <a:lnTo>
                      <a:pt x="19273" y="3954"/>
                    </a:lnTo>
                    <a:cubicBezTo>
                      <a:pt x="19273" y="3017"/>
                      <a:pt x="18514" y="2258"/>
                      <a:pt x="17580" y="2258"/>
                    </a:cubicBezTo>
                    <a:lnTo>
                      <a:pt x="16978" y="2258"/>
                    </a:lnTo>
                    <a:lnTo>
                      <a:pt x="16978" y="1695"/>
                    </a:lnTo>
                    <a:cubicBezTo>
                      <a:pt x="16978" y="759"/>
                      <a:pt x="16219" y="0"/>
                      <a:pt x="15283" y="0"/>
                    </a:cubicBezTo>
                    <a:cubicBezTo>
                      <a:pt x="14346" y="0"/>
                      <a:pt x="13590" y="759"/>
                      <a:pt x="13590" y="1695"/>
                    </a:cubicBezTo>
                    <a:lnTo>
                      <a:pt x="13590" y="2258"/>
                    </a:lnTo>
                    <a:lnTo>
                      <a:pt x="11332" y="2258"/>
                    </a:lnTo>
                    <a:lnTo>
                      <a:pt x="11332" y="1695"/>
                    </a:lnTo>
                    <a:cubicBezTo>
                      <a:pt x="11332" y="759"/>
                      <a:pt x="10573" y="0"/>
                      <a:pt x="9637" y="0"/>
                    </a:cubicBezTo>
                    <a:cubicBezTo>
                      <a:pt x="8700" y="0"/>
                      <a:pt x="7944" y="759"/>
                      <a:pt x="7944" y="1695"/>
                    </a:cubicBezTo>
                    <a:lnTo>
                      <a:pt x="7944" y="2258"/>
                    </a:lnTo>
                    <a:lnTo>
                      <a:pt x="5686" y="2258"/>
                    </a:lnTo>
                    <a:lnTo>
                      <a:pt x="5686" y="1695"/>
                    </a:lnTo>
                    <a:cubicBezTo>
                      <a:pt x="5686" y="759"/>
                      <a:pt x="4927" y="0"/>
                      <a:pt x="3990" y="0"/>
                    </a:cubicBezTo>
                    <a:close/>
                  </a:path>
                </a:pathLst>
              </a:custGeom>
              <a:solidFill>
                <a:schemeClr val="accent1">
                  <a:lumMod val="100000"/>
                </a:schemeClr>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435D74"/>
                  </a:solidFill>
                  <a:effectLst/>
                  <a:uLnTx/>
                  <a:uFillTx/>
                  <a:latin typeface="Arial"/>
                  <a:ea typeface="+mn-ea"/>
                  <a:cs typeface="+mn-ea"/>
                  <a:sym typeface="+mn-lt"/>
                </a:endParaRPr>
              </a:p>
            </p:txBody>
          </p:sp>
        </p:grpSp>
      </p:grpSp>
      <p:grpSp>
        <p:nvGrpSpPr>
          <p:cNvPr id="29" name="Google Shape;1289;p35">
            <a:extLst>
              <a:ext uri="{FF2B5EF4-FFF2-40B4-BE49-F238E27FC236}">
                <a16:creationId xmlns:a16="http://schemas.microsoft.com/office/drawing/2014/main" id="{7D934BD0-2C9B-4D7B-896C-DDD6FFCF9DDE}"/>
              </a:ext>
            </a:extLst>
          </p:cNvPr>
          <p:cNvGrpSpPr/>
          <p:nvPr/>
        </p:nvGrpSpPr>
        <p:grpSpPr>
          <a:xfrm>
            <a:off x="6282159" y="1835508"/>
            <a:ext cx="2960515" cy="3186983"/>
            <a:chOff x="5025181" y="1664938"/>
            <a:chExt cx="2220386" cy="2390237"/>
          </a:xfrm>
        </p:grpSpPr>
        <p:sp>
          <p:nvSpPr>
            <p:cNvPr id="36" name="Google Shape;1290;p35">
              <a:extLst>
                <a:ext uri="{FF2B5EF4-FFF2-40B4-BE49-F238E27FC236}">
                  <a16:creationId xmlns:a16="http://schemas.microsoft.com/office/drawing/2014/main" id="{DCE8362D-5D1F-4864-BE37-37626D62C467}"/>
                </a:ext>
              </a:extLst>
            </p:cNvPr>
            <p:cNvSpPr/>
            <p:nvPr/>
          </p:nvSpPr>
          <p:spPr>
            <a:xfrm>
              <a:off x="6378072" y="1664938"/>
              <a:ext cx="610360" cy="2390237"/>
            </a:xfrm>
            <a:custGeom>
              <a:avLst/>
              <a:gdLst/>
              <a:ahLst/>
              <a:cxnLst/>
              <a:rect l="l" t="t" r="r" b="b"/>
              <a:pathLst>
                <a:path w="19896" h="77915" extrusionOk="0">
                  <a:moveTo>
                    <a:pt x="1072" y="0"/>
                  </a:moveTo>
                  <a:lnTo>
                    <a:pt x="0" y="72"/>
                  </a:lnTo>
                  <a:lnTo>
                    <a:pt x="13895" y="29456"/>
                  </a:lnTo>
                  <a:lnTo>
                    <a:pt x="18788" y="39838"/>
                  </a:lnTo>
                  <a:lnTo>
                    <a:pt x="14538" y="48851"/>
                  </a:lnTo>
                  <a:lnTo>
                    <a:pt x="834" y="77831"/>
                  </a:lnTo>
                  <a:lnTo>
                    <a:pt x="1905" y="77915"/>
                  </a:lnTo>
                  <a:lnTo>
                    <a:pt x="15407" y="49340"/>
                  </a:lnTo>
                  <a:lnTo>
                    <a:pt x="19765" y="40124"/>
                  </a:lnTo>
                  <a:lnTo>
                    <a:pt x="19896" y="39838"/>
                  </a:lnTo>
                  <a:lnTo>
                    <a:pt x="14728" y="28885"/>
                  </a:lnTo>
                  <a:lnTo>
                    <a:pt x="1072" y="0"/>
                  </a:lnTo>
                  <a:close/>
                </a:path>
              </a:pathLst>
            </a:custGeom>
            <a:solidFill>
              <a:schemeClr val="accent1"/>
            </a:solidFill>
            <a:ln>
              <a:solidFill>
                <a:schemeClr val="accent1"/>
              </a:solid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37" name="Google Shape;1291;p35">
              <a:extLst>
                <a:ext uri="{FF2B5EF4-FFF2-40B4-BE49-F238E27FC236}">
                  <a16:creationId xmlns:a16="http://schemas.microsoft.com/office/drawing/2014/main" id="{E4EE4C3A-549F-465C-A73E-DA4DEE489578}"/>
                </a:ext>
              </a:extLst>
            </p:cNvPr>
            <p:cNvSpPr/>
            <p:nvPr/>
          </p:nvSpPr>
          <p:spPr>
            <a:xfrm>
              <a:off x="6683432" y="2578974"/>
              <a:ext cx="562135" cy="562165"/>
            </a:xfrm>
            <a:custGeom>
              <a:avLst/>
              <a:gdLst/>
              <a:ahLst/>
              <a:cxnLst/>
              <a:rect l="l" t="t" r="r" b="b"/>
              <a:pathLst>
                <a:path w="18324" h="18325" extrusionOk="0">
                  <a:moveTo>
                    <a:pt x="9156" y="1"/>
                  </a:moveTo>
                  <a:cubicBezTo>
                    <a:pt x="4096" y="1"/>
                    <a:pt x="0" y="4108"/>
                    <a:pt x="0" y="9169"/>
                  </a:cubicBezTo>
                  <a:cubicBezTo>
                    <a:pt x="0" y="14229"/>
                    <a:pt x="4096" y="18324"/>
                    <a:pt x="9156" y="18324"/>
                  </a:cubicBezTo>
                  <a:cubicBezTo>
                    <a:pt x="14228" y="18324"/>
                    <a:pt x="18324" y="14229"/>
                    <a:pt x="18324" y="9169"/>
                  </a:cubicBezTo>
                  <a:cubicBezTo>
                    <a:pt x="18324" y="4108"/>
                    <a:pt x="14228" y="1"/>
                    <a:pt x="9156" y="1"/>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Tx/>
                <a:buNone/>
                <a:tabLst/>
                <a:defRPr/>
              </a:pPr>
              <a:r>
                <a:rPr kumimoji="0" lang="en" sz="2667" b="0" i="0" u="none" strike="noStrike" kern="1200" cap="none" spc="0" normalizeH="0" baseline="0" noProof="0">
                  <a:ln>
                    <a:noFill/>
                  </a:ln>
                  <a:solidFill>
                    <a:srgbClr val="FFFFFF"/>
                  </a:solidFill>
                  <a:effectLst/>
                  <a:uLnTx/>
                  <a:uFillTx/>
                  <a:latin typeface="Arial"/>
                  <a:ea typeface="+mn-ea"/>
                  <a:cs typeface="+mn-ea"/>
                  <a:sym typeface="+mn-lt"/>
                </a:rPr>
                <a:t>01</a:t>
              </a: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38" name="Google Shape;1292;p35">
              <a:extLst>
                <a:ext uri="{FF2B5EF4-FFF2-40B4-BE49-F238E27FC236}">
                  <a16:creationId xmlns:a16="http://schemas.microsoft.com/office/drawing/2014/main" id="{A5C372A2-A17B-4C40-B35C-6238AEEEC4F7}"/>
                </a:ext>
              </a:extLst>
            </p:cNvPr>
            <p:cNvSpPr/>
            <p:nvPr/>
          </p:nvSpPr>
          <p:spPr>
            <a:xfrm>
              <a:off x="5025181" y="1664950"/>
              <a:ext cx="1260170" cy="397427"/>
            </a:xfrm>
            <a:custGeom>
              <a:avLst/>
              <a:gdLst/>
              <a:ahLst/>
              <a:cxnLst/>
              <a:rect l="l" t="t" r="r" b="b"/>
              <a:pathLst>
                <a:path w="41078" h="12955" extrusionOk="0">
                  <a:moveTo>
                    <a:pt x="6466" y="0"/>
                  </a:moveTo>
                  <a:cubicBezTo>
                    <a:pt x="2894" y="0"/>
                    <a:pt x="1" y="2894"/>
                    <a:pt x="1" y="6477"/>
                  </a:cubicBezTo>
                  <a:cubicBezTo>
                    <a:pt x="1" y="10049"/>
                    <a:pt x="2894" y="12954"/>
                    <a:pt x="6466" y="12954"/>
                  </a:cubicBezTo>
                  <a:lnTo>
                    <a:pt x="34600" y="12954"/>
                  </a:lnTo>
                  <a:cubicBezTo>
                    <a:pt x="38172" y="12954"/>
                    <a:pt x="41077" y="10049"/>
                    <a:pt x="41077" y="6477"/>
                  </a:cubicBezTo>
                  <a:cubicBezTo>
                    <a:pt x="41077" y="2894"/>
                    <a:pt x="38172" y="0"/>
                    <a:pt x="34600" y="0"/>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Tx/>
                <a:buNone/>
                <a:tabLst/>
                <a:defRPr/>
              </a:pPr>
              <a:r>
                <a:rPr kumimoji="0" lang="en" sz="2267" b="0" i="0" u="none" strike="noStrike" kern="1200" cap="none" spc="0" normalizeH="0" baseline="0" noProof="0">
                  <a:ln>
                    <a:noFill/>
                  </a:ln>
                  <a:solidFill>
                    <a:srgbClr val="FFFFFF"/>
                  </a:solidFill>
                  <a:effectLst/>
                  <a:uLnTx/>
                  <a:uFillTx/>
                  <a:latin typeface="Arial"/>
                  <a:ea typeface="+mn-ea"/>
                  <a:cs typeface="+mn-ea"/>
                  <a:sym typeface="+mn-lt"/>
                </a:rPr>
                <a:t>2020</a:t>
              </a:r>
              <a:endParaRPr kumimoji="0" sz="2489" b="0" i="0" u="none" strike="noStrike" kern="1200" cap="none" spc="0" normalizeH="0" baseline="0" noProof="0">
                <a:ln>
                  <a:noFill/>
                </a:ln>
                <a:solidFill>
                  <a:srgbClr val="FFFFFF"/>
                </a:solidFill>
                <a:effectLst/>
                <a:uLnTx/>
                <a:uFillTx/>
                <a:latin typeface="Arial"/>
                <a:ea typeface="+mn-ea"/>
                <a:cs typeface="+mn-ea"/>
                <a:sym typeface="+mn-lt"/>
              </a:endParaRPr>
            </a:p>
          </p:txBody>
        </p:sp>
        <p:grpSp>
          <p:nvGrpSpPr>
            <p:cNvPr id="39" name="Google Shape;1293;p35">
              <a:extLst>
                <a:ext uri="{FF2B5EF4-FFF2-40B4-BE49-F238E27FC236}">
                  <a16:creationId xmlns:a16="http://schemas.microsoft.com/office/drawing/2014/main" id="{948734F2-EF02-451B-B937-40619C1E7F51}"/>
                </a:ext>
              </a:extLst>
            </p:cNvPr>
            <p:cNvGrpSpPr/>
            <p:nvPr/>
          </p:nvGrpSpPr>
          <p:grpSpPr>
            <a:xfrm>
              <a:off x="5518725" y="2418756"/>
              <a:ext cx="1088488" cy="882600"/>
              <a:chOff x="5523225" y="2445013"/>
              <a:chExt cx="1088488" cy="882600"/>
            </a:xfrm>
          </p:grpSpPr>
          <p:sp>
            <p:nvSpPr>
              <p:cNvPr id="40" name="Google Shape;1294;p35">
                <a:extLst>
                  <a:ext uri="{FF2B5EF4-FFF2-40B4-BE49-F238E27FC236}">
                    <a16:creationId xmlns:a16="http://schemas.microsoft.com/office/drawing/2014/main" id="{09B9B3C1-4AFA-476C-8306-FA36DB2A12D7}"/>
                  </a:ext>
                </a:extLst>
              </p:cNvPr>
              <p:cNvSpPr txBox="1"/>
              <p:nvPr/>
            </p:nvSpPr>
            <p:spPr>
              <a:xfrm>
                <a:off x="5523225" y="2730313"/>
                <a:ext cx="1088400" cy="597300"/>
              </a:xfrm>
              <a:prstGeom prst="rect">
                <a:avLst/>
              </a:prstGeom>
              <a:noFill/>
              <a:ln>
                <a:noFill/>
              </a:ln>
            </p:spPr>
            <p:txBody>
              <a:bodyPr spcFirstLastPara="1" wrap="square" lIns="121900" tIns="121900" rIns="121900" bIns="12190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 sz="1600" b="0" i="0" u="none" strike="noStrike" kern="1200" cap="none" spc="0" normalizeH="0" baseline="0" noProof="0">
                    <a:ln>
                      <a:noFill/>
                    </a:ln>
                    <a:solidFill>
                      <a:srgbClr val="434343"/>
                    </a:solidFill>
                    <a:effectLst/>
                    <a:uLnTx/>
                    <a:uFillTx/>
                    <a:latin typeface="Arial"/>
                    <a:ea typeface="+mn-ea"/>
                    <a:cs typeface="+mn-ea"/>
                    <a:sym typeface="+mn-lt"/>
                  </a:rPr>
                  <a:t>Venus is terribly hot</a:t>
                </a:r>
                <a:endParaRPr kumimoji="0" sz="1600" b="0" i="0" u="none" strike="noStrike" kern="1200" cap="none" spc="0" normalizeH="0" baseline="0" noProof="0">
                  <a:ln>
                    <a:noFill/>
                  </a:ln>
                  <a:solidFill>
                    <a:srgbClr val="434343"/>
                  </a:solidFill>
                  <a:effectLst/>
                  <a:uLnTx/>
                  <a:uFillTx/>
                  <a:latin typeface="Arial"/>
                  <a:ea typeface="+mn-ea"/>
                  <a:cs typeface="+mn-ea"/>
                  <a:sym typeface="+mn-lt"/>
                </a:endParaRPr>
              </a:p>
            </p:txBody>
          </p:sp>
          <p:sp>
            <p:nvSpPr>
              <p:cNvPr id="41" name="Google Shape;1295;p35">
                <a:extLst>
                  <a:ext uri="{FF2B5EF4-FFF2-40B4-BE49-F238E27FC236}">
                    <a16:creationId xmlns:a16="http://schemas.microsoft.com/office/drawing/2014/main" id="{D404E398-DCB0-472D-8D0F-C874537BB201}"/>
                  </a:ext>
                </a:extLst>
              </p:cNvPr>
              <p:cNvSpPr txBox="1"/>
              <p:nvPr/>
            </p:nvSpPr>
            <p:spPr>
              <a:xfrm>
                <a:off x="5523313" y="2445013"/>
                <a:ext cx="1088400" cy="346800"/>
              </a:xfrm>
              <a:prstGeom prst="rect">
                <a:avLst/>
              </a:prstGeom>
              <a:noFill/>
              <a:ln>
                <a:noFill/>
              </a:ln>
            </p:spPr>
            <p:txBody>
              <a:bodyPr spcFirstLastPara="1" wrap="square" lIns="121900" tIns="121900" rIns="121900" bIns="12190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 sz="2267" b="0" i="0" u="none" strike="noStrike" kern="1200" cap="none" spc="0" normalizeH="0" baseline="0" noProof="0">
                    <a:ln>
                      <a:noFill/>
                    </a:ln>
                    <a:solidFill>
                      <a:srgbClr val="434343"/>
                    </a:solidFill>
                    <a:effectLst/>
                    <a:uLnTx/>
                    <a:uFillTx/>
                    <a:latin typeface="Arial"/>
                    <a:ea typeface="+mn-ea"/>
                    <a:cs typeface="+mn-ea"/>
                    <a:sym typeface="+mn-lt"/>
                  </a:rPr>
                  <a:t>Venus</a:t>
                </a:r>
                <a:endParaRPr kumimoji="0" sz="2267" b="0" i="0" u="none" strike="noStrike" kern="1200" cap="none" spc="0" normalizeH="0" baseline="0" noProof="0">
                  <a:ln>
                    <a:noFill/>
                  </a:ln>
                  <a:solidFill>
                    <a:srgbClr val="434343"/>
                  </a:solidFill>
                  <a:effectLst/>
                  <a:uLnTx/>
                  <a:uFillTx/>
                  <a:latin typeface="Arial"/>
                  <a:ea typeface="+mn-ea"/>
                  <a:cs typeface="+mn-ea"/>
                  <a:sym typeface="+mn-lt"/>
                </a:endParaRPr>
              </a:p>
            </p:txBody>
          </p:sp>
        </p:grpSp>
      </p:grpSp>
      <p:grpSp>
        <p:nvGrpSpPr>
          <p:cNvPr id="30" name="Google Shape;1296;p35">
            <a:extLst>
              <a:ext uri="{FF2B5EF4-FFF2-40B4-BE49-F238E27FC236}">
                <a16:creationId xmlns:a16="http://schemas.microsoft.com/office/drawing/2014/main" id="{EBB85694-BC6D-40FA-A23D-640F9EE2A86F}"/>
              </a:ext>
            </a:extLst>
          </p:cNvPr>
          <p:cNvGrpSpPr/>
          <p:nvPr/>
        </p:nvGrpSpPr>
        <p:grpSpPr>
          <a:xfrm>
            <a:off x="7477639" y="4570160"/>
            <a:ext cx="452337" cy="452337"/>
            <a:chOff x="6235400" y="249400"/>
            <a:chExt cx="481825" cy="481825"/>
          </a:xfrm>
          <a:solidFill>
            <a:schemeClr val="accent1"/>
          </a:solidFill>
        </p:grpSpPr>
        <p:sp>
          <p:nvSpPr>
            <p:cNvPr id="31" name="Google Shape;1297;p35">
              <a:extLst>
                <a:ext uri="{FF2B5EF4-FFF2-40B4-BE49-F238E27FC236}">
                  <a16:creationId xmlns:a16="http://schemas.microsoft.com/office/drawing/2014/main" id="{F7AF9F6C-0B5B-4900-9C80-79F2165947BB}"/>
                </a:ext>
              </a:extLst>
            </p:cNvPr>
            <p:cNvSpPr/>
            <p:nvPr/>
          </p:nvSpPr>
          <p:spPr>
            <a:xfrm>
              <a:off x="6425625" y="482025"/>
              <a:ext cx="177700" cy="135375"/>
            </a:xfrm>
            <a:custGeom>
              <a:avLst/>
              <a:gdLst/>
              <a:ahLst/>
              <a:cxnLst/>
              <a:rect l="l" t="t" r="r" b="b"/>
              <a:pathLst>
                <a:path w="7108" h="5415" extrusionOk="0">
                  <a:moveTo>
                    <a:pt x="5415" y="0"/>
                  </a:moveTo>
                  <a:lnTo>
                    <a:pt x="1" y="5415"/>
                  </a:lnTo>
                  <a:lnTo>
                    <a:pt x="7107" y="5415"/>
                  </a:lnTo>
                  <a:lnTo>
                    <a:pt x="7107" y="1696"/>
                  </a:lnTo>
                  <a:lnTo>
                    <a:pt x="5415" y="0"/>
                  </a:lnTo>
                  <a:close/>
                </a:path>
              </a:pathLst>
            </a:custGeom>
            <a:grp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435D74"/>
                </a:solidFill>
                <a:effectLst/>
                <a:uLnTx/>
                <a:uFillTx/>
                <a:latin typeface="Arial"/>
                <a:ea typeface="+mn-ea"/>
                <a:cs typeface="+mn-ea"/>
                <a:sym typeface="+mn-lt"/>
              </a:endParaRPr>
            </a:p>
          </p:txBody>
        </p:sp>
        <p:sp>
          <p:nvSpPr>
            <p:cNvPr id="32" name="Google Shape;1298;p35">
              <a:extLst>
                <a:ext uri="{FF2B5EF4-FFF2-40B4-BE49-F238E27FC236}">
                  <a16:creationId xmlns:a16="http://schemas.microsoft.com/office/drawing/2014/main" id="{373C85D6-2193-4E0C-A5D8-B61589DA4DC3}"/>
                </a:ext>
              </a:extLst>
            </p:cNvPr>
            <p:cNvSpPr/>
            <p:nvPr/>
          </p:nvSpPr>
          <p:spPr>
            <a:xfrm>
              <a:off x="6462150" y="419775"/>
              <a:ext cx="28250" cy="28250"/>
            </a:xfrm>
            <a:custGeom>
              <a:avLst/>
              <a:gdLst/>
              <a:ahLst/>
              <a:cxnLst/>
              <a:rect l="l" t="t" r="r" b="b"/>
              <a:pathLst>
                <a:path w="1130" h="1130" extrusionOk="0">
                  <a:moveTo>
                    <a:pt x="566" y="0"/>
                  </a:moveTo>
                  <a:cubicBezTo>
                    <a:pt x="253" y="0"/>
                    <a:pt x="0" y="250"/>
                    <a:pt x="0" y="563"/>
                  </a:cubicBezTo>
                  <a:cubicBezTo>
                    <a:pt x="0" y="876"/>
                    <a:pt x="253" y="1129"/>
                    <a:pt x="566" y="1129"/>
                  </a:cubicBezTo>
                  <a:cubicBezTo>
                    <a:pt x="877" y="1129"/>
                    <a:pt x="1130" y="876"/>
                    <a:pt x="1130" y="563"/>
                  </a:cubicBezTo>
                  <a:cubicBezTo>
                    <a:pt x="1130" y="250"/>
                    <a:pt x="877" y="0"/>
                    <a:pt x="566" y="0"/>
                  </a:cubicBezTo>
                  <a:close/>
                </a:path>
              </a:pathLst>
            </a:custGeom>
            <a:grp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435D74"/>
                </a:solidFill>
                <a:effectLst/>
                <a:uLnTx/>
                <a:uFillTx/>
                <a:latin typeface="Arial"/>
                <a:ea typeface="+mn-ea"/>
                <a:cs typeface="+mn-ea"/>
                <a:sym typeface="+mn-lt"/>
              </a:endParaRPr>
            </a:p>
          </p:txBody>
        </p:sp>
        <p:sp>
          <p:nvSpPr>
            <p:cNvPr id="33" name="Google Shape;1299;p35">
              <a:extLst>
                <a:ext uri="{FF2B5EF4-FFF2-40B4-BE49-F238E27FC236}">
                  <a16:creationId xmlns:a16="http://schemas.microsoft.com/office/drawing/2014/main" id="{2F7195C0-D09D-496F-8C2D-DF659E4A8966}"/>
                </a:ext>
              </a:extLst>
            </p:cNvPr>
            <p:cNvSpPr/>
            <p:nvPr/>
          </p:nvSpPr>
          <p:spPr>
            <a:xfrm>
              <a:off x="6349225" y="508600"/>
              <a:ext cx="113625" cy="108800"/>
            </a:xfrm>
            <a:custGeom>
              <a:avLst/>
              <a:gdLst/>
              <a:ahLst/>
              <a:cxnLst/>
              <a:rect l="l" t="t" r="r" b="b"/>
              <a:pathLst>
                <a:path w="4545" h="4352" extrusionOk="0">
                  <a:moveTo>
                    <a:pt x="2858" y="0"/>
                  </a:moveTo>
                  <a:lnTo>
                    <a:pt x="0" y="2623"/>
                  </a:lnTo>
                  <a:lnTo>
                    <a:pt x="0" y="4352"/>
                  </a:lnTo>
                  <a:lnTo>
                    <a:pt x="1461" y="4352"/>
                  </a:lnTo>
                  <a:lnTo>
                    <a:pt x="4544" y="1265"/>
                  </a:lnTo>
                  <a:lnTo>
                    <a:pt x="2858" y="0"/>
                  </a:lnTo>
                  <a:close/>
                </a:path>
              </a:pathLst>
            </a:custGeom>
            <a:grp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435D74"/>
                </a:solidFill>
                <a:effectLst/>
                <a:uLnTx/>
                <a:uFillTx/>
                <a:latin typeface="Arial"/>
                <a:ea typeface="+mn-ea"/>
                <a:cs typeface="+mn-ea"/>
                <a:sym typeface="+mn-lt"/>
              </a:endParaRPr>
            </a:p>
          </p:txBody>
        </p:sp>
        <p:sp>
          <p:nvSpPr>
            <p:cNvPr id="34" name="Google Shape;1300;p35">
              <a:extLst>
                <a:ext uri="{FF2B5EF4-FFF2-40B4-BE49-F238E27FC236}">
                  <a16:creationId xmlns:a16="http://schemas.microsoft.com/office/drawing/2014/main" id="{253E8057-E8CA-45A5-9E5B-487E7F1492D8}"/>
                </a:ext>
              </a:extLst>
            </p:cNvPr>
            <p:cNvSpPr/>
            <p:nvPr/>
          </p:nvSpPr>
          <p:spPr>
            <a:xfrm>
              <a:off x="6349225" y="363300"/>
              <a:ext cx="254100" cy="172575"/>
            </a:xfrm>
            <a:custGeom>
              <a:avLst/>
              <a:gdLst/>
              <a:ahLst/>
              <a:cxnLst/>
              <a:rect l="l" t="t" r="r" b="b"/>
              <a:pathLst>
                <a:path w="10164" h="6903" extrusionOk="0">
                  <a:moveTo>
                    <a:pt x="5083" y="1130"/>
                  </a:moveTo>
                  <a:cubicBezTo>
                    <a:pt x="5767" y="1130"/>
                    <a:pt x="6384" y="1542"/>
                    <a:pt x="6646" y="2175"/>
                  </a:cubicBezTo>
                  <a:cubicBezTo>
                    <a:pt x="6908" y="2807"/>
                    <a:pt x="6764" y="3536"/>
                    <a:pt x="6279" y="4021"/>
                  </a:cubicBezTo>
                  <a:cubicBezTo>
                    <a:pt x="5955" y="4345"/>
                    <a:pt x="5521" y="4517"/>
                    <a:pt x="5081" y="4517"/>
                  </a:cubicBezTo>
                  <a:cubicBezTo>
                    <a:pt x="4862" y="4517"/>
                    <a:pt x="4642" y="4475"/>
                    <a:pt x="4433" y="4388"/>
                  </a:cubicBezTo>
                  <a:cubicBezTo>
                    <a:pt x="3801" y="4126"/>
                    <a:pt x="3388" y="3509"/>
                    <a:pt x="3388" y="2822"/>
                  </a:cubicBezTo>
                  <a:cubicBezTo>
                    <a:pt x="3388" y="1886"/>
                    <a:pt x="4147" y="1130"/>
                    <a:pt x="5083" y="1130"/>
                  </a:cubicBezTo>
                  <a:close/>
                  <a:moveTo>
                    <a:pt x="0" y="1"/>
                  </a:moveTo>
                  <a:lnTo>
                    <a:pt x="0" y="6903"/>
                  </a:lnTo>
                  <a:lnTo>
                    <a:pt x="2443" y="4665"/>
                  </a:lnTo>
                  <a:cubicBezTo>
                    <a:pt x="2549" y="4567"/>
                    <a:pt x="2686" y="4517"/>
                    <a:pt x="2824" y="4517"/>
                  </a:cubicBezTo>
                  <a:cubicBezTo>
                    <a:pt x="2943" y="4517"/>
                    <a:pt x="3062" y="4554"/>
                    <a:pt x="3162" y="4629"/>
                  </a:cubicBezTo>
                  <a:lnTo>
                    <a:pt x="5351" y="6270"/>
                  </a:lnTo>
                  <a:lnTo>
                    <a:pt x="8071" y="3551"/>
                  </a:lnTo>
                  <a:cubicBezTo>
                    <a:pt x="8181" y="3441"/>
                    <a:pt x="8325" y="3386"/>
                    <a:pt x="8470" y="3386"/>
                  </a:cubicBezTo>
                  <a:cubicBezTo>
                    <a:pt x="8614" y="3386"/>
                    <a:pt x="8759" y="3441"/>
                    <a:pt x="8869" y="3551"/>
                  </a:cubicBezTo>
                  <a:lnTo>
                    <a:pt x="10163" y="4846"/>
                  </a:lnTo>
                  <a:lnTo>
                    <a:pt x="10163" y="1"/>
                  </a:lnTo>
                  <a:close/>
                </a:path>
              </a:pathLst>
            </a:custGeom>
            <a:grp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435D74"/>
                </a:solidFill>
                <a:effectLst/>
                <a:uLnTx/>
                <a:uFillTx/>
                <a:latin typeface="Arial"/>
                <a:ea typeface="+mn-ea"/>
                <a:cs typeface="+mn-ea"/>
                <a:sym typeface="+mn-lt"/>
              </a:endParaRPr>
            </a:p>
          </p:txBody>
        </p:sp>
        <p:sp>
          <p:nvSpPr>
            <p:cNvPr id="35" name="Google Shape;1301;p35">
              <a:extLst>
                <a:ext uri="{FF2B5EF4-FFF2-40B4-BE49-F238E27FC236}">
                  <a16:creationId xmlns:a16="http://schemas.microsoft.com/office/drawing/2014/main" id="{C25113B8-DAB5-42A8-B2C4-CEC13D5D988C}"/>
                </a:ext>
              </a:extLst>
            </p:cNvPr>
            <p:cNvSpPr/>
            <p:nvPr/>
          </p:nvSpPr>
          <p:spPr>
            <a:xfrm>
              <a:off x="6235400" y="249400"/>
              <a:ext cx="481825" cy="481825"/>
            </a:xfrm>
            <a:custGeom>
              <a:avLst/>
              <a:gdLst/>
              <a:ahLst/>
              <a:cxnLst/>
              <a:rect l="l" t="t" r="r" b="b"/>
              <a:pathLst>
                <a:path w="19273" h="19273" extrusionOk="0">
                  <a:moveTo>
                    <a:pt x="15283" y="3427"/>
                  </a:moveTo>
                  <a:cubicBezTo>
                    <a:pt x="15593" y="3427"/>
                    <a:pt x="15846" y="3677"/>
                    <a:pt x="15846" y="3991"/>
                  </a:cubicBezTo>
                  <a:lnTo>
                    <a:pt x="15846" y="15283"/>
                  </a:lnTo>
                  <a:cubicBezTo>
                    <a:pt x="15846" y="15596"/>
                    <a:pt x="15593" y="15849"/>
                    <a:pt x="15283" y="15849"/>
                  </a:cubicBezTo>
                  <a:lnTo>
                    <a:pt x="3990" y="15849"/>
                  </a:lnTo>
                  <a:cubicBezTo>
                    <a:pt x="3677" y="15849"/>
                    <a:pt x="3424" y="15596"/>
                    <a:pt x="3424" y="15283"/>
                  </a:cubicBezTo>
                  <a:lnTo>
                    <a:pt x="3424" y="3991"/>
                  </a:lnTo>
                  <a:cubicBezTo>
                    <a:pt x="3424" y="3677"/>
                    <a:pt x="3677" y="3427"/>
                    <a:pt x="3990" y="3427"/>
                  </a:cubicBezTo>
                  <a:close/>
                  <a:moveTo>
                    <a:pt x="564" y="1"/>
                  </a:moveTo>
                  <a:cubicBezTo>
                    <a:pt x="250" y="1"/>
                    <a:pt x="0" y="254"/>
                    <a:pt x="0" y="567"/>
                  </a:cubicBezTo>
                  <a:lnTo>
                    <a:pt x="0" y="2861"/>
                  </a:lnTo>
                  <a:cubicBezTo>
                    <a:pt x="0" y="3175"/>
                    <a:pt x="250" y="3427"/>
                    <a:pt x="564" y="3427"/>
                  </a:cubicBezTo>
                  <a:cubicBezTo>
                    <a:pt x="877" y="3427"/>
                    <a:pt x="1127" y="3677"/>
                    <a:pt x="1127" y="3991"/>
                  </a:cubicBezTo>
                  <a:cubicBezTo>
                    <a:pt x="1127" y="4304"/>
                    <a:pt x="877" y="4557"/>
                    <a:pt x="564" y="4557"/>
                  </a:cubicBezTo>
                  <a:cubicBezTo>
                    <a:pt x="250" y="4557"/>
                    <a:pt x="0" y="4807"/>
                    <a:pt x="0" y="5120"/>
                  </a:cubicBezTo>
                  <a:lnTo>
                    <a:pt x="0" y="8507"/>
                  </a:lnTo>
                  <a:cubicBezTo>
                    <a:pt x="0" y="8821"/>
                    <a:pt x="250" y="9074"/>
                    <a:pt x="564" y="9074"/>
                  </a:cubicBezTo>
                  <a:cubicBezTo>
                    <a:pt x="877" y="9074"/>
                    <a:pt x="1127" y="9324"/>
                    <a:pt x="1127" y="9637"/>
                  </a:cubicBezTo>
                  <a:cubicBezTo>
                    <a:pt x="1127" y="9950"/>
                    <a:pt x="877" y="10203"/>
                    <a:pt x="564" y="10203"/>
                  </a:cubicBezTo>
                  <a:cubicBezTo>
                    <a:pt x="250" y="10203"/>
                    <a:pt x="0" y="10453"/>
                    <a:pt x="0" y="10766"/>
                  </a:cubicBezTo>
                  <a:lnTo>
                    <a:pt x="0" y="14154"/>
                  </a:lnTo>
                  <a:cubicBezTo>
                    <a:pt x="0" y="14467"/>
                    <a:pt x="250" y="14720"/>
                    <a:pt x="564" y="14720"/>
                  </a:cubicBezTo>
                  <a:cubicBezTo>
                    <a:pt x="877" y="14720"/>
                    <a:pt x="1127" y="14970"/>
                    <a:pt x="1127" y="15283"/>
                  </a:cubicBezTo>
                  <a:cubicBezTo>
                    <a:pt x="1127" y="15596"/>
                    <a:pt x="877" y="15849"/>
                    <a:pt x="564" y="15849"/>
                  </a:cubicBezTo>
                  <a:cubicBezTo>
                    <a:pt x="250" y="15849"/>
                    <a:pt x="0" y="16099"/>
                    <a:pt x="0" y="16412"/>
                  </a:cubicBezTo>
                  <a:lnTo>
                    <a:pt x="0" y="18710"/>
                  </a:lnTo>
                  <a:cubicBezTo>
                    <a:pt x="0" y="19020"/>
                    <a:pt x="250" y="19273"/>
                    <a:pt x="564" y="19273"/>
                  </a:cubicBezTo>
                  <a:lnTo>
                    <a:pt x="2861" y="19273"/>
                  </a:lnTo>
                  <a:cubicBezTo>
                    <a:pt x="3171" y="19273"/>
                    <a:pt x="3424" y="19020"/>
                    <a:pt x="3424" y="18710"/>
                  </a:cubicBezTo>
                  <a:cubicBezTo>
                    <a:pt x="3424" y="18396"/>
                    <a:pt x="3677" y="18143"/>
                    <a:pt x="3990" y="18143"/>
                  </a:cubicBezTo>
                  <a:cubicBezTo>
                    <a:pt x="4300" y="18143"/>
                    <a:pt x="4553" y="18396"/>
                    <a:pt x="4553" y="18710"/>
                  </a:cubicBezTo>
                  <a:cubicBezTo>
                    <a:pt x="4553" y="19020"/>
                    <a:pt x="4806" y="19273"/>
                    <a:pt x="5120" y="19273"/>
                  </a:cubicBezTo>
                  <a:lnTo>
                    <a:pt x="8507" y="19273"/>
                  </a:lnTo>
                  <a:cubicBezTo>
                    <a:pt x="8817" y="19273"/>
                    <a:pt x="9070" y="19020"/>
                    <a:pt x="9070" y="18710"/>
                  </a:cubicBezTo>
                  <a:cubicBezTo>
                    <a:pt x="9070" y="18396"/>
                    <a:pt x="9323" y="18143"/>
                    <a:pt x="9636" y="18143"/>
                  </a:cubicBezTo>
                  <a:cubicBezTo>
                    <a:pt x="9947" y="18143"/>
                    <a:pt x="10200" y="18396"/>
                    <a:pt x="10200" y="18710"/>
                  </a:cubicBezTo>
                  <a:cubicBezTo>
                    <a:pt x="10200" y="19020"/>
                    <a:pt x="10452" y="19273"/>
                    <a:pt x="10766" y="19273"/>
                  </a:cubicBezTo>
                  <a:lnTo>
                    <a:pt x="14153" y="19273"/>
                  </a:lnTo>
                  <a:cubicBezTo>
                    <a:pt x="14463" y="19273"/>
                    <a:pt x="14716" y="19020"/>
                    <a:pt x="14716" y="18710"/>
                  </a:cubicBezTo>
                  <a:cubicBezTo>
                    <a:pt x="14716" y="18396"/>
                    <a:pt x="14969" y="18143"/>
                    <a:pt x="15283" y="18143"/>
                  </a:cubicBezTo>
                  <a:cubicBezTo>
                    <a:pt x="15593" y="18143"/>
                    <a:pt x="15846" y="18396"/>
                    <a:pt x="15846" y="18710"/>
                  </a:cubicBezTo>
                  <a:cubicBezTo>
                    <a:pt x="15846" y="19020"/>
                    <a:pt x="16099" y="19273"/>
                    <a:pt x="16412" y="19273"/>
                  </a:cubicBezTo>
                  <a:lnTo>
                    <a:pt x="18706" y="19273"/>
                  </a:lnTo>
                  <a:cubicBezTo>
                    <a:pt x="19019" y="19273"/>
                    <a:pt x="19272" y="19020"/>
                    <a:pt x="19272" y="18710"/>
                  </a:cubicBezTo>
                  <a:lnTo>
                    <a:pt x="19272" y="16412"/>
                  </a:lnTo>
                  <a:cubicBezTo>
                    <a:pt x="19272" y="16099"/>
                    <a:pt x="19019" y="15849"/>
                    <a:pt x="18706" y="15849"/>
                  </a:cubicBezTo>
                  <a:cubicBezTo>
                    <a:pt x="18393" y="15849"/>
                    <a:pt x="18143" y="15596"/>
                    <a:pt x="18143" y="15283"/>
                  </a:cubicBezTo>
                  <a:cubicBezTo>
                    <a:pt x="18143" y="14970"/>
                    <a:pt x="18393" y="14720"/>
                    <a:pt x="18706" y="14720"/>
                  </a:cubicBezTo>
                  <a:cubicBezTo>
                    <a:pt x="19019" y="14720"/>
                    <a:pt x="19272" y="14467"/>
                    <a:pt x="19272" y="14154"/>
                  </a:cubicBezTo>
                  <a:lnTo>
                    <a:pt x="19272" y="10766"/>
                  </a:lnTo>
                  <a:cubicBezTo>
                    <a:pt x="19272" y="10453"/>
                    <a:pt x="19019" y="10203"/>
                    <a:pt x="18706" y="10203"/>
                  </a:cubicBezTo>
                  <a:cubicBezTo>
                    <a:pt x="18393" y="10203"/>
                    <a:pt x="18143" y="9950"/>
                    <a:pt x="18143" y="9637"/>
                  </a:cubicBezTo>
                  <a:cubicBezTo>
                    <a:pt x="18143" y="9324"/>
                    <a:pt x="18393" y="9074"/>
                    <a:pt x="18706" y="9074"/>
                  </a:cubicBezTo>
                  <a:cubicBezTo>
                    <a:pt x="19019" y="9074"/>
                    <a:pt x="19272" y="8821"/>
                    <a:pt x="19272" y="8507"/>
                  </a:cubicBezTo>
                  <a:lnTo>
                    <a:pt x="19272" y="5120"/>
                  </a:lnTo>
                  <a:cubicBezTo>
                    <a:pt x="19272" y="4807"/>
                    <a:pt x="19019" y="4557"/>
                    <a:pt x="18706" y="4557"/>
                  </a:cubicBezTo>
                  <a:cubicBezTo>
                    <a:pt x="18393" y="4557"/>
                    <a:pt x="18143" y="4304"/>
                    <a:pt x="18143" y="3991"/>
                  </a:cubicBezTo>
                  <a:cubicBezTo>
                    <a:pt x="18143" y="3677"/>
                    <a:pt x="18393" y="3427"/>
                    <a:pt x="18706" y="3427"/>
                  </a:cubicBezTo>
                  <a:cubicBezTo>
                    <a:pt x="19019" y="3427"/>
                    <a:pt x="19272" y="3175"/>
                    <a:pt x="19272" y="2861"/>
                  </a:cubicBezTo>
                  <a:lnTo>
                    <a:pt x="19272" y="567"/>
                  </a:lnTo>
                  <a:cubicBezTo>
                    <a:pt x="19272" y="254"/>
                    <a:pt x="19019" y="1"/>
                    <a:pt x="18706" y="1"/>
                  </a:cubicBezTo>
                  <a:lnTo>
                    <a:pt x="16412" y="1"/>
                  </a:lnTo>
                  <a:cubicBezTo>
                    <a:pt x="16099" y="1"/>
                    <a:pt x="15846" y="254"/>
                    <a:pt x="15846" y="567"/>
                  </a:cubicBezTo>
                  <a:cubicBezTo>
                    <a:pt x="15846" y="877"/>
                    <a:pt x="15593" y="1130"/>
                    <a:pt x="15283" y="1130"/>
                  </a:cubicBezTo>
                  <a:cubicBezTo>
                    <a:pt x="14969" y="1130"/>
                    <a:pt x="14716" y="877"/>
                    <a:pt x="14716" y="567"/>
                  </a:cubicBezTo>
                  <a:cubicBezTo>
                    <a:pt x="14716" y="254"/>
                    <a:pt x="14463" y="1"/>
                    <a:pt x="14153" y="1"/>
                  </a:cubicBezTo>
                  <a:lnTo>
                    <a:pt x="10766" y="1"/>
                  </a:lnTo>
                  <a:cubicBezTo>
                    <a:pt x="10452" y="1"/>
                    <a:pt x="10200" y="254"/>
                    <a:pt x="10200" y="567"/>
                  </a:cubicBezTo>
                  <a:cubicBezTo>
                    <a:pt x="10200" y="877"/>
                    <a:pt x="9947" y="1130"/>
                    <a:pt x="9636" y="1130"/>
                  </a:cubicBezTo>
                  <a:cubicBezTo>
                    <a:pt x="9323" y="1130"/>
                    <a:pt x="9070" y="877"/>
                    <a:pt x="9070" y="567"/>
                  </a:cubicBezTo>
                  <a:cubicBezTo>
                    <a:pt x="9070" y="254"/>
                    <a:pt x="8817" y="1"/>
                    <a:pt x="8507" y="1"/>
                  </a:cubicBezTo>
                  <a:lnTo>
                    <a:pt x="5120" y="1"/>
                  </a:lnTo>
                  <a:cubicBezTo>
                    <a:pt x="4806" y="1"/>
                    <a:pt x="4553" y="254"/>
                    <a:pt x="4553" y="567"/>
                  </a:cubicBezTo>
                  <a:cubicBezTo>
                    <a:pt x="4553" y="877"/>
                    <a:pt x="4300" y="1130"/>
                    <a:pt x="3990" y="1130"/>
                  </a:cubicBezTo>
                  <a:cubicBezTo>
                    <a:pt x="3677" y="1130"/>
                    <a:pt x="3424" y="877"/>
                    <a:pt x="3424" y="567"/>
                  </a:cubicBezTo>
                  <a:cubicBezTo>
                    <a:pt x="3424" y="254"/>
                    <a:pt x="3171" y="1"/>
                    <a:pt x="2861" y="1"/>
                  </a:cubicBezTo>
                  <a:close/>
                </a:path>
              </a:pathLst>
            </a:custGeom>
            <a:grp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435D74"/>
                </a:solidFill>
                <a:effectLst/>
                <a:uLnTx/>
                <a:uFillTx/>
                <a:latin typeface="Arial"/>
                <a:ea typeface="+mn-ea"/>
                <a:cs typeface="+mn-ea"/>
                <a:sym typeface="+mn-lt"/>
              </a:endParaRPr>
            </a:p>
          </p:txBody>
        </p:sp>
      </p:grpSp>
    </p:spTree>
    <p:extLst>
      <p:ext uri="{BB962C8B-B14F-4D97-AF65-F5344CB8AC3E}">
        <p14:creationId xmlns:p14="http://schemas.microsoft.com/office/powerpoint/2010/main" val="2774757314"/>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7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oogle Shape;1306;p36">
            <a:extLst>
              <a:ext uri="{FF2B5EF4-FFF2-40B4-BE49-F238E27FC236}">
                <a16:creationId xmlns:a16="http://schemas.microsoft.com/office/drawing/2014/main" id="{E8D75017-0A74-420F-ADFB-5463F832C166}"/>
              </a:ext>
            </a:extLst>
          </p:cNvPr>
          <p:cNvGrpSpPr/>
          <p:nvPr/>
        </p:nvGrpSpPr>
        <p:grpSpPr>
          <a:xfrm>
            <a:off x="6659467" y="1537030"/>
            <a:ext cx="3279224" cy="1891965"/>
            <a:chOff x="5022025" y="1309337"/>
            <a:chExt cx="2459418" cy="1418974"/>
          </a:xfrm>
        </p:grpSpPr>
        <p:sp>
          <p:nvSpPr>
            <p:cNvPr id="3" name="Google Shape;1307;p36">
              <a:extLst>
                <a:ext uri="{FF2B5EF4-FFF2-40B4-BE49-F238E27FC236}">
                  <a16:creationId xmlns:a16="http://schemas.microsoft.com/office/drawing/2014/main" id="{39394488-3B0A-42F9-835E-8119B027E90F}"/>
                </a:ext>
              </a:extLst>
            </p:cNvPr>
            <p:cNvSpPr/>
            <p:nvPr/>
          </p:nvSpPr>
          <p:spPr>
            <a:xfrm>
              <a:off x="5129670" y="1309337"/>
              <a:ext cx="2351773" cy="1418974"/>
            </a:xfrm>
            <a:custGeom>
              <a:avLst/>
              <a:gdLst/>
              <a:ahLst/>
              <a:cxnLst/>
              <a:rect l="l" t="t" r="r" b="b"/>
              <a:pathLst>
                <a:path w="75462" h="45531" extrusionOk="0">
                  <a:moveTo>
                    <a:pt x="0" y="1"/>
                  </a:moveTo>
                  <a:lnTo>
                    <a:pt x="6025" y="5942"/>
                  </a:lnTo>
                  <a:lnTo>
                    <a:pt x="26420" y="5942"/>
                  </a:lnTo>
                  <a:lnTo>
                    <a:pt x="66592" y="45530"/>
                  </a:lnTo>
                  <a:lnTo>
                    <a:pt x="75462" y="45530"/>
                  </a:lnTo>
                  <a:lnTo>
                    <a:pt x="29266" y="1"/>
                  </a:ln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4" name="Google Shape;1308;p36">
              <a:extLst>
                <a:ext uri="{FF2B5EF4-FFF2-40B4-BE49-F238E27FC236}">
                  <a16:creationId xmlns:a16="http://schemas.microsoft.com/office/drawing/2014/main" id="{D74AFFCC-09D9-4589-841F-B5EC0A6DED43}"/>
                </a:ext>
              </a:extLst>
            </p:cNvPr>
            <p:cNvSpPr txBox="1"/>
            <p:nvPr/>
          </p:nvSpPr>
          <p:spPr>
            <a:xfrm>
              <a:off x="5022025" y="1678950"/>
              <a:ext cx="964200" cy="258300"/>
            </a:xfrm>
            <a:prstGeom prst="rect">
              <a:avLst/>
            </a:prstGeom>
            <a:noFill/>
            <a:ln>
              <a:noFill/>
            </a:ln>
          </p:spPr>
          <p:txBody>
            <a:bodyPr spcFirstLastPara="1" wrap="square" lIns="121900" tIns="121900" rIns="121900" bIns="12190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 sz="1600" b="0" i="0" u="none" strike="noStrike" kern="1200" cap="none" spc="0" normalizeH="0" baseline="0" noProof="0">
                  <a:ln>
                    <a:noFill/>
                  </a:ln>
                  <a:solidFill>
                    <a:srgbClr val="434343"/>
                  </a:solidFill>
                  <a:effectLst/>
                  <a:uLnTx/>
                  <a:uFillTx/>
                  <a:latin typeface="Arial"/>
                  <a:ea typeface="+mn-ea"/>
                  <a:cs typeface="+mn-ea"/>
                  <a:sym typeface="+mn-lt"/>
                </a:rPr>
                <a:t>Neptune</a:t>
              </a:r>
              <a:endParaRPr kumimoji="0" sz="1600" b="0" i="0" u="none" strike="noStrike" kern="1200" cap="none" spc="0" normalizeH="0" baseline="0" noProof="0">
                <a:ln>
                  <a:noFill/>
                </a:ln>
                <a:solidFill>
                  <a:srgbClr val="434343"/>
                </a:solidFill>
                <a:effectLst/>
                <a:uLnTx/>
                <a:uFillTx/>
                <a:latin typeface="Arial"/>
                <a:ea typeface="+mn-ea"/>
                <a:cs typeface="+mn-ea"/>
                <a:sym typeface="+mn-lt"/>
              </a:endParaRPr>
            </a:p>
          </p:txBody>
        </p:sp>
        <p:sp>
          <p:nvSpPr>
            <p:cNvPr id="5" name="Google Shape;1309;p36">
              <a:extLst>
                <a:ext uri="{FF2B5EF4-FFF2-40B4-BE49-F238E27FC236}">
                  <a16:creationId xmlns:a16="http://schemas.microsoft.com/office/drawing/2014/main" id="{E13ECA64-C268-4DBE-9193-809F1ECCC2AC}"/>
                </a:ext>
              </a:extLst>
            </p:cNvPr>
            <p:cNvSpPr txBox="1"/>
            <p:nvPr/>
          </p:nvSpPr>
          <p:spPr>
            <a:xfrm>
              <a:off x="5326825" y="1975075"/>
              <a:ext cx="964200" cy="258300"/>
            </a:xfrm>
            <a:prstGeom prst="rect">
              <a:avLst/>
            </a:prstGeom>
            <a:noFill/>
            <a:ln>
              <a:noFill/>
            </a:ln>
          </p:spPr>
          <p:txBody>
            <a:bodyPr spcFirstLastPara="1" wrap="square" lIns="121900" tIns="121900" rIns="121900" bIns="12190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 sz="1600" b="0" i="0" u="none" strike="noStrike" kern="1200" cap="none" spc="0" normalizeH="0" baseline="0" noProof="0">
                  <a:ln>
                    <a:noFill/>
                  </a:ln>
                  <a:solidFill>
                    <a:srgbClr val="434343"/>
                  </a:solidFill>
                  <a:effectLst/>
                  <a:uLnTx/>
                  <a:uFillTx/>
                  <a:latin typeface="Arial"/>
                  <a:ea typeface="+mn-ea"/>
                  <a:cs typeface="+mn-ea"/>
                  <a:sym typeface="+mn-lt"/>
                </a:rPr>
                <a:t>Pluto</a:t>
              </a:r>
              <a:endParaRPr kumimoji="0" sz="1600" b="0" i="0" u="none" strike="noStrike" kern="1200" cap="none" spc="0" normalizeH="0" baseline="0" noProof="0">
                <a:ln>
                  <a:noFill/>
                </a:ln>
                <a:solidFill>
                  <a:srgbClr val="434343"/>
                </a:solidFill>
                <a:effectLst/>
                <a:uLnTx/>
                <a:uFillTx/>
                <a:latin typeface="Arial"/>
                <a:ea typeface="+mn-ea"/>
                <a:cs typeface="+mn-ea"/>
                <a:sym typeface="+mn-lt"/>
              </a:endParaRPr>
            </a:p>
          </p:txBody>
        </p:sp>
        <p:cxnSp>
          <p:nvCxnSpPr>
            <p:cNvPr id="6" name="Google Shape;1310;p36">
              <a:extLst>
                <a:ext uri="{FF2B5EF4-FFF2-40B4-BE49-F238E27FC236}">
                  <a16:creationId xmlns:a16="http://schemas.microsoft.com/office/drawing/2014/main" id="{9BF369CD-DC67-4F5E-B636-2F1894B9AD22}"/>
                </a:ext>
              </a:extLst>
            </p:cNvPr>
            <p:cNvCxnSpPr>
              <a:stCxn id="4" idx="3"/>
            </p:cNvCxnSpPr>
            <p:nvPr/>
          </p:nvCxnSpPr>
          <p:spPr>
            <a:xfrm>
              <a:off x="5986225" y="1808100"/>
              <a:ext cx="289200" cy="0"/>
            </a:xfrm>
            <a:prstGeom prst="straightConnector1">
              <a:avLst/>
            </a:prstGeom>
            <a:noFill/>
            <a:ln w="9525" cap="flat" cmpd="sng">
              <a:solidFill>
                <a:schemeClr val="accent4"/>
              </a:solidFill>
              <a:prstDash val="solid"/>
              <a:round/>
              <a:headEnd type="none" w="med" len="med"/>
              <a:tailEnd type="none" w="med" len="med"/>
            </a:ln>
          </p:spPr>
        </p:cxnSp>
        <p:cxnSp>
          <p:nvCxnSpPr>
            <p:cNvPr id="7" name="Google Shape;1311;p36">
              <a:extLst>
                <a:ext uri="{FF2B5EF4-FFF2-40B4-BE49-F238E27FC236}">
                  <a16:creationId xmlns:a16="http://schemas.microsoft.com/office/drawing/2014/main" id="{F6C97F50-EAC7-4B08-9DE7-4E05241EF869}"/>
                </a:ext>
              </a:extLst>
            </p:cNvPr>
            <p:cNvCxnSpPr>
              <a:stCxn id="5" idx="3"/>
            </p:cNvCxnSpPr>
            <p:nvPr/>
          </p:nvCxnSpPr>
          <p:spPr>
            <a:xfrm>
              <a:off x="6291025" y="2104225"/>
              <a:ext cx="286200" cy="0"/>
            </a:xfrm>
            <a:prstGeom prst="straightConnector1">
              <a:avLst/>
            </a:prstGeom>
            <a:noFill/>
            <a:ln w="9525" cap="flat" cmpd="sng">
              <a:solidFill>
                <a:schemeClr val="accent4"/>
              </a:solidFill>
              <a:prstDash val="solid"/>
              <a:round/>
              <a:headEnd type="none" w="med" len="med"/>
              <a:tailEnd type="none" w="med" len="med"/>
            </a:ln>
          </p:spPr>
        </p:cxnSp>
      </p:grpSp>
      <p:grpSp>
        <p:nvGrpSpPr>
          <p:cNvPr id="8" name="Google Shape;1312;p36">
            <a:extLst>
              <a:ext uri="{FF2B5EF4-FFF2-40B4-BE49-F238E27FC236}">
                <a16:creationId xmlns:a16="http://schemas.microsoft.com/office/drawing/2014/main" id="{43AB9270-3A96-413C-B9FC-2495B9A0ED8D}"/>
              </a:ext>
            </a:extLst>
          </p:cNvPr>
          <p:cNvGrpSpPr/>
          <p:nvPr/>
        </p:nvGrpSpPr>
        <p:grpSpPr>
          <a:xfrm>
            <a:off x="3880067" y="1613743"/>
            <a:ext cx="3139959" cy="1815257"/>
            <a:chOff x="2937475" y="1366871"/>
            <a:chExt cx="2354969" cy="1361443"/>
          </a:xfrm>
        </p:grpSpPr>
        <p:sp>
          <p:nvSpPr>
            <p:cNvPr id="9" name="Google Shape;1313;p36">
              <a:extLst>
                <a:ext uri="{FF2B5EF4-FFF2-40B4-BE49-F238E27FC236}">
                  <a16:creationId xmlns:a16="http://schemas.microsoft.com/office/drawing/2014/main" id="{094A8956-40F2-4E75-A0C1-6701F86EDBDE}"/>
                </a:ext>
              </a:extLst>
            </p:cNvPr>
            <p:cNvSpPr/>
            <p:nvPr/>
          </p:nvSpPr>
          <p:spPr>
            <a:xfrm>
              <a:off x="3037501" y="1366871"/>
              <a:ext cx="2254944" cy="1361443"/>
            </a:xfrm>
            <a:custGeom>
              <a:avLst/>
              <a:gdLst/>
              <a:ahLst/>
              <a:cxnLst/>
              <a:rect l="l" t="t" r="r" b="b"/>
              <a:pathLst>
                <a:path w="72355" h="43685" extrusionOk="0">
                  <a:moveTo>
                    <a:pt x="1" y="0"/>
                  </a:moveTo>
                  <a:lnTo>
                    <a:pt x="6025" y="5954"/>
                  </a:lnTo>
                  <a:lnTo>
                    <a:pt x="26421" y="5954"/>
                  </a:lnTo>
                  <a:lnTo>
                    <a:pt x="63497" y="43684"/>
                  </a:lnTo>
                  <a:lnTo>
                    <a:pt x="72355" y="43684"/>
                  </a:lnTo>
                  <a:lnTo>
                    <a:pt x="29266" y="0"/>
                  </a:ln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10" name="Google Shape;1314;p36">
              <a:extLst>
                <a:ext uri="{FF2B5EF4-FFF2-40B4-BE49-F238E27FC236}">
                  <a16:creationId xmlns:a16="http://schemas.microsoft.com/office/drawing/2014/main" id="{E282842D-FB54-4185-BEEB-FCD2A498B507}"/>
                </a:ext>
              </a:extLst>
            </p:cNvPr>
            <p:cNvSpPr txBox="1"/>
            <p:nvPr/>
          </p:nvSpPr>
          <p:spPr>
            <a:xfrm>
              <a:off x="2937475" y="1755150"/>
              <a:ext cx="964200" cy="258300"/>
            </a:xfrm>
            <a:prstGeom prst="rect">
              <a:avLst/>
            </a:prstGeom>
            <a:noFill/>
            <a:ln>
              <a:noFill/>
            </a:ln>
          </p:spPr>
          <p:txBody>
            <a:bodyPr spcFirstLastPara="1" wrap="square" lIns="121900" tIns="121900" rIns="121900" bIns="12190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 sz="1600" b="0" i="0" u="none" strike="noStrike" kern="1200" cap="none" spc="0" normalizeH="0" baseline="0" noProof="0">
                  <a:ln>
                    <a:noFill/>
                  </a:ln>
                  <a:solidFill>
                    <a:srgbClr val="434343"/>
                  </a:solidFill>
                  <a:effectLst/>
                  <a:uLnTx/>
                  <a:uFillTx/>
                  <a:latin typeface="Arial"/>
                  <a:ea typeface="+mn-ea"/>
                  <a:cs typeface="+mn-ea"/>
                  <a:sym typeface="+mn-lt"/>
                </a:rPr>
                <a:t>Earth</a:t>
              </a:r>
              <a:endParaRPr kumimoji="0" sz="1600" b="0" i="0" u="none" strike="noStrike" kern="1200" cap="none" spc="0" normalizeH="0" baseline="0" noProof="0">
                <a:ln>
                  <a:noFill/>
                </a:ln>
                <a:solidFill>
                  <a:srgbClr val="434343"/>
                </a:solidFill>
                <a:effectLst/>
                <a:uLnTx/>
                <a:uFillTx/>
                <a:latin typeface="Arial"/>
                <a:ea typeface="+mn-ea"/>
                <a:cs typeface="+mn-ea"/>
                <a:sym typeface="+mn-lt"/>
              </a:endParaRPr>
            </a:p>
          </p:txBody>
        </p:sp>
        <p:sp>
          <p:nvSpPr>
            <p:cNvPr id="11" name="Google Shape;1315;p36">
              <a:extLst>
                <a:ext uri="{FF2B5EF4-FFF2-40B4-BE49-F238E27FC236}">
                  <a16:creationId xmlns:a16="http://schemas.microsoft.com/office/drawing/2014/main" id="{5EAF5ACC-2311-4ACB-AF6F-AFD6965882A2}"/>
                </a:ext>
              </a:extLst>
            </p:cNvPr>
            <p:cNvSpPr txBox="1"/>
            <p:nvPr/>
          </p:nvSpPr>
          <p:spPr>
            <a:xfrm>
              <a:off x="3242275" y="2051275"/>
              <a:ext cx="964200" cy="258300"/>
            </a:xfrm>
            <a:prstGeom prst="rect">
              <a:avLst/>
            </a:prstGeom>
            <a:noFill/>
            <a:ln>
              <a:noFill/>
            </a:ln>
          </p:spPr>
          <p:txBody>
            <a:bodyPr spcFirstLastPara="1" wrap="square" lIns="121900" tIns="121900" rIns="121900" bIns="12190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 sz="1600" b="0" i="0" u="none" strike="noStrike" kern="1200" cap="none" spc="0" normalizeH="0" baseline="0" noProof="0">
                  <a:ln>
                    <a:noFill/>
                  </a:ln>
                  <a:solidFill>
                    <a:srgbClr val="434343"/>
                  </a:solidFill>
                  <a:effectLst/>
                  <a:uLnTx/>
                  <a:uFillTx/>
                  <a:latin typeface="Arial"/>
                  <a:ea typeface="+mn-ea"/>
                  <a:cs typeface="+mn-ea"/>
                  <a:sym typeface="+mn-lt"/>
                </a:rPr>
                <a:t>Callisto</a:t>
              </a:r>
              <a:endParaRPr kumimoji="0" sz="1600" b="0" i="0" u="none" strike="noStrike" kern="1200" cap="none" spc="0" normalizeH="0" baseline="0" noProof="0">
                <a:ln>
                  <a:noFill/>
                </a:ln>
                <a:solidFill>
                  <a:srgbClr val="434343"/>
                </a:solidFill>
                <a:effectLst/>
                <a:uLnTx/>
                <a:uFillTx/>
                <a:latin typeface="Arial"/>
                <a:ea typeface="+mn-ea"/>
                <a:cs typeface="+mn-ea"/>
                <a:sym typeface="+mn-lt"/>
              </a:endParaRPr>
            </a:p>
          </p:txBody>
        </p:sp>
        <p:cxnSp>
          <p:nvCxnSpPr>
            <p:cNvPr id="12" name="Google Shape;1316;p36">
              <a:extLst>
                <a:ext uri="{FF2B5EF4-FFF2-40B4-BE49-F238E27FC236}">
                  <a16:creationId xmlns:a16="http://schemas.microsoft.com/office/drawing/2014/main" id="{878592CB-2A70-4B31-A696-3046BB1A0A0F}"/>
                </a:ext>
              </a:extLst>
            </p:cNvPr>
            <p:cNvCxnSpPr>
              <a:stCxn id="10" idx="3"/>
            </p:cNvCxnSpPr>
            <p:nvPr/>
          </p:nvCxnSpPr>
          <p:spPr>
            <a:xfrm>
              <a:off x="3901675" y="1884300"/>
              <a:ext cx="289200" cy="0"/>
            </a:xfrm>
            <a:prstGeom prst="straightConnector1">
              <a:avLst/>
            </a:prstGeom>
            <a:noFill/>
            <a:ln w="9525" cap="flat" cmpd="sng">
              <a:solidFill>
                <a:schemeClr val="accent1">
                  <a:lumMod val="100000"/>
                </a:schemeClr>
              </a:solidFill>
              <a:prstDash val="solid"/>
              <a:round/>
              <a:headEnd type="none" w="med" len="med"/>
              <a:tailEnd type="none" w="med" len="med"/>
            </a:ln>
          </p:spPr>
        </p:cxnSp>
        <p:cxnSp>
          <p:nvCxnSpPr>
            <p:cNvPr id="13" name="Google Shape;1317;p36">
              <a:extLst>
                <a:ext uri="{FF2B5EF4-FFF2-40B4-BE49-F238E27FC236}">
                  <a16:creationId xmlns:a16="http://schemas.microsoft.com/office/drawing/2014/main" id="{B2993DF5-D223-437C-9DF2-C63AA65BCB2C}"/>
                </a:ext>
              </a:extLst>
            </p:cNvPr>
            <p:cNvCxnSpPr>
              <a:stCxn id="11" idx="3"/>
            </p:cNvCxnSpPr>
            <p:nvPr/>
          </p:nvCxnSpPr>
          <p:spPr>
            <a:xfrm>
              <a:off x="4206475" y="2180425"/>
              <a:ext cx="286200" cy="0"/>
            </a:xfrm>
            <a:prstGeom prst="straightConnector1">
              <a:avLst/>
            </a:prstGeom>
            <a:noFill/>
            <a:ln w="9525" cap="flat" cmpd="sng">
              <a:solidFill>
                <a:schemeClr val="accent1">
                  <a:lumMod val="100000"/>
                </a:schemeClr>
              </a:solidFill>
              <a:prstDash val="solid"/>
              <a:round/>
              <a:headEnd type="none" w="med" len="med"/>
              <a:tailEnd type="none" w="med" len="med"/>
            </a:ln>
          </p:spPr>
        </p:cxnSp>
      </p:grpSp>
      <p:grpSp>
        <p:nvGrpSpPr>
          <p:cNvPr id="14" name="Google Shape;1318;p36">
            <a:extLst>
              <a:ext uri="{FF2B5EF4-FFF2-40B4-BE49-F238E27FC236}">
                <a16:creationId xmlns:a16="http://schemas.microsoft.com/office/drawing/2014/main" id="{9AC682E0-D910-4DCD-AC9C-D1268BC8D411}"/>
              </a:ext>
            </a:extLst>
          </p:cNvPr>
          <p:cNvGrpSpPr/>
          <p:nvPr/>
        </p:nvGrpSpPr>
        <p:grpSpPr>
          <a:xfrm>
            <a:off x="1063200" y="1690413"/>
            <a:ext cx="3142088" cy="1738093"/>
            <a:chOff x="824825" y="1424374"/>
            <a:chExt cx="2356566" cy="1303570"/>
          </a:xfrm>
        </p:grpSpPr>
        <p:sp>
          <p:nvSpPr>
            <p:cNvPr id="15" name="Google Shape;1319;p36">
              <a:extLst>
                <a:ext uri="{FF2B5EF4-FFF2-40B4-BE49-F238E27FC236}">
                  <a16:creationId xmlns:a16="http://schemas.microsoft.com/office/drawing/2014/main" id="{BD501F1A-734F-41F9-94C8-C20C5F654B77}"/>
                </a:ext>
              </a:extLst>
            </p:cNvPr>
            <p:cNvSpPr/>
            <p:nvPr/>
          </p:nvSpPr>
          <p:spPr>
            <a:xfrm>
              <a:off x="974316" y="1424374"/>
              <a:ext cx="2207074" cy="1303570"/>
            </a:xfrm>
            <a:custGeom>
              <a:avLst/>
              <a:gdLst/>
              <a:ahLst/>
              <a:cxnLst/>
              <a:rect l="l" t="t" r="r" b="b"/>
              <a:pathLst>
                <a:path w="70819" h="41828" extrusionOk="0">
                  <a:moveTo>
                    <a:pt x="0" y="1"/>
                  </a:moveTo>
                  <a:lnTo>
                    <a:pt x="6025" y="5954"/>
                  </a:lnTo>
                  <a:lnTo>
                    <a:pt x="26420" y="5954"/>
                  </a:lnTo>
                  <a:lnTo>
                    <a:pt x="62270" y="41827"/>
                  </a:lnTo>
                  <a:lnTo>
                    <a:pt x="70818" y="41827"/>
                  </a:lnTo>
                  <a:lnTo>
                    <a:pt x="29266" y="1"/>
                  </a:ln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16" name="Google Shape;1320;p36">
              <a:extLst>
                <a:ext uri="{FF2B5EF4-FFF2-40B4-BE49-F238E27FC236}">
                  <a16:creationId xmlns:a16="http://schemas.microsoft.com/office/drawing/2014/main" id="{F8329C28-0CB3-48F6-B7B3-CBD23EC6751E}"/>
                </a:ext>
              </a:extLst>
            </p:cNvPr>
            <p:cNvSpPr txBox="1"/>
            <p:nvPr/>
          </p:nvSpPr>
          <p:spPr>
            <a:xfrm>
              <a:off x="824825" y="1755150"/>
              <a:ext cx="964200" cy="258300"/>
            </a:xfrm>
            <a:prstGeom prst="rect">
              <a:avLst/>
            </a:prstGeom>
            <a:noFill/>
            <a:ln>
              <a:noFill/>
            </a:ln>
          </p:spPr>
          <p:txBody>
            <a:bodyPr spcFirstLastPara="1" wrap="square" lIns="121900" tIns="121900" rIns="121900" bIns="12190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 sz="1600" b="0" i="0" u="none" strike="noStrike" kern="1200" cap="none" spc="0" normalizeH="0" baseline="0" noProof="0">
                  <a:ln>
                    <a:noFill/>
                  </a:ln>
                  <a:solidFill>
                    <a:srgbClr val="434343"/>
                  </a:solidFill>
                  <a:effectLst/>
                  <a:uLnTx/>
                  <a:uFillTx/>
                  <a:latin typeface="Arial"/>
                  <a:ea typeface="+mn-ea"/>
                  <a:cs typeface="+mn-ea"/>
                  <a:sym typeface="+mn-lt"/>
                </a:rPr>
                <a:t>Mercury</a:t>
              </a:r>
              <a:endParaRPr kumimoji="0" sz="1600" b="0" i="0" u="none" strike="noStrike" kern="1200" cap="none" spc="0" normalizeH="0" baseline="0" noProof="0">
                <a:ln>
                  <a:noFill/>
                </a:ln>
                <a:solidFill>
                  <a:srgbClr val="434343"/>
                </a:solidFill>
                <a:effectLst/>
                <a:uLnTx/>
                <a:uFillTx/>
                <a:latin typeface="Arial"/>
                <a:ea typeface="+mn-ea"/>
                <a:cs typeface="+mn-ea"/>
                <a:sym typeface="+mn-lt"/>
              </a:endParaRPr>
            </a:p>
          </p:txBody>
        </p:sp>
        <p:sp>
          <p:nvSpPr>
            <p:cNvPr id="17" name="Google Shape;1321;p36">
              <a:extLst>
                <a:ext uri="{FF2B5EF4-FFF2-40B4-BE49-F238E27FC236}">
                  <a16:creationId xmlns:a16="http://schemas.microsoft.com/office/drawing/2014/main" id="{ECE08DEF-A66A-46B9-AD70-6D897AC7DBF0}"/>
                </a:ext>
              </a:extLst>
            </p:cNvPr>
            <p:cNvSpPr txBox="1"/>
            <p:nvPr/>
          </p:nvSpPr>
          <p:spPr>
            <a:xfrm>
              <a:off x="1129625" y="2051275"/>
              <a:ext cx="964200" cy="258300"/>
            </a:xfrm>
            <a:prstGeom prst="rect">
              <a:avLst/>
            </a:prstGeom>
            <a:noFill/>
            <a:ln>
              <a:noFill/>
            </a:ln>
          </p:spPr>
          <p:txBody>
            <a:bodyPr spcFirstLastPara="1" wrap="square" lIns="121900" tIns="121900" rIns="121900" bIns="12190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 sz="1600" b="0" i="0" u="none" strike="noStrike" kern="1200" cap="none" spc="0" normalizeH="0" baseline="0" noProof="0">
                  <a:ln>
                    <a:noFill/>
                  </a:ln>
                  <a:solidFill>
                    <a:srgbClr val="434343"/>
                  </a:solidFill>
                  <a:effectLst/>
                  <a:uLnTx/>
                  <a:uFillTx/>
                  <a:latin typeface="Arial"/>
                  <a:ea typeface="+mn-ea"/>
                  <a:cs typeface="+mn-ea"/>
                  <a:sym typeface="+mn-lt"/>
                </a:rPr>
                <a:t>Venus</a:t>
              </a:r>
              <a:endParaRPr kumimoji="0" sz="1600" b="0" i="0" u="none" strike="noStrike" kern="1200" cap="none" spc="0" normalizeH="0" baseline="0" noProof="0">
                <a:ln>
                  <a:noFill/>
                </a:ln>
                <a:solidFill>
                  <a:srgbClr val="434343"/>
                </a:solidFill>
                <a:effectLst/>
                <a:uLnTx/>
                <a:uFillTx/>
                <a:latin typeface="Arial"/>
                <a:ea typeface="+mn-ea"/>
                <a:cs typeface="+mn-ea"/>
                <a:sym typeface="+mn-lt"/>
              </a:endParaRPr>
            </a:p>
          </p:txBody>
        </p:sp>
        <p:cxnSp>
          <p:nvCxnSpPr>
            <p:cNvPr id="18" name="Google Shape;1322;p36">
              <a:extLst>
                <a:ext uri="{FF2B5EF4-FFF2-40B4-BE49-F238E27FC236}">
                  <a16:creationId xmlns:a16="http://schemas.microsoft.com/office/drawing/2014/main" id="{5C772647-D147-4741-8096-2B90C51C8897}"/>
                </a:ext>
              </a:extLst>
            </p:cNvPr>
            <p:cNvCxnSpPr>
              <a:stCxn id="16" idx="3"/>
            </p:cNvCxnSpPr>
            <p:nvPr/>
          </p:nvCxnSpPr>
          <p:spPr>
            <a:xfrm>
              <a:off x="1789025" y="1884300"/>
              <a:ext cx="289200" cy="0"/>
            </a:xfrm>
            <a:prstGeom prst="straightConnector1">
              <a:avLst/>
            </a:prstGeom>
            <a:noFill/>
            <a:ln w="9525" cap="flat" cmpd="sng">
              <a:solidFill>
                <a:schemeClr val="accent1">
                  <a:lumMod val="100000"/>
                </a:schemeClr>
              </a:solidFill>
              <a:prstDash val="solid"/>
              <a:round/>
              <a:headEnd type="none" w="med" len="med"/>
              <a:tailEnd type="none" w="med" len="med"/>
            </a:ln>
          </p:spPr>
        </p:cxnSp>
        <p:cxnSp>
          <p:nvCxnSpPr>
            <p:cNvPr id="19" name="Google Shape;1323;p36">
              <a:extLst>
                <a:ext uri="{FF2B5EF4-FFF2-40B4-BE49-F238E27FC236}">
                  <a16:creationId xmlns:a16="http://schemas.microsoft.com/office/drawing/2014/main" id="{A1A82422-8CD7-4864-9A4D-AD0E358AEE3B}"/>
                </a:ext>
              </a:extLst>
            </p:cNvPr>
            <p:cNvCxnSpPr>
              <a:stCxn id="17" idx="3"/>
            </p:cNvCxnSpPr>
            <p:nvPr/>
          </p:nvCxnSpPr>
          <p:spPr>
            <a:xfrm>
              <a:off x="2093825" y="2180425"/>
              <a:ext cx="286200" cy="0"/>
            </a:xfrm>
            <a:prstGeom prst="straightConnector1">
              <a:avLst/>
            </a:prstGeom>
            <a:noFill/>
            <a:ln w="9525" cap="flat" cmpd="sng">
              <a:solidFill>
                <a:schemeClr val="accent1">
                  <a:lumMod val="100000"/>
                </a:schemeClr>
              </a:solidFill>
              <a:prstDash val="solid"/>
              <a:round/>
              <a:headEnd type="none" w="med" len="med"/>
              <a:tailEnd type="none" w="med" len="med"/>
            </a:ln>
          </p:spPr>
        </p:cxnSp>
      </p:grpSp>
      <p:grpSp>
        <p:nvGrpSpPr>
          <p:cNvPr id="20" name="Google Shape;1324;p36">
            <a:extLst>
              <a:ext uri="{FF2B5EF4-FFF2-40B4-BE49-F238E27FC236}">
                <a16:creationId xmlns:a16="http://schemas.microsoft.com/office/drawing/2014/main" id="{C6CE5B46-B6BC-4904-AC50-A9BEC2C7B162}"/>
              </a:ext>
            </a:extLst>
          </p:cNvPr>
          <p:cNvGrpSpPr/>
          <p:nvPr/>
        </p:nvGrpSpPr>
        <p:grpSpPr>
          <a:xfrm>
            <a:off x="6659467" y="3498336"/>
            <a:ext cx="3279224" cy="1891923"/>
            <a:chOff x="5022025" y="2780317"/>
            <a:chExt cx="2459418" cy="1418942"/>
          </a:xfrm>
        </p:grpSpPr>
        <p:sp>
          <p:nvSpPr>
            <p:cNvPr id="21" name="Google Shape;1325;p36">
              <a:extLst>
                <a:ext uri="{FF2B5EF4-FFF2-40B4-BE49-F238E27FC236}">
                  <a16:creationId xmlns:a16="http://schemas.microsoft.com/office/drawing/2014/main" id="{82E18171-B47C-442A-940A-7B7913199439}"/>
                </a:ext>
              </a:extLst>
            </p:cNvPr>
            <p:cNvSpPr/>
            <p:nvPr/>
          </p:nvSpPr>
          <p:spPr>
            <a:xfrm>
              <a:off x="5129670" y="2780317"/>
              <a:ext cx="2351773" cy="1418942"/>
            </a:xfrm>
            <a:custGeom>
              <a:avLst/>
              <a:gdLst/>
              <a:ahLst/>
              <a:cxnLst/>
              <a:rect l="l" t="t" r="r" b="b"/>
              <a:pathLst>
                <a:path w="75462" h="45530" extrusionOk="0">
                  <a:moveTo>
                    <a:pt x="66592" y="0"/>
                  </a:moveTo>
                  <a:lnTo>
                    <a:pt x="26420" y="39577"/>
                  </a:lnTo>
                  <a:lnTo>
                    <a:pt x="6025" y="39577"/>
                  </a:lnTo>
                  <a:lnTo>
                    <a:pt x="0" y="45530"/>
                  </a:lnTo>
                  <a:lnTo>
                    <a:pt x="29266" y="45530"/>
                  </a:lnTo>
                  <a:lnTo>
                    <a:pt x="75462" y="0"/>
                  </a:ln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22" name="Google Shape;1326;p36">
              <a:extLst>
                <a:ext uri="{FF2B5EF4-FFF2-40B4-BE49-F238E27FC236}">
                  <a16:creationId xmlns:a16="http://schemas.microsoft.com/office/drawing/2014/main" id="{2D31D108-6D03-48E5-ABCC-D02F6C9F5748}"/>
                </a:ext>
              </a:extLst>
            </p:cNvPr>
            <p:cNvSpPr txBox="1"/>
            <p:nvPr/>
          </p:nvSpPr>
          <p:spPr>
            <a:xfrm>
              <a:off x="5326825" y="3277900"/>
              <a:ext cx="964200" cy="258300"/>
            </a:xfrm>
            <a:prstGeom prst="rect">
              <a:avLst/>
            </a:prstGeom>
            <a:noFill/>
            <a:ln>
              <a:noFill/>
            </a:ln>
          </p:spPr>
          <p:txBody>
            <a:bodyPr spcFirstLastPara="1" wrap="square" lIns="121900" tIns="121900" rIns="121900" bIns="12190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 sz="1600" b="0" i="0" u="none" strike="noStrike" kern="1200" cap="none" spc="0" normalizeH="0" baseline="0" noProof="0">
                  <a:ln>
                    <a:noFill/>
                  </a:ln>
                  <a:solidFill>
                    <a:srgbClr val="434343"/>
                  </a:solidFill>
                  <a:effectLst/>
                  <a:uLnTx/>
                  <a:uFillTx/>
                  <a:latin typeface="Arial"/>
                  <a:ea typeface="+mn-ea"/>
                  <a:cs typeface="+mn-ea"/>
                  <a:sym typeface="+mn-lt"/>
                </a:rPr>
                <a:t>Thebe</a:t>
              </a:r>
              <a:endParaRPr kumimoji="0" sz="1600" b="0" i="0" u="none" strike="noStrike" kern="1200" cap="none" spc="0" normalizeH="0" baseline="0" noProof="0">
                <a:ln>
                  <a:noFill/>
                </a:ln>
                <a:solidFill>
                  <a:srgbClr val="434343"/>
                </a:solidFill>
                <a:effectLst/>
                <a:uLnTx/>
                <a:uFillTx/>
                <a:latin typeface="Arial"/>
                <a:ea typeface="+mn-ea"/>
                <a:cs typeface="+mn-ea"/>
                <a:sym typeface="+mn-lt"/>
              </a:endParaRPr>
            </a:p>
          </p:txBody>
        </p:sp>
        <p:sp>
          <p:nvSpPr>
            <p:cNvPr id="23" name="Google Shape;1327;p36">
              <a:extLst>
                <a:ext uri="{FF2B5EF4-FFF2-40B4-BE49-F238E27FC236}">
                  <a16:creationId xmlns:a16="http://schemas.microsoft.com/office/drawing/2014/main" id="{800E025C-51C2-43D6-B408-F3E75BD6A90C}"/>
                </a:ext>
              </a:extLst>
            </p:cNvPr>
            <p:cNvSpPr txBox="1"/>
            <p:nvPr/>
          </p:nvSpPr>
          <p:spPr>
            <a:xfrm>
              <a:off x="5022025" y="3574025"/>
              <a:ext cx="964200" cy="258300"/>
            </a:xfrm>
            <a:prstGeom prst="rect">
              <a:avLst/>
            </a:prstGeom>
            <a:noFill/>
            <a:ln>
              <a:noFill/>
            </a:ln>
          </p:spPr>
          <p:txBody>
            <a:bodyPr spcFirstLastPara="1" wrap="square" lIns="121900" tIns="121900" rIns="121900" bIns="12190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 sz="1600" b="0" i="0" u="none" strike="noStrike" kern="1200" cap="none" spc="0" normalizeH="0" baseline="0" noProof="0">
                  <a:ln>
                    <a:noFill/>
                  </a:ln>
                  <a:solidFill>
                    <a:srgbClr val="434343"/>
                  </a:solidFill>
                  <a:effectLst/>
                  <a:uLnTx/>
                  <a:uFillTx/>
                  <a:latin typeface="Arial"/>
                  <a:ea typeface="+mn-ea"/>
                  <a:cs typeface="+mn-ea"/>
                  <a:sym typeface="+mn-lt"/>
                </a:rPr>
                <a:t>Metis</a:t>
              </a:r>
              <a:endParaRPr kumimoji="0" sz="1600" b="0" i="0" u="none" strike="noStrike" kern="1200" cap="none" spc="0" normalizeH="0" baseline="0" noProof="0">
                <a:ln>
                  <a:noFill/>
                </a:ln>
                <a:solidFill>
                  <a:srgbClr val="434343"/>
                </a:solidFill>
                <a:effectLst/>
                <a:uLnTx/>
                <a:uFillTx/>
                <a:latin typeface="Arial"/>
                <a:ea typeface="+mn-ea"/>
                <a:cs typeface="+mn-ea"/>
                <a:sym typeface="+mn-lt"/>
              </a:endParaRPr>
            </a:p>
          </p:txBody>
        </p:sp>
        <p:cxnSp>
          <p:nvCxnSpPr>
            <p:cNvPr id="24" name="Google Shape;1328;p36">
              <a:extLst>
                <a:ext uri="{FF2B5EF4-FFF2-40B4-BE49-F238E27FC236}">
                  <a16:creationId xmlns:a16="http://schemas.microsoft.com/office/drawing/2014/main" id="{2E0DA13D-89CC-4BB0-8355-ED687D57C8EF}"/>
                </a:ext>
              </a:extLst>
            </p:cNvPr>
            <p:cNvCxnSpPr>
              <a:stCxn id="22" idx="3"/>
            </p:cNvCxnSpPr>
            <p:nvPr/>
          </p:nvCxnSpPr>
          <p:spPr>
            <a:xfrm>
              <a:off x="6291025" y="3407050"/>
              <a:ext cx="289200" cy="0"/>
            </a:xfrm>
            <a:prstGeom prst="straightConnector1">
              <a:avLst/>
            </a:prstGeom>
            <a:noFill/>
            <a:ln w="9525" cap="flat" cmpd="sng">
              <a:solidFill>
                <a:schemeClr val="accent4"/>
              </a:solidFill>
              <a:prstDash val="solid"/>
              <a:round/>
              <a:headEnd type="none" w="med" len="med"/>
              <a:tailEnd type="none" w="med" len="med"/>
            </a:ln>
          </p:spPr>
        </p:cxnSp>
        <p:cxnSp>
          <p:nvCxnSpPr>
            <p:cNvPr id="25" name="Google Shape;1329;p36">
              <a:extLst>
                <a:ext uri="{FF2B5EF4-FFF2-40B4-BE49-F238E27FC236}">
                  <a16:creationId xmlns:a16="http://schemas.microsoft.com/office/drawing/2014/main" id="{6DBB68F9-462D-409F-881A-0E9284245E4B}"/>
                </a:ext>
              </a:extLst>
            </p:cNvPr>
            <p:cNvCxnSpPr>
              <a:stCxn id="23" idx="3"/>
            </p:cNvCxnSpPr>
            <p:nvPr/>
          </p:nvCxnSpPr>
          <p:spPr>
            <a:xfrm>
              <a:off x="5986225" y="3703175"/>
              <a:ext cx="286200" cy="0"/>
            </a:xfrm>
            <a:prstGeom prst="straightConnector1">
              <a:avLst/>
            </a:prstGeom>
            <a:noFill/>
            <a:ln w="9525" cap="flat" cmpd="sng">
              <a:solidFill>
                <a:schemeClr val="accent4"/>
              </a:solidFill>
              <a:prstDash val="solid"/>
              <a:round/>
              <a:headEnd type="none" w="med" len="med"/>
              <a:tailEnd type="none" w="med" len="med"/>
            </a:ln>
          </p:spPr>
        </p:cxnSp>
      </p:grpSp>
      <p:grpSp>
        <p:nvGrpSpPr>
          <p:cNvPr id="26" name="Google Shape;1330;p36">
            <a:extLst>
              <a:ext uri="{FF2B5EF4-FFF2-40B4-BE49-F238E27FC236}">
                <a16:creationId xmlns:a16="http://schemas.microsoft.com/office/drawing/2014/main" id="{529B9EE0-BA3D-4D09-8F3E-53CBE3B67E06}"/>
              </a:ext>
            </a:extLst>
          </p:cNvPr>
          <p:cNvGrpSpPr/>
          <p:nvPr/>
        </p:nvGrpSpPr>
        <p:grpSpPr>
          <a:xfrm>
            <a:off x="3880085" y="3498337"/>
            <a:ext cx="3139943" cy="1815257"/>
            <a:chOff x="2937488" y="2780317"/>
            <a:chExt cx="2354957" cy="1361443"/>
          </a:xfrm>
        </p:grpSpPr>
        <p:sp>
          <p:nvSpPr>
            <p:cNvPr id="27" name="Google Shape;1331;p36">
              <a:extLst>
                <a:ext uri="{FF2B5EF4-FFF2-40B4-BE49-F238E27FC236}">
                  <a16:creationId xmlns:a16="http://schemas.microsoft.com/office/drawing/2014/main" id="{EBA4BB4A-DB00-4212-9EF1-5AA2F2F3F23D}"/>
                </a:ext>
              </a:extLst>
            </p:cNvPr>
            <p:cNvSpPr/>
            <p:nvPr/>
          </p:nvSpPr>
          <p:spPr>
            <a:xfrm>
              <a:off x="3037501" y="2780317"/>
              <a:ext cx="2254944" cy="1361443"/>
            </a:xfrm>
            <a:custGeom>
              <a:avLst/>
              <a:gdLst/>
              <a:ahLst/>
              <a:cxnLst/>
              <a:rect l="l" t="t" r="r" b="b"/>
              <a:pathLst>
                <a:path w="72355" h="43685" extrusionOk="0">
                  <a:moveTo>
                    <a:pt x="63497" y="0"/>
                  </a:moveTo>
                  <a:lnTo>
                    <a:pt x="26421" y="37731"/>
                  </a:lnTo>
                  <a:lnTo>
                    <a:pt x="6025" y="37731"/>
                  </a:lnTo>
                  <a:lnTo>
                    <a:pt x="1" y="43684"/>
                  </a:lnTo>
                  <a:lnTo>
                    <a:pt x="29266" y="43684"/>
                  </a:lnTo>
                  <a:lnTo>
                    <a:pt x="72355" y="0"/>
                  </a:ln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28" name="Google Shape;1332;p36">
              <a:extLst>
                <a:ext uri="{FF2B5EF4-FFF2-40B4-BE49-F238E27FC236}">
                  <a16:creationId xmlns:a16="http://schemas.microsoft.com/office/drawing/2014/main" id="{FD853CE7-2061-4432-BDDD-5A8ADD73202F}"/>
                </a:ext>
              </a:extLst>
            </p:cNvPr>
            <p:cNvSpPr txBox="1"/>
            <p:nvPr/>
          </p:nvSpPr>
          <p:spPr>
            <a:xfrm>
              <a:off x="3242288" y="3201700"/>
              <a:ext cx="964200" cy="258300"/>
            </a:xfrm>
            <a:prstGeom prst="rect">
              <a:avLst/>
            </a:prstGeom>
            <a:noFill/>
            <a:ln>
              <a:noFill/>
            </a:ln>
          </p:spPr>
          <p:txBody>
            <a:bodyPr spcFirstLastPara="1" wrap="square" lIns="121900" tIns="121900" rIns="121900" bIns="12190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 sz="1600" b="0" i="0" u="none" strike="noStrike" kern="1200" cap="none" spc="0" normalizeH="0" baseline="0" noProof="0">
                  <a:ln>
                    <a:noFill/>
                  </a:ln>
                  <a:solidFill>
                    <a:srgbClr val="434343"/>
                  </a:solidFill>
                  <a:effectLst/>
                  <a:uLnTx/>
                  <a:uFillTx/>
                  <a:latin typeface="Arial"/>
                  <a:ea typeface="+mn-ea"/>
                  <a:cs typeface="+mn-ea"/>
                  <a:sym typeface="+mn-lt"/>
                </a:rPr>
                <a:t>Jupiter</a:t>
              </a:r>
              <a:endParaRPr kumimoji="0" sz="1600" b="0" i="0" u="none" strike="noStrike" kern="1200" cap="none" spc="0" normalizeH="0" baseline="0" noProof="0">
                <a:ln>
                  <a:noFill/>
                </a:ln>
                <a:solidFill>
                  <a:srgbClr val="434343"/>
                </a:solidFill>
                <a:effectLst/>
                <a:uLnTx/>
                <a:uFillTx/>
                <a:latin typeface="Arial"/>
                <a:ea typeface="+mn-ea"/>
                <a:cs typeface="+mn-ea"/>
                <a:sym typeface="+mn-lt"/>
              </a:endParaRPr>
            </a:p>
          </p:txBody>
        </p:sp>
        <p:sp>
          <p:nvSpPr>
            <p:cNvPr id="29" name="Google Shape;1333;p36">
              <a:extLst>
                <a:ext uri="{FF2B5EF4-FFF2-40B4-BE49-F238E27FC236}">
                  <a16:creationId xmlns:a16="http://schemas.microsoft.com/office/drawing/2014/main" id="{D1A6F550-F938-48E3-A252-1EFBB3E7E8A1}"/>
                </a:ext>
              </a:extLst>
            </p:cNvPr>
            <p:cNvSpPr txBox="1"/>
            <p:nvPr/>
          </p:nvSpPr>
          <p:spPr>
            <a:xfrm>
              <a:off x="2937488" y="3497825"/>
              <a:ext cx="964200" cy="258300"/>
            </a:xfrm>
            <a:prstGeom prst="rect">
              <a:avLst/>
            </a:prstGeom>
            <a:noFill/>
            <a:ln>
              <a:noFill/>
            </a:ln>
          </p:spPr>
          <p:txBody>
            <a:bodyPr spcFirstLastPara="1" wrap="square" lIns="121900" tIns="121900" rIns="121900" bIns="12190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 sz="1600" b="0" i="0" u="none" strike="noStrike" kern="1200" cap="none" spc="0" normalizeH="0" baseline="0" noProof="0">
                  <a:ln>
                    <a:noFill/>
                  </a:ln>
                  <a:solidFill>
                    <a:srgbClr val="434343"/>
                  </a:solidFill>
                  <a:effectLst/>
                  <a:uLnTx/>
                  <a:uFillTx/>
                  <a:latin typeface="Arial"/>
                  <a:ea typeface="+mn-ea"/>
                  <a:cs typeface="+mn-ea"/>
                  <a:sym typeface="+mn-lt"/>
                </a:rPr>
                <a:t>Saturn</a:t>
              </a:r>
              <a:endParaRPr kumimoji="0" sz="1600" b="0" i="0" u="none" strike="noStrike" kern="1200" cap="none" spc="0" normalizeH="0" baseline="0" noProof="0">
                <a:ln>
                  <a:noFill/>
                </a:ln>
                <a:solidFill>
                  <a:srgbClr val="434343"/>
                </a:solidFill>
                <a:effectLst/>
                <a:uLnTx/>
                <a:uFillTx/>
                <a:latin typeface="Arial"/>
                <a:ea typeface="+mn-ea"/>
                <a:cs typeface="+mn-ea"/>
                <a:sym typeface="+mn-lt"/>
              </a:endParaRPr>
            </a:p>
          </p:txBody>
        </p:sp>
        <p:cxnSp>
          <p:nvCxnSpPr>
            <p:cNvPr id="30" name="Google Shape;1334;p36">
              <a:extLst>
                <a:ext uri="{FF2B5EF4-FFF2-40B4-BE49-F238E27FC236}">
                  <a16:creationId xmlns:a16="http://schemas.microsoft.com/office/drawing/2014/main" id="{D00C033A-EACD-4673-9351-D3CA9624C393}"/>
                </a:ext>
              </a:extLst>
            </p:cNvPr>
            <p:cNvCxnSpPr>
              <a:stCxn id="28" idx="3"/>
            </p:cNvCxnSpPr>
            <p:nvPr/>
          </p:nvCxnSpPr>
          <p:spPr>
            <a:xfrm>
              <a:off x="4206488" y="3330850"/>
              <a:ext cx="289200" cy="0"/>
            </a:xfrm>
            <a:prstGeom prst="straightConnector1">
              <a:avLst/>
            </a:prstGeom>
            <a:noFill/>
            <a:ln w="9525" cap="flat" cmpd="sng">
              <a:solidFill>
                <a:schemeClr val="accent1">
                  <a:lumMod val="100000"/>
                </a:schemeClr>
              </a:solidFill>
              <a:prstDash val="solid"/>
              <a:round/>
              <a:headEnd type="none" w="med" len="med"/>
              <a:tailEnd type="none" w="med" len="med"/>
            </a:ln>
          </p:spPr>
        </p:cxnSp>
        <p:cxnSp>
          <p:nvCxnSpPr>
            <p:cNvPr id="31" name="Google Shape;1335;p36">
              <a:extLst>
                <a:ext uri="{FF2B5EF4-FFF2-40B4-BE49-F238E27FC236}">
                  <a16:creationId xmlns:a16="http://schemas.microsoft.com/office/drawing/2014/main" id="{7E8B8D2F-DD96-420F-9EBC-EC151DF93AF7}"/>
                </a:ext>
              </a:extLst>
            </p:cNvPr>
            <p:cNvCxnSpPr>
              <a:stCxn id="29" idx="3"/>
            </p:cNvCxnSpPr>
            <p:nvPr/>
          </p:nvCxnSpPr>
          <p:spPr>
            <a:xfrm>
              <a:off x="3901688" y="3626975"/>
              <a:ext cx="286200" cy="0"/>
            </a:xfrm>
            <a:prstGeom prst="straightConnector1">
              <a:avLst/>
            </a:prstGeom>
            <a:noFill/>
            <a:ln w="9525" cap="flat" cmpd="sng">
              <a:solidFill>
                <a:schemeClr val="accent1">
                  <a:lumMod val="100000"/>
                </a:schemeClr>
              </a:solidFill>
              <a:prstDash val="solid"/>
              <a:round/>
              <a:headEnd type="none" w="med" len="med"/>
              <a:tailEnd type="none" w="med" len="med"/>
            </a:ln>
          </p:spPr>
        </p:cxnSp>
      </p:grpSp>
      <p:grpSp>
        <p:nvGrpSpPr>
          <p:cNvPr id="32" name="Google Shape;1336;p36">
            <a:extLst>
              <a:ext uri="{FF2B5EF4-FFF2-40B4-BE49-F238E27FC236}">
                <a16:creationId xmlns:a16="http://schemas.microsoft.com/office/drawing/2014/main" id="{B30F2A91-DC86-4AFA-8D22-EA2523B5993E}"/>
              </a:ext>
            </a:extLst>
          </p:cNvPr>
          <p:cNvGrpSpPr/>
          <p:nvPr/>
        </p:nvGrpSpPr>
        <p:grpSpPr>
          <a:xfrm>
            <a:off x="1073600" y="3498835"/>
            <a:ext cx="3131688" cy="1737552"/>
            <a:chOff x="832625" y="2780691"/>
            <a:chExt cx="2348766" cy="1303164"/>
          </a:xfrm>
        </p:grpSpPr>
        <p:sp>
          <p:nvSpPr>
            <p:cNvPr id="33" name="Google Shape;1337;p36">
              <a:extLst>
                <a:ext uri="{FF2B5EF4-FFF2-40B4-BE49-F238E27FC236}">
                  <a16:creationId xmlns:a16="http://schemas.microsoft.com/office/drawing/2014/main" id="{61FE97D3-F2F3-4B7E-833D-F2F5E6F22F4D}"/>
                </a:ext>
              </a:extLst>
            </p:cNvPr>
            <p:cNvSpPr/>
            <p:nvPr/>
          </p:nvSpPr>
          <p:spPr>
            <a:xfrm>
              <a:off x="974316" y="2780691"/>
              <a:ext cx="2207074" cy="1303164"/>
            </a:xfrm>
            <a:custGeom>
              <a:avLst/>
              <a:gdLst/>
              <a:ahLst/>
              <a:cxnLst/>
              <a:rect l="l" t="t" r="r" b="b"/>
              <a:pathLst>
                <a:path w="70819" h="41815" extrusionOk="0">
                  <a:moveTo>
                    <a:pt x="62270" y="0"/>
                  </a:moveTo>
                  <a:lnTo>
                    <a:pt x="26420" y="35874"/>
                  </a:lnTo>
                  <a:lnTo>
                    <a:pt x="6025" y="35874"/>
                  </a:lnTo>
                  <a:lnTo>
                    <a:pt x="0" y="41815"/>
                  </a:lnTo>
                  <a:lnTo>
                    <a:pt x="29266" y="41815"/>
                  </a:lnTo>
                  <a:lnTo>
                    <a:pt x="70818" y="0"/>
                  </a:ln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34" name="Google Shape;1338;p36">
              <a:extLst>
                <a:ext uri="{FF2B5EF4-FFF2-40B4-BE49-F238E27FC236}">
                  <a16:creationId xmlns:a16="http://schemas.microsoft.com/office/drawing/2014/main" id="{9EF535CE-4E5A-44BF-8B0B-69A814F4D82A}"/>
                </a:ext>
              </a:extLst>
            </p:cNvPr>
            <p:cNvSpPr txBox="1"/>
            <p:nvPr/>
          </p:nvSpPr>
          <p:spPr>
            <a:xfrm>
              <a:off x="1137425" y="3201700"/>
              <a:ext cx="964200" cy="258300"/>
            </a:xfrm>
            <a:prstGeom prst="rect">
              <a:avLst/>
            </a:prstGeom>
            <a:noFill/>
            <a:ln>
              <a:noFill/>
            </a:ln>
          </p:spPr>
          <p:txBody>
            <a:bodyPr spcFirstLastPara="1" wrap="square" lIns="121900" tIns="121900" rIns="121900" bIns="12190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 sz="1600" b="0" i="0" u="none" strike="noStrike" kern="1200" cap="none" spc="0" normalizeH="0" baseline="0" noProof="0">
                  <a:ln>
                    <a:noFill/>
                  </a:ln>
                  <a:solidFill>
                    <a:srgbClr val="434343"/>
                  </a:solidFill>
                  <a:effectLst/>
                  <a:uLnTx/>
                  <a:uFillTx/>
                  <a:latin typeface="Arial"/>
                  <a:ea typeface="+mn-ea"/>
                  <a:cs typeface="+mn-ea"/>
                  <a:sym typeface="+mn-lt"/>
                </a:rPr>
                <a:t>Sun</a:t>
              </a:r>
              <a:endParaRPr kumimoji="0" sz="1600" b="0" i="0" u="none" strike="noStrike" kern="1200" cap="none" spc="0" normalizeH="0" baseline="0" noProof="0">
                <a:ln>
                  <a:noFill/>
                </a:ln>
                <a:solidFill>
                  <a:srgbClr val="434343"/>
                </a:solidFill>
                <a:effectLst/>
                <a:uLnTx/>
                <a:uFillTx/>
                <a:latin typeface="Arial"/>
                <a:ea typeface="+mn-ea"/>
                <a:cs typeface="+mn-ea"/>
                <a:sym typeface="+mn-lt"/>
              </a:endParaRPr>
            </a:p>
          </p:txBody>
        </p:sp>
        <p:sp>
          <p:nvSpPr>
            <p:cNvPr id="35" name="Google Shape;1339;p36">
              <a:extLst>
                <a:ext uri="{FF2B5EF4-FFF2-40B4-BE49-F238E27FC236}">
                  <a16:creationId xmlns:a16="http://schemas.microsoft.com/office/drawing/2014/main" id="{E8B8D86A-8B5E-4E4D-A2B1-2A734CA490E7}"/>
                </a:ext>
              </a:extLst>
            </p:cNvPr>
            <p:cNvSpPr txBox="1"/>
            <p:nvPr/>
          </p:nvSpPr>
          <p:spPr>
            <a:xfrm>
              <a:off x="832625" y="3497825"/>
              <a:ext cx="964200" cy="258300"/>
            </a:xfrm>
            <a:prstGeom prst="rect">
              <a:avLst/>
            </a:prstGeom>
            <a:noFill/>
            <a:ln>
              <a:noFill/>
            </a:ln>
          </p:spPr>
          <p:txBody>
            <a:bodyPr spcFirstLastPara="1" wrap="square" lIns="121900" tIns="121900" rIns="121900" bIns="12190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 sz="1600" b="0" i="0" u="none" strike="noStrike" kern="1200" cap="none" spc="0" normalizeH="0" baseline="0" noProof="0">
                  <a:ln>
                    <a:noFill/>
                  </a:ln>
                  <a:solidFill>
                    <a:srgbClr val="434343"/>
                  </a:solidFill>
                  <a:effectLst/>
                  <a:uLnTx/>
                  <a:uFillTx/>
                  <a:latin typeface="Arial"/>
                  <a:ea typeface="+mn-ea"/>
                  <a:cs typeface="+mn-ea"/>
                  <a:sym typeface="+mn-lt"/>
                </a:rPr>
                <a:t>Moon</a:t>
              </a:r>
              <a:endParaRPr kumimoji="0" sz="1600" b="0" i="0" u="none" strike="noStrike" kern="1200" cap="none" spc="0" normalizeH="0" baseline="0" noProof="0">
                <a:ln>
                  <a:noFill/>
                </a:ln>
                <a:solidFill>
                  <a:srgbClr val="434343"/>
                </a:solidFill>
                <a:effectLst/>
                <a:uLnTx/>
                <a:uFillTx/>
                <a:latin typeface="Arial"/>
                <a:ea typeface="+mn-ea"/>
                <a:cs typeface="+mn-ea"/>
                <a:sym typeface="+mn-lt"/>
              </a:endParaRPr>
            </a:p>
          </p:txBody>
        </p:sp>
        <p:cxnSp>
          <p:nvCxnSpPr>
            <p:cNvPr id="36" name="Google Shape;1340;p36">
              <a:extLst>
                <a:ext uri="{FF2B5EF4-FFF2-40B4-BE49-F238E27FC236}">
                  <a16:creationId xmlns:a16="http://schemas.microsoft.com/office/drawing/2014/main" id="{5E51F82B-A5B2-41A7-8175-F148735E9F7B}"/>
                </a:ext>
              </a:extLst>
            </p:cNvPr>
            <p:cNvCxnSpPr>
              <a:stCxn id="34" idx="3"/>
            </p:cNvCxnSpPr>
            <p:nvPr/>
          </p:nvCxnSpPr>
          <p:spPr>
            <a:xfrm>
              <a:off x="2101625" y="3330850"/>
              <a:ext cx="289200" cy="0"/>
            </a:xfrm>
            <a:prstGeom prst="straightConnector1">
              <a:avLst/>
            </a:prstGeom>
            <a:noFill/>
            <a:ln w="9525" cap="flat" cmpd="sng">
              <a:solidFill>
                <a:schemeClr val="accent1">
                  <a:lumMod val="100000"/>
                </a:schemeClr>
              </a:solidFill>
              <a:prstDash val="solid"/>
              <a:round/>
              <a:headEnd type="none" w="med" len="med"/>
              <a:tailEnd type="none" w="med" len="med"/>
            </a:ln>
          </p:spPr>
        </p:cxnSp>
        <p:cxnSp>
          <p:nvCxnSpPr>
            <p:cNvPr id="37" name="Google Shape;1341;p36">
              <a:extLst>
                <a:ext uri="{FF2B5EF4-FFF2-40B4-BE49-F238E27FC236}">
                  <a16:creationId xmlns:a16="http://schemas.microsoft.com/office/drawing/2014/main" id="{B49E9126-3DFF-40A4-BADC-348A1B65B83D}"/>
                </a:ext>
              </a:extLst>
            </p:cNvPr>
            <p:cNvCxnSpPr>
              <a:stCxn id="35" idx="3"/>
            </p:cNvCxnSpPr>
            <p:nvPr/>
          </p:nvCxnSpPr>
          <p:spPr>
            <a:xfrm>
              <a:off x="1796825" y="3626975"/>
              <a:ext cx="286200" cy="0"/>
            </a:xfrm>
            <a:prstGeom prst="straightConnector1">
              <a:avLst/>
            </a:prstGeom>
            <a:noFill/>
            <a:ln w="9525" cap="flat" cmpd="sng">
              <a:solidFill>
                <a:schemeClr val="accent1">
                  <a:lumMod val="100000"/>
                </a:schemeClr>
              </a:solidFill>
              <a:prstDash val="solid"/>
              <a:round/>
              <a:headEnd type="none" w="med" len="med"/>
              <a:tailEnd type="none" w="med" len="med"/>
            </a:ln>
          </p:spPr>
        </p:cxnSp>
      </p:grpSp>
      <p:grpSp>
        <p:nvGrpSpPr>
          <p:cNvPr id="38" name="Google Shape;1343;p36">
            <a:extLst>
              <a:ext uri="{FF2B5EF4-FFF2-40B4-BE49-F238E27FC236}">
                <a16:creationId xmlns:a16="http://schemas.microsoft.com/office/drawing/2014/main" id="{FA6A6941-6FAD-4C81-9826-724EA127C56B}"/>
              </a:ext>
            </a:extLst>
          </p:cNvPr>
          <p:cNvGrpSpPr/>
          <p:nvPr/>
        </p:nvGrpSpPr>
        <p:grpSpPr>
          <a:xfrm>
            <a:off x="1030301" y="2508036"/>
            <a:ext cx="10131468" cy="1914804"/>
            <a:chOff x="800150" y="2037591"/>
            <a:chExt cx="7598601" cy="1436103"/>
          </a:xfrm>
        </p:grpSpPr>
        <p:sp>
          <p:nvSpPr>
            <p:cNvPr id="39" name="Google Shape;1344;p36">
              <a:extLst>
                <a:ext uri="{FF2B5EF4-FFF2-40B4-BE49-F238E27FC236}">
                  <a16:creationId xmlns:a16="http://schemas.microsoft.com/office/drawing/2014/main" id="{226FD891-3D2C-49C6-B87E-C30A2C7BED67}"/>
                </a:ext>
              </a:extLst>
            </p:cNvPr>
            <p:cNvSpPr/>
            <p:nvPr/>
          </p:nvSpPr>
          <p:spPr>
            <a:xfrm>
              <a:off x="800150" y="2479744"/>
              <a:ext cx="7239006" cy="551776"/>
            </a:xfrm>
            <a:custGeom>
              <a:avLst/>
              <a:gdLst/>
              <a:ahLst/>
              <a:cxnLst/>
              <a:rect l="l" t="t" r="r" b="b"/>
              <a:pathLst>
                <a:path w="232280" h="17705" extrusionOk="0">
                  <a:moveTo>
                    <a:pt x="1" y="0"/>
                  </a:moveTo>
                  <a:lnTo>
                    <a:pt x="1" y="8847"/>
                  </a:lnTo>
                  <a:lnTo>
                    <a:pt x="1" y="8858"/>
                  </a:lnTo>
                  <a:lnTo>
                    <a:pt x="1" y="17705"/>
                  </a:lnTo>
                  <a:lnTo>
                    <a:pt x="8573" y="10180"/>
                  </a:lnTo>
                  <a:lnTo>
                    <a:pt x="232280" y="10180"/>
                  </a:lnTo>
                  <a:lnTo>
                    <a:pt x="232280" y="7525"/>
                  </a:lnTo>
                  <a:lnTo>
                    <a:pt x="8573" y="7525"/>
                  </a:lnTo>
                  <a:lnTo>
                    <a:pt x="1" y="0"/>
                  </a:lnTo>
                  <a:close/>
                </a:path>
              </a:pathLst>
            </a:custGeom>
            <a:solidFill>
              <a:srgbClr val="E0E0E0"/>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40" name="Google Shape;1345;p36">
              <a:extLst>
                <a:ext uri="{FF2B5EF4-FFF2-40B4-BE49-F238E27FC236}">
                  <a16:creationId xmlns:a16="http://schemas.microsoft.com/office/drawing/2014/main" id="{A4C8F973-0369-4412-B334-3C6F96FE1A6B}"/>
                </a:ext>
              </a:extLst>
            </p:cNvPr>
            <p:cNvSpPr/>
            <p:nvPr/>
          </p:nvSpPr>
          <p:spPr>
            <a:xfrm>
              <a:off x="7680376" y="2037591"/>
              <a:ext cx="718375" cy="1436103"/>
            </a:xfrm>
            <a:custGeom>
              <a:avLst/>
              <a:gdLst/>
              <a:ahLst/>
              <a:cxnLst/>
              <a:rect l="l" t="t" r="r" b="b"/>
              <a:pathLst>
                <a:path w="14431" h="28849" extrusionOk="0">
                  <a:moveTo>
                    <a:pt x="0" y="0"/>
                  </a:moveTo>
                  <a:lnTo>
                    <a:pt x="0" y="13097"/>
                  </a:lnTo>
                  <a:lnTo>
                    <a:pt x="0" y="15752"/>
                  </a:lnTo>
                  <a:lnTo>
                    <a:pt x="0" y="28849"/>
                  </a:lnTo>
                  <a:lnTo>
                    <a:pt x="14419" y="14430"/>
                  </a:lnTo>
                  <a:lnTo>
                    <a:pt x="14431" y="14430"/>
                  </a:lnTo>
                  <a:lnTo>
                    <a:pt x="14431" y="14419"/>
                  </a:lnTo>
                  <a:lnTo>
                    <a:pt x="14419" y="14419"/>
                  </a:lnTo>
                  <a:lnTo>
                    <a:pt x="0" y="0"/>
                  </a:lnTo>
                  <a:close/>
                </a:path>
              </a:pathLst>
            </a:custGeom>
            <a:solidFill>
              <a:srgbClr val="E0E0E0"/>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100"/>
                <a:buFontTx/>
                <a:buNone/>
                <a:tabLst/>
                <a:defRPr/>
              </a:pPr>
              <a:r>
                <a:rPr kumimoji="0" lang="en" sz="2267" b="0" i="0" u="none" strike="noStrike" kern="1200" cap="none" spc="0" normalizeH="0" baseline="0" noProof="0">
                  <a:ln>
                    <a:noFill/>
                  </a:ln>
                  <a:solidFill>
                    <a:srgbClr val="434343"/>
                  </a:solidFill>
                  <a:effectLst/>
                  <a:uLnTx/>
                  <a:uFillTx/>
                  <a:latin typeface="Arial"/>
                  <a:ea typeface="+mn-ea"/>
                  <a:cs typeface="+mn-ea"/>
                  <a:sym typeface="+mn-lt"/>
                </a:rPr>
                <a:t>Mars</a:t>
              </a:r>
              <a:endParaRPr kumimoji="0" sz="2267" b="0" i="0" u="none" strike="noStrike" kern="1200" cap="none" spc="0" normalizeH="0" baseline="0" noProof="0">
                <a:ln>
                  <a:noFill/>
                </a:ln>
                <a:solidFill>
                  <a:srgbClr val="434343"/>
                </a:solidFill>
                <a:effectLst/>
                <a:uLnTx/>
                <a:uFillTx/>
                <a:latin typeface="Arial"/>
                <a:ea typeface="+mn-ea"/>
                <a:cs typeface="+mn-ea"/>
                <a:sym typeface="+mn-lt"/>
              </a:endParaRPr>
            </a:p>
          </p:txBody>
        </p:sp>
      </p:grpSp>
      <p:grpSp>
        <p:nvGrpSpPr>
          <p:cNvPr id="41" name="Google Shape;1346;p36">
            <a:extLst>
              <a:ext uri="{FF2B5EF4-FFF2-40B4-BE49-F238E27FC236}">
                <a16:creationId xmlns:a16="http://schemas.microsoft.com/office/drawing/2014/main" id="{D79BE944-BECF-4A2B-946E-008B8E76CE8B}"/>
              </a:ext>
            </a:extLst>
          </p:cNvPr>
          <p:cNvGrpSpPr/>
          <p:nvPr/>
        </p:nvGrpSpPr>
        <p:grpSpPr>
          <a:xfrm>
            <a:off x="2091345" y="2986327"/>
            <a:ext cx="957867" cy="957867"/>
            <a:chOff x="1550063" y="2350425"/>
            <a:chExt cx="810012" cy="810012"/>
          </a:xfrm>
        </p:grpSpPr>
        <p:sp>
          <p:nvSpPr>
            <p:cNvPr id="42" name="Google Shape;1347;p36">
              <a:extLst>
                <a:ext uri="{FF2B5EF4-FFF2-40B4-BE49-F238E27FC236}">
                  <a16:creationId xmlns:a16="http://schemas.microsoft.com/office/drawing/2014/main" id="{0BFF9EDC-B8DC-4EE1-8A26-D934C110FA89}"/>
                </a:ext>
              </a:extLst>
            </p:cNvPr>
            <p:cNvSpPr/>
            <p:nvPr/>
          </p:nvSpPr>
          <p:spPr>
            <a:xfrm>
              <a:off x="1550063" y="2350425"/>
              <a:ext cx="810012" cy="810012"/>
            </a:xfrm>
            <a:custGeom>
              <a:avLst/>
              <a:gdLst/>
              <a:ahLst/>
              <a:cxnLst/>
              <a:rect l="l" t="t" r="r" b="b"/>
              <a:pathLst>
                <a:path w="23051" h="23051" extrusionOk="0">
                  <a:moveTo>
                    <a:pt x="11525" y="0"/>
                  </a:moveTo>
                  <a:lnTo>
                    <a:pt x="0" y="11526"/>
                  </a:lnTo>
                  <a:lnTo>
                    <a:pt x="11525" y="23051"/>
                  </a:lnTo>
                  <a:lnTo>
                    <a:pt x="23051" y="11526"/>
                  </a:lnTo>
                  <a:lnTo>
                    <a:pt x="11525" y="0"/>
                  </a:lnTo>
                  <a:close/>
                </a:path>
              </a:pathLst>
            </a:custGeom>
            <a:solidFill>
              <a:schemeClr val="accent1">
                <a:alpha val="29020"/>
              </a:schemeClr>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43" name="Google Shape;1348;p36">
              <a:extLst>
                <a:ext uri="{FF2B5EF4-FFF2-40B4-BE49-F238E27FC236}">
                  <a16:creationId xmlns:a16="http://schemas.microsoft.com/office/drawing/2014/main" id="{2F09FF9A-7B0D-4CE1-940E-E33040D53BBF}"/>
                </a:ext>
              </a:extLst>
            </p:cNvPr>
            <p:cNvSpPr/>
            <p:nvPr/>
          </p:nvSpPr>
          <p:spPr>
            <a:xfrm>
              <a:off x="1619050" y="2419398"/>
              <a:ext cx="672897" cy="672938"/>
            </a:xfrm>
            <a:custGeom>
              <a:avLst/>
              <a:gdLst/>
              <a:ahLst/>
              <a:cxnLst/>
              <a:rect l="l" t="t" r="r" b="b"/>
              <a:pathLst>
                <a:path w="16527" h="16527" extrusionOk="0">
                  <a:moveTo>
                    <a:pt x="8263" y="1"/>
                  </a:moveTo>
                  <a:lnTo>
                    <a:pt x="0" y="8263"/>
                  </a:lnTo>
                  <a:lnTo>
                    <a:pt x="8263" y="16526"/>
                  </a:lnTo>
                  <a:lnTo>
                    <a:pt x="16526" y="8263"/>
                  </a:lnTo>
                  <a:lnTo>
                    <a:pt x="8263" y="1"/>
                  </a:ln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grpSp>
          <p:nvGrpSpPr>
            <p:cNvPr id="44" name="Google Shape;1349;p36">
              <a:extLst>
                <a:ext uri="{FF2B5EF4-FFF2-40B4-BE49-F238E27FC236}">
                  <a16:creationId xmlns:a16="http://schemas.microsoft.com/office/drawing/2014/main" id="{A56C40FC-540C-49C6-A06E-6786FD4EC1B4}"/>
                </a:ext>
              </a:extLst>
            </p:cNvPr>
            <p:cNvGrpSpPr/>
            <p:nvPr/>
          </p:nvGrpSpPr>
          <p:grpSpPr>
            <a:xfrm>
              <a:off x="1791469" y="2626635"/>
              <a:ext cx="328076" cy="258494"/>
              <a:chOff x="5629975" y="3255775"/>
              <a:chExt cx="504500" cy="397500"/>
            </a:xfrm>
          </p:grpSpPr>
          <p:sp>
            <p:nvSpPr>
              <p:cNvPr id="45" name="Google Shape;1350;p36">
                <a:extLst>
                  <a:ext uri="{FF2B5EF4-FFF2-40B4-BE49-F238E27FC236}">
                    <a16:creationId xmlns:a16="http://schemas.microsoft.com/office/drawing/2014/main" id="{7B5E0B3B-7258-4233-AB04-AFFF5200F424}"/>
                  </a:ext>
                </a:extLst>
              </p:cNvPr>
              <p:cNvSpPr/>
              <p:nvPr/>
            </p:nvSpPr>
            <p:spPr>
              <a:xfrm>
                <a:off x="5756375" y="3255775"/>
                <a:ext cx="112950" cy="143425"/>
              </a:xfrm>
              <a:custGeom>
                <a:avLst/>
                <a:gdLst/>
                <a:ahLst/>
                <a:cxnLst/>
                <a:rect l="l" t="t" r="r" b="b"/>
                <a:pathLst>
                  <a:path w="4518" h="5737" extrusionOk="0">
                    <a:moveTo>
                      <a:pt x="2259" y="0"/>
                    </a:moveTo>
                    <a:cubicBezTo>
                      <a:pt x="793" y="0"/>
                      <a:pt x="1" y="2469"/>
                      <a:pt x="1" y="3478"/>
                    </a:cubicBezTo>
                    <a:cubicBezTo>
                      <a:pt x="1" y="4725"/>
                      <a:pt x="1013" y="5733"/>
                      <a:pt x="2259" y="5736"/>
                    </a:cubicBezTo>
                    <a:cubicBezTo>
                      <a:pt x="3506" y="5733"/>
                      <a:pt x="4518" y="4725"/>
                      <a:pt x="4518" y="3478"/>
                    </a:cubicBezTo>
                    <a:cubicBezTo>
                      <a:pt x="4518" y="2469"/>
                      <a:pt x="3729" y="0"/>
                      <a:pt x="2259" y="0"/>
                    </a:cubicBezTo>
                    <a:close/>
                  </a:path>
                </a:pathLst>
              </a:custGeom>
              <a:solidFill>
                <a:srgbClr val="FFFFFF"/>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435D74"/>
                  </a:solidFill>
                  <a:effectLst/>
                  <a:uLnTx/>
                  <a:uFillTx/>
                  <a:latin typeface="Arial"/>
                  <a:ea typeface="+mn-ea"/>
                  <a:cs typeface="+mn-ea"/>
                  <a:sym typeface="+mn-lt"/>
                </a:endParaRPr>
              </a:p>
            </p:txBody>
          </p:sp>
          <p:sp>
            <p:nvSpPr>
              <p:cNvPr id="46" name="Google Shape;1351;p36">
                <a:extLst>
                  <a:ext uri="{FF2B5EF4-FFF2-40B4-BE49-F238E27FC236}">
                    <a16:creationId xmlns:a16="http://schemas.microsoft.com/office/drawing/2014/main" id="{8826FF6C-9AFA-49D1-998E-E491FC0A7B73}"/>
                  </a:ext>
                </a:extLst>
              </p:cNvPr>
              <p:cNvSpPr/>
              <p:nvPr/>
            </p:nvSpPr>
            <p:spPr>
              <a:xfrm>
                <a:off x="5629975" y="3374400"/>
                <a:ext cx="140575" cy="136175"/>
              </a:xfrm>
              <a:custGeom>
                <a:avLst/>
                <a:gdLst/>
                <a:ahLst/>
                <a:cxnLst/>
                <a:rect l="l" t="t" r="r" b="b"/>
                <a:pathLst>
                  <a:path w="5623" h="5447" extrusionOk="0">
                    <a:moveTo>
                      <a:pt x="1951" y="0"/>
                    </a:moveTo>
                    <a:cubicBezTo>
                      <a:pt x="1711" y="0"/>
                      <a:pt x="1480" y="53"/>
                      <a:pt x="1269" y="175"/>
                    </a:cubicBezTo>
                    <a:cubicBezTo>
                      <a:pt x="1" y="907"/>
                      <a:pt x="582" y="3443"/>
                      <a:pt x="1088" y="4316"/>
                    </a:cubicBezTo>
                    <a:cubicBezTo>
                      <a:pt x="1506" y="5041"/>
                      <a:pt x="2265" y="5447"/>
                      <a:pt x="3045" y="5447"/>
                    </a:cubicBezTo>
                    <a:cubicBezTo>
                      <a:pt x="3428" y="5447"/>
                      <a:pt x="3816" y="5349"/>
                      <a:pt x="4172" y="5144"/>
                    </a:cubicBezTo>
                    <a:cubicBezTo>
                      <a:pt x="5253" y="4521"/>
                      <a:pt x="5623" y="3138"/>
                      <a:pt x="5000" y="2057"/>
                    </a:cubicBezTo>
                    <a:cubicBezTo>
                      <a:pt x="4578" y="1330"/>
                      <a:pt x="3149" y="0"/>
                      <a:pt x="1951" y="0"/>
                    </a:cubicBezTo>
                    <a:close/>
                  </a:path>
                </a:pathLst>
              </a:custGeom>
              <a:solidFill>
                <a:srgbClr val="FFFFFF"/>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435D74"/>
                  </a:solidFill>
                  <a:effectLst/>
                  <a:uLnTx/>
                  <a:uFillTx/>
                  <a:latin typeface="Arial"/>
                  <a:ea typeface="+mn-ea"/>
                  <a:cs typeface="+mn-ea"/>
                  <a:sym typeface="+mn-lt"/>
                </a:endParaRPr>
              </a:p>
            </p:txBody>
          </p:sp>
          <p:sp>
            <p:nvSpPr>
              <p:cNvPr id="47" name="Google Shape;1352;p36">
                <a:extLst>
                  <a:ext uri="{FF2B5EF4-FFF2-40B4-BE49-F238E27FC236}">
                    <a16:creationId xmlns:a16="http://schemas.microsoft.com/office/drawing/2014/main" id="{097BA95B-A0E8-4DD2-A809-C99888C0F706}"/>
                  </a:ext>
                </a:extLst>
              </p:cNvPr>
              <p:cNvSpPr/>
              <p:nvPr/>
            </p:nvSpPr>
            <p:spPr>
              <a:xfrm>
                <a:off x="5897525" y="3255775"/>
                <a:ext cx="112950" cy="143425"/>
              </a:xfrm>
              <a:custGeom>
                <a:avLst/>
                <a:gdLst/>
                <a:ahLst/>
                <a:cxnLst/>
                <a:rect l="l" t="t" r="r" b="b"/>
                <a:pathLst>
                  <a:path w="4518" h="5737" extrusionOk="0">
                    <a:moveTo>
                      <a:pt x="2259" y="0"/>
                    </a:moveTo>
                    <a:cubicBezTo>
                      <a:pt x="793" y="0"/>
                      <a:pt x="1" y="2469"/>
                      <a:pt x="1" y="3478"/>
                    </a:cubicBezTo>
                    <a:cubicBezTo>
                      <a:pt x="1" y="4725"/>
                      <a:pt x="1013" y="5736"/>
                      <a:pt x="2259" y="5736"/>
                    </a:cubicBezTo>
                    <a:cubicBezTo>
                      <a:pt x="3506" y="5736"/>
                      <a:pt x="4518" y="4725"/>
                      <a:pt x="4518" y="3478"/>
                    </a:cubicBezTo>
                    <a:cubicBezTo>
                      <a:pt x="4518" y="2469"/>
                      <a:pt x="3729" y="0"/>
                      <a:pt x="2259" y="0"/>
                    </a:cubicBezTo>
                    <a:close/>
                  </a:path>
                </a:pathLst>
              </a:custGeom>
              <a:solidFill>
                <a:srgbClr val="FFFFFF"/>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435D74"/>
                  </a:solidFill>
                  <a:effectLst/>
                  <a:uLnTx/>
                  <a:uFillTx/>
                  <a:latin typeface="Arial"/>
                  <a:ea typeface="+mn-ea"/>
                  <a:cs typeface="+mn-ea"/>
                  <a:sym typeface="+mn-lt"/>
                </a:endParaRPr>
              </a:p>
            </p:txBody>
          </p:sp>
          <p:sp>
            <p:nvSpPr>
              <p:cNvPr id="48" name="Google Shape;1353;p36">
                <a:extLst>
                  <a:ext uri="{FF2B5EF4-FFF2-40B4-BE49-F238E27FC236}">
                    <a16:creationId xmlns:a16="http://schemas.microsoft.com/office/drawing/2014/main" id="{A2E0EEF2-2556-4875-8069-B79DD08C6009}"/>
                  </a:ext>
                </a:extLst>
              </p:cNvPr>
              <p:cNvSpPr/>
              <p:nvPr/>
            </p:nvSpPr>
            <p:spPr>
              <a:xfrm>
                <a:off x="5996075" y="3373900"/>
                <a:ext cx="138400" cy="136200"/>
              </a:xfrm>
              <a:custGeom>
                <a:avLst/>
                <a:gdLst/>
                <a:ahLst/>
                <a:cxnLst/>
                <a:rect l="l" t="t" r="r" b="b"/>
                <a:pathLst>
                  <a:path w="5536" h="5448" extrusionOk="0">
                    <a:moveTo>
                      <a:pt x="3670" y="1"/>
                    </a:moveTo>
                    <a:cubicBezTo>
                      <a:pt x="2471" y="1"/>
                      <a:pt x="1045" y="1330"/>
                      <a:pt x="624" y="2059"/>
                    </a:cubicBezTo>
                    <a:cubicBezTo>
                      <a:pt x="1" y="3137"/>
                      <a:pt x="371" y="4523"/>
                      <a:pt x="1452" y="5146"/>
                    </a:cubicBezTo>
                    <a:cubicBezTo>
                      <a:pt x="1808" y="5351"/>
                      <a:pt x="2199" y="5448"/>
                      <a:pt x="2586" y="5448"/>
                    </a:cubicBezTo>
                    <a:cubicBezTo>
                      <a:pt x="3381" y="5448"/>
                      <a:pt x="4158" y="5039"/>
                      <a:pt x="4575" y="4318"/>
                    </a:cubicBezTo>
                    <a:cubicBezTo>
                      <a:pt x="5168" y="3288"/>
                      <a:pt x="5535" y="858"/>
                      <a:pt x="4355" y="177"/>
                    </a:cubicBezTo>
                    <a:cubicBezTo>
                      <a:pt x="4142" y="54"/>
                      <a:pt x="3911" y="1"/>
                      <a:pt x="3670" y="1"/>
                    </a:cubicBezTo>
                    <a:close/>
                  </a:path>
                </a:pathLst>
              </a:custGeom>
              <a:solidFill>
                <a:srgbClr val="FFFFFF"/>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435D74"/>
                  </a:solidFill>
                  <a:effectLst/>
                  <a:uLnTx/>
                  <a:uFillTx/>
                  <a:latin typeface="Arial"/>
                  <a:ea typeface="+mn-ea"/>
                  <a:cs typeface="+mn-ea"/>
                  <a:sym typeface="+mn-lt"/>
                </a:endParaRPr>
              </a:p>
            </p:txBody>
          </p:sp>
          <p:sp>
            <p:nvSpPr>
              <p:cNvPr id="49" name="Google Shape;1354;p36">
                <a:extLst>
                  <a:ext uri="{FF2B5EF4-FFF2-40B4-BE49-F238E27FC236}">
                    <a16:creationId xmlns:a16="http://schemas.microsoft.com/office/drawing/2014/main" id="{082F5E99-17B2-4A74-9936-1424F7190527}"/>
                  </a:ext>
                </a:extLst>
              </p:cNvPr>
              <p:cNvSpPr/>
              <p:nvPr/>
            </p:nvSpPr>
            <p:spPr>
              <a:xfrm>
                <a:off x="5728150" y="3427400"/>
                <a:ext cx="310575" cy="225875"/>
              </a:xfrm>
              <a:custGeom>
                <a:avLst/>
                <a:gdLst/>
                <a:ahLst/>
                <a:cxnLst/>
                <a:rect l="l" t="t" r="r" b="b"/>
                <a:pathLst>
                  <a:path w="12423" h="9035" extrusionOk="0">
                    <a:moveTo>
                      <a:pt x="6213" y="1"/>
                    </a:moveTo>
                    <a:cubicBezTo>
                      <a:pt x="5234" y="1"/>
                      <a:pt x="2259" y="1"/>
                      <a:pt x="2259" y="2822"/>
                    </a:cubicBezTo>
                    <a:lnTo>
                      <a:pt x="2259" y="3147"/>
                    </a:lnTo>
                    <a:cubicBezTo>
                      <a:pt x="2259" y="3376"/>
                      <a:pt x="2121" y="3584"/>
                      <a:pt x="1907" y="3671"/>
                    </a:cubicBezTo>
                    <a:cubicBezTo>
                      <a:pt x="750" y="4144"/>
                      <a:pt x="1" y="5141"/>
                      <a:pt x="1" y="6210"/>
                    </a:cubicBezTo>
                    <a:cubicBezTo>
                      <a:pt x="1" y="7767"/>
                      <a:pt x="1521" y="9034"/>
                      <a:pt x="3388" y="9034"/>
                    </a:cubicBezTo>
                    <a:cubicBezTo>
                      <a:pt x="3400" y="9035"/>
                      <a:pt x="3413" y="9035"/>
                      <a:pt x="3425" y="9035"/>
                    </a:cubicBezTo>
                    <a:cubicBezTo>
                      <a:pt x="3753" y="9035"/>
                      <a:pt x="4081" y="8995"/>
                      <a:pt x="4400" y="8917"/>
                    </a:cubicBezTo>
                    <a:cubicBezTo>
                      <a:pt x="4995" y="8766"/>
                      <a:pt x="5604" y="8691"/>
                      <a:pt x="6213" y="8691"/>
                    </a:cubicBezTo>
                    <a:cubicBezTo>
                      <a:pt x="6823" y="8691"/>
                      <a:pt x="7432" y="8766"/>
                      <a:pt x="8029" y="8917"/>
                    </a:cubicBezTo>
                    <a:cubicBezTo>
                      <a:pt x="8345" y="8995"/>
                      <a:pt x="8670" y="9035"/>
                      <a:pt x="8998" y="9035"/>
                    </a:cubicBezTo>
                    <a:cubicBezTo>
                      <a:pt x="9010" y="9035"/>
                      <a:pt x="9022" y="9035"/>
                      <a:pt x="9034" y="9034"/>
                    </a:cubicBezTo>
                    <a:cubicBezTo>
                      <a:pt x="10901" y="9034"/>
                      <a:pt x="12422" y="7767"/>
                      <a:pt x="12422" y="6210"/>
                    </a:cubicBezTo>
                    <a:cubicBezTo>
                      <a:pt x="12422" y="5138"/>
                      <a:pt x="11675" y="4141"/>
                      <a:pt x="10516" y="3671"/>
                    </a:cubicBezTo>
                    <a:cubicBezTo>
                      <a:pt x="10302" y="3584"/>
                      <a:pt x="10164" y="3376"/>
                      <a:pt x="10164" y="3147"/>
                    </a:cubicBezTo>
                    <a:lnTo>
                      <a:pt x="10164" y="2822"/>
                    </a:lnTo>
                    <a:cubicBezTo>
                      <a:pt x="10164" y="1"/>
                      <a:pt x="7191" y="1"/>
                      <a:pt x="6213" y="1"/>
                    </a:cubicBezTo>
                    <a:close/>
                  </a:path>
                </a:pathLst>
              </a:custGeom>
              <a:solidFill>
                <a:srgbClr val="FFFFFF"/>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435D74"/>
                  </a:solidFill>
                  <a:effectLst/>
                  <a:uLnTx/>
                  <a:uFillTx/>
                  <a:latin typeface="Arial"/>
                  <a:ea typeface="+mn-ea"/>
                  <a:cs typeface="+mn-ea"/>
                  <a:sym typeface="+mn-lt"/>
                </a:endParaRPr>
              </a:p>
            </p:txBody>
          </p:sp>
        </p:grpSp>
      </p:grpSp>
      <p:grpSp>
        <p:nvGrpSpPr>
          <p:cNvPr id="50" name="Google Shape;1355;p36">
            <a:extLst>
              <a:ext uri="{FF2B5EF4-FFF2-40B4-BE49-F238E27FC236}">
                <a16:creationId xmlns:a16="http://schemas.microsoft.com/office/drawing/2014/main" id="{CDDEE0A9-0E79-412C-9BA5-D13AFD8E7A22}"/>
              </a:ext>
            </a:extLst>
          </p:cNvPr>
          <p:cNvGrpSpPr/>
          <p:nvPr/>
        </p:nvGrpSpPr>
        <p:grpSpPr>
          <a:xfrm>
            <a:off x="4874888" y="2986377"/>
            <a:ext cx="957785" cy="957785"/>
            <a:chOff x="3637925" y="2350626"/>
            <a:chExt cx="810035" cy="810035"/>
          </a:xfrm>
        </p:grpSpPr>
        <p:sp>
          <p:nvSpPr>
            <p:cNvPr id="51" name="Google Shape;1356;p36">
              <a:extLst>
                <a:ext uri="{FF2B5EF4-FFF2-40B4-BE49-F238E27FC236}">
                  <a16:creationId xmlns:a16="http://schemas.microsoft.com/office/drawing/2014/main" id="{74FC7590-B290-4518-9153-AA6890D082A4}"/>
                </a:ext>
              </a:extLst>
            </p:cNvPr>
            <p:cNvSpPr/>
            <p:nvPr/>
          </p:nvSpPr>
          <p:spPr>
            <a:xfrm>
              <a:off x="3637925" y="2350626"/>
              <a:ext cx="810035" cy="810035"/>
            </a:xfrm>
            <a:custGeom>
              <a:avLst/>
              <a:gdLst/>
              <a:ahLst/>
              <a:cxnLst/>
              <a:rect l="l" t="t" r="r" b="b"/>
              <a:pathLst>
                <a:path w="23349" h="23349" extrusionOk="0">
                  <a:moveTo>
                    <a:pt x="11681" y="0"/>
                  </a:moveTo>
                  <a:lnTo>
                    <a:pt x="1" y="11680"/>
                  </a:lnTo>
                  <a:lnTo>
                    <a:pt x="11681" y="23349"/>
                  </a:lnTo>
                  <a:lnTo>
                    <a:pt x="23349" y="11680"/>
                  </a:lnTo>
                  <a:lnTo>
                    <a:pt x="11681" y="0"/>
                  </a:lnTo>
                  <a:close/>
                </a:path>
              </a:pathLst>
            </a:custGeom>
            <a:solidFill>
              <a:schemeClr val="accent1">
                <a:alpha val="29020"/>
              </a:schemeClr>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52" name="Google Shape;1357;p36">
              <a:extLst>
                <a:ext uri="{FF2B5EF4-FFF2-40B4-BE49-F238E27FC236}">
                  <a16:creationId xmlns:a16="http://schemas.microsoft.com/office/drawing/2014/main" id="{3AAD2718-114F-412E-A9F1-1CBC257EC663}"/>
                </a:ext>
              </a:extLst>
            </p:cNvPr>
            <p:cNvSpPr/>
            <p:nvPr/>
          </p:nvSpPr>
          <p:spPr>
            <a:xfrm>
              <a:off x="3706287" y="2418987"/>
              <a:ext cx="672904" cy="672904"/>
            </a:xfrm>
            <a:custGeom>
              <a:avLst/>
              <a:gdLst/>
              <a:ahLst/>
              <a:cxnLst/>
              <a:rect l="l" t="t" r="r" b="b"/>
              <a:pathLst>
                <a:path w="16741" h="16741" extrusionOk="0">
                  <a:moveTo>
                    <a:pt x="8371" y="0"/>
                  </a:moveTo>
                  <a:lnTo>
                    <a:pt x="1" y="8371"/>
                  </a:lnTo>
                  <a:lnTo>
                    <a:pt x="8371" y="16741"/>
                  </a:lnTo>
                  <a:lnTo>
                    <a:pt x="16741" y="8371"/>
                  </a:lnTo>
                  <a:lnTo>
                    <a:pt x="8371" y="0"/>
                  </a:ln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grpSp>
          <p:nvGrpSpPr>
            <p:cNvPr id="53" name="Google Shape;1358;p36">
              <a:extLst>
                <a:ext uri="{FF2B5EF4-FFF2-40B4-BE49-F238E27FC236}">
                  <a16:creationId xmlns:a16="http://schemas.microsoft.com/office/drawing/2014/main" id="{9D21B813-A330-4C76-82B1-295061F7B500}"/>
                </a:ext>
              </a:extLst>
            </p:cNvPr>
            <p:cNvGrpSpPr/>
            <p:nvPr/>
          </p:nvGrpSpPr>
          <p:grpSpPr>
            <a:xfrm>
              <a:off x="3893507" y="2626720"/>
              <a:ext cx="314257" cy="258299"/>
              <a:chOff x="6234950" y="3255925"/>
              <a:chExt cx="483250" cy="397200"/>
            </a:xfrm>
          </p:grpSpPr>
          <p:sp>
            <p:nvSpPr>
              <p:cNvPr id="54" name="Google Shape;1359;p36">
                <a:extLst>
                  <a:ext uri="{FF2B5EF4-FFF2-40B4-BE49-F238E27FC236}">
                    <a16:creationId xmlns:a16="http://schemas.microsoft.com/office/drawing/2014/main" id="{AC2ED754-B473-43ED-BA2E-175DE5D3622F}"/>
                  </a:ext>
                </a:extLst>
              </p:cNvPr>
              <p:cNvSpPr/>
              <p:nvPr/>
            </p:nvSpPr>
            <p:spPr>
              <a:xfrm>
                <a:off x="6444675" y="3255925"/>
                <a:ext cx="128300" cy="90200"/>
              </a:xfrm>
              <a:custGeom>
                <a:avLst/>
                <a:gdLst/>
                <a:ahLst/>
                <a:cxnLst/>
                <a:rect l="l" t="t" r="r" b="b"/>
                <a:pathLst>
                  <a:path w="5132" h="3608" extrusionOk="0">
                    <a:moveTo>
                      <a:pt x="567" y="0"/>
                    </a:moveTo>
                    <a:cubicBezTo>
                      <a:pt x="254" y="0"/>
                      <a:pt x="1" y="253"/>
                      <a:pt x="1" y="563"/>
                    </a:cubicBezTo>
                    <a:cubicBezTo>
                      <a:pt x="7" y="1662"/>
                      <a:pt x="368" y="2731"/>
                      <a:pt x="1034" y="3608"/>
                    </a:cubicBezTo>
                    <a:cubicBezTo>
                      <a:pt x="2097" y="3138"/>
                      <a:pt x="3325" y="2864"/>
                      <a:pt x="5014" y="2864"/>
                    </a:cubicBezTo>
                    <a:cubicBezTo>
                      <a:pt x="5054" y="2864"/>
                      <a:pt x="5093" y="2873"/>
                      <a:pt x="5132" y="2873"/>
                    </a:cubicBezTo>
                    <a:cubicBezTo>
                      <a:pt x="4289" y="1117"/>
                      <a:pt x="2515" y="0"/>
                      <a:pt x="567" y="0"/>
                    </a:cubicBezTo>
                    <a:close/>
                  </a:path>
                </a:pathLst>
              </a:custGeom>
              <a:solidFill>
                <a:srgbClr val="FFFFFF"/>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435D74"/>
                  </a:solidFill>
                  <a:effectLst/>
                  <a:uLnTx/>
                  <a:uFillTx/>
                  <a:latin typeface="Arial"/>
                  <a:ea typeface="+mn-ea"/>
                  <a:cs typeface="+mn-ea"/>
                  <a:sym typeface="+mn-lt"/>
                </a:endParaRPr>
              </a:p>
            </p:txBody>
          </p:sp>
          <p:sp>
            <p:nvSpPr>
              <p:cNvPr id="55" name="Google Shape;1360;p36">
                <a:extLst>
                  <a:ext uri="{FF2B5EF4-FFF2-40B4-BE49-F238E27FC236}">
                    <a16:creationId xmlns:a16="http://schemas.microsoft.com/office/drawing/2014/main" id="{9058A438-6F97-4D46-9297-DFC9255AD5CD}"/>
                  </a:ext>
                </a:extLst>
              </p:cNvPr>
              <p:cNvSpPr/>
              <p:nvPr/>
            </p:nvSpPr>
            <p:spPr>
              <a:xfrm>
                <a:off x="6444750" y="3563200"/>
                <a:ext cx="128225" cy="89925"/>
              </a:xfrm>
              <a:custGeom>
                <a:avLst/>
                <a:gdLst/>
                <a:ahLst/>
                <a:cxnLst/>
                <a:rect l="l" t="t" r="r" b="b"/>
                <a:pathLst>
                  <a:path w="5129" h="3597" extrusionOk="0">
                    <a:moveTo>
                      <a:pt x="1022" y="1"/>
                    </a:moveTo>
                    <a:cubicBezTo>
                      <a:pt x="362" y="874"/>
                      <a:pt x="4" y="1937"/>
                      <a:pt x="1" y="3033"/>
                    </a:cubicBezTo>
                    <a:cubicBezTo>
                      <a:pt x="1" y="3343"/>
                      <a:pt x="251" y="3596"/>
                      <a:pt x="564" y="3596"/>
                    </a:cubicBezTo>
                    <a:cubicBezTo>
                      <a:pt x="2512" y="3596"/>
                      <a:pt x="4286" y="2479"/>
                      <a:pt x="5129" y="724"/>
                    </a:cubicBezTo>
                    <a:cubicBezTo>
                      <a:pt x="5093" y="724"/>
                      <a:pt x="5051" y="736"/>
                      <a:pt x="5011" y="736"/>
                    </a:cubicBezTo>
                    <a:cubicBezTo>
                      <a:pt x="3319" y="736"/>
                      <a:pt x="2088" y="462"/>
                      <a:pt x="1022" y="1"/>
                    </a:cubicBezTo>
                    <a:close/>
                  </a:path>
                </a:pathLst>
              </a:custGeom>
              <a:solidFill>
                <a:srgbClr val="FFFFFF"/>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435D74"/>
                  </a:solidFill>
                  <a:effectLst/>
                  <a:uLnTx/>
                  <a:uFillTx/>
                  <a:latin typeface="Arial"/>
                  <a:ea typeface="+mn-ea"/>
                  <a:cs typeface="+mn-ea"/>
                  <a:sym typeface="+mn-lt"/>
                </a:endParaRPr>
              </a:p>
            </p:txBody>
          </p:sp>
          <p:sp>
            <p:nvSpPr>
              <p:cNvPr id="56" name="Google Shape;1361;p36">
                <a:extLst>
                  <a:ext uri="{FF2B5EF4-FFF2-40B4-BE49-F238E27FC236}">
                    <a16:creationId xmlns:a16="http://schemas.microsoft.com/office/drawing/2014/main" id="{29C3B895-FCCF-481F-A0D9-8E2E210CD705}"/>
                  </a:ext>
                </a:extLst>
              </p:cNvPr>
              <p:cNvSpPr/>
              <p:nvPr/>
            </p:nvSpPr>
            <p:spPr>
              <a:xfrm>
                <a:off x="6375350" y="3355650"/>
                <a:ext cx="244750" cy="197650"/>
              </a:xfrm>
              <a:custGeom>
                <a:avLst/>
                <a:gdLst/>
                <a:ahLst/>
                <a:cxnLst/>
                <a:rect l="l" t="t" r="r" b="b"/>
                <a:pathLst>
                  <a:path w="9790" h="7906" extrusionOk="0">
                    <a:moveTo>
                      <a:pt x="6045" y="2610"/>
                    </a:moveTo>
                    <a:cubicBezTo>
                      <a:pt x="6190" y="2610"/>
                      <a:pt x="6335" y="2666"/>
                      <a:pt x="6444" y="2777"/>
                    </a:cubicBezTo>
                    <a:cubicBezTo>
                      <a:pt x="6664" y="2997"/>
                      <a:pt x="6664" y="3356"/>
                      <a:pt x="6444" y="3575"/>
                    </a:cubicBezTo>
                    <a:cubicBezTo>
                      <a:pt x="6225" y="3795"/>
                      <a:pt x="6225" y="4153"/>
                      <a:pt x="6444" y="4373"/>
                    </a:cubicBezTo>
                    <a:cubicBezTo>
                      <a:pt x="6664" y="4593"/>
                      <a:pt x="6664" y="4951"/>
                      <a:pt x="6444" y="5171"/>
                    </a:cubicBezTo>
                    <a:cubicBezTo>
                      <a:pt x="6335" y="5281"/>
                      <a:pt x="6190" y="5336"/>
                      <a:pt x="6045" y="5336"/>
                    </a:cubicBezTo>
                    <a:cubicBezTo>
                      <a:pt x="5901" y="5336"/>
                      <a:pt x="5756" y="5281"/>
                      <a:pt x="5646" y="5171"/>
                    </a:cubicBezTo>
                    <a:cubicBezTo>
                      <a:pt x="4984" y="4509"/>
                      <a:pt x="4984" y="3440"/>
                      <a:pt x="5646" y="2777"/>
                    </a:cubicBezTo>
                    <a:cubicBezTo>
                      <a:pt x="5756" y="2666"/>
                      <a:pt x="5901" y="2610"/>
                      <a:pt x="6045" y="2610"/>
                    </a:cubicBezTo>
                    <a:close/>
                    <a:moveTo>
                      <a:pt x="7787" y="1"/>
                    </a:moveTo>
                    <a:cubicBezTo>
                      <a:pt x="4463" y="1"/>
                      <a:pt x="3204" y="1064"/>
                      <a:pt x="919" y="2997"/>
                    </a:cubicBezTo>
                    <a:lnTo>
                      <a:pt x="271" y="3542"/>
                    </a:lnTo>
                    <a:cubicBezTo>
                      <a:pt x="0" y="3765"/>
                      <a:pt x="0" y="4181"/>
                      <a:pt x="271" y="4406"/>
                    </a:cubicBezTo>
                    <a:lnTo>
                      <a:pt x="856" y="4897"/>
                    </a:lnTo>
                    <a:cubicBezTo>
                      <a:pt x="3147" y="6837"/>
                      <a:pt x="4412" y="7906"/>
                      <a:pt x="7787" y="7906"/>
                    </a:cubicBezTo>
                    <a:cubicBezTo>
                      <a:pt x="8450" y="7902"/>
                      <a:pt x="9106" y="7788"/>
                      <a:pt x="9730" y="7574"/>
                    </a:cubicBezTo>
                    <a:cubicBezTo>
                      <a:pt x="8357" y="6951"/>
                      <a:pt x="7456" y="5602"/>
                      <a:pt x="7411" y="4093"/>
                    </a:cubicBezTo>
                    <a:cubicBezTo>
                      <a:pt x="7366" y="2588"/>
                      <a:pt x="8179" y="1184"/>
                      <a:pt x="9513" y="480"/>
                    </a:cubicBezTo>
                    <a:cubicBezTo>
                      <a:pt x="9603" y="432"/>
                      <a:pt x="9697" y="398"/>
                      <a:pt x="9790" y="356"/>
                    </a:cubicBezTo>
                    <a:cubicBezTo>
                      <a:pt x="9149" y="124"/>
                      <a:pt x="8471" y="4"/>
                      <a:pt x="7787" y="1"/>
                    </a:cubicBezTo>
                    <a:close/>
                  </a:path>
                </a:pathLst>
              </a:custGeom>
              <a:solidFill>
                <a:srgbClr val="FFFFFF"/>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435D74"/>
                  </a:solidFill>
                  <a:effectLst/>
                  <a:uLnTx/>
                  <a:uFillTx/>
                  <a:latin typeface="Arial"/>
                  <a:ea typeface="+mn-ea"/>
                  <a:cs typeface="+mn-ea"/>
                  <a:sym typeface="+mn-lt"/>
                </a:endParaRPr>
              </a:p>
            </p:txBody>
          </p:sp>
          <p:sp>
            <p:nvSpPr>
              <p:cNvPr id="57" name="Google Shape;1362;p36">
                <a:extLst>
                  <a:ext uri="{FF2B5EF4-FFF2-40B4-BE49-F238E27FC236}">
                    <a16:creationId xmlns:a16="http://schemas.microsoft.com/office/drawing/2014/main" id="{F30ABD01-2A1A-4457-B0F0-75A3A646FD79}"/>
                  </a:ext>
                </a:extLst>
              </p:cNvPr>
              <p:cNvSpPr/>
              <p:nvPr/>
            </p:nvSpPr>
            <p:spPr>
              <a:xfrm>
                <a:off x="6587875" y="3385100"/>
                <a:ext cx="130325" cy="140500"/>
              </a:xfrm>
              <a:custGeom>
                <a:avLst/>
                <a:gdLst/>
                <a:ahLst/>
                <a:cxnLst/>
                <a:rect l="l" t="t" r="r" b="b"/>
                <a:pathLst>
                  <a:path w="5213" h="5620" extrusionOk="0">
                    <a:moveTo>
                      <a:pt x="2343" y="1789"/>
                    </a:moveTo>
                    <a:cubicBezTo>
                      <a:pt x="2633" y="1789"/>
                      <a:pt x="2912" y="2015"/>
                      <a:pt x="2912" y="2355"/>
                    </a:cubicBezTo>
                    <a:cubicBezTo>
                      <a:pt x="2912" y="2665"/>
                      <a:pt x="2659" y="2918"/>
                      <a:pt x="2349" y="2918"/>
                    </a:cubicBezTo>
                    <a:cubicBezTo>
                      <a:pt x="1846" y="2918"/>
                      <a:pt x="1593" y="2310"/>
                      <a:pt x="1948" y="1955"/>
                    </a:cubicBezTo>
                    <a:cubicBezTo>
                      <a:pt x="2063" y="1840"/>
                      <a:pt x="2204" y="1789"/>
                      <a:pt x="2343" y="1789"/>
                    </a:cubicBezTo>
                    <a:close/>
                    <a:moveTo>
                      <a:pt x="2846" y="0"/>
                    </a:moveTo>
                    <a:cubicBezTo>
                      <a:pt x="2394" y="0"/>
                      <a:pt x="1947" y="85"/>
                      <a:pt x="1539" y="301"/>
                    </a:cubicBezTo>
                    <a:cubicBezTo>
                      <a:pt x="645" y="774"/>
                      <a:pt x="72" y="1687"/>
                      <a:pt x="36" y="2698"/>
                    </a:cubicBezTo>
                    <a:cubicBezTo>
                      <a:pt x="0" y="3707"/>
                      <a:pt x="506" y="4662"/>
                      <a:pt x="1367" y="5195"/>
                    </a:cubicBezTo>
                    <a:cubicBezTo>
                      <a:pt x="1792" y="5460"/>
                      <a:pt x="2280" y="5607"/>
                      <a:pt x="2782" y="5619"/>
                    </a:cubicBezTo>
                    <a:cubicBezTo>
                      <a:pt x="3752" y="4957"/>
                      <a:pt x="4550" y="4078"/>
                      <a:pt x="5119" y="3051"/>
                    </a:cubicBezTo>
                    <a:cubicBezTo>
                      <a:pt x="5213" y="2882"/>
                      <a:pt x="5213" y="2674"/>
                      <a:pt x="5119" y="2506"/>
                    </a:cubicBezTo>
                    <a:cubicBezTo>
                      <a:pt x="4568" y="1512"/>
                      <a:pt x="3797" y="654"/>
                      <a:pt x="2870" y="0"/>
                    </a:cubicBezTo>
                    <a:cubicBezTo>
                      <a:pt x="2862" y="0"/>
                      <a:pt x="2854" y="0"/>
                      <a:pt x="2846" y="0"/>
                    </a:cubicBezTo>
                    <a:close/>
                  </a:path>
                </a:pathLst>
              </a:custGeom>
              <a:solidFill>
                <a:srgbClr val="FFFFFF"/>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435D74"/>
                  </a:solidFill>
                  <a:effectLst/>
                  <a:uLnTx/>
                  <a:uFillTx/>
                  <a:latin typeface="Arial"/>
                  <a:ea typeface="+mn-ea"/>
                  <a:cs typeface="+mn-ea"/>
                  <a:sym typeface="+mn-lt"/>
                </a:endParaRPr>
              </a:p>
            </p:txBody>
          </p:sp>
          <p:sp>
            <p:nvSpPr>
              <p:cNvPr id="58" name="Google Shape;1363;p36">
                <a:extLst>
                  <a:ext uri="{FF2B5EF4-FFF2-40B4-BE49-F238E27FC236}">
                    <a16:creationId xmlns:a16="http://schemas.microsoft.com/office/drawing/2014/main" id="{F91340D4-E1B2-464E-B1AD-457C78C9CCE7}"/>
                  </a:ext>
                </a:extLst>
              </p:cNvPr>
              <p:cNvSpPr/>
              <p:nvPr/>
            </p:nvSpPr>
            <p:spPr>
              <a:xfrm>
                <a:off x="6234950" y="3469100"/>
                <a:ext cx="165050" cy="141200"/>
              </a:xfrm>
              <a:custGeom>
                <a:avLst/>
                <a:gdLst/>
                <a:ahLst/>
                <a:cxnLst/>
                <a:rect l="l" t="t" r="r" b="b"/>
                <a:pathLst>
                  <a:path w="6602" h="5648" extrusionOk="0">
                    <a:moveTo>
                      <a:pt x="3990" y="1"/>
                    </a:moveTo>
                    <a:cubicBezTo>
                      <a:pt x="1807" y="1"/>
                      <a:pt x="0" y="1772"/>
                      <a:pt x="0" y="3955"/>
                    </a:cubicBezTo>
                    <a:lnTo>
                      <a:pt x="0" y="5084"/>
                    </a:lnTo>
                    <a:cubicBezTo>
                      <a:pt x="0" y="5394"/>
                      <a:pt x="253" y="5647"/>
                      <a:pt x="566" y="5647"/>
                    </a:cubicBezTo>
                    <a:lnTo>
                      <a:pt x="1696" y="5647"/>
                    </a:lnTo>
                    <a:cubicBezTo>
                      <a:pt x="4014" y="5647"/>
                      <a:pt x="5996" y="4075"/>
                      <a:pt x="6601" y="1943"/>
                    </a:cubicBezTo>
                    <a:cubicBezTo>
                      <a:pt x="6324" y="1717"/>
                      <a:pt x="6041" y="1476"/>
                      <a:pt x="5740" y="1223"/>
                    </a:cubicBezTo>
                    <a:lnTo>
                      <a:pt x="5481" y="1004"/>
                    </a:lnTo>
                    <a:lnTo>
                      <a:pt x="4391" y="2097"/>
                    </a:lnTo>
                    <a:cubicBezTo>
                      <a:pt x="4281" y="2203"/>
                      <a:pt x="4139" y="2255"/>
                      <a:pt x="3997" y="2255"/>
                    </a:cubicBezTo>
                    <a:cubicBezTo>
                      <a:pt x="3852" y="2255"/>
                      <a:pt x="3708" y="2200"/>
                      <a:pt x="3599" y="2091"/>
                    </a:cubicBezTo>
                    <a:cubicBezTo>
                      <a:pt x="3379" y="1871"/>
                      <a:pt x="3376" y="1519"/>
                      <a:pt x="3593" y="1299"/>
                    </a:cubicBezTo>
                    <a:lnTo>
                      <a:pt x="4611" y="278"/>
                    </a:lnTo>
                    <a:lnTo>
                      <a:pt x="4285" y="1"/>
                    </a:lnTo>
                    <a:close/>
                  </a:path>
                </a:pathLst>
              </a:custGeom>
              <a:solidFill>
                <a:srgbClr val="FFFFFF"/>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435D74"/>
                  </a:solidFill>
                  <a:effectLst/>
                  <a:uLnTx/>
                  <a:uFillTx/>
                  <a:latin typeface="Arial"/>
                  <a:ea typeface="+mn-ea"/>
                  <a:cs typeface="+mn-ea"/>
                  <a:sym typeface="+mn-lt"/>
                </a:endParaRPr>
              </a:p>
            </p:txBody>
          </p:sp>
          <p:sp>
            <p:nvSpPr>
              <p:cNvPr id="59" name="Google Shape;1364;p36">
                <a:extLst>
                  <a:ext uri="{FF2B5EF4-FFF2-40B4-BE49-F238E27FC236}">
                    <a16:creationId xmlns:a16="http://schemas.microsoft.com/office/drawing/2014/main" id="{A48B3A33-53EB-4782-A229-E8161A57A9F6}"/>
                  </a:ext>
                </a:extLst>
              </p:cNvPr>
              <p:cNvSpPr/>
              <p:nvPr/>
            </p:nvSpPr>
            <p:spPr>
              <a:xfrm>
                <a:off x="6234950" y="3299725"/>
                <a:ext cx="165050" cy="141175"/>
              </a:xfrm>
              <a:custGeom>
                <a:avLst/>
                <a:gdLst/>
                <a:ahLst/>
                <a:cxnLst/>
                <a:rect l="l" t="t" r="r" b="b"/>
                <a:pathLst>
                  <a:path w="6602" h="5647" extrusionOk="0">
                    <a:moveTo>
                      <a:pt x="566" y="1"/>
                    </a:moveTo>
                    <a:cubicBezTo>
                      <a:pt x="253" y="1"/>
                      <a:pt x="3" y="254"/>
                      <a:pt x="3" y="567"/>
                    </a:cubicBezTo>
                    <a:lnTo>
                      <a:pt x="3" y="1699"/>
                    </a:lnTo>
                    <a:cubicBezTo>
                      <a:pt x="0" y="3879"/>
                      <a:pt x="1807" y="5647"/>
                      <a:pt x="3990" y="5647"/>
                    </a:cubicBezTo>
                    <a:lnTo>
                      <a:pt x="4285" y="5647"/>
                    </a:lnTo>
                    <a:lnTo>
                      <a:pt x="4611" y="5373"/>
                    </a:lnTo>
                    <a:lnTo>
                      <a:pt x="3593" y="4352"/>
                    </a:lnTo>
                    <a:cubicBezTo>
                      <a:pt x="3379" y="4132"/>
                      <a:pt x="3382" y="3780"/>
                      <a:pt x="3599" y="3563"/>
                    </a:cubicBezTo>
                    <a:cubicBezTo>
                      <a:pt x="3710" y="3451"/>
                      <a:pt x="3856" y="3396"/>
                      <a:pt x="4001" y="3396"/>
                    </a:cubicBezTo>
                    <a:cubicBezTo>
                      <a:pt x="4142" y="3396"/>
                      <a:pt x="4282" y="3448"/>
                      <a:pt x="4391" y="3554"/>
                    </a:cubicBezTo>
                    <a:lnTo>
                      <a:pt x="5481" y="4644"/>
                    </a:lnTo>
                    <a:lnTo>
                      <a:pt x="5809" y="4370"/>
                    </a:lnTo>
                    <a:cubicBezTo>
                      <a:pt x="6083" y="4138"/>
                      <a:pt x="6345" y="3918"/>
                      <a:pt x="6601" y="3704"/>
                    </a:cubicBezTo>
                    <a:cubicBezTo>
                      <a:pt x="5996" y="1575"/>
                      <a:pt x="4017" y="1"/>
                      <a:pt x="1696" y="1"/>
                    </a:cubicBezTo>
                    <a:close/>
                  </a:path>
                </a:pathLst>
              </a:custGeom>
              <a:solidFill>
                <a:srgbClr val="FFFFFF"/>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435D74"/>
                  </a:solidFill>
                  <a:effectLst/>
                  <a:uLnTx/>
                  <a:uFillTx/>
                  <a:latin typeface="Arial"/>
                  <a:ea typeface="+mn-ea"/>
                  <a:cs typeface="+mn-ea"/>
                  <a:sym typeface="+mn-lt"/>
                </a:endParaRPr>
              </a:p>
            </p:txBody>
          </p:sp>
        </p:grpSp>
      </p:grpSp>
      <p:grpSp>
        <p:nvGrpSpPr>
          <p:cNvPr id="60" name="Google Shape;1365;p36">
            <a:extLst>
              <a:ext uri="{FF2B5EF4-FFF2-40B4-BE49-F238E27FC236}">
                <a16:creationId xmlns:a16="http://schemas.microsoft.com/office/drawing/2014/main" id="{AD961605-D703-4888-B40E-84374D946E9E}"/>
              </a:ext>
            </a:extLst>
          </p:cNvPr>
          <p:cNvGrpSpPr/>
          <p:nvPr/>
        </p:nvGrpSpPr>
        <p:grpSpPr>
          <a:xfrm>
            <a:off x="7679538" y="2986499"/>
            <a:ext cx="957772" cy="957328"/>
            <a:chOff x="5741201" y="2350600"/>
            <a:chExt cx="810024" cy="809648"/>
          </a:xfrm>
        </p:grpSpPr>
        <p:sp>
          <p:nvSpPr>
            <p:cNvPr id="61" name="Google Shape;1366;p36">
              <a:extLst>
                <a:ext uri="{FF2B5EF4-FFF2-40B4-BE49-F238E27FC236}">
                  <a16:creationId xmlns:a16="http://schemas.microsoft.com/office/drawing/2014/main" id="{55EEC5D2-E7DF-4648-8145-D3E442BF30EA}"/>
                </a:ext>
              </a:extLst>
            </p:cNvPr>
            <p:cNvSpPr/>
            <p:nvPr/>
          </p:nvSpPr>
          <p:spPr>
            <a:xfrm>
              <a:off x="5741201" y="2350600"/>
              <a:ext cx="810024" cy="809648"/>
            </a:xfrm>
            <a:custGeom>
              <a:avLst/>
              <a:gdLst/>
              <a:ahLst/>
              <a:cxnLst/>
              <a:rect l="l" t="t" r="r" b="b"/>
              <a:pathLst>
                <a:path w="23730" h="23719" extrusionOk="0">
                  <a:moveTo>
                    <a:pt x="11871" y="1"/>
                  </a:moveTo>
                  <a:lnTo>
                    <a:pt x="1" y="11860"/>
                  </a:lnTo>
                  <a:lnTo>
                    <a:pt x="11871" y="23718"/>
                  </a:lnTo>
                  <a:lnTo>
                    <a:pt x="23730" y="11860"/>
                  </a:lnTo>
                  <a:lnTo>
                    <a:pt x="11871" y="1"/>
                  </a:lnTo>
                  <a:close/>
                </a:path>
              </a:pathLst>
            </a:custGeom>
            <a:solidFill>
              <a:schemeClr val="accent1">
                <a:alpha val="29049"/>
              </a:schemeClr>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62" name="Google Shape;1367;p36">
              <a:extLst>
                <a:ext uri="{FF2B5EF4-FFF2-40B4-BE49-F238E27FC236}">
                  <a16:creationId xmlns:a16="http://schemas.microsoft.com/office/drawing/2014/main" id="{3BD90BD9-7D2D-4947-8456-39CFC0C60956}"/>
                </a:ext>
              </a:extLst>
            </p:cNvPr>
            <p:cNvSpPr/>
            <p:nvPr/>
          </p:nvSpPr>
          <p:spPr>
            <a:xfrm>
              <a:off x="5810001" y="2418976"/>
              <a:ext cx="672894" cy="672936"/>
            </a:xfrm>
            <a:custGeom>
              <a:avLst/>
              <a:gdLst/>
              <a:ahLst/>
              <a:cxnLst/>
              <a:rect l="l" t="t" r="r" b="b"/>
              <a:pathLst>
                <a:path w="17003" h="17003" extrusionOk="0">
                  <a:moveTo>
                    <a:pt x="8501" y="1"/>
                  </a:moveTo>
                  <a:lnTo>
                    <a:pt x="0" y="8502"/>
                  </a:lnTo>
                  <a:lnTo>
                    <a:pt x="8501" y="17003"/>
                  </a:lnTo>
                  <a:lnTo>
                    <a:pt x="17002" y="8502"/>
                  </a:lnTo>
                  <a:lnTo>
                    <a:pt x="8501" y="1"/>
                  </a:ln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grpSp>
          <p:nvGrpSpPr>
            <p:cNvPr id="63" name="Google Shape;1368;p36">
              <a:extLst>
                <a:ext uri="{FF2B5EF4-FFF2-40B4-BE49-F238E27FC236}">
                  <a16:creationId xmlns:a16="http://schemas.microsoft.com/office/drawing/2014/main" id="{7E91AE9F-F0FE-464B-B76E-F8B660F3CBFC}"/>
                </a:ext>
              </a:extLst>
            </p:cNvPr>
            <p:cNvGrpSpPr/>
            <p:nvPr/>
          </p:nvGrpSpPr>
          <p:grpSpPr>
            <a:xfrm>
              <a:off x="5999581" y="2597634"/>
              <a:ext cx="293741" cy="313331"/>
              <a:chOff x="914900" y="3806450"/>
              <a:chExt cx="451700" cy="481825"/>
            </a:xfrm>
          </p:grpSpPr>
          <p:sp>
            <p:nvSpPr>
              <p:cNvPr id="64" name="Google Shape;1369;p36">
                <a:extLst>
                  <a:ext uri="{FF2B5EF4-FFF2-40B4-BE49-F238E27FC236}">
                    <a16:creationId xmlns:a16="http://schemas.microsoft.com/office/drawing/2014/main" id="{DDC1C447-FDF3-45EE-A888-51C75CDCF0BC}"/>
                  </a:ext>
                </a:extLst>
              </p:cNvPr>
              <p:cNvSpPr/>
              <p:nvPr/>
            </p:nvSpPr>
            <p:spPr>
              <a:xfrm>
                <a:off x="914900" y="4174425"/>
                <a:ext cx="423400" cy="113850"/>
              </a:xfrm>
              <a:custGeom>
                <a:avLst/>
                <a:gdLst/>
                <a:ahLst/>
                <a:cxnLst/>
                <a:rect l="l" t="t" r="r" b="b"/>
                <a:pathLst>
                  <a:path w="16936" h="4554" extrusionOk="0">
                    <a:moveTo>
                      <a:pt x="564" y="0"/>
                    </a:moveTo>
                    <a:cubicBezTo>
                      <a:pt x="250" y="0"/>
                      <a:pt x="0" y="250"/>
                      <a:pt x="0" y="563"/>
                    </a:cubicBezTo>
                    <a:cubicBezTo>
                      <a:pt x="0" y="877"/>
                      <a:pt x="250" y="1130"/>
                      <a:pt x="564" y="1130"/>
                    </a:cubicBezTo>
                    <a:lnTo>
                      <a:pt x="2259" y="1130"/>
                    </a:lnTo>
                    <a:lnTo>
                      <a:pt x="2259" y="2861"/>
                    </a:lnTo>
                    <a:cubicBezTo>
                      <a:pt x="2259" y="3795"/>
                      <a:pt x="3015" y="4553"/>
                      <a:pt x="3951" y="4553"/>
                    </a:cubicBezTo>
                    <a:cubicBezTo>
                      <a:pt x="4264" y="4553"/>
                      <a:pt x="4517" y="4300"/>
                      <a:pt x="4517" y="3990"/>
                    </a:cubicBezTo>
                    <a:lnTo>
                      <a:pt x="4517" y="1130"/>
                    </a:lnTo>
                    <a:lnTo>
                      <a:pt x="5646" y="1130"/>
                    </a:lnTo>
                    <a:lnTo>
                      <a:pt x="5646" y="1693"/>
                    </a:lnTo>
                    <a:cubicBezTo>
                      <a:pt x="5646" y="2629"/>
                      <a:pt x="6402" y="3424"/>
                      <a:pt x="7339" y="3424"/>
                    </a:cubicBezTo>
                    <a:cubicBezTo>
                      <a:pt x="7652" y="3424"/>
                      <a:pt x="7905" y="3171"/>
                      <a:pt x="7905" y="2861"/>
                    </a:cubicBezTo>
                    <a:lnTo>
                      <a:pt x="7905" y="1130"/>
                    </a:lnTo>
                    <a:lnTo>
                      <a:pt x="9034" y="1130"/>
                    </a:lnTo>
                    <a:lnTo>
                      <a:pt x="9034" y="3990"/>
                    </a:lnTo>
                    <a:cubicBezTo>
                      <a:pt x="9034" y="4300"/>
                      <a:pt x="9284" y="4553"/>
                      <a:pt x="9597" y="4553"/>
                    </a:cubicBezTo>
                    <a:cubicBezTo>
                      <a:pt x="9910" y="4553"/>
                      <a:pt x="10163" y="4300"/>
                      <a:pt x="10163" y="3990"/>
                    </a:cubicBezTo>
                    <a:lnTo>
                      <a:pt x="10163" y="1130"/>
                    </a:lnTo>
                    <a:lnTo>
                      <a:pt x="16373" y="1130"/>
                    </a:lnTo>
                    <a:cubicBezTo>
                      <a:pt x="16686" y="1130"/>
                      <a:pt x="16936" y="877"/>
                      <a:pt x="16936" y="563"/>
                    </a:cubicBezTo>
                    <a:cubicBezTo>
                      <a:pt x="16936" y="250"/>
                      <a:pt x="16686" y="0"/>
                      <a:pt x="16373" y="0"/>
                    </a:cubicBezTo>
                    <a:close/>
                  </a:path>
                </a:pathLst>
              </a:custGeom>
              <a:solidFill>
                <a:srgbClr val="FFFFFF"/>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435D74"/>
                  </a:solidFill>
                  <a:effectLst/>
                  <a:uLnTx/>
                  <a:uFillTx/>
                  <a:latin typeface="Arial"/>
                  <a:ea typeface="+mn-ea"/>
                  <a:cs typeface="+mn-ea"/>
                  <a:sym typeface="+mn-lt"/>
                </a:endParaRPr>
              </a:p>
            </p:txBody>
          </p:sp>
          <p:sp>
            <p:nvSpPr>
              <p:cNvPr id="65" name="Google Shape;1370;p36">
                <a:extLst>
                  <a:ext uri="{FF2B5EF4-FFF2-40B4-BE49-F238E27FC236}">
                    <a16:creationId xmlns:a16="http://schemas.microsoft.com/office/drawing/2014/main" id="{4F2AD269-E9DE-4CE5-85D9-55BE7F4B5B96}"/>
                  </a:ext>
                </a:extLst>
              </p:cNvPr>
              <p:cNvSpPr/>
              <p:nvPr/>
            </p:nvSpPr>
            <p:spPr>
              <a:xfrm>
                <a:off x="971350" y="3806450"/>
                <a:ext cx="254100" cy="339775"/>
              </a:xfrm>
              <a:custGeom>
                <a:avLst/>
                <a:gdLst/>
                <a:ahLst/>
                <a:cxnLst/>
                <a:rect l="l" t="t" r="r" b="b"/>
                <a:pathLst>
                  <a:path w="10164" h="13591" extrusionOk="0">
                    <a:moveTo>
                      <a:pt x="7563" y="2032"/>
                    </a:moveTo>
                    <a:cubicBezTo>
                      <a:pt x="7853" y="2032"/>
                      <a:pt x="8131" y="2256"/>
                      <a:pt x="8131" y="2596"/>
                    </a:cubicBezTo>
                    <a:cubicBezTo>
                      <a:pt x="8131" y="2937"/>
                      <a:pt x="7852" y="3163"/>
                      <a:pt x="7562" y="3163"/>
                    </a:cubicBezTo>
                    <a:cubicBezTo>
                      <a:pt x="7423" y="3163"/>
                      <a:pt x="7282" y="3111"/>
                      <a:pt x="7168" y="2997"/>
                    </a:cubicBezTo>
                    <a:cubicBezTo>
                      <a:pt x="6945" y="2777"/>
                      <a:pt x="6945" y="2418"/>
                      <a:pt x="7168" y="2199"/>
                    </a:cubicBezTo>
                    <a:cubicBezTo>
                      <a:pt x="7283" y="2083"/>
                      <a:pt x="7425" y="2032"/>
                      <a:pt x="7563" y="2032"/>
                    </a:cubicBezTo>
                    <a:close/>
                    <a:moveTo>
                      <a:pt x="7339" y="0"/>
                    </a:moveTo>
                    <a:cubicBezTo>
                      <a:pt x="5412" y="0"/>
                      <a:pt x="3759" y="1087"/>
                      <a:pt x="2901" y="2668"/>
                    </a:cubicBezTo>
                    <a:cubicBezTo>
                      <a:pt x="2852" y="2674"/>
                      <a:pt x="2804" y="2686"/>
                      <a:pt x="2762" y="2704"/>
                    </a:cubicBezTo>
                    <a:cubicBezTo>
                      <a:pt x="2602" y="2782"/>
                      <a:pt x="2431" y="2819"/>
                      <a:pt x="2260" y="2819"/>
                    </a:cubicBezTo>
                    <a:cubicBezTo>
                      <a:pt x="1967" y="2819"/>
                      <a:pt x="1678" y="2707"/>
                      <a:pt x="1458" y="2494"/>
                    </a:cubicBezTo>
                    <a:cubicBezTo>
                      <a:pt x="1247" y="2280"/>
                      <a:pt x="1127" y="1994"/>
                      <a:pt x="1130" y="1696"/>
                    </a:cubicBezTo>
                    <a:cubicBezTo>
                      <a:pt x="1130" y="1395"/>
                      <a:pt x="1247" y="1178"/>
                      <a:pt x="1458" y="964"/>
                    </a:cubicBezTo>
                    <a:cubicBezTo>
                      <a:pt x="1681" y="744"/>
                      <a:pt x="1681" y="386"/>
                      <a:pt x="1458" y="166"/>
                    </a:cubicBezTo>
                    <a:cubicBezTo>
                      <a:pt x="1348" y="56"/>
                      <a:pt x="1204" y="1"/>
                      <a:pt x="1059" y="1"/>
                    </a:cubicBezTo>
                    <a:cubicBezTo>
                      <a:pt x="915" y="1"/>
                      <a:pt x="770" y="56"/>
                      <a:pt x="660" y="166"/>
                    </a:cubicBezTo>
                    <a:cubicBezTo>
                      <a:pt x="236" y="594"/>
                      <a:pt x="1" y="1093"/>
                      <a:pt x="1" y="1696"/>
                    </a:cubicBezTo>
                    <a:cubicBezTo>
                      <a:pt x="1" y="2942"/>
                      <a:pt x="1010" y="3954"/>
                      <a:pt x="2259" y="3954"/>
                    </a:cubicBezTo>
                    <a:cubicBezTo>
                      <a:pt x="2307" y="3954"/>
                      <a:pt x="2353" y="3939"/>
                      <a:pt x="2401" y="3936"/>
                    </a:cubicBezTo>
                    <a:lnTo>
                      <a:pt x="2401" y="3936"/>
                    </a:lnTo>
                    <a:cubicBezTo>
                      <a:pt x="2319" y="4282"/>
                      <a:pt x="2274" y="4635"/>
                      <a:pt x="2265" y="4990"/>
                    </a:cubicBezTo>
                    <a:cubicBezTo>
                      <a:pt x="2976" y="4680"/>
                      <a:pt x="3741" y="4517"/>
                      <a:pt x="4518" y="4517"/>
                    </a:cubicBezTo>
                    <a:lnTo>
                      <a:pt x="5081" y="4517"/>
                    </a:lnTo>
                    <a:cubicBezTo>
                      <a:pt x="6017" y="4517"/>
                      <a:pt x="6773" y="5276"/>
                      <a:pt x="6776" y="6213"/>
                    </a:cubicBezTo>
                    <a:lnTo>
                      <a:pt x="6776" y="9073"/>
                    </a:lnTo>
                    <a:cubicBezTo>
                      <a:pt x="6776" y="10925"/>
                      <a:pt x="5864" y="12557"/>
                      <a:pt x="4482" y="13590"/>
                    </a:cubicBezTo>
                    <a:lnTo>
                      <a:pt x="6210" y="13590"/>
                    </a:lnTo>
                    <a:cubicBezTo>
                      <a:pt x="8393" y="13590"/>
                      <a:pt x="10164" y="11820"/>
                      <a:pt x="10164" y="9636"/>
                    </a:cubicBezTo>
                    <a:lnTo>
                      <a:pt x="10164" y="0"/>
                    </a:lnTo>
                    <a:close/>
                  </a:path>
                </a:pathLst>
              </a:custGeom>
              <a:solidFill>
                <a:srgbClr val="FFFFFF"/>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435D74"/>
                  </a:solidFill>
                  <a:effectLst/>
                  <a:uLnTx/>
                  <a:uFillTx/>
                  <a:latin typeface="Arial"/>
                  <a:ea typeface="+mn-ea"/>
                  <a:cs typeface="+mn-ea"/>
                  <a:sym typeface="+mn-lt"/>
                </a:endParaRPr>
              </a:p>
            </p:txBody>
          </p:sp>
          <p:sp>
            <p:nvSpPr>
              <p:cNvPr id="66" name="Google Shape;1371;p36">
                <a:extLst>
                  <a:ext uri="{FF2B5EF4-FFF2-40B4-BE49-F238E27FC236}">
                    <a16:creationId xmlns:a16="http://schemas.microsoft.com/office/drawing/2014/main" id="{0332CC91-68FF-4860-B10D-E65DD3A7EDD9}"/>
                  </a:ext>
                </a:extLst>
              </p:cNvPr>
              <p:cNvSpPr/>
              <p:nvPr/>
            </p:nvSpPr>
            <p:spPr>
              <a:xfrm>
                <a:off x="971350" y="3947600"/>
                <a:ext cx="141175" cy="198625"/>
              </a:xfrm>
              <a:custGeom>
                <a:avLst/>
                <a:gdLst/>
                <a:ahLst/>
                <a:cxnLst/>
                <a:rect l="l" t="t" r="r" b="b"/>
                <a:pathLst>
                  <a:path w="5647" h="7945" extrusionOk="0">
                    <a:moveTo>
                      <a:pt x="4518" y="0"/>
                    </a:moveTo>
                    <a:cubicBezTo>
                      <a:pt x="2021" y="0"/>
                      <a:pt x="1" y="2060"/>
                      <a:pt x="1" y="4556"/>
                    </a:cubicBezTo>
                    <a:lnTo>
                      <a:pt x="1" y="6815"/>
                    </a:lnTo>
                    <a:cubicBezTo>
                      <a:pt x="934" y="6812"/>
                      <a:pt x="1693" y="6056"/>
                      <a:pt x="1693" y="5120"/>
                    </a:cubicBezTo>
                    <a:cubicBezTo>
                      <a:pt x="1693" y="4806"/>
                      <a:pt x="1946" y="4556"/>
                      <a:pt x="2259" y="4556"/>
                    </a:cubicBezTo>
                    <a:cubicBezTo>
                      <a:pt x="2569" y="4556"/>
                      <a:pt x="2822" y="4806"/>
                      <a:pt x="2822" y="5120"/>
                    </a:cubicBezTo>
                    <a:cubicBezTo>
                      <a:pt x="2822" y="6547"/>
                      <a:pt x="1753" y="7718"/>
                      <a:pt x="377" y="7905"/>
                    </a:cubicBezTo>
                    <a:cubicBezTo>
                      <a:pt x="434" y="7929"/>
                      <a:pt x="501" y="7941"/>
                      <a:pt x="564" y="7944"/>
                    </a:cubicBezTo>
                    <a:lnTo>
                      <a:pt x="1130" y="7944"/>
                    </a:lnTo>
                    <a:cubicBezTo>
                      <a:pt x="3623" y="7944"/>
                      <a:pt x="5647" y="5921"/>
                      <a:pt x="5647" y="3427"/>
                    </a:cubicBezTo>
                    <a:lnTo>
                      <a:pt x="5647" y="567"/>
                    </a:lnTo>
                    <a:cubicBezTo>
                      <a:pt x="5647" y="253"/>
                      <a:pt x="5394" y="0"/>
                      <a:pt x="5081" y="0"/>
                    </a:cubicBezTo>
                    <a:close/>
                  </a:path>
                </a:pathLst>
              </a:custGeom>
              <a:solidFill>
                <a:srgbClr val="FFFFFF"/>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435D74"/>
                  </a:solidFill>
                  <a:effectLst/>
                  <a:uLnTx/>
                  <a:uFillTx/>
                  <a:latin typeface="Arial"/>
                  <a:ea typeface="+mn-ea"/>
                  <a:cs typeface="+mn-ea"/>
                  <a:sym typeface="+mn-lt"/>
                </a:endParaRPr>
              </a:p>
            </p:txBody>
          </p:sp>
          <p:sp>
            <p:nvSpPr>
              <p:cNvPr id="67" name="Google Shape;1372;p36">
                <a:extLst>
                  <a:ext uri="{FF2B5EF4-FFF2-40B4-BE49-F238E27FC236}">
                    <a16:creationId xmlns:a16="http://schemas.microsoft.com/office/drawing/2014/main" id="{4FD3B91A-4962-4D57-A3DF-D6486006B058}"/>
                  </a:ext>
                </a:extLst>
              </p:cNvPr>
              <p:cNvSpPr/>
              <p:nvPr/>
            </p:nvSpPr>
            <p:spPr>
              <a:xfrm>
                <a:off x="1253675" y="3806450"/>
                <a:ext cx="112925" cy="90350"/>
              </a:xfrm>
              <a:custGeom>
                <a:avLst/>
                <a:gdLst/>
                <a:ahLst/>
                <a:cxnLst/>
                <a:rect l="l" t="t" r="r" b="b"/>
                <a:pathLst>
                  <a:path w="4517" h="3614" extrusionOk="0">
                    <a:moveTo>
                      <a:pt x="0" y="0"/>
                    </a:moveTo>
                    <a:lnTo>
                      <a:pt x="0" y="1696"/>
                    </a:lnTo>
                    <a:cubicBezTo>
                      <a:pt x="142" y="1685"/>
                      <a:pt x="428" y="1669"/>
                      <a:pt x="771" y="1669"/>
                    </a:cubicBezTo>
                    <a:cubicBezTo>
                      <a:pt x="1415" y="1669"/>
                      <a:pt x="2264" y="1726"/>
                      <a:pt x="2749" y="1988"/>
                    </a:cubicBezTo>
                    <a:cubicBezTo>
                      <a:pt x="3355" y="2313"/>
                      <a:pt x="4062" y="3078"/>
                      <a:pt x="4517" y="3614"/>
                    </a:cubicBezTo>
                    <a:lnTo>
                      <a:pt x="4517" y="2259"/>
                    </a:lnTo>
                    <a:cubicBezTo>
                      <a:pt x="4517" y="1012"/>
                      <a:pt x="3505" y="0"/>
                      <a:pt x="2258" y="0"/>
                    </a:cubicBezTo>
                    <a:close/>
                  </a:path>
                </a:pathLst>
              </a:custGeom>
              <a:solidFill>
                <a:srgbClr val="FFFFFF"/>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435D74"/>
                  </a:solidFill>
                  <a:effectLst/>
                  <a:uLnTx/>
                  <a:uFillTx/>
                  <a:latin typeface="Arial"/>
                  <a:ea typeface="+mn-ea"/>
                  <a:cs typeface="+mn-ea"/>
                  <a:sym typeface="+mn-lt"/>
                </a:endParaRPr>
              </a:p>
            </p:txBody>
          </p:sp>
          <p:sp>
            <p:nvSpPr>
              <p:cNvPr id="68" name="Google Shape;1373;p36">
                <a:extLst>
                  <a:ext uri="{FF2B5EF4-FFF2-40B4-BE49-F238E27FC236}">
                    <a16:creationId xmlns:a16="http://schemas.microsoft.com/office/drawing/2014/main" id="{853ABDAA-5A1E-4C60-BBD2-D4D031673BC4}"/>
                  </a:ext>
                </a:extLst>
              </p:cNvPr>
              <p:cNvSpPr/>
              <p:nvPr/>
            </p:nvSpPr>
            <p:spPr>
              <a:xfrm>
                <a:off x="1253600" y="3876425"/>
                <a:ext cx="95025" cy="42975"/>
              </a:xfrm>
              <a:custGeom>
                <a:avLst/>
                <a:gdLst/>
                <a:ahLst/>
                <a:cxnLst/>
                <a:rect l="l" t="t" r="r" b="b"/>
                <a:pathLst>
                  <a:path w="3801" h="1719" extrusionOk="0">
                    <a:moveTo>
                      <a:pt x="726" y="0"/>
                    </a:moveTo>
                    <a:cubicBezTo>
                      <a:pt x="478" y="0"/>
                      <a:pt x="239" y="9"/>
                      <a:pt x="42" y="23"/>
                    </a:cubicBezTo>
                    <a:lnTo>
                      <a:pt x="0" y="23"/>
                    </a:lnTo>
                    <a:lnTo>
                      <a:pt x="3" y="1718"/>
                    </a:lnTo>
                    <a:lnTo>
                      <a:pt x="3800" y="1718"/>
                    </a:lnTo>
                    <a:cubicBezTo>
                      <a:pt x="3379" y="1203"/>
                      <a:pt x="2692" y="438"/>
                      <a:pt x="2219" y="182"/>
                    </a:cubicBezTo>
                    <a:cubicBezTo>
                      <a:pt x="1969" y="49"/>
                      <a:pt x="1321" y="0"/>
                      <a:pt x="726" y="0"/>
                    </a:cubicBezTo>
                    <a:close/>
                  </a:path>
                </a:pathLst>
              </a:custGeom>
              <a:solidFill>
                <a:srgbClr val="FFFFFF"/>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435D74"/>
                  </a:solidFill>
                  <a:effectLst/>
                  <a:uLnTx/>
                  <a:uFillTx/>
                  <a:latin typeface="Arial"/>
                  <a:ea typeface="+mn-ea"/>
                  <a:cs typeface="+mn-ea"/>
                  <a:sym typeface="+mn-lt"/>
                </a:endParaRPr>
              </a:p>
            </p:txBody>
          </p:sp>
        </p:grpSp>
      </p:grpSp>
    </p:spTree>
    <p:extLst>
      <p:ext uri="{BB962C8B-B14F-4D97-AF65-F5344CB8AC3E}">
        <p14:creationId xmlns:p14="http://schemas.microsoft.com/office/powerpoint/2010/main" val="2919981483"/>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7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oogle Shape;1379;p37">
            <a:extLst>
              <a:ext uri="{FF2B5EF4-FFF2-40B4-BE49-F238E27FC236}">
                <a16:creationId xmlns:a16="http://schemas.microsoft.com/office/drawing/2014/main" id="{0024A9A8-199F-4DD3-A251-4B0FDE996808}"/>
              </a:ext>
            </a:extLst>
          </p:cNvPr>
          <p:cNvGrpSpPr/>
          <p:nvPr/>
        </p:nvGrpSpPr>
        <p:grpSpPr>
          <a:xfrm>
            <a:off x="2313367" y="2026791"/>
            <a:ext cx="1667400" cy="2799565"/>
            <a:chOff x="1735025" y="1715188"/>
            <a:chExt cx="1250550" cy="2099674"/>
          </a:xfrm>
        </p:grpSpPr>
        <p:sp>
          <p:nvSpPr>
            <p:cNvPr id="3" name="Google Shape;1380;p37">
              <a:extLst>
                <a:ext uri="{FF2B5EF4-FFF2-40B4-BE49-F238E27FC236}">
                  <a16:creationId xmlns:a16="http://schemas.microsoft.com/office/drawing/2014/main" id="{A6A4C65A-CBF2-4816-8C7B-EA4FA6AFB6BC}"/>
                </a:ext>
              </a:extLst>
            </p:cNvPr>
            <p:cNvSpPr/>
            <p:nvPr/>
          </p:nvSpPr>
          <p:spPr>
            <a:xfrm>
              <a:off x="1761000" y="2044688"/>
              <a:ext cx="1013850" cy="291425"/>
            </a:xfrm>
            <a:custGeom>
              <a:avLst/>
              <a:gdLst/>
              <a:ahLst/>
              <a:cxnLst/>
              <a:rect l="l" t="t" r="r" b="b"/>
              <a:pathLst>
                <a:path w="40554" h="11657" extrusionOk="0">
                  <a:moveTo>
                    <a:pt x="1" y="0"/>
                  </a:moveTo>
                  <a:lnTo>
                    <a:pt x="1" y="11657"/>
                  </a:lnTo>
                  <a:lnTo>
                    <a:pt x="40553" y="11657"/>
                  </a:lnTo>
                  <a:lnTo>
                    <a:pt x="35029" y="0"/>
                  </a:ln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100"/>
                <a:buFontTx/>
                <a:buNone/>
                <a:tabLst/>
                <a:defRPr/>
              </a:pPr>
              <a:r>
                <a:rPr kumimoji="0" lang="en" sz="2000" b="0" i="0" u="none" strike="noStrike" kern="1200" cap="none" spc="0" normalizeH="0" baseline="0" noProof="0">
                  <a:ln>
                    <a:noFill/>
                  </a:ln>
                  <a:solidFill>
                    <a:srgbClr val="FFFFFF"/>
                  </a:solidFill>
                  <a:effectLst/>
                  <a:uLnTx/>
                  <a:uFillTx/>
                  <a:latin typeface="Arial"/>
                  <a:ea typeface="+mn-ea"/>
                  <a:cs typeface="+mn-ea"/>
                  <a:sym typeface="+mn-lt"/>
                </a:rPr>
                <a:t>2023</a:t>
              </a: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4" name="Google Shape;1381;p37">
              <a:extLst>
                <a:ext uri="{FF2B5EF4-FFF2-40B4-BE49-F238E27FC236}">
                  <a16:creationId xmlns:a16="http://schemas.microsoft.com/office/drawing/2014/main" id="{B4779B72-125D-404C-AC70-3DCE12206D90}"/>
                </a:ext>
              </a:extLst>
            </p:cNvPr>
            <p:cNvSpPr/>
            <p:nvPr/>
          </p:nvSpPr>
          <p:spPr>
            <a:xfrm>
              <a:off x="1761000" y="2745063"/>
              <a:ext cx="1224575" cy="714400"/>
            </a:xfrm>
            <a:custGeom>
              <a:avLst/>
              <a:gdLst/>
              <a:ahLst/>
              <a:cxnLst/>
              <a:rect l="l" t="t" r="r" b="b"/>
              <a:pathLst>
                <a:path w="48983" h="28576" extrusionOk="0">
                  <a:moveTo>
                    <a:pt x="48007" y="1"/>
                  </a:moveTo>
                  <a:lnTo>
                    <a:pt x="34648" y="27468"/>
                  </a:lnTo>
                  <a:lnTo>
                    <a:pt x="1" y="27468"/>
                  </a:lnTo>
                  <a:lnTo>
                    <a:pt x="1" y="28576"/>
                  </a:lnTo>
                  <a:lnTo>
                    <a:pt x="35315" y="28576"/>
                  </a:lnTo>
                  <a:lnTo>
                    <a:pt x="48983" y="501"/>
                  </a:lnTo>
                  <a:lnTo>
                    <a:pt x="48007" y="1"/>
                  </a:ln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5" name="Google Shape;1382;p37">
              <a:extLst>
                <a:ext uri="{FF2B5EF4-FFF2-40B4-BE49-F238E27FC236}">
                  <a16:creationId xmlns:a16="http://schemas.microsoft.com/office/drawing/2014/main" id="{A24ED44C-4E2B-4EB5-92F7-1C8A5AEBE2F8}"/>
                </a:ext>
              </a:extLst>
            </p:cNvPr>
            <p:cNvSpPr/>
            <p:nvPr/>
          </p:nvSpPr>
          <p:spPr>
            <a:xfrm>
              <a:off x="1761000" y="2041413"/>
              <a:ext cx="1224575" cy="714400"/>
            </a:xfrm>
            <a:custGeom>
              <a:avLst/>
              <a:gdLst/>
              <a:ahLst/>
              <a:cxnLst/>
              <a:rect l="l" t="t" r="r" b="b"/>
              <a:pathLst>
                <a:path w="48983" h="28576" extrusionOk="0">
                  <a:moveTo>
                    <a:pt x="1" y="0"/>
                  </a:moveTo>
                  <a:lnTo>
                    <a:pt x="1" y="1108"/>
                  </a:lnTo>
                  <a:lnTo>
                    <a:pt x="34648" y="1108"/>
                  </a:lnTo>
                  <a:lnTo>
                    <a:pt x="48007" y="28575"/>
                  </a:lnTo>
                  <a:lnTo>
                    <a:pt x="48983" y="28075"/>
                  </a:lnTo>
                  <a:lnTo>
                    <a:pt x="35315" y="0"/>
                  </a:ln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6" name="Google Shape;1383;p37">
              <a:extLst>
                <a:ext uri="{FF2B5EF4-FFF2-40B4-BE49-F238E27FC236}">
                  <a16:creationId xmlns:a16="http://schemas.microsoft.com/office/drawing/2014/main" id="{02728812-CA4D-4700-802E-EAB16EA0F2C8}"/>
                </a:ext>
              </a:extLst>
            </p:cNvPr>
            <p:cNvSpPr/>
            <p:nvPr/>
          </p:nvSpPr>
          <p:spPr>
            <a:xfrm>
              <a:off x="1761000" y="1715188"/>
              <a:ext cx="329525" cy="329525"/>
            </a:xfrm>
            <a:custGeom>
              <a:avLst/>
              <a:gdLst/>
              <a:ahLst/>
              <a:cxnLst/>
              <a:rect l="l" t="t" r="r" b="b"/>
              <a:pathLst>
                <a:path w="13181" h="13181" extrusionOk="0">
                  <a:moveTo>
                    <a:pt x="1" y="0"/>
                  </a:moveTo>
                  <a:lnTo>
                    <a:pt x="1" y="13180"/>
                  </a:lnTo>
                  <a:lnTo>
                    <a:pt x="13181" y="13180"/>
                  </a:lnTo>
                  <a:lnTo>
                    <a:pt x="13181" y="0"/>
                  </a:ln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7" name="Google Shape;1384;p37">
              <a:extLst>
                <a:ext uri="{FF2B5EF4-FFF2-40B4-BE49-F238E27FC236}">
                  <a16:creationId xmlns:a16="http://schemas.microsoft.com/office/drawing/2014/main" id="{F1103BD5-BFA0-4C3E-B419-51F5AC04881D}"/>
                </a:ext>
              </a:extLst>
            </p:cNvPr>
            <p:cNvSpPr/>
            <p:nvPr/>
          </p:nvSpPr>
          <p:spPr>
            <a:xfrm>
              <a:off x="1761000" y="3447051"/>
              <a:ext cx="368145" cy="367810"/>
            </a:xfrm>
            <a:custGeom>
              <a:avLst/>
              <a:gdLst/>
              <a:ahLst/>
              <a:cxnLst/>
              <a:rect l="l" t="t" r="r" b="b"/>
              <a:pathLst>
                <a:path w="13181" h="13169" extrusionOk="0">
                  <a:moveTo>
                    <a:pt x="1" y="1"/>
                  </a:moveTo>
                  <a:lnTo>
                    <a:pt x="1" y="13169"/>
                  </a:lnTo>
                  <a:lnTo>
                    <a:pt x="13181" y="13169"/>
                  </a:lnTo>
                  <a:lnTo>
                    <a:pt x="13181" y="1"/>
                  </a:lnTo>
                  <a:close/>
                </a:path>
              </a:pathLst>
            </a:custGeom>
            <a:solidFill>
              <a:schemeClr val="accent1"/>
            </a:solidFill>
            <a:ln>
              <a:noFill/>
            </a:ln>
          </p:spPr>
          <p:txBody>
            <a:bodyPr spcFirstLastPara="1" wrap="square" lIns="0" tIns="121900" rIns="0" bIns="1219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Tx/>
                <a:buNone/>
                <a:tabLst/>
                <a:defRPr/>
              </a:pPr>
              <a:r>
                <a:rPr kumimoji="0" lang="en" sz="2533" b="0" i="0" u="none" strike="noStrike" kern="1200" cap="none" spc="0" normalizeH="0" baseline="0" noProof="0">
                  <a:ln>
                    <a:noFill/>
                  </a:ln>
                  <a:solidFill>
                    <a:srgbClr val="FFFFFF"/>
                  </a:solidFill>
                  <a:effectLst/>
                  <a:uLnTx/>
                  <a:uFillTx/>
                  <a:latin typeface="Arial"/>
                  <a:ea typeface="+mn-ea"/>
                  <a:cs typeface="+mn-ea"/>
                  <a:sym typeface="+mn-lt"/>
                </a:rPr>
                <a:t>04</a:t>
              </a:r>
              <a:endParaRPr kumimoji="0" sz="2533"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8" name="Google Shape;1385;p37">
              <a:extLst>
                <a:ext uri="{FF2B5EF4-FFF2-40B4-BE49-F238E27FC236}">
                  <a16:creationId xmlns:a16="http://schemas.microsoft.com/office/drawing/2014/main" id="{CD00837B-A75B-40F5-B505-03AB35F7137B}"/>
                </a:ext>
              </a:extLst>
            </p:cNvPr>
            <p:cNvSpPr txBox="1"/>
            <p:nvPr/>
          </p:nvSpPr>
          <p:spPr>
            <a:xfrm>
              <a:off x="1735025" y="2810800"/>
              <a:ext cx="964200" cy="597300"/>
            </a:xfrm>
            <a:prstGeom prst="rect">
              <a:avLst/>
            </a:prstGeom>
            <a:noFill/>
            <a:ln>
              <a:noFill/>
            </a:ln>
          </p:spPr>
          <p:txBody>
            <a:bodyPr spcFirstLastPara="1" wrap="square" lIns="121900" tIns="121900" rIns="121900" bIns="12190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 sz="1600" b="0" i="0" u="none" strike="noStrike" kern="1200" cap="none" spc="0" normalizeH="0" baseline="0" noProof="0">
                  <a:ln>
                    <a:noFill/>
                  </a:ln>
                  <a:solidFill>
                    <a:srgbClr val="434343"/>
                  </a:solidFill>
                  <a:effectLst/>
                  <a:uLnTx/>
                  <a:uFillTx/>
                  <a:latin typeface="Arial"/>
                  <a:ea typeface="+mn-ea"/>
                  <a:cs typeface="+mn-ea"/>
                  <a:sym typeface="+mn-lt"/>
                </a:rPr>
                <a:t>Jupiter is a gas giant</a:t>
              </a:r>
              <a:endParaRPr kumimoji="0" sz="1600" b="0" i="0" u="none" strike="noStrike" kern="1200" cap="none" spc="0" normalizeH="0" baseline="0" noProof="0">
                <a:ln>
                  <a:noFill/>
                </a:ln>
                <a:solidFill>
                  <a:srgbClr val="434343"/>
                </a:solidFill>
                <a:effectLst/>
                <a:uLnTx/>
                <a:uFillTx/>
                <a:latin typeface="Arial"/>
                <a:ea typeface="+mn-ea"/>
                <a:cs typeface="+mn-ea"/>
                <a:sym typeface="+mn-lt"/>
              </a:endParaRPr>
            </a:p>
          </p:txBody>
        </p:sp>
        <p:sp>
          <p:nvSpPr>
            <p:cNvPr id="9" name="Google Shape;1386;p37">
              <a:extLst>
                <a:ext uri="{FF2B5EF4-FFF2-40B4-BE49-F238E27FC236}">
                  <a16:creationId xmlns:a16="http://schemas.microsoft.com/office/drawing/2014/main" id="{DDE7F740-45C6-4BB2-944E-FD9DC88DA4AD}"/>
                </a:ext>
              </a:extLst>
            </p:cNvPr>
            <p:cNvSpPr txBox="1"/>
            <p:nvPr/>
          </p:nvSpPr>
          <p:spPr>
            <a:xfrm>
              <a:off x="1735025" y="2355188"/>
              <a:ext cx="964200" cy="329400"/>
            </a:xfrm>
            <a:prstGeom prst="rect">
              <a:avLst/>
            </a:prstGeom>
            <a:noFill/>
            <a:ln>
              <a:noFill/>
            </a:ln>
          </p:spPr>
          <p:txBody>
            <a:bodyPr spcFirstLastPara="1" wrap="square" lIns="121900" tIns="121900" rIns="121900" bIns="12190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 sz="2133" b="0" i="0" u="none" strike="noStrike" kern="1200" cap="none" spc="0" normalizeH="0" baseline="0" noProof="0">
                  <a:ln>
                    <a:noFill/>
                  </a:ln>
                  <a:solidFill>
                    <a:srgbClr val="434343"/>
                  </a:solidFill>
                  <a:effectLst/>
                  <a:uLnTx/>
                  <a:uFillTx/>
                  <a:latin typeface="Arial"/>
                  <a:ea typeface="+mn-ea"/>
                  <a:cs typeface="+mn-ea"/>
                  <a:sym typeface="+mn-lt"/>
                </a:rPr>
                <a:t>Jupiter</a:t>
              </a:r>
              <a:endParaRPr kumimoji="0" sz="2133" b="0" i="0" u="none" strike="noStrike" kern="1200" cap="none" spc="0" normalizeH="0" baseline="0" noProof="0">
                <a:ln>
                  <a:noFill/>
                </a:ln>
                <a:solidFill>
                  <a:srgbClr val="434343"/>
                </a:solidFill>
                <a:effectLst/>
                <a:uLnTx/>
                <a:uFillTx/>
                <a:latin typeface="Arial"/>
                <a:ea typeface="+mn-ea"/>
                <a:cs typeface="+mn-ea"/>
                <a:sym typeface="+mn-lt"/>
              </a:endParaRPr>
            </a:p>
          </p:txBody>
        </p:sp>
        <p:grpSp>
          <p:nvGrpSpPr>
            <p:cNvPr id="10" name="Google Shape;1387;p37">
              <a:extLst>
                <a:ext uri="{FF2B5EF4-FFF2-40B4-BE49-F238E27FC236}">
                  <a16:creationId xmlns:a16="http://schemas.microsoft.com/office/drawing/2014/main" id="{C43A63F5-F757-434E-B31E-1675A3645AAF}"/>
                </a:ext>
              </a:extLst>
            </p:cNvPr>
            <p:cNvGrpSpPr/>
            <p:nvPr/>
          </p:nvGrpSpPr>
          <p:grpSpPr>
            <a:xfrm>
              <a:off x="1807507" y="1779288"/>
              <a:ext cx="236512" cy="201325"/>
              <a:chOff x="5645200" y="879425"/>
              <a:chExt cx="478575" cy="407375"/>
            </a:xfrm>
          </p:grpSpPr>
          <p:sp>
            <p:nvSpPr>
              <p:cNvPr id="11" name="Google Shape;1388;p37">
                <a:extLst>
                  <a:ext uri="{FF2B5EF4-FFF2-40B4-BE49-F238E27FC236}">
                    <a16:creationId xmlns:a16="http://schemas.microsoft.com/office/drawing/2014/main" id="{F8CA8373-C907-4269-8D62-F63F96CA54A6}"/>
                  </a:ext>
                </a:extLst>
              </p:cNvPr>
              <p:cNvSpPr/>
              <p:nvPr/>
            </p:nvSpPr>
            <p:spPr>
              <a:xfrm>
                <a:off x="6004200" y="1075025"/>
                <a:ext cx="86075" cy="93450"/>
              </a:xfrm>
              <a:custGeom>
                <a:avLst/>
                <a:gdLst/>
                <a:ahLst/>
                <a:cxnLst/>
                <a:rect l="l" t="t" r="r" b="b"/>
                <a:pathLst>
                  <a:path w="3443" h="3738" extrusionOk="0">
                    <a:moveTo>
                      <a:pt x="1" y="0"/>
                    </a:moveTo>
                    <a:lnTo>
                      <a:pt x="1" y="3737"/>
                    </a:lnTo>
                    <a:lnTo>
                      <a:pt x="1907" y="3737"/>
                    </a:lnTo>
                    <a:cubicBezTo>
                      <a:pt x="2157" y="3737"/>
                      <a:pt x="2377" y="3574"/>
                      <a:pt x="2449" y="3334"/>
                    </a:cubicBezTo>
                    <a:lnTo>
                      <a:pt x="3443" y="0"/>
                    </a:lnTo>
                    <a:close/>
                  </a:path>
                </a:pathLst>
              </a:custGeom>
              <a:solidFill>
                <a:srgbClr val="FFFFFF"/>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435D74"/>
                  </a:solidFill>
                  <a:effectLst/>
                  <a:uLnTx/>
                  <a:uFillTx/>
                  <a:latin typeface="Arial"/>
                  <a:ea typeface="+mn-ea"/>
                  <a:cs typeface="+mn-ea"/>
                  <a:sym typeface="+mn-lt"/>
                </a:endParaRPr>
              </a:p>
            </p:txBody>
          </p:sp>
          <p:sp>
            <p:nvSpPr>
              <p:cNvPr id="12" name="Google Shape;1389;p37">
                <a:extLst>
                  <a:ext uri="{FF2B5EF4-FFF2-40B4-BE49-F238E27FC236}">
                    <a16:creationId xmlns:a16="http://schemas.microsoft.com/office/drawing/2014/main" id="{AA7FA851-9FA8-494C-BECA-3BAF1919515B}"/>
                  </a:ext>
                </a:extLst>
              </p:cNvPr>
              <p:cNvSpPr/>
              <p:nvPr/>
            </p:nvSpPr>
            <p:spPr>
              <a:xfrm>
                <a:off x="5880900" y="953275"/>
                <a:ext cx="95100" cy="93525"/>
              </a:xfrm>
              <a:custGeom>
                <a:avLst/>
                <a:gdLst/>
                <a:ahLst/>
                <a:cxnLst/>
                <a:rect l="l" t="t" r="r" b="b"/>
                <a:pathLst>
                  <a:path w="3804" h="3741" extrusionOk="0">
                    <a:moveTo>
                      <a:pt x="0" y="1"/>
                    </a:moveTo>
                    <a:lnTo>
                      <a:pt x="0" y="3741"/>
                    </a:lnTo>
                    <a:lnTo>
                      <a:pt x="3804" y="3741"/>
                    </a:lnTo>
                    <a:lnTo>
                      <a:pt x="3804" y="1"/>
                    </a:lnTo>
                    <a:close/>
                  </a:path>
                </a:pathLst>
              </a:custGeom>
              <a:solidFill>
                <a:srgbClr val="FFFFFF"/>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435D74"/>
                  </a:solidFill>
                  <a:effectLst/>
                  <a:uLnTx/>
                  <a:uFillTx/>
                  <a:latin typeface="Arial"/>
                  <a:ea typeface="+mn-ea"/>
                  <a:cs typeface="+mn-ea"/>
                  <a:sym typeface="+mn-lt"/>
                </a:endParaRPr>
              </a:p>
            </p:txBody>
          </p:sp>
          <p:sp>
            <p:nvSpPr>
              <p:cNvPr id="13" name="Google Shape;1390;p37">
                <a:extLst>
                  <a:ext uri="{FF2B5EF4-FFF2-40B4-BE49-F238E27FC236}">
                    <a16:creationId xmlns:a16="http://schemas.microsoft.com/office/drawing/2014/main" id="{89EB5B43-1FEB-4AF4-B8A2-B1C2758D0092}"/>
                  </a:ext>
                </a:extLst>
              </p:cNvPr>
              <p:cNvSpPr/>
              <p:nvPr/>
            </p:nvSpPr>
            <p:spPr>
              <a:xfrm>
                <a:off x="6004200" y="953275"/>
                <a:ext cx="119575" cy="93525"/>
              </a:xfrm>
              <a:custGeom>
                <a:avLst/>
                <a:gdLst/>
                <a:ahLst/>
                <a:cxnLst/>
                <a:rect l="l" t="t" r="r" b="b"/>
                <a:pathLst>
                  <a:path w="4783" h="3741" extrusionOk="0">
                    <a:moveTo>
                      <a:pt x="1" y="1"/>
                    </a:moveTo>
                    <a:lnTo>
                      <a:pt x="1" y="3741"/>
                    </a:lnTo>
                    <a:lnTo>
                      <a:pt x="3777" y="3741"/>
                    </a:lnTo>
                    <a:lnTo>
                      <a:pt x="4674" y="727"/>
                    </a:lnTo>
                    <a:cubicBezTo>
                      <a:pt x="4783" y="365"/>
                      <a:pt x="4512" y="1"/>
                      <a:pt x="4132" y="1"/>
                    </a:cubicBezTo>
                    <a:close/>
                  </a:path>
                </a:pathLst>
              </a:custGeom>
              <a:solidFill>
                <a:srgbClr val="FFFFFF"/>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435D74"/>
                  </a:solidFill>
                  <a:effectLst/>
                  <a:uLnTx/>
                  <a:uFillTx/>
                  <a:latin typeface="Arial"/>
                  <a:ea typeface="+mn-ea"/>
                  <a:cs typeface="+mn-ea"/>
                  <a:sym typeface="+mn-lt"/>
                </a:endParaRPr>
              </a:p>
            </p:txBody>
          </p:sp>
          <p:sp>
            <p:nvSpPr>
              <p:cNvPr id="14" name="Google Shape;1391;p37">
                <a:extLst>
                  <a:ext uri="{FF2B5EF4-FFF2-40B4-BE49-F238E27FC236}">
                    <a16:creationId xmlns:a16="http://schemas.microsoft.com/office/drawing/2014/main" id="{64DB5638-040A-4E60-B37D-24147FE39119}"/>
                  </a:ext>
                </a:extLst>
              </p:cNvPr>
              <p:cNvSpPr/>
              <p:nvPr/>
            </p:nvSpPr>
            <p:spPr>
              <a:xfrm>
                <a:off x="5880900" y="1075025"/>
                <a:ext cx="95100" cy="93450"/>
              </a:xfrm>
              <a:custGeom>
                <a:avLst/>
                <a:gdLst/>
                <a:ahLst/>
                <a:cxnLst/>
                <a:rect l="l" t="t" r="r" b="b"/>
                <a:pathLst>
                  <a:path w="3804" h="3738" extrusionOk="0">
                    <a:moveTo>
                      <a:pt x="0" y="0"/>
                    </a:moveTo>
                    <a:lnTo>
                      <a:pt x="0" y="3737"/>
                    </a:lnTo>
                    <a:lnTo>
                      <a:pt x="3804" y="3737"/>
                    </a:lnTo>
                    <a:lnTo>
                      <a:pt x="3804" y="0"/>
                    </a:lnTo>
                    <a:close/>
                  </a:path>
                </a:pathLst>
              </a:custGeom>
              <a:solidFill>
                <a:srgbClr val="FFFFFF"/>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435D74"/>
                  </a:solidFill>
                  <a:effectLst/>
                  <a:uLnTx/>
                  <a:uFillTx/>
                  <a:latin typeface="Arial"/>
                  <a:ea typeface="+mn-ea"/>
                  <a:cs typeface="+mn-ea"/>
                  <a:sym typeface="+mn-lt"/>
                </a:endParaRPr>
              </a:p>
            </p:txBody>
          </p:sp>
          <p:sp>
            <p:nvSpPr>
              <p:cNvPr id="15" name="Google Shape;1392;p37">
                <a:extLst>
                  <a:ext uri="{FF2B5EF4-FFF2-40B4-BE49-F238E27FC236}">
                    <a16:creationId xmlns:a16="http://schemas.microsoft.com/office/drawing/2014/main" id="{9AE66D92-9193-4810-A8D5-F88748E24209}"/>
                  </a:ext>
                </a:extLst>
              </p:cNvPr>
              <p:cNvSpPr/>
              <p:nvPr/>
            </p:nvSpPr>
            <p:spPr>
              <a:xfrm>
                <a:off x="5645200" y="879425"/>
                <a:ext cx="207500" cy="167375"/>
              </a:xfrm>
              <a:custGeom>
                <a:avLst/>
                <a:gdLst/>
                <a:ahLst/>
                <a:cxnLst/>
                <a:rect l="l" t="t" r="r" b="b"/>
                <a:pathLst>
                  <a:path w="8300" h="6695" extrusionOk="0">
                    <a:moveTo>
                      <a:pt x="563" y="1"/>
                    </a:moveTo>
                    <a:cubicBezTo>
                      <a:pt x="253" y="1"/>
                      <a:pt x="0" y="254"/>
                      <a:pt x="0" y="564"/>
                    </a:cubicBezTo>
                    <a:cubicBezTo>
                      <a:pt x="0" y="877"/>
                      <a:pt x="253" y="1130"/>
                      <a:pt x="563" y="1130"/>
                    </a:cubicBezTo>
                    <a:lnTo>
                      <a:pt x="2403" y="1130"/>
                    </a:lnTo>
                    <a:lnTo>
                      <a:pt x="3159" y="3672"/>
                    </a:lnTo>
                    <a:cubicBezTo>
                      <a:pt x="3162" y="3678"/>
                      <a:pt x="3162" y="3687"/>
                      <a:pt x="3165" y="3696"/>
                    </a:cubicBezTo>
                    <a:lnTo>
                      <a:pt x="4059" y="6695"/>
                    </a:lnTo>
                    <a:lnTo>
                      <a:pt x="8299" y="6695"/>
                    </a:lnTo>
                    <a:lnTo>
                      <a:pt x="8299" y="2955"/>
                    </a:lnTo>
                    <a:lnTo>
                      <a:pt x="4123" y="2955"/>
                    </a:lnTo>
                    <a:lnTo>
                      <a:pt x="3364" y="404"/>
                    </a:lnTo>
                    <a:cubicBezTo>
                      <a:pt x="3295" y="163"/>
                      <a:pt x="3072" y="1"/>
                      <a:pt x="2822" y="1"/>
                    </a:cubicBezTo>
                    <a:close/>
                  </a:path>
                </a:pathLst>
              </a:custGeom>
              <a:solidFill>
                <a:srgbClr val="FFFFFF"/>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435D74"/>
                  </a:solidFill>
                  <a:effectLst/>
                  <a:uLnTx/>
                  <a:uFillTx/>
                  <a:latin typeface="Arial"/>
                  <a:ea typeface="+mn-ea"/>
                  <a:cs typeface="+mn-ea"/>
                  <a:sym typeface="+mn-lt"/>
                </a:endParaRPr>
              </a:p>
            </p:txBody>
          </p:sp>
          <p:sp>
            <p:nvSpPr>
              <p:cNvPr id="16" name="Google Shape;1393;p37">
                <a:extLst>
                  <a:ext uri="{FF2B5EF4-FFF2-40B4-BE49-F238E27FC236}">
                    <a16:creationId xmlns:a16="http://schemas.microsoft.com/office/drawing/2014/main" id="{F769908F-AE3C-437E-B529-BD4B1E3E6AA1}"/>
                  </a:ext>
                </a:extLst>
              </p:cNvPr>
              <p:cNvSpPr/>
              <p:nvPr/>
            </p:nvSpPr>
            <p:spPr>
              <a:xfrm>
                <a:off x="5722500" y="1075025"/>
                <a:ext cx="370875" cy="211775"/>
              </a:xfrm>
              <a:custGeom>
                <a:avLst/>
                <a:gdLst/>
                <a:ahLst/>
                <a:cxnLst/>
                <a:rect l="l" t="t" r="r" b="b"/>
                <a:pathLst>
                  <a:path w="14835" h="8471" extrusionOk="0">
                    <a:moveTo>
                      <a:pt x="1305" y="0"/>
                    </a:moveTo>
                    <a:lnTo>
                      <a:pt x="2082" y="2614"/>
                    </a:lnTo>
                    <a:cubicBezTo>
                      <a:pt x="901" y="2701"/>
                      <a:pt x="1" y="3704"/>
                      <a:pt x="40" y="4887"/>
                    </a:cubicBezTo>
                    <a:cubicBezTo>
                      <a:pt x="82" y="6071"/>
                      <a:pt x="1049" y="7010"/>
                      <a:pt x="2232" y="7019"/>
                    </a:cubicBezTo>
                    <a:lnTo>
                      <a:pt x="2795" y="7019"/>
                    </a:lnTo>
                    <a:cubicBezTo>
                      <a:pt x="3045" y="7878"/>
                      <a:pt x="3834" y="8471"/>
                      <a:pt x="4731" y="8471"/>
                    </a:cubicBezTo>
                    <a:cubicBezTo>
                      <a:pt x="5629" y="8471"/>
                      <a:pt x="6418" y="7878"/>
                      <a:pt x="6671" y="7019"/>
                    </a:cubicBezTo>
                    <a:lnTo>
                      <a:pt x="9667" y="7019"/>
                    </a:lnTo>
                    <a:cubicBezTo>
                      <a:pt x="9917" y="7878"/>
                      <a:pt x="10709" y="8471"/>
                      <a:pt x="11606" y="8471"/>
                    </a:cubicBezTo>
                    <a:cubicBezTo>
                      <a:pt x="12500" y="8471"/>
                      <a:pt x="13292" y="7878"/>
                      <a:pt x="13542" y="7019"/>
                    </a:cubicBezTo>
                    <a:lnTo>
                      <a:pt x="14271" y="7019"/>
                    </a:lnTo>
                    <a:cubicBezTo>
                      <a:pt x="14581" y="7019"/>
                      <a:pt x="14834" y="6766"/>
                      <a:pt x="14834" y="6453"/>
                    </a:cubicBezTo>
                    <a:cubicBezTo>
                      <a:pt x="14834" y="6140"/>
                      <a:pt x="14581" y="5890"/>
                      <a:pt x="14271" y="5890"/>
                    </a:cubicBezTo>
                    <a:lnTo>
                      <a:pt x="13542" y="5890"/>
                    </a:lnTo>
                    <a:cubicBezTo>
                      <a:pt x="13292" y="5029"/>
                      <a:pt x="12500" y="4436"/>
                      <a:pt x="11606" y="4436"/>
                    </a:cubicBezTo>
                    <a:cubicBezTo>
                      <a:pt x="10709" y="4436"/>
                      <a:pt x="9917" y="5029"/>
                      <a:pt x="9667" y="5890"/>
                    </a:cubicBezTo>
                    <a:lnTo>
                      <a:pt x="6671" y="5890"/>
                    </a:lnTo>
                    <a:cubicBezTo>
                      <a:pt x="6418" y="5029"/>
                      <a:pt x="5629" y="4436"/>
                      <a:pt x="4731" y="4436"/>
                    </a:cubicBezTo>
                    <a:cubicBezTo>
                      <a:pt x="3834" y="4436"/>
                      <a:pt x="3045" y="5029"/>
                      <a:pt x="2792" y="5890"/>
                    </a:cubicBezTo>
                    <a:lnTo>
                      <a:pt x="2232" y="5890"/>
                    </a:lnTo>
                    <a:cubicBezTo>
                      <a:pt x="1639" y="5890"/>
                      <a:pt x="1157" y="5408"/>
                      <a:pt x="1157" y="4815"/>
                    </a:cubicBezTo>
                    <a:cubicBezTo>
                      <a:pt x="1157" y="4219"/>
                      <a:pt x="1639" y="3737"/>
                      <a:pt x="2232" y="3737"/>
                    </a:cubicBezTo>
                    <a:lnTo>
                      <a:pt x="5207" y="3737"/>
                    </a:lnTo>
                    <a:lnTo>
                      <a:pt x="5207" y="0"/>
                    </a:lnTo>
                    <a:close/>
                  </a:path>
                </a:pathLst>
              </a:custGeom>
              <a:solidFill>
                <a:srgbClr val="FFFFFF"/>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435D74"/>
                  </a:solidFill>
                  <a:effectLst/>
                  <a:uLnTx/>
                  <a:uFillTx/>
                  <a:latin typeface="Arial"/>
                  <a:ea typeface="+mn-ea"/>
                  <a:cs typeface="+mn-ea"/>
                  <a:sym typeface="+mn-lt"/>
                </a:endParaRPr>
              </a:p>
            </p:txBody>
          </p:sp>
        </p:grpSp>
      </p:grpSp>
      <p:grpSp>
        <p:nvGrpSpPr>
          <p:cNvPr id="17" name="Google Shape;1394;p37">
            <a:extLst>
              <a:ext uri="{FF2B5EF4-FFF2-40B4-BE49-F238E27FC236}">
                <a16:creationId xmlns:a16="http://schemas.microsoft.com/office/drawing/2014/main" id="{EEF94B21-7CA7-414E-9826-2DB3BFBD0285}"/>
              </a:ext>
            </a:extLst>
          </p:cNvPr>
          <p:cNvGrpSpPr/>
          <p:nvPr/>
        </p:nvGrpSpPr>
        <p:grpSpPr>
          <a:xfrm>
            <a:off x="5861700" y="1636258"/>
            <a:ext cx="1825933" cy="3582319"/>
            <a:chOff x="4396275" y="1422288"/>
            <a:chExt cx="1369450" cy="2686739"/>
          </a:xfrm>
        </p:grpSpPr>
        <p:sp>
          <p:nvSpPr>
            <p:cNvPr id="18" name="Google Shape;1395;p37">
              <a:extLst>
                <a:ext uri="{FF2B5EF4-FFF2-40B4-BE49-F238E27FC236}">
                  <a16:creationId xmlns:a16="http://schemas.microsoft.com/office/drawing/2014/main" id="{0A78ED4C-9B13-4B89-8DE0-2725EAD9C52F}"/>
                </a:ext>
              </a:extLst>
            </p:cNvPr>
            <p:cNvSpPr/>
            <p:nvPr/>
          </p:nvSpPr>
          <p:spPr>
            <a:xfrm>
              <a:off x="4422375" y="1751788"/>
              <a:ext cx="1013850" cy="291425"/>
            </a:xfrm>
            <a:custGeom>
              <a:avLst/>
              <a:gdLst/>
              <a:ahLst/>
              <a:cxnLst/>
              <a:rect l="l" t="t" r="r" b="b"/>
              <a:pathLst>
                <a:path w="40554" h="11657" extrusionOk="0">
                  <a:moveTo>
                    <a:pt x="1" y="1"/>
                  </a:moveTo>
                  <a:lnTo>
                    <a:pt x="1" y="11657"/>
                  </a:lnTo>
                  <a:lnTo>
                    <a:pt x="40553" y="11657"/>
                  </a:lnTo>
                  <a:lnTo>
                    <a:pt x="35029" y="1"/>
                  </a:ln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100"/>
                <a:buFontTx/>
                <a:buNone/>
                <a:tabLst/>
                <a:defRPr/>
              </a:pPr>
              <a:r>
                <a:rPr kumimoji="0" lang="en" sz="2000" b="0" i="0" u="none" strike="noStrike" kern="1200" cap="none" spc="0" normalizeH="0" baseline="0" noProof="0">
                  <a:ln>
                    <a:noFill/>
                  </a:ln>
                  <a:solidFill>
                    <a:srgbClr val="FFFFFF"/>
                  </a:solidFill>
                  <a:effectLst/>
                  <a:uLnTx/>
                  <a:uFillTx/>
                  <a:latin typeface="Arial"/>
                  <a:ea typeface="+mn-ea"/>
                  <a:cs typeface="+mn-ea"/>
                  <a:sym typeface="+mn-lt"/>
                </a:rPr>
                <a:t>2021</a:t>
              </a: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19" name="Google Shape;1396;p37">
              <a:extLst>
                <a:ext uri="{FF2B5EF4-FFF2-40B4-BE49-F238E27FC236}">
                  <a16:creationId xmlns:a16="http://schemas.microsoft.com/office/drawing/2014/main" id="{C49D9193-8FD8-4604-83CD-093A5A73FB81}"/>
                </a:ext>
              </a:extLst>
            </p:cNvPr>
            <p:cNvSpPr/>
            <p:nvPr/>
          </p:nvSpPr>
          <p:spPr>
            <a:xfrm>
              <a:off x="4422375" y="1422288"/>
              <a:ext cx="329225" cy="329525"/>
            </a:xfrm>
            <a:custGeom>
              <a:avLst/>
              <a:gdLst/>
              <a:ahLst/>
              <a:cxnLst/>
              <a:rect l="l" t="t" r="r" b="b"/>
              <a:pathLst>
                <a:path w="13169" h="13181" extrusionOk="0">
                  <a:moveTo>
                    <a:pt x="1" y="0"/>
                  </a:moveTo>
                  <a:lnTo>
                    <a:pt x="1" y="13181"/>
                  </a:lnTo>
                  <a:lnTo>
                    <a:pt x="13169" y="13181"/>
                  </a:lnTo>
                  <a:lnTo>
                    <a:pt x="13169" y="0"/>
                  </a:ln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20" name="Google Shape;1397;p37">
              <a:extLst>
                <a:ext uri="{FF2B5EF4-FFF2-40B4-BE49-F238E27FC236}">
                  <a16:creationId xmlns:a16="http://schemas.microsoft.com/office/drawing/2014/main" id="{9B71E675-11EF-4F6F-9031-B5BA0FFB8880}"/>
                </a:ext>
              </a:extLst>
            </p:cNvPr>
            <p:cNvSpPr/>
            <p:nvPr/>
          </p:nvSpPr>
          <p:spPr>
            <a:xfrm>
              <a:off x="4422375" y="1748513"/>
              <a:ext cx="1343350" cy="1007300"/>
            </a:xfrm>
            <a:custGeom>
              <a:avLst/>
              <a:gdLst/>
              <a:ahLst/>
              <a:cxnLst/>
              <a:rect l="l" t="t" r="r" b="b"/>
              <a:pathLst>
                <a:path w="53734" h="40292" extrusionOk="0">
                  <a:moveTo>
                    <a:pt x="1" y="1"/>
                  </a:moveTo>
                  <a:lnTo>
                    <a:pt x="1" y="1096"/>
                  </a:lnTo>
                  <a:lnTo>
                    <a:pt x="34636" y="1096"/>
                  </a:lnTo>
                  <a:lnTo>
                    <a:pt x="52757" y="40291"/>
                  </a:lnTo>
                  <a:lnTo>
                    <a:pt x="53733" y="39791"/>
                  </a:lnTo>
                  <a:lnTo>
                    <a:pt x="35314" y="1"/>
                  </a:ln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21" name="Google Shape;1398;p37">
              <a:extLst>
                <a:ext uri="{FF2B5EF4-FFF2-40B4-BE49-F238E27FC236}">
                  <a16:creationId xmlns:a16="http://schemas.microsoft.com/office/drawing/2014/main" id="{3A694A42-150C-4F89-87B0-2BA914314EB4}"/>
                </a:ext>
              </a:extLst>
            </p:cNvPr>
            <p:cNvSpPr/>
            <p:nvPr/>
          </p:nvSpPr>
          <p:spPr>
            <a:xfrm>
              <a:off x="4422375" y="3740552"/>
              <a:ext cx="368139" cy="368475"/>
            </a:xfrm>
            <a:custGeom>
              <a:avLst/>
              <a:gdLst/>
              <a:ahLst/>
              <a:cxnLst/>
              <a:rect l="l" t="t" r="r" b="b"/>
              <a:pathLst>
                <a:path w="13169" h="13181" extrusionOk="0">
                  <a:moveTo>
                    <a:pt x="1" y="0"/>
                  </a:moveTo>
                  <a:lnTo>
                    <a:pt x="1" y="13180"/>
                  </a:lnTo>
                  <a:lnTo>
                    <a:pt x="13169" y="13180"/>
                  </a:lnTo>
                  <a:lnTo>
                    <a:pt x="13169" y="0"/>
                  </a:lnTo>
                  <a:close/>
                </a:path>
              </a:pathLst>
            </a:custGeom>
            <a:solidFill>
              <a:schemeClr val="accent1"/>
            </a:solidFill>
            <a:ln>
              <a:noFill/>
            </a:ln>
          </p:spPr>
          <p:txBody>
            <a:bodyPr spcFirstLastPara="1" wrap="square" lIns="0" tIns="121900" rIns="0" bIns="1219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Tx/>
                <a:buNone/>
                <a:tabLst/>
                <a:defRPr/>
              </a:pPr>
              <a:r>
                <a:rPr kumimoji="0" lang="en" sz="2533" b="0" i="0" u="none" strike="noStrike" kern="1200" cap="none" spc="0" normalizeH="0" baseline="0" noProof="0">
                  <a:ln>
                    <a:noFill/>
                  </a:ln>
                  <a:solidFill>
                    <a:srgbClr val="FFFFFF"/>
                  </a:solidFill>
                  <a:effectLst/>
                  <a:uLnTx/>
                  <a:uFillTx/>
                  <a:latin typeface="Arial"/>
                  <a:ea typeface="+mn-ea"/>
                  <a:cs typeface="+mn-ea"/>
                  <a:sym typeface="+mn-lt"/>
                </a:rPr>
                <a:t>02</a:t>
              </a:r>
              <a:endParaRPr kumimoji="0" sz="2533"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22" name="Google Shape;1399;p37">
              <a:extLst>
                <a:ext uri="{FF2B5EF4-FFF2-40B4-BE49-F238E27FC236}">
                  <a16:creationId xmlns:a16="http://schemas.microsoft.com/office/drawing/2014/main" id="{025A9BBD-03A1-4026-9A6F-D85223AB6419}"/>
                </a:ext>
              </a:extLst>
            </p:cNvPr>
            <p:cNvSpPr/>
            <p:nvPr/>
          </p:nvSpPr>
          <p:spPr>
            <a:xfrm>
              <a:off x="4422375" y="2745663"/>
              <a:ext cx="1343350" cy="1007300"/>
            </a:xfrm>
            <a:custGeom>
              <a:avLst/>
              <a:gdLst/>
              <a:ahLst/>
              <a:cxnLst/>
              <a:rect l="l" t="t" r="r" b="b"/>
              <a:pathLst>
                <a:path w="53734" h="40292" extrusionOk="0">
                  <a:moveTo>
                    <a:pt x="52757" y="1"/>
                  </a:moveTo>
                  <a:lnTo>
                    <a:pt x="34636" y="39196"/>
                  </a:lnTo>
                  <a:lnTo>
                    <a:pt x="1" y="39196"/>
                  </a:lnTo>
                  <a:lnTo>
                    <a:pt x="1" y="40291"/>
                  </a:lnTo>
                  <a:lnTo>
                    <a:pt x="35314" y="40291"/>
                  </a:lnTo>
                  <a:lnTo>
                    <a:pt x="53733" y="501"/>
                  </a:lnTo>
                  <a:lnTo>
                    <a:pt x="52757" y="1"/>
                  </a:ln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23" name="Google Shape;1400;p37">
              <a:extLst>
                <a:ext uri="{FF2B5EF4-FFF2-40B4-BE49-F238E27FC236}">
                  <a16:creationId xmlns:a16="http://schemas.microsoft.com/office/drawing/2014/main" id="{E440D111-C24F-4E70-9466-6B7DAAF55E72}"/>
                </a:ext>
              </a:extLst>
            </p:cNvPr>
            <p:cNvSpPr txBox="1"/>
            <p:nvPr/>
          </p:nvSpPr>
          <p:spPr>
            <a:xfrm>
              <a:off x="4396275" y="2963213"/>
              <a:ext cx="964200" cy="597300"/>
            </a:xfrm>
            <a:prstGeom prst="rect">
              <a:avLst/>
            </a:prstGeom>
            <a:noFill/>
            <a:ln>
              <a:noFill/>
            </a:ln>
          </p:spPr>
          <p:txBody>
            <a:bodyPr spcFirstLastPara="1" wrap="square" lIns="121900" tIns="121900" rIns="121900" bIns="12190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 sz="1600" b="0" i="0" u="none" strike="noStrike" kern="1200" cap="none" spc="0" normalizeH="0" baseline="0" noProof="0">
                  <a:ln>
                    <a:noFill/>
                  </a:ln>
                  <a:solidFill>
                    <a:srgbClr val="434343"/>
                  </a:solidFill>
                  <a:effectLst/>
                  <a:uLnTx/>
                  <a:uFillTx/>
                  <a:latin typeface="Arial"/>
                  <a:ea typeface="+mn-ea"/>
                  <a:cs typeface="+mn-ea"/>
                  <a:sym typeface="+mn-lt"/>
                </a:rPr>
                <a:t>Pluto is not a planet</a:t>
              </a:r>
              <a:endParaRPr kumimoji="0" sz="1600" b="0" i="0" u="none" strike="noStrike" kern="1200" cap="none" spc="0" normalizeH="0" baseline="0" noProof="0">
                <a:ln>
                  <a:noFill/>
                </a:ln>
                <a:solidFill>
                  <a:srgbClr val="434343"/>
                </a:solidFill>
                <a:effectLst/>
                <a:uLnTx/>
                <a:uFillTx/>
                <a:latin typeface="Arial"/>
                <a:ea typeface="+mn-ea"/>
                <a:cs typeface="+mn-ea"/>
                <a:sym typeface="+mn-lt"/>
              </a:endParaRPr>
            </a:p>
          </p:txBody>
        </p:sp>
        <p:sp>
          <p:nvSpPr>
            <p:cNvPr id="24" name="Google Shape;1401;p37">
              <a:extLst>
                <a:ext uri="{FF2B5EF4-FFF2-40B4-BE49-F238E27FC236}">
                  <a16:creationId xmlns:a16="http://schemas.microsoft.com/office/drawing/2014/main" id="{E7513C18-490B-4825-B903-3C205916F4D9}"/>
                </a:ext>
              </a:extLst>
            </p:cNvPr>
            <p:cNvSpPr txBox="1"/>
            <p:nvPr/>
          </p:nvSpPr>
          <p:spPr>
            <a:xfrm>
              <a:off x="4396275" y="2202788"/>
              <a:ext cx="964200" cy="329400"/>
            </a:xfrm>
            <a:prstGeom prst="rect">
              <a:avLst/>
            </a:prstGeom>
            <a:noFill/>
            <a:ln>
              <a:noFill/>
            </a:ln>
          </p:spPr>
          <p:txBody>
            <a:bodyPr spcFirstLastPara="1" wrap="square" lIns="121900" tIns="121900" rIns="121900" bIns="12190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 sz="2133" b="0" i="0" u="none" strike="noStrike" kern="1200" cap="none" spc="0" normalizeH="0" baseline="0" noProof="0">
                  <a:ln>
                    <a:noFill/>
                  </a:ln>
                  <a:solidFill>
                    <a:srgbClr val="434343"/>
                  </a:solidFill>
                  <a:effectLst/>
                  <a:uLnTx/>
                  <a:uFillTx/>
                  <a:latin typeface="Arial"/>
                  <a:ea typeface="+mn-ea"/>
                  <a:cs typeface="+mn-ea"/>
                  <a:sym typeface="+mn-lt"/>
                </a:rPr>
                <a:t>Pluto</a:t>
              </a:r>
              <a:endParaRPr kumimoji="0" sz="2133" b="0" i="0" u="none" strike="noStrike" kern="1200" cap="none" spc="0" normalizeH="0" baseline="0" noProof="0">
                <a:ln>
                  <a:noFill/>
                </a:ln>
                <a:solidFill>
                  <a:srgbClr val="434343"/>
                </a:solidFill>
                <a:effectLst/>
                <a:uLnTx/>
                <a:uFillTx/>
                <a:latin typeface="Arial"/>
                <a:ea typeface="+mn-ea"/>
                <a:cs typeface="+mn-ea"/>
                <a:sym typeface="+mn-lt"/>
              </a:endParaRPr>
            </a:p>
          </p:txBody>
        </p:sp>
        <p:grpSp>
          <p:nvGrpSpPr>
            <p:cNvPr id="25" name="Google Shape;1402;p37">
              <a:extLst>
                <a:ext uri="{FF2B5EF4-FFF2-40B4-BE49-F238E27FC236}">
                  <a16:creationId xmlns:a16="http://schemas.microsoft.com/office/drawing/2014/main" id="{7FCE90C3-9E77-41E4-A8C4-DEB3027284DB}"/>
                </a:ext>
              </a:extLst>
            </p:cNvPr>
            <p:cNvGrpSpPr/>
            <p:nvPr/>
          </p:nvGrpSpPr>
          <p:grpSpPr>
            <a:xfrm>
              <a:off x="4482350" y="1468004"/>
              <a:ext cx="209294" cy="238118"/>
              <a:chOff x="6264525" y="842250"/>
              <a:chExt cx="423500" cy="481825"/>
            </a:xfrm>
          </p:grpSpPr>
          <p:sp>
            <p:nvSpPr>
              <p:cNvPr id="26" name="Google Shape;1403;p37">
                <a:extLst>
                  <a:ext uri="{FF2B5EF4-FFF2-40B4-BE49-F238E27FC236}">
                    <a16:creationId xmlns:a16="http://schemas.microsoft.com/office/drawing/2014/main" id="{D5EEC615-F589-49CD-A1E0-5C504D3E24A1}"/>
                  </a:ext>
                </a:extLst>
              </p:cNvPr>
              <p:cNvSpPr/>
              <p:nvPr/>
            </p:nvSpPr>
            <p:spPr>
              <a:xfrm>
                <a:off x="6264525" y="1033450"/>
                <a:ext cx="135300" cy="266450"/>
              </a:xfrm>
              <a:custGeom>
                <a:avLst/>
                <a:gdLst/>
                <a:ahLst/>
                <a:cxnLst/>
                <a:rect l="l" t="t" r="r" b="b"/>
                <a:pathLst>
                  <a:path w="5412" h="10658" extrusionOk="0">
                    <a:moveTo>
                      <a:pt x="1" y="1"/>
                    </a:moveTo>
                    <a:lnTo>
                      <a:pt x="1" y="9932"/>
                    </a:lnTo>
                    <a:cubicBezTo>
                      <a:pt x="1" y="10182"/>
                      <a:pt x="61" y="10429"/>
                      <a:pt x="169" y="10658"/>
                    </a:cubicBezTo>
                    <a:lnTo>
                      <a:pt x="5412" y="5415"/>
                    </a:lnTo>
                    <a:lnTo>
                      <a:pt x="1" y="1"/>
                    </a:lnTo>
                    <a:close/>
                  </a:path>
                </a:pathLst>
              </a:custGeom>
              <a:solidFill>
                <a:srgbClr val="FFFFFF"/>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435D74"/>
                  </a:solidFill>
                  <a:effectLst/>
                  <a:uLnTx/>
                  <a:uFillTx/>
                  <a:latin typeface="Arial"/>
                  <a:ea typeface="+mn-ea"/>
                  <a:cs typeface="+mn-ea"/>
                  <a:sym typeface="+mn-lt"/>
                </a:endParaRPr>
              </a:p>
            </p:txBody>
          </p:sp>
          <p:sp>
            <p:nvSpPr>
              <p:cNvPr id="27" name="Google Shape;1404;p37">
                <a:extLst>
                  <a:ext uri="{FF2B5EF4-FFF2-40B4-BE49-F238E27FC236}">
                    <a16:creationId xmlns:a16="http://schemas.microsoft.com/office/drawing/2014/main" id="{1A571B66-9A20-4A5A-838A-7B44888F9FD5}"/>
                  </a:ext>
                </a:extLst>
              </p:cNvPr>
              <p:cNvSpPr/>
              <p:nvPr/>
            </p:nvSpPr>
            <p:spPr>
              <a:xfrm>
                <a:off x="6552700" y="1033450"/>
                <a:ext cx="135325" cy="266450"/>
              </a:xfrm>
              <a:custGeom>
                <a:avLst/>
                <a:gdLst/>
                <a:ahLst/>
                <a:cxnLst/>
                <a:rect l="l" t="t" r="r" b="b"/>
                <a:pathLst>
                  <a:path w="5413" h="10658" extrusionOk="0">
                    <a:moveTo>
                      <a:pt x="5412" y="1"/>
                    </a:moveTo>
                    <a:lnTo>
                      <a:pt x="1" y="5415"/>
                    </a:lnTo>
                    <a:lnTo>
                      <a:pt x="5243" y="10658"/>
                    </a:lnTo>
                    <a:cubicBezTo>
                      <a:pt x="5352" y="10429"/>
                      <a:pt x="5412" y="10182"/>
                      <a:pt x="5412" y="9932"/>
                    </a:cubicBezTo>
                    <a:lnTo>
                      <a:pt x="5412" y="1"/>
                    </a:lnTo>
                    <a:close/>
                  </a:path>
                </a:pathLst>
              </a:custGeom>
              <a:solidFill>
                <a:srgbClr val="FFFFFF"/>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435D74"/>
                  </a:solidFill>
                  <a:effectLst/>
                  <a:uLnTx/>
                  <a:uFillTx/>
                  <a:latin typeface="Arial"/>
                  <a:ea typeface="+mn-ea"/>
                  <a:cs typeface="+mn-ea"/>
                  <a:sym typeface="+mn-lt"/>
                </a:endParaRPr>
              </a:p>
            </p:txBody>
          </p:sp>
          <p:sp>
            <p:nvSpPr>
              <p:cNvPr id="28" name="Google Shape;1405;p37">
                <a:extLst>
                  <a:ext uri="{FF2B5EF4-FFF2-40B4-BE49-F238E27FC236}">
                    <a16:creationId xmlns:a16="http://schemas.microsoft.com/office/drawing/2014/main" id="{BD9905D5-22BA-414E-85F4-CCB200C5971A}"/>
                  </a:ext>
                </a:extLst>
              </p:cNvPr>
              <p:cNvSpPr/>
              <p:nvPr/>
            </p:nvSpPr>
            <p:spPr>
              <a:xfrm>
                <a:off x="6462150" y="985275"/>
                <a:ext cx="28025" cy="28250"/>
              </a:xfrm>
              <a:custGeom>
                <a:avLst/>
                <a:gdLst/>
                <a:ahLst/>
                <a:cxnLst/>
                <a:rect l="l" t="t" r="r" b="b"/>
                <a:pathLst>
                  <a:path w="1121" h="1130" extrusionOk="0">
                    <a:moveTo>
                      <a:pt x="566" y="1"/>
                    </a:moveTo>
                    <a:cubicBezTo>
                      <a:pt x="253" y="1"/>
                      <a:pt x="0" y="254"/>
                      <a:pt x="0" y="567"/>
                    </a:cubicBezTo>
                    <a:cubicBezTo>
                      <a:pt x="0" y="877"/>
                      <a:pt x="253" y="1130"/>
                      <a:pt x="566" y="1130"/>
                    </a:cubicBezTo>
                    <a:cubicBezTo>
                      <a:pt x="955" y="1130"/>
                      <a:pt x="1060" y="862"/>
                      <a:pt x="1120" y="528"/>
                    </a:cubicBezTo>
                    <a:cubicBezTo>
                      <a:pt x="1102" y="233"/>
                      <a:pt x="862" y="4"/>
                      <a:pt x="566" y="1"/>
                    </a:cubicBezTo>
                    <a:close/>
                  </a:path>
                </a:pathLst>
              </a:custGeom>
              <a:solidFill>
                <a:srgbClr val="FFFFFF"/>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435D74"/>
                  </a:solidFill>
                  <a:effectLst/>
                  <a:uLnTx/>
                  <a:uFillTx/>
                  <a:latin typeface="Arial"/>
                  <a:ea typeface="+mn-ea"/>
                  <a:cs typeface="+mn-ea"/>
                  <a:sym typeface="+mn-lt"/>
                </a:endParaRPr>
              </a:p>
            </p:txBody>
          </p:sp>
          <p:sp>
            <p:nvSpPr>
              <p:cNvPr id="29" name="Google Shape;1406;p37">
                <a:extLst>
                  <a:ext uri="{FF2B5EF4-FFF2-40B4-BE49-F238E27FC236}">
                    <a16:creationId xmlns:a16="http://schemas.microsoft.com/office/drawing/2014/main" id="{E7B8A354-5BB5-47A0-B487-8584E9D77F58}"/>
                  </a:ext>
                </a:extLst>
              </p:cNvPr>
              <p:cNvSpPr/>
              <p:nvPr/>
            </p:nvSpPr>
            <p:spPr>
              <a:xfrm>
                <a:off x="6288775" y="1182900"/>
                <a:ext cx="375075" cy="141175"/>
              </a:xfrm>
              <a:custGeom>
                <a:avLst/>
                <a:gdLst/>
                <a:ahLst/>
                <a:cxnLst/>
                <a:rect l="l" t="t" r="r" b="b"/>
                <a:pathLst>
                  <a:path w="15003" h="5647" extrusionOk="0">
                    <a:moveTo>
                      <a:pt x="5475" y="0"/>
                    </a:moveTo>
                    <a:lnTo>
                      <a:pt x="0" y="5478"/>
                    </a:lnTo>
                    <a:cubicBezTo>
                      <a:pt x="226" y="5586"/>
                      <a:pt x="473" y="5646"/>
                      <a:pt x="726" y="5646"/>
                    </a:cubicBezTo>
                    <a:lnTo>
                      <a:pt x="14277" y="5646"/>
                    </a:lnTo>
                    <a:cubicBezTo>
                      <a:pt x="14527" y="5646"/>
                      <a:pt x="14774" y="5586"/>
                      <a:pt x="15002" y="5478"/>
                    </a:cubicBezTo>
                    <a:lnTo>
                      <a:pt x="9525" y="0"/>
                    </a:lnTo>
                    <a:close/>
                  </a:path>
                </a:pathLst>
              </a:custGeom>
              <a:solidFill>
                <a:srgbClr val="FFFFFF"/>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435D74"/>
                  </a:solidFill>
                  <a:effectLst/>
                  <a:uLnTx/>
                  <a:uFillTx/>
                  <a:latin typeface="Arial"/>
                  <a:ea typeface="+mn-ea"/>
                  <a:cs typeface="+mn-ea"/>
                  <a:sym typeface="+mn-lt"/>
                </a:endParaRPr>
              </a:p>
            </p:txBody>
          </p:sp>
          <p:sp>
            <p:nvSpPr>
              <p:cNvPr id="30" name="Google Shape;1407;p37">
                <a:extLst>
                  <a:ext uri="{FF2B5EF4-FFF2-40B4-BE49-F238E27FC236}">
                    <a16:creationId xmlns:a16="http://schemas.microsoft.com/office/drawing/2014/main" id="{B9CD820C-B922-4AE3-A0E2-1F52FBBB6844}"/>
                  </a:ext>
                </a:extLst>
              </p:cNvPr>
              <p:cNvSpPr/>
              <p:nvPr/>
            </p:nvSpPr>
            <p:spPr>
              <a:xfrm>
                <a:off x="6278675" y="965325"/>
                <a:ext cx="42350" cy="84725"/>
              </a:xfrm>
              <a:custGeom>
                <a:avLst/>
                <a:gdLst/>
                <a:ahLst/>
                <a:cxnLst/>
                <a:rect l="l" t="t" r="r" b="b"/>
                <a:pathLst>
                  <a:path w="1694" h="3389" extrusionOk="0">
                    <a:moveTo>
                      <a:pt x="1693" y="1"/>
                    </a:moveTo>
                    <a:lnTo>
                      <a:pt x="1" y="1693"/>
                    </a:lnTo>
                    <a:lnTo>
                      <a:pt x="1693" y="3388"/>
                    </a:lnTo>
                    <a:lnTo>
                      <a:pt x="1693" y="1"/>
                    </a:lnTo>
                    <a:close/>
                  </a:path>
                </a:pathLst>
              </a:custGeom>
              <a:solidFill>
                <a:srgbClr val="FFFFFF"/>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435D74"/>
                  </a:solidFill>
                  <a:effectLst/>
                  <a:uLnTx/>
                  <a:uFillTx/>
                  <a:latin typeface="Arial"/>
                  <a:ea typeface="+mn-ea"/>
                  <a:cs typeface="+mn-ea"/>
                  <a:sym typeface="+mn-lt"/>
                </a:endParaRPr>
              </a:p>
            </p:txBody>
          </p:sp>
          <p:sp>
            <p:nvSpPr>
              <p:cNvPr id="31" name="Google Shape;1408;p37">
                <a:extLst>
                  <a:ext uri="{FF2B5EF4-FFF2-40B4-BE49-F238E27FC236}">
                    <a16:creationId xmlns:a16="http://schemas.microsoft.com/office/drawing/2014/main" id="{2BC21A0A-4084-4CB9-89F9-4B7C86C6761C}"/>
                  </a:ext>
                </a:extLst>
              </p:cNvPr>
              <p:cNvSpPr/>
              <p:nvPr/>
            </p:nvSpPr>
            <p:spPr>
              <a:xfrm>
                <a:off x="6631525" y="965325"/>
                <a:ext cx="42400" cy="84725"/>
              </a:xfrm>
              <a:custGeom>
                <a:avLst/>
                <a:gdLst/>
                <a:ahLst/>
                <a:cxnLst/>
                <a:rect l="l" t="t" r="r" b="b"/>
                <a:pathLst>
                  <a:path w="1696" h="3389" extrusionOk="0">
                    <a:moveTo>
                      <a:pt x="1" y="1"/>
                    </a:moveTo>
                    <a:lnTo>
                      <a:pt x="1" y="3388"/>
                    </a:lnTo>
                    <a:lnTo>
                      <a:pt x="1696" y="1693"/>
                    </a:lnTo>
                    <a:lnTo>
                      <a:pt x="1" y="1"/>
                    </a:lnTo>
                    <a:close/>
                  </a:path>
                </a:pathLst>
              </a:custGeom>
              <a:solidFill>
                <a:srgbClr val="FFFFFF"/>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435D74"/>
                  </a:solidFill>
                  <a:effectLst/>
                  <a:uLnTx/>
                  <a:uFillTx/>
                  <a:latin typeface="Arial"/>
                  <a:ea typeface="+mn-ea"/>
                  <a:cs typeface="+mn-ea"/>
                  <a:sym typeface="+mn-lt"/>
                </a:endParaRPr>
              </a:p>
            </p:txBody>
          </p:sp>
          <p:sp>
            <p:nvSpPr>
              <p:cNvPr id="32" name="Google Shape;1409;p37">
                <a:extLst>
                  <a:ext uri="{FF2B5EF4-FFF2-40B4-BE49-F238E27FC236}">
                    <a16:creationId xmlns:a16="http://schemas.microsoft.com/office/drawing/2014/main" id="{ACD50008-2200-49AC-BA4C-E0943C1C84E2}"/>
                  </a:ext>
                </a:extLst>
              </p:cNvPr>
              <p:cNvSpPr/>
              <p:nvPr/>
            </p:nvSpPr>
            <p:spPr>
              <a:xfrm>
                <a:off x="6349225" y="842250"/>
                <a:ext cx="254100" cy="312425"/>
              </a:xfrm>
              <a:custGeom>
                <a:avLst/>
                <a:gdLst/>
                <a:ahLst/>
                <a:cxnLst/>
                <a:rect l="l" t="t" r="r" b="b"/>
                <a:pathLst>
                  <a:path w="10164" h="12497" extrusionOk="0">
                    <a:moveTo>
                      <a:pt x="5081" y="2333"/>
                    </a:moveTo>
                    <a:cubicBezTo>
                      <a:pt x="5779" y="2333"/>
                      <a:pt x="6477" y="2518"/>
                      <a:pt x="7098" y="2885"/>
                    </a:cubicBezTo>
                    <a:cubicBezTo>
                      <a:pt x="8299" y="3596"/>
                      <a:pt x="9034" y="4891"/>
                      <a:pt x="9034" y="6288"/>
                    </a:cubicBezTo>
                    <a:cubicBezTo>
                      <a:pt x="9034" y="7293"/>
                      <a:pt x="8207" y="7981"/>
                      <a:pt x="7335" y="7981"/>
                    </a:cubicBezTo>
                    <a:cubicBezTo>
                      <a:pt x="6947" y="7981"/>
                      <a:pt x="6550" y="7845"/>
                      <a:pt x="6213" y="7540"/>
                    </a:cubicBezTo>
                    <a:cubicBezTo>
                      <a:pt x="5894" y="7824"/>
                      <a:pt x="5492" y="7968"/>
                      <a:pt x="5089" y="7968"/>
                    </a:cubicBezTo>
                    <a:cubicBezTo>
                      <a:pt x="4739" y="7968"/>
                      <a:pt x="4388" y="7860"/>
                      <a:pt x="4090" y="7640"/>
                    </a:cubicBezTo>
                    <a:cubicBezTo>
                      <a:pt x="3448" y="7170"/>
                      <a:pt x="3222" y="6315"/>
                      <a:pt x="3551" y="5589"/>
                    </a:cubicBezTo>
                    <a:cubicBezTo>
                      <a:pt x="3826" y="4973"/>
                      <a:pt x="4435" y="4593"/>
                      <a:pt x="5087" y="4593"/>
                    </a:cubicBezTo>
                    <a:cubicBezTo>
                      <a:pt x="5205" y="4593"/>
                      <a:pt x="5325" y="4606"/>
                      <a:pt x="5445" y="4632"/>
                    </a:cubicBezTo>
                    <a:cubicBezTo>
                      <a:pt x="6225" y="4800"/>
                      <a:pt x="6779" y="5490"/>
                      <a:pt x="6776" y="6288"/>
                    </a:cubicBezTo>
                    <a:cubicBezTo>
                      <a:pt x="6776" y="6660"/>
                      <a:pt x="7058" y="6846"/>
                      <a:pt x="7340" y="6846"/>
                    </a:cubicBezTo>
                    <a:cubicBezTo>
                      <a:pt x="7623" y="6846"/>
                      <a:pt x="7905" y="6660"/>
                      <a:pt x="7905" y="6288"/>
                    </a:cubicBezTo>
                    <a:cubicBezTo>
                      <a:pt x="7905" y="5288"/>
                      <a:pt x="7378" y="4367"/>
                      <a:pt x="6520" y="3858"/>
                    </a:cubicBezTo>
                    <a:cubicBezTo>
                      <a:pt x="6076" y="3595"/>
                      <a:pt x="5578" y="3463"/>
                      <a:pt x="5080" y="3463"/>
                    </a:cubicBezTo>
                    <a:cubicBezTo>
                      <a:pt x="4614" y="3463"/>
                      <a:pt x="4147" y="3578"/>
                      <a:pt x="3725" y="3810"/>
                    </a:cubicBezTo>
                    <a:cubicBezTo>
                      <a:pt x="2849" y="4288"/>
                      <a:pt x="2295" y="5195"/>
                      <a:pt x="2262" y="6191"/>
                    </a:cubicBezTo>
                    <a:cubicBezTo>
                      <a:pt x="2226" y="7188"/>
                      <a:pt x="2723" y="8128"/>
                      <a:pt x="3563" y="8667"/>
                    </a:cubicBezTo>
                    <a:cubicBezTo>
                      <a:pt x="4023" y="8960"/>
                      <a:pt x="4541" y="9107"/>
                      <a:pt x="5077" y="9107"/>
                    </a:cubicBezTo>
                    <a:cubicBezTo>
                      <a:pt x="5519" y="9107"/>
                      <a:pt x="5973" y="9007"/>
                      <a:pt x="6414" y="8805"/>
                    </a:cubicBezTo>
                    <a:cubicBezTo>
                      <a:pt x="6502" y="8765"/>
                      <a:pt x="6585" y="8746"/>
                      <a:pt x="6664" y="8746"/>
                    </a:cubicBezTo>
                    <a:cubicBezTo>
                      <a:pt x="7191" y="8746"/>
                      <a:pt x="7476" y="9559"/>
                      <a:pt x="6884" y="9832"/>
                    </a:cubicBezTo>
                    <a:cubicBezTo>
                      <a:pt x="6300" y="10100"/>
                      <a:pt x="5685" y="10239"/>
                      <a:pt x="5077" y="10239"/>
                    </a:cubicBezTo>
                    <a:cubicBezTo>
                      <a:pt x="4340" y="10239"/>
                      <a:pt x="3611" y="10036"/>
                      <a:pt x="2954" y="9615"/>
                    </a:cubicBezTo>
                    <a:cubicBezTo>
                      <a:pt x="1777" y="8865"/>
                      <a:pt x="1084" y="7546"/>
                      <a:pt x="1133" y="6152"/>
                    </a:cubicBezTo>
                    <a:cubicBezTo>
                      <a:pt x="1178" y="4755"/>
                      <a:pt x="1958" y="3490"/>
                      <a:pt x="3183" y="2819"/>
                    </a:cubicBezTo>
                    <a:cubicBezTo>
                      <a:pt x="3775" y="2494"/>
                      <a:pt x="4429" y="2333"/>
                      <a:pt x="5081" y="2333"/>
                    </a:cubicBezTo>
                    <a:close/>
                    <a:moveTo>
                      <a:pt x="618" y="0"/>
                    </a:moveTo>
                    <a:cubicBezTo>
                      <a:pt x="277" y="0"/>
                      <a:pt x="0" y="277"/>
                      <a:pt x="0" y="618"/>
                    </a:cubicBezTo>
                    <a:lnTo>
                      <a:pt x="0" y="9441"/>
                    </a:lnTo>
                    <a:lnTo>
                      <a:pt x="3057" y="12497"/>
                    </a:lnTo>
                    <a:lnTo>
                      <a:pt x="7107" y="12497"/>
                    </a:lnTo>
                    <a:lnTo>
                      <a:pt x="10163" y="9441"/>
                    </a:lnTo>
                    <a:lnTo>
                      <a:pt x="10163" y="723"/>
                    </a:lnTo>
                    <a:cubicBezTo>
                      <a:pt x="10163" y="326"/>
                      <a:pt x="9838" y="0"/>
                      <a:pt x="9441" y="0"/>
                    </a:cubicBezTo>
                    <a:close/>
                  </a:path>
                </a:pathLst>
              </a:custGeom>
              <a:solidFill>
                <a:srgbClr val="FFFFFF"/>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435D74"/>
                  </a:solidFill>
                  <a:effectLst/>
                  <a:uLnTx/>
                  <a:uFillTx/>
                  <a:latin typeface="Arial"/>
                  <a:ea typeface="+mn-ea"/>
                  <a:cs typeface="+mn-ea"/>
                  <a:sym typeface="+mn-lt"/>
                </a:endParaRPr>
              </a:p>
            </p:txBody>
          </p:sp>
        </p:grpSp>
      </p:grpSp>
      <p:grpSp>
        <p:nvGrpSpPr>
          <p:cNvPr id="33" name="Google Shape;1410;p37">
            <a:extLst>
              <a:ext uri="{FF2B5EF4-FFF2-40B4-BE49-F238E27FC236}">
                <a16:creationId xmlns:a16="http://schemas.microsoft.com/office/drawing/2014/main" id="{84BDF1E7-2073-4433-984B-59CE44987025}"/>
              </a:ext>
            </a:extLst>
          </p:cNvPr>
          <p:cNvGrpSpPr/>
          <p:nvPr/>
        </p:nvGrpSpPr>
        <p:grpSpPr>
          <a:xfrm>
            <a:off x="4047100" y="1843824"/>
            <a:ext cx="1748267" cy="3170351"/>
            <a:chOff x="3035325" y="1577963"/>
            <a:chExt cx="1311200" cy="2377763"/>
          </a:xfrm>
        </p:grpSpPr>
        <p:sp>
          <p:nvSpPr>
            <p:cNvPr id="34" name="Google Shape;1411;p37">
              <a:extLst>
                <a:ext uri="{FF2B5EF4-FFF2-40B4-BE49-F238E27FC236}">
                  <a16:creationId xmlns:a16="http://schemas.microsoft.com/office/drawing/2014/main" id="{F82BF923-220F-4C1E-803C-A883F4A8089C}"/>
                </a:ext>
              </a:extLst>
            </p:cNvPr>
            <p:cNvSpPr/>
            <p:nvPr/>
          </p:nvSpPr>
          <p:spPr>
            <a:xfrm>
              <a:off x="3057950" y="1907163"/>
              <a:ext cx="1013825" cy="291725"/>
            </a:xfrm>
            <a:custGeom>
              <a:avLst/>
              <a:gdLst/>
              <a:ahLst/>
              <a:cxnLst/>
              <a:rect l="l" t="t" r="r" b="b"/>
              <a:pathLst>
                <a:path w="40553" h="11669" extrusionOk="0">
                  <a:moveTo>
                    <a:pt x="0" y="1"/>
                  </a:moveTo>
                  <a:lnTo>
                    <a:pt x="0" y="11669"/>
                  </a:lnTo>
                  <a:lnTo>
                    <a:pt x="40553" y="11669"/>
                  </a:lnTo>
                  <a:lnTo>
                    <a:pt x="35028" y="1"/>
                  </a:ln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100"/>
                <a:buFontTx/>
                <a:buNone/>
                <a:tabLst/>
                <a:defRPr/>
              </a:pPr>
              <a:r>
                <a:rPr kumimoji="0" lang="en" sz="2000" b="0" i="0" u="none" strike="noStrike" kern="1200" cap="none" spc="0" normalizeH="0" baseline="0" noProof="0">
                  <a:ln>
                    <a:noFill/>
                  </a:ln>
                  <a:solidFill>
                    <a:srgbClr val="FFFFFF"/>
                  </a:solidFill>
                  <a:effectLst/>
                  <a:uLnTx/>
                  <a:uFillTx/>
                  <a:latin typeface="Arial"/>
                  <a:ea typeface="+mn-ea"/>
                  <a:cs typeface="+mn-ea"/>
                  <a:sym typeface="+mn-lt"/>
                </a:rPr>
                <a:t>2022</a:t>
              </a: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35" name="Google Shape;1412;p37">
              <a:extLst>
                <a:ext uri="{FF2B5EF4-FFF2-40B4-BE49-F238E27FC236}">
                  <a16:creationId xmlns:a16="http://schemas.microsoft.com/office/drawing/2014/main" id="{FEEE5F43-C966-422D-915E-CA2135A324CC}"/>
                </a:ext>
              </a:extLst>
            </p:cNvPr>
            <p:cNvSpPr/>
            <p:nvPr/>
          </p:nvSpPr>
          <p:spPr>
            <a:xfrm>
              <a:off x="3057950" y="1904188"/>
              <a:ext cx="1288575" cy="851625"/>
            </a:xfrm>
            <a:custGeom>
              <a:avLst/>
              <a:gdLst/>
              <a:ahLst/>
              <a:cxnLst/>
              <a:rect l="l" t="t" r="r" b="b"/>
              <a:pathLst>
                <a:path w="51543" h="34065" extrusionOk="0">
                  <a:moveTo>
                    <a:pt x="0" y="1"/>
                  </a:moveTo>
                  <a:lnTo>
                    <a:pt x="0" y="1096"/>
                  </a:lnTo>
                  <a:lnTo>
                    <a:pt x="34635" y="1096"/>
                  </a:lnTo>
                  <a:lnTo>
                    <a:pt x="50566" y="34064"/>
                  </a:lnTo>
                  <a:lnTo>
                    <a:pt x="51542" y="33564"/>
                  </a:lnTo>
                  <a:lnTo>
                    <a:pt x="35314" y="1"/>
                  </a:ln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36" name="Google Shape;1413;p37">
              <a:extLst>
                <a:ext uri="{FF2B5EF4-FFF2-40B4-BE49-F238E27FC236}">
                  <a16:creationId xmlns:a16="http://schemas.microsoft.com/office/drawing/2014/main" id="{9745133F-8B99-41D1-96C3-C0BF9C5082E6}"/>
                </a:ext>
              </a:extLst>
            </p:cNvPr>
            <p:cNvSpPr/>
            <p:nvPr/>
          </p:nvSpPr>
          <p:spPr>
            <a:xfrm>
              <a:off x="3057950" y="2748038"/>
              <a:ext cx="1288575" cy="851625"/>
            </a:xfrm>
            <a:custGeom>
              <a:avLst/>
              <a:gdLst/>
              <a:ahLst/>
              <a:cxnLst/>
              <a:rect l="l" t="t" r="r" b="b"/>
              <a:pathLst>
                <a:path w="51543" h="34065" extrusionOk="0">
                  <a:moveTo>
                    <a:pt x="50566" y="1"/>
                  </a:moveTo>
                  <a:lnTo>
                    <a:pt x="34635" y="32969"/>
                  </a:lnTo>
                  <a:lnTo>
                    <a:pt x="0" y="32969"/>
                  </a:lnTo>
                  <a:lnTo>
                    <a:pt x="0" y="34065"/>
                  </a:lnTo>
                  <a:lnTo>
                    <a:pt x="35314" y="34065"/>
                  </a:lnTo>
                  <a:lnTo>
                    <a:pt x="51542" y="501"/>
                  </a:lnTo>
                  <a:lnTo>
                    <a:pt x="50566" y="1"/>
                  </a:ln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37" name="Google Shape;1414;p37">
              <a:extLst>
                <a:ext uri="{FF2B5EF4-FFF2-40B4-BE49-F238E27FC236}">
                  <a16:creationId xmlns:a16="http://schemas.microsoft.com/office/drawing/2014/main" id="{250B2187-1EB5-4947-B191-3C508587EE25}"/>
                </a:ext>
              </a:extLst>
            </p:cNvPr>
            <p:cNvSpPr/>
            <p:nvPr/>
          </p:nvSpPr>
          <p:spPr>
            <a:xfrm>
              <a:off x="3057950" y="1577963"/>
              <a:ext cx="329525" cy="329225"/>
            </a:xfrm>
            <a:custGeom>
              <a:avLst/>
              <a:gdLst/>
              <a:ahLst/>
              <a:cxnLst/>
              <a:rect l="l" t="t" r="r" b="b"/>
              <a:pathLst>
                <a:path w="13181" h="13169" extrusionOk="0">
                  <a:moveTo>
                    <a:pt x="0" y="0"/>
                  </a:moveTo>
                  <a:lnTo>
                    <a:pt x="0" y="13169"/>
                  </a:lnTo>
                  <a:lnTo>
                    <a:pt x="13180" y="13169"/>
                  </a:lnTo>
                  <a:lnTo>
                    <a:pt x="13180" y="0"/>
                  </a:ln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38" name="Google Shape;1415;p37">
              <a:extLst>
                <a:ext uri="{FF2B5EF4-FFF2-40B4-BE49-F238E27FC236}">
                  <a16:creationId xmlns:a16="http://schemas.microsoft.com/office/drawing/2014/main" id="{D165FB6D-202B-43D6-8802-8188A46ED739}"/>
                </a:ext>
              </a:extLst>
            </p:cNvPr>
            <p:cNvSpPr/>
            <p:nvPr/>
          </p:nvSpPr>
          <p:spPr>
            <a:xfrm>
              <a:off x="3057950" y="3587251"/>
              <a:ext cx="368139" cy="368475"/>
            </a:xfrm>
            <a:custGeom>
              <a:avLst/>
              <a:gdLst/>
              <a:ahLst/>
              <a:cxnLst/>
              <a:rect l="l" t="t" r="r" b="b"/>
              <a:pathLst>
                <a:path w="13169" h="13181" extrusionOk="0">
                  <a:moveTo>
                    <a:pt x="0" y="1"/>
                  </a:moveTo>
                  <a:lnTo>
                    <a:pt x="0" y="13181"/>
                  </a:lnTo>
                  <a:lnTo>
                    <a:pt x="13168" y="13181"/>
                  </a:lnTo>
                  <a:lnTo>
                    <a:pt x="13168" y="1"/>
                  </a:lnTo>
                  <a:close/>
                </a:path>
              </a:pathLst>
            </a:custGeom>
            <a:solidFill>
              <a:schemeClr val="accent1"/>
            </a:solidFill>
            <a:ln>
              <a:noFill/>
            </a:ln>
          </p:spPr>
          <p:txBody>
            <a:bodyPr spcFirstLastPara="1" wrap="square" lIns="0" tIns="121900" rIns="0" bIns="1219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Tx/>
                <a:buNone/>
                <a:tabLst/>
                <a:defRPr/>
              </a:pPr>
              <a:r>
                <a:rPr kumimoji="0" lang="en" sz="2533" b="0" i="0" u="none" strike="noStrike" kern="1200" cap="none" spc="0" normalizeH="0" baseline="0" noProof="0">
                  <a:ln>
                    <a:noFill/>
                  </a:ln>
                  <a:solidFill>
                    <a:srgbClr val="FFFFFF"/>
                  </a:solidFill>
                  <a:effectLst/>
                  <a:uLnTx/>
                  <a:uFillTx/>
                  <a:latin typeface="Arial"/>
                  <a:ea typeface="+mn-ea"/>
                  <a:cs typeface="+mn-ea"/>
                  <a:sym typeface="+mn-lt"/>
                </a:rPr>
                <a:t>03</a:t>
              </a:r>
              <a:endParaRPr kumimoji="0" sz="2533"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39" name="Google Shape;1416;p37">
              <a:extLst>
                <a:ext uri="{FF2B5EF4-FFF2-40B4-BE49-F238E27FC236}">
                  <a16:creationId xmlns:a16="http://schemas.microsoft.com/office/drawing/2014/main" id="{8BDDBB84-4597-42EE-BD76-F7470312EAAF}"/>
                </a:ext>
              </a:extLst>
            </p:cNvPr>
            <p:cNvSpPr txBox="1"/>
            <p:nvPr/>
          </p:nvSpPr>
          <p:spPr>
            <a:xfrm>
              <a:off x="3036225" y="2887013"/>
              <a:ext cx="964200" cy="597300"/>
            </a:xfrm>
            <a:prstGeom prst="rect">
              <a:avLst/>
            </a:prstGeom>
            <a:noFill/>
            <a:ln>
              <a:noFill/>
            </a:ln>
          </p:spPr>
          <p:txBody>
            <a:bodyPr spcFirstLastPara="1" wrap="square" lIns="121900" tIns="121900" rIns="121900" bIns="12190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 sz="1600" b="0" i="0" u="none" strike="noStrike" kern="1200" cap="none" spc="0" normalizeH="0" baseline="0" noProof="0">
                  <a:ln>
                    <a:noFill/>
                  </a:ln>
                  <a:solidFill>
                    <a:srgbClr val="434343"/>
                  </a:solidFill>
                  <a:effectLst/>
                  <a:uLnTx/>
                  <a:uFillTx/>
                  <a:latin typeface="Arial"/>
                  <a:ea typeface="+mn-ea"/>
                  <a:cs typeface="+mn-ea"/>
                  <a:sym typeface="+mn-lt"/>
                </a:rPr>
                <a:t>Saturn is ringed</a:t>
              </a:r>
              <a:endParaRPr kumimoji="0" sz="1600" b="0" i="0" u="none" strike="noStrike" kern="1200" cap="none" spc="0" normalizeH="0" baseline="0" noProof="0">
                <a:ln>
                  <a:noFill/>
                </a:ln>
                <a:solidFill>
                  <a:srgbClr val="434343"/>
                </a:solidFill>
                <a:effectLst/>
                <a:uLnTx/>
                <a:uFillTx/>
                <a:latin typeface="Arial"/>
                <a:ea typeface="+mn-ea"/>
                <a:cs typeface="+mn-ea"/>
                <a:sym typeface="+mn-lt"/>
              </a:endParaRPr>
            </a:p>
          </p:txBody>
        </p:sp>
        <p:sp>
          <p:nvSpPr>
            <p:cNvPr id="40" name="Google Shape;1417;p37">
              <a:extLst>
                <a:ext uri="{FF2B5EF4-FFF2-40B4-BE49-F238E27FC236}">
                  <a16:creationId xmlns:a16="http://schemas.microsoft.com/office/drawing/2014/main" id="{48F761F7-4777-4A2D-89A1-A006BB12E29C}"/>
                </a:ext>
              </a:extLst>
            </p:cNvPr>
            <p:cNvSpPr txBox="1"/>
            <p:nvPr/>
          </p:nvSpPr>
          <p:spPr>
            <a:xfrm>
              <a:off x="3035325" y="2278988"/>
              <a:ext cx="964200" cy="329400"/>
            </a:xfrm>
            <a:prstGeom prst="rect">
              <a:avLst/>
            </a:prstGeom>
            <a:noFill/>
            <a:ln>
              <a:noFill/>
            </a:ln>
          </p:spPr>
          <p:txBody>
            <a:bodyPr spcFirstLastPara="1" wrap="square" lIns="121900" tIns="121900" rIns="121900" bIns="12190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 sz="2133" b="0" i="0" u="none" strike="noStrike" kern="1200" cap="none" spc="0" normalizeH="0" baseline="0" noProof="0">
                  <a:ln>
                    <a:noFill/>
                  </a:ln>
                  <a:solidFill>
                    <a:srgbClr val="434343"/>
                  </a:solidFill>
                  <a:effectLst/>
                  <a:uLnTx/>
                  <a:uFillTx/>
                  <a:latin typeface="Arial"/>
                  <a:ea typeface="+mn-ea"/>
                  <a:cs typeface="+mn-ea"/>
                  <a:sym typeface="+mn-lt"/>
                </a:rPr>
                <a:t>Saturn</a:t>
              </a:r>
              <a:endParaRPr kumimoji="0" sz="2133" b="0" i="0" u="none" strike="noStrike" kern="1200" cap="none" spc="0" normalizeH="0" baseline="0" noProof="0">
                <a:ln>
                  <a:noFill/>
                </a:ln>
                <a:solidFill>
                  <a:srgbClr val="434343"/>
                </a:solidFill>
                <a:effectLst/>
                <a:uLnTx/>
                <a:uFillTx/>
                <a:latin typeface="Arial"/>
                <a:ea typeface="+mn-ea"/>
                <a:cs typeface="+mn-ea"/>
                <a:sym typeface="+mn-lt"/>
              </a:endParaRPr>
            </a:p>
          </p:txBody>
        </p:sp>
        <p:grpSp>
          <p:nvGrpSpPr>
            <p:cNvPr id="41" name="Google Shape;1418;p37">
              <a:extLst>
                <a:ext uri="{FF2B5EF4-FFF2-40B4-BE49-F238E27FC236}">
                  <a16:creationId xmlns:a16="http://schemas.microsoft.com/office/drawing/2014/main" id="{03AA8271-35D8-4B1B-BBDD-45E199D4034B}"/>
                </a:ext>
              </a:extLst>
            </p:cNvPr>
            <p:cNvGrpSpPr/>
            <p:nvPr/>
          </p:nvGrpSpPr>
          <p:grpSpPr>
            <a:xfrm>
              <a:off x="3103616" y="1623516"/>
              <a:ext cx="238192" cy="238118"/>
              <a:chOff x="5642475" y="1435075"/>
              <a:chExt cx="481975" cy="481825"/>
            </a:xfrm>
          </p:grpSpPr>
          <p:sp>
            <p:nvSpPr>
              <p:cNvPr id="42" name="Google Shape;1419;p37">
                <a:extLst>
                  <a:ext uri="{FF2B5EF4-FFF2-40B4-BE49-F238E27FC236}">
                    <a16:creationId xmlns:a16="http://schemas.microsoft.com/office/drawing/2014/main" id="{0894C3CE-5072-4F82-B271-34C2928162FA}"/>
                  </a:ext>
                </a:extLst>
              </p:cNvPr>
              <p:cNvSpPr/>
              <p:nvPr/>
            </p:nvSpPr>
            <p:spPr>
              <a:xfrm>
                <a:off x="5642475" y="1435075"/>
                <a:ext cx="481975" cy="340675"/>
              </a:xfrm>
              <a:custGeom>
                <a:avLst/>
                <a:gdLst/>
                <a:ahLst/>
                <a:cxnLst/>
                <a:rect l="l" t="t" r="r" b="b"/>
                <a:pathLst>
                  <a:path w="19279" h="13627" extrusionOk="0">
                    <a:moveTo>
                      <a:pt x="2262" y="2259"/>
                    </a:moveTo>
                    <a:cubicBezTo>
                      <a:pt x="2883" y="2259"/>
                      <a:pt x="3428" y="2765"/>
                      <a:pt x="3428" y="3389"/>
                    </a:cubicBezTo>
                    <a:lnTo>
                      <a:pt x="3428" y="7342"/>
                    </a:lnTo>
                    <a:cubicBezTo>
                      <a:pt x="3428" y="7366"/>
                      <a:pt x="3434" y="7394"/>
                      <a:pt x="3434" y="7418"/>
                    </a:cubicBezTo>
                    <a:lnTo>
                      <a:pt x="1636" y="6246"/>
                    </a:lnTo>
                    <a:cubicBezTo>
                      <a:pt x="1320" y="6035"/>
                      <a:pt x="1130" y="5683"/>
                      <a:pt x="1133" y="5304"/>
                    </a:cubicBezTo>
                    <a:lnTo>
                      <a:pt x="1133" y="3389"/>
                    </a:lnTo>
                    <a:cubicBezTo>
                      <a:pt x="1133" y="2765"/>
                      <a:pt x="1636" y="2259"/>
                      <a:pt x="2262" y="2259"/>
                    </a:cubicBezTo>
                    <a:close/>
                    <a:moveTo>
                      <a:pt x="17017" y="2259"/>
                    </a:moveTo>
                    <a:cubicBezTo>
                      <a:pt x="17641" y="2259"/>
                      <a:pt x="18147" y="2765"/>
                      <a:pt x="18147" y="3389"/>
                    </a:cubicBezTo>
                    <a:lnTo>
                      <a:pt x="18147" y="5307"/>
                    </a:lnTo>
                    <a:cubicBezTo>
                      <a:pt x="18147" y="5683"/>
                      <a:pt x="17957" y="6035"/>
                      <a:pt x="17644" y="6246"/>
                    </a:cubicBezTo>
                    <a:lnTo>
                      <a:pt x="15843" y="7421"/>
                    </a:lnTo>
                    <a:cubicBezTo>
                      <a:pt x="15843" y="7394"/>
                      <a:pt x="15849" y="7369"/>
                      <a:pt x="15849" y="7342"/>
                    </a:cubicBezTo>
                    <a:lnTo>
                      <a:pt x="15849" y="3389"/>
                    </a:lnTo>
                    <a:cubicBezTo>
                      <a:pt x="15849" y="2765"/>
                      <a:pt x="16394" y="2259"/>
                      <a:pt x="17017" y="2259"/>
                    </a:cubicBezTo>
                    <a:close/>
                    <a:moveTo>
                      <a:pt x="9638" y="2284"/>
                    </a:moveTo>
                    <a:cubicBezTo>
                      <a:pt x="9845" y="2284"/>
                      <a:pt x="10051" y="2381"/>
                      <a:pt x="10146" y="2576"/>
                    </a:cubicBezTo>
                    <a:lnTo>
                      <a:pt x="10883" y="4069"/>
                    </a:lnTo>
                    <a:lnTo>
                      <a:pt x="12534" y="4310"/>
                    </a:lnTo>
                    <a:cubicBezTo>
                      <a:pt x="12994" y="4376"/>
                      <a:pt x="13181" y="4945"/>
                      <a:pt x="12847" y="5274"/>
                    </a:cubicBezTo>
                    <a:lnTo>
                      <a:pt x="11651" y="6439"/>
                    </a:lnTo>
                    <a:lnTo>
                      <a:pt x="11934" y="8080"/>
                    </a:lnTo>
                    <a:cubicBezTo>
                      <a:pt x="11996" y="8445"/>
                      <a:pt x="11705" y="8742"/>
                      <a:pt x="11376" y="8742"/>
                    </a:cubicBezTo>
                    <a:cubicBezTo>
                      <a:pt x="11290" y="8742"/>
                      <a:pt x="11201" y="8721"/>
                      <a:pt x="11115" y="8676"/>
                    </a:cubicBezTo>
                    <a:lnTo>
                      <a:pt x="9637" y="7899"/>
                    </a:lnTo>
                    <a:lnTo>
                      <a:pt x="8161" y="8676"/>
                    </a:lnTo>
                    <a:cubicBezTo>
                      <a:pt x="8076" y="8721"/>
                      <a:pt x="7987" y="8742"/>
                      <a:pt x="7900" y="8742"/>
                    </a:cubicBezTo>
                    <a:cubicBezTo>
                      <a:pt x="7571" y="8742"/>
                      <a:pt x="7280" y="8445"/>
                      <a:pt x="7342" y="8080"/>
                    </a:cubicBezTo>
                    <a:lnTo>
                      <a:pt x="7625" y="6439"/>
                    </a:lnTo>
                    <a:lnTo>
                      <a:pt x="6430" y="5271"/>
                    </a:lnTo>
                    <a:cubicBezTo>
                      <a:pt x="6279" y="5120"/>
                      <a:pt x="6222" y="4897"/>
                      <a:pt x="6288" y="4692"/>
                    </a:cubicBezTo>
                    <a:cubicBezTo>
                      <a:pt x="6355" y="4488"/>
                      <a:pt x="6532" y="4340"/>
                      <a:pt x="6743" y="4310"/>
                    </a:cubicBezTo>
                    <a:lnTo>
                      <a:pt x="8393" y="4069"/>
                    </a:lnTo>
                    <a:lnTo>
                      <a:pt x="9131" y="2576"/>
                    </a:lnTo>
                    <a:cubicBezTo>
                      <a:pt x="9226" y="2381"/>
                      <a:pt x="9432" y="2284"/>
                      <a:pt x="9638" y="2284"/>
                    </a:cubicBezTo>
                    <a:close/>
                    <a:moveTo>
                      <a:pt x="3994" y="1"/>
                    </a:moveTo>
                    <a:cubicBezTo>
                      <a:pt x="3681" y="1"/>
                      <a:pt x="3428" y="254"/>
                      <a:pt x="3428" y="567"/>
                    </a:cubicBezTo>
                    <a:lnTo>
                      <a:pt x="3428" y="1443"/>
                    </a:lnTo>
                    <a:cubicBezTo>
                      <a:pt x="3072" y="1242"/>
                      <a:pt x="2669" y="1133"/>
                      <a:pt x="2262" y="1130"/>
                    </a:cubicBezTo>
                    <a:cubicBezTo>
                      <a:pt x="1013" y="1130"/>
                      <a:pt x="4" y="2142"/>
                      <a:pt x="4" y="3389"/>
                    </a:cubicBezTo>
                    <a:lnTo>
                      <a:pt x="4" y="5307"/>
                    </a:lnTo>
                    <a:cubicBezTo>
                      <a:pt x="1" y="6060"/>
                      <a:pt x="380" y="6767"/>
                      <a:pt x="1010" y="7186"/>
                    </a:cubicBezTo>
                    <a:lnTo>
                      <a:pt x="3681" y="8941"/>
                    </a:lnTo>
                    <a:cubicBezTo>
                      <a:pt x="3690" y="8947"/>
                      <a:pt x="3702" y="8944"/>
                      <a:pt x="3714" y="8950"/>
                    </a:cubicBezTo>
                    <a:cubicBezTo>
                      <a:pt x="4129" y="10107"/>
                      <a:pt x="5006" y="11037"/>
                      <a:pt x="6297" y="11642"/>
                    </a:cubicBezTo>
                    <a:cubicBezTo>
                      <a:pt x="7137" y="12034"/>
                      <a:pt x="7692" y="12817"/>
                      <a:pt x="7866" y="13627"/>
                    </a:cubicBezTo>
                    <a:lnTo>
                      <a:pt x="11386" y="13627"/>
                    </a:lnTo>
                    <a:cubicBezTo>
                      <a:pt x="11504" y="12844"/>
                      <a:pt x="11949" y="12067"/>
                      <a:pt x="12648" y="11676"/>
                    </a:cubicBezTo>
                    <a:cubicBezTo>
                      <a:pt x="14003" y="10908"/>
                      <a:pt x="15027" y="10101"/>
                      <a:pt x="15521" y="8965"/>
                    </a:cubicBezTo>
                    <a:cubicBezTo>
                      <a:pt x="15545" y="8953"/>
                      <a:pt x="15575" y="8956"/>
                      <a:pt x="15599" y="8941"/>
                    </a:cubicBezTo>
                    <a:lnTo>
                      <a:pt x="18273" y="7186"/>
                    </a:lnTo>
                    <a:cubicBezTo>
                      <a:pt x="18899" y="6767"/>
                      <a:pt x="19279" y="6063"/>
                      <a:pt x="19279" y="5307"/>
                    </a:cubicBezTo>
                    <a:lnTo>
                      <a:pt x="19279" y="3389"/>
                    </a:lnTo>
                    <a:cubicBezTo>
                      <a:pt x="19276" y="2142"/>
                      <a:pt x="18267" y="1130"/>
                      <a:pt x="17020" y="1130"/>
                    </a:cubicBezTo>
                    <a:cubicBezTo>
                      <a:pt x="16611" y="1133"/>
                      <a:pt x="16207" y="1242"/>
                      <a:pt x="15852" y="1443"/>
                    </a:cubicBezTo>
                    <a:lnTo>
                      <a:pt x="15852" y="567"/>
                    </a:lnTo>
                    <a:cubicBezTo>
                      <a:pt x="15852" y="254"/>
                      <a:pt x="15599" y="1"/>
                      <a:pt x="15289" y="1"/>
                    </a:cubicBezTo>
                    <a:close/>
                  </a:path>
                </a:pathLst>
              </a:custGeom>
              <a:solidFill>
                <a:srgbClr val="FFFFFF"/>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435D74"/>
                  </a:solidFill>
                  <a:effectLst/>
                  <a:uLnTx/>
                  <a:uFillTx/>
                  <a:latin typeface="Arial"/>
                  <a:ea typeface="+mn-ea"/>
                  <a:cs typeface="+mn-ea"/>
                  <a:sym typeface="+mn-lt"/>
                </a:endParaRPr>
              </a:p>
            </p:txBody>
          </p:sp>
          <p:sp>
            <p:nvSpPr>
              <p:cNvPr id="43" name="Google Shape;1420;p37">
                <a:extLst>
                  <a:ext uri="{FF2B5EF4-FFF2-40B4-BE49-F238E27FC236}">
                    <a16:creationId xmlns:a16="http://schemas.microsoft.com/office/drawing/2014/main" id="{DB069A34-EA6C-44C1-B0F9-A347BEA5D0D8}"/>
                  </a:ext>
                </a:extLst>
              </p:cNvPr>
              <p:cNvSpPr/>
              <p:nvPr/>
            </p:nvSpPr>
            <p:spPr>
              <a:xfrm>
                <a:off x="5756375" y="1803975"/>
                <a:ext cx="254100" cy="112925"/>
              </a:xfrm>
              <a:custGeom>
                <a:avLst/>
                <a:gdLst/>
                <a:ahLst/>
                <a:cxnLst/>
                <a:rect l="l" t="t" r="r" b="b"/>
                <a:pathLst>
                  <a:path w="10164" h="4517" extrusionOk="0">
                    <a:moveTo>
                      <a:pt x="2259" y="0"/>
                    </a:moveTo>
                    <a:cubicBezTo>
                      <a:pt x="1636" y="0"/>
                      <a:pt x="1130" y="506"/>
                      <a:pt x="1130" y="1129"/>
                    </a:cubicBezTo>
                    <a:lnTo>
                      <a:pt x="1130" y="1695"/>
                    </a:lnTo>
                    <a:lnTo>
                      <a:pt x="2825" y="1695"/>
                    </a:lnTo>
                    <a:cubicBezTo>
                      <a:pt x="3136" y="1695"/>
                      <a:pt x="3389" y="1945"/>
                      <a:pt x="3389" y="2258"/>
                    </a:cubicBezTo>
                    <a:cubicBezTo>
                      <a:pt x="3389" y="2572"/>
                      <a:pt x="3136" y="2825"/>
                      <a:pt x="2825" y="2825"/>
                    </a:cubicBezTo>
                    <a:lnTo>
                      <a:pt x="567" y="2825"/>
                    </a:lnTo>
                    <a:cubicBezTo>
                      <a:pt x="254" y="2825"/>
                      <a:pt x="1" y="3075"/>
                      <a:pt x="1" y="3388"/>
                    </a:cubicBezTo>
                    <a:lnTo>
                      <a:pt x="1" y="3954"/>
                    </a:lnTo>
                    <a:cubicBezTo>
                      <a:pt x="1" y="4264"/>
                      <a:pt x="254" y="4517"/>
                      <a:pt x="567" y="4517"/>
                    </a:cubicBezTo>
                    <a:lnTo>
                      <a:pt x="9601" y="4517"/>
                    </a:lnTo>
                    <a:cubicBezTo>
                      <a:pt x="9911" y="4517"/>
                      <a:pt x="10164" y="4264"/>
                      <a:pt x="10164" y="3954"/>
                    </a:cubicBezTo>
                    <a:lnTo>
                      <a:pt x="10164" y="3388"/>
                    </a:lnTo>
                    <a:cubicBezTo>
                      <a:pt x="10164" y="3075"/>
                      <a:pt x="9911" y="2825"/>
                      <a:pt x="9601" y="2825"/>
                    </a:cubicBezTo>
                    <a:lnTo>
                      <a:pt x="7342" y="2825"/>
                    </a:lnTo>
                    <a:cubicBezTo>
                      <a:pt x="7029" y="2825"/>
                      <a:pt x="6776" y="2572"/>
                      <a:pt x="6776" y="2258"/>
                    </a:cubicBezTo>
                    <a:cubicBezTo>
                      <a:pt x="6776" y="1945"/>
                      <a:pt x="7029" y="1695"/>
                      <a:pt x="7342" y="1695"/>
                    </a:cubicBezTo>
                    <a:lnTo>
                      <a:pt x="9035" y="1695"/>
                    </a:lnTo>
                    <a:lnTo>
                      <a:pt x="9035" y="1129"/>
                    </a:lnTo>
                    <a:cubicBezTo>
                      <a:pt x="9035" y="506"/>
                      <a:pt x="8529" y="0"/>
                      <a:pt x="7905" y="0"/>
                    </a:cubicBezTo>
                    <a:close/>
                  </a:path>
                </a:pathLst>
              </a:custGeom>
              <a:solidFill>
                <a:srgbClr val="FFFFFF"/>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435D74"/>
                  </a:solidFill>
                  <a:effectLst/>
                  <a:uLnTx/>
                  <a:uFillTx/>
                  <a:latin typeface="Arial"/>
                  <a:ea typeface="+mn-ea"/>
                  <a:cs typeface="+mn-ea"/>
                  <a:sym typeface="+mn-lt"/>
                </a:endParaRPr>
              </a:p>
            </p:txBody>
          </p:sp>
          <p:sp>
            <p:nvSpPr>
              <p:cNvPr id="44" name="Google Shape;1421;p37">
                <a:extLst>
                  <a:ext uri="{FF2B5EF4-FFF2-40B4-BE49-F238E27FC236}">
                    <a16:creationId xmlns:a16="http://schemas.microsoft.com/office/drawing/2014/main" id="{5672802B-D344-4F0A-85FF-572AE312C82C}"/>
                  </a:ext>
                </a:extLst>
              </p:cNvPr>
              <p:cNvSpPr/>
              <p:nvPr/>
            </p:nvSpPr>
            <p:spPr>
              <a:xfrm>
                <a:off x="5843400" y="1537550"/>
                <a:ext cx="79975" cy="76125"/>
              </a:xfrm>
              <a:custGeom>
                <a:avLst/>
                <a:gdLst/>
                <a:ahLst/>
                <a:cxnLst/>
                <a:rect l="l" t="t" r="r" b="b"/>
                <a:pathLst>
                  <a:path w="3199" h="3045" extrusionOk="0">
                    <a:moveTo>
                      <a:pt x="1603" y="0"/>
                    </a:moveTo>
                    <a:lnTo>
                      <a:pt x="1238" y="738"/>
                    </a:lnTo>
                    <a:cubicBezTo>
                      <a:pt x="1157" y="904"/>
                      <a:pt x="998" y="1018"/>
                      <a:pt x="814" y="1045"/>
                    </a:cubicBezTo>
                    <a:lnTo>
                      <a:pt x="1" y="1163"/>
                    </a:lnTo>
                    <a:lnTo>
                      <a:pt x="588" y="1735"/>
                    </a:lnTo>
                    <a:cubicBezTo>
                      <a:pt x="721" y="1864"/>
                      <a:pt x="784" y="2051"/>
                      <a:pt x="751" y="2235"/>
                    </a:cubicBezTo>
                    <a:lnTo>
                      <a:pt x="612" y="3045"/>
                    </a:lnTo>
                    <a:lnTo>
                      <a:pt x="1338" y="2662"/>
                    </a:lnTo>
                    <a:cubicBezTo>
                      <a:pt x="1421" y="2619"/>
                      <a:pt x="1511" y="2597"/>
                      <a:pt x="1601" y="2597"/>
                    </a:cubicBezTo>
                    <a:cubicBezTo>
                      <a:pt x="1691" y="2597"/>
                      <a:pt x="1781" y="2619"/>
                      <a:pt x="1862" y="2662"/>
                    </a:cubicBezTo>
                    <a:lnTo>
                      <a:pt x="2588" y="3045"/>
                    </a:lnTo>
                    <a:lnTo>
                      <a:pt x="2452" y="2235"/>
                    </a:lnTo>
                    <a:cubicBezTo>
                      <a:pt x="2419" y="2051"/>
                      <a:pt x="2479" y="1864"/>
                      <a:pt x="2612" y="1735"/>
                    </a:cubicBezTo>
                    <a:lnTo>
                      <a:pt x="3199" y="1163"/>
                    </a:lnTo>
                    <a:lnTo>
                      <a:pt x="2389" y="1045"/>
                    </a:lnTo>
                    <a:cubicBezTo>
                      <a:pt x="2205" y="1018"/>
                      <a:pt x="2045" y="904"/>
                      <a:pt x="1964" y="735"/>
                    </a:cubicBezTo>
                    <a:lnTo>
                      <a:pt x="1603" y="0"/>
                    </a:lnTo>
                    <a:close/>
                  </a:path>
                </a:pathLst>
              </a:custGeom>
              <a:solidFill>
                <a:srgbClr val="FFFFFF"/>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435D74"/>
                  </a:solidFill>
                  <a:effectLst/>
                  <a:uLnTx/>
                  <a:uFillTx/>
                  <a:latin typeface="Arial"/>
                  <a:ea typeface="+mn-ea"/>
                  <a:cs typeface="+mn-ea"/>
                  <a:sym typeface="+mn-lt"/>
                </a:endParaRPr>
              </a:p>
            </p:txBody>
          </p:sp>
        </p:grpSp>
      </p:grpSp>
      <p:grpSp>
        <p:nvGrpSpPr>
          <p:cNvPr id="45" name="Google Shape;1422;p37">
            <a:extLst>
              <a:ext uri="{FF2B5EF4-FFF2-40B4-BE49-F238E27FC236}">
                <a16:creationId xmlns:a16="http://schemas.microsoft.com/office/drawing/2014/main" id="{100D224D-C3CE-4858-98A5-59C26D90098B}"/>
              </a:ext>
            </a:extLst>
          </p:cNvPr>
          <p:cNvGrpSpPr/>
          <p:nvPr/>
        </p:nvGrpSpPr>
        <p:grpSpPr>
          <a:xfrm>
            <a:off x="7753967" y="1477491"/>
            <a:ext cx="1969667" cy="3904501"/>
            <a:chOff x="5815475" y="1303213"/>
            <a:chExt cx="1477250" cy="2928376"/>
          </a:xfrm>
        </p:grpSpPr>
        <p:sp>
          <p:nvSpPr>
            <p:cNvPr id="46" name="Google Shape;1423;p37">
              <a:extLst>
                <a:ext uri="{FF2B5EF4-FFF2-40B4-BE49-F238E27FC236}">
                  <a16:creationId xmlns:a16="http://schemas.microsoft.com/office/drawing/2014/main" id="{458FBF8C-A8AE-401A-8AA2-B8DDDC408B11}"/>
                </a:ext>
              </a:extLst>
            </p:cNvPr>
            <p:cNvSpPr/>
            <p:nvPr/>
          </p:nvSpPr>
          <p:spPr>
            <a:xfrm>
              <a:off x="5839250" y="1632738"/>
              <a:ext cx="1032000" cy="291425"/>
            </a:xfrm>
            <a:custGeom>
              <a:avLst/>
              <a:gdLst/>
              <a:ahLst/>
              <a:cxnLst/>
              <a:rect l="l" t="t" r="r" b="b"/>
              <a:pathLst>
                <a:path w="41280" h="11657" extrusionOk="0">
                  <a:moveTo>
                    <a:pt x="0" y="0"/>
                  </a:moveTo>
                  <a:lnTo>
                    <a:pt x="0" y="11656"/>
                  </a:lnTo>
                  <a:lnTo>
                    <a:pt x="41279" y="11656"/>
                  </a:lnTo>
                  <a:lnTo>
                    <a:pt x="35029" y="0"/>
                  </a:ln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100"/>
                <a:buFontTx/>
                <a:buNone/>
                <a:tabLst/>
                <a:defRPr/>
              </a:pPr>
              <a:r>
                <a:rPr kumimoji="0" lang="en" sz="2000" b="0" i="0" u="none" strike="noStrike" kern="1200" cap="none" spc="0" normalizeH="0" baseline="0" noProof="0">
                  <a:ln>
                    <a:noFill/>
                  </a:ln>
                  <a:solidFill>
                    <a:srgbClr val="FFFFFF"/>
                  </a:solidFill>
                  <a:effectLst/>
                  <a:uLnTx/>
                  <a:uFillTx/>
                  <a:latin typeface="Arial"/>
                  <a:ea typeface="+mn-ea"/>
                  <a:cs typeface="+mn-ea"/>
                  <a:sym typeface="+mn-lt"/>
                </a:rPr>
                <a:t>2020</a:t>
              </a:r>
              <a:endParaRPr kumimoji="0" sz="2000"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47" name="Google Shape;1424;p37">
              <a:extLst>
                <a:ext uri="{FF2B5EF4-FFF2-40B4-BE49-F238E27FC236}">
                  <a16:creationId xmlns:a16="http://schemas.microsoft.com/office/drawing/2014/main" id="{76927D9C-D648-403C-AD75-9828D2FCC79A}"/>
                </a:ext>
              </a:extLst>
            </p:cNvPr>
            <p:cNvSpPr/>
            <p:nvPr/>
          </p:nvSpPr>
          <p:spPr>
            <a:xfrm>
              <a:off x="5839250" y="1303213"/>
              <a:ext cx="329525" cy="329550"/>
            </a:xfrm>
            <a:custGeom>
              <a:avLst/>
              <a:gdLst/>
              <a:ahLst/>
              <a:cxnLst/>
              <a:rect l="l" t="t" r="r" b="b"/>
              <a:pathLst>
                <a:path w="13181" h="13182" extrusionOk="0">
                  <a:moveTo>
                    <a:pt x="0" y="1"/>
                  </a:moveTo>
                  <a:lnTo>
                    <a:pt x="0" y="13181"/>
                  </a:lnTo>
                  <a:lnTo>
                    <a:pt x="13181" y="13181"/>
                  </a:lnTo>
                  <a:lnTo>
                    <a:pt x="13181" y="1"/>
                  </a:ln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48" name="Google Shape;1425;p37">
              <a:extLst>
                <a:ext uri="{FF2B5EF4-FFF2-40B4-BE49-F238E27FC236}">
                  <a16:creationId xmlns:a16="http://schemas.microsoft.com/office/drawing/2014/main" id="{725EDEA5-2374-4CE4-854E-EBEDB07DC212}"/>
                </a:ext>
              </a:extLst>
            </p:cNvPr>
            <p:cNvSpPr/>
            <p:nvPr/>
          </p:nvSpPr>
          <p:spPr>
            <a:xfrm>
              <a:off x="5839250" y="1629463"/>
              <a:ext cx="1453475" cy="1126350"/>
            </a:xfrm>
            <a:custGeom>
              <a:avLst/>
              <a:gdLst/>
              <a:ahLst/>
              <a:cxnLst/>
              <a:rect l="l" t="t" r="r" b="b"/>
              <a:pathLst>
                <a:path w="58139" h="45054" extrusionOk="0">
                  <a:moveTo>
                    <a:pt x="0" y="0"/>
                  </a:moveTo>
                  <a:lnTo>
                    <a:pt x="0" y="1107"/>
                  </a:lnTo>
                  <a:lnTo>
                    <a:pt x="34636" y="1107"/>
                  </a:lnTo>
                  <a:lnTo>
                    <a:pt x="57150" y="45053"/>
                  </a:lnTo>
                  <a:lnTo>
                    <a:pt x="58139" y="44553"/>
                  </a:lnTo>
                  <a:lnTo>
                    <a:pt x="35314" y="0"/>
                  </a:ln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49" name="Google Shape;1426;p37">
              <a:extLst>
                <a:ext uri="{FF2B5EF4-FFF2-40B4-BE49-F238E27FC236}">
                  <a16:creationId xmlns:a16="http://schemas.microsoft.com/office/drawing/2014/main" id="{F06DD9B1-F7A8-4830-A837-0A75C7F75D0D}"/>
                </a:ext>
              </a:extLst>
            </p:cNvPr>
            <p:cNvSpPr/>
            <p:nvPr/>
          </p:nvSpPr>
          <p:spPr>
            <a:xfrm>
              <a:off x="5839250" y="2749538"/>
              <a:ext cx="1453475" cy="1126350"/>
            </a:xfrm>
            <a:custGeom>
              <a:avLst/>
              <a:gdLst/>
              <a:ahLst/>
              <a:cxnLst/>
              <a:rect l="l" t="t" r="r" b="b"/>
              <a:pathLst>
                <a:path w="58139" h="45054" extrusionOk="0">
                  <a:moveTo>
                    <a:pt x="57150" y="0"/>
                  </a:moveTo>
                  <a:lnTo>
                    <a:pt x="34636" y="43958"/>
                  </a:lnTo>
                  <a:lnTo>
                    <a:pt x="0" y="43958"/>
                  </a:lnTo>
                  <a:lnTo>
                    <a:pt x="0" y="45053"/>
                  </a:lnTo>
                  <a:lnTo>
                    <a:pt x="35314" y="45053"/>
                  </a:lnTo>
                  <a:lnTo>
                    <a:pt x="58139" y="500"/>
                  </a:lnTo>
                  <a:lnTo>
                    <a:pt x="57150" y="0"/>
                  </a:ln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50" name="Google Shape;1427;p37">
              <a:extLst>
                <a:ext uri="{FF2B5EF4-FFF2-40B4-BE49-F238E27FC236}">
                  <a16:creationId xmlns:a16="http://schemas.microsoft.com/office/drawing/2014/main" id="{6B196887-5E63-4341-9568-DBACAECDD2F7}"/>
                </a:ext>
              </a:extLst>
            </p:cNvPr>
            <p:cNvSpPr/>
            <p:nvPr/>
          </p:nvSpPr>
          <p:spPr>
            <a:xfrm>
              <a:off x="5839250" y="3863476"/>
              <a:ext cx="368145" cy="368112"/>
            </a:xfrm>
            <a:custGeom>
              <a:avLst/>
              <a:gdLst/>
              <a:ahLst/>
              <a:cxnLst/>
              <a:rect l="l" t="t" r="r" b="b"/>
              <a:pathLst>
                <a:path w="13181" h="13181" extrusionOk="0">
                  <a:moveTo>
                    <a:pt x="0" y="0"/>
                  </a:moveTo>
                  <a:lnTo>
                    <a:pt x="0" y="13181"/>
                  </a:lnTo>
                  <a:lnTo>
                    <a:pt x="13181" y="13181"/>
                  </a:lnTo>
                  <a:lnTo>
                    <a:pt x="13181" y="0"/>
                  </a:lnTo>
                  <a:close/>
                </a:path>
              </a:pathLst>
            </a:custGeom>
            <a:solidFill>
              <a:schemeClr val="accent1"/>
            </a:solidFill>
            <a:ln>
              <a:noFill/>
            </a:ln>
          </p:spPr>
          <p:txBody>
            <a:bodyPr spcFirstLastPara="1" wrap="square" lIns="0" tIns="121900" rIns="0" bIns="1219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Tx/>
                <a:buNone/>
                <a:tabLst/>
                <a:defRPr/>
              </a:pPr>
              <a:r>
                <a:rPr kumimoji="0" lang="en" sz="2533" b="0" i="0" u="none" strike="noStrike" kern="1200" cap="none" spc="0" normalizeH="0" baseline="0" noProof="0">
                  <a:ln>
                    <a:noFill/>
                  </a:ln>
                  <a:solidFill>
                    <a:srgbClr val="FFFFFF"/>
                  </a:solidFill>
                  <a:effectLst/>
                  <a:uLnTx/>
                  <a:uFillTx/>
                  <a:latin typeface="Arial"/>
                  <a:ea typeface="+mn-ea"/>
                  <a:cs typeface="+mn-ea"/>
                  <a:sym typeface="+mn-lt"/>
                </a:rPr>
                <a:t>01</a:t>
              </a:r>
              <a:endParaRPr kumimoji="0" sz="2533"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51" name="Google Shape;1428;p37">
              <a:extLst>
                <a:ext uri="{FF2B5EF4-FFF2-40B4-BE49-F238E27FC236}">
                  <a16:creationId xmlns:a16="http://schemas.microsoft.com/office/drawing/2014/main" id="{FADD5455-F2D6-4159-A19B-BB1EF069EDC8}"/>
                </a:ext>
              </a:extLst>
            </p:cNvPr>
            <p:cNvSpPr txBox="1"/>
            <p:nvPr/>
          </p:nvSpPr>
          <p:spPr>
            <a:xfrm>
              <a:off x="5815475" y="3039413"/>
              <a:ext cx="964200" cy="597300"/>
            </a:xfrm>
            <a:prstGeom prst="rect">
              <a:avLst/>
            </a:prstGeom>
            <a:noFill/>
            <a:ln>
              <a:noFill/>
            </a:ln>
          </p:spPr>
          <p:txBody>
            <a:bodyPr spcFirstLastPara="1" wrap="square" lIns="121900" tIns="121900" rIns="121900" bIns="12190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 sz="1600" b="0" i="0" u="none" strike="noStrike" kern="1200" cap="none" spc="0" normalizeH="0" baseline="0" noProof="0">
                  <a:ln>
                    <a:noFill/>
                  </a:ln>
                  <a:solidFill>
                    <a:srgbClr val="434343"/>
                  </a:solidFill>
                  <a:effectLst/>
                  <a:uLnTx/>
                  <a:uFillTx/>
                  <a:latin typeface="Arial"/>
                  <a:ea typeface="+mn-ea"/>
                  <a:cs typeface="+mn-ea"/>
                  <a:sym typeface="+mn-lt"/>
                </a:rPr>
                <a:t>It’s our satellite</a:t>
              </a:r>
              <a:endParaRPr kumimoji="0" sz="1600" b="0" i="0" u="none" strike="noStrike" kern="1200" cap="none" spc="0" normalizeH="0" baseline="0" noProof="0">
                <a:ln>
                  <a:noFill/>
                </a:ln>
                <a:solidFill>
                  <a:srgbClr val="434343"/>
                </a:solidFill>
                <a:effectLst/>
                <a:uLnTx/>
                <a:uFillTx/>
                <a:latin typeface="Arial"/>
                <a:ea typeface="+mn-ea"/>
                <a:cs typeface="+mn-ea"/>
                <a:sym typeface="+mn-lt"/>
              </a:endParaRPr>
            </a:p>
          </p:txBody>
        </p:sp>
        <p:sp>
          <p:nvSpPr>
            <p:cNvPr id="52" name="Google Shape;1429;p37">
              <a:extLst>
                <a:ext uri="{FF2B5EF4-FFF2-40B4-BE49-F238E27FC236}">
                  <a16:creationId xmlns:a16="http://schemas.microsoft.com/office/drawing/2014/main" id="{E2D2D1F7-438E-443B-AE5E-73E13D2624E8}"/>
                </a:ext>
              </a:extLst>
            </p:cNvPr>
            <p:cNvSpPr txBox="1"/>
            <p:nvPr/>
          </p:nvSpPr>
          <p:spPr>
            <a:xfrm>
              <a:off x="5815475" y="2126588"/>
              <a:ext cx="964200" cy="329400"/>
            </a:xfrm>
            <a:prstGeom prst="rect">
              <a:avLst/>
            </a:prstGeom>
            <a:noFill/>
            <a:ln>
              <a:noFill/>
            </a:ln>
          </p:spPr>
          <p:txBody>
            <a:bodyPr spcFirstLastPara="1" wrap="square" lIns="121900" tIns="121900" rIns="121900" bIns="12190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 sz="2133" b="0" i="0" u="none" strike="noStrike" kern="1200" cap="none" spc="0" normalizeH="0" baseline="0" noProof="0">
                  <a:ln>
                    <a:noFill/>
                  </a:ln>
                  <a:solidFill>
                    <a:srgbClr val="434343"/>
                  </a:solidFill>
                  <a:effectLst/>
                  <a:uLnTx/>
                  <a:uFillTx/>
                  <a:latin typeface="Arial"/>
                  <a:ea typeface="+mn-ea"/>
                  <a:cs typeface="+mn-ea"/>
                  <a:sym typeface="+mn-lt"/>
                </a:rPr>
                <a:t>Moon</a:t>
              </a:r>
              <a:endParaRPr kumimoji="0" sz="2133" b="0" i="0" u="none" strike="noStrike" kern="1200" cap="none" spc="0" normalizeH="0" baseline="0" noProof="0">
                <a:ln>
                  <a:noFill/>
                </a:ln>
                <a:solidFill>
                  <a:srgbClr val="434343"/>
                </a:solidFill>
                <a:effectLst/>
                <a:uLnTx/>
                <a:uFillTx/>
                <a:latin typeface="Arial"/>
                <a:ea typeface="+mn-ea"/>
                <a:cs typeface="+mn-ea"/>
                <a:sym typeface="+mn-lt"/>
              </a:endParaRPr>
            </a:p>
          </p:txBody>
        </p:sp>
        <p:grpSp>
          <p:nvGrpSpPr>
            <p:cNvPr id="53" name="Google Shape;1430;p37">
              <a:extLst>
                <a:ext uri="{FF2B5EF4-FFF2-40B4-BE49-F238E27FC236}">
                  <a16:creationId xmlns:a16="http://schemas.microsoft.com/office/drawing/2014/main" id="{2CAA5381-9147-4808-9459-9A971D60C402}"/>
                </a:ext>
              </a:extLst>
            </p:cNvPr>
            <p:cNvGrpSpPr/>
            <p:nvPr/>
          </p:nvGrpSpPr>
          <p:grpSpPr>
            <a:xfrm>
              <a:off x="5883369" y="1348922"/>
              <a:ext cx="241281" cy="238130"/>
              <a:chOff x="6232000" y="1435050"/>
              <a:chExt cx="488225" cy="481850"/>
            </a:xfrm>
          </p:grpSpPr>
          <p:sp>
            <p:nvSpPr>
              <p:cNvPr id="54" name="Google Shape;1431;p37">
                <a:extLst>
                  <a:ext uri="{FF2B5EF4-FFF2-40B4-BE49-F238E27FC236}">
                    <a16:creationId xmlns:a16="http://schemas.microsoft.com/office/drawing/2014/main" id="{41F81DD8-7F40-4E74-895D-C1A93E741827}"/>
                  </a:ext>
                </a:extLst>
              </p:cNvPr>
              <p:cNvSpPr/>
              <p:nvPr/>
            </p:nvSpPr>
            <p:spPr>
              <a:xfrm>
                <a:off x="6578000" y="1463375"/>
                <a:ext cx="83150" cy="78250"/>
              </a:xfrm>
              <a:custGeom>
                <a:avLst/>
                <a:gdLst/>
                <a:ahLst/>
                <a:cxnLst/>
                <a:rect l="l" t="t" r="r" b="b"/>
                <a:pathLst>
                  <a:path w="3326" h="3130" extrusionOk="0">
                    <a:moveTo>
                      <a:pt x="482" y="1"/>
                    </a:moveTo>
                    <a:cubicBezTo>
                      <a:pt x="280" y="1"/>
                      <a:pt x="95" y="114"/>
                      <a:pt x="1" y="293"/>
                    </a:cubicBezTo>
                    <a:lnTo>
                      <a:pt x="3322" y="3130"/>
                    </a:lnTo>
                    <a:lnTo>
                      <a:pt x="3322" y="564"/>
                    </a:lnTo>
                    <a:cubicBezTo>
                      <a:pt x="3325" y="253"/>
                      <a:pt x="3072" y="1"/>
                      <a:pt x="2761" y="1"/>
                    </a:cubicBezTo>
                    <a:cubicBezTo>
                      <a:pt x="2760" y="1"/>
                      <a:pt x="2758" y="1"/>
                      <a:pt x="2756" y="1"/>
                    </a:cubicBezTo>
                    <a:lnTo>
                      <a:pt x="497" y="1"/>
                    </a:lnTo>
                    <a:cubicBezTo>
                      <a:pt x="492" y="1"/>
                      <a:pt x="487" y="1"/>
                      <a:pt x="482" y="1"/>
                    </a:cubicBezTo>
                    <a:close/>
                  </a:path>
                </a:pathLst>
              </a:custGeom>
              <a:solidFill>
                <a:srgbClr val="FFFFFF"/>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435D74"/>
                  </a:solidFill>
                  <a:effectLst/>
                  <a:uLnTx/>
                  <a:uFillTx/>
                  <a:latin typeface="Arial"/>
                  <a:ea typeface="+mn-ea"/>
                  <a:cs typeface="+mn-ea"/>
                  <a:sym typeface="+mn-lt"/>
                </a:endParaRPr>
              </a:p>
            </p:txBody>
          </p:sp>
          <p:sp>
            <p:nvSpPr>
              <p:cNvPr id="55" name="Google Shape;1432;p37">
                <a:extLst>
                  <a:ext uri="{FF2B5EF4-FFF2-40B4-BE49-F238E27FC236}">
                    <a16:creationId xmlns:a16="http://schemas.microsoft.com/office/drawing/2014/main" id="{2531F10D-1E64-49E7-B92E-AA5729668E23}"/>
                  </a:ext>
                </a:extLst>
              </p:cNvPr>
              <p:cNvSpPr/>
              <p:nvPr/>
            </p:nvSpPr>
            <p:spPr>
              <a:xfrm>
                <a:off x="6421725" y="1773850"/>
                <a:ext cx="112950" cy="143050"/>
              </a:xfrm>
              <a:custGeom>
                <a:avLst/>
                <a:gdLst/>
                <a:ahLst/>
                <a:cxnLst/>
                <a:rect l="l" t="t" r="r" b="b"/>
                <a:pathLst>
                  <a:path w="4518" h="5722" extrusionOk="0">
                    <a:moveTo>
                      <a:pt x="2822" y="1130"/>
                    </a:moveTo>
                    <a:cubicBezTo>
                      <a:pt x="3325" y="1130"/>
                      <a:pt x="3578" y="1738"/>
                      <a:pt x="3222" y="2093"/>
                    </a:cubicBezTo>
                    <a:cubicBezTo>
                      <a:pt x="3106" y="2209"/>
                      <a:pt x="2964" y="2260"/>
                      <a:pt x="2825" y="2260"/>
                    </a:cubicBezTo>
                    <a:cubicBezTo>
                      <a:pt x="2535" y="2260"/>
                      <a:pt x="2259" y="2036"/>
                      <a:pt x="2259" y="1696"/>
                    </a:cubicBezTo>
                    <a:cubicBezTo>
                      <a:pt x="2259" y="1383"/>
                      <a:pt x="2509" y="1130"/>
                      <a:pt x="2822" y="1130"/>
                    </a:cubicBezTo>
                    <a:close/>
                    <a:moveTo>
                      <a:pt x="0" y="1"/>
                    </a:moveTo>
                    <a:lnTo>
                      <a:pt x="0" y="5722"/>
                    </a:lnTo>
                    <a:lnTo>
                      <a:pt x="4517" y="5722"/>
                    </a:lnTo>
                    <a:lnTo>
                      <a:pt x="4517" y="1"/>
                    </a:lnTo>
                    <a:close/>
                  </a:path>
                </a:pathLst>
              </a:custGeom>
              <a:solidFill>
                <a:srgbClr val="FFFFFF"/>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435D74"/>
                  </a:solidFill>
                  <a:effectLst/>
                  <a:uLnTx/>
                  <a:uFillTx/>
                  <a:latin typeface="Arial"/>
                  <a:ea typeface="+mn-ea"/>
                  <a:cs typeface="+mn-ea"/>
                  <a:sym typeface="+mn-lt"/>
                </a:endParaRPr>
              </a:p>
            </p:txBody>
          </p:sp>
          <p:sp>
            <p:nvSpPr>
              <p:cNvPr id="56" name="Google Shape;1433;p37">
                <a:extLst>
                  <a:ext uri="{FF2B5EF4-FFF2-40B4-BE49-F238E27FC236}">
                    <a16:creationId xmlns:a16="http://schemas.microsoft.com/office/drawing/2014/main" id="{E4EDEA45-A283-43BD-8707-F0F6105EA679}"/>
                  </a:ext>
                </a:extLst>
              </p:cNvPr>
              <p:cNvSpPr/>
              <p:nvPr/>
            </p:nvSpPr>
            <p:spPr>
              <a:xfrm>
                <a:off x="6448975" y="1632700"/>
                <a:ext cx="56475" cy="56475"/>
              </a:xfrm>
              <a:custGeom>
                <a:avLst/>
                <a:gdLst/>
                <a:ahLst/>
                <a:cxnLst/>
                <a:rect l="l" t="t" r="r" b="b"/>
                <a:pathLst>
                  <a:path w="2259" h="2259" extrusionOk="0">
                    <a:moveTo>
                      <a:pt x="0" y="0"/>
                    </a:moveTo>
                    <a:lnTo>
                      <a:pt x="0" y="2259"/>
                    </a:lnTo>
                    <a:lnTo>
                      <a:pt x="2259" y="2259"/>
                    </a:lnTo>
                    <a:lnTo>
                      <a:pt x="2259" y="0"/>
                    </a:lnTo>
                    <a:close/>
                  </a:path>
                </a:pathLst>
              </a:custGeom>
              <a:solidFill>
                <a:srgbClr val="FFFFFF"/>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435D74"/>
                  </a:solidFill>
                  <a:effectLst/>
                  <a:uLnTx/>
                  <a:uFillTx/>
                  <a:latin typeface="Arial"/>
                  <a:ea typeface="+mn-ea"/>
                  <a:cs typeface="+mn-ea"/>
                  <a:sym typeface="+mn-lt"/>
                </a:endParaRPr>
              </a:p>
            </p:txBody>
          </p:sp>
          <p:sp>
            <p:nvSpPr>
              <p:cNvPr id="57" name="Google Shape;1434;p37">
                <a:extLst>
                  <a:ext uri="{FF2B5EF4-FFF2-40B4-BE49-F238E27FC236}">
                    <a16:creationId xmlns:a16="http://schemas.microsoft.com/office/drawing/2014/main" id="{37F5CE68-1E9E-4DC2-83D5-53306DC1D41D}"/>
                  </a:ext>
                </a:extLst>
              </p:cNvPr>
              <p:cNvSpPr/>
              <p:nvPr/>
            </p:nvSpPr>
            <p:spPr>
              <a:xfrm>
                <a:off x="6232000" y="1435050"/>
                <a:ext cx="488225" cy="237825"/>
              </a:xfrm>
              <a:custGeom>
                <a:avLst/>
                <a:gdLst/>
                <a:ahLst/>
                <a:cxnLst/>
                <a:rect l="l" t="t" r="r" b="b"/>
                <a:pathLst>
                  <a:path w="19529" h="9513" extrusionOk="0">
                    <a:moveTo>
                      <a:pt x="9821" y="0"/>
                    </a:moveTo>
                    <a:cubicBezTo>
                      <a:pt x="9559" y="0"/>
                      <a:pt x="9297" y="92"/>
                      <a:pt x="9086" y="276"/>
                    </a:cubicBezTo>
                    <a:lnTo>
                      <a:pt x="531" y="7521"/>
                    </a:lnTo>
                    <a:cubicBezTo>
                      <a:pt x="61" y="7921"/>
                      <a:pt x="1" y="8626"/>
                      <a:pt x="395" y="9099"/>
                    </a:cubicBezTo>
                    <a:cubicBezTo>
                      <a:pt x="620" y="9369"/>
                      <a:pt x="942" y="9508"/>
                      <a:pt x="1266" y="9508"/>
                    </a:cubicBezTo>
                    <a:cubicBezTo>
                      <a:pt x="1525" y="9508"/>
                      <a:pt x="1785" y="9419"/>
                      <a:pt x="1997" y="9237"/>
                    </a:cubicBezTo>
                    <a:lnTo>
                      <a:pt x="9821" y="2622"/>
                    </a:lnTo>
                    <a:lnTo>
                      <a:pt x="17544" y="9240"/>
                    </a:lnTo>
                    <a:cubicBezTo>
                      <a:pt x="17759" y="9425"/>
                      <a:pt x="18019" y="9513"/>
                      <a:pt x="18278" y="9513"/>
                    </a:cubicBezTo>
                    <a:cubicBezTo>
                      <a:pt x="18661" y="9513"/>
                      <a:pt x="19039" y="9318"/>
                      <a:pt x="19252" y="8954"/>
                    </a:cubicBezTo>
                    <a:cubicBezTo>
                      <a:pt x="19529" y="8482"/>
                      <a:pt x="19430" y="7879"/>
                      <a:pt x="19014" y="7524"/>
                    </a:cubicBezTo>
                    <a:lnTo>
                      <a:pt x="10555" y="276"/>
                    </a:lnTo>
                    <a:cubicBezTo>
                      <a:pt x="10345" y="92"/>
                      <a:pt x="10083" y="0"/>
                      <a:pt x="9821" y="0"/>
                    </a:cubicBezTo>
                    <a:close/>
                  </a:path>
                </a:pathLst>
              </a:custGeom>
              <a:solidFill>
                <a:srgbClr val="FFFFFF"/>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435D74"/>
                  </a:solidFill>
                  <a:effectLst/>
                  <a:uLnTx/>
                  <a:uFillTx/>
                  <a:latin typeface="Arial"/>
                  <a:ea typeface="+mn-ea"/>
                  <a:cs typeface="+mn-ea"/>
                  <a:sym typeface="+mn-lt"/>
                </a:endParaRPr>
              </a:p>
            </p:txBody>
          </p:sp>
          <p:sp>
            <p:nvSpPr>
              <p:cNvPr id="58" name="Google Shape;1435;p37">
                <a:extLst>
                  <a:ext uri="{FF2B5EF4-FFF2-40B4-BE49-F238E27FC236}">
                    <a16:creationId xmlns:a16="http://schemas.microsoft.com/office/drawing/2014/main" id="{E8870B36-FC3A-4B38-9189-7D56280C441C}"/>
                  </a:ext>
                </a:extLst>
              </p:cNvPr>
              <p:cNvSpPr/>
              <p:nvPr/>
            </p:nvSpPr>
            <p:spPr>
              <a:xfrm>
                <a:off x="6291025" y="1537700"/>
                <a:ext cx="369800" cy="379200"/>
              </a:xfrm>
              <a:custGeom>
                <a:avLst/>
                <a:gdLst/>
                <a:ahLst/>
                <a:cxnLst/>
                <a:rect l="l" t="t" r="r" b="b"/>
                <a:pathLst>
                  <a:path w="14792" h="15168" extrusionOk="0">
                    <a:moveTo>
                      <a:pt x="9143" y="2671"/>
                    </a:moveTo>
                    <a:cubicBezTo>
                      <a:pt x="9453" y="2671"/>
                      <a:pt x="9706" y="2924"/>
                      <a:pt x="9706" y="3237"/>
                    </a:cubicBezTo>
                    <a:lnTo>
                      <a:pt x="9706" y="6625"/>
                    </a:lnTo>
                    <a:cubicBezTo>
                      <a:pt x="9706" y="6935"/>
                      <a:pt x="9453" y="7188"/>
                      <a:pt x="9143" y="7188"/>
                    </a:cubicBezTo>
                    <a:lnTo>
                      <a:pt x="5755" y="7188"/>
                    </a:lnTo>
                    <a:cubicBezTo>
                      <a:pt x="5442" y="7188"/>
                      <a:pt x="5189" y="6935"/>
                      <a:pt x="5189" y="6625"/>
                    </a:cubicBezTo>
                    <a:lnTo>
                      <a:pt x="5189" y="3237"/>
                    </a:lnTo>
                    <a:cubicBezTo>
                      <a:pt x="5189" y="2924"/>
                      <a:pt x="5442" y="2671"/>
                      <a:pt x="5755" y="2671"/>
                    </a:cubicBezTo>
                    <a:close/>
                    <a:moveTo>
                      <a:pt x="7448" y="0"/>
                    </a:moveTo>
                    <a:lnTo>
                      <a:pt x="4" y="6291"/>
                    </a:lnTo>
                    <a:lnTo>
                      <a:pt x="4" y="14605"/>
                    </a:lnTo>
                    <a:cubicBezTo>
                      <a:pt x="1" y="14913"/>
                      <a:pt x="254" y="15168"/>
                      <a:pt x="564" y="15168"/>
                    </a:cubicBezTo>
                    <a:cubicBezTo>
                      <a:pt x="566" y="15168"/>
                      <a:pt x="568" y="15168"/>
                      <a:pt x="570" y="15168"/>
                    </a:cubicBezTo>
                    <a:lnTo>
                      <a:pt x="4060" y="15168"/>
                    </a:lnTo>
                    <a:lnTo>
                      <a:pt x="4060" y="8883"/>
                    </a:lnTo>
                    <a:cubicBezTo>
                      <a:pt x="4060" y="8570"/>
                      <a:pt x="4313" y="8317"/>
                      <a:pt x="4626" y="8317"/>
                    </a:cubicBezTo>
                    <a:lnTo>
                      <a:pt x="10272" y="8317"/>
                    </a:lnTo>
                    <a:cubicBezTo>
                      <a:pt x="10582" y="8317"/>
                      <a:pt x="10835" y="8570"/>
                      <a:pt x="10835" y="8883"/>
                    </a:cubicBezTo>
                    <a:lnTo>
                      <a:pt x="10835" y="15168"/>
                    </a:lnTo>
                    <a:lnTo>
                      <a:pt x="14223" y="15168"/>
                    </a:lnTo>
                    <a:cubicBezTo>
                      <a:pt x="14225" y="15168"/>
                      <a:pt x="14227" y="15168"/>
                      <a:pt x="14228" y="15168"/>
                    </a:cubicBezTo>
                    <a:cubicBezTo>
                      <a:pt x="14539" y="15168"/>
                      <a:pt x="14792" y="14913"/>
                      <a:pt x="14789" y="14605"/>
                    </a:cubicBezTo>
                    <a:lnTo>
                      <a:pt x="14789" y="6291"/>
                    </a:lnTo>
                    <a:lnTo>
                      <a:pt x="7448" y="0"/>
                    </a:lnTo>
                    <a:close/>
                  </a:path>
                </a:pathLst>
              </a:custGeom>
              <a:solidFill>
                <a:srgbClr val="FFFFFF"/>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435D74"/>
                  </a:solidFill>
                  <a:effectLst/>
                  <a:uLnTx/>
                  <a:uFillTx/>
                  <a:latin typeface="Arial"/>
                  <a:ea typeface="+mn-ea"/>
                  <a:cs typeface="+mn-ea"/>
                  <a:sym typeface="+mn-lt"/>
                </a:endParaRPr>
              </a:p>
            </p:txBody>
          </p:sp>
        </p:grpSp>
      </p:grpSp>
      <p:grpSp>
        <p:nvGrpSpPr>
          <p:cNvPr id="59" name="Google Shape;1436;p37">
            <a:extLst>
              <a:ext uri="{FF2B5EF4-FFF2-40B4-BE49-F238E27FC236}">
                <a16:creationId xmlns:a16="http://schemas.microsoft.com/office/drawing/2014/main" id="{68447ED6-BEB2-42CA-ADED-DC8D73D9A48D}"/>
              </a:ext>
            </a:extLst>
          </p:cNvPr>
          <p:cNvGrpSpPr/>
          <p:nvPr/>
        </p:nvGrpSpPr>
        <p:grpSpPr>
          <a:xfrm>
            <a:off x="1166085" y="2278815"/>
            <a:ext cx="9859900" cy="2262679"/>
            <a:chOff x="874563" y="1904206"/>
            <a:chExt cx="7394925" cy="1697009"/>
          </a:xfrm>
        </p:grpSpPr>
        <p:sp>
          <p:nvSpPr>
            <p:cNvPr id="60" name="Google Shape;1437;p37">
              <a:extLst>
                <a:ext uri="{FF2B5EF4-FFF2-40B4-BE49-F238E27FC236}">
                  <a16:creationId xmlns:a16="http://schemas.microsoft.com/office/drawing/2014/main" id="{AEF4AC93-9BFD-4D20-8C29-2E702D86EE77}"/>
                </a:ext>
              </a:extLst>
            </p:cNvPr>
            <p:cNvSpPr/>
            <p:nvPr/>
          </p:nvSpPr>
          <p:spPr>
            <a:xfrm>
              <a:off x="874563" y="2706975"/>
              <a:ext cx="6691689" cy="91400"/>
            </a:xfrm>
            <a:custGeom>
              <a:avLst/>
              <a:gdLst/>
              <a:ahLst/>
              <a:cxnLst/>
              <a:rect l="l" t="t" r="r" b="b"/>
              <a:pathLst>
                <a:path w="249341" h="3656" extrusionOk="0">
                  <a:moveTo>
                    <a:pt x="2370" y="1"/>
                  </a:moveTo>
                  <a:cubicBezTo>
                    <a:pt x="0" y="1"/>
                    <a:pt x="0" y="3656"/>
                    <a:pt x="2370" y="3656"/>
                  </a:cubicBezTo>
                  <a:lnTo>
                    <a:pt x="246983" y="3656"/>
                  </a:lnTo>
                  <a:cubicBezTo>
                    <a:pt x="249341" y="3656"/>
                    <a:pt x="249341" y="1"/>
                    <a:pt x="246983" y="1"/>
                  </a:cubicBezTo>
                  <a:close/>
                </a:path>
              </a:pathLst>
            </a:custGeom>
            <a:solidFill>
              <a:srgbClr val="E0E0E0"/>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61" name="Google Shape;1438;p37">
              <a:extLst>
                <a:ext uri="{FF2B5EF4-FFF2-40B4-BE49-F238E27FC236}">
                  <a16:creationId xmlns:a16="http://schemas.microsoft.com/office/drawing/2014/main" id="{3EC17337-9850-41E5-9857-485F8F0FC5F2}"/>
                </a:ext>
              </a:extLst>
            </p:cNvPr>
            <p:cNvSpPr/>
            <p:nvPr/>
          </p:nvSpPr>
          <p:spPr>
            <a:xfrm>
              <a:off x="889438" y="2163763"/>
              <a:ext cx="620925" cy="550675"/>
            </a:xfrm>
            <a:custGeom>
              <a:avLst/>
              <a:gdLst/>
              <a:ahLst/>
              <a:cxnLst/>
              <a:rect l="l" t="t" r="r" b="b"/>
              <a:pathLst>
                <a:path w="24837" h="22027" extrusionOk="0">
                  <a:moveTo>
                    <a:pt x="1" y="0"/>
                  </a:moveTo>
                  <a:lnTo>
                    <a:pt x="9109" y="22027"/>
                  </a:lnTo>
                  <a:lnTo>
                    <a:pt x="24837" y="22027"/>
                  </a:lnTo>
                  <a:lnTo>
                    <a:pt x="1" y="0"/>
                  </a:lnTo>
                  <a:close/>
                </a:path>
              </a:pathLst>
            </a:custGeom>
            <a:solidFill>
              <a:srgbClr val="E0E0E0"/>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62" name="Google Shape;1439;p37">
              <a:extLst>
                <a:ext uri="{FF2B5EF4-FFF2-40B4-BE49-F238E27FC236}">
                  <a16:creationId xmlns:a16="http://schemas.microsoft.com/office/drawing/2014/main" id="{7BCEBE74-FA09-435A-A89E-33EBF2BEED8C}"/>
                </a:ext>
              </a:extLst>
            </p:cNvPr>
            <p:cNvSpPr/>
            <p:nvPr/>
          </p:nvSpPr>
          <p:spPr>
            <a:xfrm>
              <a:off x="889438" y="2789638"/>
              <a:ext cx="620925" cy="550700"/>
            </a:xfrm>
            <a:custGeom>
              <a:avLst/>
              <a:gdLst/>
              <a:ahLst/>
              <a:cxnLst/>
              <a:rect l="l" t="t" r="r" b="b"/>
              <a:pathLst>
                <a:path w="24837" h="22028" extrusionOk="0">
                  <a:moveTo>
                    <a:pt x="9109" y="1"/>
                  </a:moveTo>
                  <a:lnTo>
                    <a:pt x="1" y="22027"/>
                  </a:lnTo>
                  <a:lnTo>
                    <a:pt x="24837" y="1"/>
                  </a:lnTo>
                  <a:close/>
                </a:path>
              </a:pathLst>
            </a:custGeom>
            <a:solidFill>
              <a:srgbClr val="E0E0E0"/>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63" name="Google Shape;1440;p37">
              <a:extLst>
                <a:ext uri="{FF2B5EF4-FFF2-40B4-BE49-F238E27FC236}">
                  <a16:creationId xmlns:a16="http://schemas.microsoft.com/office/drawing/2014/main" id="{9E3A6797-66FC-4E80-A6BD-2B2957C4350E}"/>
                </a:ext>
              </a:extLst>
            </p:cNvPr>
            <p:cNvSpPr/>
            <p:nvPr/>
          </p:nvSpPr>
          <p:spPr>
            <a:xfrm>
              <a:off x="7421179" y="1904206"/>
              <a:ext cx="848309" cy="1697009"/>
            </a:xfrm>
            <a:custGeom>
              <a:avLst/>
              <a:gdLst/>
              <a:ahLst/>
              <a:cxnLst/>
              <a:rect l="l" t="t" r="r" b="b"/>
              <a:pathLst>
                <a:path w="23849" h="47709" extrusionOk="0">
                  <a:moveTo>
                    <a:pt x="0" y="0"/>
                  </a:moveTo>
                  <a:lnTo>
                    <a:pt x="0" y="47708"/>
                  </a:lnTo>
                  <a:cubicBezTo>
                    <a:pt x="13097" y="47708"/>
                    <a:pt x="23849" y="37029"/>
                    <a:pt x="23849" y="23860"/>
                  </a:cubicBezTo>
                  <a:cubicBezTo>
                    <a:pt x="23849" y="10680"/>
                    <a:pt x="13097" y="0"/>
                    <a:pt x="0" y="0"/>
                  </a:cubicBezTo>
                  <a:close/>
                </a:path>
              </a:pathLst>
            </a:custGeom>
            <a:solidFill>
              <a:srgbClr val="E0E0E0"/>
            </a:solidFill>
            <a:ln>
              <a:noFill/>
            </a:ln>
          </p:spPr>
          <p:txBody>
            <a:bodyPr spcFirstLastPara="1" wrap="square" lIns="121900" tIns="121900" rIns="121900" bIns="1219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Tx/>
                <a:buNone/>
                <a:tabLst/>
                <a:defRPr/>
              </a:pPr>
              <a:r>
                <a:rPr kumimoji="0" lang="en" sz="2267" b="0" i="0" u="none" strike="noStrike" kern="1200" cap="none" spc="0" normalizeH="0" baseline="0" noProof="0">
                  <a:ln>
                    <a:noFill/>
                  </a:ln>
                  <a:solidFill>
                    <a:srgbClr val="434343"/>
                  </a:solidFill>
                  <a:effectLst/>
                  <a:uLnTx/>
                  <a:uFillTx/>
                  <a:latin typeface="Arial"/>
                  <a:ea typeface="+mn-ea"/>
                  <a:cs typeface="+mn-ea"/>
                  <a:sym typeface="+mn-lt"/>
                </a:rPr>
                <a:t>Jupiter</a:t>
              </a: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grpSp>
    </p:spTree>
    <p:extLst>
      <p:ext uri="{BB962C8B-B14F-4D97-AF65-F5344CB8AC3E}">
        <p14:creationId xmlns:p14="http://schemas.microsoft.com/office/powerpoint/2010/main" val="2169731792"/>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7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Google Shape;1445;p38">
            <a:extLst>
              <a:ext uri="{FF2B5EF4-FFF2-40B4-BE49-F238E27FC236}">
                <a16:creationId xmlns:a16="http://schemas.microsoft.com/office/drawing/2014/main" id="{B86ACD21-C518-4225-A3E1-7923082A14AF}"/>
              </a:ext>
            </a:extLst>
          </p:cNvPr>
          <p:cNvSpPr/>
          <p:nvPr/>
        </p:nvSpPr>
        <p:spPr>
          <a:xfrm>
            <a:off x="1778003" y="3052223"/>
            <a:ext cx="6756400" cy="71200"/>
          </a:xfrm>
          <a:prstGeom prst="rect">
            <a:avLst/>
          </a:prstGeom>
          <a:solidFill>
            <a:schemeClr val="accent1">
              <a:lumMod val="100000"/>
            </a:schemeClr>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3" name="Google Shape;1447;p38">
            <a:extLst>
              <a:ext uri="{FF2B5EF4-FFF2-40B4-BE49-F238E27FC236}">
                <a16:creationId xmlns:a16="http://schemas.microsoft.com/office/drawing/2014/main" id="{A5451112-A1F8-4254-A339-FB318EBF4D47}"/>
              </a:ext>
            </a:extLst>
          </p:cNvPr>
          <p:cNvSpPr/>
          <p:nvPr/>
        </p:nvSpPr>
        <p:spPr>
          <a:xfrm>
            <a:off x="1478784" y="2418790"/>
            <a:ext cx="514800" cy="1324800"/>
          </a:xfrm>
          <a:custGeom>
            <a:avLst/>
            <a:gdLst/>
            <a:ahLst/>
            <a:cxnLst/>
            <a:rect l="l" t="t" r="r" b="b"/>
            <a:pathLst>
              <a:path w="15444" h="39744" extrusionOk="0">
                <a:moveTo>
                  <a:pt x="1" y="1"/>
                </a:moveTo>
                <a:lnTo>
                  <a:pt x="6788" y="19872"/>
                </a:lnTo>
                <a:lnTo>
                  <a:pt x="1" y="39744"/>
                </a:lnTo>
                <a:lnTo>
                  <a:pt x="8657" y="39744"/>
                </a:lnTo>
                <a:lnTo>
                  <a:pt x="15443" y="19872"/>
                </a:lnTo>
                <a:lnTo>
                  <a:pt x="8657" y="1"/>
                </a:ln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grpSp>
        <p:nvGrpSpPr>
          <p:cNvPr id="4" name="Google Shape;1448;p38">
            <a:extLst>
              <a:ext uri="{FF2B5EF4-FFF2-40B4-BE49-F238E27FC236}">
                <a16:creationId xmlns:a16="http://schemas.microsoft.com/office/drawing/2014/main" id="{DC7C3945-7FD2-4187-97E7-2EEA20D23A08}"/>
              </a:ext>
            </a:extLst>
          </p:cNvPr>
          <p:cNvGrpSpPr/>
          <p:nvPr/>
        </p:nvGrpSpPr>
        <p:grpSpPr>
          <a:xfrm>
            <a:off x="9088751" y="2418790"/>
            <a:ext cx="1624467" cy="1324800"/>
            <a:chOff x="6816563" y="1998000"/>
            <a:chExt cx="1218350" cy="993600"/>
          </a:xfrm>
        </p:grpSpPr>
        <p:sp>
          <p:nvSpPr>
            <p:cNvPr id="5" name="Google Shape;1449;p38">
              <a:extLst>
                <a:ext uri="{FF2B5EF4-FFF2-40B4-BE49-F238E27FC236}">
                  <a16:creationId xmlns:a16="http://schemas.microsoft.com/office/drawing/2014/main" id="{52D1F21D-4351-43D9-8390-52470A589835}"/>
                </a:ext>
              </a:extLst>
            </p:cNvPr>
            <p:cNvSpPr/>
            <p:nvPr/>
          </p:nvSpPr>
          <p:spPr>
            <a:xfrm>
              <a:off x="6816563" y="2310325"/>
              <a:ext cx="1035300" cy="370200"/>
            </a:xfrm>
            <a:prstGeom prst="rect">
              <a:avLst/>
            </a:prstGeom>
            <a:solidFill>
              <a:schemeClr val="accent1">
                <a:lumMod val="100000"/>
              </a:schemeClr>
            </a:solidFill>
            <a:ln>
              <a:noFill/>
            </a:ln>
          </p:spPr>
          <p:txBody>
            <a:bodyPr spcFirstLastPara="1" wrap="square" lIns="121900" tIns="121900" rIns="121900" bIns="1219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Tx/>
                <a:buNone/>
                <a:tabLst/>
                <a:defRPr/>
              </a:pPr>
              <a:r>
                <a:rPr kumimoji="0" lang="en" sz="2267" b="0" i="0" u="none" strike="noStrike" kern="1200" cap="none" spc="0" normalizeH="0" baseline="0" noProof="0">
                  <a:ln>
                    <a:noFill/>
                  </a:ln>
                  <a:solidFill>
                    <a:srgbClr val="FFFFFF"/>
                  </a:solidFill>
                  <a:effectLst/>
                  <a:uLnTx/>
                  <a:uFillTx/>
                  <a:latin typeface="Arial"/>
                  <a:ea typeface="+mn-ea"/>
                  <a:cs typeface="+mn-ea"/>
                  <a:sym typeface="+mn-lt"/>
                </a:rPr>
                <a:t>Saturn</a:t>
              </a:r>
              <a:endParaRPr kumimoji="0" sz="2489" b="0" i="0" u="none" strike="noStrike" kern="1200" cap="none" spc="0" normalizeH="0" baseline="0" noProof="0">
                <a:ln>
                  <a:noFill/>
                </a:ln>
                <a:solidFill>
                  <a:srgbClr val="FFFFFF"/>
                </a:solidFill>
                <a:effectLst/>
                <a:uLnTx/>
                <a:uFillTx/>
                <a:latin typeface="Arial"/>
                <a:ea typeface="+mn-ea"/>
                <a:cs typeface="+mn-ea"/>
                <a:sym typeface="+mn-lt"/>
              </a:endParaRPr>
            </a:p>
          </p:txBody>
        </p:sp>
        <p:sp>
          <p:nvSpPr>
            <p:cNvPr id="6" name="Google Shape;1450;p38">
              <a:extLst>
                <a:ext uri="{FF2B5EF4-FFF2-40B4-BE49-F238E27FC236}">
                  <a16:creationId xmlns:a16="http://schemas.microsoft.com/office/drawing/2014/main" id="{87CED2B9-4635-4256-A96D-C21AB1BA43AE}"/>
                </a:ext>
              </a:extLst>
            </p:cNvPr>
            <p:cNvSpPr/>
            <p:nvPr/>
          </p:nvSpPr>
          <p:spPr>
            <a:xfrm>
              <a:off x="7648838" y="1998000"/>
              <a:ext cx="386075" cy="993600"/>
            </a:xfrm>
            <a:custGeom>
              <a:avLst/>
              <a:gdLst/>
              <a:ahLst/>
              <a:cxnLst/>
              <a:rect l="l" t="t" r="r" b="b"/>
              <a:pathLst>
                <a:path w="15443" h="39744" extrusionOk="0">
                  <a:moveTo>
                    <a:pt x="0" y="1"/>
                  </a:moveTo>
                  <a:lnTo>
                    <a:pt x="6787" y="19872"/>
                  </a:lnTo>
                  <a:lnTo>
                    <a:pt x="0" y="39744"/>
                  </a:lnTo>
                  <a:lnTo>
                    <a:pt x="8656" y="39744"/>
                  </a:lnTo>
                  <a:lnTo>
                    <a:pt x="15443" y="19872"/>
                  </a:lnTo>
                  <a:lnTo>
                    <a:pt x="8656" y="1"/>
                  </a:ln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grpSp>
      <p:sp>
        <p:nvSpPr>
          <p:cNvPr id="8" name="Google Shape;1452;p38">
            <a:extLst>
              <a:ext uri="{FF2B5EF4-FFF2-40B4-BE49-F238E27FC236}">
                <a16:creationId xmlns:a16="http://schemas.microsoft.com/office/drawing/2014/main" id="{B630E7E4-50C7-436F-BF22-ACEDB8902045}"/>
              </a:ext>
            </a:extLst>
          </p:cNvPr>
          <p:cNvSpPr/>
          <p:nvPr/>
        </p:nvSpPr>
        <p:spPr>
          <a:xfrm>
            <a:off x="3219762" y="2071524"/>
            <a:ext cx="785033" cy="2019333"/>
          </a:xfrm>
          <a:custGeom>
            <a:avLst/>
            <a:gdLst/>
            <a:ahLst/>
            <a:cxnLst/>
            <a:rect l="l" t="t" r="r" b="b"/>
            <a:pathLst>
              <a:path w="23551" h="60580" extrusionOk="0">
                <a:moveTo>
                  <a:pt x="0" y="1"/>
                </a:moveTo>
                <a:lnTo>
                  <a:pt x="7073" y="20694"/>
                </a:lnTo>
                <a:lnTo>
                  <a:pt x="0" y="30243"/>
                </a:lnTo>
                <a:lnTo>
                  <a:pt x="7085" y="39791"/>
                </a:lnTo>
                <a:lnTo>
                  <a:pt x="7120" y="39756"/>
                </a:lnTo>
                <a:lnTo>
                  <a:pt x="0" y="60580"/>
                </a:lnTo>
                <a:lnTo>
                  <a:pt x="13193" y="60580"/>
                </a:lnTo>
                <a:lnTo>
                  <a:pt x="23551" y="30290"/>
                </a:lnTo>
                <a:lnTo>
                  <a:pt x="13193" y="1"/>
                </a:lnTo>
                <a:close/>
              </a:path>
            </a:pathLst>
          </a:custGeom>
          <a:solidFill>
            <a:schemeClr val="accent1"/>
          </a:solidFill>
          <a:ln>
            <a:noFill/>
          </a:ln>
        </p:spPr>
        <p:txBody>
          <a:bodyPr spcFirstLastPara="1" wrap="square" lIns="121900" tIns="121900" rIns="121900" bIns="1219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Tx/>
              <a:buNone/>
              <a:tabLst/>
              <a:defRPr/>
            </a:pPr>
            <a:r>
              <a:rPr kumimoji="0" lang="en" sz="3200" b="0" i="0" u="none" strike="noStrike" kern="1200" cap="none" spc="0" normalizeH="0" baseline="0" noProof="0">
                <a:ln>
                  <a:noFill/>
                </a:ln>
                <a:solidFill>
                  <a:srgbClr val="FFFFFF"/>
                </a:solidFill>
                <a:effectLst/>
                <a:uLnTx/>
                <a:uFillTx/>
                <a:latin typeface="Arial"/>
                <a:ea typeface="+mn-ea"/>
                <a:cs typeface="+mn-ea"/>
                <a:sym typeface="+mn-lt"/>
              </a:rPr>
              <a:t>03</a:t>
            </a: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9" name="Google Shape;1453;p38">
            <a:extLst>
              <a:ext uri="{FF2B5EF4-FFF2-40B4-BE49-F238E27FC236}">
                <a16:creationId xmlns:a16="http://schemas.microsoft.com/office/drawing/2014/main" id="{C833DB10-7997-4A5E-A4DB-F120395234BA}"/>
              </a:ext>
            </a:extLst>
          </p:cNvPr>
          <p:cNvSpPr txBox="1"/>
          <p:nvPr/>
        </p:nvSpPr>
        <p:spPr>
          <a:xfrm>
            <a:off x="1934151" y="2052624"/>
            <a:ext cx="1285600" cy="796400"/>
          </a:xfrm>
          <a:prstGeom prst="rect">
            <a:avLst/>
          </a:prstGeom>
          <a:noFill/>
          <a:ln>
            <a:noFill/>
          </a:ln>
        </p:spPr>
        <p:txBody>
          <a:bodyPr spcFirstLastPara="1" wrap="square" lIns="121900" tIns="121900" rIns="121900" bIns="12190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 sz="1600" b="0" i="0" u="none" strike="noStrike" kern="1200" cap="none" spc="0" normalizeH="0" baseline="0" noProof="0">
                <a:ln>
                  <a:noFill/>
                </a:ln>
                <a:solidFill>
                  <a:schemeClr val="accent1"/>
                </a:solidFill>
                <a:effectLst/>
                <a:uLnTx/>
                <a:uFillTx/>
                <a:latin typeface="Arial"/>
                <a:ea typeface="+mn-ea"/>
                <a:cs typeface="+mn-ea"/>
                <a:sym typeface="+mn-lt"/>
              </a:rPr>
              <a:t>Venus is the second</a:t>
            </a:r>
            <a:endParaRPr kumimoji="0" sz="1600" b="0" i="0" u="none" strike="noStrike" kern="1200" cap="none" spc="0" normalizeH="0" baseline="0" noProof="0">
              <a:ln>
                <a:noFill/>
              </a:ln>
              <a:solidFill>
                <a:schemeClr val="accent1"/>
              </a:solidFill>
              <a:effectLst/>
              <a:uLnTx/>
              <a:uFillTx/>
              <a:latin typeface="Arial"/>
              <a:ea typeface="+mn-ea"/>
              <a:cs typeface="+mn-ea"/>
              <a:sym typeface="+mn-lt"/>
            </a:endParaRPr>
          </a:p>
        </p:txBody>
      </p:sp>
      <p:sp>
        <p:nvSpPr>
          <p:cNvPr id="10" name="Google Shape;1454;p38">
            <a:extLst>
              <a:ext uri="{FF2B5EF4-FFF2-40B4-BE49-F238E27FC236}">
                <a16:creationId xmlns:a16="http://schemas.microsoft.com/office/drawing/2014/main" id="{C25C1CBA-F681-4ACD-B6C8-FBB5F47F824B}"/>
              </a:ext>
            </a:extLst>
          </p:cNvPr>
          <p:cNvSpPr txBox="1"/>
          <p:nvPr/>
        </p:nvSpPr>
        <p:spPr>
          <a:xfrm>
            <a:off x="1934151" y="3326624"/>
            <a:ext cx="1285600" cy="796400"/>
          </a:xfrm>
          <a:prstGeom prst="rect">
            <a:avLst/>
          </a:prstGeom>
          <a:noFill/>
          <a:ln>
            <a:noFill/>
          </a:ln>
        </p:spPr>
        <p:txBody>
          <a:bodyPr spcFirstLastPara="1" wrap="square" lIns="121900" tIns="121900" rIns="121900" bIns="12190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 sz="1600" b="0" i="0" u="none" strike="noStrike" kern="1200" cap="none" spc="0" normalizeH="0" baseline="0" noProof="0">
                <a:ln>
                  <a:noFill/>
                </a:ln>
                <a:solidFill>
                  <a:schemeClr val="accent1"/>
                </a:solidFill>
                <a:effectLst/>
                <a:uLnTx/>
                <a:uFillTx/>
                <a:latin typeface="Arial"/>
                <a:ea typeface="+mn-ea"/>
                <a:cs typeface="+mn-ea"/>
                <a:sym typeface="+mn-lt"/>
              </a:rPr>
              <a:t>Jupiter is a gas giant</a:t>
            </a:r>
            <a:endParaRPr kumimoji="0" sz="1600" b="0" i="0" u="none" strike="noStrike" kern="1200" cap="none" spc="0" normalizeH="0" baseline="0" noProof="0">
              <a:ln>
                <a:noFill/>
              </a:ln>
              <a:solidFill>
                <a:schemeClr val="accent1"/>
              </a:solidFill>
              <a:effectLst/>
              <a:uLnTx/>
              <a:uFillTx/>
              <a:latin typeface="Arial"/>
              <a:ea typeface="+mn-ea"/>
              <a:cs typeface="+mn-ea"/>
              <a:sym typeface="+mn-lt"/>
            </a:endParaRPr>
          </a:p>
        </p:txBody>
      </p:sp>
      <p:grpSp>
        <p:nvGrpSpPr>
          <p:cNvPr id="11" name="Google Shape;1455;p38">
            <a:extLst>
              <a:ext uri="{FF2B5EF4-FFF2-40B4-BE49-F238E27FC236}">
                <a16:creationId xmlns:a16="http://schemas.microsoft.com/office/drawing/2014/main" id="{3C9053CE-B78D-4359-81F0-CE5F9EDC00E4}"/>
              </a:ext>
            </a:extLst>
          </p:cNvPr>
          <p:cNvGrpSpPr/>
          <p:nvPr/>
        </p:nvGrpSpPr>
        <p:grpSpPr>
          <a:xfrm>
            <a:off x="3188015" y="4294064"/>
            <a:ext cx="496999" cy="494545"/>
            <a:chOff x="-42994575" y="3950300"/>
            <a:chExt cx="319025" cy="317450"/>
          </a:xfrm>
          <a:solidFill>
            <a:schemeClr val="accent1"/>
          </a:solidFill>
        </p:grpSpPr>
        <p:sp>
          <p:nvSpPr>
            <p:cNvPr id="12" name="Google Shape;1456;p38">
              <a:extLst>
                <a:ext uri="{FF2B5EF4-FFF2-40B4-BE49-F238E27FC236}">
                  <a16:creationId xmlns:a16="http://schemas.microsoft.com/office/drawing/2014/main" id="{5CA97C40-CEBC-4C38-A729-CE4D8A7996D2}"/>
                </a:ext>
              </a:extLst>
            </p:cNvPr>
            <p:cNvSpPr/>
            <p:nvPr/>
          </p:nvSpPr>
          <p:spPr>
            <a:xfrm>
              <a:off x="-42930775" y="4225200"/>
              <a:ext cx="191425" cy="42550"/>
            </a:xfrm>
            <a:custGeom>
              <a:avLst/>
              <a:gdLst/>
              <a:ahLst/>
              <a:cxnLst/>
              <a:rect l="l" t="t" r="r" b="b"/>
              <a:pathLst>
                <a:path w="7657" h="1702" extrusionOk="0">
                  <a:moveTo>
                    <a:pt x="442" y="0"/>
                  </a:moveTo>
                  <a:cubicBezTo>
                    <a:pt x="190" y="0"/>
                    <a:pt x="1" y="221"/>
                    <a:pt x="1" y="441"/>
                  </a:cubicBezTo>
                  <a:lnTo>
                    <a:pt x="1" y="1292"/>
                  </a:lnTo>
                  <a:cubicBezTo>
                    <a:pt x="1" y="1512"/>
                    <a:pt x="190" y="1701"/>
                    <a:pt x="442" y="1701"/>
                  </a:cubicBezTo>
                  <a:lnTo>
                    <a:pt x="7215" y="1701"/>
                  </a:lnTo>
                  <a:cubicBezTo>
                    <a:pt x="7499" y="1701"/>
                    <a:pt x="7656" y="1512"/>
                    <a:pt x="7656" y="1292"/>
                  </a:cubicBezTo>
                  <a:lnTo>
                    <a:pt x="7656" y="441"/>
                  </a:lnTo>
                  <a:cubicBezTo>
                    <a:pt x="7656" y="221"/>
                    <a:pt x="7436" y="0"/>
                    <a:pt x="7215" y="0"/>
                  </a:cubicBezTo>
                  <a:close/>
                </a:path>
              </a:pathLst>
            </a:custGeom>
            <a:grp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13" name="Google Shape;1457;p38">
              <a:extLst>
                <a:ext uri="{FF2B5EF4-FFF2-40B4-BE49-F238E27FC236}">
                  <a16:creationId xmlns:a16="http://schemas.microsoft.com/office/drawing/2014/main" id="{63014498-3FAC-4129-BB6A-A16FD9645351}"/>
                </a:ext>
              </a:extLst>
            </p:cNvPr>
            <p:cNvSpPr/>
            <p:nvPr/>
          </p:nvSpPr>
          <p:spPr>
            <a:xfrm>
              <a:off x="-42908725" y="4163750"/>
              <a:ext cx="148900" cy="42550"/>
            </a:xfrm>
            <a:custGeom>
              <a:avLst/>
              <a:gdLst/>
              <a:ahLst/>
              <a:cxnLst/>
              <a:rect l="l" t="t" r="r" b="b"/>
              <a:pathLst>
                <a:path w="5956" h="1702" extrusionOk="0">
                  <a:moveTo>
                    <a:pt x="442" y="1"/>
                  </a:moveTo>
                  <a:cubicBezTo>
                    <a:pt x="190" y="1"/>
                    <a:pt x="1" y="190"/>
                    <a:pt x="1" y="410"/>
                  </a:cubicBezTo>
                  <a:lnTo>
                    <a:pt x="1" y="1261"/>
                  </a:lnTo>
                  <a:cubicBezTo>
                    <a:pt x="1" y="1481"/>
                    <a:pt x="190" y="1702"/>
                    <a:pt x="442" y="1702"/>
                  </a:cubicBezTo>
                  <a:lnTo>
                    <a:pt x="5514" y="1702"/>
                  </a:lnTo>
                  <a:cubicBezTo>
                    <a:pt x="5735" y="1702"/>
                    <a:pt x="5955" y="1481"/>
                    <a:pt x="5955" y="1261"/>
                  </a:cubicBezTo>
                  <a:lnTo>
                    <a:pt x="5955" y="410"/>
                  </a:lnTo>
                  <a:cubicBezTo>
                    <a:pt x="5955" y="190"/>
                    <a:pt x="5735" y="1"/>
                    <a:pt x="5514" y="1"/>
                  </a:cubicBezTo>
                  <a:close/>
                </a:path>
              </a:pathLst>
            </a:custGeom>
            <a:grp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14" name="Google Shape;1458;p38">
              <a:extLst>
                <a:ext uri="{FF2B5EF4-FFF2-40B4-BE49-F238E27FC236}">
                  <a16:creationId xmlns:a16="http://schemas.microsoft.com/office/drawing/2014/main" id="{594A70BA-316A-4899-A4CA-8CEB0D7B3846}"/>
                </a:ext>
              </a:extLst>
            </p:cNvPr>
            <p:cNvSpPr/>
            <p:nvPr/>
          </p:nvSpPr>
          <p:spPr>
            <a:xfrm>
              <a:off x="-42994575" y="3950300"/>
              <a:ext cx="319025" cy="211125"/>
            </a:xfrm>
            <a:custGeom>
              <a:avLst/>
              <a:gdLst/>
              <a:ahLst/>
              <a:cxnLst/>
              <a:rect l="l" t="t" r="r" b="b"/>
              <a:pathLst>
                <a:path w="12761" h="8445" extrusionOk="0">
                  <a:moveTo>
                    <a:pt x="6428" y="852"/>
                  </a:moveTo>
                  <a:cubicBezTo>
                    <a:pt x="6648" y="852"/>
                    <a:pt x="6806" y="1009"/>
                    <a:pt x="6869" y="1261"/>
                  </a:cubicBezTo>
                  <a:lnTo>
                    <a:pt x="6869" y="1324"/>
                  </a:lnTo>
                  <a:cubicBezTo>
                    <a:pt x="6806" y="1513"/>
                    <a:pt x="6648" y="1702"/>
                    <a:pt x="6428" y="1702"/>
                  </a:cubicBezTo>
                  <a:cubicBezTo>
                    <a:pt x="6176" y="1702"/>
                    <a:pt x="6018" y="1576"/>
                    <a:pt x="5987" y="1324"/>
                  </a:cubicBezTo>
                  <a:lnTo>
                    <a:pt x="5987" y="1261"/>
                  </a:lnTo>
                  <a:cubicBezTo>
                    <a:pt x="6018" y="1041"/>
                    <a:pt x="6176" y="852"/>
                    <a:pt x="6428" y="852"/>
                  </a:cubicBezTo>
                  <a:close/>
                  <a:moveTo>
                    <a:pt x="2112" y="2742"/>
                  </a:moveTo>
                  <a:lnTo>
                    <a:pt x="3340" y="6396"/>
                  </a:lnTo>
                  <a:lnTo>
                    <a:pt x="914" y="6396"/>
                  </a:lnTo>
                  <a:lnTo>
                    <a:pt x="2112" y="2742"/>
                  </a:lnTo>
                  <a:close/>
                  <a:moveTo>
                    <a:pt x="10681" y="2742"/>
                  </a:moveTo>
                  <a:lnTo>
                    <a:pt x="11878" y="6396"/>
                  </a:lnTo>
                  <a:lnTo>
                    <a:pt x="9452" y="6396"/>
                  </a:lnTo>
                  <a:lnTo>
                    <a:pt x="10681" y="2742"/>
                  </a:lnTo>
                  <a:close/>
                  <a:moveTo>
                    <a:pt x="6333" y="1"/>
                  </a:moveTo>
                  <a:cubicBezTo>
                    <a:pt x="5798" y="1"/>
                    <a:pt x="5325" y="347"/>
                    <a:pt x="5168" y="852"/>
                  </a:cubicBezTo>
                  <a:lnTo>
                    <a:pt x="1292" y="852"/>
                  </a:lnTo>
                  <a:cubicBezTo>
                    <a:pt x="1103" y="852"/>
                    <a:pt x="914" y="1009"/>
                    <a:pt x="883" y="1198"/>
                  </a:cubicBezTo>
                  <a:cubicBezTo>
                    <a:pt x="820" y="1482"/>
                    <a:pt x="1040" y="1702"/>
                    <a:pt x="1292" y="1702"/>
                  </a:cubicBezTo>
                  <a:lnTo>
                    <a:pt x="1576" y="1702"/>
                  </a:lnTo>
                  <a:cubicBezTo>
                    <a:pt x="1" y="6491"/>
                    <a:pt x="32" y="6333"/>
                    <a:pt x="32" y="6459"/>
                  </a:cubicBezTo>
                  <a:cubicBezTo>
                    <a:pt x="64" y="7562"/>
                    <a:pt x="1009" y="8444"/>
                    <a:pt x="2112" y="8444"/>
                  </a:cubicBezTo>
                  <a:cubicBezTo>
                    <a:pt x="3277" y="8444"/>
                    <a:pt x="4159" y="7562"/>
                    <a:pt x="4159" y="6459"/>
                  </a:cubicBezTo>
                  <a:cubicBezTo>
                    <a:pt x="4159" y="6333"/>
                    <a:pt x="4222" y="6491"/>
                    <a:pt x="2647" y="1702"/>
                  </a:cubicBezTo>
                  <a:lnTo>
                    <a:pt x="5105" y="1702"/>
                  </a:lnTo>
                  <a:lnTo>
                    <a:pt x="5105" y="7342"/>
                  </a:lnTo>
                  <a:cubicBezTo>
                    <a:pt x="5105" y="7594"/>
                    <a:pt x="5325" y="7783"/>
                    <a:pt x="5546" y="7783"/>
                  </a:cubicBezTo>
                  <a:lnTo>
                    <a:pt x="7247" y="7783"/>
                  </a:lnTo>
                  <a:cubicBezTo>
                    <a:pt x="7499" y="7783"/>
                    <a:pt x="7688" y="7594"/>
                    <a:pt x="7688" y="7342"/>
                  </a:cubicBezTo>
                  <a:lnTo>
                    <a:pt x="7688" y="1702"/>
                  </a:lnTo>
                  <a:lnTo>
                    <a:pt x="10177" y="1702"/>
                  </a:lnTo>
                  <a:cubicBezTo>
                    <a:pt x="8602" y="6491"/>
                    <a:pt x="8633" y="6333"/>
                    <a:pt x="8633" y="6459"/>
                  </a:cubicBezTo>
                  <a:cubicBezTo>
                    <a:pt x="8665" y="7562"/>
                    <a:pt x="9578" y="8444"/>
                    <a:pt x="10681" y="8444"/>
                  </a:cubicBezTo>
                  <a:cubicBezTo>
                    <a:pt x="11815" y="8444"/>
                    <a:pt x="12729" y="7562"/>
                    <a:pt x="12729" y="6459"/>
                  </a:cubicBezTo>
                  <a:cubicBezTo>
                    <a:pt x="12729" y="6333"/>
                    <a:pt x="12760" y="6491"/>
                    <a:pt x="11185" y="1702"/>
                  </a:cubicBezTo>
                  <a:lnTo>
                    <a:pt x="11437" y="1702"/>
                  </a:lnTo>
                  <a:cubicBezTo>
                    <a:pt x="11626" y="1702"/>
                    <a:pt x="11815" y="1576"/>
                    <a:pt x="11847" y="1356"/>
                  </a:cubicBezTo>
                  <a:cubicBezTo>
                    <a:pt x="11910" y="1104"/>
                    <a:pt x="11689" y="852"/>
                    <a:pt x="11437" y="852"/>
                  </a:cubicBezTo>
                  <a:lnTo>
                    <a:pt x="7530" y="852"/>
                  </a:lnTo>
                  <a:cubicBezTo>
                    <a:pt x="7373" y="347"/>
                    <a:pt x="6900" y="1"/>
                    <a:pt x="6333" y="1"/>
                  </a:cubicBezTo>
                  <a:close/>
                </a:path>
              </a:pathLst>
            </a:custGeom>
            <a:grp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grpSp>
      <p:grpSp>
        <p:nvGrpSpPr>
          <p:cNvPr id="15" name="Google Shape;1459;p38">
            <a:extLst>
              <a:ext uri="{FF2B5EF4-FFF2-40B4-BE49-F238E27FC236}">
                <a16:creationId xmlns:a16="http://schemas.microsoft.com/office/drawing/2014/main" id="{F7D86F43-06EA-4959-B86A-7E5559E98939}"/>
              </a:ext>
            </a:extLst>
          </p:cNvPr>
          <p:cNvGrpSpPr/>
          <p:nvPr/>
        </p:nvGrpSpPr>
        <p:grpSpPr>
          <a:xfrm>
            <a:off x="4302600" y="1759190"/>
            <a:ext cx="2233456" cy="3339619"/>
            <a:chOff x="3226950" y="1503300"/>
            <a:chExt cx="1675092" cy="2504714"/>
          </a:xfrm>
        </p:grpSpPr>
        <p:sp>
          <p:nvSpPr>
            <p:cNvPr id="16" name="Google Shape;1460;p38">
              <a:extLst>
                <a:ext uri="{FF2B5EF4-FFF2-40B4-BE49-F238E27FC236}">
                  <a16:creationId xmlns:a16="http://schemas.microsoft.com/office/drawing/2014/main" id="{0C2BF7D2-9D19-42A8-A8E9-49601CD1CF47}"/>
                </a:ext>
              </a:extLst>
            </p:cNvPr>
            <p:cNvSpPr/>
            <p:nvPr/>
          </p:nvSpPr>
          <p:spPr>
            <a:xfrm>
              <a:off x="4129892" y="1503300"/>
              <a:ext cx="772150" cy="1983000"/>
            </a:xfrm>
            <a:custGeom>
              <a:avLst/>
              <a:gdLst/>
              <a:ahLst/>
              <a:cxnLst/>
              <a:rect l="l" t="t" r="r" b="b"/>
              <a:pathLst>
                <a:path w="30886" h="79320" extrusionOk="0">
                  <a:moveTo>
                    <a:pt x="1" y="1"/>
                  </a:moveTo>
                  <a:lnTo>
                    <a:pt x="10324" y="30135"/>
                  </a:lnTo>
                  <a:lnTo>
                    <a:pt x="3275" y="39625"/>
                  </a:lnTo>
                  <a:lnTo>
                    <a:pt x="10324" y="49149"/>
                  </a:lnTo>
                  <a:lnTo>
                    <a:pt x="1" y="79320"/>
                  </a:lnTo>
                  <a:lnTo>
                    <a:pt x="17313" y="79320"/>
                  </a:lnTo>
                  <a:lnTo>
                    <a:pt x="30886" y="39660"/>
                  </a:lnTo>
                  <a:lnTo>
                    <a:pt x="17313" y="1"/>
                  </a:lnTo>
                  <a:close/>
                </a:path>
              </a:pathLst>
            </a:custGeom>
            <a:solidFill>
              <a:schemeClr val="accent1"/>
            </a:solidFill>
            <a:ln>
              <a:noFill/>
            </a:ln>
          </p:spPr>
          <p:txBody>
            <a:bodyPr spcFirstLastPara="1" wrap="square" lIns="121900" tIns="121900" rIns="121900" bIns="1219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Tx/>
                <a:buNone/>
                <a:tabLst/>
                <a:defRPr/>
              </a:pPr>
              <a:r>
                <a:rPr kumimoji="0" lang="en" sz="3200" b="0" i="0" u="none" strike="noStrike" kern="1200" cap="none" spc="0" normalizeH="0" baseline="0" noProof="0">
                  <a:ln>
                    <a:noFill/>
                  </a:ln>
                  <a:solidFill>
                    <a:srgbClr val="FFFFFF"/>
                  </a:solidFill>
                  <a:effectLst/>
                  <a:uLnTx/>
                  <a:uFillTx/>
                  <a:latin typeface="Arial"/>
                  <a:ea typeface="+mn-ea"/>
                  <a:cs typeface="+mn-ea"/>
                  <a:sym typeface="+mn-lt"/>
                </a:rPr>
                <a:t>02</a:t>
              </a: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17" name="Google Shape;1461;p38">
              <a:extLst>
                <a:ext uri="{FF2B5EF4-FFF2-40B4-BE49-F238E27FC236}">
                  <a16:creationId xmlns:a16="http://schemas.microsoft.com/office/drawing/2014/main" id="{7B258F18-65E1-4DDF-9498-B3AF8CB9DD3F}"/>
                </a:ext>
              </a:extLst>
            </p:cNvPr>
            <p:cNvSpPr txBox="1"/>
            <p:nvPr/>
          </p:nvSpPr>
          <p:spPr>
            <a:xfrm>
              <a:off x="3226950" y="1723375"/>
              <a:ext cx="964200" cy="597300"/>
            </a:xfrm>
            <a:prstGeom prst="rect">
              <a:avLst/>
            </a:prstGeom>
            <a:noFill/>
            <a:ln>
              <a:noFill/>
            </a:ln>
          </p:spPr>
          <p:txBody>
            <a:bodyPr spcFirstLastPara="1" wrap="square" lIns="121900" tIns="121900" rIns="121900" bIns="12190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 sz="1600" b="0" i="0" u="none" strike="noStrike" kern="1200" cap="none" spc="0" normalizeH="0" baseline="0" noProof="0">
                  <a:ln>
                    <a:noFill/>
                  </a:ln>
                  <a:solidFill>
                    <a:schemeClr val="accent1"/>
                  </a:solidFill>
                  <a:effectLst/>
                  <a:uLnTx/>
                  <a:uFillTx/>
                  <a:latin typeface="Arial"/>
                  <a:ea typeface="+mn-ea"/>
                  <a:cs typeface="+mn-ea"/>
                  <a:sym typeface="+mn-lt"/>
                </a:rPr>
                <a:t>Earth harbors life</a:t>
              </a:r>
              <a:endParaRPr kumimoji="0" sz="1600" b="0" i="0" u="none" strike="noStrike" kern="1200" cap="none" spc="0" normalizeH="0" baseline="0" noProof="0">
                <a:ln>
                  <a:noFill/>
                </a:ln>
                <a:solidFill>
                  <a:schemeClr val="accent1"/>
                </a:solidFill>
                <a:effectLst/>
                <a:uLnTx/>
                <a:uFillTx/>
                <a:latin typeface="Arial"/>
                <a:ea typeface="+mn-ea"/>
                <a:cs typeface="+mn-ea"/>
                <a:sym typeface="+mn-lt"/>
              </a:endParaRPr>
            </a:p>
          </p:txBody>
        </p:sp>
        <p:sp>
          <p:nvSpPr>
            <p:cNvPr id="18" name="Google Shape;1462;p38">
              <a:extLst>
                <a:ext uri="{FF2B5EF4-FFF2-40B4-BE49-F238E27FC236}">
                  <a16:creationId xmlns:a16="http://schemas.microsoft.com/office/drawing/2014/main" id="{20A71D1C-76EE-42B0-AF5F-323FBEB293CB}"/>
                </a:ext>
              </a:extLst>
            </p:cNvPr>
            <p:cNvSpPr txBox="1"/>
            <p:nvPr/>
          </p:nvSpPr>
          <p:spPr>
            <a:xfrm>
              <a:off x="3226950" y="2678875"/>
              <a:ext cx="964200" cy="597300"/>
            </a:xfrm>
            <a:prstGeom prst="rect">
              <a:avLst/>
            </a:prstGeom>
            <a:noFill/>
            <a:ln>
              <a:noFill/>
            </a:ln>
          </p:spPr>
          <p:txBody>
            <a:bodyPr spcFirstLastPara="1" wrap="square" lIns="121900" tIns="121900" rIns="121900" bIns="12190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 sz="1600" b="0" i="0" u="none" strike="noStrike" kern="1200" cap="none" spc="0" normalizeH="0" baseline="0" noProof="0">
                  <a:ln>
                    <a:noFill/>
                  </a:ln>
                  <a:solidFill>
                    <a:schemeClr val="accent1"/>
                  </a:solidFill>
                  <a:effectLst/>
                  <a:uLnTx/>
                  <a:uFillTx/>
                  <a:latin typeface="Arial"/>
                  <a:ea typeface="+mn-ea"/>
                  <a:cs typeface="+mn-ea"/>
                  <a:sym typeface="+mn-lt"/>
                </a:rPr>
                <a:t>The Sun is a star</a:t>
              </a:r>
              <a:endParaRPr kumimoji="0" sz="1600" b="0" i="0" u="none" strike="noStrike" kern="1200" cap="none" spc="0" normalizeH="0" baseline="0" noProof="0">
                <a:ln>
                  <a:noFill/>
                </a:ln>
                <a:solidFill>
                  <a:schemeClr val="accent1"/>
                </a:solidFill>
                <a:effectLst/>
                <a:uLnTx/>
                <a:uFillTx/>
                <a:latin typeface="Arial"/>
                <a:ea typeface="+mn-ea"/>
                <a:cs typeface="+mn-ea"/>
                <a:sym typeface="+mn-lt"/>
              </a:endParaRPr>
            </a:p>
          </p:txBody>
        </p:sp>
        <p:sp>
          <p:nvSpPr>
            <p:cNvPr id="19" name="Google Shape;1463;p38">
              <a:extLst>
                <a:ext uri="{FF2B5EF4-FFF2-40B4-BE49-F238E27FC236}">
                  <a16:creationId xmlns:a16="http://schemas.microsoft.com/office/drawing/2014/main" id="{45D05A1D-7AD7-4DB8-B196-864C5E55BE60}"/>
                </a:ext>
              </a:extLst>
            </p:cNvPr>
            <p:cNvSpPr/>
            <p:nvPr/>
          </p:nvSpPr>
          <p:spPr>
            <a:xfrm>
              <a:off x="4155883" y="3638712"/>
              <a:ext cx="371814" cy="369302"/>
            </a:xfrm>
            <a:custGeom>
              <a:avLst/>
              <a:gdLst/>
              <a:ahLst/>
              <a:cxnLst/>
              <a:rect l="l" t="t" r="r" b="b"/>
              <a:pathLst>
                <a:path w="12729" h="12643" extrusionOk="0">
                  <a:moveTo>
                    <a:pt x="6365" y="2395"/>
                  </a:moveTo>
                  <a:cubicBezTo>
                    <a:pt x="7026" y="2395"/>
                    <a:pt x="7562" y="2962"/>
                    <a:pt x="7562" y="3655"/>
                  </a:cubicBezTo>
                  <a:cubicBezTo>
                    <a:pt x="7562" y="4348"/>
                    <a:pt x="7026" y="4884"/>
                    <a:pt x="6365" y="4884"/>
                  </a:cubicBezTo>
                  <a:cubicBezTo>
                    <a:pt x="5672" y="4884"/>
                    <a:pt x="5136" y="4348"/>
                    <a:pt x="5136" y="3655"/>
                  </a:cubicBezTo>
                  <a:cubicBezTo>
                    <a:pt x="5073" y="2962"/>
                    <a:pt x="5672" y="2395"/>
                    <a:pt x="6365" y="2395"/>
                  </a:cubicBezTo>
                  <a:close/>
                  <a:moveTo>
                    <a:pt x="6806" y="5640"/>
                  </a:moveTo>
                  <a:lnTo>
                    <a:pt x="8349" y="8192"/>
                  </a:lnTo>
                  <a:lnTo>
                    <a:pt x="7530" y="8192"/>
                  </a:lnTo>
                  <a:cubicBezTo>
                    <a:pt x="7373" y="7719"/>
                    <a:pt x="6900" y="7373"/>
                    <a:pt x="6333" y="7373"/>
                  </a:cubicBezTo>
                  <a:cubicBezTo>
                    <a:pt x="5798" y="7373"/>
                    <a:pt x="5357" y="7719"/>
                    <a:pt x="5167" y="8192"/>
                  </a:cubicBezTo>
                  <a:lnTo>
                    <a:pt x="4285" y="8192"/>
                  </a:lnTo>
                  <a:lnTo>
                    <a:pt x="5829" y="5640"/>
                  </a:lnTo>
                  <a:cubicBezTo>
                    <a:pt x="5987" y="5671"/>
                    <a:pt x="6144" y="5734"/>
                    <a:pt x="6365" y="5734"/>
                  </a:cubicBezTo>
                  <a:cubicBezTo>
                    <a:pt x="6491" y="5734"/>
                    <a:pt x="6680" y="5671"/>
                    <a:pt x="6806" y="5640"/>
                  </a:cubicBezTo>
                  <a:close/>
                  <a:moveTo>
                    <a:pt x="6365" y="8192"/>
                  </a:moveTo>
                  <a:cubicBezTo>
                    <a:pt x="6585" y="8192"/>
                    <a:pt x="6743" y="8412"/>
                    <a:pt x="6743" y="8633"/>
                  </a:cubicBezTo>
                  <a:cubicBezTo>
                    <a:pt x="6743" y="8822"/>
                    <a:pt x="6585" y="9042"/>
                    <a:pt x="6365" y="9042"/>
                  </a:cubicBezTo>
                  <a:cubicBezTo>
                    <a:pt x="6113" y="9042"/>
                    <a:pt x="5955" y="8822"/>
                    <a:pt x="5955" y="8633"/>
                  </a:cubicBezTo>
                  <a:cubicBezTo>
                    <a:pt x="5955" y="8412"/>
                    <a:pt x="6144" y="8255"/>
                    <a:pt x="6365" y="8192"/>
                  </a:cubicBezTo>
                  <a:close/>
                  <a:moveTo>
                    <a:pt x="6428" y="0"/>
                  </a:moveTo>
                  <a:cubicBezTo>
                    <a:pt x="5766" y="0"/>
                    <a:pt x="5199" y="568"/>
                    <a:pt x="5199" y="1229"/>
                  </a:cubicBezTo>
                  <a:lnTo>
                    <a:pt x="5199" y="2080"/>
                  </a:lnTo>
                  <a:cubicBezTo>
                    <a:pt x="4695" y="2489"/>
                    <a:pt x="4380" y="3025"/>
                    <a:pt x="4380" y="3718"/>
                  </a:cubicBezTo>
                  <a:cubicBezTo>
                    <a:pt x="4380" y="4065"/>
                    <a:pt x="4443" y="4380"/>
                    <a:pt x="4600" y="4695"/>
                  </a:cubicBezTo>
                  <a:lnTo>
                    <a:pt x="2458" y="8286"/>
                  </a:lnTo>
                  <a:lnTo>
                    <a:pt x="505" y="8286"/>
                  </a:lnTo>
                  <a:cubicBezTo>
                    <a:pt x="284" y="8286"/>
                    <a:pt x="95" y="8475"/>
                    <a:pt x="95" y="8664"/>
                  </a:cubicBezTo>
                  <a:cubicBezTo>
                    <a:pt x="1" y="8822"/>
                    <a:pt x="190" y="9042"/>
                    <a:pt x="410" y="9042"/>
                  </a:cubicBezTo>
                  <a:lnTo>
                    <a:pt x="1859" y="9042"/>
                  </a:lnTo>
                  <a:cubicBezTo>
                    <a:pt x="1261" y="9987"/>
                    <a:pt x="631" y="10775"/>
                    <a:pt x="631" y="11437"/>
                  </a:cubicBezTo>
                  <a:cubicBezTo>
                    <a:pt x="631" y="12108"/>
                    <a:pt x="1021" y="12642"/>
                    <a:pt x="1366" y="12642"/>
                  </a:cubicBezTo>
                  <a:cubicBezTo>
                    <a:pt x="1491" y="12642"/>
                    <a:pt x="1610" y="12572"/>
                    <a:pt x="1702" y="12413"/>
                  </a:cubicBezTo>
                  <a:lnTo>
                    <a:pt x="3781" y="9074"/>
                  </a:lnTo>
                  <a:lnTo>
                    <a:pt x="5167" y="9074"/>
                  </a:lnTo>
                  <a:cubicBezTo>
                    <a:pt x="5325" y="9546"/>
                    <a:pt x="5798" y="9893"/>
                    <a:pt x="6333" y="9893"/>
                  </a:cubicBezTo>
                  <a:cubicBezTo>
                    <a:pt x="6900" y="9893"/>
                    <a:pt x="7341" y="9546"/>
                    <a:pt x="7530" y="9074"/>
                  </a:cubicBezTo>
                  <a:lnTo>
                    <a:pt x="8854" y="9074"/>
                  </a:lnTo>
                  <a:lnTo>
                    <a:pt x="10964" y="12413"/>
                  </a:lnTo>
                  <a:cubicBezTo>
                    <a:pt x="11056" y="12572"/>
                    <a:pt x="11173" y="12642"/>
                    <a:pt x="11295" y="12642"/>
                  </a:cubicBezTo>
                  <a:cubicBezTo>
                    <a:pt x="11630" y="12642"/>
                    <a:pt x="12004" y="12108"/>
                    <a:pt x="12004" y="11437"/>
                  </a:cubicBezTo>
                  <a:cubicBezTo>
                    <a:pt x="12004" y="10775"/>
                    <a:pt x="11374" y="9987"/>
                    <a:pt x="10807" y="9042"/>
                  </a:cubicBezTo>
                  <a:lnTo>
                    <a:pt x="12288" y="9042"/>
                  </a:lnTo>
                  <a:cubicBezTo>
                    <a:pt x="12540" y="9042"/>
                    <a:pt x="12729" y="8822"/>
                    <a:pt x="12729" y="8633"/>
                  </a:cubicBezTo>
                  <a:cubicBezTo>
                    <a:pt x="12729" y="8412"/>
                    <a:pt x="12540" y="8255"/>
                    <a:pt x="12288" y="8255"/>
                  </a:cubicBezTo>
                  <a:lnTo>
                    <a:pt x="10334" y="8255"/>
                  </a:lnTo>
                  <a:lnTo>
                    <a:pt x="8192" y="4695"/>
                  </a:lnTo>
                  <a:cubicBezTo>
                    <a:pt x="8349" y="4380"/>
                    <a:pt x="8475" y="4065"/>
                    <a:pt x="8475" y="3718"/>
                  </a:cubicBezTo>
                  <a:cubicBezTo>
                    <a:pt x="8475" y="3056"/>
                    <a:pt x="8160" y="2458"/>
                    <a:pt x="7656" y="2080"/>
                  </a:cubicBezTo>
                  <a:lnTo>
                    <a:pt x="7656" y="1229"/>
                  </a:lnTo>
                  <a:cubicBezTo>
                    <a:pt x="7656" y="568"/>
                    <a:pt x="7089" y="0"/>
                    <a:pt x="6428" y="0"/>
                  </a:cubicBezTo>
                  <a:close/>
                </a:path>
              </a:pathLst>
            </a:custGeom>
            <a:solidFill>
              <a:schemeClr val="accent1">
                <a:lumMod val="100000"/>
              </a:schemeClr>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grpSp>
      <p:grpSp>
        <p:nvGrpSpPr>
          <p:cNvPr id="20" name="Google Shape;1464;p38">
            <a:extLst>
              <a:ext uri="{FF2B5EF4-FFF2-40B4-BE49-F238E27FC236}">
                <a16:creationId xmlns:a16="http://schemas.microsoft.com/office/drawing/2014/main" id="{C8845C8D-5839-496E-B30F-B1D402C2D175}"/>
              </a:ext>
            </a:extLst>
          </p:cNvPr>
          <p:cNvGrpSpPr/>
          <p:nvPr/>
        </p:nvGrpSpPr>
        <p:grpSpPr>
          <a:xfrm>
            <a:off x="6833885" y="1426624"/>
            <a:ext cx="2346300" cy="4001129"/>
            <a:chOff x="5125413" y="1253875"/>
            <a:chExt cx="1759725" cy="3000847"/>
          </a:xfrm>
        </p:grpSpPr>
        <p:sp>
          <p:nvSpPr>
            <p:cNvPr id="21" name="Google Shape;1465;p38">
              <a:extLst>
                <a:ext uri="{FF2B5EF4-FFF2-40B4-BE49-F238E27FC236}">
                  <a16:creationId xmlns:a16="http://schemas.microsoft.com/office/drawing/2014/main" id="{EC64787F-96AC-48F1-A2AA-BA44E3E877A7}"/>
                </a:ext>
              </a:extLst>
            </p:cNvPr>
            <p:cNvSpPr/>
            <p:nvPr/>
          </p:nvSpPr>
          <p:spPr>
            <a:xfrm>
              <a:off x="5919813" y="1253875"/>
              <a:ext cx="965325" cy="2478000"/>
            </a:xfrm>
            <a:custGeom>
              <a:avLst/>
              <a:gdLst/>
              <a:ahLst/>
              <a:cxnLst/>
              <a:rect l="l" t="t" r="r" b="b"/>
              <a:pathLst>
                <a:path w="38613" h="99120" extrusionOk="0">
                  <a:moveTo>
                    <a:pt x="1" y="0"/>
                  </a:moveTo>
                  <a:lnTo>
                    <a:pt x="13741" y="40148"/>
                  </a:lnTo>
                  <a:lnTo>
                    <a:pt x="6740" y="49590"/>
                  </a:lnTo>
                  <a:lnTo>
                    <a:pt x="13741" y="58996"/>
                  </a:lnTo>
                  <a:lnTo>
                    <a:pt x="1" y="99119"/>
                  </a:lnTo>
                  <a:lnTo>
                    <a:pt x="21634" y="99119"/>
                  </a:lnTo>
                  <a:lnTo>
                    <a:pt x="38613" y="49566"/>
                  </a:lnTo>
                  <a:lnTo>
                    <a:pt x="21634" y="0"/>
                  </a:lnTo>
                  <a:close/>
                </a:path>
              </a:pathLst>
            </a:custGeom>
            <a:solidFill>
              <a:schemeClr val="accent1"/>
            </a:solidFill>
            <a:ln>
              <a:noFill/>
            </a:ln>
          </p:spPr>
          <p:txBody>
            <a:bodyPr spcFirstLastPara="1" wrap="square" lIns="121900" tIns="121900" rIns="121900" bIns="1219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Tx/>
                <a:buNone/>
                <a:tabLst/>
                <a:defRPr/>
              </a:pPr>
              <a:r>
                <a:rPr kumimoji="0" lang="en" sz="3200" b="0" i="0" u="none" strike="noStrike" kern="1200" cap="none" spc="0" normalizeH="0" baseline="0" noProof="0">
                  <a:ln>
                    <a:noFill/>
                  </a:ln>
                  <a:solidFill>
                    <a:srgbClr val="FFFFFF"/>
                  </a:solidFill>
                  <a:effectLst/>
                  <a:uLnTx/>
                  <a:uFillTx/>
                  <a:latin typeface="Arial"/>
                  <a:ea typeface="+mn-ea"/>
                  <a:cs typeface="+mn-ea"/>
                  <a:sym typeface="+mn-lt"/>
                </a:rPr>
                <a:t>01</a:t>
              </a:r>
              <a:endParaRPr kumimoji="0" sz="3200"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22" name="Google Shape;1466;p38">
              <a:extLst>
                <a:ext uri="{FF2B5EF4-FFF2-40B4-BE49-F238E27FC236}">
                  <a16:creationId xmlns:a16="http://schemas.microsoft.com/office/drawing/2014/main" id="{A465D248-F428-464E-8CBF-E08E4DC4C27B}"/>
                </a:ext>
              </a:extLst>
            </p:cNvPr>
            <p:cNvSpPr txBox="1"/>
            <p:nvPr/>
          </p:nvSpPr>
          <p:spPr>
            <a:xfrm>
              <a:off x="5125413" y="1723375"/>
              <a:ext cx="964200" cy="597300"/>
            </a:xfrm>
            <a:prstGeom prst="rect">
              <a:avLst/>
            </a:prstGeom>
            <a:noFill/>
            <a:ln>
              <a:noFill/>
            </a:ln>
          </p:spPr>
          <p:txBody>
            <a:bodyPr spcFirstLastPara="1" wrap="square" lIns="121900" tIns="121900" rIns="121900" bIns="12190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 sz="1600" b="0" i="0" u="none" strike="noStrike" kern="1200" cap="none" spc="0" normalizeH="0" baseline="0" noProof="0">
                  <a:ln>
                    <a:noFill/>
                  </a:ln>
                  <a:solidFill>
                    <a:schemeClr val="accent1"/>
                  </a:solidFill>
                  <a:effectLst/>
                  <a:uLnTx/>
                  <a:uFillTx/>
                  <a:latin typeface="Arial"/>
                  <a:ea typeface="+mn-ea"/>
                  <a:cs typeface="+mn-ea"/>
                  <a:sym typeface="+mn-lt"/>
                </a:rPr>
                <a:t>Mars is a cold place</a:t>
              </a:r>
              <a:endParaRPr kumimoji="0" sz="1600" b="0" i="0" u="none" strike="noStrike" kern="1200" cap="none" spc="0" normalizeH="0" baseline="0" noProof="0">
                <a:ln>
                  <a:noFill/>
                </a:ln>
                <a:solidFill>
                  <a:schemeClr val="accent1"/>
                </a:solidFill>
                <a:effectLst/>
                <a:uLnTx/>
                <a:uFillTx/>
                <a:latin typeface="Arial"/>
                <a:ea typeface="+mn-ea"/>
                <a:cs typeface="+mn-ea"/>
                <a:sym typeface="+mn-lt"/>
              </a:endParaRPr>
            </a:p>
          </p:txBody>
        </p:sp>
        <p:sp>
          <p:nvSpPr>
            <p:cNvPr id="23" name="Google Shape;1467;p38">
              <a:extLst>
                <a:ext uri="{FF2B5EF4-FFF2-40B4-BE49-F238E27FC236}">
                  <a16:creationId xmlns:a16="http://schemas.microsoft.com/office/drawing/2014/main" id="{C18E428A-6CBF-468A-86E3-EA760AABFC50}"/>
                </a:ext>
              </a:extLst>
            </p:cNvPr>
            <p:cNvSpPr txBox="1"/>
            <p:nvPr/>
          </p:nvSpPr>
          <p:spPr>
            <a:xfrm>
              <a:off x="5125413" y="2678875"/>
              <a:ext cx="964200" cy="597300"/>
            </a:xfrm>
            <a:prstGeom prst="rect">
              <a:avLst/>
            </a:prstGeom>
            <a:noFill/>
            <a:ln>
              <a:noFill/>
            </a:ln>
          </p:spPr>
          <p:txBody>
            <a:bodyPr spcFirstLastPara="1" wrap="square" lIns="121900" tIns="121900" rIns="121900" bIns="12190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 sz="1600" b="0" i="0" u="none" strike="noStrike" kern="1200" cap="none" spc="0" normalizeH="0" baseline="0" noProof="0">
                  <a:ln>
                    <a:noFill/>
                  </a:ln>
                  <a:solidFill>
                    <a:schemeClr val="accent1"/>
                  </a:solidFill>
                  <a:effectLst/>
                  <a:uLnTx/>
                  <a:uFillTx/>
                  <a:latin typeface="Arial"/>
                  <a:ea typeface="+mn-ea"/>
                  <a:cs typeface="+mn-ea"/>
                  <a:sym typeface="+mn-lt"/>
                </a:rPr>
                <a:t>Pluto is icy and small</a:t>
              </a:r>
              <a:endParaRPr kumimoji="0" sz="1600" b="0" i="0" u="none" strike="noStrike" kern="1200" cap="none" spc="0" normalizeH="0" baseline="0" noProof="0">
                <a:ln>
                  <a:noFill/>
                </a:ln>
                <a:solidFill>
                  <a:schemeClr val="accent1"/>
                </a:solidFill>
                <a:effectLst/>
                <a:uLnTx/>
                <a:uFillTx/>
                <a:latin typeface="Arial"/>
                <a:ea typeface="+mn-ea"/>
                <a:cs typeface="+mn-ea"/>
                <a:sym typeface="+mn-lt"/>
              </a:endParaRPr>
            </a:p>
          </p:txBody>
        </p:sp>
        <p:grpSp>
          <p:nvGrpSpPr>
            <p:cNvPr id="24" name="Google Shape;1468;p38">
              <a:extLst>
                <a:ext uri="{FF2B5EF4-FFF2-40B4-BE49-F238E27FC236}">
                  <a16:creationId xmlns:a16="http://schemas.microsoft.com/office/drawing/2014/main" id="{78F47D7F-C0BA-4C32-95D6-91EE672FEA7D}"/>
                </a:ext>
              </a:extLst>
            </p:cNvPr>
            <p:cNvGrpSpPr/>
            <p:nvPr/>
          </p:nvGrpSpPr>
          <p:grpSpPr>
            <a:xfrm>
              <a:off x="6001675" y="3884280"/>
              <a:ext cx="366293" cy="370441"/>
              <a:chOff x="-39647175" y="3972000"/>
              <a:chExt cx="313500" cy="317050"/>
            </a:xfrm>
          </p:grpSpPr>
          <p:sp>
            <p:nvSpPr>
              <p:cNvPr id="25" name="Google Shape;1469;p38">
                <a:extLst>
                  <a:ext uri="{FF2B5EF4-FFF2-40B4-BE49-F238E27FC236}">
                    <a16:creationId xmlns:a16="http://schemas.microsoft.com/office/drawing/2014/main" id="{330A6D5D-90BE-4370-AEFD-C6B5AB6B3958}"/>
                  </a:ext>
                </a:extLst>
              </p:cNvPr>
              <p:cNvSpPr/>
              <p:nvPr/>
            </p:nvSpPr>
            <p:spPr>
              <a:xfrm>
                <a:off x="-39647175" y="3972000"/>
                <a:ext cx="95325" cy="153975"/>
              </a:xfrm>
              <a:custGeom>
                <a:avLst/>
                <a:gdLst/>
                <a:ahLst/>
                <a:cxnLst/>
                <a:rect l="l" t="t" r="r" b="b"/>
                <a:pathLst>
                  <a:path w="3813" h="6159" extrusionOk="0">
                    <a:moveTo>
                      <a:pt x="1698" y="1"/>
                    </a:moveTo>
                    <a:cubicBezTo>
                      <a:pt x="1520" y="1"/>
                      <a:pt x="1373" y="138"/>
                      <a:pt x="1293" y="299"/>
                    </a:cubicBezTo>
                    <a:lnTo>
                      <a:pt x="1" y="5119"/>
                    </a:lnTo>
                    <a:cubicBezTo>
                      <a:pt x="1" y="5308"/>
                      <a:pt x="127" y="5528"/>
                      <a:pt x="316" y="5623"/>
                    </a:cubicBezTo>
                    <a:lnTo>
                      <a:pt x="2332" y="6158"/>
                    </a:lnTo>
                    <a:cubicBezTo>
                      <a:pt x="3277" y="2630"/>
                      <a:pt x="2868" y="4111"/>
                      <a:pt x="3813" y="582"/>
                    </a:cubicBezTo>
                    <a:lnTo>
                      <a:pt x="1797" y="15"/>
                    </a:lnTo>
                    <a:cubicBezTo>
                      <a:pt x="1763" y="5"/>
                      <a:pt x="1730" y="1"/>
                      <a:pt x="1698" y="1"/>
                    </a:cubicBezTo>
                    <a:close/>
                  </a:path>
                </a:pathLst>
              </a:custGeom>
              <a:solidFill>
                <a:schemeClr val="accent1">
                  <a:lumMod val="100000"/>
                </a:schemeClr>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26" name="Google Shape;1470;p38">
                <a:extLst>
                  <a:ext uri="{FF2B5EF4-FFF2-40B4-BE49-F238E27FC236}">
                    <a16:creationId xmlns:a16="http://schemas.microsoft.com/office/drawing/2014/main" id="{A63D3914-4D29-4C82-B890-78B726864A32}"/>
                  </a:ext>
                </a:extLst>
              </p:cNvPr>
              <p:cNvSpPr/>
              <p:nvPr/>
            </p:nvSpPr>
            <p:spPr>
              <a:xfrm>
                <a:off x="-39588875" y="4011750"/>
                <a:ext cx="216600" cy="277300"/>
              </a:xfrm>
              <a:custGeom>
                <a:avLst/>
                <a:gdLst/>
                <a:ahLst/>
                <a:cxnLst/>
                <a:rect l="l" t="t" r="r" b="b"/>
                <a:pathLst>
                  <a:path w="8664" h="11092" extrusionOk="0">
                    <a:moveTo>
                      <a:pt x="4348" y="3466"/>
                    </a:moveTo>
                    <a:cubicBezTo>
                      <a:pt x="4820" y="3466"/>
                      <a:pt x="5199" y="3844"/>
                      <a:pt x="5199" y="4316"/>
                    </a:cubicBezTo>
                    <a:cubicBezTo>
                      <a:pt x="5199" y="4789"/>
                      <a:pt x="4820" y="5136"/>
                      <a:pt x="4348" y="5136"/>
                    </a:cubicBezTo>
                    <a:cubicBezTo>
                      <a:pt x="3907" y="5136"/>
                      <a:pt x="3529" y="4789"/>
                      <a:pt x="3529" y="4316"/>
                    </a:cubicBezTo>
                    <a:cubicBezTo>
                      <a:pt x="3529" y="3875"/>
                      <a:pt x="3875" y="3466"/>
                      <a:pt x="4348" y="3466"/>
                    </a:cubicBezTo>
                    <a:close/>
                    <a:moveTo>
                      <a:pt x="5104" y="5766"/>
                    </a:moveTo>
                    <a:lnTo>
                      <a:pt x="6081" y="7624"/>
                    </a:lnTo>
                    <a:lnTo>
                      <a:pt x="2615" y="7624"/>
                    </a:lnTo>
                    <a:lnTo>
                      <a:pt x="3560" y="5766"/>
                    </a:lnTo>
                    <a:cubicBezTo>
                      <a:pt x="3812" y="5892"/>
                      <a:pt x="4096" y="5955"/>
                      <a:pt x="4348" y="5955"/>
                    </a:cubicBezTo>
                    <a:cubicBezTo>
                      <a:pt x="4631" y="5955"/>
                      <a:pt x="4883" y="5892"/>
                      <a:pt x="5104" y="5766"/>
                    </a:cubicBezTo>
                    <a:close/>
                    <a:moveTo>
                      <a:pt x="2048" y="0"/>
                    </a:moveTo>
                    <a:cubicBezTo>
                      <a:pt x="1386" y="2458"/>
                      <a:pt x="1638" y="1544"/>
                      <a:pt x="977" y="4001"/>
                    </a:cubicBezTo>
                    <a:lnTo>
                      <a:pt x="2678" y="4474"/>
                    </a:lnTo>
                    <a:cubicBezTo>
                      <a:pt x="2678" y="4726"/>
                      <a:pt x="2741" y="5010"/>
                      <a:pt x="2899" y="5199"/>
                    </a:cubicBezTo>
                    <a:lnTo>
                      <a:pt x="32" y="10523"/>
                    </a:lnTo>
                    <a:cubicBezTo>
                      <a:pt x="0" y="10680"/>
                      <a:pt x="63" y="10964"/>
                      <a:pt x="252" y="11027"/>
                    </a:cubicBezTo>
                    <a:cubicBezTo>
                      <a:pt x="328" y="11070"/>
                      <a:pt x="404" y="11091"/>
                      <a:pt x="475" y="11091"/>
                    </a:cubicBezTo>
                    <a:cubicBezTo>
                      <a:pt x="613" y="11091"/>
                      <a:pt x="737" y="11014"/>
                      <a:pt x="819" y="10869"/>
                    </a:cubicBezTo>
                    <a:lnTo>
                      <a:pt x="2143" y="8475"/>
                    </a:lnTo>
                    <a:lnTo>
                      <a:pt x="6490" y="8475"/>
                    </a:lnTo>
                    <a:lnTo>
                      <a:pt x="7845" y="10869"/>
                    </a:lnTo>
                    <a:cubicBezTo>
                      <a:pt x="7907" y="11014"/>
                      <a:pt x="8037" y="11091"/>
                      <a:pt x="8173" y="11091"/>
                    </a:cubicBezTo>
                    <a:cubicBezTo>
                      <a:pt x="8243" y="11091"/>
                      <a:pt x="8316" y="11070"/>
                      <a:pt x="8381" y="11027"/>
                    </a:cubicBezTo>
                    <a:cubicBezTo>
                      <a:pt x="8570" y="10932"/>
                      <a:pt x="8664" y="10680"/>
                      <a:pt x="8538" y="10491"/>
                    </a:cubicBezTo>
                    <a:lnTo>
                      <a:pt x="5734" y="5262"/>
                    </a:lnTo>
                    <a:lnTo>
                      <a:pt x="6585" y="5482"/>
                    </a:lnTo>
                    <a:cubicBezTo>
                      <a:pt x="7120" y="3434"/>
                      <a:pt x="6931" y="4222"/>
                      <a:pt x="7624" y="1513"/>
                    </a:cubicBezTo>
                    <a:lnTo>
                      <a:pt x="2048" y="0"/>
                    </a:lnTo>
                    <a:close/>
                  </a:path>
                </a:pathLst>
              </a:custGeom>
              <a:solidFill>
                <a:schemeClr val="accent1">
                  <a:lumMod val="100000"/>
                </a:schemeClr>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27" name="Google Shape;1471;p38">
                <a:extLst>
                  <a:ext uri="{FF2B5EF4-FFF2-40B4-BE49-F238E27FC236}">
                    <a16:creationId xmlns:a16="http://schemas.microsoft.com/office/drawing/2014/main" id="{56EF11B7-62BD-454E-9E99-3E377D8BF8A3}"/>
                  </a:ext>
                </a:extLst>
              </p:cNvPr>
              <p:cNvSpPr/>
              <p:nvPr/>
            </p:nvSpPr>
            <p:spPr>
              <a:xfrm>
                <a:off x="-39398275" y="4073975"/>
                <a:ext cx="64600" cy="71600"/>
              </a:xfrm>
              <a:custGeom>
                <a:avLst/>
                <a:gdLst/>
                <a:ahLst/>
                <a:cxnLst/>
                <a:rect l="l" t="t" r="r" b="b"/>
                <a:pathLst>
                  <a:path w="2584" h="2864" extrusionOk="0">
                    <a:moveTo>
                      <a:pt x="630" y="0"/>
                    </a:moveTo>
                    <a:cubicBezTo>
                      <a:pt x="252" y="1449"/>
                      <a:pt x="410" y="945"/>
                      <a:pt x="0" y="2395"/>
                    </a:cubicBezTo>
                    <a:lnTo>
                      <a:pt x="1607" y="2836"/>
                    </a:lnTo>
                    <a:cubicBezTo>
                      <a:pt x="1658" y="2855"/>
                      <a:pt x="1707" y="2864"/>
                      <a:pt x="1753" y="2864"/>
                    </a:cubicBezTo>
                    <a:cubicBezTo>
                      <a:pt x="1932" y="2864"/>
                      <a:pt x="2067" y="2728"/>
                      <a:pt x="2143" y="2552"/>
                    </a:cubicBezTo>
                    <a:lnTo>
                      <a:pt x="2584" y="945"/>
                    </a:lnTo>
                    <a:cubicBezTo>
                      <a:pt x="2552" y="725"/>
                      <a:pt x="2458" y="473"/>
                      <a:pt x="2237" y="441"/>
                    </a:cubicBezTo>
                    <a:lnTo>
                      <a:pt x="630" y="0"/>
                    </a:lnTo>
                    <a:close/>
                  </a:path>
                </a:pathLst>
              </a:custGeom>
              <a:solidFill>
                <a:schemeClr val="accent1">
                  <a:lumMod val="100000"/>
                </a:schemeClr>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grpSp>
      </p:grpSp>
    </p:spTree>
    <p:extLst>
      <p:ext uri="{BB962C8B-B14F-4D97-AF65-F5344CB8AC3E}">
        <p14:creationId xmlns:p14="http://schemas.microsoft.com/office/powerpoint/2010/main" val="1065805605"/>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7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oogle Shape;1476;p39">
            <a:extLst>
              <a:ext uri="{FF2B5EF4-FFF2-40B4-BE49-F238E27FC236}">
                <a16:creationId xmlns:a16="http://schemas.microsoft.com/office/drawing/2014/main" id="{54D0E46B-BE3F-4199-AB50-96360B2CED70}"/>
              </a:ext>
            </a:extLst>
          </p:cNvPr>
          <p:cNvGrpSpPr/>
          <p:nvPr/>
        </p:nvGrpSpPr>
        <p:grpSpPr>
          <a:xfrm>
            <a:off x="2357665" y="1458193"/>
            <a:ext cx="1790507" cy="3304759"/>
            <a:chOff x="1768249" y="1276195"/>
            <a:chExt cx="1342880" cy="2478569"/>
          </a:xfrm>
        </p:grpSpPr>
        <p:sp>
          <p:nvSpPr>
            <p:cNvPr id="3" name="Google Shape;1477;p39">
              <a:extLst>
                <a:ext uri="{FF2B5EF4-FFF2-40B4-BE49-F238E27FC236}">
                  <a16:creationId xmlns:a16="http://schemas.microsoft.com/office/drawing/2014/main" id="{8E7C4BD8-2E57-40AE-8B39-F2DECB414EE9}"/>
                </a:ext>
              </a:extLst>
            </p:cNvPr>
            <p:cNvSpPr/>
            <p:nvPr/>
          </p:nvSpPr>
          <p:spPr>
            <a:xfrm>
              <a:off x="2190365" y="1970275"/>
              <a:ext cx="549306" cy="935711"/>
            </a:xfrm>
            <a:custGeom>
              <a:avLst/>
              <a:gdLst/>
              <a:ahLst/>
              <a:cxnLst/>
              <a:rect l="l" t="t" r="r" b="b"/>
              <a:pathLst>
                <a:path w="20158" h="34338" extrusionOk="0">
                  <a:moveTo>
                    <a:pt x="2048" y="0"/>
                  </a:moveTo>
                  <a:cubicBezTo>
                    <a:pt x="798" y="0"/>
                    <a:pt x="0" y="1322"/>
                    <a:pt x="572" y="2429"/>
                  </a:cubicBezTo>
                  <a:lnTo>
                    <a:pt x="16633" y="33445"/>
                  </a:lnTo>
                  <a:cubicBezTo>
                    <a:pt x="16919" y="33993"/>
                    <a:pt x="17490" y="34338"/>
                    <a:pt x="18109" y="34338"/>
                  </a:cubicBezTo>
                  <a:cubicBezTo>
                    <a:pt x="19360" y="34338"/>
                    <a:pt x="20157" y="33016"/>
                    <a:pt x="19586" y="31909"/>
                  </a:cubicBezTo>
                  <a:lnTo>
                    <a:pt x="3524" y="893"/>
                  </a:lnTo>
                  <a:cubicBezTo>
                    <a:pt x="3239" y="346"/>
                    <a:pt x="2667" y="0"/>
                    <a:pt x="2048" y="0"/>
                  </a:cubicBezTo>
                  <a:close/>
                </a:path>
              </a:pathLst>
            </a:custGeom>
            <a:solidFill>
              <a:srgbClr val="576F7A"/>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4" name="Google Shape;1478;p39">
              <a:extLst>
                <a:ext uri="{FF2B5EF4-FFF2-40B4-BE49-F238E27FC236}">
                  <a16:creationId xmlns:a16="http://schemas.microsoft.com/office/drawing/2014/main" id="{5D01FF7C-44F3-423E-9EE5-2007E5D56C98}"/>
                </a:ext>
              </a:extLst>
            </p:cNvPr>
            <p:cNvSpPr/>
            <p:nvPr/>
          </p:nvSpPr>
          <p:spPr>
            <a:xfrm>
              <a:off x="1768249" y="2646098"/>
              <a:ext cx="1342880" cy="1108666"/>
            </a:xfrm>
            <a:custGeom>
              <a:avLst/>
              <a:gdLst/>
              <a:ahLst/>
              <a:cxnLst/>
              <a:rect l="l" t="t" r="r" b="b"/>
              <a:pathLst>
                <a:path w="49280" h="40685" extrusionOk="0">
                  <a:moveTo>
                    <a:pt x="21919" y="1"/>
                  </a:moveTo>
                  <a:cubicBezTo>
                    <a:pt x="21110" y="1"/>
                    <a:pt x="20360" y="441"/>
                    <a:pt x="19979" y="1156"/>
                  </a:cubicBezTo>
                  <a:lnTo>
                    <a:pt x="774" y="37482"/>
                  </a:lnTo>
                  <a:cubicBezTo>
                    <a:pt x="0" y="38934"/>
                    <a:pt x="1060" y="40685"/>
                    <a:pt x="2703" y="40685"/>
                  </a:cubicBezTo>
                  <a:lnTo>
                    <a:pt x="27372" y="40685"/>
                  </a:lnTo>
                  <a:cubicBezTo>
                    <a:pt x="28182" y="40685"/>
                    <a:pt x="28920" y="40244"/>
                    <a:pt x="29301" y="39530"/>
                  </a:cubicBezTo>
                  <a:lnTo>
                    <a:pt x="48518" y="3204"/>
                  </a:lnTo>
                  <a:cubicBezTo>
                    <a:pt x="49280" y="1751"/>
                    <a:pt x="48232" y="1"/>
                    <a:pt x="46577" y="1"/>
                  </a:cubicBezTo>
                  <a:close/>
                </a:path>
              </a:pathLst>
            </a:custGeom>
            <a:solidFill>
              <a:srgbClr val="869FB2"/>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5" name="Google Shape;1479;p39">
              <a:extLst>
                <a:ext uri="{FF2B5EF4-FFF2-40B4-BE49-F238E27FC236}">
                  <a16:creationId xmlns:a16="http://schemas.microsoft.com/office/drawing/2014/main" id="{7067378A-4C7E-4E3E-BFF6-98914EB9CCD9}"/>
                </a:ext>
              </a:extLst>
            </p:cNvPr>
            <p:cNvSpPr txBox="1"/>
            <p:nvPr/>
          </p:nvSpPr>
          <p:spPr>
            <a:xfrm>
              <a:off x="2252588" y="2791475"/>
              <a:ext cx="796200" cy="277200"/>
            </a:xfrm>
            <a:prstGeom prst="rect">
              <a:avLst/>
            </a:prstGeom>
            <a:noFill/>
            <a:ln>
              <a:noFill/>
            </a:ln>
          </p:spPr>
          <p:txBody>
            <a:bodyPr spcFirstLastPara="1" wrap="square" lIns="121900" tIns="121900" rIns="121900" bIns="1219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3200" b="0" i="0" u="none" strike="noStrike" kern="1200" cap="none" spc="0" normalizeH="0" baseline="0" noProof="0">
                  <a:ln>
                    <a:noFill/>
                  </a:ln>
                  <a:solidFill>
                    <a:srgbClr val="FFFFFF"/>
                  </a:solidFill>
                  <a:effectLst/>
                  <a:uLnTx/>
                  <a:uFillTx/>
                  <a:latin typeface="Arial"/>
                  <a:ea typeface="+mn-ea"/>
                  <a:cs typeface="+mn-ea"/>
                  <a:sym typeface="+mn-lt"/>
                </a:rPr>
                <a:t>06</a:t>
              </a:r>
              <a:endParaRPr kumimoji="0" sz="2489" b="0" i="0" u="none" strike="noStrike" kern="1200" cap="none" spc="0" normalizeH="0" baseline="0" noProof="0">
                <a:ln>
                  <a:noFill/>
                </a:ln>
                <a:solidFill>
                  <a:srgbClr val="FFFFFF"/>
                </a:solidFill>
                <a:effectLst/>
                <a:uLnTx/>
                <a:uFillTx/>
                <a:latin typeface="Arial"/>
                <a:ea typeface="+mn-ea"/>
                <a:cs typeface="+mn-ea"/>
                <a:sym typeface="+mn-lt"/>
              </a:endParaRPr>
            </a:p>
          </p:txBody>
        </p:sp>
        <p:sp>
          <p:nvSpPr>
            <p:cNvPr id="6" name="Google Shape;1480;p39">
              <a:extLst>
                <a:ext uri="{FF2B5EF4-FFF2-40B4-BE49-F238E27FC236}">
                  <a16:creationId xmlns:a16="http://schemas.microsoft.com/office/drawing/2014/main" id="{5D729905-2593-4A29-A3F9-1EA5EDBD9AED}"/>
                </a:ext>
              </a:extLst>
            </p:cNvPr>
            <p:cNvSpPr txBox="1"/>
            <p:nvPr/>
          </p:nvSpPr>
          <p:spPr>
            <a:xfrm>
              <a:off x="1932338" y="3068673"/>
              <a:ext cx="979500" cy="277200"/>
            </a:xfrm>
            <a:prstGeom prst="rect">
              <a:avLst/>
            </a:prstGeom>
            <a:noFill/>
            <a:ln>
              <a:noFill/>
            </a:ln>
          </p:spPr>
          <p:txBody>
            <a:bodyPr spcFirstLastPara="1" wrap="square" lIns="121900" tIns="121900" rIns="121900" bIns="1219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2133" b="0" i="0" u="none" strike="noStrike" kern="1200" cap="none" spc="0" normalizeH="0" baseline="0" noProof="0">
                  <a:ln>
                    <a:noFill/>
                  </a:ln>
                  <a:solidFill>
                    <a:srgbClr val="FFFFFF"/>
                  </a:solidFill>
                  <a:effectLst/>
                  <a:uLnTx/>
                  <a:uFillTx/>
                  <a:latin typeface="Arial"/>
                  <a:ea typeface="+mn-ea"/>
                  <a:cs typeface="+mn-ea"/>
                  <a:sym typeface="+mn-lt"/>
                </a:rPr>
                <a:t>Pluto</a:t>
              </a:r>
              <a:endParaRPr kumimoji="0" sz="2133" b="0" i="0" u="none" strike="noStrike" kern="1200" cap="none" spc="0" normalizeH="0" baseline="0" noProof="0">
                <a:ln>
                  <a:noFill/>
                </a:ln>
                <a:solidFill>
                  <a:srgbClr val="FFFFFF"/>
                </a:solidFill>
                <a:effectLst/>
                <a:uLnTx/>
                <a:uFillTx/>
                <a:latin typeface="Arial"/>
                <a:ea typeface="+mn-ea"/>
                <a:cs typeface="+mn-ea"/>
                <a:sym typeface="+mn-lt"/>
              </a:endParaRPr>
            </a:p>
          </p:txBody>
        </p:sp>
        <p:grpSp>
          <p:nvGrpSpPr>
            <p:cNvPr id="7" name="Google Shape;1481;p39">
              <a:extLst>
                <a:ext uri="{FF2B5EF4-FFF2-40B4-BE49-F238E27FC236}">
                  <a16:creationId xmlns:a16="http://schemas.microsoft.com/office/drawing/2014/main" id="{197534BA-0282-43AE-9A35-CCCF60CFB6E2}"/>
                </a:ext>
              </a:extLst>
            </p:cNvPr>
            <p:cNvGrpSpPr/>
            <p:nvPr/>
          </p:nvGrpSpPr>
          <p:grpSpPr>
            <a:xfrm>
              <a:off x="1849266" y="1276195"/>
              <a:ext cx="370934" cy="367521"/>
              <a:chOff x="-63679950" y="4093450"/>
              <a:chExt cx="320600" cy="317650"/>
            </a:xfrm>
          </p:grpSpPr>
          <p:sp>
            <p:nvSpPr>
              <p:cNvPr id="8" name="Google Shape;1482;p39">
                <a:extLst>
                  <a:ext uri="{FF2B5EF4-FFF2-40B4-BE49-F238E27FC236}">
                    <a16:creationId xmlns:a16="http://schemas.microsoft.com/office/drawing/2014/main" id="{6B357FDC-EDB9-4367-A92D-50D96749DD31}"/>
                  </a:ext>
                </a:extLst>
              </p:cNvPr>
              <p:cNvSpPr/>
              <p:nvPr/>
            </p:nvSpPr>
            <p:spPr>
              <a:xfrm>
                <a:off x="-63595650" y="4093450"/>
                <a:ext cx="236300" cy="230425"/>
              </a:xfrm>
              <a:custGeom>
                <a:avLst/>
                <a:gdLst/>
                <a:ahLst/>
                <a:cxnLst/>
                <a:rect l="l" t="t" r="r" b="b"/>
                <a:pathLst>
                  <a:path w="9452" h="9217" extrusionOk="0">
                    <a:moveTo>
                      <a:pt x="3387" y="836"/>
                    </a:moveTo>
                    <a:cubicBezTo>
                      <a:pt x="3497" y="836"/>
                      <a:pt x="3607" y="875"/>
                      <a:pt x="3686" y="954"/>
                    </a:cubicBezTo>
                    <a:cubicBezTo>
                      <a:pt x="3844" y="1111"/>
                      <a:pt x="3844" y="1395"/>
                      <a:pt x="3686" y="1553"/>
                    </a:cubicBezTo>
                    <a:lnTo>
                      <a:pt x="1638" y="3600"/>
                    </a:lnTo>
                    <a:cubicBezTo>
                      <a:pt x="1560" y="3679"/>
                      <a:pt x="1449" y="3718"/>
                      <a:pt x="1339" y="3718"/>
                    </a:cubicBezTo>
                    <a:cubicBezTo>
                      <a:pt x="1229" y="3718"/>
                      <a:pt x="1118" y="3679"/>
                      <a:pt x="1040" y="3600"/>
                    </a:cubicBezTo>
                    <a:cubicBezTo>
                      <a:pt x="882" y="3443"/>
                      <a:pt x="882" y="3159"/>
                      <a:pt x="1040" y="3002"/>
                    </a:cubicBezTo>
                    <a:lnTo>
                      <a:pt x="3088" y="954"/>
                    </a:lnTo>
                    <a:cubicBezTo>
                      <a:pt x="3166" y="875"/>
                      <a:pt x="3277" y="836"/>
                      <a:pt x="3387" y="836"/>
                    </a:cubicBezTo>
                    <a:close/>
                    <a:moveTo>
                      <a:pt x="8081" y="5530"/>
                    </a:moveTo>
                    <a:cubicBezTo>
                      <a:pt x="8191" y="5530"/>
                      <a:pt x="8302" y="5569"/>
                      <a:pt x="8380" y="5648"/>
                    </a:cubicBezTo>
                    <a:cubicBezTo>
                      <a:pt x="8538" y="5806"/>
                      <a:pt x="8538" y="6089"/>
                      <a:pt x="8380" y="6247"/>
                    </a:cubicBezTo>
                    <a:lnTo>
                      <a:pt x="6333" y="8295"/>
                    </a:lnTo>
                    <a:cubicBezTo>
                      <a:pt x="6254" y="8358"/>
                      <a:pt x="6143" y="8389"/>
                      <a:pt x="6033" y="8389"/>
                    </a:cubicBezTo>
                    <a:cubicBezTo>
                      <a:pt x="5923" y="8389"/>
                      <a:pt x="5813" y="8358"/>
                      <a:pt x="5734" y="8295"/>
                    </a:cubicBezTo>
                    <a:cubicBezTo>
                      <a:pt x="5576" y="8137"/>
                      <a:pt x="5576" y="7853"/>
                      <a:pt x="5734" y="7696"/>
                    </a:cubicBezTo>
                    <a:lnTo>
                      <a:pt x="7782" y="5648"/>
                    </a:lnTo>
                    <a:cubicBezTo>
                      <a:pt x="7861" y="5569"/>
                      <a:pt x="7971" y="5530"/>
                      <a:pt x="8081" y="5530"/>
                    </a:cubicBezTo>
                    <a:close/>
                    <a:moveTo>
                      <a:pt x="3414" y="1"/>
                    </a:moveTo>
                    <a:cubicBezTo>
                      <a:pt x="3095" y="1"/>
                      <a:pt x="2772" y="119"/>
                      <a:pt x="2520" y="355"/>
                    </a:cubicBezTo>
                    <a:lnTo>
                      <a:pt x="473" y="2403"/>
                    </a:lnTo>
                    <a:cubicBezTo>
                      <a:pt x="0" y="2876"/>
                      <a:pt x="0" y="3663"/>
                      <a:pt x="473" y="4199"/>
                    </a:cubicBezTo>
                    <a:cubicBezTo>
                      <a:pt x="700" y="4406"/>
                      <a:pt x="1008" y="4544"/>
                      <a:pt x="1345" y="4544"/>
                    </a:cubicBezTo>
                    <a:cubicBezTo>
                      <a:pt x="1522" y="4544"/>
                      <a:pt x="1706" y="4506"/>
                      <a:pt x="1890" y="4419"/>
                    </a:cubicBezTo>
                    <a:lnTo>
                      <a:pt x="4915" y="7444"/>
                    </a:lnTo>
                    <a:cubicBezTo>
                      <a:pt x="4663" y="7980"/>
                      <a:pt x="4789" y="8515"/>
                      <a:pt x="5135" y="8862"/>
                    </a:cubicBezTo>
                    <a:cubicBezTo>
                      <a:pt x="5372" y="9098"/>
                      <a:pt x="5687" y="9216"/>
                      <a:pt x="6010" y="9216"/>
                    </a:cubicBezTo>
                    <a:cubicBezTo>
                      <a:pt x="6333" y="9216"/>
                      <a:pt x="6663" y="9098"/>
                      <a:pt x="6931" y="8862"/>
                    </a:cubicBezTo>
                    <a:lnTo>
                      <a:pt x="8979" y="6814"/>
                    </a:lnTo>
                    <a:cubicBezTo>
                      <a:pt x="9452" y="6341"/>
                      <a:pt x="9452" y="5554"/>
                      <a:pt x="8979" y="5050"/>
                    </a:cubicBezTo>
                    <a:cubicBezTo>
                      <a:pt x="8757" y="4828"/>
                      <a:pt x="8445" y="4696"/>
                      <a:pt x="8117" y="4696"/>
                    </a:cubicBezTo>
                    <a:cubicBezTo>
                      <a:pt x="7933" y="4696"/>
                      <a:pt x="7743" y="4738"/>
                      <a:pt x="7561" y="4829"/>
                    </a:cubicBezTo>
                    <a:lnTo>
                      <a:pt x="4505" y="1773"/>
                    </a:lnTo>
                    <a:cubicBezTo>
                      <a:pt x="4757" y="1269"/>
                      <a:pt x="4631" y="733"/>
                      <a:pt x="4285" y="355"/>
                    </a:cubicBezTo>
                    <a:cubicBezTo>
                      <a:pt x="4048" y="119"/>
                      <a:pt x="3733" y="1"/>
                      <a:pt x="3414" y="1"/>
                    </a:cubicBezTo>
                    <a:close/>
                  </a:path>
                </a:pathLst>
              </a:custGeom>
              <a:solidFill>
                <a:schemeClr val="accent1">
                  <a:lumMod val="100000"/>
                </a:schemeClr>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9" name="Google Shape;1483;p39">
                <a:extLst>
                  <a:ext uri="{FF2B5EF4-FFF2-40B4-BE49-F238E27FC236}">
                    <a16:creationId xmlns:a16="http://schemas.microsoft.com/office/drawing/2014/main" id="{0EA17B0B-4986-4561-9DD2-D8249A034131}"/>
                  </a:ext>
                </a:extLst>
              </p:cNvPr>
              <p:cNvSpPr/>
              <p:nvPr/>
            </p:nvSpPr>
            <p:spPr>
              <a:xfrm>
                <a:off x="-63679950" y="4233850"/>
                <a:ext cx="177250" cy="177250"/>
              </a:xfrm>
              <a:custGeom>
                <a:avLst/>
                <a:gdLst/>
                <a:ahLst/>
                <a:cxnLst/>
                <a:rect l="l" t="t" r="r" b="b"/>
                <a:pathLst>
                  <a:path w="7090" h="7090" extrusionOk="0">
                    <a:moveTo>
                      <a:pt x="5325" y="1"/>
                    </a:moveTo>
                    <a:lnTo>
                      <a:pt x="4160" y="1166"/>
                    </a:lnTo>
                    <a:cubicBezTo>
                      <a:pt x="4081" y="1088"/>
                      <a:pt x="3971" y="1048"/>
                      <a:pt x="3860" y="1048"/>
                    </a:cubicBezTo>
                    <a:cubicBezTo>
                      <a:pt x="3750" y="1048"/>
                      <a:pt x="3640" y="1088"/>
                      <a:pt x="3561" y="1166"/>
                    </a:cubicBezTo>
                    <a:lnTo>
                      <a:pt x="474" y="4254"/>
                    </a:lnTo>
                    <a:cubicBezTo>
                      <a:pt x="159" y="4569"/>
                      <a:pt x="1" y="4947"/>
                      <a:pt x="1" y="5419"/>
                    </a:cubicBezTo>
                    <a:cubicBezTo>
                      <a:pt x="1" y="5861"/>
                      <a:pt x="159" y="6302"/>
                      <a:pt x="474" y="6617"/>
                    </a:cubicBezTo>
                    <a:cubicBezTo>
                      <a:pt x="789" y="6932"/>
                      <a:pt x="1214" y="7089"/>
                      <a:pt x="1639" y="7089"/>
                    </a:cubicBezTo>
                    <a:cubicBezTo>
                      <a:pt x="2065" y="7089"/>
                      <a:pt x="2490" y="6932"/>
                      <a:pt x="2805" y="6617"/>
                    </a:cubicBezTo>
                    <a:lnTo>
                      <a:pt x="5892" y="3529"/>
                    </a:lnTo>
                    <a:cubicBezTo>
                      <a:pt x="6081" y="3372"/>
                      <a:pt x="6081" y="3088"/>
                      <a:pt x="5924" y="2931"/>
                    </a:cubicBezTo>
                    <a:lnTo>
                      <a:pt x="7090" y="1765"/>
                    </a:lnTo>
                    <a:lnTo>
                      <a:pt x="5325" y="1"/>
                    </a:lnTo>
                    <a:close/>
                  </a:path>
                </a:pathLst>
              </a:custGeom>
              <a:solidFill>
                <a:schemeClr val="accent1">
                  <a:lumMod val="100000"/>
                </a:schemeClr>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10" name="Google Shape;1484;p39">
                <a:extLst>
                  <a:ext uri="{FF2B5EF4-FFF2-40B4-BE49-F238E27FC236}">
                    <a16:creationId xmlns:a16="http://schemas.microsoft.com/office/drawing/2014/main" id="{EFDAD297-F1B9-4F99-9CDC-BE29D03E9654}"/>
                  </a:ext>
                </a:extLst>
              </p:cNvPr>
              <p:cNvSpPr/>
              <p:nvPr/>
            </p:nvSpPr>
            <p:spPr>
              <a:xfrm>
                <a:off x="-63548400" y="4348850"/>
                <a:ext cx="185900" cy="62250"/>
              </a:xfrm>
              <a:custGeom>
                <a:avLst/>
                <a:gdLst/>
                <a:ahLst/>
                <a:cxnLst/>
                <a:rect l="l" t="t" r="r" b="b"/>
                <a:pathLst>
                  <a:path w="7436" h="2490" extrusionOk="0">
                    <a:moveTo>
                      <a:pt x="2048" y="0"/>
                    </a:moveTo>
                    <a:cubicBezTo>
                      <a:pt x="1355" y="0"/>
                      <a:pt x="819" y="536"/>
                      <a:pt x="819" y="1229"/>
                    </a:cubicBezTo>
                    <a:lnTo>
                      <a:pt x="819" y="1639"/>
                    </a:lnTo>
                    <a:lnTo>
                      <a:pt x="410" y="1639"/>
                    </a:lnTo>
                    <a:cubicBezTo>
                      <a:pt x="189" y="1639"/>
                      <a:pt x="0" y="1859"/>
                      <a:pt x="0" y="2048"/>
                    </a:cubicBezTo>
                    <a:cubicBezTo>
                      <a:pt x="0" y="2269"/>
                      <a:pt x="189" y="2489"/>
                      <a:pt x="410" y="2489"/>
                    </a:cubicBezTo>
                    <a:lnTo>
                      <a:pt x="7026" y="2489"/>
                    </a:lnTo>
                    <a:cubicBezTo>
                      <a:pt x="7278" y="2489"/>
                      <a:pt x="7435" y="2269"/>
                      <a:pt x="7435" y="2048"/>
                    </a:cubicBezTo>
                    <a:cubicBezTo>
                      <a:pt x="7435" y="1859"/>
                      <a:pt x="7246" y="1639"/>
                      <a:pt x="6994" y="1639"/>
                    </a:cubicBezTo>
                    <a:lnTo>
                      <a:pt x="6616" y="1639"/>
                    </a:lnTo>
                    <a:lnTo>
                      <a:pt x="6616" y="1229"/>
                    </a:lnTo>
                    <a:cubicBezTo>
                      <a:pt x="6616" y="536"/>
                      <a:pt x="6049" y="0"/>
                      <a:pt x="5356" y="0"/>
                    </a:cubicBezTo>
                    <a:close/>
                  </a:path>
                </a:pathLst>
              </a:custGeom>
              <a:solidFill>
                <a:schemeClr val="accent1">
                  <a:lumMod val="100000"/>
                </a:schemeClr>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grpSp>
      </p:grpSp>
      <p:grpSp>
        <p:nvGrpSpPr>
          <p:cNvPr id="11" name="Google Shape;1486;p39">
            <a:extLst>
              <a:ext uri="{FF2B5EF4-FFF2-40B4-BE49-F238E27FC236}">
                <a16:creationId xmlns:a16="http://schemas.microsoft.com/office/drawing/2014/main" id="{E04A3B20-2301-4E4A-8116-FA9EBB4C3312}"/>
              </a:ext>
            </a:extLst>
          </p:cNvPr>
          <p:cNvGrpSpPr/>
          <p:nvPr/>
        </p:nvGrpSpPr>
        <p:grpSpPr>
          <a:xfrm>
            <a:off x="1625234" y="1356600"/>
            <a:ext cx="8941541" cy="4144799"/>
            <a:chOff x="1218925" y="1200000"/>
            <a:chExt cx="6706156" cy="3108599"/>
          </a:xfrm>
        </p:grpSpPr>
        <p:sp>
          <p:nvSpPr>
            <p:cNvPr id="12" name="Google Shape;1487;p39">
              <a:extLst>
                <a:ext uri="{FF2B5EF4-FFF2-40B4-BE49-F238E27FC236}">
                  <a16:creationId xmlns:a16="http://schemas.microsoft.com/office/drawing/2014/main" id="{4FB01FD3-279B-4C08-9B34-66329004FD22}"/>
                </a:ext>
              </a:extLst>
            </p:cNvPr>
            <p:cNvSpPr/>
            <p:nvPr/>
          </p:nvSpPr>
          <p:spPr>
            <a:xfrm>
              <a:off x="2852235" y="1200000"/>
              <a:ext cx="1524610" cy="1486651"/>
            </a:xfrm>
            <a:custGeom>
              <a:avLst/>
              <a:gdLst/>
              <a:ahLst/>
              <a:cxnLst/>
              <a:rect l="l" t="t" r="r" b="b"/>
              <a:pathLst>
                <a:path w="55949" h="54556" extrusionOk="0">
                  <a:moveTo>
                    <a:pt x="2692" y="1"/>
                  </a:moveTo>
                  <a:cubicBezTo>
                    <a:pt x="1787" y="1"/>
                    <a:pt x="965" y="465"/>
                    <a:pt x="501" y="1239"/>
                  </a:cubicBezTo>
                  <a:cubicBezTo>
                    <a:pt x="37" y="2013"/>
                    <a:pt x="1" y="2954"/>
                    <a:pt x="429" y="3751"/>
                  </a:cubicBezTo>
                  <a:lnTo>
                    <a:pt x="26933" y="54365"/>
                  </a:lnTo>
                  <a:cubicBezTo>
                    <a:pt x="27004" y="54484"/>
                    <a:pt x="27135" y="54555"/>
                    <a:pt x="27266" y="54555"/>
                  </a:cubicBezTo>
                  <a:cubicBezTo>
                    <a:pt x="27326" y="54555"/>
                    <a:pt x="27385" y="54543"/>
                    <a:pt x="27445" y="54520"/>
                  </a:cubicBezTo>
                  <a:cubicBezTo>
                    <a:pt x="27623" y="54424"/>
                    <a:pt x="27695" y="54198"/>
                    <a:pt x="27599" y="54019"/>
                  </a:cubicBezTo>
                  <a:lnTo>
                    <a:pt x="1084" y="3406"/>
                  </a:lnTo>
                  <a:cubicBezTo>
                    <a:pt x="787" y="2835"/>
                    <a:pt x="810" y="2168"/>
                    <a:pt x="1132" y="1620"/>
                  </a:cubicBezTo>
                  <a:cubicBezTo>
                    <a:pt x="1465" y="1072"/>
                    <a:pt x="2049" y="739"/>
                    <a:pt x="2692" y="739"/>
                  </a:cubicBezTo>
                  <a:lnTo>
                    <a:pt x="27361" y="739"/>
                  </a:lnTo>
                  <a:cubicBezTo>
                    <a:pt x="28028" y="739"/>
                    <a:pt x="28647" y="1108"/>
                    <a:pt x="28957" y="1703"/>
                  </a:cubicBezTo>
                  <a:lnTo>
                    <a:pt x="55186" y="51793"/>
                  </a:lnTo>
                  <a:cubicBezTo>
                    <a:pt x="55253" y="51918"/>
                    <a:pt x="55383" y="51990"/>
                    <a:pt x="55520" y="51990"/>
                  </a:cubicBezTo>
                  <a:cubicBezTo>
                    <a:pt x="55580" y="51990"/>
                    <a:pt x="55641" y="51977"/>
                    <a:pt x="55698" y="51948"/>
                  </a:cubicBezTo>
                  <a:cubicBezTo>
                    <a:pt x="55877" y="51853"/>
                    <a:pt x="55948" y="51626"/>
                    <a:pt x="55853" y="51448"/>
                  </a:cubicBezTo>
                  <a:lnTo>
                    <a:pt x="29612" y="1358"/>
                  </a:lnTo>
                  <a:cubicBezTo>
                    <a:pt x="29171" y="525"/>
                    <a:pt x="28302" y="1"/>
                    <a:pt x="27361" y="1"/>
                  </a:cubicBezTo>
                  <a:close/>
                </a:path>
              </a:pathLst>
            </a:custGeom>
            <a:solidFill>
              <a:srgbClr val="869FB2"/>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13" name="Google Shape;1488;p39">
              <a:extLst>
                <a:ext uri="{FF2B5EF4-FFF2-40B4-BE49-F238E27FC236}">
                  <a16:creationId xmlns:a16="http://schemas.microsoft.com/office/drawing/2014/main" id="{16332B3F-29E6-4F4D-B250-F63CE3E9B8F9}"/>
                </a:ext>
              </a:extLst>
            </p:cNvPr>
            <p:cNvSpPr/>
            <p:nvPr/>
          </p:nvSpPr>
          <p:spPr>
            <a:xfrm>
              <a:off x="4258762" y="1200000"/>
              <a:ext cx="1524583" cy="1486651"/>
            </a:xfrm>
            <a:custGeom>
              <a:avLst/>
              <a:gdLst/>
              <a:ahLst/>
              <a:cxnLst/>
              <a:rect l="l" t="t" r="r" b="b"/>
              <a:pathLst>
                <a:path w="55948" h="54556" extrusionOk="0">
                  <a:moveTo>
                    <a:pt x="2691" y="1"/>
                  </a:moveTo>
                  <a:cubicBezTo>
                    <a:pt x="1786" y="1"/>
                    <a:pt x="965" y="465"/>
                    <a:pt x="500" y="1239"/>
                  </a:cubicBezTo>
                  <a:cubicBezTo>
                    <a:pt x="36" y="2013"/>
                    <a:pt x="0" y="2954"/>
                    <a:pt x="429" y="3751"/>
                  </a:cubicBezTo>
                  <a:lnTo>
                    <a:pt x="26932" y="54365"/>
                  </a:lnTo>
                  <a:cubicBezTo>
                    <a:pt x="27004" y="54484"/>
                    <a:pt x="27135" y="54555"/>
                    <a:pt x="27266" y="54555"/>
                  </a:cubicBezTo>
                  <a:cubicBezTo>
                    <a:pt x="27325" y="54555"/>
                    <a:pt x="27385" y="54543"/>
                    <a:pt x="27444" y="54520"/>
                  </a:cubicBezTo>
                  <a:cubicBezTo>
                    <a:pt x="27623" y="54424"/>
                    <a:pt x="27694" y="54198"/>
                    <a:pt x="27599" y="54019"/>
                  </a:cubicBezTo>
                  <a:lnTo>
                    <a:pt x="1084" y="3406"/>
                  </a:lnTo>
                  <a:cubicBezTo>
                    <a:pt x="786" y="2835"/>
                    <a:pt x="810" y="2168"/>
                    <a:pt x="1131" y="1620"/>
                  </a:cubicBezTo>
                  <a:cubicBezTo>
                    <a:pt x="1465" y="1072"/>
                    <a:pt x="2048" y="739"/>
                    <a:pt x="2691" y="739"/>
                  </a:cubicBezTo>
                  <a:lnTo>
                    <a:pt x="27361" y="739"/>
                  </a:lnTo>
                  <a:cubicBezTo>
                    <a:pt x="28028" y="739"/>
                    <a:pt x="28647" y="1108"/>
                    <a:pt x="28956" y="1703"/>
                  </a:cubicBezTo>
                  <a:lnTo>
                    <a:pt x="55186" y="51793"/>
                  </a:lnTo>
                  <a:cubicBezTo>
                    <a:pt x="55252" y="51918"/>
                    <a:pt x="55383" y="51990"/>
                    <a:pt x="55520" y="51990"/>
                  </a:cubicBezTo>
                  <a:cubicBezTo>
                    <a:pt x="55579" y="51990"/>
                    <a:pt x="55640" y="51977"/>
                    <a:pt x="55698" y="51948"/>
                  </a:cubicBezTo>
                  <a:cubicBezTo>
                    <a:pt x="55876" y="51853"/>
                    <a:pt x="55948" y="51626"/>
                    <a:pt x="55853" y="51448"/>
                  </a:cubicBezTo>
                  <a:lnTo>
                    <a:pt x="29611" y="1358"/>
                  </a:lnTo>
                  <a:cubicBezTo>
                    <a:pt x="29171" y="525"/>
                    <a:pt x="28302" y="1"/>
                    <a:pt x="27361" y="1"/>
                  </a:cubicBezTo>
                  <a:close/>
                </a:path>
              </a:pathLst>
            </a:custGeom>
            <a:solidFill>
              <a:srgbClr val="869FB2"/>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14" name="Google Shape;1489;p39">
              <a:extLst>
                <a:ext uri="{FF2B5EF4-FFF2-40B4-BE49-F238E27FC236}">
                  <a16:creationId xmlns:a16="http://schemas.microsoft.com/office/drawing/2014/main" id="{BED888D3-DCB5-46C2-8147-735DEC8DD4BA}"/>
                </a:ext>
              </a:extLst>
            </p:cNvPr>
            <p:cNvSpPr/>
            <p:nvPr/>
          </p:nvSpPr>
          <p:spPr>
            <a:xfrm>
              <a:off x="4961536" y="2821785"/>
              <a:ext cx="1524256" cy="1486815"/>
            </a:xfrm>
            <a:custGeom>
              <a:avLst/>
              <a:gdLst/>
              <a:ahLst/>
              <a:cxnLst/>
              <a:rect l="l" t="t" r="r" b="b"/>
              <a:pathLst>
                <a:path w="55936" h="54562" extrusionOk="0">
                  <a:moveTo>
                    <a:pt x="27262" y="1"/>
                  </a:moveTo>
                  <a:cubicBezTo>
                    <a:pt x="27129" y="1"/>
                    <a:pt x="26999" y="73"/>
                    <a:pt x="26932" y="198"/>
                  </a:cubicBezTo>
                  <a:lnTo>
                    <a:pt x="417" y="50811"/>
                  </a:lnTo>
                  <a:cubicBezTo>
                    <a:pt x="0" y="51609"/>
                    <a:pt x="24" y="52549"/>
                    <a:pt x="488" y="53323"/>
                  </a:cubicBezTo>
                  <a:cubicBezTo>
                    <a:pt x="953" y="54097"/>
                    <a:pt x="1774" y="54561"/>
                    <a:pt x="2679" y="54561"/>
                  </a:cubicBezTo>
                  <a:lnTo>
                    <a:pt x="27349" y="54561"/>
                  </a:lnTo>
                  <a:cubicBezTo>
                    <a:pt x="28301" y="54561"/>
                    <a:pt x="29159" y="54038"/>
                    <a:pt x="29611" y="53204"/>
                  </a:cubicBezTo>
                  <a:lnTo>
                    <a:pt x="55841" y="3115"/>
                  </a:lnTo>
                  <a:cubicBezTo>
                    <a:pt x="55936" y="2936"/>
                    <a:pt x="55864" y="2710"/>
                    <a:pt x="55686" y="2615"/>
                  </a:cubicBezTo>
                  <a:cubicBezTo>
                    <a:pt x="55632" y="2586"/>
                    <a:pt x="55574" y="2572"/>
                    <a:pt x="55516" y="2572"/>
                  </a:cubicBezTo>
                  <a:cubicBezTo>
                    <a:pt x="55383" y="2572"/>
                    <a:pt x="55252" y="2645"/>
                    <a:pt x="55186" y="2769"/>
                  </a:cubicBezTo>
                  <a:lnTo>
                    <a:pt x="28944" y="52847"/>
                  </a:lnTo>
                  <a:cubicBezTo>
                    <a:pt x="28635" y="53442"/>
                    <a:pt x="28016" y="53811"/>
                    <a:pt x="27349" y="53811"/>
                  </a:cubicBezTo>
                  <a:lnTo>
                    <a:pt x="2679" y="53811"/>
                  </a:lnTo>
                  <a:cubicBezTo>
                    <a:pt x="2036" y="53811"/>
                    <a:pt x="1453" y="53490"/>
                    <a:pt x="1131" y="52942"/>
                  </a:cubicBezTo>
                  <a:cubicBezTo>
                    <a:pt x="798" y="52395"/>
                    <a:pt x="774" y="51728"/>
                    <a:pt x="1084" y="51156"/>
                  </a:cubicBezTo>
                  <a:lnTo>
                    <a:pt x="27587" y="543"/>
                  </a:lnTo>
                  <a:cubicBezTo>
                    <a:pt x="27682" y="364"/>
                    <a:pt x="27611" y="138"/>
                    <a:pt x="27432" y="43"/>
                  </a:cubicBezTo>
                  <a:cubicBezTo>
                    <a:pt x="27378" y="14"/>
                    <a:pt x="27320" y="1"/>
                    <a:pt x="27262" y="1"/>
                  </a:cubicBezTo>
                  <a:close/>
                </a:path>
              </a:pathLst>
            </a:custGeom>
            <a:solidFill>
              <a:srgbClr val="869FB2"/>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15" name="Google Shape;1490;p39">
              <a:extLst>
                <a:ext uri="{FF2B5EF4-FFF2-40B4-BE49-F238E27FC236}">
                  <a16:creationId xmlns:a16="http://schemas.microsoft.com/office/drawing/2014/main" id="{C65F7123-F7FB-41CC-96F3-D24D0CF38B97}"/>
                </a:ext>
              </a:extLst>
            </p:cNvPr>
            <p:cNvSpPr/>
            <p:nvPr/>
          </p:nvSpPr>
          <p:spPr>
            <a:xfrm>
              <a:off x="2199439" y="2821785"/>
              <a:ext cx="1524256" cy="1486815"/>
            </a:xfrm>
            <a:custGeom>
              <a:avLst/>
              <a:gdLst/>
              <a:ahLst/>
              <a:cxnLst/>
              <a:rect l="l" t="t" r="r" b="b"/>
              <a:pathLst>
                <a:path w="55936" h="54562" extrusionOk="0">
                  <a:moveTo>
                    <a:pt x="27262" y="1"/>
                  </a:moveTo>
                  <a:cubicBezTo>
                    <a:pt x="27129" y="1"/>
                    <a:pt x="26999" y="73"/>
                    <a:pt x="26932" y="198"/>
                  </a:cubicBezTo>
                  <a:lnTo>
                    <a:pt x="429" y="50811"/>
                  </a:lnTo>
                  <a:cubicBezTo>
                    <a:pt x="0" y="51609"/>
                    <a:pt x="24" y="52549"/>
                    <a:pt x="489" y="53323"/>
                  </a:cubicBezTo>
                  <a:cubicBezTo>
                    <a:pt x="965" y="54097"/>
                    <a:pt x="1774" y="54561"/>
                    <a:pt x="2679" y="54561"/>
                  </a:cubicBezTo>
                  <a:lnTo>
                    <a:pt x="27349" y="54561"/>
                  </a:lnTo>
                  <a:cubicBezTo>
                    <a:pt x="28302" y="54561"/>
                    <a:pt x="29171" y="54038"/>
                    <a:pt x="29611" y="53204"/>
                  </a:cubicBezTo>
                  <a:lnTo>
                    <a:pt x="55841" y="3115"/>
                  </a:lnTo>
                  <a:cubicBezTo>
                    <a:pt x="55936" y="2936"/>
                    <a:pt x="55865" y="2710"/>
                    <a:pt x="55686" y="2615"/>
                  </a:cubicBezTo>
                  <a:cubicBezTo>
                    <a:pt x="55632" y="2586"/>
                    <a:pt x="55574" y="2572"/>
                    <a:pt x="55516" y="2572"/>
                  </a:cubicBezTo>
                  <a:cubicBezTo>
                    <a:pt x="55383" y="2572"/>
                    <a:pt x="55252" y="2645"/>
                    <a:pt x="55186" y="2769"/>
                  </a:cubicBezTo>
                  <a:lnTo>
                    <a:pt x="28956" y="52847"/>
                  </a:lnTo>
                  <a:cubicBezTo>
                    <a:pt x="28635" y="53442"/>
                    <a:pt x="28028" y="53811"/>
                    <a:pt x="27349" y="53811"/>
                  </a:cubicBezTo>
                  <a:lnTo>
                    <a:pt x="2679" y="53811"/>
                  </a:lnTo>
                  <a:cubicBezTo>
                    <a:pt x="2036" y="53811"/>
                    <a:pt x="1465" y="53490"/>
                    <a:pt x="1132" y="52942"/>
                  </a:cubicBezTo>
                  <a:cubicBezTo>
                    <a:pt x="798" y="52395"/>
                    <a:pt x="786" y="51728"/>
                    <a:pt x="1084" y="51156"/>
                  </a:cubicBezTo>
                  <a:lnTo>
                    <a:pt x="27587" y="543"/>
                  </a:lnTo>
                  <a:cubicBezTo>
                    <a:pt x="27682" y="364"/>
                    <a:pt x="27623" y="138"/>
                    <a:pt x="27432" y="43"/>
                  </a:cubicBezTo>
                  <a:cubicBezTo>
                    <a:pt x="27378" y="14"/>
                    <a:pt x="27320" y="1"/>
                    <a:pt x="27262" y="1"/>
                  </a:cubicBezTo>
                  <a:close/>
                </a:path>
              </a:pathLst>
            </a:custGeom>
            <a:solidFill>
              <a:srgbClr val="869FB2"/>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16" name="Google Shape;1491;p39">
              <a:extLst>
                <a:ext uri="{FF2B5EF4-FFF2-40B4-BE49-F238E27FC236}">
                  <a16:creationId xmlns:a16="http://schemas.microsoft.com/office/drawing/2014/main" id="{E7981652-E69C-41D8-920B-F39827A0871D}"/>
                </a:ext>
              </a:extLst>
            </p:cNvPr>
            <p:cNvSpPr/>
            <p:nvPr/>
          </p:nvSpPr>
          <p:spPr>
            <a:xfrm>
              <a:off x="3555008" y="2821785"/>
              <a:ext cx="1524283" cy="1486815"/>
            </a:xfrm>
            <a:custGeom>
              <a:avLst/>
              <a:gdLst/>
              <a:ahLst/>
              <a:cxnLst/>
              <a:rect l="l" t="t" r="r" b="b"/>
              <a:pathLst>
                <a:path w="55937" h="54562" extrusionOk="0">
                  <a:moveTo>
                    <a:pt x="27263" y="1"/>
                  </a:moveTo>
                  <a:cubicBezTo>
                    <a:pt x="27129" y="1"/>
                    <a:pt x="26999" y="73"/>
                    <a:pt x="26933" y="198"/>
                  </a:cubicBezTo>
                  <a:lnTo>
                    <a:pt x="417" y="50811"/>
                  </a:lnTo>
                  <a:cubicBezTo>
                    <a:pt x="1" y="51609"/>
                    <a:pt x="25" y="52549"/>
                    <a:pt x="489" y="53323"/>
                  </a:cubicBezTo>
                  <a:cubicBezTo>
                    <a:pt x="953" y="54097"/>
                    <a:pt x="1775" y="54561"/>
                    <a:pt x="2680" y="54561"/>
                  </a:cubicBezTo>
                  <a:lnTo>
                    <a:pt x="27349" y="54561"/>
                  </a:lnTo>
                  <a:cubicBezTo>
                    <a:pt x="28302" y="54561"/>
                    <a:pt x="29159" y="54038"/>
                    <a:pt x="29612" y="53204"/>
                  </a:cubicBezTo>
                  <a:lnTo>
                    <a:pt x="55841" y="3115"/>
                  </a:lnTo>
                  <a:cubicBezTo>
                    <a:pt x="55936" y="2936"/>
                    <a:pt x="55865" y="2710"/>
                    <a:pt x="55686" y="2615"/>
                  </a:cubicBezTo>
                  <a:cubicBezTo>
                    <a:pt x="55632" y="2586"/>
                    <a:pt x="55574" y="2572"/>
                    <a:pt x="55516" y="2572"/>
                  </a:cubicBezTo>
                  <a:cubicBezTo>
                    <a:pt x="55383" y="2572"/>
                    <a:pt x="55253" y="2645"/>
                    <a:pt x="55186" y="2769"/>
                  </a:cubicBezTo>
                  <a:lnTo>
                    <a:pt x="28945" y="52847"/>
                  </a:lnTo>
                  <a:cubicBezTo>
                    <a:pt x="28635" y="53442"/>
                    <a:pt x="28016" y="53811"/>
                    <a:pt x="27349" y="53811"/>
                  </a:cubicBezTo>
                  <a:lnTo>
                    <a:pt x="2680" y="53811"/>
                  </a:lnTo>
                  <a:cubicBezTo>
                    <a:pt x="2037" y="53811"/>
                    <a:pt x="1453" y="53490"/>
                    <a:pt x="1132" y="52942"/>
                  </a:cubicBezTo>
                  <a:cubicBezTo>
                    <a:pt x="798" y="52395"/>
                    <a:pt x="775" y="51728"/>
                    <a:pt x="1084" y="51156"/>
                  </a:cubicBezTo>
                  <a:lnTo>
                    <a:pt x="27588" y="543"/>
                  </a:lnTo>
                  <a:cubicBezTo>
                    <a:pt x="27683" y="364"/>
                    <a:pt x="27611" y="138"/>
                    <a:pt x="27433" y="43"/>
                  </a:cubicBezTo>
                  <a:cubicBezTo>
                    <a:pt x="27379" y="14"/>
                    <a:pt x="27321" y="1"/>
                    <a:pt x="27263" y="1"/>
                  </a:cubicBezTo>
                  <a:close/>
                </a:path>
              </a:pathLst>
            </a:custGeom>
            <a:solidFill>
              <a:srgbClr val="869FB2"/>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17" name="Google Shape;1492;p39">
              <a:extLst>
                <a:ext uri="{FF2B5EF4-FFF2-40B4-BE49-F238E27FC236}">
                  <a16:creationId xmlns:a16="http://schemas.microsoft.com/office/drawing/2014/main" id="{C0649C88-1614-44B9-9298-C4114F924A51}"/>
                </a:ext>
              </a:extLst>
            </p:cNvPr>
            <p:cNvSpPr/>
            <p:nvPr/>
          </p:nvSpPr>
          <p:spPr>
            <a:xfrm>
              <a:off x="1496993" y="1200000"/>
              <a:ext cx="1524256" cy="1486651"/>
            </a:xfrm>
            <a:custGeom>
              <a:avLst/>
              <a:gdLst/>
              <a:ahLst/>
              <a:cxnLst/>
              <a:rect l="l" t="t" r="r" b="b"/>
              <a:pathLst>
                <a:path w="55936" h="54556" extrusionOk="0">
                  <a:moveTo>
                    <a:pt x="2679" y="1"/>
                  </a:moveTo>
                  <a:cubicBezTo>
                    <a:pt x="1774" y="1"/>
                    <a:pt x="953" y="465"/>
                    <a:pt x="489" y="1239"/>
                  </a:cubicBezTo>
                  <a:cubicBezTo>
                    <a:pt x="24" y="2013"/>
                    <a:pt x="0" y="2954"/>
                    <a:pt x="417" y="3751"/>
                  </a:cubicBezTo>
                  <a:lnTo>
                    <a:pt x="26932" y="54365"/>
                  </a:lnTo>
                  <a:cubicBezTo>
                    <a:pt x="26992" y="54484"/>
                    <a:pt x="27123" y="54555"/>
                    <a:pt x="27254" y="54555"/>
                  </a:cubicBezTo>
                  <a:cubicBezTo>
                    <a:pt x="27313" y="54555"/>
                    <a:pt x="27373" y="54543"/>
                    <a:pt x="27432" y="54520"/>
                  </a:cubicBezTo>
                  <a:cubicBezTo>
                    <a:pt x="27611" y="54424"/>
                    <a:pt x="27682" y="54198"/>
                    <a:pt x="27587" y="54019"/>
                  </a:cubicBezTo>
                  <a:lnTo>
                    <a:pt x="1072" y="3406"/>
                  </a:lnTo>
                  <a:cubicBezTo>
                    <a:pt x="774" y="2835"/>
                    <a:pt x="798" y="2168"/>
                    <a:pt x="1131" y="1620"/>
                  </a:cubicBezTo>
                  <a:cubicBezTo>
                    <a:pt x="1453" y="1072"/>
                    <a:pt x="2036" y="739"/>
                    <a:pt x="2679" y="739"/>
                  </a:cubicBezTo>
                  <a:lnTo>
                    <a:pt x="27349" y="739"/>
                  </a:lnTo>
                  <a:cubicBezTo>
                    <a:pt x="28016" y="739"/>
                    <a:pt x="28635" y="1108"/>
                    <a:pt x="28944" y="1703"/>
                  </a:cubicBezTo>
                  <a:lnTo>
                    <a:pt x="55186" y="51793"/>
                  </a:lnTo>
                  <a:cubicBezTo>
                    <a:pt x="55252" y="51918"/>
                    <a:pt x="55377" y="51990"/>
                    <a:pt x="55511" y="51990"/>
                  </a:cubicBezTo>
                  <a:cubicBezTo>
                    <a:pt x="55569" y="51990"/>
                    <a:pt x="55628" y="51977"/>
                    <a:pt x="55686" y="51948"/>
                  </a:cubicBezTo>
                  <a:cubicBezTo>
                    <a:pt x="55865" y="51853"/>
                    <a:pt x="55936" y="51626"/>
                    <a:pt x="55841" y="51448"/>
                  </a:cubicBezTo>
                  <a:lnTo>
                    <a:pt x="29611" y="1358"/>
                  </a:lnTo>
                  <a:cubicBezTo>
                    <a:pt x="29159" y="525"/>
                    <a:pt x="28302" y="1"/>
                    <a:pt x="27349" y="1"/>
                  </a:cubicBezTo>
                  <a:close/>
                </a:path>
              </a:pathLst>
            </a:custGeom>
            <a:solidFill>
              <a:srgbClr val="869FB2"/>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18" name="Google Shape;1493;p39">
              <a:extLst>
                <a:ext uri="{FF2B5EF4-FFF2-40B4-BE49-F238E27FC236}">
                  <a16:creationId xmlns:a16="http://schemas.microsoft.com/office/drawing/2014/main" id="{180463F0-E5CA-4E11-8E5D-A1DB722990AE}"/>
                </a:ext>
              </a:extLst>
            </p:cNvPr>
            <p:cNvSpPr/>
            <p:nvPr/>
          </p:nvSpPr>
          <p:spPr>
            <a:xfrm>
              <a:off x="1218925" y="2655527"/>
              <a:ext cx="796218" cy="493497"/>
            </a:xfrm>
            <a:custGeom>
              <a:avLst/>
              <a:gdLst/>
              <a:ahLst/>
              <a:cxnLst/>
              <a:rect l="l" t="t" r="r" b="b"/>
              <a:pathLst>
                <a:path w="29219" h="18110" extrusionOk="0">
                  <a:moveTo>
                    <a:pt x="9061" y="0"/>
                  </a:moveTo>
                  <a:cubicBezTo>
                    <a:pt x="4061" y="0"/>
                    <a:pt x="1" y="4060"/>
                    <a:pt x="1" y="9061"/>
                  </a:cubicBezTo>
                  <a:cubicBezTo>
                    <a:pt x="1" y="14050"/>
                    <a:pt x="4061" y="18110"/>
                    <a:pt x="9061" y="18110"/>
                  </a:cubicBezTo>
                  <a:lnTo>
                    <a:pt x="25266" y="18110"/>
                  </a:lnTo>
                  <a:cubicBezTo>
                    <a:pt x="25468" y="18110"/>
                    <a:pt x="25635" y="17943"/>
                    <a:pt x="25635" y="17740"/>
                  </a:cubicBezTo>
                  <a:cubicBezTo>
                    <a:pt x="25635" y="17538"/>
                    <a:pt x="25468" y="17371"/>
                    <a:pt x="25266" y="17371"/>
                  </a:cubicBezTo>
                  <a:lnTo>
                    <a:pt x="9061" y="17371"/>
                  </a:lnTo>
                  <a:cubicBezTo>
                    <a:pt x="4477" y="17371"/>
                    <a:pt x="739" y="13645"/>
                    <a:pt x="739" y="9061"/>
                  </a:cubicBezTo>
                  <a:cubicBezTo>
                    <a:pt x="739" y="4477"/>
                    <a:pt x="4477" y="738"/>
                    <a:pt x="9061" y="738"/>
                  </a:cubicBezTo>
                  <a:lnTo>
                    <a:pt x="28838" y="738"/>
                  </a:lnTo>
                  <a:cubicBezTo>
                    <a:pt x="29052" y="738"/>
                    <a:pt x="29219" y="572"/>
                    <a:pt x="29219" y="369"/>
                  </a:cubicBezTo>
                  <a:cubicBezTo>
                    <a:pt x="29219" y="167"/>
                    <a:pt x="29052" y="0"/>
                    <a:pt x="28838" y="0"/>
                  </a:cubicBezTo>
                  <a:close/>
                </a:path>
              </a:pathLst>
            </a:custGeom>
            <a:solidFill>
              <a:srgbClr val="869FB2"/>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19" name="Google Shape;1494;p39">
              <a:extLst>
                <a:ext uri="{FF2B5EF4-FFF2-40B4-BE49-F238E27FC236}">
                  <a16:creationId xmlns:a16="http://schemas.microsoft.com/office/drawing/2014/main" id="{32DE218E-4075-42FF-BB65-77667D4A808C}"/>
                </a:ext>
              </a:extLst>
            </p:cNvPr>
            <p:cNvSpPr/>
            <p:nvPr/>
          </p:nvSpPr>
          <p:spPr>
            <a:xfrm>
              <a:off x="6571164" y="2655527"/>
              <a:ext cx="1353916" cy="493497"/>
            </a:xfrm>
            <a:custGeom>
              <a:avLst/>
              <a:gdLst/>
              <a:ahLst/>
              <a:cxnLst/>
              <a:rect l="l" t="t" r="r" b="b"/>
              <a:pathLst>
                <a:path w="49685" h="18110" extrusionOk="0">
                  <a:moveTo>
                    <a:pt x="3953" y="0"/>
                  </a:moveTo>
                  <a:cubicBezTo>
                    <a:pt x="3751" y="0"/>
                    <a:pt x="3584" y="167"/>
                    <a:pt x="3584" y="369"/>
                  </a:cubicBezTo>
                  <a:cubicBezTo>
                    <a:pt x="3584" y="572"/>
                    <a:pt x="3751" y="738"/>
                    <a:pt x="3953" y="738"/>
                  </a:cubicBezTo>
                  <a:lnTo>
                    <a:pt x="40624" y="738"/>
                  </a:lnTo>
                  <a:cubicBezTo>
                    <a:pt x="45208" y="738"/>
                    <a:pt x="48935" y="4477"/>
                    <a:pt x="48935" y="9061"/>
                  </a:cubicBezTo>
                  <a:cubicBezTo>
                    <a:pt x="48935" y="13645"/>
                    <a:pt x="45208" y="17371"/>
                    <a:pt x="40624" y="17371"/>
                  </a:cubicBezTo>
                  <a:lnTo>
                    <a:pt x="381" y="17371"/>
                  </a:lnTo>
                  <a:cubicBezTo>
                    <a:pt x="167" y="17371"/>
                    <a:pt x="0" y="17538"/>
                    <a:pt x="0" y="17740"/>
                  </a:cubicBezTo>
                  <a:cubicBezTo>
                    <a:pt x="0" y="17943"/>
                    <a:pt x="167" y="18110"/>
                    <a:pt x="381" y="18110"/>
                  </a:cubicBezTo>
                  <a:lnTo>
                    <a:pt x="40624" y="18110"/>
                  </a:lnTo>
                  <a:cubicBezTo>
                    <a:pt x="45613" y="18110"/>
                    <a:pt x="49685" y="14050"/>
                    <a:pt x="49685" y="9061"/>
                  </a:cubicBezTo>
                  <a:cubicBezTo>
                    <a:pt x="49685" y="4060"/>
                    <a:pt x="45625" y="0"/>
                    <a:pt x="40624" y="0"/>
                  </a:cubicBezTo>
                  <a:close/>
                </a:path>
              </a:pathLst>
            </a:custGeom>
            <a:solidFill>
              <a:schemeClr val="accent1">
                <a:lumMod val="100000"/>
              </a:schemeClr>
            </a:solidFill>
            <a:ln>
              <a:noFill/>
            </a:ln>
          </p:spPr>
          <p:txBody>
            <a:bodyPr spcFirstLastPara="1" wrap="square" lIns="121900" tIns="121900" rIns="121900" bIns="1219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Tx/>
                <a:buNone/>
                <a:tabLst/>
                <a:defRPr/>
              </a:pPr>
              <a:r>
                <a:rPr kumimoji="0" lang="en" sz="2267" b="0" i="0" u="none" strike="noStrike" kern="1200" cap="none" spc="0" normalizeH="0" baseline="0" noProof="0">
                  <a:ln>
                    <a:noFill/>
                  </a:ln>
                  <a:solidFill>
                    <a:schemeClr val="accent1"/>
                  </a:solidFill>
                  <a:effectLst/>
                  <a:uLnTx/>
                  <a:uFillTx/>
                  <a:latin typeface="Arial"/>
                  <a:ea typeface="+mn-ea"/>
                  <a:cs typeface="+mn-ea"/>
                  <a:sym typeface="+mn-lt"/>
                </a:rPr>
                <a:t>Mercury</a:t>
              </a:r>
              <a:endParaRPr kumimoji="0" sz="2489" b="0" i="0" u="none" strike="noStrike" kern="1200" cap="none" spc="0" normalizeH="0" baseline="0" noProof="0">
                <a:ln>
                  <a:noFill/>
                </a:ln>
                <a:solidFill>
                  <a:schemeClr val="accent1"/>
                </a:solidFill>
                <a:effectLst/>
                <a:uLnTx/>
                <a:uFillTx/>
                <a:latin typeface="Arial"/>
                <a:ea typeface="+mn-ea"/>
                <a:cs typeface="+mn-ea"/>
                <a:sym typeface="+mn-lt"/>
              </a:endParaRPr>
            </a:p>
          </p:txBody>
        </p:sp>
      </p:grpSp>
      <p:grpSp>
        <p:nvGrpSpPr>
          <p:cNvPr id="20" name="Google Shape;1495;p39">
            <a:extLst>
              <a:ext uri="{FF2B5EF4-FFF2-40B4-BE49-F238E27FC236}">
                <a16:creationId xmlns:a16="http://schemas.microsoft.com/office/drawing/2014/main" id="{355F08EC-0777-40C3-9B23-9293229B4480}"/>
              </a:ext>
            </a:extLst>
          </p:cNvPr>
          <p:cNvGrpSpPr/>
          <p:nvPr/>
        </p:nvGrpSpPr>
        <p:grpSpPr>
          <a:xfrm>
            <a:off x="4211817" y="1458367"/>
            <a:ext cx="1790543" cy="3304585"/>
            <a:chOff x="3158862" y="1276325"/>
            <a:chExt cx="1342907" cy="2478439"/>
          </a:xfrm>
        </p:grpSpPr>
        <p:sp>
          <p:nvSpPr>
            <p:cNvPr id="21" name="Google Shape;1496;p39">
              <a:extLst>
                <a:ext uri="{FF2B5EF4-FFF2-40B4-BE49-F238E27FC236}">
                  <a16:creationId xmlns:a16="http://schemas.microsoft.com/office/drawing/2014/main" id="{96393FF9-5248-41B1-8436-21FF5AA79D74}"/>
                </a:ext>
              </a:extLst>
            </p:cNvPr>
            <p:cNvSpPr/>
            <p:nvPr/>
          </p:nvSpPr>
          <p:spPr>
            <a:xfrm>
              <a:off x="3585502" y="1970275"/>
              <a:ext cx="549333" cy="935711"/>
            </a:xfrm>
            <a:custGeom>
              <a:avLst/>
              <a:gdLst/>
              <a:ahLst/>
              <a:cxnLst/>
              <a:rect l="l" t="t" r="r" b="b"/>
              <a:pathLst>
                <a:path w="20159" h="34338" extrusionOk="0">
                  <a:moveTo>
                    <a:pt x="2049" y="0"/>
                  </a:moveTo>
                  <a:cubicBezTo>
                    <a:pt x="799" y="0"/>
                    <a:pt x="1" y="1322"/>
                    <a:pt x="572" y="2429"/>
                  </a:cubicBezTo>
                  <a:lnTo>
                    <a:pt x="16634" y="33445"/>
                  </a:lnTo>
                  <a:cubicBezTo>
                    <a:pt x="16920" y="33993"/>
                    <a:pt x="17491" y="34338"/>
                    <a:pt x="18110" y="34338"/>
                  </a:cubicBezTo>
                  <a:cubicBezTo>
                    <a:pt x="19360" y="34338"/>
                    <a:pt x="20158" y="33016"/>
                    <a:pt x="19587" y="31909"/>
                  </a:cubicBezTo>
                  <a:lnTo>
                    <a:pt x="3525" y="893"/>
                  </a:lnTo>
                  <a:cubicBezTo>
                    <a:pt x="3239" y="346"/>
                    <a:pt x="2668" y="0"/>
                    <a:pt x="2049" y="0"/>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22" name="Google Shape;1497;p39">
              <a:extLst>
                <a:ext uri="{FF2B5EF4-FFF2-40B4-BE49-F238E27FC236}">
                  <a16:creationId xmlns:a16="http://schemas.microsoft.com/office/drawing/2014/main" id="{3BC13C92-440A-4AAB-AB57-11D5256E8004}"/>
                </a:ext>
              </a:extLst>
            </p:cNvPr>
            <p:cNvSpPr/>
            <p:nvPr/>
          </p:nvSpPr>
          <p:spPr>
            <a:xfrm>
              <a:off x="3158862" y="2646098"/>
              <a:ext cx="1342907" cy="1108666"/>
            </a:xfrm>
            <a:custGeom>
              <a:avLst/>
              <a:gdLst/>
              <a:ahLst/>
              <a:cxnLst/>
              <a:rect l="l" t="t" r="r" b="b"/>
              <a:pathLst>
                <a:path w="49281" h="40685" extrusionOk="0">
                  <a:moveTo>
                    <a:pt x="21920" y="1"/>
                  </a:moveTo>
                  <a:cubicBezTo>
                    <a:pt x="21110" y="1"/>
                    <a:pt x="20360" y="441"/>
                    <a:pt x="19991" y="1156"/>
                  </a:cubicBezTo>
                  <a:lnTo>
                    <a:pt x="774" y="37482"/>
                  </a:lnTo>
                  <a:cubicBezTo>
                    <a:pt x="0" y="38934"/>
                    <a:pt x="1060" y="40685"/>
                    <a:pt x="2703" y="40685"/>
                  </a:cubicBezTo>
                  <a:lnTo>
                    <a:pt x="27373" y="40685"/>
                  </a:lnTo>
                  <a:cubicBezTo>
                    <a:pt x="28182" y="40685"/>
                    <a:pt x="28920" y="40244"/>
                    <a:pt x="29301" y="39530"/>
                  </a:cubicBezTo>
                  <a:lnTo>
                    <a:pt x="48518" y="3204"/>
                  </a:lnTo>
                  <a:cubicBezTo>
                    <a:pt x="49280" y="1751"/>
                    <a:pt x="48232" y="1"/>
                    <a:pt x="46589" y="1"/>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23" name="Google Shape;1498;p39">
              <a:extLst>
                <a:ext uri="{FF2B5EF4-FFF2-40B4-BE49-F238E27FC236}">
                  <a16:creationId xmlns:a16="http://schemas.microsoft.com/office/drawing/2014/main" id="{B7520AE5-9223-4606-AC20-24AE1EC7EC77}"/>
                </a:ext>
              </a:extLst>
            </p:cNvPr>
            <p:cNvSpPr txBox="1"/>
            <p:nvPr/>
          </p:nvSpPr>
          <p:spPr>
            <a:xfrm>
              <a:off x="3647700" y="2791475"/>
              <a:ext cx="796200" cy="277200"/>
            </a:xfrm>
            <a:prstGeom prst="rect">
              <a:avLst/>
            </a:prstGeom>
            <a:noFill/>
            <a:ln>
              <a:noFill/>
            </a:ln>
          </p:spPr>
          <p:txBody>
            <a:bodyPr spcFirstLastPara="1" wrap="square" lIns="121900" tIns="121900" rIns="121900" bIns="1219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3200" b="0" i="0" u="none" strike="noStrike" kern="1200" cap="none" spc="0" normalizeH="0" baseline="0" noProof="0">
                  <a:ln>
                    <a:noFill/>
                  </a:ln>
                  <a:solidFill>
                    <a:srgbClr val="FFFFFF"/>
                  </a:solidFill>
                  <a:effectLst/>
                  <a:uLnTx/>
                  <a:uFillTx/>
                  <a:latin typeface="Arial"/>
                  <a:ea typeface="+mn-ea"/>
                  <a:cs typeface="+mn-ea"/>
                  <a:sym typeface="+mn-lt"/>
                </a:rPr>
                <a:t>04</a:t>
              </a:r>
              <a:endParaRPr kumimoji="0" sz="2489" b="0" i="0" u="none" strike="noStrike" kern="1200" cap="none" spc="0" normalizeH="0" baseline="0" noProof="0">
                <a:ln>
                  <a:noFill/>
                </a:ln>
                <a:solidFill>
                  <a:srgbClr val="FFFFFF"/>
                </a:solidFill>
                <a:effectLst/>
                <a:uLnTx/>
                <a:uFillTx/>
                <a:latin typeface="Arial"/>
                <a:ea typeface="+mn-ea"/>
                <a:cs typeface="+mn-ea"/>
                <a:sym typeface="+mn-lt"/>
              </a:endParaRPr>
            </a:p>
          </p:txBody>
        </p:sp>
        <p:sp>
          <p:nvSpPr>
            <p:cNvPr id="24" name="Google Shape;1499;p39">
              <a:extLst>
                <a:ext uri="{FF2B5EF4-FFF2-40B4-BE49-F238E27FC236}">
                  <a16:creationId xmlns:a16="http://schemas.microsoft.com/office/drawing/2014/main" id="{F702C7FE-B3FD-47D0-A5F4-C980FE5338A3}"/>
                </a:ext>
              </a:extLst>
            </p:cNvPr>
            <p:cNvSpPr txBox="1"/>
            <p:nvPr/>
          </p:nvSpPr>
          <p:spPr>
            <a:xfrm>
              <a:off x="3327450" y="3068673"/>
              <a:ext cx="979500" cy="277200"/>
            </a:xfrm>
            <a:prstGeom prst="rect">
              <a:avLst/>
            </a:prstGeom>
            <a:noFill/>
            <a:ln>
              <a:noFill/>
            </a:ln>
          </p:spPr>
          <p:txBody>
            <a:bodyPr spcFirstLastPara="1" wrap="square" lIns="121900" tIns="121900" rIns="121900" bIns="1219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2133" b="0" i="0" u="none" strike="noStrike" kern="1200" cap="none" spc="0" normalizeH="0" baseline="0" noProof="0">
                  <a:ln>
                    <a:noFill/>
                  </a:ln>
                  <a:solidFill>
                    <a:srgbClr val="FFFFFF"/>
                  </a:solidFill>
                  <a:effectLst/>
                  <a:uLnTx/>
                  <a:uFillTx/>
                  <a:latin typeface="Arial"/>
                  <a:ea typeface="+mn-ea"/>
                  <a:cs typeface="+mn-ea"/>
                  <a:sym typeface="+mn-lt"/>
                </a:rPr>
                <a:t>Jupiter</a:t>
              </a:r>
              <a:endParaRPr kumimoji="0" sz="2133" b="0" i="0" u="none" strike="noStrike" kern="1200" cap="none" spc="0" normalizeH="0" baseline="0" noProof="0">
                <a:ln>
                  <a:noFill/>
                </a:ln>
                <a:solidFill>
                  <a:srgbClr val="FFFFFF"/>
                </a:solidFill>
                <a:effectLst/>
                <a:uLnTx/>
                <a:uFillTx/>
                <a:latin typeface="Arial"/>
                <a:ea typeface="+mn-ea"/>
                <a:cs typeface="+mn-ea"/>
                <a:sym typeface="+mn-lt"/>
              </a:endParaRPr>
            </a:p>
          </p:txBody>
        </p:sp>
        <p:grpSp>
          <p:nvGrpSpPr>
            <p:cNvPr id="25" name="Google Shape;1500;p39">
              <a:extLst>
                <a:ext uri="{FF2B5EF4-FFF2-40B4-BE49-F238E27FC236}">
                  <a16:creationId xmlns:a16="http://schemas.microsoft.com/office/drawing/2014/main" id="{A70B2CE4-932F-4222-A1B3-E35A1CB27332}"/>
                </a:ext>
              </a:extLst>
            </p:cNvPr>
            <p:cNvGrpSpPr/>
            <p:nvPr/>
          </p:nvGrpSpPr>
          <p:grpSpPr>
            <a:xfrm>
              <a:off x="3183691" y="1276325"/>
              <a:ext cx="360868" cy="367261"/>
              <a:chOff x="-65144125" y="4094450"/>
              <a:chExt cx="311900" cy="317425"/>
            </a:xfrm>
          </p:grpSpPr>
          <p:sp>
            <p:nvSpPr>
              <p:cNvPr id="26" name="Google Shape;1501;p39">
                <a:extLst>
                  <a:ext uri="{FF2B5EF4-FFF2-40B4-BE49-F238E27FC236}">
                    <a16:creationId xmlns:a16="http://schemas.microsoft.com/office/drawing/2014/main" id="{A8EEE67A-11D7-4CF2-A1FD-D84AAD04F18E}"/>
                  </a:ext>
                </a:extLst>
              </p:cNvPr>
              <p:cNvSpPr/>
              <p:nvPr/>
            </p:nvSpPr>
            <p:spPr>
              <a:xfrm>
                <a:off x="-65079550" y="4183450"/>
                <a:ext cx="185900" cy="185900"/>
              </a:xfrm>
              <a:custGeom>
                <a:avLst/>
                <a:gdLst/>
                <a:ahLst/>
                <a:cxnLst/>
                <a:rect l="l" t="t" r="r" b="b"/>
                <a:pathLst>
                  <a:path w="7436" h="7436" extrusionOk="0">
                    <a:moveTo>
                      <a:pt x="3687" y="0"/>
                    </a:moveTo>
                    <a:cubicBezTo>
                      <a:pt x="1639" y="0"/>
                      <a:pt x="1" y="1639"/>
                      <a:pt x="1" y="3686"/>
                    </a:cubicBezTo>
                    <a:cubicBezTo>
                      <a:pt x="1" y="5734"/>
                      <a:pt x="1639" y="7435"/>
                      <a:pt x="3687" y="7435"/>
                    </a:cubicBezTo>
                    <a:cubicBezTo>
                      <a:pt x="5735" y="7435"/>
                      <a:pt x="7436" y="5797"/>
                      <a:pt x="7436" y="3686"/>
                    </a:cubicBezTo>
                    <a:cubicBezTo>
                      <a:pt x="7436" y="3466"/>
                      <a:pt x="7247" y="3308"/>
                      <a:pt x="7058" y="3308"/>
                    </a:cubicBezTo>
                    <a:lnTo>
                      <a:pt x="4096" y="3308"/>
                    </a:lnTo>
                    <a:lnTo>
                      <a:pt x="4096" y="378"/>
                    </a:lnTo>
                    <a:cubicBezTo>
                      <a:pt x="4096" y="158"/>
                      <a:pt x="3907" y="0"/>
                      <a:pt x="3687" y="0"/>
                    </a:cubicBezTo>
                    <a:close/>
                  </a:path>
                </a:pathLst>
              </a:custGeom>
              <a:solidFill>
                <a:schemeClr val="accent1">
                  <a:lumMod val="100000"/>
                </a:schemeClr>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27" name="Google Shape;1502;p39">
                <a:extLst>
                  <a:ext uri="{FF2B5EF4-FFF2-40B4-BE49-F238E27FC236}">
                    <a16:creationId xmlns:a16="http://schemas.microsoft.com/office/drawing/2014/main" id="{5F813D7E-8232-4A9D-B273-A73E3BFB7217}"/>
                  </a:ext>
                </a:extLst>
              </p:cNvPr>
              <p:cNvSpPr/>
              <p:nvPr/>
            </p:nvSpPr>
            <p:spPr>
              <a:xfrm>
                <a:off x="-65039375" y="4094450"/>
                <a:ext cx="104775" cy="19700"/>
              </a:xfrm>
              <a:custGeom>
                <a:avLst/>
                <a:gdLst/>
                <a:ahLst/>
                <a:cxnLst/>
                <a:rect l="l" t="t" r="r" b="b"/>
                <a:pathLst>
                  <a:path w="4191" h="788" extrusionOk="0">
                    <a:moveTo>
                      <a:pt x="473" y="0"/>
                    </a:moveTo>
                    <a:cubicBezTo>
                      <a:pt x="252" y="0"/>
                      <a:pt x="32" y="221"/>
                      <a:pt x="32" y="410"/>
                    </a:cubicBezTo>
                    <a:cubicBezTo>
                      <a:pt x="0" y="599"/>
                      <a:pt x="158" y="756"/>
                      <a:pt x="347" y="788"/>
                    </a:cubicBezTo>
                    <a:lnTo>
                      <a:pt x="3813" y="788"/>
                    </a:lnTo>
                    <a:cubicBezTo>
                      <a:pt x="4033" y="756"/>
                      <a:pt x="4191" y="599"/>
                      <a:pt x="4191" y="410"/>
                    </a:cubicBezTo>
                    <a:cubicBezTo>
                      <a:pt x="4191" y="158"/>
                      <a:pt x="3970" y="0"/>
                      <a:pt x="3781" y="0"/>
                    </a:cubicBezTo>
                    <a:close/>
                  </a:path>
                </a:pathLst>
              </a:custGeom>
              <a:solidFill>
                <a:schemeClr val="accent1">
                  <a:lumMod val="100000"/>
                </a:schemeClr>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28" name="Google Shape;1503;p39">
                <a:extLst>
                  <a:ext uri="{FF2B5EF4-FFF2-40B4-BE49-F238E27FC236}">
                    <a16:creationId xmlns:a16="http://schemas.microsoft.com/office/drawing/2014/main" id="{0F53070B-CC32-4A71-81DF-6AD6D85B618B}"/>
                  </a:ext>
                </a:extLst>
              </p:cNvPr>
              <p:cNvSpPr/>
              <p:nvPr/>
            </p:nvSpPr>
            <p:spPr>
              <a:xfrm>
                <a:off x="-65144125" y="4121025"/>
                <a:ext cx="311900" cy="290850"/>
              </a:xfrm>
              <a:custGeom>
                <a:avLst/>
                <a:gdLst/>
                <a:ahLst/>
                <a:cxnLst/>
                <a:rect l="l" t="t" r="r" b="b"/>
                <a:pathLst>
                  <a:path w="12476" h="11634" extrusionOk="0">
                    <a:moveTo>
                      <a:pt x="6321" y="1678"/>
                    </a:moveTo>
                    <a:cubicBezTo>
                      <a:pt x="7437" y="1678"/>
                      <a:pt x="8570" y="2088"/>
                      <a:pt x="9483" y="3001"/>
                    </a:cubicBezTo>
                    <a:cubicBezTo>
                      <a:pt x="10334" y="3884"/>
                      <a:pt x="10806" y="5018"/>
                      <a:pt x="10806" y="6246"/>
                    </a:cubicBezTo>
                    <a:cubicBezTo>
                      <a:pt x="10806" y="8767"/>
                      <a:pt x="8759" y="10815"/>
                      <a:pt x="6238" y="10815"/>
                    </a:cubicBezTo>
                    <a:cubicBezTo>
                      <a:pt x="3718" y="10815"/>
                      <a:pt x="1702" y="8767"/>
                      <a:pt x="1702" y="6246"/>
                    </a:cubicBezTo>
                    <a:cubicBezTo>
                      <a:pt x="1702" y="3492"/>
                      <a:pt x="3974" y="1678"/>
                      <a:pt x="6321" y="1678"/>
                    </a:cubicBezTo>
                    <a:close/>
                    <a:moveTo>
                      <a:pt x="1367" y="1"/>
                    </a:moveTo>
                    <a:cubicBezTo>
                      <a:pt x="1048" y="1"/>
                      <a:pt x="725" y="119"/>
                      <a:pt x="473" y="355"/>
                    </a:cubicBezTo>
                    <a:cubicBezTo>
                      <a:pt x="0" y="828"/>
                      <a:pt x="0" y="1615"/>
                      <a:pt x="473" y="2119"/>
                    </a:cubicBezTo>
                    <a:cubicBezTo>
                      <a:pt x="696" y="2363"/>
                      <a:pt x="997" y="2488"/>
                      <a:pt x="1327" y="2488"/>
                    </a:cubicBezTo>
                    <a:cubicBezTo>
                      <a:pt x="1509" y="2488"/>
                      <a:pt x="1700" y="2450"/>
                      <a:pt x="1891" y="2371"/>
                    </a:cubicBezTo>
                    <a:lnTo>
                      <a:pt x="2237" y="2718"/>
                    </a:lnTo>
                    <a:cubicBezTo>
                      <a:pt x="1386" y="3695"/>
                      <a:pt x="914" y="4923"/>
                      <a:pt x="914" y="6215"/>
                    </a:cubicBezTo>
                    <a:cubicBezTo>
                      <a:pt x="914" y="9176"/>
                      <a:pt x="3340" y="11634"/>
                      <a:pt x="6301" y="11634"/>
                    </a:cubicBezTo>
                    <a:cubicBezTo>
                      <a:pt x="9231" y="11634"/>
                      <a:pt x="11689" y="9208"/>
                      <a:pt x="11689" y="6215"/>
                    </a:cubicBezTo>
                    <a:cubicBezTo>
                      <a:pt x="11689" y="4923"/>
                      <a:pt x="11216" y="3695"/>
                      <a:pt x="10365" y="2718"/>
                    </a:cubicBezTo>
                    <a:lnTo>
                      <a:pt x="10743" y="2371"/>
                    </a:lnTo>
                    <a:cubicBezTo>
                      <a:pt x="10901" y="2466"/>
                      <a:pt x="11059" y="2497"/>
                      <a:pt x="11248" y="2497"/>
                    </a:cubicBezTo>
                    <a:cubicBezTo>
                      <a:pt x="11909" y="2497"/>
                      <a:pt x="12476" y="1930"/>
                      <a:pt x="12476" y="1269"/>
                    </a:cubicBezTo>
                    <a:cubicBezTo>
                      <a:pt x="12476" y="607"/>
                      <a:pt x="11909" y="8"/>
                      <a:pt x="11248" y="8"/>
                    </a:cubicBezTo>
                    <a:cubicBezTo>
                      <a:pt x="10586" y="8"/>
                      <a:pt x="10019" y="544"/>
                      <a:pt x="10019" y="1269"/>
                    </a:cubicBezTo>
                    <a:cubicBezTo>
                      <a:pt x="10019" y="1458"/>
                      <a:pt x="10050" y="1615"/>
                      <a:pt x="10145" y="1773"/>
                    </a:cubicBezTo>
                    <a:lnTo>
                      <a:pt x="9798" y="2119"/>
                    </a:lnTo>
                    <a:cubicBezTo>
                      <a:pt x="9137" y="1584"/>
                      <a:pt x="8381" y="1206"/>
                      <a:pt x="7561" y="985"/>
                    </a:cubicBezTo>
                    <a:lnTo>
                      <a:pt x="7561" y="544"/>
                    </a:lnTo>
                    <a:lnTo>
                      <a:pt x="5073" y="544"/>
                    </a:lnTo>
                    <a:lnTo>
                      <a:pt x="5073" y="985"/>
                    </a:lnTo>
                    <a:cubicBezTo>
                      <a:pt x="4222" y="1206"/>
                      <a:pt x="3434" y="1584"/>
                      <a:pt x="2836" y="2119"/>
                    </a:cubicBezTo>
                    <a:lnTo>
                      <a:pt x="2458" y="1773"/>
                    </a:lnTo>
                    <a:cubicBezTo>
                      <a:pt x="2710" y="1269"/>
                      <a:pt x="2584" y="733"/>
                      <a:pt x="2237" y="355"/>
                    </a:cubicBezTo>
                    <a:cubicBezTo>
                      <a:pt x="2001" y="119"/>
                      <a:pt x="1686" y="1"/>
                      <a:pt x="1367" y="1"/>
                    </a:cubicBezTo>
                    <a:close/>
                  </a:path>
                </a:pathLst>
              </a:custGeom>
              <a:solidFill>
                <a:schemeClr val="accent1">
                  <a:lumMod val="100000"/>
                </a:schemeClr>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grpSp>
      </p:grpSp>
      <p:grpSp>
        <p:nvGrpSpPr>
          <p:cNvPr id="29" name="Google Shape;1504;p39">
            <a:extLst>
              <a:ext uri="{FF2B5EF4-FFF2-40B4-BE49-F238E27FC236}">
                <a16:creationId xmlns:a16="http://schemas.microsoft.com/office/drawing/2014/main" id="{8760750D-A674-4A17-9C88-91ABABDF8820}"/>
              </a:ext>
            </a:extLst>
          </p:cNvPr>
          <p:cNvGrpSpPr/>
          <p:nvPr/>
        </p:nvGrpSpPr>
        <p:grpSpPr>
          <a:xfrm>
            <a:off x="6066403" y="1458367"/>
            <a:ext cx="1790543" cy="3304585"/>
            <a:chOff x="4549802" y="1276325"/>
            <a:chExt cx="1342907" cy="2478439"/>
          </a:xfrm>
        </p:grpSpPr>
        <p:sp>
          <p:nvSpPr>
            <p:cNvPr id="30" name="Google Shape;1505;p39">
              <a:extLst>
                <a:ext uri="{FF2B5EF4-FFF2-40B4-BE49-F238E27FC236}">
                  <a16:creationId xmlns:a16="http://schemas.microsoft.com/office/drawing/2014/main" id="{D90FFFCA-2372-42B4-BEAE-73340C75702B}"/>
                </a:ext>
              </a:extLst>
            </p:cNvPr>
            <p:cNvSpPr/>
            <p:nvPr/>
          </p:nvSpPr>
          <p:spPr>
            <a:xfrm>
              <a:off x="5005982" y="1970275"/>
              <a:ext cx="549633" cy="935711"/>
            </a:xfrm>
            <a:custGeom>
              <a:avLst/>
              <a:gdLst/>
              <a:ahLst/>
              <a:cxnLst/>
              <a:rect l="l" t="t" r="r" b="b"/>
              <a:pathLst>
                <a:path w="20170" h="34338" extrusionOk="0">
                  <a:moveTo>
                    <a:pt x="2060" y="0"/>
                  </a:moveTo>
                  <a:cubicBezTo>
                    <a:pt x="810" y="0"/>
                    <a:pt x="0" y="1322"/>
                    <a:pt x="572" y="2429"/>
                  </a:cubicBezTo>
                  <a:lnTo>
                    <a:pt x="16645" y="33445"/>
                  </a:lnTo>
                  <a:cubicBezTo>
                    <a:pt x="16931" y="33993"/>
                    <a:pt x="17503" y="34338"/>
                    <a:pt x="18122" y="34338"/>
                  </a:cubicBezTo>
                  <a:cubicBezTo>
                    <a:pt x="19372" y="34338"/>
                    <a:pt x="20170" y="33016"/>
                    <a:pt x="19598" y="31909"/>
                  </a:cubicBezTo>
                  <a:lnTo>
                    <a:pt x="3537" y="893"/>
                  </a:lnTo>
                  <a:cubicBezTo>
                    <a:pt x="3251" y="346"/>
                    <a:pt x="2679" y="0"/>
                    <a:pt x="2060" y="0"/>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31" name="Google Shape;1506;p39">
              <a:extLst>
                <a:ext uri="{FF2B5EF4-FFF2-40B4-BE49-F238E27FC236}">
                  <a16:creationId xmlns:a16="http://schemas.microsoft.com/office/drawing/2014/main" id="{95AE5AB5-7FE2-4F7E-B1C5-7293AD5E8453}"/>
                </a:ext>
              </a:extLst>
            </p:cNvPr>
            <p:cNvSpPr/>
            <p:nvPr/>
          </p:nvSpPr>
          <p:spPr>
            <a:xfrm>
              <a:off x="4549802" y="2646098"/>
              <a:ext cx="1342907" cy="1108666"/>
            </a:xfrm>
            <a:custGeom>
              <a:avLst/>
              <a:gdLst/>
              <a:ahLst/>
              <a:cxnLst/>
              <a:rect l="l" t="t" r="r" b="b"/>
              <a:pathLst>
                <a:path w="49281" h="40685" extrusionOk="0">
                  <a:moveTo>
                    <a:pt x="21908" y="1"/>
                  </a:moveTo>
                  <a:cubicBezTo>
                    <a:pt x="21098" y="1"/>
                    <a:pt x="20360" y="441"/>
                    <a:pt x="19979" y="1156"/>
                  </a:cubicBezTo>
                  <a:lnTo>
                    <a:pt x="762" y="37482"/>
                  </a:lnTo>
                  <a:cubicBezTo>
                    <a:pt x="0" y="38934"/>
                    <a:pt x="1048" y="40685"/>
                    <a:pt x="2691" y="40685"/>
                  </a:cubicBezTo>
                  <a:lnTo>
                    <a:pt x="27361" y="40685"/>
                  </a:lnTo>
                  <a:cubicBezTo>
                    <a:pt x="28170" y="40685"/>
                    <a:pt x="28921" y="40244"/>
                    <a:pt x="29290" y="39530"/>
                  </a:cubicBezTo>
                  <a:lnTo>
                    <a:pt x="48506" y="3204"/>
                  </a:lnTo>
                  <a:cubicBezTo>
                    <a:pt x="49280" y="1751"/>
                    <a:pt x="48221" y="1"/>
                    <a:pt x="46578" y="1"/>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32" name="Google Shape;1507;p39">
              <a:extLst>
                <a:ext uri="{FF2B5EF4-FFF2-40B4-BE49-F238E27FC236}">
                  <a16:creationId xmlns:a16="http://schemas.microsoft.com/office/drawing/2014/main" id="{D6A060DD-7050-4867-8D4E-973B48B711EC}"/>
                </a:ext>
              </a:extLst>
            </p:cNvPr>
            <p:cNvSpPr txBox="1"/>
            <p:nvPr/>
          </p:nvSpPr>
          <p:spPr>
            <a:xfrm>
              <a:off x="5042813" y="2791475"/>
              <a:ext cx="796200" cy="277200"/>
            </a:xfrm>
            <a:prstGeom prst="rect">
              <a:avLst/>
            </a:prstGeom>
            <a:noFill/>
            <a:ln>
              <a:noFill/>
            </a:ln>
          </p:spPr>
          <p:txBody>
            <a:bodyPr spcFirstLastPara="1" wrap="square" lIns="121900" tIns="121900" rIns="121900" bIns="1219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3200" b="0" i="0" u="none" strike="noStrike" kern="1200" cap="none" spc="0" normalizeH="0" baseline="0" noProof="0">
                  <a:ln>
                    <a:noFill/>
                  </a:ln>
                  <a:solidFill>
                    <a:srgbClr val="FFFFFF"/>
                  </a:solidFill>
                  <a:effectLst/>
                  <a:uLnTx/>
                  <a:uFillTx/>
                  <a:latin typeface="Arial"/>
                  <a:ea typeface="+mn-ea"/>
                  <a:cs typeface="+mn-ea"/>
                  <a:sym typeface="+mn-lt"/>
                </a:rPr>
                <a:t>02</a:t>
              </a:r>
              <a:endParaRPr kumimoji="0" sz="2489" b="0" i="0" u="none" strike="noStrike" kern="1200" cap="none" spc="0" normalizeH="0" baseline="0" noProof="0">
                <a:ln>
                  <a:noFill/>
                </a:ln>
                <a:solidFill>
                  <a:srgbClr val="FFFFFF"/>
                </a:solidFill>
                <a:effectLst/>
                <a:uLnTx/>
                <a:uFillTx/>
                <a:latin typeface="Arial"/>
                <a:ea typeface="+mn-ea"/>
                <a:cs typeface="+mn-ea"/>
                <a:sym typeface="+mn-lt"/>
              </a:endParaRPr>
            </a:p>
          </p:txBody>
        </p:sp>
        <p:sp>
          <p:nvSpPr>
            <p:cNvPr id="33" name="Google Shape;1508;p39">
              <a:extLst>
                <a:ext uri="{FF2B5EF4-FFF2-40B4-BE49-F238E27FC236}">
                  <a16:creationId xmlns:a16="http://schemas.microsoft.com/office/drawing/2014/main" id="{C8CC49E8-E0CF-4FCD-8FCC-74375A5B6A66}"/>
                </a:ext>
              </a:extLst>
            </p:cNvPr>
            <p:cNvSpPr txBox="1"/>
            <p:nvPr/>
          </p:nvSpPr>
          <p:spPr>
            <a:xfrm>
              <a:off x="4722563" y="3068673"/>
              <a:ext cx="979500" cy="277200"/>
            </a:xfrm>
            <a:prstGeom prst="rect">
              <a:avLst/>
            </a:prstGeom>
            <a:noFill/>
            <a:ln>
              <a:noFill/>
            </a:ln>
          </p:spPr>
          <p:txBody>
            <a:bodyPr spcFirstLastPara="1" wrap="square" lIns="121900" tIns="121900" rIns="121900" bIns="1219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2133" b="0" i="0" u="none" strike="noStrike" kern="1200" cap="none" spc="0" normalizeH="0" baseline="0" noProof="0">
                  <a:ln>
                    <a:noFill/>
                  </a:ln>
                  <a:solidFill>
                    <a:srgbClr val="FFFFFF"/>
                  </a:solidFill>
                  <a:effectLst/>
                  <a:uLnTx/>
                  <a:uFillTx/>
                  <a:latin typeface="Arial"/>
                  <a:ea typeface="+mn-ea"/>
                  <a:cs typeface="+mn-ea"/>
                  <a:sym typeface="+mn-lt"/>
                </a:rPr>
                <a:t>Earth</a:t>
              </a:r>
              <a:endParaRPr kumimoji="0" sz="2133" b="0" i="0" u="none" strike="noStrike" kern="1200" cap="none" spc="0" normalizeH="0" baseline="0" noProof="0">
                <a:ln>
                  <a:noFill/>
                </a:ln>
                <a:solidFill>
                  <a:srgbClr val="FFFFFF"/>
                </a:solidFill>
                <a:effectLst/>
                <a:uLnTx/>
                <a:uFillTx/>
                <a:latin typeface="Arial"/>
                <a:ea typeface="+mn-ea"/>
                <a:cs typeface="+mn-ea"/>
                <a:sym typeface="+mn-lt"/>
              </a:endParaRPr>
            </a:p>
          </p:txBody>
        </p:sp>
        <p:grpSp>
          <p:nvGrpSpPr>
            <p:cNvPr id="34" name="Google Shape;1509;p39">
              <a:extLst>
                <a:ext uri="{FF2B5EF4-FFF2-40B4-BE49-F238E27FC236}">
                  <a16:creationId xmlns:a16="http://schemas.microsoft.com/office/drawing/2014/main" id="{B95E1391-C463-4580-BB27-E24375351A49}"/>
                </a:ext>
              </a:extLst>
            </p:cNvPr>
            <p:cNvGrpSpPr/>
            <p:nvPr/>
          </p:nvGrpSpPr>
          <p:grpSpPr>
            <a:xfrm>
              <a:off x="4571990" y="1276325"/>
              <a:ext cx="367261" cy="367261"/>
              <a:chOff x="-63250675" y="4110200"/>
              <a:chExt cx="317425" cy="317425"/>
            </a:xfrm>
          </p:grpSpPr>
          <p:sp>
            <p:nvSpPr>
              <p:cNvPr id="35" name="Google Shape;1510;p39">
                <a:extLst>
                  <a:ext uri="{FF2B5EF4-FFF2-40B4-BE49-F238E27FC236}">
                    <a16:creationId xmlns:a16="http://schemas.microsoft.com/office/drawing/2014/main" id="{089D3280-940B-45DA-9D0A-C6BB0284B874}"/>
                  </a:ext>
                </a:extLst>
              </p:cNvPr>
              <p:cNvSpPr/>
              <p:nvPr/>
            </p:nvSpPr>
            <p:spPr>
              <a:xfrm>
                <a:off x="-63007300" y="4153725"/>
                <a:ext cx="30725" cy="29750"/>
              </a:xfrm>
              <a:custGeom>
                <a:avLst/>
                <a:gdLst/>
                <a:ahLst/>
                <a:cxnLst/>
                <a:rect l="l" t="t" r="r" b="b"/>
                <a:pathLst>
                  <a:path w="1229" h="1190" extrusionOk="0">
                    <a:moveTo>
                      <a:pt x="772" y="0"/>
                    </a:moveTo>
                    <a:cubicBezTo>
                      <a:pt x="662" y="0"/>
                      <a:pt x="552" y="39"/>
                      <a:pt x="473" y="118"/>
                    </a:cubicBezTo>
                    <a:lnTo>
                      <a:pt x="0" y="591"/>
                    </a:lnTo>
                    <a:cubicBezTo>
                      <a:pt x="252" y="780"/>
                      <a:pt x="441" y="1000"/>
                      <a:pt x="599" y="1189"/>
                    </a:cubicBezTo>
                    <a:lnTo>
                      <a:pt x="1071" y="717"/>
                    </a:lnTo>
                    <a:cubicBezTo>
                      <a:pt x="1229" y="559"/>
                      <a:pt x="1229" y="276"/>
                      <a:pt x="1071" y="118"/>
                    </a:cubicBezTo>
                    <a:cubicBezTo>
                      <a:pt x="993" y="39"/>
                      <a:pt x="882" y="0"/>
                      <a:pt x="772" y="0"/>
                    </a:cubicBezTo>
                    <a:close/>
                  </a:path>
                </a:pathLst>
              </a:custGeom>
              <a:solidFill>
                <a:schemeClr val="accent1">
                  <a:lumMod val="100000"/>
                </a:schemeClr>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36" name="Google Shape;1511;p39">
                <a:extLst>
                  <a:ext uri="{FF2B5EF4-FFF2-40B4-BE49-F238E27FC236}">
                    <a16:creationId xmlns:a16="http://schemas.microsoft.com/office/drawing/2014/main" id="{67765088-6FC4-42A3-8ACF-7E0230B84C21}"/>
                  </a:ext>
                </a:extLst>
              </p:cNvPr>
              <p:cNvSpPr/>
              <p:nvPr/>
            </p:nvSpPr>
            <p:spPr>
              <a:xfrm>
                <a:off x="-63203425" y="4159025"/>
                <a:ext cx="222925" cy="222150"/>
              </a:xfrm>
              <a:custGeom>
                <a:avLst/>
                <a:gdLst/>
                <a:ahLst/>
                <a:cxnLst/>
                <a:rect l="l" t="t" r="r" b="b"/>
                <a:pathLst>
                  <a:path w="8917" h="8886" extrusionOk="0">
                    <a:moveTo>
                      <a:pt x="4033" y="1418"/>
                    </a:moveTo>
                    <a:lnTo>
                      <a:pt x="4033" y="3088"/>
                    </a:lnTo>
                    <a:cubicBezTo>
                      <a:pt x="3939" y="3151"/>
                      <a:pt x="3876" y="3151"/>
                      <a:pt x="3781" y="3183"/>
                    </a:cubicBezTo>
                    <a:lnTo>
                      <a:pt x="2615" y="1985"/>
                    </a:lnTo>
                    <a:cubicBezTo>
                      <a:pt x="2993" y="1670"/>
                      <a:pt x="3529" y="1481"/>
                      <a:pt x="4033" y="1418"/>
                    </a:cubicBezTo>
                    <a:close/>
                    <a:moveTo>
                      <a:pt x="4852" y="1418"/>
                    </a:moveTo>
                    <a:cubicBezTo>
                      <a:pt x="5356" y="1481"/>
                      <a:pt x="5892" y="1670"/>
                      <a:pt x="6270" y="1985"/>
                    </a:cubicBezTo>
                    <a:lnTo>
                      <a:pt x="5104" y="3183"/>
                    </a:lnTo>
                    <a:cubicBezTo>
                      <a:pt x="5010" y="3151"/>
                      <a:pt x="4947" y="3088"/>
                      <a:pt x="4852" y="3088"/>
                    </a:cubicBezTo>
                    <a:lnTo>
                      <a:pt x="4852" y="1418"/>
                    </a:lnTo>
                    <a:close/>
                    <a:moveTo>
                      <a:pt x="2017" y="2553"/>
                    </a:moveTo>
                    <a:lnTo>
                      <a:pt x="3214" y="3718"/>
                    </a:lnTo>
                    <a:cubicBezTo>
                      <a:pt x="3151" y="3813"/>
                      <a:pt x="3119" y="3876"/>
                      <a:pt x="3119" y="3970"/>
                    </a:cubicBezTo>
                    <a:lnTo>
                      <a:pt x="1418" y="3970"/>
                    </a:lnTo>
                    <a:cubicBezTo>
                      <a:pt x="1513" y="3466"/>
                      <a:pt x="1733" y="2994"/>
                      <a:pt x="2017" y="2553"/>
                    </a:cubicBezTo>
                    <a:close/>
                    <a:moveTo>
                      <a:pt x="6869" y="2553"/>
                    </a:moveTo>
                    <a:cubicBezTo>
                      <a:pt x="7184" y="2994"/>
                      <a:pt x="7373" y="3466"/>
                      <a:pt x="7467" y="3970"/>
                    </a:cubicBezTo>
                    <a:lnTo>
                      <a:pt x="5766" y="3970"/>
                    </a:lnTo>
                    <a:cubicBezTo>
                      <a:pt x="5734" y="3876"/>
                      <a:pt x="5734" y="3813"/>
                      <a:pt x="5671" y="3718"/>
                    </a:cubicBezTo>
                    <a:lnTo>
                      <a:pt x="6869" y="2553"/>
                    </a:lnTo>
                    <a:close/>
                    <a:moveTo>
                      <a:pt x="3119" y="4789"/>
                    </a:moveTo>
                    <a:cubicBezTo>
                      <a:pt x="3182" y="4884"/>
                      <a:pt x="3182" y="4947"/>
                      <a:pt x="3214" y="5041"/>
                    </a:cubicBezTo>
                    <a:lnTo>
                      <a:pt x="2017" y="6207"/>
                    </a:lnTo>
                    <a:cubicBezTo>
                      <a:pt x="1733" y="5829"/>
                      <a:pt x="1513" y="5357"/>
                      <a:pt x="1418" y="4789"/>
                    </a:cubicBezTo>
                    <a:close/>
                    <a:moveTo>
                      <a:pt x="7467" y="4789"/>
                    </a:moveTo>
                    <a:cubicBezTo>
                      <a:pt x="7373" y="5357"/>
                      <a:pt x="7184" y="5829"/>
                      <a:pt x="6869" y="6207"/>
                    </a:cubicBezTo>
                    <a:lnTo>
                      <a:pt x="5671" y="5041"/>
                    </a:lnTo>
                    <a:cubicBezTo>
                      <a:pt x="5734" y="4947"/>
                      <a:pt x="5766" y="4884"/>
                      <a:pt x="5766" y="4789"/>
                    </a:cubicBezTo>
                    <a:close/>
                    <a:moveTo>
                      <a:pt x="3781" y="5609"/>
                    </a:moveTo>
                    <a:cubicBezTo>
                      <a:pt x="3876" y="5672"/>
                      <a:pt x="3939" y="5703"/>
                      <a:pt x="4033" y="5703"/>
                    </a:cubicBezTo>
                    <a:lnTo>
                      <a:pt x="4033" y="7404"/>
                    </a:lnTo>
                    <a:cubicBezTo>
                      <a:pt x="3529" y="7310"/>
                      <a:pt x="2993" y="7121"/>
                      <a:pt x="2615" y="6806"/>
                    </a:cubicBezTo>
                    <a:lnTo>
                      <a:pt x="3781" y="5609"/>
                    </a:lnTo>
                    <a:close/>
                    <a:moveTo>
                      <a:pt x="5104" y="5609"/>
                    </a:moveTo>
                    <a:lnTo>
                      <a:pt x="6270" y="6806"/>
                    </a:lnTo>
                    <a:cubicBezTo>
                      <a:pt x="5892" y="7121"/>
                      <a:pt x="5419" y="7310"/>
                      <a:pt x="4852" y="7404"/>
                    </a:cubicBezTo>
                    <a:lnTo>
                      <a:pt x="4852" y="5703"/>
                    </a:lnTo>
                    <a:cubicBezTo>
                      <a:pt x="4947" y="5672"/>
                      <a:pt x="5010" y="5672"/>
                      <a:pt x="5104" y="5609"/>
                    </a:cubicBezTo>
                    <a:close/>
                    <a:moveTo>
                      <a:pt x="4474" y="1"/>
                    </a:moveTo>
                    <a:cubicBezTo>
                      <a:pt x="2017" y="1"/>
                      <a:pt x="0" y="1985"/>
                      <a:pt x="0" y="4443"/>
                    </a:cubicBezTo>
                    <a:cubicBezTo>
                      <a:pt x="0" y="6869"/>
                      <a:pt x="2017" y="8885"/>
                      <a:pt x="4474" y="8885"/>
                    </a:cubicBezTo>
                    <a:cubicBezTo>
                      <a:pt x="6900" y="8885"/>
                      <a:pt x="8916" y="6869"/>
                      <a:pt x="8916" y="4443"/>
                    </a:cubicBezTo>
                    <a:cubicBezTo>
                      <a:pt x="8916" y="1954"/>
                      <a:pt x="6900" y="1"/>
                      <a:pt x="4474" y="1"/>
                    </a:cubicBezTo>
                    <a:close/>
                  </a:path>
                </a:pathLst>
              </a:custGeom>
              <a:solidFill>
                <a:schemeClr val="accent1">
                  <a:lumMod val="100000"/>
                </a:schemeClr>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37" name="Google Shape;1512;p39">
                <a:extLst>
                  <a:ext uri="{FF2B5EF4-FFF2-40B4-BE49-F238E27FC236}">
                    <a16:creationId xmlns:a16="http://schemas.microsoft.com/office/drawing/2014/main" id="{8BD8530B-06AD-4EDB-B323-7A3B524E44FD}"/>
                  </a:ext>
                </a:extLst>
              </p:cNvPr>
              <p:cNvSpPr/>
              <p:nvPr/>
            </p:nvSpPr>
            <p:spPr>
              <a:xfrm>
                <a:off x="-63102600" y="4401625"/>
                <a:ext cx="20500" cy="26000"/>
              </a:xfrm>
              <a:custGeom>
                <a:avLst/>
                <a:gdLst/>
                <a:ahLst/>
                <a:cxnLst/>
                <a:rect l="l" t="t" r="r" b="b"/>
                <a:pathLst>
                  <a:path w="820" h="1040" extrusionOk="0">
                    <a:moveTo>
                      <a:pt x="0" y="0"/>
                    </a:moveTo>
                    <a:lnTo>
                      <a:pt x="0" y="630"/>
                    </a:lnTo>
                    <a:cubicBezTo>
                      <a:pt x="0" y="882"/>
                      <a:pt x="189" y="1040"/>
                      <a:pt x="441" y="1040"/>
                    </a:cubicBezTo>
                    <a:cubicBezTo>
                      <a:pt x="662" y="1040"/>
                      <a:pt x="819" y="851"/>
                      <a:pt x="819" y="630"/>
                    </a:cubicBezTo>
                    <a:lnTo>
                      <a:pt x="819" y="0"/>
                    </a:lnTo>
                    <a:close/>
                  </a:path>
                </a:pathLst>
              </a:custGeom>
              <a:solidFill>
                <a:schemeClr val="accent1">
                  <a:lumMod val="100000"/>
                </a:schemeClr>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38" name="Google Shape;1513;p39">
                <a:extLst>
                  <a:ext uri="{FF2B5EF4-FFF2-40B4-BE49-F238E27FC236}">
                    <a16:creationId xmlns:a16="http://schemas.microsoft.com/office/drawing/2014/main" id="{DBCF6435-B06B-436D-BEC0-19C07660BC79}"/>
                  </a:ext>
                </a:extLst>
              </p:cNvPr>
              <p:cNvSpPr/>
              <p:nvPr/>
            </p:nvSpPr>
            <p:spPr>
              <a:xfrm>
                <a:off x="-63006525" y="4354350"/>
                <a:ext cx="29950" cy="29975"/>
              </a:xfrm>
              <a:custGeom>
                <a:avLst/>
                <a:gdLst/>
                <a:ahLst/>
                <a:cxnLst/>
                <a:rect l="l" t="t" r="r" b="b"/>
                <a:pathLst>
                  <a:path w="1198" h="1199" extrusionOk="0">
                    <a:moveTo>
                      <a:pt x="599" y="1"/>
                    </a:moveTo>
                    <a:cubicBezTo>
                      <a:pt x="410" y="221"/>
                      <a:pt x="253" y="410"/>
                      <a:pt x="1" y="599"/>
                    </a:cubicBezTo>
                    <a:lnTo>
                      <a:pt x="473" y="1072"/>
                    </a:lnTo>
                    <a:cubicBezTo>
                      <a:pt x="568" y="1167"/>
                      <a:pt x="694" y="1198"/>
                      <a:pt x="757" y="1198"/>
                    </a:cubicBezTo>
                    <a:cubicBezTo>
                      <a:pt x="851" y="1198"/>
                      <a:pt x="946" y="1167"/>
                      <a:pt x="1040" y="1072"/>
                    </a:cubicBezTo>
                    <a:cubicBezTo>
                      <a:pt x="1198" y="915"/>
                      <a:pt x="1198" y="631"/>
                      <a:pt x="1040" y="473"/>
                    </a:cubicBezTo>
                    <a:lnTo>
                      <a:pt x="599" y="1"/>
                    </a:lnTo>
                    <a:close/>
                  </a:path>
                </a:pathLst>
              </a:custGeom>
              <a:solidFill>
                <a:schemeClr val="accent1">
                  <a:lumMod val="100000"/>
                </a:schemeClr>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39" name="Google Shape;1514;p39">
                <a:extLst>
                  <a:ext uri="{FF2B5EF4-FFF2-40B4-BE49-F238E27FC236}">
                    <a16:creationId xmlns:a16="http://schemas.microsoft.com/office/drawing/2014/main" id="{C36881DB-7DAF-4EDA-90E0-9BAB2BD63D41}"/>
                  </a:ext>
                </a:extLst>
              </p:cNvPr>
              <p:cNvSpPr/>
              <p:nvPr/>
            </p:nvSpPr>
            <p:spPr>
              <a:xfrm>
                <a:off x="-62960825" y="4258275"/>
                <a:ext cx="27575" cy="20500"/>
              </a:xfrm>
              <a:custGeom>
                <a:avLst/>
                <a:gdLst/>
                <a:ahLst/>
                <a:cxnLst/>
                <a:rect l="l" t="t" r="r" b="b"/>
                <a:pathLst>
                  <a:path w="1103" h="820" extrusionOk="0">
                    <a:moveTo>
                      <a:pt x="0" y="0"/>
                    </a:moveTo>
                    <a:lnTo>
                      <a:pt x="0" y="441"/>
                    </a:lnTo>
                    <a:lnTo>
                      <a:pt x="0" y="819"/>
                    </a:lnTo>
                    <a:lnTo>
                      <a:pt x="662" y="819"/>
                    </a:lnTo>
                    <a:cubicBezTo>
                      <a:pt x="914" y="819"/>
                      <a:pt x="1071" y="630"/>
                      <a:pt x="1071" y="378"/>
                    </a:cubicBezTo>
                    <a:cubicBezTo>
                      <a:pt x="1103" y="189"/>
                      <a:pt x="914" y="0"/>
                      <a:pt x="662" y="0"/>
                    </a:cubicBezTo>
                    <a:close/>
                  </a:path>
                </a:pathLst>
              </a:custGeom>
              <a:solidFill>
                <a:schemeClr val="accent1">
                  <a:lumMod val="100000"/>
                </a:schemeClr>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40" name="Google Shape;1515;p39">
                <a:extLst>
                  <a:ext uri="{FF2B5EF4-FFF2-40B4-BE49-F238E27FC236}">
                    <a16:creationId xmlns:a16="http://schemas.microsoft.com/office/drawing/2014/main" id="{053D2FF1-A3E7-422E-9CF6-49F3E4E06E26}"/>
                  </a:ext>
                </a:extLst>
              </p:cNvPr>
              <p:cNvSpPr/>
              <p:nvPr/>
            </p:nvSpPr>
            <p:spPr>
              <a:xfrm>
                <a:off x="-63250675" y="4259050"/>
                <a:ext cx="26800" cy="20500"/>
              </a:xfrm>
              <a:custGeom>
                <a:avLst/>
                <a:gdLst/>
                <a:ahLst/>
                <a:cxnLst/>
                <a:rect l="l" t="t" r="r" b="b"/>
                <a:pathLst>
                  <a:path w="1072" h="820" extrusionOk="0">
                    <a:moveTo>
                      <a:pt x="410" y="1"/>
                    </a:moveTo>
                    <a:cubicBezTo>
                      <a:pt x="158" y="1"/>
                      <a:pt x="0" y="190"/>
                      <a:pt x="0" y="410"/>
                    </a:cubicBezTo>
                    <a:cubicBezTo>
                      <a:pt x="0" y="631"/>
                      <a:pt x="221" y="820"/>
                      <a:pt x="410" y="820"/>
                    </a:cubicBezTo>
                    <a:lnTo>
                      <a:pt x="1071" y="820"/>
                    </a:lnTo>
                    <a:lnTo>
                      <a:pt x="1071" y="442"/>
                    </a:lnTo>
                    <a:lnTo>
                      <a:pt x="1071" y="1"/>
                    </a:lnTo>
                    <a:close/>
                  </a:path>
                </a:pathLst>
              </a:custGeom>
              <a:solidFill>
                <a:schemeClr val="accent1">
                  <a:lumMod val="100000"/>
                </a:schemeClr>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41" name="Google Shape;1516;p39">
                <a:extLst>
                  <a:ext uri="{FF2B5EF4-FFF2-40B4-BE49-F238E27FC236}">
                    <a16:creationId xmlns:a16="http://schemas.microsoft.com/office/drawing/2014/main" id="{2310DCB0-C585-4770-BD4A-DCAEC64B3C26}"/>
                  </a:ext>
                </a:extLst>
              </p:cNvPr>
              <p:cNvSpPr/>
              <p:nvPr/>
            </p:nvSpPr>
            <p:spPr>
              <a:xfrm>
                <a:off x="-63208950" y="4354350"/>
                <a:ext cx="29175" cy="29975"/>
              </a:xfrm>
              <a:custGeom>
                <a:avLst/>
                <a:gdLst/>
                <a:ahLst/>
                <a:cxnLst/>
                <a:rect l="l" t="t" r="r" b="b"/>
                <a:pathLst>
                  <a:path w="1167" h="1199" extrusionOk="0">
                    <a:moveTo>
                      <a:pt x="631" y="1"/>
                    </a:moveTo>
                    <a:lnTo>
                      <a:pt x="158" y="473"/>
                    </a:lnTo>
                    <a:cubicBezTo>
                      <a:pt x="1" y="631"/>
                      <a:pt x="1" y="915"/>
                      <a:pt x="158" y="1072"/>
                    </a:cubicBezTo>
                    <a:cubicBezTo>
                      <a:pt x="221" y="1167"/>
                      <a:pt x="348" y="1198"/>
                      <a:pt x="442" y="1198"/>
                    </a:cubicBezTo>
                    <a:cubicBezTo>
                      <a:pt x="505" y="1198"/>
                      <a:pt x="631" y="1167"/>
                      <a:pt x="694" y="1072"/>
                    </a:cubicBezTo>
                    <a:lnTo>
                      <a:pt x="1167" y="599"/>
                    </a:lnTo>
                    <a:cubicBezTo>
                      <a:pt x="1009" y="442"/>
                      <a:pt x="820" y="253"/>
                      <a:pt x="631" y="1"/>
                    </a:cubicBezTo>
                    <a:close/>
                  </a:path>
                </a:pathLst>
              </a:custGeom>
              <a:solidFill>
                <a:schemeClr val="accent1">
                  <a:lumMod val="100000"/>
                </a:schemeClr>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42" name="Google Shape;1517;p39">
                <a:extLst>
                  <a:ext uri="{FF2B5EF4-FFF2-40B4-BE49-F238E27FC236}">
                    <a16:creationId xmlns:a16="http://schemas.microsoft.com/office/drawing/2014/main" id="{E35C4014-4BC9-4A30-AF98-FE7E717AAD31}"/>
                  </a:ext>
                </a:extLst>
              </p:cNvPr>
              <p:cNvSpPr/>
              <p:nvPr/>
            </p:nvSpPr>
            <p:spPr>
              <a:xfrm>
                <a:off x="-63208150" y="4153725"/>
                <a:ext cx="30725" cy="29750"/>
              </a:xfrm>
              <a:custGeom>
                <a:avLst/>
                <a:gdLst/>
                <a:ahLst/>
                <a:cxnLst/>
                <a:rect l="l" t="t" r="r" b="b"/>
                <a:pathLst>
                  <a:path w="1229" h="1190" extrusionOk="0">
                    <a:moveTo>
                      <a:pt x="457" y="0"/>
                    </a:moveTo>
                    <a:cubicBezTo>
                      <a:pt x="347" y="0"/>
                      <a:pt x="237" y="39"/>
                      <a:pt x="158" y="118"/>
                    </a:cubicBezTo>
                    <a:cubicBezTo>
                      <a:pt x="0" y="276"/>
                      <a:pt x="0" y="559"/>
                      <a:pt x="158" y="717"/>
                    </a:cubicBezTo>
                    <a:lnTo>
                      <a:pt x="631" y="1189"/>
                    </a:lnTo>
                    <a:lnTo>
                      <a:pt x="1229" y="591"/>
                    </a:lnTo>
                    <a:lnTo>
                      <a:pt x="757" y="118"/>
                    </a:lnTo>
                    <a:cubicBezTo>
                      <a:pt x="678" y="39"/>
                      <a:pt x="568" y="0"/>
                      <a:pt x="457" y="0"/>
                    </a:cubicBezTo>
                    <a:close/>
                  </a:path>
                </a:pathLst>
              </a:custGeom>
              <a:solidFill>
                <a:schemeClr val="accent1">
                  <a:lumMod val="100000"/>
                </a:schemeClr>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43" name="Google Shape;1518;p39">
                <a:extLst>
                  <a:ext uri="{FF2B5EF4-FFF2-40B4-BE49-F238E27FC236}">
                    <a16:creationId xmlns:a16="http://schemas.microsoft.com/office/drawing/2014/main" id="{71EBB703-5FC1-4275-9236-CF4073192CAF}"/>
                  </a:ext>
                </a:extLst>
              </p:cNvPr>
              <p:cNvSpPr/>
              <p:nvPr/>
            </p:nvSpPr>
            <p:spPr>
              <a:xfrm>
                <a:off x="-63102600" y="4110200"/>
                <a:ext cx="20500" cy="27600"/>
              </a:xfrm>
              <a:custGeom>
                <a:avLst/>
                <a:gdLst/>
                <a:ahLst/>
                <a:cxnLst/>
                <a:rect l="l" t="t" r="r" b="b"/>
                <a:pathLst>
                  <a:path w="820" h="1104" extrusionOk="0">
                    <a:moveTo>
                      <a:pt x="441" y="0"/>
                    </a:moveTo>
                    <a:cubicBezTo>
                      <a:pt x="221" y="0"/>
                      <a:pt x="0" y="221"/>
                      <a:pt x="0" y="410"/>
                    </a:cubicBezTo>
                    <a:lnTo>
                      <a:pt x="0" y="1103"/>
                    </a:lnTo>
                    <a:lnTo>
                      <a:pt x="819" y="1103"/>
                    </a:lnTo>
                    <a:lnTo>
                      <a:pt x="819" y="410"/>
                    </a:lnTo>
                    <a:cubicBezTo>
                      <a:pt x="819" y="158"/>
                      <a:pt x="630" y="0"/>
                      <a:pt x="441" y="0"/>
                    </a:cubicBezTo>
                    <a:close/>
                  </a:path>
                </a:pathLst>
              </a:custGeom>
              <a:solidFill>
                <a:schemeClr val="accent1">
                  <a:lumMod val="100000"/>
                </a:schemeClr>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grpSp>
      </p:grpSp>
      <p:grpSp>
        <p:nvGrpSpPr>
          <p:cNvPr id="44" name="Google Shape;1519;p39">
            <a:extLst>
              <a:ext uri="{FF2B5EF4-FFF2-40B4-BE49-F238E27FC236}">
                <a16:creationId xmlns:a16="http://schemas.microsoft.com/office/drawing/2014/main" id="{9D7CD2C1-D4B9-4256-904B-F7F8AC45ADF3}"/>
              </a:ext>
            </a:extLst>
          </p:cNvPr>
          <p:cNvGrpSpPr/>
          <p:nvPr/>
        </p:nvGrpSpPr>
        <p:grpSpPr>
          <a:xfrm>
            <a:off x="7005142" y="2235242"/>
            <a:ext cx="1790543" cy="3164573"/>
            <a:chOff x="5253856" y="1858982"/>
            <a:chExt cx="1342907" cy="2373430"/>
          </a:xfrm>
        </p:grpSpPr>
        <p:sp>
          <p:nvSpPr>
            <p:cNvPr id="45" name="Google Shape;1520;p39">
              <a:extLst>
                <a:ext uri="{FF2B5EF4-FFF2-40B4-BE49-F238E27FC236}">
                  <a16:creationId xmlns:a16="http://schemas.microsoft.com/office/drawing/2014/main" id="{A3A28EEE-24B1-4FC6-9597-1D024E8EB020}"/>
                </a:ext>
              </a:extLst>
            </p:cNvPr>
            <p:cNvSpPr/>
            <p:nvPr/>
          </p:nvSpPr>
          <p:spPr>
            <a:xfrm>
              <a:off x="5684420" y="2710356"/>
              <a:ext cx="549632" cy="935711"/>
            </a:xfrm>
            <a:custGeom>
              <a:avLst/>
              <a:gdLst/>
              <a:ahLst/>
              <a:cxnLst/>
              <a:rect l="l" t="t" r="r" b="b"/>
              <a:pathLst>
                <a:path w="20170" h="34338" extrusionOk="0">
                  <a:moveTo>
                    <a:pt x="18122" y="0"/>
                  </a:moveTo>
                  <a:cubicBezTo>
                    <a:pt x="17503" y="0"/>
                    <a:pt x="16931" y="346"/>
                    <a:pt x="16645" y="893"/>
                  </a:cubicBezTo>
                  <a:lnTo>
                    <a:pt x="572" y="31909"/>
                  </a:lnTo>
                  <a:cubicBezTo>
                    <a:pt x="0" y="33016"/>
                    <a:pt x="810" y="34338"/>
                    <a:pt x="2060" y="34338"/>
                  </a:cubicBezTo>
                  <a:cubicBezTo>
                    <a:pt x="2679" y="34338"/>
                    <a:pt x="3251" y="33993"/>
                    <a:pt x="3537" y="33445"/>
                  </a:cubicBezTo>
                  <a:lnTo>
                    <a:pt x="19598" y="2429"/>
                  </a:lnTo>
                  <a:cubicBezTo>
                    <a:pt x="20170" y="1322"/>
                    <a:pt x="19372" y="0"/>
                    <a:pt x="18122" y="0"/>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46" name="Google Shape;1521;p39">
              <a:extLst>
                <a:ext uri="{FF2B5EF4-FFF2-40B4-BE49-F238E27FC236}">
                  <a16:creationId xmlns:a16="http://schemas.microsoft.com/office/drawing/2014/main" id="{DEAAC497-D90E-4DF7-A5D7-2A5669783874}"/>
                </a:ext>
              </a:extLst>
            </p:cNvPr>
            <p:cNvSpPr/>
            <p:nvPr/>
          </p:nvSpPr>
          <p:spPr>
            <a:xfrm>
              <a:off x="5253856" y="1858982"/>
              <a:ext cx="1342907" cy="1108966"/>
            </a:xfrm>
            <a:custGeom>
              <a:avLst/>
              <a:gdLst/>
              <a:ahLst/>
              <a:cxnLst/>
              <a:rect l="l" t="t" r="r" b="b"/>
              <a:pathLst>
                <a:path w="49281" h="40696" extrusionOk="0">
                  <a:moveTo>
                    <a:pt x="2704" y="0"/>
                  </a:moveTo>
                  <a:cubicBezTo>
                    <a:pt x="1061" y="0"/>
                    <a:pt x="1" y="1751"/>
                    <a:pt x="775" y="3215"/>
                  </a:cubicBezTo>
                  <a:lnTo>
                    <a:pt x="19980" y="39529"/>
                  </a:lnTo>
                  <a:cubicBezTo>
                    <a:pt x="20361" y="40243"/>
                    <a:pt x="21099" y="40696"/>
                    <a:pt x="21908" y="40696"/>
                  </a:cubicBezTo>
                  <a:lnTo>
                    <a:pt x="46578" y="40696"/>
                  </a:lnTo>
                  <a:cubicBezTo>
                    <a:pt x="48233" y="40696"/>
                    <a:pt x="49281" y="38946"/>
                    <a:pt x="48507" y="37493"/>
                  </a:cubicBezTo>
                  <a:lnTo>
                    <a:pt x="29302" y="1167"/>
                  </a:lnTo>
                  <a:cubicBezTo>
                    <a:pt x="28921" y="453"/>
                    <a:pt x="28183" y="0"/>
                    <a:pt x="27373" y="0"/>
                  </a:cubicBezTo>
                  <a:close/>
                </a:path>
              </a:pathLst>
            </a:custGeom>
            <a:solidFill>
              <a:schemeClr val="accent1"/>
            </a:solidFill>
            <a:ln>
              <a:noFill/>
            </a:ln>
          </p:spPr>
          <p:txBody>
            <a:bodyPr spcFirstLastPara="1" wrap="square" lIns="121900" tIns="121900" rIns="121900" bIns="12190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47" name="Google Shape;1522;p39">
              <a:extLst>
                <a:ext uri="{FF2B5EF4-FFF2-40B4-BE49-F238E27FC236}">
                  <a16:creationId xmlns:a16="http://schemas.microsoft.com/office/drawing/2014/main" id="{9BFD75B5-EC28-48DE-9259-151258933253}"/>
                </a:ext>
              </a:extLst>
            </p:cNvPr>
            <p:cNvSpPr txBox="1"/>
            <p:nvPr/>
          </p:nvSpPr>
          <p:spPr>
            <a:xfrm>
              <a:off x="5290888" y="1970275"/>
              <a:ext cx="796200" cy="277200"/>
            </a:xfrm>
            <a:prstGeom prst="rect">
              <a:avLst/>
            </a:prstGeom>
            <a:noFill/>
            <a:ln>
              <a:noFill/>
            </a:ln>
          </p:spPr>
          <p:txBody>
            <a:bodyPr spcFirstLastPara="1" wrap="square" lIns="121900" tIns="121900" rIns="121900" bIns="1219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3200" b="0" i="0" u="none" strike="noStrike" kern="1200" cap="none" spc="0" normalizeH="0" baseline="0" noProof="0">
                  <a:ln>
                    <a:noFill/>
                  </a:ln>
                  <a:solidFill>
                    <a:srgbClr val="FFFFFF"/>
                  </a:solidFill>
                  <a:effectLst/>
                  <a:uLnTx/>
                  <a:uFillTx/>
                  <a:latin typeface="Arial"/>
                  <a:ea typeface="+mn-ea"/>
                  <a:cs typeface="+mn-ea"/>
                  <a:sym typeface="+mn-lt"/>
                </a:rPr>
                <a:t>01</a:t>
              </a:r>
              <a:endParaRPr kumimoji="0" sz="2489" b="0" i="0" u="none" strike="noStrike" kern="1200" cap="none" spc="0" normalizeH="0" baseline="0" noProof="0">
                <a:ln>
                  <a:noFill/>
                </a:ln>
                <a:solidFill>
                  <a:srgbClr val="FFFFFF"/>
                </a:solidFill>
                <a:effectLst/>
                <a:uLnTx/>
                <a:uFillTx/>
                <a:latin typeface="Arial"/>
                <a:ea typeface="+mn-ea"/>
                <a:cs typeface="+mn-ea"/>
                <a:sym typeface="+mn-lt"/>
              </a:endParaRPr>
            </a:p>
          </p:txBody>
        </p:sp>
        <p:sp>
          <p:nvSpPr>
            <p:cNvPr id="48" name="Google Shape;1523;p39">
              <a:extLst>
                <a:ext uri="{FF2B5EF4-FFF2-40B4-BE49-F238E27FC236}">
                  <a16:creationId xmlns:a16="http://schemas.microsoft.com/office/drawing/2014/main" id="{6C880D24-76A2-495D-B2F5-3777FDFA06E6}"/>
                </a:ext>
              </a:extLst>
            </p:cNvPr>
            <p:cNvSpPr txBox="1"/>
            <p:nvPr/>
          </p:nvSpPr>
          <p:spPr>
            <a:xfrm>
              <a:off x="5427838" y="2247473"/>
              <a:ext cx="979500" cy="277200"/>
            </a:xfrm>
            <a:prstGeom prst="rect">
              <a:avLst/>
            </a:prstGeom>
            <a:noFill/>
            <a:ln>
              <a:noFill/>
            </a:ln>
          </p:spPr>
          <p:txBody>
            <a:bodyPr spcFirstLastPara="1" wrap="square" lIns="121900" tIns="121900" rIns="121900" bIns="1219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2133" b="0" i="0" u="none" strike="noStrike" kern="1200" cap="none" spc="0" normalizeH="0" baseline="0" noProof="0">
                  <a:ln>
                    <a:noFill/>
                  </a:ln>
                  <a:solidFill>
                    <a:srgbClr val="FFFFFF"/>
                  </a:solidFill>
                  <a:effectLst/>
                  <a:uLnTx/>
                  <a:uFillTx/>
                  <a:latin typeface="Arial"/>
                  <a:ea typeface="+mn-ea"/>
                  <a:cs typeface="+mn-ea"/>
                  <a:sym typeface="+mn-lt"/>
                </a:rPr>
                <a:t>Venus</a:t>
              </a:r>
              <a:endParaRPr kumimoji="0" sz="2133" b="0" i="0" u="none" strike="noStrike" kern="1200" cap="none" spc="0" normalizeH="0" baseline="0" noProof="0">
                <a:ln>
                  <a:noFill/>
                </a:ln>
                <a:solidFill>
                  <a:srgbClr val="FFFFFF"/>
                </a:solidFill>
                <a:effectLst/>
                <a:uLnTx/>
                <a:uFillTx/>
                <a:latin typeface="Arial"/>
                <a:ea typeface="+mn-ea"/>
                <a:cs typeface="+mn-ea"/>
                <a:sym typeface="+mn-lt"/>
              </a:endParaRPr>
            </a:p>
          </p:txBody>
        </p:sp>
        <p:grpSp>
          <p:nvGrpSpPr>
            <p:cNvPr id="49" name="Google Shape;1524;p39">
              <a:extLst>
                <a:ext uri="{FF2B5EF4-FFF2-40B4-BE49-F238E27FC236}">
                  <a16:creationId xmlns:a16="http://schemas.microsoft.com/office/drawing/2014/main" id="{0298D5A9-11F0-4270-904B-43444EFEF267}"/>
                </a:ext>
              </a:extLst>
            </p:cNvPr>
            <p:cNvGrpSpPr/>
            <p:nvPr/>
          </p:nvGrpSpPr>
          <p:grpSpPr>
            <a:xfrm>
              <a:off x="5257292" y="3866048"/>
              <a:ext cx="367261" cy="366364"/>
              <a:chOff x="-64410850" y="4094450"/>
              <a:chExt cx="317425" cy="316650"/>
            </a:xfrm>
          </p:grpSpPr>
          <p:sp>
            <p:nvSpPr>
              <p:cNvPr id="50" name="Google Shape;1525;p39">
                <a:extLst>
                  <a:ext uri="{FF2B5EF4-FFF2-40B4-BE49-F238E27FC236}">
                    <a16:creationId xmlns:a16="http://schemas.microsoft.com/office/drawing/2014/main" id="{120A82CA-D512-4209-BE00-50E2DE734BB4}"/>
                  </a:ext>
                </a:extLst>
              </p:cNvPr>
              <p:cNvSpPr/>
              <p:nvPr/>
            </p:nvSpPr>
            <p:spPr>
              <a:xfrm>
                <a:off x="-64410850" y="4348850"/>
                <a:ext cx="317425" cy="62250"/>
              </a:xfrm>
              <a:custGeom>
                <a:avLst/>
                <a:gdLst/>
                <a:ahLst/>
                <a:cxnLst/>
                <a:rect l="l" t="t" r="r" b="b"/>
                <a:pathLst>
                  <a:path w="12697" h="2490" extrusionOk="0">
                    <a:moveTo>
                      <a:pt x="3403" y="0"/>
                    </a:moveTo>
                    <a:cubicBezTo>
                      <a:pt x="2741" y="0"/>
                      <a:pt x="2206" y="536"/>
                      <a:pt x="2206" y="1229"/>
                    </a:cubicBezTo>
                    <a:lnTo>
                      <a:pt x="2206" y="1639"/>
                    </a:lnTo>
                    <a:lnTo>
                      <a:pt x="410" y="1639"/>
                    </a:lnTo>
                    <a:cubicBezTo>
                      <a:pt x="189" y="1639"/>
                      <a:pt x="0" y="1859"/>
                      <a:pt x="0" y="2048"/>
                    </a:cubicBezTo>
                    <a:cubicBezTo>
                      <a:pt x="0" y="2269"/>
                      <a:pt x="189" y="2489"/>
                      <a:pt x="410" y="2489"/>
                    </a:cubicBezTo>
                    <a:lnTo>
                      <a:pt x="12287" y="2489"/>
                    </a:lnTo>
                    <a:cubicBezTo>
                      <a:pt x="12508" y="2489"/>
                      <a:pt x="12697" y="2269"/>
                      <a:pt x="12697" y="2048"/>
                    </a:cubicBezTo>
                    <a:cubicBezTo>
                      <a:pt x="12634" y="1859"/>
                      <a:pt x="12445" y="1639"/>
                      <a:pt x="12193" y="1639"/>
                    </a:cubicBezTo>
                    <a:lnTo>
                      <a:pt x="10429" y="1639"/>
                    </a:lnTo>
                    <a:lnTo>
                      <a:pt x="10429" y="1229"/>
                    </a:lnTo>
                    <a:cubicBezTo>
                      <a:pt x="10429" y="536"/>
                      <a:pt x="9861" y="0"/>
                      <a:pt x="9200" y="0"/>
                    </a:cubicBezTo>
                    <a:close/>
                  </a:path>
                </a:pathLst>
              </a:custGeom>
              <a:solidFill>
                <a:schemeClr val="accent1">
                  <a:lumMod val="100000"/>
                </a:schemeClr>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51" name="Google Shape;1526;p39">
                <a:extLst>
                  <a:ext uri="{FF2B5EF4-FFF2-40B4-BE49-F238E27FC236}">
                    <a16:creationId xmlns:a16="http://schemas.microsoft.com/office/drawing/2014/main" id="{B8C18BAC-8E38-4855-AB5A-1F128661545B}"/>
                  </a:ext>
                </a:extLst>
              </p:cNvPr>
              <p:cNvSpPr/>
              <p:nvPr/>
            </p:nvSpPr>
            <p:spPr>
              <a:xfrm>
                <a:off x="-64315550" y="4094450"/>
                <a:ext cx="122100" cy="192200"/>
              </a:xfrm>
              <a:custGeom>
                <a:avLst/>
                <a:gdLst/>
                <a:ahLst/>
                <a:cxnLst/>
                <a:rect l="l" t="t" r="r" b="b"/>
                <a:pathLst>
                  <a:path w="4884" h="7688" extrusionOk="0">
                    <a:moveTo>
                      <a:pt x="2489" y="0"/>
                    </a:moveTo>
                    <a:cubicBezTo>
                      <a:pt x="2269" y="0"/>
                      <a:pt x="2080" y="189"/>
                      <a:pt x="2080" y="410"/>
                    </a:cubicBezTo>
                    <a:lnTo>
                      <a:pt x="2080" y="819"/>
                    </a:lnTo>
                    <a:lnTo>
                      <a:pt x="1639" y="819"/>
                    </a:lnTo>
                    <a:cubicBezTo>
                      <a:pt x="1418" y="819"/>
                      <a:pt x="1261" y="1040"/>
                      <a:pt x="1261" y="1229"/>
                    </a:cubicBezTo>
                    <a:cubicBezTo>
                      <a:pt x="1261" y="1450"/>
                      <a:pt x="1450" y="1670"/>
                      <a:pt x="1639" y="1670"/>
                    </a:cubicBezTo>
                    <a:lnTo>
                      <a:pt x="2080" y="1670"/>
                    </a:lnTo>
                    <a:lnTo>
                      <a:pt x="2080" y="2489"/>
                    </a:lnTo>
                    <a:lnTo>
                      <a:pt x="1481" y="2489"/>
                    </a:lnTo>
                    <a:cubicBezTo>
                      <a:pt x="820" y="2489"/>
                      <a:pt x="347" y="3151"/>
                      <a:pt x="599" y="3781"/>
                    </a:cubicBezTo>
                    <a:cubicBezTo>
                      <a:pt x="662" y="3970"/>
                      <a:pt x="694" y="4222"/>
                      <a:pt x="788" y="4411"/>
                    </a:cubicBezTo>
                    <a:lnTo>
                      <a:pt x="473" y="4411"/>
                    </a:lnTo>
                    <a:cubicBezTo>
                      <a:pt x="221" y="4411"/>
                      <a:pt x="63" y="4632"/>
                      <a:pt x="63" y="4821"/>
                    </a:cubicBezTo>
                    <a:cubicBezTo>
                      <a:pt x="0" y="5010"/>
                      <a:pt x="158" y="5199"/>
                      <a:pt x="379" y="5199"/>
                    </a:cubicBezTo>
                    <a:lnTo>
                      <a:pt x="820" y="5199"/>
                    </a:lnTo>
                    <a:cubicBezTo>
                      <a:pt x="851" y="6081"/>
                      <a:pt x="694" y="6900"/>
                      <a:pt x="316" y="7687"/>
                    </a:cubicBezTo>
                    <a:lnTo>
                      <a:pt x="4569" y="7687"/>
                    </a:lnTo>
                    <a:cubicBezTo>
                      <a:pt x="4159" y="6900"/>
                      <a:pt x="4002" y="6081"/>
                      <a:pt x="4065" y="5199"/>
                    </a:cubicBezTo>
                    <a:lnTo>
                      <a:pt x="4474" y="5199"/>
                    </a:lnTo>
                    <a:cubicBezTo>
                      <a:pt x="4726" y="5199"/>
                      <a:pt x="4884" y="5010"/>
                      <a:pt x="4884" y="4821"/>
                    </a:cubicBezTo>
                    <a:cubicBezTo>
                      <a:pt x="4884" y="4568"/>
                      <a:pt x="4695" y="4411"/>
                      <a:pt x="4474" y="4411"/>
                    </a:cubicBezTo>
                    <a:lnTo>
                      <a:pt x="4159" y="4411"/>
                    </a:lnTo>
                    <a:cubicBezTo>
                      <a:pt x="4222" y="4222"/>
                      <a:pt x="4285" y="3970"/>
                      <a:pt x="4380" y="3781"/>
                    </a:cubicBezTo>
                    <a:cubicBezTo>
                      <a:pt x="4600" y="3151"/>
                      <a:pt x="4128" y="2489"/>
                      <a:pt x="3466" y="2489"/>
                    </a:cubicBezTo>
                    <a:lnTo>
                      <a:pt x="2867" y="2489"/>
                    </a:lnTo>
                    <a:lnTo>
                      <a:pt x="2867" y="1670"/>
                    </a:lnTo>
                    <a:lnTo>
                      <a:pt x="3309" y="1670"/>
                    </a:lnTo>
                    <a:cubicBezTo>
                      <a:pt x="3561" y="1670"/>
                      <a:pt x="3687" y="1450"/>
                      <a:pt x="3687" y="1229"/>
                    </a:cubicBezTo>
                    <a:cubicBezTo>
                      <a:pt x="3687" y="977"/>
                      <a:pt x="3498" y="819"/>
                      <a:pt x="3309" y="819"/>
                    </a:cubicBezTo>
                    <a:lnTo>
                      <a:pt x="2867" y="819"/>
                    </a:lnTo>
                    <a:lnTo>
                      <a:pt x="2867" y="410"/>
                    </a:lnTo>
                    <a:cubicBezTo>
                      <a:pt x="2867" y="158"/>
                      <a:pt x="2678" y="0"/>
                      <a:pt x="2489" y="0"/>
                    </a:cubicBezTo>
                    <a:close/>
                  </a:path>
                </a:pathLst>
              </a:custGeom>
              <a:solidFill>
                <a:schemeClr val="accent1">
                  <a:lumMod val="100000"/>
                </a:schemeClr>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52" name="Google Shape;1527;p39">
                <a:extLst>
                  <a:ext uri="{FF2B5EF4-FFF2-40B4-BE49-F238E27FC236}">
                    <a16:creationId xmlns:a16="http://schemas.microsoft.com/office/drawing/2014/main" id="{E6322D0F-08CB-43DE-A789-86E0A758B969}"/>
                  </a:ext>
                </a:extLst>
              </p:cNvPr>
              <p:cNvSpPr/>
              <p:nvPr/>
            </p:nvSpPr>
            <p:spPr>
              <a:xfrm>
                <a:off x="-64335250" y="4307100"/>
                <a:ext cx="161500" cy="21300"/>
              </a:xfrm>
              <a:custGeom>
                <a:avLst/>
                <a:gdLst/>
                <a:ahLst/>
                <a:cxnLst/>
                <a:rect l="l" t="t" r="r" b="b"/>
                <a:pathLst>
                  <a:path w="6460" h="852" extrusionOk="0">
                    <a:moveTo>
                      <a:pt x="1167" y="1"/>
                    </a:moveTo>
                    <a:cubicBezTo>
                      <a:pt x="631" y="1"/>
                      <a:pt x="190" y="379"/>
                      <a:pt x="1" y="851"/>
                    </a:cubicBezTo>
                    <a:lnTo>
                      <a:pt x="6459" y="851"/>
                    </a:lnTo>
                    <a:cubicBezTo>
                      <a:pt x="6302" y="379"/>
                      <a:pt x="5861" y="1"/>
                      <a:pt x="5325" y="1"/>
                    </a:cubicBezTo>
                    <a:close/>
                  </a:path>
                </a:pathLst>
              </a:custGeom>
              <a:solidFill>
                <a:schemeClr val="accent1">
                  <a:lumMod val="100000"/>
                </a:schemeClr>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grpSp>
      </p:grpSp>
      <p:grpSp>
        <p:nvGrpSpPr>
          <p:cNvPr id="53" name="Google Shape;1528;p39">
            <a:extLst>
              <a:ext uri="{FF2B5EF4-FFF2-40B4-BE49-F238E27FC236}">
                <a16:creationId xmlns:a16="http://schemas.microsoft.com/office/drawing/2014/main" id="{1D54F689-4ABB-4AC5-8C6D-952586528A9B}"/>
              </a:ext>
            </a:extLst>
          </p:cNvPr>
          <p:cNvGrpSpPr/>
          <p:nvPr/>
        </p:nvGrpSpPr>
        <p:grpSpPr>
          <a:xfrm>
            <a:off x="3302037" y="2235243"/>
            <a:ext cx="1790543" cy="3165169"/>
            <a:chOff x="2476527" y="1858982"/>
            <a:chExt cx="1342907" cy="2373877"/>
          </a:xfrm>
        </p:grpSpPr>
        <p:sp>
          <p:nvSpPr>
            <p:cNvPr id="54" name="Google Shape;1529;p39">
              <a:extLst>
                <a:ext uri="{FF2B5EF4-FFF2-40B4-BE49-F238E27FC236}">
                  <a16:creationId xmlns:a16="http://schemas.microsoft.com/office/drawing/2014/main" id="{13EA015F-CD51-428F-BF36-34D1584616E0}"/>
                </a:ext>
              </a:extLst>
            </p:cNvPr>
            <p:cNvSpPr/>
            <p:nvPr/>
          </p:nvSpPr>
          <p:spPr>
            <a:xfrm>
              <a:off x="2868803" y="2710356"/>
              <a:ext cx="549306" cy="935711"/>
            </a:xfrm>
            <a:custGeom>
              <a:avLst/>
              <a:gdLst/>
              <a:ahLst/>
              <a:cxnLst/>
              <a:rect l="l" t="t" r="r" b="b"/>
              <a:pathLst>
                <a:path w="20158" h="34338" extrusionOk="0">
                  <a:moveTo>
                    <a:pt x="18109" y="0"/>
                  </a:moveTo>
                  <a:cubicBezTo>
                    <a:pt x="17490" y="0"/>
                    <a:pt x="16919" y="346"/>
                    <a:pt x="16633" y="893"/>
                  </a:cubicBezTo>
                  <a:lnTo>
                    <a:pt x="572" y="31909"/>
                  </a:lnTo>
                  <a:cubicBezTo>
                    <a:pt x="0" y="33016"/>
                    <a:pt x="798" y="34338"/>
                    <a:pt x="2048" y="34338"/>
                  </a:cubicBezTo>
                  <a:cubicBezTo>
                    <a:pt x="2667" y="34338"/>
                    <a:pt x="3239" y="33993"/>
                    <a:pt x="3524" y="33445"/>
                  </a:cubicBezTo>
                  <a:lnTo>
                    <a:pt x="19586" y="2429"/>
                  </a:lnTo>
                  <a:cubicBezTo>
                    <a:pt x="20157" y="1322"/>
                    <a:pt x="19360" y="0"/>
                    <a:pt x="18109" y="0"/>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55" name="Google Shape;1530;p39">
              <a:extLst>
                <a:ext uri="{FF2B5EF4-FFF2-40B4-BE49-F238E27FC236}">
                  <a16:creationId xmlns:a16="http://schemas.microsoft.com/office/drawing/2014/main" id="{1919052A-988A-43CD-885F-E22E7388BB29}"/>
                </a:ext>
              </a:extLst>
            </p:cNvPr>
            <p:cNvSpPr/>
            <p:nvPr/>
          </p:nvSpPr>
          <p:spPr>
            <a:xfrm>
              <a:off x="2476527" y="1858982"/>
              <a:ext cx="1342907" cy="1108966"/>
            </a:xfrm>
            <a:custGeom>
              <a:avLst/>
              <a:gdLst/>
              <a:ahLst/>
              <a:cxnLst/>
              <a:rect l="l" t="t" r="r" b="b"/>
              <a:pathLst>
                <a:path w="49281" h="40696" extrusionOk="0">
                  <a:moveTo>
                    <a:pt x="2703" y="0"/>
                  </a:moveTo>
                  <a:cubicBezTo>
                    <a:pt x="1060" y="0"/>
                    <a:pt x="0" y="1751"/>
                    <a:pt x="774" y="3215"/>
                  </a:cubicBezTo>
                  <a:lnTo>
                    <a:pt x="19979" y="39529"/>
                  </a:lnTo>
                  <a:cubicBezTo>
                    <a:pt x="20360" y="40243"/>
                    <a:pt x="21110" y="40696"/>
                    <a:pt x="21920" y="40696"/>
                  </a:cubicBezTo>
                  <a:lnTo>
                    <a:pt x="46578" y="40696"/>
                  </a:lnTo>
                  <a:cubicBezTo>
                    <a:pt x="48233" y="40696"/>
                    <a:pt x="49280" y="38946"/>
                    <a:pt x="48518" y="37493"/>
                  </a:cubicBezTo>
                  <a:lnTo>
                    <a:pt x="29302" y="1167"/>
                  </a:lnTo>
                  <a:cubicBezTo>
                    <a:pt x="28921" y="453"/>
                    <a:pt x="28182" y="0"/>
                    <a:pt x="27373" y="0"/>
                  </a:cubicBezTo>
                  <a:close/>
                </a:path>
              </a:pathLst>
            </a:custGeom>
            <a:solidFill>
              <a:schemeClr val="accent1"/>
            </a:solidFill>
            <a:ln>
              <a:noFill/>
            </a:ln>
          </p:spPr>
          <p:txBody>
            <a:bodyPr spcFirstLastPara="1" wrap="square" lIns="121900" tIns="121900" rIns="121900" bIns="12190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56" name="Google Shape;1531;p39">
              <a:extLst>
                <a:ext uri="{FF2B5EF4-FFF2-40B4-BE49-F238E27FC236}">
                  <a16:creationId xmlns:a16="http://schemas.microsoft.com/office/drawing/2014/main" id="{0117CDDF-EE0A-4D80-8B85-CF38C3F3A31B}"/>
                </a:ext>
              </a:extLst>
            </p:cNvPr>
            <p:cNvSpPr txBox="1"/>
            <p:nvPr/>
          </p:nvSpPr>
          <p:spPr>
            <a:xfrm>
              <a:off x="2532263" y="1970275"/>
              <a:ext cx="796200" cy="277200"/>
            </a:xfrm>
            <a:prstGeom prst="rect">
              <a:avLst/>
            </a:prstGeom>
            <a:noFill/>
            <a:ln>
              <a:noFill/>
            </a:ln>
          </p:spPr>
          <p:txBody>
            <a:bodyPr spcFirstLastPara="1" wrap="square" lIns="121900" tIns="121900" rIns="121900" bIns="1219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3200" b="0" i="0" u="none" strike="noStrike" kern="1200" cap="none" spc="0" normalizeH="0" baseline="0" noProof="0">
                  <a:ln>
                    <a:noFill/>
                  </a:ln>
                  <a:solidFill>
                    <a:srgbClr val="FFFFFF"/>
                  </a:solidFill>
                  <a:effectLst/>
                  <a:uLnTx/>
                  <a:uFillTx/>
                  <a:latin typeface="Arial"/>
                  <a:ea typeface="+mn-ea"/>
                  <a:cs typeface="+mn-ea"/>
                  <a:sym typeface="+mn-lt"/>
                </a:rPr>
                <a:t>05</a:t>
              </a:r>
              <a:endParaRPr kumimoji="0" sz="2489" b="0" i="0" u="none" strike="noStrike" kern="1200" cap="none" spc="0" normalizeH="0" baseline="0" noProof="0">
                <a:ln>
                  <a:noFill/>
                </a:ln>
                <a:solidFill>
                  <a:srgbClr val="FFFFFF"/>
                </a:solidFill>
                <a:effectLst/>
                <a:uLnTx/>
                <a:uFillTx/>
                <a:latin typeface="Arial"/>
                <a:ea typeface="+mn-ea"/>
                <a:cs typeface="+mn-ea"/>
                <a:sym typeface="+mn-lt"/>
              </a:endParaRPr>
            </a:p>
          </p:txBody>
        </p:sp>
        <p:sp>
          <p:nvSpPr>
            <p:cNvPr id="57" name="Google Shape;1532;p39">
              <a:extLst>
                <a:ext uri="{FF2B5EF4-FFF2-40B4-BE49-F238E27FC236}">
                  <a16:creationId xmlns:a16="http://schemas.microsoft.com/office/drawing/2014/main" id="{D29D1B01-8859-402B-B142-BF6E295EC6E2}"/>
                </a:ext>
              </a:extLst>
            </p:cNvPr>
            <p:cNvSpPr txBox="1"/>
            <p:nvPr/>
          </p:nvSpPr>
          <p:spPr>
            <a:xfrm>
              <a:off x="2669213" y="2247473"/>
              <a:ext cx="979500" cy="277200"/>
            </a:xfrm>
            <a:prstGeom prst="rect">
              <a:avLst/>
            </a:prstGeom>
            <a:noFill/>
            <a:ln>
              <a:noFill/>
            </a:ln>
          </p:spPr>
          <p:txBody>
            <a:bodyPr spcFirstLastPara="1" wrap="square" lIns="121900" tIns="121900" rIns="121900" bIns="1219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2133" b="0" i="0" u="none" strike="noStrike" kern="1200" cap="none" spc="0" normalizeH="0" baseline="0" noProof="0">
                  <a:ln>
                    <a:noFill/>
                  </a:ln>
                  <a:solidFill>
                    <a:srgbClr val="FFFFFF"/>
                  </a:solidFill>
                  <a:effectLst/>
                  <a:uLnTx/>
                  <a:uFillTx/>
                  <a:latin typeface="Arial"/>
                  <a:ea typeface="+mn-ea"/>
                  <a:cs typeface="+mn-ea"/>
                  <a:sym typeface="+mn-lt"/>
                </a:rPr>
                <a:t>Saturn</a:t>
              </a:r>
              <a:endParaRPr kumimoji="0" sz="2133" b="0" i="0" u="none" strike="noStrike" kern="1200" cap="none" spc="0" normalizeH="0" baseline="0" noProof="0">
                <a:ln>
                  <a:noFill/>
                </a:ln>
                <a:solidFill>
                  <a:srgbClr val="FFFFFF"/>
                </a:solidFill>
                <a:effectLst/>
                <a:uLnTx/>
                <a:uFillTx/>
                <a:latin typeface="Arial"/>
                <a:ea typeface="+mn-ea"/>
                <a:cs typeface="+mn-ea"/>
                <a:sym typeface="+mn-lt"/>
              </a:endParaRPr>
            </a:p>
          </p:txBody>
        </p:sp>
        <p:grpSp>
          <p:nvGrpSpPr>
            <p:cNvPr id="58" name="Google Shape;1533;p39">
              <a:extLst>
                <a:ext uri="{FF2B5EF4-FFF2-40B4-BE49-F238E27FC236}">
                  <a16:creationId xmlns:a16="http://schemas.microsoft.com/office/drawing/2014/main" id="{CF472828-3950-435D-BEA5-96B5037A73E8}"/>
                </a:ext>
              </a:extLst>
            </p:cNvPr>
            <p:cNvGrpSpPr/>
            <p:nvPr/>
          </p:nvGrpSpPr>
          <p:grpSpPr>
            <a:xfrm>
              <a:off x="2532287" y="3865598"/>
              <a:ext cx="312592" cy="367261"/>
              <a:chOff x="-64022550" y="3727425"/>
              <a:chExt cx="270175" cy="317425"/>
            </a:xfrm>
          </p:grpSpPr>
          <p:sp>
            <p:nvSpPr>
              <p:cNvPr id="59" name="Google Shape;1534;p39">
                <a:extLst>
                  <a:ext uri="{FF2B5EF4-FFF2-40B4-BE49-F238E27FC236}">
                    <a16:creationId xmlns:a16="http://schemas.microsoft.com/office/drawing/2014/main" id="{2F274181-0601-4508-8D28-767DF1E7D679}"/>
                  </a:ext>
                </a:extLst>
              </p:cNvPr>
              <p:cNvSpPr/>
              <p:nvPr/>
            </p:nvSpPr>
            <p:spPr>
              <a:xfrm>
                <a:off x="-64022550" y="3912500"/>
                <a:ext cx="270175" cy="90600"/>
              </a:xfrm>
              <a:custGeom>
                <a:avLst/>
                <a:gdLst/>
                <a:ahLst/>
                <a:cxnLst/>
                <a:rect l="l" t="t" r="r" b="b"/>
                <a:pathLst>
                  <a:path w="10807" h="3624" extrusionOk="0">
                    <a:moveTo>
                      <a:pt x="2111" y="1"/>
                    </a:moveTo>
                    <a:cubicBezTo>
                      <a:pt x="945" y="1"/>
                      <a:pt x="0" y="946"/>
                      <a:pt x="0" y="2080"/>
                    </a:cubicBezTo>
                    <a:lnTo>
                      <a:pt x="0" y="3183"/>
                    </a:lnTo>
                    <a:cubicBezTo>
                      <a:pt x="0" y="3435"/>
                      <a:pt x="221" y="3624"/>
                      <a:pt x="441" y="3624"/>
                    </a:cubicBezTo>
                    <a:lnTo>
                      <a:pt x="10365" y="3624"/>
                    </a:lnTo>
                    <a:cubicBezTo>
                      <a:pt x="10618" y="3624"/>
                      <a:pt x="10807" y="3435"/>
                      <a:pt x="10807" y="3183"/>
                    </a:cubicBezTo>
                    <a:lnTo>
                      <a:pt x="10807" y="2080"/>
                    </a:lnTo>
                    <a:cubicBezTo>
                      <a:pt x="10807" y="946"/>
                      <a:pt x="9861" y="1"/>
                      <a:pt x="8727" y="1"/>
                    </a:cubicBezTo>
                    <a:close/>
                  </a:path>
                </a:pathLst>
              </a:custGeom>
              <a:solidFill>
                <a:schemeClr val="accent4"/>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60" name="Google Shape;1535;p39">
                <a:extLst>
                  <a:ext uri="{FF2B5EF4-FFF2-40B4-BE49-F238E27FC236}">
                    <a16:creationId xmlns:a16="http://schemas.microsoft.com/office/drawing/2014/main" id="{BA54177E-6C52-4014-A215-2EF316B7EF6A}"/>
                  </a:ext>
                </a:extLst>
              </p:cNvPr>
              <p:cNvSpPr/>
              <p:nvPr/>
            </p:nvSpPr>
            <p:spPr>
              <a:xfrm>
                <a:off x="-64000500" y="4023550"/>
                <a:ext cx="227650" cy="21300"/>
              </a:xfrm>
              <a:custGeom>
                <a:avLst/>
                <a:gdLst/>
                <a:ahLst/>
                <a:cxnLst/>
                <a:rect l="l" t="t" r="r" b="b"/>
                <a:pathLst>
                  <a:path w="9106" h="852" extrusionOk="0">
                    <a:moveTo>
                      <a:pt x="0" y="1"/>
                    </a:moveTo>
                    <a:lnTo>
                      <a:pt x="0" y="442"/>
                    </a:lnTo>
                    <a:cubicBezTo>
                      <a:pt x="0" y="694"/>
                      <a:pt x="190" y="851"/>
                      <a:pt x="442" y="851"/>
                    </a:cubicBezTo>
                    <a:lnTo>
                      <a:pt x="8696" y="851"/>
                    </a:lnTo>
                    <a:cubicBezTo>
                      <a:pt x="8948" y="851"/>
                      <a:pt x="9105" y="631"/>
                      <a:pt x="9105" y="442"/>
                    </a:cubicBezTo>
                    <a:lnTo>
                      <a:pt x="9105" y="1"/>
                    </a:lnTo>
                    <a:close/>
                  </a:path>
                </a:pathLst>
              </a:custGeom>
              <a:solidFill>
                <a:schemeClr val="accent4"/>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61" name="Google Shape;1536;p39">
                <a:extLst>
                  <a:ext uri="{FF2B5EF4-FFF2-40B4-BE49-F238E27FC236}">
                    <a16:creationId xmlns:a16="http://schemas.microsoft.com/office/drawing/2014/main" id="{D157A5FE-6E8C-4CBC-90F7-B12E2129ED58}"/>
                  </a:ext>
                </a:extLst>
              </p:cNvPr>
              <p:cNvSpPr/>
              <p:nvPr/>
            </p:nvSpPr>
            <p:spPr>
              <a:xfrm>
                <a:off x="-63960325" y="3727425"/>
                <a:ext cx="144925" cy="165425"/>
              </a:xfrm>
              <a:custGeom>
                <a:avLst/>
                <a:gdLst/>
                <a:ahLst/>
                <a:cxnLst/>
                <a:rect l="l" t="t" r="r" b="b"/>
                <a:pathLst>
                  <a:path w="5797" h="6617" extrusionOk="0">
                    <a:moveTo>
                      <a:pt x="2930" y="0"/>
                    </a:moveTo>
                    <a:cubicBezTo>
                      <a:pt x="1292" y="0"/>
                      <a:pt x="0" y="1292"/>
                      <a:pt x="0" y="2867"/>
                    </a:cubicBezTo>
                    <a:cubicBezTo>
                      <a:pt x="32" y="3812"/>
                      <a:pt x="504" y="4694"/>
                      <a:pt x="1260" y="5230"/>
                    </a:cubicBezTo>
                    <a:lnTo>
                      <a:pt x="1260" y="6616"/>
                    </a:lnTo>
                    <a:lnTo>
                      <a:pt x="4568" y="6616"/>
                    </a:lnTo>
                    <a:lnTo>
                      <a:pt x="4568" y="5230"/>
                    </a:lnTo>
                    <a:cubicBezTo>
                      <a:pt x="5356" y="4694"/>
                      <a:pt x="5797" y="3812"/>
                      <a:pt x="5797" y="2867"/>
                    </a:cubicBezTo>
                    <a:cubicBezTo>
                      <a:pt x="5797" y="1260"/>
                      <a:pt x="4505" y="0"/>
                      <a:pt x="2930" y="0"/>
                    </a:cubicBezTo>
                    <a:close/>
                  </a:path>
                </a:pathLst>
              </a:custGeom>
              <a:solidFill>
                <a:schemeClr val="accent4"/>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grpSp>
      </p:grpSp>
      <p:grpSp>
        <p:nvGrpSpPr>
          <p:cNvPr id="62" name="Google Shape;1537;p39">
            <a:extLst>
              <a:ext uri="{FF2B5EF4-FFF2-40B4-BE49-F238E27FC236}">
                <a16:creationId xmlns:a16="http://schemas.microsoft.com/office/drawing/2014/main" id="{5A9BE5D3-235F-44CF-AA60-0CA50588EEB3}"/>
              </a:ext>
            </a:extLst>
          </p:cNvPr>
          <p:cNvGrpSpPr/>
          <p:nvPr/>
        </p:nvGrpSpPr>
        <p:grpSpPr>
          <a:xfrm>
            <a:off x="5177805" y="2235242"/>
            <a:ext cx="1790979" cy="3164557"/>
            <a:chOff x="3883354" y="1858982"/>
            <a:chExt cx="1343234" cy="2373418"/>
          </a:xfrm>
        </p:grpSpPr>
        <p:sp>
          <p:nvSpPr>
            <p:cNvPr id="63" name="Google Shape;1538;p39">
              <a:extLst>
                <a:ext uri="{FF2B5EF4-FFF2-40B4-BE49-F238E27FC236}">
                  <a16:creationId xmlns:a16="http://schemas.microsoft.com/office/drawing/2014/main" id="{7AAF65A0-8E1A-41D2-B3D5-A7EB21C66CFF}"/>
                </a:ext>
              </a:extLst>
            </p:cNvPr>
            <p:cNvSpPr/>
            <p:nvPr/>
          </p:nvSpPr>
          <p:spPr>
            <a:xfrm>
              <a:off x="4263940" y="2710356"/>
              <a:ext cx="549333" cy="935711"/>
            </a:xfrm>
            <a:custGeom>
              <a:avLst/>
              <a:gdLst/>
              <a:ahLst/>
              <a:cxnLst/>
              <a:rect l="l" t="t" r="r" b="b"/>
              <a:pathLst>
                <a:path w="20159" h="34338" extrusionOk="0">
                  <a:moveTo>
                    <a:pt x="18110" y="0"/>
                  </a:moveTo>
                  <a:cubicBezTo>
                    <a:pt x="17491" y="0"/>
                    <a:pt x="16920" y="346"/>
                    <a:pt x="16634" y="893"/>
                  </a:cubicBezTo>
                  <a:lnTo>
                    <a:pt x="572" y="31909"/>
                  </a:lnTo>
                  <a:cubicBezTo>
                    <a:pt x="1" y="33016"/>
                    <a:pt x="799" y="34338"/>
                    <a:pt x="2049" y="34338"/>
                  </a:cubicBezTo>
                  <a:cubicBezTo>
                    <a:pt x="2668" y="34338"/>
                    <a:pt x="3239" y="33993"/>
                    <a:pt x="3525" y="33445"/>
                  </a:cubicBezTo>
                  <a:lnTo>
                    <a:pt x="19587" y="2429"/>
                  </a:lnTo>
                  <a:cubicBezTo>
                    <a:pt x="20158" y="1322"/>
                    <a:pt x="19360" y="0"/>
                    <a:pt x="18110" y="0"/>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64" name="Google Shape;1539;p39">
              <a:extLst>
                <a:ext uri="{FF2B5EF4-FFF2-40B4-BE49-F238E27FC236}">
                  <a16:creationId xmlns:a16="http://schemas.microsoft.com/office/drawing/2014/main" id="{BCE089DD-E264-4E39-A819-D7CB96B98E6D}"/>
                </a:ext>
              </a:extLst>
            </p:cNvPr>
            <p:cNvSpPr/>
            <p:nvPr/>
          </p:nvSpPr>
          <p:spPr>
            <a:xfrm>
              <a:off x="3883354" y="1858982"/>
              <a:ext cx="1343234" cy="1108966"/>
            </a:xfrm>
            <a:custGeom>
              <a:avLst/>
              <a:gdLst/>
              <a:ahLst/>
              <a:cxnLst/>
              <a:rect l="l" t="t" r="r" b="b"/>
              <a:pathLst>
                <a:path w="49293" h="40696" extrusionOk="0">
                  <a:moveTo>
                    <a:pt x="2704" y="0"/>
                  </a:moveTo>
                  <a:cubicBezTo>
                    <a:pt x="1061" y="0"/>
                    <a:pt x="1" y="1751"/>
                    <a:pt x="775" y="3215"/>
                  </a:cubicBezTo>
                  <a:lnTo>
                    <a:pt x="19991" y="39529"/>
                  </a:lnTo>
                  <a:cubicBezTo>
                    <a:pt x="20372" y="40243"/>
                    <a:pt x="21111" y="40696"/>
                    <a:pt x="21920" y="40696"/>
                  </a:cubicBezTo>
                  <a:lnTo>
                    <a:pt x="46590" y="40696"/>
                  </a:lnTo>
                  <a:cubicBezTo>
                    <a:pt x="48233" y="40696"/>
                    <a:pt x="49293" y="38946"/>
                    <a:pt x="48519" y="37493"/>
                  </a:cubicBezTo>
                  <a:lnTo>
                    <a:pt x="29302" y="1167"/>
                  </a:lnTo>
                  <a:cubicBezTo>
                    <a:pt x="28921" y="453"/>
                    <a:pt x="28183" y="0"/>
                    <a:pt x="27373" y="0"/>
                  </a:cubicBezTo>
                  <a:close/>
                </a:path>
              </a:pathLst>
            </a:custGeom>
            <a:solidFill>
              <a:schemeClr val="accent1"/>
            </a:solidFill>
            <a:ln>
              <a:noFill/>
            </a:ln>
          </p:spPr>
          <p:txBody>
            <a:bodyPr spcFirstLastPara="1" wrap="square" lIns="121900" tIns="121900" rIns="121900" bIns="12190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65" name="Google Shape;1540;p39">
              <a:extLst>
                <a:ext uri="{FF2B5EF4-FFF2-40B4-BE49-F238E27FC236}">
                  <a16:creationId xmlns:a16="http://schemas.microsoft.com/office/drawing/2014/main" id="{4B439575-B886-4E65-95B3-699928138C14}"/>
                </a:ext>
              </a:extLst>
            </p:cNvPr>
            <p:cNvSpPr txBox="1"/>
            <p:nvPr/>
          </p:nvSpPr>
          <p:spPr>
            <a:xfrm>
              <a:off x="3929238" y="1970275"/>
              <a:ext cx="796200" cy="277200"/>
            </a:xfrm>
            <a:prstGeom prst="rect">
              <a:avLst/>
            </a:prstGeom>
            <a:noFill/>
            <a:ln>
              <a:noFill/>
            </a:ln>
          </p:spPr>
          <p:txBody>
            <a:bodyPr spcFirstLastPara="1" wrap="square" lIns="121900" tIns="121900" rIns="121900" bIns="1219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3200" b="0" i="0" u="none" strike="noStrike" kern="1200" cap="none" spc="0" normalizeH="0" baseline="0" noProof="0">
                  <a:ln>
                    <a:noFill/>
                  </a:ln>
                  <a:solidFill>
                    <a:srgbClr val="FFFFFF"/>
                  </a:solidFill>
                  <a:effectLst/>
                  <a:uLnTx/>
                  <a:uFillTx/>
                  <a:latin typeface="Arial"/>
                  <a:ea typeface="+mn-ea"/>
                  <a:cs typeface="+mn-ea"/>
                  <a:sym typeface="+mn-lt"/>
                </a:rPr>
                <a:t>03</a:t>
              </a:r>
              <a:endParaRPr kumimoji="0" sz="2489" b="0" i="0" u="none" strike="noStrike" kern="1200" cap="none" spc="0" normalizeH="0" baseline="0" noProof="0">
                <a:ln>
                  <a:noFill/>
                </a:ln>
                <a:solidFill>
                  <a:srgbClr val="FFFFFF"/>
                </a:solidFill>
                <a:effectLst/>
                <a:uLnTx/>
                <a:uFillTx/>
                <a:latin typeface="Arial"/>
                <a:ea typeface="+mn-ea"/>
                <a:cs typeface="+mn-ea"/>
                <a:sym typeface="+mn-lt"/>
              </a:endParaRPr>
            </a:p>
          </p:txBody>
        </p:sp>
        <p:sp>
          <p:nvSpPr>
            <p:cNvPr id="66" name="Google Shape;1541;p39">
              <a:extLst>
                <a:ext uri="{FF2B5EF4-FFF2-40B4-BE49-F238E27FC236}">
                  <a16:creationId xmlns:a16="http://schemas.microsoft.com/office/drawing/2014/main" id="{1C6A74A9-EA62-4A30-AEDF-D19C20B55C69}"/>
                </a:ext>
              </a:extLst>
            </p:cNvPr>
            <p:cNvSpPr txBox="1"/>
            <p:nvPr/>
          </p:nvSpPr>
          <p:spPr>
            <a:xfrm>
              <a:off x="4066188" y="2247473"/>
              <a:ext cx="979500" cy="277200"/>
            </a:xfrm>
            <a:prstGeom prst="rect">
              <a:avLst/>
            </a:prstGeom>
            <a:noFill/>
            <a:ln>
              <a:noFill/>
            </a:ln>
          </p:spPr>
          <p:txBody>
            <a:bodyPr spcFirstLastPara="1" wrap="square" lIns="121900" tIns="121900" rIns="121900" bIns="1219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2133" b="0" i="0" u="none" strike="noStrike" kern="1200" cap="none" spc="0" normalizeH="0" baseline="0" noProof="0">
                  <a:ln>
                    <a:noFill/>
                  </a:ln>
                  <a:solidFill>
                    <a:srgbClr val="FFFFFF"/>
                  </a:solidFill>
                  <a:effectLst/>
                  <a:uLnTx/>
                  <a:uFillTx/>
                  <a:latin typeface="Arial"/>
                  <a:ea typeface="+mn-ea"/>
                  <a:cs typeface="+mn-ea"/>
                  <a:sym typeface="+mn-lt"/>
                </a:rPr>
                <a:t>Mars</a:t>
              </a:r>
              <a:endParaRPr kumimoji="0" sz="2133" b="0" i="0" u="none" strike="noStrike" kern="1200" cap="none" spc="0" normalizeH="0" baseline="0" noProof="0">
                <a:ln>
                  <a:noFill/>
                </a:ln>
                <a:solidFill>
                  <a:srgbClr val="FFFFFF"/>
                </a:solidFill>
                <a:effectLst/>
                <a:uLnTx/>
                <a:uFillTx/>
                <a:latin typeface="Arial"/>
                <a:ea typeface="+mn-ea"/>
                <a:cs typeface="+mn-ea"/>
                <a:sym typeface="+mn-lt"/>
              </a:endParaRPr>
            </a:p>
          </p:txBody>
        </p:sp>
        <p:grpSp>
          <p:nvGrpSpPr>
            <p:cNvPr id="67" name="Google Shape;1542;p39">
              <a:extLst>
                <a:ext uri="{FF2B5EF4-FFF2-40B4-BE49-F238E27FC236}">
                  <a16:creationId xmlns:a16="http://schemas.microsoft.com/office/drawing/2014/main" id="{EF2355FB-B8AF-412B-AA57-C481C9D4F3FB}"/>
                </a:ext>
              </a:extLst>
            </p:cNvPr>
            <p:cNvGrpSpPr/>
            <p:nvPr/>
          </p:nvGrpSpPr>
          <p:grpSpPr>
            <a:xfrm>
              <a:off x="3917200" y="3865110"/>
              <a:ext cx="264317" cy="367290"/>
              <a:chOff x="-64001300" y="4093650"/>
              <a:chExt cx="228450" cy="317450"/>
            </a:xfrm>
          </p:grpSpPr>
          <p:sp>
            <p:nvSpPr>
              <p:cNvPr id="68" name="Google Shape;1543;p39">
                <a:extLst>
                  <a:ext uri="{FF2B5EF4-FFF2-40B4-BE49-F238E27FC236}">
                    <a16:creationId xmlns:a16="http://schemas.microsoft.com/office/drawing/2014/main" id="{54AC231E-7998-4849-BCD2-3A41382E86DC}"/>
                  </a:ext>
                </a:extLst>
              </p:cNvPr>
              <p:cNvSpPr/>
              <p:nvPr/>
            </p:nvSpPr>
            <p:spPr>
              <a:xfrm>
                <a:off x="-63933550" y="4328375"/>
                <a:ext cx="93750" cy="40975"/>
              </a:xfrm>
              <a:custGeom>
                <a:avLst/>
                <a:gdLst/>
                <a:ahLst/>
                <a:cxnLst/>
                <a:rect l="l" t="t" r="r" b="b"/>
                <a:pathLst>
                  <a:path w="3750" h="1639" extrusionOk="0">
                    <a:moveTo>
                      <a:pt x="1859" y="0"/>
                    </a:moveTo>
                    <a:cubicBezTo>
                      <a:pt x="1009" y="0"/>
                      <a:pt x="315" y="662"/>
                      <a:pt x="0" y="1638"/>
                    </a:cubicBezTo>
                    <a:lnTo>
                      <a:pt x="3749" y="1638"/>
                    </a:lnTo>
                    <a:cubicBezTo>
                      <a:pt x="3434" y="662"/>
                      <a:pt x="2710" y="0"/>
                      <a:pt x="1859" y="0"/>
                    </a:cubicBezTo>
                    <a:close/>
                  </a:path>
                </a:pathLst>
              </a:custGeom>
              <a:solidFill>
                <a:schemeClr val="accent1">
                  <a:lumMod val="100000"/>
                </a:schemeClr>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69" name="Google Shape;1544;p39">
                <a:extLst>
                  <a:ext uri="{FF2B5EF4-FFF2-40B4-BE49-F238E27FC236}">
                    <a16:creationId xmlns:a16="http://schemas.microsoft.com/office/drawing/2014/main" id="{955A2C7D-1BEC-4F7B-B783-456423FD80F8}"/>
                  </a:ext>
                </a:extLst>
              </p:cNvPr>
              <p:cNvSpPr/>
              <p:nvPr/>
            </p:nvSpPr>
            <p:spPr>
              <a:xfrm>
                <a:off x="-63980025" y="4135400"/>
                <a:ext cx="185900" cy="234725"/>
              </a:xfrm>
              <a:custGeom>
                <a:avLst/>
                <a:gdLst/>
                <a:ahLst/>
                <a:cxnLst/>
                <a:rect l="l" t="t" r="r" b="b"/>
                <a:pathLst>
                  <a:path w="7436" h="9389" extrusionOk="0">
                    <a:moveTo>
                      <a:pt x="6617" y="1"/>
                    </a:moveTo>
                    <a:lnTo>
                      <a:pt x="6617" y="725"/>
                    </a:lnTo>
                    <a:cubicBezTo>
                      <a:pt x="6196" y="593"/>
                      <a:pt x="5771" y="530"/>
                      <a:pt x="5358" y="530"/>
                    </a:cubicBezTo>
                    <a:cubicBezTo>
                      <a:pt x="4686" y="530"/>
                      <a:pt x="4044" y="697"/>
                      <a:pt x="3498" y="1009"/>
                    </a:cubicBezTo>
                    <a:cubicBezTo>
                      <a:pt x="3103" y="1242"/>
                      <a:pt x="2617" y="1373"/>
                      <a:pt x="2085" y="1373"/>
                    </a:cubicBezTo>
                    <a:cubicBezTo>
                      <a:pt x="1683" y="1373"/>
                      <a:pt x="1254" y="1298"/>
                      <a:pt x="820" y="1135"/>
                    </a:cubicBezTo>
                    <a:lnTo>
                      <a:pt x="820" y="32"/>
                    </a:lnTo>
                    <a:lnTo>
                      <a:pt x="1" y="32"/>
                    </a:lnTo>
                    <a:lnTo>
                      <a:pt x="1" y="1418"/>
                    </a:lnTo>
                    <a:cubicBezTo>
                      <a:pt x="1" y="2867"/>
                      <a:pt x="820" y="4096"/>
                      <a:pt x="2017" y="4726"/>
                    </a:cubicBezTo>
                    <a:cubicBezTo>
                      <a:pt x="820" y="5356"/>
                      <a:pt x="1" y="6554"/>
                      <a:pt x="1" y="8034"/>
                    </a:cubicBezTo>
                    <a:lnTo>
                      <a:pt x="1" y="9389"/>
                    </a:lnTo>
                    <a:lnTo>
                      <a:pt x="820" y="9389"/>
                    </a:lnTo>
                    <a:lnTo>
                      <a:pt x="820" y="8034"/>
                    </a:lnTo>
                    <a:cubicBezTo>
                      <a:pt x="820" y="6396"/>
                      <a:pt x="2143" y="5104"/>
                      <a:pt x="3750" y="5104"/>
                    </a:cubicBezTo>
                    <a:cubicBezTo>
                      <a:pt x="5356" y="5104"/>
                      <a:pt x="6617" y="6396"/>
                      <a:pt x="6617" y="8034"/>
                    </a:cubicBezTo>
                    <a:lnTo>
                      <a:pt x="6617" y="9389"/>
                    </a:lnTo>
                    <a:lnTo>
                      <a:pt x="7436" y="9389"/>
                    </a:lnTo>
                    <a:lnTo>
                      <a:pt x="7436" y="9357"/>
                    </a:lnTo>
                    <a:lnTo>
                      <a:pt x="7436" y="7971"/>
                    </a:lnTo>
                    <a:cubicBezTo>
                      <a:pt x="7436" y="6522"/>
                      <a:pt x="6617" y="5293"/>
                      <a:pt x="5451" y="4663"/>
                    </a:cubicBezTo>
                    <a:cubicBezTo>
                      <a:pt x="6617" y="4033"/>
                      <a:pt x="7436" y="2836"/>
                      <a:pt x="7436" y="1355"/>
                    </a:cubicBezTo>
                    <a:lnTo>
                      <a:pt x="7436" y="1"/>
                    </a:lnTo>
                    <a:close/>
                  </a:path>
                </a:pathLst>
              </a:custGeom>
              <a:solidFill>
                <a:schemeClr val="accent1">
                  <a:lumMod val="100000"/>
                </a:schemeClr>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70" name="Google Shape;1545;p39">
                <a:extLst>
                  <a:ext uri="{FF2B5EF4-FFF2-40B4-BE49-F238E27FC236}">
                    <a16:creationId xmlns:a16="http://schemas.microsoft.com/office/drawing/2014/main" id="{E0101927-8AD7-4402-A772-A3A6E22EE87A}"/>
                  </a:ext>
                </a:extLst>
              </p:cNvPr>
              <p:cNvSpPr/>
              <p:nvPr/>
            </p:nvSpPr>
            <p:spPr>
              <a:xfrm>
                <a:off x="-64001300" y="4389800"/>
                <a:ext cx="228450" cy="21300"/>
              </a:xfrm>
              <a:custGeom>
                <a:avLst/>
                <a:gdLst/>
                <a:ahLst/>
                <a:cxnLst/>
                <a:rect l="l" t="t" r="r" b="b"/>
                <a:pathLst>
                  <a:path w="9138" h="852" extrusionOk="0">
                    <a:moveTo>
                      <a:pt x="411" y="1"/>
                    </a:moveTo>
                    <a:cubicBezTo>
                      <a:pt x="190" y="1"/>
                      <a:pt x="1" y="221"/>
                      <a:pt x="1" y="410"/>
                    </a:cubicBezTo>
                    <a:cubicBezTo>
                      <a:pt x="1" y="631"/>
                      <a:pt x="190" y="851"/>
                      <a:pt x="411" y="851"/>
                    </a:cubicBezTo>
                    <a:lnTo>
                      <a:pt x="8696" y="851"/>
                    </a:lnTo>
                    <a:cubicBezTo>
                      <a:pt x="8917" y="851"/>
                      <a:pt x="9074" y="631"/>
                      <a:pt x="9074" y="410"/>
                    </a:cubicBezTo>
                    <a:cubicBezTo>
                      <a:pt x="9137" y="221"/>
                      <a:pt x="8917" y="1"/>
                      <a:pt x="8696" y="1"/>
                    </a:cubicBezTo>
                    <a:close/>
                  </a:path>
                </a:pathLst>
              </a:custGeom>
              <a:solidFill>
                <a:schemeClr val="accent1">
                  <a:lumMod val="100000"/>
                </a:schemeClr>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71" name="Google Shape;1546;p39">
                <a:extLst>
                  <a:ext uri="{FF2B5EF4-FFF2-40B4-BE49-F238E27FC236}">
                    <a16:creationId xmlns:a16="http://schemas.microsoft.com/office/drawing/2014/main" id="{752AFBDC-117F-4343-8F5F-4B6F01863985}"/>
                  </a:ext>
                </a:extLst>
              </p:cNvPr>
              <p:cNvSpPr/>
              <p:nvPr/>
            </p:nvSpPr>
            <p:spPr>
              <a:xfrm>
                <a:off x="-64001300" y="4093650"/>
                <a:ext cx="226875" cy="20500"/>
              </a:xfrm>
              <a:custGeom>
                <a:avLst/>
                <a:gdLst/>
                <a:ahLst/>
                <a:cxnLst/>
                <a:rect l="l" t="t" r="r" b="b"/>
                <a:pathLst>
                  <a:path w="9075" h="820" extrusionOk="0">
                    <a:moveTo>
                      <a:pt x="411" y="1"/>
                    </a:moveTo>
                    <a:cubicBezTo>
                      <a:pt x="190" y="1"/>
                      <a:pt x="1" y="190"/>
                      <a:pt x="1" y="410"/>
                    </a:cubicBezTo>
                    <a:cubicBezTo>
                      <a:pt x="32" y="631"/>
                      <a:pt x="190" y="820"/>
                      <a:pt x="411" y="820"/>
                    </a:cubicBezTo>
                    <a:lnTo>
                      <a:pt x="8696" y="820"/>
                    </a:lnTo>
                    <a:cubicBezTo>
                      <a:pt x="8917" y="820"/>
                      <a:pt x="9074" y="631"/>
                      <a:pt x="9074" y="410"/>
                    </a:cubicBezTo>
                    <a:cubicBezTo>
                      <a:pt x="9074" y="158"/>
                      <a:pt x="8885" y="1"/>
                      <a:pt x="8696" y="1"/>
                    </a:cubicBezTo>
                    <a:close/>
                  </a:path>
                </a:pathLst>
              </a:custGeom>
              <a:solidFill>
                <a:schemeClr val="accent1">
                  <a:lumMod val="100000"/>
                </a:schemeClr>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grpSp>
      </p:grpSp>
    </p:spTree>
    <p:extLst>
      <p:ext uri="{BB962C8B-B14F-4D97-AF65-F5344CB8AC3E}">
        <p14:creationId xmlns:p14="http://schemas.microsoft.com/office/powerpoint/2010/main" val="1924391996"/>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梯形 11">
            <a:extLst>
              <a:ext uri="{FF2B5EF4-FFF2-40B4-BE49-F238E27FC236}">
                <a16:creationId xmlns:a16="http://schemas.microsoft.com/office/drawing/2014/main" id="{856BDBC9-FE02-47EB-A73D-33C7C07D75A0}"/>
              </a:ext>
            </a:extLst>
          </p:cNvPr>
          <p:cNvSpPr/>
          <p:nvPr/>
        </p:nvSpPr>
        <p:spPr>
          <a:xfrm>
            <a:off x="7103638" y="2816303"/>
            <a:ext cx="2493264" cy="2946321"/>
          </a:xfrm>
          <a:prstGeom prst="trapezoid">
            <a:avLst>
              <a:gd name="adj" fmla="val 4186"/>
            </a:avLst>
          </a:prstGeom>
          <a:solidFill>
            <a:schemeClr val="accent1">
              <a:lumMod val="75000"/>
              <a:lumOff val="25000"/>
            </a:schemeClr>
          </a:solidFill>
          <a:ln>
            <a:noFill/>
          </a:ln>
          <a:effectLst>
            <a:reflection blurRad="6350" stA="22000" endPos="17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13" name="文本框 12">
            <a:extLst>
              <a:ext uri="{FF2B5EF4-FFF2-40B4-BE49-F238E27FC236}">
                <a16:creationId xmlns:a16="http://schemas.microsoft.com/office/drawing/2014/main" id="{4D733CB1-7F7F-4F4F-ACDF-51CFF9E73C80}"/>
              </a:ext>
            </a:extLst>
          </p:cNvPr>
          <p:cNvSpPr txBox="1"/>
          <p:nvPr/>
        </p:nvSpPr>
        <p:spPr>
          <a:xfrm>
            <a:off x="8012037" y="3177936"/>
            <a:ext cx="676467" cy="615553"/>
          </a:xfrm>
          <a:prstGeom prst="rect">
            <a:avLst/>
          </a:prstGeom>
          <a:noFill/>
        </p:spPr>
        <p:txBody>
          <a:bodyPr wrap="none" lIns="0" tIns="0" rIns="0" bIns="0" rtlCol="0" anchor="t">
            <a:spAutoFit/>
          </a:bodyPr>
          <a:lstStyle/>
          <a:p>
            <a:pPr algn="ctr"/>
            <a:r>
              <a:rPr lang="en-US" altLang="zh-CN" sz="4000" dirty="0">
                <a:solidFill>
                  <a:schemeClr val="bg1"/>
                </a:solidFill>
                <a:latin typeface="+mj-ea"/>
                <a:ea typeface="+mj-ea"/>
              </a:rPr>
              <a:t>03</a:t>
            </a:r>
            <a:endParaRPr lang="zh-CN" altLang="en-US" sz="4000" dirty="0">
              <a:solidFill>
                <a:schemeClr val="bg1"/>
              </a:solidFill>
              <a:latin typeface="+mj-ea"/>
              <a:ea typeface="+mj-ea"/>
            </a:endParaRPr>
          </a:p>
        </p:txBody>
      </p:sp>
      <p:sp>
        <p:nvSpPr>
          <p:cNvPr id="14" name="文本框 13">
            <a:extLst>
              <a:ext uri="{FF2B5EF4-FFF2-40B4-BE49-F238E27FC236}">
                <a16:creationId xmlns:a16="http://schemas.microsoft.com/office/drawing/2014/main" id="{87DC5075-718F-4108-BC09-C1A97C802AC8}"/>
              </a:ext>
            </a:extLst>
          </p:cNvPr>
          <p:cNvSpPr txBox="1"/>
          <p:nvPr/>
        </p:nvSpPr>
        <p:spPr>
          <a:xfrm>
            <a:off x="7426941" y="3939936"/>
            <a:ext cx="1846659" cy="369332"/>
          </a:xfrm>
          <a:prstGeom prst="rect">
            <a:avLst/>
          </a:prstGeom>
          <a:noFill/>
        </p:spPr>
        <p:txBody>
          <a:bodyPr wrap="none" lIns="0" tIns="0" rIns="0" bIns="0" rtlCol="0" anchor="t">
            <a:spAutoFit/>
          </a:bodyPr>
          <a:lstStyle/>
          <a:p>
            <a:pPr algn="ctr"/>
            <a:r>
              <a:rPr lang="zh-CN" altLang="en-US" sz="2400" dirty="0">
                <a:solidFill>
                  <a:schemeClr val="bg1"/>
                </a:solidFill>
                <a:latin typeface="+mj-ea"/>
                <a:ea typeface="+mj-ea"/>
              </a:rPr>
              <a:t>输入目录标题</a:t>
            </a:r>
          </a:p>
        </p:txBody>
      </p:sp>
      <p:sp>
        <p:nvSpPr>
          <p:cNvPr id="15" name="文本框 14">
            <a:extLst>
              <a:ext uri="{FF2B5EF4-FFF2-40B4-BE49-F238E27FC236}">
                <a16:creationId xmlns:a16="http://schemas.microsoft.com/office/drawing/2014/main" id="{9BB0B7C6-F6D8-400D-9023-A5D4DE70C75C}"/>
              </a:ext>
            </a:extLst>
          </p:cNvPr>
          <p:cNvSpPr txBox="1"/>
          <p:nvPr/>
        </p:nvSpPr>
        <p:spPr>
          <a:xfrm>
            <a:off x="7426940" y="4401118"/>
            <a:ext cx="1846660" cy="215444"/>
          </a:xfrm>
          <a:prstGeom prst="rect">
            <a:avLst/>
          </a:prstGeom>
          <a:noFill/>
        </p:spPr>
        <p:txBody>
          <a:bodyPr wrap="square" lIns="0" tIns="0" rIns="0" bIns="0" rtlCol="0" anchor="t">
            <a:spAutoFit/>
          </a:bodyPr>
          <a:lstStyle/>
          <a:p>
            <a:pPr algn="dist"/>
            <a:r>
              <a:rPr lang="en-US" altLang="zh-CN" sz="1400" dirty="0">
                <a:solidFill>
                  <a:schemeClr val="bg1"/>
                </a:solidFill>
              </a:rPr>
              <a:t>Contents Title Here</a:t>
            </a:r>
            <a:endParaRPr lang="zh-CN" altLang="en-US" sz="1400" dirty="0">
              <a:solidFill>
                <a:schemeClr val="bg1"/>
              </a:solidFill>
            </a:endParaRPr>
          </a:p>
        </p:txBody>
      </p:sp>
      <p:sp>
        <p:nvSpPr>
          <p:cNvPr id="8" name="梯形 7">
            <a:extLst>
              <a:ext uri="{FF2B5EF4-FFF2-40B4-BE49-F238E27FC236}">
                <a16:creationId xmlns:a16="http://schemas.microsoft.com/office/drawing/2014/main" id="{18513F46-55D1-4EC3-8086-30AEF340E73D}"/>
              </a:ext>
            </a:extLst>
          </p:cNvPr>
          <p:cNvSpPr/>
          <p:nvPr/>
        </p:nvSpPr>
        <p:spPr>
          <a:xfrm>
            <a:off x="2621952" y="2816303"/>
            <a:ext cx="2493264" cy="2946321"/>
          </a:xfrm>
          <a:prstGeom prst="trapezoid">
            <a:avLst>
              <a:gd name="adj" fmla="val 5286"/>
            </a:avLst>
          </a:prstGeom>
          <a:solidFill>
            <a:schemeClr val="accent1">
              <a:lumMod val="75000"/>
              <a:lumOff val="25000"/>
            </a:schemeClr>
          </a:solidFill>
          <a:ln>
            <a:noFill/>
          </a:ln>
          <a:effectLst>
            <a:reflection blurRad="6350" stA="22000" endPos="17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2" name="文本框 1">
            <a:extLst>
              <a:ext uri="{FF2B5EF4-FFF2-40B4-BE49-F238E27FC236}">
                <a16:creationId xmlns:a16="http://schemas.microsoft.com/office/drawing/2014/main" id="{7E4F2E3E-A245-4767-99F5-618C302367EF}"/>
              </a:ext>
            </a:extLst>
          </p:cNvPr>
          <p:cNvSpPr txBox="1"/>
          <p:nvPr/>
        </p:nvSpPr>
        <p:spPr>
          <a:xfrm>
            <a:off x="4760285" y="607518"/>
            <a:ext cx="2802566" cy="553998"/>
          </a:xfrm>
          <a:prstGeom prst="rect">
            <a:avLst/>
          </a:prstGeom>
          <a:noFill/>
        </p:spPr>
        <p:txBody>
          <a:bodyPr wrap="square" lIns="0" tIns="0" rIns="0" bIns="0" rtlCol="0" anchor="t">
            <a:spAutoFit/>
          </a:bodyPr>
          <a:lstStyle/>
          <a:p>
            <a:pPr algn="dist"/>
            <a:r>
              <a:rPr lang="en-US" altLang="zh-CN" sz="3600" dirty="0">
                <a:solidFill>
                  <a:schemeClr val="accent1">
                    <a:alpha val="20000"/>
                  </a:schemeClr>
                </a:solidFill>
                <a:latin typeface="+mj-ea"/>
                <a:ea typeface="+mj-ea"/>
              </a:rPr>
              <a:t>CONTENTS</a:t>
            </a:r>
            <a:endParaRPr lang="zh-CN" altLang="en-US" sz="3600" dirty="0">
              <a:solidFill>
                <a:schemeClr val="accent1">
                  <a:alpha val="20000"/>
                </a:schemeClr>
              </a:solidFill>
              <a:latin typeface="+mj-ea"/>
              <a:ea typeface="+mj-ea"/>
            </a:endParaRPr>
          </a:p>
        </p:txBody>
      </p:sp>
      <p:sp>
        <p:nvSpPr>
          <p:cNvPr id="3" name="文本框 2">
            <a:extLst>
              <a:ext uri="{FF2B5EF4-FFF2-40B4-BE49-F238E27FC236}">
                <a16:creationId xmlns:a16="http://schemas.microsoft.com/office/drawing/2014/main" id="{1CF1898D-8563-4918-A7B7-FC2F63E15934}"/>
              </a:ext>
            </a:extLst>
          </p:cNvPr>
          <p:cNvSpPr txBox="1"/>
          <p:nvPr/>
        </p:nvSpPr>
        <p:spPr>
          <a:xfrm>
            <a:off x="4759151" y="808317"/>
            <a:ext cx="2673698" cy="1354217"/>
          </a:xfrm>
          <a:prstGeom prst="rect">
            <a:avLst/>
          </a:prstGeom>
          <a:noFill/>
        </p:spPr>
        <p:txBody>
          <a:bodyPr wrap="square" lIns="0" tIns="0" rIns="0" bIns="0" rtlCol="0" anchor="t">
            <a:spAutoFit/>
          </a:bodyPr>
          <a:lstStyle/>
          <a:p>
            <a:pPr algn="dist"/>
            <a:r>
              <a:rPr lang="zh-CN" altLang="en-US" sz="8800" dirty="0">
                <a:solidFill>
                  <a:schemeClr val="accent1"/>
                </a:solidFill>
                <a:latin typeface="+mj-ea"/>
                <a:ea typeface="+mj-ea"/>
              </a:rPr>
              <a:t>目录</a:t>
            </a:r>
          </a:p>
        </p:txBody>
      </p:sp>
      <p:sp>
        <p:nvSpPr>
          <p:cNvPr id="4" name="梯形 3">
            <a:extLst>
              <a:ext uri="{FF2B5EF4-FFF2-40B4-BE49-F238E27FC236}">
                <a16:creationId xmlns:a16="http://schemas.microsoft.com/office/drawing/2014/main" id="{888689F8-F05D-496D-87E2-BA5F8537DA8D}"/>
              </a:ext>
            </a:extLst>
          </p:cNvPr>
          <p:cNvSpPr/>
          <p:nvPr/>
        </p:nvSpPr>
        <p:spPr>
          <a:xfrm>
            <a:off x="4849368" y="2571750"/>
            <a:ext cx="2493264" cy="3190874"/>
          </a:xfrm>
          <a:prstGeom prst="trapezoid">
            <a:avLst>
              <a:gd name="adj" fmla="val 3819"/>
            </a:avLst>
          </a:prstGeom>
          <a:solidFill>
            <a:schemeClr val="accent1"/>
          </a:solidFill>
          <a:ln>
            <a:noFill/>
          </a:ln>
          <a:effectLst>
            <a:reflection blurRad="6350" stA="22000" endPos="17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5" name="文本框 4">
            <a:extLst>
              <a:ext uri="{FF2B5EF4-FFF2-40B4-BE49-F238E27FC236}">
                <a16:creationId xmlns:a16="http://schemas.microsoft.com/office/drawing/2014/main" id="{E16B4B03-9E12-4F20-BA2C-0436FB9DBCE7}"/>
              </a:ext>
            </a:extLst>
          </p:cNvPr>
          <p:cNvSpPr txBox="1"/>
          <p:nvPr/>
        </p:nvSpPr>
        <p:spPr>
          <a:xfrm>
            <a:off x="5757767" y="3177936"/>
            <a:ext cx="676467" cy="615553"/>
          </a:xfrm>
          <a:prstGeom prst="rect">
            <a:avLst/>
          </a:prstGeom>
          <a:noFill/>
        </p:spPr>
        <p:txBody>
          <a:bodyPr wrap="none" lIns="0" tIns="0" rIns="0" bIns="0" rtlCol="0" anchor="t">
            <a:spAutoFit/>
          </a:bodyPr>
          <a:lstStyle/>
          <a:p>
            <a:pPr algn="ctr"/>
            <a:r>
              <a:rPr lang="en-US" altLang="zh-CN" sz="4000" dirty="0">
                <a:solidFill>
                  <a:schemeClr val="bg1"/>
                </a:solidFill>
                <a:latin typeface="+mj-ea"/>
                <a:ea typeface="+mj-ea"/>
              </a:rPr>
              <a:t>02</a:t>
            </a:r>
            <a:endParaRPr lang="zh-CN" altLang="en-US" sz="4000" dirty="0">
              <a:solidFill>
                <a:schemeClr val="bg1"/>
              </a:solidFill>
              <a:latin typeface="+mj-ea"/>
              <a:ea typeface="+mj-ea"/>
            </a:endParaRPr>
          </a:p>
        </p:txBody>
      </p:sp>
      <p:sp>
        <p:nvSpPr>
          <p:cNvPr id="6" name="文本框 5">
            <a:extLst>
              <a:ext uri="{FF2B5EF4-FFF2-40B4-BE49-F238E27FC236}">
                <a16:creationId xmlns:a16="http://schemas.microsoft.com/office/drawing/2014/main" id="{113C65FF-D8C7-4589-A31D-6D712E8CAAAD}"/>
              </a:ext>
            </a:extLst>
          </p:cNvPr>
          <p:cNvSpPr txBox="1"/>
          <p:nvPr/>
        </p:nvSpPr>
        <p:spPr>
          <a:xfrm>
            <a:off x="5172671" y="3939936"/>
            <a:ext cx="1846659" cy="369332"/>
          </a:xfrm>
          <a:prstGeom prst="rect">
            <a:avLst/>
          </a:prstGeom>
          <a:noFill/>
        </p:spPr>
        <p:txBody>
          <a:bodyPr wrap="none" lIns="0" tIns="0" rIns="0" bIns="0" rtlCol="0" anchor="t">
            <a:spAutoFit/>
          </a:bodyPr>
          <a:lstStyle/>
          <a:p>
            <a:pPr algn="ctr"/>
            <a:r>
              <a:rPr lang="zh-CN" altLang="en-US" sz="2400" dirty="0">
                <a:solidFill>
                  <a:schemeClr val="bg1"/>
                </a:solidFill>
                <a:latin typeface="+mj-ea"/>
                <a:ea typeface="+mj-ea"/>
              </a:rPr>
              <a:t>输入目录标题</a:t>
            </a:r>
          </a:p>
        </p:txBody>
      </p:sp>
      <p:sp>
        <p:nvSpPr>
          <p:cNvPr id="7" name="文本框 6">
            <a:extLst>
              <a:ext uri="{FF2B5EF4-FFF2-40B4-BE49-F238E27FC236}">
                <a16:creationId xmlns:a16="http://schemas.microsoft.com/office/drawing/2014/main" id="{47CBE0E6-D9EC-4898-95E2-6B10349ACB0B}"/>
              </a:ext>
            </a:extLst>
          </p:cNvPr>
          <p:cNvSpPr txBox="1"/>
          <p:nvPr/>
        </p:nvSpPr>
        <p:spPr>
          <a:xfrm>
            <a:off x="5172670" y="4401118"/>
            <a:ext cx="1846660" cy="215444"/>
          </a:xfrm>
          <a:prstGeom prst="rect">
            <a:avLst/>
          </a:prstGeom>
          <a:noFill/>
        </p:spPr>
        <p:txBody>
          <a:bodyPr wrap="square" lIns="0" tIns="0" rIns="0" bIns="0" rtlCol="0" anchor="t">
            <a:spAutoFit/>
          </a:bodyPr>
          <a:lstStyle/>
          <a:p>
            <a:pPr algn="dist"/>
            <a:r>
              <a:rPr lang="en-US" altLang="zh-CN" sz="1400" dirty="0">
                <a:solidFill>
                  <a:schemeClr val="bg1"/>
                </a:solidFill>
              </a:rPr>
              <a:t>Contents Title Here</a:t>
            </a:r>
            <a:endParaRPr lang="zh-CN" altLang="en-US" sz="1400" dirty="0">
              <a:solidFill>
                <a:schemeClr val="bg1"/>
              </a:solidFill>
            </a:endParaRPr>
          </a:p>
        </p:txBody>
      </p:sp>
      <p:sp>
        <p:nvSpPr>
          <p:cNvPr id="9" name="文本框 8">
            <a:extLst>
              <a:ext uri="{FF2B5EF4-FFF2-40B4-BE49-F238E27FC236}">
                <a16:creationId xmlns:a16="http://schemas.microsoft.com/office/drawing/2014/main" id="{3BC210FE-A9F9-4531-A329-727920581686}"/>
              </a:ext>
            </a:extLst>
          </p:cNvPr>
          <p:cNvSpPr txBox="1"/>
          <p:nvPr/>
        </p:nvSpPr>
        <p:spPr>
          <a:xfrm>
            <a:off x="3488784" y="3177936"/>
            <a:ext cx="583494" cy="615553"/>
          </a:xfrm>
          <a:prstGeom prst="rect">
            <a:avLst/>
          </a:prstGeom>
          <a:noFill/>
        </p:spPr>
        <p:txBody>
          <a:bodyPr wrap="none" lIns="0" tIns="0" rIns="0" bIns="0" rtlCol="0" anchor="t">
            <a:spAutoFit/>
          </a:bodyPr>
          <a:lstStyle/>
          <a:p>
            <a:pPr algn="ctr"/>
            <a:r>
              <a:rPr lang="en-US" altLang="zh-CN" sz="4000" dirty="0">
                <a:solidFill>
                  <a:schemeClr val="bg1"/>
                </a:solidFill>
                <a:latin typeface="+mj-ea"/>
                <a:ea typeface="+mj-ea"/>
              </a:rPr>
              <a:t>01</a:t>
            </a:r>
            <a:endParaRPr lang="zh-CN" altLang="en-US" sz="4000" dirty="0">
              <a:solidFill>
                <a:schemeClr val="bg1"/>
              </a:solidFill>
              <a:latin typeface="+mj-ea"/>
              <a:ea typeface="+mj-ea"/>
            </a:endParaRPr>
          </a:p>
        </p:txBody>
      </p:sp>
      <p:sp>
        <p:nvSpPr>
          <p:cNvPr id="10" name="文本框 9">
            <a:extLst>
              <a:ext uri="{FF2B5EF4-FFF2-40B4-BE49-F238E27FC236}">
                <a16:creationId xmlns:a16="http://schemas.microsoft.com/office/drawing/2014/main" id="{E18DEB46-1E8E-4CA3-8082-16F2B47B5B26}"/>
              </a:ext>
            </a:extLst>
          </p:cNvPr>
          <p:cNvSpPr txBox="1"/>
          <p:nvPr/>
        </p:nvSpPr>
        <p:spPr>
          <a:xfrm>
            <a:off x="2857201" y="3939936"/>
            <a:ext cx="1846659" cy="369332"/>
          </a:xfrm>
          <a:prstGeom prst="rect">
            <a:avLst/>
          </a:prstGeom>
          <a:noFill/>
        </p:spPr>
        <p:txBody>
          <a:bodyPr wrap="none" lIns="0" tIns="0" rIns="0" bIns="0" rtlCol="0" anchor="t">
            <a:spAutoFit/>
          </a:bodyPr>
          <a:lstStyle/>
          <a:p>
            <a:pPr algn="ctr"/>
            <a:r>
              <a:rPr lang="zh-CN" altLang="en-US" sz="2400" dirty="0">
                <a:solidFill>
                  <a:schemeClr val="bg1"/>
                </a:solidFill>
                <a:latin typeface="+mj-ea"/>
                <a:ea typeface="+mj-ea"/>
              </a:rPr>
              <a:t>输入目录标题</a:t>
            </a:r>
          </a:p>
        </p:txBody>
      </p:sp>
      <p:sp>
        <p:nvSpPr>
          <p:cNvPr id="11" name="文本框 10">
            <a:extLst>
              <a:ext uri="{FF2B5EF4-FFF2-40B4-BE49-F238E27FC236}">
                <a16:creationId xmlns:a16="http://schemas.microsoft.com/office/drawing/2014/main" id="{94902E5C-5092-46FE-BBF1-D94863D05008}"/>
              </a:ext>
            </a:extLst>
          </p:cNvPr>
          <p:cNvSpPr txBox="1"/>
          <p:nvPr/>
        </p:nvSpPr>
        <p:spPr>
          <a:xfrm>
            <a:off x="2857200" y="4401118"/>
            <a:ext cx="1846660" cy="215444"/>
          </a:xfrm>
          <a:prstGeom prst="rect">
            <a:avLst/>
          </a:prstGeom>
          <a:noFill/>
        </p:spPr>
        <p:txBody>
          <a:bodyPr wrap="square" lIns="0" tIns="0" rIns="0" bIns="0" rtlCol="0" anchor="t">
            <a:spAutoFit/>
          </a:bodyPr>
          <a:lstStyle/>
          <a:p>
            <a:pPr algn="dist"/>
            <a:r>
              <a:rPr lang="en-US" altLang="zh-CN" sz="1400" dirty="0">
                <a:solidFill>
                  <a:schemeClr val="bg1"/>
                </a:solidFill>
              </a:rPr>
              <a:t>Contents Title Here</a:t>
            </a:r>
            <a:endParaRPr lang="zh-CN" altLang="en-US" sz="1400" dirty="0">
              <a:solidFill>
                <a:schemeClr val="bg1"/>
              </a:solidFill>
            </a:endParaRPr>
          </a:p>
        </p:txBody>
      </p:sp>
    </p:spTree>
    <p:extLst>
      <p:ext uri="{BB962C8B-B14F-4D97-AF65-F5344CB8AC3E}">
        <p14:creationId xmlns:p14="http://schemas.microsoft.com/office/powerpoint/2010/main" val="2015774778"/>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7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Google Shape;1552;p40">
            <a:extLst>
              <a:ext uri="{FF2B5EF4-FFF2-40B4-BE49-F238E27FC236}">
                <a16:creationId xmlns:a16="http://schemas.microsoft.com/office/drawing/2014/main" id="{6E1933D9-369F-4E7C-833A-C4586C31DCA3}"/>
              </a:ext>
            </a:extLst>
          </p:cNvPr>
          <p:cNvSpPr/>
          <p:nvPr/>
        </p:nvSpPr>
        <p:spPr>
          <a:xfrm>
            <a:off x="5177651" y="4978117"/>
            <a:ext cx="3306000" cy="349267"/>
          </a:xfrm>
          <a:custGeom>
            <a:avLst/>
            <a:gdLst/>
            <a:ahLst/>
            <a:cxnLst/>
            <a:rect l="l" t="t" r="r" b="b"/>
            <a:pathLst>
              <a:path w="99180" h="10478" extrusionOk="0">
                <a:moveTo>
                  <a:pt x="4167" y="0"/>
                </a:moveTo>
                <a:cubicBezTo>
                  <a:pt x="2941" y="3513"/>
                  <a:pt x="1548" y="7013"/>
                  <a:pt x="0" y="10478"/>
                </a:cubicBezTo>
                <a:lnTo>
                  <a:pt x="95000" y="10478"/>
                </a:lnTo>
                <a:cubicBezTo>
                  <a:pt x="96548" y="7013"/>
                  <a:pt x="97941" y="3513"/>
                  <a:pt x="99179" y="0"/>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Tx/>
              <a:buNone/>
              <a:tabLst/>
              <a:defRPr/>
            </a:pPr>
            <a:r>
              <a:rPr kumimoji="0" lang="en" sz="1600" b="0" i="0" u="none" strike="noStrike" kern="1200" cap="none" spc="0" normalizeH="0" baseline="0" noProof="0">
                <a:ln>
                  <a:noFill/>
                </a:ln>
                <a:solidFill>
                  <a:srgbClr val="FFFFFF"/>
                </a:solidFill>
                <a:effectLst/>
                <a:uLnTx/>
                <a:uFillTx/>
                <a:latin typeface="Arial"/>
                <a:ea typeface="+mn-ea"/>
                <a:cs typeface="+mn-ea"/>
                <a:sym typeface="+mn-lt"/>
              </a:rPr>
              <a:t>Venus has a beautiful name</a:t>
            </a:r>
            <a:endParaRPr kumimoji="0" sz="2489" b="0" i="0" u="none" strike="noStrike" kern="1200" cap="none" spc="0" normalizeH="0" baseline="0" noProof="0">
              <a:ln>
                <a:noFill/>
              </a:ln>
              <a:solidFill>
                <a:srgbClr val="FFFFFF"/>
              </a:solidFill>
              <a:effectLst/>
              <a:uLnTx/>
              <a:uFillTx/>
              <a:latin typeface="Arial"/>
              <a:ea typeface="+mn-ea"/>
              <a:cs typeface="+mn-ea"/>
              <a:sym typeface="+mn-lt"/>
            </a:endParaRPr>
          </a:p>
        </p:txBody>
      </p:sp>
      <p:sp>
        <p:nvSpPr>
          <p:cNvPr id="3" name="Google Shape;1553;p40">
            <a:extLst>
              <a:ext uri="{FF2B5EF4-FFF2-40B4-BE49-F238E27FC236}">
                <a16:creationId xmlns:a16="http://schemas.microsoft.com/office/drawing/2014/main" id="{782BF498-0D38-4C58-BEAD-A565D27691C7}"/>
              </a:ext>
            </a:extLst>
          </p:cNvPr>
          <p:cNvSpPr/>
          <p:nvPr/>
        </p:nvSpPr>
        <p:spPr>
          <a:xfrm>
            <a:off x="2010584" y="4978117"/>
            <a:ext cx="3306000" cy="349267"/>
          </a:xfrm>
          <a:custGeom>
            <a:avLst/>
            <a:gdLst/>
            <a:ahLst/>
            <a:cxnLst/>
            <a:rect l="l" t="t" r="r" b="b"/>
            <a:pathLst>
              <a:path w="99180" h="10478" extrusionOk="0">
                <a:moveTo>
                  <a:pt x="4168" y="0"/>
                </a:moveTo>
                <a:cubicBezTo>
                  <a:pt x="2929" y="3525"/>
                  <a:pt x="1536" y="7013"/>
                  <a:pt x="0" y="10478"/>
                </a:cubicBezTo>
                <a:lnTo>
                  <a:pt x="95012" y="10478"/>
                </a:lnTo>
                <a:cubicBezTo>
                  <a:pt x="96560" y="7013"/>
                  <a:pt x="97953" y="3513"/>
                  <a:pt x="99179" y="0"/>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Tx/>
              <a:buNone/>
              <a:tabLst/>
              <a:defRPr/>
            </a:pPr>
            <a:r>
              <a:rPr kumimoji="0" lang="en" sz="1600" b="0" i="0" u="none" strike="noStrike" kern="1200" cap="none" spc="0" normalizeH="0" baseline="0" noProof="0">
                <a:ln>
                  <a:noFill/>
                </a:ln>
                <a:solidFill>
                  <a:srgbClr val="FFFFFF"/>
                </a:solidFill>
                <a:effectLst/>
                <a:uLnTx/>
                <a:uFillTx/>
                <a:latin typeface="Arial"/>
                <a:ea typeface="+mn-ea"/>
                <a:cs typeface="+mn-ea"/>
                <a:sym typeface="+mn-lt"/>
              </a:rPr>
              <a:t>Earth is the third planet</a:t>
            </a:r>
            <a:endParaRPr kumimoji="0" sz="2489" b="0" i="0" u="none" strike="noStrike" kern="1200" cap="none" spc="0" normalizeH="0" baseline="0" noProof="0">
              <a:ln>
                <a:noFill/>
              </a:ln>
              <a:solidFill>
                <a:srgbClr val="FFFFFF"/>
              </a:solidFill>
              <a:effectLst/>
              <a:uLnTx/>
              <a:uFillTx/>
              <a:latin typeface="Arial"/>
              <a:ea typeface="+mn-ea"/>
              <a:cs typeface="+mn-ea"/>
              <a:sym typeface="+mn-lt"/>
            </a:endParaRPr>
          </a:p>
        </p:txBody>
      </p:sp>
      <p:sp>
        <p:nvSpPr>
          <p:cNvPr id="4" name="Google Shape;1554;p40">
            <a:extLst>
              <a:ext uri="{FF2B5EF4-FFF2-40B4-BE49-F238E27FC236}">
                <a16:creationId xmlns:a16="http://schemas.microsoft.com/office/drawing/2014/main" id="{0D0020A8-2B23-472D-A0A9-2C118E86147D}"/>
              </a:ext>
            </a:extLst>
          </p:cNvPr>
          <p:cNvSpPr/>
          <p:nvPr/>
        </p:nvSpPr>
        <p:spPr>
          <a:xfrm>
            <a:off x="5177651" y="1484018"/>
            <a:ext cx="3306000" cy="349300"/>
          </a:xfrm>
          <a:custGeom>
            <a:avLst/>
            <a:gdLst/>
            <a:ahLst/>
            <a:cxnLst/>
            <a:rect l="l" t="t" r="r" b="b"/>
            <a:pathLst>
              <a:path w="99180" h="10479" extrusionOk="0">
                <a:moveTo>
                  <a:pt x="0" y="1"/>
                </a:moveTo>
                <a:cubicBezTo>
                  <a:pt x="1548" y="3466"/>
                  <a:pt x="2941" y="6954"/>
                  <a:pt x="4167" y="10478"/>
                </a:cubicBezTo>
                <a:lnTo>
                  <a:pt x="99179" y="10478"/>
                </a:lnTo>
                <a:cubicBezTo>
                  <a:pt x="97941" y="6954"/>
                  <a:pt x="96548" y="3466"/>
                  <a:pt x="95000" y="1"/>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Tx/>
              <a:buNone/>
              <a:tabLst/>
              <a:defRPr/>
            </a:pPr>
            <a:r>
              <a:rPr kumimoji="0" lang="en" sz="1600" b="0" i="0" u="none" strike="noStrike" kern="1200" cap="none" spc="0" normalizeH="0" baseline="0" noProof="0">
                <a:ln>
                  <a:noFill/>
                </a:ln>
                <a:solidFill>
                  <a:srgbClr val="FFFFFF"/>
                </a:solidFill>
                <a:effectLst/>
                <a:uLnTx/>
                <a:uFillTx/>
                <a:latin typeface="Arial"/>
                <a:ea typeface="+mn-ea"/>
                <a:cs typeface="+mn-ea"/>
                <a:sym typeface="+mn-lt"/>
              </a:rPr>
              <a:t>Mercury is the smallest</a:t>
            </a:r>
            <a:endParaRPr kumimoji="0" sz="2489" b="0" i="0" u="none" strike="noStrike" kern="1200" cap="none" spc="0" normalizeH="0" baseline="0" noProof="0">
              <a:ln>
                <a:noFill/>
              </a:ln>
              <a:solidFill>
                <a:srgbClr val="FFFFFF"/>
              </a:solidFill>
              <a:effectLst/>
              <a:uLnTx/>
              <a:uFillTx/>
              <a:latin typeface="Arial"/>
              <a:ea typeface="+mn-ea"/>
              <a:cs typeface="+mn-ea"/>
              <a:sym typeface="+mn-lt"/>
            </a:endParaRPr>
          </a:p>
        </p:txBody>
      </p:sp>
      <p:sp>
        <p:nvSpPr>
          <p:cNvPr id="5" name="Google Shape;1555;p40">
            <a:extLst>
              <a:ext uri="{FF2B5EF4-FFF2-40B4-BE49-F238E27FC236}">
                <a16:creationId xmlns:a16="http://schemas.microsoft.com/office/drawing/2014/main" id="{CEA4F072-A6A5-4774-B8CD-C1C886920537}"/>
              </a:ext>
            </a:extLst>
          </p:cNvPr>
          <p:cNvSpPr/>
          <p:nvPr/>
        </p:nvSpPr>
        <p:spPr>
          <a:xfrm>
            <a:off x="2010584" y="1484018"/>
            <a:ext cx="3306000" cy="349300"/>
          </a:xfrm>
          <a:custGeom>
            <a:avLst/>
            <a:gdLst/>
            <a:ahLst/>
            <a:cxnLst/>
            <a:rect l="l" t="t" r="r" b="b"/>
            <a:pathLst>
              <a:path w="99180" h="10479" extrusionOk="0">
                <a:moveTo>
                  <a:pt x="0" y="1"/>
                </a:moveTo>
                <a:cubicBezTo>
                  <a:pt x="1536" y="3466"/>
                  <a:pt x="2929" y="6954"/>
                  <a:pt x="4168" y="10478"/>
                </a:cubicBezTo>
                <a:lnTo>
                  <a:pt x="99179" y="10478"/>
                </a:lnTo>
                <a:cubicBezTo>
                  <a:pt x="97953" y="6954"/>
                  <a:pt x="96560" y="3466"/>
                  <a:pt x="95012" y="1"/>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Tx/>
              <a:buNone/>
              <a:tabLst/>
              <a:defRPr/>
            </a:pPr>
            <a:r>
              <a:rPr kumimoji="0" lang="en" sz="1600" b="0" i="0" u="none" strike="noStrike" kern="1200" cap="none" spc="0" normalizeH="0" baseline="0" noProof="0">
                <a:ln>
                  <a:noFill/>
                </a:ln>
                <a:solidFill>
                  <a:srgbClr val="FFFFFF"/>
                </a:solidFill>
                <a:effectLst/>
                <a:uLnTx/>
                <a:uFillTx/>
                <a:latin typeface="Arial"/>
                <a:ea typeface="+mn-ea"/>
                <a:cs typeface="+mn-ea"/>
                <a:sym typeface="+mn-lt"/>
              </a:rPr>
              <a:t>Neptune is the farthest </a:t>
            </a:r>
            <a:endParaRPr kumimoji="0" sz="2489" b="0" i="0" u="none" strike="noStrike" kern="1200" cap="none" spc="0" normalizeH="0" baseline="0" noProof="0">
              <a:ln>
                <a:noFill/>
              </a:ln>
              <a:solidFill>
                <a:srgbClr val="FFFFFF"/>
              </a:solidFill>
              <a:effectLst/>
              <a:uLnTx/>
              <a:uFillTx/>
              <a:latin typeface="Arial"/>
              <a:ea typeface="+mn-ea"/>
              <a:cs typeface="+mn-ea"/>
              <a:sym typeface="+mn-lt"/>
            </a:endParaRPr>
          </a:p>
        </p:txBody>
      </p:sp>
      <p:grpSp>
        <p:nvGrpSpPr>
          <p:cNvPr id="6" name="Google Shape;1556;p40">
            <a:extLst>
              <a:ext uri="{FF2B5EF4-FFF2-40B4-BE49-F238E27FC236}">
                <a16:creationId xmlns:a16="http://schemas.microsoft.com/office/drawing/2014/main" id="{0CA76519-56DC-41A2-8FCF-B1B1A8F860C6}"/>
              </a:ext>
            </a:extLst>
          </p:cNvPr>
          <p:cNvGrpSpPr/>
          <p:nvPr/>
        </p:nvGrpSpPr>
        <p:grpSpPr>
          <a:xfrm>
            <a:off x="5316551" y="1961085"/>
            <a:ext cx="1834000" cy="1444633"/>
            <a:chOff x="3987413" y="1670838"/>
            <a:chExt cx="1375500" cy="1083475"/>
          </a:xfrm>
        </p:grpSpPr>
        <p:sp>
          <p:nvSpPr>
            <p:cNvPr id="7" name="Google Shape;1557;p40">
              <a:extLst>
                <a:ext uri="{FF2B5EF4-FFF2-40B4-BE49-F238E27FC236}">
                  <a16:creationId xmlns:a16="http://schemas.microsoft.com/office/drawing/2014/main" id="{5012C002-C5C9-4B19-884B-0E3630359C46}"/>
                </a:ext>
              </a:extLst>
            </p:cNvPr>
            <p:cNvSpPr/>
            <p:nvPr/>
          </p:nvSpPr>
          <p:spPr>
            <a:xfrm>
              <a:off x="3987413" y="1670838"/>
              <a:ext cx="1375500" cy="1083475"/>
            </a:xfrm>
            <a:custGeom>
              <a:avLst/>
              <a:gdLst/>
              <a:ahLst/>
              <a:cxnLst/>
              <a:rect l="l" t="t" r="r" b="b"/>
              <a:pathLst>
                <a:path w="55020" h="43339" extrusionOk="0">
                  <a:moveTo>
                    <a:pt x="0" y="0"/>
                  </a:moveTo>
                  <a:cubicBezTo>
                    <a:pt x="5013" y="14204"/>
                    <a:pt x="7513" y="28766"/>
                    <a:pt x="7513" y="43339"/>
                  </a:cubicBezTo>
                  <a:lnTo>
                    <a:pt x="55019" y="43339"/>
                  </a:lnTo>
                  <a:cubicBezTo>
                    <a:pt x="55019" y="28766"/>
                    <a:pt x="52519" y="14204"/>
                    <a:pt x="47506" y="0"/>
                  </a:cubicBezTo>
                  <a:close/>
                </a:path>
              </a:pathLst>
            </a:custGeom>
            <a:solidFill>
              <a:schemeClr val="accent1"/>
            </a:solidFill>
            <a:ln>
              <a:noFill/>
            </a:ln>
          </p:spPr>
          <p:txBody>
            <a:bodyPr spcFirstLastPara="1" wrap="square" lIns="182867" tIns="121900" rIns="121900" bIns="243833" anchor="b"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Tx/>
                <a:buNone/>
                <a:tabLst/>
                <a:defRPr/>
              </a:pPr>
              <a:r>
                <a:rPr kumimoji="0" lang="en" sz="2267" b="0" i="0" u="none" strike="noStrike" kern="1200" cap="none" spc="0" normalizeH="0" baseline="0" noProof="0">
                  <a:ln>
                    <a:noFill/>
                  </a:ln>
                  <a:solidFill>
                    <a:srgbClr val="FFFFFF"/>
                  </a:solidFill>
                  <a:effectLst/>
                  <a:uLnTx/>
                  <a:uFillTx/>
                  <a:latin typeface="Arial"/>
                  <a:ea typeface="+mn-ea"/>
                  <a:cs typeface="+mn-ea"/>
                  <a:sym typeface="+mn-lt"/>
                </a:rPr>
                <a:t>Mars</a:t>
              </a:r>
              <a:endParaRPr kumimoji="0" sz="2489" b="0" i="0" u="none" strike="noStrike" kern="1200" cap="none" spc="0" normalizeH="0" baseline="0" noProof="0">
                <a:ln>
                  <a:noFill/>
                </a:ln>
                <a:solidFill>
                  <a:srgbClr val="FFFFFF"/>
                </a:solidFill>
                <a:effectLst/>
                <a:uLnTx/>
                <a:uFillTx/>
                <a:latin typeface="Arial"/>
                <a:ea typeface="+mn-ea"/>
                <a:cs typeface="+mn-ea"/>
                <a:sym typeface="+mn-lt"/>
              </a:endParaRPr>
            </a:p>
          </p:txBody>
        </p:sp>
        <p:sp>
          <p:nvSpPr>
            <p:cNvPr id="8" name="Google Shape;1558;p40">
              <a:extLst>
                <a:ext uri="{FF2B5EF4-FFF2-40B4-BE49-F238E27FC236}">
                  <a16:creationId xmlns:a16="http://schemas.microsoft.com/office/drawing/2014/main" id="{5F88C456-4569-4076-82BE-07E2FD8EEE5E}"/>
                </a:ext>
              </a:extLst>
            </p:cNvPr>
            <p:cNvSpPr/>
            <p:nvPr/>
          </p:nvSpPr>
          <p:spPr>
            <a:xfrm>
              <a:off x="4520213" y="1831813"/>
              <a:ext cx="301850" cy="292450"/>
            </a:xfrm>
            <a:custGeom>
              <a:avLst/>
              <a:gdLst/>
              <a:ahLst/>
              <a:cxnLst/>
              <a:rect l="l" t="t" r="r" b="b"/>
              <a:pathLst>
                <a:path w="12074" h="11698" extrusionOk="0">
                  <a:moveTo>
                    <a:pt x="5039" y="1839"/>
                  </a:moveTo>
                  <a:cubicBezTo>
                    <a:pt x="5769" y="1839"/>
                    <a:pt x="6502" y="2116"/>
                    <a:pt x="7061" y="2669"/>
                  </a:cubicBezTo>
                  <a:cubicBezTo>
                    <a:pt x="8168" y="3789"/>
                    <a:pt x="8168" y="5598"/>
                    <a:pt x="7061" y="6706"/>
                  </a:cubicBezTo>
                  <a:cubicBezTo>
                    <a:pt x="6502" y="7265"/>
                    <a:pt x="5769" y="7545"/>
                    <a:pt x="5039" y="7545"/>
                  </a:cubicBezTo>
                  <a:cubicBezTo>
                    <a:pt x="4308" y="7545"/>
                    <a:pt x="3579" y="7265"/>
                    <a:pt x="3025" y="6706"/>
                  </a:cubicBezTo>
                  <a:cubicBezTo>
                    <a:pt x="1906" y="5598"/>
                    <a:pt x="1906" y="3789"/>
                    <a:pt x="3025" y="2669"/>
                  </a:cubicBezTo>
                  <a:cubicBezTo>
                    <a:pt x="3579" y="2116"/>
                    <a:pt x="4308" y="1839"/>
                    <a:pt x="5039" y="1839"/>
                  </a:cubicBezTo>
                  <a:close/>
                  <a:moveTo>
                    <a:pt x="5043" y="0"/>
                  </a:moveTo>
                  <a:cubicBezTo>
                    <a:pt x="3676" y="0"/>
                    <a:pt x="2308" y="592"/>
                    <a:pt x="1358" y="1776"/>
                  </a:cubicBezTo>
                  <a:cubicBezTo>
                    <a:pt x="1" y="3479"/>
                    <a:pt x="13" y="5979"/>
                    <a:pt x="1406" y="7670"/>
                  </a:cubicBezTo>
                  <a:cubicBezTo>
                    <a:pt x="2350" y="8813"/>
                    <a:pt x="3696" y="9385"/>
                    <a:pt x="5041" y="9385"/>
                  </a:cubicBezTo>
                  <a:cubicBezTo>
                    <a:pt x="5951" y="9385"/>
                    <a:pt x="6861" y="9123"/>
                    <a:pt x="7645" y="8599"/>
                  </a:cubicBezTo>
                  <a:lnTo>
                    <a:pt x="10645" y="11599"/>
                  </a:lnTo>
                  <a:cubicBezTo>
                    <a:pt x="10710" y="11665"/>
                    <a:pt x="10794" y="11697"/>
                    <a:pt x="10877" y="11697"/>
                  </a:cubicBezTo>
                  <a:cubicBezTo>
                    <a:pt x="10960" y="11697"/>
                    <a:pt x="11044" y="11665"/>
                    <a:pt x="11109" y="11599"/>
                  </a:cubicBezTo>
                  <a:lnTo>
                    <a:pt x="11955" y="10754"/>
                  </a:lnTo>
                  <a:cubicBezTo>
                    <a:pt x="12074" y="10635"/>
                    <a:pt x="12074" y="10420"/>
                    <a:pt x="11955" y="10301"/>
                  </a:cubicBezTo>
                  <a:lnTo>
                    <a:pt x="8954" y="7289"/>
                  </a:lnTo>
                  <a:cubicBezTo>
                    <a:pt x="10169" y="5467"/>
                    <a:pt x="9966" y="2979"/>
                    <a:pt x="8359" y="1372"/>
                  </a:cubicBezTo>
                  <a:cubicBezTo>
                    <a:pt x="7445" y="458"/>
                    <a:pt x="6245" y="0"/>
                    <a:pt x="5043" y="0"/>
                  </a:cubicBezTo>
                  <a:close/>
                </a:path>
              </a:pathLst>
            </a:custGeom>
            <a:solidFill>
              <a:srgbClr val="F7FAFB"/>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grpSp>
      <p:grpSp>
        <p:nvGrpSpPr>
          <p:cNvPr id="9" name="Google Shape;1559;p40">
            <a:extLst>
              <a:ext uri="{FF2B5EF4-FFF2-40B4-BE49-F238E27FC236}">
                <a16:creationId xmlns:a16="http://schemas.microsoft.com/office/drawing/2014/main" id="{4E24AD1B-ED39-4A7C-9EB8-A358B1EAAA3C}"/>
              </a:ext>
            </a:extLst>
          </p:cNvPr>
          <p:cNvGrpSpPr/>
          <p:nvPr/>
        </p:nvGrpSpPr>
        <p:grpSpPr>
          <a:xfrm>
            <a:off x="6900084" y="1961085"/>
            <a:ext cx="1834000" cy="1444633"/>
            <a:chOff x="5175063" y="1670838"/>
            <a:chExt cx="1375500" cy="1083475"/>
          </a:xfrm>
        </p:grpSpPr>
        <p:sp>
          <p:nvSpPr>
            <p:cNvPr id="10" name="Google Shape;1560;p40">
              <a:extLst>
                <a:ext uri="{FF2B5EF4-FFF2-40B4-BE49-F238E27FC236}">
                  <a16:creationId xmlns:a16="http://schemas.microsoft.com/office/drawing/2014/main" id="{556ADACA-EA41-4ACC-8ACF-7D05BB24FEB5}"/>
                </a:ext>
              </a:extLst>
            </p:cNvPr>
            <p:cNvSpPr/>
            <p:nvPr/>
          </p:nvSpPr>
          <p:spPr>
            <a:xfrm>
              <a:off x="5175063" y="1670838"/>
              <a:ext cx="1375500" cy="1083475"/>
            </a:xfrm>
            <a:custGeom>
              <a:avLst/>
              <a:gdLst/>
              <a:ahLst/>
              <a:cxnLst/>
              <a:rect l="l" t="t" r="r" b="b"/>
              <a:pathLst>
                <a:path w="55020" h="43339" extrusionOk="0">
                  <a:moveTo>
                    <a:pt x="0" y="0"/>
                  </a:moveTo>
                  <a:cubicBezTo>
                    <a:pt x="5013" y="14204"/>
                    <a:pt x="7513" y="28766"/>
                    <a:pt x="7513" y="43339"/>
                  </a:cubicBezTo>
                  <a:lnTo>
                    <a:pt x="55019" y="43339"/>
                  </a:lnTo>
                  <a:cubicBezTo>
                    <a:pt x="55019" y="28766"/>
                    <a:pt x="52519" y="14204"/>
                    <a:pt x="47506" y="0"/>
                  </a:cubicBezTo>
                  <a:close/>
                </a:path>
              </a:pathLst>
            </a:custGeom>
            <a:solidFill>
              <a:schemeClr val="accent1"/>
            </a:solidFill>
            <a:ln>
              <a:noFill/>
            </a:ln>
          </p:spPr>
          <p:txBody>
            <a:bodyPr spcFirstLastPara="1" wrap="square" lIns="182867" tIns="121900" rIns="121900" bIns="243833" anchor="b"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Tx/>
                <a:buNone/>
                <a:tabLst/>
                <a:defRPr/>
              </a:pPr>
              <a:r>
                <a:rPr kumimoji="0" lang="en" sz="2267" b="0" i="0" u="none" strike="noStrike" kern="1200" cap="none" spc="0" normalizeH="0" baseline="0" noProof="0">
                  <a:ln>
                    <a:noFill/>
                  </a:ln>
                  <a:solidFill>
                    <a:srgbClr val="FFFFFF"/>
                  </a:solidFill>
                  <a:effectLst/>
                  <a:uLnTx/>
                  <a:uFillTx/>
                  <a:latin typeface="Arial"/>
                  <a:ea typeface="+mn-ea"/>
                  <a:cs typeface="+mn-ea"/>
                  <a:sym typeface="+mn-lt"/>
                </a:rPr>
                <a:t>Mercury</a:t>
              </a:r>
              <a:endParaRPr kumimoji="0" sz="2489" b="0" i="0" u="none" strike="noStrike" kern="1200" cap="none" spc="0" normalizeH="0" baseline="0" noProof="0">
                <a:ln>
                  <a:noFill/>
                </a:ln>
                <a:solidFill>
                  <a:srgbClr val="FFFFFF"/>
                </a:solidFill>
                <a:effectLst/>
                <a:uLnTx/>
                <a:uFillTx/>
                <a:latin typeface="Arial"/>
                <a:ea typeface="+mn-ea"/>
                <a:cs typeface="+mn-ea"/>
                <a:sym typeface="+mn-lt"/>
              </a:endParaRPr>
            </a:p>
          </p:txBody>
        </p:sp>
        <p:sp>
          <p:nvSpPr>
            <p:cNvPr id="11" name="Google Shape;1561;p40">
              <a:extLst>
                <a:ext uri="{FF2B5EF4-FFF2-40B4-BE49-F238E27FC236}">
                  <a16:creationId xmlns:a16="http://schemas.microsoft.com/office/drawing/2014/main" id="{35932444-FBCD-4452-9FAB-4C8A7163AC16}"/>
                </a:ext>
              </a:extLst>
            </p:cNvPr>
            <p:cNvSpPr/>
            <p:nvPr/>
          </p:nvSpPr>
          <p:spPr>
            <a:xfrm>
              <a:off x="5774838" y="1836913"/>
              <a:ext cx="176225" cy="282200"/>
            </a:xfrm>
            <a:custGeom>
              <a:avLst/>
              <a:gdLst/>
              <a:ahLst/>
              <a:cxnLst/>
              <a:rect l="l" t="t" r="r" b="b"/>
              <a:pathLst>
                <a:path w="7049" h="11288" extrusionOk="0">
                  <a:moveTo>
                    <a:pt x="3525" y="1656"/>
                  </a:moveTo>
                  <a:cubicBezTo>
                    <a:pt x="4549" y="1656"/>
                    <a:pt x="5382" y="2489"/>
                    <a:pt x="5382" y="3525"/>
                  </a:cubicBezTo>
                  <a:cubicBezTo>
                    <a:pt x="5382" y="4549"/>
                    <a:pt x="4549" y="5382"/>
                    <a:pt x="3525" y="5382"/>
                  </a:cubicBezTo>
                  <a:cubicBezTo>
                    <a:pt x="2489" y="5382"/>
                    <a:pt x="1656" y="4549"/>
                    <a:pt x="1656" y="3525"/>
                  </a:cubicBezTo>
                  <a:cubicBezTo>
                    <a:pt x="1656" y="2489"/>
                    <a:pt x="2489" y="1656"/>
                    <a:pt x="3525" y="1656"/>
                  </a:cubicBezTo>
                  <a:close/>
                  <a:moveTo>
                    <a:pt x="3525" y="1"/>
                  </a:moveTo>
                  <a:cubicBezTo>
                    <a:pt x="1572" y="1"/>
                    <a:pt x="1" y="1572"/>
                    <a:pt x="1" y="3525"/>
                  </a:cubicBezTo>
                  <a:cubicBezTo>
                    <a:pt x="1" y="7014"/>
                    <a:pt x="3525" y="11288"/>
                    <a:pt x="3525" y="11288"/>
                  </a:cubicBezTo>
                  <a:cubicBezTo>
                    <a:pt x="3525" y="11288"/>
                    <a:pt x="7049" y="7014"/>
                    <a:pt x="7049" y="3525"/>
                  </a:cubicBezTo>
                  <a:cubicBezTo>
                    <a:pt x="7049" y="1572"/>
                    <a:pt x="5466" y="1"/>
                    <a:pt x="3525" y="1"/>
                  </a:cubicBezTo>
                  <a:close/>
                </a:path>
              </a:pathLst>
            </a:custGeom>
            <a:solidFill>
              <a:srgbClr val="F7FAFB"/>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grpSp>
      <p:grpSp>
        <p:nvGrpSpPr>
          <p:cNvPr id="12" name="Google Shape;1562;p40">
            <a:extLst>
              <a:ext uri="{FF2B5EF4-FFF2-40B4-BE49-F238E27FC236}">
                <a16:creationId xmlns:a16="http://schemas.microsoft.com/office/drawing/2014/main" id="{D0390E39-0EA6-4DD9-B8F2-BC7343321393}"/>
              </a:ext>
            </a:extLst>
          </p:cNvPr>
          <p:cNvGrpSpPr/>
          <p:nvPr/>
        </p:nvGrpSpPr>
        <p:grpSpPr>
          <a:xfrm>
            <a:off x="3733417" y="1961085"/>
            <a:ext cx="1833600" cy="1444633"/>
            <a:chOff x="2800063" y="1670838"/>
            <a:chExt cx="1375200" cy="1083475"/>
          </a:xfrm>
        </p:grpSpPr>
        <p:sp>
          <p:nvSpPr>
            <p:cNvPr id="13" name="Google Shape;1563;p40">
              <a:extLst>
                <a:ext uri="{FF2B5EF4-FFF2-40B4-BE49-F238E27FC236}">
                  <a16:creationId xmlns:a16="http://schemas.microsoft.com/office/drawing/2014/main" id="{DF100B77-7632-4836-9BA6-39171B95B9FD}"/>
                </a:ext>
              </a:extLst>
            </p:cNvPr>
            <p:cNvSpPr/>
            <p:nvPr/>
          </p:nvSpPr>
          <p:spPr>
            <a:xfrm>
              <a:off x="2800063" y="1670838"/>
              <a:ext cx="1375200" cy="1083475"/>
            </a:xfrm>
            <a:custGeom>
              <a:avLst/>
              <a:gdLst/>
              <a:ahLst/>
              <a:cxnLst/>
              <a:rect l="l" t="t" r="r" b="b"/>
              <a:pathLst>
                <a:path w="55008" h="43339" extrusionOk="0">
                  <a:moveTo>
                    <a:pt x="0" y="0"/>
                  </a:moveTo>
                  <a:cubicBezTo>
                    <a:pt x="5001" y="14204"/>
                    <a:pt x="7501" y="28766"/>
                    <a:pt x="7501" y="43339"/>
                  </a:cubicBezTo>
                  <a:lnTo>
                    <a:pt x="55007" y="43339"/>
                  </a:lnTo>
                  <a:cubicBezTo>
                    <a:pt x="55007" y="28766"/>
                    <a:pt x="52507" y="14204"/>
                    <a:pt x="47494" y="0"/>
                  </a:cubicBezTo>
                  <a:close/>
                </a:path>
              </a:pathLst>
            </a:custGeom>
            <a:solidFill>
              <a:schemeClr val="accent1"/>
            </a:solidFill>
            <a:ln>
              <a:noFill/>
            </a:ln>
          </p:spPr>
          <p:txBody>
            <a:bodyPr spcFirstLastPara="1" wrap="square" lIns="182867" tIns="121900" rIns="121900" bIns="243833" anchor="b"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Tx/>
                <a:buNone/>
                <a:tabLst/>
                <a:defRPr/>
              </a:pPr>
              <a:r>
                <a:rPr kumimoji="0" lang="en" sz="2267" b="0" i="0" u="none" strike="noStrike" kern="1200" cap="none" spc="0" normalizeH="0" baseline="0" noProof="0">
                  <a:ln>
                    <a:noFill/>
                  </a:ln>
                  <a:solidFill>
                    <a:srgbClr val="FFFFFF"/>
                  </a:solidFill>
                  <a:effectLst/>
                  <a:uLnTx/>
                  <a:uFillTx/>
                  <a:latin typeface="Arial"/>
                  <a:ea typeface="+mn-ea"/>
                  <a:cs typeface="+mn-ea"/>
                  <a:sym typeface="+mn-lt"/>
                </a:rPr>
                <a:t>Uranus</a:t>
              </a:r>
              <a:endParaRPr kumimoji="0" sz="2489" b="0" i="0" u="none" strike="noStrike" kern="1200" cap="none" spc="0" normalizeH="0" baseline="0" noProof="0">
                <a:ln>
                  <a:noFill/>
                </a:ln>
                <a:solidFill>
                  <a:srgbClr val="FFFFFF"/>
                </a:solidFill>
                <a:effectLst/>
                <a:uLnTx/>
                <a:uFillTx/>
                <a:latin typeface="Arial"/>
                <a:ea typeface="+mn-ea"/>
                <a:cs typeface="+mn-ea"/>
                <a:sym typeface="+mn-lt"/>
              </a:endParaRPr>
            </a:p>
          </p:txBody>
        </p:sp>
        <p:sp>
          <p:nvSpPr>
            <p:cNvPr id="14" name="Google Shape;1564;p40">
              <a:extLst>
                <a:ext uri="{FF2B5EF4-FFF2-40B4-BE49-F238E27FC236}">
                  <a16:creationId xmlns:a16="http://schemas.microsoft.com/office/drawing/2014/main" id="{25B81307-3CA6-4998-93D8-D03E15964F27}"/>
                </a:ext>
              </a:extLst>
            </p:cNvPr>
            <p:cNvSpPr/>
            <p:nvPr/>
          </p:nvSpPr>
          <p:spPr>
            <a:xfrm>
              <a:off x="3336738" y="1877988"/>
              <a:ext cx="301550" cy="200050"/>
            </a:xfrm>
            <a:custGeom>
              <a:avLst/>
              <a:gdLst/>
              <a:ahLst/>
              <a:cxnLst/>
              <a:rect l="l" t="t" r="r" b="b"/>
              <a:pathLst>
                <a:path w="12062" h="8002" extrusionOk="0">
                  <a:moveTo>
                    <a:pt x="9978" y="1072"/>
                  </a:moveTo>
                  <a:lnTo>
                    <a:pt x="6037" y="4216"/>
                  </a:lnTo>
                  <a:lnTo>
                    <a:pt x="2084" y="1072"/>
                  </a:lnTo>
                  <a:close/>
                  <a:moveTo>
                    <a:pt x="10990" y="1656"/>
                  </a:moveTo>
                  <a:lnTo>
                    <a:pt x="10990" y="6918"/>
                  </a:lnTo>
                  <a:lnTo>
                    <a:pt x="1084" y="6918"/>
                  </a:lnTo>
                  <a:lnTo>
                    <a:pt x="1084" y="1656"/>
                  </a:lnTo>
                  <a:lnTo>
                    <a:pt x="5692" y="5335"/>
                  </a:lnTo>
                  <a:cubicBezTo>
                    <a:pt x="5799" y="5406"/>
                    <a:pt x="5918" y="5454"/>
                    <a:pt x="6037" y="5454"/>
                  </a:cubicBezTo>
                  <a:cubicBezTo>
                    <a:pt x="6156" y="5454"/>
                    <a:pt x="6275" y="5406"/>
                    <a:pt x="6370" y="5335"/>
                  </a:cubicBezTo>
                  <a:lnTo>
                    <a:pt x="10990" y="1656"/>
                  </a:lnTo>
                  <a:close/>
                  <a:moveTo>
                    <a:pt x="453" y="1"/>
                  </a:moveTo>
                  <a:cubicBezTo>
                    <a:pt x="441" y="13"/>
                    <a:pt x="429" y="13"/>
                    <a:pt x="405" y="13"/>
                  </a:cubicBezTo>
                  <a:cubicBezTo>
                    <a:pt x="393" y="25"/>
                    <a:pt x="370" y="25"/>
                    <a:pt x="358" y="37"/>
                  </a:cubicBezTo>
                  <a:cubicBezTo>
                    <a:pt x="346" y="37"/>
                    <a:pt x="322" y="49"/>
                    <a:pt x="310" y="49"/>
                  </a:cubicBezTo>
                  <a:cubicBezTo>
                    <a:pt x="298" y="60"/>
                    <a:pt x="274" y="72"/>
                    <a:pt x="262" y="72"/>
                  </a:cubicBezTo>
                  <a:cubicBezTo>
                    <a:pt x="250" y="84"/>
                    <a:pt x="239" y="96"/>
                    <a:pt x="215" y="108"/>
                  </a:cubicBezTo>
                  <a:cubicBezTo>
                    <a:pt x="203" y="120"/>
                    <a:pt x="191" y="132"/>
                    <a:pt x="179" y="144"/>
                  </a:cubicBezTo>
                  <a:cubicBezTo>
                    <a:pt x="167" y="156"/>
                    <a:pt x="155" y="168"/>
                    <a:pt x="143" y="179"/>
                  </a:cubicBezTo>
                  <a:cubicBezTo>
                    <a:pt x="131" y="191"/>
                    <a:pt x="131" y="191"/>
                    <a:pt x="119" y="203"/>
                  </a:cubicBezTo>
                  <a:cubicBezTo>
                    <a:pt x="119" y="203"/>
                    <a:pt x="108" y="215"/>
                    <a:pt x="108" y="215"/>
                  </a:cubicBezTo>
                  <a:cubicBezTo>
                    <a:pt x="96" y="227"/>
                    <a:pt x="84" y="251"/>
                    <a:pt x="72" y="263"/>
                  </a:cubicBezTo>
                  <a:cubicBezTo>
                    <a:pt x="72" y="275"/>
                    <a:pt x="60" y="299"/>
                    <a:pt x="60" y="310"/>
                  </a:cubicBezTo>
                  <a:cubicBezTo>
                    <a:pt x="48" y="322"/>
                    <a:pt x="36" y="346"/>
                    <a:pt x="36" y="358"/>
                  </a:cubicBezTo>
                  <a:cubicBezTo>
                    <a:pt x="24" y="382"/>
                    <a:pt x="24" y="394"/>
                    <a:pt x="24" y="406"/>
                  </a:cubicBezTo>
                  <a:cubicBezTo>
                    <a:pt x="12" y="430"/>
                    <a:pt x="12" y="441"/>
                    <a:pt x="12" y="453"/>
                  </a:cubicBezTo>
                  <a:cubicBezTo>
                    <a:pt x="12" y="477"/>
                    <a:pt x="0" y="501"/>
                    <a:pt x="0" y="513"/>
                  </a:cubicBezTo>
                  <a:cubicBezTo>
                    <a:pt x="0" y="525"/>
                    <a:pt x="0" y="525"/>
                    <a:pt x="0" y="537"/>
                  </a:cubicBezTo>
                  <a:lnTo>
                    <a:pt x="0" y="7466"/>
                  </a:lnTo>
                  <a:cubicBezTo>
                    <a:pt x="0" y="7764"/>
                    <a:pt x="239" y="8002"/>
                    <a:pt x="548" y="8002"/>
                  </a:cubicBezTo>
                  <a:lnTo>
                    <a:pt x="11526" y="8002"/>
                  </a:lnTo>
                  <a:cubicBezTo>
                    <a:pt x="11823" y="8002"/>
                    <a:pt x="12061" y="7764"/>
                    <a:pt x="12061" y="7466"/>
                  </a:cubicBezTo>
                  <a:lnTo>
                    <a:pt x="12061" y="537"/>
                  </a:lnTo>
                  <a:cubicBezTo>
                    <a:pt x="12061" y="525"/>
                    <a:pt x="12061" y="525"/>
                    <a:pt x="12061" y="513"/>
                  </a:cubicBezTo>
                  <a:cubicBezTo>
                    <a:pt x="12061" y="501"/>
                    <a:pt x="12061" y="477"/>
                    <a:pt x="12061" y="453"/>
                  </a:cubicBezTo>
                  <a:cubicBezTo>
                    <a:pt x="12050" y="441"/>
                    <a:pt x="12050" y="430"/>
                    <a:pt x="12050" y="406"/>
                  </a:cubicBezTo>
                  <a:cubicBezTo>
                    <a:pt x="12050" y="394"/>
                    <a:pt x="12038" y="382"/>
                    <a:pt x="12038" y="358"/>
                  </a:cubicBezTo>
                  <a:cubicBezTo>
                    <a:pt x="12026" y="346"/>
                    <a:pt x="12026" y="322"/>
                    <a:pt x="12014" y="310"/>
                  </a:cubicBezTo>
                  <a:cubicBezTo>
                    <a:pt x="12002" y="299"/>
                    <a:pt x="12002" y="275"/>
                    <a:pt x="11990" y="263"/>
                  </a:cubicBezTo>
                  <a:cubicBezTo>
                    <a:pt x="11978" y="251"/>
                    <a:pt x="11966" y="227"/>
                    <a:pt x="11954" y="215"/>
                  </a:cubicBezTo>
                  <a:cubicBezTo>
                    <a:pt x="11954" y="215"/>
                    <a:pt x="11954" y="203"/>
                    <a:pt x="11942" y="203"/>
                  </a:cubicBezTo>
                  <a:cubicBezTo>
                    <a:pt x="11942" y="191"/>
                    <a:pt x="11930" y="191"/>
                    <a:pt x="11930" y="179"/>
                  </a:cubicBezTo>
                  <a:cubicBezTo>
                    <a:pt x="11919" y="168"/>
                    <a:pt x="11907" y="156"/>
                    <a:pt x="11883" y="144"/>
                  </a:cubicBezTo>
                  <a:cubicBezTo>
                    <a:pt x="11871" y="132"/>
                    <a:pt x="11859" y="120"/>
                    <a:pt x="11847" y="108"/>
                  </a:cubicBezTo>
                  <a:cubicBezTo>
                    <a:pt x="11835" y="96"/>
                    <a:pt x="11823" y="84"/>
                    <a:pt x="11800" y="72"/>
                  </a:cubicBezTo>
                  <a:cubicBezTo>
                    <a:pt x="11788" y="72"/>
                    <a:pt x="11776" y="60"/>
                    <a:pt x="11752" y="49"/>
                  </a:cubicBezTo>
                  <a:cubicBezTo>
                    <a:pt x="11740" y="49"/>
                    <a:pt x="11728" y="37"/>
                    <a:pt x="11704" y="37"/>
                  </a:cubicBezTo>
                  <a:cubicBezTo>
                    <a:pt x="11692" y="25"/>
                    <a:pt x="11680" y="25"/>
                    <a:pt x="11657" y="13"/>
                  </a:cubicBezTo>
                  <a:cubicBezTo>
                    <a:pt x="11645" y="13"/>
                    <a:pt x="11621" y="13"/>
                    <a:pt x="11609" y="1"/>
                  </a:cubicBezTo>
                  <a:close/>
                </a:path>
              </a:pathLst>
            </a:custGeom>
            <a:solidFill>
              <a:srgbClr val="F7FAFB"/>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grpSp>
      <p:grpSp>
        <p:nvGrpSpPr>
          <p:cNvPr id="15" name="Google Shape;1565;p40">
            <a:extLst>
              <a:ext uri="{FF2B5EF4-FFF2-40B4-BE49-F238E27FC236}">
                <a16:creationId xmlns:a16="http://schemas.microsoft.com/office/drawing/2014/main" id="{246A486F-C7D3-4868-B0CA-77555CB01A1B}"/>
              </a:ext>
            </a:extLst>
          </p:cNvPr>
          <p:cNvGrpSpPr/>
          <p:nvPr/>
        </p:nvGrpSpPr>
        <p:grpSpPr>
          <a:xfrm>
            <a:off x="2149484" y="3405684"/>
            <a:ext cx="1834000" cy="1444667"/>
            <a:chOff x="1612113" y="2754288"/>
            <a:chExt cx="1375500" cy="1083500"/>
          </a:xfrm>
        </p:grpSpPr>
        <p:sp>
          <p:nvSpPr>
            <p:cNvPr id="16" name="Google Shape;1566;p40">
              <a:extLst>
                <a:ext uri="{FF2B5EF4-FFF2-40B4-BE49-F238E27FC236}">
                  <a16:creationId xmlns:a16="http://schemas.microsoft.com/office/drawing/2014/main" id="{B3EBF9EF-2294-475B-A346-7FD138536755}"/>
                </a:ext>
              </a:extLst>
            </p:cNvPr>
            <p:cNvSpPr/>
            <p:nvPr/>
          </p:nvSpPr>
          <p:spPr>
            <a:xfrm>
              <a:off x="1612113" y="2754288"/>
              <a:ext cx="1375500" cy="1083500"/>
            </a:xfrm>
            <a:custGeom>
              <a:avLst/>
              <a:gdLst/>
              <a:ahLst/>
              <a:cxnLst/>
              <a:rect l="l" t="t" r="r" b="b"/>
              <a:pathLst>
                <a:path w="55020" h="43340" extrusionOk="0">
                  <a:moveTo>
                    <a:pt x="7513" y="1"/>
                  </a:moveTo>
                  <a:cubicBezTo>
                    <a:pt x="7513" y="14574"/>
                    <a:pt x="5013" y="29135"/>
                    <a:pt x="1" y="43339"/>
                  </a:cubicBezTo>
                  <a:lnTo>
                    <a:pt x="47518" y="43339"/>
                  </a:lnTo>
                  <a:cubicBezTo>
                    <a:pt x="52519" y="29135"/>
                    <a:pt x="55019" y="14574"/>
                    <a:pt x="55019" y="1"/>
                  </a:cubicBezTo>
                  <a:close/>
                </a:path>
              </a:pathLst>
            </a:custGeom>
            <a:solidFill>
              <a:schemeClr val="accent1"/>
            </a:solidFill>
            <a:ln>
              <a:noFill/>
            </a:ln>
          </p:spPr>
          <p:txBody>
            <a:bodyPr spcFirstLastPara="1" wrap="square" lIns="182867" tIns="121900" rIns="121900" bIns="243833" anchor="b"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Tx/>
                <a:buNone/>
                <a:tabLst/>
                <a:defRPr/>
              </a:pPr>
              <a:r>
                <a:rPr kumimoji="0" lang="en" sz="2267" b="0" i="0" u="none" strike="noStrike" kern="1200" cap="none" spc="0" normalizeH="0" baseline="0" noProof="0">
                  <a:ln>
                    <a:noFill/>
                  </a:ln>
                  <a:solidFill>
                    <a:srgbClr val="FFFFFF"/>
                  </a:solidFill>
                  <a:effectLst/>
                  <a:uLnTx/>
                  <a:uFillTx/>
                  <a:latin typeface="Arial"/>
                  <a:ea typeface="+mn-ea"/>
                  <a:cs typeface="+mn-ea"/>
                  <a:sym typeface="+mn-lt"/>
                </a:rPr>
                <a:t>Pluto</a:t>
              </a:r>
              <a:endParaRPr kumimoji="0" sz="2489" b="0" i="0" u="none" strike="noStrike" kern="1200" cap="none" spc="0" normalizeH="0" baseline="0" noProof="0">
                <a:ln>
                  <a:noFill/>
                </a:ln>
                <a:solidFill>
                  <a:srgbClr val="FFFFFF"/>
                </a:solidFill>
                <a:effectLst/>
                <a:uLnTx/>
                <a:uFillTx/>
                <a:latin typeface="Arial"/>
                <a:ea typeface="+mn-ea"/>
                <a:cs typeface="+mn-ea"/>
                <a:sym typeface="+mn-lt"/>
              </a:endParaRPr>
            </a:p>
          </p:txBody>
        </p:sp>
        <p:sp>
          <p:nvSpPr>
            <p:cNvPr id="17" name="Google Shape;1567;p40">
              <a:extLst>
                <a:ext uri="{FF2B5EF4-FFF2-40B4-BE49-F238E27FC236}">
                  <a16:creationId xmlns:a16="http://schemas.microsoft.com/office/drawing/2014/main" id="{34E2318D-12A6-4E22-96BC-CACE5C5C5B00}"/>
                </a:ext>
              </a:extLst>
            </p:cNvPr>
            <p:cNvSpPr/>
            <p:nvPr/>
          </p:nvSpPr>
          <p:spPr>
            <a:xfrm>
              <a:off x="2212188" y="2902538"/>
              <a:ext cx="328050" cy="328025"/>
            </a:xfrm>
            <a:custGeom>
              <a:avLst/>
              <a:gdLst/>
              <a:ahLst/>
              <a:cxnLst/>
              <a:rect l="l" t="t" r="r" b="b"/>
              <a:pathLst>
                <a:path w="13122" h="13121" extrusionOk="0">
                  <a:moveTo>
                    <a:pt x="6561" y="2524"/>
                  </a:moveTo>
                  <a:cubicBezTo>
                    <a:pt x="6918" y="2524"/>
                    <a:pt x="7287" y="2572"/>
                    <a:pt x="7656" y="2679"/>
                  </a:cubicBezTo>
                  <a:cubicBezTo>
                    <a:pt x="9430" y="3179"/>
                    <a:pt x="10597" y="4798"/>
                    <a:pt x="10597" y="6560"/>
                  </a:cubicBezTo>
                  <a:cubicBezTo>
                    <a:pt x="10597" y="6918"/>
                    <a:pt x="10550" y="7287"/>
                    <a:pt x="10442" y="7656"/>
                  </a:cubicBezTo>
                  <a:cubicBezTo>
                    <a:pt x="9942" y="9430"/>
                    <a:pt x="8323" y="10597"/>
                    <a:pt x="6561" y="10597"/>
                  </a:cubicBezTo>
                  <a:cubicBezTo>
                    <a:pt x="6204" y="10597"/>
                    <a:pt x="5835" y="10549"/>
                    <a:pt x="5466" y="10442"/>
                  </a:cubicBezTo>
                  <a:cubicBezTo>
                    <a:pt x="3692" y="9942"/>
                    <a:pt x="2525" y="8323"/>
                    <a:pt x="2525" y="6560"/>
                  </a:cubicBezTo>
                  <a:cubicBezTo>
                    <a:pt x="2525" y="6203"/>
                    <a:pt x="2572" y="5834"/>
                    <a:pt x="2680" y="5465"/>
                  </a:cubicBezTo>
                  <a:cubicBezTo>
                    <a:pt x="3180" y="3691"/>
                    <a:pt x="4799" y="2524"/>
                    <a:pt x="6561" y="2524"/>
                  </a:cubicBezTo>
                  <a:close/>
                  <a:moveTo>
                    <a:pt x="6561" y="0"/>
                  </a:moveTo>
                  <a:cubicBezTo>
                    <a:pt x="6430" y="0"/>
                    <a:pt x="6299" y="0"/>
                    <a:pt x="6168" y="12"/>
                  </a:cubicBezTo>
                  <a:lnTo>
                    <a:pt x="6216" y="822"/>
                  </a:lnTo>
                  <a:cubicBezTo>
                    <a:pt x="5347" y="881"/>
                    <a:pt x="4513" y="1131"/>
                    <a:pt x="3763" y="1536"/>
                  </a:cubicBezTo>
                  <a:lnTo>
                    <a:pt x="3370" y="834"/>
                  </a:lnTo>
                  <a:cubicBezTo>
                    <a:pt x="2727" y="1191"/>
                    <a:pt x="2144" y="1643"/>
                    <a:pt x="1656" y="2203"/>
                  </a:cubicBezTo>
                  <a:lnTo>
                    <a:pt x="2263" y="2739"/>
                  </a:lnTo>
                  <a:cubicBezTo>
                    <a:pt x="1703" y="3370"/>
                    <a:pt x="1275" y="4120"/>
                    <a:pt x="1036" y="4989"/>
                  </a:cubicBezTo>
                  <a:lnTo>
                    <a:pt x="251" y="4763"/>
                  </a:lnTo>
                  <a:lnTo>
                    <a:pt x="251" y="4774"/>
                  </a:lnTo>
                  <a:cubicBezTo>
                    <a:pt x="84" y="5370"/>
                    <a:pt x="1" y="5977"/>
                    <a:pt x="1" y="6560"/>
                  </a:cubicBezTo>
                  <a:cubicBezTo>
                    <a:pt x="1" y="6691"/>
                    <a:pt x="1" y="6822"/>
                    <a:pt x="13" y="6941"/>
                  </a:cubicBezTo>
                  <a:lnTo>
                    <a:pt x="822" y="6894"/>
                  </a:lnTo>
                  <a:cubicBezTo>
                    <a:pt x="870" y="7763"/>
                    <a:pt x="1120" y="8608"/>
                    <a:pt x="1537" y="9346"/>
                  </a:cubicBezTo>
                  <a:lnTo>
                    <a:pt x="822" y="9751"/>
                  </a:lnTo>
                  <a:cubicBezTo>
                    <a:pt x="1179" y="10382"/>
                    <a:pt x="1644" y="10966"/>
                    <a:pt x="2191" y="11466"/>
                  </a:cubicBezTo>
                  <a:lnTo>
                    <a:pt x="2739" y="10859"/>
                  </a:lnTo>
                  <a:cubicBezTo>
                    <a:pt x="3358" y="11406"/>
                    <a:pt x="4120" y="11847"/>
                    <a:pt x="4977" y="12085"/>
                  </a:cubicBezTo>
                  <a:lnTo>
                    <a:pt x="4751" y="12871"/>
                  </a:lnTo>
                  <a:lnTo>
                    <a:pt x="4775" y="12871"/>
                  </a:lnTo>
                  <a:cubicBezTo>
                    <a:pt x="5370" y="13037"/>
                    <a:pt x="5966" y="13121"/>
                    <a:pt x="6561" y="13121"/>
                  </a:cubicBezTo>
                  <a:cubicBezTo>
                    <a:pt x="6692" y="13121"/>
                    <a:pt x="6823" y="13121"/>
                    <a:pt x="6954" y="13109"/>
                  </a:cubicBezTo>
                  <a:lnTo>
                    <a:pt x="6906" y="12299"/>
                  </a:lnTo>
                  <a:cubicBezTo>
                    <a:pt x="7775" y="12240"/>
                    <a:pt x="8621" y="11990"/>
                    <a:pt x="9359" y="11573"/>
                  </a:cubicBezTo>
                  <a:lnTo>
                    <a:pt x="9764" y="12287"/>
                  </a:lnTo>
                  <a:cubicBezTo>
                    <a:pt x="10395" y="11930"/>
                    <a:pt x="10978" y="11466"/>
                    <a:pt x="11466" y="10918"/>
                  </a:cubicBezTo>
                  <a:lnTo>
                    <a:pt x="10859" y="10370"/>
                  </a:lnTo>
                  <a:cubicBezTo>
                    <a:pt x="11419" y="9751"/>
                    <a:pt x="11847" y="8989"/>
                    <a:pt x="12085" y="8132"/>
                  </a:cubicBezTo>
                  <a:lnTo>
                    <a:pt x="12871" y="8358"/>
                  </a:lnTo>
                  <a:lnTo>
                    <a:pt x="12871" y="8346"/>
                  </a:lnTo>
                  <a:cubicBezTo>
                    <a:pt x="13038" y="7751"/>
                    <a:pt x="13121" y="7156"/>
                    <a:pt x="13121" y="6560"/>
                  </a:cubicBezTo>
                  <a:cubicBezTo>
                    <a:pt x="13121" y="6429"/>
                    <a:pt x="13121" y="6298"/>
                    <a:pt x="13109" y="6168"/>
                  </a:cubicBezTo>
                  <a:lnTo>
                    <a:pt x="12300" y="6215"/>
                  </a:lnTo>
                  <a:cubicBezTo>
                    <a:pt x="12240" y="5346"/>
                    <a:pt x="11990" y="4513"/>
                    <a:pt x="11573" y="3762"/>
                  </a:cubicBezTo>
                  <a:lnTo>
                    <a:pt x="12288" y="3370"/>
                  </a:lnTo>
                  <a:cubicBezTo>
                    <a:pt x="11931" y="2727"/>
                    <a:pt x="11466" y="2143"/>
                    <a:pt x="10919" y="1655"/>
                  </a:cubicBezTo>
                  <a:lnTo>
                    <a:pt x="10371" y="2262"/>
                  </a:lnTo>
                  <a:cubicBezTo>
                    <a:pt x="9752" y="1703"/>
                    <a:pt x="8990" y="1274"/>
                    <a:pt x="8133" y="1036"/>
                  </a:cubicBezTo>
                  <a:lnTo>
                    <a:pt x="8359" y="250"/>
                  </a:lnTo>
                  <a:lnTo>
                    <a:pt x="8347" y="250"/>
                  </a:lnTo>
                  <a:cubicBezTo>
                    <a:pt x="7752" y="83"/>
                    <a:pt x="7144" y="0"/>
                    <a:pt x="6561" y="0"/>
                  </a:cubicBezTo>
                  <a:close/>
                </a:path>
              </a:pathLst>
            </a:custGeom>
            <a:solidFill>
              <a:srgbClr val="F7FAFB"/>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grpSp>
      <p:grpSp>
        <p:nvGrpSpPr>
          <p:cNvPr id="18" name="Google Shape;1568;p40">
            <a:extLst>
              <a:ext uri="{FF2B5EF4-FFF2-40B4-BE49-F238E27FC236}">
                <a16:creationId xmlns:a16="http://schemas.microsoft.com/office/drawing/2014/main" id="{A48273A6-941A-4469-BBAB-0AED00E11B77}"/>
              </a:ext>
            </a:extLst>
          </p:cNvPr>
          <p:cNvGrpSpPr/>
          <p:nvPr/>
        </p:nvGrpSpPr>
        <p:grpSpPr>
          <a:xfrm>
            <a:off x="5316551" y="3405684"/>
            <a:ext cx="1834000" cy="1444667"/>
            <a:chOff x="3987413" y="2754288"/>
            <a:chExt cx="1375500" cy="1083500"/>
          </a:xfrm>
        </p:grpSpPr>
        <p:sp>
          <p:nvSpPr>
            <p:cNvPr id="19" name="Google Shape;1569;p40">
              <a:extLst>
                <a:ext uri="{FF2B5EF4-FFF2-40B4-BE49-F238E27FC236}">
                  <a16:creationId xmlns:a16="http://schemas.microsoft.com/office/drawing/2014/main" id="{5EF65978-5052-459D-8F50-E62936951D6A}"/>
                </a:ext>
              </a:extLst>
            </p:cNvPr>
            <p:cNvSpPr/>
            <p:nvPr/>
          </p:nvSpPr>
          <p:spPr>
            <a:xfrm>
              <a:off x="3987413" y="2754288"/>
              <a:ext cx="1375500" cy="1083500"/>
            </a:xfrm>
            <a:custGeom>
              <a:avLst/>
              <a:gdLst/>
              <a:ahLst/>
              <a:cxnLst/>
              <a:rect l="l" t="t" r="r" b="b"/>
              <a:pathLst>
                <a:path w="55020" h="43340" extrusionOk="0">
                  <a:moveTo>
                    <a:pt x="7513" y="1"/>
                  </a:moveTo>
                  <a:cubicBezTo>
                    <a:pt x="7513" y="14574"/>
                    <a:pt x="5013" y="29135"/>
                    <a:pt x="0" y="43339"/>
                  </a:cubicBezTo>
                  <a:lnTo>
                    <a:pt x="47518" y="43339"/>
                  </a:lnTo>
                  <a:cubicBezTo>
                    <a:pt x="52519" y="29135"/>
                    <a:pt x="55019" y="14574"/>
                    <a:pt x="55019" y="1"/>
                  </a:cubicBezTo>
                  <a:close/>
                </a:path>
              </a:pathLst>
            </a:custGeom>
            <a:solidFill>
              <a:schemeClr val="accent1"/>
            </a:solidFill>
            <a:ln>
              <a:noFill/>
            </a:ln>
          </p:spPr>
          <p:txBody>
            <a:bodyPr spcFirstLastPara="1" wrap="square" lIns="182867" tIns="121900" rIns="121900" bIns="243833" anchor="b"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Tx/>
                <a:buNone/>
                <a:tabLst/>
                <a:defRPr/>
              </a:pPr>
              <a:r>
                <a:rPr kumimoji="0" lang="en" sz="2267" b="0" i="0" u="none" strike="noStrike" kern="1200" cap="none" spc="0" normalizeH="0" baseline="0" noProof="0">
                  <a:ln>
                    <a:noFill/>
                  </a:ln>
                  <a:solidFill>
                    <a:srgbClr val="FFFFFF"/>
                  </a:solidFill>
                  <a:effectLst/>
                  <a:uLnTx/>
                  <a:uFillTx/>
                  <a:latin typeface="Arial"/>
                  <a:ea typeface="+mn-ea"/>
                  <a:cs typeface="+mn-ea"/>
                  <a:sym typeface="+mn-lt"/>
                </a:rPr>
                <a:t>Earth</a:t>
              </a:r>
              <a:endParaRPr kumimoji="0" sz="2489" b="0" i="0" u="none" strike="noStrike" kern="1200" cap="none" spc="0" normalizeH="0" baseline="0" noProof="0">
                <a:ln>
                  <a:noFill/>
                </a:ln>
                <a:solidFill>
                  <a:srgbClr val="FFFFFF"/>
                </a:solidFill>
                <a:effectLst/>
                <a:uLnTx/>
                <a:uFillTx/>
                <a:latin typeface="Arial"/>
                <a:ea typeface="+mn-ea"/>
                <a:cs typeface="+mn-ea"/>
                <a:sym typeface="+mn-lt"/>
              </a:endParaRPr>
            </a:p>
          </p:txBody>
        </p:sp>
        <p:grpSp>
          <p:nvGrpSpPr>
            <p:cNvPr id="20" name="Google Shape;1570;p40">
              <a:extLst>
                <a:ext uri="{FF2B5EF4-FFF2-40B4-BE49-F238E27FC236}">
                  <a16:creationId xmlns:a16="http://schemas.microsoft.com/office/drawing/2014/main" id="{ADA6E51B-3D77-4EC1-822E-C41D9D444EE6}"/>
                </a:ext>
              </a:extLst>
            </p:cNvPr>
            <p:cNvGrpSpPr/>
            <p:nvPr/>
          </p:nvGrpSpPr>
          <p:grpSpPr>
            <a:xfrm>
              <a:off x="4631538" y="2914138"/>
              <a:ext cx="304825" cy="304825"/>
              <a:chOff x="4631538" y="2914138"/>
              <a:chExt cx="304825" cy="304825"/>
            </a:xfrm>
          </p:grpSpPr>
          <p:sp>
            <p:nvSpPr>
              <p:cNvPr id="21" name="Google Shape;1571;p40">
                <a:extLst>
                  <a:ext uri="{FF2B5EF4-FFF2-40B4-BE49-F238E27FC236}">
                    <a16:creationId xmlns:a16="http://schemas.microsoft.com/office/drawing/2014/main" id="{E1072CB4-235A-4367-9AE6-B42676B56E82}"/>
                  </a:ext>
                </a:extLst>
              </p:cNvPr>
              <p:cNvSpPr/>
              <p:nvPr/>
            </p:nvSpPr>
            <p:spPr>
              <a:xfrm>
                <a:off x="4631538" y="2914138"/>
                <a:ext cx="304825" cy="304825"/>
              </a:xfrm>
              <a:custGeom>
                <a:avLst/>
                <a:gdLst/>
                <a:ahLst/>
                <a:cxnLst/>
                <a:rect l="l" t="t" r="r" b="b"/>
                <a:pathLst>
                  <a:path w="12193" h="12193" extrusionOk="0">
                    <a:moveTo>
                      <a:pt x="6097" y="1096"/>
                    </a:moveTo>
                    <a:cubicBezTo>
                      <a:pt x="8859" y="1096"/>
                      <a:pt x="11097" y="3334"/>
                      <a:pt x="11097" y="6096"/>
                    </a:cubicBezTo>
                    <a:cubicBezTo>
                      <a:pt x="11097" y="8859"/>
                      <a:pt x="8859" y="11097"/>
                      <a:pt x="6097" y="11097"/>
                    </a:cubicBezTo>
                    <a:cubicBezTo>
                      <a:pt x="3334" y="11097"/>
                      <a:pt x="1096" y="8859"/>
                      <a:pt x="1096" y="6096"/>
                    </a:cubicBezTo>
                    <a:cubicBezTo>
                      <a:pt x="1096" y="3334"/>
                      <a:pt x="3334" y="1096"/>
                      <a:pt x="6097" y="1096"/>
                    </a:cubicBezTo>
                    <a:close/>
                    <a:moveTo>
                      <a:pt x="6097" y="0"/>
                    </a:moveTo>
                    <a:cubicBezTo>
                      <a:pt x="2739" y="0"/>
                      <a:pt x="1" y="2739"/>
                      <a:pt x="1" y="6096"/>
                    </a:cubicBezTo>
                    <a:cubicBezTo>
                      <a:pt x="1" y="9454"/>
                      <a:pt x="2739" y="12192"/>
                      <a:pt x="6097" y="12192"/>
                    </a:cubicBezTo>
                    <a:cubicBezTo>
                      <a:pt x="9454" y="12192"/>
                      <a:pt x="12193" y="9454"/>
                      <a:pt x="12193" y="6096"/>
                    </a:cubicBezTo>
                    <a:cubicBezTo>
                      <a:pt x="12193" y="2739"/>
                      <a:pt x="9454" y="0"/>
                      <a:pt x="6097" y="0"/>
                    </a:cubicBezTo>
                    <a:close/>
                  </a:path>
                </a:pathLst>
              </a:custGeom>
              <a:solidFill>
                <a:srgbClr val="F7FAFB"/>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22" name="Google Shape;1572;p40">
                <a:extLst>
                  <a:ext uri="{FF2B5EF4-FFF2-40B4-BE49-F238E27FC236}">
                    <a16:creationId xmlns:a16="http://schemas.microsoft.com/office/drawing/2014/main" id="{F4D0DD49-2DE6-4A10-B902-06B00D932A06}"/>
                  </a:ext>
                </a:extLst>
              </p:cNvPr>
              <p:cNvSpPr/>
              <p:nvPr/>
            </p:nvSpPr>
            <p:spPr>
              <a:xfrm>
                <a:off x="4728863" y="2956713"/>
                <a:ext cx="75050" cy="176825"/>
              </a:xfrm>
              <a:custGeom>
                <a:avLst/>
                <a:gdLst/>
                <a:ahLst/>
                <a:cxnLst/>
                <a:rect l="l" t="t" r="r" b="b"/>
                <a:pathLst>
                  <a:path w="3002" h="7073" extrusionOk="0">
                    <a:moveTo>
                      <a:pt x="2454" y="0"/>
                    </a:moveTo>
                    <a:cubicBezTo>
                      <a:pt x="2144" y="0"/>
                      <a:pt x="1906" y="238"/>
                      <a:pt x="1906" y="536"/>
                    </a:cubicBezTo>
                    <a:lnTo>
                      <a:pt x="1906" y="4358"/>
                    </a:lnTo>
                    <a:lnTo>
                      <a:pt x="215" y="6156"/>
                    </a:lnTo>
                    <a:cubicBezTo>
                      <a:pt x="1" y="6370"/>
                      <a:pt x="13" y="6715"/>
                      <a:pt x="239" y="6929"/>
                    </a:cubicBezTo>
                    <a:cubicBezTo>
                      <a:pt x="334" y="7025"/>
                      <a:pt x="477" y="7072"/>
                      <a:pt x="608" y="7072"/>
                    </a:cubicBezTo>
                    <a:cubicBezTo>
                      <a:pt x="751" y="7072"/>
                      <a:pt x="894" y="7013"/>
                      <a:pt x="1001" y="6906"/>
                    </a:cubicBezTo>
                    <a:lnTo>
                      <a:pt x="2847" y="4953"/>
                    </a:lnTo>
                    <a:cubicBezTo>
                      <a:pt x="2942" y="4858"/>
                      <a:pt x="3001" y="4715"/>
                      <a:pt x="3001" y="4584"/>
                    </a:cubicBezTo>
                    <a:lnTo>
                      <a:pt x="3001" y="536"/>
                    </a:lnTo>
                    <a:cubicBezTo>
                      <a:pt x="3001" y="238"/>
                      <a:pt x="2751" y="0"/>
                      <a:pt x="2454" y="0"/>
                    </a:cubicBezTo>
                    <a:close/>
                  </a:path>
                </a:pathLst>
              </a:custGeom>
              <a:solidFill>
                <a:srgbClr val="F7FAFB"/>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grpSp>
      </p:grpSp>
      <p:grpSp>
        <p:nvGrpSpPr>
          <p:cNvPr id="23" name="Google Shape;1573;p40">
            <a:extLst>
              <a:ext uri="{FF2B5EF4-FFF2-40B4-BE49-F238E27FC236}">
                <a16:creationId xmlns:a16="http://schemas.microsoft.com/office/drawing/2014/main" id="{2AF0CF04-19A5-4EA3-B10B-FCD808AA1B18}"/>
              </a:ext>
            </a:extLst>
          </p:cNvPr>
          <p:cNvGrpSpPr/>
          <p:nvPr/>
        </p:nvGrpSpPr>
        <p:grpSpPr>
          <a:xfrm>
            <a:off x="6900484" y="3405684"/>
            <a:ext cx="1833600" cy="1444667"/>
            <a:chOff x="5175363" y="2754288"/>
            <a:chExt cx="1375200" cy="1083500"/>
          </a:xfrm>
        </p:grpSpPr>
        <p:sp>
          <p:nvSpPr>
            <p:cNvPr id="24" name="Google Shape;1574;p40">
              <a:extLst>
                <a:ext uri="{FF2B5EF4-FFF2-40B4-BE49-F238E27FC236}">
                  <a16:creationId xmlns:a16="http://schemas.microsoft.com/office/drawing/2014/main" id="{B0717408-339F-41C9-96C4-61EE5C831B53}"/>
                </a:ext>
              </a:extLst>
            </p:cNvPr>
            <p:cNvSpPr/>
            <p:nvPr/>
          </p:nvSpPr>
          <p:spPr>
            <a:xfrm>
              <a:off x="5175363" y="2754288"/>
              <a:ext cx="1375200" cy="1083500"/>
            </a:xfrm>
            <a:custGeom>
              <a:avLst/>
              <a:gdLst/>
              <a:ahLst/>
              <a:cxnLst/>
              <a:rect l="l" t="t" r="r" b="b"/>
              <a:pathLst>
                <a:path w="55008" h="43340" extrusionOk="0">
                  <a:moveTo>
                    <a:pt x="7501" y="1"/>
                  </a:moveTo>
                  <a:cubicBezTo>
                    <a:pt x="7501" y="14574"/>
                    <a:pt x="5001" y="29135"/>
                    <a:pt x="0" y="43339"/>
                  </a:cubicBezTo>
                  <a:lnTo>
                    <a:pt x="47494" y="43339"/>
                  </a:lnTo>
                  <a:cubicBezTo>
                    <a:pt x="52507" y="29135"/>
                    <a:pt x="55007" y="14574"/>
                    <a:pt x="55007" y="1"/>
                  </a:cubicBezTo>
                  <a:close/>
                </a:path>
              </a:pathLst>
            </a:custGeom>
            <a:solidFill>
              <a:schemeClr val="accent1"/>
            </a:solidFill>
            <a:ln>
              <a:noFill/>
            </a:ln>
          </p:spPr>
          <p:txBody>
            <a:bodyPr spcFirstLastPara="1" wrap="square" lIns="182867" tIns="121900" rIns="121900" bIns="243833" anchor="b"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Tx/>
                <a:buNone/>
                <a:tabLst/>
                <a:defRPr/>
              </a:pPr>
              <a:r>
                <a:rPr kumimoji="0" lang="en" sz="2267" b="0" i="0" u="none" strike="noStrike" kern="1200" cap="none" spc="0" normalizeH="0" baseline="0" noProof="0">
                  <a:ln>
                    <a:noFill/>
                  </a:ln>
                  <a:solidFill>
                    <a:srgbClr val="FFFFFF"/>
                  </a:solidFill>
                  <a:effectLst/>
                  <a:uLnTx/>
                  <a:uFillTx/>
                  <a:latin typeface="Arial"/>
                  <a:ea typeface="+mn-ea"/>
                  <a:cs typeface="+mn-ea"/>
                  <a:sym typeface="+mn-lt"/>
                </a:rPr>
                <a:t>Venus</a:t>
              </a:r>
              <a:endParaRPr kumimoji="0" sz="2489" b="0" i="0" u="none" strike="noStrike" kern="1200" cap="none" spc="0" normalizeH="0" baseline="0" noProof="0">
                <a:ln>
                  <a:noFill/>
                </a:ln>
                <a:solidFill>
                  <a:srgbClr val="FFFFFF"/>
                </a:solidFill>
                <a:effectLst/>
                <a:uLnTx/>
                <a:uFillTx/>
                <a:latin typeface="Arial"/>
                <a:ea typeface="+mn-ea"/>
                <a:cs typeface="+mn-ea"/>
                <a:sym typeface="+mn-lt"/>
              </a:endParaRPr>
            </a:p>
          </p:txBody>
        </p:sp>
        <p:sp>
          <p:nvSpPr>
            <p:cNvPr id="25" name="Google Shape;1575;p40">
              <a:extLst>
                <a:ext uri="{FF2B5EF4-FFF2-40B4-BE49-F238E27FC236}">
                  <a16:creationId xmlns:a16="http://schemas.microsoft.com/office/drawing/2014/main" id="{2234EFE6-2E19-4640-9106-F2BD34966390}"/>
                </a:ext>
              </a:extLst>
            </p:cNvPr>
            <p:cNvSpPr/>
            <p:nvPr/>
          </p:nvSpPr>
          <p:spPr>
            <a:xfrm>
              <a:off x="5789713" y="2936763"/>
              <a:ext cx="321800" cy="259575"/>
            </a:xfrm>
            <a:custGeom>
              <a:avLst/>
              <a:gdLst/>
              <a:ahLst/>
              <a:cxnLst/>
              <a:rect l="l" t="t" r="r" b="b"/>
              <a:pathLst>
                <a:path w="12872" h="10383" extrusionOk="0">
                  <a:moveTo>
                    <a:pt x="6442" y="0"/>
                  </a:moveTo>
                  <a:cubicBezTo>
                    <a:pt x="3942" y="0"/>
                    <a:pt x="1680" y="989"/>
                    <a:pt x="1" y="2596"/>
                  </a:cubicBezTo>
                  <a:lnTo>
                    <a:pt x="941" y="3572"/>
                  </a:lnTo>
                  <a:cubicBezTo>
                    <a:pt x="2370" y="2203"/>
                    <a:pt x="4299" y="1358"/>
                    <a:pt x="6442" y="1358"/>
                  </a:cubicBezTo>
                  <a:cubicBezTo>
                    <a:pt x="8573" y="1358"/>
                    <a:pt x="10502" y="2203"/>
                    <a:pt x="11931" y="3572"/>
                  </a:cubicBezTo>
                  <a:lnTo>
                    <a:pt x="12872" y="2596"/>
                  </a:lnTo>
                  <a:cubicBezTo>
                    <a:pt x="11205" y="989"/>
                    <a:pt x="8931" y="0"/>
                    <a:pt x="6442" y="0"/>
                  </a:cubicBezTo>
                  <a:close/>
                  <a:moveTo>
                    <a:pt x="6442" y="2894"/>
                  </a:moveTo>
                  <a:cubicBezTo>
                    <a:pt x="4716" y="2894"/>
                    <a:pt x="3156" y="3572"/>
                    <a:pt x="2001" y="4679"/>
                  </a:cubicBezTo>
                  <a:lnTo>
                    <a:pt x="2942" y="5656"/>
                  </a:lnTo>
                  <a:cubicBezTo>
                    <a:pt x="3847" y="4787"/>
                    <a:pt x="5073" y="4251"/>
                    <a:pt x="6442" y="4251"/>
                  </a:cubicBezTo>
                  <a:cubicBezTo>
                    <a:pt x="7799" y="4251"/>
                    <a:pt x="9026" y="4787"/>
                    <a:pt x="9943" y="5656"/>
                  </a:cubicBezTo>
                  <a:lnTo>
                    <a:pt x="10871" y="4679"/>
                  </a:lnTo>
                  <a:cubicBezTo>
                    <a:pt x="9716" y="3572"/>
                    <a:pt x="8157" y="2894"/>
                    <a:pt x="6442" y="2894"/>
                  </a:cubicBezTo>
                  <a:close/>
                  <a:moveTo>
                    <a:pt x="6442" y="5715"/>
                  </a:moveTo>
                  <a:cubicBezTo>
                    <a:pt x="5466" y="5715"/>
                    <a:pt x="4597" y="6096"/>
                    <a:pt x="3954" y="6715"/>
                  </a:cubicBezTo>
                  <a:lnTo>
                    <a:pt x="4882" y="7692"/>
                  </a:lnTo>
                  <a:cubicBezTo>
                    <a:pt x="5287" y="7311"/>
                    <a:pt x="5835" y="7073"/>
                    <a:pt x="6442" y="7073"/>
                  </a:cubicBezTo>
                  <a:cubicBezTo>
                    <a:pt x="7037" y="7073"/>
                    <a:pt x="7585" y="7311"/>
                    <a:pt x="7990" y="7692"/>
                  </a:cubicBezTo>
                  <a:lnTo>
                    <a:pt x="8931" y="6715"/>
                  </a:lnTo>
                  <a:cubicBezTo>
                    <a:pt x="8276" y="6096"/>
                    <a:pt x="7407" y="5715"/>
                    <a:pt x="6442" y="5715"/>
                  </a:cubicBezTo>
                  <a:close/>
                  <a:moveTo>
                    <a:pt x="6442" y="8251"/>
                  </a:moveTo>
                  <a:cubicBezTo>
                    <a:pt x="5847" y="8251"/>
                    <a:pt x="5371" y="8728"/>
                    <a:pt x="5371" y="9311"/>
                  </a:cubicBezTo>
                  <a:cubicBezTo>
                    <a:pt x="5371" y="9906"/>
                    <a:pt x="5847" y="10383"/>
                    <a:pt x="6442" y="10383"/>
                  </a:cubicBezTo>
                  <a:cubicBezTo>
                    <a:pt x="7026" y="10383"/>
                    <a:pt x="7502" y="9906"/>
                    <a:pt x="7502" y="9311"/>
                  </a:cubicBezTo>
                  <a:cubicBezTo>
                    <a:pt x="7502" y="8728"/>
                    <a:pt x="7026" y="8251"/>
                    <a:pt x="6442" y="8251"/>
                  </a:cubicBezTo>
                  <a:close/>
                </a:path>
              </a:pathLst>
            </a:custGeom>
            <a:solidFill>
              <a:srgbClr val="F7FAFB"/>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grpSp>
      <p:grpSp>
        <p:nvGrpSpPr>
          <p:cNvPr id="26" name="Google Shape;1576;p40">
            <a:extLst>
              <a:ext uri="{FF2B5EF4-FFF2-40B4-BE49-F238E27FC236}">
                <a16:creationId xmlns:a16="http://schemas.microsoft.com/office/drawing/2014/main" id="{1C773CBD-F2BF-48E5-9965-334AC1762294}"/>
              </a:ext>
            </a:extLst>
          </p:cNvPr>
          <p:cNvGrpSpPr/>
          <p:nvPr/>
        </p:nvGrpSpPr>
        <p:grpSpPr>
          <a:xfrm>
            <a:off x="3733417" y="3405684"/>
            <a:ext cx="1833600" cy="1444667"/>
            <a:chOff x="2800063" y="2754288"/>
            <a:chExt cx="1375200" cy="1083500"/>
          </a:xfrm>
        </p:grpSpPr>
        <p:sp>
          <p:nvSpPr>
            <p:cNvPr id="27" name="Google Shape;1577;p40">
              <a:extLst>
                <a:ext uri="{FF2B5EF4-FFF2-40B4-BE49-F238E27FC236}">
                  <a16:creationId xmlns:a16="http://schemas.microsoft.com/office/drawing/2014/main" id="{6A912C63-67F9-4B51-A7DD-8E968F6BE617}"/>
                </a:ext>
              </a:extLst>
            </p:cNvPr>
            <p:cNvSpPr/>
            <p:nvPr/>
          </p:nvSpPr>
          <p:spPr>
            <a:xfrm>
              <a:off x="2800063" y="2754288"/>
              <a:ext cx="1375200" cy="1083500"/>
            </a:xfrm>
            <a:custGeom>
              <a:avLst/>
              <a:gdLst/>
              <a:ahLst/>
              <a:cxnLst/>
              <a:rect l="l" t="t" r="r" b="b"/>
              <a:pathLst>
                <a:path w="55008" h="43340" extrusionOk="0">
                  <a:moveTo>
                    <a:pt x="7501" y="1"/>
                  </a:moveTo>
                  <a:cubicBezTo>
                    <a:pt x="7501" y="14574"/>
                    <a:pt x="5001" y="29135"/>
                    <a:pt x="0" y="43339"/>
                  </a:cubicBezTo>
                  <a:lnTo>
                    <a:pt x="47494" y="43339"/>
                  </a:lnTo>
                  <a:cubicBezTo>
                    <a:pt x="52507" y="29135"/>
                    <a:pt x="55007" y="14574"/>
                    <a:pt x="55007" y="1"/>
                  </a:cubicBezTo>
                  <a:close/>
                </a:path>
              </a:pathLst>
            </a:custGeom>
            <a:solidFill>
              <a:schemeClr val="accent1"/>
            </a:solidFill>
            <a:ln>
              <a:noFill/>
            </a:ln>
          </p:spPr>
          <p:txBody>
            <a:bodyPr spcFirstLastPara="1" wrap="square" lIns="182867" tIns="121900" rIns="121900" bIns="243833" anchor="b"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Tx/>
                <a:buNone/>
                <a:tabLst/>
                <a:defRPr/>
              </a:pPr>
              <a:r>
                <a:rPr kumimoji="0" lang="en" sz="2267" b="0" i="0" u="none" strike="noStrike" kern="1200" cap="none" spc="0" normalizeH="0" baseline="0" noProof="0">
                  <a:ln>
                    <a:noFill/>
                  </a:ln>
                  <a:solidFill>
                    <a:srgbClr val="FFFFFF"/>
                  </a:solidFill>
                  <a:effectLst/>
                  <a:uLnTx/>
                  <a:uFillTx/>
                  <a:latin typeface="Arial"/>
                  <a:ea typeface="+mn-ea"/>
                  <a:cs typeface="+mn-ea"/>
                  <a:sym typeface="+mn-lt"/>
                </a:rPr>
                <a:t>Jupiter</a:t>
              </a:r>
              <a:endParaRPr kumimoji="0" sz="2489" b="0" i="0" u="none" strike="noStrike" kern="1200" cap="none" spc="0" normalizeH="0" baseline="0" noProof="0">
                <a:ln>
                  <a:noFill/>
                </a:ln>
                <a:solidFill>
                  <a:srgbClr val="FFFFFF"/>
                </a:solidFill>
                <a:effectLst/>
                <a:uLnTx/>
                <a:uFillTx/>
                <a:latin typeface="Arial"/>
                <a:ea typeface="+mn-ea"/>
                <a:cs typeface="+mn-ea"/>
                <a:sym typeface="+mn-lt"/>
              </a:endParaRPr>
            </a:p>
          </p:txBody>
        </p:sp>
        <p:sp>
          <p:nvSpPr>
            <p:cNvPr id="28" name="Google Shape;1578;p40">
              <a:extLst>
                <a:ext uri="{FF2B5EF4-FFF2-40B4-BE49-F238E27FC236}">
                  <a16:creationId xmlns:a16="http://schemas.microsoft.com/office/drawing/2014/main" id="{476C7B89-932E-4662-BAAD-346F11C542B2}"/>
                </a:ext>
              </a:extLst>
            </p:cNvPr>
            <p:cNvSpPr/>
            <p:nvPr/>
          </p:nvSpPr>
          <p:spPr>
            <a:xfrm>
              <a:off x="3360838" y="2944188"/>
              <a:ext cx="353050" cy="274175"/>
            </a:xfrm>
            <a:custGeom>
              <a:avLst/>
              <a:gdLst/>
              <a:ahLst/>
              <a:cxnLst/>
              <a:rect l="l" t="t" r="r" b="b"/>
              <a:pathLst>
                <a:path w="14122" h="10967" extrusionOk="0">
                  <a:moveTo>
                    <a:pt x="12336" y="953"/>
                  </a:moveTo>
                  <a:cubicBezTo>
                    <a:pt x="12800" y="953"/>
                    <a:pt x="13169" y="1334"/>
                    <a:pt x="13169" y="1799"/>
                  </a:cubicBezTo>
                  <a:lnTo>
                    <a:pt x="13169" y="7061"/>
                  </a:lnTo>
                  <a:cubicBezTo>
                    <a:pt x="13169" y="7526"/>
                    <a:pt x="12800" y="7907"/>
                    <a:pt x="12336" y="7907"/>
                  </a:cubicBezTo>
                  <a:lnTo>
                    <a:pt x="10562" y="7907"/>
                  </a:lnTo>
                  <a:cubicBezTo>
                    <a:pt x="10300" y="7907"/>
                    <a:pt x="10085" y="8121"/>
                    <a:pt x="10085" y="8383"/>
                  </a:cubicBezTo>
                  <a:lnTo>
                    <a:pt x="10085" y="9347"/>
                  </a:lnTo>
                  <a:lnTo>
                    <a:pt x="8800" y="8050"/>
                  </a:lnTo>
                  <a:cubicBezTo>
                    <a:pt x="8704" y="7954"/>
                    <a:pt x="8585" y="7907"/>
                    <a:pt x="8454" y="7907"/>
                  </a:cubicBezTo>
                  <a:lnTo>
                    <a:pt x="1787" y="7907"/>
                  </a:lnTo>
                  <a:cubicBezTo>
                    <a:pt x="1322" y="7907"/>
                    <a:pt x="953" y="7526"/>
                    <a:pt x="953" y="7061"/>
                  </a:cubicBezTo>
                  <a:lnTo>
                    <a:pt x="953" y="1799"/>
                  </a:lnTo>
                  <a:cubicBezTo>
                    <a:pt x="953" y="1334"/>
                    <a:pt x="1322" y="953"/>
                    <a:pt x="1787" y="953"/>
                  </a:cubicBezTo>
                  <a:close/>
                  <a:moveTo>
                    <a:pt x="1787" y="1"/>
                  </a:moveTo>
                  <a:cubicBezTo>
                    <a:pt x="799" y="1"/>
                    <a:pt x="1" y="811"/>
                    <a:pt x="1" y="1799"/>
                  </a:cubicBezTo>
                  <a:lnTo>
                    <a:pt x="1" y="7061"/>
                  </a:lnTo>
                  <a:cubicBezTo>
                    <a:pt x="1" y="8050"/>
                    <a:pt x="799" y="8859"/>
                    <a:pt x="1787" y="8859"/>
                  </a:cubicBezTo>
                  <a:lnTo>
                    <a:pt x="8264" y="8859"/>
                  </a:lnTo>
                  <a:lnTo>
                    <a:pt x="10228" y="10824"/>
                  </a:lnTo>
                  <a:cubicBezTo>
                    <a:pt x="10312" y="10919"/>
                    <a:pt x="10431" y="10967"/>
                    <a:pt x="10562" y="10967"/>
                  </a:cubicBezTo>
                  <a:cubicBezTo>
                    <a:pt x="10621" y="10967"/>
                    <a:pt x="10681" y="10955"/>
                    <a:pt x="10740" y="10931"/>
                  </a:cubicBezTo>
                  <a:cubicBezTo>
                    <a:pt x="10919" y="10859"/>
                    <a:pt x="11038" y="10681"/>
                    <a:pt x="11038" y="10490"/>
                  </a:cubicBezTo>
                  <a:lnTo>
                    <a:pt x="11038" y="8859"/>
                  </a:lnTo>
                  <a:lnTo>
                    <a:pt x="12336" y="8859"/>
                  </a:lnTo>
                  <a:cubicBezTo>
                    <a:pt x="13324" y="8859"/>
                    <a:pt x="14122" y="8050"/>
                    <a:pt x="14122" y="7061"/>
                  </a:cubicBezTo>
                  <a:lnTo>
                    <a:pt x="14122" y="1799"/>
                  </a:lnTo>
                  <a:cubicBezTo>
                    <a:pt x="14122" y="811"/>
                    <a:pt x="13324" y="1"/>
                    <a:pt x="12336" y="1"/>
                  </a:cubicBezTo>
                  <a:close/>
                </a:path>
              </a:pathLst>
            </a:custGeom>
            <a:solidFill>
              <a:srgbClr val="F7FAFB"/>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grpSp>
      <p:grpSp>
        <p:nvGrpSpPr>
          <p:cNvPr id="29" name="Google Shape;1579;p40">
            <a:extLst>
              <a:ext uri="{FF2B5EF4-FFF2-40B4-BE49-F238E27FC236}">
                <a16:creationId xmlns:a16="http://schemas.microsoft.com/office/drawing/2014/main" id="{1EA25472-DCAD-47A0-ACEB-59E2476F1C8B}"/>
              </a:ext>
            </a:extLst>
          </p:cNvPr>
          <p:cNvGrpSpPr/>
          <p:nvPr/>
        </p:nvGrpSpPr>
        <p:grpSpPr>
          <a:xfrm>
            <a:off x="2149484" y="1961085"/>
            <a:ext cx="1834000" cy="1444633"/>
            <a:chOff x="1612113" y="1670838"/>
            <a:chExt cx="1375500" cy="1083475"/>
          </a:xfrm>
        </p:grpSpPr>
        <p:sp>
          <p:nvSpPr>
            <p:cNvPr id="30" name="Google Shape;1580;p40">
              <a:extLst>
                <a:ext uri="{FF2B5EF4-FFF2-40B4-BE49-F238E27FC236}">
                  <a16:creationId xmlns:a16="http://schemas.microsoft.com/office/drawing/2014/main" id="{BFD711D0-28BC-43BA-BFF8-3A476CAAAC20}"/>
                </a:ext>
              </a:extLst>
            </p:cNvPr>
            <p:cNvSpPr/>
            <p:nvPr/>
          </p:nvSpPr>
          <p:spPr>
            <a:xfrm>
              <a:off x="1612113" y="1670838"/>
              <a:ext cx="1375500" cy="1083475"/>
            </a:xfrm>
            <a:custGeom>
              <a:avLst/>
              <a:gdLst/>
              <a:ahLst/>
              <a:cxnLst/>
              <a:rect l="l" t="t" r="r" b="b"/>
              <a:pathLst>
                <a:path w="55020" h="43339" extrusionOk="0">
                  <a:moveTo>
                    <a:pt x="1" y="0"/>
                  </a:moveTo>
                  <a:cubicBezTo>
                    <a:pt x="5013" y="14204"/>
                    <a:pt x="7513" y="28766"/>
                    <a:pt x="7513" y="43339"/>
                  </a:cubicBezTo>
                  <a:lnTo>
                    <a:pt x="55019" y="43339"/>
                  </a:lnTo>
                  <a:cubicBezTo>
                    <a:pt x="55019" y="28766"/>
                    <a:pt x="52519" y="14204"/>
                    <a:pt x="47518" y="0"/>
                  </a:cubicBezTo>
                  <a:close/>
                </a:path>
              </a:pathLst>
            </a:custGeom>
            <a:solidFill>
              <a:schemeClr val="accent1"/>
            </a:solidFill>
            <a:ln>
              <a:noFill/>
            </a:ln>
          </p:spPr>
          <p:txBody>
            <a:bodyPr spcFirstLastPara="1" wrap="square" lIns="182867" tIns="121900" rIns="121900" bIns="243833" anchor="b"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Tx/>
                <a:buNone/>
                <a:tabLst/>
                <a:defRPr/>
              </a:pPr>
              <a:r>
                <a:rPr kumimoji="0" lang="en" sz="2267" b="0" i="0" u="none" strike="noStrike" kern="1200" cap="none" spc="0" normalizeH="0" baseline="0" noProof="0">
                  <a:ln>
                    <a:noFill/>
                  </a:ln>
                  <a:solidFill>
                    <a:srgbClr val="FFFFFF"/>
                  </a:solidFill>
                  <a:effectLst/>
                  <a:uLnTx/>
                  <a:uFillTx/>
                  <a:latin typeface="Arial"/>
                  <a:ea typeface="+mn-ea"/>
                  <a:cs typeface="+mn-ea"/>
                  <a:sym typeface="+mn-lt"/>
                </a:rPr>
                <a:t>Neptune</a:t>
              </a:r>
              <a:endParaRPr kumimoji="0" sz="2489" b="0" i="0" u="none" strike="noStrike" kern="1200" cap="none" spc="0" normalizeH="0" baseline="0" noProof="0">
                <a:ln>
                  <a:noFill/>
                </a:ln>
                <a:solidFill>
                  <a:srgbClr val="FFFFFF"/>
                </a:solidFill>
                <a:effectLst/>
                <a:uLnTx/>
                <a:uFillTx/>
                <a:latin typeface="Arial"/>
                <a:ea typeface="+mn-ea"/>
                <a:cs typeface="+mn-ea"/>
                <a:sym typeface="+mn-lt"/>
              </a:endParaRPr>
            </a:p>
          </p:txBody>
        </p:sp>
        <p:grpSp>
          <p:nvGrpSpPr>
            <p:cNvPr id="31" name="Google Shape;1581;p40">
              <a:extLst>
                <a:ext uri="{FF2B5EF4-FFF2-40B4-BE49-F238E27FC236}">
                  <a16:creationId xmlns:a16="http://schemas.microsoft.com/office/drawing/2014/main" id="{C5CF6568-BCE0-4DA0-9918-A94BF5B92C85}"/>
                </a:ext>
              </a:extLst>
            </p:cNvPr>
            <p:cNvGrpSpPr/>
            <p:nvPr/>
          </p:nvGrpSpPr>
          <p:grpSpPr>
            <a:xfrm>
              <a:off x="2088663" y="1874438"/>
              <a:ext cx="422400" cy="206875"/>
              <a:chOff x="2088663" y="1874438"/>
              <a:chExt cx="422400" cy="206875"/>
            </a:xfrm>
          </p:grpSpPr>
          <p:sp>
            <p:nvSpPr>
              <p:cNvPr id="32" name="Google Shape;1582;p40">
                <a:extLst>
                  <a:ext uri="{FF2B5EF4-FFF2-40B4-BE49-F238E27FC236}">
                    <a16:creationId xmlns:a16="http://schemas.microsoft.com/office/drawing/2014/main" id="{C6AFED23-2D25-42F0-8A1B-D2DBCD87A50D}"/>
                  </a:ext>
                </a:extLst>
              </p:cNvPr>
              <p:cNvSpPr/>
              <p:nvPr/>
            </p:nvSpPr>
            <p:spPr>
              <a:xfrm>
                <a:off x="2219938" y="1880963"/>
                <a:ext cx="291125" cy="26525"/>
              </a:xfrm>
              <a:custGeom>
                <a:avLst/>
                <a:gdLst/>
                <a:ahLst/>
                <a:cxnLst/>
                <a:rect l="l" t="t" r="r" b="b"/>
                <a:pathLst>
                  <a:path w="11645" h="1061" extrusionOk="0">
                    <a:moveTo>
                      <a:pt x="0" y="1"/>
                    </a:moveTo>
                    <a:lnTo>
                      <a:pt x="0" y="1061"/>
                    </a:lnTo>
                    <a:lnTo>
                      <a:pt x="11644" y="1061"/>
                    </a:lnTo>
                    <a:lnTo>
                      <a:pt x="11644" y="1"/>
                    </a:lnTo>
                    <a:close/>
                  </a:path>
                </a:pathLst>
              </a:custGeom>
              <a:solidFill>
                <a:srgbClr val="F7FAFB"/>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33" name="Google Shape;1583;p40">
                <a:extLst>
                  <a:ext uri="{FF2B5EF4-FFF2-40B4-BE49-F238E27FC236}">
                    <a16:creationId xmlns:a16="http://schemas.microsoft.com/office/drawing/2014/main" id="{36D90763-A251-4892-85B3-DAD192010CEB}"/>
                  </a:ext>
                </a:extLst>
              </p:cNvPr>
              <p:cNvSpPr/>
              <p:nvPr/>
            </p:nvSpPr>
            <p:spPr>
              <a:xfrm>
                <a:off x="2219938" y="1939013"/>
                <a:ext cx="291125" cy="26525"/>
              </a:xfrm>
              <a:custGeom>
                <a:avLst/>
                <a:gdLst/>
                <a:ahLst/>
                <a:cxnLst/>
                <a:rect l="l" t="t" r="r" b="b"/>
                <a:pathLst>
                  <a:path w="11645" h="1061" extrusionOk="0">
                    <a:moveTo>
                      <a:pt x="0" y="1"/>
                    </a:moveTo>
                    <a:lnTo>
                      <a:pt x="0" y="1060"/>
                    </a:lnTo>
                    <a:lnTo>
                      <a:pt x="11644" y="1060"/>
                    </a:lnTo>
                    <a:lnTo>
                      <a:pt x="11644" y="1"/>
                    </a:lnTo>
                    <a:close/>
                  </a:path>
                </a:pathLst>
              </a:custGeom>
              <a:solidFill>
                <a:srgbClr val="F7FAFB"/>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34" name="Google Shape;1584;p40">
                <a:extLst>
                  <a:ext uri="{FF2B5EF4-FFF2-40B4-BE49-F238E27FC236}">
                    <a16:creationId xmlns:a16="http://schemas.microsoft.com/office/drawing/2014/main" id="{F95F310F-4EBA-483A-9FC2-A0B40130D8ED}"/>
                  </a:ext>
                </a:extLst>
              </p:cNvPr>
              <p:cNvSpPr/>
              <p:nvPr/>
            </p:nvSpPr>
            <p:spPr>
              <a:xfrm>
                <a:off x="2088663" y="1874438"/>
                <a:ext cx="92600" cy="86025"/>
              </a:xfrm>
              <a:custGeom>
                <a:avLst/>
                <a:gdLst/>
                <a:ahLst/>
                <a:cxnLst/>
                <a:rect l="l" t="t" r="r" b="b"/>
                <a:pathLst>
                  <a:path w="3704" h="3441" extrusionOk="0">
                    <a:moveTo>
                      <a:pt x="2894" y="0"/>
                    </a:moveTo>
                    <a:lnTo>
                      <a:pt x="1358" y="1834"/>
                    </a:lnTo>
                    <a:lnTo>
                      <a:pt x="774" y="1191"/>
                    </a:lnTo>
                    <a:lnTo>
                      <a:pt x="1" y="1917"/>
                    </a:lnTo>
                    <a:lnTo>
                      <a:pt x="1394" y="3441"/>
                    </a:lnTo>
                    <a:lnTo>
                      <a:pt x="3703" y="691"/>
                    </a:lnTo>
                    <a:lnTo>
                      <a:pt x="2894" y="0"/>
                    </a:lnTo>
                    <a:close/>
                  </a:path>
                </a:pathLst>
              </a:custGeom>
              <a:solidFill>
                <a:srgbClr val="F7FAFB"/>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35" name="Google Shape;1585;p40">
                <a:extLst>
                  <a:ext uri="{FF2B5EF4-FFF2-40B4-BE49-F238E27FC236}">
                    <a16:creationId xmlns:a16="http://schemas.microsoft.com/office/drawing/2014/main" id="{FA4BAFCB-BA51-4118-9290-69CF00C0511D}"/>
                  </a:ext>
                </a:extLst>
              </p:cNvPr>
              <p:cNvSpPr/>
              <p:nvPr/>
            </p:nvSpPr>
            <p:spPr>
              <a:xfrm>
                <a:off x="2219938" y="1997063"/>
                <a:ext cx="291125" cy="26500"/>
              </a:xfrm>
              <a:custGeom>
                <a:avLst/>
                <a:gdLst/>
                <a:ahLst/>
                <a:cxnLst/>
                <a:rect l="l" t="t" r="r" b="b"/>
                <a:pathLst>
                  <a:path w="11645" h="1060" extrusionOk="0">
                    <a:moveTo>
                      <a:pt x="0" y="0"/>
                    </a:moveTo>
                    <a:lnTo>
                      <a:pt x="0" y="1060"/>
                    </a:lnTo>
                    <a:lnTo>
                      <a:pt x="11644" y="1060"/>
                    </a:lnTo>
                    <a:lnTo>
                      <a:pt x="11644" y="0"/>
                    </a:lnTo>
                    <a:close/>
                  </a:path>
                </a:pathLst>
              </a:custGeom>
              <a:solidFill>
                <a:srgbClr val="F7FAFB"/>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36" name="Google Shape;1586;p40">
                <a:extLst>
                  <a:ext uri="{FF2B5EF4-FFF2-40B4-BE49-F238E27FC236}">
                    <a16:creationId xmlns:a16="http://schemas.microsoft.com/office/drawing/2014/main" id="{F3334DEE-E260-4DC3-A4B5-B9D8C33DAACC}"/>
                  </a:ext>
                </a:extLst>
              </p:cNvPr>
              <p:cNvSpPr/>
              <p:nvPr/>
            </p:nvSpPr>
            <p:spPr>
              <a:xfrm>
                <a:off x="2219938" y="2054813"/>
                <a:ext cx="173250" cy="26500"/>
              </a:xfrm>
              <a:custGeom>
                <a:avLst/>
                <a:gdLst/>
                <a:ahLst/>
                <a:cxnLst/>
                <a:rect l="l" t="t" r="r" b="b"/>
                <a:pathLst>
                  <a:path w="6930" h="1060" extrusionOk="0">
                    <a:moveTo>
                      <a:pt x="0" y="0"/>
                    </a:moveTo>
                    <a:lnTo>
                      <a:pt x="0" y="1060"/>
                    </a:lnTo>
                    <a:lnTo>
                      <a:pt x="6930" y="1060"/>
                    </a:lnTo>
                    <a:lnTo>
                      <a:pt x="6930" y="0"/>
                    </a:lnTo>
                    <a:close/>
                  </a:path>
                </a:pathLst>
              </a:custGeom>
              <a:solidFill>
                <a:srgbClr val="F7FAFB"/>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grpSp>
      </p:grpSp>
      <p:grpSp>
        <p:nvGrpSpPr>
          <p:cNvPr id="37" name="Google Shape;1587;p40">
            <a:extLst>
              <a:ext uri="{FF2B5EF4-FFF2-40B4-BE49-F238E27FC236}">
                <a16:creationId xmlns:a16="http://schemas.microsoft.com/office/drawing/2014/main" id="{981B7544-5B6C-4F2D-8F50-6D3B6A7D035F}"/>
              </a:ext>
            </a:extLst>
          </p:cNvPr>
          <p:cNvGrpSpPr/>
          <p:nvPr/>
        </p:nvGrpSpPr>
        <p:grpSpPr>
          <a:xfrm>
            <a:off x="8928518" y="2313085"/>
            <a:ext cx="1252967" cy="2184833"/>
            <a:chOff x="6696388" y="1934838"/>
            <a:chExt cx="939725" cy="1638625"/>
          </a:xfrm>
        </p:grpSpPr>
        <p:grpSp>
          <p:nvGrpSpPr>
            <p:cNvPr id="38" name="Google Shape;1588;p40">
              <a:extLst>
                <a:ext uri="{FF2B5EF4-FFF2-40B4-BE49-F238E27FC236}">
                  <a16:creationId xmlns:a16="http://schemas.microsoft.com/office/drawing/2014/main" id="{7FBC2125-3286-45E3-9D98-1C17EA4E8DD5}"/>
                </a:ext>
              </a:extLst>
            </p:cNvPr>
            <p:cNvGrpSpPr/>
            <p:nvPr/>
          </p:nvGrpSpPr>
          <p:grpSpPr>
            <a:xfrm>
              <a:off x="6696388" y="1934838"/>
              <a:ext cx="939725" cy="1638625"/>
              <a:chOff x="6696388" y="1934838"/>
              <a:chExt cx="939725" cy="1638625"/>
            </a:xfrm>
          </p:grpSpPr>
          <p:sp>
            <p:nvSpPr>
              <p:cNvPr id="40" name="Google Shape;1589;p40">
                <a:extLst>
                  <a:ext uri="{FF2B5EF4-FFF2-40B4-BE49-F238E27FC236}">
                    <a16:creationId xmlns:a16="http://schemas.microsoft.com/office/drawing/2014/main" id="{FBDAB58E-E84D-488E-B7F8-2346F0551A45}"/>
                  </a:ext>
                </a:extLst>
              </p:cNvPr>
              <p:cNvSpPr/>
              <p:nvPr/>
            </p:nvSpPr>
            <p:spPr>
              <a:xfrm>
                <a:off x="6915463" y="1934838"/>
                <a:ext cx="720650" cy="1638625"/>
              </a:xfrm>
              <a:custGeom>
                <a:avLst/>
                <a:gdLst/>
                <a:ahLst/>
                <a:cxnLst/>
                <a:rect l="l" t="t" r="r" b="b"/>
                <a:pathLst>
                  <a:path w="28826" h="65545" extrusionOk="0">
                    <a:moveTo>
                      <a:pt x="0" y="1"/>
                    </a:moveTo>
                    <a:lnTo>
                      <a:pt x="0" y="1"/>
                    </a:lnTo>
                    <a:cubicBezTo>
                      <a:pt x="4560" y="22039"/>
                      <a:pt x="4560" y="43530"/>
                      <a:pt x="0" y="65545"/>
                    </a:cubicBezTo>
                    <a:cubicBezTo>
                      <a:pt x="10263" y="55163"/>
                      <a:pt x="19872" y="44316"/>
                      <a:pt x="28825" y="32779"/>
                    </a:cubicBezTo>
                    <a:cubicBezTo>
                      <a:pt x="19872" y="21242"/>
                      <a:pt x="10263" y="10395"/>
                      <a:pt x="0" y="1"/>
                    </a:cubicBezTo>
                    <a:close/>
                  </a:path>
                </a:pathLst>
              </a:custGeom>
              <a:solidFill>
                <a:srgbClr val="869FB2"/>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41" name="Google Shape;1590;p40">
                <a:extLst>
                  <a:ext uri="{FF2B5EF4-FFF2-40B4-BE49-F238E27FC236}">
                    <a16:creationId xmlns:a16="http://schemas.microsoft.com/office/drawing/2014/main" id="{D8984D3B-D860-40EA-B374-16532041F774}"/>
                  </a:ext>
                </a:extLst>
              </p:cNvPr>
              <p:cNvSpPr/>
              <p:nvPr/>
            </p:nvSpPr>
            <p:spPr>
              <a:xfrm>
                <a:off x="6696388" y="2344138"/>
                <a:ext cx="439050" cy="820350"/>
              </a:xfrm>
              <a:custGeom>
                <a:avLst/>
                <a:gdLst/>
                <a:ahLst/>
                <a:cxnLst/>
                <a:rect l="l" t="t" r="r" b="b"/>
                <a:pathLst>
                  <a:path w="17562" h="32814" extrusionOk="0">
                    <a:moveTo>
                      <a:pt x="0" y="0"/>
                    </a:moveTo>
                    <a:cubicBezTo>
                      <a:pt x="1036" y="11049"/>
                      <a:pt x="1036" y="21765"/>
                      <a:pt x="0" y="32814"/>
                    </a:cubicBezTo>
                    <a:lnTo>
                      <a:pt x="16526" y="32814"/>
                    </a:lnTo>
                    <a:cubicBezTo>
                      <a:pt x="17562" y="21765"/>
                      <a:pt x="17562" y="11049"/>
                      <a:pt x="16526" y="0"/>
                    </a:cubicBezTo>
                    <a:close/>
                  </a:path>
                </a:pathLst>
              </a:custGeom>
              <a:solidFill>
                <a:srgbClr val="869FB2"/>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grpSp>
        <p:sp>
          <p:nvSpPr>
            <p:cNvPr id="39" name="Google Shape;1591;p40">
              <a:extLst>
                <a:ext uri="{FF2B5EF4-FFF2-40B4-BE49-F238E27FC236}">
                  <a16:creationId xmlns:a16="http://schemas.microsoft.com/office/drawing/2014/main" id="{D456C273-612D-44FD-9403-0C1584AB7B72}"/>
                </a:ext>
              </a:extLst>
            </p:cNvPr>
            <p:cNvSpPr txBox="1"/>
            <p:nvPr/>
          </p:nvSpPr>
          <p:spPr>
            <a:xfrm>
              <a:off x="6710112" y="2560500"/>
              <a:ext cx="912300" cy="387600"/>
            </a:xfrm>
            <a:prstGeom prst="rect">
              <a:avLst/>
            </a:prstGeom>
            <a:noFill/>
            <a:ln>
              <a:noFill/>
            </a:ln>
          </p:spPr>
          <p:txBody>
            <a:bodyPr spcFirstLastPara="1" wrap="square" lIns="121900" tIns="121900" rIns="121900" bIns="1219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2267" b="0" i="0" u="none" strike="noStrike" kern="1200" cap="none" spc="0" normalizeH="0" baseline="0" noProof="0">
                  <a:ln>
                    <a:noFill/>
                  </a:ln>
                  <a:solidFill>
                    <a:srgbClr val="FFFFFF"/>
                  </a:solidFill>
                  <a:effectLst/>
                  <a:uLnTx/>
                  <a:uFillTx/>
                  <a:latin typeface="Arial"/>
                  <a:ea typeface="+mn-ea"/>
                  <a:cs typeface="+mn-ea"/>
                  <a:sym typeface="+mn-lt"/>
                </a:rPr>
                <a:t>Saturn</a:t>
              </a:r>
              <a:endParaRPr kumimoji="0" sz="2489" b="0" i="0" u="none" strike="noStrike" kern="1200" cap="none" spc="0" normalizeH="0" baseline="0" noProof="0">
                <a:ln>
                  <a:noFill/>
                </a:ln>
                <a:solidFill>
                  <a:srgbClr val="FFFFFF"/>
                </a:solidFill>
                <a:effectLst/>
                <a:uLnTx/>
                <a:uFillTx/>
                <a:latin typeface="Arial"/>
                <a:ea typeface="+mn-ea"/>
                <a:cs typeface="+mn-ea"/>
                <a:sym typeface="+mn-lt"/>
              </a:endParaRPr>
            </a:p>
          </p:txBody>
        </p:sp>
      </p:grpSp>
    </p:spTree>
    <p:extLst>
      <p:ext uri="{BB962C8B-B14F-4D97-AF65-F5344CB8AC3E}">
        <p14:creationId xmlns:p14="http://schemas.microsoft.com/office/powerpoint/2010/main" val="200670658"/>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7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oogle Shape;1597;p41">
            <a:extLst>
              <a:ext uri="{FF2B5EF4-FFF2-40B4-BE49-F238E27FC236}">
                <a16:creationId xmlns:a16="http://schemas.microsoft.com/office/drawing/2014/main" id="{46D4AB7E-89E7-4770-8724-0D2AA9BEE23D}"/>
              </a:ext>
            </a:extLst>
          </p:cNvPr>
          <p:cNvGrpSpPr/>
          <p:nvPr/>
        </p:nvGrpSpPr>
        <p:grpSpPr>
          <a:xfrm>
            <a:off x="1953034" y="1736076"/>
            <a:ext cx="2710884" cy="1540417"/>
            <a:chOff x="1464775" y="1573519"/>
            <a:chExt cx="2033163" cy="1155313"/>
          </a:xfrm>
        </p:grpSpPr>
        <p:sp>
          <p:nvSpPr>
            <p:cNvPr id="3" name="Google Shape;1598;p41">
              <a:extLst>
                <a:ext uri="{FF2B5EF4-FFF2-40B4-BE49-F238E27FC236}">
                  <a16:creationId xmlns:a16="http://schemas.microsoft.com/office/drawing/2014/main" id="{4C4BC392-7039-4E4F-9485-2A37199171D7}"/>
                </a:ext>
              </a:extLst>
            </p:cNvPr>
            <p:cNvSpPr/>
            <p:nvPr/>
          </p:nvSpPr>
          <p:spPr>
            <a:xfrm>
              <a:off x="1464775" y="1573519"/>
              <a:ext cx="2033163" cy="1155313"/>
            </a:xfrm>
            <a:custGeom>
              <a:avLst/>
              <a:gdLst/>
              <a:ahLst/>
              <a:cxnLst/>
              <a:rect l="l" t="t" r="r" b="b"/>
              <a:pathLst>
                <a:path w="60937" h="45125" extrusionOk="0">
                  <a:moveTo>
                    <a:pt x="1" y="0"/>
                  </a:moveTo>
                  <a:lnTo>
                    <a:pt x="26314" y="45125"/>
                  </a:lnTo>
                  <a:lnTo>
                    <a:pt x="60937" y="45125"/>
                  </a:lnTo>
                  <a:lnTo>
                    <a:pt x="34624" y="0"/>
                  </a:lnTo>
                  <a:close/>
                </a:path>
              </a:pathLst>
            </a:custGeom>
            <a:solidFill>
              <a:srgbClr val="F2F2F2"/>
            </a:solidFill>
            <a:ln>
              <a:noFill/>
            </a:ln>
          </p:spPr>
          <p:txBody>
            <a:bodyPr spcFirstLastPara="1" wrap="square" lIns="853433" tIns="121900" rIns="853433" bIns="121900" anchor="b"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Tx/>
                <a:buNone/>
                <a:tabLst/>
                <a:defRPr/>
              </a:pPr>
              <a:endParaRPr kumimoji="0" sz="1600" b="0" i="0" u="none" strike="noStrike" kern="1200" cap="none" spc="0" normalizeH="0" baseline="0" noProof="0">
                <a:ln>
                  <a:noFill/>
                </a:ln>
                <a:solidFill>
                  <a:srgbClr val="434343"/>
                </a:solidFill>
                <a:effectLst/>
                <a:uLnTx/>
                <a:uFillTx/>
                <a:latin typeface="Arial"/>
                <a:ea typeface="+mn-ea"/>
                <a:cs typeface="+mn-ea"/>
                <a:sym typeface="+mn-lt"/>
              </a:endParaRPr>
            </a:p>
          </p:txBody>
        </p:sp>
        <p:sp>
          <p:nvSpPr>
            <p:cNvPr id="4" name="Google Shape;1599;p41">
              <a:extLst>
                <a:ext uri="{FF2B5EF4-FFF2-40B4-BE49-F238E27FC236}">
                  <a16:creationId xmlns:a16="http://schemas.microsoft.com/office/drawing/2014/main" id="{6A3D50FD-4A48-4178-943F-4277F714B96B}"/>
                </a:ext>
              </a:extLst>
            </p:cNvPr>
            <p:cNvSpPr/>
            <p:nvPr/>
          </p:nvSpPr>
          <p:spPr>
            <a:xfrm>
              <a:off x="1464775" y="1573519"/>
              <a:ext cx="1509599" cy="470676"/>
            </a:xfrm>
            <a:custGeom>
              <a:avLst/>
              <a:gdLst/>
              <a:ahLst/>
              <a:cxnLst/>
              <a:rect l="l" t="t" r="r" b="b"/>
              <a:pathLst>
                <a:path w="45245" h="18384" extrusionOk="0">
                  <a:moveTo>
                    <a:pt x="1" y="0"/>
                  </a:moveTo>
                  <a:lnTo>
                    <a:pt x="10621" y="18384"/>
                  </a:lnTo>
                  <a:lnTo>
                    <a:pt x="45245" y="18384"/>
                  </a:lnTo>
                  <a:lnTo>
                    <a:pt x="34624" y="0"/>
                  </a:lnTo>
                  <a:close/>
                </a:path>
              </a:pathLst>
            </a:custGeom>
            <a:solidFill>
              <a:schemeClr val="accent1"/>
            </a:solidFill>
            <a:ln>
              <a:noFill/>
            </a:ln>
          </p:spPr>
          <p:txBody>
            <a:bodyPr spcFirstLastPara="1" wrap="square" lIns="121900" tIns="121900" rIns="121900" bIns="1219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Tx/>
                <a:buNone/>
                <a:tabLst/>
                <a:defRPr/>
              </a:pPr>
              <a:r>
                <a:rPr kumimoji="0" lang="en" sz="2267" b="0" i="0" u="none" strike="noStrike" kern="1200" cap="none" spc="0" normalizeH="0" baseline="0" noProof="0">
                  <a:ln>
                    <a:noFill/>
                  </a:ln>
                  <a:solidFill>
                    <a:srgbClr val="FFFFFF"/>
                  </a:solidFill>
                  <a:effectLst/>
                  <a:uLnTx/>
                  <a:uFillTx/>
                  <a:latin typeface="Arial"/>
                  <a:ea typeface="+mn-ea"/>
                  <a:cs typeface="+mn-ea"/>
                  <a:sym typeface="+mn-lt"/>
                </a:rPr>
                <a:t>Mercury</a:t>
              </a: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5" name="Google Shape;1600;p41">
              <a:extLst>
                <a:ext uri="{FF2B5EF4-FFF2-40B4-BE49-F238E27FC236}">
                  <a16:creationId xmlns:a16="http://schemas.microsoft.com/office/drawing/2014/main" id="{544FEA4B-21E0-4E27-B26A-33FC0D17CB84}"/>
                </a:ext>
              </a:extLst>
            </p:cNvPr>
            <p:cNvSpPr txBox="1"/>
            <p:nvPr/>
          </p:nvSpPr>
          <p:spPr>
            <a:xfrm>
              <a:off x="2223938" y="2111038"/>
              <a:ext cx="964200" cy="597300"/>
            </a:xfrm>
            <a:prstGeom prst="rect">
              <a:avLst/>
            </a:prstGeom>
            <a:noFill/>
            <a:ln>
              <a:noFill/>
            </a:ln>
          </p:spPr>
          <p:txBody>
            <a:bodyPr spcFirstLastPara="1" wrap="square" lIns="121900" tIns="121900" rIns="121900" bIns="1219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1600" b="0" i="0" u="none" strike="noStrike" kern="1200" cap="none" spc="0" normalizeH="0" baseline="0" noProof="0">
                  <a:ln>
                    <a:noFill/>
                  </a:ln>
                  <a:solidFill>
                    <a:srgbClr val="434343"/>
                  </a:solidFill>
                  <a:effectLst/>
                  <a:uLnTx/>
                  <a:uFillTx/>
                  <a:latin typeface="Arial"/>
                  <a:ea typeface="+mn-ea"/>
                  <a:cs typeface="+mn-ea"/>
                  <a:sym typeface="+mn-lt"/>
                </a:rPr>
                <a:t>Mercury is the first</a:t>
              </a:r>
              <a:endParaRPr kumimoji="0" sz="1600" b="0" i="0" u="none" strike="noStrike" kern="1200" cap="none" spc="0" normalizeH="0" baseline="0" noProof="0">
                <a:ln>
                  <a:noFill/>
                </a:ln>
                <a:solidFill>
                  <a:srgbClr val="434343"/>
                </a:solidFill>
                <a:effectLst/>
                <a:uLnTx/>
                <a:uFillTx/>
                <a:latin typeface="Arial"/>
                <a:ea typeface="+mn-ea"/>
                <a:cs typeface="+mn-ea"/>
                <a:sym typeface="+mn-lt"/>
              </a:endParaRPr>
            </a:p>
          </p:txBody>
        </p:sp>
      </p:grpSp>
      <p:grpSp>
        <p:nvGrpSpPr>
          <p:cNvPr id="6" name="Google Shape;1601;p41">
            <a:extLst>
              <a:ext uri="{FF2B5EF4-FFF2-40B4-BE49-F238E27FC236}">
                <a16:creationId xmlns:a16="http://schemas.microsoft.com/office/drawing/2014/main" id="{485A0139-12FD-48EE-B9B4-2F527F749FA4}"/>
              </a:ext>
            </a:extLst>
          </p:cNvPr>
          <p:cNvGrpSpPr/>
          <p:nvPr/>
        </p:nvGrpSpPr>
        <p:grpSpPr>
          <a:xfrm>
            <a:off x="4200565" y="3338278"/>
            <a:ext cx="2860804" cy="1737584"/>
            <a:chOff x="3150423" y="2775171"/>
            <a:chExt cx="2145603" cy="1303188"/>
          </a:xfrm>
        </p:grpSpPr>
        <p:sp>
          <p:nvSpPr>
            <p:cNvPr id="7" name="Google Shape;1602;p41">
              <a:extLst>
                <a:ext uri="{FF2B5EF4-FFF2-40B4-BE49-F238E27FC236}">
                  <a16:creationId xmlns:a16="http://schemas.microsoft.com/office/drawing/2014/main" id="{8CEDC5E2-7691-4D7D-9324-81ED13533EB1}"/>
                </a:ext>
              </a:extLst>
            </p:cNvPr>
            <p:cNvSpPr/>
            <p:nvPr/>
          </p:nvSpPr>
          <p:spPr>
            <a:xfrm>
              <a:off x="3150423" y="2775171"/>
              <a:ext cx="2145603" cy="1303167"/>
            </a:xfrm>
            <a:custGeom>
              <a:avLst/>
              <a:gdLst/>
              <a:ahLst/>
              <a:cxnLst/>
              <a:rect l="l" t="t" r="r" b="b"/>
              <a:pathLst>
                <a:path w="64307" h="50900" extrusionOk="0">
                  <a:moveTo>
                    <a:pt x="29671" y="1"/>
                  </a:moveTo>
                  <a:lnTo>
                    <a:pt x="1" y="50900"/>
                  </a:lnTo>
                  <a:lnTo>
                    <a:pt x="34636" y="50900"/>
                  </a:lnTo>
                  <a:lnTo>
                    <a:pt x="64307" y="1"/>
                  </a:lnTo>
                  <a:close/>
                </a:path>
              </a:pathLst>
            </a:custGeom>
            <a:solidFill>
              <a:srgbClr val="F2F2F2"/>
            </a:solidFill>
            <a:ln>
              <a:noFill/>
            </a:ln>
          </p:spPr>
          <p:txBody>
            <a:bodyPr spcFirstLastPara="1" wrap="square" lIns="243833" tIns="121900" rIns="243833" bIns="1219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Tx/>
                <a:buNone/>
                <a:tabLst/>
                <a:defRPr/>
              </a:pPr>
              <a:endParaRPr kumimoji="0" sz="1600" b="0" i="0" u="none" strike="noStrike" kern="1200" cap="none" spc="0" normalizeH="0" baseline="0" noProof="0">
                <a:ln>
                  <a:noFill/>
                </a:ln>
                <a:solidFill>
                  <a:srgbClr val="434343"/>
                </a:solidFill>
                <a:effectLst/>
                <a:uLnTx/>
                <a:uFillTx/>
                <a:latin typeface="Arial"/>
                <a:ea typeface="+mn-ea"/>
                <a:cs typeface="+mn-ea"/>
                <a:sym typeface="+mn-lt"/>
              </a:endParaRPr>
            </a:p>
          </p:txBody>
        </p:sp>
        <p:grpSp>
          <p:nvGrpSpPr>
            <p:cNvPr id="8" name="Google Shape;1603;p41">
              <a:extLst>
                <a:ext uri="{FF2B5EF4-FFF2-40B4-BE49-F238E27FC236}">
                  <a16:creationId xmlns:a16="http://schemas.microsoft.com/office/drawing/2014/main" id="{0B30FFD8-8214-4637-919B-1D8B16CB0DD7}"/>
                </a:ext>
              </a:extLst>
            </p:cNvPr>
            <p:cNvGrpSpPr/>
            <p:nvPr/>
          </p:nvGrpSpPr>
          <p:grpSpPr>
            <a:xfrm>
              <a:off x="3150842" y="2869438"/>
              <a:ext cx="1788483" cy="1208921"/>
              <a:chOff x="3150842" y="2869438"/>
              <a:chExt cx="1788483" cy="1208921"/>
            </a:xfrm>
          </p:grpSpPr>
          <p:sp>
            <p:nvSpPr>
              <p:cNvPr id="9" name="Google Shape;1604;p41">
                <a:extLst>
                  <a:ext uri="{FF2B5EF4-FFF2-40B4-BE49-F238E27FC236}">
                    <a16:creationId xmlns:a16="http://schemas.microsoft.com/office/drawing/2014/main" id="{976E1BE5-1ADD-4303-8274-B4D1147D30F5}"/>
                  </a:ext>
                </a:extLst>
              </p:cNvPr>
              <p:cNvSpPr/>
              <p:nvPr/>
            </p:nvSpPr>
            <p:spPr>
              <a:xfrm>
                <a:off x="3150842" y="3607375"/>
                <a:ext cx="1509547" cy="470984"/>
              </a:xfrm>
              <a:custGeom>
                <a:avLst/>
                <a:gdLst/>
                <a:ahLst/>
                <a:cxnLst/>
                <a:rect l="l" t="t" r="r" b="b"/>
                <a:pathLst>
                  <a:path w="45257" h="18396" extrusionOk="0">
                    <a:moveTo>
                      <a:pt x="10621" y="1"/>
                    </a:moveTo>
                    <a:lnTo>
                      <a:pt x="1" y="18396"/>
                    </a:lnTo>
                    <a:lnTo>
                      <a:pt x="34636" y="18396"/>
                    </a:lnTo>
                    <a:lnTo>
                      <a:pt x="45257" y="1"/>
                    </a:ln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grpSp>
            <p:nvGrpSpPr>
              <p:cNvPr id="10" name="Google Shape;1605;p41">
                <a:extLst>
                  <a:ext uri="{FF2B5EF4-FFF2-40B4-BE49-F238E27FC236}">
                    <a16:creationId xmlns:a16="http://schemas.microsoft.com/office/drawing/2014/main" id="{DF0ED112-F2D8-4F3A-BAD4-A1B6E6832B98}"/>
                  </a:ext>
                </a:extLst>
              </p:cNvPr>
              <p:cNvGrpSpPr/>
              <p:nvPr/>
            </p:nvGrpSpPr>
            <p:grpSpPr>
              <a:xfrm>
                <a:off x="3780470" y="3669553"/>
                <a:ext cx="250290" cy="317343"/>
                <a:chOff x="4527703" y="3669553"/>
                <a:chExt cx="250290" cy="317343"/>
              </a:xfrm>
            </p:grpSpPr>
            <p:sp>
              <p:nvSpPr>
                <p:cNvPr id="12" name="Google Shape;1606;p41">
                  <a:extLst>
                    <a:ext uri="{FF2B5EF4-FFF2-40B4-BE49-F238E27FC236}">
                      <a16:creationId xmlns:a16="http://schemas.microsoft.com/office/drawing/2014/main" id="{B9B673D5-82A5-42B6-A370-89D3A1AA7C62}"/>
                    </a:ext>
                  </a:extLst>
                </p:cNvPr>
                <p:cNvSpPr/>
                <p:nvPr/>
              </p:nvSpPr>
              <p:spPr>
                <a:xfrm>
                  <a:off x="4576477" y="3723499"/>
                  <a:ext cx="107940" cy="107633"/>
                </a:xfrm>
                <a:custGeom>
                  <a:avLst/>
                  <a:gdLst/>
                  <a:ahLst/>
                  <a:cxnLst/>
                  <a:rect l="l" t="t" r="r" b="b"/>
                  <a:pathLst>
                    <a:path w="4216" h="4204" extrusionOk="0">
                      <a:moveTo>
                        <a:pt x="2108" y="608"/>
                      </a:moveTo>
                      <a:cubicBezTo>
                        <a:pt x="2929" y="608"/>
                        <a:pt x="3596" y="1275"/>
                        <a:pt x="3596" y="2096"/>
                      </a:cubicBezTo>
                      <a:cubicBezTo>
                        <a:pt x="3596" y="2930"/>
                        <a:pt x="2929" y="3597"/>
                        <a:pt x="2108" y="3597"/>
                      </a:cubicBezTo>
                      <a:cubicBezTo>
                        <a:pt x="1286" y="3597"/>
                        <a:pt x="608" y="2930"/>
                        <a:pt x="608" y="2096"/>
                      </a:cubicBezTo>
                      <a:cubicBezTo>
                        <a:pt x="608" y="1275"/>
                        <a:pt x="1286" y="608"/>
                        <a:pt x="2108" y="608"/>
                      </a:cubicBezTo>
                      <a:close/>
                      <a:moveTo>
                        <a:pt x="2108" y="1"/>
                      </a:moveTo>
                      <a:cubicBezTo>
                        <a:pt x="941" y="1"/>
                        <a:pt x="0" y="942"/>
                        <a:pt x="0" y="2096"/>
                      </a:cubicBezTo>
                      <a:cubicBezTo>
                        <a:pt x="0" y="3263"/>
                        <a:pt x="941" y="4204"/>
                        <a:pt x="2108" y="4204"/>
                      </a:cubicBezTo>
                      <a:cubicBezTo>
                        <a:pt x="3263" y="4204"/>
                        <a:pt x="4215" y="3263"/>
                        <a:pt x="4215" y="2096"/>
                      </a:cubicBezTo>
                      <a:cubicBezTo>
                        <a:pt x="4215" y="942"/>
                        <a:pt x="3263" y="1"/>
                        <a:pt x="2108" y="1"/>
                      </a:cubicBezTo>
                      <a:close/>
                    </a:path>
                  </a:pathLst>
                </a:custGeom>
                <a:solidFill>
                  <a:srgbClr val="FFFFFF"/>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13" name="Google Shape;1607;p41">
                  <a:extLst>
                    <a:ext uri="{FF2B5EF4-FFF2-40B4-BE49-F238E27FC236}">
                      <a16:creationId xmlns:a16="http://schemas.microsoft.com/office/drawing/2014/main" id="{0593BE93-A265-4B61-8817-7A7C595F78D3}"/>
                    </a:ext>
                  </a:extLst>
                </p:cNvPr>
                <p:cNvSpPr/>
                <p:nvPr/>
              </p:nvSpPr>
              <p:spPr>
                <a:xfrm>
                  <a:off x="4527703" y="3669553"/>
                  <a:ext cx="250290" cy="317343"/>
                </a:xfrm>
                <a:custGeom>
                  <a:avLst/>
                  <a:gdLst/>
                  <a:ahLst/>
                  <a:cxnLst/>
                  <a:rect l="l" t="t" r="r" b="b"/>
                  <a:pathLst>
                    <a:path w="9776" h="12395" extrusionOk="0">
                      <a:moveTo>
                        <a:pt x="7454" y="6061"/>
                      </a:moveTo>
                      <a:cubicBezTo>
                        <a:pt x="7656" y="6239"/>
                        <a:pt x="7775" y="6513"/>
                        <a:pt x="7775" y="6787"/>
                      </a:cubicBezTo>
                      <a:cubicBezTo>
                        <a:pt x="7775" y="7347"/>
                        <a:pt x="7323" y="7787"/>
                        <a:pt x="6775" y="7787"/>
                      </a:cubicBezTo>
                      <a:cubicBezTo>
                        <a:pt x="6656" y="7787"/>
                        <a:pt x="6537" y="7763"/>
                        <a:pt x="6430" y="7728"/>
                      </a:cubicBezTo>
                      <a:lnTo>
                        <a:pt x="7263" y="6347"/>
                      </a:lnTo>
                      <a:cubicBezTo>
                        <a:pt x="7335" y="6251"/>
                        <a:pt x="7394" y="6156"/>
                        <a:pt x="7454" y="6061"/>
                      </a:cubicBezTo>
                      <a:close/>
                      <a:moveTo>
                        <a:pt x="4013" y="620"/>
                      </a:moveTo>
                      <a:cubicBezTo>
                        <a:pt x="5882" y="620"/>
                        <a:pt x="7406" y="2144"/>
                        <a:pt x="7406" y="4013"/>
                      </a:cubicBezTo>
                      <a:cubicBezTo>
                        <a:pt x="7406" y="4727"/>
                        <a:pt x="7192" y="5406"/>
                        <a:pt x="6751" y="6013"/>
                      </a:cubicBezTo>
                      <a:lnTo>
                        <a:pt x="4013" y="10526"/>
                      </a:lnTo>
                      <a:lnTo>
                        <a:pt x="1239" y="5977"/>
                      </a:lnTo>
                      <a:cubicBezTo>
                        <a:pt x="834" y="5406"/>
                        <a:pt x="608" y="4727"/>
                        <a:pt x="608" y="4013"/>
                      </a:cubicBezTo>
                      <a:cubicBezTo>
                        <a:pt x="608" y="2144"/>
                        <a:pt x="2132" y="620"/>
                        <a:pt x="4013" y="620"/>
                      </a:cubicBezTo>
                      <a:close/>
                      <a:moveTo>
                        <a:pt x="7977" y="4584"/>
                      </a:moveTo>
                      <a:cubicBezTo>
                        <a:pt x="8704" y="5013"/>
                        <a:pt x="9156" y="5787"/>
                        <a:pt x="9156" y="6644"/>
                      </a:cubicBezTo>
                      <a:cubicBezTo>
                        <a:pt x="9156" y="7144"/>
                        <a:pt x="9001" y="7632"/>
                        <a:pt x="8704" y="8049"/>
                      </a:cubicBezTo>
                      <a:lnTo>
                        <a:pt x="6775" y="11216"/>
                      </a:lnTo>
                      <a:lnTo>
                        <a:pt x="5537" y="9192"/>
                      </a:lnTo>
                      <a:lnTo>
                        <a:pt x="6108" y="8252"/>
                      </a:lnTo>
                      <a:cubicBezTo>
                        <a:pt x="6311" y="8347"/>
                        <a:pt x="6537" y="8406"/>
                        <a:pt x="6775" y="8406"/>
                      </a:cubicBezTo>
                      <a:cubicBezTo>
                        <a:pt x="7668" y="8406"/>
                        <a:pt x="8394" y="7680"/>
                        <a:pt x="8394" y="6787"/>
                      </a:cubicBezTo>
                      <a:cubicBezTo>
                        <a:pt x="8394" y="6275"/>
                        <a:pt x="8144" y="5799"/>
                        <a:pt x="7739" y="5489"/>
                      </a:cubicBezTo>
                      <a:cubicBezTo>
                        <a:pt x="7858" y="5204"/>
                        <a:pt x="7930" y="4894"/>
                        <a:pt x="7977" y="4584"/>
                      </a:cubicBezTo>
                      <a:close/>
                      <a:moveTo>
                        <a:pt x="4013" y="1"/>
                      </a:moveTo>
                      <a:cubicBezTo>
                        <a:pt x="1798" y="1"/>
                        <a:pt x="0" y="1798"/>
                        <a:pt x="0" y="4013"/>
                      </a:cubicBezTo>
                      <a:cubicBezTo>
                        <a:pt x="0" y="4858"/>
                        <a:pt x="262" y="5656"/>
                        <a:pt x="738" y="6323"/>
                      </a:cubicBezTo>
                      <a:lnTo>
                        <a:pt x="4013" y="11704"/>
                      </a:lnTo>
                      <a:lnTo>
                        <a:pt x="5180" y="9776"/>
                      </a:lnTo>
                      <a:lnTo>
                        <a:pt x="6775" y="12395"/>
                      </a:lnTo>
                      <a:lnTo>
                        <a:pt x="9216" y="8394"/>
                      </a:lnTo>
                      <a:cubicBezTo>
                        <a:pt x="9585" y="7882"/>
                        <a:pt x="9775" y="7275"/>
                        <a:pt x="9775" y="6644"/>
                      </a:cubicBezTo>
                      <a:cubicBezTo>
                        <a:pt x="9775" y="5466"/>
                        <a:pt x="9085" y="4406"/>
                        <a:pt x="8013" y="3918"/>
                      </a:cubicBezTo>
                      <a:cubicBezTo>
                        <a:pt x="7966" y="1751"/>
                        <a:pt x="6192" y="1"/>
                        <a:pt x="4013" y="1"/>
                      </a:cubicBezTo>
                      <a:close/>
                    </a:path>
                  </a:pathLst>
                </a:custGeom>
                <a:solidFill>
                  <a:srgbClr val="FFFFFF"/>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grpSp>
          <p:sp>
            <p:nvSpPr>
              <p:cNvPr id="11" name="Google Shape;1608;p41">
                <a:extLst>
                  <a:ext uri="{FF2B5EF4-FFF2-40B4-BE49-F238E27FC236}">
                    <a16:creationId xmlns:a16="http://schemas.microsoft.com/office/drawing/2014/main" id="{5AE3ED5C-276A-4AD2-B797-869E8A2DF9E0}"/>
                  </a:ext>
                </a:extLst>
              </p:cNvPr>
              <p:cNvSpPr txBox="1"/>
              <p:nvPr/>
            </p:nvSpPr>
            <p:spPr>
              <a:xfrm>
                <a:off x="3975125" y="2869438"/>
                <a:ext cx="964200" cy="597300"/>
              </a:xfrm>
              <a:prstGeom prst="rect">
                <a:avLst/>
              </a:prstGeom>
              <a:noFill/>
              <a:ln>
                <a:noFill/>
              </a:ln>
            </p:spPr>
            <p:txBody>
              <a:bodyPr spcFirstLastPara="1" wrap="square" lIns="121900" tIns="121900" rIns="121900" bIns="1219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1600" b="0" i="0" u="none" strike="noStrike" kern="1200" cap="none" spc="0" normalizeH="0" baseline="0" noProof="0">
                    <a:ln>
                      <a:noFill/>
                    </a:ln>
                    <a:solidFill>
                      <a:srgbClr val="434343"/>
                    </a:solidFill>
                    <a:effectLst/>
                    <a:uLnTx/>
                    <a:uFillTx/>
                    <a:latin typeface="Arial"/>
                    <a:ea typeface="+mn-ea"/>
                    <a:cs typeface="+mn-ea"/>
                    <a:sym typeface="+mn-lt"/>
                  </a:rPr>
                  <a:t>Saturn is ringed</a:t>
                </a:r>
                <a:endParaRPr kumimoji="0" sz="1600" b="0" i="0" u="none" strike="noStrike" kern="1200" cap="none" spc="0" normalizeH="0" baseline="0" noProof="0">
                  <a:ln>
                    <a:noFill/>
                  </a:ln>
                  <a:solidFill>
                    <a:srgbClr val="434343"/>
                  </a:solidFill>
                  <a:effectLst/>
                  <a:uLnTx/>
                  <a:uFillTx/>
                  <a:latin typeface="Arial"/>
                  <a:ea typeface="+mn-ea"/>
                  <a:cs typeface="+mn-ea"/>
                  <a:sym typeface="+mn-lt"/>
                </a:endParaRPr>
              </a:p>
            </p:txBody>
          </p:sp>
        </p:grpSp>
      </p:grpSp>
      <p:grpSp>
        <p:nvGrpSpPr>
          <p:cNvPr id="14" name="Google Shape;1609;p41">
            <a:extLst>
              <a:ext uri="{FF2B5EF4-FFF2-40B4-BE49-F238E27FC236}">
                <a16:creationId xmlns:a16="http://schemas.microsoft.com/office/drawing/2014/main" id="{26CA115F-2321-48A3-8901-1FF401EE8849}"/>
              </a:ext>
            </a:extLst>
          </p:cNvPr>
          <p:cNvGrpSpPr/>
          <p:nvPr/>
        </p:nvGrpSpPr>
        <p:grpSpPr>
          <a:xfrm>
            <a:off x="1953034" y="3338279"/>
            <a:ext cx="2710884" cy="1546545"/>
            <a:chOff x="1464775" y="2775171"/>
            <a:chExt cx="2033163" cy="1159909"/>
          </a:xfrm>
        </p:grpSpPr>
        <p:grpSp>
          <p:nvGrpSpPr>
            <p:cNvPr id="15" name="Google Shape;1610;p41">
              <a:extLst>
                <a:ext uri="{FF2B5EF4-FFF2-40B4-BE49-F238E27FC236}">
                  <a16:creationId xmlns:a16="http://schemas.microsoft.com/office/drawing/2014/main" id="{9B957F59-0C33-429F-A3A3-C61C10437E3D}"/>
                </a:ext>
              </a:extLst>
            </p:cNvPr>
            <p:cNvGrpSpPr/>
            <p:nvPr/>
          </p:nvGrpSpPr>
          <p:grpSpPr>
            <a:xfrm>
              <a:off x="1464775" y="2775171"/>
              <a:ext cx="2033163" cy="1159909"/>
              <a:chOff x="1464775" y="2775171"/>
              <a:chExt cx="2033163" cy="1159909"/>
            </a:xfrm>
          </p:grpSpPr>
          <p:sp>
            <p:nvSpPr>
              <p:cNvPr id="17" name="Google Shape;1611;p41">
                <a:extLst>
                  <a:ext uri="{FF2B5EF4-FFF2-40B4-BE49-F238E27FC236}">
                    <a16:creationId xmlns:a16="http://schemas.microsoft.com/office/drawing/2014/main" id="{B392AB62-C403-4E7D-BAAE-737AA3C9E978}"/>
                  </a:ext>
                </a:extLst>
              </p:cNvPr>
              <p:cNvSpPr/>
              <p:nvPr/>
            </p:nvSpPr>
            <p:spPr>
              <a:xfrm>
                <a:off x="1464775" y="2775171"/>
                <a:ext cx="2033163" cy="1159896"/>
              </a:xfrm>
              <a:custGeom>
                <a:avLst/>
                <a:gdLst/>
                <a:ahLst/>
                <a:cxnLst/>
                <a:rect l="l" t="t" r="r" b="b"/>
                <a:pathLst>
                  <a:path w="60937" h="45304" extrusionOk="0">
                    <a:moveTo>
                      <a:pt x="26314" y="1"/>
                    </a:moveTo>
                    <a:lnTo>
                      <a:pt x="1" y="45304"/>
                    </a:lnTo>
                    <a:lnTo>
                      <a:pt x="34624" y="45304"/>
                    </a:lnTo>
                    <a:lnTo>
                      <a:pt x="60937" y="1"/>
                    </a:lnTo>
                    <a:close/>
                  </a:path>
                </a:pathLst>
              </a:custGeom>
              <a:solidFill>
                <a:srgbClr val="F2F2F2"/>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18" name="Google Shape;1612;p41">
                <a:extLst>
                  <a:ext uri="{FF2B5EF4-FFF2-40B4-BE49-F238E27FC236}">
                    <a16:creationId xmlns:a16="http://schemas.microsoft.com/office/drawing/2014/main" id="{1EE0D821-924C-44DF-A624-AB88D4CC1C07}"/>
                  </a:ext>
                </a:extLst>
              </p:cNvPr>
              <p:cNvSpPr/>
              <p:nvPr/>
            </p:nvSpPr>
            <p:spPr>
              <a:xfrm>
                <a:off x="1464775" y="3464097"/>
                <a:ext cx="1509599" cy="470984"/>
              </a:xfrm>
              <a:custGeom>
                <a:avLst/>
                <a:gdLst/>
                <a:ahLst/>
                <a:cxnLst/>
                <a:rect l="l" t="t" r="r" b="b"/>
                <a:pathLst>
                  <a:path w="45245" h="18396" extrusionOk="0">
                    <a:moveTo>
                      <a:pt x="10621" y="1"/>
                    </a:moveTo>
                    <a:lnTo>
                      <a:pt x="1" y="18396"/>
                    </a:lnTo>
                    <a:lnTo>
                      <a:pt x="34624" y="18396"/>
                    </a:lnTo>
                    <a:lnTo>
                      <a:pt x="45245" y="1"/>
                    </a:ln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grpSp>
            <p:nvGrpSpPr>
              <p:cNvPr id="19" name="Google Shape;1613;p41">
                <a:extLst>
                  <a:ext uri="{FF2B5EF4-FFF2-40B4-BE49-F238E27FC236}">
                    <a16:creationId xmlns:a16="http://schemas.microsoft.com/office/drawing/2014/main" id="{BE8FB571-5B2A-4B12-9596-F0B1C112C721}"/>
                  </a:ext>
                </a:extLst>
              </p:cNvPr>
              <p:cNvGrpSpPr/>
              <p:nvPr/>
            </p:nvGrpSpPr>
            <p:grpSpPr>
              <a:xfrm>
                <a:off x="2028273" y="3540003"/>
                <a:ext cx="382604" cy="306975"/>
                <a:chOff x="3365353" y="3540003"/>
                <a:chExt cx="382604" cy="306975"/>
              </a:xfrm>
            </p:grpSpPr>
            <p:sp>
              <p:nvSpPr>
                <p:cNvPr id="20" name="Google Shape;1614;p41">
                  <a:extLst>
                    <a:ext uri="{FF2B5EF4-FFF2-40B4-BE49-F238E27FC236}">
                      <a16:creationId xmlns:a16="http://schemas.microsoft.com/office/drawing/2014/main" id="{6365E37E-D201-4799-892F-283CA1A38E4D}"/>
                    </a:ext>
                  </a:extLst>
                </p:cNvPr>
                <p:cNvSpPr/>
                <p:nvPr/>
              </p:nvSpPr>
              <p:spPr>
                <a:xfrm>
                  <a:off x="3440652" y="3594562"/>
                  <a:ext cx="238718" cy="252415"/>
                </a:xfrm>
                <a:custGeom>
                  <a:avLst/>
                  <a:gdLst/>
                  <a:ahLst/>
                  <a:cxnLst/>
                  <a:rect l="l" t="t" r="r" b="b"/>
                  <a:pathLst>
                    <a:path w="9324" h="9859" extrusionOk="0">
                      <a:moveTo>
                        <a:pt x="4668" y="953"/>
                      </a:moveTo>
                      <a:lnTo>
                        <a:pt x="8668" y="5132"/>
                      </a:lnTo>
                      <a:lnTo>
                        <a:pt x="8668" y="9204"/>
                      </a:lnTo>
                      <a:lnTo>
                        <a:pt x="6120" y="9204"/>
                      </a:lnTo>
                      <a:lnTo>
                        <a:pt x="6120" y="6918"/>
                      </a:lnTo>
                      <a:lnTo>
                        <a:pt x="3215" y="6918"/>
                      </a:lnTo>
                      <a:lnTo>
                        <a:pt x="3215" y="9204"/>
                      </a:lnTo>
                      <a:lnTo>
                        <a:pt x="655" y="9204"/>
                      </a:lnTo>
                      <a:lnTo>
                        <a:pt x="655" y="5132"/>
                      </a:lnTo>
                      <a:lnTo>
                        <a:pt x="4668" y="953"/>
                      </a:lnTo>
                      <a:close/>
                      <a:moveTo>
                        <a:pt x="4668" y="1"/>
                      </a:moveTo>
                      <a:lnTo>
                        <a:pt x="1" y="4870"/>
                      </a:lnTo>
                      <a:lnTo>
                        <a:pt x="1" y="9859"/>
                      </a:lnTo>
                      <a:lnTo>
                        <a:pt x="3870" y="9859"/>
                      </a:lnTo>
                      <a:lnTo>
                        <a:pt x="3870" y="7573"/>
                      </a:lnTo>
                      <a:lnTo>
                        <a:pt x="5454" y="7573"/>
                      </a:lnTo>
                      <a:lnTo>
                        <a:pt x="5454" y="9859"/>
                      </a:lnTo>
                      <a:lnTo>
                        <a:pt x="9323" y="9859"/>
                      </a:lnTo>
                      <a:lnTo>
                        <a:pt x="9323" y="4870"/>
                      </a:lnTo>
                      <a:lnTo>
                        <a:pt x="4668" y="1"/>
                      </a:lnTo>
                      <a:close/>
                    </a:path>
                  </a:pathLst>
                </a:custGeom>
                <a:solidFill>
                  <a:srgbClr val="FFFFFF"/>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21" name="Google Shape;1615;p41">
                  <a:extLst>
                    <a:ext uri="{FF2B5EF4-FFF2-40B4-BE49-F238E27FC236}">
                      <a16:creationId xmlns:a16="http://schemas.microsoft.com/office/drawing/2014/main" id="{67E95C06-90EE-42FA-B549-079C6BF97554}"/>
                    </a:ext>
                  </a:extLst>
                </p:cNvPr>
                <p:cNvSpPr/>
                <p:nvPr/>
              </p:nvSpPr>
              <p:spPr>
                <a:xfrm>
                  <a:off x="3365353" y="3540003"/>
                  <a:ext cx="382604" cy="215547"/>
                </a:xfrm>
                <a:custGeom>
                  <a:avLst/>
                  <a:gdLst/>
                  <a:ahLst/>
                  <a:cxnLst/>
                  <a:rect l="l" t="t" r="r" b="b"/>
                  <a:pathLst>
                    <a:path w="14944" h="8419" extrusionOk="0">
                      <a:moveTo>
                        <a:pt x="7609" y="0"/>
                      </a:moveTo>
                      <a:lnTo>
                        <a:pt x="1" y="7966"/>
                      </a:lnTo>
                      <a:lnTo>
                        <a:pt x="477" y="8418"/>
                      </a:lnTo>
                      <a:lnTo>
                        <a:pt x="7597" y="965"/>
                      </a:lnTo>
                      <a:lnTo>
                        <a:pt x="14455" y="8418"/>
                      </a:lnTo>
                      <a:lnTo>
                        <a:pt x="14943" y="7966"/>
                      </a:lnTo>
                      <a:lnTo>
                        <a:pt x="7609" y="0"/>
                      </a:lnTo>
                      <a:close/>
                    </a:path>
                  </a:pathLst>
                </a:custGeom>
                <a:solidFill>
                  <a:srgbClr val="FFFFFF"/>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grpSp>
        </p:grpSp>
        <p:sp>
          <p:nvSpPr>
            <p:cNvPr id="16" name="Google Shape;1616;p41">
              <a:extLst>
                <a:ext uri="{FF2B5EF4-FFF2-40B4-BE49-F238E27FC236}">
                  <a16:creationId xmlns:a16="http://schemas.microsoft.com/office/drawing/2014/main" id="{17FDF43B-911A-40DC-8E94-A8AAB3CA7A11}"/>
                </a:ext>
              </a:extLst>
            </p:cNvPr>
            <p:cNvSpPr txBox="1"/>
            <p:nvPr/>
          </p:nvSpPr>
          <p:spPr>
            <a:xfrm>
              <a:off x="2223938" y="2810175"/>
              <a:ext cx="964200" cy="597300"/>
            </a:xfrm>
            <a:prstGeom prst="rect">
              <a:avLst/>
            </a:prstGeom>
            <a:noFill/>
            <a:ln>
              <a:noFill/>
            </a:ln>
          </p:spPr>
          <p:txBody>
            <a:bodyPr spcFirstLastPara="1" wrap="square" lIns="121900" tIns="121900" rIns="121900" bIns="1219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1600" b="0" i="0" u="none" strike="noStrike" kern="1200" cap="none" spc="0" normalizeH="0" baseline="0" noProof="0">
                  <a:ln>
                    <a:noFill/>
                  </a:ln>
                  <a:solidFill>
                    <a:srgbClr val="434343"/>
                  </a:solidFill>
                  <a:effectLst/>
                  <a:uLnTx/>
                  <a:uFillTx/>
                  <a:latin typeface="Arial"/>
                  <a:ea typeface="+mn-ea"/>
                  <a:cs typeface="+mn-ea"/>
                  <a:sym typeface="+mn-lt"/>
                </a:rPr>
                <a:t>Jupiter is a gas giant</a:t>
              </a:r>
              <a:endParaRPr kumimoji="0" sz="1600" b="0" i="0" u="none" strike="noStrike" kern="1200" cap="none" spc="0" normalizeH="0" baseline="0" noProof="0">
                <a:ln>
                  <a:noFill/>
                </a:ln>
                <a:solidFill>
                  <a:srgbClr val="434343"/>
                </a:solidFill>
                <a:effectLst/>
                <a:uLnTx/>
                <a:uFillTx/>
                <a:latin typeface="Arial"/>
                <a:ea typeface="+mn-ea"/>
                <a:cs typeface="+mn-ea"/>
                <a:sym typeface="+mn-lt"/>
              </a:endParaRPr>
            </a:p>
          </p:txBody>
        </p:sp>
      </p:grpSp>
      <p:grpSp>
        <p:nvGrpSpPr>
          <p:cNvPr id="22" name="Google Shape;1617;p41">
            <a:extLst>
              <a:ext uri="{FF2B5EF4-FFF2-40B4-BE49-F238E27FC236}">
                <a16:creationId xmlns:a16="http://schemas.microsoft.com/office/drawing/2014/main" id="{03D98F84-54C8-43E5-A12A-EB3CF5E3D64B}"/>
              </a:ext>
            </a:extLst>
          </p:cNvPr>
          <p:cNvGrpSpPr/>
          <p:nvPr/>
        </p:nvGrpSpPr>
        <p:grpSpPr>
          <a:xfrm>
            <a:off x="4200565" y="1545044"/>
            <a:ext cx="2860804" cy="1731445"/>
            <a:chOff x="3150423" y="1430245"/>
            <a:chExt cx="2145603" cy="1298584"/>
          </a:xfrm>
        </p:grpSpPr>
        <p:sp>
          <p:nvSpPr>
            <p:cNvPr id="23" name="Google Shape;1618;p41">
              <a:extLst>
                <a:ext uri="{FF2B5EF4-FFF2-40B4-BE49-F238E27FC236}">
                  <a16:creationId xmlns:a16="http://schemas.microsoft.com/office/drawing/2014/main" id="{D1B13351-F8FD-4444-97B1-7C907E9229B3}"/>
                </a:ext>
              </a:extLst>
            </p:cNvPr>
            <p:cNvSpPr/>
            <p:nvPr/>
          </p:nvSpPr>
          <p:spPr>
            <a:xfrm>
              <a:off x="3150423" y="1430245"/>
              <a:ext cx="2145603" cy="1298584"/>
            </a:xfrm>
            <a:custGeom>
              <a:avLst/>
              <a:gdLst/>
              <a:ahLst/>
              <a:cxnLst/>
              <a:rect l="l" t="t" r="r" b="b"/>
              <a:pathLst>
                <a:path w="64307" h="50721" extrusionOk="0">
                  <a:moveTo>
                    <a:pt x="1" y="0"/>
                  </a:moveTo>
                  <a:lnTo>
                    <a:pt x="29671" y="50721"/>
                  </a:lnTo>
                  <a:lnTo>
                    <a:pt x="64307" y="50721"/>
                  </a:lnTo>
                  <a:lnTo>
                    <a:pt x="34636" y="0"/>
                  </a:lnTo>
                  <a:close/>
                </a:path>
              </a:pathLst>
            </a:custGeom>
            <a:solidFill>
              <a:srgbClr val="F2F2F2"/>
            </a:solidFill>
            <a:ln>
              <a:noFill/>
            </a:ln>
          </p:spPr>
          <p:txBody>
            <a:bodyPr spcFirstLastPara="1" wrap="square" lIns="853433" tIns="121900" rIns="853433" bIns="121900" anchor="b"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Tx/>
                <a:buNone/>
                <a:tabLst/>
                <a:defRPr/>
              </a:pPr>
              <a:endParaRPr kumimoji="0" sz="1600" b="0" i="0" u="none" strike="noStrike" kern="1200" cap="none" spc="0" normalizeH="0" baseline="0" noProof="0">
                <a:ln>
                  <a:noFill/>
                </a:ln>
                <a:solidFill>
                  <a:srgbClr val="434343"/>
                </a:solidFill>
                <a:effectLst/>
                <a:uLnTx/>
                <a:uFillTx/>
                <a:latin typeface="Arial"/>
                <a:ea typeface="+mn-ea"/>
                <a:cs typeface="+mn-ea"/>
                <a:sym typeface="+mn-lt"/>
              </a:endParaRPr>
            </a:p>
          </p:txBody>
        </p:sp>
        <p:sp>
          <p:nvSpPr>
            <p:cNvPr id="24" name="Google Shape;1619;p41">
              <a:extLst>
                <a:ext uri="{FF2B5EF4-FFF2-40B4-BE49-F238E27FC236}">
                  <a16:creationId xmlns:a16="http://schemas.microsoft.com/office/drawing/2014/main" id="{681C2160-463F-4755-97BF-FFEAFD0706A7}"/>
                </a:ext>
              </a:extLst>
            </p:cNvPr>
            <p:cNvSpPr/>
            <p:nvPr/>
          </p:nvSpPr>
          <p:spPr>
            <a:xfrm>
              <a:off x="3150423" y="1430245"/>
              <a:ext cx="1510000" cy="470984"/>
            </a:xfrm>
            <a:custGeom>
              <a:avLst/>
              <a:gdLst/>
              <a:ahLst/>
              <a:cxnLst/>
              <a:rect l="l" t="t" r="r" b="b"/>
              <a:pathLst>
                <a:path w="45257" h="18396" extrusionOk="0">
                  <a:moveTo>
                    <a:pt x="1" y="0"/>
                  </a:moveTo>
                  <a:lnTo>
                    <a:pt x="10621" y="18396"/>
                  </a:lnTo>
                  <a:lnTo>
                    <a:pt x="45257" y="18396"/>
                  </a:lnTo>
                  <a:lnTo>
                    <a:pt x="34636" y="0"/>
                  </a:lnTo>
                  <a:close/>
                </a:path>
              </a:pathLst>
            </a:custGeom>
            <a:solidFill>
              <a:schemeClr val="accent1"/>
            </a:solidFill>
            <a:ln>
              <a:noFill/>
            </a:ln>
          </p:spPr>
          <p:txBody>
            <a:bodyPr spcFirstLastPara="1" wrap="square" lIns="121900" tIns="121900" rIns="121900" bIns="1219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Tx/>
                <a:buNone/>
                <a:tabLst/>
                <a:defRPr/>
              </a:pPr>
              <a:r>
                <a:rPr kumimoji="0" lang="en" sz="2267" b="0" i="0" u="none" strike="noStrike" kern="1200" cap="none" spc="0" normalizeH="0" baseline="0" noProof="0">
                  <a:ln>
                    <a:noFill/>
                  </a:ln>
                  <a:solidFill>
                    <a:srgbClr val="FFFFFF"/>
                  </a:solidFill>
                  <a:effectLst/>
                  <a:uLnTx/>
                  <a:uFillTx/>
                  <a:latin typeface="Arial"/>
                  <a:ea typeface="+mn-ea"/>
                  <a:cs typeface="+mn-ea"/>
                  <a:sym typeface="+mn-lt"/>
                </a:rPr>
                <a:t>Earth</a:t>
              </a: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25" name="Google Shape;1620;p41">
              <a:extLst>
                <a:ext uri="{FF2B5EF4-FFF2-40B4-BE49-F238E27FC236}">
                  <a16:creationId xmlns:a16="http://schemas.microsoft.com/office/drawing/2014/main" id="{F2DEBB97-8B96-41AE-8474-F924B7F06B3F}"/>
                </a:ext>
              </a:extLst>
            </p:cNvPr>
            <p:cNvSpPr txBox="1"/>
            <p:nvPr/>
          </p:nvSpPr>
          <p:spPr>
            <a:xfrm>
              <a:off x="3975125" y="2039538"/>
              <a:ext cx="964200" cy="597300"/>
            </a:xfrm>
            <a:prstGeom prst="rect">
              <a:avLst/>
            </a:prstGeom>
            <a:noFill/>
            <a:ln>
              <a:noFill/>
            </a:ln>
          </p:spPr>
          <p:txBody>
            <a:bodyPr spcFirstLastPara="1" wrap="square" lIns="121900" tIns="121900" rIns="121900" bIns="1219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1600" b="0" i="0" u="none" strike="noStrike" kern="1200" cap="none" spc="0" normalizeH="0" baseline="0" noProof="0">
                  <a:ln>
                    <a:noFill/>
                  </a:ln>
                  <a:solidFill>
                    <a:srgbClr val="434343"/>
                  </a:solidFill>
                  <a:effectLst/>
                  <a:uLnTx/>
                  <a:uFillTx/>
                  <a:latin typeface="Arial"/>
                  <a:ea typeface="+mn-ea"/>
                  <a:cs typeface="+mn-ea"/>
                  <a:sym typeface="+mn-lt"/>
                </a:rPr>
                <a:t>Earth harbors life</a:t>
              </a:r>
              <a:endParaRPr kumimoji="0" sz="1600" b="0" i="0" u="none" strike="noStrike" kern="1200" cap="none" spc="0" normalizeH="0" baseline="0" noProof="0">
                <a:ln>
                  <a:noFill/>
                </a:ln>
                <a:solidFill>
                  <a:srgbClr val="434343"/>
                </a:solidFill>
                <a:effectLst/>
                <a:uLnTx/>
                <a:uFillTx/>
                <a:latin typeface="Arial"/>
                <a:ea typeface="+mn-ea"/>
                <a:cs typeface="+mn-ea"/>
                <a:sym typeface="+mn-lt"/>
              </a:endParaRPr>
            </a:p>
          </p:txBody>
        </p:sp>
      </p:grpSp>
      <p:grpSp>
        <p:nvGrpSpPr>
          <p:cNvPr id="26" name="Google Shape;1621;p41">
            <a:extLst>
              <a:ext uri="{FF2B5EF4-FFF2-40B4-BE49-F238E27FC236}">
                <a16:creationId xmlns:a16="http://schemas.microsoft.com/office/drawing/2014/main" id="{CA9B9583-5816-43D5-8708-DB748C99B7C2}"/>
              </a:ext>
            </a:extLst>
          </p:cNvPr>
          <p:cNvGrpSpPr/>
          <p:nvPr/>
        </p:nvGrpSpPr>
        <p:grpSpPr>
          <a:xfrm>
            <a:off x="6510632" y="3338278"/>
            <a:ext cx="2959832" cy="1877405"/>
            <a:chOff x="4882974" y="2775171"/>
            <a:chExt cx="2219874" cy="1408054"/>
          </a:xfrm>
        </p:grpSpPr>
        <p:sp>
          <p:nvSpPr>
            <p:cNvPr id="27" name="Google Shape;1622;p41">
              <a:extLst>
                <a:ext uri="{FF2B5EF4-FFF2-40B4-BE49-F238E27FC236}">
                  <a16:creationId xmlns:a16="http://schemas.microsoft.com/office/drawing/2014/main" id="{4AA6A967-F156-44EF-8583-ADB76C291B34}"/>
                </a:ext>
              </a:extLst>
            </p:cNvPr>
            <p:cNvSpPr/>
            <p:nvPr/>
          </p:nvSpPr>
          <p:spPr>
            <a:xfrm>
              <a:off x="4882974" y="2775171"/>
              <a:ext cx="2219874" cy="1408035"/>
            </a:xfrm>
            <a:custGeom>
              <a:avLst/>
              <a:gdLst/>
              <a:ahLst/>
              <a:cxnLst/>
              <a:rect l="l" t="t" r="r" b="b"/>
              <a:pathLst>
                <a:path w="66533" h="54996" extrusionOk="0">
                  <a:moveTo>
                    <a:pt x="31897" y="1"/>
                  </a:moveTo>
                  <a:lnTo>
                    <a:pt x="0" y="54996"/>
                  </a:lnTo>
                  <a:lnTo>
                    <a:pt x="34624" y="54996"/>
                  </a:lnTo>
                  <a:lnTo>
                    <a:pt x="66532" y="1"/>
                  </a:lnTo>
                  <a:close/>
                </a:path>
              </a:pathLst>
            </a:custGeom>
            <a:solidFill>
              <a:srgbClr val="F2F2F2"/>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28" name="Google Shape;1623;p41">
              <a:extLst>
                <a:ext uri="{FF2B5EF4-FFF2-40B4-BE49-F238E27FC236}">
                  <a16:creationId xmlns:a16="http://schemas.microsoft.com/office/drawing/2014/main" id="{B3BBD516-B609-440F-86BB-A1575CB89FCE}"/>
                </a:ext>
              </a:extLst>
            </p:cNvPr>
            <p:cNvSpPr/>
            <p:nvPr/>
          </p:nvSpPr>
          <p:spPr>
            <a:xfrm>
              <a:off x="4882974" y="3712241"/>
              <a:ext cx="1509599" cy="470984"/>
            </a:xfrm>
            <a:custGeom>
              <a:avLst/>
              <a:gdLst/>
              <a:ahLst/>
              <a:cxnLst/>
              <a:rect l="l" t="t" r="r" b="b"/>
              <a:pathLst>
                <a:path w="45245" h="18396" extrusionOk="0">
                  <a:moveTo>
                    <a:pt x="10621" y="0"/>
                  </a:moveTo>
                  <a:lnTo>
                    <a:pt x="0" y="18396"/>
                  </a:lnTo>
                  <a:lnTo>
                    <a:pt x="34624" y="18396"/>
                  </a:lnTo>
                  <a:lnTo>
                    <a:pt x="45244" y="0"/>
                  </a:ln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grpSp>
          <p:nvGrpSpPr>
            <p:cNvPr id="29" name="Google Shape;1624;p41">
              <a:extLst>
                <a:ext uri="{FF2B5EF4-FFF2-40B4-BE49-F238E27FC236}">
                  <a16:creationId xmlns:a16="http://schemas.microsoft.com/office/drawing/2014/main" id="{9FB26D71-34F1-4A98-BF8E-EE1B8A839175}"/>
                </a:ext>
              </a:extLst>
            </p:cNvPr>
            <p:cNvGrpSpPr/>
            <p:nvPr/>
          </p:nvGrpSpPr>
          <p:grpSpPr>
            <a:xfrm>
              <a:off x="5472087" y="3779211"/>
              <a:ext cx="331373" cy="318034"/>
              <a:chOff x="5551028" y="3779211"/>
              <a:chExt cx="331373" cy="318034"/>
            </a:xfrm>
          </p:grpSpPr>
          <p:sp>
            <p:nvSpPr>
              <p:cNvPr id="31" name="Google Shape;1625;p41">
                <a:extLst>
                  <a:ext uri="{FF2B5EF4-FFF2-40B4-BE49-F238E27FC236}">
                    <a16:creationId xmlns:a16="http://schemas.microsoft.com/office/drawing/2014/main" id="{EC4BCE2F-84DE-4CD7-8ECA-ED90A5FB235C}"/>
                  </a:ext>
                </a:extLst>
              </p:cNvPr>
              <p:cNvSpPr/>
              <p:nvPr/>
            </p:nvSpPr>
            <p:spPr>
              <a:xfrm>
                <a:off x="5551028" y="3779211"/>
                <a:ext cx="331373" cy="318034"/>
              </a:xfrm>
              <a:custGeom>
                <a:avLst/>
                <a:gdLst/>
                <a:ahLst/>
                <a:cxnLst/>
                <a:rect l="l" t="t" r="r" b="b"/>
                <a:pathLst>
                  <a:path w="12943" h="12422" extrusionOk="0">
                    <a:moveTo>
                      <a:pt x="5845" y="608"/>
                    </a:moveTo>
                    <a:cubicBezTo>
                      <a:pt x="7055" y="608"/>
                      <a:pt x="8264" y="1069"/>
                      <a:pt x="9180" y="1992"/>
                    </a:cubicBezTo>
                    <a:cubicBezTo>
                      <a:pt x="11026" y="3826"/>
                      <a:pt x="11026" y="6826"/>
                      <a:pt x="9180" y="8660"/>
                    </a:cubicBezTo>
                    <a:cubicBezTo>
                      <a:pt x="8264" y="9582"/>
                      <a:pt x="7055" y="10044"/>
                      <a:pt x="5845" y="10044"/>
                    </a:cubicBezTo>
                    <a:cubicBezTo>
                      <a:pt x="4635" y="10044"/>
                      <a:pt x="3424" y="9582"/>
                      <a:pt x="2501" y="8660"/>
                    </a:cubicBezTo>
                    <a:cubicBezTo>
                      <a:pt x="667" y="6826"/>
                      <a:pt x="667" y="3826"/>
                      <a:pt x="2501" y="1992"/>
                    </a:cubicBezTo>
                    <a:cubicBezTo>
                      <a:pt x="3424" y="1069"/>
                      <a:pt x="4635" y="608"/>
                      <a:pt x="5845" y="608"/>
                    </a:cubicBezTo>
                    <a:close/>
                    <a:moveTo>
                      <a:pt x="5845" y="1"/>
                    </a:moveTo>
                    <a:cubicBezTo>
                      <a:pt x="4480" y="1"/>
                      <a:pt x="3114" y="522"/>
                      <a:pt x="2072" y="1564"/>
                    </a:cubicBezTo>
                    <a:cubicBezTo>
                      <a:pt x="1" y="3635"/>
                      <a:pt x="1" y="7017"/>
                      <a:pt x="2072" y="9088"/>
                    </a:cubicBezTo>
                    <a:cubicBezTo>
                      <a:pt x="3114" y="10130"/>
                      <a:pt x="4478" y="10648"/>
                      <a:pt x="5840" y="10648"/>
                    </a:cubicBezTo>
                    <a:cubicBezTo>
                      <a:pt x="7110" y="10648"/>
                      <a:pt x="8378" y="10198"/>
                      <a:pt x="9383" y="9303"/>
                    </a:cubicBezTo>
                    <a:lnTo>
                      <a:pt x="12514" y="12422"/>
                    </a:lnTo>
                    <a:lnTo>
                      <a:pt x="12943" y="11993"/>
                    </a:lnTo>
                    <a:lnTo>
                      <a:pt x="9811" y="8862"/>
                    </a:lnTo>
                    <a:cubicBezTo>
                      <a:pt x="11681" y="6778"/>
                      <a:pt x="11621" y="3564"/>
                      <a:pt x="9609" y="1564"/>
                    </a:cubicBezTo>
                    <a:cubicBezTo>
                      <a:pt x="8573" y="522"/>
                      <a:pt x="7210" y="1"/>
                      <a:pt x="5845" y="1"/>
                    </a:cubicBezTo>
                    <a:close/>
                  </a:path>
                </a:pathLst>
              </a:custGeom>
              <a:solidFill>
                <a:srgbClr val="FFFFFF"/>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32" name="Google Shape;1626;p41">
                <a:extLst>
                  <a:ext uri="{FF2B5EF4-FFF2-40B4-BE49-F238E27FC236}">
                    <a16:creationId xmlns:a16="http://schemas.microsoft.com/office/drawing/2014/main" id="{3BE9B87E-AF5A-4845-B584-88EFB7E7D8B4}"/>
                  </a:ext>
                </a:extLst>
              </p:cNvPr>
              <p:cNvSpPr/>
              <p:nvPr/>
            </p:nvSpPr>
            <p:spPr>
              <a:xfrm>
                <a:off x="5608635" y="3817410"/>
                <a:ext cx="181419" cy="90863"/>
              </a:xfrm>
              <a:custGeom>
                <a:avLst/>
                <a:gdLst/>
                <a:ahLst/>
                <a:cxnLst/>
                <a:rect l="l" t="t" r="r" b="b"/>
                <a:pathLst>
                  <a:path w="7086" h="3549" extrusionOk="0">
                    <a:moveTo>
                      <a:pt x="3549" y="0"/>
                    </a:moveTo>
                    <a:cubicBezTo>
                      <a:pt x="1596" y="0"/>
                      <a:pt x="1" y="1596"/>
                      <a:pt x="1" y="3548"/>
                    </a:cubicBezTo>
                    <a:lnTo>
                      <a:pt x="620" y="3548"/>
                    </a:lnTo>
                    <a:cubicBezTo>
                      <a:pt x="620" y="1929"/>
                      <a:pt x="1930" y="607"/>
                      <a:pt x="3549" y="607"/>
                    </a:cubicBezTo>
                    <a:cubicBezTo>
                      <a:pt x="5156" y="607"/>
                      <a:pt x="6478" y="1929"/>
                      <a:pt x="6478" y="3548"/>
                    </a:cubicBezTo>
                    <a:lnTo>
                      <a:pt x="7085" y="3548"/>
                    </a:lnTo>
                    <a:cubicBezTo>
                      <a:pt x="7085" y="1596"/>
                      <a:pt x="5490" y="0"/>
                      <a:pt x="3549" y="0"/>
                    </a:cubicBezTo>
                    <a:close/>
                  </a:path>
                </a:pathLst>
              </a:custGeom>
              <a:solidFill>
                <a:srgbClr val="FFFFFF"/>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grpSp>
        <p:sp>
          <p:nvSpPr>
            <p:cNvPr id="30" name="Google Shape;1627;p41">
              <a:extLst>
                <a:ext uri="{FF2B5EF4-FFF2-40B4-BE49-F238E27FC236}">
                  <a16:creationId xmlns:a16="http://schemas.microsoft.com/office/drawing/2014/main" id="{897A7305-1BD7-4A1E-9C90-95A7F0C42A54}"/>
                </a:ext>
              </a:extLst>
            </p:cNvPr>
            <p:cNvSpPr txBox="1"/>
            <p:nvPr/>
          </p:nvSpPr>
          <p:spPr>
            <a:xfrm>
              <a:off x="5683650" y="2982150"/>
              <a:ext cx="964200" cy="597300"/>
            </a:xfrm>
            <a:prstGeom prst="rect">
              <a:avLst/>
            </a:prstGeom>
            <a:noFill/>
            <a:ln>
              <a:noFill/>
            </a:ln>
          </p:spPr>
          <p:txBody>
            <a:bodyPr spcFirstLastPara="1" wrap="square" lIns="121900" tIns="121900" rIns="121900" bIns="1219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1600" b="0" i="0" u="none" strike="noStrike" kern="1200" cap="none" spc="0" normalizeH="0" baseline="0" noProof="0">
                  <a:ln>
                    <a:noFill/>
                  </a:ln>
                  <a:solidFill>
                    <a:srgbClr val="434343"/>
                  </a:solidFill>
                  <a:effectLst/>
                  <a:uLnTx/>
                  <a:uFillTx/>
                  <a:latin typeface="Arial"/>
                  <a:ea typeface="+mn-ea"/>
                  <a:cs typeface="+mn-ea"/>
                  <a:sym typeface="+mn-lt"/>
                </a:rPr>
                <a:t>Venus is terribly hot</a:t>
              </a:r>
              <a:endParaRPr kumimoji="0" sz="1600" b="0" i="0" u="none" strike="noStrike" kern="1200" cap="none" spc="0" normalizeH="0" baseline="0" noProof="0">
                <a:ln>
                  <a:noFill/>
                </a:ln>
                <a:solidFill>
                  <a:srgbClr val="434343"/>
                </a:solidFill>
                <a:effectLst/>
                <a:uLnTx/>
                <a:uFillTx/>
                <a:latin typeface="Arial"/>
                <a:ea typeface="+mn-ea"/>
                <a:cs typeface="+mn-ea"/>
                <a:sym typeface="+mn-lt"/>
              </a:endParaRPr>
            </a:p>
          </p:txBody>
        </p:sp>
      </p:grpSp>
      <p:grpSp>
        <p:nvGrpSpPr>
          <p:cNvPr id="33" name="Google Shape;1628;p41">
            <a:extLst>
              <a:ext uri="{FF2B5EF4-FFF2-40B4-BE49-F238E27FC236}">
                <a16:creationId xmlns:a16="http://schemas.microsoft.com/office/drawing/2014/main" id="{D2DCE1E9-18E9-45DB-8454-A62EBDC133CE}"/>
              </a:ext>
            </a:extLst>
          </p:cNvPr>
          <p:cNvGrpSpPr/>
          <p:nvPr/>
        </p:nvGrpSpPr>
        <p:grpSpPr>
          <a:xfrm>
            <a:off x="6510632" y="1405217"/>
            <a:ext cx="2959832" cy="1871269"/>
            <a:chOff x="4882974" y="1325375"/>
            <a:chExt cx="2219874" cy="1403452"/>
          </a:xfrm>
        </p:grpSpPr>
        <p:sp>
          <p:nvSpPr>
            <p:cNvPr id="34" name="Google Shape;1629;p41">
              <a:extLst>
                <a:ext uri="{FF2B5EF4-FFF2-40B4-BE49-F238E27FC236}">
                  <a16:creationId xmlns:a16="http://schemas.microsoft.com/office/drawing/2014/main" id="{C75BB99C-B215-4171-95B8-9CCE27DC4575}"/>
                </a:ext>
              </a:extLst>
            </p:cNvPr>
            <p:cNvSpPr/>
            <p:nvPr/>
          </p:nvSpPr>
          <p:spPr>
            <a:xfrm>
              <a:off x="4882974" y="1325375"/>
              <a:ext cx="2219874" cy="1403452"/>
            </a:xfrm>
            <a:custGeom>
              <a:avLst/>
              <a:gdLst/>
              <a:ahLst/>
              <a:cxnLst/>
              <a:rect l="l" t="t" r="r" b="b"/>
              <a:pathLst>
                <a:path w="66533" h="54817" extrusionOk="0">
                  <a:moveTo>
                    <a:pt x="0" y="1"/>
                  </a:moveTo>
                  <a:lnTo>
                    <a:pt x="31897" y="54817"/>
                  </a:lnTo>
                  <a:lnTo>
                    <a:pt x="66532" y="54817"/>
                  </a:lnTo>
                  <a:lnTo>
                    <a:pt x="34624" y="1"/>
                  </a:lnTo>
                  <a:close/>
                </a:path>
              </a:pathLst>
            </a:custGeom>
            <a:solidFill>
              <a:srgbClr val="F2F2F2"/>
            </a:solidFill>
            <a:ln>
              <a:noFill/>
            </a:ln>
          </p:spPr>
          <p:txBody>
            <a:bodyPr spcFirstLastPara="1" wrap="square" lIns="853433" tIns="121900" rIns="853433" bIns="121900" anchor="b"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Tx/>
                <a:buNone/>
                <a:tabLst/>
                <a:defRPr/>
              </a:pPr>
              <a:endParaRPr kumimoji="0" sz="1600" b="0" i="0" u="none" strike="noStrike" kern="1200" cap="none" spc="0" normalizeH="0" baseline="0" noProof="0">
                <a:ln>
                  <a:noFill/>
                </a:ln>
                <a:solidFill>
                  <a:srgbClr val="434343"/>
                </a:solidFill>
                <a:effectLst/>
                <a:uLnTx/>
                <a:uFillTx/>
                <a:latin typeface="Arial"/>
                <a:ea typeface="+mn-ea"/>
                <a:cs typeface="+mn-ea"/>
                <a:sym typeface="+mn-lt"/>
              </a:endParaRPr>
            </a:p>
          </p:txBody>
        </p:sp>
        <p:sp>
          <p:nvSpPr>
            <p:cNvPr id="35" name="Google Shape;1630;p41">
              <a:extLst>
                <a:ext uri="{FF2B5EF4-FFF2-40B4-BE49-F238E27FC236}">
                  <a16:creationId xmlns:a16="http://schemas.microsoft.com/office/drawing/2014/main" id="{C81685AD-29CE-4FF5-AAE7-523D9038F39B}"/>
                </a:ext>
              </a:extLst>
            </p:cNvPr>
            <p:cNvSpPr/>
            <p:nvPr/>
          </p:nvSpPr>
          <p:spPr>
            <a:xfrm>
              <a:off x="4882974" y="1325375"/>
              <a:ext cx="1509599" cy="470676"/>
            </a:xfrm>
            <a:custGeom>
              <a:avLst/>
              <a:gdLst/>
              <a:ahLst/>
              <a:cxnLst/>
              <a:rect l="l" t="t" r="r" b="b"/>
              <a:pathLst>
                <a:path w="45245" h="18384" extrusionOk="0">
                  <a:moveTo>
                    <a:pt x="0" y="1"/>
                  </a:moveTo>
                  <a:lnTo>
                    <a:pt x="10621" y="18384"/>
                  </a:lnTo>
                  <a:lnTo>
                    <a:pt x="45244" y="18384"/>
                  </a:lnTo>
                  <a:lnTo>
                    <a:pt x="34624" y="1"/>
                  </a:lnTo>
                  <a:close/>
                </a:path>
              </a:pathLst>
            </a:custGeom>
            <a:solidFill>
              <a:schemeClr val="accent1"/>
            </a:solidFill>
            <a:ln>
              <a:noFill/>
            </a:ln>
          </p:spPr>
          <p:txBody>
            <a:bodyPr spcFirstLastPara="1" wrap="square" lIns="121900" tIns="121900" rIns="121900" bIns="1219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Tx/>
                <a:buNone/>
                <a:tabLst/>
                <a:defRPr/>
              </a:pPr>
              <a:r>
                <a:rPr kumimoji="0" lang="en" sz="2267" b="0" i="0" u="none" strike="noStrike" kern="1200" cap="none" spc="0" normalizeH="0" baseline="0" noProof="0">
                  <a:ln>
                    <a:noFill/>
                  </a:ln>
                  <a:solidFill>
                    <a:srgbClr val="FFFFFF"/>
                  </a:solidFill>
                  <a:effectLst/>
                  <a:uLnTx/>
                  <a:uFillTx/>
                  <a:latin typeface="Arial"/>
                  <a:ea typeface="+mn-ea"/>
                  <a:cs typeface="+mn-ea"/>
                  <a:sym typeface="+mn-lt"/>
                </a:rPr>
                <a:t>Mars</a:t>
              </a: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36" name="Google Shape;1631;p41">
              <a:extLst>
                <a:ext uri="{FF2B5EF4-FFF2-40B4-BE49-F238E27FC236}">
                  <a16:creationId xmlns:a16="http://schemas.microsoft.com/office/drawing/2014/main" id="{89569380-31EE-4163-9FFE-ED526073FCD6}"/>
                </a:ext>
              </a:extLst>
            </p:cNvPr>
            <p:cNvSpPr txBox="1"/>
            <p:nvPr/>
          </p:nvSpPr>
          <p:spPr>
            <a:xfrm>
              <a:off x="5683650" y="1927650"/>
              <a:ext cx="964200" cy="597300"/>
            </a:xfrm>
            <a:prstGeom prst="rect">
              <a:avLst/>
            </a:prstGeom>
            <a:noFill/>
            <a:ln>
              <a:noFill/>
            </a:ln>
          </p:spPr>
          <p:txBody>
            <a:bodyPr spcFirstLastPara="1" wrap="square" lIns="121900" tIns="121900" rIns="121900" bIns="1219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1600" b="0" i="0" u="none" strike="noStrike" kern="1200" cap="none" spc="0" normalizeH="0" baseline="0" noProof="0">
                  <a:ln>
                    <a:noFill/>
                  </a:ln>
                  <a:solidFill>
                    <a:srgbClr val="434343"/>
                  </a:solidFill>
                  <a:effectLst/>
                  <a:uLnTx/>
                  <a:uFillTx/>
                  <a:latin typeface="Arial"/>
                  <a:ea typeface="+mn-ea"/>
                  <a:cs typeface="+mn-ea"/>
                  <a:sym typeface="+mn-lt"/>
                </a:rPr>
                <a:t>Mars is a cold place</a:t>
              </a:r>
              <a:endParaRPr kumimoji="0" sz="1600" b="0" i="0" u="none" strike="noStrike" kern="1200" cap="none" spc="0" normalizeH="0" baseline="0" noProof="0">
                <a:ln>
                  <a:noFill/>
                </a:ln>
                <a:solidFill>
                  <a:srgbClr val="434343"/>
                </a:solidFill>
                <a:effectLst/>
                <a:uLnTx/>
                <a:uFillTx/>
                <a:latin typeface="Arial"/>
                <a:ea typeface="+mn-ea"/>
                <a:cs typeface="+mn-ea"/>
                <a:sym typeface="+mn-lt"/>
              </a:endParaRPr>
            </a:p>
          </p:txBody>
        </p:sp>
      </p:grpSp>
      <p:grpSp>
        <p:nvGrpSpPr>
          <p:cNvPr id="37" name="Google Shape;1632;p41">
            <a:extLst>
              <a:ext uri="{FF2B5EF4-FFF2-40B4-BE49-F238E27FC236}">
                <a16:creationId xmlns:a16="http://schemas.microsoft.com/office/drawing/2014/main" id="{43EC6D1E-C554-4EF0-A45E-61AEDA82726B}"/>
              </a:ext>
            </a:extLst>
          </p:cNvPr>
          <p:cNvGrpSpPr/>
          <p:nvPr/>
        </p:nvGrpSpPr>
        <p:grpSpPr>
          <a:xfrm>
            <a:off x="1139034" y="2654452"/>
            <a:ext cx="9913917" cy="1311655"/>
            <a:chOff x="854275" y="2262301"/>
            <a:chExt cx="7435438" cy="983741"/>
          </a:xfrm>
        </p:grpSpPr>
        <p:sp>
          <p:nvSpPr>
            <p:cNvPr id="38" name="Google Shape;1633;p41">
              <a:extLst>
                <a:ext uri="{FF2B5EF4-FFF2-40B4-BE49-F238E27FC236}">
                  <a16:creationId xmlns:a16="http://schemas.microsoft.com/office/drawing/2014/main" id="{F495577D-15D4-4EEE-808E-9B87AA1F1448}"/>
                </a:ext>
              </a:extLst>
            </p:cNvPr>
            <p:cNvSpPr/>
            <p:nvPr/>
          </p:nvSpPr>
          <p:spPr>
            <a:xfrm>
              <a:off x="854275" y="2408875"/>
              <a:ext cx="6479386" cy="686377"/>
            </a:xfrm>
            <a:custGeom>
              <a:avLst/>
              <a:gdLst/>
              <a:ahLst/>
              <a:cxnLst/>
              <a:rect l="l" t="t" r="r" b="b"/>
              <a:pathLst>
                <a:path w="226453" h="26809" extrusionOk="0">
                  <a:moveTo>
                    <a:pt x="1234" y="0"/>
                  </a:moveTo>
                  <a:cubicBezTo>
                    <a:pt x="307" y="0"/>
                    <a:pt x="1" y="1499"/>
                    <a:pt x="1043" y="1854"/>
                  </a:cubicBezTo>
                  <a:cubicBezTo>
                    <a:pt x="11509" y="5426"/>
                    <a:pt x="21974" y="8986"/>
                    <a:pt x="32440" y="12557"/>
                  </a:cubicBezTo>
                  <a:lnTo>
                    <a:pt x="15819" y="12557"/>
                  </a:lnTo>
                  <a:cubicBezTo>
                    <a:pt x="14581" y="12557"/>
                    <a:pt x="14581" y="14415"/>
                    <a:pt x="15819" y="14415"/>
                  </a:cubicBezTo>
                  <a:lnTo>
                    <a:pt x="32440" y="14415"/>
                  </a:lnTo>
                  <a:cubicBezTo>
                    <a:pt x="22141" y="17927"/>
                    <a:pt x="11842" y="21440"/>
                    <a:pt x="1543" y="24952"/>
                  </a:cubicBezTo>
                  <a:cubicBezTo>
                    <a:pt x="493" y="25306"/>
                    <a:pt x="794" y="26808"/>
                    <a:pt x="1716" y="26808"/>
                  </a:cubicBezTo>
                  <a:cubicBezTo>
                    <a:pt x="1818" y="26808"/>
                    <a:pt x="1927" y="26790"/>
                    <a:pt x="2043" y="26750"/>
                  </a:cubicBezTo>
                  <a:cubicBezTo>
                    <a:pt x="14104" y="22642"/>
                    <a:pt x="26165" y="18534"/>
                    <a:pt x="38215" y="14415"/>
                  </a:cubicBezTo>
                  <a:lnTo>
                    <a:pt x="226452" y="14415"/>
                  </a:lnTo>
                  <a:lnTo>
                    <a:pt x="226452" y="12557"/>
                  </a:lnTo>
                  <a:lnTo>
                    <a:pt x="38215" y="12557"/>
                  </a:lnTo>
                  <a:cubicBezTo>
                    <a:pt x="25999" y="8390"/>
                    <a:pt x="13783" y="4223"/>
                    <a:pt x="1555" y="56"/>
                  </a:cubicBezTo>
                  <a:cubicBezTo>
                    <a:pt x="1441" y="18"/>
                    <a:pt x="1334" y="0"/>
                    <a:pt x="1234" y="0"/>
                  </a:cubicBezTo>
                  <a:close/>
                </a:path>
              </a:pathLst>
            </a:custGeom>
            <a:solidFill>
              <a:srgbClr val="869FB2"/>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39" name="Google Shape;1634;p41">
              <a:extLst>
                <a:ext uri="{FF2B5EF4-FFF2-40B4-BE49-F238E27FC236}">
                  <a16:creationId xmlns:a16="http://schemas.microsoft.com/office/drawing/2014/main" id="{F9591E66-8E70-4FCA-AA87-339B07B4BDF7}"/>
                </a:ext>
              </a:extLst>
            </p:cNvPr>
            <p:cNvSpPr/>
            <p:nvPr/>
          </p:nvSpPr>
          <p:spPr>
            <a:xfrm>
              <a:off x="7333653" y="2262301"/>
              <a:ext cx="956061" cy="983741"/>
            </a:xfrm>
            <a:custGeom>
              <a:avLst/>
              <a:gdLst/>
              <a:ahLst/>
              <a:cxnLst/>
              <a:rect l="l" t="t" r="r" b="b"/>
              <a:pathLst>
                <a:path w="32053" h="32981" extrusionOk="0">
                  <a:moveTo>
                    <a:pt x="1" y="0"/>
                  </a:moveTo>
                  <a:lnTo>
                    <a:pt x="1" y="32980"/>
                  </a:lnTo>
                  <a:lnTo>
                    <a:pt x="32052" y="16490"/>
                  </a:lnTo>
                  <a:lnTo>
                    <a:pt x="1" y="0"/>
                  </a:lnTo>
                  <a:close/>
                </a:path>
              </a:pathLst>
            </a:custGeom>
            <a:solidFill>
              <a:srgbClr val="869FB2"/>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 sz="2267" b="0" i="0" u="none" strike="noStrike" kern="1200" cap="none" spc="0" normalizeH="0" baseline="0" noProof="0">
                  <a:ln>
                    <a:noFill/>
                  </a:ln>
                  <a:solidFill>
                    <a:srgbClr val="FFFFFF"/>
                  </a:solidFill>
                  <a:effectLst/>
                  <a:uLnTx/>
                  <a:uFillTx/>
                  <a:latin typeface="Arial"/>
                  <a:ea typeface="+mn-ea"/>
                  <a:cs typeface="+mn-ea"/>
                  <a:sym typeface="+mn-lt"/>
                </a:rPr>
                <a:t>Earth</a:t>
              </a:r>
              <a:endParaRPr kumimoji="0" sz="2489" b="0" i="0" u="none" strike="noStrike" kern="1200" cap="none" spc="0" normalizeH="0" baseline="0" noProof="0">
                <a:ln>
                  <a:noFill/>
                </a:ln>
                <a:solidFill>
                  <a:srgbClr val="FFFFFF"/>
                </a:solidFill>
                <a:effectLst/>
                <a:uLnTx/>
                <a:uFillTx/>
                <a:latin typeface="Arial"/>
                <a:ea typeface="+mn-ea"/>
                <a:cs typeface="+mn-ea"/>
                <a:sym typeface="+mn-lt"/>
              </a:endParaRPr>
            </a:p>
          </p:txBody>
        </p:sp>
      </p:grpSp>
    </p:spTree>
    <p:extLst>
      <p:ext uri="{BB962C8B-B14F-4D97-AF65-F5344CB8AC3E}">
        <p14:creationId xmlns:p14="http://schemas.microsoft.com/office/powerpoint/2010/main" val="2722221746"/>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7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oogle Shape;1639;p42">
            <a:extLst>
              <a:ext uri="{FF2B5EF4-FFF2-40B4-BE49-F238E27FC236}">
                <a16:creationId xmlns:a16="http://schemas.microsoft.com/office/drawing/2014/main" id="{C8A5AEA0-F9C0-40F5-869D-71E1D69E17B8}"/>
              </a:ext>
            </a:extLst>
          </p:cNvPr>
          <p:cNvGrpSpPr/>
          <p:nvPr/>
        </p:nvGrpSpPr>
        <p:grpSpPr>
          <a:xfrm>
            <a:off x="1246734" y="3059225"/>
            <a:ext cx="9677495" cy="844819"/>
            <a:chOff x="782650" y="2423006"/>
            <a:chExt cx="7258121" cy="633614"/>
          </a:xfrm>
        </p:grpSpPr>
        <p:sp>
          <p:nvSpPr>
            <p:cNvPr id="3" name="Google Shape;1640;p42">
              <a:extLst>
                <a:ext uri="{FF2B5EF4-FFF2-40B4-BE49-F238E27FC236}">
                  <a16:creationId xmlns:a16="http://schemas.microsoft.com/office/drawing/2014/main" id="{DC240EB8-4E7F-42B5-AD3A-2B43CE417FB8}"/>
                </a:ext>
              </a:extLst>
            </p:cNvPr>
            <p:cNvSpPr/>
            <p:nvPr/>
          </p:nvSpPr>
          <p:spPr>
            <a:xfrm>
              <a:off x="1303274" y="2729076"/>
              <a:ext cx="5765160" cy="21474"/>
            </a:xfrm>
            <a:custGeom>
              <a:avLst/>
              <a:gdLst/>
              <a:ahLst/>
              <a:cxnLst/>
              <a:rect l="l" t="t" r="r" b="b"/>
              <a:pathLst>
                <a:path w="214159" h="882" extrusionOk="0">
                  <a:moveTo>
                    <a:pt x="1" y="1"/>
                  </a:moveTo>
                  <a:lnTo>
                    <a:pt x="1" y="882"/>
                  </a:lnTo>
                  <a:lnTo>
                    <a:pt x="214159" y="882"/>
                  </a:lnTo>
                  <a:lnTo>
                    <a:pt x="214159" y="1"/>
                  </a:lnTo>
                  <a:close/>
                </a:path>
              </a:pathLst>
            </a:custGeom>
            <a:solidFill>
              <a:srgbClr val="869FB2"/>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grpSp>
          <p:nvGrpSpPr>
            <p:cNvPr id="4" name="Google Shape;1641;p42">
              <a:extLst>
                <a:ext uri="{FF2B5EF4-FFF2-40B4-BE49-F238E27FC236}">
                  <a16:creationId xmlns:a16="http://schemas.microsoft.com/office/drawing/2014/main" id="{5793DC9F-1FE1-4413-AE18-0EF24607DF55}"/>
                </a:ext>
              </a:extLst>
            </p:cNvPr>
            <p:cNvGrpSpPr/>
            <p:nvPr/>
          </p:nvGrpSpPr>
          <p:grpSpPr>
            <a:xfrm>
              <a:off x="782650" y="2423006"/>
              <a:ext cx="541495" cy="633614"/>
              <a:chOff x="782650" y="2423006"/>
              <a:chExt cx="541495" cy="633614"/>
            </a:xfrm>
          </p:grpSpPr>
          <p:sp>
            <p:nvSpPr>
              <p:cNvPr id="6" name="Google Shape;1642;p42">
                <a:extLst>
                  <a:ext uri="{FF2B5EF4-FFF2-40B4-BE49-F238E27FC236}">
                    <a16:creationId xmlns:a16="http://schemas.microsoft.com/office/drawing/2014/main" id="{01232E58-1D2D-4478-A710-6554BBDB2DB9}"/>
                  </a:ext>
                </a:extLst>
              </p:cNvPr>
              <p:cNvSpPr/>
              <p:nvPr/>
            </p:nvSpPr>
            <p:spPr>
              <a:xfrm>
                <a:off x="782650" y="2423006"/>
                <a:ext cx="541495" cy="338124"/>
              </a:xfrm>
              <a:custGeom>
                <a:avLst/>
                <a:gdLst/>
                <a:ahLst/>
                <a:cxnLst/>
                <a:rect l="l" t="t" r="r" b="b"/>
                <a:pathLst>
                  <a:path w="22254" h="13896" extrusionOk="0">
                    <a:moveTo>
                      <a:pt x="881" y="1"/>
                    </a:moveTo>
                    <a:cubicBezTo>
                      <a:pt x="393" y="1"/>
                      <a:pt x="0" y="394"/>
                      <a:pt x="0" y="882"/>
                    </a:cubicBezTo>
                    <a:cubicBezTo>
                      <a:pt x="0" y="1358"/>
                      <a:pt x="393" y="1751"/>
                      <a:pt x="881" y="1751"/>
                    </a:cubicBezTo>
                    <a:lnTo>
                      <a:pt x="12704" y="1751"/>
                    </a:lnTo>
                    <a:lnTo>
                      <a:pt x="20527" y="13503"/>
                    </a:lnTo>
                    <a:cubicBezTo>
                      <a:pt x="20693" y="13765"/>
                      <a:pt x="20967" y="13896"/>
                      <a:pt x="21253" y="13896"/>
                    </a:cubicBezTo>
                    <a:cubicBezTo>
                      <a:pt x="21420" y="13896"/>
                      <a:pt x="21598" y="13848"/>
                      <a:pt x="21741" y="13753"/>
                    </a:cubicBezTo>
                    <a:cubicBezTo>
                      <a:pt x="22146" y="13479"/>
                      <a:pt x="22253" y="12943"/>
                      <a:pt x="21991" y="12538"/>
                    </a:cubicBezTo>
                    <a:lnTo>
                      <a:pt x="13907" y="394"/>
                    </a:lnTo>
                    <a:cubicBezTo>
                      <a:pt x="13740" y="144"/>
                      <a:pt x="13466" y="1"/>
                      <a:pt x="13181" y="1"/>
                    </a:cubicBezTo>
                    <a:close/>
                  </a:path>
                </a:pathLst>
              </a:custGeom>
              <a:solidFill>
                <a:srgbClr val="869FB2"/>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7" name="Google Shape;1643;p42">
                <a:extLst>
                  <a:ext uri="{FF2B5EF4-FFF2-40B4-BE49-F238E27FC236}">
                    <a16:creationId xmlns:a16="http://schemas.microsoft.com/office/drawing/2014/main" id="{DEF0B196-1AFD-46AE-8372-D7C86590569F}"/>
                  </a:ext>
                </a:extLst>
              </p:cNvPr>
              <p:cNvSpPr/>
              <p:nvPr/>
            </p:nvSpPr>
            <p:spPr>
              <a:xfrm>
                <a:off x="782650" y="2718398"/>
                <a:ext cx="541495" cy="338222"/>
              </a:xfrm>
              <a:custGeom>
                <a:avLst/>
                <a:gdLst/>
                <a:ahLst/>
                <a:cxnLst/>
                <a:rect l="l" t="t" r="r" b="b"/>
                <a:pathLst>
                  <a:path w="22254" h="13900" extrusionOk="0">
                    <a:moveTo>
                      <a:pt x="21259" y="0"/>
                    </a:moveTo>
                    <a:cubicBezTo>
                      <a:pt x="20973" y="0"/>
                      <a:pt x="20693" y="142"/>
                      <a:pt x="20527" y="398"/>
                    </a:cubicBezTo>
                    <a:lnTo>
                      <a:pt x="12704" y="12150"/>
                    </a:lnTo>
                    <a:lnTo>
                      <a:pt x="881" y="12150"/>
                    </a:lnTo>
                    <a:cubicBezTo>
                      <a:pt x="393" y="12150"/>
                      <a:pt x="0" y="12543"/>
                      <a:pt x="0" y="13019"/>
                    </a:cubicBezTo>
                    <a:cubicBezTo>
                      <a:pt x="0" y="13507"/>
                      <a:pt x="393" y="13900"/>
                      <a:pt x="881" y="13900"/>
                    </a:cubicBezTo>
                    <a:lnTo>
                      <a:pt x="13181" y="13900"/>
                    </a:lnTo>
                    <a:cubicBezTo>
                      <a:pt x="13466" y="13900"/>
                      <a:pt x="13740" y="13757"/>
                      <a:pt x="13907" y="13507"/>
                    </a:cubicBezTo>
                    <a:lnTo>
                      <a:pt x="21991" y="1363"/>
                    </a:lnTo>
                    <a:cubicBezTo>
                      <a:pt x="22253" y="970"/>
                      <a:pt x="22146" y="422"/>
                      <a:pt x="21741" y="148"/>
                    </a:cubicBezTo>
                    <a:cubicBezTo>
                      <a:pt x="21593" y="48"/>
                      <a:pt x="21425" y="0"/>
                      <a:pt x="21259" y="0"/>
                    </a:cubicBezTo>
                    <a:close/>
                  </a:path>
                </a:pathLst>
              </a:custGeom>
              <a:solidFill>
                <a:srgbClr val="869FB2"/>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grpSp>
        <p:sp>
          <p:nvSpPr>
            <p:cNvPr id="5" name="Google Shape;1644;p42">
              <a:extLst>
                <a:ext uri="{FF2B5EF4-FFF2-40B4-BE49-F238E27FC236}">
                  <a16:creationId xmlns:a16="http://schemas.microsoft.com/office/drawing/2014/main" id="{6599DAFB-28D3-4618-96B2-6BC64DEB04F3}"/>
                </a:ext>
              </a:extLst>
            </p:cNvPr>
            <p:cNvSpPr/>
            <p:nvPr/>
          </p:nvSpPr>
          <p:spPr>
            <a:xfrm>
              <a:off x="7068493" y="2520200"/>
              <a:ext cx="972278" cy="439226"/>
            </a:xfrm>
            <a:custGeom>
              <a:avLst/>
              <a:gdLst/>
              <a:ahLst/>
              <a:cxnLst/>
              <a:rect l="l" t="t" r="r" b="b"/>
              <a:pathLst>
                <a:path w="39958" h="18051" extrusionOk="0">
                  <a:moveTo>
                    <a:pt x="9025" y="1"/>
                  </a:moveTo>
                  <a:cubicBezTo>
                    <a:pt x="4060" y="1"/>
                    <a:pt x="0" y="4061"/>
                    <a:pt x="0" y="9026"/>
                  </a:cubicBezTo>
                  <a:cubicBezTo>
                    <a:pt x="0" y="13990"/>
                    <a:pt x="4060" y="18050"/>
                    <a:pt x="9025" y="18050"/>
                  </a:cubicBezTo>
                  <a:lnTo>
                    <a:pt x="30932" y="18050"/>
                  </a:lnTo>
                  <a:cubicBezTo>
                    <a:pt x="35897" y="18050"/>
                    <a:pt x="39957" y="13990"/>
                    <a:pt x="39957" y="9026"/>
                  </a:cubicBezTo>
                  <a:cubicBezTo>
                    <a:pt x="39957" y="4061"/>
                    <a:pt x="35897" y="1"/>
                    <a:pt x="30932" y="1"/>
                  </a:cubicBezTo>
                  <a:close/>
                </a:path>
              </a:pathLst>
            </a:custGeom>
            <a:solidFill>
              <a:srgbClr val="869FB2"/>
            </a:solidFill>
            <a:ln>
              <a:noFill/>
            </a:ln>
          </p:spPr>
          <p:txBody>
            <a:bodyPr spcFirstLastPara="1" wrap="square" lIns="121900" tIns="121900" rIns="121900" bIns="1219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Tx/>
                <a:buNone/>
                <a:tabLst/>
                <a:defRPr/>
              </a:pPr>
              <a:r>
                <a:rPr kumimoji="0" lang="en" sz="2267" b="0" i="0" u="none" strike="noStrike" kern="1200" cap="none" spc="0" normalizeH="0" baseline="0" noProof="0">
                  <a:ln>
                    <a:noFill/>
                  </a:ln>
                  <a:solidFill>
                    <a:srgbClr val="FFFFFF"/>
                  </a:solidFill>
                  <a:effectLst/>
                  <a:uLnTx/>
                  <a:uFillTx/>
                  <a:latin typeface="Arial"/>
                  <a:ea typeface="+mn-ea"/>
                  <a:cs typeface="+mn-ea"/>
                  <a:sym typeface="+mn-lt"/>
                </a:rPr>
                <a:t>Jupiter</a:t>
              </a: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grpSp>
      <p:grpSp>
        <p:nvGrpSpPr>
          <p:cNvPr id="8" name="Google Shape;1646;p42">
            <a:extLst>
              <a:ext uri="{FF2B5EF4-FFF2-40B4-BE49-F238E27FC236}">
                <a16:creationId xmlns:a16="http://schemas.microsoft.com/office/drawing/2014/main" id="{895601A0-367C-4F35-8299-75109E2C747B}"/>
              </a:ext>
            </a:extLst>
          </p:cNvPr>
          <p:cNvGrpSpPr/>
          <p:nvPr/>
        </p:nvGrpSpPr>
        <p:grpSpPr>
          <a:xfrm>
            <a:off x="1325101" y="1333017"/>
            <a:ext cx="3214423" cy="2390060"/>
            <a:chOff x="993825" y="1128350"/>
            <a:chExt cx="2410817" cy="1792545"/>
          </a:xfrm>
        </p:grpSpPr>
        <p:sp>
          <p:nvSpPr>
            <p:cNvPr id="9" name="Google Shape;1647;p42">
              <a:extLst>
                <a:ext uri="{FF2B5EF4-FFF2-40B4-BE49-F238E27FC236}">
                  <a16:creationId xmlns:a16="http://schemas.microsoft.com/office/drawing/2014/main" id="{2E7280D8-7880-400C-B7F6-0579614E9355}"/>
                </a:ext>
              </a:extLst>
            </p:cNvPr>
            <p:cNvSpPr/>
            <p:nvPr/>
          </p:nvSpPr>
          <p:spPr>
            <a:xfrm>
              <a:off x="1416080" y="1557950"/>
              <a:ext cx="1835035" cy="1109319"/>
            </a:xfrm>
            <a:custGeom>
              <a:avLst/>
              <a:gdLst/>
              <a:ahLst/>
              <a:cxnLst/>
              <a:rect l="l" t="t" r="r" b="b"/>
              <a:pathLst>
                <a:path w="75415" h="45590" extrusionOk="0">
                  <a:moveTo>
                    <a:pt x="882" y="1"/>
                  </a:moveTo>
                  <a:cubicBezTo>
                    <a:pt x="394" y="1"/>
                    <a:pt x="1" y="394"/>
                    <a:pt x="1" y="882"/>
                  </a:cubicBezTo>
                  <a:cubicBezTo>
                    <a:pt x="1" y="1370"/>
                    <a:pt x="394" y="1763"/>
                    <a:pt x="882" y="1763"/>
                  </a:cubicBezTo>
                  <a:lnTo>
                    <a:pt x="44780" y="1763"/>
                  </a:lnTo>
                  <a:lnTo>
                    <a:pt x="73677" y="45197"/>
                  </a:lnTo>
                  <a:cubicBezTo>
                    <a:pt x="73855" y="45447"/>
                    <a:pt x="74129" y="45590"/>
                    <a:pt x="74415" y="45590"/>
                  </a:cubicBezTo>
                  <a:cubicBezTo>
                    <a:pt x="74582" y="45590"/>
                    <a:pt x="74748" y="45542"/>
                    <a:pt x="74903" y="45435"/>
                  </a:cubicBezTo>
                  <a:cubicBezTo>
                    <a:pt x="75296" y="45173"/>
                    <a:pt x="75415" y="44626"/>
                    <a:pt x="75141" y="44221"/>
                  </a:cubicBezTo>
                  <a:lnTo>
                    <a:pt x="45983" y="394"/>
                  </a:lnTo>
                  <a:cubicBezTo>
                    <a:pt x="45816" y="156"/>
                    <a:pt x="45542" y="1"/>
                    <a:pt x="45245" y="1"/>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10" name="Google Shape;1648;p42">
              <a:extLst>
                <a:ext uri="{FF2B5EF4-FFF2-40B4-BE49-F238E27FC236}">
                  <a16:creationId xmlns:a16="http://schemas.microsoft.com/office/drawing/2014/main" id="{735ACE64-6047-4FAF-88DE-AA4F66C701A0}"/>
                </a:ext>
              </a:extLst>
            </p:cNvPr>
            <p:cNvSpPr/>
            <p:nvPr/>
          </p:nvSpPr>
          <p:spPr>
            <a:xfrm>
              <a:off x="2484521" y="1777961"/>
              <a:ext cx="471369" cy="154901"/>
            </a:xfrm>
            <a:custGeom>
              <a:avLst/>
              <a:gdLst/>
              <a:ahLst/>
              <a:cxnLst/>
              <a:rect l="l" t="t" r="r" b="b"/>
              <a:pathLst>
                <a:path w="19372" h="6366" extrusionOk="0">
                  <a:moveTo>
                    <a:pt x="15644" y="0"/>
                  </a:moveTo>
                  <a:cubicBezTo>
                    <a:pt x="15519" y="0"/>
                    <a:pt x="15397" y="52"/>
                    <a:pt x="15311" y="151"/>
                  </a:cubicBezTo>
                  <a:cubicBezTo>
                    <a:pt x="15157" y="341"/>
                    <a:pt x="15181" y="639"/>
                    <a:pt x="15359" y="794"/>
                  </a:cubicBezTo>
                  <a:lnTo>
                    <a:pt x="17717" y="2782"/>
                  </a:lnTo>
                  <a:lnTo>
                    <a:pt x="429" y="2782"/>
                  </a:lnTo>
                  <a:cubicBezTo>
                    <a:pt x="191" y="2782"/>
                    <a:pt x="0" y="2984"/>
                    <a:pt x="0" y="3234"/>
                  </a:cubicBezTo>
                  <a:cubicBezTo>
                    <a:pt x="0" y="3472"/>
                    <a:pt x="191" y="3675"/>
                    <a:pt x="429" y="3675"/>
                  </a:cubicBezTo>
                  <a:lnTo>
                    <a:pt x="17717" y="3675"/>
                  </a:lnTo>
                  <a:lnTo>
                    <a:pt x="15359" y="5604"/>
                  </a:lnTo>
                  <a:cubicBezTo>
                    <a:pt x="15181" y="5758"/>
                    <a:pt x="15157" y="6020"/>
                    <a:pt x="15311" y="6211"/>
                  </a:cubicBezTo>
                  <a:cubicBezTo>
                    <a:pt x="15395" y="6318"/>
                    <a:pt x="15514" y="6366"/>
                    <a:pt x="15645" y="6366"/>
                  </a:cubicBezTo>
                  <a:cubicBezTo>
                    <a:pt x="15740" y="6366"/>
                    <a:pt x="15847" y="6330"/>
                    <a:pt x="15931" y="6258"/>
                  </a:cubicBezTo>
                  <a:lnTo>
                    <a:pt x="19217" y="3520"/>
                  </a:lnTo>
                  <a:cubicBezTo>
                    <a:pt x="19312" y="3437"/>
                    <a:pt x="19372" y="3306"/>
                    <a:pt x="19372" y="3175"/>
                  </a:cubicBezTo>
                  <a:cubicBezTo>
                    <a:pt x="19372" y="3044"/>
                    <a:pt x="19312" y="2925"/>
                    <a:pt x="19217" y="2841"/>
                  </a:cubicBezTo>
                  <a:lnTo>
                    <a:pt x="15931" y="103"/>
                  </a:lnTo>
                  <a:cubicBezTo>
                    <a:pt x="15846" y="34"/>
                    <a:pt x="15744" y="0"/>
                    <a:pt x="15644" y="0"/>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11" name="Google Shape;1649;p42">
              <a:extLst>
                <a:ext uri="{FF2B5EF4-FFF2-40B4-BE49-F238E27FC236}">
                  <a16:creationId xmlns:a16="http://schemas.microsoft.com/office/drawing/2014/main" id="{F95C9547-C976-41A3-9E38-C7A37D57AA11}"/>
                </a:ext>
              </a:extLst>
            </p:cNvPr>
            <p:cNvSpPr/>
            <p:nvPr/>
          </p:nvSpPr>
          <p:spPr>
            <a:xfrm>
              <a:off x="2701489" y="2114912"/>
              <a:ext cx="471394" cy="154876"/>
            </a:xfrm>
            <a:custGeom>
              <a:avLst/>
              <a:gdLst/>
              <a:ahLst/>
              <a:cxnLst/>
              <a:rect l="l" t="t" r="r" b="b"/>
              <a:pathLst>
                <a:path w="19373" h="6365" extrusionOk="0">
                  <a:moveTo>
                    <a:pt x="15649" y="0"/>
                  </a:moveTo>
                  <a:cubicBezTo>
                    <a:pt x="15523" y="0"/>
                    <a:pt x="15399" y="55"/>
                    <a:pt x="15312" y="161"/>
                  </a:cubicBezTo>
                  <a:cubicBezTo>
                    <a:pt x="15157" y="352"/>
                    <a:pt x="15181" y="638"/>
                    <a:pt x="15372" y="792"/>
                  </a:cubicBezTo>
                  <a:lnTo>
                    <a:pt x="17729" y="2781"/>
                  </a:lnTo>
                  <a:lnTo>
                    <a:pt x="441" y="2781"/>
                  </a:lnTo>
                  <a:cubicBezTo>
                    <a:pt x="191" y="2781"/>
                    <a:pt x="1" y="2983"/>
                    <a:pt x="1" y="3221"/>
                  </a:cubicBezTo>
                  <a:cubicBezTo>
                    <a:pt x="1" y="3459"/>
                    <a:pt x="191" y="3674"/>
                    <a:pt x="441" y="3674"/>
                  </a:cubicBezTo>
                  <a:lnTo>
                    <a:pt x="17729" y="3674"/>
                  </a:lnTo>
                  <a:lnTo>
                    <a:pt x="15372" y="5603"/>
                  </a:lnTo>
                  <a:cubicBezTo>
                    <a:pt x="15181" y="5757"/>
                    <a:pt x="15157" y="6031"/>
                    <a:pt x="15312" y="6210"/>
                  </a:cubicBezTo>
                  <a:cubicBezTo>
                    <a:pt x="15396" y="6317"/>
                    <a:pt x="15527" y="6365"/>
                    <a:pt x="15646" y="6365"/>
                  </a:cubicBezTo>
                  <a:cubicBezTo>
                    <a:pt x="15753" y="6365"/>
                    <a:pt x="15848" y="6329"/>
                    <a:pt x="15931" y="6257"/>
                  </a:cubicBezTo>
                  <a:lnTo>
                    <a:pt x="19218" y="3519"/>
                  </a:lnTo>
                  <a:cubicBezTo>
                    <a:pt x="19325" y="3436"/>
                    <a:pt x="19372" y="3317"/>
                    <a:pt x="19372" y="3186"/>
                  </a:cubicBezTo>
                  <a:cubicBezTo>
                    <a:pt x="19372" y="3055"/>
                    <a:pt x="19325" y="2924"/>
                    <a:pt x="19218" y="2840"/>
                  </a:cubicBezTo>
                  <a:lnTo>
                    <a:pt x="15931" y="102"/>
                  </a:lnTo>
                  <a:cubicBezTo>
                    <a:pt x="15848" y="34"/>
                    <a:pt x="15748" y="0"/>
                    <a:pt x="15649" y="0"/>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12" name="Google Shape;1650;p42">
              <a:extLst>
                <a:ext uri="{FF2B5EF4-FFF2-40B4-BE49-F238E27FC236}">
                  <a16:creationId xmlns:a16="http://schemas.microsoft.com/office/drawing/2014/main" id="{CCCA264A-9084-4A54-8B7A-CBBB3476FD66}"/>
                </a:ext>
              </a:extLst>
            </p:cNvPr>
            <p:cNvSpPr/>
            <p:nvPr/>
          </p:nvSpPr>
          <p:spPr>
            <a:xfrm>
              <a:off x="3042477" y="2558730"/>
              <a:ext cx="362165" cy="362165"/>
            </a:xfrm>
            <a:custGeom>
              <a:avLst/>
              <a:gdLst/>
              <a:ahLst/>
              <a:cxnLst/>
              <a:rect l="l" t="t" r="r" b="b"/>
              <a:pathLst>
                <a:path w="14884" h="14884" extrusionOk="0">
                  <a:moveTo>
                    <a:pt x="7442" y="0"/>
                  </a:moveTo>
                  <a:cubicBezTo>
                    <a:pt x="3334" y="0"/>
                    <a:pt x="0" y="3334"/>
                    <a:pt x="0" y="7442"/>
                  </a:cubicBezTo>
                  <a:cubicBezTo>
                    <a:pt x="0" y="11549"/>
                    <a:pt x="3334" y="14883"/>
                    <a:pt x="7442" y="14883"/>
                  </a:cubicBezTo>
                  <a:cubicBezTo>
                    <a:pt x="11561" y="14883"/>
                    <a:pt x="14883" y="11549"/>
                    <a:pt x="14883" y="7442"/>
                  </a:cubicBezTo>
                  <a:cubicBezTo>
                    <a:pt x="14883" y="3334"/>
                    <a:pt x="11561" y="0"/>
                    <a:pt x="7442" y="0"/>
                  </a:cubicBezTo>
                  <a:close/>
                </a:path>
              </a:pathLst>
            </a:custGeom>
            <a:solidFill>
              <a:schemeClr val="accent1"/>
            </a:solidFill>
            <a:ln>
              <a:noFill/>
            </a:ln>
          </p:spPr>
          <p:txBody>
            <a:bodyPr spcFirstLastPara="1" wrap="square" lIns="0" tIns="121900" rIns="0" bIns="1219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Tx/>
                <a:buNone/>
                <a:tabLst/>
                <a:defRPr/>
              </a:pPr>
              <a:r>
                <a:rPr kumimoji="0" lang="en" sz="2267" b="0" i="0" u="none" strike="noStrike" kern="1200" cap="none" spc="0" normalizeH="0" baseline="0" noProof="0">
                  <a:ln>
                    <a:noFill/>
                  </a:ln>
                  <a:solidFill>
                    <a:srgbClr val="FFFFFF"/>
                  </a:solidFill>
                  <a:effectLst/>
                  <a:uLnTx/>
                  <a:uFillTx/>
                  <a:latin typeface="Arial"/>
                  <a:ea typeface="+mn-ea"/>
                  <a:cs typeface="+mn-ea"/>
                  <a:sym typeface="+mn-lt"/>
                </a:rPr>
                <a:t>04</a:t>
              </a:r>
              <a:endParaRPr kumimoji="0" sz="2267"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13" name="Google Shape;1651;p42">
              <a:extLst>
                <a:ext uri="{FF2B5EF4-FFF2-40B4-BE49-F238E27FC236}">
                  <a16:creationId xmlns:a16="http://schemas.microsoft.com/office/drawing/2014/main" id="{1F4DFE72-67B7-4856-AEF6-F10E014C0474}"/>
                </a:ext>
              </a:extLst>
            </p:cNvPr>
            <p:cNvSpPr txBox="1"/>
            <p:nvPr/>
          </p:nvSpPr>
          <p:spPr>
            <a:xfrm>
              <a:off x="1324150" y="1128350"/>
              <a:ext cx="1199100" cy="429600"/>
            </a:xfrm>
            <a:prstGeom prst="rect">
              <a:avLst/>
            </a:prstGeom>
            <a:no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 sz="2267" b="0" i="0" u="none" strike="noStrike" kern="1200" cap="none" spc="0" normalizeH="0" baseline="0" noProof="0">
                  <a:ln>
                    <a:noFill/>
                  </a:ln>
                  <a:solidFill>
                    <a:srgbClr val="434343"/>
                  </a:solidFill>
                  <a:effectLst/>
                  <a:uLnTx/>
                  <a:uFillTx/>
                  <a:latin typeface="Arial"/>
                  <a:ea typeface="+mn-ea"/>
                  <a:cs typeface="+mn-ea"/>
                  <a:sym typeface="+mn-lt"/>
                </a:rPr>
                <a:t>Venus</a:t>
              </a:r>
              <a:endParaRPr kumimoji="0" sz="2267" b="0" i="0" u="none" strike="noStrike" kern="1200" cap="none" spc="0" normalizeH="0" baseline="0" noProof="0">
                <a:ln>
                  <a:noFill/>
                </a:ln>
                <a:solidFill>
                  <a:srgbClr val="434343"/>
                </a:solidFill>
                <a:effectLst/>
                <a:uLnTx/>
                <a:uFillTx/>
                <a:latin typeface="Arial"/>
                <a:ea typeface="+mn-ea"/>
                <a:cs typeface="+mn-ea"/>
                <a:sym typeface="+mn-lt"/>
              </a:endParaRPr>
            </a:p>
          </p:txBody>
        </p:sp>
        <p:sp>
          <p:nvSpPr>
            <p:cNvPr id="14" name="Google Shape;1652;p42">
              <a:extLst>
                <a:ext uri="{FF2B5EF4-FFF2-40B4-BE49-F238E27FC236}">
                  <a16:creationId xmlns:a16="http://schemas.microsoft.com/office/drawing/2014/main" id="{8059A61B-7991-4D7D-BC0E-CAB4D7B5D515}"/>
                </a:ext>
              </a:extLst>
            </p:cNvPr>
            <p:cNvSpPr txBox="1"/>
            <p:nvPr/>
          </p:nvSpPr>
          <p:spPr>
            <a:xfrm>
              <a:off x="993825" y="1723263"/>
              <a:ext cx="1490700" cy="264000"/>
            </a:xfrm>
            <a:prstGeom prst="rect">
              <a:avLst/>
            </a:prstGeom>
            <a:noFill/>
            <a:ln>
              <a:noFill/>
            </a:ln>
          </p:spPr>
          <p:txBody>
            <a:bodyPr spcFirstLastPara="1" wrap="square" lIns="121900" tIns="121900" rIns="121900" bIns="12190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 sz="1600" b="0" i="0" u="none" strike="noStrike" kern="1200" cap="none" spc="0" normalizeH="0" baseline="0" noProof="0">
                  <a:ln>
                    <a:noFill/>
                  </a:ln>
                  <a:solidFill>
                    <a:srgbClr val="434343"/>
                  </a:solidFill>
                  <a:effectLst/>
                  <a:uLnTx/>
                  <a:uFillTx/>
                  <a:latin typeface="Arial"/>
                  <a:ea typeface="+mn-ea"/>
                  <a:cs typeface="+mn-ea"/>
                  <a:sym typeface="+mn-lt"/>
                </a:rPr>
                <a:t>It’s the second</a:t>
              </a:r>
              <a:endParaRPr kumimoji="0" sz="1600" b="0" i="0" u="none" strike="noStrike" kern="1200" cap="none" spc="0" normalizeH="0" baseline="0" noProof="0">
                <a:ln>
                  <a:noFill/>
                </a:ln>
                <a:solidFill>
                  <a:srgbClr val="434343"/>
                </a:solidFill>
                <a:effectLst/>
                <a:uLnTx/>
                <a:uFillTx/>
                <a:latin typeface="Arial"/>
                <a:ea typeface="+mn-ea"/>
                <a:cs typeface="+mn-ea"/>
                <a:sym typeface="+mn-lt"/>
              </a:endParaRPr>
            </a:p>
          </p:txBody>
        </p:sp>
        <p:sp>
          <p:nvSpPr>
            <p:cNvPr id="15" name="Google Shape;1653;p42">
              <a:extLst>
                <a:ext uri="{FF2B5EF4-FFF2-40B4-BE49-F238E27FC236}">
                  <a16:creationId xmlns:a16="http://schemas.microsoft.com/office/drawing/2014/main" id="{E870B498-1F43-40ED-8C92-000BC73DD193}"/>
                </a:ext>
              </a:extLst>
            </p:cNvPr>
            <p:cNvSpPr txBox="1"/>
            <p:nvPr/>
          </p:nvSpPr>
          <p:spPr>
            <a:xfrm>
              <a:off x="1210800" y="2073138"/>
              <a:ext cx="1490700" cy="264000"/>
            </a:xfrm>
            <a:prstGeom prst="rect">
              <a:avLst/>
            </a:prstGeom>
            <a:noFill/>
            <a:ln>
              <a:noFill/>
            </a:ln>
          </p:spPr>
          <p:txBody>
            <a:bodyPr spcFirstLastPara="1" wrap="square" lIns="121900" tIns="121900" rIns="121900" bIns="12190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 sz="1600" b="0" i="0" u="none" strike="noStrike" kern="1200" cap="none" spc="0" normalizeH="0" baseline="0" noProof="0">
                  <a:ln>
                    <a:noFill/>
                  </a:ln>
                  <a:solidFill>
                    <a:srgbClr val="434343"/>
                  </a:solidFill>
                  <a:effectLst/>
                  <a:uLnTx/>
                  <a:uFillTx/>
                  <a:latin typeface="Arial"/>
                  <a:ea typeface="+mn-ea"/>
                  <a:cs typeface="+mn-ea"/>
                  <a:sym typeface="+mn-lt"/>
                </a:rPr>
                <a:t>It has a nice name</a:t>
              </a:r>
              <a:endParaRPr kumimoji="0" sz="1600" b="0" i="0" u="none" strike="noStrike" kern="1200" cap="none" spc="0" normalizeH="0" baseline="0" noProof="0">
                <a:ln>
                  <a:noFill/>
                </a:ln>
                <a:solidFill>
                  <a:srgbClr val="434343"/>
                </a:solidFill>
                <a:effectLst/>
                <a:uLnTx/>
                <a:uFillTx/>
                <a:latin typeface="Arial"/>
                <a:ea typeface="+mn-ea"/>
                <a:cs typeface="+mn-ea"/>
                <a:sym typeface="+mn-lt"/>
              </a:endParaRPr>
            </a:p>
          </p:txBody>
        </p:sp>
      </p:grpSp>
      <p:grpSp>
        <p:nvGrpSpPr>
          <p:cNvPr id="16" name="Google Shape;1654;p42">
            <a:extLst>
              <a:ext uri="{FF2B5EF4-FFF2-40B4-BE49-F238E27FC236}">
                <a16:creationId xmlns:a16="http://schemas.microsoft.com/office/drawing/2014/main" id="{BE559A20-B492-4D37-A614-068A5087C151}"/>
              </a:ext>
            </a:extLst>
          </p:cNvPr>
          <p:cNvGrpSpPr/>
          <p:nvPr/>
        </p:nvGrpSpPr>
        <p:grpSpPr>
          <a:xfrm>
            <a:off x="4230501" y="1333017"/>
            <a:ext cx="3220716" cy="2390060"/>
            <a:chOff x="3172875" y="1128350"/>
            <a:chExt cx="2415537" cy="1792545"/>
          </a:xfrm>
        </p:grpSpPr>
        <p:sp>
          <p:nvSpPr>
            <p:cNvPr id="17" name="Google Shape;1655;p42">
              <a:extLst>
                <a:ext uri="{FF2B5EF4-FFF2-40B4-BE49-F238E27FC236}">
                  <a16:creationId xmlns:a16="http://schemas.microsoft.com/office/drawing/2014/main" id="{5780836D-F5C5-43A9-A12E-DB083C282D78}"/>
                </a:ext>
              </a:extLst>
            </p:cNvPr>
            <p:cNvSpPr/>
            <p:nvPr/>
          </p:nvSpPr>
          <p:spPr>
            <a:xfrm>
              <a:off x="3599874" y="1557950"/>
              <a:ext cx="1834743" cy="1109319"/>
            </a:xfrm>
            <a:custGeom>
              <a:avLst/>
              <a:gdLst/>
              <a:ahLst/>
              <a:cxnLst/>
              <a:rect l="l" t="t" r="r" b="b"/>
              <a:pathLst>
                <a:path w="75403" h="45590" extrusionOk="0">
                  <a:moveTo>
                    <a:pt x="869" y="1"/>
                  </a:moveTo>
                  <a:cubicBezTo>
                    <a:pt x="393" y="1"/>
                    <a:pt x="0" y="394"/>
                    <a:pt x="0" y="882"/>
                  </a:cubicBezTo>
                  <a:cubicBezTo>
                    <a:pt x="0" y="1370"/>
                    <a:pt x="393" y="1763"/>
                    <a:pt x="869" y="1763"/>
                  </a:cubicBezTo>
                  <a:lnTo>
                    <a:pt x="44768" y="1763"/>
                  </a:lnTo>
                  <a:lnTo>
                    <a:pt x="73676" y="45197"/>
                  </a:lnTo>
                  <a:cubicBezTo>
                    <a:pt x="73843" y="45447"/>
                    <a:pt x="74117" y="45590"/>
                    <a:pt x="74402" y="45590"/>
                  </a:cubicBezTo>
                  <a:cubicBezTo>
                    <a:pt x="74569" y="45590"/>
                    <a:pt x="74736" y="45542"/>
                    <a:pt x="74890" y="45435"/>
                  </a:cubicBezTo>
                  <a:cubicBezTo>
                    <a:pt x="75295" y="45173"/>
                    <a:pt x="75402" y="44626"/>
                    <a:pt x="75129" y="44221"/>
                  </a:cubicBezTo>
                  <a:lnTo>
                    <a:pt x="45970" y="394"/>
                  </a:lnTo>
                  <a:cubicBezTo>
                    <a:pt x="45803" y="156"/>
                    <a:pt x="45530" y="1"/>
                    <a:pt x="45232" y="1"/>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18" name="Google Shape;1656;p42">
              <a:extLst>
                <a:ext uri="{FF2B5EF4-FFF2-40B4-BE49-F238E27FC236}">
                  <a16:creationId xmlns:a16="http://schemas.microsoft.com/office/drawing/2014/main" id="{4E3C3826-E45B-4DDA-816A-A0E2245E49BE}"/>
                </a:ext>
              </a:extLst>
            </p:cNvPr>
            <p:cNvSpPr/>
            <p:nvPr/>
          </p:nvSpPr>
          <p:spPr>
            <a:xfrm>
              <a:off x="4667999" y="1777961"/>
              <a:ext cx="471369" cy="154609"/>
            </a:xfrm>
            <a:custGeom>
              <a:avLst/>
              <a:gdLst/>
              <a:ahLst/>
              <a:cxnLst/>
              <a:rect l="l" t="t" r="r" b="b"/>
              <a:pathLst>
                <a:path w="19372" h="6354" extrusionOk="0">
                  <a:moveTo>
                    <a:pt x="15644" y="0"/>
                  </a:moveTo>
                  <a:cubicBezTo>
                    <a:pt x="15520" y="0"/>
                    <a:pt x="15398" y="52"/>
                    <a:pt x="15312" y="151"/>
                  </a:cubicBezTo>
                  <a:cubicBezTo>
                    <a:pt x="15157" y="341"/>
                    <a:pt x="15181" y="615"/>
                    <a:pt x="15371" y="770"/>
                  </a:cubicBezTo>
                  <a:lnTo>
                    <a:pt x="17729" y="2734"/>
                  </a:lnTo>
                  <a:lnTo>
                    <a:pt x="441" y="2734"/>
                  </a:lnTo>
                  <a:cubicBezTo>
                    <a:pt x="191" y="2734"/>
                    <a:pt x="0" y="2937"/>
                    <a:pt x="0" y="3175"/>
                  </a:cubicBezTo>
                  <a:cubicBezTo>
                    <a:pt x="0" y="3413"/>
                    <a:pt x="191" y="3615"/>
                    <a:pt x="441" y="3615"/>
                  </a:cubicBezTo>
                  <a:lnTo>
                    <a:pt x="17729" y="3615"/>
                  </a:lnTo>
                  <a:lnTo>
                    <a:pt x="15371" y="5580"/>
                  </a:lnTo>
                  <a:cubicBezTo>
                    <a:pt x="15181" y="5735"/>
                    <a:pt x="15157" y="6008"/>
                    <a:pt x="15312" y="6199"/>
                  </a:cubicBezTo>
                  <a:cubicBezTo>
                    <a:pt x="15395" y="6294"/>
                    <a:pt x="15526" y="6354"/>
                    <a:pt x="15645" y="6354"/>
                  </a:cubicBezTo>
                  <a:cubicBezTo>
                    <a:pt x="15752" y="6354"/>
                    <a:pt x="15848" y="6318"/>
                    <a:pt x="15931" y="6247"/>
                  </a:cubicBezTo>
                  <a:lnTo>
                    <a:pt x="19217" y="3508"/>
                  </a:lnTo>
                  <a:cubicBezTo>
                    <a:pt x="19312" y="3425"/>
                    <a:pt x="19372" y="3306"/>
                    <a:pt x="19372" y="3175"/>
                  </a:cubicBezTo>
                  <a:cubicBezTo>
                    <a:pt x="19372" y="3044"/>
                    <a:pt x="19312" y="2925"/>
                    <a:pt x="19217" y="2841"/>
                  </a:cubicBezTo>
                  <a:lnTo>
                    <a:pt x="15931" y="103"/>
                  </a:lnTo>
                  <a:cubicBezTo>
                    <a:pt x="15846" y="34"/>
                    <a:pt x="15744" y="0"/>
                    <a:pt x="15644" y="0"/>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19" name="Google Shape;1657;p42">
              <a:extLst>
                <a:ext uri="{FF2B5EF4-FFF2-40B4-BE49-F238E27FC236}">
                  <a16:creationId xmlns:a16="http://schemas.microsoft.com/office/drawing/2014/main" id="{EEB1DE60-C821-4817-B1A5-F9804E622E8E}"/>
                </a:ext>
              </a:extLst>
            </p:cNvPr>
            <p:cNvSpPr/>
            <p:nvPr/>
          </p:nvSpPr>
          <p:spPr>
            <a:xfrm>
              <a:off x="4884991" y="2114912"/>
              <a:ext cx="471661" cy="154876"/>
            </a:xfrm>
            <a:custGeom>
              <a:avLst/>
              <a:gdLst/>
              <a:ahLst/>
              <a:cxnLst/>
              <a:rect l="l" t="t" r="r" b="b"/>
              <a:pathLst>
                <a:path w="19384" h="6365" extrusionOk="0">
                  <a:moveTo>
                    <a:pt x="15653" y="0"/>
                  </a:moveTo>
                  <a:cubicBezTo>
                    <a:pt x="15526" y="0"/>
                    <a:pt x="15398" y="55"/>
                    <a:pt x="15312" y="161"/>
                  </a:cubicBezTo>
                  <a:cubicBezTo>
                    <a:pt x="15157" y="352"/>
                    <a:pt x="15181" y="626"/>
                    <a:pt x="15371" y="781"/>
                  </a:cubicBezTo>
                  <a:lnTo>
                    <a:pt x="17729" y="2745"/>
                  </a:lnTo>
                  <a:lnTo>
                    <a:pt x="441" y="2745"/>
                  </a:lnTo>
                  <a:cubicBezTo>
                    <a:pt x="203" y="2745"/>
                    <a:pt x="0" y="2936"/>
                    <a:pt x="0" y="3186"/>
                  </a:cubicBezTo>
                  <a:cubicBezTo>
                    <a:pt x="0" y="3424"/>
                    <a:pt x="203" y="3614"/>
                    <a:pt x="441" y="3614"/>
                  </a:cubicBezTo>
                  <a:lnTo>
                    <a:pt x="17729" y="3614"/>
                  </a:lnTo>
                  <a:lnTo>
                    <a:pt x="15371" y="5579"/>
                  </a:lnTo>
                  <a:cubicBezTo>
                    <a:pt x="15181" y="5734"/>
                    <a:pt x="15157" y="6019"/>
                    <a:pt x="15312" y="6198"/>
                  </a:cubicBezTo>
                  <a:cubicBezTo>
                    <a:pt x="15407" y="6305"/>
                    <a:pt x="15526" y="6365"/>
                    <a:pt x="15657" y="6365"/>
                  </a:cubicBezTo>
                  <a:cubicBezTo>
                    <a:pt x="15752" y="6365"/>
                    <a:pt x="15847" y="6329"/>
                    <a:pt x="15931" y="6257"/>
                  </a:cubicBezTo>
                  <a:lnTo>
                    <a:pt x="19217" y="3519"/>
                  </a:lnTo>
                  <a:cubicBezTo>
                    <a:pt x="19324" y="3436"/>
                    <a:pt x="19384" y="3317"/>
                    <a:pt x="19384" y="3186"/>
                  </a:cubicBezTo>
                  <a:cubicBezTo>
                    <a:pt x="19384" y="3055"/>
                    <a:pt x="19324" y="2924"/>
                    <a:pt x="19217" y="2840"/>
                  </a:cubicBezTo>
                  <a:lnTo>
                    <a:pt x="15931" y="102"/>
                  </a:lnTo>
                  <a:cubicBezTo>
                    <a:pt x="15852" y="34"/>
                    <a:pt x="15753" y="0"/>
                    <a:pt x="15653" y="0"/>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20" name="Google Shape;1658;p42">
              <a:extLst>
                <a:ext uri="{FF2B5EF4-FFF2-40B4-BE49-F238E27FC236}">
                  <a16:creationId xmlns:a16="http://schemas.microsoft.com/office/drawing/2014/main" id="{2751666E-13B7-4679-B00C-D39ED4AB05BA}"/>
                </a:ext>
              </a:extLst>
            </p:cNvPr>
            <p:cNvSpPr/>
            <p:nvPr/>
          </p:nvSpPr>
          <p:spPr>
            <a:xfrm>
              <a:off x="5226247" y="2558730"/>
              <a:ext cx="362165" cy="362165"/>
            </a:xfrm>
            <a:custGeom>
              <a:avLst/>
              <a:gdLst/>
              <a:ahLst/>
              <a:cxnLst/>
              <a:rect l="l" t="t" r="r" b="b"/>
              <a:pathLst>
                <a:path w="14884" h="14884" extrusionOk="0">
                  <a:moveTo>
                    <a:pt x="7442" y="0"/>
                  </a:moveTo>
                  <a:cubicBezTo>
                    <a:pt x="3323" y="0"/>
                    <a:pt x="1" y="3334"/>
                    <a:pt x="1" y="7442"/>
                  </a:cubicBezTo>
                  <a:cubicBezTo>
                    <a:pt x="1" y="11549"/>
                    <a:pt x="3323" y="14883"/>
                    <a:pt x="7442" y="14883"/>
                  </a:cubicBezTo>
                  <a:cubicBezTo>
                    <a:pt x="11550" y="14883"/>
                    <a:pt x="14884" y="11549"/>
                    <a:pt x="14884" y="7442"/>
                  </a:cubicBezTo>
                  <a:cubicBezTo>
                    <a:pt x="14884" y="3334"/>
                    <a:pt x="11550" y="0"/>
                    <a:pt x="7442" y="0"/>
                  </a:cubicBezTo>
                  <a:close/>
                </a:path>
              </a:pathLst>
            </a:custGeom>
            <a:solidFill>
              <a:schemeClr val="accent1"/>
            </a:solidFill>
            <a:ln>
              <a:noFill/>
            </a:ln>
          </p:spPr>
          <p:txBody>
            <a:bodyPr spcFirstLastPara="1" wrap="square" lIns="0" tIns="121900" rIns="0" bIns="1219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Tx/>
                <a:buNone/>
                <a:tabLst/>
                <a:defRPr/>
              </a:pPr>
              <a:r>
                <a:rPr kumimoji="0" lang="en" sz="2267" b="0" i="0" u="none" strike="noStrike" kern="1200" cap="none" spc="0" normalizeH="0" baseline="0" noProof="0">
                  <a:ln>
                    <a:noFill/>
                  </a:ln>
                  <a:solidFill>
                    <a:srgbClr val="FFFFFF"/>
                  </a:solidFill>
                  <a:effectLst/>
                  <a:uLnTx/>
                  <a:uFillTx/>
                  <a:latin typeface="Arial"/>
                  <a:ea typeface="+mn-ea"/>
                  <a:cs typeface="+mn-ea"/>
                  <a:sym typeface="+mn-lt"/>
                </a:rPr>
                <a:t>02</a:t>
              </a:r>
              <a:endParaRPr kumimoji="0" sz="2267"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21" name="Google Shape;1659;p42">
              <a:extLst>
                <a:ext uri="{FF2B5EF4-FFF2-40B4-BE49-F238E27FC236}">
                  <a16:creationId xmlns:a16="http://schemas.microsoft.com/office/drawing/2014/main" id="{6C8C468E-1AFB-4A72-BACC-B214A9ABC616}"/>
                </a:ext>
              </a:extLst>
            </p:cNvPr>
            <p:cNvSpPr txBox="1"/>
            <p:nvPr/>
          </p:nvSpPr>
          <p:spPr>
            <a:xfrm>
              <a:off x="3508625" y="1128350"/>
              <a:ext cx="1199100" cy="429600"/>
            </a:xfrm>
            <a:prstGeom prst="rect">
              <a:avLst/>
            </a:prstGeom>
            <a:no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 sz="2267" b="0" i="0" u="none" strike="noStrike" kern="1200" cap="none" spc="0" normalizeH="0" baseline="0" noProof="0">
                  <a:ln>
                    <a:noFill/>
                  </a:ln>
                  <a:solidFill>
                    <a:srgbClr val="434343"/>
                  </a:solidFill>
                  <a:effectLst/>
                  <a:uLnTx/>
                  <a:uFillTx/>
                  <a:latin typeface="Arial"/>
                  <a:ea typeface="+mn-ea"/>
                  <a:cs typeface="+mn-ea"/>
                  <a:sym typeface="+mn-lt"/>
                </a:rPr>
                <a:t>Mercury</a:t>
              </a:r>
              <a:endParaRPr kumimoji="0" sz="2267" b="0" i="0" u="none" strike="noStrike" kern="1200" cap="none" spc="0" normalizeH="0" baseline="0" noProof="0">
                <a:ln>
                  <a:noFill/>
                </a:ln>
                <a:solidFill>
                  <a:srgbClr val="434343"/>
                </a:solidFill>
                <a:effectLst/>
                <a:uLnTx/>
                <a:uFillTx/>
                <a:latin typeface="Arial"/>
                <a:ea typeface="+mn-ea"/>
                <a:cs typeface="+mn-ea"/>
                <a:sym typeface="+mn-lt"/>
              </a:endParaRPr>
            </a:p>
          </p:txBody>
        </p:sp>
        <p:sp>
          <p:nvSpPr>
            <p:cNvPr id="22" name="Google Shape;1660;p42">
              <a:extLst>
                <a:ext uri="{FF2B5EF4-FFF2-40B4-BE49-F238E27FC236}">
                  <a16:creationId xmlns:a16="http://schemas.microsoft.com/office/drawing/2014/main" id="{A3ACF963-1F03-4548-B475-05B18392A145}"/>
                </a:ext>
              </a:extLst>
            </p:cNvPr>
            <p:cNvSpPr txBox="1"/>
            <p:nvPr/>
          </p:nvSpPr>
          <p:spPr>
            <a:xfrm>
              <a:off x="3172875" y="1723263"/>
              <a:ext cx="1490700" cy="264000"/>
            </a:xfrm>
            <a:prstGeom prst="rect">
              <a:avLst/>
            </a:prstGeom>
            <a:noFill/>
            <a:ln>
              <a:noFill/>
            </a:ln>
          </p:spPr>
          <p:txBody>
            <a:bodyPr spcFirstLastPara="1" wrap="square" lIns="121900" tIns="121900" rIns="121900" bIns="12190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 sz="1600" b="0" i="0" u="none" strike="noStrike" kern="1200" cap="none" spc="0" normalizeH="0" baseline="0" noProof="0">
                  <a:ln>
                    <a:noFill/>
                  </a:ln>
                  <a:solidFill>
                    <a:srgbClr val="434343"/>
                  </a:solidFill>
                  <a:effectLst/>
                  <a:uLnTx/>
                  <a:uFillTx/>
                  <a:latin typeface="Arial"/>
                  <a:ea typeface="+mn-ea"/>
                  <a:cs typeface="+mn-ea"/>
                  <a:sym typeface="+mn-lt"/>
                </a:rPr>
                <a:t>It’s the first</a:t>
              </a:r>
              <a:endParaRPr kumimoji="0" sz="1600" b="0" i="0" u="none" strike="noStrike" kern="1200" cap="none" spc="0" normalizeH="0" baseline="0" noProof="0">
                <a:ln>
                  <a:noFill/>
                </a:ln>
                <a:solidFill>
                  <a:srgbClr val="434343"/>
                </a:solidFill>
                <a:effectLst/>
                <a:uLnTx/>
                <a:uFillTx/>
                <a:latin typeface="Arial"/>
                <a:ea typeface="+mn-ea"/>
                <a:cs typeface="+mn-ea"/>
                <a:sym typeface="+mn-lt"/>
              </a:endParaRPr>
            </a:p>
          </p:txBody>
        </p:sp>
        <p:sp>
          <p:nvSpPr>
            <p:cNvPr id="23" name="Google Shape;1661;p42">
              <a:extLst>
                <a:ext uri="{FF2B5EF4-FFF2-40B4-BE49-F238E27FC236}">
                  <a16:creationId xmlns:a16="http://schemas.microsoft.com/office/drawing/2014/main" id="{9F486FC7-4848-4085-84EB-E416A1796077}"/>
                </a:ext>
              </a:extLst>
            </p:cNvPr>
            <p:cNvSpPr txBox="1"/>
            <p:nvPr/>
          </p:nvSpPr>
          <p:spPr>
            <a:xfrm>
              <a:off x="3389850" y="2073138"/>
              <a:ext cx="1490700" cy="264000"/>
            </a:xfrm>
            <a:prstGeom prst="rect">
              <a:avLst/>
            </a:prstGeom>
            <a:noFill/>
            <a:ln>
              <a:noFill/>
            </a:ln>
          </p:spPr>
          <p:txBody>
            <a:bodyPr spcFirstLastPara="1" wrap="square" lIns="121900" tIns="121900" rIns="121900" bIns="12190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 sz="1600" b="0" i="0" u="none" strike="noStrike" kern="1200" cap="none" spc="0" normalizeH="0" baseline="0" noProof="0">
                  <a:ln>
                    <a:noFill/>
                  </a:ln>
                  <a:solidFill>
                    <a:srgbClr val="434343"/>
                  </a:solidFill>
                  <a:effectLst/>
                  <a:uLnTx/>
                  <a:uFillTx/>
                  <a:latin typeface="Arial"/>
                  <a:ea typeface="+mn-ea"/>
                  <a:cs typeface="+mn-ea"/>
                  <a:sym typeface="+mn-lt"/>
                </a:rPr>
                <a:t>It’s very warm</a:t>
              </a:r>
              <a:endParaRPr kumimoji="0" sz="1600" b="0" i="0" u="none" strike="noStrike" kern="1200" cap="none" spc="0" normalizeH="0" baseline="0" noProof="0">
                <a:ln>
                  <a:noFill/>
                </a:ln>
                <a:solidFill>
                  <a:srgbClr val="434343"/>
                </a:solidFill>
                <a:effectLst/>
                <a:uLnTx/>
                <a:uFillTx/>
                <a:latin typeface="Arial"/>
                <a:ea typeface="+mn-ea"/>
                <a:cs typeface="+mn-ea"/>
                <a:sym typeface="+mn-lt"/>
              </a:endParaRPr>
            </a:p>
          </p:txBody>
        </p:sp>
      </p:grpSp>
      <p:grpSp>
        <p:nvGrpSpPr>
          <p:cNvPr id="24" name="Google Shape;1662;p42">
            <a:extLst>
              <a:ext uri="{FF2B5EF4-FFF2-40B4-BE49-F238E27FC236}">
                <a16:creationId xmlns:a16="http://schemas.microsoft.com/office/drawing/2014/main" id="{D1D2A122-D2E0-4E1D-8A08-47345DF5F8C8}"/>
              </a:ext>
            </a:extLst>
          </p:cNvPr>
          <p:cNvGrpSpPr/>
          <p:nvPr/>
        </p:nvGrpSpPr>
        <p:grpSpPr>
          <a:xfrm>
            <a:off x="2734967" y="3240191"/>
            <a:ext cx="3214805" cy="2428727"/>
            <a:chOff x="2051225" y="2558730"/>
            <a:chExt cx="2411104" cy="1821545"/>
          </a:xfrm>
        </p:grpSpPr>
        <p:sp>
          <p:nvSpPr>
            <p:cNvPr id="25" name="Google Shape;1663;p42">
              <a:extLst>
                <a:ext uri="{FF2B5EF4-FFF2-40B4-BE49-F238E27FC236}">
                  <a16:creationId xmlns:a16="http://schemas.microsoft.com/office/drawing/2014/main" id="{F805C278-0637-46C0-8164-E8813070B337}"/>
                </a:ext>
              </a:extLst>
            </p:cNvPr>
            <p:cNvSpPr/>
            <p:nvPr/>
          </p:nvSpPr>
          <p:spPr>
            <a:xfrm>
              <a:off x="2473791" y="2841640"/>
              <a:ext cx="1834743" cy="1109027"/>
            </a:xfrm>
            <a:custGeom>
              <a:avLst/>
              <a:gdLst/>
              <a:ahLst/>
              <a:cxnLst/>
              <a:rect l="l" t="t" r="r" b="b"/>
              <a:pathLst>
                <a:path w="75403" h="45578" extrusionOk="0">
                  <a:moveTo>
                    <a:pt x="74407" y="1"/>
                  </a:moveTo>
                  <a:cubicBezTo>
                    <a:pt x="74122" y="1"/>
                    <a:pt x="73842" y="138"/>
                    <a:pt x="73676" y="393"/>
                  </a:cubicBezTo>
                  <a:lnTo>
                    <a:pt x="44768" y="43827"/>
                  </a:lnTo>
                  <a:lnTo>
                    <a:pt x="870" y="43827"/>
                  </a:lnTo>
                  <a:cubicBezTo>
                    <a:pt x="393" y="43827"/>
                    <a:pt x="1" y="44220"/>
                    <a:pt x="1" y="44708"/>
                  </a:cubicBezTo>
                  <a:cubicBezTo>
                    <a:pt x="1" y="45185"/>
                    <a:pt x="393" y="45577"/>
                    <a:pt x="870" y="45577"/>
                  </a:cubicBezTo>
                  <a:lnTo>
                    <a:pt x="45232" y="45577"/>
                  </a:lnTo>
                  <a:cubicBezTo>
                    <a:pt x="45530" y="45577"/>
                    <a:pt x="45804" y="45435"/>
                    <a:pt x="45971" y="45185"/>
                  </a:cubicBezTo>
                  <a:lnTo>
                    <a:pt x="75129" y="1370"/>
                  </a:lnTo>
                  <a:cubicBezTo>
                    <a:pt x="75403" y="965"/>
                    <a:pt x="75296" y="417"/>
                    <a:pt x="74891" y="143"/>
                  </a:cubicBezTo>
                  <a:cubicBezTo>
                    <a:pt x="74742" y="47"/>
                    <a:pt x="74574" y="1"/>
                    <a:pt x="74407" y="1"/>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26" name="Google Shape;1664;p42">
              <a:extLst>
                <a:ext uri="{FF2B5EF4-FFF2-40B4-BE49-F238E27FC236}">
                  <a16:creationId xmlns:a16="http://schemas.microsoft.com/office/drawing/2014/main" id="{2949864F-D40D-4E4B-8479-958B92345647}"/>
                </a:ext>
              </a:extLst>
            </p:cNvPr>
            <p:cNvSpPr/>
            <p:nvPr/>
          </p:nvSpPr>
          <p:spPr>
            <a:xfrm>
              <a:off x="3541915" y="3576179"/>
              <a:ext cx="471394" cy="154876"/>
            </a:xfrm>
            <a:custGeom>
              <a:avLst/>
              <a:gdLst/>
              <a:ahLst/>
              <a:cxnLst/>
              <a:rect l="l" t="t" r="r" b="b"/>
              <a:pathLst>
                <a:path w="19373" h="6365" extrusionOk="0">
                  <a:moveTo>
                    <a:pt x="15649" y="0"/>
                  </a:moveTo>
                  <a:cubicBezTo>
                    <a:pt x="15523" y="0"/>
                    <a:pt x="15399" y="55"/>
                    <a:pt x="15312" y="161"/>
                  </a:cubicBezTo>
                  <a:cubicBezTo>
                    <a:pt x="15158" y="352"/>
                    <a:pt x="15181" y="626"/>
                    <a:pt x="15372" y="781"/>
                  </a:cubicBezTo>
                  <a:lnTo>
                    <a:pt x="17729" y="2745"/>
                  </a:lnTo>
                  <a:lnTo>
                    <a:pt x="441" y="2745"/>
                  </a:lnTo>
                  <a:cubicBezTo>
                    <a:pt x="191" y="2745"/>
                    <a:pt x="1" y="2936"/>
                    <a:pt x="1" y="3186"/>
                  </a:cubicBezTo>
                  <a:cubicBezTo>
                    <a:pt x="1" y="3424"/>
                    <a:pt x="191" y="3614"/>
                    <a:pt x="441" y="3614"/>
                  </a:cubicBezTo>
                  <a:lnTo>
                    <a:pt x="17729" y="3614"/>
                  </a:lnTo>
                  <a:lnTo>
                    <a:pt x="15372" y="5579"/>
                  </a:lnTo>
                  <a:cubicBezTo>
                    <a:pt x="15181" y="5734"/>
                    <a:pt x="15158" y="6019"/>
                    <a:pt x="15312" y="6198"/>
                  </a:cubicBezTo>
                  <a:cubicBezTo>
                    <a:pt x="15396" y="6305"/>
                    <a:pt x="15527" y="6365"/>
                    <a:pt x="15646" y="6365"/>
                  </a:cubicBezTo>
                  <a:cubicBezTo>
                    <a:pt x="15753" y="6365"/>
                    <a:pt x="15848" y="6329"/>
                    <a:pt x="15931" y="6257"/>
                  </a:cubicBezTo>
                  <a:lnTo>
                    <a:pt x="19218" y="3519"/>
                  </a:lnTo>
                  <a:cubicBezTo>
                    <a:pt x="19313" y="3436"/>
                    <a:pt x="19372" y="3317"/>
                    <a:pt x="19372" y="3186"/>
                  </a:cubicBezTo>
                  <a:cubicBezTo>
                    <a:pt x="19372" y="3055"/>
                    <a:pt x="19313" y="2924"/>
                    <a:pt x="19218" y="2840"/>
                  </a:cubicBezTo>
                  <a:lnTo>
                    <a:pt x="15931" y="102"/>
                  </a:lnTo>
                  <a:cubicBezTo>
                    <a:pt x="15848" y="34"/>
                    <a:pt x="15748" y="0"/>
                    <a:pt x="15649" y="0"/>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27" name="Google Shape;1665;p42">
              <a:extLst>
                <a:ext uri="{FF2B5EF4-FFF2-40B4-BE49-F238E27FC236}">
                  <a16:creationId xmlns:a16="http://schemas.microsoft.com/office/drawing/2014/main" id="{BDD70BAE-BC52-403C-A0C0-8E07A1D7B640}"/>
                </a:ext>
              </a:extLst>
            </p:cNvPr>
            <p:cNvSpPr/>
            <p:nvPr/>
          </p:nvSpPr>
          <p:spPr>
            <a:xfrm>
              <a:off x="3758908" y="3239227"/>
              <a:ext cx="471661" cy="154609"/>
            </a:xfrm>
            <a:custGeom>
              <a:avLst/>
              <a:gdLst/>
              <a:ahLst/>
              <a:cxnLst/>
              <a:rect l="l" t="t" r="r" b="b"/>
              <a:pathLst>
                <a:path w="19384" h="6354" extrusionOk="0">
                  <a:moveTo>
                    <a:pt x="15649" y="0"/>
                  </a:moveTo>
                  <a:cubicBezTo>
                    <a:pt x="15523" y="0"/>
                    <a:pt x="15398" y="52"/>
                    <a:pt x="15312" y="151"/>
                  </a:cubicBezTo>
                  <a:cubicBezTo>
                    <a:pt x="15157" y="341"/>
                    <a:pt x="15181" y="615"/>
                    <a:pt x="15372" y="770"/>
                  </a:cubicBezTo>
                  <a:lnTo>
                    <a:pt x="17729" y="2734"/>
                  </a:lnTo>
                  <a:lnTo>
                    <a:pt x="441" y="2734"/>
                  </a:lnTo>
                  <a:cubicBezTo>
                    <a:pt x="203" y="2734"/>
                    <a:pt x="1" y="2937"/>
                    <a:pt x="1" y="3175"/>
                  </a:cubicBezTo>
                  <a:cubicBezTo>
                    <a:pt x="1" y="3425"/>
                    <a:pt x="203" y="3615"/>
                    <a:pt x="441" y="3615"/>
                  </a:cubicBezTo>
                  <a:lnTo>
                    <a:pt x="17729" y="3615"/>
                  </a:lnTo>
                  <a:lnTo>
                    <a:pt x="15372" y="5580"/>
                  </a:lnTo>
                  <a:cubicBezTo>
                    <a:pt x="15181" y="5735"/>
                    <a:pt x="15157" y="6008"/>
                    <a:pt x="15312" y="6199"/>
                  </a:cubicBezTo>
                  <a:cubicBezTo>
                    <a:pt x="15407" y="6294"/>
                    <a:pt x="15526" y="6354"/>
                    <a:pt x="15657" y="6354"/>
                  </a:cubicBezTo>
                  <a:cubicBezTo>
                    <a:pt x="15753" y="6354"/>
                    <a:pt x="15848" y="6318"/>
                    <a:pt x="15931" y="6247"/>
                  </a:cubicBezTo>
                  <a:lnTo>
                    <a:pt x="19217" y="3508"/>
                  </a:lnTo>
                  <a:cubicBezTo>
                    <a:pt x="19324" y="3425"/>
                    <a:pt x="19384" y="3306"/>
                    <a:pt x="19384" y="3175"/>
                  </a:cubicBezTo>
                  <a:cubicBezTo>
                    <a:pt x="19384" y="3044"/>
                    <a:pt x="19324" y="2925"/>
                    <a:pt x="19217" y="2841"/>
                  </a:cubicBezTo>
                  <a:lnTo>
                    <a:pt x="15931" y="103"/>
                  </a:lnTo>
                  <a:cubicBezTo>
                    <a:pt x="15851" y="34"/>
                    <a:pt x="15750" y="0"/>
                    <a:pt x="15649" y="0"/>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28" name="Google Shape;1666;p42">
              <a:extLst>
                <a:ext uri="{FF2B5EF4-FFF2-40B4-BE49-F238E27FC236}">
                  <a16:creationId xmlns:a16="http://schemas.microsoft.com/office/drawing/2014/main" id="{95C99EFC-4893-4572-8540-B1962E2C9582}"/>
                </a:ext>
              </a:extLst>
            </p:cNvPr>
            <p:cNvSpPr/>
            <p:nvPr/>
          </p:nvSpPr>
          <p:spPr>
            <a:xfrm>
              <a:off x="4100188" y="2558730"/>
              <a:ext cx="362141" cy="362165"/>
            </a:xfrm>
            <a:custGeom>
              <a:avLst/>
              <a:gdLst/>
              <a:ahLst/>
              <a:cxnLst/>
              <a:rect l="l" t="t" r="r" b="b"/>
              <a:pathLst>
                <a:path w="14883" h="14884" extrusionOk="0">
                  <a:moveTo>
                    <a:pt x="7442" y="0"/>
                  </a:moveTo>
                  <a:cubicBezTo>
                    <a:pt x="3334" y="0"/>
                    <a:pt x="0" y="3334"/>
                    <a:pt x="0" y="7442"/>
                  </a:cubicBezTo>
                  <a:cubicBezTo>
                    <a:pt x="0" y="11549"/>
                    <a:pt x="3334" y="14883"/>
                    <a:pt x="7442" y="14883"/>
                  </a:cubicBezTo>
                  <a:cubicBezTo>
                    <a:pt x="11549" y="14883"/>
                    <a:pt x="14883" y="11549"/>
                    <a:pt x="14883" y="7442"/>
                  </a:cubicBezTo>
                  <a:cubicBezTo>
                    <a:pt x="14883" y="3334"/>
                    <a:pt x="11549" y="0"/>
                    <a:pt x="7442" y="0"/>
                  </a:cubicBezTo>
                  <a:close/>
                </a:path>
              </a:pathLst>
            </a:custGeom>
            <a:solidFill>
              <a:schemeClr val="accent1"/>
            </a:solidFill>
            <a:ln>
              <a:noFill/>
            </a:ln>
          </p:spPr>
          <p:txBody>
            <a:bodyPr spcFirstLastPara="1" wrap="square" lIns="0" tIns="121900" rIns="0" bIns="1219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Tx/>
                <a:buNone/>
                <a:tabLst/>
                <a:defRPr/>
              </a:pPr>
              <a:r>
                <a:rPr kumimoji="0" lang="en" sz="2267" b="0" i="0" u="none" strike="noStrike" kern="1200" cap="none" spc="0" normalizeH="0" baseline="0" noProof="0">
                  <a:ln>
                    <a:noFill/>
                  </a:ln>
                  <a:solidFill>
                    <a:srgbClr val="FFFFFF"/>
                  </a:solidFill>
                  <a:effectLst/>
                  <a:uLnTx/>
                  <a:uFillTx/>
                  <a:latin typeface="Arial"/>
                  <a:ea typeface="+mn-ea"/>
                  <a:cs typeface="+mn-ea"/>
                  <a:sym typeface="+mn-lt"/>
                </a:rPr>
                <a:t>03</a:t>
              </a:r>
              <a:endParaRPr kumimoji="0" sz="2267"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29" name="Google Shape;1667;p42">
              <a:extLst>
                <a:ext uri="{FF2B5EF4-FFF2-40B4-BE49-F238E27FC236}">
                  <a16:creationId xmlns:a16="http://schemas.microsoft.com/office/drawing/2014/main" id="{5E22003A-4B00-4255-8365-84DB4AE1F384}"/>
                </a:ext>
              </a:extLst>
            </p:cNvPr>
            <p:cNvSpPr txBox="1"/>
            <p:nvPr/>
          </p:nvSpPr>
          <p:spPr>
            <a:xfrm>
              <a:off x="2381925" y="3950675"/>
              <a:ext cx="1199100" cy="429600"/>
            </a:xfrm>
            <a:prstGeom prst="rect">
              <a:avLst/>
            </a:prstGeom>
            <a:no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 sz="2267" b="0" i="0" u="none" strike="noStrike" kern="1200" cap="none" spc="0" normalizeH="0" baseline="0" noProof="0">
                  <a:ln>
                    <a:noFill/>
                  </a:ln>
                  <a:solidFill>
                    <a:srgbClr val="434343"/>
                  </a:solidFill>
                  <a:effectLst/>
                  <a:uLnTx/>
                  <a:uFillTx/>
                  <a:latin typeface="Arial"/>
                  <a:ea typeface="+mn-ea"/>
                  <a:cs typeface="+mn-ea"/>
                  <a:sym typeface="+mn-lt"/>
                </a:rPr>
                <a:t>Saturn</a:t>
              </a:r>
              <a:endParaRPr kumimoji="0" sz="2267" b="0" i="0" u="none" strike="noStrike" kern="1200" cap="none" spc="0" normalizeH="0" baseline="0" noProof="0">
                <a:ln>
                  <a:noFill/>
                </a:ln>
                <a:solidFill>
                  <a:srgbClr val="434343"/>
                </a:solidFill>
                <a:effectLst/>
                <a:uLnTx/>
                <a:uFillTx/>
                <a:latin typeface="Arial"/>
                <a:ea typeface="+mn-ea"/>
                <a:cs typeface="+mn-ea"/>
                <a:sym typeface="+mn-lt"/>
              </a:endParaRPr>
            </a:p>
          </p:txBody>
        </p:sp>
        <p:sp>
          <p:nvSpPr>
            <p:cNvPr id="30" name="Google Shape;1668;p42">
              <a:extLst>
                <a:ext uri="{FF2B5EF4-FFF2-40B4-BE49-F238E27FC236}">
                  <a16:creationId xmlns:a16="http://schemas.microsoft.com/office/drawing/2014/main" id="{72AD8376-1D42-40A5-8EED-57813126A653}"/>
                </a:ext>
              </a:extLst>
            </p:cNvPr>
            <p:cNvSpPr txBox="1"/>
            <p:nvPr/>
          </p:nvSpPr>
          <p:spPr>
            <a:xfrm>
              <a:off x="2268200" y="3176987"/>
              <a:ext cx="1490700" cy="264000"/>
            </a:xfrm>
            <a:prstGeom prst="rect">
              <a:avLst/>
            </a:prstGeom>
            <a:noFill/>
            <a:ln>
              <a:noFill/>
            </a:ln>
          </p:spPr>
          <p:txBody>
            <a:bodyPr spcFirstLastPara="1" wrap="square" lIns="121900" tIns="121900" rIns="121900" bIns="12190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 sz="1600" b="0" i="0" u="none" strike="noStrike" kern="1200" cap="none" spc="0" normalizeH="0" baseline="0" noProof="0">
                  <a:ln>
                    <a:noFill/>
                  </a:ln>
                  <a:solidFill>
                    <a:srgbClr val="434343"/>
                  </a:solidFill>
                  <a:effectLst/>
                  <a:uLnTx/>
                  <a:uFillTx/>
                  <a:latin typeface="Arial"/>
                  <a:ea typeface="+mn-ea"/>
                  <a:cs typeface="+mn-ea"/>
                  <a:sym typeface="+mn-lt"/>
                </a:rPr>
                <a:t>It’s a gas giant</a:t>
              </a:r>
              <a:endParaRPr kumimoji="0" sz="1600" b="0" i="0" u="none" strike="noStrike" kern="1200" cap="none" spc="0" normalizeH="0" baseline="0" noProof="0">
                <a:ln>
                  <a:noFill/>
                </a:ln>
                <a:solidFill>
                  <a:srgbClr val="434343"/>
                </a:solidFill>
                <a:effectLst/>
                <a:uLnTx/>
                <a:uFillTx/>
                <a:latin typeface="Arial"/>
                <a:ea typeface="+mn-ea"/>
                <a:cs typeface="+mn-ea"/>
                <a:sym typeface="+mn-lt"/>
              </a:endParaRPr>
            </a:p>
          </p:txBody>
        </p:sp>
        <p:sp>
          <p:nvSpPr>
            <p:cNvPr id="31" name="Google Shape;1669;p42">
              <a:extLst>
                <a:ext uri="{FF2B5EF4-FFF2-40B4-BE49-F238E27FC236}">
                  <a16:creationId xmlns:a16="http://schemas.microsoft.com/office/drawing/2014/main" id="{0EED93E3-D2DE-438C-B99F-744808DF8AA5}"/>
                </a:ext>
              </a:extLst>
            </p:cNvPr>
            <p:cNvSpPr txBox="1"/>
            <p:nvPr/>
          </p:nvSpPr>
          <p:spPr>
            <a:xfrm>
              <a:off x="2051225" y="3529200"/>
              <a:ext cx="1490700" cy="264000"/>
            </a:xfrm>
            <a:prstGeom prst="rect">
              <a:avLst/>
            </a:prstGeom>
            <a:noFill/>
            <a:ln>
              <a:noFill/>
            </a:ln>
          </p:spPr>
          <p:txBody>
            <a:bodyPr spcFirstLastPara="1" wrap="square" lIns="121900" tIns="121900" rIns="121900" bIns="12190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 sz="1600" b="0" i="0" u="none" strike="noStrike" kern="1200" cap="none" spc="0" normalizeH="0" baseline="0" noProof="0">
                  <a:ln>
                    <a:noFill/>
                  </a:ln>
                  <a:solidFill>
                    <a:srgbClr val="434343"/>
                  </a:solidFill>
                  <a:effectLst/>
                  <a:uLnTx/>
                  <a:uFillTx/>
                  <a:latin typeface="Arial"/>
                  <a:ea typeface="+mn-ea"/>
                  <a:cs typeface="+mn-ea"/>
                  <a:sym typeface="+mn-lt"/>
                </a:rPr>
                <a:t>It has several rings</a:t>
              </a:r>
              <a:endParaRPr kumimoji="0" sz="1600" b="0" i="0" u="none" strike="noStrike" kern="1200" cap="none" spc="0" normalizeH="0" baseline="0" noProof="0">
                <a:ln>
                  <a:noFill/>
                </a:ln>
                <a:solidFill>
                  <a:srgbClr val="434343"/>
                </a:solidFill>
                <a:effectLst/>
                <a:uLnTx/>
                <a:uFillTx/>
                <a:latin typeface="Arial"/>
                <a:ea typeface="+mn-ea"/>
                <a:cs typeface="+mn-ea"/>
                <a:sym typeface="+mn-lt"/>
              </a:endParaRPr>
            </a:p>
          </p:txBody>
        </p:sp>
      </p:grpSp>
      <p:grpSp>
        <p:nvGrpSpPr>
          <p:cNvPr id="32" name="Google Shape;1670;p42">
            <a:extLst>
              <a:ext uri="{FF2B5EF4-FFF2-40B4-BE49-F238E27FC236}">
                <a16:creationId xmlns:a16="http://schemas.microsoft.com/office/drawing/2014/main" id="{53ECA505-F7FE-40B4-A645-7E3B80B67EAF}"/>
              </a:ext>
            </a:extLst>
          </p:cNvPr>
          <p:cNvGrpSpPr/>
          <p:nvPr/>
        </p:nvGrpSpPr>
        <p:grpSpPr>
          <a:xfrm>
            <a:off x="5640767" y="3240191"/>
            <a:ext cx="3220341" cy="2428727"/>
            <a:chOff x="4230575" y="2558730"/>
            <a:chExt cx="2415256" cy="1821545"/>
          </a:xfrm>
        </p:grpSpPr>
        <p:sp>
          <p:nvSpPr>
            <p:cNvPr id="33" name="Google Shape;1671;p42">
              <a:extLst>
                <a:ext uri="{FF2B5EF4-FFF2-40B4-BE49-F238E27FC236}">
                  <a16:creationId xmlns:a16="http://schemas.microsoft.com/office/drawing/2014/main" id="{EA1A0145-8801-4C95-9960-3D9D9D2F0979}"/>
                </a:ext>
              </a:extLst>
            </p:cNvPr>
            <p:cNvSpPr/>
            <p:nvPr/>
          </p:nvSpPr>
          <p:spPr>
            <a:xfrm>
              <a:off x="4657268" y="2841640"/>
              <a:ext cx="1834768" cy="1109027"/>
            </a:xfrm>
            <a:custGeom>
              <a:avLst/>
              <a:gdLst/>
              <a:ahLst/>
              <a:cxnLst/>
              <a:rect l="l" t="t" r="r" b="b"/>
              <a:pathLst>
                <a:path w="75404" h="45578" extrusionOk="0">
                  <a:moveTo>
                    <a:pt x="74408" y="1"/>
                  </a:moveTo>
                  <a:cubicBezTo>
                    <a:pt x="74122" y="1"/>
                    <a:pt x="73842" y="138"/>
                    <a:pt x="73677" y="393"/>
                  </a:cubicBezTo>
                  <a:lnTo>
                    <a:pt x="44768" y="43827"/>
                  </a:lnTo>
                  <a:lnTo>
                    <a:pt x="882" y="43827"/>
                  </a:lnTo>
                  <a:cubicBezTo>
                    <a:pt x="394" y="43827"/>
                    <a:pt x="1" y="44220"/>
                    <a:pt x="1" y="44708"/>
                  </a:cubicBezTo>
                  <a:cubicBezTo>
                    <a:pt x="1" y="45185"/>
                    <a:pt x="394" y="45577"/>
                    <a:pt x="882" y="45577"/>
                  </a:cubicBezTo>
                  <a:lnTo>
                    <a:pt x="45245" y="45577"/>
                  </a:lnTo>
                  <a:cubicBezTo>
                    <a:pt x="45530" y="45577"/>
                    <a:pt x="45804" y="45435"/>
                    <a:pt x="45971" y="45185"/>
                  </a:cubicBezTo>
                  <a:lnTo>
                    <a:pt x="75141" y="1370"/>
                  </a:lnTo>
                  <a:cubicBezTo>
                    <a:pt x="75403" y="965"/>
                    <a:pt x="75296" y="417"/>
                    <a:pt x="74891" y="143"/>
                  </a:cubicBezTo>
                  <a:cubicBezTo>
                    <a:pt x="74742" y="47"/>
                    <a:pt x="74574" y="1"/>
                    <a:pt x="74408" y="1"/>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34" name="Google Shape;1672;p42">
              <a:extLst>
                <a:ext uri="{FF2B5EF4-FFF2-40B4-BE49-F238E27FC236}">
                  <a16:creationId xmlns:a16="http://schemas.microsoft.com/office/drawing/2014/main" id="{21DE2D61-9F59-478E-B56B-EA974A96CF89}"/>
                </a:ext>
              </a:extLst>
            </p:cNvPr>
            <p:cNvSpPr/>
            <p:nvPr/>
          </p:nvSpPr>
          <p:spPr>
            <a:xfrm>
              <a:off x="5725417" y="3576179"/>
              <a:ext cx="471661" cy="154876"/>
            </a:xfrm>
            <a:custGeom>
              <a:avLst/>
              <a:gdLst/>
              <a:ahLst/>
              <a:cxnLst/>
              <a:rect l="l" t="t" r="r" b="b"/>
              <a:pathLst>
                <a:path w="19384" h="6365" extrusionOk="0">
                  <a:moveTo>
                    <a:pt x="15648" y="0"/>
                  </a:moveTo>
                  <a:cubicBezTo>
                    <a:pt x="15522" y="0"/>
                    <a:pt x="15398" y="55"/>
                    <a:pt x="15312" y="161"/>
                  </a:cubicBezTo>
                  <a:cubicBezTo>
                    <a:pt x="15157" y="352"/>
                    <a:pt x="15181" y="626"/>
                    <a:pt x="15371" y="781"/>
                  </a:cubicBezTo>
                  <a:lnTo>
                    <a:pt x="17729" y="2745"/>
                  </a:lnTo>
                  <a:lnTo>
                    <a:pt x="441" y="2745"/>
                  </a:lnTo>
                  <a:cubicBezTo>
                    <a:pt x="203" y="2745"/>
                    <a:pt x="0" y="2936"/>
                    <a:pt x="0" y="3186"/>
                  </a:cubicBezTo>
                  <a:cubicBezTo>
                    <a:pt x="0" y="3424"/>
                    <a:pt x="203" y="3614"/>
                    <a:pt x="441" y="3614"/>
                  </a:cubicBezTo>
                  <a:lnTo>
                    <a:pt x="17729" y="3614"/>
                  </a:lnTo>
                  <a:lnTo>
                    <a:pt x="15371" y="5579"/>
                  </a:lnTo>
                  <a:cubicBezTo>
                    <a:pt x="15181" y="5734"/>
                    <a:pt x="15157" y="6019"/>
                    <a:pt x="15312" y="6198"/>
                  </a:cubicBezTo>
                  <a:cubicBezTo>
                    <a:pt x="15407" y="6305"/>
                    <a:pt x="15526" y="6365"/>
                    <a:pt x="15657" y="6365"/>
                  </a:cubicBezTo>
                  <a:cubicBezTo>
                    <a:pt x="15752" y="6365"/>
                    <a:pt x="15847" y="6329"/>
                    <a:pt x="15931" y="6257"/>
                  </a:cubicBezTo>
                  <a:lnTo>
                    <a:pt x="19217" y="3519"/>
                  </a:lnTo>
                  <a:cubicBezTo>
                    <a:pt x="19324" y="3436"/>
                    <a:pt x="19384" y="3317"/>
                    <a:pt x="19384" y="3186"/>
                  </a:cubicBezTo>
                  <a:cubicBezTo>
                    <a:pt x="19384" y="3055"/>
                    <a:pt x="19324" y="2924"/>
                    <a:pt x="19217" y="2840"/>
                  </a:cubicBezTo>
                  <a:lnTo>
                    <a:pt x="15931" y="102"/>
                  </a:lnTo>
                  <a:cubicBezTo>
                    <a:pt x="15847" y="34"/>
                    <a:pt x="15747" y="0"/>
                    <a:pt x="15648" y="0"/>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35" name="Google Shape;1673;p42">
              <a:extLst>
                <a:ext uri="{FF2B5EF4-FFF2-40B4-BE49-F238E27FC236}">
                  <a16:creationId xmlns:a16="http://schemas.microsoft.com/office/drawing/2014/main" id="{6BFC4B0B-9BE0-4704-A87A-8A3F5709DABE}"/>
                </a:ext>
              </a:extLst>
            </p:cNvPr>
            <p:cNvSpPr/>
            <p:nvPr/>
          </p:nvSpPr>
          <p:spPr>
            <a:xfrm>
              <a:off x="5942677" y="3239227"/>
              <a:ext cx="471394" cy="154609"/>
            </a:xfrm>
            <a:custGeom>
              <a:avLst/>
              <a:gdLst/>
              <a:ahLst/>
              <a:cxnLst/>
              <a:rect l="l" t="t" r="r" b="b"/>
              <a:pathLst>
                <a:path w="19373" h="6354" extrusionOk="0">
                  <a:moveTo>
                    <a:pt x="15644" y="0"/>
                  </a:moveTo>
                  <a:cubicBezTo>
                    <a:pt x="15520" y="0"/>
                    <a:pt x="15398" y="52"/>
                    <a:pt x="15312" y="151"/>
                  </a:cubicBezTo>
                  <a:cubicBezTo>
                    <a:pt x="15158" y="341"/>
                    <a:pt x="15181" y="615"/>
                    <a:pt x="15360" y="770"/>
                  </a:cubicBezTo>
                  <a:lnTo>
                    <a:pt x="17717" y="2734"/>
                  </a:lnTo>
                  <a:lnTo>
                    <a:pt x="430" y="2734"/>
                  </a:lnTo>
                  <a:cubicBezTo>
                    <a:pt x="191" y="2734"/>
                    <a:pt x="1" y="2937"/>
                    <a:pt x="1" y="3175"/>
                  </a:cubicBezTo>
                  <a:cubicBezTo>
                    <a:pt x="1" y="3425"/>
                    <a:pt x="191" y="3615"/>
                    <a:pt x="430" y="3615"/>
                  </a:cubicBezTo>
                  <a:lnTo>
                    <a:pt x="17717" y="3615"/>
                  </a:lnTo>
                  <a:lnTo>
                    <a:pt x="15360" y="5580"/>
                  </a:lnTo>
                  <a:cubicBezTo>
                    <a:pt x="15181" y="5735"/>
                    <a:pt x="15158" y="6008"/>
                    <a:pt x="15312" y="6199"/>
                  </a:cubicBezTo>
                  <a:cubicBezTo>
                    <a:pt x="15396" y="6294"/>
                    <a:pt x="15515" y="6354"/>
                    <a:pt x="15646" y="6354"/>
                  </a:cubicBezTo>
                  <a:cubicBezTo>
                    <a:pt x="15741" y="6354"/>
                    <a:pt x="15848" y="6318"/>
                    <a:pt x="15932" y="6247"/>
                  </a:cubicBezTo>
                  <a:lnTo>
                    <a:pt x="19218" y="3508"/>
                  </a:lnTo>
                  <a:cubicBezTo>
                    <a:pt x="19313" y="3425"/>
                    <a:pt x="19372" y="3306"/>
                    <a:pt x="19372" y="3175"/>
                  </a:cubicBezTo>
                  <a:cubicBezTo>
                    <a:pt x="19372" y="3044"/>
                    <a:pt x="19313" y="2925"/>
                    <a:pt x="19218" y="2841"/>
                  </a:cubicBezTo>
                  <a:lnTo>
                    <a:pt x="15932" y="103"/>
                  </a:lnTo>
                  <a:cubicBezTo>
                    <a:pt x="15846" y="34"/>
                    <a:pt x="15745" y="0"/>
                    <a:pt x="15644" y="0"/>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36" name="Google Shape;1674;p42">
              <a:extLst>
                <a:ext uri="{FF2B5EF4-FFF2-40B4-BE49-F238E27FC236}">
                  <a16:creationId xmlns:a16="http://schemas.microsoft.com/office/drawing/2014/main" id="{3F44A637-C0E2-49A4-B1F4-38D589ECD148}"/>
                </a:ext>
              </a:extLst>
            </p:cNvPr>
            <p:cNvSpPr/>
            <p:nvPr/>
          </p:nvSpPr>
          <p:spPr>
            <a:xfrm>
              <a:off x="6283666" y="2558730"/>
              <a:ext cx="362165" cy="362165"/>
            </a:xfrm>
            <a:custGeom>
              <a:avLst/>
              <a:gdLst/>
              <a:ahLst/>
              <a:cxnLst/>
              <a:rect l="l" t="t" r="r" b="b"/>
              <a:pathLst>
                <a:path w="14884" h="14884" extrusionOk="0">
                  <a:moveTo>
                    <a:pt x="7442" y="0"/>
                  </a:moveTo>
                  <a:cubicBezTo>
                    <a:pt x="3334" y="0"/>
                    <a:pt x="1" y="3334"/>
                    <a:pt x="1" y="7442"/>
                  </a:cubicBezTo>
                  <a:cubicBezTo>
                    <a:pt x="1" y="11549"/>
                    <a:pt x="3334" y="14883"/>
                    <a:pt x="7442" y="14883"/>
                  </a:cubicBezTo>
                  <a:cubicBezTo>
                    <a:pt x="11550" y="14883"/>
                    <a:pt x="14883" y="11549"/>
                    <a:pt x="14883" y="7442"/>
                  </a:cubicBezTo>
                  <a:cubicBezTo>
                    <a:pt x="14883" y="3334"/>
                    <a:pt x="11550" y="0"/>
                    <a:pt x="7442" y="0"/>
                  </a:cubicBezTo>
                  <a:close/>
                </a:path>
              </a:pathLst>
            </a:custGeom>
            <a:solidFill>
              <a:schemeClr val="accent1"/>
            </a:solidFill>
            <a:ln>
              <a:noFill/>
            </a:ln>
          </p:spPr>
          <p:txBody>
            <a:bodyPr spcFirstLastPara="1" wrap="square" lIns="0" tIns="121900" rIns="0" bIns="1219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Tx/>
                <a:buNone/>
                <a:tabLst/>
                <a:defRPr/>
              </a:pPr>
              <a:r>
                <a:rPr kumimoji="0" lang="en" sz="2267" b="0" i="0" u="none" strike="noStrike" kern="1200" cap="none" spc="0" normalizeH="0" baseline="0" noProof="0">
                  <a:ln>
                    <a:noFill/>
                  </a:ln>
                  <a:solidFill>
                    <a:srgbClr val="FFFFFF"/>
                  </a:solidFill>
                  <a:effectLst/>
                  <a:uLnTx/>
                  <a:uFillTx/>
                  <a:latin typeface="Arial"/>
                  <a:ea typeface="+mn-ea"/>
                  <a:cs typeface="+mn-ea"/>
                  <a:sym typeface="+mn-lt"/>
                </a:rPr>
                <a:t>01</a:t>
              </a:r>
              <a:endParaRPr kumimoji="0" sz="2267"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37" name="Google Shape;1675;p42">
              <a:extLst>
                <a:ext uri="{FF2B5EF4-FFF2-40B4-BE49-F238E27FC236}">
                  <a16:creationId xmlns:a16="http://schemas.microsoft.com/office/drawing/2014/main" id="{6131D6F0-0C71-4BFF-B060-ECC3F1364A05}"/>
                </a:ext>
              </a:extLst>
            </p:cNvPr>
            <p:cNvSpPr txBox="1"/>
            <p:nvPr/>
          </p:nvSpPr>
          <p:spPr>
            <a:xfrm>
              <a:off x="4563800" y="3950675"/>
              <a:ext cx="1199100" cy="429600"/>
            </a:xfrm>
            <a:prstGeom prst="rect">
              <a:avLst/>
            </a:prstGeom>
            <a:no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 sz="2267" b="0" i="0" u="none" strike="noStrike" kern="1200" cap="none" spc="0" normalizeH="0" baseline="0" noProof="0">
                  <a:ln>
                    <a:noFill/>
                  </a:ln>
                  <a:solidFill>
                    <a:srgbClr val="434343"/>
                  </a:solidFill>
                  <a:effectLst/>
                  <a:uLnTx/>
                  <a:uFillTx/>
                  <a:latin typeface="Arial"/>
                  <a:ea typeface="+mn-ea"/>
                  <a:cs typeface="+mn-ea"/>
                  <a:sym typeface="+mn-lt"/>
                </a:rPr>
                <a:t>Neptune</a:t>
              </a:r>
              <a:endParaRPr kumimoji="0" sz="2267" b="0" i="0" u="none" strike="noStrike" kern="1200" cap="none" spc="0" normalizeH="0" baseline="0" noProof="0">
                <a:ln>
                  <a:noFill/>
                </a:ln>
                <a:solidFill>
                  <a:srgbClr val="434343"/>
                </a:solidFill>
                <a:effectLst/>
                <a:uLnTx/>
                <a:uFillTx/>
                <a:latin typeface="Arial"/>
                <a:ea typeface="+mn-ea"/>
                <a:cs typeface="+mn-ea"/>
                <a:sym typeface="+mn-lt"/>
              </a:endParaRPr>
            </a:p>
          </p:txBody>
        </p:sp>
        <p:sp>
          <p:nvSpPr>
            <p:cNvPr id="38" name="Google Shape;1676;p42">
              <a:extLst>
                <a:ext uri="{FF2B5EF4-FFF2-40B4-BE49-F238E27FC236}">
                  <a16:creationId xmlns:a16="http://schemas.microsoft.com/office/drawing/2014/main" id="{AA3CD4C2-51A2-4173-A6D8-14C875B58A32}"/>
                </a:ext>
              </a:extLst>
            </p:cNvPr>
            <p:cNvSpPr txBox="1"/>
            <p:nvPr/>
          </p:nvSpPr>
          <p:spPr>
            <a:xfrm>
              <a:off x="4447550" y="3176987"/>
              <a:ext cx="1490700" cy="264000"/>
            </a:xfrm>
            <a:prstGeom prst="rect">
              <a:avLst/>
            </a:prstGeom>
            <a:noFill/>
            <a:ln>
              <a:noFill/>
            </a:ln>
          </p:spPr>
          <p:txBody>
            <a:bodyPr spcFirstLastPara="1" wrap="square" lIns="121900" tIns="121900" rIns="121900" bIns="12190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 sz="1600" b="0" i="0" u="none" strike="noStrike" kern="1200" cap="none" spc="0" normalizeH="0" baseline="0" noProof="0">
                  <a:ln>
                    <a:noFill/>
                  </a:ln>
                  <a:solidFill>
                    <a:srgbClr val="434343"/>
                  </a:solidFill>
                  <a:effectLst/>
                  <a:uLnTx/>
                  <a:uFillTx/>
                  <a:latin typeface="Arial"/>
                  <a:ea typeface="+mn-ea"/>
                  <a:cs typeface="+mn-ea"/>
                  <a:sym typeface="+mn-lt"/>
                </a:rPr>
                <a:t>It’s the farthest</a:t>
              </a:r>
              <a:endParaRPr kumimoji="0" sz="1600" b="0" i="0" u="none" strike="noStrike" kern="1200" cap="none" spc="0" normalizeH="0" baseline="0" noProof="0">
                <a:ln>
                  <a:noFill/>
                </a:ln>
                <a:solidFill>
                  <a:srgbClr val="434343"/>
                </a:solidFill>
                <a:effectLst/>
                <a:uLnTx/>
                <a:uFillTx/>
                <a:latin typeface="Arial"/>
                <a:ea typeface="+mn-ea"/>
                <a:cs typeface="+mn-ea"/>
                <a:sym typeface="+mn-lt"/>
              </a:endParaRPr>
            </a:p>
          </p:txBody>
        </p:sp>
        <p:sp>
          <p:nvSpPr>
            <p:cNvPr id="39" name="Google Shape;1677;p42">
              <a:extLst>
                <a:ext uri="{FF2B5EF4-FFF2-40B4-BE49-F238E27FC236}">
                  <a16:creationId xmlns:a16="http://schemas.microsoft.com/office/drawing/2014/main" id="{5B1CED8C-BBCB-4A02-A034-7555C1198547}"/>
                </a:ext>
              </a:extLst>
            </p:cNvPr>
            <p:cNvSpPr txBox="1"/>
            <p:nvPr/>
          </p:nvSpPr>
          <p:spPr>
            <a:xfrm>
              <a:off x="4230575" y="3529200"/>
              <a:ext cx="1490700" cy="264000"/>
            </a:xfrm>
            <a:prstGeom prst="rect">
              <a:avLst/>
            </a:prstGeom>
            <a:noFill/>
            <a:ln>
              <a:noFill/>
            </a:ln>
          </p:spPr>
          <p:txBody>
            <a:bodyPr spcFirstLastPara="1" wrap="square" lIns="121900" tIns="121900" rIns="121900" bIns="12190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 sz="1600" b="0" i="0" u="none" strike="noStrike" kern="1200" cap="none" spc="0" normalizeH="0" baseline="0" noProof="0">
                  <a:ln>
                    <a:noFill/>
                  </a:ln>
                  <a:solidFill>
                    <a:srgbClr val="434343"/>
                  </a:solidFill>
                  <a:effectLst/>
                  <a:uLnTx/>
                  <a:uFillTx/>
                  <a:latin typeface="Arial"/>
                  <a:ea typeface="+mn-ea"/>
                  <a:cs typeface="+mn-ea"/>
                  <a:sym typeface="+mn-lt"/>
                </a:rPr>
                <a:t>It’s made of gas</a:t>
              </a:r>
              <a:endParaRPr kumimoji="0" sz="1600" b="0" i="0" u="none" strike="noStrike" kern="1200" cap="none" spc="0" normalizeH="0" baseline="0" noProof="0">
                <a:ln>
                  <a:noFill/>
                </a:ln>
                <a:solidFill>
                  <a:srgbClr val="434343"/>
                </a:solidFill>
                <a:effectLst/>
                <a:uLnTx/>
                <a:uFillTx/>
                <a:latin typeface="Arial"/>
                <a:ea typeface="+mn-ea"/>
                <a:cs typeface="+mn-ea"/>
                <a:sym typeface="+mn-lt"/>
              </a:endParaRPr>
            </a:p>
          </p:txBody>
        </p:sp>
      </p:grpSp>
    </p:spTree>
    <p:extLst>
      <p:ext uri="{BB962C8B-B14F-4D97-AF65-F5344CB8AC3E}">
        <p14:creationId xmlns:p14="http://schemas.microsoft.com/office/powerpoint/2010/main" val="2863537148"/>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7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Google Shape;1683;p43">
            <a:extLst>
              <a:ext uri="{FF2B5EF4-FFF2-40B4-BE49-F238E27FC236}">
                <a16:creationId xmlns:a16="http://schemas.microsoft.com/office/drawing/2014/main" id="{E03990DE-54B3-4A76-8677-6B70FA1ED1A1}"/>
              </a:ext>
            </a:extLst>
          </p:cNvPr>
          <p:cNvSpPr/>
          <p:nvPr/>
        </p:nvSpPr>
        <p:spPr>
          <a:xfrm>
            <a:off x="2180334" y="3493633"/>
            <a:ext cx="7025900" cy="21867"/>
          </a:xfrm>
          <a:custGeom>
            <a:avLst/>
            <a:gdLst/>
            <a:ahLst/>
            <a:cxnLst/>
            <a:rect l="l" t="t" r="r" b="b"/>
            <a:pathLst>
              <a:path w="210777" h="656" extrusionOk="0">
                <a:moveTo>
                  <a:pt x="0" y="1"/>
                </a:moveTo>
                <a:lnTo>
                  <a:pt x="0" y="656"/>
                </a:lnTo>
                <a:lnTo>
                  <a:pt x="210777" y="656"/>
                </a:lnTo>
                <a:lnTo>
                  <a:pt x="210777" y="1"/>
                </a:lnTo>
                <a:close/>
              </a:path>
            </a:pathLst>
          </a:custGeom>
          <a:solidFill>
            <a:srgbClr val="869FB2"/>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grpSp>
        <p:nvGrpSpPr>
          <p:cNvPr id="3" name="Google Shape;1684;p43">
            <a:extLst>
              <a:ext uri="{FF2B5EF4-FFF2-40B4-BE49-F238E27FC236}">
                <a16:creationId xmlns:a16="http://schemas.microsoft.com/office/drawing/2014/main" id="{9334471B-D1C5-41BD-927F-722385568B80}"/>
              </a:ext>
            </a:extLst>
          </p:cNvPr>
          <p:cNvGrpSpPr/>
          <p:nvPr/>
        </p:nvGrpSpPr>
        <p:grpSpPr>
          <a:xfrm>
            <a:off x="2067234" y="1866867"/>
            <a:ext cx="2884900" cy="1562133"/>
            <a:chOff x="1550425" y="1530038"/>
            <a:chExt cx="2163675" cy="1171600"/>
          </a:xfrm>
        </p:grpSpPr>
        <p:sp>
          <p:nvSpPr>
            <p:cNvPr id="4" name="Google Shape;1685;p43">
              <a:extLst>
                <a:ext uri="{FF2B5EF4-FFF2-40B4-BE49-F238E27FC236}">
                  <a16:creationId xmlns:a16="http://schemas.microsoft.com/office/drawing/2014/main" id="{875E152A-8E00-461C-A903-5B2C6B02ABCF}"/>
                </a:ext>
              </a:extLst>
            </p:cNvPr>
            <p:cNvSpPr/>
            <p:nvPr/>
          </p:nvSpPr>
          <p:spPr>
            <a:xfrm>
              <a:off x="1550425" y="1530038"/>
              <a:ext cx="1604675" cy="310175"/>
            </a:xfrm>
            <a:custGeom>
              <a:avLst/>
              <a:gdLst/>
              <a:ahLst/>
              <a:cxnLst/>
              <a:rect l="l" t="t" r="r" b="b"/>
              <a:pathLst>
                <a:path w="64187" h="12407" extrusionOk="0">
                  <a:moveTo>
                    <a:pt x="2096" y="0"/>
                  </a:moveTo>
                  <a:cubicBezTo>
                    <a:pt x="786" y="0"/>
                    <a:pt x="0" y="1477"/>
                    <a:pt x="726" y="2572"/>
                  </a:cubicBezTo>
                  <a:lnTo>
                    <a:pt x="6787" y="11657"/>
                  </a:lnTo>
                  <a:cubicBezTo>
                    <a:pt x="7096" y="12121"/>
                    <a:pt x="7620" y="12407"/>
                    <a:pt x="8180" y="12407"/>
                  </a:cubicBezTo>
                  <a:lnTo>
                    <a:pt x="64187" y="12407"/>
                  </a:lnTo>
                  <a:lnTo>
                    <a:pt x="56900" y="1477"/>
                  </a:lnTo>
                  <a:cubicBezTo>
                    <a:pt x="56293" y="560"/>
                    <a:pt x="55257" y="0"/>
                    <a:pt x="54138" y="0"/>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Tx/>
                <a:buNone/>
                <a:tabLst/>
                <a:defRPr/>
              </a:pPr>
              <a:r>
                <a:rPr kumimoji="0" lang="en" sz="2267" b="0" i="0" u="none" strike="noStrike" kern="1200" cap="none" spc="0" normalizeH="0" baseline="0" noProof="0">
                  <a:ln>
                    <a:noFill/>
                  </a:ln>
                  <a:solidFill>
                    <a:srgbClr val="FFFFFF"/>
                  </a:solidFill>
                  <a:effectLst/>
                  <a:uLnTx/>
                  <a:uFillTx/>
                  <a:latin typeface="Arial"/>
                  <a:ea typeface="+mn-ea"/>
                  <a:cs typeface="+mn-ea"/>
                  <a:sym typeface="+mn-lt"/>
                </a:rPr>
                <a:t>Venus</a:t>
              </a:r>
              <a:endParaRPr kumimoji="0" sz="2489" b="0" i="0" u="none" strike="noStrike" kern="1200" cap="none" spc="0" normalizeH="0" baseline="0" noProof="0">
                <a:ln>
                  <a:noFill/>
                </a:ln>
                <a:solidFill>
                  <a:srgbClr val="FFFFFF"/>
                </a:solidFill>
                <a:effectLst/>
                <a:uLnTx/>
                <a:uFillTx/>
                <a:latin typeface="Arial"/>
                <a:ea typeface="+mn-ea"/>
                <a:cs typeface="+mn-ea"/>
                <a:sym typeface="+mn-lt"/>
              </a:endParaRPr>
            </a:p>
          </p:txBody>
        </p:sp>
        <p:sp>
          <p:nvSpPr>
            <p:cNvPr id="5" name="Google Shape;1686;p43">
              <a:extLst>
                <a:ext uri="{FF2B5EF4-FFF2-40B4-BE49-F238E27FC236}">
                  <a16:creationId xmlns:a16="http://schemas.microsoft.com/office/drawing/2014/main" id="{928F850B-A35B-480F-A353-667115CE4A16}"/>
                </a:ext>
              </a:extLst>
            </p:cNvPr>
            <p:cNvSpPr/>
            <p:nvPr/>
          </p:nvSpPr>
          <p:spPr>
            <a:xfrm>
              <a:off x="2396050" y="1546713"/>
              <a:ext cx="1318050" cy="1154925"/>
            </a:xfrm>
            <a:custGeom>
              <a:avLst/>
              <a:gdLst/>
              <a:ahLst/>
              <a:cxnLst/>
              <a:rect l="l" t="t" r="r" b="b"/>
              <a:pathLst>
                <a:path w="52722" h="46197" extrusionOk="0">
                  <a:moveTo>
                    <a:pt x="22142" y="0"/>
                  </a:moveTo>
                  <a:cubicBezTo>
                    <a:pt x="21976" y="0"/>
                    <a:pt x="21807" y="47"/>
                    <a:pt x="21658" y="143"/>
                  </a:cubicBezTo>
                  <a:cubicBezTo>
                    <a:pt x="21265" y="417"/>
                    <a:pt x="21158" y="953"/>
                    <a:pt x="21420" y="1357"/>
                  </a:cubicBezTo>
                  <a:lnTo>
                    <a:pt x="38982" y="27742"/>
                  </a:lnTo>
                  <a:lnTo>
                    <a:pt x="870" y="27742"/>
                  </a:lnTo>
                  <a:cubicBezTo>
                    <a:pt x="394" y="27742"/>
                    <a:pt x="1" y="28123"/>
                    <a:pt x="1" y="28611"/>
                  </a:cubicBezTo>
                  <a:cubicBezTo>
                    <a:pt x="1" y="29087"/>
                    <a:pt x="394" y="29480"/>
                    <a:pt x="870" y="29480"/>
                  </a:cubicBezTo>
                  <a:lnTo>
                    <a:pt x="40137" y="29480"/>
                  </a:lnTo>
                  <a:lnTo>
                    <a:pt x="51007" y="45815"/>
                  </a:lnTo>
                  <a:cubicBezTo>
                    <a:pt x="51174" y="46065"/>
                    <a:pt x="51448" y="46196"/>
                    <a:pt x="51733" y="46196"/>
                  </a:cubicBezTo>
                  <a:cubicBezTo>
                    <a:pt x="51900" y="46196"/>
                    <a:pt x="52067" y="46149"/>
                    <a:pt x="52210" y="46053"/>
                  </a:cubicBezTo>
                  <a:cubicBezTo>
                    <a:pt x="52615" y="45791"/>
                    <a:pt x="52722" y="45244"/>
                    <a:pt x="52460" y="44839"/>
                  </a:cubicBezTo>
                  <a:lnTo>
                    <a:pt x="22873" y="393"/>
                  </a:lnTo>
                  <a:cubicBezTo>
                    <a:pt x="22707" y="137"/>
                    <a:pt x="22427" y="0"/>
                    <a:pt x="22142" y="0"/>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6" name="Google Shape;1687;p43">
              <a:extLst>
                <a:ext uri="{FF2B5EF4-FFF2-40B4-BE49-F238E27FC236}">
                  <a16:creationId xmlns:a16="http://schemas.microsoft.com/office/drawing/2014/main" id="{5EBACE1E-668C-410F-B0BE-E853538F8186}"/>
                </a:ext>
              </a:extLst>
            </p:cNvPr>
            <p:cNvSpPr txBox="1"/>
            <p:nvPr/>
          </p:nvSpPr>
          <p:spPr>
            <a:xfrm>
              <a:off x="1699500" y="1973663"/>
              <a:ext cx="1490700" cy="264000"/>
            </a:xfrm>
            <a:prstGeom prst="rect">
              <a:avLst/>
            </a:prstGeom>
            <a:noFill/>
            <a:ln>
              <a:noFill/>
            </a:ln>
          </p:spPr>
          <p:txBody>
            <a:bodyPr spcFirstLastPara="1" wrap="square" lIns="121900" tIns="121900" rIns="121900" bIns="12190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 sz="1600" b="0" i="0" u="none" strike="noStrike" kern="1200" cap="none" spc="0" normalizeH="0" baseline="0" noProof="0">
                  <a:ln>
                    <a:noFill/>
                  </a:ln>
                  <a:solidFill>
                    <a:srgbClr val="434343"/>
                  </a:solidFill>
                  <a:effectLst/>
                  <a:uLnTx/>
                  <a:uFillTx/>
                  <a:latin typeface="Arial"/>
                  <a:ea typeface="+mn-ea"/>
                  <a:cs typeface="+mn-ea"/>
                  <a:sym typeface="+mn-lt"/>
                </a:rPr>
                <a:t>It’s the second</a:t>
              </a:r>
              <a:endParaRPr kumimoji="0" sz="1600" b="0" i="0" u="none" strike="noStrike" kern="1200" cap="none" spc="0" normalizeH="0" baseline="0" noProof="0">
                <a:ln>
                  <a:noFill/>
                </a:ln>
                <a:solidFill>
                  <a:srgbClr val="434343"/>
                </a:solidFill>
                <a:effectLst/>
                <a:uLnTx/>
                <a:uFillTx/>
                <a:latin typeface="Arial"/>
                <a:ea typeface="+mn-ea"/>
                <a:cs typeface="+mn-ea"/>
                <a:sym typeface="+mn-lt"/>
              </a:endParaRPr>
            </a:p>
          </p:txBody>
        </p:sp>
        <p:sp>
          <p:nvSpPr>
            <p:cNvPr id="7" name="Google Shape;1688;p43">
              <a:extLst>
                <a:ext uri="{FF2B5EF4-FFF2-40B4-BE49-F238E27FC236}">
                  <a16:creationId xmlns:a16="http://schemas.microsoft.com/office/drawing/2014/main" id="{3676D260-0D6F-4A7A-BF37-563C93882D18}"/>
                </a:ext>
              </a:extLst>
            </p:cNvPr>
            <p:cNvSpPr txBox="1"/>
            <p:nvPr/>
          </p:nvSpPr>
          <p:spPr>
            <a:xfrm>
              <a:off x="1916475" y="2287863"/>
              <a:ext cx="1490700" cy="264000"/>
            </a:xfrm>
            <a:prstGeom prst="rect">
              <a:avLst/>
            </a:prstGeom>
            <a:noFill/>
            <a:ln>
              <a:noFill/>
            </a:ln>
          </p:spPr>
          <p:txBody>
            <a:bodyPr spcFirstLastPara="1" wrap="square" lIns="121900" tIns="121900" rIns="121900" bIns="12190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 sz="1600" b="0" i="0" u="none" strike="noStrike" kern="1200" cap="none" spc="0" normalizeH="0" baseline="0" noProof="0">
                  <a:ln>
                    <a:noFill/>
                  </a:ln>
                  <a:solidFill>
                    <a:srgbClr val="434343"/>
                  </a:solidFill>
                  <a:effectLst/>
                  <a:uLnTx/>
                  <a:uFillTx/>
                  <a:latin typeface="Arial"/>
                  <a:ea typeface="+mn-ea"/>
                  <a:cs typeface="+mn-ea"/>
                  <a:sym typeface="+mn-lt"/>
                </a:rPr>
                <a:t>It has a nice name</a:t>
              </a:r>
              <a:endParaRPr kumimoji="0" sz="1600" b="0" i="0" u="none" strike="noStrike" kern="1200" cap="none" spc="0" normalizeH="0" baseline="0" noProof="0">
                <a:ln>
                  <a:noFill/>
                </a:ln>
                <a:solidFill>
                  <a:srgbClr val="434343"/>
                </a:solidFill>
                <a:effectLst/>
                <a:uLnTx/>
                <a:uFillTx/>
                <a:latin typeface="Arial"/>
                <a:ea typeface="+mn-ea"/>
                <a:cs typeface="+mn-ea"/>
                <a:sym typeface="+mn-lt"/>
              </a:endParaRPr>
            </a:p>
          </p:txBody>
        </p:sp>
      </p:grpSp>
      <p:grpSp>
        <p:nvGrpSpPr>
          <p:cNvPr id="8" name="Google Shape;1689;p43">
            <a:extLst>
              <a:ext uri="{FF2B5EF4-FFF2-40B4-BE49-F238E27FC236}">
                <a16:creationId xmlns:a16="http://schemas.microsoft.com/office/drawing/2014/main" id="{9B060D5E-356B-49EB-9728-812A885512F2}"/>
              </a:ext>
            </a:extLst>
          </p:cNvPr>
          <p:cNvGrpSpPr/>
          <p:nvPr/>
        </p:nvGrpSpPr>
        <p:grpSpPr>
          <a:xfrm>
            <a:off x="5429167" y="1866867"/>
            <a:ext cx="2885300" cy="1562133"/>
            <a:chOff x="4071875" y="1530038"/>
            <a:chExt cx="2163975" cy="1171600"/>
          </a:xfrm>
        </p:grpSpPr>
        <p:sp>
          <p:nvSpPr>
            <p:cNvPr id="9" name="Google Shape;1690;p43">
              <a:extLst>
                <a:ext uri="{FF2B5EF4-FFF2-40B4-BE49-F238E27FC236}">
                  <a16:creationId xmlns:a16="http://schemas.microsoft.com/office/drawing/2014/main" id="{3A4E3423-E372-4D80-A763-5F9EA5CD7EA0}"/>
                </a:ext>
              </a:extLst>
            </p:cNvPr>
            <p:cNvSpPr/>
            <p:nvPr/>
          </p:nvSpPr>
          <p:spPr>
            <a:xfrm>
              <a:off x="4071875" y="1530038"/>
              <a:ext cx="1604975" cy="310175"/>
            </a:xfrm>
            <a:custGeom>
              <a:avLst/>
              <a:gdLst/>
              <a:ahLst/>
              <a:cxnLst/>
              <a:rect l="l" t="t" r="r" b="b"/>
              <a:pathLst>
                <a:path w="64199" h="12407" extrusionOk="0">
                  <a:moveTo>
                    <a:pt x="2107" y="0"/>
                  </a:moveTo>
                  <a:cubicBezTo>
                    <a:pt x="798" y="0"/>
                    <a:pt x="0" y="1477"/>
                    <a:pt x="738" y="2572"/>
                  </a:cubicBezTo>
                  <a:lnTo>
                    <a:pt x="6798" y="11657"/>
                  </a:lnTo>
                  <a:cubicBezTo>
                    <a:pt x="7108" y="12121"/>
                    <a:pt x="7632" y="12407"/>
                    <a:pt x="8192" y="12407"/>
                  </a:cubicBezTo>
                  <a:lnTo>
                    <a:pt x="64199" y="12407"/>
                  </a:lnTo>
                  <a:lnTo>
                    <a:pt x="56912" y="1477"/>
                  </a:lnTo>
                  <a:cubicBezTo>
                    <a:pt x="56305" y="560"/>
                    <a:pt x="55269" y="0"/>
                    <a:pt x="54150" y="0"/>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Tx/>
                <a:buNone/>
                <a:tabLst/>
                <a:defRPr/>
              </a:pPr>
              <a:r>
                <a:rPr kumimoji="0" lang="en" sz="2267" b="0" i="0" u="none" strike="noStrike" kern="1200" cap="none" spc="0" normalizeH="0" baseline="0" noProof="0">
                  <a:ln>
                    <a:noFill/>
                  </a:ln>
                  <a:solidFill>
                    <a:srgbClr val="FFFFFF"/>
                  </a:solidFill>
                  <a:effectLst/>
                  <a:uLnTx/>
                  <a:uFillTx/>
                  <a:latin typeface="Arial"/>
                  <a:ea typeface="+mn-ea"/>
                  <a:cs typeface="+mn-ea"/>
                  <a:sym typeface="+mn-lt"/>
                </a:rPr>
                <a:t>Saturn</a:t>
              </a:r>
              <a:endParaRPr kumimoji="0" sz="2489" b="0" i="0" u="none" strike="noStrike" kern="1200" cap="none" spc="0" normalizeH="0" baseline="0" noProof="0">
                <a:ln>
                  <a:noFill/>
                </a:ln>
                <a:solidFill>
                  <a:srgbClr val="FFFFFF"/>
                </a:solidFill>
                <a:effectLst/>
                <a:uLnTx/>
                <a:uFillTx/>
                <a:latin typeface="Arial"/>
                <a:ea typeface="+mn-ea"/>
                <a:cs typeface="+mn-ea"/>
                <a:sym typeface="+mn-lt"/>
              </a:endParaRPr>
            </a:p>
          </p:txBody>
        </p:sp>
        <p:sp>
          <p:nvSpPr>
            <p:cNvPr id="10" name="Google Shape;1691;p43">
              <a:extLst>
                <a:ext uri="{FF2B5EF4-FFF2-40B4-BE49-F238E27FC236}">
                  <a16:creationId xmlns:a16="http://schemas.microsoft.com/office/drawing/2014/main" id="{31380F0A-3688-4E67-B2B0-6021C16260CB}"/>
                </a:ext>
              </a:extLst>
            </p:cNvPr>
            <p:cNvSpPr/>
            <p:nvPr/>
          </p:nvSpPr>
          <p:spPr>
            <a:xfrm>
              <a:off x="4917800" y="1546713"/>
              <a:ext cx="1318050" cy="1154925"/>
            </a:xfrm>
            <a:custGeom>
              <a:avLst/>
              <a:gdLst/>
              <a:ahLst/>
              <a:cxnLst/>
              <a:rect l="l" t="t" r="r" b="b"/>
              <a:pathLst>
                <a:path w="52722" h="46197" extrusionOk="0">
                  <a:moveTo>
                    <a:pt x="22142" y="0"/>
                  </a:moveTo>
                  <a:cubicBezTo>
                    <a:pt x="21975" y="0"/>
                    <a:pt x="21807" y="47"/>
                    <a:pt x="21658" y="143"/>
                  </a:cubicBezTo>
                  <a:cubicBezTo>
                    <a:pt x="21265" y="417"/>
                    <a:pt x="21146" y="953"/>
                    <a:pt x="21420" y="1357"/>
                  </a:cubicBezTo>
                  <a:lnTo>
                    <a:pt x="38970" y="27742"/>
                  </a:lnTo>
                  <a:lnTo>
                    <a:pt x="870" y="27742"/>
                  </a:lnTo>
                  <a:cubicBezTo>
                    <a:pt x="394" y="27742"/>
                    <a:pt x="1" y="28123"/>
                    <a:pt x="1" y="28611"/>
                  </a:cubicBezTo>
                  <a:cubicBezTo>
                    <a:pt x="1" y="29087"/>
                    <a:pt x="394" y="29480"/>
                    <a:pt x="870" y="29480"/>
                  </a:cubicBezTo>
                  <a:lnTo>
                    <a:pt x="40137" y="29480"/>
                  </a:lnTo>
                  <a:lnTo>
                    <a:pt x="51007" y="45815"/>
                  </a:lnTo>
                  <a:cubicBezTo>
                    <a:pt x="51174" y="46065"/>
                    <a:pt x="51448" y="46196"/>
                    <a:pt x="51733" y="46196"/>
                  </a:cubicBezTo>
                  <a:cubicBezTo>
                    <a:pt x="51900" y="46196"/>
                    <a:pt x="52067" y="46149"/>
                    <a:pt x="52210" y="46053"/>
                  </a:cubicBezTo>
                  <a:cubicBezTo>
                    <a:pt x="52614" y="45791"/>
                    <a:pt x="52721" y="45244"/>
                    <a:pt x="52460" y="44839"/>
                  </a:cubicBezTo>
                  <a:lnTo>
                    <a:pt x="22873" y="393"/>
                  </a:lnTo>
                  <a:cubicBezTo>
                    <a:pt x="22707" y="137"/>
                    <a:pt x="22427" y="0"/>
                    <a:pt x="22142" y="0"/>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11" name="Google Shape;1692;p43">
              <a:extLst>
                <a:ext uri="{FF2B5EF4-FFF2-40B4-BE49-F238E27FC236}">
                  <a16:creationId xmlns:a16="http://schemas.microsoft.com/office/drawing/2014/main" id="{42394F23-0781-43EE-B543-DAECA19BCBCE}"/>
                </a:ext>
              </a:extLst>
            </p:cNvPr>
            <p:cNvSpPr txBox="1"/>
            <p:nvPr/>
          </p:nvSpPr>
          <p:spPr>
            <a:xfrm>
              <a:off x="4211850" y="1973663"/>
              <a:ext cx="1490700" cy="264000"/>
            </a:xfrm>
            <a:prstGeom prst="rect">
              <a:avLst/>
            </a:prstGeom>
            <a:noFill/>
            <a:ln>
              <a:noFill/>
            </a:ln>
          </p:spPr>
          <p:txBody>
            <a:bodyPr spcFirstLastPara="1" wrap="square" lIns="121900" tIns="121900" rIns="121900" bIns="12190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 sz="1600" b="0" i="0" u="none" strike="noStrike" kern="1200" cap="none" spc="0" normalizeH="0" baseline="0" noProof="0">
                  <a:ln>
                    <a:noFill/>
                  </a:ln>
                  <a:solidFill>
                    <a:srgbClr val="434343"/>
                  </a:solidFill>
                  <a:effectLst/>
                  <a:uLnTx/>
                  <a:uFillTx/>
                  <a:latin typeface="Arial"/>
                  <a:ea typeface="+mn-ea"/>
                  <a:cs typeface="+mn-ea"/>
                  <a:sym typeface="+mn-lt"/>
                </a:rPr>
                <a:t>It’s the ringed one</a:t>
              </a:r>
              <a:endParaRPr kumimoji="0" sz="1600" b="0" i="0" u="none" strike="noStrike" kern="1200" cap="none" spc="0" normalizeH="0" baseline="0" noProof="0">
                <a:ln>
                  <a:noFill/>
                </a:ln>
                <a:solidFill>
                  <a:srgbClr val="434343"/>
                </a:solidFill>
                <a:effectLst/>
                <a:uLnTx/>
                <a:uFillTx/>
                <a:latin typeface="Arial"/>
                <a:ea typeface="+mn-ea"/>
                <a:cs typeface="+mn-ea"/>
                <a:sym typeface="+mn-lt"/>
              </a:endParaRPr>
            </a:p>
          </p:txBody>
        </p:sp>
        <p:sp>
          <p:nvSpPr>
            <p:cNvPr id="12" name="Google Shape;1693;p43">
              <a:extLst>
                <a:ext uri="{FF2B5EF4-FFF2-40B4-BE49-F238E27FC236}">
                  <a16:creationId xmlns:a16="http://schemas.microsoft.com/office/drawing/2014/main" id="{86C3C786-19E4-4686-8D66-88A6E23F59AD}"/>
                </a:ext>
              </a:extLst>
            </p:cNvPr>
            <p:cNvSpPr txBox="1"/>
            <p:nvPr/>
          </p:nvSpPr>
          <p:spPr>
            <a:xfrm>
              <a:off x="4428825" y="2287863"/>
              <a:ext cx="1490700" cy="264000"/>
            </a:xfrm>
            <a:prstGeom prst="rect">
              <a:avLst/>
            </a:prstGeom>
            <a:noFill/>
            <a:ln>
              <a:noFill/>
            </a:ln>
          </p:spPr>
          <p:txBody>
            <a:bodyPr spcFirstLastPara="1" wrap="square" lIns="121900" tIns="121900" rIns="121900" bIns="12190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 sz="1600" b="0" i="0" u="none" strike="noStrike" kern="1200" cap="none" spc="0" normalizeH="0" baseline="0" noProof="0">
                  <a:ln>
                    <a:noFill/>
                  </a:ln>
                  <a:solidFill>
                    <a:srgbClr val="434343"/>
                  </a:solidFill>
                  <a:effectLst/>
                  <a:uLnTx/>
                  <a:uFillTx/>
                  <a:latin typeface="Arial"/>
                  <a:ea typeface="+mn-ea"/>
                  <a:cs typeface="+mn-ea"/>
                  <a:sym typeface="+mn-lt"/>
                </a:rPr>
                <a:t>It has several rings</a:t>
              </a:r>
              <a:endParaRPr kumimoji="0" sz="1600" b="0" i="0" u="none" strike="noStrike" kern="1200" cap="none" spc="0" normalizeH="0" baseline="0" noProof="0">
                <a:ln>
                  <a:noFill/>
                </a:ln>
                <a:solidFill>
                  <a:srgbClr val="434343"/>
                </a:solidFill>
                <a:effectLst/>
                <a:uLnTx/>
                <a:uFillTx/>
                <a:latin typeface="Arial"/>
                <a:ea typeface="+mn-ea"/>
                <a:cs typeface="+mn-ea"/>
                <a:sym typeface="+mn-lt"/>
              </a:endParaRPr>
            </a:p>
          </p:txBody>
        </p:sp>
      </p:grpSp>
      <p:grpSp>
        <p:nvGrpSpPr>
          <p:cNvPr id="13" name="Google Shape;1694;p43">
            <a:extLst>
              <a:ext uri="{FF2B5EF4-FFF2-40B4-BE49-F238E27FC236}">
                <a16:creationId xmlns:a16="http://schemas.microsoft.com/office/drawing/2014/main" id="{DCF722F0-80B5-4FC5-80BC-491D23BFB73F}"/>
              </a:ext>
            </a:extLst>
          </p:cNvPr>
          <p:cNvGrpSpPr/>
          <p:nvPr/>
        </p:nvGrpSpPr>
        <p:grpSpPr>
          <a:xfrm>
            <a:off x="2067234" y="3569267"/>
            <a:ext cx="2884900" cy="1562300"/>
            <a:chOff x="1550425" y="2806838"/>
            <a:chExt cx="2163675" cy="1171725"/>
          </a:xfrm>
        </p:grpSpPr>
        <p:sp>
          <p:nvSpPr>
            <p:cNvPr id="14" name="Google Shape;1695;p43">
              <a:extLst>
                <a:ext uri="{FF2B5EF4-FFF2-40B4-BE49-F238E27FC236}">
                  <a16:creationId xmlns:a16="http://schemas.microsoft.com/office/drawing/2014/main" id="{809A97DF-65D4-4879-8265-666EBC69C1D2}"/>
                </a:ext>
              </a:extLst>
            </p:cNvPr>
            <p:cNvSpPr/>
            <p:nvPr/>
          </p:nvSpPr>
          <p:spPr>
            <a:xfrm>
              <a:off x="1550425" y="3668388"/>
              <a:ext cx="1604675" cy="310175"/>
            </a:xfrm>
            <a:custGeom>
              <a:avLst/>
              <a:gdLst/>
              <a:ahLst/>
              <a:cxnLst/>
              <a:rect l="l" t="t" r="r" b="b"/>
              <a:pathLst>
                <a:path w="64187" h="12407" extrusionOk="0">
                  <a:moveTo>
                    <a:pt x="8180" y="1"/>
                  </a:moveTo>
                  <a:cubicBezTo>
                    <a:pt x="7620" y="1"/>
                    <a:pt x="7096" y="286"/>
                    <a:pt x="6787" y="751"/>
                  </a:cubicBezTo>
                  <a:lnTo>
                    <a:pt x="726" y="9835"/>
                  </a:lnTo>
                  <a:cubicBezTo>
                    <a:pt x="0" y="10931"/>
                    <a:pt x="786" y="12407"/>
                    <a:pt x="2096" y="12407"/>
                  </a:cubicBezTo>
                  <a:lnTo>
                    <a:pt x="54138" y="12407"/>
                  </a:lnTo>
                  <a:cubicBezTo>
                    <a:pt x="55257" y="12407"/>
                    <a:pt x="56293" y="11847"/>
                    <a:pt x="56900" y="10931"/>
                  </a:cubicBezTo>
                  <a:lnTo>
                    <a:pt x="64187" y="1"/>
                  </a:lnTo>
                  <a:close/>
                </a:path>
              </a:pathLst>
            </a:custGeom>
            <a:solidFill>
              <a:schemeClr val="accent1"/>
            </a:solidFill>
            <a:ln>
              <a:noFill/>
            </a:ln>
          </p:spPr>
          <p:txBody>
            <a:bodyPr spcFirstLastPara="1" wrap="square" lIns="121900" tIns="121900" rIns="121900" bIns="1219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Tx/>
                <a:buNone/>
                <a:tabLst/>
                <a:defRPr/>
              </a:pPr>
              <a:r>
                <a:rPr kumimoji="0" lang="en" sz="2267" b="0" i="0" u="none" strike="noStrike" kern="1200" cap="none" spc="0" normalizeH="0" baseline="0" noProof="0">
                  <a:ln>
                    <a:noFill/>
                  </a:ln>
                  <a:solidFill>
                    <a:srgbClr val="FFFFFF"/>
                  </a:solidFill>
                  <a:effectLst/>
                  <a:uLnTx/>
                  <a:uFillTx/>
                  <a:latin typeface="Arial"/>
                  <a:ea typeface="+mn-ea"/>
                  <a:cs typeface="+mn-ea"/>
                  <a:sym typeface="+mn-lt"/>
                </a:rPr>
                <a:t>Mars</a:t>
              </a:r>
              <a:endParaRPr kumimoji="0" sz="2489" b="0" i="0" u="none" strike="noStrike" kern="1200" cap="none" spc="0" normalizeH="0" baseline="0" noProof="0">
                <a:ln>
                  <a:noFill/>
                </a:ln>
                <a:solidFill>
                  <a:srgbClr val="FFFFFF"/>
                </a:solidFill>
                <a:effectLst/>
                <a:uLnTx/>
                <a:uFillTx/>
                <a:latin typeface="Arial"/>
                <a:ea typeface="+mn-ea"/>
                <a:cs typeface="+mn-ea"/>
                <a:sym typeface="+mn-lt"/>
              </a:endParaRPr>
            </a:p>
          </p:txBody>
        </p:sp>
        <p:sp>
          <p:nvSpPr>
            <p:cNvPr id="15" name="Google Shape;1696;p43">
              <a:extLst>
                <a:ext uri="{FF2B5EF4-FFF2-40B4-BE49-F238E27FC236}">
                  <a16:creationId xmlns:a16="http://schemas.microsoft.com/office/drawing/2014/main" id="{717093C3-374B-4E4F-A226-EFB43F7A1FFD}"/>
                </a:ext>
              </a:extLst>
            </p:cNvPr>
            <p:cNvSpPr/>
            <p:nvPr/>
          </p:nvSpPr>
          <p:spPr>
            <a:xfrm>
              <a:off x="2396050" y="2806838"/>
              <a:ext cx="1318050" cy="1155075"/>
            </a:xfrm>
            <a:custGeom>
              <a:avLst/>
              <a:gdLst/>
              <a:ahLst/>
              <a:cxnLst/>
              <a:rect l="l" t="t" r="r" b="b"/>
              <a:pathLst>
                <a:path w="52722" h="46203" extrusionOk="0">
                  <a:moveTo>
                    <a:pt x="51734" y="0"/>
                  </a:moveTo>
                  <a:cubicBezTo>
                    <a:pt x="51451" y="0"/>
                    <a:pt x="51172" y="139"/>
                    <a:pt x="51007" y="387"/>
                  </a:cubicBezTo>
                  <a:lnTo>
                    <a:pt x="40137" y="16722"/>
                  </a:lnTo>
                  <a:lnTo>
                    <a:pt x="870" y="16722"/>
                  </a:lnTo>
                  <a:cubicBezTo>
                    <a:pt x="394" y="16722"/>
                    <a:pt x="1" y="17115"/>
                    <a:pt x="1" y="17592"/>
                  </a:cubicBezTo>
                  <a:cubicBezTo>
                    <a:pt x="1" y="18080"/>
                    <a:pt x="394" y="18461"/>
                    <a:pt x="870" y="18461"/>
                  </a:cubicBezTo>
                  <a:lnTo>
                    <a:pt x="38982" y="18461"/>
                  </a:lnTo>
                  <a:lnTo>
                    <a:pt x="21420" y="44845"/>
                  </a:lnTo>
                  <a:cubicBezTo>
                    <a:pt x="21158" y="45250"/>
                    <a:pt x="21265" y="45785"/>
                    <a:pt x="21658" y="46059"/>
                  </a:cubicBezTo>
                  <a:cubicBezTo>
                    <a:pt x="21813" y="46155"/>
                    <a:pt x="21980" y="46202"/>
                    <a:pt x="22146" y="46202"/>
                  </a:cubicBezTo>
                  <a:cubicBezTo>
                    <a:pt x="22432" y="46202"/>
                    <a:pt x="22706" y="46071"/>
                    <a:pt x="22873" y="45809"/>
                  </a:cubicBezTo>
                  <a:lnTo>
                    <a:pt x="52460" y="1363"/>
                  </a:lnTo>
                  <a:cubicBezTo>
                    <a:pt x="52722" y="959"/>
                    <a:pt x="52615" y="411"/>
                    <a:pt x="52210" y="149"/>
                  </a:cubicBezTo>
                  <a:cubicBezTo>
                    <a:pt x="52065" y="48"/>
                    <a:pt x="51899" y="0"/>
                    <a:pt x="51734" y="0"/>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16" name="Google Shape;1697;p43">
              <a:extLst>
                <a:ext uri="{FF2B5EF4-FFF2-40B4-BE49-F238E27FC236}">
                  <a16:creationId xmlns:a16="http://schemas.microsoft.com/office/drawing/2014/main" id="{89FBC0AD-E01C-4B94-A39B-F2CDB0FEBAF2}"/>
                </a:ext>
              </a:extLst>
            </p:cNvPr>
            <p:cNvSpPr txBox="1"/>
            <p:nvPr/>
          </p:nvSpPr>
          <p:spPr>
            <a:xfrm>
              <a:off x="1916475" y="2959488"/>
              <a:ext cx="1490700" cy="264000"/>
            </a:xfrm>
            <a:prstGeom prst="rect">
              <a:avLst/>
            </a:prstGeom>
            <a:noFill/>
            <a:ln>
              <a:noFill/>
            </a:ln>
          </p:spPr>
          <p:txBody>
            <a:bodyPr spcFirstLastPara="1" wrap="square" lIns="121900" tIns="121900" rIns="121900" bIns="12190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 sz="1600" b="0" i="0" u="none" strike="noStrike" kern="1200" cap="none" spc="0" normalizeH="0" baseline="0" noProof="0">
                  <a:ln>
                    <a:noFill/>
                  </a:ln>
                  <a:solidFill>
                    <a:srgbClr val="434343"/>
                  </a:solidFill>
                  <a:effectLst/>
                  <a:uLnTx/>
                  <a:uFillTx/>
                  <a:latin typeface="Arial"/>
                  <a:ea typeface="+mn-ea"/>
                  <a:cs typeface="+mn-ea"/>
                  <a:sym typeface="+mn-lt"/>
                </a:rPr>
                <a:t>It’s a cold place</a:t>
              </a:r>
              <a:endParaRPr kumimoji="0" sz="1600" b="0" i="0" u="none" strike="noStrike" kern="1200" cap="none" spc="0" normalizeH="0" baseline="0" noProof="0">
                <a:ln>
                  <a:noFill/>
                </a:ln>
                <a:solidFill>
                  <a:srgbClr val="434343"/>
                </a:solidFill>
                <a:effectLst/>
                <a:uLnTx/>
                <a:uFillTx/>
                <a:latin typeface="Arial"/>
                <a:ea typeface="+mn-ea"/>
                <a:cs typeface="+mn-ea"/>
                <a:sym typeface="+mn-lt"/>
              </a:endParaRPr>
            </a:p>
          </p:txBody>
        </p:sp>
        <p:sp>
          <p:nvSpPr>
            <p:cNvPr id="17" name="Google Shape;1698;p43">
              <a:extLst>
                <a:ext uri="{FF2B5EF4-FFF2-40B4-BE49-F238E27FC236}">
                  <a16:creationId xmlns:a16="http://schemas.microsoft.com/office/drawing/2014/main" id="{8298CA51-2EE1-447D-9646-314BA1CA04EA}"/>
                </a:ext>
              </a:extLst>
            </p:cNvPr>
            <p:cNvSpPr txBox="1"/>
            <p:nvPr/>
          </p:nvSpPr>
          <p:spPr>
            <a:xfrm>
              <a:off x="1699500" y="3268763"/>
              <a:ext cx="1490700" cy="264000"/>
            </a:xfrm>
            <a:prstGeom prst="rect">
              <a:avLst/>
            </a:prstGeom>
            <a:noFill/>
            <a:ln>
              <a:noFill/>
            </a:ln>
          </p:spPr>
          <p:txBody>
            <a:bodyPr spcFirstLastPara="1" wrap="square" lIns="121900" tIns="121900" rIns="121900" bIns="12190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 sz="1600" b="0" i="0" u="none" strike="noStrike" kern="1200" cap="none" spc="0" normalizeH="0" baseline="0" noProof="0">
                  <a:ln>
                    <a:noFill/>
                  </a:ln>
                  <a:solidFill>
                    <a:srgbClr val="434343"/>
                  </a:solidFill>
                  <a:effectLst/>
                  <a:uLnTx/>
                  <a:uFillTx/>
                  <a:latin typeface="Arial"/>
                  <a:ea typeface="+mn-ea"/>
                  <a:cs typeface="+mn-ea"/>
                  <a:sym typeface="+mn-lt"/>
                </a:rPr>
                <a:t>It’s the red planet</a:t>
              </a:r>
              <a:endParaRPr kumimoji="0" sz="1600" b="0" i="0" u="none" strike="noStrike" kern="1200" cap="none" spc="0" normalizeH="0" baseline="0" noProof="0">
                <a:ln>
                  <a:noFill/>
                </a:ln>
                <a:solidFill>
                  <a:srgbClr val="434343"/>
                </a:solidFill>
                <a:effectLst/>
                <a:uLnTx/>
                <a:uFillTx/>
                <a:latin typeface="Arial"/>
                <a:ea typeface="+mn-ea"/>
                <a:cs typeface="+mn-ea"/>
                <a:sym typeface="+mn-lt"/>
              </a:endParaRPr>
            </a:p>
          </p:txBody>
        </p:sp>
      </p:grpSp>
      <p:grpSp>
        <p:nvGrpSpPr>
          <p:cNvPr id="18" name="Google Shape;1699;p43">
            <a:extLst>
              <a:ext uri="{FF2B5EF4-FFF2-40B4-BE49-F238E27FC236}">
                <a16:creationId xmlns:a16="http://schemas.microsoft.com/office/drawing/2014/main" id="{B93588E4-4A56-4990-ACC7-AE72E7EAB3C8}"/>
              </a:ext>
            </a:extLst>
          </p:cNvPr>
          <p:cNvGrpSpPr/>
          <p:nvPr/>
        </p:nvGrpSpPr>
        <p:grpSpPr>
          <a:xfrm>
            <a:off x="5429167" y="3569267"/>
            <a:ext cx="2885300" cy="1562300"/>
            <a:chOff x="4071875" y="2806838"/>
            <a:chExt cx="2163975" cy="1171725"/>
          </a:xfrm>
        </p:grpSpPr>
        <p:sp>
          <p:nvSpPr>
            <p:cNvPr id="19" name="Google Shape;1700;p43">
              <a:extLst>
                <a:ext uri="{FF2B5EF4-FFF2-40B4-BE49-F238E27FC236}">
                  <a16:creationId xmlns:a16="http://schemas.microsoft.com/office/drawing/2014/main" id="{E05F7CEE-9B34-468B-B6E9-0B615034E248}"/>
                </a:ext>
              </a:extLst>
            </p:cNvPr>
            <p:cNvSpPr/>
            <p:nvPr/>
          </p:nvSpPr>
          <p:spPr>
            <a:xfrm>
              <a:off x="4071875" y="3668388"/>
              <a:ext cx="1604975" cy="310175"/>
            </a:xfrm>
            <a:custGeom>
              <a:avLst/>
              <a:gdLst/>
              <a:ahLst/>
              <a:cxnLst/>
              <a:rect l="l" t="t" r="r" b="b"/>
              <a:pathLst>
                <a:path w="64199" h="12407" extrusionOk="0">
                  <a:moveTo>
                    <a:pt x="8192" y="1"/>
                  </a:moveTo>
                  <a:cubicBezTo>
                    <a:pt x="7632" y="1"/>
                    <a:pt x="7108" y="286"/>
                    <a:pt x="6798" y="751"/>
                  </a:cubicBezTo>
                  <a:lnTo>
                    <a:pt x="738" y="9835"/>
                  </a:lnTo>
                  <a:cubicBezTo>
                    <a:pt x="0" y="10931"/>
                    <a:pt x="798" y="12407"/>
                    <a:pt x="2107" y="12407"/>
                  </a:cubicBezTo>
                  <a:lnTo>
                    <a:pt x="54150" y="12407"/>
                  </a:lnTo>
                  <a:cubicBezTo>
                    <a:pt x="55269" y="12407"/>
                    <a:pt x="56305" y="11847"/>
                    <a:pt x="56912" y="10931"/>
                  </a:cubicBezTo>
                  <a:lnTo>
                    <a:pt x="64199" y="1"/>
                  </a:lnTo>
                  <a:close/>
                </a:path>
              </a:pathLst>
            </a:custGeom>
            <a:solidFill>
              <a:schemeClr val="accent1"/>
            </a:solidFill>
            <a:ln>
              <a:noFill/>
            </a:ln>
          </p:spPr>
          <p:txBody>
            <a:bodyPr spcFirstLastPara="1" wrap="square" lIns="121900" tIns="121900" rIns="121900" bIns="1219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Tx/>
                <a:buNone/>
                <a:tabLst/>
                <a:defRPr/>
              </a:pPr>
              <a:r>
                <a:rPr kumimoji="0" lang="en" sz="2267" b="0" i="0" u="none" strike="noStrike" kern="1200" cap="none" spc="0" normalizeH="0" baseline="0" noProof="0">
                  <a:ln>
                    <a:noFill/>
                  </a:ln>
                  <a:solidFill>
                    <a:srgbClr val="FFFFFF"/>
                  </a:solidFill>
                  <a:effectLst/>
                  <a:uLnTx/>
                  <a:uFillTx/>
                  <a:latin typeface="Arial"/>
                  <a:ea typeface="+mn-ea"/>
                  <a:cs typeface="+mn-ea"/>
                  <a:sym typeface="+mn-lt"/>
                </a:rPr>
                <a:t>Jupiter</a:t>
              </a:r>
              <a:endParaRPr kumimoji="0" sz="2267" b="0" i="0" u="none" strike="noStrike" kern="1200" cap="none" spc="0" normalizeH="0" baseline="0" noProof="0">
                <a:ln>
                  <a:noFill/>
                </a:ln>
                <a:solidFill>
                  <a:srgbClr val="FFFFFF"/>
                </a:solidFill>
                <a:effectLst/>
                <a:uLnTx/>
                <a:uFillTx/>
                <a:latin typeface="Arial"/>
                <a:ea typeface="+mn-ea"/>
                <a:cs typeface="+mn-ea"/>
                <a:sym typeface="+mn-lt"/>
              </a:endParaRPr>
            </a:p>
          </p:txBody>
        </p:sp>
        <p:sp>
          <p:nvSpPr>
            <p:cNvPr id="20" name="Google Shape;1701;p43">
              <a:extLst>
                <a:ext uri="{FF2B5EF4-FFF2-40B4-BE49-F238E27FC236}">
                  <a16:creationId xmlns:a16="http://schemas.microsoft.com/office/drawing/2014/main" id="{98EC7D1E-A397-4BDE-BB03-A2AC917FE99A}"/>
                </a:ext>
              </a:extLst>
            </p:cNvPr>
            <p:cNvSpPr/>
            <p:nvPr/>
          </p:nvSpPr>
          <p:spPr>
            <a:xfrm>
              <a:off x="4917800" y="2806838"/>
              <a:ext cx="1318050" cy="1155075"/>
            </a:xfrm>
            <a:custGeom>
              <a:avLst/>
              <a:gdLst/>
              <a:ahLst/>
              <a:cxnLst/>
              <a:rect l="l" t="t" r="r" b="b"/>
              <a:pathLst>
                <a:path w="52722" h="46203" extrusionOk="0">
                  <a:moveTo>
                    <a:pt x="51733" y="0"/>
                  </a:moveTo>
                  <a:cubicBezTo>
                    <a:pt x="51451" y="0"/>
                    <a:pt x="51172" y="139"/>
                    <a:pt x="51007" y="387"/>
                  </a:cubicBezTo>
                  <a:lnTo>
                    <a:pt x="40137" y="16722"/>
                  </a:lnTo>
                  <a:lnTo>
                    <a:pt x="870" y="16722"/>
                  </a:lnTo>
                  <a:cubicBezTo>
                    <a:pt x="394" y="16722"/>
                    <a:pt x="1" y="17115"/>
                    <a:pt x="1" y="17592"/>
                  </a:cubicBezTo>
                  <a:cubicBezTo>
                    <a:pt x="1" y="18080"/>
                    <a:pt x="394" y="18461"/>
                    <a:pt x="870" y="18461"/>
                  </a:cubicBezTo>
                  <a:lnTo>
                    <a:pt x="38970" y="18461"/>
                  </a:lnTo>
                  <a:lnTo>
                    <a:pt x="21420" y="44845"/>
                  </a:lnTo>
                  <a:cubicBezTo>
                    <a:pt x="21146" y="45250"/>
                    <a:pt x="21265" y="45785"/>
                    <a:pt x="21658" y="46059"/>
                  </a:cubicBezTo>
                  <a:cubicBezTo>
                    <a:pt x="21813" y="46155"/>
                    <a:pt x="21980" y="46202"/>
                    <a:pt x="22146" y="46202"/>
                  </a:cubicBezTo>
                  <a:cubicBezTo>
                    <a:pt x="22432" y="46202"/>
                    <a:pt x="22706" y="46071"/>
                    <a:pt x="22873" y="45809"/>
                  </a:cubicBezTo>
                  <a:lnTo>
                    <a:pt x="52460" y="1363"/>
                  </a:lnTo>
                  <a:cubicBezTo>
                    <a:pt x="52721" y="959"/>
                    <a:pt x="52614" y="411"/>
                    <a:pt x="52210" y="149"/>
                  </a:cubicBezTo>
                  <a:cubicBezTo>
                    <a:pt x="52064" y="48"/>
                    <a:pt x="51898" y="0"/>
                    <a:pt x="51733" y="0"/>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21" name="Google Shape;1702;p43">
              <a:extLst>
                <a:ext uri="{FF2B5EF4-FFF2-40B4-BE49-F238E27FC236}">
                  <a16:creationId xmlns:a16="http://schemas.microsoft.com/office/drawing/2014/main" id="{FEC2801B-F1D5-49C4-A398-8C38EB62B6C1}"/>
                </a:ext>
              </a:extLst>
            </p:cNvPr>
            <p:cNvSpPr txBox="1"/>
            <p:nvPr/>
          </p:nvSpPr>
          <p:spPr>
            <a:xfrm>
              <a:off x="4428813" y="2959488"/>
              <a:ext cx="1490700" cy="264000"/>
            </a:xfrm>
            <a:prstGeom prst="rect">
              <a:avLst/>
            </a:prstGeom>
            <a:noFill/>
            <a:ln>
              <a:noFill/>
            </a:ln>
          </p:spPr>
          <p:txBody>
            <a:bodyPr spcFirstLastPara="1" wrap="square" lIns="121900" tIns="121900" rIns="121900" bIns="12190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 sz="1600" b="0" i="0" u="none" strike="noStrike" kern="1200" cap="none" spc="0" normalizeH="0" baseline="0" noProof="0">
                  <a:ln>
                    <a:noFill/>
                  </a:ln>
                  <a:solidFill>
                    <a:srgbClr val="434343"/>
                  </a:solidFill>
                  <a:effectLst/>
                  <a:uLnTx/>
                  <a:uFillTx/>
                  <a:latin typeface="Arial"/>
                  <a:ea typeface="+mn-ea"/>
                  <a:cs typeface="+mn-ea"/>
                  <a:sym typeface="+mn-lt"/>
                </a:rPr>
                <a:t>It’s a gas giant</a:t>
              </a:r>
              <a:endParaRPr kumimoji="0" sz="1600" b="0" i="0" u="none" strike="noStrike" kern="1200" cap="none" spc="0" normalizeH="0" baseline="0" noProof="0">
                <a:ln>
                  <a:noFill/>
                </a:ln>
                <a:solidFill>
                  <a:srgbClr val="434343"/>
                </a:solidFill>
                <a:effectLst/>
                <a:uLnTx/>
                <a:uFillTx/>
                <a:latin typeface="Arial"/>
                <a:ea typeface="+mn-ea"/>
                <a:cs typeface="+mn-ea"/>
                <a:sym typeface="+mn-lt"/>
              </a:endParaRPr>
            </a:p>
          </p:txBody>
        </p:sp>
        <p:sp>
          <p:nvSpPr>
            <p:cNvPr id="22" name="Google Shape;1703;p43">
              <a:extLst>
                <a:ext uri="{FF2B5EF4-FFF2-40B4-BE49-F238E27FC236}">
                  <a16:creationId xmlns:a16="http://schemas.microsoft.com/office/drawing/2014/main" id="{6ADC682C-3357-45A3-8C19-95D6FB2A0C4E}"/>
                </a:ext>
              </a:extLst>
            </p:cNvPr>
            <p:cNvSpPr txBox="1"/>
            <p:nvPr/>
          </p:nvSpPr>
          <p:spPr>
            <a:xfrm>
              <a:off x="4211838" y="3268763"/>
              <a:ext cx="1490700" cy="264000"/>
            </a:xfrm>
            <a:prstGeom prst="rect">
              <a:avLst/>
            </a:prstGeom>
            <a:noFill/>
            <a:ln>
              <a:noFill/>
            </a:ln>
          </p:spPr>
          <p:txBody>
            <a:bodyPr spcFirstLastPara="1" wrap="square" lIns="121900" tIns="121900" rIns="121900" bIns="12190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 sz="1600" b="0" i="0" u="none" strike="noStrike" kern="1200" cap="none" spc="0" normalizeH="0" baseline="0" noProof="0">
                  <a:ln>
                    <a:noFill/>
                  </a:ln>
                  <a:solidFill>
                    <a:srgbClr val="434343"/>
                  </a:solidFill>
                  <a:effectLst/>
                  <a:uLnTx/>
                  <a:uFillTx/>
                  <a:latin typeface="Arial"/>
                  <a:ea typeface="+mn-ea"/>
                  <a:cs typeface="+mn-ea"/>
                  <a:sym typeface="+mn-lt"/>
                </a:rPr>
                <a:t>It’s the biggest</a:t>
              </a:r>
              <a:endParaRPr kumimoji="0" sz="1600" b="0" i="0" u="none" strike="noStrike" kern="1200" cap="none" spc="0" normalizeH="0" baseline="0" noProof="0">
                <a:ln>
                  <a:noFill/>
                </a:ln>
                <a:solidFill>
                  <a:srgbClr val="434343"/>
                </a:solidFill>
                <a:effectLst/>
                <a:uLnTx/>
                <a:uFillTx/>
                <a:latin typeface="Arial"/>
                <a:ea typeface="+mn-ea"/>
                <a:cs typeface="+mn-ea"/>
                <a:sym typeface="+mn-lt"/>
              </a:endParaRPr>
            </a:p>
          </p:txBody>
        </p:sp>
      </p:grpSp>
      <p:grpSp>
        <p:nvGrpSpPr>
          <p:cNvPr id="23" name="Google Shape;1704;p43">
            <a:extLst>
              <a:ext uri="{FF2B5EF4-FFF2-40B4-BE49-F238E27FC236}">
                <a16:creationId xmlns:a16="http://schemas.microsoft.com/office/drawing/2014/main" id="{1A6B8D64-0E65-44EE-8B44-CAB73FC3EDA8}"/>
              </a:ext>
            </a:extLst>
          </p:cNvPr>
          <p:cNvGrpSpPr/>
          <p:nvPr/>
        </p:nvGrpSpPr>
        <p:grpSpPr>
          <a:xfrm>
            <a:off x="1596134" y="3080501"/>
            <a:ext cx="8999733" cy="847767"/>
            <a:chOff x="1197100" y="2440263"/>
            <a:chExt cx="6749800" cy="635825"/>
          </a:xfrm>
        </p:grpSpPr>
        <p:sp>
          <p:nvSpPr>
            <p:cNvPr id="24" name="Google Shape;1705;p43">
              <a:extLst>
                <a:ext uri="{FF2B5EF4-FFF2-40B4-BE49-F238E27FC236}">
                  <a16:creationId xmlns:a16="http://schemas.microsoft.com/office/drawing/2014/main" id="{C027F9C8-518D-4E08-B402-F7F5E9AF9F07}"/>
                </a:ext>
              </a:extLst>
            </p:cNvPr>
            <p:cNvSpPr/>
            <p:nvPr/>
          </p:nvSpPr>
          <p:spPr>
            <a:xfrm>
              <a:off x="1613525" y="2728388"/>
              <a:ext cx="5312875" cy="59550"/>
            </a:xfrm>
            <a:custGeom>
              <a:avLst/>
              <a:gdLst/>
              <a:ahLst/>
              <a:cxnLst/>
              <a:rect l="l" t="t" r="r" b="b"/>
              <a:pathLst>
                <a:path w="212515" h="2382" extrusionOk="0">
                  <a:moveTo>
                    <a:pt x="0" y="1"/>
                  </a:moveTo>
                  <a:lnTo>
                    <a:pt x="0" y="2382"/>
                  </a:lnTo>
                  <a:lnTo>
                    <a:pt x="212515" y="2382"/>
                  </a:lnTo>
                  <a:lnTo>
                    <a:pt x="212515" y="1"/>
                  </a:lnTo>
                  <a:close/>
                </a:path>
              </a:pathLst>
            </a:custGeom>
            <a:solidFill>
              <a:srgbClr val="869FB2"/>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25" name="Google Shape;1706;p43">
              <a:extLst>
                <a:ext uri="{FF2B5EF4-FFF2-40B4-BE49-F238E27FC236}">
                  <a16:creationId xmlns:a16="http://schemas.microsoft.com/office/drawing/2014/main" id="{9C9CA72B-846C-4831-979D-0621A915FAFC}"/>
                </a:ext>
              </a:extLst>
            </p:cNvPr>
            <p:cNvSpPr/>
            <p:nvPr/>
          </p:nvSpPr>
          <p:spPr>
            <a:xfrm>
              <a:off x="6688975" y="2440263"/>
              <a:ext cx="1257925" cy="635825"/>
            </a:xfrm>
            <a:custGeom>
              <a:avLst/>
              <a:gdLst/>
              <a:ahLst/>
              <a:cxnLst/>
              <a:rect l="l" t="t" r="r" b="b"/>
              <a:pathLst>
                <a:path w="50317" h="25433" extrusionOk="0">
                  <a:moveTo>
                    <a:pt x="1" y="1"/>
                  </a:moveTo>
                  <a:lnTo>
                    <a:pt x="8430" y="12669"/>
                  </a:lnTo>
                  <a:lnTo>
                    <a:pt x="1" y="25432"/>
                  </a:lnTo>
                  <a:lnTo>
                    <a:pt x="41875" y="25432"/>
                  </a:lnTo>
                  <a:lnTo>
                    <a:pt x="50316" y="12669"/>
                  </a:lnTo>
                  <a:lnTo>
                    <a:pt x="41875" y="1"/>
                  </a:lnTo>
                  <a:close/>
                </a:path>
              </a:pathLst>
            </a:custGeom>
            <a:solidFill>
              <a:srgbClr val="869FB2"/>
            </a:solidFill>
            <a:ln>
              <a:noFill/>
            </a:ln>
          </p:spPr>
          <p:txBody>
            <a:bodyPr spcFirstLastPara="1" wrap="square" lIns="121900" tIns="121900" rIns="121900" bIns="1219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Tx/>
                <a:buNone/>
                <a:tabLst/>
                <a:defRPr/>
              </a:pPr>
              <a:r>
                <a:rPr kumimoji="0" lang="en" sz="2267" b="0" i="0" u="none" strike="noStrike" kern="1200" cap="none" spc="0" normalizeH="0" baseline="0" noProof="0">
                  <a:ln>
                    <a:noFill/>
                  </a:ln>
                  <a:solidFill>
                    <a:srgbClr val="FFFFFF"/>
                  </a:solidFill>
                  <a:effectLst/>
                  <a:uLnTx/>
                  <a:uFillTx/>
                  <a:latin typeface="Arial"/>
                  <a:ea typeface="+mn-ea"/>
                  <a:cs typeface="+mn-ea"/>
                  <a:sym typeface="+mn-lt"/>
                </a:rPr>
                <a:t>Mercury</a:t>
              </a:r>
              <a:endParaRPr kumimoji="0" sz="2267" b="0" i="0" u="none" strike="noStrike" kern="1200" cap="none" spc="0" normalizeH="0" baseline="0" noProof="0">
                <a:ln>
                  <a:noFill/>
                </a:ln>
                <a:solidFill>
                  <a:srgbClr val="FFFFFF"/>
                </a:solidFill>
                <a:effectLst/>
                <a:uLnTx/>
                <a:uFillTx/>
                <a:latin typeface="Arial"/>
                <a:ea typeface="+mn-ea"/>
                <a:cs typeface="+mn-ea"/>
                <a:sym typeface="+mn-lt"/>
              </a:endParaRPr>
            </a:p>
          </p:txBody>
        </p:sp>
        <p:sp>
          <p:nvSpPr>
            <p:cNvPr id="26" name="Google Shape;1707;p43">
              <a:extLst>
                <a:ext uri="{FF2B5EF4-FFF2-40B4-BE49-F238E27FC236}">
                  <a16:creationId xmlns:a16="http://schemas.microsoft.com/office/drawing/2014/main" id="{83DACA97-E853-4388-B325-FC731F225D5C}"/>
                </a:ext>
              </a:extLst>
            </p:cNvPr>
            <p:cNvSpPr/>
            <p:nvPr/>
          </p:nvSpPr>
          <p:spPr>
            <a:xfrm>
              <a:off x="1197100" y="2440263"/>
              <a:ext cx="603375" cy="635825"/>
            </a:xfrm>
            <a:custGeom>
              <a:avLst/>
              <a:gdLst/>
              <a:ahLst/>
              <a:cxnLst/>
              <a:rect l="l" t="t" r="r" b="b"/>
              <a:pathLst>
                <a:path w="24135" h="25433" extrusionOk="0">
                  <a:moveTo>
                    <a:pt x="0" y="1"/>
                  </a:moveTo>
                  <a:lnTo>
                    <a:pt x="8442" y="12669"/>
                  </a:lnTo>
                  <a:lnTo>
                    <a:pt x="0" y="25432"/>
                  </a:lnTo>
                  <a:lnTo>
                    <a:pt x="15705" y="25432"/>
                  </a:lnTo>
                  <a:lnTo>
                    <a:pt x="24134" y="12669"/>
                  </a:lnTo>
                  <a:lnTo>
                    <a:pt x="15705" y="1"/>
                  </a:lnTo>
                  <a:close/>
                </a:path>
              </a:pathLst>
            </a:custGeom>
            <a:solidFill>
              <a:srgbClr val="869FB2"/>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27" name="Google Shape;1708;p43">
              <a:extLst>
                <a:ext uri="{FF2B5EF4-FFF2-40B4-BE49-F238E27FC236}">
                  <a16:creationId xmlns:a16="http://schemas.microsoft.com/office/drawing/2014/main" id="{C93459A7-828E-4031-8DD0-EAB0866E6056}"/>
                </a:ext>
              </a:extLst>
            </p:cNvPr>
            <p:cNvSpPr/>
            <p:nvPr/>
          </p:nvSpPr>
          <p:spPr>
            <a:xfrm>
              <a:off x="3447188" y="2539504"/>
              <a:ext cx="429614" cy="429582"/>
            </a:xfrm>
            <a:custGeom>
              <a:avLst/>
              <a:gdLst/>
              <a:ahLst/>
              <a:cxnLst/>
              <a:rect l="l" t="t" r="r" b="b"/>
              <a:pathLst>
                <a:path w="13098" h="13097" extrusionOk="0">
                  <a:moveTo>
                    <a:pt x="6549" y="0"/>
                  </a:moveTo>
                  <a:cubicBezTo>
                    <a:pt x="2942" y="0"/>
                    <a:pt x="1" y="2929"/>
                    <a:pt x="1" y="6549"/>
                  </a:cubicBezTo>
                  <a:cubicBezTo>
                    <a:pt x="1" y="10168"/>
                    <a:pt x="2942" y="13097"/>
                    <a:pt x="6549" y="13097"/>
                  </a:cubicBezTo>
                  <a:cubicBezTo>
                    <a:pt x="10169" y="13097"/>
                    <a:pt x="13098" y="10168"/>
                    <a:pt x="13098" y="6549"/>
                  </a:cubicBezTo>
                  <a:cubicBezTo>
                    <a:pt x="13098" y="2929"/>
                    <a:pt x="10169" y="0"/>
                    <a:pt x="6549" y="0"/>
                  </a:cubicBezTo>
                  <a:close/>
                </a:path>
              </a:pathLst>
            </a:custGeom>
            <a:solidFill>
              <a:srgbClr val="869FB2"/>
            </a:solidFill>
            <a:ln>
              <a:noFill/>
            </a:ln>
          </p:spPr>
          <p:txBody>
            <a:bodyPr spcFirstLastPara="1" wrap="square" lIns="121900" tIns="121900" rIns="121900" bIns="1219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Tx/>
                <a:buNone/>
                <a:tabLst/>
                <a:defRPr/>
              </a:pPr>
              <a:r>
                <a:rPr kumimoji="0" lang="en" sz="2267" b="0" i="0" u="none" strike="noStrike" kern="1200" cap="none" spc="0" normalizeH="0" baseline="0" noProof="0">
                  <a:ln>
                    <a:noFill/>
                  </a:ln>
                  <a:solidFill>
                    <a:srgbClr val="FFFFFF"/>
                  </a:solidFill>
                  <a:effectLst/>
                  <a:uLnTx/>
                  <a:uFillTx/>
                  <a:latin typeface="Arial"/>
                  <a:ea typeface="+mn-ea"/>
                  <a:cs typeface="+mn-ea"/>
                  <a:sym typeface="+mn-lt"/>
                </a:rPr>
                <a:t>B</a:t>
              </a: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28" name="Google Shape;1709;p43">
              <a:extLst>
                <a:ext uri="{FF2B5EF4-FFF2-40B4-BE49-F238E27FC236}">
                  <a16:creationId xmlns:a16="http://schemas.microsoft.com/office/drawing/2014/main" id="{F7907008-9613-4217-8E34-6F540A53D4E8}"/>
                </a:ext>
              </a:extLst>
            </p:cNvPr>
            <p:cNvSpPr/>
            <p:nvPr/>
          </p:nvSpPr>
          <p:spPr>
            <a:xfrm>
              <a:off x="5996625" y="2539516"/>
              <a:ext cx="429614" cy="429582"/>
            </a:xfrm>
            <a:custGeom>
              <a:avLst/>
              <a:gdLst/>
              <a:ahLst/>
              <a:cxnLst/>
              <a:rect l="l" t="t" r="r" b="b"/>
              <a:pathLst>
                <a:path w="13098" h="13097" extrusionOk="0">
                  <a:moveTo>
                    <a:pt x="6549" y="0"/>
                  </a:moveTo>
                  <a:cubicBezTo>
                    <a:pt x="2942" y="0"/>
                    <a:pt x="1" y="2929"/>
                    <a:pt x="1" y="6549"/>
                  </a:cubicBezTo>
                  <a:cubicBezTo>
                    <a:pt x="1" y="10168"/>
                    <a:pt x="2942" y="13097"/>
                    <a:pt x="6549" y="13097"/>
                  </a:cubicBezTo>
                  <a:cubicBezTo>
                    <a:pt x="10169" y="13097"/>
                    <a:pt x="13098" y="10168"/>
                    <a:pt x="13098" y="6549"/>
                  </a:cubicBezTo>
                  <a:cubicBezTo>
                    <a:pt x="13098" y="2929"/>
                    <a:pt x="10169" y="0"/>
                    <a:pt x="6549" y="0"/>
                  </a:cubicBezTo>
                  <a:close/>
                </a:path>
              </a:pathLst>
            </a:custGeom>
            <a:solidFill>
              <a:srgbClr val="869FB2"/>
            </a:solidFill>
            <a:ln>
              <a:noFill/>
            </a:ln>
          </p:spPr>
          <p:txBody>
            <a:bodyPr spcFirstLastPara="1" wrap="square" lIns="121900" tIns="121900" rIns="121900" bIns="1219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Tx/>
                <a:buNone/>
                <a:tabLst/>
                <a:defRPr/>
              </a:pPr>
              <a:r>
                <a:rPr kumimoji="0" lang="en" sz="2267" b="0" i="0" u="none" strike="noStrike" kern="1200" cap="none" spc="0" normalizeH="0" baseline="0" noProof="0">
                  <a:ln>
                    <a:noFill/>
                  </a:ln>
                  <a:solidFill>
                    <a:srgbClr val="FFFFFF"/>
                  </a:solidFill>
                  <a:effectLst/>
                  <a:uLnTx/>
                  <a:uFillTx/>
                  <a:latin typeface="Arial"/>
                  <a:ea typeface="+mn-ea"/>
                  <a:cs typeface="+mn-ea"/>
                  <a:sym typeface="+mn-lt"/>
                </a:rPr>
                <a:t>A</a:t>
              </a: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grpSp>
    </p:spTree>
    <p:extLst>
      <p:ext uri="{BB962C8B-B14F-4D97-AF65-F5344CB8AC3E}">
        <p14:creationId xmlns:p14="http://schemas.microsoft.com/office/powerpoint/2010/main" val="959495203"/>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7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oogle Shape;1714;p44">
            <a:extLst>
              <a:ext uri="{FF2B5EF4-FFF2-40B4-BE49-F238E27FC236}">
                <a16:creationId xmlns:a16="http://schemas.microsoft.com/office/drawing/2014/main" id="{3138940F-9AD1-4E3F-BC39-D46EA8FCAE53}"/>
              </a:ext>
            </a:extLst>
          </p:cNvPr>
          <p:cNvGrpSpPr/>
          <p:nvPr/>
        </p:nvGrpSpPr>
        <p:grpSpPr>
          <a:xfrm>
            <a:off x="8529236" y="2196230"/>
            <a:ext cx="1781253" cy="916121"/>
            <a:chOff x="6396927" y="1890059"/>
            <a:chExt cx="1335940" cy="687091"/>
          </a:xfrm>
        </p:grpSpPr>
        <p:sp>
          <p:nvSpPr>
            <p:cNvPr id="3" name="Google Shape;1715;p44">
              <a:extLst>
                <a:ext uri="{FF2B5EF4-FFF2-40B4-BE49-F238E27FC236}">
                  <a16:creationId xmlns:a16="http://schemas.microsoft.com/office/drawing/2014/main" id="{14212FC1-7B58-4890-B046-762551115846}"/>
                </a:ext>
              </a:extLst>
            </p:cNvPr>
            <p:cNvSpPr/>
            <p:nvPr/>
          </p:nvSpPr>
          <p:spPr>
            <a:xfrm>
              <a:off x="7474781" y="1922971"/>
              <a:ext cx="258086" cy="654179"/>
            </a:xfrm>
            <a:custGeom>
              <a:avLst/>
              <a:gdLst/>
              <a:ahLst/>
              <a:cxnLst/>
              <a:rect l="l" t="t" r="r" b="b"/>
              <a:pathLst>
                <a:path w="8681" h="22004" extrusionOk="0">
                  <a:moveTo>
                    <a:pt x="846" y="1"/>
                  </a:moveTo>
                  <a:lnTo>
                    <a:pt x="1" y="310"/>
                  </a:lnTo>
                  <a:lnTo>
                    <a:pt x="7835" y="22003"/>
                  </a:lnTo>
                  <a:lnTo>
                    <a:pt x="8680" y="21706"/>
                  </a:lnTo>
                  <a:lnTo>
                    <a:pt x="846" y="1"/>
                  </a:lnTo>
                  <a:close/>
                </a:path>
              </a:pathLst>
            </a:custGeom>
            <a:solidFill>
              <a:srgbClr val="869FB2"/>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4" name="Google Shape;1716;p44">
              <a:extLst>
                <a:ext uri="{FF2B5EF4-FFF2-40B4-BE49-F238E27FC236}">
                  <a16:creationId xmlns:a16="http://schemas.microsoft.com/office/drawing/2014/main" id="{EDB9C925-8DAD-4BDE-99DE-B4701DBB77D5}"/>
                </a:ext>
              </a:extLst>
            </p:cNvPr>
            <p:cNvSpPr/>
            <p:nvPr/>
          </p:nvSpPr>
          <p:spPr>
            <a:xfrm>
              <a:off x="6396927" y="1890059"/>
              <a:ext cx="1187951" cy="289570"/>
            </a:xfrm>
            <a:custGeom>
              <a:avLst/>
              <a:gdLst/>
              <a:ahLst/>
              <a:cxnLst/>
              <a:rect l="l" t="t" r="r" b="b"/>
              <a:pathLst>
                <a:path w="39958" h="9740" extrusionOk="0">
                  <a:moveTo>
                    <a:pt x="1179" y="0"/>
                  </a:moveTo>
                  <a:cubicBezTo>
                    <a:pt x="476" y="0"/>
                    <a:pt x="0" y="691"/>
                    <a:pt x="238" y="1346"/>
                  </a:cubicBezTo>
                  <a:lnTo>
                    <a:pt x="3048" y="9085"/>
                  </a:lnTo>
                  <a:cubicBezTo>
                    <a:pt x="3191" y="9478"/>
                    <a:pt x="3572" y="9740"/>
                    <a:pt x="4001" y="9740"/>
                  </a:cubicBezTo>
                  <a:lnTo>
                    <a:pt x="38767" y="9740"/>
                  </a:lnTo>
                  <a:cubicBezTo>
                    <a:pt x="39469" y="9740"/>
                    <a:pt x="39958" y="9049"/>
                    <a:pt x="39719" y="8394"/>
                  </a:cubicBezTo>
                  <a:lnTo>
                    <a:pt x="36898" y="655"/>
                  </a:lnTo>
                  <a:cubicBezTo>
                    <a:pt x="36755" y="262"/>
                    <a:pt x="36374" y="0"/>
                    <a:pt x="35957" y="0"/>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Tx/>
                <a:buNone/>
                <a:tabLst/>
                <a:defRPr/>
              </a:pPr>
              <a:r>
                <a:rPr kumimoji="0" lang="en" sz="2267" b="0" i="0" u="none" strike="noStrike" kern="1200" cap="none" spc="0" normalizeH="0" baseline="0" noProof="0">
                  <a:ln>
                    <a:noFill/>
                  </a:ln>
                  <a:solidFill>
                    <a:srgbClr val="FFFFFF"/>
                  </a:solidFill>
                  <a:effectLst/>
                  <a:uLnTx/>
                  <a:uFillTx/>
                  <a:latin typeface="Arial"/>
                  <a:ea typeface="+mn-ea"/>
                  <a:cs typeface="+mn-ea"/>
                  <a:sym typeface="+mn-lt"/>
                </a:rPr>
                <a:t>Venus</a:t>
              </a:r>
              <a:endParaRPr kumimoji="0" sz="2489" b="0" i="0" u="none" strike="noStrike" kern="1200" cap="none" spc="0" normalizeH="0" baseline="0" noProof="0">
                <a:ln>
                  <a:noFill/>
                </a:ln>
                <a:solidFill>
                  <a:srgbClr val="FFFFFF"/>
                </a:solidFill>
                <a:effectLst/>
                <a:uLnTx/>
                <a:uFillTx/>
                <a:latin typeface="Arial"/>
                <a:ea typeface="+mn-ea"/>
                <a:cs typeface="+mn-ea"/>
                <a:sym typeface="+mn-lt"/>
              </a:endParaRPr>
            </a:p>
          </p:txBody>
        </p:sp>
      </p:grpSp>
      <p:grpSp>
        <p:nvGrpSpPr>
          <p:cNvPr id="5" name="Google Shape;1717;p44">
            <a:extLst>
              <a:ext uri="{FF2B5EF4-FFF2-40B4-BE49-F238E27FC236}">
                <a16:creationId xmlns:a16="http://schemas.microsoft.com/office/drawing/2014/main" id="{92FD93F0-FD15-459C-A1F3-BE8B55309D31}"/>
              </a:ext>
            </a:extLst>
          </p:cNvPr>
          <p:cNvGrpSpPr/>
          <p:nvPr/>
        </p:nvGrpSpPr>
        <p:grpSpPr>
          <a:xfrm>
            <a:off x="8529237" y="3585722"/>
            <a:ext cx="1783116" cy="915656"/>
            <a:chOff x="6396927" y="2932179"/>
            <a:chExt cx="1337337" cy="686742"/>
          </a:xfrm>
        </p:grpSpPr>
        <p:sp>
          <p:nvSpPr>
            <p:cNvPr id="6" name="Google Shape;1718;p44">
              <a:extLst>
                <a:ext uri="{FF2B5EF4-FFF2-40B4-BE49-F238E27FC236}">
                  <a16:creationId xmlns:a16="http://schemas.microsoft.com/office/drawing/2014/main" id="{371428E2-2918-4F31-8945-7F08BEAEE754}"/>
                </a:ext>
              </a:extLst>
            </p:cNvPr>
            <p:cNvSpPr/>
            <p:nvPr/>
          </p:nvSpPr>
          <p:spPr>
            <a:xfrm>
              <a:off x="7476208" y="2932179"/>
              <a:ext cx="258056" cy="653792"/>
            </a:xfrm>
            <a:custGeom>
              <a:avLst/>
              <a:gdLst/>
              <a:ahLst/>
              <a:cxnLst/>
              <a:rect l="l" t="t" r="r" b="b"/>
              <a:pathLst>
                <a:path w="8680" h="21991" extrusionOk="0">
                  <a:moveTo>
                    <a:pt x="7835" y="0"/>
                  </a:moveTo>
                  <a:lnTo>
                    <a:pt x="0" y="21693"/>
                  </a:lnTo>
                  <a:lnTo>
                    <a:pt x="846" y="21991"/>
                  </a:lnTo>
                  <a:lnTo>
                    <a:pt x="8680" y="298"/>
                  </a:lnTo>
                  <a:lnTo>
                    <a:pt x="7835" y="0"/>
                  </a:lnTo>
                  <a:close/>
                </a:path>
              </a:pathLst>
            </a:custGeom>
            <a:solidFill>
              <a:srgbClr val="869FB2"/>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7" name="Google Shape;1719;p44">
              <a:extLst>
                <a:ext uri="{FF2B5EF4-FFF2-40B4-BE49-F238E27FC236}">
                  <a16:creationId xmlns:a16="http://schemas.microsoft.com/office/drawing/2014/main" id="{A63C530B-75C6-4961-8D53-03395B8E80E9}"/>
                </a:ext>
              </a:extLst>
            </p:cNvPr>
            <p:cNvSpPr/>
            <p:nvPr/>
          </p:nvSpPr>
          <p:spPr>
            <a:xfrm>
              <a:off x="6396927" y="3328994"/>
              <a:ext cx="1187951" cy="289927"/>
            </a:xfrm>
            <a:custGeom>
              <a:avLst/>
              <a:gdLst/>
              <a:ahLst/>
              <a:cxnLst/>
              <a:rect l="l" t="t" r="r" b="b"/>
              <a:pathLst>
                <a:path w="39958" h="9752" extrusionOk="0">
                  <a:moveTo>
                    <a:pt x="4001" y="0"/>
                  </a:moveTo>
                  <a:cubicBezTo>
                    <a:pt x="3572" y="0"/>
                    <a:pt x="3191" y="262"/>
                    <a:pt x="3048" y="655"/>
                  </a:cubicBezTo>
                  <a:lnTo>
                    <a:pt x="238" y="8394"/>
                  </a:lnTo>
                  <a:cubicBezTo>
                    <a:pt x="0" y="9049"/>
                    <a:pt x="476" y="9751"/>
                    <a:pt x="1179" y="9751"/>
                  </a:cubicBezTo>
                  <a:lnTo>
                    <a:pt x="35957" y="9751"/>
                  </a:lnTo>
                  <a:cubicBezTo>
                    <a:pt x="36374" y="9751"/>
                    <a:pt x="36755" y="9477"/>
                    <a:pt x="36898" y="9084"/>
                  </a:cubicBezTo>
                  <a:lnTo>
                    <a:pt x="39719" y="1345"/>
                  </a:lnTo>
                  <a:cubicBezTo>
                    <a:pt x="39958" y="691"/>
                    <a:pt x="39469" y="0"/>
                    <a:pt x="38767" y="0"/>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Tx/>
                <a:buNone/>
                <a:tabLst/>
                <a:defRPr/>
              </a:pPr>
              <a:r>
                <a:rPr kumimoji="0" lang="en" sz="2267" b="0" i="0" u="none" strike="noStrike" kern="1200" cap="none" spc="0" normalizeH="0" baseline="0" noProof="0">
                  <a:ln>
                    <a:noFill/>
                  </a:ln>
                  <a:solidFill>
                    <a:srgbClr val="FFFFFF"/>
                  </a:solidFill>
                  <a:effectLst/>
                  <a:uLnTx/>
                  <a:uFillTx/>
                  <a:latin typeface="Arial"/>
                  <a:ea typeface="+mn-ea"/>
                  <a:cs typeface="+mn-ea"/>
                  <a:sym typeface="+mn-lt"/>
                </a:rPr>
                <a:t>Earth</a:t>
              </a: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grpSp>
      <p:grpSp>
        <p:nvGrpSpPr>
          <p:cNvPr id="8" name="Google Shape;1720;p44">
            <a:extLst>
              <a:ext uri="{FF2B5EF4-FFF2-40B4-BE49-F238E27FC236}">
                <a16:creationId xmlns:a16="http://schemas.microsoft.com/office/drawing/2014/main" id="{ACCDC982-33DA-4EF7-AB8C-F5412BCC7877}"/>
              </a:ext>
            </a:extLst>
          </p:cNvPr>
          <p:cNvGrpSpPr/>
          <p:nvPr/>
        </p:nvGrpSpPr>
        <p:grpSpPr>
          <a:xfrm>
            <a:off x="1012582" y="2962687"/>
            <a:ext cx="10166833" cy="807111"/>
            <a:chOff x="759436" y="2464902"/>
            <a:chExt cx="7625125" cy="605333"/>
          </a:xfrm>
        </p:grpSpPr>
        <p:sp>
          <p:nvSpPr>
            <p:cNvPr id="9" name="Google Shape;1721;p44">
              <a:extLst>
                <a:ext uri="{FF2B5EF4-FFF2-40B4-BE49-F238E27FC236}">
                  <a16:creationId xmlns:a16="http://schemas.microsoft.com/office/drawing/2014/main" id="{32C16FFE-1AC0-4302-B636-E43F644F952B}"/>
                </a:ext>
              </a:extLst>
            </p:cNvPr>
            <p:cNvSpPr/>
            <p:nvPr/>
          </p:nvSpPr>
          <p:spPr>
            <a:xfrm>
              <a:off x="1295361" y="2741010"/>
              <a:ext cx="6440559" cy="26579"/>
            </a:xfrm>
            <a:custGeom>
              <a:avLst/>
              <a:gdLst/>
              <a:ahLst/>
              <a:cxnLst/>
              <a:rect l="l" t="t" r="r" b="b"/>
              <a:pathLst>
                <a:path w="216635" h="894" extrusionOk="0">
                  <a:moveTo>
                    <a:pt x="0" y="1"/>
                  </a:moveTo>
                  <a:lnTo>
                    <a:pt x="0" y="894"/>
                  </a:lnTo>
                  <a:lnTo>
                    <a:pt x="216635" y="894"/>
                  </a:lnTo>
                  <a:lnTo>
                    <a:pt x="216635" y="1"/>
                  </a:lnTo>
                  <a:close/>
                </a:path>
              </a:pathLst>
            </a:custGeom>
            <a:solidFill>
              <a:srgbClr val="869FB2"/>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10" name="Google Shape;1722;p44">
              <a:extLst>
                <a:ext uri="{FF2B5EF4-FFF2-40B4-BE49-F238E27FC236}">
                  <a16:creationId xmlns:a16="http://schemas.microsoft.com/office/drawing/2014/main" id="{DEA3A3A5-C4BC-42D2-8A3C-ACB232BE9CE8}"/>
                </a:ext>
              </a:extLst>
            </p:cNvPr>
            <p:cNvSpPr/>
            <p:nvPr/>
          </p:nvSpPr>
          <p:spPr>
            <a:xfrm>
              <a:off x="759436" y="2558018"/>
              <a:ext cx="536299" cy="392585"/>
            </a:xfrm>
            <a:custGeom>
              <a:avLst/>
              <a:gdLst/>
              <a:ahLst/>
              <a:cxnLst/>
              <a:rect l="l" t="t" r="r" b="b"/>
              <a:pathLst>
                <a:path w="18039" h="13205" extrusionOk="0">
                  <a:moveTo>
                    <a:pt x="869" y="0"/>
                  </a:moveTo>
                  <a:cubicBezTo>
                    <a:pt x="357" y="0"/>
                    <a:pt x="0" y="500"/>
                    <a:pt x="179" y="988"/>
                  </a:cubicBezTo>
                  <a:lnTo>
                    <a:pt x="2227" y="6608"/>
                  </a:lnTo>
                  <a:lnTo>
                    <a:pt x="179" y="12228"/>
                  </a:lnTo>
                  <a:cubicBezTo>
                    <a:pt x="0" y="12704"/>
                    <a:pt x="357" y="13204"/>
                    <a:pt x="869" y="13204"/>
                  </a:cubicBezTo>
                  <a:lnTo>
                    <a:pt x="15240" y="13204"/>
                  </a:lnTo>
                  <a:cubicBezTo>
                    <a:pt x="15550" y="13204"/>
                    <a:pt x="15824" y="13014"/>
                    <a:pt x="15931" y="12728"/>
                  </a:cubicBezTo>
                  <a:lnTo>
                    <a:pt x="17979" y="7073"/>
                  </a:lnTo>
                  <a:cubicBezTo>
                    <a:pt x="18038" y="6918"/>
                    <a:pt x="18038" y="6751"/>
                    <a:pt x="17991" y="6608"/>
                  </a:cubicBezTo>
                  <a:cubicBezTo>
                    <a:pt x="18038" y="6453"/>
                    <a:pt x="18038" y="6299"/>
                    <a:pt x="17979" y="6132"/>
                  </a:cubicBezTo>
                  <a:lnTo>
                    <a:pt x="15931" y="477"/>
                  </a:lnTo>
                  <a:cubicBezTo>
                    <a:pt x="15824" y="191"/>
                    <a:pt x="15550" y="0"/>
                    <a:pt x="15240" y="0"/>
                  </a:cubicBezTo>
                  <a:close/>
                </a:path>
              </a:pathLst>
            </a:custGeom>
            <a:solidFill>
              <a:srgbClr val="576F7A"/>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11" name="Google Shape;1723;p44">
              <a:extLst>
                <a:ext uri="{FF2B5EF4-FFF2-40B4-BE49-F238E27FC236}">
                  <a16:creationId xmlns:a16="http://schemas.microsoft.com/office/drawing/2014/main" id="{75CCE072-4FC0-4982-B26A-F0121DB8DC36}"/>
                </a:ext>
              </a:extLst>
            </p:cNvPr>
            <p:cNvSpPr/>
            <p:nvPr/>
          </p:nvSpPr>
          <p:spPr>
            <a:xfrm>
              <a:off x="6986753" y="2464902"/>
              <a:ext cx="1397809" cy="605333"/>
            </a:xfrm>
            <a:custGeom>
              <a:avLst/>
              <a:gdLst/>
              <a:ahLst/>
              <a:cxnLst/>
              <a:rect l="l" t="t" r="r" b="b"/>
              <a:pathLst>
                <a:path w="40303" h="20361" extrusionOk="0">
                  <a:moveTo>
                    <a:pt x="0" y="1"/>
                  </a:moveTo>
                  <a:lnTo>
                    <a:pt x="6751" y="10145"/>
                  </a:lnTo>
                  <a:lnTo>
                    <a:pt x="0" y="20361"/>
                  </a:lnTo>
                  <a:lnTo>
                    <a:pt x="33540" y="20361"/>
                  </a:lnTo>
                  <a:lnTo>
                    <a:pt x="40303" y="10145"/>
                  </a:lnTo>
                  <a:lnTo>
                    <a:pt x="33540" y="1"/>
                  </a:lnTo>
                  <a:close/>
                </a:path>
              </a:pathLst>
            </a:custGeom>
            <a:solidFill>
              <a:srgbClr val="869FB2"/>
            </a:solidFill>
            <a:ln>
              <a:noFill/>
            </a:ln>
          </p:spPr>
          <p:txBody>
            <a:bodyPr spcFirstLastPara="1" wrap="square" lIns="121900" tIns="121900" rIns="121900" bIns="1219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Tx/>
                <a:buNone/>
                <a:tabLst/>
                <a:defRPr/>
              </a:pPr>
              <a:r>
                <a:rPr kumimoji="0" lang="en" sz="2267" b="0" i="0" u="none" strike="noStrike" kern="1200" cap="none" spc="0" normalizeH="0" baseline="0" noProof="0">
                  <a:ln>
                    <a:noFill/>
                  </a:ln>
                  <a:solidFill>
                    <a:srgbClr val="FFFFFF"/>
                  </a:solidFill>
                  <a:effectLst/>
                  <a:uLnTx/>
                  <a:uFillTx/>
                  <a:latin typeface="Arial"/>
                  <a:ea typeface="+mn-ea"/>
                  <a:cs typeface="+mn-ea"/>
                  <a:sym typeface="+mn-lt"/>
                </a:rPr>
                <a:t>Mercury</a:t>
              </a:r>
              <a:endParaRPr kumimoji="0" sz="2489" b="0" i="0" u="none" strike="noStrike" kern="1200" cap="none" spc="0" normalizeH="0" baseline="0" noProof="0">
                <a:ln>
                  <a:noFill/>
                </a:ln>
                <a:solidFill>
                  <a:srgbClr val="FFFFFF"/>
                </a:solidFill>
                <a:effectLst/>
                <a:uLnTx/>
                <a:uFillTx/>
                <a:latin typeface="Arial"/>
                <a:ea typeface="+mn-ea"/>
                <a:cs typeface="+mn-ea"/>
                <a:sym typeface="+mn-lt"/>
              </a:endParaRPr>
            </a:p>
          </p:txBody>
        </p:sp>
      </p:grpSp>
      <p:grpSp>
        <p:nvGrpSpPr>
          <p:cNvPr id="12" name="Google Shape;1725;p44">
            <a:extLst>
              <a:ext uri="{FF2B5EF4-FFF2-40B4-BE49-F238E27FC236}">
                <a16:creationId xmlns:a16="http://schemas.microsoft.com/office/drawing/2014/main" id="{95C34DBB-6BEC-4621-9254-E344850B3E98}"/>
              </a:ext>
            </a:extLst>
          </p:cNvPr>
          <p:cNvGrpSpPr/>
          <p:nvPr/>
        </p:nvGrpSpPr>
        <p:grpSpPr>
          <a:xfrm>
            <a:off x="2032976" y="2196230"/>
            <a:ext cx="1782205" cy="916121"/>
            <a:chOff x="1524732" y="1890059"/>
            <a:chExt cx="1336654" cy="687091"/>
          </a:xfrm>
        </p:grpSpPr>
        <p:sp>
          <p:nvSpPr>
            <p:cNvPr id="13" name="Google Shape;1726;p44">
              <a:extLst>
                <a:ext uri="{FF2B5EF4-FFF2-40B4-BE49-F238E27FC236}">
                  <a16:creationId xmlns:a16="http://schemas.microsoft.com/office/drawing/2014/main" id="{DEC592EA-16E2-4673-933E-86152600813B}"/>
                </a:ext>
              </a:extLst>
            </p:cNvPr>
            <p:cNvSpPr/>
            <p:nvPr/>
          </p:nvSpPr>
          <p:spPr>
            <a:xfrm>
              <a:off x="2603300" y="1923328"/>
              <a:ext cx="258086" cy="653822"/>
            </a:xfrm>
            <a:custGeom>
              <a:avLst/>
              <a:gdLst/>
              <a:ahLst/>
              <a:cxnLst/>
              <a:rect l="l" t="t" r="r" b="b"/>
              <a:pathLst>
                <a:path w="8681" h="21992" extrusionOk="0">
                  <a:moveTo>
                    <a:pt x="846" y="0"/>
                  </a:moveTo>
                  <a:lnTo>
                    <a:pt x="1" y="298"/>
                  </a:lnTo>
                  <a:lnTo>
                    <a:pt x="7835" y="21991"/>
                  </a:lnTo>
                  <a:lnTo>
                    <a:pt x="8681" y="21694"/>
                  </a:lnTo>
                  <a:lnTo>
                    <a:pt x="846" y="0"/>
                  </a:lnTo>
                  <a:close/>
                </a:path>
              </a:pathLst>
            </a:custGeom>
            <a:solidFill>
              <a:srgbClr val="869FB2"/>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14" name="Google Shape;1727;p44">
              <a:extLst>
                <a:ext uri="{FF2B5EF4-FFF2-40B4-BE49-F238E27FC236}">
                  <a16:creationId xmlns:a16="http://schemas.microsoft.com/office/drawing/2014/main" id="{47052290-E262-4E9C-A92B-081464F635B1}"/>
                </a:ext>
              </a:extLst>
            </p:cNvPr>
            <p:cNvSpPr/>
            <p:nvPr/>
          </p:nvSpPr>
          <p:spPr>
            <a:xfrm>
              <a:off x="1524732" y="1890059"/>
              <a:ext cx="1187951" cy="289570"/>
            </a:xfrm>
            <a:custGeom>
              <a:avLst/>
              <a:gdLst/>
              <a:ahLst/>
              <a:cxnLst/>
              <a:rect l="l" t="t" r="r" b="b"/>
              <a:pathLst>
                <a:path w="39958" h="9740" extrusionOk="0">
                  <a:moveTo>
                    <a:pt x="1191" y="0"/>
                  </a:moveTo>
                  <a:cubicBezTo>
                    <a:pt x="489" y="0"/>
                    <a:pt x="1" y="691"/>
                    <a:pt x="239" y="1346"/>
                  </a:cubicBezTo>
                  <a:lnTo>
                    <a:pt x="3060" y="9085"/>
                  </a:lnTo>
                  <a:cubicBezTo>
                    <a:pt x="3203" y="9478"/>
                    <a:pt x="3584" y="9740"/>
                    <a:pt x="4001" y="9740"/>
                  </a:cubicBezTo>
                  <a:lnTo>
                    <a:pt x="38779" y="9740"/>
                  </a:lnTo>
                  <a:cubicBezTo>
                    <a:pt x="39482" y="9740"/>
                    <a:pt x="39958" y="9049"/>
                    <a:pt x="39720" y="8394"/>
                  </a:cubicBezTo>
                  <a:lnTo>
                    <a:pt x="36910" y="655"/>
                  </a:lnTo>
                  <a:cubicBezTo>
                    <a:pt x="36767" y="262"/>
                    <a:pt x="36386" y="0"/>
                    <a:pt x="35957" y="0"/>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Tx/>
                <a:buNone/>
                <a:tabLst/>
                <a:defRPr/>
              </a:pPr>
              <a:r>
                <a:rPr kumimoji="0" lang="en" sz="2267" b="0" i="0" u="none" strike="noStrike" kern="1200" cap="none" spc="0" normalizeH="0" baseline="0" noProof="0">
                  <a:ln>
                    <a:noFill/>
                  </a:ln>
                  <a:solidFill>
                    <a:srgbClr val="FFFFFF"/>
                  </a:solidFill>
                  <a:effectLst/>
                  <a:uLnTx/>
                  <a:uFillTx/>
                  <a:latin typeface="Arial"/>
                  <a:ea typeface="+mn-ea"/>
                  <a:cs typeface="+mn-ea"/>
                  <a:sym typeface="+mn-lt"/>
                </a:rPr>
                <a:t>Thebe</a:t>
              </a: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grpSp>
      <p:grpSp>
        <p:nvGrpSpPr>
          <p:cNvPr id="15" name="Google Shape;1728;p44">
            <a:extLst>
              <a:ext uri="{FF2B5EF4-FFF2-40B4-BE49-F238E27FC236}">
                <a16:creationId xmlns:a16="http://schemas.microsoft.com/office/drawing/2014/main" id="{5406B6D9-E8C6-4CA0-AB21-99DF16D23008}"/>
              </a:ext>
            </a:extLst>
          </p:cNvPr>
          <p:cNvGrpSpPr/>
          <p:nvPr/>
        </p:nvGrpSpPr>
        <p:grpSpPr>
          <a:xfrm>
            <a:off x="2032977" y="3585247"/>
            <a:ext cx="1783156" cy="916132"/>
            <a:chOff x="1524732" y="2931822"/>
            <a:chExt cx="1337367" cy="687099"/>
          </a:xfrm>
        </p:grpSpPr>
        <p:sp>
          <p:nvSpPr>
            <p:cNvPr id="16" name="Google Shape;1729;p44">
              <a:extLst>
                <a:ext uri="{FF2B5EF4-FFF2-40B4-BE49-F238E27FC236}">
                  <a16:creationId xmlns:a16="http://schemas.microsoft.com/office/drawing/2014/main" id="{7CFCE072-B7B0-4B59-B57D-291D609A2BA5}"/>
                </a:ext>
              </a:extLst>
            </p:cNvPr>
            <p:cNvSpPr/>
            <p:nvPr/>
          </p:nvSpPr>
          <p:spPr>
            <a:xfrm>
              <a:off x="2604370" y="2931822"/>
              <a:ext cx="257729" cy="654149"/>
            </a:xfrm>
            <a:custGeom>
              <a:avLst/>
              <a:gdLst/>
              <a:ahLst/>
              <a:cxnLst/>
              <a:rect l="l" t="t" r="r" b="b"/>
              <a:pathLst>
                <a:path w="8669" h="22003" extrusionOk="0">
                  <a:moveTo>
                    <a:pt x="7835" y="0"/>
                  </a:moveTo>
                  <a:lnTo>
                    <a:pt x="1" y="21705"/>
                  </a:lnTo>
                  <a:lnTo>
                    <a:pt x="834" y="22003"/>
                  </a:lnTo>
                  <a:lnTo>
                    <a:pt x="8668" y="310"/>
                  </a:lnTo>
                  <a:lnTo>
                    <a:pt x="7835" y="0"/>
                  </a:lnTo>
                  <a:close/>
                </a:path>
              </a:pathLst>
            </a:custGeom>
            <a:solidFill>
              <a:srgbClr val="869FB2"/>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17" name="Google Shape;1730;p44">
              <a:extLst>
                <a:ext uri="{FF2B5EF4-FFF2-40B4-BE49-F238E27FC236}">
                  <a16:creationId xmlns:a16="http://schemas.microsoft.com/office/drawing/2014/main" id="{AA88A575-3FD9-454A-AC7B-306588A82A32}"/>
                </a:ext>
              </a:extLst>
            </p:cNvPr>
            <p:cNvSpPr/>
            <p:nvPr/>
          </p:nvSpPr>
          <p:spPr>
            <a:xfrm>
              <a:off x="1524732" y="3328994"/>
              <a:ext cx="1187951" cy="289927"/>
            </a:xfrm>
            <a:custGeom>
              <a:avLst/>
              <a:gdLst/>
              <a:ahLst/>
              <a:cxnLst/>
              <a:rect l="l" t="t" r="r" b="b"/>
              <a:pathLst>
                <a:path w="39958" h="9752" extrusionOk="0">
                  <a:moveTo>
                    <a:pt x="4001" y="0"/>
                  </a:moveTo>
                  <a:cubicBezTo>
                    <a:pt x="3584" y="0"/>
                    <a:pt x="3203" y="262"/>
                    <a:pt x="3060" y="655"/>
                  </a:cubicBezTo>
                  <a:lnTo>
                    <a:pt x="239" y="8394"/>
                  </a:lnTo>
                  <a:cubicBezTo>
                    <a:pt x="1" y="9049"/>
                    <a:pt x="489" y="9751"/>
                    <a:pt x="1191" y="9751"/>
                  </a:cubicBezTo>
                  <a:lnTo>
                    <a:pt x="35957" y="9751"/>
                  </a:lnTo>
                  <a:cubicBezTo>
                    <a:pt x="36386" y="9751"/>
                    <a:pt x="36767" y="9477"/>
                    <a:pt x="36910" y="9084"/>
                  </a:cubicBezTo>
                  <a:lnTo>
                    <a:pt x="39720" y="1345"/>
                  </a:lnTo>
                  <a:cubicBezTo>
                    <a:pt x="39958" y="691"/>
                    <a:pt x="39482" y="0"/>
                    <a:pt x="38779" y="0"/>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Tx/>
                <a:buNone/>
                <a:tabLst/>
                <a:defRPr/>
              </a:pPr>
              <a:r>
                <a:rPr kumimoji="0" lang="en" sz="2267" b="0" i="0" u="none" strike="noStrike" kern="1200" cap="none" spc="0" normalizeH="0" baseline="0" noProof="0">
                  <a:ln>
                    <a:noFill/>
                  </a:ln>
                  <a:solidFill>
                    <a:srgbClr val="FFFFFF"/>
                  </a:solidFill>
                  <a:effectLst/>
                  <a:uLnTx/>
                  <a:uFillTx/>
                  <a:latin typeface="Arial"/>
                  <a:ea typeface="+mn-ea"/>
                  <a:cs typeface="+mn-ea"/>
                  <a:sym typeface="+mn-lt"/>
                </a:rPr>
                <a:t>Metis</a:t>
              </a: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grpSp>
      <p:grpSp>
        <p:nvGrpSpPr>
          <p:cNvPr id="18" name="Google Shape;1731;p44">
            <a:extLst>
              <a:ext uri="{FF2B5EF4-FFF2-40B4-BE49-F238E27FC236}">
                <a16:creationId xmlns:a16="http://schemas.microsoft.com/office/drawing/2014/main" id="{0F36BDFE-9ED8-4A7E-9C8C-2074B5C4A97F}"/>
              </a:ext>
            </a:extLst>
          </p:cNvPr>
          <p:cNvGrpSpPr/>
          <p:nvPr/>
        </p:nvGrpSpPr>
        <p:grpSpPr>
          <a:xfrm>
            <a:off x="3893043" y="1357506"/>
            <a:ext cx="2084704" cy="1754843"/>
            <a:chOff x="2919782" y="1261017"/>
            <a:chExt cx="1563528" cy="1316132"/>
          </a:xfrm>
        </p:grpSpPr>
        <p:sp>
          <p:nvSpPr>
            <p:cNvPr id="19" name="Google Shape;1732;p44">
              <a:extLst>
                <a:ext uri="{FF2B5EF4-FFF2-40B4-BE49-F238E27FC236}">
                  <a16:creationId xmlns:a16="http://schemas.microsoft.com/office/drawing/2014/main" id="{D5B4A797-1097-47F8-8848-47AC5B088608}"/>
                </a:ext>
              </a:extLst>
            </p:cNvPr>
            <p:cNvSpPr/>
            <p:nvPr/>
          </p:nvSpPr>
          <p:spPr>
            <a:xfrm>
              <a:off x="3998350" y="1294316"/>
              <a:ext cx="257729" cy="654149"/>
            </a:xfrm>
            <a:custGeom>
              <a:avLst/>
              <a:gdLst/>
              <a:ahLst/>
              <a:cxnLst/>
              <a:rect l="l" t="t" r="r" b="b"/>
              <a:pathLst>
                <a:path w="8669" h="22003" extrusionOk="0">
                  <a:moveTo>
                    <a:pt x="834" y="0"/>
                  </a:moveTo>
                  <a:lnTo>
                    <a:pt x="0" y="298"/>
                  </a:lnTo>
                  <a:lnTo>
                    <a:pt x="7835" y="22003"/>
                  </a:lnTo>
                  <a:lnTo>
                    <a:pt x="8668" y="21693"/>
                  </a:lnTo>
                  <a:lnTo>
                    <a:pt x="834" y="0"/>
                  </a:lnTo>
                  <a:close/>
                </a:path>
              </a:pathLst>
            </a:custGeom>
            <a:solidFill>
              <a:srgbClr val="869FB2"/>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20" name="Google Shape;1733;p44">
              <a:extLst>
                <a:ext uri="{FF2B5EF4-FFF2-40B4-BE49-F238E27FC236}">
                  <a16:creationId xmlns:a16="http://schemas.microsoft.com/office/drawing/2014/main" id="{012CB314-9D0D-455E-9EB2-13C5FFAADE41}"/>
                </a:ext>
              </a:extLst>
            </p:cNvPr>
            <p:cNvSpPr/>
            <p:nvPr/>
          </p:nvSpPr>
          <p:spPr>
            <a:xfrm>
              <a:off x="4225610" y="1923328"/>
              <a:ext cx="257700" cy="653822"/>
            </a:xfrm>
            <a:custGeom>
              <a:avLst/>
              <a:gdLst/>
              <a:ahLst/>
              <a:cxnLst/>
              <a:rect l="l" t="t" r="r" b="b"/>
              <a:pathLst>
                <a:path w="8668" h="21992" extrusionOk="0">
                  <a:moveTo>
                    <a:pt x="834" y="0"/>
                  </a:moveTo>
                  <a:lnTo>
                    <a:pt x="0" y="298"/>
                  </a:lnTo>
                  <a:lnTo>
                    <a:pt x="7823" y="21991"/>
                  </a:lnTo>
                  <a:lnTo>
                    <a:pt x="8668" y="21694"/>
                  </a:lnTo>
                  <a:lnTo>
                    <a:pt x="834" y="0"/>
                  </a:lnTo>
                  <a:close/>
                </a:path>
              </a:pathLst>
            </a:custGeom>
            <a:solidFill>
              <a:srgbClr val="869FB2"/>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21" name="Google Shape;1734;p44">
              <a:extLst>
                <a:ext uri="{FF2B5EF4-FFF2-40B4-BE49-F238E27FC236}">
                  <a16:creationId xmlns:a16="http://schemas.microsoft.com/office/drawing/2014/main" id="{212826E0-D1E2-4426-8D5A-DC9166F62A70}"/>
                </a:ext>
              </a:extLst>
            </p:cNvPr>
            <p:cNvSpPr/>
            <p:nvPr/>
          </p:nvSpPr>
          <p:spPr>
            <a:xfrm>
              <a:off x="3147013" y="1890059"/>
              <a:ext cx="1187981" cy="289570"/>
            </a:xfrm>
            <a:custGeom>
              <a:avLst/>
              <a:gdLst/>
              <a:ahLst/>
              <a:cxnLst/>
              <a:rect l="l" t="t" r="r" b="b"/>
              <a:pathLst>
                <a:path w="39959" h="9740" extrusionOk="0">
                  <a:moveTo>
                    <a:pt x="1180" y="0"/>
                  </a:moveTo>
                  <a:cubicBezTo>
                    <a:pt x="489" y="0"/>
                    <a:pt x="1" y="691"/>
                    <a:pt x="239" y="1346"/>
                  </a:cubicBezTo>
                  <a:lnTo>
                    <a:pt x="3049" y="9085"/>
                  </a:lnTo>
                  <a:cubicBezTo>
                    <a:pt x="3192" y="9478"/>
                    <a:pt x="3573" y="9740"/>
                    <a:pt x="4001" y="9740"/>
                  </a:cubicBezTo>
                  <a:lnTo>
                    <a:pt x="38768" y="9740"/>
                  </a:lnTo>
                  <a:cubicBezTo>
                    <a:pt x="39470" y="9740"/>
                    <a:pt x="39958" y="9049"/>
                    <a:pt x="39720" y="8394"/>
                  </a:cubicBezTo>
                  <a:lnTo>
                    <a:pt x="36898" y="655"/>
                  </a:lnTo>
                  <a:cubicBezTo>
                    <a:pt x="36755" y="262"/>
                    <a:pt x="36374" y="0"/>
                    <a:pt x="35958" y="0"/>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Tx/>
                <a:buNone/>
                <a:tabLst/>
                <a:defRPr/>
              </a:pPr>
              <a:r>
                <a:rPr kumimoji="0" lang="en" sz="2267" b="0" i="0" u="none" strike="noStrike" kern="1200" cap="none" spc="0" normalizeH="0" baseline="0" noProof="0">
                  <a:ln>
                    <a:noFill/>
                  </a:ln>
                  <a:solidFill>
                    <a:srgbClr val="FFFFFF"/>
                  </a:solidFill>
                  <a:effectLst/>
                  <a:uLnTx/>
                  <a:uFillTx/>
                  <a:latin typeface="Arial"/>
                  <a:ea typeface="+mn-ea"/>
                  <a:cs typeface="+mn-ea"/>
                  <a:sym typeface="+mn-lt"/>
                </a:rPr>
                <a:t>Moon</a:t>
              </a: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22" name="Google Shape;1735;p44">
              <a:extLst>
                <a:ext uri="{FF2B5EF4-FFF2-40B4-BE49-F238E27FC236}">
                  <a16:creationId xmlns:a16="http://schemas.microsoft.com/office/drawing/2014/main" id="{D8CC4A17-BEE5-47C0-9CEC-A681778DDB3F}"/>
                </a:ext>
              </a:extLst>
            </p:cNvPr>
            <p:cNvSpPr/>
            <p:nvPr/>
          </p:nvSpPr>
          <p:spPr>
            <a:xfrm>
              <a:off x="2919782" y="1261017"/>
              <a:ext cx="1187951" cy="289957"/>
            </a:xfrm>
            <a:custGeom>
              <a:avLst/>
              <a:gdLst/>
              <a:ahLst/>
              <a:cxnLst/>
              <a:rect l="l" t="t" r="r" b="b"/>
              <a:pathLst>
                <a:path w="39958" h="9753" extrusionOk="0">
                  <a:moveTo>
                    <a:pt x="1191" y="1"/>
                  </a:moveTo>
                  <a:cubicBezTo>
                    <a:pt x="488" y="1"/>
                    <a:pt x="0" y="691"/>
                    <a:pt x="250" y="1358"/>
                  </a:cubicBezTo>
                  <a:lnTo>
                    <a:pt x="3060" y="9085"/>
                  </a:lnTo>
                  <a:cubicBezTo>
                    <a:pt x="3203" y="9490"/>
                    <a:pt x="3584" y="9752"/>
                    <a:pt x="4001" y="9752"/>
                  </a:cubicBezTo>
                  <a:lnTo>
                    <a:pt x="38779" y="9752"/>
                  </a:lnTo>
                  <a:cubicBezTo>
                    <a:pt x="39481" y="9752"/>
                    <a:pt x="39957" y="9062"/>
                    <a:pt x="39719" y="8407"/>
                  </a:cubicBezTo>
                  <a:lnTo>
                    <a:pt x="36909" y="668"/>
                  </a:lnTo>
                  <a:cubicBezTo>
                    <a:pt x="36767" y="263"/>
                    <a:pt x="36386" y="1"/>
                    <a:pt x="35969" y="1"/>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Tx/>
                <a:buNone/>
                <a:tabLst/>
                <a:defRPr/>
              </a:pPr>
              <a:r>
                <a:rPr kumimoji="0" lang="en" sz="2267" b="0" i="0" u="none" strike="noStrike" kern="1200" cap="none" spc="0" normalizeH="0" baseline="0" noProof="0">
                  <a:ln>
                    <a:noFill/>
                  </a:ln>
                  <a:solidFill>
                    <a:srgbClr val="FFFFFF"/>
                  </a:solidFill>
                  <a:effectLst/>
                  <a:uLnTx/>
                  <a:uFillTx/>
                  <a:latin typeface="Arial"/>
                  <a:ea typeface="+mn-ea"/>
                  <a:cs typeface="+mn-ea"/>
                  <a:sym typeface="+mn-lt"/>
                </a:rPr>
                <a:t>Pluto</a:t>
              </a: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grpSp>
      <p:grpSp>
        <p:nvGrpSpPr>
          <p:cNvPr id="23" name="Google Shape;1736;p44">
            <a:extLst>
              <a:ext uri="{FF2B5EF4-FFF2-40B4-BE49-F238E27FC236}">
                <a16:creationId xmlns:a16="http://schemas.microsoft.com/office/drawing/2014/main" id="{B3EF3DCF-9B9F-4F3A-BEB1-C83B8E8F9FC1}"/>
              </a:ext>
            </a:extLst>
          </p:cNvPr>
          <p:cNvGrpSpPr/>
          <p:nvPr/>
        </p:nvGrpSpPr>
        <p:grpSpPr>
          <a:xfrm>
            <a:off x="6085815" y="1357506"/>
            <a:ext cx="2084744" cy="1754843"/>
            <a:chOff x="4564361" y="1261017"/>
            <a:chExt cx="1563558" cy="1316132"/>
          </a:xfrm>
        </p:grpSpPr>
        <p:sp>
          <p:nvSpPr>
            <p:cNvPr id="24" name="Google Shape;1737;p44">
              <a:extLst>
                <a:ext uri="{FF2B5EF4-FFF2-40B4-BE49-F238E27FC236}">
                  <a16:creationId xmlns:a16="http://schemas.microsoft.com/office/drawing/2014/main" id="{7B5B29A8-3252-455E-A04F-1C00D775947F}"/>
                </a:ext>
              </a:extLst>
            </p:cNvPr>
            <p:cNvSpPr/>
            <p:nvPr/>
          </p:nvSpPr>
          <p:spPr>
            <a:xfrm>
              <a:off x="5642929" y="1294316"/>
              <a:ext cx="257729" cy="654149"/>
            </a:xfrm>
            <a:custGeom>
              <a:avLst/>
              <a:gdLst/>
              <a:ahLst/>
              <a:cxnLst/>
              <a:rect l="l" t="t" r="r" b="b"/>
              <a:pathLst>
                <a:path w="8669" h="22003" extrusionOk="0">
                  <a:moveTo>
                    <a:pt x="834" y="0"/>
                  </a:moveTo>
                  <a:lnTo>
                    <a:pt x="1" y="298"/>
                  </a:lnTo>
                  <a:lnTo>
                    <a:pt x="7823" y="22003"/>
                  </a:lnTo>
                  <a:lnTo>
                    <a:pt x="8669" y="21693"/>
                  </a:lnTo>
                  <a:lnTo>
                    <a:pt x="834" y="0"/>
                  </a:lnTo>
                  <a:close/>
                </a:path>
              </a:pathLst>
            </a:custGeom>
            <a:solidFill>
              <a:srgbClr val="869FB2"/>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25" name="Google Shape;1738;p44">
              <a:extLst>
                <a:ext uri="{FF2B5EF4-FFF2-40B4-BE49-F238E27FC236}">
                  <a16:creationId xmlns:a16="http://schemas.microsoft.com/office/drawing/2014/main" id="{214C8806-CB6E-480F-A6A0-00723B513C3D}"/>
                </a:ext>
              </a:extLst>
            </p:cNvPr>
            <p:cNvSpPr/>
            <p:nvPr/>
          </p:nvSpPr>
          <p:spPr>
            <a:xfrm>
              <a:off x="5869833" y="1923328"/>
              <a:ext cx="258086" cy="653822"/>
            </a:xfrm>
            <a:custGeom>
              <a:avLst/>
              <a:gdLst/>
              <a:ahLst/>
              <a:cxnLst/>
              <a:rect l="l" t="t" r="r" b="b"/>
              <a:pathLst>
                <a:path w="8681" h="21992" extrusionOk="0">
                  <a:moveTo>
                    <a:pt x="846" y="0"/>
                  </a:moveTo>
                  <a:lnTo>
                    <a:pt x="1" y="298"/>
                  </a:lnTo>
                  <a:lnTo>
                    <a:pt x="7835" y="21991"/>
                  </a:lnTo>
                  <a:lnTo>
                    <a:pt x="8680" y="21694"/>
                  </a:lnTo>
                  <a:lnTo>
                    <a:pt x="846" y="0"/>
                  </a:lnTo>
                  <a:close/>
                </a:path>
              </a:pathLst>
            </a:custGeom>
            <a:solidFill>
              <a:srgbClr val="869FB2"/>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26" name="Google Shape;1739;p44">
              <a:extLst>
                <a:ext uri="{FF2B5EF4-FFF2-40B4-BE49-F238E27FC236}">
                  <a16:creationId xmlns:a16="http://schemas.microsoft.com/office/drawing/2014/main" id="{9A791AE8-346A-4535-A480-021894C85911}"/>
                </a:ext>
              </a:extLst>
            </p:cNvPr>
            <p:cNvSpPr/>
            <p:nvPr/>
          </p:nvSpPr>
          <p:spPr>
            <a:xfrm>
              <a:off x="4791622" y="1890059"/>
              <a:ext cx="1187951" cy="289570"/>
            </a:xfrm>
            <a:custGeom>
              <a:avLst/>
              <a:gdLst/>
              <a:ahLst/>
              <a:cxnLst/>
              <a:rect l="l" t="t" r="r" b="b"/>
              <a:pathLst>
                <a:path w="39958" h="9740" extrusionOk="0">
                  <a:moveTo>
                    <a:pt x="1179" y="0"/>
                  </a:moveTo>
                  <a:cubicBezTo>
                    <a:pt x="488" y="0"/>
                    <a:pt x="0" y="691"/>
                    <a:pt x="238" y="1346"/>
                  </a:cubicBezTo>
                  <a:lnTo>
                    <a:pt x="3048" y="9085"/>
                  </a:lnTo>
                  <a:cubicBezTo>
                    <a:pt x="3191" y="9478"/>
                    <a:pt x="3572" y="9740"/>
                    <a:pt x="4001" y="9740"/>
                  </a:cubicBezTo>
                  <a:lnTo>
                    <a:pt x="38767" y="9740"/>
                  </a:lnTo>
                  <a:cubicBezTo>
                    <a:pt x="39470" y="9740"/>
                    <a:pt x="39958" y="9049"/>
                    <a:pt x="39720" y="8394"/>
                  </a:cubicBezTo>
                  <a:lnTo>
                    <a:pt x="36898" y="655"/>
                  </a:lnTo>
                  <a:cubicBezTo>
                    <a:pt x="36755" y="262"/>
                    <a:pt x="36374" y="0"/>
                    <a:pt x="35957" y="0"/>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Tx/>
                <a:buNone/>
                <a:tabLst/>
                <a:defRPr/>
              </a:pPr>
              <a:r>
                <a:rPr kumimoji="0" lang="en" sz="2267" b="0" i="0" u="none" strike="noStrike" kern="1200" cap="none" spc="0" normalizeH="0" baseline="0" noProof="0">
                  <a:ln>
                    <a:noFill/>
                  </a:ln>
                  <a:solidFill>
                    <a:srgbClr val="FFFFFF"/>
                  </a:solidFill>
                  <a:effectLst/>
                  <a:uLnTx/>
                  <a:uFillTx/>
                  <a:latin typeface="Arial"/>
                  <a:ea typeface="+mn-ea"/>
                  <a:cs typeface="+mn-ea"/>
                  <a:sym typeface="+mn-lt"/>
                </a:rPr>
                <a:t>Jupiter</a:t>
              </a: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27" name="Google Shape;1740;p44">
              <a:extLst>
                <a:ext uri="{FF2B5EF4-FFF2-40B4-BE49-F238E27FC236}">
                  <a16:creationId xmlns:a16="http://schemas.microsoft.com/office/drawing/2014/main" id="{222F3679-F293-4778-B55C-152F650232D7}"/>
                </a:ext>
              </a:extLst>
            </p:cNvPr>
            <p:cNvSpPr/>
            <p:nvPr/>
          </p:nvSpPr>
          <p:spPr>
            <a:xfrm>
              <a:off x="4564361" y="1261017"/>
              <a:ext cx="1187951" cy="289957"/>
            </a:xfrm>
            <a:custGeom>
              <a:avLst/>
              <a:gdLst/>
              <a:ahLst/>
              <a:cxnLst/>
              <a:rect l="l" t="t" r="r" b="b"/>
              <a:pathLst>
                <a:path w="39958" h="9753" extrusionOk="0">
                  <a:moveTo>
                    <a:pt x="1191" y="1"/>
                  </a:moveTo>
                  <a:cubicBezTo>
                    <a:pt x="489" y="1"/>
                    <a:pt x="1" y="691"/>
                    <a:pt x="239" y="1358"/>
                  </a:cubicBezTo>
                  <a:lnTo>
                    <a:pt x="3060" y="9085"/>
                  </a:lnTo>
                  <a:cubicBezTo>
                    <a:pt x="3203" y="9490"/>
                    <a:pt x="3584" y="9752"/>
                    <a:pt x="4001" y="9752"/>
                  </a:cubicBezTo>
                  <a:lnTo>
                    <a:pt x="38779" y="9752"/>
                  </a:lnTo>
                  <a:cubicBezTo>
                    <a:pt x="39482" y="9752"/>
                    <a:pt x="39958" y="9062"/>
                    <a:pt x="39720" y="8407"/>
                  </a:cubicBezTo>
                  <a:lnTo>
                    <a:pt x="36910" y="668"/>
                  </a:lnTo>
                  <a:cubicBezTo>
                    <a:pt x="36767" y="263"/>
                    <a:pt x="36386" y="1"/>
                    <a:pt x="35957" y="1"/>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Tx/>
                <a:buNone/>
                <a:tabLst/>
                <a:defRPr/>
              </a:pPr>
              <a:r>
                <a:rPr kumimoji="0" lang="en" sz="2267" b="0" i="0" u="none" strike="noStrike" kern="1200" cap="none" spc="0" normalizeH="0" baseline="0" noProof="0">
                  <a:ln>
                    <a:noFill/>
                  </a:ln>
                  <a:solidFill>
                    <a:srgbClr val="FFFFFF"/>
                  </a:solidFill>
                  <a:effectLst/>
                  <a:uLnTx/>
                  <a:uFillTx/>
                  <a:latin typeface="Arial"/>
                  <a:ea typeface="+mn-ea"/>
                  <a:cs typeface="+mn-ea"/>
                  <a:sym typeface="+mn-lt"/>
                </a:rPr>
                <a:t>Mars</a:t>
              </a: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grpSp>
      <p:grpSp>
        <p:nvGrpSpPr>
          <p:cNvPr id="28" name="Google Shape;1741;p44">
            <a:extLst>
              <a:ext uri="{FF2B5EF4-FFF2-40B4-BE49-F238E27FC236}">
                <a16:creationId xmlns:a16="http://schemas.microsoft.com/office/drawing/2014/main" id="{C7DAE177-818D-4820-BA8A-D2F4A4649CEB}"/>
              </a:ext>
            </a:extLst>
          </p:cNvPr>
          <p:cNvGrpSpPr/>
          <p:nvPr/>
        </p:nvGrpSpPr>
        <p:grpSpPr>
          <a:xfrm>
            <a:off x="6085815" y="3585723"/>
            <a:ext cx="2086171" cy="1753863"/>
            <a:chOff x="4564361" y="2932179"/>
            <a:chExt cx="1564628" cy="1315397"/>
          </a:xfrm>
        </p:grpSpPr>
        <p:sp>
          <p:nvSpPr>
            <p:cNvPr id="29" name="Google Shape;1742;p44">
              <a:extLst>
                <a:ext uri="{FF2B5EF4-FFF2-40B4-BE49-F238E27FC236}">
                  <a16:creationId xmlns:a16="http://schemas.microsoft.com/office/drawing/2014/main" id="{0D52EA9A-214A-456C-B16E-B7DC91D489E5}"/>
                </a:ext>
              </a:extLst>
            </p:cNvPr>
            <p:cNvSpPr/>
            <p:nvPr/>
          </p:nvSpPr>
          <p:spPr>
            <a:xfrm>
              <a:off x="5643999" y="3560834"/>
              <a:ext cx="257729" cy="654179"/>
            </a:xfrm>
            <a:custGeom>
              <a:avLst/>
              <a:gdLst/>
              <a:ahLst/>
              <a:cxnLst/>
              <a:rect l="l" t="t" r="r" b="b"/>
              <a:pathLst>
                <a:path w="8669" h="22004" extrusionOk="0">
                  <a:moveTo>
                    <a:pt x="7835" y="1"/>
                  </a:moveTo>
                  <a:lnTo>
                    <a:pt x="1" y="21694"/>
                  </a:lnTo>
                  <a:lnTo>
                    <a:pt x="834" y="22003"/>
                  </a:lnTo>
                  <a:lnTo>
                    <a:pt x="8668" y="310"/>
                  </a:lnTo>
                  <a:lnTo>
                    <a:pt x="7835" y="1"/>
                  </a:lnTo>
                  <a:close/>
                </a:path>
              </a:pathLst>
            </a:custGeom>
            <a:solidFill>
              <a:srgbClr val="869FB2"/>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30" name="Google Shape;1743;p44">
              <a:extLst>
                <a:ext uri="{FF2B5EF4-FFF2-40B4-BE49-F238E27FC236}">
                  <a16:creationId xmlns:a16="http://schemas.microsoft.com/office/drawing/2014/main" id="{CC1D0CE0-F616-4C45-B5CB-D09A45E6B5C0}"/>
                </a:ext>
              </a:extLst>
            </p:cNvPr>
            <p:cNvSpPr/>
            <p:nvPr/>
          </p:nvSpPr>
          <p:spPr>
            <a:xfrm>
              <a:off x="5870903" y="2932179"/>
              <a:ext cx="258086" cy="653792"/>
            </a:xfrm>
            <a:custGeom>
              <a:avLst/>
              <a:gdLst/>
              <a:ahLst/>
              <a:cxnLst/>
              <a:rect l="l" t="t" r="r" b="b"/>
              <a:pathLst>
                <a:path w="8681" h="21991" extrusionOk="0">
                  <a:moveTo>
                    <a:pt x="7835" y="0"/>
                  </a:moveTo>
                  <a:lnTo>
                    <a:pt x="0" y="21693"/>
                  </a:lnTo>
                  <a:lnTo>
                    <a:pt x="846" y="21991"/>
                  </a:lnTo>
                  <a:lnTo>
                    <a:pt x="8680" y="298"/>
                  </a:lnTo>
                  <a:lnTo>
                    <a:pt x="7835" y="0"/>
                  </a:lnTo>
                  <a:close/>
                </a:path>
              </a:pathLst>
            </a:custGeom>
            <a:solidFill>
              <a:srgbClr val="869FB2"/>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31" name="Google Shape;1744;p44">
              <a:extLst>
                <a:ext uri="{FF2B5EF4-FFF2-40B4-BE49-F238E27FC236}">
                  <a16:creationId xmlns:a16="http://schemas.microsoft.com/office/drawing/2014/main" id="{277FAFBF-66AB-49AF-A245-729F76353E43}"/>
                </a:ext>
              </a:extLst>
            </p:cNvPr>
            <p:cNvSpPr/>
            <p:nvPr/>
          </p:nvSpPr>
          <p:spPr>
            <a:xfrm>
              <a:off x="4791622" y="3328994"/>
              <a:ext cx="1187951" cy="289927"/>
            </a:xfrm>
            <a:custGeom>
              <a:avLst/>
              <a:gdLst/>
              <a:ahLst/>
              <a:cxnLst/>
              <a:rect l="l" t="t" r="r" b="b"/>
              <a:pathLst>
                <a:path w="39958" h="9752" extrusionOk="0">
                  <a:moveTo>
                    <a:pt x="4001" y="0"/>
                  </a:moveTo>
                  <a:cubicBezTo>
                    <a:pt x="3572" y="0"/>
                    <a:pt x="3191" y="262"/>
                    <a:pt x="3048" y="655"/>
                  </a:cubicBezTo>
                  <a:lnTo>
                    <a:pt x="238" y="8394"/>
                  </a:lnTo>
                  <a:cubicBezTo>
                    <a:pt x="0" y="9049"/>
                    <a:pt x="488" y="9751"/>
                    <a:pt x="1179" y="9751"/>
                  </a:cubicBezTo>
                  <a:lnTo>
                    <a:pt x="35957" y="9751"/>
                  </a:lnTo>
                  <a:cubicBezTo>
                    <a:pt x="36374" y="9751"/>
                    <a:pt x="36755" y="9477"/>
                    <a:pt x="36898" y="9084"/>
                  </a:cubicBezTo>
                  <a:lnTo>
                    <a:pt x="39720" y="1345"/>
                  </a:lnTo>
                  <a:cubicBezTo>
                    <a:pt x="39958" y="691"/>
                    <a:pt x="39470" y="0"/>
                    <a:pt x="38767" y="0"/>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Tx/>
                <a:buNone/>
                <a:tabLst/>
                <a:defRPr/>
              </a:pPr>
              <a:r>
                <a:rPr kumimoji="0" lang="en" sz="2267" b="0" i="0" u="none" strike="noStrike" kern="1200" cap="none" spc="0" normalizeH="0" baseline="0" noProof="0">
                  <a:ln>
                    <a:noFill/>
                  </a:ln>
                  <a:solidFill>
                    <a:srgbClr val="FFFFFF"/>
                  </a:solidFill>
                  <a:effectLst/>
                  <a:uLnTx/>
                  <a:uFillTx/>
                  <a:latin typeface="Arial"/>
                  <a:ea typeface="+mn-ea"/>
                  <a:cs typeface="+mn-ea"/>
                  <a:sym typeface="+mn-lt"/>
                </a:rPr>
                <a:t>Uranus</a:t>
              </a: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32" name="Google Shape;1745;p44">
              <a:extLst>
                <a:ext uri="{FF2B5EF4-FFF2-40B4-BE49-F238E27FC236}">
                  <a16:creationId xmlns:a16="http://schemas.microsoft.com/office/drawing/2014/main" id="{C8E2FDBF-9DF2-4038-8910-ACAD7A03A072}"/>
                </a:ext>
              </a:extLst>
            </p:cNvPr>
            <p:cNvSpPr/>
            <p:nvPr/>
          </p:nvSpPr>
          <p:spPr>
            <a:xfrm>
              <a:off x="4564361" y="3957649"/>
              <a:ext cx="1187951" cy="289927"/>
            </a:xfrm>
            <a:custGeom>
              <a:avLst/>
              <a:gdLst/>
              <a:ahLst/>
              <a:cxnLst/>
              <a:rect l="l" t="t" r="r" b="b"/>
              <a:pathLst>
                <a:path w="39958" h="9752" extrusionOk="0">
                  <a:moveTo>
                    <a:pt x="4001" y="0"/>
                  </a:moveTo>
                  <a:cubicBezTo>
                    <a:pt x="3584" y="0"/>
                    <a:pt x="3203" y="274"/>
                    <a:pt x="3060" y="667"/>
                  </a:cubicBezTo>
                  <a:lnTo>
                    <a:pt x="239" y="8406"/>
                  </a:lnTo>
                  <a:cubicBezTo>
                    <a:pt x="1" y="9061"/>
                    <a:pt x="489" y="9752"/>
                    <a:pt x="1191" y="9752"/>
                  </a:cubicBezTo>
                  <a:lnTo>
                    <a:pt x="35957" y="9752"/>
                  </a:lnTo>
                  <a:cubicBezTo>
                    <a:pt x="36386" y="9752"/>
                    <a:pt x="36767" y="9490"/>
                    <a:pt x="36910" y="9097"/>
                  </a:cubicBezTo>
                  <a:lnTo>
                    <a:pt x="39720" y="1358"/>
                  </a:lnTo>
                  <a:cubicBezTo>
                    <a:pt x="39958" y="703"/>
                    <a:pt x="39482" y="0"/>
                    <a:pt x="38779" y="0"/>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Tx/>
                <a:buNone/>
                <a:tabLst/>
                <a:defRPr/>
              </a:pPr>
              <a:r>
                <a:rPr kumimoji="0" lang="en" sz="2267" b="0" i="0" u="none" strike="noStrike" kern="1200" cap="none" spc="0" normalizeH="0" baseline="0" noProof="0">
                  <a:ln>
                    <a:noFill/>
                  </a:ln>
                  <a:solidFill>
                    <a:srgbClr val="FFFFFF"/>
                  </a:solidFill>
                  <a:effectLst/>
                  <a:uLnTx/>
                  <a:uFillTx/>
                  <a:latin typeface="Arial"/>
                  <a:ea typeface="+mn-ea"/>
                  <a:cs typeface="+mn-ea"/>
                  <a:sym typeface="+mn-lt"/>
                </a:rPr>
                <a:t>Neptune</a:t>
              </a: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grpSp>
      <p:grpSp>
        <p:nvGrpSpPr>
          <p:cNvPr id="33" name="Google Shape;1746;p44">
            <a:extLst>
              <a:ext uri="{FF2B5EF4-FFF2-40B4-BE49-F238E27FC236}">
                <a16:creationId xmlns:a16="http://schemas.microsoft.com/office/drawing/2014/main" id="{D418B5FE-69BA-474D-9E61-BD45DBA02474}"/>
              </a:ext>
            </a:extLst>
          </p:cNvPr>
          <p:cNvGrpSpPr/>
          <p:nvPr/>
        </p:nvGrpSpPr>
        <p:grpSpPr>
          <a:xfrm>
            <a:off x="3452209" y="3027449"/>
            <a:ext cx="642825" cy="642232"/>
            <a:chOff x="2589156" y="2513474"/>
            <a:chExt cx="482119" cy="481674"/>
          </a:xfrm>
        </p:grpSpPr>
        <p:sp>
          <p:nvSpPr>
            <p:cNvPr id="34" name="Google Shape;1747;p44">
              <a:extLst>
                <a:ext uri="{FF2B5EF4-FFF2-40B4-BE49-F238E27FC236}">
                  <a16:creationId xmlns:a16="http://schemas.microsoft.com/office/drawing/2014/main" id="{2D8F84B1-7EBC-44E5-8F17-976DDCA4D19C}"/>
                </a:ext>
              </a:extLst>
            </p:cNvPr>
            <p:cNvSpPr/>
            <p:nvPr/>
          </p:nvSpPr>
          <p:spPr>
            <a:xfrm>
              <a:off x="2589156" y="2513474"/>
              <a:ext cx="482119" cy="481674"/>
            </a:xfrm>
            <a:custGeom>
              <a:avLst/>
              <a:gdLst/>
              <a:ahLst/>
              <a:cxnLst/>
              <a:rect l="l" t="t" r="r" b="b"/>
              <a:pathLst>
                <a:path w="13003" h="12991" extrusionOk="0">
                  <a:moveTo>
                    <a:pt x="6502" y="0"/>
                  </a:moveTo>
                  <a:cubicBezTo>
                    <a:pt x="2930" y="0"/>
                    <a:pt x="1" y="2929"/>
                    <a:pt x="1" y="6501"/>
                  </a:cubicBezTo>
                  <a:cubicBezTo>
                    <a:pt x="1" y="10073"/>
                    <a:pt x="2930" y="12990"/>
                    <a:pt x="6502" y="12990"/>
                  </a:cubicBezTo>
                  <a:cubicBezTo>
                    <a:pt x="10074" y="12990"/>
                    <a:pt x="13003" y="10073"/>
                    <a:pt x="13003" y="6501"/>
                  </a:cubicBezTo>
                  <a:cubicBezTo>
                    <a:pt x="13003" y="2929"/>
                    <a:pt x="10074" y="0"/>
                    <a:pt x="6502" y="0"/>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Tx/>
                <a:buNone/>
                <a:tabLst/>
                <a:defRPr/>
              </a:pPr>
              <a:endParaRPr kumimoji="0" sz="2667" b="0" i="0" u="none" strike="noStrike" kern="1200" cap="none" spc="0" normalizeH="0" baseline="0" noProof="0">
                <a:ln>
                  <a:noFill/>
                </a:ln>
                <a:solidFill>
                  <a:srgbClr val="000000"/>
                </a:solidFill>
                <a:effectLst/>
                <a:uLnTx/>
                <a:uFillTx/>
                <a:latin typeface="Arial"/>
                <a:ea typeface="+mn-ea"/>
                <a:cs typeface="+mn-ea"/>
                <a:sym typeface="+mn-lt"/>
              </a:endParaRPr>
            </a:p>
          </p:txBody>
        </p:sp>
        <p:grpSp>
          <p:nvGrpSpPr>
            <p:cNvPr id="35" name="Google Shape;1748;p44">
              <a:extLst>
                <a:ext uri="{FF2B5EF4-FFF2-40B4-BE49-F238E27FC236}">
                  <a16:creationId xmlns:a16="http://schemas.microsoft.com/office/drawing/2014/main" id="{DD294CD9-2F05-4A5E-BEE2-0FC1438CA640}"/>
                </a:ext>
              </a:extLst>
            </p:cNvPr>
            <p:cNvGrpSpPr/>
            <p:nvPr/>
          </p:nvGrpSpPr>
          <p:grpSpPr>
            <a:xfrm>
              <a:off x="2683579" y="2608048"/>
              <a:ext cx="293272" cy="292527"/>
              <a:chOff x="-20946600" y="3317850"/>
              <a:chExt cx="304825" cy="304050"/>
            </a:xfrm>
          </p:grpSpPr>
          <p:sp>
            <p:nvSpPr>
              <p:cNvPr id="36" name="Google Shape;1749;p44">
                <a:extLst>
                  <a:ext uri="{FF2B5EF4-FFF2-40B4-BE49-F238E27FC236}">
                    <a16:creationId xmlns:a16="http://schemas.microsoft.com/office/drawing/2014/main" id="{77F1620F-F135-42A8-ABFD-87F9EA669173}"/>
                  </a:ext>
                </a:extLst>
              </p:cNvPr>
              <p:cNvSpPr/>
              <p:nvPr/>
            </p:nvSpPr>
            <p:spPr>
              <a:xfrm>
                <a:off x="-20946600" y="3317850"/>
                <a:ext cx="232350" cy="248925"/>
              </a:xfrm>
              <a:custGeom>
                <a:avLst/>
                <a:gdLst/>
                <a:ahLst/>
                <a:cxnLst/>
                <a:rect l="l" t="t" r="r" b="b"/>
                <a:pathLst>
                  <a:path w="9294" h="9957" extrusionOk="0">
                    <a:moveTo>
                      <a:pt x="4631" y="1"/>
                    </a:moveTo>
                    <a:cubicBezTo>
                      <a:pt x="3340" y="1"/>
                      <a:pt x="2268" y="977"/>
                      <a:pt x="2142" y="2237"/>
                    </a:cubicBezTo>
                    <a:cubicBezTo>
                      <a:pt x="1292" y="2521"/>
                      <a:pt x="693" y="3340"/>
                      <a:pt x="693" y="4254"/>
                    </a:cubicBezTo>
                    <a:cubicBezTo>
                      <a:pt x="693" y="4695"/>
                      <a:pt x="819" y="5073"/>
                      <a:pt x="1040" y="5451"/>
                    </a:cubicBezTo>
                    <a:cubicBezTo>
                      <a:pt x="378" y="5923"/>
                      <a:pt x="0" y="6648"/>
                      <a:pt x="0" y="7499"/>
                    </a:cubicBezTo>
                    <a:cubicBezTo>
                      <a:pt x="0" y="8853"/>
                      <a:pt x="1134" y="9956"/>
                      <a:pt x="2520" y="9956"/>
                    </a:cubicBezTo>
                    <a:lnTo>
                      <a:pt x="4316" y="9956"/>
                    </a:lnTo>
                    <a:lnTo>
                      <a:pt x="4316" y="8349"/>
                    </a:lnTo>
                    <a:lnTo>
                      <a:pt x="2962" y="7026"/>
                    </a:lnTo>
                    <a:cubicBezTo>
                      <a:pt x="2804" y="6869"/>
                      <a:pt x="2804" y="6648"/>
                      <a:pt x="2962" y="6491"/>
                    </a:cubicBezTo>
                    <a:cubicBezTo>
                      <a:pt x="3040" y="6412"/>
                      <a:pt x="3135" y="6372"/>
                      <a:pt x="3229" y="6372"/>
                    </a:cubicBezTo>
                    <a:cubicBezTo>
                      <a:pt x="3324" y="6372"/>
                      <a:pt x="3418" y="6412"/>
                      <a:pt x="3497" y="6491"/>
                    </a:cubicBezTo>
                    <a:lnTo>
                      <a:pt x="4316" y="7341"/>
                    </a:lnTo>
                    <a:lnTo>
                      <a:pt x="4316" y="5482"/>
                    </a:lnTo>
                    <a:lnTo>
                      <a:pt x="2962" y="4128"/>
                    </a:lnTo>
                    <a:cubicBezTo>
                      <a:pt x="2804" y="3970"/>
                      <a:pt x="2804" y="3781"/>
                      <a:pt x="2962" y="3624"/>
                    </a:cubicBezTo>
                    <a:cubicBezTo>
                      <a:pt x="3040" y="3545"/>
                      <a:pt x="3135" y="3505"/>
                      <a:pt x="3229" y="3505"/>
                    </a:cubicBezTo>
                    <a:cubicBezTo>
                      <a:pt x="3324" y="3505"/>
                      <a:pt x="3418" y="3545"/>
                      <a:pt x="3497" y="3624"/>
                    </a:cubicBezTo>
                    <a:lnTo>
                      <a:pt x="4316" y="4443"/>
                    </a:lnTo>
                    <a:lnTo>
                      <a:pt x="4316" y="2458"/>
                    </a:lnTo>
                    <a:cubicBezTo>
                      <a:pt x="4316" y="2237"/>
                      <a:pt x="4474" y="2080"/>
                      <a:pt x="4663" y="2080"/>
                    </a:cubicBezTo>
                    <a:cubicBezTo>
                      <a:pt x="4852" y="2080"/>
                      <a:pt x="5009" y="2237"/>
                      <a:pt x="5009" y="2458"/>
                    </a:cubicBezTo>
                    <a:lnTo>
                      <a:pt x="5009" y="5860"/>
                    </a:lnTo>
                    <a:lnTo>
                      <a:pt x="5860" y="5041"/>
                    </a:lnTo>
                    <a:cubicBezTo>
                      <a:pt x="5939" y="4963"/>
                      <a:pt x="6025" y="4923"/>
                      <a:pt x="6112" y="4923"/>
                    </a:cubicBezTo>
                    <a:cubicBezTo>
                      <a:pt x="6199" y="4923"/>
                      <a:pt x="6285" y="4963"/>
                      <a:pt x="6364" y="5041"/>
                    </a:cubicBezTo>
                    <a:cubicBezTo>
                      <a:pt x="6522" y="5199"/>
                      <a:pt x="6522" y="5388"/>
                      <a:pt x="6364" y="5545"/>
                    </a:cubicBezTo>
                    <a:lnTo>
                      <a:pt x="5009" y="6900"/>
                    </a:lnTo>
                    <a:lnTo>
                      <a:pt x="5009" y="9956"/>
                    </a:lnTo>
                    <a:lnTo>
                      <a:pt x="6805" y="9956"/>
                    </a:lnTo>
                    <a:cubicBezTo>
                      <a:pt x="8160" y="9956"/>
                      <a:pt x="9294" y="8853"/>
                      <a:pt x="9294" y="7499"/>
                    </a:cubicBezTo>
                    <a:cubicBezTo>
                      <a:pt x="9294" y="6648"/>
                      <a:pt x="8884" y="5923"/>
                      <a:pt x="8223" y="5451"/>
                    </a:cubicBezTo>
                    <a:cubicBezTo>
                      <a:pt x="8443" y="5073"/>
                      <a:pt x="8569" y="4695"/>
                      <a:pt x="8569" y="4254"/>
                    </a:cubicBezTo>
                    <a:cubicBezTo>
                      <a:pt x="8569" y="3340"/>
                      <a:pt x="7971" y="2521"/>
                      <a:pt x="7120" y="2237"/>
                    </a:cubicBezTo>
                    <a:cubicBezTo>
                      <a:pt x="6994" y="977"/>
                      <a:pt x="5923" y="1"/>
                      <a:pt x="4631" y="1"/>
                    </a:cubicBezTo>
                    <a:close/>
                  </a:path>
                </a:pathLst>
              </a:custGeom>
              <a:solidFill>
                <a:srgbClr val="FFFFFF"/>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37" name="Google Shape;1750;p44">
                <a:extLst>
                  <a:ext uri="{FF2B5EF4-FFF2-40B4-BE49-F238E27FC236}">
                    <a16:creationId xmlns:a16="http://schemas.microsoft.com/office/drawing/2014/main" id="{EDDEEAC7-DC07-4967-B3E4-B353793BB03E}"/>
                  </a:ext>
                </a:extLst>
              </p:cNvPr>
              <p:cNvSpPr/>
              <p:nvPr/>
            </p:nvSpPr>
            <p:spPr>
              <a:xfrm>
                <a:off x="-20775700" y="3318650"/>
                <a:ext cx="133925" cy="249700"/>
              </a:xfrm>
              <a:custGeom>
                <a:avLst/>
                <a:gdLst/>
                <a:ahLst/>
                <a:cxnLst/>
                <a:rect l="l" t="t" r="r" b="b"/>
                <a:pathLst>
                  <a:path w="5357" h="9988" extrusionOk="0">
                    <a:moveTo>
                      <a:pt x="694" y="0"/>
                    </a:moveTo>
                    <a:cubicBezTo>
                      <a:pt x="473" y="0"/>
                      <a:pt x="253" y="32"/>
                      <a:pt x="1" y="126"/>
                    </a:cubicBezTo>
                    <a:cubicBezTo>
                      <a:pt x="473" y="567"/>
                      <a:pt x="820" y="1103"/>
                      <a:pt x="977" y="1764"/>
                    </a:cubicBezTo>
                    <a:cubicBezTo>
                      <a:pt x="1891" y="2300"/>
                      <a:pt x="2490" y="3245"/>
                      <a:pt x="2490" y="4285"/>
                    </a:cubicBezTo>
                    <a:cubicBezTo>
                      <a:pt x="2490" y="4663"/>
                      <a:pt x="2395" y="4978"/>
                      <a:pt x="2269" y="5293"/>
                    </a:cubicBezTo>
                    <a:cubicBezTo>
                      <a:pt x="2836" y="5860"/>
                      <a:pt x="3183" y="6648"/>
                      <a:pt x="3183" y="7498"/>
                    </a:cubicBezTo>
                    <a:cubicBezTo>
                      <a:pt x="3183" y="8506"/>
                      <a:pt x="2710" y="9389"/>
                      <a:pt x="1985" y="9987"/>
                    </a:cubicBezTo>
                    <a:lnTo>
                      <a:pt x="2836" y="9987"/>
                    </a:lnTo>
                    <a:cubicBezTo>
                      <a:pt x="4222" y="9987"/>
                      <a:pt x="5325" y="8853"/>
                      <a:pt x="5325" y="7498"/>
                    </a:cubicBezTo>
                    <a:cubicBezTo>
                      <a:pt x="5357" y="6679"/>
                      <a:pt x="4915" y="5891"/>
                      <a:pt x="4285" y="5450"/>
                    </a:cubicBezTo>
                    <a:cubicBezTo>
                      <a:pt x="4537" y="5104"/>
                      <a:pt x="4632" y="4694"/>
                      <a:pt x="4632" y="4253"/>
                    </a:cubicBezTo>
                    <a:cubicBezTo>
                      <a:pt x="4632" y="3340"/>
                      <a:pt x="4065" y="2520"/>
                      <a:pt x="3183" y="2237"/>
                    </a:cubicBezTo>
                    <a:cubicBezTo>
                      <a:pt x="3057" y="977"/>
                      <a:pt x="2017" y="0"/>
                      <a:pt x="694" y="0"/>
                    </a:cubicBezTo>
                    <a:close/>
                  </a:path>
                </a:pathLst>
              </a:custGeom>
              <a:solidFill>
                <a:srgbClr val="FFFFFF"/>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38" name="Google Shape;1751;p44">
                <a:extLst>
                  <a:ext uri="{FF2B5EF4-FFF2-40B4-BE49-F238E27FC236}">
                    <a16:creationId xmlns:a16="http://schemas.microsoft.com/office/drawing/2014/main" id="{0487F7DF-C5D1-4204-89D2-8935119F9FD3}"/>
                  </a:ext>
                </a:extLst>
              </p:cNvPr>
              <p:cNvSpPr/>
              <p:nvPr/>
            </p:nvSpPr>
            <p:spPr>
              <a:xfrm>
                <a:off x="-20890700" y="3586425"/>
                <a:ext cx="195375" cy="35475"/>
              </a:xfrm>
              <a:custGeom>
                <a:avLst/>
                <a:gdLst/>
                <a:ahLst/>
                <a:cxnLst/>
                <a:rect l="l" t="t" r="r" b="b"/>
                <a:pathLst>
                  <a:path w="7815" h="1419" extrusionOk="0">
                    <a:moveTo>
                      <a:pt x="2112" y="1"/>
                    </a:moveTo>
                    <a:lnTo>
                      <a:pt x="2112" y="725"/>
                    </a:lnTo>
                    <a:lnTo>
                      <a:pt x="347" y="725"/>
                    </a:lnTo>
                    <a:cubicBezTo>
                      <a:pt x="158" y="725"/>
                      <a:pt x="1" y="883"/>
                      <a:pt x="1" y="1072"/>
                    </a:cubicBezTo>
                    <a:cubicBezTo>
                      <a:pt x="1" y="1261"/>
                      <a:pt x="158" y="1418"/>
                      <a:pt x="347" y="1418"/>
                    </a:cubicBezTo>
                    <a:lnTo>
                      <a:pt x="7468" y="1418"/>
                    </a:lnTo>
                    <a:cubicBezTo>
                      <a:pt x="7657" y="1418"/>
                      <a:pt x="7814" y="1261"/>
                      <a:pt x="7814" y="1072"/>
                    </a:cubicBezTo>
                    <a:cubicBezTo>
                      <a:pt x="7814" y="883"/>
                      <a:pt x="7625" y="725"/>
                      <a:pt x="7436" y="725"/>
                    </a:cubicBezTo>
                    <a:lnTo>
                      <a:pt x="5672" y="725"/>
                    </a:lnTo>
                    <a:lnTo>
                      <a:pt x="5672" y="1"/>
                    </a:lnTo>
                    <a:lnTo>
                      <a:pt x="4947" y="1"/>
                    </a:lnTo>
                    <a:lnTo>
                      <a:pt x="4947" y="725"/>
                    </a:lnTo>
                    <a:lnTo>
                      <a:pt x="2836" y="725"/>
                    </a:lnTo>
                    <a:lnTo>
                      <a:pt x="2836" y="1"/>
                    </a:lnTo>
                    <a:close/>
                  </a:path>
                </a:pathLst>
              </a:custGeom>
              <a:solidFill>
                <a:srgbClr val="FFFFFF"/>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grpSp>
      </p:grpSp>
      <p:grpSp>
        <p:nvGrpSpPr>
          <p:cNvPr id="39" name="Google Shape;1752;p44">
            <a:extLst>
              <a:ext uri="{FF2B5EF4-FFF2-40B4-BE49-F238E27FC236}">
                <a16:creationId xmlns:a16="http://schemas.microsoft.com/office/drawing/2014/main" id="{C6482FFA-8EAD-4321-92CA-E59B9B6B7C5D}"/>
              </a:ext>
            </a:extLst>
          </p:cNvPr>
          <p:cNvGrpSpPr/>
          <p:nvPr/>
        </p:nvGrpSpPr>
        <p:grpSpPr>
          <a:xfrm>
            <a:off x="7798121" y="3027775"/>
            <a:ext cx="642219" cy="641583"/>
            <a:chOff x="5848591" y="2513718"/>
            <a:chExt cx="481664" cy="481187"/>
          </a:xfrm>
        </p:grpSpPr>
        <p:sp>
          <p:nvSpPr>
            <p:cNvPr id="40" name="Google Shape;1753;p44">
              <a:extLst>
                <a:ext uri="{FF2B5EF4-FFF2-40B4-BE49-F238E27FC236}">
                  <a16:creationId xmlns:a16="http://schemas.microsoft.com/office/drawing/2014/main" id="{DEFE76EE-8222-45A0-AC9A-7537FDE38B3D}"/>
                </a:ext>
              </a:extLst>
            </p:cNvPr>
            <p:cNvSpPr/>
            <p:nvPr/>
          </p:nvSpPr>
          <p:spPr>
            <a:xfrm>
              <a:off x="5848591" y="2513718"/>
              <a:ext cx="481664" cy="481187"/>
            </a:xfrm>
            <a:custGeom>
              <a:avLst/>
              <a:gdLst/>
              <a:ahLst/>
              <a:cxnLst/>
              <a:rect l="l" t="t" r="r" b="b"/>
              <a:pathLst>
                <a:path w="13003" h="12991" extrusionOk="0">
                  <a:moveTo>
                    <a:pt x="6502" y="0"/>
                  </a:moveTo>
                  <a:cubicBezTo>
                    <a:pt x="2930" y="0"/>
                    <a:pt x="1" y="2929"/>
                    <a:pt x="1" y="6501"/>
                  </a:cubicBezTo>
                  <a:cubicBezTo>
                    <a:pt x="1" y="10073"/>
                    <a:pt x="2930" y="12990"/>
                    <a:pt x="6502" y="12990"/>
                  </a:cubicBezTo>
                  <a:cubicBezTo>
                    <a:pt x="10073" y="12990"/>
                    <a:pt x="13002" y="10073"/>
                    <a:pt x="13002" y="6501"/>
                  </a:cubicBezTo>
                  <a:cubicBezTo>
                    <a:pt x="13002" y="2929"/>
                    <a:pt x="10073" y="0"/>
                    <a:pt x="6502" y="0"/>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Tx/>
                <a:buNone/>
                <a:tabLst/>
                <a:defRPr/>
              </a:pPr>
              <a:endParaRPr kumimoji="0" sz="2667" b="0" i="0" u="none" strike="noStrike" kern="1200" cap="none" spc="0" normalizeH="0" baseline="0" noProof="0">
                <a:ln>
                  <a:noFill/>
                </a:ln>
                <a:solidFill>
                  <a:srgbClr val="000000"/>
                </a:solidFill>
                <a:effectLst/>
                <a:uLnTx/>
                <a:uFillTx/>
                <a:latin typeface="Arial"/>
                <a:ea typeface="+mn-ea"/>
                <a:cs typeface="+mn-ea"/>
                <a:sym typeface="+mn-lt"/>
              </a:endParaRPr>
            </a:p>
          </p:txBody>
        </p:sp>
        <p:grpSp>
          <p:nvGrpSpPr>
            <p:cNvPr id="41" name="Google Shape;1754;p44">
              <a:extLst>
                <a:ext uri="{FF2B5EF4-FFF2-40B4-BE49-F238E27FC236}">
                  <a16:creationId xmlns:a16="http://schemas.microsoft.com/office/drawing/2014/main" id="{145F52A0-116D-4102-A94F-175AF588DD20}"/>
                </a:ext>
              </a:extLst>
            </p:cNvPr>
            <p:cNvGrpSpPr/>
            <p:nvPr/>
          </p:nvGrpSpPr>
          <p:grpSpPr>
            <a:xfrm>
              <a:off x="5960541" y="2608433"/>
              <a:ext cx="259190" cy="291757"/>
              <a:chOff x="5960541" y="2608426"/>
              <a:chExt cx="259190" cy="291757"/>
            </a:xfrm>
          </p:grpSpPr>
          <p:sp>
            <p:nvSpPr>
              <p:cNvPr id="42" name="Google Shape;1755;p44">
                <a:extLst>
                  <a:ext uri="{FF2B5EF4-FFF2-40B4-BE49-F238E27FC236}">
                    <a16:creationId xmlns:a16="http://schemas.microsoft.com/office/drawing/2014/main" id="{C5BBA064-5404-48A2-A3E0-7276CB470C2C}"/>
                  </a:ext>
                </a:extLst>
              </p:cNvPr>
              <p:cNvSpPr/>
              <p:nvPr/>
            </p:nvSpPr>
            <p:spPr>
              <a:xfrm>
                <a:off x="6022692" y="2608426"/>
                <a:ext cx="136402" cy="138687"/>
              </a:xfrm>
              <a:custGeom>
                <a:avLst/>
                <a:gdLst/>
                <a:ahLst/>
                <a:cxnLst/>
                <a:rect l="l" t="t" r="r" b="b"/>
                <a:pathLst>
                  <a:path w="5671" h="5766" extrusionOk="0">
                    <a:moveTo>
                      <a:pt x="2836" y="2174"/>
                    </a:moveTo>
                    <a:cubicBezTo>
                      <a:pt x="3245" y="2174"/>
                      <a:pt x="3560" y="2489"/>
                      <a:pt x="3560" y="2867"/>
                    </a:cubicBezTo>
                    <a:cubicBezTo>
                      <a:pt x="3560" y="3277"/>
                      <a:pt x="3245" y="3592"/>
                      <a:pt x="2836" y="3592"/>
                    </a:cubicBezTo>
                    <a:cubicBezTo>
                      <a:pt x="2457" y="3592"/>
                      <a:pt x="2142" y="3277"/>
                      <a:pt x="2142" y="2867"/>
                    </a:cubicBezTo>
                    <a:cubicBezTo>
                      <a:pt x="2142" y="2489"/>
                      <a:pt x="2457" y="2174"/>
                      <a:pt x="2836" y="2174"/>
                    </a:cubicBezTo>
                    <a:close/>
                    <a:moveTo>
                      <a:pt x="2836" y="0"/>
                    </a:moveTo>
                    <a:cubicBezTo>
                      <a:pt x="2457" y="0"/>
                      <a:pt x="2111" y="252"/>
                      <a:pt x="1890" y="599"/>
                    </a:cubicBezTo>
                    <a:cubicBezTo>
                      <a:pt x="1791" y="563"/>
                      <a:pt x="1685" y="545"/>
                      <a:pt x="1577" y="545"/>
                    </a:cubicBezTo>
                    <a:cubicBezTo>
                      <a:pt x="1307" y="545"/>
                      <a:pt x="1031" y="657"/>
                      <a:pt x="851" y="882"/>
                    </a:cubicBezTo>
                    <a:cubicBezTo>
                      <a:pt x="630" y="1071"/>
                      <a:pt x="536" y="1355"/>
                      <a:pt x="536" y="1607"/>
                    </a:cubicBezTo>
                    <a:cubicBezTo>
                      <a:pt x="536" y="1733"/>
                      <a:pt x="536" y="1827"/>
                      <a:pt x="567" y="1922"/>
                    </a:cubicBezTo>
                    <a:cubicBezTo>
                      <a:pt x="189" y="2142"/>
                      <a:pt x="0" y="2489"/>
                      <a:pt x="0" y="2867"/>
                    </a:cubicBezTo>
                    <a:cubicBezTo>
                      <a:pt x="0" y="3308"/>
                      <a:pt x="189" y="3655"/>
                      <a:pt x="567" y="3812"/>
                    </a:cubicBezTo>
                    <a:cubicBezTo>
                      <a:pt x="536" y="3938"/>
                      <a:pt x="536" y="4033"/>
                      <a:pt x="536" y="4127"/>
                    </a:cubicBezTo>
                    <a:cubicBezTo>
                      <a:pt x="536" y="4411"/>
                      <a:pt x="630" y="4694"/>
                      <a:pt x="851" y="4883"/>
                    </a:cubicBezTo>
                    <a:cubicBezTo>
                      <a:pt x="1036" y="5092"/>
                      <a:pt x="1325" y="5216"/>
                      <a:pt x="1603" y="5216"/>
                    </a:cubicBezTo>
                    <a:cubicBezTo>
                      <a:pt x="1702" y="5216"/>
                      <a:pt x="1799" y="5200"/>
                      <a:pt x="1890" y="5167"/>
                    </a:cubicBezTo>
                    <a:cubicBezTo>
                      <a:pt x="2111" y="5513"/>
                      <a:pt x="2457" y="5766"/>
                      <a:pt x="2836" y="5766"/>
                    </a:cubicBezTo>
                    <a:cubicBezTo>
                      <a:pt x="3245" y="5766"/>
                      <a:pt x="3592" y="5513"/>
                      <a:pt x="3781" y="5167"/>
                    </a:cubicBezTo>
                    <a:cubicBezTo>
                      <a:pt x="3889" y="5203"/>
                      <a:pt x="3999" y="5221"/>
                      <a:pt x="4109" y="5221"/>
                    </a:cubicBezTo>
                    <a:cubicBezTo>
                      <a:pt x="4382" y="5221"/>
                      <a:pt x="4649" y="5108"/>
                      <a:pt x="4852" y="4883"/>
                    </a:cubicBezTo>
                    <a:cubicBezTo>
                      <a:pt x="5041" y="4694"/>
                      <a:pt x="5167" y="4411"/>
                      <a:pt x="5167" y="4127"/>
                    </a:cubicBezTo>
                    <a:cubicBezTo>
                      <a:pt x="5167" y="4033"/>
                      <a:pt x="5167" y="3938"/>
                      <a:pt x="5135" y="3812"/>
                    </a:cubicBezTo>
                    <a:cubicBezTo>
                      <a:pt x="5482" y="3623"/>
                      <a:pt x="5671" y="3277"/>
                      <a:pt x="5671" y="2867"/>
                    </a:cubicBezTo>
                    <a:cubicBezTo>
                      <a:pt x="5671" y="2489"/>
                      <a:pt x="5450" y="2142"/>
                      <a:pt x="5135" y="1922"/>
                    </a:cubicBezTo>
                    <a:cubicBezTo>
                      <a:pt x="5167" y="1827"/>
                      <a:pt x="5167" y="1733"/>
                      <a:pt x="5167" y="1607"/>
                    </a:cubicBezTo>
                    <a:cubicBezTo>
                      <a:pt x="5167" y="1355"/>
                      <a:pt x="5041" y="1071"/>
                      <a:pt x="4852" y="882"/>
                    </a:cubicBezTo>
                    <a:cubicBezTo>
                      <a:pt x="4643" y="673"/>
                      <a:pt x="4348" y="550"/>
                      <a:pt x="4069" y="550"/>
                    </a:cubicBezTo>
                    <a:cubicBezTo>
                      <a:pt x="3969" y="550"/>
                      <a:pt x="3872" y="566"/>
                      <a:pt x="3781" y="599"/>
                    </a:cubicBezTo>
                    <a:cubicBezTo>
                      <a:pt x="3592" y="252"/>
                      <a:pt x="3245" y="0"/>
                      <a:pt x="2836" y="0"/>
                    </a:cubicBezTo>
                    <a:close/>
                  </a:path>
                </a:pathLst>
              </a:custGeom>
              <a:solidFill>
                <a:srgbClr val="FFFFFF"/>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43" name="Google Shape;1756;p44">
                <a:extLst>
                  <a:ext uri="{FF2B5EF4-FFF2-40B4-BE49-F238E27FC236}">
                    <a16:creationId xmlns:a16="http://schemas.microsoft.com/office/drawing/2014/main" id="{D4F8F8FD-17BC-4EF5-8FB0-82C8F4B6685A}"/>
                  </a:ext>
                </a:extLst>
              </p:cNvPr>
              <p:cNvSpPr/>
              <p:nvPr/>
            </p:nvSpPr>
            <p:spPr>
              <a:xfrm>
                <a:off x="5960541" y="2728905"/>
                <a:ext cx="259190" cy="171278"/>
              </a:xfrm>
              <a:custGeom>
                <a:avLst/>
                <a:gdLst/>
                <a:ahLst/>
                <a:cxnLst/>
                <a:rect l="l" t="t" r="r" b="b"/>
                <a:pathLst>
                  <a:path w="10776" h="7121" extrusionOk="0">
                    <a:moveTo>
                      <a:pt x="379" y="0"/>
                    </a:moveTo>
                    <a:cubicBezTo>
                      <a:pt x="253" y="0"/>
                      <a:pt x="190" y="32"/>
                      <a:pt x="95" y="95"/>
                    </a:cubicBezTo>
                    <a:cubicBezTo>
                      <a:pt x="32" y="189"/>
                      <a:pt x="1" y="252"/>
                      <a:pt x="1" y="378"/>
                    </a:cubicBezTo>
                    <a:cubicBezTo>
                      <a:pt x="1" y="473"/>
                      <a:pt x="190" y="2710"/>
                      <a:pt x="1103" y="3655"/>
                    </a:cubicBezTo>
                    <a:cubicBezTo>
                      <a:pt x="1513" y="4096"/>
                      <a:pt x="1922" y="4285"/>
                      <a:pt x="2364" y="4285"/>
                    </a:cubicBezTo>
                    <a:cubicBezTo>
                      <a:pt x="2679" y="4285"/>
                      <a:pt x="3025" y="4159"/>
                      <a:pt x="3340" y="3907"/>
                    </a:cubicBezTo>
                    <a:lnTo>
                      <a:pt x="4947" y="5514"/>
                    </a:lnTo>
                    <a:lnTo>
                      <a:pt x="4947" y="6427"/>
                    </a:lnTo>
                    <a:lnTo>
                      <a:pt x="2458" y="6427"/>
                    </a:lnTo>
                    <a:cubicBezTo>
                      <a:pt x="2269" y="6427"/>
                      <a:pt x="2112" y="6585"/>
                      <a:pt x="2112" y="6774"/>
                    </a:cubicBezTo>
                    <a:cubicBezTo>
                      <a:pt x="2112" y="6963"/>
                      <a:pt x="2269" y="7120"/>
                      <a:pt x="2458" y="7120"/>
                    </a:cubicBezTo>
                    <a:lnTo>
                      <a:pt x="8192" y="7120"/>
                    </a:lnTo>
                    <a:cubicBezTo>
                      <a:pt x="8381" y="7120"/>
                      <a:pt x="8539" y="6963"/>
                      <a:pt x="8539" y="6774"/>
                    </a:cubicBezTo>
                    <a:cubicBezTo>
                      <a:pt x="8539" y="6585"/>
                      <a:pt x="8381" y="6427"/>
                      <a:pt x="8192" y="6427"/>
                    </a:cubicBezTo>
                    <a:lnTo>
                      <a:pt x="5672" y="6427"/>
                    </a:lnTo>
                    <a:lnTo>
                      <a:pt x="5672" y="6207"/>
                    </a:lnTo>
                    <a:lnTo>
                      <a:pt x="7278" y="4600"/>
                    </a:lnTo>
                    <a:cubicBezTo>
                      <a:pt x="7751" y="4884"/>
                      <a:pt x="8066" y="5010"/>
                      <a:pt x="8413" y="5010"/>
                    </a:cubicBezTo>
                    <a:cubicBezTo>
                      <a:pt x="8854" y="5010"/>
                      <a:pt x="9232" y="4789"/>
                      <a:pt x="9673" y="4380"/>
                    </a:cubicBezTo>
                    <a:cubicBezTo>
                      <a:pt x="10586" y="3466"/>
                      <a:pt x="10775" y="1229"/>
                      <a:pt x="10775" y="1103"/>
                    </a:cubicBezTo>
                    <a:cubicBezTo>
                      <a:pt x="10775" y="977"/>
                      <a:pt x="10744" y="883"/>
                      <a:pt x="10649" y="820"/>
                    </a:cubicBezTo>
                    <a:cubicBezTo>
                      <a:pt x="10586" y="757"/>
                      <a:pt x="10492" y="693"/>
                      <a:pt x="10397" y="693"/>
                    </a:cubicBezTo>
                    <a:cubicBezTo>
                      <a:pt x="10303" y="693"/>
                      <a:pt x="8066" y="883"/>
                      <a:pt x="7121" y="1796"/>
                    </a:cubicBezTo>
                    <a:cubicBezTo>
                      <a:pt x="6365" y="2552"/>
                      <a:pt x="6302" y="3308"/>
                      <a:pt x="6869" y="4033"/>
                    </a:cubicBezTo>
                    <a:lnTo>
                      <a:pt x="5735" y="5167"/>
                    </a:lnTo>
                    <a:lnTo>
                      <a:pt x="5735" y="1324"/>
                    </a:lnTo>
                    <a:cubicBezTo>
                      <a:pt x="5609" y="1387"/>
                      <a:pt x="5514" y="1387"/>
                      <a:pt x="5388" y="1387"/>
                    </a:cubicBezTo>
                    <a:cubicBezTo>
                      <a:pt x="5262" y="1387"/>
                      <a:pt x="5136" y="1387"/>
                      <a:pt x="5041" y="1324"/>
                    </a:cubicBezTo>
                    <a:lnTo>
                      <a:pt x="5041" y="4443"/>
                    </a:lnTo>
                    <a:lnTo>
                      <a:pt x="3876" y="3340"/>
                    </a:lnTo>
                    <a:cubicBezTo>
                      <a:pt x="4474" y="2584"/>
                      <a:pt x="4411" y="1828"/>
                      <a:pt x="3655" y="1103"/>
                    </a:cubicBezTo>
                    <a:cubicBezTo>
                      <a:pt x="2742" y="189"/>
                      <a:pt x="505" y="0"/>
                      <a:pt x="379" y="0"/>
                    </a:cubicBezTo>
                    <a:close/>
                  </a:path>
                </a:pathLst>
              </a:custGeom>
              <a:solidFill>
                <a:srgbClr val="FFFFFF"/>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grpSp>
      </p:grpSp>
      <p:grpSp>
        <p:nvGrpSpPr>
          <p:cNvPr id="44" name="Google Shape;1757;p44">
            <a:extLst>
              <a:ext uri="{FF2B5EF4-FFF2-40B4-BE49-F238E27FC236}">
                <a16:creationId xmlns:a16="http://schemas.microsoft.com/office/drawing/2014/main" id="{4656D292-9D47-40B4-8154-B6728CF8816E}"/>
              </a:ext>
            </a:extLst>
          </p:cNvPr>
          <p:cNvGrpSpPr/>
          <p:nvPr/>
        </p:nvGrpSpPr>
        <p:grpSpPr>
          <a:xfrm>
            <a:off x="3893043" y="3585246"/>
            <a:ext cx="2086131" cy="1754339"/>
            <a:chOff x="2919782" y="2931822"/>
            <a:chExt cx="1564598" cy="1315754"/>
          </a:xfrm>
        </p:grpSpPr>
        <p:sp>
          <p:nvSpPr>
            <p:cNvPr id="45" name="Google Shape;1758;p44">
              <a:extLst>
                <a:ext uri="{FF2B5EF4-FFF2-40B4-BE49-F238E27FC236}">
                  <a16:creationId xmlns:a16="http://schemas.microsoft.com/office/drawing/2014/main" id="{E89DC613-C169-4675-8569-E55FF02DA858}"/>
                </a:ext>
              </a:extLst>
            </p:cNvPr>
            <p:cNvSpPr/>
            <p:nvPr/>
          </p:nvSpPr>
          <p:spPr>
            <a:xfrm>
              <a:off x="3999420" y="3560834"/>
              <a:ext cx="257700" cy="654179"/>
            </a:xfrm>
            <a:custGeom>
              <a:avLst/>
              <a:gdLst/>
              <a:ahLst/>
              <a:cxnLst/>
              <a:rect l="l" t="t" r="r" b="b"/>
              <a:pathLst>
                <a:path w="8668" h="22004" extrusionOk="0">
                  <a:moveTo>
                    <a:pt x="7834" y="1"/>
                  </a:moveTo>
                  <a:lnTo>
                    <a:pt x="0" y="21694"/>
                  </a:lnTo>
                  <a:lnTo>
                    <a:pt x="834" y="22003"/>
                  </a:lnTo>
                  <a:lnTo>
                    <a:pt x="8668" y="298"/>
                  </a:lnTo>
                  <a:lnTo>
                    <a:pt x="7834" y="1"/>
                  </a:lnTo>
                  <a:close/>
                </a:path>
              </a:pathLst>
            </a:custGeom>
            <a:solidFill>
              <a:srgbClr val="869FB2"/>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46" name="Google Shape;1759;p44">
              <a:extLst>
                <a:ext uri="{FF2B5EF4-FFF2-40B4-BE49-F238E27FC236}">
                  <a16:creationId xmlns:a16="http://schemas.microsoft.com/office/drawing/2014/main" id="{50282570-3F77-43C4-9465-5BB9915BC1C2}"/>
                </a:ext>
              </a:extLst>
            </p:cNvPr>
            <p:cNvSpPr/>
            <p:nvPr/>
          </p:nvSpPr>
          <p:spPr>
            <a:xfrm>
              <a:off x="4226324" y="2931822"/>
              <a:ext cx="258056" cy="654149"/>
            </a:xfrm>
            <a:custGeom>
              <a:avLst/>
              <a:gdLst/>
              <a:ahLst/>
              <a:cxnLst/>
              <a:rect l="l" t="t" r="r" b="b"/>
              <a:pathLst>
                <a:path w="8680" h="22003" extrusionOk="0">
                  <a:moveTo>
                    <a:pt x="7834" y="0"/>
                  </a:moveTo>
                  <a:lnTo>
                    <a:pt x="0" y="21705"/>
                  </a:lnTo>
                  <a:lnTo>
                    <a:pt x="845" y="22003"/>
                  </a:lnTo>
                  <a:lnTo>
                    <a:pt x="8680" y="310"/>
                  </a:lnTo>
                  <a:lnTo>
                    <a:pt x="7834" y="0"/>
                  </a:lnTo>
                  <a:close/>
                </a:path>
              </a:pathLst>
            </a:custGeom>
            <a:solidFill>
              <a:srgbClr val="869FB2"/>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47" name="Google Shape;1760;p44">
              <a:extLst>
                <a:ext uri="{FF2B5EF4-FFF2-40B4-BE49-F238E27FC236}">
                  <a16:creationId xmlns:a16="http://schemas.microsoft.com/office/drawing/2014/main" id="{84EE85F0-09C7-4784-818D-455F257279AD}"/>
                </a:ext>
              </a:extLst>
            </p:cNvPr>
            <p:cNvSpPr/>
            <p:nvPr/>
          </p:nvSpPr>
          <p:spPr>
            <a:xfrm>
              <a:off x="3147013" y="3328994"/>
              <a:ext cx="1187981" cy="289927"/>
            </a:xfrm>
            <a:custGeom>
              <a:avLst/>
              <a:gdLst/>
              <a:ahLst/>
              <a:cxnLst/>
              <a:rect l="l" t="t" r="r" b="b"/>
              <a:pathLst>
                <a:path w="39959" h="9752" extrusionOk="0">
                  <a:moveTo>
                    <a:pt x="4001" y="0"/>
                  </a:moveTo>
                  <a:cubicBezTo>
                    <a:pt x="3573" y="0"/>
                    <a:pt x="3192" y="262"/>
                    <a:pt x="3049" y="655"/>
                  </a:cubicBezTo>
                  <a:lnTo>
                    <a:pt x="239" y="8394"/>
                  </a:lnTo>
                  <a:cubicBezTo>
                    <a:pt x="1" y="9049"/>
                    <a:pt x="489" y="9751"/>
                    <a:pt x="1180" y="9751"/>
                  </a:cubicBezTo>
                  <a:lnTo>
                    <a:pt x="35958" y="9751"/>
                  </a:lnTo>
                  <a:cubicBezTo>
                    <a:pt x="36374" y="9751"/>
                    <a:pt x="36755" y="9477"/>
                    <a:pt x="36898" y="9084"/>
                  </a:cubicBezTo>
                  <a:lnTo>
                    <a:pt x="39720" y="1345"/>
                  </a:lnTo>
                  <a:cubicBezTo>
                    <a:pt x="39958" y="691"/>
                    <a:pt x="39470" y="0"/>
                    <a:pt x="38768" y="0"/>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Tx/>
                <a:buNone/>
                <a:tabLst/>
                <a:defRPr/>
              </a:pPr>
              <a:r>
                <a:rPr kumimoji="0" lang="en" sz="2267" b="0" i="0" u="none" strike="noStrike" kern="1200" cap="none" spc="0" normalizeH="0" baseline="0" noProof="0">
                  <a:ln>
                    <a:noFill/>
                  </a:ln>
                  <a:solidFill>
                    <a:srgbClr val="FFFFFF"/>
                  </a:solidFill>
                  <a:effectLst/>
                  <a:uLnTx/>
                  <a:uFillTx/>
                  <a:latin typeface="Arial"/>
                  <a:ea typeface="+mn-ea"/>
                  <a:cs typeface="+mn-ea"/>
                  <a:sym typeface="+mn-lt"/>
                </a:rPr>
                <a:t>Europa</a:t>
              </a: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48" name="Google Shape;1761;p44">
              <a:extLst>
                <a:ext uri="{FF2B5EF4-FFF2-40B4-BE49-F238E27FC236}">
                  <a16:creationId xmlns:a16="http://schemas.microsoft.com/office/drawing/2014/main" id="{2D60FB4A-1369-4EEC-A80D-D34073A55332}"/>
                </a:ext>
              </a:extLst>
            </p:cNvPr>
            <p:cNvSpPr/>
            <p:nvPr/>
          </p:nvSpPr>
          <p:spPr>
            <a:xfrm>
              <a:off x="2919782" y="3957649"/>
              <a:ext cx="1187951" cy="289927"/>
            </a:xfrm>
            <a:custGeom>
              <a:avLst/>
              <a:gdLst/>
              <a:ahLst/>
              <a:cxnLst/>
              <a:rect l="l" t="t" r="r" b="b"/>
              <a:pathLst>
                <a:path w="39958" h="9752" extrusionOk="0">
                  <a:moveTo>
                    <a:pt x="4001" y="0"/>
                  </a:moveTo>
                  <a:cubicBezTo>
                    <a:pt x="3584" y="0"/>
                    <a:pt x="3203" y="274"/>
                    <a:pt x="3060" y="667"/>
                  </a:cubicBezTo>
                  <a:lnTo>
                    <a:pt x="250" y="8406"/>
                  </a:lnTo>
                  <a:cubicBezTo>
                    <a:pt x="0" y="9061"/>
                    <a:pt x="488" y="9752"/>
                    <a:pt x="1191" y="9752"/>
                  </a:cubicBezTo>
                  <a:lnTo>
                    <a:pt x="35969" y="9752"/>
                  </a:lnTo>
                  <a:cubicBezTo>
                    <a:pt x="36386" y="9752"/>
                    <a:pt x="36767" y="9490"/>
                    <a:pt x="36909" y="9097"/>
                  </a:cubicBezTo>
                  <a:lnTo>
                    <a:pt x="39719" y="1358"/>
                  </a:lnTo>
                  <a:cubicBezTo>
                    <a:pt x="39957" y="703"/>
                    <a:pt x="39481" y="0"/>
                    <a:pt x="38779" y="0"/>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Tx/>
                <a:buNone/>
                <a:tabLst/>
                <a:defRPr/>
              </a:pPr>
              <a:r>
                <a:rPr kumimoji="0" lang="en" sz="2267" b="0" i="0" u="none" strike="noStrike" kern="1200" cap="none" spc="0" normalizeH="0" baseline="0" noProof="0">
                  <a:ln>
                    <a:noFill/>
                  </a:ln>
                  <a:solidFill>
                    <a:srgbClr val="FFFFFF"/>
                  </a:solidFill>
                  <a:effectLst/>
                  <a:uLnTx/>
                  <a:uFillTx/>
                  <a:latin typeface="Arial"/>
                  <a:ea typeface="+mn-ea"/>
                  <a:cs typeface="+mn-ea"/>
                  <a:sym typeface="+mn-lt"/>
                </a:rPr>
                <a:t>Callisto</a:t>
              </a: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grpSp>
      <p:grpSp>
        <p:nvGrpSpPr>
          <p:cNvPr id="49" name="Google Shape;1762;p44">
            <a:extLst>
              <a:ext uri="{FF2B5EF4-FFF2-40B4-BE49-F238E27FC236}">
                <a16:creationId xmlns:a16="http://schemas.microsoft.com/office/drawing/2014/main" id="{84285418-6FA6-4D1E-AD50-59B98048D92D}"/>
              </a:ext>
            </a:extLst>
          </p:cNvPr>
          <p:cNvGrpSpPr/>
          <p:nvPr/>
        </p:nvGrpSpPr>
        <p:grpSpPr>
          <a:xfrm>
            <a:off x="5615353" y="3027449"/>
            <a:ext cx="642183" cy="642232"/>
            <a:chOff x="4211514" y="2513474"/>
            <a:chExt cx="481637" cy="481674"/>
          </a:xfrm>
        </p:grpSpPr>
        <p:sp>
          <p:nvSpPr>
            <p:cNvPr id="50" name="Google Shape;1763;p44">
              <a:extLst>
                <a:ext uri="{FF2B5EF4-FFF2-40B4-BE49-F238E27FC236}">
                  <a16:creationId xmlns:a16="http://schemas.microsoft.com/office/drawing/2014/main" id="{F0011760-23C2-4938-9177-0B36A0E3D11C}"/>
                </a:ext>
              </a:extLst>
            </p:cNvPr>
            <p:cNvSpPr/>
            <p:nvPr/>
          </p:nvSpPr>
          <p:spPr>
            <a:xfrm>
              <a:off x="4211514" y="2513474"/>
              <a:ext cx="481637" cy="481674"/>
            </a:xfrm>
            <a:custGeom>
              <a:avLst/>
              <a:gdLst/>
              <a:ahLst/>
              <a:cxnLst/>
              <a:rect l="l" t="t" r="r" b="b"/>
              <a:pathLst>
                <a:path w="12990" h="12991" extrusionOk="0">
                  <a:moveTo>
                    <a:pt x="6489" y="0"/>
                  </a:moveTo>
                  <a:cubicBezTo>
                    <a:pt x="2917" y="0"/>
                    <a:pt x="0" y="2929"/>
                    <a:pt x="0" y="6501"/>
                  </a:cubicBezTo>
                  <a:cubicBezTo>
                    <a:pt x="0" y="10073"/>
                    <a:pt x="2917" y="12990"/>
                    <a:pt x="6489" y="12990"/>
                  </a:cubicBezTo>
                  <a:cubicBezTo>
                    <a:pt x="10073" y="12990"/>
                    <a:pt x="12990" y="10073"/>
                    <a:pt x="12990" y="6501"/>
                  </a:cubicBezTo>
                  <a:cubicBezTo>
                    <a:pt x="12990" y="2929"/>
                    <a:pt x="10073" y="0"/>
                    <a:pt x="6489" y="0"/>
                  </a:cubicBezTo>
                  <a:close/>
                </a:path>
              </a:pathLst>
            </a:custGeom>
            <a:solidFill>
              <a:schemeClr val="accent1"/>
            </a:solidFill>
            <a:ln>
              <a:noFill/>
            </a:ln>
          </p:spPr>
          <p:txBody>
            <a:bodyPr spcFirstLastPara="1" wrap="square" lIns="121900" tIns="121900" rIns="121900" bIns="1219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Tx/>
                <a:buNone/>
                <a:tabLst/>
                <a:defRPr/>
              </a:pPr>
              <a:endParaRPr kumimoji="0" sz="2667" b="0" i="0" u="none" strike="noStrike" kern="1200" cap="none" spc="0" normalizeH="0" baseline="0" noProof="0">
                <a:ln>
                  <a:noFill/>
                </a:ln>
                <a:solidFill>
                  <a:srgbClr val="000000"/>
                </a:solidFill>
                <a:effectLst/>
                <a:uLnTx/>
                <a:uFillTx/>
                <a:latin typeface="Arial"/>
                <a:ea typeface="+mn-ea"/>
                <a:cs typeface="+mn-ea"/>
                <a:sym typeface="+mn-lt"/>
              </a:endParaRPr>
            </a:p>
          </p:txBody>
        </p:sp>
        <p:grpSp>
          <p:nvGrpSpPr>
            <p:cNvPr id="51" name="Google Shape;1764;p44">
              <a:extLst>
                <a:ext uri="{FF2B5EF4-FFF2-40B4-BE49-F238E27FC236}">
                  <a16:creationId xmlns:a16="http://schemas.microsoft.com/office/drawing/2014/main" id="{5C6AF6F2-1288-45B1-A032-6DFAF836421C}"/>
                </a:ext>
              </a:extLst>
            </p:cNvPr>
            <p:cNvGrpSpPr/>
            <p:nvPr/>
          </p:nvGrpSpPr>
          <p:grpSpPr>
            <a:xfrm>
              <a:off x="4305315" y="2608613"/>
              <a:ext cx="294042" cy="291396"/>
              <a:chOff x="-20572500" y="3319025"/>
              <a:chExt cx="305625" cy="302875"/>
            </a:xfrm>
          </p:grpSpPr>
          <p:sp>
            <p:nvSpPr>
              <p:cNvPr id="52" name="Google Shape;1765;p44">
                <a:extLst>
                  <a:ext uri="{FF2B5EF4-FFF2-40B4-BE49-F238E27FC236}">
                    <a16:creationId xmlns:a16="http://schemas.microsoft.com/office/drawing/2014/main" id="{FBDF5E36-14D5-409D-AF94-D8AC1FCD1F41}"/>
                  </a:ext>
                </a:extLst>
              </p:cNvPr>
              <p:cNvSpPr/>
              <p:nvPr/>
            </p:nvSpPr>
            <p:spPr>
              <a:xfrm>
                <a:off x="-20429150" y="3569900"/>
                <a:ext cx="18150" cy="52000"/>
              </a:xfrm>
              <a:custGeom>
                <a:avLst/>
                <a:gdLst/>
                <a:ahLst/>
                <a:cxnLst/>
                <a:rect l="l" t="t" r="r" b="b"/>
                <a:pathLst>
                  <a:path w="726" h="2080" extrusionOk="0">
                    <a:moveTo>
                      <a:pt x="347" y="0"/>
                    </a:moveTo>
                    <a:lnTo>
                      <a:pt x="1" y="126"/>
                    </a:lnTo>
                    <a:lnTo>
                      <a:pt x="1" y="1733"/>
                    </a:lnTo>
                    <a:cubicBezTo>
                      <a:pt x="1" y="1922"/>
                      <a:pt x="158" y="2079"/>
                      <a:pt x="347" y="2079"/>
                    </a:cubicBezTo>
                    <a:cubicBezTo>
                      <a:pt x="568" y="2079"/>
                      <a:pt x="725" y="1922"/>
                      <a:pt x="725" y="1733"/>
                    </a:cubicBezTo>
                    <a:lnTo>
                      <a:pt x="725" y="126"/>
                    </a:lnTo>
                    <a:lnTo>
                      <a:pt x="347" y="0"/>
                    </a:lnTo>
                    <a:close/>
                  </a:path>
                </a:pathLst>
              </a:custGeom>
              <a:solidFill>
                <a:srgbClr val="FFFFFF"/>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sp>
            <p:nvSpPr>
              <p:cNvPr id="53" name="Google Shape;1766;p44">
                <a:extLst>
                  <a:ext uri="{FF2B5EF4-FFF2-40B4-BE49-F238E27FC236}">
                    <a16:creationId xmlns:a16="http://schemas.microsoft.com/office/drawing/2014/main" id="{09142554-FB18-4A1D-89CC-ACFCDBC5731D}"/>
                  </a:ext>
                </a:extLst>
              </p:cNvPr>
              <p:cNvSpPr/>
              <p:nvPr/>
            </p:nvSpPr>
            <p:spPr>
              <a:xfrm>
                <a:off x="-20572500" y="3319025"/>
                <a:ext cx="305625" cy="267350"/>
              </a:xfrm>
              <a:custGeom>
                <a:avLst/>
                <a:gdLst/>
                <a:ahLst/>
                <a:cxnLst/>
                <a:rect l="l" t="t" r="r" b="b"/>
                <a:pathLst>
                  <a:path w="12225" h="10694" extrusionOk="0">
                    <a:moveTo>
                      <a:pt x="6097" y="1"/>
                    </a:moveTo>
                    <a:cubicBezTo>
                      <a:pt x="5979" y="1"/>
                      <a:pt x="5861" y="48"/>
                      <a:pt x="5798" y="143"/>
                    </a:cubicBezTo>
                    <a:lnTo>
                      <a:pt x="5168" y="1119"/>
                    </a:lnTo>
                    <a:cubicBezTo>
                      <a:pt x="4758" y="1749"/>
                      <a:pt x="4034" y="2159"/>
                      <a:pt x="3246" y="2159"/>
                    </a:cubicBezTo>
                    <a:cubicBezTo>
                      <a:pt x="2931" y="2159"/>
                      <a:pt x="2773" y="2537"/>
                      <a:pt x="3025" y="2757"/>
                    </a:cubicBezTo>
                    <a:cubicBezTo>
                      <a:pt x="3593" y="3388"/>
                      <a:pt x="3813" y="4900"/>
                      <a:pt x="3403" y="5813"/>
                    </a:cubicBezTo>
                    <a:cubicBezTo>
                      <a:pt x="2931" y="5656"/>
                      <a:pt x="2490" y="5372"/>
                      <a:pt x="2143" y="5057"/>
                    </a:cubicBezTo>
                    <a:cubicBezTo>
                      <a:pt x="2080" y="4994"/>
                      <a:pt x="2006" y="4966"/>
                      <a:pt x="1932" y="4966"/>
                    </a:cubicBezTo>
                    <a:cubicBezTo>
                      <a:pt x="1823" y="4966"/>
                      <a:pt x="1714" y="5026"/>
                      <a:pt x="1639" y="5120"/>
                    </a:cubicBezTo>
                    <a:cubicBezTo>
                      <a:pt x="1293" y="5624"/>
                      <a:pt x="789" y="6034"/>
                      <a:pt x="221" y="6286"/>
                    </a:cubicBezTo>
                    <a:cubicBezTo>
                      <a:pt x="64" y="6381"/>
                      <a:pt x="1" y="6570"/>
                      <a:pt x="64" y="6759"/>
                    </a:cubicBezTo>
                    <a:cubicBezTo>
                      <a:pt x="284" y="7326"/>
                      <a:pt x="411" y="7956"/>
                      <a:pt x="379" y="8523"/>
                    </a:cubicBezTo>
                    <a:cubicBezTo>
                      <a:pt x="379" y="8743"/>
                      <a:pt x="537" y="8932"/>
                      <a:pt x="726" y="8932"/>
                    </a:cubicBezTo>
                    <a:lnTo>
                      <a:pt x="883" y="8932"/>
                    </a:lnTo>
                    <a:cubicBezTo>
                      <a:pt x="1293" y="8932"/>
                      <a:pt x="1671" y="8964"/>
                      <a:pt x="2049" y="9121"/>
                    </a:cubicBezTo>
                    <a:lnTo>
                      <a:pt x="1482" y="10193"/>
                    </a:lnTo>
                    <a:cubicBezTo>
                      <a:pt x="1349" y="10432"/>
                      <a:pt x="1530" y="10694"/>
                      <a:pt x="1779" y="10694"/>
                    </a:cubicBezTo>
                    <a:cubicBezTo>
                      <a:pt x="1825" y="10694"/>
                      <a:pt x="1874" y="10685"/>
                      <a:pt x="1923" y="10665"/>
                    </a:cubicBezTo>
                    <a:lnTo>
                      <a:pt x="5735" y="9405"/>
                    </a:lnTo>
                    <a:lnTo>
                      <a:pt x="5735" y="9153"/>
                    </a:lnTo>
                    <a:lnTo>
                      <a:pt x="2395" y="7830"/>
                    </a:lnTo>
                    <a:cubicBezTo>
                      <a:pt x="2206" y="7735"/>
                      <a:pt x="2112" y="7546"/>
                      <a:pt x="2206" y="7357"/>
                    </a:cubicBezTo>
                    <a:cubicBezTo>
                      <a:pt x="2252" y="7219"/>
                      <a:pt x="2366" y="7131"/>
                      <a:pt x="2498" y="7131"/>
                    </a:cubicBezTo>
                    <a:cubicBezTo>
                      <a:pt x="2546" y="7131"/>
                      <a:pt x="2597" y="7143"/>
                      <a:pt x="2647" y="7168"/>
                    </a:cubicBezTo>
                    <a:lnTo>
                      <a:pt x="5735" y="8397"/>
                    </a:lnTo>
                    <a:lnTo>
                      <a:pt x="5735" y="3923"/>
                    </a:lnTo>
                    <a:cubicBezTo>
                      <a:pt x="5735" y="3734"/>
                      <a:pt x="5892" y="3577"/>
                      <a:pt x="6081" y="3577"/>
                    </a:cubicBezTo>
                    <a:cubicBezTo>
                      <a:pt x="6302" y="3577"/>
                      <a:pt x="6459" y="3734"/>
                      <a:pt x="6459" y="3923"/>
                    </a:cubicBezTo>
                    <a:lnTo>
                      <a:pt x="6459" y="8397"/>
                    </a:lnTo>
                    <a:lnTo>
                      <a:pt x="9515" y="7168"/>
                    </a:lnTo>
                    <a:cubicBezTo>
                      <a:pt x="9566" y="7143"/>
                      <a:pt x="9619" y="7131"/>
                      <a:pt x="9671" y="7131"/>
                    </a:cubicBezTo>
                    <a:cubicBezTo>
                      <a:pt x="9811" y="7131"/>
                      <a:pt x="9942" y="7219"/>
                      <a:pt x="9988" y="7357"/>
                    </a:cubicBezTo>
                    <a:cubicBezTo>
                      <a:pt x="10083" y="7546"/>
                      <a:pt x="9988" y="7735"/>
                      <a:pt x="9799" y="7830"/>
                    </a:cubicBezTo>
                    <a:lnTo>
                      <a:pt x="6459" y="9153"/>
                    </a:lnTo>
                    <a:lnTo>
                      <a:pt x="6459" y="9405"/>
                    </a:lnTo>
                    <a:lnTo>
                      <a:pt x="10272" y="10665"/>
                    </a:lnTo>
                    <a:cubicBezTo>
                      <a:pt x="10311" y="10685"/>
                      <a:pt x="10352" y="10694"/>
                      <a:pt x="10394" y="10694"/>
                    </a:cubicBezTo>
                    <a:cubicBezTo>
                      <a:pt x="10619" y="10694"/>
                      <a:pt x="10841" y="10432"/>
                      <a:pt x="10681" y="10193"/>
                    </a:cubicBezTo>
                    <a:lnTo>
                      <a:pt x="10146" y="9121"/>
                    </a:lnTo>
                    <a:cubicBezTo>
                      <a:pt x="10492" y="8995"/>
                      <a:pt x="10902" y="8932"/>
                      <a:pt x="11280" y="8932"/>
                    </a:cubicBezTo>
                    <a:lnTo>
                      <a:pt x="11437" y="8932"/>
                    </a:lnTo>
                    <a:cubicBezTo>
                      <a:pt x="11658" y="8932"/>
                      <a:pt x="11847" y="8806"/>
                      <a:pt x="11847" y="8523"/>
                    </a:cubicBezTo>
                    <a:cubicBezTo>
                      <a:pt x="11815" y="7956"/>
                      <a:pt x="11910" y="7326"/>
                      <a:pt x="12162" y="6759"/>
                    </a:cubicBezTo>
                    <a:cubicBezTo>
                      <a:pt x="12225" y="6570"/>
                      <a:pt x="12162" y="6381"/>
                      <a:pt x="12004" y="6286"/>
                    </a:cubicBezTo>
                    <a:cubicBezTo>
                      <a:pt x="11437" y="6034"/>
                      <a:pt x="10933" y="5624"/>
                      <a:pt x="10587" y="5120"/>
                    </a:cubicBezTo>
                    <a:cubicBezTo>
                      <a:pt x="10518" y="5001"/>
                      <a:pt x="10404" y="4946"/>
                      <a:pt x="10293" y="4946"/>
                    </a:cubicBezTo>
                    <a:cubicBezTo>
                      <a:pt x="10200" y="4946"/>
                      <a:pt x="10109" y="4985"/>
                      <a:pt x="10051" y="5057"/>
                    </a:cubicBezTo>
                    <a:cubicBezTo>
                      <a:pt x="9704" y="5372"/>
                      <a:pt x="9263" y="5656"/>
                      <a:pt x="8791" y="5813"/>
                    </a:cubicBezTo>
                    <a:cubicBezTo>
                      <a:pt x="8413" y="4900"/>
                      <a:pt x="8602" y="3325"/>
                      <a:pt x="9200" y="2757"/>
                    </a:cubicBezTo>
                    <a:cubicBezTo>
                      <a:pt x="9421" y="2537"/>
                      <a:pt x="9263" y="2159"/>
                      <a:pt x="8948" y="2159"/>
                    </a:cubicBezTo>
                    <a:cubicBezTo>
                      <a:pt x="8161" y="2159"/>
                      <a:pt x="7468" y="1749"/>
                      <a:pt x="7027" y="1119"/>
                    </a:cubicBezTo>
                    <a:lnTo>
                      <a:pt x="6396" y="143"/>
                    </a:lnTo>
                    <a:cubicBezTo>
                      <a:pt x="6333" y="48"/>
                      <a:pt x="6215" y="1"/>
                      <a:pt x="6097" y="1"/>
                    </a:cubicBezTo>
                    <a:close/>
                  </a:path>
                </a:pathLst>
              </a:custGeom>
              <a:solidFill>
                <a:srgbClr val="FFFFFF"/>
              </a:solidFill>
              <a:ln>
                <a:noFill/>
              </a:ln>
            </p:spPr>
            <p:txBody>
              <a:bodyPr spcFirstLastPara="1" wrap="square" lIns="121900" tIns="121900" rIns="121900" bIns="1219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489" b="0" i="0" u="none" strike="noStrike" kern="1200" cap="none" spc="0" normalizeH="0" baseline="0" noProof="0">
                  <a:ln>
                    <a:noFill/>
                  </a:ln>
                  <a:solidFill>
                    <a:srgbClr val="000000"/>
                  </a:solidFill>
                  <a:effectLst/>
                  <a:uLnTx/>
                  <a:uFillTx/>
                  <a:latin typeface="Arial"/>
                  <a:ea typeface="+mn-ea"/>
                  <a:cs typeface="+mn-ea"/>
                  <a:sym typeface="+mn-lt"/>
                </a:endParaRPr>
              </a:p>
            </p:txBody>
          </p:sp>
        </p:grpSp>
      </p:grpSp>
    </p:spTree>
    <p:extLst>
      <p:ext uri="{BB962C8B-B14F-4D97-AF65-F5344CB8AC3E}">
        <p14:creationId xmlns:p14="http://schemas.microsoft.com/office/powerpoint/2010/main" val="2547231916"/>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7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Straight Connector 28">
            <a:extLst>
              <a:ext uri="{FF2B5EF4-FFF2-40B4-BE49-F238E27FC236}">
                <a16:creationId xmlns:a16="http://schemas.microsoft.com/office/drawing/2014/main" id="{9C1988A1-8A1D-4B07-8B4D-C8556E2BC5DC}"/>
              </a:ext>
            </a:extLst>
          </p:cNvPr>
          <p:cNvCxnSpPr>
            <a:cxnSpLocks/>
          </p:cNvCxnSpPr>
          <p:nvPr/>
        </p:nvCxnSpPr>
        <p:spPr>
          <a:xfrm>
            <a:off x="5756972" y="1361059"/>
            <a:ext cx="0" cy="4509531"/>
          </a:xfrm>
          <a:prstGeom prst="line">
            <a:avLst/>
          </a:prstGeom>
          <a:ln w="12700" cap="rnd">
            <a:solidFill>
              <a:schemeClr val="accent1">
                <a:lumMod val="100000"/>
              </a:schemeClr>
            </a:solidFill>
            <a:prstDash val="sysDot"/>
            <a:round/>
            <a:headEnd type="oval"/>
            <a:tailEnd type="oval"/>
          </a:ln>
        </p:spPr>
        <p:style>
          <a:lnRef idx="1">
            <a:schemeClr val="accent1"/>
          </a:lnRef>
          <a:fillRef idx="0">
            <a:schemeClr val="accent1"/>
          </a:fillRef>
          <a:effectRef idx="0">
            <a:schemeClr val="accent1"/>
          </a:effectRef>
          <a:fontRef idx="minor">
            <a:schemeClr val="tx1"/>
          </a:fontRef>
        </p:style>
      </p:cxnSp>
      <p:cxnSp>
        <p:nvCxnSpPr>
          <p:cNvPr id="3" name="Straight Connector 29">
            <a:extLst>
              <a:ext uri="{FF2B5EF4-FFF2-40B4-BE49-F238E27FC236}">
                <a16:creationId xmlns:a16="http://schemas.microsoft.com/office/drawing/2014/main" id="{1F4BC0A7-C108-4D8F-B681-F98340AF1935}"/>
              </a:ext>
            </a:extLst>
          </p:cNvPr>
          <p:cNvCxnSpPr>
            <a:cxnSpLocks/>
          </p:cNvCxnSpPr>
          <p:nvPr/>
        </p:nvCxnSpPr>
        <p:spPr>
          <a:xfrm>
            <a:off x="6635259" y="1135582"/>
            <a:ext cx="0" cy="4960484"/>
          </a:xfrm>
          <a:prstGeom prst="line">
            <a:avLst/>
          </a:prstGeom>
          <a:ln w="12700" cap="rnd">
            <a:solidFill>
              <a:schemeClr val="accent1">
                <a:lumMod val="100000"/>
              </a:schemeClr>
            </a:solidFill>
            <a:prstDash val="sysDot"/>
            <a:round/>
            <a:headEnd type="oval"/>
            <a:tailEnd type="oval"/>
          </a:ln>
        </p:spPr>
        <p:style>
          <a:lnRef idx="1">
            <a:schemeClr val="accent1"/>
          </a:lnRef>
          <a:fillRef idx="0">
            <a:schemeClr val="accent1"/>
          </a:fillRef>
          <a:effectRef idx="0">
            <a:schemeClr val="accent1"/>
          </a:effectRef>
          <a:fontRef idx="minor">
            <a:schemeClr val="tx1"/>
          </a:fontRef>
        </p:style>
      </p:cxnSp>
      <p:cxnSp>
        <p:nvCxnSpPr>
          <p:cNvPr id="4" name="Straight Connector 32">
            <a:extLst>
              <a:ext uri="{FF2B5EF4-FFF2-40B4-BE49-F238E27FC236}">
                <a16:creationId xmlns:a16="http://schemas.microsoft.com/office/drawing/2014/main" id="{67EF16DA-D0F0-40CE-9CDD-6AFC9EADF0F5}"/>
              </a:ext>
            </a:extLst>
          </p:cNvPr>
          <p:cNvCxnSpPr>
            <a:cxnSpLocks/>
          </p:cNvCxnSpPr>
          <p:nvPr/>
        </p:nvCxnSpPr>
        <p:spPr>
          <a:xfrm>
            <a:off x="7530754" y="1921786"/>
            <a:ext cx="0" cy="3388077"/>
          </a:xfrm>
          <a:prstGeom prst="line">
            <a:avLst/>
          </a:prstGeom>
          <a:ln w="12700" cap="rnd">
            <a:solidFill>
              <a:schemeClr val="accent1">
                <a:lumMod val="100000"/>
              </a:schemeClr>
            </a:solidFill>
            <a:prstDash val="sysDot"/>
            <a:round/>
            <a:headEnd type="oval"/>
            <a:tailEnd type="oval"/>
          </a:ln>
        </p:spPr>
        <p:style>
          <a:lnRef idx="1">
            <a:schemeClr val="accent1"/>
          </a:lnRef>
          <a:fillRef idx="0">
            <a:schemeClr val="accent1"/>
          </a:fillRef>
          <a:effectRef idx="0">
            <a:schemeClr val="accent1"/>
          </a:effectRef>
          <a:fontRef idx="minor">
            <a:schemeClr val="tx1"/>
          </a:fontRef>
        </p:style>
      </p:cxnSp>
      <p:cxnSp>
        <p:nvCxnSpPr>
          <p:cNvPr id="5" name="Straight Connector 23">
            <a:extLst>
              <a:ext uri="{FF2B5EF4-FFF2-40B4-BE49-F238E27FC236}">
                <a16:creationId xmlns:a16="http://schemas.microsoft.com/office/drawing/2014/main" id="{5CF428A8-747D-46C9-9E74-AA6E3EED6956}"/>
              </a:ext>
            </a:extLst>
          </p:cNvPr>
          <p:cNvCxnSpPr>
            <a:cxnSpLocks/>
          </p:cNvCxnSpPr>
          <p:nvPr/>
        </p:nvCxnSpPr>
        <p:spPr>
          <a:xfrm>
            <a:off x="4899442" y="2075789"/>
            <a:ext cx="0" cy="3080070"/>
          </a:xfrm>
          <a:prstGeom prst="line">
            <a:avLst/>
          </a:prstGeom>
          <a:ln w="12700" cap="rnd">
            <a:solidFill>
              <a:schemeClr val="accent1">
                <a:lumMod val="100000"/>
              </a:schemeClr>
            </a:solidFill>
            <a:prstDash val="sysDot"/>
            <a:round/>
            <a:headEnd type="oval"/>
            <a:tailEnd type="oval"/>
          </a:ln>
        </p:spPr>
        <p:style>
          <a:lnRef idx="1">
            <a:schemeClr val="accent1"/>
          </a:lnRef>
          <a:fillRef idx="0">
            <a:schemeClr val="accent1"/>
          </a:fillRef>
          <a:effectRef idx="0">
            <a:schemeClr val="accent1"/>
          </a:effectRef>
          <a:fontRef idx="minor">
            <a:schemeClr val="tx1"/>
          </a:fontRef>
        </p:style>
      </p:cxnSp>
      <p:sp>
        <p:nvSpPr>
          <p:cNvPr id="6" name="Graphic 7">
            <a:extLst>
              <a:ext uri="{FF2B5EF4-FFF2-40B4-BE49-F238E27FC236}">
                <a16:creationId xmlns:a16="http://schemas.microsoft.com/office/drawing/2014/main" id="{249944CA-267A-4A68-B45D-A4366FF784EB}"/>
              </a:ext>
            </a:extLst>
          </p:cNvPr>
          <p:cNvSpPr/>
          <p:nvPr/>
        </p:nvSpPr>
        <p:spPr>
          <a:xfrm>
            <a:off x="2123552" y="2259718"/>
            <a:ext cx="9023414" cy="2712213"/>
          </a:xfrm>
          <a:custGeom>
            <a:avLst/>
            <a:gdLst>
              <a:gd name="connsiteX0" fmla="*/ 6145081 w 6560989"/>
              <a:gd name="connsiteY0" fmla="*/ 1644185 h 3060886"/>
              <a:gd name="connsiteX1" fmla="*/ 4508497 w 6560989"/>
              <a:gd name="connsiteY1" fmla="*/ 2590154 h 3060886"/>
              <a:gd name="connsiteX2" fmla="*/ 4508497 w 6560989"/>
              <a:gd name="connsiteY2" fmla="*/ 225231 h 3060886"/>
              <a:gd name="connsiteX3" fmla="*/ 6086471 w 6560989"/>
              <a:gd name="connsiteY3" fmla="*/ 866013 h 3060886"/>
              <a:gd name="connsiteX4" fmla="*/ 6560990 w 6560989"/>
              <a:gd name="connsiteY4" fmla="*/ 1406566 h 3060886"/>
              <a:gd name="connsiteX5" fmla="*/ 5635621 w 6560989"/>
              <a:gd name="connsiteY5" fmla="*/ 1406566 h 3060886"/>
              <a:gd name="connsiteX6" fmla="*/ 6143954 w 6560989"/>
              <a:gd name="connsiteY6" fmla="*/ 1644185 h 3060886"/>
              <a:gd name="connsiteX7" fmla="*/ 0 w 6560989"/>
              <a:gd name="connsiteY7" fmla="*/ 324332 h 3060886"/>
              <a:gd name="connsiteX8" fmla="*/ 1127124 w 6560989"/>
              <a:gd name="connsiteY8" fmla="*/ 1259040 h 3060886"/>
              <a:gd name="connsiteX9" fmla="*/ 1653491 w 6560989"/>
              <a:gd name="connsiteY9" fmla="*/ 1259040 h 3060886"/>
              <a:gd name="connsiteX10" fmla="*/ 1653491 w 6560989"/>
              <a:gd name="connsiteY10" fmla="*/ 1072099 h 3060886"/>
              <a:gd name="connsiteX11" fmla="*/ 1942035 w 6560989"/>
              <a:gd name="connsiteY11" fmla="*/ 653169 h 3060886"/>
              <a:gd name="connsiteX12" fmla="*/ 1942035 w 6560989"/>
              <a:gd name="connsiteY12" fmla="*/ 1259040 h 3060886"/>
              <a:gd name="connsiteX13" fmla="*/ 2291443 w 6560989"/>
              <a:gd name="connsiteY13" fmla="*/ 1259040 h 3060886"/>
              <a:gd name="connsiteX14" fmla="*/ 2291443 w 6560989"/>
              <a:gd name="connsiteY14" fmla="*/ 675692 h 3060886"/>
              <a:gd name="connsiteX15" fmla="*/ 2585623 w 6560989"/>
              <a:gd name="connsiteY15" fmla="*/ 256763 h 3060886"/>
              <a:gd name="connsiteX16" fmla="*/ 2585623 w 6560989"/>
              <a:gd name="connsiteY16" fmla="*/ 1254536 h 3060886"/>
              <a:gd name="connsiteX17" fmla="*/ 2936158 w 6560989"/>
              <a:gd name="connsiteY17" fmla="*/ 1254536 h 3060886"/>
              <a:gd name="connsiteX18" fmla="*/ 2936158 w 6560989"/>
              <a:gd name="connsiteY18" fmla="*/ 418929 h 3060886"/>
              <a:gd name="connsiteX19" fmla="*/ 3229211 w 6560989"/>
              <a:gd name="connsiteY19" fmla="*/ 0 h 3060886"/>
              <a:gd name="connsiteX20" fmla="*/ 3229211 w 6560989"/>
              <a:gd name="connsiteY20" fmla="*/ 1259040 h 3060886"/>
              <a:gd name="connsiteX21" fmla="*/ 3579746 w 6560989"/>
              <a:gd name="connsiteY21" fmla="*/ 1259040 h 3060886"/>
              <a:gd name="connsiteX22" fmla="*/ 3579746 w 6560989"/>
              <a:gd name="connsiteY22" fmla="*/ 808579 h 3060886"/>
              <a:gd name="connsiteX23" fmla="*/ 3873926 w 6560989"/>
              <a:gd name="connsiteY23" fmla="*/ 389649 h 3060886"/>
              <a:gd name="connsiteX24" fmla="*/ 3873926 w 6560989"/>
              <a:gd name="connsiteY24" fmla="*/ 1256788 h 3060886"/>
              <a:gd name="connsiteX25" fmla="*/ 4500607 w 6560989"/>
              <a:gd name="connsiteY25" fmla="*/ 1256788 h 3060886"/>
              <a:gd name="connsiteX26" fmla="*/ 4500607 w 6560989"/>
              <a:gd name="connsiteY26" fmla="*/ 1550714 h 3060886"/>
              <a:gd name="connsiteX27" fmla="*/ 715724 w 6560989"/>
              <a:gd name="connsiteY27" fmla="*/ 1550714 h 3060886"/>
              <a:gd name="connsiteX28" fmla="*/ 1014412 w 6560989"/>
              <a:gd name="connsiteY28" fmla="*/ 1639680 h 3060886"/>
              <a:gd name="connsiteX29" fmla="*/ 0 w 6560989"/>
              <a:gd name="connsiteY29" fmla="*/ 2487674 h 3060886"/>
              <a:gd name="connsiteX30" fmla="*/ 144272 w 6560989"/>
              <a:gd name="connsiteY30" fmla="*/ 1670087 h 3060886"/>
              <a:gd name="connsiteX31" fmla="*/ 518477 w 6560989"/>
              <a:gd name="connsiteY31" fmla="*/ 1406566 h 3060886"/>
              <a:gd name="connsiteX32" fmla="*/ 308832 w 6560989"/>
              <a:gd name="connsiteY32" fmla="*/ 1259040 h 3060886"/>
              <a:gd name="connsiteX33" fmla="*/ 308832 w 6560989"/>
              <a:gd name="connsiteY33" fmla="*/ 1259040 h 3060886"/>
              <a:gd name="connsiteX34" fmla="*/ 143145 w 6560989"/>
              <a:gd name="connsiteY34" fmla="*/ 1146425 h 3060886"/>
              <a:gd name="connsiteX35" fmla="*/ 0 w 6560989"/>
              <a:gd name="connsiteY35" fmla="*/ 324332 h 3060886"/>
              <a:gd name="connsiteX36" fmla="*/ 1942035 w 6560989"/>
              <a:gd name="connsiteY36" fmla="*/ 2405465 h 3060886"/>
              <a:gd name="connsiteX37" fmla="*/ 1942035 w 6560989"/>
              <a:gd name="connsiteY37" fmla="*/ 1801847 h 3060886"/>
              <a:gd name="connsiteX38" fmla="*/ 1647856 w 6560989"/>
              <a:gd name="connsiteY38" fmla="*/ 1801847 h 3060886"/>
              <a:gd name="connsiteX39" fmla="*/ 1647856 w 6560989"/>
              <a:gd name="connsiteY39" fmla="*/ 1989914 h 3060886"/>
              <a:gd name="connsiteX40" fmla="*/ 1942035 w 6560989"/>
              <a:gd name="connsiteY40" fmla="*/ 2408844 h 3060886"/>
              <a:gd name="connsiteX41" fmla="*/ 3873926 w 6560989"/>
              <a:gd name="connsiteY41" fmla="*/ 2665607 h 3060886"/>
              <a:gd name="connsiteX42" fmla="*/ 3873926 w 6560989"/>
              <a:gd name="connsiteY42" fmla="*/ 1801847 h 3060886"/>
              <a:gd name="connsiteX43" fmla="*/ 3579746 w 6560989"/>
              <a:gd name="connsiteY43" fmla="*/ 1801847 h 3060886"/>
              <a:gd name="connsiteX44" fmla="*/ 3579746 w 6560989"/>
              <a:gd name="connsiteY44" fmla="*/ 2252308 h 3060886"/>
              <a:gd name="connsiteX45" fmla="*/ 3873926 w 6560989"/>
              <a:gd name="connsiteY45" fmla="*/ 2670111 h 3060886"/>
              <a:gd name="connsiteX46" fmla="*/ 3229211 w 6560989"/>
              <a:gd name="connsiteY46" fmla="*/ 3057508 h 3060886"/>
              <a:gd name="connsiteX47" fmla="*/ 3229211 w 6560989"/>
              <a:gd name="connsiteY47" fmla="*/ 1801847 h 3060886"/>
              <a:gd name="connsiteX48" fmla="*/ 2936158 w 6560989"/>
              <a:gd name="connsiteY48" fmla="*/ 1801847 h 3060886"/>
              <a:gd name="connsiteX49" fmla="*/ 2936158 w 6560989"/>
              <a:gd name="connsiteY49" fmla="*/ 2641957 h 3060886"/>
              <a:gd name="connsiteX50" fmla="*/ 3229211 w 6560989"/>
              <a:gd name="connsiteY50" fmla="*/ 3060887 h 3060886"/>
              <a:gd name="connsiteX51" fmla="*/ 2585623 w 6560989"/>
              <a:gd name="connsiteY51" fmla="*/ 2796241 h 3060886"/>
              <a:gd name="connsiteX52" fmla="*/ 2585623 w 6560989"/>
              <a:gd name="connsiteY52" fmla="*/ 1801847 h 3060886"/>
              <a:gd name="connsiteX53" fmla="*/ 2291443 w 6560989"/>
              <a:gd name="connsiteY53" fmla="*/ 1801847 h 3060886"/>
              <a:gd name="connsiteX54" fmla="*/ 2291443 w 6560989"/>
              <a:gd name="connsiteY54" fmla="*/ 2380690 h 3060886"/>
              <a:gd name="connsiteX55" fmla="*/ 2585623 w 6560989"/>
              <a:gd name="connsiteY55" fmla="*/ 2799619 h 3060886"/>
              <a:gd name="connsiteX56" fmla="*/ 5478951 w 6560989"/>
              <a:gd name="connsiteY56" fmla="*/ 855877 h 3060886"/>
              <a:gd name="connsiteX57" fmla="*/ 5591663 w 6560989"/>
              <a:gd name="connsiteY57" fmla="*/ 968493 h 3060886"/>
              <a:gd name="connsiteX58" fmla="*/ 5478951 w 6560989"/>
              <a:gd name="connsiteY58" fmla="*/ 1081108 h 3060886"/>
              <a:gd name="connsiteX59" fmla="*/ 5366238 w 6560989"/>
              <a:gd name="connsiteY59" fmla="*/ 968493 h 3060886"/>
              <a:gd name="connsiteX60" fmla="*/ 5478951 w 6560989"/>
              <a:gd name="connsiteY60" fmla="*/ 855877 h 30608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6560989" h="3060886">
                <a:moveTo>
                  <a:pt x="6145081" y="1644185"/>
                </a:moveTo>
                <a:lnTo>
                  <a:pt x="4508497" y="2590154"/>
                </a:lnTo>
                <a:lnTo>
                  <a:pt x="4508497" y="225231"/>
                </a:lnTo>
                <a:lnTo>
                  <a:pt x="6086471" y="866013"/>
                </a:lnTo>
                <a:lnTo>
                  <a:pt x="6560990" y="1406566"/>
                </a:lnTo>
                <a:lnTo>
                  <a:pt x="5635621" y="1406566"/>
                </a:lnTo>
                <a:lnTo>
                  <a:pt x="6143954" y="1644185"/>
                </a:lnTo>
                <a:close/>
                <a:moveTo>
                  <a:pt x="0" y="324332"/>
                </a:moveTo>
                <a:lnTo>
                  <a:pt x="1127124" y="1259040"/>
                </a:lnTo>
                <a:lnTo>
                  <a:pt x="1653491" y="1259040"/>
                </a:lnTo>
                <a:lnTo>
                  <a:pt x="1653491" y="1072099"/>
                </a:lnTo>
                <a:lnTo>
                  <a:pt x="1942035" y="653169"/>
                </a:lnTo>
                <a:lnTo>
                  <a:pt x="1942035" y="1259040"/>
                </a:lnTo>
                <a:lnTo>
                  <a:pt x="2291443" y="1259040"/>
                </a:lnTo>
                <a:lnTo>
                  <a:pt x="2291443" y="675692"/>
                </a:lnTo>
                <a:lnTo>
                  <a:pt x="2585623" y="256763"/>
                </a:lnTo>
                <a:lnTo>
                  <a:pt x="2585623" y="1254536"/>
                </a:lnTo>
                <a:lnTo>
                  <a:pt x="2936158" y="1254536"/>
                </a:lnTo>
                <a:lnTo>
                  <a:pt x="2936158" y="418929"/>
                </a:lnTo>
                <a:lnTo>
                  <a:pt x="3229211" y="0"/>
                </a:lnTo>
                <a:lnTo>
                  <a:pt x="3229211" y="1259040"/>
                </a:lnTo>
                <a:lnTo>
                  <a:pt x="3579746" y="1259040"/>
                </a:lnTo>
                <a:lnTo>
                  <a:pt x="3579746" y="808579"/>
                </a:lnTo>
                <a:lnTo>
                  <a:pt x="3873926" y="389649"/>
                </a:lnTo>
                <a:lnTo>
                  <a:pt x="3873926" y="1256788"/>
                </a:lnTo>
                <a:lnTo>
                  <a:pt x="4500607" y="1256788"/>
                </a:lnTo>
                <a:lnTo>
                  <a:pt x="4500607" y="1550714"/>
                </a:lnTo>
                <a:lnTo>
                  <a:pt x="715724" y="1550714"/>
                </a:lnTo>
                <a:lnTo>
                  <a:pt x="1014412" y="1639680"/>
                </a:lnTo>
                <a:lnTo>
                  <a:pt x="0" y="2487674"/>
                </a:lnTo>
                <a:lnTo>
                  <a:pt x="144272" y="1670087"/>
                </a:lnTo>
                <a:lnTo>
                  <a:pt x="518477" y="1406566"/>
                </a:lnTo>
                <a:lnTo>
                  <a:pt x="308832" y="1259040"/>
                </a:lnTo>
                <a:lnTo>
                  <a:pt x="308832" y="1259040"/>
                </a:lnTo>
                <a:lnTo>
                  <a:pt x="143145" y="1146425"/>
                </a:lnTo>
                <a:lnTo>
                  <a:pt x="0" y="324332"/>
                </a:lnTo>
                <a:close/>
                <a:moveTo>
                  <a:pt x="1942035" y="2405465"/>
                </a:moveTo>
                <a:lnTo>
                  <a:pt x="1942035" y="1801847"/>
                </a:lnTo>
                <a:lnTo>
                  <a:pt x="1647856" y="1801847"/>
                </a:lnTo>
                <a:lnTo>
                  <a:pt x="1647856" y="1989914"/>
                </a:lnTo>
                <a:lnTo>
                  <a:pt x="1942035" y="2408844"/>
                </a:lnTo>
                <a:close/>
                <a:moveTo>
                  <a:pt x="3873926" y="2665607"/>
                </a:moveTo>
                <a:lnTo>
                  <a:pt x="3873926" y="1801847"/>
                </a:lnTo>
                <a:lnTo>
                  <a:pt x="3579746" y="1801847"/>
                </a:lnTo>
                <a:lnTo>
                  <a:pt x="3579746" y="2252308"/>
                </a:lnTo>
                <a:lnTo>
                  <a:pt x="3873926" y="2670111"/>
                </a:lnTo>
                <a:close/>
                <a:moveTo>
                  <a:pt x="3229211" y="3057508"/>
                </a:moveTo>
                <a:lnTo>
                  <a:pt x="3229211" y="1801847"/>
                </a:lnTo>
                <a:lnTo>
                  <a:pt x="2936158" y="1801847"/>
                </a:lnTo>
                <a:lnTo>
                  <a:pt x="2936158" y="2641957"/>
                </a:lnTo>
                <a:lnTo>
                  <a:pt x="3229211" y="3060887"/>
                </a:lnTo>
                <a:close/>
                <a:moveTo>
                  <a:pt x="2585623" y="2796241"/>
                </a:moveTo>
                <a:lnTo>
                  <a:pt x="2585623" y="1801847"/>
                </a:lnTo>
                <a:lnTo>
                  <a:pt x="2291443" y="1801847"/>
                </a:lnTo>
                <a:lnTo>
                  <a:pt x="2291443" y="2380690"/>
                </a:lnTo>
                <a:lnTo>
                  <a:pt x="2585623" y="2799619"/>
                </a:lnTo>
                <a:close/>
                <a:moveTo>
                  <a:pt x="5478951" y="855877"/>
                </a:moveTo>
                <a:cubicBezTo>
                  <a:pt x="5541200" y="855877"/>
                  <a:pt x="5591663" y="906297"/>
                  <a:pt x="5591663" y="968493"/>
                </a:cubicBezTo>
                <a:cubicBezTo>
                  <a:pt x="5591663" y="1030688"/>
                  <a:pt x="5541200" y="1081108"/>
                  <a:pt x="5478951" y="1081108"/>
                </a:cubicBezTo>
                <a:cubicBezTo>
                  <a:pt x="5416701" y="1081108"/>
                  <a:pt x="5366238" y="1030688"/>
                  <a:pt x="5366238" y="968493"/>
                </a:cubicBezTo>
                <a:cubicBezTo>
                  <a:pt x="5366238" y="906297"/>
                  <a:pt x="5416701" y="855877"/>
                  <a:pt x="5478951" y="855877"/>
                </a:cubicBezTo>
                <a:close/>
              </a:path>
            </a:pathLst>
          </a:custGeom>
          <a:gradFill flip="none" rotWithShape="1">
            <a:gsLst>
              <a:gs pos="1000">
                <a:schemeClr val="accent1">
                  <a:lumMod val="100000"/>
                </a:schemeClr>
              </a:gs>
              <a:gs pos="75000">
                <a:schemeClr val="accent1">
                  <a:lumMod val="100000"/>
                </a:schemeClr>
              </a:gs>
              <a:gs pos="100000">
                <a:schemeClr val="accent1">
                  <a:lumMod val="100000"/>
                </a:schemeClr>
              </a:gs>
              <a:gs pos="50000">
                <a:schemeClr val="accent1">
                  <a:lumMod val="100000"/>
                </a:schemeClr>
              </a:gs>
              <a:gs pos="25000">
                <a:schemeClr val="accent1">
                  <a:lumMod val="100000"/>
                </a:schemeClr>
              </a:gs>
            </a:gsLst>
            <a:lin ang="0" scaled="0"/>
            <a:tileRect/>
          </a:gradFill>
          <a:ln w="1126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EG" sz="1800" b="0" i="0" u="none" strike="noStrike" kern="1200" cap="none" spc="0" normalizeH="0" baseline="0" noProof="0" dirty="0">
              <a:ln>
                <a:noFill/>
              </a:ln>
              <a:solidFill>
                <a:srgbClr val="000000"/>
              </a:solidFill>
              <a:effectLst/>
              <a:uLnTx/>
              <a:uFillTx/>
              <a:latin typeface="Arial"/>
              <a:cs typeface="+mn-cs"/>
            </a:endParaRPr>
          </a:p>
        </p:txBody>
      </p:sp>
      <p:sp>
        <p:nvSpPr>
          <p:cNvPr id="7" name="Rectangle 9">
            <a:extLst>
              <a:ext uri="{FF2B5EF4-FFF2-40B4-BE49-F238E27FC236}">
                <a16:creationId xmlns:a16="http://schemas.microsoft.com/office/drawing/2014/main" id="{DE09B02C-73A7-4E24-BB25-FC8EB78EF419}"/>
              </a:ext>
            </a:extLst>
          </p:cNvPr>
          <p:cNvSpPr/>
          <p:nvPr/>
        </p:nvSpPr>
        <p:spPr>
          <a:xfrm flipH="1">
            <a:off x="1030996" y="1214996"/>
            <a:ext cx="1952363" cy="507831"/>
          </a:xfrm>
          <a:prstGeom prst="rect">
            <a:avLst/>
          </a:prstGeom>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rPr>
              <a:t>Insert </a:t>
            </a:r>
            <a:r>
              <a:rPr kumimoji="0" lang="en-US" sz="1200" b="1" i="0" u="none" strike="noStrike" kern="1200" cap="none" spc="0" normalizeH="0" baseline="0" noProof="0" dirty="0">
                <a:ln>
                  <a:noFill/>
                </a:ln>
                <a:solidFill>
                  <a:schemeClr val="accent1"/>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rPr>
              <a:t>Title</a:t>
            </a:r>
            <a:r>
              <a:rPr kumimoji="0" lang="en-US" sz="1200" b="1" i="0" u="none" strike="noStrike" kern="1200" cap="none" spc="0" normalizeH="0" baseline="0" noProof="0" dirty="0">
                <a:ln>
                  <a:noFill/>
                </a:ln>
                <a:solidFill>
                  <a:srgbClr val="000000"/>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rPr>
              <a:t> Her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Lorem ipsum dolor sit amet, </a:t>
            </a:r>
            <a:r>
              <a:rPr kumimoji="0" lang="en-US" sz="105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consectetuer</a:t>
            </a:r>
            <a:r>
              <a:rPr kumimoji="0" lang="en-US" sz="105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US" sz="105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adipiscing</a:t>
            </a:r>
            <a:r>
              <a:rPr kumimoji="0" lang="en-US" sz="105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US" sz="105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elit</a:t>
            </a:r>
            <a:r>
              <a:rPr kumimoji="0" lang="en-US" sz="105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a:t>
            </a:r>
            <a:endParaRPr kumimoji="0" lang="en-US" sz="1050" b="1" i="0" u="none" strike="noStrike" kern="1200" cap="none" spc="0" normalizeH="0" baseline="0" noProof="0" dirty="0">
              <a:ln>
                <a:noFill/>
              </a:ln>
              <a:solidFill>
                <a:srgbClr val="000000"/>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endParaRPr>
          </a:p>
        </p:txBody>
      </p:sp>
      <p:sp>
        <p:nvSpPr>
          <p:cNvPr id="8" name="Rectangle 10">
            <a:extLst>
              <a:ext uri="{FF2B5EF4-FFF2-40B4-BE49-F238E27FC236}">
                <a16:creationId xmlns:a16="http://schemas.microsoft.com/office/drawing/2014/main" id="{BE61DC25-F176-43AC-AB2B-A4BF4D36CAAE}"/>
              </a:ext>
            </a:extLst>
          </p:cNvPr>
          <p:cNvSpPr/>
          <p:nvPr/>
        </p:nvSpPr>
        <p:spPr>
          <a:xfrm flipH="1">
            <a:off x="8353097" y="3167609"/>
            <a:ext cx="1356448" cy="64633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rPr>
              <a:t>Insert Title Here</a:t>
            </a:r>
          </a:p>
        </p:txBody>
      </p:sp>
      <p:sp>
        <p:nvSpPr>
          <p:cNvPr id="9" name="Rectangle 11">
            <a:extLst>
              <a:ext uri="{FF2B5EF4-FFF2-40B4-BE49-F238E27FC236}">
                <a16:creationId xmlns:a16="http://schemas.microsoft.com/office/drawing/2014/main" id="{D1949DF6-E411-44ED-92C1-4BA80224DC57}"/>
              </a:ext>
            </a:extLst>
          </p:cNvPr>
          <p:cNvSpPr/>
          <p:nvPr/>
        </p:nvSpPr>
        <p:spPr>
          <a:xfrm flipH="1">
            <a:off x="1030996" y="5477901"/>
            <a:ext cx="1952363" cy="507831"/>
          </a:xfrm>
          <a:prstGeom prst="rect">
            <a:avLst/>
          </a:prstGeom>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rPr>
              <a:t>Insert </a:t>
            </a:r>
            <a:r>
              <a:rPr kumimoji="0" lang="en-US" sz="1200" b="1" i="0" u="none" strike="noStrike" kern="1200" cap="none" spc="0" normalizeH="0" baseline="0" noProof="0" dirty="0">
                <a:ln>
                  <a:noFill/>
                </a:ln>
                <a:solidFill>
                  <a:schemeClr val="accent1"/>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rPr>
              <a:t>Title</a:t>
            </a:r>
            <a:r>
              <a:rPr kumimoji="0" lang="en-US" sz="1200" b="1" i="0" u="none" strike="noStrike" kern="1200" cap="none" spc="0" normalizeH="0" baseline="0" noProof="0" dirty="0">
                <a:ln>
                  <a:noFill/>
                </a:ln>
                <a:solidFill>
                  <a:srgbClr val="000000"/>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rPr>
              <a:t> Her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Lorem ipsum dolor sit amet, </a:t>
            </a:r>
            <a:r>
              <a:rPr kumimoji="0" lang="en-US" sz="105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consectetuer</a:t>
            </a:r>
            <a:r>
              <a:rPr kumimoji="0" lang="en-US" sz="105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US" sz="105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adipiscing</a:t>
            </a:r>
            <a:r>
              <a:rPr kumimoji="0" lang="en-US" sz="105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US" sz="105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elit</a:t>
            </a:r>
            <a:r>
              <a:rPr kumimoji="0" lang="en-US" sz="105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a:t>
            </a:r>
            <a:endParaRPr kumimoji="0" lang="en-US" sz="1050" b="1" i="0" u="none" strike="noStrike" kern="1200" cap="none" spc="0" normalizeH="0" baseline="0" noProof="0" dirty="0">
              <a:ln>
                <a:noFill/>
              </a:ln>
              <a:solidFill>
                <a:srgbClr val="000000"/>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endParaRPr>
          </a:p>
        </p:txBody>
      </p:sp>
      <p:sp>
        <p:nvSpPr>
          <p:cNvPr id="10" name="Rectangle 12">
            <a:extLst>
              <a:ext uri="{FF2B5EF4-FFF2-40B4-BE49-F238E27FC236}">
                <a16:creationId xmlns:a16="http://schemas.microsoft.com/office/drawing/2014/main" id="{7700B824-CF44-49B8-BB58-8CD8714836B0}"/>
              </a:ext>
            </a:extLst>
          </p:cNvPr>
          <p:cNvSpPr/>
          <p:nvPr/>
        </p:nvSpPr>
        <p:spPr>
          <a:xfrm flipH="1">
            <a:off x="2828427" y="4498816"/>
            <a:ext cx="1952363" cy="507831"/>
          </a:xfrm>
          <a:prstGeom prst="rect">
            <a:avLst/>
          </a:prstGeom>
        </p:spPr>
        <p:txBody>
          <a:bodyPr wrap="square" lIns="0" tIns="0" rIns="0" bIns="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rPr>
              <a:t>Insert </a:t>
            </a:r>
            <a:r>
              <a:rPr kumimoji="0" lang="en-US" sz="1200" b="1" i="0" u="none" strike="noStrike" kern="1200" cap="none" spc="0" normalizeH="0" baseline="0" noProof="0" dirty="0">
                <a:ln>
                  <a:noFill/>
                </a:ln>
                <a:solidFill>
                  <a:schemeClr val="accent1"/>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rPr>
              <a:t>Title</a:t>
            </a:r>
            <a:r>
              <a:rPr kumimoji="0" lang="en-US" sz="1200" b="1" i="0" u="none" strike="noStrike" kern="1200" cap="none" spc="0" normalizeH="0" baseline="0" noProof="0" dirty="0">
                <a:ln>
                  <a:noFill/>
                </a:ln>
                <a:solidFill>
                  <a:srgbClr val="000000"/>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rPr>
              <a:t> Here</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Lorem ipsum dolor sit amet, </a:t>
            </a:r>
            <a:r>
              <a:rPr kumimoji="0" lang="en-US" sz="105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consectetuer</a:t>
            </a:r>
            <a:r>
              <a:rPr kumimoji="0" lang="en-US" sz="105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US" sz="105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adipiscing</a:t>
            </a:r>
            <a:r>
              <a:rPr kumimoji="0" lang="en-US" sz="105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US" sz="105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elit</a:t>
            </a:r>
            <a:r>
              <a:rPr kumimoji="0" lang="en-US" sz="105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a:t>
            </a:r>
            <a:endParaRPr kumimoji="0" lang="en-US" sz="1050" b="1" i="0" u="none" strike="noStrike" kern="1200" cap="none" spc="0" normalizeH="0" baseline="0" noProof="0" dirty="0">
              <a:ln>
                <a:noFill/>
              </a:ln>
              <a:solidFill>
                <a:srgbClr val="000000"/>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endParaRPr>
          </a:p>
        </p:txBody>
      </p:sp>
      <p:sp>
        <p:nvSpPr>
          <p:cNvPr id="11" name="Rectangle 13">
            <a:extLst>
              <a:ext uri="{FF2B5EF4-FFF2-40B4-BE49-F238E27FC236}">
                <a16:creationId xmlns:a16="http://schemas.microsoft.com/office/drawing/2014/main" id="{B7D45984-20EB-4326-ADEF-3F3ACFBDB4BE}"/>
              </a:ext>
            </a:extLst>
          </p:cNvPr>
          <p:cNvSpPr/>
          <p:nvPr/>
        </p:nvSpPr>
        <p:spPr>
          <a:xfrm flipH="1">
            <a:off x="2828427" y="2099319"/>
            <a:ext cx="1952363" cy="507831"/>
          </a:xfrm>
          <a:prstGeom prst="rect">
            <a:avLst/>
          </a:prstGeom>
        </p:spPr>
        <p:txBody>
          <a:bodyPr wrap="square" lIns="0" tIns="0" rIns="0" bIns="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rPr>
              <a:t>Insert </a:t>
            </a:r>
            <a:r>
              <a:rPr kumimoji="0" lang="en-US" sz="1200" b="1" i="0" u="none" strike="noStrike" kern="1200" cap="none" spc="0" normalizeH="0" baseline="0" noProof="0" dirty="0">
                <a:ln>
                  <a:noFill/>
                </a:ln>
                <a:solidFill>
                  <a:schemeClr val="accent1"/>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rPr>
              <a:t>Title</a:t>
            </a:r>
            <a:r>
              <a:rPr kumimoji="0" lang="en-US" sz="1200" b="1" i="0" u="none" strike="noStrike" kern="1200" cap="none" spc="0" normalizeH="0" baseline="0" noProof="0" dirty="0">
                <a:ln>
                  <a:noFill/>
                </a:ln>
                <a:solidFill>
                  <a:srgbClr val="000000"/>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rPr>
              <a:t> Here</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Lorem ipsum dolor sit amet, </a:t>
            </a:r>
            <a:r>
              <a:rPr kumimoji="0" lang="en-US" sz="105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consectetuer</a:t>
            </a:r>
            <a:r>
              <a:rPr kumimoji="0" lang="en-US" sz="105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US" sz="105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adipiscing</a:t>
            </a:r>
            <a:r>
              <a:rPr kumimoji="0" lang="en-US" sz="105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US" sz="105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elit</a:t>
            </a:r>
            <a:r>
              <a:rPr kumimoji="0" lang="en-US" sz="105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a:t>
            </a:r>
            <a:endParaRPr kumimoji="0" lang="en-US" sz="1050" b="1" i="0" u="none" strike="noStrike" kern="1200" cap="none" spc="0" normalizeH="0" baseline="0" noProof="0" dirty="0">
              <a:ln>
                <a:noFill/>
              </a:ln>
              <a:solidFill>
                <a:srgbClr val="000000"/>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endParaRPr>
          </a:p>
        </p:txBody>
      </p:sp>
      <p:sp>
        <p:nvSpPr>
          <p:cNvPr id="12" name="Rectangle 16">
            <a:extLst>
              <a:ext uri="{FF2B5EF4-FFF2-40B4-BE49-F238E27FC236}">
                <a16:creationId xmlns:a16="http://schemas.microsoft.com/office/drawing/2014/main" id="{35DF3DF3-627F-483D-9DE8-7D42A40891F7}"/>
              </a:ext>
            </a:extLst>
          </p:cNvPr>
          <p:cNvSpPr/>
          <p:nvPr/>
        </p:nvSpPr>
        <p:spPr>
          <a:xfrm flipH="1">
            <a:off x="3698454" y="1432866"/>
            <a:ext cx="1952363" cy="507831"/>
          </a:xfrm>
          <a:prstGeom prst="rect">
            <a:avLst/>
          </a:prstGeom>
        </p:spPr>
        <p:txBody>
          <a:bodyPr wrap="square" lIns="0" tIns="0" rIns="0" bIns="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rPr>
              <a:t>Insert </a:t>
            </a:r>
            <a:r>
              <a:rPr kumimoji="0" lang="en-US" sz="1200" b="1" i="0" u="none" strike="noStrike" kern="1200" cap="none" spc="0" normalizeH="0" baseline="0" noProof="0" dirty="0">
                <a:ln>
                  <a:noFill/>
                </a:ln>
                <a:solidFill>
                  <a:schemeClr val="accent1"/>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rPr>
              <a:t>Title</a:t>
            </a:r>
            <a:r>
              <a:rPr kumimoji="0" lang="en-US" sz="1200" b="1" i="0" u="none" strike="noStrike" kern="1200" cap="none" spc="0" normalizeH="0" baseline="0" noProof="0" dirty="0">
                <a:ln>
                  <a:noFill/>
                </a:ln>
                <a:solidFill>
                  <a:srgbClr val="000000"/>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rPr>
              <a:t> Here</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Lorem ipsum dolor sit amet, </a:t>
            </a:r>
            <a:r>
              <a:rPr kumimoji="0" lang="en-US" sz="105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consectetuer</a:t>
            </a:r>
            <a:r>
              <a:rPr kumimoji="0" lang="en-US" sz="105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US" sz="105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adipiscing</a:t>
            </a:r>
            <a:r>
              <a:rPr kumimoji="0" lang="en-US" sz="105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US" sz="105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elit</a:t>
            </a:r>
            <a:r>
              <a:rPr kumimoji="0" lang="en-US" sz="105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a:t>
            </a:r>
            <a:endParaRPr kumimoji="0" lang="en-US" sz="1050" b="1" i="0" u="none" strike="noStrike" kern="1200" cap="none" spc="0" normalizeH="0" baseline="0" noProof="0" dirty="0">
              <a:ln>
                <a:noFill/>
              </a:ln>
              <a:solidFill>
                <a:srgbClr val="000000"/>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endParaRPr>
          </a:p>
        </p:txBody>
      </p:sp>
      <p:sp>
        <p:nvSpPr>
          <p:cNvPr id="13" name="Rectangle 17">
            <a:extLst>
              <a:ext uri="{FF2B5EF4-FFF2-40B4-BE49-F238E27FC236}">
                <a16:creationId xmlns:a16="http://schemas.microsoft.com/office/drawing/2014/main" id="{2A4AFCC7-884A-4E6D-8F5E-B035F043CBB7}"/>
              </a:ext>
            </a:extLst>
          </p:cNvPr>
          <p:cNvSpPr/>
          <p:nvPr/>
        </p:nvSpPr>
        <p:spPr>
          <a:xfrm flipH="1">
            <a:off x="3698455" y="5261084"/>
            <a:ext cx="1952363" cy="507831"/>
          </a:xfrm>
          <a:prstGeom prst="rect">
            <a:avLst/>
          </a:prstGeom>
        </p:spPr>
        <p:txBody>
          <a:bodyPr wrap="square" lIns="0" tIns="0" rIns="0" bIns="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rPr>
              <a:t>Insert </a:t>
            </a:r>
            <a:r>
              <a:rPr kumimoji="0" lang="en-US" sz="1200" b="1" i="0" u="none" strike="noStrike" kern="1200" cap="none" spc="0" normalizeH="0" baseline="0" noProof="0" dirty="0">
                <a:ln>
                  <a:noFill/>
                </a:ln>
                <a:solidFill>
                  <a:schemeClr val="accent1"/>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rPr>
              <a:t>Title</a:t>
            </a:r>
            <a:r>
              <a:rPr kumimoji="0" lang="en-US" sz="1200" b="1" i="0" u="none" strike="noStrike" kern="1200" cap="none" spc="0" normalizeH="0" baseline="0" noProof="0" dirty="0">
                <a:ln>
                  <a:noFill/>
                </a:ln>
                <a:solidFill>
                  <a:srgbClr val="000000"/>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rPr>
              <a:t> Here</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Lorem ipsum dolor sit amet, </a:t>
            </a:r>
            <a:r>
              <a:rPr kumimoji="0" lang="en-US" sz="105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consectetuer</a:t>
            </a:r>
            <a:r>
              <a:rPr kumimoji="0" lang="en-US" sz="105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US" sz="105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adipiscing</a:t>
            </a:r>
            <a:r>
              <a:rPr kumimoji="0" lang="en-US" sz="105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US" sz="105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elit</a:t>
            </a:r>
            <a:r>
              <a:rPr kumimoji="0" lang="en-US" sz="105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a:t>
            </a:r>
            <a:endParaRPr kumimoji="0" lang="en-US" sz="1050" b="1" i="0" u="none" strike="noStrike" kern="1200" cap="none" spc="0" normalizeH="0" baseline="0" noProof="0" dirty="0">
              <a:ln>
                <a:noFill/>
              </a:ln>
              <a:solidFill>
                <a:srgbClr val="000000"/>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endParaRPr>
          </a:p>
        </p:txBody>
      </p:sp>
      <p:sp>
        <p:nvSpPr>
          <p:cNvPr id="14" name="Rectangle 18">
            <a:extLst>
              <a:ext uri="{FF2B5EF4-FFF2-40B4-BE49-F238E27FC236}">
                <a16:creationId xmlns:a16="http://schemas.microsoft.com/office/drawing/2014/main" id="{98C8D1FB-6FC7-42C2-9959-438C0DEE936F}"/>
              </a:ext>
            </a:extLst>
          </p:cNvPr>
          <p:cNvSpPr/>
          <p:nvPr/>
        </p:nvSpPr>
        <p:spPr>
          <a:xfrm flipH="1">
            <a:off x="6736800" y="1166836"/>
            <a:ext cx="1952363" cy="507831"/>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rPr>
              <a:t>Insert </a:t>
            </a:r>
            <a:r>
              <a:rPr kumimoji="0" lang="en-US" sz="1200" b="1" i="0" u="none" strike="noStrike" kern="1200" cap="none" spc="0" normalizeH="0" baseline="0" noProof="0" dirty="0">
                <a:ln>
                  <a:noFill/>
                </a:ln>
                <a:solidFill>
                  <a:schemeClr val="accent1"/>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rPr>
              <a:t>Title</a:t>
            </a:r>
            <a:r>
              <a:rPr kumimoji="0" lang="en-US" sz="1200" b="1" i="0" u="none" strike="noStrike" kern="1200" cap="none" spc="0" normalizeH="0" baseline="0" noProof="0" dirty="0">
                <a:ln>
                  <a:noFill/>
                </a:ln>
                <a:solidFill>
                  <a:srgbClr val="000000"/>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rPr>
              <a:t> Her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Lorem ipsum dolor sit amet, </a:t>
            </a:r>
            <a:r>
              <a:rPr kumimoji="0" lang="en-US" sz="105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consectetuer</a:t>
            </a:r>
            <a:r>
              <a:rPr kumimoji="0" lang="en-US" sz="105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US" sz="105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adipiscing</a:t>
            </a:r>
            <a:r>
              <a:rPr kumimoji="0" lang="en-US" sz="105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US" sz="105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elit</a:t>
            </a:r>
            <a:r>
              <a:rPr kumimoji="0" lang="en-US" sz="105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a:t>
            </a:r>
            <a:endParaRPr kumimoji="0" lang="en-US" sz="1050" b="1" i="0" u="none" strike="noStrike" kern="1200" cap="none" spc="0" normalizeH="0" baseline="0" noProof="0" dirty="0">
              <a:ln>
                <a:noFill/>
              </a:ln>
              <a:solidFill>
                <a:srgbClr val="000000"/>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endParaRPr>
          </a:p>
        </p:txBody>
      </p:sp>
      <p:sp>
        <p:nvSpPr>
          <p:cNvPr id="15" name="Rectangle 19">
            <a:extLst>
              <a:ext uri="{FF2B5EF4-FFF2-40B4-BE49-F238E27FC236}">
                <a16:creationId xmlns:a16="http://schemas.microsoft.com/office/drawing/2014/main" id="{9B3D608E-E509-4D78-A65F-7F127D2581D9}"/>
              </a:ext>
            </a:extLst>
          </p:cNvPr>
          <p:cNvSpPr/>
          <p:nvPr/>
        </p:nvSpPr>
        <p:spPr>
          <a:xfrm flipH="1">
            <a:off x="6736800" y="5477901"/>
            <a:ext cx="1952363" cy="507831"/>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rPr>
              <a:t>Insert </a:t>
            </a:r>
            <a:r>
              <a:rPr kumimoji="0" lang="en-US" sz="1200" b="1" i="0" u="none" strike="noStrike" kern="1200" cap="none" spc="0" normalizeH="0" baseline="0" noProof="0" dirty="0">
                <a:ln>
                  <a:noFill/>
                </a:ln>
                <a:solidFill>
                  <a:schemeClr val="accent1"/>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rPr>
              <a:t>Title</a:t>
            </a:r>
            <a:r>
              <a:rPr kumimoji="0" lang="en-US" sz="1200" b="1" i="0" u="none" strike="noStrike" kern="1200" cap="none" spc="0" normalizeH="0" baseline="0" noProof="0" dirty="0">
                <a:ln>
                  <a:noFill/>
                </a:ln>
                <a:solidFill>
                  <a:srgbClr val="000000"/>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rPr>
              <a:t> Her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Lorem ipsum dolor sit amet, </a:t>
            </a:r>
            <a:r>
              <a:rPr kumimoji="0" lang="en-US" sz="105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consectetuer</a:t>
            </a:r>
            <a:r>
              <a:rPr kumimoji="0" lang="en-US" sz="105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US" sz="105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adipiscing</a:t>
            </a:r>
            <a:r>
              <a:rPr kumimoji="0" lang="en-US" sz="105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US" sz="105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elit</a:t>
            </a:r>
            <a:r>
              <a:rPr kumimoji="0" lang="en-US" sz="105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a:t>
            </a:r>
            <a:endParaRPr kumimoji="0" lang="en-US" sz="1050" b="1" i="0" u="none" strike="noStrike" kern="1200" cap="none" spc="0" normalizeH="0" baseline="0" noProof="0" dirty="0">
              <a:ln>
                <a:noFill/>
              </a:ln>
              <a:solidFill>
                <a:srgbClr val="000000"/>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endParaRPr>
          </a:p>
        </p:txBody>
      </p:sp>
      <p:sp>
        <p:nvSpPr>
          <p:cNvPr id="16" name="Rectangle 20">
            <a:extLst>
              <a:ext uri="{FF2B5EF4-FFF2-40B4-BE49-F238E27FC236}">
                <a16:creationId xmlns:a16="http://schemas.microsoft.com/office/drawing/2014/main" id="{3CB0F8FF-65B5-44A1-9910-1C84DF7DE35D}"/>
              </a:ext>
            </a:extLst>
          </p:cNvPr>
          <p:cNvSpPr/>
          <p:nvPr/>
        </p:nvSpPr>
        <p:spPr>
          <a:xfrm flipH="1">
            <a:off x="7646948" y="4736846"/>
            <a:ext cx="1952363" cy="507831"/>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rPr>
              <a:t>Insert </a:t>
            </a:r>
            <a:r>
              <a:rPr kumimoji="0" lang="en-US" sz="1200" b="1" i="0" u="none" strike="noStrike" kern="1200" cap="none" spc="0" normalizeH="0" baseline="0" noProof="0" dirty="0">
                <a:ln>
                  <a:noFill/>
                </a:ln>
                <a:solidFill>
                  <a:srgbClr val="014864"/>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rPr>
              <a:t>Title</a:t>
            </a:r>
            <a:r>
              <a:rPr kumimoji="0" lang="en-US" sz="1200" b="1" i="0" u="none" strike="noStrike" kern="1200" cap="none" spc="0" normalizeH="0" baseline="0" noProof="0" dirty="0">
                <a:ln>
                  <a:noFill/>
                </a:ln>
                <a:solidFill>
                  <a:srgbClr val="000000"/>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rPr>
              <a:t> Her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Lorem ipsum dolor sit amet, </a:t>
            </a:r>
            <a:r>
              <a:rPr kumimoji="0" lang="en-US" sz="105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consectetuer</a:t>
            </a:r>
            <a:r>
              <a:rPr kumimoji="0" lang="en-US" sz="105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US" sz="105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adipiscing</a:t>
            </a:r>
            <a:r>
              <a:rPr kumimoji="0" lang="en-US" sz="105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US" sz="105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elit</a:t>
            </a:r>
            <a:r>
              <a:rPr kumimoji="0" lang="en-US" sz="105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a:t>
            </a:r>
            <a:endParaRPr kumimoji="0" lang="en-US" sz="1050" b="1" i="0" u="none" strike="noStrike" kern="1200" cap="none" spc="0" normalizeH="0" baseline="0" noProof="0" dirty="0">
              <a:ln>
                <a:noFill/>
              </a:ln>
              <a:solidFill>
                <a:srgbClr val="000000"/>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endParaRPr>
          </a:p>
        </p:txBody>
      </p:sp>
      <p:sp>
        <p:nvSpPr>
          <p:cNvPr id="17" name="Rectangle 21">
            <a:extLst>
              <a:ext uri="{FF2B5EF4-FFF2-40B4-BE49-F238E27FC236}">
                <a16:creationId xmlns:a16="http://schemas.microsoft.com/office/drawing/2014/main" id="{9AE0761B-4F12-4CBF-879C-682DB3EFB962}"/>
              </a:ext>
            </a:extLst>
          </p:cNvPr>
          <p:cNvSpPr/>
          <p:nvPr/>
        </p:nvSpPr>
        <p:spPr>
          <a:xfrm flipH="1">
            <a:off x="7646948" y="1858974"/>
            <a:ext cx="1952363" cy="507831"/>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rPr>
              <a:t>Insert </a:t>
            </a:r>
            <a:r>
              <a:rPr kumimoji="0" lang="en-US" sz="1200" b="1" i="0" u="none" strike="noStrike" kern="1200" cap="none" spc="0" normalizeH="0" baseline="0" noProof="0" dirty="0">
                <a:ln>
                  <a:noFill/>
                </a:ln>
                <a:solidFill>
                  <a:srgbClr val="014864"/>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rPr>
              <a:t>Title</a:t>
            </a:r>
            <a:r>
              <a:rPr kumimoji="0" lang="en-US" sz="1200" b="1" i="0" u="none" strike="noStrike" kern="1200" cap="none" spc="0" normalizeH="0" baseline="0" noProof="0" dirty="0">
                <a:ln>
                  <a:noFill/>
                </a:ln>
                <a:solidFill>
                  <a:srgbClr val="000000"/>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rPr>
              <a:t> Her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Lorem ipsum dolor sit amet, </a:t>
            </a:r>
            <a:r>
              <a:rPr kumimoji="0" lang="en-US" sz="105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consectetuer</a:t>
            </a:r>
            <a:r>
              <a:rPr kumimoji="0" lang="en-US" sz="105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US" sz="105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adipiscing</a:t>
            </a:r>
            <a:r>
              <a:rPr kumimoji="0" lang="en-US" sz="105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US" sz="1050" b="0" i="0" u="none" strike="noStrike" kern="1200" cap="none" spc="0" normalizeH="0" baseline="0" noProof="0" dirty="0" err="1">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elit</a:t>
            </a:r>
            <a:r>
              <a:rPr kumimoji="0" lang="en-US" sz="1050" b="0" i="0" u="none" strike="noStrike" kern="120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a:t>
            </a:r>
            <a:endParaRPr kumimoji="0" lang="en-US" sz="1050" b="1" i="0" u="none" strike="noStrike" kern="1200" cap="none" spc="0" normalizeH="0" baseline="0" noProof="0" dirty="0">
              <a:ln>
                <a:noFill/>
              </a:ln>
              <a:solidFill>
                <a:srgbClr val="000000"/>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endParaRPr>
          </a:p>
        </p:txBody>
      </p:sp>
      <p:cxnSp>
        <p:nvCxnSpPr>
          <p:cNvPr id="18" name="Straight Connector 33">
            <a:extLst>
              <a:ext uri="{FF2B5EF4-FFF2-40B4-BE49-F238E27FC236}">
                <a16:creationId xmlns:a16="http://schemas.microsoft.com/office/drawing/2014/main" id="{7CC8F42E-7FFC-482F-BF70-CAEEFCDA7E4D}"/>
              </a:ext>
            </a:extLst>
          </p:cNvPr>
          <p:cNvCxnSpPr>
            <a:cxnSpLocks/>
          </p:cNvCxnSpPr>
          <p:nvPr/>
        </p:nvCxnSpPr>
        <p:spPr>
          <a:xfrm>
            <a:off x="2003530" y="1921786"/>
            <a:ext cx="0" cy="3388077"/>
          </a:xfrm>
          <a:prstGeom prst="line">
            <a:avLst/>
          </a:prstGeom>
          <a:ln w="12700" cap="rnd">
            <a:solidFill>
              <a:schemeClr val="accent1">
                <a:lumMod val="100000"/>
              </a:schemeClr>
            </a:solidFill>
            <a:prstDash val="sysDot"/>
            <a:round/>
            <a:headEnd type="oval"/>
            <a:tailEnd type="oval"/>
          </a:ln>
        </p:spPr>
        <p:style>
          <a:lnRef idx="1">
            <a:schemeClr val="accent1"/>
          </a:lnRef>
          <a:fillRef idx="0">
            <a:schemeClr val="accent1"/>
          </a:fillRef>
          <a:effectRef idx="0">
            <a:schemeClr val="accent1"/>
          </a:effectRef>
          <a:fontRef idx="minor">
            <a:schemeClr val="tx1"/>
          </a:fontRef>
        </p:style>
      </p:cxnSp>
      <p:grpSp>
        <p:nvGrpSpPr>
          <p:cNvPr id="19" name="Group 36">
            <a:extLst>
              <a:ext uri="{FF2B5EF4-FFF2-40B4-BE49-F238E27FC236}">
                <a16:creationId xmlns:a16="http://schemas.microsoft.com/office/drawing/2014/main" id="{D6259F6E-F9CF-4878-8734-2FD1A5CBCA1A}"/>
              </a:ext>
            </a:extLst>
          </p:cNvPr>
          <p:cNvGrpSpPr/>
          <p:nvPr/>
        </p:nvGrpSpPr>
        <p:grpSpPr>
          <a:xfrm>
            <a:off x="2543550" y="3316796"/>
            <a:ext cx="359761" cy="360807"/>
            <a:chOff x="2628076" y="2420680"/>
            <a:chExt cx="359761" cy="360807"/>
          </a:xfrm>
        </p:grpSpPr>
        <p:sp>
          <p:nvSpPr>
            <p:cNvPr id="20" name="Freeform 34">
              <a:extLst>
                <a:ext uri="{FF2B5EF4-FFF2-40B4-BE49-F238E27FC236}">
                  <a16:creationId xmlns:a16="http://schemas.microsoft.com/office/drawing/2014/main" id="{D5FAC3D0-AD8F-4284-AFC2-7BC901AEC4CF}"/>
                </a:ext>
              </a:extLst>
            </p:cNvPr>
            <p:cNvSpPr/>
            <p:nvPr/>
          </p:nvSpPr>
          <p:spPr>
            <a:xfrm>
              <a:off x="2628076" y="2420680"/>
              <a:ext cx="359761" cy="360807"/>
            </a:xfrm>
            <a:custGeom>
              <a:avLst/>
              <a:gdLst>
                <a:gd name="connsiteX0" fmla="*/ 359761 w 359761"/>
                <a:gd name="connsiteY0" fmla="*/ 180403 h 360807"/>
                <a:gd name="connsiteX1" fmla="*/ 179881 w 359761"/>
                <a:gd name="connsiteY1" fmla="*/ 360807 h 360807"/>
                <a:gd name="connsiteX2" fmla="*/ 0 w 359761"/>
                <a:gd name="connsiteY2" fmla="*/ 180403 h 360807"/>
                <a:gd name="connsiteX3" fmla="*/ 179881 w 359761"/>
                <a:gd name="connsiteY3" fmla="*/ 0 h 360807"/>
                <a:gd name="connsiteX4" fmla="*/ 359761 w 359761"/>
                <a:gd name="connsiteY4" fmla="*/ 180403 h 3608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9761" h="360807">
                  <a:moveTo>
                    <a:pt x="359761" y="180403"/>
                  </a:moveTo>
                  <a:cubicBezTo>
                    <a:pt x="359761" y="280038"/>
                    <a:pt x="279226" y="360807"/>
                    <a:pt x="179881" y="360807"/>
                  </a:cubicBezTo>
                  <a:cubicBezTo>
                    <a:pt x="80535" y="360807"/>
                    <a:pt x="0" y="280038"/>
                    <a:pt x="0" y="180403"/>
                  </a:cubicBezTo>
                  <a:cubicBezTo>
                    <a:pt x="0" y="80769"/>
                    <a:pt x="80535" y="0"/>
                    <a:pt x="179881" y="0"/>
                  </a:cubicBezTo>
                  <a:cubicBezTo>
                    <a:pt x="279226" y="0"/>
                    <a:pt x="359761" y="80769"/>
                    <a:pt x="359761" y="180403"/>
                  </a:cubicBezTo>
                  <a:close/>
                </a:path>
              </a:pathLst>
            </a:custGeom>
            <a:solidFill>
              <a:srgbClr val="FFFFFF"/>
            </a:solidFill>
            <a:ln w="9442" cap="flat">
              <a:noFill/>
              <a:prstDash val="solid"/>
              <a:miter/>
            </a:ln>
            <a:effectLst>
              <a:outerShdw blurRad="38100" dist="12700" dir="5400000" algn="t" rotWithShape="0">
                <a:prstClr val="black">
                  <a:alpha val="20000"/>
                </a:prstClr>
              </a:outerShdw>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EG" sz="1800" b="0" i="0" u="none" strike="noStrike" kern="1200" cap="none" spc="0" normalizeH="0" baseline="0" noProof="0">
                <a:ln>
                  <a:noFill/>
                </a:ln>
                <a:solidFill>
                  <a:srgbClr val="000000"/>
                </a:solidFill>
                <a:effectLst/>
                <a:uLnTx/>
                <a:uFillTx/>
                <a:latin typeface="Arial"/>
                <a:cs typeface="+mn-cs"/>
              </a:endParaRPr>
            </a:p>
          </p:txBody>
        </p:sp>
        <p:sp>
          <p:nvSpPr>
            <p:cNvPr id="21" name="TextBox 35">
              <a:extLst>
                <a:ext uri="{FF2B5EF4-FFF2-40B4-BE49-F238E27FC236}">
                  <a16:creationId xmlns:a16="http://schemas.microsoft.com/office/drawing/2014/main" id="{CCD05D7C-1B0A-4DDC-985E-AEB7150C8209}"/>
                </a:ext>
              </a:extLst>
            </p:cNvPr>
            <p:cNvSpPr txBox="1"/>
            <p:nvPr/>
          </p:nvSpPr>
          <p:spPr>
            <a:xfrm>
              <a:off x="2705364" y="2493361"/>
              <a:ext cx="205184"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EG" sz="1400" b="1" i="0" u="none" strike="noStrike" kern="1200" cap="none" spc="0" normalizeH="0" baseline="0" noProof="0" dirty="0">
                  <a:ln>
                    <a:noFill/>
                  </a:ln>
                  <a:solidFill>
                    <a:schemeClr val="accent1"/>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rPr>
                <a:t>01</a:t>
              </a:r>
            </a:p>
          </p:txBody>
        </p:sp>
      </p:grpSp>
      <p:grpSp>
        <p:nvGrpSpPr>
          <p:cNvPr id="22" name="Group 37">
            <a:extLst>
              <a:ext uri="{FF2B5EF4-FFF2-40B4-BE49-F238E27FC236}">
                <a16:creationId xmlns:a16="http://schemas.microsoft.com/office/drawing/2014/main" id="{10847E13-A459-4C57-AF44-A37BFA57FA0F}"/>
              </a:ext>
            </a:extLst>
          </p:cNvPr>
          <p:cNvGrpSpPr/>
          <p:nvPr/>
        </p:nvGrpSpPr>
        <p:grpSpPr>
          <a:xfrm>
            <a:off x="5773096" y="3310372"/>
            <a:ext cx="359761" cy="360807"/>
            <a:chOff x="2628076" y="2420680"/>
            <a:chExt cx="359761" cy="360807"/>
          </a:xfrm>
        </p:grpSpPr>
        <p:sp>
          <p:nvSpPr>
            <p:cNvPr id="23" name="Freeform 38">
              <a:extLst>
                <a:ext uri="{FF2B5EF4-FFF2-40B4-BE49-F238E27FC236}">
                  <a16:creationId xmlns:a16="http://schemas.microsoft.com/office/drawing/2014/main" id="{09FA0A28-9DCD-46C9-A0CB-E2C8FC7AA590}"/>
                </a:ext>
              </a:extLst>
            </p:cNvPr>
            <p:cNvSpPr/>
            <p:nvPr/>
          </p:nvSpPr>
          <p:spPr>
            <a:xfrm>
              <a:off x="2628076" y="2420680"/>
              <a:ext cx="359761" cy="360807"/>
            </a:xfrm>
            <a:custGeom>
              <a:avLst/>
              <a:gdLst>
                <a:gd name="connsiteX0" fmla="*/ 359761 w 359761"/>
                <a:gd name="connsiteY0" fmla="*/ 180403 h 360807"/>
                <a:gd name="connsiteX1" fmla="*/ 179881 w 359761"/>
                <a:gd name="connsiteY1" fmla="*/ 360807 h 360807"/>
                <a:gd name="connsiteX2" fmla="*/ 0 w 359761"/>
                <a:gd name="connsiteY2" fmla="*/ 180403 h 360807"/>
                <a:gd name="connsiteX3" fmla="*/ 179881 w 359761"/>
                <a:gd name="connsiteY3" fmla="*/ 0 h 360807"/>
                <a:gd name="connsiteX4" fmla="*/ 359761 w 359761"/>
                <a:gd name="connsiteY4" fmla="*/ 180403 h 3608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9761" h="360807">
                  <a:moveTo>
                    <a:pt x="359761" y="180403"/>
                  </a:moveTo>
                  <a:cubicBezTo>
                    <a:pt x="359761" y="280038"/>
                    <a:pt x="279226" y="360807"/>
                    <a:pt x="179881" y="360807"/>
                  </a:cubicBezTo>
                  <a:cubicBezTo>
                    <a:pt x="80535" y="360807"/>
                    <a:pt x="0" y="280038"/>
                    <a:pt x="0" y="180403"/>
                  </a:cubicBezTo>
                  <a:cubicBezTo>
                    <a:pt x="0" y="80769"/>
                    <a:pt x="80535" y="0"/>
                    <a:pt x="179881" y="0"/>
                  </a:cubicBezTo>
                  <a:cubicBezTo>
                    <a:pt x="279226" y="0"/>
                    <a:pt x="359761" y="80769"/>
                    <a:pt x="359761" y="180403"/>
                  </a:cubicBezTo>
                  <a:close/>
                </a:path>
              </a:pathLst>
            </a:custGeom>
            <a:solidFill>
              <a:srgbClr val="FFFFFF"/>
            </a:solidFill>
            <a:ln w="9442" cap="flat">
              <a:noFill/>
              <a:prstDash val="solid"/>
              <a:miter/>
            </a:ln>
            <a:effectLst>
              <a:outerShdw blurRad="38100" dist="12700" dir="5400000" algn="t" rotWithShape="0">
                <a:prstClr val="black">
                  <a:alpha val="20000"/>
                </a:prstClr>
              </a:outerShdw>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EG" sz="1800" b="0" i="0" u="none" strike="noStrike" kern="1200" cap="none" spc="0" normalizeH="0" baseline="0" noProof="0">
                <a:ln>
                  <a:noFill/>
                </a:ln>
                <a:solidFill>
                  <a:srgbClr val="000000"/>
                </a:solidFill>
                <a:effectLst/>
                <a:uLnTx/>
                <a:uFillTx/>
                <a:latin typeface="Arial"/>
                <a:cs typeface="+mn-cs"/>
              </a:endParaRPr>
            </a:p>
          </p:txBody>
        </p:sp>
        <p:sp>
          <p:nvSpPr>
            <p:cNvPr id="24" name="TextBox 39">
              <a:extLst>
                <a:ext uri="{FF2B5EF4-FFF2-40B4-BE49-F238E27FC236}">
                  <a16:creationId xmlns:a16="http://schemas.microsoft.com/office/drawing/2014/main" id="{DECAA87D-AAB7-4EFC-93D1-CDAC2A2D0E42}"/>
                </a:ext>
              </a:extLst>
            </p:cNvPr>
            <p:cNvSpPr txBox="1"/>
            <p:nvPr/>
          </p:nvSpPr>
          <p:spPr>
            <a:xfrm>
              <a:off x="2705364" y="2493361"/>
              <a:ext cx="205184"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EG" sz="1400" b="1" i="0" u="none" strike="noStrike" kern="1200" cap="none" spc="0" normalizeH="0" baseline="0" noProof="0" dirty="0">
                  <a:ln>
                    <a:noFill/>
                  </a:ln>
                  <a:solidFill>
                    <a:schemeClr val="accent1"/>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rPr>
                <a:t>03</a:t>
              </a:r>
            </a:p>
          </p:txBody>
        </p:sp>
      </p:grpSp>
      <p:grpSp>
        <p:nvGrpSpPr>
          <p:cNvPr id="25" name="Group 40">
            <a:extLst>
              <a:ext uri="{FF2B5EF4-FFF2-40B4-BE49-F238E27FC236}">
                <a16:creationId xmlns:a16="http://schemas.microsoft.com/office/drawing/2014/main" id="{0B0AF350-AE54-40C2-9219-BE2D68966FA0}"/>
              </a:ext>
            </a:extLst>
          </p:cNvPr>
          <p:cNvGrpSpPr/>
          <p:nvPr/>
        </p:nvGrpSpPr>
        <p:grpSpPr>
          <a:xfrm>
            <a:off x="4876798" y="3310372"/>
            <a:ext cx="359761" cy="360807"/>
            <a:chOff x="2628076" y="2420680"/>
            <a:chExt cx="359761" cy="360807"/>
          </a:xfrm>
        </p:grpSpPr>
        <p:sp>
          <p:nvSpPr>
            <p:cNvPr id="26" name="Freeform 41">
              <a:extLst>
                <a:ext uri="{FF2B5EF4-FFF2-40B4-BE49-F238E27FC236}">
                  <a16:creationId xmlns:a16="http://schemas.microsoft.com/office/drawing/2014/main" id="{FA697FB4-C3B9-460B-B448-A9F59CD68D1E}"/>
                </a:ext>
              </a:extLst>
            </p:cNvPr>
            <p:cNvSpPr/>
            <p:nvPr/>
          </p:nvSpPr>
          <p:spPr>
            <a:xfrm>
              <a:off x="2628076" y="2420680"/>
              <a:ext cx="359761" cy="360807"/>
            </a:xfrm>
            <a:custGeom>
              <a:avLst/>
              <a:gdLst>
                <a:gd name="connsiteX0" fmla="*/ 359761 w 359761"/>
                <a:gd name="connsiteY0" fmla="*/ 180403 h 360807"/>
                <a:gd name="connsiteX1" fmla="*/ 179881 w 359761"/>
                <a:gd name="connsiteY1" fmla="*/ 360807 h 360807"/>
                <a:gd name="connsiteX2" fmla="*/ 0 w 359761"/>
                <a:gd name="connsiteY2" fmla="*/ 180403 h 360807"/>
                <a:gd name="connsiteX3" fmla="*/ 179881 w 359761"/>
                <a:gd name="connsiteY3" fmla="*/ 0 h 360807"/>
                <a:gd name="connsiteX4" fmla="*/ 359761 w 359761"/>
                <a:gd name="connsiteY4" fmla="*/ 180403 h 3608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9761" h="360807">
                  <a:moveTo>
                    <a:pt x="359761" y="180403"/>
                  </a:moveTo>
                  <a:cubicBezTo>
                    <a:pt x="359761" y="280038"/>
                    <a:pt x="279226" y="360807"/>
                    <a:pt x="179881" y="360807"/>
                  </a:cubicBezTo>
                  <a:cubicBezTo>
                    <a:pt x="80535" y="360807"/>
                    <a:pt x="0" y="280038"/>
                    <a:pt x="0" y="180403"/>
                  </a:cubicBezTo>
                  <a:cubicBezTo>
                    <a:pt x="0" y="80769"/>
                    <a:pt x="80535" y="0"/>
                    <a:pt x="179881" y="0"/>
                  </a:cubicBezTo>
                  <a:cubicBezTo>
                    <a:pt x="279226" y="0"/>
                    <a:pt x="359761" y="80769"/>
                    <a:pt x="359761" y="180403"/>
                  </a:cubicBezTo>
                  <a:close/>
                </a:path>
              </a:pathLst>
            </a:custGeom>
            <a:solidFill>
              <a:srgbClr val="FFFFFF"/>
            </a:solidFill>
            <a:ln w="9442" cap="flat">
              <a:noFill/>
              <a:prstDash val="solid"/>
              <a:miter/>
            </a:ln>
            <a:effectLst>
              <a:outerShdw blurRad="38100" dist="12700" dir="5400000" algn="t" rotWithShape="0">
                <a:prstClr val="black">
                  <a:alpha val="20000"/>
                </a:prstClr>
              </a:outerShdw>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EG" sz="1800" b="0" i="0" u="none" strike="noStrike" kern="1200" cap="none" spc="0" normalizeH="0" baseline="0" noProof="0">
                <a:ln>
                  <a:noFill/>
                </a:ln>
                <a:solidFill>
                  <a:srgbClr val="000000"/>
                </a:solidFill>
                <a:effectLst/>
                <a:uLnTx/>
                <a:uFillTx/>
                <a:latin typeface="Arial"/>
                <a:cs typeface="+mn-cs"/>
              </a:endParaRPr>
            </a:p>
          </p:txBody>
        </p:sp>
        <p:sp>
          <p:nvSpPr>
            <p:cNvPr id="27" name="TextBox 42">
              <a:extLst>
                <a:ext uri="{FF2B5EF4-FFF2-40B4-BE49-F238E27FC236}">
                  <a16:creationId xmlns:a16="http://schemas.microsoft.com/office/drawing/2014/main" id="{D92FEF21-2112-4128-AB21-402890698741}"/>
                </a:ext>
              </a:extLst>
            </p:cNvPr>
            <p:cNvSpPr txBox="1"/>
            <p:nvPr/>
          </p:nvSpPr>
          <p:spPr>
            <a:xfrm>
              <a:off x="2705364" y="2493361"/>
              <a:ext cx="205184"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EG" sz="1400" b="1" i="0" u="none" strike="noStrike" kern="1200" cap="none" spc="0" normalizeH="0" baseline="0" noProof="0" dirty="0">
                  <a:ln>
                    <a:noFill/>
                  </a:ln>
                  <a:solidFill>
                    <a:schemeClr val="accent1"/>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rPr>
                <a:t>02</a:t>
              </a:r>
            </a:p>
          </p:txBody>
        </p:sp>
      </p:grpSp>
      <p:grpSp>
        <p:nvGrpSpPr>
          <p:cNvPr id="28" name="Group 43">
            <a:extLst>
              <a:ext uri="{FF2B5EF4-FFF2-40B4-BE49-F238E27FC236}">
                <a16:creationId xmlns:a16="http://schemas.microsoft.com/office/drawing/2014/main" id="{F1B2EEAF-B1D5-4323-A7F0-8D92C8A5460F}"/>
              </a:ext>
            </a:extLst>
          </p:cNvPr>
          <p:cNvGrpSpPr/>
          <p:nvPr/>
        </p:nvGrpSpPr>
        <p:grpSpPr>
          <a:xfrm>
            <a:off x="6651778" y="3310372"/>
            <a:ext cx="359761" cy="360807"/>
            <a:chOff x="2628076" y="2420680"/>
            <a:chExt cx="359761" cy="360807"/>
          </a:xfrm>
        </p:grpSpPr>
        <p:sp>
          <p:nvSpPr>
            <p:cNvPr id="29" name="Freeform 44">
              <a:extLst>
                <a:ext uri="{FF2B5EF4-FFF2-40B4-BE49-F238E27FC236}">
                  <a16:creationId xmlns:a16="http://schemas.microsoft.com/office/drawing/2014/main" id="{19317568-6D84-43D2-8302-4625E0E28669}"/>
                </a:ext>
              </a:extLst>
            </p:cNvPr>
            <p:cNvSpPr/>
            <p:nvPr/>
          </p:nvSpPr>
          <p:spPr>
            <a:xfrm>
              <a:off x="2628076" y="2420680"/>
              <a:ext cx="359761" cy="360807"/>
            </a:xfrm>
            <a:custGeom>
              <a:avLst/>
              <a:gdLst>
                <a:gd name="connsiteX0" fmla="*/ 359761 w 359761"/>
                <a:gd name="connsiteY0" fmla="*/ 180403 h 360807"/>
                <a:gd name="connsiteX1" fmla="*/ 179881 w 359761"/>
                <a:gd name="connsiteY1" fmla="*/ 360807 h 360807"/>
                <a:gd name="connsiteX2" fmla="*/ 0 w 359761"/>
                <a:gd name="connsiteY2" fmla="*/ 180403 h 360807"/>
                <a:gd name="connsiteX3" fmla="*/ 179881 w 359761"/>
                <a:gd name="connsiteY3" fmla="*/ 0 h 360807"/>
                <a:gd name="connsiteX4" fmla="*/ 359761 w 359761"/>
                <a:gd name="connsiteY4" fmla="*/ 180403 h 3608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9761" h="360807">
                  <a:moveTo>
                    <a:pt x="359761" y="180403"/>
                  </a:moveTo>
                  <a:cubicBezTo>
                    <a:pt x="359761" y="280038"/>
                    <a:pt x="279226" y="360807"/>
                    <a:pt x="179881" y="360807"/>
                  </a:cubicBezTo>
                  <a:cubicBezTo>
                    <a:pt x="80535" y="360807"/>
                    <a:pt x="0" y="280038"/>
                    <a:pt x="0" y="180403"/>
                  </a:cubicBezTo>
                  <a:cubicBezTo>
                    <a:pt x="0" y="80769"/>
                    <a:pt x="80535" y="0"/>
                    <a:pt x="179881" y="0"/>
                  </a:cubicBezTo>
                  <a:cubicBezTo>
                    <a:pt x="279226" y="0"/>
                    <a:pt x="359761" y="80769"/>
                    <a:pt x="359761" y="180403"/>
                  </a:cubicBezTo>
                  <a:close/>
                </a:path>
              </a:pathLst>
            </a:custGeom>
            <a:solidFill>
              <a:srgbClr val="FFFFFF"/>
            </a:solidFill>
            <a:ln w="9442" cap="flat">
              <a:noFill/>
              <a:prstDash val="solid"/>
              <a:miter/>
            </a:ln>
            <a:effectLst>
              <a:outerShdw blurRad="38100" dist="12700" dir="5400000" algn="t" rotWithShape="0">
                <a:prstClr val="black">
                  <a:alpha val="20000"/>
                </a:prstClr>
              </a:outerShdw>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EG" sz="1800" b="0" i="0" u="none" strike="noStrike" kern="1200" cap="none" spc="0" normalizeH="0" baseline="0" noProof="0">
                <a:ln>
                  <a:noFill/>
                </a:ln>
                <a:solidFill>
                  <a:srgbClr val="000000"/>
                </a:solidFill>
                <a:effectLst/>
                <a:uLnTx/>
                <a:uFillTx/>
                <a:latin typeface="Arial"/>
                <a:cs typeface="+mn-cs"/>
              </a:endParaRPr>
            </a:p>
          </p:txBody>
        </p:sp>
        <p:sp>
          <p:nvSpPr>
            <p:cNvPr id="30" name="TextBox 45">
              <a:extLst>
                <a:ext uri="{FF2B5EF4-FFF2-40B4-BE49-F238E27FC236}">
                  <a16:creationId xmlns:a16="http://schemas.microsoft.com/office/drawing/2014/main" id="{A05A2CA2-31AD-4037-B80C-15C4089280BF}"/>
                </a:ext>
              </a:extLst>
            </p:cNvPr>
            <p:cNvSpPr txBox="1"/>
            <p:nvPr/>
          </p:nvSpPr>
          <p:spPr>
            <a:xfrm>
              <a:off x="2705364" y="2493361"/>
              <a:ext cx="205184"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EG" sz="1400" b="1" i="0" u="none" strike="noStrike" kern="1200" cap="none" spc="0" normalizeH="0" baseline="0" noProof="0" dirty="0">
                  <a:ln>
                    <a:noFill/>
                  </a:ln>
                  <a:solidFill>
                    <a:schemeClr val="accent1"/>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rPr>
                <a:t>04</a:t>
              </a:r>
            </a:p>
          </p:txBody>
        </p:sp>
      </p:grpSp>
      <p:grpSp>
        <p:nvGrpSpPr>
          <p:cNvPr id="31" name="Group 46">
            <a:extLst>
              <a:ext uri="{FF2B5EF4-FFF2-40B4-BE49-F238E27FC236}">
                <a16:creationId xmlns:a16="http://schemas.microsoft.com/office/drawing/2014/main" id="{A3666D29-9FAF-4B37-907A-3FAB519A98DA}"/>
              </a:ext>
            </a:extLst>
          </p:cNvPr>
          <p:cNvGrpSpPr/>
          <p:nvPr/>
        </p:nvGrpSpPr>
        <p:grpSpPr>
          <a:xfrm>
            <a:off x="7660677" y="3310372"/>
            <a:ext cx="359761" cy="360807"/>
            <a:chOff x="2628076" y="2420680"/>
            <a:chExt cx="359761" cy="360807"/>
          </a:xfrm>
        </p:grpSpPr>
        <p:sp>
          <p:nvSpPr>
            <p:cNvPr id="32" name="Freeform 47">
              <a:extLst>
                <a:ext uri="{FF2B5EF4-FFF2-40B4-BE49-F238E27FC236}">
                  <a16:creationId xmlns:a16="http://schemas.microsoft.com/office/drawing/2014/main" id="{0799A0D4-080C-42C2-A99E-F037477A2E83}"/>
                </a:ext>
              </a:extLst>
            </p:cNvPr>
            <p:cNvSpPr/>
            <p:nvPr/>
          </p:nvSpPr>
          <p:spPr>
            <a:xfrm>
              <a:off x="2628076" y="2420680"/>
              <a:ext cx="359761" cy="360807"/>
            </a:xfrm>
            <a:custGeom>
              <a:avLst/>
              <a:gdLst>
                <a:gd name="connsiteX0" fmla="*/ 359761 w 359761"/>
                <a:gd name="connsiteY0" fmla="*/ 180403 h 360807"/>
                <a:gd name="connsiteX1" fmla="*/ 179881 w 359761"/>
                <a:gd name="connsiteY1" fmla="*/ 360807 h 360807"/>
                <a:gd name="connsiteX2" fmla="*/ 0 w 359761"/>
                <a:gd name="connsiteY2" fmla="*/ 180403 h 360807"/>
                <a:gd name="connsiteX3" fmla="*/ 179881 w 359761"/>
                <a:gd name="connsiteY3" fmla="*/ 0 h 360807"/>
                <a:gd name="connsiteX4" fmla="*/ 359761 w 359761"/>
                <a:gd name="connsiteY4" fmla="*/ 180403 h 3608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9761" h="360807">
                  <a:moveTo>
                    <a:pt x="359761" y="180403"/>
                  </a:moveTo>
                  <a:cubicBezTo>
                    <a:pt x="359761" y="280038"/>
                    <a:pt x="279226" y="360807"/>
                    <a:pt x="179881" y="360807"/>
                  </a:cubicBezTo>
                  <a:cubicBezTo>
                    <a:pt x="80535" y="360807"/>
                    <a:pt x="0" y="280038"/>
                    <a:pt x="0" y="180403"/>
                  </a:cubicBezTo>
                  <a:cubicBezTo>
                    <a:pt x="0" y="80769"/>
                    <a:pt x="80535" y="0"/>
                    <a:pt x="179881" y="0"/>
                  </a:cubicBezTo>
                  <a:cubicBezTo>
                    <a:pt x="279226" y="0"/>
                    <a:pt x="359761" y="80769"/>
                    <a:pt x="359761" y="180403"/>
                  </a:cubicBezTo>
                  <a:close/>
                </a:path>
              </a:pathLst>
            </a:custGeom>
            <a:solidFill>
              <a:srgbClr val="FFFFFF"/>
            </a:solidFill>
            <a:ln w="9442" cap="flat">
              <a:noFill/>
              <a:prstDash val="solid"/>
              <a:miter/>
            </a:ln>
            <a:effectLst>
              <a:outerShdw blurRad="38100" dist="12700" dir="5400000" algn="t" rotWithShape="0">
                <a:prstClr val="black">
                  <a:alpha val="20000"/>
                </a:prstClr>
              </a:outerShdw>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EG" sz="1800" b="0" i="0" u="none" strike="noStrike" kern="1200" cap="none" spc="0" normalizeH="0" baseline="0" noProof="0">
                <a:ln>
                  <a:noFill/>
                </a:ln>
                <a:solidFill>
                  <a:srgbClr val="000000"/>
                </a:solidFill>
                <a:effectLst/>
                <a:uLnTx/>
                <a:uFillTx/>
                <a:latin typeface="Arial"/>
                <a:cs typeface="+mn-cs"/>
              </a:endParaRPr>
            </a:p>
          </p:txBody>
        </p:sp>
        <p:sp>
          <p:nvSpPr>
            <p:cNvPr id="33" name="TextBox 48">
              <a:extLst>
                <a:ext uri="{FF2B5EF4-FFF2-40B4-BE49-F238E27FC236}">
                  <a16:creationId xmlns:a16="http://schemas.microsoft.com/office/drawing/2014/main" id="{3C52B270-0896-4319-8C17-9A3CE277F899}"/>
                </a:ext>
              </a:extLst>
            </p:cNvPr>
            <p:cNvSpPr txBox="1"/>
            <p:nvPr/>
          </p:nvSpPr>
          <p:spPr>
            <a:xfrm>
              <a:off x="2705364" y="2493361"/>
              <a:ext cx="205184"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EG" sz="1400" b="1" i="0" u="none" strike="noStrike" kern="1200" cap="none" spc="0" normalizeH="0" baseline="0" noProof="0" dirty="0">
                  <a:ln>
                    <a:noFill/>
                  </a:ln>
                  <a:solidFill>
                    <a:srgbClr val="014864"/>
                  </a:solidFill>
                  <a:effectLst/>
                  <a:uLnTx/>
                  <a:uFillTx/>
                  <a:latin typeface="Open Sans SemiBold" panose="020B0606030504020204" pitchFamily="34" charset="0"/>
                  <a:ea typeface="Open Sans SemiBold" panose="020B0606030504020204" pitchFamily="34" charset="0"/>
                  <a:cs typeface="Open Sans SemiBold" panose="020B0606030504020204" pitchFamily="34" charset="0"/>
                </a:rPr>
                <a:t>05</a:t>
              </a:r>
            </a:p>
          </p:txBody>
        </p:sp>
      </p:grpSp>
    </p:spTree>
    <p:extLst>
      <p:ext uri="{BB962C8B-B14F-4D97-AF65-F5344CB8AC3E}">
        <p14:creationId xmlns:p14="http://schemas.microsoft.com/office/powerpoint/2010/main" val="4755076"/>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7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Freeform: Shape 5">
            <a:extLst>
              <a:ext uri="{FF2B5EF4-FFF2-40B4-BE49-F238E27FC236}">
                <a16:creationId xmlns:a16="http://schemas.microsoft.com/office/drawing/2014/main" id="{0A7CCDDB-133E-4B8A-9F67-DFA768D20AED}"/>
              </a:ext>
            </a:extLst>
          </p:cNvPr>
          <p:cNvSpPr/>
          <p:nvPr/>
        </p:nvSpPr>
        <p:spPr>
          <a:xfrm rot="14926095" flipH="1" flipV="1">
            <a:off x="378943" y="2726987"/>
            <a:ext cx="1596766" cy="1461622"/>
          </a:xfrm>
          <a:custGeom>
            <a:avLst/>
            <a:gdLst>
              <a:gd name="connsiteX0" fmla="*/ 1330872 w 3860711"/>
              <a:gd name="connsiteY0" fmla="*/ 0 h 3533956"/>
              <a:gd name="connsiteX1" fmla="*/ 3860711 w 3860711"/>
              <a:gd name="connsiteY1" fmla="*/ 1692593 h 3533956"/>
              <a:gd name="connsiteX2" fmla="*/ 1532801 w 3860711"/>
              <a:gd name="connsiteY2" fmla="*/ 3529013 h 3533956"/>
              <a:gd name="connsiteX3" fmla="*/ 1330872 w 3860711"/>
              <a:gd name="connsiteY3" fmla="*/ 0 h 3533956"/>
            </a:gdLst>
            <a:ahLst/>
            <a:cxnLst>
              <a:cxn ang="0">
                <a:pos x="connsiteX0" y="connsiteY0"/>
              </a:cxn>
              <a:cxn ang="0">
                <a:pos x="connsiteX1" y="connsiteY1"/>
              </a:cxn>
              <a:cxn ang="0">
                <a:pos x="connsiteX2" y="connsiteY2"/>
              </a:cxn>
              <a:cxn ang="0">
                <a:pos x="connsiteX3" y="connsiteY3"/>
              </a:cxn>
            </a:cxnLst>
            <a:rect l="l" t="t" r="r" b="b"/>
            <a:pathLst>
              <a:path w="3860711" h="3533956">
                <a:moveTo>
                  <a:pt x="1330872" y="0"/>
                </a:moveTo>
                <a:cubicBezTo>
                  <a:pt x="1938567" y="0"/>
                  <a:pt x="3860711" y="754380"/>
                  <a:pt x="3860711" y="1692593"/>
                </a:cubicBezTo>
                <a:cubicBezTo>
                  <a:pt x="3860711" y="2582228"/>
                  <a:pt x="2246224" y="3455670"/>
                  <a:pt x="1532801" y="3529013"/>
                </a:cubicBezTo>
                <a:cubicBezTo>
                  <a:pt x="-7391" y="3687128"/>
                  <a:pt x="-873214" y="0"/>
                  <a:pt x="1330872" y="0"/>
                </a:cubicBezTo>
                <a:close/>
              </a:path>
            </a:pathLst>
          </a:custGeom>
          <a:gradFill flip="none" rotWithShape="1">
            <a:gsLst>
              <a:gs pos="12000">
                <a:schemeClr val="accent1">
                  <a:lumMod val="100000"/>
                </a:schemeClr>
              </a:gs>
              <a:gs pos="100000">
                <a:schemeClr val="accent1">
                  <a:lumMod val="100000"/>
                </a:schemeClr>
              </a:gs>
            </a:gsLst>
            <a:lin ang="6000000" scaled="0"/>
            <a:tileRect/>
          </a:gra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cs typeface="+mn-cs"/>
            </a:endParaRPr>
          </a:p>
        </p:txBody>
      </p:sp>
      <p:cxnSp>
        <p:nvCxnSpPr>
          <p:cNvPr id="2" name="Straight Connector 6">
            <a:extLst>
              <a:ext uri="{FF2B5EF4-FFF2-40B4-BE49-F238E27FC236}">
                <a16:creationId xmlns:a16="http://schemas.microsoft.com/office/drawing/2014/main" id="{DD3B55DD-654B-4AD0-8C99-D2D96D868D8C}"/>
              </a:ext>
            </a:extLst>
          </p:cNvPr>
          <p:cNvCxnSpPr>
            <a:cxnSpLocks/>
          </p:cNvCxnSpPr>
          <p:nvPr/>
        </p:nvCxnSpPr>
        <p:spPr>
          <a:xfrm>
            <a:off x="1747520" y="3429000"/>
            <a:ext cx="8067040" cy="0"/>
          </a:xfrm>
          <a:prstGeom prst="line">
            <a:avLst/>
          </a:prstGeom>
          <a:ln w="117475">
            <a:solidFill>
              <a:schemeClr val="accent1"/>
            </a:solidFill>
          </a:ln>
        </p:spPr>
        <p:style>
          <a:lnRef idx="1">
            <a:schemeClr val="accent1"/>
          </a:lnRef>
          <a:fillRef idx="0">
            <a:schemeClr val="accent1"/>
          </a:fillRef>
          <a:effectRef idx="0">
            <a:schemeClr val="accent1"/>
          </a:effectRef>
          <a:fontRef idx="minor">
            <a:schemeClr val="tx1"/>
          </a:fontRef>
        </p:style>
      </p:cxnSp>
      <p:sp>
        <p:nvSpPr>
          <p:cNvPr id="3" name="Freeform 15">
            <a:extLst>
              <a:ext uri="{FF2B5EF4-FFF2-40B4-BE49-F238E27FC236}">
                <a16:creationId xmlns:a16="http://schemas.microsoft.com/office/drawing/2014/main" id="{6269F530-C452-44DD-8122-71BCCCBB4658}"/>
              </a:ext>
            </a:extLst>
          </p:cNvPr>
          <p:cNvSpPr>
            <a:spLocks/>
          </p:cNvSpPr>
          <p:nvPr/>
        </p:nvSpPr>
        <p:spPr bwMode="auto">
          <a:xfrm>
            <a:off x="6346546" y="1693413"/>
            <a:ext cx="1059899" cy="3460438"/>
          </a:xfrm>
          <a:custGeom>
            <a:avLst/>
            <a:gdLst>
              <a:gd name="T0" fmla="*/ 23 w 372"/>
              <a:gd name="T1" fmla="*/ 1185 h 1199"/>
              <a:gd name="T2" fmla="*/ 49 w 372"/>
              <a:gd name="T3" fmla="*/ 1168 h 1199"/>
              <a:gd name="T4" fmla="*/ 142 w 372"/>
              <a:gd name="T5" fmla="*/ 1086 h 1199"/>
              <a:gd name="T6" fmla="*/ 165 w 372"/>
              <a:gd name="T7" fmla="*/ 1058 h 1199"/>
              <a:gd name="T8" fmla="*/ 231 w 372"/>
              <a:gd name="T9" fmla="*/ 958 h 1199"/>
              <a:gd name="T10" fmla="*/ 244 w 372"/>
              <a:gd name="T11" fmla="*/ 933 h 1199"/>
              <a:gd name="T12" fmla="*/ 260 w 372"/>
              <a:gd name="T13" fmla="*/ 899 h 1199"/>
              <a:gd name="T14" fmla="*/ 273 w 372"/>
              <a:gd name="T15" fmla="*/ 864 h 1199"/>
              <a:gd name="T16" fmla="*/ 283 w 372"/>
              <a:gd name="T17" fmla="*/ 835 h 1199"/>
              <a:gd name="T18" fmla="*/ 292 w 372"/>
              <a:gd name="T19" fmla="*/ 805 h 1199"/>
              <a:gd name="T20" fmla="*/ 301 w 372"/>
              <a:gd name="T21" fmla="*/ 767 h 1199"/>
              <a:gd name="T22" fmla="*/ 309 w 372"/>
              <a:gd name="T23" fmla="*/ 728 h 1199"/>
              <a:gd name="T24" fmla="*/ 313 w 372"/>
              <a:gd name="T25" fmla="*/ 696 h 1199"/>
              <a:gd name="T26" fmla="*/ 316 w 372"/>
              <a:gd name="T27" fmla="*/ 664 h 1199"/>
              <a:gd name="T28" fmla="*/ 319 w 372"/>
              <a:gd name="T29" fmla="*/ 624 h 1199"/>
              <a:gd name="T30" fmla="*/ 319 w 372"/>
              <a:gd name="T31" fmla="*/ 583 h 1199"/>
              <a:gd name="T32" fmla="*/ 317 w 372"/>
              <a:gd name="T33" fmla="*/ 551 h 1199"/>
              <a:gd name="T34" fmla="*/ 315 w 372"/>
              <a:gd name="T35" fmla="*/ 518 h 1199"/>
              <a:gd name="T36" fmla="*/ 310 w 372"/>
              <a:gd name="T37" fmla="*/ 478 h 1199"/>
              <a:gd name="T38" fmla="*/ 303 w 372"/>
              <a:gd name="T39" fmla="*/ 439 h 1199"/>
              <a:gd name="T40" fmla="*/ 296 w 372"/>
              <a:gd name="T41" fmla="*/ 408 h 1199"/>
              <a:gd name="T42" fmla="*/ 288 w 372"/>
              <a:gd name="T43" fmla="*/ 378 h 1199"/>
              <a:gd name="T44" fmla="*/ 276 w 372"/>
              <a:gd name="T45" fmla="*/ 342 h 1199"/>
              <a:gd name="T46" fmla="*/ 262 w 372"/>
              <a:gd name="T47" fmla="*/ 306 h 1199"/>
              <a:gd name="T48" fmla="*/ 251 w 372"/>
              <a:gd name="T49" fmla="*/ 279 h 1199"/>
              <a:gd name="T50" fmla="*/ 238 w 372"/>
              <a:gd name="T51" fmla="*/ 253 h 1199"/>
              <a:gd name="T52" fmla="*/ 173 w 372"/>
              <a:gd name="T53" fmla="*/ 150 h 1199"/>
              <a:gd name="T54" fmla="*/ 149 w 372"/>
              <a:gd name="T55" fmla="*/ 121 h 1199"/>
              <a:gd name="T56" fmla="*/ 55 w 372"/>
              <a:gd name="T57" fmla="*/ 35 h 1199"/>
              <a:gd name="T58" fmla="*/ 32 w 372"/>
              <a:gd name="T59" fmla="*/ 19 h 1199"/>
              <a:gd name="T60" fmla="*/ 0 w 372"/>
              <a:gd name="T61" fmla="*/ 0 h 1199"/>
              <a:gd name="T62" fmla="*/ 25 w 372"/>
              <a:gd name="T63" fmla="*/ 9 h 1199"/>
              <a:gd name="T64" fmla="*/ 54 w 372"/>
              <a:gd name="T65" fmla="*/ 23 h 1199"/>
              <a:gd name="T66" fmla="*/ 91 w 372"/>
              <a:gd name="T67" fmla="*/ 44 h 1199"/>
              <a:gd name="T68" fmla="*/ 107 w 372"/>
              <a:gd name="T69" fmla="*/ 55 h 1199"/>
              <a:gd name="T70" fmla="*/ 206 w 372"/>
              <a:gd name="T71" fmla="*/ 142 h 1199"/>
              <a:gd name="T72" fmla="*/ 224 w 372"/>
              <a:gd name="T73" fmla="*/ 163 h 1199"/>
              <a:gd name="T74" fmla="*/ 275 w 372"/>
              <a:gd name="T75" fmla="*/ 236 h 1199"/>
              <a:gd name="T76" fmla="*/ 290 w 372"/>
              <a:gd name="T77" fmla="*/ 263 h 1199"/>
              <a:gd name="T78" fmla="*/ 304 w 372"/>
              <a:gd name="T79" fmla="*/ 291 h 1199"/>
              <a:gd name="T80" fmla="*/ 320 w 372"/>
              <a:gd name="T81" fmla="*/ 327 h 1199"/>
              <a:gd name="T82" fmla="*/ 361 w 372"/>
              <a:gd name="T83" fmla="*/ 471 h 1199"/>
              <a:gd name="T84" fmla="*/ 369 w 372"/>
              <a:gd name="T85" fmla="*/ 531 h 1199"/>
              <a:gd name="T86" fmla="*/ 372 w 372"/>
              <a:gd name="T87" fmla="*/ 574 h 1199"/>
              <a:gd name="T88" fmla="*/ 372 w 372"/>
              <a:gd name="T89" fmla="*/ 616 h 1199"/>
              <a:gd name="T90" fmla="*/ 371 w 372"/>
              <a:gd name="T91" fmla="*/ 651 h 1199"/>
              <a:gd name="T92" fmla="*/ 363 w 372"/>
              <a:gd name="T93" fmla="*/ 719 h 1199"/>
              <a:gd name="T94" fmla="*/ 344 w 372"/>
              <a:gd name="T95" fmla="*/ 801 h 1199"/>
              <a:gd name="T96" fmla="*/ 335 w 372"/>
              <a:gd name="T97" fmla="*/ 833 h 1199"/>
              <a:gd name="T98" fmla="*/ 320 w 372"/>
              <a:gd name="T99" fmla="*/ 871 h 1199"/>
              <a:gd name="T100" fmla="*/ 304 w 372"/>
              <a:gd name="T101" fmla="*/ 908 h 1199"/>
              <a:gd name="T102" fmla="*/ 290 w 372"/>
              <a:gd name="T103" fmla="*/ 936 h 1199"/>
              <a:gd name="T104" fmla="*/ 275 w 372"/>
              <a:gd name="T105" fmla="*/ 963 h 1199"/>
              <a:gd name="T106" fmla="*/ 125 w 372"/>
              <a:gd name="T107" fmla="*/ 1131 h 1199"/>
              <a:gd name="T108" fmla="*/ 95 w 372"/>
              <a:gd name="T109" fmla="*/ 1152 h 1199"/>
              <a:gd name="T110" fmla="*/ 61 w 372"/>
              <a:gd name="T111" fmla="*/ 1172 h 1199"/>
              <a:gd name="T112" fmla="*/ 35 w 372"/>
              <a:gd name="T113" fmla="*/ 1184 h 1199"/>
              <a:gd name="T114" fmla="*/ 0 w 372"/>
              <a:gd name="T115" fmla="*/ 1199 h 1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72" h="1199">
                <a:moveTo>
                  <a:pt x="0" y="1199"/>
                </a:moveTo>
                <a:cubicBezTo>
                  <a:pt x="0" y="1199"/>
                  <a:pt x="5" y="1196"/>
                  <a:pt x="15" y="1190"/>
                </a:cubicBezTo>
                <a:cubicBezTo>
                  <a:pt x="17" y="1189"/>
                  <a:pt x="20" y="1187"/>
                  <a:pt x="23" y="1185"/>
                </a:cubicBezTo>
                <a:cubicBezTo>
                  <a:pt x="26" y="1183"/>
                  <a:pt x="29" y="1181"/>
                  <a:pt x="32" y="1179"/>
                </a:cubicBezTo>
                <a:cubicBezTo>
                  <a:pt x="36" y="1177"/>
                  <a:pt x="39" y="1175"/>
                  <a:pt x="43" y="1172"/>
                </a:cubicBezTo>
                <a:cubicBezTo>
                  <a:pt x="45" y="1171"/>
                  <a:pt x="47" y="1170"/>
                  <a:pt x="49" y="1168"/>
                </a:cubicBezTo>
                <a:cubicBezTo>
                  <a:pt x="51" y="1167"/>
                  <a:pt x="53" y="1165"/>
                  <a:pt x="55" y="1164"/>
                </a:cubicBezTo>
                <a:cubicBezTo>
                  <a:pt x="71" y="1152"/>
                  <a:pt x="91" y="1136"/>
                  <a:pt x="111" y="1117"/>
                </a:cubicBezTo>
                <a:cubicBezTo>
                  <a:pt x="121" y="1108"/>
                  <a:pt x="131" y="1097"/>
                  <a:pt x="142" y="1086"/>
                </a:cubicBezTo>
                <a:cubicBezTo>
                  <a:pt x="144" y="1083"/>
                  <a:pt x="147" y="1080"/>
                  <a:pt x="150" y="1077"/>
                </a:cubicBezTo>
                <a:cubicBezTo>
                  <a:pt x="152" y="1074"/>
                  <a:pt x="155" y="1071"/>
                  <a:pt x="157" y="1068"/>
                </a:cubicBezTo>
                <a:cubicBezTo>
                  <a:pt x="160" y="1065"/>
                  <a:pt x="163" y="1062"/>
                  <a:pt x="165" y="1058"/>
                </a:cubicBezTo>
                <a:cubicBezTo>
                  <a:pt x="168" y="1055"/>
                  <a:pt x="170" y="1052"/>
                  <a:pt x="173" y="1049"/>
                </a:cubicBezTo>
                <a:cubicBezTo>
                  <a:pt x="183" y="1035"/>
                  <a:pt x="193" y="1021"/>
                  <a:pt x="203" y="1006"/>
                </a:cubicBezTo>
                <a:cubicBezTo>
                  <a:pt x="213" y="991"/>
                  <a:pt x="222" y="975"/>
                  <a:pt x="231" y="958"/>
                </a:cubicBezTo>
                <a:cubicBezTo>
                  <a:pt x="234" y="954"/>
                  <a:pt x="236" y="950"/>
                  <a:pt x="238" y="946"/>
                </a:cubicBezTo>
                <a:cubicBezTo>
                  <a:pt x="239" y="943"/>
                  <a:pt x="240" y="941"/>
                  <a:pt x="241" y="939"/>
                </a:cubicBezTo>
                <a:cubicBezTo>
                  <a:pt x="242" y="937"/>
                  <a:pt x="243" y="935"/>
                  <a:pt x="244" y="933"/>
                </a:cubicBezTo>
                <a:cubicBezTo>
                  <a:pt x="246" y="928"/>
                  <a:pt x="249" y="924"/>
                  <a:pt x="251" y="919"/>
                </a:cubicBezTo>
                <a:cubicBezTo>
                  <a:pt x="253" y="915"/>
                  <a:pt x="255" y="910"/>
                  <a:pt x="257" y="906"/>
                </a:cubicBezTo>
                <a:cubicBezTo>
                  <a:pt x="258" y="904"/>
                  <a:pt x="259" y="901"/>
                  <a:pt x="260" y="899"/>
                </a:cubicBezTo>
                <a:cubicBezTo>
                  <a:pt x="261" y="897"/>
                  <a:pt x="261" y="894"/>
                  <a:pt x="262" y="892"/>
                </a:cubicBezTo>
                <a:cubicBezTo>
                  <a:pt x="264" y="888"/>
                  <a:pt x="266" y="883"/>
                  <a:pt x="268" y="878"/>
                </a:cubicBezTo>
                <a:cubicBezTo>
                  <a:pt x="270" y="873"/>
                  <a:pt x="272" y="869"/>
                  <a:pt x="273" y="864"/>
                </a:cubicBezTo>
                <a:cubicBezTo>
                  <a:pt x="274" y="862"/>
                  <a:pt x="275" y="859"/>
                  <a:pt x="276" y="857"/>
                </a:cubicBezTo>
                <a:cubicBezTo>
                  <a:pt x="277" y="854"/>
                  <a:pt x="278" y="852"/>
                  <a:pt x="278" y="850"/>
                </a:cubicBezTo>
                <a:cubicBezTo>
                  <a:pt x="280" y="845"/>
                  <a:pt x="282" y="840"/>
                  <a:pt x="283" y="835"/>
                </a:cubicBezTo>
                <a:cubicBezTo>
                  <a:pt x="285" y="830"/>
                  <a:pt x="286" y="825"/>
                  <a:pt x="288" y="820"/>
                </a:cubicBezTo>
                <a:cubicBezTo>
                  <a:pt x="288" y="818"/>
                  <a:pt x="289" y="815"/>
                  <a:pt x="290" y="813"/>
                </a:cubicBezTo>
                <a:cubicBezTo>
                  <a:pt x="290" y="810"/>
                  <a:pt x="291" y="808"/>
                  <a:pt x="292" y="805"/>
                </a:cubicBezTo>
                <a:cubicBezTo>
                  <a:pt x="293" y="800"/>
                  <a:pt x="295" y="795"/>
                  <a:pt x="296" y="790"/>
                </a:cubicBezTo>
                <a:cubicBezTo>
                  <a:pt x="297" y="785"/>
                  <a:pt x="298" y="780"/>
                  <a:pt x="299" y="775"/>
                </a:cubicBezTo>
                <a:cubicBezTo>
                  <a:pt x="300" y="772"/>
                  <a:pt x="301" y="769"/>
                  <a:pt x="301" y="767"/>
                </a:cubicBezTo>
                <a:cubicBezTo>
                  <a:pt x="302" y="764"/>
                  <a:pt x="302" y="762"/>
                  <a:pt x="303" y="759"/>
                </a:cubicBezTo>
                <a:cubicBezTo>
                  <a:pt x="304" y="754"/>
                  <a:pt x="305" y="749"/>
                  <a:pt x="306" y="744"/>
                </a:cubicBezTo>
                <a:cubicBezTo>
                  <a:pt x="307" y="738"/>
                  <a:pt x="308" y="733"/>
                  <a:pt x="309" y="728"/>
                </a:cubicBezTo>
                <a:cubicBezTo>
                  <a:pt x="309" y="725"/>
                  <a:pt x="309" y="723"/>
                  <a:pt x="310" y="720"/>
                </a:cubicBezTo>
                <a:cubicBezTo>
                  <a:pt x="311" y="712"/>
                  <a:pt x="311" y="712"/>
                  <a:pt x="311" y="712"/>
                </a:cubicBezTo>
                <a:cubicBezTo>
                  <a:pt x="312" y="707"/>
                  <a:pt x="312" y="701"/>
                  <a:pt x="313" y="696"/>
                </a:cubicBezTo>
                <a:cubicBezTo>
                  <a:pt x="314" y="691"/>
                  <a:pt x="314" y="685"/>
                  <a:pt x="315" y="680"/>
                </a:cubicBezTo>
                <a:cubicBezTo>
                  <a:pt x="315" y="677"/>
                  <a:pt x="315" y="675"/>
                  <a:pt x="316" y="672"/>
                </a:cubicBezTo>
                <a:cubicBezTo>
                  <a:pt x="316" y="664"/>
                  <a:pt x="316" y="664"/>
                  <a:pt x="316" y="664"/>
                </a:cubicBezTo>
                <a:cubicBezTo>
                  <a:pt x="317" y="659"/>
                  <a:pt x="317" y="653"/>
                  <a:pt x="317" y="648"/>
                </a:cubicBezTo>
                <a:cubicBezTo>
                  <a:pt x="318" y="642"/>
                  <a:pt x="318" y="637"/>
                  <a:pt x="318" y="632"/>
                </a:cubicBezTo>
                <a:cubicBezTo>
                  <a:pt x="319" y="624"/>
                  <a:pt x="319" y="624"/>
                  <a:pt x="319" y="624"/>
                </a:cubicBezTo>
                <a:cubicBezTo>
                  <a:pt x="319" y="615"/>
                  <a:pt x="319" y="615"/>
                  <a:pt x="319" y="615"/>
                </a:cubicBezTo>
                <a:cubicBezTo>
                  <a:pt x="319" y="600"/>
                  <a:pt x="319" y="600"/>
                  <a:pt x="319" y="600"/>
                </a:cubicBezTo>
                <a:cubicBezTo>
                  <a:pt x="319" y="583"/>
                  <a:pt x="319" y="583"/>
                  <a:pt x="319" y="583"/>
                </a:cubicBezTo>
                <a:cubicBezTo>
                  <a:pt x="318" y="574"/>
                  <a:pt x="318" y="574"/>
                  <a:pt x="318" y="574"/>
                </a:cubicBezTo>
                <a:cubicBezTo>
                  <a:pt x="318" y="566"/>
                  <a:pt x="318" y="566"/>
                  <a:pt x="318" y="566"/>
                </a:cubicBezTo>
                <a:cubicBezTo>
                  <a:pt x="318" y="561"/>
                  <a:pt x="318" y="556"/>
                  <a:pt x="317" y="551"/>
                </a:cubicBezTo>
                <a:cubicBezTo>
                  <a:pt x="317" y="545"/>
                  <a:pt x="317" y="540"/>
                  <a:pt x="316" y="534"/>
                </a:cubicBezTo>
                <a:cubicBezTo>
                  <a:pt x="316" y="526"/>
                  <a:pt x="316" y="526"/>
                  <a:pt x="316" y="526"/>
                </a:cubicBezTo>
                <a:cubicBezTo>
                  <a:pt x="315" y="524"/>
                  <a:pt x="315" y="521"/>
                  <a:pt x="315" y="518"/>
                </a:cubicBezTo>
                <a:cubicBezTo>
                  <a:pt x="314" y="513"/>
                  <a:pt x="314" y="508"/>
                  <a:pt x="313" y="502"/>
                </a:cubicBezTo>
                <a:cubicBezTo>
                  <a:pt x="312" y="497"/>
                  <a:pt x="312" y="492"/>
                  <a:pt x="311" y="486"/>
                </a:cubicBezTo>
                <a:cubicBezTo>
                  <a:pt x="310" y="478"/>
                  <a:pt x="310" y="478"/>
                  <a:pt x="310" y="478"/>
                </a:cubicBezTo>
                <a:cubicBezTo>
                  <a:pt x="309" y="476"/>
                  <a:pt x="309" y="473"/>
                  <a:pt x="308" y="471"/>
                </a:cubicBezTo>
                <a:cubicBezTo>
                  <a:pt x="308" y="465"/>
                  <a:pt x="307" y="460"/>
                  <a:pt x="306" y="455"/>
                </a:cubicBezTo>
                <a:cubicBezTo>
                  <a:pt x="305" y="450"/>
                  <a:pt x="304" y="444"/>
                  <a:pt x="303" y="439"/>
                </a:cubicBezTo>
                <a:cubicBezTo>
                  <a:pt x="302" y="437"/>
                  <a:pt x="302" y="434"/>
                  <a:pt x="301" y="431"/>
                </a:cubicBezTo>
                <a:cubicBezTo>
                  <a:pt x="301" y="429"/>
                  <a:pt x="300" y="426"/>
                  <a:pt x="299" y="424"/>
                </a:cubicBezTo>
                <a:cubicBezTo>
                  <a:pt x="298" y="419"/>
                  <a:pt x="297" y="414"/>
                  <a:pt x="296" y="408"/>
                </a:cubicBezTo>
                <a:cubicBezTo>
                  <a:pt x="294" y="403"/>
                  <a:pt x="293" y="398"/>
                  <a:pt x="292" y="393"/>
                </a:cubicBezTo>
                <a:cubicBezTo>
                  <a:pt x="291" y="391"/>
                  <a:pt x="290" y="388"/>
                  <a:pt x="290" y="386"/>
                </a:cubicBezTo>
                <a:cubicBezTo>
                  <a:pt x="289" y="383"/>
                  <a:pt x="288" y="381"/>
                  <a:pt x="288" y="378"/>
                </a:cubicBezTo>
                <a:cubicBezTo>
                  <a:pt x="286" y="373"/>
                  <a:pt x="285" y="368"/>
                  <a:pt x="283" y="363"/>
                </a:cubicBezTo>
                <a:cubicBezTo>
                  <a:pt x="281" y="359"/>
                  <a:pt x="280" y="354"/>
                  <a:pt x="278" y="349"/>
                </a:cubicBezTo>
                <a:cubicBezTo>
                  <a:pt x="277" y="346"/>
                  <a:pt x="277" y="344"/>
                  <a:pt x="276" y="342"/>
                </a:cubicBezTo>
                <a:cubicBezTo>
                  <a:pt x="275" y="339"/>
                  <a:pt x="274" y="337"/>
                  <a:pt x="273" y="334"/>
                </a:cubicBezTo>
                <a:cubicBezTo>
                  <a:pt x="271" y="330"/>
                  <a:pt x="270" y="325"/>
                  <a:pt x="268" y="320"/>
                </a:cubicBezTo>
                <a:cubicBezTo>
                  <a:pt x="266" y="316"/>
                  <a:pt x="264" y="311"/>
                  <a:pt x="262" y="306"/>
                </a:cubicBezTo>
                <a:cubicBezTo>
                  <a:pt x="261" y="304"/>
                  <a:pt x="260" y="302"/>
                  <a:pt x="260" y="299"/>
                </a:cubicBezTo>
                <a:cubicBezTo>
                  <a:pt x="259" y="297"/>
                  <a:pt x="258" y="295"/>
                  <a:pt x="257" y="292"/>
                </a:cubicBezTo>
                <a:cubicBezTo>
                  <a:pt x="255" y="288"/>
                  <a:pt x="253" y="283"/>
                  <a:pt x="251" y="279"/>
                </a:cubicBezTo>
                <a:cubicBezTo>
                  <a:pt x="249" y="275"/>
                  <a:pt x="246" y="270"/>
                  <a:pt x="244" y="266"/>
                </a:cubicBezTo>
                <a:cubicBezTo>
                  <a:pt x="243" y="264"/>
                  <a:pt x="242" y="261"/>
                  <a:pt x="241" y="259"/>
                </a:cubicBezTo>
                <a:cubicBezTo>
                  <a:pt x="240" y="257"/>
                  <a:pt x="239" y="255"/>
                  <a:pt x="238" y="253"/>
                </a:cubicBezTo>
                <a:cubicBezTo>
                  <a:pt x="236" y="249"/>
                  <a:pt x="233" y="244"/>
                  <a:pt x="231" y="240"/>
                </a:cubicBezTo>
                <a:cubicBezTo>
                  <a:pt x="222" y="223"/>
                  <a:pt x="213" y="207"/>
                  <a:pt x="203" y="192"/>
                </a:cubicBezTo>
                <a:cubicBezTo>
                  <a:pt x="193" y="177"/>
                  <a:pt x="183" y="163"/>
                  <a:pt x="173" y="150"/>
                </a:cubicBezTo>
                <a:cubicBezTo>
                  <a:pt x="170" y="146"/>
                  <a:pt x="168" y="143"/>
                  <a:pt x="165" y="140"/>
                </a:cubicBezTo>
                <a:cubicBezTo>
                  <a:pt x="162" y="137"/>
                  <a:pt x="160" y="134"/>
                  <a:pt x="157" y="130"/>
                </a:cubicBezTo>
                <a:cubicBezTo>
                  <a:pt x="155" y="127"/>
                  <a:pt x="152" y="124"/>
                  <a:pt x="149" y="121"/>
                </a:cubicBezTo>
                <a:cubicBezTo>
                  <a:pt x="147" y="118"/>
                  <a:pt x="144" y="115"/>
                  <a:pt x="142" y="113"/>
                </a:cubicBezTo>
                <a:cubicBezTo>
                  <a:pt x="131" y="101"/>
                  <a:pt x="121" y="91"/>
                  <a:pt x="111" y="81"/>
                </a:cubicBezTo>
                <a:cubicBezTo>
                  <a:pt x="90" y="62"/>
                  <a:pt x="71" y="46"/>
                  <a:pt x="55" y="35"/>
                </a:cubicBezTo>
                <a:cubicBezTo>
                  <a:pt x="53" y="33"/>
                  <a:pt x="51" y="32"/>
                  <a:pt x="49" y="30"/>
                </a:cubicBezTo>
                <a:cubicBezTo>
                  <a:pt x="47" y="29"/>
                  <a:pt x="45" y="28"/>
                  <a:pt x="43" y="26"/>
                </a:cubicBezTo>
                <a:cubicBezTo>
                  <a:pt x="39" y="24"/>
                  <a:pt x="36" y="21"/>
                  <a:pt x="32" y="19"/>
                </a:cubicBezTo>
                <a:cubicBezTo>
                  <a:pt x="29" y="17"/>
                  <a:pt x="26" y="15"/>
                  <a:pt x="23" y="13"/>
                </a:cubicBezTo>
                <a:cubicBezTo>
                  <a:pt x="20" y="11"/>
                  <a:pt x="17" y="10"/>
                  <a:pt x="15" y="8"/>
                </a:cubicBezTo>
                <a:cubicBezTo>
                  <a:pt x="5" y="3"/>
                  <a:pt x="0" y="0"/>
                  <a:pt x="0" y="0"/>
                </a:cubicBezTo>
                <a:cubicBezTo>
                  <a:pt x="0" y="0"/>
                  <a:pt x="2" y="0"/>
                  <a:pt x="4" y="1"/>
                </a:cubicBezTo>
                <a:cubicBezTo>
                  <a:pt x="7" y="2"/>
                  <a:pt x="11" y="4"/>
                  <a:pt x="16" y="6"/>
                </a:cubicBezTo>
                <a:cubicBezTo>
                  <a:pt x="19" y="7"/>
                  <a:pt x="22" y="8"/>
                  <a:pt x="25" y="9"/>
                </a:cubicBezTo>
                <a:cubicBezTo>
                  <a:pt x="28" y="11"/>
                  <a:pt x="32" y="12"/>
                  <a:pt x="35" y="14"/>
                </a:cubicBezTo>
                <a:cubicBezTo>
                  <a:pt x="39" y="16"/>
                  <a:pt x="43" y="18"/>
                  <a:pt x="47" y="20"/>
                </a:cubicBezTo>
                <a:cubicBezTo>
                  <a:pt x="50" y="21"/>
                  <a:pt x="52" y="22"/>
                  <a:pt x="54" y="23"/>
                </a:cubicBezTo>
                <a:cubicBezTo>
                  <a:pt x="56" y="24"/>
                  <a:pt x="58" y="25"/>
                  <a:pt x="61" y="26"/>
                </a:cubicBezTo>
                <a:cubicBezTo>
                  <a:pt x="65" y="29"/>
                  <a:pt x="70" y="32"/>
                  <a:pt x="75" y="34"/>
                </a:cubicBezTo>
                <a:cubicBezTo>
                  <a:pt x="80" y="37"/>
                  <a:pt x="86" y="41"/>
                  <a:pt x="91" y="44"/>
                </a:cubicBezTo>
                <a:cubicBezTo>
                  <a:pt x="92" y="45"/>
                  <a:pt x="94" y="46"/>
                  <a:pt x="95" y="46"/>
                </a:cubicBezTo>
                <a:cubicBezTo>
                  <a:pt x="96" y="47"/>
                  <a:pt x="98" y="48"/>
                  <a:pt x="99" y="49"/>
                </a:cubicBezTo>
                <a:cubicBezTo>
                  <a:pt x="102" y="51"/>
                  <a:pt x="105" y="53"/>
                  <a:pt x="107" y="55"/>
                </a:cubicBezTo>
                <a:cubicBezTo>
                  <a:pt x="113" y="58"/>
                  <a:pt x="119" y="63"/>
                  <a:pt x="125" y="67"/>
                </a:cubicBezTo>
                <a:cubicBezTo>
                  <a:pt x="148" y="85"/>
                  <a:pt x="173" y="106"/>
                  <a:pt x="197" y="132"/>
                </a:cubicBezTo>
                <a:cubicBezTo>
                  <a:pt x="200" y="136"/>
                  <a:pt x="203" y="139"/>
                  <a:pt x="206" y="142"/>
                </a:cubicBezTo>
                <a:cubicBezTo>
                  <a:pt x="208" y="144"/>
                  <a:pt x="209" y="146"/>
                  <a:pt x="211" y="147"/>
                </a:cubicBezTo>
                <a:cubicBezTo>
                  <a:pt x="212" y="149"/>
                  <a:pt x="214" y="151"/>
                  <a:pt x="215" y="153"/>
                </a:cubicBezTo>
                <a:cubicBezTo>
                  <a:pt x="218" y="156"/>
                  <a:pt x="221" y="160"/>
                  <a:pt x="224" y="163"/>
                </a:cubicBezTo>
                <a:cubicBezTo>
                  <a:pt x="227" y="167"/>
                  <a:pt x="230" y="171"/>
                  <a:pt x="233" y="174"/>
                </a:cubicBezTo>
                <a:cubicBezTo>
                  <a:pt x="245" y="189"/>
                  <a:pt x="256" y="206"/>
                  <a:pt x="267" y="223"/>
                </a:cubicBezTo>
                <a:cubicBezTo>
                  <a:pt x="269" y="227"/>
                  <a:pt x="272" y="231"/>
                  <a:pt x="275" y="236"/>
                </a:cubicBezTo>
                <a:cubicBezTo>
                  <a:pt x="276" y="238"/>
                  <a:pt x="277" y="240"/>
                  <a:pt x="279" y="242"/>
                </a:cubicBezTo>
                <a:cubicBezTo>
                  <a:pt x="280" y="244"/>
                  <a:pt x="281" y="247"/>
                  <a:pt x="282" y="249"/>
                </a:cubicBezTo>
                <a:cubicBezTo>
                  <a:pt x="285" y="253"/>
                  <a:pt x="287" y="258"/>
                  <a:pt x="290" y="263"/>
                </a:cubicBezTo>
                <a:cubicBezTo>
                  <a:pt x="292" y="267"/>
                  <a:pt x="295" y="272"/>
                  <a:pt x="297" y="276"/>
                </a:cubicBezTo>
                <a:cubicBezTo>
                  <a:pt x="298" y="279"/>
                  <a:pt x="300" y="281"/>
                  <a:pt x="301" y="283"/>
                </a:cubicBezTo>
                <a:cubicBezTo>
                  <a:pt x="302" y="286"/>
                  <a:pt x="303" y="288"/>
                  <a:pt x="304" y="291"/>
                </a:cubicBezTo>
                <a:cubicBezTo>
                  <a:pt x="306" y="295"/>
                  <a:pt x="309" y="300"/>
                  <a:pt x="311" y="305"/>
                </a:cubicBezTo>
                <a:cubicBezTo>
                  <a:pt x="313" y="310"/>
                  <a:pt x="315" y="315"/>
                  <a:pt x="317" y="320"/>
                </a:cubicBezTo>
                <a:cubicBezTo>
                  <a:pt x="318" y="322"/>
                  <a:pt x="319" y="325"/>
                  <a:pt x="320" y="327"/>
                </a:cubicBezTo>
                <a:cubicBezTo>
                  <a:pt x="321" y="330"/>
                  <a:pt x="322" y="332"/>
                  <a:pt x="323" y="335"/>
                </a:cubicBezTo>
                <a:cubicBezTo>
                  <a:pt x="339" y="375"/>
                  <a:pt x="352" y="419"/>
                  <a:pt x="360" y="463"/>
                </a:cubicBezTo>
                <a:cubicBezTo>
                  <a:pt x="360" y="466"/>
                  <a:pt x="361" y="469"/>
                  <a:pt x="361" y="471"/>
                </a:cubicBezTo>
                <a:cubicBezTo>
                  <a:pt x="363" y="480"/>
                  <a:pt x="363" y="480"/>
                  <a:pt x="363" y="480"/>
                </a:cubicBezTo>
                <a:cubicBezTo>
                  <a:pt x="364" y="485"/>
                  <a:pt x="365" y="491"/>
                  <a:pt x="365" y="497"/>
                </a:cubicBezTo>
                <a:cubicBezTo>
                  <a:pt x="367" y="508"/>
                  <a:pt x="368" y="519"/>
                  <a:pt x="369" y="531"/>
                </a:cubicBezTo>
                <a:cubicBezTo>
                  <a:pt x="370" y="536"/>
                  <a:pt x="370" y="542"/>
                  <a:pt x="371" y="548"/>
                </a:cubicBezTo>
                <a:cubicBezTo>
                  <a:pt x="371" y="554"/>
                  <a:pt x="371" y="559"/>
                  <a:pt x="371" y="565"/>
                </a:cubicBezTo>
                <a:cubicBezTo>
                  <a:pt x="372" y="574"/>
                  <a:pt x="372" y="574"/>
                  <a:pt x="372" y="574"/>
                </a:cubicBezTo>
                <a:cubicBezTo>
                  <a:pt x="372" y="582"/>
                  <a:pt x="372" y="582"/>
                  <a:pt x="372" y="582"/>
                </a:cubicBezTo>
                <a:cubicBezTo>
                  <a:pt x="372" y="599"/>
                  <a:pt x="372" y="599"/>
                  <a:pt x="372" y="599"/>
                </a:cubicBezTo>
                <a:cubicBezTo>
                  <a:pt x="372" y="616"/>
                  <a:pt x="372" y="616"/>
                  <a:pt x="372" y="616"/>
                </a:cubicBezTo>
                <a:cubicBezTo>
                  <a:pt x="372" y="625"/>
                  <a:pt x="372" y="625"/>
                  <a:pt x="372" y="625"/>
                </a:cubicBezTo>
                <a:cubicBezTo>
                  <a:pt x="371" y="634"/>
                  <a:pt x="371" y="634"/>
                  <a:pt x="371" y="634"/>
                </a:cubicBezTo>
                <a:cubicBezTo>
                  <a:pt x="371" y="639"/>
                  <a:pt x="371" y="645"/>
                  <a:pt x="371" y="651"/>
                </a:cubicBezTo>
                <a:cubicBezTo>
                  <a:pt x="370" y="656"/>
                  <a:pt x="370" y="662"/>
                  <a:pt x="369" y="668"/>
                </a:cubicBezTo>
                <a:cubicBezTo>
                  <a:pt x="368" y="679"/>
                  <a:pt x="367" y="690"/>
                  <a:pt x="365" y="702"/>
                </a:cubicBezTo>
                <a:cubicBezTo>
                  <a:pt x="364" y="707"/>
                  <a:pt x="364" y="713"/>
                  <a:pt x="363" y="719"/>
                </a:cubicBezTo>
                <a:cubicBezTo>
                  <a:pt x="361" y="727"/>
                  <a:pt x="361" y="727"/>
                  <a:pt x="361" y="727"/>
                </a:cubicBezTo>
                <a:cubicBezTo>
                  <a:pt x="361" y="730"/>
                  <a:pt x="360" y="733"/>
                  <a:pt x="360" y="735"/>
                </a:cubicBezTo>
                <a:cubicBezTo>
                  <a:pt x="356" y="758"/>
                  <a:pt x="350" y="779"/>
                  <a:pt x="344" y="801"/>
                </a:cubicBezTo>
                <a:cubicBezTo>
                  <a:pt x="343" y="806"/>
                  <a:pt x="341" y="811"/>
                  <a:pt x="340" y="817"/>
                </a:cubicBezTo>
                <a:cubicBezTo>
                  <a:pt x="339" y="819"/>
                  <a:pt x="338" y="822"/>
                  <a:pt x="337" y="825"/>
                </a:cubicBezTo>
                <a:cubicBezTo>
                  <a:pt x="336" y="827"/>
                  <a:pt x="335" y="830"/>
                  <a:pt x="335" y="833"/>
                </a:cubicBezTo>
                <a:cubicBezTo>
                  <a:pt x="333" y="838"/>
                  <a:pt x="331" y="843"/>
                  <a:pt x="329" y="848"/>
                </a:cubicBezTo>
                <a:cubicBezTo>
                  <a:pt x="327" y="853"/>
                  <a:pt x="325" y="858"/>
                  <a:pt x="323" y="863"/>
                </a:cubicBezTo>
                <a:cubicBezTo>
                  <a:pt x="322" y="866"/>
                  <a:pt x="321" y="868"/>
                  <a:pt x="320" y="871"/>
                </a:cubicBezTo>
                <a:cubicBezTo>
                  <a:pt x="319" y="873"/>
                  <a:pt x="318" y="876"/>
                  <a:pt x="317" y="878"/>
                </a:cubicBezTo>
                <a:cubicBezTo>
                  <a:pt x="315" y="883"/>
                  <a:pt x="313" y="888"/>
                  <a:pt x="311" y="893"/>
                </a:cubicBezTo>
                <a:cubicBezTo>
                  <a:pt x="309" y="898"/>
                  <a:pt x="306" y="903"/>
                  <a:pt x="304" y="908"/>
                </a:cubicBezTo>
                <a:cubicBezTo>
                  <a:pt x="303" y="910"/>
                  <a:pt x="302" y="912"/>
                  <a:pt x="301" y="915"/>
                </a:cubicBezTo>
                <a:cubicBezTo>
                  <a:pt x="300" y="917"/>
                  <a:pt x="298" y="920"/>
                  <a:pt x="297" y="922"/>
                </a:cubicBezTo>
                <a:cubicBezTo>
                  <a:pt x="295" y="927"/>
                  <a:pt x="292" y="931"/>
                  <a:pt x="290" y="936"/>
                </a:cubicBezTo>
                <a:cubicBezTo>
                  <a:pt x="287" y="940"/>
                  <a:pt x="285" y="945"/>
                  <a:pt x="282" y="949"/>
                </a:cubicBezTo>
                <a:cubicBezTo>
                  <a:pt x="281" y="952"/>
                  <a:pt x="280" y="954"/>
                  <a:pt x="279" y="956"/>
                </a:cubicBezTo>
                <a:cubicBezTo>
                  <a:pt x="277" y="958"/>
                  <a:pt x="276" y="961"/>
                  <a:pt x="275" y="963"/>
                </a:cubicBezTo>
                <a:cubicBezTo>
                  <a:pt x="272" y="967"/>
                  <a:pt x="269" y="971"/>
                  <a:pt x="267" y="976"/>
                </a:cubicBezTo>
                <a:cubicBezTo>
                  <a:pt x="245" y="1010"/>
                  <a:pt x="221" y="1040"/>
                  <a:pt x="197" y="1066"/>
                </a:cubicBezTo>
                <a:cubicBezTo>
                  <a:pt x="173" y="1092"/>
                  <a:pt x="148" y="1114"/>
                  <a:pt x="125" y="1131"/>
                </a:cubicBezTo>
                <a:cubicBezTo>
                  <a:pt x="119" y="1136"/>
                  <a:pt x="113" y="1140"/>
                  <a:pt x="107" y="1144"/>
                </a:cubicBezTo>
                <a:cubicBezTo>
                  <a:pt x="105" y="1145"/>
                  <a:pt x="102" y="1147"/>
                  <a:pt x="99" y="1149"/>
                </a:cubicBezTo>
                <a:cubicBezTo>
                  <a:pt x="98" y="1150"/>
                  <a:pt x="96" y="1151"/>
                  <a:pt x="95" y="1152"/>
                </a:cubicBezTo>
                <a:cubicBezTo>
                  <a:pt x="94" y="1153"/>
                  <a:pt x="92" y="1154"/>
                  <a:pt x="91" y="1154"/>
                </a:cubicBezTo>
                <a:cubicBezTo>
                  <a:pt x="86" y="1158"/>
                  <a:pt x="80" y="1161"/>
                  <a:pt x="75" y="1164"/>
                </a:cubicBezTo>
                <a:cubicBezTo>
                  <a:pt x="70" y="1167"/>
                  <a:pt x="65" y="1169"/>
                  <a:pt x="61" y="1172"/>
                </a:cubicBezTo>
                <a:cubicBezTo>
                  <a:pt x="58" y="1173"/>
                  <a:pt x="56" y="1174"/>
                  <a:pt x="54" y="1176"/>
                </a:cubicBezTo>
                <a:cubicBezTo>
                  <a:pt x="52" y="1177"/>
                  <a:pt x="50" y="1178"/>
                  <a:pt x="47" y="1179"/>
                </a:cubicBezTo>
                <a:cubicBezTo>
                  <a:pt x="43" y="1181"/>
                  <a:pt x="39" y="1183"/>
                  <a:pt x="35" y="1184"/>
                </a:cubicBezTo>
                <a:cubicBezTo>
                  <a:pt x="32" y="1186"/>
                  <a:pt x="28" y="1188"/>
                  <a:pt x="25" y="1189"/>
                </a:cubicBezTo>
                <a:cubicBezTo>
                  <a:pt x="22" y="1190"/>
                  <a:pt x="19" y="1192"/>
                  <a:pt x="16" y="1193"/>
                </a:cubicBezTo>
                <a:cubicBezTo>
                  <a:pt x="6" y="1197"/>
                  <a:pt x="0" y="1199"/>
                  <a:pt x="0" y="1199"/>
                </a:cubicBezTo>
                <a:close/>
              </a:path>
            </a:pathLst>
          </a:custGeom>
          <a:solidFill>
            <a:schemeClr val="accent1">
              <a:lumMod val="100000"/>
            </a:schemeClr>
          </a:solidFill>
          <a:ln>
            <a:noFill/>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2400" b="0" i="0" u="none" strike="noStrike" kern="1200" cap="none" spc="0" normalizeH="0" baseline="0" noProof="0">
              <a:ln>
                <a:noFill/>
              </a:ln>
              <a:solidFill>
                <a:srgbClr val="000000"/>
              </a:solidFill>
              <a:effectLst/>
              <a:uLnTx/>
              <a:uFillTx/>
              <a:latin typeface="Arial"/>
              <a:cs typeface="+mn-cs"/>
            </a:endParaRPr>
          </a:p>
        </p:txBody>
      </p:sp>
      <p:sp>
        <p:nvSpPr>
          <p:cNvPr id="4" name="Freeform 16">
            <a:extLst>
              <a:ext uri="{FF2B5EF4-FFF2-40B4-BE49-F238E27FC236}">
                <a16:creationId xmlns:a16="http://schemas.microsoft.com/office/drawing/2014/main" id="{6555CE2E-B342-4804-B8B3-2B91BC2CC33B}"/>
              </a:ext>
            </a:extLst>
          </p:cNvPr>
          <p:cNvSpPr>
            <a:spLocks/>
          </p:cNvSpPr>
          <p:nvPr/>
        </p:nvSpPr>
        <p:spPr bwMode="auto">
          <a:xfrm>
            <a:off x="4515423" y="1845134"/>
            <a:ext cx="969521" cy="3157000"/>
          </a:xfrm>
          <a:custGeom>
            <a:avLst/>
            <a:gdLst>
              <a:gd name="T0" fmla="*/ 21 w 340"/>
              <a:gd name="T1" fmla="*/ 1080 h 1093"/>
              <a:gd name="T2" fmla="*/ 44 w 340"/>
              <a:gd name="T3" fmla="*/ 1065 h 1093"/>
              <a:gd name="T4" fmla="*/ 157 w 340"/>
              <a:gd name="T5" fmla="*/ 956 h 1093"/>
              <a:gd name="T6" fmla="*/ 217 w 340"/>
              <a:gd name="T7" fmla="*/ 862 h 1093"/>
              <a:gd name="T8" fmla="*/ 228 w 340"/>
              <a:gd name="T9" fmla="*/ 838 h 1093"/>
              <a:gd name="T10" fmla="*/ 239 w 340"/>
              <a:gd name="T11" fmla="*/ 813 h 1093"/>
              <a:gd name="T12" fmla="*/ 251 w 340"/>
              <a:gd name="T13" fmla="*/ 781 h 1093"/>
              <a:gd name="T14" fmla="*/ 262 w 340"/>
              <a:gd name="T15" fmla="*/ 747 h 1093"/>
              <a:gd name="T16" fmla="*/ 269 w 340"/>
              <a:gd name="T17" fmla="*/ 720 h 1093"/>
              <a:gd name="T18" fmla="*/ 276 w 340"/>
              <a:gd name="T19" fmla="*/ 692 h 1093"/>
              <a:gd name="T20" fmla="*/ 282 w 340"/>
              <a:gd name="T21" fmla="*/ 656 h 1093"/>
              <a:gd name="T22" fmla="*/ 286 w 340"/>
              <a:gd name="T23" fmla="*/ 620 h 1093"/>
              <a:gd name="T24" fmla="*/ 289 w 340"/>
              <a:gd name="T25" fmla="*/ 590 h 1093"/>
              <a:gd name="T26" fmla="*/ 290 w 340"/>
              <a:gd name="T27" fmla="*/ 561 h 1093"/>
              <a:gd name="T28" fmla="*/ 290 w 340"/>
              <a:gd name="T29" fmla="*/ 524 h 1093"/>
              <a:gd name="T30" fmla="*/ 288 w 340"/>
              <a:gd name="T31" fmla="*/ 487 h 1093"/>
              <a:gd name="T32" fmla="*/ 285 w 340"/>
              <a:gd name="T33" fmla="*/ 458 h 1093"/>
              <a:gd name="T34" fmla="*/ 281 w 340"/>
              <a:gd name="T35" fmla="*/ 429 h 1093"/>
              <a:gd name="T36" fmla="*/ 274 w 340"/>
              <a:gd name="T37" fmla="*/ 393 h 1093"/>
              <a:gd name="T38" fmla="*/ 266 w 340"/>
              <a:gd name="T39" fmla="*/ 359 h 1093"/>
              <a:gd name="T40" fmla="*/ 258 w 340"/>
              <a:gd name="T41" fmla="*/ 331 h 1093"/>
              <a:gd name="T42" fmla="*/ 249 w 340"/>
              <a:gd name="T43" fmla="*/ 305 h 1093"/>
              <a:gd name="T44" fmla="*/ 236 w 340"/>
              <a:gd name="T45" fmla="*/ 273 h 1093"/>
              <a:gd name="T46" fmla="*/ 222 w 340"/>
              <a:gd name="T47" fmla="*/ 242 h 1093"/>
              <a:gd name="T48" fmla="*/ 211 w 340"/>
              <a:gd name="T49" fmla="*/ 219 h 1093"/>
              <a:gd name="T50" fmla="*/ 150 w 340"/>
              <a:gd name="T51" fmla="*/ 128 h 1093"/>
              <a:gd name="T52" fmla="*/ 129 w 340"/>
              <a:gd name="T53" fmla="*/ 103 h 1093"/>
              <a:gd name="T54" fmla="*/ 44 w 340"/>
              <a:gd name="T55" fmla="*/ 28 h 1093"/>
              <a:gd name="T56" fmla="*/ 21 w 340"/>
              <a:gd name="T57" fmla="*/ 12 h 1093"/>
              <a:gd name="T58" fmla="*/ 4 w 340"/>
              <a:gd name="T59" fmla="*/ 1 h 1093"/>
              <a:gd name="T60" fmla="*/ 32 w 340"/>
              <a:gd name="T61" fmla="*/ 13 h 1093"/>
              <a:gd name="T62" fmla="*/ 56 w 340"/>
              <a:gd name="T63" fmla="*/ 24 h 1093"/>
              <a:gd name="T64" fmla="*/ 87 w 340"/>
              <a:gd name="T65" fmla="*/ 42 h 1093"/>
              <a:gd name="T66" fmla="*/ 114 w 340"/>
              <a:gd name="T67" fmla="*/ 61 h 1093"/>
              <a:gd name="T68" fmla="*/ 193 w 340"/>
              <a:gd name="T69" fmla="*/ 134 h 1093"/>
              <a:gd name="T70" fmla="*/ 213 w 340"/>
              <a:gd name="T71" fmla="*/ 159 h 1093"/>
              <a:gd name="T72" fmla="*/ 254 w 340"/>
              <a:gd name="T73" fmla="*/ 221 h 1093"/>
              <a:gd name="T74" fmla="*/ 271 w 340"/>
              <a:gd name="T75" fmla="*/ 252 h 1093"/>
              <a:gd name="T76" fmla="*/ 284 w 340"/>
              <a:gd name="T77" fmla="*/ 278 h 1093"/>
              <a:gd name="T78" fmla="*/ 295 w 340"/>
              <a:gd name="T79" fmla="*/ 305 h 1093"/>
              <a:gd name="T80" fmla="*/ 331 w 340"/>
              <a:gd name="T81" fmla="*/ 437 h 1093"/>
              <a:gd name="T82" fmla="*/ 338 w 340"/>
              <a:gd name="T83" fmla="*/ 499 h 1093"/>
              <a:gd name="T84" fmla="*/ 340 w 340"/>
              <a:gd name="T85" fmla="*/ 531 h 1093"/>
              <a:gd name="T86" fmla="*/ 339 w 340"/>
              <a:gd name="T87" fmla="*/ 570 h 1093"/>
              <a:gd name="T88" fmla="*/ 337 w 340"/>
              <a:gd name="T89" fmla="*/ 609 h 1093"/>
              <a:gd name="T90" fmla="*/ 330 w 340"/>
              <a:gd name="T91" fmla="*/ 663 h 1093"/>
              <a:gd name="T92" fmla="*/ 292 w 340"/>
              <a:gd name="T93" fmla="*/ 794 h 1093"/>
              <a:gd name="T94" fmla="*/ 278 w 340"/>
              <a:gd name="T95" fmla="*/ 827 h 1093"/>
              <a:gd name="T96" fmla="*/ 265 w 340"/>
              <a:gd name="T97" fmla="*/ 853 h 1093"/>
              <a:gd name="T98" fmla="*/ 251 w 340"/>
              <a:gd name="T99" fmla="*/ 878 h 1093"/>
              <a:gd name="T100" fmla="*/ 114 w 340"/>
              <a:gd name="T101" fmla="*/ 1031 h 1093"/>
              <a:gd name="T102" fmla="*/ 87 w 340"/>
              <a:gd name="T103" fmla="*/ 1050 h 1093"/>
              <a:gd name="T104" fmla="*/ 56 w 340"/>
              <a:gd name="T105" fmla="*/ 1068 h 1093"/>
              <a:gd name="T106" fmla="*/ 32 w 340"/>
              <a:gd name="T107" fmla="*/ 1080 h 1093"/>
              <a:gd name="T108" fmla="*/ 0 w 340"/>
              <a:gd name="T109" fmla="*/ 1093 h 10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40" h="1093">
                <a:moveTo>
                  <a:pt x="0" y="1093"/>
                </a:moveTo>
                <a:cubicBezTo>
                  <a:pt x="0" y="1093"/>
                  <a:pt x="5" y="1090"/>
                  <a:pt x="14" y="1085"/>
                </a:cubicBezTo>
                <a:cubicBezTo>
                  <a:pt x="16" y="1084"/>
                  <a:pt x="18" y="1082"/>
                  <a:pt x="21" y="1080"/>
                </a:cubicBezTo>
                <a:cubicBezTo>
                  <a:pt x="23" y="1079"/>
                  <a:pt x="26" y="1077"/>
                  <a:pt x="29" y="1075"/>
                </a:cubicBezTo>
                <a:cubicBezTo>
                  <a:pt x="33" y="1073"/>
                  <a:pt x="36" y="1071"/>
                  <a:pt x="39" y="1068"/>
                </a:cubicBezTo>
                <a:cubicBezTo>
                  <a:pt x="41" y="1067"/>
                  <a:pt x="43" y="1066"/>
                  <a:pt x="44" y="1065"/>
                </a:cubicBezTo>
                <a:cubicBezTo>
                  <a:pt x="46" y="1063"/>
                  <a:pt x="48" y="1062"/>
                  <a:pt x="50" y="1061"/>
                </a:cubicBezTo>
                <a:cubicBezTo>
                  <a:pt x="65" y="1050"/>
                  <a:pt x="83" y="1036"/>
                  <a:pt x="101" y="1018"/>
                </a:cubicBezTo>
                <a:cubicBezTo>
                  <a:pt x="119" y="1001"/>
                  <a:pt x="139" y="980"/>
                  <a:pt x="157" y="956"/>
                </a:cubicBezTo>
                <a:cubicBezTo>
                  <a:pt x="167" y="943"/>
                  <a:pt x="176" y="931"/>
                  <a:pt x="185" y="917"/>
                </a:cubicBezTo>
                <a:cubicBezTo>
                  <a:pt x="194" y="903"/>
                  <a:pt x="202" y="888"/>
                  <a:pt x="211" y="873"/>
                </a:cubicBezTo>
                <a:cubicBezTo>
                  <a:pt x="213" y="869"/>
                  <a:pt x="215" y="866"/>
                  <a:pt x="217" y="862"/>
                </a:cubicBezTo>
                <a:cubicBezTo>
                  <a:pt x="218" y="860"/>
                  <a:pt x="219" y="858"/>
                  <a:pt x="220" y="856"/>
                </a:cubicBezTo>
                <a:cubicBezTo>
                  <a:pt x="221" y="854"/>
                  <a:pt x="222" y="852"/>
                  <a:pt x="223" y="850"/>
                </a:cubicBezTo>
                <a:cubicBezTo>
                  <a:pt x="224" y="846"/>
                  <a:pt x="226" y="842"/>
                  <a:pt x="228" y="838"/>
                </a:cubicBezTo>
                <a:cubicBezTo>
                  <a:pt x="230" y="834"/>
                  <a:pt x="232" y="830"/>
                  <a:pt x="234" y="826"/>
                </a:cubicBezTo>
                <a:cubicBezTo>
                  <a:pt x="235" y="824"/>
                  <a:pt x="235" y="821"/>
                  <a:pt x="236" y="819"/>
                </a:cubicBezTo>
                <a:cubicBezTo>
                  <a:pt x="237" y="817"/>
                  <a:pt x="238" y="815"/>
                  <a:pt x="239" y="813"/>
                </a:cubicBezTo>
                <a:cubicBezTo>
                  <a:pt x="241" y="809"/>
                  <a:pt x="242" y="805"/>
                  <a:pt x="244" y="800"/>
                </a:cubicBezTo>
                <a:cubicBezTo>
                  <a:pt x="246" y="796"/>
                  <a:pt x="247" y="792"/>
                  <a:pt x="249" y="787"/>
                </a:cubicBezTo>
                <a:cubicBezTo>
                  <a:pt x="250" y="785"/>
                  <a:pt x="250" y="783"/>
                  <a:pt x="251" y="781"/>
                </a:cubicBezTo>
                <a:cubicBezTo>
                  <a:pt x="252" y="779"/>
                  <a:pt x="253" y="776"/>
                  <a:pt x="253" y="774"/>
                </a:cubicBezTo>
                <a:cubicBezTo>
                  <a:pt x="255" y="770"/>
                  <a:pt x="256" y="765"/>
                  <a:pt x="258" y="761"/>
                </a:cubicBezTo>
                <a:cubicBezTo>
                  <a:pt x="259" y="756"/>
                  <a:pt x="260" y="752"/>
                  <a:pt x="262" y="747"/>
                </a:cubicBezTo>
                <a:cubicBezTo>
                  <a:pt x="262" y="745"/>
                  <a:pt x="263" y="743"/>
                  <a:pt x="264" y="741"/>
                </a:cubicBezTo>
                <a:cubicBezTo>
                  <a:pt x="264" y="738"/>
                  <a:pt x="265" y="736"/>
                  <a:pt x="266" y="734"/>
                </a:cubicBezTo>
                <a:cubicBezTo>
                  <a:pt x="267" y="729"/>
                  <a:pt x="268" y="725"/>
                  <a:pt x="269" y="720"/>
                </a:cubicBezTo>
                <a:cubicBezTo>
                  <a:pt x="270" y="715"/>
                  <a:pt x="271" y="711"/>
                  <a:pt x="273" y="706"/>
                </a:cubicBezTo>
                <a:cubicBezTo>
                  <a:pt x="273" y="704"/>
                  <a:pt x="274" y="701"/>
                  <a:pt x="274" y="699"/>
                </a:cubicBezTo>
                <a:cubicBezTo>
                  <a:pt x="275" y="697"/>
                  <a:pt x="275" y="694"/>
                  <a:pt x="276" y="692"/>
                </a:cubicBezTo>
                <a:cubicBezTo>
                  <a:pt x="276" y="687"/>
                  <a:pt x="277" y="682"/>
                  <a:pt x="278" y="678"/>
                </a:cubicBezTo>
                <a:cubicBezTo>
                  <a:pt x="279" y="673"/>
                  <a:pt x="280" y="668"/>
                  <a:pt x="281" y="663"/>
                </a:cubicBezTo>
                <a:cubicBezTo>
                  <a:pt x="281" y="661"/>
                  <a:pt x="282" y="659"/>
                  <a:pt x="282" y="656"/>
                </a:cubicBezTo>
                <a:cubicBezTo>
                  <a:pt x="283" y="649"/>
                  <a:pt x="283" y="649"/>
                  <a:pt x="283" y="649"/>
                </a:cubicBezTo>
                <a:cubicBezTo>
                  <a:pt x="284" y="644"/>
                  <a:pt x="284" y="639"/>
                  <a:pt x="285" y="634"/>
                </a:cubicBezTo>
                <a:cubicBezTo>
                  <a:pt x="285" y="630"/>
                  <a:pt x="286" y="625"/>
                  <a:pt x="286" y="620"/>
                </a:cubicBezTo>
                <a:cubicBezTo>
                  <a:pt x="287" y="617"/>
                  <a:pt x="287" y="615"/>
                  <a:pt x="287" y="612"/>
                </a:cubicBezTo>
                <a:cubicBezTo>
                  <a:pt x="288" y="605"/>
                  <a:pt x="288" y="605"/>
                  <a:pt x="288" y="605"/>
                </a:cubicBezTo>
                <a:cubicBezTo>
                  <a:pt x="288" y="600"/>
                  <a:pt x="289" y="595"/>
                  <a:pt x="289" y="590"/>
                </a:cubicBezTo>
                <a:cubicBezTo>
                  <a:pt x="289" y="586"/>
                  <a:pt x="289" y="581"/>
                  <a:pt x="290" y="576"/>
                </a:cubicBezTo>
                <a:cubicBezTo>
                  <a:pt x="290" y="568"/>
                  <a:pt x="290" y="568"/>
                  <a:pt x="290" y="568"/>
                </a:cubicBezTo>
                <a:cubicBezTo>
                  <a:pt x="290" y="561"/>
                  <a:pt x="290" y="561"/>
                  <a:pt x="290" y="561"/>
                </a:cubicBezTo>
                <a:cubicBezTo>
                  <a:pt x="290" y="547"/>
                  <a:pt x="290" y="547"/>
                  <a:pt x="290" y="547"/>
                </a:cubicBezTo>
                <a:cubicBezTo>
                  <a:pt x="290" y="531"/>
                  <a:pt x="290" y="531"/>
                  <a:pt x="290" y="531"/>
                </a:cubicBezTo>
                <a:cubicBezTo>
                  <a:pt x="290" y="524"/>
                  <a:pt x="290" y="524"/>
                  <a:pt x="290" y="524"/>
                </a:cubicBezTo>
                <a:cubicBezTo>
                  <a:pt x="290" y="516"/>
                  <a:pt x="290" y="516"/>
                  <a:pt x="290" y="516"/>
                </a:cubicBezTo>
                <a:cubicBezTo>
                  <a:pt x="289" y="512"/>
                  <a:pt x="289" y="507"/>
                  <a:pt x="289" y="502"/>
                </a:cubicBezTo>
                <a:cubicBezTo>
                  <a:pt x="289" y="497"/>
                  <a:pt x="288" y="492"/>
                  <a:pt x="288" y="487"/>
                </a:cubicBezTo>
                <a:cubicBezTo>
                  <a:pt x="287" y="480"/>
                  <a:pt x="287" y="480"/>
                  <a:pt x="287" y="480"/>
                </a:cubicBezTo>
                <a:cubicBezTo>
                  <a:pt x="287" y="477"/>
                  <a:pt x="287" y="475"/>
                  <a:pt x="286" y="473"/>
                </a:cubicBezTo>
                <a:cubicBezTo>
                  <a:pt x="286" y="468"/>
                  <a:pt x="285" y="463"/>
                  <a:pt x="285" y="458"/>
                </a:cubicBezTo>
                <a:cubicBezTo>
                  <a:pt x="284" y="453"/>
                  <a:pt x="284" y="448"/>
                  <a:pt x="283" y="443"/>
                </a:cubicBezTo>
                <a:cubicBezTo>
                  <a:pt x="282" y="436"/>
                  <a:pt x="282" y="436"/>
                  <a:pt x="282" y="436"/>
                </a:cubicBezTo>
                <a:cubicBezTo>
                  <a:pt x="282" y="434"/>
                  <a:pt x="281" y="431"/>
                  <a:pt x="281" y="429"/>
                </a:cubicBezTo>
                <a:cubicBezTo>
                  <a:pt x="280" y="424"/>
                  <a:pt x="279" y="419"/>
                  <a:pt x="278" y="415"/>
                </a:cubicBezTo>
                <a:cubicBezTo>
                  <a:pt x="277" y="410"/>
                  <a:pt x="276" y="405"/>
                  <a:pt x="275" y="401"/>
                </a:cubicBezTo>
                <a:cubicBezTo>
                  <a:pt x="275" y="398"/>
                  <a:pt x="275" y="396"/>
                  <a:pt x="274" y="393"/>
                </a:cubicBezTo>
                <a:cubicBezTo>
                  <a:pt x="274" y="391"/>
                  <a:pt x="273" y="389"/>
                  <a:pt x="272" y="386"/>
                </a:cubicBezTo>
                <a:cubicBezTo>
                  <a:pt x="271" y="382"/>
                  <a:pt x="270" y="377"/>
                  <a:pt x="269" y="372"/>
                </a:cubicBezTo>
                <a:cubicBezTo>
                  <a:pt x="268" y="368"/>
                  <a:pt x="267" y="363"/>
                  <a:pt x="266" y="359"/>
                </a:cubicBezTo>
                <a:cubicBezTo>
                  <a:pt x="265" y="356"/>
                  <a:pt x="264" y="354"/>
                  <a:pt x="264" y="352"/>
                </a:cubicBezTo>
                <a:cubicBezTo>
                  <a:pt x="263" y="349"/>
                  <a:pt x="262" y="347"/>
                  <a:pt x="262" y="345"/>
                </a:cubicBezTo>
                <a:cubicBezTo>
                  <a:pt x="260" y="340"/>
                  <a:pt x="259" y="336"/>
                  <a:pt x="258" y="331"/>
                </a:cubicBezTo>
                <a:cubicBezTo>
                  <a:pt x="256" y="327"/>
                  <a:pt x="255" y="323"/>
                  <a:pt x="253" y="318"/>
                </a:cubicBezTo>
                <a:cubicBezTo>
                  <a:pt x="253" y="316"/>
                  <a:pt x="252" y="314"/>
                  <a:pt x="251" y="311"/>
                </a:cubicBezTo>
                <a:cubicBezTo>
                  <a:pt x="250" y="309"/>
                  <a:pt x="250" y="307"/>
                  <a:pt x="249" y="305"/>
                </a:cubicBezTo>
                <a:cubicBezTo>
                  <a:pt x="247" y="301"/>
                  <a:pt x="246" y="296"/>
                  <a:pt x="244" y="292"/>
                </a:cubicBezTo>
                <a:cubicBezTo>
                  <a:pt x="242" y="288"/>
                  <a:pt x="241" y="284"/>
                  <a:pt x="239" y="279"/>
                </a:cubicBezTo>
                <a:cubicBezTo>
                  <a:pt x="238" y="277"/>
                  <a:pt x="237" y="275"/>
                  <a:pt x="236" y="273"/>
                </a:cubicBezTo>
                <a:cubicBezTo>
                  <a:pt x="235" y="271"/>
                  <a:pt x="234" y="269"/>
                  <a:pt x="234" y="267"/>
                </a:cubicBezTo>
                <a:cubicBezTo>
                  <a:pt x="232" y="263"/>
                  <a:pt x="230" y="259"/>
                  <a:pt x="228" y="254"/>
                </a:cubicBezTo>
                <a:cubicBezTo>
                  <a:pt x="226" y="250"/>
                  <a:pt x="224" y="246"/>
                  <a:pt x="222" y="242"/>
                </a:cubicBezTo>
                <a:cubicBezTo>
                  <a:pt x="221" y="240"/>
                  <a:pt x="221" y="238"/>
                  <a:pt x="220" y="237"/>
                </a:cubicBezTo>
                <a:cubicBezTo>
                  <a:pt x="219" y="235"/>
                  <a:pt x="218" y="233"/>
                  <a:pt x="217" y="231"/>
                </a:cubicBezTo>
                <a:cubicBezTo>
                  <a:pt x="215" y="227"/>
                  <a:pt x="213" y="223"/>
                  <a:pt x="211" y="219"/>
                </a:cubicBezTo>
                <a:cubicBezTo>
                  <a:pt x="202" y="204"/>
                  <a:pt x="194" y="189"/>
                  <a:pt x="185" y="176"/>
                </a:cubicBezTo>
                <a:cubicBezTo>
                  <a:pt x="176" y="162"/>
                  <a:pt x="167" y="149"/>
                  <a:pt x="157" y="137"/>
                </a:cubicBezTo>
                <a:cubicBezTo>
                  <a:pt x="155" y="134"/>
                  <a:pt x="153" y="131"/>
                  <a:pt x="150" y="128"/>
                </a:cubicBezTo>
                <a:cubicBezTo>
                  <a:pt x="148" y="125"/>
                  <a:pt x="146" y="122"/>
                  <a:pt x="143" y="119"/>
                </a:cubicBezTo>
                <a:cubicBezTo>
                  <a:pt x="141" y="116"/>
                  <a:pt x="139" y="114"/>
                  <a:pt x="136" y="111"/>
                </a:cubicBezTo>
                <a:cubicBezTo>
                  <a:pt x="134" y="108"/>
                  <a:pt x="132" y="105"/>
                  <a:pt x="129" y="103"/>
                </a:cubicBezTo>
                <a:cubicBezTo>
                  <a:pt x="120" y="92"/>
                  <a:pt x="110" y="83"/>
                  <a:pt x="101" y="74"/>
                </a:cubicBezTo>
                <a:cubicBezTo>
                  <a:pt x="82" y="57"/>
                  <a:pt x="65" y="43"/>
                  <a:pt x="50" y="32"/>
                </a:cubicBezTo>
                <a:cubicBezTo>
                  <a:pt x="48" y="30"/>
                  <a:pt x="46" y="29"/>
                  <a:pt x="44" y="28"/>
                </a:cubicBezTo>
                <a:cubicBezTo>
                  <a:pt x="43" y="26"/>
                  <a:pt x="41" y="25"/>
                  <a:pt x="39" y="24"/>
                </a:cubicBezTo>
                <a:cubicBezTo>
                  <a:pt x="36" y="22"/>
                  <a:pt x="33" y="19"/>
                  <a:pt x="29" y="17"/>
                </a:cubicBezTo>
                <a:cubicBezTo>
                  <a:pt x="26" y="16"/>
                  <a:pt x="23" y="14"/>
                  <a:pt x="21" y="12"/>
                </a:cubicBezTo>
                <a:cubicBezTo>
                  <a:pt x="18" y="10"/>
                  <a:pt x="16" y="9"/>
                  <a:pt x="14" y="8"/>
                </a:cubicBezTo>
                <a:cubicBezTo>
                  <a:pt x="5" y="2"/>
                  <a:pt x="0" y="0"/>
                  <a:pt x="0" y="0"/>
                </a:cubicBezTo>
                <a:cubicBezTo>
                  <a:pt x="0" y="0"/>
                  <a:pt x="1" y="0"/>
                  <a:pt x="4" y="1"/>
                </a:cubicBezTo>
                <a:cubicBezTo>
                  <a:pt x="6" y="2"/>
                  <a:pt x="10" y="3"/>
                  <a:pt x="15" y="5"/>
                </a:cubicBezTo>
                <a:cubicBezTo>
                  <a:pt x="17" y="6"/>
                  <a:pt x="20" y="7"/>
                  <a:pt x="23" y="9"/>
                </a:cubicBezTo>
                <a:cubicBezTo>
                  <a:pt x="26" y="10"/>
                  <a:pt x="29" y="11"/>
                  <a:pt x="32" y="13"/>
                </a:cubicBezTo>
                <a:cubicBezTo>
                  <a:pt x="36" y="14"/>
                  <a:pt x="39" y="16"/>
                  <a:pt x="43" y="18"/>
                </a:cubicBezTo>
                <a:cubicBezTo>
                  <a:pt x="45" y="19"/>
                  <a:pt x="47" y="20"/>
                  <a:pt x="49" y="21"/>
                </a:cubicBezTo>
                <a:cubicBezTo>
                  <a:pt x="51" y="22"/>
                  <a:pt x="53" y="23"/>
                  <a:pt x="56" y="24"/>
                </a:cubicBezTo>
                <a:cubicBezTo>
                  <a:pt x="60" y="26"/>
                  <a:pt x="64" y="29"/>
                  <a:pt x="69" y="31"/>
                </a:cubicBezTo>
                <a:cubicBezTo>
                  <a:pt x="73" y="34"/>
                  <a:pt x="78" y="37"/>
                  <a:pt x="83" y="40"/>
                </a:cubicBezTo>
                <a:cubicBezTo>
                  <a:pt x="84" y="41"/>
                  <a:pt x="86" y="41"/>
                  <a:pt x="87" y="42"/>
                </a:cubicBezTo>
                <a:cubicBezTo>
                  <a:pt x="88" y="43"/>
                  <a:pt x="89" y="44"/>
                  <a:pt x="91" y="45"/>
                </a:cubicBezTo>
                <a:cubicBezTo>
                  <a:pt x="93" y="46"/>
                  <a:pt x="96" y="48"/>
                  <a:pt x="98" y="50"/>
                </a:cubicBezTo>
                <a:cubicBezTo>
                  <a:pt x="103" y="53"/>
                  <a:pt x="109" y="57"/>
                  <a:pt x="114" y="61"/>
                </a:cubicBezTo>
                <a:cubicBezTo>
                  <a:pt x="135" y="77"/>
                  <a:pt x="158" y="97"/>
                  <a:pt x="180" y="120"/>
                </a:cubicBezTo>
                <a:cubicBezTo>
                  <a:pt x="183" y="123"/>
                  <a:pt x="186" y="127"/>
                  <a:pt x="188" y="130"/>
                </a:cubicBezTo>
                <a:cubicBezTo>
                  <a:pt x="190" y="131"/>
                  <a:pt x="191" y="133"/>
                  <a:pt x="193" y="134"/>
                </a:cubicBezTo>
                <a:cubicBezTo>
                  <a:pt x="194" y="136"/>
                  <a:pt x="195" y="137"/>
                  <a:pt x="197" y="139"/>
                </a:cubicBezTo>
                <a:cubicBezTo>
                  <a:pt x="199" y="142"/>
                  <a:pt x="202" y="146"/>
                  <a:pt x="205" y="149"/>
                </a:cubicBezTo>
                <a:cubicBezTo>
                  <a:pt x="208" y="152"/>
                  <a:pt x="210" y="156"/>
                  <a:pt x="213" y="159"/>
                </a:cubicBezTo>
                <a:cubicBezTo>
                  <a:pt x="224" y="173"/>
                  <a:pt x="234" y="187"/>
                  <a:pt x="244" y="203"/>
                </a:cubicBezTo>
                <a:cubicBezTo>
                  <a:pt x="246" y="207"/>
                  <a:pt x="248" y="211"/>
                  <a:pt x="251" y="215"/>
                </a:cubicBezTo>
                <a:cubicBezTo>
                  <a:pt x="252" y="217"/>
                  <a:pt x="253" y="219"/>
                  <a:pt x="254" y="221"/>
                </a:cubicBezTo>
                <a:cubicBezTo>
                  <a:pt x="256" y="223"/>
                  <a:pt x="257" y="225"/>
                  <a:pt x="258" y="227"/>
                </a:cubicBezTo>
                <a:cubicBezTo>
                  <a:pt x="260" y="231"/>
                  <a:pt x="262" y="235"/>
                  <a:pt x="265" y="239"/>
                </a:cubicBezTo>
                <a:cubicBezTo>
                  <a:pt x="267" y="243"/>
                  <a:pt x="269" y="248"/>
                  <a:pt x="271" y="252"/>
                </a:cubicBezTo>
                <a:cubicBezTo>
                  <a:pt x="272" y="254"/>
                  <a:pt x="274" y="256"/>
                  <a:pt x="275" y="258"/>
                </a:cubicBezTo>
                <a:cubicBezTo>
                  <a:pt x="276" y="260"/>
                  <a:pt x="277" y="263"/>
                  <a:pt x="278" y="265"/>
                </a:cubicBezTo>
                <a:cubicBezTo>
                  <a:pt x="280" y="269"/>
                  <a:pt x="282" y="274"/>
                  <a:pt x="284" y="278"/>
                </a:cubicBezTo>
                <a:cubicBezTo>
                  <a:pt x="286" y="283"/>
                  <a:pt x="288" y="287"/>
                  <a:pt x="290" y="292"/>
                </a:cubicBezTo>
                <a:cubicBezTo>
                  <a:pt x="291" y="294"/>
                  <a:pt x="292" y="296"/>
                  <a:pt x="292" y="298"/>
                </a:cubicBezTo>
                <a:cubicBezTo>
                  <a:pt x="293" y="301"/>
                  <a:pt x="294" y="303"/>
                  <a:pt x="295" y="305"/>
                </a:cubicBezTo>
                <a:cubicBezTo>
                  <a:pt x="310" y="342"/>
                  <a:pt x="321" y="381"/>
                  <a:pt x="328" y="422"/>
                </a:cubicBezTo>
                <a:cubicBezTo>
                  <a:pt x="329" y="425"/>
                  <a:pt x="329" y="427"/>
                  <a:pt x="330" y="430"/>
                </a:cubicBezTo>
                <a:cubicBezTo>
                  <a:pt x="331" y="437"/>
                  <a:pt x="331" y="437"/>
                  <a:pt x="331" y="437"/>
                </a:cubicBezTo>
                <a:cubicBezTo>
                  <a:pt x="332" y="442"/>
                  <a:pt x="333" y="448"/>
                  <a:pt x="333" y="453"/>
                </a:cubicBezTo>
                <a:cubicBezTo>
                  <a:pt x="335" y="463"/>
                  <a:pt x="336" y="473"/>
                  <a:pt x="337" y="484"/>
                </a:cubicBezTo>
                <a:cubicBezTo>
                  <a:pt x="337" y="489"/>
                  <a:pt x="338" y="494"/>
                  <a:pt x="338" y="499"/>
                </a:cubicBezTo>
                <a:cubicBezTo>
                  <a:pt x="339" y="505"/>
                  <a:pt x="339" y="510"/>
                  <a:pt x="339" y="515"/>
                </a:cubicBezTo>
                <a:cubicBezTo>
                  <a:pt x="339" y="523"/>
                  <a:pt x="339" y="523"/>
                  <a:pt x="339" y="523"/>
                </a:cubicBezTo>
                <a:cubicBezTo>
                  <a:pt x="340" y="531"/>
                  <a:pt x="340" y="531"/>
                  <a:pt x="340" y="531"/>
                </a:cubicBezTo>
                <a:cubicBezTo>
                  <a:pt x="340" y="546"/>
                  <a:pt x="340" y="546"/>
                  <a:pt x="340" y="546"/>
                </a:cubicBezTo>
                <a:cubicBezTo>
                  <a:pt x="340" y="562"/>
                  <a:pt x="340" y="562"/>
                  <a:pt x="340" y="562"/>
                </a:cubicBezTo>
                <a:cubicBezTo>
                  <a:pt x="339" y="570"/>
                  <a:pt x="339" y="570"/>
                  <a:pt x="339" y="570"/>
                </a:cubicBezTo>
                <a:cubicBezTo>
                  <a:pt x="339" y="577"/>
                  <a:pt x="339" y="577"/>
                  <a:pt x="339" y="577"/>
                </a:cubicBezTo>
                <a:cubicBezTo>
                  <a:pt x="339" y="583"/>
                  <a:pt x="339" y="588"/>
                  <a:pt x="338" y="593"/>
                </a:cubicBezTo>
                <a:cubicBezTo>
                  <a:pt x="338" y="598"/>
                  <a:pt x="337" y="604"/>
                  <a:pt x="337" y="609"/>
                </a:cubicBezTo>
                <a:cubicBezTo>
                  <a:pt x="336" y="619"/>
                  <a:pt x="335" y="629"/>
                  <a:pt x="333" y="640"/>
                </a:cubicBezTo>
                <a:cubicBezTo>
                  <a:pt x="333" y="645"/>
                  <a:pt x="332" y="650"/>
                  <a:pt x="331" y="655"/>
                </a:cubicBezTo>
                <a:cubicBezTo>
                  <a:pt x="330" y="663"/>
                  <a:pt x="330" y="663"/>
                  <a:pt x="330" y="663"/>
                </a:cubicBezTo>
                <a:cubicBezTo>
                  <a:pt x="329" y="665"/>
                  <a:pt x="329" y="668"/>
                  <a:pt x="328" y="670"/>
                </a:cubicBezTo>
                <a:cubicBezTo>
                  <a:pt x="321" y="711"/>
                  <a:pt x="310" y="750"/>
                  <a:pt x="295" y="787"/>
                </a:cubicBezTo>
                <a:cubicBezTo>
                  <a:pt x="294" y="789"/>
                  <a:pt x="293" y="792"/>
                  <a:pt x="292" y="794"/>
                </a:cubicBezTo>
                <a:cubicBezTo>
                  <a:pt x="291" y="796"/>
                  <a:pt x="290" y="799"/>
                  <a:pt x="290" y="801"/>
                </a:cubicBezTo>
                <a:cubicBezTo>
                  <a:pt x="288" y="805"/>
                  <a:pt x="286" y="810"/>
                  <a:pt x="284" y="814"/>
                </a:cubicBezTo>
                <a:cubicBezTo>
                  <a:pt x="282" y="819"/>
                  <a:pt x="280" y="823"/>
                  <a:pt x="278" y="827"/>
                </a:cubicBezTo>
                <a:cubicBezTo>
                  <a:pt x="277" y="830"/>
                  <a:pt x="276" y="832"/>
                  <a:pt x="275" y="834"/>
                </a:cubicBezTo>
                <a:cubicBezTo>
                  <a:pt x="273" y="836"/>
                  <a:pt x="272" y="838"/>
                  <a:pt x="271" y="840"/>
                </a:cubicBezTo>
                <a:cubicBezTo>
                  <a:pt x="269" y="845"/>
                  <a:pt x="267" y="849"/>
                  <a:pt x="265" y="853"/>
                </a:cubicBezTo>
                <a:cubicBezTo>
                  <a:pt x="262" y="857"/>
                  <a:pt x="260" y="861"/>
                  <a:pt x="258" y="866"/>
                </a:cubicBezTo>
                <a:cubicBezTo>
                  <a:pt x="257" y="868"/>
                  <a:pt x="256" y="870"/>
                  <a:pt x="254" y="872"/>
                </a:cubicBezTo>
                <a:cubicBezTo>
                  <a:pt x="253" y="874"/>
                  <a:pt x="252" y="876"/>
                  <a:pt x="251" y="878"/>
                </a:cubicBezTo>
                <a:cubicBezTo>
                  <a:pt x="248" y="882"/>
                  <a:pt x="246" y="886"/>
                  <a:pt x="244" y="889"/>
                </a:cubicBezTo>
                <a:cubicBezTo>
                  <a:pt x="224" y="920"/>
                  <a:pt x="202" y="948"/>
                  <a:pt x="180" y="972"/>
                </a:cubicBezTo>
                <a:cubicBezTo>
                  <a:pt x="158" y="996"/>
                  <a:pt x="135" y="1015"/>
                  <a:pt x="114" y="1031"/>
                </a:cubicBezTo>
                <a:cubicBezTo>
                  <a:pt x="108" y="1035"/>
                  <a:pt x="103" y="1039"/>
                  <a:pt x="98" y="1042"/>
                </a:cubicBezTo>
                <a:cubicBezTo>
                  <a:pt x="96" y="1044"/>
                  <a:pt x="93" y="1046"/>
                  <a:pt x="91" y="1048"/>
                </a:cubicBezTo>
                <a:cubicBezTo>
                  <a:pt x="89" y="1048"/>
                  <a:pt x="88" y="1049"/>
                  <a:pt x="87" y="1050"/>
                </a:cubicBezTo>
                <a:cubicBezTo>
                  <a:pt x="86" y="1051"/>
                  <a:pt x="84" y="1052"/>
                  <a:pt x="83" y="1052"/>
                </a:cubicBezTo>
                <a:cubicBezTo>
                  <a:pt x="78" y="1055"/>
                  <a:pt x="73" y="1058"/>
                  <a:pt x="69" y="1061"/>
                </a:cubicBezTo>
                <a:cubicBezTo>
                  <a:pt x="64" y="1064"/>
                  <a:pt x="60" y="1066"/>
                  <a:pt x="56" y="1068"/>
                </a:cubicBezTo>
                <a:cubicBezTo>
                  <a:pt x="53" y="1069"/>
                  <a:pt x="51" y="1071"/>
                  <a:pt x="49" y="1072"/>
                </a:cubicBezTo>
                <a:cubicBezTo>
                  <a:pt x="47" y="1073"/>
                  <a:pt x="45" y="1074"/>
                  <a:pt x="43" y="1074"/>
                </a:cubicBezTo>
                <a:cubicBezTo>
                  <a:pt x="39" y="1076"/>
                  <a:pt x="36" y="1078"/>
                  <a:pt x="32" y="1080"/>
                </a:cubicBezTo>
                <a:cubicBezTo>
                  <a:pt x="29" y="1081"/>
                  <a:pt x="26" y="1082"/>
                  <a:pt x="23" y="1084"/>
                </a:cubicBezTo>
                <a:cubicBezTo>
                  <a:pt x="20" y="1085"/>
                  <a:pt x="17" y="1086"/>
                  <a:pt x="15" y="1087"/>
                </a:cubicBezTo>
                <a:cubicBezTo>
                  <a:pt x="5" y="1091"/>
                  <a:pt x="0" y="1093"/>
                  <a:pt x="0" y="1093"/>
                </a:cubicBezTo>
                <a:close/>
              </a:path>
            </a:pathLst>
          </a:custGeom>
          <a:solidFill>
            <a:schemeClr val="accent1">
              <a:lumMod val="100000"/>
            </a:schemeClr>
          </a:solidFill>
          <a:ln>
            <a:noFill/>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2400" b="0" i="0" u="none" strike="noStrike" kern="1200" cap="none" spc="0" normalizeH="0" baseline="0" noProof="0">
              <a:ln>
                <a:noFill/>
              </a:ln>
              <a:solidFill>
                <a:srgbClr val="000000"/>
              </a:solidFill>
              <a:effectLst/>
              <a:uLnTx/>
              <a:uFillTx/>
              <a:latin typeface="Arial"/>
              <a:cs typeface="+mn-cs"/>
            </a:endParaRPr>
          </a:p>
        </p:txBody>
      </p:sp>
      <p:sp>
        <p:nvSpPr>
          <p:cNvPr id="5" name="Freeform 17">
            <a:extLst>
              <a:ext uri="{FF2B5EF4-FFF2-40B4-BE49-F238E27FC236}">
                <a16:creationId xmlns:a16="http://schemas.microsoft.com/office/drawing/2014/main" id="{DB0ACE26-F806-4B14-8D43-CCEDF2735557}"/>
              </a:ext>
            </a:extLst>
          </p:cNvPr>
          <p:cNvSpPr>
            <a:spLocks/>
          </p:cNvSpPr>
          <p:nvPr/>
        </p:nvSpPr>
        <p:spPr bwMode="auto">
          <a:xfrm>
            <a:off x="2893815" y="2183902"/>
            <a:ext cx="760006" cy="2479461"/>
          </a:xfrm>
          <a:custGeom>
            <a:avLst/>
            <a:gdLst>
              <a:gd name="T0" fmla="*/ 16 w 267"/>
              <a:gd name="T1" fmla="*/ 849 h 859"/>
              <a:gd name="T2" fmla="*/ 35 w 267"/>
              <a:gd name="T3" fmla="*/ 837 h 859"/>
              <a:gd name="T4" fmla="*/ 124 w 267"/>
              <a:gd name="T5" fmla="*/ 751 h 859"/>
              <a:gd name="T6" fmla="*/ 170 w 267"/>
              <a:gd name="T7" fmla="*/ 677 h 859"/>
              <a:gd name="T8" fmla="*/ 179 w 267"/>
              <a:gd name="T9" fmla="*/ 658 h 859"/>
              <a:gd name="T10" fmla="*/ 188 w 267"/>
              <a:gd name="T11" fmla="*/ 639 h 859"/>
              <a:gd name="T12" fmla="*/ 197 w 267"/>
              <a:gd name="T13" fmla="*/ 614 h 859"/>
              <a:gd name="T14" fmla="*/ 206 w 267"/>
              <a:gd name="T15" fmla="*/ 587 h 859"/>
              <a:gd name="T16" fmla="*/ 212 w 267"/>
              <a:gd name="T17" fmla="*/ 566 h 859"/>
              <a:gd name="T18" fmla="*/ 217 w 267"/>
              <a:gd name="T19" fmla="*/ 544 h 859"/>
              <a:gd name="T20" fmla="*/ 222 w 267"/>
              <a:gd name="T21" fmla="*/ 516 h 859"/>
              <a:gd name="T22" fmla="*/ 225 w 267"/>
              <a:gd name="T23" fmla="*/ 487 h 859"/>
              <a:gd name="T24" fmla="*/ 227 w 267"/>
              <a:gd name="T25" fmla="*/ 464 h 859"/>
              <a:gd name="T26" fmla="*/ 228 w 267"/>
              <a:gd name="T27" fmla="*/ 441 h 859"/>
              <a:gd name="T28" fmla="*/ 228 w 267"/>
              <a:gd name="T29" fmla="*/ 412 h 859"/>
              <a:gd name="T30" fmla="*/ 226 w 267"/>
              <a:gd name="T31" fmla="*/ 383 h 859"/>
              <a:gd name="T32" fmla="*/ 224 w 267"/>
              <a:gd name="T33" fmla="*/ 360 h 859"/>
              <a:gd name="T34" fmla="*/ 221 w 267"/>
              <a:gd name="T35" fmla="*/ 337 h 859"/>
              <a:gd name="T36" fmla="*/ 215 w 267"/>
              <a:gd name="T37" fmla="*/ 309 h 859"/>
              <a:gd name="T38" fmla="*/ 209 w 267"/>
              <a:gd name="T39" fmla="*/ 282 h 859"/>
              <a:gd name="T40" fmla="*/ 203 w 267"/>
              <a:gd name="T41" fmla="*/ 260 h 859"/>
              <a:gd name="T42" fmla="*/ 196 w 267"/>
              <a:gd name="T43" fmla="*/ 240 h 859"/>
              <a:gd name="T44" fmla="*/ 186 w 267"/>
              <a:gd name="T45" fmla="*/ 214 h 859"/>
              <a:gd name="T46" fmla="*/ 175 w 267"/>
              <a:gd name="T47" fmla="*/ 190 h 859"/>
              <a:gd name="T48" fmla="*/ 166 w 267"/>
              <a:gd name="T49" fmla="*/ 172 h 859"/>
              <a:gd name="T50" fmla="*/ 118 w 267"/>
              <a:gd name="T51" fmla="*/ 100 h 859"/>
              <a:gd name="T52" fmla="*/ 101 w 267"/>
              <a:gd name="T53" fmla="*/ 81 h 859"/>
              <a:gd name="T54" fmla="*/ 35 w 267"/>
              <a:gd name="T55" fmla="*/ 22 h 859"/>
              <a:gd name="T56" fmla="*/ 16 w 267"/>
              <a:gd name="T57" fmla="*/ 9 h 859"/>
              <a:gd name="T58" fmla="*/ 3 w 267"/>
              <a:gd name="T59" fmla="*/ 1 h 859"/>
              <a:gd name="T60" fmla="*/ 26 w 267"/>
              <a:gd name="T61" fmla="*/ 10 h 859"/>
              <a:gd name="T62" fmla="*/ 44 w 267"/>
              <a:gd name="T63" fmla="*/ 19 h 859"/>
              <a:gd name="T64" fmla="*/ 68 w 267"/>
              <a:gd name="T65" fmla="*/ 33 h 859"/>
              <a:gd name="T66" fmla="*/ 90 w 267"/>
              <a:gd name="T67" fmla="*/ 48 h 859"/>
              <a:gd name="T68" fmla="*/ 151 w 267"/>
              <a:gd name="T69" fmla="*/ 105 h 859"/>
              <a:gd name="T70" fmla="*/ 167 w 267"/>
              <a:gd name="T71" fmla="*/ 125 h 859"/>
              <a:gd name="T72" fmla="*/ 200 w 267"/>
              <a:gd name="T73" fmla="*/ 173 h 859"/>
              <a:gd name="T74" fmla="*/ 213 w 267"/>
              <a:gd name="T75" fmla="*/ 198 h 859"/>
              <a:gd name="T76" fmla="*/ 223 w 267"/>
              <a:gd name="T77" fmla="*/ 218 h 859"/>
              <a:gd name="T78" fmla="*/ 232 w 267"/>
              <a:gd name="T79" fmla="*/ 240 h 859"/>
              <a:gd name="T80" fmla="*/ 260 w 267"/>
              <a:gd name="T81" fmla="*/ 344 h 859"/>
              <a:gd name="T82" fmla="*/ 266 w 267"/>
              <a:gd name="T83" fmla="*/ 392 h 859"/>
              <a:gd name="T84" fmla="*/ 267 w 267"/>
              <a:gd name="T85" fmla="*/ 417 h 859"/>
              <a:gd name="T86" fmla="*/ 267 w 267"/>
              <a:gd name="T87" fmla="*/ 448 h 859"/>
              <a:gd name="T88" fmla="*/ 265 w 267"/>
              <a:gd name="T89" fmla="*/ 478 h 859"/>
              <a:gd name="T90" fmla="*/ 259 w 267"/>
              <a:gd name="T91" fmla="*/ 521 h 859"/>
              <a:gd name="T92" fmla="*/ 230 w 267"/>
              <a:gd name="T93" fmla="*/ 624 h 859"/>
              <a:gd name="T94" fmla="*/ 218 w 267"/>
              <a:gd name="T95" fmla="*/ 650 h 859"/>
              <a:gd name="T96" fmla="*/ 208 w 267"/>
              <a:gd name="T97" fmla="*/ 670 h 859"/>
              <a:gd name="T98" fmla="*/ 197 w 267"/>
              <a:gd name="T99" fmla="*/ 690 h 859"/>
              <a:gd name="T100" fmla="*/ 90 w 267"/>
              <a:gd name="T101" fmla="*/ 810 h 859"/>
              <a:gd name="T102" fmla="*/ 68 w 267"/>
              <a:gd name="T103" fmla="*/ 825 h 859"/>
              <a:gd name="T104" fmla="*/ 44 w 267"/>
              <a:gd name="T105" fmla="*/ 840 h 859"/>
              <a:gd name="T106" fmla="*/ 26 w 267"/>
              <a:gd name="T107" fmla="*/ 848 h 859"/>
              <a:gd name="T108" fmla="*/ 0 w 267"/>
              <a:gd name="T109" fmla="*/ 859 h 8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67" h="859">
                <a:moveTo>
                  <a:pt x="0" y="859"/>
                </a:moveTo>
                <a:cubicBezTo>
                  <a:pt x="0" y="859"/>
                  <a:pt x="4" y="857"/>
                  <a:pt x="11" y="853"/>
                </a:cubicBezTo>
                <a:cubicBezTo>
                  <a:pt x="13" y="852"/>
                  <a:pt x="14" y="850"/>
                  <a:pt x="16" y="849"/>
                </a:cubicBezTo>
                <a:cubicBezTo>
                  <a:pt x="18" y="848"/>
                  <a:pt x="21" y="846"/>
                  <a:pt x="23" y="845"/>
                </a:cubicBezTo>
                <a:cubicBezTo>
                  <a:pt x="26" y="843"/>
                  <a:pt x="28" y="841"/>
                  <a:pt x="31" y="840"/>
                </a:cubicBezTo>
                <a:cubicBezTo>
                  <a:pt x="32" y="839"/>
                  <a:pt x="33" y="838"/>
                  <a:pt x="35" y="837"/>
                </a:cubicBezTo>
                <a:cubicBezTo>
                  <a:pt x="36" y="836"/>
                  <a:pt x="38" y="835"/>
                  <a:pt x="39" y="834"/>
                </a:cubicBezTo>
                <a:cubicBezTo>
                  <a:pt x="51" y="825"/>
                  <a:pt x="65" y="814"/>
                  <a:pt x="79" y="800"/>
                </a:cubicBezTo>
                <a:cubicBezTo>
                  <a:pt x="94" y="787"/>
                  <a:pt x="109" y="770"/>
                  <a:pt x="124" y="751"/>
                </a:cubicBezTo>
                <a:cubicBezTo>
                  <a:pt x="131" y="741"/>
                  <a:pt x="139" y="731"/>
                  <a:pt x="145" y="720"/>
                </a:cubicBezTo>
                <a:cubicBezTo>
                  <a:pt x="152" y="710"/>
                  <a:pt x="159" y="698"/>
                  <a:pt x="166" y="686"/>
                </a:cubicBezTo>
                <a:cubicBezTo>
                  <a:pt x="167" y="683"/>
                  <a:pt x="169" y="680"/>
                  <a:pt x="170" y="677"/>
                </a:cubicBezTo>
                <a:cubicBezTo>
                  <a:pt x="171" y="676"/>
                  <a:pt x="172" y="674"/>
                  <a:pt x="173" y="673"/>
                </a:cubicBezTo>
                <a:cubicBezTo>
                  <a:pt x="173" y="671"/>
                  <a:pt x="174" y="669"/>
                  <a:pt x="175" y="668"/>
                </a:cubicBezTo>
                <a:cubicBezTo>
                  <a:pt x="176" y="665"/>
                  <a:pt x="178" y="662"/>
                  <a:pt x="179" y="658"/>
                </a:cubicBezTo>
                <a:cubicBezTo>
                  <a:pt x="181" y="655"/>
                  <a:pt x="182" y="652"/>
                  <a:pt x="184" y="649"/>
                </a:cubicBezTo>
                <a:cubicBezTo>
                  <a:pt x="184" y="647"/>
                  <a:pt x="185" y="646"/>
                  <a:pt x="186" y="644"/>
                </a:cubicBezTo>
                <a:cubicBezTo>
                  <a:pt x="186" y="642"/>
                  <a:pt x="187" y="641"/>
                  <a:pt x="188" y="639"/>
                </a:cubicBezTo>
                <a:cubicBezTo>
                  <a:pt x="189" y="636"/>
                  <a:pt x="190" y="632"/>
                  <a:pt x="192" y="629"/>
                </a:cubicBezTo>
                <a:cubicBezTo>
                  <a:pt x="193" y="626"/>
                  <a:pt x="194" y="622"/>
                  <a:pt x="196" y="619"/>
                </a:cubicBezTo>
                <a:cubicBezTo>
                  <a:pt x="196" y="617"/>
                  <a:pt x="197" y="615"/>
                  <a:pt x="197" y="614"/>
                </a:cubicBezTo>
                <a:cubicBezTo>
                  <a:pt x="198" y="612"/>
                  <a:pt x="199" y="610"/>
                  <a:pt x="199" y="608"/>
                </a:cubicBezTo>
                <a:cubicBezTo>
                  <a:pt x="200" y="605"/>
                  <a:pt x="202" y="601"/>
                  <a:pt x="203" y="598"/>
                </a:cubicBezTo>
                <a:cubicBezTo>
                  <a:pt x="204" y="594"/>
                  <a:pt x="205" y="591"/>
                  <a:pt x="206" y="587"/>
                </a:cubicBezTo>
                <a:cubicBezTo>
                  <a:pt x="206" y="586"/>
                  <a:pt x="207" y="584"/>
                  <a:pt x="207" y="582"/>
                </a:cubicBezTo>
                <a:cubicBezTo>
                  <a:pt x="208" y="580"/>
                  <a:pt x="208" y="578"/>
                  <a:pt x="209" y="577"/>
                </a:cubicBezTo>
                <a:cubicBezTo>
                  <a:pt x="210" y="573"/>
                  <a:pt x="211" y="569"/>
                  <a:pt x="212" y="566"/>
                </a:cubicBezTo>
                <a:cubicBezTo>
                  <a:pt x="213" y="562"/>
                  <a:pt x="213" y="558"/>
                  <a:pt x="214" y="555"/>
                </a:cubicBezTo>
                <a:cubicBezTo>
                  <a:pt x="215" y="553"/>
                  <a:pt x="215" y="551"/>
                  <a:pt x="216" y="549"/>
                </a:cubicBezTo>
                <a:cubicBezTo>
                  <a:pt x="216" y="547"/>
                  <a:pt x="216" y="546"/>
                  <a:pt x="217" y="544"/>
                </a:cubicBezTo>
                <a:cubicBezTo>
                  <a:pt x="217" y="540"/>
                  <a:pt x="218" y="536"/>
                  <a:pt x="219" y="533"/>
                </a:cubicBezTo>
                <a:cubicBezTo>
                  <a:pt x="219" y="529"/>
                  <a:pt x="220" y="525"/>
                  <a:pt x="221" y="521"/>
                </a:cubicBezTo>
                <a:cubicBezTo>
                  <a:pt x="221" y="519"/>
                  <a:pt x="221" y="517"/>
                  <a:pt x="222" y="516"/>
                </a:cubicBezTo>
                <a:cubicBezTo>
                  <a:pt x="222" y="510"/>
                  <a:pt x="222" y="510"/>
                  <a:pt x="222" y="510"/>
                </a:cubicBezTo>
                <a:cubicBezTo>
                  <a:pt x="223" y="506"/>
                  <a:pt x="224" y="502"/>
                  <a:pt x="224" y="499"/>
                </a:cubicBezTo>
                <a:cubicBezTo>
                  <a:pt x="224" y="495"/>
                  <a:pt x="225" y="491"/>
                  <a:pt x="225" y="487"/>
                </a:cubicBezTo>
                <a:cubicBezTo>
                  <a:pt x="225" y="485"/>
                  <a:pt x="226" y="483"/>
                  <a:pt x="226" y="481"/>
                </a:cubicBezTo>
                <a:cubicBezTo>
                  <a:pt x="226" y="476"/>
                  <a:pt x="226" y="476"/>
                  <a:pt x="226" y="476"/>
                </a:cubicBezTo>
                <a:cubicBezTo>
                  <a:pt x="227" y="472"/>
                  <a:pt x="227" y="468"/>
                  <a:pt x="227" y="464"/>
                </a:cubicBezTo>
                <a:cubicBezTo>
                  <a:pt x="227" y="460"/>
                  <a:pt x="227" y="456"/>
                  <a:pt x="228" y="452"/>
                </a:cubicBezTo>
                <a:cubicBezTo>
                  <a:pt x="228" y="447"/>
                  <a:pt x="228" y="447"/>
                  <a:pt x="228" y="447"/>
                </a:cubicBezTo>
                <a:cubicBezTo>
                  <a:pt x="228" y="441"/>
                  <a:pt x="228" y="441"/>
                  <a:pt x="228" y="441"/>
                </a:cubicBezTo>
                <a:cubicBezTo>
                  <a:pt x="228" y="429"/>
                  <a:pt x="228" y="429"/>
                  <a:pt x="228" y="429"/>
                </a:cubicBezTo>
                <a:cubicBezTo>
                  <a:pt x="228" y="417"/>
                  <a:pt x="228" y="417"/>
                  <a:pt x="228" y="417"/>
                </a:cubicBezTo>
                <a:cubicBezTo>
                  <a:pt x="228" y="412"/>
                  <a:pt x="228" y="412"/>
                  <a:pt x="228" y="412"/>
                </a:cubicBezTo>
                <a:cubicBezTo>
                  <a:pt x="228" y="406"/>
                  <a:pt x="228" y="406"/>
                  <a:pt x="228" y="406"/>
                </a:cubicBezTo>
                <a:cubicBezTo>
                  <a:pt x="227" y="402"/>
                  <a:pt x="227" y="398"/>
                  <a:pt x="227" y="394"/>
                </a:cubicBezTo>
                <a:cubicBezTo>
                  <a:pt x="227" y="391"/>
                  <a:pt x="227" y="387"/>
                  <a:pt x="226" y="383"/>
                </a:cubicBezTo>
                <a:cubicBezTo>
                  <a:pt x="226" y="377"/>
                  <a:pt x="226" y="377"/>
                  <a:pt x="226" y="377"/>
                </a:cubicBezTo>
                <a:cubicBezTo>
                  <a:pt x="226" y="375"/>
                  <a:pt x="225" y="373"/>
                  <a:pt x="225" y="371"/>
                </a:cubicBezTo>
                <a:cubicBezTo>
                  <a:pt x="225" y="367"/>
                  <a:pt x="224" y="364"/>
                  <a:pt x="224" y="360"/>
                </a:cubicBezTo>
                <a:cubicBezTo>
                  <a:pt x="224" y="356"/>
                  <a:pt x="223" y="352"/>
                  <a:pt x="222" y="348"/>
                </a:cubicBezTo>
                <a:cubicBezTo>
                  <a:pt x="222" y="343"/>
                  <a:pt x="222" y="343"/>
                  <a:pt x="222" y="343"/>
                </a:cubicBezTo>
                <a:cubicBezTo>
                  <a:pt x="221" y="341"/>
                  <a:pt x="221" y="339"/>
                  <a:pt x="221" y="337"/>
                </a:cubicBezTo>
                <a:cubicBezTo>
                  <a:pt x="220" y="333"/>
                  <a:pt x="219" y="330"/>
                  <a:pt x="219" y="326"/>
                </a:cubicBezTo>
                <a:cubicBezTo>
                  <a:pt x="218" y="322"/>
                  <a:pt x="217" y="318"/>
                  <a:pt x="217" y="315"/>
                </a:cubicBezTo>
                <a:cubicBezTo>
                  <a:pt x="216" y="313"/>
                  <a:pt x="216" y="311"/>
                  <a:pt x="215" y="309"/>
                </a:cubicBezTo>
                <a:cubicBezTo>
                  <a:pt x="215" y="307"/>
                  <a:pt x="215" y="305"/>
                  <a:pt x="214" y="304"/>
                </a:cubicBezTo>
                <a:cubicBezTo>
                  <a:pt x="213" y="300"/>
                  <a:pt x="213" y="296"/>
                  <a:pt x="212" y="293"/>
                </a:cubicBezTo>
                <a:cubicBezTo>
                  <a:pt x="211" y="289"/>
                  <a:pt x="210" y="285"/>
                  <a:pt x="209" y="282"/>
                </a:cubicBezTo>
                <a:cubicBezTo>
                  <a:pt x="208" y="280"/>
                  <a:pt x="208" y="278"/>
                  <a:pt x="207" y="276"/>
                </a:cubicBezTo>
                <a:cubicBezTo>
                  <a:pt x="207" y="275"/>
                  <a:pt x="206" y="273"/>
                  <a:pt x="206" y="271"/>
                </a:cubicBezTo>
                <a:cubicBezTo>
                  <a:pt x="205" y="267"/>
                  <a:pt x="204" y="264"/>
                  <a:pt x="203" y="260"/>
                </a:cubicBezTo>
                <a:cubicBezTo>
                  <a:pt x="201" y="257"/>
                  <a:pt x="200" y="253"/>
                  <a:pt x="199" y="250"/>
                </a:cubicBezTo>
                <a:cubicBezTo>
                  <a:pt x="199" y="248"/>
                  <a:pt x="198" y="246"/>
                  <a:pt x="197" y="245"/>
                </a:cubicBezTo>
                <a:cubicBezTo>
                  <a:pt x="197" y="243"/>
                  <a:pt x="196" y="241"/>
                  <a:pt x="196" y="240"/>
                </a:cubicBezTo>
                <a:cubicBezTo>
                  <a:pt x="194" y="236"/>
                  <a:pt x="193" y="233"/>
                  <a:pt x="192" y="229"/>
                </a:cubicBezTo>
                <a:cubicBezTo>
                  <a:pt x="190" y="226"/>
                  <a:pt x="189" y="223"/>
                  <a:pt x="188" y="219"/>
                </a:cubicBezTo>
                <a:cubicBezTo>
                  <a:pt x="187" y="218"/>
                  <a:pt x="186" y="216"/>
                  <a:pt x="186" y="214"/>
                </a:cubicBezTo>
                <a:cubicBezTo>
                  <a:pt x="185" y="213"/>
                  <a:pt x="184" y="211"/>
                  <a:pt x="184" y="210"/>
                </a:cubicBezTo>
                <a:cubicBezTo>
                  <a:pt x="182" y="206"/>
                  <a:pt x="181" y="203"/>
                  <a:pt x="179" y="200"/>
                </a:cubicBezTo>
                <a:cubicBezTo>
                  <a:pt x="178" y="197"/>
                  <a:pt x="176" y="194"/>
                  <a:pt x="175" y="190"/>
                </a:cubicBezTo>
                <a:cubicBezTo>
                  <a:pt x="174" y="189"/>
                  <a:pt x="173" y="187"/>
                  <a:pt x="173" y="186"/>
                </a:cubicBezTo>
                <a:cubicBezTo>
                  <a:pt x="172" y="184"/>
                  <a:pt x="171" y="183"/>
                  <a:pt x="170" y="181"/>
                </a:cubicBezTo>
                <a:cubicBezTo>
                  <a:pt x="169" y="178"/>
                  <a:pt x="167" y="175"/>
                  <a:pt x="166" y="172"/>
                </a:cubicBezTo>
                <a:cubicBezTo>
                  <a:pt x="159" y="160"/>
                  <a:pt x="152" y="149"/>
                  <a:pt x="145" y="138"/>
                </a:cubicBezTo>
                <a:cubicBezTo>
                  <a:pt x="138" y="127"/>
                  <a:pt x="131" y="117"/>
                  <a:pt x="124" y="107"/>
                </a:cubicBezTo>
                <a:cubicBezTo>
                  <a:pt x="122" y="105"/>
                  <a:pt x="120" y="103"/>
                  <a:pt x="118" y="100"/>
                </a:cubicBezTo>
                <a:cubicBezTo>
                  <a:pt x="116" y="98"/>
                  <a:pt x="115" y="96"/>
                  <a:pt x="113" y="94"/>
                </a:cubicBezTo>
                <a:cubicBezTo>
                  <a:pt x="111" y="91"/>
                  <a:pt x="109" y="89"/>
                  <a:pt x="107" y="87"/>
                </a:cubicBezTo>
                <a:cubicBezTo>
                  <a:pt x="105" y="85"/>
                  <a:pt x="103" y="83"/>
                  <a:pt x="101" y="81"/>
                </a:cubicBezTo>
                <a:cubicBezTo>
                  <a:pt x="94" y="73"/>
                  <a:pt x="87" y="65"/>
                  <a:pt x="79" y="58"/>
                </a:cubicBezTo>
                <a:cubicBezTo>
                  <a:pt x="65" y="44"/>
                  <a:pt x="51" y="33"/>
                  <a:pt x="39" y="25"/>
                </a:cubicBezTo>
                <a:cubicBezTo>
                  <a:pt x="38" y="24"/>
                  <a:pt x="36" y="23"/>
                  <a:pt x="35" y="22"/>
                </a:cubicBezTo>
                <a:cubicBezTo>
                  <a:pt x="33" y="21"/>
                  <a:pt x="32" y="20"/>
                  <a:pt x="31" y="19"/>
                </a:cubicBezTo>
                <a:cubicBezTo>
                  <a:pt x="28" y="17"/>
                  <a:pt x="26" y="15"/>
                  <a:pt x="23" y="14"/>
                </a:cubicBezTo>
                <a:cubicBezTo>
                  <a:pt x="21" y="12"/>
                  <a:pt x="18" y="11"/>
                  <a:pt x="16" y="9"/>
                </a:cubicBezTo>
                <a:cubicBezTo>
                  <a:pt x="14" y="8"/>
                  <a:pt x="12" y="7"/>
                  <a:pt x="11" y="6"/>
                </a:cubicBezTo>
                <a:cubicBezTo>
                  <a:pt x="4" y="2"/>
                  <a:pt x="0" y="0"/>
                  <a:pt x="0" y="0"/>
                </a:cubicBezTo>
                <a:cubicBezTo>
                  <a:pt x="0" y="0"/>
                  <a:pt x="1" y="0"/>
                  <a:pt x="3" y="1"/>
                </a:cubicBezTo>
                <a:cubicBezTo>
                  <a:pt x="5" y="1"/>
                  <a:pt x="8" y="3"/>
                  <a:pt x="12" y="4"/>
                </a:cubicBezTo>
                <a:cubicBezTo>
                  <a:pt x="14" y="5"/>
                  <a:pt x="16" y="6"/>
                  <a:pt x="18" y="7"/>
                </a:cubicBezTo>
                <a:cubicBezTo>
                  <a:pt x="20" y="8"/>
                  <a:pt x="23" y="9"/>
                  <a:pt x="26" y="10"/>
                </a:cubicBezTo>
                <a:cubicBezTo>
                  <a:pt x="28" y="11"/>
                  <a:pt x="31" y="12"/>
                  <a:pt x="34" y="14"/>
                </a:cubicBezTo>
                <a:cubicBezTo>
                  <a:pt x="36" y="15"/>
                  <a:pt x="37" y="15"/>
                  <a:pt x="39" y="16"/>
                </a:cubicBezTo>
                <a:cubicBezTo>
                  <a:pt x="40" y="17"/>
                  <a:pt x="42" y="18"/>
                  <a:pt x="44" y="19"/>
                </a:cubicBezTo>
                <a:cubicBezTo>
                  <a:pt x="47" y="21"/>
                  <a:pt x="50" y="23"/>
                  <a:pt x="54" y="25"/>
                </a:cubicBezTo>
                <a:cubicBezTo>
                  <a:pt x="58" y="27"/>
                  <a:pt x="61" y="29"/>
                  <a:pt x="65" y="31"/>
                </a:cubicBezTo>
                <a:cubicBezTo>
                  <a:pt x="66" y="32"/>
                  <a:pt x="67" y="32"/>
                  <a:pt x="68" y="33"/>
                </a:cubicBezTo>
                <a:cubicBezTo>
                  <a:pt x="69" y="34"/>
                  <a:pt x="70" y="34"/>
                  <a:pt x="71" y="35"/>
                </a:cubicBezTo>
                <a:cubicBezTo>
                  <a:pt x="73" y="36"/>
                  <a:pt x="75" y="38"/>
                  <a:pt x="77" y="39"/>
                </a:cubicBezTo>
                <a:cubicBezTo>
                  <a:pt x="81" y="42"/>
                  <a:pt x="85" y="45"/>
                  <a:pt x="90" y="48"/>
                </a:cubicBezTo>
                <a:cubicBezTo>
                  <a:pt x="106" y="60"/>
                  <a:pt x="124" y="76"/>
                  <a:pt x="142" y="95"/>
                </a:cubicBezTo>
                <a:cubicBezTo>
                  <a:pt x="144" y="97"/>
                  <a:pt x="146" y="99"/>
                  <a:pt x="148" y="102"/>
                </a:cubicBezTo>
                <a:cubicBezTo>
                  <a:pt x="149" y="103"/>
                  <a:pt x="150" y="104"/>
                  <a:pt x="151" y="105"/>
                </a:cubicBezTo>
                <a:cubicBezTo>
                  <a:pt x="152" y="107"/>
                  <a:pt x="154" y="108"/>
                  <a:pt x="155" y="109"/>
                </a:cubicBezTo>
                <a:cubicBezTo>
                  <a:pt x="157" y="112"/>
                  <a:pt x="159" y="114"/>
                  <a:pt x="161" y="117"/>
                </a:cubicBezTo>
                <a:cubicBezTo>
                  <a:pt x="163" y="119"/>
                  <a:pt x="165" y="122"/>
                  <a:pt x="167" y="125"/>
                </a:cubicBezTo>
                <a:cubicBezTo>
                  <a:pt x="176" y="136"/>
                  <a:pt x="184" y="147"/>
                  <a:pt x="192" y="159"/>
                </a:cubicBezTo>
                <a:cubicBezTo>
                  <a:pt x="193" y="162"/>
                  <a:pt x="195" y="166"/>
                  <a:pt x="197" y="169"/>
                </a:cubicBezTo>
                <a:cubicBezTo>
                  <a:pt x="198" y="170"/>
                  <a:pt x="199" y="172"/>
                  <a:pt x="200" y="173"/>
                </a:cubicBezTo>
                <a:cubicBezTo>
                  <a:pt x="201" y="175"/>
                  <a:pt x="202" y="177"/>
                  <a:pt x="203" y="178"/>
                </a:cubicBezTo>
                <a:cubicBezTo>
                  <a:pt x="205" y="181"/>
                  <a:pt x="206" y="185"/>
                  <a:pt x="208" y="188"/>
                </a:cubicBezTo>
                <a:cubicBezTo>
                  <a:pt x="210" y="191"/>
                  <a:pt x="212" y="195"/>
                  <a:pt x="213" y="198"/>
                </a:cubicBezTo>
                <a:cubicBezTo>
                  <a:pt x="214" y="200"/>
                  <a:pt x="215" y="201"/>
                  <a:pt x="216" y="203"/>
                </a:cubicBezTo>
                <a:cubicBezTo>
                  <a:pt x="217" y="205"/>
                  <a:pt x="218" y="206"/>
                  <a:pt x="218" y="208"/>
                </a:cubicBezTo>
                <a:cubicBezTo>
                  <a:pt x="220" y="211"/>
                  <a:pt x="222" y="215"/>
                  <a:pt x="223" y="218"/>
                </a:cubicBezTo>
                <a:cubicBezTo>
                  <a:pt x="225" y="222"/>
                  <a:pt x="226" y="225"/>
                  <a:pt x="228" y="229"/>
                </a:cubicBezTo>
                <a:cubicBezTo>
                  <a:pt x="228" y="231"/>
                  <a:pt x="229" y="233"/>
                  <a:pt x="230" y="234"/>
                </a:cubicBezTo>
                <a:cubicBezTo>
                  <a:pt x="231" y="236"/>
                  <a:pt x="231" y="238"/>
                  <a:pt x="232" y="240"/>
                </a:cubicBezTo>
                <a:cubicBezTo>
                  <a:pt x="243" y="269"/>
                  <a:pt x="252" y="300"/>
                  <a:pt x="258" y="332"/>
                </a:cubicBezTo>
                <a:cubicBezTo>
                  <a:pt x="259" y="334"/>
                  <a:pt x="259" y="336"/>
                  <a:pt x="259" y="338"/>
                </a:cubicBezTo>
                <a:cubicBezTo>
                  <a:pt x="260" y="344"/>
                  <a:pt x="260" y="344"/>
                  <a:pt x="260" y="344"/>
                </a:cubicBezTo>
                <a:cubicBezTo>
                  <a:pt x="261" y="348"/>
                  <a:pt x="262" y="352"/>
                  <a:pt x="262" y="356"/>
                </a:cubicBezTo>
                <a:cubicBezTo>
                  <a:pt x="263" y="364"/>
                  <a:pt x="264" y="372"/>
                  <a:pt x="265" y="380"/>
                </a:cubicBezTo>
                <a:cubicBezTo>
                  <a:pt x="265" y="384"/>
                  <a:pt x="266" y="388"/>
                  <a:pt x="266" y="392"/>
                </a:cubicBezTo>
                <a:cubicBezTo>
                  <a:pt x="266" y="396"/>
                  <a:pt x="266" y="401"/>
                  <a:pt x="267" y="405"/>
                </a:cubicBezTo>
                <a:cubicBezTo>
                  <a:pt x="267" y="411"/>
                  <a:pt x="267" y="411"/>
                  <a:pt x="267" y="411"/>
                </a:cubicBezTo>
                <a:cubicBezTo>
                  <a:pt x="267" y="417"/>
                  <a:pt x="267" y="417"/>
                  <a:pt x="267" y="417"/>
                </a:cubicBezTo>
                <a:cubicBezTo>
                  <a:pt x="267" y="429"/>
                  <a:pt x="267" y="429"/>
                  <a:pt x="267" y="429"/>
                </a:cubicBezTo>
                <a:cubicBezTo>
                  <a:pt x="267" y="441"/>
                  <a:pt x="267" y="441"/>
                  <a:pt x="267" y="441"/>
                </a:cubicBezTo>
                <a:cubicBezTo>
                  <a:pt x="267" y="448"/>
                  <a:pt x="267" y="448"/>
                  <a:pt x="267" y="448"/>
                </a:cubicBezTo>
                <a:cubicBezTo>
                  <a:pt x="267" y="454"/>
                  <a:pt x="267" y="454"/>
                  <a:pt x="267" y="454"/>
                </a:cubicBezTo>
                <a:cubicBezTo>
                  <a:pt x="266" y="458"/>
                  <a:pt x="266" y="462"/>
                  <a:pt x="266" y="466"/>
                </a:cubicBezTo>
                <a:cubicBezTo>
                  <a:pt x="266" y="470"/>
                  <a:pt x="265" y="474"/>
                  <a:pt x="265" y="478"/>
                </a:cubicBezTo>
                <a:cubicBezTo>
                  <a:pt x="264" y="486"/>
                  <a:pt x="263" y="495"/>
                  <a:pt x="262" y="503"/>
                </a:cubicBezTo>
                <a:cubicBezTo>
                  <a:pt x="262" y="507"/>
                  <a:pt x="261" y="511"/>
                  <a:pt x="260" y="515"/>
                </a:cubicBezTo>
                <a:cubicBezTo>
                  <a:pt x="259" y="521"/>
                  <a:pt x="259" y="521"/>
                  <a:pt x="259" y="521"/>
                </a:cubicBezTo>
                <a:cubicBezTo>
                  <a:pt x="259" y="523"/>
                  <a:pt x="259" y="525"/>
                  <a:pt x="258" y="527"/>
                </a:cubicBezTo>
                <a:cubicBezTo>
                  <a:pt x="252" y="559"/>
                  <a:pt x="243" y="590"/>
                  <a:pt x="232" y="619"/>
                </a:cubicBezTo>
                <a:cubicBezTo>
                  <a:pt x="231" y="620"/>
                  <a:pt x="231" y="622"/>
                  <a:pt x="230" y="624"/>
                </a:cubicBezTo>
                <a:cubicBezTo>
                  <a:pt x="229" y="626"/>
                  <a:pt x="228" y="628"/>
                  <a:pt x="228" y="629"/>
                </a:cubicBezTo>
                <a:cubicBezTo>
                  <a:pt x="226" y="633"/>
                  <a:pt x="225" y="636"/>
                  <a:pt x="223" y="640"/>
                </a:cubicBezTo>
                <a:cubicBezTo>
                  <a:pt x="221" y="643"/>
                  <a:pt x="220" y="647"/>
                  <a:pt x="218" y="650"/>
                </a:cubicBezTo>
                <a:cubicBezTo>
                  <a:pt x="217" y="652"/>
                  <a:pt x="217" y="654"/>
                  <a:pt x="216" y="655"/>
                </a:cubicBezTo>
                <a:cubicBezTo>
                  <a:pt x="215" y="657"/>
                  <a:pt x="214" y="659"/>
                  <a:pt x="213" y="660"/>
                </a:cubicBezTo>
                <a:cubicBezTo>
                  <a:pt x="212" y="664"/>
                  <a:pt x="210" y="667"/>
                  <a:pt x="208" y="670"/>
                </a:cubicBezTo>
                <a:cubicBezTo>
                  <a:pt x="206" y="674"/>
                  <a:pt x="204" y="677"/>
                  <a:pt x="203" y="680"/>
                </a:cubicBezTo>
                <a:cubicBezTo>
                  <a:pt x="202" y="682"/>
                  <a:pt x="201" y="683"/>
                  <a:pt x="200" y="685"/>
                </a:cubicBezTo>
                <a:cubicBezTo>
                  <a:pt x="199" y="687"/>
                  <a:pt x="198" y="688"/>
                  <a:pt x="197" y="690"/>
                </a:cubicBezTo>
                <a:cubicBezTo>
                  <a:pt x="195" y="693"/>
                  <a:pt x="193" y="696"/>
                  <a:pt x="191" y="699"/>
                </a:cubicBezTo>
                <a:cubicBezTo>
                  <a:pt x="176" y="723"/>
                  <a:pt x="159" y="745"/>
                  <a:pt x="142" y="764"/>
                </a:cubicBezTo>
                <a:cubicBezTo>
                  <a:pt x="124" y="782"/>
                  <a:pt x="106" y="798"/>
                  <a:pt x="90" y="810"/>
                </a:cubicBezTo>
                <a:cubicBezTo>
                  <a:pt x="85" y="814"/>
                  <a:pt x="81" y="817"/>
                  <a:pt x="77" y="819"/>
                </a:cubicBezTo>
                <a:cubicBezTo>
                  <a:pt x="75" y="821"/>
                  <a:pt x="73" y="822"/>
                  <a:pt x="71" y="823"/>
                </a:cubicBezTo>
                <a:cubicBezTo>
                  <a:pt x="70" y="824"/>
                  <a:pt x="69" y="825"/>
                  <a:pt x="68" y="825"/>
                </a:cubicBezTo>
                <a:cubicBezTo>
                  <a:pt x="67" y="826"/>
                  <a:pt x="66" y="826"/>
                  <a:pt x="65" y="827"/>
                </a:cubicBezTo>
                <a:cubicBezTo>
                  <a:pt x="61" y="829"/>
                  <a:pt x="58" y="832"/>
                  <a:pt x="54" y="834"/>
                </a:cubicBezTo>
                <a:cubicBezTo>
                  <a:pt x="50" y="836"/>
                  <a:pt x="47" y="838"/>
                  <a:pt x="44" y="840"/>
                </a:cubicBezTo>
                <a:cubicBezTo>
                  <a:pt x="42" y="841"/>
                  <a:pt x="40" y="841"/>
                  <a:pt x="39" y="842"/>
                </a:cubicBezTo>
                <a:cubicBezTo>
                  <a:pt x="37" y="843"/>
                  <a:pt x="36" y="844"/>
                  <a:pt x="34" y="844"/>
                </a:cubicBezTo>
                <a:cubicBezTo>
                  <a:pt x="31" y="846"/>
                  <a:pt x="28" y="847"/>
                  <a:pt x="26" y="848"/>
                </a:cubicBezTo>
                <a:cubicBezTo>
                  <a:pt x="23" y="850"/>
                  <a:pt x="20" y="851"/>
                  <a:pt x="18" y="852"/>
                </a:cubicBezTo>
                <a:cubicBezTo>
                  <a:pt x="16" y="853"/>
                  <a:pt x="14" y="854"/>
                  <a:pt x="12" y="854"/>
                </a:cubicBezTo>
                <a:cubicBezTo>
                  <a:pt x="4" y="857"/>
                  <a:pt x="0" y="859"/>
                  <a:pt x="0" y="859"/>
                </a:cubicBezTo>
                <a:close/>
              </a:path>
            </a:pathLst>
          </a:custGeom>
          <a:solidFill>
            <a:schemeClr val="accent1">
              <a:lumMod val="100000"/>
            </a:schemeClr>
          </a:solidFill>
          <a:ln>
            <a:noFill/>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2400" b="0" i="0" u="none" strike="noStrike" kern="1200" cap="none" spc="0" normalizeH="0" baseline="0" noProof="0">
              <a:ln>
                <a:noFill/>
              </a:ln>
              <a:solidFill>
                <a:srgbClr val="000000"/>
              </a:solidFill>
              <a:effectLst/>
              <a:uLnTx/>
              <a:uFillTx/>
              <a:latin typeface="Arial"/>
              <a:cs typeface="+mn-cs"/>
            </a:endParaRPr>
          </a:p>
        </p:txBody>
      </p:sp>
      <p:sp>
        <p:nvSpPr>
          <p:cNvPr id="6" name="Freeform: Shape 20">
            <a:extLst>
              <a:ext uri="{FF2B5EF4-FFF2-40B4-BE49-F238E27FC236}">
                <a16:creationId xmlns:a16="http://schemas.microsoft.com/office/drawing/2014/main" id="{44A763B7-B892-481E-92D2-2FB06FC452C7}"/>
              </a:ext>
            </a:extLst>
          </p:cNvPr>
          <p:cNvSpPr/>
          <p:nvPr/>
        </p:nvSpPr>
        <p:spPr>
          <a:xfrm rot="14926095" flipH="1" flipV="1">
            <a:off x="562851" y="2868536"/>
            <a:ext cx="1224570" cy="1120928"/>
          </a:xfrm>
          <a:custGeom>
            <a:avLst/>
            <a:gdLst>
              <a:gd name="connsiteX0" fmla="*/ 1330872 w 3860711"/>
              <a:gd name="connsiteY0" fmla="*/ 0 h 3533956"/>
              <a:gd name="connsiteX1" fmla="*/ 3860711 w 3860711"/>
              <a:gd name="connsiteY1" fmla="*/ 1692593 h 3533956"/>
              <a:gd name="connsiteX2" fmla="*/ 1532801 w 3860711"/>
              <a:gd name="connsiteY2" fmla="*/ 3529013 h 3533956"/>
              <a:gd name="connsiteX3" fmla="*/ 1330872 w 3860711"/>
              <a:gd name="connsiteY3" fmla="*/ 0 h 3533956"/>
            </a:gdLst>
            <a:ahLst/>
            <a:cxnLst>
              <a:cxn ang="0">
                <a:pos x="connsiteX0" y="connsiteY0"/>
              </a:cxn>
              <a:cxn ang="0">
                <a:pos x="connsiteX1" y="connsiteY1"/>
              </a:cxn>
              <a:cxn ang="0">
                <a:pos x="connsiteX2" y="connsiteY2"/>
              </a:cxn>
              <a:cxn ang="0">
                <a:pos x="connsiteX3" y="connsiteY3"/>
              </a:cxn>
            </a:cxnLst>
            <a:rect l="l" t="t" r="r" b="b"/>
            <a:pathLst>
              <a:path w="3860711" h="3533956">
                <a:moveTo>
                  <a:pt x="1330872" y="0"/>
                </a:moveTo>
                <a:cubicBezTo>
                  <a:pt x="1938567" y="0"/>
                  <a:pt x="3860711" y="754380"/>
                  <a:pt x="3860711" y="1692593"/>
                </a:cubicBezTo>
                <a:cubicBezTo>
                  <a:pt x="3860711" y="2582228"/>
                  <a:pt x="2246224" y="3455670"/>
                  <a:pt x="1532801" y="3529013"/>
                </a:cubicBezTo>
                <a:cubicBezTo>
                  <a:pt x="-7391" y="3687128"/>
                  <a:pt x="-873214" y="0"/>
                  <a:pt x="1330872" y="0"/>
                </a:cubicBezTo>
                <a:close/>
              </a:path>
            </a:pathLst>
          </a:custGeom>
          <a:solidFill>
            <a:schemeClr val="bg1"/>
          </a:solidFill>
          <a:ln w="9525" cap="flat">
            <a:noFill/>
            <a:prstDash val="solid"/>
            <a:miter/>
          </a:ln>
          <a:effectLst>
            <a:outerShdw blurRad="203200" dist="25400" dir="2700000" algn="tl" rotWithShape="0">
              <a:prstClr val="black">
                <a:alpha val="32000"/>
              </a:prstClr>
            </a:outerShdw>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cs typeface="+mn-cs"/>
            </a:endParaRPr>
          </a:p>
        </p:txBody>
      </p:sp>
      <p:grpSp>
        <p:nvGrpSpPr>
          <p:cNvPr id="7" name="Group 42">
            <a:extLst>
              <a:ext uri="{FF2B5EF4-FFF2-40B4-BE49-F238E27FC236}">
                <a16:creationId xmlns:a16="http://schemas.microsoft.com/office/drawing/2014/main" id="{C77A7405-9E88-44AB-A9A5-25CA5539CF38}"/>
              </a:ext>
            </a:extLst>
          </p:cNvPr>
          <p:cNvGrpSpPr/>
          <p:nvPr/>
        </p:nvGrpSpPr>
        <p:grpSpPr>
          <a:xfrm>
            <a:off x="9655233" y="2410235"/>
            <a:ext cx="2225924" cy="2037530"/>
            <a:chOff x="9269153" y="2853216"/>
            <a:chExt cx="2225924" cy="2037530"/>
          </a:xfrm>
        </p:grpSpPr>
        <p:sp>
          <p:nvSpPr>
            <p:cNvPr id="8" name="Freeform: Shape 4">
              <a:extLst>
                <a:ext uri="{FF2B5EF4-FFF2-40B4-BE49-F238E27FC236}">
                  <a16:creationId xmlns:a16="http://schemas.microsoft.com/office/drawing/2014/main" id="{201090EA-65E0-4308-B796-D5C861942C62}"/>
                </a:ext>
              </a:extLst>
            </p:cNvPr>
            <p:cNvSpPr/>
            <p:nvPr/>
          </p:nvSpPr>
          <p:spPr>
            <a:xfrm>
              <a:off x="9269153" y="2853216"/>
              <a:ext cx="2225924" cy="2037530"/>
            </a:xfrm>
            <a:custGeom>
              <a:avLst/>
              <a:gdLst>
                <a:gd name="connsiteX0" fmla="*/ 1330872 w 3860711"/>
                <a:gd name="connsiteY0" fmla="*/ 0 h 3533956"/>
                <a:gd name="connsiteX1" fmla="*/ 3860711 w 3860711"/>
                <a:gd name="connsiteY1" fmla="*/ 1692593 h 3533956"/>
                <a:gd name="connsiteX2" fmla="*/ 1532801 w 3860711"/>
                <a:gd name="connsiteY2" fmla="*/ 3529013 h 3533956"/>
                <a:gd name="connsiteX3" fmla="*/ 1330872 w 3860711"/>
                <a:gd name="connsiteY3" fmla="*/ 0 h 3533956"/>
              </a:gdLst>
              <a:ahLst/>
              <a:cxnLst>
                <a:cxn ang="0">
                  <a:pos x="connsiteX0" y="connsiteY0"/>
                </a:cxn>
                <a:cxn ang="0">
                  <a:pos x="connsiteX1" y="connsiteY1"/>
                </a:cxn>
                <a:cxn ang="0">
                  <a:pos x="connsiteX2" y="connsiteY2"/>
                </a:cxn>
                <a:cxn ang="0">
                  <a:pos x="connsiteX3" y="connsiteY3"/>
                </a:cxn>
              </a:cxnLst>
              <a:rect l="l" t="t" r="r" b="b"/>
              <a:pathLst>
                <a:path w="3860711" h="3533956">
                  <a:moveTo>
                    <a:pt x="1330872" y="0"/>
                  </a:moveTo>
                  <a:cubicBezTo>
                    <a:pt x="1938567" y="0"/>
                    <a:pt x="3860711" y="754380"/>
                    <a:pt x="3860711" y="1692593"/>
                  </a:cubicBezTo>
                  <a:cubicBezTo>
                    <a:pt x="3860711" y="2582228"/>
                    <a:pt x="2246224" y="3455670"/>
                    <a:pt x="1532801" y="3529013"/>
                  </a:cubicBezTo>
                  <a:cubicBezTo>
                    <a:pt x="-7391" y="3687128"/>
                    <a:pt x="-873214" y="0"/>
                    <a:pt x="1330872" y="0"/>
                  </a:cubicBezTo>
                  <a:close/>
                </a:path>
              </a:pathLst>
            </a:custGeom>
            <a:gradFill flip="none" rotWithShape="1">
              <a:gsLst>
                <a:gs pos="0">
                  <a:schemeClr val="accent1">
                    <a:lumMod val="100000"/>
                  </a:schemeClr>
                </a:gs>
                <a:gs pos="100000">
                  <a:schemeClr val="accent1">
                    <a:lumMod val="100000"/>
                  </a:schemeClr>
                </a:gs>
              </a:gsLst>
              <a:lin ang="8100000" scaled="1"/>
              <a:tileRect/>
            </a:gra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cs typeface="+mn-cs"/>
              </a:endParaRPr>
            </a:p>
          </p:txBody>
        </p:sp>
        <p:sp>
          <p:nvSpPr>
            <p:cNvPr id="9" name="Freeform: Shape 19">
              <a:extLst>
                <a:ext uri="{FF2B5EF4-FFF2-40B4-BE49-F238E27FC236}">
                  <a16:creationId xmlns:a16="http://schemas.microsoft.com/office/drawing/2014/main" id="{690D4DD0-1051-4026-B4FD-176E222F26E3}"/>
                </a:ext>
              </a:extLst>
            </p:cNvPr>
            <p:cNvSpPr/>
            <p:nvPr/>
          </p:nvSpPr>
          <p:spPr>
            <a:xfrm>
              <a:off x="9526386" y="3090682"/>
              <a:ext cx="1707078" cy="1562598"/>
            </a:xfrm>
            <a:custGeom>
              <a:avLst/>
              <a:gdLst>
                <a:gd name="connsiteX0" fmla="*/ 1330872 w 3860711"/>
                <a:gd name="connsiteY0" fmla="*/ 0 h 3533956"/>
                <a:gd name="connsiteX1" fmla="*/ 3860711 w 3860711"/>
                <a:gd name="connsiteY1" fmla="*/ 1692593 h 3533956"/>
                <a:gd name="connsiteX2" fmla="*/ 1532801 w 3860711"/>
                <a:gd name="connsiteY2" fmla="*/ 3529013 h 3533956"/>
                <a:gd name="connsiteX3" fmla="*/ 1330872 w 3860711"/>
                <a:gd name="connsiteY3" fmla="*/ 0 h 3533956"/>
              </a:gdLst>
              <a:ahLst/>
              <a:cxnLst>
                <a:cxn ang="0">
                  <a:pos x="connsiteX0" y="connsiteY0"/>
                </a:cxn>
                <a:cxn ang="0">
                  <a:pos x="connsiteX1" y="connsiteY1"/>
                </a:cxn>
                <a:cxn ang="0">
                  <a:pos x="connsiteX2" y="connsiteY2"/>
                </a:cxn>
                <a:cxn ang="0">
                  <a:pos x="connsiteX3" y="connsiteY3"/>
                </a:cxn>
              </a:cxnLst>
              <a:rect l="l" t="t" r="r" b="b"/>
              <a:pathLst>
                <a:path w="3860711" h="3533956">
                  <a:moveTo>
                    <a:pt x="1330872" y="0"/>
                  </a:moveTo>
                  <a:cubicBezTo>
                    <a:pt x="1938567" y="0"/>
                    <a:pt x="3860711" y="754380"/>
                    <a:pt x="3860711" y="1692593"/>
                  </a:cubicBezTo>
                  <a:cubicBezTo>
                    <a:pt x="3860711" y="2582228"/>
                    <a:pt x="2246224" y="3455670"/>
                    <a:pt x="1532801" y="3529013"/>
                  </a:cubicBezTo>
                  <a:cubicBezTo>
                    <a:pt x="-7391" y="3687128"/>
                    <a:pt x="-873214" y="0"/>
                    <a:pt x="1330872" y="0"/>
                  </a:cubicBezTo>
                  <a:close/>
                </a:path>
              </a:pathLst>
            </a:custGeom>
            <a:solidFill>
              <a:schemeClr val="bg1"/>
            </a:solidFill>
            <a:ln w="9525" cap="flat">
              <a:noFill/>
              <a:prstDash val="solid"/>
              <a:miter/>
            </a:ln>
            <a:effectLst>
              <a:outerShdw blurRad="203200" dist="25400" dir="2700000" algn="tl" rotWithShape="0">
                <a:prstClr val="black">
                  <a:alpha val="32000"/>
                </a:prstClr>
              </a:outerShdw>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cs typeface="+mn-cs"/>
              </a:endParaRPr>
            </a:p>
          </p:txBody>
        </p:sp>
        <p:sp>
          <p:nvSpPr>
            <p:cNvPr id="10" name="Oval 21">
              <a:extLst>
                <a:ext uri="{FF2B5EF4-FFF2-40B4-BE49-F238E27FC236}">
                  <a16:creationId xmlns:a16="http://schemas.microsoft.com/office/drawing/2014/main" id="{194B8AD8-0B11-445C-82B7-EEC671FBEAD7}"/>
                </a:ext>
              </a:extLst>
            </p:cNvPr>
            <p:cNvSpPr/>
            <p:nvPr/>
          </p:nvSpPr>
          <p:spPr>
            <a:xfrm>
              <a:off x="10464800" y="3485613"/>
              <a:ext cx="335280" cy="335280"/>
            </a:xfrm>
            <a:prstGeom prst="ellipse">
              <a:avLst/>
            </a:prstGeom>
            <a:solidFill>
              <a:schemeClr val="accent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cs typeface="+mn-cs"/>
              </a:endParaRPr>
            </a:p>
          </p:txBody>
        </p:sp>
      </p:grpSp>
      <p:sp>
        <p:nvSpPr>
          <p:cNvPr id="11" name="Freeform 14">
            <a:extLst>
              <a:ext uri="{FF2B5EF4-FFF2-40B4-BE49-F238E27FC236}">
                <a16:creationId xmlns:a16="http://schemas.microsoft.com/office/drawing/2014/main" id="{9B993B64-E4BB-44F6-8465-30BDF6032CC5}"/>
              </a:ext>
            </a:extLst>
          </p:cNvPr>
          <p:cNvSpPr>
            <a:spLocks/>
          </p:cNvSpPr>
          <p:nvPr/>
        </p:nvSpPr>
        <p:spPr bwMode="auto">
          <a:xfrm>
            <a:off x="8268048" y="1539616"/>
            <a:ext cx="1154387" cy="3768032"/>
          </a:xfrm>
          <a:custGeom>
            <a:avLst/>
            <a:gdLst>
              <a:gd name="T0" fmla="*/ 25 w 405"/>
              <a:gd name="T1" fmla="*/ 1290 h 1305"/>
              <a:gd name="T2" fmla="*/ 53 w 405"/>
              <a:gd name="T3" fmla="*/ 1272 h 1305"/>
              <a:gd name="T4" fmla="*/ 137 w 405"/>
              <a:gd name="T5" fmla="*/ 1200 h 1305"/>
              <a:gd name="T6" fmla="*/ 154 w 405"/>
              <a:gd name="T7" fmla="*/ 1182 h 1305"/>
              <a:gd name="T8" fmla="*/ 171 w 405"/>
              <a:gd name="T9" fmla="*/ 1163 h 1305"/>
              <a:gd name="T10" fmla="*/ 221 w 405"/>
              <a:gd name="T11" fmla="*/ 1095 h 1305"/>
              <a:gd name="T12" fmla="*/ 263 w 405"/>
              <a:gd name="T13" fmla="*/ 1022 h 1305"/>
              <a:gd name="T14" fmla="*/ 279 w 405"/>
              <a:gd name="T15" fmla="*/ 986 h 1305"/>
              <a:gd name="T16" fmla="*/ 292 w 405"/>
              <a:gd name="T17" fmla="*/ 956 h 1305"/>
              <a:gd name="T18" fmla="*/ 303 w 405"/>
              <a:gd name="T19" fmla="*/ 925 h 1305"/>
              <a:gd name="T20" fmla="*/ 316 w 405"/>
              <a:gd name="T21" fmla="*/ 885 h 1305"/>
              <a:gd name="T22" fmla="*/ 326 w 405"/>
              <a:gd name="T23" fmla="*/ 843 h 1305"/>
              <a:gd name="T24" fmla="*/ 333 w 405"/>
              <a:gd name="T25" fmla="*/ 809 h 1305"/>
              <a:gd name="T26" fmla="*/ 339 w 405"/>
              <a:gd name="T27" fmla="*/ 775 h 1305"/>
              <a:gd name="T28" fmla="*/ 344 w 405"/>
              <a:gd name="T29" fmla="*/ 731 h 1305"/>
              <a:gd name="T30" fmla="*/ 346 w 405"/>
              <a:gd name="T31" fmla="*/ 687 h 1305"/>
              <a:gd name="T32" fmla="*/ 347 w 405"/>
              <a:gd name="T33" fmla="*/ 653 h 1305"/>
              <a:gd name="T34" fmla="*/ 346 w 405"/>
              <a:gd name="T35" fmla="*/ 617 h 1305"/>
              <a:gd name="T36" fmla="*/ 344 w 405"/>
              <a:gd name="T37" fmla="*/ 573 h 1305"/>
              <a:gd name="T38" fmla="*/ 339 w 405"/>
              <a:gd name="T39" fmla="*/ 529 h 1305"/>
              <a:gd name="T40" fmla="*/ 333 w 405"/>
              <a:gd name="T41" fmla="*/ 495 h 1305"/>
              <a:gd name="T42" fmla="*/ 326 w 405"/>
              <a:gd name="T43" fmla="*/ 461 h 1305"/>
              <a:gd name="T44" fmla="*/ 316 w 405"/>
              <a:gd name="T45" fmla="*/ 420 h 1305"/>
              <a:gd name="T46" fmla="*/ 303 w 405"/>
              <a:gd name="T47" fmla="*/ 380 h 1305"/>
              <a:gd name="T48" fmla="*/ 292 w 405"/>
              <a:gd name="T49" fmla="*/ 348 h 1305"/>
              <a:gd name="T50" fmla="*/ 279 w 405"/>
              <a:gd name="T51" fmla="*/ 318 h 1305"/>
              <a:gd name="T52" fmla="*/ 263 w 405"/>
              <a:gd name="T53" fmla="*/ 282 h 1305"/>
              <a:gd name="T54" fmla="*/ 221 w 405"/>
              <a:gd name="T55" fmla="*/ 209 h 1305"/>
              <a:gd name="T56" fmla="*/ 171 w 405"/>
              <a:gd name="T57" fmla="*/ 142 h 1305"/>
              <a:gd name="T58" fmla="*/ 146 w 405"/>
              <a:gd name="T59" fmla="*/ 113 h 1305"/>
              <a:gd name="T60" fmla="*/ 120 w 405"/>
              <a:gd name="T61" fmla="*/ 88 h 1305"/>
              <a:gd name="T62" fmla="*/ 46 w 405"/>
              <a:gd name="T63" fmla="*/ 28 h 1305"/>
              <a:gd name="T64" fmla="*/ 16 w 405"/>
              <a:gd name="T65" fmla="*/ 9 h 1305"/>
              <a:gd name="T66" fmla="*/ 17 w 405"/>
              <a:gd name="T67" fmla="*/ 6 h 1305"/>
              <a:gd name="T68" fmla="*/ 51 w 405"/>
              <a:gd name="T69" fmla="*/ 21 h 1305"/>
              <a:gd name="T70" fmla="*/ 82 w 405"/>
              <a:gd name="T71" fmla="*/ 37 h 1305"/>
              <a:gd name="T72" fmla="*/ 107 w 405"/>
              <a:gd name="T73" fmla="*/ 53 h 1305"/>
              <a:gd name="T74" fmla="*/ 214 w 405"/>
              <a:gd name="T75" fmla="*/ 144 h 1305"/>
              <a:gd name="T76" fmla="*/ 234 w 405"/>
              <a:gd name="T77" fmla="*/ 166 h 1305"/>
              <a:gd name="T78" fmla="*/ 290 w 405"/>
              <a:gd name="T79" fmla="*/ 242 h 1305"/>
              <a:gd name="T80" fmla="*/ 307 w 405"/>
              <a:gd name="T81" fmla="*/ 271 h 1305"/>
              <a:gd name="T82" fmla="*/ 327 w 405"/>
              <a:gd name="T83" fmla="*/ 309 h 1305"/>
              <a:gd name="T84" fmla="*/ 345 w 405"/>
              <a:gd name="T85" fmla="*/ 348 h 1305"/>
              <a:gd name="T86" fmla="*/ 358 w 405"/>
              <a:gd name="T87" fmla="*/ 381 h 1305"/>
              <a:gd name="T88" fmla="*/ 369 w 405"/>
              <a:gd name="T89" fmla="*/ 415 h 1305"/>
              <a:gd name="T90" fmla="*/ 393 w 405"/>
              <a:gd name="T91" fmla="*/ 513 h 1305"/>
              <a:gd name="T92" fmla="*/ 401 w 405"/>
              <a:gd name="T93" fmla="*/ 578 h 1305"/>
              <a:gd name="T94" fmla="*/ 404 w 405"/>
              <a:gd name="T95" fmla="*/ 625 h 1305"/>
              <a:gd name="T96" fmla="*/ 404 w 405"/>
              <a:gd name="T97" fmla="*/ 671 h 1305"/>
              <a:gd name="T98" fmla="*/ 403 w 405"/>
              <a:gd name="T99" fmla="*/ 708 h 1305"/>
              <a:gd name="T100" fmla="*/ 394 w 405"/>
              <a:gd name="T101" fmla="*/ 782 h 1305"/>
              <a:gd name="T102" fmla="*/ 374 w 405"/>
              <a:gd name="T103" fmla="*/ 872 h 1305"/>
              <a:gd name="T104" fmla="*/ 363 w 405"/>
              <a:gd name="T105" fmla="*/ 906 h 1305"/>
              <a:gd name="T106" fmla="*/ 348 w 405"/>
              <a:gd name="T107" fmla="*/ 948 h 1305"/>
              <a:gd name="T108" fmla="*/ 330 w 405"/>
              <a:gd name="T109" fmla="*/ 988 h 1305"/>
              <a:gd name="T110" fmla="*/ 315 w 405"/>
              <a:gd name="T111" fmla="*/ 1019 h 1305"/>
              <a:gd name="T112" fmla="*/ 298 w 405"/>
              <a:gd name="T113" fmla="*/ 1048 h 1305"/>
              <a:gd name="T114" fmla="*/ 135 w 405"/>
              <a:gd name="T115" fmla="*/ 1231 h 1305"/>
              <a:gd name="T116" fmla="*/ 103 w 405"/>
              <a:gd name="T117" fmla="*/ 1254 h 1305"/>
              <a:gd name="T118" fmla="*/ 66 w 405"/>
              <a:gd name="T119" fmla="*/ 1276 h 1305"/>
              <a:gd name="T120" fmla="*/ 38 w 405"/>
              <a:gd name="T121" fmla="*/ 1289 h 1305"/>
              <a:gd name="T122" fmla="*/ 0 w 405"/>
              <a:gd name="T123" fmla="*/ 1305 h 1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05" h="1305">
                <a:moveTo>
                  <a:pt x="0" y="1305"/>
                </a:moveTo>
                <a:cubicBezTo>
                  <a:pt x="0" y="1305"/>
                  <a:pt x="5" y="1302"/>
                  <a:pt x="16" y="1295"/>
                </a:cubicBezTo>
                <a:cubicBezTo>
                  <a:pt x="19" y="1294"/>
                  <a:pt x="21" y="1292"/>
                  <a:pt x="25" y="1290"/>
                </a:cubicBezTo>
                <a:cubicBezTo>
                  <a:pt x="28" y="1288"/>
                  <a:pt x="31" y="1286"/>
                  <a:pt x="35" y="1284"/>
                </a:cubicBezTo>
                <a:cubicBezTo>
                  <a:pt x="38" y="1282"/>
                  <a:pt x="42" y="1279"/>
                  <a:pt x="46" y="1276"/>
                </a:cubicBezTo>
                <a:cubicBezTo>
                  <a:pt x="48" y="1275"/>
                  <a:pt x="50" y="1273"/>
                  <a:pt x="53" y="1272"/>
                </a:cubicBezTo>
                <a:cubicBezTo>
                  <a:pt x="55" y="1270"/>
                  <a:pt x="57" y="1269"/>
                  <a:pt x="59" y="1267"/>
                </a:cubicBezTo>
                <a:cubicBezTo>
                  <a:pt x="77" y="1254"/>
                  <a:pt x="98" y="1237"/>
                  <a:pt x="120" y="1216"/>
                </a:cubicBezTo>
                <a:cubicBezTo>
                  <a:pt x="126" y="1211"/>
                  <a:pt x="131" y="1206"/>
                  <a:pt x="137" y="1200"/>
                </a:cubicBezTo>
                <a:cubicBezTo>
                  <a:pt x="139" y="1199"/>
                  <a:pt x="140" y="1197"/>
                  <a:pt x="141" y="1196"/>
                </a:cubicBezTo>
                <a:cubicBezTo>
                  <a:pt x="143" y="1194"/>
                  <a:pt x="144" y="1193"/>
                  <a:pt x="146" y="1191"/>
                </a:cubicBezTo>
                <a:cubicBezTo>
                  <a:pt x="148" y="1188"/>
                  <a:pt x="151" y="1185"/>
                  <a:pt x="154" y="1182"/>
                </a:cubicBezTo>
                <a:cubicBezTo>
                  <a:pt x="156" y="1180"/>
                  <a:pt x="157" y="1179"/>
                  <a:pt x="158" y="1177"/>
                </a:cubicBezTo>
                <a:cubicBezTo>
                  <a:pt x="160" y="1176"/>
                  <a:pt x="161" y="1174"/>
                  <a:pt x="163" y="1172"/>
                </a:cubicBezTo>
                <a:cubicBezTo>
                  <a:pt x="165" y="1169"/>
                  <a:pt x="168" y="1166"/>
                  <a:pt x="171" y="1163"/>
                </a:cubicBezTo>
                <a:cubicBezTo>
                  <a:pt x="174" y="1159"/>
                  <a:pt x="177" y="1156"/>
                  <a:pt x="180" y="1152"/>
                </a:cubicBezTo>
                <a:cubicBezTo>
                  <a:pt x="182" y="1149"/>
                  <a:pt x="185" y="1145"/>
                  <a:pt x="188" y="1142"/>
                </a:cubicBezTo>
                <a:cubicBezTo>
                  <a:pt x="199" y="1127"/>
                  <a:pt x="210" y="1112"/>
                  <a:pt x="221" y="1095"/>
                </a:cubicBezTo>
                <a:cubicBezTo>
                  <a:pt x="232" y="1079"/>
                  <a:pt x="242" y="1061"/>
                  <a:pt x="252" y="1043"/>
                </a:cubicBezTo>
                <a:cubicBezTo>
                  <a:pt x="254" y="1039"/>
                  <a:pt x="257" y="1034"/>
                  <a:pt x="259" y="1029"/>
                </a:cubicBezTo>
                <a:cubicBezTo>
                  <a:pt x="260" y="1027"/>
                  <a:pt x="261" y="1025"/>
                  <a:pt x="263" y="1022"/>
                </a:cubicBezTo>
                <a:cubicBezTo>
                  <a:pt x="264" y="1020"/>
                  <a:pt x="265" y="1018"/>
                  <a:pt x="266" y="1015"/>
                </a:cubicBezTo>
                <a:cubicBezTo>
                  <a:pt x="268" y="1011"/>
                  <a:pt x="271" y="1006"/>
                  <a:pt x="273" y="1001"/>
                </a:cubicBezTo>
                <a:cubicBezTo>
                  <a:pt x="275" y="996"/>
                  <a:pt x="277" y="991"/>
                  <a:pt x="279" y="986"/>
                </a:cubicBezTo>
                <a:cubicBezTo>
                  <a:pt x="280" y="984"/>
                  <a:pt x="282" y="981"/>
                  <a:pt x="283" y="979"/>
                </a:cubicBezTo>
                <a:cubicBezTo>
                  <a:pt x="284" y="976"/>
                  <a:pt x="285" y="974"/>
                  <a:pt x="286" y="971"/>
                </a:cubicBezTo>
                <a:cubicBezTo>
                  <a:pt x="288" y="966"/>
                  <a:pt x="290" y="961"/>
                  <a:pt x="292" y="956"/>
                </a:cubicBezTo>
                <a:cubicBezTo>
                  <a:pt x="294" y="951"/>
                  <a:pt x="296" y="946"/>
                  <a:pt x="298" y="941"/>
                </a:cubicBezTo>
                <a:cubicBezTo>
                  <a:pt x="298" y="938"/>
                  <a:pt x="299" y="935"/>
                  <a:pt x="300" y="933"/>
                </a:cubicBezTo>
                <a:cubicBezTo>
                  <a:pt x="301" y="930"/>
                  <a:pt x="302" y="927"/>
                  <a:pt x="303" y="925"/>
                </a:cubicBezTo>
                <a:cubicBezTo>
                  <a:pt x="305" y="920"/>
                  <a:pt x="307" y="914"/>
                  <a:pt x="308" y="909"/>
                </a:cubicBezTo>
                <a:cubicBezTo>
                  <a:pt x="310" y="904"/>
                  <a:pt x="312" y="898"/>
                  <a:pt x="313" y="893"/>
                </a:cubicBezTo>
                <a:cubicBezTo>
                  <a:pt x="314" y="890"/>
                  <a:pt x="315" y="887"/>
                  <a:pt x="316" y="885"/>
                </a:cubicBezTo>
                <a:cubicBezTo>
                  <a:pt x="316" y="882"/>
                  <a:pt x="317" y="879"/>
                  <a:pt x="318" y="876"/>
                </a:cubicBezTo>
                <a:cubicBezTo>
                  <a:pt x="319" y="871"/>
                  <a:pt x="321" y="865"/>
                  <a:pt x="322" y="860"/>
                </a:cubicBezTo>
                <a:cubicBezTo>
                  <a:pt x="323" y="854"/>
                  <a:pt x="325" y="849"/>
                  <a:pt x="326" y="843"/>
                </a:cubicBezTo>
                <a:cubicBezTo>
                  <a:pt x="327" y="840"/>
                  <a:pt x="327" y="838"/>
                  <a:pt x="328" y="835"/>
                </a:cubicBezTo>
                <a:cubicBezTo>
                  <a:pt x="328" y="832"/>
                  <a:pt x="329" y="829"/>
                  <a:pt x="330" y="826"/>
                </a:cubicBezTo>
                <a:cubicBezTo>
                  <a:pt x="331" y="821"/>
                  <a:pt x="332" y="815"/>
                  <a:pt x="333" y="809"/>
                </a:cubicBezTo>
                <a:cubicBezTo>
                  <a:pt x="334" y="804"/>
                  <a:pt x="335" y="798"/>
                  <a:pt x="336" y="792"/>
                </a:cubicBezTo>
                <a:cubicBezTo>
                  <a:pt x="336" y="789"/>
                  <a:pt x="337" y="787"/>
                  <a:pt x="337" y="784"/>
                </a:cubicBezTo>
                <a:cubicBezTo>
                  <a:pt x="339" y="775"/>
                  <a:pt x="339" y="775"/>
                  <a:pt x="339" y="775"/>
                </a:cubicBezTo>
                <a:cubicBezTo>
                  <a:pt x="339" y="769"/>
                  <a:pt x="340" y="763"/>
                  <a:pt x="341" y="758"/>
                </a:cubicBezTo>
                <a:cubicBezTo>
                  <a:pt x="341" y="752"/>
                  <a:pt x="342" y="746"/>
                  <a:pt x="343" y="740"/>
                </a:cubicBezTo>
                <a:cubicBezTo>
                  <a:pt x="343" y="737"/>
                  <a:pt x="343" y="734"/>
                  <a:pt x="344" y="731"/>
                </a:cubicBezTo>
                <a:cubicBezTo>
                  <a:pt x="344" y="723"/>
                  <a:pt x="344" y="723"/>
                  <a:pt x="344" y="723"/>
                </a:cubicBezTo>
                <a:cubicBezTo>
                  <a:pt x="345" y="717"/>
                  <a:pt x="345" y="711"/>
                  <a:pt x="346" y="705"/>
                </a:cubicBezTo>
                <a:cubicBezTo>
                  <a:pt x="346" y="699"/>
                  <a:pt x="346" y="693"/>
                  <a:pt x="346" y="687"/>
                </a:cubicBezTo>
                <a:cubicBezTo>
                  <a:pt x="347" y="679"/>
                  <a:pt x="347" y="679"/>
                  <a:pt x="347" y="679"/>
                </a:cubicBezTo>
                <a:cubicBezTo>
                  <a:pt x="347" y="670"/>
                  <a:pt x="347" y="670"/>
                  <a:pt x="347" y="670"/>
                </a:cubicBezTo>
                <a:cubicBezTo>
                  <a:pt x="347" y="653"/>
                  <a:pt x="347" y="653"/>
                  <a:pt x="347" y="653"/>
                </a:cubicBezTo>
                <a:cubicBezTo>
                  <a:pt x="347" y="634"/>
                  <a:pt x="347" y="634"/>
                  <a:pt x="347" y="634"/>
                </a:cubicBezTo>
                <a:cubicBezTo>
                  <a:pt x="347" y="625"/>
                  <a:pt x="347" y="625"/>
                  <a:pt x="347" y="625"/>
                </a:cubicBezTo>
                <a:cubicBezTo>
                  <a:pt x="346" y="617"/>
                  <a:pt x="346" y="617"/>
                  <a:pt x="346" y="617"/>
                </a:cubicBezTo>
                <a:cubicBezTo>
                  <a:pt x="346" y="611"/>
                  <a:pt x="346" y="605"/>
                  <a:pt x="346" y="599"/>
                </a:cubicBezTo>
                <a:cubicBezTo>
                  <a:pt x="345" y="593"/>
                  <a:pt x="345" y="588"/>
                  <a:pt x="344" y="582"/>
                </a:cubicBezTo>
                <a:cubicBezTo>
                  <a:pt x="344" y="573"/>
                  <a:pt x="344" y="573"/>
                  <a:pt x="344" y="573"/>
                </a:cubicBezTo>
                <a:cubicBezTo>
                  <a:pt x="343" y="570"/>
                  <a:pt x="343" y="567"/>
                  <a:pt x="343" y="564"/>
                </a:cubicBezTo>
                <a:cubicBezTo>
                  <a:pt x="342" y="558"/>
                  <a:pt x="341" y="553"/>
                  <a:pt x="341" y="547"/>
                </a:cubicBezTo>
                <a:cubicBezTo>
                  <a:pt x="340" y="541"/>
                  <a:pt x="339" y="535"/>
                  <a:pt x="339" y="529"/>
                </a:cubicBezTo>
                <a:cubicBezTo>
                  <a:pt x="337" y="521"/>
                  <a:pt x="337" y="521"/>
                  <a:pt x="337" y="521"/>
                </a:cubicBezTo>
                <a:cubicBezTo>
                  <a:pt x="337" y="518"/>
                  <a:pt x="336" y="515"/>
                  <a:pt x="336" y="512"/>
                </a:cubicBezTo>
                <a:cubicBezTo>
                  <a:pt x="335" y="506"/>
                  <a:pt x="334" y="501"/>
                  <a:pt x="333" y="495"/>
                </a:cubicBezTo>
                <a:cubicBezTo>
                  <a:pt x="332" y="489"/>
                  <a:pt x="331" y="484"/>
                  <a:pt x="330" y="478"/>
                </a:cubicBezTo>
                <a:cubicBezTo>
                  <a:pt x="329" y="475"/>
                  <a:pt x="328" y="472"/>
                  <a:pt x="328" y="470"/>
                </a:cubicBezTo>
                <a:cubicBezTo>
                  <a:pt x="327" y="467"/>
                  <a:pt x="327" y="464"/>
                  <a:pt x="326" y="461"/>
                </a:cubicBezTo>
                <a:cubicBezTo>
                  <a:pt x="325" y="456"/>
                  <a:pt x="323" y="450"/>
                  <a:pt x="322" y="444"/>
                </a:cubicBezTo>
                <a:cubicBezTo>
                  <a:pt x="321" y="439"/>
                  <a:pt x="319" y="433"/>
                  <a:pt x="318" y="428"/>
                </a:cubicBezTo>
                <a:cubicBezTo>
                  <a:pt x="317" y="425"/>
                  <a:pt x="316" y="422"/>
                  <a:pt x="316" y="420"/>
                </a:cubicBezTo>
                <a:cubicBezTo>
                  <a:pt x="315" y="417"/>
                  <a:pt x="314" y="414"/>
                  <a:pt x="313" y="412"/>
                </a:cubicBezTo>
                <a:cubicBezTo>
                  <a:pt x="311" y="406"/>
                  <a:pt x="310" y="401"/>
                  <a:pt x="308" y="395"/>
                </a:cubicBezTo>
                <a:cubicBezTo>
                  <a:pt x="306" y="390"/>
                  <a:pt x="305" y="385"/>
                  <a:pt x="303" y="380"/>
                </a:cubicBezTo>
                <a:cubicBezTo>
                  <a:pt x="302" y="377"/>
                  <a:pt x="301" y="374"/>
                  <a:pt x="300" y="372"/>
                </a:cubicBezTo>
                <a:cubicBezTo>
                  <a:pt x="299" y="369"/>
                  <a:pt x="298" y="366"/>
                  <a:pt x="297" y="364"/>
                </a:cubicBezTo>
                <a:cubicBezTo>
                  <a:pt x="296" y="359"/>
                  <a:pt x="294" y="353"/>
                  <a:pt x="292" y="348"/>
                </a:cubicBezTo>
                <a:cubicBezTo>
                  <a:pt x="290" y="343"/>
                  <a:pt x="288" y="338"/>
                  <a:pt x="286" y="333"/>
                </a:cubicBezTo>
                <a:cubicBezTo>
                  <a:pt x="285" y="331"/>
                  <a:pt x="284" y="328"/>
                  <a:pt x="283" y="326"/>
                </a:cubicBezTo>
                <a:cubicBezTo>
                  <a:pt x="281" y="323"/>
                  <a:pt x="280" y="321"/>
                  <a:pt x="279" y="318"/>
                </a:cubicBezTo>
                <a:cubicBezTo>
                  <a:pt x="277" y="313"/>
                  <a:pt x="275" y="308"/>
                  <a:pt x="273" y="303"/>
                </a:cubicBezTo>
                <a:cubicBezTo>
                  <a:pt x="271" y="299"/>
                  <a:pt x="268" y="294"/>
                  <a:pt x="266" y="289"/>
                </a:cubicBezTo>
                <a:cubicBezTo>
                  <a:pt x="265" y="287"/>
                  <a:pt x="264" y="284"/>
                  <a:pt x="263" y="282"/>
                </a:cubicBezTo>
                <a:cubicBezTo>
                  <a:pt x="261" y="280"/>
                  <a:pt x="260" y="277"/>
                  <a:pt x="259" y="275"/>
                </a:cubicBezTo>
                <a:cubicBezTo>
                  <a:pt x="256" y="270"/>
                  <a:pt x="254" y="266"/>
                  <a:pt x="252" y="261"/>
                </a:cubicBezTo>
                <a:cubicBezTo>
                  <a:pt x="242" y="243"/>
                  <a:pt x="232" y="226"/>
                  <a:pt x="221" y="209"/>
                </a:cubicBezTo>
                <a:cubicBezTo>
                  <a:pt x="210" y="193"/>
                  <a:pt x="199" y="177"/>
                  <a:pt x="188" y="163"/>
                </a:cubicBezTo>
                <a:cubicBezTo>
                  <a:pt x="185" y="159"/>
                  <a:pt x="182" y="156"/>
                  <a:pt x="180" y="152"/>
                </a:cubicBezTo>
                <a:cubicBezTo>
                  <a:pt x="177" y="149"/>
                  <a:pt x="174" y="145"/>
                  <a:pt x="171" y="142"/>
                </a:cubicBezTo>
                <a:cubicBezTo>
                  <a:pt x="168" y="138"/>
                  <a:pt x="165" y="135"/>
                  <a:pt x="163" y="132"/>
                </a:cubicBezTo>
                <a:cubicBezTo>
                  <a:pt x="160" y="129"/>
                  <a:pt x="157" y="125"/>
                  <a:pt x="154" y="122"/>
                </a:cubicBezTo>
                <a:cubicBezTo>
                  <a:pt x="151" y="119"/>
                  <a:pt x="148" y="116"/>
                  <a:pt x="146" y="113"/>
                </a:cubicBezTo>
                <a:cubicBezTo>
                  <a:pt x="144" y="112"/>
                  <a:pt x="143" y="110"/>
                  <a:pt x="141" y="109"/>
                </a:cubicBezTo>
                <a:cubicBezTo>
                  <a:pt x="140" y="107"/>
                  <a:pt x="139" y="106"/>
                  <a:pt x="137" y="104"/>
                </a:cubicBezTo>
                <a:cubicBezTo>
                  <a:pt x="131" y="99"/>
                  <a:pt x="126" y="93"/>
                  <a:pt x="120" y="88"/>
                </a:cubicBezTo>
                <a:cubicBezTo>
                  <a:pt x="98" y="67"/>
                  <a:pt x="77" y="50"/>
                  <a:pt x="59" y="37"/>
                </a:cubicBezTo>
                <a:cubicBezTo>
                  <a:pt x="57" y="36"/>
                  <a:pt x="55" y="34"/>
                  <a:pt x="53" y="33"/>
                </a:cubicBezTo>
                <a:cubicBezTo>
                  <a:pt x="50" y="31"/>
                  <a:pt x="48" y="30"/>
                  <a:pt x="46" y="28"/>
                </a:cubicBezTo>
                <a:cubicBezTo>
                  <a:pt x="42" y="26"/>
                  <a:pt x="38" y="23"/>
                  <a:pt x="35" y="21"/>
                </a:cubicBezTo>
                <a:cubicBezTo>
                  <a:pt x="31" y="18"/>
                  <a:pt x="28" y="16"/>
                  <a:pt x="24" y="14"/>
                </a:cubicBezTo>
                <a:cubicBezTo>
                  <a:pt x="21" y="12"/>
                  <a:pt x="18" y="10"/>
                  <a:pt x="16" y="9"/>
                </a:cubicBezTo>
                <a:cubicBezTo>
                  <a:pt x="5" y="3"/>
                  <a:pt x="0" y="0"/>
                  <a:pt x="0" y="0"/>
                </a:cubicBezTo>
                <a:cubicBezTo>
                  <a:pt x="0" y="0"/>
                  <a:pt x="1" y="0"/>
                  <a:pt x="4" y="1"/>
                </a:cubicBezTo>
                <a:cubicBezTo>
                  <a:pt x="7" y="2"/>
                  <a:pt x="12" y="4"/>
                  <a:pt x="17" y="6"/>
                </a:cubicBezTo>
                <a:cubicBezTo>
                  <a:pt x="20" y="7"/>
                  <a:pt x="23" y="9"/>
                  <a:pt x="27" y="10"/>
                </a:cubicBezTo>
                <a:cubicBezTo>
                  <a:pt x="30" y="12"/>
                  <a:pt x="34" y="13"/>
                  <a:pt x="38" y="15"/>
                </a:cubicBezTo>
                <a:cubicBezTo>
                  <a:pt x="42" y="17"/>
                  <a:pt x="47" y="19"/>
                  <a:pt x="51" y="21"/>
                </a:cubicBezTo>
                <a:cubicBezTo>
                  <a:pt x="54" y="22"/>
                  <a:pt x="56" y="24"/>
                  <a:pt x="58" y="25"/>
                </a:cubicBezTo>
                <a:cubicBezTo>
                  <a:pt x="61" y="26"/>
                  <a:pt x="63" y="27"/>
                  <a:pt x="66" y="29"/>
                </a:cubicBezTo>
                <a:cubicBezTo>
                  <a:pt x="71" y="31"/>
                  <a:pt x="76" y="34"/>
                  <a:pt x="82" y="37"/>
                </a:cubicBezTo>
                <a:cubicBezTo>
                  <a:pt x="87" y="41"/>
                  <a:pt x="93" y="44"/>
                  <a:pt x="99" y="48"/>
                </a:cubicBezTo>
                <a:cubicBezTo>
                  <a:pt x="100" y="49"/>
                  <a:pt x="102" y="50"/>
                  <a:pt x="103" y="51"/>
                </a:cubicBezTo>
                <a:cubicBezTo>
                  <a:pt x="105" y="51"/>
                  <a:pt x="106" y="52"/>
                  <a:pt x="107" y="53"/>
                </a:cubicBezTo>
                <a:cubicBezTo>
                  <a:pt x="110" y="55"/>
                  <a:pt x="113" y="58"/>
                  <a:pt x="117" y="60"/>
                </a:cubicBezTo>
                <a:cubicBezTo>
                  <a:pt x="123" y="64"/>
                  <a:pt x="129" y="68"/>
                  <a:pt x="135" y="73"/>
                </a:cubicBezTo>
                <a:cubicBezTo>
                  <a:pt x="161" y="92"/>
                  <a:pt x="188" y="116"/>
                  <a:pt x="214" y="144"/>
                </a:cubicBezTo>
                <a:cubicBezTo>
                  <a:pt x="217" y="148"/>
                  <a:pt x="221" y="151"/>
                  <a:pt x="224" y="155"/>
                </a:cubicBezTo>
                <a:cubicBezTo>
                  <a:pt x="226" y="157"/>
                  <a:pt x="227" y="159"/>
                  <a:pt x="229" y="160"/>
                </a:cubicBezTo>
                <a:cubicBezTo>
                  <a:pt x="231" y="162"/>
                  <a:pt x="232" y="164"/>
                  <a:pt x="234" y="166"/>
                </a:cubicBezTo>
                <a:cubicBezTo>
                  <a:pt x="237" y="170"/>
                  <a:pt x="240" y="174"/>
                  <a:pt x="244" y="178"/>
                </a:cubicBezTo>
                <a:cubicBezTo>
                  <a:pt x="247" y="182"/>
                  <a:pt x="250" y="186"/>
                  <a:pt x="253" y="190"/>
                </a:cubicBezTo>
                <a:cubicBezTo>
                  <a:pt x="266" y="206"/>
                  <a:pt x="278" y="224"/>
                  <a:pt x="290" y="242"/>
                </a:cubicBezTo>
                <a:cubicBezTo>
                  <a:pt x="293" y="247"/>
                  <a:pt x="296" y="252"/>
                  <a:pt x="298" y="257"/>
                </a:cubicBezTo>
                <a:cubicBezTo>
                  <a:pt x="300" y="259"/>
                  <a:pt x="301" y="261"/>
                  <a:pt x="303" y="264"/>
                </a:cubicBezTo>
                <a:cubicBezTo>
                  <a:pt x="304" y="266"/>
                  <a:pt x="305" y="269"/>
                  <a:pt x="307" y="271"/>
                </a:cubicBezTo>
                <a:cubicBezTo>
                  <a:pt x="310" y="276"/>
                  <a:pt x="312" y="281"/>
                  <a:pt x="315" y="286"/>
                </a:cubicBezTo>
                <a:cubicBezTo>
                  <a:pt x="318" y="291"/>
                  <a:pt x="320" y="296"/>
                  <a:pt x="323" y="301"/>
                </a:cubicBezTo>
                <a:cubicBezTo>
                  <a:pt x="324" y="304"/>
                  <a:pt x="325" y="306"/>
                  <a:pt x="327" y="309"/>
                </a:cubicBezTo>
                <a:cubicBezTo>
                  <a:pt x="328" y="311"/>
                  <a:pt x="329" y="314"/>
                  <a:pt x="330" y="316"/>
                </a:cubicBezTo>
                <a:cubicBezTo>
                  <a:pt x="333" y="322"/>
                  <a:pt x="335" y="327"/>
                  <a:pt x="338" y="332"/>
                </a:cubicBezTo>
                <a:cubicBezTo>
                  <a:pt x="340" y="338"/>
                  <a:pt x="342" y="343"/>
                  <a:pt x="345" y="348"/>
                </a:cubicBezTo>
                <a:cubicBezTo>
                  <a:pt x="346" y="351"/>
                  <a:pt x="347" y="354"/>
                  <a:pt x="348" y="356"/>
                </a:cubicBezTo>
                <a:cubicBezTo>
                  <a:pt x="349" y="359"/>
                  <a:pt x="350" y="362"/>
                  <a:pt x="351" y="365"/>
                </a:cubicBezTo>
                <a:cubicBezTo>
                  <a:pt x="353" y="370"/>
                  <a:pt x="355" y="376"/>
                  <a:pt x="358" y="381"/>
                </a:cubicBezTo>
                <a:cubicBezTo>
                  <a:pt x="360" y="387"/>
                  <a:pt x="361" y="393"/>
                  <a:pt x="363" y="398"/>
                </a:cubicBezTo>
                <a:cubicBezTo>
                  <a:pt x="364" y="401"/>
                  <a:pt x="365" y="404"/>
                  <a:pt x="366" y="407"/>
                </a:cubicBezTo>
                <a:cubicBezTo>
                  <a:pt x="367" y="410"/>
                  <a:pt x="368" y="412"/>
                  <a:pt x="369" y="415"/>
                </a:cubicBezTo>
                <a:cubicBezTo>
                  <a:pt x="371" y="421"/>
                  <a:pt x="372" y="427"/>
                  <a:pt x="374" y="433"/>
                </a:cubicBezTo>
                <a:cubicBezTo>
                  <a:pt x="381" y="456"/>
                  <a:pt x="387" y="480"/>
                  <a:pt x="391" y="504"/>
                </a:cubicBezTo>
                <a:cubicBezTo>
                  <a:pt x="391" y="507"/>
                  <a:pt x="392" y="510"/>
                  <a:pt x="393" y="513"/>
                </a:cubicBezTo>
                <a:cubicBezTo>
                  <a:pt x="394" y="522"/>
                  <a:pt x="394" y="522"/>
                  <a:pt x="394" y="522"/>
                </a:cubicBezTo>
                <a:cubicBezTo>
                  <a:pt x="395" y="528"/>
                  <a:pt x="396" y="534"/>
                  <a:pt x="397" y="541"/>
                </a:cubicBezTo>
                <a:cubicBezTo>
                  <a:pt x="398" y="553"/>
                  <a:pt x="400" y="565"/>
                  <a:pt x="401" y="578"/>
                </a:cubicBezTo>
                <a:cubicBezTo>
                  <a:pt x="402" y="584"/>
                  <a:pt x="402" y="590"/>
                  <a:pt x="403" y="596"/>
                </a:cubicBezTo>
                <a:cubicBezTo>
                  <a:pt x="403" y="602"/>
                  <a:pt x="403" y="609"/>
                  <a:pt x="404" y="615"/>
                </a:cubicBezTo>
                <a:cubicBezTo>
                  <a:pt x="404" y="625"/>
                  <a:pt x="404" y="625"/>
                  <a:pt x="404" y="625"/>
                </a:cubicBezTo>
                <a:cubicBezTo>
                  <a:pt x="404" y="634"/>
                  <a:pt x="404" y="634"/>
                  <a:pt x="404" y="634"/>
                </a:cubicBezTo>
                <a:cubicBezTo>
                  <a:pt x="405" y="652"/>
                  <a:pt x="405" y="652"/>
                  <a:pt x="405" y="652"/>
                </a:cubicBezTo>
                <a:cubicBezTo>
                  <a:pt x="404" y="671"/>
                  <a:pt x="404" y="671"/>
                  <a:pt x="404" y="671"/>
                </a:cubicBezTo>
                <a:cubicBezTo>
                  <a:pt x="404" y="680"/>
                  <a:pt x="404" y="680"/>
                  <a:pt x="404" y="680"/>
                </a:cubicBezTo>
                <a:cubicBezTo>
                  <a:pt x="404" y="690"/>
                  <a:pt x="404" y="690"/>
                  <a:pt x="404" y="690"/>
                </a:cubicBezTo>
                <a:cubicBezTo>
                  <a:pt x="403" y="696"/>
                  <a:pt x="403" y="702"/>
                  <a:pt x="403" y="708"/>
                </a:cubicBezTo>
                <a:cubicBezTo>
                  <a:pt x="402" y="714"/>
                  <a:pt x="402" y="721"/>
                  <a:pt x="401" y="727"/>
                </a:cubicBezTo>
                <a:cubicBezTo>
                  <a:pt x="400" y="739"/>
                  <a:pt x="398" y="751"/>
                  <a:pt x="397" y="764"/>
                </a:cubicBezTo>
                <a:cubicBezTo>
                  <a:pt x="396" y="770"/>
                  <a:pt x="395" y="776"/>
                  <a:pt x="394" y="782"/>
                </a:cubicBezTo>
                <a:cubicBezTo>
                  <a:pt x="393" y="791"/>
                  <a:pt x="393" y="791"/>
                  <a:pt x="393" y="791"/>
                </a:cubicBezTo>
                <a:cubicBezTo>
                  <a:pt x="392" y="794"/>
                  <a:pt x="391" y="797"/>
                  <a:pt x="391" y="800"/>
                </a:cubicBezTo>
                <a:cubicBezTo>
                  <a:pt x="387" y="825"/>
                  <a:pt x="381" y="848"/>
                  <a:pt x="374" y="872"/>
                </a:cubicBezTo>
                <a:cubicBezTo>
                  <a:pt x="372" y="877"/>
                  <a:pt x="371" y="883"/>
                  <a:pt x="369" y="889"/>
                </a:cubicBezTo>
                <a:cubicBezTo>
                  <a:pt x="368" y="892"/>
                  <a:pt x="367" y="895"/>
                  <a:pt x="366" y="898"/>
                </a:cubicBezTo>
                <a:cubicBezTo>
                  <a:pt x="365" y="900"/>
                  <a:pt x="364" y="903"/>
                  <a:pt x="363" y="906"/>
                </a:cubicBezTo>
                <a:cubicBezTo>
                  <a:pt x="361" y="912"/>
                  <a:pt x="359" y="917"/>
                  <a:pt x="358" y="923"/>
                </a:cubicBezTo>
                <a:cubicBezTo>
                  <a:pt x="355" y="929"/>
                  <a:pt x="353" y="934"/>
                  <a:pt x="351" y="940"/>
                </a:cubicBezTo>
                <a:cubicBezTo>
                  <a:pt x="350" y="942"/>
                  <a:pt x="349" y="945"/>
                  <a:pt x="348" y="948"/>
                </a:cubicBezTo>
                <a:cubicBezTo>
                  <a:pt x="347" y="951"/>
                  <a:pt x="346" y="953"/>
                  <a:pt x="345" y="956"/>
                </a:cubicBezTo>
                <a:cubicBezTo>
                  <a:pt x="342" y="961"/>
                  <a:pt x="340" y="967"/>
                  <a:pt x="338" y="972"/>
                </a:cubicBezTo>
                <a:cubicBezTo>
                  <a:pt x="335" y="977"/>
                  <a:pt x="333" y="983"/>
                  <a:pt x="330" y="988"/>
                </a:cubicBezTo>
                <a:cubicBezTo>
                  <a:pt x="329" y="990"/>
                  <a:pt x="328" y="993"/>
                  <a:pt x="327" y="996"/>
                </a:cubicBezTo>
                <a:cubicBezTo>
                  <a:pt x="325" y="998"/>
                  <a:pt x="324" y="1001"/>
                  <a:pt x="323" y="1003"/>
                </a:cubicBezTo>
                <a:cubicBezTo>
                  <a:pt x="320" y="1008"/>
                  <a:pt x="318" y="1013"/>
                  <a:pt x="315" y="1019"/>
                </a:cubicBezTo>
                <a:cubicBezTo>
                  <a:pt x="312" y="1023"/>
                  <a:pt x="309" y="1028"/>
                  <a:pt x="307" y="1033"/>
                </a:cubicBezTo>
                <a:cubicBezTo>
                  <a:pt x="305" y="1036"/>
                  <a:pt x="304" y="1038"/>
                  <a:pt x="303" y="1041"/>
                </a:cubicBezTo>
                <a:cubicBezTo>
                  <a:pt x="301" y="1043"/>
                  <a:pt x="300" y="1045"/>
                  <a:pt x="298" y="1048"/>
                </a:cubicBezTo>
                <a:cubicBezTo>
                  <a:pt x="295" y="1052"/>
                  <a:pt x="293" y="1057"/>
                  <a:pt x="290" y="1062"/>
                </a:cubicBezTo>
                <a:cubicBezTo>
                  <a:pt x="266" y="1099"/>
                  <a:pt x="240" y="1132"/>
                  <a:pt x="214" y="1160"/>
                </a:cubicBezTo>
                <a:cubicBezTo>
                  <a:pt x="188" y="1189"/>
                  <a:pt x="161" y="1212"/>
                  <a:pt x="135" y="1231"/>
                </a:cubicBezTo>
                <a:cubicBezTo>
                  <a:pt x="129" y="1236"/>
                  <a:pt x="123" y="1241"/>
                  <a:pt x="117" y="1245"/>
                </a:cubicBezTo>
                <a:cubicBezTo>
                  <a:pt x="113" y="1247"/>
                  <a:pt x="110" y="1249"/>
                  <a:pt x="107" y="1251"/>
                </a:cubicBezTo>
                <a:cubicBezTo>
                  <a:pt x="106" y="1252"/>
                  <a:pt x="104" y="1253"/>
                  <a:pt x="103" y="1254"/>
                </a:cubicBezTo>
                <a:cubicBezTo>
                  <a:pt x="102" y="1255"/>
                  <a:pt x="100" y="1256"/>
                  <a:pt x="99" y="1257"/>
                </a:cubicBezTo>
                <a:cubicBezTo>
                  <a:pt x="93" y="1260"/>
                  <a:pt x="87" y="1264"/>
                  <a:pt x="82" y="1267"/>
                </a:cubicBezTo>
                <a:cubicBezTo>
                  <a:pt x="76" y="1270"/>
                  <a:pt x="71" y="1273"/>
                  <a:pt x="66" y="1276"/>
                </a:cubicBezTo>
                <a:cubicBezTo>
                  <a:pt x="63" y="1277"/>
                  <a:pt x="61" y="1278"/>
                  <a:pt x="58" y="1280"/>
                </a:cubicBezTo>
                <a:cubicBezTo>
                  <a:pt x="56" y="1281"/>
                  <a:pt x="54" y="1282"/>
                  <a:pt x="51" y="1283"/>
                </a:cubicBezTo>
                <a:cubicBezTo>
                  <a:pt x="47" y="1285"/>
                  <a:pt x="42" y="1287"/>
                  <a:pt x="38" y="1289"/>
                </a:cubicBezTo>
                <a:cubicBezTo>
                  <a:pt x="34" y="1291"/>
                  <a:pt x="30" y="1293"/>
                  <a:pt x="27" y="1294"/>
                </a:cubicBezTo>
                <a:cubicBezTo>
                  <a:pt x="23" y="1296"/>
                  <a:pt x="20" y="1297"/>
                  <a:pt x="17" y="1298"/>
                </a:cubicBezTo>
                <a:cubicBezTo>
                  <a:pt x="6" y="1303"/>
                  <a:pt x="0" y="1305"/>
                  <a:pt x="0" y="1305"/>
                </a:cubicBezTo>
                <a:close/>
              </a:path>
            </a:pathLst>
          </a:custGeom>
          <a:solidFill>
            <a:schemeClr val="accent1">
              <a:lumMod val="100000"/>
            </a:schemeClr>
          </a:solidFill>
          <a:ln>
            <a:noFill/>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2400" b="0" i="0" u="none" strike="noStrike" kern="1200" cap="none" spc="0" normalizeH="0" baseline="0" noProof="0">
              <a:ln>
                <a:noFill/>
              </a:ln>
              <a:solidFill>
                <a:srgbClr val="000000"/>
              </a:solidFill>
              <a:effectLst/>
              <a:uLnTx/>
              <a:uFillTx/>
              <a:latin typeface="Arial"/>
              <a:cs typeface="+mn-cs"/>
            </a:endParaRPr>
          </a:p>
        </p:txBody>
      </p:sp>
      <p:grpSp>
        <p:nvGrpSpPr>
          <p:cNvPr id="12" name="Group 31">
            <a:extLst>
              <a:ext uri="{FF2B5EF4-FFF2-40B4-BE49-F238E27FC236}">
                <a16:creationId xmlns:a16="http://schemas.microsoft.com/office/drawing/2014/main" id="{EBA4C763-862F-4011-82F0-ED06B3B9CA18}"/>
              </a:ext>
            </a:extLst>
          </p:cNvPr>
          <p:cNvGrpSpPr/>
          <p:nvPr/>
        </p:nvGrpSpPr>
        <p:grpSpPr>
          <a:xfrm>
            <a:off x="7154850" y="1561766"/>
            <a:ext cx="2023471" cy="3677783"/>
            <a:chOff x="6494450" y="2004747"/>
            <a:chExt cx="2023471" cy="3677783"/>
          </a:xfrm>
        </p:grpSpPr>
        <p:sp>
          <p:nvSpPr>
            <p:cNvPr id="13" name="TextBox 22">
              <a:extLst>
                <a:ext uri="{FF2B5EF4-FFF2-40B4-BE49-F238E27FC236}">
                  <a16:creationId xmlns:a16="http://schemas.microsoft.com/office/drawing/2014/main" id="{898025DE-AABD-48E8-8D11-3EDFCB12E412}"/>
                </a:ext>
              </a:extLst>
            </p:cNvPr>
            <p:cNvSpPr txBox="1"/>
            <p:nvPr/>
          </p:nvSpPr>
          <p:spPr>
            <a:xfrm>
              <a:off x="7197428" y="2697826"/>
              <a:ext cx="1079142" cy="261610"/>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000000"/>
                  </a:solidFill>
                  <a:effectLst/>
                  <a:uLnTx/>
                  <a:uFillTx/>
                  <a:latin typeface="Roboto Thin" panose="02000000000000000000" pitchFamily="2" charset="0"/>
                  <a:ea typeface="Roboto Thin" panose="02000000000000000000" pitchFamily="2" charset="0"/>
                  <a:cs typeface="+mn-cs"/>
                </a:rPr>
                <a:t>Insert text here</a:t>
              </a:r>
              <a:endParaRPr kumimoji="0" lang="id-ID" sz="1050" b="1" i="0" u="none" strike="noStrike" kern="1200" cap="none" spc="0" normalizeH="0" baseline="0" noProof="0" dirty="0">
                <a:ln>
                  <a:noFill/>
                </a:ln>
                <a:solidFill>
                  <a:srgbClr val="000000"/>
                </a:solidFill>
                <a:effectLst/>
                <a:uLnTx/>
                <a:uFillTx/>
                <a:latin typeface="Roboto Thin" panose="02000000000000000000" pitchFamily="2" charset="0"/>
                <a:ea typeface="Roboto Thin" panose="02000000000000000000" pitchFamily="2" charset="0"/>
                <a:cs typeface="+mn-cs"/>
              </a:endParaRPr>
            </a:p>
          </p:txBody>
        </p:sp>
        <p:sp>
          <p:nvSpPr>
            <p:cNvPr id="14" name="TextBox 23">
              <a:extLst>
                <a:ext uri="{FF2B5EF4-FFF2-40B4-BE49-F238E27FC236}">
                  <a16:creationId xmlns:a16="http://schemas.microsoft.com/office/drawing/2014/main" id="{C67E8F0E-A82C-4342-9F02-BD9BA13EA784}"/>
                </a:ext>
              </a:extLst>
            </p:cNvPr>
            <p:cNvSpPr txBox="1"/>
            <p:nvPr/>
          </p:nvSpPr>
          <p:spPr>
            <a:xfrm>
              <a:off x="7338864" y="3042799"/>
              <a:ext cx="1079142" cy="261610"/>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000000"/>
                  </a:solidFill>
                  <a:effectLst/>
                  <a:uLnTx/>
                  <a:uFillTx/>
                  <a:latin typeface="Roboto Thin" panose="02000000000000000000" pitchFamily="2" charset="0"/>
                  <a:ea typeface="Roboto Thin" panose="02000000000000000000" pitchFamily="2" charset="0"/>
                  <a:cs typeface="+mn-cs"/>
                </a:rPr>
                <a:t>Insert text here</a:t>
              </a:r>
              <a:endParaRPr kumimoji="0" lang="id-ID" sz="1050" b="1" i="0" u="none" strike="noStrike" kern="1200" cap="none" spc="0" normalizeH="0" baseline="0" noProof="0" dirty="0">
                <a:ln>
                  <a:noFill/>
                </a:ln>
                <a:solidFill>
                  <a:srgbClr val="000000"/>
                </a:solidFill>
                <a:effectLst/>
                <a:uLnTx/>
                <a:uFillTx/>
                <a:latin typeface="Roboto Thin" panose="02000000000000000000" pitchFamily="2" charset="0"/>
                <a:ea typeface="Roboto Thin" panose="02000000000000000000" pitchFamily="2" charset="0"/>
                <a:cs typeface="+mn-cs"/>
              </a:endParaRPr>
            </a:p>
          </p:txBody>
        </p:sp>
        <p:sp>
          <p:nvSpPr>
            <p:cNvPr id="15" name="TextBox 24">
              <a:extLst>
                <a:ext uri="{FF2B5EF4-FFF2-40B4-BE49-F238E27FC236}">
                  <a16:creationId xmlns:a16="http://schemas.microsoft.com/office/drawing/2014/main" id="{DD6A6146-494C-4282-9181-8BD39AC479AD}"/>
                </a:ext>
              </a:extLst>
            </p:cNvPr>
            <p:cNvSpPr txBox="1"/>
            <p:nvPr/>
          </p:nvSpPr>
          <p:spPr>
            <a:xfrm>
              <a:off x="7438779" y="4121724"/>
              <a:ext cx="1079142" cy="261610"/>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000000"/>
                  </a:solidFill>
                  <a:effectLst/>
                  <a:uLnTx/>
                  <a:uFillTx/>
                  <a:latin typeface="Roboto Thin" panose="02000000000000000000" pitchFamily="2" charset="0"/>
                  <a:ea typeface="Roboto Thin" panose="02000000000000000000" pitchFamily="2" charset="0"/>
                  <a:cs typeface="+mn-cs"/>
                </a:rPr>
                <a:t>Insert text here</a:t>
              </a:r>
              <a:endParaRPr kumimoji="0" lang="id-ID" sz="1050" b="1" i="0" u="none" strike="noStrike" kern="1200" cap="none" spc="0" normalizeH="0" baseline="0" noProof="0" dirty="0">
                <a:ln>
                  <a:noFill/>
                </a:ln>
                <a:solidFill>
                  <a:srgbClr val="000000"/>
                </a:solidFill>
                <a:effectLst/>
                <a:uLnTx/>
                <a:uFillTx/>
                <a:latin typeface="Roboto Thin" panose="02000000000000000000" pitchFamily="2" charset="0"/>
                <a:ea typeface="Roboto Thin" panose="02000000000000000000" pitchFamily="2" charset="0"/>
                <a:cs typeface="+mn-cs"/>
              </a:endParaRPr>
            </a:p>
          </p:txBody>
        </p:sp>
        <p:sp>
          <p:nvSpPr>
            <p:cNvPr id="16" name="TextBox 25">
              <a:extLst>
                <a:ext uri="{FF2B5EF4-FFF2-40B4-BE49-F238E27FC236}">
                  <a16:creationId xmlns:a16="http://schemas.microsoft.com/office/drawing/2014/main" id="{3DFDBD52-186D-4644-A9E8-8BB85145F0F4}"/>
                </a:ext>
              </a:extLst>
            </p:cNvPr>
            <p:cNvSpPr txBox="1"/>
            <p:nvPr/>
          </p:nvSpPr>
          <p:spPr>
            <a:xfrm>
              <a:off x="7197428" y="4862333"/>
              <a:ext cx="1079142" cy="261610"/>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000000"/>
                  </a:solidFill>
                  <a:effectLst/>
                  <a:uLnTx/>
                  <a:uFillTx/>
                  <a:latin typeface="Roboto Thin" panose="02000000000000000000" pitchFamily="2" charset="0"/>
                  <a:ea typeface="Roboto Thin" panose="02000000000000000000" pitchFamily="2" charset="0"/>
                  <a:cs typeface="+mn-cs"/>
                </a:rPr>
                <a:t>Insert text here</a:t>
              </a:r>
              <a:endParaRPr kumimoji="0" lang="id-ID" sz="1050" b="1" i="0" u="none" strike="noStrike" kern="1200" cap="none" spc="0" normalizeH="0" baseline="0" noProof="0" dirty="0">
                <a:ln>
                  <a:noFill/>
                </a:ln>
                <a:solidFill>
                  <a:srgbClr val="000000"/>
                </a:solidFill>
                <a:effectLst/>
                <a:uLnTx/>
                <a:uFillTx/>
                <a:latin typeface="Roboto Thin" panose="02000000000000000000" pitchFamily="2" charset="0"/>
                <a:ea typeface="Roboto Thin" panose="02000000000000000000" pitchFamily="2" charset="0"/>
                <a:cs typeface="+mn-cs"/>
              </a:endParaRPr>
            </a:p>
          </p:txBody>
        </p:sp>
        <p:sp>
          <p:nvSpPr>
            <p:cNvPr id="17" name="TextBox 26">
              <a:extLst>
                <a:ext uri="{FF2B5EF4-FFF2-40B4-BE49-F238E27FC236}">
                  <a16:creationId xmlns:a16="http://schemas.microsoft.com/office/drawing/2014/main" id="{305517A1-56C1-4D29-89F8-B06FE76FF8DC}"/>
                </a:ext>
              </a:extLst>
            </p:cNvPr>
            <p:cNvSpPr txBox="1"/>
            <p:nvPr/>
          </p:nvSpPr>
          <p:spPr>
            <a:xfrm>
              <a:off x="7438779" y="3387337"/>
              <a:ext cx="1079142" cy="261610"/>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000000"/>
                  </a:solidFill>
                  <a:effectLst/>
                  <a:uLnTx/>
                  <a:uFillTx/>
                  <a:latin typeface="Roboto Thin" panose="02000000000000000000" pitchFamily="2" charset="0"/>
                  <a:ea typeface="Roboto Thin" panose="02000000000000000000" pitchFamily="2" charset="0"/>
                  <a:cs typeface="+mn-cs"/>
                </a:rPr>
                <a:t>Insert text here</a:t>
              </a:r>
              <a:endParaRPr kumimoji="0" lang="id-ID" sz="1050" b="1" i="0" u="none" strike="noStrike" kern="1200" cap="none" spc="0" normalizeH="0" baseline="0" noProof="0" dirty="0">
                <a:ln>
                  <a:noFill/>
                </a:ln>
                <a:solidFill>
                  <a:srgbClr val="000000"/>
                </a:solidFill>
                <a:effectLst/>
                <a:uLnTx/>
                <a:uFillTx/>
                <a:latin typeface="Roboto Thin" panose="02000000000000000000" pitchFamily="2" charset="0"/>
                <a:ea typeface="Roboto Thin" panose="02000000000000000000" pitchFamily="2" charset="0"/>
                <a:cs typeface="+mn-cs"/>
              </a:endParaRPr>
            </a:p>
          </p:txBody>
        </p:sp>
        <p:sp>
          <p:nvSpPr>
            <p:cNvPr id="18" name="TextBox 27">
              <a:extLst>
                <a:ext uri="{FF2B5EF4-FFF2-40B4-BE49-F238E27FC236}">
                  <a16:creationId xmlns:a16="http://schemas.microsoft.com/office/drawing/2014/main" id="{033C7AFD-8372-4F19-9A32-4029D529764A}"/>
                </a:ext>
              </a:extLst>
            </p:cNvPr>
            <p:cNvSpPr txBox="1"/>
            <p:nvPr/>
          </p:nvSpPr>
          <p:spPr>
            <a:xfrm>
              <a:off x="7338864" y="4497953"/>
              <a:ext cx="1079142" cy="261610"/>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000000"/>
                  </a:solidFill>
                  <a:effectLst/>
                  <a:uLnTx/>
                  <a:uFillTx/>
                  <a:latin typeface="Roboto Thin" panose="02000000000000000000" pitchFamily="2" charset="0"/>
                  <a:ea typeface="Roboto Thin" panose="02000000000000000000" pitchFamily="2" charset="0"/>
                  <a:cs typeface="+mn-cs"/>
                </a:rPr>
                <a:t>Insert text here</a:t>
              </a:r>
              <a:endParaRPr kumimoji="0" lang="id-ID" sz="1050" b="1" i="0" u="none" strike="noStrike" kern="1200" cap="none" spc="0" normalizeH="0" baseline="0" noProof="0" dirty="0">
                <a:ln>
                  <a:noFill/>
                </a:ln>
                <a:solidFill>
                  <a:srgbClr val="000000"/>
                </a:solidFill>
                <a:effectLst/>
                <a:uLnTx/>
                <a:uFillTx/>
                <a:latin typeface="Roboto Thin" panose="02000000000000000000" pitchFamily="2" charset="0"/>
                <a:ea typeface="Roboto Thin" panose="02000000000000000000" pitchFamily="2" charset="0"/>
                <a:cs typeface="+mn-cs"/>
              </a:endParaRPr>
            </a:p>
          </p:txBody>
        </p:sp>
        <p:sp>
          <p:nvSpPr>
            <p:cNvPr id="19" name="TextBox 28">
              <a:extLst>
                <a:ext uri="{FF2B5EF4-FFF2-40B4-BE49-F238E27FC236}">
                  <a16:creationId xmlns:a16="http://schemas.microsoft.com/office/drawing/2014/main" id="{EBFC0C94-7081-4CAC-8CA4-C8FA6ECE1515}"/>
                </a:ext>
              </a:extLst>
            </p:cNvPr>
            <p:cNvSpPr txBox="1"/>
            <p:nvPr/>
          </p:nvSpPr>
          <p:spPr>
            <a:xfrm>
              <a:off x="6541440" y="2004747"/>
              <a:ext cx="1112805" cy="30777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accent1"/>
                  </a:solidFill>
                  <a:effectLst/>
                  <a:uLnTx/>
                  <a:uFillTx/>
                  <a:latin typeface="Roboto Black" panose="02000000000000000000" pitchFamily="2" charset="0"/>
                  <a:ea typeface="Roboto Black" panose="02000000000000000000" pitchFamily="2" charset="0"/>
                  <a:cs typeface="+mn-cs"/>
                </a:rPr>
                <a:t>Description</a:t>
              </a:r>
              <a:endParaRPr kumimoji="0" lang="id-ID" sz="1400" b="1" i="0" u="none" strike="noStrike" kern="1200" cap="none" spc="0" normalizeH="0" baseline="0" noProof="0" dirty="0">
                <a:ln>
                  <a:noFill/>
                </a:ln>
                <a:solidFill>
                  <a:schemeClr val="accent1"/>
                </a:solidFill>
                <a:effectLst/>
                <a:uLnTx/>
                <a:uFillTx/>
                <a:latin typeface="Roboto Black" panose="02000000000000000000" pitchFamily="2" charset="0"/>
                <a:ea typeface="Roboto Black" panose="02000000000000000000" pitchFamily="2" charset="0"/>
                <a:cs typeface="+mn-cs"/>
              </a:endParaRPr>
            </a:p>
          </p:txBody>
        </p:sp>
        <p:sp>
          <p:nvSpPr>
            <p:cNvPr id="20" name="TextBox 29">
              <a:extLst>
                <a:ext uri="{FF2B5EF4-FFF2-40B4-BE49-F238E27FC236}">
                  <a16:creationId xmlns:a16="http://schemas.microsoft.com/office/drawing/2014/main" id="{24239A2F-2F5B-43F0-BE7A-613B914C0A64}"/>
                </a:ext>
              </a:extLst>
            </p:cNvPr>
            <p:cNvSpPr txBox="1"/>
            <p:nvPr/>
          </p:nvSpPr>
          <p:spPr>
            <a:xfrm>
              <a:off x="6494450" y="5374753"/>
              <a:ext cx="1112805" cy="30777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accent1"/>
                  </a:solidFill>
                  <a:effectLst/>
                  <a:uLnTx/>
                  <a:uFillTx/>
                  <a:latin typeface="Roboto Black" panose="02000000000000000000" pitchFamily="2" charset="0"/>
                  <a:ea typeface="Roboto Black" panose="02000000000000000000" pitchFamily="2" charset="0"/>
                  <a:cs typeface="+mn-cs"/>
                </a:rPr>
                <a:t>Description</a:t>
              </a:r>
              <a:endParaRPr kumimoji="0" lang="id-ID" sz="1400" b="1" i="0" u="none" strike="noStrike" kern="1200" cap="none" spc="0" normalizeH="0" baseline="0" noProof="0" dirty="0">
                <a:ln>
                  <a:noFill/>
                </a:ln>
                <a:solidFill>
                  <a:schemeClr val="accent1"/>
                </a:solidFill>
                <a:effectLst/>
                <a:uLnTx/>
                <a:uFillTx/>
                <a:latin typeface="Roboto Black" panose="02000000000000000000" pitchFamily="2" charset="0"/>
                <a:ea typeface="Roboto Black" panose="02000000000000000000" pitchFamily="2" charset="0"/>
                <a:cs typeface="+mn-cs"/>
              </a:endParaRPr>
            </a:p>
          </p:txBody>
        </p:sp>
      </p:grpSp>
      <p:grpSp>
        <p:nvGrpSpPr>
          <p:cNvPr id="21" name="Group 32">
            <a:extLst>
              <a:ext uri="{FF2B5EF4-FFF2-40B4-BE49-F238E27FC236}">
                <a16:creationId xmlns:a16="http://schemas.microsoft.com/office/drawing/2014/main" id="{186B9DBD-8A91-424D-9A65-A8E038A79CBA}"/>
              </a:ext>
            </a:extLst>
          </p:cNvPr>
          <p:cNvGrpSpPr/>
          <p:nvPr/>
        </p:nvGrpSpPr>
        <p:grpSpPr>
          <a:xfrm>
            <a:off x="5237061" y="1691615"/>
            <a:ext cx="1831701" cy="3450063"/>
            <a:chOff x="6686220" y="2172387"/>
            <a:chExt cx="1831701" cy="3450063"/>
          </a:xfrm>
        </p:grpSpPr>
        <p:sp>
          <p:nvSpPr>
            <p:cNvPr id="22" name="TextBox 33">
              <a:extLst>
                <a:ext uri="{FF2B5EF4-FFF2-40B4-BE49-F238E27FC236}">
                  <a16:creationId xmlns:a16="http://schemas.microsoft.com/office/drawing/2014/main" id="{F916C997-CC3F-4C9D-A1B5-14B9A8B5D486}"/>
                </a:ext>
              </a:extLst>
            </p:cNvPr>
            <p:cNvSpPr txBox="1"/>
            <p:nvPr/>
          </p:nvSpPr>
          <p:spPr>
            <a:xfrm>
              <a:off x="7197428" y="2697826"/>
              <a:ext cx="1079142" cy="261610"/>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000000"/>
                  </a:solidFill>
                  <a:effectLst/>
                  <a:uLnTx/>
                  <a:uFillTx/>
                  <a:latin typeface="Roboto Thin" panose="02000000000000000000" pitchFamily="2" charset="0"/>
                  <a:ea typeface="Roboto Thin" panose="02000000000000000000" pitchFamily="2" charset="0"/>
                  <a:cs typeface="+mn-cs"/>
                </a:rPr>
                <a:t>Insert text here</a:t>
              </a:r>
              <a:endParaRPr kumimoji="0" lang="id-ID" sz="1050" b="1" i="0" u="none" strike="noStrike" kern="1200" cap="none" spc="0" normalizeH="0" baseline="0" noProof="0" dirty="0">
                <a:ln>
                  <a:noFill/>
                </a:ln>
                <a:solidFill>
                  <a:srgbClr val="000000"/>
                </a:solidFill>
                <a:effectLst/>
                <a:uLnTx/>
                <a:uFillTx/>
                <a:latin typeface="Roboto Thin" panose="02000000000000000000" pitchFamily="2" charset="0"/>
                <a:ea typeface="Roboto Thin" panose="02000000000000000000" pitchFamily="2" charset="0"/>
                <a:cs typeface="+mn-cs"/>
              </a:endParaRPr>
            </a:p>
          </p:txBody>
        </p:sp>
        <p:sp>
          <p:nvSpPr>
            <p:cNvPr id="23" name="TextBox 34">
              <a:extLst>
                <a:ext uri="{FF2B5EF4-FFF2-40B4-BE49-F238E27FC236}">
                  <a16:creationId xmlns:a16="http://schemas.microsoft.com/office/drawing/2014/main" id="{113EF27D-102D-4EFF-8DE6-FBA7B068D9E0}"/>
                </a:ext>
              </a:extLst>
            </p:cNvPr>
            <p:cNvSpPr txBox="1"/>
            <p:nvPr/>
          </p:nvSpPr>
          <p:spPr>
            <a:xfrm>
              <a:off x="7338864" y="3042799"/>
              <a:ext cx="1079142" cy="261610"/>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000000"/>
                  </a:solidFill>
                  <a:effectLst/>
                  <a:uLnTx/>
                  <a:uFillTx/>
                  <a:latin typeface="Roboto Thin" panose="02000000000000000000" pitchFamily="2" charset="0"/>
                  <a:ea typeface="Roboto Thin" panose="02000000000000000000" pitchFamily="2" charset="0"/>
                  <a:cs typeface="+mn-cs"/>
                </a:rPr>
                <a:t>Insert text here</a:t>
              </a:r>
              <a:endParaRPr kumimoji="0" lang="id-ID" sz="1050" b="1" i="0" u="none" strike="noStrike" kern="1200" cap="none" spc="0" normalizeH="0" baseline="0" noProof="0" dirty="0">
                <a:ln>
                  <a:noFill/>
                </a:ln>
                <a:solidFill>
                  <a:srgbClr val="000000"/>
                </a:solidFill>
                <a:effectLst/>
                <a:uLnTx/>
                <a:uFillTx/>
                <a:latin typeface="Roboto Thin" panose="02000000000000000000" pitchFamily="2" charset="0"/>
                <a:ea typeface="Roboto Thin" panose="02000000000000000000" pitchFamily="2" charset="0"/>
                <a:cs typeface="+mn-cs"/>
              </a:endParaRPr>
            </a:p>
          </p:txBody>
        </p:sp>
        <p:sp>
          <p:nvSpPr>
            <p:cNvPr id="24" name="TextBox 35">
              <a:extLst>
                <a:ext uri="{FF2B5EF4-FFF2-40B4-BE49-F238E27FC236}">
                  <a16:creationId xmlns:a16="http://schemas.microsoft.com/office/drawing/2014/main" id="{939F206E-45D7-438C-9747-E46F9092FE4D}"/>
                </a:ext>
              </a:extLst>
            </p:cNvPr>
            <p:cNvSpPr txBox="1"/>
            <p:nvPr/>
          </p:nvSpPr>
          <p:spPr>
            <a:xfrm>
              <a:off x="7438779" y="4121724"/>
              <a:ext cx="1079142" cy="261610"/>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000000"/>
                  </a:solidFill>
                  <a:effectLst/>
                  <a:uLnTx/>
                  <a:uFillTx/>
                  <a:latin typeface="Roboto Thin" panose="02000000000000000000" pitchFamily="2" charset="0"/>
                  <a:ea typeface="Roboto Thin" panose="02000000000000000000" pitchFamily="2" charset="0"/>
                  <a:cs typeface="+mn-cs"/>
                </a:rPr>
                <a:t>Insert text here</a:t>
              </a:r>
              <a:endParaRPr kumimoji="0" lang="id-ID" sz="1050" b="1" i="0" u="none" strike="noStrike" kern="1200" cap="none" spc="0" normalizeH="0" baseline="0" noProof="0" dirty="0">
                <a:ln>
                  <a:noFill/>
                </a:ln>
                <a:solidFill>
                  <a:srgbClr val="000000"/>
                </a:solidFill>
                <a:effectLst/>
                <a:uLnTx/>
                <a:uFillTx/>
                <a:latin typeface="Roboto Thin" panose="02000000000000000000" pitchFamily="2" charset="0"/>
                <a:ea typeface="Roboto Thin" panose="02000000000000000000" pitchFamily="2" charset="0"/>
                <a:cs typeface="+mn-cs"/>
              </a:endParaRPr>
            </a:p>
          </p:txBody>
        </p:sp>
        <p:sp>
          <p:nvSpPr>
            <p:cNvPr id="25" name="TextBox 36">
              <a:extLst>
                <a:ext uri="{FF2B5EF4-FFF2-40B4-BE49-F238E27FC236}">
                  <a16:creationId xmlns:a16="http://schemas.microsoft.com/office/drawing/2014/main" id="{F6E1518D-A040-4BBF-8987-C766E8E131BF}"/>
                </a:ext>
              </a:extLst>
            </p:cNvPr>
            <p:cNvSpPr txBox="1"/>
            <p:nvPr/>
          </p:nvSpPr>
          <p:spPr>
            <a:xfrm>
              <a:off x="7197428" y="4862333"/>
              <a:ext cx="1079142" cy="261610"/>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000000"/>
                  </a:solidFill>
                  <a:effectLst/>
                  <a:uLnTx/>
                  <a:uFillTx/>
                  <a:latin typeface="Roboto Thin" panose="02000000000000000000" pitchFamily="2" charset="0"/>
                  <a:ea typeface="Roboto Thin" panose="02000000000000000000" pitchFamily="2" charset="0"/>
                  <a:cs typeface="+mn-cs"/>
                </a:rPr>
                <a:t>Insert text here</a:t>
              </a:r>
              <a:endParaRPr kumimoji="0" lang="id-ID" sz="1050" b="1" i="0" u="none" strike="noStrike" kern="1200" cap="none" spc="0" normalizeH="0" baseline="0" noProof="0" dirty="0">
                <a:ln>
                  <a:noFill/>
                </a:ln>
                <a:solidFill>
                  <a:srgbClr val="000000"/>
                </a:solidFill>
                <a:effectLst/>
                <a:uLnTx/>
                <a:uFillTx/>
                <a:latin typeface="Roboto Thin" panose="02000000000000000000" pitchFamily="2" charset="0"/>
                <a:ea typeface="Roboto Thin" panose="02000000000000000000" pitchFamily="2" charset="0"/>
                <a:cs typeface="+mn-cs"/>
              </a:endParaRPr>
            </a:p>
          </p:txBody>
        </p:sp>
        <p:sp>
          <p:nvSpPr>
            <p:cNvPr id="26" name="TextBox 37">
              <a:extLst>
                <a:ext uri="{FF2B5EF4-FFF2-40B4-BE49-F238E27FC236}">
                  <a16:creationId xmlns:a16="http://schemas.microsoft.com/office/drawing/2014/main" id="{EBCFDBCB-6A26-49AF-AB67-489374A0480E}"/>
                </a:ext>
              </a:extLst>
            </p:cNvPr>
            <p:cNvSpPr txBox="1"/>
            <p:nvPr/>
          </p:nvSpPr>
          <p:spPr>
            <a:xfrm>
              <a:off x="7438779" y="3387337"/>
              <a:ext cx="1079142" cy="261610"/>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000000"/>
                  </a:solidFill>
                  <a:effectLst/>
                  <a:uLnTx/>
                  <a:uFillTx/>
                  <a:latin typeface="Roboto Thin" panose="02000000000000000000" pitchFamily="2" charset="0"/>
                  <a:ea typeface="Roboto Thin" panose="02000000000000000000" pitchFamily="2" charset="0"/>
                  <a:cs typeface="+mn-cs"/>
                </a:rPr>
                <a:t>Insert text here</a:t>
              </a:r>
              <a:endParaRPr kumimoji="0" lang="id-ID" sz="1050" b="1" i="0" u="none" strike="noStrike" kern="1200" cap="none" spc="0" normalizeH="0" baseline="0" noProof="0" dirty="0">
                <a:ln>
                  <a:noFill/>
                </a:ln>
                <a:solidFill>
                  <a:srgbClr val="000000"/>
                </a:solidFill>
                <a:effectLst/>
                <a:uLnTx/>
                <a:uFillTx/>
                <a:latin typeface="Roboto Thin" panose="02000000000000000000" pitchFamily="2" charset="0"/>
                <a:ea typeface="Roboto Thin" panose="02000000000000000000" pitchFamily="2" charset="0"/>
                <a:cs typeface="+mn-cs"/>
              </a:endParaRPr>
            </a:p>
          </p:txBody>
        </p:sp>
        <p:sp>
          <p:nvSpPr>
            <p:cNvPr id="27" name="TextBox 38">
              <a:extLst>
                <a:ext uri="{FF2B5EF4-FFF2-40B4-BE49-F238E27FC236}">
                  <a16:creationId xmlns:a16="http://schemas.microsoft.com/office/drawing/2014/main" id="{52B8CFFF-FDF2-4209-9313-5D02075DA8B4}"/>
                </a:ext>
              </a:extLst>
            </p:cNvPr>
            <p:cNvSpPr txBox="1"/>
            <p:nvPr/>
          </p:nvSpPr>
          <p:spPr>
            <a:xfrm>
              <a:off x="7338864" y="4497953"/>
              <a:ext cx="1079142" cy="261610"/>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000000"/>
                  </a:solidFill>
                  <a:effectLst/>
                  <a:uLnTx/>
                  <a:uFillTx/>
                  <a:latin typeface="Roboto Thin" panose="02000000000000000000" pitchFamily="2" charset="0"/>
                  <a:ea typeface="Roboto Thin" panose="02000000000000000000" pitchFamily="2" charset="0"/>
                  <a:cs typeface="+mn-cs"/>
                </a:rPr>
                <a:t>Insert text here</a:t>
              </a:r>
              <a:endParaRPr kumimoji="0" lang="id-ID" sz="1050" b="1" i="0" u="none" strike="noStrike" kern="1200" cap="none" spc="0" normalizeH="0" baseline="0" noProof="0" dirty="0">
                <a:ln>
                  <a:noFill/>
                </a:ln>
                <a:solidFill>
                  <a:srgbClr val="000000"/>
                </a:solidFill>
                <a:effectLst/>
                <a:uLnTx/>
                <a:uFillTx/>
                <a:latin typeface="Roboto Thin" panose="02000000000000000000" pitchFamily="2" charset="0"/>
                <a:ea typeface="Roboto Thin" panose="02000000000000000000" pitchFamily="2" charset="0"/>
                <a:cs typeface="+mn-cs"/>
              </a:endParaRPr>
            </a:p>
          </p:txBody>
        </p:sp>
        <p:sp>
          <p:nvSpPr>
            <p:cNvPr id="28" name="TextBox 39">
              <a:extLst>
                <a:ext uri="{FF2B5EF4-FFF2-40B4-BE49-F238E27FC236}">
                  <a16:creationId xmlns:a16="http://schemas.microsoft.com/office/drawing/2014/main" id="{D9141A0B-6053-4D8B-B2A7-66CE52556E61}"/>
                </a:ext>
              </a:extLst>
            </p:cNvPr>
            <p:cNvSpPr txBox="1"/>
            <p:nvPr/>
          </p:nvSpPr>
          <p:spPr>
            <a:xfrm>
              <a:off x="6686220" y="2172387"/>
              <a:ext cx="1112805" cy="30777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accent1"/>
                  </a:solidFill>
                  <a:effectLst/>
                  <a:uLnTx/>
                  <a:uFillTx/>
                  <a:latin typeface="Roboto Black" panose="02000000000000000000" pitchFamily="2" charset="0"/>
                  <a:ea typeface="Roboto Black" panose="02000000000000000000" pitchFamily="2" charset="0"/>
                  <a:cs typeface="+mn-cs"/>
                </a:rPr>
                <a:t>Description</a:t>
              </a:r>
              <a:endParaRPr kumimoji="0" lang="id-ID" sz="1400" b="1" i="0" u="none" strike="noStrike" kern="1200" cap="none" spc="0" normalizeH="0" baseline="0" noProof="0" dirty="0">
                <a:ln>
                  <a:noFill/>
                </a:ln>
                <a:solidFill>
                  <a:schemeClr val="accent1"/>
                </a:solidFill>
                <a:effectLst/>
                <a:uLnTx/>
                <a:uFillTx/>
                <a:latin typeface="Roboto Black" panose="02000000000000000000" pitchFamily="2" charset="0"/>
                <a:ea typeface="Roboto Black" panose="02000000000000000000" pitchFamily="2" charset="0"/>
                <a:cs typeface="+mn-cs"/>
              </a:endParaRPr>
            </a:p>
          </p:txBody>
        </p:sp>
        <p:sp>
          <p:nvSpPr>
            <p:cNvPr id="29" name="TextBox 40">
              <a:extLst>
                <a:ext uri="{FF2B5EF4-FFF2-40B4-BE49-F238E27FC236}">
                  <a16:creationId xmlns:a16="http://schemas.microsoft.com/office/drawing/2014/main" id="{6A7B87D4-3620-4F19-8FD5-4A90609BFAAB}"/>
                </a:ext>
              </a:extLst>
            </p:cNvPr>
            <p:cNvSpPr txBox="1"/>
            <p:nvPr/>
          </p:nvSpPr>
          <p:spPr>
            <a:xfrm>
              <a:off x="6691300" y="5314673"/>
              <a:ext cx="1112805" cy="30777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accent1"/>
                  </a:solidFill>
                  <a:effectLst/>
                  <a:uLnTx/>
                  <a:uFillTx/>
                  <a:latin typeface="Roboto Black" panose="02000000000000000000" pitchFamily="2" charset="0"/>
                  <a:ea typeface="Roboto Black" panose="02000000000000000000" pitchFamily="2" charset="0"/>
                  <a:cs typeface="+mn-cs"/>
                </a:rPr>
                <a:t>Description</a:t>
              </a:r>
              <a:endParaRPr kumimoji="0" lang="id-ID" sz="1400" b="1" i="0" u="none" strike="noStrike" kern="1200" cap="none" spc="0" normalizeH="0" baseline="0" noProof="0" dirty="0">
                <a:ln>
                  <a:noFill/>
                </a:ln>
                <a:solidFill>
                  <a:schemeClr val="accent1"/>
                </a:solidFill>
                <a:effectLst/>
                <a:uLnTx/>
                <a:uFillTx/>
                <a:latin typeface="Roboto Black" panose="02000000000000000000" pitchFamily="2" charset="0"/>
                <a:ea typeface="Roboto Black" panose="02000000000000000000" pitchFamily="2" charset="0"/>
                <a:cs typeface="+mn-cs"/>
              </a:endParaRPr>
            </a:p>
          </p:txBody>
        </p:sp>
      </p:grpSp>
      <p:grpSp>
        <p:nvGrpSpPr>
          <p:cNvPr id="30" name="Group 45">
            <a:extLst>
              <a:ext uri="{FF2B5EF4-FFF2-40B4-BE49-F238E27FC236}">
                <a16:creationId xmlns:a16="http://schemas.microsoft.com/office/drawing/2014/main" id="{C6676F50-8CBC-4388-9379-1DDE3BBCD055}"/>
              </a:ext>
            </a:extLst>
          </p:cNvPr>
          <p:cNvGrpSpPr/>
          <p:nvPr/>
        </p:nvGrpSpPr>
        <p:grpSpPr>
          <a:xfrm>
            <a:off x="3417262" y="1836395"/>
            <a:ext cx="1679301" cy="3138913"/>
            <a:chOff x="6838620" y="2362887"/>
            <a:chExt cx="1679301" cy="3138913"/>
          </a:xfrm>
        </p:grpSpPr>
        <p:sp>
          <p:nvSpPr>
            <p:cNvPr id="31" name="TextBox 46">
              <a:extLst>
                <a:ext uri="{FF2B5EF4-FFF2-40B4-BE49-F238E27FC236}">
                  <a16:creationId xmlns:a16="http://schemas.microsoft.com/office/drawing/2014/main" id="{AC4F86DB-6F6B-4D52-94DC-36D92C6950C3}"/>
                </a:ext>
              </a:extLst>
            </p:cNvPr>
            <p:cNvSpPr txBox="1"/>
            <p:nvPr/>
          </p:nvSpPr>
          <p:spPr>
            <a:xfrm>
              <a:off x="7197428" y="2697826"/>
              <a:ext cx="1079142" cy="261610"/>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000000"/>
                  </a:solidFill>
                  <a:effectLst/>
                  <a:uLnTx/>
                  <a:uFillTx/>
                  <a:latin typeface="Roboto Thin" panose="02000000000000000000" pitchFamily="2" charset="0"/>
                  <a:ea typeface="Roboto Thin" panose="02000000000000000000" pitchFamily="2" charset="0"/>
                  <a:cs typeface="+mn-cs"/>
                </a:rPr>
                <a:t>Insert text here</a:t>
              </a:r>
              <a:endParaRPr kumimoji="0" lang="id-ID" sz="1050" b="1" i="0" u="none" strike="noStrike" kern="1200" cap="none" spc="0" normalizeH="0" baseline="0" noProof="0" dirty="0">
                <a:ln>
                  <a:noFill/>
                </a:ln>
                <a:solidFill>
                  <a:srgbClr val="000000"/>
                </a:solidFill>
                <a:effectLst/>
                <a:uLnTx/>
                <a:uFillTx/>
                <a:latin typeface="Roboto Thin" panose="02000000000000000000" pitchFamily="2" charset="0"/>
                <a:ea typeface="Roboto Thin" panose="02000000000000000000" pitchFamily="2" charset="0"/>
                <a:cs typeface="+mn-cs"/>
              </a:endParaRPr>
            </a:p>
          </p:txBody>
        </p:sp>
        <p:sp>
          <p:nvSpPr>
            <p:cNvPr id="32" name="TextBox 47">
              <a:extLst>
                <a:ext uri="{FF2B5EF4-FFF2-40B4-BE49-F238E27FC236}">
                  <a16:creationId xmlns:a16="http://schemas.microsoft.com/office/drawing/2014/main" id="{85DDB43E-864E-4D74-94DD-C7E7A23F8AE2}"/>
                </a:ext>
              </a:extLst>
            </p:cNvPr>
            <p:cNvSpPr txBox="1"/>
            <p:nvPr/>
          </p:nvSpPr>
          <p:spPr>
            <a:xfrm>
              <a:off x="7338864" y="3042799"/>
              <a:ext cx="1079142" cy="261610"/>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000000"/>
                  </a:solidFill>
                  <a:effectLst/>
                  <a:uLnTx/>
                  <a:uFillTx/>
                  <a:latin typeface="Roboto Thin" panose="02000000000000000000" pitchFamily="2" charset="0"/>
                  <a:ea typeface="Roboto Thin" panose="02000000000000000000" pitchFamily="2" charset="0"/>
                  <a:cs typeface="+mn-cs"/>
                </a:rPr>
                <a:t>Insert text here</a:t>
              </a:r>
              <a:endParaRPr kumimoji="0" lang="id-ID" sz="1050" b="1" i="0" u="none" strike="noStrike" kern="1200" cap="none" spc="0" normalizeH="0" baseline="0" noProof="0" dirty="0">
                <a:ln>
                  <a:noFill/>
                </a:ln>
                <a:solidFill>
                  <a:srgbClr val="000000"/>
                </a:solidFill>
                <a:effectLst/>
                <a:uLnTx/>
                <a:uFillTx/>
                <a:latin typeface="Roboto Thin" panose="02000000000000000000" pitchFamily="2" charset="0"/>
                <a:ea typeface="Roboto Thin" panose="02000000000000000000" pitchFamily="2" charset="0"/>
                <a:cs typeface="+mn-cs"/>
              </a:endParaRPr>
            </a:p>
          </p:txBody>
        </p:sp>
        <p:sp>
          <p:nvSpPr>
            <p:cNvPr id="33" name="TextBox 48">
              <a:extLst>
                <a:ext uri="{FF2B5EF4-FFF2-40B4-BE49-F238E27FC236}">
                  <a16:creationId xmlns:a16="http://schemas.microsoft.com/office/drawing/2014/main" id="{92650832-1CD7-476D-930B-CA55DB51893C}"/>
                </a:ext>
              </a:extLst>
            </p:cNvPr>
            <p:cNvSpPr txBox="1"/>
            <p:nvPr/>
          </p:nvSpPr>
          <p:spPr>
            <a:xfrm>
              <a:off x="7438779" y="4121724"/>
              <a:ext cx="1079142" cy="261610"/>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000000"/>
                  </a:solidFill>
                  <a:effectLst/>
                  <a:uLnTx/>
                  <a:uFillTx/>
                  <a:latin typeface="Roboto Thin" panose="02000000000000000000" pitchFamily="2" charset="0"/>
                  <a:ea typeface="Roboto Thin" panose="02000000000000000000" pitchFamily="2" charset="0"/>
                  <a:cs typeface="+mn-cs"/>
                </a:rPr>
                <a:t>Insert text here</a:t>
              </a:r>
              <a:endParaRPr kumimoji="0" lang="id-ID" sz="1050" b="1" i="0" u="none" strike="noStrike" kern="1200" cap="none" spc="0" normalizeH="0" baseline="0" noProof="0" dirty="0">
                <a:ln>
                  <a:noFill/>
                </a:ln>
                <a:solidFill>
                  <a:srgbClr val="000000"/>
                </a:solidFill>
                <a:effectLst/>
                <a:uLnTx/>
                <a:uFillTx/>
                <a:latin typeface="Roboto Thin" panose="02000000000000000000" pitchFamily="2" charset="0"/>
                <a:ea typeface="Roboto Thin" panose="02000000000000000000" pitchFamily="2" charset="0"/>
                <a:cs typeface="+mn-cs"/>
              </a:endParaRPr>
            </a:p>
          </p:txBody>
        </p:sp>
        <p:sp>
          <p:nvSpPr>
            <p:cNvPr id="34" name="TextBox 49">
              <a:extLst>
                <a:ext uri="{FF2B5EF4-FFF2-40B4-BE49-F238E27FC236}">
                  <a16:creationId xmlns:a16="http://schemas.microsoft.com/office/drawing/2014/main" id="{B2E8248E-5E24-4DD3-88F0-74EB238C2881}"/>
                </a:ext>
              </a:extLst>
            </p:cNvPr>
            <p:cNvSpPr txBox="1"/>
            <p:nvPr/>
          </p:nvSpPr>
          <p:spPr>
            <a:xfrm>
              <a:off x="7197428" y="4862333"/>
              <a:ext cx="1079142" cy="261610"/>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000000"/>
                  </a:solidFill>
                  <a:effectLst/>
                  <a:uLnTx/>
                  <a:uFillTx/>
                  <a:latin typeface="Roboto Thin" panose="02000000000000000000" pitchFamily="2" charset="0"/>
                  <a:ea typeface="Roboto Thin" panose="02000000000000000000" pitchFamily="2" charset="0"/>
                  <a:cs typeface="+mn-cs"/>
                </a:rPr>
                <a:t>Insert text here</a:t>
              </a:r>
              <a:endParaRPr kumimoji="0" lang="id-ID" sz="1050" b="1" i="0" u="none" strike="noStrike" kern="1200" cap="none" spc="0" normalizeH="0" baseline="0" noProof="0" dirty="0">
                <a:ln>
                  <a:noFill/>
                </a:ln>
                <a:solidFill>
                  <a:srgbClr val="000000"/>
                </a:solidFill>
                <a:effectLst/>
                <a:uLnTx/>
                <a:uFillTx/>
                <a:latin typeface="Roboto Thin" panose="02000000000000000000" pitchFamily="2" charset="0"/>
                <a:ea typeface="Roboto Thin" panose="02000000000000000000" pitchFamily="2" charset="0"/>
                <a:cs typeface="+mn-cs"/>
              </a:endParaRPr>
            </a:p>
          </p:txBody>
        </p:sp>
        <p:sp>
          <p:nvSpPr>
            <p:cNvPr id="35" name="TextBox 50">
              <a:extLst>
                <a:ext uri="{FF2B5EF4-FFF2-40B4-BE49-F238E27FC236}">
                  <a16:creationId xmlns:a16="http://schemas.microsoft.com/office/drawing/2014/main" id="{99F1DE74-68E4-4AE3-A1C8-F0A3F606C659}"/>
                </a:ext>
              </a:extLst>
            </p:cNvPr>
            <p:cNvSpPr txBox="1"/>
            <p:nvPr/>
          </p:nvSpPr>
          <p:spPr>
            <a:xfrm>
              <a:off x="7438779" y="3387337"/>
              <a:ext cx="1079142" cy="261610"/>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000000"/>
                  </a:solidFill>
                  <a:effectLst/>
                  <a:uLnTx/>
                  <a:uFillTx/>
                  <a:latin typeface="Roboto Thin" panose="02000000000000000000" pitchFamily="2" charset="0"/>
                  <a:ea typeface="Roboto Thin" panose="02000000000000000000" pitchFamily="2" charset="0"/>
                  <a:cs typeface="+mn-cs"/>
                </a:rPr>
                <a:t>Insert text here</a:t>
              </a:r>
              <a:endParaRPr kumimoji="0" lang="id-ID" sz="1050" b="1" i="0" u="none" strike="noStrike" kern="1200" cap="none" spc="0" normalizeH="0" baseline="0" noProof="0" dirty="0">
                <a:ln>
                  <a:noFill/>
                </a:ln>
                <a:solidFill>
                  <a:srgbClr val="000000"/>
                </a:solidFill>
                <a:effectLst/>
                <a:uLnTx/>
                <a:uFillTx/>
                <a:latin typeface="Roboto Thin" panose="02000000000000000000" pitchFamily="2" charset="0"/>
                <a:ea typeface="Roboto Thin" panose="02000000000000000000" pitchFamily="2" charset="0"/>
                <a:cs typeface="+mn-cs"/>
              </a:endParaRPr>
            </a:p>
          </p:txBody>
        </p:sp>
        <p:sp>
          <p:nvSpPr>
            <p:cNvPr id="36" name="TextBox 51">
              <a:extLst>
                <a:ext uri="{FF2B5EF4-FFF2-40B4-BE49-F238E27FC236}">
                  <a16:creationId xmlns:a16="http://schemas.microsoft.com/office/drawing/2014/main" id="{E8F268D5-0905-4568-BA7B-97FC5558DA61}"/>
                </a:ext>
              </a:extLst>
            </p:cNvPr>
            <p:cNvSpPr txBox="1"/>
            <p:nvPr/>
          </p:nvSpPr>
          <p:spPr>
            <a:xfrm>
              <a:off x="7338864" y="4497953"/>
              <a:ext cx="1079142" cy="261610"/>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000000"/>
                  </a:solidFill>
                  <a:effectLst/>
                  <a:uLnTx/>
                  <a:uFillTx/>
                  <a:latin typeface="Roboto Thin" panose="02000000000000000000" pitchFamily="2" charset="0"/>
                  <a:ea typeface="Roboto Thin" panose="02000000000000000000" pitchFamily="2" charset="0"/>
                  <a:cs typeface="+mn-cs"/>
                </a:rPr>
                <a:t>Insert text here</a:t>
              </a:r>
              <a:endParaRPr kumimoji="0" lang="id-ID" sz="1050" b="1" i="0" u="none" strike="noStrike" kern="1200" cap="none" spc="0" normalizeH="0" baseline="0" noProof="0" dirty="0">
                <a:ln>
                  <a:noFill/>
                </a:ln>
                <a:solidFill>
                  <a:srgbClr val="000000"/>
                </a:solidFill>
                <a:effectLst/>
                <a:uLnTx/>
                <a:uFillTx/>
                <a:latin typeface="Roboto Thin" panose="02000000000000000000" pitchFamily="2" charset="0"/>
                <a:ea typeface="Roboto Thin" panose="02000000000000000000" pitchFamily="2" charset="0"/>
                <a:cs typeface="+mn-cs"/>
              </a:endParaRPr>
            </a:p>
          </p:txBody>
        </p:sp>
        <p:sp>
          <p:nvSpPr>
            <p:cNvPr id="37" name="TextBox 52">
              <a:extLst>
                <a:ext uri="{FF2B5EF4-FFF2-40B4-BE49-F238E27FC236}">
                  <a16:creationId xmlns:a16="http://schemas.microsoft.com/office/drawing/2014/main" id="{118846C1-8E82-47DE-B490-90E85C20E554}"/>
                </a:ext>
              </a:extLst>
            </p:cNvPr>
            <p:cNvSpPr txBox="1"/>
            <p:nvPr/>
          </p:nvSpPr>
          <p:spPr>
            <a:xfrm>
              <a:off x="6838620" y="2362887"/>
              <a:ext cx="1112805" cy="30777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accent1"/>
                  </a:solidFill>
                  <a:effectLst/>
                  <a:uLnTx/>
                  <a:uFillTx/>
                  <a:latin typeface="Roboto Black" panose="02000000000000000000" pitchFamily="2" charset="0"/>
                  <a:ea typeface="Roboto Black" panose="02000000000000000000" pitchFamily="2" charset="0"/>
                  <a:cs typeface="+mn-cs"/>
                </a:rPr>
                <a:t>Description</a:t>
              </a:r>
              <a:endParaRPr kumimoji="0" lang="id-ID" sz="1400" b="1" i="0" u="none" strike="noStrike" kern="1200" cap="none" spc="0" normalizeH="0" baseline="0" noProof="0" dirty="0">
                <a:ln>
                  <a:noFill/>
                </a:ln>
                <a:solidFill>
                  <a:schemeClr val="accent1"/>
                </a:solidFill>
                <a:effectLst/>
                <a:uLnTx/>
                <a:uFillTx/>
                <a:latin typeface="Roboto Black" panose="02000000000000000000" pitchFamily="2" charset="0"/>
                <a:ea typeface="Roboto Black" panose="02000000000000000000" pitchFamily="2" charset="0"/>
                <a:cs typeface="+mn-cs"/>
              </a:endParaRPr>
            </a:p>
          </p:txBody>
        </p:sp>
        <p:sp>
          <p:nvSpPr>
            <p:cNvPr id="38" name="TextBox 53">
              <a:extLst>
                <a:ext uri="{FF2B5EF4-FFF2-40B4-BE49-F238E27FC236}">
                  <a16:creationId xmlns:a16="http://schemas.microsoft.com/office/drawing/2014/main" id="{D0A6068C-7042-4DA9-80E6-5534A67DBC1E}"/>
                </a:ext>
              </a:extLst>
            </p:cNvPr>
            <p:cNvSpPr txBox="1"/>
            <p:nvPr/>
          </p:nvSpPr>
          <p:spPr>
            <a:xfrm>
              <a:off x="6856400" y="5194023"/>
              <a:ext cx="1112805" cy="30777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accent1"/>
                  </a:solidFill>
                  <a:effectLst/>
                  <a:uLnTx/>
                  <a:uFillTx/>
                  <a:latin typeface="Roboto Black" panose="02000000000000000000" pitchFamily="2" charset="0"/>
                  <a:ea typeface="Roboto Black" panose="02000000000000000000" pitchFamily="2" charset="0"/>
                  <a:cs typeface="+mn-cs"/>
                </a:rPr>
                <a:t>Description</a:t>
              </a:r>
              <a:endParaRPr kumimoji="0" lang="id-ID" sz="1400" b="1" i="0" u="none" strike="noStrike" kern="1200" cap="none" spc="0" normalizeH="0" baseline="0" noProof="0" dirty="0">
                <a:ln>
                  <a:noFill/>
                </a:ln>
                <a:solidFill>
                  <a:schemeClr val="accent1"/>
                </a:solidFill>
                <a:effectLst/>
                <a:uLnTx/>
                <a:uFillTx/>
                <a:latin typeface="Roboto Black" panose="02000000000000000000" pitchFamily="2" charset="0"/>
                <a:ea typeface="Roboto Black" panose="02000000000000000000" pitchFamily="2" charset="0"/>
                <a:cs typeface="+mn-cs"/>
              </a:endParaRPr>
            </a:p>
          </p:txBody>
        </p:sp>
      </p:grpSp>
      <p:grpSp>
        <p:nvGrpSpPr>
          <p:cNvPr id="39" name="Group 54">
            <a:extLst>
              <a:ext uri="{FF2B5EF4-FFF2-40B4-BE49-F238E27FC236}">
                <a16:creationId xmlns:a16="http://schemas.microsoft.com/office/drawing/2014/main" id="{30274E24-4BEC-4515-85A2-32A3ED06DE27}"/>
              </a:ext>
            </a:extLst>
          </p:cNvPr>
          <p:cNvGrpSpPr/>
          <p:nvPr/>
        </p:nvGrpSpPr>
        <p:grpSpPr>
          <a:xfrm>
            <a:off x="1469559" y="2170262"/>
            <a:ext cx="1957636" cy="2472828"/>
            <a:chOff x="6862545" y="2645212"/>
            <a:chExt cx="1957636" cy="2472828"/>
          </a:xfrm>
        </p:grpSpPr>
        <p:sp>
          <p:nvSpPr>
            <p:cNvPr id="40" name="TextBox 55">
              <a:extLst>
                <a:ext uri="{FF2B5EF4-FFF2-40B4-BE49-F238E27FC236}">
                  <a16:creationId xmlns:a16="http://schemas.microsoft.com/office/drawing/2014/main" id="{D4A994AB-D4A6-4FB3-B064-FAE99AFE7053}"/>
                </a:ext>
              </a:extLst>
            </p:cNvPr>
            <p:cNvSpPr txBox="1"/>
            <p:nvPr/>
          </p:nvSpPr>
          <p:spPr>
            <a:xfrm>
              <a:off x="6862545" y="2645212"/>
              <a:ext cx="1423788" cy="307777"/>
            </a:xfrm>
            <a:prstGeom prst="rect">
              <a:avLst/>
            </a:prstGeom>
            <a:noFill/>
          </p:spPr>
          <p:txBody>
            <a:bodyPr wrap="square" rtlCol="0">
              <a:spAutoFit/>
            </a:bodyPr>
            <a:lstStyle>
              <a:defPPr>
                <a:defRPr lang="en-US"/>
              </a:defPPr>
              <a:lvl1pPr algn="ctr">
                <a:defRPr sz="1400" b="1">
                  <a:solidFill>
                    <a:schemeClr val="accent4"/>
                  </a:solidFill>
                  <a:latin typeface="Roboto Black" panose="02000000000000000000" pitchFamily="2" charset="0"/>
                  <a:ea typeface="Roboto Black" panose="02000000000000000000" pitchFamily="2"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accent1"/>
                  </a:solidFill>
                  <a:effectLst/>
                  <a:uLnTx/>
                  <a:uFillTx/>
                  <a:latin typeface="Roboto Black" panose="02000000000000000000" pitchFamily="2" charset="0"/>
                  <a:ea typeface="Roboto Black" panose="02000000000000000000" pitchFamily="2" charset="0"/>
                  <a:cs typeface="+mn-cs"/>
                </a:rPr>
                <a:t>Insert text here</a:t>
              </a:r>
              <a:endParaRPr kumimoji="0" lang="id-ID" sz="1400" b="1" i="0" u="none" strike="noStrike" kern="1200" cap="none" spc="0" normalizeH="0" baseline="0" noProof="0" dirty="0">
                <a:ln>
                  <a:noFill/>
                </a:ln>
                <a:solidFill>
                  <a:schemeClr val="accent1"/>
                </a:solidFill>
                <a:effectLst/>
                <a:uLnTx/>
                <a:uFillTx/>
                <a:latin typeface="Roboto Black" panose="02000000000000000000" pitchFamily="2" charset="0"/>
                <a:ea typeface="Roboto Black" panose="02000000000000000000" pitchFamily="2" charset="0"/>
                <a:cs typeface="+mn-cs"/>
              </a:endParaRPr>
            </a:p>
          </p:txBody>
        </p:sp>
        <p:sp>
          <p:nvSpPr>
            <p:cNvPr id="41" name="TextBox 56">
              <a:extLst>
                <a:ext uri="{FF2B5EF4-FFF2-40B4-BE49-F238E27FC236}">
                  <a16:creationId xmlns:a16="http://schemas.microsoft.com/office/drawing/2014/main" id="{AC24A321-A797-4CD8-A925-7038C1D2AD38}"/>
                </a:ext>
              </a:extLst>
            </p:cNvPr>
            <p:cNvSpPr txBox="1"/>
            <p:nvPr/>
          </p:nvSpPr>
          <p:spPr>
            <a:xfrm>
              <a:off x="7585244" y="3042799"/>
              <a:ext cx="1079142" cy="261610"/>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000000"/>
                  </a:solidFill>
                  <a:effectLst/>
                  <a:uLnTx/>
                  <a:uFillTx/>
                  <a:latin typeface="Roboto Thin" panose="02000000000000000000" pitchFamily="2" charset="0"/>
                  <a:ea typeface="Roboto Thin" panose="02000000000000000000" pitchFamily="2" charset="0"/>
                  <a:cs typeface="+mn-cs"/>
                </a:rPr>
                <a:t>Insert text here</a:t>
              </a:r>
              <a:endParaRPr kumimoji="0" lang="id-ID" sz="1050" b="1" i="0" u="none" strike="noStrike" kern="1200" cap="none" spc="0" normalizeH="0" baseline="0" noProof="0" dirty="0">
                <a:ln>
                  <a:noFill/>
                </a:ln>
                <a:solidFill>
                  <a:srgbClr val="000000"/>
                </a:solidFill>
                <a:effectLst/>
                <a:uLnTx/>
                <a:uFillTx/>
                <a:latin typeface="Roboto Thin" panose="02000000000000000000" pitchFamily="2" charset="0"/>
                <a:ea typeface="Roboto Thin" panose="02000000000000000000" pitchFamily="2" charset="0"/>
                <a:cs typeface="+mn-cs"/>
              </a:endParaRPr>
            </a:p>
          </p:txBody>
        </p:sp>
        <p:sp>
          <p:nvSpPr>
            <p:cNvPr id="42" name="TextBox 57">
              <a:extLst>
                <a:ext uri="{FF2B5EF4-FFF2-40B4-BE49-F238E27FC236}">
                  <a16:creationId xmlns:a16="http://schemas.microsoft.com/office/drawing/2014/main" id="{6948B48D-29F2-4696-8C4A-E9985DED35CF}"/>
                </a:ext>
              </a:extLst>
            </p:cNvPr>
            <p:cNvSpPr txBox="1"/>
            <p:nvPr/>
          </p:nvSpPr>
          <p:spPr>
            <a:xfrm>
              <a:off x="7741039" y="4121724"/>
              <a:ext cx="1079142" cy="261610"/>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000000"/>
                  </a:solidFill>
                  <a:effectLst/>
                  <a:uLnTx/>
                  <a:uFillTx/>
                  <a:latin typeface="Roboto Thin" panose="02000000000000000000" pitchFamily="2" charset="0"/>
                  <a:ea typeface="Roboto Thin" panose="02000000000000000000" pitchFamily="2" charset="0"/>
                  <a:cs typeface="+mn-cs"/>
                </a:rPr>
                <a:t>Insert text here</a:t>
              </a:r>
              <a:endParaRPr kumimoji="0" lang="id-ID" sz="1050" b="1" i="0" u="none" strike="noStrike" kern="1200" cap="none" spc="0" normalizeH="0" baseline="0" noProof="0" dirty="0">
                <a:ln>
                  <a:noFill/>
                </a:ln>
                <a:solidFill>
                  <a:srgbClr val="000000"/>
                </a:solidFill>
                <a:effectLst/>
                <a:uLnTx/>
                <a:uFillTx/>
                <a:latin typeface="Roboto Thin" panose="02000000000000000000" pitchFamily="2" charset="0"/>
                <a:ea typeface="Roboto Thin" panose="02000000000000000000" pitchFamily="2" charset="0"/>
                <a:cs typeface="+mn-cs"/>
              </a:endParaRPr>
            </a:p>
          </p:txBody>
        </p:sp>
        <p:sp>
          <p:nvSpPr>
            <p:cNvPr id="43" name="TextBox 58">
              <a:extLst>
                <a:ext uri="{FF2B5EF4-FFF2-40B4-BE49-F238E27FC236}">
                  <a16:creationId xmlns:a16="http://schemas.microsoft.com/office/drawing/2014/main" id="{1A49AC3F-7D80-423F-AFB6-35A2B6F94A72}"/>
                </a:ext>
              </a:extLst>
            </p:cNvPr>
            <p:cNvSpPr txBox="1"/>
            <p:nvPr/>
          </p:nvSpPr>
          <p:spPr>
            <a:xfrm>
              <a:off x="6896835" y="4810263"/>
              <a:ext cx="1423788" cy="30777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accent1"/>
                  </a:solidFill>
                  <a:effectLst/>
                  <a:uLnTx/>
                  <a:uFillTx/>
                  <a:latin typeface="Roboto Black" panose="02000000000000000000" pitchFamily="2" charset="0"/>
                  <a:ea typeface="Roboto Black" panose="02000000000000000000" pitchFamily="2" charset="0"/>
                  <a:cs typeface="+mn-cs"/>
                </a:rPr>
                <a:t>Insert text here</a:t>
              </a:r>
              <a:endParaRPr kumimoji="0" lang="id-ID" sz="1400" b="1" i="0" u="none" strike="noStrike" kern="1200" cap="none" spc="0" normalizeH="0" baseline="0" noProof="0" dirty="0">
                <a:ln>
                  <a:noFill/>
                </a:ln>
                <a:solidFill>
                  <a:schemeClr val="accent1"/>
                </a:solidFill>
                <a:effectLst/>
                <a:uLnTx/>
                <a:uFillTx/>
                <a:latin typeface="Roboto Black" panose="02000000000000000000" pitchFamily="2" charset="0"/>
                <a:ea typeface="Roboto Black" panose="02000000000000000000" pitchFamily="2" charset="0"/>
                <a:cs typeface="+mn-cs"/>
              </a:endParaRPr>
            </a:p>
          </p:txBody>
        </p:sp>
        <p:sp>
          <p:nvSpPr>
            <p:cNvPr id="44" name="TextBox 59">
              <a:extLst>
                <a:ext uri="{FF2B5EF4-FFF2-40B4-BE49-F238E27FC236}">
                  <a16:creationId xmlns:a16="http://schemas.microsoft.com/office/drawing/2014/main" id="{B42884D8-8E49-48E0-A247-741D419B6212}"/>
                </a:ext>
              </a:extLst>
            </p:cNvPr>
            <p:cNvSpPr txBox="1"/>
            <p:nvPr/>
          </p:nvSpPr>
          <p:spPr>
            <a:xfrm>
              <a:off x="7741039" y="3387337"/>
              <a:ext cx="1079142" cy="261610"/>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000000"/>
                  </a:solidFill>
                  <a:effectLst/>
                  <a:uLnTx/>
                  <a:uFillTx/>
                  <a:latin typeface="Roboto Thin" panose="02000000000000000000" pitchFamily="2" charset="0"/>
                  <a:ea typeface="Roboto Thin" panose="02000000000000000000" pitchFamily="2" charset="0"/>
                  <a:cs typeface="+mn-cs"/>
                </a:rPr>
                <a:t>Insert text here</a:t>
              </a:r>
              <a:endParaRPr kumimoji="0" lang="id-ID" sz="1050" b="1" i="0" u="none" strike="noStrike" kern="1200" cap="none" spc="0" normalizeH="0" baseline="0" noProof="0" dirty="0">
                <a:ln>
                  <a:noFill/>
                </a:ln>
                <a:solidFill>
                  <a:srgbClr val="000000"/>
                </a:solidFill>
                <a:effectLst/>
                <a:uLnTx/>
                <a:uFillTx/>
                <a:latin typeface="Roboto Thin" panose="02000000000000000000" pitchFamily="2" charset="0"/>
                <a:ea typeface="Roboto Thin" panose="02000000000000000000" pitchFamily="2" charset="0"/>
                <a:cs typeface="+mn-cs"/>
              </a:endParaRPr>
            </a:p>
          </p:txBody>
        </p:sp>
        <p:sp>
          <p:nvSpPr>
            <p:cNvPr id="45" name="TextBox 60">
              <a:extLst>
                <a:ext uri="{FF2B5EF4-FFF2-40B4-BE49-F238E27FC236}">
                  <a16:creationId xmlns:a16="http://schemas.microsoft.com/office/drawing/2014/main" id="{27CD48AB-702B-4CB3-B8C4-596C008F9F05}"/>
                </a:ext>
              </a:extLst>
            </p:cNvPr>
            <p:cNvSpPr txBox="1"/>
            <p:nvPr/>
          </p:nvSpPr>
          <p:spPr>
            <a:xfrm>
              <a:off x="7585244" y="4497953"/>
              <a:ext cx="1079142" cy="261610"/>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000000"/>
                  </a:solidFill>
                  <a:effectLst/>
                  <a:uLnTx/>
                  <a:uFillTx/>
                  <a:latin typeface="Roboto Thin" panose="02000000000000000000" pitchFamily="2" charset="0"/>
                  <a:ea typeface="Roboto Thin" panose="02000000000000000000" pitchFamily="2" charset="0"/>
                  <a:cs typeface="+mn-cs"/>
                </a:rPr>
                <a:t>Insert text here</a:t>
              </a:r>
              <a:endParaRPr kumimoji="0" lang="id-ID" sz="1050" b="1" i="0" u="none" strike="noStrike" kern="1200" cap="none" spc="0" normalizeH="0" baseline="0" noProof="0" dirty="0">
                <a:ln>
                  <a:noFill/>
                </a:ln>
                <a:solidFill>
                  <a:srgbClr val="000000"/>
                </a:solidFill>
                <a:effectLst/>
                <a:uLnTx/>
                <a:uFillTx/>
                <a:latin typeface="Roboto Thin" panose="02000000000000000000" pitchFamily="2" charset="0"/>
                <a:ea typeface="Roboto Thin" panose="02000000000000000000" pitchFamily="2" charset="0"/>
                <a:cs typeface="+mn-cs"/>
              </a:endParaRPr>
            </a:p>
          </p:txBody>
        </p:sp>
      </p:grpSp>
    </p:spTree>
    <p:extLst>
      <p:ext uri="{BB962C8B-B14F-4D97-AF65-F5344CB8AC3E}">
        <p14:creationId xmlns:p14="http://schemas.microsoft.com/office/powerpoint/2010/main" val="653265071"/>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7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64">
            <a:extLst>
              <a:ext uri="{FF2B5EF4-FFF2-40B4-BE49-F238E27FC236}">
                <a16:creationId xmlns:a16="http://schemas.microsoft.com/office/drawing/2014/main" id="{3992D09D-119F-422C-BAEE-2B625357469F}"/>
              </a:ext>
            </a:extLst>
          </p:cNvPr>
          <p:cNvGrpSpPr/>
          <p:nvPr/>
        </p:nvGrpSpPr>
        <p:grpSpPr>
          <a:xfrm>
            <a:off x="1712473" y="2073543"/>
            <a:ext cx="8467344" cy="3023545"/>
            <a:chOff x="1693423" y="1946336"/>
            <a:chExt cx="8467344" cy="3023545"/>
          </a:xfrm>
        </p:grpSpPr>
        <p:grpSp>
          <p:nvGrpSpPr>
            <p:cNvPr id="3" name="Group 39">
              <a:extLst>
                <a:ext uri="{FF2B5EF4-FFF2-40B4-BE49-F238E27FC236}">
                  <a16:creationId xmlns:a16="http://schemas.microsoft.com/office/drawing/2014/main" id="{74EEDF6C-DC64-4728-975A-A971A9EABED5}"/>
                </a:ext>
              </a:extLst>
            </p:cNvPr>
            <p:cNvGrpSpPr/>
            <p:nvPr/>
          </p:nvGrpSpPr>
          <p:grpSpPr>
            <a:xfrm>
              <a:off x="1693423" y="2381250"/>
              <a:ext cx="8467344" cy="2133599"/>
              <a:chOff x="1693423" y="2398692"/>
              <a:chExt cx="8133520" cy="2049482"/>
            </a:xfrm>
          </p:grpSpPr>
          <p:grpSp>
            <p:nvGrpSpPr>
              <p:cNvPr id="20" name="Group 35">
                <a:extLst>
                  <a:ext uri="{FF2B5EF4-FFF2-40B4-BE49-F238E27FC236}">
                    <a16:creationId xmlns:a16="http://schemas.microsoft.com/office/drawing/2014/main" id="{34FAB1F1-C165-4D5B-8A9D-0E56B094425A}"/>
                  </a:ext>
                </a:extLst>
              </p:cNvPr>
              <p:cNvGrpSpPr/>
              <p:nvPr/>
            </p:nvGrpSpPr>
            <p:grpSpPr>
              <a:xfrm>
                <a:off x="2514600" y="2476499"/>
                <a:ext cx="7312343" cy="1971675"/>
                <a:chOff x="2105025" y="2314575"/>
                <a:chExt cx="8124825" cy="2190750"/>
              </a:xfrm>
            </p:grpSpPr>
            <p:sp>
              <p:nvSpPr>
                <p:cNvPr id="24" name="Oval 31">
                  <a:extLst>
                    <a:ext uri="{FF2B5EF4-FFF2-40B4-BE49-F238E27FC236}">
                      <a16:creationId xmlns:a16="http://schemas.microsoft.com/office/drawing/2014/main" id="{3ED4F645-3D3F-4C44-87B7-D7131FE0C65D}"/>
                    </a:ext>
                  </a:extLst>
                </p:cNvPr>
                <p:cNvSpPr/>
                <p:nvPr/>
              </p:nvSpPr>
              <p:spPr>
                <a:xfrm>
                  <a:off x="2105025" y="2314575"/>
                  <a:ext cx="8115300" cy="2190750"/>
                </a:xfrm>
                <a:prstGeom prst="ellipse">
                  <a:avLst/>
                </a:prstGeom>
                <a:noFill/>
                <a:ln w="9525">
                  <a:solidFill>
                    <a:schemeClr val="accent1">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677C7"/>
                    </a:solidFill>
                    <a:effectLst/>
                    <a:uLnTx/>
                    <a:uFillTx/>
                    <a:latin typeface="Arial"/>
                    <a:cs typeface="+mn-cs"/>
                  </a:endParaRPr>
                </a:p>
              </p:txBody>
            </p:sp>
            <p:sp>
              <p:nvSpPr>
                <p:cNvPr id="25" name="Freeform 34">
                  <a:extLst>
                    <a:ext uri="{FF2B5EF4-FFF2-40B4-BE49-F238E27FC236}">
                      <a16:creationId xmlns:a16="http://schemas.microsoft.com/office/drawing/2014/main" id="{61B2E358-9B8B-42D5-8CC7-011D771F9B31}"/>
                    </a:ext>
                  </a:extLst>
                </p:cNvPr>
                <p:cNvSpPr/>
                <p:nvPr/>
              </p:nvSpPr>
              <p:spPr>
                <a:xfrm>
                  <a:off x="8459130" y="2533000"/>
                  <a:ext cx="1770720" cy="1648475"/>
                </a:xfrm>
                <a:custGeom>
                  <a:avLst/>
                  <a:gdLst>
                    <a:gd name="connsiteX0" fmla="*/ 103479 w 1770720"/>
                    <a:gd name="connsiteY0" fmla="*/ 0 h 1648475"/>
                    <a:gd name="connsiteX1" fmla="*/ 294112 w 1770720"/>
                    <a:gd name="connsiteY1" fmla="*/ 38483 h 1648475"/>
                    <a:gd name="connsiteX2" fmla="*/ 1770720 w 1770720"/>
                    <a:gd name="connsiteY2" fmla="*/ 883727 h 1648475"/>
                    <a:gd name="connsiteX3" fmla="*/ 844150 w 1770720"/>
                    <a:gd name="connsiteY3" fmla="*/ 1580488 h 1648475"/>
                    <a:gd name="connsiteX4" fmla="*/ 615254 w 1770720"/>
                    <a:gd name="connsiteY4" fmla="*/ 1648475 h 1648475"/>
                    <a:gd name="connsiteX5" fmla="*/ 559813 w 1770720"/>
                    <a:gd name="connsiteY5" fmla="*/ 1611658 h 1648475"/>
                    <a:gd name="connsiteX6" fmla="*/ 104760 w 1770720"/>
                    <a:gd name="connsiteY6" fmla="*/ 1023974 h 1648475"/>
                    <a:gd name="connsiteX7" fmla="*/ 76514 w 1770720"/>
                    <a:gd name="connsiteY7" fmla="*/ 56673 h 1648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70720" h="1648475">
                      <a:moveTo>
                        <a:pt x="103479" y="0"/>
                      </a:moveTo>
                      <a:lnTo>
                        <a:pt x="294112" y="38483"/>
                      </a:lnTo>
                      <a:cubicBezTo>
                        <a:pt x="1195914" y="239391"/>
                        <a:pt x="1770720" y="543438"/>
                        <a:pt x="1770720" y="883727"/>
                      </a:cubicBezTo>
                      <a:cubicBezTo>
                        <a:pt x="1770720" y="1148397"/>
                        <a:pt x="1422998" y="1391142"/>
                        <a:pt x="844150" y="1580488"/>
                      </a:cubicBezTo>
                      <a:lnTo>
                        <a:pt x="615254" y="1648475"/>
                      </a:lnTo>
                      <a:lnTo>
                        <a:pt x="559813" y="1611658"/>
                      </a:lnTo>
                      <a:cubicBezTo>
                        <a:pt x="366388" y="1469909"/>
                        <a:pt x="205289" y="1269519"/>
                        <a:pt x="104760" y="1023974"/>
                      </a:cubicBezTo>
                      <a:cubicBezTo>
                        <a:pt x="-29278" y="696580"/>
                        <a:pt x="-30258" y="350900"/>
                        <a:pt x="76514" y="56673"/>
                      </a:cubicBezTo>
                      <a:close/>
                    </a:path>
                  </a:pathLst>
                </a:custGeom>
                <a:solidFill>
                  <a:schemeClr val="accent1">
                    <a:lumMod val="10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677C7"/>
                    </a:solidFill>
                    <a:effectLst/>
                    <a:uLnTx/>
                    <a:uFillTx/>
                    <a:latin typeface="Arial"/>
                    <a:cs typeface="+mn-cs"/>
                  </a:endParaRPr>
                </a:p>
              </p:txBody>
            </p:sp>
          </p:grpSp>
          <p:sp>
            <p:nvSpPr>
              <p:cNvPr id="21" name="Isosceles Triangle 36">
                <a:extLst>
                  <a:ext uri="{FF2B5EF4-FFF2-40B4-BE49-F238E27FC236}">
                    <a16:creationId xmlns:a16="http://schemas.microsoft.com/office/drawing/2014/main" id="{BF6E3A99-6625-42FA-99B4-B178820FBA1C}"/>
                  </a:ext>
                </a:extLst>
              </p:cNvPr>
              <p:cNvSpPr/>
              <p:nvPr/>
            </p:nvSpPr>
            <p:spPr>
              <a:xfrm rot="18166022">
                <a:off x="1929915" y="2162200"/>
                <a:ext cx="979105" cy="1452090"/>
              </a:xfrm>
              <a:custGeom>
                <a:avLst/>
                <a:gdLst>
                  <a:gd name="connsiteX0" fmla="*/ 0 w 1076325"/>
                  <a:gd name="connsiteY0" fmla="*/ 1480720 h 1480720"/>
                  <a:gd name="connsiteX1" fmla="*/ 538163 w 1076325"/>
                  <a:gd name="connsiteY1" fmla="*/ 0 h 1480720"/>
                  <a:gd name="connsiteX2" fmla="*/ 1076325 w 1076325"/>
                  <a:gd name="connsiteY2" fmla="*/ 1480720 h 1480720"/>
                  <a:gd name="connsiteX3" fmla="*/ 0 w 1076325"/>
                  <a:gd name="connsiteY3" fmla="*/ 1480720 h 1480720"/>
                  <a:gd name="connsiteX0" fmla="*/ 0 w 1103207"/>
                  <a:gd name="connsiteY0" fmla="*/ 1480720 h 1480720"/>
                  <a:gd name="connsiteX1" fmla="*/ 538163 w 1103207"/>
                  <a:gd name="connsiteY1" fmla="*/ 0 h 1480720"/>
                  <a:gd name="connsiteX2" fmla="*/ 1103207 w 1103207"/>
                  <a:gd name="connsiteY2" fmla="*/ 1452090 h 1480720"/>
                  <a:gd name="connsiteX3" fmla="*/ 0 w 1103207"/>
                  <a:gd name="connsiteY3" fmla="*/ 1480720 h 1480720"/>
                  <a:gd name="connsiteX0" fmla="*/ 0 w 959038"/>
                  <a:gd name="connsiteY0" fmla="*/ 1387927 h 1452090"/>
                  <a:gd name="connsiteX1" fmla="*/ 393994 w 959038"/>
                  <a:gd name="connsiteY1" fmla="*/ 0 h 1452090"/>
                  <a:gd name="connsiteX2" fmla="*/ 959038 w 959038"/>
                  <a:gd name="connsiteY2" fmla="*/ 1452090 h 1452090"/>
                  <a:gd name="connsiteX3" fmla="*/ 0 w 959038"/>
                  <a:gd name="connsiteY3" fmla="*/ 1387927 h 1452090"/>
                  <a:gd name="connsiteX0" fmla="*/ 0 w 979105"/>
                  <a:gd name="connsiteY0" fmla="*/ 1321551 h 1452090"/>
                  <a:gd name="connsiteX1" fmla="*/ 414061 w 979105"/>
                  <a:gd name="connsiteY1" fmla="*/ 0 h 1452090"/>
                  <a:gd name="connsiteX2" fmla="*/ 979105 w 979105"/>
                  <a:gd name="connsiteY2" fmla="*/ 1452090 h 1452090"/>
                  <a:gd name="connsiteX3" fmla="*/ 0 w 979105"/>
                  <a:gd name="connsiteY3" fmla="*/ 1321551 h 1452090"/>
                </a:gdLst>
                <a:ahLst/>
                <a:cxnLst>
                  <a:cxn ang="0">
                    <a:pos x="connsiteX0" y="connsiteY0"/>
                  </a:cxn>
                  <a:cxn ang="0">
                    <a:pos x="connsiteX1" y="connsiteY1"/>
                  </a:cxn>
                  <a:cxn ang="0">
                    <a:pos x="connsiteX2" y="connsiteY2"/>
                  </a:cxn>
                  <a:cxn ang="0">
                    <a:pos x="connsiteX3" y="connsiteY3"/>
                  </a:cxn>
                </a:cxnLst>
                <a:rect l="l" t="t" r="r" b="b"/>
                <a:pathLst>
                  <a:path w="979105" h="1452090">
                    <a:moveTo>
                      <a:pt x="0" y="1321551"/>
                    </a:moveTo>
                    <a:lnTo>
                      <a:pt x="414061" y="0"/>
                    </a:lnTo>
                    <a:lnTo>
                      <a:pt x="979105" y="1452090"/>
                    </a:lnTo>
                    <a:lnTo>
                      <a:pt x="0" y="1321551"/>
                    </a:lnTo>
                    <a:close/>
                  </a:path>
                </a:pathLst>
              </a:custGeom>
              <a:solidFill>
                <a:schemeClr val="accent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677C7"/>
                  </a:solidFill>
                  <a:effectLst/>
                  <a:uLnTx/>
                  <a:uFillTx/>
                  <a:latin typeface="Arial"/>
                  <a:cs typeface="+mn-cs"/>
                </a:endParaRPr>
              </a:p>
            </p:txBody>
          </p:sp>
          <p:sp>
            <p:nvSpPr>
              <p:cNvPr id="22" name="Isosceles Triangle 36">
                <a:extLst>
                  <a:ext uri="{FF2B5EF4-FFF2-40B4-BE49-F238E27FC236}">
                    <a16:creationId xmlns:a16="http://schemas.microsoft.com/office/drawing/2014/main" id="{FFC6F541-3D68-4376-8394-CC368D3D51DE}"/>
                  </a:ext>
                </a:extLst>
              </p:cNvPr>
              <p:cNvSpPr/>
              <p:nvPr/>
            </p:nvSpPr>
            <p:spPr>
              <a:xfrm rot="3433978" flipV="1">
                <a:off x="2100774" y="3100648"/>
                <a:ext cx="825470" cy="1321551"/>
              </a:xfrm>
              <a:custGeom>
                <a:avLst/>
                <a:gdLst>
                  <a:gd name="connsiteX0" fmla="*/ 0 w 1076325"/>
                  <a:gd name="connsiteY0" fmla="*/ 1480720 h 1480720"/>
                  <a:gd name="connsiteX1" fmla="*/ 538163 w 1076325"/>
                  <a:gd name="connsiteY1" fmla="*/ 0 h 1480720"/>
                  <a:gd name="connsiteX2" fmla="*/ 1076325 w 1076325"/>
                  <a:gd name="connsiteY2" fmla="*/ 1480720 h 1480720"/>
                  <a:gd name="connsiteX3" fmla="*/ 0 w 1076325"/>
                  <a:gd name="connsiteY3" fmla="*/ 1480720 h 1480720"/>
                  <a:gd name="connsiteX0" fmla="*/ 0 w 1103207"/>
                  <a:gd name="connsiteY0" fmla="*/ 1480720 h 1480720"/>
                  <a:gd name="connsiteX1" fmla="*/ 538163 w 1103207"/>
                  <a:gd name="connsiteY1" fmla="*/ 0 h 1480720"/>
                  <a:gd name="connsiteX2" fmla="*/ 1103207 w 1103207"/>
                  <a:gd name="connsiteY2" fmla="*/ 1452090 h 1480720"/>
                  <a:gd name="connsiteX3" fmla="*/ 0 w 1103207"/>
                  <a:gd name="connsiteY3" fmla="*/ 1480720 h 1480720"/>
                  <a:gd name="connsiteX0" fmla="*/ 0 w 959038"/>
                  <a:gd name="connsiteY0" fmla="*/ 1387927 h 1452090"/>
                  <a:gd name="connsiteX1" fmla="*/ 393994 w 959038"/>
                  <a:gd name="connsiteY1" fmla="*/ 0 h 1452090"/>
                  <a:gd name="connsiteX2" fmla="*/ 959038 w 959038"/>
                  <a:gd name="connsiteY2" fmla="*/ 1452090 h 1452090"/>
                  <a:gd name="connsiteX3" fmla="*/ 0 w 959038"/>
                  <a:gd name="connsiteY3" fmla="*/ 1387927 h 1452090"/>
                  <a:gd name="connsiteX0" fmla="*/ 0 w 979105"/>
                  <a:gd name="connsiteY0" fmla="*/ 1321551 h 1452090"/>
                  <a:gd name="connsiteX1" fmla="*/ 414061 w 979105"/>
                  <a:gd name="connsiteY1" fmla="*/ 0 h 1452090"/>
                  <a:gd name="connsiteX2" fmla="*/ 979105 w 979105"/>
                  <a:gd name="connsiteY2" fmla="*/ 1452090 h 1452090"/>
                  <a:gd name="connsiteX3" fmla="*/ 0 w 979105"/>
                  <a:gd name="connsiteY3" fmla="*/ 1321551 h 1452090"/>
                  <a:gd name="connsiteX0" fmla="*/ 0 w 812305"/>
                  <a:gd name="connsiteY0" fmla="*/ 1321551 h 1321551"/>
                  <a:gd name="connsiteX1" fmla="*/ 414061 w 812305"/>
                  <a:gd name="connsiteY1" fmla="*/ 0 h 1321551"/>
                  <a:gd name="connsiteX2" fmla="*/ 812305 w 812305"/>
                  <a:gd name="connsiteY2" fmla="*/ 981750 h 1321551"/>
                  <a:gd name="connsiteX3" fmla="*/ 0 w 812305"/>
                  <a:gd name="connsiteY3" fmla="*/ 1321551 h 1321551"/>
                  <a:gd name="connsiteX0" fmla="*/ 0 w 825470"/>
                  <a:gd name="connsiteY0" fmla="*/ 1321551 h 1321551"/>
                  <a:gd name="connsiteX1" fmla="*/ 414061 w 825470"/>
                  <a:gd name="connsiteY1" fmla="*/ 0 h 1321551"/>
                  <a:gd name="connsiteX2" fmla="*/ 825470 w 825470"/>
                  <a:gd name="connsiteY2" fmla="*/ 984605 h 1321551"/>
                  <a:gd name="connsiteX3" fmla="*/ 0 w 825470"/>
                  <a:gd name="connsiteY3" fmla="*/ 1321551 h 1321551"/>
                </a:gdLst>
                <a:ahLst/>
                <a:cxnLst>
                  <a:cxn ang="0">
                    <a:pos x="connsiteX0" y="connsiteY0"/>
                  </a:cxn>
                  <a:cxn ang="0">
                    <a:pos x="connsiteX1" y="connsiteY1"/>
                  </a:cxn>
                  <a:cxn ang="0">
                    <a:pos x="connsiteX2" y="connsiteY2"/>
                  </a:cxn>
                  <a:cxn ang="0">
                    <a:pos x="connsiteX3" y="connsiteY3"/>
                  </a:cxn>
                </a:cxnLst>
                <a:rect l="l" t="t" r="r" b="b"/>
                <a:pathLst>
                  <a:path w="825470" h="1321551">
                    <a:moveTo>
                      <a:pt x="0" y="1321551"/>
                    </a:moveTo>
                    <a:lnTo>
                      <a:pt x="414061" y="0"/>
                    </a:lnTo>
                    <a:lnTo>
                      <a:pt x="825470" y="984605"/>
                    </a:lnTo>
                    <a:lnTo>
                      <a:pt x="0" y="1321551"/>
                    </a:lnTo>
                    <a:close/>
                  </a:path>
                </a:pathLst>
              </a:custGeom>
              <a:solidFill>
                <a:schemeClr val="accent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677C7"/>
                  </a:solidFill>
                  <a:effectLst/>
                  <a:uLnTx/>
                  <a:uFillTx/>
                  <a:latin typeface="Arial"/>
                  <a:cs typeface="+mn-cs"/>
                </a:endParaRPr>
              </a:p>
            </p:txBody>
          </p:sp>
          <p:sp>
            <p:nvSpPr>
              <p:cNvPr id="23" name="Isosceles Triangle 36">
                <a:extLst>
                  <a:ext uri="{FF2B5EF4-FFF2-40B4-BE49-F238E27FC236}">
                    <a16:creationId xmlns:a16="http://schemas.microsoft.com/office/drawing/2014/main" id="{54FD5891-882C-4351-9D7A-190309BBAD50}"/>
                  </a:ext>
                </a:extLst>
              </p:cNvPr>
              <p:cNvSpPr/>
              <p:nvPr/>
            </p:nvSpPr>
            <p:spPr>
              <a:xfrm rot="12600762" flipV="1">
                <a:off x="2612516" y="2776925"/>
                <a:ext cx="718608" cy="1060731"/>
              </a:xfrm>
              <a:custGeom>
                <a:avLst/>
                <a:gdLst>
                  <a:gd name="connsiteX0" fmla="*/ 0 w 1076325"/>
                  <a:gd name="connsiteY0" fmla="*/ 1480720 h 1480720"/>
                  <a:gd name="connsiteX1" fmla="*/ 538163 w 1076325"/>
                  <a:gd name="connsiteY1" fmla="*/ 0 h 1480720"/>
                  <a:gd name="connsiteX2" fmla="*/ 1076325 w 1076325"/>
                  <a:gd name="connsiteY2" fmla="*/ 1480720 h 1480720"/>
                  <a:gd name="connsiteX3" fmla="*/ 0 w 1076325"/>
                  <a:gd name="connsiteY3" fmla="*/ 1480720 h 1480720"/>
                  <a:gd name="connsiteX0" fmla="*/ 0 w 1103207"/>
                  <a:gd name="connsiteY0" fmla="*/ 1480720 h 1480720"/>
                  <a:gd name="connsiteX1" fmla="*/ 538163 w 1103207"/>
                  <a:gd name="connsiteY1" fmla="*/ 0 h 1480720"/>
                  <a:gd name="connsiteX2" fmla="*/ 1103207 w 1103207"/>
                  <a:gd name="connsiteY2" fmla="*/ 1452090 h 1480720"/>
                  <a:gd name="connsiteX3" fmla="*/ 0 w 1103207"/>
                  <a:gd name="connsiteY3" fmla="*/ 1480720 h 1480720"/>
                  <a:gd name="connsiteX0" fmla="*/ 0 w 959038"/>
                  <a:gd name="connsiteY0" fmla="*/ 1387927 h 1452090"/>
                  <a:gd name="connsiteX1" fmla="*/ 393994 w 959038"/>
                  <a:gd name="connsiteY1" fmla="*/ 0 h 1452090"/>
                  <a:gd name="connsiteX2" fmla="*/ 959038 w 959038"/>
                  <a:gd name="connsiteY2" fmla="*/ 1452090 h 1452090"/>
                  <a:gd name="connsiteX3" fmla="*/ 0 w 959038"/>
                  <a:gd name="connsiteY3" fmla="*/ 1387927 h 1452090"/>
                  <a:gd name="connsiteX0" fmla="*/ 0 w 979105"/>
                  <a:gd name="connsiteY0" fmla="*/ 1321551 h 1452090"/>
                  <a:gd name="connsiteX1" fmla="*/ 414061 w 979105"/>
                  <a:gd name="connsiteY1" fmla="*/ 0 h 1452090"/>
                  <a:gd name="connsiteX2" fmla="*/ 979105 w 979105"/>
                  <a:gd name="connsiteY2" fmla="*/ 1452090 h 1452090"/>
                  <a:gd name="connsiteX3" fmla="*/ 0 w 979105"/>
                  <a:gd name="connsiteY3" fmla="*/ 1321551 h 1452090"/>
                  <a:gd name="connsiteX0" fmla="*/ 0 w 812305"/>
                  <a:gd name="connsiteY0" fmla="*/ 1321551 h 1321551"/>
                  <a:gd name="connsiteX1" fmla="*/ 414061 w 812305"/>
                  <a:gd name="connsiteY1" fmla="*/ 0 h 1321551"/>
                  <a:gd name="connsiteX2" fmla="*/ 812305 w 812305"/>
                  <a:gd name="connsiteY2" fmla="*/ 981750 h 1321551"/>
                  <a:gd name="connsiteX3" fmla="*/ 0 w 812305"/>
                  <a:gd name="connsiteY3" fmla="*/ 1321551 h 1321551"/>
                  <a:gd name="connsiteX0" fmla="*/ 0 w 825470"/>
                  <a:gd name="connsiteY0" fmla="*/ 1321551 h 1321551"/>
                  <a:gd name="connsiteX1" fmla="*/ 414061 w 825470"/>
                  <a:gd name="connsiteY1" fmla="*/ 0 h 1321551"/>
                  <a:gd name="connsiteX2" fmla="*/ 825470 w 825470"/>
                  <a:gd name="connsiteY2" fmla="*/ 984605 h 1321551"/>
                  <a:gd name="connsiteX3" fmla="*/ 0 w 825470"/>
                  <a:gd name="connsiteY3" fmla="*/ 1321551 h 1321551"/>
                  <a:gd name="connsiteX0" fmla="*/ 0 w 718608"/>
                  <a:gd name="connsiteY0" fmla="*/ 1520396 h 1520396"/>
                  <a:gd name="connsiteX1" fmla="*/ 307199 w 718608"/>
                  <a:gd name="connsiteY1" fmla="*/ 0 h 1520396"/>
                  <a:gd name="connsiteX2" fmla="*/ 718608 w 718608"/>
                  <a:gd name="connsiteY2" fmla="*/ 984605 h 1520396"/>
                  <a:gd name="connsiteX3" fmla="*/ 0 w 718608"/>
                  <a:gd name="connsiteY3" fmla="*/ 1520396 h 1520396"/>
                </a:gdLst>
                <a:ahLst/>
                <a:cxnLst>
                  <a:cxn ang="0">
                    <a:pos x="connsiteX0" y="connsiteY0"/>
                  </a:cxn>
                  <a:cxn ang="0">
                    <a:pos x="connsiteX1" y="connsiteY1"/>
                  </a:cxn>
                  <a:cxn ang="0">
                    <a:pos x="connsiteX2" y="connsiteY2"/>
                  </a:cxn>
                  <a:cxn ang="0">
                    <a:pos x="connsiteX3" y="connsiteY3"/>
                  </a:cxn>
                </a:cxnLst>
                <a:rect l="l" t="t" r="r" b="b"/>
                <a:pathLst>
                  <a:path w="718608" h="1520396">
                    <a:moveTo>
                      <a:pt x="0" y="1520396"/>
                    </a:moveTo>
                    <a:lnTo>
                      <a:pt x="307199" y="0"/>
                    </a:lnTo>
                    <a:lnTo>
                      <a:pt x="718608" y="984605"/>
                    </a:lnTo>
                    <a:lnTo>
                      <a:pt x="0" y="1520396"/>
                    </a:lnTo>
                    <a:close/>
                  </a:path>
                </a:pathLst>
              </a:custGeom>
              <a:solidFill>
                <a:schemeClr val="accent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677C7"/>
                  </a:solidFill>
                  <a:effectLst/>
                  <a:uLnTx/>
                  <a:uFillTx/>
                  <a:latin typeface="Arial"/>
                  <a:cs typeface="+mn-cs"/>
                </a:endParaRPr>
              </a:p>
            </p:txBody>
          </p:sp>
        </p:grpSp>
        <p:sp>
          <p:nvSpPr>
            <p:cNvPr id="4" name="Oval 40">
              <a:extLst>
                <a:ext uri="{FF2B5EF4-FFF2-40B4-BE49-F238E27FC236}">
                  <a16:creationId xmlns:a16="http://schemas.microsoft.com/office/drawing/2014/main" id="{A5DA04BB-D20C-4EDE-A135-81EF5BBC01DD}"/>
                </a:ext>
              </a:extLst>
            </p:cNvPr>
            <p:cNvSpPr/>
            <p:nvPr/>
          </p:nvSpPr>
          <p:spPr>
            <a:xfrm>
              <a:off x="9288118" y="3164745"/>
              <a:ext cx="143960" cy="1439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677C7"/>
                </a:solidFill>
                <a:effectLst/>
                <a:uLnTx/>
                <a:uFillTx/>
                <a:latin typeface="Arial"/>
                <a:cs typeface="+mn-cs"/>
              </a:endParaRPr>
            </a:p>
          </p:txBody>
        </p:sp>
        <p:cxnSp>
          <p:nvCxnSpPr>
            <p:cNvPr id="5" name="Straight Connector 42">
              <a:extLst>
                <a:ext uri="{FF2B5EF4-FFF2-40B4-BE49-F238E27FC236}">
                  <a16:creationId xmlns:a16="http://schemas.microsoft.com/office/drawing/2014/main" id="{DF394512-78C3-4458-9A06-4EB0BD4ECA80}"/>
                </a:ext>
              </a:extLst>
            </p:cNvPr>
            <p:cNvCxnSpPr/>
            <p:nvPr/>
          </p:nvCxnSpPr>
          <p:spPr>
            <a:xfrm>
              <a:off x="3209925" y="3439161"/>
              <a:ext cx="5410200" cy="0"/>
            </a:xfrm>
            <a:prstGeom prst="line">
              <a:avLst/>
            </a:prstGeom>
            <a:noFill/>
            <a:ln w="9525">
              <a:solidFill>
                <a:schemeClr val="accent1">
                  <a:lumMod val="100000"/>
                </a:schemeClr>
              </a:solidFill>
            </a:ln>
          </p:spPr>
          <p:style>
            <a:lnRef idx="2">
              <a:schemeClr val="accent1">
                <a:shade val="50000"/>
              </a:schemeClr>
            </a:lnRef>
            <a:fillRef idx="1">
              <a:schemeClr val="accent1"/>
            </a:fillRef>
            <a:effectRef idx="0">
              <a:schemeClr val="accent1"/>
            </a:effectRef>
            <a:fontRef idx="minor">
              <a:schemeClr val="lt1"/>
            </a:fontRef>
          </p:style>
        </p:cxnSp>
        <p:grpSp>
          <p:nvGrpSpPr>
            <p:cNvPr id="6" name="Group 48">
              <a:extLst>
                <a:ext uri="{FF2B5EF4-FFF2-40B4-BE49-F238E27FC236}">
                  <a16:creationId xmlns:a16="http://schemas.microsoft.com/office/drawing/2014/main" id="{5B98086B-8FE2-46A1-8C2A-C3AA7D2BE29F}"/>
                </a:ext>
              </a:extLst>
            </p:cNvPr>
            <p:cNvGrpSpPr/>
            <p:nvPr/>
          </p:nvGrpSpPr>
          <p:grpSpPr>
            <a:xfrm>
              <a:off x="7213161" y="3159031"/>
              <a:ext cx="276225" cy="562724"/>
              <a:chOff x="7096125" y="3066301"/>
              <a:chExt cx="276225" cy="749250"/>
            </a:xfrm>
          </p:grpSpPr>
          <p:cxnSp>
            <p:nvCxnSpPr>
              <p:cNvPr id="18" name="Straight Connector 45">
                <a:extLst>
                  <a:ext uri="{FF2B5EF4-FFF2-40B4-BE49-F238E27FC236}">
                    <a16:creationId xmlns:a16="http://schemas.microsoft.com/office/drawing/2014/main" id="{E80B5DAA-8EAE-4F62-A155-AC7BB5FAFF6D}"/>
                  </a:ext>
                </a:extLst>
              </p:cNvPr>
              <p:cNvCxnSpPr/>
              <p:nvPr/>
            </p:nvCxnSpPr>
            <p:spPr>
              <a:xfrm>
                <a:off x="7096125" y="3066301"/>
                <a:ext cx="276225" cy="372860"/>
              </a:xfrm>
              <a:prstGeom prst="line">
                <a:avLst/>
              </a:prstGeom>
              <a:noFill/>
              <a:ln w="9525">
                <a:solidFill>
                  <a:schemeClr val="accent1">
                    <a:lumMod val="100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19" name="Straight Connector 47">
                <a:extLst>
                  <a:ext uri="{FF2B5EF4-FFF2-40B4-BE49-F238E27FC236}">
                    <a16:creationId xmlns:a16="http://schemas.microsoft.com/office/drawing/2014/main" id="{DD06BBDD-2B90-4434-8353-DF593A9E6D35}"/>
                  </a:ext>
                </a:extLst>
              </p:cNvPr>
              <p:cNvCxnSpPr/>
              <p:nvPr/>
            </p:nvCxnSpPr>
            <p:spPr>
              <a:xfrm flipV="1">
                <a:off x="7096125" y="3442691"/>
                <a:ext cx="276225" cy="372860"/>
              </a:xfrm>
              <a:prstGeom prst="line">
                <a:avLst/>
              </a:prstGeom>
              <a:noFill/>
              <a:ln w="9525">
                <a:solidFill>
                  <a:schemeClr val="accent1">
                    <a:lumMod val="100000"/>
                  </a:schemeClr>
                </a:solidFill>
              </a:ln>
            </p:spPr>
            <p:style>
              <a:lnRef idx="2">
                <a:schemeClr val="accent1">
                  <a:shade val="50000"/>
                </a:schemeClr>
              </a:lnRef>
              <a:fillRef idx="1">
                <a:schemeClr val="accent1"/>
              </a:fillRef>
              <a:effectRef idx="0">
                <a:schemeClr val="accent1"/>
              </a:effectRef>
              <a:fontRef idx="minor">
                <a:schemeClr val="lt1"/>
              </a:fontRef>
            </p:style>
          </p:cxnSp>
        </p:grpSp>
        <p:grpSp>
          <p:nvGrpSpPr>
            <p:cNvPr id="7" name="Group 49">
              <a:extLst>
                <a:ext uri="{FF2B5EF4-FFF2-40B4-BE49-F238E27FC236}">
                  <a16:creationId xmlns:a16="http://schemas.microsoft.com/office/drawing/2014/main" id="{C272CA69-9025-40E6-9A4B-2E6960F03C31}"/>
                </a:ext>
              </a:extLst>
            </p:cNvPr>
            <p:cNvGrpSpPr/>
            <p:nvPr/>
          </p:nvGrpSpPr>
          <p:grpSpPr>
            <a:xfrm>
              <a:off x="6219414" y="3159031"/>
              <a:ext cx="276225" cy="562724"/>
              <a:chOff x="7096125" y="3066301"/>
              <a:chExt cx="276225" cy="749250"/>
            </a:xfrm>
          </p:grpSpPr>
          <p:cxnSp>
            <p:nvCxnSpPr>
              <p:cNvPr id="16" name="Straight Connector 50">
                <a:extLst>
                  <a:ext uri="{FF2B5EF4-FFF2-40B4-BE49-F238E27FC236}">
                    <a16:creationId xmlns:a16="http://schemas.microsoft.com/office/drawing/2014/main" id="{B0588359-BA70-454D-A622-1D0B09322676}"/>
                  </a:ext>
                </a:extLst>
              </p:cNvPr>
              <p:cNvCxnSpPr/>
              <p:nvPr/>
            </p:nvCxnSpPr>
            <p:spPr>
              <a:xfrm>
                <a:off x="7096125" y="3066301"/>
                <a:ext cx="276225" cy="372860"/>
              </a:xfrm>
              <a:prstGeom prst="line">
                <a:avLst/>
              </a:prstGeom>
              <a:noFill/>
              <a:ln w="9525">
                <a:solidFill>
                  <a:schemeClr val="accent1">
                    <a:lumMod val="100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17" name="Straight Connector 51">
                <a:extLst>
                  <a:ext uri="{FF2B5EF4-FFF2-40B4-BE49-F238E27FC236}">
                    <a16:creationId xmlns:a16="http://schemas.microsoft.com/office/drawing/2014/main" id="{B9917CA4-EFE0-4CCC-9F12-C0C466B995A3}"/>
                  </a:ext>
                </a:extLst>
              </p:cNvPr>
              <p:cNvCxnSpPr/>
              <p:nvPr/>
            </p:nvCxnSpPr>
            <p:spPr>
              <a:xfrm flipV="1">
                <a:off x="7096125" y="3442691"/>
                <a:ext cx="276225" cy="372860"/>
              </a:xfrm>
              <a:prstGeom prst="line">
                <a:avLst/>
              </a:prstGeom>
              <a:noFill/>
              <a:ln w="9525">
                <a:solidFill>
                  <a:schemeClr val="accent1">
                    <a:lumMod val="100000"/>
                  </a:schemeClr>
                </a:solidFill>
              </a:ln>
            </p:spPr>
            <p:style>
              <a:lnRef idx="2">
                <a:schemeClr val="accent1">
                  <a:shade val="50000"/>
                </a:schemeClr>
              </a:lnRef>
              <a:fillRef idx="1">
                <a:schemeClr val="accent1"/>
              </a:fillRef>
              <a:effectRef idx="0">
                <a:schemeClr val="accent1"/>
              </a:effectRef>
              <a:fontRef idx="minor">
                <a:schemeClr val="lt1"/>
              </a:fontRef>
            </p:style>
          </p:cxnSp>
        </p:grpSp>
        <p:grpSp>
          <p:nvGrpSpPr>
            <p:cNvPr id="8" name="Group 52">
              <a:extLst>
                <a:ext uri="{FF2B5EF4-FFF2-40B4-BE49-F238E27FC236}">
                  <a16:creationId xmlns:a16="http://schemas.microsoft.com/office/drawing/2014/main" id="{40DCE7BD-A2EC-457B-9F7D-B238712702A5}"/>
                </a:ext>
              </a:extLst>
            </p:cNvPr>
            <p:cNvGrpSpPr/>
            <p:nvPr/>
          </p:nvGrpSpPr>
          <p:grpSpPr>
            <a:xfrm>
              <a:off x="5225666" y="3159031"/>
              <a:ext cx="276225" cy="562724"/>
              <a:chOff x="7096125" y="3066301"/>
              <a:chExt cx="276225" cy="749250"/>
            </a:xfrm>
          </p:grpSpPr>
          <p:cxnSp>
            <p:nvCxnSpPr>
              <p:cNvPr id="14" name="Straight Connector 53">
                <a:extLst>
                  <a:ext uri="{FF2B5EF4-FFF2-40B4-BE49-F238E27FC236}">
                    <a16:creationId xmlns:a16="http://schemas.microsoft.com/office/drawing/2014/main" id="{DF74DEFF-EE7B-441B-899C-9118AA62432D}"/>
                  </a:ext>
                </a:extLst>
              </p:cNvPr>
              <p:cNvCxnSpPr/>
              <p:nvPr/>
            </p:nvCxnSpPr>
            <p:spPr>
              <a:xfrm>
                <a:off x="7096125" y="3066301"/>
                <a:ext cx="276225" cy="372860"/>
              </a:xfrm>
              <a:prstGeom prst="line">
                <a:avLst/>
              </a:prstGeom>
              <a:noFill/>
              <a:ln w="9525">
                <a:solidFill>
                  <a:schemeClr val="accent1">
                    <a:lumMod val="100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15" name="Straight Connector 54">
                <a:extLst>
                  <a:ext uri="{FF2B5EF4-FFF2-40B4-BE49-F238E27FC236}">
                    <a16:creationId xmlns:a16="http://schemas.microsoft.com/office/drawing/2014/main" id="{69203080-7A89-4532-B644-35BE54AE5CBE}"/>
                  </a:ext>
                </a:extLst>
              </p:cNvPr>
              <p:cNvCxnSpPr/>
              <p:nvPr/>
            </p:nvCxnSpPr>
            <p:spPr>
              <a:xfrm flipV="1">
                <a:off x="7096125" y="3442691"/>
                <a:ext cx="276225" cy="372860"/>
              </a:xfrm>
              <a:prstGeom prst="line">
                <a:avLst/>
              </a:prstGeom>
              <a:noFill/>
              <a:ln w="9525">
                <a:solidFill>
                  <a:schemeClr val="accent1">
                    <a:lumMod val="100000"/>
                  </a:schemeClr>
                </a:solidFill>
              </a:ln>
            </p:spPr>
            <p:style>
              <a:lnRef idx="2">
                <a:schemeClr val="accent1">
                  <a:shade val="50000"/>
                </a:schemeClr>
              </a:lnRef>
              <a:fillRef idx="1">
                <a:schemeClr val="accent1"/>
              </a:fillRef>
              <a:effectRef idx="0">
                <a:schemeClr val="accent1"/>
              </a:effectRef>
              <a:fontRef idx="minor">
                <a:schemeClr val="lt1"/>
              </a:fontRef>
            </p:style>
          </p:cxnSp>
        </p:grpSp>
        <p:grpSp>
          <p:nvGrpSpPr>
            <p:cNvPr id="9" name="Group 55">
              <a:extLst>
                <a:ext uri="{FF2B5EF4-FFF2-40B4-BE49-F238E27FC236}">
                  <a16:creationId xmlns:a16="http://schemas.microsoft.com/office/drawing/2014/main" id="{DD63286E-1823-465B-AC46-C29457735D03}"/>
                </a:ext>
              </a:extLst>
            </p:cNvPr>
            <p:cNvGrpSpPr/>
            <p:nvPr/>
          </p:nvGrpSpPr>
          <p:grpSpPr>
            <a:xfrm>
              <a:off x="4231918" y="3159031"/>
              <a:ext cx="276225" cy="562724"/>
              <a:chOff x="7096125" y="3066301"/>
              <a:chExt cx="276225" cy="749250"/>
            </a:xfrm>
          </p:grpSpPr>
          <p:cxnSp>
            <p:nvCxnSpPr>
              <p:cNvPr id="12" name="Straight Connector 56">
                <a:extLst>
                  <a:ext uri="{FF2B5EF4-FFF2-40B4-BE49-F238E27FC236}">
                    <a16:creationId xmlns:a16="http://schemas.microsoft.com/office/drawing/2014/main" id="{EC54E9D8-DF16-43EE-B74F-F09AEB29A3D1}"/>
                  </a:ext>
                </a:extLst>
              </p:cNvPr>
              <p:cNvCxnSpPr/>
              <p:nvPr/>
            </p:nvCxnSpPr>
            <p:spPr>
              <a:xfrm>
                <a:off x="7096125" y="3066301"/>
                <a:ext cx="276225" cy="372860"/>
              </a:xfrm>
              <a:prstGeom prst="line">
                <a:avLst/>
              </a:prstGeom>
              <a:noFill/>
              <a:ln w="9525">
                <a:solidFill>
                  <a:schemeClr val="accent1">
                    <a:lumMod val="100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13" name="Straight Connector 57">
                <a:extLst>
                  <a:ext uri="{FF2B5EF4-FFF2-40B4-BE49-F238E27FC236}">
                    <a16:creationId xmlns:a16="http://schemas.microsoft.com/office/drawing/2014/main" id="{E22696E6-CC27-4707-ABE0-D9FE5C13B6DF}"/>
                  </a:ext>
                </a:extLst>
              </p:cNvPr>
              <p:cNvCxnSpPr/>
              <p:nvPr/>
            </p:nvCxnSpPr>
            <p:spPr>
              <a:xfrm flipV="1">
                <a:off x="7096125" y="3442691"/>
                <a:ext cx="276225" cy="372860"/>
              </a:xfrm>
              <a:prstGeom prst="line">
                <a:avLst/>
              </a:prstGeom>
              <a:noFill/>
              <a:ln w="9525">
                <a:solidFill>
                  <a:schemeClr val="accent1">
                    <a:lumMod val="100000"/>
                  </a:schemeClr>
                </a:solidFill>
              </a:ln>
            </p:spPr>
            <p:style>
              <a:lnRef idx="2">
                <a:schemeClr val="accent1">
                  <a:shade val="50000"/>
                </a:schemeClr>
              </a:lnRef>
              <a:fillRef idx="1">
                <a:schemeClr val="accent1"/>
              </a:fillRef>
              <a:effectRef idx="0">
                <a:schemeClr val="accent1"/>
              </a:effectRef>
              <a:fontRef idx="minor">
                <a:schemeClr val="lt1"/>
              </a:fontRef>
            </p:style>
          </p:cxnSp>
        </p:grpSp>
        <p:sp>
          <p:nvSpPr>
            <p:cNvPr id="10" name="Freeform 61">
              <a:extLst>
                <a:ext uri="{FF2B5EF4-FFF2-40B4-BE49-F238E27FC236}">
                  <a16:creationId xmlns:a16="http://schemas.microsoft.com/office/drawing/2014/main" id="{F107F5BE-30FC-441F-B14D-D7E537E939D8}"/>
                </a:ext>
              </a:extLst>
            </p:cNvPr>
            <p:cNvSpPr/>
            <p:nvPr/>
          </p:nvSpPr>
          <p:spPr>
            <a:xfrm>
              <a:off x="5784746" y="1946336"/>
              <a:ext cx="1453592" cy="550054"/>
            </a:xfrm>
            <a:custGeom>
              <a:avLst/>
              <a:gdLst>
                <a:gd name="connsiteX0" fmla="*/ 0 w 1421787"/>
                <a:gd name="connsiteY0" fmla="*/ 416 h 534151"/>
                <a:gd name="connsiteX1" fmla="*/ 1343052 w 1421787"/>
                <a:gd name="connsiteY1" fmla="*/ 438590 h 534151"/>
                <a:gd name="connsiteX2" fmla="*/ 1421787 w 1421787"/>
                <a:gd name="connsiteY2" fmla="*/ 534151 h 534151"/>
                <a:gd name="connsiteX3" fmla="*/ 1199687 w 1421787"/>
                <a:gd name="connsiteY3" fmla="*/ 525001 h 534151"/>
                <a:gd name="connsiteX4" fmla="*/ 810978 w 1421787"/>
                <a:gd name="connsiteY4" fmla="*/ 519702 h 534151"/>
                <a:gd name="connsiteX5" fmla="*/ 480214 w 1421787"/>
                <a:gd name="connsiteY5" fmla="*/ 524211 h 534151"/>
                <a:gd name="connsiteX6" fmla="*/ 465359 w 1421787"/>
                <a:gd name="connsiteY6" fmla="*/ 507520 h 534151"/>
                <a:gd name="connsiteX7" fmla="*/ 0 w 1421787"/>
                <a:gd name="connsiteY7" fmla="*/ 416 h 534151"/>
                <a:gd name="connsiteX0" fmla="*/ 0 w 1453592"/>
                <a:gd name="connsiteY0" fmla="*/ 416 h 550054"/>
                <a:gd name="connsiteX1" fmla="*/ 1343052 w 1453592"/>
                <a:gd name="connsiteY1" fmla="*/ 438590 h 550054"/>
                <a:gd name="connsiteX2" fmla="*/ 1453592 w 1453592"/>
                <a:gd name="connsiteY2" fmla="*/ 550054 h 550054"/>
                <a:gd name="connsiteX3" fmla="*/ 1199687 w 1453592"/>
                <a:gd name="connsiteY3" fmla="*/ 525001 h 550054"/>
                <a:gd name="connsiteX4" fmla="*/ 810978 w 1453592"/>
                <a:gd name="connsiteY4" fmla="*/ 519702 h 550054"/>
                <a:gd name="connsiteX5" fmla="*/ 480214 w 1453592"/>
                <a:gd name="connsiteY5" fmla="*/ 524211 h 550054"/>
                <a:gd name="connsiteX6" fmla="*/ 465359 w 1453592"/>
                <a:gd name="connsiteY6" fmla="*/ 507520 h 550054"/>
                <a:gd name="connsiteX7" fmla="*/ 0 w 1453592"/>
                <a:gd name="connsiteY7" fmla="*/ 416 h 550054"/>
                <a:gd name="connsiteX0" fmla="*/ 0 w 1453592"/>
                <a:gd name="connsiteY0" fmla="*/ 416 h 550054"/>
                <a:gd name="connsiteX1" fmla="*/ 1343052 w 1453592"/>
                <a:gd name="connsiteY1" fmla="*/ 438590 h 550054"/>
                <a:gd name="connsiteX2" fmla="*/ 1453592 w 1453592"/>
                <a:gd name="connsiteY2" fmla="*/ 550054 h 550054"/>
                <a:gd name="connsiteX3" fmla="*/ 1199687 w 1453592"/>
                <a:gd name="connsiteY3" fmla="*/ 540904 h 550054"/>
                <a:gd name="connsiteX4" fmla="*/ 810978 w 1453592"/>
                <a:gd name="connsiteY4" fmla="*/ 519702 h 550054"/>
                <a:gd name="connsiteX5" fmla="*/ 480214 w 1453592"/>
                <a:gd name="connsiteY5" fmla="*/ 524211 h 550054"/>
                <a:gd name="connsiteX6" fmla="*/ 465359 w 1453592"/>
                <a:gd name="connsiteY6" fmla="*/ 507520 h 550054"/>
                <a:gd name="connsiteX7" fmla="*/ 0 w 1453592"/>
                <a:gd name="connsiteY7" fmla="*/ 416 h 5500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53592" h="550054">
                  <a:moveTo>
                    <a:pt x="0" y="416"/>
                  </a:moveTo>
                  <a:cubicBezTo>
                    <a:pt x="520782" y="-4831"/>
                    <a:pt x="978684" y="33938"/>
                    <a:pt x="1343052" y="438590"/>
                  </a:cubicBezTo>
                  <a:lnTo>
                    <a:pt x="1453592" y="550054"/>
                  </a:lnTo>
                  <a:lnTo>
                    <a:pt x="1199687" y="540904"/>
                  </a:lnTo>
                  <a:cubicBezTo>
                    <a:pt x="1071883" y="537400"/>
                    <a:pt x="942207" y="519702"/>
                    <a:pt x="810978" y="519702"/>
                  </a:cubicBezTo>
                  <a:lnTo>
                    <a:pt x="480214" y="524211"/>
                  </a:lnTo>
                  <a:lnTo>
                    <a:pt x="465359" y="507520"/>
                  </a:lnTo>
                  <a:cubicBezTo>
                    <a:pt x="310239" y="338485"/>
                    <a:pt x="153929" y="184928"/>
                    <a:pt x="0" y="416"/>
                  </a:cubicBezTo>
                  <a:close/>
                </a:path>
              </a:pathLst>
            </a:custGeom>
            <a:solidFill>
              <a:schemeClr val="accent1">
                <a:lumMod val="10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677C7"/>
                </a:solidFill>
                <a:effectLst/>
                <a:uLnTx/>
                <a:uFillTx/>
                <a:latin typeface="Arial"/>
                <a:cs typeface="+mn-cs"/>
              </a:endParaRPr>
            </a:p>
          </p:txBody>
        </p:sp>
        <p:sp>
          <p:nvSpPr>
            <p:cNvPr id="11" name="Freeform 63">
              <a:extLst>
                <a:ext uri="{FF2B5EF4-FFF2-40B4-BE49-F238E27FC236}">
                  <a16:creationId xmlns:a16="http://schemas.microsoft.com/office/drawing/2014/main" id="{2077DCC7-A985-4561-99E8-CB2ECEBEA7C3}"/>
                </a:ext>
              </a:extLst>
            </p:cNvPr>
            <p:cNvSpPr/>
            <p:nvPr/>
          </p:nvSpPr>
          <p:spPr>
            <a:xfrm flipV="1">
              <a:off x="5880095" y="4491989"/>
              <a:ext cx="1262893" cy="477892"/>
            </a:xfrm>
            <a:custGeom>
              <a:avLst/>
              <a:gdLst>
                <a:gd name="connsiteX0" fmla="*/ 0 w 1421787"/>
                <a:gd name="connsiteY0" fmla="*/ 416 h 534151"/>
                <a:gd name="connsiteX1" fmla="*/ 1343052 w 1421787"/>
                <a:gd name="connsiteY1" fmla="*/ 438590 h 534151"/>
                <a:gd name="connsiteX2" fmla="*/ 1421787 w 1421787"/>
                <a:gd name="connsiteY2" fmla="*/ 534151 h 534151"/>
                <a:gd name="connsiteX3" fmla="*/ 1199687 w 1421787"/>
                <a:gd name="connsiteY3" fmla="*/ 525001 h 534151"/>
                <a:gd name="connsiteX4" fmla="*/ 810978 w 1421787"/>
                <a:gd name="connsiteY4" fmla="*/ 519702 h 534151"/>
                <a:gd name="connsiteX5" fmla="*/ 480214 w 1421787"/>
                <a:gd name="connsiteY5" fmla="*/ 524211 h 534151"/>
                <a:gd name="connsiteX6" fmla="*/ 465359 w 1421787"/>
                <a:gd name="connsiteY6" fmla="*/ 507520 h 534151"/>
                <a:gd name="connsiteX7" fmla="*/ 0 w 1421787"/>
                <a:gd name="connsiteY7" fmla="*/ 416 h 534151"/>
                <a:gd name="connsiteX0" fmla="*/ 0 w 1453592"/>
                <a:gd name="connsiteY0" fmla="*/ 416 h 550054"/>
                <a:gd name="connsiteX1" fmla="*/ 1343052 w 1453592"/>
                <a:gd name="connsiteY1" fmla="*/ 438590 h 550054"/>
                <a:gd name="connsiteX2" fmla="*/ 1453592 w 1453592"/>
                <a:gd name="connsiteY2" fmla="*/ 550054 h 550054"/>
                <a:gd name="connsiteX3" fmla="*/ 1199687 w 1453592"/>
                <a:gd name="connsiteY3" fmla="*/ 525001 h 550054"/>
                <a:gd name="connsiteX4" fmla="*/ 810978 w 1453592"/>
                <a:gd name="connsiteY4" fmla="*/ 519702 h 550054"/>
                <a:gd name="connsiteX5" fmla="*/ 480214 w 1453592"/>
                <a:gd name="connsiteY5" fmla="*/ 524211 h 550054"/>
                <a:gd name="connsiteX6" fmla="*/ 465359 w 1453592"/>
                <a:gd name="connsiteY6" fmla="*/ 507520 h 550054"/>
                <a:gd name="connsiteX7" fmla="*/ 0 w 1453592"/>
                <a:gd name="connsiteY7" fmla="*/ 416 h 550054"/>
                <a:gd name="connsiteX0" fmla="*/ 0 w 1453592"/>
                <a:gd name="connsiteY0" fmla="*/ 416 h 550054"/>
                <a:gd name="connsiteX1" fmla="*/ 1343052 w 1453592"/>
                <a:gd name="connsiteY1" fmla="*/ 438590 h 550054"/>
                <a:gd name="connsiteX2" fmla="*/ 1453592 w 1453592"/>
                <a:gd name="connsiteY2" fmla="*/ 550054 h 550054"/>
                <a:gd name="connsiteX3" fmla="*/ 1199687 w 1453592"/>
                <a:gd name="connsiteY3" fmla="*/ 540904 h 550054"/>
                <a:gd name="connsiteX4" fmla="*/ 810978 w 1453592"/>
                <a:gd name="connsiteY4" fmla="*/ 519702 h 550054"/>
                <a:gd name="connsiteX5" fmla="*/ 480214 w 1453592"/>
                <a:gd name="connsiteY5" fmla="*/ 524211 h 550054"/>
                <a:gd name="connsiteX6" fmla="*/ 465359 w 1453592"/>
                <a:gd name="connsiteY6" fmla="*/ 507520 h 550054"/>
                <a:gd name="connsiteX7" fmla="*/ 0 w 1453592"/>
                <a:gd name="connsiteY7" fmla="*/ 416 h 5500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53592" h="550054">
                  <a:moveTo>
                    <a:pt x="0" y="416"/>
                  </a:moveTo>
                  <a:cubicBezTo>
                    <a:pt x="520782" y="-4831"/>
                    <a:pt x="978684" y="33938"/>
                    <a:pt x="1343052" y="438590"/>
                  </a:cubicBezTo>
                  <a:lnTo>
                    <a:pt x="1453592" y="550054"/>
                  </a:lnTo>
                  <a:lnTo>
                    <a:pt x="1199687" y="540904"/>
                  </a:lnTo>
                  <a:cubicBezTo>
                    <a:pt x="1071883" y="537400"/>
                    <a:pt x="942207" y="519702"/>
                    <a:pt x="810978" y="519702"/>
                  </a:cubicBezTo>
                  <a:lnTo>
                    <a:pt x="480214" y="524211"/>
                  </a:lnTo>
                  <a:lnTo>
                    <a:pt x="465359" y="507520"/>
                  </a:lnTo>
                  <a:cubicBezTo>
                    <a:pt x="310239" y="338485"/>
                    <a:pt x="153929" y="184928"/>
                    <a:pt x="0" y="416"/>
                  </a:cubicBezTo>
                  <a:close/>
                </a:path>
              </a:pathLst>
            </a:custGeom>
            <a:solidFill>
              <a:schemeClr val="accent1">
                <a:lumMod val="10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677C7"/>
                </a:solidFill>
                <a:effectLst/>
                <a:uLnTx/>
                <a:uFillTx/>
                <a:latin typeface="Arial"/>
                <a:cs typeface="+mn-cs"/>
              </a:endParaRPr>
            </a:p>
          </p:txBody>
        </p:sp>
      </p:grpSp>
      <p:sp>
        <p:nvSpPr>
          <p:cNvPr id="26" name="Oval 96">
            <a:extLst>
              <a:ext uri="{FF2B5EF4-FFF2-40B4-BE49-F238E27FC236}">
                <a16:creationId xmlns:a16="http://schemas.microsoft.com/office/drawing/2014/main" id="{6AC71070-DF7F-4DED-A11E-4161D262FC0B}"/>
              </a:ext>
            </a:extLst>
          </p:cNvPr>
          <p:cNvSpPr/>
          <p:nvPr/>
        </p:nvSpPr>
        <p:spPr>
          <a:xfrm>
            <a:off x="3656249" y="3385990"/>
            <a:ext cx="360567" cy="360567"/>
          </a:xfrm>
          <a:prstGeom prst="ellipse">
            <a:avLst/>
          </a:prstGeom>
          <a:solidFill>
            <a:schemeClr val="accent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Arial"/>
                <a:cs typeface="+mn-cs"/>
              </a:rPr>
              <a:t>1</a:t>
            </a:r>
          </a:p>
        </p:txBody>
      </p:sp>
      <p:sp>
        <p:nvSpPr>
          <p:cNvPr id="27" name="Oval 97">
            <a:extLst>
              <a:ext uri="{FF2B5EF4-FFF2-40B4-BE49-F238E27FC236}">
                <a16:creationId xmlns:a16="http://schemas.microsoft.com/office/drawing/2014/main" id="{90F0F3FB-0DC3-4B3E-B7AB-008F8CB3A9E1}"/>
              </a:ext>
            </a:extLst>
          </p:cNvPr>
          <p:cNvSpPr/>
          <p:nvPr/>
        </p:nvSpPr>
        <p:spPr>
          <a:xfrm>
            <a:off x="4782750" y="3385990"/>
            <a:ext cx="360567" cy="360567"/>
          </a:xfrm>
          <a:prstGeom prst="ellipse">
            <a:avLst/>
          </a:prstGeom>
          <a:solidFill>
            <a:schemeClr val="accent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Arial"/>
                <a:cs typeface="+mn-cs"/>
              </a:rPr>
              <a:t>2</a:t>
            </a:r>
          </a:p>
        </p:txBody>
      </p:sp>
      <p:sp>
        <p:nvSpPr>
          <p:cNvPr id="28" name="Oval 98">
            <a:extLst>
              <a:ext uri="{FF2B5EF4-FFF2-40B4-BE49-F238E27FC236}">
                <a16:creationId xmlns:a16="http://schemas.microsoft.com/office/drawing/2014/main" id="{7750AAE3-BE27-45EC-97AE-6C0EEF937E68}"/>
              </a:ext>
            </a:extLst>
          </p:cNvPr>
          <p:cNvSpPr/>
          <p:nvPr/>
        </p:nvSpPr>
        <p:spPr>
          <a:xfrm>
            <a:off x="5785785" y="3385990"/>
            <a:ext cx="360567" cy="360567"/>
          </a:xfrm>
          <a:prstGeom prst="ellipse">
            <a:avLst/>
          </a:prstGeom>
          <a:solidFill>
            <a:schemeClr val="accent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Arial"/>
                <a:cs typeface="+mn-cs"/>
              </a:rPr>
              <a:t>3</a:t>
            </a:r>
          </a:p>
        </p:txBody>
      </p:sp>
      <p:sp>
        <p:nvSpPr>
          <p:cNvPr id="29" name="Oval 99">
            <a:extLst>
              <a:ext uri="{FF2B5EF4-FFF2-40B4-BE49-F238E27FC236}">
                <a16:creationId xmlns:a16="http://schemas.microsoft.com/office/drawing/2014/main" id="{872EF7C4-02DA-4954-A860-0196E49C8F65}"/>
              </a:ext>
            </a:extLst>
          </p:cNvPr>
          <p:cNvSpPr/>
          <p:nvPr/>
        </p:nvSpPr>
        <p:spPr>
          <a:xfrm>
            <a:off x="6752475" y="3385990"/>
            <a:ext cx="360567" cy="360567"/>
          </a:xfrm>
          <a:prstGeom prst="ellipse">
            <a:avLst/>
          </a:prstGeom>
          <a:solidFill>
            <a:schemeClr val="accent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Arial"/>
                <a:cs typeface="+mn-cs"/>
              </a:rPr>
              <a:t>4</a:t>
            </a:r>
          </a:p>
        </p:txBody>
      </p:sp>
      <p:cxnSp>
        <p:nvCxnSpPr>
          <p:cNvPr id="30" name="Straight Connector 101">
            <a:extLst>
              <a:ext uri="{FF2B5EF4-FFF2-40B4-BE49-F238E27FC236}">
                <a16:creationId xmlns:a16="http://schemas.microsoft.com/office/drawing/2014/main" id="{2987C74C-8A49-490D-A25E-36B5EBCD72FF}"/>
              </a:ext>
            </a:extLst>
          </p:cNvPr>
          <p:cNvCxnSpPr/>
          <p:nvPr/>
        </p:nvCxnSpPr>
        <p:spPr>
          <a:xfrm flipH="1" flipV="1">
            <a:off x="3833338" y="2415934"/>
            <a:ext cx="1" cy="964005"/>
          </a:xfrm>
          <a:prstGeom prst="line">
            <a:avLst/>
          </a:prstGeom>
          <a:ln>
            <a:solidFill>
              <a:schemeClr val="tx1"/>
            </a:solidFill>
            <a:tailEnd type="oval"/>
          </a:ln>
        </p:spPr>
        <p:style>
          <a:lnRef idx="1">
            <a:schemeClr val="accent1"/>
          </a:lnRef>
          <a:fillRef idx="0">
            <a:schemeClr val="accent1"/>
          </a:fillRef>
          <a:effectRef idx="0">
            <a:schemeClr val="accent1"/>
          </a:effectRef>
          <a:fontRef idx="minor">
            <a:schemeClr val="tx1"/>
          </a:fontRef>
        </p:style>
      </p:cxnSp>
      <p:cxnSp>
        <p:nvCxnSpPr>
          <p:cNvPr id="31" name="Straight Connector 103">
            <a:extLst>
              <a:ext uri="{FF2B5EF4-FFF2-40B4-BE49-F238E27FC236}">
                <a16:creationId xmlns:a16="http://schemas.microsoft.com/office/drawing/2014/main" id="{46BB4201-CF9A-4AAB-A36B-F38C81F1D5C1}"/>
              </a:ext>
            </a:extLst>
          </p:cNvPr>
          <p:cNvCxnSpPr/>
          <p:nvPr/>
        </p:nvCxnSpPr>
        <p:spPr>
          <a:xfrm flipH="1" flipV="1">
            <a:off x="4963034" y="1843743"/>
            <a:ext cx="1" cy="1536197"/>
          </a:xfrm>
          <a:prstGeom prst="line">
            <a:avLst/>
          </a:prstGeom>
          <a:ln>
            <a:solidFill>
              <a:schemeClr val="tx1"/>
            </a:solidFill>
            <a:tailEnd type="oval"/>
          </a:ln>
        </p:spPr>
        <p:style>
          <a:lnRef idx="1">
            <a:schemeClr val="accent1"/>
          </a:lnRef>
          <a:fillRef idx="0">
            <a:schemeClr val="accent1"/>
          </a:fillRef>
          <a:effectRef idx="0">
            <a:schemeClr val="accent1"/>
          </a:effectRef>
          <a:fontRef idx="minor">
            <a:schemeClr val="tx1"/>
          </a:fontRef>
        </p:style>
      </p:cxnSp>
      <p:cxnSp>
        <p:nvCxnSpPr>
          <p:cNvPr id="32" name="Straight Connector 105">
            <a:extLst>
              <a:ext uri="{FF2B5EF4-FFF2-40B4-BE49-F238E27FC236}">
                <a16:creationId xmlns:a16="http://schemas.microsoft.com/office/drawing/2014/main" id="{55651D11-CD93-4493-A9E3-9597517DF730}"/>
              </a:ext>
            </a:extLst>
          </p:cNvPr>
          <p:cNvCxnSpPr/>
          <p:nvPr/>
        </p:nvCxnSpPr>
        <p:spPr>
          <a:xfrm flipH="1" flipV="1">
            <a:off x="5964365" y="1448502"/>
            <a:ext cx="1" cy="1931439"/>
          </a:xfrm>
          <a:prstGeom prst="line">
            <a:avLst/>
          </a:prstGeom>
          <a:ln>
            <a:solidFill>
              <a:schemeClr val="tx1"/>
            </a:solidFill>
            <a:tailEnd type="oval"/>
          </a:ln>
        </p:spPr>
        <p:style>
          <a:lnRef idx="1">
            <a:schemeClr val="accent1"/>
          </a:lnRef>
          <a:fillRef idx="0">
            <a:schemeClr val="accent1"/>
          </a:fillRef>
          <a:effectRef idx="0">
            <a:schemeClr val="accent1"/>
          </a:effectRef>
          <a:fontRef idx="minor">
            <a:schemeClr val="tx1"/>
          </a:fontRef>
        </p:style>
      </p:cxnSp>
      <p:cxnSp>
        <p:nvCxnSpPr>
          <p:cNvPr id="33" name="Straight Connector 107">
            <a:extLst>
              <a:ext uri="{FF2B5EF4-FFF2-40B4-BE49-F238E27FC236}">
                <a16:creationId xmlns:a16="http://schemas.microsoft.com/office/drawing/2014/main" id="{787E025A-85B0-425F-9126-2E9F99D1BD58}"/>
              </a:ext>
            </a:extLst>
          </p:cNvPr>
          <p:cNvCxnSpPr/>
          <p:nvPr/>
        </p:nvCxnSpPr>
        <p:spPr>
          <a:xfrm flipH="1" flipV="1">
            <a:off x="6934043" y="2047414"/>
            <a:ext cx="1" cy="1332528"/>
          </a:xfrm>
          <a:prstGeom prst="line">
            <a:avLst/>
          </a:prstGeom>
          <a:ln>
            <a:solidFill>
              <a:schemeClr val="tx1"/>
            </a:solidFill>
            <a:tailEnd type="oval"/>
          </a:ln>
        </p:spPr>
        <p:style>
          <a:lnRef idx="1">
            <a:schemeClr val="accent1"/>
          </a:lnRef>
          <a:fillRef idx="0">
            <a:schemeClr val="accent1"/>
          </a:fillRef>
          <a:effectRef idx="0">
            <a:schemeClr val="accent1"/>
          </a:effectRef>
          <a:fontRef idx="minor">
            <a:schemeClr val="tx1"/>
          </a:fontRef>
        </p:style>
      </p:cxnSp>
      <p:grpSp>
        <p:nvGrpSpPr>
          <p:cNvPr id="34" name="Group 134">
            <a:extLst>
              <a:ext uri="{FF2B5EF4-FFF2-40B4-BE49-F238E27FC236}">
                <a16:creationId xmlns:a16="http://schemas.microsoft.com/office/drawing/2014/main" id="{0BD95F8C-88B9-48F8-B73C-CDA9A137A641}"/>
              </a:ext>
            </a:extLst>
          </p:cNvPr>
          <p:cNvGrpSpPr/>
          <p:nvPr/>
        </p:nvGrpSpPr>
        <p:grpSpPr>
          <a:xfrm>
            <a:off x="3248768" y="1737778"/>
            <a:ext cx="1382891" cy="581313"/>
            <a:chOff x="3153518" y="1880653"/>
            <a:chExt cx="1382891" cy="581313"/>
          </a:xfrm>
        </p:grpSpPr>
        <p:sp>
          <p:nvSpPr>
            <p:cNvPr id="35" name="Rectangle 109">
              <a:extLst>
                <a:ext uri="{FF2B5EF4-FFF2-40B4-BE49-F238E27FC236}">
                  <a16:creationId xmlns:a16="http://schemas.microsoft.com/office/drawing/2014/main" id="{9E7CC7F8-A2DF-47AF-9C18-48D9D2C47B6E}"/>
                </a:ext>
              </a:extLst>
            </p:cNvPr>
            <p:cNvSpPr/>
            <p:nvPr/>
          </p:nvSpPr>
          <p:spPr>
            <a:xfrm>
              <a:off x="3153518" y="2092634"/>
              <a:ext cx="1382891" cy="36933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chemeClr val="accent1"/>
                  </a:solidFill>
                  <a:effectLst/>
                  <a:uLnTx/>
                  <a:uFillTx/>
                  <a:latin typeface="Open Sans" panose="020B0606030504020204" pitchFamily="34" charset="0"/>
                  <a:cs typeface="+mn-cs"/>
                </a:rPr>
                <a:t>is simply dummy text of the printing and</a:t>
              </a:r>
              <a:endParaRPr kumimoji="0" lang="en-US" sz="900" b="0" i="0" u="none" strike="noStrike" kern="1200" cap="none" spc="0" normalizeH="0" baseline="0" noProof="0" dirty="0">
                <a:ln>
                  <a:noFill/>
                </a:ln>
                <a:solidFill>
                  <a:schemeClr val="accent1"/>
                </a:solidFill>
                <a:effectLst/>
                <a:uLnTx/>
                <a:uFillTx/>
                <a:latin typeface="Arial"/>
                <a:cs typeface="+mn-cs"/>
              </a:endParaRPr>
            </a:p>
          </p:txBody>
        </p:sp>
        <p:sp>
          <p:nvSpPr>
            <p:cNvPr id="36" name="Rectangle 110">
              <a:extLst>
                <a:ext uri="{FF2B5EF4-FFF2-40B4-BE49-F238E27FC236}">
                  <a16:creationId xmlns:a16="http://schemas.microsoft.com/office/drawing/2014/main" id="{60E63847-1FAB-4775-9361-AAE5311694A9}"/>
                </a:ext>
              </a:extLst>
            </p:cNvPr>
            <p:cNvSpPr/>
            <p:nvPr/>
          </p:nvSpPr>
          <p:spPr>
            <a:xfrm>
              <a:off x="3153518" y="1880653"/>
              <a:ext cx="1111202" cy="26161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chemeClr val="accent1"/>
                  </a:solidFill>
                  <a:effectLst/>
                  <a:uLnTx/>
                  <a:uFillTx/>
                  <a:latin typeface="Open Sans" panose="020B0606030504020204" pitchFamily="34" charset="0"/>
                  <a:cs typeface="+mn-cs"/>
                </a:rPr>
                <a:t>Lorem Ipsum</a:t>
              </a:r>
              <a:endParaRPr kumimoji="0" lang="en-US" sz="1100" b="0" i="0" u="none" strike="noStrike" kern="1200" cap="none" spc="0" normalizeH="0" baseline="0" noProof="0" dirty="0">
                <a:ln>
                  <a:noFill/>
                </a:ln>
                <a:solidFill>
                  <a:schemeClr val="accent1"/>
                </a:solidFill>
                <a:effectLst/>
                <a:uLnTx/>
                <a:uFillTx/>
                <a:latin typeface="Arial"/>
                <a:cs typeface="+mn-cs"/>
              </a:endParaRPr>
            </a:p>
          </p:txBody>
        </p:sp>
      </p:grpSp>
      <p:grpSp>
        <p:nvGrpSpPr>
          <p:cNvPr id="37" name="Group 135">
            <a:extLst>
              <a:ext uri="{FF2B5EF4-FFF2-40B4-BE49-F238E27FC236}">
                <a16:creationId xmlns:a16="http://schemas.microsoft.com/office/drawing/2014/main" id="{AAD42A07-C6D0-493D-8F26-72789C038683}"/>
              </a:ext>
            </a:extLst>
          </p:cNvPr>
          <p:cNvGrpSpPr/>
          <p:nvPr/>
        </p:nvGrpSpPr>
        <p:grpSpPr>
          <a:xfrm>
            <a:off x="4373731" y="1235885"/>
            <a:ext cx="1382891" cy="581313"/>
            <a:chOff x="4278481" y="1378760"/>
            <a:chExt cx="1382891" cy="581313"/>
          </a:xfrm>
        </p:grpSpPr>
        <p:sp>
          <p:nvSpPr>
            <p:cNvPr id="38" name="Rectangle 111">
              <a:extLst>
                <a:ext uri="{FF2B5EF4-FFF2-40B4-BE49-F238E27FC236}">
                  <a16:creationId xmlns:a16="http://schemas.microsoft.com/office/drawing/2014/main" id="{06C09CC9-ED07-422D-BCDD-3A6E13FB700F}"/>
                </a:ext>
              </a:extLst>
            </p:cNvPr>
            <p:cNvSpPr/>
            <p:nvPr/>
          </p:nvSpPr>
          <p:spPr>
            <a:xfrm>
              <a:off x="4278481" y="1590741"/>
              <a:ext cx="1382891" cy="36933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chemeClr val="accent1"/>
                  </a:solidFill>
                  <a:effectLst/>
                  <a:uLnTx/>
                  <a:uFillTx/>
                  <a:latin typeface="Open Sans" panose="020B0606030504020204" pitchFamily="34" charset="0"/>
                  <a:cs typeface="+mn-cs"/>
                </a:rPr>
                <a:t>is simply dummy text of the printing and</a:t>
              </a:r>
              <a:endParaRPr kumimoji="0" lang="en-US" sz="900" b="0" i="0" u="none" strike="noStrike" kern="1200" cap="none" spc="0" normalizeH="0" baseline="0" noProof="0" dirty="0">
                <a:ln>
                  <a:noFill/>
                </a:ln>
                <a:solidFill>
                  <a:schemeClr val="accent1"/>
                </a:solidFill>
                <a:effectLst/>
                <a:uLnTx/>
                <a:uFillTx/>
                <a:latin typeface="Arial"/>
                <a:cs typeface="+mn-cs"/>
              </a:endParaRPr>
            </a:p>
          </p:txBody>
        </p:sp>
        <p:sp>
          <p:nvSpPr>
            <p:cNvPr id="39" name="Rectangle 112">
              <a:extLst>
                <a:ext uri="{FF2B5EF4-FFF2-40B4-BE49-F238E27FC236}">
                  <a16:creationId xmlns:a16="http://schemas.microsoft.com/office/drawing/2014/main" id="{EB4D0013-C0C1-4605-B608-0D77B6FC77EF}"/>
                </a:ext>
              </a:extLst>
            </p:cNvPr>
            <p:cNvSpPr/>
            <p:nvPr/>
          </p:nvSpPr>
          <p:spPr>
            <a:xfrm>
              <a:off x="4278481" y="1378760"/>
              <a:ext cx="1111202" cy="26161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chemeClr val="accent1"/>
                  </a:solidFill>
                  <a:effectLst/>
                  <a:uLnTx/>
                  <a:uFillTx/>
                  <a:latin typeface="Open Sans" panose="020B0606030504020204" pitchFamily="34" charset="0"/>
                  <a:cs typeface="+mn-cs"/>
                </a:rPr>
                <a:t>Lorem Ipsum</a:t>
              </a:r>
              <a:endParaRPr kumimoji="0" lang="en-US" sz="1100" b="0" i="0" u="none" strike="noStrike" kern="1200" cap="none" spc="0" normalizeH="0" baseline="0" noProof="0" dirty="0">
                <a:ln>
                  <a:noFill/>
                </a:ln>
                <a:solidFill>
                  <a:schemeClr val="accent1"/>
                </a:solidFill>
                <a:effectLst/>
                <a:uLnTx/>
                <a:uFillTx/>
                <a:latin typeface="Arial"/>
                <a:cs typeface="+mn-cs"/>
              </a:endParaRPr>
            </a:p>
          </p:txBody>
        </p:sp>
      </p:grpSp>
      <p:grpSp>
        <p:nvGrpSpPr>
          <p:cNvPr id="40" name="Group 117">
            <a:extLst>
              <a:ext uri="{FF2B5EF4-FFF2-40B4-BE49-F238E27FC236}">
                <a16:creationId xmlns:a16="http://schemas.microsoft.com/office/drawing/2014/main" id="{B71414CD-43C1-4DD0-A0AE-B30685851702}"/>
              </a:ext>
            </a:extLst>
          </p:cNvPr>
          <p:cNvGrpSpPr/>
          <p:nvPr/>
        </p:nvGrpSpPr>
        <p:grpSpPr>
          <a:xfrm>
            <a:off x="5602610" y="847880"/>
            <a:ext cx="1382891" cy="581313"/>
            <a:chOff x="5507360" y="746073"/>
            <a:chExt cx="1382891" cy="581313"/>
          </a:xfrm>
        </p:grpSpPr>
        <p:sp>
          <p:nvSpPr>
            <p:cNvPr id="41" name="Rectangle 113">
              <a:extLst>
                <a:ext uri="{FF2B5EF4-FFF2-40B4-BE49-F238E27FC236}">
                  <a16:creationId xmlns:a16="http://schemas.microsoft.com/office/drawing/2014/main" id="{A538BE7C-9B71-49FF-B4CA-5D940137D0E9}"/>
                </a:ext>
              </a:extLst>
            </p:cNvPr>
            <p:cNvSpPr/>
            <p:nvPr/>
          </p:nvSpPr>
          <p:spPr>
            <a:xfrm>
              <a:off x="5507360" y="958054"/>
              <a:ext cx="1382891" cy="36933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chemeClr val="accent1"/>
                  </a:solidFill>
                  <a:effectLst/>
                  <a:uLnTx/>
                  <a:uFillTx/>
                  <a:latin typeface="Open Sans" panose="020B0606030504020204" pitchFamily="34" charset="0"/>
                  <a:cs typeface="+mn-cs"/>
                </a:rPr>
                <a:t>is simply dummy text of the printing and</a:t>
              </a:r>
              <a:endParaRPr kumimoji="0" lang="en-US" sz="900" b="0" i="0" u="none" strike="noStrike" kern="1200" cap="none" spc="0" normalizeH="0" baseline="0" noProof="0" dirty="0">
                <a:ln>
                  <a:noFill/>
                </a:ln>
                <a:solidFill>
                  <a:schemeClr val="accent1"/>
                </a:solidFill>
                <a:effectLst/>
                <a:uLnTx/>
                <a:uFillTx/>
                <a:latin typeface="Arial"/>
                <a:cs typeface="+mn-cs"/>
              </a:endParaRPr>
            </a:p>
          </p:txBody>
        </p:sp>
        <p:sp>
          <p:nvSpPr>
            <p:cNvPr id="42" name="Rectangle 114">
              <a:extLst>
                <a:ext uri="{FF2B5EF4-FFF2-40B4-BE49-F238E27FC236}">
                  <a16:creationId xmlns:a16="http://schemas.microsoft.com/office/drawing/2014/main" id="{04C1F326-8927-4073-B8D7-7D20EF408AD0}"/>
                </a:ext>
              </a:extLst>
            </p:cNvPr>
            <p:cNvSpPr/>
            <p:nvPr/>
          </p:nvSpPr>
          <p:spPr>
            <a:xfrm>
              <a:off x="5507360" y="746073"/>
              <a:ext cx="1111202" cy="26161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chemeClr val="accent1"/>
                  </a:solidFill>
                  <a:effectLst/>
                  <a:uLnTx/>
                  <a:uFillTx/>
                  <a:latin typeface="Open Sans" panose="020B0606030504020204" pitchFamily="34" charset="0"/>
                  <a:cs typeface="+mn-cs"/>
                </a:rPr>
                <a:t>Lorem Ipsum</a:t>
              </a:r>
              <a:endParaRPr kumimoji="0" lang="en-US" sz="1100" b="0" i="0" u="none" strike="noStrike" kern="1200" cap="none" spc="0" normalizeH="0" baseline="0" noProof="0" dirty="0">
                <a:ln>
                  <a:noFill/>
                </a:ln>
                <a:solidFill>
                  <a:schemeClr val="accent1"/>
                </a:solidFill>
                <a:effectLst/>
                <a:uLnTx/>
                <a:uFillTx/>
                <a:latin typeface="Arial"/>
                <a:cs typeface="+mn-cs"/>
              </a:endParaRPr>
            </a:p>
          </p:txBody>
        </p:sp>
      </p:grpSp>
      <p:grpSp>
        <p:nvGrpSpPr>
          <p:cNvPr id="43" name="Group 118">
            <a:extLst>
              <a:ext uri="{FF2B5EF4-FFF2-40B4-BE49-F238E27FC236}">
                <a16:creationId xmlns:a16="http://schemas.microsoft.com/office/drawing/2014/main" id="{ABC6BBF4-1D2F-448E-9755-49714A93FBF8}"/>
              </a:ext>
            </a:extLst>
          </p:cNvPr>
          <p:cNvGrpSpPr/>
          <p:nvPr/>
        </p:nvGrpSpPr>
        <p:grpSpPr>
          <a:xfrm>
            <a:off x="6713812" y="1429193"/>
            <a:ext cx="1382891" cy="581313"/>
            <a:chOff x="6618562" y="1327386"/>
            <a:chExt cx="1382891" cy="581313"/>
          </a:xfrm>
        </p:grpSpPr>
        <p:sp>
          <p:nvSpPr>
            <p:cNvPr id="44" name="Rectangle 115">
              <a:extLst>
                <a:ext uri="{FF2B5EF4-FFF2-40B4-BE49-F238E27FC236}">
                  <a16:creationId xmlns:a16="http://schemas.microsoft.com/office/drawing/2014/main" id="{E5298F25-17F6-485A-9E47-035BCE9995F5}"/>
                </a:ext>
              </a:extLst>
            </p:cNvPr>
            <p:cNvSpPr/>
            <p:nvPr/>
          </p:nvSpPr>
          <p:spPr>
            <a:xfrm>
              <a:off x="6618562" y="1539367"/>
              <a:ext cx="1382891" cy="36933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chemeClr val="accent1"/>
                  </a:solidFill>
                  <a:effectLst/>
                  <a:uLnTx/>
                  <a:uFillTx/>
                  <a:latin typeface="Open Sans" panose="020B0606030504020204" pitchFamily="34" charset="0"/>
                  <a:cs typeface="+mn-cs"/>
                </a:rPr>
                <a:t>is simply dummy text of the printing and</a:t>
              </a:r>
              <a:endParaRPr kumimoji="0" lang="en-US" sz="900" b="0" i="0" u="none" strike="noStrike" kern="1200" cap="none" spc="0" normalizeH="0" baseline="0" noProof="0" dirty="0">
                <a:ln>
                  <a:noFill/>
                </a:ln>
                <a:solidFill>
                  <a:schemeClr val="accent1"/>
                </a:solidFill>
                <a:effectLst/>
                <a:uLnTx/>
                <a:uFillTx/>
                <a:latin typeface="Arial"/>
                <a:cs typeface="+mn-cs"/>
              </a:endParaRPr>
            </a:p>
          </p:txBody>
        </p:sp>
        <p:sp>
          <p:nvSpPr>
            <p:cNvPr id="45" name="Rectangle 116">
              <a:extLst>
                <a:ext uri="{FF2B5EF4-FFF2-40B4-BE49-F238E27FC236}">
                  <a16:creationId xmlns:a16="http://schemas.microsoft.com/office/drawing/2014/main" id="{4087012B-9068-4E9E-AAA1-81F5F436CE47}"/>
                </a:ext>
              </a:extLst>
            </p:cNvPr>
            <p:cNvSpPr/>
            <p:nvPr/>
          </p:nvSpPr>
          <p:spPr>
            <a:xfrm>
              <a:off x="6618562" y="1327386"/>
              <a:ext cx="1111202" cy="26161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chemeClr val="accent1"/>
                  </a:solidFill>
                  <a:effectLst/>
                  <a:uLnTx/>
                  <a:uFillTx/>
                  <a:latin typeface="Open Sans" panose="020B0606030504020204" pitchFamily="34" charset="0"/>
                  <a:cs typeface="+mn-cs"/>
                </a:rPr>
                <a:t>Lorem Ipsum</a:t>
              </a:r>
              <a:endParaRPr kumimoji="0" lang="en-US" sz="1100" b="0" i="0" u="none" strike="noStrike" kern="1200" cap="none" spc="0" normalizeH="0" baseline="0" noProof="0" dirty="0">
                <a:ln>
                  <a:noFill/>
                </a:ln>
                <a:solidFill>
                  <a:schemeClr val="accent1"/>
                </a:solidFill>
                <a:effectLst/>
                <a:uLnTx/>
                <a:uFillTx/>
                <a:latin typeface="Arial"/>
                <a:cs typeface="+mn-cs"/>
              </a:endParaRPr>
            </a:p>
          </p:txBody>
        </p:sp>
      </p:grpSp>
      <p:sp>
        <p:nvSpPr>
          <p:cNvPr id="46" name="Oval 119">
            <a:extLst>
              <a:ext uri="{FF2B5EF4-FFF2-40B4-BE49-F238E27FC236}">
                <a16:creationId xmlns:a16="http://schemas.microsoft.com/office/drawing/2014/main" id="{84CFDF1F-4575-4616-91F8-B0D971EFF3B5}"/>
              </a:ext>
            </a:extLst>
          </p:cNvPr>
          <p:cNvSpPr/>
          <p:nvPr/>
        </p:nvSpPr>
        <p:spPr>
          <a:xfrm>
            <a:off x="9307168" y="4957723"/>
            <a:ext cx="332828" cy="332828"/>
          </a:xfrm>
          <a:prstGeom prst="ellipse">
            <a:avLst/>
          </a:prstGeom>
          <a:solidFill>
            <a:schemeClr val="accent1">
              <a:lumMod val="100000"/>
              <a:alpha val="3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677C7"/>
              </a:solidFill>
              <a:effectLst/>
              <a:uLnTx/>
              <a:uFillTx/>
              <a:latin typeface="Arial"/>
              <a:cs typeface="+mn-cs"/>
            </a:endParaRPr>
          </a:p>
        </p:txBody>
      </p:sp>
      <p:sp>
        <p:nvSpPr>
          <p:cNvPr id="47" name="Oval 120">
            <a:extLst>
              <a:ext uri="{FF2B5EF4-FFF2-40B4-BE49-F238E27FC236}">
                <a16:creationId xmlns:a16="http://schemas.microsoft.com/office/drawing/2014/main" id="{34258328-2619-49B7-A492-BD7A272A3A49}"/>
              </a:ext>
            </a:extLst>
          </p:cNvPr>
          <p:cNvSpPr/>
          <p:nvPr/>
        </p:nvSpPr>
        <p:spPr>
          <a:xfrm>
            <a:off x="9473582" y="5154019"/>
            <a:ext cx="188868" cy="188868"/>
          </a:xfrm>
          <a:prstGeom prst="ellipse">
            <a:avLst/>
          </a:prstGeom>
          <a:solidFill>
            <a:schemeClr val="accent1">
              <a:lumMod val="100000"/>
              <a:alpha val="4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677C7"/>
              </a:solidFill>
              <a:effectLst/>
              <a:uLnTx/>
              <a:uFillTx/>
              <a:latin typeface="Arial"/>
              <a:cs typeface="+mn-cs"/>
            </a:endParaRPr>
          </a:p>
        </p:txBody>
      </p:sp>
      <p:sp>
        <p:nvSpPr>
          <p:cNvPr id="48" name="Oval 121">
            <a:extLst>
              <a:ext uri="{FF2B5EF4-FFF2-40B4-BE49-F238E27FC236}">
                <a16:creationId xmlns:a16="http://schemas.microsoft.com/office/drawing/2014/main" id="{097B5896-DB53-440D-9452-256EF6BA61BE}"/>
              </a:ext>
            </a:extLst>
          </p:cNvPr>
          <p:cNvSpPr/>
          <p:nvPr/>
        </p:nvSpPr>
        <p:spPr>
          <a:xfrm>
            <a:off x="9140327" y="5327201"/>
            <a:ext cx="238821" cy="238821"/>
          </a:xfrm>
          <a:prstGeom prst="ellipse">
            <a:avLst/>
          </a:prstGeom>
          <a:solidFill>
            <a:schemeClr val="accent1">
              <a:lumMod val="100000"/>
              <a:alpha val="3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677C7"/>
              </a:solidFill>
              <a:effectLst/>
              <a:uLnTx/>
              <a:uFillTx/>
              <a:latin typeface="Arial"/>
              <a:cs typeface="+mn-cs"/>
            </a:endParaRPr>
          </a:p>
        </p:txBody>
      </p:sp>
      <p:sp>
        <p:nvSpPr>
          <p:cNvPr id="49" name="Oval 122">
            <a:extLst>
              <a:ext uri="{FF2B5EF4-FFF2-40B4-BE49-F238E27FC236}">
                <a16:creationId xmlns:a16="http://schemas.microsoft.com/office/drawing/2014/main" id="{5CB0DFA6-225C-451F-AF43-F507AE364119}"/>
              </a:ext>
            </a:extLst>
          </p:cNvPr>
          <p:cNvSpPr/>
          <p:nvPr/>
        </p:nvSpPr>
        <p:spPr>
          <a:xfrm>
            <a:off x="9414047" y="5450072"/>
            <a:ext cx="119069" cy="119069"/>
          </a:xfrm>
          <a:prstGeom prst="ellipse">
            <a:avLst/>
          </a:prstGeom>
          <a:solidFill>
            <a:schemeClr val="accent1">
              <a:lumMod val="100000"/>
              <a:alpha val="3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677C7"/>
              </a:solidFill>
              <a:effectLst/>
              <a:uLnTx/>
              <a:uFillTx/>
              <a:latin typeface="Arial"/>
              <a:cs typeface="+mn-cs"/>
            </a:endParaRPr>
          </a:p>
        </p:txBody>
      </p:sp>
      <p:sp>
        <p:nvSpPr>
          <p:cNvPr id="50" name="Oval 123">
            <a:extLst>
              <a:ext uri="{FF2B5EF4-FFF2-40B4-BE49-F238E27FC236}">
                <a16:creationId xmlns:a16="http://schemas.microsoft.com/office/drawing/2014/main" id="{323EF49E-C34B-4777-9119-4F5813B5C61C}"/>
              </a:ext>
            </a:extLst>
          </p:cNvPr>
          <p:cNvSpPr/>
          <p:nvPr/>
        </p:nvSpPr>
        <p:spPr>
          <a:xfrm>
            <a:off x="4562653" y="5199663"/>
            <a:ext cx="332828" cy="332828"/>
          </a:xfrm>
          <a:prstGeom prst="ellipse">
            <a:avLst/>
          </a:prstGeom>
          <a:solidFill>
            <a:schemeClr val="accent1">
              <a:lumMod val="100000"/>
              <a:alpha val="3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677C7"/>
              </a:solidFill>
              <a:effectLst/>
              <a:uLnTx/>
              <a:uFillTx/>
              <a:latin typeface="Arial"/>
              <a:cs typeface="+mn-cs"/>
            </a:endParaRPr>
          </a:p>
        </p:txBody>
      </p:sp>
      <p:sp>
        <p:nvSpPr>
          <p:cNvPr id="51" name="Oval 124">
            <a:extLst>
              <a:ext uri="{FF2B5EF4-FFF2-40B4-BE49-F238E27FC236}">
                <a16:creationId xmlns:a16="http://schemas.microsoft.com/office/drawing/2014/main" id="{B282287D-8105-4B94-BBE8-2ADE057B4E5D}"/>
              </a:ext>
            </a:extLst>
          </p:cNvPr>
          <p:cNvSpPr/>
          <p:nvPr/>
        </p:nvSpPr>
        <p:spPr>
          <a:xfrm>
            <a:off x="4729067" y="5395959"/>
            <a:ext cx="188868" cy="188868"/>
          </a:xfrm>
          <a:prstGeom prst="ellipse">
            <a:avLst/>
          </a:prstGeom>
          <a:solidFill>
            <a:schemeClr val="accent1">
              <a:lumMod val="100000"/>
              <a:alpha val="4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677C7"/>
              </a:solidFill>
              <a:effectLst/>
              <a:uLnTx/>
              <a:uFillTx/>
              <a:latin typeface="Arial"/>
              <a:cs typeface="+mn-cs"/>
            </a:endParaRPr>
          </a:p>
        </p:txBody>
      </p:sp>
      <p:sp>
        <p:nvSpPr>
          <p:cNvPr id="52" name="Oval 125">
            <a:extLst>
              <a:ext uri="{FF2B5EF4-FFF2-40B4-BE49-F238E27FC236}">
                <a16:creationId xmlns:a16="http://schemas.microsoft.com/office/drawing/2014/main" id="{DBDE7FDD-4F0D-4E01-87CD-07E497241A06}"/>
              </a:ext>
            </a:extLst>
          </p:cNvPr>
          <p:cNvSpPr/>
          <p:nvPr/>
        </p:nvSpPr>
        <p:spPr>
          <a:xfrm>
            <a:off x="4395812" y="5569141"/>
            <a:ext cx="238821" cy="238821"/>
          </a:xfrm>
          <a:prstGeom prst="ellipse">
            <a:avLst/>
          </a:prstGeom>
          <a:solidFill>
            <a:schemeClr val="accent1">
              <a:lumMod val="100000"/>
              <a:alpha val="3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677C7"/>
              </a:solidFill>
              <a:effectLst/>
              <a:uLnTx/>
              <a:uFillTx/>
              <a:latin typeface="Arial"/>
              <a:cs typeface="+mn-cs"/>
            </a:endParaRPr>
          </a:p>
        </p:txBody>
      </p:sp>
      <p:sp>
        <p:nvSpPr>
          <p:cNvPr id="53" name="Oval 126">
            <a:extLst>
              <a:ext uri="{FF2B5EF4-FFF2-40B4-BE49-F238E27FC236}">
                <a16:creationId xmlns:a16="http://schemas.microsoft.com/office/drawing/2014/main" id="{0FC92CE7-80C9-4562-A2D6-559832DF4990}"/>
              </a:ext>
            </a:extLst>
          </p:cNvPr>
          <p:cNvSpPr/>
          <p:nvPr/>
        </p:nvSpPr>
        <p:spPr>
          <a:xfrm>
            <a:off x="4669532" y="5692012"/>
            <a:ext cx="119069" cy="119069"/>
          </a:xfrm>
          <a:prstGeom prst="ellipse">
            <a:avLst/>
          </a:prstGeom>
          <a:solidFill>
            <a:schemeClr val="accent1">
              <a:lumMod val="100000"/>
              <a:alpha val="3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677C7"/>
              </a:solidFill>
              <a:effectLst/>
              <a:uLnTx/>
              <a:uFillTx/>
              <a:latin typeface="Arial"/>
              <a:cs typeface="+mn-cs"/>
            </a:endParaRPr>
          </a:p>
        </p:txBody>
      </p:sp>
      <p:sp>
        <p:nvSpPr>
          <p:cNvPr id="54" name="Oval 127">
            <a:extLst>
              <a:ext uri="{FF2B5EF4-FFF2-40B4-BE49-F238E27FC236}">
                <a16:creationId xmlns:a16="http://schemas.microsoft.com/office/drawing/2014/main" id="{CC0E4AA4-86AF-4D7B-9B84-CAEDAB1FBB27}"/>
              </a:ext>
            </a:extLst>
          </p:cNvPr>
          <p:cNvSpPr/>
          <p:nvPr/>
        </p:nvSpPr>
        <p:spPr>
          <a:xfrm>
            <a:off x="1067809" y="5323979"/>
            <a:ext cx="332828" cy="332828"/>
          </a:xfrm>
          <a:prstGeom prst="ellipse">
            <a:avLst/>
          </a:prstGeom>
          <a:solidFill>
            <a:schemeClr val="accent1">
              <a:lumMod val="100000"/>
              <a:alpha val="3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677C7"/>
              </a:solidFill>
              <a:effectLst/>
              <a:uLnTx/>
              <a:uFillTx/>
              <a:latin typeface="Arial"/>
              <a:cs typeface="+mn-cs"/>
            </a:endParaRPr>
          </a:p>
        </p:txBody>
      </p:sp>
      <p:sp>
        <p:nvSpPr>
          <p:cNvPr id="55" name="Oval 128">
            <a:extLst>
              <a:ext uri="{FF2B5EF4-FFF2-40B4-BE49-F238E27FC236}">
                <a16:creationId xmlns:a16="http://schemas.microsoft.com/office/drawing/2014/main" id="{A2397391-014C-452D-9D8A-3492ABA434EA}"/>
              </a:ext>
            </a:extLst>
          </p:cNvPr>
          <p:cNvSpPr/>
          <p:nvPr/>
        </p:nvSpPr>
        <p:spPr>
          <a:xfrm>
            <a:off x="1341102" y="5692012"/>
            <a:ext cx="119069" cy="119069"/>
          </a:xfrm>
          <a:prstGeom prst="ellipse">
            <a:avLst/>
          </a:prstGeom>
          <a:solidFill>
            <a:schemeClr val="accent1">
              <a:lumMod val="100000"/>
              <a:alpha val="3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677C7"/>
              </a:solidFill>
              <a:effectLst/>
              <a:uLnTx/>
              <a:uFillTx/>
              <a:latin typeface="Arial"/>
              <a:cs typeface="+mn-cs"/>
            </a:endParaRPr>
          </a:p>
        </p:txBody>
      </p:sp>
      <p:sp>
        <p:nvSpPr>
          <p:cNvPr id="56" name="Freeform 90">
            <a:extLst>
              <a:ext uri="{FF2B5EF4-FFF2-40B4-BE49-F238E27FC236}">
                <a16:creationId xmlns:a16="http://schemas.microsoft.com/office/drawing/2014/main" id="{5431ABB2-1096-49F8-A57D-A0800E46E562}"/>
              </a:ext>
            </a:extLst>
          </p:cNvPr>
          <p:cNvSpPr/>
          <p:nvPr/>
        </p:nvSpPr>
        <p:spPr>
          <a:xfrm flipV="1">
            <a:off x="9143294" y="1824081"/>
            <a:ext cx="660576" cy="238066"/>
          </a:xfrm>
          <a:custGeom>
            <a:avLst/>
            <a:gdLst>
              <a:gd name="connsiteX0" fmla="*/ 4824565 w 8389608"/>
              <a:gd name="connsiteY0" fmla="*/ 2503843 h 3023545"/>
              <a:gd name="connsiteX1" fmla="*/ 4799462 w 8389608"/>
              <a:gd name="connsiteY1" fmla="*/ 2503501 h 3023545"/>
              <a:gd name="connsiteX2" fmla="*/ 4852826 w 8389608"/>
              <a:gd name="connsiteY2" fmla="*/ 2502501 h 3023545"/>
              <a:gd name="connsiteX3" fmla="*/ 4013587 w 8389608"/>
              <a:gd name="connsiteY3" fmla="*/ 3023129 h 3023545"/>
              <a:gd name="connsiteX4" fmla="*/ 5356639 w 8389608"/>
              <a:gd name="connsiteY4" fmla="*/ 2584955 h 3023545"/>
              <a:gd name="connsiteX5" fmla="*/ 5463093 w 8389608"/>
              <a:gd name="connsiteY5" fmla="*/ 2477611 h 3023545"/>
              <a:gd name="connsiteX6" fmla="*/ 5619697 w 8389608"/>
              <a:gd name="connsiteY6" fmla="*/ 2468698 h 3023545"/>
              <a:gd name="connsiteX7" fmla="*/ 7921832 w 8389608"/>
              <a:gd name="connsiteY7" fmla="*/ 1970527 h 3023545"/>
              <a:gd name="connsiteX8" fmla="*/ 7994163 w 8389608"/>
              <a:gd name="connsiteY8" fmla="*/ 1929993 h 3023545"/>
              <a:gd name="connsiteX9" fmla="*/ 8014712 w 8389608"/>
              <a:gd name="connsiteY9" fmla="*/ 1919925 h 3023545"/>
              <a:gd name="connsiteX10" fmla="*/ 8030939 w 8389608"/>
              <a:gd name="connsiteY10" fmla="*/ 1909384 h 3023545"/>
              <a:gd name="connsiteX11" fmla="*/ 8081923 w 8389608"/>
              <a:gd name="connsiteY11" fmla="*/ 1880813 h 3023545"/>
              <a:gd name="connsiteX12" fmla="*/ 8133596 w 8389608"/>
              <a:gd name="connsiteY12" fmla="*/ 1842701 h 3023545"/>
              <a:gd name="connsiteX13" fmla="*/ 8174648 w 8389608"/>
              <a:gd name="connsiteY13" fmla="*/ 1816035 h 3023545"/>
              <a:gd name="connsiteX14" fmla="*/ 8193502 w 8389608"/>
              <a:gd name="connsiteY14" fmla="*/ 1798516 h 3023545"/>
              <a:gd name="connsiteX15" fmla="*/ 8209765 w 8389608"/>
              <a:gd name="connsiteY15" fmla="*/ 1786521 h 3023545"/>
              <a:gd name="connsiteX16" fmla="*/ 8235573 w 8389608"/>
              <a:gd name="connsiteY16" fmla="*/ 1759426 h 3023545"/>
              <a:gd name="connsiteX17" fmla="*/ 8292256 w 8389608"/>
              <a:gd name="connsiteY17" fmla="*/ 1706758 h 3023545"/>
              <a:gd name="connsiteX18" fmla="*/ 8389608 w 8389608"/>
              <a:gd name="connsiteY18" fmla="*/ 1474982 h 3023545"/>
              <a:gd name="connsiteX19" fmla="*/ 7521469 w 8389608"/>
              <a:gd name="connsiteY19" fmla="*/ 822160 h 3023545"/>
              <a:gd name="connsiteX20" fmla="*/ 7307007 w 8389608"/>
              <a:gd name="connsiteY20" fmla="*/ 758460 h 3023545"/>
              <a:gd name="connsiteX21" fmla="*/ 7295927 w 8389608"/>
              <a:gd name="connsiteY21" fmla="*/ 765818 h 3023545"/>
              <a:gd name="connsiteX22" fmla="*/ 7234731 w 8389608"/>
              <a:gd name="connsiteY22" fmla="*/ 746973 h 3023545"/>
              <a:gd name="connsiteX23" fmla="*/ 5709445 w 8389608"/>
              <a:gd name="connsiteY23" fmla="*/ 501171 h 3023545"/>
              <a:gd name="connsiteX24" fmla="*/ 5371664 w 8389608"/>
              <a:gd name="connsiteY24" fmla="*/ 477725 h 3023545"/>
              <a:gd name="connsiteX25" fmla="*/ 5275791 w 8389608"/>
              <a:gd name="connsiteY25" fmla="*/ 381051 h 3023545"/>
              <a:gd name="connsiteX26" fmla="*/ 4108936 w 8389608"/>
              <a:gd name="connsiteY26" fmla="*/ 361 h 3023545"/>
              <a:gd name="connsiteX27" fmla="*/ 4513244 w 8389608"/>
              <a:gd name="connsiteY27" fmla="*/ 440938 h 3023545"/>
              <a:gd name="connsiteX28" fmla="*/ 4526150 w 8389608"/>
              <a:gd name="connsiteY28" fmla="*/ 455439 h 3023545"/>
              <a:gd name="connsiteX29" fmla="*/ 4813521 w 8389608"/>
              <a:gd name="connsiteY29" fmla="*/ 451522 h 3023545"/>
              <a:gd name="connsiteX30" fmla="*/ 4983493 w 8389608"/>
              <a:gd name="connsiteY30" fmla="*/ 459591 h 3023545"/>
              <a:gd name="connsiteX31" fmla="*/ 5051396 w 8389608"/>
              <a:gd name="connsiteY31" fmla="*/ 463781 h 3023545"/>
              <a:gd name="connsiteX32" fmla="*/ 4967624 w 8389608"/>
              <a:gd name="connsiteY32" fmla="*/ 460330 h 3023545"/>
              <a:gd name="connsiteX33" fmla="*/ 4578915 w 8389608"/>
              <a:gd name="connsiteY33" fmla="*/ 455031 h 3023545"/>
              <a:gd name="connsiteX34" fmla="*/ 1426428 w 8389608"/>
              <a:gd name="connsiteY34" fmla="*/ 907517 h 3023545"/>
              <a:gd name="connsiteX35" fmla="*/ 1253650 w 8389608"/>
              <a:gd name="connsiteY35" fmla="*/ 984292 h 3023545"/>
              <a:gd name="connsiteX36" fmla="*/ 198320 w 8389608"/>
              <a:gd name="connsiteY36" fmla="*/ 796503 h 3023545"/>
              <a:gd name="connsiteX37" fmla="*/ 777185 w 8389608"/>
              <a:gd name="connsiteY37" fmla="*/ 1490381 h 3023545"/>
              <a:gd name="connsiteX38" fmla="*/ 0 w 8389608"/>
              <a:gd name="connsiteY38" fmla="*/ 2421982 h 3023545"/>
              <a:gd name="connsiteX39" fmla="*/ 1561940 w 8389608"/>
              <a:gd name="connsiteY39" fmla="*/ 2104065 h 3023545"/>
              <a:gd name="connsiteX40" fmla="*/ 1645285 w 8389608"/>
              <a:gd name="connsiteY40" fmla="*/ 2134153 h 3023545"/>
              <a:gd name="connsiteX41" fmla="*/ 4142368 w 8389608"/>
              <a:gd name="connsiteY41" fmla="*/ 2500938 h 3023545"/>
              <a:gd name="connsiteX42" fmla="*/ 4487662 w 8389608"/>
              <a:gd name="connsiteY42" fmla="*/ 2506232 h 3023545"/>
              <a:gd name="connsiteX43" fmla="*/ 4478946 w 8389608"/>
              <a:gd name="connsiteY43" fmla="*/ 2516025 h 3023545"/>
              <a:gd name="connsiteX44" fmla="*/ 4013587 w 8389608"/>
              <a:gd name="connsiteY44" fmla="*/ 3023129 h 3023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8389608" h="3023545">
                <a:moveTo>
                  <a:pt x="4824565" y="2503843"/>
                </a:moveTo>
                <a:lnTo>
                  <a:pt x="4799462" y="2503501"/>
                </a:lnTo>
                <a:lnTo>
                  <a:pt x="4852826" y="2502501"/>
                </a:lnTo>
                <a:close/>
                <a:moveTo>
                  <a:pt x="4013587" y="3023129"/>
                </a:moveTo>
                <a:cubicBezTo>
                  <a:pt x="4534369" y="3028376"/>
                  <a:pt x="4992271" y="2989607"/>
                  <a:pt x="5356639" y="2584955"/>
                </a:cubicBezTo>
                <a:lnTo>
                  <a:pt x="5463093" y="2477611"/>
                </a:lnTo>
                <a:lnTo>
                  <a:pt x="5619697" y="2468698"/>
                </a:lnTo>
                <a:cubicBezTo>
                  <a:pt x="6611999" y="2392619"/>
                  <a:pt x="7438990" y="2210469"/>
                  <a:pt x="7921832" y="1970527"/>
                </a:cubicBezTo>
                <a:lnTo>
                  <a:pt x="7994163" y="1929993"/>
                </a:lnTo>
                <a:lnTo>
                  <a:pt x="8014712" y="1919925"/>
                </a:lnTo>
                <a:lnTo>
                  <a:pt x="8030939" y="1909384"/>
                </a:lnTo>
                <a:lnTo>
                  <a:pt x="8081923" y="1880813"/>
                </a:lnTo>
                <a:lnTo>
                  <a:pt x="8133596" y="1842701"/>
                </a:lnTo>
                <a:lnTo>
                  <a:pt x="8174648" y="1816035"/>
                </a:lnTo>
                <a:lnTo>
                  <a:pt x="8193502" y="1798516"/>
                </a:lnTo>
                <a:lnTo>
                  <a:pt x="8209765" y="1786521"/>
                </a:lnTo>
                <a:lnTo>
                  <a:pt x="8235573" y="1759426"/>
                </a:lnTo>
                <a:lnTo>
                  <a:pt x="8292256" y="1706758"/>
                </a:lnTo>
                <a:cubicBezTo>
                  <a:pt x="8355948" y="1632275"/>
                  <a:pt x="8389608" y="1554689"/>
                  <a:pt x="8389608" y="1474982"/>
                </a:cubicBezTo>
                <a:cubicBezTo>
                  <a:pt x="8389608" y="1227002"/>
                  <a:pt x="8063814" y="999565"/>
                  <a:pt x="7521469" y="822160"/>
                </a:cubicBezTo>
                <a:lnTo>
                  <a:pt x="7307007" y="758460"/>
                </a:lnTo>
                <a:lnTo>
                  <a:pt x="7295927" y="765818"/>
                </a:lnTo>
                <a:lnTo>
                  <a:pt x="7234731" y="746973"/>
                </a:lnTo>
                <a:cubicBezTo>
                  <a:pt x="6810517" y="635154"/>
                  <a:pt x="6289788" y="549899"/>
                  <a:pt x="5709445" y="501171"/>
                </a:cubicBezTo>
                <a:lnTo>
                  <a:pt x="5371664" y="477725"/>
                </a:lnTo>
                <a:lnTo>
                  <a:pt x="5275791" y="381051"/>
                </a:lnTo>
                <a:cubicBezTo>
                  <a:pt x="4959225" y="29486"/>
                  <a:pt x="4561396" y="-4197"/>
                  <a:pt x="4108936" y="361"/>
                </a:cubicBezTo>
                <a:cubicBezTo>
                  <a:pt x="4242671" y="160667"/>
                  <a:pt x="4378474" y="294079"/>
                  <a:pt x="4513244" y="440938"/>
                </a:cubicBezTo>
                <a:lnTo>
                  <a:pt x="4526150" y="455439"/>
                </a:lnTo>
                <a:lnTo>
                  <a:pt x="4813521" y="451522"/>
                </a:lnTo>
                <a:cubicBezTo>
                  <a:pt x="4870527" y="451522"/>
                  <a:pt x="4927196" y="455366"/>
                  <a:pt x="4983493" y="459591"/>
                </a:cubicBezTo>
                <a:lnTo>
                  <a:pt x="5051396" y="463781"/>
                </a:lnTo>
                <a:lnTo>
                  <a:pt x="4967624" y="460330"/>
                </a:lnTo>
                <a:cubicBezTo>
                  <a:pt x="4839820" y="456826"/>
                  <a:pt x="4710144" y="455031"/>
                  <a:pt x="4578915" y="455031"/>
                </a:cubicBezTo>
                <a:cubicBezTo>
                  <a:pt x="3266628" y="455031"/>
                  <a:pt x="2109634" y="634519"/>
                  <a:pt x="1426428" y="907517"/>
                </a:cubicBezTo>
                <a:lnTo>
                  <a:pt x="1253650" y="984292"/>
                </a:lnTo>
                <a:lnTo>
                  <a:pt x="198320" y="796503"/>
                </a:lnTo>
                <a:lnTo>
                  <a:pt x="777185" y="1490381"/>
                </a:lnTo>
                <a:lnTo>
                  <a:pt x="0" y="2421982"/>
                </a:lnTo>
                <a:lnTo>
                  <a:pt x="1561940" y="2104065"/>
                </a:lnTo>
                <a:lnTo>
                  <a:pt x="1645285" y="2134153"/>
                </a:lnTo>
                <a:cubicBezTo>
                  <a:pt x="2255423" y="2333734"/>
                  <a:pt x="3139632" y="2469992"/>
                  <a:pt x="4142368" y="2500938"/>
                </a:cubicBezTo>
                <a:lnTo>
                  <a:pt x="4487662" y="2506232"/>
                </a:lnTo>
                <a:lnTo>
                  <a:pt x="4478946" y="2516025"/>
                </a:lnTo>
                <a:cubicBezTo>
                  <a:pt x="4323826" y="2685060"/>
                  <a:pt x="4167516" y="2838617"/>
                  <a:pt x="4013587" y="3023129"/>
                </a:cubicBezTo>
                <a:close/>
              </a:path>
            </a:pathLst>
          </a:custGeom>
          <a:solidFill>
            <a:schemeClr val="accent1">
              <a:lumMod val="100000"/>
              <a:alpha val="3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cs typeface="+mn-cs"/>
            </a:endParaRPr>
          </a:p>
        </p:txBody>
      </p:sp>
      <p:sp>
        <p:nvSpPr>
          <p:cNvPr id="57" name="Freeform 129">
            <a:extLst>
              <a:ext uri="{FF2B5EF4-FFF2-40B4-BE49-F238E27FC236}">
                <a16:creationId xmlns:a16="http://schemas.microsoft.com/office/drawing/2014/main" id="{1771665A-0342-43FE-B948-D1C4623F5468}"/>
              </a:ext>
            </a:extLst>
          </p:cNvPr>
          <p:cNvSpPr/>
          <p:nvPr/>
        </p:nvSpPr>
        <p:spPr>
          <a:xfrm flipV="1">
            <a:off x="8813006" y="1581080"/>
            <a:ext cx="515099" cy="185637"/>
          </a:xfrm>
          <a:custGeom>
            <a:avLst/>
            <a:gdLst>
              <a:gd name="connsiteX0" fmla="*/ 4824565 w 8389608"/>
              <a:gd name="connsiteY0" fmla="*/ 2503843 h 3023545"/>
              <a:gd name="connsiteX1" fmla="*/ 4799462 w 8389608"/>
              <a:gd name="connsiteY1" fmla="*/ 2503501 h 3023545"/>
              <a:gd name="connsiteX2" fmla="*/ 4852826 w 8389608"/>
              <a:gd name="connsiteY2" fmla="*/ 2502501 h 3023545"/>
              <a:gd name="connsiteX3" fmla="*/ 4013587 w 8389608"/>
              <a:gd name="connsiteY3" fmla="*/ 3023129 h 3023545"/>
              <a:gd name="connsiteX4" fmla="*/ 5356639 w 8389608"/>
              <a:gd name="connsiteY4" fmla="*/ 2584955 h 3023545"/>
              <a:gd name="connsiteX5" fmla="*/ 5463093 w 8389608"/>
              <a:gd name="connsiteY5" fmla="*/ 2477611 h 3023545"/>
              <a:gd name="connsiteX6" fmla="*/ 5619697 w 8389608"/>
              <a:gd name="connsiteY6" fmla="*/ 2468698 h 3023545"/>
              <a:gd name="connsiteX7" fmla="*/ 7921832 w 8389608"/>
              <a:gd name="connsiteY7" fmla="*/ 1970527 h 3023545"/>
              <a:gd name="connsiteX8" fmla="*/ 7994163 w 8389608"/>
              <a:gd name="connsiteY8" fmla="*/ 1929993 h 3023545"/>
              <a:gd name="connsiteX9" fmla="*/ 8014712 w 8389608"/>
              <a:gd name="connsiteY9" fmla="*/ 1919925 h 3023545"/>
              <a:gd name="connsiteX10" fmla="*/ 8030939 w 8389608"/>
              <a:gd name="connsiteY10" fmla="*/ 1909384 h 3023545"/>
              <a:gd name="connsiteX11" fmla="*/ 8081923 w 8389608"/>
              <a:gd name="connsiteY11" fmla="*/ 1880813 h 3023545"/>
              <a:gd name="connsiteX12" fmla="*/ 8133596 w 8389608"/>
              <a:gd name="connsiteY12" fmla="*/ 1842701 h 3023545"/>
              <a:gd name="connsiteX13" fmla="*/ 8174648 w 8389608"/>
              <a:gd name="connsiteY13" fmla="*/ 1816035 h 3023545"/>
              <a:gd name="connsiteX14" fmla="*/ 8193502 w 8389608"/>
              <a:gd name="connsiteY14" fmla="*/ 1798516 h 3023545"/>
              <a:gd name="connsiteX15" fmla="*/ 8209765 w 8389608"/>
              <a:gd name="connsiteY15" fmla="*/ 1786521 h 3023545"/>
              <a:gd name="connsiteX16" fmla="*/ 8235573 w 8389608"/>
              <a:gd name="connsiteY16" fmla="*/ 1759426 h 3023545"/>
              <a:gd name="connsiteX17" fmla="*/ 8292256 w 8389608"/>
              <a:gd name="connsiteY17" fmla="*/ 1706758 h 3023545"/>
              <a:gd name="connsiteX18" fmla="*/ 8389608 w 8389608"/>
              <a:gd name="connsiteY18" fmla="*/ 1474982 h 3023545"/>
              <a:gd name="connsiteX19" fmla="*/ 7521469 w 8389608"/>
              <a:gd name="connsiteY19" fmla="*/ 822160 h 3023545"/>
              <a:gd name="connsiteX20" fmla="*/ 7307007 w 8389608"/>
              <a:gd name="connsiteY20" fmla="*/ 758460 h 3023545"/>
              <a:gd name="connsiteX21" fmla="*/ 7295927 w 8389608"/>
              <a:gd name="connsiteY21" fmla="*/ 765818 h 3023545"/>
              <a:gd name="connsiteX22" fmla="*/ 7234731 w 8389608"/>
              <a:gd name="connsiteY22" fmla="*/ 746973 h 3023545"/>
              <a:gd name="connsiteX23" fmla="*/ 5709445 w 8389608"/>
              <a:gd name="connsiteY23" fmla="*/ 501171 h 3023545"/>
              <a:gd name="connsiteX24" fmla="*/ 5371664 w 8389608"/>
              <a:gd name="connsiteY24" fmla="*/ 477725 h 3023545"/>
              <a:gd name="connsiteX25" fmla="*/ 5275791 w 8389608"/>
              <a:gd name="connsiteY25" fmla="*/ 381051 h 3023545"/>
              <a:gd name="connsiteX26" fmla="*/ 4108936 w 8389608"/>
              <a:gd name="connsiteY26" fmla="*/ 361 h 3023545"/>
              <a:gd name="connsiteX27" fmla="*/ 4513244 w 8389608"/>
              <a:gd name="connsiteY27" fmla="*/ 440938 h 3023545"/>
              <a:gd name="connsiteX28" fmla="*/ 4526150 w 8389608"/>
              <a:gd name="connsiteY28" fmla="*/ 455439 h 3023545"/>
              <a:gd name="connsiteX29" fmla="*/ 4813521 w 8389608"/>
              <a:gd name="connsiteY29" fmla="*/ 451522 h 3023545"/>
              <a:gd name="connsiteX30" fmla="*/ 4983493 w 8389608"/>
              <a:gd name="connsiteY30" fmla="*/ 459591 h 3023545"/>
              <a:gd name="connsiteX31" fmla="*/ 5051396 w 8389608"/>
              <a:gd name="connsiteY31" fmla="*/ 463781 h 3023545"/>
              <a:gd name="connsiteX32" fmla="*/ 4967624 w 8389608"/>
              <a:gd name="connsiteY32" fmla="*/ 460330 h 3023545"/>
              <a:gd name="connsiteX33" fmla="*/ 4578915 w 8389608"/>
              <a:gd name="connsiteY33" fmla="*/ 455031 h 3023545"/>
              <a:gd name="connsiteX34" fmla="*/ 1426428 w 8389608"/>
              <a:gd name="connsiteY34" fmla="*/ 907517 h 3023545"/>
              <a:gd name="connsiteX35" fmla="*/ 1253650 w 8389608"/>
              <a:gd name="connsiteY35" fmla="*/ 984292 h 3023545"/>
              <a:gd name="connsiteX36" fmla="*/ 198320 w 8389608"/>
              <a:gd name="connsiteY36" fmla="*/ 796503 h 3023545"/>
              <a:gd name="connsiteX37" fmla="*/ 777185 w 8389608"/>
              <a:gd name="connsiteY37" fmla="*/ 1490381 h 3023545"/>
              <a:gd name="connsiteX38" fmla="*/ 0 w 8389608"/>
              <a:gd name="connsiteY38" fmla="*/ 2421982 h 3023545"/>
              <a:gd name="connsiteX39" fmla="*/ 1561940 w 8389608"/>
              <a:gd name="connsiteY39" fmla="*/ 2104065 h 3023545"/>
              <a:gd name="connsiteX40" fmla="*/ 1645285 w 8389608"/>
              <a:gd name="connsiteY40" fmla="*/ 2134153 h 3023545"/>
              <a:gd name="connsiteX41" fmla="*/ 4142368 w 8389608"/>
              <a:gd name="connsiteY41" fmla="*/ 2500938 h 3023545"/>
              <a:gd name="connsiteX42" fmla="*/ 4487662 w 8389608"/>
              <a:gd name="connsiteY42" fmla="*/ 2506232 h 3023545"/>
              <a:gd name="connsiteX43" fmla="*/ 4478946 w 8389608"/>
              <a:gd name="connsiteY43" fmla="*/ 2516025 h 3023545"/>
              <a:gd name="connsiteX44" fmla="*/ 4013587 w 8389608"/>
              <a:gd name="connsiteY44" fmla="*/ 3023129 h 3023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8389608" h="3023545">
                <a:moveTo>
                  <a:pt x="4824565" y="2503843"/>
                </a:moveTo>
                <a:lnTo>
                  <a:pt x="4799462" y="2503501"/>
                </a:lnTo>
                <a:lnTo>
                  <a:pt x="4852826" y="2502501"/>
                </a:lnTo>
                <a:close/>
                <a:moveTo>
                  <a:pt x="4013587" y="3023129"/>
                </a:moveTo>
                <a:cubicBezTo>
                  <a:pt x="4534369" y="3028376"/>
                  <a:pt x="4992271" y="2989607"/>
                  <a:pt x="5356639" y="2584955"/>
                </a:cubicBezTo>
                <a:lnTo>
                  <a:pt x="5463093" y="2477611"/>
                </a:lnTo>
                <a:lnTo>
                  <a:pt x="5619697" y="2468698"/>
                </a:lnTo>
                <a:cubicBezTo>
                  <a:pt x="6611999" y="2392619"/>
                  <a:pt x="7438990" y="2210469"/>
                  <a:pt x="7921832" y="1970527"/>
                </a:cubicBezTo>
                <a:lnTo>
                  <a:pt x="7994163" y="1929993"/>
                </a:lnTo>
                <a:lnTo>
                  <a:pt x="8014712" y="1919925"/>
                </a:lnTo>
                <a:lnTo>
                  <a:pt x="8030939" y="1909384"/>
                </a:lnTo>
                <a:lnTo>
                  <a:pt x="8081923" y="1880813"/>
                </a:lnTo>
                <a:lnTo>
                  <a:pt x="8133596" y="1842701"/>
                </a:lnTo>
                <a:lnTo>
                  <a:pt x="8174648" y="1816035"/>
                </a:lnTo>
                <a:lnTo>
                  <a:pt x="8193502" y="1798516"/>
                </a:lnTo>
                <a:lnTo>
                  <a:pt x="8209765" y="1786521"/>
                </a:lnTo>
                <a:lnTo>
                  <a:pt x="8235573" y="1759426"/>
                </a:lnTo>
                <a:lnTo>
                  <a:pt x="8292256" y="1706758"/>
                </a:lnTo>
                <a:cubicBezTo>
                  <a:pt x="8355948" y="1632275"/>
                  <a:pt x="8389608" y="1554689"/>
                  <a:pt x="8389608" y="1474982"/>
                </a:cubicBezTo>
                <a:cubicBezTo>
                  <a:pt x="8389608" y="1227002"/>
                  <a:pt x="8063814" y="999565"/>
                  <a:pt x="7521469" y="822160"/>
                </a:cubicBezTo>
                <a:lnTo>
                  <a:pt x="7307007" y="758460"/>
                </a:lnTo>
                <a:lnTo>
                  <a:pt x="7295927" y="765818"/>
                </a:lnTo>
                <a:lnTo>
                  <a:pt x="7234731" y="746973"/>
                </a:lnTo>
                <a:cubicBezTo>
                  <a:pt x="6810517" y="635154"/>
                  <a:pt x="6289788" y="549899"/>
                  <a:pt x="5709445" y="501171"/>
                </a:cubicBezTo>
                <a:lnTo>
                  <a:pt x="5371664" y="477725"/>
                </a:lnTo>
                <a:lnTo>
                  <a:pt x="5275791" y="381051"/>
                </a:lnTo>
                <a:cubicBezTo>
                  <a:pt x="4959225" y="29486"/>
                  <a:pt x="4561396" y="-4197"/>
                  <a:pt x="4108936" y="361"/>
                </a:cubicBezTo>
                <a:cubicBezTo>
                  <a:pt x="4242671" y="160667"/>
                  <a:pt x="4378474" y="294079"/>
                  <a:pt x="4513244" y="440938"/>
                </a:cubicBezTo>
                <a:lnTo>
                  <a:pt x="4526150" y="455439"/>
                </a:lnTo>
                <a:lnTo>
                  <a:pt x="4813521" y="451522"/>
                </a:lnTo>
                <a:cubicBezTo>
                  <a:pt x="4870527" y="451522"/>
                  <a:pt x="4927196" y="455366"/>
                  <a:pt x="4983493" y="459591"/>
                </a:cubicBezTo>
                <a:lnTo>
                  <a:pt x="5051396" y="463781"/>
                </a:lnTo>
                <a:lnTo>
                  <a:pt x="4967624" y="460330"/>
                </a:lnTo>
                <a:cubicBezTo>
                  <a:pt x="4839820" y="456826"/>
                  <a:pt x="4710144" y="455031"/>
                  <a:pt x="4578915" y="455031"/>
                </a:cubicBezTo>
                <a:cubicBezTo>
                  <a:pt x="3266628" y="455031"/>
                  <a:pt x="2109634" y="634519"/>
                  <a:pt x="1426428" y="907517"/>
                </a:cubicBezTo>
                <a:lnTo>
                  <a:pt x="1253650" y="984292"/>
                </a:lnTo>
                <a:lnTo>
                  <a:pt x="198320" y="796503"/>
                </a:lnTo>
                <a:lnTo>
                  <a:pt x="777185" y="1490381"/>
                </a:lnTo>
                <a:lnTo>
                  <a:pt x="0" y="2421982"/>
                </a:lnTo>
                <a:lnTo>
                  <a:pt x="1561940" y="2104065"/>
                </a:lnTo>
                <a:lnTo>
                  <a:pt x="1645285" y="2134153"/>
                </a:lnTo>
                <a:cubicBezTo>
                  <a:pt x="2255423" y="2333734"/>
                  <a:pt x="3139632" y="2469992"/>
                  <a:pt x="4142368" y="2500938"/>
                </a:cubicBezTo>
                <a:lnTo>
                  <a:pt x="4487662" y="2506232"/>
                </a:lnTo>
                <a:lnTo>
                  <a:pt x="4478946" y="2516025"/>
                </a:lnTo>
                <a:cubicBezTo>
                  <a:pt x="4323826" y="2685060"/>
                  <a:pt x="4167516" y="2838617"/>
                  <a:pt x="4013587" y="3023129"/>
                </a:cubicBezTo>
                <a:close/>
              </a:path>
            </a:pathLst>
          </a:custGeom>
          <a:solidFill>
            <a:schemeClr val="accent1">
              <a:lumMod val="100000"/>
              <a:alpha val="3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cs typeface="+mn-cs"/>
            </a:endParaRPr>
          </a:p>
        </p:txBody>
      </p:sp>
      <p:sp>
        <p:nvSpPr>
          <p:cNvPr id="58" name="Freeform 130">
            <a:extLst>
              <a:ext uri="{FF2B5EF4-FFF2-40B4-BE49-F238E27FC236}">
                <a16:creationId xmlns:a16="http://schemas.microsoft.com/office/drawing/2014/main" id="{2F13D47C-CB93-48B0-8140-52ADF146E87E}"/>
              </a:ext>
            </a:extLst>
          </p:cNvPr>
          <p:cNvSpPr/>
          <p:nvPr/>
        </p:nvSpPr>
        <p:spPr>
          <a:xfrm flipV="1">
            <a:off x="9466717" y="1454607"/>
            <a:ext cx="337153" cy="121507"/>
          </a:xfrm>
          <a:custGeom>
            <a:avLst/>
            <a:gdLst>
              <a:gd name="connsiteX0" fmla="*/ 4824565 w 8389608"/>
              <a:gd name="connsiteY0" fmla="*/ 2503843 h 3023545"/>
              <a:gd name="connsiteX1" fmla="*/ 4799462 w 8389608"/>
              <a:gd name="connsiteY1" fmla="*/ 2503501 h 3023545"/>
              <a:gd name="connsiteX2" fmla="*/ 4852826 w 8389608"/>
              <a:gd name="connsiteY2" fmla="*/ 2502501 h 3023545"/>
              <a:gd name="connsiteX3" fmla="*/ 4013587 w 8389608"/>
              <a:gd name="connsiteY3" fmla="*/ 3023129 h 3023545"/>
              <a:gd name="connsiteX4" fmla="*/ 5356639 w 8389608"/>
              <a:gd name="connsiteY4" fmla="*/ 2584955 h 3023545"/>
              <a:gd name="connsiteX5" fmla="*/ 5463093 w 8389608"/>
              <a:gd name="connsiteY5" fmla="*/ 2477611 h 3023545"/>
              <a:gd name="connsiteX6" fmla="*/ 5619697 w 8389608"/>
              <a:gd name="connsiteY6" fmla="*/ 2468698 h 3023545"/>
              <a:gd name="connsiteX7" fmla="*/ 7921832 w 8389608"/>
              <a:gd name="connsiteY7" fmla="*/ 1970527 h 3023545"/>
              <a:gd name="connsiteX8" fmla="*/ 7994163 w 8389608"/>
              <a:gd name="connsiteY8" fmla="*/ 1929993 h 3023545"/>
              <a:gd name="connsiteX9" fmla="*/ 8014712 w 8389608"/>
              <a:gd name="connsiteY9" fmla="*/ 1919925 h 3023545"/>
              <a:gd name="connsiteX10" fmla="*/ 8030939 w 8389608"/>
              <a:gd name="connsiteY10" fmla="*/ 1909384 h 3023545"/>
              <a:gd name="connsiteX11" fmla="*/ 8081923 w 8389608"/>
              <a:gd name="connsiteY11" fmla="*/ 1880813 h 3023545"/>
              <a:gd name="connsiteX12" fmla="*/ 8133596 w 8389608"/>
              <a:gd name="connsiteY12" fmla="*/ 1842701 h 3023545"/>
              <a:gd name="connsiteX13" fmla="*/ 8174648 w 8389608"/>
              <a:gd name="connsiteY13" fmla="*/ 1816035 h 3023545"/>
              <a:gd name="connsiteX14" fmla="*/ 8193502 w 8389608"/>
              <a:gd name="connsiteY14" fmla="*/ 1798516 h 3023545"/>
              <a:gd name="connsiteX15" fmla="*/ 8209765 w 8389608"/>
              <a:gd name="connsiteY15" fmla="*/ 1786521 h 3023545"/>
              <a:gd name="connsiteX16" fmla="*/ 8235573 w 8389608"/>
              <a:gd name="connsiteY16" fmla="*/ 1759426 h 3023545"/>
              <a:gd name="connsiteX17" fmla="*/ 8292256 w 8389608"/>
              <a:gd name="connsiteY17" fmla="*/ 1706758 h 3023545"/>
              <a:gd name="connsiteX18" fmla="*/ 8389608 w 8389608"/>
              <a:gd name="connsiteY18" fmla="*/ 1474982 h 3023545"/>
              <a:gd name="connsiteX19" fmla="*/ 7521469 w 8389608"/>
              <a:gd name="connsiteY19" fmla="*/ 822160 h 3023545"/>
              <a:gd name="connsiteX20" fmla="*/ 7307007 w 8389608"/>
              <a:gd name="connsiteY20" fmla="*/ 758460 h 3023545"/>
              <a:gd name="connsiteX21" fmla="*/ 7295927 w 8389608"/>
              <a:gd name="connsiteY21" fmla="*/ 765818 h 3023545"/>
              <a:gd name="connsiteX22" fmla="*/ 7234731 w 8389608"/>
              <a:gd name="connsiteY22" fmla="*/ 746973 h 3023545"/>
              <a:gd name="connsiteX23" fmla="*/ 5709445 w 8389608"/>
              <a:gd name="connsiteY23" fmla="*/ 501171 h 3023545"/>
              <a:gd name="connsiteX24" fmla="*/ 5371664 w 8389608"/>
              <a:gd name="connsiteY24" fmla="*/ 477725 h 3023545"/>
              <a:gd name="connsiteX25" fmla="*/ 5275791 w 8389608"/>
              <a:gd name="connsiteY25" fmla="*/ 381051 h 3023545"/>
              <a:gd name="connsiteX26" fmla="*/ 4108936 w 8389608"/>
              <a:gd name="connsiteY26" fmla="*/ 361 h 3023545"/>
              <a:gd name="connsiteX27" fmla="*/ 4513244 w 8389608"/>
              <a:gd name="connsiteY27" fmla="*/ 440938 h 3023545"/>
              <a:gd name="connsiteX28" fmla="*/ 4526150 w 8389608"/>
              <a:gd name="connsiteY28" fmla="*/ 455439 h 3023545"/>
              <a:gd name="connsiteX29" fmla="*/ 4813521 w 8389608"/>
              <a:gd name="connsiteY29" fmla="*/ 451522 h 3023545"/>
              <a:gd name="connsiteX30" fmla="*/ 4983493 w 8389608"/>
              <a:gd name="connsiteY30" fmla="*/ 459591 h 3023545"/>
              <a:gd name="connsiteX31" fmla="*/ 5051396 w 8389608"/>
              <a:gd name="connsiteY31" fmla="*/ 463781 h 3023545"/>
              <a:gd name="connsiteX32" fmla="*/ 4967624 w 8389608"/>
              <a:gd name="connsiteY32" fmla="*/ 460330 h 3023545"/>
              <a:gd name="connsiteX33" fmla="*/ 4578915 w 8389608"/>
              <a:gd name="connsiteY33" fmla="*/ 455031 h 3023545"/>
              <a:gd name="connsiteX34" fmla="*/ 1426428 w 8389608"/>
              <a:gd name="connsiteY34" fmla="*/ 907517 h 3023545"/>
              <a:gd name="connsiteX35" fmla="*/ 1253650 w 8389608"/>
              <a:gd name="connsiteY35" fmla="*/ 984292 h 3023545"/>
              <a:gd name="connsiteX36" fmla="*/ 198320 w 8389608"/>
              <a:gd name="connsiteY36" fmla="*/ 796503 h 3023545"/>
              <a:gd name="connsiteX37" fmla="*/ 777185 w 8389608"/>
              <a:gd name="connsiteY37" fmla="*/ 1490381 h 3023545"/>
              <a:gd name="connsiteX38" fmla="*/ 0 w 8389608"/>
              <a:gd name="connsiteY38" fmla="*/ 2421982 h 3023545"/>
              <a:gd name="connsiteX39" fmla="*/ 1561940 w 8389608"/>
              <a:gd name="connsiteY39" fmla="*/ 2104065 h 3023545"/>
              <a:gd name="connsiteX40" fmla="*/ 1645285 w 8389608"/>
              <a:gd name="connsiteY40" fmla="*/ 2134153 h 3023545"/>
              <a:gd name="connsiteX41" fmla="*/ 4142368 w 8389608"/>
              <a:gd name="connsiteY41" fmla="*/ 2500938 h 3023545"/>
              <a:gd name="connsiteX42" fmla="*/ 4487662 w 8389608"/>
              <a:gd name="connsiteY42" fmla="*/ 2506232 h 3023545"/>
              <a:gd name="connsiteX43" fmla="*/ 4478946 w 8389608"/>
              <a:gd name="connsiteY43" fmla="*/ 2516025 h 3023545"/>
              <a:gd name="connsiteX44" fmla="*/ 4013587 w 8389608"/>
              <a:gd name="connsiteY44" fmla="*/ 3023129 h 3023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8389608" h="3023545">
                <a:moveTo>
                  <a:pt x="4824565" y="2503843"/>
                </a:moveTo>
                <a:lnTo>
                  <a:pt x="4799462" y="2503501"/>
                </a:lnTo>
                <a:lnTo>
                  <a:pt x="4852826" y="2502501"/>
                </a:lnTo>
                <a:close/>
                <a:moveTo>
                  <a:pt x="4013587" y="3023129"/>
                </a:moveTo>
                <a:cubicBezTo>
                  <a:pt x="4534369" y="3028376"/>
                  <a:pt x="4992271" y="2989607"/>
                  <a:pt x="5356639" y="2584955"/>
                </a:cubicBezTo>
                <a:lnTo>
                  <a:pt x="5463093" y="2477611"/>
                </a:lnTo>
                <a:lnTo>
                  <a:pt x="5619697" y="2468698"/>
                </a:lnTo>
                <a:cubicBezTo>
                  <a:pt x="6611999" y="2392619"/>
                  <a:pt x="7438990" y="2210469"/>
                  <a:pt x="7921832" y="1970527"/>
                </a:cubicBezTo>
                <a:lnTo>
                  <a:pt x="7994163" y="1929993"/>
                </a:lnTo>
                <a:lnTo>
                  <a:pt x="8014712" y="1919925"/>
                </a:lnTo>
                <a:lnTo>
                  <a:pt x="8030939" y="1909384"/>
                </a:lnTo>
                <a:lnTo>
                  <a:pt x="8081923" y="1880813"/>
                </a:lnTo>
                <a:lnTo>
                  <a:pt x="8133596" y="1842701"/>
                </a:lnTo>
                <a:lnTo>
                  <a:pt x="8174648" y="1816035"/>
                </a:lnTo>
                <a:lnTo>
                  <a:pt x="8193502" y="1798516"/>
                </a:lnTo>
                <a:lnTo>
                  <a:pt x="8209765" y="1786521"/>
                </a:lnTo>
                <a:lnTo>
                  <a:pt x="8235573" y="1759426"/>
                </a:lnTo>
                <a:lnTo>
                  <a:pt x="8292256" y="1706758"/>
                </a:lnTo>
                <a:cubicBezTo>
                  <a:pt x="8355948" y="1632275"/>
                  <a:pt x="8389608" y="1554689"/>
                  <a:pt x="8389608" y="1474982"/>
                </a:cubicBezTo>
                <a:cubicBezTo>
                  <a:pt x="8389608" y="1227002"/>
                  <a:pt x="8063814" y="999565"/>
                  <a:pt x="7521469" y="822160"/>
                </a:cubicBezTo>
                <a:lnTo>
                  <a:pt x="7307007" y="758460"/>
                </a:lnTo>
                <a:lnTo>
                  <a:pt x="7295927" y="765818"/>
                </a:lnTo>
                <a:lnTo>
                  <a:pt x="7234731" y="746973"/>
                </a:lnTo>
                <a:cubicBezTo>
                  <a:pt x="6810517" y="635154"/>
                  <a:pt x="6289788" y="549899"/>
                  <a:pt x="5709445" y="501171"/>
                </a:cubicBezTo>
                <a:lnTo>
                  <a:pt x="5371664" y="477725"/>
                </a:lnTo>
                <a:lnTo>
                  <a:pt x="5275791" y="381051"/>
                </a:lnTo>
                <a:cubicBezTo>
                  <a:pt x="4959225" y="29486"/>
                  <a:pt x="4561396" y="-4197"/>
                  <a:pt x="4108936" y="361"/>
                </a:cubicBezTo>
                <a:cubicBezTo>
                  <a:pt x="4242671" y="160667"/>
                  <a:pt x="4378474" y="294079"/>
                  <a:pt x="4513244" y="440938"/>
                </a:cubicBezTo>
                <a:lnTo>
                  <a:pt x="4526150" y="455439"/>
                </a:lnTo>
                <a:lnTo>
                  <a:pt x="4813521" y="451522"/>
                </a:lnTo>
                <a:cubicBezTo>
                  <a:pt x="4870527" y="451522"/>
                  <a:pt x="4927196" y="455366"/>
                  <a:pt x="4983493" y="459591"/>
                </a:cubicBezTo>
                <a:lnTo>
                  <a:pt x="5051396" y="463781"/>
                </a:lnTo>
                <a:lnTo>
                  <a:pt x="4967624" y="460330"/>
                </a:lnTo>
                <a:cubicBezTo>
                  <a:pt x="4839820" y="456826"/>
                  <a:pt x="4710144" y="455031"/>
                  <a:pt x="4578915" y="455031"/>
                </a:cubicBezTo>
                <a:cubicBezTo>
                  <a:pt x="3266628" y="455031"/>
                  <a:pt x="2109634" y="634519"/>
                  <a:pt x="1426428" y="907517"/>
                </a:cubicBezTo>
                <a:lnTo>
                  <a:pt x="1253650" y="984292"/>
                </a:lnTo>
                <a:lnTo>
                  <a:pt x="198320" y="796503"/>
                </a:lnTo>
                <a:lnTo>
                  <a:pt x="777185" y="1490381"/>
                </a:lnTo>
                <a:lnTo>
                  <a:pt x="0" y="2421982"/>
                </a:lnTo>
                <a:lnTo>
                  <a:pt x="1561940" y="2104065"/>
                </a:lnTo>
                <a:lnTo>
                  <a:pt x="1645285" y="2134153"/>
                </a:lnTo>
                <a:cubicBezTo>
                  <a:pt x="2255423" y="2333734"/>
                  <a:pt x="3139632" y="2469992"/>
                  <a:pt x="4142368" y="2500938"/>
                </a:cubicBezTo>
                <a:lnTo>
                  <a:pt x="4487662" y="2506232"/>
                </a:lnTo>
                <a:lnTo>
                  <a:pt x="4478946" y="2516025"/>
                </a:lnTo>
                <a:cubicBezTo>
                  <a:pt x="4323826" y="2685060"/>
                  <a:pt x="4167516" y="2838617"/>
                  <a:pt x="4013587" y="3023129"/>
                </a:cubicBezTo>
                <a:close/>
              </a:path>
            </a:pathLst>
          </a:custGeom>
          <a:solidFill>
            <a:schemeClr val="accent1">
              <a:lumMod val="100000"/>
              <a:alpha val="3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cs typeface="+mn-cs"/>
            </a:endParaRPr>
          </a:p>
        </p:txBody>
      </p:sp>
    </p:spTree>
    <p:extLst>
      <p:ext uri="{BB962C8B-B14F-4D97-AF65-F5344CB8AC3E}">
        <p14:creationId xmlns:p14="http://schemas.microsoft.com/office/powerpoint/2010/main" val="3262537259"/>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accel="60000" fill="hold" nodeType="afterEffect" p14:presetBounceEnd="16000">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14:bounceEnd="16000">
                                          <p:cBhvr additive="base">
                                            <p:cTn id="7" dur="750" fill="hold"/>
                                            <p:tgtEl>
                                              <p:spTgt spid="2"/>
                                            </p:tgtEl>
                                            <p:attrNameLst>
                                              <p:attrName>ppt_x</p:attrName>
                                            </p:attrNameLst>
                                          </p:cBhvr>
                                          <p:tavLst>
                                            <p:tav tm="0">
                                              <p:val>
                                                <p:strVal val="0-#ppt_w/2"/>
                                              </p:val>
                                            </p:tav>
                                            <p:tav tm="100000">
                                              <p:val>
                                                <p:strVal val="#ppt_x"/>
                                              </p:val>
                                            </p:tav>
                                          </p:tavLst>
                                        </p:anim>
                                        <p:anim calcmode="lin" valueType="num" p14:bounceEnd="16000">
                                          <p:cBhvr additive="base">
                                            <p:cTn id="8" dur="750" fill="hold"/>
                                            <p:tgtEl>
                                              <p:spTgt spid="2"/>
                                            </p:tgtEl>
                                            <p:attrNameLst>
                                              <p:attrName>ppt_y</p:attrName>
                                            </p:attrNameLst>
                                          </p:cBhvr>
                                          <p:tavLst>
                                            <p:tav tm="0">
                                              <p:val>
                                                <p:strVal val="#ppt_y"/>
                                              </p:val>
                                            </p:tav>
                                            <p:tav tm="100000">
                                              <p:val>
                                                <p:strVal val="#ppt_y"/>
                                              </p:val>
                                            </p:tav>
                                          </p:tavLst>
                                        </p:anim>
                                      </p:childTnLst>
                                    </p:cTn>
                                  </p:par>
                                </p:childTnLst>
                              </p:cTn>
                            </p:par>
                            <p:par>
                              <p:cTn id="9" fill="hold">
                                <p:stCondLst>
                                  <p:cond delay="750"/>
                                </p:stCondLst>
                                <p:childTnLst>
                                  <p:par>
                                    <p:cTn id="10" presetID="53" presetClass="entr" presetSubtype="16" fill="hold" grpId="0" nodeType="afterEffect">
                                      <p:stCondLst>
                                        <p:cond delay="0"/>
                                      </p:stCondLst>
                                      <p:childTnLst>
                                        <p:set>
                                          <p:cBhvr>
                                            <p:cTn id="11" dur="1" fill="hold">
                                              <p:stCondLst>
                                                <p:cond delay="0"/>
                                              </p:stCondLst>
                                            </p:cTn>
                                            <p:tgtEl>
                                              <p:spTgt spid="26"/>
                                            </p:tgtEl>
                                            <p:attrNameLst>
                                              <p:attrName>style.visibility</p:attrName>
                                            </p:attrNameLst>
                                          </p:cBhvr>
                                          <p:to>
                                            <p:strVal val="visible"/>
                                          </p:to>
                                        </p:set>
                                        <p:anim calcmode="lin" valueType="num">
                                          <p:cBhvr>
                                            <p:cTn id="12" dur="750" fill="hold"/>
                                            <p:tgtEl>
                                              <p:spTgt spid="26"/>
                                            </p:tgtEl>
                                            <p:attrNameLst>
                                              <p:attrName>ppt_w</p:attrName>
                                            </p:attrNameLst>
                                          </p:cBhvr>
                                          <p:tavLst>
                                            <p:tav tm="0">
                                              <p:val>
                                                <p:fltVal val="0"/>
                                              </p:val>
                                            </p:tav>
                                            <p:tav tm="100000">
                                              <p:val>
                                                <p:strVal val="#ppt_w"/>
                                              </p:val>
                                            </p:tav>
                                          </p:tavLst>
                                        </p:anim>
                                        <p:anim calcmode="lin" valueType="num">
                                          <p:cBhvr>
                                            <p:cTn id="13" dur="750" fill="hold"/>
                                            <p:tgtEl>
                                              <p:spTgt spid="26"/>
                                            </p:tgtEl>
                                            <p:attrNameLst>
                                              <p:attrName>ppt_h</p:attrName>
                                            </p:attrNameLst>
                                          </p:cBhvr>
                                          <p:tavLst>
                                            <p:tav tm="0">
                                              <p:val>
                                                <p:fltVal val="0"/>
                                              </p:val>
                                            </p:tav>
                                            <p:tav tm="100000">
                                              <p:val>
                                                <p:strVal val="#ppt_h"/>
                                              </p:val>
                                            </p:tav>
                                          </p:tavLst>
                                        </p:anim>
                                        <p:animEffect transition="in" filter="fade">
                                          <p:cBhvr>
                                            <p:cTn id="14" dur="750"/>
                                            <p:tgtEl>
                                              <p:spTgt spid="26"/>
                                            </p:tgtEl>
                                          </p:cBhvr>
                                        </p:animEffect>
                                      </p:childTnLst>
                                    </p:cTn>
                                  </p:par>
                                  <p:par>
                                    <p:cTn id="15" presetID="22" presetClass="entr" presetSubtype="4" fill="hold" nodeType="withEffect">
                                      <p:stCondLst>
                                        <p:cond delay="750"/>
                                      </p:stCondLst>
                                      <p:childTnLst>
                                        <p:set>
                                          <p:cBhvr>
                                            <p:cTn id="16" dur="1" fill="hold">
                                              <p:stCondLst>
                                                <p:cond delay="0"/>
                                              </p:stCondLst>
                                            </p:cTn>
                                            <p:tgtEl>
                                              <p:spTgt spid="30"/>
                                            </p:tgtEl>
                                            <p:attrNameLst>
                                              <p:attrName>style.visibility</p:attrName>
                                            </p:attrNameLst>
                                          </p:cBhvr>
                                          <p:to>
                                            <p:strVal val="visible"/>
                                          </p:to>
                                        </p:set>
                                        <p:animEffect transition="in" filter="wipe(down)">
                                          <p:cBhvr>
                                            <p:cTn id="17" dur="500"/>
                                            <p:tgtEl>
                                              <p:spTgt spid="30"/>
                                            </p:tgtEl>
                                          </p:cBhvr>
                                        </p:animEffect>
                                      </p:childTnLst>
                                    </p:cTn>
                                  </p:par>
                                  <p:par>
                                    <p:cTn id="18" presetID="22" presetClass="entr" presetSubtype="4" fill="hold" nodeType="withEffect">
                                      <p:stCondLst>
                                        <p:cond delay="1250"/>
                                      </p:stCondLst>
                                      <p:childTnLst>
                                        <p:set>
                                          <p:cBhvr>
                                            <p:cTn id="19" dur="1" fill="hold">
                                              <p:stCondLst>
                                                <p:cond delay="0"/>
                                              </p:stCondLst>
                                            </p:cTn>
                                            <p:tgtEl>
                                              <p:spTgt spid="34"/>
                                            </p:tgtEl>
                                            <p:attrNameLst>
                                              <p:attrName>style.visibility</p:attrName>
                                            </p:attrNameLst>
                                          </p:cBhvr>
                                          <p:to>
                                            <p:strVal val="visible"/>
                                          </p:to>
                                        </p:set>
                                        <p:animEffect transition="in" filter="wipe(down)">
                                          <p:cBhvr>
                                            <p:cTn id="20" dur="500"/>
                                            <p:tgtEl>
                                              <p:spTgt spid="34"/>
                                            </p:tgtEl>
                                          </p:cBhvr>
                                        </p:animEffect>
                                      </p:childTnLst>
                                    </p:cTn>
                                  </p:par>
                                  <p:par>
                                    <p:cTn id="21" presetID="53" presetClass="entr" presetSubtype="16" fill="hold" grpId="0" nodeType="withEffect">
                                      <p:stCondLst>
                                        <p:cond delay="1750"/>
                                      </p:stCondLst>
                                      <p:childTnLst>
                                        <p:set>
                                          <p:cBhvr>
                                            <p:cTn id="22" dur="1" fill="hold">
                                              <p:stCondLst>
                                                <p:cond delay="0"/>
                                              </p:stCondLst>
                                            </p:cTn>
                                            <p:tgtEl>
                                              <p:spTgt spid="27"/>
                                            </p:tgtEl>
                                            <p:attrNameLst>
                                              <p:attrName>style.visibility</p:attrName>
                                            </p:attrNameLst>
                                          </p:cBhvr>
                                          <p:to>
                                            <p:strVal val="visible"/>
                                          </p:to>
                                        </p:set>
                                        <p:anim calcmode="lin" valueType="num">
                                          <p:cBhvr>
                                            <p:cTn id="23" dur="750" fill="hold"/>
                                            <p:tgtEl>
                                              <p:spTgt spid="27"/>
                                            </p:tgtEl>
                                            <p:attrNameLst>
                                              <p:attrName>ppt_w</p:attrName>
                                            </p:attrNameLst>
                                          </p:cBhvr>
                                          <p:tavLst>
                                            <p:tav tm="0">
                                              <p:val>
                                                <p:fltVal val="0"/>
                                              </p:val>
                                            </p:tav>
                                            <p:tav tm="100000">
                                              <p:val>
                                                <p:strVal val="#ppt_w"/>
                                              </p:val>
                                            </p:tav>
                                          </p:tavLst>
                                        </p:anim>
                                        <p:anim calcmode="lin" valueType="num">
                                          <p:cBhvr>
                                            <p:cTn id="24" dur="750" fill="hold"/>
                                            <p:tgtEl>
                                              <p:spTgt spid="27"/>
                                            </p:tgtEl>
                                            <p:attrNameLst>
                                              <p:attrName>ppt_h</p:attrName>
                                            </p:attrNameLst>
                                          </p:cBhvr>
                                          <p:tavLst>
                                            <p:tav tm="0">
                                              <p:val>
                                                <p:fltVal val="0"/>
                                              </p:val>
                                            </p:tav>
                                            <p:tav tm="100000">
                                              <p:val>
                                                <p:strVal val="#ppt_h"/>
                                              </p:val>
                                            </p:tav>
                                          </p:tavLst>
                                        </p:anim>
                                        <p:animEffect transition="in" filter="fade">
                                          <p:cBhvr>
                                            <p:cTn id="25" dur="750"/>
                                            <p:tgtEl>
                                              <p:spTgt spid="27"/>
                                            </p:tgtEl>
                                          </p:cBhvr>
                                        </p:animEffect>
                                      </p:childTnLst>
                                    </p:cTn>
                                  </p:par>
                                  <p:par>
                                    <p:cTn id="26" presetID="22" presetClass="entr" presetSubtype="4" fill="hold" nodeType="withEffect">
                                      <p:stCondLst>
                                        <p:cond delay="2500"/>
                                      </p:stCondLst>
                                      <p:childTnLst>
                                        <p:set>
                                          <p:cBhvr>
                                            <p:cTn id="27" dur="1" fill="hold">
                                              <p:stCondLst>
                                                <p:cond delay="0"/>
                                              </p:stCondLst>
                                            </p:cTn>
                                            <p:tgtEl>
                                              <p:spTgt spid="31"/>
                                            </p:tgtEl>
                                            <p:attrNameLst>
                                              <p:attrName>style.visibility</p:attrName>
                                            </p:attrNameLst>
                                          </p:cBhvr>
                                          <p:to>
                                            <p:strVal val="visible"/>
                                          </p:to>
                                        </p:set>
                                        <p:animEffect transition="in" filter="wipe(down)">
                                          <p:cBhvr>
                                            <p:cTn id="28" dur="500"/>
                                            <p:tgtEl>
                                              <p:spTgt spid="31"/>
                                            </p:tgtEl>
                                          </p:cBhvr>
                                        </p:animEffect>
                                      </p:childTnLst>
                                    </p:cTn>
                                  </p:par>
                                  <p:par>
                                    <p:cTn id="29" presetID="22" presetClass="entr" presetSubtype="4" fill="hold" nodeType="withEffect">
                                      <p:stCondLst>
                                        <p:cond delay="3000"/>
                                      </p:stCondLst>
                                      <p:childTnLst>
                                        <p:set>
                                          <p:cBhvr>
                                            <p:cTn id="30" dur="1" fill="hold">
                                              <p:stCondLst>
                                                <p:cond delay="0"/>
                                              </p:stCondLst>
                                            </p:cTn>
                                            <p:tgtEl>
                                              <p:spTgt spid="37"/>
                                            </p:tgtEl>
                                            <p:attrNameLst>
                                              <p:attrName>style.visibility</p:attrName>
                                            </p:attrNameLst>
                                          </p:cBhvr>
                                          <p:to>
                                            <p:strVal val="visible"/>
                                          </p:to>
                                        </p:set>
                                        <p:animEffect transition="in" filter="wipe(down)">
                                          <p:cBhvr>
                                            <p:cTn id="31" dur="500"/>
                                            <p:tgtEl>
                                              <p:spTgt spid="37"/>
                                            </p:tgtEl>
                                          </p:cBhvr>
                                        </p:animEffect>
                                      </p:childTnLst>
                                    </p:cTn>
                                  </p:par>
                                  <p:par>
                                    <p:cTn id="32" presetID="53" presetClass="entr" presetSubtype="16" fill="hold" grpId="0" nodeType="withEffect">
                                      <p:stCondLst>
                                        <p:cond delay="3500"/>
                                      </p:stCondLst>
                                      <p:childTnLst>
                                        <p:set>
                                          <p:cBhvr>
                                            <p:cTn id="33" dur="1" fill="hold">
                                              <p:stCondLst>
                                                <p:cond delay="0"/>
                                              </p:stCondLst>
                                            </p:cTn>
                                            <p:tgtEl>
                                              <p:spTgt spid="28"/>
                                            </p:tgtEl>
                                            <p:attrNameLst>
                                              <p:attrName>style.visibility</p:attrName>
                                            </p:attrNameLst>
                                          </p:cBhvr>
                                          <p:to>
                                            <p:strVal val="visible"/>
                                          </p:to>
                                        </p:set>
                                        <p:anim calcmode="lin" valueType="num">
                                          <p:cBhvr>
                                            <p:cTn id="34" dur="750" fill="hold"/>
                                            <p:tgtEl>
                                              <p:spTgt spid="28"/>
                                            </p:tgtEl>
                                            <p:attrNameLst>
                                              <p:attrName>ppt_w</p:attrName>
                                            </p:attrNameLst>
                                          </p:cBhvr>
                                          <p:tavLst>
                                            <p:tav tm="0">
                                              <p:val>
                                                <p:fltVal val="0"/>
                                              </p:val>
                                            </p:tav>
                                            <p:tav tm="100000">
                                              <p:val>
                                                <p:strVal val="#ppt_w"/>
                                              </p:val>
                                            </p:tav>
                                          </p:tavLst>
                                        </p:anim>
                                        <p:anim calcmode="lin" valueType="num">
                                          <p:cBhvr>
                                            <p:cTn id="35" dur="750" fill="hold"/>
                                            <p:tgtEl>
                                              <p:spTgt spid="28"/>
                                            </p:tgtEl>
                                            <p:attrNameLst>
                                              <p:attrName>ppt_h</p:attrName>
                                            </p:attrNameLst>
                                          </p:cBhvr>
                                          <p:tavLst>
                                            <p:tav tm="0">
                                              <p:val>
                                                <p:fltVal val="0"/>
                                              </p:val>
                                            </p:tav>
                                            <p:tav tm="100000">
                                              <p:val>
                                                <p:strVal val="#ppt_h"/>
                                              </p:val>
                                            </p:tav>
                                          </p:tavLst>
                                        </p:anim>
                                        <p:animEffect transition="in" filter="fade">
                                          <p:cBhvr>
                                            <p:cTn id="36" dur="750"/>
                                            <p:tgtEl>
                                              <p:spTgt spid="28"/>
                                            </p:tgtEl>
                                          </p:cBhvr>
                                        </p:animEffect>
                                      </p:childTnLst>
                                    </p:cTn>
                                  </p:par>
                                  <p:par>
                                    <p:cTn id="37" presetID="22" presetClass="entr" presetSubtype="4" fill="hold" nodeType="withEffect">
                                      <p:stCondLst>
                                        <p:cond delay="4250"/>
                                      </p:stCondLst>
                                      <p:childTnLst>
                                        <p:set>
                                          <p:cBhvr>
                                            <p:cTn id="38" dur="1" fill="hold">
                                              <p:stCondLst>
                                                <p:cond delay="0"/>
                                              </p:stCondLst>
                                            </p:cTn>
                                            <p:tgtEl>
                                              <p:spTgt spid="32"/>
                                            </p:tgtEl>
                                            <p:attrNameLst>
                                              <p:attrName>style.visibility</p:attrName>
                                            </p:attrNameLst>
                                          </p:cBhvr>
                                          <p:to>
                                            <p:strVal val="visible"/>
                                          </p:to>
                                        </p:set>
                                        <p:animEffect transition="in" filter="wipe(down)">
                                          <p:cBhvr>
                                            <p:cTn id="39" dur="500"/>
                                            <p:tgtEl>
                                              <p:spTgt spid="32"/>
                                            </p:tgtEl>
                                          </p:cBhvr>
                                        </p:animEffect>
                                      </p:childTnLst>
                                    </p:cTn>
                                  </p:par>
                                  <p:par>
                                    <p:cTn id="40" presetID="22" presetClass="entr" presetSubtype="4" fill="hold" nodeType="withEffect">
                                      <p:stCondLst>
                                        <p:cond delay="4750"/>
                                      </p:stCondLst>
                                      <p:childTnLst>
                                        <p:set>
                                          <p:cBhvr>
                                            <p:cTn id="41" dur="1" fill="hold">
                                              <p:stCondLst>
                                                <p:cond delay="0"/>
                                              </p:stCondLst>
                                            </p:cTn>
                                            <p:tgtEl>
                                              <p:spTgt spid="40"/>
                                            </p:tgtEl>
                                            <p:attrNameLst>
                                              <p:attrName>style.visibility</p:attrName>
                                            </p:attrNameLst>
                                          </p:cBhvr>
                                          <p:to>
                                            <p:strVal val="visible"/>
                                          </p:to>
                                        </p:set>
                                        <p:animEffect transition="in" filter="wipe(down)">
                                          <p:cBhvr>
                                            <p:cTn id="42" dur="500"/>
                                            <p:tgtEl>
                                              <p:spTgt spid="40"/>
                                            </p:tgtEl>
                                          </p:cBhvr>
                                        </p:animEffect>
                                      </p:childTnLst>
                                    </p:cTn>
                                  </p:par>
                                  <p:par>
                                    <p:cTn id="43" presetID="53" presetClass="entr" presetSubtype="16" fill="hold" grpId="0" nodeType="withEffect">
                                      <p:stCondLst>
                                        <p:cond delay="5250"/>
                                      </p:stCondLst>
                                      <p:childTnLst>
                                        <p:set>
                                          <p:cBhvr>
                                            <p:cTn id="44" dur="1" fill="hold">
                                              <p:stCondLst>
                                                <p:cond delay="0"/>
                                              </p:stCondLst>
                                            </p:cTn>
                                            <p:tgtEl>
                                              <p:spTgt spid="29"/>
                                            </p:tgtEl>
                                            <p:attrNameLst>
                                              <p:attrName>style.visibility</p:attrName>
                                            </p:attrNameLst>
                                          </p:cBhvr>
                                          <p:to>
                                            <p:strVal val="visible"/>
                                          </p:to>
                                        </p:set>
                                        <p:anim calcmode="lin" valueType="num">
                                          <p:cBhvr>
                                            <p:cTn id="45" dur="750" fill="hold"/>
                                            <p:tgtEl>
                                              <p:spTgt spid="29"/>
                                            </p:tgtEl>
                                            <p:attrNameLst>
                                              <p:attrName>ppt_w</p:attrName>
                                            </p:attrNameLst>
                                          </p:cBhvr>
                                          <p:tavLst>
                                            <p:tav tm="0">
                                              <p:val>
                                                <p:fltVal val="0"/>
                                              </p:val>
                                            </p:tav>
                                            <p:tav tm="100000">
                                              <p:val>
                                                <p:strVal val="#ppt_w"/>
                                              </p:val>
                                            </p:tav>
                                          </p:tavLst>
                                        </p:anim>
                                        <p:anim calcmode="lin" valueType="num">
                                          <p:cBhvr>
                                            <p:cTn id="46" dur="750" fill="hold"/>
                                            <p:tgtEl>
                                              <p:spTgt spid="29"/>
                                            </p:tgtEl>
                                            <p:attrNameLst>
                                              <p:attrName>ppt_h</p:attrName>
                                            </p:attrNameLst>
                                          </p:cBhvr>
                                          <p:tavLst>
                                            <p:tav tm="0">
                                              <p:val>
                                                <p:fltVal val="0"/>
                                              </p:val>
                                            </p:tav>
                                            <p:tav tm="100000">
                                              <p:val>
                                                <p:strVal val="#ppt_h"/>
                                              </p:val>
                                            </p:tav>
                                          </p:tavLst>
                                        </p:anim>
                                        <p:animEffect transition="in" filter="fade">
                                          <p:cBhvr>
                                            <p:cTn id="47" dur="750"/>
                                            <p:tgtEl>
                                              <p:spTgt spid="29"/>
                                            </p:tgtEl>
                                          </p:cBhvr>
                                        </p:animEffect>
                                      </p:childTnLst>
                                    </p:cTn>
                                  </p:par>
                                  <p:par>
                                    <p:cTn id="48" presetID="22" presetClass="entr" presetSubtype="4" fill="hold" nodeType="withEffect">
                                      <p:stCondLst>
                                        <p:cond delay="6000"/>
                                      </p:stCondLst>
                                      <p:childTnLst>
                                        <p:set>
                                          <p:cBhvr>
                                            <p:cTn id="49" dur="1" fill="hold">
                                              <p:stCondLst>
                                                <p:cond delay="0"/>
                                              </p:stCondLst>
                                            </p:cTn>
                                            <p:tgtEl>
                                              <p:spTgt spid="33"/>
                                            </p:tgtEl>
                                            <p:attrNameLst>
                                              <p:attrName>style.visibility</p:attrName>
                                            </p:attrNameLst>
                                          </p:cBhvr>
                                          <p:to>
                                            <p:strVal val="visible"/>
                                          </p:to>
                                        </p:set>
                                        <p:animEffect transition="in" filter="wipe(down)">
                                          <p:cBhvr>
                                            <p:cTn id="50" dur="500"/>
                                            <p:tgtEl>
                                              <p:spTgt spid="33"/>
                                            </p:tgtEl>
                                          </p:cBhvr>
                                        </p:animEffect>
                                      </p:childTnLst>
                                    </p:cTn>
                                  </p:par>
                                  <p:par>
                                    <p:cTn id="51" presetID="22" presetClass="entr" presetSubtype="4" fill="hold" nodeType="withEffect">
                                      <p:stCondLst>
                                        <p:cond delay="6500"/>
                                      </p:stCondLst>
                                      <p:childTnLst>
                                        <p:set>
                                          <p:cBhvr>
                                            <p:cTn id="52" dur="1" fill="hold">
                                              <p:stCondLst>
                                                <p:cond delay="0"/>
                                              </p:stCondLst>
                                            </p:cTn>
                                            <p:tgtEl>
                                              <p:spTgt spid="43"/>
                                            </p:tgtEl>
                                            <p:attrNameLst>
                                              <p:attrName>style.visibility</p:attrName>
                                            </p:attrNameLst>
                                          </p:cBhvr>
                                          <p:to>
                                            <p:strVal val="visible"/>
                                          </p:to>
                                        </p:set>
                                        <p:animEffect transition="in" filter="wipe(down)">
                                          <p:cBhvr>
                                            <p:cTn id="53" dur="500"/>
                                            <p:tgtEl>
                                              <p:spTgt spid="43"/>
                                            </p:tgtEl>
                                          </p:cBhvr>
                                        </p:animEffect>
                                      </p:childTnLst>
                                    </p:cTn>
                                  </p:par>
                                  <p:par>
                                    <p:cTn id="54" presetID="26" presetClass="emph" presetSubtype="0" fill="hold" grpId="0" nodeType="withEffect">
                                      <p:stCondLst>
                                        <p:cond delay="0"/>
                                      </p:stCondLst>
                                      <p:childTnLst>
                                        <p:animEffect transition="out" filter="fade">
                                          <p:cBhvr>
                                            <p:cTn id="55" dur="3750" tmFilter="0, 0; .2, .5; .8, .5; 1, 0"/>
                                            <p:tgtEl>
                                              <p:spTgt spid="56"/>
                                            </p:tgtEl>
                                          </p:cBhvr>
                                        </p:animEffect>
                                        <p:animScale>
                                          <p:cBhvr>
                                            <p:cTn id="56" dur="1875" autoRev="1" fill="hold"/>
                                            <p:tgtEl>
                                              <p:spTgt spid="56"/>
                                            </p:tgtEl>
                                          </p:cBhvr>
                                          <p:by x="105000" y="105000"/>
                                        </p:animScale>
                                      </p:childTnLst>
                                    </p:cTn>
                                  </p:par>
                                  <p:par>
                                    <p:cTn id="57" presetID="38" presetClass="path" presetSubtype="0" repeatCount="indefinite" accel="47000" decel="53000" fill="hold" grpId="1" nodeType="withEffect">
                                      <p:stCondLst>
                                        <p:cond delay="0"/>
                                      </p:stCondLst>
                                      <p:childTnLst>
                                        <p:animMotion origin="layout" path="M -0.00013 -0.01875 L 0.06797 -0.01041 L 0.13164 -0.01875 L 0.19974 -0.01041 L 0.26784 -0.01875 L 0.33151 -0.01041 L 0.39961 -0.01875 L 0.46328 -0.01041 L 0.53151 -0.01875 L 0.59961 -0.01041 L 0.66328 -0.01875 L 0.73138 -0.01041 L 0.79506 -0.01875 L 0.86315 -0.01041 L 0.93125 -0.01875 L 0.99493 -0.01041 L 1.06315 -0.01875 " pathEditMode="relative" rAng="0" ptsTypes="AAAAAAAAAAAAAAAAA">
                                          <p:cBhvr>
                                            <p:cTn id="58" dur="45000" fill="hold"/>
                                            <p:tgtEl>
                                              <p:spTgt spid="56"/>
                                            </p:tgtEl>
                                            <p:attrNameLst>
                                              <p:attrName>ppt_x</p:attrName>
                                              <p:attrName>ppt_y</p:attrName>
                                            </p:attrNameLst>
                                          </p:cBhvr>
                                          <p:rCtr x="53164" y="417"/>
                                        </p:animMotion>
                                      </p:childTnLst>
                                    </p:cTn>
                                  </p:par>
                                  <p:par>
                                    <p:cTn id="59" presetID="26" presetClass="emph" presetSubtype="0" fill="hold" grpId="0" nodeType="withEffect">
                                      <p:stCondLst>
                                        <p:cond delay="250"/>
                                      </p:stCondLst>
                                      <p:childTnLst>
                                        <p:animEffect transition="out" filter="fade">
                                          <p:cBhvr>
                                            <p:cTn id="60" dur="3750" tmFilter="0, 0; .2, .5; .8, .5; 1, 0"/>
                                            <p:tgtEl>
                                              <p:spTgt spid="57"/>
                                            </p:tgtEl>
                                          </p:cBhvr>
                                        </p:animEffect>
                                        <p:animScale>
                                          <p:cBhvr>
                                            <p:cTn id="61" dur="1875" autoRev="1" fill="hold"/>
                                            <p:tgtEl>
                                              <p:spTgt spid="57"/>
                                            </p:tgtEl>
                                          </p:cBhvr>
                                          <p:by x="105000" y="105000"/>
                                        </p:animScale>
                                      </p:childTnLst>
                                    </p:cTn>
                                  </p:par>
                                  <p:par>
                                    <p:cTn id="62" presetID="38" presetClass="path" presetSubtype="0" repeatCount="indefinite" accel="47000" decel="53000" fill="hold" grpId="1" nodeType="withEffect">
                                      <p:stCondLst>
                                        <p:cond delay="250"/>
                                      </p:stCondLst>
                                      <p:childTnLst>
                                        <p:animMotion origin="layout" path="M 0.00104 -0.00972 L 0.07135 -0.00162 L 0.13711 -0.00972 L 0.20755 -0.00162 L 0.27786 -0.00972 L 0.34375 -0.00162 L 0.41406 -0.00972 L 0.47982 -0.00162 L 0.55039 -0.00972 L 0.6207 -0.00162 L 0.68659 -0.00972 L 0.7569 -0.00162 L 0.82279 -0.00972 L 0.8931 -0.00162 L 0.96354 -0.00972 L 1.0293 -0.00162 L 1.09987 -0.00972 " pathEditMode="relative" rAng="0" ptsTypes="AAAAAAAAAAAAAAAAA">
                                          <p:cBhvr>
                                            <p:cTn id="63" dur="45000" fill="hold"/>
                                            <p:tgtEl>
                                              <p:spTgt spid="57"/>
                                            </p:tgtEl>
                                            <p:attrNameLst>
                                              <p:attrName>ppt_x</p:attrName>
                                              <p:attrName>ppt_y</p:attrName>
                                            </p:attrNameLst>
                                          </p:cBhvr>
                                          <p:rCtr x="54935" y="394"/>
                                        </p:animMotion>
                                      </p:childTnLst>
                                    </p:cTn>
                                  </p:par>
                                  <p:par>
                                    <p:cTn id="64" presetID="26" presetClass="emph" presetSubtype="0" fill="hold" grpId="0" nodeType="withEffect">
                                      <p:stCondLst>
                                        <p:cond delay="750"/>
                                      </p:stCondLst>
                                      <p:childTnLst>
                                        <p:animEffect transition="out" filter="fade">
                                          <p:cBhvr>
                                            <p:cTn id="65" dur="3750" tmFilter="0, 0; .2, .5; .8, .5; 1, 0"/>
                                            <p:tgtEl>
                                              <p:spTgt spid="58"/>
                                            </p:tgtEl>
                                          </p:cBhvr>
                                        </p:animEffect>
                                        <p:animScale>
                                          <p:cBhvr>
                                            <p:cTn id="66" dur="1875" autoRev="1" fill="hold"/>
                                            <p:tgtEl>
                                              <p:spTgt spid="58"/>
                                            </p:tgtEl>
                                          </p:cBhvr>
                                          <p:by x="105000" y="105000"/>
                                        </p:animScale>
                                      </p:childTnLst>
                                    </p:cTn>
                                  </p:par>
                                  <p:par>
                                    <p:cTn id="67" presetID="38" presetClass="path" presetSubtype="0" repeatCount="indefinite" accel="47000" decel="53000" fill="hold" grpId="1" nodeType="withEffect">
                                      <p:stCondLst>
                                        <p:cond delay="750"/>
                                      </p:stCondLst>
                                      <p:childTnLst>
                                        <p:animMotion origin="layout" path="M -0.00013 -0.01875 L 0.06797 -0.01041 L 0.13165 -0.01875 L 0.19974 -0.01041 L 0.26784 -0.01875 L 0.33151 -0.01041 L 0.39961 -0.01875 L 0.46329 -0.01041 L 0.53151 -0.01875 L 0.59961 -0.01041 L 0.66329 -0.01875 L 0.73138 -0.01041 L 0.79506 -0.01875 L 0.86316 -0.01041 L 0.93125 -0.01875 L 0.99493 -0.01041 L 1.06316 -0.01875 " pathEditMode="relative" rAng="0" ptsTypes="AAAAAAAAAAAAAAAAA">
                                          <p:cBhvr>
                                            <p:cTn id="68" dur="45000" fill="hold"/>
                                            <p:tgtEl>
                                              <p:spTgt spid="58"/>
                                            </p:tgtEl>
                                            <p:attrNameLst>
                                              <p:attrName>ppt_x</p:attrName>
                                              <p:attrName>ppt_y</p:attrName>
                                            </p:attrNameLst>
                                          </p:cBhvr>
                                          <p:rCtr x="53164" y="417"/>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animBg="1"/>
          <p:bldP spid="27" grpId="0" animBg="1"/>
          <p:bldP spid="28" grpId="0" animBg="1"/>
          <p:bldP spid="29" grpId="0" animBg="1"/>
          <p:bldP spid="56" grpId="0" animBg="1"/>
          <p:bldP spid="56" grpId="1" animBg="1"/>
          <p:bldP spid="57" grpId="0" animBg="1"/>
          <p:bldP spid="57" grpId="1" animBg="1"/>
          <p:bldP spid="58" grpId="0" animBg="1"/>
          <p:bldP spid="58" grpId="1" animBg="1"/>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accel="60000"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750" fill="hold"/>
                                            <p:tgtEl>
                                              <p:spTgt spid="2"/>
                                            </p:tgtEl>
                                            <p:attrNameLst>
                                              <p:attrName>ppt_x</p:attrName>
                                            </p:attrNameLst>
                                          </p:cBhvr>
                                          <p:tavLst>
                                            <p:tav tm="0">
                                              <p:val>
                                                <p:strVal val="0-#ppt_w/2"/>
                                              </p:val>
                                            </p:tav>
                                            <p:tav tm="100000">
                                              <p:val>
                                                <p:strVal val="#ppt_x"/>
                                              </p:val>
                                            </p:tav>
                                          </p:tavLst>
                                        </p:anim>
                                        <p:anim calcmode="lin" valueType="num">
                                          <p:cBhvr additive="base">
                                            <p:cTn id="8" dur="750" fill="hold"/>
                                            <p:tgtEl>
                                              <p:spTgt spid="2"/>
                                            </p:tgtEl>
                                            <p:attrNameLst>
                                              <p:attrName>ppt_y</p:attrName>
                                            </p:attrNameLst>
                                          </p:cBhvr>
                                          <p:tavLst>
                                            <p:tav tm="0">
                                              <p:val>
                                                <p:strVal val="#ppt_y"/>
                                              </p:val>
                                            </p:tav>
                                            <p:tav tm="100000">
                                              <p:val>
                                                <p:strVal val="#ppt_y"/>
                                              </p:val>
                                            </p:tav>
                                          </p:tavLst>
                                        </p:anim>
                                      </p:childTnLst>
                                    </p:cTn>
                                  </p:par>
                                </p:childTnLst>
                              </p:cTn>
                            </p:par>
                            <p:par>
                              <p:cTn id="9" fill="hold">
                                <p:stCondLst>
                                  <p:cond delay="750"/>
                                </p:stCondLst>
                                <p:childTnLst>
                                  <p:par>
                                    <p:cTn id="10" presetID="53" presetClass="entr" presetSubtype="16" fill="hold" grpId="0" nodeType="afterEffect">
                                      <p:stCondLst>
                                        <p:cond delay="0"/>
                                      </p:stCondLst>
                                      <p:childTnLst>
                                        <p:set>
                                          <p:cBhvr>
                                            <p:cTn id="11" dur="1" fill="hold">
                                              <p:stCondLst>
                                                <p:cond delay="0"/>
                                              </p:stCondLst>
                                            </p:cTn>
                                            <p:tgtEl>
                                              <p:spTgt spid="26"/>
                                            </p:tgtEl>
                                            <p:attrNameLst>
                                              <p:attrName>style.visibility</p:attrName>
                                            </p:attrNameLst>
                                          </p:cBhvr>
                                          <p:to>
                                            <p:strVal val="visible"/>
                                          </p:to>
                                        </p:set>
                                        <p:anim calcmode="lin" valueType="num">
                                          <p:cBhvr>
                                            <p:cTn id="12" dur="750" fill="hold"/>
                                            <p:tgtEl>
                                              <p:spTgt spid="26"/>
                                            </p:tgtEl>
                                            <p:attrNameLst>
                                              <p:attrName>ppt_w</p:attrName>
                                            </p:attrNameLst>
                                          </p:cBhvr>
                                          <p:tavLst>
                                            <p:tav tm="0">
                                              <p:val>
                                                <p:fltVal val="0"/>
                                              </p:val>
                                            </p:tav>
                                            <p:tav tm="100000">
                                              <p:val>
                                                <p:strVal val="#ppt_w"/>
                                              </p:val>
                                            </p:tav>
                                          </p:tavLst>
                                        </p:anim>
                                        <p:anim calcmode="lin" valueType="num">
                                          <p:cBhvr>
                                            <p:cTn id="13" dur="750" fill="hold"/>
                                            <p:tgtEl>
                                              <p:spTgt spid="26"/>
                                            </p:tgtEl>
                                            <p:attrNameLst>
                                              <p:attrName>ppt_h</p:attrName>
                                            </p:attrNameLst>
                                          </p:cBhvr>
                                          <p:tavLst>
                                            <p:tav tm="0">
                                              <p:val>
                                                <p:fltVal val="0"/>
                                              </p:val>
                                            </p:tav>
                                            <p:tav tm="100000">
                                              <p:val>
                                                <p:strVal val="#ppt_h"/>
                                              </p:val>
                                            </p:tav>
                                          </p:tavLst>
                                        </p:anim>
                                        <p:animEffect transition="in" filter="fade">
                                          <p:cBhvr>
                                            <p:cTn id="14" dur="750"/>
                                            <p:tgtEl>
                                              <p:spTgt spid="26"/>
                                            </p:tgtEl>
                                          </p:cBhvr>
                                        </p:animEffect>
                                      </p:childTnLst>
                                    </p:cTn>
                                  </p:par>
                                  <p:par>
                                    <p:cTn id="15" presetID="22" presetClass="entr" presetSubtype="4" fill="hold" nodeType="withEffect">
                                      <p:stCondLst>
                                        <p:cond delay="750"/>
                                      </p:stCondLst>
                                      <p:childTnLst>
                                        <p:set>
                                          <p:cBhvr>
                                            <p:cTn id="16" dur="1" fill="hold">
                                              <p:stCondLst>
                                                <p:cond delay="0"/>
                                              </p:stCondLst>
                                            </p:cTn>
                                            <p:tgtEl>
                                              <p:spTgt spid="30"/>
                                            </p:tgtEl>
                                            <p:attrNameLst>
                                              <p:attrName>style.visibility</p:attrName>
                                            </p:attrNameLst>
                                          </p:cBhvr>
                                          <p:to>
                                            <p:strVal val="visible"/>
                                          </p:to>
                                        </p:set>
                                        <p:animEffect transition="in" filter="wipe(down)">
                                          <p:cBhvr>
                                            <p:cTn id="17" dur="500"/>
                                            <p:tgtEl>
                                              <p:spTgt spid="30"/>
                                            </p:tgtEl>
                                          </p:cBhvr>
                                        </p:animEffect>
                                      </p:childTnLst>
                                    </p:cTn>
                                  </p:par>
                                  <p:par>
                                    <p:cTn id="18" presetID="22" presetClass="entr" presetSubtype="4" fill="hold" nodeType="withEffect">
                                      <p:stCondLst>
                                        <p:cond delay="1250"/>
                                      </p:stCondLst>
                                      <p:childTnLst>
                                        <p:set>
                                          <p:cBhvr>
                                            <p:cTn id="19" dur="1" fill="hold">
                                              <p:stCondLst>
                                                <p:cond delay="0"/>
                                              </p:stCondLst>
                                            </p:cTn>
                                            <p:tgtEl>
                                              <p:spTgt spid="34"/>
                                            </p:tgtEl>
                                            <p:attrNameLst>
                                              <p:attrName>style.visibility</p:attrName>
                                            </p:attrNameLst>
                                          </p:cBhvr>
                                          <p:to>
                                            <p:strVal val="visible"/>
                                          </p:to>
                                        </p:set>
                                        <p:animEffect transition="in" filter="wipe(down)">
                                          <p:cBhvr>
                                            <p:cTn id="20" dur="500"/>
                                            <p:tgtEl>
                                              <p:spTgt spid="34"/>
                                            </p:tgtEl>
                                          </p:cBhvr>
                                        </p:animEffect>
                                      </p:childTnLst>
                                    </p:cTn>
                                  </p:par>
                                  <p:par>
                                    <p:cTn id="21" presetID="53" presetClass="entr" presetSubtype="16" fill="hold" grpId="0" nodeType="withEffect">
                                      <p:stCondLst>
                                        <p:cond delay="1750"/>
                                      </p:stCondLst>
                                      <p:childTnLst>
                                        <p:set>
                                          <p:cBhvr>
                                            <p:cTn id="22" dur="1" fill="hold">
                                              <p:stCondLst>
                                                <p:cond delay="0"/>
                                              </p:stCondLst>
                                            </p:cTn>
                                            <p:tgtEl>
                                              <p:spTgt spid="27"/>
                                            </p:tgtEl>
                                            <p:attrNameLst>
                                              <p:attrName>style.visibility</p:attrName>
                                            </p:attrNameLst>
                                          </p:cBhvr>
                                          <p:to>
                                            <p:strVal val="visible"/>
                                          </p:to>
                                        </p:set>
                                        <p:anim calcmode="lin" valueType="num">
                                          <p:cBhvr>
                                            <p:cTn id="23" dur="750" fill="hold"/>
                                            <p:tgtEl>
                                              <p:spTgt spid="27"/>
                                            </p:tgtEl>
                                            <p:attrNameLst>
                                              <p:attrName>ppt_w</p:attrName>
                                            </p:attrNameLst>
                                          </p:cBhvr>
                                          <p:tavLst>
                                            <p:tav tm="0">
                                              <p:val>
                                                <p:fltVal val="0"/>
                                              </p:val>
                                            </p:tav>
                                            <p:tav tm="100000">
                                              <p:val>
                                                <p:strVal val="#ppt_w"/>
                                              </p:val>
                                            </p:tav>
                                          </p:tavLst>
                                        </p:anim>
                                        <p:anim calcmode="lin" valueType="num">
                                          <p:cBhvr>
                                            <p:cTn id="24" dur="750" fill="hold"/>
                                            <p:tgtEl>
                                              <p:spTgt spid="27"/>
                                            </p:tgtEl>
                                            <p:attrNameLst>
                                              <p:attrName>ppt_h</p:attrName>
                                            </p:attrNameLst>
                                          </p:cBhvr>
                                          <p:tavLst>
                                            <p:tav tm="0">
                                              <p:val>
                                                <p:fltVal val="0"/>
                                              </p:val>
                                            </p:tav>
                                            <p:tav tm="100000">
                                              <p:val>
                                                <p:strVal val="#ppt_h"/>
                                              </p:val>
                                            </p:tav>
                                          </p:tavLst>
                                        </p:anim>
                                        <p:animEffect transition="in" filter="fade">
                                          <p:cBhvr>
                                            <p:cTn id="25" dur="750"/>
                                            <p:tgtEl>
                                              <p:spTgt spid="27"/>
                                            </p:tgtEl>
                                          </p:cBhvr>
                                        </p:animEffect>
                                      </p:childTnLst>
                                    </p:cTn>
                                  </p:par>
                                  <p:par>
                                    <p:cTn id="26" presetID="22" presetClass="entr" presetSubtype="4" fill="hold" nodeType="withEffect">
                                      <p:stCondLst>
                                        <p:cond delay="2500"/>
                                      </p:stCondLst>
                                      <p:childTnLst>
                                        <p:set>
                                          <p:cBhvr>
                                            <p:cTn id="27" dur="1" fill="hold">
                                              <p:stCondLst>
                                                <p:cond delay="0"/>
                                              </p:stCondLst>
                                            </p:cTn>
                                            <p:tgtEl>
                                              <p:spTgt spid="31"/>
                                            </p:tgtEl>
                                            <p:attrNameLst>
                                              <p:attrName>style.visibility</p:attrName>
                                            </p:attrNameLst>
                                          </p:cBhvr>
                                          <p:to>
                                            <p:strVal val="visible"/>
                                          </p:to>
                                        </p:set>
                                        <p:animEffect transition="in" filter="wipe(down)">
                                          <p:cBhvr>
                                            <p:cTn id="28" dur="500"/>
                                            <p:tgtEl>
                                              <p:spTgt spid="31"/>
                                            </p:tgtEl>
                                          </p:cBhvr>
                                        </p:animEffect>
                                      </p:childTnLst>
                                    </p:cTn>
                                  </p:par>
                                  <p:par>
                                    <p:cTn id="29" presetID="22" presetClass="entr" presetSubtype="4" fill="hold" nodeType="withEffect">
                                      <p:stCondLst>
                                        <p:cond delay="3000"/>
                                      </p:stCondLst>
                                      <p:childTnLst>
                                        <p:set>
                                          <p:cBhvr>
                                            <p:cTn id="30" dur="1" fill="hold">
                                              <p:stCondLst>
                                                <p:cond delay="0"/>
                                              </p:stCondLst>
                                            </p:cTn>
                                            <p:tgtEl>
                                              <p:spTgt spid="37"/>
                                            </p:tgtEl>
                                            <p:attrNameLst>
                                              <p:attrName>style.visibility</p:attrName>
                                            </p:attrNameLst>
                                          </p:cBhvr>
                                          <p:to>
                                            <p:strVal val="visible"/>
                                          </p:to>
                                        </p:set>
                                        <p:animEffect transition="in" filter="wipe(down)">
                                          <p:cBhvr>
                                            <p:cTn id="31" dur="500"/>
                                            <p:tgtEl>
                                              <p:spTgt spid="37"/>
                                            </p:tgtEl>
                                          </p:cBhvr>
                                        </p:animEffect>
                                      </p:childTnLst>
                                    </p:cTn>
                                  </p:par>
                                  <p:par>
                                    <p:cTn id="32" presetID="53" presetClass="entr" presetSubtype="16" fill="hold" grpId="0" nodeType="withEffect">
                                      <p:stCondLst>
                                        <p:cond delay="3500"/>
                                      </p:stCondLst>
                                      <p:childTnLst>
                                        <p:set>
                                          <p:cBhvr>
                                            <p:cTn id="33" dur="1" fill="hold">
                                              <p:stCondLst>
                                                <p:cond delay="0"/>
                                              </p:stCondLst>
                                            </p:cTn>
                                            <p:tgtEl>
                                              <p:spTgt spid="28"/>
                                            </p:tgtEl>
                                            <p:attrNameLst>
                                              <p:attrName>style.visibility</p:attrName>
                                            </p:attrNameLst>
                                          </p:cBhvr>
                                          <p:to>
                                            <p:strVal val="visible"/>
                                          </p:to>
                                        </p:set>
                                        <p:anim calcmode="lin" valueType="num">
                                          <p:cBhvr>
                                            <p:cTn id="34" dur="750" fill="hold"/>
                                            <p:tgtEl>
                                              <p:spTgt spid="28"/>
                                            </p:tgtEl>
                                            <p:attrNameLst>
                                              <p:attrName>ppt_w</p:attrName>
                                            </p:attrNameLst>
                                          </p:cBhvr>
                                          <p:tavLst>
                                            <p:tav tm="0">
                                              <p:val>
                                                <p:fltVal val="0"/>
                                              </p:val>
                                            </p:tav>
                                            <p:tav tm="100000">
                                              <p:val>
                                                <p:strVal val="#ppt_w"/>
                                              </p:val>
                                            </p:tav>
                                          </p:tavLst>
                                        </p:anim>
                                        <p:anim calcmode="lin" valueType="num">
                                          <p:cBhvr>
                                            <p:cTn id="35" dur="750" fill="hold"/>
                                            <p:tgtEl>
                                              <p:spTgt spid="28"/>
                                            </p:tgtEl>
                                            <p:attrNameLst>
                                              <p:attrName>ppt_h</p:attrName>
                                            </p:attrNameLst>
                                          </p:cBhvr>
                                          <p:tavLst>
                                            <p:tav tm="0">
                                              <p:val>
                                                <p:fltVal val="0"/>
                                              </p:val>
                                            </p:tav>
                                            <p:tav tm="100000">
                                              <p:val>
                                                <p:strVal val="#ppt_h"/>
                                              </p:val>
                                            </p:tav>
                                          </p:tavLst>
                                        </p:anim>
                                        <p:animEffect transition="in" filter="fade">
                                          <p:cBhvr>
                                            <p:cTn id="36" dur="750"/>
                                            <p:tgtEl>
                                              <p:spTgt spid="28"/>
                                            </p:tgtEl>
                                          </p:cBhvr>
                                        </p:animEffect>
                                      </p:childTnLst>
                                    </p:cTn>
                                  </p:par>
                                  <p:par>
                                    <p:cTn id="37" presetID="22" presetClass="entr" presetSubtype="4" fill="hold" nodeType="withEffect">
                                      <p:stCondLst>
                                        <p:cond delay="4250"/>
                                      </p:stCondLst>
                                      <p:childTnLst>
                                        <p:set>
                                          <p:cBhvr>
                                            <p:cTn id="38" dur="1" fill="hold">
                                              <p:stCondLst>
                                                <p:cond delay="0"/>
                                              </p:stCondLst>
                                            </p:cTn>
                                            <p:tgtEl>
                                              <p:spTgt spid="32"/>
                                            </p:tgtEl>
                                            <p:attrNameLst>
                                              <p:attrName>style.visibility</p:attrName>
                                            </p:attrNameLst>
                                          </p:cBhvr>
                                          <p:to>
                                            <p:strVal val="visible"/>
                                          </p:to>
                                        </p:set>
                                        <p:animEffect transition="in" filter="wipe(down)">
                                          <p:cBhvr>
                                            <p:cTn id="39" dur="500"/>
                                            <p:tgtEl>
                                              <p:spTgt spid="32"/>
                                            </p:tgtEl>
                                          </p:cBhvr>
                                        </p:animEffect>
                                      </p:childTnLst>
                                    </p:cTn>
                                  </p:par>
                                  <p:par>
                                    <p:cTn id="40" presetID="22" presetClass="entr" presetSubtype="4" fill="hold" nodeType="withEffect">
                                      <p:stCondLst>
                                        <p:cond delay="4750"/>
                                      </p:stCondLst>
                                      <p:childTnLst>
                                        <p:set>
                                          <p:cBhvr>
                                            <p:cTn id="41" dur="1" fill="hold">
                                              <p:stCondLst>
                                                <p:cond delay="0"/>
                                              </p:stCondLst>
                                            </p:cTn>
                                            <p:tgtEl>
                                              <p:spTgt spid="40"/>
                                            </p:tgtEl>
                                            <p:attrNameLst>
                                              <p:attrName>style.visibility</p:attrName>
                                            </p:attrNameLst>
                                          </p:cBhvr>
                                          <p:to>
                                            <p:strVal val="visible"/>
                                          </p:to>
                                        </p:set>
                                        <p:animEffect transition="in" filter="wipe(down)">
                                          <p:cBhvr>
                                            <p:cTn id="42" dur="500"/>
                                            <p:tgtEl>
                                              <p:spTgt spid="40"/>
                                            </p:tgtEl>
                                          </p:cBhvr>
                                        </p:animEffect>
                                      </p:childTnLst>
                                    </p:cTn>
                                  </p:par>
                                  <p:par>
                                    <p:cTn id="43" presetID="53" presetClass="entr" presetSubtype="16" fill="hold" grpId="0" nodeType="withEffect">
                                      <p:stCondLst>
                                        <p:cond delay="5250"/>
                                      </p:stCondLst>
                                      <p:childTnLst>
                                        <p:set>
                                          <p:cBhvr>
                                            <p:cTn id="44" dur="1" fill="hold">
                                              <p:stCondLst>
                                                <p:cond delay="0"/>
                                              </p:stCondLst>
                                            </p:cTn>
                                            <p:tgtEl>
                                              <p:spTgt spid="29"/>
                                            </p:tgtEl>
                                            <p:attrNameLst>
                                              <p:attrName>style.visibility</p:attrName>
                                            </p:attrNameLst>
                                          </p:cBhvr>
                                          <p:to>
                                            <p:strVal val="visible"/>
                                          </p:to>
                                        </p:set>
                                        <p:anim calcmode="lin" valueType="num">
                                          <p:cBhvr>
                                            <p:cTn id="45" dur="750" fill="hold"/>
                                            <p:tgtEl>
                                              <p:spTgt spid="29"/>
                                            </p:tgtEl>
                                            <p:attrNameLst>
                                              <p:attrName>ppt_w</p:attrName>
                                            </p:attrNameLst>
                                          </p:cBhvr>
                                          <p:tavLst>
                                            <p:tav tm="0">
                                              <p:val>
                                                <p:fltVal val="0"/>
                                              </p:val>
                                            </p:tav>
                                            <p:tav tm="100000">
                                              <p:val>
                                                <p:strVal val="#ppt_w"/>
                                              </p:val>
                                            </p:tav>
                                          </p:tavLst>
                                        </p:anim>
                                        <p:anim calcmode="lin" valueType="num">
                                          <p:cBhvr>
                                            <p:cTn id="46" dur="750" fill="hold"/>
                                            <p:tgtEl>
                                              <p:spTgt spid="29"/>
                                            </p:tgtEl>
                                            <p:attrNameLst>
                                              <p:attrName>ppt_h</p:attrName>
                                            </p:attrNameLst>
                                          </p:cBhvr>
                                          <p:tavLst>
                                            <p:tav tm="0">
                                              <p:val>
                                                <p:fltVal val="0"/>
                                              </p:val>
                                            </p:tav>
                                            <p:tav tm="100000">
                                              <p:val>
                                                <p:strVal val="#ppt_h"/>
                                              </p:val>
                                            </p:tav>
                                          </p:tavLst>
                                        </p:anim>
                                        <p:animEffect transition="in" filter="fade">
                                          <p:cBhvr>
                                            <p:cTn id="47" dur="750"/>
                                            <p:tgtEl>
                                              <p:spTgt spid="29"/>
                                            </p:tgtEl>
                                          </p:cBhvr>
                                        </p:animEffect>
                                      </p:childTnLst>
                                    </p:cTn>
                                  </p:par>
                                  <p:par>
                                    <p:cTn id="48" presetID="22" presetClass="entr" presetSubtype="4" fill="hold" nodeType="withEffect">
                                      <p:stCondLst>
                                        <p:cond delay="6000"/>
                                      </p:stCondLst>
                                      <p:childTnLst>
                                        <p:set>
                                          <p:cBhvr>
                                            <p:cTn id="49" dur="1" fill="hold">
                                              <p:stCondLst>
                                                <p:cond delay="0"/>
                                              </p:stCondLst>
                                            </p:cTn>
                                            <p:tgtEl>
                                              <p:spTgt spid="33"/>
                                            </p:tgtEl>
                                            <p:attrNameLst>
                                              <p:attrName>style.visibility</p:attrName>
                                            </p:attrNameLst>
                                          </p:cBhvr>
                                          <p:to>
                                            <p:strVal val="visible"/>
                                          </p:to>
                                        </p:set>
                                        <p:animEffect transition="in" filter="wipe(down)">
                                          <p:cBhvr>
                                            <p:cTn id="50" dur="500"/>
                                            <p:tgtEl>
                                              <p:spTgt spid="33"/>
                                            </p:tgtEl>
                                          </p:cBhvr>
                                        </p:animEffect>
                                      </p:childTnLst>
                                    </p:cTn>
                                  </p:par>
                                  <p:par>
                                    <p:cTn id="51" presetID="22" presetClass="entr" presetSubtype="4" fill="hold" nodeType="withEffect">
                                      <p:stCondLst>
                                        <p:cond delay="6500"/>
                                      </p:stCondLst>
                                      <p:childTnLst>
                                        <p:set>
                                          <p:cBhvr>
                                            <p:cTn id="52" dur="1" fill="hold">
                                              <p:stCondLst>
                                                <p:cond delay="0"/>
                                              </p:stCondLst>
                                            </p:cTn>
                                            <p:tgtEl>
                                              <p:spTgt spid="43"/>
                                            </p:tgtEl>
                                            <p:attrNameLst>
                                              <p:attrName>style.visibility</p:attrName>
                                            </p:attrNameLst>
                                          </p:cBhvr>
                                          <p:to>
                                            <p:strVal val="visible"/>
                                          </p:to>
                                        </p:set>
                                        <p:animEffect transition="in" filter="wipe(down)">
                                          <p:cBhvr>
                                            <p:cTn id="53" dur="500"/>
                                            <p:tgtEl>
                                              <p:spTgt spid="43"/>
                                            </p:tgtEl>
                                          </p:cBhvr>
                                        </p:animEffect>
                                      </p:childTnLst>
                                    </p:cTn>
                                  </p:par>
                                  <p:par>
                                    <p:cTn id="54" presetID="26" presetClass="emph" presetSubtype="0" fill="hold" grpId="0" nodeType="withEffect">
                                      <p:stCondLst>
                                        <p:cond delay="0"/>
                                      </p:stCondLst>
                                      <p:childTnLst>
                                        <p:animEffect transition="out" filter="fade">
                                          <p:cBhvr>
                                            <p:cTn id="55" dur="3750" tmFilter="0, 0; .2, .5; .8, .5; 1, 0"/>
                                            <p:tgtEl>
                                              <p:spTgt spid="56"/>
                                            </p:tgtEl>
                                          </p:cBhvr>
                                        </p:animEffect>
                                        <p:animScale>
                                          <p:cBhvr>
                                            <p:cTn id="56" dur="1875" autoRev="1" fill="hold"/>
                                            <p:tgtEl>
                                              <p:spTgt spid="56"/>
                                            </p:tgtEl>
                                          </p:cBhvr>
                                          <p:by x="105000" y="105000"/>
                                        </p:animScale>
                                      </p:childTnLst>
                                    </p:cTn>
                                  </p:par>
                                  <p:par>
                                    <p:cTn id="57" presetID="38" presetClass="path" presetSubtype="0" repeatCount="indefinite" accel="47000" decel="53000" fill="hold" grpId="1" nodeType="withEffect">
                                      <p:stCondLst>
                                        <p:cond delay="0"/>
                                      </p:stCondLst>
                                      <p:childTnLst>
                                        <p:animMotion origin="layout" path="M -0.00013 -0.01875 L 0.06797 -0.01041 L 0.13164 -0.01875 L 0.19974 -0.01041 L 0.26784 -0.01875 L 0.33151 -0.01041 L 0.39961 -0.01875 L 0.46328 -0.01041 L 0.53151 -0.01875 L 0.59961 -0.01041 L 0.66328 -0.01875 L 0.73138 -0.01041 L 0.79506 -0.01875 L 0.86315 -0.01041 L 0.93125 -0.01875 L 0.99493 -0.01041 L 1.06315 -0.01875 " pathEditMode="relative" rAng="0" ptsTypes="AAAAAAAAAAAAAAAAA">
                                          <p:cBhvr>
                                            <p:cTn id="58" dur="45000" fill="hold"/>
                                            <p:tgtEl>
                                              <p:spTgt spid="56"/>
                                            </p:tgtEl>
                                            <p:attrNameLst>
                                              <p:attrName>ppt_x</p:attrName>
                                              <p:attrName>ppt_y</p:attrName>
                                            </p:attrNameLst>
                                          </p:cBhvr>
                                          <p:rCtr x="53164" y="417"/>
                                        </p:animMotion>
                                      </p:childTnLst>
                                    </p:cTn>
                                  </p:par>
                                  <p:par>
                                    <p:cTn id="59" presetID="26" presetClass="emph" presetSubtype="0" fill="hold" grpId="0" nodeType="withEffect">
                                      <p:stCondLst>
                                        <p:cond delay="250"/>
                                      </p:stCondLst>
                                      <p:childTnLst>
                                        <p:animEffect transition="out" filter="fade">
                                          <p:cBhvr>
                                            <p:cTn id="60" dur="3750" tmFilter="0, 0; .2, .5; .8, .5; 1, 0"/>
                                            <p:tgtEl>
                                              <p:spTgt spid="57"/>
                                            </p:tgtEl>
                                          </p:cBhvr>
                                        </p:animEffect>
                                        <p:animScale>
                                          <p:cBhvr>
                                            <p:cTn id="61" dur="1875" autoRev="1" fill="hold"/>
                                            <p:tgtEl>
                                              <p:spTgt spid="57"/>
                                            </p:tgtEl>
                                          </p:cBhvr>
                                          <p:by x="105000" y="105000"/>
                                        </p:animScale>
                                      </p:childTnLst>
                                    </p:cTn>
                                  </p:par>
                                  <p:par>
                                    <p:cTn id="62" presetID="38" presetClass="path" presetSubtype="0" repeatCount="indefinite" accel="47000" decel="53000" fill="hold" grpId="1" nodeType="withEffect">
                                      <p:stCondLst>
                                        <p:cond delay="250"/>
                                      </p:stCondLst>
                                      <p:childTnLst>
                                        <p:animMotion origin="layout" path="M 0.00104 -0.00972 L 0.07135 -0.00162 L 0.13711 -0.00972 L 0.20755 -0.00162 L 0.27786 -0.00972 L 0.34375 -0.00162 L 0.41406 -0.00972 L 0.47982 -0.00162 L 0.55039 -0.00972 L 0.6207 -0.00162 L 0.68659 -0.00972 L 0.7569 -0.00162 L 0.82279 -0.00972 L 0.8931 -0.00162 L 0.96354 -0.00972 L 1.0293 -0.00162 L 1.09987 -0.00972 " pathEditMode="relative" rAng="0" ptsTypes="AAAAAAAAAAAAAAAAA">
                                          <p:cBhvr>
                                            <p:cTn id="63" dur="45000" fill="hold"/>
                                            <p:tgtEl>
                                              <p:spTgt spid="57"/>
                                            </p:tgtEl>
                                            <p:attrNameLst>
                                              <p:attrName>ppt_x</p:attrName>
                                              <p:attrName>ppt_y</p:attrName>
                                            </p:attrNameLst>
                                          </p:cBhvr>
                                          <p:rCtr x="54935" y="394"/>
                                        </p:animMotion>
                                      </p:childTnLst>
                                    </p:cTn>
                                  </p:par>
                                  <p:par>
                                    <p:cTn id="64" presetID="26" presetClass="emph" presetSubtype="0" fill="hold" grpId="0" nodeType="withEffect">
                                      <p:stCondLst>
                                        <p:cond delay="750"/>
                                      </p:stCondLst>
                                      <p:childTnLst>
                                        <p:animEffect transition="out" filter="fade">
                                          <p:cBhvr>
                                            <p:cTn id="65" dur="3750" tmFilter="0, 0; .2, .5; .8, .5; 1, 0"/>
                                            <p:tgtEl>
                                              <p:spTgt spid="58"/>
                                            </p:tgtEl>
                                          </p:cBhvr>
                                        </p:animEffect>
                                        <p:animScale>
                                          <p:cBhvr>
                                            <p:cTn id="66" dur="1875" autoRev="1" fill="hold"/>
                                            <p:tgtEl>
                                              <p:spTgt spid="58"/>
                                            </p:tgtEl>
                                          </p:cBhvr>
                                          <p:by x="105000" y="105000"/>
                                        </p:animScale>
                                      </p:childTnLst>
                                    </p:cTn>
                                  </p:par>
                                  <p:par>
                                    <p:cTn id="67" presetID="38" presetClass="path" presetSubtype="0" repeatCount="indefinite" accel="47000" decel="53000" fill="hold" grpId="1" nodeType="withEffect">
                                      <p:stCondLst>
                                        <p:cond delay="750"/>
                                      </p:stCondLst>
                                      <p:childTnLst>
                                        <p:animMotion origin="layout" path="M -0.00013 -0.01875 L 0.06797 -0.01041 L 0.13165 -0.01875 L 0.19974 -0.01041 L 0.26784 -0.01875 L 0.33151 -0.01041 L 0.39961 -0.01875 L 0.46329 -0.01041 L 0.53151 -0.01875 L 0.59961 -0.01041 L 0.66329 -0.01875 L 0.73138 -0.01041 L 0.79506 -0.01875 L 0.86316 -0.01041 L 0.93125 -0.01875 L 0.99493 -0.01041 L 1.06316 -0.01875 " pathEditMode="relative" rAng="0" ptsTypes="AAAAAAAAAAAAAAAAA">
                                          <p:cBhvr>
                                            <p:cTn id="68" dur="45000" fill="hold"/>
                                            <p:tgtEl>
                                              <p:spTgt spid="58"/>
                                            </p:tgtEl>
                                            <p:attrNameLst>
                                              <p:attrName>ppt_x</p:attrName>
                                              <p:attrName>ppt_y</p:attrName>
                                            </p:attrNameLst>
                                          </p:cBhvr>
                                          <p:rCtr x="53164" y="417"/>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animBg="1"/>
          <p:bldP spid="27" grpId="0" animBg="1"/>
          <p:bldP spid="28" grpId="0" animBg="1"/>
          <p:bldP spid="29" grpId="0" animBg="1"/>
          <p:bldP spid="56" grpId="0" animBg="1"/>
          <p:bldP spid="56" grpId="1" animBg="1"/>
          <p:bldP spid="57" grpId="0" animBg="1"/>
          <p:bldP spid="57" grpId="1" animBg="1"/>
          <p:bldP spid="58" grpId="0" animBg="1"/>
          <p:bldP spid="58" grpId="1" animBg="1"/>
        </p:bldLst>
      </p:timing>
    </mc:Fallback>
  </mc:AlternateContent>
</p:sld>
</file>

<file path=ppt/slides/slide7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05">
            <a:extLst>
              <a:ext uri="{FF2B5EF4-FFF2-40B4-BE49-F238E27FC236}">
                <a16:creationId xmlns:a16="http://schemas.microsoft.com/office/drawing/2014/main" id="{CC0E1219-EFDA-44CB-B97A-22454D3E6BA9}"/>
              </a:ext>
            </a:extLst>
          </p:cNvPr>
          <p:cNvGrpSpPr/>
          <p:nvPr/>
        </p:nvGrpSpPr>
        <p:grpSpPr>
          <a:xfrm>
            <a:off x="2130517" y="758286"/>
            <a:ext cx="7944936" cy="5178062"/>
            <a:chOff x="2130517" y="758286"/>
            <a:chExt cx="7944936" cy="5178062"/>
          </a:xfrm>
        </p:grpSpPr>
        <p:sp>
          <p:nvSpPr>
            <p:cNvPr id="3" name="Rectangle: Single Corner Snipped 128">
              <a:extLst>
                <a:ext uri="{FF2B5EF4-FFF2-40B4-BE49-F238E27FC236}">
                  <a16:creationId xmlns:a16="http://schemas.microsoft.com/office/drawing/2014/main" id="{31221196-7ECA-46AD-9680-45C93369615B}"/>
                </a:ext>
              </a:extLst>
            </p:cNvPr>
            <p:cNvSpPr/>
            <p:nvPr/>
          </p:nvSpPr>
          <p:spPr>
            <a:xfrm flipH="1" flipV="1">
              <a:off x="2130517" y="3241497"/>
              <a:ext cx="7944936" cy="2694851"/>
            </a:xfrm>
            <a:custGeom>
              <a:avLst/>
              <a:gdLst>
                <a:gd name="connsiteX0" fmla="*/ 0 w 2641940"/>
                <a:gd name="connsiteY0" fmla="*/ 0 h 825793"/>
                <a:gd name="connsiteX1" fmla="*/ 2229044 w 2641940"/>
                <a:gd name="connsiteY1" fmla="*/ 0 h 825793"/>
                <a:gd name="connsiteX2" fmla="*/ 2641940 w 2641940"/>
                <a:gd name="connsiteY2" fmla="*/ 412897 h 825793"/>
                <a:gd name="connsiteX3" fmla="*/ 2641940 w 2641940"/>
                <a:gd name="connsiteY3" fmla="*/ 825793 h 825793"/>
                <a:gd name="connsiteX4" fmla="*/ 0 w 2641940"/>
                <a:gd name="connsiteY4" fmla="*/ 825793 h 825793"/>
                <a:gd name="connsiteX5" fmla="*/ 0 w 2641940"/>
                <a:gd name="connsiteY5" fmla="*/ 0 h 825793"/>
                <a:gd name="connsiteX0" fmla="*/ 0 w 2641940"/>
                <a:gd name="connsiteY0" fmla="*/ 0 h 825793"/>
                <a:gd name="connsiteX1" fmla="*/ 2229044 w 2641940"/>
                <a:gd name="connsiteY1" fmla="*/ 0 h 825793"/>
                <a:gd name="connsiteX2" fmla="*/ 2639559 w 2641940"/>
                <a:gd name="connsiteY2" fmla="*/ 384322 h 825793"/>
                <a:gd name="connsiteX3" fmla="*/ 2641940 w 2641940"/>
                <a:gd name="connsiteY3" fmla="*/ 825793 h 825793"/>
                <a:gd name="connsiteX4" fmla="*/ 0 w 2641940"/>
                <a:gd name="connsiteY4" fmla="*/ 825793 h 825793"/>
                <a:gd name="connsiteX5" fmla="*/ 0 w 2641940"/>
                <a:gd name="connsiteY5" fmla="*/ 0 h 825793"/>
                <a:gd name="connsiteX0" fmla="*/ 0 w 2641940"/>
                <a:gd name="connsiteY0" fmla="*/ 5858 h 831651"/>
                <a:gd name="connsiteX1" fmla="*/ 2028216 w 2641940"/>
                <a:gd name="connsiteY1" fmla="*/ 0 h 831651"/>
                <a:gd name="connsiteX2" fmla="*/ 2639559 w 2641940"/>
                <a:gd name="connsiteY2" fmla="*/ 390180 h 831651"/>
                <a:gd name="connsiteX3" fmla="*/ 2641940 w 2641940"/>
                <a:gd name="connsiteY3" fmla="*/ 831651 h 831651"/>
                <a:gd name="connsiteX4" fmla="*/ 0 w 2641940"/>
                <a:gd name="connsiteY4" fmla="*/ 831651 h 831651"/>
                <a:gd name="connsiteX5" fmla="*/ 0 w 2641940"/>
                <a:gd name="connsiteY5" fmla="*/ 5858 h 831651"/>
                <a:gd name="connsiteX0" fmla="*/ 0 w 2641940"/>
                <a:gd name="connsiteY0" fmla="*/ 5858 h 831651"/>
                <a:gd name="connsiteX1" fmla="*/ 2028216 w 2641940"/>
                <a:gd name="connsiteY1" fmla="*/ 0 h 831651"/>
                <a:gd name="connsiteX2" fmla="*/ 2623620 w 2641940"/>
                <a:gd name="connsiteY2" fmla="*/ 527849 h 831651"/>
                <a:gd name="connsiteX3" fmla="*/ 2641940 w 2641940"/>
                <a:gd name="connsiteY3" fmla="*/ 831651 h 831651"/>
                <a:gd name="connsiteX4" fmla="*/ 0 w 2641940"/>
                <a:gd name="connsiteY4" fmla="*/ 831651 h 831651"/>
                <a:gd name="connsiteX5" fmla="*/ 0 w 2641940"/>
                <a:gd name="connsiteY5" fmla="*/ 5858 h 831651"/>
                <a:gd name="connsiteX0" fmla="*/ 0 w 2641940"/>
                <a:gd name="connsiteY0" fmla="*/ 2929 h 828722"/>
                <a:gd name="connsiteX1" fmla="*/ 2023434 w 2641940"/>
                <a:gd name="connsiteY1" fmla="*/ 0 h 828722"/>
                <a:gd name="connsiteX2" fmla="*/ 2623620 w 2641940"/>
                <a:gd name="connsiteY2" fmla="*/ 524920 h 828722"/>
                <a:gd name="connsiteX3" fmla="*/ 2641940 w 2641940"/>
                <a:gd name="connsiteY3" fmla="*/ 828722 h 828722"/>
                <a:gd name="connsiteX4" fmla="*/ 0 w 2641940"/>
                <a:gd name="connsiteY4" fmla="*/ 828722 h 828722"/>
                <a:gd name="connsiteX5" fmla="*/ 0 w 2641940"/>
                <a:gd name="connsiteY5" fmla="*/ 2929 h 828722"/>
                <a:gd name="connsiteX0" fmla="*/ 0 w 2651288"/>
                <a:gd name="connsiteY0" fmla="*/ 2929 h 828722"/>
                <a:gd name="connsiteX1" fmla="*/ 2023434 w 2651288"/>
                <a:gd name="connsiteY1" fmla="*/ 0 h 828722"/>
                <a:gd name="connsiteX2" fmla="*/ 2651247 w 2651288"/>
                <a:gd name="connsiteY2" fmla="*/ 538589 h 828722"/>
                <a:gd name="connsiteX3" fmla="*/ 2641940 w 2651288"/>
                <a:gd name="connsiteY3" fmla="*/ 828722 h 828722"/>
                <a:gd name="connsiteX4" fmla="*/ 0 w 2651288"/>
                <a:gd name="connsiteY4" fmla="*/ 828722 h 828722"/>
                <a:gd name="connsiteX5" fmla="*/ 0 w 2651288"/>
                <a:gd name="connsiteY5" fmla="*/ 2929 h 828722"/>
                <a:gd name="connsiteX0" fmla="*/ 0 w 2651247"/>
                <a:gd name="connsiteY0" fmla="*/ 2929 h 828722"/>
                <a:gd name="connsiteX1" fmla="*/ 2023434 w 2651247"/>
                <a:gd name="connsiteY1" fmla="*/ 0 h 828722"/>
                <a:gd name="connsiteX2" fmla="*/ 2651247 w 2651247"/>
                <a:gd name="connsiteY2" fmla="*/ 538589 h 828722"/>
                <a:gd name="connsiteX3" fmla="*/ 2641940 w 2651247"/>
                <a:gd name="connsiteY3" fmla="*/ 828722 h 828722"/>
                <a:gd name="connsiteX4" fmla="*/ 0 w 2651247"/>
                <a:gd name="connsiteY4" fmla="*/ 828722 h 828722"/>
                <a:gd name="connsiteX5" fmla="*/ 0 w 2651247"/>
                <a:gd name="connsiteY5" fmla="*/ 2929 h 828722"/>
                <a:gd name="connsiteX0" fmla="*/ 0 w 2658941"/>
                <a:gd name="connsiteY0" fmla="*/ 2929 h 828722"/>
                <a:gd name="connsiteX1" fmla="*/ 2023434 w 2658941"/>
                <a:gd name="connsiteY1" fmla="*/ 0 h 828722"/>
                <a:gd name="connsiteX2" fmla="*/ 2651247 w 2658941"/>
                <a:gd name="connsiteY2" fmla="*/ 538589 h 828722"/>
                <a:gd name="connsiteX3" fmla="*/ 2658941 w 2658941"/>
                <a:gd name="connsiteY3" fmla="*/ 824816 h 828722"/>
                <a:gd name="connsiteX4" fmla="*/ 0 w 2658941"/>
                <a:gd name="connsiteY4" fmla="*/ 828722 h 828722"/>
                <a:gd name="connsiteX5" fmla="*/ 0 w 2658941"/>
                <a:gd name="connsiteY5" fmla="*/ 2929 h 828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58941" h="828722">
                  <a:moveTo>
                    <a:pt x="0" y="2929"/>
                  </a:moveTo>
                  <a:lnTo>
                    <a:pt x="2023434" y="0"/>
                  </a:lnTo>
                  <a:lnTo>
                    <a:pt x="2651247" y="538589"/>
                  </a:lnTo>
                  <a:cubicBezTo>
                    <a:pt x="2649916" y="747258"/>
                    <a:pt x="2658147" y="677659"/>
                    <a:pt x="2658941" y="824816"/>
                  </a:cubicBezTo>
                  <a:lnTo>
                    <a:pt x="0" y="828722"/>
                  </a:lnTo>
                  <a:lnTo>
                    <a:pt x="0" y="2929"/>
                  </a:lnTo>
                  <a:close/>
                </a:path>
              </a:pathLst>
            </a:custGeom>
            <a:gradFill flip="none" rotWithShape="1">
              <a:gsLst>
                <a:gs pos="14000">
                  <a:schemeClr val="accent1"/>
                </a:gs>
                <a:gs pos="100000">
                  <a:schemeClr val="accent1"/>
                </a:gs>
              </a:gsLst>
              <a:lin ang="36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FFFFFF"/>
                </a:solidFill>
                <a:effectLst/>
                <a:uLnTx/>
                <a:uFillTx/>
                <a:latin typeface="Arial"/>
                <a:cs typeface="+mn-cs"/>
              </a:endParaRPr>
            </a:p>
          </p:txBody>
        </p:sp>
        <p:sp>
          <p:nvSpPr>
            <p:cNvPr id="4" name="Rectangle: Single Corner Snipped 128">
              <a:extLst>
                <a:ext uri="{FF2B5EF4-FFF2-40B4-BE49-F238E27FC236}">
                  <a16:creationId xmlns:a16="http://schemas.microsoft.com/office/drawing/2014/main" id="{D3E033BF-D45B-4B50-BFFF-6D4211E71BC0}"/>
                </a:ext>
              </a:extLst>
            </p:cNvPr>
            <p:cNvSpPr/>
            <p:nvPr/>
          </p:nvSpPr>
          <p:spPr>
            <a:xfrm flipH="1">
              <a:off x="2130517" y="758286"/>
              <a:ext cx="7944936" cy="2694851"/>
            </a:xfrm>
            <a:custGeom>
              <a:avLst/>
              <a:gdLst>
                <a:gd name="connsiteX0" fmla="*/ 0 w 2641940"/>
                <a:gd name="connsiteY0" fmla="*/ 0 h 825793"/>
                <a:gd name="connsiteX1" fmla="*/ 2229044 w 2641940"/>
                <a:gd name="connsiteY1" fmla="*/ 0 h 825793"/>
                <a:gd name="connsiteX2" fmla="*/ 2641940 w 2641940"/>
                <a:gd name="connsiteY2" fmla="*/ 412897 h 825793"/>
                <a:gd name="connsiteX3" fmla="*/ 2641940 w 2641940"/>
                <a:gd name="connsiteY3" fmla="*/ 825793 h 825793"/>
                <a:gd name="connsiteX4" fmla="*/ 0 w 2641940"/>
                <a:gd name="connsiteY4" fmla="*/ 825793 h 825793"/>
                <a:gd name="connsiteX5" fmla="*/ 0 w 2641940"/>
                <a:gd name="connsiteY5" fmla="*/ 0 h 825793"/>
                <a:gd name="connsiteX0" fmla="*/ 0 w 2641940"/>
                <a:gd name="connsiteY0" fmla="*/ 0 h 825793"/>
                <a:gd name="connsiteX1" fmla="*/ 2229044 w 2641940"/>
                <a:gd name="connsiteY1" fmla="*/ 0 h 825793"/>
                <a:gd name="connsiteX2" fmla="*/ 2639559 w 2641940"/>
                <a:gd name="connsiteY2" fmla="*/ 384322 h 825793"/>
                <a:gd name="connsiteX3" fmla="*/ 2641940 w 2641940"/>
                <a:gd name="connsiteY3" fmla="*/ 825793 h 825793"/>
                <a:gd name="connsiteX4" fmla="*/ 0 w 2641940"/>
                <a:gd name="connsiteY4" fmla="*/ 825793 h 825793"/>
                <a:gd name="connsiteX5" fmla="*/ 0 w 2641940"/>
                <a:gd name="connsiteY5" fmla="*/ 0 h 825793"/>
                <a:gd name="connsiteX0" fmla="*/ 0 w 2641940"/>
                <a:gd name="connsiteY0" fmla="*/ 5858 h 831651"/>
                <a:gd name="connsiteX1" fmla="*/ 2028216 w 2641940"/>
                <a:gd name="connsiteY1" fmla="*/ 0 h 831651"/>
                <a:gd name="connsiteX2" fmla="*/ 2639559 w 2641940"/>
                <a:gd name="connsiteY2" fmla="*/ 390180 h 831651"/>
                <a:gd name="connsiteX3" fmla="*/ 2641940 w 2641940"/>
                <a:gd name="connsiteY3" fmla="*/ 831651 h 831651"/>
                <a:gd name="connsiteX4" fmla="*/ 0 w 2641940"/>
                <a:gd name="connsiteY4" fmla="*/ 831651 h 831651"/>
                <a:gd name="connsiteX5" fmla="*/ 0 w 2641940"/>
                <a:gd name="connsiteY5" fmla="*/ 5858 h 831651"/>
                <a:gd name="connsiteX0" fmla="*/ 0 w 2641940"/>
                <a:gd name="connsiteY0" fmla="*/ 5858 h 831651"/>
                <a:gd name="connsiteX1" fmla="*/ 2028216 w 2641940"/>
                <a:gd name="connsiteY1" fmla="*/ 0 h 831651"/>
                <a:gd name="connsiteX2" fmla="*/ 2623620 w 2641940"/>
                <a:gd name="connsiteY2" fmla="*/ 527849 h 831651"/>
                <a:gd name="connsiteX3" fmla="*/ 2641940 w 2641940"/>
                <a:gd name="connsiteY3" fmla="*/ 831651 h 831651"/>
                <a:gd name="connsiteX4" fmla="*/ 0 w 2641940"/>
                <a:gd name="connsiteY4" fmla="*/ 831651 h 831651"/>
                <a:gd name="connsiteX5" fmla="*/ 0 w 2641940"/>
                <a:gd name="connsiteY5" fmla="*/ 5858 h 831651"/>
                <a:gd name="connsiteX0" fmla="*/ 0 w 2641940"/>
                <a:gd name="connsiteY0" fmla="*/ 2929 h 828722"/>
                <a:gd name="connsiteX1" fmla="*/ 2023434 w 2641940"/>
                <a:gd name="connsiteY1" fmla="*/ 0 h 828722"/>
                <a:gd name="connsiteX2" fmla="*/ 2623620 w 2641940"/>
                <a:gd name="connsiteY2" fmla="*/ 524920 h 828722"/>
                <a:gd name="connsiteX3" fmla="*/ 2641940 w 2641940"/>
                <a:gd name="connsiteY3" fmla="*/ 828722 h 828722"/>
                <a:gd name="connsiteX4" fmla="*/ 0 w 2641940"/>
                <a:gd name="connsiteY4" fmla="*/ 828722 h 828722"/>
                <a:gd name="connsiteX5" fmla="*/ 0 w 2641940"/>
                <a:gd name="connsiteY5" fmla="*/ 2929 h 828722"/>
                <a:gd name="connsiteX0" fmla="*/ 0 w 2651288"/>
                <a:gd name="connsiteY0" fmla="*/ 2929 h 828722"/>
                <a:gd name="connsiteX1" fmla="*/ 2023434 w 2651288"/>
                <a:gd name="connsiteY1" fmla="*/ 0 h 828722"/>
                <a:gd name="connsiteX2" fmla="*/ 2651247 w 2651288"/>
                <a:gd name="connsiteY2" fmla="*/ 538589 h 828722"/>
                <a:gd name="connsiteX3" fmla="*/ 2641940 w 2651288"/>
                <a:gd name="connsiteY3" fmla="*/ 828722 h 828722"/>
                <a:gd name="connsiteX4" fmla="*/ 0 w 2651288"/>
                <a:gd name="connsiteY4" fmla="*/ 828722 h 828722"/>
                <a:gd name="connsiteX5" fmla="*/ 0 w 2651288"/>
                <a:gd name="connsiteY5" fmla="*/ 2929 h 828722"/>
                <a:gd name="connsiteX0" fmla="*/ 0 w 2651247"/>
                <a:gd name="connsiteY0" fmla="*/ 2929 h 828722"/>
                <a:gd name="connsiteX1" fmla="*/ 2023434 w 2651247"/>
                <a:gd name="connsiteY1" fmla="*/ 0 h 828722"/>
                <a:gd name="connsiteX2" fmla="*/ 2651247 w 2651247"/>
                <a:gd name="connsiteY2" fmla="*/ 538589 h 828722"/>
                <a:gd name="connsiteX3" fmla="*/ 2641940 w 2651247"/>
                <a:gd name="connsiteY3" fmla="*/ 828722 h 828722"/>
                <a:gd name="connsiteX4" fmla="*/ 0 w 2651247"/>
                <a:gd name="connsiteY4" fmla="*/ 828722 h 828722"/>
                <a:gd name="connsiteX5" fmla="*/ 0 w 2651247"/>
                <a:gd name="connsiteY5" fmla="*/ 2929 h 828722"/>
                <a:gd name="connsiteX0" fmla="*/ 0 w 2658941"/>
                <a:gd name="connsiteY0" fmla="*/ 2929 h 828722"/>
                <a:gd name="connsiteX1" fmla="*/ 2023434 w 2658941"/>
                <a:gd name="connsiteY1" fmla="*/ 0 h 828722"/>
                <a:gd name="connsiteX2" fmla="*/ 2651247 w 2658941"/>
                <a:gd name="connsiteY2" fmla="*/ 538589 h 828722"/>
                <a:gd name="connsiteX3" fmla="*/ 2658941 w 2658941"/>
                <a:gd name="connsiteY3" fmla="*/ 824816 h 828722"/>
                <a:gd name="connsiteX4" fmla="*/ 0 w 2658941"/>
                <a:gd name="connsiteY4" fmla="*/ 828722 h 828722"/>
                <a:gd name="connsiteX5" fmla="*/ 0 w 2658941"/>
                <a:gd name="connsiteY5" fmla="*/ 2929 h 828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58941" h="828722">
                  <a:moveTo>
                    <a:pt x="0" y="2929"/>
                  </a:moveTo>
                  <a:lnTo>
                    <a:pt x="2023434" y="0"/>
                  </a:lnTo>
                  <a:lnTo>
                    <a:pt x="2651247" y="538589"/>
                  </a:lnTo>
                  <a:cubicBezTo>
                    <a:pt x="2649916" y="747258"/>
                    <a:pt x="2658147" y="677659"/>
                    <a:pt x="2658941" y="824816"/>
                  </a:cubicBezTo>
                  <a:lnTo>
                    <a:pt x="0" y="828722"/>
                  </a:lnTo>
                  <a:lnTo>
                    <a:pt x="0" y="2929"/>
                  </a:lnTo>
                  <a:close/>
                </a:path>
              </a:pathLst>
            </a:custGeom>
            <a:gradFill flip="none" rotWithShape="1">
              <a:gsLst>
                <a:gs pos="14000">
                  <a:schemeClr val="accent1"/>
                </a:gs>
                <a:gs pos="100000">
                  <a:schemeClr val="accent1"/>
                </a:gs>
              </a:gsLst>
              <a:lin ang="36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FFFFFF"/>
                </a:solidFill>
                <a:effectLst/>
                <a:uLnTx/>
                <a:uFillTx/>
                <a:latin typeface="Arial"/>
                <a:cs typeface="+mn-cs"/>
              </a:endParaRPr>
            </a:p>
          </p:txBody>
        </p:sp>
      </p:grpSp>
      <p:grpSp>
        <p:nvGrpSpPr>
          <p:cNvPr id="5" name="Group 66">
            <a:extLst>
              <a:ext uri="{FF2B5EF4-FFF2-40B4-BE49-F238E27FC236}">
                <a16:creationId xmlns:a16="http://schemas.microsoft.com/office/drawing/2014/main" id="{0F947A2B-B0AF-41B8-B026-B13B52C2FE24}"/>
              </a:ext>
            </a:extLst>
          </p:cNvPr>
          <p:cNvGrpSpPr/>
          <p:nvPr/>
        </p:nvGrpSpPr>
        <p:grpSpPr>
          <a:xfrm>
            <a:off x="5527421" y="764530"/>
            <a:ext cx="2892687" cy="5161321"/>
            <a:chOff x="5324500" y="764530"/>
            <a:chExt cx="2892687" cy="5161321"/>
          </a:xfrm>
        </p:grpSpPr>
        <p:cxnSp>
          <p:nvCxnSpPr>
            <p:cNvPr id="6" name="Straight Connector 213">
              <a:extLst>
                <a:ext uri="{FF2B5EF4-FFF2-40B4-BE49-F238E27FC236}">
                  <a16:creationId xmlns:a16="http://schemas.microsoft.com/office/drawing/2014/main" id="{5C1179AB-055A-4519-9DDE-12AAEBB95364}"/>
                </a:ext>
              </a:extLst>
            </p:cNvPr>
            <p:cNvCxnSpPr>
              <a:cxnSpLocks/>
            </p:cNvCxnSpPr>
            <p:nvPr/>
          </p:nvCxnSpPr>
          <p:spPr>
            <a:xfrm flipH="1">
              <a:off x="5324500" y="764530"/>
              <a:ext cx="2892687" cy="2586562"/>
            </a:xfrm>
            <a:prstGeom prst="straightConnector1">
              <a:avLst/>
            </a:prstGeom>
            <a:ln w="25400">
              <a:solidFill>
                <a:schemeClr val="accent1"/>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7" name="Straight Connector 213">
              <a:extLst>
                <a:ext uri="{FF2B5EF4-FFF2-40B4-BE49-F238E27FC236}">
                  <a16:creationId xmlns:a16="http://schemas.microsoft.com/office/drawing/2014/main" id="{150AAEE6-EE5E-47AE-BD50-5053644E8BF3}"/>
                </a:ext>
              </a:extLst>
            </p:cNvPr>
            <p:cNvCxnSpPr>
              <a:cxnSpLocks/>
            </p:cNvCxnSpPr>
            <p:nvPr/>
          </p:nvCxnSpPr>
          <p:spPr>
            <a:xfrm flipH="1" flipV="1">
              <a:off x="5324500" y="3339289"/>
              <a:ext cx="2892687" cy="2586562"/>
            </a:xfrm>
            <a:prstGeom prst="straightConnector1">
              <a:avLst/>
            </a:prstGeom>
            <a:ln w="25400">
              <a:solidFill>
                <a:schemeClr val="accent1"/>
              </a:solidFill>
              <a:headEnd type="oval"/>
              <a:tailEnd type="oval"/>
            </a:ln>
          </p:spPr>
          <p:style>
            <a:lnRef idx="1">
              <a:schemeClr val="accent1"/>
            </a:lnRef>
            <a:fillRef idx="0">
              <a:schemeClr val="accent1"/>
            </a:fillRef>
            <a:effectRef idx="0">
              <a:schemeClr val="accent1"/>
            </a:effectRef>
            <a:fontRef idx="minor">
              <a:schemeClr val="tx1"/>
            </a:fontRef>
          </p:style>
        </p:cxnSp>
      </p:grpSp>
      <p:cxnSp>
        <p:nvCxnSpPr>
          <p:cNvPr id="8" name="Straight Connector 213">
            <a:extLst>
              <a:ext uri="{FF2B5EF4-FFF2-40B4-BE49-F238E27FC236}">
                <a16:creationId xmlns:a16="http://schemas.microsoft.com/office/drawing/2014/main" id="{11312D53-BA95-4956-B73D-EF6444CFAB95}"/>
              </a:ext>
            </a:extLst>
          </p:cNvPr>
          <p:cNvCxnSpPr>
            <a:cxnSpLocks/>
          </p:cNvCxnSpPr>
          <p:nvPr/>
        </p:nvCxnSpPr>
        <p:spPr>
          <a:xfrm flipH="1" flipV="1">
            <a:off x="2076016" y="4102677"/>
            <a:ext cx="1936785" cy="1812502"/>
          </a:xfrm>
          <a:prstGeom prst="straightConnector1">
            <a:avLst/>
          </a:prstGeom>
          <a:ln w="25400">
            <a:solidFill>
              <a:schemeClr val="accent1"/>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9" name="Straight Connector 213">
            <a:extLst>
              <a:ext uri="{FF2B5EF4-FFF2-40B4-BE49-F238E27FC236}">
                <a16:creationId xmlns:a16="http://schemas.microsoft.com/office/drawing/2014/main" id="{4F630760-FBAB-4D91-9EFA-283E07118D6A}"/>
              </a:ext>
            </a:extLst>
          </p:cNvPr>
          <p:cNvCxnSpPr>
            <a:cxnSpLocks/>
          </p:cNvCxnSpPr>
          <p:nvPr/>
        </p:nvCxnSpPr>
        <p:spPr>
          <a:xfrm flipH="1">
            <a:off x="2076016" y="764530"/>
            <a:ext cx="1936785" cy="1812502"/>
          </a:xfrm>
          <a:prstGeom prst="straightConnector1">
            <a:avLst/>
          </a:prstGeom>
          <a:ln w="25400">
            <a:solidFill>
              <a:schemeClr val="accent1"/>
            </a:solidFill>
            <a:headEnd type="oval"/>
            <a:tailEnd type="oval"/>
          </a:ln>
        </p:spPr>
        <p:style>
          <a:lnRef idx="1">
            <a:schemeClr val="accent1"/>
          </a:lnRef>
          <a:fillRef idx="0">
            <a:schemeClr val="accent1"/>
          </a:fillRef>
          <a:effectRef idx="0">
            <a:schemeClr val="accent1"/>
          </a:effectRef>
          <a:fontRef idx="minor">
            <a:schemeClr val="tx1"/>
          </a:fontRef>
        </p:style>
      </p:cxnSp>
      <p:grpSp>
        <p:nvGrpSpPr>
          <p:cNvPr id="10" name="Group 14">
            <a:extLst>
              <a:ext uri="{FF2B5EF4-FFF2-40B4-BE49-F238E27FC236}">
                <a16:creationId xmlns:a16="http://schemas.microsoft.com/office/drawing/2014/main" id="{0A13EECA-89F6-41F6-A4C0-5394FA4E8B89}"/>
              </a:ext>
            </a:extLst>
          </p:cNvPr>
          <p:cNvGrpSpPr/>
          <p:nvPr/>
        </p:nvGrpSpPr>
        <p:grpSpPr>
          <a:xfrm>
            <a:off x="2462524" y="2249790"/>
            <a:ext cx="2023558" cy="575394"/>
            <a:chOff x="3411155" y="3139680"/>
            <a:chExt cx="2023558" cy="575394"/>
          </a:xfrm>
        </p:grpSpPr>
        <p:sp>
          <p:nvSpPr>
            <p:cNvPr id="11" name="Rectangle: Single Corner Snipped 128">
              <a:extLst>
                <a:ext uri="{FF2B5EF4-FFF2-40B4-BE49-F238E27FC236}">
                  <a16:creationId xmlns:a16="http://schemas.microsoft.com/office/drawing/2014/main" id="{A682ECB5-C327-4005-AC73-B09672973D8B}"/>
                </a:ext>
              </a:extLst>
            </p:cNvPr>
            <p:cNvSpPr/>
            <p:nvPr/>
          </p:nvSpPr>
          <p:spPr>
            <a:xfrm flipH="1">
              <a:off x="3411155" y="3139680"/>
              <a:ext cx="2023558" cy="575394"/>
            </a:xfrm>
            <a:custGeom>
              <a:avLst/>
              <a:gdLst>
                <a:gd name="connsiteX0" fmla="*/ 0 w 2641940"/>
                <a:gd name="connsiteY0" fmla="*/ 0 h 825793"/>
                <a:gd name="connsiteX1" fmla="*/ 2229044 w 2641940"/>
                <a:gd name="connsiteY1" fmla="*/ 0 h 825793"/>
                <a:gd name="connsiteX2" fmla="*/ 2641940 w 2641940"/>
                <a:gd name="connsiteY2" fmla="*/ 412897 h 825793"/>
                <a:gd name="connsiteX3" fmla="*/ 2641940 w 2641940"/>
                <a:gd name="connsiteY3" fmla="*/ 825793 h 825793"/>
                <a:gd name="connsiteX4" fmla="*/ 0 w 2641940"/>
                <a:gd name="connsiteY4" fmla="*/ 825793 h 825793"/>
                <a:gd name="connsiteX5" fmla="*/ 0 w 2641940"/>
                <a:gd name="connsiteY5" fmla="*/ 0 h 825793"/>
                <a:gd name="connsiteX0" fmla="*/ 0 w 2641940"/>
                <a:gd name="connsiteY0" fmla="*/ 0 h 825793"/>
                <a:gd name="connsiteX1" fmla="*/ 2229044 w 2641940"/>
                <a:gd name="connsiteY1" fmla="*/ 0 h 825793"/>
                <a:gd name="connsiteX2" fmla="*/ 2639559 w 2641940"/>
                <a:gd name="connsiteY2" fmla="*/ 384322 h 825793"/>
                <a:gd name="connsiteX3" fmla="*/ 2641940 w 2641940"/>
                <a:gd name="connsiteY3" fmla="*/ 825793 h 825793"/>
                <a:gd name="connsiteX4" fmla="*/ 0 w 2641940"/>
                <a:gd name="connsiteY4" fmla="*/ 825793 h 825793"/>
                <a:gd name="connsiteX5" fmla="*/ 0 w 2641940"/>
                <a:gd name="connsiteY5" fmla="*/ 0 h 825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41940" h="825793">
                  <a:moveTo>
                    <a:pt x="0" y="0"/>
                  </a:moveTo>
                  <a:lnTo>
                    <a:pt x="2229044" y="0"/>
                  </a:lnTo>
                  <a:lnTo>
                    <a:pt x="2639559" y="384322"/>
                  </a:lnTo>
                  <a:cubicBezTo>
                    <a:pt x="2640353" y="531479"/>
                    <a:pt x="2641146" y="678636"/>
                    <a:pt x="2641940" y="825793"/>
                  </a:cubicBezTo>
                  <a:lnTo>
                    <a:pt x="0" y="825793"/>
                  </a:lnTo>
                  <a:lnTo>
                    <a:pt x="0" y="0"/>
                  </a:lnTo>
                  <a:close/>
                </a:path>
              </a:pathLst>
            </a:custGeom>
            <a:gradFill flip="none" rotWithShape="1">
              <a:gsLst>
                <a:gs pos="100000">
                  <a:schemeClr val="accent1"/>
                </a:gs>
                <a:gs pos="33000">
                  <a:schemeClr val="accent1"/>
                </a:gs>
              </a:gsLst>
              <a:lin ang="1800000" scaled="0"/>
              <a:tileRect/>
            </a:gradFill>
            <a:ln w="12700" cap="flat" cmpd="sng" algn="ctr">
              <a:noFill/>
              <a:prstDash val="solid"/>
              <a:miter lim="800000"/>
            </a:ln>
            <a:effectLst>
              <a:outerShdw blurRad="215900" sx="104000" sy="104000" algn="ctr" rotWithShape="0">
                <a:prstClr val="black">
                  <a:alpha val="19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0" cap="none" spc="0" normalizeH="0" baseline="0" noProof="0">
                <a:ln>
                  <a:noFill/>
                </a:ln>
                <a:solidFill>
                  <a:prstClr val="white"/>
                </a:solidFill>
                <a:effectLst/>
                <a:uLnTx/>
                <a:uFillTx/>
                <a:latin typeface="Arial"/>
                <a:cs typeface="+mn-cs"/>
              </a:endParaRPr>
            </a:p>
          </p:txBody>
        </p:sp>
        <p:sp>
          <p:nvSpPr>
            <p:cNvPr id="12" name="Rectangle 132">
              <a:extLst>
                <a:ext uri="{FF2B5EF4-FFF2-40B4-BE49-F238E27FC236}">
                  <a16:creationId xmlns:a16="http://schemas.microsoft.com/office/drawing/2014/main" id="{CFAAF519-9262-4A66-9209-2760CA28B9B4}"/>
                </a:ext>
              </a:extLst>
            </p:cNvPr>
            <p:cNvSpPr/>
            <p:nvPr/>
          </p:nvSpPr>
          <p:spPr>
            <a:xfrm>
              <a:off x="3672512" y="3293217"/>
              <a:ext cx="1500845" cy="276999"/>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FFFFFF"/>
                  </a:solidFill>
                  <a:effectLst/>
                  <a:uLnTx/>
                  <a:uFillTx/>
                  <a:latin typeface="Gill Sans MT" panose="020B0502020104020203" pitchFamily="34" charset="0"/>
                  <a:cs typeface="Segoe UI" panose="020B0502040204020203" pitchFamily="34" charset="0"/>
                </a:rPr>
                <a:t>Lorem Ipsum</a:t>
              </a:r>
            </a:p>
          </p:txBody>
        </p:sp>
      </p:grpSp>
      <p:sp>
        <p:nvSpPr>
          <p:cNvPr id="13" name="Rectangle 133">
            <a:extLst>
              <a:ext uri="{FF2B5EF4-FFF2-40B4-BE49-F238E27FC236}">
                <a16:creationId xmlns:a16="http://schemas.microsoft.com/office/drawing/2014/main" id="{6389517D-8D29-4253-A837-E13D2C18E73C}"/>
              </a:ext>
            </a:extLst>
          </p:cNvPr>
          <p:cNvSpPr/>
          <p:nvPr/>
        </p:nvSpPr>
        <p:spPr>
          <a:xfrm>
            <a:off x="4678155" y="2322044"/>
            <a:ext cx="1463648" cy="430887"/>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accent1"/>
                </a:solidFill>
                <a:effectLst/>
                <a:uLnTx/>
                <a:uFillTx/>
                <a:latin typeface="Gill Sans MT" panose="020B0502020104020203" pitchFamily="34" charset="0"/>
                <a:cs typeface="Segoe UI" panose="020B0502040204020203" pitchFamily="34" charset="0"/>
              </a:rPr>
              <a:t>Lorem ipsum</a:t>
            </a:r>
            <a:br>
              <a:rPr kumimoji="0" lang="en-US" sz="1400" b="0" i="0" u="none" strike="noStrike" kern="0" cap="none" spc="0" normalizeH="0" baseline="0" noProof="0" dirty="0">
                <a:ln>
                  <a:noFill/>
                </a:ln>
                <a:solidFill>
                  <a:schemeClr val="accent1"/>
                </a:solidFill>
                <a:effectLst/>
                <a:uLnTx/>
                <a:uFillTx/>
                <a:latin typeface="Gill Sans MT" panose="020B0502020104020203" pitchFamily="34" charset="0"/>
                <a:cs typeface="Segoe UI" panose="020B0502040204020203" pitchFamily="34" charset="0"/>
              </a:rPr>
            </a:br>
            <a:r>
              <a:rPr kumimoji="0" lang="en-US" sz="1400" b="0" i="0" u="none" strike="noStrike" kern="0" cap="none" spc="0" normalizeH="0" baseline="0" noProof="0" dirty="0">
                <a:ln>
                  <a:noFill/>
                </a:ln>
                <a:solidFill>
                  <a:schemeClr val="accent1"/>
                </a:solidFill>
                <a:effectLst/>
                <a:uLnTx/>
                <a:uFillTx/>
                <a:latin typeface="Gill Sans MT" panose="020B0502020104020203" pitchFamily="34" charset="0"/>
                <a:cs typeface="Segoe UI" panose="020B0502040204020203" pitchFamily="34" charset="0"/>
              </a:rPr>
              <a:t>dolor sit </a:t>
            </a:r>
            <a:r>
              <a:rPr kumimoji="0" lang="en-US" sz="1400" b="0" i="0" u="none" strike="noStrike" kern="0" cap="none" spc="0" normalizeH="0" baseline="0" noProof="0" dirty="0" err="1">
                <a:ln>
                  <a:noFill/>
                </a:ln>
                <a:solidFill>
                  <a:schemeClr val="accent1"/>
                </a:solidFill>
                <a:effectLst/>
                <a:uLnTx/>
                <a:uFillTx/>
                <a:latin typeface="Gill Sans MT" panose="020B0502020104020203" pitchFamily="34" charset="0"/>
                <a:cs typeface="Segoe UI" panose="020B0502040204020203" pitchFamily="34" charset="0"/>
              </a:rPr>
              <a:t>amet</a:t>
            </a:r>
            <a:r>
              <a:rPr kumimoji="0" lang="en-US" sz="1400" b="0" i="0" u="none" strike="noStrike" kern="0" cap="none" spc="0" normalizeH="0" baseline="0" noProof="0" dirty="0">
                <a:ln>
                  <a:noFill/>
                </a:ln>
                <a:solidFill>
                  <a:schemeClr val="accent1"/>
                </a:solidFill>
                <a:effectLst/>
                <a:uLnTx/>
                <a:uFillTx/>
                <a:latin typeface="Gill Sans MT" panose="020B0502020104020203" pitchFamily="34" charset="0"/>
                <a:cs typeface="Segoe UI" panose="020B0502040204020203" pitchFamily="34" charset="0"/>
              </a:rPr>
              <a:t>.</a:t>
            </a:r>
          </a:p>
        </p:txBody>
      </p:sp>
      <p:grpSp>
        <p:nvGrpSpPr>
          <p:cNvPr id="14" name="Group 146">
            <a:extLst>
              <a:ext uri="{FF2B5EF4-FFF2-40B4-BE49-F238E27FC236}">
                <a16:creationId xmlns:a16="http://schemas.microsoft.com/office/drawing/2014/main" id="{B750334D-B1F4-4D6D-B5C4-E39BE3284E7F}"/>
              </a:ext>
            </a:extLst>
          </p:cNvPr>
          <p:cNvGrpSpPr/>
          <p:nvPr/>
        </p:nvGrpSpPr>
        <p:grpSpPr>
          <a:xfrm>
            <a:off x="3544201" y="1411147"/>
            <a:ext cx="2023558" cy="575394"/>
            <a:chOff x="3411155" y="3139680"/>
            <a:chExt cx="2023558" cy="575394"/>
          </a:xfrm>
        </p:grpSpPr>
        <p:sp>
          <p:nvSpPr>
            <p:cNvPr id="15" name="Rectangle: Single Corner Snipped 128">
              <a:extLst>
                <a:ext uri="{FF2B5EF4-FFF2-40B4-BE49-F238E27FC236}">
                  <a16:creationId xmlns:a16="http://schemas.microsoft.com/office/drawing/2014/main" id="{871E4EFA-D149-4CF0-837D-EF176DEAB3F5}"/>
                </a:ext>
              </a:extLst>
            </p:cNvPr>
            <p:cNvSpPr/>
            <p:nvPr/>
          </p:nvSpPr>
          <p:spPr>
            <a:xfrm flipH="1">
              <a:off x="3411155" y="3139680"/>
              <a:ext cx="2023558" cy="575394"/>
            </a:xfrm>
            <a:custGeom>
              <a:avLst/>
              <a:gdLst>
                <a:gd name="connsiteX0" fmla="*/ 0 w 2641940"/>
                <a:gd name="connsiteY0" fmla="*/ 0 h 825793"/>
                <a:gd name="connsiteX1" fmla="*/ 2229044 w 2641940"/>
                <a:gd name="connsiteY1" fmla="*/ 0 h 825793"/>
                <a:gd name="connsiteX2" fmla="*/ 2641940 w 2641940"/>
                <a:gd name="connsiteY2" fmla="*/ 412897 h 825793"/>
                <a:gd name="connsiteX3" fmla="*/ 2641940 w 2641940"/>
                <a:gd name="connsiteY3" fmla="*/ 825793 h 825793"/>
                <a:gd name="connsiteX4" fmla="*/ 0 w 2641940"/>
                <a:gd name="connsiteY4" fmla="*/ 825793 h 825793"/>
                <a:gd name="connsiteX5" fmla="*/ 0 w 2641940"/>
                <a:gd name="connsiteY5" fmla="*/ 0 h 825793"/>
                <a:gd name="connsiteX0" fmla="*/ 0 w 2641940"/>
                <a:gd name="connsiteY0" fmla="*/ 0 h 825793"/>
                <a:gd name="connsiteX1" fmla="*/ 2229044 w 2641940"/>
                <a:gd name="connsiteY1" fmla="*/ 0 h 825793"/>
                <a:gd name="connsiteX2" fmla="*/ 2639559 w 2641940"/>
                <a:gd name="connsiteY2" fmla="*/ 384322 h 825793"/>
                <a:gd name="connsiteX3" fmla="*/ 2641940 w 2641940"/>
                <a:gd name="connsiteY3" fmla="*/ 825793 h 825793"/>
                <a:gd name="connsiteX4" fmla="*/ 0 w 2641940"/>
                <a:gd name="connsiteY4" fmla="*/ 825793 h 825793"/>
                <a:gd name="connsiteX5" fmla="*/ 0 w 2641940"/>
                <a:gd name="connsiteY5" fmla="*/ 0 h 825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41940" h="825793">
                  <a:moveTo>
                    <a:pt x="0" y="0"/>
                  </a:moveTo>
                  <a:lnTo>
                    <a:pt x="2229044" y="0"/>
                  </a:lnTo>
                  <a:lnTo>
                    <a:pt x="2639559" y="384322"/>
                  </a:lnTo>
                  <a:cubicBezTo>
                    <a:pt x="2640353" y="531479"/>
                    <a:pt x="2641146" y="678636"/>
                    <a:pt x="2641940" y="825793"/>
                  </a:cubicBezTo>
                  <a:lnTo>
                    <a:pt x="0" y="825793"/>
                  </a:lnTo>
                  <a:lnTo>
                    <a:pt x="0" y="0"/>
                  </a:lnTo>
                  <a:close/>
                </a:path>
              </a:pathLst>
            </a:custGeom>
            <a:gradFill flip="none" rotWithShape="1">
              <a:gsLst>
                <a:gs pos="100000">
                  <a:schemeClr val="accent1"/>
                </a:gs>
                <a:gs pos="33000">
                  <a:schemeClr val="accent1"/>
                </a:gs>
              </a:gsLst>
              <a:lin ang="1800000" scaled="0"/>
              <a:tileRect/>
            </a:gradFill>
            <a:ln w="12700" cap="flat" cmpd="sng" algn="ctr">
              <a:noFill/>
              <a:prstDash val="solid"/>
              <a:miter lim="800000"/>
            </a:ln>
            <a:effectLst>
              <a:outerShdw blurRad="215900" sx="104000" sy="104000" algn="ctr" rotWithShape="0">
                <a:prstClr val="black">
                  <a:alpha val="19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0" cap="none" spc="0" normalizeH="0" baseline="0" noProof="0">
                <a:ln>
                  <a:noFill/>
                </a:ln>
                <a:solidFill>
                  <a:prstClr val="white"/>
                </a:solidFill>
                <a:effectLst/>
                <a:uLnTx/>
                <a:uFillTx/>
                <a:latin typeface="Arial"/>
                <a:cs typeface="+mn-cs"/>
              </a:endParaRPr>
            </a:p>
          </p:txBody>
        </p:sp>
        <p:sp>
          <p:nvSpPr>
            <p:cNvPr id="16" name="Rectangle 151">
              <a:extLst>
                <a:ext uri="{FF2B5EF4-FFF2-40B4-BE49-F238E27FC236}">
                  <a16:creationId xmlns:a16="http://schemas.microsoft.com/office/drawing/2014/main" id="{74F433AE-76D6-4544-9152-43AF2BEEE9C3}"/>
                </a:ext>
              </a:extLst>
            </p:cNvPr>
            <p:cNvSpPr/>
            <p:nvPr/>
          </p:nvSpPr>
          <p:spPr>
            <a:xfrm>
              <a:off x="3672512" y="3293217"/>
              <a:ext cx="1500845" cy="276999"/>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FFFFFF"/>
                  </a:solidFill>
                  <a:effectLst/>
                  <a:uLnTx/>
                  <a:uFillTx/>
                  <a:latin typeface="Gill Sans MT" panose="020B0502020104020203" pitchFamily="34" charset="0"/>
                  <a:cs typeface="Segoe UI" panose="020B0502040204020203" pitchFamily="34" charset="0"/>
                </a:rPr>
                <a:t>Lorem Ipsum</a:t>
              </a:r>
            </a:p>
          </p:txBody>
        </p:sp>
      </p:grpSp>
      <p:sp>
        <p:nvSpPr>
          <p:cNvPr id="17" name="Rectangle 147">
            <a:extLst>
              <a:ext uri="{FF2B5EF4-FFF2-40B4-BE49-F238E27FC236}">
                <a16:creationId xmlns:a16="http://schemas.microsoft.com/office/drawing/2014/main" id="{ECF5EC3C-D9D2-4CD4-AAB9-CA1F8C8E78E2}"/>
              </a:ext>
            </a:extLst>
          </p:cNvPr>
          <p:cNvSpPr/>
          <p:nvPr/>
        </p:nvSpPr>
        <p:spPr>
          <a:xfrm>
            <a:off x="5759832" y="1483401"/>
            <a:ext cx="1463648" cy="430887"/>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accent1"/>
                </a:solidFill>
                <a:effectLst/>
                <a:uLnTx/>
                <a:uFillTx/>
                <a:latin typeface="Gill Sans MT" panose="020B0502020104020203" pitchFamily="34" charset="0"/>
                <a:cs typeface="Segoe UI" panose="020B0502040204020203" pitchFamily="34" charset="0"/>
              </a:rPr>
              <a:t>Lorem ipsum</a:t>
            </a:r>
            <a:br>
              <a:rPr kumimoji="0" lang="en-US" sz="1400" b="0" i="0" u="none" strike="noStrike" kern="0" cap="none" spc="0" normalizeH="0" baseline="0" noProof="0" dirty="0">
                <a:ln>
                  <a:noFill/>
                </a:ln>
                <a:solidFill>
                  <a:schemeClr val="accent1"/>
                </a:solidFill>
                <a:effectLst/>
                <a:uLnTx/>
                <a:uFillTx/>
                <a:latin typeface="Gill Sans MT" panose="020B0502020104020203" pitchFamily="34" charset="0"/>
                <a:cs typeface="Segoe UI" panose="020B0502040204020203" pitchFamily="34" charset="0"/>
              </a:rPr>
            </a:br>
            <a:r>
              <a:rPr kumimoji="0" lang="en-US" sz="1400" b="0" i="0" u="none" strike="noStrike" kern="0" cap="none" spc="0" normalizeH="0" baseline="0" noProof="0" dirty="0">
                <a:ln>
                  <a:noFill/>
                </a:ln>
                <a:solidFill>
                  <a:schemeClr val="accent1"/>
                </a:solidFill>
                <a:effectLst/>
                <a:uLnTx/>
                <a:uFillTx/>
                <a:latin typeface="Gill Sans MT" panose="020B0502020104020203" pitchFamily="34" charset="0"/>
                <a:cs typeface="Segoe UI" panose="020B0502040204020203" pitchFamily="34" charset="0"/>
              </a:rPr>
              <a:t>dolor sit </a:t>
            </a:r>
            <a:r>
              <a:rPr kumimoji="0" lang="en-US" sz="1400" b="0" i="0" u="none" strike="noStrike" kern="0" cap="none" spc="0" normalizeH="0" baseline="0" noProof="0" dirty="0" err="1">
                <a:ln>
                  <a:noFill/>
                </a:ln>
                <a:solidFill>
                  <a:schemeClr val="accent1"/>
                </a:solidFill>
                <a:effectLst/>
                <a:uLnTx/>
                <a:uFillTx/>
                <a:latin typeface="Gill Sans MT" panose="020B0502020104020203" pitchFamily="34" charset="0"/>
                <a:cs typeface="Segoe UI" panose="020B0502040204020203" pitchFamily="34" charset="0"/>
              </a:rPr>
              <a:t>amet</a:t>
            </a:r>
            <a:r>
              <a:rPr kumimoji="0" lang="en-US" sz="1400" b="0" i="0" u="none" strike="noStrike" kern="0" cap="none" spc="0" normalizeH="0" baseline="0" noProof="0" dirty="0">
                <a:ln>
                  <a:noFill/>
                </a:ln>
                <a:solidFill>
                  <a:schemeClr val="accent1"/>
                </a:solidFill>
                <a:effectLst/>
                <a:uLnTx/>
                <a:uFillTx/>
                <a:latin typeface="Gill Sans MT" panose="020B0502020104020203" pitchFamily="34" charset="0"/>
                <a:cs typeface="Segoe UI" panose="020B0502040204020203" pitchFamily="34" charset="0"/>
              </a:rPr>
              <a:t>.</a:t>
            </a:r>
          </a:p>
        </p:txBody>
      </p:sp>
      <p:grpSp>
        <p:nvGrpSpPr>
          <p:cNvPr id="18" name="Group 153">
            <a:extLst>
              <a:ext uri="{FF2B5EF4-FFF2-40B4-BE49-F238E27FC236}">
                <a16:creationId xmlns:a16="http://schemas.microsoft.com/office/drawing/2014/main" id="{A7B2B348-60E5-4443-9FF2-AE809E0CA02C}"/>
              </a:ext>
            </a:extLst>
          </p:cNvPr>
          <p:cNvGrpSpPr/>
          <p:nvPr/>
        </p:nvGrpSpPr>
        <p:grpSpPr>
          <a:xfrm>
            <a:off x="4625878" y="572505"/>
            <a:ext cx="2023558" cy="575394"/>
            <a:chOff x="3411155" y="3139680"/>
            <a:chExt cx="2023558" cy="575394"/>
          </a:xfrm>
        </p:grpSpPr>
        <p:sp>
          <p:nvSpPr>
            <p:cNvPr id="19" name="Rectangle: Single Corner Snipped 128">
              <a:extLst>
                <a:ext uri="{FF2B5EF4-FFF2-40B4-BE49-F238E27FC236}">
                  <a16:creationId xmlns:a16="http://schemas.microsoft.com/office/drawing/2014/main" id="{A3FC221A-90FC-463D-9B26-D3ED85234601}"/>
                </a:ext>
              </a:extLst>
            </p:cNvPr>
            <p:cNvSpPr/>
            <p:nvPr/>
          </p:nvSpPr>
          <p:spPr>
            <a:xfrm flipH="1">
              <a:off x="3411155" y="3139680"/>
              <a:ext cx="2023558" cy="575394"/>
            </a:xfrm>
            <a:custGeom>
              <a:avLst/>
              <a:gdLst>
                <a:gd name="connsiteX0" fmla="*/ 0 w 2641940"/>
                <a:gd name="connsiteY0" fmla="*/ 0 h 825793"/>
                <a:gd name="connsiteX1" fmla="*/ 2229044 w 2641940"/>
                <a:gd name="connsiteY1" fmla="*/ 0 h 825793"/>
                <a:gd name="connsiteX2" fmla="*/ 2641940 w 2641940"/>
                <a:gd name="connsiteY2" fmla="*/ 412897 h 825793"/>
                <a:gd name="connsiteX3" fmla="*/ 2641940 w 2641940"/>
                <a:gd name="connsiteY3" fmla="*/ 825793 h 825793"/>
                <a:gd name="connsiteX4" fmla="*/ 0 w 2641940"/>
                <a:gd name="connsiteY4" fmla="*/ 825793 h 825793"/>
                <a:gd name="connsiteX5" fmla="*/ 0 w 2641940"/>
                <a:gd name="connsiteY5" fmla="*/ 0 h 825793"/>
                <a:gd name="connsiteX0" fmla="*/ 0 w 2641940"/>
                <a:gd name="connsiteY0" fmla="*/ 0 h 825793"/>
                <a:gd name="connsiteX1" fmla="*/ 2229044 w 2641940"/>
                <a:gd name="connsiteY1" fmla="*/ 0 h 825793"/>
                <a:gd name="connsiteX2" fmla="*/ 2639559 w 2641940"/>
                <a:gd name="connsiteY2" fmla="*/ 384322 h 825793"/>
                <a:gd name="connsiteX3" fmla="*/ 2641940 w 2641940"/>
                <a:gd name="connsiteY3" fmla="*/ 825793 h 825793"/>
                <a:gd name="connsiteX4" fmla="*/ 0 w 2641940"/>
                <a:gd name="connsiteY4" fmla="*/ 825793 h 825793"/>
                <a:gd name="connsiteX5" fmla="*/ 0 w 2641940"/>
                <a:gd name="connsiteY5" fmla="*/ 0 h 825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41940" h="825793">
                  <a:moveTo>
                    <a:pt x="0" y="0"/>
                  </a:moveTo>
                  <a:lnTo>
                    <a:pt x="2229044" y="0"/>
                  </a:lnTo>
                  <a:lnTo>
                    <a:pt x="2639559" y="384322"/>
                  </a:lnTo>
                  <a:cubicBezTo>
                    <a:pt x="2640353" y="531479"/>
                    <a:pt x="2641146" y="678636"/>
                    <a:pt x="2641940" y="825793"/>
                  </a:cubicBezTo>
                  <a:lnTo>
                    <a:pt x="0" y="825793"/>
                  </a:lnTo>
                  <a:lnTo>
                    <a:pt x="0" y="0"/>
                  </a:lnTo>
                  <a:close/>
                </a:path>
              </a:pathLst>
            </a:custGeom>
            <a:gradFill flip="none" rotWithShape="1">
              <a:gsLst>
                <a:gs pos="100000">
                  <a:schemeClr val="accent1"/>
                </a:gs>
                <a:gs pos="33000">
                  <a:schemeClr val="accent1"/>
                </a:gs>
              </a:gsLst>
              <a:lin ang="1800000" scaled="0"/>
              <a:tileRect/>
            </a:gradFill>
            <a:ln w="12700" cap="flat" cmpd="sng" algn="ctr">
              <a:noFill/>
              <a:prstDash val="solid"/>
              <a:miter lim="800000"/>
            </a:ln>
            <a:effectLst>
              <a:outerShdw blurRad="215900" sx="104000" sy="104000" algn="ctr" rotWithShape="0">
                <a:prstClr val="black">
                  <a:alpha val="19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0" cap="none" spc="0" normalizeH="0" baseline="0" noProof="0">
                <a:ln>
                  <a:noFill/>
                </a:ln>
                <a:solidFill>
                  <a:prstClr val="white"/>
                </a:solidFill>
                <a:effectLst/>
                <a:uLnTx/>
                <a:uFillTx/>
                <a:latin typeface="Arial"/>
                <a:cs typeface="+mn-cs"/>
              </a:endParaRPr>
            </a:p>
          </p:txBody>
        </p:sp>
        <p:sp>
          <p:nvSpPr>
            <p:cNvPr id="20" name="Rectangle 190">
              <a:extLst>
                <a:ext uri="{FF2B5EF4-FFF2-40B4-BE49-F238E27FC236}">
                  <a16:creationId xmlns:a16="http://schemas.microsoft.com/office/drawing/2014/main" id="{96538669-4016-46FF-A912-76014A5CBE67}"/>
                </a:ext>
              </a:extLst>
            </p:cNvPr>
            <p:cNvSpPr/>
            <p:nvPr/>
          </p:nvSpPr>
          <p:spPr>
            <a:xfrm>
              <a:off x="3672512" y="3293217"/>
              <a:ext cx="1500845" cy="276999"/>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FFFFFF"/>
                  </a:solidFill>
                  <a:effectLst/>
                  <a:uLnTx/>
                  <a:uFillTx/>
                  <a:latin typeface="Gill Sans MT" panose="020B0502020104020203" pitchFamily="34" charset="0"/>
                  <a:cs typeface="Segoe UI" panose="020B0502040204020203" pitchFamily="34" charset="0"/>
                </a:rPr>
                <a:t>Lorem Ipsum</a:t>
              </a:r>
            </a:p>
          </p:txBody>
        </p:sp>
      </p:grpSp>
      <p:sp>
        <p:nvSpPr>
          <p:cNvPr id="21" name="Rectangle 165">
            <a:extLst>
              <a:ext uri="{FF2B5EF4-FFF2-40B4-BE49-F238E27FC236}">
                <a16:creationId xmlns:a16="http://schemas.microsoft.com/office/drawing/2014/main" id="{34F583C6-807C-4EC4-8C56-1A65AD45459D}"/>
              </a:ext>
            </a:extLst>
          </p:cNvPr>
          <p:cNvSpPr/>
          <p:nvPr/>
        </p:nvSpPr>
        <p:spPr>
          <a:xfrm>
            <a:off x="6841509" y="644759"/>
            <a:ext cx="1463648" cy="430887"/>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accent1"/>
                </a:solidFill>
                <a:effectLst/>
                <a:uLnTx/>
                <a:uFillTx/>
                <a:latin typeface="Gill Sans MT" panose="020B0502020104020203" pitchFamily="34" charset="0"/>
                <a:cs typeface="Segoe UI" panose="020B0502040204020203" pitchFamily="34" charset="0"/>
              </a:rPr>
              <a:t>Lorem ipsum</a:t>
            </a:r>
            <a:br>
              <a:rPr kumimoji="0" lang="en-US" sz="1400" b="0" i="0" u="none" strike="noStrike" kern="0" cap="none" spc="0" normalizeH="0" baseline="0" noProof="0" dirty="0">
                <a:ln>
                  <a:noFill/>
                </a:ln>
                <a:solidFill>
                  <a:schemeClr val="accent1"/>
                </a:solidFill>
                <a:effectLst/>
                <a:uLnTx/>
                <a:uFillTx/>
                <a:latin typeface="Gill Sans MT" panose="020B0502020104020203" pitchFamily="34" charset="0"/>
                <a:cs typeface="Segoe UI" panose="020B0502040204020203" pitchFamily="34" charset="0"/>
              </a:rPr>
            </a:br>
            <a:r>
              <a:rPr kumimoji="0" lang="en-US" sz="1400" b="0" i="0" u="none" strike="noStrike" kern="0" cap="none" spc="0" normalizeH="0" baseline="0" noProof="0" dirty="0">
                <a:ln>
                  <a:noFill/>
                </a:ln>
                <a:solidFill>
                  <a:schemeClr val="accent1"/>
                </a:solidFill>
                <a:effectLst/>
                <a:uLnTx/>
                <a:uFillTx/>
                <a:latin typeface="Gill Sans MT" panose="020B0502020104020203" pitchFamily="34" charset="0"/>
                <a:cs typeface="Segoe UI" panose="020B0502040204020203" pitchFamily="34" charset="0"/>
              </a:rPr>
              <a:t>dolor sit </a:t>
            </a:r>
            <a:r>
              <a:rPr kumimoji="0" lang="en-US" sz="1400" b="0" i="0" u="none" strike="noStrike" kern="0" cap="none" spc="0" normalizeH="0" baseline="0" noProof="0" dirty="0" err="1">
                <a:ln>
                  <a:noFill/>
                </a:ln>
                <a:solidFill>
                  <a:schemeClr val="accent1"/>
                </a:solidFill>
                <a:effectLst/>
                <a:uLnTx/>
                <a:uFillTx/>
                <a:latin typeface="Gill Sans MT" panose="020B0502020104020203" pitchFamily="34" charset="0"/>
                <a:cs typeface="Segoe UI" panose="020B0502040204020203" pitchFamily="34" charset="0"/>
              </a:rPr>
              <a:t>amet</a:t>
            </a:r>
            <a:r>
              <a:rPr kumimoji="0" lang="en-US" sz="1400" b="0" i="0" u="none" strike="noStrike" kern="0" cap="none" spc="0" normalizeH="0" baseline="0" noProof="0" dirty="0">
                <a:ln>
                  <a:noFill/>
                </a:ln>
                <a:solidFill>
                  <a:schemeClr val="accent1"/>
                </a:solidFill>
                <a:effectLst/>
                <a:uLnTx/>
                <a:uFillTx/>
                <a:latin typeface="Gill Sans MT" panose="020B0502020104020203" pitchFamily="34" charset="0"/>
                <a:cs typeface="Segoe UI" panose="020B0502040204020203" pitchFamily="34" charset="0"/>
              </a:rPr>
              <a:t>.</a:t>
            </a:r>
          </a:p>
        </p:txBody>
      </p:sp>
      <p:grpSp>
        <p:nvGrpSpPr>
          <p:cNvPr id="22" name="Group 199">
            <a:extLst>
              <a:ext uri="{FF2B5EF4-FFF2-40B4-BE49-F238E27FC236}">
                <a16:creationId xmlns:a16="http://schemas.microsoft.com/office/drawing/2014/main" id="{D0F9847D-8126-478E-B615-09495F6A7526}"/>
              </a:ext>
            </a:extLst>
          </p:cNvPr>
          <p:cNvGrpSpPr/>
          <p:nvPr/>
        </p:nvGrpSpPr>
        <p:grpSpPr>
          <a:xfrm>
            <a:off x="6735319" y="2248996"/>
            <a:ext cx="2023558" cy="575394"/>
            <a:chOff x="3411155" y="3139680"/>
            <a:chExt cx="2023558" cy="575394"/>
          </a:xfrm>
        </p:grpSpPr>
        <p:sp>
          <p:nvSpPr>
            <p:cNvPr id="23" name="Rectangle: Single Corner Snipped 128">
              <a:extLst>
                <a:ext uri="{FF2B5EF4-FFF2-40B4-BE49-F238E27FC236}">
                  <a16:creationId xmlns:a16="http://schemas.microsoft.com/office/drawing/2014/main" id="{F256A95F-94E5-4A2A-8E5C-0C8135FA30FE}"/>
                </a:ext>
              </a:extLst>
            </p:cNvPr>
            <p:cNvSpPr/>
            <p:nvPr/>
          </p:nvSpPr>
          <p:spPr>
            <a:xfrm flipH="1">
              <a:off x="3411155" y="3139680"/>
              <a:ext cx="2023558" cy="575394"/>
            </a:xfrm>
            <a:custGeom>
              <a:avLst/>
              <a:gdLst>
                <a:gd name="connsiteX0" fmla="*/ 0 w 2641940"/>
                <a:gd name="connsiteY0" fmla="*/ 0 h 825793"/>
                <a:gd name="connsiteX1" fmla="*/ 2229044 w 2641940"/>
                <a:gd name="connsiteY1" fmla="*/ 0 h 825793"/>
                <a:gd name="connsiteX2" fmla="*/ 2641940 w 2641940"/>
                <a:gd name="connsiteY2" fmla="*/ 412897 h 825793"/>
                <a:gd name="connsiteX3" fmla="*/ 2641940 w 2641940"/>
                <a:gd name="connsiteY3" fmla="*/ 825793 h 825793"/>
                <a:gd name="connsiteX4" fmla="*/ 0 w 2641940"/>
                <a:gd name="connsiteY4" fmla="*/ 825793 h 825793"/>
                <a:gd name="connsiteX5" fmla="*/ 0 w 2641940"/>
                <a:gd name="connsiteY5" fmla="*/ 0 h 825793"/>
                <a:gd name="connsiteX0" fmla="*/ 0 w 2641940"/>
                <a:gd name="connsiteY0" fmla="*/ 0 h 825793"/>
                <a:gd name="connsiteX1" fmla="*/ 2229044 w 2641940"/>
                <a:gd name="connsiteY1" fmla="*/ 0 h 825793"/>
                <a:gd name="connsiteX2" fmla="*/ 2639559 w 2641940"/>
                <a:gd name="connsiteY2" fmla="*/ 384322 h 825793"/>
                <a:gd name="connsiteX3" fmla="*/ 2641940 w 2641940"/>
                <a:gd name="connsiteY3" fmla="*/ 825793 h 825793"/>
                <a:gd name="connsiteX4" fmla="*/ 0 w 2641940"/>
                <a:gd name="connsiteY4" fmla="*/ 825793 h 825793"/>
                <a:gd name="connsiteX5" fmla="*/ 0 w 2641940"/>
                <a:gd name="connsiteY5" fmla="*/ 0 h 825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41940" h="825793">
                  <a:moveTo>
                    <a:pt x="0" y="0"/>
                  </a:moveTo>
                  <a:lnTo>
                    <a:pt x="2229044" y="0"/>
                  </a:lnTo>
                  <a:lnTo>
                    <a:pt x="2639559" y="384322"/>
                  </a:lnTo>
                  <a:cubicBezTo>
                    <a:pt x="2640353" y="531479"/>
                    <a:pt x="2641146" y="678636"/>
                    <a:pt x="2641940" y="825793"/>
                  </a:cubicBezTo>
                  <a:lnTo>
                    <a:pt x="0" y="825793"/>
                  </a:lnTo>
                  <a:lnTo>
                    <a:pt x="0" y="0"/>
                  </a:lnTo>
                  <a:close/>
                </a:path>
              </a:pathLst>
            </a:custGeom>
            <a:gradFill flip="none" rotWithShape="1">
              <a:gsLst>
                <a:gs pos="100000">
                  <a:schemeClr val="accent1"/>
                </a:gs>
                <a:gs pos="33000">
                  <a:schemeClr val="accent1"/>
                </a:gs>
              </a:gsLst>
              <a:lin ang="1800000" scaled="0"/>
              <a:tileRect/>
            </a:gradFill>
            <a:ln w="12700" cap="flat" cmpd="sng" algn="ctr">
              <a:noFill/>
              <a:prstDash val="solid"/>
              <a:miter lim="800000"/>
            </a:ln>
            <a:effectLst>
              <a:outerShdw blurRad="215900" sx="104000" sy="104000" algn="ctr" rotWithShape="0">
                <a:prstClr val="black">
                  <a:alpha val="19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0" cap="none" spc="0" normalizeH="0" baseline="0" noProof="0">
                <a:ln>
                  <a:noFill/>
                </a:ln>
                <a:solidFill>
                  <a:prstClr val="white"/>
                </a:solidFill>
                <a:effectLst/>
                <a:uLnTx/>
                <a:uFillTx/>
                <a:latin typeface="Arial"/>
                <a:cs typeface="+mn-cs"/>
              </a:endParaRPr>
            </a:p>
          </p:txBody>
        </p:sp>
        <p:sp>
          <p:nvSpPr>
            <p:cNvPr id="24" name="Rectangle 202">
              <a:extLst>
                <a:ext uri="{FF2B5EF4-FFF2-40B4-BE49-F238E27FC236}">
                  <a16:creationId xmlns:a16="http://schemas.microsoft.com/office/drawing/2014/main" id="{8B5E3E43-E698-471A-8FC2-CDE854EB8E60}"/>
                </a:ext>
              </a:extLst>
            </p:cNvPr>
            <p:cNvSpPr/>
            <p:nvPr/>
          </p:nvSpPr>
          <p:spPr>
            <a:xfrm>
              <a:off x="3672512" y="3293217"/>
              <a:ext cx="1500845" cy="276999"/>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FFFFFF"/>
                  </a:solidFill>
                  <a:effectLst/>
                  <a:uLnTx/>
                  <a:uFillTx/>
                  <a:latin typeface="Gill Sans MT" panose="020B0502020104020203" pitchFamily="34" charset="0"/>
                  <a:cs typeface="Segoe UI" panose="020B0502040204020203" pitchFamily="34" charset="0"/>
                </a:rPr>
                <a:t>Lorem Ipsum</a:t>
              </a:r>
            </a:p>
          </p:txBody>
        </p:sp>
      </p:grpSp>
      <p:sp>
        <p:nvSpPr>
          <p:cNvPr id="25" name="Rectangle 200">
            <a:extLst>
              <a:ext uri="{FF2B5EF4-FFF2-40B4-BE49-F238E27FC236}">
                <a16:creationId xmlns:a16="http://schemas.microsoft.com/office/drawing/2014/main" id="{80F47E4B-B5E9-4D6C-B980-A3AC5DCC8402}"/>
              </a:ext>
            </a:extLst>
          </p:cNvPr>
          <p:cNvSpPr/>
          <p:nvPr/>
        </p:nvSpPr>
        <p:spPr>
          <a:xfrm>
            <a:off x="8950950" y="2321250"/>
            <a:ext cx="1463648" cy="430887"/>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accent1"/>
                </a:solidFill>
                <a:effectLst/>
                <a:uLnTx/>
                <a:uFillTx/>
                <a:latin typeface="Gill Sans MT" panose="020B0502020104020203" pitchFamily="34" charset="0"/>
                <a:cs typeface="Segoe UI" panose="020B0502040204020203" pitchFamily="34" charset="0"/>
              </a:rPr>
              <a:t>Lorem ipsum</a:t>
            </a:r>
            <a:br>
              <a:rPr kumimoji="0" lang="en-US" sz="1400" b="0" i="0" u="none" strike="noStrike" kern="0" cap="none" spc="0" normalizeH="0" baseline="0" noProof="0" dirty="0">
                <a:ln>
                  <a:noFill/>
                </a:ln>
                <a:solidFill>
                  <a:schemeClr val="accent1"/>
                </a:solidFill>
                <a:effectLst/>
                <a:uLnTx/>
                <a:uFillTx/>
                <a:latin typeface="Gill Sans MT" panose="020B0502020104020203" pitchFamily="34" charset="0"/>
                <a:cs typeface="Segoe UI" panose="020B0502040204020203" pitchFamily="34" charset="0"/>
              </a:rPr>
            </a:br>
            <a:r>
              <a:rPr kumimoji="0" lang="en-US" sz="1400" b="0" i="0" u="none" strike="noStrike" kern="0" cap="none" spc="0" normalizeH="0" baseline="0" noProof="0" dirty="0">
                <a:ln>
                  <a:noFill/>
                </a:ln>
                <a:solidFill>
                  <a:schemeClr val="accent1"/>
                </a:solidFill>
                <a:effectLst/>
                <a:uLnTx/>
                <a:uFillTx/>
                <a:latin typeface="Gill Sans MT" panose="020B0502020104020203" pitchFamily="34" charset="0"/>
                <a:cs typeface="Segoe UI" panose="020B0502040204020203" pitchFamily="34" charset="0"/>
              </a:rPr>
              <a:t>dolor sit </a:t>
            </a:r>
            <a:r>
              <a:rPr kumimoji="0" lang="en-US" sz="1400" b="0" i="0" u="none" strike="noStrike" kern="0" cap="none" spc="0" normalizeH="0" baseline="0" noProof="0" dirty="0" err="1">
                <a:ln>
                  <a:noFill/>
                </a:ln>
                <a:solidFill>
                  <a:schemeClr val="accent1"/>
                </a:solidFill>
                <a:effectLst/>
                <a:uLnTx/>
                <a:uFillTx/>
                <a:latin typeface="Gill Sans MT" panose="020B0502020104020203" pitchFamily="34" charset="0"/>
                <a:cs typeface="Segoe UI" panose="020B0502040204020203" pitchFamily="34" charset="0"/>
              </a:rPr>
              <a:t>amet</a:t>
            </a:r>
            <a:r>
              <a:rPr kumimoji="0" lang="en-US" sz="1400" b="0" i="0" u="none" strike="noStrike" kern="0" cap="none" spc="0" normalizeH="0" baseline="0" noProof="0" dirty="0">
                <a:ln>
                  <a:noFill/>
                </a:ln>
                <a:solidFill>
                  <a:schemeClr val="accent1"/>
                </a:solidFill>
                <a:effectLst/>
                <a:uLnTx/>
                <a:uFillTx/>
                <a:latin typeface="Gill Sans MT" panose="020B0502020104020203" pitchFamily="34" charset="0"/>
                <a:cs typeface="Segoe UI" panose="020B0502040204020203" pitchFamily="34" charset="0"/>
              </a:rPr>
              <a:t>.</a:t>
            </a:r>
          </a:p>
        </p:txBody>
      </p:sp>
      <p:grpSp>
        <p:nvGrpSpPr>
          <p:cNvPr id="26" name="Group 204">
            <a:extLst>
              <a:ext uri="{FF2B5EF4-FFF2-40B4-BE49-F238E27FC236}">
                <a16:creationId xmlns:a16="http://schemas.microsoft.com/office/drawing/2014/main" id="{0872CAE7-8C7D-4EF4-B4CA-97FD551328CF}"/>
              </a:ext>
            </a:extLst>
          </p:cNvPr>
          <p:cNvGrpSpPr/>
          <p:nvPr/>
        </p:nvGrpSpPr>
        <p:grpSpPr>
          <a:xfrm>
            <a:off x="7736227" y="1410353"/>
            <a:ext cx="2023558" cy="575394"/>
            <a:chOff x="3411155" y="3139680"/>
            <a:chExt cx="2023558" cy="575394"/>
          </a:xfrm>
        </p:grpSpPr>
        <p:sp>
          <p:nvSpPr>
            <p:cNvPr id="27" name="Rectangle: Single Corner Snipped 128">
              <a:extLst>
                <a:ext uri="{FF2B5EF4-FFF2-40B4-BE49-F238E27FC236}">
                  <a16:creationId xmlns:a16="http://schemas.microsoft.com/office/drawing/2014/main" id="{0E2BDC21-7231-4D75-8947-8EDA65C441FA}"/>
                </a:ext>
              </a:extLst>
            </p:cNvPr>
            <p:cNvSpPr/>
            <p:nvPr/>
          </p:nvSpPr>
          <p:spPr>
            <a:xfrm flipH="1">
              <a:off x="3411155" y="3139680"/>
              <a:ext cx="2023558" cy="575394"/>
            </a:xfrm>
            <a:custGeom>
              <a:avLst/>
              <a:gdLst>
                <a:gd name="connsiteX0" fmla="*/ 0 w 2641940"/>
                <a:gd name="connsiteY0" fmla="*/ 0 h 825793"/>
                <a:gd name="connsiteX1" fmla="*/ 2229044 w 2641940"/>
                <a:gd name="connsiteY1" fmla="*/ 0 h 825793"/>
                <a:gd name="connsiteX2" fmla="*/ 2641940 w 2641940"/>
                <a:gd name="connsiteY2" fmla="*/ 412897 h 825793"/>
                <a:gd name="connsiteX3" fmla="*/ 2641940 w 2641940"/>
                <a:gd name="connsiteY3" fmla="*/ 825793 h 825793"/>
                <a:gd name="connsiteX4" fmla="*/ 0 w 2641940"/>
                <a:gd name="connsiteY4" fmla="*/ 825793 h 825793"/>
                <a:gd name="connsiteX5" fmla="*/ 0 w 2641940"/>
                <a:gd name="connsiteY5" fmla="*/ 0 h 825793"/>
                <a:gd name="connsiteX0" fmla="*/ 0 w 2641940"/>
                <a:gd name="connsiteY0" fmla="*/ 0 h 825793"/>
                <a:gd name="connsiteX1" fmla="*/ 2229044 w 2641940"/>
                <a:gd name="connsiteY1" fmla="*/ 0 h 825793"/>
                <a:gd name="connsiteX2" fmla="*/ 2639559 w 2641940"/>
                <a:gd name="connsiteY2" fmla="*/ 384322 h 825793"/>
                <a:gd name="connsiteX3" fmla="*/ 2641940 w 2641940"/>
                <a:gd name="connsiteY3" fmla="*/ 825793 h 825793"/>
                <a:gd name="connsiteX4" fmla="*/ 0 w 2641940"/>
                <a:gd name="connsiteY4" fmla="*/ 825793 h 825793"/>
                <a:gd name="connsiteX5" fmla="*/ 0 w 2641940"/>
                <a:gd name="connsiteY5" fmla="*/ 0 h 825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41940" h="825793">
                  <a:moveTo>
                    <a:pt x="0" y="0"/>
                  </a:moveTo>
                  <a:lnTo>
                    <a:pt x="2229044" y="0"/>
                  </a:lnTo>
                  <a:lnTo>
                    <a:pt x="2639559" y="384322"/>
                  </a:lnTo>
                  <a:cubicBezTo>
                    <a:pt x="2640353" y="531479"/>
                    <a:pt x="2641146" y="678636"/>
                    <a:pt x="2641940" y="825793"/>
                  </a:cubicBezTo>
                  <a:lnTo>
                    <a:pt x="0" y="825793"/>
                  </a:lnTo>
                  <a:lnTo>
                    <a:pt x="0" y="0"/>
                  </a:lnTo>
                  <a:close/>
                </a:path>
              </a:pathLst>
            </a:custGeom>
            <a:gradFill flip="none" rotWithShape="1">
              <a:gsLst>
                <a:gs pos="100000">
                  <a:schemeClr val="accent1"/>
                </a:gs>
                <a:gs pos="33000">
                  <a:schemeClr val="accent1"/>
                </a:gs>
              </a:gsLst>
              <a:lin ang="1800000" scaled="0"/>
              <a:tileRect/>
            </a:gradFill>
            <a:ln w="12700" cap="flat" cmpd="sng" algn="ctr">
              <a:noFill/>
              <a:prstDash val="solid"/>
              <a:miter lim="800000"/>
            </a:ln>
            <a:effectLst>
              <a:outerShdw blurRad="215900" sx="104000" sy="104000" algn="ctr" rotWithShape="0">
                <a:prstClr val="black">
                  <a:alpha val="19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0" cap="none" spc="0" normalizeH="0" baseline="0" noProof="0">
                <a:ln>
                  <a:noFill/>
                </a:ln>
                <a:solidFill>
                  <a:prstClr val="white"/>
                </a:solidFill>
                <a:effectLst/>
                <a:uLnTx/>
                <a:uFillTx/>
                <a:latin typeface="Arial"/>
                <a:cs typeface="+mn-cs"/>
              </a:endParaRPr>
            </a:p>
          </p:txBody>
        </p:sp>
        <p:sp>
          <p:nvSpPr>
            <p:cNvPr id="28" name="Rectangle 207">
              <a:extLst>
                <a:ext uri="{FF2B5EF4-FFF2-40B4-BE49-F238E27FC236}">
                  <a16:creationId xmlns:a16="http://schemas.microsoft.com/office/drawing/2014/main" id="{195FE53B-4CC1-4C96-B61C-2ACA22B59E00}"/>
                </a:ext>
              </a:extLst>
            </p:cNvPr>
            <p:cNvSpPr/>
            <p:nvPr/>
          </p:nvSpPr>
          <p:spPr>
            <a:xfrm>
              <a:off x="3672512" y="3293217"/>
              <a:ext cx="1500845" cy="276999"/>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FFFFFF"/>
                  </a:solidFill>
                  <a:effectLst/>
                  <a:uLnTx/>
                  <a:uFillTx/>
                  <a:latin typeface="Gill Sans MT" panose="020B0502020104020203" pitchFamily="34" charset="0"/>
                  <a:cs typeface="Segoe UI" panose="020B0502040204020203" pitchFamily="34" charset="0"/>
                </a:rPr>
                <a:t>Lorem Ipsum</a:t>
              </a:r>
            </a:p>
          </p:txBody>
        </p:sp>
      </p:grpSp>
      <p:sp>
        <p:nvSpPr>
          <p:cNvPr id="29" name="Rectangle 205">
            <a:extLst>
              <a:ext uri="{FF2B5EF4-FFF2-40B4-BE49-F238E27FC236}">
                <a16:creationId xmlns:a16="http://schemas.microsoft.com/office/drawing/2014/main" id="{8BE58FA1-4E38-46E9-ADE2-8E350D73ECEF}"/>
              </a:ext>
            </a:extLst>
          </p:cNvPr>
          <p:cNvSpPr/>
          <p:nvPr/>
        </p:nvSpPr>
        <p:spPr>
          <a:xfrm>
            <a:off x="9951858" y="1482607"/>
            <a:ext cx="1463648" cy="430887"/>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accent1"/>
                </a:solidFill>
                <a:effectLst/>
                <a:uLnTx/>
                <a:uFillTx/>
                <a:latin typeface="Gill Sans MT" panose="020B0502020104020203" pitchFamily="34" charset="0"/>
                <a:cs typeface="Segoe UI" panose="020B0502040204020203" pitchFamily="34" charset="0"/>
              </a:rPr>
              <a:t>Lorem ipsum</a:t>
            </a:r>
            <a:br>
              <a:rPr kumimoji="0" lang="en-US" sz="1400" b="0" i="0" u="none" strike="noStrike" kern="0" cap="none" spc="0" normalizeH="0" baseline="0" noProof="0" dirty="0">
                <a:ln>
                  <a:noFill/>
                </a:ln>
                <a:solidFill>
                  <a:schemeClr val="accent1"/>
                </a:solidFill>
                <a:effectLst/>
                <a:uLnTx/>
                <a:uFillTx/>
                <a:latin typeface="Gill Sans MT" panose="020B0502020104020203" pitchFamily="34" charset="0"/>
                <a:cs typeface="Segoe UI" panose="020B0502040204020203" pitchFamily="34" charset="0"/>
              </a:rPr>
            </a:br>
            <a:r>
              <a:rPr kumimoji="0" lang="en-US" sz="1400" b="0" i="0" u="none" strike="noStrike" kern="0" cap="none" spc="0" normalizeH="0" baseline="0" noProof="0" dirty="0">
                <a:ln>
                  <a:noFill/>
                </a:ln>
                <a:solidFill>
                  <a:schemeClr val="accent1"/>
                </a:solidFill>
                <a:effectLst/>
                <a:uLnTx/>
                <a:uFillTx/>
                <a:latin typeface="Gill Sans MT" panose="020B0502020104020203" pitchFamily="34" charset="0"/>
                <a:cs typeface="Segoe UI" panose="020B0502040204020203" pitchFamily="34" charset="0"/>
              </a:rPr>
              <a:t>dolor sit </a:t>
            </a:r>
            <a:r>
              <a:rPr kumimoji="0" lang="en-US" sz="1400" b="0" i="0" u="none" strike="noStrike" kern="0" cap="none" spc="0" normalizeH="0" baseline="0" noProof="0" dirty="0" err="1">
                <a:ln>
                  <a:noFill/>
                </a:ln>
                <a:solidFill>
                  <a:schemeClr val="accent1"/>
                </a:solidFill>
                <a:effectLst/>
                <a:uLnTx/>
                <a:uFillTx/>
                <a:latin typeface="Gill Sans MT" panose="020B0502020104020203" pitchFamily="34" charset="0"/>
                <a:cs typeface="Segoe UI" panose="020B0502040204020203" pitchFamily="34" charset="0"/>
              </a:rPr>
              <a:t>amet</a:t>
            </a:r>
            <a:r>
              <a:rPr kumimoji="0" lang="en-US" sz="1400" b="0" i="0" u="none" strike="noStrike" kern="0" cap="none" spc="0" normalizeH="0" baseline="0" noProof="0" dirty="0">
                <a:ln>
                  <a:noFill/>
                </a:ln>
                <a:solidFill>
                  <a:schemeClr val="accent1"/>
                </a:solidFill>
                <a:effectLst/>
                <a:uLnTx/>
                <a:uFillTx/>
                <a:latin typeface="Gill Sans MT" panose="020B0502020104020203" pitchFamily="34" charset="0"/>
                <a:cs typeface="Segoe UI" panose="020B0502040204020203" pitchFamily="34" charset="0"/>
              </a:rPr>
              <a:t>.</a:t>
            </a:r>
          </a:p>
        </p:txBody>
      </p:sp>
      <p:grpSp>
        <p:nvGrpSpPr>
          <p:cNvPr id="30" name="Group 40">
            <a:extLst>
              <a:ext uri="{FF2B5EF4-FFF2-40B4-BE49-F238E27FC236}">
                <a16:creationId xmlns:a16="http://schemas.microsoft.com/office/drawing/2014/main" id="{6FB7B268-3B00-4891-B4BE-C003244410DB}"/>
              </a:ext>
            </a:extLst>
          </p:cNvPr>
          <p:cNvGrpSpPr/>
          <p:nvPr/>
        </p:nvGrpSpPr>
        <p:grpSpPr>
          <a:xfrm>
            <a:off x="456455" y="2410963"/>
            <a:ext cx="10781251" cy="1857784"/>
            <a:chOff x="748716" y="2948928"/>
            <a:chExt cx="14303781" cy="2464773"/>
          </a:xfrm>
        </p:grpSpPr>
        <p:sp>
          <p:nvSpPr>
            <p:cNvPr id="31" name="Rounded Rectangle 5">
              <a:extLst>
                <a:ext uri="{FF2B5EF4-FFF2-40B4-BE49-F238E27FC236}">
                  <a16:creationId xmlns:a16="http://schemas.microsoft.com/office/drawing/2014/main" id="{648356C0-EC6B-4242-B759-07414DB5DEBB}"/>
                </a:ext>
              </a:extLst>
            </p:cNvPr>
            <p:cNvSpPr/>
            <p:nvPr/>
          </p:nvSpPr>
          <p:spPr>
            <a:xfrm>
              <a:off x="2924550" y="4022011"/>
              <a:ext cx="10473368" cy="318607"/>
            </a:xfrm>
            <a:prstGeom prst="roundRect">
              <a:avLst>
                <a:gd name="adj" fmla="val 50000"/>
              </a:avLst>
            </a:prstGeom>
            <a:gradFill flip="none" rotWithShape="1">
              <a:gsLst>
                <a:gs pos="100000">
                  <a:schemeClr val="accent1"/>
                </a:gs>
                <a:gs pos="0">
                  <a:schemeClr val="accent1"/>
                </a:gs>
              </a:gsLst>
              <a:lin ang="2700000" scaled="1"/>
              <a:tileRect/>
            </a:gradFill>
            <a:ln w="12700" cap="flat" cmpd="sng" algn="ctr">
              <a:noFill/>
              <a:prstDash val="solid"/>
              <a:miter lim="800000"/>
            </a:ln>
            <a:effectLst>
              <a:outerShdw blurRad="215900" sx="104000" sy="104000" algn="ctr" rotWithShape="0">
                <a:prstClr val="black">
                  <a:alpha val="19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cs typeface="+mn-cs"/>
              </a:endParaRPr>
            </a:p>
          </p:txBody>
        </p:sp>
        <p:sp>
          <p:nvSpPr>
            <p:cNvPr id="32" name="Freeform: Shape 119">
              <a:extLst>
                <a:ext uri="{FF2B5EF4-FFF2-40B4-BE49-F238E27FC236}">
                  <a16:creationId xmlns:a16="http://schemas.microsoft.com/office/drawing/2014/main" id="{5D1A60A4-0D3F-43F5-B115-42B0A6BA3A03}"/>
                </a:ext>
              </a:extLst>
            </p:cNvPr>
            <p:cNvSpPr/>
            <p:nvPr/>
          </p:nvSpPr>
          <p:spPr>
            <a:xfrm>
              <a:off x="748716" y="3062872"/>
              <a:ext cx="2406678" cy="2236884"/>
            </a:xfrm>
            <a:custGeom>
              <a:avLst/>
              <a:gdLst>
                <a:gd name="connsiteX0" fmla="*/ 1342446 w 2454518"/>
                <a:gd name="connsiteY0" fmla="*/ 0 h 2281356"/>
                <a:gd name="connsiteX1" fmla="*/ 2451972 w 2454518"/>
                <a:gd name="connsiteY1" fmla="*/ 0 h 2281356"/>
                <a:gd name="connsiteX2" fmla="*/ 2451972 w 2454518"/>
                <a:gd name="connsiteY2" fmla="*/ 952133 h 2281356"/>
                <a:gd name="connsiteX3" fmla="*/ 2454518 w 2454518"/>
                <a:gd name="connsiteY3" fmla="*/ 952133 h 2281356"/>
                <a:gd name="connsiteX4" fmla="*/ 2454518 w 2454518"/>
                <a:gd name="connsiteY4" fmla="*/ 1329222 h 2281356"/>
                <a:gd name="connsiteX5" fmla="*/ 2451931 w 2454518"/>
                <a:gd name="connsiteY5" fmla="*/ 1329222 h 2281356"/>
                <a:gd name="connsiteX6" fmla="*/ 2451931 w 2454518"/>
                <a:gd name="connsiteY6" fmla="*/ 2281356 h 2281356"/>
                <a:gd name="connsiteX7" fmla="*/ 1689364 w 2454518"/>
                <a:gd name="connsiteY7" fmla="*/ 2281356 h 2281356"/>
                <a:gd name="connsiteX8" fmla="*/ 735184 w 2454518"/>
                <a:gd name="connsiteY8" fmla="*/ 2010239 h 2281356"/>
                <a:gd name="connsiteX9" fmla="*/ 65970 w 2454518"/>
                <a:gd name="connsiteY9" fmla="*/ 1278044 h 2281356"/>
                <a:gd name="connsiteX10" fmla="*/ 0 w 2454518"/>
                <a:gd name="connsiteY10" fmla="*/ 1146070 h 22813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54518" h="2281356">
                  <a:moveTo>
                    <a:pt x="1342446" y="0"/>
                  </a:moveTo>
                  <a:lnTo>
                    <a:pt x="2451972" y="0"/>
                  </a:lnTo>
                  <a:lnTo>
                    <a:pt x="2451972" y="952133"/>
                  </a:lnTo>
                  <a:lnTo>
                    <a:pt x="2454518" y="952133"/>
                  </a:lnTo>
                  <a:lnTo>
                    <a:pt x="2454518" y="1329222"/>
                  </a:lnTo>
                  <a:lnTo>
                    <a:pt x="2451931" y="1329222"/>
                  </a:lnTo>
                  <a:lnTo>
                    <a:pt x="2451931" y="2281356"/>
                  </a:lnTo>
                  <a:lnTo>
                    <a:pt x="1689364" y="2281356"/>
                  </a:lnTo>
                  <a:cubicBezTo>
                    <a:pt x="1352083" y="2281356"/>
                    <a:pt x="1022073" y="2187620"/>
                    <a:pt x="735184" y="2010239"/>
                  </a:cubicBezTo>
                  <a:cubicBezTo>
                    <a:pt x="448215" y="1832948"/>
                    <a:pt x="216830" y="1579726"/>
                    <a:pt x="65970" y="1278044"/>
                  </a:cubicBezTo>
                  <a:lnTo>
                    <a:pt x="0" y="1146070"/>
                  </a:lnTo>
                  <a:close/>
                </a:path>
              </a:pathLst>
            </a:custGeom>
            <a:gradFill flip="none" rotWithShape="1">
              <a:gsLst>
                <a:gs pos="100000">
                  <a:schemeClr val="accent1"/>
                </a:gs>
                <a:gs pos="33000">
                  <a:schemeClr val="accent1"/>
                </a:gs>
              </a:gsLst>
              <a:lin ang="1800000" scaled="0"/>
              <a:tileRect/>
            </a:gradFill>
            <a:ln w="12700" cap="flat" cmpd="sng" algn="ctr">
              <a:noFill/>
              <a:prstDash val="solid"/>
              <a:miter lim="800000"/>
            </a:ln>
            <a:effectLst>
              <a:outerShdw blurRad="215900" sx="104000" sy="104000" algn="ctr" rotWithShape="0">
                <a:prstClr val="black">
                  <a:alpha val="19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0" cap="none" spc="0" normalizeH="0" baseline="0" noProof="0">
                <a:ln>
                  <a:noFill/>
                </a:ln>
                <a:solidFill>
                  <a:prstClr val="white"/>
                </a:solidFill>
                <a:effectLst/>
                <a:uLnTx/>
                <a:uFillTx/>
                <a:latin typeface="Arial"/>
                <a:cs typeface="+mn-cs"/>
              </a:endParaRPr>
            </a:p>
          </p:txBody>
        </p:sp>
        <p:sp>
          <p:nvSpPr>
            <p:cNvPr id="33" name="Freeform: Shape 124">
              <a:extLst>
                <a:ext uri="{FF2B5EF4-FFF2-40B4-BE49-F238E27FC236}">
                  <a16:creationId xmlns:a16="http://schemas.microsoft.com/office/drawing/2014/main" id="{5F650FFC-A0D6-4866-9F9D-2D121EC054D4}"/>
                </a:ext>
              </a:extLst>
            </p:cNvPr>
            <p:cNvSpPr/>
            <p:nvPr/>
          </p:nvSpPr>
          <p:spPr>
            <a:xfrm>
              <a:off x="13249222" y="2948928"/>
              <a:ext cx="1803275" cy="2464773"/>
            </a:xfrm>
            <a:custGeom>
              <a:avLst/>
              <a:gdLst>
                <a:gd name="connsiteX0" fmla="*/ 1167791 w 1544920"/>
                <a:gd name="connsiteY0" fmla="*/ 385078 h 2111650"/>
                <a:gd name="connsiteX1" fmla="*/ 368053 w 1544920"/>
                <a:gd name="connsiteY1" fmla="*/ 1055831 h 2111650"/>
                <a:gd name="connsiteX2" fmla="*/ 1167791 w 1544920"/>
                <a:gd name="connsiteY2" fmla="*/ 1726535 h 2111650"/>
                <a:gd name="connsiteX3" fmla="*/ 1040137 w 1544920"/>
                <a:gd name="connsiteY3" fmla="*/ 0 h 2111650"/>
                <a:gd name="connsiteX4" fmla="*/ 1544920 w 1544920"/>
                <a:gd name="connsiteY4" fmla="*/ 0 h 2111650"/>
                <a:gd name="connsiteX5" fmla="*/ 1544920 w 1544920"/>
                <a:gd name="connsiteY5" fmla="*/ 2111650 h 2111650"/>
                <a:gd name="connsiteX6" fmla="*/ 1040137 w 1544920"/>
                <a:gd name="connsiteY6" fmla="*/ 2111650 h 2111650"/>
                <a:gd name="connsiteX7" fmla="*/ 6060 w 1544920"/>
                <a:gd name="connsiteY7" fmla="*/ 1244370 h 2111650"/>
                <a:gd name="connsiteX8" fmla="*/ 0 w 1544920"/>
                <a:gd name="connsiteY8" fmla="*/ 1244370 h 2111650"/>
                <a:gd name="connsiteX9" fmla="*/ 0 w 1544920"/>
                <a:gd name="connsiteY9" fmla="*/ 867281 h 2111650"/>
                <a:gd name="connsiteX10" fmla="*/ 6060 w 1544920"/>
                <a:gd name="connsiteY10" fmla="*/ 867281 h 2111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44920" h="2111650">
                  <a:moveTo>
                    <a:pt x="1167791" y="385078"/>
                  </a:moveTo>
                  <a:lnTo>
                    <a:pt x="368053" y="1055831"/>
                  </a:lnTo>
                  <a:lnTo>
                    <a:pt x="1167791" y="1726535"/>
                  </a:lnTo>
                  <a:close/>
                  <a:moveTo>
                    <a:pt x="1040137" y="0"/>
                  </a:moveTo>
                  <a:lnTo>
                    <a:pt x="1544920" y="0"/>
                  </a:lnTo>
                  <a:lnTo>
                    <a:pt x="1544920" y="2111650"/>
                  </a:lnTo>
                  <a:lnTo>
                    <a:pt x="1040137" y="2111650"/>
                  </a:lnTo>
                  <a:lnTo>
                    <a:pt x="6060" y="1244370"/>
                  </a:lnTo>
                  <a:lnTo>
                    <a:pt x="0" y="1244370"/>
                  </a:lnTo>
                  <a:lnTo>
                    <a:pt x="0" y="867281"/>
                  </a:lnTo>
                  <a:lnTo>
                    <a:pt x="6060" y="867281"/>
                  </a:lnTo>
                  <a:close/>
                </a:path>
              </a:pathLst>
            </a:custGeom>
            <a:gradFill flip="none" rotWithShape="1">
              <a:gsLst>
                <a:gs pos="100000">
                  <a:schemeClr val="accent1"/>
                </a:gs>
                <a:gs pos="33000">
                  <a:schemeClr val="accent1"/>
                </a:gs>
              </a:gsLst>
              <a:lin ang="1800000" scaled="0"/>
              <a:tileRect/>
            </a:gradFill>
            <a:ln w="12700" cap="flat" cmpd="sng" algn="ctr">
              <a:noFill/>
              <a:prstDash val="solid"/>
              <a:miter lim="800000"/>
            </a:ln>
            <a:effectLst>
              <a:outerShdw blurRad="215900" sx="104000" sy="104000" algn="ctr" rotWithShape="0">
                <a:prstClr val="black">
                  <a:alpha val="19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0" cap="none" spc="0" normalizeH="0" baseline="0" noProof="0">
                <a:ln>
                  <a:noFill/>
                </a:ln>
                <a:solidFill>
                  <a:prstClr val="white"/>
                </a:solidFill>
                <a:effectLst/>
                <a:uLnTx/>
                <a:uFillTx/>
                <a:latin typeface="Arial"/>
                <a:cs typeface="+mn-cs"/>
              </a:endParaRPr>
            </a:p>
          </p:txBody>
        </p:sp>
      </p:grpSp>
      <p:grpSp>
        <p:nvGrpSpPr>
          <p:cNvPr id="34" name="Group 239">
            <a:extLst>
              <a:ext uri="{FF2B5EF4-FFF2-40B4-BE49-F238E27FC236}">
                <a16:creationId xmlns:a16="http://schemas.microsoft.com/office/drawing/2014/main" id="{77ED745D-800B-4612-A4E7-84601B4A0AD0}"/>
              </a:ext>
            </a:extLst>
          </p:cNvPr>
          <p:cNvGrpSpPr/>
          <p:nvPr/>
        </p:nvGrpSpPr>
        <p:grpSpPr>
          <a:xfrm flipV="1">
            <a:off x="2462524" y="3837669"/>
            <a:ext cx="2023558" cy="575394"/>
            <a:chOff x="3411155" y="3139680"/>
            <a:chExt cx="2023558" cy="575394"/>
          </a:xfrm>
        </p:grpSpPr>
        <p:sp>
          <p:nvSpPr>
            <p:cNvPr id="35" name="Rectangle: Single Corner Snipped 128">
              <a:extLst>
                <a:ext uri="{FF2B5EF4-FFF2-40B4-BE49-F238E27FC236}">
                  <a16:creationId xmlns:a16="http://schemas.microsoft.com/office/drawing/2014/main" id="{364DCF5C-A156-4A16-B68D-27CCCC7BDB6B}"/>
                </a:ext>
              </a:extLst>
            </p:cNvPr>
            <p:cNvSpPr/>
            <p:nvPr/>
          </p:nvSpPr>
          <p:spPr>
            <a:xfrm flipH="1">
              <a:off x="3411155" y="3139680"/>
              <a:ext cx="2023558" cy="575394"/>
            </a:xfrm>
            <a:custGeom>
              <a:avLst/>
              <a:gdLst>
                <a:gd name="connsiteX0" fmla="*/ 0 w 2641940"/>
                <a:gd name="connsiteY0" fmla="*/ 0 h 825793"/>
                <a:gd name="connsiteX1" fmla="*/ 2229044 w 2641940"/>
                <a:gd name="connsiteY1" fmla="*/ 0 h 825793"/>
                <a:gd name="connsiteX2" fmla="*/ 2641940 w 2641940"/>
                <a:gd name="connsiteY2" fmla="*/ 412897 h 825793"/>
                <a:gd name="connsiteX3" fmla="*/ 2641940 w 2641940"/>
                <a:gd name="connsiteY3" fmla="*/ 825793 h 825793"/>
                <a:gd name="connsiteX4" fmla="*/ 0 w 2641940"/>
                <a:gd name="connsiteY4" fmla="*/ 825793 h 825793"/>
                <a:gd name="connsiteX5" fmla="*/ 0 w 2641940"/>
                <a:gd name="connsiteY5" fmla="*/ 0 h 825793"/>
                <a:gd name="connsiteX0" fmla="*/ 0 w 2641940"/>
                <a:gd name="connsiteY0" fmla="*/ 0 h 825793"/>
                <a:gd name="connsiteX1" fmla="*/ 2229044 w 2641940"/>
                <a:gd name="connsiteY1" fmla="*/ 0 h 825793"/>
                <a:gd name="connsiteX2" fmla="*/ 2639559 w 2641940"/>
                <a:gd name="connsiteY2" fmla="*/ 384322 h 825793"/>
                <a:gd name="connsiteX3" fmla="*/ 2641940 w 2641940"/>
                <a:gd name="connsiteY3" fmla="*/ 825793 h 825793"/>
                <a:gd name="connsiteX4" fmla="*/ 0 w 2641940"/>
                <a:gd name="connsiteY4" fmla="*/ 825793 h 825793"/>
                <a:gd name="connsiteX5" fmla="*/ 0 w 2641940"/>
                <a:gd name="connsiteY5" fmla="*/ 0 h 825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41940" h="825793">
                  <a:moveTo>
                    <a:pt x="0" y="0"/>
                  </a:moveTo>
                  <a:lnTo>
                    <a:pt x="2229044" y="0"/>
                  </a:lnTo>
                  <a:lnTo>
                    <a:pt x="2639559" y="384322"/>
                  </a:lnTo>
                  <a:cubicBezTo>
                    <a:pt x="2640353" y="531479"/>
                    <a:pt x="2641146" y="678636"/>
                    <a:pt x="2641940" y="825793"/>
                  </a:cubicBezTo>
                  <a:lnTo>
                    <a:pt x="0" y="825793"/>
                  </a:lnTo>
                  <a:lnTo>
                    <a:pt x="0" y="0"/>
                  </a:lnTo>
                  <a:close/>
                </a:path>
              </a:pathLst>
            </a:custGeom>
            <a:gradFill flip="none" rotWithShape="1">
              <a:gsLst>
                <a:gs pos="100000">
                  <a:schemeClr val="accent1"/>
                </a:gs>
                <a:gs pos="33000">
                  <a:schemeClr val="accent1"/>
                </a:gs>
              </a:gsLst>
              <a:lin ang="1800000" scaled="0"/>
              <a:tileRect/>
            </a:gradFill>
            <a:ln w="12700" cap="flat" cmpd="sng" algn="ctr">
              <a:noFill/>
              <a:prstDash val="solid"/>
              <a:miter lim="800000"/>
            </a:ln>
            <a:effectLst>
              <a:outerShdw blurRad="215900" sx="104000" sy="104000" algn="ctr" rotWithShape="0">
                <a:prstClr val="black">
                  <a:alpha val="19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0" cap="none" spc="0" normalizeH="0" baseline="0" noProof="0">
                <a:ln>
                  <a:noFill/>
                </a:ln>
                <a:solidFill>
                  <a:prstClr val="white"/>
                </a:solidFill>
                <a:effectLst/>
                <a:uLnTx/>
                <a:uFillTx/>
                <a:latin typeface="Arial"/>
                <a:cs typeface="+mn-cs"/>
              </a:endParaRPr>
            </a:p>
          </p:txBody>
        </p:sp>
        <p:sp>
          <p:nvSpPr>
            <p:cNvPr id="36" name="Rectangle 242">
              <a:extLst>
                <a:ext uri="{FF2B5EF4-FFF2-40B4-BE49-F238E27FC236}">
                  <a16:creationId xmlns:a16="http://schemas.microsoft.com/office/drawing/2014/main" id="{A3D58076-8891-41EA-A88B-E83763D4173F}"/>
                </a:ext>
              </a:extLst>
            </p:cNvPr>
            <p:cNvSpPr/>
            <p:nvPr/>
          </p:nvSpPr>
          <p:spPr>
            <a:xfrm flipH="1" flipV="1">
              <a:off x="3672512" y="3284539"/>
              <a:ext cx="1500845" cy="276999"/>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FFFFFF"/>
                  </a:solidFill>
                  <a:effectLst/>
                  <a:uLnTx/>
                  <a:uFillTx/>
                  <a:latin typeface="Gill Sans MT" panose="020B0502020104020203" pitchFamily="34" charset="0"/>
                  <a:cs typeface="Segoe UI" panose="020B0502040204020203" pitchFamily="34" charset="0"/>
                </a:rPr>
                <a:t>Lorem Ipsum</a:t>
              </a:r>
            </a:p>
          </p:txBody>
        </p:sp>
      </p:grpSp>
      <p:sp>
        <p:nvSpPr>
          <p:cNvPr id="37" name="Rectangle 240">
            <a:extLst>
              <a:ext uri="{FF2B5EF4-FFF2-40B4-BE49-F238E27FC236}">
                <a16:creationId xmlns:a16="http://schemas.microsoft.com/office/drawing/2014/main" id="{95FAA49C-BA6A-4091-A15E-0EC98AF8B826}"/>
              </a:ext>
            </a:extLst>
          </p:cNvPr>
          <p:cNvSpPr/>
          <p:nvPr/>
        </p:nvSpPr>
        <p:spPr>
          <a:xfrm flipH="1">
            <a:off x="4678155" y="3909923"/>
            <a:ext cx="1463648" cy="430887"/>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accent1"/>
                </a:solidFill>
                <a:effectLst/>
                <a:uLnTx/>
                <a:uFillTx/>
                <a:latin typeface="Gill Sans MT" panose="020B0502020104020203" pitchFamily="34" charset="0"/>
                <a:cs typeface="Segoe UI" panose="020B0502040204020203" pitchFamily="34" charset="0"/>
              </a:rPr>
              <a:t>Lorem ipsum</a:t>
            </a:r>
            <a:br>
              <a:rPr kumimoji="0" lang="en-US" sz="1400" b="0" i="0" u="none" strike="noStrike" kern="0" cap="none" spc="0" normalizeH="0" baseline="0" noProof="0" dirty="0">
                <a:ln>
                  <a:noFill/>
                </a:ln>
                <a:solidFill>
                  <a:schemeClr val="accent1"/>
                </a:solidFill>
                <a:effectLst/>
                <a:uLnTx/>
                <a:uFillTx/>
                <a:latin typeface="Gill Sans MT" panose="020B0502020104020203" pitchFamily="34" charset="0"/>
                <a:cs typeface="Segoe UI" panose="020B0502040204020203" pitchFamily="34" charset="0"/>
              </a:rPr>
            </a:br>
            <a:r>
              <a:rPr kumimoji="0" lang="en-US" sz="1400" b="0" i="0" u="none" strike="noStrike" kern="0" cap="none" spc="0" normalizeH="0" baseline="0" noProof="0" dirty="0">
                <a:ln>
                  <a:noFill/>
                </a:ln>
                <a:solidFill>
                  <a:schemeClr val="accent1"/>
                </a:solidFill>
                <a:effectLst/>
                <a:uLnTx/>
                <a:uFillTx/>
                <a:latin typeface="Gill Sans MT" panose="020B0502020104020203" pitchFamily="34" charset="0"/>
                <a:cs typeface="Segoe UI" panose="020B0502040204020203" pitchFamily="34" charset="0"/>
              </a:rPr>
              <a:t>dolor sit </a:t>
            </a:r>
            <a:r>
              <a:rPr kumimoji="0" lang="en-US" sz="1400" b="0" i="0" u="none" strike="noStrike" kern="0" cap="none" spc="0" normalizeH="0" baseline="0" noProof="0" dirty="0" err="1">
                <a:ln>
                  <a:noFill/>
                </a:ln>
                <a:solidFill>
                  <a:schemeClr val="accent1"/>
                </a:solidFill>
                <a:effectLst/>
                <a:uLnTx/>
                <a:uFillTx/>
                <a:latin typeface="Gill Sans MT" panose="020B0502020104020203" pitchFamily="34" charset="0"/>
                <a:cs typeface="Segoe UI" panose="020B0502040204020203" pitchFamily="34" charset="0"/>
              </a:rPr>
              <a:t>amet</a:t>
            </a:r>
            <a:r>
              <a:rPr kumimoji="0" lang="en-US" sz="1400" b="0" i="0" u="none" strike="noStrike" kern="0" cap="none" spc="0" normalizeH="0" baseline="0" noProof="0" dirty="0">
                <a:ln>
                  <a:noFill/>
                </a:ln>
                <a:solidFill>
                  <a:schemeClr val="accent1"/>
                </a:solidFill>
                <a:effectLst/>
                <a:uLnTx/>
                <a:uFillTx/>
                <a:latin typeface="Gill Sans MT" panose="020B0502020104020203" pitchFamily="34" charset="0"/>
                <a:cs typeface="Segoe UI" panose="020B0502040204020203" pitchFamily="34" charset="0"/>
              </a:rPr>
              <a:t>.</a:t>
            </a:r>
          </a:p>
        </p:txBody>
      </p:sp>
      <p:grpSp>
        <p:nvGrpSpPr>
          <p:cNvPr id="38" name="Group 235">
            <a:extLst>
              <a:ext uri="{FF2B5EF4-FFF2-40B4-BE49-F238E27FC236}">
                <a16:creationId xmlns:a16="http://schemas.microsoft.com/office/drawing/2014/main" id="{F5208CF6-CF36-4693-8085-F18C84BE29BD}"/>
              </a:ext>
            </a:extLst>
          </p:cNvPr>
          <p:cNvGrpSpPr/>
          <p:nvPr/>
        </p:nvGrpSpPr>
        <p:grpSpPr>
          <a:xfrm flipV="1">
            <a:off x="3544201" y="4676312"/>
            <a:ext cx="2023558" cy="575394"/>
            <a:chOff x="3411155" y="3139680"/>
            <a:chExt cx="2023558" cy="575394"/>
          </a:xfrm>
        </p:grpSpPr>
        <p:sp>
          <p:nvSpPr>
            <p:cNvPr id="39" name="Rectangle: Single Corner Snipped 128">
              <a:extLst>
                <a:ext uri="{FF2B5EF4-FFF2-40B4-BE49-F238E27FC236}">
                  <a16:creationId xmlns:a16="http://schemas.microsoft.com/office/drawing/2014/main" id="{73643A47-478B-4242-9A0B-3D477EE355EB}"/>
                </a:ext>
              </a:extLst>
            </p:cNvPr>
            <p:cNvSpPr/>
            <p:nvPr/>
          </p:nvSpPr>
          <p:spPr>
            <a:xfrm flipH="1">
              <a:off x="3411155" y="3139680"/>
              <a:ext cx="2023558" cy="575394"/>
            </a:xfrm>
            <a:custGeom>
              <a:avLst/>
              <a:gdLst>
                <a:gd name="connsiteX0" fmla="*/ 0 w 2641940"/>
                <a:gd name="connsiteY0" fmla="*/ 0 h 825793"/>
                <a:gd name="connsiteX1" fmla="*/ 2229044 w 2641940"/>
                <a:gd name="connsiteY1" fmla="*/ 0 h 825793"/>
                <a:gd name="connsiteX2" fmla="*/ 2641940 w 2641940"/>
                <a:gd name="connsiteY2" fmla="*/ 412897 h 825793"/>
                <a:gd name="connsiteX3" fmla="*/ 2641940 w 2641940"/>
                <a:gd name="connsiteY3" fmla="*/ 825793 h 825793"/>
                <a:gd name="connsiteX4" fmla="*/ 0 w 2641940"/>
                <a:gd name="connsiteY4" fmla="*/ 825793 h 825793"/>
                <a:gd name="connsiteX5" fmla="*/ 0 w 2641940"/>
                <a:gd name="connsiteY5" fmla="*/ 0 h 825793"/>
                <a:gd name="connsiteX0" fmla="*/ 0 w 2641940"/>
                <a:gd name="connsiteY0" fmla="*/ 0 h 825793"/>
                <a:gd name="connsiteX1" fmla="*/ 2229044 w 2641940"/>
                <a:gd name="connsiteY1" fmla="*/ 0 h 825793"/>
                <a:gd name="connsiteX2" fmla="*/ 2639559 w 2641940"/>
                <a:gd name="connsiteY2" fmla="*/ 384322 h 825793"/>
                <a:gd name="connsiteX3" fmla="*/ 2641940 w 2641940"/>
                <a:gd name="connsiteY3" fmla="*/ 825793 h 825793"/>
                <a:gd name="connsiteX4" fmla="*/ 0 w 2641940"/>
                <a:gd name="connsiteY4" fmla="*/ 825793 h 825793"/>
                <a:gd name="connsiteX5" fmla="*/ 0 w 2641940"/>
                <a:gd name="connsiteY5" fmla="*/ 0 h 825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41940" h="825793">
                  <a:moveTo>
                    <a:pt x="0" y="0"/>
                  </a:moveTo>
                  <a:lnTo>
                    <a:pt x="2229044" y="0"/>
                  </a:lnTo>
                  <a:lnTo>
                    <a:pt x="2639559" y="384322"/>
                  </a:lnTo>
                  <a:cubicBezTo>
                    <a:pt x="2640353" y="531479"/>
                    <a:pt x="2641146" y="678636"/>
                    <a:pt x="2641940" y="825793"/>
                  </a:cubicBezTo>
                  <a:lnTo>
                    <a:pt x="0" y="825793"/>
                  </a:lnTo>
                  <a:lnTo>
                    <a:pt x="0" y="0"/>
                  </a:lnTo>
                  <a:close/>
                </a:path>
              </a:pathLst>
            </a:custGeom>
            <a:gradFill flip="none" rotWithShape="1">
              <a:gsLst>
                <a:gs pos="100000">
                  <a:schemeClr val="accent1"/>
                </a:gs>
                <a:gs pos="33000">
                  <a:schemeClr val="accent1"/>
                </a:gs>
              </a:gsLst>
              <a:lin ang="1800000" scaled="0"/>
              <a:tileRect/>
            </a:gradFill>
            <a:ln w="12700" cap="flat" cmpd="sng" algn="ctr">
              <a:noFill/>
              <a:prstDash val="solid"/>
              <a:miter lim="800000"/>
            </a:ln>
            <a:effectLst>
              <a:outerShdw blurRad="215900" sx="104000" sy="104000" algn="ctr" rotWithShape="0">
                <a:prstClr val="black">
                  <a:alpha val="19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0" cap="none" spc="0" normalizeH="0" baseline="0" noProof="0">
                <a:ln>
                  <a:noFill/>
                </a:ln>
                <a:solidFill>
                  <a:prstClr val="white"/>
                </a:solidFill>
                <a:effectLst/>
                <a:uLnTx/>
                <a:uFillTx/>
                <a:latin typeface="Arial"/>
                <a:cs typeface="+mn-cs"/>
              </a:endParaRPr>
            </a:p>
          </p:txBody>
        </p:sp>
        <p:sp>
          <p:nvSpPr>
            <p:cNvPr id="40" name="Rectangle 238">
              <a:extLst>
                <a:ext uri="{FF2B5EF4-FFF2-40B4-BE49-F238E27FC236}">
                  <a16:creationId xmlns:a16="http://schemas.microsoft.com/office/drawing/2014/main" id="{FAE7B065-F57D-486D-88B9-FE30515EEC20}"/>
                </a:ext>
              </a:extLst>
            </p:cNvPr>
            <p:cNvSpPr/>
            <p:nvPr/>
          </p:nvSpPr>
          <p:spPr>
            <a:xfrm flipH="1" flipV="1">
              <a:off x="3672512" y="3284539"/>
              <a:ext cx="1500845" cy="276999"/>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FFFFFF"/>
                  </a:solidFill>
                  <a:effectLst/>
                  <a:uLnTx/>
                  <a:uFillTx/>
                  <a:latin typeface="Gill Sans MT" panose="020B0502020104020203" pitchFamily="34" charset="0"/>
                  <a:cs typeface="Segoe UI" panose="020B0502040204020203" pitchFamily="34" charset="0"/>
                </a:rPr>
                <a:t>Lorem Ipsum</a:t>
              </a:r>
            </a:p>
          </p:txBody>
        </p:sp>
      </p:grpSp>
      <p:sp>
        <p:nvSpPr>
          <p:cNvPr id="41" name="Rectangle 236">
            <a:extLst>
              <a:ext uri="{FF2B5EF4-FFF2-40B4-BE49-F238E27FC236}">
                <a16:creationId xmlns:a16="http://schemas.microsoft.com/office/drawing/2014/main" id="{21A10B8D-17E8-45CD-81B1-8F8EF9544CD0}"/>
              </a:ext>
            </a:extLst>
          </p:cNvPr>
          <p:cNvSpPr/>
          <p:nvPr/>
        </p:nvSpPr>
        <p:spPr>
          <a:xfrm flipH="1">
            <a:off x="5759832" y="4748566"/>
            <a:ext cx="1463648" cy="430887"/>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accent1"/>
                </a:solidFill>
                <a:effectLst/>
                <a:uLnTx/>
                <a:uFillTx/>
                <a:latin typeface="Gill Sans MT" panose="020B0502020104020203" pitchFamily="34" charset="0"/>
                <a:cs typeface="Segoe UI" panose="020B0502040204020203" pitchFamily="34" charset="0"/>
              </a:rPr>
              <a:t>Lorem ipsum</a:t>
            </a:r>
            <a:br>
              <a:rPr kumimoji="0" lang="en-US" sz="1400" b="0" i="0" u="none" strike="noStrike" kern="0" cap="none" spc="0" normalizeH="0" baseline="0" noProof="0" dirty="0">
                <a:ln>
                  <a:noFill/>
                </a:ln>
                <a:solidFill>
                  <a:schemeClr val="accent1"/>
                </a:solidFill>
                <a:effectLst/>
                <a:uLnTx/>
                <a:uFillTx/>
                <a:latin typeface="Gill Sans MT" panose="020B0502020104020203" pitchFamily="34" charset="0"/>
                <a:cs typeface="Segoe UI" panose="020B0502040204020203" pitchFamily="34" charset="0"/>
              </a:rPr>
            </a:br>
            <a:r>
              <a:rPr kumimoji="0" lang="en-US" sz="1400" b="0" i="0" u="none" strike="noStrike" kern="0" cap="none" spc="0" normalizeH="0" baseline="0" noProof="0" dirty="0">
                <a:ln>
                  <a:noFill/>
                </a:ln>
                <a:solidFill>
                  <a:schemeClr val="accent1"/>
                </a:solidFill>
                <a:effectLst/>
                <a:uLnTx/>
                <a:uFillTx/>
                <a:latin typeface="Gill Sans MT" panose="020B0502020104020203" pitchFamily="34" charset="0"/>
                <a:cs typeface="Segoe UI" panose="020B0502040204020203" pitchFamily="34" charset="0"/>
              </a:rPr>
              <a:t>dolor sit </a:t>
            </a:r>
            <a:r>
              <a:rPr kumimoji="0" lang="en-US" sz="1400" b="0" i="0" u="none" strike="noStrike" kern="0" cap="none" spc="0" normalizeH="0" baseline="0" noProof="0" dirty="0" err="1">
                <a:ln>
                  <a:noFill/>
                </a:ln>
                <a:solidFill>
                  <a:schemeClr val="accent1"/>
                </a:solidFill>
                <a:effectLst/>
                <a:uLnTx/>
                <a:uFillTx/>
                <a:latin typeface="Gill Sans MT" panose="020B0502020104020203" pitchFamily="34" charset="0"/>
                <a:cs typeface="Segoe UI" panose="020B0502040204020203" pitchFamily="34" charset="0"/>
              </a:rPr>
              <a:t>amet</a:t>
            </a:r>
            <a:r>
              <a:rPr kumimoji="0" lang="en-US" sz="1400" b="0" i="0" u="none" strike="noStrike" kern="0" cap="none" spc="0" normalizeH="0" baseline="0" noProof="0" dirty="0">
                <a:ln>
                  <a:noFill/>
                </a:ln>
                <a:solidFill>
                  <a:schemeClr val="accent1"/>
                </a:solidFill>
                <a:effectLst/>
                <a:uLnTx/>
                <a:uFillTx/>
                <a:latin typeface="Gill Sans MT" panose="020B0502020104020203" pitchFamily="34" charset="0"/>
                <a:cs typeface="Segoe UI" panose="020B0502040204020203" pitchFamily="34" charset="0"/>
              </a:rPr>
              <a:t>.</a:t>
            </a:r>
          </a:p>
        </p:txBody>
      </p:sp>
      <p:grpSp>
        <p:nvGrpSpPr>
          <p:cNvPr id="42" name="Group 231">
            <a:extLst>
              <a:ext uri="{FF2B5EF4-FFF2-40B4-BE49-F238E27FC236}">
                <a16:creationId xmlns:a16="http://schemas.microsoft.com/office/drawing/2014/main" id="{DF4BDA08-6A3D-4EAB-B8A2-10E754744A59}"/>
              </a:ext>
            </a:extLst>
          </p:cNvPr>
          <p:cNvGrpSpPr/>
          <p:nvPr/>
        </p:nvGrpSpPr>
        <p:grpSpPr>
          <a:xfrm flipV="1">
            <a:off x="4625878" y="5514954"/>
            <a:ext cx="2023558" cy="575394"/>
            <a:chOff x="3411155" y="3139680"/>
            <a:chExt cx="2023558" cy="575394"/>
          </a:xfrm>
        </p:grpSpPr>
        <p:sp>
          <p:nvSpPr>
            <p:cNvPr id="43" name="Rectangle: Single Corner Snipped 128">
              <a:extLst>
                <a:ext uri="{FF2B5EF4-FFF2-40B4-BE49-F238E27FC236}">
                  <a16:creationId xmlns:a16="http://schemas.microsoft.com/office/drawing/2014/main" id="{E03B444A-7E0B-4196-AA26-9E0DBB78562E}"/>
                </a:ext>
              </a:extLst>
            </p:cNvPr>
            <p:cNvSpPr/>
            <p:nvPr/>
          </p:nvSpPr>
          <p:spPr>
            <a:xfrm flipH="1">
              <a:off x="3411155" y="3139680"/>
              <a:ext cx="2023558" cy="575394"/>
            </a:xfrm>
            <a:custGeom>
              <a:avLst/>
              <a:gdLst>
                <a:gd name="connsiteX0" fmla="*/ 0 w 2641940"/>
                <a:gd name="connsiteY0" fmla="*/ 0 h 825793"/>
                <a:gd name="connsiteX1" fmla="*/ 2229044 w 2641940"/>
                <a:gd name="connsiteY1" fmla="*/ 0 h 825793"/>
                <a:gd name="connsiteX2" fmla="*/ 2641940 w 2641940"/>
                <a:gd name="connsiteY2" fmla="*/ 412897 h 825793"/>
                <a:gd name="connsiteX3" fmla="*/ 2641940 w 2641940"/>
                <a:gd name="connsiteY3" fmla="*/ 825793 h 825793"/>
                <a:gd name="connsiteX4" fmla="*/ 0 w 2641940"/>
                <a:gd name="connsiteY4" fmla="*/ 825793 h 825793"/>
                <a:gd name="connsiteX5" fmla="*/ 0 w 2641940"/>
                <a:gd name="connsiteY5" fmla="*/ 0 h 825793"/>
                <a:gd name="connsiteX0" fmla="*/ 0 w 2641940"/>
                <a:gd name="connsiteY0" fmla="*/ 0 h 825793"/>
                <a:gd name="connsiteX1" fmla="*/ 2229044 w 2641940"/>
                <a:gd name="connsiteY1" fmla="*/ 0 h 825793"/>
                <a:gd name="connsiteX2" fmla="*/ 2639559 w 2641940"/>
                <a:gd name="connsiteY2" fmla="*/ 384322 h 825793"/>
                <a:gd name="connsiteX3" fmla="*/ 2641940 w 2641940"/>
                <a:gd name="connsiteY3" fmla="*/ 825793 h 825793"/>
                <a:gd name="connsiteX4" fmla="*/ 0 w 2641940"/>
                <a:gd name="connsiteY4" fmla="*/ 825793 h 825793"/>
                <a:gd name="connsiteX5" fmla="*/ 0 w 2641940"/>
                <a:gd name="connsiteY5" fmla="*/ 0 h 825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41940" h="825793">
                  <a:moveTo>
                    <a:pt x="0" y="0"/>
                  </a:moveTo>
                  <a:lnTo>
                    <a:pt x="2229044" y="0"/>
                  </a:lnTo>
                  <a:lnTo>
                    <a:pt x="2639559" y="384322"/>
                  </a:lnTo>
                  <a:cubicBezTo>
                    <a:pt x="2640353" y="531479"/>
                    <a:pt x="2641146" y="678636"/>
                    <a:pt x="2641940" y="825793"/>
                  </a:cubicBezTo>
                  <a:lnTo>
                    <a:pt x="0" y="825793"/>
                  </a:lnTo>
                  <a:lnTo>
                    <a:pt x="0" y="0"/>
                  </a:lnTo>
                  <a:close/>
                </a:path>
              </a:pathLst>
            </a:custGeom>
            <a:gradFill flip="none" rotWithShape="1">
              <a:gsLst>
                <a:gs pos="100000">
                  <a:schemeClr val="accent1"/>
                </a:gs>
                <a:gs pos="33000">
                  <a:schemeClr val="accent1"/>
                </a:gs>
              </a:gsLst>
              <a:lin ang="1800000" scaled="0"/>
              <a:tileRect/>
            </a:gradFill>
            <a:ln w="12700" cap="flat" cmpd="sng" algn="ctr">
              <a:noFill/>
              <a:prstDash val="solid"/>
              <a:miter lim="800000"/>
            </a:ln>
            <a:effectLst>
              <a:outerShdw blurRad="215900" sx="104000" sy="104000" algn="ctr" rotWithShape="0">
                <a:prstClr val="black">
                  <a:alpha val="19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0" cap="none" spc="0" normalizeH="0" baseline="0" noProof="0">
                <a:ln>
                  <a:noFill/>
                </a:ln>
                <a:solidFill>
                  <a:prstClr val="white"/>
                </a:solidFill>
                <a:effectLst/>
                <a:uLnTx/>
                <a:uFillTx/>
                <a:latin typeface="Arial"/>
                <a:cs typeface="+mn-cs"/>
              </a:endParaRPr>
            </a:p>
          </p:txBody>
        </p:sp>
        <p:sp>
          <p:nvSpPr>
            <p:cNvPr id="44" name="Rectangle 234">
              <a:extLst>
                <a:ext uri="{FF2B5EF4-FFF2-40B4-BE49-F238E27FC236}">
                  <a16:creationId xmlns:a16="http://schemas.microsoft.com/office/drawing/2014/main" id="{66289D18-A5F9-473A-8535-852348791CC0}"/>
                </a:ext>
              </a:extLst>
            </p:cNvPr>
            <p:cNvSpPr/>
            <p:nvPr/>
          </p:nvSpPr>
          <p:spPr>
            <a:xfrm flipV="1">
              <a:off x="3672512" y="3284539"/>
              <a:ext cx="1500845" cy="276999"/>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FFFFFF"/>
                  </a:solidFill>
                  <a:effectLst/>
                  <a:uLnTx/>
                  <a:uFillTx/>
                  <a:latin typeface="Gill Sans MT" panose="020B0502020104020203" pitchFamily="34" charset="0"/>
                  <a:cs typeface="Segoe UI" panose="020B0502040204020203" pitchFamily="34" charset="0"/>
                </a:rPr>
                <a:t>Lorem Ipsum</a:t>
              </a:r>
            </a:p>
          </p:txBody>
        </p:sp>
      </p:grpSp>
      <p:sp>
        <p:nvSpPr>
          <p:cNvPr id="45" name="Rectangle 232">
            <a:extLst>
              <a:ext uri="{FF2B5EF4-FFF2-40B4-BE49-F238E27FC236}">
                <a16:creationId xmlns:a16="http://schemas.microsoft.com/office/drawing/2014/main" id="{ECBD600C-D627-4ABA-8156-D452C24ECF4D}"/>
              </a:ext>
            </a:extLst>
          </p:cNvPr>
          <p:cNvSpPr/>
          <p:nvPr/>
        </p:nvSpPr>
        <p:spPr>
          <a:xfrm>
            <a:off x="6841509" y="5587208"/>
            <a:ext cx="1463648" cy="430887"/>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accent1"/>
                </a:solidFill>
                <a:effectLst/>
                <a:uLnTx/>
                <a:uFillTx/>
                <a:latin typeface="Gill Sans MT" panose="020B0502020104020203" pitchFamily="34" charset="0"/>
                <a:cs typeface="Segoe UI" panose="020B0502040204020203" pitchFamily="34" charset="0"/>
              </a:rPr>
              <a:t>Lorem ipsum</a:t>
            </a:r>
            <a:br>
              <a:rPr kumimoji="0" lang="en-US" sz="1400" b="0" i="0" u="none" strike="noStrike" kern="0" cap="none" spc="0" normalizeH="0" baseline="0" noProof="0" dirty="0">
                <a:ln>
                  <a:noFill/>
                </a:ln>
                <a:solidFill>
                  <a:schemeClr val="accent1"/>
                </a:solidFill>
                <a:effectLst/>
                <a:uLnTx/>
                <a:uFillTx/>
                <a:latin typeface="Gill Sans MT" panose="020B0502020104020203" pitchFamily="34" charset="0"/>
                <a:cs typeface="Segoe UI" panose="020B0502040204020203" pitchFamily="34" charset="0"/>
              </a:rPr>
            </a:br>
            <a:r>
              <a:rPr kumimoji="0" lang="en-US" sz="1400" b="0" i="0" u="none" strike="noStrike" kern="0" cap="none" spc="0" normalizeH="0" baseline="0" noProof="0" dirty="0">
                <a:ln>
                  <a:noFill/>
                </a:ln>
                <a:solidFill>
                  <a:schemeClr val="accent1"/>
                </a:solidFill>
                <a:effectLst/>
                <a:uLnTx/>
                <a:uFillTx/>
                <a:latin typeface="Gill Sans MT" panose="020B0502020104020203" pitchFamily="34" charset="0"/>
                <a:cs typeface="Segoe UI" panose="020B0502040204020203" pitchFamily="34" charset="0"/>
              </a:rPr>
              <a:t>dolor sit </a:t>
            </a:r>
            <a:r>
              <a:rPr kumimoji="0" lang="en-US" sz="1400" b="0" i="0" u="none" strike="noStrike" kern="0" cap="none" spc="0" normalizeH="0" baseline="0" noProof="0" dirty="0" err="1">
                <a:ln>
                  <a:noFill/>
                </a:ln>
                <a:solidFill>
                  <a:schemeClr val="accent1"/>
                </a:solidFill>
                <a:effectLst/>
                <a:uLnTx/>
                <a:uFillTx/>
                <a:latin typeface="Gill Sans MT" panose="020B0502020104020203" pitchFamily="34" charset="0"/>
                <a:cs typeface="Segoe UI" panose="020B0502040204020203" pitchFamily="34" charset="0"/>
              </a:rPr>
              <a:t>amet</a:t>
            </a:r>
            <a:r>
              <a:rPr kumimoji="0" lang="en-US" sz="1400" b="0" i="0" u="none" strike="noStrike" kern="0" cap="none" spc="0" normalizeH="0" baseline="0" noProof="0" dirty="0">
                <a:ln>
                  <a:noFill/>
                </a:ln>
                <a:solidFill>
                  <a:schemeClr val="accent1"/>
                </a:solidFill>
                <a:effectLst/>
                <a:uLnTx/>
                <a:uFillTx/>
                <a:latin typeface="Gill Sans MT" panose="020B0502020104020203" pitchFamily="34" charset="0"/>
                <a:cs typeface="Segoe UI" panose="020B0502040204020203" pitchFamily="34" charset="0"/>
              </a:rPr>
              <a:t>.</a:t>
            </a:r>
          </a:p>
        </p:txBody>
      </p:sp>
      <p:grpSp>
        <p:nvGrpSpPr>
          <p:cNvPr id="46" name="Group 227">
            <a:extLst>
              <a:ext uri="{FF2B5EF4-FFF2-40B4-BE49-F238E27FC236}">
                <a16:creationId xmlns:a16="http://schemas.microsoft.com/office/drawing/2014/main" id="{5515DF49-B44D-4899-9D30-63B811B9BD3F}"/>
              </a:ext>
            </a:extLst>
          </p:cNvPr>
          <p:cNvGrpSpPr/>
          <p:nvPr/>
        </p:nvGrpSpPr>
        <p:grpSpPr>
          <a:xfrm flipV="1">
            <a:off x="6735319" y="3838463"/>
            <a:ext cx="2023558" cy="575394"/>
            <a:chOff x="3411155" y="3139680"/>
            <a:chExt cx="2023558" cy="575394"/>
          </a:xfrm>
        </p:grpSpPr>
        <p:sp>
          <p:nvSpPr>
            <p:cNvPr id="47" name="Rectangle: Single Corner Snipped 128">
              <a:extLst>
                <a:ext uri="{FF2B5EF4-FFF2-40B4-BE49-F238E27FC236}">
                  <a16:creationId xmlns:a16="http://schemas.microsoft.com/office/drawing/2014/main" id="{6DB0CB25-5280-4B99-87BA-624E413F20D9}"/>
                </a:ext>
              </a:extLst>
            </p:cNvPr>
            <p:cNvSpPr/>
            <p:nvPr/>
          </p:nvSpPr>
          <p:spPr>
            <a:xfrm flipH="1">
              <a:off x="3411155" y="3139680"/>
              <a:ext cx="2023558" cy="575394"/>
            </a:xfrm>
            <a:custGeom>
              <a:avLst/>
              <a:gdLst>
                <a:gd name="connsiteX0" fmla="*/ 0 w 2641940"/>
                <a:gd name="connsiteY0" fmla="*/ 0 h 825793"/>
                <a:gd name="connsiteX1" fmla="*/ 2229044 w 2641940"/>
                <a:gd name="connsiteY1" fmla="*/ 0 h 825793"/>
                <a:gd name="connsiteX2" fmla="*/ 2641940 w 2641940"/>
                <a:gd name="connsiteY2" fmla="*/ 412897 h 825793"/>
                <a:gd name="connsiteX3" fmla="*/ 2641940 w 2641940"/>
                <a:gd name="connsiteY3" fmla="*/ 825793 h 825793"/>
                <a:gd name="connsiteX4" fmla="*/ 0 w 2641940"/>
                <a:gd name="connsiteY4" fmla="*/ 825793 h 825793"/>
                <a:gd name="connsiteX5" fmla="*/ 0 w 2641940"/>
                <a:gd name="connsiteY5" fmla="*/ 0 h 825793"/>
                <a:gd name="connsiteX0" fmla="*/ 0 w 2641940"/>
                <a:gd name="connsiteY0" fmla="*/ 0 h 825793"/>
                <a:gd name="connsiteX1" fmla="*/ 2229044 w 2641940"/>
                <a:gd name="connsiteY1" fmla="*/ 0 h 825793"/>
                <a:gd name="connsiteX2" fmla="*/ 2639559 w 2641940"/>
                <a:gd name="connsiteY2" fmla="*/ 384322 h 825793"/>
                <a:gd name="connsiteX3" fmla="*/ 2641940 w 2641940"/>
                <a:gd name="connsiteY3" fmla="*/ 825793 h 825793"/>
                <a:gd name="connsiteX4" fmla="*/ 0 w 2641940"/>
                <a:gd name="connsiteY4" fmla="*/ 825793 h 825793"/>
                <a:gd name="connsiteX5" fmla="*/ 0 w 2641940"/>
                <a:gd name="connsiteY5" fmla="*/ 0 h 825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41940" h="825793">
                  <a:moveTo>
                    <a:pt x="0" y="0"/>
                  </a:moveTo>
                  <a:lnTo>
                    <a:pt x="2229044" y="0"/>
                  </a:lnTo>
                  <a:lnTo>
                    <a:pt x="2639559" y="384322"/>
                  </a:lnTo>
                  <a:cubicBezTo>
                    <a:pt x="2640353" y="531479"/>
                    <a:pt x="2641146" y="678636"/>
                    <a:pt x="2641940" y="825793"/>
                  </a:cubicBezTo>
                  <a:lnTo>
                    <a:pt x="0" y="825793"/>
                  </a:lnTo>
                  <a:lnTo>
                    <a:pt x="0" y="0"/>
                  </a:lnTo>
                  <a:close/>
                </a:path>
              </a:pathLst>
            </a:custGeom>
            <a:gradFill flip="none" rotWithShape="1">
              <a:gsLst>
                <a:gs pos="100000">
                  <a:schemeClr val="accent1"/>
                </a:gs>
                <a:gs pos="33000">
                  <a:schemeClr val="accent1"/>
                </a:gs>
              </a:gsLst>
              <a:lin ang="1800000" scaled="0"/>
              <a:tileRect/>
            </a:gradFill>
            <a:ln w="12700" cap="flat" cmpd="sng" algn="ctr">
              <a:noFill/>
              <a:prstDash val="solid"/>
              <a:miter lim="800000"/>
            </a:ln>
            <a:effectLst>
              <a:outerShdw blurRad="215900" sx="104000" sy="104000" algn="ctr" rotWithShape="0">
                <a:prstClr val="black">
                  <a:alpha val="19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0" cap="none" spc="0" normalizeH="0" baseline="0" noProof="0">
                <a:ln>
                  <a:noFill/>
                </a:ln>
                <a:solidFill>
                  <a:prstClr val="white"/>
                </a:solidFill>
                <a:effectLst/>
                <a:uLnTx/>
                <a:uFillTx/>
                <a:latin typeface="Arial"/>
                <a:cs typeface="+mn-cs"/>
              </a:endParaRPr>
            </a:p>
          </p:txBody>
        </p:sp>
        <p:sp>
          <p:nvSpPr>
            <p:cNvPr id="48" name="Rectangle 230">
              <a:extLst>
                <a:ext uri="{FF2B5EF4-FFF2-40B4-BE49-F238E27FC236}">
                  <a16:creationId xmlns:a16="http://schemas.microsoft.com/office/drawing/2014/main" id="{A08EB732-A804-4F5B-9891-24161A00FA62}"/>
                </a:ext>
              </a:extLst>
            </p:cNvPr>
            <p:cNvSpPr/>
            <p:nvPr/>
          </p:nvSpPr>
          <p:spPr>
            <a:xfrm flipH="1" flipV="1">
              <a:off x="3672512" y="3284539"/>
              <a:ext cx="1500845" cy="276999"/>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FFFFFF"/>
                  </a:solidFill>
                  <a:effectLst/>
                  <a:uLnTx/>
                  <a:uFillTx/>
                  <a:latin typeface="Gill Sans MT" panose="020B0502020104020203" pitchFamily="34" charset="0"/>
                  <a:cs typeface="Segoe UI" panose="020B0502040204020203" pitchFamily="34" charset="0"/>
                </a:rPr>
                <a:t>Lorem Ipsum</a:t>
              </a:r>
            </a:p>
          </p:txBody>
        </p:sp>
      </p:grpSp>
      <p:sp>
        <p:nvSpPr>
          <p:cNvPr id="49" name="Rectangle 228">
            <a:extLst>
              <a:ext uri="{FF2B5EF4-FFF2-40B4-BE49-F238E27FC236}">
                <a16:creationId xmlns:a16="http://schemas.microsoft.com/office/drawing/2014/main" id="{84E6420B-7899-48D5-A41F-CA850278E721}"/>
              </a:ext>
            </a:extLst>
          </p:cNvPr>
          <p:cNvSpPr/>
          <p:nvPr/>
        </p:nvSpPr>
        <p:spPr>
          <a:xfrm flipH="1">
            <a:off x="8950950" y="3910717"/>
            <a:ext cx="1463648" cy="430887"/>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accent1"/>
                </a:solidFill>
                <a:effectLst/>
                <a:uLnTx/>
                <a:uFillTx/>
                <a:latin typeface="Gill Sans MT" panose="020B0502020104020203" pitchFamily="34" charset="0"/>
                <a:cs typeface="Segoe UI" panose="020B0502040204020203" pitchFamily="34" charset="0"/>
              </a:rPr>
              <a:t>Lorem ipsum</a:t>
            </a:r>
            <a:br>
              <a:rPr kumimoji="0" lang="en-US" sz="1400" b="0" i="0" u="none" strike="noStrike" kern="0" cap="none" spc="0" normalizeH="0" baseline="0" noProof="0" dirty="0">
                <a:ln>
                  <a:noFill/>
                </a:ln>
                <a:solidFill>
                  <a:schemeClr val="accent1"/>
                </a:solidFill>
                <a:effectLst/>
                <a:uLnTx/>
                <a:uFillTx/>
                <a:latin typeface="Gill Sans MT" panose="020B0502020104020203" pitchFamily="34" charset="0"/>
                <a:cs typeface="Segoe UI" panose="020B0502040204020203" pitchFamily="34" charset="0"/>
              </a:rPr>
            </a:br>
            <a:r>
              <a:rPr kumimoji="0" lang="en-US" sz="1400" b="0" i="0" u="none" strike="noStrike" kern="0" cap="none" spc="0" normalizeH="0" baseline="0" noProof="0" dirty="0">
                <a:ln>
                  <a:noFill/>
                </a:ln>
                <a:solidFill>
                  <a:schemeClr val="accent1"/>
                </a:solidFill>
                <a:effectLst/>
                <a:uLnTx/>
                <a:uFillTx/>
                <a:latin typeface="Gill Sans MT" panose="020B0502020104020203" pitchFamily="34" charset="0"/>
                <a:cs typeface="Segoe UI" panose="020B0502040204020203" pitchFamily="34" charset="0"/>
              </a:rPr>
              <a:t>dolor sit </a:t>
            </a:r>
            <a:r>
              <a:rPr kumimoji="0" lang="en-US" sz="1400" b="0" i="0" u="none" strike="noStrike" kern="0" cap="none" spc="0" normalizeH="0" baseline="0" noProof="0" dirty="0" err="1">
                <a:ln>
                  <a:noFill/>
                </a:ln>
                <a:solidFill>
                  <a:schemeClr val="accent1"/>
                </a:solidFill>
                <a:effectLst/>
                <a:uLnTx/>
                <a:uFillTx/>
                <a:latin typeface="Gill Sans MT" panose="020B0502020104020203" pitchFamily="34" charset="0"/>
                <a:cs typeface="Segoe UI" panose="020B0502040204020203" pitchFamily="34" charset="0"/>
              </a:rPr>
              <a:t>amet</a:t>
            </a:r>
            <a:r>
              <a:rPr kumimoji="0" lang="en-US" sz="1400" b="0" i="0" u="none" strike="noStrike" kern="0" cap="none" spc="0" normalizeH="0" baseline="0" noProof="0" dirty="0">
                <a:ln>
                  <a:noFill/>
                </a:ln>
                <a:solidFill>
                  <a:schemeClr val="accent1"/>
                </a:solidFill>
                <a:effectLst/>
                <a:uLnTx/>
                <a:uFillTx/>
                <a:latin typeface="Gill Sans MT" panose="020B0502020104020203" pitchFamily="34" charset="0"/>
                <a:cs typeface="Segoe UI" panose="020B0502040204020203" pitchFamily="34" charset="0"/>
              </a:rPr>
              <a:t>.</a:t>
            </a:r>
          </a:p>
        </p:txBody>
      </p:sp>
      <p:grpSp>
        <p:nvGrpSpPr>
          <p:cNvPr id="50" name="Group 223">
            <a:extLst>
              <a:ext uri="{FF2B5EF4-FFF2-40B4-BE49-F238E27FC236}">
                <a16:creationId xmlns:a16="http://schemas.microsoft.com/office/drawing/2014/main" id="{03B3B908-99AD-4B6D-BDF4-3788D3740923}"/>
              </a:ext>
            </a:extLst>
          </p:cNvPr>
          <p:cNvGrpSpPr/>
          <p:nvPr/>
        </p:nvGrpSpPr>
        <p:grpSpPr>
          <a:xfrm flipV="1">
            <a:off x="7736227" y="4677106"/>
            <a:ext cx="2023558" cy="575394"/>
            <a:chOff x="3411155" y="3139680"/>
            <a:chExt cx="2023558" cy="575394"/>
          </a:xfrm>
        </p:grpSpPr>
        <p:sp>
          <p:nvSpPr>
            <p:cNvPr id="51" name="Rectangle: Single Corner Snipped 128">
              <a:extLst>
                <a:ext uri="{FF2B5EF4-FFF2-40B4-BE49-F238E27FC236}">
                  <a16:creationId xmlns:a16="http://schemas.microsoft.com/office/drawing/2014/main" id="{47ECEDC3-88B0-4265-813D-6F12753FA15D}"/>
                </a:ext>
              </a:extLst>
            </p:cNvPr>
            <p:cNvSpPr/>
            <p:nvPr/>
          </p:nvSpPr>
          <p:spPr>
            <a:xfrm flipH="1">
              <a:off x="3411155" y="3139680"/>
              <a:ext cx="2023558" cy="575394"/>
            </a:xfrm>
            <a:custGeom>
              <a:avLst/>
              <a:gdLst>
                <a:gd name="connsiteX0" fmla="*/ 0 w 2641940"/>
                <a:gd name="connsiteY0" fmla="*/ 0 h 825793"/>
                <a:gd name="connsiteX1" fmla="*/ 2229044 w 2641940"/>
                <a:gd name="connsiteY1" fmla="*/ 0 h 825793"/>
                <a:gd name="connsiteX2" fmla="*/ 2641940 w 2641940"/>
                <a:gd name="connsiteY2" fmla="*/ 412897 h 825793"/>
                <a:gd name="connsiteX3" fmla="*/ 2641940 w 2641940"/>
                <a:gd name="connsiteY3" fmla="*/ 825793 h 825793"/>
                <a:gd name="connsiteX4" fmla="*/ 0 w 2641940"/>
                <a:gd name="connsiteY4" fmla="*/ 825793 h 825793"/>
                <a:gd name="connsiteX5" fmla="*/ 0 w 2641940"/>
                <a:gd name="connsiteY5" fmla="*/ 0 h 825793"/>
                <a:gd name="connsiteX0" fmla="*/ 0 w 2641940"/>
                <a:gd name="connsiteY0" fmla="*/ 0 h 825793"/>
                <a:gd name="connsiteX1" fmla="*/ 2229044 w 2641940"/>
                <a:gd name="connsiteY1" fmla="*/ 0 h 825793"/>
                <a:gd name="connsiteX2" fmla="*/ 2639559 w 2641940"/>
                <a:gd name="connsiteY2" fmla="*/ 384322 h 825793"/>
                <a:gd name="connsiteX3" fmla="*/ 2641940 w 2641940"/>
                <a:gd name="connsiteY3" fmla="*/ 825793 h 825793"/>
                <a:gd name="connsiteX4" fmla="*/ 0 w 2641940"/>
                <a:gd name="connsiteY4" fmla="*/ 825793 h 825793"/>
                <a:gd name="connsiteX5" fmla="*/ 0 w 2641940"/>
                <a:gd name="connsiteY5" fmla="*/ 0 h 825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41940" h="825793">
                  <a:moveTo>
                    <a:pt x="0" y="0"/>
                  </a:moveTo>
                  <a:lnTo>
                    <a:pt x="2229044" y="0"/>
                  </a:lnTo>
                  <a:lnTo>
                    <a:pt x="2639559" y="384322"/>
                  </a:lnTo>
                  <a:cubicBezTo>
                    <a:pt x="2640353" y="531479"/>
                    <a:pt x="2641146" y="678636"/>
                    <a:pt x="2641940" y="825793"/>
                  </a:cubicBezTo>
                  <a:lnTo>
                    <a:pt x="0" y="825793"/>
                  </a:lnTo>
                  <a:lnTo>
                    <a:pt x="0" y="0"/>
                  </a:lnTo>
                  <a:close/>
                </a:path>
              </a:pathLst>
            </a:custGeom>
            <a:gradFill flip="none" rotWithShape="1">
              <a:gsLst>
                <a:gs pos="100000">
                  <a:schemeClr val="accent1"/>
                </a:gs>
                <a:gs pos="33000">
                  <a:schemeClr val="accent1"/>
                </a:gs>
              </a:gsLst>
              <a:lin ang="1800000" scaled="0"/>
              <a:tileRect/>
            </a:gradFill>
            <a:ln w="12700" cap="flat" cmpd="sng" algn="ctr">
              <a:noFill/>
              <a:prstDash val="solid"/>
              <a:miter lim="800000"/>
            </a:ln>
            <a:effectLst>
              <a:outerShdw blurRad="215900" sx="104000" sy="104000" algn="ctr" rotWithShape="0">
                <a:prstClr val="black">
                  <a:alpha val="19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0" cap="none" spc="0" normalizeH="0" baseline="0" noProof="0">
                <a:ln>
                  <a:noFill/>
                </a:ln>
                <a:solidFill>
                  <a:prstClr val="white"/>
                </a:solidFill>
                <a:effectLst/>
                <a:uLnTx/>
                <a:uFillTx/>
                <a:latin typeface="Arial"/>
                <a:cs typeface="+mn-cs"/>
              </a:endParaRPr>
            </a:p>
          </p:txBody>
        </p:sp>
        <p:sp>
          <p:nvSpPr>
            <p:cNvPr id="52" name="Rectangle 226">
              <a:extLst>
                <a:ext uri="{FF2B5EF4-FFF2-40B4-BE49-F238E27FC236}">
                  <a16:creationId xmlns:a16="http://schemas.microsoft.com/office/drawing/2014/main" id="{3E266F7E-2391-42C5-ABE8-EED67C13018A}"/>
                </a:ext>
              </a:extLst>
            </p:cNvPr>
            <p:cNvSpPr/>
            <p:nvPr/>
          </p:nvSpPr>
          <p:spPr>
            <a:xfrm flipV="1">
              <a:off x="3672512" y="3284539"/>
              <a:ext cx="1500845" cy="276999"/>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FFFFFF"/>
                  </a:solidFill>
                  <a:effectLst/>
                  <a:uLnTx/>
                  <a:uFillTx/>
                  <a:latin typeface="Gill Sans MT" panose="020B0502020104020203" pitchFamily="34" charset="0"/>
                  <a:cs typeface="Segoe UI" panose="020B0502040204020203" pitchFamily="34" charset="0"/>
                </a:rPr>
                <a:t>Lorem Ipsum</a:t>
              </a:r>
            </a:p>
          </p:txBody>
        </p:sp>
      </p:grpSp>
      <p:sp>
        <p:nvSpPr>
          <p:cNvPr id="53" name="Rectangle 224">
            <a:extLst>
              <a:ext uri="{FF2B5EF4-FFF2-40B4-BE49-F238E27FC236}">
                <a16:creationId xmlns:a16="http://schemas.microsoft.com/office/drawing/2014/main" id="{5D3E145C-C9B3-41BB-A3CA-3CC99C1D90CF}"/>
              </a:ext>
            </a:extLst>
          </p:cNvPr>
          <p:cNvSpPr/>
          <p:nvPr/>
        </p:nvSpPr>
        <p:spPr>
          <a:xfrm>
            <a:off x="9951858" y="4749360"/>
            <a:ext cx="1463648" cy="430887"/>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accent1"/>
                </a:solidFill>
                <a:effectLst/>
                <a:uLnTx/>
                <a:uFillTx/>
                <a:latin typeface="Gill Sans MT" panose="020B0502020104020203" pitchFamily="34" charset="0"/>
                <a:cs typeface="Segoe UI" panose="020B0502040204020203" pitchFamily="34" charset="0"/>
              </a:rPr>
              <a:t>Lorem ipsum</a:t>
            </a:r>
            <a:br>
              <a:rPr kumimoji="0" lang="en-US" sz="1400" b="0" i="0" u="none" strike="noStrike" kern="0" cap="none" spc="0" normalizeH="0" baseline="0" noProof="0" dirty="0">
                <a:ln>
                  <a:noFill/>
                </a:ln>
                <a:solidFill>
                  <a:schemeClr val="accent1"/>
                </a:solidFill>
                <a:effectLst/>
                <a:uLnTx/>
                <a:uFillTx/>
                <a:latin typeface="Gill Sans MT" panose="020B0502020104020203" pitchFamily="34" charset="0"/>
                <a:cs typeface="Segoe UI" panose="020B0502040204020203" pitchFamily="34" charset="0"/>
              </a:rPr>
            </a:br>
            <a:r>
              <a:rPr kumimoji="0" lang="en-US" sz="1400" b="0" i="0" u="none" strike="noStrike" kern="0" cap="none" spc="0" normalizeH="0" baseline="0" noProof="0" dirty="0">
                <a:ln>
                  <a:noFill/>
                </a:ln>
                <a:solidFill>
                  <a:schemeClr val="accent1"/>
                </a:solidFill>
                <a:effectLst/>
                <a:uLnTx/>
                <a:uFillTx/>
                <a:latin typeface="Gill Sans MT" panose="020B0502020104020203" pitchFamily="34" charset="0"/>
                <a:cs typeface="Segoe UI" panose="020B0502040204020203" pitchFamily="34" charset="0"/>
              </a:rPr>
              <a:t>dolor sit </a:t>
            </a:r>
            <a:r>
              <a:rPr kumimoji="0" lang="en-US" sz="1400" b="0" i="0" u="none" strike="noStrike" kern="0" cap="none" spc="0" normalizeH="0" baseline="0" noProof="0" dirty="0" err="1">
                <a:ln>
                  <a:noFill/>
                </a:ln>
                <a:solidFill>
                  <a:schemeClr val="accent1"/>
                </a:solidFill>
                <a:effectLst/>
                <a:uLnTx/>
                <a:uFillTx/>
                <a:latin typeface="Gill Sans MT" panose="020B0502020104020203" pitchFamily="34" charset="0"/>
                <a:cs typeface="Segoe UI" panose="020B0502040204020203" pitchFamily="34" charset="0"/>
              </a:rPr>
              <a:t>amet</a:t>
            </a:r>
            <a:r>
              <a:rPr kumimoji="0" lang="en-US" sz="1400" b="0" i="0" u="none" strike="noStrike" kern="0" cap="none" spc="0" normalizeH="0" baseline="0" noProof="0" dirty="0">
                <a:ln>
                  <a:noFill/>
                </a:ln>
                <a:solidFill>
                  <a:schemeClr val="accent1"/>
                </a:solidFill>
                <a:effectLst/>
                <a:uLnTx/>
                <a:uFillTx/>
                <a:latin typeface="Gill Sans MT" panose="020B0502020104020203" pitchFamily="34" charset="0"/>
                <a:cs typeface="Segoe UI" panose="020B0502040204020203" pitchFamily="34" charset="0"/>
              </a:rPr>
              <a:t>.</a:t>
            </a:r>
          </a:p>
        </p:txBody>
      </p:sp>
      <p:sp>
        <p:nvSpPr>
          <p:cNvPr id="54" name="Freeform 8">
            <a:extLst>
              <a:ext uri="{FF2B5EF4-FFF2-40B4-BE49-F238E27FC236}">
                <a16:creationId xmlns:a16="http://schemas.microsoft.com/office/drawing/2014/main" id="{0F496118-4558-4E6D-8706-13B84875D834}"/>
              </a:ext>
            </a:extLst>
          </p:cNvPr>
          <p:cNvSpPr>
            <a:spLocks/>
          </p:cNvSpPr>
          <p:nvPr/>
        </p:nvSpPr>
        <p:spPr bwMode="auto">
          <a:xfrm>
            <a:off x="10525956" y="3159416"/>
            <a:ext cx="303055" cy="312400"/>
          </a:xfrm>
          <a:custGeom>
            <a:avLst/>
            <a:gdLst>
              <a:gd name="T0" fmla="*/ 94 w 96"/>
              <a:gd name="T1" fmla="*/ 44 h 96"/>
              <a:gd name="T2" fmla="*/ 56 w 96"/>
              <a:gd name="T3" fmla="*/ 44 h 96"/>
              <a:gd name="T4" fmla="*/ 56 w 96"/>
              <a:gd name="T5" fmla="*/ 40 h 96"/>
              <a:gd name="T6" fmla="*/ 48 w 96"/>
              <a:gd name="T7" fmla="*/ 32 h 96"/>
              <a:gd name="T8" fmla="*/ 36 w 96"/>
              <a:gd name="T9" fmla="*/ 32 h 96"/>
              <a:gd name="T10" fmla="*/ 32 w 96"/>
              <a:gd name="T11" fmla="*/ 28 h 96"/>
              <a:gd name="T12" fmla="*/ 32 w 96"/>
              <a:gd name="T13" fmla="*/ 16 h 96"/>
              <a:gd name="T14" fmla="*/ 54 w 96"/>
              <a:gd name="T15" fmla="*/ 16 h 96"/>
              <a:gd name="T16" fmla="*/ 56 w 96"/>
              <a:gd name="T17" fmla="*/ 14 h 96"/>
              <a:gd name="T18" fmla="*/ 56 w 96"/>
              <a:gd name="T19" fmla="*/ 2 h 96"/>
              <a:gd name="T20" fmla="*/ 54 w 96"/>
              <a:gd name="T21" fmla="*/ 0 h 96"/>
              <a:gd name="T22" fmla="*/ 2 w 96"/>
              <a:gd name="T23" fmla="*/ 0 h 96"/>
              <a:gd name="T24" fmla="*/ 0 w 96"/>
              <a:gd name="T25" fmla="*/ 2 h 96"/>
              <a:gd name="T26" fmla="*/ 0 w 96"/>
              <a:gd name="T27" fmla="*/ 14 h 96"/>
              <a:gd name="T28" fmla="*/ 2 w 96"/>
              <a:gd name="T29" fmla="*/ 16 h 96"/>
              <a:gd name="T30" fmla="*/ 28 w 96"/>
              <a:gd name="T31" fmla="*/ 16 h 96"/>
              <a:gd name="T32" fmla="*/ 28 w 96"/>
              <a:gd name="T33" fmla="*/ 28 h 96"/>
              <a:gd name="T34" fmla="*/ 36 w 96"/>
              <a:gd name="T35" fmla="*/ 36 h 96"/>
              <a:gd name="T36" fmla="*/ 48 w 96"/>
              <a:gd name="T37" fmla="*/ 36 h 96"/>
              <a:gd name="T38" fmla="*/ 52 w 96"/>
              <a:gd name="T39" fmla="*/ 40 h 96"/>
              <a:gd name="T40" fmla="*/ 52 w 96"/>
              <a:gd name="T41" fmla="*/ 44 h 96"/>
              <a:gd name="T42" fmla="*/ 42 w 96"/>
              <a:gd name="T43" fmla="*/ 44 h 96"/>
              <a:gd name="T44" fmla="*/ 40 w 96"/>
              <a:gd name="T45" fmla="*/ 46 h 96"/>
              <a:gd name="T46" fmla="*/ 40 w 96"/>
              <a:gd name="T47" fmla="*/ 58 h 96"/>
              <a:gd name="T48" fmla="*/ 42 w 96"/>
              <a:gd name="T49" fmla="*/ 60 h 96"/>
              <a:gd name="T50" fmla="*/ 72 w 96"/>
              <a:gd name="T51" fmla="*/ 60 h 96"/>
              <a:gd name="T52" fmla="*/ 72 w 96"/>
              <a:gd name="T53" fmla="*/ 80 h 96"/>
              <a:gd name="T54" fmla="*/ 68 w 96"/>
              <a:gd name="T55" fmla="*/ 84 h 96"/>
              <a:gd name="T56" fmla="*/ 56 w 96"/>
              <a:gd name="T57" fmla="*/ 84 h 96"/>
              <a:gd name="T58" fmla="*/ 56 w 96"/>
              <a:gd name="T59" fmla="*/ 82 h 96"/>
              <a:gd name="T60" fmla="*/ 54 w 96"/>
              <a:gd name="T61" fmla="*/ 80 h 96"/>
              <a:gd name="T62" fmla="*/ 2 w 96"/>
              <a:gd name="T63" fmla="*/ 80 h 96"/>
              <a:gd name="T64" fmla="*/ 0 w 96"/>
              <a:gd name="T65" fmla="*/ 82 h 96"/>
              <a:gd name="T66" fmla="*/ 0 w 96"/>
              <a:gd name="T67" fmla="*/ 94 h 96"/>
              <a:gd name="T68" fmla="*/ 2 w 96"/>
              <a:gd name="T69" fmla="*/ 96 h 96"/>
              <a:gd name="T70" fmla="*/ 54 w 96"/>
              <a:gd name="T71" fmla="*/ 96 h 96"/>
              <a:gd name="T72" fmla="*/ 56 w 96"/>
              <a:gd name="T73" fmla="*/ 94 h 96"/>
              <a:gd name="T74" fmla="*/ 56 w 96"/>
              <a:gd name="T75" fmla="*/ 88 h 96"/>
              <a:gd name="T76" fmla="*/ 68 w 96"/>
              <a:gd name="T77" fmla="*/ 88 h 96"/>
              <a:gd name="T78" fmla="*/ 76 w 96"/>
              <a:gd name="T79" fmla="*/ 80 h 96"/>
              <a:gd name="T80" fmla="*/ 76 w 96"/>
              <a:gd name="T81" fmla="*/ 60 h 96"/>
              <a:gd name="T82" fmla="*/ 94 w 96"/>
              <a:gd name="T83" fmla="*/ 60 h 96"/>
              <a:gd name="T84" fmla="*/ 96 w 96"/>
              <a:gd name="T85" fmla="*/ 58 h 96"/>
              <a:gd name="T86" fmla="*/ 96 w 96"/>
              <a:gd name="T87" fmla="*/ 46 h 96"/>
              <a:gd name="T88" fmla="*/ 94 w 96"/>
              <a:gd name="T89" fmla="*/ 44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6" h="96">
                <a:moveTo>
                  <a:pt x="94" y="44"/>
                </a:moveTo>
                <a:cubicBezTo>
                  <a:pt x="56" y="44"/>
                  <a:pt x="56" y="44"/>
                  <a:pt x="56" y="44"/>
                </a:cubicBezTo>
                <a:cubicBezTo>
                  <a:pt x="56" y="40"/>
                  <a:pt x="56" y="40"/>
                  <a:pt x="56" y="40"/>
                </a:cubicBezTo>
                <a:cubicBezTo>
                  <a:pt x="56" y="36"/>
                  <a:pt x="52" y="32"/>
                  <a:pt x="48" y="32"/>
                </a:cubicBezTo>
                <a:cubicBezTo>
                  <a:pt x="36" y="32"/>
                  <a:pt x="36" y="32"/>
                  <a:pt x="36" y="32"/>
                </a:cubicBezTo>
                <a:cubicBezTo>
                  <a:pt x="34" y="32"/>
                  <a:pt x="32" y="30"/>
                  <a:pt x="32" y="28"/>
                </a:cubicBezTo>
                <a:cubicBezTo>
                  <a:pt x="32" y="16"/>
                  <a:pt x="32" y="16"/>
                  <a:pt x="32" y="16"/>
                </a:cubicBezTo>
                <a:cubicBezTo>
                  <a:pt x="54" y="16"/>
                  <a:pt x="54" y="16"/>
                  <a:pt x="54" y="16"/>
                </a:cubicBezTo>
                <a:cubicBezTo>
                  <a:pt x="55" y="16"/>
                  <a:pt x="56" y="15"/>
                  <a:pt x="56" y="14"/>
                </a:cubicBezTo>
                <a:cubicBezTo>
                  <a:pt x="56" y="2"/>
                  <a:pt x="56" y="2"/>
                  <a:pt x="56" y="2"/>
                </a:cubicBezTo>
                <a:cubicBezTo>
                  <a:pt x="56" y="1"/>
                  <a:pt x="55" y="0"/>
                  <a:pt x="54" y="0"/>
                </a:cubicBezTo>
                <a:cubicBezTo>
                  <a:pt x="2" y="0"/>
                  <a:pt x="2" y="0"/>
                  <a:pt x="2" y="0"/>
                </a:cubicBezTo>
                <a:cubicBezTo>
                  <a:pt x="1" y="0"/>
                  <a:pt x="0" y="1"/>
                  <a:pt x="0" y="2"/>
                </a:cubicBezTo>
                <a:cubicBezTo>
                  <a:pt x="0" y="14"/>
                  <a:pt x="0" y="14"/>
                  <a:pt x="0" y="14"/>
                </a:cubicBezTo>
                <a:cubicBezTo>
                  <a:pt x="0" y="15"/>
                  <a:pt x="1" y="16"/>
                  <a:pt x="2" y="16"/>
                </a:cubicBezTo>
                <a:cubicBezTo>
                  <a:pt x="28" y="16"/>
                  <a:pt x="28" y="16"/>
                  <a:pt x="28" y="16"/>
                </a:cubicBezTo>
                <a:cubicBezTo>
                  <a:pt x="28" y="28"/>
                  <a:pt x="28" y="28"/>
                  <a:pt x="28" y="28"/>
                </a:cubicBezTo>
                <a:cubicBezTo>
                  <a:pt x="28" y="32"/>
                  <a:pt x="32" y="36"/>
                  <a:pt x="36" y="36"/>
                </a:cubicBezTo>
                <a:cubicBezTo>
                  <a:pt x="48" y="36"/>
                  <a:pt x="48" y="36"/>
                  <a:pt x="48" y="36"/>
                </a:cubicBezTo>
                <a:cubicBezTo>
                  <a:pt x="50" y="36"/>
                  <a:pt x="52" y="38"/>
                  <a:pt x="52" y="40"/>
                </a:cubicBezTo>
                <a:cubicBezTo>
                  <a:pt x="52" y="44"/>
                  <a:pt x="52" y="44"/>
                  <a:pt x="52" y="44"/>
                </a:cubicBezTo>
                <a:cubicBezTo>
                  <a:pt x="42" y="44"/>
                  <a:pt x="42" y="44"/>
                  <a:pt x="42" y="44"/>
                </a:cubicBezTo>
                <a:cubicBezTo>
                  <a:pt x="41" y="44"/>
                  <a:pt x="40" y="45"/>
                  <a:pt x="40" y="46"/>
                </a:cubicBezTo>
                <a:cubicBezTo>
                  <a:pt x="40" y="58"/>
                  <a:pt x="40" y="58"/>
                  <a:pt x="40" y="58"/>
                </a:cubicBezTo>
                <a:cubicBezTo>
                  <a:pt x="40" y="59"/>
                  <a:pt x="41" y="60"/>
                  <a:pt x="42" y="60"/>
                </a:cubicBezTo>
                <a:cubicBezTo>
                  <a:pt x="72" y="60"/>
                  <a:pt x="72" y="60"/>
                  <a:pt x="72" y="60"/>
                </a:cubicBezTo>
                <a:cubicBezTo>
                  <a:pt x="72" y="80"/>
                  <a:pt x="72" y="80"/>
                  <a:pt x="72" y="80"/>
                </a:cubicBezTo>
                <a:cubicBezTo>
                  <a:pt x="72" y="82"/>
                  <a:pt x="70" y="84"/>
                  <a:pt x="68" y="84"/>
                </a:cubicBezTo>
                <a:cubicBezTo>
                  <a:pt x="56" y="84"/>
                  <a:pt x="56" y="84"/>
                  <a:pt x="56" y="84"/>
                </a:cubicBezTo>
                <a:cubicBezTo>
                  <a:pt x="56" y="82"/>
                  <a:pt x="56" y="82"/>
                  <a:pt x="56" y="82"/>
                </a:cubicBezTo>
                <a:cubicBezTo>
                  <a:pt x="56" y="81"/>
                  <a:pt x="55" y="80"/>
                  <a:pt x="54" y="80"/>
                </a:cubicBezTo>
                <a:cubicBezTo>
                  <a:pt x="2" y="80"/>
                  <a:pt x="2" y="80"/>
                  <a:pt x="2" y="80"/>
                </a:cubicBezTo>
                <a:cubicBezTo>
                  <a:pt x="1" y="80"/>
                  <a:pt x="0" y="81"/>
                  <a:pt x="0" y="82"/>
                </a:cubicBezTo>
                <a:cubicBezTo>
                  <a:pt x="0" y="94"/>
                  <a:pt x="0" y="94"/>
                  <a:pt x="0" y="94"/>
                </a:cubicBezTo>
                <a:cubicBezTo>
                  <a:pt x="0" y="95"/>
                  <a:pt x="1" y="96"/>
                  <a:pt x="2" y="96"/>
                </a:cubicBezTo>
                <a:cubicBezTo>
                  <a:pt x="54" y="96"/>
                  <a:pt x="54" y="96"/>
                  <a:pt x="54" y="96"/>
                </a:cubicBezTo>
                <a:cubicBezTo>
                  <a:pt x="55" y="96"/>
                  <a:pt x="56" y="95"/>
                  <a:pt x="56" y="94"/>
                </a:cubicBezTo>
                <a:cubicBezTo>
                  <a:pt x="56" y="88"/>
                  <a:pt x="56" y="88"/>
                  <a:pt x="56" y="88"/>
                </a:cubicBezTo>
                <a:cubicBezTo>
                  <a:pt x="68" y="88"/>
                  <a:pt x="68" y="88"/>
                  <a:pt x="68" y="88"/>
                </a:cubicBezTo>
                <a:cubicBezTo>
                  <a:pt x="72" y="88"/>
                  <a:pt x="76" y="84"/>
                  <a:pt x="76" y="80"/>
                </a:cubicBezTo>
                <a:cubicBezTo>
                  <a:pt x="76" y="60"/>
                  <a:pt x="76" y="60"/>
                  <a:pt x="76" y="60"/>
                </a:cubicBezTo>
                <a:cubicBezTo>
                  <a:pt x="94" y="60"/>
                  <a:pt x="94" y="60"/>
                  <a:pt x="94" y="60"/>
                </a:cubicBezTo>
                <a:cubicBezTo>
                  <a:pt x="95" y="60"/>
                  <a:pt x="96" y="59"/>
                  <a:pt x="96" y="58"/>
                </a:cubicBezTo>
                <a:cubicBezTo>
                  <a:pt x="96" y="46"/>
                  <a:pt x="96" y="46"/>
                  <a:pt x="96" y="46"/>
                </a:cubicBezTo>
                <a:cubicBezTo>
                  <a:pt x="96" y="45"/>
                  <a:pt x="95" y="44"/>
                  <a:pt x="94" y="44"/>
                </a:cubicBezTo>
                <a:close/>
              </a:path>
            </a:pathLst>
          </a:custGeom>
          <a:gradFill flip="none" rotWithShape="1">
            <a:gsLst>
              <a:gs pos="100000">
                <a:schemeClr val="accent1"/>
              </a:gs>
              <a:gs pos="0">
                <a:schemeClr val="accent1"/>
              </a:gs>
            </a:gsLst>
            <a:lin ang="2700000" scaled="1"/>
            <a:tileRect/>
          </a:gradFill>
          <a:ln w="12700" cap="flat" cmpd="sng" algn="ctr">
            <a:noFill/>
            <a:prstDash val="solid"/>
            <a:miter lim="800000"/>
          </a:ln>
          <a:effectLst>
            <a:outerShdw blurRad="215900" sx="104000" sy="104000" algn="ctr" rotWithShape="0">
              <a:prstClr val="black">
                <a:alpha val="19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0" cap="none" spc="0" normalizeH="0" baseline="0" noProof="0">
              <a:ln>
                <a:noFill/>
              </a:ln>
              <a:solidFill>
                <a:prstClr val="white"/>
              </a:solidFill>
              <a:effectLst/>
              <a:uLnTx/>
              <a:uFillTx/>
              <a:latin typeface="Arial"/>
              <a:cs typeface="+mn-cs"/>
            </a:endParaRPr>
          </a:p>
        </p:txBody>
      </p:sp>
      <p:sp>
        <p:nvSpPr>
          <p:cNvPr id="55" name="Rectangle 252">
            <a:extLst>
              <a:ext uri="{FF2B5EF4-FFF2-40B4-BE49-F238E27FC236}">
                <a16:creationId xmlns:a16="http://schemas.microsoft.com/office/drawing/2014/main" id="{04747179-B306-474C-B6E3-5FB53096B498}"/>
              </a:ext>
            </a:extLst>
          </p:cNvPr>
          <p:cNvSpPr/>
          <p:nvPr/>
        </p:nvSpPr>
        <p:spPr>
          <a:xfrm>
            <a:off x="921403" y="3355021"/>
            <a:ext cx="1111236" cy="430887"/>
          </a:xfrm>
          <a:prstGeom prst="rect">
            <a:avLst/>
          </a:prstGeom>
        </p:spPr>
        <p:txBody>
          <a:bodyPr wrap="square" lIns="0" tIns="0" rIns="0" bIns="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FFFFF"/>
                </a:solidFill>
                <a:effectLst/>
                <a:uLnTx/>
                <a:uFillTx/>
                <a:latin typeface="Gill Sans MT" panose="020B0502020104020203" pitchFamily="34" charset="0"/>
                <a:cs typeface="Segoe UI" panose="020B0502040204020203" pitchFamily="34" charset="0"/>
              </a:rPr>
              <a:t>Lorem ipsum</a:t>
            </a:r>
            <a:br>
              <a:rPr kumimoji="0" lang="en-US" sz="1400" b="0" i="0" u="none" strike="noStrike" kern="0" cap="none" spc="0" normalizeH="0" baseline="0" noProof="0" dirty="0">
                <a:ln>
                  <a:noFill/>
                </a:ln>
                <a:solidFill>
                  <a:srgbClr val="FFFFFF"/>
                </a:solidFill>
                <a:effectLst/>
                <a:uLnTx/>
                <a:uFillTx/>
                <a:latin typeface="Gill Sans MT" panose="020B0502020104020203" pitchFamily="34" charset="0"/>
                <a:cs typeface="Segoe UI" panose="020B0502040204020203" pitchFamily="34" charset="0"/>
              </a:rPr>
            </a:br>
            <a:r>
              <a:rPr kumimoji="0" lang="en-US" sz="1400" b="0" i="0" u="none" strike="noStrike" kern="0" cap="none" spc="0" normalizeH="0" baseline="0" noProof="0" dirty="0">
                <a:ln>
                  <a:noFill/>
                </a:ln>
                <a:solidFill>
                  <a:srgbClr val="FFFFFF"/>
                </a:solidFill>
                <a:effectLst/>
                <a:uLnTx/>
                <a:uFillTx/>
                <a:latin typeface="Gill Sans MT" panose="020B0502020104020203" pitchFamily="34" charset="0"/>
                <a:cs typeface="Segoe UI" panose="020B0502040204020203" pitchFamily="34" charset="0"/>
              </a:rPr>
              <a:t>dolor sit </a:t>
            </a:r>
            <a:r>
              <a:rPr kumimoji="0" lang="en-US" sz="1400" b="0" i="0" u="none" strike="noStrike" kern="0" cap="none" spc="0" normalizeH="0" baseline="0" noProof="0" dirty="0" err="1">
                <a:ln>
                  <a:noFill/>
                </a:ln>
                <a:solidFill>
                  <a:srgbClr val="FFFFFF"/>
                </a:solidFill>
                <a:effectLst/>
                <a:uLnTx/>
                <a:uFillTx/>
                <a:latin typeface="Gill Sans MT" panose="020B0502020104020203" pitchFamily="34" charset="0"/>
                <a:cs typeface="Segoe UI" panose="020B0502040204020203" pitchFamily="34" charset="0"/>
              </a:rPr>
              <a:t>amet</a:t>
            </a:r>
            <a:r>
              <a:rPr kumimoji="0" lang="en-US" sz="1400" b="0" i="0" u="none" strike="noStrike" kern="0" cap="none" spc="0" normalizeH="0" baseline="0" noProof="0" dirty="0">
                <a:ln>
                  <a:noFill/>
                </a:ln>
                <a:solidFill>
                  <a:srgbClr val="FFFFFF"/>
                </a:solidFill>
                <a:effectLst/>
                <a:uLnTx/>
                <a:uFillTx/>
                <a:latin typeface="Gill Sans MT" panose="020B0502020104020203" pitchFamily="34" charset="0"/>
                <a:cs typeface="Segoe UI" panose="020B0502040204020203" pitchFamily="34" charset="0"/>
              </a:rPr>
              <a:t>.</a:t>
            </a:r>
          </a:p>
        </p:txBody>
      </p:sp>
      <p:grpSp>
        <p:nvGrpSpPr>
          <p:cNvPr id="56" name="Group 256">
            <a:extLst>
              <a:ext uri="{FF2B5EF4-FFF2-40B4-BE49-F238E27FC236}">
                <a16:creationId xmlns:a16="http://schemas.microsoft.com/office/drawing/2014/main" id="{20CD3EBA-1413-47CD-AA34-51A2755AA40B}"/>
              </a:ext>
            </a:extLst>
          </p:cNvPr>
          <p:cNvGrpSpPr/>
          <p:nvPr/>
        </p:nvGrpSpPr>
        <p:grpSpPr>
          <a:xfrm>
            <a:off x="1593946" y="2795815"/>
            <a:ext cx="438693" cy="444544"/>
            <a:chOff x="5554663" y="723900"/>
            <a:chExt cx="357187" cy="361951"/>
          </a:xfrm>
          <a:solidFill>
            <a:schemeClr val="bg1"/>
          </a:solidFill>
        </p:grpSpPr>
        <p:sp>
          <p:nvSpPr>
            <p:cNvPr id="57" name="Freeform 68">
              <a:extLst>
                <a:ext uri="{FF2B5EF4-FFF2-40B4-BE49-F238E27FC236}">
                  <a16:creationId xmlns:a16="http://schemas.microsoft.com/office/drawing/2014/main" id="{0CCB9FA5-B936-4355-98EF-973B28170226}"/>
                </a:ext>
              </a:extLst>
            </p:cNvPr>
            <p:cNvSpPr>
              <a:spLocks/>
            </p:cNvSpPr>
            <p:nvPr/>
          </p:nvSpPr>
          <p:spPr bwMode="auto">
            <a:xfrm>
              <a:off x="5554663" y="949325"/>
              <a:ext cx="131763" cy="136525"/>
            </a:xfrm>
            <a:custGeom>
              <a:avLst/>
              <a:gdLst>
                <a:gd name="T0" fmla="*/ 12 w 35"/>
                <a:gd name="T1" fmla="*/ 0 h 36"/>
                <a:gd name="T2" fmla="*/ 0 w 35"/>
                <a:gd name="T3" fmla="*/ 21 h 36"/>
                <a:gd name="T4" fmla="*/ 0 w 35"/>
                <a:gd name="T5" fmla="*/ 23 h 36"/>
                <a:gd name="T6" fmla="*/ 2 w 35"/>
                <a:gd name="T7" fmla="*/ 24 h 36"/>
                <a:gd name="T8" fmla="*/ 16 w 35"/>
                <a:gd name="T9" fmla="*/ 22 h 36"/>
                <a:gd name="T10" fmla="*/ 21 w 35"/>
                <a:gd name="T11" fmla="*/ 35 h 36"/>
                <a:gd name="T12" fmla="*/ 23 w 35"/>
                <a:gd name="T13" fmla="*/ 36 h 36"/>
                <a:gd name="T14" fmla="*/ 23 w 35"/>
                <a:gd name="T15" fmla="*/ 36 h 36"/>
                <a:gd name="T16" fmla="*/ 24 w 35"/>
                <a:gd name="T17" fmla="*/ 35 h 36"/>
                <a:gd name="T18" fmla="*/ 35 w 35"/>
                <a:gd name="T19" fmla="*/ 18 h 36"/>
                <a:gd name="T20" fmla="*/ 12 w 35"/>
                <a:gd name="T21"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5" h="36">
                  <a:moveTo>
                    <a:pt x="12" y="0"/>
                  </a:moveTo>
                  <a:cubicBezTo>
                    <a:pt x="0" y="21"/>
                    <a:pt x="0" y="21"/>
                    <a:pt x="0" y="21"/>
                  </a:cubicBezTo>
                  <a:cubicBezTo>
                    <a:pt x="0" y="22"/>
                    <a:pt x="0" y="22"/>
                    <a:pt x="0" y="23"/>
                  </a:cubicBezTo>
                  <a:cubicBezTo>
                    <a:pt x="1" y="24"/>
                    <a:pt x="2" y="24"/>
                    <a:pt x="2" y="24"/>
                  </a:cubicBezTo>
                  <a:cubicBezTo>
                    <a:pt x="16" y="22"/>
                    <a:pt x="16" y="22"/>
                    <a:pt x="16" y="22"/>
                  </a:cubicBezTo>
                  <a:cubicBezTo>
                    <a:pt x="21" y="35"/>
                    <a:pt x="21" y="35"/>
                    <a:pt x="21" y="35"/>
                  </a:cubicBezTo>
                  <a:cubicBezTo>
                    <a:pt x="21" y="35"/>
                    <a:pt x="22" y="36"/>
                    <a:pt x="23" y="36"/>
                  </a:cubicBezTo>
                  <a:cubicBezTo>
                    <a:pt x="23" y="36"/>
                    <a:pt x="23" y="36"/>
                    <a:pt x="23" y="36"/>
                  </a:cubicBezTo>
                  <a:cubicBezTo>
                    <a:pt x="23" y="36"/>
                    <a:pt x="24" y="36"/>
                    <a:pt x="24" y="35"/>
                  </a:cubicBezTo>
                  <a:cubicBezTo>
                    <a:pt x="35" y="18"/>
                    <a:pt x="35" y="18"/>
                    <a:pt x="35" y="18"/>
                  </a:cubicBezTo>
                  <a:cubicBezTo>
                    <a:pt x="25" y="15"/>
                    <a:pt x="17" y="8"/>
                    <a:pt x="1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Arial"/>
                <a:cs typeface="+mn-cs"/>
              </a:endParaRPr>
            </a:p>
          </p:txBody>
        </p:sp>
        <p:sp>
          <p:nvSpPr>
            <p:cNvPr id="58" name="Freeform 69">
              <a:extLst>
                <a:ext uri="{FF2B5EF4-FFF2-40B4-BE49-F238E27FC236}">
                  <a16:creationId xmlns:a16="http://schemas.microsoft.com/office/drawing/2014/main" id="{1A7B847F-276B-4D84-9ED9-2B1F6FB75A2C}"/>
                </a:ext>
              </a:extLst>
            </p:cNvPr>
            <p:cNvSpPr>
              <a:spLocks/>
            </p:cNvSpPr>
            <p:nvPr/>
          </p:nvSpPr>
          <p:spPr bwMode="auto">
            <a:xfrm>
              <a:off x="5784850" y="954088"/>
              <a:ext cx="127000" cy="131763"/>
            </a:xfrm>
            <a:custGeom>
              <a:avLst/>
              <a:gdLst>
                <a:gd name="T0" fmla="*/ 34 w 34"/>
                <a:gd name="T1" fmla="*/ 20 h 35"/>
                <a:gd name="T2" fmla="*/ 22 w 34"/>
                <a:gd name="T3" fmla="*/ 0 h 35"/>
                <a:gd name="T4" fmla="*/ 0 w 34"/>
                <a:gd name="T5" fmla="*/ 17 h 35"/>
                <a:gd name="T6" fmla="*/ 10 w 34"/>
                <a:gd name="T7" fmla="*/ 34 h 35"/>
                <a:gd name="T8" fmla="*/ 12 w 34"/>
                <a:gd name="T9" fmla="*/ 35 h 35"/>
                <a:gd name="T10" fmla="*/ 12 w 34"/>
                <a:gd name="T11" fmla="*/ 35 h 35"/>
                <a:gd name="T12" fmla="*/ 13 w 34"/>
                <a:gd name="T13" fmla="*/ 34 h 35"/>
                <a:gd name="T14" fmla="*/ 18 w 34"/>
                <a:gd name="T15" fmla="*/ 21 h 35"/>
                <a:gd name="T16" fmla="*/ 32 w 34"/>
                <a:gd name="T17" fmla="*/ 23 h 35"/>
                <a:gd name="T18" fmla="*/ 34 w 34"/>
                <a:gd name="T19" fmla="*/ 22 h 35"/>
                <a:gd name="T20" fmla="*/ 34 w 34"/>
                <a:gd name="T21" fmla="*/ 2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4" h="35">
                  <a:moveTo>
                    <a:pt x="34" y="20"/>
                  </a:moveTo>
                  <a:cubicBezTo>
                    <a:pt x="22" y="0"/>
                    <a:pt x="22" y="0"/>
                    <a:pt x="22" y="0"/>
                  </a:cubicBezTo>
                  <a:cubicBezTo>
                    <a:pt x="17" y="8"/>
                    <a:pt x="9" y="14"/>
                    <a:pt x="0" y="17"/>
                  </a:cubicBezTo>
                  <a:cubicBezTo>
                    <a:pt x="10" y="34"/>
                    <a:pt x="10" y="34"/>
                    <a:pt x="10" y="34"/>
                  </a:cubicBezTo>
                  <a:cubicBezTo>
                    <a:pt x="10" y="35"/>
                    <a:pt x="11" y="35"/>
                    <a:pt x="12" y="35"/>
                  </a:cubicBezTo>
                  <a:cubicBezTo>
                    <a:pt x="12" y="35"/>
                    <a:pt x="12" y="35"/>
                    <a:pt x="12" y="35"/>
                  </a:cubicBezTo>
                  <a:cubicBezTo>
                    <a:pt x="13" y="35"/>
                    <a:pt x="13" y="34"/>
                    <a:pt x="13" y="34"/>
                  </a:cubicBezTo>
                  <a:cubicBezTo>
                    <a:pt x="18" y="21"/>
                    <a:pt x="18" y="21"/>
                    <a:pt x="18" y="21"/>
                  </a:cubicBezTo>
                  <a:cubicBezTo>
                    <a:pt x="32" y="23"/>
                    <a:pt x="32" y="23"/>
                    <a:pt x="32" y="23"/>
                  </a:cubicBezTo>
                  <a:cubicBezTo>
                    <a:pt x="33" y="23"/>
                    <a:pt x="34" y="23"/>
                    <a:pt x="34" y="22"/>
                  </a:cubicBezTo>
                  <a:cubicBezTo>
                    <a:pt x="34" y="21"/>
                    <a:pt x="34" y="21"/>
                    <a:pt x="34"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Arial"/>
                <a:cs typeface="+mn-cs"/>
              </a:endParaRPr>
            </a:p>
          </p:txBody>
        </p:sp>
        <p:sp>
          <p:nvSpPr>
            <p:cNvPr id="59" name="Freeform 70">
              <a:extLst>
                <a:ext uri="{FF2B5EF4-FFF2-40B4-BE49-F238E27FC236}">
                  <a16:creationId xmlns:a16="http://schemas.microsoft.com/office/drawing/2014/main" id="{A118C2A5-FF44-4970-929B-78BD5463A3BD}"/>
                </a:ext>
              </a:extLst>
            </p:cNvPr>
            <p:cNvSpPr>
              <a:spLocks noEditPoints="1"/>
            </p:cNvSpPr>
            <p:nvPr/>
          </p:nvSpPr>
          <p:spPr bwMode="auto">
            <a:xfrm>
              <a:off x="5592765" y="723900"/>
              <a:ext cx="285750" cy="285750"/>
            </a:xfrm>
            <a:custGeom>
              <a:avLst/>
              <a:gdLst>
                <a:gd name="T0" fmla="*/ 76 w 76"/>
                <a:gd name="T1" fmla="*/ 38 h 76"/>
                <a:gd name="T2" fmla="*/ 38 w 76"/>
                <a:gd name="T3" fmla="*/ 0 h 76"/>
                <a:gd name="T4" fmla="*/ 0 w 76"/>
                <a:gd name="T5" fmla="*/ 38 h 76"/>
                <a:gd name="T6" fmla="*/ 38 w 76"/>
                <a:gd name="T7" fmla="*/ 76 h 76"/>
                <a:gd name="T8" fmla="*/ 76 w 76"/>
                <a:gd name="T9" fmla="*/ 38 h 76"/>
                <a:gd name="T10" fmla="*/ 57 w 76"/>
                <a:gd name="T11" fmla="*/ 34 h 76"/>
                <a:gd name="T12" fmla="*/ 48 w 76"/>
                <a:gd name="T13" fmla="*/ 41 h 76"/>
                <a:gd name="T14" fmla="*/ 52 w 76"/>
                <a:gd name="T15" fmla="*/ 53 h 76"/>
                <a:gd name="T16" fmla="*/ 51 w 76"/>
                <a:gd name="T17" fmla="*/ 56 h 76"/>
                <a:gd name="T18" fmla="*/ 50 w 76"/>
                <a:gd name="T19" fmla="*/ 56 h 76"/>
                <a:gd name="T20" fmla="*/ 49 w 76"/>
                <a:gd name="T21" fmla="*/ 56 h 76"/>
                <a:gd name="T22" fmla="*/ 38 w 76"/>
                <a:gd name="T23" fmla="*/ 49 h 76"/>
                <a:gd name="T24" fmla="*/ 27 w 76"/>
                <a:gd name="T25" fmla="*/ 56 h 76"/>
                <a:gd name="T26" fmla="*/ 25 w 76"/>
                <a:gd name="T27" fmla="*/ 56 h 76"/>
                <a:gd name="T28" fmla="*/ 24 w 76"/>
                <a:gd name="T29" fmla="*/ 53 h 76"/>
                <a:gd name="T30" fmla="*/ 28 w 76"/>
                <a:gd name="T31" fmla="*/ 41 h 76"/>
                <a:gd name="T32" fmla="*/ 19 w 76"/>
                <a:gd name="T33" fmla="*/ 34 h 76"/>
                <a:gd name="T34" fmla="*/ 18 w 76"/>
                <a:gd name="T35" fmla="*/ 31 h 76"/>
                <a:gd name="T36" fmla="*/ 20 w 76"/>
                <a:gd name="T37" fmla="*/ 30 h 76"/>
                <a:gd name="T38" fmla="*/ 31 w 76"/>
                <a:gd name="T39" fmla="*/ 30 h 76"/>
                <a:gd name="T40" fmla="*/ 36 w 76"/>
                <a:gd name="T41" fmla="*/ 19 h 76"/>
                <a:gd name="T42" fmla="*/ 40 w 76"/>
                <a:gd name="T43" fmla="*/ 19 h 76"/>
                <a:gd name="T44" fmla="*/ 45 w 76"/>
                <a:gd name="T45" fmla="*/ 30 h 76"/>
                <a:gd name="T46" fmla="*/ 56 w 76"/>
                <a:gd name="T47" fmla="*/ 30 h 76"/>
                <a:gd name="T48" fmla="*/ 58 w 76"/>
                <a:gd name="T49" fmla="*/ 31 h 76"/>
                <a:gd name="T50" fmla="*/ 57 w 76"/>
                <a:gd name="T51" fmla="*/ 3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6" h="76">
                  <a:moveTo>
                    <a:pt x="76" y="38"/>
                  </a:moveTo>
                  <a:cubicBezTo>
                    <a:pt x="76" y="17"/>
                    <a:pt x="59" y="0"/>
                    <a:pt x="38" y="0"/>
                  </a:cubicBezTo>
                  <a:cubicBezTo>
                    <a:pt x="17" y="0"/>
                    <a:pt x="0" y="17"/>
                    <a:pt x="0" y="38"/>
                  </a:cubicBezTo>
                  <a:cubicBezTo>
                    <a:pt x="0" y="59"/>
                    <a:pt x="17" y="76"/>
                    <a:pt x="38" y="76"/>
                  </a:cubicBezTo>
                  <a:cubicBezTo>
                    <a:pt x="59" y="76"/>
                    <a:pt x="76" y="59"/>
                    <a:pt x="76" y="38"/>
                  </a:cubicBezTo>
                  <a:close/>
                  <a:moveTo>
                    <a:pt x="57" y="34"/>
                  </a:moveTo>
                  <a:cubicBezTo>
                    <a:pt x="48" y="41"/>
                    <a:pt x="48" y="41"/>
                    <a:pt x="48" y="41"/>
                  </a:cubicBezTo>
                  <a:cubicBezTo>
                    <a:pt x="52" y="53"/>
                    <a:pt x="52" y="53"/>
                    <a:pt x="52" y="53"/>
                  </a:cubicBezTo>
                  <a:cubicBezTo>
                    <a:pt x="52" y="54"/>
                    <a:pt x="52" y="55"/>
                    <a:pt x="51" y="56"/>
                  </a:cubicBezTo>
                  <a:cubicBezTo>
                    <a:pt x="51" y="56"/>
                    <a:pt x="50" y="56"/>
                    <a:pt x="50" y="56"/>
                  </a:cubicBezTo>
                  <a:cubicBezTo>
                    <a:pt x="50" y="56"/>
                    <a:pt x="49" y="56"/>
                    <a:pt x="49" y="56"/>
                  </a:cubicBezTo>
                  <a:cubicBezTo>
                    <a:pt x="38" y="49"/>
                    <a:pt x="38" y="49"/>
                    <a:pt x="38" y="49"/>
                  </a:cubicBezTo>
                  <a:cubicBezTo>
                    <a:pt x="27" y="56"/>
                    <a:pt x="27" y="56"/>
                    <a:pt x="27" y="56"/>
                  </a:cubicBezTo>
                  <a:cubicBezTo>
                    <a:pt x="26" y="56"/>
                    <a:pt x="25" y="56"/>
                    <a:pt x="25" y="56"/>
                  </a:cubicBezTo>
                  <a:cubicBezTo>
                    <a:pt x="24" y="55"/>
                    <a:pt x="24" y="54"/>
                    <a:pt x="24" y="53"/>
                  </a:cubicBezTo>
                  <a:cubicBezTo>
                    <a:pt x="28" y="41"/>
                    <a:pt x="28" y="41"/>
                    <a:pt x="28" y="41"/>
                  </a:cubicBezTo>
                  <a:cubicBezTo>
                    <a:pt x="19" y="34"/>
                    <a:pt x="19" y="34"/>
                    <a:pt x="19" y="34"/>
                  </a:cubicBezTo>
                  <a:cubicBezTo>
                    <a:pt x="18" y="33"/>
                    <a:pt x="18" y="32"/>
                    <a:pt x="18" y="31"/>
                  </a:cubicBezTo>
                  <a:cubicBezTo>
                    <a:pt x="18" y="31"/>
                    <a:pt x="19" y="30"/>
                    <a:pt x="20" y="30"/>
                  </a:cubicBezTo>
                  <a:cubicBezTo>
                    <a:pt x="31" y="30"/>
                    <a:pt x="31" y="30"/>
                    <a:pt x="31" y="30"/>
                  </a:cubicBezTo>
                  <a:cubicBezTo>
                    <a:pt x="36" y="19"/>
                    <a:pt x="36" y="19"/>
                    <a:pt x="36" y="19"/>
                  </a:cubicBezTo>
                  <a:cubicBezTo>
                    <a:pt x="37" y="18"/>
                    <a:pt x="39" y="18"/>
                    <a:pt x="40" y="19"/>
                  </a:cubicBezTo>
                  <a:cubicBezTo>
                    <a:pt x="45" y="30"/>
                    <a:pt x="45" y="30"/>
                    <a:pt x="45" y="30"/>
                  </a:cubicBezTo>
                  <a:cubicBezTo>
                    <a:pt x="56" y="30"/>
                    <a:pt x="56" y="30"/>
                    <a:pt x="56" y="30"/>
                  </a:cubicBezTo>
                  <a:cubicBezTo>
                    <a:pt x="57" y="30"/>
                    <a:pt x="58" y="31"/>
                    <a:pt x="58" y="31"/>
                  </a:cubicBezTo>
                  <a:cubicBezTo>
                    <a:pt x="58" y="32"/>
                    <a:pt x="58" y="33"/>
                    <a:pt x="57"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Arial"/>
                <a:cs typeface="+mn-cs"/>
              </a:endParaRPr>
            </a:p>
          </p:txBody>
        </p:sp>
      </p:grpSp>
      <p:grpSp>
        <p:nvGrpSpPr>
          <p:cNvPr id="60" name="Group 77">
            <a:extLst>
              <a:ext uri="{FF2B5EF4-FFF2-40B4-BE49-F238E27FC236}">
                <a16:creationId xmlns:a16="http://schemas.microsoft.com/office/drawing/2014/main" id="{5F876732-620B-49A4-90A1-6AEAB0F49662}"/>
              </a:ext>
            </a:extLst>
          </p:cNvPr>
          <p:cNvGrpSpPr/>
          <p:nvPr/>
        </p:nvGrpSpPr>
        <p:grpSpPr>
          <a:xfrm>
            <a:off x="9579269" y="4784288"/>
            <a:ext cx="361031" cy="361031"/>
            <a:chOff x="4487433" y="9969660"/>
            <a:chExt cx="361031" cy="361031"/>
          </a:xfrm>
        </p:grpSpPr>
        <p:sp>
          <p:nvSpPr>
            <p:cNvPr id="61" name="Oval 288">
              <a:extLst>
                <a:ext uri="{FF2B5EF4-FFF2-40B4-BE49-F238E27FC236}">
                  <a16:creationId xmlns:a16="http://schemas.microsoft.com/office/drawing/2014/main" id="{2EA43820-60B5-4E69-A86D-6CD93778F52B}"/>
                </a:ext>
              </a:extLst>
            </p:cNvPr>
            <p:cNvSpPr/>
            <p:nvPr/>
          </p:nvSpPr>
          <p:spPr>
            <a:xfrm flipV="1">
              <a:off x="4487433" y="9969660"/>
              <a:ext cx="361031" cy="361031"/>
            </a:xfrm>
            <a:prstGeom prst="ellipse">
              <a:avLst/>
            </a:prstGeom>
            <a:solidFill>
              <a:sysClr val="window" lastClr="FFFFFF"/>
            </a:solidFill>
            <a:ln w="12700" cap="flat" cmpd="sng" algn="ctr">
              <a:noFill/>
              <a:prstDash val="solid"/>
              <a:miter lim="800000"/>
            </a:ln>
            <a:effectLst>
              <a:outerShdw blurRad="215900" sx="104000" sy="104000" algn="ctr" rotWithShape="0">
                <a:prstClr val="black">
                  <a:alpha val="19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Gill Sans MT" panose="020B0502020104020203" pitchFamily="34" charset="0"/>
                <a:cs typeface="+mn-cs"/>
              </a:endParaRPr>
            </a:p>
          </p:txBody>
        </p:sp>
        <p:sp>
          <p:nvSpPr>
            <p:cNvPr id="62" name="Freeform 31">
              <a:extLst>
                <a:ext uri="{FF2B5EF4-FFF2-40B4-BE49-F238E27FC236}">
                  <a16:creationId xmlns:a16="http://schemas.microsoft.com/office/drawing/2014/main" id="{8D8B113F-FCF8-42B0-A1A8-29C4E6A45439}"/>
                </a:ext>
              </a:extLst>
            </p:cNvPr>
            <p:cNvSpPr>
              <a:spLocks/>
            </p:cNvSpPr>
            <p:nvPr/>
          </p:nvSpPr>
          <p:spPr bwMode="auto">
            <a:xfrm>
              <a:off x="4619565" y="10052553"/>
              <a:ext cx="96766" cy="195244"/>
            </a:xfrm>
            <a:custGeom>
              <a:avLst/>
              <a:gdLst>
                <a:gd name="T0" fmla="*/ 48 w 48"/>
                <a:gd name="T1" fmla="*/ 1 h 96"/>
                <a:gd name="T2" fmla="*/ 46 w 48"/>
                <a:gd name="T3" fmla="*/ 0 h 96"/>
                <a:gd name="T4" fmla="*/ 14 w 48"/>
                <a:gd name="T5" fmla="*/ 0 h 96"/>
                <a:gd name="T6" fmla="*/ 12 w 48"/>
                <a:gd name="T7" fmla="*/ 2 h 96"/>
                <a:gd name="T8" fmla="*/ 0 w 48"/>
                <a:gd name="T9" fmla="*/ 50 h 96"/>
                <a:gd name="T10" fmla="*/ 0 w 48"/>
                <a:gd name="T11" fmla="*/ 51 h 96"/>
                <a:gd name="T12" fmla="*/ 2 w 48"/>
                <a:gd name="T13" fmla="*/ 52 h 96"/>
                <a:gd name="T14" fmla="*/ 15 w 48"/>
                <a:gd name="T15" fmla="*/ 52 h 96"/>
                <a:gd name="T16" fmla="*/ 4 w 48"/>
                <a:gd name="T17" fmla="*/ 93 h 96"/>
                <a:gd name="T18" fmla="*/ 5 w 48"/>
                <a:gd name="T19" fmla="*/ 96 h 96"/>
                <a:gd name="T20" fmla="*/ 8 w 48"/>
                <a:gd name="T21" fmla="*/ 95 h 96"/>
                <a:gd name="T22" fmla="*/ 48 w 48"/>
                <a:gd name="T23" fmla="*/ 35 h 96"/>
                <a:gd name="T24" fmla="*/ 48 w 48"/>
                <a:gd name="T25" fmla="*/ 33 h 96"/>
                <a:gd name="T26" fmla="*/ 46 w 48"/>
                <a:gd name="T27" fmla="*/ 32 h 96"/>
                <a:gd name="T28" fmla="*/ 30 w 48"/>
                <a:gd name="T29" fmla="*/ 32 h 96"/>
                <a:gd name="T30" fmla="*/ 48 w 48"/>
                <a:gd name="T31" fmla="*/ 3 h 96"/>
                <a:gd name="T32" fmla="*/ 48 w 48"/>
                <a:gd name="T33" fmla="*/ 1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8" h="96">
                  <a:moveTo>
                    <a:pt x="48" y="1"/>
                  </a:moveTo>
                  <a:cubicBezTo>
                    <a:pt x="47" y="0"/>
                    <a:pt x="47" y="0"/>
                    <a:pt x="46" y="0"/>
                  </a:cubicBezTo>
                  <a:cubicBezTo>
                    <a:pt x="14" y="0"/>
                    <a:pt x="14" y="0"/>
                    <a:pt x="14" y="0"/>
                  </a:cubicBezTo>
                  <a:cubicBezTo>
                    <a:pt x="13" y="0"/>
                    <a:pt x="12" y="1"/>
                    <a:pt x="12" y="2"/>
                  </a:cubicBezTo>
                  <a:cubicBezTo>
                    <a:pt x="0" y="50"/>
                    <a:pt x="0" y="50"/>
                    <a:pt x="0" y="50"/>
                  </a:cubicBezTo>
                  <a:cubicBezTo>
                    <a:pt x="0" y="50"/>
                    <a:pt x="0" y="51"/>
                    <a:pt x="0" y="51"/>
                  </a:cubicBezTo>
                  <a:cubicBezTo>
                    <a:pt x="1" y="52"/>
                    <a:pt x="1" y="52"/>
                    <a:pt x="2" y="52"/>
                  </a:cubicBezTo>
                  <a:cubicBezTo>
                    <a:pt x="15" y="52"/>
                    <a:pt x="15" y="52"/>
                    <a:pt x="15" y="52"/>
                  </a:cubicBezTo>
                  <a:cubicBezTo>
                    <a:pt x="4" y="93"/>
                    <a:pt x="4" y="93"/>
                    <a:pt x="4" y="93"/>
                  </a:cubicBezTo>
                  <a:cubicBezTo>
                    <a:pt x="4" y="94"/>
                    <a:pt x="4" y="95"/>
                    <a:pt x="5" y="96"/>
                  </a:cubicBezTo>
                  <a:cubicBezTo>
                    <a:pt x="6" y="96"/>
                    <a:pt x="7" y="96"/>
                    <a:pt x="8" y="95"/>
                  </a:cubicBezTo>
                  <a:cubicBezTo>
                    <a:pt x="48" y="35"/>
                    <a:pt x="48" y="35"/>
                    <a:pt x="48" y="35"/>
                  </a:cubicBezTo>
                  <a:cubicBezTo>
                    <a:pt x="48" y="34"/>
                    <a:pt x="48" y="34"/>
                    <a:pt x="48" y="33"/>
                  </a:cubicBezTo>
                  <a:cubicBezTo>
                    <a:pt x="47" y="32"/>
                    <a:pt x="47" y="32"/>
                    <a:pt x="46" y="32"/>
                  </a:cubicBezTo>
                  <a:cubicBezTo>
                    <a:pt x="30" y="32"/>
                    <a:pt x="30" y="32"/>
                    <a:pt x="30" y="32"/>
                  </a:cubicBezTo>
                  <a:cubicBezTo>
                    <a:pt x="48" y="3"/>
                    <a:pt x="48" y="3"/>
                    <a:pt x="48" y="3"/>
                  </a:cubicBezTo>
                  <a:cubicBezTo>
                    <a:pt x="48" y="2"/>
                    <a:pt x="48" y="2"/>
                    <a:pt x="48" y="1"/>
                  </a:cubicBezTo>
                  <a:close/>
                </a:path>
              </a:pathLst>
            </a:custGeom>
            <a:gradFill flip="none" rotWithShape="1">
              <a:gsLst>
                <a:gs pos="100000">
                  <a:schemeClr val="accent1"/>
                </a:gs>
                <a:gs pos="0">
                  <a:schemeClr val="accent1"/>
                </a:gs>
              </a:gsLst>
              <a:lin ang="270000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Arial"/>
                <a:cs typeface="+mn-cs"/>
              </a:endParaRPr>
            </a:p>
          </p:txBody>
        </p:sp>
      </p:grpSp>
      <p:grpSp>
        <p:nvGrpSpPr>
          <p:cNvPr id="63" name="Group 75">
            <a:extLst>
              <a:ext uri="{FF2B5EF4-FFF2-40B4-BE49-F238E27FC236}">
                <a16:creationId xmlns:a16="http://schemas.microsoft.com/office/drawing/2014/main" id="{D1EADBF7-025B-4FF9-80AE-1C8D2AC26890}"/>
              </a:ext>
            </a:extLst>
          </p:cNvPr>
          <p:cNvGrpSpPr/>
          <p:nvPr/>
        </p:nvGrpSpPr>
        <p:grpSpPr>
          <a:xfrm>
            <a:off x="8509078" y="2356179"/>
            <a:ext cx="361031" cy="361029"/>
            <a:chOff x="5091646" y="8001004"/>
            <a:chExt cx="361031" cy="361029"/>
          </a:xfrm>
        </p:grpSpPr>
        <p:sp>
          <p:nvSpPr>
            <p:cNvPr id="64" name="Oval 285">
              <a:extLst>
                <a:ext uri="{FF2B5EF4-FFF2-40B4-BE49-F238E27FC236}">
                  <a16:creationId xmlns:a16="http://schemas.microsoft.com/office/drawing/2014/main" id="{F7D75D48-3FE3-4EAC-AF14-D021E7D0B547}"/>
                </a:ext>
              </a:extLst>
            </p:cNvPr>
            <p:cNvSpPr/>
            <p:nvPr/>
          </p:nvSpPr>
          <p:spPr>
            <a:xfrm>
              <a:off x="5091646" y="8001004"/>
              <a:ext cx="361031" cy="361029"/>
            </a:xfrm>
            <a:prstGeom prst="ellipse">
              <a:avLst/>
            </a:prstGeom>
            <a:solidFill>
              <a:sysClr val="window" lastClr="FFFFFF"/>
            </a:solidFill>
            <a:ln w="12700" cap="flat" cmpd="sng" algn="ctr">
              <a:noFill/>
              <a:prstDash val="solid"/>
              <a:miter lim="800000"/>
            </a:ln>
            <a:effectLst>
              <a:outerShdw blurRad="215900" sx="104000" sy="104000" algn="ctr" rotWithShape="0">
                <a:prstClr val="black">
                  <a:alpha val="19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Gill Sans MT" panose="020B0502020104020203" pitchFamily="34" charset="0"/>
                <a:cs typeface="+mn-cs"/>
              </a:endParaRPr>
            </a:p>
          </p:txBody>
        </p:sp>
        <p:sp>
          <p:nvSpPr>
            <p:cNvPr id="65" name="Freeform 43">
              <a:extLst>
                <a:ext uri="{FF2B5EF4-FFF2-40B4-BE49-F238E27FC236}">
                  <a16:creationId xmlns:a16="http://schemas.microsoft.com/office/drawing/2014/main" id="{0477F3AE-58C7-457A-883C-1B07E09F0B8D}"/>
                </a:ext>
              </a:extLst>
            </p:cNvPr>
            <p:cNvSpPr>
              <a:spLocks noEditPoints="1"/>
            </p:cNvSpPr>
            <p:nvPr/>
          </p:nvSpPr>
          <p:spPr bwMode="auto">
            <a:xfrm>
              <a:off x="5180720" y="8090079"/>
              <a:ext cx="182882" cy="182878"/>
            </a:xfrm>
            <a:custGeom>
              <a:avLst/>
              <a:gdLst>
                <a:gd name="T0" fmla="*/ 47 w 48"/>
                <a:gd name="T1" fmla="*/ 41 h 48"/>
                <a:gd name="T2" fmla="*/ 36 w 48"/>
                <a:gd name="T3" fmla="*/ 30 h 48"/>
                <a:gd name="T4" fmla="*/ 33 w 48"/>
                <a:gd name="T5" fmla="*/ 28 h 48"/>
                <a:gd name="T6" fmla="*/ 36 w 48"/>
                <a:gd name="T7" fmla="*/ 18 h 48"/>
                <a:gd name="T8" fmla="*/ 18 w 48"/>
                <a:gd name="T9" fmla="*/ 0 h 48"/>
                <a:gd name="T10" fmla="*/ 0 w 48"/>
                <a:gd name="T11" fmla="*/ 18 h 48"/>
                <a:gd name="T12" fmla="*/ 18 w 48"/>
                <a:gd name="T13" fmla="*/ 36 h 48"/>
                <a:gd name="T14" fmla="*/ 28 w 48"/>
                <a:gd name="T15" fmla="*/ 33 h 48"/>
                <a:gd name="T16" fmla="*/ 30 w 48"/>
                <a:gd name="T17" fmla="*/ 36 h 48"/>
                <a:gd name="T18" fmla="*/ 41 w 48"/>
                <a:gd name="T19" fmla="*/ 47 h 48"/>
                <a:gd name="T20" fmla="*/ 47 w 48"/>
                <a:gd name="T21" fmla="*/ 47 h 48"/>
                <a:gd name="T22" fmla="*/ 47 w 48"/>
                <a:gd name="T23" fmla="*/ 41 h 48"/>
                <a:gd name="T24" fmla="*/ 20 w 48"/>
                <a:gd name="T25" fmla="*/ 26 h 48"/>
                <a:gd name="T26" fmla="*/ 18 w 48"/>
                <a:gd name="T27" fmla="*/ 28 h 48"/>
                <a:gd name="T28" fmla="*/ 16 w 48"/>
                <a:gd name="T29" fmla="*/ 26 h 48"/>
                <a:gd name="T30" fmla="*/ 16 w 48"/>
                <a:gd name="T31" fmla="*/ 20 h 48"/>
                <a:gd name="T32" fmla="*/ 10 w 48"/>
                <a:gd name="T33" fmla="*/ 20 h 48"/>
                <a:gd name="T34" fmla="*/ 8 w 48"/>
                <a:gd name="T35" fmla="*/ 18 h 48"/>
                <a:gd name="T36" fmla="*/ 10 w 48"/>
                <a:gd name="T37" fmla="*/ 16 h 48"/>
                <a:gd name="T38" fmla="*/ 16 w 48"/>
                <a:gd name="T39" fmla="*/ 16 h 48"/>
                <a:gd name="T40" fmla="*/ 16 w 48"/>
                <a:gd name="T41" fmla="*/ 10 h 48"/>
                <a:gd name="T42" fmla="*/ 18 w 48"/>
                <a:gd name="T43" fmla="*/ 8 h 48"/>
                <a:gd name="T44" fmla="*/ 20 w 48"/>
                <a:gd name="T45" fmla="*/ 10 h 48"/>
                <a:gd name="T46" fmla="*/ 20 w 48"/>
                <a:gd name="T47" fmla="*/ 16 h 48"/>
                <a:gd name="T48" fmla="*/ 26 w 48"/>
                <a:gd name="T49" fmla="*/ 16 h 48"/>
                <a:gd name="T50" fmla="*/ 28 w 48"/>
                <a:gd name="T51" fmla="*/ 18 h 48"/>
                <a:gd name="T52" fmla="*/ 26 w 48"/>
                <a:gd name="T53" fmla="*/ 20 h 48"/>
                <a:gd name="T54" fmla="*/ 20 w 48"/>
                <a:gd name="T55" fmla="*/ 20 h 48"/>
                <a:gd name="T56" fmla="*/ 20 w 48"/>
                <a:gd name="T57" fmla="*/ 2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8" h="48">
                  <a:moveTo>
                    <a:pt x="47" y="41"/>
                  </a:moveTo>
                  <a:cubicBezTo>
                    <a:pt x="36" y="30"/>
                    <a:pt x="36" y="30"/>
                    <a:pt x="36" y="30"/>
                  </a:cubicBezTo>
                  <a:cubicBezTo>
                    <a:pt x="33" y="28"/>
                    <a:pt x="33" y="28"/>
                    <a:pt x="33" y="28"/>
                  </a:cubicBezTo>
                  <a:cubicBezTo>
                    <a:pt x="35" y="25"/>
                    <a:pt x="36" y="22"/>
                    <a:pt x="36" y="18"/>
                  </a:cubicBezTo>
                  <a:cubicBezTo>
                    <a:pt x="36" y="8"/>
                    <a:pt x="28" y="0"/>
                    <a:pt x="18" y="0"/>
                  </a:cubicBezTo>
                  <a:cubicBezTo>
                    <a:pt x="8" y="0"/>
                    <a:pt x="0" y="8"/>
                    <a:pt x="0" y="18"/>
                  </a:cubicBezTo>
                  <a:cubicBezTo>
                    <a:pt x="0" y="28"/>
                    <a:pt x="8" y="36"/>
                    <a:pt x="18" y="36"/>
                  </a:cubicBezTo>
                  <a:cubicBezTo>
                    <a:pt x="22" y="36"/>
                    <a:pt x="25" y="35"/>
                    <a:pt x="28" y="33"/>
                  </a:cubicBezTo>
                  <a:cubicBezTo>
                    <a:pt x="30" y="36"/>
                    <a:pt x="30" y="36"/>
                    <a:pt x="30" y="36"/>
                  </a:cubicBezTo>
                  <a:cubicBezTo>
                    <a:pt x="41" y="47"/>
                    <a:pt x="41" y="47"/>
                    <a:pt x="41" y="47"/>
                  </a:cubicBezTo>
                  <a:cubicBezTo>
                    <a:pt x="43" y="48"/>
                    <a:pt x="45" y="48"/>
                    <a:pt x="47" y="47"/>
                  </a:cubicBezTo>
                  <a:cubicBezTo>
                    <a:pt x="48" y="45"/>
                    <a:pt x="48" y="43"/>
                    <a:pt x="47" y="41"/>
                  </a:cubicBezTo>
                  <a:close/>
                  <a:moveTo>
                    <a:pt x="20" y="26"/>
                  </a:moveTo>
                  <a:cubicBezTo>
                    <a:pt x="20" y="27"/>
                    <a:pt x="19" y="28"/>
                    <a:pt x="18" y="28"/>
                  </a:cubicBezTo>
                  <a:cubicBezTo>
                    <a:pt x="17" y="28"/>
                    <a:pt x="16" y="27"/>
                    <a:pt x="16" y="26"/>
                  </a:cubicBezTo>
                  <a:cubicBezTo>
                    <a:pt x="16" y="20"/>
                    <a:pt x="16" y="20"/>
                    <a:pt x="16" y="20"/>
                  </a:cubicBezTo>
                  <a:cubicBezTo>
                    <a:pt x="10" y="20"/>
                    <a:pt x="10" y="20"/>
                    <a:pt x="10" y="20"/>
                  </a:cubicBezTo>
                  <a:cubicBezTo>
                    <a:pt x="9" y="20"/>
                    <a:pt x="8" y="19"/>
                    <a:pt x="8" y="18"/>
                  </a:cubicBezTo>
                  <a:cubicBezTo>
                    <a:pt x="8" y="17"/>
                    <a:pt x="9" y="16"/>
                    <a:pt x="10" y="16"/>
                  </a:cubicBezTo>
                  <a:cubicBezTo>
                    <a:pt x="16" y="16"/>
                    <a:pt x="16" y="16"/>
                    <a:pt x="16" y="16"/>
                  </a:cubicBezTo>
                  <a:cubicBezTo>
                    <a:pt x="16" y="10"/>
                    <a:pt x="16" y="10"/>
                    <a:pt x="16" y="10"/>
                  </a:cubicBezTo>
                  <a:cubicBezTo>
                    <a:pt x="16" y="9"/>
                    <a:pt x="17" y="8"/>
                    <a:pt x="18" y="8"/>
                  </a:cubicBezTo>
                  <a:cubicBezTo>
                    <a:pt x="19" y="8"/>
                    <a:pt x="20" y="9"/>
                    <a:pt x="20" y="10"/>
                  </a:cubicBezTo>
                  <a:cubicBezTo>
                    <a:pt x="20" y="16"/>
                    <a:pt x="20" y="16"/>
                    <a:pt x="20" y="16"/>
                  </a:cubicBezTo>
                  <a:cubicBezTo>
                    <a:pt x="26" y="16"/>
                    <a:pt x="26" y="16"/>
                    <a:pt x="26" y="16"/>
                  </a:cubicBezTo>
                  <a:cubicBezTo>
                    <a:pt x="27" y="16"/>
                    <a:pt x="28" y="17"/>
                    <a:pt x="28" y="18"/>
                  </a:cubicBezTo>
                  <a:cubicBezTo>
                    <a:pt x="28" y="19"/>
                    <a:pt x="27" y="20"/>
                    <a:pt x="26" y="20"/>
                  </a:cubicBezTo>
                  <a:cubicBezTo>
                    <a:pt x="20" y="20"/>
                    <a:pt x="20" y="20"/>
                    <a:pt x="20" y="20"/>
                  </a:cubicBezTo>
                  <a:lnTo>
                    <a:pt x="20" y="26"/>
                  </a:lnTo>
                  <a:close/>
                </a:path>
              </a:pathLst>
            </a:custGeom>
            <a:gradFill flip="none" rotWithShape="1">
              <a:gsLst>
                <a:gs pos="100000">
                  <a:schemeClr val="accent1"/>
                </a:gs>
                <a:gs pos="0">
                  <a:schemeClr val="accent1"/>
                </a:gs>
              </a:gsLst>
              <a:lin ang="270000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Arial"/>
                <a:cs typeface="+mn-cs"/>
              </a:endParaRPr>
            </a:p>
          </p:txBody>
        </p:sp>
      </p:grpSp>
      <p:grpSp>
        <p:nvGrpSpPr>
          <p:cNvPr id="66" name="Group 76">
            <a:extLst>
              <a:ext uri="{FF2B5EF4-FFF2-40B4-BE49-F238E27FC236}">
                <a16:creationId xmlns:a16="http://schemas.microsoft.com/office/drawing/2014/main" id="{6AB71C9D-DA83-488B-99D7-EEA7CAFC4884}"/>
              </a:ext>
            </a:extLst>
          </p:cNvPr>
          <p:cNvGrpSpPr/>
          <p:nvPr/>
        </p:nvGrpSpPr>
        <p:grpSpPr>
          <a:xfrm>
            <a:off x="8524887" y="3945645"/>
            <a:ext cx="361031" cy="361031"/>
            <a:chOff x="5091646" y="9270295"/>
            <a:chExt cx="361031" cy="361031"/>
          </a:xfrm>
        </p:grpSpPr>
        <p:sp>
          <p:nvSpPr>
            <p:cNvPr id="67" name="Oval 291">
              <a:extLst>
                <a:ext uri="{FF2B5EF4-FFF2-40B4-BE49-F238E27FC236}">
                  <a16:creationId xmlns:a16="http://schemas.microsoft.com/office/drawing/2014/main" id="{15A539CF-C4B6-4534-9A5C-12DF55F8EFF0}"/>
                </a:ext>
              </a:extLst>
            </p:cNvPr>
            <p:cNvSpPr/>
            <p:nvPr/>
          </p:nvSpPr>
          <p:spPr>
            <a:xfrm flipV="1">
              <a:off x="5091646" y="9270295"/>
              <a:ext cx="361031" cy="361031"/>
            </a:xfrm>
            <a:prstGeom prst="ellipse">
              <a:avLst/>
            </a:prstGeom>
            <a:solidFill>
              <a:sysClr val="window" lastClr="FFFFFF"/>
            </a:solidFill>
            <a:ln w="12700" cap="flat" cmpd="sng" algn="ctr">
              <a:noFill/>
              <a:prstDash val="solid"/>
              <a:miter lim="800000"/>
            </a:ln>
            <a:effectLst>
              <a:outerShdw blurRad="215900" sx="104000" sy="104000" algn="ctr" rotWithShape="0">
                <a:prstClr val="black">
                  <a:alpha val="19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Gill Sans MT" panose="020B0502020104020203" pitchFamily="34" charset="0"/>
                <a:cs typeface="+mn-cs"/>
              </a:endParaRPr>
            </a:p>
          </p:txBody>
        </p:sp>
        <p:grpSp>
          <p:nvGrpSpPr>
            <p:cNvPr id="68" name="Group 301">
              <a:extLst>
                <a:ext uri="{FF2B5EF4-FFF2-40B4-BE49-F238E27FC236}">
                  <a16:creationId xmlns:a16="http://schemas.microsoft.com/office/drawing/2014/main" id="{E3360348-EAA2-410F-808E-F22FB301FBC5}"/>
                </a:ext>
              </a:extLst>
            </p:cNvPr>
            <p:cNvGrpSpPr/>
            <p:nvPr/>
          </p:nvGrpSpPr>
          <p:grpSpPr>
            <a:xfrm>
              <a:off x="5174967" y="9360467"/>
              <a:ext cx="194388" cy="180686"/>
              <a:chOff x="6276975" y="3981450"/>
              <a:chExt cx="360363" cy="334963"/>
            </a:xfrm>
            <a:gradFill>
              <a:gsLst>
                <a:gs pos="100000">
                  <a:srgbClr val="0098DB"/>
                </a:gs>
                <a:gs pos="0">
                  <a:srgbClr val="00497A"/>
                </a:gs>
              </a:gsLst>
              <a:lin ang="2700000" scaled="1"/>
            </a:gradFill>
          </p:grpSpPr>
          <p:sp>
            <p:nvSpPr>
              <p:cNvPr id="69" name="Freeform 98">
                <a:extLst>
                  <a:ext uri="{FF2B5EF4-FFF2-40B4-BE49-F238E27FC236}">
                    <a16:creationId xmlns:a16="http://schemas.microsoft.com/office/drawing/2014/main" id="{E55D8C89-68D9-4275-8F3B-DF637A7BED82}"/>
                  </a:ext>
                </a:extLst>
              </p:cNvPr>
              <p:cNvSpPr>
                <a:spLocks noEditPoints="1"/>
              </p:cNvSpPr>
              <p:nvPr/>
            </p:nvSpPr>
            <p:spPr bwMode="auto">
              <a:xfrm>
                <a:off x="6472238" y="3981450"/>
                <a:ext cx="165100" cy="334963"/>
              </a:xfrm>
              <a:custGeom>
                <a:avLst/>
                <a:gdLst>
                  <a:gd name="T0" fmla="*/ 14 w 44"/>
                  <a:gd name="T1" fmla="*/ 37 h 89"/>
                  <a:gd name="T2" fmla="*/ 12 w 44"/>
                  <a:gd name="T3" fmla="*/ 39 h 89"/>
                  <a:gd name="T4" fmla="*/ 10 w 44"/>
                  <a:gd name="T5" fmla="*/ 37 h 89"/>
                  <a:gd name="T6" fmla="*/ 0 w 44"/>
                  <a:gd name="T7" fmla="*/ 31 h 89"/>
                  <a:gd name="T8" fmla="*/ 0 w 44"/>
                  <a:gd name="T9" fmla="*/ 67 h 89"/>
                  <a:gd name="T10" fmla="*/ 22 w 44"/>
                  <a:gd name="T11" fmla="*/ 89 h 89"/>
                  <a:gd name="T12" fmla="*/ 44 w 44"/>
                  <a:gd name="T13" fmla="*/ 67 h 89"/>
                  <a:gd name="T14" fmla="*/ 40 w 44"/>
                  <a:gd name="T15" fmla="*/ 54 h 89"/>
                  <a:gd name="T16" fmla="*/ 28 w 44"/>
                  <a:gd name="T17" fmla="*/ 26 h 89"/>
                  <a:gd name="T18" fmla="*/ 27 w 44"/>
                  <a:gd name="T19" fmla="*/ 26 h 89"/>
                  <a:gd name="T20" fmla="*/ 22 w 44"/>
                  <a:gd name="T21" fmla="*/ 20 h 89"/>
                  <a:gd name="T22" fmla="*/ 16 w 44"/>
                  <a:gd name="T23" fmla="*/ 5 h 89"/>
                  <a:gd name="T24" fmla="*/ 15 w 44"/>
                  <a:gd name="T25" fmla="*/ 4 h 89"/>
                  <a:gd name="T26" fmla="*/ 1 w 44"/>
                  <a:gd name="T27" fmla="*/ 4 h 89"/>
                  <a:gd name="T28" fmla="*/ 0 w 44"/>
                  <a:gd name="T29" fmla="*/ 5 h 89"/>
                  <a:gd name="T30" fmla="*/ 0 w 44"/>
                  <a:gd name="T31" fmla="*/ 27 h 89"/>
                  <a:gd name="T32" fmla="*/ 14 w 44"/>
                  <a:gd name="T33" fmla="*/ 37 h 89"/>
                  <a:gd name="T34" fmla="*/ 22 w 44"/>
                  <a:gd name="T35" fmla="*/ 85 h 89"/>
                  <a:gd name="T36" fmla="*/ 4 w 44"/>
                  <a:gd name="T37" fmla="*/ 67 h 89"/>
                  <a:gd name="T38" fmla="*/ 22 w 44"/>
                  <a:gd name="T39" fmla="*/ 49 h 89"/>
                  <a:gd name="T40" fmla="*/ 40 w 44"/>
                  <a:gd name="T41" fmla="*/ 67 h 89"/>
                  <a:gd name="T42" fmla="*/ 22 w 44"/>
                  <a:gd name="T43" fmla="*/ 85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4" h="89">
                    <a:moveTo>
                      <a:pt x="14" y="37"/>
                    </a:moveTo>
                    <a:cubicBezTo>
                      <a:pt x="14" y="38"/>
                      <a:pt x="13" y="39"/>
                      <a:pt x="12" y="39"/>
                    </a:cubicBezTo>
                    <a:cubicBezTo>
                      <a:pt x="11" y="39"/>
                      <a:pt x="10" y="38"/>
                      <a:pt x="10" y="37"/>
                    </a:cubicBezTo>
                    <a:cubicBezTo>
                      <a:pt x="10" y="35"/>
                      <a:pt x="6" y="32"/>
                      <a:pt x="0" y="31"/>
                    </a:cubicBezTo>
                    <a:cubicBezTo>
                      <a:pt x="0" y="67"/>
                      <a:pt x="0" y="67"/>
                      <a:pt x="0" y="67"/>
                    </a:cubicBezTo>
                    <a:cubicBezTo>
                      <a:pt x="0" y="79"/>
                      <a:pt x="10" y="89"/>
                      <a:pt x="22" y="89"/>
                    </a:cubicBezTo>
                    <a:cubicBezTo>
                      <a:pt x="34" y="89"/>
                      <a:pt x="44" y="79"/>
                      <a:pt x="44" y="67"/>
                    </a:cubicBezTo>
                    <a:cubicBezTo>
                      <a:pt x="44" y="62"/>
                      <a:pt x="42" y="58"/>
                      <a:pt x="40" y="54"/>
                    </a:cubicBezTo>
                    <a:cubicBezTo>
                      <a:pt x="28" y="26"/>
                      <a:pt x="28" y="26"/>
                      <a:pt x="28" y="26"/>
                    </a:cubicBezTo>
                    <a:cubicBezTo>
                      <a:pt x="28" y="26"/>
                      <a:pt x="28" y="26"/>
                      <a:pt x="27" y="26"/>
                    </a:cubicBezTo>
                    <a:cubicBezTo>
                      <a:pt x="22" y="20"/>
                      <a:pt x="22" y="20"/>
                      <a:pt x="22" y="20"/>
                    </a:cubicBezTo>
                    <a:cubicBezTo>
                      <a:pt x="16" y="5"/>
                      <a:pt x="16" y="5"/>
                      <a:pt x="16" y="5"/>
                    </a:cubicBezTo>
                    <a:cubicBezTo>
                      <a:pt x="16" y="4"/>
                      <a:pt x="16" y="4"/>
                      <a:pt x="15" y="4"/>
                    </a:cubicBezTo>
                    <a:cubicBezTo>
                      <a:pt x="12" y="0"/>
                      <a:pt x="4" y="0"/>
                      <a:pt x="1" y="4"/>
                    </a:cubicBezTo>
                    <a:cubicBezTo>
                      <a:pt x="0" y="4"/>
                      <a:pt x="0" y="5"/>
                      <a:pt x="0" y="5"/>
                    </a:cubicBezTo>
                    <a:cubicBezTo>
                      <a:pt x="0" y="27"/>
                      <a:pt x="0" y="27"/>
                      <a:pt x="0" y="27"/>
                    </a:cubicBezTo>
                    <a:cubicBezTo>
                      <a:pt x="8" y="28"/>
                      <a:pt x="14" y="32"/>
                      <a:pt x="14" y="37"/>
                    </a:cubicBezTo>
                    <a:close/>
                    <a:moveTo>
                      <a:pt x="22" y="85"/>
                    </a:moveTo>
                    <a:cubicBezTo>
                      <a:pt x="12" y="85"/>
                      <a:pt x="4" y="77"/>
                      <a:pt x="4" y="67"/>
                    </a:cubicBezTo>
                    <a:cubicBezTo>
                      <a:pt x="4" y="57"/>
                      <a:pt x="12" y="49"/>
                      <a:pt x="22" y="49"/>
                    </a:cubicBezTo>
                    <a:cubicBezTo>
                      <a:pt x="32" y="49"/>
                      <a:pt x="40" y="57"/>
                      <a:pt x="40" y="67"/>
                    </a:cubicBezTo>
                    <a:cubicBezTo>
                      <a:pt x="40" y="77"/>
                      <a:pt x="32" y="85"/>
                      <a:pt x="22" y="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Arial"/>
                  <a:cs typeface="+mn-cs"/>
                </a:endParaRPr>
              </a:p>
            </p:txBody>
          </p:sp>
          <p:sp>
            <p:nvSpPr>
              <p:cNvPr id="70" name="Freeform 99">
                <a:extLst>
                  <a:ext uri="{FF2B5EF4-FFF2-40B4-BE49-F238E27FC236}">
                    <a16:creationId xmlns:a16="http://schemas.microsoft.com/office/drawing/2014/main" id="{7564C040-AF6B-427A-A160-8D3C94887451}"/>
                  </a:ext>
                </a:extLst>
              </p:cNvPr>
              <p:cNvSpPr>
                <a:spLocks noEditPoints="1"/>
              </p:cNvSpPr>
              <p:nvPr/>
            </p:nvSpPr>
            <p:spPr bwMode="auto">
              <a:xfrm>
                <a:off x="6276975" y="3981450"/>
                <a:ext cx="165100" cy="334963"/>
              </a:xfrm>
              <a:custGeom>
                <a:avLst/>
                <a:gdLst>
                  <a:gd name="T0" fmla="*/ 0 w 44"/>
                  <a:gd name="T1" fmla="*/ 67 h 89"/>
                  <a:gd name="T2" fmla="*/ 22 w 44"/>
                  <a:gd name="T3" fmla="*/ 89 h 89"/>
                  <a:gd name="T4" fmla="*/ 44 w 44"/>
                  <a:gd name="T5" fmla="*/ 67 h 89"/>
                  <a:gd name="T6" fmla="*/ 44 w 44"/>
                  <a:gd name="T7" fmla="*/ 31 h 89"/>
                  <a:gd name="T8" fmla="*/ 34 w 44"/>
                  <a:gd name="T9" fmla="*/ 37 h 89"/>
                  <a:gd name="T10" fmla="*/ 32 w 44"/>
                  <a:gd name="T11" fmla="*/ 39 h 89"/>
                  <a:gd name="T12" fmla="*/ 30 w 44"/>
                  <a:gd name="T13" fmla="*/ 37 h 89"/>
                  <a:gd name="T14" fmla="*/ 44 w 44"/>
                  <a:gd name="T15" fmla="*/ 27 h 89"/>
                  <a:gd name="T16" fmla="*/ 44 w 44"/>
                  <a:gd name="T17" fmla="*/ 5 h 89"/>
                  <a:gd name="T18" fmla="*/ 43 w 44"/>
                  <a:gd name="T19" fmla="*/ 4 h 89"/>
                  <a:gd name="T20" fmla="*/ 29 w 44"/>
                  <a:gd name="T21" fmla="*/ 4 h 89"/>
                  <a:gd name="T22" fmla="*/ 28 w 44"/>
                  <a:gd name="T23" fmla="*/ 4 h 89"/>
                  <a:gd name="T24" fmla="*/ 22 w 44"/>
                  <a:gd name="T25" fmla="*/ 20 h 89"/>
                  <a:gd name="T26" fmla="*/ 17 w 44"/>
                  <a:gd name="T27" fmla="*/ 26 h 89"/>
                  <a:gd name="T28" fmla="*/ 16 w 44"/>
                  <a:gd name="T29" fmla="*/ 26 h 89"/>
                  <a:gd name="T30" fmla="*/ 4 w 44"/>
                  <a:gd name="T31" fmla="*/ 54 h 89"/>
                  <a:gd name="T32" fmla="*/ 0 w 44"/>
                  <a:gd name="T33" fmla="*/ 67 h 89"/>
                  <a:gd name="T34" fmla="*/ 22 w 44"/>
                  <a:gd name="T35" fmla="*/ 85 h 89"/>
                  <a:gd name="T36" fmla="*/ 4 w 44"/>
                  <a:gd name="T37" fmla="*/ 67 h 89"/>
                  <a:gd name="T38" fmla="*/ 22 w 44"/>
                  <a:gd name="T39" fmla="*/ 49 h 89"/>
                  <a:gd name="T40" fmla="*/ 40 w 44"/>
                  <a:gd name="T41" fmla="*/ 67 h 89"/>
                  <a:gd name="T42" fmla="*/ 22 w 44"/>
                  <a:gd name="T43" fmla="*/ 85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4" h="89">
                    <a:moveTo>
                      <a:pt x="0" y="67"/>
                    </a:moveTo>
                    <a:cubicBezTo>
                      <a:pt x="0" y="79"/>
                      <a:pt x="10" y="89"/>
                      <a:pt x="22" y="89"/>
                    </a:cubicBezTo>
                    <a:cubicBezTo>
                      <a:pt x="34" y="89"/>
                      <a:pt x="44" y="79"/>
                      <a:pt x="44" y="67"/>
                    </a:cubicBezTo>
                    <a:cubicBezTo>
                      <a:pt x="44" y="31"/>
                      <a:pt x="44" y="31"/>
                      <a:pt x="44" y="31"/>
                    </a:cubicBezTo>
                    <a:cubicBezTo>
                      <a:pt x="38" y="32"/>
                      <a:pt x="34" y="35"/>
                      <a:pt x="34" y="37"/>
                    </a:cubicBezTo>
                    <a:cubicBezTo>
                      <a:pt x="34" y="38"/>
                      <a:pt x="33" y="39"/>
                      <a:pt x="32" y="39"/>
                    </a:cubicBezTo>
                    <a:cubicBezTo>
                      <a:pt x="31" y="39"/>
                      <a:pt x="30" y="38"/>
                      <a:pt x="30" y="37"/>
                    </a:cubicBezTo>
                    <a:cubicBezTo>
                      <a:pt x="30" y="32"/>
                      <a:pt x="36" y="28"/>
                      <a:pt x="44" y="27"/>
                    </a:cubicBezTo>
                    <a:cubicBezTo>
                      <a:pt x="44" y="5"/>
                      <a:pt x="44" y="5"/>
                      <a:pt x="44" y="5"/>
                    </a:cubicBezTo>
                    <a:cubicBezTo>
                      <a:pt x="44" y="5"/>
                      <a:pt x="44" y="4"/>
                      <a:pt x="43" y="4"/>
                    </a:cubicBezTo>
                    <a:cubicBezTo>
                      <a:pt x="40" y="0"/>
                      <a:pt x="32" y="0"/>
                      <a:pt x="29" y="4"/>
                    </a:cubicBezTo>
                    <a:cubicBezTo>
                      <a:pt x="28" y="4"/>
                      <a:pt x="28" y="4"/>
                      <a:pt x="28" y="4"/>
                    </a:cubicBezTo>
                    <a:cubicBezTo>
                      <a:pt x="22" y="20"/>
                      <a:pt x="22" y="20"/>
                      <a:pt x="22" y="20"/>
                    </a:cubicBezTo>
                    <a:cubicBezTo>
                      <a:pt x="17" y="26"/>
                      <a:pt x="17" y="26"/>
                      <a:pt x="17" y="26"/>
                    </a:cubicBezTo>
                    <a:cubicBezTo>
                      <a:pt x="16" y="26"/>
                      <a:pt x="16" y="26"/>
                      <a:pt x="16" y="26"/>
                    </a:cubicBezTo>
                    <a:cubicBezTo>
                      <a:pt x="4" y="54"/>
                      <a:pt x="4" y="54"/>
                      <a:pt x="4" y="54"/>
                    </a:cubicBezTo>
                    <a:cubicBezTo>
                      <a:pt x="2" y="58"/>
                      <a:pt x="0" y="62"/>
                      <a:pt x="0" y="67"/>
                    </a:cubicBezTo>
                    <a:close/>
                    <a:moveTo>
                      <a:pt x="22" y="85"/>
                    </a:moveTo>
                    <a:cubicBezTo>
                      <a:pt x="12" y="85"/>
                      <a:pt x="4" y="77"/>
                      <a:pt x="4" y="67"/>
                    </a:cubicBezTo>
                    <a:cubicBezTo>
                      <a:pt x="4" y="57"/>
                      <a:pt x="12" y="49"/>
                      <a:pt x="22" y="49"/>
                    </a:cubicBezTo>
                    <a:cubicBezTo>
                      <a:pt x="32" y="49"/>
                      <a:pt x="40" y="57"/>
                      <a:pt x="40" y="67"/>
                    </a:cubicBezTo>
                    <a:cubicBezTo>
                      <a:pt x="40" y="77"/>
                      <a:pt x="32" y="85"/>
                      <a:pt x="22" y="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Arial"/>
                  <a:cs typeface="+mn-cs"/>
                </a:endParaRPr>
              </a:p>
            </p:txBody>
          </p:sp>
          <p:sp>
            <p:nvSpPr>
              <p:cNvPr id="71" name="Freeform 100">
                <a:extLst>
                  <a:ext uri="{FF2B5EF4-FFF2-40B4-BE49-F238E27FC236}">
                    <a16:creationId xmlns:a16="http://schemas.microsoft.com/office/drawing/2014/main" id="{6D4C9FC7-B5A1-4CC5-BD4B-FE21DF2FBA7D}"/>
                  </a:ext>
                </a:extLst>
              </p:cNvPr>
              <p:cNvSpPr>
                <a:spLocks/>
              </p:cNvSpPr>
              <p:nvPr/>
            </p:nvSpPr>
            <p:spPr bwMode="auto">
              <a:xfrm>
                <a:off x="6307138" y="4181475"/>
                <a:ext cx="58738" cy="60325"/>
              </a:xfrm>
              <a:custGeom>
                <a:avLst/>
                <a:gdLst>
                  <a:gd name="T0" fmla="*/ 14 w 16"/>
                  <a:gd name="T1" fmla="*/ 4 h 16"/>
                  <a:gd name="T2" fmla="*/ 16 w 16"/>
                  <a:gd name="T3" fmla="*/ 2 h 16"/>
                  <a:gd name="T4" fmla="*/ 14 w 16"/>
                  <a:gd name="T5" fmla="*/ 0 h 16"/>
                  <a:gd name="T6" fmla="*/ 0 w 16"/>
                  <a:gd name="T7" fmla="*/ 14 h 16"/>
                  <a:gd name="T8" fmla="*/ 2 w 16"/>
                  <a:gd name="T9" fmla="*/ 16 h 16"/>
                  <a:gd name="T10" fmla="*/ 4 w 16"/>
                  <a:gd name="T11" fmla="*/ 14 h 16"/>
                  <a:gd name="T12" fmla="*/ 14 w 16"/>
                  <a:gd name="T13" fmla="*/ 4 h 16"/>
                </a:gdLst>
                <a:ahLst/>
                <a:cxnLst>
                  <a:cxn ang="0">
                    <a:pos x="T0" y="T1"/>
                  </a:cxn>
                  <a:cxn ang="0">
                    <a:pos x="T2" y="T3"/>
                  </a:cxn>
                  <a:cxn ang="0">
                    <a:pos x="T4" y="T5"/>
                  </a:cxn>
                  <a:cxn ang="0">
                    <a:pos x="T6" y="T7"/>
                  </a:cxn>
                  <a:cxn ang="0">
                    <a:pos x="T8" y="T9"/>
                  </a:cxn>
                  <a:cxn ang="0">
                    <a:pos x="T10" y="T11"/>
                  </a:cxn>
                  <a:cxn ang="0">
                    <a:pos x="T12" y="T13"/>
                  </a:cxn>
                </a:cxnLst>
                <a:rect l="0" t="0" r="r" b="b"/>
                <a:pathLst>
                  <a:path w="16" h="16">
                    <a:moveTo>
                      <a:pt x="14" y="4"/>
                    </a:moveTo>
                    <a:cubicBezTo>
                      <a:pt x="15" y="4"/>
                      <a:pt x="16" y="3"/>
                      <a:pt x="16" y="2"/>
                    </a:cubicBezTo>
                    <a:cubicBezTo>
                      <a:pt x="16" y="1"/>
                      <a:pt x="15" y="0"/>
                      <a:pt x="14" y="0"/>
                    </a:cubicBezTo>
                    <a:cubicBezTo>
                      <a:pt x="6" y="0"/>
                      <a:pt x="0" y="6"/>
                      <a:pt x="0" y="14"/>
                    </a:cubicBezTo>
                    <a:cubicBezTo>
                      <a:pt x="0" y="15"/>
                      <a:pt x="1" y="16"/>
                      <a:pt x="2" y="16"/>
                    </a:cubicBezTo>
                    <a:cubicBezTo>
                      <a:pt x="3" y="16"/>
                      <a:pt x="4" y="15"/>
                      <a:pt x="4" y="14"/>
                    </a:cubicBezTo>
                    <a:cubicBezTo>
                      <a:pt x="4" y="9"/>
                      <a:pt x="8" y="4"/>
                      <a:pt x="1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Arial"/>
                  <a:cs typeface="+mn-cs"/>
                </a:endParaRPr>
              </a:p>
            </p:txBody>
          </p:sp>
          <p:sp>
            <p:nvSpPr>
              <p:cNvPr id="72" name="Freeform 101">
                <a:extLst>
                  <a:ext uri="{FF2B5EF4-FFF2-40B4-BE49-F238E27FC236}">
                    <a16:creationId xmlns:a16="http://schemas.microsoft.com/office/drawing/2014/main" id="{D1B9F080-7BCC-4FC8-ACEF-ABDFD3E8C8DD}"/>
                  </a:ext>
                </a:extLst>
              </p:cNvPr>
              <p:cNvSpPr>
                <a:spLocks/>
              </p:cNvSpPr>
              <p:nvPr/>
            </p:nvSpPr>
            <p:spPr bwMode="auto">
              <a:xfrm>
                <a:off x="6502400" y="4181475"/>
                <a:ext cx="58738" cy="60325"/>
              </a:xfrm>
              <a:custGeom>
                <a:avLst/>
                <a:gdLst>
                  <a:gd name="T0" fmla="*/ 14 w 16"/>
                  <a:gd name="T1" fmla="*/ 4 h 16"/>
                  <a:gd name="T2" fmla="*/ 16 w 16"/>
                  <a:gd name="T3" fmla="*/ 2 h 16"/>
                  <a:gd name="T4" fmla="*/ 14 w 16"/>
                  <a:gd name="T5" fmla="*/ 0 h 16"/>
                  <a:gd name="T6" fmla="*/ 0 w 16"/>
                  <a:gd name="T7" fmla="*/ 14 h 16"/>
                  <a:gd name="T8" fmla="*/ 2 w 16"/>
                  <a:gd name="T9" fmla="*/ 16 h 16"/>
                  <a:gd name="T10" fmla="*/ 4 w 16"/>
                  <a:gd name="T11" fmla="*/ 14 h 16"/>
                  <a:gd name="T12" fmla="*/ 14 w 16"/>
                  <a:gd name="T13" fmla="*/ 4 h 16"/>
                </a:gdLst>
                <a:ahLst/>
                <a:cxnLst>
                  <a:cxn ang="0">
                    <a:pos x="T0" y="T1"/>
                  </a:cxn>
                  <a:cxn ang="0">
                    <a:pos x="T2" y="T3"/>
                  </a:cxn>
                  <a:cxn ang="0">
                    <a:pos x="T4" y="T5"/>
                  </a:cxn>
                  <a:cxn ang="0">
                    <a:pos x="T6" y="T7"/>
                  </a:cxn>
                  <a:cxn ang="0">
                    <a:pos x="T8" y="T9"/>
                  </a:cxn>
                  <a:cxn ang="0">
                    <a:pos x="T10" y="T11"/>
                  </a:cxn>
                  <a:cxn ang="0">
                    <a:pos x="T12" y="T13"/>
                  </a:cxn>
                </a:cxnLst>
                <a:rect l="0" t="0" r="r" b="b"/>
                <a:pathLst>
                  <a:path w="16" h="16">
                    <a:moveTo>
                      <a:pt x="14" y="4"/>
                    </a:moveTo>
                    <a:cubicBezTo>
                      <a:pt x="15" y="4"/>
                      <a:pt x="16" y="3"/>
                      <a:pt x="16" y="2"/>
                    </a:cubicBezTo>
                    <a:cubicBezTo>
                      <a:pt x="16" y="1"/>
                      <a:pt x="15" y="0"/>
                      <a:pt x="14" y="0"/>
                    </a:cubicBezTo>
                    <a:cubicBezTo>
                      <a:pt x="6" y="0"/>
                      <a:pt x="0" y="6"/>
                      <a:pt x="0" y="14"/>
                    </a:cubicBezTo>
                    <a:cubicBezTo>
                      <a:pt x="0" y="15"/>
                      <a:pt x="1" y="16"/>
                      <a:pt x="2" y="16"/>
                    </a:cubicBezTo>
                    <a:cubicBezTo>
                      <a:pt x="3" y="16"/>
                      <a:pt x="4" y="15"/>
                      <a:pt x="4" y="14"/>
                    </a:cubicBezTo>
                    <a:cubicBezTo>
                      <a:pt x="4" y="9"/>
                      <a:pt x="8" y="4"/>
                      <a:pt x="1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Arial"/>
                  <a:cs typeface="+mn-cs"/>
                </a:endParaRPr>
              </a:p>
            </p:txBody>
          </p:sp>
        </p:grpSp>
      </p:grpSp>
      <p:grpSp>
        <p:nvGrpSpPr>
          <p:cNvPr id="73" name="Group 73">
            <a:extLst>
              <a:ext uri="{FF2B5EF4-FFF2-40B4-BE49-F238E27FC236}">
                <a16:creationId xmlns:a16="http://schemas.microsoft.com/office/drawing/2014/main" id="{A819D0BA-2809-4F3B-AF38-12CF9ADD83A2}"/>
              </a:ext>
            </a:extLst>
          </p:cNvPr>
          <p:cNvGrpSpPr/>
          <p:nvPr/>
        </p:nvGrpSpPr>
        <p:grpSpPr>
          <a:xfrm>
            <a:off x="9533490" y="1517536"/>
            <a:ext cx="361031" cy="361029"/>
            <a:chOff x="4487433" y="7301640"/>
            <a:chExt cx="361031" cy="361029"/>
          </a:xfrm>
        </p:grpSpPr>
        <p:sp>
          <p:nvSpPr>
            <p:cNvPr id="74" name="Oval 282">
              <a:extLst>
                <a:ext uri="{FF2B5EF4-FFF2-40B4-BE49-F238E27FC236}">
                  <a16:creationId xmlns:a16="http://schemas.microsoft.com/office/drawing/2014/main" id="{568D7752-6CC1-4DCF-943E-D03F4C053C4D}"/>
                </a:ext>
              </a:extLst>
            </p:cNvPr>
            <p:cNvSpPr/>
            <p:nvPr/>
          </p:nvSpPr>
          <p:spPr>
            <a:xfrm>
              <a:off x="4487433" y="7301640"/>
              <a:ext cx="361031" cy="361029"/>
            </a:xfrm>
            <a:prstGeom prst="ellipse">
              <a:avLst/>
            </a:prstGeom>
            <a:solidFill>
              <a:sysClr val="window" lastClr="FFFFFF"/>
            </a:solidFill>
            <a:ln w="12700" cap="flat" cmpd="sng" algn="ctr">
              <a:noFill/>
              <a:prstDash val="solid"/>
              <a:miter lim="800000"/>
            </a:ln>
            <a:effectLst>
              <a:outerShdw blurRad="215900" sx="104000" sy="104000" algn="ctr" rotWithShape="0">
                <a:prstClr val="black">
                  <a:alpha val="19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Gill Sans MT" panose="020B0502020104020203" pitchFamily="34" charset="0"/>
                <a:cs typeface="+mn-cs"/>
              </a:endParaRPr>
            </a:p>
          </p:txBody>
        </p:sp>
        <p:sp>
          <p:nvSpPr>
            <p:cNvPr id="75" name="Freeform 150">
              <a:extLst>
                <a:ext uri="{FF2B5EF4-FFF2-40B4-BE49-F238E27FC236}">
                  <a16:creationId xmlns:a16="http://schemas.microsoft.com/office/drawing/2014/main" id="{03FBA0CD-AB18-4050-AC1D-5FDD9247A7FB}"/>
                </a:ext>
              </a:extLst>
            </p:cNvPr>
            <p:cNvSpPr>
              <a:spLocks noEditPoints="1"/>
            </p:cNvSpPr>
            <p:nvPr/>
          </p:nvSpPr>
          <p:spPr bwMode="auto">
            <a:xfrm>
              <a:off x="4570754" y="7384532"/>
              <a:ext cx="194388" cy="195244"/>
            </a:xfrm>
            <a:custGeom>
              <a:avLst/>
              <a:gdLst>
                <a:gd name="T0" fmla="*/ 48 w 96"/>
                <a:gd name="T1" fmla="*/ 0 h 96"/>
                <a:gd name="T2" fmla="*/ 0 w 96"/>
                <a:gd name="T3" fmla="*/ 48 h 96"/>
                <a:gd name="T4" fmla="*/ 48 w 96"/>
                <a:gd name="T5" fmla="*/ 96 h 96"/>
                <a:gd name="T6" fmla="*/ 96 w 96"/>
                <a:gd name="T7" fmla="*/ 48 h 96"/>
                <a:gd name="T8" fmla="*/ 48 w 96"/>
                <a:gd name="T9" fmla="*/ 0 h 96"/>
                <a:gd name="T10" fmla="*/ 72 w 96"/>
                <a:gd name="T11" fmla="*/ 43 h 96"/>
                <a:gd name="T12" fmla="*/ 70 w 96"/>
                <a:gd name="T13" fmla="*/ 44 h 96"/>
                <a:gd name="T14" fmla="*/ 54 w 96"/>
                <a:gd name="T15" fmla="*/ 44 h 96"/>
                <a:gd name="T16" fmla="*/ 52 w 96"/>
                <a:gd name="T17" fmla="*/ 45 h 96"/>
                <a:gd name="T18" fmla="*/ 50 w 96"/>
                <a:gd name="T19" fmla="*/ 48 h 96"/>
                <a:gd name="T20" fmla="*/ 64 w 96"/>
                <a:gd name="T21" fmla="*/ 48 h 96"/>
                <a:gd name="T22" fmla="*/ 66 w 96"/>
                <a:gd name="T23" fmla="*/ 50 h 96"/>
                <a:gd name="T24" fmla="*/ 64 w 96"/>
                <a:gd name="T25" fmla="*/ 52 h 96"/>
                <a:gd name="T26" fmla="*/ 46 w 96"/>
                <a:gd name="T27" fmla="*/ 52 h 96"/>
                <a:gd name="T28" fmla="*/ 42 w 96"/>
                <a:gd name="T29" fmla="*/ 56 h 96"/>
                <a:gd name="T30" fmla="*/ 58 w 96"/>
                <a:gd name="T31" fmla="*/ 56 h 96"/>
                <a:gd name="T32" fmla="*/ 60 w 96"/>
                <a:gd name="T33" fmla="*/ 57 h 96"/>
                <a:gd name="T34" fmla="*/ 60 w 96"/>
                <a:gd name="T35" fmla="*/ 59 h 96"/>
                <a:gd name="T36" fmla="*/ 37 w 96"/>
                <a:gd name="T37" fmla="*/ 69 h 96"/>
                <a:gd name="T38" fmla="*/ 30 w 96"/>
                <a:gd name="T39" fmla="*/ 68 h 96"/>
                <a:gd name="T40" fmla="*/ 25 w 96"/>
                <a:gd name="T41" fmla="*/ 73 h 96"/>
                <a:gd name="T42" fmla="*/ 22 w 96"/>
                <a:gd name="T43" fmla="*/ 73 h 96"/>
                <a:gd name="T44" fmla="*/ 22 w 96"/>
                <a:gd name="T45" fmla="*/ 70 h 96"/>
                <a:gd name="T46" fmla="*/ 27 w 96"/>
                <a:gd name="T47" fmla="*/ 65 h 96"/>
                <a:gd name="T48" fmla="*/ 28 w 96"/>
                <a:gd name="T49" fmla="*/ 52 h 96"/>
                <a:gd name="T50" fmla="*/ 40 w 96"/>
                <a:gd name="T51" fmla="*/ 33 h 96"/>
                <a:gd name="T52" fmla="*/ 57 w 96"/>
                <a:gd name="T53" fmla="*/ 20 h 96"/>
                <a:gd name="T54" fmla="*/ 59 w 96"/>
                <a:gd name="T55" fmla="*/ 20 h 96"/>
                <a:gd name="T56" fmla="*/ 60 w 96"/>
                <a:gd name="T57" fmla="*/ 22 h 96"/>
                <a:gd name="T58" fmla="*/ 60 w 96"/>
                <a:gd name="T59" fmla="*/ 32 h 96"/>
                <a:gd name="T60" fmla="*/ 70 w 96"/>
                <a:gd name="T61" fmla="*/ 22 h 96"/>
                <a:gd name="T62" fmla="*/ 73 w 96"/>
                <a:gd name="T63" fmla="*/ 22 h 96"/>
                <a:gd name="T64" fmla="*/ 72 w 96"/>
                <a:gd name="T65" fmla="*/ 43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6" h="96">
                  <a:moveTo>
                    <a:pt x="48" y="0"/>
                  </a:moveTo>
                  <a:cubicBezTo>
                    <a:pt x="22" y="0"/>
                    <a:pt x="0" y="22"/>
                    <a:pt x="0" y="48"/>
                  </a:cubicBezTo>
                  <a:cubicBezTo>
                    <a:pt x="0" y="74"/>
                    <a:pt x="22" y="96"/>
                    <a:pt x="48" y="96"/>
                  </a:cubicBezTo>
                  <a:cubicBezTo>
                    <a:pt x="74" y="96"/>
                    <a:pt x="96" y="74"/>
                    <a:pt x="96" y="48"/>
                  </a:cubicBezTo>
                  <a:cubicBezTo>
                    <a:pt x="96" y="22"/>
                    <a:pt x="74" y="0"/>
                    <a:pt x="48" y="0"/>
                  </a:cubicBezTo>
                  <a:close/>
                  <a:moveTo>
                    <a:pt x="72" y="43"/>
                  </a:moveTo>
                  <a:cubicBezTo>
                    <a:pt x="71" y="44"/>
                    <a:pt x="71" y="44"/>
                    <a:pt x="70" y="44"/>
                  </a:cubicBezTo>
                  <a:cubicBezTo>
                    <a:pt x="54" y="44"/>
                    <a:pt x="54" y="44"/>
                    <a:pt x="54" y="44"/>
                  </a:cubicBezTo>
                  <a:cubicBezTo>
                    <a:pt x="52" y="45"/>
                    <a:pt x="52" y="45"/>
                    <a:pt x="52" y="45"/>
                  </a:cubicBezTo>
                  <a:cubicBezTo>
                    <a:pt x="50" y="48"/>
                    <a:pt x="50" y="48"/>
                    <a:pt x="50" y="48"/>
                  </a:cubicBezTo>
                  <a:cubicBezTo>
                    <a:pt x="64" y="48"/>
                    <a:pt x="64" y="48"/>
                    <a:pt x="64" y="48"/>
                  </a:cubicBezTo>
                  <a:cubicBezTo>
                    <a:pt x="65" y="48"/>
                    <a:pt x="66" y="49"/>
                    <a:pt x="66" y="50"/>
                  </a:cubicBezTo>
                  <a:cubicBezTo>
                    <a:pt x="66" y="51"/>
                    <a:pt x="65" y="52"/>
                    <a:pt x="64" y="52"/>
                  </a:cubicBezTo>
                  <a:cubicBezTo>
                    <a:pt x="46" y="52"/>
                    <a:pt x="46" y="52"/>
                    <a:pt x="46" y="52"/>
                  </a:cubicBezTo>
                  <a:cubicBezTo>
                    <a:pt x="42" y="56"/>
                    <a:pt x="42" y="56"/>
                    <a:pt x="42" y="56"/>
                  </a:cubicBezTo>
                  <a:cubicBezTo>
                    <a:pt x="58" y="56"/>
                    <a:pt x="58" y="56"/>
                    <a:pt x="58" y="56"/>
                  </a:cubicBezTo>
                  <a:cubicBezTo>
                    <a:pt x="59" y="56"/>
                    <a:pt x="60" y="57"/>
                    <a:pt x="60" y="57"/>
                  </a:cubicBezTo>
                  <a:cubicBezTo>
                    <a:pt x="60" y="58"/>
                    <a:pt x="60" y="59"/>
                    <a:pt x="60" y="59"/>
                  </a:cubicBezTo>
                  <a:cubicBezTo>
                    <a:pt x="53" y="66"/>
                    <a:pt x="44" y="69"/>
                    <a:pt x="37" y="69"/>
                  </a:cubicBezTo>
                  <a:cubicBezTo>
                    <a:pt x="34" y="69"/>
                    <a:pt x="32" y="69"/>
                    <a:pt x="30" y="68"/>
                  </a:cubicBezTo>
                  <a:cubicBezTo>
                    <a:pt x="25" y="73"/>
                    <a:pt x="25" y="73"/>
                    <a:pt x="25" y="73"/>
                  </a:cubicBezTo>
                  <a:cubicBezTo>
                    <a:pt x="24" y="74"/>
                    <a:pt x="23" y="74"/>
                    <a:pt x="22" y="73"/>
                  </a:cubicBezTo>
                  <a:cubicBezTo>
                    <a:pt x="21" y="72"/>
                    <a:pt x="21" y="71"/>
                    <a:pt x="22" y="70"/>
                  </a:cubicBezTo>
                  <a:cubicBezTo>
                    <a:pt x="27" y="65"/>
                    <a:pt x="27" y="65"/>
                    <a:pt x="27" y="65"/>
                  </a:cubicBezTo>
                  <a:cubicBezTo>
                    <a:pt x="25" y="62"/>
                    <a:pt x="26" y="57"/>
                    <a:pt x="28" y="52"/>
                  </a:cubicBezTo>
                  <a:cubicBezTo>
                    <a:pt x="30" y="45"/>
                    <a:pt x="34" y="39"/>
                    <a:pt x="40" y="33"/>
                  </a:cubicBezTo>
                  <a:cubicBezTo>
                    <a:pt x="46" y="27"/>
                    <a:pt x="53" y="22"/>
                    <a:pt x="57" y="20"/>
                  </a:cubicBezTo>
                  <a:cubicBezTo>
                    <a:pt x="58" y="20"/>
                    <a:pt x="59" y="20"/>
                    <a:pt x="59" y="20"/>
                  </a:cubicBezTo>
                  <a:cubicBezTo>
                    <a:pt x="60" y="21"/>
                    <a:pt x="60" y="21"/>
                    <a:pt x="60" y="22"/>
                  </a:cubicBezTo>
                  <a:cubicBezTo>
                    <a:pt x="60" y="32"/>
                    <a:pt x="60" y="32"/>
                    <a:pt x="60" y="32"/>
                  </a:cubicBezTo>
                  <a:cubicBezTo>
                    <a:pt x="70" y="22"/>
                    <a:pt x="70" y="22"/>
                    <a:pt x="70" y="22"/>
                  </a:cubicBezTo>
                  <a:cubicBezTo>
                    <a:pt x="71" y="21"/>
                    <a:pt x="72" y="21"/>
                    <a:pt x="73" y="22"/>
                  </a:cubicBezTo>
                  <a:cubicBezTo>
                    <a:pt x="78" y="26"/>
                    <a:pt x="77" y="34"/>
                    <a:pt x="72" y="43"/>
                  </a:cubicBezTo>
                  <a:close/>
                </a:path>
              </a:pathLst>
            </a:custGeom>
            <a:gradFill flip="none" rotWithShape="1">
              <a:gsLst>
                <a:gs pos="100000">
                  <a:schemeClr val="accent1"/>
                </a:gs>
                <a:gs pos="0">
                  <a:schemeClr val="accent1"/>
                </a:gs>
              </a:gsLst>
              <a:lin ang="270000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Arial"/>
                <a:cs typeface="+mn-cs"/>
              </a:endParaRPr>
            </a:p>
          </p:txBody>
        </p:sp>
      </p:grpSp>
      <p:grpSp>
        <p:nvGrpSpPr>
          <p:cNvPr id="76" name="Group 104">
            <a:extLst>
              <a:ext uri="{FF2B5EF4-FFF2-40B4-BE49-F238E27FC236}">
                <a16:creationId xmlns:a16="http://schemas.microsoft.com/office/drawing/2014/main" id="{CFA1EBF1-CAFC-4964-AA60-2B8312FF6C13}"/>
              </a:ext>
            </a:extLst>
          </p:cNvPr>
          <p:cNvGrpSpPr/>
          <p:nvPr/>
        </p:nvGrpSpPr>
        <p:grpSpPr>
          <a:xfrm>
            <a:off x="6415857" y="679688"/>
            <a:ext cx="361031" cy="361029"/>
            <a:chOff x="6694780" y="6602275"/>
            <a:chExt cx="361031" cy="361029"/>
          </a:xfrm>
        </p:grpSpPr>
        <p:sp>
          <p:nvSpPr>
            <p:cNvPr id="77" name="Oval 264">
              <a:extLst>
                <a:ext uri="{FF2B5EF4-FFF2-40B4-BE49-F238E27FC236}">
                  <a16:creationId xmlns:a16="http://schemas.microsoft.com/office/drawing/2014/main" id="{0C319B59-376D-4B9C-849C-85AB7A8D3C08}"/>
                </a:ext>
              </a:extLst>
            </p:cNvPr>
            <p:cNvSpPr/>
            <p:nvPr/>
          </p:nvSpPr>
          <p:spPr>
            <a:xfrm>
              <a:off x="6694780" y="6602275"/>
              <a:ext cx="361031" cy="361029"/>
            </a:xfrm>
            <a:prstGeom prst="ellipse">
              <a:avLst/>
            </a:prstGeom>
            <a:solidFill>
              <a:sysClr val="window" lastClr="FFFFFF"/>
            </a:solidFill>
            <a:ln w="12700" cap="flat" cmpd="sng" algn="ctr">
              <a:noFill/>
              <a:prstDash val="solid"/>
              <a:miter lim="800000"/>
            </a:ln>
            <a:effectLst>
              <a:outerShdw blurRad="215900" sx="104000" sy="104000" algn="ctr" rotWithShape="0">
                <a:prstClr val="black">
                  <a:alpha val="19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Gill Sans MT" panose="020B0502020104020203" pitchFamily="34" charset="0"/>
                <a:cs typeface="+mn-cs"/>
              </a:endParaRPr>
            </a:p>
          </p:txBody>
        </p:sp>
        <p:grpSp>
          <p:nvGrpSpPr>
            <p:cNvPr id="78" name="Group 307">
              <a:extLst>
                <a:ext uri="{FF2B5EF4-FFF2-40B4-BE49-F238E27FC236}">
                  <a16:creationId xmlns:a16="http://schemas.microsoft.com/office/drawing/2014/main" id="{4735C89E-166A-461F-B624-B4D1CFD07A7F}"/>
                </a:ext>
              </a:extLst>
            </p:cNvPr>
            <p:cNvGrpSpPr/>
            <p:nvPr/>
          </p:nvGrpSpPr>
          <p:grpSpPr>
            <a:xfrm>
              <a:off x="6769818" y="6709373"/>
              <a:ext cx="210954" cy="146832"/>
              <a:chOff x="3408363" y="2940050"/>
              <a:chExt cx="360363" cy="250826"/>
            </a:xfrm>
            <a:gradFill>
              <a:gsLst>
                <a:gs pos="100000">
                  <a:srgbClr val="0098DB"/>
                </a:gs>
                <a:gs pos="0">
                  <a:srgbClr val="00497A"/>
                </a:gs>
              </a:gsLst>
              <a:lin ang="2700000" scaled="1"/>
            </a:gradFill>
          </p:grpSpPr>
          <p:sp>
            <p:nvSpPr>
              <p:cNvPr id="79" name="Freeform 22">
                <a:extLst>
                  <a:ext uri="{FF2B5EF4-FFF2-40B4-BE49-F238E27FC236}">
                    <a16:creationId xmlns:a16="http://schemas.microsoft.com/office/drawing/2014/main" id="{7C532435-860A-47B6-A7FD-035E100F7619}"/>
                  </a:ext>
                </a:extLst>
              </p:cNvPr>
              <p:cNvSpPr>
                <a:spLocks/>
              </p:cNvSpPr>
              <p:nvPr/>
            </p:nvSpPr>
            <p:spPr bwMode="auto">
              <a:xfrm>
                <a:off x="3551238" y="2940050"/>
                <a:ext cx="120650" cy="101600"/>
              </a:xfrm>
              <a:custGeom>
                <a:avLst/>
                <a:gdLst>
                  <a:gd name="T0" fmla="*/ 2 w 32"/>
                  <a:gd name="T1" fmla="*/ 27 h 27"/>
                  <a:gd name="T2" fmla="*/ 1 w 32"/>
                  <a:gd name="T3" fmla="*/ 27 h 27"/>
                  <a:gd name="T4" fmla="*/ 1 w 32"/>
                  <a:gd name="T5" fmla="*/ 24 h 27"/>
                  <a:gd name="T6" fmla="*/ 24 w 32"/>
                  <a:gd name="T7" fmla="*/ 1 h 27"/>
                  <a:gd name="T8" fmla="*/ 27 w 32"/>
                  <a:gd name="T9" fmla="*/ 1 h 27"/>
                  <a:gd name="T10" fmla="*/ 31 w 32"/>
                  <a:gd name="T11" fmla="*/ 6 h 27"/>
                  <a:gd name="T12" fmla="*/ 31 w 32"/>
                  <a:gd name="T13" fmla="*/ 8 h 27"/>
                  <a:gd name="T14" fmla="*/ 29 w 32"/>
                  <a:gd name="T15" fmla="*/ 8 h 27"/>
                  <a:gd name="T16" fmla="*/ 25 w 32"/>
                  <a:gd name="T17" fmla="*/ 5 h 27"/>
                  <a:gd name="T18" fmla="*/ 4 w 32"/>
                  <a:gd name="T19" fmla="*/ 27 h 27"/>
                  <a:gd name="T20" fmla="*/ 2 w 32"/>
                  <a:gd name="T21" fmla="*/ 2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 h="27">
                    <a:moveTo>
                      <a:pt x="2" y="27"/>
                    </a:moveTo>
                    <a:cubicBezTo>
                      <a:pt x="2" y="27"/>
                      <a:pt x="1" y="27"/>
                      <a:pt x="1" y="27"/>
                    </a:cubicBezTo>
                    <a:cubicBezTo>
                      <a:pt x="0" y="26"/>
                      <a:pt x="0" y="25"/>
                      <a:pt x="1" y="24"/>
                    </a:cubicBezTo>
                    <a:cubicBezTo>
                      <a:pt x="24" y="1"/>
                      <a:pt x="24" y="1"/>
                      <a:pt x="24" y="1"/>
                    </a:cubicBezTo>
                    <a:cubicBezTo>
                      <a:pt x="25" y="0"/>
                      <a:pt x="26" y="0"/>
                      <a:pt x="27" y="1"/>
                    </a:cubicBezTo>
                    <a:cubicBezTo>
                      <a:pt x="31" y="6"/>
                      <a:pt x="31" y="6"/>
                      <a:pt x="31" y="6"/>
                    </a:cubicBezTo>
                    <a:cubicBezTo>
                      <a:pt x="32" y="6"/>
                      <a:pt x="32" y="8"/>
                      <a:pt x="31" y="8"/>
                    </a:cubicBezTo>
                    <a:cubicBezTo>
                      <a:pt x="31" y="9"/>
                      <a:pt x="29" y="9"/>
                      <a:pt x="29" y="8"/>
                    </a:cubicBezTo>
                    <a:cubicBezTo>
                      <a:pt x="25" y="5"/>
                      <a:pt x="25" y="5"/>
                      <a:pt x="25" y="5"/>
                    </a:cubicBezTo>
                    <a:cubicBezTo>
                      <a:pt x="4" y="27"/>
                      <a:pt x="4" y="27"/>
                      <a:pt x="4" y="27"/>
                    </a:cubicBezTo>
                    <a:cubicBezTo>
                      <a:pt x="3" y="27"/>
                      <a:pt x="3" y="27"/>
                      <a:pt x="2" y="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Arial"/>
                  <a:cs typeface="+mn-cs"/>
                </a:endParaRPr>
              </a:p>
            </p:txBody>
          </p:sp>
          <p:sp>
            <p:nvSpPr>
              <p:cNvPr id="80" name="Freeform 23">
                <a:extLst>
                  <a:ext uri="{FF2B5EF4-FFF2-40B4-BE49-F238E27FC236}">
                    <a16:creationId xmlns:a16="http://schemas.microsoft.com/office/drawing/2014/main" id="{2AB99720-E24A-4758-8C01-B81694673562}"/>
                  </a:ext>
                </a:extLst>
              </p:cNvPr>
              <p:cNvSpPr>
                <a:spLocks/>
              </p:cNvSpPr>
              <p:nvPr/>
            </p:nvSpPr>
            <p:spPr bwMode="auto">
              <a:xfrm>
                <a:off x="3408363" y="3046413"/>
                <a:ext cx="112713" cy="144463"/>
              </a:xfrm>
              <a:custGeom>
                <a:avLst/>
                <a:gdLst>
                  <a:gd name="T0" fmla="*/ 24 w 30"/>
                  <a:gd name="T1" fmla="*/ 38 h 38"/>
                  <a:gd name="T2" fmla="*/ 23 w 30"/>
                  <a:gd name="T3" fmla="*/ 37 h 38"/>
                  <a:gd name="T4" fmla="*/ 1 w 30"/>
                  <a:gd name="T5" fmla="*/ 15 h 38"/>
                  <a:gd name="T6" fmla="*/ 1 w 30"/>
                  <a:gd name="T7" fmla="*/ 12 h 38"/>
                  <a:gd name="T8" fmla="*/ 12 w 30"/>
                  <a:gd name="T9" fmla="*/ 1 h 38"/>
                  <a:gd name="T10" fmla="*/ 14 w 30"/>
                  <a:gd name="T11" fmla="*/ 1 h 38"/>
                  <a:gd name="T12" fmla="*/ 19 w 30"/>
                  <a:gd name="T13" fmla="*/ 5 h 38"/>
                  <a:gd name="T14" fmla="*/ 19 w 30"/>
                  <a:gd name="T15" fmla="*/ 8 h 38"/>
                  <a:gd name="T16" fmla="*/ 16 w 30"/>
                  <a:gd name="T17" fmla="*/ 8 h 38"/>
                  <a:gd name="T18" fmla="*/ 13 w 30"/>
                  <a:gd name="T19" fmla="*/ 5 h 38"/>
                  <a:gd name="T20" fmla="*/ 5 w 30"/>
                  <a:gd name="T21" fmla="*/ 14 h 38"/>
                  <a:gd name="T22" fmla="*/ 24 w 30"/>
                  <a:gd name="T23" fmla="*/ 33 h 38"/>
                  <a:gd name="T24" fmla="*/ 26 w 30"/>
                  <a:gd name="T25" fmla="*/ 31 h 38"/>
                  <a:gd name="T26" fmla="*/ 29 w 30"/>
                  <a:gd name="T27" fmla="*/ 31 h 38"/>
                  <a:gd name="T28" fmla="*/ 29 w 30"/>
                  <a:gd name="T29" fmla="*/ 34 h 38"/>
                  <a:gd name="T30" fmla="*/ 25 w 30"/>
                  <a:gd name="T31" fmla="*/ 37 h 38"/>
                  <a:gd name="T32" fmla="*/ 24 w 30"/>
                  <a:gd name="T33" fmla="*/ 3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0" h="38">
                    <a:moveTo>
                      <a:pt x="24" y="38"/>
                    </a:moveTo>
                    <a:cubicBezTo>
                      <a:pt x="24" y="38"/>
                      <a:pt x="23" y="37"/>
                      <a:pt x="23" y="37"/>
                    </a:cubicBezTo>
                    <a:cubicBezTo>
                      <a:pt x="1" y="15"/>
                      <a:pt x="1" y="15"/>
                      <a:pt x="1" y="15"/>
                    </a:cubicBezTo>
                    <a:cubicBezTo>
                      <a:pt x="0" y="14"/>
                      <a:pt x="0" y="13"/>
                      <a:pt x="1" y="12"/>
                    </a:cubicBezTo>
                    <a:cubicBezTo>
                      <a:pt x="12" y="1"/>
                      <a:pt x="12" y="1"/>
                      <a:pt x="12" y="1"/>
                    </a:cubicBezTo>
                    <a:cubicBezTo>
                      <a:pt x="12" y="0"/>
                      <a:pt x="14" y="0"/>
                      <a:pt x="14" y="1"/>
                    </a:cubicBezTo>
                    <a:cubicBezTo>
                      <a:pt x="19" y="5"/>
                      <a:pt x="19" y="5"/>
                      <a:pt x="19" y="5"/>
                    </a:cubicBezTo>
                    <a:cubicBezTo>
                      <a:pt x="19" y="6"/>
                      <a:pt x="19" y="7"/>
                      <a:pt x="19" y="8"/>
                    </a:cubicBezTo>
                    <a:cubicBezTo>
                      <a:pt x="18" y="9"/>
                      <a:pt x="17" y="9"/>
                      <a:pt x="16" y="8"/>
                    </a:cubicBezTo>
                    <a:cubicBezTo>
                      <a:pt x="13" y="5"/>
                      <a:pt x="13" y="5"/>
                      <a:pt x="13" y="5"/>
                    </a:cubicBezTo>
                    <a:cubicBezTo>
                      <a:pt x="5" y="14"/>
                      <a:pt x="5" y="14"/>
                      <a:pt x="5" y="14"/>
                    </a:cubicBezTo>
                    <a:cubicBezTo>
                      <a:pt x="24" y="33"/>
                      <a:pt x="24" y="33"/>
                      <a:pt x="24" y="33"/>
                    </a:cubicBezTo>
                    <a:cubicBezTo>
                      <a:pt x="26" y="31"/>
                      <a:pt x="26" y="31"/>
                      <a:pt x="26" y="31"/>
                    </a:cubicBezTo>
                    <a:cubicBezTo>
                      <a:pt x="27" y="30"/>
                      <a:pt x="28" y="30"/>
                      <a:pt x="29" y="31"/>
                    </a:cubicBezTo>
                    <a:cubicBezTo>
                      <a:pt x="30" y="31"/>
                      <a:pt x="30" y="33"/>
                      <a:pt x="29" y="34"/>
                    </a:cubicBezTo>
                    <a:cubicBezTo>
                      <a:pt x="25" y="37"/>
                      <a:pt x="25" y="37"/>
                      <a:pt x="25" y="37"/>
                    </a:cubicBezTo>
                    <a:cubicBezTo>
                      <a:pt x="25" y="37"/>
                      <a:pt x="25" y="38"/>
                      <a:pt x="24" y="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Arial"/>
                  <a:cs typeface="+mn-cs"/>
                </a:endParaRPr>
              </a:p>
            </p:txBody>
          </p:sp>
          <p:sp>
            <p:nvSpPr>
              <p:cNvPr id="81" name="Freeform 24">
                <a:extLst>
                  <a:ext uri="{FF2B5EF4-FFF2-40B4-BE49-F238E27FC236}">
                    <a16:creationId xmlns:a16="http://schemas.microsoft.com/office/drawing/2014/main" id="{CF04946A-CED9-4166-9108-C740790A07CF}"/>
                  </a:ext>
                </a:extLst>
              </p:cNvPr>
              <p:cNvSpPr>
                <a:spLocks/>
              </p:cNvSpPr>
              <p:nvPr/>
            </p:nvSpPr>
            <p:spPr bwMode="auto">
              <a:xfrm>
                <a:off x="3479801" y="2940050"/>
                <a:ext cx="288925" cy="250825"/>
              </a:xfrm>
              <a:custGeom>
                <a:avLst/>
                <a:gdLst>
                  <a:gd name="T0" fmla="*/ 76 w 77"/>
                  <a:gd name="T1" fmla="*/ 12 h 66"/>
                  <a:gd name="T2" fmla="*/ 65 w 77"/>
                  <a:gd name="T3" fmla="*/ 1 h 66"/>
                  <a:gd name="T4" fmla="*/ 63 w 77"/>
                  <a:gd name="T5" fmla="*/ 1 h 66"/>
                  <a:gd name="T6" fmla="*/ 25 w 77"/>
                  <a:gd name="T7" fmla="*/ 39 h 66"/>
                  <a:gd name="T8" fmla="*/ 15 w 77"/>
                  <a:gd name="T9" fmla="*/ 29 h 66"/>
                  <a:gd name="T10" fmla="*/ 12 w 77"/>
                  <a:gd name="T11" fmla="*/ 29 h 66"/>
                  <a:gd name="T12" fmla="*/ 1 w 77"/>
                  <a:gd name="T13" fmla="*/ 40 h 66"/>
                  <a:gd name="T14" fmla="*/ 1 w 77"/>
                  <a:gd name="T15" fmla="*/ 43 h 66"/>
                  <a:gd name="T16" fmla="*/ 23 w 77"/>
                  <a:gd name="T17" fmla="*/ 65 h 66"/>
                  <a:gd name="T18" fmla="*/ 25 w 77"/>
                  <a:gd name="T19" fmla="*/ 66 h 66"/>
                  <a:gd name="T20" fmla="*/ 26 w 77"/>
                  <a:gd name="T21" fmla="*/ 65 h 66"/>
                  <a:gd name="T22" fmla="*/ 76 w 77"/>
                  <a:gd name="T23" fmla="*/ 15 h 66"/>
                  <a:gd name="T24" fmla="*/ 76 w 77"/>
                  <a:gd name="T25" fmla="*/ 1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7" h="66">
                    <a:moveTo>
                      <a:pt x="76" y="12"/>
                    </a:moveTo>
                    <a:cubicBezTo>
                      <a:pt x="65" y="1"/>
                      <a:pt x="65" y="1"/>
                      <a:pt x="65" y="1"/>
                    </a:cubicBezTo>
                    <a:cubicBezTo>
                      <a:pt x="65" y="0"/>
                      <a:pt x="63" y="0"/>
                      <a:pt x="63" y="1"/>
                    </a:cubicBezTo>
                    <a:cubicBezTo>
                      <a:pt x="25" y="39"/>
                      <a:pt x="25" y="39"/>
                      <a:pt x="25" y="39"/>
                    </a:cubicBezTo>
                    <a:cubicBezTo>
                      <a:pt x="15" y="29"/>
                      <a:pt x="15" y="29"/>
                      <a:pt x="15" y="29"/>
                    </a:cubicBezTo>
                    <a:cubicBezTo>
                      <a:pt x="14" y="28"/>
                      <a:pt x="13" y="28"/>
                      <a:pt x="12" y="29"/>
                    </a:cubicBezTo>
                    <a:cubicBezTo>
                      <a:pt x="1" y="40"/>
                      <a:pt x="1" y="40"/>
                      <a:pt x="1" y="40"/>
                    </a:cubicBezTo>
                    <a:cubicBezTo>
                      <a:pt x="0" y="41"/>
                      <a:pt x="0" y="42"/>
                      <a:pt x="1" y="43"/>
                    </a:cubicBezTo>
                    <a:cubicBezTo>
                      <a:pt x="23" y="65"/>
                      <a:pt x="23" y="65"/>
                      <a:pt x="23" y="65"/>
                    </a:cubicBezTo>
                    <a:cubicBezTo>
                      <a:pt x="24" y="65"/>
                      <a:pt x="24" y="66"/>
                      <a:pt x="25" y="66"/>
                    </a:cubicBezTo>
                    <a:cubicBezTo>
                      <a:pt x="25" y="66"/>
                      <a:pt x="26" y="65"/>
                      <a:pt x="26" y="65"/>
                    </a:cubicBezTo>
                    <a:cubicBezTo>
                      <a:pt x="76" y="15"/>
                      <a:pt x="76" y="15"/>
                      <a:pt x="76" y="15"/>
                    </a:cubicBezTo>
                    <a:cubicBezTo>
                      <a:pt x="77" y="14"/>
                      <a:pt x="77" y="13"/>
                      <a:pt x="7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Arial"/>
                  <a:cs typeface="+mn-cs"/>
                </a:endParaRPr>
              </a:p>
            </p:txBody>
          </p:sp>
        </p:grpSp>
      </p:grpSp>
      <p:grpSp>
        <p:nvGrpSpPr>
          <p:cNvPr id="82" name="Group 103">
            <a:extLst>
              <a:ext uri="{FF2B5EF4-FFF2-40B4-BE49-F238E27FC236}">
                <a16:creationId xmlns:a16="http://schemas.microsoft.com/office/drawing/2014/main" id="{65A61026-84FF-4AFF-BAC4-2D4E2E07C1AA}"/>
              </a:ext>
            </a:extLst>
          </p:cNvPr>
          <p:cNvGrpSpPr/>
          <p:nvPr/>
        </p:nvGrpSpPr>
        <p:grpSpPr>
          <a:xfrm>
            <a:off x="5337406" y="1518330"/>
            <a:ext cx="361031" cy="361029"/>
            <a:chOff x="7703426" y="7301640"/>
            <a:chExt cx="361031" cy="361029"/>
          </a:xfrm>
        </p:grpSpPr>
        <p:sp>
          <p:nvSpPr>
            <p:cNvPr id="83" name="Oval 267">
              <a:extLst>
                <a:ext uri="{FF2B5EF4-FFF2-40B4-BE49-F238E27FC236}">
                  <a16:creationId xmlns:a16="http://schemas.microsoft.com/office/drawing/2014/main" id="{6A24972A-CA72-4FE5-A765-B10193B48FD1}"/>
                </a:ext>
              </a:extLst>
            </p:cNvPr>
            <p:cNvSpPr/>
            <p:nvPr/>
          </p:nvSpPr>
          <p:spPr>
            <a:xfrm>
              <a:off x="7703426" y="7301640"/>
              <a:ext cx="361031" cy="361029"/>
            </a:xfrm>
            <a:prstGeom prst="ellipse">
              <a:avLst/>
            </a:prstGeom>
            <a:solidFill>
              <a:sysClr val="window" lastClr="FFFFFF"/>
            </a:solidFill>
            <a:ln w="12700" cap="flat" cmpd="sng" algn="ctr">
              <a:noFill/>
              <a:prstDash val="solid"/>
              <a:miter lim="800000"/>
            </a:ln>
            <a:effectLst>
              <a:outerShdw blurRad="215900" sx="104000" sy="104000" algn="ctr" rotWithShape="0">
                <a:prstClr val="black">
                  <a:alpha val="19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Gill Sans MT" panose="020B0502020104020203" pitchFamily="34" charset="0"/>
                <a:cs typeface="+mn-cs"/>
              </a:endParaRPr>
            </a:p>
          </p:txBody>
        </p:sp>
        <p:sp>
          <p:nvSpPr>
            <p:cNvPr id="84" name="Freeform 48">
              <a:extLst>
                <a:ext uri="{FF2B5EF4-FFF2-40B4-BE49-F238E27FC236}">
                  <a16:creationId xmlns:a16="http://schemas.microsoft.com/office/drawing/2014/main" id="{AD0A0C6E-B24B-4030-B3C6-421C7B562C51}"/>
                </a:ext>
              </a:extLst>
            </p:cNvPr>
            <p:cNvSpPr>
              <a:spLocks noEditPoints="1"/>
            </p:cNvSpPr>
            <p:nvPr/>
          </p:nvSpPr>
          <p:spPr bwMode="auto">
            <a:xfrm>
              <a:off x="7782646" y="7376213"/>
              <a:ext cx="202590" cy="211882"/>
            </a:xfrm>
            <a:custGeom>
              <a:avLst/>
              <a:gdLst>
                <a:gd name="T0" fmla="*/ 2 w 92"/>
                <a:gd name="T1" fmla="*/ 0 h 96"/>
                <a:gd name="T2" fmla="*/ 0 w 92"/>
                <a:gd name="T3" fmla="*/ 94 h 96"/>
                <a:gd name="T4" fmla="*/ 90 w 92"/>
                <a:gd name="T5" fmla="*/ 96 h 96"/>
                <a:gd name="T6" fmla="*/ 92 w 92"/>
                <a:gd name="T7" fmla="*/ 2 h 96"/>
                <a:gd name="T8" fmla="*/ 22 w 92"/>
                <a:gd name="T9" fmla="*/ 84 h 96"/>
                <a:gd name="T10" fmla="*/ 22 w 92"/>
                <a:gd name="T11" fmla="*/ 68 h 96"/>
                <a:gd name="T12" fmla="*/ 22 w 92"/>
                <a:gd name="T13" fmla="*/ 84 h 96"/>
                <a:gd name="T14" fmla="*/ 30 w 92"/>
                <a:gd name="T15" fmla="*/ 44 h 96"/>
                <a:gd name="T16" fmla="*/ 24 w 92"/>
                <a:gd name="T17" fmla="*/ 58 h 96"/>
                <a:gd name="T18" fmla="*/ 20 w 92"/>
                <a:gd name="T19" fmla="*/ 58 h 96"/>
                <a:gd name="T20" fmla="*/ 14 w 92"/>
                <a:gd name="T21" fmla="*/ 44 h 96"/>
                <a:gd name="T22" fmla="*/ 12 w 92"/>
                <a:gd name="T23" fmla="*/ 34 h 96"/>
                <a:gd name="T24" fmla="*/ 20 w 92"/>
                <a:gd name="T25" fmla="*/ 32 h 96"/>
                <a:gd name="T26" fmla="*/ 22 w 92"/>
                <a:gd name="T27" fmla="*/ 12 h 96"/>
                <a:gd name="T28" fmla="*/ 24 w 92"/>
                <a:gd name="T29" fmla="*/ 32 h 96"/>
                <a:gd name="T30" fmla="*/ 32 w 92"/>
                <a:gd name="T31" fmla="*/ 34 h 96"/>
                <a:gd name="T32" fmla="*/ 46 w 92"/>
                <a:gd name="T33" fmla="*/ 84 h 96"/>
                <a:gd name="T34" fmla="*/ 46 w 92"/>
                <a:gd name="T35" fmla="*/ 68 h 96"/>
                <a:gd name="T36" fmla="*/ 46 w 92"/>
                <a:gd name="T37" fmla="*/ 84 h 96"/>
                <a:gd name="T38" fmla="*/ 54 w 92"/>
                <a:gd name="T39" fmla="*/ 32 h 96"/>
                <a:gd name="T40" fmla="*/ 48 w 92"/>
                <a:gd name="T41" fmla="*/ 58 h 96"/>
                <a:gd name="T42" fmla="*/ 44 w 92"/>
                <a:gd name="T43" fmla="*/ 58 h 96"/>
                <a:gd name="T44" fmla="*/ 38 w 92"/>
                <a:gd name="T45" fmla="*/ 32 h 96"/>
                <a:gd name="T46" fmla="*/ 36 w 92"/>
                <a:gd name="T47" fmla="*/ 22 h 96"/>
                <a:gd name="T48" fmla="*/ 44 w 92"/>
                <a:gd name="T49" fmla="*/ 20 h 96"/>
                <a:gd name="T50" fmla="*/ 46 w 92"/>
                <a:gd name="T51" fmla="*/ 12 h 96"/>
                <a:gd name="T52" fmla="*/ 48 w 92"/>
                <a:gd name="T53" fmla="*/ 20 h 96"/>
                <a:gd name="T54" fmla="*/ 56 w 92"/>
                <a:gd name="T55" fmla="*/ 22 h 96"/>
                <a:gd name="T56" fmla="*/ 70 w 92"/>
                <a:gd name="T57" fmla="*/ 84 h 96"/>
                <a:gd name="T58" fmla="*/ 70 w 92"/>
                <a:gd name="T59" fmla="*/ 68 h 96"/>
                <a:gd name="T60" fmla="*/ 70 w 92"/>
                <a:gd name="T61" fmla="*/ 84 h 96"/>
                <a:gd name="T62" fmla="*/ 78 w 92"/>
                <a:gd name="T63" fmla="*/ 52 h 96"/>
                <a:gd name="T64" fmla="*/ 72 w 92"/>
                <a:gd name="T65" fmla="*/ 58 h 96"/>
                <a:gd name="T66" fmla="*/ 68 w 92"/>
                <a:gd name="T67" fmla="*/ 58 h 96"/>
                <a:gd name="T68" fmla="*/ 62 w 92"/>
                <a:gd name="T69" fmla="*/ 52 h 96"/>
                <a:gd name="T70" fmla="*/ 60 w 92"/>
                <a:gd name="T71" fmla="*/ 42 h 96"/>
                <a:gd name="T72" fmla="*/ 68 w 92"/>
                <a:gd name="T73" fmla="*/ 40 h 96"/>
                <a:gd name="T74" fmla="*/ 70 w 92"/>
                <a:gd name="T75" fmla="*/ 12 h 96"/>
                <a:gd name="T76" fmla="*/ 72 w 92"/>
                <a:gd name="T77" fmla="*/ 40 h 96"/>
                <a:gd name="T78" fmla="*/ 80 w 92"/>
                <a:gd name="T79" fmla="*/ 4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2" h="96">
                  <a:moveTo>
                    <a:pt x="90" y="0"/>
                  </a:moveTo>
                  <a:cubicBezTo>
                    <a:pt x="2" y="0"/>
                    <a:pt x="2" y="0"/>
                    <a:pt x="2" y="0"/>
                  </a:cubicBezTo>
                  <a:cubicBezTo>
                    <a:pt x="1" y="0"/>
                    <a:pt x="0" y="1"/>
                    <a:pt x="0" y="2"/>
                  </a:cubicBezTo>
                  <a:cubicBezTo>
                    <a:pt x="0" y="94"/>
                    <a:pt x="0" y="94"/>
                    <a:pt x="0" y="94"/>
                  </a:cubicBezTo>
                  <a:cubicBezTo>
                    <a:pt x="0" y="95"/>
                    <a:pt x="1" y="96"/>
                    <a:pt x="2" y="96"/>
                  </a:cubicBezTo>
                  <a:cubicBezTo>
                    <a:pt x="90" y="96"/>
                    <a:pt x="90" y="96"/>
                    <a:pt x="90" y="96"/>
                  </a:cubicBezTo>
                  <a:cubicBezTo>
                    <a:pt x="91" y="96"/>
                    <a:pt x="92" y="95"/>
                    <a:pt x="92" y="94"/>
                  </a:cubicBezTo>
                  <a:cubicBezTo>
                    <a:pt x="92" y="2"/>
                    <a:pt x="92" y="2"/>
                    <a:pt x="92" y="2"/>
                  </a:cubicBezTo>
                  <a:cubicBezTo>
                    <a:pt x="92" y="1"/>
                    <a:pt x="91" y="0"/>
                    <a:pt x="90" y="0"/>
                  </a:cubicBezTo>
                  <a:close/>
                  <a:moveTo>
                    <a:pt x="22" y="84"/>
                  </a:moveTo>
                  <a:cubicBezTo>
                    <a:pt x="18" y="84"/>
                    <a:pt x="14" y="80"/>
                    <a:pt x="14" y="76"/>
                  </a:cubicBezTo>
                  <a:cubicBezTo>
                    <a:pt x="14" y="72"/>
                    <a:pt x="18" y="68"/>
                    <a:pt x="22" y="68"/>
                  </a:cubicBezTo>
                  <a:cubicBezTo>
                    <a:pt x="26" y="68"/>
                    <a:pt x="30" y="72"/>
                    <a:pt x="30" y="76"/>
                  </a:cubicBezTo>
                  <a:cubicBezTo>
                    <a:pt x="30" y="80"/>
                    <a:pt x="26" y="84"/>
                    <a:pt x="22" y="84"/>
                  </a:cubicBezTo>
                  <a:close/>
                  <a:moveTo>
                    <a:pt x="32" y="42"/>
                  </a:moveTo>
                  <a:cubicBezTo>
                    <a:pt x="32" y="43"/>
                    <a:pt x="31" y="44"/>
                    <a:pt x="30" y="44"/>
                  </a:cubicBezTo>
                  <a:cubicBezTo>
                    <a:pt x="24" y="44"/>
                    <a:pt x="24" y="44"/>
                    <a:pt x="24" y="44"/>
                  </a:cubicBezTo>
                  <a:cubicBezTo>
                    <a:pt x="24" y="58"/>
                    <a:pt x="24" y="58"/>
                    <a:pt x="24" y="58"/>
                  </a:cubicBezTo>
                  <a:cubicBezTo>
                    <a:pt x="24" y="59"/>
                    <a:pt x="23" y="60"/>
                    <a:pt x="22" y="60"/>
                  </a:cubicBezTo>
                  <a:cubicBezTo>
                    <a:pt x="21" y="60"/>
                    <a:pt x="20" y="59"/>
                    <a:pt x="20" y="58"/>
                  </a:cubicBezTo>
                  <a:cubicBezTo>
                    <a:pt x="20" y="44"/>
                    <a:pt x="20" y="44"/>
                    <a:pt x="20" y="44"/>
                  </a:cubicBezTo>
                  <a:cubicBezTo>
                    <a:pt x="14" y="44"/>
                    <a:pt x="14" y="44"/>
                    <a:pt x="14" y="44"/>
                  </a:cubicBezTo>
                  <a:cubicBezTo>
                    <a:pt x="13" y="44"/>
                    <a:pt x="12" y="43"/>
                    <a:pt x="12" y="42"/>
                  </a:cubicBezTo>
                  <a:cubicBezTo>
                    <a:pt x="12" y="34"/>
                    <a:pt x="12" y="34"/>
                    <a:pt x="12" y="34"/>
                  </a:cubicBezTo>
                  <a:cubicBezTo>
                    <a:pt x="12" y="33"/>
                    <a:pt x="13" y="32"/>
                    <a:pt x="14" y="32"/>
                  </a:cubicBezTo>
                  <a:cubicBezTo>
                    <a:pt x="20" y="32"/>
                    <a:pt x="20" y="32"/>
                    <a:pt x="20" y="32"/>
                  </a:cubicBezTo>
                  <a:cubicBezTo>
                    <a:pt x="20" y="14"/>
                    <a:pt x="20" y="14"/>
                    <a:pt x="20" y="14"/>
                  </a:cubicBezTo>
                  <a:cubicBezTo>
                    <a:pt x="20" y="13"/>
                    <a:pt x="21" y="12"/>
                    <a:pt x="22" y="12"/>
                  </a:cubicBezTo>
                  <a:cubicBezTo>
                    <a:pt x="23" y="12"/>
                    <a:pt x="24" y="13"/>
                    <a:pt x="24" y="14"/>
                  </a:cubicBezTo>
                  <a:cubicBezTo>
                    <a:pt x="24" y="32"/>
                    <a:pt x="24" y="32"/>
                    <a:pt x="24" y="32"/>
                  </a:cubicBezTo>
                  <a:cubicBezTo>
                    <a:pt x="30" y="32"/>
                    <a:pt x="30" y="32"/>
                    <a:pt x="30" y="32"/>
                  </a:cubicBezTo>
                  <a:cubicBezTo>
                    <a:pt x="31" y="32"/>
                    <a:pt x="32" y="33"/>
                    <a:pt x="32" y="34"/>
                  </a:cubicBezTo>
                  <a:lnTo>
                    <a:pt x="32" y="42"/>
                  </a:lnTo>
                  <a:close/>
                  <a:moveTo>
                    <a:pt x="46" y="84"/>
                  </a:moveTo>
                  <a:cubicBezTo>
                    <a:pt x="42" y="84"/>
                    <a:pt x="38" y="80"/>
                    <a:pt x="38" y="76"/>
                  </a:cubicBezTo>
                  <a:cubicBezTo>
                    <a:pt x="38" y="72"/>
                    <a:pt x="42" y="68"/>
                    <a:pt x="46" y="68"/>
                  </a:cubicBezTo>
                  <a:cubicBezTo>
                    <a:pt x="50" y="68"/>
                    <a:pt x="54" y="72"/>
                    <a:pt x="54" y="76"/>
                  </a:cubicBezTo>
                  <a:cubicBezTo>
                    <a:pt x="54" y="80"/>
                    <a:pt x="50" y="84"/>
                    <a:pt x="46" y="84"/>
                  </a:cubicBezTo>
                  <a:close/>
                  <a:moveTo>
                    <a:pt x="56" y="30"/>
                  </a:moveTo>
                  <a:cubicBezTo>
                    <a:pt x="56" y="31"/>
                    <a:pt x="55" y="32"/>
                    <a:pt x="54" y="32"/>
                  </a:cubicBezTo>
                  <a:cubicBezTo>
                    <a:pt x="48" y="32"/>
                    <a:pt x="48" y="32"/>
                    <a:pt x="48" y="32"/>
                  </a:cubicBezTo>
                  <a:cubicBezTo>
                    <a:pt x="48" y="58"/>
                    <a:pt x="48" y="58"/>
                    <a:pt x="48" y="58"/>
                  </a:cubicBezTo>
                  <a:cubicBezTo>
                    <a:pt x="48" y="59"/>
                    <a:pt x="47" y="60"/>
                    <a:pt x="46" y="60"/>
                  </a:cubicBezTo>
                  <a:cubicBezTo>
                    <a:pt x="45" y="60"/>
                    <a:pt x="44" y="59"/>
                    <a:pt x="44" y="58"/>
                  </a:cubicBezTo>
                  <a:cubicBezTo>
                    <a:pt x="44" y="32"/>
                    <a:pt x="44" y="32"/>
                    <a:pt x="44" y="32"/>
                  </a:cubicBezTo>
                  <a:cubicBezTo>
                    <a:pt x="38" y="32"/>
                    <a:pt x="38" y="32"/>
                    <a:pt x="38" y="32"/>
                  </a:cubicBezTo>
                  <a:cubicBezTo>
                    <a:pt x="37" y="32"/>
                    <a:pt x="36" y="31"/>
                    <a:pt x="36" y="30"/>
                  </a:cubicBezTo>
                  <a:cubicBezTo>
                    <a:pt x="36" y="22"/>
                    <a:pt x="36" y="22"/>
                    <a:pt x="36" y="22"/>
                  </a:cubicBezTo>
                  <a:cubicBezTo>
                    <a:pt x="36" y="21"/>
                    <a:pt x="37" y="20"/>
                    <a:pt x="38" y="20"/>
                  </a:cubicBezTo>
                  <a:cubicBezTo>
                    <a:pt x="44" y="20"/>
                    <a:pt x="44" y="20"/>
                    <a:pt x="44" y="20"/>
                  </a:cubicBezTo>
                  <a:cubicBezTo>
                    <a:pt x="44" y="14"/>
                    <a:pt x="44" y="14"/>
                    <a:pt x="44" y="14"/>
                  </a:cubicBezTo>
                  <a:cubicBezTo>
                    <a:pt x="44" y="13"/>
                    <a:pt x="45" y="12"/>
                    <a:pt x="46" y="12"/>
                  </a:cubicBezTo>
                  <a:cubicBezTo>
                    <a:pt x="47" y="12"/>
                    <a:pt x="48" y="13"/>
                    <a:pt x="48" y="14"/>
                  </a:cubicBezTo>
                  <a:cubicBezTo>
                    <a:pt x="48" y="20"/>
                    <a:pt x="48" y="20"/>
                    <a:pt x="48" y="20"/>
                  </a:cubicBezTo>
                  <a:cubicBezTo>
                    <a:pt x="54" y="20"/>
                    <a:pt x="54" y="20"/>
                    <a:pt x="54" y="20"/>
                  </a:cubicBezTo>
                  <a:cubicBezTo>
                    <a:pt x="55" y="20"/>
                    <a:pt x="56" y="21"/>
                    <a:pt x="56" y="22"/>
                  </a:cubicBezTo>
                  <a:lnTo>
                    <a:pt x="56" y="30"/>
                  </a:lnTo>
                  <a:close/>
                  <a:moveTo>
                    <a:pt x="70" y="84"/>
                  </a:moveTo>
                  <a:cubicBezTo>
                    <a:pt x="66" y="84"/>
                    <a:pt x="62" y="80"/>
                    <a:pt x="62" y="76"/>
                  </a:cubicBezTo>
                  <a:cubicBezTo>
                    <a:pt x="62" y="72"/>
                    <a:pt x="66" y="68"/>
                    <a:pt x="70" y="68"/>
                  </a:cubicBezTo>
                  <a:cubicBezTo>
                    <a:pt x="75" y="68"/>
                    <a:pt x="78" y="72"/>
                    <a:pt x="78" y="76"/>
                  </a:cubicBezTo>
                  <a:cubicBezTo>
                    <a:pt x="78" y="80"/>
                    <a:pt x="75" y="84"/>
                    <a:pt x="70" y="84"/>
                  </a:cubicBezTo>
                  <a:close/>
                  <a:moveTo>
                    <a:pt x="80" y="50"/>
                  </a:moveTo>
                  <a:cubicBezTo>
                    <a:pt x="80" y="51"/>
                    <a:pt x="79" y="52"/>
                    <a:pt x="78" y="52"/>
                  </a:cubicBezTo>
                  <a:cubicBezTo>
                    <a:pt x="72" y="52"/>
                    <a:pt x="72" y="52"/>
                    <a:pt x="72" y="52"/>
                  </a:cubicBezTo>
                  <a:cubicBezTo>
                    <a:pt x="72" y="58"/>
                    <a:pt x="72" y="58"/>
                    <a:pt x="72" y="58"/>
                  </a:cubicBezTo>
                  <a:cubicBezTo>
                    <a:pt x="72" y="59"/>
                    <a:pt x="71" y="60"/>
                    <a:pt x="70" y="60"/>
                  </a:cubicBezTo>
                  <a:cubicBezTo>
                    <a:pt x="69" y="60"/>
                    <a:pt x="68" y="59"/>
                    <a:pt x="68" y="58"/>
                  </a:cubicBezTo>
                  <a:cubicBezTo>
                    <a:pt x="68" y="52"/>
                    <a:pt x="68" y="52"/>
                    <a:pt x="68" y="52"/>
                  </a:cubicBezTo>
                  <a:cubicBezTo>
                    <a:pt x="62" y="52"/>
                    <a:pt x="62" y="52"/>
                    <a:pt x="62" y="52"/>
                  </a:cubicBezTo>
                  <a:cubicBezTo>
                    <a:pt x="61" y="52"/>
                    <a:pt x="60" y="51"/>
                    <a:pt x="60" y="50"/>
                  </a:cubicBezTo>
                  <a:cubicBezTo>
                    <a:pt x="60" y="42"/>
                    <a:pt x="60" y="42"/>
                    <a:pt x="60" y="42"/>
                  </a:cubicBezTo>
                  <a:cubicBezTo>
                    <a:pt x="60" y="41"/>
                    <a:pt x="61" y="40"/>
                    <a:pt x="62" y="40"/>
                  </a:cubicBezTo>
                  <a:cubicBezTo>
                    <a:pt x="68" y="40"/>
                    <a:pt x="68" y="40"/>
                    <a:pt x="68" y="40"/>
                  </a:cubicBezTo>
                  <a:cubicBezTo>
                    <a:pt x="68" y="14"/>
                    <a:pt x="68" y="14"/>
                    <a:pt x="68" y="14"/>
                  </a:cubicBezTo>
                  <a:cubicBezTo>
                    <a:pt x="68" y="13"/>
                    <a:pt x="69" y="12"/>
                    <a:pt x="70" y="12"/>
                  </a:cubicBezTo>
                  <a:cubicBezTo>
                    <a:pt x="71" y="12"/>
                    <a:pt x="72" y="13"/>
                    <a:pt x="72" y="14"/>
                  </a:cubicBezTo>
                  <a:cubicBezTo>
                    <a:pt x="72" y="40"/>
                    <a:pt x="72" y="40"/>
                    <a:pt x="72" y="40"/>
                  </a:cubicBezTo>
                  <a:cubicBezTo>
                    <a:pt x="78" y="40"/>
                    <a:pt x="78" y="40"/>
                    <a:pt x="78" y="40"/>
                  </a:cubicBezTo>
                  <a:cubicBezTo>
                    <a:pt x="79" y="40"/>
                    <a:pt x="80" y="41"/>
                    <a:pt x="80" y="42"/>
                  </a:cubicBezTo>
                  <a:lnTo>
                    <a:pt x="80" y="50"/>
                  </a:lnTo>
                  <a:close/>
                </a:path>
              </a:pathLst>
            </a:custGeom>
            <a:gradFill flip="none" rotWithShape="1">
              <a:gsLst>
                <a:gs pos="100000">
                  <a:schemeClr val="accent1"/>
                </a:gs>
                <a:gs pos="0">
                  <a:schemeClr val="accent1"/>
                </a:gs>
              </a:gsLst>
              <a:lin ang="270000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Arial"/>
                <a:cs typeface="+mn-cs"/>
              </a:endParaRPr>
            </a:p>
          </p:txBody>
        </p:sp>
      </p:grpSp>
      <p:grpSp>
        <p:nvGrpSpPr>
          <p:cNvPr id="85" name="Group 84">
            <a:extLst>
              <a:ext uri="{FF2B5EF4-FFF2-40B4-BE49-F238E27FC236}">
                <a16:creationId xmlns:a16="http://schemas.microsoft.com/office/drawing/2014/main" id="{8FE03238-9B05-4549-993E-5B7EAC8FCDE9}"/>
              </a:ext>
            </a:extLst>
          </p:cNvPr>
          <p:cNvGrpSpPr/>
          <p:nvPr/>
        </p:nvGrpSpPr>
        <p:grpSpPr>
          <a:xfrm>
            <a:off x="6415857" y="5622136"/>
            <a:ext cx="361031" cy="361031"/>
            <a:chOff x="6694780" y="10669024"/>
            <a:chExt cx="361031" cy="361031"/>
          </a:xfrm>
        </p:grpSpPr>
        <p:sp>
          <p:nvSpPr>
            <p:cNvPr id="86" name="Oval 273">
              <a:extLst>
                <a:ext uri="{FF2B5EF4-FFF2-40B4-BE49-F238E27FC236}">
                  <a16:creationId xmlns:a16="http://schemas.microsoft.com/office/drawing/2014/main" id="{0B70BDAB-FC55-4AFE-8376-542CEF861EF2}"/>
                </a:ext>
              </a:extLst>
            </p:cNvPr>
            <p:cNvSpPr/>
            <p:nvPr/>
          </p:nvSpPr>
          <p:spPr>
            <a:xfrm flipV="1">
              <a:off x="6694780" y="10669024"/>
              <a:ext cx="361031" cy="361031"/>
            </a:xfrm>
            <a:prstGeom prst="ellipse">
              <a:avLst/>
            </a:prstGeom>
            <a:solidFill>
              <a:sysClr val="window" lastClr="FFFFFF"/>
            </a:solidFill>
            <a:ln w="12700" cap="flat" cmpd="sng" algn="ctr">
              <a:noFill/>
              <a:prstDash val="solid"/>
              <a:miter lim="800000"/>
            </a:ln>
            <a:effectLst>
              <a:outerShdw blurRad="215900" sx="104000" sy="104000" algn="ctr" rotWithShape="0">
                <a:prstClr val="black">
                  <a:alpha val="19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Gill Sans MT" panose="020B0502020104020203" pitchFamily="34" charset="0"/>
                <a:cs typeface="+mn-cs"/>
              </a:endParaRPr>
            </a:p>
          </p:txBody>
        </p:sp>
        <p:grpSp>
          <p:nvGrpSpPr>
            <p:cNvPr id="87" name="Group 312">
              <a:extLst>
                <a:ext uri="{FF2B5EF4-FFF2-40B4-BE49-F238E27FC236}">
                  <a16:creationId xmlns:a16="http://schemas.microsoft.com/office/drawing/2014/main" id="{957071EF-3644-4F18-B0E5-DE415C56BD8B}"/>
                </a:ext>
              </a:extLst>
            </p:cNvPr>
            <p:cNvGrpSpPr/>
            <p:nvPr/>
          </p:nvGrpSpPr>
          <p:grpSpPr>
            <a:xfrm>
              <a:off x="6769817" y="10743598"/>
              <a:ext cx="210956" cy="211882"/>
              <a:chOff x="7718425" y="3248025"/>
              <a:chExt cx="360363" cy="361951"/>
            </a:xfrm>
            <a:gradFill>
              <a:gsLst>
                <a:gs pos="100000">
                  <a:srgbClr val="0098DB"/>
                </a:gs>
                <a:gs pos="0">
                  <a:srgbClr val="00497A"/>
                </a:gs>
              </a:gsLst>
              <a:lin ang="2700000" scaled="1"/>
            </a:gradFill>
          </p:grpSpPr>
          <p:sp>
            <p:nvSpPr>
              <p:cNvPr id="88" name="Freeform 63">
                <a:extLst>
                  <a:ext uri="{FF2B5EF4-FFF2-40B4-BE49-F238E27FC236}">
                    <a16:creationId xmlns:a16="http://schemas.microsoft.com/office/drawing/2014/main" id="{87846A4C-7E3F-4915-854F-52CCEBF6C9C0}"/>
                  </a:ext>
                </a:extLst>
              </p:cNvPr>
              <p:cNvSpPr>
                <a:spLocks/>
              </p:cNvSpPr>
              <p:nvPr/>
            </p:nvSpPr>
            <p:spPr bwMode="auto">
              <a:xfrm>
                <a:off x="7718425" y="3248025"/>
                <a:ext cx="360363" cy="331788"/>
              </a:xfrm>
              <a:custGeom>
                <a:avLst/>
                <a:gdLst>
                  <a:gd name="T0" fmla="*/ 20 w 96"/>
                  <a:gd name="T1" fmla="*/ 88 h 88"/>
                  <a:gd name="T2" fmla="*/ 8 w 96"/>
                  <a:gd name="T3" fmla="*/ 75 h 88"/>
                  <a:gd name="T4" fmla="*/ 17 w 96"/>
                  <a:gd name="T5" fmla="*/ 65 h 88"/>
                  <a:gd name="T6" fmla="*/ 2 w 96"/>
                  <a:gd name="T7" fmla="*/ 56 h 88"/>
                  <a:gd name="T8" fmla="*/ 0 w 96"/>
                  <a:gd name="T9" fmla="*/ 42 h 88"/>
                  <a:gd name="T10" fmla="*/ 13 w 96"/>
                  <a:gd name="T11" fmla="*/ 40 h 88"/>
                  <a:gd name="T12" fmla="*/ 8 w 96"/>
                  <a:gd name="T13" fmla="*/ 23 h 88"/>
                  <a:gd name="T14" fmla="*/ 8 w 96"/>
                  <a:gd name="T15" fmla="*/ 20 h 88"/>
                  <a:gd name="T16" fmla="*/ 23 w 96"/>
                  <a:gd name="T17" fmla="*/ 8 h 88"/>
                  <a:gd name="T18" fmla="*/ 40 w 96"/>
                  <a:gd name="T19" fmla="*/ 13 h 88"/>
                  <a:gd name="T20" fmla="*/ 42 w 96"/>
                  <a:gd name="T21" fmla="*/ 0 h 88"/>
                  <a:gd name="T22" fmla="*/ 56 w 96"/>
                  <a:gd name="T23" fmla="*/ 2 h 88"/>
                  <a:gd name="T24" fmla="*/ 65 w 96"/>
                  <a:gd name="T25" fmla="*/ 17 h 88"/>
                  <a:gd name="T26" fmla="*/ 76 w 96"/>
                  <a:gd name="T27" fmla="*/ 8 h 88"/>
                  <a:gd name="T28" fmla="*/ 88 w 96"/>
                  <a:gd name="T29" fmla="*/ 21 h 88"/>
                  <a:gd name="T30" fmla="*/ 79 w 96"/>
                  <a:gd name="T31" fmla="*/ 31 h 88"/>
                  <a:gd name="T32" fmla="*/ 94 w 96"/>
                  <a:gd name="T33" fmla="*/ 40 h 88"/>
                  <a:gd name="T34" fmla="*/ 96 w 96"/>
                  <a:gd name="T35" fmla="*/ 54 h 88"/>
                  <a:gd name="T36" fmla="*/ 83 w 96"/>
                  <a:gd name="T37" fmla="*/ 56 h 88"/>
                  <a:gd name="T38" fmla="*/ 88 w 96"/>
                  <a:gd name="T39" fmla="*/ 73 h 88"/>
                  <a:gd name="T40" fmla="*/ 76 w 96"/>
                  <a:gd name="T41" fmla="*/ 88 h 88"/>
                  <a:gd name="T42" fmla="*/ 64 w 96"/>
                  <a:gd name="T43" fmla="*/ 78 h 88"/>
                  <a:gd name="T44" fmla="*/ 67 w 96"/>
                  <a:gd name="T45" fmla="*/ 76 h 88"/>
                  <a:gd name="T46" fmla="*/ 83 w 96"/>
                  <a:gd name="T47" fmla="*/ 75 h 88"/>
                  <a:gd name="T48" fmla="*/ 75 w 96"/>
                  <a:gd name="T49" fmla="*/ 65 h 88"/>
                  <a:gd name="T50" fmla="*/ 81 w 96"/>
                  <a:gd name="T51" fmla="*/ 52 h 88"/>
                  <a:gd name="T52" fmla="*/ 92 w 96"/>
                  <a:gd name="T53" fmla="*/ 44 h 88"/>
                  <a:gd name="T54" fmla="*/ 79 w 96"/>
                  <a:gd name="T55" fmla="*/ 42 h 88"/>
                  <a:gd name="T56" fmla="*/ 76 w 96"/>
                  <a:gd name="T57" fmla="*/ 29 h 88"/>
                  <a:gd name="T58" fmla="*/ 75 w 96"/>
                  <a:gd name="T59" fmla="*/ 13 h 88"/>
                  <a:gd name="T60" fmla="*/ 65 w 96"/>
                  <a:gd name="T61" fmla="*/ 21 h 88"/>
                  <a:gd name="T62" fmla="*/ 52 w 96"/>
                  <a:gd name="T63" fmla="*/ 15 h 88"/>
                  <a:gd name="T64" fmla="*/ 44 w 96"/>
                  <a:gd name="T65" fmla="*/ 4 h 88"/>
                  <a:gd name="T66" fmla="*/ 42 w 96"/>
                  <a:gd name="T67" fmla="*/ 17 h 88"/>
                  <a:gd name="T68" fmla="*/ 29 w 96"/>
                  <a:gd name="T69" fmla="*/ 20 h 88"/>
                  <a:gd name="T70" fmla="*/ 13 w 96"/>
                  <a:gd name="T71" fmla="*/ 21 h 88"/>
                  <a:gd name="T72" fmla="*/ 21 w 96"/>
                  <a:gd name="T73" fmla="*/ 31 h 88"/>
                  <a:gd name="T74" fmla="*/ 15 w 96"/>
                  <a:gd name="T75" fmla="*/ 44 h 88"/>
                  <a:gd name="T76" fmla="*/ 4 w 96"/>
                  <a:gd name="T77" fmla="*/ 52 h 88"/>
                  <a:gd name="T78" fmla="*/ 17 w 96"/>
                  <a:gd name="T79" fmla="*/ 54 h 88"/>
                  <a:gd name="T80" fmla="*/ 20 w 96"/>
                  <a:gd name="T81" fmla="*/ 67 h 88"/>
                  <a:gd name="T82" fmla="*/ 21 w 96"/>
                  <a:gd name="T83" fmla="*/ 83 h 88"/>
                  <a:gd name="T84" fmla="*/ 32 w 96"/>
                  <a:gd name="T85" fmla="*/ 76 h 88"/>
                  <a:gd name="T86" fmla="*/ 23 w 96"/>
                  <a:gd name="T87"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6" h="88">
                    <a:moveTo>
                      <a:pt x="21" y="88"/>
                    </a:moveTo>
                    <a:cubicBezTo>
                      <a:pt x="21" y="88"/>
                      <a:pt x="20" y="88"/>
                      <a:pt x="20" y="88"/>
                    </a:cubicBezTo>
                    <a:cubicBezTo>
                      <a:pt x="8" y="76"/>
                      <a:pt x="8" y="76"/>
                      <a:pt x="8" y="76"/>
                    </a:cubicBezTo>
                    <a:cubicBezTo>
                      <a:pt x="8" y="76"/>
                      <a:pt x="8" y="75"/>
                      <a:pt x="8" y="75"/>
                    </a:cubicBezTo>
                    <a:cubicBezTo>
                      <a:pt x="8" y="74"/>
                      <a:pt x="8" y="74"/>
                      <a:pt x="8" y="73"/>
                    </a:cubicBezTo>
                    <a:cubicBezTo>
                      <a:pt x="17" y="65"/>
                      <a:pt x="17" y="65"/>
                      <a:pt x="17" y="65"/>
                    </a:cubicBezTo>
                    <a:cubicBezTo>
                      <a:pt x="15" y="63"/>
                      <a:pt x="14" y="59"/>
                      <a:pt x="13" y="56"/>
                    </a:cubicBezTo>
                    <a:cubicBezTo>
                      <a:pt x="2" y="56"/>
                      <a:pt x="2" y="56"/>
                      <a:pt x="2" y="56"/>
                    </a:cubicBezTo>
                    <a:cubicBezTo>
                      <a:pt x="1" y="56"/>
                      <a:pt x="0" y="55"/>
                      <a:pt x="0" y="54"/>
                    </a:cubicBezTo>
                    <a:cubicBezTo>
                      <a:pt x="0" y="42"/>
                      <a:pt x="0" y="42"/>
                      <a:pt x="0" y="42"/>
                    </a:cubicBezTo>
                    <a:cubicBezTo>
                      <a:pt x="0" y="41"/>
                      <a:pt x="1" y="40"/>
                      <a:pt x="2" y="40"/>
                    </a:cubicBezTo>
                    <a:cubicBezTo>
                      <a:pt x="13" y="40"/>
                      <a:pt x="13" y="40"/>
                      <a:pt x="13" y="40"/>
                    </a:cubicBezTo>
                    <a:cubicBezTo>
                      <a:pt x="14" y="37"/>
                      <a:pt x="15" y="33"/>
                      <a:pt x="17" y="31"/>
                    </a:cubicBezTo>
                    <a:cubicBezTo>
                      <a:pt x="8" y="23"/>
                      <a:pt x="8" y="23"/>
                      <a:pt x="8" y="23"/>
                    </a:cubicBezTo>
                    <a:cubicBezTo>
                      <a:pt x="8" y="22"/>
                      <a:pt x="8" y="22"/>
                      <a:pt x="8" y="21"/>
                    </a:cubicBezTo>
                    <a:cubicBezTo>
                      <a:pt x="8" y="21"/>
                      <a:pt x="8" y="20"/>
                      <a:pt x="8" y="20"/>
                    </a:cubicBezTo>
                    <a:cubicBezTo>
                      <a:pt x="20" y="8"/>
                      <a:pt x="20" y="8"/>
                      <a:pt x="20" y="8"/>
                    </a:cubicBezTo>
                    <a:cubicBezTo>
                      <a:pt x="20" y="8"/>
                      <a:pt x="22" y="8"/>
                      <a:pt x="23" y="8"/>
                    </a:cubicBezTo>
                    <a:cubicBezTo>
                      <a:pt x="31" y="17"/>
                      <a:pt x="31" y="17"/>
                      <a:pt x="31" y="17"/>
                    </a:cubicBezTo>
                    <a:cubicBezTo>
                      <a:pt x="33" y="15"/>
                      <a:pt x="37" y="14"/>
                      <a:pt x="40" y="13"/>
                    </a:cubicBezTo>
                    <a:cubicBezTo>
                      <a:pt x="40" y="2"/>
                      <a:pt x="40" y="2"/>
                      <a:pt x="40" y="2"/>
                    </a:cubicBezTo>
                    <a:cubicBezTo>
                      <a:pt x="40" y="1"/>
                      <a:pt x="41" y="0"/>
                      <a:pt x="42" y="0"/>
                    </a:cubicBezTo>
                    <a:cubicBezTo>
                      <a:pt x="54" y="0"/>
                      <a:pt x="54" y="0"/>
                      <a:pt x="54" y="0"/>
                    </a:cubicBezTo>
                    <a:cubicBezTo>
                      <a:pt x="55" y="0"/>
                      <a:pt x="56" y="1"/>
                      <a:pt x="56" y="2"/>
                    </a:cubicBezTo>
                    <a:cubicBezTo>
                      <a:pt x="56" y="13"/>
                      <a:pt x="56" y="13"/>
                      <a:pt x="56" y="13"/>
                    </a:cubicBezTo>
                    <a:cubicBezTo>
                      <a:pt x="59" y="14"/>
                      <a:pt x="63" y="15"/>
                      <a:pt x="65" y="17"/>
                    </a:cubicBezTo>
                    <a:cubicBezTo>
                      <a:pt x="73" y="8"/>
                      <a:pt x="73" y="8"/>
                      <a:pt x="73" y="8"/>
                    </a:cubicBezTo>
                    <a:cubicBezTo>
                      <a:pt x="74" y="8"/>
                      <a:pt x="75" y="8"/>
                      <a:pt x="76" y="8"/>
                    </a:cubicBezTo>
                    <a:cubicBezTo>
                      <a:pt x="88" y="20"/>
                      <a:pt x="88" y="20"/>
                      <a:pt x="88" y="20"/>
                    </a:cubicBezTo>
                    <a:cubicBezTo>
                      <a:pt x="88" y="20"/>
                      <a:pt x="88" y="21"/>
                      <a:pt x="88" y="21"/>
                    </a:cubicBezTo>
                    <a:cubicBezTo>
                      <a:pt x="88" y="22"/>
                      <a:pt x="88" y="22"/>
                      <a:pt x="88" y="23"/>
                    </a:cubicBezTo>
                    <a:cubicBezTo>
                      <a:pt x="79" y="31"/>
                      <a:pt x="79" y="31"/>
                      <a:pt x="79" y="31"/>
                    </a:cubicBezTo>
                    <a:cubicBezTo>
                      <a:pt x="81" y="33"/>
                      <a:pt x="82" y="37"/>
                      <a:pt x="83" y="40"/>
                    </a:cubicBezTo>
                    <a:cubicBezTo>
                      <a:pt x="94" y="40"/>
                      <a:pt x="94" y="40"/>
                      <a:pt x="94" y="40"/>
                    </a:cubicBezTo>
                    <a:cubicBezTo>
                      <a:pt x="95" y="40"/>
                      <a:pt x="96" y="41"/>
                      <a:pt x="96" y="42"/>
                    </a:cubicBezTo>
                    <a:cubicBezTo>
                      <a:pt x="96" y="54"/>
                      <a:pt x="96" y="54"/>
                      <a:pt x="96" y="54"/>
                    </a:cubicBezTo>
                    <a:cubicBezTo>
                      <a:pt x="96" y="55"/>
                      <a:pt x="95" y="56"/>
                      <a:pt x="94" y="56"/>
                    </a:cubicBezTo>
                    <a:cubicBezTo>
                      <a:pt x="83" y="56"/>
                      <a:pt x="83" y="56"/>
                      <a:pt x="83" y="56"/>
                    </a:cubicBezTo>
                    <a:cubicBezTo>
                      <a:pt x="82" y="59"/>
                      <a:pt x="81" y="63"/>
                      <a:pt x="79" y="65"/>
                    </a:cubicBezTo>
                    <a:cubicBezTo>
                      <a:pt x="88" y="73"/>
                      <a:pt x="88" y="73"/>
                      <a:pt x="88" y="73"/>
                    </a:cubicBezTo>
                    <a:cubicBezTo>
                      <a:pt x="88" y="74"/>
                      <a:pt x="88" y="76"/>
                      <a:pt x="88" y="76"/>
                    </a:cubicBezTo>
                    <a:cubicBezTo>
                      <a:pt x="76" y="88"/>
                      <a:pt x="76" y="88"/>
                      <a:pt x="76" y="88"/>
                    </a:cubicBezTo>
                    <a:cubicBezTo>
                      <a:pt x="76" y="88"/>
                      <a:pt x="74" y="88"/>
                      <a:pt x="73" y="88"/>
                    </a:cubicBezTo>
                    <a:cubicBezTo>
                      <a:pt x="64" y="78"/>
                      <a:pt x="64" y="78"/>
                      <a:pt x="64" y="78"/>
                    </a:cubicBezTo>
                    <a:cubicBezTo>
                      <a:pt x="63" y="78"/>
                      <a:pt x="63" y="76"/>
                      <a:pt x="64" y="76"/>
                    </a:cubicBezTo>
                    <a:cubicBezTo>
                      <a:pt x="65" y="75"/>
                      <a:pt x="66" y="75"/>
                      <a:pt x="67" y="76"/>
                    </a:cubicBezTo>
                    <a:cubicBezTo>
                      <a:pt x="75" y="83"/>
                      <a:pt x="75" y="83"/>
                      <a:pt x="75" y="83"/>
                    </a:cubicBezTo>
                    <a:cubicBezTo>
                      <a:pt x="83" y="75"/>
                      <a:pt x="83" y="75"/>
                      <a:pt x="83" y="75"/>
                    </a:cubicBezTo>
                    <a:cubicBezTo>
                      <a:pt x="76" y="67"/>
                      <a:pt x="76" y="67"/>
                      <a:pt x="76" y="67"/>
                    </a:cubicBezTo>
                    <a:cubicBezTo>
                      <a:pt x="75" y="66"/>
                      <a:pt x="75" y="65"/>
                      <a:pt x="75" y="65"/>
                    </a:cubicBezTo>
                    <a:cubicBezTo>
                      <a:pt x="77" y="62"/>
                      <a:pt x="79" y="56"/>
                      <a:pt x="79" y="54"/>
                    </a:cubicBezTo>
                    <a:cubicBezTo>
                      <a:pt x="79" y="53"/>
                      <a:pt x="80" y="52"/>
                      <a:pt x="81" y="52"/>
                    </a:cubicBezTo>
                    <a:cubicBezTo>
                      <a:pt x="92" y="52"/>
                      <a:pt x="92" y="52"/>
                      <a:pt x="92" y="52"/>
                    </a:cubicBezTo>
                    <a:cubicBezTo>
                      <a:pt x="92" y="44"/>
                      <a:pt x="92" y="44"/>
                      <a:pt x="92" y="44"/>
                    </a:cubicBezTo>
                    <a:cubicBezTo>
                      <a:pt x="81" y="44"/>
                      <a:pt x="81" y="44"/>
                      <a:pt x="81" y="44"/>
                    </a:cubicBezTo>
                    <a:cubicBezTo>
                      <a:pt x="80" y="44"/>
                      <a:pt x="79" y="43"/>
                      <a:pt x="79" y="42"/>
                    </a:cubicBezTo>
                    <a:cubicBezTo>
                      <a:pt x="79" y="40"/>
                      <a:pt x="77" y="34"/>
                      <a:pt x="75" y="31"/>
                    </a:cubicBezTo>
                    <a:cubicBezTo>
                      <a:pt x="75" y="31"/>
                      <a:pt x="75" y="30"/>
                      <a:pt x="76" y="29"/>
                    </a:cubicBezTo>
                    <a:cubicBezTo>
                      <a:pt x="83" y="21"/>
                      <a:pt x="83" y="21"/>
                      <a:pt x="83" y="21"/>
                    </a:cubicBezTo>
                    <a:cubicBezTo>
                      <a:pt x="75" y="13"/>
                      <a:pt x="75" y="13"/>
                      <a:pt x="75" y="13"/>
                    </a:cubicBezTo>
                    <a:cubicBezTo>
                      <a:pt x="67" y="20"/>
                      <a:pt x="67" y="20"/>
                      <a:pt x="67" y="20"/>
                    </a:cubicBezTo>
                    <a:cubicBezTo>
                      <a:pt x="66" y="21"/>
                      <a:pt x="65" y="21"/>
                      <a:pt x="65" y="21"/>
                    </a:cubicBezTo>
                    <a:cubicBezTo>
                      <a:pt x="62" y="19"/>
                      <a:pt x="57" y="18"/>
                      <a:pt x="54" y="17"/>
                    </a:cubicBezTo>
                    <a:cubicBezTo>
                      <a:pt x="53" y="17"/>
                      <a:pt x="52" y="16"/>
                      <a:pt x="52" y="15"/>
                    </a:cubicBezTo>
                    <a:cubicBezTo>
                      <a:pt x="52" y="4"/>
                      <a:pt x="52" y="4"/>
                      <a:pt x="52" y="4"/>
                    </a:cubicBezTo>
                    <a:cubicBezTo>
                      <a:pt x="44" y="4"/>
                      <a:pt x="44" y="4"/>
                      <a:pt x="44" y="4"/>
                    </a:cubicBezTo>
                    <a:cubicBezTo>
                      <a:pt x="44" y="15"/>
                      <a:pt x="44" y="15"/>
                      <a:pt x="44" y="15"/>
                    </a:cubicBezTo>
                    <a:cubicBezTo>
                      <a:pt x="44" y="16"/>
                      <a:pt x="43" y="17"/>
                      <a:pt x="42" y="17"/>
                    </a:cubicBezTo>
                    <a:cubicBezTo>
                      <a:pt x="39" y="18"/>
                      <a:pt x="34" y="19"/>
                      <a:pt x="31" y="21"/>
                    </a:cubicBezTo>
                    <a:cubicBezTo>
                      <a:pt x="31" y="21"/>
                      <a:pt x="30" y="21"/>
                      <a:pt x="29" y="20"/>
                    </a:cubicBezTo>
                    <a:cubicBezTo>
                      <a:pt x="21" y="13"/>
                      <a:pt x="21" y="13"/>
                      <a:pt x="21" y="13"/>
                    </a:cubicBezTo>
                    <a:cubicBezTo>
                      <a:pt x="13" y="21"/>
                      <a:pt x="13" y="21"/>
                      <a:pt x="13" y="21"/>
                    </a:cubicBezTo>
                    <a:cubicBezTo>
                      <a:pt x="20" y="29"/>
                      <a:pt x="20" y="29"/>
                      <a:pt x="20" y="29"/>
                    </a:cubicBezTo>
                    <a:cubicBezTo>
                      <a:pt x="21" y="30"/>
                      <a:pt x="21" y="31"/>
                      <a:pt x="21" y="31"/>
                    </a:cubicBezTo>
                    <a:cubicBezTo>
                      <a:pt x="19" y="34"/>
                      <a:pt x="17" y="40"/>
                      <a:pt x="17" y="42"/>
                    </a:cubicBezTo>
                    <a:cubicBezTo>
                      <a:pt x="17" y="43"/>
                      <a:pt x="16" y="44"/>
                      <a:pt x="15" y="44"/>
                    </a:cubicBezTo>
                    <a:cubicBezTo>
                      <a:pt x="4" y="44"/>
                      <a:pt x="4" y="44"/>
                      <a:pt x="4" y="44"/>
                    </a:cubicBezTo>
                    <a:cubicBezTo>
                      <a:pt x="4" y="52"/>
                      <a:pt x="4" y="52"/>
                      <a:pt x="4" y="52"/>
                    </a:cubicBezTo>
                    <a:cubicBezTo>
                      <a:pt x="15" y="52"/>
                      <a:pt x="15" y="52"/>
                      <a:pt x="15" y="52"/>
                    </a:cubicBezTo>
                    <a:cubicBezTo>
                      <a:pt x="16" y="52"/>
                      <a:pt x="17" y="53"/>
                      <a:pt x="17" y="54"/>
                    </a:cubicBezTo>
                    <a:cubicBezTo>
                      <a:pt x="17" y="56"/>
                      <a:pt x="19" y="62"/>
                      <a:pt x="21" y="65"/>
                    </a:cubicBezTo>
                    <a:cubicBezTo>
                      <a:pt x="21" y="65"/>
                      <a:pt x="21" y="66"/>
                      <a:pt x="20" y="67"/>
                    </a:cubicBezTo>
                    <a:cubicBezTo>
                      <a:pt x="13" y="75"/>
                      <a:pt x="13" y="75"/>
                      <a:pt x="13" y="75"/>
                    </a:cubicBezTo>
                    <a:cubicBezTo>
                      <a:pt x="21" y="83"/>
                      <a:pt x="21" y="83"/>
                      <a:pt x="21" y="83"/>
                    </a:cubicBezTo>
                    <a:cubicBezTo>
                      <a:pt x="29" y="76"/>
                      <a:pt x="29" y="76"/>
                      <a:pt x="29" y="76"/>
                    </a:cubicBezTo>
                    <a:cubicBezTo>
                      <a:pt x="30" y="75"/>
                      <a:pt x="31" y="75"/>
                      <a:pt x="32" y="76"/>
                    </a:cubicBezTo>
                    <a:cubicBezTo>
                      <a:pt x="33" y="76"/>
                      <a:pt x="33" y="78"/>
                      <a:pt x="32" y="78"/>
                    </a:cubicBezTo>
                    <a:cubicBezTo>
                      <a:pt x="23" y="88"/>
                      <a:pt x="23" y="88"/>
                      <a:pt x="23" y="88"/>
                    </a:cubicBezTo>
                    <a:cubicBezTo>
                      <a:pt x="22" y="88"/>
                      <a:pt x="22" y="88"/>
                      <a:pt x="2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Arial"/>
                  <a:cs typeface="+mn-cs"/>
                </a:endParaRPr>
              </a:p>
            </p:txBody>
          </p:sp>
          <p:sp>
            <p:nvSpPr>
              <p:cNvPr id="89" name="Freeform 64">
                <a:extLst>
                  <a:ext uri="{FF2B5EF4-FFF2-40B4-BE49-F238E27FC236}">
                    <a16:creationId xmlns:a16="http://schemas.microsoft.com/office/drawing/2014/main" id="{B7088353-4B6D-442A-9AC3-44505A4A9855}"/>
                  </a:ext>
                </a:extLst>
              </p:cNvPr>
              <p:cNvSpPr>
                <a:spLocks/>
              </p:cNvSpPr>
              <p:nvPr/>
            </p:nvSpPr>
            <p:spPr bwMode="auto">
              <a:xfrm>
                <a:off x="7869238" y="3549650"/>
                <a:ext cx="60325" cy="15875"/>
              </a:xfrm>
              <a:custGeom>
                <a:avLst/>
                <a:gdLst>
                  <a:gd name="T0" fmla="*/ 14 w 16"/>
                  <a:gd name="T1" fmla="*/ 4 h 4"/>
                  <a:gd name="T2" fmla="*/ 2 w 16"/>
                  <a:gd name="T3" fmla="*/ 4 h 4"/>
                  <a:gd name="T4" fmla="*/ 0 w 16"/>
                  <a:gd name="T5" fmla="*/ 2 h 4"/>
                  <a:gd name="T6" fmla="*/ 2 w 16"/>
                  <a:gd name="T7" fmla="*/ 0 h 4"/>
                  <a:gd name="T8" fmla="*/ 14 w 16"/>
                  <a:gd name="T9" fmla="*/ 0 h 4"/>
                  <a:gd name="T10" fmla="*/ 16 w 16"/>
                  <a:gd name="T11" fmla="*/ 2 h 4"/>
                  <a:gd name="T12" fmla="*/ 14 w 16"/>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6" h="4">
                    <a:moveTo>
                      <a:pt x="14" y="4"/>
                    </a:moveTo>
                    <a:cubicBezTo>
                      <a:pt x="2" y="4"/>
                      <a:pt x="2" y="4"/>
                      <a:pt x="2" y="4"/>
                    </a:cubicBezTo>
                    <a:cubicBezTo>
                      <a:pt x="1" y="4"/>
                      <a:pt x="0" y="3"/>
                      <a:pt x="0" y="2"/>
                    </a:cubicBezTo>
                    <a:cubicBezTo>
                      <a:pt x="0" y="1"/>
                      <a:pt x="1" y="0"/>
                      <a:pt x="2" y="0"/>
                    </a:cubicBezTo>
                    <a:cubicBezTo>
                      <a:pt x="14" y="0"/>
                      <a:pt x="14" y="0"/>
                      <a:pt x="14" y="0"/>
                    </a:cubicBezTo>
                    <a:cubicBezTo>
                      <a:pt x="15" y="0"/>
                      <a:pt x="16" y="1"/>
                      <a:pt x="16" y="2"/>
                    </a:cubicBezTo>
                    <a:cubicBezTo>
                      <a:pt x="16" y="3"/>
                      <a:pt x="15" y="4"/>
                      <a:pt x="1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Arial"/>
                  <a:cs typeface="+mn-cs"/>
                </a:endParaRPr>
              </a:p>
            </p:txBody>
          </p:sp>
          <p:sp>
            <p:nvSpPr>
              <p:cNvPr id="90" name="Freeform 65">
                <a:extLst>
                  <a:ext uri="{FF2B5EF4-FFF2-40B4-BE49-F238E27FC236}">
                    <a16:creationId xmlns:a16="http://schemas.microsoft.com/office/drawing/2014/main" id="{2A5627E2-8A43-4A44-AE4B-9AE764BF9B09}"/>
                  </a:ext>
                </a:extLst>
              </p:cNvPr>
              <p:cNvSpPr>
                <a:spLocks/>
              </p:cNvSpPr>
              <p:nvPr/>
            </p:nvSpPr>
            <p:spPr bwMode="auto">
              <a:xfrm>
                <a:off x="7869238" y="3579813"/>
                <a:ext cx="60325" cy="30163"/>
              </a:xfrm>
              <a:custGeom>
                <a:avLst/>
                <a:gdLst>
                  <a:gd name="T0" fmla="*/ 14 w 16"/>
                  <a:gd name="T1" fmla="*/ 0 h 8"/>
                  <a:gd name="T2" fmla="*/ 2 w 16"/>
                  <a:gd name="T3" fmla="*/ 0 h 8"/>
                  <a:gd name="T4" fmla="*/ 0 w 16"/>
                  <a:gd name="T5" fmla="*/ 2 h 8"/>
                  <a:gd name="T6" fmla="*/ 2 w 16"/>
                  <a:gd name="T7" fmla="*/ 4 h 8"/>
                  <a:gd name="T8" fmla="*/ 6 w 16"/>
                  <a:gd name="T9" fmla="*/ 4 h 8"/>
                  <a:gd name="T10" fmla="*/ 6 w 16"/>
                  <a:gd name="T11" fmla="*/ 6 h 8"/>
                  <a:gd name="T12" fmla="*/ 8 w 16"/>
                  <a:gd name="T13" fmla="*/ 8 h 8"/>
                  <a:gd name="T14" fmla="*/ 10 w 16"/>
                  <a:gd name="T15" fmla="*/ 6 h 8"/>
                  <a:gd name="T16" fmla="*/ 10 w 16"/>
                  <a:gd name="T17" fmla="*/ 4 h 8"/>
                  <a:gd name="T18" fmla="*/ 14 w 16"/>
                  <a:gd name="T19" fmla="*/ 4 h 8"/>
                  <a:gd name="T20" fmla="*/ 16 w 16"/>
                  <a:gd name="T21" fmla="*/ 2 h 8"/>
                  <a:gd name="T22" fmla="*/ 14 w 16"/>
                  <a:gd name="T23"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8">
                    <a:moveTo>
                      <a:pt x="14" y="0"/>
                    </a:moveTo>
                    <a:cubicBezTo>
                      <a:pt x="2" y="0"/>
                      <a:pt x="2" y="0"/>
                      <a:pt x="2" y="0"/>
                    </a:cubicBezTo>
                    <a:cubicBezTo>
                      <a:pt x="1" y="0"/>
                      <a:pt x="0" y="1"/>
                      <a:pt x="0" y="2"/>
                    </a:cubicBezTo>
                    <a:cubicBezTo>
                      <a:pt x="0" y="3"/>
                      <a:pt x="1" y="4"/>
                      <a:pt x="2" y="4"/>
                    </a:cubicBezTo>
                    <a:cubicBezTo>
                      <a:pt x="6" y="4"/>
                      <a:pt x="6" y="4"/>
                      <a:pt x="6" y="4"/>
                    </a:cubicBezTo>
                    <a:cubicBezTo>
                      <a:pt x="6" y="6"/>
                      <a:pt x="6" y="6"/>
                      <a:pt x="6" y="6"/>
                    </a:cubicBezTo>
                    <a:cubicBezTo>
                      <a:pt x="6" y="7"/>
                      <a:pt x="7" y="8"/>
                      <a:pt x="8" y="8"/>
                    </a:cubicBezTo>
                    <a:cubicBezTo>
                      <a:pt x="9" y="8"/>
                      <a:pt x="10" y="7"/>
                      <a:pt x="10" y="6"/>
                    </a:cubicBezTo>
                    <a:cubicBezTo>
                      <a:pt x="10" y="4"/>
                      <a:pt x="10" y="4"/>
                      <a:pt x="10" y="4"/>
                    </a:cubicBezTo>
                    <a:cubicBezTo>
                      <a:pt x="14" y="4"/>
                      <a:pt x="14" y="4"/>
                      <a:pt x="14" y="4"/>
                    </a:cubicBezTo>
                    <a:cubicBezTo>
                      <a:pt x="15" y="4"/>
                      <a:pt x="16" y="3"/>
                      <a:pt x="16" y="2"/>
                    </a:cubicBezTo>
                    <a:cubicBezTo>
                      <a:pt x="16" y="1"/>
                      <a:pt x="15" y="0"/>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Arial"/>
                  <a:cs typeface="+mn-cs"/>
                </a:endParaRPr>
              </a:p>
            </p:txBody>
          </p:sp>
          <p:sp>
            <p:nvSpPr>
              <p:cNvPr id="91" name="Freeform 66">
                <a:extLst>
                  <a:ext uri="{FF2B5EF4-FFF2-40B4-BE49-F238E27FC236}">
                    <a16:creationId xmlns:a16="http://schemas.microsoft.com/office/drawing/2014/main" id="{80640ED6-2932-47FE-8931-9F5AAC88E43F}"/>
                  </a:ext>
                </a:extLst>
              </p:cNvPr>
              <p:cNvSpPr>
                <a:spLocks/>
              </p:cNvSpPr>
              <p:nvPr/>
            </p:nvSpPr>
            <p:spPr bwMode="auto">
              <a:xfrm>
                <a:off x="7805738" y="3338513"/>
                <a:ext cx="187325" cy="196850"/>
              </a:xfrm>
              <a:custGeom>
                <a:avLst/>
                <a:gdLst>
                  <a:gd name="T0" fmla="*/ 25 w 50"/>
                  <a:gd name="T1" fmla="*/ 0 h 52"/>
                  <a:gd name="T2" fmla="*/ 0 w 50"/>
                  <a:gd name="T3" fmla="*/ 24 h 52"/>
                  <a:gd name="T4" fmla="*/ 17 w 50"/>
                  <a:gd name="T5" fmla="*/ 47 h 52"/>
                  <a:gd name="T6" fmla="*/ 17 w 50"/>
                  <a:gd name="T7" fmla="*/ 50 h 52"/>
                  <a:gd name="T8" fmla="*/ 19 w 50"/>
                  <a:gd name="T9" fmla="*/ 52 h 52"/>
                  <a:gd name="T10" fmla="*/ 31 w 50"/>
                  <a:gd name="T11" fmla="*/ 52 h 52"/>
                  <a:gd name="T12" fmla="*/ 33 w 50"/>
                  <a:gd name="T13" fmla="*/ 50 h 52"/>
                  <a:gd name="T14" fmla="*/ 33 w 50"/>
                  <a:gd name="T15" fmla="*/ 47 h 52"/>
                  <a:gd name="T16" fmla="*/ 50 w 50"/>
                  <a:gd name="T17" fmla="*/ 24 h 52"/>
                  <a:gd name="T18" fmla="*/ 25 w 50"/>
                  <a:gd name="T19"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52">
                    <a:moveTo>
                      <a:pt x="25" y="0"/>
                    </a:moveTo>
                    <a:cubicBezTo>
                      <a:pt x="11" y="0"/>
                      <a:pt x="0" y="11"/>
                      <a:pt x="0" y="24"/>
                    </a:cubicBezTo>
                    <a:cubicBezTo>
                      <a:pt x="0" y="34"/>
                      <a:pt x="7" y="43"/>
                      <a:pt x="17" y="47"/>
                    </a:cubicBezTo>
                    <a:cubicBezTo>
                      <a:pt x="17" y="50"/>
                      <a:pt x="17" y="50"/>
                      <a:pt x="17" y="50"/>
                    </a:cubicBezTo>
                    <a:cubicBezTo>
                      <a:pt x="17" y="51"/>
                      <a:pt x="18" y="52"/>
                      <a:pt x="19" y="52"/>
                    </a:cubicBezTo>
                    <a:cubicBezTo>
                      <a:pt x="31" y="52"/>
                      <a:pt x="31" y="52"/>
                      <a:pt x="31" y="52"/>
                    </a:cubicBezTo>
                    <a:cubicBezTo>
                      <a:pt x="32" y="52"/>
                      <a:pt x="33" y="51"/>
                      <a:pt x="33" y="50"/>
                    </a:cubicBezTo>
                    <a:cubicBezTo>
                      <a:pt x="33" y="47"/>
                      <a:pt x="33" y="47"/>
                      <a:pt x="33" y="47"/>
                    </a:cubicBezTo>
                    <a:cubicBezTo>
                      <a:pt x="43" y="43"/>
                      <a:pt x="50" y="34"/>
                      <a:pt x="50" y="24"/>
                    </a:cubicBezTo>
                    <a:cubicBezTo>
                      <a:pt x="50" y="11"/>
                      <a:pt x="39" y="0"/>
                      <a:pt x="2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Arial"/>
                  <a:cs typeface="+mn-cs"/>
                </a:endParaRPr>
              </a:p>
            </p:txBody>
          </p:sp>
        </p:grpSp>
      </p:grpSp>
      <p:grpSp>
        <p:nvGrpSpPr>
          <p:cNvPr id="92" name="Group 85">
            <a:extLst>
              <a:ext uri="{FF2B5EF4-FFF2-40B4-BE49-F238E27FC236}">
                <a16:creationId xmlns:a16="http://schemas.microsoft.com/office/drawing/2014/main" id="{21027461-2FF1-4FC3-8738-B38A556CCE64}"/>
              </a:ext>
            </a:extLst>
          </p:cNvPr>
          <p:cNvGrpSpPr/>
          <p:nvPr/>
        </p:nvGrpSpPr>
        <p:grpSpPr>
          <a:xfrm>
            <a:off x="5337406" y="4783494"/>
            <a:ext cx="361031" cy="361031"/>
            <a:chOff x="7703426" y="9969660"/>
            <a:chExt cx="361031" cy="361031"/>
          </a:xfrm>
        </p:grpSpPr>
        <p:sp>
          <p:nvSpPr>
            <p:cNvPr id="93" name="Oval 276">
              <a:extLst>
                <a:ext uri="{FF2B5EF4-FFF2-40B4-BE49-F238E27FC236}">
                  <a16:creationId xmlns:a16="http://schemas.microsoft.com/office/drawing/2014/main" id="{00835C9C-EB97-4F57-8937-B5AEFE5A7494}"/>
                </a:ext>
              </a:extLst>
            </p:cNvPr>
            <p:cNvSpPr/>
            <p:nvPr/>
          </p:nvSpPr>
          <p:spPr>
            <a:xfrm flipV="1">
              <a:off x="7703426" y="9969660"/>
              <a:ext cx="361031" cy="361031"/>
            </a:xfrm>
            <a:prstGeom prst="ellipse">
              <a:avLst/>
            </a:prstGeom>
            <a:solidFill>
              <a:sysClr val="window" lastClr="FFFFFF"/>
            </a:solidFill>
            <a:ln w="12700" cap="flat" cmpd="sng" algn="ctr">
              <a:noFill/>
              <a:prstDash val="solid"/>
              <a:miter lim="800000"/>
            </a:ln>
            <a:effectLst>
              <a:outerShdw blurRad="215900" sx="104000" sy="104000" algn="ctr" rotWithShape="0">
                <a:prstClr val="black">
                  <a:alpha val="19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Gill Sans MT" panose="020B0502020104020203" pitchFamily="34" charset="0"/>
                <a:cs typeface="+mn-cs"/>
              </a:endParaRPr>
            </a:p>
          </p:txBody>
        </p:sp>
        <p:sp>
          <p:nvSpPr>
            <p:cNvPr id="94" name="Freeform 69">
              <a:extLst>
                <a:ext uri="{FF2B5EF4-FFF2-40B4-BE49-F238E27FC236}">
                  <a16:creationId xmlns:a16="http://schemas.microsoft.com/office/drawing/2014/main" id="{E245CEAA-971F-4E2E-86D4-4AE789C6CAB2}"/>
                </a:ext>
              </a:extLst>
            </p:cNvPr>
            <p:cNvSpPr>
              <a:spLocks noEditPoints="1"/>
            </p:cNvSpPr>
            <p:nvPr/>
          </p:nvSpPr>
          <p:spPr bwMode="auto">
            <a:xfrm>
              <a:off x="7777535" y="10043306"/>
              <a:ext cx="212812" cy="213738"/>
            </a:xfrm>
            <a:custGeom>
              <a:avLst/>
              <a:gdLst>
                <a:gd name="T0" fmla="*/ 83 w 97"/>
                <a:gd name="T1" fmla="*/ 41 h 97"/>
                <a:gd name="T2" fmla="*/ 79 w 97"/>
                <a:gd name="T3" fmla="*/ 31 h 97"/>
                <a:gd name="T4" fmla="*/ 94 w 97"/>
                <a:gd name="T5" fmla="*/ 2 h 97"/>
                <a:gd name="T6" fmla="*/ 71 w 97"/>
                <a:gd name="T7" fmla="*/ 21 h 97"/>
                <a:gd name="T8" fmla="*/ 56 w 97"/>
                <a:gd name="T9" fmla="*/ 14 h 97"/>
                <a:gd name="T10" fmla="*/ 54 w 97"/>
                <a:gd name="T11" fmla="*/ 1 h 97"/>
                <a:gd name="T12" fmla="*/ 40 w 97"/>
                <a:gd name="T13" fmla="*/ 3 h 97"/>
                <a:gd name="T14" fmla="*/ 31 w 97"/>
                <a:gd name="T15" fmla="*/ 18 h 97"/>
                <a:gd name="T16" fmla="*/ 20 w 97"/>
                <a:gd name="T17" fmla="*/ 9 h 97"/>
                <a:gd name="T18" fmla="*/ 8 w 97"/>
                <a:gd name="T19" fmla="*/ 22 h 97"/>
                <a:gd name="T20" fmla="*/ 17 w 97"/>
                <a:gd name="T21" fmla="*/ 32 h 97"/>
                <a:gd name="T22" fmla="*/ 2 w 97"/>
                <a:gd name="T23" fmla="*/ 41 h 97"/>
                <a:gd name="T24" fmla="*/ 0 w 97"/>
                <a:gd name="T25" fmla="*/ 55 h 97"/>
                <a:gd name="T26" fmla="*/ 13 w 97"/>
                <a:gd name="T27" fmla="*/ 57 h 97"/>
                <a:gd name="T28" fmla="*/ 8 w 97"/>
                <a:gd name="T29" fmla="*/ 74 h 97"/>
                <a:gd name="T30" fmla="*/ 8 w 97"/>
                <a:gd name="T31" fmla="*/ 77 h 97"/>
                <a:gd name="T32" fmla="*/ 23 w 97"/>
                <a:gd name="T33" fmla="*/ 89 h 97"/>
                <a:gd name="T34" fmla="*/ 40 w 97"/>
                <a:gd name="T35" fmla="*/ 84 h 97"/>
                <a:gd name="T36" fmla="*/ 42 w 97"/>
                <a:gd name="T37" fmla="*/ 97 h 97"/>
                <a:gd name="T38" fmla="*/ 56 w 97"/>
                <a:gd name="T39" fmla="*/ 95 h 97"/>
                <a:gd name="T40" fmla="*/ 65 w 97"/>
                <a:gd name="T41" fmla="*/ 80 h 97"/>
                <a:gd name="T42" fmla="*/ 76 w 97"/>
                <a:gd name="T43" fmla="*/ 89 h 97"/>
                <a:gd name="T44" fmla="*/ 88 w 97"/>
                <a:gd name="T45" fmla="*/ 74 h 97"/>
                <a:gd name="T46" fmla="*/ 83 w 97"/>
                <a:gd name="T47" fmla="*/ 57 h 97"/>
                <a:gd name="T48" fmla="*/ 96 w 97"/>
                <a:gd name="T49" fmla="*/ 55 h 97"/>
                <a:gd name="T50" fmla="*/ 94 w 97"/>
                <a:gd name="T51" fmla="*/ 41 h 97"/>
                <a:gd name="T52" fmla="*/ 49 w 97"/>
                <a:gd name="T53" fmla="*/ 60 h 97"/>
                <a:gd name="T54" fmla="*/ 48 w 97"/>
                <a:gd name="T55" fmla="*/ 60 h 97"/>
                <a:gd name="T56" fmla="*/ 30 w 97"/>
                <a:gd name="T57" fmla="*/ 39 h 97"/>
                <a:gd name="T58" fmla="*/ 49 w 97"/>
                <a:gd name="T59" fmla="*/ 56 h 97"/>
                <a:gd name="T60" fmla="*/ 91 w 97"/>
                <a:gd name="T61" fmla="*/ 5 h 97"/>
                <a:gd name="T62" fmla="*/ 51 w 97"/>
                <a:gd name="T63" fmla="*/ 6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7" h="97">
                  <a:moveTo>
                    <a:pt x="94" y="41"/>
                  </a:moveTo>
                  <a:cubicBezTo>
                    <a:pt x="83" y="41"/>
                    <a:pt x="83" y="41"/>
                    <a:pt x="83" y="41"/>
                  </a:cubicBezTo>
                  <a:cubicBezTo>
                    <a:pt x="82" y="39"/>
                    <a:pt x="82" y="37"/>
                    <a:pt x="81" y="35"/>
                  </a:cubicBezTo>
                  <a:cubicBezTo>
                    <a:pt x="80" y="34"/>
                    <a:pt x="79" y="32"/>
                    <a:pt x="79" y="31"/>
                  </a:cubicBezTo>
                  <a:cubicBezTo>
                    <a:pt x="95" y="11"/>
                    <a:pt x="95" y="11"/>
                    <a:pt x="95" y="11"/>
                  </a:cubicBezTo>
                  <a:cubicBezTo>
                    <a:pt x="97" y="8"/>
                    <a:pt x="96" y="4"/>
                    <a:pt x="94" y="2"/>
                  </a:cubicBezTo>
                  <a:cubicBezTo>
                    <a:pt x="91" y="0"/>
                    <a:pt x="87" y="1"/>
                    <a:pt x="85" y="3"/>
                  </a:cubicBezTo>
                  <a:cubicBezTo>
                    <a:pt x="71" y="21"/>
                    <a:pt x="71" y="21"/>
                    <a:pt x="71" y="21"/>
                  </a:cubicBezTo>
                  <a:cubicBezTo>
                    <a:pt x="70" y="20"/>
                    <a:pt x="68" y="19"/>
                    <a:pt x="67" y="18"/>
                  </a:cubicBezTo>
                  <a:cubicBezTo>
                    <a:pt x="64" y="17"/>
                    <a:pt x="60" y="15"/>
                    <a:pt x="56" y="14"/>
                  </a:cubicBezTo>
                  <a:cubicBezTo>
                    <a:pt x="56" y="3"/>
                    <a:pt x="56" y="3"/>
                    <a:pt x="56" y="3"/>
                  </a:cubicBezTo>
                  <a:cubicBezTo>
                    <a:pt x="56" y="2"/>
                    <a:pt x="55" y="1"/>
                    <a:pt x="54" y="1"/>
                  </a:cubicBezTo>
                  <a:cubicBezTo>
                    <a:pt x="42" y="1"/>
                    <a:pt x="42" y="1"/>
                    <a:pt x="42" y="1"/>
                  </a:cubicBezTo>
                  <a:cubicBezTo>
                    <a:pt x="41" y="1"/>
                    <a:pt x="40" y="2"/>
                    <a:pt x="40" y="3"/>
                  </a:cubicBezTo>
                  <a:cubicBezTo>
                    <a:pt x="40" y="14"/>
                    <a:pt x="40" y="14"/>
                    <a:pt x="40" y="14"/>
                  </a:cubicBezTo>
                  <a:cubicBezTo>
                    <a:pt x="37" y="15"/>
                    <a:pt x="33" y="16"/>
                    <a:pt x="31" y="18"/>
                  </a:cubicBezTo>
                  <a:cubicBezTo>
                    <a:pt x="23" y="9"/>
                    <a:pt x="23" y="9"/>
                    <a:pt x="23" y="9"/>
                  </a:cubicBezTo>
                  <a:cubicBezTo>
                    <a:pt x="22" y="9"/>
                    <a:pt x="20" y="9"/>
                    <a:pt x="20" y="9"/>
                  </a:cubicBezTo>
                  <a:cubicBezTo>
                    <a:pt x="8" y="21"/>
                    <a:pt x="8" y="21"/>
                    <a:pt x="8" y="21"/>
                  </a:cubicBezTo>
                  <a:cubicBezTo>
                    <a:pt x="8" y="21"/>
                    <a:pt x="8" y="22"/>
                    <a:pt x="8" y="22"/>
                  </a:cubicBezTo>
                  <a:cubicBezTo>
                    <a:pt x="8" y="23"/>
                    <a:pt x="8" y="23"/>
                    <a:pt x="8" y="24"/>
                  </a:cubicBezTo>
                  <a:cubicBezTo>
                    <a:pt x="17" y="32"/>
                    <a:pt x="17" y="32"/>
                    <a:pt x="17" y="32"/>
                  </a:cubicBezTo>
                  <a:cubicBezTo>
                    <a:pt x="15" y="34"/>
                    <a:pt x="14" y="38"/>
                    <a:pt x="13" y="41"/>
                  </a:cubicBezTo>
                  <a:cubicBezTo>
                    <a:pt x="2" y="41"/>
                    <a:pt x="2" y="41"/>
                    <a:pt x="2" y="41"/>
                  </a:cubicBezTo>
                  <a:cubicBezTo>
                    <a:pt x="1" y="41"/>
                    <a:pt x="0" y="42"/>
                    <a:pt x="0" y="43"/>
                  </a:cubicBezTo>
                  <a:cubicBezTo>
                    <a:pt x="0" y="55"/>
                    <a:pt x="0" y="55"/>
                    <a:pt x="0" y="55"/>
                  </a:cubicBezTo>
                  <a:cubicBezTo>
                    <a:pt x="0" y="56"/>
                    <a:pt x="1" y="57"/>
                    <a:pt x="2" y="57"/>
                  </a:cubicBezTo>
                  <a:cubicBezTo>
                    <a:pt x="13" y="57"/>
                    <a:pt x="13" y="57"/>
                    <a:pt x="13" y="57"/>
                  </a:cubicBezTo>
                  <a:cubicBezTo>
                    <a:pt x="14" y="60"/>
                    <a:pt x="15" y="64"/>
                    <a:pt x="17" y="66"/>
                  </a:cubicBezTo>
                  <a:cubicBezTo>
                    <a:pt x="8" y="74"/>
                    <a:pt x="8" y="74"/>
                    <a:pt x="8" y="74"/>
                  </a:cubicBezTo>
                  <a:cubicBezTo>
                    <a:pt x="8" y="75"/>
                    <a:pt x="8" y="75"/>
                    <a:pt x="8" y="76"/>
                  </a:cubicBezTo>
                  <a:cubicBezTo>
                    <a:pt x="8" y="76"/>
                    <a:pt x="8" y="77"/>
                    <a:pt x="8" y="77"/>
                  </a:cubicBezTo>
                  <a:cubicBezTo>
                    <a:pt x="20" y="89"/>
                    <a:pt x="20" y="89"/>
                    <a:pt x="20" y="89"/>
                  </a:cubicBezTo>
                  <a:cubicBezTo>
                    <a:pt x="20" y="89"/>
                    <a:pt x="22" y="89"/>
                    <a:pt x="23" y="89"/>
                  </a:cubicBezTo>
                  <a:cubicBezTo>
                    <a:pt x="31" y="80"/>
                    <a:pt x="31" y="80"/>
                    <a:pt x="31" y="80"/>
                  </a:cubicBezTo>
                  <a:cubicBezTo>
                    <a:pt x="33" y="82"/>
                    <a:pt x="37" y="83"/>
                    <a:pt x="40" y="84"/>
                  </a:cubicBezTo>
                  <a:cubicBezTo>
                    <a:pt x="40" y="95"/>
                    <a:pt x="40" y="95"/>
                    <a:pt x="40" y="95"/>
                  </a:cubicBezTo>
                  <a:cubicBezTo>
                    <a:pt x="40" y="96"/>
                    <a:pt x="41" y="97"/>
                    <a:pt x="42" y="97"/>
                  </a:cubicBezTo>
                  <a:cubicBezTo>
                    <a:pt x="54" y="97"/>
                    <a:pt x="54" y="97"/>
                    <a:pt x="54" y="97"/>
                  </a:cubicBezTo>
                  <a:cubicBezTo>
                    <a:pt x="55" y="97"/>
                    <a:pt x="56" y="96"/>
                    <a:pt x="56" y="95"/>
                  </a:cubicBezTo>
                  <a:cubicBezTo>
                    <a:pt x="56" y="84"/>
                    <a:pt x="56" y="84"/>
                    <a:pt x="56" y="84"/>
                  </a:cubicBezTo>
                  <a:cubicBezTo>
                    <a:pt x="59" y="83"/>
                    <a:pt x="63" y="82"/>
                    <a:pt x="65" y="80"/>
                  </a:cubicBezTo>
                  <a:cubicBezTo>
                    <a:pt x="73" y="89"/>
                    <a:pt x="73" y="89"/>
                    <a:pt x="73" y="89"/>
                  </a:cubicBezTo>
                  <a:cubicBezTo>
                    <a:pt x="74" y="89"/>
                    <a:pt x="76" y="89"/>
                    <a:pt x="76" y="89"/>
                  </a:cubicBezTo>
                  <a:cubicBezTo>
                    <a:pt x="88" y="77"/>
                    <a:pt x="88" y="77"/>
                    <a:pt x="88" y="77"/>
                  </a:cubicBezTo>
                  <a:cubicBezTo>
                    <a:pt x="88" y="77"/>
                    <a:pt x="88" y="75"/>
                    <a:pt x="88" y="74"/>
                  </a:cubicBezTo>
                  <a:cubicBezTo>
                    <a:pt x="79" y="66"/>
                    <a:pt x="79" y="66"/>
                    <a:pt x="79" y="66"/>
                  </a:cubicBezTo>
                  <a:cubicBezTo>
                    <a:pt x="81" y="64"/>
                    <a:pt x="82" y="60"/>
                    <a:pt x="83" y="57"/>
                  </a:cubicBezTo>
                  <a:cubicBezTo>
                    <a:pt x="94" y="57"/>
                    <a:pt x="94" y="57"/>
                    <a:pt x="94" y="57"/>
                  </a:cubicBezTo>
                  <a:cubicBezTo>
                    <a:pt x="95" y="57"/>
                    <a:pt x="96" y="56"/>
                    <a:pt x="96" y="55"/>
                  </a:cubicBezTo>
                  <a:cubicBezTo>
                    <a:pt x="96" y="43"/>
                    <a:pt x="96" y="43"/>
                    <a:pt x="96" y="43"/>
                  </a:cubicBezTo>
                  <a:cubicBezTo>
                    <a:pt x="96" y="42"/>
                    <a:pt x="95" y="41"/>
                    <a:pt x="94" y="41"/>
                  </a:cubicBezTo>
                  <a:close/>
                  <a:moveTo>
                    <a:pt x="51" y="60"/>
                  </a:moveTo>
                  <a:cubicBezTo>
                    <a:pt x="50" y="60"/>
                    <a:pt x="50" y="60"/>
                    <a:pt x="49" y="60"/>
                  </a:cubicBezTo>
                  <a:cubicBezTo>
                    <a:pt x="49" y="61"/>
                    <a:pt x="49" y="61"/>
                    <a:pt x="49" y="61"/>
                  </a:cubicBezTo>
                  <a:cubicBezTo>
                    <a:pt x="49" y="61"/>
                    <a:pt x="48" y="60"/>
                    <a:pt x="48" y="60"/>
                  </a:cubicBezTo>
                  <a:cubicBezTo>
                    <a:pt x="30" y="42"/>
                    <a:pt x="30" y="42"/>
                    <a:pt x="30" y="42"/>
                  </a:cubicBezTo>
                  <a:cubicBezTo>
                    <a:pt x="29" y="41"/>
                    <a:pt x="29" y="40"/>
                    <a:pt x="30" y="39"/>
                  </a:cubicBezTo>
                  <a:cubicBezTo>
                    <a:pt x="31" y="38"/>
                    <a:pt x="32" y="38"/>
                    <a:pt x="33" y="39"/>
                  </a:cubicBezTo>
                  <a:cubicBezTo>
                    <a:pt x="49" y="56"/>
                    <a:pt x="49" y="56"/>
                    <a:pt x="49" y="56"/>
                  </a:cubicBezTo>
                  <a:cubicBezTo>
                    <a:pt x="88" y="6"/>
                    <a:pt x="88" y="6"/>
                    <a:pt x="88" y="6"/>
                  </a:cubicBezTo>
                  <a:cubicBezTo>
                    <a:pt x="89" y="5"/>
                    <a:pt x="90" y="5"/>
                    <a:pt x="91" y="5"/>
                  </a:cubicBezTo>
                  <a:cubicBezTo>
                    <a:pt x="92" y="6"/>
                    <a:pt x="92" y="7"/>
                    <a:pt x="92" y="8"/>
                  </a:cubicBezTo>
                  <a:lnTo>
                    <a:pt x="51" y="60"/>
                  </a:lnTo>
                  <a:close/>
                </a:path>
              </a:pathLst>
            </a:custGeom>
            <a:gradFill flip="none" rotWithShape="1">
              <a:gsLst>
                <a:gs pos="100000">
                  <a:schemeClr val="accent1"/>
                </a:gs>
                <a:gs pos="0">
                  <a:schemeClr val="accent1"/>
                </a:gs>
              </a:gsLst>
              <a:lin ang="270000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Arial"/>
                <a:cs typeface="+mn-cs"/>
              </a:endParaRPr>
            </a:p>
          </p:txBody>
        </p:sp>
      </p:grpSp>
      <p:grpSp>
        <p:nvGrpSpPr>
          <p:cNvPr id="95" name="Group 95">
            <a:extLst>
              <a:ext uri="{FF2B5EF4-FFF2-40B4-BE49-F238E27FC236}">
                <a16:creationId xmlns:a16="http://schemas.microsoft.com/office/drawing/2014/main" id="{41B84273-53D2-46FD-88DF-5779A67BA628}"/>
              </a:ext>
            </a:extLst>
          </p:cNvPr>
          <p:cNvGrpSpPr/>
          <p:nvPr/>
        </p:nvGrpSpPr>
        <p:grpSpPr>
          <a:xfrm>
            <a:off x="4246777" y="3944851"/>
            <a:ext cx="361031" cy="361031"/>
            <a:chOff x="8712072" y="9270295"/>
            <a:chExt cx="361031" cy="361031"/>
          </a:xfrm>
        </p:grpSpPr>
        <p:sp>
          <p:nvSpPr>
            <p:cNvPr id="96" name="Oval 279">
              <a:extLst>
                <a:ext uri="{FF2B5EF4-FFF2-40B4-BE49-F238E27FC236}">
                  <a16:creationId xmlns:a16="http://schemas.microsoft.com/office/drawing/2014/main" id="{2C80D663-8A22-44A1-9146-6A9FC1D0E8C5}"/>
                </a:ext>
              </a:extLst>
            </p:cNvPr>
            <p:cNvSpPr/>
            <p:nvPr/>
          </p:nvSpPr>
          <p:spPr>
            <a:xfrm flipV="1">
              <a:off x="8712072" y="9270295"/>
              <a:ext cx="361031" cy="361031"/>
            </a:xfrm>
            <a:prstGeom prst="ellipse">
              <a:avLst/>
            </a:prstGeom>
            <a:solidFill>
              <a:sysClr val="window" lastClr="FFFFFF"/>
            </a:solidFill>
            <a:ln w="12700" cap="flat" cmpd="sng" algn="ctr">
              <a:noFill/>
              <a:prstDash val="solid"/>
              <a:miter lim="800000"/>
            </a:ln>
            <a:effectLst>
              <a:outerShdw blurRad="215900" sx="104000" sy="104000" algn="ctr" rotWithShape="0">
                <a:prstClr val="black">
                  <a:alpha val="19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cs typeface="+mn-cs"/>
              </a:endParaRPr>
            </a:p>
          </p:txBody>
        </p:sp>
        <p:grpSp>
          <p:nvGrpSpPr>
            <p:cNvPr id="97" name="Group 318">
              <a:extLst>
                <a:ext uri="{FF2B5EF4-FFF2-40B4-BE49-F238E27FC236}">
                  <a16:creationId xmlns:a16="http://schemas.microsoft.com/office/drawing/2014/main" id="{128D86A5-4DE9-4DC6-866A-BAD9E52B9116}"/>
                </a:ext>
              </a:extLst>
            </p:cNvPr>
            <p:cNvGrpSpPr/>
            <p:nvPr/>
          </p:nvGrpSpPr>
          <p:grpSpPr>
            <a:xfrm>
              <a:off x="8791292" y="9353697"/>
              <a:ext cx="202590" cy="194226"/>
              <a:chOff x="4119563" y="2901951"/>
              <a:chExt cx="346075" cy="331788"/>
            </a:xfrm>
            <a:gradFill>
              <a:gsLst>
                <a:gs pos="100000">
                  <a:srgbClr val="0098DB"/>
                </a:gs>
                <a:gs pos="0">
                  <a:srgbClr val="00497A"/>
                </a:gs>
              </a:gsLst>
              <a:lin ang="2700000" scaled="1"/>
            </a:gradFill>
          </p:grpSpPr>
          <p:sp>
            <p:nvSpPr>
              <p:cNvPr id="98" name="Freeform 146">
                <a:extLst>
                  <a:ext uri="{FF2B5EF4-FFF2-40B4-BE49-F238E27FC236}">
                    <a16:creationId xmlns:a16="http://schemas.microsoft.com/office/drawing/2014/main" id="{B2E6CAB7-F0FF-4CDA-B7CE-FF03541F4C0C}"/>
                  </a:ext>
                </a:extLst>
              </p:cNvPr>
              <p:cNvSpPr>
                <a:spLocks/>
              </p:cNvSpPr>
              <p:nvPr/>
            </p:nvSpPr>
            <p:spPr bwMode="auto">
              <a:xfrm>
                <a:off x="4360863" y="3052763"/>
                <a:ext cx="104775" cy="150813"/>
              </a:xfrm>
              <a:custGeom>
                <a:avLst/>
                <a:gdLst>
                  <a:gd name="T0" fmla="*/ 17 w 28"/>
                  <a:gd name="T1" fmla="*/ 22 h 40"/>
                  <a:gd name="T2" fmla="*/ 22 w 28"/>
                  <a:gd name="T3" fmla="*/ 12 h 40"/>
                  <a:gd name="T4" fmla="*/ 10 w 28"/>
                  <a:gd name="T5" fmla="*/ 0 h 40"/>
                  <a:gd name="T6" fmla="*/ 2 w 28"/>
                  <a:gd name="T7" fmla="*/ 3 h 40"/>
                  <a:gd name="T8" fmla="*/ 2 w 28"/>
                  <a:gd name="T9" fmla="*/ 8 h 40"/>
                  <a:gd name="T10" fmla="*/ 0 w 28"/>
                  <a:gd name="T11" fmla="*/ 18 h 40"/>
                  <a:gd name="T12" fmla="*/ 3 w 28"/>
                  <a:gd name="T13" fmla="*/ 22 h 40"/>
                  <a:gd name="T14" fmla="*/ 0 w 28"/>
                  <a:gd name="T15" fmla="*/ 23 h 40"/>
                  <a:gd name="T16" fmla="*/ 10 w 28"/>
                  <a:gd name="T17" fmla="*/ 40 h 40"/>
                  <a:gd name="T18" fmla="*/ 26 w 28"/>
                  <a:gd name="T19" fmla="*/ 40 h 40"/>
                  <a:gd name="T20" fmla="*/ 28 w 28"/>
                  <a:gd name="T21" fmla="*/ 38 h 40"/>
                  <a:gd name="T22" fmla="*/ 17 w 28"/>
                  <a:gd name="T23"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 h="40">
                    <a:moveTo>
                      <a:pt x="17" y="22"/>
                    </a:moveTo>
                    <a:cubicBezTo>
                      <a:pt x="20" y="19"/>
                      <a:pt x="22" y="16"/>
                      <a:pt x="22" y="12"/>
                    </a:cubicBezTo>
                    <a:cubicBezTo>
                      <a:pt x="22" y="5"/>
                      <a:pt x="17" y="0"/>
                      <a:pt x="10" y="0"/>
                    </a:cubicBezTo>
                    <a:cubicBezTo>
                      <a:pt x="7" y="0"/>
                      <a:pt x="4" y="1"/>
                      <a:pt x="2" y="3"/>
                    </a:cubicBezTo>
                    <a:cubicBezTo>
                      <a:pt x="2" y="5"/>
                      <a:pt x="2" y="7"/>
                      <a:pt x="2" y="8"/>
                    </a:cubicBezTo>
                    <a:cubicBezTo>
                      <a:pt x="2" y="12"/>
                      <a:pt x="1" y="15"/>
                      <a:pt x="0" y="18"/>
                    </a:cubicBezTo>
                    <a:cubicBezTo>
                      <a:pt x="1" y="19"/>
                      <a:pt x="2" y="21"/>
                      <a:pt x="3" y="22"/>
                    </a:cubicBezTo>
                    <a:cubicBezTo>
                      <a:pt x="2" y="22"/>
                      <a:pt x="1" y="23"/>
                      <a:pt x="0" y="23"/>
                    </a:cubicBezTo>
                    <a:cubicBezTo>
                      <a:pt x="5" y="27"/>
                      <a:pt x="9" y="33"/>
                      <a:pt x="10" y="40"/>
                    </a:cubicBezTo>
                    <a:cubicBezTo>
                      <a:pt x="26" y="40"/>
                      <a:pt x="26" y="40"/>
                      <a:pt x="26" y="40"/>
                    </a:cubicBezTo>
                    <a:cubicBezTo>
                      <a:pt x="27" y="40"/>
                      <a:pt x="28" y="39"/>
                      <a:pt x="28" y="38"/>
                    </a:cubicBezTo>
                    <a:cubicBezTo>
                      <a:pt x="28" y="31"/>
                      <a:pt x="24" y="24"/>
                      <a:pt x="17"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Arial"/>
                  <a:cs typeface="+mn-cs"/>
                </a:endParaRPr>
              </a:p>
            </p:txBody>
          </p:sp>
          <p:sp>
            <p:nvSpPr>
              <p:cNvPr id="99" name="Freeform 147">
                <a:extLst>
                  <a:ext uri="{FF2B5EF4-FFF2-40B4-BE49-F238E27FC236}">
                    <a16:creationId xmlns:a16="http://schemas.microsoft.com/office/drawing/2014/main" id="{9144E3A0-37FB-4ADB-BB7D-23DC59EBDB66}"/>
                  </a:ext>
                </a:extLst>
              </p:cNvPr>
              <p:cNvSpPr>
                <a:spLocks/>
              </p:cNvSpPr>
              <p:nvPr/>
            </p:nvSpPr>
            <p:spPr bwMode="auto">
              <a:xfrm>
                <a:off x="4119563" y="3052763"/>
                <a:ext cx="106363" cy="150813"/>
              </a:xfrm>
              <a:custGeom>
                <a:avLst/>
                <a:gdLst>
                  <a:gd name="T0" fmla="*/ 28 w 28"/>
                  <a:gd name="T1" fmla="*/ 23 h 40"/>
                  <a:gd name="T2" fmla="*/ 25 w 28"/>
                  <a:gd name="T3" fmla="*/ 22 h 40"/>
                  <a:gd name="T4" fmla="*/ 28 w 28"/>
                  <a:gd name="T5" fmla="*/ 18 h 40"/>
                  <a:gd name="T6" fmla="*/ 26 w 28"/>
                  <a:gd name="T7" fmla="*/ 8 h 40"/>
                  <a:gd name="T8" fmla="*/ 26 w 28"/>
                  <a:gd name="T9" fmla="*/ 3 h 40"/>
                  <a:gd name="T10" fmla="*/ 18 w 28"/>
                  <a:gd name="T11" fmla="*/ 0 h 40"/>
                  <a:gd name="T12" fmla="*/ 6 w 28"/>
                  <a:gd name="T13" fmla="*/ 12 h 40"/>
                  <a:gd name="T14" fmla="*/ 11 w 28"/>
                  <a:gd name="T15" fmla="*/ 22 h 40"/>
                  <a:gd name="T16" fmla="*/ 0 w 28"/>
                  <a:gd name="T17" fmla="*/ 38 h 40"/>
                  <a:gd name="T18" fmla="*/ 2 w 28"/>
                  <a:gd name="T19" fmla="*/ 40 h 40"/>
                  <a:gd name="T20" fmla="*/ 18 w 28"/>
                  <a:gd name="T21" fmla="*/ 40 h 40"/>
                  <a:gd name="T22" fmla="*/ 28 w 28"/>
                  <a:gd name="T23" fmla="*/ 2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 h="40">
                    <a:moveTo>
                      <a:pt x="28" y="23"/>
                    </a:moveTo>
                    <a:cubicBezTo>
                      <a:pt x="27" y="23"/>
                      <a:pt x="26" y="22"/>
                      <a:pt x="25" y="22"/>
                    </a:cubicBezTo>
                    <a:cubicBezTo>
                      <a:pt x="26" y="21"/>
                      <a:pt x="27" y="19"/>
                      <a:pt x="28" y="18"/>
                    </a:cubicBezTo>
                    <a:cubicBezTo>
                      <a:pt x="27" y="15"/>
                      <a:pt x="26" y="12"/>
                      <a:pt x="26" y="8"/>
                    </a:cubicBezTo>
                    <a:cubicBezTo>
                      <a:pt x="26" y="7"/>
                      <a:pt x="26" y="5"/>
                      <a:pt x="26" y="3"/>
                    </a:cubicBezTo>
                    <a:cubicBezTo>
                      <a:pt x="24" y="1"/>
                      <a:pt x="21" y="0"/>
                      <a:pt x="18" y="0"/>
                    </a:cubicBezTo>
                    <a:cubicBezTo>
                      <a:pt x="11" y="0"/>
                      <a:pt x="6" y="5"/>
                      <a:pt x="6" y="12"/>
                    </a:cubicBezTo>
                    <a:cubicBezTo>
                      <a:pt x="6" y="16"/>
                      <a:pt x="8" y="19"/>
                      <a:pt x="11" y="22"/>
                    </a:cubicBezTo>
                    <a:cubicBezTo>
                      <a:pt x="4" y="24"/>
                      <a:pt x="0" y="31"/>
                      <a:pt x="0" y="38"/>
                    </a:cubicBezTo>
                    <a:cubicBezTo>
                      <a:pt x="0" y="39"/>
                      <a:pt x="1" y="40"/>
                      <a:pt x="2" y="40"/>
                    </a:cubicBezTo>
                    <a:cubicBezTo>
                      <a:pt x="18" y="40"/>
                      <a:pt x="18" y="40"/>
                      <a:pt x="18" y="40"/>
                    </a:cubicBezTo>
                    <a:cubicBezTo>
                      <a:pt x="19" y="33"/>
                      <a:pt x="23" y="27"/>
                      <a:pt x="28"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Arial"/>
                  <a:cs typeface="+mn-cs"/>
                </a:endParaRPr>
              </a:p>
            </p:txBody>
          </p:sp>
          <p:sp>
            <p:nvSpPr>
              <p:cNvPr id="100" name="Freeform 148">
                <a:extLst>
                  <a:ext uri="{FF2B5EF4-FFF2-40B4-BE49-F238E27FC236}">
                    <a16:creationId xmlns:a16="http://schemas.microsoft.com/office/drawing/2014/main" id="{31AD59DD-13DC-4E88-B4D6-B022CF373235}"/>
                  </a:ext>
                </a:extLst>
              </p:cNvPr>
              <p:cNvSpPr>
                <a:spLocks/>
              </p:cNvSpPr>
              <p:nvPr/>
            </p:nvSpPr>
            <p:spPr bwMode="auto">
              <a:xfrm>
                <a:off x="4206875" y="2978151"/>
                <a:ext cx="173038" cy="52388"/>
              </a:xfrm>
              <a:custGeom>
                <a:avLst/>
                <a:gdLst>
                  <a:gd name="T0" fmla="*/ 2 w 46"/>
                  <a:gd name="T1" fmla="*/ 14 h 14"/>
                  <a:gd name="T2" fmla="*/ 1 w 46"/>
                  <a:gd name="T3" fmla="*/ 14 h 14"/>
                  <a:gd name="T4" fmla="*/ 1 w 46"/>
                  <a:gd name="T5" fmla="*/ 11 h 14"/>
                  <a:gd name="T6" fmla="*/ 23 w 46"/>
                  <a:gd name="T7" fmla="*/ 0 h 14"/>
                  <a:gd name="T8" fmla="*/ 45 w 46"/>
                  <a:gd name="T9" fmla="*/ 11 h 14"/>
                  <a:gd name="T10" fmla="*/ 45 w 46"/>
                  <a:gd name="T11" fmla="*/ 14 h 14"/>
                  <a:gd name="T12" fmla="*/ 42 w 46"/>
                  <a:gd name="T13" fmla="*/ 13 h 14"/>
                  <a:gd name="T14" fmla="*/ 23 w 46"/>
                  <a:gd name="T15" fmla="*/ 4 h 14"/>
                  <a:gd name="T16" fmla="*/ 4 w 46"/>
                  <a:gd name="T17" fmla="*/ 13 h 14"/>
                  <a:gd name="T18" fmla="*/ 2 w 46"/>
                  <a:gd name="T19"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6" h="14">
                    <a:moveTo>
                      <a:pt x="2" y="14"/>
                    </a:moveTo>
                    <a:cubicBezTo>
                      <a:pt x="2" y="14"/>
                      <a:pt x="2" y="14"/>
                      <a:pt x="1" y="14"/>
                    </a:cubicBezTo>
                    <a:cubicBezTo>
                      <a:pt x="0" y="13"/>
                      <a:pt x="0" y="12"/>
                      <a:pt x="1" y="11"/>
                    </a:cubicBezTo>
                    <a:cubicBezTo>
                      <a:pt x="6" y="4"/>
                      <a:pt x="14" y="0"/>
                      <a:pt x="23" y="0"/>
                    </a:cubicBezTo>
                    <a:cubicBezTo>
                      <a:pt x="32" y="0"/>
                      <a:pt x="40" y="4"/>
                      <a:pt x="45" y="11"/>
                    </a:cubicBezTo>
                    <a:cubicBezTo>
                      <a:pt x="46" y="12"/>
                      <a:pt x="46" y="13"/>
                      <a:pt x="45" y="14"/>
                    </a:cubicBezTo>
                    <a:cubicBezTo>
                      <a:pt x="44" y="14"/>
                      <a:pt x="43" y="14"/>
                      <a:pt x="42" y="13"/>
                    </a:cubicBezTo>
                    <a:cubicBezTo>
                      <a:pt x="37" y="7"/>
                      <a:pt x="30" y="4"/>
                      <a:pt x="23" y="4"/>
                    </a:cubicBezTo>
                    <a:cubicBezTo>
                      <a:pt x="16" y="4"/>
                      <a:pt x="9" y="7"/>
                      <a:pt x="4" y="13"/>
                    </a:cubicBezTo>
                    <a:cubicBezTo>
                      <a:pt x="4" y="14"/>
                      <a:pt x="3" y="14"/>
                      <a:pt x="2"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Arial"/>
                  <a:cs typeface="+mn-cs"/>
                </a:endParaRPr>
              </a:p>
            </p:txBody>
          </p:sp>
          <p:sp>
            <p:nvSpPr>
              <p:cNvPr id="101" name="Freeform 149">
                <a:extLst>
                  <a:ext uri="{FF2B5EF4-FFF2-40B4-BE49-F238E27FC236}">
                    <a16:creationId xmlns:a16="http://schemas.microsoft.com/office/drawing/2014/main" id="{66FD02C4-AE33-4545-BAB3-477FAF8F117C}"/>
                  </a:ext>
                </a:extLst>
              </p:cNvPr>
              <p:cNvSpPr>
                <a:spLocks/>
              </p:cNvSpPr>
              <p:nvPr/>
            </p:nvSpPr>
            <p:spPr bwMode="auto">
              <a:xfrm>
                <a:off x="4179888" y="2940051"/>
                <a:ext cx="225425" cy="68263"/>
              </a:xfrm>
              <a:custGeom>
                <a:avLst/>
                <a:gdLst>
                  <a:gd name="T0" fmla="*/ 2 w 60"/>
                  <a:gd name="T1" fmla="*/ 17 h 18"/>
                  <a:gd name="T2" fmla="*/ 1 w 60"/>
                  <a:gd name="T3" fmla="*/ 17 h 18"/>
                  <a:gd name="T4" fmla="*/ 0 w 60"/>
                  <a:gd name="T5" fmla="*/ 14 h 18"/>
                  <a:gd name="T6" fmla="*/ 30 w 60"/>
                  <a:gd name="T7" fmla="*/ 0 h 18"/>
                  <a:gd name="T8" fmla="*/ 60 w 60"/>
                  <a:gd name="T9" fmla="*/ 14 h 18"/>
                  <a:gd name="T10" fmla="*/ 59 w 60"/>
                  <a:gd name="T11" fmla="*/ 17 h 18"/>
                  <a:gd name="T12" fmla="*/ 56 w 60"/>
                  <a:gd name="T13" fmla="*/ 17 h 18"/>
                  <a:gd name="T14" fmla="*/ 30 w 60"/>
                  <a:gd name="T15" fmla="*/ 4 h 18"/>
                  <a:gd name="T16" fmla="*/ 4 w 60"/>
                  <a:gd name="T17" fmla="*/ 17 h 18"/>
                  <a:gd name="T18" fmla="*/ 2 w 60"/>
                  <a:gd name="T19" fmla="*/ 17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18">
                    <a:moveTo>
                      <a:pt x="2" y="17"/>
                    </a:moveTo>
                    <a:cubicBezTo>
                      <a:pt x="2" y="17"/>
                      <a:pt x="1" y="17"/>
                      <a:pt x="1" y="17"/>
                    </a:cubicBezTo>
                    <a:cubicBezTo>
                      <a:pt x="0" y="16"/>
                      <a:pt x="0" y="15"/>
                      <a:pt x="0" y="14"/>
                    </a:cubicBezTo>
                    <a:cubicBezTo>
                      <a:pt x="8" y="5"/>
                      <a:pt x="18" y="0"/>
                      <a:pt x="30" y="0"/>
                    </a:cubicBezTo>
                    <a:cubicBezTo>
                      <a:pt x="42" y="0"/>
                      <a:pt x="52" y="5"/>
                      <a:pt x="60" y="14"/>
                    </a:cubicBezTo>
                    <a:cubicBezTo>
                      <a:pt x="60" y="15"/>
                      <a:pt x="60" y="16"/>
                      <a:pt x="59" y="17"/>
                    </a:cubicBezTo>
                    <a:cubicBezTo>
                      <a:pt x="58" y="18"/>
                      <a:pt x="57" y="17"/>
                      <a:pt x="56" y="17"/>
                    </a:cubicBezTo>
                    <a:cubicBezTo>
                      <a:pt x="50" y="9"/>
                      <a:pt x="40" y="4"/>
                      <a:pt x="30" y="4"/>
                    </a:cubicBezTo>
                    <a:cubicBezTo>
                      <a:pt x="20" y="4"/>
                      <a:pt x="10" y="9"/>
                      <a:pt x="4" y="17"/>
                    </a:cubicBezTo>
                    <a:cubicBezTo>
                      <a:pt x="3" y="17"/>
                      <a:pt x="3" y="17"/>
                      <a:pt x="2"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Arial"/>
                  <a:cs typeface="+mn-cs"/>
                </a:endParaRPr>
              </a:p>
            </p:txBody>
          </p:sp>
          <p:sp>
            <p:nvSpPr>
              <p:cNvPr id="102" name="Freeform 150">
                <a:extLst>
                  <a:ext uri="{FF2B5EF4-FFF2-40B4-BE49-F238E27FC236}">
                    <a16:creationId xmlns:a16="http://schemas.microsoft.com/office/drawing/2014/main" id="{CB7F84E3-F29A-43AB-A1B0-E7605285066B}"/>
                  </a:ext>
                </a:extLst>
              </p:cNvPr>
              <p:cNvSpPr>
                <a:spLocks/>
              </p:cNvSpPr>
              <p:nvPr/>
            </p:nvSpPr>
            <p:spPr bwMode="auto">
              <a:xfrm>
                <a:off x="4149725" y="2901951"/>
                <a:ext cx="285750" cy="84138"/>
              </a:xfrm>
              <a:custGeom>
                <a:avLst/>
                <a:gdLst>
                  <a:gd name="T0" fmla="*/ 74 w 76"/>
                  <a:gd name="T1" fmla="*/ 21 h 22"/>
                  <a:gd name="T2" fmla="*/ 73 w 76"/>
                  <a:gd name="T3" fmla="*/ 21 h 22"/>
                  <a:gd name="T4" fmla="*/ 38 w 76"/>
                  <a:gd name="T5" fmla="*/ 4 h 22"/>
                  <a:gd name="T6" fmla="*/ 4 w 76"/>
                  <a:gd name="T7" fmla="*/ 21 h 22"/>
                  <a:gd name="T8" fmla="*/ 1 w 76"/>
                  <a:gd name="T9" fmla="*/ 21 h 22"/>
                  <a:gd name="T10" fmla="*/ 0 w 76"/>
                  <a:gd name="T11" fmla="*/ 18 h 22"/>
                  <a:gd name="T12" fmla="*/ 38 w 76"/>
                  <a:gd name="T13" fmla="*/ 0 h 22"/>
                  <a:gd name="T14" fmla="*/ 76 w 76"/>
                  <a:gd name="T15" fmla="*/ 18 h 22"/>
                  <a:gd name="T16" fmla="*/ 75 w 76"/>
                  <a:gd name="T17" fmla="*/ 21 h 22"/>
                  <a:gd name="T18" fmla="*/ 74 w 76"/>
                  <a:gd name="T19" fmla="*/ 21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6" h="22">
                    <a:moveTo>
                      <a:pt x="74" y="21"/>
                    </a:moveTo>
                    <a:cubicBezTo>
                      <a:pt x="73" y="21"/>
                      <a:pt x="73" y="21"/>
                      <a:pt x="73" y="21"/>
                    </a:cubicBezTo>
                    <a:cubicBezTo>
                      <a:pt x="64" y="10"/>
                      <a:pt x="52" y="4"/>
                      <a:pt x="38" y="4"/>
                    </a:cubicBezTo>
                    <a:cubicBezTo>
                      <a:pt x="24" y="4"/>
                      <a:pt x="12" y="10"/>
                      <a:pt x="4" y="21"/>
                    </a:cubicBezTo>
                    <a:cubicBezTo>
                      <a:pt x="3" y="21"/>
                      <a:pt x="2" y="22"/>
                      <a:pt x="1" y="21"/>
                    </a:cubicBezTo>
                    <a:cubicBezTo>
                      <a:pt x="0" y="20"/>
                      <a:pt x="0" y="19"/>
                      <a:pt x="0" y="18"/>
                    </a:cubicBezTo>
                    <a:cubicBezTo>
                      <a:pt x="10" y="7"/>
                      <a:pt x="23" y="0"/>
                      <a:pt x="38" y="0"/>
                    </a:cubicBezTo>
                    <a:cubicBezTo>
                      <a:pt x="53" y="0"/>
                      <a:pt x="66" y="7"/>
                      <a:pt x="76" y="18"/>
                    </a:cubicBezTo>
                    <a:cubicBezTo>
                      <a:pt x="76" y="19"/>
                      <a:pt x="76" y="20"/>
                      <a:pt x="75" y="21"/>
                    </a:cubicBezTo>
                    <a:cubicBezTo>
                      <a:pt x="75" y="21"/>
                      <a:pt x="75" y="21"/>
                      <a:pt x="74"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Arial"/>
                  <a:cs typeface="+mn-cs"/>
                </a:endParaRPr>
              </a:p>
            </p:txBody>
          </p:sp>
          <p:sp>
            <p:nvSpPr>
              <p:cNvPr id="103" name="Freeform 151">
                <a:extLst>
                  <a:ext uri="{FF2B5EF4-FFF2-40B4-BE49-F238E27FC236}">
                    <a16:creationId xmlns:a16="http://schemas.microsoft.com/office/drawing/2014/main" id="{24BF36F5-261E-410A-9AB3-0A8FC1FB4C15}"/>
                  </a:ext>
                </a:extLst>
              </p:cNvPr>
              <p:cNvSpPr>
                <a:spLocks/>
              </p:cNvSpPr>
              <p:nvPr/>
            </p:nvSpPr>
            <p:spPr bwMode="auto">
              <a:xfrm>
                <a:off x="4198938" y="3022601"/>
                <a:ext cx="187325" cy="211138"/>
              </a:xfrm>
              <a:custGeom>
                <a:avLst/>
                <a:gdLst>
                  <a:gd name="T0" fmla="*/ 50 w 50"/>
                  <a:gd name="T1" fmla="*/ 53 h 56"/>
                  <a:gd name="T2" fmla="*/ 34 w 50"/>
                  <a:gd name="T3" fmla="*/ 30 h 56"/>
                  <a:gd name="T4" fmla="*/ 41 w 50"/>
                  <a:gd name="T5" fmla="*/ 16 h 56"/>
                  <a:gd name="T6" fmla="*/ 25 w 50"/>
                  <a:gd name="T7" fmla="*/ 0 h 56"/>
                  <a:gd name="T8" fmla="*/ 9 w 50"/>
                  <a:gd name="T9" fmla="*/ 16 h 56"/>
                  <a:gd name="T10" fmla="*/ 16 w 50"/>
                  <a:gd name="T11" fmla="*/ 30 h 56"/>
                  <a:gd name="T12" fmla="*/ 0 w 50"/>
                  <a:gd name="T13" fmla="*/ 54 h 56"/>
                  <a:gd name="T14" fmla="*/ 2 w 50"/>
                  <a:gd name="T15" fmla="*/ 56 h 56"/>
                  <a:gd name="T16" fmla="*/ 48 w 50"/>
                  <a:gd name="T17" fmla="*/ 56 h 56"/>
                  <a:gd name="T18" fmla="*/ 48 w 50"/>
                  <a:gd name="T19" fmla="*/ 56 h 56"/>
                  <a:gd name="T20" fmla="*/ 50 w 50"/>
                  <a:gd name="T21" fmla="*/ 54 h 56"/>
                  <a:gd name="T22" fmla="*/ 50 w 50"/>
                  <a:gd name="T23" fmla="*/ 53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 h="56">
                    <a:moveTo>
                      <a:pt x="50" y="53"/>
                    </a:moveTo>
                    <a:cubicBezTo>
                      <a:pt x="50" y="43"/>
                      <a:pt x="43" y="34"/>
                      <a:pt x="34" y="30"/>
                    </a:cubicBezTo>
                    <a:cubicBezTo>
                      <a:pt x="38" y="28"/>
                      <a:pt x="41" y="22"/>
                      <a:pt x="41" y="16"/>
                    </a:cubicBezTo>
                    <a:cubicBezTo>
                      <a:pt x="41" y="7"/>
                      <a:pt x="34" y="0"/>
                      <a:pt x="25" y="0"/>
                    </a:cubicBezTo>
                    <a:cubicBezTo>
                      <a:pt x="16" y="0"/>
                      <a:pt x="9" y="7"/>
                      <a:pt x="9" y="16"/>
                    </a:cubicBezTo>
                    <a:cubicBezTo>
                      <a:pt x="9" y="22"/>
                      <a:pt x="12" y="28"/>
                      <a:pt x="16" y="30"/>
                    </a:cubicBezTo>
                    <a:cubicBezTo>
                      <a:pt x="7" y="34"/>
                      <a:pt x="0" y="43"/>
                      <a:pt x="0" y="54"/>
                    </a:cubicBezTo>
                    <a:cubicBezTo>
                      <a:pt x="0" y="55"/>
                      <a:pt x="1" y="56"/>
                      <a:pt x="2" y="56"/>
                    </a:cubicBezTo>
                    <a:cubicBezTo>
                      <a:pt x="48" y="56"/>
                      <a:pt x="48" y="56"/>
                      <a:pt x="48" y="56"/>
                    </a:cubicBezTo>
                    <a:cubicBezTo>
                      <a:pt x="48" y="56"/>
                      <a:pt x="48" y="56"/>
                      <a:pt x="48" y="56"/>
                    </a:cubicBezTo>
                    <a:cubicBezTo>
                      <a:pt x="49" y="56"/>
                      <a:pt x="50" y="55"/>
                      <a:pt x="50" y="54"/>
                    </a:cubicBezTo>
                    <a:cubicBezTo>
                      <a:pt x="50" y="54"/>
                      <a:pt x="50" y="54"/>
                      <a:pt x="50" y="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Arial"/>
                  <a:cs typeface="+mn-cs"/>
                </a:endParaRPr>
              </a:p>
            </p:txBody>
          </p:sp>
        </p:grpSp>
      </p:grpSp>
      <p:grpSp>
        <p:nvGrpSpPr>
          <p:cNvPr id="104" name="Group 96">
            <a:extLst>
              <a:ext uri="{FF2B5EF4-FFF2-40B4-BE49-F238E27FC236}">
                <a16:creationId xmlns:a16="http://schemas.microsoft.com/office/drawing/2014/main" id="{EEF39D25-BD55-49AE-A7D9-D75781243D21}"/>
              </a:ext>
            </a:extLst>
          </p:cNvPr>
          <p:cNvGrpSpPr/>
          <p:nvPr/>
        </p:nvGrpSpPr>
        <p:grpSpPr>
          <a:xfrm>
            <a:off x="4246777" y="2356973"/>
            <a:ext cx="361031" cy="361029"/>
            <a:chOff x="8712072" y="8001004"/>
            <a:chExt cx="361031" cy="361029"/>
          </a:xfrm>
        </p:grpSpPr>
        <p:sp>
          <p:nvSpPr>
            <p:cNvPr id="105" name="Oval 270">
              <a:extLst>
                <a:ext uri="{FF2B5EF4-FFF2-40B4-BE49-F238E27FC236}">
                  <a16:creationId xmlns:a16="http://schemas.microsoft.com/office/drawing/2014/main" id="{4CCDE747-5237-415C-AB74-F59C2353F000}"/>
                </a:ext>
              </a:extLst>
            </p:cNvPr>
            <p:cNvSpPr/>
            <p:nvPr/>
          </p:nvSpPr>
          <p:spPr>
            <a:xfrm>
              <a:off x="8712072" y="8001004"/>
              <a:ext cx="361031" cy="361029"/>
            </a:xfrm>
            <a:prstGeom prst="ellipse">
              <a:avLst/>
            </a:prstGeom>
            <a:solidFill>
              <a:sysClr val="window" lastClr="FFFFFF"/>
            </a:solidFill>
            <a:ln w="12700" cap="flat" cmpd="sng" algn="ctr">
              <a:noFill/>
              <a:prstDash val="solid"/>
              <a:miter lim="800000"/>
            </a:ln>
            <a:effectLst>
              <a:outerShdw blurRad="215900" sx="104000" sy="104000" algn="ctr" rotWithShape="0">
                <a:prstClr val="black">
                  <a:alpha val="19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cs typeface="+mn-cs"/>
              </a:endParaRPr>
            </a:p>
          </p:txBody>
        </p:sp>
        <p:grpSp>
          <p:nvGrpSpPr>
            <p:cNvPr id="106" name="Group 325">
              <a:extLst>
                <a:ext uri="{FF2B5EF4-FFF2-40B4-BE49-F238E27FC236}">
                  <a16:creationId xmlns:a16="http://schemas.microsoft.com/office/drawing/2014/main" id="{DE7FBF2E-77D0-4244-A289-D5ADB70D43C6}"/>
                </a:ext>
              </a:extLst>
            </p:cNvPr>
            <p:cNvGrpSpPr/>
            <p:nvPr/>
          </p:nvGrpSpPr>
          <p:grpSpPr>
            <a:xfrm>
              <a:off x="8788969" y="8076042"/>
              <a:ext cx="207236" cy="210952"/>
              <a:chOff x="8447088" y="3609976"/>
              <a:chExt cx="354013" cy="360362"/>
            </a:xfrm>
            <a:gradFill>
              <a:gsLst>
                <a:gs pos="100000">
                  <a:srgbClr val="0098DB"/>
                </a:gs>
                <a:gs pos="0">
                  <a:srgbClr val="00497A"/>
                </a:gs>
              </a:gsLst>
              <a:lin ang="2700000" scaled="1"/>
            </a:gradFill>
          </p:grpSpPr>
          <p:sp>
            <p:nvSpPr>
              <p:cNvPr id="107" name="Oval 161">
                <a:extLst>
                  <a:ext uri="{FF2B5EF4-FFF2-40B4-BE49-F238E27FC236}">
                    <a16:creationId xmlns:a16="http://schemas.microsoft.com/office/drawing/2014/main" id="{4907CD8D-F87B-4BF5-A687-BF1617E054F3}"/>
                  </a:ext>
                </a:extLst>
              </p:cNvPr>
              <p:cNvSpPr>
                <a:spLocks noChangeArrowheads="1"/>
              </p:cNvSpPr>
              <p:nvPr/>
            </p:nvSpPr>
            <p:spPr bwMode="auto">
              <a:xfrm>
                <a:off x="8477250" y="3609976"/>
                <a:ext cx="120650"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Arial"/>
                  <a:cs typeface="+mn-cs"/>
                </a:endParaRPr>
              </a:p>
            </p:txBody>
          </p:sp>
          <p:sp>
            <p:nvSpPr>
              <p:cNvPr id="108" name="Freeform 162">
                <a:extLst>
                  <a:ext uri="{FF2B5EF4-FFF2-40B4-BE49-F238E27FC236}">
                    <a16:creationId xmlns:a16="http://schemas.microsoft.com/office/drawing/2014/main" id="{1B058B08-3E29-4960-AE16-56E28A541D54}"/>
                  </a:ext>
                </a:extLst>
              </p:cNvPr>
              <p:cNvSpPr>
                <a:spLocks/>
              </p:cNvSpPr>
              <p:nvPr/>
            </p:nvSpPr>
            <p:spPr bwMode="auto">
              <a:xfrm>
                <a:off x="8447088" y="3744913"/>
                <a:ext cx="180975" cy="225425"/>
              </a:xfrm>
              <a:custGeom>
                <a:avLst/>
                <a:gdLst>
                  <a:gd name="T0" fmla="*/ 28 w 48"/>
                  <a:gd name="T1" fmla="*/ 0 h 60"/>
                  <a:gd name="T2" fmla="*/ 30 w 48"/>
                  <a:gd name="T3" fmla="*/ 27 h 60"/>
                  <a:gd name="T4" fmla="*/ 24 w 48"/>
                  <a:gd name="T5" fmla="*/ 33 h 60"/>
                  <a:gd name="T6" fmla="*/ 18 w 48"/>
                  <a:gd name="T7" fmla="*/ 27 h 60"/>
                  <a:gd name="T8" fmla="*/ 20 w 48"/>
                  <a:gd name="T9" fmla="*/ 0 h 60"/>
                  <a:gd name="T10" fmla="*/ 0 w 48"/>
                  <a:gd name="T11" fmla="*/ 0 h 60"/>
                  <a:gd name="T12" fmla="*/ 0 w 48"/>
                  <a:gd name="T13" fmla="*/ 2 h 60"/>
                  <a:gd name="T14" fmla="*/ 14 w 48"/>
                  <a:gd name="T15" fmla="*/ 33 h 60"/>
                  <a:gd name="T16" fmla="*/ 14 w 48"/>
                  <a:gd name="T17" fmla="*/ 60 h 60"/>
                  <a:gd name="T18" fmla="*/ 34 w 48"/>
                  <a:gd name="T19" fmla="*/ 60 h 60"/>
                  <a:gd name="T20" fmla="*/ 34 w 48"/>
                  <a:gd name="T21" fmla="*/ 33 h 60"/>
                  <a:gd name="T22" fmla="*/ 48 w 48"/>
                  <a:gd name="T23" fmla="*/ 2 h 60"/>
                  <a:gd name="T24" fmla="*/ 48 w 48"/>
                  <a:gd name="T25" fmla="*/ 0 h 60"/>
                  <a:gd name="T26" fmla="*/ 28 w 48"/>
                  <a:gd name="T27"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60">
                    <a:moveTo>
                      <a:pt x="28" y="0"/>
                    </a:moveTo>
                    <a:cubicBezTo>
                      <a:pt x="30" y="27"/>
                      <a:pt x="30" y="27"/>
                      <a:pt x="30" y="27"/>
                    </a:cubicBezTo>
                    <a:cubicBezTo>
                      <a:pt x="24" y="33"/>
                      <a:pt x="24" y="33"/>
                      <a:pt x="24" y="33"/>
                    </a:cubicBezTo>
                    <a:cubicBezTo>
                      <a:pt x="18" y="27"/>
                      <a:pt x="18" y="27"/>
                      <a:pt x="18" y="27"/>
                    </a:cubicBezTo>
                    <a:cubicBezTo>
                      <a:pt x="20" y="0"/>
                      <a:pt x="20" y="0"/>
                      <a:pt x="20" y="0"/>
                    </a:cubicBezTo>
                    <a:cubicBezTo>
                      <a:pt x="0" y="0"/>
                      <a:pt x="0" y="0"/>
                      <a:pt x="0" y="0"/>
                    </a:cubicBezTo>
                    <a:cubicBezTo>
                      <a:pt x="0" y="2"/>
                      <a:pt x="0" y="2"/>
                      <a:pt x="0" y="2"/>
                    </a:cubicBezTo>
                    <a:cubicBezTo>
                      <a:pt x="0" y="16"/>
                      <a:pt x="5" y="27"/>
                      <a:pt x="14" y="33"/>
                    </a:cubicBezTo>
                    <a:cubicBezTo>
                      <a:pt x="14" y="60"/>
                      <a:pt x="14" y="60"/>
                      <a:pt x="14" y="60"/>
                    </a:cubicBezTo>
                    <a:cubicBezTo>
                      <a:pt x="34" y="60"/>
                      <a:pt x="34" y="60"/>
                      <a:pt x="34" y="60"/>
                    </a:cubicBezTo>
                    <a:cubicBezTo>
                      <a:pt x="34" y="33"/>
                      <a:pt x="34" y="33"/>
                      <a:pt x="34" y="33"/>
                    </a:cubicBezTo>
                    <a:cubicBezTo>
                      <a:pt x="43" y="27"/>
                      <a:pt x="48" y="16"/>
                      <a:pt x="48" y="2"/>
                    </a:cubicBezTo>
                    <a:cubicBezTo>
                      <a:pt x="48" y="0"/>
                      <a:pt x="48" y="0"/>
                      <a:pt x="48" y="0"/>
                    </a:cubicBezTo>
                    <a:lnTo>
                      <a:pt x="2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Arial"/>
                  <a:cs typeface="+mn-cs"/>
                </a:endParaRPr>
              </a:p>
            </p:txBody>
          </p:sp>
          <p:sp>
            <p:nvSpPr>
              <p:cNvPr id="109" name="Freeform 163">
                <a:extLst>
                  <a:ext uri="{FF2B5EF4-FFF2-40B4-BE49-F238E27FC236}">
                    <a16:creationId xmlns:a16="http://schemas.microsoft.com/office/drawing/2014/main" id="{B9F57584-60B1-42E3-AB0F-794E542556E7}"/>
                  </a:ext>
                </a:extLst>
              </p:cNvPr>
              <p:cNvSpPr>
                <a:spLocks noEditPoints="1"/>
              </p:cNvSpPr>
              <p:nvPr/>
            </p:nvSpPr>
            <p:spPr bwMode="auto">
              <a:xfrm>
                <a:off x="8583613" y="3624263"/>
                <a:ext cx="217488" cy="225425"/>
              </a:xfrm>
              <a:custGeom>
                <a:avLst/>
                <a:gdLst>
                  <a:gd name="T0" fmla="*/ 4 w 58"/>
                  <a:gd name="T1" fmla="*/ 0 h 60"/>
                  <a:gd name="T2" fmla="*/ 8 w 58"/>
                  <a:gd name="T3" fmla="*/ 12 h 60"/>
                  <a:gd name="T4" fmla="*/ 0 w 58"/>
                  <a:gd name="T5" fmla="*/ 28 h 60"/>
                  <a:gd name="T6" fmla="*/ 16 w 58"/>
                  <a:gd name="T7" fmla="*/ 28 h 60"/>
                  <a:gd name="T8" fmla="*/ 16 w 58"/>
                  <a:gd name="T9" fmla="*/ 34 h 60"/>
                  <a:gd name="T10" fmla="*/ 9 w 58"/>
                  <a:gd name="T11" fmla="*/ 60 h 60"/>
                  <a:gd name="T12" fmla="*/ 58 w 58"/>
                  <a:gd name="T13" fmla="*/ 60 h 60"/>
                  <a:gd name="T14" fmla="*/ 58 w 58"/>
                  <a:gd name="T15" fmla="*/ 0 h 60"/>
                  <a:gd name="T16" fmla="*/ 4 w 58"/>
                  <a:gd name="T17" fmla="*/ 0 h 60"/>
                  <a:gd name="T18" fmla="*/ 50 w 58"/>
                  <a:gd name="T19" fmla="*/ 50 h 60"/>
                  <a:gd name="T20" fmla="*/ 48 w 58"/>
                  <a:gd name="T21" fmla="*/ 52 h 60"/>
                  <a:gd name="T22" fmla="*/ 48 w 58"/>
                  <a:gd name="T23" fmla="*/ 52 h 60"/>
                  <a:gd name="T24" fmla="*/ 48 w 58"/>
                  <a:gd name="T25" fmla="*/ 52 h 60"/>
                  <a:gd name="T26" fmla="*/ 24 w 58"/>
                  <a:gd name="T27" fmla="*/ 52 h 60"/>
                  <a:gd name="T28" fmla="*/ 22 w 58"/>
                  <a:gd name="T29" fmla="*/ 50 h 60"/>
                  <a:gd name="T30" fmla="*/ 24 w 58"/>
                  <a:gd name="T31" fmla="*/ 48 h 60"/>
                  <a:gd name="T32" fmla="*/ 30 w 58"/>
                  <a:gd name="T33" fmla="*/ 48 h 60"/>
                  <a:gd name="T34" fmla="*/ 30 w 58"/>
                  <a:gd name="T35" fmla="*/ 34 h 60"/>
                  <a:gd name="T36" fmla="*/ 32 w 58"/>
                  <a:gd name="T37" fmla="*/ 32 h 60"/>
                  <a:gd name="T38" fmla="*/ 34 w 58"/>
                  <a:gd name="T39" fmla="*/ 34 h 60"/>
                  <a:gd name="T40" fmla="*/ 34 w 58"/>
                  <a:gd name="T41" fmla="*/ 48 h 60"/>
                  <a:gd name="T42" fmla="*/ 38 w 58"/>
                  <a:gd name="T43" fmla="*/ 48 h 60"/>
                  <a:gd name="T44" fmla="*/ 38 w 58"/>
                  <a:gd name="T45" fmla="*/ 26 h 60"/>
                  <a:gd name="T46" fmla="*/ 40 w 58"/>
                  <a:gd name="T47" fmla="*/ 24 h 60"/>
                  <a:gd name="T48" fmla="*/ 42 w 58"/>
                  <a:gd name="T49" fmla="*/ 26 h 60"/>
                  <a:gd name="T50" fmla="*/ 42 w 58"/>
                  <a:gd name="T51" fmla="*/ 48 h 60"/>
                  <a:gd name="T52" fmla="*/ 46 w 58"/>
                  <a:gd name="T53" fmla="*/ 48 h 60"/>
                  <a:gd name="T54" fmla="*/ 46 w 58"/>
                  <a:gd name="T55" fmla="*/ 14 h 60"/>
                  <a:gd name="T56" fmla="*/ 48 w 58"/>
                  <a:gd name="T57" fmla="*/ 12 h 60"/>
                  <a:gd name="T58" fmla="*/ 50 w 58"/>
                  <a:gd name="T59" fmla="*/ 14 h 60"/>
                  <a:gd name="T60" fmla="*/ 50 w 58"/>
                  <a:gd name="T61" fmla="*/ 5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58" h="60">
                    <a:moveTo>
                      <a:pt x="4" y="0"/>
                    </a:moveTo>
                    <a:cubicBezTo>
                      <a:pt x="7" y="3"/>
                      <a:pt x="8" y="7"/>
                      <a:pt x="8" y="12"/>
                    </a:cubicBezTo>
                    <a:cubicBezTo>
                      <a:pt x="8" y="19"/>
                      <a:pt x="5" y="24"/>
                      <a:pt x="0" y="28"/>
                    </a:cubicBezTo>
                    <a:cubicBezTo>
                      <a:pt x="16" y="28"/>
                      <a:pt x="16" y="28"/>
                      <a:pt x="16" y="28"/>
                    </a:cubicBezTo>
                    <a:cubicBezTo>
                      <a:pt x="16" y="34"/>
                      <a:pt x="16" y="34"/>
                      <a:pt x="16" y="34"/>
                    </a:cubicBezTo>
                    <a:cubicBezTo>
                      <a:pt x="16" y="44"/>
                      <a:pt x="14" y="53"/>
                      <a:pt x="9" y="60"/>
                    </a:cubicBezTo>
                    <a:cubicBezTo>
                      <a:pt x="58" y="60"/>
                      <a:pt x="58" y="60"/>
                      <a:pt x="58" y="60"/>
                    </a:cubicBezTo>
                    <a:cubicBezTo>
                      <a:pt x="58" y="0"/>
                      <a:pt x="58" y="0"/>
                      <a:pt x="58" y="0"/>
                    </a:cubicBezTo>
                    <a:lnTo>
                      <a:pt x="4" y="0"/>
                    </a:lnTo>
                    <a:close/>
                    <a:moveTo>
                      <a:pt x="50" y="50"/>
                    </a:moveTo>
                    <a:cubicBezTo>
                      <a:pt x="50" y="51"/>
                      <a:pt x="49" y="52"/>
                      <a:pt x="48" y="52"/>
                    </a:cubicBezTo>
                    <a:cubicBezTo>
                      <a:pt x="48" y="52"/>
                      <a:pt x="48" y="52"/>
                      <a:pt x="48" y="52"/>
                    </a:cubicBezTo>
                    <a:cubicBezTo>
                      <a:pt x="48" y="52"/>
                      <a:pt x="48" y="52"/>
                      <a:pt x="48" y="52"/>
                    </a:cubicBezTo>
                    <a:cubicBezTo>
                      <a:pt x="24" y="52"/>
                      <a:pt x="24" y="52"/>
                      <a:pt x="24" y="52"/>
                    </a:cubicBezTo>
                    <a:cubicBezTo>
                      <a:pt x="23" y="52"/>
                      <a:pt x="22" y="51"/>
                      <a:pt x="22" y="50"/>
                    </a:cubicBezTo>
                    <a:cubicBezTo>
                      <a:pt x="22" y="49"/>
                      <a:pt x="23" y="48"/>
                      <a:pt x="24" y="48"/>
                    </a:cubicBezTo>
                    <a:cubicBezTo>
                      <a:pt x="30" y="48"/>
                      <a:pt x="30" y="48"/>
                      <a:pt x="30" y="48"/>
                    </a:cubicBezTo>
                    <a:cubicBezTo>
                      <a:pt x="30" y="34"/>
                      <a:pt x="30" y="34"/>
                      <a:pt x="30" y="34"/>
                    </a:cubicBezTo>
                    <a:cubicBezTo>
                      <a:pt x="30" y="33"/>
                      <a:pt x="31" y="32"/>
                      <a:pt x="32" y="32"/>
                    </a:cubicBezTo>
                    <a:cubicBezTo>
                      <a:pt x="33" y="32"/>
                      <a:pt x="34" y="33"/>
                      <a:pt x="34" y="34"/>
                    </a:cubicBezTo>
                    <a:cubicBezTo>
                      <a:pt x="34" y="48"/>
                      <a:pt x="34" y="48"/>
                      <a:pt x="34" y="48"/>
                    </a:cubicBezTo>
                    <a:cubicBezTo>
                      <a:pt x="38" y="48"/>
                      <a:pt x="38" y="48"/>
                      <a:pt x="38" y="48"/>
                    </a:cubicBezTo>
                    <a:cubicBezTo>
                      <a:pt x="38" y="26"/>
                      <a:pt x="38" y="26"/>
                      <a:pt x="38" y="26"/>
                    </a:cubicBezTo>
                    <a:cubicBezTo>
                      <a:pt x="38" y="25"/>
                      <a:pt x="39" y="24"/>
                      <a:pt x="40" y="24"/>
                    </a:cubicBezTo>
                    <a:cubicBezTo>
                      <a:pt x="41" y="24"/>
                      <a:pt x="42" y="25"/>
                      <a:pt x="42" y="26"/>
                    </a:cubicBezTo>
                    <a:cubicBezTo>
                      <a:pt x="42" y="48"/>
                      <a:pt x="42" y="48"/>
                      <a:pt x="42" y="48"/>
                    </a:cubicBezTo>
                    <a:cubicBezTo>
                      <a:pt x="46" y="48"/>
                      <a:pt x="46" y="48"/>
                      <a:pt x="46" y="48"/>
                    </a:cubicBezTo>
                    <a:cubicBezTo>
                      <a:pt x="46" y="14"/>
                      <a:pt x="46" y="14"/>
                      <a:pt x="46" y="14"/>
                    </a:cubicBezTo>
                    <a:cubicBezTo>
                      <a:pt x="46" y="13"/>
                      <a:pt x="47" y="12"/>
                      <a:pt x="48" y="12"/>
                    </a:cubicBezTo>
                    <a:cubicBezTo>
                      <a:pt x="49" y="12"/>
                      <a:pt x="50" y="13"/>
                      <a:pt x="50" y="14"/>
                    </a:cubicBezTo>
                    <a:lnTo>
                      <a:pt x="50" y="5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Arial"/>
                  <a:cs typeface="+mn-cs"/>
                </a:endParaRPr>
              </a:p>
            </p:txBody>
          </p:sp>
        </p:grpSp>
      </p:grpSp>
    </p:spTree>
    <p:extLst>
      <p:ext uri="{BB962C8B-B14F-4D97-AF65-F5344CB8AC3E}">
        <p14:creationId xmlns:p14="http://schemas.microsoft.com/office/powerpoint/2010/main" val="1533662037"/>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7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lowchart: Stored Data 372">
            <a:extLst>
              <a:ext uri="{FF2B5EF4-FFF2-40B4-BE49-F238E27FC236}">
                <a16:creationId xmlns:a16="http://schemas.microsoft.com/office/drawing/2014/main" id="{B276BE5E-01BA-4311-A2A4-980E96488405}"/>
              </a:ext>
            </a:extLst>
          </p:cNvPr>
          <p:cNvSpPr/>
          <p:nvPr/>
        </p:nvSpPr>
        <p:spPr>
          <a:xfrm flipH="1">
            <a:off x="1010155" y="1878471"/>
            <a:ext cx="9042508" cy="3120213"/>
          </a:xfrm>
          <a:prstGeom prst="flowChartOnlineStorage">
            <a:avLst/>
          </a:prstGeom>
          <a:gradFill flip="none" rotWithShape="1">
            <a:gsLst>
              <a:gs pos="70000">
                <a:schemeClr val="bg1">
                  <a:alpha val="0"/>
                </a:schemeClr>
              </a:gs>
              <a:gs pos="0">
                <a:schemeClr val="accent1"/>
              </a:gs>
            </a:gsLst>
            <a:lin ang="18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FFFFFF"/>
              </a:solidFill>
              <a:effectLst/>
              <a:uLnTx/>
              <a:uFillTx/>
              <a:latin typeface="Arial"/>
              <a:cs typeface="+mn-cs"/>
            </a:endParaRPr>
          </a:p>
        </p:txBody>
      </p:sp>
      <p:sp>
        <p:nvSpPr>
          <p:cNvPr id="3" name="Rounded Rectangle 5">
            <a:extLst>
              <a:ext uri="{FF2B5EF4-FFF2-40B4-BE49-F238E27FC236}">
                <a16:creationId xmlns:a16="http://schemas.microsoft.com/office/drawing/2014/main" id="{D7000734-775C-4A15-9EFA-F1E1C2A12232}"/>
              </a:ext>
            </a:extLst>
          </p:cNvPr>
          <p:cNvSpPr/>
          <p:nvPr/>
        </p:nvSpPr>
        <p:spPr>
          <a:xfrm>
            <a:off x="1991598" y="3310672"/>
            <a:ext cx="7918733" cy="236656"/>
          </a:xfrm>
          <a:prstGeom prst="roundRect">
            <a:avLst>
              <a:gd name="adj" fmla="val 50000"/>
            </a:avLst>
          </a:prstGeom>
          <a:solidFill>
            <a:schemeClr val="bg1">
              <a:lumMod val="95000"/>
            </a:scheme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cs typeface="+mn-cs"/>
            </a:endParaRPr>
          </a:p>
        </p:txBody>
      </p:sp>
      <p:sp>
        <p:nvSpPr>
          <p:cNvPr id="4" name="Freeform: Shape 182">
            <a:extLst>
              <a:ext uri="{FF2B5EF4-FFF2-40B4-BE49-F238E27FC236}">
                <a16:creationId xmlns:a16="http://schemas.microsoft.com/office/drawing/2014/main" id="{E77F6A57-2D04-42FF-94E7-75D6CA193C48}"/>
              </a:ext>
            </a:extLst>
          </p:cNvPr>
          <p:cNvSpPr/>
          <p:nvPr/>
        </p:nvSpPr>
        <p:spPr>
          <a:xfrm flipH="1">
            <a:off x="8146294" y="1865470"/>
            <a:ext cx="3364425" cy="3127060"/>
          </a:xfrm>
          <a:custGeom>
            <a:avLst/>
            <a:gdLst>
              <a:gd name="connsiteX0" fmla="*/ 1342446 w 2454518"/>
              <a:gd name="connsiteY0" fmla="*/ 0 h 2281356"/>
              <a:gd name="connsiteX1" fmla="*/ 2451972 w 2454518"/>
              <a:gd name="connsiteY1" fmla="*/ 0 h 2281356"/>
              <a:gd name="connsiteX2" fmla="*/ 2451972 w 2454518"/>
              <a:gd name="connsiteY2" fmla="*/ 952133 h 2281356"/>
              <a:gd name="connsiteX3" fmla="*/ 2454518 w 2454518"/>
              <a:gd name="connsiteY3" fmla="*/ 952133 h 2281356"/>
              <a:gd name="connsiteX4" fmla="*/ 2454518 w 2454518"/>
              <a:gd name="connsiteY4" fmla="*/ 1329222 h 2281356"/>
              <a:gd name="connsiteX5" fmla="*/ 2451931 w 2454518"/>
              <a:gd name="connsiteY5" fmla="*/ 1329222 h 2281356"/>
              <a:gd name="connsiteX6" fmla="*/ 2451931 w 2454518"/>
              <a:gd name="connsiteY6" fmla="*/ 2281356 h 2281356"/>
              <a:gd name="connsiteX7" fmla="*/ 1689364 w 2454518"/>
              <a:gd name="connsiteY7" fmla="*/ 2281356 h 2281356"/>
              <a:gd name="connsiteX8" fmla="*/ 735184 w 2454518"/>
              <a:gd name="connsiteY8" fmla="*/ 2010239 h 2281356"/>
              <a:gd name="connsiteX9" fmla="*/ 65970 w 2454518"/>
              <a:gd name="connsiteY9" fmla="*/ 1278044 h 2281356"/>
              <a:gd name="connsiteX10" fmla="*/ 0 w 2454518"/>
              <a:gd name="connsiteY10" fmla="*/ 1146070 h 22813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54518" h="2281356">
                <a:moveTo>
                  <a:pt x="1342446" y="0"/>
                </a:moveTo>
                <a:lnTo>
                  <a:pt x="2451972" y="0"/>
                </a:lnTo>
                <a:lnTo>
                  <a:pt x="2451972" y="952133"/>
                </a:lnTo>
                <a:lnTo>
                  <a:pt x="2454518" y="952133"/>
                </a:lnTo>
                <a:lnTo>
                  <a:pt x="2454518" y="1329222"/>
                </a:lnTo>
                <a:lnTo>
                  <a:pt x="2451931" y="1329222"/>
                </a:lnTo>
                <a:lnTo>
                  <a:pt x="2451931" y="2281356"/>
                </a:lnTo>
                <a:lnTo>
                  <a:pt x="1689364" y="2281356"/>
                </a:lnTo>
                <a:cubicBezTo>
                  <a:pt x="1352083" y="2281356"/>
                  <a:pt x="1022073" y="2187620"/>
                  <a:pt x="735184" y="2010239"/>
                </a:cubicBezTo>
                <a:cubicBezTo>
                  <a:pt x="448215" y="1832948"/>
                  <a:pt x="216830" y="1579726"/>
                  <a:pt x="65970" y="1278044"/>
                </a:cubicBezTo>
                <a:lnTo>
                  <a:pt x="0" y="1146070"/>
                </a:lnTo>
                <a:close/>
              </a:path>
            </a:pathLst>
          </a:custGeom>
          <a:gradFill flip="none" rotWithShape="1">
            <a:gsLst>
              <a:gs pos="100000">
                <a:schemeClr val="accent1"/>
              </a:gs>
              <a:gs pos="33000">
                <a:schemeClr val="accent1"/>
              </a:gs>
            </a:gsLst>
            <a:lin ang="1800000" scaled="0"/>
            <a:tileRect/>
          </a:gradFill>
          <a:ln w="12700" cap="flat" cmpd="sng" algn="ctr">
            <a:noFill/>
            <a:prstDash val="solid"/>
            <a:miter lim="800000"/>
          </a:ln>
          <a:effectLst>
            <a:outerShdw blurRad="215900" sx="104000" sy="104000" algn="ctr" rotWithShape="0">
              <a:prstClr val="black">
                <a:alpha val="19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0" cap="none" spc="0" normalizeH="0" baseline="0" noProof="0">
              <a:ln>
                <a:noFill/>
              </a:ln>
              <a:solidFill>
                <a:prstClr val="white"/>
              </a:solidFill>
              <a:effectLst/>
              <a:uLnTx/>
              <a:uFillTx/>
              <a:latin typeface="Arial"/>
              <a:cs typeface="+mn-cs"/>
            </a:endParaRPr>
          </a:p>
        </p:txBody>
      </p:sp>
      <p:sp>
        <p:nvSpPr>
          <p:cNvPr id="5" name="Freeform: Shape 183">
            <a:extLst>
              <a:ext uri="{FF2B5EF4-FFF2-40B4-BE49-F238E27FC236}">
                <a16:creationId xmlns:a16="http://schemas.microsoft.com/office/drawing/2014/main" id="{22DB15C3-F69D-44C5-8DF6-4F6616058DDF}"/>
              </a:ext>
            </a:extLst>
          </p:cNvPr>
          <p:cNvSpPr/>
          <p:nvPr/>
        </p:nvSpPr>
        <p:spPr>
          <a:xfrm flipH="1">
            <a:off x="1010155" y="2636806"/>
            <a:ext cx="1159167" cy="1584385"/>
          </a:xfrm>
          <a:custGeom>
            <a:avLst/>
            <a:gdLst>
              <a:gd name="connsiteX0" fmla="*/ 1167791 w 1544920"/>
              <a:gd name="connsiteY0" fmla="*/ 385078 h 2111650"/>
              <a:gd name="connsiteX1" fmla="*/ 368053 w 1544920"/>
              <a:gd name="connsiteY1" fmla="*/ 1055831 h 2111650"/>
              <a:gd name="connsiteX2" fmla="*/ 1167791 w 1544920"/>
              <a:gd name="connsiteY2" fmla="*/ 1726535 h 2111650"/>
              <a:gd name="connsiteX3" fmla="*/ 1040137 w 1544920"/>
              <a:gd name="connsiteY3" fmla="*/ 0 h 2111650"/>
              <a:gd name="connsiteX4" fmla="*/ 1544920 w 1544920"/>
              <a:gd name="connsiteY4" fmla="*/ 0 h 2111650"/>
              <a:gd name="connsiteX5" fmla="*/ 1544920 w 1544920"/>
              <a:gd name="connsiteY5" fmla="*/ 2111650 h 2111650"/>
              <a:gd name="connsiteX6" fmla="*/ 1040137 w 1544920"/>
              <a:gd name="connsiteY6" fmla="*/ 2111650 h 2111650"/>
              <a:gd name="connsiteX7" fmla="*/ 6060 w 1544920"/>
              <a:gd name="connsiteY7" fmla="*/ 1244370 h 2111650"/>
              <a:gd name="connsiteX8" fmla="*/ 0 w 1544920"/>
              <a:gd name="connsiteY8" fmla="*/ 1244370 h 2111650"/>
              <a:gd name="connsiteX9" fmla="*/ 0 w 1544920"/>
              <a:gd name="connsiteY9" fmla="*/ 867281 h 2111650"/>
              <a:gd name="connsiteX10" fmla="*/ 6060 w 1544920"/>
              <a:gd name="connsiteY10" fmla="*/ 867281 h 2111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44920" h="2111650">
                <a:moveTo>
                  <a:pt x="1167791" y="385078"/>
                </a:moveTo>
                <a:lnTo>
                  <a:pt x="368053" y="1055831"/>
                </a:lnTo>
                <a:lnTo>
                  <a:pt x="1167791" y="1726535"/>
                </a:lnTo>
                <a:close/>
                <a:moveTo>
                  <a:pt x="1040137" y="0"/>
                </a:moveTo>
                <a:lnTo>
                  <a:pt x="1544920" y="0"/>
                </a:lnTo>
                <a:lnTo>
                  <a:pt x="1544920" y="2111650"/>
                </a:lnTo>
                <a:lnTo>
                  <a:pt x="1040137" y="2111650"/>
                </a:lnTo>
                <a:lnTo>
                  <a:pt x="6060" y="1244370"/>
                </a:lnTo>
                <a:lnTo>
                  <a:pt x="0" y="1244370"/>
                </a:lnTo>
                <a:lnTo>
                  <a:pt x="0" y="867281"/>
                </a:lnTo>
                <a:lnTo>
                  <a:pt x="6060" y="867281"/>
                </a:lnTo>
                <a:close/>
              </a:path>
            </a:pathLst>
          </a:custGeom>
          <a:gradFill flip="none" rotWithShape="1">
            <a:gsLst>
              <a:gs pos="100000">
                <a:schemeClr val="accent1"/>
              </a:gs>
              <a:gs pos="33000">
                <a:schemeClr val="accent1"/>
              </a:gs>
            </a:gsLst>
            <a:lin ang="1800000" scaled="0"/>
            <a:tileRect/>
          </a:gradFill>
          <a:ln w="12700" cap="flat" cmpd="sng" algn="ctr">
            <a:noFill/>
            <a:prstDash val="solid"/>
            <a:miter lim="800000"/>
          </a:ln>
          <a:effectLst>
            <a:outerShdw blurRad="215900" sx="104000" sy="104000" algn="ctr" rotWithShape="0">
              <a:prstClr val="black">
                <a:alpha val="19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0" cap="none" spc="0" normalizeH="0" baseline="0" noProof="0">
              <a:ln>
                <a:noFill/>
              </a:ln>
              <a:solidFill>
                <a:prstClr val="white"/>
              </a:solidFill>
              <a:effectLst/>
              <a:uLnTx/>
              <a:uFillTx/>
              <a:latin typeface="Arial"/>
              <a:cs typeface="+mn-cs"/>
            </a:endParaRPr>
          </a:p>
        </p:txBody>
      </p:sp>
      <p:sp>
        <p:nvSpPr>
          <p:cNvPr id="6" name="Rectangle 115">
            <a:extLst>
              <a:ext uri="{FF2B5EF4-FFF2-40B4-BE49-F238E27FC236}">
                <a16:creationId xmlns:a16="http://schemas.microsoft.com/office/drawing/2014/main" id="{CA540624-9F19-43E8-8FB4-D861600B3AE3}"/>
              </a:ext>
            </a:extLst>
          </p:cNvPr>
          <p:cNvSpPr/>
          <p:nvPr/>
        </p:nvSpPr>
        <p:spPr>
          <a:xfrm>
            <a:off x="7164600" y="2521749"/>
            <a:ext cx="645251" cy="540762"/>
          </a:xfrm>
          <a:prstGeom prst="rect">
            <a:avLst/>
          </a:prstGeom>
          <a:gradFill flip="none" rotWithShape="1">
            <a:gsLst>
              <a:gs pos="100000">
                <a:schemeClr val="accent1"/>
              </a:gs>
              <a:gs pos="0">
                <a:schemeClr val="accent1"/>
              </a:gs>
            </a:gsLst>
            <a:lin ang="2700000" scaled="1"/>
            <a:tileRect/>
          </a:gradFill>
          <a:ln w="12700" cap="flat" cmpd="sng" algn="ctr">
            <a:noFill/>
            <a:prstDash val="solid"/>
            <a:miter lim="800000"/>
          </a:ln>
          <a:effectLst>
            <a:outerShdw blurRad="215900" sx="104000" sy="104000" algn="ctr" rotWithShape="0">
              <a:prstClr val="black">
                <a:alpha val="19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a:cs typeface="+mn-cs"/>
            </a:endParaRPr>
          </a:p>
        </p:txBody>
      </p:sp>
      <p:sp>
        <p:nvSpPr>
          <p:cNvPr id="7" name="Rectangle 116">
            <a:extLst>
              <a:ext uri="{FF2B5EF4-FFF2-40B4-BE49-F238E27FC236}">
                <a16:creationId xmlns:a16="http://schemas.microsoft.com/office/drawing/2014/main" id="{E517249C-A4B3-441E-A8BD-28D0C8016F66}"/>
              </a:ext>
            </a:extLst>
          </p:cNvPr>
          <p:cNvSpPr/>
          <p:nvPr/>
        </p:nvSpPr>
        <p:spPr>
          <a:xfrm>
            <a:off x="7156829" y="3165025"/>
            <a:ext cx="649994" cy="540762"/>
          </a:xfrm>
          <a:prstGeom prst="rect">
            <a:avLst/>
          </a:prstGeom>
          <a:gradFill flip="none" rotWithShape="1">
            <a:gsLst>
              <a:gs pos="100000">
                <a:schemeClr val="accent1"/>
              </a:gs>
              <a:gs pos="33000">
                <a:schemeClr val="accent1"/>
              </a:gs>
            </a:gsLst>
            <a:lin ang="1800000" scaled="0"/>
            <a:tileRect/>
          </a:gradFill>
          <a:ln w="12700" cap="flat" cmpd="sng" algn="ctr">
            <a:noFill/>
            <a:prstDash val="solid"/>
            <a:miter lim="800000"/>
          </a:ln>
          <a:effectLst>
            <a:outerShdw blurRad="215900" sx="104000" sy="104000" algn="ctr" rotWithShape="0">
              <a:prstClr val="black">
                <a:alpha val="19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a:cs typeface="+mn-cs"/>
            </a:endParaRPr>
          </a:p>
        </p:txBody>
      </p:sp>
      <p:sp>
        <p:nvSpPr>
          <p:cNvPr id="8" name="Rectangle 117">
            <a:extLst>
              <a:ext uri="{FF2B5EF4-FFF2-40B4-BE49-F238E27FC236}">
                <a16:creationId xmlns:a16="http://schemas.microsoft.com/office/drawing/2014/main" id="{688DB2CC-631C-4561-A3EC-CBA365FC6E5A}"/>
              </a:ext>
            </a:extLst>
          </p:cNvPr>
          <p:cNvSpPr/>
          <p:nvPr/>
        </p:nvSpPr>
        <p:spPr>
          <a:xfrm>
            <a:off x="7164600" y="3809598"/>
            <a:ext cx="645251" cy="540762"/>
          </a:xfrm>
          <a:prstGeom prst="rect">
            <a:avLst/>
          </a:prstGeom>
          <a:gradFill flip="none" rotWithShape="1">
            <a:gsLst>
              <a:gs pos="100000">
                <a:schemeClr val="accent1"/>
              </a:gs>
              <a:gs pos="0">
                <a:schemeClr val="accent1"/>
              </a:gs>
            </a:gsLst>
            <a:lin ang="2700000" scaled="1"/>
            <a:tileRect/>
          </a:gradFill>
          <a:ln w="12700" cap="flat" cmpd="sng" algn="ctr">
            <a:noFill/>
            <a:prstDash val="solid"/>
            <a:miter lim="800000"/>
          </a:ln>
          <a:effectLst>
            <a:outerShdw blurRad="215900" sx="104000" sy="104000" algn="ctr" rotWithShape="0">
              <a:prstClr val="black">
                <a:alpha val="19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a:cs typeface="+mn-cs"/>
            </a:endParaRPr>
          </a:p>
        </p:txBody>
      </p:sp>
      <p:sp>
        <p:nvSpPr>
          <p:cNvPr id="9" name="Rectangle 118">
            <a:extLst>
              <a:ext uri="{FF2B5EF4-FFF2-40B4-BE49-F238E27FC236}">
                <a16:creationId xmlns:a16="http://schemas.microsoft.com/office/drawing/2014/main" id="{8E08C1AB-82F5-4107-B09E-6257D19AAB14}"/>
              </a:ext>
            </a:extLst>
          </p:cNvPr>
          <p:cNvSpPr/>
          <p:nvPr/>
        </p:nvSpPr>
        <p:spPr>
          <a:xfrm>
            <a:off x="5196030" y="2074652"/>
            <a:ext cx="1220343" cy="759837"/>
          </a:xfrm>
          <a:prstGeom prst="rect">
            <a:avLst/>
          </a:prstGeom>
          <a:gradFill flip="none" rotWithShape="1">
            <a:gsLst>
              <a:gs pos="100000">
                <a:schemeClr val="accent1"/>
              </a:gs>
              <a:gs pos="0">
                <a:schemeClr val="accent1"/>
              </a:gs>
            </a:gsLst>
            <a:lin ang="2700000" scaled="1"/>
            <a:tileRect/>
          </a:gradFill>
          <a:ln w="12700" cap="flat" cmpd="sng" algn="ctr">
            <a:noFill/>
            <a:prstDash val="solid"/>
            <a:miter lim="800000"/>
          </a:ln>
          <a:effectLst>
            <a:outerShdw blurRad="215900" sx="104000" sy="104000" algn="ctr" rotWithShape="0">
              <a:prstClr val="black">
                <a:alpha val="19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a:cs typeface="+mn-cs"/>
            </a:endParaRPr>
          </a:p>
        </p:txBody>
      </p:sp>
      <p:sp>
        <p:nvSpPr>
          <p:cNvPr id="10" name="Rectangle 121">
            <a:extLst>
              <a:ext uri="{FF2B5EF4-FFF2-40B4-BE49-F238E27FC236}">
                <a16:creationId xmlns:a16="http://schemas.microsoft.com/office/drawing/2014/main" id="{23490B9B-23C8-4F74-9845-2584DA0818D4}"/>
              </a:ext>
            </a:extLst>
          </p:cNvPr>
          <p:cNvSpPr/>
          <p:nvPr/>
        </p:nvSpPr>
        <p:spPr>
          <a:xfrm>
            <a:off x="5196030" y="3055487"/>
            <a:ext cx="1220343" cy="759837"/>
          </a:xfrm>
          <a:prstGeom prst="rect">
            <a:avLst/>
          </a:prstGeom>
          <a:gradFill flip="none" rotWithShape="1">
            <a:gsLst>
              <a:gs pos="100000">
                <a:schemeClr val="accent1"/>
              </a:gs>
              <a:gs pos="33000">
                <a:schemeClr val="accent1"/>
              </a:gs>
            </a:gsLst>
            <a:lin ang="1800000" scaled="0"/>
            <a:tileRect/>
          </a:gradFill>
          <a:ln w="12700" cap="flat" cmpd="sng" algn="ctr">
            <a:noFill/>
            <a:prstDash val="solid"/>
            <a:miter lim="800000"/>
          </a:ln>
          <a:effectLst>
            <a:outerShdw blurRad="215900" sx="104000" sy="104000" algn="ctr" rotWithShape="0">
              <a:prstClr val="black">
                <a:alpha val="19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a:cs typeface="+mn-cs"/>
            </a:endParaRPr>
          </a:p>
        </p:txBody>
      </p:sp>
      <p:sp>
        <p:nvSpPr>
          <p:cNvPr id="11" name="Rectangle 122">
            <a:extLst>
              <a:ext uri="{FF2B5EF4-FFF2-40B4-BE49-F238E27FC236}">
                <a16:creationId xmlns:a16="http://schemas.microsoft.com/office/drawing/2014/main" id="{A34AFD82-4927-402F-8402-B5AD1FC9523A}"/>
              </a:ext>
            </a:extLst>
          </p:cNvPr>
          <p:cNvSpPr/>
          <p:nvPr/>
        </p:nvSpPr>
        <p:spPr>
          <a:xfrm>
            <a:off x="5196030" y="4032611"/>
            <a:ext cx="1220343" cy="759837"/>
          </a:xfrm>
          <a:prstGeom prst="rect">
            <a:avLst/>
          </a:prstGeom>
          <a:gradFill flip="none" rotWithShape="1">
            <a:gsLst>
              <a:gs pos="100000">
                <a:schemeClr val="accent1"/>
              </a:gs>
              <a:gs pos="0">
                <a:schemeClr val="accent1"/>
              </a:gs>
            </a:gsLst>
            <a:lin ang="2700000" scaled="1"/>
            <a:tileRect/>
          </a:gradFill>
          <a:ln w="12700" cap="flat" cmpd="sng" algn="ctr">
            <a:noFill/>
            <a:prstDash val="solid"/>
            <a:miter lim="800000"/>
          </a:ln>
          <a:effectLst>
            <a:outerShdw blurRad="215900" sx="104000" sy="104000" algn="ctr" rotWithShape="0">
              <a:prstClr val="black">
                <a:alpha val="19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a:cs typeface="+mn-cs"/>
            </a:endParaRPr>
          </a:p>
        </p:txBody>
      </p:sp>
      <p:sp>
        <p:nvSpPr>
          <p:cNvPr id="12" name="Trapezoid 123">
            <a:extLst>
              <a:ext uri="{FF2B5EF4-FFF2-40B4-BE49-F238E27FC236}">
                <a16:creationId xmlns:a16="http://schemas.microsoft.com/office/drawing/2014/main" id="{44EDA292-8E9F-4571-A11E-AD42D6547550}"/>
              </a:ext>
            </a:extLst>
          </p:cNvPr>
          <p:cNvSpPr/>
          <p:nvPr/>
        </p:nvSpPr>
        <p:spPr>
          <a:xfrm rot="5400000">
            <a:off x="6416373" y="3055488"/>
            <a:ext cx="759835" cy="759836"/>
          </a:xfrm>
          <a:prstGeom prst="trapezoid">
            <a:avLst>
              <a:gd name="adj" fmla="val 14399"/>
            </a:avLst>
          </a:prstGeom>
          <a:gradFill flip="none" rotWithShape="1">
            <a:gsLst>
              <a:gs pos="100000">
                <a:schemeClr val="accent1"/>
              </a:gs>
              <a:gs pos="33000">
                <a:schemeClr val="accent1"/>
              </a:gs>
            </a:gsLst>
            <a:lin ang="1800000" scaled="0"/>
            <a:tileRect/>
          </a:gradFill>
          <a:ln w="12700" cap="flat" cmpd="sng" algn="ctr">
            <a:noFill/>
            <a:prstDash val="solid"/>
            <a:miter lim="800000"/>
          </a:ln>
          <a:effectLst>
            <a:outerShdw blurRad="215900" sx="104000" sy="104000" algn="ctr" rotWithShape="0">
              <a:prstClr val="black">
                <a:alpha val="19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a:cs typeface="+mn-cs"/>
            </a:endParaRPr>
          </a:p>
        </p:txBody>
      </p:sp>
      <p:sp>
        <p:nvSpPr>
          <p:cNvPr id="13" name="Trapezoid 39">
            <a:extLst>
              <a:ext uri="{FF2B5EF4-FFF2-40B4-BE49-F238E27FC236}">
                <a16:creationId xmlns:a16="http://schemas.microsoft.com/office/drawing/2014/main" id="{6F5BBFFB-9F15-40AD-98F2-200ED75FA49A}"/>
              </a:ext>
            </a:extLst>
          </p:cNvPr>
          <p:cNvSpPr/>
          <p:nvPr/>
        </p:nvSpPr>
        <p:spPr>
          <a:xfrm rot="5400000">
            <a:off x="6304643" y="2186383"/>
            <a:ext cx="987857" cy="764396"/>
          </a:xfrm>
          <a:custGeom>
            <a:avLst/>
            <a:gdLst>
              <a:gd name="connsiteX0" fmla="*/ 0 w 896291"/>
              <a:gd name="connsiteY0" fmla="*/ 896293 h 896293"/>
              <a:gd name="connsiteX1" fmla="*/ 155955 w 896291"/>
              <a:gd name="connsiteY1" fmla="*/ 0 h 896293"/>
              <a:gd name="connsiteX2" fmla="*/ 740336 w 896291"/>
              <a:gd name="connsiteY2" fmla="*/ 0 h 896293"/>
              <a:gd name="connsiteX3" fmla="*/ 896291 w 896291"/>
              <a:gd name="connsiteY3" fmla="*/ 896293 h 896293"/>
              <a:gd name="connsiteX4" fmla="*/ 0 w 896291"/>
              <a:gd name="connsiteY4" fmla="*/ 896293 h 896293"/>
              <a:gd name="connsiteX0" fmla="*/ 0 w 1165263"/>
              <a:gd name="connsiteY0" fmla="*/ 896293 h 896293"/>
              <a:gd name="connsiteX1" fmla="*/ 155955 w 1165263"/>
              <a:gd name="connsiteY1" fmla="*/ 0 h 896293"/>
              <a:gd name="connsiteX2" fmla="*/ 1165263 w 1165263"/>
              <a:gd name="connsiteY2" fmla="*/ 0 h 896293"/>
              <a:gd name="connsiteX3" fmla="*/ 896291 w 1165263"/>
              <a:gd name="connsiteY3" fmla="*/ 896293 h 896293"/>
              <a:gd name="connsiteX4" fmla="*/ 0 w 1165263"/>
              <a:gd name="connsiteY4" fmla="*/ 896293 h 896293"/>
              <a:gd name="connsiteX0" fmla="*/ 0 w 1165263"/>
              <a:gd name="connsiteY0" fmla="*/ 901672 h 901672"/>
              <a:gd name="connsiteX1" fmla="*/ 521715 w 1165263"/>
              <a:gd name="connsiteY1" fmla="*/ 0 h 901672"/>
              <a:gd name="connsiteX2" fmla="*/ 1165263 w 1165263"/>
              <a:gd name="connsiteY2" fmla="*/ 5379 h 901672"/>
              <a:gd name="connsiteX3" fmla="*/ 896291 w 1165263"/>
              <a:gd name="connsiteY3" fmla="*/ 901672 h 901672"/>
              <a:gd name="connsiteX4" fmla="*/ 0 w 1165263"/>
              <a:gd name="connsiteY4" fmla="*/ 901672 h 9016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65263" h="901672">
                <a:moveTo>
                  <a:pt x="0" y="901672"/>
                </a:moveTo>
                <a:lnTo>
                  <a:pt x="521715" y="0"/>
                </a:lnTo>
                <a:lnTo>
                  <a:pt x="1165263" y="5379"/>
                </a:lnTo>
                <a:lnTo>
                  <a:pt x="896291" y="901672"/>
                </a:lnTo>
                <a:lnTo>
                  <a:pt x="0" y="901672"/>
                </a:lnTo>
                <a:close/>
              </a:path>
            </a:pathLst>
          </a:custGeom>
          <a:gradFill flip="none" rotWithShape="1">
            <a:gsLst>
              <a:gs pos="100000">
                <a:schemeClr val="accent1"/>
              </a:gs>
              <a:gs pos="0">
                <a:schemeClr val="accent1"/>
              </a:gs>
            </a:gsLst>
            <a:lin ang="2700000" scaled="1"/>
            <a:tileRect/>
          </a:gradFill>
          <a:ln w="12700" cap="flat" cmpd="sng" algn="ctr">
            <a:noFill/>
            <a:prstDash val="solid"/>
            <a:miter lim="800000"/>
          </a:ln>
          <a:effectLst>
            <a:outerShdw blurRad="215900" sx="104000" sy="104000" algn="ctr" rotWithShape="0">
              <a:prstClr val="black">
                <a:alpha val="19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a:cs typeface="+mn-cs"/>
            </a:endParaRPr>
          </a:p>
        </p:txBody>
      </p:sp>
      <p:sp>
        <p:nvSpPr>
          <p:cNvPr id="14" name="Trapezoid 39">
            <a:extLst>
              <a:ext uri="{FF2B5EF4-FFF2-40B4-BE49-F238E27FC236}">
                <a16:creationId xmlns:a16="http://schemas.microsoft.com/office/drawing/2014/main" id="{197DE19F-19FA-45CE-AA96-69311C7ACA12}"/>
              </a:ext>
            </a:extLst>
          </p:cNvPr>
          <p:cNvSpPr/>
          <p:nvPr/>
        </p:nvSpPr>
        <p:spPr>
          <a:xfrm rot="5400000" flipH="1">
            <a:off x="6306497" y="3918177"/>
            <a:ext cx="984145" cy="764396"/>
          </a:xfrm>
          <a:custGeom>
            <a:avLst/>
            <a:gdLst>
              <a:gd name="connsiteX0" fmla="*/ 0 w 896291"/>
              <a:gd name="connsiteY0" fmla="*/ 896293 h 896293"/>
              <a:gd name="connsiteX1" fmla="*/ 155955 w 896291"/>
              <a:gd name="connsiteY1" fmla="*/ 0 h 896293"/>
              <a:gd name="connsiteX2" fmla="*/ 740336 w 896291"/>
              <a:gd name="connsiteY2" fmla="*/ 0 h 896293"/>
              <a:gd name="connsiteX3" fmla="*/ 896291 w 896291"/>
              <a:gd name="connsiteY3" fmla="*/ 896293 h 896293"/>
              <a:gd name="connsiteX4" fmla="*/ 0 w 896291"/>
              <a:gd name="connsiteY4" fmla="*/ 896293 h 896293"/>
              <a:gd name="connsiteX0" fmla="*/ 0 w 1165263"/>
              <a:gd name="connsiteY0" fmla="*/ 896293 h 896293"/>
              <a:gd name="connsiteX1" fmla="*/ 155955 w 1165263"/>
              <a:gd name="connsiteY1" fmla="*/ 0 h 896293"/>
              <a:gd name="connsiteX2" fmla="*/ 1165263 w 1165263"/>
              <a:gd name="connsiteY2" fmla="*/ 0 h 896293"/>
              <a:gd name="connsiteX3" fmla="*/ 896291 w 1165263"/>
              <a:gd name="connsiteY3" fmla="*/ 896293 h 896293"/>
              <a:gd name="connsiteX4" fmla="*/ 0 w 1165263"/>
              <a:gd name="connsiteY4" fmla="*/ 896293 h 896293"/>
              <a:gd name="connsiteX0" fmla="*/ 0 w 1165263"/>
              <a:gd name="connsiteY0" fmla="*/ 901672 h 901672"/>
              <a:gd name="connsiteX1" fmla="*/ 521715 w 1165263"/>
              <a:gd name="connsiteY1" fmla="*/ 0 h 901672"/>
              <a:gd name="connsiteX2" fmla="*/ 1165263 w 1165263"/>
              <a:gd name="connsiteY2" fmla="*/ 5379 h 901672"/>
              <a:gd name="connsiteX3" fmla="*/ 896291 w 1165263"/>
              <a:gd name="connsiteY3" fmla="*/ 901672 h 901672"/>
              <a:gd name="connsiteX4" fmla="*/ 0 w 1165263"/>
              <a:gd name="connsiteY4" fmla="*/ 901672 h 9016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65263" h="901672">
                <a:moveTo>
                  <a:pt x="0" y="901672"/>
                </a:moveTo>
                <a:lnTo>
                  <a:pt x="521715" y="0"/>
                </a:lnTo>
                <a:lnTo>
                  <a:pt x="1165263" y="5379"/>
                </a:lnTo>
                <a:lnTo>
                  <a:pt x="896291" y="901672"/>
                </a:lnTo>
                <a:lnTo>
                  <a:pt x="0" y="901672"/>
                </a:lnTo>
                <a:close/>
              </a:path>
            </a:pathLst>
          </a:custGeom>
          <a:gradFill flip="none" rotWithShape="1">
            <a:gsLst>
              <a:gs pos="100000">
                <a:schemeClr val="accent1"/>
              </a:gs>
              <a:gs pos="0">
                <a:schemeClr val="accent1"/>
              </a:gs>
            </a:gsLst>
            <a:lin ang="2700000" scaled="1"/>
            <a:tileRect/>
          </a:gradFill>
          <a:ln w="12700" cap="flat" cmpd="sng" algn="ctr">
            <a:noFill/>
            <a:prstDash val="solid"/>
            <a:miter lim="800000"/>
          </a:ln>
          <a:effectLst>
            <a:outerShdw blurRad="215900" sx="104000" sy="104000" algn="ctr" rotWithShape="0">
              <a:prstClr val="black">
                <a:alpha val="19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a:cs typeface="+mn-cs"/>
            </a:endParaRPr>
          </a:p>
        </p:txBody>
      </p:sp>
      <p:sp>
        <p:nvSpPr>
          <p:cNvPr id="15" name="Isosceles Triangle 127">
            <a:extLst>
              <a:ext uri="{FF2B5EF4-FFF2-40B4-BE49-F238E27FC236}">
                <a16:creationId xmlns:a16="http://schemas.microsoft.com/office/drawing/2014/main" id="{0524730E-A77E-460D-8128-964F1A23F81D}"/>
              </a:ext>
            </a:extLst>
          </p:cNvPr>
          <p:cNvSpPr/>
          <p:nvPr/>
        </p:nvSpPr>
        <p:spPr>
          <a:xfrm rot="16200000">
            <a:off x="4928739" y="2369516"/>
            <a:ext cx="364473" cy="170108"/>
          </a:xfrm>
          <a:prstGeom prst="triangle">
            <a:avLst/>
          </a:prstGeom>
          <a:gradFill flip="none" rotWithShape="1">
            <a:gsLst>
              <a:gs pos="100000">
                <a:schemeClr val="accent1"/>
              </a:gs>
              <a:gs pos="0">
                <a:schemeClr val="accent1"/>
              </a:gs>
            </a:gsLst>
            <a:lin ang="2700000" scaled="1"/>
            <a:tileRect/>
          </a:gradFill>
          <a:ln w="12700" cap="flat" cmpd="sng" algn="ctr">
            <a:noFill/>
            <a:prstDash val="solid"/>
            <a:miter lim="800000"/>
          </a:ln>
          <a:effectLst>
            <a:outerShdw blurRad="215900" sx="104000" sy="104000" algn="ctr" rotWithShape="0">
              <a:prstClr val="black">
                <a:alpha val="19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a:cs typeface="+mn-cs"/>
            </a:endParaRPr>
          </a:p>
        </p:txBody>
      </p:sp>
      <p:sp>
        <p:nvSpPr>
          <p:cNvPr id="16" name="Isosceles Triangle 129">
            <a:extLst>
              <a:ext uri="{FF2B5EF4-FFF2-40B4-BE49-F238E27FC236}">
                <a16:creationId xmlns:a16="http://schemas.microsoft.com/office/drawing/2014/main" id="{256944E3-9D6B-42BA-883F-40EAC3E48370}"/>
              </a:ext>
            </a:extLst>
          </p:cNvPr>
          <p:cNvSpPr/>
          <p:nvPr/>
        </p:nvSpPr>
        <p:spPr>
          <a:xfrm rot="16200000">
            <a:off x="4928739" y="3350351"/>
            <a:ext cx="364473" cy="170108"/>
          </a:xfrm>
          <a:prstGeom prst="triangle">
            <a:avLst/>
          </a:prstGeom>
          <a:gradFill flip="none" rotWithShape="1">
            <a:gsLst>
              <a:gs pos="100000">
                <a:schemeClr val="accent1"/>
              </a:gs>
              <a:gs pos="33000">
                <a:schemeClr val="accent1"/>
              </a:gs>
            </a:gsLst>
            <a:lin ang="1800000" scaled="0"/>
            <a:tileRect/>
          </a:gradFill>
          <a:ln w="12700" cap="flat" cmpd="sng" algn="ctr">
            <a:noFill/>
            <a:prstDash val="solid"/>
            <a:miter lim="800000"/>
          </a:ln>
          <a:effectLst>
            <a:outerShdw blurRad="215900" sx="104000" sy="104000" algn="ctr" rotWithShape="0">
              <a:prstClr val="black">
                <a:alpha val="19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a:cs typeface="+mn-cs"/>
            </a:endParaRPr>
          </a:p>
        </p:txBody>
      </p:sp>
      <p:sp>
        <p:nvSpPr>
          <p:cNvPr id="17" name="Isosceles Triangle 130">
            <a:extLst>
              <a:ext uri="{FF2B5EF4-FFF2-40B4-BE49-F238E27FC236}">
                <a16:creationId xmlns:a16="http://schemas.microsoft.com/office/drawing/2014/main" id="{14B89888-2B58-4C79-8C1A-8D6F0B190659}"/>
              </a:ext>
            </a:extLst>
          </p:cNvPr>
          <p:cNvSpPr/>
          <p:nvPr/>
        </p:nvSpPr>
        <p:spPr>
          <a:xfrm rot="16200000">
            <a:off x="4928740" y="4327476"/>
            <a:ext cx="364473" cy="170108"/>
          </a:xfrm>
          <a:prstGeom prst="triangle">
            <a:avLst/>
          </a:prstGeom>
          <a:gradFill flip="none" rotWithShape="1">
            <a:gsLst>
              <a:gs pos="100000">
                <a:schemeClr val="accent1"/>
              </a:gs>
              <a:gs pos="0">
                <a:schemeClr val="accent1"/>
              </a:gs>
            </a:gsLst>
            <a:lin ang="2700000" scaled="1"/>
            <a:tileRect/>
          </a:gradFill>
          <a:ln w="12700" cap="flat" cmpd="sng" algn="ctr">
            <a:noFill/>
            <a:prstDash val="solid"/>
            <a:miter lim="800000"/>
          </a:ln>
          <a:effectLst>
            <a:outerShdw blurRad="215900" sx="104000" sy="104000" algn="ctr" rotWithShape="0">
              <a:prstClr val="black">
                <a:alpha val="19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a:cs typeface="+mn-cs"/>
            </a:endParaRPr>
          </a:p>
        </p:txBody>
      </p:sp>
      <p:sp>
        <p:nvSpPr>
          <p:cNvPr id="18" name="Rectangle 131">
            <a:extLst>
              <a:ext uri="{FF2B5EF4-FFF2-40B4-BE49-F238E27FC236}">
                <a16:creationId xmlns:a16="http://schemas.microsoft.com/office/drawing/2014/main" id="{A9DEE22E-E255-4664-8C04-1FF012D5C39F}"/>
              </a:ext>
            </a:extLst>
          </p:cNvPr>
          <p:cNvSpPr/>
          <p:nvPr/>
        </p:nvSpPr>
        <p:spPr>
          <a:xfrm>
            <a:off x="7164600" y="1878471"/>
            <a:ext cx="645251" cy="540762"/>
          </a:xfrm>
          <a:prstGeom prst="rect">
            <a:avLst/>
          </a:prstGeom>
          <a:gradFill flip="none" rotWithShape="1">
            <a:gsLst>
              <a:gs pos="100000">
                <a:schemeClr val="accent1"/>
              </a:gs>
              <a:gs pos="0">
                <a:schemeClr val="accent1"/>
              </a:gs>
            </a:gsLst>
            <a:lin ang="2700000" scaled="1"/>
            <a:tileRect/>
          </a:gradFill>
          <a:ln w="12700" cap="flat" cmpd="sng" algn="ctr">
            <a:noFill/>
            <a:prstDash val="solid"/>
            <a:miter lim="800000"/>
          </a:ln>
          <a:effectLst>
            <a:outerShdw blurRad="215900" sx="104000" sy="104000" algn="ctr" rotWithShape="0">
              <a:prstClr val="black">
                <a:alpha val="19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a:cs typeface="+mn-cs"/>
            </a:endParaRPr>
          </a:p>
        </p:txBody>
      </p:sp>
      <p:sp>
        <p:nvSpPr>
          <p:cNvPr id="19" name="Rectangle 134">
            <a:extLst>
              <a:ext uri="{FF2B5EF4-FFF2-40B4-BE49-F238E27FC236}">
                <a16:creationId xmlns:a16="http://schemas.microsoft.com/office/drawing/2014/main" id="{CDDD5A0D-F2DE-4D37-9BCB-4CCE1E4E1297}"/>
              </a:ext>
            </a:extLst>
          </p:cNvPr>
          <p:cNvSpPr/>
          <p:nvPr/>
        </p:nvSpPr>
        <p:spPr>
          <a:xfrm>
            <a:off x="5196030" y="1136338"/>
            <a:ext cx="1220343" cy="759837"/>
          </a:xfrm>
          <a:prstGeom prst="rect">
            <a:avLst/>
          </a:prstGeom>
          <a:gradFill flip="none" rotWithShape="1">
            <a:gsLst>
              <a:gs pos="100000">
                <a:schemeClr val="accent1"/>
              </a:gs>
              <a:gs pos="0">
                <a:schemeClr val="accent1"/>
              </a:gs>
            </a:gsLst>
            <a:lin ang="2700000" scaled="1"/>
            <a:tileRect/>
          </a:gradFill>
          <a:ln w="12700" cap="flat" cmpd="sng" algn="ctr">
            <a:noFill/>
            <a:prstDash val="solid"/>
            <a:miter lim="800000"/>
          </a:ln>
          <a:effectLst>
            <a:outerShdw blurRad="215900" sx="104000" sy="104000" algn="ctr" rotWithShape="0">
              <a:prstClr val="black">
                <a:alpha val="19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a:cs typeface="+mn-cs"/>
            </a:endParaRPr>
          </a:p>
        </p:txBody>
      </p:sp>
      <p:sp>
        <p:nvSpPr>
          <p:cNvPr id="20" name="Isosceles Triangle 135">
            <a:extLst>
              <a:ext uri="{FF2B5EF4-FFF2-40B4-BE49-F238E27FC236}">
                <a16:creationId xmlns:a16="http://schemas.microsoft.com/office/drawing/2014/main" id="{04602FE8-892B-4A16-A729-CE0D1B1C8B86}"/>
              </a:ext>
            </a:extLst>
          </p:cNvPr>
          <p:cNvSpPr/>
          <p:nvPr/>
        </p:nvSpPr>
        <p:spPr>
          <a:xfrm rot="16200000">
            <a:off x="4928739" y="1439609"/>
            <a:ext cx="364473" cy="170108"/>
          </a:xfrm>
          <a:prstGeom prst="triangle">
            <a:avLst/>
          </a:prstGeom>
          <a:gradFill flip="none" rotWithShape="1">
            <a:gsLst>
              <a:gs pos="100000">
                <a:schemeClr val="accent1"/>
              </a:gs>
              <a:gs pos="0">
                <a:schemeClr val="accent1"/>
              </a:gs>
            </a:gsLst>
            <a:lin ang="2700000" scaled="1"/>
            <a:tileRect/>
          </a:gradFill>
          <a:ln w="12700" cap="flat" cmpd="sng" algn="ctr">
            <a:noFill/>
            <a:prstDash val="solid"/>
            <a:miter lim="800000"/>
          </a:ln>
          <a:effectLst>
            <a:outerShdw blurRad="215900" sx="104000" sy="104000" algn="ctr" rotWithShape="0">
              <a:prstClr val="black">
                <a:alpha val="19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a:cs typeface="+mn-cs"/>
            </a:endParaRPr>
          </a:p>
        </p:txBody>
      </p:sp>
      <p:sp>
        <p:nvSpPr>
          <p:cNvPr id="21" name="Rectangle 136">
            <a:extLst>
              <a:ext uri="{FF2B5EF4-FFF2-40B4-BE49-F238E27FC236}">
                <a16:creationId xmlns:a16="http://schemas.microsoft.com/office/drawing/2014/main" id="{0E0E3E7D-164E-414E-B8DD-445C676C23B3}"/>
              </a:ext>
            </a:extLst>
          </p:cNvPr>
          <p:cNvSpPr/>
          <p:nvPr/>
        </p:nvSpPr>
        <p:spPr>
          <a:xfrm>
            <a:off x="5196030" y="4981902"/>
            <a:ext cx="1220343" cy="759837"/>
          </a:xfrm>
          <a:prstGeom prst="rect">
            <a:avLst/>
          </a:prstGeom>
          <a:gradFill flip="none" rotWithShape="1">
            <a:gsLst>
              <a:gs pos="100000">
                <a:schemeClr val="accent1"/>
              </a:gs>
              <a:gs pos="0">
                <a:schemeClr val="accent1"/>
              </a:gs>
            </a:gsLst>
            <a:lin ang="2700000" scaled="1"/>
            <a:tileRect/>
          </a:gradFill>
          <a:ln w="12700" cap="flat" cmpd="sng" algn="ctr">
            <a:noFill/>
            <a:prstDash val="solid"/>
            <a:miter lim="800000"/>
          </a:ln>
          <a:effectLst>
            <a:outerShdw blurRad="215900" sx="104000" sy="104000" algn="ctr" rotWithShape="0">
              <a:prstClr val="black">
                <a:alpha val="19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a:cs typeface="+mn-cs"/>
            </a:endParaRPr>
          </a:p>
        </p:txBody>
      </p:sp>
      <p:sp>
        <p:nvSpPr>
          <p:cNvPr id="22" name="Rectangle 137">
            <a:extLst>
              <a:ext uri="{FF2B5EF4-FFF2-40B4-BE49-F238E27FC236}">
                <a16:creationId xmlns:a16="http://schemas.microsoft.com/office/drawing/2014/main" id="{5F6DC082-C444-4A50-9D75-B7B2CADB9817}"/>
              </a:ext>
            </a:extLst>
          </p:cNvPr>
          <p:cNvSpPr/>
          <p:nvPr/>
        </p:nvSpPr>
        <p:spPr>
          <a:xfrm>
            <a:off x="7164600" y="4451580"/>
            <a:ext cx="645251" cy="540762"/>
          </a:xfrm>
          <a:prstGeom prst="rect">
            <a:avLst/>
          </a:prstGeom>
          <a:gradFill flip="none" rotWithShape="1">
            <a:gsLst>
              <a:gs pos="100000">
                <a:schemeClr val="accent1"/>
              </a:gs>
              <a:gs pos="0">
                <a:schemeClr val="accent1"/>
              </a:gs>
            </a:gsLst>
            <a:lin ang="2700000" scaled="1"/>
            <a:tileRect/>
          </a:gradFill>
          <a:ln w="12700" cap="flat" cmpd="sng" algn="ctr">
            <a:noFill/>
            <a:prstDash val="solid"/>
            <a:miter lim="800000"/>
          </a:ln>
          <a:effectLst>
            <a:outerShdw blurRad="215900" sx="104000" sy="104000" algn="ctr" rotWithShape="0">
              <a:prstClr val="black">
                <a:alpha val="19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a:cs typeface="+mn-cs"/>
            </a:endParaRPr>
          </a:p>
        </p:txBody>
      </p:sp>
      <p:sp>
        <p:nvSpPr>
          <p:cNvPr id="23" name="Trapezoid 39">
            <a:extLst>
              <a:ext uri="{FF2B5EF4-FFF2-40B4-BE49-F238E27FC236}">
                <a16:creationId xmlns:a16="http://schemas.microsoft.com/office/drawing/2014/main" id="{8DAF60E0-6C3C-4C43-B7F6-63C8C5FB4AE9}"/>
              </a:ext>
            </a:extLst>
          </p:cNvPr>
          <p:cNvSpPr/>
          <p:nvPr/>
        </p:nvSpPr>
        <p:spPr>
          <a:xfrm rot="5400000">
            <a:off x="6154456" y="1397738"/>
            <a:ext cx="1281973" cy="758138"/>
          </a:xfrm>
          <a:custGeom>
            <a:avLst/>
            <a:gdLst>
              <a:gd name="connsiteX0" fmla="*/ 0 w 896291"/>
              <a:gd name="connsiteY0" fmla="*/ 896293 h 896293"/>
              <a:gd name="connsiteX1" fmla="*/ 155955 w 896291"/>
              <a:gd name="connsiteY1" fmla="*/ 0 h 896293"/>
              <a:gd name="connsiteX2" fmla="*/ 740336 w 896291"/>
              <a:gd name="connsiteY2" fmla="*/ 0 h 896293"/>
              <a:gd name="connsiteX3" fmla="*/ 896291 w 896291"/>
              <a:gd name="connsiteY3" fmla="*/ 896293 h 896293"/>
              <a:gd name="connsiteX4" fmla="*/ 0 w 896291"/>
              <a:gd name="connsiteY4" fmla="*/ 896293 h 896293"/>
              <a:gd name="connsiteX0" fmla="*/ 0 w 1165263"/>
              <a:gd name="connsiteY0" fmla="*/ 896293 h 896293"/>
              <a:gd name="connsiteX1" fmla="*/ 155955 w 1165263"/>
              <a:gd name="connsiteY1" fmla="*/ 0 h 896293"/>
              <a:gd name="connsiteX2" fmla="*/ 1165263 w 1165263"/>
              <a:gd name="connsiteY2" fmla="*/ 0 h 896293"/>
              <a:gd name="connsiteX3" fmla="*/ 896291 w 1165263"/>
              <a:gd name="connsiteY3" fmla="*/ 896293 h 896293"/>
              <a:gd name="connsiteX4" fmla="*/ 0 w 1165263"/>
              <a:gd name="connsiteY4" fmla="*/ 896293 h 896293"/>
              <a:gd name="connsiteX0" fmla="*/ 0 w 1165263"/>
              <a:gd name="connsiteY0" fmla="*/ 901672 h 901672"/>
              <a:gd name="connsiteX1" fmla="*/ 521715 w 1165263"/>
              <a:gd name="connsiteY1" fmla="*/ 0 h 901672"/>
              <a:gd name="connsiteX2" fmla="*/ 1165263 w 1165263"/>
              <a:gd name="connsiteY2" fmla="*/ 5379 h 901672"/>
              <a:gd name="connsiteX3" fmla="*/ 896291 w 1165263"/>
              <a:gd name="connsiteY3" fmla="*/ 901672 h 901672"/>
              <a:gd name="connsiteX4" fmla="*/ 0 w 1165263"/>
              <a:gd name="connsiteY4" fmla="*/ 901672 h 901672"/>
              <a:gd name="connsiteX0" fmla="*/ 0 w 1512199"/>
              <a:gd name="connsiteY0" fmla="*/ 901672 h 901672"/>
              <a:gd name="connsiteX1" fmla="*/ 521715 w 1512199"/>
              <a:gd name="connsiteY1" fmla="*/ 0 h 901672"/>
              <a:gd name="connsiteX2" fmla="*/ 1512199 w 1512199"/>
              <a:gd name="connsiteY2" fmla="*/ 20141 h 901672"/>
              <a:gd name="connsiteX3" fmla="*/ 896291 w 1512199"/>
              <a:gd name="connsiteY3" fmla="*/ 901672 h 901672"/>
              <a:gd name="connsiteX4" fmla="*/ 0 w 1512199"/>
              <a:gd name="connsiteY4" fmla="*/ 901672 h 901672"/>
              <a:gd name="connsiteX0" fmla="*/ 0 w 1512199"/>
              <a:gd name="connsiteY0" fmla="*/ 894290 h 894290"/>
              <a:gd name="connsiteX1" fmla="*/ 879720 w 1512199"/>
              <a:gd name="connsiteY1" fmla="*/ 0 h 894290"/>
              <a:gd name="connsiteX2" fmla="*/ 1512199 w 1512199"/>
              <a:gd name="connsiteY2" fmla="*/ 12759 h 894290"/>
              <a:gd name="connsiteX3" fmla="*/ 896291 w 1512199"/>
              <a:gd name="connsiteY3" fmla="*/ 894290 h 894290"/>
              <a:gd name="connsiteX4" fmla="*/ 0 w 1512199"/>
              <a:gd name="connsiteY4" fmla="*/ 894290 h 894290"/>
              <a:gd name="connsiteX0" fmla="*/ 0 w 1512199"/>
              <a:gd name="connsiteY0" fmla="*/ 894290 h 894290"/>
              <a:gd name="connsiteX1" fmla="*/ 879720 w 1512199"/>
              <a:gd name="connsiteY1" fmla="*/ 0 h 894290"/>
              <a:gd name="connsiteX2" fmla="*/ 1512199 w 1512199"/>
              <a:gd name="connsiteY2" fmla="*/ 5377 h 894290"/>
              <a:gd name="connsiteX3" fmla="*/ 896291 w 1512199"/>
              <a:gd name="connsiteY3" fmla="*/ 894290 h 894290"/>
              <a:gd name="connsiteX4" fmla="*/ 0 w 1512199"/>
              <a:gd name="connsiteY4" fmla="*/ 894290 h 8942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12199" h="894290">
                <a:moveTo>
                  <a:pt x="0" y="894290"/>
                </a:moveTo>
                <a:lnTo>
                  <a:pt x="879720" y="0"/>
                </a:lnTo>
                <a:lnTo>
                  <a:pt x="1512199" y="5377"/>
                </a:lnTo>
                <a:lnTo>
                  <a:pt x="896291" y="894290"/>
                </a:lnTo>
                <a:lnTo>
                  <a:pt x="0" y="894290"/>
                </a:lnTo>
                <a:close/>
              </a:path>
            </a:pathLst>
          </a:custGeom>
          <a:gradFill flip="none" rotWithShape="1">
            <a:gsLst>
              <a:gs pos="100000">
                <a:schemeClr val="accent1"/>
              </a:gs>
              <a:gs pos="0">
                <a:schemeClr val="accent1"/>
              </a:gs>
            </a:gsLst>
            <a:lin ang="2700000" scaled="1"/>
            <a:tileRect/>
          </a:gradFill>
          <a:ln w="12700" cap="flat" cmpd="sng" algn="ctr">
            <a:noFill/>
            <a:prstDash val="solid"/>
            <a:miter lim="800000"/>
          </a:ln>
          <a:effectLst>
            <a:outerShdw blurRad="215900" sx="104000" sy="104000" algn="ctr" rotWithShape="0">
              <a:prstClr val="black">
                <a:alpha val="19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a:cs typeface="+mn-cs"/>
            </a:endParaRPr>
          </a:p>
        </p:txBody>
      </p:sp>
      <p:sp>
        <p:nvSpPr>
          <p:cNvPr id="24" name="Trapezoid 39">
            <a:extLst>
              <a:ext uri="{FF2B5EF4-FFF2-40B4-BE49-F238E27FC236}">
                <a16:creationId xmlns:a16="http://schemas.microsoft.com/office/drawing/2014/main" id="{B6B71609-3C5E-4C26-BA06-19602BEFA094}"/>
              </a:ext>
            </a:extLst>
          </p:cNvPr>
          <p:cNvSpPr/>
          <p:nvPr/>
        </p:nvSpPr>
        <p:spPr>
          <a:xfrm rot="16200000" flipV="1">
            <a:off x="6149500" y="4721683"/>
            <a:ext cx="1281973" cy="758138"/>
          </a:xfrm>
          <a:custGeom>
            <a:avLst/>
            <a:gdLst>
              <a:gd name="connsiteX0" fmla="*/ 0 w 896291"/>
              <a:gd name="connsiteY0" fmla="*/ 896293 h 896293"/>
              <a:gd name="connsiteX1" fmla="*/ 155955 w 896291"/>
              <a:gd name="connsiteY1" fmla="*/ 0 h 896293"/>
              <a:gd name="connsiteX2" fmla="*/ 740336 w 896291"/>
              <a:gd name="connsiteY2" fmla="*/ 0 h 896293"/>
              <a:gd name="connsiteX3" fmla="*/ 896291 w 896291"/>
              <a:gd name="connsiteY3" fmla="*/ 896293 h 896293"/>
              <a:gd name="connsiteX4" fmla="*/ 0 w 896291"/>
              <a:gd name="connsiteY4" fmla="*/ 896293 h 896293"/>
              <a:gd name="connsiteX0" fmla="*/ 0 w 1165263"/>
              <a:gd name="connsiteY0" fmla="*/ 896293 h 896293"/>
              <a:gd name="connsiteX1" fmla="*/ 155955 w 1165263"/>
              <a:gd name="connsiteY1" fmla="*/ 0 h 896293"/>
              <a:gd name="connsiteX2" fmla="*/ 1165263 w 1165263"/>
              <a:gd name="connsiteY2" fmla="*/ 0 h 896293"/>
              <a:gd name="connsiteX3" fmla="*/ 896291 w 1165263"/>
              <a:gd name="connsiteY3" fmla="*/ 896293 h 896293"/>
              <a:gd name="connsiteX4" fmla="*/ 0 w 1165263"/>
              <a:gd name="connsiteY4" fmla="*/ 896293 h 896293"/>
              <a:gd name="connsiteX0" fmla="*/ 0 w 1165263"/>
              <a:gd name="connsiteY0" fmla="*/ 901672 h 901672"/>
              <a:gd name="connsiteX1" fmla="*/ 521715 w 1165263"/>
              <a:gd name="connsiteY1" fmla="*/ 0 h 901672"/>
              <a:gd name="connsiteX2" fmla="*/ 1165263 w 1165263"/>
              <a:gd name="connsiteY2" fmla="*/ 5379 h 901672"/>
              <a:gd name="connsiteX3" fmla="*/ 896291 w 1165263"/>
              <a:gd name="connsiteY3" fmla="*/ 901672 h 901672"/>
              <a:gd name="connsiteX4" fmla="*/ 0 w 1165263"/>
              <a:gd name="connsiteY4" fmla="*/ 901672 h 901672"/>
              <a:gd name="connsiteX0" fmla="*/ 0 w 1512199"/>
              <a:gd name="connsiteY0" fmla="*/ 901672 h 901672"/>
              <a:gd name="connsiteX1" fmla="*/ 521715 w 1512199"/>
              <a:gd name="connsiteY1" fmla="*/ 0 h 901672"/>
              <a:gd name="connsiteX2" fmla="*/ 1512199 w 1512199"/>
              <a:gd name="connsiteY2" fmla="*/ 20141 h 901672"/>
              <a:gd name="connsiteX3" fmla="*/ 896291 w 1512199"/>
              <a:gd name="connsiteY3" fmla="*/ 901672 h 901672"/>
              <a:gd name="connsiteX4" fmla="*/ 0 w 1512199"/>
              <a:gd name="connsiteY4" fmla="*/ 901672 h 901672"/>
              <a:gd name="connsiteX0" fmla="*/ 0 w 1512199"/>
              <a:gd name="connsiteY0" fmla="*/ 894290 h 894290"/>
              <a:gd name="connsiteX1" fmla="*/ 879720 w 1512199"/>
              <a:gd name="connsiteY1" fmla="*/ 0 h 894290"/>
              <a:gd name="connsiteX2" fmla="*/ 1512199 w 1512199"/>
              <a:gd name="connsiteY2" fmla="*/ 12759 h 894290"/>
              <a:gd name="connsiteX3" fmla="*/ 896291 w 1512199"/>
              <a:gd name="connsiteY3" fmla="*/ 894290 h 894290"/>
              <a:gd name="connsiteX4" fmla="*/ 0 w 1512199"/>
              <a:gd name="connsiteY4" fmla="*/ 894290 h 894290"/>
              <a:gd name="connsiteX0" fmla="*/ 0 w 1512199"/>
              <a:gd name="connsiteY0" fmla="*/ 894290 h 894290"/>
              <a:gd name="connsiteX1" fmla="*/ 879720 w 1512199"/>
              <a:gd name="connsiteY1" fmla="*/ 0 h 894290"/>
              <a:gd name="connsiteX2" fmla="*/ 1512199 w 1512199"/>
              <a:gd name="connsiteY2" fmla="*/ 5377 h 894290"/>
              <a:gd name="connsiteX3" fmla="*/ 896291 w 1512199"/>
              <a:gd name="connsiteY3" fmla="*/ 894290 h 894290"/>
              <a:gd name="connsiteX4" fmla="*/ 0 w 1512199"/>
              <a:gd name="connsiteY4" fmla="*/ 894290 h 8942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12199" h="894290">
                <a:moveTo>
                  <a:pt x="0" y="894290"/>
                </a:moveTo>
                <a:lnTo>
                  <a:pt x="879720" y="0"/>
                </a:lnTo>
                <a:lnTo>
                  <a:pt x="1512199" y="5377"/>
                </a:lnTo>
                <a:lnTo>
                  <a:pt x="896291" y="894290"/>
                </a:lnTo>
                <a:lnTo>
                  <a:pt x="0" y="894290"/>
                </a:lnTo>
                <a:close/>
              </a:path>
            </a:pathLst>
          </a:custGeom>
          <a:gradFill flip="none" rotWithShape="1">
            <a:gsLst>
              <a:gs pos="100000">
                <a:schemeClr val="accent1"/>
              </a:gs>
              <a:gs pos="0">
                <a:schemeClr val="accent1"/>
              </a:gs>
            </a:gsLst>
            <a:lin ang="2700000" scaled="1"/>
            <a:tileRect/>
          </a:gradFill>
          <a:ln w="12700" cap="flat" cmpd="sng" algn="ctr">
            <a:noFill/>
            <a:prstDash val="solid"/>
            <a:miter lim="800000"/>
          </a:ln>
          <a:effectLst>
            <a:outerShdw blurRad="215900" sx="104000" sy="104000" algn="ctr" rotWithShape="0">
              <a:prstClr val="black">
                <a:alpha val="19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a:cs typeface="+mn-cs"/>
            </a:endParaRPr>
          </a:p>
        </p:txBody>
      </p:sp>
      <p:sp>
        <p:nvSpPr>
          <p:cNvPr id="25" name="Isosceles Triangle 140">
            <a:extLst>
              <a:ext uri="{FF2B5EF4-FFF2-40B4-BE49-F238E27FC236}">
                <a16:creationId xmlns:a16="http://schemas.microsoft.com/office/drawing/2014/main" id="{139AF79E-37B2-41E3-87F3-45DBB2068366}"/>
              </a:ext>
            </a:extLst>
          </p:cNvPr>
          <p:cNvSpPr/>
          <p:nvPr/>
        </p:nvSpPr>
        <p:spPr>
          <a:xfrm rot="16200000">
            <a:off x="4928741" y="5276767"/>
            <a:ext cx="364473" cy="170108"/>
          </a:xfrm>
          <a:prstGeom prst="triangle">
            <a:avLst/>
          </a:prstGeom>
          <a:gradFill flip="none" rotWithShape="1">
            <a:gsLst>
              <a:gs pos="100000">
                <a:schemeClr val="accent1"/>
              </a:gs>
              <a:gs pos="0">
                <a:schemeClr val="accent1"/>
              </a:gs>
            </a:gsLst>
            <a:lin ang="2700000" scaled="1"/>
            <a:tileRect/>
          </a:gradFill>
          <a:ln w="12700" cap="flat" cmpd="sng" algn="ctr">
            <a:noFill/>
            <a:prstDash val="solid"/>
            <a:miter lim="800000"/>
          </a:ln>
          <a:effectLst>
            <a:outerShdw blurRad="215900" sx="104000" sy="104000" algn="ctr" rotWithShape="0">
              <a:prstClr val="black">
                <a:alpha val="19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a:cs typeface="+mn-cs"/>
            </a:endParaRPr>
          </a:p>
        </p:txBody>
      </p:sp>
      <p:sp>
        <p:nvSpPr>
          <p:cNvPr id="26" name="Rectangle 186">
            <a:extLst>
              <a:ext uri="{FF2B5EF4-FFF2-40B4-BE49-F238E27FC236}">
                <a16:creationId xmlns:a16="http://schemas.microsoft.com/office/drawing/2014/main" id="{5062E1F9-D183-40DB-9362-977CBC19A718}"/>
              </a:ext>
            </a:extLst>
          </p:cNvPr>
          <p:cNvSpPr/>
          <p:nvPr/>
        </p:nvSpPr>
        <p:spPr>
          <a:xfrm>
            <a:off x="4204237" y="2749152"/>
            <a:ext cx="485243" cy="406665"/>
          </a:xfrm>
          <a:prstGeom prst="rect">
            <a:avLst/>
          </a:prstGeom>
          <a:gradFill flip="none" rotWithShape="1">
            <a:gsLst>
              <a:gs pos="100000">
                <a:schemeClr val="accent1"/>
              </a:gs>
              <a:gs pos="0">
                <a:schemeClr val="accent1"/>
              </a:gs>
            </a:gsLst>
            <a:lin ang="2700000" scaled="1"/>
            <a:tileRect/>
          </a:gradFill>
          <a:ln w="12700" cap="flat" cmpd="sng" algn="ctr">
            <a:noFill/>
            <a:prstDash val="solid"/>
            <a:miter lim="800000"/>
          </a:ln>
          <a:effectLst>
            <a:outerShdw blurRad="215900" sx="104000" sy="104000" algn="ctr" rotWithShape="0">
              <a:prstClr val="black">
                <a:alpha val="19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a:cs typeface="+mn-cs"/>
            </a:endParaRPr>
          </a:p>
        </p:txBody>
      </p:sp>
      <p:sp>
        <p:nvSpPr>
          <p:cNvPr id="27" name="Rectangle 187">
            <a:extLst>
              <a:ext uri="{FF2B5EF4-FFF2-40B4-BE49-F238E27FC236}">
                <a16:creationId xmlns:a16="http://schemas.microsoft.com/office/drawing/2014/main" id="{94918FB6-F81E-4665-8E1D-94615F99FC38}"/>
              </a:ext>
            </a:extLst>
          </p:cNvPr>
          <p:cNvSpPr/>
          <p:nvPr/>
        </p:nvSpPr>
        <p:spPr>
          <a:xfrm>
            <a:off x="4198393" y="3232910"/>
            <a:ext cx="488810" cy="406665"/>
          </a:xfrm>
          <a:prstGeom prst="rect">
            <a:avLst/>
          </a:prstGeom>
          <a:gradFill flip="none" rotWithShape="1">
            <a:gsLst>
              <a:gs pos="100000">
                <a:schemeClr val="accent1"/>
              </a:gs>
              <a:gs pos="33000">
                <a:schemeClr val="accent1"/>
              </a:gs>
            </a:gsLst>
            <a:lin ang="1800000" scaled="0"/>
            <a:tileRect/>
          </a:gradFill>
          <a:ln w="12700" cap="flat" cmpd="sng" algn="ctr">
            <a:noFill/>
            <a:prstDash val="solid"/>
            <a:miter lim="800000"/>
          </a:ln>
          <a:effectLst>
            <a:outerShdw blurRad="215900" sx="104000" sy="104000" algn="ctr" rotWithShape="0">
              <a:prstClr val="black">
                <a:alpha val="19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a:cs typeface="+mn-cs"/>
            </a:endParaRPr>
          </a:p>
        </p:txBody>
      </p:sp>
      <p:sp>
        <p:nvSpPr>
          <p:cNvPr id="28" name="Rectangle 188">
            <a:extLst>
              <a:ext uri="{FF2B5EF4-FFF2-40B4-BE49-F238E27FC236}">
                <a16:creationId xmlns:a16="http://schemas.microsoft.com/office/drawing/2014/main" id="{04824697-016E-47DA-895E-6E522238AAD5}"/>
              </a:ext>
            </a:extLst>
          </p:cNvPr>
          <p:cNvSpPr/>
          <p:nvPr/>
        </p:nvSpPr>
        <p:spPr>
          <a:xfrm>
            <a:off x="4204237" y="3717643"/>
            <a:ext cx="485243" cy="406665"/>
          </a:xfrm>
          <a:prstGeom prst="rect">
            <a:avLst/>
          </a:prstGeom>
          <a:gradFill flip="none" rotWithShape="1">
            <a:gsLst>
              <a:gs pos="100000">
                <a:schemeClr val="accent1"/>
              </a:gs>
              <a:gs pos="0">
                <a:schemeClr val="accent1"/>
              </a:gs>
            </a:gsLst>
            <a:lin ang="2700000" scaled="1"/>
            <a:tileRect/>
          </a:gradFill>
          <a:ln w="12700" cap="flat" cmpd="sng" algn="ctr">
            <a:noFill/>
            <a:prstDash val="solid"/>
            <a:miter lim="800000"/>
          </a:ln>
          <a:effectLst>
            <a:outerShdw blurRad="215900" sx="104000" sy="104000" algn="ctr" rotWithShape="0">
              <a:prstClr val="black">
                <a:alpha val="19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a:cs typeface="+mn-cs"/>
            </a:endParaRPr>
          </a:p>
        </p:txBody>
      </p:sp>
      <p:sp>
        <p:nvSpPr>
          <p:cNvPr id="29" name="Isosceles Triangle 196">
            <a:extLst>
              <a:ext uri="{FF2B5EF4-FFF2-40B4-BE49-F238E27FC236}">
                <a16:creationId xmlns:a16="http://schemas.microsoft.com/office/drawing/2014/main" id="{0AA9C72D-FF46-4BD3-A2AC-3DE4914119D3}"/>
              </a:ext>
            </a:extLst>
          </p:cNvPr>
          <p:cNvSpPr/>
          <p:nvPr/>
        </p:nvSpPr>
        <p:spPr>
          <a:xfrm rot="16200000">
            <a:off x="2671938" y="2634668"/>
            <a:ext cx="274092" cy="127925"/>
          </a:xfrm>
          <a:prstGeom prst="triangle">
            <a:avLst/>
          </a:prstGeom>
          <a:gradFill flip="none" rotWithShape="1">
            <a:gsLst>
              <a:gs pos="100000">
                <a:schemeClr val="accent1"/>
              </a:gs>
              <a:gs pos="0">
                <a:schemeClr val="accent1"/>
              </a:gs>
            </a:gsLst>
            <a:lin ang="2700000" scaled="1"/>
            <a:tileRect/>
          </a:gradFill>
          <a:ln w="12700" cap="flat" cmpd="sng" algn="ctr">
            <a:noFill/>
            <a:prstDash val="solid"/>
            <a:miter lim="800000"/>
          </a:ln>
          <a:effectLst>
            <a:outerShdw blurRad="215900" sx="104000" sy="104000" algn="ctr" rotWithShape="0">
              <a:prstClr val="black">
                <a:alpha val="19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a:cs typeface="+mn-cs"/>
            </a:endParaRPr>
          </a:p>
        </p:txBody>
      </p:sp>
      <p:sp>
        <p:nvSpPr>
          <p:cNvPr id="30" name="Isosceles Triangle 197">
            <a:extLst>
              <a:ext uri="{FF2B5EF4-FFF2-40B4-BE49-F238E27FC236}">
                <a16:creationId xmlns:a16="http://schemas.microsoft.com/office/drawing/2014/main" id="{066F2B12-A8BC-4C14-9441-BB8CED8EBB64}"/>
              </a:ext>
            </a:extLst>
          </p:cNvPr>
          <p:cNvSpPr/>
          <p:nvPr/>
        </p:nvSpPr>
        <p:spPr>
          <a:xfrm rot="16200000">
            <a:off x="2671938" y="3372279"/>
            <a:ext cx="274092" cy="127925"/>
          </a:xfrm>
          <a:prstGeom prst="triangle">
            <a:avLst/>
          </a:prstGeom>
          <a:gradFill flip="none" rotWithShape="1">
            <a:gsLst>
              <a:gs pos="100000">
                <a:schemeClr val="accent1"/>
              </a:gs>
              <a:gs pos="33000">
                <a:schemeClr val="accent1"/>
              </a:gs>
            </a:gsLst>
            <a:lin ang="1800000" scaled="0"/>
            <a:tileRect/>
          </a:gradFill>
          <a:ln w="12700" cap="flat" cmpd="sng" algn="ctr">
            <a:noFill/>
            <a:prstDash val="solid"/>
            <a:miter lim="800000"/>
          </a:ln>
          <a:effectLst>
            <a:outerShdw blurRad="215900" sx="104000" sy="104000" algn="ctr" rotWithShape="0">
              <a:prstClr val="black">
                <a:alpha val="19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a:cs typeface="+mn-cs"/>
            </a:endParaRPr>
          </a:p>
        </p:txBody>
      </p:sp>
      <p:sp>
        <p:nvSpPr>
          <p:cNvPr id="31" name="Isosceles Triangle 198">
            <a:extLst>
              <a:ext uri="{FF2B5EF4-FFF2-40B4-BE49-F238E27FC236}">
                <a16:creationId xmlns:a16="http://schemas.microsoft.com/office/drawing/2014/main" id="{61B879CD-2DB5-4F34-9955-AF4E9231F0C4}"/>
              </a:ext>
            </a:extLst>
          </p:cNvPr>
          <p:cNvSpPr/>
          <p:nvPr/>
        </p:nvSpPr>
        <p:spPr>
          <a:xfrm rot="16200000">
            <a:off x="2671938" y="4107100"/>
            <a:ext cx="274092" cy="127925"/>
          </a:xfrm>
          <a:prstGeom prst="triangle">
            <a:avLst/>
          </a:prstGeom>
          <a:gradFill flip="none" rotWithShape="1">
            <a:gsLst>
              <a:gs pos="100000">
                <a:schemeClr val="accent1"/>
              </a:gs>
              <a:gs pos="0">
                <a:schemeClr val="accent1"/>
              </a:gs>
            </a:gsLst>
            <a:lin ang="2700000" scaled="1"/>
            <a:tileRect/>
          </a:gradFill>
          <a:ln w="12700" cap="flat" cmpd="sng" algn="ctr">
            <a:noFill/>
            <a:prstDash val="solid"/>
            <a:miter lim="800000"/>
          </a:ln>
          <a:effectLst>
            <a:outerShdw blurRad="215900" sx="104000" sy="104000" algn="ctr" rotWithShape="0">
              <a:prstClr val="black">
                <a:alpha val="19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a:cs typeface="+mn-cs"/>
            </a:endParaRPr>
          </a:p>
        </p:txBody>
      </p:sp>
      <p:sp>
        <p:nvSpPr>
          <p:cNvPr id="32" name="Rectangle 203">
            <a:extLst>
              <a:ext uri="{FF2B5EF4-FFF2-40B4-BE49-F238E27FC236}">
                <a16:creationId xmlns:a16="http://schemas.microsoft.com/office/drawing/2014/main" id="{4B2671C3-65CF-4F88-89A3-F3DA922DD469}"/>
              </a:ext>
            </a:extLst>
          </p:cNvPr>
          <p:cNvSpPr/>
          <p:nvPr/>
        </p:nvSpPr>
        <p:spPr>
          <a:xfrm>
            <a:off x="4204237" y="2265392"/>
            <a:ext cx="485243" cy="406665"/>
          </a:xfrm>
          <a:prstGeom prst="rect">
            <a:avLst/>
          </a:prstGeom>
          <a:gradFill flip="none" rotWithShape="1">
            <a:gsLst>
              <a:gs pos="100000">
                <a:schemeClr val="accent1"/>
              </a:gs>
              <a:gs pos="0">
                <a:schemeClr val="accent1"/>
              </a:gs>
            </a:gsLst>
            <a:lin ang="2700000" scaled="1"/>
            <a:tileRect/>
          </a:gradFill>
          <a:ln w="12700" cap="flat" cmpd="sng" algn="ctr">
            <a:noFill/>
            <a:prstDash val="solid"/>
            <a:miter lim="800000"/>
          </a:ln>
          <a:effectLst>
            <a:outerShdw blurRad="215900" sx="104000" sy="104000" algn="ctr" rotWithShape="0">
              <a:prstClr val="black">
                <a:alpha val="19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a:cs typeface="+mn-cs"/>
            </a:endParaRPr>
          </a:p>
        </p:txBody>
      </p:sp>
      <p:sp>
        <p:nvSpPr>
          <p:cNvPr id="33" name="Isosceles Triangle 209">
            <a:extLst>
              <a:ext uri="{FF2B5EF4-FFF2-40B4-BE49-F238E27FC236}">
                <a16:creationId xmlns:a16="http://schemas.microsoft.com/office/drawing/2014/main" id="{E61A3E49-5FBB-4477-B6DE-5F4323AC66DC}"/>
              </a:ext>
            </a:extLst>
          </p:cNvPr>
          <p:cNvSpPr/>
          <p:nvPr/>
        </p:nvSpPr>
        <p:spPr>
          <a:xfrm rot="16200000">
            <a:off x="2671938" y="1935358"/>
            <a:ext cx="274092" cy="127925"/>
          </a:xfrm>
          <a:prstGeom prst="triangle">
            <a:avLst/>
          </a:prstGeom>
          <a:gradFill flip="none" rotWithShape="1">
            <a:gsLst>
              <a:gs pos="100000">
                <a:schemeClr val="accent1"/>
              </a:gs>
              <a:gs pos="0">
                <a:schemeClr val="accent1"/>
              </a:gs>
            </a:gsLst>
            <a:lin ang="2700000" scaled="1"/>
            <a:tileRect/>
          </a:gradFill>
          <a:ln w="12700" cap="flat" cmpd="sng" algn="ctr">
            <a:noFill/>
            <a:prstDash val="solid"/>
            <a:miter lim="800000"/>
          </a:ln>
          <a:effectLst>
            <a:outerShdw blurRad="215900" sx="104000" sy="104000" algn="ctr" rotWithShape="0">
              <a:prstClr val="black">
                <a:alpha val="19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a:cs typeface="+mn-cs"/>
            </a:endParaRPr>
          </a:p>
        </p:txBody>
      </p:sp>
      <p:sp>
        <p:nvSpPr>
          <p:cNvPr id="34" name="Rectangle 211">
            <a:extLst>
              <a:ext uri="{FF2B5EF4-FFF2-40B4-BE49-F238E27FC236}">
                <a16:creationId xmlns:a16="http://schemas.microsoft.com/office/drawing/2014/main" id="{B319B17D-3E3D-4B47-A6D9-89B10FB425E3}"/>
              </a:ext>
            </a:extLst>
          </p:cNvPr>
          <p:cNvSpPr/>
          <p:nvPr/>
        </p:nvSpPr>
        <p:spPr>
          <a:xfrm>
            <a:off x="4204237" y="4200430"/>
            <a:ext cx="485243" cy="406665"/>
          </a:xfrm>
          <a:prstGeom prst="rect">
            <a:avLst/>
          </a:prstGeom>
          <a:gradFill flip="none" rotWithShape="1">
            <a:gsLst>
              <a:gs pos="100000">
                <a:schemeClr val="accent1"/>
              </a:gs>
              <a:gs pos="0">
                <a:schemeClr val="accent1"/>
              </a:gs>
            </a:gsLst>
            <a:lin ang="2700000" scaled="1"/>
            <a:tileRect/>
          </a:gradFill>
          <a:ln w="12700" cap="flat" cmpd="sng" algn="ctr">
            <a:noFill/>
            <a:prstDash val="solid"/>
            <a:miter lim="800000"/>
          </a:ln>
          <a:effectLst>
            <a:outerShdw blurRad="215900" sx="104000" sy="104000" algn="ctr" rotWithShape="0">
              <a:prstClr val="black">
                <a:alpha val="19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a:cs typeface="+mn-cs"/>
            </a:endParaRPr>
          </a:p>
        </p:txBody>
      </p:sp>
      <p:sp>
        <p:nvSpPr>
          <p:cNvPr id="35" name="Rectangle 189">
            <a:extLst>
              <a:ext uri="{FF2B5EF4-FFF2-40B4-BE49-F238E27FC236}">
                <a16:creationId xmlns:a16="http://schemas.microsoft.com/office/drawing/2014/main" id="{F04378F0-6042-459A-8576-F6C6BA3ACA35}"/>
              </a:ext>
            </a:extLst>
          </p:cNvPr>
          <p:cNvSpPr/>
          <p:nvPr/>
        </p:nvSpPr>
        <p:spPr>
          <a:xfrm>
            <a:off x="2872946" y="2412925"/>
            <a:ext cx="1008211" cy="571415"/>
          </a:xfrm>
          <a:prstGeom prst="rect">
            <a:avLst/>
          </a:prstGeom>
          <a:gradFill flip="none" rotWithShape="1">
            <a:gsLst>
              <a:gs pos="100000">
                <a:schemeClr val="accent1"/>
              </a:gs>
              <a:gs pos="0">
                <a:schemeClr val="accent1"/>
              </a:gs>
            </a:gsLst>
            <a:lin ang="2700000" scaled="1"/>
            <a:tileRect/>
          </a:gradFill>
          <a:ln w="12700" cap="flat" cmpd="sng" algn="ctr">
            <a:noFill/>
            <a:prstDash val="solid"/>
            <a:miter lim="800000"/>
          </a:ln>
          <a:effectLst>
            <a:outerShdw blurRad="215900" sx="104000" sy="104000" algn="ctr" rotWithShape="0">
              <a:prstClr val="black">
                <a:alpha val="19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a:cs typeface="+mn-cs"/>
            </a:endParaRPr>
          </a:p>
        </p:txBody>
      </p:sp>
      <p:sp>
        <p:nvSpPr>
          <p:cNvPr id="36" name="Rectangle 191">
            <a:extLst>
              <a:ext uri="{FF2B5EF4-FFF2-40B4-BE49-F238E27FC236}">
                <a16:creationId xmlns:a16="http://schemas.microsoft.com/office/drawing/2014/main" id="{10EAEAC2-D98B-4B9C-A346-7043F3F621EC}"/>
              </a:ext>
            </a:extLst>
          </p:cNvPr>
          <p:cNvSpPr/>
          <p:nvPr/>
        </p:nvSpPr>
        <p:spPr>
          <a:xfrm>
            <a:off x="2872946" y="3150535"/>
            <a:ext cx="1008211" cy="571415"/>
          </a:xfrm>
          <a:prstGeom prst="rect">
            <a:avLst/>
          </a:prstGeom>
          <a:gradFill flip="none" rotWithShape="1">
            <a:gsLst>
              <a:gs pos="100000">
                <a:schemeClr val="accent1"/>
              </a:gs>
              <a:gs pos="33000">
                <a:schemeClr val="accent1"/>
              </a:gs>
            </a:gsLst>
            <a:lin ang="1800000" scaled="0"/>
            <a:tileRect/>
          </a:gradFill>
          <a:ln w="12700" cap="flat" cmpd="sng" algn="ctr">
            <a:noFill/>
            <a:prstDash val="solid"/>
            <a:miter lim="800000"/>
          </a:ln>
          <a:effectLst>
            <a:outerShdw blurRad="215900" sx="104000" sy="104000" algn="ctr" rotWithShape="0">
              <a:prstClr val="black">
                <a:alpha val="19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a:cs typeface="+mn-cs"/>
            </a:endParaRPr>
          </a:p>
        </p:txBody>
      </p:sp>
      <p:sp>
        <p:nvSpPr>
          <p:cNvPr id="37" name="Rectangle 192">
            <a:extLst>
              <a:ext uri="{FF2B5EF4-FFF2-40B4-BE49-F238E27FC236}">
                <a16:creationId xmlns:a16="http://schemas.microsoft.com/office/drawing/2014/main" id="{A0D89F6B-BAA9-435B-B9E8-947E1E05A5C4}"/>
              </a:ext>
            </a:extLst>
          </p:cNvPr>
          <p:cNvSpPr/>
          <p:nvPr/>
        </p:nvSpPr>
        <p:spPr>
          <a:xfrm>
            <a:off x="2872946" y="3885355"/>
            <a:ext cx="1008211" cy="571415"/>
          </a:xfrm>
          <a:prstGeom prst="rect">
            <a:avLst/>
          </a:prstGeom>
          <a:gradFill flip="none" rotWithShape="1">
            <a:gsLst>
              <a:gs pos="100000">
                <a:schemeClr val="accent1"/>
              </a:gs>
              <a:gs pos="0">
                <a:schemeClr val="accent1"/>
              </a:gs>
            </a:gsLst>
            <a:lin ang="2700000" scaled="1"/>
            <a:tileRect/>
          </a:gradFill>
          <a:ln w="12700" cap="flat" cmpd="sng" algn="ctr">
            <a:noFill/>
            <a:prstDash val="solid"/>
            <a:miter lim="800000"/>
          </a:ln>
          <a:effectLst>
            <a:outerShdw blurRad="215900" sx="104000" sy="104000" algn="ctr" rotWithShape="0">
              <a:prstClr val="black">
                <a:alpha val="19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a:cs typeface="+mn-cs"/>
            </a:endParaRPr>
          </a:p>
        </p:txBody>
      </p:sp>
      <p:sp>
        <p:nvSpPr>
          <p:cNvPr id="38" name="Trapezoid 193">
            <a:extLst>
              <a:ext uri="{FF2B5EF4-FFF2-40B4-BE49-F238E27FC236}">
                <a16:creationId xmlns:a16="http://schemas.microsoft.com/office/drawing/2014/main" id="{BD6A3D7B-6B79-47A0-8741-ADE7C4E8FF59}"/>
              </a:ext>
            </a:extLst>
          </p:cNvPr>
          <p:cNvSpPr/>
          <p:nvPr/>
        </p:nvSpPr>
        <p:spPr>
          <a:xfrm rot="5400000">
            <a:off x="3760512" y="3269495"/>
            <a:ext cx="571414" cy="333496"/>
          </a:xfrm>
          <a:prstGeom prst="trapezoid">
            <a:avLst>
              <a:gd name="adj" fmla="val 14399"/>
            </a:avLst>
          </a:prstGeom>
          <a:gradFill flip="none" rotWithShape="1">
            <a:gsLst>
              <a:gs pos="100000">
                <a:schemeClr val="accent1"/>
              </a:gs>
              <a:gs pos="33000">
                <a:schemeClr val="accent1"/>
              </a:gs>
            </a:gsLst>
            <a:lin ang="1800000" scaled="0"/>
            <a:tileRect/>
          </a:gradFill>
          <a:ln w="12700" cap="flat" cmpd="sng" algn="ctr">
            <a:noFill/>
            <a:prstDash val="solid"/>
            <a:miter lim="800000"/>
          </a:ln>
          <a:effectLst>
            <a:outerShdw blurRad="215900" sx="104000" sy="104000" algn="ctr" rotWithShape="0">
              <a:prstClr val="black">
                <a:alpha val="19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a:cs typeface="+mn-cs"/>
            </a:endParaRPr>
          </a:p>
        </p:txBody>
      </p:sp>
      <p:sp>
        <p:nvSpPr>
          <p:cNvPr id="39" name="Trapezoid 39">
            <a:extLst>
              <a:ext uri="{FF2B5EF4-FFF2-40B4-BE49-F238E27FC236}">
                <a16:creationId xmlns:a16="http://schemas.microsoft.com/office/drawing/2014/main" id="{4E3EAF5A-7EBC-4143-B353-A611C9F3EA43}"/>
              </a:ext>
            </a:extLst>
          </p:cNvPr>
          <p:cNvSpPr/>
          <p:nvPr/>
        </p:nvSpPr>
        <p:spPr>
          <a:xfrm rot="5400000">
            <a:off x="3677201" y="2616623"/>
            <a:ext cx="742891" cy="335498"/>
          </a:xfrm>
          <a:custGeom>
            <a:avLst/>
            <a:gdLst>
              <a:gd name="connsiteX0" fmla="*/ 0 w 896291"/>
              <a:gd name="connsiteY0" fmla="*/ 896293 h 896293"/>
              <a:gd name="connsiteX1" fmla="*/ 155955 w 896291"/>
              <a:gd name="connsiteY1" fmla="*/ 0 h 896293"/>
              <a:gd name="connsiteX2" fmla="*/ 740336 w 896291"/>
              <a:gd name="connsiteY2" fmla="*/ 0 h 896293"/>
              <a:gd name="connsiteX3" fmla="*/ 896291 w 896291"/>
              <a:gd name="connsiteY3" fmla="*/ 896293 h 896293"/>
              <a:gd name="connsiteX4" fmla="*/ 0 w 896291"/>
              <a:gd name="connsiteY4" fmla="*/ 896293 h 896293"/>
              <a:gd name="connsiteX0" fmla="*/ 0 w 1165263"/>
              <a:gd name="connsiteY0" fmla="*/ 896293 h 896293"/>
              <a:gd name="connsiteX1" fmla="*/ 155955 w 1165263"/>
              <a:gd name="connsiteY1" fmla="*/ 0 h 896293"/>
              <a:gd name="connsiteX2" fmla="*/ 1165263 w 1165263"/>
              <a:gd name="connsiteY2" fmla="*/ 0 h 896293"/>
              <a:gd name="connsiteX3" fmla="*/ 896291 w 1165263"/>
              <a:gd name="connsiteY3" fmla="*/ 896293 h 896293"/>
              <a:gd name="connsiteX4" fmla="*/ 0 w 1165263"/>
              <a:gd name="connsiteY4" fmla="*/ 896293 h 896293"/>
              <a:gd name="connsiteX0" fmla="*/ 0 w 1165263"/>
              <a:gd name="connsiteY0" fmla="*/ 901672 h 901672"/>
              <a:gd name="connsiteX1" fmla="*/ 521715 w 1165263"/>
              <a:gd name="connsiteY1" fmla="*/ 0 h 901672"/>
              <a:gd name="connsiteX2" fmla="*/ 1165263 w 1165263"/>
              <a:gd name="connsiteY2" fmla="*/ 5379 h 901672"/>
              <a:gd name="connsiteX3" fmla="*/ 896291 w 1165263"/>
              <a:gd name="connsiteY3" fmla="*/ 901672 h 901672"/>
              <a:gd name="connsiteX4" fmla="*/ 0 w 1165263"/>
              <a:gd name="connsiteY4" fmla="*/ 901672 h 9016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65263" h="901672">
                <a:moveTo>
                  <a:pt x="0" y="901672"/>
                </a:moveTo>
                <a:lnTo>
                  <a:pt x="521715" y="0"/>
                </a:lnTo>
                <a:lnTo>
                  <a:pt x="1165263" y="5379"/>
                </a:lnTo>
                <a:lnTo>
                  <a:pt x="896291" y="901672"/>
                </a:lnTo>
                <a:lnTo>
                  <a:pt x="0" y="901672"/>
                </a:lnTo>
                <a:close/>
              </a:path>
            </a:pathLst>
          </a:custGeom>
          <a:gradFill flip="none" rotWithShape="1">
            <a:gsLst>
              <a:gs pos="100000">
                <a:schemeClr val="accent1"/>
              </a:gs>
              <a:gs pos="0">
                <a:schemeClr val="accent1"/>
              </a:gs>
            </a:gsLst>
            <a:lin ang="2700000" scaled="1"/>
            <a:tileRect/>
          </a:gradFill>
          <a:ln w="12700" cap="flat" cmpd="sng" algn="ctr">
            <a:noFill/>
            <a:prstDash val="solid"/>
            <a:miter lim="800000"/>
          </a:ln>
          <a:effectLst>
            <a:outerShdw blurRad="215900" sx="104000" sy="104000" algn="ctr" rotWithShape="0">
              <a:prstClr val="black">
                <a:alpha val="19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a:cs typeface="+mn-cs"/>
            </a:endParaRPr>
          </a:p>
        </p:txBody>
      </p:sp>
      <p:sp>
        <p:nvSpPr>
          <p:cNvPr id="40" name="Trapezoid 39">
            <a:extLst>
              <a:ext uri="{FF2B5EF4-FFF2-40B4-BE49-F238E27FC236}">
                <a16:creationId xmlns:a16="http://schemas.microsoft.com/office/drawing/2014/main" id="{65BD36FF-CE88-4EAE-BDFA-FEF5DC90E9AC}"/>
              </a:ext>
            </a:extLst>
          </p:cNvPr>
          <p:cNvSpPr/>
          <p:nvPr/>
        </p:nvSpPr>
        <p:spPr>
          <a:xfrm rot="5400000" flipH="1">
            <a:off x="3678597" y="3918973"/>
            <a:ext cx="740101" cy="335496"/>
          </a:xfrm>
          <a:custGeom>
            <a:avLst/>
            <a:gdLst>
              <a:gd name="connsiteX0" fmla="*/ 0 w 896291"/>
              <a:gd name="connsiteY0" fmla="*/ 896293 h 896293"/>
              <a:gd name="connsiteX1" fmla="*/ 155955 w 896291"/>
              <a:gd name="connsiteY1" fmla="*/ 0 h 896293"/>
              <a:gd name="connsiteX2" fmla="*/ 740336 w 896291"/>
              <a:gd name="connsiteY2" fmla="*/ 0 h 896293"/>
              <a:gd name="connsiteX3" fmla="*/ 896291 w 896291"/>
              <a:gd name="connsiteY3" fmla="*/ 896293 h 896293"/>
              <a:gd name="connsiteX4" fmla="*/ 0 w 896291"/>
              <a:gd name="connsiteY4" fmla="*/ 896293 h 896293"/>
              <a:gd name="connsiteX0" fmla="*/ 0 w 1165263"/>
              <a:gd name="connsiteY0" fmla="*/ 896293 h 896293"/>
              <a:gd name="connsiteX1" fmla="*/ 155955 w 1165263"/>
              <a:gd name="connsiteY1" fmla="*/ 0 h 896293"/>
              <a:gd name="connsiteX2" fmla="*/ 1165263 w 1165263"/>
              <a:gd name="connsiteY2" fmla="*/ 0 h 896293"/>
              <a:gd name="connsiteX3" fmla="*/ 896291 w 1165263"/>
              <a:gd name="connsiteY3" fmla="*/ 896293 h 896293"/>
              <a:gd name="connsiteX4" fmla="*/ 0 w 1165263"/>
              <a:gd name="connsiteY4" fmla="*/ 896293 h 896293"/>
              <a:gd name="connsiteX0" fmla="*/ 0 w 1165263"/>
              <a:gd name="connsiteY0" fmla="*/ 901672 h 901672"/>
              <a:gd name="connsiteX1" fmla="*/ 521715 w 1165263"/>
              <a:gd name="connsiteY1" fmla="*/ 0 h 901672"/>
              <a:gd name="connsiteX2" fmla="*/ 1165263 w 1165263"/>
              <a:gd name="connsiteY2" fmla="*/ 5379 h 901672"/>
              <a:gd name="connsiteX3" fmla="*/ 896291 w 1165263"/>
              <a:gd name="connsiteY3" fmla="*/ 901672 h 901672"/>
              <a:gd name="connsiteX4" fmla="*/ 0 w 1165263"/>
              <a:gd name="connsiteY4" fmla="*/ 901672 h 9016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65263" h="901672">
                <a:moveTo>
                  <a:pt x="0" y="901672"/>
                </a:moveTo>
                <a:lnTo>
                  <a:pt x="521715" y="0"/>
                </a:lnTo>
                <a:lnTo>
                  <a:pt x="1165263" y="5379"/>
                </a:lnTo>
                <a:lnTo>
                  <a:pt x="896291" y="901672"/>
                </a:lnTo>
                <a:lnTo>
                  <a:pt x="0" y="901672"/>
                </a:lnTo>
                <a:close/>
              </a:path>
            </a:pathLst>
          </a:custGeom>
          <a:gradFill flip="none" rotWithShape="1">
            <a:gsLst>
              <a:gs pos="100000">
                <a:schemeClr val="accent1"/>
              </a:gs>
              <a:gs pos="0">
                <a:schemeClr val="accent1"/>
              </a:gs>
            </a:gsLst>
            <a:lin ang="2700000" scaled="1"/>
            <a:tileRect/>
          </a:gradFill>
          <a:ln w="12700" cap="flat" cmpd="sng" algn="ctr">
            <a:noFill/>
            <a:prstDash val="solid"/>
            <a:miter lim="800000"/>
          </a:ln>
          <a:effectLst>
            <a:outerShdw blurRad="215900" sx="104000" sy="104000" algn="ctr" rotWithShape="0">
              <a:prstClr val="black">
                <a:alpha val="19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a:cs typeface="+mn-cs"/>
            </a:endParaRPr>
          </a:p>
        </p:txBody>
      </p:sp>
      <p:sp>
        <p:nvSpPr>
          <p:cNvPr id="41" name="Rectangle 208">
            <a:extLst>
              <a:ext uri="{FF2B5EF4-FFF2-40B4-BE49-F238E27FC236}">
                <a16:creationId xmlns:a16="http://schemas.microsoft.com/office/drawing/2014/main" id="{D8C3D020-0771-498F-AC69-B3C1FFBD083C}"/>
              </a:ext>
            </a:extLst>
          </p:cNvPr>
          <p:cNvSpPr/>
          <p:nvPr/>
        </p:nvSpPr>
        <p:spPr>
          <a:xfrm>
            <a:off x="2872946" y="1707290"/>
            <a:ext cx="1008211" cy="571415"/>
          </a:xfrm>
          <a:prstGeom prst="rect">
            <a:avLst/>
          </a:prstGeom>
          <a:gradFill flip="none" rotWithShape="1">
            <a:gsLst>
              <a:gs pos="100000">
                <a:schemeClr val="accent1"/>
              </a:gs>
              <a:gs pos="0">
                <a:schemeClr val="accent1"/>
              </a:gs>
            </a:gsLst>
            <a:lin ang="2700000" scaled="1"/>
            <a:tileRect/>
          </a:gradFill>
          <a:ln w="12700" cap="flat" cmpd="sng" algn="ctr">
            <a:noFill/>
            <a:prstDash val="solid"/>
            <a:miter lim="800000"/>
          </a:ln>
          <a:effectLst>
            <a:outerShdw blurRad="215900" sx="104000" sy="104000" algn="ctr" rotWithShape="0">
              <a:prstClr val="black">
                <a:alpha val="19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a:cs typeface="+mn-cs"/>
            </a:endParaRPr>
          </a:p>
        </p:txBody>
      </p:sp>
      <p:sp>
        <p:nvSpPr>
          <p:cNvPr id="42" name="Rectangle 210">
            <a:extLst>
              <a:ext uri="{FF2B5EF4-FFF2-40B4-BE49-F238E27FC236}">
                <a16:creationId xmlns:a16="http://schemas.microsoft.com/office/drawing/2014/main" id="{EAA98CFD-B1F0-4DA9-B5C4-C23C66900D94}"/>
              </a:ext>
            </a:extLst>
          </p:cNvPr>
          <p:cNvSpPr/>
          <p:nvPr/>
        </p:nvSpPr>
        <p:spPr>
          <a:xfrm>
            <a:off x="2872946" y="4599245"/>
            <a:ext cx="1008211" cy="571415"/>
          </a:xfrm>
          <a:prstGeom prst="rect">
            <a:avLst/>
          </a:prstGeom>
          <a:gradFill flip="none" rotWithShape="1">
            <a:gsLst>
              <a:gs pos="100000">
                <a:schemeClr val="accent1"/>
              </a:gs>
              <a:gs pos="0">
                <a:schemeClr val="accent1"/>
              </a:gs>
            </a:gsLst>
            <a:lin ang="2700000" scaled="1"/>
            <a:tileRect/>
          </a:gradFill>
          <a:ln w="12700" cap="flat" cmpd="sng" algn="ctr">
            <a:noFill/>
            <a:prstDash val="solid"/>
            <a:miter lim="800000"/>
          </a:ln>
          <a:effectLst>
            <a:outerShdw blurRad="215900" sx="104000" sy="104000" algn="ctr" rotWithShape="0">
              <a:prstClr val="black">
                <a:alpha val="19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a:cs typeface="+mn-cs"/>
            </a:endParaRPr>
          </a:p>
        </p:txBody>
      </p:sp>
      <p:sp>
        <p:nvSpPr>
          <p:cNvPr id="43" name="Trapezoid 39">
            <a:extLst>
              <a:ext uri="{FF2B5EF4-FFF2-40B4-BE49-F238E27FC236}">
                <a16:creationId xmlns:a16="http://schemas.microsoft.com/office/drawing/2014/main" id="{C895B837-9C31-4A4A-AF9C-E1CA21292F03}"/>
              </a:ext>
            </a:extLst>
          </p:cNvPr>
          <p:cNvSpPr/>
          <p:nvPr/>
        </p:nvSpPr>
        <p:spPr>
          <a:xfrm rot="5400000">
            <a:off x="3563279" y="2022563"/>
            <a:ext cx="964073" cy="332751"/>
          </a:xfrm>
          <a:custGeom>
            <a:avLst/>
            <a:gdLst>
              <a:gd name="connsiteX0" fmla="*/ 0 w 896291"/>
              <a:gd name="connsiteY0" fmla="*/ 896293 h 896293"/>
              <a:gd name="connsiteX1" fmla="*/ 155955 w 896291"/>
              <a:gd name="connsiteY1" fmla="*/ 0 h 896293"/>
              <a:gd name="connsiteX2" fmla="*/ 740336 w 896291"/>
              <a:gd name="connsiteY2" fmla="*/ 0 h 896293"/>
              <a:gd name="connsiteX3" fmla="*/ 896291 w 896291"/>
              <a:gd name="connsiteY3" fmla="*/ 896293 h 896293"/>
              <a:gd name="connsiteX4" fmla="*/ 0 w 896291"/>
              <a:gd name="connsiteY4" fmla="*/ 896293 h 896293"/>
              <a:gd name="connsiteX0" fmla="*/ 0 w 1165263"/>
              <a:gd name="connsiteY0" fmla="*/ 896293 h 896293"/>
              <a:gd name="connsiteX1" fmla="*/ 155955 w 1165263"/>
              <a:gd name="connsiteY1" fmla="*/ 0 h 896293"/>
              <a:gd name="connsiteX2" fmla="*/ 1165263 w 1165263"/>
              <a:gd name="connsiteY2" fmla="*/ 0 h 896293"/>
              <a:gd name="connsiteX3" fmla="*/ 896291 w 1165263"/>
              <a:gd name="connsiteY3" fmla="*/ 896293 h 896293"/>
              <a:gd name="connsiteX4" fmla="*/ 0 w 1165263"/>
              <a:gd name="connsiteY4" fmla="*/ 896293 h 896293"/>
              <a:gd name="connsiteX0" fmla="*/ 0 w 1165263"/>
              <a:gd name="connsiteY0" fmla="*/ 901672 h 901672"/>
              <a:gd name="connsiteX1" fmla="*/ 521715 w 1165263"/>
              <a:gd name="connsiteY1" fmla="*/ 0 h 901672"/>
              <a:gd name="connsiteX2" fmla="*/ 1165263 w 1165263"/>
              <a:gd name="connsiteY2" fmla="*/ 5379 h 901672"/>
              <a:gd name="connsiteX3" fmla="*/ 896291 w 1165263"/>
              <a:gd name="connsiteY3" fmla="*/ 901672 h 901672"/>
              <a:gd name="connsiteX4" fmla="*/ 0 w 1165263"/>
              <a:gd name="connsiteY4" fmla="*/ 901672 h 901672"/>
              <a:gd name="connsiteX0" fmla="*/ 0 w 1512199"/>
              <a:gd name="connsiteY0" fmla="*/ 901672 h 901672"/>
              <a:gd name="connsiteX1" fmla="*/ 521715 w 1512199"/>
              <a:gd name="connsiteY1" fmla="*/ 0 h 901672"/>
              <a:gd name="connsiteX2" fmla="*/ 1512199 w 1512199"/>
              <a:gd name="connsiteY2" fmla="*/ 20141 h 901672"/>
              <a:gd name="connsiteX3" fmla="*/ 896291 w 1512199"/>
              <a:gd name="connsiteY3" fmla="*/ 901672 h 901672"/>
              <a:gd name="connsiteX4" fmla="*/ 0 w 1512199"/>
              <a:gd name="connsiteY4" fmla="*/ 901672 h 901672"/>
              <a:gd name="connsiteX0" fmla="*/ 0 w 1512199"/>
              <a:gd name="connsiteY0" fmla="*/ 894290 h 894290"/>
              <a:gd name="connsiteX1" fmla="*/ 879720 w 1512199"/>
              <a:gd name="connsiteY1" fmla="*/ 0 h 894290"/>
              <a:gd name="connsiteX2" fmla="*/ 1512199 w 1512199"/>
              <a:gd name="connsiteY2" fmla="*/ 12759 h 894290"/>
              <a:gd name="connsiteX3" fmla="*/ 896291 w 1512199"/>
              <a:gd name="connsiteY3" fmla="*/ 894290 h 894290"/>
              <a:gd name="connsiteX4" fmla="*/ 0 w 1512199"/>
              <a:gd name="connsiteY4" fmla="*/ 894290 h 894290"/>
              <a:gd name="connsiteX0" fmla="*/ 0 w 1512199"/>
              <a:gd name="connsiteY0" fmla="*/ 894290 h 894290"/>
              <a:gd name="connsiteX1" fmla="*/ 879720 w 1512199"/>
              <a:gd name="connsiteY1" fmla="*/ 0 h 894290"/>
              <a:gd name="connsiteX2" fmla="*/ 1512199 w 1512199"/>
              <a:gd name="connsiteY2" fmla="*/ 5377 h 894290"/>
              <a:gd name="connsiteX3" fmla="*/ 896291 w 1512199"/>
              <a:gd name="connsiteY3" fmla="*/ 894290 h 894290"/>
              <a:gd name="connsiteX4" fmla="*/ 0 w 1512199"/>
              <a:gd name="connsiteY4" fmla="*/ 894290 h 8942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12199" h="894290">
                <a:moveTo>
                  <a:pt x="0" y="894290"/>
                </a:moveTo>
                <a:lnTo>
                  <a:pt x="879720" y="0"/>
                </a:lnTo>
                <a:lnTo>
                  <a:pt x="1512199" y="5377"/>
                </a:lnTo>
                <a:lnTo>
                  <a:pt x="896291" y="894290"/>
                </a:lnTo>
                <a:lnTo>
                  <a:pt x="0" y="894290"/>
                </a:lnTo>
                <a:close/>
              </a:path>
            </a:pathLst>
          </a:custGeom>
          <a:gradFill flip="none" rotWithShape="1">
            <a:gsLst>
              <a:gs pos="100000">
                <a:schemeClr val="accent1"/>
              </a:gs>
              <a:gs pos="0">
                <a:schemeClr val="accent1"/>
              </a:gs>
            </a:gsLst>
            <a:lin ang="2700000" scaled="1"/>
            <a:tileRect/>
          </a:gradFill>
          <a:ln w="12700" cap="flat" cmpd="sng" algn="ctr">
            <a:noFill/>
            <a:prstDash val="solid"/>
            <a:miter lim="800000"/>
          </a:ln>
          <a:effectLst>
            <a:outerShdw blurRad="215900" sx="104000" sy="104000" algn="ctr" rotWithShape="0">
              <a:prstClr val="black">
                <a:alpha val="19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a:cs typeface="+mn-cs"/>
            </a:endParaRPr>
          </a:p>
        </p:txBody>
      </p:sp>
      <p:sp>
        <p:nvSpPr>
          <p:cNvPr id="44" name="Trapezoid 39">
            <a:extLst>
              <a:ext uri="{FF2B5EF4-FFF2-40B4-BE49-F238E27FC236}">
                <a16:creationId xmlns:a16="http://schemas.microsoft.com/office/drawing/2014/main" id="{35ADE095-22EC-434E-8034-9DCD6D4F2B22}"/>
              </a:ext>
            </a:extLst>
          </p:cNvPr>
          <p:cNvSpPr/>
          <p:nvPr/>
        </p:nvSpPr>
        <p:spPr>
          <a:xfrm rot="16200000" flipV="1">
            <a:off x="3559550" y="4522246"/>
            <a:ext cx="964073" cy="332753"/>
          </a:xfrm>
          <a:custGeom>
            <a:avLst/>
            <a:gdLst>
              <a:gd name="connsiteX0" fmla="*/ 0 w 896291"/>
              <a:gd name="connsiteY0" fmla="*/ 896293 h 896293"/>
              <a:gd name="connsiteX1" fmla="*/ 155955 w 896291"/>
              <a:gd name="connsiteY1" fmla="*/ 0 h 896293"/>
              <a:gd name="connsiteX2" fmla="*/ 740336 w 896291"/>
              <a:gd name="connsiteY2" fmla="*/ 0 h 896293"/>
              <a:gd name="connsiteX3" fmla="*/ 896291 w 896291"/>
              <a:gd name="connsiteY3" fmla="*/ 896293 h 896293"/>
              <a:gd name="connsiteX4" fmla="*/ 0 w 896291"/>
              <a:gd name="connsiteY4" fmla="*/ 896293 h 896293"/>
              <a:gd name="connsiteX0" fmla="*/ 0 w 1165263"/>
              <a:gd name="connsiteY0" fmla="*/ 896293 h 896293"/>
              <a:gd name="connsiteX1" fmla="*/ 155955 w 1165263"/>
              <a:gd name="connsiteY1" fmla="*/ 0 h 896293"/>
              <a:gd name="connsiteX2" fmla="*/ 1165263 w 1165263"/>
              <a:gd name="connsiteY2" fmla="*/ 0 h 896293"/>
              <a:gd name="connsiteX3" fmla="*/ 896291 w 1165263"/>
              <a:gd name="connsiteY3" fmla="*/ 896293 h 896293"/>
              <a:gd name="connsiteX4" fmla="*/ 0 w 1165263"/>
              <a:gd name="connsiteY4" fmla="*/ 896293 h 896293"/>
              <a:gd name="connsiteX0" fmla="*/ 0 w 1165263"/>
              <a:gd name="connsiteY0" fmla="*/ 901672 h 901672"/>
              <a:gd name="connsiteX1" fmla="*/ 521715 w 1165263"/>
              <a:gd name="connsiteY1" fmla="*/ 0 h 901672"/>
              <a:gd name="connsiteX2" fmla="*/ 1165263 w 1165263"/>
              <a:gd name="connsiteY2" fmla="*/ 5379 h 901672"/>
              <a:gd name="connsiteX3" fmla="*/ 896291 w 1165263"/>
              <a:gd name="connsiteY3" fmla="*/ 901672 h 901672"/>
              <a:gd name="connsiteX4" fmla="*/ 0 w 1165263"/>
              <a:gd name="connsiteY4" fmla="*/ 901672 h 901672"/>
              <a:gd name="connsiteX0" fmla="*/ 0 w 1512199"/>
              <a:gd name="connsiteY0" fmla="*/ 901672 h 901672"/>
              <a:gd name="connsiteX1" fmla="*/ 521715 w 1512199"/>
              <a:gd name="connsiteY1" fmla="*/ 0 h 901672"/>
              <a:gd name="connsiteX2" fmla="*/ 1512199 w 1512199"/>
              <a:gd name="connsiteY2" fmla="*/ 20141 h 901672"/>
              <a:gd name="connsiteX3" fmla="*/ 896291 w 1512199"/>
              <a:gd name="connsiteY3" fmla="*/ 901672 h 901672"/>
              <a:gd name="connsiteX4" fmla="*/ 0 w 1512199"/>
              <a:gd name="connsiteY4" fmla="*/ 901672 h 901672"/>
              <a:gd name="connsiteX0" fmla="*/ 0 w 1512199"/>
              <a:gd name="connsiteY0" fmla="*/ 894290 h 894290"/>
              <a:gd name="connsiteX1" fmla="*/ 879720 w 1512199"/>
              <a:gd name="connsiteY1" fmla="*/ 0 h 894290"/>
              <a:gd name="connsiteX2" fmla="*/ 1512199 w 1512199"/>
              <a:gd name="connsiteY2" fmla="*/ 12759 h 894290"/>
              <a:gd name="connsiteX3" fmla="*/ 896291 w 1512199"/>
              <a:gd name="connsiteY3" fmla="*/ 894290 h 894290"/>
              <a:gd name="connsiteX4" fmla="*/ 0 w 1512199"/>
              <a:gd name="connsiteY4" fmla="*/ 894290 h 894290"/>
              <a:gd name="connsiteX0" fmla="*/ 0 w 1512199"/>
              <a:gd name="connsiteY0" fmla="*/ 894290 h 894290"/>
              <a:gd name="connsiteX1" fmla="*/ 879720 w 1512199"/>
              <a:gd name="connsiteY1" fmla="*/ 0 h 894290"/>
              <a:gd name="connsiteX2" fmla="*/ 1512199 w 1512199"/>
              <a:gd name="connsiteY2" fmla="*/ 5377 h 894290"/>
              <a:gd name="connsiteX3" fmla="*/ 896291 w 1512199"/>
              <a:gd name="connsiteY3" fmla="*/ 894290 h 894290"/>
              <a:gd name="connsiteX4" fmla="*/ 0 w 1512199"/>
              <a:gd name="connsiteY4" fmla="*/ 894290 h 8942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12199" h="894290">
                <a:moveTo>
                  <a:pt x="0" y="894290"/>
                </a:moveTo>
                <a:lnTo>
                  <a:pt x="879720" y="0"/>
                </a:lnTo>
                <a:lnTo>
                  <a:pt x="1512199" y="5377"/>
                </a:lnTo>
                <a:lnTo>
                  <a:pt x="896291" y="894290"/>
                </a:lnTo>
                <a:lnTo>
                  <a:pt x="0" y="894290"/>
                </a:lnTo>
                <a:close/>
              </a:path>
            </a:pathLst>
          </a:custGeom>
          <a:gradFill flip="none" rotWithShape="1">
            <a:gsLst>
              <a:gs pos="100000">
                <a:schemeClr val="accent1"/>
              </a:gs>
              <a:gs pos="0">
                <a:schemeClr val="accent1"/>
              </a:gs>
            </a:gsLst>
            <a:lin ang="2700000" scaled="1"/>
            <a:tileRect/>
          </a:gradFill>
          <a:ln w="12700" cap="flat" cmpd="sng" algn="ctr">
            <a:noFill/>
            <a:prstDash val="solid"/>
            <a:miter lim="800000"/>
          </a:ln>
          <a:effectLst>
            <a:outerShdw blurRad="215900" sx="104000" sy="104000" algn="ctr" rotWithShape="0">
              <a:prstClr val="black">
                <a:alpha val="19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a:cs typeface="+mn-cs"/>
            </a:endParaRPr>
          </a:p>
        </p:txBody>
      </p:sp>
      <p:sp>
        <p:nvSpPr>
          <p:cNvPr id="45" name="Isosceles Triangle 214">
            <a:extLst>
              <a:ext uri="{FF2B5EF4-FFF2-40B4-BE49-F238E27FC236}">
                <a16:creationId xmlns:a16="http://schemas.microsoft.com/office/drawing/2014/main" id="{02F02F4C-925A-4743-948A-1F16D0472873}"/>
              </a:ext>
            </a:extLst>
          </p:cNvPr>
          <p:cNvSpPr/>
          <p:nvPr/>
        </p:nvSpPr>
        <p:spPr>
          <a:xfrm rot="16200000">
            <a:off x="2671939" y="4820988"/>
            <a:ext cx="274092" cy="127925"/>
          </a:xfrm>
          <a:prstGeom prst="triangle">
            <a:avLst/>
          </a:prstGeom>
          <a:gradFill flip="none" rotWithShape="1">
            <a:gsLst>
              <a:gs pos="100000">
                <a:schemeClr val="accent1"/>
              </a:gs>
              <a:gs pos="0">
                <a:schemeClr val="accent1"/>
              </a:gs>
            </a:gsLst>
            <a:lin ang="2700000" scaled="1"/>
            <a:tileRect/>
          </a:gradFill>
          <a:ln w="12700" cap="flat" cmpd="sng" algn="ctr">
            <a:noFill/>
            <a:prstDash val="solid"/>
            <a:miter lim="800000"/>
          </a:ln>
          <a:effectLst>
            <a:outerShdw blurRad="215900" sx="104000" sy="104000" algn="ctr" rotWithShape="0">
              <a:prstClr val="black">
                <a:alpha val="19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a:cs typeface="+mn-cs"/>
            </a:endParaRPr>
          </a:p>
        </p:txBody>
      </p:sp>
      <p:grpSp>
        <p:nvGrpSpPr>
          <p:cNvPr id="46" name="Group 8">
            <a:extLst>
              <a:ext uri="{FF2B5EF4-FFF2-40B4-BE49-F238E27FC236}">
                <a16:creationId xmlns:a16="http://schemas.microsoft.com/office/drawing/2014/main" id="{242245C9-A841-4DC2-84C2-6AF07B7B52C3}"/>
              </a:ext>
            </a:extLst>
          </p:cNvPr>
          <p:cNvGrpSpPr/>
          <p:nvPr/>
        </p:nvGrpSpPr>
        <p:grpSpPr>
          <a:xfrm>
            <a:off x="4321293" y="2382868"/>
            <a:ext cx="251130" cy="2129324"/>
            <a:chOff x="4149704" y="1953639"/>
            <a:chExt cx="258054" cy="2188032"/>
          </a:xfrm>
        </p:grpSpPr>
        <p:grpSp>
          <p:nvGrpSpPr>
            <p:cNvPr id="47" name="Group 216">
              <a:extLst>
                <a:ext uri="{FF2B5EF4-FFF2-40B4-BE49-F238E27FC236}">
                  <a16:creationId xmlns:a16="http://schemas.microsoft.com/office/drawing/2014/main" id="{9076B7CC-1ED2-426E-87BC-1C19A73D1A5C}"/>
                </a:ext>
              </a:extLst>
            </p:cNvPr>
            <p:cNvGrpSpPr/>
            <p:nvPr/>
          </p:nvGrpSpPr>
          <p:grpSpPr>
            <a:xfrm>
              <a:off x="4170332" y="2927657"/>
              <a:ext cx="216799" cy="216798"/>
              <a:chOff x="5367338" y="2693988"/>
              <a:chExt cx="1463676" cy="1463683"/>
            </a:xfrm>
            <a:solidFill>
              <a:schemeClr val="bg1"/>
            </a:solidFill>
          </p:grpSpPr>
          <p:sp>
            <p:nvSpPr>
              <p:cNvPr id="74" name="Freeform 17">
                <a:extLst>
                  <a:ext uri="{FF2B5EF4-FFF2-40B4-BE49-F238E27FC236}">
                    <a16:creationId xmlns:a16="http://schemas.microsoft.com/office/drawing/2014/main" id="{8F8D4321-05EF-43CF-8793-1E5D834C868B}"/>
                  </a:ext>
                </a:extLst>
              </p:cNvPr>
              <p:cNvSpPr>
                <a:spLocks noEditPoints="1"/>
              </p:cNvSpPr>
              <p:nvPr/>
            </p:nvSpPr>
            <p:spPr bwMode="auto">
              <a:xfrm>
                <a:off x="6026152" y="2841630"/>
                <a:ext cx="804862" cy="1292228"/>
              </a:xfrm>
              <a:custGeom>
                <a:avLst/>
                <a:gdLst>
                  <a:gd name="T0" fmla="*/ 180 w 213"/>
                  <a:gd name="T1" fmla="*/ 47 h 342"/>
                  <a:gd name="T2" fmla="*/ 174 w 213"/>
                  <a:gd name="T3" fmla="*/ 48 h 342"/>
                  <a:gd name="T4" fmla="*/ 143 w 213"/>
                  <a:gd name="T5" fmla="*/ 51 h 342"/>
                  <a:gd name="T6" fmla="*/ 135 w 213"/>
                  <a:gd name="T7" fmla="*/ 65 h 342"/>
                  <a:gd name="T8" fmla="*/ 128 w 213"/>
                  <a:gd name="T9" fmla="*/ 63 h 342"/>
                  <a:gd name="T10" fmla="*/ 104 w 213"/>
                  <a:gd name="T11" fmla="*/ 41 h 342"/>
                  <a:gd name="T12" fmla="*/ 100 w 213"/>
                  <a:gd name="T13" fmla="*/ 29 h 342"/>
                  <a:gd name="T14" fmla="*/ 95 w 213"/>
                  <a:gd name="T15" fmla="*/ 17 h 342"/>
                  <a:gd name="T16" fmla="*/ 80 w 213"/>
                  <a:gd name="T17" fmla="*/ 3 h 342"/>
                  <a:gd name="T18" fmla="*/ 62 w 213"/>
                  <a:gd name="T19" fmla="*/ 0 h 342"/>
                  <a:gd name="T20" fmla="*/ 61 w 213"/>
                  <a:gd name="T21" fmla="*/ 8 h 342"/>
                  <a:gd name="T22" fmla="*/ 79 w 213"/>
                  <a:gd name="T23" fmla="*/ 25 h 342"/>
                  <a:gd name="T24" fmla="*/ 88 w 213"/>
                  <a:gd name="T25" fmla="*/ 36 h 342"/>
                  <a:gd name="T26" fmla="*/ 78 w 213"/>
                  <a:gd name="T27" fmla="*/ 41 h 342"/>
                  <a:gd name="T28" fmla="*/ 70 w 213"/>
                  <a:gd name="T29" fmla="*/ 38 h 342"/>
                  <a:gd name="T30" fmla="*/ 58 w 213"/>
                  <a:gd name="T31" fmla="*/ 33 h 342"/>
                  <a:gd name="T32" fmla="*/ 59 w 213"/>
                  <a:gd name="T33" fmla="*/ 24 h 342"/>
                  <a:gd name="T34" fmla="*/ 43 w 213"/>
                  <a:gd name="T35" fmla="*/ 17 h 342"/>
                  <a:gd name="T36" fmla="*/ 38 w 213"/>
                  <a:gd name="T37" fmla="*/ 40 h 342"/>
                  <a:gd name="T38" fmla="*/ 22 w 213"/>
                  <a:gd name="T39" fmla="*/ 44 h 342"/>
                  <a:gd name="T40" fmla="*/ 23 w 213"/>
                  <a:gd name="T41" fmla="*/ 56 h 342"/>
                  <a:gd name="T42" fmla="*/ 44 w 213"/>
                  <a:gd name="T43" fmla="*/ 60 h 342"/>
                  <a:gd name="T44" fmla="*/ 48 w 213"/>
                  <a:gd name="T45" fmla="*/ 40 h 342"/>
                  <a:gd name="T46" fmla="*/ 65 w 213"/>
                  <a:gd name="T47" fmla="*/ 43 h 342"/>
                  <a:gd name="T48" fmla="*/ 73 w 213"/>
                  <a:gd name="T49" fmla="*/ 47 h 342"/>
                  <a:gd name="T50" fmla="*/ 85 w 213"/>
                  <a:gd name="T51" fmla="*/ 47 h 342"/>
                  <a:gd name="T52" fmla="*/ 94 w 213"/>
                  <a:gd name="T53" fmla="*/ 65 h 342"/>
                  <a:gd name="T54" fmla="*/ 117 w 213"/>
                  <a:gd name="T55" fmla="*/ 88 h 342"/>
                  <a:gd name="T56" fmla="*/ 115 w 213"/>
                  <a:gd name="T57" fmla="*/ 97 h 342"/>
                  <a:gd name="T58" fmla="*/ 97 w 213"/>
                  <a:gd name="T59" fmla="*/ 95 h 342"/>
                  <a:gd name="T60" fmla="*/ 65 w 213"/>
                  <a:gd name="T61" fmla="*/ 111 h 342"/>
                  <a:gd name="T62" fmla="*/ 41 w 213"/>
                  <a:gd name="T63" fmla="*/ 139 h 342"/>
                  <a:gd name="T64" fmla="*/ 38 w 213"/>
                  <a:gd name="T65" fmla="*/ 151 h 342"/>
                  <a:gd name="T66" fmla="*/ 30 w 213"/>
                  <a:gd name="T67" fmla="*/ 151 h 342"/>
                  <a:gd name="T68" fmla="*/ 15 w 213"/>
                  <a:gd name="T69" fmla="*/ 144 h 342"/>
                  <a:gd name="T70" fmla="*/ 0 w 213"/>
                  <a:gd name="T71" fmla="*/ 151 h 342"/>
                  <a:gd name="T72" fmla="*/ 3 w 213"/>
                  <a:gd name="T73" fmla="*/ 167 h 342"/>
                  <a:gd name="T74" fmla="*/ 10 w 213"/>
                  <a:gd name="T75" fmla="*/ 159 h 342"/>
                  <a:gd name="T76" fmla="*/ 22 w 213"/>
                  <a:gd name="T77" fmla="*/ 159 h 342"/>
                  <a:gd name="T78" fmla="*/ 21 w 213"/>
                  <a:gd name="T79" fmla="*/ 173 h 342"/>
                  <a:gd name="T80" fmla="*/ 30 w 213"/>
                  <a:gd name="T81" fmla="*/ 176 h 342"/>
                  <a:gd name="T82" fmla="*/ 40 w 213"/>
                  <a:gd name="T83" fmla="*/ 187 h 342"/>
                  <a:gd name="T84" fmla="*/ 55 w 213"/>
                  <a:gd name="T85" fmla="*/ 182 h 342"/>
                  <a:gd name="T86" fmla="*/ 73 w 213"/>
                  <a:gd name="T87" fmla="*/ 185 h 342"/>
                  <a:gd name="T88" fmla="*/ 94 w 213"/>
                  <a:gd name="T89" fmla="*/ 190 h 342"/>
                  <a:gd name="T90" fmla="*/ 104 w 213"/>
                  <a:gd name="T91" fmla="*/ 192 h 342"/>
                  <a:gd name="T92" fmla="*/ 121 w 213"/>
                  <a:gd name="T93" fmla="*/ 211 h 342"/>
                  <a:gd name="T94" fmla="*/ 155 w 213"/>
                  <a:gd name="T95" fmla="*/ 231 h 342"/>
                  <a:gd name="T96" fmla="*/ 133 w 213"/>
                  <a:gd name="T97" fmla="*/ 273 h 342"/>
                  <a:gd name="T98" fmla="*/ 110 w 213"/>
                  <a:gd name="T99" fmla="*/ 284 h 342"/>
                  <a:gd name="T100" fmla="*/ 101 w 213"/>
                  <a:gd name="T101" fmla="*/ 307 h 342"/>
                  <a:gd name="T102" fmla="*/ 68 w 213"/>
                  <a:gd name="T103" fmla="*/ 329 h 342"/>
                  <a:gd name="T104" fmla="*/ 65 w 213"/>
                  <a:gd name="T105" fmla="*/ 342 h 342"/>
                  <a:gd name="T106" fmla="*/ 213 w 213"/>
                  <a:gd name="T107" fmla="*/ 154 h 342"/>
                  <a:gd name="T108" fmla="*/ 180 w 213"/>
                  <a:gd name="T109" fmla="*/ 47 h 342"/>
                  <a:gd name="T110" fmla="*/ 180 w 213"/>
                  <a:gd name="T111" fmla="*/ 47 h 342"/>
                  <a:gd name="T112" fmla="*/ 180 w 213"/>
                  <a:gd name="T113" fmla="*/ 47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13" h="342">
                    <a:moveTo>
                      <a:pt x="180" y="47"/>
                    </a:moveTo>
                    <a:cubicBezTo>
                      <a:pt x="174" y="48"/>
                      <a:pt x="174" y="48"/>
                      <a:pt x="174" y="48"/>
                    </a:cubicBezTo>
                    <a:cubicBezTo>
                      <a:pt x="143" y="51"/>
                      <a:pt x="143" y="51"/>
                      <a:pt x="143" y="51"/>
                    </a:cubicBezTo>
                    <a:cubicBezTo>
                      <a:pt x="135" y="65"/>
                      <a:pt x="135" y="65"/>
                      <a:pt x="135" y="65"/>
                    </a:cubicBezTo>
                    <a:cubicBezTo>
                      <a:pt x="128" y="63"/>
                      <a:pt x="128" y="63"/>
                      <a:pt x="128" y="63"/>
                    </a:cubicBezTo>
                    <a:cubicBezTo>
                      <a:pt x="104" y="41"/>
                      <a:pt x="104" y="41"/>
                      <a:pt x="104" y="41"/>
                    </a:cubicBezTo>
                    <a:cubicBezTo>
                      <a:pt x="100" y="29"/>
                      <a:pt x="100" y="29"/>
                      <a:pt x="100" y="29"/>
                    </a:cubicBezTo>
                    <a:cubicBezTo>
                      <a:pt x="95" y="17"/>
                      <a:pt x="95" y="17"/>
                      <a:pt x="95" y="17"/>
                    </a:cubicBezTo>
                    <a:cubicBezTo>
                      <a:pt x="80" y="3"/>
                      <a:pt x="80" y="3"/>
                      <a:pt x="80" y="3"/>
                    </a:cubicBezTo>
                    <a:cubicBezTo>
                      <a:pt x="62" y="0"/>
                      <a:pt x="62" y="0"/>
                      <a:pt x="62" y="0"/>
                    </a:cubicBezTo>
                    <a:cubicBezTo>
                      <a:pt x="61" y="8"/>
                      <a:pt x="61" y="8"/>
                      <a:pt x="61" y="8"/>
                    </a:cubicBezTo>
                    <a:cubicBezTo>
                      <a:pt x="79" y="25"/>
                      <a:pt x="79" y="25"/>
                      <a:pt x="79" y="25"/>
                    </a:cubicBezTo>
                    <a:cubicBezTo>
                      <a:pt x="88" y="36"/>
                      <a:pt x="88" y="36"/>
                      <a:pt x="88" y="36"/>
                    </a:cubicBezTo>
                    <a:cubicBezTo>
                      <a:pt x="78" y="41"/>
                      <a:pt x="78" y="41"/>
                      <a:pt x="78" y="41"/>
                    </a:cubicBezTo>
                    <a:cubicBezTo>
                      <a:pt x="70" y="38"/>
                      <a:pt x="70" y="38"/>
                      <a:pt x="70" y="38"/>
                    </a:cubicBezTo>
                    <a:cubicBezTo>
                      <a:pt x="58" y="33"/>
                      <a:pt x="58" y="33"/>
                      <a:pt x="58" y="33"/>
                    </a:cubicBezTo>
                    <a:cubicBezTo>
                      <a:pt x="59" y="24"/>
                      <a:pt x="59" y="24"/>
                      <a:pt x="59" y="24"/>
                    </a:cubicBezTo>
                    <a:cubicBezTo>
                      <a:pt x="43" y="17"/>
                      <a:pt x="43" y="17"/>
                      <a:pt x="43" y="17"/>
                    </a:cubicBezTo>
                    <a:cubicBezTo>
                      <a:pt x="38" y="40"/>
                      <a:pt x="38" y="40"/>
                      <a:pt x="38" y="40"/>
                    </a:cubicBezTo>
                    <a:cubicBezTo>
                      <a:pt x="22" y="44"/>
                      <a:pt x="22" y="44"/>
                      <a:pt x="22" y="44"/>
                    </a:cubicBezTo>
                    <a:cubicBezTo>
                      <a:pt x="23" y="56"/>
                      <a:pt x="23" y="56"/>
                      <a:pt x="23" y="56"/>
                    </a:cubicBezTo>
                    <a:cubicBezTo>
                      <a:pt x="44" y="60"/>
                      <a:pt x="44" y="60"/>
                      <a:pt x="44" y="60"/>
                    </a:cubicBezTo>
                    <a:cubicBezTo>
                      <a:pt x="48" y="40"/>
                      <a:pt x="48" y="40"/>
                      <a:pt x="48" y="40"/>
                    </a:cubicBezTo>
                    <a:cubicBezTo>
                      <a:pt x="65" y="43"/>
                      <a:pt x="65" y="43"/>
                      <a:pt x="65" y="43"/>
                    </a:cubicBezTo>
                    <a:cubicBezTo>
                      <a:pt x="73" y="47"/>
                      <a:pt x="73" y="47"/>
                      <a:pt x="73" y="47"/>
                    </a:cubicBezTo>
                    <a:cubicBezTo>
                      <a:pt x="85" y="47"/>
                      <a:pt x="85" y="47"/>
                      <a:pt x="85" y="47"/>
                    </a:cubicBezTo>
                    <a:cubicBezTo>
                      <a:pt x="94" y="65"/>
                      <a:pt x="94" y="65"/>
                      <a:pt x="94" y="65"/>
                    </a:cubicBezTo>
                    <a:cubicBezTo>
                      <a:pt x="117" y="88"/>
                      <a:pt x="117" y="88"/>
                      <a:pt x="117" y="88"/>
                    </a:cubicBezTo>
                    <a:cubicBezTo>
                      <a:pt x="115" y="97"/>
                      <a:pt x="115" y="97"/>
                      <a:pt x="115" y="97"/>
                    </a:cubicBezTo>
                    <a:cubicBezTo>
                      <a:pt x="97" y="95"/>
                      <a:pt x="97" y="95"/>
                      <a:pt x="97" y="95"/>
                    </a:cubicBezTo>
                    <a:cubicBezTo>
                      <a:pt x="65" y="111"/>
                      <a:pt x="65" y="111"/>
                      <a:pt x="65" y="111"/>
                    </a:cubicBezTo>
                    <a:cubicBezTo>
                      <a:pt x="41" y="139"/>
                      <a:pt x="41" y="139"/>
                      <a:pt x="41" y="139"/>
                    </a:cubicBezTo>
                    <a:cubicBezTo>
                      <a:pt x="38" y="151"/>
                      <a:pt x="38" y="151"/>
                      <a:pt x="38" y="151"/>
                    </a:cubicBezTo>
                    <a:cubicBezTo>
                      <a:pt x="30" y="151"/>
                      <a:pt x="30" y="151"/>
                      <a:pt x="30" y="151"/>
                    </a:cubicBezTo>
                    <a:cubicBezTo>
                      <a:pt x="15" y="144"/>
                      <a:pt x="15" y="144"/>
                      <a:pt x="15" y="144"/>
                    </a:cubicBezTo>
                    <a:cubicBezTo>
                      <a:pt x="0" y="151"/>
                      <a:pt x="0" y="151"/>
                      <a:pt x="0" y="151"/>
                    </a:cubicBezTo>
                    <a:cubicBezTo>
                      <a:pt x="3" y="167"/>
                      <a:pt x="3" y="167"/>
                      <a:pt x="3" y="167"/>
                    </a:cubicBezTo>
                    <a:cubicBezTo>
                      <a:pt x="10" y="159"/>
                      <a:pt x="10" y="159"/>
                      <a:pt x="10" y="159"/>
                    </a:cubicBezTo>
                    <a:cubicBezTo>
                      <a:pt x="22" y="159"/>
                      <a:pt x="22" y="159"/>
                      <a:pt x="22" y="159"/>
                    </a:cubicBezTo>
                    <a:cubicBezTo>
                      <a:pt x="21" y="173"/>
                      <a:pt x="21" y="173"/>
                      <a:pt x="21" y="173"/>
                    </a:cubicBezTo>
                    <a:cubicBezTo>
                      <a:pt x="30" y="176"/>
                      <a:pt x="30" y="176"/>
                      <a:pt x="30" y="176"/>
                    </a:cubicBezTo>
                    <a:cubicBezTo>
                      <a:pt x="40" y="187"/>
                      <a:pt x="40" y="187"/>
                      <a:pt x="40" y="187"/>
                    </a:cubicBezTo>
                    <a:cubicBezTo>
                      <a:pt x="55" y="182"/>
                      <a:pt x="55" y="182"/>
                      <a:pt x="55" y="182"/>
                    </a:cubicBezTo>
                    <a:cubicBezTo>
                      <a:pt x="73" y="185"/>
                      <a:pt x="73" y="185"/>
                      <a:pt x="73" y="185"/>
                    </a:cubicBezTo>
                    <a:cubicBezTo>
                      <a:pt x="94" y="190"/>
                      <a:pt x="94" y="190"/>
                      <a:pt x="94" y="190"/>
                    </a:cubicBezTo>
                    <a:cubicBezTo>
                      <a:pt x="104" y="192"/>
                      <a:pt x="104" y="192"/>
                      <a:pt x="104" y="192"/>
                    </a:cubicBezTo>
                    <a:cubicBezTo>
                      <a:pt x="121" y="211"/>
                      <a:pt x="121" y="211"/>
                      <a:pt x="121" y="211"/>
                    </a:cubicBezTo>
                    <a:cubicBezTo>
                      <a:pt x="155" y="231"/>
                      <a:pt x="155" y="231"/>
                      <a:pt x="155" y="231"/>
                    </a:cubicBezTo>
                    <a:cubicBezTo>
                      <a:pt x="133" y="273"/>
                      <a:pt x="133" y="273"/>
                      <a:pt x="133" y="273"/>
                    </a:cubicBezTo>
                    <a:cubicBezTo>
                      <a:pt x="110" y="284"/>
                      <a:pt x="110" y="284"/>
                      <a:pt x="110" y="284"/>
                    </a:cubicBezTo>
                    <a:cubicBezTo>
                      <a:pt x="101" y="307"/>
                      <a:pt x="101" y="307"/>
                      <a:pt x="101" y="307"/>
                    </a:cubicBezTo>
                    <a:cubicBezTo>
                      <a:pt x="68" y="329"/>
                      <a:pt x="68" y="329"/>
                      <a:pt x="68" y="329"/>
                    </a:cubicBezTo>
                    <a:cubicBezTo>
                      <a:pt x="65" y="342"/>
                      <a:pt x="65" y="342"/>
                      <a:pt x="65" y="342"/>
                    </a:cubicBezTo>
                    <a:cubicBezTo>
                      <a:pt x="150" y="322"/>
                      <a:pt x="213" y="246"/>
                      <a:pt x="213" y="154"/>
                    </a:cubicBezTo>
                    <a:cubicBezTo>
                      <a:pt x="213" y="114"/>
                      <a:pt x="201" y="77"/>
                      <a:pt x="180" y="47"/>
                    </a:cubicBezTo>
                    <a:close/>
                    <a:moveTo>
                      <a:pt x="180" y="47"/>
                    </a:moveTo>
                    <a:cubicBezTo>
                      <a:pt x="180" y="47"/>
                      <a:pt x="180" y="47"/>
                      <a:pt x="180" y="47"/>
                    </a:cubicBezTo>
                  </a:path>
                </a:pathLst>
              </a:custGeom>
              <a:grpFill/>
              <a:ln w="12700" cap="flat" cmpd="sng" algn="ctr">
                <a:noFill/>
                <a:prstDash val="solid"/>
                <a:miter lim="800000"/>
              </a:ln>
              <a:effectLst>
                <a:outerShdw blurRad="215900" sx="104000" sy="104000" algn="ctr" rotWithShape="0">
                  <a:prstClr val="black">
                    <a:alpha val="19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a:cs typeface="+mn-cs"/>
                </a:endParaRPr>
              </a:p>
            </p:txBody>
          </p:sp>
          <p:sp>
            <p:nvSpPr>
              <p:cNvPr id="75" name="Freeform 18">
                <a:extLst>
                  <a:ext uri="{FF2B5EF4-FFF2-40B4-BE49-F238E27FC236}">
                    <a16:creationId xmlns:a16="http://schemas.microsoft.com/office/drawing/2014/main" id="{63F3748F-EF52-4C53-A9C4-29A920FDF6D9}"/>
                  </a:ext>
                </a:extLst>
              </p:cNvPr>
              <p:cNvSpPr>
                <a:spLocks noEditPoints="1"/>
              </p:cNvSpPr>
              <p:nvPr/>
            </p:nvSpPr>
            <p:spPr bwMode="auto">
              <a:xfrm>
                <a:off x="5367338" y="3044832"/>
                <a:ext cx="847726" cy="1112839"/>
              </a:xfrm>
              <a:custGeom>
                <a:avLst/>
                <a:gdLst>
                  <a:gd name="T0" fmla="*/ 215 w 224"/>
                  <a:gd name="T1" fmla="*/ 201 h 294"/>
                  <a:gd name="T2" fmla="*/ 201 w 224"/>
                  <a:gd name="T3" fmla="*/ 175 h 294"/>
                  <a:gd name="T4" fmla="*/ 214 w 224"/>
                  <a:gd name="T5" fmla="*/ 148 h 294"/>
                  <a:gd name="T6" fmla="*/ 201 w 224"/>
                  <a:gd name="T7" fmla="*/ 144 h 294"/>
                  <a:gd name="T8" fmla="*/ 187 w 224"/>
                  <a:gd name="T9" fmla="*/ 130 h 294"/>
                  <a:gd name="T10" fmla="*/ 155 w 224"/>
                  <a:gd name="T11" fmla="*/ 123 h 294"/>
                  <a:gd name="T12" fmla="*/ 144 w 224"/>
                  <a:gd name="T13" fmla="*/ 100 h 294"/>
                  <a:gd name="T14" fmla="*/ 144 w 224"/>
                  <a:gd name="T15" fmla="*/ 114 h 294"/>
                  <a:gd name="T16" fmla="*/ 139 w 224"/>
                  <a:gd name="T17" fmla="*/ 114 h 294"/>
                  <a:gd name="T18" fmla="*/ 112 w 224"/>
                  <a:gd name="T19" fmla="*/ 76 h 294"/>
                  <a:gd name="T20" fmla="*/ 112 w 224"/>
                  <a:gd name="T21" fmla="*/ 45 h 294"/>
                  <a:gd name="T22" fmla="*/ 91 w 224"/>
                  <a:gd name="T23" fmla="*/ 12 h 294"/>
                  <a:gd name="T24" fmla="*/ 59 w 224"/>
                  <a:gd name="T25" fmla="*/ 18 h 294"/>
                  <a:gd name="T26" fmla="*/ 37 w 224"/>
                  <a:gd name="T27" fmla="*/ 18 h 294"/>
                  <a:gd name="T28" fmla="*/ 26 w 224"/>
                  <a:gd name="T29" fmla="*/ 11 h 294"/>
                  <a:gd name="T30" fmla="*/ 40 w 224"/>
                  <a:gd name="T31" fmla="*/ 0 h 294"/>
                  <a:gd name="T32" fmla="*/ 26 w 224"/>
                  <a:gd name="T33" fmla="*/ 3 h 294"/>
                  <a:gd name="T34" fmla="*/ 0 w 224"/>
                  <a:gd name="T35" fmla="*/ 100 h 294"/>
                  <a:gd name="T36" fmla="*/ 193 w 224"/>
                  <a:gd name="T37" fmla="*/ 294 h 294"/>
                  <a:gd name="T38" fmla="*/ 218 w 224"/>
                  <a:gd name="T39" fmla="*/ 292 h 294"/>
                  <a:gd name="T40" fmla="*/ 215 w 224"/>
                  <a:gd name="T41" fmla="*/ 269 h 294"/>
                  <a:gd name="T42" fmla="*/ 224 w 224"/>
                  <a:gd name="T43" fmla="*/ 233 h 294"/>
                  <a:gd name="T44" fmla="*/ 215 w 224"/>
                  <a:gd name="T45" fmla="*/ 201 h 294"/>
                  <a:gd name="T46" fmla="*/ 215 w 224"/>
                  <a:gd name="T47" fmla="*/ 201 h 294"/>
                  <a:gd name="T48" fmla="*/ 215 w 224"/>
                  <a:gd name="T49" fmla="*/ 20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4" h="294">
                    <a:moveTo>
                      <a:pt x="215" y="201"/>
                    </a:moveTo>
                    <a:cubicBezTo>
                      <a:pt x="201" y="175"/>
                      <a:pt x="201" y="175"/>
                      <a:pt x="201" y="175"/>
                    </a:cubicBezTo>
                    <a:cubicBezTo>
                      <a:pt x="214" y="148"/>
                      <a:pt x="214" y="148"/>
                      <a:pt x="214" y="148"/>
                    </a:cubicBezTo>
                    <a:cubicBezTo>
                      <a:pt x="201" y="144"/>
                      <a:pt x="201" y="144"/>
                      <a:pt x="201" y="144"/>
                    </a:cubicBezTo>
                    <a:cubicBezTo>
                      <a:pt x="187" y="130"/>
                      <a:pt x="187" y="130"/>
                      <a:pt x="187" y="130"/>
                    </a:cubicBezTo>
                    <a:cubicBezTo>
                      <a:pt x="155" y="123"/>
                      <a:pt x="155" y="123"/>
                      <a:pt x="155" y="123"/>
                    </a:cubicBezTo>
                    <a:cubicBezTo>
                      <a:pt x="144" y="100"/>
                      <a:pt x="144" y="100"/>
                      <a:pt x="144" y="100"/>
                    </a:cubicBezTo>
                    <a:cubicBezTo>
                      <a:pt x="144" y="114"/>
                      <a:pt x="144" y="114"/>
                      <a:pt x="144" y="114"/>
                    </a:cubicBezTo>
                    <a:cubicBezTo>
                      <a:pt x="139" y="114"/>
                      <a:pt x="139" y="114"/>
                      <a:pt x="139" y="114"/>
                    </a:cubicBezTo>
                    <a:cubicBezTo>
                      <a:pt x="112" y="76"/>
                      <a:pt x="112" y="76"/>
                      <a:pt x="112" y="76"/>
                    </a:cubicBezTo>
                    <a:cubicBezTo>
                      <a:pt x="112" y="45"/>
                      <a:pt x="112" y="45"/>
                      <a:pt x="112" y="45"/>
                    </a:cubicBezTo>
                    <a:cubicBezTo>
                      <a:pt x="91" y="12"/>
                      <a:pt x="91" y="12"/>
                      <a:pt x="91" y="12"/>
                    </a:cubicBezTo>
                    <a:cubicBezTo>
                      <a:pt x="59" y="18"/>
                      <a:pt x="59" y="18"/>
                      <a:pt x="59" y="18"/>
                    </a:cubicBezTo>
                    <a:cubicBezTo>
                      <a:pt x="37" y="18"/>
                      <a:pt x="37" y="18"/>
                      <a:pt x="37" y="18"/>
                    </a:cubicBezTo>
                    <a:cubicBezTo>
                      <a:pt x="26" y="11"/>
                      <a:pt x="26" y="11"/>
                      <a:pt x="26" y="11"/>
                    </a:cubicBezTo>
                    <a:cubicBezTo>
                      <a:pt x="40" y="0"/>
                      <a:pt x="40" y="0"/>
                      <a:pt x="40" y="0"/>
                    </a:cubicBezTo>
                    <a:cubicBezTo>
                      <a:pt x="26" y="3"/>
                      <a:pt x="26" y="3"/>
                      <a:pt x="26" y="3"/>
                    </a:cubicBezTo>
                    <a:cubicBezTo>
                      <a:pt x="9" y="31"/>
                      <a:pt x="0" y="65"/>
                      <a:pt x="0" y="100"/>
                    </a:cubicBezTo>
                    <a:cubicBezTo>
                      <a:pt x="0" y="207"/>
                      <a:pt x="86" y="294"/>
                      <a:pt x="193" y="294"/>
                    </a:cubicBezTo>
                    <a:cubicBezTo>
                      <a:pt x="201" y="294"/>
                      <a:pt x="210" y="293"/>
                      <a:pt x="218" y="292"/>
                    </a:cubicBezTo>
                    <a:cubicBezTo>
                      <a:pt x="215" y="269"/>
                      <a:pt x="215" y="269"/>
                      <a:pt x="215" y="269"/>
                    </a:cubicBezTo>
                    <a:cubicBezTo>
                      <a:pt x="215" y="269"/>
                      <a:pt x="224" y="234"/>
                      <a:pt x="224" y="233"/>
                    </a:cubicBezTo>
                    <a:cubicBezTo>
                      <a:pt x="224" y="232"/>
                      <a:pt x="215" y="201"/>
                      <a:pt x="215" y="201"/>
                    </a:cubicBezTo>
                    <a:close/>
                    <a:moveTo>
                      <a:pt x="215" y="201"/>
                    </a:moveTo>
                    <a:cubicBezTo>
                      <a:pt x="215" y="201"/>
                      <a:pt x="215" y="201"/>
                      <a:pt x="215" y="201"/>
                    </a:cubicBezTo>
                  </a:path>
                </a:pathLst>
              </a:custGeom>
              <a:grpFill/>
              <a:ln w="12700" cap="flat" cmpd="sng" algn="ctr">
                <a:noFill/>
                <a:prstDash val="solid"/>
                <a:miter lim="800000"/>
              </a:ln>
              <a:effectLst>
                <a:outerShdw blurRad="215900" sx="104000" sy="104000" algn="ctr" rotWithShape="0">
                  <a:prstClr val="black">
                    <a:alpha val="19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a:cs typeface="+mn-cs"/>
                </a:endParaRPr>
              </a:p>
            </p:txBody>
          </p:sp>
          <p:sp>
            <p:nvSpPr>
              <p:cNvPr id="76" name="Freeform 19">
                <a:extLst>
                  <a:ext uri="{FF2B5EF4-FFF2-40B4-BE49-F238E27FC236}">
                    <a16:creationId xmlns:a16="http://schemas.microsoft.com/office/drawing/2014/main" id="{6B50E429-0207-48A1-ACA8-DF4044FB86A7}"/>
                  </a:ext>
                </a:extLst>
              </p:cNvPr>
              <p:cNvSpPr>
                <a:spLocks noEditPoints="1"/>
              </p:cNvSpPr>
              <p:nvPr/>
            </p:nvSpPr>
            <p:spPr bwMode="auto">
              <a:xfrm>
                <a:off x="5534026" y="2693988"/>
                <a:ext cx="877889" cy="265112"/>
              </a:xfrm>
              <a:custGeom>
                <a:avLst/>
                <a:gdLst>
                  <a:gd name="T0" fmla="*/ 28 w 232"/>
                  <a:gd name="T1" fmla="*/ 62 h 70"/>
                  <a:gd name="T2" fmla="*/ 62 w 232"/>
                  <a:gd name="T3" fmla="*/ 57 h 70"/>
                  <a:gd name="T4" fmla="*/ 78 w 232"/>
                  <a:gd name="T5" fmla="*/ 49 h 70"/>
                  <a:gd name="T6" fmla="*/ 96 w 232"/>
                  <a:gd name="T7" fmla="*/ 54 h 70"/>
                  <a:gd name="T8" fmla="*/ 124 w 232"/>
                  <a:gd name="T9" fmla="*/ 52 h 70"/>
                  <a:gd name="T10" fmla="*/ 134 w 232"/>
                  <a:gd name="T11" fmla="*/ 37 h 70"/>
                  <a:gd name="T12" fmla="*/ 148 w 232"/>
                  <a:gd name="T13" fmla="*/ 39 h 70"/>
                  <a:gd name="T14" fmla="*/ 183 w 232"/>
                  <a:gd name="T15" fmla="*/ 36 h 70"/>
                  <a:gd name="T16" fmla="*/ 192 w 232"/>
                  <a:gd name="T17" fmla="*/ 25 h 70"/>
                  <a:gd name="T18" fmla="*/ 206 w 232"/>
                  <a:gd name="T19" fmla="*/ 16 h 70"/>
                  <a:gd name="T20" fmla="*/ 225 w 232"/>
                  <a:gd name="T21" fmla="*/ 19 h 70"/>
                  <a:gd name="T22" fmla="*/ 232 w 232"/>
                  <a:gd name="T23" fmla="*/ 18 h 70"/>
                  <a:gd name="T24" fmla="*/ 149 w 232"/>
                  <a:gd name="T25" fmla="*/ 0 h 70"/>
                  <a:gd name="T26" fmla="*/ 0 w 232"/>
                  <a:gd name="T27" fmla="*/ 70 h 70"/>
                  <a:gd name="T28" fmla="*/ 0 w 232"/>
                  <a:gd name="T29" fmla="*/ 70 h 70"/>
                  <a:gd name="T30" fmla="*/ 28 w 232"/>
                  <a:gd name="T31" fmla="*/ 62 h 70"/>
                  <a:gd name="T32" fmla="*/ 157 w 232"/>
                  <a:gd name="T33" fmla="*/ 19 h 70"/>
                  <a:gd name="T34" fmla="*/ 177 w 232"/>
                  <a:gd name="T35" fmla="*/ 8 h 70"/>
                  <a:gd name="T36" fmla="*/ 190 w 232"/>
                  <a:gd name="T37" fmla="*/ 15 h 70"/>
                  <a:gd name="T38" fmla="*/ 171 w 232"/>
                  <a:gd name="T39" fmla="*/ 29 h 70"/>
                  <a:gd name="T40" fmla="*/ 154 w 232"/>
                  <a:gd name="T41" fmla="*/ 31 h 70"/>
                  <a:gd name="T42" fmla="*/ 146 w 232"/>
                  <a:gd name="T43" fmla="*/ 26 h 70"/>
                  <a:gd name="T44" fmla="*/ 157 w 232"/>
                  <a:gd name="T45" fmla="*/ 19 h 70"/>
                  <a:gd name="T46" fmla="*/ 99 w 232"/>
                  <a:gd name="T47" fmla="*/ 20 h 70"/>
                  <a:gd name="T48" fmla="*/ 108 w 232"/>
                  <a:gd name="T49" fmla="*/ 24 h 70"/>
                  <a:gd name="T50" fmla="*/ 119 w 232"/>
                  <a:gd name="T51" fmla="*/ 20 h 70"/>
                  <a:gd name="T52" fmla="*/ 125 w 232"/>
                  <a:gd name="T53" fmla="*/ 31 h 70"/>
                  <a:gd name="T54" fmla="*/ 99 w 232"/>
                  <a:gd name="T55" fmla="*/ 38 h 70"/>
                  <a:gd name="T56" fmla="*/ 86 w 232"/>
                  <a:gd name="T57" fmla="*/ 31 h 70"/>
                  <a:gd name="T58" fmla="*/ 99 w 232"/>
                  <a:gd name="T59" fmla="*/ 20 h 70"/>
                  <a:gd name="T60" fmla="*/ 99 w 232"/>
                  <a:gd name="T61" fmla="*/ 20 h 70"/>
                  <a:gd name="T62" fmla="*/ 99 w 232"/>
                  <a:gd name="T63" fmla="*/ 2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32" h="70">
                    <a:moveTo>
                      <a:pt x="28" y="62"/>
                    </a:moveTo>
                    <a:cubicBezTo>
                      <a:pt x="62" y="57"/>
                      <a:pt x="62" y="57"/>
                      <a:pt x="62" y="57"/>
                    </a:cubicBezTo>
                    <a:cubicBezTo>
                      <a:pt x="78" y="49"/>
                      <a:pt x="78" y="49"/>
                      <a:pt x="78" y="49"/>
                    </a:cubicBezTo>
                    <a:cubicBezTo>
                      <a:pt x="96" y="54"/>
                      <a:pt x="96" y="54"/>
                      <a:pt x="96" y="54"/>
                    </a:cubicBezTo>
                    <a:cubicBezTo>
                      <a:pt x="124" y="52"/>
                      <a:pt x="124" y="52"/>
                      <a:pt x="124" y="52"/>
                    </a:cubicBezTo>
                    <a:cubicBezTo>
                      <a:pt x="134" y="37"/>
                      <a:pt x="134" y="37"/>
                      <a:pt x="134" y="37"/>
                    </a:cubicBezTo>
                    <a:cubicBezTo>
                      <a:pt x="148" y="39"/>
                      <a:pt x="148" y="39"/>
                      <a:pt x="148" y="39"/>
                    </a:cubicBezTo>
                    <a:cubicBezTo>
                      <a:pt x="183" y="36"/>
                      <a:pt x="183" y="36"/>
                      <a:pt x="183" y="36"/>
                    </a:cubicBezTo>
                    <a:cubicBezTo>
                      <a:pt x="192" y="25"/>
                      <a:pt x="192" y="25"/>
                      <a:pt x="192" y="25"/>
                    </a:cubicBezTo>
                    <a:cubicBezTo>
                      <a:pt x="206" y="16"/>
                      <a:pt x="206" y="16"/>
                      <a:pt x="206" y="16"/>
                    </a:cubicBezTo>
                    <a:cubicBezTo>
                      <a:pt x="225" y="19"/>
                      <a:pt x="225" y="19"/>
                      <a:pt x="225" y="19"/>
                    </a:cubicBezTo>
                    <a:cubicBezTo>
                      <a:pt x="232" y="18"/>
                      <a:pt x="232" y="18"/>
                      <a:pt x="232" y="18"/>
                    </a:cubicBezTo>
                    <a:cubicBezTo>
                      <a:pt x="207" y="6"/>
                      <a:pt x="179" y="0"/>
                      <a:pt x="149" y="0"/>
                    </a:cubicBezTo>
                    <a:cubicBezTo>
                      <a:pt x="89" y="0"/>
                      <a:pt x="35" y="27"/>
                      <a:pt x="0" y="70"/>
                    </a:cubicBezTo>
                    <a:cubicBezTo>
                      <a:pt x="0" y="70"/>
                      <a:pt x="0" y="70"/>
                      <a:pt x="0" y="70"/>
                    </a:cubicBezTo>
                    <a:lnTo>
                      <a:pt x="28" y="62"/>
                    </a:lnTo>
                    <a:close/>
                    <a:moveTo>
                      <a:pt x="157" y="19"/>
                    </a:moveTo>
                    <a:cubicBezTo>
                      <a:pt x="177" y="8"/>
                      <a:pt x="177" y="8"/>
                      <a:pt x="177" y="8"/>
                    </a:cubicBezTo>
                    <a:cubicBezTo>
                      <a:pt x="190" y="15"/>
                      <a:pt x="190" y="15"/>
                      <a:pt x="190" y="15"/>
                    </a:cubicBezTo>
                    <a:cubicBezTo>
                      <a:pt x="171" y="29"/>
                      <a:pt x="171" y="29"/>
                      <a:pt x="171" y="29"/>
                    </a:cubicBezTo>
                    <a:cubicBezTo>
                      <a:pt x="154" y="31"/>
                      <a:pt x="154" y="31"/>
                      <a:pt x="154" y="31"/>
                    </a:cubicBezTo>
                    <a:cubicBezTo>
                      <a:pt x="146" y="26"/>
                      <a:pt x="146" y="26"/>
                      <a:pt x="146" y="26"/>
                    </a:cubicBezTo>
                    <a:lnTo>
                      <a:pt x="157" y="19"/>
                    </a:lnTo>
                    <a:close/>
                    <a:moveTo>
                      <a:pt x="99" y="20"/>
                    </a:moveTo>
                    <a:cubicBezTo>
                      <a:pt x="108" y="24"/>
                      <a:pt x="108" y="24"/>
                      <a:pt x="108" y="24"/>
                    </a:cubicBezTo>
                    <a:cubicBezTo>
                      <a:pt x="119" y="20"/>
                      <a:pt x="119" y="20"/>
                      <a:pt x="119" y="20"/>
                    </a:cubicBezTo>
                    <a:cubicBezTo>
                      <a:pt x="125" y="31"/>
                      <a:pt x="125" y="31"/>
                      <a:pt x="125" y="31"/>
                    </a:cubicBezTo>
                    <a:cubicBezTo>
                      <a:pt x="99" y="38"/>
                      <a:pt x="99" y="38"/>
                      <a:pt x="99" y="38"/>
                    </a:cubicBezTo>
                    <a:cubicBezTo>
                      <a:pt x="86" y="31"/>
                      <a:pt x="86" y="31"/>
                      <a:pt x="86" y="31"/>
                    </a:cubicBezTo>
                    <a:cubicBezTo>
                      <a:pt x="86" y="31"/>
                      <a:pt x="99" y="23"/>
                      <a:pt x="99" y="20"/>
                    </a:cubicBezTo>
                    <a:close/>
                    <a:moveTo>
                      <a:pt x="99" y="20"/>
                    </a:moveTo>
                    <a:cubicBezTo>
                      <a:pt x="99" y="20"/>
                      <a:pt x="99" y="20"/>
                      <a:pt x="99" y="20"/>
                    </a:cubicBezTo>
                  </a:path>
                </a:pathLst>
              </a:custGeom>
              <a:grpFill/>
              <a:ln w="12700" cap="flat" cmpd="sng" algn="ctr">
                <a:noFill/>
                <a:prstDash val="solid"/>
                <a:miter lim="800000"/>
              </a:ln>
              <a:effectLst>
                <a:outerShdw blurRad="215900" sx="104000" sy="104000" algn="ctr" rotWithShape="0">
                  <a:prstClr val="black">
                    <a:alpha val="19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a:cs typeface="+mn-cs"/>
                </a:endParaRPr>
              </a:p>
            </p:txBody>
          </p:sp>
        </p:grpSp>
        <p:grpSp>
          <p:nvGrpSpPr>
            <p:cNvPr id="48" name="Group 217">
              <a:extLst>
                <a:ext uri="{FF2B5EF4-FFF2-40B4-BE49-F238E27FC236}">
                  <a16:creationId xmlns:a16="http://schemas.microsoft.com/office/drawing/2014/main" id="{F1B17847-2F57-45D9-AED6-FE904D6D04C0}"/>
                </a:ext>
              </a:extLst>
            </p:cNvPr>
            <p:cNvGrpSpPr/>
            <p:nvPr/>
          </p:nvGrpSpPr>
          <p:grpSpPr>
            <a:xfrm>
              <a:off x="4195343" y="1953639"/>
              <a:ext cx="166776" cy="176447"/>
              <a:chOff x="11053686" y="376238"/>
              <a:chExt cx="246087" cy="260365"/>
            </a:xfrm>
            <a:solidFill>
              <a:schemeClr val="bg1"/>
            </a:solidFill>
          </p:grpSpPr>
          <p:sp>
            <p:nvSpPr>
              <p:cNvPr id="66" name="Freeform 4533">
                <a:extLst>
                  <a:ext uri="{FF2B5EF4-FFF2-40B4-BE49-F238E27FC236}">
                    <a16:creationId xmlns:a16="http://schemas.microsoft.com/office/drawing/2014/main" id="{A297DFD2-C62B-45AB-A009-1F626FAF9FD9}"/>
                  </a:ext>
                </a:extLst>
              </p:cNvPr>
              <p:cNvSpPr>
                <a:spLocks/>
              </p:cNvSpPr>
              <p:nvPr/>
            </p:nvSpPr>
            <p:spPr bwMode="auto">
              <a:xfrm>
                <a:off x="11133086" y="427048"/>
                <a:ext cx="166687" cy="209555"/>
              </a:xfrm>
              <a:custGeom>
                <a:avLst/>
                <a:gdLst>
                  <a:gd name="T0" fmla="*/ 287 w 527"/>
                  <a:gd name="T1" fmla="*/ 243 h 662"/>
                  <a:gd name="T2" fmla="*/ 285 w 527"/>
                  <a:gd name="T3" fmla="*/ 46 h 662"/>
                  <a:gd name="T4" fmla="*/ 283 w 527"/>
                  <a:gd name="T5" fmla="*/ 35 h 662"/>
                  <a:gd name="T6" fmla="*/ 276 w 527"/>
                  <a:gd name="T7" fmla="*/ 21 h 662"/>
                  <a:gd name="T8" fmla="*/ 262 w 527"/>
                  <a:gd name="T9" fmla="*/ 8 h 662"/>
                  <a:gd name="T10" fmla="*/ 244 w 527"/>
                  <a:gd name="T11" fmla="*/ 1 h 662"/>
                  <a:gd name="T12" fmla="*/ 203 w 527"/>
                  <a:gd name="T13" fmla="*/ 0 h 662"/>
                  <a:gd name="T14" fmla="*/ 184 w 527"/>
                  <a:gd name="T15" fmla="*/ 3 h 662"/>
                  <a:gd name="T16" fmla="*/ 167 w 527"/>
                  <a:gd name="T17" fmla="*/ 13 h 662"/>
                  <a:gd name="T18" fmla="*/ 156 w 527"/>
                  <a:gd name="T19" fmla="*/ 30 h 662"/>
                  <a:gd name="T20" fmla="*/ 152 w 527"/>
                  <a:gd name="T21" fmla="*/ 40 h 662"/>
                  <a:gd name="T22" fmla="*/ 151 w 527"/>
                  <a:gd name="T23" fmla="*/ 52 h 662"/>
                  <a:gd name="T24" fmla="*/ 119 w 527"/>
                  <a:gd name="T25" fmla="*/ 318 h 662"/>
                  <a:gd name="T26" fmla="*/ 112 w 527"/>
                  <a:gd name="T27" fmla="*/ 311 h 662"/>
                  <a:gd name="T28" fmla="*/ 103 w 527"/>
                  <a:gd name="T29" fmla="*/ 305 h 662"/>
                  <a:gd name="T30" fmla="*/ 92 w 527"/>
                  <a:gd name="T31" fmla="*/ 301 h 662"/>
                  <a:gd name="T32" fmla="*/ 82 w 527"/>
                  <a:gd name="T33" fmla="*/ 300 h 662"/>
                  <a:gd name="T34" fmla="*/ 38 w 527"/>
                  <a:gd name="T35" fmla="*/ 301 h 662"/>
                  <a:gd name="T36" fmla="*/ 28 w 527"/>
                  <a:gd name="T37" fmla="*/ 305 h 662"/>
                  <a:gd name="T38" fmla="*/ 18 w 527"/>
                  <a:gd name="T39" fmla="*/ 310 h 662"/>
                  <a:gd name="T40" fmla="*/ 9 w 527"/>
                  <a:gd name="T41" fmla="*/ 318 h 662"/>
                  <a:gd name="T42" fmla="*/ 3 w 527"/>
                  <a:gd name="T43" fmla="*/ 328 h 662"/>
                  <a:gd name="T44" fmla="*/ 0 w 527"/>
                  <a:gd name="T45" fmla="*/ 339 h 662"/>
                  <a:gd name="T46" fmla="*/ 0 w 527"/>
                  <a:gd name="T47" fmla="*/ 350 h 662"/>
                  <a:gd name="T48" fmla="*/ 3 w 527"/>
                  <a:gd name="T49" fmla="*/ 361 h 662"/>
                  <a:gd name="T50" fmla="*/ 144 w 527"/>
                  <a:gd name="T51" fmla="*/ 639 h 662"/>
                  <a:gd name="T52" fmla="*/ 152 w 527"/>
                  <a:gd name="T53" fmla="*/ 649 h 662"/>
                  <a:gd name="T54" fmla="*/ 164 w 527"/>
                  <a:gd name="T55" fmla="*/ 656 h 662"/>
                  <a:gd name="T56" fmla="*/ 176 w 527"/>
                  <a:gd name="T57" fmla="*/ 660 h 662"/>
                  <a:gd name="T58" fmla="*/ 188 w 527"/>
                  <a:gd name="T59" fmla="*/ 662 h 662"/>
                  <a:gd name="T60" fmla="*/ 436 w 527"/>
                  <a:gd name="T61" fmla="*/ 662 h 662"/>
                  <a:gd name="T62" fmla="*/ 447 w 527"/>
                  <a:gd name="T63" fmla="*/ 658 h 662"/>
                  <a:gd name="T64" fmla="*/ 456 w 527"/>
                  <a:gd name="T65" fmla="*/ 651 h 662"/>
                  <a:gd name="T66" fmla="*/ 464 w 527"/>
                  <a:gd name="T67" fmla="*/ 640 h 662"/>
                  <a:gd name="T68" fmla="*/ 527 w 527"/>
                  <a:gd name="T69" fmla="*/ 365 h 662"/>
                  <a:gd name="T70" fmla="*/ 527 w 527"/>
                  <a:gd name="T71" fmla="*/ 363 h 662"/>
                  <a:gd name="T72" fmla="*/ 525 w 527"/>
                  <a:gd name="T73" fmla="*/ 348 h 662"/>
                  <a:gd name="T74" fmla="*/ 519 w 527"/>
                  <a:gd name="T75" fmla="*/ 335 h 662"/>
                  <a:gd name="T76" fmla="*/ 511 w 527"/>
                  <a:gd name="T77" fmla="*/ 325 h 662"/>
                  <a:gd name="T78" fmla="*/ 500 w 527"/>
                  <a:gd name="T79" fmla="*/ 319 h 6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27" h="662">
                    <a:moveTo>
                      <a:pt x="500" y="319"/>
                    </a:moveTo>
                    <a:lnTo>
                      <a:pt x="287" y="243"/>
                    </a:lnTo>
                    <a:lnTo>
                      <a:pt x="287" y="52"/>
                    </a:lnTo>
                    <a:lnTo>
                      <a:pt x="285" y="46"/>
                    </a:lnTo>
                    <a:lnTo>
                      <a:pt x="285" y="40"/>
                    </a:lnTo>
                    <a:lnTo>
                      <a:pt x="283" y="35"/>
                    </a:lnTo>
                    <a:lnTo>
                      <a:pt x="282" y="30"/>
                    </a:lnTo>
                    <a:lnTo>
                      <a:pt x="276" y="21"/>
                    </a:lnTo>
                    <a:lnTo>
                      <a:pt x="270" y="13"/>
                    </a:lnTo>
                    <a:lnTo>
                      <a:pt x="262" y="8"/>
                    </a:lnTo>
                    <a:lnTo>
                      <a:pt x="253" y="3"/>
                    </a:lnTo>
                    <a:lnTo>
                      <a:pt x="244" y="1"/>
                    </a:lnTo>
                    <a:lnTo>
                      <a:pt x="234" y="0"/>
                    </a:lnTo>
                    <a:lnTo>
                      <a:pt x="203" y="0"/>
                    </a:lnTo>
                    <a:lnTo>
                      <a:pt x="194" y="1"/>
                    </a:lnTo>
                    <a:lnTo>
                      <a:pt x="184" y="3"/>
                    </a:lnTo>
                    <a:lnTo>
                      <a:pt x="176" y="8"/>
                    </a:lnTo>
                    <a:lnTo>
                      <a:pt x="167" y="13"/>
                    </a:lnTo>
                    <a:lnTo>
                      <a:pt x="160" y="21"/>
                    </a:lnTo>
                    <a:lnTo>
                      <a:pt x="156" y="30"/>
                    </a:lnTo>
                    <a:lnTo>
                      <a:pt x="153" y="35"/>
                    </a:lnTo>
                    <a:lnTo>
                      <a:pt x="152" y="40"/>
                    </a:lnTo>
                    <a:lnTo>
                      <a:pt x="151" y="46"/>
                    </a:lnTo>
                    <a:lnTo>
                      <a:pt x="151" y="52"/>
                    </a:lnTo>
                    <a:lnTo>
                      <a:pt x="151" y="371"/>
                    </a:lnTo>
                    <a:lnTo>
                      <a:pt x="119" y="318"/>
                    </a:lnTo>
                    <a:lnTo>
                      <a:pt x="115" y="315"/>
                    </a:lnTo>
                    <a:lnTo>
                      <a:pt x="112" y="311"/>
                    </a:lnTo>
                    <a:lnTo>
                      <a:pt x="107" y="308"/>
                    </a:lnTo>
                    <a:lnTo>
                      <a:pt x="103" y="305"/>
                    </a:lnTo>
                    <a:lnTo>
                      <a:pt x="98" y="304"/>
                    </a:lnTo>
                    <a:lnTo>
                      <a:pt x="92" y="301"/>
                    </a:lnTo>
                    <a:lnTo>
                      <a:pt x="88" y="300"/>
                    </a:lnTo>
                    <a:lnTo>
                      <a:pt x="82" y="300"/>
                    </a:lnTo>
                    <a:lnTo>
                      <a:pt x="45" y="301"/>
                    </a:lnTo>
                    <a:lnTo>
                      <a:pt x="38" y="301"/>
                    </a:lnTo>
                    <a:lnTo>
                      <a:pt x="33" y="302"/>
                    </a:lnTo>
                    <a:lnTo>
                      <a:pt x="28" y="305"/>
                    </a:lnTo>
                    <a:lnTo>
                      <a:pt x="22" y="307"/>
                    </a:lnTo>
                    <a:lnTo>
                      <a:pt x="18" y="310"/>
                    </a:lnTo>
                    <a:lnTo>
                      <a:pt x="13" y="314"/>
                    </a:lnTo>
                    <a:lnTo>
                      <a:pt x="9" y="318"/>
                    </a:lnTo>
                    <a:lnTo>
                      <a:pt x="7" y="323"/>
                    </a:lnTo>
                    <a:lnTo>
                      <a:pt x="3" y="328"/>
                    </a:lnTo>
                    <a:lnTo>
                      <a:pt x="2" y="333"/>
                    </a:lnTo>
                    <a:lnTo>
                      <a:pt x="0" y="339"/>
                    </a:lnTo>
                    <a:lnTo>
                      <a:pt x="0" y="344"/>
                    </a:lnTo>
                    <a:lnTo>
                      <a:pt x="0" y="350"/>
                    </a:lnTo>
                    <a:lnTo>
                      <a:pt x="1" y="356"/>
                    </a:lnTo>
                    <a:lnTo>
                      <a:pt x="3" y="361"/>
                    </a:lnTo>
                    <a:lnTo>
                      <a:pt x="5" y="367"/>
                    </a:lnTo>
                    <a:lnTo>
                      <a:pt x="144" y="639"/>
                    </a:lnTo>
                    <a:lnTo>
                      <a:pt x="148" y="645"/>
                    </a:lnTo>
                    <a:lnTo>
                      <a:pt x="152" y="649"/>
                    </a:lnTo>
                    <a:lnTo>
                      <a:pt x="158" y="653"/>
                    </a:lnTo>
                    <a:lnTo>
                      <a:pt x="164" y="656"/>
                    </a:lnTo>
                    <a:lnTo>
                      <a:pt x="170" y="658"/>
                    </a:lnTo>
                    <a:lnTo>
                      <a:pt x="176" y="660"/>
                    </a:lnTo>
                    <a:lnTo>
                      <a:pt x="183" y="662"/>
                    </a:lnTo>
                    <a:lnTo>
                      <a:pt x="188" y="662"/>
                    </a:lnTo>
                    <a:lnTo>
                      <a:pt x="429" y="662"/>
                    </a:lnTo>
                    <a:lnTo>
                      <a:pt x="436" y="662"/>
                    </a:lnTo>
                    <a:lnTo>
                      <a:pt x="441" y="660"/>
                    </a:lnTo>
                    <a:lnTo>
                      <a:pt x="447" y="658"/>
                    </a:lnTo>
                    <a:lnTo>
                      <a:pt x="452" y="655"/>
                    </a:lnTo>
                    <a:lnTo>
                      <a:pt x="456" y="651"/>
                    </a:lnTo>
                    <a:lnTo>
                      <a:pt x="461" y="646"/>
                    </a:lnTo>
                    <a:lnTo>
                      <a:pt x="464" y="640"/>
                    </a:lnTo>
                    <a:lnTo>
                      <a:pt x="467" y="633"/>
                    </a:lnTo>
                    <a:lnTo>
                      <a:pt x="527" y="365"/>
                    </a:lnTo>
                    <a:lnTo>
                      <a:pt x="527" y="363"/>
                    </a:lnTo>
                    <a:lnTo>
                      <a:pt x="527" y="363"/>
                    </a:lnTo>
                    <a:lnTo>
                      <a:pt x="527" y="356"/>
                    </a:lnTo>
                    <a:lnTo>
                      <a:pt x="525" y="348"/>
                    </a:lnTo>
                    <a:lnTo>
                      <a:pt x="523" y="341"/>
                    </a:lnTo>
                    <a:lnTo>
                      <a:pt x="519" y="335"/>
                    </a:lnTo>
                    <a:lnTo>
                      <a:pt x="516" y="330"/>
                    </a:lnTo>
                    <a:lnTo>
                      <a:pt x="511" y="325"/>
                    </a:lnTo>
                    <a:lnTo>
                      <a:pt x="506" y="322"/>
                    </a:lnTo>
                    <a:lnTo>
                      <a:pt x="500" y="319"/>
                    </a:lnTo>
                    <a:lnTo>
                      <a:pt x="500" y="319"/>
                    </a:lnTo>
                    <a:close/>
                  </a:path>
                </a:pathLst>
              </a:custGeom>
              <a:grpFill/>
              <a:ln w="12700" cap="flat" cmpd="sng" algn="ctr">
                <a:noFill/>
                <a:prstDash val="solid"/>
                <a:miter lim="800000"/>
              </a:ln>
              <a:effectLst>
                <a:outerShdw blurRad="215900" sx="104000" sy="104000" algn="ctr" rotWithShape="0">
                  <a:prstClr val="black">
                    <a:alpha val="19000"/>
                  </a:prstClr>
                </a:outerShdw>
              </a:effectLst>
              <a:extLst>
                <a:ext uri="{91240B29-F687-4f45-9708-019B960494DF}">
                  <a14:hiddenLine xmlns="" xmlns:a14="http://schemas.microsoft.com/office/drawing/2010/main" w="9525">
                    <a:solidFill>
                      <a:srgbClr val="000000"/>
                    </a:solidFill>
                    <a:round/>
                    <a:headEnd/>
                    <a:tailEnd/>
                  </a14:hiddenLine>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a:cs typeface="+mn-cs"/>
                </a:endParaRPr>
              </a:p>
            </p:txBody>
          </p:sp>
          <p:sp>
            <p:nvSpPr>
              <p:cNvPr id="67" name="Freeform 4534">
                <a:extLst>
                  <a:ext uri="{FF2B5EF4-FFF2-40B4-BE49-F238E27FC236}">
                    <a16:creationId xmlns:a16="http://schemas.microsoft.com/office/drawing/2014/main" id="{7A7591AC-35F9-45C0-A1A2-477507EE9B5E}"/>
                  </a:ext>
                </a:extLst>
              </p:cNvPr>
              <p:cNvSpPr>
                <a:spLocks/>
              </p:cNvSpPr>
              <p:nvPr/>
            </p:nvSpPr>
            <p:spPr bwMode="auto">
              <a:xfrm>
                <a:off x="11053711" y="376247"/>
                <a:ext cx="42863" cy="19050"/>
              </a:xfrm>
              <a:custGeom>
                <a:avLst/>
                <a:gdLst>
                  <a:gd name="T0" fmla="*/ 106 w 137"/>
                  <a:gd name="T1" fmla="*/ 0 h 60"/>
                  <a:gd name="T2" fmla="*/ 31 w 137"/>
                  <a:gd name="T3" fmla="*/ 0 h 60"/>
                  <a:gd name="T4" fmla="*/ 25 w 137"/>
                  <a:gd name="T5" fmla="*/ 0 h 60"/>
                  <a:gd name="T6" fmla="*/ 19 w 137"/>
                  <a:gd name="T7" fmla="*/ 2 h 60"/>
                  <a:gd name="T8" fmla="*/ 14 w 137"/>
                  <a:gd name="T9" fmla="*/ 4 h 60"/>
                  <a:gd name="T10" fmla="*/ 9 w 137"/>
                  <a:gd name="T11" fmla="*/ 9 h 60"/>
                  <a:gd name="T12" fmla="*/ 6 w 137"/>
                  <a:gd name="T13" fmla="*/ 12 h 60"/>
                  <a:gd name="T14" fmla="*/ 3 w 137"/>
                  <a:gd name="T15" fmla="*/ 18 h 60"/>
                  <a:gd name="T16" fmla="*/ 1 w 137"/>
                  <a:gd name="T17" fmla="*/ 23 h 60"/>
                  <a:gd name="T18" fmla="*/ 0 w 137"/>
                  <a:gd name="T19" fmla="*/ 29 h 60"/>
                  <a:gd name="T20" fmla="*/ 1 w 137"/>
                  <a:gd name="T21" fmla="*/ 36 h 60"/>
                  <a:gd name="T22" fmla="*/ 3 w 137"/>
                  <a:gd name="T23" fmla="*/ 41 h 60"/>
                  <a:gd name="T24" fmla="*/ 6 w 137"/>
                  <a:gd name="T25" fmla="*/ 46 h 60"/>
                  <a:gd name="T26" fmla="*/ 9 w 137"/>
                  <a:gd name="T27" fmla="*/ 50 h 60"/>
                  <a:gd name="T28" fmla="*/ 14 w 137"/>
                  <a:gd name="T29" fmla="*/ 55 h 60"/>
                  <a:gd name="T30" fmla="*/ 19 w 137"/>
                  <a:gd name="T31" fmla="*/ 57 h 60"/>
                  <a:gd name="T32" fmla="*/ 25 w 137"/>
                  <a:gd name="T33" fmla="*/ 60 h 60"/>
                  <a:gd name="T34" fmla="*/ 31 w 137"/>
                  <a:gd name="T35" fmla="*/ 60 h 60"/>
                  <a:gd name="T36" fmla="*/ 106 w 137"/>
                  <a:gd name="T37" fmla="*/ 60 h 60"/>
                  <a:gd name="T38" fmla="*/ 113 w 137"/>
                  <a:gd name="T39" fmla="*/ 58 h 60"/>
                  <a:gd name="T40" fmla="*/ 119 w 137"/>
                  <a:gd name="T41" fmla="*/ 57 h 60"/>
                  <a:gd name="T42" fmla="*/ 123 w 137"/>
                  <a:gd name="T43" fmla="*/ 54 h 60"/>
                  <a:gd name="T44" fmla="*/ 128 w 137"/>
                  <a:gd name="T45" fmla="*/ 50 h 60"/>
                  <a:gd name="T46" fmla="*/ 131 w 137"/>
                  <a:gd name="T47" fmla="*/ 46 h 60"/>
                  <a:gd name="T48" fmla="*/ 135 w 137"/>
                  <a:gd name="T49" fmla="*/ 41 h 60"/>
                  <a:gd name="T50" fmla="*/ 136 w 137"/>
                  <a:gd name="T51" fmla="*/ 36 h 60"/>
                  <a:gd name="T52" fmla="*/ 137 w 137"/>
                  <a:gd name="T53" fmla="*/ 29 h 60"/>
                  <a:gd name="T54" fmla="*/ 136 w 137"/>
                  <a:gd name="T55" fmla="*/ 23 h 60"/>
                  <a:gd name="T56" fmla="*/ 135 w 137"/>
                  <a:gd name="T57" fmla="*/ 18 h 60"/>
                  <a:gd name="T58" fmla="*/ 131 w 137"/>
                  <a:gd name="T59" fmla="*/ 12 h 60"/>
                  <a:gd name="T60" fmla="*/ 128 w 137"/>
                  <a:gd name="T61" fmla="*/ 9 h 60"/>
                  <a:gd name="T62" fmla="*/ 123 w 137"/>
                  <a:gd name="T63" fmla="*/ 4 h 60"/>
                  <a:gd name="T64" fmla="*/ 119 w 137"/>
                  <a:gd name="T65" fmla="*/ 2 h 60"/>
                  <a:gd name="T66" fmla="*/ 113 w 137"/>
                  <a:gd name="T67" fmla="*/ 0 h 60"/>
                  <a:gd name="T68" fmla="*/ 106 w 137"/>
                  <a:gd name="T69" fmla="*/ 0 h 60"/>
                  <a:gd name="T70" fmla="*/ 106 w 137"/>
                  <a:gd name="T71"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37" h="60">
                    <a:moveTo>
                      <a:pt x="106" y="0"/>
                    </a:moveTo>
                    <a:lnTo>
                      <a:pt x="31" y="0"/>
                    </a:lnTo>
                    <a:lnTo>
                      <a:pt x="25" y="0"/>
                    </a:lnTo>
                    <a:lnTo>
                      <a:pt x="19" y="2"/>
                    </a:lnTo>
                    <a:lnTo>
                      <a:pt x="14" y="4"/>
                    </a:lnTo>
                    <a:lnTo>
                      <a:pt x="9" y="9"/>
                    </a:lnTo>
                    <a:lnTo>
                      <a:pt x="6" y="12"/>
                    </a:lnTo>
                    <a:lnTo>
                      <a:pt x="3" y="18"/>
                    </a:lnTo>
                    <a:lnTo>
                      <a:pt x="1" y="23"/>
                    </a:lnTo>
                    <a:lnTo>
                      <a:pt x="0" y="29"/>
                    </a:lnTo>
                    <a:lnTo>
                      <a:pt x="1" y="36"/>
                    </a:lnTo>
                    <a:lnTo>
                      <a:pt x="3" y="41"/>
                    </a:lnTo>
                    <a:lnTo>
                      <a:pt x="6" y="46"/>
                    </a:lnTo>
                    <a:lnTo>
                      <a:pt x="9" y="50"/>
                    </a:lnTo>
                    <a:lnTo>
                      <a:pt x="14" y="55"/>
                    </a:lnTo>
                    <a:lnTo>
                      <a:pt x="19" y="57"/>
                    </a:lnTo>
                    <a:lnTo>
                      <a:pt x="25" y="60"/>
                    </a:lnTo>
                    <a:lnTo>
                      <a:pt x="31" y="60"/>
                    </a:lnTo>
                    <a:lnTo>
                      <a:pt x="106" y="60"/>
                    </a:lnTo>
                    <a:lnTo>
                      <a:pt x="113" y="58"/>
                    </a:lnTo>
                    <a:lnTo>
                      <a:pt x="119" y="57"/>
                    </a:lnTo>
                    <a:lnTo>
                      <a:pt x="123" y="54"/>
                    </a:lnTo>
                    <a:lnTo>
                      <a:pt x="128" y="50"/>
                    </a:lnTo>
                    <a:lnTo>
                      <a:pt x="131" y="46"/>
                    </a:lnTo>
                    <a:lnTo>
                      <a:pt x="135" y="41"/>
                    </a:lnTo>
                    <a:lnTo>
                      <a:pt x="136" y="36"/>
                    </a:lnTo>
                    <a:lnTo>
                      <a:pt x="137" y="29"/>
                    </a:lnTo>
                    <a:lnTo>
                      <a:pt x="136" y="23"/>
                    </a:lnTo>
                    <a:lnTo>
                      <a:pt x="135" y="18"/>
                    </a:lnTo>
                    <a:lnTo>
                      <a:pt x="131" y="12"/>
                    </a:lnTo>
                    <a:lnTo>
                      <a:pt x="128" y="9"/>
                    </a:lnTo>
                    <a:lnTo>
                      <a:pt x="123" y="4"/>
                    </a:lnTo>
                    <a:lnTo>
                      <a:pt x="119" y="2"/>
                    </a:lnTo>
                    <a:lnTo>
                      <a:pt x="113" y="0"/>
                    </a:lnTo>
                    <a:lnTo>
                      <a:pt x="106" y="0"/>
                    </a:lnTo>
                    <a:lnTo>
                      <a:pt x="106" y="0"/>
                    </a:lnTo>
                    <a:close/>
                  </a:path>
                </a:pathLst>
              </a:custGeom>
              <a:grpFill/>
              <a:ln w="12700" cap="flat" cmpd="sng" algn="ctr">
                <a:noFill/>
                <a:prstDash val="solid"/>
                <a:miter lim="800000"/>
              </a:ln>
              <a:effectLst>
                <a:outerShdw blurRad="215900" sx="104000" sy="104000" algn="ctr" rotWithShape="0">
                  <a:prstClr val="black">
                    <a:alpha val="19000"/>
                  </a:prstClr>
                </a:outerShdw>
              </a:effectLst>
              <a:extLst>
                <a:ext uri="{91240B29-F687-4f45-9708-019B960494DF}">
                  <a14:hiddenLine xmlns="" xmlns:a14="http://schemas.microsoft.com/office/drawing/2010/main" w="9525">
                    <a:solidFill>
                      <a:srgbClr val="000000"/>
                    </a:solidFill>
                    <a:round/>
                    <a:headEnd/>
                    <a:tailEnd/>
                  </a14:hiddenLine>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a:cs typeface="+mn-cs"/>
                </a:endParaRPr>
              </a:p>
            </p:txBody>
          </p:sp>
          <p:sp>
            <p:nvSpPr>
              <p:cNvPr id="68" name="Freeform 4535">
                <a:extLst>
                  <a:ext uri="{FF2B5EF4-FFF2-40B4-BE49-F238E27FC236}">
                    <a16:creationId xmlns:a16="http://schemas.microsoft.com/office/drawing/2014/main" id="{5225F49E-1AE1-46F5-AB42-0B7F73C3C5C0}"/>
                  </a:ext>
                </a:extLst>
              </p:cNvPr>
              <p:cNvSpPr>
                <a:spLocks/>
              </p:cNvSpPr>
              <p:nvPr/>
            </p:nvSpPr>
            <p:spPr bwMode="auto">
              <a:xfrm>
                <a:off x="11053711" y="423873"/>
                <a:ext cx="42863" cy="19050"/>
              </a:xfrm>
              <a:custGeom>
                <a:avLst/>
                <a:gdLst>
                  <a:gd name="T0" fmla="*/ 106 w 137"/>
                  <a:gd name="T1" fmla="*/ 0 h 60"/>
                  <a:gd name="T2" fmla="*/ 31 w 137"/>
                  <a:gd name="T3" fmla="*/ 0 h 60"/>
                  <a:gd name="T4" fmla="*/ 25 w 137"/>
                  <a:gd name="T5" fmla="*/ 1 h 60"/>
                  <a:gd name="T6" fmla="*/ 19 w 137"/>
                  <a:gd name="T7" fmla="*/ 2 h 60"/>
                  <a:gd name="T8" fmla="*/ 14 w 137"/>
                  <a:gd name="T9" fmla="*/ 6 h 60"/>
                  <a:gd name="T10" fmla="*/ 9 w 137"/>
                  <a:gd name="T11" fmla="*/ 9 h 60"/>
                  <a:gd name="T12" fmla="*/ 6 w 137"/>
                  <a:gd name="T13" fmla="*/ 13 h 60"/>
                  <a:gd name="T14" fmla="*/ 3 w 137"/>
                  <a:gd name="T15" fmla="*/ 18 h 60"/>
                  <a:gd name="T16" fmla="*/ 1 w 137"/>
                  <a:gd name="T17" fmla="*/ 24 h 60"/>
                  <a:gd name="T18" fmla="*/ 0 w 137"/>
                  <a:gd name="T19" fmla="*/ 30 h 60"/>
                  <a:gd name="T20" fmla="*/ 1 w 137"/>
                  <a:gd name="T21" fmla="*/ 36 h 60"/>
                  <a:gd name="T22" fmla="*/ 3 w 137"/>
                  <a:gd name="T23" fmla="*/ 42 h 60"/>
                  <a:gd name="T24" fmla="*/ 6 w 137"/>
                  <a:gd name="T25" fmla="*/ 47 h 60"/>
                  <a:gd name="T26" fmla="*/ 9 w 137"/>
                  <a:gd name="T27" fmla="*/ 52 h 60"/>
                  <a:gd name="T28" fmla="*/ 14 w 137"/>
                  <a:gd name="T29" fmla="*/ 55 h 60"/>
                  <a:gd name="T30" fmla="*/ 19 w 137"/>
                  <a:gd name="T31" fmla="*/ 57 h 60"/>
                  <a:gd name="T32" fmla="*/ 25 w 137"/>
                  <a:gd name="T33" fmla="*/ 60 h 60"/>
                  <a:gd name="T34" fmla="*/ 31 w 137"/>
                  <a:gd name="T35" fmla="*/ 60 h 60"/>
                  <a:gd name="T36" fmla="*/ 106 w 137"/>
                  <a:gd name="T37" fmla="*/ 60 h 60"/>
                  <a:gd name="T38" fmla="*/ 113 w 137"/>
                  <a:gd name="T39" fmla="*/ 60 h 60"/>
                  <a:gd name="T40" fmla="*/ 119 w 137"/>
                  <a:gd name="T41" fmla="*/ 57 h 60"/>
                  <a:gd name="T42" fmla="*/ 123 w 137"/>
                  <a:gd name="T43" fmla="*/ 55 h 60"/>
                  <a:gd name="T44" fmla="*/ 128 w 137"/>
                  <a:gd name="T45" fmla="*/ 52 h 60"/>
                  <a:gd name="T46" fmla="*/ 131 w 137"/>
                  <a:gd name="T47" fmla="*/ 47 h 60"/>
                  <a:gd name="T48" fmla="*/ 135 w 137"/>
                  <a:gd name="T49" fmla="*/ 42 h 60"/>
                  <a:gd name="T50" fmla="*/ 136 w 137"/>
                  <a:gd name="T51" fmla="*/ 36 h 60"/>
                  <a:gd name="T52" fmla="*/ 137 w 137"/>
                  <a:gd name="T53" fmla="*/ 30 h 60"/>
                  <a:gd name="T54" fmla="*/ 136 w 137"/>
                  <a:gd name="T55" fmla="*/ 24 h 60"/>
                  <a:gd name="T56" fmla="*/ 135 w 137"/>
                  <a:gd name="T57" fmla="*/ 18 h 60"/>
                  <a:gd name="T58" fmla="*/ 131 w 137"/>
                  <a:gd name="T59" fmla="*/ 13 h 60"/>
                  <a:gd name="T60" fmla="*/ 128 w 137"/>
                  <a:gd name="T61" fmla="*/ 9 h 60"/>
                  <a:gd name="T62" fmla="*/ 123 w 137"/>
                  <a:gd name="T63" fmla="*/ 6 h 60"/>
                  <a:gd name="T64" fmla="*/ 119 w 137"/>
                  <a:gd name="T65" fmla="*/ 2 h 60"/>
                  <a:gd name="T66" fmla="*/ 113 w 137"/>
                  <a:gd name="T67" fmla="*/ 1 h 60"/>
                  <a:gd name="T68" fmla="*/ 106 w 137"/>
                  <a:gd name="T69" fmla="*/ 0 h 60"/>
                  <a:gd name="T70" fmla="*/ 106 w 137"/>
                  <a:gd name="T71"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37" h="60">
                    <a:moveTo>
                      <a:pt x="106" y="0"/>
                    </a:moveTo>
                    <a:lnTo>
                      <a:pt x="31" y="0"/>
                    </a:lnTo>
                    <a:lnTo>
                      <a:pt x="25" y="1"/>
                    </a:lnTo>
                    <a:lnTo>
                      <a:pt x="19" y="2"/>
                    </a:lnTo>
                    <a:lnTo>
                      <a:pt x="14" y="6"/>
                    </a:lnTo>
                    <a:lnTo>
                      <a:pt x="9" y="9"/>
                    </a:lnTo>
                    <a:lnTo>
                      <a:pt x="6" y="13"/>
                    </a:lnTo>
                    <a:lnTo>
                      <a:pt x="3" y="18"/>
                    </a:lnTo>
                    <a:lnTo>
                      <a:pt x="1" y="24"/>
                    </a:lnTo>
                    <a:lnTo>
                      <a:pt x="0" y="30"/>
                    </a:lnTo>
                    <a:lnTo>
                      <a:pt x="1" y="36"/>
                    </a:lnTo>
                    <a:lnTo>
                      <a:pt x="3" y="42"/>
                    </a:lnTo>
                    <a:lnTo>
                      <a:pt x="6" y="47"/>
                    </a:lnTo>
                    <a:lnTo>
                      <a:pt x="9" y="52"/>
                    </a:lnTo>
                    <a:lnTo>
                      <a:pt x="14" y="55"/>
                    </a:lnTo>
                    <a:lnTo>
                      <a:pt x="19" y="57"/>
                    </a:lnTo>
                    <a:lnTo>
                      <a:pt x="25" y="60"/>
                    </a:lnTo>
                    <a:lnTo>
                      <a:pt x="31" y="60"/>
                    </a:lnTo>
                    <a:lnTo>
                      <a:pt x="106" y="60"/>
                    </a:lnTo>
                    <a:lnTo>
                      <a:pt x="113" y="60"/>
                    </a:lnTo>
                    <a:lnTo>
                      <a:pt x="119" y="57"/>
                    </a:lnTo>
                    <a:lnTo>
                      <a:pt x="123" y="55"/>
                    </a:lnTo>
                    <a:lnTo>
                      <a:pt x="128" y="52"/>
                    </a:lnTo>
                    <a:lnTo>
                      <a:pt x="131" y="47"/>
                    </a:lnTo>
                    <a:lnTo>
                      <a:pt x="135" y="42"/>
                    </a:lnTo>
                    <a:lnTo>
                      <a:pt x="136" y="36"/>
                    </a:lnTo>
                    <a:lnTo>
                      <a:pt x="137" y="30"/>
                    </a:lnTo>
                    <a:lnTo>
                      <a:pt x="136" y="24"/>
                    </a:lnTo>
                    <a:lnTo>
                      <a:pt x="135" y="18"/>
                    </a:lnTo>
                    <a:lnTo>
                      <a:pt x="131" y="13"/>
                    </a:lnTo>
                    <a:lnTo>
                      <a:pt x="128" y="9"/>
                    </a:lnTo>
                    <a:lnTo>
                      <a:pt x="123" y="6"/>
                    </a:lnTo>
                    <a:lnTo>
                      <a:pt x="119" y="2"/>
                    </a:lnTo>
                    <a:lnTo>
                      <a:pt x="113" y="1"/>
                    </a:lnTo>
                    <a:lnTo>
                      <a:pt x="106" y="0"/>
                    </a:lnTo>
                    <a:lnTo>
                      <a:pt x="106" y="0"/>
                    </a:lnTo>
                    <a:close/>
                  </a:path>
                </a:pathLst>
              </a:custGeom>
              <a:grpFill/>
              <a:ln w="12700" cap="flat" cmpd="sng" algn="ctr">
                <a:noFill/>
                <a:prstDash val="solid"/>
                <a:miter lim="800000"/>
              </a:ln>
              <a:effectLst>
                <a:outerShdw blurRad="215900" sx="104000" sy="104000" algn="ctr" rotWithShape="0">
                  <a:prstClr val="black">
                    <a:alpha val="19000"/>
                  </a:prstClr>
                </a:outerShdw>
              </a:effectLst>
              <a:extLst>
                <a:ext uri="{91240B29-F687-4f45-9708-019B960494DF}">
                  <a14:hiddenLine xmlns="" xmlns:a14="http://schemas.microsoft.com/office/drawing/2010/main" w="9525">
                    <a:solidFill>
                      <a:srgbClr val="000000"/>
                    </a:solidFill>
                    <a:round/>
                    <a:headEnd/>
                    <a:tailEnd/>
                  </a14:hiddenLine>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a:cs typeface="+mn-cs"/>
                </a:endParaRPr>
              </a:p>
            </p:txBody>
          </p:sp>
          <p:sp>
            <p:nvSpPr>
              <p:cNvPr id="69" name="Freeform 4536">
                <a:extLst>
                  <a:ext uri="{FF2B5EF4-FFF2-40B4-BE49-F238E27FC236}">
                    <a16:creationId xmlns:a16="http://schemas.microsoft.com/office/drawing/2014/main" id="{21491D7D-3145-4521-A570-494FA7253D66}"/>
                  </a:ext>
                </a:extLst>
              </p:cNvPr>
              <p:cNvSpPr>
                <a:spLocks/>
              </p:cNvSpPr>
              <p:nvPr/>
            </p:nvSpPr>
            <p:spPr bwMode="auto">
              <a:xfrm>
                <a:off x="11053686" y="471499"/>
                <a:ext cx="42863" cy="19050"/>
              </a:xfrm>
              <a:custGeom>
                <a:avLst/>
                <a:gdLst>
                  <a:gd name="T0" fmla="*/ 106 w 136"/>
                  <a:gd name="T1" fmla="*/ 0 h 61"/>
                  <a:gd name="T2" fmla="*/ 31 w 136"/>
                  <a:gd name="T3" fmla="*/ 0 h 61"/>
                  <a:gd name="T4" fmla="*/ 25 w 136"/>
                  <a:gd name="T5" fmla="*/ 1 h 61"/>
                  <a:gd name="T6" fmla="*/ 19 w 136"/>
                  <a:gd name="T7" fmla="*/ 2 h 61"/>
                  <a:gd name="T8" fmla="*/ 14 w 136"/>
                  <a:gd name="T9" fmla="*/ 6 h 61"/>
                  <a:gd name="T10" fmla="*/ 9 w 136"/>
                  <a:gd name="T11" fmla="*/ 9 h 61"/>
                  <a:gd name="T12" fmla="*/ 6 w 136"/>
                  <a:gd name="T13" fmla="*/ 14 h 61"/>
                  <a:gd name="T14" fmla="*/ 3 w 136"/>
                  <a:gd name="T15" fmla="*/ 19 h 61"/>
                  <a:gd name="T16" fmla="*/ 1 w 136"/>
                  <a:gd name="T17" fmla="*/ 25 h 61"/>
                  <a:gd name="T18" fmla="*/ 0 w 136"/>
                  <a:gd name="T19" fmla="*/ 31 h 61"/>
                  <a:gd name="T20" fmla="*/ 1 w 136"/>
                  <a:gd name="T21" fmla="*/ 36 h 61"/>
                  <a:gd name="T22" fmla="*/ 3 w 136"/>
                  <a:gd name="T23" fmla="*/ 42 h 61"/>
                  <a:gd name="T24" fmla="*/ 6 w 136"/>
                  <a:gd name="T25" fmla="*/ 48 h 61"/>
                  <a:gd name="T26" fmla="*/ 9 w 136"/>
                  <a:gd name="T27" fmla="*/ 52 h 61"/>
                  <a:gd name="T28" fmla="*/ 14 w 136"/>
                  <a:gd name="T29" fmla="*/ 55 h 61"/>
                  <a:gd name="T30" fmla="*/ 19 w 136"/>
                  <a:gd name="T31" fmla="*/ 59 h 61"/>
                  <a:gd name="T32" fmla="*/ 25 w 136"/>
                  <a:gd name="T33" fmla="*/ 60 h 61"/>
                  <a:gd name="T34" fmla="*/ 31 w 136"/>
                  <a:gd name="T35" fmla="*/ 61 h 61"/>
                  <a:gd name="T36" fmla="*/ 106 w 136"/>
                  <a:gd name="T37" fmla="*/ 61 h 61"/>
                  <a:gd name="T38" fmla="*/ 112 w 136"/>
                  <a:gd name="T39" fmla="*/ 60 h 61"/>
                  <a:gd name="T40" fmla="*/ 118 w 136"/>
                  <a:gd name="T41" fmla="*/ 59 h 61"/>
                  <a:gd name="T42" fmla="*/ 123 w 136"/>
                  <a:gd name="T43" fmla="*/ 55 h 61"/>
                  <a:gd name="T44" fmla="*/ 128 w 136"/>
                  <a:gd name="T45" fmla="*/ 52 h 61"/>
                  <a:gd name="T46" fmla="*/ 131 w 136"/>
                  <a:gd name="T47" fmla="*/ 48 h 61"/>
                  <a:gd name="T48" fmla="*/ 134 w 136"/>
                  <a:gd name="T49" fmla="*/ 42 h 61"/>
                  <a:gd name="T50" fmla="*/ 136 w 136"/>
                  <a:gd name="T51" fmla="*/ 36 h 61"/>
                  <a:gd name="T52" fmla="*/ 136 w 136"/>
                  <a:gd name="T53" fmla="*/ 31 h 61"/>
                  <a:gd name="T54" fmla="*/ 136 w 136"/>
                  <a:gd name="T55" fmla="*/ 25 h 61"/>
                  <a:gd name="T56" fmla="*/ 134 w 136"/>
                  <a:gd name="T57" fmla="*/ 19 h 61"/>
                  <a:gd name="T58" fmla="*/ 131 w 136"/>
                  <a:gd name="T59" fmla="*/ 14 h 61"/>
                  <a:gd name="T60" fmla="*/ 128 w 136"/>
                  <a:gd name="T61" fmla="*/ 9 h 61"/>
                  <a:gd name="T62" fmla="*/ 123 w 136"/>
                  <a:gd name="T63" fmla="*/ 6 h 61"/>
                  <a:gd name="T64" fmla="*/ 118 w 136"/>
                  <a:gd name="T65" fmla="*/ 3 h 61"/>
                  <a:gd name="T66" fmla="*/ 112 w 136"/>
                  <a:gd name="T67" fmla="*/ 1 h 61"/>
                  <a:gd name="T68" fmla="*/ 106 w 136"/>
                  <a:gd name="T69" fmla="*/ 0 h 61"/>
                  <a:gd name="T70" fmla="*/ 106 w 136"/>
                  <a:gd name="T71" fmla="*/ 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36" h="61">
                    <a:moveTo>
                      <a:pt x="106" y="0"/>
                    </a:moveTo>
                    <a:lnTo>
                      <a:pt x="31" y="0"/>
                    </a:lnTo>
                    <a:lnTo>
                      <a:pt x="25" y="1"/>
                    </a:lnTo>
                    <a:lnTo>
                      <a:pt x="19" y="2"/>
                    </a:lnTo>
                    <a:lnTo>
                      <a:pt x="14" y="6"/>
                    </a:lnTo>
                    <a:lnTo>
                      <a:pt x="9" y="9"/>
                    </a:lnTo>
                    <a:lnTo>
                      <a:pt x="6" y="14"/>
                    </a:lnTo>
                    <a:lnTo>
                      <a:pt x="3" y="19"/>
                    </a:lnTo>
                    <a:lnTo>
                      <a:pt x="1" y="25"/>
                    </a:lnTo>
                    <a:lnTo>
                      <a:pt x="0" y="31"/>
                    </a:lnTo>
                    <a:lnTo>
                      <a:pt x="1" y="36"/>
                    </a:lnTo>
                    <a:lnTo>
                      <a:pt x="3" y="42"/>
                    </a:lnTo>
                    <a:lnTo>
                      <a:pt x="6" y="48"/>
                    </a:lnTo>
                    <a:lnTo>
                      <a:pt x="9" y="52"/>
                    </a:lnTo>
                    <a:lnTo>
                      <a:pt x="14" y="55"/>
                    </a:lnTo>
                    <a:lnTo>
                      <a:pt x="19" y="59"/>
                    </a:lnTo>
                    <a:lnTo>
                      <a:pt x="25" y="60"/>
                    </a:lnTo>
                    <a:lnTo>
                      <a:pt x="31" y="61"/>
                    </a:lnTo>
                    <a:lnTo>
                      <a:pt x="106" y="61"/>
                    </a:lnTo>
                    <a:lnTo>
                      <a:pt x="112" y="60"/>
                    </a:lnTo>
                    <a:lnTo>
                      <a:pt x="118" y="59"/>
                    </a:lnTo>
                    <a:lnTo>
                      <a:pt x="123" y="55"/>
                    </a:lnTo>
                    <a:lnTo>
                      <a:pt x="128" y="52"/>
                    </a:lnTo>
                    <a:lnTo>
                      <a:pt x="131" y="48"/>
                    </a:lnTo>
                    <a:lnTo>
                      <a:pt x="134" y="42"/>
                    </a:lnTo>
                    <a:lnTo>
                      <a:pt x="136" y="36"/>
                    </a:lnTo>
                    <a:lnTo>
                      <a:pt x="136" y="31"/>
                    </a:lnTo>
                    <a:lnTo>
                      <a:pt x="136" y="25"/>
                    </a:lnTo>
                    <a:lnTo>
                      <a:pt x="134" y="19"/>
                    </a:lnTo>
                    <a:lnTo>
                      <a:pt x="131" y="14"/>
                    </a:lnTo>
                    <a:lnTo>
                      <a:pt x="128" y="9"/>
                    </a:lnTo>
                    <a:lnTo>
                      <a:pt x="123" y="6"/>
                    </a:lnTo>
                    <a:lnTo>
                      <a:pt x="118" y="3"/>
                    </a:lnTo>
                    <a:lnTo>
                      <a:pt x="112" y="1"/>
                    </a:lnTo>
                    <a:lnTo>
                      <a:pt x="106" y="0"/>
                    </a:lnTo>
                    <a:lnTo>
                      <a:pt x="106" y="0"/>
                    </a:lnTo>
                    <a:close/>
                  </a:path>
                </a:pathLst>
              </a:custGeom>
              <a:grpFill/>
              <a:ln w="12700" cap="flat" cmpd="sng" algn="ctr">
                <a:noFill/>
                <a:prstDash val="solid"/>
                <a:miter lim="800000"/>
              </a:ln>
              <a:effectLst>
                <a:outerShdw blurRad="215900" sx="104000" sy="104000" algn="ctr" rotWithShape="0">
                  <a:prstClr val="black">
                    <a:alpha val="19000"/>
                  </a:prstClr>
                </a:outerShdw>
              </a:effectLst>
              <a:extLst>
                <a:ext uri="{91240B29-F687-4f45-9708-019B960494DF}">
                  <a14:hiddenLine xmlns="" xmlns:a14="http://schemas.microsoft.com/office/drawing/2010/main" w="9525">
                    <a:solidFill>
                      <a:srgbClr val="000000"/>
                    </a:solidFill>
                    <a:round/>
                    <a:headEnd/>
                    <a:tailEnd/>
                  </a14:hiddenLine>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a:cs typeface="+mn-cs"/>
                </a:endParaRPr>
              </a:p>
            </p:txBody>
          </p:sp>
          <p:sp>
            <p:nvSpPr>
              <p:cNvPr id="70" name="Freeform 4537">
                <a:extLst>
                  <a:ext uri="{FF2B5EF4-FFF2-40B4-BE49-F238E27FC236}">
                    <a16:creationId xmlns:a16="http://schemas.microsoft.com/office/drawing/2014/main" id="{386DDE7F-7FDB-461E-8909-62AF70B905AB}"/>
                  </a:ext>
                </a:extLst>
              </p:cNvPr>
              <p:cNvSpPr>
                <a:spLocks/>
              </p:cNvSpPr>
              <p:nvPr/>
            </p:nvSpPr>
            <p:spPr bwMode="auto">
              <a:xfrm>
                <a:off x="11110836" y="376247"/>
                <a:ext cx="42863" cy="19050"/>
              </a:xfrm>
              <a:custGeom>
                <a:avLst/>
                <a:gdLst>
                  <a:gd name="T0" fmla="*/ 30 w 136"/>
                  <a:gd name="T1" fmla="*/ 60 h 60"/>
                  <a:gd name="T2" fmla="*/ 106 w 136"/>
                  <a:gd name="T3" fmla="*/ 60 h 60"/>
                  <a:gd name="T4" fmla="*/ 112 w 136"/>
                  <a:gd name="T5" fmla="*/ 58 h 60"/>
                  <a:gd name="T6" fmla="*/ 117 w 136"/>
                  <a:gd name="T7" fmla="*/ 57 h 60"/>
                  <a:gd name="T8" fmla="*/ 123 w 136"/>
                  <a:gd name="T9" fmla="*/ 54 h 60"/>
                  <a:gd name="T10" fmla="*/ 128 w 136"/>
                  <a:gd name="T11" fmla="*/ 50 h 60"/>
                  <a:gd name="T12" fmla="*/ 131 w 136"/>
                  <a:gd name="T13" fmla="*/ 46 h 60"/>
                  <a:gd name="T14" fmla="*/ 133 w 136"/>
                  <a:gd name="T15" fmla="*/ 41 h 60"/>
                  <a:gd name="T16" fmla="*/ 136 w 136"/>
                  <a:gd name="T17" fmla="*/ 36 h 60"/>
                  <a:gd name="T18" fmla="*/ 136 w 136"/>
                  <a:gd name="T19" fmla="*/ 29 h 60"/>
                  <a:gd name="T20" fmla="*/ 136 w 136"/>
                  <a:gd name="T21" fmla="*/ 23 h 60"/>
                  <a:gd name="T22" fmla="*/ 133 w 136"/>
                  <a:gd name="T23" fmla="*/ 18 h 60"/>
                  <a:gd name="T24" fmla="*/ 131 w 136"/>
                  <a:gd name="T25" fmla="*/ 12 h 60"/>
                  <a:gd name="T26" fmla="*/ 128 w 136"/>
                  <a:gd name="T27" fmla="*/ 9 h 60"/>
                  <a:gd name="T28" fmla="*/ 123 w 136"/>
                  <a:gd name="T29" fmla="*/ 4 h 60"/>
                  <a:gd name="T30" fmla="*/ 117 w 136"/>
                  <a:gd name="T31" fmla="*/ 2 h 60"/>
                  <a:gd name="T32" fmla="*/ 112 w 136"/>
                  <a:gd name="T33" fmla="*/ 0 h 60"/>
                  <a:gd name="T34" fmla="*/ 106 w 136"/>
                  <a:gd name="T35" fmla="*/ 0 h 60"/>
                  <a:gd name="T36" fmla="*/ 30 w 136"/>
                  <a:gd name="T37" fmla="*/ 0 h 60"/>
                  <a:gd name="T38" fmla="*/ 25 w 136"/>
                  <a:gd name="T39" fmla="*/ 0 h 60"/>
                  <a:gd name="T40" fmla="*/ 19 w 136"/>
                  <a:gd name="T41" fmla="*/ 2 h 60"/>
                  <a:gd name="T42" fmla="*/ 14 w 136"/>
                  <a:gd name="T43" fmla="*/ 4 h 60"/>
                  <a:gd name="T44" fmla="*/ 9 w 136"/>
                  <a:gd name="T45" fmla="*/ 9 h 60"/>
                  <a:gd name="T46" fmla="*/ 6 w 136"/>
                  <a:gd name="T47" fmla="*/ 12 h 60"/>
                  <a:gd name="T48" fmla="*/ 2 w 136"/>
                  <a:gd name="T49" fmla="*/ 18 h 60"/>
                  <a:gd name="T50" fmla="*/ 1 w 136"/>
                  <a:gd name="T51" fmla="*/ 23 h 60"/>
                  <a:gd name="T52" fmla="*/ 0 w 136"/>
                  <a:gd name="T53" fmla="*/ 29 h 60"/>
                  <a:gd name="T54" fmla="*/ 1 w 136"/>
                  <a:gd name="T55" fmla="*/ 36 h 60"/>
                  <a:gd name="T56" fmla="*/ 2 w 136"/>
                  <a:gd name="T57" fmla="*/ 41 h 60"/>
                  <a:gd name="T58" fmla="*/ 6 w 136"/>
                  <a:gd name="T59" fmla="*/ 46 h 60"/>
                  <a:gd name="T60" fmla="*/ 9 w 136"/>
                  <a:gd name="T61" fmla="*/ 50 h 60"/>
                  <a:gd name="T62" fmla="*/ 14 w 136"/>
                  <a:gd name="T63" fmla="*/ 55 h 60"/>
                  <a:gd name="T64" fmla="*/ 19 w 136"/>
                  <a:gd name="T65" fmla="*/ 57 h 60"/>
                  <a:gd name="T66" fmla="*/ 25 w 136"/>
                  <a:gd name="T67" fmla="*/ 60 h 60"/>
                  <a:gd name="T68" fmla="*/ 30 w 136"/>
                  <a:gd name="T69" fmla="*/ 60 h 60"/>
                  <a:gd name="T70" fmla="*/ 30 w 136"/>
                  <a:gd name="T71"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36" h="60">
                    <a:moveTo>
                      <a:pt x="30" y="60"/>
                    </a:moveTo>
                    <a:lnTo>
                      <a:pt x="106" y="60"/>
                    </a:lnTo>
                    <a:lnTo>
                      <a:pt x="112" y="58"/>
                    </a:lnTo>
                    <a:lnTo>
                      <a:pt x="117" y="57"/>
                    </a:lnTo>
                    <a:lnTo>
                      <a:pt x="123" y="54"/>
                    </a:lnTo>
                    <a:lnTo>
                      <a:pt x="128" y="50"/>
                    </a:lnTo>
                    <a:lnTo>
                      <a:pt x="131" y="46"/>
                    </a:lnTo>
                    <a:lnTo>
                      <a:pt x="133" y="41"/>
                    </a:lnTo>
                    <a:lnTo>
                      <a:pt x="136" y="36"/>
                    </a:lnTo>
                    <a:lnTo>
                      <a:pt x="136" y="29"/>
                    </a:lnTo>
                    <a:lnTo>
                      <a:pt x="136" y="23"/>
                    </a:lnTo>
                    <a:lnTo>
                      <a:pt x="133" y="18"/>
                    </a:lnTo>
                    <a:lnTo>
                      <a:pt x="131" y="12"/>
                    </a:lnTo>
                    <a:lnTo>
                      <a:pt x="128" y="9"/>
                    </a:lnTo>
                    <a:lnTo>
                      <a:pt x="123" y="4"/>
                    </a:lnTo>
                    <a:lnTo>
                      <a:pt x="117" y="2"/>
                    </a:lnTo>
                    <a:lnTo>
                      <a:pt x="112" y="0"/>
                    </a:lnTo>
                    <a:lnTo>
                      <a:pt x="106" y="0"/>
                    </a:lnTo>
                    <a:lnTo>
                      <a:pt x="30" y="0"/>
                    </a:lnTo>
                    <a:lnTo>
                      <a:pt x="25" y="0"/>
                    </a:lnTo>
                    <a:lnTo>
                      <a:pt x="19" y="2"/>
                    </a:lnTo>
                    <a:lnTo>
                      <a:pt x="14" y="4"/>
                    </a:lnTo>
                    <a:lnTo>
                      <a:pt x="9" y="9"/>
                    </a:lnTo>
                    <a:lnTo>
                      <a:pt x="6" y="12"/>
                    </a:lnTo>
                    <a:lnTo>
                      <a:pt x="2" y="18"/>
                    </a:lnTo>
                    <a:lnTo>
                      <a:pt x="1" y="23"/>
                    </a:lnTo>
                    <a:lnTo>
                      <a:pt x="0" y="29"/>
                    </a:lnTo>
                    <a:lnTo>
                      <a:pt x="1" y="36"/>
                    </a:lnTo>
                    <a:lnTo>
                      <a:pt x="2" y="41"/>
                    </a:lnTo>
                    <a:lnTo>
                      <a:pt x="6" y="46"/>
                    </a:lnTo>
                    <a:lnTo>
                      <a:pt x="9" y="50"/>
                    </a:lnTo>
                    <a:lnTo>
                      <a:pt x="14" y="55"/>
                    </a:lnTo>
                    <a:lnTo>
                      <a:pt x="19" y="57"/>
                    </a:lnTo>
                    <a:lnTo>
                      <a:pt x="25" y="60"/>
                    </a:lnTo>
                    <a:lnTo>
                      <a:pt x="30" y="60"/>
                    </a:lnTo>
                    <a:lnTo>
                      <a:pt x="30" y="60"/>
                    </a:lnTo>
                    <a:close/>
                  </a:path>
                </a:pathLst>
              </a:custGeom>
              <a:grpFill/>
              <a:ln w="12700" cap="flat" cmpd="sng" algn="ctr">
                <a:noFill/>
                <a:prstDash val="solid"/>
                <a:miter lim="800000"/>
              </a:ln>
              <a:effectLst>
                <a:outerShdw blurRad="215900" sx="104000" sy="104000" algn="ctr" rotWithShape="0">
                  <a:prstClr val="black">
                    <a:alpha val="19000"/>
                  </a:prstClr>
                </a:outerShdw>
              </a:effectLst>
              <a:extLst>
                <a:ext uri="{91240B29-F687-4f45-9708-019B960494DF}">
                  <a14:hiddenLine xmlns="" xmlns:a14="http://schemas.microsoft.com/office/drawing/2010/main" w="9525">
                    <a:solidFill>
                      <a:srgbClr val="000000"/>
                    </a:solidFill>
                    <a:round/>
                    <a:headEnd/>
                    <a:tailEnd/>
                  </a14:hiddenLine>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a:cs typeface="+mn-cs"/>
                </a:endParaRPr>
              </a:p>
            </p:txBody>
          </p:sp>
          <p:sp>
            <p:nvSpPr>
              <p:cNvPr id="71" name="Freeform 4538">
                <a:extLst>
                  <a:ext uri="{FF2B5EF4-FFF2-40B4-BE49-F238E27FC236}">
                    <a16:creationId xmlns:a16="http://schemas.microsoft.com/office/drawing/2014/main" id="{8B652344-E26F-4607-8D5C-E904C46B142D}"/>
                  </a:ext>
                </a:extLst>
              </p:cNvPr>
              <p:cNvSpPr>
                <a:spLocks/>
              </p:cNvSpPr>
              <p:nvPr/>
            </p:nvSpPr>
            <p:spPr bwMode="auto">
              <a:xfrm>
                <a:off x="11110832" y="423873"/>
                <a:ext cx="42863" cy="19050"/>
              </a:xfrm>
              <a:custGeom>
                <a:avLst/>
                <a:gdLst>
                  <a:gd name="T0" fmla="*/ 30 w 136"/>
                  <a:gd name="T1" fmla="*/ 60 h 60"/>
                  <a:gd name="T2" fmla="*/ 106 w 136"/>
                  <a:gd name="T3" fmla="*/ 60 h 60"/>
                  <a:gd name="T4" fmla="*/ 112 w 136"/>
                  <a:gd name="T5" fmla="*/ 60 h 60"/>
                  <a:gd name="T6" fmla="*/ 117 w 136"/>
                  <a:gd name="T7" fmla="*/ 57 h 60"/>
                  <a:gd name="T8" fmla="*/ 123 w 136"/>
                  <a:gd name="T9" fmla="*/ 55 h 60"/>
                  <a:gd name="T10" fmla="*/ 128 w 136"/>
                  <a:gd name="T11" fmla="*/ 52 h 60"/>
                  <a:gd name="T12" fmla="*/ 131 w 136"/>
                  <a:gd name="T13" fmla="*/ 47 h 60"/>
                  <a:gd name="T14" fmla="*/ 133 w 136"/>
                  <a:gd name="T15" fmla="*/ 42 h 60"/>
                  <a:gd name="T16" fmla="*/ 136 w 136"/>
                  <a:gd name="T17" fmla="*/ 36 h 60"/>
                  <a:gd name="T18" fmla="*/ 136 w 136"/>
                  <a:gd name="T19" fmla="*/ 30 h 60"/>
                  <a:gd name="T20" fmla="*/ 136 w 136"/>
                  <a:gd name="T21" fmla="*/ 24 h 60"/>
                  <a:gd name="T22" fmla="*/ 133 w 136"/>
                  <a:gd name="T23" fmla="*/ 18 h 60"/>
                  <a:gd name="T24" fmla="*/ 131 w 136"/>
                  <a:gd name="T25" fmla="*/ 13 h 60"/>
                  <a:gd name="T26" fmla="*/ 128 w 136"/>
                  <a:gd name="T27" fmla="*/ 9 h 60"/>
                  <a:gd name="T28" fmla="*/ 123 w 136"/>
                  <a:gd name="T29" fmla="*/ 6 h 60"/>
                  <a:gd name="T30" fmla="*/ 117 w 136"/>
                  <a:gd name="T31" fmla="*/ 2 h 60"/>
                  <a:gd name="T32" fmla="*/ 112 w 136"/>
                  <a:gd name="T33" fmla="*/ 1 h 60"/>
                  <a:gd name="T34" fmla="*/ 106 w 136"/>
                  <a:gd name="T35" fmla="*/ 0 h 60"/>
                  <a:gd name="T36" fmla="*/ 30 w 136"/>
                  <a:gd name="T37" fmla="*/ 0 h 60"/>
                  <a:gd name="T38" fmla="*/ 25 w 136"/>
                  <a:gd name="T39" fmla="*/ 1 h 60"/>
                  <a:gd name="T40" fmla="*/ 19 w 136"/>
                  <a:gd name="T41" fmla="*/ 2 h 60"/>
                  <a:gd name="T42" fmla="*/ 14 w 136"/>
                  <a:gd name="T43" fmla="*/ 6 h 60"/>
                  <a:gd name="T44" fmla="*/ 9 w 136"/>
                  <a:gd name="T45" fmla="*/ 9 h 60"/>
                  <a:gd name="T46" fmla="*/ 6 w 136"/>
                  <a:gd name="T47" fmla="*/ 13 h 60"/>
                  <a:gd name="T48" fmla="*/ 2 w 136"/>
                  <a:gd name="T49" fmla="*/ 18 h 60"/>
                  <a:gd name="T50" fmla="*/ 1 w 136"/>
                  <a:gd name="T51" fmla="*/ 24 h 60"/>
                  <a:gd name="T52" fmla="*/ 0 w 136"/>
                  <a:gd name="T53" fmla="*/ 30 h 60"/>
                  <a:gd name="T54" fmla="*/ 1 w 136"/>
                  <a:gd name="T55" fmla="*/ 36 h 60"/>
                  <a:gd name="T56" fmla="*/ 2 w 136"/>
                  <a:gd name="T57" fmla="*/ 42 h 60"/>
                  <a:gd name="T58" fmla="*/ 6 w 136"/>
                  <a:gd name="T59" fmla="*/ 47 h 60"/>
                  <a:gd name="T60" fmla="*/ 9 w 136"/>
                  <a:gd name="T61" fmla="*/ 52 h 60"/>
                  <a:gd name="T62" fmla="*/ 14 w 136"/>
                  <a:gd name="T63" fmla="*/ 55 h 60"/>
                  <a:gd name="T64" fmla="*/ 19 w 136"/>
                  <a:gd name="T65" fmla="*/ 57 h 60"/>
                  <a:gd name="T66" fmla="*/ 25 w 136"/>
                  <a:gd name="T67" fmla="*/ 60 h 60"/>
                  <a:gd name="T68" fmla="*/ 30 w 136"/>
                  <a:gd name="T69"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36" h="60">
                    <a:moveTo>
                      <a:pt x="30" y="60"/>
                    </a:moveTo>
                    <a:lnTo>
                      <a:pt x="106" y="60"/>
                    </a:lnTo>
                    <a:lnTo>
                      <a:pt x="112" y="60"/>
                    </a:lnTo>
                    <a:lnTo>
                      <a:pt x="117" y="57"/>
                    </a:lnTo>
                    <a:lnTo>
                      <a:pt x="123" y="55"/>
                    </a:lnTo>
                    <a:lnTo>
                      <a:pt x="128" y="52"/>
                    </a:lnTo>
                    <a:lnTo>
                      <a:pt x="131" y="47"/>
                    </a:lnTo>
                    <a:lnTo>
                      <a:pt x="133" y="42"/>
                    </a:lnTo>
                    <a:lnTo>
                      <a:pt x="136" y="36"/>
                    </a:lnTo>
                    <a:lnTo>
                      <a:pt x="136" y="30"/>
                    </a:lnTo>
                    <a:lnTo>
                      <a:pt x="136" y="24"/>
                    </a:lnTo>
                    <a:lnTo>
                      <a:pt x="133" y="18"/>
                    </a:lnTo>
                    <a:lnTo>
                      <a:pt x="131" y="13"/>
                    </a:lnTo>
                    <a:lnTo>
                      <a:pt x="128" y="9"/>
                    </a:lnTo>
                    <a:lnTo>
                      <a:pt x="123" y="6"/>
                    </a:lnTo>
                    <a:lnTo>
                      <a:pt x="117" y="2"/>
                    </a:lnTo>
                    <a:lnTo>
                      <a:pt x="112" y="1"/>
                    </a:lnTo>
                    <a:lnTo>
                      <a:pt x="106" y="0"/>
                    </a:lnTo>
                    <a:lnTo>
                      <a:pt x="30" y="0"/>
                    </a:lnTo>
                    <a:lnTo>
                      <a:pt x="25" y="1"/>
                    </a:lnTo>
                    <a:lnTo>
                      <a:pt x="19" y="2"/>
                    </a:lnTo>
                    <a:lnTo>
                      <a:pt x="14" y="6"/>
                    </a:lnTo>
                    <a:lnTo>
                      <a:pt x="9" y="9"/>
                    </a:lnTo>
                    <a:lnTo>
                      <a:pt x="6" y="13"/>
                    </a:lnTo>
                    <a:lnTo>
                      <a:pt x="2" y="18"/>
                    </a:lnTo>
                    <a:lnTo>
                      <a:pt x="1" y="24"/>
                    </a:lnTo>
                    <a:lnTo>
                      <a:pt x="0" y="30"/>
                    </a:lnTo>
                    <a:lnTo>
                      <a:pt x="1" y="36"/>
                    </a:lnTo>
                    <a:lnTo>
                      <a:pt x="2" y="42"/>
                    </a:lnTo>
                    <a:lnTo>
                      <a:pt x="6" y="47"/>
                    </a:lnTo>
                    <a:lnTo>
                      <a:pt x="9" y="52"/>
                    </a:lnTo>
                    <a:lnTo>
                      <a:pt x="14" y="55"/>
                    </a:lnTo>
                    <a:lnTo>
                      <a:pt x="19" y="57"/>
                    </a:lnTo>
                    <a:lnTo>
                      <a:pt x="25" y="60"/>
                    </a:lnTo>
                    <a:lnTo>
                      <a:pt x="30" y="60"/>
                    </a:lnTo>
                    <a:close/>
                  </a:path>
                </a:pathLst>
              </a:custGeom>
              <a:grpFill/>
              <a:ln w="12700" cap="flat" cmpd="sng" algn="ctr">
                <a:noFill/>
                <a:prstDash val="solid"/>
                <a:miter lim="800000"/>
              </a:ln>
              <a:effectLst>
                <a:outerShdw blurRad="215900" sx="104000" sy="104000" algn="ctr" rotWithShape="0">
                  <a:prstClr val="black">
                    <a:alpha val="19000"/>
                  </a:prstClr>
                </a:outerShdw>
              </a:effectLst>
              <a:extLst>
                <a:ext uri="{91240B29-F687-4f45-9708-019B960494DF}">
                  <a14:hiddenLine xmlns="" xmlns:a14="http://schemas.microsoft.com/office/drawing/2010/main" w="9525">
                    <a:solidFill>
                      <a:srgbClr val="000000"/>
                    </a:solidFill>
                    <a:round/>
                    <a:headEnd/>
                    <a:tailEnd/>
                  </a14:hiddenLine>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a:cs typeface="+mn-cs"/>
                </a:endParaRPr>
              </a:p>
            </p:txBody>
          </p:sp>
          <p:sp>
            <p:nvSpPr>
              <p:cNvPr id="72" name="Freeform 4539">
                <a:extLst>
                  <a:ext uri="{FF2B5EF4-FFF2-40B4-BE49-F238E27FC236}">
                    <a16:creationId xmlns:a16="http://schemas.microsoft.com/office/drawing/2014/main" id="{41D82329-69CD-436F-8616-7A53538B3F48}"/>
                  </a:ext>
                </a:extLst>
              </p:cNvPr>
              <p:cNvSpPr>
                <a:spLocks/>
              </p:cNvSpPr>
              <p:nvPr/>
            </p:nvSpPr>
            <p:spPr bwMode="auto">
              <a:xfrm>
                <a:off x="11110869" y="471498"/>
                <a:ext cx="42863" cy="19050"/>
              </a:xfrm>
              <a:custGeom>
                <a:avLst/>
                <a:gdLst>
                  <a:gd name="T0" fmla="*/ 136 w 136"/>
                  <a:gd name="T1" fmla="*/ 31 h 61"/>
                  <a:gd name="T2" fmla="*/ 136 w 136"/>
                  <a:gd name="T3" fmla="*/ 25 h 61"/>
                  <a:gd name="T4" fmla="*/ 133 w 136"/>
                  <a:gd name="T5" fmla="*/ 19 h 61"/>
                  <a:gd name="T6" fmla="*/ 131 w 136"/>
                  <a:gd name="T7" fmla="*/ 14 h 61"/>
                  <a:gd name="T8" fmla="*/ 128 w 136"/>
                  <a:gd name="T9" fmla="*/ 9 h 61"/>
                  <a:gd name="T10" fmla="*/ 123 w 136"/>
                  <a:gd name="T11" fmla="*/ 6 h 61"/>
                  <a:gd name="T12" fmla="*/ 117 w 136"/>
                  <a:gd name="T13" fmla="*/ 3 h 61"/>
                  <a:gd name="T14" fmla="*/ 112 w 136"/>
                  <a:gd name="T15" fmla="*/ 1 h 61"/>
                  <a:gd name="T16" fmla="*/ 106 w 136"/>
                  <a:gd name="T17" fmla="*/ 0 h 61"/>
                  <a:gd name="T18" fmla="*/ 30 w 136"/>
                  <a:gd name="T19" fmla="*/ 0 h 61"/>
                  <a:gd name="T20" fmla="*/ 25 w 136"/>
                  <a:gd name="T21" fmla="*/ 1 h 61"/>
                  <a:gd name="T22" fmla="*/ 19 w 136"/>
                  <a:gd name="T23" fmla="*/ 2 h 61"/>
                  <a:gd name="T24" fmla="*/ 14 w 136"/>
                  <a:gd name="T25" fmla="*/ 6 h 61"/>
                  <a:gd name="T26" fmla="*/ 9 w 136"/>
                  <a:gd name="T27" fmla="*/ 9 h 61"/>
                  <a:gd name="T28" fmla="*/ 6 w 136"/>
                  <a:gd name="T29" fmla="*/ 14 h 61"/>
                  <a:gd name="T30" fmla="*/ 2 w 136"/>
                  <a:gd name="T31" fmla="*/ 19 h 61"/>
                  <a:gd name="T32" fmla="*/ 1 w 136"/>
                  <a:gd name="T33" fmla="*/ 25 h 61"/>
                  <a:gd name="T34" fmla="*/ 0 w 136"/>
                  <a:gd name="T35" fmla="*/ 31 h 61"/>
                  <a:gd name="T36" fmla="*/ 1 w 136"/>
                  <a:gd name="T37" fmla="*/ 36 h 61"/>
                  <a:gd name="T38" fmla="*/ 2 w 136"/>
                  <a:gd name="T39" fmla="*/ 42 h 61"/>
                  <a:gd name="T40" fmla="*/ 6 w 136"/>
                  <a:gd name="T41" fmla="*/ 48 h 61"/>
                  <a:gd name="T42" fmla="*/ 9 w 136"/>
                  <a:gd name="T43" fmla="*/ 52 h 61"/>
                  <a:gd name="T44" fmla="*/ 14 w 136"/>
                  <a:gd name="T45" fmla="*/ 55 h 61"/>
                  <a:gd name="T46" fmla="*/ 19 w 136"/>
                  <a:gd name="T47" fmla="*/ 59 h 61"/>
                  <a:gd name="T48" fmla="*/ 25 w 136"/>
                  <a:gd name="T49" fmla="*/ 60 h 61"/>
                  <a:gd name="T50" fmla="*/ 30 w 136"/>
                  <a:gd name="T51" fmla="*/ 61 h 61"/>
                  <a:gd name="T52" fmla="*/ 106 w 136"/>
                  <a:gd name="T53" fmla="*/ 61 h 61"/>
                  <a:gd name="T54" fmla="*/ 112 w 136"/>
                  <a:gd name="T55" fmla="*/ 60 h 61"/>
                  <a:gd name="T56" fmla="*/ 117 w 136"/>
                  <a:gd name="T57" fmla="*/ 59 h 61"/>
                  <a:gd name="T58" fmla="*/ 123 w 136"/>
                  <a:gd name="T59" fmla="*/ 55 h 61"/>
                  <a:gd name="T60" fmla="*/ 128 w 136"/>
                  <a:gd name="T61" fmla="*/ 52 h 61"/>
                  <a:gd name="T62" fmla="*/ 131 w 136"/>
                  <a:gd name="T63" fmla="*/ 48 h 61"/>
                  <a:gd name="T64" fmla="*/ 133 w 136"/>
                  <a:gd name="T65" fmla="*/ 42 h 61"/>
                  <a:gd name="T66" fmla="*/ 136 w 136"/>
                  <a:gd name="T67" fmla="*/ 36 h 61"/>
                  <a:gd name="T68" fmla="*/ 136 w 136"/>
                  <a:gd name="T69" fmla="*/ 31 h 61"/>
                  <a:gd name="T70" fmla="*/ 136 w 136"/>
                  <a:gd name="T71" fmla="*/ 3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36" h="61">
                    <a:moveTo>
                      <a:pt x="136" y="31"/>
                    </a:moveTo>
                    <a:lnTo>
                      <a:pt x="136" y="25"/>
                    </a:lnTo>
                    <a:lnTo>
                      <a:pt x="133" y="19"/>
                    </a:lnTo>
                    <a:lnTo>
                      <a:pt x="131" y="14"/>
                    </a:lnTo>
                    <a:lnTo>
                      <a:pt x="128" y="9"/>
                    </a:lnTo>
                    <a:lnTo>
                      <a:pt x="123" y="6"/>
                    </a:lnTo>
                    <a:lnTo>
                      <a:pt x="117" y="3"/>
                    </a:lnTo>
                    <a:lnTo>
                      <a:pt x="112" y="1"/>
                    </a:lnTo>
                    <a:lnTo>
                      <a:pt x="106" y="0"/>
                    </a:lnTo>
                    <a:lnTo>
                      <a:pt x="30" y="0"/>
                    </a:lnTo>
                    <a:lnTo>
                      <a:pt x="25" y="1"/>
                    </a:lnTo>
                    <a:lnTo>
                      <a:pt x="19" y="2"/>
                    </a:lnTo>
                    <a:lnTo>
                      <a:pt x="14" y="6"/>
                    </a:lnTo>
                    <a:lnTo>
                      <a:pt x="9" y="9"/>
                    </a:lnTo>
                    <a:lnTo>
                      <a:pt x="6" y="14"/>
                    </a:lnTo>
                    <a:lnTo>
                      <a:pt x="2" y="19"/>
                    </a:lnTo>
                    <a:lnTo>
                      <a:pt x="1" y="25"/>
                    </a:lnTo>
                    <a:lnTo>
                      <a:pt x="0" y="31"/>
                    </a:lnTo>
                    <a:lnTo>
                      <a:pt x="1" y="36"/>
                    </a:lnTo>
                    <a:lnTo>
                      <a:pt x="2" y="42"/>
                    </a:lnTo>
                    <a:lnTo>
                      <a:pt x="6" y="48"/>
                    </a:lnTo>
                    <a:lnTo>
                      <a:pt x="9" y="52"/>
                    </a:lnTo>
                    <a:lnTo>
                      <a:pt x="14" y="55"/>
                    </a:lnTo>
                    <a:lnTo>
                      <a:pt x="19" y="59"/>
                    </a:lnTo>
                    <a:lnTo>
                      <a:pt x="25" y="60"/>
                    </a:lnTo>
                    <a:lnTo>
                      <a:pt x="30" y="61"/>
                    </a:lnTo>
                    <a:lnTo>
                      <a:pt x="106" y="61"/>
                    </a:lnTo>
                    <a:lnTo>
                      <a:pt x="112" y="60"/>
                    </a:lnTo>
                    <a:lnTo>
                      <a:pt x="117" y="59"/>
                    </a:lnTo>
                    <a:lnTo>
                      <a:pt x="123" y="55"/>
                    </a:lnTo>
                    <a:lnTo>
                      <a:pt x="128" y="52"/>
                    </a:lnTo>
                    <a:lnTo>
                      <a:pt x="131" y="48"/>
                    </a:lnTo>
                    <a:lnTo>
                      <a:pt x="133" y="42"/>
                    </a:lnTo>
                    <a:lnTo>
                      <a:pt x="136" y="36"/>
                    </a:lnTo>
                    <a:lnTo>
                      <a:pt x="136" y="31"/>
                    </a:lnTo>
                    <a:lnTo>
                      <a:pt x="136" y="31"/>
                    </a:lnTo>
                    <a:close/>
                  </a:path>
                </a:pathLst>
              </a:custGeom>
              <a:grpFill/>
              <a:ln w="12700" cap="flat" cmpd="sng" algn="ctr">
                <a:noFill/>
                <a:prstDash val="solid"/>
                <a:miter lim="800000"/>
              </a:ln>
              <a:effectLst>
                <a:outerShdw blurRad="215900" sx="104000" sy="104000" algn="ctr" rotWithShape="0">
                  <a:prstClr val="black">
                    <a:alpha val="19000"/>
                  </a:prstClr>
                </a:outerShdw>
              </a:effectLst>
              <a:extLst>
                <a:ext uri="{91240B29-F687-4f45-9708-019B960494DF}">
                  <a14:hiddenLine xmlns="" xmlns:a14="http://schemas.microsoft.com/office/drawing/2010/main" w="9525">
                    <a:solidFill>
                      <a:srgbClr val="000000"/>
                    </a:solidFill>
                    <a:round/>
                    <a:headEnd/>
                    <a:tailEnd/>
                  </a14:hiddenLine>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a:cs typeface="+mn-cs"/>
                </a:endParaRPr>
              </a:p>
            </p:txBody>
          </p:sp>
          <p:sp>
            <p:nvSpPr>
              <p:cNvPr id="73" name="Freeform 4540">
                <a:extLst>
                  <a:ext uri="{FF2B5EF4-FFF2-40B4-BE49-F238E27FC236}">
                    <a16:creationId xmlns:a16="http://schemas.microsoft.com/office/drawing/2014/main" id="{39385BFB-A40B-4798-A6E8-DB1DFD407CD7}"/>
                  </a:ext>
                </a:extLst>
              </p:cNvPr>
              <p:cNvSpPr>
                <a:spLocks/>
              </p:cNvSpPr>
              <p:nvPr/>
            </p:nvSpPr>
            <p:spPr bwMode="auto">
              <a:xfrm>
                <a:off x="11172825" y="376238"/>
                <a:ext cx="42863" cy="19050"/>
              </a:xfrm>
              <a:custGeom>
                <a:avLst/>
                <a:gdLst>
                  <a:gd name="T0" fmla="*/ 29 w 135"/>
                  <a:gd name="T1" fmla="*/ 60 h 60"/>
                  <a:gd name="T2" fmla="*/ 105 w 135"/>
                  <a:gd name="T3" fmla="*/ 60 h 60"/>
                  <a:gd name="T4" fmla="*/ 110 w 135"/>
                  <a:gd name="T5" fmla="*/ 58 h 60"/>
                  <a:gd name="T6" fmla="*/ 116 w 135"/>
                  <a:gd name="T7" fmla="*/ 57 h 60"/>
                  <a:gd name="T8" fmla="*/ 121 w 135"/>
                  <a:gd name="T9" fmla="*/ 54 h 60"/>
                  <a:gd name="T10" fmla="*/ 126 w 135"/>
                  <a:gd name="T11" fmla="*/ 50 h 60"/>
                  <a:gd name="T12" fmla="*/ 129 w 135"/>
                  <a:gd name="T13" fmla="*/ 46 h 60"/>
                  <a:gd name="T14" fmla="*/ 133 w 135"/>
                  <a:gd name="T15" fmla="*/ 41 h 60"/>
                  <a:gd name="T16" fmla="*/ 134 w 135"/>
                  <a:gd name="T17" fmla="*/ 36 h 60"/>
                  <a:gd name="T18" fmla="*/ 135 w 135"/>
                  <a:gd name="T19" fmla="*/ 29 h 60"/>
                  <a:gd name="T20" fmla="*/ 134 w 135"/>
                  <a:gd name="T21" fmla="*/ 23 h 60"/>
                  <a:gd name="T22" fmla="*/ 133 w 135"/>
                  <a:gd name="T23" fmla="*/ 18 h 60"/>
                  <a:gd name="T24" fmla="*/ 129 w 135"/>
                  <a:gd name="T25" fmla="*/ 12 h 60"/>
                  <a:gd name="T26" fmla="*/ 126 w 135"/>
                  <a:gd name="T27" fmla="*/ 9 h 60"/>
                  <a:gd name="T28" fmla="*/ 121 w 135"/>
                  <a:gd name="T29" fmla="*/ 4 h 60"/>
                  <a:gd name="T30" fmla="*/ 116 w 135"/>
                  <a:gd name="T31" fmla="*/ 2 h 60"/>
                  <a:gd name="T32" fmla="*/ 110 w 135"/>
                  <a:gd name="T33" fmla="*/ 0 h 60"/>
                  <a:gd name="T34" fmla="*/ 105 w 135"/>
                  <a:gd name="T35" fmla="*/ 0 h 60"/>
                  <a:gd name="T36" fmla="*/ 29 w 135"/>
                  <a:gd name="T37" fmla="*/ 0 h 60"/>
                  <a:gd name="T38" fmla="*/ 23 w 135"/>
                  <a:gd name="T39" fmla="*/ 0 h 60"/>
                  <a:gd name="T40" fmla="*/ 18 w 135"/>
                  <a:gd name="T41" fmla="*/ 2 h 60"/>
                  <a:gd name="T42" fmla="*/ 12 w 135"/>
                  <a:gd name="T43" fmla="*/ 4 h 60"/>
                  <a:gd name="T44" fmla="*/ 9 w 135"/>
                  <a:gd name="T45" fmla="*/ 9 h 60"/>
                  <a:gd name="T46" fmla="*/ 4 w 135"/>
                  <a:gd name="T47" fmla="*/ 12 h 60"/>
                  <a:gd name="T48" fmla="*/ 2 w 135"/>
                  <a:gd name="T49" fmla="*/ 18 h 60"/>
                  <a:gd name="T50" fmla="*/ 0 w 135"/>
                  <a:gd name="T51" fmla="*/ 23 h 60"/>
                  <a:gd name="T52" fmla="*/ 0 w 135"/>
                  <a:gd name="T53" fmla="*/ 29 h 60"/>
                  <a:gd name="T54" fmla="*/ 0 w 135"/>
                  <a:gd name="T55" fmla="*/ 36 h 60"/>
                  <a:gd name="T56" fmla="*/ 2 w 135"/>
                  <a:gd name="T57" fmla="*/ 41 h 60"/>
                  <a:gd name="T58" fmla="*/ 4 w 135"/>
                  <a:gd name="T59" fmla="*/ 46 h 60"/>
                  <a:gd name="T60" fmla="*/ 9 w 135"/>
                  <a:gd name="T61" fmla="*/ 50 h 60"/>
                  <a:gd name="T62" fmla="*/ 12 w 135"/>
                  <a:gd name="T63" fmla="*/ 55 h 60"/>
                  <a:gd name="T64" fmla="*/ 18 w 135"/>
                  <a:gd name="T65" fmla="*/ 57 h 60"/>
                  <a:gd name="T66" fmla="*/ 23 w 135"/>
                  <a:gd name="T67" fmla="*/ 60 h 60"/>
                  <a:gd name="T68" fmla="*/ 29 w 135"/>
                  <a:gd name="T69" fmla="*/ 60 h 60"/>
                  <a:gd name="T70" fmla="*/ 29 w 135"/>
                  <a:gd name="T71"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35" h="60">
                    <a:moveTo>
                      <a:pt x="29" y="60"/>
                    </a:moveTo>
                    <a:lnTo>
                      <a:pt x="105" y="60"/>
                    </a:lnTo>
                    <a:lnTo>
                      <a:pt x="110" y="58"/>
                    </a:lnTo>
                    <a:lnTo>
                      <a:pt x="116" y="57"/>
                    </a:lnTo>
                    <a:lnTo>
                      <a:pt x="121" y="54"/>
                    </a:lnTo>
                    <a:lnTo>
                      <a:pt x="126" y="50"/>
                    </a:lnTo>
                    <a:lnTo>
                      <a:pt x="129" y="46"/>
                    </a:lnTo>
                    <a:lnTo>
                      <a:pt x="133" y="41"/>
                    </a:lnTo>
                    <a:lnTo>
                      <a:pt x="134" y="36"/>
                    </a:lnTo>
                    <a:lnTo>
                      <a:pt x="135" y="29"/>
                    </a:lnTo>
                    <a:lnTo>
                      <a:pt x="134" y="23"/>
                    </a:lnTo>
                    <a:lnTo>
                      <a:pt x="133" y="18"/>
                    </a:lnTo>
                    <a:lnTo>
                      <a:pt x="129" y="12"/>
                    </a:lnTo>
                    <a:lnTo>
                      <a:pt x="126" y="9"/>
                    </a:lnTo>
                    <a:lnTo>
                      <a:pt x="121" y="4"/>
                    </a:lnTo>
                    <a:lnTo>
                      <a:pt x="116" y="2"/>
                    </a:lnTo>
                    <a:lnTo>
                      <a:pt x="110" y="0"/>
                    </a:lnTo>
                    <a:lnTo>
                      <a:pt x="105" y="0"/>
                    </a:lnTo>
                    <a:lnTo>
                      <a:pt x="29" y="0"/>
                    </a:lnTo>
                    <a:lnTo>
                      <a:pt x="23" y="0"/>
                    </a:lnTo>
                    <a:lnTo>
                      <a:pt x="18" y="2"/>
                    </a:lnTo>
                    <a:lnTo>
                      <a:pt x="12" y="4"/>
                    </a:lnTo>
                    <a:lnTo>
                      <a:pt x="9" y="9"/>
                    </a:lnTo>
                    <a:lnTo>
                      <a:pt x="4" y="12"/>
                    </a:lnTo>
                    <a:lnTo>
                      <a:pt x="2" y="18"/>
                    </a:lnTo>
                    <a:lnTo>
                      <a:pt x="0" y="23"/>
                    </a:lnTo>
                    <a:lnTo>
                      <a:pt x="0" y="29"/>
                    </a:lnTo>
                    <a:lnTo>
                      <a:pt x="0" y="36"/>
                    </a:lnTo>
                    <a:lnTo>
                      <a:pt x="2" y="41"/>
                    </a:lnTo>
                    <a:lnTo>
                      <a:pt x="4" y="46"/>
                    </a:lnTo>
                    <a:lnTo>
                      <a:pt x="9" y="50"/>
                    </a:lnTo>
                    <a:lnTo>
                      <a:pt x="12" y="55"/>
                    </a:lnTo>
                    <a:lnTo>
                      <a:pt x="18" y="57"/>
                    </a:lnTo>
                    <a:lnTo>
                      <a:pt x="23" y="60"/>
                    </a:lnTo>
                    <a:lnTo>
                      <a:pt x="29" y="60"/>
                    </a:lnTo>
                    <a:lnTo>
                      <a:pt x="29" y="60"/>
                    </a:lnTo>
                    <a:close/>
                  </a:path>
                </a:pathLst>
              </a:custGeom>
              <a:grpFill/>
              <a:ln w="12700" cap="flat" cmpd="sng" algn="ctr">
                <a:noFill/>
                <a:prstDash val="solid"/>
                <a:miter lim="800000"/>
              </a:ln>
              <a:effectLst>
                <a:outerShdw blurRad="215900" sx="104000" sy="104000" algn="ctr" rotWithShape="0">
                  <a:prstClr val="black">
                    <a:alpha val="19000"/>
                  </a:prstClr>
                </a:outerShdw>
              </a:effectLst>
              <a:extLst>
                <a:ext uri="{91240B29-F687-4f45-9708-019B960494DF}">
                  <a14:hiddenLine xmlns="" xmlns:a14="http://schemas.microsoft.com/office/drawing/2010/main" w="9525">
                    <a:solidFill>
                      <a:srgbClr val="000000"/>
                    </a:solidFill>
                    <a:round/>
                    <a:headEnd/>
                    <a:tailEnd/>
                  </a14:hiddenLine>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a:cs typeface="+mn-cs"/>
                </a:endParaRPr>
              </a:p>
            </p:txBody>
          </p:sp>
        </p:grpSp>
        <p:grpSp>
          <p:nvGrpSpPr>
            <p:cNvPr id="49" name="Group 218">
              <a:extLst>
                <a:ext uri="{FF2B5EF4-FFF2-40B4-BE49-F238E27FC236}">
                  <a16:creationId xmlns:a16="http://schemas.microsoft.com/office/drawing/2014/main" id="{B69DD8C5-2CC6-46B0-A24B-2098777603AF}"/>
                </a:ext>
              </a:extLst>
            </p:cNvPr>
            <p:cNvGrpSpPr/>
            <p:nvPr/>
          </p:nvGrpSpPr>
          <p:grpSpPr>
            <a:xfrm>
              <a:off x="4149704" y="3405135"/>
              <a:ext cx="258054" cy="258038"/>
              <a:chOff x="3390887" y="3248016"/>
              <a:chExt cx="361963" cy="361942"/>
            </a:xfrm>
            <a:solidFill>
              <a:schemeClr val="bg1"/>
            </a:solidFill>
          </p:grpSpPr>
          <p:sp>
            <p:nvSpPr>
              <p:cNvPr id="60" name="Freeform 46">
                <a:extLst>
                  <a:ext uri="{FF2B5EF4-FFF2-40B4-BE49-F238E27FC236}">
                    <a16:creationId xmlns:a16="http://schemas.microsoft.com/office/drawing/2014/main" id="{7DDDC992-6D2D-4369-A56F-1B56C01D7C6B}"/>
                  </a:ext>
                </a:extLst>
              </p:cNvPr>
              <p:cNvSpPr>
                <a:spLocks/>
              </p:cNvSpPr>
              <p:nvPr/>
            </p:nvSpPr>
            <p:spPr bwMode="auto">
              <a:xfrm>
                <a:off x="3436921" y="3324211"/>
                <a:ext cx="269874" cy="225424"/>
              </a:xfrm>
              <a:custGeom>
                <a:avLst/>
                <a:gdLst>
                  <a:gd name="T0" fmla="*/ 70 w 72"/>
                  <a:gd name="T1" fmla="*/ 56 h 60"/>
                  <a:gd name="T2" fmla="*/ 64 w 72"/>
                  <a:gd name="T3" fmla="*/ 50 h 60"/>
                  <a:gd name="T4" fmla="*/ 64 w 72"/>
                  <a:gd name="T5" fmla="*/ 36 h 60"/>
                  <a:gd name="T6" fmla="*/ 48 w 72"/>
                  <a:gd name="T7" fmla="*/ 11 h 60"/>
                  <a:gd name="T8" fmla="*/ 36 w 72"/>
                  <a:gd name="T9" fmla="*/ 0 h 60"/>
                  <a:gd name="T10" fmla="*/ 24 w 72"/>
                  <a:gd name="T11" fmla="*/ 11 h 60"/>
                  <a:gd name="T12" fmla="*/ 8 w 72"/>
                  <a:gd name="T13" fmla="*/ 36 h 60"/>
                  <a:gd name="T14" fmla="*/ 8 w 72"/>
                  <a:gd name="T15" fmla="*/ 50 h 60"/>
                  <a:gd name="T16" fmla="*/ 2 w 72"/>
                  <a:gd name="T17" fmla="*/ 56 h 60"/>
                  <a:gd name="T18" fmla="*/ 0 w 72"/>
                  <a:gd name="T19" fmla="*/ 58 h 60"/>
                  <a:gd name="T20" fmla="*/ 2 w 72"/>
                  <a:gd name="T21" fmla="*/ 60 h 60"/>
                  <a:gd name="T22" fmla="*/ 70 w 72"/>
                  <a:gd name="T23" fmla="*/ 60 h 60"/>
                  <a:gd name="T24" fmla="*/ 72 w 72"/>
                  <a:gd name="T25" fmla="*/ 58 h 60"/>
                  <a:gd name="T26" fmla="*/ 70 w 72"/>
                  <a:gd name="T27"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2" h="60">
                    <a:moveTo>
                      <a:pt x="70" y="56"/>
                    </a:moveTo>
                    <a:cubicBezTo>
                      <a:pt x="67" y="56"/>
                      <a:pt x="64" y="53"/>
                      <a:pt x="64" y="50"/>
                    </a:cubicBezTo>
                    <a:cubicBezTo>
                      <a:pt x="64" y="36"/>
                      <a:pt x="64" y="36"/>
                      <a:pt x="64" y="36"/>
                    </a:cubicBezTo>
                    <a:cubicBezTo>
                      <a:pt x="64" y="25"/>
                      <a:pt x="58" y="15"/>
                      <a:pt x="48" y="11"/>
                    </a:cubicBezTo>
                    <a:cubicBezTo>
                      <a:pt x="47" y="5"/>
                      <a:pt x="42" y="0"/>
                      <a:pt x="36" y="0"/>
                    </a:cubicBezTo>
                    <a:cubicBezTo>
                      <a:pt x="30" y="0"/>
                      <a:pt x="25" y="5"/>
                      <a:pt x="24" y="11"/>
                    </a:cubicBezTo>
                    <a:cubicBezTo>
                      <a:pt x="14" y="15"/>
                      <a:pt x="8" y="25"/>
                      <a:pt x="8" y="36"/>
                    </a:cubicBezTo>
                    <a:cubicBezTo>
                      <a:pt x="8" y="50"/>
                      <a:pt x="8" y="50"/>
                      <a:pt x="8" y="50"/>
                    </a:cubicBezTo>
                    <a:cubicBezTo>
                      <a:pt x="8" y="53"/>
                      <a:pt x="5" y="56"/>
                      <a:pt x="2" y="56"/>
                    </a:cubicBezTo>
                    <a:cubicBezTo>
                      <a:pt x="1" y="56"/>
                      <a:pt x="0" y="57"/>
                      <a:pt x="0" y="58"/>
                    </a:cubicBezTo>
                    <a:cubicBezTo>
                      <a:pt x="0" y="59"/>
                      <a:pt x="1" y="60"/>
                      <a:pt x="2" y="60"/>
                    </a:cubicBezTo>
                    <a:cubicBezTo>
                      <a:pt x="70" y="60"/>
                      <a:pt x="70" y="60"/>
                      <a:pt x="70" y="60"/>
                    </a:cubicBezTo>
                    <a:cubicBezTo>
                      <a:pt x="71" y="60"/>
                      <a:pt x="72" y="59"/>
                      <a:pt x="72" y="58"/>
                    </a:cubicBezTo>
                    <a:cubicBezTo>
                      <a:pt x="72" y="57"/>
                      <a:pt x="71" y="56"/>
                      <a:pt x="70" y="56"/>
                    </a:cubicBezTo>
                    <a:close/>
                  </a:path>
                </a:pathLst>
              </a:custGeom>
              <a:grpFill/>
              <a:ln w="12700" cap="flat" cmpd="sng" algn="ctr">
                <a:noFill/>
                <a:prstDash val="solid"/>
                <a:miter lim="800000"/>
              </a:ln>
              <a:effectLst>
                <a:outerShdw blurRad="215900" sx="104000" sy="104000" algn="ctr" rotWithShape="0">
                  <a:prstClr val="black">
                    <a:alpha val="19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0" cap="none" spc="0" normalizeH="0" baseline="0" noProof="0">
                  <a:ln>
                    <a:noFill/>
                  </a:ln>
                  <a:solidFill>
                    <a:prstClr val="white"/>
                  </a:solidFill>
                  <a:effectLst/>
                  <a:uLnTx/>
                  <a:uFillTx/>
                  <a:latin typeface="Arial"/>
                  <a:cs typeface="+mn-cs"/>
                </a:endParaRPr>
              </a:p>
            </p:txBody>
          </p:sp>
          <p:sp>
            <p:nvSpPr>
              <p:cNvPr id="61" name="Freeform 47">
                <a:extLst>
                  <a:ext uri="{FF2B5EF4-FFF2-40B4-BE49-F238E27FC236}">
                    <a16:creationId xmlns:a16="http://schemas.microsoft.com/office/drawing/2014/main" id="{C59CADFF-771A-46F9-B699-2F8DB89A4EB8}"/>
                  </a:ext>
                </a:extLst>
              </p:cNvPr>
              <p:cNvSpPr>
                <a:spLocks/>
              </p:cNvSpPr>
              <p:nvPr/>
            </p:nvSpPr>
            <p:spPr bwMode="auto">
              <a:xfrm>
                <a:off x="3533758" y="3565509"/>
                <a:ext cx="76200" cy="44449"/>
              </a:xfrm>
              <a:custGeom>
                <a:avLst/>
                <a:gdLst>
                  <a:gd name="T0" fmla="*/ 18 w 20"/>
                  <a:gd name="T1" fmla="*/ 0 h 12"/>
                  <a:gd name="T2" fmla="*/ 2 w 20"/>
                  <a:gd name="T3" fmla="*/ 0 h 12"/>
                  <a:gd name="T4" fmla="*/ 0 w 20"/>
                  <a:gd name="T5" fmla="*/ 2 h 12"/>
                  <a:gd name="T6" fmla="*/ 10 w 20"/>
                  <a:gd name="T7" fmla="*/ 12 h 12"/>
                  <a:gd name="T8" fmla="*/ 20 w 20"/>
                  <a:gd name="T9" fmla="*/ 2 h 12"/>
                  <a:gd name="T10" fmla="*/ 18 w 20"/>
                  <a:gd name="T11" fmla="*/ 0 h 12"/>
                </a:gdLst>
                <a:ahLst/>
                <a:cxnLst>
                  <a:cxn ang="0">
                    <a:pos x="T0" y="T1"/>
                  </a:cxn>
                  <a:cxn ang="0">
                    <a:pos x="T2" y="T3"/>
                  </a:cxn>
                  <a:cxn ang="0">
                    <a:pos x="T4" y="T5"/>
                  </a:cxn>
                  <a:cxn ang="0">
                    <a:pos x="T6" y="T7"/>
                  </a:cxn>
                  <a:cxn ang="0">
                    <a:pos x="T8" y="T9"/>
                  </a:cxn>
                  <a:cxn ang="0">
                    <a:pos x="T10" y="T11"/>
                  </a:cxn>
                </a:cxnLst>
                <a:rect l="0" t="0" r="r" b="b"/>
                <a:pathLst>
                  <a:path w="20" h="12">
                    <a:moveTo>
                      <a:pt x="18" y="0"/>
                    </a:moveTo>
                    <a:cubicBezTo>
                      <a:pt x="2" y="0"/>
                      <a:pt x="2" y="0"/>
                      <a:pt x="2" y="0"/>
                    </a:cubicBezTo>
                    <a:cubicBezTo>
                      <a:pt x="1" y="0"/>
                      <a:pt x="0" y="1"/>
                      <a:pt x="0" y="2"/>
                    </a:cubicBezTo>
                    <a:cubicBezTo>
                      <a:pt x="0" y="8"/>
                      <a:pt x="4" y="12"/>
                      <a:pt x="10" y="12"/>
                    </a:cubicBezTo>
                    <a:cubicBezTo>
                      <a:pt x="16" y="12"/>
                      <a:pt x="20" y="8"/>
                      <a:pt x="20" y="2"/>
                    </a:cubicBezTo>
                    <a:cubicBezTo>
                      <a:pt x="20" y="1"/>
                      <a:pt x="19" y="0"/>
                      <a:pt x="18" y="0"/>
                    </a:cubicBezTo>
                    <a:close/>
                  </a:path>
                </a:pathLst>
              </a:custGeom>
              <a:grpFill/>
              <a:ln w="12700" cap="flat" cmpd="sng" algn="ctr">
                <a:noFill/>
                <a:prstDash val="solid"/>
                <a:miter lim="800000"/>
              </a:ln>
              <a:effectLst>
                <a:outerShdw blurRad="215900" sx="104000" sy="104000" algn="ctr" rotWithShape="0">
                  <a:prstClr val="black">
                    <a:alpha val="19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0" cap="none" spc="0" normalizeH="0" baseline="0" noProof="0">
                  <a:ln>
                    <a:noFill/>
                  </a:ln>
                  <a:solidFill>
                    <a:prstClr val="white"/>
                  </a:solidFill>
                  <a:effectLst/>
                  <a:uLnTx/>
                  <a:uFillTx/>
                  <a:latin typeface="Arial"/>
                  <a:cs typeface="+mn-cs"/>
                </a:endParaRPr>
              </a:p>
            </p:txBody>
          </p:sp>
          <p:sp>
            <p:nvSpPr>
              <p:cNvPr id="62" name="Freeform 48">
                <a:extLst>
                  <a:ext uri="{FF2B5EF4-FFF2-40B4-BE49-F238E27FC236}">
                    <a16:creationId xmlns:a16="http://schemas.microsoft.com/office/drawing/2014/main" id="{0FF09B42-C45C-4D64-A756-F0287E2FF8DB}"/>
                  </a:ext>
                </a:extLst>
              </p:cNvPr>
              <p:cNvSpPr>
                <a:spLocks/>
              </p:cNvSpPr>
              <p:nvPr/>
            </p:nvSpPr>
            <p:spPr bwMode="auto">
              <a:xfrm>
                <a:off x="3436921" y="3294048"/>
                <a:ext cx="96838" cy="96838"/>
              </a:xfrm>
              <a:custGeom>
                <a:avLst/>
                <a:gdLst>
                  <a:gd name="T0" fmla="*/ 24 w 26"/>
                  <a:gd name="T1" fmla="*/ 0 h 26"/>
                  <a:gd name="T2" fmla="*/ 0 w 26"/>
                  <a:gd name="T3" fmla="*/ 24 h 26"/>
                  <a:gd name="T4" fmla="*/ 2 w 26"/>
                  <a:gd name="T5" fmla="*/ 26 h 26"/>
                  <a:gd name="T6" fmla="*/ 4 w 26"/>
                  <a:gd name="T7" fmla="*/ 24 h 26"/>
                  <a:gd name="T8" fmla="*/ 24 w 26"/>
                  <a:gd name="T9" fmla="*/ 4 h 26"/>
                  <a:gd name="T10" fmla="*/ 26 w 26"/>
                  <a:gd name="T11" fmla="*/ 2 h 26"/>
                  <a:gd name="T12" fmla="*/ 24 w 26"/>
                  <a:gd name="T13" fmla="*/ 0 h 26"/>
                </a:gdLst>
                <a:ahLst/>
                <a:cxnLst>
                  <a:cxn ang="0">
                    <a:pos x="T0" y="T1"/>
                  </a:cxn>
                  <a:cxn ang="0">
                    <a:pos x="T2" y="T3"/>
                  </a:cxn>
                  <a:cxn ang="0">
                    <a:pos x="T4" y="T5"/>
                  </a:cxn>
                  <a:cxn ang="0">
                    <a:pos x="T6" y="T7"/>
                  </a:cxn>
                  <a:cxn ang="0">
                    <a:pos x="T8" y="T9"/>
                  </a:cxn>
                  <a:cxn ang="0">
                    <a:pos x="T10" y="T11"/>
                  </a:cxn>
                  <a:cxn ang="0">
                    <a:pos x="T12" y="T13"/>
                  </a:cxn>
                </a:cxnLst>
                <a:rect l="0" t="0" r="r" b="b"/>
                <a:pathLst>
                  <a:path w="26" h="26">
                    <a:moveTo>
                      <a:pt x="24" y="0"/>
                    </a:moveTo>
                    <a:cubicBezTo>
                      <a:pt x="11" y="0"/>
                      <a:pt x="0" y="11"/>
                      <a:pt x="0" y="24"/>
                    </a:cubicBezTo>
                    <a:cubicBezTo>
                      <a:pt x="0" y="25"/>
                      <a:pt x="1" y="26"/>
                      <a:pt x="2" y="26"/>
                    </a:cubicBezTo>
                    <a:cubicBezTo>
                      <a:pt x="3" y="26"/>
                      <a:pt x="4" y="25"/>
                      <a:pt x="4" y="24"/>
                    </a:cubicBezTo>
                    <a:cubicBezTo>
                      <a:pt x="4" y="13"/>
                      <a:pt x="13" y="4"/>
                      <a:pt x="24" y="4"/>
                    </a:cubicBezTo>
                    <a:cubicBezTo>
                      <a:pt x="25" y="4"/>
                      <a:pt x="26" y="3"/>
                      <a:pt x="26" y="2"/>
                    </a:cubicBezTo>
                    <a:cubicBezTo>
                      <a:pt x="26" y="1"/>
                      <a:pt x="25" y="0"/>
                      <a:pt x="24" y="0"/>
                    </a:cubicBezTo>
                    <a:close/>
                  </a:path>
                </a:pathLst>
              </a:custGeom>
              <a:grpFill/>
              <a:ln w="12700" cap="flat" cmpd="sng" algn="ctr">
                <a:noFill/>
                <a:prstDash val="solid"/>
                <a:miter lim="800000"/>
              </a:ln>
              <a:effectLst>
                <a:outerShdw blurRad="215900" sx="104000" sy="104000" algn="ctr" rotWithShape="0">
                  <a:prstClr val="black">
                    <a:alpha val="19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0" cap="none" spc="0" normalizeH="0" baseline="0" noProof="0">
                  <a:ln>
                    <a:noFill/>
                  </a:ln>
                  <a:solidFill>
                    <a:prstClr val="white"/>
                  </a:solidFill>
                  <a:effectLst/>
                  <a:uLnTx/>
                  <a:uFillTx/>
                  <a:latin typeface="Arial"/>
                  <a:cs typeface="+mn-cs"/>
                </a:endParaRPr>
              </a:p>
            </p:txBody>
          </p:sp>
          <p:sp>
            <p:nvSpPr>
              <p:cNvPr id="63" name="Freeform 49">
                <a:extLst>
                  <a:ext uri="{FF2B5EF4-FFF2-40B4-BE49-F238E27FC236}">
                    <a16:creationId xmlns:a16="http://schemas.microsoft.com/office/drawing/2014/main" id="{861C3213-417C-4E40-BF86-D6BA8EECD5CC}"/>
                  </a:ext>
                </a:extLst>
              </p:cNvPr>
              <p:cNvSpPr>
                <a:spLocks/>
              </p:cNvSpPr>
              <p:nvPr/>
            </p:nvSpPr>
            <p:spPr bwMode="auto">
              <a:xfrm>
                <a:off x="3390887" y="3248016"/>
                <a:ext cx="142875" cy="142875"/>
              </a:xfrm>
              <a:custGeom>
                <a:avLst/>
                <a:gdLst>
                  <a:gd name="T0" fmla="*/ 36 w 38"/>
                  <a:gd name="T1" fmla="*/ 4 h 38"/>
                  <a:gd name="T2" fmla="*/ 38 w 38"/>
                  <a:gd name="T3" fmla="*/ 2 h 38"/>
                  <a:gd name="T4" fmla="*/ 36 w 38"/>
                  <a:gd name="T5" fmla="*/ 0 h 38"/>
                  <a:gd name="T6" fmla="*/ 0 w 38"/>
                  <a:gd name="T7" fmla="*/ 36 h 38"/>
                  <a:gd name="T8" fmla="*/ 2 w 38"/>
                  <a:gd name="T9" fmla="*/ 38 h 38"/>
                  <a:gd name="T10" fmla="*/ 4 w 38"/>
                  <a:gd name="T11" fmla="*/ 36 h 38"/>
                  <a:gd name="T12" fmla="*/ 36 w 38"/>
                  <a:gd name="T13" fmla="*/ 4 h 38"/>
                </a:gdLst>
                <a:ahLst/>
                <a:cxnLst>
                  <a:cxn ang="0">
                    <a:pos x="T0" y="T1"/>
                  </a:cxn>
                  <a:cxn ang="0">
                    <a:pos x="T2" y="T3"/>
                  </a:cxn>
                  <a:cxn ang="0">
                    <a:pos x="T4" y="T5"/>
                  </a:cxn>
                  <a:cxn ang="0">
                    <a:pos x="T6" y="T7"/>
                  </a:cxn>
                  <a:cxn ang="0">
                    <a:pos x="T8" y="T9"/>
                  </a:cxn>
                  <a:cxn ang="0">
                    <a:pos x="T10" y="T11"/>
                  </a:cxn>
                  <a:cxn ang="0">
                    <a:pos x="T12" y="T13"/>
                  </a:cxn>
                </a:cxnLst>
                <a:rect l="0" t="0" r="r" b="b"/>
                <a:pathLst>
                  <a:path w="38" h="38">
                    <a:moveTo>
                      <a:pt x="36" y="4"/>
                    </a:moveTo>
                    <a:cubicBezTo>
                      <a:pt x="37" y="4"/>
                      <a:pt x="38" y="3"/>
                      <a:pt x="38" y="2"/>
                    </a:cubicBezTo>
                    <a:cubicBezTo>
                      <a:pt x="38" y="1"/>
                      <a:pt x="37" y="0"/>
                      <a:pt x="36" y="0"/>
                    </a:cubicBezTo>
                    <a:cubicBezTo>
                      <a:pt x="16" y="0"/>
                      <a:pt x="0" y="16"/>
                      <a:pt x="0" y="36"/>
                    </a:cubicBezTo>
                    <a:cubicBezTo>
                      <a:pt x="0" y="37"/>
                      <a:pt x="1" y="38"/>
                      <a:pt x="2" y="38"/>
                    </a:cubicBezTo>
                    <a:cubicBezTo>
                      <a:pt x="3" y="38"/>
                      <a:pt x="4" y="37"/>
                      <a:pt x="4" y="36"/>
                    </a:cubicBezTo>
                    <a:cubicBezTo>
                      <a:pt x="4" y="18"/>
                      <a:pt x="18" y="4"/>
                      <a:pt x="36" y="4"/>
                    </a:cubicBezTo>
                    <a:close/>
                  </a:path>
                </a:pathLst>
              </a:custGeom>
              <a:grpFill/>
              <a:ln w="12700" cap="flat" cmpd="sng" algn="ctr">
                <a:noFill/>
                <a:prstDash val="solid"/>
                <a:miter lim="800000"/>
              </a:ln>
              <a:effectLst>
                <a:outerShdw blurRad="215900" sx="104000" sy="104000" algn="ctr" rotWithShape="0">
                  <a:prstClr val="black">
                    <a:alpha val="19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0" cap="none" spc="0" normalizeH="0" baseline="0" noProof="0">
                  <a:ln>
                    <a:noFill/>
                  </a:ln>
                  <a:solidFill>
                    <a:prstClr val="white"/>
                  </a:solidFill>
                  <a:effectLst/>
                  <a:uLnTx/>
                  <a:uFillTx/>
                  <a:latin typeface="Arial"/>
                  <a:cs typeface="+mn-cs"/>
                </a:endParaRPr>
              </a:p>
            </p:txBody>
          </p:sp>
          <p:sp>
            <p:nvSpPr>
              <p:cNvPr id="64" name="Freeform 50">
                <a:extLst>
                  <a:ext uri="{FF2B5EF4-FFF2-40B4-BE49-F238E27FC236}">
                    <a16:creationId xmlns:a16="http://schemas.microsoft.com/office/drawing/2014/main" id="{056D195F-C1FF-458D-A82B-63261478668A}"/>
                  </a:ext>
                </a:extLst>
              </p:cNvPr>
              <p:cNvSpPr>
                <a:spLocks/>
              </p:cNvSpPr>
              <p:nvPr/>
            </p:nvSpPr>
            <p:spPr bwMode="auto">
              <a:xfrm>
                <a:off x="3609965" y="3294054"/>
                <a:ext cx="96838" cy="96838"/>
              </a:xfrm>
              <a:custGeom>
                <a:avLst/>
                <a:gdLst>
                  <a:gd name="T0" fmla="*/ 2 w 26"/>
                  <a:gd name="T1" fmla="*/ 0 h 26"/>
                  <a:gd name="T2" fmla="*/ 0 w 26"/>
                  <a:gd name="T3" fmla="*/ 2 h 26"/>
                  <a:gd name="T4" fmla="*/ 2 w 26"/>
                  <a:gd name="T5" fmla="*/ 4 h 26"/>
                  <a:gd name="T6" fmla="*/ 22 w 26"/>
                  <a:gd name="T7" fmla="*/ 24 h 26"/>
                  <a:gd name="T8" fmla="*/ 24 w 26"/>
                  <a:gd name="T9" fmla="*/ 26 h 26"/>
                  <a:gd name="T10" fmla="*/ 26 w 26"/>
                  <a:gd name="T11" fmla="*/ 24 h 26"/>
                  <a:gd name="T12" fmla="*/ 2 w 26"/>
                  <a:gd name="T13" fmla="*/ 0 h 26"/>
                </a:gdLst>
                <a:ahLst/>
                <a:cxnLst>
                  <a:cxn ang="0">
                    <a:pos x="T0" y="T1"/>
                  </a:cxn>
                  <a:cxn ang="0">
                    <a:pos x="T2" y="T3"/>
                  </a:cxn>
                  <a:cxn ang="0">
                    <a:pos x="T4" y="T5"/>
                  </a:cxn>
                  <a:cxn ang="0">
                    <a:pos x="T6" y="T7"/>
                  </a:cxn>
                  <a:cxn ang="0">
                    <a:pos x="T8" y="T9"/>
                  </a:cxn>
                  <a:cxn ang="0">
                    <a:pos x="T10" y="T11"/>
                  </a:cxn>
                  <a:cxn ang="0">
                    <a:pos x="T12" y="T13"/>
                  </a:cxn>
                </a:cxnLst>
                <a:rect l="0" t="0" r="r" b="b"/>
                <a:pathLst>
                  <a:path w="26" h="26">
                    <a:moveTo>
                      <a:pt x="2" y="0"/>
                    </a:moveTo>
                    <a:cubicBezTo>
                      <a:pt x="1" y="0"/>
                      <a:pt x="0" y="1"/>
                      <a:pt x="0" y="2"/>
                    </a:cubicBezTo>
                    <a:cubicBezTo>
                      <a:pt x="0" y="3"/>
                      <a:pt x="1" y="4"/>
                      <a:pt x="2" y="4"/>
                    </a:cubicBezTo>
                    <a:cubicBezTo>
                      <a:pt x="13" y="4"/>
                      <a:pt x="22" y="13"/>
                      <a:pt x="22" y="24"/>
                    </a:cubicBezTo>
                    <a:cubicBezTo>
                      <a:pt x="22" y="25"/>
                      <a:pt x="23" y="26"/>
                      <a:pt x="24" y="26"/>
                    </a:cubicBezTo>
                    <a:cubicBezTo>
                      <a:pt x="25" y="26"/>
                      <a:pt x="26" y="25"/>
                      <a:pt x="26" y="24"/>
                    </a:cubicBezTo>
                    <a:cubicBezTo>
                      <a:pt x="26" y="11"/>
                      <a:pt x="15" y="0"/>
                      <a:pt x="2" y="0"/>
                    </a:cubicBezTo>
                    <a:close/>
                  </a:path>
                </a:pathLst>
              </a:custGeom>
              <a:grpFill/>
              <a:ln w="12700" cap="flat" cmpd="sng" algn="ctr">
                <a:noFill/>
                <a:prstDash val="solid"/>
                <a:miter lim="800000"/>
              </a:ln>
              <a:effectLst>
                <a:outerShdw blurRad="215900" sx="104000" sy="104000" algn="ctr" rotWithShape="0">
                  <a:prstClr val="black">
                    <a:alpha val="19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0" cap="none" spc="0" normalizeH="0" baseline="0" noProof="0">
                  <a:ln>
                    <a:noFill/>
                  </a:ln>
                  <a:solidFill>
                    <a:prstClr val="white"/>
                  </a:solidFill>
                  <a:effectLst/>
                  <a:uLnTx/>
                  <a:uFillTx/>
                  <a:latin typeface="Arial"/>
                  <a:cs typeface="+mn-cs"/>
                </a:endParaRPr>
              </a:p>
            </p:txBody>
          </p:sp>
          <p:sp>
            <p:nvSpPr>
              <p:cNvPr id="65" name="Freeform 51">
                <a:extLst>
                  <a:ext uri="{FF2B5EF4-FFF2-40B4-BE49-F238E27FC236}">
                    <a16:creationId xmlns:a16="http://schemas.microsoft.com/office/drawing/2014/main" id="{37FB15E7-7642-426B-B984-06B581C85869}"/>
                  </a:ext>
                </a:extLst>
              </p:cNvPr>
              <p:cNvSpPr>
                <a:spLocks/>
              </p:cNvSpPr>
              <p:nvPr/>
            </p:nvSpPr>
            <p:spPr bwMode="auto">
              <a:xfrm>
                <a:off x="3609975" y="3248025"/>
                <a:ext cx="142875" cy="142875"/>
              </a:xfrm>
              <a:custGeom>
                <a:avLst/>
                <a:gdLst>
                  <a:gd name="T0" fmla="*/ 2 w 38"/>
                  <a:gd name="T1" fmla="*/ 0 h 38"/>
                  <a:gd name="T2" fmla="*/ 0 w 38"/>
                  <a:gd name="T3" fmla="*/ 2 h 38"/>
                  <a:gd name="T4" fmla="*/ 2 w 38"/>
                  <a:gd name="T5" fmla="*/ 4 h 38"/>
                  <a:gd name="T6" fmla="*/ 34 w 38"/>
                  <a:gd name="T7" fmla="*/ 36 h 38"/>
                  <a:gd name="T8" fmla="*/ 36 w 38"/>
                  <a:gd name="T9" fmla="*/ 38 h 38"/>
                  <a:gd name="T10" fmla="*/ 38 w 38"/>
                  <a:gd name="T11" fmla="*/ 36 h 38"/>
                  <a:gd name="T12" fmla="*/ 2 w 38"/>
                  <a:gd name="T13" fmla="*/ 0 h 38"/>
                </a:gdLst>
                <a:ahLst/>
                <a:cxnLst>
                  <a:cxn ang="0">
                    <a:pos x="T0" y="T1"/>
                  </a:cxn>
                  <a:cxn ang="0">
                    <a:pos x="T2" y="T3"/>
                  </a:cxn>
                  <a:cxn ang="0">
                    <a:pos x="T4" y="T5"/>
                  </a:cxn>
                  <a:cxn ang="0">
                    <a:pos x="T6" y="T7"/>
                  </a:cxn>
                  <a:cxn ang="0">
                    <a:pos x="T8" y="T9"/>
                  </a:cxn>
                  <a:cxn ang="0">
                    <a:pos x="T10" y="T11"/>
                  </a:cxn>
                  <a:cxn ang="0">
                    <a:pos x="T12" y="T13"/>
                  </a:cxn>
                </a:cxnLst>
                <a:rect l="0" t="0" r="r" b="b"/>
                <a:pathLst>
                  <a:path w="38" h="38">
                    <a:moveTo>
                      <a:pt x="2" y="0"/>
                    </a:moveTo>
                    <a:cubicBezTo>
                      <a:pt x="1" y="0"/>
                      <a:pt x="0" y="1"/>
                      <a:pt x="0" y="2"/>
                    </a:cubicBezTo>
                    <a:cubicBezTo>
                      <a:pt x="0" y="3"/>
                      <a:pt x="1" y="4"/>
                      <a:pt x="2" y="4"/>
                    </a:cubicBezTo>
                    <a:cubicBezTo>
                      <a:pt x="20" y="4"/>
                      <a:pt x="34" y="18"/>
                      <a:pt x="34" y="36"/>
                    </a:cubicBezTo>
                    <a:cubicBezTo>
                      <a:pt x="34" y="37"/>
                      <a:pt x="35" y="38"/>
                      <a:pt x="36" y="38"/>
                    </a:cubicBezTo>
                    <a:cubicBezTo>
                      <a:pt x="37" y="38"/>
                      <a:pt x="38" y="37"/>
                      <a:pt x="38" y="36"/>
                    </a:cubicBezTo>
                    <a:cubicBezTo>
                      <a:pt x="38" y="16"/>
                      <a:pt x="22" y="0"/>
                      <a:pt x="2" y="0"/>
                    </a:cubicBezTo>
                    <a:close/>
                  </a:path>
                </a:pathLst>
              </a:custGeom>
              <a:grpFill/>
              <a:ln w="12700" cap="flat" cmpd="sng" algn="ctr">
                <a:noFill/>
                <a:prstDash val="solid"/>
                <a:miter lim="800000"/>
              </a:ln>
              <a:effectLst>
                <a:outerShdw blurRad="215900" sx="104000" sy="104000" algn="ctr" rotWithShape="0">
                  <a:prstClr val="black">
                    <a:alpha val="19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0" cap="none" spc="0" normalizeH="0" baseline="0" noProof="0">
                  <a:ln>
                    <a:noFill/>
                  </a:ln>
                  <a:solidFill>
                    <a:prstClr val="white"/>
                  </a:solidFill>
                  <a:effectLst/>
                  <a:uLnTx/>
                  <a:uFillTx/>
                  <a:latin typeface="Arial"/>
                  <a:cs typeface="+mn-cs"/>
                </a:endParaRPr>
              </a:p>
            </p:txBody>
          </p:sp>
        </p:grpSp>
        <p:grpSp>
          <p:nvGrpSpPr>
            <p:cNvPr id="50" name="Group 219">
              <a:extLst>
                <a:ext uri="{FF2B5EF4-FFF2-40B4-BE49-F238E27FC236}">
                  <a16:creationId xmlns:a16="http://schemas.microsoft.com/office/drawing/2014/main" id="{6F0CFBA4-6EA7-411F-BF1A-D3BA04BB21F1}"/>
                </a:ext>
              </a:extLst>
            </p:cNvPr>
            <p:cNvGrpSpPr/>
            <p:nvPr/>
          </p:nvGrpSpPr>
          <p:grpSpPr>
            <a:xfrm>
              <a:off x="4204453" y="3918832"/>
              <a:ext cx="148557" cy="222839"/>
              <a:chOff x="7778796" y="2535316"/>
              <a:chExt cx="241301" cy="361970"/>
            </a:xfrm>
            <a:solidFill>
              <a:schemeClr val="bg1"/>
            </a:solidFill>
          </p:grpSpPr>
          <p:sp>
            <p:nvSpPr>
              <p:cNvPr id="57" name="Freeform 43">
                <a:extLst>
                  <a:ext uri="{FF2B5EF4-FFF2-40B4-BE49-F238E27FC236}">
                    <a16:creationId xmlns:a16="http://schemas.microsoft.com/office/drawing/2014/main" id="{66607D5D-57C0-49CF-9870-77A0AC297AE1}"/>
                  </a:ext>
                </a:extLst>
              </p:cNvPr>
              <p:cNvSpPr>
                <a:spLocks noEditPoints="1"/>
              </p:cNvSpPr>
              <p:nvPr/>
            </p:nvSpPr>
            <p:spPr bwMode="auto">
              <a:xfrm>
                <a:off x="7778796" y="2686141"/>
                <a:ext cx="241301" cy="211145"/>
              </a:xfrm>
              <a:custGeom>
                <a:avLst/>
                <a:gdLst>
                  <a:gd name="T0" fmla="*/ 44 w 64"/>
                  <a:gd name="T1" fmla="*/ 0 h 56"/>
                  <a:gd name="T2" fmla="*/ 43 w 64"/>
                  <a:gd name="T3" fmla="*/ 0 h 56"/>
                  <a:gd name="T4" fmla="*/ 21 w 64"/>
                  <a:gd name="T5" fmla="*/ 0 h 56"/>
                  <a:gd name="T6" fmla="*/ 20 w 64"/>
                  <a:gd name="T7" fmla="*/ 0 h 56"/>
                  <a:gd name="T8" fmla="*/ 0 w 64"/>
                  <a:gd name="T9" fmla="*/ 32 h 56"/>
                  <a:gd name="T10" fmla="*/ 32 w 64"/>
                  <a:gd name="T11" fmla="*/ 56 h 56"/>
                  <a:gd name="T12" fmla="*/ 64 w 64"/>
                  <a:gd name="T13" fmla="*/ 32 h 56"/>
                  <a:gd name="T14" fmla="*/ 44 w 64"/>
                  <a:gd name="T15" fmla="*/ 0 h 56"/>
                  <a:gd name="T16" fmla="*/ 32 w 64"/>
                  <a:gd name="T17" fmla="*/ 26 h 56"/>
                  <a:gd name="T18" fmla="*/ 40 w 64"/>
                  <a:gd name="T19" fmla="*/ 34 h 56"/>
                  <a:gd name="T20" fmla="*/ 34 w 64"/>
                  <a:gd name="T21" fmla="*/ 42 h 56"/>
                  <a:gd name="T22" fmla="*/ 34 w 64"/>
                  <a:gd name="T23" fmla="*/ 44 h 56"/>
                  <a:gd name="T24" fmla="*/ 32 w 64"/>
                  <a:gd name="T25" fmla="*/ 46 h 56"/>
                  <a:gd name="T26" fmla="*/ 30 w 64"/>
                  <a:gd name="T27" fmla="*/ 44 h 56"/>
                  <a:gd name="T28" fmla="*/ 30 w 64"/>
                  <a:gd name="T29" fmla="*/ 42 h 56"/>
                  <a:gd name="T30" fmla="*/ 24 w 64"/>
                  <a:gd name="T31" fmla="*/ 34 h 56"/>
                  <a:gd name="T32" fmla="*/ 26 w 64"/>
                  <a:gd name="T33" fmla="*/ 32 h 56"/>
                  <a:gd name="T34" fmla="*/ 28 w 64"/>
                  <a:gd name="T35" fmla="*/ 34 h 56"/>
                  <a:gd name="T36" fmla="*/ 32 w 64"/>
                  <a:gd name="T37" fmla="*/ 38 h 56"/>
                  <a:gd name="T38" fmla="*/ 36 w 64"/>
                  <a:gd name="T39" fmla="*/ 34 h 56"/>
                  <a:gd name="T40" fmla="*/ 32 w 64"/>
                  <a:gd name="T41" fmla="*/ 30 h 56"/>
                  <a:gd name="T42" fmla="*/ 24 w 64"/>
                  <a:gd name="T43" fmla="*/ 22 h 56"/>
                  <a:gd name="T44" fmla="*/ 30 w 64"/>
                  <a:gd name="T45" fmla="*/ 14 h 56"/>
                  <a:gd name="T46" fmla="*/ 30 w 64"/>
                  <a:gd name="T47" fmla="*/ 12 h 56"/>
                  <a:gd name="T48" fmla="*/ 32 w 64"/>
                  <a:gd name="T49" fmla="*/ 10 h 56"/>
                  <a:gd name="T50" fmla="*/ 34 w 64"/>
                  <a:gd name="T51" fmla="*/ 12 h 56"/>
                  <a:gd name="T52" fmla="*/ 34 w 64"/>
                  <a:gd name="T53" fmla="*/ 14 h 56"/>
                  <a:gd name="T54" fmla="*/ 40 w 64"/>
                  <a:gd name="T55" fmla="*/ 22 h 56"/>
                  <a:gd name="T56" fmla="*/ 38 w 64"/>
                  <a:gd name="T57" fmla="*/ 24 h 56"/>
                  <a:gd name="T58" fmla="*/ 36 w 64"/>
                  <a:gd name="T59" fmla="*/ 22 h 56"/>
                  <a:gd name="T60" fmla="*/ 32 w 64"/>
                  <a:gd name="T61" fmla="*/ 18 h 56"/>
                  <a:gd name="T62" fmla="*/ 28 w 64"/>
                  <a:gd name="T63" fmla="*/ 22 h 56"/>
                  <a:gd name="T64" fmla="*/ 32 w 64"/>
                  <a:gd name="T65"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4" h="56">
                    <a:moveTo>
                      <a:pt x="44" y="0"/>
                    </a:moveTo>
                    <a:cubicBezTo>
                      <a:pt x="44" y="0"/>
                      <a:pt x="44" y="0"/>
                      <a:pt x="43" y="0"/>
                    </a:cubicBezTo>
                    <a:cubicBezTo>
                      <a:pt x="21" y="0"/>
                      <a:pt x="21" y="0"/>
                      <a:pt x="21" y="0"/>
                    </a:cubicBezTo>
                    <a:cubicBezTo>
                      <a:pt x="20" y="0"/>
                      <a:pt x="20" y="0"/>
                      <a:pt x="20" y="0"/>
                    </a:cubicBezTo>
                    <a:cubicBezTo>
                      <a:pt x="10" y="8"/>
                      <a:pt x="0" y="21"/>
                      <a:pt x="0" y="32"/>
                    </a:cubicBezTo>
                    <a:cubicBezTo>
                      <a:pt x="0" y="48"/>
                      <a:pt x="10" y="56"/>
                      <a:pt x="32" y="56"/>
                    </a:cubicBezTo>
                    <a:cubicBezTo>
                      <a:pt x="54" y="56"/>
                      <a:pt x="64" y="48"/>
                      <a:pt x="64" y="32"/>
                    </a:cubicBezTo>
                    <a:cubicBezTo>
                      <a:pt x="64" y="21"/>
                      <a:pt x="54" y="8"/>
                      <a:pt x="44" y="0"/>
                    </a:cubicBezTo>
                    <a:close/>
                    <a:moveTo>
                      <a:pt x="32" y="26"/>
                    </a:moveTo>
                    <a:cubicBezTo>
                      <a:pt x="36" y="26"/>
                      <a:pt x="40" y="30"/>
                      <a:pt x="40" y="34"/>
                    </a:cubicBezTo>
                    <a:cubicBezTo>
                      <a:pt x="40" y="38"/>
                      <a:pt x="37" y="41"/>
                      <a:pt x="34" y="42"/>
                    </a:cubicBezTo>
                    <a:cubicBezTo>
                      <a:pt x="34" y="44"/>
                      <a:pt x="34" y="44"/>
                      <a:pt x="34" y="44"/>
                    </a:cubicBezTo>
                    <a:cubicBezTo>
                      <a:pt x="34" y="45"/>
                      <a:pt x="33" y="46"/>
                      <a:pt x="32" y="46"/>
                    </a:cubicBezTo>
                    <a:cubicBezTo>
                      <a:pt x="31" y="46"/>
                      <a:pt x="30" y="45"/>
                      <a:pt x="30" y="44"/>
                    </a:cubicBezTo>
                    <a:cubicBezTo>
                      <a:pt x="30" y="42"/>
                      <a:pt x="30" y="42"/>
                      <a:pt x="30" y="42"/>
                    </a:cubicBezTo>
                    <a:cubicBezTo>
                      <a:pt x="27" y="41"/>
                      <a:pt x="24" y="38"/>
                      <a:pt x="24" y="34"/>
                    </a:cubicBezTo>
                    <a:cubicBezTo>
                      <a:pt x="24" y="33"/>
                      <a:pt x="25" y="32"/>
                      <a:pt x="26" y="32"/>
                    </a:cubicBezTo>
                    <a:cubicBezTo>
                      <a:pt x="27" y="32"/>
                      <a:pt x="28" y="33"/>
                      <a:pt x="28" y="34"/>
                    </a:cubicBezTo>
                    <a:cubicBezTo>
                      <a:pt x="28" y="36"/>
                      <a:pt x="30" y="38"/>
                      <a:pt x="32" y="38"/>
                    </a:cubicBezTo>
                    <a:cubicBezTo>
                      <a:pt x="34" y="38"/>
                      <a:pt x="36" y="36"/>
                      <a:pt x="36" y="34"/>
                    </a:cubicBezTo>
                    <a:cubicBezTo>
                      <a:pt x="36" y="32"/>
                      <a:pt x="34" y="30"/>
                      <a:pt x="32" y="30"/>
                    </a:cubicBezTo>
                    <a:cubicBezTo>
                      <a:pt x="28" y="30"/>
                      <a:pt x="24" y="26"/>
                      <a:pt x="24" y="22"/>
                    </a:cubicBezTo>
                    <a:cubicBezTo>
                      <a:pt x="24" y="18"/>
                      <a:pt x="27" y="15"/>
                      <a:pt x="30" y="14"/>
                    </a:cubicBezTo>
                    <a:cubicBezTo>
                      <a:pt x="30" y="12"/>
                      <a:pt x="30" y="12"/>
                      <a:pt x="30" y="12"/>
                    </a:cubicBezTo>
                    <a:cubicBezTo>
                      <a:pt x="30" y="11"/>
                      <a:pt x="31" y="10"/>
                      <a:pt x="32" y="10"/>
                    </a:cubicBezTo>
                    <a:cubicBezTo>
                      <a:pt x="33" y="10"/>
                      <a:pt x="34" y="11"/>
                      <a:pt x="34" y="12"/>
                    </a:cubicBezTo>
                    <a:cubicBezTo>
                      <a:pt x="34" y="14"/>
                      <a:pt x="34" y="14"/>
                      <a:pt x="34" y="14"/>
                    </a:cubicBezTo>
                    <a:cubicBezTo>
                      <a:pt x="37" y="15"/>
                      <a:pt x="40" y="18"/>
                      <a:pt x="40" y="22"/>
                    </a:cubicBezTo>
                    <a:cubicBezTo>
                      <a:pt x="40" y="23"/>
                      <a:pt x="39" y="24"/>
                      <a:pt x="38" y="24"/>
                    </a:cubicBezTo>
                    <a:cubicBezTo>
                      <a:pt x="37" y="24"/>
                      <a:pt x="36" y="23"/>
                      <a:pt x="36" y="22"/>
                    </a:cubicBezTo>
                    <a:cubicBezTo>
                      <a:pt x="36" y="20"/>
                      <a:pt x="34" y="18"/>
                      <a:pt x="32" y="18"/>
                    </a:cubicBezTo>
                    <a:cubicBezTo>
                      <a:pt x="30" y="18"/>
                      <a:pt x="28" y="20"/>
                      <a:pt x="28" y="22"/>
                    </a:cubicBezTo>
                    <a:cubicBezTo>
                      <a:pt x="28" y="24"/>
                      <a:pt x="30" y="26"/>
                      <a:pt x="32" y="26"/>
                    </a:cubicBezTo>
                    <a:close/>
                  </a:path>
                </a:pathLst>
              </a:custGeom>
              <a:grpFill/>
              <a:ln w="12700" cap="flat" cmpd="sng" algn="ctr">
                <a:noFill/>
                <a:prstDash val="solid"/>
                <a:miter lim="800000"/>
              </a:ln>
              <a:effectLst>
                <a:outerShdw blurRad="215900" sx="104000" sy="104000" algn="ctr" rotWithShape="0">
                  <a:prstClr val="black">
                    <a:alpha val="19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0" cap="none" spc="0" normalizeH="0" baseline="0" noProof="0">
                  <a:ln>
                    <a:noFill/>
                  </a:ln>
                  <a:solidFill>
                    <a:prstClr val="white"/>
                  </a:solidFill>
                  <a:effectLst/>
                  <a:uLnTx/>
                  <a:uFillTx/>
                  <a:latin typeface="Arial"/>
                  <a:cs typeface="+mn-cs"/>
                </a:endParaRPr>
              </a:p>
            </p:txBody>
          </p:sp>
          <p:sp>
            <p:nvSpPr>
              <p:cNvPr id="58" name="Freeform 44">
                <a:extLst>
                  <a:ext uri="{FF2B5EF4-FFF2-40B4-BE49-F238E27FC236}">
                    <a16:creationId xmlns:a16="http://schemas.microsoft.com/office/drawing/2014/main" id="{777536B0-2F12-4A93-8D41-3A407BD6BBB6}"/>
                  </a:ext>
                </a:extLst>
              </p:cNvPr>
              <p:cNvSpPr>
                <a:spLocks/>
              </p:cNvSpPr>
              <p:nvPr/>
            </p:nvSpPr>
            <p:spPr bwMode="auto">
              <a:xfrm>
                <a:off x="7824818" y="2535316"/>
                <a:ext cx="149226" cy="106366"/>
              </a:xfrm>
              <a:custGeom>
                <a:avLst/>
                <a:gdLst>
                  <a:gd name="T0" fmla="*/ 8 w 40"/>
                  <a:gd name="T1" fmla="*/ 26 h 28"/>
                  <a:gd name="T2" fmla="*/ 10 w 40"/>
                  <a:gd name="T3" fmla="*/ 28 h 28"/>
                  <a:gd name="T4" fmla="*/ 30 w 40"/>
                  <a:gd name="T5" fmla="*/ 28 h 28"/>
                  <a:gd name="T6" fmla="*/ 32 w 40"/>
                  <a:gd name="T7" fmla="*/ 26 h 28"/>
                  <a:gd name="T8" fmla="*/ 40 w 40"/>
                  <a:gd name="T9" fmla="*/ 7 h 28"/>
                  <a:gd name="T10" fmla="*/ 40 w 40"/>
                  <a:gd name="T11" fmla="*/ 5 h 28"/>
                  <a:gd name="T12" fmla="*/ 37 w 40"/>
                  <a:gd name="T13" fmla="*/ 4 h 28"/>
                  <a:gd name="T14" fmla="*/ 25 w 40"/>
                  <a:gd name="T15" fmla="*/ 9 h 28"/>
                  <a:gd name="T16" fmla="*/ 22 w 40"/>
                  <a:gd name="T17" fmla="*/ 1 h 28"/>
                  <a:gd name="T18" fmla="*/ 20 w 40"/>
                  <a:gd name="T19" fmla="*/ 0 h 28"/>
                  <a:gd name="T20" fmla="*/ 18 w 40"/>
                  <a:gd name="T21" fmla="*/ 1 h 28"/>
                  <a:gd name="T22" fmla="*/ 15 w 40"/>
                  <a:gd name="T23" fmla="*/ 9 h 28"/>
                  <a:gd name="T24" fmla="*/ 3 w 40"/>
                  <a:gd name="T25" fmla="*/ 4 h 28"/>
                  <a:gd name="T26" fmla="*/ 0 w 40"/>
                  <a:gd name="T27" fmla="*/ 5 h 28"/>
                  <a:gd name="T28" fmla="*/ 0 w 40"/>
                  <a:gd name="T29" fmla="*/ 7 h 28"/>
                  <a:gd name="T30" fmla="*/ 8 w 40"/>
                  <a:gd name="T31" fmla="*/ 26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0" h="28">
                    <a:moveTo>
                      <a:pt x="8" y="26"/>
                    </a:moveTo>
                    <a:cubicBezTo>
                      <a:pt x="8" y="27"/>
                      <a:pt x="9" y="28"/>
                      <a:pt x="10" y="28"/>
                    </a:cubicBezTo>
                    <a:cubicBezTo>
                      <a:pt x="30" y="28"/>
                      <a:pt x="30" y="28"/>
                      <a:pt x="30" y="28"/>
                    </a:cubicBezTo>
                    <a:cubicBezTo>
                      <a:pt x="31" y="28"/>
                      <a:pt x="32" y="27"/>
                      <a:pt x="32" y="26"/>
                    </a:cubicBezTo>
                    <a:cubicBezTo>
                      <a:pt x="32" y="19"/>
                      <a:pt x="40" y="7"/>
                      <a:pt x="40" y="7"/>
                    </a:cubicBezTo>
                    <a:cubicBezTo>
                      <a:pt x="40" y="6"/>
                      <a:pt x="40" y="5"/>
                      <a:pt x="40" y="5"/>
                    </a:cubicBezTo>
                    <a:cubicBezTo>
                      <a:pt x="39" y="4"/>
                      <a:pt x="38" y="4"/>
                      <a:pt x="37" y="4"/>
                    </a:cubicBezTo>
                    <a:cubicBezTo>
                      <a:pt x="25" y="9"/>
                      <a:pt x="25" y="9"/>
                      <a:pt x="25" y="9"/>
                    </a:cubicBezTo>
                    <a:cubicBezTo>
                      <a:pt x="22" y="1"/>
                      <a:pt x="22" y="1"/>
                      <a:pt x="22" y="1"/>
                    </a:cubicBezTo>
                    <a:cubicBezTo>
                      <a:pt x="22" y="0"/>
                      <a:pt x="21" y="0"/>
                      <a:pt x="20" y="0"/>
                    </a:cubicBezTo>
                    <a:cubicBezTo>
                      <a:pt x="19" y="0"/>
                      <a:pt x="18" y="0"/>
                      <a:pt x="18" y="1"/>
                    </a:cubicBezTo>
                    <a:cubicBezTo>
                      <a:pt x="15" y="9"/>
                      <a:pt x="15" y="9"/>
                      <a:pt x="15" y="9"/>
                    </a:cubicBezTo>
                    <a:cubicBezTo>
                      <a:pt x="3" y="4"/>
                      <a:pt x="3" y="4"/>
                      <a:pt x="3" y="4"/>
                    </a:cubicBezTo>
                    <a:cubicBezTo>
                      <a:pt x="2" y="4"/>
                      <a:pt x="1" y="4"/>
                      <a:pt x="0" y="5"/>
                    </a:cubicBezTo>
                    <a:cubicBezTo>
                      <a:pt x="0" y="5"/>
                      <a:pt x="0" y="6"/>
                      <a:pt x="0" y="7"/>
                    </a:cubicBezTo>
                    <a:cubicBezTo>
                      <a:pt x="0" y="7"/>
                      <a:pt x="8" y="19"/>
                      <a:pt x="8" y="26"/>
                    </a:cubicBezTo>
                    <a:close/>
                  </a:path>
                </a:pathLst>
              </a:custGeom>
              <a:grpFill/>
              <a:ln w="12700" cap="flat" cmpd="sng" algn="ctr">
                <a:noFill/>
                <a:prstDash val="solid"/>
                <a:miter lim="800000"/>
              </a:ln>
              <a:effectLst>
                <a:outerShdw blurRad="215900" sx="104000" sy="104000" algn="ctr" rotWithShape="0">
                  <a:prstClr val="black">
                    <a:alpha val="19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0" cap="none" spc="0" normalizeH="0" baseline="0" noProof="0">
                  <a:ln>
                    <a:noFill/>
                  </a:ln>
                  <a:solidFill>
                    <a:prstClr val="white"/>
                  </a:solidFill>
                  <a:effectLst/>
                  <a:uLnTx/>
                  <a:uFillTx/>
                  <a:latin typeface="Arial"/>
                  <a:cs typeface="+mn-cs"/>
                </a:endParaRPr>
              </a:p>
            </p:txBody>
          </p:sp>
          <p:sp>
            <p:nvSpPr>
              <p:cNvPr id="59" name="Freeform 45">
                <a:extLst>
                  <a:ext uri="{FF2B5EF4-FFF2-40B4-BE49-F238E27FC236}">
                    <a16:creationId xmlns:a16="http://schemas.microsoft.com/office/drawing/2014/main" id="{2AB27369-FFC5-4CF6-8372-8D540304DFA2}"/>
                  </a:ext>
                </a:extLst>
              </p:cNvPr>
              <p:cNvSpPr>
                <a:spLocks/>
              </p:cNvSpPr>
              <p:nvPr/>
            </p:nvSpPr>
            <p:spPr bwMode="auto">
              <a:xfrm>
                <a:off x="7839075" y="2655888"/>
                <a:ext cx="120651" cy="15875"/>
              </a:xfrm>
              <a:custGeom>
                <a:avLst/>
                <a:gdLst>
                  <a:gd name="T0" fmla="*/ 2 w 32"/>
                  <a:gd name="T1" fmla="*/ 0 h 4"/>
                  <a:gd name="T2" fmla="*/ 0 w 32"/>
                  <a:gd name="T3" fmla="*/ 2 h 4"/>
                  <a:gd name="T4" fmla="*/ 2 w 32"/>
                  <a:gd name="T5" fmla="*/ 4 h 4"/>
                  <a:gd name="T6" fmla="*/ 30 w 32"/>
                  <a:gd name="T7" fmla="*/ 4 h 4"/>
                  <a:gd name="T8" fmla="*/ 32 w 32"/>
                  <a:gd name="T9" fmla="*/ 2 h 4"/>
                  <a:gd name="T10" fmla="*/ 30 w 32"/>
                  <a:gd name="T11" fmla="*/ 0 h 4"/>
                  <a:gd name="T12" fmla="*/ 2 w 32"/>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32" h="4">
                    <a:moveTo>
                      <a:pt x="2" y="0"/>
                    </a:moveTo>
                    <a:cubicBezTo>
                      <a:pt x="1" y="0"/>
                      <a:pt x="0" y="1"/>
                      <a:pt x="0" y="2"/>
                    </a:cubicBezTo>
                    <a:cubicBezTo>
                      <a:pt x="0" y="3"/>
                      <a:pt x="1" y="4"/>
                      <a:pt x="2" y="4"/>
                    </a:cubicBezTo>
                    <a:cubicBezTo>
                      <a:pt x="30" y="4"/>
                      <a:pt x="30" y="4"/>
                      <a:pt x="30" y="4"/>
                    </a:cubicBezTo>
                    <a:cubicBezTo>
                      <a:pt x="31" y="4"/>
                      <a:pt x="32" y="3"/>
                      <a:pt x="32" y="2"/>
                    </a:cubicBezTo>
                    <a:cubicBezTo>
                      <a:pt x="32" y="1"/>
                      <a:pt x="31" y="0"/>
                      <a:pt x="30" y="0"/>
                    </a:cubicBezTo>
                    <a:lnTo>
                      <a:pt x="2" y="0"/>
                    </a:lnTo>
                    <a:close/>
                  </a:path>
                </a:pathLst>
              </a:custGeom>
              <a:grpFill/>
              <a:ln w="12700" cap="flat" cmpd="sng" algn="ctr">
                <a:noFill/>
                <a:prstDash val="solid"/>
                <a:miter lim="800000"/>
              </a:ln>
              <a:effectLst>
                <a:outerShdw blurRad="215900" sx="104000" sy="104000" algn="ctr" rotWithShape="0">
                  <a:prstClr val="black">
                    <a:alpha val="19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0" cap="none" spc="0" normalizeH="0" baseline="0" noProof="0">
                  <a:ln>
                    <a:noFill/>
                  </a:ln>
                  <a:solidFill>
                    <a:prstClr val="white"/>
                  </a:solidFill>
                  <a:effectLst/>
                  <a:uLnTx/>
                  <a:uFillTx/>
                  <a:latin typeface="Arial"/>
                  <a:cs typeface="+mn-cs"/>
                </a:endParaRPr>
              </a:p>
            </p:txBody>
          </p:sp>
        </p:grpSp>
        <p:grpSp>
          <p:nvGrpSpPr>
            <p:cNvPr id="51" name="Group 220">
              <a:extLst>
                <a:ext uri="{FF2B5EF4-FFF2-40B4-BE49-F238E27FC236}">
                  <a16:creationId xmlns:a16="http://schemas.microsoft.com/office/drawing/2014/main" id="{3F789AAB-5C21-40B1-862C-67904ED4FC65}"/>
                </a:ext>
              </a:extLst>
            </p:cNvPr>
            <p:cNvGrpSpPr/>
            <p:nvPr/>
          </p:nvGrpSpPr>
          <p:grpSpPr>
            <a:xfrm>
              <a:off x="4187892" y="2467243"/>
              <a:ext cx="181679" cy="143435"/>
              <a:chOff x="3390911" y="4378326"/>
              <a:chExt cx="361939" cy="285750"/>
            </a:xfrm>
            <a:solidFill>
              <a:schemeClr val="bg1"/>
            </a:solidFill>
          </p:grpSpPr>
          <p:sp>
            <p:nvSpPr>
              <p:cNvPr id="52" name="Freeform 56">
                <a:extLst>
                  <a:ext uri="{FF2B5EF4-FFF2-40B4-BE49-F238E27FC236}">
                    <a16:creationId xmlns:a16="http://schemas.microsoft.com/office/drawing/2014/main" id="{72AB997E-1E28-454F-8D95-E44CE4C9082B}"/>
                  </a:ext>
                </a:extLst>
              </p:cNvPr>
              <p:cNvSpPr>
                <a:spLocks/>
              </p:cNvSpPr>
              <p:nvPr/>
            </p:nvSpPr>
            <p:spPr bwMode="auto">
              <a:xfrm>
                <a:off x="3390911" y="4559301"/>
                <a:ext cx="60325" cy="104775"/>
              </a:xfrm>
              <a:custGeom>
                <a:avLst/>
                <a:gdLst>
                  <a:gd name="T0" fmla="*/ 14 w 16"/>
                  <a:gd name="T1" fmla="*/ 0 h 28"/>
                  <a:gd name="T2" fmla="*/ 2 w 16"/>
                  <a:gd name="T3" fmla="*/ 0 h 28"/>
                  <a:gd name="T4" fmla="*/ 0 w 16"/>
                  <a:gd name="T5" fmla="*/ 2 h 28"/>
                  <a:gd name="T6" fmla="*/ 0 w 16"/>
                  <a:gd name="T7" fmla="*/ 26 h 28"/>
                  <a:gd name="T8" fmla="*/ 2 w 16"/>
                  <a:gd name="T9" fmla="*/ 28 h 28"/>
                  <a:gd name="T10" fmla="*/ 14 w 16"/>
                  <a:gd name="T11" fmla="*/ 28 h 28"/>
                  <a:gd name="T12" fmla="*/ 16 w 16"/>
                  <a:gd name="T13" fmla="*/ 26 h 28"/>
                  <a:gd name="T14" fmla="*/ 16 w 16"/>
                  <a:gd name="T15" fmla="*/ 2 h 28"/>
                  <a:gd name="T16" fmla="*/ 14 w 16"/>
                  <a:gd name="T17"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28">
                    <a:moveTo>
                      <a:pt x="14" y="0"/>
                    </a:moveTo>
                    <a:cubicBezTo>
                      <a:pt x="2" y="0"/>
                      <a:pt x="2" y="0"/>
                      <a:pt x="2" y="0"/>
                    </a:cubicBezTo>
                    <a:cubicBezTo>
                      <a:pt x="1" y="0"/>
                      <a:pt x="0" y="1"/>
                      <a:pt x="0" y="2"/>
                    </a:cubicBezTo>
                    <a:cubicBezTo>
                      <a:pt x="0" y="26"/>
                      <a:pt x="0" y="26"/>
                      <a:pt x="0" y="26"/>
                    </a:cubicBezTo>
                    <a:cubicBezTo>
                      <a:pt x="0" y="27"/>
                      <a:pt x="1" y="28"/>
                      <a:pt x="2" y="28"/>
                    </a:cubicBezTo>
                    <a:cubicBezTo>
                      <a:pt x="14" y="28"/>
                      <a:pt x="14" y="28"/>
                      <a:pt x="14" y="28"/>
                    </a:cubicBezTo>
                    <a:cubicBezTo>
                      <a:pt x="15" y="28"/>
                      <a:pt x="16" y="27"/>
                      <a:pt x="16" y="26"/>
                    </a:cubicBezTo>
                    <a:cubicBezTo>
                      <a:pt x="16" y="2"/>
                      <a:pt x="16" y="2"/>
                      <a:pt x="16" y="2"/>
                    </a:cubicBezTo>
                    <a:cubicBezTo>
                      <a:pt x="16" y="1"/>
                      <a:pt x="15" y="0"/>
                      <a:pt x="14" y="0"/>
                    </a:cubicBezTo>
                    <a:close/>
                  </a:path>
                </a:pathLst>
              </a:custGeom>
              <a:grpFill/>
              <a:ln w="12700" cap="flat" cmpd="sng" algn="ctr">
                <a:noFill/>
                <a:prstDash val="solid"/>
                <a:miter lim="800000"/>
              </a:ln>
              <a:effectLst>
                <a:outerShdw blurRad="215900" sx="104000" sy="104000" algn="ctr" rotWithShape="0">
                  <a:prstClr val="black">
                    <a:alpha val="19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0" cap="none" spc="0" normalizeH="0" baseline="0" noProof="0">
                  <a:ln>
                    <a:noFill/>
                  </a:ln>
                  <a:solidFill>
                    <a:prstClr val="white"/>
                  </a:solidFill>
                  <a:effectLst/>
                  <a:uLnTx/>
                  <a:uFillTx/>
                  <a:latin typeface="Arial"/>
                  <a:cs typeface="+mn-cs"/>
                </a:endParaRPr>
              </a:p>
            </p:txBody>
          </p:sp>
          <p:sp>
            <p:nvSpPr>
              <p:cNvPr id="53" name="Freeform 57">
                <a:extLst>
                  <a:ext uri="{FF2B5EF4-FFF2-40B4-BE49-F238E27FC236}">
                    <a16:creationId xmlns:a16="http://schemas.microsoft.com/office/drawing/2014/main" id="{2ADF8E83-62F3-4DA9-9C9C-8327D6D57FF9}"/>
                  </a:ext>
                </a:extLst>
              </p:cNvPr>
              <p:cNvSpPr>
                <a:spLocks/>
              </p:cNvSpPr>
              <p:nvPr/>
            </p:nvSpPr>
            <p:spPr bwMode="auto">
              <a:xfrm>
                <a:off x="3467114" y="4513262"/>
                <a:ext cx="60325" cy="150814"/>
              </a:xfrm>
              <a:custGeom>
                <a:avLst/>
                <a:gdLst>
                  <a:gd name="T0" fmla="*/ 14 w 16"/>
                  <a:gd name="T1" fmla="*/ 0 h 40"/>
                  <a:gd name="T2" fmla="*/ 2 w 16"/>
                  <a:gd name="T3" fmla="*/ 0 h 40"/>
                  <a:gd name="T4" fmla="*/ 0 w 16"/>
                  <a:gd name="T5" fmla="*/ 2 h 40"/>
                  <a:gd name="T6" fmla="*/ 0 w 16"/>
                  <a:gd name="T7" fmla="*/ 38 h 40"/>
                  <a:gd name="T8" fmla="*/ 2 w 16"/>
                  <a:gd name="T9" fmla="*/ 40 h 40"/>
                  <a:gd name="T10" fmla="*/ 14 w 16"/>
                  <a:gd name="T11" fmla="*/ 40 h 40"/>
                  <a:gd name="T12" fmla="*/ 16 w 16"/>
                  <a:gd name="T13" fmla="*/ 38 h 40"/>
                  <a:gd name="T14" fmla="*/ 16 w 16"/>
                  <a:gd name="T15" fmla="*/ 2 h 40"/>
                  <a:gd name="T16" fmla="*/ 14 w 16"/>
                  <a:gd name="T17"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40">
                    <a:moveTo>
                      <a:pt x="14" y="0"/>
                    </a:moveTo>
                    <a:cubicBezTo>
                      <a:pt x="2" y="0"/>
                      <a:pt x="2" y="0"/>
                      <a:pt x="2" y="0"/>
                    </a:cubicBezTo>
                    <a:cubicBezTo>
                      <a:pt x="1" y="0"/>
                      <a:pt x="0" y="1"/>
                      <a:pt x="0" y="2"/>
                    </a:cubicBezTo>
                    <a:cubicBezTo>
                      <a:pt x="0" y="38"/>
                      <a:pt x="0" y="38"/>
                      <a:pt x="0" y="38"/>
                    </a:cubicBezTo>
                    <a:cubicBezTo>
                      <a:pt x="0" y="39"/>
                      <a:pt x="1" y="40"/>
                      <a:pt x="2" y="40"/>
                    </a:cubicBezTo>
                    <a:cubicBezTo>
                      <a:pt x="14" y="40"/>
                      <a:pt x="14" y="40"/>
                      <a:pt x="14" y="40"/>
                    </a:cubicBezTo>
                    <a:cubicBezTo>
                      <a:pt x="15" y="40"/>
                      <a:pt x="16" y="39"/>
                      <a:pt x="16" y="38"/>
                    </a:cubicBezTo>
                    <a:cubicBezTo>
                      <a:pt x="16" y="2"/>
                      <a:pt x="16" y="2"/>
                      <a:pt x="16" y="2"/>
                    </a:cubicBezTo>
                    <a:cubicBezTo>
                      <a:pt x="16" y="1"/>
                      <a:pt x="15" y="0"/>
                      <a:pt x="14" y="0"/>
                    </a:cubicBezTo>
                    <a:close/>
                  </a:path>
                </a:pathLst>
              </a:custGeom>
              <a:grpFill/>
              <a:ln w="12700" cap="flat" cmpd="sng" algn="ctr">
                <a:noFill/>
                <a:prstDash val="solid"/>
                <a:miter lim="800000"/>
              </a:ln>
              <a:effectLst>
                <a:outerShdw blurRad="215900" sx="104000" sy="104000" algn="ctr" rotWithShape="0">
                  <a:prstClr val="black">
                    <a:alpha val="19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0" cap="none" spc="0" normalizeH="0" baseline="0" noProof="0">
                  <a:ln>
                    <a:noFill/>
                  </a:ln>
                  <a:solidFill>
                    <a:prstClr val="white"/>
                  </a:solidFill>
                  <a:effectLst/>
                  <a:uLnTx/>
                  <a:uFillTx/>
                  <a:latin typeface="Arial"/>
                  <a:cs typeface="+mn-cs"/>
                </a:endParaRPr>
              </a:p>
            </p:txBody>
          </p:sp>
          <p:sp>
            <p:nvSpPr>
              <p:cNvPr id="54" name="Freeform 58">
                <a:extLst>
                  <a:ext uri="{FF2B5EF4-FFF2-40B4-BE49-F238E27FC236}">
                    <a16:creationId xmlns:a16="http://schemas.microsoft.com/office/drawing/2014/main" id="{2614F474-F313-4B40-ADFC-F06683954E82}"/>
                  </a:ext>
                </a:extLst>
              </p:cNvPr>
              <p:cNvSpPr>
                <a:spLocks/>
              </p:cNvSpPr>
              <p:nvPr/>
            </p:nvSpPr>
            <p:spPr bwMode="auto">
              <a:xfrm>
                <a:off x="3541727" y="4468814"/>
                <a:ext cx="60325" cy="195262"/>
              </a:xfrm>
              <a:custGeom>
                <a:avLst/>
                <a:gdLst>
                  <a:gd name="T0" fmla="*/ 14 w 16"/>
                  <a:gd name="T1" fmla="*/ 0 h 52"/>
                  <a:gd name="T2" fmla="*/ 2 w 16"/>
                  <a:gd name="T3" fmla="*/ 0 h 52"/>
                  <a:gd name="T4" fmla="*/ 0 w 16"/>
                  <a:gd name="T5" fmla="*/ 2 h 52"/>
                  <a:gd name="T6" fmla="*/ 0 w 16"/>
                  <a:gd name="T7" fmla="*/ 50 h 52"/>
                  <a:gd name="T8" fmla="*/ 2 w 16"/>
                  <a:gd name="T9" fmla="*/ 52 h 52"/>
                  <a:gd name="T10" fmla="*/ 14 w 16"/>
                  <a:gd name="T11" fmla="*/ 52 h 52"/>
                  <a:gd name="T12" fmla="*/ 16 w 16"/>
                  <a:gd name="T13" fmla="*/ 50 h 52"/>
                  <a:gd name="T14" fmla="*/ 16 w 16"/>
                  <a:gd name="T15" fmla="*/ 2 h 52"/>
                  <a:gd name="T16" fmla="*/ 14 w 16"/>
                  <a:gd name="T17"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52">
                    <a:moveTo>
                      <a:pt x="14" y="0"/>
                    </a:moveTo>
                    <a:cubicBezTo>
                      <a:pt x="2" y="0"/>
                      <a:pt x="2" y="0"/>
                      <a:pt x="2" y="0"/>
                    </a:cubicBezTo>
                    <a:cubicBezTo>
                      <a:pt x="1" y="0"/>
                      <a:pt x="0" y="1"/>
                      <a:pt x="0" y="2"/>
                    </a:cubicBezTo>
                    <a:cubicBezTo>
                      <a:pt x="0" y="50"/>
                      <a:pt x="0" y="50"/>
                      <a:pt x="0" y="50"/>
                    </a:cubicBezTo>
                    <a:cubicBezTo>
                      <a:pt x="0" y="51"/>
                      <a:pt x="1" y="52"/>
                      <a:pt x="2" y="52"/>
                    </a:cubicBezTo>
                    <a:cubicBezTo>
                      <a:pt x="14" y="52"/>
                      <a:pt x="14" y="52"/>
                      <a:pt x="14" y="52"/>
                    </a:cubicBezTo>
                    <a:cubicBezTo>
                      <a:pt x="15" y="52"/>
                      <a:pt x="16" y="51"/>
                      <a:pt x="16" y="50"/>
                    </a:cubicBezTo>
                    <a:cubicBezTo>
                      <a:pt x="16" y="2"/>
                      <a:pt x="16" y="2"/>
                      <a:pt x="16" y="2"/>
                    </a:cubicBezTo>
                    <a:cubicBezTo>
                      <a:pt x="16" y="1"/>
                      <a:pt x="15" y="0"/>
                      <a:pt x="14" y="0"/>
                    </a:cubicBezTo>
                    <a:close/>
                  </a:path>
                </a:pathLst>
              </a:custGeom>
              <a:grpFill/>
              <a:ln w="12700" cap="flat" cmpd="sng" algn="ctr">
                <a:noFill/>
                <a:prstDash val="solid"/>
                <a:miter lim="800000"/>
              </a:ln>
              <a:effectLst>
                <a:outerShdw blurRad="215900" sx="104000" sy="104000" algn="ctr" rotWithShape="0">
                  <a:prstClr val="black">
                    <a:alpha val="19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0" cap="none" spc="0" normalizeH="0" baseline="0" noProof="0">
                  <a:ln>
                    <a:noFill/>
                  </a:ln>
                  <a:solidFill>
                    <a:prstClr val="white"/>
                  </a:solidFill>
                  <a:effectLst/>
                  <a:uLnTx/>
                  <a:uFillTx/>
                  <a:latin typeface="Arial"/>
                  <a:cs typeface="+mn-cs"/>
                </a:endParaRPr>
              </a:p>
            </p:txBody>
          </p:sp>
          <p:sp>
            <p:nvSpPr>
              <p:cNvPr id="55" name="Freeform 59">
                <a:extLst>
                  <a:ext uri="{FF2B5EF4-FFF2-40B4-BE49-F238E27FC236}">
                    <a16:creationId xmlns:a16="http://schemas.microsoft.com/office/drawing/2014/main" id="{FB550A69-9FF7-4B57-B05B-8C923458B4FD}"/>
                  </a:ext>
                </a:extLst>
              </p:cNvPr>
              <p:cNvSpPr>
                <a:spLocks/>
              </p:cNvSpPr>
              <p:nvPr/>
            </p:nvSpPr>
            <p:spPr bwMode="auto">
              <a:xfrm>
                <a:off x="3616352" y="4422776"/>
                <a:ext cx="60325" cy="241300"/>
              </a:xfrm>
              <a:custGeom>
                <a:avLst/>
                <a:gdLst>
                  <a:gd name="T0" fmla="*/ 14 w 16"/>
                  <a:gd name="T1" fmla="*/ 0 h 64"/>
                  <a:gd name="T2" fmla="*/ 2 w 16"/>
                  <a:gd name="T3" fmla="*/ 0 h 64"/>
                  <a:gd name="T4" fmla="*/ 0 w 16"/>
                  <a:gd name="T5" fmla="*/ 2 h 64"/>
                  <a:gd name="T6" fmla="*/ 0 w 16"/>
                  <a:gd name="T7" fmla="*/ 62 h 64"/>
                  <a:gd name="T8" fmla="*/ 2 w 16"/>
                  <a:gd name="T9" fmla="*/ 64 h 64"/>
                  <a:gd name="T10" fmla="*/ 14 w 16"/>
                  <a:gd name="T11" fmla="*/ 64 h 64"/>
                  <a:gd name="T12" fmla="*/ 16 w 16"/>
                  <a:gd name="T13" fmla="*/ 62 h 64"/>
                  <a:gd name="T14" fmla="*/ 16 w 16"/>
                  <a:gd name="T15" fmla="*/ 2 h 64"/>
                  <a:gd name="T16" fmla="*/ 14 w 16"/>
                  <a:gd name="T17"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64">
                    <a:moveTo>
                      <a:pt x="14" y="0"/>
                    </a:moveTo>
                    <a:cubicBezTo>
                      <a:pt x="2" y="0"/>
                      <a:pt x="2" y="0"/>
                      <a:pt x="2" y="0"/>
                    </a:cubicBezTo>
                    <a:cubicBezTo>
                      <a:pt x="1" y="0"/>
                      <a:pt x="0" y="1"/>
                      <a:pt x="0" y="2"/>
                    </a:cubicBezTo>
                    <a:cubicBezTo>
                      <a:pt x="0" y="62"/>
                      <a:pt x="0" y="62"/>
                      <a:pt x="0" y="62"/>
                    </a:cubicBezTo>
                    <a:cubicBezTo>
                      <a:pt x="0" y="63"/>
                      <a:pt x="1" y="64"/>
                      <a:pt x="2" y="64"/>
                    </a:cubicBezTo>
                    <a:cubicBezTo>
                      <a:pt x="14" y="64"/>
                      <a:pt x="14" y="64"/>
                      <a:pt x="14" y="64"/>
                    </a:cubicBezTo>
                    <a:cubicBezTo>
                      <a:pt x="15" y="64"/>
                      <a:pt x="16" y="63"/>
                      <a:pt x="16" y="62"/>
                    </a:cubicBezTo>
                    <a:cubicBezTo>
                      <a:pt x="16" y="2"/>
                      <a:pt x="16" y="2"/>
                      <a:pt x="16" y="2"/>
                    </a:cubicBezTo>
                    <a:cubicBezTo>
                      <a:pt x="16" y="1"/>
                      <a:pt x="15" y="0"/>
                      <a:pt x="14" y="0"/>
                    </a:cubicBezTo>
                    <a:close/>
                  </a:path>
                </a:pathLst>
              </a:custGeom>
              <a:grpFill/>
              <a:ln w="12700" cap="flat" cmpd="sng" algn="ctr">
                <a:noFill/>
                <a:prstDash val="solid"/>
                <a:miter lim="800000"/>
              </a:ln>
              <a:effectLst>
                <a:outerShdw blurRad="215900" sx="104000" sy="104000" algn="ctr" rotWithShape="0">
                  <a:prstClr val="black">
                    <a:alpha val="19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0" cap="none" spc="0" normalizeH="0" baseline="0" noProof="0">
                  <a:ln>
                    <a:noFill/>
                  </a:ln>
                  <a:solidFill>
                    <a:prstClr val="white"/>
                  </a:solidFill>
                  <a:effectLst/>
                  <a:uLnTx/>
                  <a:uFillTx/>
                  <a:latin typeface="Arial"/>
                  <a:cs typeface="+mn-cs"/>
                </a:endParaRPr>
              </a:p>
            </p:txBody>
          </p:sp>
          <p:sp>
            <p:nvSpPr>
              <p:cNvPr id="56" name="Freeform 60">
                <a:extLst>
                  <a:ext uri="{FF2B5EF4-FFF2-40B4-BE49-F238E27FC236}">
                    <a16:creationId xmlns:a16="http://schemas.microsoft.com/office/drawing/2014/main" id="{EDDDAF34-B6F0-4F4C-A89F-4C4C26262D83}"/>
                  </a:ext>
                </a:extLst>
              </p:cNvPr>
              <p:cNvSpPr>
                <a:spLocks/>
              </p:cNvSpPr>
              <p:nvPr/>
            </p:nvSpPr>
            <p:spPr bwMode="auto">
              <a:xfrm>
                <a:off x="3692525" y="4378326"/>
                <a:ext cx="60325" cy="285750"/>
              </a:xfrm>
              <a:custGeom>
                <a:avLst/>
                <a:gdLst>
                  <a:gd name="T0" fmla="*/ 14 w 16"/>
                  <a:gd name="T1" fmla="*/ 0 h 76"/>
                  <a:gd name="T2" fmla="*/ 2 w 16"/>
                  <a:gd name="T3" fmla="*/ 0 h 76"/>
                  <a:gd name="T4" fmla="*/ 0 w 16"/>
                  <a:gd name="T5" fmla="*/ 2 h 76"/>
                  <a:gd name="T6" fmla="*/ 0 w 16"/>
                  <a:gd name="T7" fmla="*/ 74 h 76"/>
                  <a:gd name="T8" fmla="*/ 2 w 16"/>
                  <a:gd name="T9" fmla="*/ 76 h 76"/>
                  <a:gd name="T10" fmla="*/ 14 w 16"/>
                  <a:gd name="T11" fmla="*/ 76 h 76"/>
                  <a:gd name="T12" fmla="*/ 16 w 16"/>
                  <a:gd name="T13" fmla="*/ 74 h 76"/>
                  <a:gd name="T14" fmla="*/ 16 w 16"/>
                  <a:gd name="T15" fmla="*/ 2 h 76"/>
                  <a:gd name="T16" fmla="*/ 14 w 16"/>
                  <a:gd name="T17"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76">
                    <a:moveTo>
                      <a:pt x="14" y="0"/>
                    </a:moveTo>
                    <a:cubicBezTo>
                      <a:pt x="2" y="0"/>
                      <a:pt x="2" y="0"/>
                      <a:pt x="2" y="0"/>
                    </a:cubicBezTo>
                    <a:cubicBezTo>
                      <a:pt x="1" y="0"/>
                      <a:pt x="0" y="1"/>
                      <a:pt x="0" y="2"/>
                    </a:cubicBezTo>
                    <a:cubicBezTo>
                      <a:pt x="0" y="74"/>
                      <a:pt x="0" y="74"/>
                      <a:pt x="0" y="74"/>
                    </a:cubicBezTo>
                    <a:cubicBezTo>
                      <a:pt x="0" y="75"/>
                      <a:pt x="1" y="76"/>
                      <a:pt x="2" y="76"/>
                    </a:cubicBezTo>
                    <a:cubicBezTo>
                      <a:pt x="14" y="76"/>
                      <a:pt x="14" y="76"/>
                      <a:pt x="14" y="76"/>
                    </a:cubicBezTo>
                    <a:cubicBezTo>
                      <a:pt x="15" y="76"/>
                      <a:pt x="16" y="75"/>
                      <a:pt x="16" y="74"/>
                    </a:cubicBezTo>
                    <a:cubicBezTo>
                      <a:pt x="16" y="2"/>
                      <a:pt x="16" y="2"/>
                      <a:pt x="16" y="2"/>
                    </a:cubicBezTo>
                    <a:cubicBezTo>
                      <a:pt x="16" y="1"/>
                      <a:pt x="15" y="0"/>
                      <a:pt x="14" y="0"/>
                    </a:cubicBezTo>
                    <a:close/>
                  </a:path>
                </a:pathLst>
              </a:custGeom>
              <a:grpFill/>
              <a:ln w="12700" cap="flat" cmpd="sng" algn="ctr">
                <a:noFill/>
                <a:prstDash val="solid"/>
                <a:miter lim="800000"/>
              </a:ln>
              <a:effectLst>
                <a:outerShdw blurRad="215900" sx="104000" sy="104000" algn="ctr" rotWithShape="0">
                  <a:prstClr val="black">
                    <a:alpha val="19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0" cap="none" spc="0" normalizeH="0" baseline="0" noProof="0">
                  <a:ln>
                    <a:noFill/>
                  </a:ln>
                  <a:solidFill>
                    <a:prstClr val="white"/>
                  </a:solidFill>
                  <a:effectLst/>
                  <a:uLnTx/>
                  <a:uFillTx/>
                  <a:latin typeface="Arial"/>
                  <a:cs typeface="+mn-cs"/>
                </a:endParaRPr>
              </a:p>
            </p:txBody>
          </p:sp>
        </p:grpSp>
      </p:grpSp>
      <p:sp>
        <p:nvSpPr>
          <p:cNvPr id="77" name="Rectangle 293">
            <a:extLst>
              <a:ext uri="{FF2B5EF4-FFF2-40B4-BE49-F238E27FC236}">
                <a16:creationId xmlns:a16="http://schemas.microsoft.com/office/drawing/2014/main" id="{DF2AD432-46D4-4732-AD19-B1ED75DD82AC}"/>
              </a:ext>
            </a:extLst>
          </p:cNvPr>
          <p:cNvSpPr/>
          <p:nvPr/>
        </p:nvSpPr>
        <p:spPr>
          <a:xfrm>
            <a:off x="5313410" y="1201762"/>
            <a:ext cx="985582" cy="628989"/>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FFFFF"/>
                </a:solidFill>
                <a:effectLst/>
                <a:uLnTx/>
                <a:uFillTx/>
                <a:latin typeface="Gill Sans MT" panose="020B0502020104020203" pitchFamily="34" charset="0"/>
                <a:cs typeface="Segoe UI" panose="020B0502040204020203" pitchFamily="34" charset="0"/>
              </a:rPr>
              <a:t>Lorem Ipsum is simply dummy text </a:t>
            </a:r>
          </a:p>
        </p:txBody>
      </p:sp>
      <p:sp>
        <p:nvSpPr>
          <p:cNvPr id="78" name="Rectangle 294">
            <a:extLst>
              <a:ext uri="{FF2B5EF4-FFF2-40B4-BE49-F238E27FC236}">
                <a16:creationId xmlns:a16="http://schemas.microsoft.com/office/drawing/2014/main" id="{3B54E5FB-4AAD-4727-80FD-1CE16DFF85EC}"/>
              </a:ext>
            </a:extLst>
          </p:cNvPr>
          <p:cNvSpPr/>
          <p:nvPr/>
        </p:nvSpPr>
        <p:spPr>
          <a:xfrm>
            <a:off x="5313410" y="2163153"/>
            <a:ext cx="985582" cy="628989"/>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FFFFF"/>
                </a:solidFill>
                <a:effectLst/>
                <a:uLnTx/>
                <a:uFillTx/>
                <a:latin typeface="Gill Sans MT" panose="020B0502020104020203" pitchFamily="34" charset="0"/>
                <a:cs typeface="Segoe UI" panose="020B0502040204020203" pitchFamily="34" charset="0"/>
              </a:rPr>
              <a:t>Lorem Ipsum is simply dummy text </a:t>
            </a:r>
          </a:p>
        </p:txBody>
      </p:sp>
      <p:sp>
        <p:nvSpPr>
          <p:cNvPr id="79" name="Rectangle 295">
            <a:extLst>
              <a:ext uri="{FF2B5EF4-FFF2-40B4-BE49-F238E27FC236}">
                <a16:creationId xmlns:a16="http://schemas.microsoft.com/office/drawing/2014/main" id="{A60F92F7-CE5F-410D-AD88-AAD5583DF11F}"/>
              </a:ext>
            </a:extLst>
          </p:cNvPr>
          <p:cNvSpPr/>
          <p:nvPr/>
        </p:nvSpPr>
        <p:spPr>
          <a:xfrm>
            <a:off x="5313410" y="3124545"/>
            <a:ext cx="985582" cy="628989"/>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FFFFF"/>
                </a:solidFill>
                <a:effectLst/>
                <a:uLnTx/>
                <a:uFillTx/>
                <a:latin typeface="Gill Sans MT" panose="020B0502020104020203" pitchFamily="34" charset="0"/>
                <a:cs typeface="Segoe UI" panose="020B0502040204020203" pitchFamily="34" charset="0"/>
              </a:rPr>
              <a:t>Lorem Ipsum is simply dummy text </a:t>
            </a:r>
          </a:p>
        </p:txBody>
      </p:sp>
      <p:sp>
        <p:nvSpPr>
          <p:cNvPr id="80" name="Rectangle 296">
            <a:extLst>
              <a:ext uri="{FF2B5EF4-FFF2-40B4-BE49-F238E27FC236}">
                <a16:creationId xmlns:a16="http://schemas.microsoft.com/office/drawing/2014/main" id="{1F13EA8D-4594-4485-8917-CC0DE6242648}"/>
              </a:ext>
            </a:extLst>
          </p:cNvPr>
          <p:cNvSpPr/>
          <p:nvPr/>
        </p:nvSpPr>
        <p:spPr>
          <a:xfrm>
            <a:off x="5313410" y="4085936"/>
            <a:ext cx="985582" cy="628989"/>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FFFFF"/>
                </a:solidFill>
                <a:effectLst/>
                <a:uLnTx/>
                <a:uFillTx/>
                <a:latin typeface="Gill Sans MT" panose="020B0502020104020203" pitchFamily="34" charset="0"/>
                <a:cs typeface="Segoe UI" panose="020B0502040204020203" pitchFamily="34" charset="0"/>
              </a:rPr>
              <a:t>Lorem Ipsum is simply dummy text </a:t>
            </a:r>
          </a:p>
        </p:txBody>
      </p:sp>
      <p:sp>
        <p:nvSpPr>
          <p:cNvPr id="81" name="Rectangle 297">
            <a:extLst>
              <a:ext uri="{FF2B5EF4-FFF2-40B4-BE49-F238E27FC236}">
                <a16:creationId xmlns:a16="http://schemas.microsoft.com/office/drawing/2014/main" id="{0545F361-C5DE-41DF-933C-00C5196AF0A7}"/>
              </a:ext>
            </a:extLst>
          </p:cNvPr>
          <p:cNvSpPr/>
          <p:nvPr/>
        </p:nvSpPr>
        <p:spPr>
          <a:xfrm>
            <a:off x="5313410" y="5047327"/>
            <a:ext cx="985582" cy="628989"/>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FFFFF"/>
                </a:solidFill>
                <a:effectLst/>
                <a:uLnTx/>
                <a:uFillTx/>
                <a:latin typeface="Gill Sans MT" panose="020B0502020104020203" pitchFamily="34" charset="0"/>
                <a:cs typeface="Segoe UI" panose="020B0502040204020203" pitchFamily="34" charset="0"/>
              </a:rPr>
              <a:t>Lorem Ipsum is simply dummy text </a:t>
            </a:r>
          </a:p>
        </p:txBody>
      </p:sp>
      <p:sp>
        <p:nvSpPr>
          <p:cNvPr id="82" name="Freeform 48">
            <a:extLst>
              <a:ext uri="{FF2B5EF4-FFF2-40B4-BE49-F238E27FC236}">
                <a16:creationId xmlns:a16="http://schemas.microsoft.com/office/drawing/2014/main" id="{6C2B584A-8B4A-4B73-B07B-FC87F778CCDA}"/>
              </a:ext>
            </a:extLst>
          </p:cNvPr>
          <p:cNvSpPr>
            <a:spLocks noEditPoints="1"/>
          </p:cNvSpPr>
          <p:nvPr/>
        </p:nvSpPr>
        <p:spPr bwMode="auto">
          <a:xfrm>
            <a:off x="7358610" y="2007979"/>
            <a:ext cx="269391" cy="281746"/>
          </a:xfrm>
          <a:custGeom>
            <a:avLst/>
            <a:gdLst>
              <a:gd name="T0" fmla="*/ 2 w 92"/>
              <a:gd name="T1" fmla="*/ 0 h 96"/>
              <a:gd name="T2" fmla="*/ 0 w 92"/>
              <a:gd name="T3" fmla="*/ 94 h 96"/>
              <a:gd name="T4" fmla="*/ 90 w 92"/>
              <a:gd name="T5" fmla="*/ 96 h 96"/>
              <a:gd name="T6" fmla="*/ 92 w 92"/>
              <a:gd name="T7" fmla="*/ 2 h 96"/>
              <a:gd name="T8" fmla="*/ 22 w 92"/>
              <a:gd name="T9" fmla="*/ 84 h 96"/>
              <a:gd name="T10" fmla="*/ 22 w 92"/>
              <a:gd name="T11" fmla="*/ 68 h 96"/>
              <a:gd name="T12" fmla="*/ 22 w 92"/>
              <a:gd name="T13" fmla="*/ 84 h 96"/>
              <a:gd name="T14" fmla="*/ 30 w 92"/>
              <a:gd name="T15" fmla="*/ 44 h 96"/>
              <a:gd name="T16" fmla="*/ 24 w 92"/>
              <a:gd name="T17" fmla="*/ 58 h 96"/>
              <a:gd name="T18" fmla="*/ 20 w 92"/>
              <a:gd name="T19" fmla="*/ 58 h 96"/>
              <a:gd name="T20" fmla="*/ 14 w 92"/>
              <a:gd name="T21" fmla="*/ 44 h 96"/>
              <a:gd name="T22" fmla="*/ 12 w 92"/>
              <a:gd name="T23" fmla="*/ 34 h 96"/>
              <a:gd name="T24" fmla="*/ 20 w 92"/>
              <a:gd name="T25" fmla="*/ 32 h 96"/>
              <a:gd name="T26" fmla="*/ 22 w 92"/>
              <a:gd name="T27" fmla="*/ 12 h 96"/>
              <a:gd name="T28" fmla="*/ 24 w 92"/>
              <a:gd name="T29" fmla="*/ 32 h 96"/>
              <a:gd name="T30" fmla="*/ 32 w 92"/>
              <a:gd name="T31" fmla="*/ 34 h 96"/>
              <a:gd name="T32" fmla="*/ 46 w 92"/>
              <a:gd name="T33" fmla="*/ 84 h 96"/>
              <a:gd name="T34" fmla="*/ 46 w 92"/>
              <a:gd name="T35" fmla="*/ 68 h 96"/>
              <a:gd name="T36" fmla="*/ 46 w 92"/>
              <a:gd name="T37" fmla="*/ 84 h 96"/>
              <a:gd name="T38" fmla="*/ 54 w 92"/>
              <a:gd name="T39" fmla="*/ 32 h 96"/>
              <a:gd name="T40" fmla="*/ 48 w 92"/>
              <a:gd name="T41" fmla="*/ 58 h 96"/>
              <a:gd name="T42" fmla="*/ 44 w 92"/>
              <a:gd name="T43" fmla="*/ 58 h 96"/>
              <a:gd name="T44" fmla="*/ 38 w 92"/>
              <a:gd name="T45" fmla="*/ 32 h 96"/>
              <a:gd name="T46" fmla="*/ 36 w 92"/>
              <a:gd name="T47" fmla="*/ 22 h 96"/>
              <a:gd name="T48" fmla="*/ 44 w 92"/>
              <a:gd name="T49" fmla="*/ 20 h 96"/>
              <a:gd name="T50" fmla="*/ 46 w 92"/>
              <a:gd name="T51" fmla="*/ 12 h 96"/>
              <a:gd name="T52" fmla="*/ 48 w 92"/>
              <a:gd name="T53" fmla="*/ 20 h 96"/>
              <a:gd name="T54" fmla="*/ 56 w 92"/>
              <a:gd name="T55" fmla="*/ 22 h 96"/>
              <a:gd name="T56" fmla="*/ 70 w 92"/>
              <a:gd name="T57" fmla="*/ 84 h 96"/>
              <a:gd name="T58" fmla="*/ 70 w 92"/>
              <a:gd name="T59" fmla="*/ 68 h 96"/>
              <a:gd name="T60" fmla="*/ 70 w 92"/>
              <a:gd name="T61" fmla="*/ 84 h 96"/>
              <a:gd name="T62" fmla="*/ 78 w 92"/>
              <a:gd name="T63" fmla="*/ 52 h 96"/>
              <a:gd name="T64" fmla="*/ 72 w 92"/>
              <a:gd name="T65" fmla="*/ 58 h 96"/>
              <a:gd name="T66" fmla="*/ 68 w 92"/>
              <a:gd name="T67" fmla="*/ 58 h 96"/>
              <a:gd name="T68" fmla="*/ 62 w 92"/>
              <a:gd name="T69" fmla="*/ 52 h 96"/>
              <a:gd name="T70" fmla="*/ 60 w 92"/>
              <a:gd name="T71" fmla="*/ 42 h 96"/>
              <a:gd name="T72" fmla="*/ 68 w 92"/>
              <a:gd name="T73" fmla="*/ 40 h 96"/>
              <a:gd name="T74" fmla="*/ 70 w 92"/>
              <a:gd name="T75" fmla="*/ 12 h 96"/>
              <a:gd name="T76" fmla="*/ 72 w 92"/>
              <a:gd name="T77" fmla="*/ 40 h 96"/>
              <a:gd name="T78" fmla="*/ 80 w 92"/>
              <a:gd name="T79" fmla="*/ 4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2" h="96">
                <a:moveTo>
                  <a:pt x="90" y="0"/>
                </a:moveTo>
                <a:cubicBezTo>
                  <a:pt x="2" y="0"/>
                  <a:pt x="2" y="0"/>
                  <a:pt x="2" y="0"/>
                </a:cubicBezTo>
                <a:cubicBezTo>
                  <a:pt x="1" y="0"/>
                  <a:pt x="0" y="1"/>
                  <a:pt x="0" y="2"/>
                </a:cubicBezTo>
                <a:cubicBezTo>
                  <a:pt x="0" y="94"/>
                  <a:pt x="0" y="94"/>
                  <a:pt x="0" y="94"/>
                </a:cubicBezTo>
                <a:cubicBezTo>
                  <a:pt x="0" y="95"/>
                  <a:pt x="1" y="96"/>
                  <a:pt x="2" y="96"/>
                </a:cubicBezTo>
                <a:cubicBezTo>
                  <a:pt x="90" y="96"/>
                  <a:pt x="90" y="96"/>
                  <a:pt x="90" y="96"/>
                </a:cubicBezTo>
                <a:cubicBezTo>
                  <a:pt x="91" y="96"/>
                  <a:pt x="92" y="95"/>
                  <a:pt x="92" y="94"/>
                </a:cubicBezTo>
                <a:cubicBezTo>
                  <a:pt x="92" y="2"/>
                  <a:pt x="92" y="2"/>
                  <a:pt x="92" y="2"/>
                </a:cubicBezTo>
                <a:cubicBezTo>
                  <a:pt x="92" y="1"/>
                  <a:pt x="91" y="0"/>
                  <a:pt x="90" y="0"/>
                </a:cubicBezTo>
                <a:close/>
                <a:moveTo>
                  <a:pt x="22" y="84"/>
                </a:moveTo>
                <a:cubicBezTo>
                  <a:pt x="18" y="84"/>
                  <a:pt x="14" y="80"/>
                  <a:pt x="14" y="76"/>
                </a:cubicBezTo>
                <a:cubicBezTo>
                  <a:pt x="14" y="72"/>
                  <a:pt x="18" y="68"/>
                  <a:pt x="22" y="68"/>
                </a:cubicBezTo>
                <a:cubicBezTo>
                  <a:pt x="26" y="68"/>
                  <a:pt x="30" y="72"/>
                  <a:pt x="30" y="76"/>
                </a:cubicBezTo>
                <a:cubicBezTo>
                  <a:pt x="30" y="80"/>
                  <a:pt x="26" y="84"/>
                  <a:pt x="22" y="84"/>
                </a:cubicBezTo>
                <a:close/>
                <a:moveTo>
                  <a:pt x="32" y="42"/>
                </a:moveTo>
                <a:cubicBezTo>
                  <a:pt x="32" y="43"/>
                  <a:pt x="31" y="44"/>
                  <a:pt x="30" y="44"/>
                </a:cubicBezTo>
                <a:cubicBezTo>
                  <a:pt x="24" y="44"/>
                  <a:pt x="24" y="44"/>
                  <a:pt x="24" y="44"/>
                </a:cubicBezTo>
                <a:cubicBezTo>
                  <a:pt x="24" y="58"/>
                  <a:pt x="24" y="58"/>
                  <a:pt x="24" y="58"/>
                </a:cubicBezTo>
                <a:cubicBezTo>
                  <a:pt x="24" y="59"/>
                  <a:pt x="23" y="60"/>
                  <a:pt x="22" y="60"/>
                </a:cubicBezTo>
                <a:cubicBezTo>
                  <a:pt x="21" y="60"/>
                  <a:pt x="20" y="59"/>
                  <a:pt x="20" y="58"/>
                </a:cubicBezTo>
                <a:cubicBezTo>
                  <a:pt x="20" y="44"/>
                  <a:pt x="20" y="44"/>
                  <a:pt x="20" y="44"/>
                </a:cubicBezTo>
                <a:cubicBezTo>
                  <a:pt x="14" y="44"/>
                  <a:pt x="14" y="44"/>
                  <a:pt x="14" y="44"/>
                </a:cubicBezTo>
                <a:cubicBezTo>
                  <a:pt x="13" y="44"/>
                  <a:pt x="12" y="43"/>
                  <a:pt x="12" y="42"/>
                </a:cubicBezTo>
                <a:cubicBezTo>
                  <a:pt x="12" y="34"/>
                  <a:pt x="12" y="34"/>
                  <a:pt x="12" y="34"/>
                </a:cubicBezTo>
                <a:cubicBezTo>
                  <a:pt x="12" y="33"/>
                  <a:pt x="13" y="32"/>
                  <a:pt x="14" y="32"/>
                </a:cubicBezTo>
                <a:cubicBezTo>
                  <a:pt x="20" y="32"/>
                  <a:pt x="20" y="32"/>
                  <a:pt x="20" y="32"/>
                </a:cubicBezTo>
                <a:cubicBezTo>
                  <a:pt x="20" y="14"/>
                  <a:pt x="20" y="14"/>
                  <a:pt x="20" y="14"/>
                </a:cubicBezTo>
                <a:cubicBezTo>
                  <a:pt x="20" y="13"/>
                  <a:pt x="21" y="12"/>
                  <a:pt x="22" y="12"/>
                </a:cubicBezTo>
                <a:cubicBezTo>
                  <a:pt x="23" y="12"/>
                  <a:pt x="24" y="13"/>
                  <a:pt x="24" y="14"/>
                </a:cubicBezTo>
                <a:cubicBezTo>
                  <a:pt x="24" y="32"/>
                  <a:pt x="24" y="32"/>
                  <a:pt x="24" y="32"/>
                </a:cubicBezTo>
                <a:cubicBezTo>
                  <a:pt x="30" y="32"/>
                  <a:pt x="30" y="32"/>
                  <a:pt x="30" y="32"/>
                </a:cubicBezTo>
                <a:cubicBezTo>
                  <a:pt x="31" y="32"/>
                  <a:pt x="32" y="33"/>
                  <a:pt x="32" y="34"/>
                </a:cubicBezTo>
                <a:lnTo>
                  <a:pt x="32" y="42"/>
                </a:lnTo>
                <a:close/>
                <a:moveTo>
                  <a:pt x="46" y="84"/>
                </a:moveTo>
                <a:cubicBezTo>
                  <a:pt x="42" y="84"/>
                  <a:pt x="38" y="80"/>
                  <a:pt x="38" y="76"/>
                </a:cubicBezTo>
                <a:cubicBezTo>
                  <a:pt x="38" y="72"/>
                  <a:pt x="42" y="68"/>
                  <a:pt x="46" y="68"/>
                </a:cubicBezTo>
                <a:cubicBezTo>
                  <a:pt x="50" y="68"/>
                  <a:pt x="54" y="72"/>
                  <a:pt x="54" y="76"/>
                </a:cubicBezTo>
                <a:cubicBezTo>
                  <a:pt x="54" y="80"/>
                  <a:pt x="50" y="84"/>
                  <a:pt x="46" y="84"/>
                </a:cubicBezTo>
                <a:close/>
                <a:moveTo>
                  <a:pt x="56" y="30"/>
                </a:moveTo>
                <a:cubicBezTo>
                  <a:pt x="56" y="31"/>
                  <a:pt x="55" y="32"/>
                  <a:pt x="54" y="32"/>
                </a:cubicBezTo>
                <a:cubicBezTo>
                  <a:pt x="48" y="32"/>
                  <a:pt x="48" y="32"/>
                  <a:pt x="48" y="32"/>
                </a:cubicBezTo>
                <a:cubicBezTo>
                  <a:pt x="48" y="58"/>
                  <a:pt x="48" y="58"/>
                  <a:pt x="48" y="58"/>
                </a:cubicBezTo>
                <a:cubicBezTo>
                  <a:pt x="48" y="59"/>
                  <a:pt x="47" y="60"/>
                  <a:pt x="46" y="60"/>
                </a:cubicBezTo>
                <a:cubicBezTo>
                  <a:pt x="45" y="60"/>
                  <a:pt x="44" y="59"/>
                  <a:pt x="44" y="58"/>
                </a:cubicBezTo>
                <a:cubicBezTo>
                  <a:pt x="44" y="32"/>
                  <a:pt x="44" y="32"/>
                  <a:pt x="44" y="32"/>
                </a:cubicBezTo>
                <a:cubicBezTo>
                  <a:pt x="38" y="32"/>
                  <a:pt x="38" y="32"/>
                  <a:pt x="38" y="32"/>
                </a:cubicBezTo>
                <a:cubicBezTo>
                  <a:pt x="37" y="32"/>
                  <a:pt x="36" y="31"/>
                  <a:pt x="36" y="30"/>
                </a:cubicBezTo>
                <a:cubicBezTo>
                  <a:pt x="36" y="22"/>
                  <a:pt x="36" y="22"/>
                  <a:pt x="36" y="22"/>
                </a:cubicBezTo>
                <a:cubicBezTo>
                  <a:pt x="36" y="21"/>
                  <a:pt x="37" y="20"/>
                  <a:pt x="38" y="20"/>
                </a:cubicBezTo>
                <a:cubicBezTo>
                  <a:pt x="44" y="20"/>
                  <a:pt x="44" y="20"/>
                  <a:pt x="44" y="20"/>
                </a:cubicBezTo>
                <a:cubicBezTo>
                  <a:pt x="44" y="14"/>
                  <a:pt x="44" y="14"/>
                  <a:pt x="44" y="14"/>
                </a:cubicBezTo>
                <a:cubicBezTo>
                  <a:pt x="44" y="13"/>
                  <a:pt x="45" y="12"/>
                  <a:pt x="46" y="12"/>
                </a:cubicBezTo>
                <a:cubicBezTo>
                  <a:pt x="47" y="12"/>
                  <a:pt x="48" y="13"/>
                  <a:pt x="48" y="14"/>
                </a:cubicBezTo>
                <a:cubicBezTo>
                  <a:pt x="48" y="20"/>
                  <a:pt x="48" y="20"/>
                  <a:pt x="48" y="20"/>
                </a:cubicBezTo>
                <a:cubicBezTo>
                  <a:pt x="54" y="20"/>
                  <a:pt x="54" y="20"/>
                  <a:pt x="54" y="20"/>
                </a:cubicBezTo>
                <a:cubicBezTo>
                  <a:pt x="55" y="20"/>
                  <a:pt x="56" y="21"/>
                  <a:pt x="56" y="22"/>
                </a:cubicBezTo>
                <a:lnTo>
                  <a:pt x="56" y="30"/>
                </a:lnTo>
                <a:close/>
                <a:moveTo>
                  <a:pt x="70" y="84"/>
                </a:moveTo>
                <a:cubicBezTo>
                  <a:pt x="66" y="84"/>
                  <a:pt x="62" y="80"/>
                  <a:pt x="62" y="76"/>
                </a:cubicBezTo>
                <a:cubicBezTo>
                  <a:pt x="62" y="72"/>
                  <a:pt x="66" y="68"/>
                  <a:pt x="70" y="68"/>
                </a:cubicBezTo>
                <a:cubicBezTo>
                  <a:pt x="75" y="68"/>
                  <a:pt x="78" y="72"/>
                  <a:pt x="78" y="76"/>
                </a:cubicBezTo>
                <a:cubicBezTo>
                  <a:pt x="78" y="80"/>
                  <a:pt x="75" y="84"/>
                  <a:pt x="70" y="84"/>
                </a:cubicBezTo>
                <a:close/>
                <a:moveTo>
                  <a:pt x="80" y="50"/>
                </a:moveTo>
                <a:cubicBezTo>
                  <a:pt x="80" y="51"/>
                  <a:pt x="79" y="52"/>
                  <a:pt x="78" y="52"/>
                </a:cubicBezTo>
                <a:cubicBezTo>
                  <a:pt x="72" y="52"/>
                  <a:pt x="72" y="52"/>
                  <a:pt x="72" y="52"/>
                </a:cubicBezTo>
                <a:cubicBezTo>
                  <a:pt x="72" y="58"/>
                  <a:pt x="72" y="58"/>
                  <a:pt x="72" y="58"/>
                </a:cubicBezTo>
                <a:cubicBezTo>
                  <a:pt x="72" y="59"/>
                  <a:pt x="71" y="60"/>
                  <a:pt x="70" y="60"/>
                </a:cubicBezTo>
                <a:cubicBezTo>
                  <a:pt x="69" y="60"/>
                  <a:pt x="68" y="59"/>
                  <a:pt x="68" y="58"/>
                </a:cubicBezTo>
                <a:cubicBezTo>
                  <a:pt x="68" y="52"/>
                  <a:pt x="68" y="52"/>
                  <a:pt x="68" y="52"/>
                </a:cubicBezTo>
                <a:cubicBezTo>
                  <a:pt x="62" y="52"/>
                  <a:pt x="62" y="52"/>
                  <a:pt x="62" y="52"/>
                </a:cubicBezTo>
                <a:cubicBezTo>
                  <a:pt x="61" y="52"/>
                  <a:pt x="60" y="51"/>
                  <a:pt x="60" y="50"/>
                </a:cubicBezTo>
                <a:cubicBezTo>
                  <a:pt x="60" y="42"/>
                  <a:pt x="60" y="42"/>
                  <a:pt x="60" y="42"/>
                </a:cubicBezTo>
                <a:cubicBezTo>
                  <a:pt x="60" y="41"/>
                  <a:pt x="61" y="40"/>
                  <a:pt x="62" y="40"/>
                </a:cubicBezTo>
                <a:cubicBezTo>
                  <a:pt x="68" y="40"/>
                  <a:pt x="68" y="40"/>
                  <a:pt x="68" y="40"/>
                </a:cubicBezTo>
                <a:cubicBezTo>
                  <a:pt x="68" y="14"/>
                  <a:pt x="68" y="14"/>
                  <a:pt x="68" y="14"/>
                </a:cubicBezTo>
                <a:cubicBezTo>
                  <a:pt x="68" y="13"/>
                  <a:pt x="69" y="12"/>
                  <a:pt x="70" y="12"/>
                </a:cubicBezTo>
                <a:cubicBezTo>
                  <a:pt x="71" y="12"/>
                  <a:pt x="72" y="13"/>
                  <a:pt x="72" y="14"/>
                </a:cubicBezTo>
                <a:cubicBezTo>
                  <a:pt x="72" y="40"/>
                  <a:pt x="72" y="40"/>
                  <a:pt x="72" y="40"/>
                </a:cubicBezTo>
                <a:cubicBezTo>
                  <a:pt x="78" y="40"/>
                  <a:pt x="78" y="40"/>
                  <a:pt x="78" y="40"/>
                </a:cubicBezTo>
                <a:cubicBezTo>
                  <a:pt x="79" y="40"/>
                  <a:pt x="80" y="41"/>
                  <a:pt x="80" y="42"/>
                </a:cubicBezTo>
                <a:lnTo>
                  <a:pt x="80" y="5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Arial"/>
              <a:cs typeface="+mn-cs"/>
            </a:endParaRPr>
          </a:p>
        </p:txBody>
      </p:sp>
      <p:grpSp>
        <p:nvGrpSpPr>
          <p:cNvPr id="83" name="Group 334">
            <a:extLst>
              <a:ext uri="{FF2B5EF4-FFF2-40B4-BE49-F238E27FC236}">
                <a16:creationId xmlns:a16="http://schemas.microsoft.com/office/drawing/2014/main" id="{2AC09E11-BA1D-4E73-8A1E-D38CF8CE67F6}"/>
              </a:ext>
            </a:extLst>
          </p:cNvPr>
          <p:cNvGrpSpPr/>
          <p:nvPr/>
        </p:nvGrpSpPr>
        <p:grpSpPr>
          <a:xfrm>
            <a:off x="7353048" y="4581086"/>
            <a:ext cx="280516" cy="281748"/>
            <a:chOff x="7718425" y="3248025"/>
            <a:chExt cx="360363" cy="361951"/>
          </a:xfrm>
          <a:solidFill>
            <a:schemeClr val="bg1"/>
          </a:solidFill>
        </p:grpSpPr>
        <p:sp>
          <p:nvSpPr>
            <p:cNvPr id="84" name="Freeform 63">
              <a:extLst>
                <a:ext uri="{FF2B5EF4-FFF2-40B4-BE49-F238E27FC236}">
                  <a16:creationId xmlns:a16="http://schemas.microsoft.com/office/drawing/2014/main" id="{B559E541-91CB-44E8-A260-6266157CADF3}"/>
                </a:ext>
              </a:extLst>
            </p:cNvPr>
            <p:cNvSpPr>
              <a:spLocks/>
            </p:cNvSpPr>
            <p:nvPr/>
          </p:nvSpPr>
          <p:spPr bwMode="auto">
            <a:xfrm>
              <a:off x="7718425" y="3248025"/>
              <a:ext cx="360363" cy="331788"/>
            </a:xfrm>
            <a:custGeom>
              <a:avLst/>
              <a:gdLst>
                <a:gd name="T0" fmla="*/ 20 w 96"/>
                <a:gd name="T1" fmla="*/ 88 h 88"/>
                <a:gd name="T2" fmla="*/ 8 w 96"/>
                <a:gd name="T3" fmla="*/ 75 h 88"/>
                <a:gd name="T4" fmla="*/ 17 w 96"/>
                <a:gd name="T5" fmla="*/ 65 h 88"/>
                <a:gd name="T6" fmla="*/ 2 w 96"/>
                <a:gd name="T7" fmla="*/ 56 h 88"/>
                <a:gd name="T8" fmla="*/ 0 w 96"/>
                <a:gd name="T9" fmla="*/ 42 h 88"/>
                <a:gd name="T10" fmla="*/ 13 w 96"/>
                <a:gd name="T11" fmla="*/ 40 h 88"/>
                <a:gd name="T12" fmla="*/ 8 w 96"/>
                <a:gd name="T13" fmla="*/ 23 h 88"/>
                <a:gd name="T14" fmla="*/ 8 w 96"/>
                <a:gd name="T15" fmla="*/ 20 h 88"/>
                <a:gd name="T16" fmla="*/ 23 w 96"/>
                <a:gd name="T17" fmla="*/ 8 h 88"/>
                <a:gd name="T18" fmla="*/ 40 w 96"/>
                <a:gd name="T19" fmla="*/ 13 h 88"/>
                <a:gd name="T20" fmla="*/ 42 w 96"/>
                <a:gd name="T21" fmla="*/ 0 h 88"/>
                <a:gd name="T22" fmla="*/ 56 w 96"/>
                <a:gd name="T23" fmla="*/ 2 h 88"/>
                <a:gd name="T24" fmla="*/ 65 w 96"/>
                <a:gd name="T25" fmla="*/ 17 h 88"/>
                <a:gd name="T26" fmla="*/ 76 w 96"/>
                <a:gd name="T27" fmla="*/ 8 h 88"/>
                <a:gd name="T28" fmla="*/ 88 w 96"/>
                <a:gd name="T29" fmla="*/ 21 h 88"/>
                <a:gd name="T30" fmla="*/ 79 w 96"/>
                <a:gd name="T31" fmla="*/ 31 h 88"/>
                <a:gd name="T32" fmla="*/ 94 w 96"/>
                <a:gd name="T33" fmla="*/ 40 h 88"/>
                <a:gd name="T34" fmla="*/ 96 w 96"/>
                <a:gd name="T35" fmla="*/ 54 h 88"/>
                <a:gd name="T36" fmla="*/ 83 w 96"/>
                <a:gd name="T37" fmla="*/ 56 h 88"/>
                <a:gd name="T38" fmla="*/ 88 w 96"/>
                <a:gd name="T39" fmla="*/ 73 h 88"/>
                <a:gd name="T40" fmla="*/ 76 w 96"/>
                <a:gd name="T41" fmla="*/ 88 h 88"/>
                <a:gd name="T42" fmla="*/ 64 w 96"/>
                <a:gd name="T43" fmla="*/ 78 h 88"/>
                <a:gd name="T44" fmla="*/ 67 w 96"/>
                <a:gd name="T45" fmla="*/ 76 h 88"/>
                <a:gd name="T46" fmla="*/ 83 w 96"/>
                <a:gd name="T47" fmla="*/ 75 h 88"/>
                <a:gd name="T48" fmla="*/ 75 w 96"/>
                <a:gd name="T49" fmla="*/ 65 h 88"/>
                <a:gd name="T50" fmla="*/ 81 w 96"/>
                <a:gd name="T51" fmla="*/ 52 h 88"/>
                <a:gd name="T52" fmla="*/ 92 w 96"/>
                <a:gd name="T53" fmla="*/ 44 h 88"/>
                <a:gd name="T54" fmla="*/ 79 w 96"/>
                <a:gd name="T55" fmla="*/ 42 h 88"/>
                <a:gd name="T56" fmla="*/ 76 w 96"/>
                <a:gd name="T57" fmla="*/ 29 h 88"/>
                <a:gd name="T58" fmla="*/ 75 w 96"/>
                <a:gd name="T59" fmla="*/ 13 h 88"/>
                <a:gd name="T60" fmla="*/ 65 w 96"/>
                <a:gd name="T61" fmla="*/ 21 h 88"/>
                <a:gd name="T62" fmla="*/ 52 w 96"/>
                <a:gd name="T63" fmla="*/ 15 h 88"/>
                <a:gd name="T64" fmla="*/ 44 w 96"/>
                <a:gd name="T65" fmla="*/ 4 h 88"/>
                <a:gd name="T66" fmla="*/ 42 w 96"/>
                <a:gd name="T67" fmla="*/ 17 h 88"/>
                <a:gd name="T68" fmla="*/ 29 w 96"/>
                <a:gd name="T69" fmla="*/ 20 h 88"/>
                <a:gd name="T70" fmla="*/ 13 w 96"/>
                <a:gd name="T71" fmla="*/ 21 h 88"/>
                <a:gd name="T72" fmla="*/ 21 w 96"/>
                <a:gd name="T73" fmla="*/ 31 h 88"/>
                <a:gd name="T74" fmla="*/ 15 w 96"/>
                <a:gd name="T75" fmla="*/ 44 h 88"/>
                <a:gd name="T76" fmla="*/ 4 w 96"/>
                <a:gd name="T77" fmla="*/ 52 h 88"/>
                <a:gd name="T78" fmla="*/ 17 w 96"/>
                <a:gd name="T79" fmla="*/ 54 h 88"/>
                <a:gd name="T80" fmla="*/ 20 w 96"/>
                <a:gd name="T81" fmla="*/ 67 h 88"/>
                <a:gd name="T82" fmla="*/ 21 w 96"/>
                <a:gd name="T83" fmla="*/ 83 h 88"/>
                <a:gd name="T84" fmla="*/ 32 w 96"/>
                <a:gd name="T85" fmla="*/ 76 h 88"/>
                <a:gd name="T86" fmla="*/ 23 w 96"/>
                <a:gd name="T87"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6" h="88">
                  <a:moveTo>
                    <a:pt x="21" y="88"/>
                  </a:moveTo>
                  <a:cubicBezTo>
                    <a:pt x="21" y="88"/>
                    <a:pt x="20" y="88"/>
                    <a:pt x="20" y="88"/>
                  </a:cubicBezTo>
                  <a:cubicBezTo>
                    <a:pt x="8" y="76"/>
                    <a:pt x="8" y="76"/>
                    <a:pt x="8" y="76"/>
                  </a:cubicBezTo>
                  <a:cubicBezTo>
                    <a:pt x="8" y="76"/>
                    <a:pt x="8" y="75"/>
                    <a:pt x="8" y="75"/>
                  </a:cubicBezTo>
                  <a:cubicBezTo>
                    <a:pt x="8" y="74"/>
                    <a:pt x="8" y="74"/>
                    <a:pt x="8" y="73"/>
                  </a:cubicBezTo>
                  <a:cubicBezTo>
                    <a:pt x="17" y="65"/>
                    <a:pt x="17" y="65"/>
                    <a:pt x="17" y="65"/>
                  </a:cubicBezTo>
                  <a:cubicBezTo>
                    <a:pt x="15" y="63"/>
                    <a:pt x="14" y="59"/>
                    <a:pt x="13" y="56"/>
                  </a:cubicBezTo>
                  <a:cubicBezTo>
                    <a:pt x="2" y="56"/>
                    <a:pt x="2" y="56"/>
                    <a:pt x="2" y="56"/>
                  </a:cubicBezTo>
                  <a:cubicBezTo>
                    <a:pt x="1" y="56"/>
                    <a:pt x="0" y="55"/>
                    <a:pt x="0" y="54"/>
                  </a:cubicBezTo>
                  <a:cubicBezTo>
                    <a:pt x="0" y="42"/>
                    <a:pt x="0" y="42"/>
                    <a:pt x="0" y="42"/>
                  </a:cubicBezTo>
                  <a:cubicBezTo>
                    <a:pt x="0" y="41"/>
                    <a:pt x="1" y="40"/>
                    <a:pt x="2" y="40"/>
                  </a:cubicBezTo>
                  <a:cubicBezTo>
                    <a:pt x="13" y="40"/>
                    <a:pt x="13" y="40"/>
                    <a:pt x="13" y="40"/>
                  </a:cubicBezTo>
                  <a:cubicBezTo>
                    <a:pt x="14" y="37"/>
                    <a:pt x="15" y="33"/>
                    <a:pt x="17" y="31"/>
                  </a:cubicBezTo>
                  <a:cubicBezTo>
                    <a:pt x="8" y="23"/>
                    <a:pt x="8" y="23"/>
                    <a:pt x="8" y="23"/>
                  </a:cubicBezTo>
                  <a:cubicBezTo>
                    <a:pt x="8" y="22"/>
                    <a:pt x="8" y="22"/>
                    <a:pt x="8" y="21"/>
                  </a:cubicBezTo>
                  <a:cubicBezTo>
                    <a:pt x="8" y="21"/>
                    <a:pt x="8" y="20"/>
                    <a:pt x="8" y="20"/>
                  </a:cubicBezTo>
                  <a:cubicBezTo>
                    <a:pt x="20" y="8"/>
                    <a:pt x="20" y="8"/>
                    <a:pt x="20" y="8"/>
                  </a:cubicBezTo>
                  <a:cubicBezTo>
                    <a:pt x="20" y="8"/>
                    <a:pt x="22" y="8"/>
                    <a:pt x="23" y="8"/>
                  </a:cubicBezTo>
                  <a:cubicBezTo>
                    <a:pt x="31" y="17"/>
                    <a:pt x="31" y="17"/>
                    <a:pt x="31" y="17"/>
                  </a:cubicBezTo>
                  <a:cubicBezTo>
                    <a:pt x="33" y="15"/>
                    <a:pt x="37" y="14"/>
                    <a:pt x="40" y="13"/>
                  </a:cubicBezTo>
                  <a:cubicBezTo>
                    <a:pt x="40" y="2"/>
                    <a:pt x="40" y="2"/>
                    <a:pt x="40" y="2"/>
                  </a:cubicBezTo>
                  <a:cubicBezTo>
                    <a:pt x="40" y="1"/>
                    <a:pt x="41" y="0"/>
                    <a:pt x="42" y="0"/>
                  </a:cubicBezTo>
                  <a:cubicBezTo>
                    <a:pt x="54" y="0"/>
                    <a:pt x="54" y="0"/>
                    <a:pt x="54" y="0"/>
                  </a:cubicBezTo>
                  <a:cubicBezTo>
                    <a:pt x="55" y="0"/>
                    <a:pt x="56" y="1"/>
                    <a:pt x="56" y="2"/>
                  </a:cubicBezTo>
                  <a:cubicBezTo>
                    <a:pt x="56" y="13"/>
                    <a:pt x="56" y="13"/>
                    <a:pt x="56" y="13"/>
                  </a:cubicBezTo>
                  <a:cubicBezTo>
                    <a:pt x="59" y="14"/>
                    <a:pt x="63" y="15"/>
                    <a:pt x="65" y="17"/>
                  </a:cubicBezTo>
                  <a:cubicBezTo>
                    <a:pt x="73" y="8"/>
                    <a:pt x="73" y="8"/>
                    <a:pt x="73" y="8"/>
                  </a:cubicBezTo>
                  <a:cubicBezTo>
                    <a:pt x="74" y="8"/>
                    <a:pt x="75" y="8"/>
                    <a:pt x="76" y="8"/>
                  </a:cubicBezTo>
                  <a:cubicBezTo>
                    <a:pt x="88" y="20"/>
                    <a:pt x="88" y="20"/>
                    <a:pt x="88" y="20"/>
                  </a:cubicBezTo>
                  <a:cubicBezTo>
                    <a:pt x="88" y="20"/>
                    <a:pt x="88" y="21"/>
                    <a:pt x="88" y="21"/>
                  </a:cubicBezTo>
                  <a:cubicBezTo>
                    <a:pt x="88" y="22"/>
                    <a:pt x="88" y="22"/>
                    <a:pt x="88" y="23"/>
                  </a:cubicBezTo>
                  <a:cubicBezTo>
                    <a:pt x="79" y="31"/>
                    <a:pt x="79" y="31"/>
                    <a:pt x="79" y="31"/>
                  </a:cubicBezTo>
                  <a:cubicBezTo>
                    <a:pt x="81" y="33"/>
                    <a:pt x="82" y="37"/>
                    <a:pt x="83" y="40"/>
                  </a:cubicBezTo>
                  <a:cubicBezTo>
                    <a:pt x="94" y="40"/>
                    <a:pt x="94" y="40"/>
                    <a:pt x="94" y="40"/>
                  </a:cubicBezTo>
                  <a:cubicBezTo>
                    <a:pt x="95" y="40"/>
                    <a:pt x="96" y="41"/>
                    <a:pt x="96" y="42"/>
                  </a:cubicBezTo>
                  <a:cubicBezTo>
                    <a:pt x="96" y="54"/>
                    <a:pt x="96" y="54"/>
                    <a:pt x="96" y="54"/>
                  </a:cubicBezTo>
                  <a:cubicBezTo>
                    <a:pt x="96" y="55"/>
                    <a:pt x="95" y="56"/>
                    <a:pt x="94" y="56"/>
                  </a:cubicBezTo>
                  <a:cubicBezTo>
                    <a:pt x="83" y="56"/>
                    <a:pt x="83" y="56"/>
                    <a:pt x="83" y="56"/>
                  </a:cubicBezTo>
                  <a:cubicBezTo>
                    <a:pt x="82" y="59"/>
                    <a:pt x="81" y="63"/>
                    <a:pt x="79" y="65"/>
                  </a:cubicBezTo>
                  <a:cubicBezTo>
                    <a:pt x="88" y="73"/>
                    <a:pt x="88" y="73"/>
                    <a:pt x="88" y="73"/>
                  </a:cubicBezTo>
                  <a:cubicBezTo>
                    <a:pt x="88" y="74"/>
                    <a:pt x="88" y="76"/>
                    <a:pt x="88" y="76"/>
                  </a:cubicBezTo>
                  <a:cubicBezTo>
                    <a:pt x="76" y="88"/>
                    <a:pt x="76" y="88"/>
                    <a:pt x="76" y="88"/>
                  </a:cubicBezTo>
                  <a:cubicBezTo>
                    <a:pt x="76" y="88"/>
                    <a:pt x="74" y="88"/>
                    <a:pt x="73" y="88"/>
                  </a:cubicBezTo>
                  <a:cubicBezTo>
                    <a:pt x="64" y="78"/>
                    <a:pt x="64" y="78"/>
                    <a:pt x="64" y="78"/>
                  </a:cubicBezTo>
                  <a:cubicBezTo>
                    <a:pt x="63" y="78"/>
                    <a:pt x="63" y="76"/>
                    <a:pt x="64" y="76"/>
                  </a:cubicBezTo>
                  <a:cubicBezTo>
                    <a:pt x="65" y="75"/>
                    <a:pt x="66" y="75"/>
                    <a:pt x="67" y="76"/>
                  </a:cubicBezTo>
                  <a:cubicBezTo>
                    <a:pt x="75" y="83"/>
                    <a:pt x="75" y="83"/>
                    <a:pt x="75" y="83"/>
                  </a:cubicBezTo>
                  <a:cubicBezTo>
                    <a:pt x="83" y="75"/>
                    <a:pt x="83" y="75"/>
                    <a:pt x="83" y="75"/>
                  </a:cubicBezTo>
                  <a:cubicBezTo>
                    <a:pt x="76" y="67"/>
                    <a:pt x="76" y="67"/>
                    <a:pt x="76" y="67"/>
                  </a:cubicBezTo>
                  <a:cubicBezTo>
                    <a:pt x="75" y="66"/>
                    <a:pt x="75" y="65"/>
                    <a:pt x="75" y="65"/>
                  </a:cubicBezTo>
                  <a:cubicBezTo>
                    <a:pt x="77" y="62"/>
                    <a:pt x="79" y="56"/>
                    <a:pt x="79" y="54"/>
                  </a:cubicBezTo>
                  <a:cubicBezTo>
                    <a:pt x="79" y="53"/>
                    <a:pt x="80" y="52"/>
                    <a:pt x="81" y="52"/>
                  </a:cubicBezTo>
                  <a:cubicBezTo>
                    <a:pt x="92" y="52"/>
                    <a:pt x="92" y="52"/>
                    <a:pt x="92" y="52"/>
                  </a:cubicBezTo>
                  <a:cubicBezTo>
                    <a:pt x="92" y="44"/>
                    <a:pt x="92" y="44"/>
                    <a:pt x="92" y="44"/>
                  </a:cubicBezTo>
                  <a:cubicBezTo>
                    <a:pt x="81" y="44"/>
                    <a:pt x="81" y="44"/>
                    <a:pt x="81" y="44"/>
                  </a:cubicBezTo>
                  <a:cubicBezTo>
                    <a:pt x="80" y="44"/>
                    <a:pt x="79" y="43"/>
                    <a:pt x="79" y="42"/>
                  </a:cubicBezTo>
                  <a:cubicBezTo>
                    <a:pt x="79" y="40"/>
                    <a:pt x="77" y="34"/>
                    <a:pt x="75" y="31"/>
                  </a:cubicBezTo>
                  <a:cubicBezTo>
                    <a:pt x="75" y="31"/>
                    <a:pt x="75" y="30"/>
                    <a:pt x="76" y="29"/>
                  </a:cubicBezTo>
                  <a:cubicBezTo>
                    <a:pt x="83" y="21"/>
                    <a:pt x="83" y="21"/>
                    <a:pt x="83" y="21"/>
                  </a:cubicBezTo>
                  <a:cubicBezTo>
                    <a:pt x="75" y="13"/>
                    <a:pt x="75" y="13"/>
                    <a:pt x="75" y="13"/>
                  </a:cubicBezTo>
                  <a:cubicBezTo>
                    <a:pt x="67" y="20"/>
                    <a:pt x="67" y="20"/>
                    <a:pt x="67" y="20"/>
                  </a:cubicBezTo>
                  <a:cubicBezTo>
                    <a:pt x="66" y="21"/>
                    <a:pt x="65" y="21"/>
                    <a:pt x="65" y="21"/>
                  </a:cubicBezTo>
                  <a:cubicBezTo>
                    <a:pt x="62" y="19"/>
                    <a:pt x="57" y="18"/>
                    <a:pt x="54" y="17"/>
                  </a:cubicBezTo>
                  <a:cubicBezTo>
                    <a:pt x="53" y="17"/>
                    <a:pt x="52" y="16"/>
                    <a:pt x="52" y="15"/>
                  </a:cubicBezTo>
                  <a:cubicBezTo>
                    <a:pt x="52" y="4"/>
                    <a:pt x="52" y="4"/>
                    <a:pt x="52" y="4"/>
                  </a:cubicBezTo>
                  <a:cubicBezTo>
                    <a:pt x="44" y="4"/>
                    <a:pt x="44" y="4"/>
                    <a:pt x="44" y="4"/>
                  </a:cubicBezTo>
                  <a:cubicBezTo>
                    <a:pt x="44" y="15"/>
                    <a:pt x="44" y="15"/>
                    <a:pt x="44" y="15"/>
                  </a:cubicBezTo>
                  <a:cubicBezTo>
                    <a:pt x="44" y="16"/>
                    <a:pt x="43" y="17"/>
                    <a:pt x="42" y="17"/>
                  </a:cubicBezTo>
                  <a:cubicBezTo>
                    <a:pt x="39" y="18"/>
                    <a:pt x="34" y="19"/>
                    <a:pt x="31" y="21"/>
                  </a:cubicBezTo>
                  <a:cubicBezTo>
                    <a:pt x="31" y="21"/>
                    <a:pt x="30" y="21"/>
                    <a:pt x="29" y="20"/>
                  </a:cubicBezTo>
                  <a:cubicBezTo>
                    <a:pt x="21" y="13"/>
                    <a:pt x="21" y="13"/>
                    <a:pt x="21" y="13"/>
                  </a:cubicBezTo>
                  <a:cubicBezTo>
                    <a:pt x="13" y="21"/>
                    <a:pt x="13" y="21"/>
                    <a:pt x="13" y="21"/>
                  </a:cubicBezTo>
                  <a:cubicBezTo>
                    <a:pt x="20" y="29"/>
                    <a:pt x="20" y="29"/>
                    <a:pt x="20" y="29"/>
                  </a:cubicBezTo>
                  <a:cubicBezTo>
                    <a:pt x="21" y="30"/>
                    <a:pt x="21" y="31"/>
                    <a:pt x="21" y="31"/>
                  </a:cubicBezTo>
                  <a:cubicBezTo>
                    <a:pt x="19" y="34"/>
                    <a:pt x="17" y="40"/>
                    <a:pt x="17" y="42"/>
                  </a:cubicBezTo>
                  <a:cubicBezTo>
                    <a:pt x="17" y="43"/>
                    <a:pt x="16" y="44"/>
                    <a:pt x="15" y="44"/>
                  </a:cubicBezTo>
                  <a:cubicBezTo>
                    <a:pt x="4" y="44"/>
                    <a:pt x="4" y="44"/>
                    <a:pt x="4" y="44"/>
                  </a:cubicBezTo>
                  <a:cubicBezTo>
                    <a:pt x="4" y="52"/>
                    <a:pt x="4" y="52"/>
                    <a:pt x="4" y="52"/>
                  </a:cubicBezTo>
                  <a:cubicBezTo>
                    <a:pt x="15" y="52"/>
                    <a:pt x="15" y="52"/>
                    <a:pt x="15" y="52"/>
                  </a:cubicBezTo>
                  <a:cubicBezTo>
                    <a:pt x="16" y="52"/>
                    <a:pt x="17" y="53"/>
                    <a:pt x="17" y="54"/>
                  </a:cubicBezTo>
                  <a:cubicBezTo>
                    <a:pt x="17" y="56"/>
                    <a:pt x="19" y="62"/>
                    <a:pt x="21" y="65"/>
                  </a:cubicBezTo>
                  <a:cubicBezTo>
                    <a:pt x="21" y="65"/>
                    <a:pt x="21" y="66"/>
                    <a:pt x="20" y="67"/>
                  </a:cubicBezTo>
                  <a:cubicBezTo>
                    <a:pt x="13" y="75"/>
                    <a:pt x="13" y="75"/>
                    <a:pt x="13" y="75"/>
                  </a:cubicBezTo>
                  <a:cubicBezTo>
                    <a:pt x="21" y="83"/>
                    <a:pt x="21" y="83"/>
                    <a:pt x="21" y="83"/>
                  </a:cubicBezTo>
                  <a:cubicBezTo>
                    <a:pt x="29" y="76"/>
                    <a:pt x="29" y="76"/>
                    <a:pt x="29" y="76"/>
                  </a:cubicBezTo>
                  <a:cubicBezTo>
                    <a:pt x="30" y="75"/>
                    <a:pt x="31" y="75"/>
                    <a:pt x="32" y="76"/>
                  </a:cubicBezTo>
                  <a:cubicBezTo>
                    <a:pt x="33" y="76"/>
                    <a:pt x="33" y="78"/>
                    <a:pt x="32" y="78"/>
                  </a:cubicBezTo>
                  <a:cubicBezTo>
                    <a:pt x="23" y="88"/>
                    <a:pt x="23" y="88"/>
                    <a:pt x="23" y="88"/>
                  </a:cubicBezTo>
                  <a:cubicBezTo>
                    <a:pt x="22" y="88"/>
                    <a:pt x="22" y="88"/>
                    <a:pt x="2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Arial"/>
                <a:cs typeface="+mn-cs"/>
              </a:endParaRPr>
            </a:p>
          </p:txBody>
        </p:sp>
        <p:sp>
          <p:nvSpPr>
            <p:cNvPr id="85" name="Freeform 64">
              <a:extLst>
                <a:ext uri="{FF2B5EF4-FFF2-40B4-BE49-F238E27FC236}">
                  <a16:creationId xmlns:a16="http://schemas.microsoft.com/office/drawing/2014/main" id="{B1364305-7E89-4229-8CB6-8720B64721F4}"/>
                </a:ext>
              </a:extLst>
            </p:cNvPr>
            <p:cNvSpPr>
              <a:spLocks/>
            </p:cNvSpPr>
            <p:nvPr/>
          </p:nvSpPr>
          <p:spPr bwMode="auto">
            <a:xfrm>
              <a:off x="7869238" y="3549650"/>
              <a:ext cx="60325" cy="15875"/>
            </a:xfrm>
            <a:custGeom>
              <a:avLst/>
              <a:gdLst>
                <a:gd name="T0" fmla="*/ 14 w 16"/>
                <a:gd name="T1" fmla="*/ 4 h 4"/>
                <a:gd name="T2" fmla="*/ 2 w 16"/>
                <a:gd name="T3" fmla="*/ 4 h 4"/>
                <a:gd name="T4" fmla="*/ 0 w 16"/>
                <a:gd name="T5" fmla="*/ 2 h 4"/>
                <a:gd name="T6" fmla="*/ 2 w 16"/>
                <a:gd name="T7" fmla="*/ 0 h 4"/>
                <a:gd name="T8" fmla="*/ 14 w 16"/>
                <a:gd name="T9" fmla="*/ 0 h 4"/>
                <a:gd name="T10" fmla="*/ 16 w 16"/>
                <a:gd name="T11" fmla="*/ 2 h 4"/>
                <a:gd name="T12" fmla="*/ 14 w 16"/>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6" h="4">
                  <a:moveTo>
                    <a:pt x="14" y="4"/>
                  </a:moveTo>
                  <a:cubicBezTo>
                    <a:pt x="2" y="4"/>
                    <a:pt x="2" y="4"/>
                    <a:pt x="2" y="4"/>
                  </a:cubicBezTo>
                  <a:cubicBezTo>
                    <a:pt x="1" y="4"/>
                    <a:pt x="0" y="3"/>
                    <a:pt x="0" y="2"/>
                  </a:cubicBezTo>
                  <a:cubicBezTo>
                    <a:pt x="0" y="1"/>
                    <a:pt x="1" y="0"/>
                    <a:pt x="2" y="0"/>
                  </a:cubicBezTo>
                  <a:cubicBezTo>
                    <a:pt x="14" y="0"/>
                    <a:pt x="14" y="0"/>
                    <a:pt x="14" y="0"/>
                  </a:cubicBezTo>
                  <a:cubicBezTo>
                    <a:pt x="15" y="0"/>
                    <a:pt x="16" y="1"/>
                    <a:pt x="16" y="2"/>
                  </a:cubicBezTo>
                  <a:cubicBezTo>
                    <a:pt x="16" y="3"/>
                    <a:pt x="15" y="4"/>
                    <a:pt x="1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Arial"/>
                <a:cs typeface="+mn-cs"/>
              </a:endParaRPr>
            </a:p>
          </p:txBody>
        </p:sp>
        <p:sp>
          <p:nvSpPr>
            <p:cNvPr id="86" name="Freeform 65">
              <a:extLst>
                <a:ext uri="{FF2B5EF4-FFF2-40B4-BE49-F238E27FC236}">
                  <a16:creationId xmlns:a16="http://schemas.microsoft.com/office/drawing/2014/main" id="{75B4A5C9-EC97-4839-B6D8-DADBBD93DCB7}"/>
                </a:ext>
              </a:extLst>
            </p:cNvPr>
            <p:cNvSpPr>
              <a:spLocks/>
            </p:cNvSpPr>
            <p:nvPr/>
          </p:nvSpPr>
          <p:spPr bwMode="auto">
            <a:xfrm>
              <a:off x="7869238" y="3579813"/>
              <a:ext cx="60325" cy="30163"/>
            </a:xfrm>
            <a:custGeom>
              <a:avLst/>
              <a:gdLst>
                <a:gd name="T0" fmla="*/ 14 w 16"/>
                <a:gd name="T1" fmla="*/ 0 h 8"/>
                <a:gd name="T2" fmla="*/ 2 w 16"/>
                <a:gd name="T3" fmla="*/ 0 h 8"/>
                <a:gd name="T4" fmla="*/ 0 w 16"/>
                <a:gd name="T5" fmla="*/ 2 h 8"/>
                <a:gd name="T6" fmla="*/ 2 w 16"/>
                <a:gd name="T7" fmla="*/ 4 h 8"/>
                <a:gd name="T8" fmla="*/ 6 w 16"/>
                <a:gd name="T9" fmla="*/ 4 h 8"/>
                <a:gd name="T10" fmla="*/ 6 w 16"/>
                <a:gd name="T11" fmla="*/ 6 h 8"/>
                <a:gd name="T12" fmla="*/ 8 w 16"/>
                <a:gd name="T13" fmla="*/ 8 h 8"/>
                <a:gd name="T14" fmla="*/ 10 w 16"/>
                <a:gd name="T15" fmla="*/ 6 h 8"/>
                <a:gd name="T16" fmla="*/ 10 w 16"/>
                <a:gd name="T17" fmla="*/ 4 h 8"/>
                <a:gd name="T18" fmla="*/ 14 w 16"/>
                <a:gd name="T19" fmla="*/ 4 h 8"/>
                <a:gd name="T20" fmla="*/ 16 w 16"/>
                <a:gd name="T21" fmla="*/ 2 h 8"/>
                <a:gd name="T22" fmla="*/ 14 w 16"/>
                <a:gd name="T23"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8">
                  <a:moveTo>
                    <a:pt x="14" y="0"/>
                  </a:moveTo>
                  <a:cubicBezTo>
                    <a:pt x="2" y="0"/>
                    <a:pt x="2" y="0"/>
                    <a:pt x="2" y="0"/>
                  </a:cubicBezTo>
                  <a:cubicBezTo>
                    <a:pt x="1" y="0"/>
                    <a:pt x="0" y="1"/>
                    <a:pt x="0" y="2"/>
                  </a:cubicBezTo>
                  <a:cubicBezTo>
                    <a:pt x="0" y="3"/>
                    <a:pt x="1" y="4"/>
                    <a:pt x="2" y="4"/>
                  </a:cubicBezTo>
                  <a:cubicBezTo>
                    <a:pt x="6" y="4"/>
                    <a:pt x="6" y="4"/>
                    <a:pt x="6" y="4"/>
                  </a:cubicBezTo>
                  <a:cubicBezTo>
                    <a:pt x="6" y="6"/>
                    <a:pt x="6" y="6"/>
                    <a:pt x="6" y="6"/>
                  </a:cubicBezTo>
                  <a:cubicBezTo>
                    <a:pt x="6" y="7"/>
                    <a:pt x="7" y="8"/>
                    <a:pt x="8" y="8"/>
                  </a:cubicBezTo>
                  <a:cubicBezTo>
                    <a:pt x="9" y="8"/>
                    <a:pt x="10" y="7"/>
                    <a:pt x="10" y="6"/>
                  </a:cubicBezTo>
                  <a:cubicBezTo>
                    <a:pt x="10" y="4"/>
                    <a:pt x="10" y="4"/>
                    <a:pt x="10" y="4"/>
                  </a:cubicBezTo>
                  <a:cubicBezTo>
                    <a:pt x="14" y="4"/>
                    <a:pt x="14" y="4"/>
                    <a:pt x="14" y="4"/>
                  </a:cubicBezTo>
                  <a:cubicBezTo>
                    <a:pt x="15" y="4"/>
                    <a:pt x="16" y="3"/>
                    <a:pt x="16" y="2"/>
                  </a:cubicBezTo>
                  <a:cubicBezTo>
                    <a:pt x="16" y="1"/>
                    <a:pt x="15" y="0"/>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Arial"/>
                <a:cs typeface="+mn-cs"/>
              </a:endParaRPr>
            </a:p>
          </p:txBody>
        </p:sp>
        <p:sp>
          <p:nvSpPr>
            <p:cNvPr id="87" name="Freeform 66">
              <a:extLst>
                <a:ext uri="{FF2B5EF4-FFF2-40B4-BE49-F238E27FC236}">
                  <a16:creationId xmlns:a16="http://schemas.microsoft.com/office/drawing/2014/main" id="{B0B23C53-7530-4583-808B-FDF41048EA82}"/>
                </a:ext>
              </a:extLst>
            </p:cNvPr>
            <p:cNvSpPr>
              <a:spLocks/>
            </p:cNvSpPr>
            <p:nvPr/>
          </p:nvSpPr>
          <p:spPr bwMode="auto">
            <a:xfrm>
              <a:off x="7805738" y="3338513"/>
              <a:ext cx="187325" cy="196850"/>
            </a:xfrm>
            <a:custGeom>
              <a:avLst/>
              <a:gdLst>
                <a:gd name="T0" fmla="*/ 25 w 50"/>
                <a:gd name="T1" fmla="*/ 0 h 52"/>
                <a:gd name="T2" fmla="*/ 0 w 50"/>
                <a:gd name="T3" fmla="*/ 24 h 52"/>
                <a:gd name="T4" fmla="*/ 17 w 50"/>
                <a:gd name="T5" fmla="*/ 47 h 52"/>
                <a:gd name="T6" fmla="*/ 17 w 50"/>
                <a:gd name="T7" fmla="*/ 50 h 52"/>
                <a:gd name="T8" fmla="*/ 19 w 50"/>
                <a:gd name="T9" fmla="*/ 52 h 52"/>
                <a:gd name="T10" fmla="*/ 31 w 50"/>
                <a:gd name="T11" fmla="*/ 52 h 52"/>
                <a:gd name="T12" fmla="*/ 33 w 50"/>
                <a:gd name="T13" fmla="*/ 50 h 52"/>
                <a:gd name="T14" fmla="*/ 33 w 50"/>
                <a:gd name="T15" fmla="*/ 47 h 52"/>
                <a:gd name="T16" fmla="*/ 50 w 50"/>
                <a:gd name="T17" fmla="*/ 24 h 52"/>
                <a:gd name="T18" fmla="*/ 25 w 50"/>
                <a:gd name="T19"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52">
                  <a:moveTo>
                    <a:pt x="25" y="0"/>
                  </a:moveTo>
                  <a:cubicBezTo>
                    <a:pt x="11" y="0"/>
                    <a:pt x="0" y="11"/>
                    <a:pt x="0" y="24"/>
                  </a:cubicBezTo>
                  <a:cubicBezTo>
                    <a:pt x="0" y="34"/>
                    <a:pt x="7" y="43"/>
                    <a:pt x="17" y="47"/>
                  </a:cubicBezTo>
                  <a:cubicBezTo>
                    <a:pt x="17" y="50"/>
                    <a:pt x="17" y="50"/>
                    <a:pt x="17" y="50"/>
                  </a:cubicBezTo>
                  <a:cubicBezTo>
                    <a:pt x="17" y="51"/>
                    <a:pt x="18" y="52"/>
                    <a:pt x="19" y="52"/>
                  </a:cubicBezTo>
                  <a:cubicBezTo>
                    <a:pt x="31" y="52"/>
                    <a:pt x="31" y="52"/>
                    <a:pt x="31" y="52"/>
                  </a:cubicBezTo>
                  <a:cubicBezTo>
                    <a:pt x="32" y="52"/>
                    <a:pt x="33" y="51"/>
                    <a:pt x="33" y="50"/>
                  </a:cubicBezTo>
                  <a:cubicBezTo>
                    <a:pt x="33" y="47"/>
                    <a:pt x="33" y="47"/>
                    <a:pt x="33" y="47"/>
                  </a:cubicBezTo>
                  <a:cubicBezTo>
                    <a:pt x="43" y="43"/>
                    <a:pt x="50" y="34"/>
                    <a:pt x="50" y="24"/>
                  </a:cubicBezTo>
                  <a:cubicBezTo>
                    <a:pt x="50" y="11"/>
                    <a:pt x="39" y="0"/>
                    <a:pt x="2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Arial"/>
                <a:cs typeface="+mn-cs"/>
              </a:endParaRPr>
            </a:p>
          </p:txBody>
        </p:sp>
      </p:grpSp>
      <p:sp>
        <p:nvSpPr>
          <p:cNvPr id="88" name="Freeform 69">
            <a:extLst>
              <a:ext uri="{FF2B5EF4-FFF2-40B4-BE49-F238E27FC236}">
                <a16:creationId xmlns:a16="http://schemas.microsoft.com/office/drawing/2014/main" id="{9C26E769-E4BE-4C9F-9CD2-E35C6AA0EE2D}"/>
              </a:ext>
            </a:extLst>
          </p:cNvPr>
          <p:cNvSpPr>
            <a:spLocks noEditPoints="1"/>
          </p:cNvSpPr>
          <p:nvPr/>
        </p:nvSpPr>
        <p:spPr bwMode="auto">
          <a:xfrm>
            <a:off x="7351814" y="3929780"/>
            <a:ext cx="282984" cy="284216"/>
          </a:xfrm>
          <a:custGeom>
            <a:avLst/>
            <a:gdLst>
              <a:gd name="T0" fmla="*/ 83 w 97"/>
              <a:gd name="T1" fmla="*/ 41 h 97"/>
              <a:gd name="T2" fmla="*/ 79 w 97"/>
              <a:gd name="T3" fmla="*/ 31 h 97"/>
              <a:gd name="T4" fmla="*/ 94 w 97"/>
              <a:gd name="T5" fmla="*/ 2 h 97"/>
              <a:gd name="T6" fmla="*/ 71 w 97"/>
              <a:gd name="T7" fmla="*/ 21 h 97"/>
              <a:gd name="T8" fmla="*/ 56 w 97"/>
              <a:gd name="T9" fmla="*/ 14 h 97"/>
              <a:gd name="T10" fmla="*/ 54 w 97"/>
              <a:gd name="T11" fmla="*/ 1 h 97"/>
              <a:gd name="T12" fmla="*/ 40 w 97"/>
              <a:gd name="T13" fmla="*/ 3 h 97"/>
              <a:gd name="T14" fmla="*/ 31 w 97"/>
              <a:gd name="T15" fmla="*/ 18 h 97"/>
              <a:gd name="T16" fmla="*/ 20 w 97"/>
              <a:gd name="T17" fmla="*/ 9 h 97"/>
              <a:gd name="T18" fmla="*/ 8 w 97"/>
              <a:gd name="T19" fmla="*/ 22 h 97"/>
              <a:gd name="T20" fmla="*/ 17 w 97"/>
              <a:gd name="T21" fmla="*/ 32 h 97"/>
              <a:gd name="T22" fmla="*/ 2 w 97"/>
              <a:gd name="T23" fmla="*/ 41 h 97"/>
              <a:gd name="T24" fmla="*/ 0 w 97"/>
              <a:gd name="T25" fmla="*/ 55 h 97"/>
              <a:gd name="T26" fmla="*/ 13 w 97"/>
              <a:gd name="T27" fmla="*/ 57 h 97"/>
              <a:gd name="T28" fmla="*/ 8 w 97"/>
              <a:gd name="T29" fmla="*/ 74 h 97"/>
              <a:gd name="T30" fmla="*/ 8 w 97"/>
              <a:gd name="T31" fmla="*/ 77 h 97"/>
              <a:gd name="T32" fmla="*/ 23 w 97"/>
              <a:gd name="T33" fmla="*/ 89 h 97"/>
              <a:gd name="T34" fmla="*/ 40 w 97"/>
              <a:gd name="T35" fmla="*/ 84 h 97"/>
              <a:gd name="T36" fmla="*/ 42 w 97"/>
              <a:gd name="T37" fmla="*/ 97 h 97"/>
              <a:gd name="T38" fmla="*/ 56 w 97"/>
              <a:gd name="T39" fmla="*/ 95 h 97"/>
              <a:gd name="T40" fmla="*/ 65 w 97"/>
              <a:gd name="T41" fmla="*/ 80 h 97"/>
              <a:gd name="T42" fmla="*/ 76 w 97"/>
              <a:gd name="T43" fmla="*/ 89 h 97"/>
              <a:gd name="T44" fmla="*/ 88 w 97"/>
              <a:gd name="T45" fmla="*/ 74 h 97"/>
              <a:gd name="T46" fmla="*/ 83 w 97"/>
              <a:gd name="T47" fmla="*/ 57 h 97"/>
              <a:gd name="T48" fmla="*/ 96 w 97"/>
              <a:gd name="T49" fmla="*/ 55 h 97"/>
              <a:gd name="T50" fmla="*/ 94 w 97"/>
              <a:gd name="T51" fmla="*/ 41 h 97"/>
              <a:gd name="T52" fmla="*/ 49 w 97"/>
              <a:gd name="T53" fmla="*/ 60 h 97"/>
              <a:gd name="T54" fmla="*/ 48 w 97"/>
              <a:gd name="T55" fmla="*/ 60 h 97"/>
              <a:gd name="T56" fmla="*/ 30 w 97"/>
              <a:gd name="T57" fmla="*/ 39 h 97"/>
              <a:gd name="T58" fmla="*/ 49 w 97"/>
              <a:gd name="T59" fmla="*/ 56 h 97"/>
              <a:gd name="T60" fmla="*/ 91 w 97"/>
              <a:gd name="T61" fmla="*/ 5 h 97"/>
              <a:gd name="T62" fmla="*/ 51 w 97"/>
              <a:gd name="T63" fmla="*/ 6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7" h="97">
                <a:moveTo>
                  <a:pt x="94" y="41"/>
                </a:moveTo>
                <a:cubicBezTo>
                  <a:pt x="83" y="41"/>
                  <a:pt x="83" y="41"/>
                  <a:pt x="83" y="41"/>
                </a:cubicBezTo>
                <a:cubicBezTo>
                  <a:pt x="82" y="39"/>
                  <a:pt x="82" y="37"/>
                  <a:pt x="81" y="35"/>
                </a:cubicBezTo>
                <a:cubicBezTo>
                  <a:pt x="80" y="34"/>
                  <a:pt x="79" y="32"/>
                  <a:pt x="79" y="31"/>
                </a:cubicBezTo>
                <a:cubicBezTo>
                  <a:pt x="95" y="11"/>
                  <a:pt x="95" y="11"/>
                  <a:pt x="95" y="11"/>
                </a:cubicBezTo>
                <a:cubicBezTo>
                  <a:pt x="97" y="8"/>
                  <a:pt x="96" y="4"/>
                  <a:pt x="94" y="2"/>
                </a:cubicBezTo>
                <a:cubicBezTo>
                  <a:pt x="91" y="0"/>
                  <a:pt x="87" y="1"/>
                  <a:pt x="85" y="3"/>
                </a:cubicBezTo>
                <a:cubicBezTo>
                  <a:pt x="71" y="21"/>
                  <a:pt x="71" y="21"/>
                  <a:pt x="71" y="21"/>
                </a:cubicBezTo>
                <a:cubicBezTo>
                  <a:pt x="70" y="20"/>
                  <a:pt x="68" y="19"/>
                  <a:pt x="67" y="18"/>
                </a:cubicBezTo>
                <a:cubicBezTo>
                  <a:pt x="64" y="17"/>
                  <a:pt x="60" y="15"/>
                  <a:pt x="56" y="14"/>
                </a:cubicBezTo>
                <a:cubicBezTo>
                  <a:pt x="56" y="3"/>
                  <a:pt x="56" y="3"/>
                  <a:pt x="56" y="3"/>
                </a:cubicBezTo>
                <a:cubicBezTo>
                  <a:pt x="56" y="2"/>
                  <a:pt x="55" y="1"/>
                  <a:pt x="54" y="1"/>
                </a:cubicBezTo>
                <a:cubicBezTo>
                  <a:pt x="42" y="1"/>
                  <a:pt x="42" y="1"/>
                  <a:pt x="42" y="1"/>
                </a:cubicBezTo>
                <a:cubicBezTo>
                  <a:pt x="41" y="1"/>
                  <a:pt x="40" y="2"/>
                  <a:pt x="40" y="3"/>
                </a:cubicBezTo>
                <a:cubicBezTo>
                  <a:pt x="40" y="14"/>
                  <a:pt x="40" y="14"/>
                  <a:pt x="40" y="14"/>
                </a:cubicBezTo>
                <a:cubicBezTo>
                  <a:pt x="37" y="15"/>
                  <a:pt x="33" y="16"/>
                  <a:pt x="31" y="18"/>
                </a:cubicBezTo>
                <a:cubicBezTo>
                  <a:pt x="23" y="9"/>
                  <a:pt x="23" y="9"/>
                  <a:pt x="23" y="9"/>
                </a:cubicBezTo>
                <a:cubicBezTo>
                  <a:pt x="22" y="9"/>
                  <a:pt x="20" y="9"/>
                  <a:pt x="20" y="9"/>
                </a:cubicBezTo>
                <a:cubicBezTo>
                  <a:pt x="8" y="21"/>
                  <a:pt x="8" y="21"/>
                  <a:pt x="8" y="21"/>
                </a:cubicBezTo>
                <a:cubicBezTo>
                  <a:pt x="8" y="21"/>
                  <a:pt x="8" y="22"/>
                  <a:pt x="8" y="22"/>
                </a:cubicBezTo>
                <a:cubicBezTo>
                  <a:pt x="8" y="23"/>
                  <a:pt x="8" y="23"/>
                  <a:pt x="8" y="24"/>
                </a:cubicBezTo>
                <a:cubicBezTo>
                  <a:pt x="17" y="32"/>
                  <a:pt x="17" y="32"/>
                  <a:pt x="17" y="32"/>
                </a:cubicBezTo>
                <a:cubicBezTo>
                  <a:pt x="15" y="34"/>
                  <a:pt x="14" y="38"/>
                  <a:pt x="13" y="41"/>
                </a:cubicBezTo>
                <a:cubicBezTo>
                  <a:pt x="2" y="41"/>
                  <a:pt x="2" y="41"/>
                  <a:pt x="2" y="41"/>
                </a:cubicBezTo>
                <a:cubicBezTo>
                  <a:pt x="1" y="41"/>
                  <a:pt x="0" y="42"/>
                  <a:pt x="0" y="43"/>
                </a:cubicBezTo>
                <a:cubicBezTo>
                  <a:pt x="0" y="55"/>
                  <a:pt x="0" y="55"/>
                  <a:pt x="0" y="55"/>
                </a:cubicBezTo>
                <a:cubicBezTo>
                  <a:pt x="0" y="56"/>
                  <a:pt x="1" y="57"/>
                  <a:pt x="2" y="57"/>
                </a:cubicBezTo>
                <a:cubicBezTo>
                  <a:pt x="13" y="57"/>
                  <a:pt x="13" y="57"/>
                  <a:pt x="13" y="57"/>
                </a:cubicBezTo>
                <a:cubicBezTo>
                  <a:pt x="14" y="60"/>
                  <a:pt x="15" y="64"/>
                  <a:pt x="17" y="66"/>
                </a:cubicBezTo>
                <a:cubicBezTo>
                  <a:pt x="8" y="74"/>
                  <a:pt x="8" y="74"/>
                  <a:pt x="8" y="74"/>
                </a:cubicBezTo>
                <a:cubicBezTo>
                  <a:pt x="8" y="75"/>
                  <a:pt x="8" y="75"/>
                  <a:pt x="8" y="76"/>
                </a:cubicBezTo>
                <a:cubicBezTo>
                  <a:pt x="8" y="76"/>
                  <a:pt x="8" y="77"/>
                  <a:pt x="8" y="77"/>
                </a:cubicBezTo>
                <a:cubicBezTo>
                  <a:pt x="20" y="89"/>
                  <a:pt x="20" y="89"/>
                  <a:pt x="20" y="89"/>
                </a:cubicBezTo>
                <a:cubicBezTo>
                  <a:pt x="20" y="89"/>
                  <a:pt x="22" y="89"/>
                  <a:pt x="23" y="89"/>
                </a:cubicBezTo>
                <a:cubicBezTo>
                  <a:pt x="31" y="80"/>
                  <a:pt x="31" y="80"/>
                  <a:pt x="31" y="80"/>
                </a:cubicBezTo>
                <a:cubicBezTo>
                  <a:pt x="33" y="82"/>
                  <a:pt x="37" y="83"/>
                  <a:pt x="40" y="84"/>
                </a:cubicBezTo>
                <a:cubicBezTo>
                  <a:pt x="40" y="95"/>
                  <a:pt x="40" y="95"/>
                  <a:pt x="40" y="95"/>
                </a:cubicBezTo>
                <a:cubicBezTo>
                  <a:pt x="40" y="96"/>
                  <a:pt x="41" y="97"/>
                  <a:pt x="42" y="97"/>
                </a:cubicBezTo>
                <a:cubicBezTo>
                  <a:pt x="54" y="97"/>
                  <a:pt x="54" y="97"/>
                  <a:pt x="54" y="97"/>
                </a:cubicBezTo>
                <a:cubicBezTo>
                  <a:pt x="55" y="97"/>
                  <a:pt x="56" y="96"/>
                  <a:pt x="56" y="95"/>
                </a:cubicBezTo>
                <a:cubicBezTo>
                  <a:pt x="56" y="84"/>
                  <a:pt x="56" y="84"/>
                  <a:pt x="56" y="84"/>
                </a:cubicBezTo>
                <a:cubicBezTo>
                  <a:pt x="59" y="83"/>
                  <a:pt x="63" y="82"/>
                  <a:pt x="65" y="80"/>
                </a:cubicBezTo>
                <a:cubicBezTo>
                  <a:pt x="73" y="89"/>
                  <a:pt x="73" y="89"/>
                  <a:pt x="73" y="89"/>
                </a:cubicBezTo>
                <a:cubicBezTo>
                  <a:pt x="74" y="89"/>
                  <a:pt x="76" y="89"/>
                  <a:pt x="76" y="89"/>
                </a:cubicBezTo>
                <a:cubicBezTo>
                  <a:pt x="88" y="77"/>
                  <a:pt x="88" y="77"/>
                  <a:pt x="88" y="77"/>
                </a:cubicBezTo>
                <a:cubicBezTo>
                  <a:pt x="88" y="77"/>
                  <a:pt x="88" y="75"/>
                  <a:pt x="88" y="74"/>
                </a:cubicBezTo>
                <a:cubicBezTo>
                  <a:pt x="79" y="66"/>
                  <a:pt x="79" y="66"/>
                  <a:pt x="79" y="66"/>
                </a:cubicBezTo>
                <a:cubicBezTo>
                  <a:pt x="81" y="64"/>
                  <a:pt x="82" y="60"/>
                  <a:pt x="83" y="57"/>
                </a:cubicBezTo>
                <a:cubicBezTo>
                  <a:pt x="94" y="57"/>
                  <a:pt x="94" y="57"/>
                  <a:pt x="94" y="57"/>
                </a:cubicBezTo>
                <a:cubicBezTo>
                  <a:pt x="95" y="57"/>
                  <a:pt x="96" y="56"/>
                  <a:pt x="96" y="55"/>
                </a:cubicBezTo>
                <a:cubicBezTo>
                  <a:pt x="96" y="43"/>
                  <a:pt x="96" y="43"/>
                  <a:pt x="96" y="43"/>
                </a:cubicBezTo>
                <a:cubicBezTo>
                  <a:pt x="96" y="42"/>
                  <a:pt x="95" y="41"/>
                  <a:pt x="94" y="41"/>
                </a:cubicBezTo>
                <a:close/>
                <a:moveTo>
                  <a:pt x="51" y="60"/>
                </a:moveTo>
                <a:cubicBezTo>
                  <a:pt x="50" y="60"/>
                  <a:pt x="50" y="60"/>
                  <a:pt x="49" y="60"/>
                </a:cubicBezTo>
                <a:cubicBezTo>
                  <a:pt x="49" y="61"/>
                  <a:pt x="49" y="61"/>
                  <a:pt x="49" y="61"/>
                </a:cubicBezTo>
                <a:cubicBezTo>
                  <a:pt x="49" y="61"/>
                  <a:pt x="48" y="60"/>
                  <a:pt x="48" y="60"/>
                </a:cubicBezTo>
                <a:cubicBezTo>
                  <a:pt x="30" y="42"/>
                  <a:pt x="30" y="42"/>
                  <a:pt x="30" y="42"/>
                </a:cubicBezTo>
                <a:cubicBezTo>
                  <a:pt x="29" y="41"/>
                  <a:pt x="29" y="40"/>
                  <a:pt x="30" y="39"/>
                </a:cubicBezTo>
                <a:cubicBezTo>
                  <a:pt x="31" y="38"/>
                  <a:pt x="32" y="38"/>
                  <a:pt x="33" y="39"/>
                </a:cubicBezTo>
                <a:cubicBezTo>
                  <a:pt x="49" y="56"/>
                  <a:pt x="49" y="56"/>
                  <a:pt x="49" y="56"/>
                </a:cubicBezTo>
                <a:cubicBezTo>
                  <a:pt x="88" y="6"/>
                  <a:pt x="88" y="6"/>
                  <a:pt x="88" y="6"/>
                </a:cubicBezTo>
                <a:cubicBezTo>
                  <a:pt x="89" y="5"/>
                  <a:pt x="90" y="5"/>
                  <a:pt x="91" y="5"/>
                </a:cubicBezTo>
                <a:cubicBezTo>
                  <a:pt x="92" y="6"/>
                  <a:pt x="92" y="7"/>
                  <a:pt x="92" y="8"/>
                </a:cubicBezTo>
                <a:lnTo>
                  <a:pt x="51" y="6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Arial"/>
              <a:cs typeface="+mn-cs"/>
            </a:endParaRPr>
          </a:p>
        </p:txBody>
      </p:sp>
      <p:grpSp>
        <p:nvGrpSpPr>
          <p:cNvPr id="89" name="Group 344">
            <a:extLst>
              <a:ext uri="{FF2B5EF4-FFF2-40B4-BE49-F238E27FC236}">
                <a16:creationId xmlns:a16="http://schemas.microsoft.com/office/drawing/2014/main" id="{3939DB14-238C-4361-8CD9-4CF436E1B452}"/>
              </a:ext>
            </a:extLst>
          </p:cNvPr>
          <p:cNvGrpSpPr/>
          <p:nvPr/>
        </p:nvGrpSpPr>
        <p:grpSpPr>
          <a:xfrm>
            <a:off x="7358610" y="3304418"/>
            <a:ext cx="269391" cy="258269"/>
            <a:chOff x="4119563" y="2901951"/>
            <a:chExt cx="346075" cy="331788"/>
          </a:xfrm>
          <a:solidFill>
            <a:schemeClr val="bg1"/>
          </a:solidFill>
        </p:grpSpPr>
        <p:sp>
          <p:nvSpPr>
            <p:cNvPr id="90" name="Freeform 146">
              <a:extLst>
                <a:ext uri="{FF2B5EF4-FFF2-40B4-BE49-F238E27FC236}">
                  <a16:creationId xmlns:a16="http://schemas.microsoft.com/office/drawing/2014/main" id="{5AA736EF-8FE5-4D7F-BC55-19A52378D285}"/>
                </a:ext>
              </a:extLst>
            </p:cNvPr>
            <p:cNvSpPr>
              <a:spLocks/>
            </p:cNvSpPr>
            <p:nvPr/>
          </p:nvSpPr>
          <p:spPr bwMode="auto">
            <a:xfrm>
              <a:off x="4360863" y="3052763"/>
              <a:ext cx="104775" cy="150813"/>
            </a:xfrm>
            <a:custGeom>
              <a:avLst/>
              <a:gdLst>
                <a:gd name="T0" fmla="*/ 17 w 28"/>
                <a:gd name="T1" fmla="*/ 22 h 40"/>
                <a:gd name="T2" fmla="*/ 22 w 28"/>
                <a:gd name="T3" fmla="*/ 12 h 40"/>
                <a:gd name="T4" fmla="*/ 10 w 28"/>
                <a:gd name="T5" fmla="*/ 0 h 40"/>
                <a:gd name="T6" fmla="*/ 2 w 28"/>
                <a:gd name="T7" fmla="*/ 3 h 40"/>
                <a:gd name="T8" fmla="*/ 2 w 28"/>
                <a:gd name="T9" fmla="*/ 8 h 40"/>
                <a:gd name="T10" fmla="*/ 0 w 28"/>
                <a:gd name="T11" fmla="*/ 18 h 40"/>
                <a:gd name="T12" fmla="*/ 3 w 28"/>
                <a:gd name="T13" fmla="*/ 22 h 40"/>
                <a:gd name="T14" fmla="*/ 0 w 28"/>
                <a:gd name="T15" fmla="*/ 23 h 40"/>
                <a:gd name="T16" fmla="*/ 10 w 28"/>
                <a:gd name="T17" fmla="*/ 40 h 40"/>
                <a:gd name="T18" fmla="*/ 26 w 28"/>
                <a:gd name="T19" fmla="*/ 40 h 40"/>
                <a:gd name="T20" fmla="*/ 28 w 28"/>
                <a:gd name="T21" fmla="*/ 38 h 40"/>
                <a:gd name="T22" fmla="*/ 17 w 28"/>
                <a:gd name="T23"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 h="40">
                  <a:moveTo>
                    <a:pt x="17" y="22"/>
                  </a:moveTo>
                  <a:cubicBezTo>
                    <a:pt x="20" y="19"/>
                    <a:pt x="22" y="16"/>
                    <a:pt x="22" y="12"/>
                  </a:cubicBezTo>
                  <a:cubicBezTo>
                    <a:pt x="22" y="5"/>
                    <a:pt x="17" y="0"/>
                    <a:pt x="10" y="0"/>
                  </a:cubicBezTo>
                  <a:cubicBezTo>
                    <a:pt x="7" y="0"/>
                    <a:pt x="4" y="1"/>
                    <a:pt x="2" y="3"/>
                  </a:cubicBezTo>
                  <a:cubicBezTo>
                    <a:pt x="2" y="5"/>
                    <a:pt x="2" y="7"/>
                    <a:pt x="2" y="8"/>
                  </a:cubicBezTo>
                  <a:cubicBezTo>
                    <a:pt x="2" y="12"/>
                    <a:pt x="1" y="15"/>
                    <a:pt x="0" y="18"/>
                  </a:cubicBezTo>
                  <a:cubicBezTo>
                    <a:pt x="1" y="19"/>
                    <a:pt x="2" y="21"/>
                    <a:pt x="3" y="22"/>
                  </a:cubicBezTo>
                  <a:cubicBezTo>
                    <a:pt x="2" y="22"/>
                    <a:pt x="1" y="23"/>
                    <a:pt x="0" y="23"/>
                  </a:cubicBezTo>
                  <a:cubicBezTo>
                    <a:pt x="5" y="27"/>
                    <a:pt x="9" y="33"/>
                    <a:pt x="10" y="40"/>
                  </a:cubicBezTo>
                  <a:cubicBezTo>
                    <a:pt x="26" y="40"/>
                    <a:pt x="26" y="40"/>
                    <a:pt x="26" y="40"/>
                  </a:cubicBezTo>
                  <a:cubicBezTo>
                    <a:pt x="27" y="40"/>
                    <a:pt x="28" y="39"/>
                    <a:pt x="28" y="38"/>
                  </a:cubicBezTo>
                  <a:cubicBezTo>
                    <a:pt x="28" y="31"/>
                    <a:pt x="24" y="24"/>
                    <a:pt x="17"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Arial"/>
                <a:cs typeface="+mn-cs"/>
              </a:endParaRPr>
            </a:p>
          </p:txBody>
        </p:sp>
        <p:sp>
          <p:nvSpPr>
            <p:cNvPr id="91" name="Freeform 147">
              <a:extLst>
                <a:ext uri="{FF2B5EF4-FFF2-40B4-BE49-F238E27FC236}">
                  <a16:creationId xmlns:a16="http://schemas.microsoft.com/office/drawing/2014/main" id="{122B3B74-56CF-47CB-B54D-61717938BE89}"/>
                </a:ext>
              </a:extLst>
            </p:cNvPr>
            <p:cNvSpPr>
              <a:spLocks/>
            </p:cNvSpPr>
            <p:nvPr/>
          </p:nvSpPr>
          <p:spPr bwMode="auto">
            <a:xfrm>
              <a:off x="4119563" y="3052763"/>
              <a:ext cx="106363" cy="150813"/>
            </a:xfrm>
            <a:custGeom>
              <a:avLst/>
              <a:gdLst>
                <a:gd name="T0" fmla="*/ 28 w 28"/>
                <a:gd name="T1" fmla="*/ 23 h 40"/>
                <a:gd name="T2" fmla="*/ 25 w 28"/>
                <a:gd name="T3" fmla="*/ 22 h 40"/>
                <a:gd name="T4" fmla="*/ 28 w 28"/>
                <a:gd name="T5" fmla="*/ 18 h 40"/>
                <a:gd name="T6" fmla="*/ 26 w 28"/>
                <a:gd name="T7" fmla="*/ 8 h 40"/>
                <a:gd name="T8" fmla="*/ 26 w 28"/>
                <a:gd name="T9" fmla="*/ 3 h 40"/>
                <a:gd name="T10" fmla="*/ 18 w 28"/>
                <a:gd name="T11" fmla="*/ 0 h 40"/>
                <a:gd name="T12" fmla="*/ 6 w 28"/>
                <a:gd name="T13" fmla="*/ 12 h 40"/>
                <a:gd name="T14" fmla="*/ 11 w 28"/>
                <a:gd name="T15" fmla="*/ 22 h 40"/>
                <a:gd name="T16" fmla="*/ 0 w 28"/>
                <a:gd name="T17" fmla="*/ 38 h 40"/>
                <a:gd name="T18" fmla="*/ 2 w 28"/>
                <a:gd name="T19" fmla="*/ 40 h 40"/>
                <a:gd name="T20" fmla="*/ 18 w 28"/>
                <a:gd name="T21" fmla="*/ 40 h 40"/>
                <a:gd name="T22" fmla="*/ 28 w 28"/>
                <a:gd name="T23" fmla="*/ 2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 h="40">
                  <a:moveTo>
                    <a:pt x="28" y="23"/>
                  </a:moveTo>
                  <a:cubicBezTo>
                    <a:pt x="27" y="23"/>
                    <a:pt x="26" y="22"/>
                    <a:pt x="25" y="22"/>
                  </a:cubicBezTo>
                  <a:cubicBezTo>
                    <a:pt x="26" y="21"/>
                    <a:pt x="27" y="19"/>
                    <a:pt x="28" y="18"/>
                  </a:cubicBezTo>
                  <a:cubicBezTo>
                    <a:pt x="27" y="15"/>
                    <a:pt x="26" y="12"/>
                    <a:pt x="26" y="8"/>
                  </a:cubicBezTo>
                  <a:cubicBezTo>
                    <a:pt x="26" y="7"/>
                    <a:pt x="26" y="5"/>
                    <a:pt x="26" y="3"/>
                  </a:cubicBezTo>
                  <a:cubicBezTo>
                    <a:pt x="24" y="1"/>
                    <a:pt x="21" y="0"/>
                    <a:pt x="18" y="0"/>
                  </a:cubicBezTo>
                  <a:cubicBezTo>
                    <a:pt x="11" y="0"/>
                    <a:pt x="6" y="5"/>
                    <a:pt x="6" y="12"/>
                  </a:cubicBezTo>
                  <a:cubicBezTo>
                    <a:pt x="6" y="16"/>
                    <a:pt x="8" y="19"/>
                    <a:pt x="11" y="22"/>
                  </a:cubicBezTo>
                  <a:cubicBezTo>
                    <a:pt x="4" y="24"/>
                    <a:pt x="0" y="31"/>
                    <a:pt x="0" y="38"/>
                  </a:cubicBezTo>
                  <a:cubicBezTo>
                    <a:pt x="0" y="39"/>
                    <a:pt x="1" y="40"/>
                    <a:pt x="2" y="40"/>
                  </a:cubicBezTo>
                  <a:cubicBezTo>
                    <a:pt x="18" y="40"/>
                    <a:pt x="18" y="40"/>
                    <a:pt x="18" y="40"/>
                  </a:cubicBezTo>
                  <a:cubicBezTo>
                    <a:pt x="19" y="33"/>
                    <a:pt x="23" y="27"/>
                    <a:pt x="28"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Arial"/>
                <a:cs typeface="+mn-cs"/>
              </a:endParaRPr>
            </a:p>
          </p:txBody>
        </p:sp>
        <p:sp>
          <p:nvSpPr>
            <p:cNvPr id="92" name="Freeform 148">
              <a:extLst>
                <a:ext uri="{FF2B5EF4-FFF2-40B4-BE49-F238E27FC236}">
                  <a16:creationId xmlns:a16="http://schemas.microsoft.com/office/drawing/2014/main" id="{697EA8AC-3D15-46DE-8791-1A4D033D5F00}"/>
                </a:ext>
              </a:extLst>
            </p:cNvPr>
            <p:cNvSpPr>
              <a:spLocks/>
            </p:cNvSpPr>
            <p:nvPr/>
          </p:nvSpPr>
          <p:spPr bwMode="auto">
            <a:xfrm>
              <a:off x="4206875" y="2978151"/>
              <a:ext cx="173038" cy="52388"/>
            </a:xfrm>
            <a:custGeom>
              <a:avLst/>
              <a:gdLst>
                <a:gd name="T0" fmla="*/ 2 w 46"/>
                <a:gd name="T1" fmla="*/ 14 h 14"/>
                <a:gd name="T2" fmla="*/ 1 w 46"/>
                <a:gd name="T3" fmla="*/ 14 h 14"/>
                <a:gd name="T4" fmla="*/ 1 w 46"/>
                <a:gd name="T5" fmla="*/ 11 h 14"/>
                <a:gd name="T6" fmla="*/ 23 w 46"/>
                <a:gd name="T7" fmla="*/ 0 h 14"/>
                <a:gd name="T8" fmla="*/ 45 w 46"/>
                <a:gd name="T9" fmla="*/ 11 h 14"/>
                <a:gd name="T10" fmla="*/ 45 w 46"/>
                <a:gd name="T11" fmla="*/ 14 h 14"/>
                <a:gd name="T12" fmla="*/ 42 w 46"/>
                <a:gd name="T13" fmla="*/ 13 h 14"/>
                <a:gd name="T14" fmla="*/ 23 w 46"/>
                <a:gd name="T15" fmla="*/ 4 h 14"/>
                <a:gd name="T16" fmla="*/ 4 w 46"/>
                <a:gd name="T17" fmla="*/ 13 h 14"/>
                <a:gd name="T18" fmla="*/ 2 w 46"/>
                <a:gd name="T19"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6" h="14">
                  <a:moveTo>
                    <a:pt x="2" y="14"/>
                  </a:moveTo>
                  <a:cubicBezTo>
                    <a:pt x="2" y="14"/>
                    <a:pt x="2" y="14"/>
                    <a:pt x="1" y="14"/>
                  </a:cubicBezTo>
                  <a:cubicBezTo>
                    <a:pt x="0" y="13"/>
                    <a:pt x="0" y="12"/>
                    <a:pt x="1" y="11"/>
                  </a:cubicBezTo>
                  <a:cubicBezTo>
                    <a:pt x="6" y="4"/>
                    <a:pt x="14" y="0"/>
                    <a:pt x="23" y="0"/>
                  </a:cubicBezTo>
                  <a:cubicBezTo>
                    <a:pt x="32" y="0"/>
                    <a:pt x="40" y="4"/>
                    <a:pt x="45" y="11"/>
                  </a:cubicBezTo>
                  <a:cubicBezTo>
                    <a:pt x="46" y="12"/>
                    <a:pt x="46" y="13"/>
                    <a:pt x="45" y="14"/>
                  </a:cubicBezTo>
                  <a:cubicBezTo>
                    <a:pt x="44" y="14"/>
                    <a:pt x="43" y="14"/>
                    <a:pt x="42" y="13"/>
                  </a:cubicBezTo>
                  <a:cubicBezTo>
                    <a:pt x="37" y="7"/>
                    <a:pt x="30" y="4"/>
                    <a:pt x="23" y="4"/>
                  </a:cubicBezTo>
                  <a:cubicBezTo>
                    <a:pt x="16" y="4"/>
                    <a:pt x="9" y="7"/>
                    <a:pt x="4" y="13"/>
                  </a:cubicBezTo>
                  <a:cubicBezTo>
                    <a:pt x="4" y="14"/>
                    <a:pt x="3" y="14"/>
                    <a:pt x="2"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Arial"/>
                <a:cs typeface="+mn-cs"/>
              </a:endParaRPr>
            </a:p>
          </p:txBody>
        </p:sp>
        <p:sp>
          <p:nvSpPr>
            <p:cNvPr id="93" name="Freeform 149">
              <a:extLst>
                <a:ext uri="{FF2B5EF4-FFF2-40B4-BE49-F238E27FC236}">
                  <a16:creationId xmlns:a16="http://schemas.microsoft.com/office/drawing/2014/main" id="{0528A460-3601-4662-8D79-3C3A8058D3B6}"/>
                </a:ext>
              </a:extLst>
            </p:cNvPr>
            <p:cNvSpPr>
              <a:spLocks/>
            </p:cNvSpPr>
            <p:nvPr/>
          </p:nvSpPr>
          <p:spPr bwMode="auto">
            <a:xfrm>
              <a:off x="4179888" y="2940051"/>
              <a:ext cx="225425" cy="68263"/>
            </a:xfrm>
            <a:custGeom>
              <a:avLst/>
              <a:gdLst>
                <a:gd name="T0" fmla="*/ 2 w 60"/>
                <a:gd name="T1" fmla="*/ 17 h 18"/>
                <a:gd name="T2" fmla="*/ 1 w 60"/>
                <a:gd name="T3" fmla="*/ 17 h 18"/>
                <a:gd name="T4" fmla="*/ 0 w 60"/>
                <a:gd name="T5" fmla="*/ 14 h 18"/>
                <a:gd name="T6" fmla="*/ 30 w 60"/>
                <a:gd name="T7" fmla="*/ 0 h 18"/>
                <a:gd name="T8" fmla="*/ 60 w 60"/>
                <a:gd name="T9" fmla="*/ 14 h 18"/>
                <a:gd name="T10" fmla="*/ 59 w 60"/>
                <a:gd name="T11" fmla="*/ 17 h 18"/>
                <a:gd name="T12" fmla="*/ 56 w 60"/>
                <a:gd name="T13" fmla="*/ 17 h 18"/>
                <a:gd name="T14" fmla="*/ 30 w 60"/>
                <a:gd name="T15" fmla="*/ 4 h 18"/>
                <a:gd name="T16" fmla="*/ 4 w 60"/>
                <a:gd name="T17" fmla="*/ 17 h 18"/>
                <a:gd name="T18" fmla="*/ 2 w 60"/>
                <a:gd name="T19" fmla="*/ 17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18">
                  <a:moveTo>
                    <a:pt x="2" y="17"/>
                  </a:moveTo>
                  <a:cubicBezTo>
                    <a:pt x="2" y="17"/>
                    <a:pt x="1" y="17"/>
                    <a:pt x="1" y="17"/>
                  </a:cubicBezTo>
                  <a:cubicBezTo>
                    <a:pt x="0" y="16"/>
                    <a:pt x="0" y="15"/>
                    <a:pt x="0" y="14"/>
                  </a:cubicBezTo>
                  <a:cubicBezTo>
                    <a:pt x="8" y="5"/>
                    <a:pt x="18" y="0"/>
                    <a:pt x="30" y="0"/>
                  </a:cubicBezTo>
                  <a:cubicBezTo>
                    <a:pt x="42" y="0"/>
                    <a:pt x="52" y="5"/>
                    <a:pt x="60" y="14"/>
                  </a:cubicBezTo>
                  <a:cubicBezTo>
                    <a:pt x="60" y="15"/>
                    <a:pt x="60" y="16"/>
                    <a:pt x="59" y="17"/>
                  </a:cubicBezTo>
                  <a:cubicBezTo>
                    <a:pt x="58" y="18"/>
                    <a:pt x="57" y="17"/>
                    <a:pt x="56" y="17"/>
                  </a:cubicBezTo>
                  <a:cubicBezTo>
                    <a:pt x="50" y="9"/>
                    <a:pt x="40" y="4"/>
                    <a:pt x="30" y="4"/>
                  </a:cubicBezTo>
                  <a:cubicBezTo>
                    <a:pt x="20" y="4"/>
                    <a:pt x="10" y="9"/>
                    <a:pt x="4" y="17"/>
                  </a:cubicBezTo>
                  <a:cubicBezTo>
                    <a:pt x="3" y="17"/>
                    <a:pt x="3" y="17"/>
                    <a:pt x="2"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Arial"/>
                <a:cs typeface="+mn-cs"/>
              </a:endParaRPr>
            </a:p>
          </p:txBody>
        </p:sp>
        <p:sp>
          <p:nvSpPr>
            <p:cNvPr id="94" name="Freeform 150">
              <a:extLst>
                <a:ext uri="{FF2B5EF4-FFF2-40B4-BE49-F238E27FC236}">
                  <a16:creationId xmlns:a16="http://schemas.microsoft.com/office/drawing/2014/main" id="{1483F4C6-2866-40B8-94A9-93A1AEAA6DDE}"/>
                </a:ext>
              </a:extLst>
            </p:cNvPr>
            <p:cNvSpPr>
              <a:spLocks/>
            </p:cNvSpPr>
            <p:nvPr/>
          </p:nvSpPr>
          <p:spPr bwMode="auto">
            <a:xfrm>
              <a:off x="4149725" y="2901951"/>
              <a:ext cx="285750" cy="84138"/>
            </a:xfrm>
            <a:custGeom>
              <a:avLst/>
              <a:gdLst>
                <a:gd name="T0" fmla="*/ 74 w 76"/>
                <a:gd name="T1" fmla="*/ 21 h 22"/>
                <a:gd name="T2" fmla="*/ 73 w 76"/>
                <a:gd name="T3" fmla="*/ 21 h 22"/>
                <a:gd name="T4" fmla="*/ 38 w 76"/>
                <a:gd name="T5" fmla="*/ 4 h 22"/>
                <a:gd name="T6" fmla="*/ 4 w 76"/>
                <a:gd name="T7" fmla="*/ 21 h 22"/>
                <a:gd name="T8" fmla="*/ 1 w 76"/>
                <a:gd name="T9" fmla="*/ 21 h 22"/>
                <a:gd name="T10" fmla="*/ 0 w 76"/>
                <a:gd name="T11" fmla="*/ 18 h 22"/>
                <a:gd name="T12" fmla="*/ 38 w 76"/>
                <a:gd name="T13" fmla="*/ 0 h 22"/>
                <a:gd name="T14" fmla="*/ 76 w 76"/>
                <a:gd name="T15" fmla="*/ 18 h 22"/>
                <a:gd name="T16" fmla="*/ 75 w 76"/>
                <a:gd name="T17" fmla="*/ 21 h 22"/>
                <a:gd name="T18" fmla="*/ 74 w 76"/>
                <a:gd name="T19" fmla="*/ 21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6" h="22">
                  <a:moveTo>
                    <a:pt x="74" y="21"/>
                  </a:moveTo>
                  <a:cubicBezTo>
                    <a:pt x="73" y="21"/>
                    <a:pt x="73" y="21"/>
                    <a:pt x="73" y="21"/>
                  </a:cubicBezTo>
                  <a:cubicBezTo>
                    <a:pt x="64" y="10"/>
                    <a:pt x="52" y="4"/>
                    <a:pt x="38" y="4"/>
                  </a:cubicBezTo>
                  <a:cubicBezTo>
                    <a:pt x="24" y="4"/>
                    <a:pt x="12" y="10"/>
                    <a:pt x="4" y="21"/>
                  </a:cubicBezTo>
                  <a:cubicBezTo>
                    <a:pt x="3" y="21"/>
                    <a:pt x="2" y="22"/>
                    <a:pt x="1" y="21"/>
                  </a:cubicBezTo>
                  <a:cubicBezTo>
                    <a:pt x="0" y="20"/>
                    <a:pt x="0" y="19"/>
                    <a:pt x="0" y="18"/>
                  </a:cubicBezTo>
                  <a:cubicBezTo>
                    <a:pt x="10" y="7"/>
                    <a:pt x="23" y="0"/>
                    <a:pt x="38" y="0"/>
                  </a:cubicBezTo>
                  <a:cubicBezTo>
                    <a:pt x="53" y="0"/>
                    <a:pt x="66" y="7"/>
                    <a:pt x="76" y="18"/>
                  </a:cubicBezTo>
                  <a:cubicBezTo>
                    <a:pt x="76" y="19"/>
                    <a:pt x="76" y="20"/>
                    <a:pt x="75" y="21"/>
                  </a:cubicBezTo>
                  <a:cubicBezTo>
                    <a:pt x="75" y="21"/>
                    <a:pt x="75" y="21"/>
                    <a:pt x="74"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Arial"/>
                <a:cs typeface="+mn-cs"/>
              </a:endParaRPr>
            </a:p>
          </p:txBody>
        </p:sp>
        <p:sp>
          <p:nvSpPr>
            <p:cNvPr id="95" name="Freeform 151">
              <a:extLst>
                <a:ext uri="{FF2B5EF4-FFF2-40B4-BE49-F238E27FC236}">
                  <a16:creationId xmlns:a16="http://schemas.microsoft.com/office/drawing/2014/main" id="{49567BBC-F846-4630-85DE-33C41F135B2D}"/>
                </a:ext>
              </a:extLst>
            </p:cNvPr>
            <p:cNvSpPr>
              <a:spLocks/>
            </p:cNvSpPr>
            <p:nvPr/>
          </p:nvSpPr>
          <p:spPr bwMode="auto">
            <a:xfrm>
              <a:off x="4198938" y="3022601"/>
              <a:ext cx="187325" cy="211138"/>
            </a:xfrm>
            <a:custGeom>
              <a:avLst/>
              <a:gdLst>
                <a:gd name="T0" fmla="*/ 50 w 50"/>
                <a:gd name="T1" fmla="*/ 53 h 56"/>
                <a:gd name="T2" fmla="*/ 34 w 50"/>
                <a:gd name="T3" fmla="*/ 30 h 56"/>
                <a:gd name="T4" fmla="*/ 41 w 50"/>
                <a:gd name="T5" fmla="*/ 16 h 56"/>
                <a:gd name="T6" fmla="*/ 25 w 50"/>
                <a:gd name="T7" fmla="*/ 0 h 56"/>
                <a:gd name="T8" fmla="*/ 9 w 50"/>
                <a:gd name="T9" fmla="*/ 16 h 56"/>
                <a:gd name="T10" fmla="*/ 16 w 50"/>
                <a:gd name="T11" fmla="*/ 30 h 56"/>
                <a:gd name="T12" fmla="*/ 0 w 50"/>
                <a:gd name="T13" fmla="*/ 54 h 56"/>
                <a:gd name="T14" fmla="*/ 2 w 50"/>
                <a:gd name="T15" fmla="*/ 56 h 56"/>
                <a:gd name="T16" fmla="*/ 48 w 50"/>
                <a:gd name="T17" fmla="*/ 56 h 56"/>
                <a:gd name="T18" fmla="*/ 48 w 50"/>
                <a:gd name="T19" fmla="*/ 56 h 56"/>
                <a:gd name="T20" fmla="*/ 50 w 50"/>
                <a:gd name="T21" fmla="*/ 54 h 56"/>
                <a:gd name="T22" fmla="*/ 50 w 50"/>
                <a:gd name="T23" fmla="*/ 53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 h="56">
                  <a:moveTo>
                    <a:pt x="50" y="53"/>
                  </a:moveTo>
                  <a:cubicBezTo>
                    <a:pt x="50" y="43"/>
                    <a:pt x="43" y="34"/>
                    <a:pt x="34" y="30"/>
                  </a:cubicBezTo>
                  <a:cubicBezTo>
                    <a:pt x="38" y="28"/>
                    <a:pt x="41" y="22"/>
                    <a:pt x="41" y="16"/>
                  </a:cubicBezTo>
                  <a:cubicBezTo>
                    <a:pt x="41" y="7"/>
                    <a:pt x="34" y="0"/>
                    <a:pt x="25" y="0"/>
                  </a:cubicBezTo>
                  <a:cubicBezTo>
                    <a:pt x="16" y="0"/>
                    <a:pt x="9" y="7"/>
                    <a:pt x="9" y="16"/>
                  </a:cubicBezTo>
                  <a:cubicBezTo>
                    <a:pt x="9" y="22"/>
                    <a:pt x="12" y="28"/>
                    <a:pt x="16" y="30"/>
                  </a:cubicBezTo>
                  <a:cubicBezTo>
                    <a:pt x="7" y="34"/>
                    <a:pt x="0" y="43"/>
                    <a:pt x="0" y="54"/>
                  </a:cubicBezTo>
                  <a:cubicBezTo>
                    <a:pt x="0" y="55"/>
                    <a:pt x="1" y="56"/>
                    <a:pt x="2" y="56"/>
                  </a:cubicBezTo>
                  <a:cubicBezTo>
                    <a:pt x="48" y="56"/>
                    <a:pt x="48" y="56"/>
                    <a:pt x="48" y="56"/>
                  </a:cubicBezTo>
                  <a:cubicBezTo>
                    <a:pt x="48" y="56"/>
                    <a:pt x="48" y="56"/>
                    <a:pt x="48" y="56"/>
                  </a:cubicBezTo>
                  <a:cubicBezTo>
                    <a:pt x="49" y="56"/>
                    <a:pt x="50" y="55"/>
                    <a:pt x="50" y="54"/>
                  </a:cubicBezTo>
                  <a:cubicBezTo>
                    <a:pt x="50" y="54"/>
                    <a:pt x="50" y="54"/>
                    <a:pt x="50" y="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Arial"/>
                <a:cs typeface="+mn-cs"/>
              </a:endParaRPr>
            </a:p>
          </p:txBody>
        </p:sp>
      </p:grpSp>
      <p:grpSp>
        <p:nvGrpSpPr>
          <p:cNvPr id="96" name="Group 353">
            <a:extLst>
              <a:ext uri="{FF2B5EF4-FFF2-40B4-BE49-F238E27FC236}">
                <a16:creationId xmlns:a16="http://schemas.microsoft.com/office/drawing/2014/main" id="{2338E394-657F-42AD-AC63-D33FEA34B23F}"/>
              </a:ext>
            </a:extLst>
          </p:cNvPr>
          <p:cNvGrpSpPr/>
          <p:nvPr/>
        </p:nvGrpSpPr>
        <p:grpSpPr>
          <a:xfrm>
            <a:off x="7355521" y="2656817"/>
            <a:ext cx="275568" cy="280510"/>
            <a:chOff x="8447088" y="3609976"/>
            <a:chExt cx="354013" cy="360362"/>
          </a:xfrm>
          <a:solidFill>
            <a:schemeClr val="bg1"/>
          </a:solidFill>
        </p:grpSpPr>
        <p:sp>
          <p:nvSpPr>
            <p:cNvPr id="97" name="Oval 161">
              <a:extLst>
                <a:ext uri="{FF2B5EF4-FFF2-40B4-BE49-F238E27FC236}">
                  <a16:creationId xmlns:a16="http://schemas.microsoft.com/office/drawing/2014/main" id="{C2ADE990-AD36-4857-AE2A-F021A8AAA0DF}"/>
                </a:ext>
              </a:extLst>
            </p:cNvPr>
            <p:cNvSpPr>
              <a:spLocks noChangeArrowheads="1"/>
            </p:cNvSpPr>
            <p:nvPr/>
          </p:nvSpPr>
          <p:spPr bwMode="auto">
            <a:xfrm>
              <a:off x="8477250" y="3609976"/>
              <a:ext cx="120650"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Arial"/>
                <a:cs typeface="+mn-cs"/>
              </a:endParaRPr>
            </a:p>
          </p:txBody>
        </p:sp>
        <p:sp>
          <p:nvSpPr>
            <p:cNvPr id="98" name="Freeform 162">
              <a:extLst>
                <a:ext uri="{FF2B5EF4-FFF2-40B4-BE49-F238E27FC236}">
                  <a16:creationId xmlns:a16="http://schemas.microsoft.com/office/drawing/2014/main" id="{E7405008-EFF0-438F-AF14-F5B168A91ACE}"/>
                </a:ext>
              </a:extLst>
            </p:cNvPr>
            <p:cNvSpPr>
              <a:spLocks/>
            </p:cNvSpPr>
            <p:nvPr/>
          </p:nvSpPr>
          <p:spPr bwMode="auto">
            <a:xfrm>
              <a:off x="8447088" y="3744913"/>
              <a:ext cx="180975" cy="225425"/>
            </a:xfrm>
            <a:custGeom>
              <a:avLst/>
              <a:gdLst>
                <a:gd name="T0" fmla="*/ 28 w 48"/>
                <a:gd name="T1" fmla="*/ 0 h 60"/>
                <a:gd name="T2" fmla="*/ 30 w 48"/>
                <a:gd name="T3" fmla="*/ 27 h 60"/>
                <a:gd name="T4" fmla="*/ 24 w 48"/>
                <a:gd name="T5" fmla="*/ 33 h 60"/>
                <a:gd name="T6" fmla="*/ 18 w 48"/>
                <a:gd name="T7" fmla="*/ 27 h 60"/>
                <a:gd name="T8" fmla="*/ 20 w 48"/>
                <a:gd name="T9" fmla="*/ 0 h 60"/>
                <a:gd name="T10" fmla="*/ 0 w 48"/>
                <a:gd name="T11" fmla="*/ 0 h 60"/>
                <a:gd name="T12" fmla="*/ 0 w 48"/>
                <a:gd name="T13" fmla="*/ 2 h 60"/>
                <a:gd name="T14" fmla="*/ 14 w 48"/>
                <a:gd name="T15" fmla="*/ 33 h 60"/>
                <a:gd name="T16" fmla="*/ 14 w 48"/>
                <a:gd name="T17" fmla="*/ 60 h 60"/>
                <a:gd name="T18" fmla="*/ 34 w 48"/>
                <a:gd name="T19" fmla="*/ 60 h 60"/>
                <a:gd name="T20" fmla="*/ 34 w 48"/>
                <a:gd name="T21" fmla="*/ 33 h 60"/>
                <a:gd name="T22" fmla="*/ 48 w 48"/>
                <a:gd name="T23" fmla="*/ 2 h 60"/>
                <a:gd name="T24" fmla="*/ 48 w 48"/>
                <a:gd name="T25" fmla="*/ 0 h 60"/>
                <a:gd name="T26" fmla="*/ 28 w 48"/>
                <a:gd name="T27"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60">
                  <a:moveTo>
                    <a:pt x="28" y="0"/>
                  </a:moveTo>
                  <a:cubicBezTo>
                    <a:pt x="30" y="27"/>
                    <a:pt x="30" y="27"/>
                    <a:pt x="30" y="27"/>
                  </a:cubicBezTo>
                  <a:cubicBezTo>
                    <a:pt x="24" y="33"/>
                    <a:pt x="24" y="33"/>
                    <a:pt x="24" y="33"/>
                  </a:cubicBezTo>
                  <a:cubicBezTo>
                    <a:pt x="18" y="27"/>
                    <a:pt x="18" y="27"/>
                    <a:pt x="18" y="27"/>
                  </a:cubicBezTo>
                  <a:cubicBezTo>
                    <a:pt x="20" y="0"/>
                    <a:pt x="20" y="0"/>
                    <a:pt x="20" y="0"/>
                  </a:cubicBezTo>
                  <a:cubicBezTo>
                    <a:pt x="0" y="0"/>
                    <a:pt x="0" y="0"/>
                    <a:pt x="0" y="0"/>
                  </a:cubicBezTo>
                  <a:cubicBezTo>
                    <a:pt x="0" y="2"/>
                    <a:pt x="0" y="2"/>
                    <a:pt x="0" y="2"/>
                  </a:cubicBezTo>
                  <a:cubicBezTo>
                    <a:pt x="0" y="16"/>
                    <a:pt x="5" y="27"/>
                    <a:pt x="14" y="33"/>
                  </a:cubicBezTo>
                  <a:cubicBezTo>
                    <a:pt x="14" y="60"/>
                    <a:pt x="14" y="60"/>
                    <a:pt x="14" y="60"/>
                  </a:cubicBezTo>
                  <a:cubicBezTo>
                    <a:pt x="34" y="60"/>
                    <a:pt x="34" y="60"/>
                    <a:pt x="34" y="60"/>
                  </a:cubicBezTo>
                  <a:cubicBezTo>
                    <a:pt x="34" y="33"/>
                    <a:pt x="34" y="33"/>
                    <a:pt x="34" y="33"/>
                  </a:cubicBezTo>
                  <a:cubicBezTo>
                    <a:pt x="43" y="27"/>
                    <a:pt x="48" y="16"/>
                    <a:pt x="48" y="2"/>
                  </a:cubicBezTo>
                  <a:cubicBezTo>
                    <a:pt x="48" y="0"/>
                    <a:pt x="48" y="0"/>
                    <a:pt x="48" y="0"/>
                  </a:cubicBezTo>
                  <a:lnTo>
                    <a:pt x="2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Arial"/>
                <a:cs typeface="+mn-cs"/>
              </a:endParaRPr>
            </a:p>
          </p:txBody>
        </p:sp>
        <p:sp>
          <p:nvSpPr>
            <p:cNvPr id="99" name="Freeform 163">
              <a:extLst>
                <a:ext uri="{FF2B5EF4-FFF2-40B4-BE49-F238E27FC236}">
                  <a16:creationId xmlns:a16="http://schemas.microsoft.com/office/drawing/2014/main" id="{5DAB3444-90E0-4ABF-A860-A4C0B328F90D}"/>
                </a:ext>
              </a:extLst>
            </p:cNvPr>
            <p:cNvSpPr>
              <a:spLocks noEditPoints="1"/>
            </p:cNvSpPr>
            <p:nvPr/>
          </p:nvSpPr>
          <p:spPr bwMode="auto">
            <a:xfrm>
              <a:off x="8583613" y="3624263"/>
              <a:ext cx="217488" cy="225425"/>
            </a:xfrm>
            <a:custGeom>
              <a:avLst/>
              <a:gdLst>
                <a:gd name="T0" fmla="*/ 4 w 58"/>
                <a:gd name="T1" fmla="*/ 0 h 60"/>
                <a:gd name="T2" fmla="*/ 8 w 58"/>
                <a:gd name="T3" fmla="*/ 12 h 60"/>
                <a:gd name="T4" fmla="*/ 0 w 58"/>
                <a:gd name="T5" fmla="*/ 28 h 60"/>
                <a:gd name="T6" fmla="*/ 16 w 58"/>
                <a:gd name="T7" fmla="*/ 28 h 60"/>
                <a:gd name="T8" fmla="*/ 16 w 58"/>
                <a:gd name="T9" fmla="*/ 34 h 60"/>
                <a:gd name="T10" fmla="*/ 9 w 58"/>
                <a:gd name="T11" fmla="*/ 60 h 60"/>
                <a:gd name="T12" fmla="*/ 58 w 58"/>
                <a:gd name="T13" fmla="*/ 60 h 60"/>
                <a:gd name="T14" fmla="*/ 58 w 58"/>
                <a:gd name="T15" fmla="*/ 0 h 60"/>
                <a:gd name="T16" fmla="*/ 4 w 58"/>
                <a:gd name="T17" fmla="*/ 0 h 60"/>
                <a:gd name="T18" fmla="*/ 50 w 58"/>
                <a:gd name="T19" fmla="*/ 50 h 60"/>
                <a:gd name="T20" fmla="*/ 48 w 58"/>
                <a:gd name="T21" fmla="*/ 52 h 60"/>
                <a:gd name="T22" fmla="*/ 48 w 58"/>
                <a:gd name="T23" fmla="*/ 52 h 60"/>
                <a:gd name="T24" fmla="*/ 48 w 58"/>
                <a:gd name="T25" fmla="*/ 52 h 60"/>
                <a:gd name="T26" fmla="*/ 24 w 58"/>
                <a:gd name="T27" fmla="*/ 52 h 60"/>
                <a:gd name="T28" fmla="*/ 22 w 58"/>
                <a:gd name="T29" fmla="*/ 50 h 60"/>
                <a:gd name="T30" fmla="*/ 24 w 58"/>
                <a:gd name="T31" fmla="*/ 48 h 60"/>
                <a:gd name="T32" fmla="*/ 30 w 58"/>
                <a:gd name="T33" fmla="*/ 48 h 60"/>
                <a:gd name="T34" fmla="*/ 30 w 58"/>
                <a:gd name="T35" fmla="*/ 34 h 60"/>
                <a:gd name="T36" fmla="*/ 32 w 58"/>
                <a:gd name="T37" fmla="*/ 32 h 60"/>
                <a:gd name="T38" fmla="*/ 34 w 58"/>
                <a:gd name="T39" fmla="*/ 34 h 60"/>
                <a:gd name="T40" fmla="*/ 34 w 58"/>
                <a:gd name="T41" fmla="*/ 48 h 60"/>
                <a:gd name="T42" fmla="*/ 38 w 58"/>
                <a:gd name="T43" fmla="*/ 48 h 60"/>
                <a:gd name="T44" fmla="*/ 38 w 58"/>
                <a:gd name="T45" fmla="*/ 26 h 60"/>
                <a:gd name="T46" fmla="*/ 40 w 58"/>
                <a:gd name="T47" fmla="*/ 24 h 60"/>
                <a:gd name="T48" fmla="*/ 42 w 58"/>
                <a:gd name="T49" fmla="*/ 26 h 60"/>
                <a:gd name="T50" fmla="*/ 42 w 58"/>
                <a:gd name="T51" fmla="*/ 48 h 60"/>
                <a:gd name="T52" fmla="*/ 46 w 58"/>
                <a:gd name="T53" fmla="*/ 48 h 60"/>
                <a:gd name="T54" fmla="*/ 46 w 58"/>
                <a:gd name="T55" fmla="*/ 14 h 60"/>
                <a:gd name="T56" fmla="*/ 48 w 58"/>
                <a:gd name="T57" fmla="*/ 12 h 60"/>
                <a:gd name="T58" fmla="*/ 50 w 58"/>
                <a:gd name="T59" fmla="*/ 14 h 60"/>
                <a:gd name="T60" fmla="*/ 50 w 58"/>
                <a:gd name="T61" fmla="*/ 5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58" h="60">
                  <a:moveTo>
                    <a:pt x="4" y="0"/>
                  </a:moveTo>
                  <a:cubicBezTo>
                    <a:pt x="7" y="3"/>
                    <a:pt x="8" y="7"/>
                    <a:pt x="8" y="12"/>
                  </a:cubicBezTo>
                  <a:cubicBezTo>
                    <a:pt x="8" y="19"/>
                    <a:pt x="5" y="24"/>
                    <a:pt x="0" y="28"/>
                  </a:cubicBezTo>
                  <a:cubicBezTo>
                    <a:pt x="16" y="28"/>
                    <a:pt x="16" y="28"/>
                    <a:pt x="16" y="28"/>
                  </a:cubicBezTo>
                  <a:cubicBezTo>
                    <a:pt x="16" y="34"/>
                    <a:pt x="16" y="34"/>
                    <a:pt x="16" y="34"/>
                  </a:cubicBezTo>
                  <a:cubicBezTo>
                    <a:pt x="16" y="44"/>
                    <a:pt x="14" y="53"/>
                    <a:pt x="9" y="60"/>
                  </a:cubicBezTo>
                  <a:cubicBezTo>
                    <a:pt x="58" y="60"/>
                    <a:pt x="58" y="60"/>
                    <a:pt x="58" y="60"/>
                  </a:cubicBezTo>
                  <a:cubicBezTo>
                    <a:pt x="58" y="0"/>
                    <a:pt x="58" y="0"/>
                    <a:pt x="58" y="0"/>
                  </a:cubicBezTo>
                  <a:lnTo>
                    <a:pt x="4" y="0"/>
                  </a:lnTo>
                  <a:close/>
                  <a:moveTo>
                    <a:pt x="50" y="50"/>
                  </a:moveTo>
                  <a:cubicBezTo>
                    <a:pt x="50" y="51"/>
                    <a:pt x="49" y="52"/>
                    <a:pt x="48" y="52"/>
                  </a:cubicBezTo>
                  <a:cubicBezTo>
                    <a:pt x="48" y="52"/>
                    <a:pt x="48" y="52"/>
                    <a:pt x="48" y="52"/>
                  </a:cubicBezTo>
                  <a:cubicBezTo>
                    <a:pt x="48" y="52"/>
                    <a:pt x="48" y="52"/>
                    <a:pt x="48" y="52"/>
                  </a:cubicBezTo>
                  <a:cubicBezTo>
                    <a:pt x="24" y="52"/>
                    <a:pt x="24" y="52"/>
                    <a:pt x="24" y="52"/>
                  </a:cubicBezTo>
                  <a:cubicBezTo>
                    <a:pt x="23" y="52"/>
                    <a:pt x="22" y="51"/>
                    <a:pt x="22" y="50"/>
                  </a:cubicBezTo>
                  <a:cubicBezTo>
                    <a:pt x="22" y="49"/>
                    <a:pt x="23" y="48"/>
                    <a:pt x="24" y="48"/>
                  </a:cubicBezTo>
                  <a:cubicBezTo>
                    <a:pt x="30" y="48"/>
                    <a:pt x="30" y="48"/>
                    <a:pt x="30" y="48"/>
                  </a:cubicBezTo>
                  <a:cubicBezTo>
                    <a:pt x="30" y="34"/>
                    <a:pt x="30" y="34"/>
                    <a:pt x="30" y="34"/>
                  </a:cubicBezTo>
                  <a:cubicBezTo>
                    <a:pt x="30" y="33"/>
                    <a:pt x="31" y="32"/>
                    <a:pt x="32" y="32"/>
                  </a:cubicBezTo>
                  <a:cubicBezTo>
                    <a:pt x="33" y="32"/>
                    <a:pt x="34" y="33"/>
                    <a:pt x="34" y="34"/>
                  </a:cubicBezTo>
                  <a:cubicBezTo>
                    <a:pt x="34" y="48"/>
                    <a:pt x="34" y="48"/>
                    <a:pt x="34" y="48"/>
                  </a:cubicBezTo>
                  <a:cubicBezTo>
                    <a:pt x="38" y="48"/>
                    <a:pt x="38" y="48"/>
                    <a:pt x="38" y="48"/>
                  </a:cubicBezTo>
                  <a:cubicBezTo>
                    <a:pt x="38" y="26"/>
                    <a:pt x="38" y="26"/>
                    <a:pt x="38" y="26"/>
                  </a:cubicBezTo>
                  <a:cubicBezTo>
                    <a:pt x="38" y="25"/>
                    <a:pt x="39" y="24"/>
                    <a:pt x="40" y="24"/>
                  </a:cubicBezTo>
                  <a:cubicBezTo>
                    <a:pt x="41" y="24"/>
                    <a:pt x="42" y="25"/>
                    <a:pt x="42" y="26"/>
                  </a:cubicBezTo>
                  <a:cubicBezTo>
                    <a:pt x="42" y="48"/>
                    <a:pt x="42" y="48"/>
                    <a:pt x="42" y="48"/>
                  </a:cubicBezTo>
                  <a:cubicBezTo>
                    <a:pt x="46" y="48"/>
                    <a:pt x="46" y="48"/>
                    <a:pt x="46" y="48"/>
                  </a:cubicBezTo>
                  <a:cubicBezTo>
                    <a:pt x="46" y="14"/>
                    <a:pt x="46" y="14"/>
                    <a:pt x="46" y="14"/>
                  </a:cubicBezTo>
                  <a:cubicBezTo>
                    <a:pt x="46" y="13"/>
                    <a:pt x="47" y="12"/>
                    <a:pt x="48" y="12"/>
                  </a:cubicBezTo>
                  <a:cubicBezTo>
                    <a:pt x="49" y="12"/>
                    <a:pt x="50" y="13"/>
                    <a:pt x="50" y="14"/>
                  </a:cubicBezTo>
                  <a:lnTo>
                    <a:pt x="50" y="5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Arial"/>
                <a:cs typeface="+mn-cs"/>
              </a:endParaRPr>
            </a:p>
          </p:txBody>
        </p:sp>
      </p:grpSp>
      <p:grpSp>
        <p:nvGrpSpPr>
          <p:cNvPr id="100" name="Group 9">
            <a:extLst>
              <a:ext uri="{FF2B5EF4-FFF2-40B4-BE49-F238E27FC236}">
                <a16:creationId xmlns:a16="http://schemas.microsoft.com/office/drawing/2014/main" id="{0F698AE7-D04D-47BD-873D-5D43F6778B39}"/>
              </a:ext>
            </a:extLst>
          </p:cNvPr>
          <p:cNvGrpSpPr/>
          <p:nvPr/>
        </p:nvGrpSpPr>
        <p:grpSpPr>
          <a:xfrm>
            <a:off x="8524147" y="2832795"/>
            <a:ext cx="2146369" cy="1192411"/>
            <a:chOff x="8598152" y="2668685"/>
            <a:chExt cx="2205547" cy="1225287"/>
          </a:xfrm>
        </p:grpSpPr>
        <p:sp>
          <p:nvSpPr>
            <p:cNvPr id="101" name="Rectangle 284">
              <a:extLst>
                <a:ext uri="{FF2B5EF4-FFF2-40B4-BE49-F238E27FC236}">
                  <a16:creationId xmlns:a16="http://schemas.microsoft.com/office/drawing/2014/main" id="{44B07DDC-2C7F-4B40-B429-D1CF94A47D39}"/>
                </a:ext>
              </a:extLst>
            </p:cNvPr>
            <p:cNvSpPr/>
            <p:nvPr/>
          </p:nvSpPr>
          <p:spPr>
            <a:xfrm>
              <a:off x="8598152" y="3247641"/>
              <a:ext cx="2205547" cy="646331"/>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FFFFF"/>
                  </a:solidFill>
                  <a:effectLst/>
                  <a:uLnTx/>
                  <a:uFillTx/>
                  <a:latin typeface="Gill Sans MT" panose="020B0502020104020203" pitchFamily="34" charset="0"/>
                  <a:cs typeface="Segoe UI" panose="020B0502040204020203" pitchFamily="34" charset="0"/>
                </a:rPr>
                <a:t>Lorem Ipsum is simply dummy text of the printing and typesetting industry.</a:t>
              </a:r>
            </a:p>
          </p:txBody>
        </p:sp>
        <p:grpSp>
          <p:nvGrpSpPr>
            <p:cNvPr id="102" name="Group 287">
              <a:extLst>
                <a:ext uri="{FF2B5EF4-FFF2-40B4-BE49-F238E27FC236}">
                  <a16:creationId xmlns:a16="http://schemas.microsoft.com/office/drawing/2014/main" id="{715F872A-64E6-459A-8BF0-94B81C95C5F3}"/>
                </a:ext>
              </a:extLst>
            </p:cNvPr>
            <p:cNvGrpSpPr/>
            <p:nvPr/>
          </p:nvGrpSpPr>
          <p:grpSpPr>
            <a:xfrm>
              <a:off x="8606391" y="2668685"/>
              <a:ext cx="438693" cy="444544"/>
              <a:chOff x="5554663" y="723900"/>
              <a:chExt cx="357187" cy="361951"/>
            </a:xfrm>
            <a:solidFill>
              <a:schemeClr val="bg1"/>
            </a:solidFill>
          </p:grpSpPr>
          <p:sp>
            <p:nvSpPr>
              <p:cNvPr id="104" name="Freeform 68">
                <a:extLst>
                  <a:ext uri="{FF2B5EF4-FFF2-40B4-BE49-F238E27FC236}">
                    <a16:creationId xmlns:a16="http://schemas.microsoft.com/office/drawing/2014/main" id="{79C6F2EF-D71D-4FDA-B439-0D7633661D55}"/>
                  </a:ext>
                </a:extLst>
              </p:cNvPr>
              <p:cNvSpPr>
                <a:spLocks/>
              </p:cNvSpPr>
              <p:nvPr/>
            </p:nvSpPr>
            <p:spPr bwMode="auto">
              <a:xfrm>
                <a:off x="5554663" y="949325"/>
                <a:ext cx="131763" cy="136525"/>
              </a:xfrm>
              <a:custGeom>
                <a:avLst/>
                <a:gdLst>
                  <a:gd name="T0" fmla="*/ 12 w 35"/>
                  <a:gd name="T1" fmla="*/ 0 h 36"/>
                  <a:gd name="T2" fmla="*/ 0 w 35"/>
                  <a:gd name="T3" fmla="*/ 21 h 36"/>
                  <a:gd name="T4" fmla="*/ 0 w 35"/>
                  <a:gd name="T5" fmla="*/ 23 h 36"/>
                  <a:gd name="T6" fmla="*/ 2 w 35"/>
                  <a:gd name="T7" fmla="*/ 24 h 36"/>
                  <a:gd name="T8" fmla="*/ 16 w 35"/>
                  <a:gd name="T9" fmla="*/ 22 h 36"/>
                  <a:gd name="T10" fmla="*/ 21 w 35"/>
                  <a:gd name="T11" fmla="*/ 35 h 36"/>
                  <a:gd name="T12" fmla="*/ 23 w 35"/>
                  <a:gd name="T13" fmla="*/ 36 h 36"/>
                  <a:gd name="T14" fmla="*/ 23 w 35"/>
                  <a:gd name="T15" fmla="*/ 36 h 36"/>
                  <a:gd name="T16" fmla="*/ 24 w 35"/>
                  <a:gd name="T17" fmla="*/ 35 h 36"/>
                  <a:gd name="T18" fmla="*/ 35 w 35"/>
                  <a:gd name="T19" fmla="*/ 18 h 36"/>
                  <a:gd name="T20" fmla="*/ 12 w 35"/>
                  <a:gd name="T21"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5" h="36">
                    <a:moveTo>
                      <a:pt x="12" y="0"/>
                    </a:moveTo>
                    <a:cubicBezTo>
                      <a:pt x="0" y="21"/>
                      <a:pt x="0" y="21"/>
                      <a:pt x="0" y="21"/>
                    </a:cubicBezTo>
                    <a:cubicBezTo>
                      <a:pt x="0" y="22"/>
                      <a:pt x="0" y="22"/>
                      <a:pt x="0" y="23"/>
                    </a:cubicBezTo>
                    <a:cubicBezTo>
                      <a:pt x="1" y="24"/>
                      <a:pt x="2" y="24"/>
                      <a:pt x="2" y="24"/>
                    </a:cubicBezTo>
                    <a:cubicBezTo>
                      <a:pt x="16" y="22"/>
                      <a:pt x="16" y="22"/>
                      <a:pt x="16" y="22"/>
                    </a:cubicBezTo>
                    <a:cubicBezTo>
                      <a:pt x="21" y="35"/>
                      <a:pt x="21" y="35"/>
                      <a:pt x="21" y="35"/>
                    </a:cubicBezTo>
                    <a:cubicBezTo>
                      <a:pt x="21" y="35"/>
                      <a:pt x="22" y="36"/>
                      <a:pt x="23" y="36"/>
                    </a:cubicBezTo>
                    <a:cubicBezTo>
                      <a:pt x="23" y="36"/>
                      <a:pt x="23" y="36"/>
                      <a:pt x="23" y="36"/>
                    </a:cubicBezTo>
                    <a:cubicBezTo>
                      <a:pt x="23" y="36"/>
                      <a:pt x="24" y="36"/>
                      <a:pt x="24" y="35"/>
                    </a:cubicBezTo>
                    <a:cubicBezTo>
                      <a:pt x="35" y="18"/>
                      <a:pt x="35" y="18"/>
                      <a:pt x="35" y="18"/>
                    </a:cubicBezTo>
                    <a:cubicBezTo>
                      <a:pt x="25" y="15"/>
                      <a:pt x="17" y="8"/>
                      <a:pt x="1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Arial"/>
                  <a:cs typeface="+mn-cs"/>
                </a:endParaRPr>
              </a:p>
            </p:txBody>
          </p:sp>
          <p:sp>
            <p:nvSpPr>
              <p:cNvPr id="105" name="Freeform 69">
                <a:extLst>
                  <a:ext uri="{FF2B5EF4-FFF2-40B4-BE49-F238E27FC236}">
                    <a16:creationId xmlns:a16="http://schemas.microsoft.com/office/drawing/2014/main" id="{1E39CEE9-C000-4F2E-B8B7-DFD513EF5002}"/>
                  </a:ext>
                </a:extLst>
              </p:cNvPr>
              <p:cNvSpPr>
                <a:spLocks/>
              </p:cNvSpPr>
              <p:nvPr/>
            </p:nvSpPr>
            <p:spPr bwMode="auto">
              <a:xfrm>
                <a:off x="5784850" y="954088"/>
                <a:ext cx="127000" cy="131763"/>
              </a:xfrm>
              <a:custGeom>
                <a:avLst/>
                <a:gdLst>
                  <a:gd name="T0" fmla="*/ 34 w 34"/>
                  <a:gd name="T1" fmla="*/ 20 h 35"/>
                  <a:gd name="T2" fmla="*/ 22 w 34"/>
                  <a:gd name="T3" fmla="*/ 0 h 35"/>
                  <a:gd name="T4" fmla="*/ 0 w 34"/>
                  <a:gd name="T5" fmla="*/ 17 h 35"/>
                  <a:gd name="T6" fmla="*/ 10 w 34"/>
                  <a:gd name="T7" fmla="*/ 34 h 35"/>
                  <a:gd name="T8" fmla="*/ 12 w 34"/>
                  <a:gd name="T9" fmla="*/ 35 h 35"/>
                  <a:gd name="T10" fmla="*/ 12 w 34"/>
                  <a:gd name="T11" fmla="*/ 35 h 35"/>
                  <a:gd name="T12" fmla="*/ 13 w 34"/>
                  <a:gd name="T13" fmla="*/ 34 h 35"/>
                  <a:gd name="T14" fmla="*/ 18 w 34"/>
                  <a:gd name="T15" fmla="*/ 21 h 35"/>
                  <a:gd name="T16" fmla="*/ 32 w 34"/>
                  <a:gd name="T17" fmla="*/ 23 h 35"/>
                  <a:gd name="T18" fmla="*/ 34 w 34"/>
                  <a:gd name="T19" fmla="*/ 22 h 35"/>
                  <a:gd name="T20" fmla="*/ 34 w 34"/>
                  <a:gd name="T21" fmla="*/ 2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4" h="35">
                    <a:moveTo>
                      <a:pt x="34" y="20"/>
                    </a:moveTo>
                    <a:cubicBezTo>
                      <a:pt x="22" y="0"/>
                      <a:pt x="22" y="0"/>
                      <a:pt x="22" y="0"/>
                    </a:cubicBezTo>
                    <a:cubicBezTo>
                      <a:pt x="17" y="8"/>
                      <a:pt x="9" y="14"/>
                      <a:pt x="0" y="17"/>
                    </a:cubicBezTo>
                    <a:cubicBezTo>
                      <a:pt x="10" y="34"/>
                      <a:pt x="10" y="34"/>
                      <a:pt x="10" y="34"/>
                    </a:cubicBezTo>
                    <a:cubicBezTo>
                      <a:pt x="10" y="35"/>
                      <a:pt x="11" y="35"/>
                      <a:pt x="12" y="35"/>
                    </a:cubicBezTo>
                    <a:cubicBezTo>
                      <a:pt x="12" y="35"/>
                      <a:pt x="12" y="35"/>
                      <a:pt x="12" y="35"/>
                    </a:cubicBezTo>
                    <a:cubicBezTo>
                      <a:pt x="13" y="35"/>
                      <a:pt x="13" y="34"/>
                      <a:pt x="13" y="34"/>
                    </a:cubicBezTo>
                    <a:cubicBezTo>
                      <a:pt x="18" y="21"/>
                      <a:pt x="18" y="21"/>
                      <a:pt x="18" y="21"/>
                    </a:cubicBezTo>
                    <a:cubicBezTo>
                      <a:pt x="32" y="23"/>
                      <a:pt x="32" y="23"/>
                      <a:pt x="32" y="23"/>
                    </a:cubicBezTo>
                    <a:cubicBezTo>
                      <a:pt x="33" y="23"/>
                      <a:pt x="34" y="23"/>
                      <a:pt x="34" y="22"/>
                    </a:cubicBezTo>
                    <a:cubicBezTo>
                      <a:pt x="34" y="21"/>
                      <a:pt x="34" y="21"/>
                      <a:pt x="34"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Arial"/>
                  <a:cs typeface="+mn-cs"/>
                </a:endParaRPr>
              </a:p>
            </p:txBody>
          </p:sp>
          <p:sp>
            <p:nvSpPr>
              <p:cNvPr id="106" name="Freeform 70">
                <a:extLst>
                  <a:ext uri="{FF2B5EF4-FFF2-40B4-BE49-F238E27FC236}">
                    <a16:creationId xmlns:a16="http://schemas.microsoft.com/office/drawing/2014/main" id="{5208772D-B989-48CE-BE6E-755CBD7E2CD8}"/>
                  </a:ext>
                </a:extLst>
              </p:cNvPr>
              <p:cNvSpPr>
                <a:spLocks noEditPoints="1"/>
              </p:cNvSpPr>
              <p:nvPr/>
            </p:nvSpPr>
            <p:spPr bwMode="auto">
              <a:xfrm>
                <a:off x="5592765" y="723900"/>
                <a:ext cx="285750" cy="285750"/>
              </a:xfrm>
              <a:custGeom>
                <a:avLst/>
                <a:gdLst>
                  <a:gd name="T0" fmla="*/ 76 w 76"/>
                  <a:gd name="T1" fmla="*/ 38 h 76"/>
                  <a:gd name="T2" fmla="*/ 38 w 76"/>
                  <a:gd name="T3" fmla="*/ 0 h 76"/>
                  <a:gd name="T4" fmla="*/ 0 w 76"/>
                  <a:gd name="T5" fmla="*/ 38 h 76"/>
                  <a:gd name="T6" fmla="*/ 38 w 76"/>
                  <a:gd name="T7" fmla="*/ 76 h 76"/>
                  <a:gd name="T8" fmla="*/ 76 w 76"/>
                  <a:gd name="T9" fmla="*/ 38 h 76"/>
                  <a:gd name="T10" fmla="*/ 57 w 76"/>
                  <a:gd name="T11" fmla="*/ 34 h 76"/>
                  <a:gd name="T12" fmla="*/ 48 w 76"/>
                  <a:gd name="T13" fmla="*/ 41 h 76"/>
                  <a:gd name="T14" fmla="*/ 52 w 76"/>
                  <a:gd name="T15" fmla="*/ 53 h 76"/>
                  <a:gd name="T16" fmla="*/ 51 w 76"/>
                  <a:gd name="T17" fmla="*/ 56 h 76"/>
                  <a:gd name="T18" fmla="*/ 50 w 76"/>
                  <a:gd name="T19" fmla="*/ 56 h 76"/>
                  <a:gd name="T20" fmla="*/ 49 w 76"/>
                  <a:gd name="T21" fmla="*/ 56 h 76"/>
                  <a:gd name="T22" fmla="*/ 38 w 76"/>
                  <a:gd name="T23" fmla="*/ 49 h 76"/>
                  <a:gd name="T24" fmla="*/ 27 w 76"/>
                  <a:gd name="T25" fmla="*/ 56 h 76"/>
                  <a:gd name="T26" fmla="*/ 25 w 76"/>
                  <a:gd name="T27" fmla="*/ 56 h 76"/>
                  <a:gd name="T28" fmla="*/ 24 w 76"/>
                  <a:gd name="T29" fmla="*/ 53 h 76"/>
                  <a:gd name="T30" fmla="*/ 28 w 76"/>
                  <a:gd name="T31" fmla="*/ 41 h 76"/>
                  <a:gd name="T32" fmla="*/ 19 w 76"/>
                  <a:gd name="T33" fmla="*/ 34 h 76"/>
                  <a:gd name="T34" fmla="*/ 18 w 76"/>
                  <a:gd name="T35" fmla="*/ 31 h 76"/>
                  <a:gd name="T36" fmla="*/ 20 w 76"/>
                  <a:gd name="T37" fmla="*/ 30 h 76"/>
                  <a:gd name="T38" fmla="*/ 31 w 76"/>
                  <a:gd name="T39" fmla="*/ 30 h 76"/>
                  <a:gd name="T40" fmla="*/ 36 w 76"/>
                  <a:gd name="T41" fmla="*/ 19 h 76"/>
                  <a:gd name="T42" fmla="*/ 40 w 76"/>
                  <a:gd name="T43" fmla="*/ 19 h 76"/>
                  <a:gd name="T44" fmla="*/ 45 w 76"/>
                  <a:gd name="T45" fmla="*/ 30 h 76"/>
                  <a:gd name="T46" fmla="*/ 56 w 76"/>
                  <a:gd name="T47" fmla="*/ 30 h 76"/>
                  <a:gd name="T48" fmla="*/ 58 w 76"/>
                  <a:gd name="T49" fmla="*/ 31 h 76"/>
                  <a:gd name="T50" fmla="*/ 57 w 76"/>
                  <a:gd name="T51" fmla="*/ 3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6" h="76">
                    <a:moveTo>
                      <a:pt x="76" y="38"/>
                    </a:moveTo>
                    <a:cubicBezTo>
                      <a:pt x="76" y="17"/>
                      <a:pt x="59" y="0"/>
                      <a:pt x="38" y="0"/>
                    </a:cubicBezTo>
                    <a:cubicBezTo>
                      <a:pt x="17" y="0"/>
                      <a:pt x="0" y="17"/>
                      <a:pt x="0" y="38"/>
                    </a:cubicBezTo>
                    <a:cubicBezTo>
                      <a:pt x="0" y="59"/>
                      <a:pt x="17" y="76"/>
                      <a:pt x="38" y="76"/>
                    </a:cubicBezTo>
                    <a:cubicBezTo>
                      <a:pt x="59" y="76"/>
                      <a:pt x="76" y="59"/>
                      <a:pt x="76" y="38"/>
                    </a:cubicBezTo>
                    <a:close/>
                    <a:moveTo>
                      <a:pt x="57" y="34"/>
                    </a:moveTo>
                    <a:cubicBezTo>
                      <a:pt x="48" y="41"/>
                      <a:pt x="48" y="41"/>
                      <a:pt x="48" y="41"/>
                    </a:cubicBezTo>
                    <a:cubicBezTo>
                      <a:pt x="52" y="53"/>
                      <a:pt x="52" y="53"/>
                      <a:pt x="52" y="53"/>
                    </a:cubicBezTo>
                    <a:cubicBezTo>
                      <a:pt x="52" y="54"/>
                      <a:pt x="52" y="55"/>
                      <a:pt x="51" y="56"/>
                    </a:cubicBezTo>
                    <a:cubicBezTo>
                      <a:pt x="51" y="56"/>
                      <a:pt x="50" y="56"/>
                      <a:pt x="50" y="56"/>
                    </a:cubicBezTo>
                    <a:cubicBezTo>
                      <a:pt x="50" y="56"/>
                      <a:pt x="49" y="56"/>
                      <a:pt x="49" y="56"/>
                    </a:cubicBezTo>
                    <a:cubicBezTo>
                      <a:pt x="38" y="49"/>
                      <a:pt x="38" y="49"/>
                      <a:pt x="38" y="49"/>
                    </a:cubicBezTo>
                    <a:cubicBezTo>
                      <a:pt x="27" y="56"/>
                      <a:pt x="27" y="56"/>
                      <a:pt x="27" y="56"/>
                    </a:cubicBezTo>
                    <a:cubicBezTo>
                      <a:pt x="26" y="56"/>
                      <a:pt x="25" y="56"/>
                      <a:pt x="25" y="56"/>
                    </a:cubicBezTo>
                    <a:cubicBezTo>
                      <a:pt x="24" y="55"/>
                      <a:pt x="24" y="54"/>
                      <a:pt x="24" y="53"/>
                    </a:cubicBezTo>
                    <a:cubicBezTo>
                      <a:pt x="28" y="41"/>
                      <a:pt x="28" y="41"/>
                      <a:pt x="28" y="41"/>
                    </a:cubicBezTo>
                    <a:cubicBezTo>
                      <a:pt x="19" y="34"/>
                      <a:pt x="19" y="34"/>
                      <a:pt x="19" y="34"/>
                    </a:cubicBezTo>
                    <a:cubicBezTo>
                      <a:pt x="18" y="33"/>
                      <a:pt x="18" y="32"/>
                      <a:pt x="18" y="31"/>
                    </a:cubicBezTo>
                    <a:cubicBezTo>
                      <a:pt x="18" y="31"/>
                      <a:pt x="19" y="30"/>
                      <a:pt x="20" y="30"/>
                    </a:cubicBezTo>
                    <a:cubicBezTo>
                      <a:pt x="31" y="30"/>
                      <a:pt x="31" y="30"/>
                      <a:pt x="31" y="30"/>
                    </a:cubicBezTo>
                    <a:cubicBezTo>
                      <a:pt x="36" y="19"/>
                      <a:pt x="36" y="19"/>
                      <a:pt x="36" y="19"/>
                    </a:cubicBezTo>
                    <a:cubicBezTo>
                      <a:pt x="37" y="18"/>
                      <a:pt x="39" y="18"/>
                      <a:pt x="40" y="19"/>
                    </a:cubicBezTo>
                    <a:cubicBezTo>
                      <a:pt x="45" y="30"/>
                      <a:pt x="45" y="30"/>
                      <a:pt x="45" y="30"/>
                    </a:cubicBezTo>
                    <a:cubicBezTo>
                      <a:pt x="56" y="30"/>
                      <a:pt x="56" y="30"/>
                      <a:pt x="56" y="30"/>
                    </a:cubicBezTo>
                    <a:cubicBezTo>
                      <a:pt x="57" y="30"/>
                      <a:pt x="58" y="31"/>
                      <a:pt x="58" y="31"/>
                    </a:cubicBezTo>
                    <a:cubicBezTo>
                      <a:pt x="58" y="32"/>
                      <a:pt x="58" y="33"/>
                      <a:pt x="57"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Arial"/>
                  <a:cs typeface="+mn-cs"/>
                </a:endParaRPr>
              </a:p>
            </p:txBody>
          </p:sp>
        </p:grpSp>
        <p:sp>
          <p:nvSpPr>
            <p:cNvPr id="103" name="Rectangle 357">
              <a:extLst>
                <a:ext uri="{FF2B5EF4-FFF2-40B4-BE49-F238E27FC236}">
                  <a16:creationId xmlns:a16="http://schemas.microsoft.com/office/drawing/2014/main" id="{FB131BF3-1AC4-408D-9639-B84C9E0B0530}"/>
                </a:ext>
              </a:extLst>
            </p:cNvPr>
            <p:cNvSpPr/>
            <p:nvPr/>
          </p:nvSpPr>
          <p:spPr>
            <a:xfrm>
              <a:off x="9199599" y="2709207"/>
              <a:ext cx="1386475" cy="307777"/>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dirty="0">
                  <a:ln>
                    <a:noFill/>
                  </a:ln>
                  <a:solidFill>
                    <a:srgbClr val="FFFFFF"/>
                  </a:solidFill>
                  <a:effectLst/>
                  <a:uLnTx/>
                  <a:uFillTx/>
                  <a:latin typeface="Gill Sans MT" panose="020B0502020104020203" pitchFamily="34" charset="0"/>
                  <a:cs typeface="Segoe UI" panose="020B0502040204020203" pitchFamily="34" charset="0"/>
                </a:rPr>
                <a:t>ANALYSIS</a:t>
              </a:r>
            </a:p>
          </p:txBody>
        </p:sp>
      </p:grpSp>
      <p:sp>
        <p:nvSpPr>
          <p:cNvPr id="107" name="Rectangle 363">
            <a:extLst>
              <a:ext uri="{FF2B5EF4-FFF2-40B4-BE49-F238E27FC236}">
                <a16:creationId xmlns:a16="http://schemas.microsoft.com/office/drawing/2014/main" id="{C455C6DB-AE20-4445-B933-FB879B862F9B}"/>
              </a:ext>
            </a:extLst>
          </p:cNvPr>
          <p:cNvSpPr/>
          <p:nvPr/>
        </p:nvSpPr>
        <p:spPr>
          <a:xfrm>
            <a:off x="1729249" y="3865539"/>
            <a:ext cx="920160" cy="646331"/>
          </a:xfrm>
          <a:prstGeom prst="rect">
            <a:avLst/>
          </a:prstGeom>
        </p:spPr>
        <p:txBody>
          <a:bodyPr wrap="square" lIns="0" tIns="0" rIns="0" bIns="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accent1"/>
                </a:solidFill>
                <a:effectLst/>
                <a:uLnTx/>
                <a:uFillTx/>
                <a:latin typeface="Gill Sans MT" panose="020B0502020104020203" pitchFamily="34" charset="0"/>
                <a:cs typeface="Segoe UI" panose="020B0502040204020203" pitchFamily="34" charset="0"/>
              </a:rPr>
              <a:t>Lorem</a:t>
            </a:r>
            <a:br>
              <a:rPr kumimoji="0" lang="en-US" sz="1400" b="0" i="0" u="none" strike="noStrike" kern="0" cap="none" spc="0" normalizeH="0" baseline="0" noProof="0" dirty="0">
                <a:ln>
                  <a:noFill/>
                </a:ln>
                <a:solidFill>
                  <a:schemeClr val="accent1"/>
                </a:solidFill>
                <a:effectLst/>
                <a:uLnTx/>
                <a:uFillTx/>
                <a:latin typeface="Gill Sans MT" panose="020B0502020104020203" pitchFamily="34" charset="0"/>
                <a:cs typeface="Segoe UI" panose="020B0502040204020203" pitchFamily="34" charset="0"/>
              </a:rPr>
            </a:br>
            <a:r>
              <a:rPr kumimoji="0" lang="en-US" sz="1400" b="0" i="0" u="none" strike="noStrike" kern="0" cap="none" spc="0" normalizeH="0" baseline="0" noProof="0" dirty="0">
                <a:ln>
                  <a:noFill/>
                </a:ln>
                <a:solidFill>
                  <a:schemeClr val="accent1"/>
                </a:solidFill>
                <a:effectLst/>
                <a:uLnTx/>
                <a:uFillTx/>
                <a:latin typeface="Gill Sans MT" panose="020B0502020104020203" pitchFamily="34" charset="0"/>
                <a:cs typeface="Segoe UI" panose="020B0502040204020203" pitchFamily="34" charset="0"/>
              </a:rPr>
              <a:t>Ipsum is simply</a:t>
            </a:r>
          </a:p>
        </p:txBody>
      </p:sp>
      <p:grpSp>
        <p:nvGrpSpPr>
          <p:cNvPr id="108" name="Group 11">
            <a:extLst>
              <a:ext uri="{FF2B5EF4-FFF2-40B4-BE49-F238E27FC236}">
                <a16:creationId xmlns:a16="http://schemas.microsoft.com/office/drawing/2014/main" id="{382619EC-2443-4A09-8A5D-170AE3DA74C5}"/>
              </a:ext>
            </a:extLst>
          </p:cNvPr>
          <p:cNvGrpSpPr/>
          <p:nvPr/>
        </p:nvGrpSpPr>
        <p:grpSpPr>
          <a:xfrm>
            <a:off x="3061598" y="1783334"/>
            <a:ext cx="630906" cy="3311281"/>
            <a:chOff x="2855278" y="1337576"/>
            <a:chExt cx="648301" cy="3402576"/>
          </a:xfrm>
        </p:grpSpPr>
        <p:sp>
          <p:nvSpPr>
            <p:cNvPr id="109" name="Rectangle 364">
              <a:extLst>
                <a:ext uri="{FF2B5EF4-FFF2-40B4-BE49-F238E27FC236}">
                  <a16:creationId xmlns:a16="http://schemas.microsoft.com/office/drawing/2014/main" id="{7B0E5C19-70F6-4FEF-8844-7757441270BC}"/>
                </a:ext>
              </a:extLst>
            </p:cNvPr>
            <p:cNvSpPr/>
            <p:nvPr/>
          </p:nvSpPr>
          <p:spPr>
            <a:xfrm>
              <a:off x="2855278" y="3566342"/>
              <a:ext cx="648301" cy="430887"/>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Gill Sans MT" panose="020B0502020104020203" pitchFamily="34" charset="0"/>
                  <a:cs typeface="Segoe UI" panose="020B0502040204020203" pitchFamily="34" charset="0"/>
                </a:rPr>
                <a:t>Lorem Ipsum </a:t>
              </a:r>
            </a:p>
          </p:txBody>
        </p:sp>
        <p:sp>
          <p:nvSpPr>
            <p:cNvPr id="110" name="Rectangle 365">
              <a:extLst>
                <a:ext uri="{FF2B5EF4-FFF2-40B4-BE49-F238E27FC236}">
                  <a16:creationId xmlns:a16="http://schemas.microsoft.com/office/drawing/2014/main" id="{22204710-3ADC-4969-B950-D716AAF890C6}"/>
                </a:ext>
              </a:extLst>
            </p:cNvPr>
            <p:cNvSpPr/>
            <p:nvPr/>
          </p:nvSpPr>
          <p:spPr>
            <a:xfrm>
              <a:off x="2855278" y="2823420"/>
              <a:ext cx="648301" cy="430887"/>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Gill Sans MT" panose="020B0502020104020203" pitchFamily="34" charset="0"/>
                  <a:cs typeface="Segoe UI" panose="020B0502040204020203" pitchFamily="34" charset="0"/>
                </a:rPr>
                <a:t>Lorem Ipsum </a:t>
              </a:r>
            </a:p>
          </p:txBody>
        </p:sp>
        <p:sp>
          <p:nvSpPr>
            <p:cNvPr id="111" name="Rectangle 366">
              <a:extLst>
                <a:ext uri="{FF2B5EF4-FFF2-40B4-BE49-F238E27FC236}">
                  <a16:creationId xmlns:a16="http://schemas.microsoft.com/office/drawing/2014/main" id="{7009AFAF-157F-42D0-932D-11065B9A1B74}"/>
                </a:ext>
              </a:extLst>
            </p:cNvPr>
            <p:cNvSpPr/>
            <p:nvPr/>
          </p:nvSpPr>
          <p:spPr>
            <a:xfrm>
              <a:off x="2855278" y="2080498"/>
              <a:ext cx="648301" cy="430887"/>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Gill Sans MT" panose="020B0502020104020203" pitchFamily="34" charset="0"/>
                  <a:cs typeface="Segoe UI" panose="020B0502040204020203" pitchFamily="34" charset="0"/>
                </a:rPr>
                <a:t>Lorem Ipsum </a:t>
              </a:r>
            </a:p>
          </p:txBody>
        </p:sp>
        <p:sp>
          <p:nvSpPr>
            <p:cNvPr id="112" name="Rectangle 367">
              <a:extLst>
                <a:ext uri="{FF2B5EF4-FFF2-40B4-BE49-F238E27FC236}">
                  <a16:creationId xmlns:a16="http://schemas.microsoft.com/office/drawing/2014/main" id="{EA8453BC-CD5D-4917-B2A2-9D4E849AD1C5}"/>
                </a:ext>
              </a:extLst>
            </p:cNvPr>
            <p:cNvSpPr/>
            <p:nvPr/>
          </p:nvSpPr>
          <p:spPr>
            <a:xfrm>
              <a:off x="2855278" y="1337576"/>
              <a:ext cx="648301" cy="430887"/>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Gill Sans MT" panose="020B0502020104020203" pitchFamily="34" charset="0"/>
                  <a:cs typeface="Segoe UI" panose="020B0502040204020203" pitchFamily="34" charset="0"/>
                </a:rPr>
                <a:t>Lorem Ipsum </a:t>
              </a:r>
            </a:p>
          </p:txBody>
        </p:sp>
        <p:sp>
          <p:nvSpPr>
            <p:cNvPr id="113" name="Rectangle 368">
              <a:extLst>
                <a:ext uri="{FF2B5EF4-FFF2-40B4-BE49-F238E27FC236}">
                  <a16:creationId xmlns:a16="http://schemas.microsoft.com/office/drawing/2014/main" id="{B765B24C-9150-4648-90E8-68FF3FBD0666}"/>
                </a:ext>
              </a:extLst>
            </p:cNvPr>
            <p:cNvSpPr/>
            <p:nvPr/>
          </p:nvSpPr>
          <p:spPr>
            <a:xfrm>
              <a:off x="2855278" y="4309265"/>
              <a:ext cx="648301" cy="430887"/>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Gill Sans MT" panose="020B0502020104020203" pitchFamily="34" charset="0"/>
                  <a:cs typeface="Segoe UI" panose="020B0502040204020203" pitchFamily="34" charset="0"/>
                </a:rPr>
                <a:t>Lorem Ipsum </a:t>
              </a:r>
            </a:p>
          </p:txBody>
        </p:sp>
      </p:grpSp>
      <p:sp>
        <p:nvSpPr>
          <p:cNvPr id="114" name="Rectangle 369">
            <a:extLst>
              <a:ext uri="{FF2B5EF4-FFF2-40B4-BE49-F238E27FC236}">
                <a16:creationId xmlns:a16="http://schemas.microsoft.com/office/drawing/2014/main" id="{16AADCF0-3D0C-4BFD-9C37-5E17F1143DA6}"/>
              </a:ext>
            </a:extLst>
          </p:cNvPr>
          <p:cNvSpPr/>
          <p:nvPr/>
        </p:nvSpPr>
        <p:spPr>
          <a:xfrm>
            <a:off x="1729249" y="4592406"/>
            <a:ext cx="920160" cy="646331"/>
          </a:xfrm>
          <a:prstGeom prst="rect">
            <a:avLst/>
          </a:prstGeom>
        </p:spPr>
        <p:txBody>
          <a:bodyPr wrap="square" lIns="0" tIns="0" rIns="0" bIns="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accent1"/>
                </a:solidFill>
                <a:effectLst/>
                <a:uLnTx/>
                <a:uFillTx/>
                <a:latin typeface="Gill Sans MT" panose="020B0502020104020203" pitchFamily="34" charset="0"/>
                <a:cs typeface="Segoe UI" panose="020B0502040204020203" pitchFamily="34" charset="0"/>
              </a:rPr>
              <a:t>Lorem</a:t>
            </a:r>
            <a:br>
              <a:rPr kumimoji="0" lang="en-US" sz="1400" b="0" i="0" u="none" strike="noStrike" kern="0" cap="none" spc="0" normalizeH="0" baseline="0" noProof="0" dirty="0">
                <a:ln>
                  <a:noFill/>
                </a:ln>
                <a:solidFill>
                  <a:schemeClr val="accent1"/>
                </a:solidFill>
                <a:effectLst/>
                <a:uLnTx/>
                <a:uFillTx/>
                <a:latin typeface="Gill Sans MT" panose="020B0502020104020203" pitchFamily="34" charset="0"/>
                <a:cs typeface="Segoe UI" panose="020B0502040204020203" pitchFamily="34" charset="0"/>
              </a:rPr>
            </a:br>
            <a:r>
              <a:rPr kumimoji="0" lang="en-US" sz="1400" b="0" i="0" u="none" strike="noStrike" kern="0" cap="none" spc="0" normalizeH="0" baseline="0" noProof="0" dirty="0">
                <a:ln>
                  <a:noFill/>
                </a:ln>
                <a:solidFill>
                  <a:schemeClr val="accent1"/>
                </a:solidFill>
                <a:effectLst/>
                <a:uLnTx/>
                <a:uFillTx/>
                <a:latin typeface="Gill Sans MT" panose="020B0502020104020203" pitchFamily="34" charset="0"/>
                <a:cs typeface="Segoe UI" panose="020B0502040204020203" pitchFamily="34" charset="0"/>
              </a:rPr>
              <a:t>Ipsum is simply</a:t>
            </a:r>
          </a:p>
        </p:txBody>
      </p:sp>
      <p:sp>
        <p:nvSpPr>
          <p:cNvPr id="115" name="Rectangle 370">
            <a:extLst>
              <a:ext uri="{FF2B5EF4-FFF2-40B4-BE49-F238E27FC236}">
                <a16:creationId xmlns:a16="http://schemas.microsoft.com/office/drawing/2014/main" id="{49E54ED1-1660-4525-8143-F7560C37113F}"/>
              </a:ext>
            </a:extLst>
          </p:cNvPr>
          <p:cNvSpPr/>
          <p:nvPr/>
        </p:nvSpPr>
        <p:spPr>
          <a:xfrm>
            <a:off x="1729249" y="2382571"/>
            <a:ext cx="920160" cy="646331"/>
          </a:xfrm>
          <a:prstGeom prst="rect">
            <a:avLst/>
          </a:prstGeom>
        </p:spPr>
        <p:txBody>
          <a:bodyPr wrap="square" lIns="0" tIns="0" rIns="0" bIns="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accent1"/>
                </a:solidFill>
                <a:effectLst/>
                <a:uLnTx/>
                <a:uFillTx/>
                <a:latin typeface="Gill Sans MT" panose="020B0502020104020203" pitchFamily="34" charset="0"/>
                <a:cs typeface="Segoe UI" panose="020B0502040204020203" pitchFamily="34" charset="0"/>
              </a:rPr>
              <a:t>Lorem</a:t>
            </a:r>
            <a:br>
              <a:rPr kumimoji="0" lang="en-US" sz="1400" b="0" i="0" u="none" strike="noStrike" kern="0" cap="none" spc="0" normalizeH="0" baseline="0" noProof="0" dirty="0">
                <a:ln>
                  <a:noFill/>
                </a:ln>
                <a:solidFill>
                  <a:schemeClr val="accent1"/>
                </a:solidFill>
                <a:effectLst/>
                <a:uLnTx/>
                <a:uFillTx/>
                <a:latin typeface="Gill Sans MT" panose="020B0502020104020203" pitchFamily="34" charset="0"/>
                <a:cs typeface="Segoe UI" panose="020B0502040204020203" pitchFamily="34" charset="0"/>
              </a:rPr>
            </a:br>
            <a:r>
              <a:rPr kumimoji="0" lang="en-US" sz="1400" b="0" i="0" u="none" strike="noStrike" kern="0" cap="none" spc="0" normalizeH="0" baseline="0" noProof="0" dirty="0">
                <a:ln>
                  <a:noFill/>
                </a:ln>
                <a:solidFill>
                  <a:schemeClr val="accent1"/>
                </a:solidFill>
                <a:effectLst/>
                <a:uLnTx/>
                <a:uFillTx/>
                <a:latin typeface="Gill Sans MT" panose="020B0502020104020203" pitchFamily="34" charset="0"/>
                <a:cs typeface="Segoe UI" panose="020B0502040204020203" pitchFamily="34" charset="0"/>
              </a:rPr>
              <a:t>Ipsum is simply</a:t>
            </a:r>
          </a:p>
        </p:txBody>
      </p:sp>
      <p:sp>
        <p:nvSpPr>
          <p:cNvPr id="116" name="Rectangle 371">
            <a:extLst>
              <a:ext uri="{FF2B5EF4-FFF2-40B4-BE49-F238E27FC236}">
                <a16:creationId xmlns:a16="http://schemas.microsoft.com/office/drawing/2014/main" id="{F7B3F83D-5C9B-434C-A11C-995C231A6674}"/>
              </a:ext>
            </a:extLst>
          </p:cNvPr>
          <p:cNvSpPr/>
          <p:nvPr/>
        </p:nvSpPr>
        <p:spPr>
          <a:xfrm>
            <a:off x="1729249" y="1670691"/>
            <a:ext cx="920160" cy="646331"/>
          </a:xfrm>
          <a:prstGeom prst="rect">
            <a:avLst/>
          </a:prstGeom>
        </p:spPr>
        <p:txBody>
          <a:bodyPr wrap="square" lIns="0" tIns="0" rIns="0" bIns="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accent1"/>
                </a:solidFill>
                <a:effectLst/>
                <a:uLnTx/>
                <a:uFillTx/>
                <a:latin typeface="Gill Sans MT" panose="020B0502020104020203" pitchFamily="34" charset="0"/>
                <a:cs typeface="Segoe UI" panose="020B0502040204020203" pitchFamily="34" charset="0"/>
              </a:rPr>
              <a:t>Lorem</a:t>
            </a:r>
            <a:br>
              <a:rPr kumimoji="0" lang="en-US" sz="1400" b="0" i="0" u="none" strike="noStrike" kern="0" cap="none" spc="0" normalizeH="0" baseline="0" noProof="0" dirty="0">
                <a:ln>
                  <a:noFill/>
                </a:ln>
                <a:solidFill>
                  <a:schemeClr val="accent1"/>
                </a:solidFill>
                <a:effectLst/>
                <a:uLnTx/>
                <a:uFillTx/>
                <a:latin typeface="Gill Sans MT" panose="020B0502020104020203" pitchFamily="34" charset="0"/>
                <a:cs typeface="Segoe UI" panose="020B0502040204020203" pitchFamily="34" charset="0"/>
              </a:rPr>
            </a:br>
            <a:r>
              <a:rPr kumimoji="0" lang="en-US" sz="1400" b="0" i="0" u="none" strike="noStrike" kern="0" cap="none" spc="0" normalizeH="0" baseline="0" noProof="0" dirty="0">
                <a:ln>
                  <a:noFill/>
                </a:ln>
                <a:solidFill>
                  <a:schemeClr val="accent1"/>
                </a:solidFill>
                <a:effectLst/>
                <a:uLnTx/>
                <a:uFillTx/>
                <a:latin typeface="Gill Sans MT" panose="020B0502020104020203" pitchFamily="34" charset="0"/>
                <a:cs typeface="Segoe UI" panose="020B0502040204020203" pitchFamily="34" charset="0"/>
              </a:rPr>
              <a:t>Ipsum is simply</a:t>
            </a:r>
          </a:p>
        </p:txBody>
      </p:sp>
    </p:spTree>
    <p:extLst>
      <p:ext uri="{BB962C8B-B14F-4D97-AF65-F5344CB8AC3E}">
        <p14:creationId xmlns:p14="http://schemas.microsoft.com/office/powerpoint/2010/main" val="118836504"/>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文本框 5">
            <a:extLst>
              <a:ext uri="{FF2B5EF4-FFF2-40B4-BE49-F238E27FC236}">
                <a16:creationId xmlns:a16="http://schemas.microsoft.com/office/drawing/2014/main" id="{14A38E46-48B1-4EA9-B2F0-DFD33C7DECE0}"/>
              </a:ext>
            </a:extLst>
          </p:cNvPr>
          <p:cNvSpPr txBox="1"/>
          <p:nvPr/>
        </p:nvSpPr>
        <p:spPr>
          <a:xfrm>
            <a:off x="4943475" y="562566"/>
            <a:ext cx="2305050" cy="1354217"/>
          </a:xfrm>
          <a:prstGeom prst="rect">
            <a:avLst/>
          </a:prstGeom>
          <a:noFill/>
        </p:spPr>
        <p:txBody>
          <a:bodyPr wrap="square" lIns="0" tIns="0" rIns="0" bIns="0" rtlCol="0" anchor="t">
            <a:spAutoFit/>
          </a:bodyPr>
          <a:lstStyle/>
          <a:p>
            <a:pPr algn="dist"/>
            <a:r>
              <a:rPr lang="zh-CN" altLang="en-US" sz="8800" dirty="0">
                <a:solidFill>
                  <a:schemeClr val="accent1"/>
                </a:solidFill>
                <a:latin typeface="+mj-ea"/>
                <a:ea typeface="+mj-ea"/>
              </a:rPr>
              <a:t>目录</a:t>
            </a:r>
          </a:p>
        </p:txBody>
      </p:sp>
      <p:sp>
        <p:nvSpPr>
          <p:cNvPr id="7" name="文本框 6">
            <a:extLst>
              <a:ext uri="{FF2B5EF4-FFF2-40B4-BE49-F238E27FC236}">
                <a16:creationId xmlns:a16="http://schemas.microsoft.com/office/drawing/2014/main" id="{D3CD7C73-2063-48B8-B651-A7A6C33F7591}"/>
              </a:ext>
            </a:extLst>
          </p:cNvPr>
          <p:cNvSpPr txBox="1"/>
          <p:nvPr/>
        </p:nvSpPr>
        <p:spPr>
          <a:xfrm>
            <a:off x="5067300" y="1916783"/>
            <a:ext cx="2133600" cy="276999"/>
          </a:xfrm>
          <a:prstGeom prst="rect">
            <a:avLst/>
          </a:prstGeom>
          <a:noFill/>
        </p:spPr>
        <p:txBody>
          <a:bodyPr wrap="square" lIns="0" tIns="0" rIns="0" bIns="0" rtlCol="0" anchor="t">
            <a:spAutoFit/>
          </a:bodyPr>
          <a:lstStyle/>
          <a:p>
            <a:pPr algn="dist"/>
            <a:r>
              <a:rPr lang="en-US" altLang="zh-CN" dirty="0">
                <a:solidFill>
                  <a:schemeClr val="accent1"/>
                </a:solidFill>
              </a:rPr>
              <a:t>CONTENTS</a:t>
            </a:r>
            <a:endParaRPr lang="zh-CN" altLang="en-US" dirty="0">
              <a:solidFill>
                <a:schemeClr val="accent1"/>
              </a:solidFill>
            </a:endParaRPr>
          </a:p>
        </p:txBody>
      </p:sp>
      <p:sp>
        <p:nvSpPr>
          <p:cNvPr id="5" name="矩形: 圆角 4">
            <a:extLst>
              <a:ext uri="{FF2B5EF4-FFF2-40B4-BE49-F238E27FC236}">
                <a16:creationId xmlns:a16="http://schemas.microsoft.com/office/drawing/2014/main" id="{AD9151FC-0B8C-4EAF-BA72-0E1BF4EDC227}"/>
              </a:ext>
            </a:extLst>
          </p:cNvPr>
          <p:cNvSpPr/>
          <p:nvPr/>
        </p:nvSpPr>
        <p:spPr>
          <a:xfrm>
            <a:off x="699516" y="2924175"/>
            <a:ext cx="2476500" cy="2483358"/>
          </a:xfrm>
          <a:prstGeom prst="roundRect">
            <a:avLst>
              <a:gd name="adj" fmla="val 9359"/>
            </a:avLst>
          </a:prstGeom>
          <a:solidFill>
            <a:schemeClr val="accent1"/>
          </a:solidFill>
          <a:ln>
            <a:noFill/>
          </a:ln>
          <a:effectLst>
            <a:outerShdw blurRad="76200" dir="18900000" sy="23000" kx="-1200000" algn="b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8" name="矩形: 对角圆角 7">
            <a:extLst>
              <a:ext uri="{FF2B5EF4-FFF2-40B4-BE49-F238E27FC236}">
                <a16:creationId xmlns:a16="http://schemas.microsoft.com/office/drawing/2014/main" id="{7976967E-C9C7-4D18-B8F1-C1C43608D1CC}"/>
              </a:ext>
            </a:extLst>
          </p:cNvPr>
          <p:cNvSpPr/>
          <p:nvPr/>
        </p:nvSpPr>
        <p:spPr>
          <a:xfrm>
            <a:off x="699516" y="2924176"/>
            <a:ext cx="1319213" cy="450056"/>
          </a:xfrm>
          <a:prstGeom prst="round2DiagRect">
            <a:avLst>
              <a:gd name="adj1" fmla="val 50000"/>
              <a:gd name="adj2" fmla="val 0"/>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9" name="文本框 8">
            <a:extLst>
              <a:ext uri="{FF2B5EF4-FFF2-40B4-BE49-F238E27FC236}">
                <a16:creationId xmlns:a16="http://schemas.microsoft.com/office/drawing/2014/main" id="{4D78292F-803F-48CF-AC1F-0F26B48CF80C}"/>
              </a:ext>
            </a:extLst>
          </p:cNvPr>
          <p:cNvSpPr txBox="1"/>
          <p:nvPr/>
        </p:nvSpPr>
        <p:spPr>
          <a:xfrm>
            <a:off x="897457" y="3010704"/>
            <a:ext cx="923330" cy="276999"/>
          </a:xfrm>
          <a:prstGeom prst="rect">
            <a:avLst/>
          </a:prstGeom>
          <a:noFill/>
        </p:spPr>
        <p:txBody>
          <a:bodyPr wrap="none" lIns="0" tIns="0" rIns="0" bIns="0" rtlCol="0" anchor="t">
            <a:spAutoFit/>
          </a:bodyPr>
          <a:lstStyle/>
          <a:p>
            <a:pPr algn="l"/>
            <a:r>
              <a:rPr lang="zh-CN" altLang="en-US" dirty="0">
                <a:solidFill>
                  <a:schemeClr val="accent1">
                    <a:lumMod val="100000"/>
                  </a:schemeClr>
                </a:solidFill>
              </a:rPr>
              <a:t>第一部分</a:t>
            </a:r>
          </a:p>
        </p:txBody>
      </p:sp>
      <p:sp>
        <p:nvSpPr>
          <p:cNvPr id="10" name="文本框 9">
            <a:extLst>
              <a:ext uri="{FF2B5EF4-FFF2-40B4-BE49-F238E27FC236}">
                <a16:creationId xmlns:a16="http://schemas.microsoft.com/office/drawing/2014/main" id="{703396C9-C077-4F72-A042-42ED31F7ABBE}"/>
              </a:ext>
            </a:extLst>
          </p:cNvPr>
          <p:cNvSpPr txBox="1"/>
          <p:nvPr/>
        </p:nvSpPr>
        <p:spPr>
          <a:xfrm>
            <a:off x="1009532" y="3930858"/>
            <a:ext cx="1846659" cy="369332"/>
          </a:xfrm>
          <a:prstGeom prst="rect">
            <a:avLst/>
          </a:prstGeom>
          <a:noFill/>
        </p:spPr>
        <p:txBody>
          <a:bodyPr wrap="none" lIns="0" tIns="0" rIns="0" bIns="0" rtlCol="0" anchor="t">
            <a:spAutoFit/>
          </a:bodyPr>
          <a:lstStyle/>
          <a:p>
            <a:pPr algn="ctr"/>
            <a:r>
              <a:rPr lang="zh-CN" altLang="en-US" sz="2400" dirty="0">
                <a:solidFill>
                  <a:schemeClr val="bg1"/>
                </a:solidFill>
                <a:latin typeface="+mj-ea"/>
                <a:ea typeface="+mj-ea"/>
              </a:rPr>
              <a:t>输入目录标题</a:t>
            </a:r>
          </a:p>
        </p:txBody>
      </p:sp>
      <p:sp>
        <p:nvSpPr>
          <p:cNvPr id="11" name="文本框 10">
            <a:extLst>
              <a:ext uri="{FF2B5EF4-FFF2-40B4-BE49-F238E27FC236}">
                <a16:creationId xmlns:a16="http://schemas.microsoft.com/office/drawing/2014/main" id="{C261BBA9-952E-463E-AC36-07453A06D1E8}"/>
              </a:ext>
            </a:extLst>
          </p:cNvPr>
          <p:cNvSpPr txBox="1"/>
          <p:nvPr/>
        </p:nvSpPr>
        <p:spPr>
          <a:xfrm>
            <a:off x="1009531" y="4392040"/>
            <a:ext cx="1846660" cy="215444"/>
          </a:xfrm>
          <a:prstGeom prst="rect">
            <a:avLst/>
          </a:prstGeom>
          <a:noFill/>
        </p:spPr>
        <p:txBody>
          <a:bodyPr wrap="square" lIns="0" tIns="0" rIns="0" bIns="0" rtlCol="0" anchor="t">
            <a:spAutoFit/>
          </a:bodyPr>
          <a:lstStyle/>
          <a:p>
            <a:pPr algn="dist"/>
            <a:r>
              <a:rPr lang="en-US" altLang="zh-CN" sz="1400" dirty="0">
                <a:solidFill>
                  <a:schemeClr val="bg1"/>
                </a:solidFill>
              </a:rPr>
              <a:t>Contents Title Here</a:t>
            </a:r>
            <a:endParaRPr lang="zh-CN" altLang="en-US" sz="1400" dirty="0">
              <a:solidFill>
                <a:schemeClr val="bg1"/>
              </a:solidFill>
            </a:endParaRPr>
          </a:p>
        </p:txBody>
      </p:sp>
      <p:sp>
        <p:nvSpPr>
          <p:cNvPr id="14" name="矩形: 圆角 13">
            <a:extLst>
              <a:ext uri="{FF2B5EF4-FFF2-40B4-BE49-F238E27FC236}">
                <a16:creationId xmlns:a16="http://schemas.microsoft.com/office/drawing/2014/main" id="{416990E2-0A0E-468E-B77D-481D5A0382DC}"/>
              </a:ext>
            </a:extLst>
          </p:cNvPr>
          <p:cNvSpPr/>
          <p:nvPr/>
        </p:nvSpPr>
        <p:spPr>
          <a:xfrm>
            <a:off x="3471672" y="2924175"/>
            <a:ext cx="2476500" cy="2483358"/>
          </a:xfrm>
          <a:prstGeom prst="roundRect">
            <a:avLst>
              <a:gd name="adj" fmla="val 9359"/>
            </a:avLst>
          </a:prstGeom>
          <a:solidFill>
            <a:schemeClr val="accent1"/>
          </a:solidFill>
          <a:ln>
            <a:noFill/>
          </a:ln>
          <a:effectLst>
            <a:outerShdw blurRad="76200" dir="18900000" sy="23000" kx="-1200000" algn="b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15" name="矩形: 对角圆角 14">
            <a:extLst>
              <a:ext uri="{FF2B5EF4-FFF2-40B4-BE49-F238E27FC236}">
                <a16:creationId xmlns:a16="http://schemas.microsoft.com/office/drawing/2014/main" id="{4B51205E-111A-46D1-82CA-0D631A29FD24}"/>
              </a:ext>
            </a:extLst>
          </p:cNvPr>
          <p:cNvSpPr/>
          <p:nvPr/>
        </p:nvSpPr>
        <p:spPr>
          <a:xfrm>
            <a:off x="3471672" y="2924176"/>
            <a:ext cx="1319213" cy="450056"/>
          </a:xfrm>
          <a:prstGeom prst="round2DiagRect">
            <a:avLst>
              <a:gd name="adj1" fmla="val 50000"/>
              <a:gd name="adj2" fmla="val 0"/>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16" name="文本框 15">
            <a:extLst>
              <a:ext uri="{FF2B5EF4-FFF2-40B4-BE49-F238E27FC236}">
                <a16:creationId xmlns:a16="http://schemas.microsoft.com/office/drawing/2014/main" id="{B3FB1196-4C66-4BDE-B14B-2BF64EA64116}"/>
              </a:ext>
            </a:extLst>
          </p:cNvPr>
          <p:cNvSpPr txBox="1"/>
          <p:nvPr/>
        </p:nvSpPr>
        <p:spPr>
          <a:xfrm>
            <a:off x="3669613" y="3010704"/>
            <a:ext cx="923330" cy="276999"/>
          </a:xfrm>
          <a:prstGeom prst="rect">
            <a:avLst/>
          </a:prstGeom>
          <a:noFill/>
        </p:spPr>
        <p:txBody>
          <a:bodyPr wrap="none" lIns="0" tIns="0" rIns="0" bIns="0" rtlCol="0" anchor="t">
            <a:spAutoFit/>
          </a:bodyPr>
          <a:lstStyle/>
          <a:p>
            <a:pPr algn="l"/>
            <a:r>
              <a:rPr lang="zh-CN" altLang="en-US" dirty="0">
                <a:solidFill>
                  <a:schemeClr val="accent1">
                    <a:lumMod val="100000"/>
                  </a:schemeClr>
                </a:solidFill>
              </a:rPr>
              <a:t>第二部分</a:t>
            </a:r>
          </a:p>
        </p:txBody>
      </p:sp>
      <p:sp>
        <p:nvSpPr>
          <p:cNvPr id="17" name="文本框 16">
            <a:extLst>
              <a:ext uri="{FF2B5EF4-FFF2-40B4-BE49-F238E27FC236}">
                <a16:creationId xmlns:a16="http://schemas.microsoft.com/office/drawing/2014/main" id="{F54B9FB3-56B5-49AA-8021-D65648B0EBB4}"/>
              </a:ext>
            </a:extLst>
          </p:cNvPr>
          <p:cNvSpPr txBox="1"/>
          <p:nvPr/>
        </p:nvSpPr>
        <p:spPr>
          <a:xfrm>
            <a:off x="3781688" y="3930858"/>
            <a:ext cx="1846659" cy="369332"/>
          </a:xfrm>
          <a:prstGeom prst="rect">
            <a:avLst/>
          </a:prstGeom>
          <a:noFill/>
        </p:spPr>
        <p:txBody>
          <a:bodyPr wrap="none" lIns="0" tIns="0" rIns="0" bIns="0" rtlCol="0" anchor="t">
            <a:spAutoFit/>
          </a:bodyPr>
          <a:lstStyle/>
          <a:p>
            <a:pPr algn="ctr"/>
            <a:r>
              <a:rPr lang="zh-CN" altLang="en-US" sz="2400" dirty="0">
                <a:solidFill>
                  <a:schemeClr val="bg1"/>
                </a:solidFill>
                <a:latin typeface="+mj-ea"/>
                <a:ea typeface="+mj-ea"/>
              </a:rPr>
              <a:t>输入目录标题</a:t>
            </a:r>
          </a:p>
        </p:txBody>
      </p:sp>
      <p:sp>
        <p:nvSpPr>
          <p:cNvPr id="18" name="文本框 17">
            <a:extLst>
              <a:ext uri="{FF2B5EF4-FFF2-40B4-BE49-F238E27FC236}">
                <a16:creationId xmlns:a16="http://schemas.microsoft.com/office/drawing/2014/main" id="{153C3F4F-2E2A-4F9A-9F50-342CD453ECDA}"/>
              </a:ext>
            </a:extLst>
          </p:cNvPr>
          <p:cNvSpPr txBox="1"/>
          <p:nvPr/>
        </p:nvSpPr>
        <p:spPr>
          <a:xfrm>
            <a:off x="3781687" y="4392040"/>
            <a:ext cx="1846660" cy="215444"/>
          </a:xfrm>
          <a:prstGeom prst="rect">
            <a:avLst/>
          </a:prstGeom>
          <a:noFill/>
        </p:spPr>
        <p:txBody>
          <a:bodyPr wrap="square" lIns="0" tIns="0" rIns="0" bIns="0" rtlCol="0" anchor="t">
            <a:spAutoFit/>
          </a:bodyPr>
          <a:lstStyle/>
          <a:p>
            <a:pPr algn="dist"/>
            <a:r>
              <a:rPr lang="en-US" altLang="zh-CN" sz="1400" dirty="0">
                <a:solidFill>
                  <a:schemeClr val="bg1"/>
                </a:solidFill>
              </a:rPr>
              <a:t>Contents Title Here</a:t>
            </a:r>
            <a:endParaRPr lang="zh-CN" altLang="en-US" sz="1400" dirty="0">
              <a:solidFill>
                <a:schemeClr val="bg1"/>
              </a:solidFill>
            </a:endParaRPr>
          </a:p>
        </p:txBody>
      </p:sp>
      <p:sp>
        <p:nvSpPr>
          <p:cNvPr id="20" name="矩形: 圆角 19">
            <a:extLst>
              <a:ext uri="{FF2B5EF4-FFF2-40B4-BE49-F238E27FC236}">
                <a16:creationId xmlns:a16="http://schemas.microsoft.com/office/drawing/2014/main" id="{DDD6065C-BF7B-44DA-AD5F-4ED3937E1A3F}"/>
              </a:ext>
            </a:extLst>
          </p:cNvPr>
          <p:cNvSpPr/>
          <p:nvPr/>
        </p:nvSpPr>
        <p:spPr>
          <a:xfrm>
            <a:off x="6243828" y="2924175"/>
            <a:ext cx="2476500" cy="2483358"/>
          </a:xfrm>
          <a:prstGeom prst="roundRect">
            <a:avLst>
              <a:gd name="adj" fmla="val 9359"/>
            </a:avLst>
          </a:prstGeom>
          <a:solidFill>
            <a:schemeClr val="accent1"/>
          </a:solidFill>
          <a:ln>
            <a:noFill/>
          </a:ln>
          <a:effectLst>
            <a:outerShdw blurRad="76200" dir="18900000" sy="23000" kx="-1200000" algn="b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21" name="矩形: 对角圆角 20">
            <a:extLst>
              <a:ext uri="{FF2B5EF4-FFF2-40B4-BE49-F238E27FC236}">
                <a16:creationId xmlns:a16="http://schemas.microsoft.com/office/drawing/2014/main" id="{3E76A074-16D3-4E09-B8B7-822B10203E32}"/>
              </a:ext>
            </a:extLst>
          </p:cNvPr>
          <p:cNvSpPr/>
          <p:nvPr/>
        </p:nvSpPr>
        <p:spPr>
          <a:xfrm>
            <a:off x="6243828" y="2924176"/>
            <a:ext cx="1319213" cy="450056"/>
          </a:xfrm>
          <a:prstGeom prst="round2DiagRect">
            <a:avLst>
              <a:gd name="adj1" fmla="val 50000"/>
              <a:gd name="adj2" fmla="val 0"/>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22" name="文本框 21">
            <a:extLst>
              <a:ext uri="{FF2B5EF4-FFF2-40B4-BE49-F238E27FC236}">
                <a16:creationId xmlns:a16="http://schemas.microsoft.com/office/drawing/2014/main" id="{6DDA11EE-2A16-45E8-AF7D-5C219A1C7E9B}"/>
              </a:ext>
            </a:extLst>
          </p:cNvPr>
          <p:cNvSpPr txBox="1"/>
          <p:nvPr/>
        </p:nvSpPr>
        <p:spPr>
          <a:xfrm>
            <a:off x="6441769" y="3010704"/>
            <a:ext cx="923330" cy="276999"/>
          </a:xfrm>
          <a:prstGeom prst="rect">
            <a:avLst/>
          </a:prstGeom>
          <a:noFill/>
        </p:spPr>
        <p:txBody>
          <a:bodyPr wrap="none" lIns="0" tIns="0" rIns="0" bIns="0" rtlCol="0" anchor="t">
            <a:spAutoFit/>
          </a:bodyPr>
          <a:lstStyle/>
          <a:p>
            <a:pPr algn="l"/>
            <a:r>
              <a:rPr lang="zh-CN" altLang="en-US" dirty="0">
                <a:solidFill>
                  <a:schemeClr val="accent1">
                    <a:lumMod val="100000"/>
                  </a:schemeClr>
                </a:solidFill>
              </a:rPr>
              <a:t>第三部分</a:t>
            </a:r>
          </a:p>
        </p:txBody>
      </p:sp>
      <p:sp>
        <p:nvSpPr>
          <p:cNvPr id="23" name="文本框 22">
            <a:extLst>
              <a:ext uri="{FF2B5EF4-FFF2-40B4-BE49-F238E27FC236}">
                <a16:creationId xmlns:a16="http://schemas.microsoft.com/office/drawing/2014/main" id="{A3AE2AA6-4787-4D77-AD93-BDBE6BB3A9F9}"/>
              </a:ext>
            </a:extLst>
          </p:cNvPr>
          <p:cNvSpPr txBox="1"/>
          <p:nvPr/>
        </p:nvSpPr>
        <p:spPr>
          <a:xfrm>
            <a:off x="6553844" y="3930858"/>
            <a:ext cx="1846659" cy="369332"/>
          </a:xfrm>
          <a:prstGeom prst="rect">
            <a:avLst/>
          </a:prstGeom>
          <a:noFill/>
        </p:spPr>
        <p:txBody>
          <a:bodyPr wrap="none" lIns="0" tIns="0" rIns="0" bIns="0" rtlCol="0" anchor="t">
            <a:spAutoFit/>
          </a:bodyPr>
          <a:lstStyle/>
          <a:p>
            <a:pPr algn="ctr"/>
            <a:r>
              <a:rPr lang="zh-CN" altLang="en-US" sz="2400" dirty="0">
                <a:solidFill>
                  <a:schemeClr val="bg1"/>
                </a:solidFill>
                <a:latin typeface="+mj-ea"/>
                <a:ea typeface="+mj-ea"/>
              </a:rPr>
              <a:t>输入目录标题</a:t>
            </a:r>
          </a:p>
        </p:txBody>
      </p:sp>
      <p:sp>
        <p:nvSpPr>
          <p:cNvPr id="24" name="文本框 23">
            <a:extLst>
              <a:ext uri="{FF2B5EF4-FFF2-40B4-BE49-F238E27FC236}">
                <a16:creationId xmlns:a16="http://schemas.microsoft.com/office/drawing/2014/main" id="{89716410-1FF8-4CE5-8498-27729522A00C}"/>
              </a:ext>
            </a:extLst>
          </p:cNvPr>
          <p:cNvSpPr txBox="1"/>
          <p:nvPr/>
        </p:nvSpPr>
        <p:spPr>
          <a:xfrm>
            <a:off x="6553843" y="4392040"/>
            <a:ext cx="1846660" cy="215444"/>
          </a:xfrm>
          <a:prstGeom prst="rect">
            <a:avLst/>
          </a:prstGeom>
          <a:noFill/>
        </p:spPr>
        <p:txBody>
          <a:bodyPr wrap="square" lIns="0" tIns="0" rIns="0" bIns="0" rtlCol="0" anchor="t">
            <a:spAutoFit/>
          </a:bodyPr>
          <a:lstStyle/>
          <a:p>
            <a:pPr algn="dist"/>
            <a:r>
              <a:rPr lang="en-US" altLang="zh-CN" sz="1400" dirty="0">
                <a:solidFill>
                  <a:schemeClr val="bg1"/>
                </a:solidFill>
              </a:rPr>
              <a:t>Contents Title Here</a:t>
            </a:r>
            <a:endParaRPr lang="zh-CN" altLang="en-US" sz="1400" dirty="0">
              <a:solidFill>
                <a:schemeClr val="bg1"/>
              </a:solidFill>
            </a:endParaRPr>
          </a:p>
        </p:txBody>
      </p:sp>
      <p:sp>
        <p:nvSpPr>
          <p:cNvPr id="26" name="矩形: 圆角 25">
            <a:extLst>
              <a:ext uri="{FF2B5EF4-FFF2-40B4-BE49-F238E27FC236}">
                <a16:creationId xmlns:a16="http://schemas.microsoft.com/office/drawing/2014/main" id="{526E782C-90DB-4F3C-B4E9-4F80108C3D3C}"/>
              </a:ext>
            </a:extLst>
          </p:cNvPr>
          <p:cNvSpPr/>
          <p:nvPr/>
        </p:nvSpPr>
        <p:spPr>
          <a:xfrm>
            <a:off x="9015984" y="2924175"/>
            <a:ext cx="2476500" cy="2483358"/>
          </a:xfrm>
          <a:prstGeom prst="roundRect">
            <a:avLst>
              <a:gd name="adj" fmla="val 9359"/>
            </a:avLst>
          </a:prstGeom>
          <a:solidFill>
            <a:schemeClr val="accent1"/>
          </a:solidFill>
          <a:ln>
            <a:noFill/>
          </a:ln>
          <a:effectLst>
            <a:outerShdw blurRad="76200" dir="18900000" sy="23000" kx="-1200000" algn="b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27" name="矩形: 对角圆角 26">
            <a:extLst>
              <a:ext uri="{FF2B5EF4-FFF2-40B4-BE49-F238E27FC236}">
                <a16:creationId xmlns:a16="http://schemas.microsoft.com/office/drawing/2014/main" id="{276C5D9B-ABAA-4A5B-99C5-2AF3B78F7768}"/>
              </a:ext>
            </a:extLst>
          </p:cNvPr>
          <p:cNvSpPr/>
          <p:nvPr/>
        </p:nvSpPr>
        <p:spPr>
          <a:xfrm>
            <a:off x="9015984" y="2924176"/>
            <a:ext cx="1319213" cy="450056"/>
          </a:xfrm>
          <a:prstGeom prst="round2DiagRect">
            <a:avLst>
              <a:gd name="adj1" fmla="val 50000"/>
              <a:gd name="adj2" fmla="val 0"/>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28" name="文本框 27">
            <a:extLst>
              <a:ext uri="{FF2B5EF4-FFF2-40B4-BE49-F238E27FC236}">
                <a16:creationId xmlns:a16="http://schemas.microsoft.com/office/drawing/2014/main" id="{61CC45CC-CF82-418E-B31B-A1EB5A557A69}"/>
              </a:ext>
            </a:extLst>
          </p:cNvPr>
          <p:cNvSpPr txBox="1"/>
          <p:nvPr/>
        </p:nvSpPr>
        <p:spPr>
          <a:xfrm>
            <a:off x="9213925" y="3010704"/>
            <a:ext cx="923330" cy="276999"/>
          </a:xfrm>
          <a:prstGeom prst="rect">
            <a:avLst/>
          </a:prstGeom>
          <a:noFill/>
        </p:spPr>
        <p:txBody>
          <a:bodyPr wrap="none" lIns="0" tIns="0" rIns="0" bIns="0" rtlCol="0" anchor="t">
            <a:spAutoFit/>
          </a:bodyPr>
          <a:lstStyle/>
          <a:p>
            <a:pPr algn="l"/>
            <a:r>
              <a:rPr lang="zh-CN" altLang="en-US" dirty="0">
                <a:solidFill>
                  <a:schemeClr val="accent1">
                    <a:lumMod val="100000"/>
                  </a:schemeClr>
                </a:solidFill>
              </a:rPr>
              <a:t>第四部分</a:t>
            </a:r>
          </a:p>
        </p:txBody>
      </p:sp>
      <p:sp>
        <p:nvSpPr>
          <p:cNvPr id="29" name="文本框 28">
            <a:extLst>
              <a:ext uri="{FF2B5EF4-FFF2-40B4-BE49-F238E27FC236}">
                <a16:creationId xmlns:a16="http://schemas.microsoft.com/office/drawing/2014/main" id="{EC7CACEB-A88F-4026-8117-C8559510351F}"/>
              </a:ext>
            </a:extLst>
          </p:cNvPr>
          <p:cNvSpPr txBox="1"/>
          <p:nvPr/>
        </p:nvSpPr>
        <p:spPr>
          <a:xfrm>
            <a:off x="9326000" y="3930858"/>
            <a:ext cx="1846659" cy="369332"/>
          </a:xfrm>
          <a:prstGeom prst="rect">
            <a:avLst/>
          </a:prstGeom>
          <a:noFill/>
        </p:spPr>
        <p:txBody>
          <a:bodyPr wrap="none" lIns="0" tIns="0" rIns="0" bIns="0" rtlCol="0" anchor="t">
            <a:spAutoFit/>
          </a:bodyPr>
          <a:lstStyle/>
          <a:p>
            <a:pPr algn="ctr"/>
            <a:r>
              <a:rPr lang="zh-CN" altLang="en-US" sz="2400" dirty="0">
                <a:solidFill>
                  <a:schemeClr val="bg1"/>
                </a:solidFill>
                <a:latin typeface="+mj-ea"/>
                <a:ea typeface="+mj-ea"/>
              </a:rPr>
              <a:t>输入目录标题</a:t>
            </a:r>
          </a:p>
        </p:txBody>
      </p:sp>
      <p:sp>
        <p:nvSpPr>
          <p:cNvPr id="30" name="文本框 29">
            <a:extLst>
              <a:ext uri="{FF2B5EF4-FFF2-40B4-BE49-F238E27FC236}">
                <a16:creationId xmlns:a16="http://schemas.microsoft.com/office/drawing/2014/main" id="{EB769ACD-8A67-4EF7-A8DC-D810B49BFE24}"/>
              </a:ext>
            </a:extLst>
          </p:cNvPr>
          <p:cNvSpPr txBox="1"/>
          <p:nvPr/>
        </p:nvSpPr>
        <p:spPr>
          <a:xfrm>
            <a:off x="9325999" y="4392040"/>
            <a:ext cx="1846660" cy="215444"/>
          </a:xfrm>
          <a:prstGeom prst="rect">
            <a:avLst/>
          </a:prstGeom>
          <a:noFill/>
        </p:spPr>
        <p:txBody>
          <a:bodyPr wrap="square" lIns="0" tIns="0" rIns="0" bIns="0" rtlCol="0" anchor="t">
            <a:spAutoFit/>
          </a:bodyPr>
          <a:lstStyle/>
          <a:p>
            <a:pPr algn="dist"/>
            <a:r>
              <a:rPr lang="en-US" altLang="zh-CN" sz="1400" dirty="0">
                <a:solidFill>
                  <a:schemeClr val="bg1"/>
                </a:solidFill>
              </a:rPr>
              <a:t>Contents Title Here</a:t>
            </a:r>
            <a:endParaRPr lang="zh-CN" altLang="en-US" sz="1400" dirty="0">
              <a:solidFill>
                <a:schemeClr val="bg1"/>
              </a:solidFill>
            </a:endParaRPr>
          </a:p>
        </p:txBody>
      </p:sp>
    </p:spTree>
    <p:extLst>
      <p:ext uri="{BB962C8B-B14F-4D97-AF65-F5344CB8AC3E}">
        <p14:creationId xmlns:p14="http://schemas.microsoft.com/office/powerpoint/2010/main" val="2640729995"/>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7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43">
            <a:extLst>
              <a:ext uri="{FF2B5EF4-FFF2-40B4-BE49-F238E27FC236}">
                <a16:creationId xmlns:a16="http://schemas.microsoft.com/office/drawing/2014/main" id="{9EACEFA3-6863-4229-A468-632D570DC53D}"/>
              </a:ext>
            </a:extLst>
          </p:cNvPr>
          <p:cNvGrpSpPr/>
          <p:nvPr/>
        </p:nvGrpSpPr>
        <p:grpSpPr>
          <a:xfrm>
            <a:off x="-38478" y="2972409"/>
            <a:ext cx="12230478" cy="913181"/>
            <a:chOff x="916032" y="3373236"/>
            <a:chExt cx="10448820" cy="913181"/>
          </a:xfrm>
        </p:grpSpPr>
        <p:sp>
          <p:nvSpPr>
            <p:cNvPr id="3" name="Rounded Rectangle 5">
              <a:extLst>
                <a:ext uri="{FF2B5EF4-FFF2-40B4-BE49-F238E27FC236}">
                  <a16:creationId xmlns:a16="http://schemas.microsoft.com/office/drawing/2014/main" id="{1AF087B5-4248-4DF3-947B-C92FBA347A51}"/>
                </a:ext>
              </a:extLst>
            </p:cNvPr>
            <p:cNvSpPr/>
            <p:nvPr/>
          </p:nvSpPr>
          <p:spPr>
            <a:xfrm flipH="1">
              <a:off x="916032" y="3373236"/>
              <a:ext cx="10448820" cy="913181"/>
            </a:xfrm>
            <a:prstGeom prst="rect">
              <a:avLst/>
            </a:prstGeom>
            <a:solidFill>
              <a:schemeClr val="bg1">
                <a:lumMod val="95000"/>
              </a:scheme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a:cs typeface="+mn-cs"/>
              </a:endParaRPr>
            </a:p>
          </p:txBody>
        </p:sp>
        <p:sp>
          <p:nvSpPr>
            <p:cNvPr id="4" name="Rounded Rectangle 5">
              <a:extLst>
                <a:ext uri="{FF2B5EF4-FFF2-40B4-BE49-F238E27FC236}">
                  <a16:creationId xmlns:a16="http://schemas.microsoft.com/office/drawing/2014/main" id="{0D57EC29-6DCD-4450-90BE-F69CAF9F46AA}"/>
                </a:ext>
              </a:extLst>
            </p:cNvPr>
            <p:cNvSpPr/>
            <p:nvPr/>
          </p:nvSpPr>
          <p:spPr>
            <a:xfrm flipH="1">
              <a:off x="991981" y="3449643"/>
              <a:ext cx="10296921" cy="760366"/>
            </a:xfrm>
            <a:prstGeom prst="rect">
              <a:avLst/>
            </a:prstGeom>
            <a:pattFill prst="shingle">
              <a:fgClr>
                <a:schemeClr val="bg1">
                  <a:lumMod val="95000"/>
                </a:schemeClr>
              </a:fgClr>
              <a:bgClr>
                <a:schemeClr val="bg1"/>
              </a:bgClr>
            </a:patt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a:cs typeface="+mn-cs"/>
              </a:endParaRPr>
            </a:p>
          </p:txBody>
        </p:sp>
      </p:grpSp>
      <p:grpSp>
        <p:nvGrpSpPr>
          <p:cNvPr id="5" name="Group 37">
            <a:extLst>
              <a:ext uri="{FF2B5EF4-FFF2-40B4-BE49-F238E27FC236}">
                <a16:creationId xmlns:a16="http://schemas.microsoft.com/office/drawing/2014/main" id="{6F607677-890F-47E9-89EE-B266B8518A14}"/>
              </a:ext>
            </a:extLst>
          </p:cNvPr>
          <p:cNvGrpSpPr/>
          <p:nvPr/>
        </p:nvGrpSpPr>
        <p:grpSpPr>
          <a:xfrm>
            <a:off x="2110347" y="2506692"/>
            <a:ext cx="7764012" cy="2161952"/>
            <a:chOff x="1906295" y="2811873"/>
            <a:chExt cx="8450984" cy="2353244"/>
          </a:xfrm>
        </p:grpSpPr>
        <p:grpSp>
          <p:nvGrpSpPr>
            <p:cNvPr id="6" name="Group 19">
              <a:extLst>
                <a:ext uri="{FF2B5EF4-FFF2-40B4-BE49-F238E27FC236}">
                  <a16:creationId xmlns:a16="http://schemas.microsoft.com/office/drawing/2014/main" id="{37B5BA1F-BFEF-47AE-9DD3-92C5ED951F14}"/>
                </a:ext>
              </a:extLst>
            </p:cNvPr>
            <p:cNvGrpSpPr/>
            <p:nvPr/>
          </p:nvGrpSpPr>
          <p:grpSpPr>
            <a:xfrm>
              <a:off x="2948969" y="2811873"/>
              <a:ext cx="5551901" cy="2353244"/>
              <a:chOff x="2455725" y="1434213"/>
              <a:chExt cx="6611052" cy="2802180"/>
            </a:xfrm>
          </p:grpSpPr>
          <p:sp>
            <p:nvSpPr>
              <p:cNvPr id="20" name="Flowchart: Stored Data 128">
                <a:extLst>
                  <a:ext uri="{FF2B5EF4-FFF2-40B4-BE49-F238E27FC236}">
                    <a16:creationId xmlns:a16="http://schemas.microsoft.com/office/drawing/2014/main" id="{C035099A-4AEF-4C3C-BDCA-518D0CB31B5C}"/>
                  </a:ext>
                </a:extLst>
              </p:cNvPr>
              <p:cNvSpPr/>
              <p:nvPr/>
            </p:nvSpPr>
            <p:spPr>
              <a:xfrm flipH="1">
                <a:off x="2455725" y="1724025"/>
                <a:ext cx="6358752" cy="1905312"/>
              </a:xfrm>
              <a:custGeom>
                <a:avLst/>
                <a:gdLst>
                  <a:gd name="connsiteX0" fmla="*/ 1667 w 10000"/>
                  <a:gd name="connsiteY0" fmla="*/ 0 h 10000"/>
                  <a:gd name="connsiteX1" fmla="*/ 10000 w 10000"/>
                  <a:gd name="connsiteY1" fmla="*/ 0 h 10000"/>
                  <a:gd name="connsiteX2" fmla="*/ 8333 w 10000"/>
                  <a:gd name="connsiteY2" fmla="*/ 5000 h 10000"/>
                  <a:gd name="connsiteX3" fmla="*/ 10000 w 10000"/>
                  <a:gd name="connsiteY3" fmla="*/ 10000 h 10000"/>
                  <a:gd name="connsiteX4" fmla="*/ 1667 w 10000"/>
                  <a:gd name="connsiteY4" fmla="*/ 10000 h 10000"/>
                  <a:gd name="connsiteX5" fmla="*/ 0 w 10000"/>
                  <a:gd name="connsiteY5" fmla="*/ 5000 h 10000"/>
                  <a:gd name="connsiteX6" fmla="*/ 1667 w 10000"/>
                  <a:gd name="connsiteY6" fmla="*/ 0 h 10000"/>
                  <a:gd name="connsiteX0" fmla="*/ 1819 w 10152"/>
                  <a:gd name="connsiteY0" fmla="*/ 0 h 10000"/>
                  <a:gd name="connsiteX1" fmla="*/ 10152 w 10152"/>
                  <a:gd name="connsiteY1" fmla="*/ 0 h 10000"/>
                  <a:gd name="connsiteX2" fmla="*/ 8485 w 10152"/>
                  <a:gd name="connsiteY2" fmla="*/ 5000 h 10000"/>
                  <a:gd name="connsiteX3" fmla="*/ 10152 w 10152"/>
                  <a:gd name="connsiteY3" fmla="*/ 10000 h 10000"/>
                  <a:gd name="connsiteX4" fmla="*/ 1819 w 10152"/>
                  <a:gd name="connsiteY4" fmla="*/ 10000 h 10000"/>
                  <a:gd name="connsiteX5" fmla="*/ 0 w 10152"/>
                  <a:gd name="connsiteY5" fmla="*/ 4967 h 10000"/>
                  <a:gd name="connsiteX6" fmla="*/ 1819 w 10152"/>
                  <a:gd name="connsiteY6" fmla="*/ 0 h 10000"/>
                  <a:gd name="connsiteX0" fmla="*/ 1819 w 10152"/>
                  <a:gd name="connsiteY0" fmla="*/ 0 h 10000"/>
                  <a:gd name="connsiteX1" fmla="*/ 10152 w 10152"/>
                  <a:gd name="connsiteY1" fmla="*/ 0 h 10000"/>
                  <a:gd name="connsiteX2" fmla="*/ 8485 w 10152"/>
                  <a:gd name="connsiteY2" fmla="*/ 5000 h 10000"/>
                  <a:gd name="connsiteX3" fmla="*/ 10152 w 10152"/>
                  <a:gd name="connsiteY3" fmla="*/ 10000 h 10000"/>
                  <a:gd name="connsiteX4" fmla="*/ 1819 w 10152"/>
                  <a:gd name="connsiteY4" fmla="*/ 10000 h 10000"/>
                  <a:gd name="connsiteX5" fmla="*/ 0 w 10152"/>
                  <a:gd name="connsiteY5" fmla="*/ 4967 h 10000"/>
                  <a:gd name="connsiteX6" fmla="*/ 1819 w 10152"/>
                  <a:gd name="connsiteY6" fmla="*/ 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152" h="10000">
                    <a:moveTo>
                      <a:pt x="1819" y="0"/>
                    </a:moveTo>
                    <a:lnTo>
                      <a:pt x="10152" y="0"/>
                    </a:lnTo>
                    <a:cubicBezTo>
                      <a:pt x="9231" y="0"/>
                      <a:pt x="8485" y="2239"/>
                      <a:pt x="8485" y="5000"/>
                    </a:cubicBezTo>
                    <a:cubicBezTo>
                      <a:pt x="8485" y="7761"/>
                      <a:pt x="9231" y="10000"/>
                      <a:pt x="10152" y="10000"/>
                    </a:cubicBezTo>
                    <a:lnTo>
                      <a:pt x="1819" y="10000"/>
                    </a:lnTo>
                    <a:cubicBezTo>
                      <a:pt x="898" y="10000"/>
                      <a:pt x="0" y="7228"/>
                      <a:pt x="0" y="4967"/>
                    </a:cubicBezTo>
                    <a:cubicBezTo>
                      <a:pt x="0" y="2706"/>
                      <a:pt x="898" y="0"/>
                      <a:pt x="1819" y="0"/>
                    </a:cubicBezTo>
                    <a:close/>
                  </a:path>
                </a:pathLst>
              </a:custGeom>
              <a:gradFill flip="none" rotWithShape="1">
                <a:gsLst>
                  <a:gs pos="67000">
                    <a:schemeClr val="accent1"/>
                  </a:gs>
                  <a:gs pos="0">
                    <a:schemeClr val="accent1"/>
                  </a:gs>
                </a:gsLst>
                <a:lin ang="18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FFFFFF"/>
                  </a:solidFill>
                  <a:effectLst/>
                  <a:uLnTx/>
                  <a:uFillTx/>
                  <a:latin typeface="Arial"/>
                  <a:cs typeface="+mn-cs"/>
                </a:endParaRPr>
              </a:p>
            </p:txBody>
          </p:sp>
          <p:sp>
            <p:nvSpPr>
              <p:cNvPr id="21" name="Freeform: Shape 6">
                <a:extLst>
                  <a:ext uri="{FF2B5EF4-FFF2-40B4-BE49-F238E27FC236}">
                    <a16:creationId xmlns:a16="http://schemas.microsoft.com/office/drawing/2014/main" id="{F88AFA92-66A2-41C1-BA43-3195BBA1098F}"/>
                  </a:ext>
                </a:extLst>
              </p:cNvPr>
              <p:cNvSpPr/>
              <p:nvPr/>
            </p:nvSpPr>
            <p:spPr>
              <a:xfrm flipH="1">
                <a:off x="3125223" y="1434213"/>
                <a:ext cx="5941554" cy="2802180"/>
              </a:xfrm>
              <a:custGeom>
                <a:avLst/>
                <a:gdLst>
                  <a:gd name="connsiteX0" fmla="*/ 4866182 w 4867275"/>
                  <a:gd name="connsiteY0" fmla="*/ 1830850 h 2295525"/>
                  <a:gd name="connsiteX1" fmla="*/ 4772437 w 4867275"/>
                  <a:gd name="connsiteY1" fmla="*/ 1011052 h 2295525"/>
                  <a:gd name="connsiteX2" fmla="*/ 4867125 w 4867275"/>
                  <a:gd name="connsiteY2" fmla="*/ 189206 h 2295525"/>
                  <a:gd name="connsiteX3" fmla="*/ 4860715 w 4867275"/>
                  <a:gd name="connsiteY3" fmla="*/ 96728 h 2295525"/>
                  <a:gd name="connsiteX4" fmla="*/ 4778762 w 4867275"/>
                  <a:gd name="connsiteY4" fmla="*/ 51751 h 2295525"/>
                  <a:gd name="connsiteX5" fmla="*/ 4337650 w 4867275"/>
                  <a:gd name="connsiteY5" fmla="*/ 536392 h 2295525"/>
                  <a:gd name="connsiteX6" fmla="*/ 4169162 w 4867275"/>
                  <a:gd name="connsiteY6" fmla="*/ 913935 h 2295525"/>
                  <a:gd name="connsiteX7" fmla="*/ 3532054 w 4867275"/>
                  <a:gd name="connsiteY7" fmla="*/ 913935 h 2295525"/>
                  <a:gd name="connsiteX8" fmla="*/ 3688368 w 4867275"/>
                  <a:gd name="connsiteY8" fmla="*/ 516828 h 2295525"/>
                  <a:gd name="connsiteX9" fmla="*/ 3730355 w 4867275"/>
                  <a:gd name="connsiteY9" fmla="*/ 386040 h 2295525"/>
                  <a:gd name="connsiteX10" fmla="*/ 3599567 w 4867275"/>
                  <a:gd name="connsiteY10" fmla="*/ 344054 h 2295525"/>
                  <a:gd name="connsiteX11" fmla="*/ 3337410 w 4867275"/>
                  <a:gd name="connsiteY11" fmla="*/ 913935 h 2295525"/>
                  <a:gd name="connsiteX12" fmla="*/ 2780664 w 4867275"/>
                  <a:gd name="connsiteY12" fmla="*/ 913935 h 2295525"/>
                  <a:gd name="connsiteX13" fmla="*/ 3050355 w 4867275"/>
                  <a:gd name="connsiteY13" fmla="*/ 211133 h 2295525"/>
                  <a:gd name="connsiteX14" fmla="*/ 3092342 w 4867275"/>
                  <a:gd name="connsiteY14" fmla="*/ 80345 h 2295525"/>
                  <a:gd name="connsiteX15" fmla="*/ 2961554 w 4867275"/>
                  <a:gd name="connsiteY15" fmla="*/ 38359 h 2295525"/>
                  <a:gd name="connsiteX16" fmla="*/ 2586173 w 4867275"/>
                  <a:gd name="connsiteY16" fmla="*/ 913935 h 2295525"/>
                  <a:gd name="connsiteX17" fmla="*/ 2032561 w 4867275"/>
                  <a:gd name="connsiteY17" fmla="*/ 913935 h 2295525"/>
                  <a:gd name="connsiteX18" fmla="*/ 2209974 w 4867275"/>
                  <a:gd name="connsiteY18" fmla="*/ 141972 h 2295525"/>
                  <a:gd name="connsiteX19" fmla="*/ 2168635 w 4867275"/>
                  <a:gd name="connsiteY19" fmla="*/ 10984 h 2295525"/>
                  <a:gd name="connsiteX20" fmla="*/ 2037648 w 4867275"/>
                  <a:gd name="connsiteY20" fmla="*/ 52322 h 2295525"/>
                  <a:gd name="connsiteX21" fmla="*/ 1838213 w 4867275"/>
                  <a:gd name="connsiteY21" fmla="*/ 913944 h 2295525"/>
                  <a:gd name="connsiteX22" fmla="*/ 1366821 w 4867275"/>
                  <a:gd name="connsiteY22" fmla="*/ 913944 h 2295525"/>
                  <a:gd name="connsiteX23" fmla="*/ 1366821 w 4867275"/>
                  <a:gd name="connsiteY23" fmla="*/ 148887 h 2295525"/>
                  <a:gd name="connsiteX24" fmla="*/ 1269694 w 4867275"/>
                  <a:gd name="connsiteY24" fmla="*/ 51760 h 2295525"/>
                  <a:gd name="connsiteX25" fmla="*/ 438981 w 4867275"/>
                  <a:gd name="connsiteY25" fmla="*/ 508589 h 2295525"/>
                  <a:gd name="connsiteX26" fmla="*/ 21567 w 4867275"/>
                  <a:gd name="connsiteY26" fmla="*/ 950035 h 2295525"/>
                  <a:gd name="connsiteX27" fmla="*/ 21567 w 4867275"/>
                  <a:gd name="connsiteY27" fmla="*/ 1072098 h 2295525"/>
                  <a:gd name="connsiteX28" fmla="*/ 438981 w 4867275"/>
                  <a:gd name="connsiteY28" fmla="*/ 1513543 h 2295525"/>
                  <a:gd name="connsiteX29" fmla="*/ 1269694 w 4867275"/>
                  <a:gd name="connsiteY29" fmla="*/ 1970372 h 2295525"/>
                  <a:gd name="connsiteX30" fmla="*/ 1366821 w 4867275"/>
                  <a:gd name="connsiteY30" fmla="*/ 1873245 h 2295525"/>
                  <a:gd name="connsiteX31" fmla="*/ 1366821 w 4867275"/>
                  <a:gd name="connsiteY31" fmla="*/ 1108188 h 2295525"/>
                  <a:gd name="connsiteX32" fmla="*/ 1838213 w 4867275"/>
                  <a:gd name="connsiteY32" fmla="*/ 1108188 h 2295525"/>
                  <a:gd name="connsiteX33" fmla="*/ 1967067 w 4867275"/>
                  <a:gd name="connsiteY33" fmla="*/ 1809513 h 2295525"/>
                  <a:gd name="connsiteX34" fmla="*/ 2326236 w 4867275"/>
                  <a:gd name="connsiteY34" fmla="*/ 2289469 h 2295525"/>
                  <a:gd name="connsiteX35" fmla="*/ 2370556 w 4867275"/>
                  <a:gd name="connsiteY35" fmla="*/ 2300232 h 2295525"/>
                  <a:gd name="connsiteX36" fmla="*/ 2457024 w 4867275"/>
                  <a:gd name="connsiteY36" fmla="*/ 2247483 h 2295525"/>
                  <a:gd name="connsiteX37" fmla="*/ 2415038 w 4867275"/>
                  <a:gd name="connsiteY37" fmla="*/ 2116695 h 2295525"/>
                  <a:gd name="connsiteX38" fmla="*/ 2149147 w 4867275"/>
                  <a:gd name="connsiteY38" fmla="*/ 1741819 h 2295525"/>
                  <a:gd name="connsiteX39" fmla="*/ 2032599 w 4867275"/>
                  <a:gd name="connsiteY39" fmla="*/ 1108188 h 2295525"/>
                  <a:gd name="connsiteX40" fmla="*/ 2586202 w 4867275"/>
                  <a:gd name="connsiteY40" fmla="*/ 1108188 h 2295525"/>
                  <a:gd name="connsiteX41" fmla="*/ 2961582 w 4867275"/>
                  <a:gd name="connsiteY41" fmla="*/ 1983764 h 2295525"/>
                  <a:gd name="connsiteX42" fmla="*/ 3005902 w 4867275"/>
                  <a:gd name="connsiteY42" fmla="*/ 1994527 h 2295525"/>
                  <a:gd name="connsiteX43" fmla="*/ 3092370 w 4867275"/>
                  <a:gd name="connsiteY43" fmla="*/ 1941778 h 2295525"/>
                  <a:gd name="connsiteX44" fmla="*/ 3050384 w 4867275"/>
                  <a:gd name="connsiteY44" fmla="*/ 1810990 h 2295525"/>
                  <a:gd name="connsiteX45" fmla="*/ 2780693 w 4867275"/>
                  <a:gd name="connsiteY45" fmla="*/ 1108188 h 2295525"/>
                  <a:gd name="connsiteX46" fmla="*/ 3337439 w 4867275"/>
                  <a:gd name="connsiteY46" fmla="*/ 1108188 h 2295525"/>
                  <a:gd name="connsiteX47" fmla="*/ 3599595 w 4867275"/>
                  <a:gd name="connsiteY47" fmla="*/ 1678069 h 2295525"/>
                  <a:gd name="connsiteX48" fmla="*/ 3643915 w 4867275"/>
                  <a:gd name="connsiteY48" fmla="*/ 1688832 h 2295525"/>
                  <a:gd name="connsiteX49" fmla="*/ 3730383 w 4867275"/>
                  <a:gd name="connsiteY49" fmla="*/ 1636082 h 2295525"/>
                  <a:gd name="connsiteX50" fmla="*/ 3688397 w 4867275"/>
                  <a:gd name="connsiteY50" fmla="*/ 1505294 h 2295525"/>
                  <a:gd name="connsiteX51" fmla="*/ 3532082 w 4867275"/>
                  <a:gd name="connsiteY51" fmla="*/ 1108188 h 2295525"/>
                  <a:gd name="connsiteX52" fmla="*/ 4169190 w 4867275"/>
                  <a:gd name="connsiteY52" fmla="*/ 1108188 h 2295525"/>
                  <a:gd name="connsiteX53" fmla="*/ 4337678 w 4867275"/>
                  <a:gd name="connsiteY53" fmla="*/ 1485730 h 2295525"/>
                  <a:gd name="connsiteX54" fmla="*/ 4778790 w 4867275"/>
                  <a:gd name="connsiteY54" fmla="*/ 1970372 h 2295525"/>
                  <a:gd name="connsiteX55" fmla="*/ 4862477 w 4867275"/>
                  <a:gd name="connsiteY55" fmla="*/ 1924585 h 2295525"/>
                  <a:gd name="connsiteX56" fmla="*/ 4866182 w 4867275"/>
                  <a:gd name="connsiteY56" fmla="*/ 1830850 h 2295525"/>
                  <a:gd name="connsiteX57" fmla="*/ 1172539 w 4867275"/>
                  <a:gd name="connsiteY57" fmla="*/ 1762965 h 2295525"/>
                  <a:gd name="connsiteX58" fmla="*/ 223526 w 4867275"/>
                  <a:gd name="connsiteY58" fmla="*/ 1011023 h 2295525"/>
                  <a:gd name="connsiteX59" fmla="*/ 1172539 w 4867275"/>
                  <a:gd name="connsiteY59" fmla="*/ 259101 h 2295525"/>
                  <a:gd name="connsiteX60" fmla="*/ 1172539 w 4867275"/>
                  <a:gd name="connsiteY60" fmla="*/ 1762965 h 2295525"/>
                  <a:gd name="connsiteX61" fmla="*/ 4611122 w 4867275"/>
                  <a:gd name="connsiteY61" fmla="*/ 1580294 h 2295525"/>
                  <a:gd name="connsiteX62" fmla="*/ 4505175 w 4867275"/>
                  <a:gd name="connsiteY62" fmla="*/ 1386365 h 2295525"/>
                  <a:gd name="connsiteX63" fmla="*/ 4339716 w 4867275"/>
                  <a:gd name="connsiteY63" fmla="*/ 1011052 h 2295525"/>
                  <a:gd name="connsiteX64" fmla="*/ 4505175 w 4867275"/>
                  <a:gd name="connsiteY64" fmla="*/ 635738 h 2295525"/>
                  <a:gd name="connsiteX65" fmla="*/ 4612712 w 4867275"/>
                  <a:gd name="connsiteY65" fmla="*/ 439237 h 2295525"/>
                  <a:gd name="connsiteX66" fmla="*/ 4578194 w 4867275"/>
                  <a:gd name="connsiteY66" fmla="*/ 1011061 h 2295525"/>
                  <a:gd name="connsiteX67" fmla="*/ 4611122 w 4867275"/>
                  <a:gd name="connsiteY67" fmla="*/ 1580294 h 2295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4867275" h="2295525">
                    <a:moveTo>
                      <a:pt x="4866182" y="1830850"/>
                    </a:moveTo>
                    <a:cubicBezTo>
                      <a:pt x="4860858" y="1818629"/>
                      <a:pt x="4772437" y="1605640"/>
                      <a:pt x="4772437" y="1011052"/>
                    </a:cubicBezTo>
                    <a:cubicBezTo>
                      <a:pt x="4772437" y="414244"/>
                      <a:pt x="4864792" y="194607"/>
                      <a:pt x="4867125" y="189206"/>
                    </a:cubicBezTo>
                    <a:cubicBezTo>
                      <a:pt x="4880784" y="159298"/>
                      <a:pt x="4878384" y="124484"/>
                      <a:pt x="4860715" y="96728"/>
                    </a:cubicBezTo>
                    <a:cubicBezTo>
                      <a:pt x="4842893" y="68705"/>
                      <a:pt x="4811976" y="51751"/>
                      <a:pt x="4778762" y="51751"/>
                    </a:cubicBezTo>
                    <a:cubicBezTo>
                      <a:pt x="4641973" y="51751"/>
                      <a:pt x="4505937" y="201227"/>
                      <a:pt x="4337650" y="536392"/>
                    </a:cubicBezTo>
                    <a:cubicBezTo>
                      <a:pt x="4262726" y="685611"/>
                      <a:pt x="4201413" y="833039"/>
                      <a:pt x="4169162" y="913935"/>
                    </a:cubicBezTo>
                    <a:lnTo>
                      <a:pt x="3532054" y="913935"/>
                    </a:lnTo>
                    <a:cubicBezTo>
                      <a:pt x="3550246" y="686964"/>
                      <a:pt x="3629818" y="546927"/>
                      <a:pt x="3688368" y="516828"/>
                    </a:cubicBezTo>
                    <a:cubicBezTo>
                      <a:pt x="3736079" y="492311"/>
                      <a:pt x="3754872" y="433751"/>
                      <a:pt x="3730355" y="386040"/>
                    </a:cubicBezTo>
                    <a:cubicBezTo>
                      <a:pt x="3705828" y="338320"/>
                      <a:pt x="3647268" y="319537"/>
                      <a:pt x="3599567" y="344054"/>
                    </a:cubicBezTo>
                    <a:cubicBezTo>
                      <a:pt x="3457206" y="417225"/>
                      <a:pt x="3356774" y="640110"/>
                      <a:pt x="3337410" y="913935"/>
                    </a:cubicBezTo>
                    <a:lnTo>
                      <a:pt x="2780664" y="913935"/>
                    </a:lnTo>
                    <a:cubicBezTo>
                      <a:pt x="2799876" y="536916"/>
                      <a:pt x="2928597" y="273712"/>
                      <a:pt x="3050355" y="211133"/>
                    </a:cubicBezTo>
                    <a:cubicBezTo>
                      <a:pt x="3098066" y="186606"/>
                      <a:pt x="3116859" y="128056"/>
                      <a:pt x="3092342" y="80345"/>
                    </a:cubicBezTo>
                    <a:cubicBezTo>
                      <a:pt x="3067815" y="32625"/>
                      <a:pt x="3009245" y="13832"/>
                      <a:pt x="2961554" y="38359"/>
                    </a:cubicBezTo>
                    <a:cubicBezTo>
                      <a:pt x="2751546" y="146296"/>
                      <a:pt x="2605681" y="491739"/>
                      <a:pt x="2586173" y="913935"/>
                    </a:cubicBezTo>
                    <a:lnTo>
                      <a:pt x="2032561" y="913935"/>
                    </a:lnTo>
                    <a:cubicBezTo>
                      <a:pt x="2043934" y="616793"/>
                      <a:pt x="2107161" y="339577"/>
                      <a:pt x="2209974" y="141972"/>
                    </a:cubicBezTo>
                    <a:cubicBezTo>
                      <a:pt x="2234729" y="94385"/>
                      <a:pt x="2216232" y="35730"/>
                      <a:pt x="2168635" y="10984"/>
                    </a:cubicBezTo>
                    <a:cubicBezTo>
                      <a:pt x="2121077" y="-13772"/>
                      <a:pt x="2062403" y="4726"/>
                      <a:pt x="2037648" y="52322"/>
                    </a:cubicBezTo>
                    <a:cubicBezTo>
                      <a:pt x="1921204" y="276122"/>
                      <a:pt x="1850015" y="585875"/>
                      <a:pt x="1838213" y="913944"/>
                    </a:cubicBezTo>
                    <a:lnTo>
                      <a:pt x="1366821" y="913944"/>
                    </a:lnTo>
                    <a:lnTo>
                      <a:pt x="1366821" y="148887"/>
                    </a:lnTo>
                    <a:cubicBezTo>
                      <a:pt x="1366821" y="95242"/>
                      <a:pt x="1323339" y="51760"/>
                      <a:pt x="1269694" y="51760"/>
                    </a:cubicBezTo>
                    <a:cubicBezTo>
                      <a:pt x="1047019" y="51760"/>
                      <a:pt x="767527" y="205456"/>
                      <a:pt x="438981" y="508589"/>
                    </a:cubicBezTo>
                    <a:cubicBezTo>
                      <a:pt x="202847" y="726454"/>
                      <a:pt x="28854" y="941014"/>
                      <a:pt x="21567" y="950035"/>
                    </a:cubicBezTo>
                    <a:cubicBezTo>
                      <a:pt x="-7189" y="985639"/>
                      <a:pt x="-7189" y="1036493"/>
                      <a:pt x="21567" y="1072098"/>
                    </a:cubicBezTo>
                    <a:cubicBezTo>
                      <a:pt x="28854" y="1081118"/>
                      <a:pt x="202847" y="1295678"/>
                      <a:pt x="438981" y="1513543"/>
                    </a:cubicBezTo>
                    <a:cubicBezTo>
                      <a:pt x="767536" y="1816676"/>
                      <a:pt x="1047029" y="1970372"/>
                      <a:pt x="1269694" y="1970372"/>
                    </a:cubicBezTo>
                    <a:cubicBezTo>
                      <a:pt x="1323339" y="1970372"/>
                      <a:pt x="1366821" y="1926890"/>
                      <a:pt x="1366821" y="1873245"/>
                    </a:cubicBezTo>
                    <a:lnTo>
                      <a:pt x="1366821" y="1108188"/>
                    </a:lnTo>
                    <a:lnTo>
                      <a:pt x="1838213" y="1108188"/>
                    </a:lnTo>
                    <a:cubicBezTo>
                      <a:pt x="1847100" y="1364534"/>
                      <a:pt x="1891144" y="1605307"/>
                      <a:pt x="1967067" y="1809513"/>
                    </a:cubicBezTo>
                    <a:cubicBezTo>
                      <a:pt x="2055888" y="2048381"/>
                      <a:pt x="2180075" y="2214355"/>
                      <a:pt x="2326236" y="2289469"/>
                    </a:cubicBezTo>
                    <a:cubicBezTo>
                      <a:pt x="2340447" y="2296774"/>
                      <a:pt x="2355611" y="2300232"/>
                      <a:pt x="2370556" y="2300232"/>
                    </a:cubicBezTo>
                    <a:cubicBezTo>
                      <a:pt x="2405808" y="2300232"/>
                      <a:pt x="2439803" y="2280992"/>
                      <a:pt x="2457024" y="2247483"/>
                    </a:cubicBezTo>
                    <a:cubicBezTo>
                      <a:pt x="2481541" y="2199772"/>
                      <a:pt x="2462749" y="2141212"/>
                      <a:pt x="2415038" y="2116695"/>
                    </a:cubicBezTo>
                    <a:cubicBezTo>
                      <a:pt x="2314187" y="2064869"/>
                      <a:pt x="2219756" y="1931729"/>
                      <a:pt x="2149147" y="1741819"/>
                    </a:cubicBezTo>
                    <a:cubicBezTo>
                      <a:pt x="2082120" y="1561521"/>
                      <a:pt x="2041524" y="1339531"/>
                      <a:pt x="2032599" y="1108188"/>
                    </a:cubicBezTo>
                    <a:lnTo>
                      <a:pt x="2586202" y="1108188"/>
                    </a:lnTo>
                    <a:cubicBezTo>
                      <a:pt x="2605719" y="1530383"/>
                      <a:pt x="2751584" y="1875827"/>
                      <a:pt x="2961582" y="1983764"/>
                    </a:cubicBezTo>
                    <a:cubicBezTo>
                      <a:pt x="2975793" y="1991069"/>
                      <a:pt x="2990957" y="1994527"/>
                      <a:pt x="3005902" y="1994527"/>
                    </a:cubicBezTo>
                    <a:cubicBezTo>
                      <a:pt x="3041145" y="1994527"/>
                      <a:pt x="3075149" y="1975287"/>
                      <a:pt x="3092370" y="1941778"/>
                    </a:cubicBezTo>
                    <a:cubicBezTo>
                      <a:pt x="3116887" y="1894067"/>
                      <a:pt x="3098094" y="1835517"/>
                      <a:pt x="3050384" y="1810990"/>
                    </a:cubicBezTo>
                    <a:cubicBezTo>
                      <a:pt x="2928616" y="1748411"/>
                      <a:pt x="2799905" y="1485206"/>
                      <a:pt x="2780693" y="1108188"/>
                    </a:cubicBezTo>
                    <a:lnTo>
                      <a:pt x="3337439" y="1108188"/>
                    </a:lnTo>
                    <a:cubicBezTo>
                      <a:pt x="3356784" y="1382012"/>
                      <a:pt x="3457225" y="1604897"/>
                      <a:pt x="3599595" y="1678069"/>
                    </a:cubicBezTo>
                    <a:cubicBezTo>
                      <a:pt x="3613806" y="1685374"/>
                      <a:pt x="3628970" y="1688832"/>
                      <a:pt x="3643915" y="1688832"/>
                    </a:cubicBezTo>
                    <a:cubicBezTo>
                      <a:pt x="3679158" y="1688832"/>
                      <a:pt x="3713162" y="1669591"/>
                      <a:pt x="3730383" y="1636082"/>
                    </a:cubicBezTo>
                    <a:cubicBezTo>
                      <a:pt x="3754900" y="1588372"/>
                      <a:pt x="3736107" y="1529812"/>
                      <a:pt x="3688397" y="1505294"/>
                    </a:cubicBezTo>
                    <a:cubicBezTo>
                      <a:pt x="3629847" y="1475205"/>
                      <a:pt x="3550275" y="1335159"/>
                      <a:pt x="3532082" y="1108188"/>
                    </a:cubicBezTo>
                    <a:lnTo>
                      <a:pt x="4169190" y="1108188"/>
                    </a:lnTo>
                    <a:cubicBezTo>
                      <a:pt x="4201442" y="1189084"/>
                      <a:pt x="4262754" y="1336511"/>
                      <a:pt x="4337678" y="1485730"/>
                    </a:cubicBezTo>
                    <a:cubicBezTo>
                      <a:pt x="4505966" y="1820896"/>
                      <a:pt x="4642002" y="1970372"/>
                      <a:pt x="4778790" y="1970372"/>
                    </a:cubicBezTo>
                    <a:cubicBezTo>
                      <a:pt x="4812795" y="1970372"/>
                      <a:pt x="4844884" y="1953684"/>
                      <a:pt x="4862477" y="1924585"/>
                    </a:cubicBezTo>
                    <a:cubicBezTo>
                      <a:pt x="4879936" y="1895658"/>
                      <a:pt x="4881670" y="1860834"/>
                      <a:pt x="4866182" y="1830850"/>
                    </a:cubicBezTo>
                    <a:close/>
                    <a:moveTo>
                      <a:pt x="1172539" y="1762965"/>
                    </a:moveTo>
                    <a:cubicBezTo>
                      <a:pt x="852680" y="1681945"/>
                      <a:pt x="424503" y="1245757"/>
                      <a:pt x="223526" y="1011023"/>
                    </a:cubicBezTo>
                    <a:cubicBezTo>
                      <a:pt x="424370" y="776261"/>
                      <a:pt x="852395" y="340063"/>
                      <a:pt x="1172539" y="259101"/>
                    </a:cubicBezTo>
                    <a:lnTo>
                      <a:pt x="1172539" y="1762965"/>
                    </a:lnTo>
                    <a:close/>
                    <a:moveTo>
                      <a:pt x="4611122" y="1580294"/>
                    </a:moveTo>
                    <a:cubicBezTo>
                      <a:pt x="4580166" y="1529755"/>
                      <a:pt x="4544875" y="1466223"/>
                      <a:pt x="4505175" y="1386365"/>
                    </a:cubicBezTo>
                    <a:cubicBezTo>
                      <a:pt x="4428308" y="1231765"/>
                      <a:pt x="4365805" y="1077555"/>
                      <a:pt x="4339716" y="1011052"/>
                    </a:cubicBezTo>
                    <a:cubicBezTo>
                      <a:pt x="4365815" y="944548"/>
                      <a:pt x="4428308" y="790339"/>
                      <a:pt x="4505175" y="635738"/>
                    </a:cubicBezTo>
                    <a:cubicBezTo>
                      <a:pt x="4545561" y="554518"/>
                      <a:pt x="4581385" y="490177"/>
                      <a:pt x="4612712" y="439237"/>
                    </a:cubicBezTo>
                    <a:cubicBezTo>
                      <a:pt x="4593434" y="577702"/>
                      <a:pt x="4578194" y="764973"/>
                      <a:pt x="4578194" y="1011061"/>
                    </a:cubicBezTo>
                    <a:cubicBezTo>
                      <a:pt x="4578175" y="1257530"/>
                      <a:pt x="4592548" y="1443239"/>
                      <a:pt x="4611122" y="1580294"/>
                    </a:cubicBezTo>
                    <a:close/>
                  </a:path>
                </a:pathLst>
              </a:custGeom>
              <a:gradFill flip="none" rotWithShape="1">
                <a:gsLst>
                  <a:gs pos="100000">
                    <a:schemeClr val="accent1"/>
                  </a:gs>
                  <a:gs pos="33000">
                    <a:schemeClr val="accent1"/>
                  </a:gs>
                </a:gsLst>
                <a:lin ang="1800000" scaled="0"/>
                <a:tileRect/>
              </a:gradFill>
              <a:ln w="12700" cap="flat" cmpd="sng" algn="ctr">
                <a:noFill/>
                <a:prstDash val="solid"/>
                <a:miter lim="800000"/>
              </a:ln>
              <a:effectLst>
                <a:outerShdw blurRad="215900" sx="104000" sy="104000" algn="ctr" rotWithShape="0">
                  <a:prstClr val="black">
                    <a:alpha val="19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0" cap="none" spc="0" normalizeH="0" baseline="0" noProof="0">
                  <a:ln>
                    <a:noFill/>
                  </a:ln>
                  <a:solidFill>
                    <a:prstClr val="white"/>
                  </a:solidFill>
                  <a:effectLst/>
                  <a:uLnTx/>
                  <a:uFillTx/>
                  <a:latin typeface="Arial"/>
                  <a:cs typeface="+mn-cs"/>
                </a:endParaRPr>
              </a:p>
            </p:txBody>
          </p:sp>
        </p:grpSp>
        <p:grpSp>
          <p:nvGrpSpPr>
            <p:cNvPr id="7" name="Group 36">
              <a:extLst>
                <a:ext uri="{FF2B5EF4-FFF2-40B4-BE49-F238E27FC236}">
                  <a16:creationId xmlns:a16="http://schemas.microsoft.com/office/drawing/2014/main" id="{9C45966B-EFA1-41CD-B0D1-2D1E9D782802}"/>
                </a:ext>
              </a:extLst>
            </p:cNvPr>
            <p:cNvGrpSpPr/>
            <p:nvPr/>
          </p:nvGrpSpPr>
          <p:grpSpPr>
            <a:xfrm>
              <a:off x="1906295" y="3528589"/>
              <a:ext cx="8450984" cy="528085"/>
              <a:chOff x="1906295" y="3528589"/>
              <a:chExt cx="8450984" cy="528085"/>
            </a:xfrm>
          </p:grpSpPr>
          <p:sp>
            <p:nvSpPr>
              <p:cNvPr id="8" name="Oval 130">
                <a:extLst>
                  <a:ext uri="{FF2B5EF4-FFF2-40B4-BE49-F238E27FC236}">
                    <a16:creationId xmlns:a16="http://schemas.microsoft.com/office/drawing/2014/main" id="{9E1FECB5-7BB8-425B-BAA9-B0F08D6A15E7}"/>
                  </a:ext>
                </a:extLst>
              </p:cNvPr>
              <p:cNvSpPr/>
              <p:nvPr/>
            </p:nvSpPr>
            <p:spPr>
              <a:xfrm flipH="1">
                <a:off x="4097184" y="3656288"/>
                <a:ext cx="303191" cy="303189"/>
              </a:xfrm>
              <a:prstGeom prst="ellipse">
                <a:avLst/>
              </a:prstGeom>
              <a:solidFill>
                <a:sysClr val="window" lastClr="FFFFFF"/>
              </a:solidFill>
              <a:ln w="12700" cap="flat" cmpd="sng" algn="ctr">
                <a:noFill/>
                <a:prstDash val="solid"/>
                <a:miter lim="800000"/>
              </a:ln>
              <a:effectLst>
                <a:outerShdw blurRad="215900" sx="104000" sy="104000" algn="ctr" rotWithShape="0">
                  <a:prstClr val="black">
                    <a:alpha val="19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chemeClr val="accent1"/>
                    </a:solidFill>
                    <a:effectLst/>
                    <a:uLnTx/>
                    <a:uFillTx/>
                    <a:latin typeface="Gill Sans MT" panose="020B0502020104020203" pitchFamily="34" charset="0"/>
                    <a:cs typeface="+mn-cs"/>
                  </a:rPr>
                  <a:t>2</a:t>
                </a:r>
              </a:p>
            </p:txBody>
          </p:sp>
          <p:sp>
            <p:nvSpPr>
              <p:cNvPr id="9" name="Oval 131">
                <a:extLst>
                  <a:ext uri="{FF2B5EF4-FFF2-40B4-BE49-F238E27FC236}">
                    <a16:creationId xmlns:a16="http://schemas.microsoft.com/office/drawing/2014/main" id="{D12B9CFF-7C97-4D6E-84B7-1EC2D0344F0D}"/>
                  </a:ext>
                </a:extLst>
              </p:cNvPr>
              <p:cNvSpPr/>
              <p:nvPr/>
            </p:nvSpPr>
            <p:spPr>
              <a:xfrm flipH="1">
                <a:off x="5236004" y="3656288"/>
                <a:ext cx="303191" cy="303189"/>
              </a:xfrm>
              <a:prstGeom prst="ellipse">
                <a:avLst/>
              </a:prstGeom>
              <a:solidFill>
                <a:sysClr val="window" lastClr="FFFFFF"/>
              </a:solidFill>
              <a:ln w="12700" cap="flat" cmpd="sng" algn="ctr">
                <a:noFill/>
                <a:prstDash val="solid"/>
                <a:miter lim="800000"/>
              </a:ln>
              <a:effectLst>
                <a:outerShdw blurRad="215900" sx="104000" sy="104000" algn="ctr" rotWithShape="0">
                  <a:prstClr val="black">
                    <a:alpha val="19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chemeClr val="accent1"/>
                    </a:solidFill>
                    <a:effectLst/>
                    <a:uLnTx/>
                    <a:uFillTx/>
                    <a:latin typeface="Gill Sans MT" panose="020B0502020104020203" pitchFamily="34" charset="0"/>
                    <a:cs typeface="+mn-cs"/>
                  </a:rPr>
                  <a:t>3</a:t>
                </a:r>
              </a:p>
            </p:txBody>
          </p:sp>
          <p:sp>
            <p:nvSpPr>
              <p:cNvPr id="10" name="Oval 132">
                <a:extLst>
                  <a:ext uri="{FF2B5EF4-FFF2-40B4-BE49-F238E27FC236}">
                    <a16:creationId xmlns:a16="http://schemas.microsoft.com/office/drawing/2014/main" id="{CE498F41-1D68-4436-B883-A64F485BECED}"/>
                  </a:ext>
                </a:extLst>
              </p:cNvPr>
              <p:cNvSpPr/>
              <p:nvPr/>
            </p:nvSpPr>
            <p:spPr>
              <a:xfrm flipH="1">
                <a:off x="6374824" y="3656288"/>
                <a:ext cx="303191" cy="303189"/>
              </a:xfrm>
              <a:prstGeom prst="ellipse">
                <a:avLst/>
              </a:prstGeom>
              <a:solidFill>
                <a:sysClr val="window" lastClr="FFFFFF"/>
              </a:solidFill>
              <a:ln w="12700" cap="flat" cmpd="sng" algn="ctr">
                <a:noFill/>
                <a:prstDash val="solid"/>
                <a:miter lim="800000"/>
              </a:ln>
              <a:effectLst>
                <a:outerShdw blurRad="215900" sx="104000" sy="104000" algn="ctr" rotWithShape="0">
                  <a:prstClr val="black">
                    <a:alpha val="19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chemeClr val="accent1"/>
                    </a:solidFill>
                    <a:effectLst/>
                    <a:uLnTx/>
                    <a:uFillTx/>
                    <a:latin typeface="Gill Sans MT" panose="020B0502020104020203" pitchFamily="34" charset="0"/>
                    <a:cs typeface="+mn-cs"/>
                  </a:rPr>
                  <a:t>4</a:t>
                </a:r>
              </a:p>
            </p:txBody>
          </p:sp>
          <p:sp>
            <p:nvSpPr>
              <p:cNvPr id="11" name="Oval 133">
                <a:extLst>
                  <a:ext uri="{FF2B5EF4-FFF2-40B4-BE49-F238E27FC236}">
                    <a16:creationId xmlns:a16="http://schemas.microsoft.com/office/drawing/2014/main" id="{59E3EA26-3D89-45B7-AB25-D5E193A23525}"/>
                  </a:ext>
                </a:extLst>
              </p:cNvPr>
              <p:cNvSpPr/>
              <p:nvPr/>
            </p:nvSpPr>
            <p:spPr>
              <a:xfrm flipH="1">
                <a:off x="7513644" y="3656288"/>
                <a:ext cx="303191" cy="303189"/>
              </a:xfrm>
              <a:prstGeom prst="ellipse">
                <a:avLst/>
              </a:prstGeom>
              <a:solidFill>
                <a:sysClr val="window" lastClr="FFFFFF"/>
              </a:solidFill>
              <a:ln w="12700" cap="flat" cmpd="sng" algn="ctr">
                <a:noFill/>
                <a:prstDash val="solid"/>
                <a:miter lim="800000"/>
              </a:ln>
              <a:effectLst>
                <a:outerShdw blurRad="215900" sx="104000" sy="104000" algn="ctr" rotWithShape="0">
                  <a:prstClr val="black">
                    <a:alpha val="19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chemeClr val="accent1"/>
                    </a:solidFill>
                    <a:effectLst/>
                    <a:uLnTx/>
                    <a:uFillTx/>
                    <a:latin typeface="Gill Sans MT" panose="020B0502020104020203" pitchFamily="34" charset="0"/>
                    <a:cs typeface="+mn-cs"/>
                  </a:rPr>
                  <a:t>5</a:t>
                </a:r>
              </a:p>
            </p:txBody>
          </p:sp>
          <p:grpSp>
            <p:nvGrpSpPr>
              <p:cNvPr id="12" name="Group 26">
                <a:extLst>
                  <a:ext uri="{FF2B5EF4-FFF2-40B4-BE49-F238E27FC236}">
                    <a16:creationId xmlns:a16="http://schemas.microsoft.com/office/drawing/2014/main" id="{AB9C95FB-24EB-417D-BED2-A6F62ED9A07D}"/>
                  </a:ext>
                </a:extLst>
              </p:cNvPr>
              <p:cNvGrpSpPr/>
              <p:nvPr/>
            </p:nvGrpSpPr>
            <p:grpSpPr>
              <a:xfrm>
                <a:off x="8858715" y="3528589"/>
                <a:ext cx="1498564" cy="528085"/>
                <a:chOff x="8652465" y="3558192"/>
                <a:chExt cx="1498564" cy="528085"/>
              </a:xfrm>
            </p:grpSpPr>
            <p:grpSp>
              <p:nvGrpSpPr>
                <p:cNvPr id="16" name="Group 15">
                  <a:extLst>
                    <a:ext uri="{FF2B5EF4-FFF2-40B4-BE49-F238E27FC236}">
                      <a16:creationId xmlns:a16="http://schemas.microsoft.com/office/drawing/2014/main" id="{10740E64-0626-4465-85F2-21FC40FFCA88}"/>
                    </a:ext>
                  </a:extLst>
                </p:cNvPr>
                <p:cNvGrpSpPr/>
                <p:nvPr/>
              </p:nvGrpSpPr>
              <p:grpSpPr>
                <a:xfrm>
                  <a:off x="8652465" y="3588693"/>
                  <a:ext cx="497588" cy="497584"/>
                  <a:chOff x="8678241" y="2358534"/>
                  <a:chExt cx="592514" cy="592510"/>
                </a:xfrm>
              </p:grpSpPr>
              <p:sp>
                <p:nvSpPr>
                  <p:cNvPr id="18" name="Oval 144">
                    <a:extLst>
                      <a:ext uri="{FF2B5EF4-FFF2-40B4-BE49-F238E27FC236}">
                        <a16:creationId xmlns:a16="http://schemas.microsoft.com/office/drawing/2014/main" id="{C8DF25BC-9D04-48AF-945D-CB85813E5C35}"/>
                      </a:ext>
                    </a:extLst>
                  </p:cNvPr>
                  <p:cNvSpPr/>
                  <p:nvPr/>
                </p:nvSpPr>
                <p:spPr>
                  <a:xfrm flipH="1">
                    <a:off x="8678241" y="2358534"/>
                    <a:ext cx="592514" cy="592510"/>
                  </a:xfrm>
                  <a:prstGeom prst="ellipse">
                    <a:avLst/>
                  </a:prstGeom>
                  <a:gradFill flip="none" rotWithShape="1">
                    <a:gsLst>
                      <a:gs pos="100000">
                        <a:schemeClr val="accent1"/>
                      </a:gs>
                      <a:gs pos="33000">
                        <a:schemeClr val="accent1"/>
                      </a:gs>
                    </a:gsLst>
                    <a:lin ang="18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Gill Sans MT" panose="020B0502020104020203" pitchFamily="34" charset="0"/>
                      <a:cs typeface="+mn-cs"/>
                    </a:endParaRPr>
                  </a:p>
                </p:txBody>
              </p:sp>
              <p:sp>
                <p:nvSpPr>
                  <p:cNvPr id="19" name="Oval 143">
                    <a:extLst>
                      <a:ext uri="{FF2B5EF4-FFF2-40B4-BE49-F238E27FC236}">
                        <a16:creationId xmlns:a16="http://schemas.microsoft.com/office/drawing/2014/main" id="{60ADE968-CC0B-4017-B1B5-5F5933E0FE0D}"/>
                      </a:ext>
                    </a:extLst>
                  </p:cNvPr>
                  <p:cNvSpPr/>
                  <p:nvPr/>
                </p:nvSpPr>
                <p:spPr>
                  <a:xfrm flipH="1">
                    <a:off x="8793983" y="2474274"/>
                    <a:ext cx="361031" cy="361029"/>
                  </a:xfrm>
                  <a:prstGeom prst="ellipse">
                    <a:avLst/>
                  </a:prstGeom>
                  <a:gradFill flip="none" rotWithShape="1">
                    <a:gsLst>
                      <a:gs pos="100000">
                        <a:schemeClr val="accent1"/>
                      </a:gs>
                      <a:gs pos="0">
                        <a:schemeClr val="accent1"/>
                      </a:gs>
                    </a:gsLst>
                    <a:lin ang="2700000" scaled="1"/>
                    <a:tileRect/>
                  </a:gradFill>
                  <a:ln w="12700" cap="flat" cmpd="sng" algn="ctr">
                    <a:noFill/>
                    <a:prstDash val="solid"/>
                    <a:miter lim="800000"/>
                  </a:ln>
                  <a:effectLst>
                    <a:outerShdw blurRad="215900" sx="104000" sy="104000" algn="ctr" rotWithShape="0">
                      <a:prstClr val="black">
                        <a:alpha val="19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white"/>
                        </a:solidFill>
                        <a:effectLst/>
                        <a:uLnTx/>
                        <a:uFillTx/>
                        <a:latin typeface="Gill Sans MT" panose="020B0502020104020203" pitchFamily="34" charset="0"/>
                        <a:cs typeface="+mn-cs"/>
                      </a:rPr>
                      <a:t>6</a:t>
                    </a:r>
                  </a:p>
                </p:txBody>
              </p:sp>
            </p:grpSp>
            <p:sp>
              <p:nvSpPr>
                <p:cNvPr id="17" name="Rectangle 145">
                  <a:extLst>
                    <a:ext uri="{FF2B5EF4-FFF2-40B4-BE49-F238E27FC236}">
                      <a16:creationId xmlns:a16="http://schemas.microsoft.com/office/drawing/2014/main" id="{6502FFEB-150B-4831-94D3-9E5AB56B7EC5}"/>
                    </a:ext>
                  </a:extLst>
                </p:cNvPr>
                <p:cNvSpPr/>
                <p:nvPr/>
              </p:nvSpPr>
              <p:spPr>
                <a:xfrm>
                  <a:off x="9282234" y="3558192"/>
                  <a:ext cx="868795" cy="430887"/>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0" cap="none" spc="0" normalizeH="0" baseline="0" noProof="0" dirty="0">
                      <a:ln>
                        <a:noFill/>
                      </a:ln>
                      <a:solidFill>
                        <a:srgbClr val="000000">
                          <a:lumMod val="65000"/>
                          <a:lumOff val="35000"/>
                        </a:srgbClr>
                      </a:solidFill>
                      <a:effectLst/>
                      <a:uLnTx/>
                      <a:uFillTx/>
                      <a:latin typeface="Gill Sans MT" panose="020B0502020104020203" pitchFamily="34" charset="0"/>
                      <a:cs typeface="Segoe UI" panose="020B0502040204020203" pitchFamily="34" charset="0"/>
                    </a:rPr>
                    <a:t>Goal</a:t>
                  </a:r>
                </a:p>
              </p:txBody>
            </p:sp>
          </p:grpSp>
          <p:grpSp>
            <p:nvGrpSpPr>
              <p:cNvPr id="13" name="Group 28">
                <a:extLst>
                  <a:ext uri="{FF2B5EF4-FFF2-40B4-BE49-F238E27FC236}">
                    <a16:creationId xmlns:a16="http://schemas.microsoft.com/office/drawing/2014/main" id="{D2BDB8CE-2E3C-43C0-BFBE-50A36973FEAF}"/>
                  </a:ext>
                </a:extLst>
              </p:cNvPr>
              <p:cNvGrpSpPr/>
              <p:nvPr/>
            </p:nvGrpSpPr>
            <p:grpSpPr>
              <a:xfrm>
                <a:off x="1906295" y="3573375"/>
                <a:ext cx="1355260" cy="469012"/>
                <a:chOff x="1906295" y="3636910"/>
                <a:chExt cx="1355260" cy="469012"/>
              </a:xfrm>
            </p:grpSpPr>
            <p:sp>
              <p:nvSpPr>
                <p:cNvPr id="14" name="Oval 129">
                  <a:extLst>
                    <a:ext uri="{FF2B5EF4-FFF2-40B4-BE49-F238E27FC236}">
                      <a16:creationId xmlns:a16="http://schemas.microsoft.com/office/drawing/2014/main" id="{308739DA-14FB-4EBE-A6DB-EEDA901CDBF6}"/>
                    </a:ext>
                  </a:extLst>
                </p:cNvPr>
                <p:cNvSpPr/>
                <p:nvPr/>
              </p:nvSpPr>
              <p:spPr>
                <a:xfrm flipH="1">
                  <a:off x="2958364" y="3719823"/>
                  <a:ext cx="303191" cy="303188"/>
                </a:xfrm>
                <a:prstGeom prst="ellipse">
                  <a:avLst/>
                </a:prstGeom>
                <a:solidFill>
                  <a:schemeClr val="bg1"/>
                </a:solidFill>
                <a:ln w="12700" cap="flat" cmpd="sng" algn="ctr">
                  <a:noFill/>
                  <a:prstDash val="solid"/>
                  <a:miter lim="800000"/>
                </a:ln>
                <a:effectLst>
                  <a:outerShdw blurRad="215900" sx="104000" sy="104000" algn="ctr" rotWithShape="0">
                    <a:prstClr val="black">
                      <a:alpha val="19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chemeClr val="accent1"/>
                      </a:solidFill>
                      <a:effectLst/>
                      <a:uLnTx/>
                      <a:uFillTx/>
                      <a:latin typeface="Gill Sans MT" panose="020B0502020104020203" pitchFamily="34" charset="0"/>
                      <a:cs typeface="+mn-cs"/>
                    </a:rPr>
                    <a:t>1</a:t>
                  </a:r>
                </a:p>
              </p:txBody>
            </p:sp>
            <p:sp>
              <p:nvSpPr>
                <p:cNvPr id="15" name="Rectangle 146">
                  <a:extLst>
                    <a:ext uri="{FF2B5EF4-FFF2-40B4-BE49-F238E27FC236}">
                      <a16:creationId xmlns:a16="http://schemas.microsoft.com/office/drawing/2014/main" id="{F42BC128-BAA7-4EAF-8BC0-663BD4307586}"/>
                    </a:ext>
                  </a:extLst>
                </p:cNvPr>
                <p:cNvSpPr/>
                <p:nvPr/>
              </p:nvSpPr>
              <p:spPr>
                <a:xfrm>
                  <a:off x="1906295" y="3636910"/>
                  <a:ext cx="1003470" cy="469012"/>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0" cap="none" spc="0" normalizeH="0" baseline="0" noProof="0" dirty="0">
                      <a:ln>
                        <a:noFill/>
                      </a:ln>
                      <a:solidFill>
                        <a:srgbClr val="000000">
                          <a:lumMod val="65000"/>
                          <a:lumOff val="35000"/>
                        </a:srgbClr>
                      </a:solidFill>
                      <a:effectLst/>
                      <a:uLnTx/>
                      <a:uFillTx/>
                      <a:latin typeface="Gill Sans MT" panose="020B0502020104020203" pitchFamily="34" charset="0"/>
                      <a:cs typeface="Segoe UI" panose="020B0502040204020203" pitchFamily="34" charset="0"/>
                    </a:rPr>
                    <a:t>Plan</a:t>
                  </a:r>
                </a:p>
              </p:txBody>
            </p:sp>
          </p:grpSp>
        </p:grpSp>
      </p:grpSp>
      <p:cxnSp>
        <p:nvCxnSpPr>
          <p:cNvPr id="22" name="Straight Connector 18">
            <a:extLst>
              <a:ext uri="{FF2B5EF4-FFF2-40B4-BE49-F238E27FC236}">
                <a16:creationId xmlns:a16="http://schemas.microsoft.com/office/drawing/2014/main" id="{197315D9-1C0E-43F7-8DA1-8A7D492852EA}"/>
              </a:ext>
            </a:extLst>
          </p:cNvPr>
          <p:cNvCxnSpPr>
            <a:cxnSpLocks/>
          </p:cNvCxnSpPr>
          <p:nvPr/>
        </p:nvCxnSpPr>
        <p:spPr>
          <a:xfrm>
            <a:off x="4413833" y="1107498"/>
            <a:ext cx="0" cy="1011334"/>
          </a:xfrm>
          <a:prstGeom prst="line">
            <a:avLst/>
          </a:prstGeom>
          <a:ln>
            <a:solidFill>
              <a:schemeClr val="accent1"/>
            </a:solidFill>
            <a:headEnd type="oval"/>
            <a:tailEnd type="oval"/>
          </a:ln>
        </p:spPr>
        <p:style>
          <a:lnRef idx="1">
            <a:schemeClr val="accent1"/>
          </a:lnRef>
          <a:fillRef idx="0">
            <a:schemeClr val="accent1"/>
          </a:fillRef>
          <a:effectRef idx="0">
            <a:schemeClr val="accent1"/>
          </a:effectRef>
          <a:fontRef idx="minor">
            <a:schemeClr val="tx1"/>
          </a:fontRef>
        </p:style>
      </p:cxnSp>
      <p:grpSp>
        <p:nvGrpSpPr>
          <p:cNvPr id="23" name="Group 71">
            <a:extLst>
              <a:ext uri="{FF2B5EF4-FFF2-40B4-BE49-F238E27FC236}">
                <a16:creationId xmlns:a16="http://schemas.microsoft.com/office/drawing/2014/main" id="{8B402C9E-8380-4DDA-9E4D-8D34A591F09A}"/>
              </a:ext>
            </a:extLst>
          </p:cNvPr>
          <p:cNvGrpSpPr/>
          <p:nvPr/>
        </p:nvGrpSpPr>
        <p:grpSpPr>
          <a:xfrm>
            <a:off x="1668157" y="1100658"/>
            <a:ext cx="2121730" cy="1025015"/>
            <a:chOff x="1668157" y="1501485"/>
            <a:chExt cx="2121730" cy="1025015"/>
          </a:xfrm>
        </p:grpSpPr>
        <p:sp>
          <p:nvSpPr>
            <p:cNvPr id="24" name="Rectangle 123">
              <a:extLst>
                <a:ext uri="{FF2B5EF4-FFF2-40B4-BE49-F238E27FC236}">
                  <a16:creationId xmlns:a16="http://schemas.microsoft.com/office/drawing/2014/main" id="{5EF8E93D-8B21-4DB3-89AA-CEDA532122E6}"/>
                </a:ext>
              </a:extLst>
            </p:cNvPr>
            <p:cNvSpPr/>
            <p:nvPr/>
          </p:nvSpPr>
          <p:spPr>
            <a:xfrm>
              <a:off x="2199087" y="1515166"/>
              <a:ext cx="1500845" cy="276999"/>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chemeClr val="accent1"/>
                  </a:solidFill>
                  <a:effectLst/>
                  <a:uLnTx/>
                  <a:uFillTx/>
                  <a:latin typeface="Gill Sans MT" panose="020B0502020104020203" pitchFamily="34" charset="0"/>
                  <a:cs typeface="Segoe UI" panose="020B0502040204020203" pitchFamily="34" charset="0"/>
                </a:rPr>
                <a:t>Plan</a:t>
              </a:r>
            </a:p>
          </p:txBody>
        </p:sp>
        <p:sp>
          <p:nvSpPr>
            <p:cNvPr id="25" name="Rectangle 124">
              <a:extLst>
                <a:ext uri="{FF2B5EF4-FFF2-40B4-BE49-F238E27FC236}">
                  <a16:creationId xmlns:a16="http://schemas.microsoft.com/office/drawing/2014/main" id="{44C89BD8-8F73-412F-95B4-A63962939412}"/>
                </a:ext>
              </a:extLst>
            </p:cNvPr>
            <p:cNvSpPr/>
            <p:nvPr/>
          </p:nvSpPr>
          <p:spPr>
            <a:xfrm>
              <a:off x="2199087" y="1880169"/>
              <a:ext cx="1590800" cy="646331"/>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accent1"/>
                  </a:solidFill>
                  <a:effectLst/>
                  <a:uLnTx/>
                  <a:uFillTx/>
                  <a:latin typeface="Gill Sans MT" panose="020B0502020104020203" pitchFamily="34" charset="0"/>
                  <a:cs typeface="Segoe UI" panose="020B0502040204020203" pitchFamily="34" charset="0"/>
                </a:rPr>
                <a:t>Lorem ipsum dolor</a:t>
              </a:r>
              <a:br>
                <a:rPr kumimoji="0" lang="en-US" sz="1400" b="0" i="0" u="none" strike="noStrike" kern="0" cap="none" spc="0" normalizeH="0" baseline="0" noProof="0" dirty="0">
                  <a:ln>
                    <a:noFill/>
                  </a:ln>
                  <a:solidFill>
                    <a:schemeClr val="accent1"/>
                  </a:solidFill>
                  <a:effectLst/>
                  <a:uLnTx/>
                  <a:uFillTx/>
                  <a:latin typeface="Gill Sans MT" panose="020B0502020104020203" pitchFamily="34" charset="0"/>
                  <a:cs typeface="Segoe UI" panose="020B0502040204020203" pitchFamily="34" charset="0"/>
                </a:rPr>
              </a:br>
              <a:r>
                <a:rPr kumimoji="0" lang="en-US" sz="1400" b="0" i="0" u="none" strike="noStrike" kern="0" cap="none" spc="0" normalizeH="0" baseline="0" noProof="0" dirty="0">
                  <a:ln>
                    <a:noFill/>
                  </a:ln>
                  <a:solidFill>
                    <a:schemeClr val="accent1"/>
                  </a:solidFill>
                  <a:effectLst/>
                  <a:uLnTx/>
                  <a:uFillTx/>
                  <a:latin typeface="Gill Sans MT" panose="020B0502020104020203" pitchFamily="34" charset="0"/>
                  <a:cs typeface="Segoe UI" panose="020B0502040204020203" pitchFamily="34" charset="0"/>
                </a:rPr>
                <a:t>sit </a:t>
              </a:r>
              <a:r>
                <a:rPr kumimoji="0" lang="en-US" sz="1400" b="0" i="0" u="none" strike="noStrike" kern="0" cap="none" spc="0" normalizeH="0" baseline="0" noProof="0" dirty="0" err="1">
                  <a:ln>
                    <a:noFill/>
                  </a:ln>
                  <a:solidFill>
                    <a:schemeClr val="accent1"/>
                  </a:solidFill>
                  <a:effectLst/>
                  <a:uLnTx/>
                  <a:uFillTx/>
                  <a:latin typeface="Gill Sans MT" panose="020B0502020104020203" pitchFamily="34" charset="0"/>
                  <a:cs typeface="Segoe UI" panose="020B0502040204020203" pitchFamily="34" charset="0"/>
                </a:rPr>
                <a:t>amet</a:t>
              </a:r>
              <a:r>
                <a:rPr kumimoji="0" lang="en-US" sz="1400" b="0" i="0" u="none" strike="noStrike" kern="0" cap="none" spc="0" normalizeH="0" baseline="0" noProof="0" dirty="0">
                  <a:ln>
                    <a:noFill/>
                  </a:ln>
                  <a:solidFill>
                    <a:schemeClr val="accent1"/>
                  </a:solidFill>
                  <a:effectLst/>
                  <a:uLnTx/>
                  <a:uFillTx/>
                  <a:latin typeface="Gill Sans MT" panose="020B0502020104020203" pitchFamily="34" charset="0"/>
                  <a:cs typeface="Segoe UI" panose="020B0502040204020203" pitchFamily="34" charset="0"/>
                </a:rPr>
                <a:t>, </a:t>
              </a:r>
              <a:r>
                <a:rPr kumimoji="0" lang="en-US" sz="1400" b="0" i="0" u="none" strike="noStrike" kern="0" cap="none" spc="0" normalizeH="0" baseline="0" noProof="0" dirty="0" err="1">
                  <a:ln>
                    <a:noFill/>
                  </a:ln>
                  <a:solidFill>
                    <a:schemeClr val="accent1"/>
                  </a:solidFill>
                  <a:effectLst/>
                  <a:uLnTx/>
                  <a:uFillTx/>
                  <a:latin typeface="Gill Sans MT" panose="020B0502020104020203" pitchFamily="34" charset="0"/>
                  <a:cs typeface="Segoe UI" panose="020B0502040204020203" pitchFamily="34" charset="0"/>
                </a:rPr>
                <a:t>consectetur</a:t>
              </a:r>
              <a:r>
                <a:rPr kumimoji="0" lang="en-US" sz="1400" b="0" i="0" u="none" strike="noStrike" kern="0" cap="none" spc="0" normalizeH="0" baseline="0" noProof="0" dirty="0">
                  <a:ln>
                    <a:noFill/>
                  </a:ln>
                  <a:solidFill>
                    <a:schemeClr val="accent1"/>
                  </a:solidFill>
                  <a:effectLst/>
                  <a:uLnTx/>
                  <a:uFillTx/>
                  <a:latin typeface="Gill Sans MT" panose="020B0502020104020203" pitchFamily="34" charset="0"/>
                  <a:cs typeface="Segoe UI" panose="020B0502040204020203" pitchFamily="34" charset="0"/>
                </a:rPr>
                <a:t> </a:t>
              </a:r>
              <a:r>
                <a:rPr kumimoji="0" lang="en-US" sz="1400" b="0" i="0" u="none" strike="noStrike" kern="0" cap="none" spc="0" normalizeH="0" baseline="0" noProof="0" dirty="0" err="1">
                  <a:ln>
                    <a:noFill/>
                  </a:ln>
                  <a:solidFill>
                    <a:schemeClr val="accent1"/>
                  </a:solidFill>
                  <a:effectLst/>
                  <a:uLnTx/>
                  <a:uFillTx/>
                  <a:latin typeface="Gill Sans MT" panose="020B0502020104020203" pitchFamily="34" charset="0"/>
                  <a:cs typeface="Segoe UI" panose="020B0502040204020203" pitchFamily="34" charset="0"/>
                </a:rPr>
                <a:t>adipiscing</a:t>
              </a:r>
              <a:r>
                <a:rPr kumimoji="0" lang="en-US" sz="1400" b="0" i="0" u="none" strike="noStrike" kern="0" cap="none" spc="0" normalizeH="0" baseline="0" noProof="0" dirty="0">
                  <a:ln>
                    <a:noFill/>
                  </a:ln>
                  <a:solidFill>
                    <a:schemeClr val="accent1"/>
                  </a:solidFill>
                  <a:effectLst/>
                  <a:uLnTx/>
                  <a:uFillTx/>
                  <a:latin typeface="Gill Sans MT" panose="020B0502020104020203" pitchFamily="34" charset="0"/>
                  <a:cs typeface="Segoe UI" panose="020B0502040204020203" pitchFamily="34" charset="0"/>
                </a:rPr>
                <a:t> </a:t>
              </a:r>
              <a:r>
                <a:rPr kumimoji="0" lang="en-US" sz="1400" b="0" i="0" u="none" strike="noStrike" kern="0" cap="none" spc="0" normalizeH="0" baseline="0" noProof="0" dirty="0" err="1">
                  <a:ln>
                    <a:noFill/>
                  </a:ln>
                  <a:solidFill>
                    <a:schemeClr val="accent1"/>
                  </a:solidFill>
                  <a:effectLst/>
                  <a:uLnTx/>
                  <a:uFillTx/>
                  <a:latin typeface="Gill Sans MT" panose="020B0502020104020203" pitchFamily="34" charset="0"/>
                  <a:cs typeface="Segoe UI" panose="020B0502040204020203" pitchFamily="34" charset="0"/>
                </a:rPr>
                <a:t>elit</a:t>
              </a:r>
              <a:r>
                <a:rPr kumimoji="0" lang="en-US" sz="1400" b="0" i="0" u="none" strike="noStrike" kern="0" cap="none" spc="0" normalizeH="0" baseline="0" noProof="0" dirty="0">
                  <a:ln>
                    <a:noFill/>
                  </a:ln>
                  <a:solidFill>
                    <a:schemeClr val="accent1"/>
                  </a:solidFill>
                  <a:effectLst/>
                  <a:uLnTx/>
                  <a:uFillTx/>
                  <a:latin typeface="Gill Sans MT" panose="020B0502020104020203" pitchFamily="34" charset="0"/>
                  <a:cs typeface="Segoe UI" panose="020B0502040204020203" pitchFamily="34" charset="0"/>
                </a:rPr>
                <a:t>.</a:t>
              </a:r>
            </a:p>
          </p:txBody>
        </p:sp>
        <p:grpSp>
          <p:nvGrpSpPr>
            <p:cNvPr id="26" name="Group 23">
              <a:extLst>
                <a:ext uri="{FF2B5EF4-FFF2-40B4-BE49-F238E27FC236}">
                  <a16:creationId xmlns:a16="http://schemas.microsoft.com/office/drawing/2014/main" id="{6FFA4D31-0331-4AD2-9881-EC693D80F271}"/>
                </a:ext>
              </a:extLst>
            </p:cNvPr>
            <p:cNvGrpSpPr/>
            <p:nvPr/>
          </p:nvGrpSpPr>
          <p:grpSpPr>
            <a:xfrm rot="16200000">
              <a:off x="1336164" y="1833478"/>
              <a:ext cx="1025015" cy="361029"/>
              <a:chOff x="872551" y="3755789"/>
              <a:chExt cx="1025015" cy="361029"/>
            </a:xfrm>
          </p:grpSpPr>
          <p:grpSp>
            <p:nvGrpSpPr>
              <p:cNvPr id="27" name="Group 196">
                <a:extLst>
                  <a:ext uri="{FF2B5EF4-FFF2-40B4-BE49-F238E27FC236}">
                    <a16:creationId xmlns:a16="http://schemas.microsoft.com/office/drawing/2014/main" id="{2C0A64F3-CFA1-4607-BA34-3B7C3A2007A3}"/>
                  </a:ext>
                </a:extLst>
              </p:cNvPr>
              <p:cNvGrpSpPr/>
              <p:nvPr/>
            </p:nvGrpSpPr>
            <p:grpSpPr>
              <a:xfrm>
                <a:off x="872551" y="3755789"/>
                <a:ext cx="1025015" cy="361029"/>
                <a:chOff x="5983816" y="1091376"/>
                <a:chExt cx="1533310" cy="540061"/>
              </a:xfrm>
            </p:grpSpPr>
            <p:sp>
              <p:nvSpPr>
                <p:cNvPr id="29" name="Oval 197">
                  <a:extLst>
                    <a:ext uri="{FF2B5EF4-FFF2-40B4-BE49-F238E27FC236}">
                      <a16:creationId xmlns:a16="http://schemas.microsoft.com/office/drawing/2014/main" id="{07A81936-C1E7-464A-A310-008C8CF7288F}"/>
                    </a:ext>
                  </a:extLst>
                </p:cNvPr>
                <p:cNvSpPr/>
                <p:nvPr/>
              </p:nvSpPr>
              <p:spPr>
                <a:xfrm>
                  <a:off x="6977063" y="1091376"/>
                  <a:ext cx="540063" cy="540061"/>
                </a:xfrm>
                <a:prstGeom prst="ellipse">
                  <a:avLst/>
                </a:prstGeom>
                <a:solidFill>
                  <a:sysClr val="window" lastClr="FFFFFF"/>
                </a:solidFill>
                <a:ln w="12700" cap="flat" cmpd="sng" algn="ctr">
                  <a:noFill/>
                  <a:prstDash val="solid"/>
                  <a:miter lim="800000"/>
                </a:ln>
                <a:effectLst>
                  <a:outerShdw blurRad="215900" sx="104000" sy="104000" algn="ctr" rotWithShape="0">
                    <a:prstClr val="black">
                      <a:alpha val="19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E7F00"/>
                    </a:solidFill>
                    <a:effectLst/>
                    <a:uLnTx/>
                    <a:uFillTx/>
                    <a:latin typeface="Gill Sans MT" panose="020B0502020104020203" pitchFamily="34" charset="0"/>
                    <a:cs typeface="+mn-cs"/>
                  </a:endParaRPr>
                </a:p>
              </p:txBody>
            </p:sp>
            <p:sp>
              <p:nvSpPr>
                <p:cNvPr id="30" name="Flowchart: Stored Data 198">
                  <a:extLst>
                    <a:ext uri="{FF2B5EF4-FFF2-40B4-BE49-F238E27FC236}">
                      <a16:creationId xmlns:a16="http://schemas.microsoft.com/office/drawing/2014/main" id="{ACD2899E-2E9A-469E-BB81-F6D87950E9E3}"/>
                    </a:ext>
                  </a:extLst>
                </p:cNvPr>
                <p:cNvSpPr/>
                <p:nvPr/>
              </p:nvSpPr>
              <p:spPr>
                <a:xfrm>
                  <a:off x="5983816" y="1096806"/>
                  <a:ext cx="1209933" cy="529201"/>
                </a:xfrm>
                <a:prstGeom prst="flowChartOnlineStorage">
                  <a:avLst/>
                </a:prstGeom>
                <a:gradFill flip="none" rotWithShape="1">
                  <a:gsLst>
                    <a:gs pos="100000">
                      <a:schemeClr val="accent1"/>
                    </a:gs>
                    <a:gs pos="0">
                      <a:schemeClr val="accent1"/>
                    </a:gs>
                  </a:gsLst>
                  <a:lin ang="2700000" scaled="1"/>
                  <a:tileRect/>
                </a:gradFill>
                <a:ln w="12700" cap="flat" cmpd="sng" algn="ctr">
                  <a:noFill/>
                  <a:prstDash val="solid"/>
                  <a:miter lim="800000"/>
                </a:ln>
                <a:effectLst/>
              </p:spPr>
              <p:txBody>
                <a:bodyPr vert="vert"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FFFFFF"/>
                      </a:solidFill>
                      <a:effectLst/>
                      <a:uLnTx/>
                      <a:uFillTx/>
                      <a:latin typeface="Gill Sans MT" panose="020B0502020104020203" pitchFamily="34" charset="0"/>
                      <a:cs typeface="+mn-cs"/>
                    </a:rPr>
                    <a:t>1</a:t>
                  </a:r>
                  <a:endParaRPr kumimoji="0" lang="en-ID" sz="1800" b="0" i="0" u="none" strike="noStrike" kern="0" cap="none" spc="0" normalizeH="0" baseline="0" noProof="0" dirty="0">
                    <a:ln>
                      <a:noFill/>
                    </a:ln>
                    <a:solidFill>
                      <a:srgbClr val="FFFFFF"/>
                    </a:solidFill>
                    <a:effectLst/>
                    <a:uLnTx/>
                    <a:uFillTx/>
                    <a:latin typeface="Gill Sans MT" panose="020B0502020104020203" pitchFamily="34" charset="0"/>
                    <a:cs typeface="+mn-cs"/>
                  </a:endParaRPr>
                </a:p>
              </p:txBody>
            </p:sp>
          </p:grpSp>
          <p:sp>
            <p:nvSpPr>
              <p:cNvPr id="28" name="Freeform 150">
                <a:extLst>
                  <a:ext uri="{FF2B5EF4-FFF2-40B4-BE49-F238E27FC236}">
                    <a16:creationId xmlns:a16="http://schemas.microsoft.com/office/drawing/2014/main" id="{63046141-3E1F-452B-83C1-0859FD79C589}"/>
                  </a:ext>
                </a:extLst>
              </p:cNvPr>
              <p:cNvSpPr>
                <a:spLocks noEditPoints="1"/>
              </p:cNvSpPr>
              <p:nvPr/>
            </p:nvSpPr>
            <p:spPr bwMode="auto">
              <a:xfrm rot="5400000">
                <a:off x="1636174" y="3843207"/>
                <a:ext cx="194388" cy="195244"/>
              </a:xfrm>
              <a:custGeom>
                <a:avLst/>
                <a:gdLst>
                  <a:gd name="T0" fmla="*/ 48 w 96"/>
                  <a:gd name="T1" fmla="*/ 0 h 96"/>
                  <a:gd name="T2" fmla="*/ 0 w 96"/>
                  <a:gd name="T3" fmla="*/ 48 h 96"/>
                  <a:gd name="T4" fmla="*/ 48 w 96"/>
                  <a:gd name="T5" fmla="*/ 96 h 96"/>
                  <a:gd name="T6" fmla="*/ 96 w 96"/>
                  <a:gd name="T7" fmla="*/ 48 h 96"/>
                  <a:gd name="T8" fmla="*/ 48 w 96"/>
                  <a:gd name="T9" fmla="*/ 0 h 96"/>
                  <a:gd name="T10" fmla="*/ 72 w 96"/>
                  <a:gd name="T11" fmla="*/ 43 h 96"/>
                  <a:gd name="T12" fmla="*/ 70 w 96"/>
                  <a:gd name="T13" fmla="*/ 44 h 96"/>
                  <a:gd name="T14" fmla="*/ 54 w 96"/>
                  <a:gd name="T15" fmla="*/ 44 h 96"/>
                  <a:gd name="T16" fmla="*/ 52 w 96"/>
                  <a:gd name="T17" fmla="*/ 45 h 96"/>
                  <a:gd name="T18" fmla="*/ 50 w 96"/>
                  <a:gd name="T19" fmla="*/ 48 h 96"/>
                  <a:gd name="T20" fmla="*/ 64 w 96"/>
                  <a:gd name="T21" fmla="*/ 48 h 96"/>
                  <a:gd name="T22" fmla="*/ 66 w 96"/>
                  <a:gd name="T23" fmla="*/ 50 h 96"/>
                  <a:gd name="T24" fmla="*/ 64 w 96"/>
                  <a:gd name="T25" fmla="*/ 52 h 96"/>
                  <a:gd name="T26" fmla="*/ 46 w 96"/>
                  <a:gd name="T27" fmla="*/ 52 h 96"/>
                  <a:gd name="T28" fmla="*/ 42 w 96"/>
                  <a:gd name="T29" fmla="*/ 56 h 96"/>
                  <a:gd name="T30" fmla="*/ 58 w 96"/>
                  <a:gd name="T31" fmla="*/ 56 h 96"/>
                  <a:gd name="T32" fmla="*/ 60 w 96"/>
                  <a:gd name="T33" fmla="*/ 57 h 96"/>
                  <a:gd name="T34" fmla="*/ 60 w 96"/>
                  <a:gd name="T35" fmla="*/ 59 h 96"/>
                  <a:gd name="T36" fmla="*/ 37 w 96"/>
                  <a:gd name="T37" fmla="*/ 69 h 96"/>
                  <a:gd name="T38" fmla="*/ 30 w 96"/>
                  <a:gd name="T39" fmla="*/ 68 h 96"/>
                  <a:gd name="T40" fmla="*/ 25 w 96"/>
                  <a:gd name="T41" fmla="*/ 73 h 96"/>
                  <a:gd name="T42" fmla="*/ 22 w 96"/>
                  <a:gd name="T43" fmla="*/ 73 h 96"/>
                  <a:gd name="T44" fmla="*/ 22 w 96"/>
                  <a:gd name="T45" fmla="*/ 70 h 96"/>
                  <a:gd name="T46" fmla="*/ 27 w 96"/>
                  <a:gd name="T47" fmla="*/ 65 h 96"/>
                  <a:gd name="T48" fmla="*/ 28 w 96"/>
                  <a:gd name="T49" fmla="*/ 52 h 96"/>
                  <a:gd name="T50" fmla="*/ 40 w 96"/>
                  <a:gd name="T51" fmla="*/ 33 h 96"/>
                  <a:gd name="T52" fmla="*/ 57 w 96"/>
                  <a:gd name="T53" fmla="*/ 20 h 96"/>
                  <a:gd name="T54" fmla="*/ 59 w 96"/>
                  <a:gd name="T55" fmla="*/ 20 h 96"/>
                  <a:gd name="T56" fmla="*/ 60 w 96"/>
                  <a:gd name="T57" fmla="*/ 22 h 96"/>
                  <a:gd name="T58" fmla="*/ 60 w 96"/>
                  <a:gd name="T59" fmla="*/ 32 h 96"/>
                  <a:gd name="T60" fmla="*/ 70 w 96"/>
                  <a:gd name="T61" fmla="*/ 22 h 96"/>
                  <a:gd name="T62" fmla="*/ 73 w 96"/>
                  <a:gd name="T63" fmla="*/ 22 h 96"/>
                  <a:gd name="T64" fmla="*/ 72 w 96"/>
                  <a:gd name="T65" fmla="*/ 43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6" h="96">
                    <a:moveTo>
                      <a:pt x="48" y="0"/>
                    </a:moveTo>
                    <a:cubicBezTo>
                      <a:pt x="22" y="0"/>
                      <a:pt x="0" y="22"/>
                      <a:pt x="0" y="48"/>
                    </a:cubicBezTo>
                    <a:cubicBezTo>
                      <a:pt x="0" y="74"/>
                      <a:pt x="22" y="96"/>
                      <a:pt x="48" y="96"/>
                    </a:cubicBezTo>
                    <a:cubicBezTo>
                      <a:pt x="74" y="96"/>
                      <a:pt x="96" y="74"/>
                      <a:pt x="96" y="48"/>
                    </a:cubicBezTo>
                    <a:cubicBezTo>
                      <a:pt x="96" y="22"/>
                      <a:pt x="74" y="0"/>
                      <a:pt x="48" y="0"/>
                    </a:cubicBezTo>
                    <a:close/>
                    <a:moveTo>
                      <a:pt x="72" y="43"/>
                    </a:moveTo>
                    <a:cubicBezTo>
                      <a:pt x="71" y="44"/>
                      <a:pt x="71" y="44"/>
                      <a:pt x="70" y="44"/>
                    </a:cubicBezTo>
                    <a:cubicBezTo>
                      <a:pt x="54" y="44"/>
                      <a:pt x="54" y="44"/>
                      <a:pt x="54" y="44"/>
                    </a:cubicBezTo>
                    <a:cubicBezTo>
                      <a:pt x="52" y="45"/>
                      <a:pt x="52" y="45"/>
                      <a:pt x="52" y="45"/>
                    </a:cubicBezTo>
                    <a:cubicBezTo>
                      <a:pt x="50" y="48"/>
                      <a:pt x="50" y="48"/>
                      <a:pt x="50" y="48"/>
                    </a:cubicBezTo>
                    <a:cubicBezTo>
                      <a:pt x="64" y="48"/>
                      <a:pt x="64" y="48"/>
                      <a:pt x="64" y="48"/>
                    </a:cubicBezTo>
                    <a:cubicBezTo>
                      <a:pt x="65" y="48"/>
                      <a:pt x="66" y="49"/>
                      <a:pt x="66" y="50"/>
                    </a:cubicBezTo>
                    <a:cubicBezTo>
                      <a:pt x="66" y="51"/>
                      <a:pt x="65" y="52"/>
                      <a:pt x="64" y="52"/>
                    </a:cubicBezTo>
                    <a:cubicBezTo>
                      <a:pt x="46" y="52"/>
                      <a:pt x="46" y="52"/>
                      <a:pt x="46" y="52"/>
                    </a:cubicBezTo>
                    <a:cubicBezTo>
                      <a:pt x="42" y="56"/>
                      <a:pt x="42" y="56"/>
                      <a:pt x="42" y="56"/>
                    </a:cubicBezTo>
                    <a:cubicBezTo>
                      <a:pt x="58" y="56"/>
                      <a:pt x="58" y="56"/>
                      <a:pt x="58" y="56"/>
                    </a:cubicBezTo>
                    <a:cubicBezTo>
                      <a:pt x="59" y="56"/>
                      <a:pt x="60" y="57"/>
                      <a:pt x="60" y="57"/>
                    </a:cubicBezTo>
                    <a:cubicBezTo>
                      <a:pt x="60" y="58"/>
                      <a:pt x="60" y="59"/>
                      <a:pt x="60" y="59"/>
                    </a:cubicBezTo>
                    <a:cubicBezTo>
                      <a:pt x="53" y="66"/>
                      <a:pt x="44" y="69"/>
                      <a:pt x="37" y="69"/>
                    </a:cubicBezTo>
                    <a:cubicBezTo>
                      <a:pt x="34" y="69"/>
                      <a:pt x="32" y="69"/>
                      <a:pt x="30" y="68"/>
                    </a:cubicBezTo>
                    <a:cubicBezTo>
                      <a:pt x="25" y="73"/>
                      <a:pt x="25" y="73"/>
                      <a:pt x="25" y="73"/>
                    </a:cubicBezTo>
                    <a:cubicBezTo>
                      <a:pt x="24" y="74"/>
                      <a:pt x="23" y="74"/>
                      <a:pt x="22" y="73"/>
                    </a:cubicBezTo>
                    <a:cubicBezTo>
                      <a:pt x="21" y="72"/>
                      <a:pt x="21" y="71"/>
                      <a:pt x="22" y="70"/>
                    </a:cubicBezTo>
                    <a:cubicBezTo>
                      <a:pt x="27" y="65"/>
                      <a:pt x="27" y="65"/>
                      <a:pt x="27" y="65"/>
                    </a:cubicBezTo>
                    <a:cubicBezTo>
                      <a:pt x="25" y="62"/>
                      <a:pt x="26" y="57"/>
                      <a:pt x="28" y="52"/>
                    </a:cubicBezTo>
                    <a:cubicBezTo>
                      <a:pt x="30" y="45"/>
                      <a:pt x="34" y="39"/>
                      <a:pt x="40" y="33"/>
                    </a:cubicBezTo>
                    <a:cubicBezTo>
                      <a:pt x="46" y="27"/>
                      <a:pt x="53" y="22"/>
                      <a:pt x="57" y="20"/>
                    </a:cubicBezTo>
                    <a:cubicBezTo>
                      <a:pt x="58" y="20"/>
                      <a:pt x="59" y="20"/>
                      <a:pt x="59" y="20"/>
                    </a:cubicBezTo>
                    <a:cubicBezTo>
                      <a:pt x="60" y="21"/>
                      <a:pt x="60" y="21"/>
                      <a:pt x="60" y="22"/>
                    </a:cubicBezTo>
                    <a:cubicBezTo>
                      <a:pt x="60" y="32"/>
                      <a:pt x="60" y="32"/>
                      <a:pt x="60" y="32"/>
                    </a:cubicBezTo>
                    <a:cubicBezTo>
                      <a:pt x="70" y="22"/>
                      <a:pt x="70" y="22"/>
                      <a:pt x="70" y="22"/>
                    </a:cubicBezTo>
                    <a:cubicBezTo>
                      <a:pt x="71" y="21"/>
                      <a:pt x="72" y="21"/>
                      <a:pt x="73" y="22"/>
                    </a:cubicBezTo>
                    <a:cubicBezTo>
                      <a:pt x="78" y="26"/>
                      <a:pt x="77" y="34"/>
                      <a:pt x="72" y="43"/>
                    </a:cubicBezTo>
                    <a:close/>
                  </a:path>
                </a:pathLst>
              </a:custGeom>
              <a:gradFill flip="none" rotWithShape="1">
                <a:gsLst>
                  <a:gs pos="100000">
                    <a:schemeClr val="accent1"/>
                  </a:gs>
                  <a:gs pos="0">
                    <a:schemeClr val="accent1"/>
                  </a:gs>
                </a:gsLst>
                <a:lin ang="270000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FE7F00"/>
                  </a:solidFill>
                  <a:effectLst/>
                  <a:uLnTx/>
                  <a:uFillTx/>
                  <a:latin typeface="Arial"/>
                  <a:cs typeface="+mn-cs"/>
                </a:endParaRPr>
              </a:p>
            </p:txBody>
          </p:sp>
        </p:grpSp>
      </p:grpSp>
      <p:sp>
        <p:nvSpPr>
          <p:cNvPr id="31" name="Rectangle 201">
            <a:extLst>
              <a:ext uri="{FF2B5EF4-FFF2-40B4-BE49-F238E27FC236}">
                <a16:creationId xmlns:a16="http://schemas.microsoft.com/office/drawing/2014/main" id="{2DF60199-3934-4BC6-93F7-8FB4FA8A206D}"/>
              </a:ext>
            </a:extLst>
          </p:cNvPr>
          <p:cNvSpPr/>
          <p:nvPr/>
        </p:nvSpPr>
        <p:spPr>
          <a:xfrm>
            <a:off x="5568709" y="1114339"/>
            <a:ext cx="1500845" cy="276999"/>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chemeClr val="accent1"/>
                </a:solidFill>
                <a:effectLst/>
                <a:uLnTx/>
                <a:uFillTx/>
                <a:latin typeface="Gill Sans MT" panose="020B0502020104020203" pitchFamily="34" charset="0"/>
                <a:cs typeface="Segoe UI" panose="020B0502040204020203" pitchFamily="34" charset="0"/>
              </a:rPr>
              <a:t>Lorem Ipsum</a:t>
            </a:r>
          </a:p>
        </p:txBody>
      </p:sp>
      <p:sp>
        <p:nvSpPr>
          <p:cNvPr id="32" name="Rectangle 202">
            <a:extLst>
              <a:ext uri="{FF2B5EF4-FFF2-40B4-BE49-F238E27FC236}">
                <a16:creationId xmlns:a16="http://schemas.microsoft.com/office/drawing/2014/main" id="{E3DF29F1-01B9-4424-A4F8-260BEF424501}"/>
              </a:ext>
            </a:extLst>
          </p:cNvPr>
          <p:cNvSpPr/>
          <p:nvPr/>
        </p:nvSpPr>
        <p:spPr>
          <a:xfrm>
            <a:off x="5568709" y="1479342"/>
            <a:ext cx="1590800" cy="646331"/>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accent1"/>
                </a:solidFill>
                <a:effectLst/>
                <a:uLnTx/>
                <a:uFillTx/>
                <a:latin typeface="Gill Sans MT" panose="020B0502020104020203" pitchFamily="34" charset="0"/>
                <a:cs typeface="Segoe UI" panose="020B0502040204020203" pitchFamily="34" charset="0"/>
              </a:rPr>
              <a:t>Lorem ipsum dolor</a:t>
            </a:r>
            <a:br>
              <a:rPr kumimoji="0" lang="en-US" sz="1400" b="0" i="0" u="none" strike="noStrike" kern="0" cap="none" spc="0" normalizeH="0" baseline="0" noProof="0" dirty="0">
                <a:ln>
                  <a:noFill/>
                </a:ln>
                <a:solidFill>
                  <a:schemeClr val="accent1"/>
                </a:solidFill>
                <a:effectLst/>
                <a:uLnTx/>
                <a:uFillTx/>
                <a:latin typeface="Gill Sans MT" panose="020B0502020104020203" pitchFamily="34" charset="0"/>
                <a:cs typeface="Segoe UI" panose="020B0502040204020203" pitchFamily="34" charset="0"/>
              </a:rPr>
            </a:br>
            <a:r>
              <a:rPr kumimoji="0" lang="en-US" sz="1400" b="0" i="0" u="none" strike="noStrike" kern="0" cap="none" spc="0" normalizeH="0" baseline="0" noProof="0" dirty="0">
                <a:ln>
                  <a:noFill/>
                </a:ln>
                <a:solidFill>
                  <a:schemeClr val="accent1"/>
                </a:solidFill>
                <a:effectLst/>
                <a:uLnTx/>
                <a:uFillTx/>
                <a:latin typeface="Gill Sans MT" panose="020B0502020104020203" pitchFamily="34" charset="0"/>
                <a:cs typeface="Segoe UI" panose="020B0502040204020203" pitchFamily="34" charset="0"/>
              </a:rPr>
              <a:t>sit </a:t>
            </a:r>
            <a:r>
              <a:rPr kumimoji="0" lang="en-US" sz="1400" b="0" i="0" u="none" strike="noStrike" kern="0" cap="none" spc="0" normalizeH="0" baseline="0" noProof="0" dirty="0" err="1">
                <a:ln>
                  <a:noFill/>
                </a:ln>
                <a:solidFill>
                  <a:schemeClr val="accent1"/>
                </a:solidFill>
                <a:effectLst/>
                <a:uLnTx/>
                <a:uFillTx/>
                <a:latin typeface="Gill Sans MT" panose="020B0502020104020203" pitchFamily="34" charset="0"/>
                <a:cs typeface="Segoe UI" panose="020B0502040204020203" pitchFamily="34" charset="0"/>
              </a:rPr>
              <a:t>amet</a:t>
            </a:r>
            <a:r>
              <a:rPr kumimoji="0" lang="en-US" sz="1400" b="0" i="0" u="none" strike="noStrike" kern="0" cap="none" spc="0" normalizeH="0" baseline="0" noProof="0" dirty="0">
                <a:ln>
                  <a:noFill/>
                </a:ln>
                <a:solidFill>
                  <a:schemeClr val="accent1"/>
                </a:solidFill>
                <a:effectLst/>
                <a:uLnTx/>
                <a:uFillTx/>
                <a:latin typeface="Gill Sans MT" panose="020B0502020104020203" pitchFamily="34" charset="0"/>
                <a:cs typeface="Segoe UI" panose="020B0502040204020203" pitchFamily="34" charset="0"/>
              </a:rPr>
              <a:t>, </a:t>
            </a:r>
            <a:r>
              <a:rPr kumimoji="0" lang="en-US" sz="1400" b="0" i="0" u="none" strike="noStrike" kern="0" cap="none" spc="0" normalizeH="0" baseline="0" noProof="0" dirty="0" err="1">
                <a:ln>
                  <a:noFill/>
                </a:ln>
                <a:solidFill>
                  <a:schemeClr val="accent1"/>
                </a:solidFill>
                <a:effectLst/>
                <a:uLnTx/>
                <a:uFillTx/>
                <a:latin typeface="Gill Sans MT" panose="020B0502020104020203" pitchFamily="34" charset="0"/>
                <a:cs typeface="Segoe UI" panose="020B0502040204020203" pitchFamily="34" charset="0"/>
              </a:rPr>
              <a:t>consectetur</a:t>
            </a:r>
            <a:r>
              <a:rPr kumimoji="0" lang="en-US" sz="1400" b="0" i="0" u="none" strike="noStrike" kern="0" cap="none" spc="0" normalizeH="0" baseline="0" noProof="0" dirty="0">
                <a:ln>
                  <a:noFill/>
                </a:ln>
                <a:solidFill>
                  <a:schemeClr val="accent1"/>
                </a:solidFill>
                <a:effectLst/>
                <a:uLnTx/>
                <a:uFillTx/>
                <a:latin typeface="Gill Sans MT" panose="020B0502020104020203" pitchFamily="34" charset="0"/>
                <a:cs typeface="Segoe UI" panose="020B0502040204020203" pitchFamily="34" charset="0"/>
              </a:rPr>
              <a:t> </a:t>
            </a:r>
            <a:r>
              <a:rPr kumimoji="0" lang="en-US" sz="1400" b="0" i="0" u="none" strike="noStrike" kern="0" cap="none" spc="0" normalizeH="0" baseline="0" noProof="0" dirty="0" err="1">
                <a:ln>
                  <a:noFill/>
                </a:ln>
                <a:solidFill>
                  <a:schemeClr val="accent1"/>
                </a:solidFill>
                <a:effectLst/>
                <a:uLnTx/>
                <a:uFillTx/>
                <a:latin typeface="Gill Sans MT" panose="020B0502020104020203" pitchFamily="34" charset="0"/>
                <a:cs typeface="Segoe UI" panose="020B0502040204020203" pitchFamily="34" charset="0"/>
              </a:rPr>
              <a:t>adipiscing</a:t>
            </a:r>
            <a:r>
              <a:rPr kumimoji="0" lang="en-US" sz="1400" b="0" i="0" u="none" strike="noStrike" kern="0" cap="none" spc="0" normalizeH="0" baseline="0" noProof="0" dirty="0">
                <a:ln>
                  <a:noFill/>
                </a:ln>
                <a:solidFill>
                  <a:schemeClr val="accent1"/>
                </a:solidFill>
                <a:effectLst/>
                <a:uLnTx/>
                <a:uFillTx/>
                <a:latin typeface="Gill Sans MT" panose="020B0502020104020203" pitchFamily="34" charset="0"/>
                <a:cs typeface="Segoe UI" panose="020B0502040204020203" pitchFamily="34" charset="0"/>
              </a:rPr>
              <a:t> </a:t>
            </a:r>
            <a:r>
              <a:rPr kumimoji="0" lang="en-US" sz="1400" b="0" i="0" u="none" strike="noStrike" kern="0" cap="none" spc="0" normalizeH="0" baseline="0" noProof="0" dirty="0" err="1">
                <a:ln>
                  <a:noFill/>
                </a:ln>
                <a:solidFill>
                  <a:schemeClr val="accent1"/>
                </a:solidFill>
                <a:effectLst/>
                <a:uLnTx/>
                <a:uFillTx/>
                <a:latin typeface="Gill Sans MT" panose="020B0502020104020203" pitchFamily="34" charset="0"/>
                <a:cs typeface="Segoe UI" panose="020B0502040204020203" pitchFamily="34" charset="0"/>
              </a:rPr>
              <a:t>elit</a:t>
            </a:r>
            <a:r>
              <a:rPr kumimoji="0" lang="en-US" sz="1400" b="0" i="0" u="none" strike="noStrike" kern="0" cap="none" spc="0" normalizeH="0" baseline="0" noProof="0" dirty="0">
                <a:ln>
                  <a:noFill/>
                </a:ln>
                <a:solidFill>
                  <a:schemeClr val="accent1"/>
                </a:solidFill>
                <a:effectLst/>
                <a:uLnTx/>
                <a:uFillTx/>
                <a:latin typeface="Gill Sans MT" panose="020B0502020104020203" pitchFamily="34" charset="0"/>
                <a:cs typeface="Segoe UI" panose="020B0502040204020203" pitchFamily="34" charset="0"/>
              </a:rPr>
              <a:t>.</a:t>
            </a:r>
          </a:p>
        </p:txBody>
      </p:sp>
      <p:sp>
        <p:nvSpPr>
          <p:cNvPr id="33" name="Rectangle 209">
            <a:extLst>
              <a:ext uri="{FF2B5EF4-FFF2-40B4-BE49-F238E27FC236}">
                <a16:creationId xmlns:a16="http://schemas.microsoft.com/office/drawing/2014/main" id="{7ADF3C6A-9604-403C-A675-E6D2FE6D5E66}"/>
              </a:ext>
            </a:extLst>
          </p:cNvPr>
          <p:cNvSpPr/>
          <p:nvPr/>
        </p:nvSpPr>
        <p:spPr>
          <a:xfrm>
            <a:off x="8938330" y="1114339"/>
            <a:ext cx="1500845" cy="276999"/>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chemeClr val="accent1"/>
                </a:solidFill>
                <a:effectLst/>
                <a:uLnTx/>
                <a:uFillTx/>
                <a:latin typeface="Gill Sans MT" panose="020B0502020104020203" pitchFamily="34" charset="0"/>
                <a:cs typeface="Segoe UI" panose="020B0502040204020203" pitchFamily="34" charset="0"/>
              </a:rPr>
              <a:t>Lorem Ipsum</a:t>
            </a:r>
          </a:p>
        </p:txBody>
      </p:sp>
      <p:sp>
        <p:nvSpPr>
          <p:cNvPr id="34" name="Rectangle 210">
            <a:extLst>
              <a:ext uri="{FF2B5EF4-FFF2-40B4-BE49-F238E27FC236}">
                <a16:creationId xmlns:a16="http://schemas.microsoft.com/office/drawing/2014/main" id="{1B2AE14B-5B63-48C9-AD15-DEB389243B85}"/>
              </a:ext>
            </a:extLst>
          </p:cNvPr>
          <p:cNvSpPr/>
          <p:nvPr/>
        </p:nvSpPr>
        <p:spPr>
          <a:xfrm>
            <a:off x="8938330" y="1479342"/>
            <a:ext cx="1590800" cy="646331"/>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accent1"/>
                </a:solidFill>
                <a:effectLst/>
                <a:uLnTx/>
                <a:uFillTx/>
                <a:latin typeface="Gill Sans MT" panose="020B0502020104020203" pitchFamily="34" charset="0"/>
                <a:cs typeface="Segoe UI" panose="020B0502040204020203" pitchFamily="34" charset="0"/>
              </a:rPr>
              <a:t>Lorem ipsum dolor</a:t>
            </a:r>
            <a:br>
              <a:rPr kumimoji="0" lang="en-US" sz="1400" b="0" i="0" u="none" strike="noStrike" kern="0" cap="none" spc="0" normalizeH="0" baseline="0" noProof="0" dirty="0">
                <a:ln>
                  <a:noFill/>
                </a:ln>
                <a:solidFill>
                  <a:schemeClr val="accent1"/>
                </a:solidFill>
                <a:effectLst/>
                <a:uLnTx/>
                <a:uFillTx/>
                <a:latin typeface="Gill Sans MT" panose="020B0502020104020203" pitchFamily="34" charset="0"/>
                <a:cs typeface="Segoe UI" panose="020B0502040204020203" pitchFamily="34" charset="0"/>
              </a:rPr>
            </a:br>
            <a:r>
              <a:rPr kumimoji="0" lang="en-US" sz="1400" b="0" i="0" u="none" strike="noStrike" kern="0" cap="none" spc="0" normalizeH="0" baseline="0" noProof="0" dirty="0">
                <a:ln>
                  <a:noFill/>
                </a:ln>
                <a:solidFill>
                  <a:schemeClr val="accent1"/>
                </a:solidFill>
                <a:effectLst/>
                <a:uLnTx/>
                <a:uFillTx/>
                <a:latin typeface="Gill Sans MT" panose="020B0502020104020203" pitchFamily="34" charset="0"/>
                <a:cs typeface="Segoe UI" panose="020B0502040204020203" pitchFamily="34" charset="0"/>
              </a:rPr>
              <a:t>sit </a:t>
            </a:r>
            <a:r>
              <a:rPr kumimoji="0" lang="en-US" sz="1400" b="0" i="0" u="none" strike="noStrike" kern="0" cap="none" spc="0" normalizeH="0" baseline="0" noProof="0" dirty="0" err="1">
                <a:ln>
                  <a:noFill/>
                </a:ln>
                <a:solidFill>
                  <a:schemeClr val="accent1"/>
                </a:solidFill>
                <a:effectLst/>
                <a:uLnTx/>
                <a:uFillTx/>
                <a:latin typeface="Gill Sans MT" panose="020B0502020104020203" pitchFamily="34" charset="0"/>
                <a:cs typeface="Segoe UI" panose="020B0502040204020203" pitchFamily="34" charset="0"/>
              </a:rPr>
              <a:t>amet</a:t>
            </a:r>
            <a:r>
              <a:rPr kumimoji="0" lang="en-US" sz="1400" b="0" i="0" u="none" strike="noStrike" kern="0" cap="none" spc="0" normalizeH="0" baseline="0" noProof="0" dirty="0">
                <a:ln>
                  <a:noFill/>
                </a:ln>
                <a:solidFill>
                  <a:schemeClr val="accent1"/>
                </a:solidFill>
                <a:effectLst/>
                <a:uLnTx/>
                <a:uFillTx/>
                <a:latin typeface="Gill Sans MT" panose="020B0502020104020203" pitchFamily="34" charset="0"/>
                <a:cs typeface="Segoe UI" panose="020B0502040204020203" pitchFamily="34" charset="0"/>
              </a:rPr>
              <a:t>, </a:t>
            </a:r>
            <a:r>
              <a:rPr kumimoji="0" lang="en-US" sz="1400" b="0" i="0" u="none" strike="noStrike" kern="0" cap="none" spc="0" normalizeH="0" baseline="0" noProof="0" dirty="0" err="1">
                <a:ln>
                  <a:noFill/>
                </a:ln>
                <a:solidFill>
                  <a:schemeClr val="accent1"/>
                </a:solidFill>
                <a:effectLst/>
                <a:uLnTx/>
                <a:uFillTx/>
                <a:latin typeface="Gill Sans MT" panose="020B0502020104020203" pitchFamily="34" charset="0"/>
                <a:cs typeface="Segoe UI" panose="020B0502040204020203" pitchFamily="34" charset="0"/>
              </a:rPr>
              <a:t>consectetur</a:t>
            </a:r>
            <a:r>
              <a:rPr kumimoji="0" lang="en-US" sz="1400" b="0" i="0" u="none" strike="noStrike" kern="0" cap="none" spc="0" normalizeH="0" baseline="0" noProof="0" dirty="0">
                <a:ln>
                  <a:noFill/>
                </a:ln>
                <a:solidFill>
                  <a:schemeClr val="accent1"/>
                </a:solidFill>
                <a:effectLst/>
                <a:uLnTx/>
                <a:uFillTx/>
                <a:latin typeface="Gill Sans MT" panose="020B0502020104020203" pitchFamily="34" charset="0"/>
                <a:cs typeface="Segoe UI" panose="020B0502040204020203" pitchFamily="34" charset="0"/>
              </a:rPr>
              <a:t> </a:t>
            </a:r>
            <a:r>
              <a:rPr kumimoji="0" lang="en-US" sz="1400" b="0" i="0" u="none" strike="noStrike" kern="0" cap="none" spc="0" normalizeH="0" baseline="0" noProof="0" dirty="0" err="1">
                <a:ln>
                  <a:noFill/>
                </a:ln>
                <a:solidFill>
                  <a:schemeClr val="accent1"/>
                </a:solidFill>
                <a:effectLst/>
                <a:uLnTx/>
                <a:uFillTx/>
                <a:latin typeface="Gill Sans MT" panose="020B0502020104020203" pitchFamily="34" charset="0"/>
                <a:cs typeface="Segoe UI" panose="020B0502040204020203" pitchFamily="34" charset="0"/>
              </a:rPr>
              <a:t>adipiscing</a:t>
            </a:r>
            <a:r>
              <a:rPr kumimoji="0" lang="en-US" sz="1400" b="0" i="0" u="none" strike="noStrike" kern="0" cap="none" spc="0" normalizeH="0" baseline="0" noProof="0" dirty="0">
                <a:ln>
                  <a:noFill/>
                </a:ln>
                <a:solidFill>
                  <a:schemeClr val="accent1"/>
                </a:solidFill>
                <a:effectLst/>
                <a:uLnTx/>
                <a:uFillTx/>
                <a:latin typeface="Gill Sans MT" panose="020B0502020104020203" pitchFamily="34" charset="0"/>
                <a:cs typeface="Segoe UI" panose="020B0502040204020203" pitchFamily="34" charset="0"/>
              </a:rPr>
              <a:t> </a:t>
            </a:r>
            <a:r>
              <a:rPr kumimoji="0" lang="en-US" sz="1400" b="0" i="0" u="none" strike="noStrike" kern="0" cap="none" spc="0" normalizeH="0" baseline="0" noProof="0" dirty="0" err="1">
                <a:ln>
                  <a:noFill/>
                </a:ln>
                <a:solidFill>
                  <a:schemeClr val="accent1"/>
                </a:solidFill>
                <a:effectLst/>
                <a:uLnTx/>
                <a:uFillTx/>
                <a:latin typeface="Gill Sans MT" panose="020B0502020104020203" pitchFamily="34" charset="0"/>
                <a:cs typeface="Segoe UI" panose="020B0502040204020203" pitchFamily="34" charset="0"/>
              </a:rPr>
              <a:t>elit</a:t>
            </a:r>
            <a:r>
              <a:rPr kumimoji="0" lang="en-US" sz="1400" b="0" i="0" u="none" strike="noStrike" kern="0" cap="none" spc="0" normalizeH="0" baseline="0" noProof="0" dirty="0">
                <a:ln>
                  <a:noFill/>
                </a:ln>
                <a:solidFill>
                  <a:schemeClr val="accent1"/>
                </a:solidFill>
                <a:effectLst/>
                <a:uLnTx/>
                <a:uFillTx/>
                <a:latin typeface="Gill Sans MT" panose="020B0502020104020203" pitchFamily="34" charset="0"/>
                <a:cs typeface="Segoe UI" panose="020B0502040204020203" pitchFamily="34" charset="0"/>
              </a:rPr>
              <a:t>.</a:t>
            </a:r>
          </a:p>
        </p:txBody>
      </p:sp>
      <p:cxnSp>
        <p:nvCxnSpPr>
          <p:cNvPr id="35" name="Straight Connector 320">
            <a:extLst>
              <a:ext uri="{FF2B5EF4-FFF2-40B4-BE49-F238E27FC236}">
                <a16:creationId xmlns:a16="http://schemas.microsoft.com/office/drawing/2014/main" id="{260C1D0B-FDA1-4309-B8C3-99E78594D4AF}"/>
              </a:ext>
            </a:extLst>
          </p:cNvPr>
          <p:cNvCxnSpPr>
            <a:cxnSpLocks/>
          </p:cNvCxnSpPr>
          <p:nvPr/>
        </p:nvCxnSpPr>
        <p:spPr>
          <a:xfrm>
            <a:off x="7783455" y="1107498"/>
            <a:ext cx="0" cy="1011334"/>
          </a:xfrm>
          <a:prstGeom prst="line">
            <a:avLst/>
          </a:prstGeom>
          <a:ln>
            <a:solidFill>
              <a:schemeClr val="accent1"/>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36" name="Rectangle 312">
            <a:extLst>
              <a:ext uri="{FF2B5EF4-FFF2-40B4-BE49-F238E27FC236}">
                <a16:creationId xmlns:a16="http://schemas.microsoft.com/office/drawing/2014/main" id="{799D6539-0DCE-4392-9A5D-69F9133DA91F}"/>
              </a:ext>
            </a:extLst>
          </p:cNvPr>
          <p:cNvSpPr/>
          <p:nvPr/>
        </p:nvSpPr>
        <p:spPr>
          <a:xfrm>
            <a:off x="2199087" y="4889283"/>
            <a:ext cx="1500845" cy="276999"/>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chemeClr val="accent1"/>
                </a:solidFill>
                <a:effectLst/>
                <a:uLnTx/>
                <a:uFillTx/>
                <a:latin typeface="Gill Sans MT" panose="020B0502020104020203" pitchFamily="34" charset="0"/>
                <a:cs typeface="Segoe UI" panose="020B0502040204020203" pitchFamily="34" charset="0"/>
              </a:rPr>
              <a:t>Lorem Ipsum</a:t>
            </a:r>
          </a:p>
        </p:txBody>
      </p:sp>
      <p:sp>
        <p:nvSpPr>
          <p:cNvPr id="37" name="Rectangle 313">
            <a:extLst>
              <a:ext uri="{FF2B5EF4-FFF2-40B4-BE49-F238E27FC236}">
                <a16:creationId xmlns:a16="http://schemas.microsoft.com/office/drawing/2014/main" id="{589E2BC5-87D9-4AD6-AC6F-EF363E477E0A}"/>
              </a:ext>
            </a:extLst>
          </p:cNvPr>
          <p:cNvSpPr/>
          <p:nvPr/>
        </p:nvSpPr>
        <p:spPr>
          <a:xfrm>
            <a:off x="2199087" y="5254286"/>
            <a:ext cx="1590800" cy="646331"/>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accent1"/>
                </a:solidFill>
                <a:effectLst/>
                <a:uLnTx/>
                <a:uFillTx/>
                <a:latin typeface="Gill Sans MT" panose="020B0502020104020203" pitchFamily="34" charset="0"/>
                <a:cs typeface="Segoe UI" panose="020B0502040204020203" pitchFamily="34" charset="0"/>
              </a:rPr>
              <a:t>Lorem ipsum dolor</a:t>
            </a:r>
            <a:br>
              <a:rPr kumimoji="0" lang="en-US" sz="1400" b="0" i="0" u="none" strike="noStrike" kern="0" cap="none" spc="0" normalizeH="0" baseline="0" noProof="0" dirty="0">
                <a:ln>
                  <a:noFill/>
                </a:ln>
                <a:solidFill>
                  <a:schemeClr val="accent1"/>
                </a:solidFill>
                <a:effectLst/>
                <a:uLnTx/>
                <a:uFillTx/>
                <a:latin typeface="Gill Sans MT" panose="020B0502020104020203" pitchFamily="34" charset="0"/>
                <a:cs typeface="Segoe UI" panose="020B0502040204020203" pitchFamily="34" charset="0"/>
              </a:rPr>
            </a:br>
            <a:r>
              <a:rPr kumimoji="0" lang="en-US" sz="1400" b="0" i="0" u="none" strike="noStrike" kern="0" cap="none" spc="0" normalizeH="0" baseline="0" noProof="0" dirty="0">
                <a:ln>
                  <a:noFill/>
                </a:ln>
                <a:solidFill>
                  <a:schemeClr val="accent1"/>
                </a:solidFill>
                <a:effectLst/>
                <a:uLnTx/>
                <a:uFillTx/>
                <a:latin typeface="Gill Sans MT" panose="020B0502020104020203" pitchFamily="34" charset="0"/>
                <a:cs typeface="Segoe UI" panose="020B0502040204020203" pitchFamily="34" charset="0"/>
              </a:rPr>
              <a:t>sit </a:t>
            </a:r>
            <a:r>
              <a:rPr kumimoji="0" lang="en-US" sz="1400" b="0" i="0" u="none" strike="noStrike" kern="0" cap="none" spc="0" normalizeH="0" baseline="0" noProof="0" dirty="0" err="1">
                <a:ln>
                  <a:noFill/>
                </a:ln>
                <a:solidFill>
                  <a:schemeClr val="accent1"/>
                </a:solidFill>
                <a:effectLst/>
                <a:uLnTx/>
                <a:uFillTx/>
                <a:latin typeface="Gill Sans MT" panose="020B0502020104020203" pitchFamily="34" charset="0"/>
                <a:cs typeface="Segoe UI" panose="020B0502040204020203" pitchFamily="34" charset="0"/>
              </a:rPr>
              <a:t>amet</a:t>
            </a:r>
            <a:r>
              <a:rPr kumimoji="0" lang="en-US" sz="1400" b="0" i="0" u="none" strike="noStrike" kern="0" cap="none" spc="0" normalizeH="0" baseline="0" noProof="0" dirty="0">
                <a:ln>
                  <a:noFill/>
                </a:ln>
                <a:solidFill>
                  <a:schemeClr val="accent1"/>
                </a:solidFill>
                <a:effectLst/>
                <a:uLnTx/>
                <a:uFillTx/>
                <a:latin typeface="Gill Sans MT" panose="020B0502020104020203" pitchFamily="34" charset="0"/>
                <a:cs typeface="Segoe UI" panose="020B0502040204020203" pitchFamily="34" charset="0"/>
              </a:rPr>
              <a:t>, </a:t>
            </a:r>
            <a:r>
              <a:rPr kumimoji="0" lang="en-US" sz="1400" b="0" i="0" u="none" strike="noStrike" kern="0" cap="none" spc="0" normalizeH="0" baseline="0" noProof="0" dirty="0" err="1">
                <a:ln>
                  <a:noFill/>
                </a:ln>
                <a:solidFill>
                  <a:schemeClr val="accent1"/>
                </a:solidFill>
                <a:effectLst/>
                <a:uLnTx/>
                <a:uFillTx/>
                <a:latin typeface="Gill Sans MT" panose="020B0502020104020203" pitchFamily="34" charset="0"/>
                <a:cs typeface="Segoe UI" panose="020B0502040204020203" pitchFamily="34" charset="0"/>
              </a:rPr>
              <a:t>consectetur</a:t>
            </a:r>
            <a:r>
              <a:rPr kumimoji="0" lang="en-US" sz="1400" b="0" i="0" u="none" strike="noStrike" kern="0" cap="none" spc="0" normalizeH="0" baseline="0" noProof="0" dirty="0">
                <a:ln>
                  <a:noFill/>
                </a:ln>
                <a:solidFill>
                  <a:schemeClr val="accent1"/>
                </a:solidFill>
                <a:effectLst/>
                <a:uLnTx/>
                <a:uFillTx/>
                <a:latin typeface="Gill Sans MT" panose="020B0502020104020203" pitchFamily="34" charset="0"/>
                <a:cs typeface="Segoe UI" panose="020B0502040204020203" pitchFamily="34" charset="0"/>
              </a:rPr>
              <a:t> </a:t>
            </a:r>
            <a:r>
              <a:rPr kumimoji="0" lang="en-US" sz="1400" b="0" i="0" u="none" strike="noStrike" kern="0" cap="none" spc="0" normalizeH="0" baseline="0" noProof="0" dirty="0" err="1">
                <a:ln>
                  <a:noFill/>
                </a:ln>
                <a:solidFill>
                  <a:schemeClr val="accent1"/>
                </a:solidFill>
                <a:effectLst/>
                <a:uLnTx/>
                <a:uFillTx/>
                <a:latin typeface="Gill Sans MT" panose="020B0502020104020203" pitchFamily="34" charset="0"/>
                <a:cs typeface="Segoe UI" panose="020B0502040204020203" pitchFamily="34" charset="0"/>
              </a:rPr>
              <a:t>adipiscing</a:t>
            </a:r>
            <a:r>
              <a:rPr kumimoji="0" lang="en-US" sz="1400" b="0" i="0" u="none" strike="noStrike" kern="0" cap="none" spc="0" normalizeH="0" baseline="0" noProof="0" dirty="0">
                <a:ln>
                  <a:noFill/>
                </a:ln>
                <a:solidFill>
                  <a:schemeClr val="accent1"/>
                </a:solidFill>
                <a:effectLst/>
                <a:uLnTx/>
                <a:uFillTx/>
                <a:latin typeface="Gill Sans MT" panose="020B0502020104020203" pitchFamily="34" charset="0"/>
                <a:cs typeface="Segoe UI" panose="020B0502040204020203" pitchFamily="34" charset="0"/>
              </a:rPr>
              <a:t> </a:t>
            </a:r>
            <a:r>
              <a:rPr kumimoji="0" lang="en-US" sz="1400" b="0" i="0" u="none" strike="noStrike" kern="0" cap="none" spc="0" normalizeH="0" baseline="0" noProof="0" dirty="0" err="1">
                <a:ln>
                  <a:noFill/>
                </a:ln>
                <a:solidFill>
                  <a:schemeClr val="accent1"/>
                </a:solidFill>
                <a:effectLst/>
                <a:uLnTx/>
                <a:uFillTx/>
                <a:latin typeface="Gill Sans MT" panose="020B0502020104020203" pitchFamily="34" charset="0"/>
                <a:cs typeface="Segoe UI" panose="020B0502040204020203" pitchFamily="34" charset="0"/>
              </a:rPr>
              <a:t>elit</a:t>
            </a:r>
            <a:r>
              <a:rPr kumimoji="0" lang="en-US" sz="1400" b="0" i="0" u="none" strike="noStrike" kern="0" cap="none" spc="0" normalizeH="0" baseline="0" noProof="0" dirty="0">
                <a:ln>
                  <a:noFill/>
                </a:ln>
                <a:solidFill>
                  <a:schemeClr val="accent1"/>
                </a:solidFill>
                <a:effectLst/>
                <a:uLnTx/>
                <a:uFillTx/>
                <a:latin typeface="Gill Sans MT" panose="020B0502020104020203" pitchFamily="34" charset="0"/>
                <a:cs typeface="Segoe UI" panose="020B0502040204020203" pitchFamily="34" charset="0"/>
              </a:rPr>
              <a:t>.</a:t>
            </a:r>
          </a:p>
        </p:txBody>
      </p:sp>
      <p:sp>
        <p:nvSpPr>
          <p:cNvPr id="38" name="Rectangle 305">
            <a:extLst>
              <a:ext uri="{FF2B5EF4-FFF2-40B4-BE49-F238E27FC236}">
                <a16:creationId xmlns:a16="http://schemas.microsoft.com/office/drawing/2014/main" id="{BD5E95DF-616A-44AE-BE37-079648153886}"/>
              </a:ext>
            </a:extLst>
          </p:cNvPr>
          <p:cNvSpPr/>
          <p:nvPr/>
        </p:nvSpPr>
        <p:spPr>
          <a:xfrm>
            <a:off x="5568709" y="4889283"/>
            <a:ext cx="1500845" cy="276999"/>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chemeClr val="accent1"/>
                </a:solidFill>
                <a:effectLst/>
                <a:uLnTx/>
                <a:uFillTx/>
                <a:latin typeface="Gill Sans MT" panose="020B0502020104020203" pitchFamily="34" charset="0"/>
                <a:cs typeface="Segoe UI" panose="020B0502040204020203" pitchFamily="34" charset="0"/>
              </a:rPr>
              <a:t>Lorem Ipsum</a:t>
            </a:r>
          </a:p>
        </p:txBody>
      </p:sp>
      <p:sp>
        <p:nvSpPr>
          <p:cNvPr id="39" name="Rectangle 306">
            <a:extLst>
              <a:ext uri="{FF2B5EF4-FFF2-40B4-BE49-F238E27FC236}">
                <a16:creationId xmlns:a16="http://schemas.microsoft.com/office/drawing/2014/main" id="{43B73C58-D1F8-4C4E-8078-EA50E43C2651}"/>
              </a:ext>
            </a:extLst>
          </p:cNvPr>
          <p:cNvSpPr/>
          <p:nvPr/>
        </p:nvSpPr>
        <p:spPr>
          <a:xfrm>
            <a:off x="5568709" y="5254286"/>
            <a:ext cx="1590800" cy="646331"/>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accent1"/>
                </a:solidFill>
                <a:effectLst/>
                <a:uLnTx/>
                <a:uFillTx/>
                <a:latin typeface="Gill Sans MT" panose="020B0502020104020203" pitchFamily="34" charset="0"/>
                <a:cs typeface="Segoe UI" panose="020B0502040204020203" pitchFamily="34" charset="0"/>
              </a:rPr>
              <a:t>Lorem ipsum dolor</a:t>
            </a:r>
            <a:br>
              <a:rPr kumimoji="0" lang="en-US" sz="1400" b="0" i="0" u="none" strike="noStrike" kern="0" cap="none" spc="0" normalizeH="0" baseline="0" noProof="0" dirty="0">
                <a:ln>
                  <a:noFill/>
                </a:ln>
                <a:solidFill>
                  <a:schemeClr val="accent1"/>
                </a:solidFill>
                <a:effectLst/>
                <a:uLnTx/>
                <a:uFillTx/>
                <a:latin typeface="Gill Sans MT" panose="020B0502020104020203" pitchFamily="34" charset="0"/>
                <a:cs typeface="Segoe UI" panose="020B0502040204020203" pitchFamily="34" charset="0"/>
              </a:rPr>
            </a:br>
            <a:r>
              <a:rPr kumimoji="0" lang="en-US" sz="1400" b="0" i="0" u="none" strike="noStrike" kern="0" cap="none" spc="0" normalizeH="0" baseline="0" noProof="0" dirty="0">
                <a:ln>
                  <a:noFill/>
                </a:ln>
                <a:solidFill>
                  <a:schemeClr val="accent1"/>
                </a:solidFill>
                <a:effectLst/>
                <a:uLnTx/>
                <a:uFillTx/>
                <a:latin typeface="Gill Sans MT" panose="020B0502020104020203" pitchFamily="34" charset="0"/>
                <a:cs typeface="Segoe UI" panose="020B0502040204020203" pitchFamily="34" charset="0"/>
              </a:rPr>
              <a:t>sit </a:t>
            </a:r>
            <a:r>
              <a:rPr kumimoji="0" lang="en-US" sz="1400" b="0" i="0" u="none" strike="noStrike" kern="0" cap="none" spc="0" normalizeH="0" baseline="0" noProof="0" dirty="0" err="1">
                <a:ln>
                  <a:noFill/>
                </a:ln>
                <a:solidFill>
                  <a:schemeClr val="accent1"/>
                </a:solidFill>
                <a:effectLst/>
                <a:uLnTx/>
                <a:uFillTx/>
                <a:latin typeface="Gill Sans MT" panose="020B0502020104020203" pitchFamily="34" charset="0"/>
                <a:cs typeface="Segoe UI" panose="020B0502040204020203" pitchFamily="34" charset="0"/>
              </a:rPr>
              <a:t>amet</a:t>
            </a:r>
            <a:r>
              <a:rPr kumimoji="0" lang="en-US" sz="1400" b="0" i="0" u="none" strike="noStrike" kern="0" cap="none" spc="0" normalizeH="0" baseline="0" noProof="0" dirty="0">
                <a:ln>
                  <a:noFill/>
                </a:ln>
                <a:solidFill>
                  <a:schemeClr val="accent1"/>
                </a:solidFill>
                <a:effectLst/>
                <a:uLnTx/>
                <a:uFillTx/>
                <a:latin typeface="Gill Sans MT" panose="020B0502020104020203" pitchFamily="34" charset="0"/>
                <a:cs typeface="Segoe UI" panose="020B0502040204020203" pitchFamily="34" charset="0"/>
              </a:rPr>
              <a:t>, </a:t>
            </a:r>
            <a:r>
              <a:rPr kumimoji="0" lang="en-US" sz="1400" b="0" i="0" u="none" strike="noStrike" kern="0" cap="none" spc="0" normalizeH="0" baseline="0" noProof="0" dirty="0" err="1">
                <a:ln>
                  <a:noFill/>
                </a:ln>
                <a:solidFill>
                  <a:schemeClr val="accent1"/>
                </a:solidFill>
                <a:effectLst/>
                <a:uLnTx/>
                <a:uFillTx/>
                <a:latin typeface="Gill Sans MT" panose="020B0502020104020203" pitchFamily="34" charset="0"/>
                <a:cs typeface="Segoe UI" panose="020B0502040204020203" pitchFamily="34" charset="0"/>
              </a:rPr>
              <a:t>consectetur</a:t>
            </a:r>
            <a:r>
              <a:rPr kumimoji="0" lang="en-US" sz="1400" b="0" i="0" u="none" strike="noStrike" kern="0" cap="none" spc="0" normalizeH="0" baseline="0" noProof="0" dirty="0">
                <a:ln>
                  <a:noFill/>
                </a:ln>
                <a:solidFill>
                  <a:schemeClr val="accent1"/>
                </a:solidFill>
                <a:effectLst/>
                <a:uLnTx/>
                <a:uFillTx/>
                <a:latin typeface="Gill Sans MT" panose="020B0502020104020203" pitchFamily="34" charset="0"/>
                <a:cs typeface="Segoe UI" panose="020B0502040204020203" pitchFamily="34" charset="0"/>
              </a:rPr>
              <a:t> </a:t>
            </a:r>
            <a:r>
              <a:rPr kumimoji="0" lang="en-US" sz="1400" b="0" i="0" u="none" strike="noStrike" kern="0" cap="none" spc="0" normalizeH="0" baseline="0" noProof="0" dirty="0" err="1">
                <a:ln>
                  <a:noFill/>
                </a:ln>
                <a:solidFill>
                  <a:schemeClr val="accent1"/>
                </a:solidFill>
                <a:effectLst/>
                <a:uLnTx/>
                <a:uFillTx/>
                <a:latin typeface="Gill Sans MT" panose="020B0502020104020203" pitchFamily="34" charset="0"/>
                <a:cs typeface="Segoe UI" panose="020B0502040204020203" pitchFamily="34" charset="0"/>
              </a:rPr>
              <a:t>adipiscing</a:t>
            </a:r>
            <a:r>
              <a:rPr kumimoji="0" lang="en-US" sz="1400" b="0" i="0" u="none" strike="noStrike" kern="0" cap="none" spc="0" normalizeH="0" baseline="0" noProof="0" dirty="0">
                <a:ln>
                  <a:noFill/>
                </a:ln>
                <a:solidFill>
                  <a:schemeClr val="accent1"/>
                </a:solidFill>
                <a:effectLst/>
                <a:uLnTx/>
                <a:uFillTx/>
                <a:latin typeface="Gill Sans MT" panose="020B0502020104020203" pitchFamily="34" charset="0"/>
                <a:cs typeface="Segoe UI" panose="020B0502040204020203" pitchFamily="34" charset="0"/>
              </a:rPr>
              <a:t> </a:t>
            </a:r>
            <a:r>
              <a:rPr kumimoji="0" lang="en-US" sz="1400" b="0" i="0" u="none" strike="noStrike" kern="0" cap="none" spc="0" normalizeH="0" baseline="0" noProof="0" dirty="0" err="1">
                <a:ln>
                  <a:noFill/>
                </a:ln>
                <a:solidFill>
                  <a:schemeClr val="accent1"/>
                </a:solidFill>
                <a:effectLst/>
                <a:uLnTx/>
                <a:uFillTx/>
                <a:latin typeface="Gill Sans MT" panose="020B0502020104020203" pitchFamily="34" charset="0"/>
                <a:cs typeface="Segoe UI" panose="020B0502040204020203" pitchFamily="34" charset="0"/>
              </a:rPr>
              <a:t>elit</a:t>
            </a:r>
            <a:r>
              <a:rPr kumimoji="0" lang="en-US" sz="1400" b="0" i="0" u="none" strike="noStrike" kern="0" cap="none" spc="0" normalizeH="0" baseline="0" noProof="0" dirty="0">
                <a:ln>
                  <a:noFill/>
                </a:ln>
                <a:solidFill>
                  <a:schemeClr val="accent1"/>
                </a:solidFill>
                <a:effectLst/>
                <a:uLnTx/>
                <a:uFillTx/>
                <a:latin typeface="Gill Sans MT" panose="020B0502020104020203" pitchFamily="34" charset="0"/>
                <a:cs typeface="Segoe UI" panose="020B0502040204020203" pitchFamily="34" charset="0"/>
              </a:rPr>
              <a:t>.</a:t>
            </a:r>
          </a:p>
        </p:txBody>
      </p:sp>
      <p:sp>
        <p:nvSpPr>
          <p:cNvPr id="40" name="Rectangle 298">
            <a:extLst>
              <a:ext uri="{FF2B5EF4-FFF2-40B4-BE49-F238E27FC236}">
                <a16:creationId xmlns:a16="http://schemas.microsoft.com/office/drawing/2014/main" id="{B923A988-82A6-49E5-843C-50903F4B35FB}"/>
              </a:ext>
            </a:extLst>
          </p:cNvPr>
          <p:cNvSpPr/>
          <p:nvPr/>
        </p:nvSpPr>
        <p:spPr>
          <a:xfrm>
            <a:off x="8938330" y="4889283"/>
            <a:ext cx="1500845" cy="276999"/>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chemeClr val="accent1"/>
                </a:solidFill>
                <a:effectLst/>
                <a:uLnTx/>
                <a:uFillTx/>
                <a:latin typeface="Gill Sans MT" panose="020B0502020104020203" pitchFamily="34" charset="0"/>
                <a:cs typeface="Segoe UI" panose="020B0502040204020203" pitchFamily="34" charset="0"/>
              </a:rPr>
              <a:t>Goal</a:t>
            </a:r>
          </a:p>
        </p:txBody>
      </p:sp>
      <p:sp>
        <p:nvSpPr>
          <p:cNvPr id="41" name="Rectangle 299">
            <a:extLst>
              <a:ext uri="{FF2B5EF4-FFF2-40B4-BE49-F238E27FC236}">
                <a16:creationId xmlns:a16="http://schemas.microsoft.com/office/drawing/2014/main" id="{DDC7A2E3-CD07-436F-9055-A2651F9ADC1F}"/>
              </a:ext>
            </a:extLst>
          </p:cNvPr>
          <p:cNvSpPr/>
          <p:nvPr/>
        </p:nvSpPr>
        <p:spPr>
          <a:xfrm>
            <a:off x="8938330" y="5254286"/>
            <a:ext cx="1590800" cy="646331"/>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accent1"/>
                </a:solidFill>
                <a:effectLst/>
                <a:uLnTx/>
                <a:uFillTx/>
                <a:latin typeface="Gill Sans MT" panose="020B0502020104020203" pitchFamily="34" charset="0"/>
                <a:cs typeface="Segoe UI" panose="020B0502040204020203" pitchFamily="34" charset="0"/>
              </a:rPr>
              <a:t>Lorem ipsum dolor</a:t>
            </a:r>
            <a:br>
              <a:rPr kumimoji="0" lang="en-US" sz="1400" b="0" i="0" u="none" strike="noStrike" kern="0" cap="none" spc="0" normalizeH="0" baseline="0" noProof="0" dirty="0">
                <a:ln>
                  <a:noFill/>
                </a:ln>
                <a:solidFill>
                  <a:schemeClr val="accent1"/>
                </a:solidFill>
                <a:effectLst/>
                <a:uLnTx/>
                <a:uFillTx/>
                <a:latin typeface="Gill Sans MT" panose="020B0502020104020203" pitchFamily="34" charset="0"/>
                <a:cs typeface="Segoe UI" panose="020B0502040204020203" pitchFamily="34" charset="0"/>
              </a:rPr>
            </a:br>
            <a:r>
              <a:rPr kumimoji="0" lang="en-US" sz="1400" b="0" i="0" u="none" strike="noStrike" kern="0" cap="none" spc="0" normalizeH="0" baseline="0" noProof="0" dirty="0">
                <a:ln>
                  <a:noFill/>
                </a:ln>
                <a:solidFill>
                  <a:schemeClr val="accent1"/>
                </a:solidFill>
                <a:effectLst/>
                <a:uLnTx/>
                <a:uFillTx/>
                <a:latin typeface="Gill Sans MT" panose="020B0502020104020203" pitchFamily="34" charset="0"/>
                <a:cs typeface="Segoe UI" panose="020B0502040204020203" pitchFamily="34" charset="0"/>
              </a:rPr>
              <a:t>sit </a:t>
            </a:r>
            <a:r>
              <a:rPr kumimoji="0" lang="en-US" sz="1400" b="0" i="0" u="none" strike="noStrike" kern="0" cap="none" spc="0" normalizeH="0" baseline="0" noProof="0" dirty="0" err="1">
                <a:ln>
                  <a:noFill/>
                </a:ln>
                <a:solidFill>
                  <a:schemeClr val="accent1"/>
                </a:solidFill>
                <a:effectLst/>
                <a:uLnTx/>
                <a:uFillTx/>
                <a:latin typeface="Gill Sans MT" panose="020B0502020104020203" pitchFamily="34" charset="0"/>
                <a:cs typeface="Segoe UI" panose="020B0502040204020203" pitchFamily="34" charset="0"/>
              </a:rPr>
              <a:t>amet</a:t>
            </a:r>
            <a:r>
              <a:rPr kumimoji="0" lang="en-US" sz="1400" b="0" i="0" u="none" strike="noStrike" kern="0" cap="none" spc="0" normalizeH="0" baseline="0" noProof="0" dirty="0">
                <a:ln>
                  <a:noFill/>
                </a:ln>
                <a:solidFill>
                  <a:schemeClr val="accent1"/>
                </a:solidFill>
                <a:effectLst/>
                <a:uLnTx/>
                <a:uFillTx/>
                <a:latin typeface="Gill Sans MT" panose="020B0502020104020203" pitchFamily="34" charset="0"/>
                <a:cs typeface="Segoe UI" panose="020B0502040204020203" pitchFamily="34" charset="0"/>
              </a:rPr>
              <a:t>, </a:t>
            </a:r>
            <a:r>
              <a:rPr kumimoji="0" lang="en-US" sz="1400" b="0" i="0" u="none" strike="noStrike" kern="0" cap="none" spc="0" normalizeH="0" baseline="0" noProof="0" dirty="0" err="1">
                <a:ln>
                  <a:noFill/>
                </a:ln>
                <a:solidFill>
                  <a:schemeClr val="accent1"/>
                </a:solidFill>
                <a:effectLst/>
                <a:uLnTx/>
                <a:uFillTx/>
                <a:latin typeface="Gill Sans MT" panose="020B0502020104020203" pitchFamily="34" charset="0"/>
                <a:cs typeface="Segoe UI" panose="020B0502040204020203" pitchFamily="34" charset="0"/>
              </a:rPr>
              <a:t>consectetur</a:t>
            </a:r>
            <a:r>
              <a:rPr kumimoji="0" lang="en-US" sz="1400" b="0" i="0" u="none" strike="noStrike" kern="0" cap="none" spc="0" normalizeH="0" baseline="0" noProof="0" dirty="0">
                <a:ln>
                  <a:noFill/>
                </a:ln>
                <a:solidFill>
                  <a:schemeClr val="accent1"/>
                </a:solidFill>
                <a:effectLst/>
                <a:uLnTx/>
                <a:uFillTx/>
                <a:latin typeface="Gill Sans MT" panose="020B0502020104020203" pitchFamily="34" charset="0"/>
                <a:cs typeface="Segoe UI" panose="020B0502040204020203" pitchFamily="34" charset="0"/>
              </a:rPr>
              <a:t> </a:t>
            </a:r>
            <a:r>
              <a:rPr kumimoji="0" lang="en-US" sz="1400" b="0" i="0" u="none" strike="noStrike" kern="0" cap="none" spc="0" normalizeH="0" baseline="0" noProof="0" dirty="0" err="1">
                <a:ln>
                  <a:noFill/>
                </a:ln>
                <a:solidFill>
                  <a:schemeClr val="accent1"/>
                </a:solidFill>
                <a:effectLst/>
                <a:uLnTx/>
                <a:uFillTx/>
                <a:latin typeface="Gill Sans MT" panose="020B0502020104020203" pitchFamily="34" charset="0"/>
                <a:cs typeface="Segoe UI" panose="020B0502040204020203" pitchFamily="34" charset="0"/>
              </a:rPr>
              <a:t>adipiscing</a:t>
            </a:r>
            <a:r>
              <a:rPr kumimoji="0" lang="en-US" sz="1400" b="0" i="0" u="none" strike="noStrike" kern="0" cap="none" spc="0" normalizeH="0" baseline="0" noProof="0" dirty="0">
                <a:ln>
                  <a:noFill/>
                </a:ln>
                <a:solidFill>
                  <a:schemeClr val="accent1"/>
                </a:solidFill>
                <a:effectLst/>
                <a:uLnTx/>
                <a:uFillTx/>
                <a:latin typeface="Gill Sans MT" panose="020B0502020104020203" pitchFamily="34" charset="0"/>
                <a:cs typeface="Segoe UI" panose="020B0502040204020203" pitchFamily="34" charset="0"/>
              </a:rPr>
              <a:t> </a:t>
            </a:r>
            <a:r>
              <a:rPr kumimoji="0" lang="en-US" sz="1400" b="0" i="0" u="none" strike="noStrike" kern="0" cap="none" spc="0" normalizeH="0" baseline="0" noProof="0" dirty="0" err="1">
                <a:ln>
                  <a:noFill/>
                </a:ln>
                <a:solidFill>
                  <a:schemeClr val="accent1"/>
                </a:solidFill>
                <a:effectLst/>
                <a:uLnTx/>
                <a:uFillTx/>
                <a:latin typeface="Gill Sans MT" panose="020B0502020104020203" pitchFamily="34" charset="0"/>
                <a:cs typeface="Segoe UI" panose="020B0502040204020203" pitchFamily="34" charset="0"/>
              </a:rPr>
              <a:t>elit</a:t>
            </a:r>
            <a:r>
              <a:rPr kumimoji="0" lang="en-US" sz="1400" b="0" i="0" u="none" strike="noStrike" kern="0" cap="none" spc="0" normalizeH="0" baseline="0" noProof="0" dirty="0">
                <a:ln>
                  <a:noFill/>
                </a:ln>
                <a:solidFill>
                  <a:schemeClr val="accent1"/>
                </a:solidFill>
                <a:effectLst/>
                <a:uLnTx/>
                <a:uFillTx/>
                <a:latin typeface="Gill Sans MT" panose="020B0502020104020203" pitchFamily="34" charset="0"/>
                <a:cs typeface="Segoe UI" panose="020B0502040204020203" pitchFamily="34" charset="0"/>
              </a:rPr>
              <a:t>.</a:t>
            </a:r>
          </a:p>
        </p:txBody>
      </p:sp>
      <p:cxnSp>
        <p:nvCxnSpPr>
          <p:cNvPr id="42" name="Straight Connector 321">
            <a:extLst>
              <a:ext uri="{FF2B5EF4-FFF2-40B4-BE49-F238E27FC236}">
                <a16:creationId xmlns:a16="http://schemas.microsoft.com/office/drawing/2014/main" id="{F84FDAFB-0F31-4CE0-A7ED-AEBA3EFB2101}"/>
              </a:ext>
            </a:extLst>
          </p:cNvPr>
          <p:cNvCxnSpPr>
            <a:cxnSpLocks/>
          </p:cNvCxnSpPr>
          <p:nvPr/>
        </p:nvCxnSpPr>
        <p:spPr>
          <a:xfrm>
            <a:off x="4413833" y="4882442"/>
            <a:ext cx="0" cy="1011334"/>
          </a:xfrm>
          <a:prstGeom prst="line">
            <a:avLst/>
          </a:prstGeom>
          <a:ln>
            <a:solidFill>
              <a:schemeClr val="accent1"/>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43" name="Straight Connector 322">
            <a:extLst>
              <a:ext uri="{FF2B5EF4-FFF2-40B4-BE49-F238E27FC236}">
                <a16:creationId xmlns:a16="http://schemas.microsoft.com/office/drawing/2014/main" id="{BA0CFB76-5326-43D8-AA7E-A772F1012486}"/>
              </a:ext>
            </a:extLst>
          </p:cNvPr>
          <p:cNvCxnSpPr>
            <a:cxnSpLocks/>
          </p:cNvCxnSpPr>
          <p:nvPr/>
        </p:nvCxnSpPr>
        <p:spPr>
          <a:xfrm>
            <a:off x="7783455" y="4882442"/>
            <a:ext cx="0" cy="1011334"/>
          </a:xfrm>
          <a:prstGeom prst="line">
            <a:avLst/>
          </a:prstGeom>
          <a:ln>
            <a:solidFill>
              <a:schemeClr val="accent1"/>
            </a:solidFill>
            <a:headEnd type="oval"/>
            <a:tailEnd type="oval"/>
          </a:ln>
        </p:spPr>
        <p:style>
          <a:lnRef idx="1">
            <a:schemeClr val="accent1"/>
          </a:lnRef>
          <a:fillRef idx="0">
            <a:schemeClr val="accent1"/>
          </a:fillRef>
          <a:effectRef idx="0">
            <a:schemeClr val="accent1"/>
          </a:effectRef>
          <a:fontRef idx="minor">
            <a:schemeClr val="tx1"/>
          </a:fontRef>
        </p:style>
      </p:cxnSp>
      <p:grpSp>
        <p:nvGrpSpPr>
          <p:cNvPr id="44" name="Group 66">
            <a:extLst>
              <a:ext uri="{FF2B5EF4-FFF2-40B4-BE49-F238E27FC236}">
                <a16:creationId xmlns:a16="http://schemas.microsoft.com/office/drawing/2014/main" id="{CE722BE5-DA54-43F4-BB80-8463AFB280A6}"/>
              </a:ext>
            </a:extLst>
          </p:cNvPr>
          <p:cNvGrpSpPr/>
          <p:nvPr/>
        </p:nvGrpSpPr>
        <p:grpSpPr>
          <a:xfrm>
            <a:off x="8407400" y="1100658"/>
            <a:ext cx="361029" cy="1025015"/>
            <a:chOff x="8407400" y="1501485"/>
            <a:chExt cx="361029" cy="1025015"/>
          </a:xfrm>
        </p:grpSpPr>
        <p:grpSp>
          <p:nvGrpSpPr>
            <p:cNvPr id="45" name="Group 212">
              <a:extLst>
                <a:ext uri="{FF2B5EF4-FFF2-40B4-BE49-F238E27FC236}">
                  <a16:creationId xmlns:a16="http://schemas.microsoft.com/office/drawing/2014/main" id="{578736A3-7AA7-4DC9-BB2E-8ADEFBB0F621}"/>
                </a:ext>
              </a:extLst>
            </p:cNvPr>
            <p:cNvGrpSpPr/>
            <p:nvPr/>
          </p:nvGrpSpPr>
          <p:grpSpPr>
            <a:xfrm rot="16200000">
              <a:off x="8075407" y="1833478"/>
              <a:ext cx="1025015" cy="361029"/>
              <a:chOff x="5983816" y="1091376"/>
              <a:chExt cx="1533310" cy="540061"/>
            </a:xfrm>
          </p:grpSpPr>
          <p:sp>
            <p:nvSpPr>
              <p:cNvPr id="47" name="Oval 214">
                <a:extLst>
                  <a:ext uri="{FF2B5EF4-FFF2-40B4-BE49-F238E27FC236}">
                    <a16:creationId xmlns:a16="http://schemas.microsoft.com/office/drawing/2014/main" id="{71A24DCF-7F58-4965-A7E8-78F750BE9F96}"/>
                  </a:ext>
                </a:extLst>
              </p:cNvPr>
              <p:cNvSpPr/>
              <p:nvPr/>
            </p:nvSpPr>
            <p:spPr>
              <a:xfrm>
                <a:off x="6977063" y="1091376"/>
                <a:ext cx="540063" cy="540061"/>
              </a:xfrm>
              <a:prstGeom prst="ellipse">
                <a:avLst/>
              </a:prstGeom>
              <a:solidFill>
                <a:sysClr val="window" lastClr="FFFFFF"/>
              </a:solidFill>
              <a:ln w="12700" cap="flat" cmpd="sng" algn="ctr">
                <a:noFill/>
                <a:prstDash val="solid"/>
                <a:miter lim="800000"/>
              </a:ln>
              <a:effectLst>
                <a:outerShdw blurRad="215900" sx="104000" sy="104000" algn="ctr" rotWithShape="0">
                  <a:prstClr val="black">
                    <a:alpha val="19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Gill Sans MT" panose="020B0502020104020203" pitchFamily="34" charset="0"/>
                  <a:cs typeface="+mn-cs"/>
                </a:endParaRPr>
              </a:p>
            </p:txBody>
          </p:sp>
          <p:sp>
            <p:nvSpPr>
              <p:cNvPr id="48" name="Flowchart: Stored Data 215">
                <a:extLst>
                  <a:ext uri="{FF2B5EF4-FFF2-40B4-BE49-F238E27FC236}">
                    <a16:creationId xmlns:a16="http://schemas.microsoft.com/office/drawing/2014/main" id="{5CE9B1AB-AF5E-4EB3-90B2-01FD669F219C}"/>
                  </a:ext>
                </a:extLst>
              </p:cNvPr>
              <p:cNvSpPr/>
              <p:nvPr/>
            </p:nvSpPr>
            <p:spPr>
              <a:xfrm>
                <a:off x="5983816" y="1096806"/>
                <a:ext cx="1209933" cy="529201"/>
              </a:xfrm>
              <a:prstGeom prst="flowChartOnlineStorage">
                <a:avLst/>
              </a:prstGeom>
              <a:gradFill flip="none" rotWithShape="1">
                <a:gsLst>
                  <a:gs pos="100000">
                    <a:schemeClr val="accent1"/>
                  </a:gs>
                  <a:gs pos="0">
                    <a:schemeClr val="accent1"/>
                  </a:gs>
                </a:gsLst>
                <a:lin ang="2700000" scaled="1"/>
                <a:tileRect/>
              </a:gradFill>
              <a:ln w="12700" cap="flat" cmpd="sng" algn="ctr">
                <a:noFill/>
                <a:prstDash val="solid"/>
                <a:miter lim="800000"/>
              </a:ln>
              <a:effectLst/>
            </p:spPr>
            <p:txBody>
              <a:bodyPr vert="vert"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white"/>
                    </a:solidFill>
                    <a:effectLst/>
                    <a:uLnTx/>
                    <a:uFillTx/>
                    <a:latin typeface="Gill Sans MT" panose="020B0502020104020203" pitchFamily="34" charset="0"/>
                    <a:cs typeface="+mn-cs"/>
                  </a:rPr>
                  <a:t>3</a:t>
                </a:r>
                <a:endParaRPr kumimoji="0" lang="en-ID" sz="1800" b="0" i="0" u="none" strike="noStrike" kern="0" cap="none" spc="0" normalizeH="0" baseline="0" noProof="0" dirty="0">
                  <a:ln>
                    <a:noFill/>
                  </a:ln>
                  <a:solidFill>
                    <a:prstClr val="white"/>
                  </a:solidFill>
                  <a:effectLst/>
                  <a:uLnTx/>
                  <a:uFillTx/>
                  <a:latin typeface="Gill Sans MT" panose="020B0502020104020203" pitchFamily="34" charset="0"/>
                  <a:cs typeface="+mn-cs"/>
                </a:endParaRPr>
              </a:p>
            </p:txBody>
          </p:sp>
        </p:grpSp>
        <p:sp>
          <p:nvSpPr>
            <p:cNvPr id="46" name="Freeform 48">
              <a:extLst>
                <a:ext uri="{FF2B5EF4-FFF2-40B4-BE49-F238E27FC236}">
                  <a16:creationId xmlns:a16="http://schemas.microsoft.com/office/drawing/2014/main" id="{678790BD-CFA2-4EEC-B207-CDD41E3FE1D2}"/>
                </a:ext>
              </a:extLst>
            </p:cNvPr>
            <p:cNvSpPr>
              <a:spLocks noEditPoints="1"/>
            </p:cNvSpPr>
            <p:nvPr/>
          </p:nvSpPr>
          <p:spPr bwMode="auto">
            <a:xfrm>
              <a:off x="8486665" y="1561338"/>
              <a:ext cx="202590" cy="211882"/>
            </a:xfrm>
            <a:custGeom>
              <a:avLst/>
              <a:gdLst>
                <a:gd name="T0" fmla="*/ 2 w 92"/>
                <a:gd name="T1" fmla="*/ 0 h 96"/>
                <a:gd name="T2" fmla="*/ 0 w 92"/>
                <a:gd name="T3" fmla="*/ 94 h 96"/>
                <a:gd name="T4" fmla="*/ 90 w 92"/>
                <a:gd name="T5" fmla="*/ 96 h 96"/>
                <a:gd name="T6" fmla="*/ 92 w 92"/>
                <a:gd name="T7" fmla="*/ 2 h 96"/>
                <a:gd name="T8" fmla="*/ 22 w 92"/>
                <a:gd name="T9" fmla="*/ 84 h 96"/>
                <a:gd name="T10" fmla="*/ 22 w 92"/>
                <a:gd name="T11" fmla="*/ 68 h 96"/>
                <a:gd name="T12" fmla="*/ 22 w 92"/>
                <a:gd name="T13" fmla="*/ 84 h 96"/>
                <a:gd name="T14" fmla="*/ 30 w 92"/>
                <a:gd name="T15" fmla="*/ 44 h 96"/>
                <a:gd name="T16" fmla="*/ 24 w 92"/>
                <a:gd name="T17" fmla="*/ 58 h 96"/>
                <a:gd name="T18" fmla="*/ 20 w 92"/>
                <a:gd name="T19" fmla="*/ 58 h 96"/>
                <a:gd name="T20" fmla="*/ 14 w 92"/>
                <a:gd name="T21" fmla="*/ 44 h 96"/>
                <a:gd name="T22" fmla="*/ 12 w 92"/>
                <a:gd name="T23" fmla="*/ 34 h 96"/>
                <a:gd name="T24" fmla="*/ 20 w 92"/>
                <a:gd name="T25" fmla="*/ 32 h 96"/>
                <a:gd name="T26" fmla="*/ 22 w 92"/>
                <a:gd name="T27" fmla="*/ 12 h 96"/>
                <a:gd name="T28" fmla="*/ 24 w 92"/>
                <a:gd name="T29" fmla="*/ 32 h 96"/>
                <a:gd name="T30" fmla="*/ 32 w 92"/>
                <a:gd name="T31" fmla="*/ 34 h 96"/>
                <a:gd name="T32" fmla="*/ 46 w 92"/>
                <a:gd name="T33" fmla="*/ 84 h 96"/>
                <a:gd name="T34" fmla="*/ 46 w 92"/>
                <a:gd name="T35" fmla="*/ 68 h 96"/>
                <a:gd name="T36" fmla="*/ 46 w 92"/>
                <a:gd name="T37" fmla="*/ 84 h 96"/>
                <a:gd name="T38" fmla="*/ 54 w 92"/>
                <a:gd name="T39" fmla="*/ 32 h 96"/>
                <a:gd name="T40" fmla="*/ 48 w 92"/>
                <a:gd name="T41" fmla="*/ 58 h 96"/>
                <a:gd name="T42" fmla="*/ 44 w 92"/>
                <a:gd name="T43" fmla="*/ 58 h 96"/>
                <a:gd name="T44" fmla="*/ 38 w 92"/>
                <a:gd name="T45" fmla="*/ 32 h 96"/>
                <a:gd name="T46" fmla="*/ 36 w 92"/>
                <a:gd name="T47" fmla="*/ 22 h 96"/>
                <a:gd name="T48" fmla="*/ 44 w 92"/>
                <a:gd name="T49" fmla="*/ 20 h 96"/>
                <a:gd name="T50" fmla="*/ 46 w 92"/>
                <a:gd name="T51" fmla="*/ 12 h 96"/>
                <a:gd name="T52" fmla="*/ 48 w 92"/>
                <a:gd name="T53" fmla="*/ 20 h 96"/>
                <a:gd name="T54" fmla="*/ 56 w 92"/>
                <a:gd name="T55" fmla="*/ 22 h 96"/>
                <a:gd name="T56" fmla="*/ 70 w 92"/>
                <a:gd name="T57" fmla="*/ 84 h 96"/>
                <a:gd name="T58" fmla="*/ 70 w 92"/>
                <a:gd name="T59" fmla="*/ 68 h 96"/>
                <a:gd name="T60" fmla="*/ 70 w 92"/>
                <a:gd name="T61" fmla="*/ 84 h 96"/>
                <a:gd name="T62" fmla="*/ 78 w 92"/>
                <a:gd name="T63" fmla="*/ 52 h 96"/>
                <a:gd name="T64" fmla="*/ 72 w 92"/>
                <a:gd name="T65" fmla="*/ 58 h 96"/>
                <a:gd name="T66" fmla="*/ 68 w 92"/>
                <a:gd name="T67" fmla="*/ 58 h 96"/>
                <a:gd name="T68" fmla="*/ 62 w 92"/>
                <a:gd name="T69" fmla="*/ 52 h 96"/>
                <a:gd name="T70" fmla="*/ 60 w 92"/>
                <a:gd name="T71" fmla="*/ 42 h 96"/>
                <a:gd name="T72" fmla="*/ 68 w 92"/>
                <a:gd name="T73" fmla="*/ 40 h 96"/>
                <a:gd name="T74" fmla="*/ 70 w 92"/>
                <a:gd name="T75" fmla="*/ 12 h 96"/>
                <a:gd name="T76" fmla="*/ 72 w 92"/>
                <a:gd name="T77" fmla="*/ 40 h 96"/>
                <a:gd name="T78" fmla="*/ 80 w 92"/>
                <a:gd name="T79" fmla="*/ 4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2" h="96">
                  <a:moveTo>
                    <a:pt x="90" y="0"/>
                  </a:moveTo>
                  <a:cubicBezTo>
                    <a:pt x="2" y="0"/>
                    <a:pt x="2" y="0"/>
                    <a:pt x="2" y="0"/>
                  </a:cubicBezTo>
                  <a:cubicBezTo>
                    <a:pt x="1" y="0"/>
                    <a:pt x="0" y="1"/>
                    <a:pt x="0" y="2"/>
                  </a:cubicBezTo>
                  <a:cubicBezTo>
                    <a:pt x="0" y="94"/>
                    <a:pt x="0" y="94"/>
                    <a:pt x="0" y="94"/>
                  </a:cubicBezTo>
                  <a:cubicBezTo>
                    <a:pt x="0" y="95"/>
                    <a:pt x="1" y="96"/>
                    <a:pt x="2" y="96"/>
                  </a:cubicBezTo>
                  <a:cubicBezTo>
                    <a:pt x="90" y="96"/>
                    <a:pt x="90" y="96"/>
                    <a:pt x="90" y="96"/>
                  </a:cubicBezTo>
                  <a:cubicBezTo>
                    <a:pt x="91" y="96"/>
                    <a:pt x="92" y="95"/>
                    <a:pt x="92" y="94"/>
                  </a:cubicBezTo>
                  <a:cubicBezTo>
                    <a:pt x="92" y="2"/>
                    <a:pt x="92" y="2"/>
                    <a:pt x="92" y="2"/>
                  </a:cubicBezTo>
                  <a:cubicBezTo>
                    <a:pt x="92" y="1"/>
                    <a:pt x="91" y="0"/>
                    <a:pt x="90" y="0"/>
                  </a:cubicBezTo>
                  <a:close/>
                  <a:moveTo>
                    <a:pt x="22" y="84"/>
                  </a:moveTo>
                  <a:cubicBezTo>
                    <a:pt x="18" y="84"/>
                    <a:pt x="14" y="80"/>
                    <a:pt x="14" y="76"/>
                  </a:cubicBezTo>
                  <a:cubicBezTo>
                    <a:pt x="14" y="72"/>
                    <a:pt x="18" y="68"/>
                    <a:pt x="22" y="68"/>
                  </a:cubicBezTo>
                  <a:cubicBezTo>
                    <a:pt x="26" y="68"/>
                    <a:pt x="30" y="72"/>
                    <a:pt x="30" y="76"/>
                  </a:cubicBezTo>
                  <a:cubicBezTo>
                    <a:pt x="30" y="80"/>
                    <a:pt x="26" y="84"/>
                    <a:pt x="22" y="84"/>
                  </a:cubicBezTo>
                  <a:close/>
                  <a:moveTo>
                    <a:pt x="32" y="42"/>
                  </a:moveTo>
                  <a:cubicBezTo>
                    <a:pt x="32" y="43"/>
                    <a:pt x="31" y="44"/>
                    <a:pt x="30" y="44"/>
                  </a:cubicBezTo>
                  <a:cubicBezTo>
                    <a:pt x="24" y="44"/>
                    <a:pt x="24" y="44"/>
                    <a:pt x="24" y="44"/>
                  </a:cubicBezTo>
                  <a:cubicBezTo>
                    <a:pt x="24" y="58"/>
                    <a:pt x="24" y="58"/>
                    <a:pt x="24" y="58"/>
                  </a:cubicBezTo>
                  <a:cubicBezTo>
                    <a:pt x="24" y="59"/>
                    <a:pt x="23" y="60"/>
                    <a:pt x="22" y="60"/>
                  </a:cubicBezTo>
                  <a:cubicBezTo>
                    <a:pt x="21" y="60"/>
                    <a:pt x="20" y="59"/>
                    <a:pt x="20" y="58"/>
                  </a:cubicBezTo>
                  <a:cubicBezTo>
                    <a:pt x="20" y="44"/>
                    <a:pt x="20" y="44"/>
                    <a:pt x="20" y="44"/>
                  </a:cubicBezTo>
                  <a:cubicBezTo>
                    <a:pt x="14" y="44"/>
                    <a:pt x="14" y="44"/>
                    <a:pt x="14" y="44"/>
                  </a:cubicBezTo>
                  <a:cubicBezTo>
                    <a:pt x="13" y="44"/>
                    <a:pt x="12" y="43"/>
                    <a:pt x="12" y="42"/>
                  </a:cubicBezTo>
                  <a:cubicBezTo>
                    <a:pt x="12" y="34"/>
                    <a:pt x="12" y="34"/>
                    <a:pt x="12" y="34"/>
                  </a:cubicBezTo>
                  <a:cubicBezTo>
                    <a:pt x="12" y="33"/>
                    <a:pt x="13" y="32"/>
                    <a:pt x="14" y="32"/>
                  </a:cubicBezTo>
                  <a:cubicBezTo>
                    <a:pt x="20" y="32"/>
                    <a:pt x="20" y="32"/>
                    <a:pt x="20" y="32"/>
                  </a:cubicBezTo>
                  <a:cubicBezTo>
                    <a:pt x="20" y="14"/>
                    <a:pt x="20" y="14"/>
                    <a:pt x="20" y="14"/>
                  </a:cubicBezTo>
                  <a:cubicBezTo>
                    <a:pt x="20" y="13"/>
                    <a:pt x="21" y="12"/>
                    <a:pt x="22" y="12"/>
                  </a:cubicBezTo>
                  <a:cubicBezTo>
                    <a:pt x="23" y="12"/>
                    <a:pt x="24" y="13"/>
                    <a:pt x="24" y="14"/>
                  </a:cubicBezTo>
                  <a:cubicBezTo>
                    <a:pt x="24" y="32"/>
                    <a:pt x="24" y="32"/>
                    <a:pt x="24" y="32"/>
                  </a:cubicBezTo>
                  <a:cubicBezTo>
                    <a:pt x="30" y="32"/>
                    <a:pt x="30" y="32"/>
                    <a:pt x="30" y="32"/>
                  </a:cubicBezTo>
                  <a:cubicBezTo>
                    <a:pt x="31" y="32"/>
                    <a:pt x="32" y="33"/>
                    <a:pt x="32" y="34"/>
                  </a:cubicBezTo>
                  <a:lnTo>
                    <a:pt x="32" y="42"/>
                  </a:lnTo>
                  <a:close/>
                  <a:moveTo>
                    <a:pt x="46" y="84"/>
                  </a:moveTo>
                  <a:cubicBezTo>
                    <a:pt x="42" y="84"/>
                    <a:pt x="38" y="80"/>
                    <a:pt x="38" y="76"/>
                  </a:cubicBezTo>
                  <a:cubicBezTo>
                    <a:pt x="38" y="72"/>
                    <a:pt x="42" y="68"/>
                    <a:pt x="46" y="68"/>
                  </a:cubicBezTo>
                  <a:cubicBezTo>
                    <a:pt x="50" y="68"/>
                    <a:pt x="54" y="72"/>
                    <a:pt x="54" y="76"/>
                  </a:cubicBezTo>
                  <a:cubicBezTo>
                    <a:pt x="54" y="80"/>
                    <a:pt x="50" y="84"/>
                    <a:pt x="46" y="84"/>
                  </a:cubicBezTo>
                  <a:close/>
                  <a:moveTo>
                    <a:pt x="56" y="30"/>
                  </a:moveTo>
                  <a:cubicBezTo>
                    <a:pt x="56" y="31"/>
                    <a:pt x="55" y="32"/>
                    <a:pt x="54" y="32"/>
                  </a:cubicBezTo>
                  <a:cubicBezTo>
                    <a:pt x="48" y="32"/>
                    <a:pt x="48" y="32"/>
                    <a:pt x="48" y="32"/>
                  </a:cubicBezTo>
                  <a:cubicBezTo>
                    <a:pt x="48" y="58"/>
                    <a:pt x="48" y="58"/>
                    <a:pt x="48" y="58"/>
                  </a:cubicBezTo>
                  <a:cubicBezTo>
                    <a:pt x="48" y="59"/>
                    <a:pt x="47" y="60"/>
                    <a:pt x="46" y="60"/>
                  </a:cubicBezTo>
                  <a:cubicBezTo>
                    <a:pt x="45" y="60"/>
                    <a:pt x="44" y="59"/>
                    <a:pt x="44" y="58"/>
                  </a:cubicBezTo>
                  <a:cubicBezTo>
                    <a:pt x="44" y="32"/>
                    <a:pt x="44" y="32"/>
                    <a:pt x="44" y="32"/>
                  </a:cubicBezTo>
                  <a:cubicBezTo>
                    <a:pt x="38" y="32"/>
                    <a:pt x="38" y="32"/>
                    <a:pt x="38" y="32"/>
                  </a:cubicBezTo>
                  <a:cubicBezTo>
                    <a:pt x="37" y="32"/>
                    <a:pt x="36" y="31"/>
                    <a:pt x="36" y="30"/>
                  </a:cubicBezTo>
                  <a:cubicBezTo>
                    <a:pt x="36" y="22"/>
                    <a:pt x="36" y="22"/>
                    <a:pt x="36" y="22"/>
                  </a:cubicBezTo>
                  <a:cubicBezTo>
                    <a:pt x="36" y="21"/>
                    <a:pt x="37" y="20"/>
                    <a:pt x="38" y="20"/>
                  </a:cubicBezTo>
                  <a:cubicBezTo>
                    <a:pt x="44" y="20"/>
                    <a:pt x="44" y="20"/>
                    <a:pt x="44" y="20"/>
                  </a:cubicBezTo>
                  <a:cubicBezTo>
                    <a:pt x="44" y="14"/>
                    <a:pt x="44" y="14"/>
                    <a:pt x="44" y="14"/>
                  </a:cubicBezTo>
                  <a:cubicBezTo>
                    <a:pt x="44" y="13"/>
                    <a:pt x="45" y="12"/>
                    <a:pt x="46" y="12"/>
                  </a:cubicBezTo>
                  <a:cubicBezTo>
                    <a:pt x="47" y="12"/>
                    <a:pt x="48" y="13"/>
                    <a:pt x="48" y="14"/>
                  </a:cubicBezTo>
                  <a:cubicBezTo>
                    <a:pt x="48" y="20"/>
                    <a:pt x="48" y="20"/>
                    <a:pt x="48" y="20"/>
                  </a:cubicBezTo>
                  <a:cubicBezTo>
                    <a:pt x="54" y="20"/>
                    <a:pt x="54" y="20"/>
                    <a:pt x="54" y="20"/>
                  </a:cubicBezTo>
                  <a:cubicBezTo>
                    <a:pt x="55" y="20"/>
                    <a:pt x="56" y="21"/>
                    <a:pt x="56" y="22"/>
                  </a:cubicBezTo>
                  <a:lnTo>
                    <a:pt x="56" y="30"/>
                  </a:lnTo>
                  <a:close/>
                  <a:moveTo>
                    <a:pt x="70" y="84"/>
                  </a:moveTo>
                  <a:cubicBezTo>
                    <a:pt x="66" y="84"/>
                    <a:pt x="62" y="80"/>
                    <a:pt x="62" y="76"/>
                  </a:cubicBezTo>
                  <a:cubicBezTo>
                    <a:pt x="62" y="72"/>
                    <a:pt x="66" y="68"/>
                    <a:pt x="70" y="68"/>
                  </a:cubicBezTo>
                  <a:cubicBezTo>
                    <a:pt x="75" y="68"/>
                    <a:pt x="78" y="72"/>
                    <a:pt x="78" y="76"/>
                  </a:cubicBezTo>
                  <a:cubicBezTo>
                    <a:pt x="78" y="80"/>
                    <a:pt x="75" y="84"/>
                    <a:pt x="70" y="84"/>
                  </a:cubicBezTo>
                  <a:close/>
                  <a:moveTo>
                    <a:pt x="80" y="50"/>
                  </a:moveTo>
                  <a:cubicBezTo>
                    <a:pt x="80" y="51"/>
                    <a:pt x="79" y="52"/>
                    <a:pt x="78" y="52"/>
                  </a:cubicBezTo>
                  <a:cubicBezTo>
                    <a:pt x="72" y="52"/>
                    <a:pt x="72" y="52"/>
                    <a:pt x="72" y="52"/>
                  </a:cubicBezTo>
                  <a:cubicBezTo>
                    <a:pt x="72" y="58"/>
                    <a:pt x="72" y="58"/>
                    <a:pt x="72" y="58"/>
                  </a:cubicBezTo>
                  <a:cubicBezTo>
                    <a:pt x="72" y="59"/>
                    <a:pt x="71" y="60"/>
                    <a:pt x="70" y="60"/>
                  </a:cubicBezTo>
                  <a:cubicBezTo>
                    <a:pt x="69" y="60"/>
                    <a:pt x="68" y="59"/>
                    <a:pt x="68" y="58"/>
                  </a:cubicBezTo>
                  <a:cubicBezTo>
                    <a:pt x="68" y="52"/>
                    <a:pt x="68" y="52"/>
                    <a:pt x="68" y="52"/>
                  </a:cubicBezTo>
                  <a:cubicBezTo>
                    <a:pt x="62" y="52"/>
                    <a:pt x="62" y="52"/>
                    <a:pt x="62" y="52"/>
                  </a:cubicBezTo>
                  <a:cubicBezTo>
                    <a:pt x="61" y="52"/>
                    <a:pt x="60" y="51"/>
                    <a:pt x="60" y="50"/>
                  </a:cubicBezTo>
                  <a:cubicBezTo>
                    <a:pt x="60" y="42"/>
                    <a:pt x="60" y="42"/>
                    <a:pt x="60" y="42"/>
                  </a:cubicBezTo>
                  <a:cubicBezTo>
                    <a:pt x="60" y="41"/>
                    <a:pt x="61" y="40"/>
                    <a:pt x="62" y="40"/>
                  </a:cubicBezTo>
                  <a:cubicBezTo>
                    <a:pt x="68" y="40"/>
                    <a:pt x="68" y="40"/>
                    <a:pt x="68" y="40"/>
                  </a:cubicBezTo>
                  <a:cubicBezTo>
                    <a:pt x="68" y="14"/>
                    <a:pt x="68" y="14"/>
                    <a:pt x="68" y="14"/>
                  </a:cubicBezTo>
                  <a:cubicBezTo>
                    <a:pt x="68" y="13"/>
                    <a:pt x="69" y="12"/>
                    <a:pt x="70" y="12"/>
                  </a:cubicBezTo>
                  <a:cubicBezTo>
                    <a:pt x="71" y="12"/>
                    <a:pt x="72" y="13"/>
                    <a:pt x="72" y="14"/>
                  </a:cubicBezTo>
                  <a:cubicBezTo>
                    <a:pt x="72" y="40"/>
                    <a:pt x="72" y="40"/>
                    <a:pt x="72" y="40"/>
                  </a:cubicBezTo>
                  <a:cubicBezTo>
                    <a:pt x="78" y="40"/>
                    <a:pt x="78" y="40"/>
                    <a:pt x="78" y="40"/>
                  </a:cubicBezTo>
                  <a:cubicBezTo>
                    <a:pt x="79" y="40"/>
                    <a:pt x="80" y="41"/>
                    <a:pt x="80" y="42"/>
                  </a:cubicBezTo>
                  <a:lnTo>
                    <a:pt x="80" y="50"/>
                  </a:lnTo>
                  <a:close/>
                </a:path>
              </a:pathLst>
            </a:custGeom>
            <a:gradFill flip="none" rotWithShape="1">
              <a:gsLst>
                <a:gs pos="100000">
                  <a:schemeClr val="accent1"/>
                </a:gs>
                <a:gs pos="0">
                  <a:schemeClr val="accent1"/>
                </a:gs>
              </a:gsLst>
              <a:lin ang="270000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Arial"/>
                <a:cs typeface="+mn-cs"/>
              </a:endParaRPr>
            </a:p>
          </p:txBody>
        </p:sp>
      </p:grpSp>
      <p:grpSp>
        <p:nvGrpSpPr>
          <p:cNvPr id="49" name="Group 62">
            <a:extLst>
              <a:ext uri="{FF2B5EF4-FFF2-40B4-BE49-F238E27FC236}">
                <a16:creationId xmlns:a16="http://schemas.microsoft.com/office/drawing/2014/main" id="{31239AC3-D3A5-408E-B685-1F4560A71907}"/>
              </a:ext>
            </a:extLst>
          </p:cNvPr>
          <p:cNvGrpSpPr/>
          <p:nvPr/>
        </p:nvGrpSpPr>
        <p:grpSpPr>
          <a:xfrm>
            <a:off x="5037779" y="4875602"/>
            <a:ext cx="361029" cy="1025015"/>
            <a:chOff x="5037779" y="5276429"/>
            <a:chExt cx="361029" cy="1025015"/>
          </a:xfrm>
        </p:grpSpPr>
        <p:grpSp>
          <p:nvGrpSpPr>
            <p:cNvPr id="50" name="Group 308">
              <a:extLst>
                <a:ext uri="{FF2B5EF4-FFF2-40B4-BE49-F238E27FC236}">
                  <a16:creationId xmlns:a16="http://schemas.microsoft.com/office/drawing/2014/main" id="{F10D9C5E-B6E4-4092-A057-2252C68D7C2D}"/>
                </a:ext>
              </a:extLst>
            </p:cNvPr>
            <p:cNvGrpSpPr/>
            <p:nvPr/>
          </p:nvGrpSpPr>
          <p:grpSpPr>
            <a:xfrm rot="16200000">
              <a:off x="4705786" y="5608422"/>
              <a:ext cx="1025015" cy="361029"/>
              <a:chOff x="5983816" y="1091376"/>
              <a:chExt cx="1533310" cy="540061"/>
            </a:xfrm>
          </p:grpSpPr>
          <p:sp>
            <p:nvSpPr>
              <p:cNvPr id="58" name="Oval 310">
                <a:extLst>
                  <a:ext uri="{FF2B5EF4-FFF2-40B4-BE49-F238E27FC236}">
                    <a16:creationId xmlns:a16="http://schemas.microsoft.com/office/drawing/2014/main" id="{5F8DC5E3-9620-4E3C-8124-DA6845DFE8AD}"/>
                  </a:ext>
                </a:extLst>
              </p:cNvPr>
              <p:cNvSpPr/>
              <p:nvPr/>
            </p:nvSpPr>
            <p:spPr>
              <a:xfrm>
                <a:off x="6977063" y="1091376"/>
                <a:ext cx="540063" cy="540061"/>
              </a:xfrm>
              <a:prstGeom prst="ellipse">
                <a:avLst/>
              </a:prstGeom>
              <a:solidFill>
                <a:sysClr val="window" lastClr="FFFFFF"/>
              </a:solidFill>
              <a:ln w="12700" cap="flat" cmpd="sng" algn="ctr">
                <a:noFill/>
                <a:prstDash val="solid"/>
                <a:miter lim="800000"/>
              </a:ln>
              <a:effectLst>
                <a:outerShdw blurRad="215900" sx="104000" sy="104000" algn="ctr" rotWithShape="0">
                  <a:prstClr val="black">
                    <a:alpha val="19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Gill Sans MT" panose="020B0502020104020203" pitchFamily="34" charset="0"/>
                  <a:cs typeface="+mn-cs"/>
                </a:endParaRPr>
              </a:p>
            </p:txBody>
          </p:sp>
          <p:sp>
            <p:nvSpPr>
              <p:cNvPr id="59" name="Flowchart: Stored Data 311">
                <a:extLst>
                  <a:ext uri="{FF2B5EF4-FFF2-40B4-BE49-F238E27FC236}">
                    <a16:creationId xmlns:a16="http://schemas.microsoft.com/office/drawing/2014/main" id="{DD8D562A-B1C2-4D8B-B8AA-CD4027FF13D0}"/>
                  </a:ext>
                </a:extLst>
              </p:cNvPr>
              <p:cNvSpPr/>
              <p:nvPr/>
            </p:nvSpPr>
            <p:spPr>
              <a:xfrm>
                <a:off x="5983816" y="1096806"/>
                <a:ext cx="1209933" cy="529201"/>
              </a:xfrm>
              <a:prstGeom prst="flowChartOnlineStorage">
                <a:avLst/>
              </a:prstGeom>
              <a:gradFill flip="none" rotWithShape="1">
                <a:gsLst>
                  <a:gs pos="100000">
                    <a:schemeClr val="accent1"/>
                  </a:gs>
                  <a:gs pos="0">
                    <a:schemeClr val="accent1"/>
                  </a:gs>
                </a:gsLst>
                <a:lin ang="2700000" scaled="1"/>
                <a:tileRect/>
              </a:gradFill>
              <a:ln w="12700" cap="flat" cmpd="sng" algn="ctr">
                <a:noFill/>
                <a:prstDash val="solid"/>
                <a:miter lim="800000"/>
              </a:ln>
              <a:effectLst/>
            </p:spPr>
            <p:txBody>
              <a:bodyPr vert="vert"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white"/>
                    </a:solidFill>
                    <a:effectLst/>
                    <a:uLnTx/>
                    <a:uFillTx/>
                    <a:latin typeface="Gill Sans MT" panose="020B0502020104020203" pitchFamily="34" charset="0"/>
                    <a:cs typeface="+mn-cs"/>
                  </a:rPr>
                  <a:t>5</a:t>
                </a:r>
                <a:endParaRPr kumimoji="0" lang="en-ID" sz="1800" b="0" i="0" u="none" strike="noStrike" kern="0" cap="none" spc="0" normalizeH="0" baseline="0" noProof="0" dirty="0">
                  <a:ln>
                    <a:noFill/>
                  </a:ln>
                  <a:solidFill>
                    <a:prstClr val="white"/>
                  </a:solidFill>
                  <a:effectLst/>
                  <a:uLnTx/>
                  <a:uFillTx/>
                  <a:latin typeface="Gill Sans MT" panose="020B0502020104020203" pitchFamily="34" charset="0"/>
                  <a:cs typeface="+mn-cs"/>
                </a:endParaRPr>
              </a:p>
            </p:txBody>
          </p:sp>
        </p:grpSp>
        <p:grpSp>
          <p:nvGrpSpPr>
            <p:cNvPr id="51" name="Group 327">
              <a:extLst>
                <a:ext uri="{FF2B5EF4-FFF2-40B4-BE49-F238E27FC236}">
                  <a16:creationId xmlns:a16="http://schemas.microsoft.com/office/drawing/2014/main" id="{B8180BA8-65F1-4481-A616-FC9884EF865A}"/>
                </a:ext>
              </a:extLst>
            </p:cNvPr>
            <p:cNvGrpSpPr/>
            <p:nvPr/>
          </p:nvGrpSpPr>
          <p:grpSpPr>
            <a:xfrm>
              <a:off x="5118798" y="5340498"/>
              <a:ext cx="202590" cy="194226"/>
              <a:chOff x="4119563" y="2901951"/>
              <a:chExt cx="346075" cy="331788"/>
            </a:xfrm>
            <a:gradFill>
              <a:gsLst>
                <a:gs pos="100000">
                  <a:srgbClr val="0098DB"/>
                </a:gs>
                <a:gs pos="0">
                  <a:srgbClr val="00497A"/>
                </a:gs>
              </a:gsLst>
              <a:lin ang="2700000" scaled="1"/>
            </a:gradFill>
          </p:grpSpPr>
          <p:sp>
            <p:nvSpPr>
              <p:cNvPr id="52" name="Freeform 146">
                <a:extLst>
                  <a:ext uri="{FF2B5EF4-FFF2-40B4-BE49-F238E27FC236}">
                    <a16:creationId xmlns:a16="http://schemas.microsoft.com/office/drawing/2014/main" id="{CB222AA1-86BA-44EB-9DC7-787D1DCF0A5A}"/>
                  </a:ext>
                </a:extLst>
              </p:cNvPr>
              <p:cNvSpPr>
                <a:spLocks/>
              </p:cNvSpPr>
              <p:nvPr/>
            </p:nvSpPr>
            <p:spPr bwMode="auto">
              <a:xfrm>
                <a:off x="4360863" y="3052763"/>
                <a:ext cx="104775" cy="150813"/>
              </a:xfrm>
              <a:custGeom>
                <a:avLst/>
                <a:gdLst>
                  <a:gd name="T0" fmla="*/ 17 w 28"/>
                  <a:gd name="T1" fmla="*/ 22 h 40"/>
                  <a:gd name="T2" fmla="*/ 22 w 28"/>
                  <a:gd name="T3" fmla="*/ 12 h 40"/>
                  <a:gd name="T4" fmla="*/ 10 w 28"/>
                  <a:gd name="T5" fmla="*/ 0 h 40"/>
                  <a:gd name="T6" fmla="*/ 2 w 28"/>
                  <a:gd name="T7" fmla="*/ 3 h 40"/>
                  <a:gd name="T8" fmla="*/ 2 w 28"/>
                  <a:gd name="T9" fmla="*/ 8 h 40"/>
                  <a:gd name="T10" fmla="*/ 0 w 28"/>
                  <a:gd name="T11" fmla="*/ 18 h 40"/>
                  <a:gd name="T12" fmla="*/ 3 w 28"/>
                  <a:gd name="T13" fmla="*/ 22 h 40"/>
                  <a:gd name="T14" fmla="*/ 0 w 28"/>
                  <a:gd name="T15" fmla="*/ 23 h 40"/>
                  <a:gd name="T16" fmla="*/ 10 w 28"/>
                  <a:gd name="T17" fmla="*/ 40 h 40"/>
                  <a:gd name="T18" fmla="*/ 26 w 28"/>
                  <a:gd name="T19" fmla="*/ 40 h 40"/>
                  <a:gd name="T20" fmla="*/ 28 w 28"/>
                  <a:gd name="T21" fmla="*/ 38 h 40"/>
                  <a:gd name="T22" fmla="*/ 17 w 28"/>
                  <a:gd name="T23"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 h="40">
                    <a:moveTo>
                      <a:pt x="17" y="22"/>
                    </a:moveTo>
                    <a:cubicBezTo>
                      <a:pt x="20" y="19"/>
                      <a:pt x="22" y="16"/>
                      <a:pt x="22" y="12"/>
                    </a:cubicBezTo>
                    <a:cubicBezTo>
                      <a:pt x="22" y="5"/>
                      <a:pt x="17" y="0"/>
                      <a:pt x="10" y="0"/>
                    </a:cubicBezTo>
                    <a:cubicBezTo>
                      <a:pt x="7" y="0"/>
                      <a:pt x="4" y="1"/>
                      <a:pt x="2" y="3"/>
                    </a:cubicBezTo>
                    <a:cubicBezTo>
                      <a:pt x="2" y="5"/>
                      <a:pt x="2" y="7"/>
                      <a:pt x="2" y="8"/>
                    </a:cubicBezTo>
                    <a:cubicBezTo>
                      <a:pt x="2" y="12"/>
                      <a:pt x="1" y="15"/>
                      <a:pt x="0" y="18"/>
                    </a:cubicBezTo>
                    <a:cubicBezTo>
                      <a:pt x="1" y="19"/>
                      <a:pt x="2" y="21"/>
                      <a:pt x="3" y="22"/>
                    </a:cubicBezTo>
                    <a:cubicBezTo>
                      <a:pt x="2" y="22"/>
                      <a:pt x="1" y="23"/>
                      <a:pt x="0" y="23"/>
                    </a:cubicBezTo>
                    <a:cubicBezTo>
                      <a:pt x="5" y="27"/>
                      <a:pt x="9" y="33"/>
                      <a:pt x="10" y="40"/>
                    </a:cubicBezTo>
                    <a:cubicBezTo>
                      <a:pt x="26" y="40"/>
                      <a:pt x="26" y="40"/>
                      <a:pt x="26" y="40"/>
                    </a:cubicBezTo>
                    <a:cubicBezTo>
                      <a:pt x="27" y="40"/>
                      <a:pt x="28" y="39"/>
                      <a:pt x="28" y="38"/>
                    </a:cubicBezTo>
                    <a:cubicBezTo>
                      <a:pt x="28" y="31"/>
                      <a:pt x="24" y="24"/>
                      <a:pt x="17"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Arial"/>
                  <a:cs typeface="+mn-cs"/>
                </a:endParaRPr>
              </a:p>
            </p:txBody>
          </p:sp>
          <p:sp>
            <p:nvSpPr>
              <p:cNvPr id="53" name="Freeform 147">
                <a:extLst>
                  <a:ext uri="{FF2B5EF4-FFF2-40B4-BE49-F238E27FC236}">
                    <a16:creationId xmlns:a16="http://schemas.microsoft.com/office/drawing/2014/main" id="{6A87D712-95BD-479B-8417-7176A440BD15}"/>
                  </a:ext>
                </a:extLst>
              </p:cNvPr>
              <p:cNvSpPr>
                <a:spLocks/>
              </p:cNvSpPr>
              <p:nvPr/>
            </p:nvSpPr>
            <p:spPr bwMode="auto">
              <a:xfrm>
                <a:off x="4119563" y="3052763"/>
                <a:ext cx="106363" cy="150813"/>
              </a:xfrm>
              <a:custGeom>
                <a:avLst/>
                <a:gdLst>
                  <a:gd name="T0" fmla="*/ 28 w 28"/>
                  <a:gd name="T1" fmla="*/ 23 h 40"/>
                  <a:gd name="T2" fmla="*/ 25 w 28"/>
                  <a:gd name="T3" fmla="*/ 22 h 40"/>
                  <a:gd name="T4" fmla="*/ 28 w 28"/>
                  <a:gd name="T5" fmla="*/ 18 h 40"/>
                  <a:gd name="T6" fmla="*/ 26 w 28"/>
                  <a:gd name="T7" fmla="*/ 8 h 40"/>
                  <a:gd name="T8" fmla="*/ 26 w 28"/>
                  <a:gd name="T9" fmla="*/ 3 h 40"/>
                  <a:gd name="T10" fmla="*/ 18 w 28"/>
                  <a:gd name="T11" fmla="*/ 0 h 40"/>
                  <a:gd name="T12" fmla="*/ 6 w 28"/>
                  <a:gd name="T13" fmla="*/ 12 h 40"/>
                  <a:gd name="T14" fmla="*/ 11 w 28"/>
                  <a:gd name="T15" fmla="*/ 22 h 40"/>
                  <a:gd name="T16" fmla="*/ 0 w 28"/>
                  <a:gd name="T17" fmla="*/ 38 h 40"/>
                  <a:gd name="T18" fmla="*/ 2 w 28"/>
                  <a:gd name="T19" fmla="*/ 40 h 40"/>
                  <a:gd name="T20" fmla="*/ 18 w 28"/>
                  <a:gd name="T21" fmla="*/ 40 h 40"/>
                  <a:gd name="T22" fmla="*/ 28 w 28"/>
                  <a:gd name="T23" fmla="*/ 2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 h="40">
                    <a:moveTo>
                      <a:pt x="28" y="23"/>
                    </a:moveTo>
                    <a:cubicBezTo>
                      <a:pt x="27" y="23"/>
                      <a:pt x="26" y="22"/>
                      <a:pt x="25" y="22"/>
                    </a:cubicBezTo>
                    <a:cubicBezTo>
                      <a:pt x="26" y="21"/>
                      <a:pt x="27" y="19"/>
                      <a:pt x="28" y="18"/>
                    </a:cubicBezTo>
                    <a:cubicBezTo>
                      <a:pt x="27" y="15"/>
                      <a:pt x="26" y="12"/>
                      <a:pt x="26" y="8"/>
                    </a:cubicBezTo>
                    <a:cubicBezTo>
                      <a:pt x="26" y="7"/>
                      <a:pt x="26" y="5"/>
                      <a:pt x="26" y="3"/>
                    </a:cubicBezTo>
                    <a:cubicBezTo>
                      <a:pt x="24" y="1"/>
                      <a:pt x="21" y="0"/>
                      <a:pt x="18" y="0"/>
                    </a:cubicBezTo>
                    <a:cubicBezTo>
                      <a:pt x="11" y="0"/>
                      <a:pt x="6" y="5"/>
                      <a:pt x="6" y="12"/>
                    </a:cubicBezTo>
                    <a:cubicBezTo>
                      <a:pt x="6" y="16"/>
                      <a:pt x="8" y="19"/>
                      <a:pt x="11" y="22"/>
                    </a:cubicBezTo>
                    <a:cubicBezTo>
                      <a:pt x="4" y="24"/>
                      <a:pt x="0" y="31"/>
                      <a:pt x="0" y="38"/>
                    </a:cubicBezTo>
                    <a:cubicBezTo>
                      <a:pt x="0" y="39"/>
                      <a:pt x="1" y="40"/>
                      <a:pt x="2" y="40"/>
                    </a:cubicBezTo>
                    <a:cubicBezTo>
                      <a:pt x="18" y="40"/>
                      <a:pt x="18" y="40"/>
                      <a:pt x="18" y="40"/>
                    </a:cubicBezTo>
                    <a:cubicBezTo>
                      <a:pt x="19" y="33"/>
                      <a:pt x="23" y="27"/>
                      <a:pt x="28"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Arial"/>
                  <a:cs typeface="+mn-cs"/>
                </a:endParaRPr>
              </a:p>
            </p:txBody>
          </p:sp>
          <p:sp>
            <p:nvSpPr>
              <p:cNvPr id="54" name="Freeform 148">
                <a:extLst>
                  <a:ext uri="{FF2B5EF4-FFF2-40B4-BE49-F238E27FC236}">
                    <a16:creationId xmlns:a16="http://schemas.microsoft.com/office/drawing/2014/main" id="{9CAA9A75-B376-4834-80FF-DF45078795E7}"/>
                  </a:ext>
                </a:extLst>
              </p:cNvPr>
              <p:cNvSpPr>
                <a:spLocks/>
              </p:cNvSpPr>
              <p:nvPr/>
            </p:nvSpPr>
            <p:spPr bwMode="auto">
              <a:xfrm>
                <a:off x="4206875" y="2978151"/>
                <a:ext cx="173038" cy="52388"/>
              </a:xfrm>
              <a:custGeom>
                <a:avLst/>
                <a:gdLst>
                  <a:gd name="T0" fmla="*/ 2 w 46"/>
                  <a:gd name="T1" fmla="*/ 14 h 14"/>
                  <a:gd name="T2" fmla="*/ 1 w 46"/>
                  <a:gd name="T3" fmla="*/ 14 h 14"/>
                  <a:gd name="T4" fmla="*/ 1 w 46"/>
                  <a:gd name="T5" fmla="*/ 11 h 14"/>
                  <a:gd name="T6" fmla="*/ 23 w 46"/>
                  <a:gd name="T7" fmla="*/ 0 h 14"/>
                  <a:gd name="T8" fmla="*/ 45 w 46"/>
                  <a:gd name="T9" fmla="*/ 11 h 14"/>
                  <a:gd name="T10" fmla="*/ 45 w 46"/>
                  <a:gd name="T11" fmla="*/ 14 h 14"/>
                  <a:gd name="T12" fmla="*/ 42 w 46"/>
                  <a:gd name="T13" fmla="*/ 13 h 14"/>
                  <a:gd name="T14" fmla="*/ 23 w 46"/>
                  <a:gd name="T15" fmla="*/ 4 h 14"/>
                  <a:gd name="T16" fmla="*/ 4 w 46"/>
                  <a:gd name="T17" fmla="*/ 13 h 14"/>
                  <a:gd name="T18" fmla="*/ 2 w 46"/>
                  <a:gd name="T19"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6" h="14">
                    <a:moveTo>
                      <a:pt x="2" y="14"/>
                    </a:moveTo>
                    <a:cubicBezTo>
                      <a:pt x="2" y="14"/>
                      <a:pt x="2" y="14"/>
                      <a:pt x="1" y="14"/>
                    </a:cubicBezTo>
                    <a:cubicBezTo>
                      <a:pt x="0" y="13"/>
                      <a:pt x="0" y="12"/>
                      <a:pt x="1" y="11"/>
                    </a:cubicBezTo>
                    <a:cubicBezTo>
                      <a:pt x="6" y="4"/>
                      <a:pt x="14" y="0"/>
                      <a:pt x="23" y="0"/>
                    </a:cubicBezTo>
                    <a:cubicBezTo>
                      <a:pt x="32" y="0"/>
                      <a:pt x="40" y="4"/>
                      <a:pt x="45" y="11"/>
                    </a:cubicBezTo>
                    <a:cubicBezTo>
                      <a:pt x="46" y="12"/>
                      <a:pt x="46" y="13"/>
                      <a:pt x="45" y="14"/>
                    </a:cubicBezTo>
                    <a:cubicBezTo>
                      <a:pt x="44" y="14"/>
                      <a:pt x="43" y="14"/>
                      <a:pt x="42" y="13"/>
                    </a:cubicBezTo>
                    <a:cubicBezTo>
                      <a:pt x="37" y="7"/>
                      <a:pt x="30" y="4"/>
                      <a:pt x="23" y="4"/>
                    </a:cubicBezTo>
                    <a:cubicBezTo>
                      <a:pt x="16" y="4"/>
                      <a:pt x="9" y="7"/>
                      <a:pt x="4" y="13"/>
                    </a:cubicBezTo>
                    <a:cubicBezTo>
                      <a:pt x="4" y="14"/>
                      <a:pt x="3" y="14"/>
                      <a:pt x="2"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Arial"/>
                  <a:cs typeface="+mn-cs"/>
                </a:endParaRPr>
              </a:p>
            </p:txBody>
          </p:sp>
          <p:sp>
            <p:nvSpPr>
              <p:cNvPr id="55" name="Freeform 149">
                <a:extLst>
                  <a:ext uri="{FF2B5EF4-FFF2-40B4-BE49-F238E27FC236}">
                    <a16:creationId xmlns:a16="http://schemas.microsoft.com/office/drawing/2014/main" id="{31544040-0BFB-44B1-96D0-7D2A1D4AC123}"/>
                  </a:ext>
                </a:extLst>
              </p:cNvPr>
              <p:cNvSpPr>
                <a:spLocks/>
              </p:cNvSpPr>
              <p:nvPr/>
            </p:nvSpPr>
            <p:spPr bwMode="auto">
              <a:xfrm>
                <a:off x="4179888" y="2940051"/>
                <a:ext cx="225425" cy="68263"/>
              </a:xfrm>
              <a:custGeom>
                <a:avLst/>
                <a:gdLst>
                  <a:gd name="T0" fmla="*/ 2 w 60"/>
                  <a:gd name="T1" fmla="*/ 17 h 18"/>
                  <a:gd name="T2" fmla="*/ 1 w 60"/>
                  <a:gd name="T3" fmla="*/ 17 h 18"/>
                  <a:gd name="T4" fmla="*/ 0 w 60"/>
                  <a:gd name="T5" fmla="*/ 14 h 18"/>
                  <a:gd name="T6" fmla="*/ 30 w 60"/>
                  <a:gd name="T7" fmla="*/ 0 h 18"/>
                  <a:gd name="T8" fmla="*/ 60 w 60"/>
                  <a:gd name="T9" fmla="*/ 14 h 18"/>
                  <a:gd name="T10" fmla="*/ 59 w 60"/>
                  <a:gd name="T11" fmla="*/ 17 h 18"/>
                  <a:gd name="T12" fmla="*/ 56 w 60"/>
                  <a:gd name="T13" fmla="*/ 17 h 18"/>
                  <a:gd name="T14" fmla="*/ 30 w 60"/>
                  <a:gd name="T15" fmla="*/ 4 h 18"/>
                  <a:gd name="T16" fmla="*/ 4 w 60"/>
                  <a:gd name="T17" fmla="*/ 17 h 18"/>
                  <a:gd name="T18" fmla="*/ 2 w 60"/>
                  <a:gd name="T19" fmla="*/ 17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18">
                    <a:moveTo>
                      <a:pt x="2" y="17"/>
                    </a:moveTo>
                    <a:cubicBezTo>
                      <a:pt x="2" y="17"/>
                      <a:pt x="1" y="17"/>
                      <a:pt x="1" y="17"/>
                    </a:cubicBezTo>
                    <a:cubicBezTo>
                      <a:pt x="0" y="16"/>
                      <a:pt x="0" y="15"/>
                      <a:pt x="0" y="14"/>
                    </a:cubicBezTo>
                    <a:cubicBezTo>
                      <a:pt x="8" y="5"/>
                      <a:pt x="18" y="0"/>
                      <a:pt x="30" y="0"/>
                    </a:cubicBezTo>
                    <a:cubicBezTo>
                      <a:pt x="42" y="0"/>
                      <a:pt x="52" y="5"/>
                      <a:pt x="60" y="14"/>
                    </a:cubicBezTo>
                    <a:cubicBezTo>
                      <a:pt x="60" y="15"/>
                      <a:pt x="60" y="16"/>
                      <a:pt x="59" y="17"/>
                    </a:cubicBezTo>
                    <a:cubicBezTo>
                      <a:pt x="58" y="18"/>
                      <a:pt x="57" y="17"/>
                      <a:pt x="56" y="17"/>
                    </a:cubicBezTo>
                    <a:cubicBezTo>
                      <a:pt x="50" y="9"/>
                      <a:pt x="40" y="4"/>
                      <a:pt x="30" y="4"/>
                    </a:cubicBezTo>
                    <a:cubicBezTo>
                      <a:pt x="20" y="4"/>
                      <a:pt x="10" y="9"/>
                      <a:pt x="4" y="17"/>
                    </a:cubicBezTo>
                    <a:cubicBezTo>
                      <a:pt x="3" y="17"/>
                      <a:pt x="3" y="17"/>
                      <a:pt x="2"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Arial"/>
                  <a:cs typeface="+mn-cs"/>
                </a:endParaRPr>
              </a:p>
            </p:txBody>
          </p:sp>
          <p:sp>
            <p:nvSpPr>
              <p:cNvPr id="56" name="Freeform 150">
                <a:extLst>
                  <a:ext uri="{FF2B5EF4-FFF2-40B4-BE49-F238E27FC236}">
                    <a16:creationId xmlns:a16="http://schemas.microsoft.com/office/drawing/2014/main" id="{606AF7D2-D87B-4316-A3CE-606ED54A4676}"/>
                  </a:ext>
                </a:extLst>
              </p:cNvPr>
              <p:cNvSpPr>
                <a:spLocks/>
              </p:cNvSpPr>
              <p:nvPr/>
            </p:nvSpPr>
            <p:spPr bwMode="auto">
              <a:xfrm>
                <a:off x="4149725" y="2901951"/>
                <a:ext cx="285750" cy="84138"/>
              </a:xfrm>
              <a:custGeom>
                <a:avLst/>
                <a:gdLst>
                  <a:gd name="T0" fmla="*/ 74 w 76"/>
                  <a:gd name="T1" fmla="*/ 21 h 22"/>
                  <a:gd name="T2" fmla="*/ 73 w 76"/>
                  <a:gd name="T3" fmla="*/ 21 h 22"/>
                  <a:gd name="T4" fmla="*/ 38 w 76"/>
                  <a:gd name="T5" fmla="*/ 4 h 22"/>
                  <a:gd name="T6" fmla="*/ 4 w 76"/>
                  <a:gd name="T7" fmla="*/ 21 h 22"/>
                  <a:gd name="T8" fmla="*/ 1 w 76"/>
                  <a:gd name="T9" fmla="*/ 21 h 22"/>
                  <a:gd name="T10" fmla="*/ 0 w 76"/>
                  <a:gd name="T11" fmla="*/ 18 h 22"/>
                  <a:gd name="T12" fmla="*/ 38 w 76"/>
                  <a:gd name="T13" fmla="*/ 0 h 22"/>
                  <a:gd name="T14" fmla="*/ 76 w 76"/>
                  <a:gd name="T15" fmla="*/ 18 h 22"/>
                  <a:gd name="T16" fmla="*/ 75 w 76"/>
                  <a:gd name="T17" fmla="*/ 21 h 22"/>
                  <a:gd name="T18" fmla="*/ 74 w 76"/>
                  <a:gd name="T19" fmla="*/ 21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6" h="22">
                    <a:moveTo>
                      <a:pt x="74" y="21"/>
                    </a:moveTo>
                    <a:cubicBezTo>
                      <a:pt x="73" y="21"/>
                      <a:pt x="73" y="21"/>
                      <a:pt x="73" y="21"/>
                    </a:cubicBezTo>
                    <a:cubicBezTo>
                      <a:pt x="64" y="10"/>
                      <a:pt x="52" y="4"/>
                      <a:pt x="38" y="4"/>
                    </a:cubicBezTo>
                    <a:cubicBezTo>
                      <a:pt x="24" y="4"/>
                      <a:pt x="12" y="10"/>
                      <a:pt x="4" y="21"/>
                    </a:cubicBezTo>
                    <a:cubicBezTo>
                      <a:pt x="3" y="21"/>
                      <a:pt x="2" y="22"/>
                      <a:pt x="1" y="21"/>
                    </a:cubicBezTo>
                    <a:cubicBezTo>
                      <a:pt x="0" y="20"/>
                      <a:pt x="0" y="19"/>
                      <a:pt x="0" y="18"/>
                    </a:cubicBezTo>
                    <a:cubicBezTo>
                      <a:pt x="10" y="7"/>
                      <a:pt x="23" y="0"/>
                      <a:pt x="38" y="0"/>
                    </a:cubicBezTo>
                    <a:cubicBezTo>
                      <a:pt x="53" y="0"/>
                      <a:pt x="66" y="7"/>
                      <a:pt x="76" y="18"/>
                    </a:cubicBezTo>
                    <a:cubicBezTo>
                      <a:pt x="76" y="19"/>
                      <a:pt x="76" y="20"/>
                      <a:pt x="75" y="21"/>
                    </a:cubicBezTo>
                    <a:cubicBezTo>
                      <a:pt x="75" y="21"/>
                      <a:pt x="75" y="21"/>
                      <a:pt x="74"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Arial"/>
                  <a:cs typeface="+mn-cs"/>
                </a:endParaRPr>
              </a:p>
            </p:txBody>
          </p:sp>
          <p:sp>
            <p:nvSpPr>
              <p:cNvPr id="57" name="Freeform 151">
                <a:extLst>
                  <a:ext uri="{FF2B5EF4-FFF2-40B4-BE49-F238E27FC236}">
                    <a16:creationId xmlns:a16="http://schemas.microsoft.com/office/drawing/2014/main" id="{E2130D56-606C-40A7-9F5C-94B468D0473D}"/>
                  </a:ext>
                </a:extLst>
              </p:cNvPr>
              <p:cNvSpPr>
                <a:spLocks/>
              </p:cNvSpPr>
              <p:nvPr/>
            </p:nvSpPr>
            <p:spPr bwMode="auto">
              <a:xfrm>
                <a:off x="4198938" y="3022601"/>
                <a:ext cx="187325" cy="211138"/>
              </a:xfrm>
              <a:custGeom>
                <a:avLst/>
                <a:gdLst>
                  <a:gd name="T0" fmla="*/ 50 w 50"/>
                  <a:gd name="T1" fmla="*/ 53 h 56"/>
                  <a:gd name="T2" fmla="*/ 34 w 50"/>
                  <a:gd name="T3" fmla="*/ 30 h 56"/>
                  <a:gd name="T4" fmla="*/ 41 w 50"/>
                  <a:gd name="T5" fmla="*/ 16 h 56"/>
                  <a:gd name="T6" fmla="*/ 25 w 50"/>
                  <a:gd name="T7" fmla="*/ 0 h 56"/>
                  <a:gd name="T8" fmla="*/ 9 w 50"/>
                  <a:gd name="T9" fmla="*/ 16 h 56"/>
                  <a:gd name="T10" fmla="*/ 16 w 50"/>
                  <a:gd name="T11" fmla="*/ 30 h 56"/>
                  <a:gd name="T12" fmla="*/ 0 w 50"/>
                  <a:gd name="T13" fmla="*/ 54 h 56"/>
                  <a:gd name="T14" fmla="*/ 2 w 50"/>
                  <a:gd name="T15" fmla="*/ 56 h 56"/>
                  <a:gd name="T16" fmla="*/ 48 w 50"/>
                  <a:gd name="T17" fmla="*/ 56 h 56"/>
                  <a:gd name="T18" fmla="*/ 48 w 50"/>
                  <a:gd name="T19" fmla="*/ 56 h 56"/>
                  <a:gd name="T20" fmla="*/ 50 w 50"/>
                  <a:gd name="T21" fmla="*/ 54 h 56"/>
                  <a:gd name="T22" fmla="*/ 50 w 50"/>
                  <a:gd name="T23" fmla="*/ 53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 h="56">
                    <a:moveTo>
                      <a:pt x="50" y="53"/>
                    </a:moveTo>
                    <a:cubicBezTo>
                      <a:pt x="50" y="43"/>
                      <a:pt x="43" y="34"/>
                      <a:pt x="34" y="30"/>
                    </a:cubicBezTo>
                    <a:cubicBezTo>
                      <a:pt x="38" y="28"/>
                      <a:pt x="41" y="22"/>
                      <a:pt x="41" y="16"/>
                    </a:cubicBezTo>
                    <a:cubicBezTo>
                      <a:pt x="41" y="7"/>
                      <a:pt x="34" y="0"/>
                      <a:pt x="25" y="0"/>
                    </a:cubicBezTo>
                    <a:cubicBezTo>
                      <a:pt x="16" y="0"/>
                      <a:pt x="9" y="7"/>
                      <a:pt x="9" y="16"/>
                    </a:cubicBezTo>
                    <a:cubicBezTo>
                      <a:pt x="9" y="22"/>
                      <a:pt x="12" y="28"/>
                      <a:pt x="16" y="30"/>
                    </a:cubicBezTo>
                    <a:cubicBezTo>
                      <a:pt x="7" y="34"/>
                      <a:pt x="0" y="43"/>
                      <a:pt x="0" y="54"/>
                    </a:cubicBezTo>
                    <a:cubicBezTo>
                      <a:pt x="0" y="55"/>
                      <a:pt x="1" y="56"/>
                      <a:pt x="2" y="56"/>
                    </a:cubicBezTo>
                    <a:cubicBezTo>
                      <a:pt x="48" y="56"/>
                      <a:pt x="48" y="56"/>
                      <a:pt x="48" y="56"/>
                    </a:cubicBezTo>
                    <a:cubicBezTo>
                      <a:pt x="48" y="56"/>
                      <a:pt x="48" y="56"/>
                      <a:pt x="48" y="56"/>
                    </a:cubicBezTo>
                    <a:cubicBezTo>
                      <a:pt x="49" y="56"/>
                      <a:pt x="50" y="55"/>
                      <a:pt x="50" y="54"/>
                    </a:cubicBezTo>
                    <a:cubicBezTo>
                      <a:pt x="50" y="54"/>
                      <a:pt x="50" y="54"/>
                      <a:pt x="50" y="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Arial"/>
                  <a:cs typeface="+mn-cs"/>
                </a:endParaRPr>
              </a:p>
            </p:txBody>
          </p:sp>
        </p:grpSp>
      </p:grpSp>
      <p:grpSp>
        <p:nvGrpSpPr>
          <p:cNvPr id="60" name="Group 65">
            <a:extLst>
              <a:ext uri="{FF2B5EF4-FFF2-40B4-BE49-F238E27FC236}">
                <a16:creationId xmlns:a16="http://schemas.microsoft.com/office/drawing/2014/main" id="{3817DB66-33BE-4394-87AB-1602508865D6}"/>
              </a:ext>
            </a:extLst>
          </p:cNvPr>
          <p:cNvGrpSpPr/>
          <p:nvPr/>
        </p:nvGrpSpPr>
        <p:grpSpPr>
          <a:xfrm>
            <a:off x="5037779" y="1100658"/>
            <a:ext cx="361029" cy="1025015"/>
            <a:chOff x="5037779" y="1501485"/>
            <a:chExt cx="361029" cy="1025015"/>
          </a:xfrm>
        </p:grpSpPr>
        <p:grpSp>
          <p:nvGrpSpPr>
            <p:cNvPr id="61" name="Group 204">
              <a:extLst>
                <a:ext uri="{FF2B5EF4-FFF2-40B4-BE49-F238E27FC236}">
                  <a16:creationId xmlns:a16="http://schemas.microsoft.com/office/drawing/2014/main" id="{640C0A46-4FE2-4DE5-9A84-1034B544BFE9}"/>
                </a:ext>
              </a:extLst>
            </p:cNvPr>
            <p:cNvGrpSpPr/>
            <p:nvPr/>
          </p:nvGrpSpPr>
          <p:grpSpPr>
            <a:xfrm rot="16200000">
              <a:off x="4705786" y="1833478"/>
              <a:ext cx="1025015" cy="361029"/>
              <a:chOff x="5983816" y="1091376"/>
              <a:chExt cx="1533310" cy="540061"/>
            </a:xfrm>
          </p:grpSpPr>
          <p:sp>
            <p:nvSpPr>
              <p:cNvPr id="66" name="Oval 206">
                <a:extLst>
                  <a:ext uri="{FF2B5EF4-FFF2-40B4-BE49-F238E27FC236}">
                    <a16:creationId xmlns:a16="http://schemas.microsoft.com/office/drawing/2014/main" id="{49E7DDCE-154B-4070-A08A-DA276F4DA2FB}"/>
                  </a:ext>
                </a:extLst>
              </p:cNvPr>
              <p:cNvSpPr/>
              <p:nvPr/>
            </p:nvSpPr>
            <p:spPr>
              <a:xfrm>
                <a:off x="6977063" y="1091376"/>
                <a:ext cx="540063" cy="540061"/>
              </a:xfrm>
              <a:prstGeom prst="ellipse">
                <a:avLst/>
              </a:prstGeom>
              <a:solidFill>
                <a:sysClr val="window" lastClr="FFFFFF"/>
              </a:solidFill>
              <a:ln w="12700" cap="flat" cmpd="sng" algn="ctr">
                <a:noFill/>
                <a:prstDash val="solid"/>
                <a:miter lim="800000"/>
              </a:ln>
              <a:effectLst>
                <a:outerShdw blurRad="215900" sx="104000" sy="104000" algn="ctr" rotWithShape="0">
                  <a:prstClr val="black">
                    <a:alpha val="19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Gill Sans MT" panose="020B0502020104020203" pitchFamily="34" charset="0"/>
                  <a:cs typeface="+mn-cs"/>
                </a:endParaRPr>
              </a:p>
            </p:txBody>
          </p:sp>
          <p:sp>
            <p:nvSpPr>
              <p:cNvPr id="67" name="Flowchart: Stored Data 207">
                <a:extLst>
                  <a:ext uri="{FF2B5EF4-FFF2-40B4-BE49-F238E27FC236}">
                    <a16:creationId xmlns:a16="http://schemas.microsoft.com/office/drawing/2014/main" id="{8AD6F57F-80BD-4852-AAE2-9EF7595B815D}"/>
                  </a:ext>
                </a:extLst>
              </p:cNvPr>
              <p:cNvSpPr/>
              <p:nvPr/>
            </p:nvSpPr>
            <p:spPr>
              <a:xfrm>
                <a:off x="5983816" y="1096806"/>
                <a:ext cx="1209933" cy="529201"/>
              </a:xfrm>
              <a:prstGeom prst="flowChartOnlineStorage">
                <a:avLst/>
              </a:prstGeom>
              <a:gradFill flip="none" rotWithShape="1">
                <a:gsLst>
                  <a:gs pos="100000">
                    <a:schemeClr val="accent1"/>
                  </a:gs>
                  <a:gs pos="0">
                    <a:schemeClr val="accent1"/>
                  </a:gs>
                </a:gsLst>
                <a:lin ang="2700000" scaled="1"/>
                <a:tileRect/>
              </a:gradFill>
              <a:ln w="12700" cap="flat" cmpd="sng" algn="ctr">
                <a:noFill/>
                <a:prstDash val="solid"/>
                <a:miter lim="800000"/>
              </a:ln>
              <a:effectLst/>
            </p:spPr>
            <p:txBody>
              <a:bodyPr vert="vert"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white"/>
                    </a:solidFill>
                    <a:effectLst/>
                    <a:uLnTx/>
                    <a:uFillTx/>
                    <a:latin typeface="Gill Sans MT" panose="020B0502020104020203" pitchFamily="34" charset="0"/>
                    <a:cs typeface="+mn-cs"/>
                  </a:rPr>
                  <a:t>2</a:t>
                </a:r>
                <a:endParaRPr kumimoji="0" lang="en-ID" sz="1800" b="0" i="0" u="none" strike="noStrike" kern="0" cap="none" spc="0" normalizeH="0" baseline="0" noProof="0" dirty="0">
                  <a:ln>
                    <a:noFill/>
                  </a:ln>
                  <a:solidFill>
                    <a:prstClr val="white"/>
                  </a:solidFill>
                  <a:effectLst/>
                  <a:uLnTx/>
                  <a:uFillTx/>
                  <a:latin typeface="Gill Sans MT" panose="020B0502020104020203" pitchFamily="34" charset="0"/>
                  <a:cs typeface="+mn-cs"/>
                </a:endParaRPr>
              </a:p>
            </p:txBody>
          </p:sp>
        </p:grpSp>
        <p:grpSp>
          <p:nvGrpSpPr>
            <p:cNvPr id="62" name="Group 334">
              <a:extLst>
                <a:ext uri="{FF2B5EF4-FFF2-40B4-BE49-F238E27FC236}">
                  <a16:creationId xmlns:a16="http://schemas.microsoft.com/office/drawing/2014/main" id="{88F09FBD-A52E-4221-B09E-B919319B828E}"/>
                </a:ext>
              </a:extLst>
            </p:cNvPr>
            <p:cNvGrpSpPr/>
            <p:nvPr/>
          </p:nvGrpSpPr>
          <p:grpSpPr>
            <a:xfrm>
              <a:off x="5112981" y="1570485"/>
              <a:ext cx="207236" cy="210952"/>
              <a:chOff x="8447088" y="3609976"/>
              <a:chExt cx="354013" cy="360362"/>
            </a:xfrm>
            <a:gradFill>
              <a:gsLst>
                <a:gs pos="100000">
                  <a:srgbClr val="0098DB"/>
                </a:gs>
                <a:gs pos="0">
                  <a:srgbClr val="00497A"/>
                </a:gs>
              </a:gsLst>
              <a:lin ang="2700000" scaled="1"/>
            </a:gradFill>
          </p:grpSpPr>
          <p:sp>
            <p:nvSpPr>
              <p:cNvPr id="63" name="Oval 161">
                <a:extLst>
                  <a:ext uri="{FF2B5EF4-FFF2-40B4-BE49-F238E27FC236}">
                    <a16:creationId xmlns:a16="http://schemas.microsoft.com/office/drawing/2014/main" id="{12DB959F-89B1-4A1E-AEF5-5C8C20CB6905}"/>
                  </a:ext>
                </a:extLst>
              </p:cNvPr>
              <p:cNvSpPr>
                <a:spLocks noChangeArrowheads="1"/>
              </p:cNvSpPr>
              <p:nvPr/>
            </p:nvSpPr>
            <p:spPr bwMode="auto">
              <a:xfrm>
                <a:off x="8477250" y="3609976"/>
                <a:ext cx="120650"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Arial"/>
                  <a:cs typeface="+mn-cs"/>
                </a:endParaRPr>
              </a:p>
            </p:txBody>
          </p:sp>
          <p:sp>
            <p:nvSpPr>
              <p:cNvPr id="64" name="Freeform 162">
                <a:extLst>
                  <a:ext uri="{FF2B5EF4-FFF2-40B4-BE49-F238E27FC236}">
                    <a16:creationId xmlns:a16="http://schemas.microsoft.com/office/drawing/2014/main" id="{518B77AF-27A6-48D6-A73F-EC748FAE8C62}"/>
                  </a:ext>
                </a:extLst>
              </p:cNvPr>
              <p:cNvSpPr>
                <a:spLocks/>
              </p:cNvSpPr>
              <p:nvPr/>
            </p:nvSpPr>
            <p:spPr bwMode="auto">
              <a:xfrm>
                <a:off x="8447088" y="3744913"/>
                <a:ext cx="180975" cy="225425"/>
              </a:xfrm>
              <a:custGeom>
                <a:avLst/>
                <a:gdLst>
                  <a:gd name="T0" fmla="*/ 28 w 48"/>
                  <a:gd name="T1" fmla="*/ 0 h 60"/>
                  <a:gd name="T2" fmla="*/ 30 w 48"/>
                  <a:gd name="T3" fmla="*/ 27 h 60"/>
                  <a:gd name="T4" fmla="*/ 24 w 48"/>
                  <a:gd name="T5" fmla="*/ 33 h 60"/>
                  <a:gd name="T6" fmla="*/ 18 w 48"/>
                  <a:gd name="T7" fmla="*/ 27 h 60"/>
                  <a:gd name="T8" fmla="*/ 20 w 48"/>
                  <a:gd name="T9" fmla="*/ 0 h 60"/>
                  <a:gd name="T10" fmla="*/ 0 w 48"/>
                  <a:gd name="T11" fmla="*/ 0 h 60"/>
                  <a:gd name="T12" fmla="*/ 0 w 48"/>
                  <a:gd name="T13" fmla="*/ 2 h 60"/>
                  <a:gd name="T14" fmla="*/ 14 w 48"/>
                  <a:gd name="T15" fmla="*/ 33 h 60"/>
                  <a:gd name="T16" fmla="*/ 14 w 48"/>
                  <a:gd name="T17" fmla="*/ 60 h 60"/>
                  <a:gd name="T18" fmla="*/ 34 w 48"/>
                  <a:gd name="T19" fmla="*/ 60 h 60"/>
                  <a:gd name="T20" fmla="*/ 34 w 48"/>
                  <a:gd name="T21" fmla="*/ 33 h 60"/>
                  <a:gd name="T22" fmla="*/ 48 w 48"/>
                  <a:gd name="T23" fmla="*/ 2 h 60"/>
                  <a:gd name="T24" fmla="*/ 48 w 48"/>
                  <a:gd name="T25" fmla="*/ 0 h 60"/>
                  <a:gd name="T26" fmla="*/ 28 w 48"/>
                  <a:gd name="T27"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60">
                    <a:moveTo>
                      <a:pt x="28" y="0"/>
                    </a:moveTo>
                    <a:cubicBezTo>
                      <a:pt x="30" y="27"/>
                      <a:pt x="30" y="27"/>
                      <a:pt x="30" y="27"/>
                    </a:cubicBezTo>
                    <a:cubicBezTo>
                      <a:pt x="24" y="33"/>
                      <a:pt x="24" y="33"/>
                      <a:pt x="24" y="33"/>
                    </a:cubicBezTo>
                    <a:cubicBezTo>
                      <a:pt x="18" y="27"/>
                      <a:pt x="18" y="27"/>
                      <a:pt x="18" y="27"/>
                    </a:cubicBezTo>
                    <a:cubicBezTo>
                      <a:pt x="20" y="0"/>
                      <a:pt x="20" y="0"/>
                      <a:pt x="20" y="0"/>
                    </a:cubicBezTo>
                    <a:cubicBezTo>
                      <a:pt x="0" y="0"/>
                      <a:pt x="0" y="0"/>
                      <a:pt x="0" y="0"/>
                    </a:cubicBezTo>
                    <a:cubicBezTo>
                      <a:pt x="0" y="2"/>
                      <a:pt x="0" y="2"/>
                      <a:pt x="0" y="2"/>
                    </a:cubicBezTo>
                    <a:cubicBezTo>
                      <a:pt x="0" y="16"/>
                      <a:pt x="5" y="27"/>
                      <a:pt x="14" y="33"/>
                    </a:cubicBezTo>
                    <a:cubicBezTo>
                      <a:pt x="14" y="60"/>
                      <a:pt x="14" y="60"/>
                      <a:pt x="14" y="60"/>
                    </a:cubicBezTo>
                    <a:cubicBezTo>
                      <a:pt x="34" y="60"/>
                      <a:pt x="34" y="60"/>
                      <a:pt x="34" y="60"/>
                    </a:cubicBezTo>
                    <a:cubicBezTo>
                      <a:pt x="34" y="33"/>
                      <a:pt x="34" y="33"/>
                      <a:pt x="34" y="33"/>
                    </a:cubicBezTo>
                    <a:cubicBezTo>
                      <a:pt x="43" y="27"/>
                      <a:pt x="48" y="16"/>
                      <a:pt x="48" y="2"/>
                    </a:cubicBezTo>
                    <a:cubicBezTo>
                      <a:pt x="48" y="0"/>
                      <a:pt x="48" y="0"/>
                      <a:pt x="48" y="0"/>
                    </a:cubicBezTo>
                    <a:lnTo>
                      <a:pt x="2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Arial"/>
                  <a:cs typeface="+mn-cs"/>
                </a:endParaRPr>
              </a:p>
            </p:txBody>
          </p:sp>
          <p:sp>
            <p:nvSpPr>
              <p:cNvPr id="65" name="Freeform 163">
                <a:extLst>
                  <a:ext uri="{FF2B5EF4-FFF2-40B4-BE49-F238E27FC236}">
                    <a16:creationId xmlns:a16="http://schemas.microsoft.com/office/drawing/2014/main" id="{A6AFD521-A50D-424C-988D-6E4E6C527977}"/>
                  </a:ext>
                </a:extLst>
              </p:cNvPr>
              <p:cNvSpPr>
                <a:spLocks noEditPoints="1"/>
              </p:cNvSpPr>
              <p:nvPr/>
            </p:nvSpPr>
            <p:spPr bwMode="auto">
              <a:xfrm>
                <a:off x="8583613" y="3624263"/>
                <a:ext cx="217488" cy="225425"/>
              </a:xfrm>
              <a:custGeom>
                <a:avLst/>
                <a:gdLst>
                  <a:gd name="T0" fmla="*/ 4 w 58"/>
                  <a:gd name="T1" fmla="*/ 0 h 60"/>
                  <a:gd name="T2" fmla="*/ 8 w 58"/>
                  <a:gd name="T3" fmla="*/ 12 h 60"/>
                  <a:gd name="T4" fmla="*/ 0 w 58"/>
                  <a:gd name="T5" fmla="*/ 28 h 60"/>
                  <a:gd name="T6" fmla="*/ 16 w 58"/>
                  <a:gd name="T7" fmla="*/ 28 h 60"/>
                  <a:gd name="T8" fmla="*/ 16 w 58"/>
                  <a:gd name="T9" fmla="*/ 34 h 60"/>
                  <a:gd name="T10" fmla="*/ 9 w 58"/>
                  <a:gd name="T11" fmla="*/ 60 h 60"/>
                  <a:gd name="T12" fmla="*/ 58 w 58"/>
                  <a:gd name="T13" fmla="*/ 60 h 60"/>
                  <a:gd name="T14" fmla="*/ 58 w 58"/>
                  <a:gd name="T15" fmla="*/ 0 h 60"/>
                  <a:gd name="T16" fmla="*/ 4 w 58"/>
                  <a:gd name="T17" fmla="*/ 0 h 60"/>
                  <a:gd name="T18" fmla="*/ 50 w 58"/>
                  <a:gd name="T19" fmla="*/ 50 h 60"/>
                  <a:gd name="T20" fmla="*/ 48 w 58"/>
                  <a:gd name="T21" fmla="*/ 52 h 60"/>
                  <a:gd name="T22" fmla="*/ 48 w 58"/>
                  <a:gd name="T23" fmla="*/ 52 h 60"/>
                  <a:gd name="T24" fmla="*/ 48 w 58"/>
                  <a:gd name="T25" fmla="*/ 52 h 60"/>
                  <a:gd name="T26" fmla="*/ 24 w 58"/>
                  <a:gd name="T27" fmla="*/ 52 h 60"/>
                  <a:gd name="T28" fmla="*/ 22 w 58"/>
                  <a:gd name="T29" fmla="*/ 50 h 60"/>
                  <a:gd name="T30" fmla="*/ 24 w 58"/>
                  <a:gd name="T31" fmla="*/ 48 h 60"/>
                  <a:gd name="T32" fmla="*/ 30 w 58"/>
                  <a:gd name="T33" fmla="*/ 48 h 60"/>
                  <a:gd name="T34" fmla="*/ 30 w 58"/>
                  <a:gd name="T35" fmla="*/ 34 h 60"/>
                  <a:gd name="T36" fmla="*/ 32 w 58"/>
                  <a:gd name="T37" fmla="*/ 32 h 60"/>
                  <a:gd name="T38" fmla="*/ 34 w 58"/>
                  <a:gd name="T39" fmla="*/ 34 h 60"/>
                  <a:gd name="T40" fmla="*/ 34 w 58"/>
                  <a:gd name="T41" fmla="*/ 48 h 60"/>
                  <a:gd name="T42" fmla="*/ 38 w 58"/>
                  <a:gd name="T43" fmla="*/ 48 h 60"/>
                  <a:gd name="T44" fmla="*/ 38 w 58"/>
                  <a:gd name="T45" fmla="*/ 26 h 60"/>
                  <a:gd name="T46" fmla="*/ 40 w 58"/>
                  <a:gd name="T47" fmla="*/ 24 h 60"/>
                  <a:gd name="T48" fmla="*/ 42 w 58"/>
                  <a:gd name="T49" fmla="*/ 26 h 60"/>
                  <a:gd name="T50" fmla="*/ 42 w 58"/>
                  <a:gd name="T51" fmla="*/ 48 h 60"/>
                  <a:gd name="T52" fmla="*/ 46 w 58"/>
                  <a:gd name="T53" fmla="*/ 48 h 60"/>
                  <a:gd name="T54" fmla="*/ 46 w 58"/>
                  <a:gd name="T55" fmla="*/ 14 h 60"/>
                  <a:gd name="T56" fmla="*/ 48 w 58"/>
                  <a:gd name="T57" fmla="*/ 12 h 60"/>
                  <a:gd name="T58" fmla="*/ 50 w 58"/>
                  <a:gd name="T59" fmla="*/ 14 h 60"/>
                  <a:gd name="T60" fmla="*/ 50 w 58"/>
                  <a:gd name="T61" fmla="*/ 5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58" h="60">
                    <a:moveTo>
                      <a:pt x="4" y="0"/>
                    </a:moveTo>
                    <a:cubicBezTo>
                      <a:pt x="7" y="3"/>
                      <a:pt x="8" y="7"/>
                      <a:pt x="8" y="12"/>
                    </a:cubicBezTo>
                    <a:cubicBezTo>
                      <a:pt x="8" y="19"/>
                      <a:pt x="5" y="24"/>
                      <a:pt x="0" y="28"/>
                    </a:cubicBezTo>
                    <a:cubicBezTo>
                      <a:pt x="16" y="28"/>
                      <a:pt x="16" y="28"/>
                      <a:pt x="16" y="28"/>
                    </a:cubicBezTo>
                    <a:cubicBezTo>
                      <a:pt x="16" y="34"/>
                      <a:pt x="16" y="34"/>
                      <a:pt x="16" y="34"/>
                    </a:cubicBezTo>
                    <a:cubicBezTo>
                      <a:pt x="16" y="44"/>
                      <a:pt x="14" y="53"/>
                      <a:pt x="9" y="60"/>
                    </a:cubicBezTo>
                    <a:cubicBezTo>
                      <a:pt x="58" y="60"/>
                      <a:pt x="58" y="60"/>
                      <a:pt x="58" y="60"/>
                    </a:cubicBezTo>
                    <a:cubicBezTo>
                      <a:pt x="58" y="0"/>
                      <a:pt x="58" y="0"/>
                      <a:pt x="58" y="0"/>
                    </a:cubicBezTo>
                    <a:lnTo>
                      <a:pt x="4" y="0"/>
                    </a:lnTo>
                    <a:close/>
                    <a:moveTo>
                      <a:pt x="50" y="50"/>
                    </a:moveTo>
                    <a:cubicBezTo>
                      <a:pt x="50" y="51"/>
                      <a:pt x="49" y="52"/>
                      <a:pt x="48" y="52"/>
                    </a:cubicBezTo>
                    <a:cubicBezTo>
                      <a:pt x="48" y="52"/>
                      <a:pt x="48" y="52"/>
                      <a:pt x="48" y="52"/>
                    </a:cubicBezTo>
                    <a:cubicBezTo>
                      <a:pt x="48" y="52"/>
                      <a:pt x="48" y="52"/>
                      <a:pt x="48" y="52"/>
                    </a:cubicBezTo>
                    <a:cubicBezTo>
                      <a:pt x="24" y="52"/>
                      <a:pt x="24" y="52"/>
                      <a:pt x="24" y="52"/>
                    </a:cubicBezTo>
                    <a:cubicBezTo>
                      <a:pt x="23" y="52"/>
                      <a:pt x="22" y="51"/>
                      <a:pt x="22" y="50"/>
                    </a:cubicBezTo>
                    <a:cubicBezTo>
                      <a:pt x="22" y="49"/>
                      <a:pt x="23" y="48"/>
                      <a:pt x="24" y="48"/>
                    </a:cubicBezTo>
                    <a:cubicBezTo>
                      <a:pt x="30" y="48"/>
                      <a:pt x="30" y="48"/>
                      <a:pt x="30" y="48"/>
                    </a:cubicBezTo>
                    <a:cubicBezTo>
                      <a:pt x="30" y="34"/>
                      <a:pt x="30" y="34"/>
                      <a:pt x="30" y="34"/>
                    </a:cubicBezTo>
                    <a:cubicBezTo>
                      <a:pt x="30" y="33"/>
                      <a:pt x="31" y="32"/>
                      <a:pt x="32" y="32"/>
                    </a:cubicBezTo>
                    <a:cubicBezTo>
                      <a:pt x="33" y="32"/>
                      <a:pt x="34" y="33"/>
                      <a:pt x="34" y="34"/>
                    </a:cubicBezTo>
                    <a:cubicBezTo>
                      <a:pt x="34" y="48"/>
                      <a:pt x="34" y="48"/>
                      <a:pt x="34" y="48"/>
                    </a:cubicBezTo>
                    <a:cubicBezTo>
                      <a:pt x="38" y="48"/>
                      <a:pt x="38" y="48"/>
                      <a:pt x="38" y="48"/>
                    </a:cubicBezTo>
                    <a:cubicBezTo>
                      <a:pt x="38" y="26"/>
                      <a:pt x="38" y="26"/>
                      <a:pt x="38" y="26"/>
                    </a:cubicBezTo>
                    <a:cubicBezTo>
                      <a:pt x="38" y="25"/>
                      <a:pt x="39" y="24"/>
                      <a:pt x="40" y="24"/>
                    </a:cubicBezTo>
                    <a:cubicBezTo>
                      <a:pt x="41" y="24"/>
                      <a:pt x="42" y="25"/>
                      <a:pt x="42" y="26"/>
                    </a:cubicBezTo>
                    <a:cubicBezTo>
                      <a:pt x="42" y="48"/>
                      <a:pt x="42" y="48"/>
                      <a:pt x="42" y="48"/>
                    </a:cubicBezTo>
                    <a:cubicBezTo>
                      <a:pt x="46" y="48"/>
                      <a:pt x="46" y="48"/>
                      <a:pt x="46" y="48"/>
                    </a:cubicBezTo>
                    <a:cubicBezTo>
                      <a:pt x="46" y="14"/>
                      <a:pt x="46" y="14"/>
                      <a:pt x="46" y="14"/>
                    </a:cubicBezTo>
                    <a:cubicBezTo>
                      <a:pt x="46" y="13"/>
                      <a:pt x="47" y="12"/>
                      <a:pt x="48" y="12"/>
                    </a:cubicBezTo>
                    <a:cubicBezTo>
                      <a:pt x="49" y="12"/>
                      <a:pt x="50" y="13"/>
                      <a:pt x="50" y="14"/>
                    </a:cubicBezTo>
                    <a:lnTo>
                      <a:pt x="50" y="5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Arial"/>
                  <a:cs typeface="+mn-cs"/>
                </a:endParaRPr>
              </a:p>
            </p:txBody>
          </p:sp>
        </p:grpSp>
      </p:grpSp>
      <p:grpSp>
        <p:nvGrpSpPr>
          <p:cNvPr id="68" name="Group 44">
            <a:extLst>
              <a:ext uri="{FF2B5EF4-FFF2-40B4-BE49-F238E27FC236}">
                <a16:creationId xmlns:a16="http://schemas.microsoft.com/office/drawing/2014/main" id="{1E284E06-93D5-4697-8470-298E0DE32530}"/>
              </a:ext>
            </a:extLst>
          </p:cNvPr>
          <p:cNvGrpSpPr/>
          <p:nvPr/>
        </p:nvGrpSpPr>
        <p:grpSpPr>
          <a:xfrm>
            <a:off x="8407400" y="4875602"/>
            <a:ext cx="361029" cy="1025015"/>
            <a:chOff x="8407400" y="5276429"/>
            <a:chExt cx="361029" cy="1025015"/>
          </a:xfrm>
        </p:grpSpPr>
        <p:grpSp>
          <p:nvGrpSpPr>
            <p:cNvPr id="69" name="Group 301">
              <a:extLst>
                <a:ext uri="{FF2B5EF4-FFF2-40B4-BE49-F238E27FC236}">
                  <a16:creationId xmlns:a16="http://schemas.microsoft.com/office/drawing/2014/main" id="{E575B8DB-E9C1-4BEE-A748-A674C35F0CC1}"/>
                </a:ext>
              </a:extLst>
            </p:cNvPr>
            <p:cNvGrpSpPr/>
            <p:nvPr/>
          </p:nvGrpSpPr>
          <p:grpSpPr>
            <a:xfrm rot="16200000">
              <a:off x="8075407" y="5608422"/>
              <a:ext cx="1025015" cy="361029"/>
              <a:chOff x="5983816" y="1091376"/>
              <a:chExt cx="1533310" cy="540061"/>
            </a:xfrm>
          </p:grpSpPr>
          <p:sp>
            <p:nvSpPr>
              <p:cNvPr id="74" name="Oval 303">
                <a:extLst>
                  <a:ext uri="{FF2B5EF4-FFF2-40B4-BE49-F238E27FC236}">
                    <a16:creationId xmlns:a16="http://schemas.microsoft.com/office/drawing/2014/main" id="{77AE0703-5946-4B73-B98E-98A7AF388D62}"/>
                  </a:ext>
                </a:extLst>
              </p:cNvPr>
              <p:cNvSpPr/>
              <p:nvPr/>
            </p:nvSpPr>
            <p:spPr>
              <a:xfrm>
                <a:off x="6977063" y="1091376"/>
                <a:ext cx="540063" cy="540061"/>
              </a:xfrm>
              <a:prstGeom prst="ellipse">
                <a:avLst/>
              </a:prstGeom>
              <a:solidFill>
                <a:sysClr val="window" lastClr="FFFFFF"/>
              </a:solidFill>
              <a:ln w="12700" cap="flat" cmpd="sng" algn="ctr">
                <a:noFill/>
                <a:prstDash val="solid"/>
                <a:miter lim="800000"/>
              </a:ln>
              <a:effectLst>
                <a:outerShdw blurRad="215900" sx="104000" sy="104000" algn="ctr" rotWithShape="0">
                  <a:prstClr val="black">
                    <a:alpha val="19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Gill Sans MT" panose="020B0502020104020203" pitchFamily="34" charset="0"/>
                  <a:cs typeface="+mn-cs"/>
                </a:endParaRPr>
              </a:p>
            </p:txBody>
          </p:sp>
          <p:sp>
            <p:nvSpPr>
              <p:cNvPr id="75" name="Flowchart: Stored Data 304">
                <a:extLst>
                  <a:ext uri="{FF2B5EF4-FFF2-40B4-BE49-F238E27FC236}">
                    <a16:creationId xmlns:a16="http://schemas.microsoft.com/office/drawing/2014/main" id="{69C0C9BB-6674-452D-A937-ECD2FD8D6CBF}"/>
                  </a:ext>
                </a:extLst>
              </p:cNvPr>
              <p:cNvSpPr/>
              <p:nvPr/>
            </p:nvSpPr>
            <p:spPr>
              <a:xfrm>
                <a:off x="5983816" y="1096806"/>
                <a:ext cx="1209933" cy="529201"/>
              </a:xfrm>
              <a:prstGeom prst="flowChartOnlineStorage">
                <a:avLst/>
              </a:prstGeom>
              <a:solidFill>
                <a:schemeClr val="accent1"/>
              </a:solidFill>
              <a:ln w="12700" cap="flat" cmpd="sng" algn="ctr">
                <a:noFill/>
                <a:prstDash val="solid"/>
                <a:miter lim="800000"/>
              </a:ln>
              <a:effectLst/>
            </p:spPr>
            <p:txBody>
              <a:bodyPr vert="vert"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white"/>
                    </a:solidFill>
                    <a:effectLst/>
                    <a:uLnTx/>
                    <a:uFillTx/>
                    <a:latin typeface="Gill Sans MT" panose="020B0502020104020203" pitchFamily="34" charset="0"/>
                    <a:cs typeface="+mn-cs"/>
                  </a:rPr>
                  <a:t>6</a:t>
                </a:r>
                <a:endParaRPr kumimoji="0" lang="en-ID" sz="1800" b="0" i="0" u="none" strike="noStrike" kern="0" cap="none" spc="0" normalizeH="0" baseline="0" noProof="0" dirty="0">
                  <a:ln>
                    <a:noFill/>
                  </a:ln>
                  <a:solidFill>
                    <a:prstClr val="white"/>
                  </a:solidFill>
                  <a:effectLst/>
                  <a:uLnTx/>
                  <a:uFillTx/>
                  <a:latin typeface="Gill Sans MT" panose="020B0502020104020203" pitchFamily="34" charset="0"/>
                  <a:cs typeface="+mn-cs"/>
                </a:endParaRPr>
              </a:p>
            </p:txBody>
          </p:sp>
        </p:grpSp>
        <p:grpSp>
          <p:nvGrpSpPr>
            <p:cNvPr id="70" name="Group 340">
              <a:extLst>
                <a:ext uri="{FF2B5EF4-FFF2-40B4-BE49-F238E27FC236}">
                  <a16:creationId xmlns:a16="http://schemas.microsoft.com/office/drawing/2014/main" id="{975ABAD5-85C7-458E-B969-258098E103CC}"/>
                </a:ext>
              </a:extLst>
            </p:cNvPr>
            <p:cNvGrpSpPr/>
            <p:nvPr/>
          </p:nvGrpSpPr>
          <p:grpSpPr>
            <a:xfrm>
              <a:off x="8475475" y="5326689"/>
              <a:ext cx="224878" cy="227876"/>
              <a:chOff x="5554663" y="723900"/>
              <a:chExt cx="357187" cy="361951"/>
            </a:xfrm>
            <a:solidFill>
              <a:srgbClr val="FF9933"/>
            </a:solidFill>
          </p:grpSpPr>
          <p:sp>
            <p:nvSpPr>
              <p:cNvPr id="71" name="Freeform 68">
                <a:extLst>
                  <a:ext uri="{FF2B5EF4-FFF2-40B4-BE49-F238E27FC236}">
                    <a16:creationId xmlns:a16="http://schemas.microsoft.com/office/drawing/2014/main" id="{15A1586A-C4F0-4B83-A14F-88A40921C8A9}"/>
                  </a:ext>
                </a:extLst>
              </p:cNvPr>
              <p:cNvSpPr>
                <a:spLocks/>
              </p:cNvSpPr>
              <p:nvPr/>
            </p:nvSpPr>
            <p:spPr bwMode="auto">
              <a:xfrm>
                <a:off x="5554663" y="949325"/>
                <a:ext cx="131763" cy="136525"/>
              </a:xfrm>
              <a:custGeom>
                <a:avLst/>
                <a:gdLst>
                  <a:gd name="T0" fmla="*/ 12 w 35"/>
                  <a:gd name="T1" fmla="*/ 0 h 36"/>
                  <a:gd name="T2" fmla="*/ 0 w 35"/>
                  <a:gd name="T3" fmla="*/ 21 h 36"/>
                  <a:gd name="T4" fmla="*/ 0 w 35"/>
                  <a:gd name="T5" fmla="*/ 23 h 36"/>
                  <a:gd name="T6" fmla="*/ 2 w 35"/>
                  <a:gd name="T7" fmla="*/ 24 h 36"/>
                  <a:gd name="T8" fmla="*/ 16 w 35"/>
                  <a:gd name="T9" fmla="*/ 22 h 36"/>
                  <a:gd name="T10" fmla="*/ 21 w 35"/>
                  <a:gd name="T11" fmla="*/ 35 h 36"/>
                  <a:gd name="T12" fmla="*/ 23 w 35"/>
                  <a:gd name="T13" fmla="*/ 36 h 36"/>
                  <a:gd name="T14" fmla="*/ 23 w 35"/>
                  <a:gd name="T15" fmla="*/ 36 h 36"/>
                  <a:gd name="T16" fmla="*/ 24 w 35"/>
                  <a:gd name="T17" fmla="*/ 35 h 36"/>
                  <a:gd name="T18" fmla="*/ 35 w 35"/>
                  <a:gd name="T19" fmla="*/ 18 h 36"/>
                  <a:gd name="T20" fmla="*/ 12 w 35"/>
                  <a:gd name="T21"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5" h="36">
                    <a:moveTo>
                      <a:pt x="12" y="0"/>
                    </a:moveTo>
                    <a:cubicBezTo>
                      <a:pt x="0" y="21"/>
                      <a:pt x="0" y="21"/>
                      <a:pt x="0" y="21"/>
                    </a:cubicBezTo>
                    <a:cubicBezTo>
                      <a:pt x="0" y="22"/>
                      <a:pt x="0" y="22"/>
                      <a:pt x="0" y="23"/>
                    </a:cubicBezTo>
                    <a:cubicBezTo>
                      <a:pt x="1" y="24"/>
                      <a:pt x="2" y="24"/>
                      <a:pt x="2" y="24"/>
                    </a:cubicBezTo>
                    <a:cubicBezTo>
                      <a:pt x="16" y="22"/>
                      <a:pt x="16" y="22"/>
                      <a:pt x="16" y="22"/>
                    </a:cubicBezTo>
                    <a:cubicBezTo>
                      <a:pt x="21" y="35"/>
                      <a:pt x="21" y="35"/>
                      <a:pt x="21" y="35"/>
                    </a:cubicBezTo>
                    <a:cubicBezTo>
                      <a:pt x="21" y="35"/>
                      <a:pt x="22" y="36"/>
                      <a:pt x="23" y="36"/>
                    </a:cubicBezTo>
                    <a:cubicBezTo>
                      <a:pt x="23" y="36"/>
                      <a:pt x="23" y="36"/>
                      <a:pt x="23" y="36"/>
                    </a:cubicBezTo>
                    <a:cubicBezTo>
                      <a:pt x="23" y="36"/>
                      <a:pt x="24" y="36"/>
                      <a:pt x="24" y="35"/>
                    </a:cubicBezTo>
                    <a:cubicBezTo>
                      <a:pt x="35" y="18"/>
                      <a:pt x="35" y="18"/>
                      <a:pt x="35" y="18"/>
                    </a:cubicBezTo>
                    <a:cubicBezTo>
                      <a:pt x="25" y="15"/>
                      <a:pt x="17" y="8"/>
                      <a:pt x="1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Arial"/>
                  <a:cs typeface="+mn-cs"/>
                </a:endParaRPr>
              </a:p>
            </p:txBody>
          </p:sp>
          <p:sp>
            <p:nvSpPr>
              <p:cNvPr id="72" name="Freeform 69">
                <a:extLst>
                  <a:ext uri="{FF2B5EF4-FFF2-40B4-BE49-F238E27FC236}">
                    <a16:creationId xmlns:a16="http://schemas.microsoft.com/office/drawing/2014/main" id="{63F53BFE-6D4C-4BA7-A3ED-568F9D87CB2F}"/>
                  </a:ext>
                </a:extLst>
              </p:cNvPr>
              <p:cNvSpPr>
                <a:spLocks/>
              </p:cNvSpPr>
              <p:nvPr/>
            </p:nvSpPr>
            <p:spPr bwMode="auto">
              <a:xfrm>
                <a:off x="5784850" y="954088"/>
                <a:ext cx="127000" cy="131763"/>
              </a:xfrm>
              <a:custGeom>
                <a:avLst/>
                <a:gdLst>
                  <a:gd name="T0" fmla="*/ 34 w 34"/>
                  <a:gd name="T1" fmla="*/ 20 h 35"/>
                  <a:gd name="T2" fmla="*/ 22 w 34"/>
                  <a:gd name="T3" fmla="*/ 0 h 35"/>
                  <a:gd name="T4" fmla="*/ 0 w 34"/>
                  <a:gd name="T5" fmla="*/ 17 h 35"/>
                  <a:gd name="T6" fmla="*/ 10 w 34"/>
                  <a:gd name="T7" fmla="*/ 34 h 35"/>
                  <a:gd name="T8" fmla="*/ 12 w 34"/>
                  <a:gd name="T9" fmla="*/ 35 h 35"/>
                  <a:gd name="T10" fmla="*/ 12 w 34"/>
                  <a:gd name="T11" fmla="*/ 35 h 35"/>
                  <a:gd name="T12" fmla="*/ 13 w 34"/>
                  <a:gd name="T13" fmla="*/ 34 h 35"/>
                  <a:gd name="T14" fmla="*/ 18 w 34"/>
                  <a:gd name="T15" fmla="*/ 21 h 35"/>
                  <a:gd name="T16" fmla="*/ 32 w 34"/>
                  <a:gd name="T17" fmla="*/ 23 h 35"/>
                  <a:gd name="T18" fmla="*/ 34 w 34"/>
                  <a:gd name="T19" fmla="*/ 22 h 35"/>
                  <a:gd name="T20" fmla="*/ 34 w 34"/>
                  <a:gd name="T21" fmla="*/ 2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4" h="35">
                    <a:moveTo>
                      <a:pt x="34" y="20"/>
                    </a:moveTo>
                    <a:cubicBezTo>
                      <a:pt x="22" y="0"/>
                      <a:pt x="22" y="0"/>
                      <a:pt x="22" y="0"/>
                    </a:cubicBezTo>
                    <a:cubicBezTo>
                      <a:pt x="17" y="8"/>
                      <a:pt x="9" y="14"/>
                      <a:pt x="0" y="17"/>
                    </a:cubicBezTo>
                    <a:cubicBezTo>
                      <a:pt x="10" y="34"/>
                      <a:pt x="10" y="34"/>
                      <a:pt x="10" y="34"/>
                    </a:cubicBezTo>
                    <a:cubicBezTo>
                      <a:pt x="10" y="35"/>
                      <a:pt x="11" y="35"/>
                      <a:pt x="12" y="35"/>
                    </a:cubicBezTo>
                    <a:cubicBezTo>
                      <a:pt x="12" y="35"/>
                      <a:pt x="12" y="35"/>
                      <a:pt x="12" y="35"/>
                    </a:cubicBezTo>
                    <a:cubicBezTo>
                      <a:pt x="13" y="35"/>
                      <a:pt x="13" y="34"/>
                      <a:pt x="13" y="34"/>
                    </a:cubicBezTo>
                    <a:cubicBezTo>
                      <a:pt x="18" y="21"/>
                      <a:pt x="18" y="21"/>
                      <a:pt x="18" y="21"/>
                    </a:cubicBezTo>
                    <a:cubicBezTo>
                      <a:pt x="32" y="23"/>
                      <a:pt x="32" y="23"/>
                      <a:pt x="32" y="23"/>
                    </a:cubicBezTo>
                    <a:cubicBezTo>
                      <a:pt x="33" y="23"/>
                      <a:pt x="34" y="23"/>
                      <a:pt x="34" y="22"/>
                    </a:cubicBezTo>
                    <a:cubicBezTo>
                      <a:pt x="34" y="21"/>
                      <a:pt x="34" y="21"/>
                      <a:pt x="34"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Arial"/>
                  <a:cs typeface="+mn-cs"/>
                </a:endParaRPr>
              </a:p>
            </p:txBody>
          </p:sp>
          <p:sp>
            <p:nvSpPr>
              <p:cNvPr id="73" name="Freeform 70">
                <a:extLst>
                  <a:ext uri="{FF2B5EF4-FFF2-40B4-BE49-F238E27FC236}">
                    <a16:creationId xmlns:a16="http://schemas.microsoft.com/office/drawing/2014/main" id="{E3B7C184-940B-47EB-A5A8-4E903AB08430}"/>
                  </a:ext>
                </a:extLst>
              </p:cNvPr>
              <p:cNvSpPr>
                <a:spLocks noEditPoints="1"/>
              </p:cNvSpPr>
              <p:nvPr/>
            </p:nvSpPr>
            <p:spPr bwMode="auto">
              <a:xfrm>
                <a:off x="5592765" y="723900"/>
                <a:ext cx="285750" cy="285750"/>
              </a:xfrm>
              <a:custGeom>
                <a:avLst/>
                <a:gdLst>
                  <a:gd name="T0" fmla="*/ 76 w 76"/>
                  <a:gd name="T1" fmla="*/ 38 h 76"/>
                  <a:gd name="T2" fmla="*/ 38 w 76"/>
                  <a:gd name="T3" fmla="*/ 0 h 76"/>
                  <a:gd name="T4" fmla="*/ 0 w 76"/>
                  <a:gd name="T5" fmla="*/ 38 h 76"/>
                  <a:gd name="T6" fmla="*/ 38 w 76"/>
                  <a:gd name="T7" fmla="*/ 76 h 76"/>
                  <a:gd name="T8" fmla="*/ 76 w 76"/>
                  <a:gd name="T9" fmla="*/ 38 h 76"/>
                  <a:gd name="T10" fmla="*/ 57 w 76"/>
                  <a:gd name="T11" fmla="*/ 34 h 76"/>
                  <a:gd name="T12" fmla="*/ 48 w 76"/>
                  <a:gd name="T13" fmla="*/ 41 h 76"/>
                  <a:gd name="T14" fmla="*/ 52 w 76"/>
                  <a:gd name="T15" fmla="*/ 53 h 76"/>
                  <a:gd name="T16" fmla="*/ 51 w 76"/>
                  <a:gd name="T17" fmla="*/ 56 h 76"/>
                  <a:gd name="T18" fmla="*/ 50 w 76"/>
                  <a:gd name="T19" fmla="*/ 56 h 76"/>
                  <a:gd name="T20" fmla="*/ 49 w 76"/>
                  <a:gd name="T21" fmla="*/ 56 h 76"/>
                  <a:gd name="T22" fmla="*/ 38 w 76"/>
                  <a:gd name="T23" fmla="*/ 49 h 76"/>
                  <a:gd name="T24" fmla="*/ 27 w 76"/>
                  <a:gd name="T25" fmla="*/ 56 h 76"/>
                  <a:gd name="T26" fmla="*/ 25 w 76"/>
                  <a:gd name="T27" fmla="*/ 56 h 76"/>
                  <a:gd name="T28" fmla="*/ 24 w 76"/>
                  <a:gd name="T29" fmla="*/ 53 h 76"/>
                  <a:gd name="T30" fmla="*/ 28 w 76"/>
                  <a:gd name="T31" fmla="*/ 41 h 76"/>
                  <a:gd name="T32" fmla="*/ 19 w 76"/>
                  <a:gd name="T33" fmla="*/ 34 h 76"/>
                  <a:gd name="T34" fmla="*/ 18 w 76"/>
                  <a:gd name="T35" fmla="*/ 31 h 76"/>
                  <a:gd name="T36" fmla="*/ 20 w 76"/>
                  <a:gd name="T37" fmla="*/ 30 h 76"/>
                  <a:gd name="T38" fmla="*/ 31 w 76"/>
                  <a:gd name="T39" fmla="*/ 30 h 76"/>
                  <a:gd name="T40" fmla="*/ 36 w 76"/>
                  <a:gd name="T41" fmla="*/ 19 h 76"/>
                  <a:gd name="T42" fmla="*/ 40 w 76"/>
                  <a:gd name="T43" fmla="*/ 19 h 76"/>
                  <a:gd name="T44" fmla="*/ 45 w 76"/>
                  <a:gd name="T45" fmla="*/ 30 h 76"/>
                  <a:gd name="T46" fmla="*/ 56 w 76"/>
                  <a:gd name="T47" fmla="*/ 30 h 76"/>
                  <a:gd name="T48" fmla="*/ 58 w 76"/>
                  <a:gd name="T49" fmla="*/ 31 h 76"/>
                  <a:gd name="T50" fmla="*/ 57 w 76"/>
                  <a:gd name="T51" fmla="*/ 3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6" h="76">
                    <a:moveTo>
                      <a:pt x="76" y="38"/>
                    </a:moveTo>
                    <a:cubicBezTo>
                      <a:pt x="76" y="17"/>
                      <a:pt x="59" y="0"/>
                      <a:pt x="38" y="0"/>
                    </a:cubicBezTo>
                    <a:cubicBezTo>
                      <a:pt x="17" y="0"/>
                      <a:pt x="0" y="17"/>
                      <a:pt x="0" y="38"/>
                    </a:cubicBezTo>
                    <a:cubicBezTo>
                      <a:pt x="0" y="59"/>
                      <a:pt x="17" y="76"/>
                      <a:pt x="38" y="76"/>
                    </a:cubicBezTo>
                    <a:cubicBezTo>
                      <a:pt x="59" y="76"/>
                      <a:pt x="76" y="59"/>
                      <a:pt x="76" y="38"/>
                    </a:cubicBezTo>
                    <a:close/>
                    <a:moveTo>
                      <a:pt x="57" y="34"/>
                    </a:moveTo>
                    <a:cubicBezTo>
                      <a:pt x="48" y="41"/>
                      <a:pt x="48" y="41"/>
                      <a:pt x="48" y="41"/>
                    </a:cubicBezTo>
                    <a:cubicBezTo>
                      <a:pt x="52" y="53"/>
                      <a:pt x="52" y="53"/>
                      <a:pt x="52" y="53"/>
                    </a:cubicBezTo>
                    <a:cubicBezTo>
                      <a:pt x="52" y="54"/>
                      <a:pt x="52" y="55"/>
                      <a:pt x="51" y="56"/>
                    </a:cubicBezTo>
                    <a:cubicBezTo>
                      <a:pt x="51" y="56"/>
                      <a:pt x="50" y="56"/>
                      <a:pt x="50" y="56"/>
                    </a:cubicBezTo>
                    <a:cubicBezTo>
                      <a:pt x="50" y="56"/>
                      <a:pt x="49" y="56"/>
                      <a:pt x="49" y="56"/>
                    </a:cubicBezTo>
                    <a:cubicBezTo>
                      <a:pt x="38" y="49"/>
                      <a:pt x="38" y="49"/>
                      <a:pt x="38" y="49"/>
                    </a:cubicBezTo>
                    <a:cubicBezTo>
                      <a:pt x="27" y="56"/>
                      <a:pt x="27" y="56"/>
                      <a:pt x="27" y="56"/>
                    </a:cubicBezTo>
                    <a:cubicBezTo>
                      <a:pt x="26" y="56"/>
                      <a:pt x="25" y="56"/>
                      <a:pt x="25" y="56"/>
                    </a:cubicBezTo>
                    <a:cubicBezTo>
                      <a:pt x="24" y="55"/>
                      <a:pt x="24" y="54"/>
                      <a:pt x="24" y="53"/>
                    </a:cubicBezTo>
                    <a:cubicBezTo>
                      <a:pt x="28" y="41"/>
                      <a:pt x="28" y="41"/>
                      <a:pt x="28" y="41"/>
                    </a:cubicBezTo>
                    <a:cubicBezTo>
                      <a:pt x="19" y="34"/>
                      <a:pt x="19" y="34"/>
                      <a:pt x="19" y="34"/>
                    </a:cubicBezTo>
                    <a:cubicBezTo>
                      <a:pt x="18" y="33"/>
                      <a:pt x="18" y="32"/>
                      <a:pt x="18" y="31"/>
                    </a:cubicBezTo>
                    <a:cubicBezTo>
                      <a:pt x="18" y="31"/>
                      <a:pt x="19" y="30"/>
                      <a:pt x="20" y="30"/>
                    </a:cubicBezTo>
                    <a:cubicBezTo>
                      <a:pt x="31" y="30"/>
                      <a:pt x="31" y="30"/>
                      <a:pt x="31" y="30"/>
                    </a:cubicBezTo>
                    <a:cubicBezTo>
                      <a:pt x="36" y="19"/>
                      <a:pt x="36" y="19"/>
                      <a:pt x="36" y="19"/>
                    </a:cubicBezTo>
                    <a:cubicBezTo>
                      <a:pt x="37" y="18"/>
                      <a:pt x="39" y="18"/>
                      <a:pt x="40" y="19"/>
                    </a:cubicBezTo>
                    <a:cubicBezTo>
                      <a:pt x="45" y="30"/>
                      <a:pt x="45" y="30"/>
                      <a:pt x="45" y="30"/>
                    </a:cubicBezTo>
                    <a:cubicBezTo>
                      <a:pt x="56" y="30"/>
                      <a:pt x="56" y="30"/>
                      <a:pt x="56" y="30"/>
                    </a:cubicBezTo>
                    <a:cubicBezTo>
                      <a:pt x="57" y="30"/>
                      <a:pt x="58" y="31"/>
                      <a:pt x="58" y="31"/>
                    </a:cubicBezTo>
                    <a:cubicBezTo>
                      <a:pt x="58" y="32"/>
                      <a:pt x="58" y="33"/>
                      <a:pt x="57"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Arial"/>
                  <a:cs typeface="+mn-cs"/>
                </a:endParaRPr>
              </a:p>
            </p:txBody>
          </p:sp>
        </p:grpSp>
      </p:grpSp>
      <p:grpSp>
        <p:nvGrpSpPr>
          <p:cNvPr id="76" name="Group 67">
            <a:extLst>
              <a:ext uri="{FF2B5EF4-FFF2-40B4-BE49-F238E27FC236}">
                <a16:creationId xmlns:a16="http://schemas.microsoft.com/office/drawing/2014/main" id="{C581BF20-D98A-4CDE-89EE-F9CC41527A7E}"/>
              </a:ext>
            </a:extLst>
          </p:cNvPr>
          <p:cNvGrpSpPr/>
          <p:nvPr/>
        </p:nvGrpSpPr>
        <p:grpSpPr>
          <a:xfrm>
            <a:off x="1668157" y="4875602"/>
            <a:ext cx="361029" cy="1025015"/>
            <a:chOff x="1668157" y="5276429"/>
            <a:chExt cx="361029" cy="1025015"/>
          </a:xfrm>
        </p:grpSpPr>
        <p:grpSp>
          <p:nvGrpSpPr>
            <p:cNvPr id="77" name="Group 315">
              <a:extLst>
                <a:ext uri="{FF2B5EF4-FFF2-40B4-BE49-F238E27FC236}">
                  <a16:creationId xmlns:a16="http://schemas.microsoft.com/office/drawing/2014/main" id="{F81B9A2B-34F9-4BB8-AC53-AF595ED287F9}"/>
                </a:ext>
              </a:extLst>
            </p:cNvPr>
            <p:cNvGrpSpPr/>
            <p:nvPr/>
          </p:nvGrpSpPr>
          <p:grpSpPr>
            <a:xfrm rot="16200000">
              <a:off x="1336164" y="5608422"/>
              <a:ext cx="1025015" cy="361029"/>
              <a:chOff x="5983816" y="1091376"/>
              <a:chExt cx="1533310" cy="540061"/>
            </a:xfrm>
          </p:grpSpPr>
          <p:sp>
            <p:nvSpPr>
              <p:cNvPr id="79" name="Oval 317">
                <a:extLst>
                  <a:ext uri="{FF2B5EF4-FFF2-40B4-BE49-F238E27FC236}">
                    <a16:creationId xmlns:a16="http://schemas.microsoft.com/office/drawing/2014/main" id="{8AF200B2-F2F9-4744-9D57-D1FF57B6EB9A}"/>
                  </a:ext>
                </a:extLst>
              </p:cNvPr>
              <p:cNvSpPr/>
              <p:nvPr/>
            </p:nvSpPr>
            <p:spPr>
              <a:xfrm>
                <a:off x="6977063" y="1091376"/>
                <a:ext cx="540063" cy="540061"/>
              </a:xfrm>
              <a:prstGeom prst="ellipse">
                <a:avLst/>
              </a:prstGeom>
              <a:solidFill>
                <a:sysClr val="window" lastClr="FFFFFF"/>
              </a:solidFill>
              <a:ln w="12700" cap="flat" cmpd="sng" algn="ctr">
                <a:noFill/>
                <a:prstDash val="solid"/>
                <a:miter lim="800000"/>
              </a:ln>
              <a:effectLst>
                <a:outerShdw blurRad="215900" sx="104000" sy="104000" algn="ctr" rotWithShape="0">
                  <a:prstClr val="black">
                    <a:alpha val="19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Gill Sans MT" panose="020B0502020104020203" pitchFamily="34" charset="0"/>
                  <a:cs typeface="+mn-cs"/>
                </a:endParaRPr>
              </a:p>
            </p:txBody>
          </p:sp>
          <p:sp>
            <p:nvSpPr>
              <p:cNvPr id="80" name="Flowchart: Stored Data 318">
                <a:extLst>
                  <a:ext uri="{FF2B5EF4-FFF2-40B4-BE49-F238E27FC236}">
                    <a16:creationId xmlns:a16="http://schemas.microsoft.com/office/drawing/2014/main" id="{410C598D-6DA8-4A95-A516-154939E5690A}"/>
                  </a:ext>
                </a:extLst>
              </p:cNvPr>
              <p:cNvSpPr/>
              <p:nvPr/>
            </p:nvSpPr>
            <p:spPr>
              <a:xfrm>
                <a:off x="5983816" y="1096806"/>
                <a:ext cx="1209933" cy="529201"/>
              </a:xfrm>
              <a:prstGeom prst="flowChartOnlineStorage">
                <a:avLst/>
              </a:prstGeom>
              <a:gradFill flip="none" rotWithShape="1">
                <a:gsLst>
                  <a:gs pos="100000">
                    <a:schemeClr val="accent1"/>
                  </a:gs>
                  <a:gs pos="0">
                    <a:schemeClr val="accent1"/>
                  </a:gs>
                </a:gsLst>
                <a:lin ang="2700000" scaled="1"/>
                <a:tileRect/>
              </a:gradFill>
              <a:ln w="12700" cap="flat" cmpd="sng" algn="ctr">
                <a:noFill/>
                <a:prstDash val="solid"/>
                <a:miter lim="800000"/>
              </a:ln>
              <a:effectLst/>
            </p:spPr>
            <p:txBody>
              <a:bodyPr vert="vert"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white"/>
                    </a:solidFill>
                    <a:effectLst/>
                    <a:uLnTx/>
                    <a:uFillTx/>
                    <a:latin typeface="Gill Sans MT" panose="020B0502020104020203" pitchFamily="34" charset="0"/>
                    <a:cs typeface="+mn-cs"/>
                  </a:rPr>
                  <a:t>4</a:t>
                </a:r>
                <a:endParaRPr kumimoji="0" lang="en-ID" sz="1800" b="0" i="0" u="none" strike="noStrike" kern="0" cap="none" spc="0" normalizeH="0" baseline="0" noProof="0" dirty="0">
                  <a:ln>
                    <a:noFill/>
                  </a:ln>
                  <a:solidFill>
                    <a:prstClr val="white"/>
                  </a:solidFill>
                  <a:effectLst/>
                  <a:uLnTx/>
                  <a:uFillTx/>
                  <a:latin typeface="Gill Sans MT" panose="020B0502020104020203" pitchFamily="34" charset="0"/>
                  <a:cs typeface="+mn-cs"/>
                </a:endParaRPr>
              </a:p>
            </p:txBody>
          </p:sp>
        </p:grpSp>
        <p:sp>
          <p:nvSpPr>
            <p:cNvPr id="78" name="Freeform 31">
              <a:extLst>
                <a:ext uri="{FF2B5EF4-FFF2-40B4-BE49-F238E27FC236}">
                  <a16:creationId xmlns:a16="http://schemas.microsoft.com/office/drawing/2014/main" id="{8F4139BC-610A-4D89-A0F3-C8A848F436A4}"/>
                </a:ext>
              </a:extLst>
            </p:cNvPr>
            <p:cNvSpPr>
              <a:spLocks/>
            </p:cNvSpPr>
            <p:nvPr/>
          </p:nvSpPr>
          <p:spPr bwMode="auto">
            <a:xfrm>
              <a:off x="1800288" y="5370467"/>
              <a:ext cx="96766" cy="195244"/>
            </a:xfrm>
            <a:custGeom>
              <a:avLst/>
              <a:gdLst>
                <a:gd name="T0" fmla="*/ 48 w 48"/>
                <a:gd name="T1" fmla="*/ 1 h 96"/>
                <a:gd name="T2" fmla="*/ 46 w 48"/>
                <a:gd name="T3" fmla="*/ 0 h 96"/>
                <a:gd name="T4" fmla="*/ 14 w 48"/>
                <a:gd name="T5" fmla="*/ 0 h 96"/>
                <a:gd name="T6" fmla="*/ 12 w 48"/>
                <a:gd name="T7" fmla="*/ 2 h 96"/>
                <a:gd name="T8" fmla="*/ 0 w 48"/>
                <a:gd name="T9" fmla="*/ 50 h 96"/>
                <a:gd name="T10" fmla="*/ 0 w 48"/>
                <a:gd name="T11" fmla="*/ 51 h 96"/>
                <a:gd name="T12" fmla="*/ 2 w 48"/>
                <a:gd name="T13" fmla="*/ 52 h 96"/>
                <a:gd name="T14" fmla="*/ 15 w 48"/>
                <a:gd name="T15" fmla="*/ 52 h 96"/>
                <a:gd name="T16" fmla="*/ 4 w 48"/>
                <a:gd name="T17" fmla="*/ 93 h 96"/>
                <a:gd name="T18" fmla="*/ 5 w 48"/>
                <a:gd name="T19" fmla="*/ 96 h 96"/>
                <a:gd name="T20" fmla="*/ 8 w 48"/>
                <a:gd name="T21" fmla="*/ 95 h 96"/>
                <a:gd name="T22" fmla="*/ 48 w 48"/>
                <a:gd name="T23" fmla="*/ 35 h 96"/>
                <a:gd name="T24" fmla="*/ 48 w 48"/>
                <a:gd name="T25" fmla="*/ 33 h 96"/>
                <a:gd name="T26" fmla="*/ 46 w 48"/>
                <a:gd name="T27" fmla="*/ 32 h 96"/>
                <a:gd name="T28" fmla="*/ 30 w 48"/>
                <a:gd name="T29" fmla="*/ 32 h 96"/>
                <a:gd name="T30" fmla="*/ 48 w 48"/>
                <a:gd name="T31" fmla="*/ 3 h 96"/>
                <a:gd name="T32" fmla="*/ 48 w 48"/>
                <a:gd name="T33" fmla="*/ 1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8" h="96">
                  <a:moveTo>
                    <a:pt x="48" y="1"/>
                  </a:moveTo>
                  <a:cubicBezTo>
                    <a:pt x="47" y="0"/>
                    <a:pt x="47" y="0"/>
                    <a:pt x="46" y="0"/>
                  </a:cubicBezTo>
                  <a:cubicBezTo>
                    <a:pt x="14" y="0"/>
                    <a:pt x="14" y="0"/>
                    <a:pt x="14" y="0"/>
                  </a:cubicBezTo>
                  <a:cubicBezTo>
                    <a:pt x="13" y="0"/>
                    <a:pt x="12" y="1"/>
                    <a:pt x="12" y="2"/>
                  </a:cubicBezTo>
                  <a:cubicBezTo>
                    <a:pt x="0" y="50"/>
                    <a:pt x="0" y="50"/>
                    <a:pt x="0" y="50"/>
                  </a:cubicBezTo>
                  <a:cubicBezTo>
                    <a:pt x="0" y="50"/>
                    <a:pt x="0" y="51"/>
                    <a:pt x="0" y="51"/>
                  </a:cubicBezTo>
                  <a:cubicBezTo>
                    <a:pt x="1" y="52"/>
                    <a:pt x="1" y="52"/>
                    <a:pt x="2" y="52"/>
                  </a:cubicBezTo>
                  <a:cubicBezTo>
                    <a:pt x="15" y="52"/>
                    <a:pt x="15" y="52"/>
                    <a:pt x="15" y="52"/>
                  </a:cubicBezTo>
                  <a:cubicBezTo>
                    <a:pt x="4" y="93"/>
                    <a:pt x="4" y="93"/>
                    <a:pt x="4" y="93"/>
                  </a:cubicBezTo>
                  <a:cubicBezTo>
                    <a:pt x="4" y="94"/>
                    <a:pt x="4" y="95"/>
                    <a:pt x="5" y="96"/>
                  </a:cubicBezTo>
                  <a:cubicBezTo>
                    <a:pt x="6" y="96"/>
                    <a:pt x="7" y="96"/>
                    <a:pt x="8" y="95"/>
                  </a:cubicBezTo>
                  <a:cubicBezTo>
                    <a:pt x="48" y="35"/>
                    <a:pt x="48" y="35"/>
                    <a:pt x="48" y="35"/>
                  </a:cubicBezTo>
                  <a:cubicBezTo>
                    <a:pt x="48" y="34"/>
                    <a:pt x="48" y="34"/>
                    <a:pt x="48" y="33"/>
                  </a:cubicBezTo>
                  <a:cubicBezTo>
                    <a:pt x="47" y="32"/>
                    <a:pt x="47" y="32"/>
                    <a:pt x="46" y="32"/>
                  </a:cubicBezTo>
                  <a:cubicBezTo>
                    <a:pt x="30" y="32"/>
                    <a:pt x="30" y="32"/>
                    <a:pt x="30" y="32"/>
                  </a:cubicBezTo>
                  <a:cubicBezTo>
                    <a:pt x="48" y="3"/>
                    <a:pt x="48" y="3"/>
                    <a:pt x="48" y="3"/>
                  </a:cubicBezTo>
                  <a:cubicBezTo>
                    <a:pt x="48" y="2"/>
                    <a:pt x="48" y="2"/>
                    <a:pt x="48" y="1"/>
                  </a:cubicBezTo>
                  <a:close/>
                </a:path>
              </a:pathLst>
            </a:custGeom>
            <a:gradFill flip="none" rotWithShape="1">
              <a:gsLst>
                <a:gs pos="100000">
                  <a:schemeClr val="accent1"/>
                </a:gs>
                <a:gs pos="0">
                  <a:schemeClr val="accent1"/>
                </a:gs>
              </a:gsLst>
              <a:lin ang="270000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Arial"/>
                <a:cs typeface="+mn-cs"/>
              </a:endParaRPr>
            </a:p>
          </p:txBody>
        </p:sp>
      </p:grpSp>
    </p:spTree>
    <p:extLst>
      <p:ext uri="{BB962C8B-B14F-4D97-AF65-F5344CB8AC3E}">
        <p14:creationId xmlns:p14="http://schemas.microsoft.com/office/powerpoint/2010/main" val="1592085018"/>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7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Shape 3">
            <a:extLst>
              <a:ext uri="{FF2B5EF4-FFF2-40B4-BE49-F238E27FC236}">
                <a16:creationId xmlns:a16="http://schemas.microsoft.com/office/drawing/2014/main" id="{B13DCED9-A6B0-4B74-ABFF-78D2F1C4993F}"/>
              </a:ext>
            </a:extLst>
          </p:cNvPr>
          <p:cNvSpPr/>
          <p:nvPr/>
        </p:nvSpPr>
        <p:spPr>
          <a:xfrm rot="5400000">
            <a:off x="3531425" y="2324877"/>
            <a:ext cx="5129150" cy="2208246"/>
          </a:xfrm>
          <a:custGeom>
            <a:avLst/>
            <a:gdLst>
              <a:gd name="connsiteX0" fmla="*/ 4733897 w 4867275"/>
              <a:gd name="connsiteY0" fmla="*/ 333442 h 2095500"/>
              <a:gd name="connsiteX1" fmla="*/ 4033742 w 4867275"/>
              <a:gd name="connsiteY1" fmla="*/ 905066 h 2095500"/>
              <a:gd name="connsiteX2" fmla="*/ 3809772 w 4867275"/>
              <a:gd name="connsiteY2" fmla="*/ 905066 h 2095500"/>
              <a:gd name="connsiteX3" fmla="*/ 3809772 w 4867275"/>
              <a:gd name="connsiteY3" fmla="*/ 381076 h 2095500"/>
              <a:gd name="connsiteX4" fmla="*/ 3523964 w 4867275"/>
              <a:gd name="connsiteY4" fmla="*/ 381076 h 2095500"/>
              <a:gd name="connsiteX5" fmla="*/ 3523964 w 4867275"/>
              <a:gd name="connsiteY5" fmla="*/ 905066 h 2095500"/>
              <a:gd name="connsiteX6" fmla="*/ 3238157 w 4867275"/>
              <a:gd name="connsiteY6" fmla="*/ 905066 h 2095500"/>
              <a:gd name="connsiteX7" fmla="*/ 3238157 w 4867275"/>
              <a:gd name="connsiteY7" fmla="*/ 190538 h 2095500"/>
              <a:gd name="connsiteX8" fmla="*/ 2952350 w 4867275"/>
              <a:gd name="connsiteY8" fmla="*/ 190538 h 2095500"/>
              <a:gd name="connsiteX9" fmla="*/ 2952350 w 4867275"/>
              <a:gd name="connsiteY9" fmla="*/ 905066 h 2095500"/>
              <a:gd name="connsiteX10" fmla="*/ 2666524 w 4867275"/>
              <a:gd name="connsiteY10" fmla="*/ 905066 h 2095500"/>
              <a:gd name="connsiteX11" fmla="*/ 2666524 w 4867275"/>
              <a:gd name="connsiteY11" fmla="*/ 0 h 2095500"/>
              <a:gd name="connsiteX12" fmla="*/ 2380717 w 4867275"/>
              <a:gd name="connsiteY12" fmla="*/ 0 h 2095500"/>
              <a:gd name="connsiteX13" fmla="*/ 2380717 w 4867275"/>
              <a:gd name="connsiteY13" fmla="*/ 905066 h 2095500"/>
              <a:gd name="connsiteX14" fmla="*/ 2094910 w 4867275"/>
              <a:gd name="connsiteY14" fmla="*/ 905066 h 2095500"/>
              <a:gd name="connsiteX15" fmla="*/ 2094910 w 4867275"/>
              <a:gd name="connsiteY15" fmla="*/ 142904 h 2095500"/>
              <a:gd name="connsiteX16" fmla="*/ 1809102 w 4867275"/>
              <a:gd name="connsiteY16" fmla="*/ 142904 h 2095500"/>
              <a:gd name="connsiteX17" fmla="*/ 1809102 w 4867275"/>
              <a:gd name="connsiteY17" fmla="*/ 905066 h 2095500"/>
              <a:gd name="connsiteX18" fmla="*/ 1523295 w 4867275"/>
              <a:gd name="connsiteY18" fmla="*/ 905066 h 2095500"/>
              <a:gd name="connsiteX19" fmla="*/ 1523295 w 4867275"/>
              <a:gd name="connsiteY19" fmla="*/ 47635 h 2095500"/>
              <a:gd name="connsiteX20" fmla="*/ 1350778 w 4867275"/>
              <a:gd name="connsiteY20" fmla="*/ 47635 h 2095500"/>
              <a:gd name="connsiteX21" fmla="*/ 16497 w 4867275"/>
              <a:gd name="connsiteY21" fmla="*/ 1000820 h 2095500"/>
              <a:gd name="connsiteX22" fmla="*/ 0 w 4867275"/>
              <a:gd name="connsiteY22" fmla="*/ 1047969 h 2095500"/>
              <a:gd name="connsiteX23" fmla="*/ 16469 w 4867275"/>
              <a:gd name="connsiteY23" fmla="*/ 1095118 h 2095500"/>
              <a:gd name="connsiteX24" fmla="*/ 1350750 w 4867275"/>
              <a:gd name="connsiteY24" fmla="*/ 2048313 h 2095500"/>
              <a:gd name="connsiteX25" fmla="*/ 1523267 w 4867275"/>
              <a:gd name="connsiteY25" fmla="*/ 2048313 h 2095500"/>
              <a:gd name="connsiteX26" fmla="*/ 1523267 w 4867275"/>
              <a:gd name="connsiteY26" fmla="*/ 1190882 h 2095500"/>
              <a:gd name="connsiteX27" fmla="*/ 1809074 w 4867275"/>
              <a:gd name="connsiteY27" fmla="*/ 1190882 h 2095500"/>
              <a:gd name="connsiteX28" fmla="*/ 1809074 w 4867275"/>
              <a:gd name="connsiteY28" fmla="*/ 1962569 h 2095500"/>
              <a:gd name="connsiteX29" fmla="*/ 2094881 w 4867275"/>
              <a:gd name="connsiteY29" fmla="*/ 1962569 h 2095500"/>
              <a:gd name="connsiteX30" fmla="*/ 2094881 w 4867275"/>
              <a:gd name="connsiteY30" fmla="*/ 1190882 h 2095500"/>
              <a:gd name="connsiteX31" fmla="*/ 2380688 w 4867275"/>
              <a:gd name="connsiteY31" fmla="*/ 1190882 h 2095500"/>
              <a:gd name="connsiteX32" fmla="*/ 2380688 w 4867275"/>
              <a:gd name="connsiteY32" fmla="*/ 2095948 h 2095500"/>
              <a:gd name="connsiteX33" fmla="*/ 2666495 w 4867275"/>
              <a:gd name="connsiteY33" fmla="*/ 2095948 h 2095500"/>
              <a:gd name="connsiteX34" fmla="*/ 2666495 w 4867275"/>
              <a:gd name="connsiteY34" fmla="*/ 1190882 h 2095500"/>
              <a:gd name="connsiteX35" fmla="*/ 2952302 w 4867275"/>
              <a:gd name="connsiteY35" fmla="*/ 1190882 h 2095500"/>
              <a:gd name="connsiteX36" fmla="*/ 2952302 w 4867275"/>
              <a:gd name="connsiteY36" fmla="*/ 1905410 h 2095500"/>
              <a:gd name="connsiteX37" fmla="*/ 3238110 w 4867275"/>
              <a:gd name="connsiteY37" fmla="*/ 1905410 h 2095500"/>
              <a:gd name="connsiteX38" fmla="*/ 3238110 w 4867275"/>
              <a:gd name="connsiteY38" fmla="*/ 1190882 h 2095500"/>
              <a:gd name="connsiteX39" fmla="*/ 3523917 w 4867275"/>
              <a:gd name="connsiteY39" fmla="*/ 1190882 h 2095500"/>
              <a:gd name="connsiteX40" fmla="*/ 3523917 w 4867275"/>
              <a:gd name="connsiteY40" fmla="*/ 1714872 h 2095500"/>
              <a:gd name="connsiteX41" fmla="*/ 3809724 w 4867275"/>
              <a:gd name="connsiteY41" fmla="*/ 1714872 h 2095500"/>
              <a:gd name="connsiteX42" fmla="*/ 3809724 w 4867275"/>
              <a:gd name="connsiteY42" fmla="*/ 1190882 h 2095500"/>
              <a:gd name="connsiteX43" fmla="*/ 4033695 w 4867275"/>
              <a:gd name="connsiteY43" fmla="*/ 1190882 h 2095500"/>
              <a:gd name="connsiteX44" fmla="*/ 4733849 w 4867275"/>
              <a:gd name="connsiteY44" fmla="*/ 1762506 h 2095500"/>
              <a:gd name="connsiteX45" fmla="*/ 4876753 w 4867275"/>
              <a:gd name="connsiteY45" fmla="*/ 1762506 h 2095500"/>
              <a:gd name="connsiteX46" fmla="*/ 4876753 w 4867275"/>
              <a:gd name="connsiteY46" fmla="*/ 333442 h 2095500"/>
              <a:gd name="connsiteX47" fmla="*/ 4733897 w 4867275"/>
              <a:gd name="connsiteY47" fmla="*/ 333442 h 2095500"/>
              <a:gd name="connsiteX48" fmla="*/ 1237469 w 4867275"/>
              <a:gd name="connsiteY48" fmla="*/ 1756724 h 2095500"/>
              <a:gd name="connsiteX49" fmla="*/ 303933 w 4867275"/>
              <a:gd name="connsiteY49" fmla="*/ 1047969 h 2095500"/>
              <a:gd name="connsiteX50" fmla="*/ 1237469 w 4867275"/>
              <a:gd name="connsiteY50" fmla="*/ 339214 h 2095500"/>
              <a:gd name="connsiteX51" fmla="*/ 1237469 w 4867275"/>
              <a:gd name="connsiteY51" fmla="*/ 1756724 h 2095500"/>
              <a:gd name="connsiteX52" fmla="*/ 4590993 w 4867275"/>
              <a:gd name="connsiteY52" fmla="*/ 1452210 h 2095500"/>
              <a:gd name="connsiteX53" fmla="*/ 4305186 w 4867275"/>
              <a:gd name="connsiteY53" fmla="*/ 1047979 h 2095500"/>
              <a:gd name="connsiteX54" fmla="*/ 4590993 w 4867275"/>
              <a:gd name="connsiteY54" fmla="*/ 643747 h 2095500"/>
              <a:gd name="connsiteX55" fmla="*/ 4590993 w 4867275"/>
              <a:gd name="connsiteY55" fmla="*/ 1452210 h 2095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4867275" h="2095500">
                <a:moveTo>
                  <a:pt x="4733897" y="333442"/>
                </a:moveTo>
                <a:cubicBezTo>
                  <a:pt x="4388825" y="333442"/>
                  <a:pt x="4100141" y="579320"/>
                  <a:pt x="4033742" y="905066"/>
                </a:cubicBezTo>
                <a:lnTo>
                  <a:pt x="3809772" y="905066"/>
                </a:lnTo>
                <a:lnTo>
                  <a:pt x="3809772" y="381076"/>
                </a:lnTo>
                <a:lnTo>
                  <a:pt x="3523964" y="381076"/>
                </a:lnTo>
                <a:lnTo>
                  <a:pt x="3523964" y="905066"/>
                </a:lnTo>
                <a:lnTo>
                  <a:pt x="3238157" y="905066"/>
                </a:lnTo>
                <a:lnTo>
                  <a:pt x="3238157" y="190538"/>
                </a:lnTo>
                <a:lnTo>
                  <a:pt x="2952350" y="190538"/>
                </a:lnTo>
                <a:lnTo>
                  <a:pt x="2952350" y="905066"/>
                </a:lnTo>
                <a:lnTo>
                  <a:pt x="2666524" y="905066"/>
                </a:lnTo>
                <a:lnTo>
                  <a:pt x="2666524" y="0"/>
                </a:lnTo>
                <a:lnTo>
                  <a:pt x="2380717" y="0"/>
                </a:lnTo>
                <a:lnTo>
                  <a:pt x="2380717" y="905066"/>
                </a:lnTo>
                <a:lnTo>
                  <a:pt x="2094910" y="905066"/>
                </a:lnTo>
                <a:lnTo>
                  <a:pt x="2094910" y="142904"/>
                </a:lnTo>
                <a:lnTo>
                  <a:pt x="1809102" y="142904"/>
                </a:lnTo>
                <a:lnTo>
                  <a:pt x="1809102" y="905066"/>
                </a:lnTo>
                <a:lnTo>
                  <a:pt x="1523295" y="905066"/>
                </a:lnTo>
                <a:lnTo>
                  <a:pt x="1523295" y="47635"/>
                </a:lnTo>
                <a:lnTo>
                  <a:pt x="1350778" y="47635"/>
                </a:lnTo>
                <a:cubicBezTo>
                  <a:pt x="751951" y="47635"/>
                  <a:pt x="215741" y="430701"/>
                  <a:pt x="16497" y="1000820"/>
                </a:cubicBezTo>
                <a:lnTo>
                  <a:pt x="0" y="1047969"/>
                </a:lnTo>
                <a:lnTo>
                  <a:pt x="16469" y="1095118"/>
                </a:lnTo>
                <a:cubicBezTo>
                  <a:pt x="215722" y="1665256"/>
                  <a:pt x="751932" y="2048313"/>
                  <a:pt x="1350750" y="2048313"/>
                </a:cubicBezTo>
                <a:lnTo>
                  <a:pt x="1523267" y="2048313"/>
                </a:lnTo>
                <a:lnTo>
                  <a:pt x="1523267" y="1190882"/>
                </a:lnTo>
                <a:lnTo>
                  <a:pt x="1809074" y="1190882"/>
                </a:lnTo>
                <a:lnTo>
                  <a:pt x="1809074" y="1962569"/>
                </a:lnTo>
                <a:lnTo>
                  <a:pt x="2094881" y="1962569"/>
                </a:lnTo>
                <a:lnTo>
                  <a:pt x="2094881" y="1190882"/>
                </a:lnTo>
                <a:lnTo>
                  <a:pt x="2380688" y="1190882"/>
                </a:lnTo>
                <a:lnTo>
                  <a:pt x="2380688" y="2095948"/>
                </a:lnTo>
                <a:lnTo>
                  <a:pt x="2666495" y="2095948"/>
                </a:lnTo>
                <a:lnTo>
                  <a:pt x="2666495" y="1190882"/>
                </a:lnTo>
                <a:lnTo>
                  <a:pt x="2952302" y="1190882"/>
                </a:lnTo>
                <a:lnTo>
                  <a:pt x="2952302" y="1905410"/>
                </a:lnTo>
                <a:lnTo>
                  <a:pt x="3238110" y="1905410"/>
                </a:lnTo>
                <a:lnTo>
                  <a:pt x="3238110" y="1190882"/>
                </a:lnTo>
                <a:lnTo>
                  <a:pt x="3523917" y="1190882"/>
                </a:lnTo>
                <a:lnTo>
                  <a:pt x="3523917" y="1714872"/>
                </a:lnTo>
                <a:lnTo>
                  <a:pt x="3809724" y="1714872"/>
                </a:lnTo>
                <a:lnTo>
                  <a:pt x="3809724" y="1190882"/>
                </a:lnTo>
                <a:lnTo>
                  <a:pt x="4033695" y="1190882"/>
                </a:lnTo>
                <a:cubicBezTo>
                  <a:pt x="4100075" y="1516628"/>
                  <a:pt x="4388777" y="1762506"/>
                  <a:pt x="4733849" y="1762506"/>
                </a:cubicBezTo>
                <a:lnTo>
                  <a:pt x="4876753" y="1762506"/>
                </a:lnTo>
                <a:lnTo>
                  <a:pt x="4876753" y="333442"/>
                </a:lnTo>
                <a:lnTo>
                  <a:pt x="4733897" y="333442"/>
                </a:lnTo>
                <a:close/>
                <a:moveTo>
                  <a:pt x="1237469" y="1756724"/>
                </a:moveTo>
                <a:cubicBezTo>
                  <a:pt x="823046" y="1714338"/>
                  <a:pt x="461248" y="1441866"/>
                  <a:pt x="303933" y="1047969"/>
                </a:cubicBezTo>
                <a:cubicBezTo>
                  <a:pt x="461248" y="654072"/>
                  <a:pt x="823036" y="381600"/>
                  <a:pt x="1237469" y="339214"/>
                </a:cubicBezTo>
                <a:lnTo>
                  <a:pt x="1237469" y="1756724"/>
                </a:lnTo>
                <a:close/>
                <a:moveTo>
                  <a:pt x="4590993" y="1452210"/>
                </a:moveTo>
                <a:cubicBezTo>
                  <a:pt x="4424639" y="1393231"/>
                  <a:pt x="4305186" y="1234288"/>
                  <a:pt x="4305186" y="1047979"/>
                </a:cubicBezTo>
                <a:cubicBezTo>
                  <a:pt x="4305186" y="861670"/>
                  <a:pt x="4424648" y="702726"/>
                  <a:pt x="4590993" y="643747"/>
                </a:cubicBezTo>
                <a:lnTo>
                  <a:pt x="4590993" y="1452210"/>
                </a:lnTo>
                <a:close/>
              </a:path>
            </a:pathLst>
          </a:custGeom>
          <a:gradFill flip="none" rotWithShape="1">
            <a:gsLst>
              <a:gs pos="100000">
                <a:schemeClr val="accent1"/>
              </a:gs>
              <a:gs pos="33000">
                <a:schemeClr val="accent1"/>
              </a:gs>
            </a:gsLst>
            <a:lin ang="1800000" scaled="0"/>
            <a:tileRect/>
          </a:gradFill>
          <a:ln w="12700" cap="flat" cmpd="sng" algn="ctr">
            <a:noFill/>
            <a:prstDash val="solid"/>
            <a:miter lim="800000"/>
          </a:ln>
          <a:effectLst>
            <a:outerShdw blurRad="215900" sx="104000" sy="104000" algn="ctr" rotWithShape="0">
              <a:prstClr val="black">
                <a:alpha val="19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0" cap="none" spc="0" normalizeH="0" baseline="0" noProof="0">
              <a:ln>
                <a:noFill/>
              </a:ln>
              <a:solidFill>
                <a:prstClr val="white"/>
              </a:solidFill>
              <a:effectLst/>
              <a:uLnTx/>
              <a:uFillTx/>
              <a:latin typeface="Arial"/>
              <a:cs typeface="+mn-cs"/>
            </a:endParaRPr>
          </a:p>
        </p:txBody>
      </p:sp>
      <p:sp>
        <p:nvSpPr>
          <p:cNvPr id="3" name="Flowchart: Stored Data 128">
            <a:extLst>
              <a:ext uri="{FF2B5EF4-FFF2-40B4-BE49-F238E27FC236}">
                <a16:creationId xmlns:a16="http://schemas.microsoft.com/office/drawing/2014/main" id="{3022E431-5160-4000-A765-A9CE98360FFD}"/>
              </a:ext>
            </a:extLst>
          </p:cNvPr>
          <p:cNvSpPr/>
          <p:nvPr/>
        </p:nvSpPr>
        <p:spPr>
          <a:xfrm rot="16200000" flipH="1">
            <a:off x="3643032" y="2689811"/>
            <a:ext cx="4905937" cy="1648176"/>
          </a:xfrm>
          <a:custGeom>
            <a:avLst/>
            <a:gdLst>
              <a:gd name="connsiteX0" fmla="*/ 1667 w 10000"/>
              <a:gd name="connsiteY0" fmla="*/ 0 h 10000"/>
              <a:gd name="connsiteX1" fmla="*/ 10000 w 10000"/>
              <a:gd name="connsiteY1" fmla="*/ 0 h 10000"/>
              <a:gd name="connsiteX2" fmla="*/ 8333 w 10000"/>
              <a:gd name="connsiteY2" fmla="*/ 5000 h 10000"/>
              <a:gd name="connsiteX3" fmla="*/ 10000 w 10000"/>
              <a:gd name="connsiteY3" fmla="*/ 10000 h 10000"/>
              <a:gd name="connsiteX4" fmla="*/ 1667 w 10000"/>
              <a:gd name="connsiteY4" fmla="*/ 10000 h 10000"/>
              <a:gd name="connsiteX5" fmla="*/ 0 w 10000"/>
              <a:gd name="connsiteY5" fmla="*/ 5000 h 10000"/>
              <a:gd name="connsiteX6" fmla="*/ 1667 w 10000"/>
              <a:gd name="connsiteY6" fmla="*/ 0 h 10000"/>
              <a:gd name="connsiteX0" fmla="*/ 1819 w 10152"/>
              <a:gd name="connsiteY0" fmla="*/ 0 h 10000"/>
              <a:gd name="connsiteX1" fmla="*/ 10152 w 10152"/>
              <a:gd name="connsiteY1" fmla="*/ 0 h 10000"/>
              <a:gd name="connsiteX2" fmla="*/ 8485 w 10152"/>
              <a:gd name="connsiteY2" fmla="*/ 5000 h 10000"/>
              <a:gd name="connsiteX3" fmla="*/ 10152 w 10152"/>
              <a:gd name="connsiteY3" fmla="*/ 10000 h 10000"/>
              <a:gd name="connsiteX4" fmla="*/ 1819 w 10152"/>
              <a:gd name="connsiteY4" fmla="*/ 10000 h 10000"/>
              <a:gd name="connsiteX5" fmla="*/ 0 w 10152"/>
              <a:gd name="connsiteY5" fmla="*/ 4967 h 10000"/>
              <a:gd name="connsiteX6" fmla="*/ 1819 w 10152"/>
              <a:gd name="connsiteY6" fmla="*/ 0 h 10000"/>
              <a:gd name="connsiteX0" fmla="*/ 1819 w 10152"/>
              <a:gd name="connsiteY0" fmla="*/ 0 h 10000"/>
              <a:gd name="connsiteX1" fmla="*/ 10152 w 10152"/>
              <a:gd name="connsiteY1" fmla="*/ 0 h 10000"/>
              <a:gd name="connsiteX2" fmla="*/ 8485 w 10152"/>
              <a:gd name="connsiteY2" fmla="*/ 5000 h 10000"/>
              <a:gd name="connsiteX3" fmla="*/ 10152 w 10152"/>
              <a:gd name="connsiteY3" fmla="*/ 10000 h 10000"/>
              <a:gd name="connsiteX4" fmla="*/ 1819 w 10152"/>
              <a:gd name="connsiteY4" fmla="*/ 10000 h 10000"/>
              <a:gd name="connsiteX5" fmla="*/ 0 w 10152"/>
              <a:gd name="connsiteY5" fmla="*/ 4967 h 10000"/>
              <a:gd name="connsiteX6" fmla="*/ 1819 w 10152"/>
              <a:gd name="connsiteY6" fmla="*/ 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152" h="10000">
                <a:moveTo>
                  <a:pt x="1819" y="0"/>
                </a:moveTo>
                <a:lnTo>
                  <a:pt x="10152" y="0"/>
                </a:lnTo>
                <a:cubicBezTo>
                  <a:pt x="9231" y="0"/>
                  <a:pt x="8485" y="2239"/>
                  <a:pt x="8485" y="5000"/>
                </a:cubicBezTo>
                <a:cubicBezTo>
                  <a:pt x="8485" y="7761"/>
                  <a:pt x="9231" y="10000"/>
                  <a:pt x="10152" y="10000"/>
                </a:cubicBezTo>
                <a:lnTo>
                  <a:pt x="1819" y="10000"/>
                </a:lnTo>
                <a:cubicBezTo>
                  <a:pt x="898" y="10000"/>
                  <a:pt x="0" y="7228"/>
                  <a:pt x="0" y="4967"/>
                </a:cubicBezTo>
                <a:cubicBezTo>
                  <a:pt x="0" y="2706"/>
                  <a:pt x="898" y="0"/>
                  <a:pt x="1819" y="0"/>
                </a:cubicBezTo>
                <a:close/>
              </a:path>
            </a:pathLst>
          </a:custGeom>
          <a:gradFill flip="none" rotWithShape="1">
            <a:gsLst>
              <a:gs pos="67000">
                <a:schemeClr val="accent1"/>
              </a:gs>
              <a:gs pos="0">
                <a:schemeClr val="accent1"/>
              </a:gs>
            </a:gsLst>
            <a:lin ang="18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FFFFFF"/>
              </a:solidFill>
              <a:effectLst/>
              <a:uLnTx/>
              <a:uFillTx/>
              <a:latin typeface="Arial"/>
              <a:cs typeface="+mn-cs"/>
            </a:endParaRPr>
          </a:p>
        </p:txBody>
      </p:sp>
      <p:grpSp>
        <p:nvGrpSpPr>
          <p:cNvPr id="4" name="Group 5">
            <a:extLst>
              <a:ext uri="{FF2B5EF4-FFF2-40B4-BE49-F238E27FC236}">
                <a16:creationId xmlns:a16="http://schemas.microsoft.com/office/drawing/2014/main" id="{38BED201-2E66-4CEA-B360-04B1A83309D4}"/>
              </a:ext>
            </a:extLst>
          </p:cNvPr>
          <p:cNvGrpSpPr/>
          <p:nvPr/>
        </p:nvGrpSpPr>
        <p:grpSpPr>
          <a:xfrm>
            <a:off x="5822950" y="1444111"/>
            <a:ext cx="546100" cy="553382"/>
            <a:chOff x="8475475" y="5326689"/>
            <a:chExt cx="224878" cy="227876"/>
          </a:xfrm>
          <a:solidFill>
            <a:schemeClr val="bg1"/>
          </a:solidFill>
        </p:grpSpPr>
        <p:sp>
          <p:nvSpPr>
            <p:cNvPr id="5" name="Freeform 68">
              <a:extLst>
                <a:ext uri="{FF2B5EF4-FFF2-40B4-BE49-F238E27FC236}">
                  <a16:creationId xmlns:a16="http://schemas.microsoft.com/office/drawing/2014/main" id="{06404396-194B-4678-A125-52962B3E59E0}"/>
                </a:ext>
              </a:extLst>
            </p:cNvPr>
            <p:cNvSpPr>
              <a:spLocks/>
            </p:cNvSpPr>
            <p:nvPr/>
          </p:nvSpPr>
          <p:spPr bwMode="auto">
            <a:xfrm>
              <a:off x="8475475" y="5468611"/>
              <a:ext cx="82955" cy="85953"/>
            </a:xfrm>
            <a:custGeom>
              <a:avLst/>
              <a:gdLst>
                <a:gd name="T0" fmla="*/ 12 w 35"/>
                <a:gd name="T1" fmla="*/ 0 h 36"/>
                <a:gd name="T2" fmla="*/ 0 w 35"/>
                <a:gd name="T3" fmla="*/ 21 h 36"/>
                <a:gd name="T4" fmla="*/ 0 w 35"/>
                <a:gd name="T5" fmla="*/ 23 h 36"/>
                <a:gd name="T6" fmla="*/ 2 w 35"/>
                <a:gd name="T7" fmla="*/ 24 h 36"/>
                <a:gd name="T8" fmla="*/ 16 w 35"/>
                <a:gd name="T9" fmla="*/ 22 h 36"/>
                <a:gd name="T10" fmla="*/ 21 w 35"/>
                <a:gd name="T11" fmla="*/ 35 h 36"/>
                <a:gd name="T12" fmla="*/ 23 w 35"/>
                <a:gd name="T13" fmla="*/ 36 h 36"/>
                <a:gd name="T14" fmla="*/ 23 w 35"/>
                <a:gd name="T15" fmla="*/ 36 h 36"/>
                <a:gd name="T16" fmla="*/ 24 w 35"/>
                <a:gd name="T17" fmla="*/ 35 h 36"/>
                <a:gd name="T18" fmla="*/ 35 w 35"/>
                <a:gd name="T19" fmla="*/ 18 h 36"/>
                <a:gd name="T20" fmla="*/ 12 w 35"/>
                <a:gd name="T21"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5" h="36">
                  <a:moveTo>
                    <a:pt x="12" y="0"/>
                  </a:moveTo>
                  <a:cubicBezTo>
                    <a:pt x="0" y="21"/>
                    <a:pt x="0" y="21"/>
                    <a:pt x="0" y="21"/>
                  </a:cubicBezTo>
                  <a:cubicBezTo>
                    <a:pt x="0" y="22"/>
                    <a:pt x="0" y="22"/>
                    <a:pt x="0" y="23"/>
                  </a:cubicBezTo>
                  <a:cubicBezTo>
                    <a:pt x="1" y="24"/>
                    <a:pt x="2" y="24"/>
                    <a:pt x="2" y="24"/>
                  </a:cubicBezTo>
                  <a:cubicBezTo>
                    <a:pt x="16" y="22"/>
                    <a:pt x="16" y="22"/>
                    <a:pt x="16" y="22"/>
                  </a:cubicBezTo>
                  <a:cubicBezTo>
                    <a:pt x="21" y="35"/>
                    <a:pt x="21" y="35"/>
                    <a:pt x="21" y="35"/>
                  </a:cubicBezTo>
                  <a:cubicBezTo>
                    <a:pt x="21" y="35"/>
                    <a:pt x="22" y="36"/>
                    <a:pt x="23" y="36"/>
                  </a:cubicBezTo>
                  <a:cubicBezTo>
                    <a:pt x="23" y="36"/>
                    <a:pt x="23" y="36"/>
                    <a:pt x="23" y="36"/>
                  </a:cubicBezTo>
                  <a:cubicBezTo>
                    <a:pt x="23" y="36"/>
                    <a:pt x="24" y="36"/>
                    <a:pt x="24" y="35"/>
                  </a:cubicBezTo>
                  <a:cubicBezTo>
                    <a:pt x="35" y="18"/>
                    <a:pt x="35" y="18"/>
                    <a:pt x="35" y="18"/>
                  </a:cubicBezTo>
                  <a:cubicBezTo>
                    <a:pt x="25" y="15"/>
                    <a:pt x="17" y="8"/>
                    <a:pt x="1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Arial"/>
                <a:cs typeface="+mn-cs"/>
              </a:endParaRPr>
            </a:p>
          </p:txBody>
        </p:sp>
        <p:sp>
          <p:nvSpPr>
            <p:cNvPr id="6" name="Freeform 69">
              <a:extLst>
                <a:ext uri="{FF2B5EF4-FFF2-40B4-BE49-F238E27FC236}">
                  <a16:creationId xmlns:a16="http://schemas.microsoft.com/office/drawing/2014/main" id="{4F49FE15-3747-4024-9041-553E2D05689D}"/>
                </a:ext>
              </a:extLst>
            </p:cNvPr>
            <p:cNvSpPr>
              <a:spLocks/>
            </p:cNvSpPr>
            <p:nvPr/>
          </p:nvSpPr>
          <p:spPr bwMode="auto">
            <a:xfrm>
              <a:off x="8620396" y="5471610"/>
              <a:ext cx="79957" cy="82955"/>
            </a:xfrm>
            <a:custGeom>
              <a:avLst/>
              <a:gdLst>
                <a:gd name="T0" fmla="*/ 34 w 34"/>
                <a:gd name="T1" fmla="*/ 20 h 35"/>
                <a:gd name="T2" fmla="*/ 22 w 34"/>
                <a:gd name="T3" fmla="*/ 0 h 35"/>
                <a:gd name="T4" fmla="*/ 0 w 34"/>
                <a:gd name="T5" fmla="*/ 17 h 35"/>
                <a:gd name="T6" fmla="*/ 10 w 34"/>
                <a:gd name="T7" fmla="*/ 34 h 35"/>
                <a:gd name="T8" fmla="*/ 12 w 34"/>
                <a:gd name="T9" fmla="*/ 35 h 35"/>
                <a:gd name="T10" fmla="*/ 12 w 34"/>
                <a:gd name="T11" fmla="*/ 35 h 35"/>
                <a:gd name="T12" fmla="*/ 13 w 34"/>
                <a:gd name="T13" fmla="*/ 34 h 35"/>
                <a:gd name="T14" fmla="*/ 18 w 34"/>
                <a:gd name="T15" fmla="*/ 21 h 35"/>
                <a:gd name="T16" fmla="*/ 32 w 34"/>
                <a:gd name="T17" fmla="*/ 23 h 35"/>
                <a:gd name="T18" fmla="*/ 34 w 34"/>
                <a:gd name="T19" fmla="*/ 22 h 35"/>
                <a:gd name="T20" fmla="*/ 34 w 34"/>
                <a:gd name="T21" fmla="*/ 2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4" h="35">
                  <a:moveTo>
                    <a:pt x="34" y="20"/>
                  </a:moveTo>
                  <a:cubicBezTo>
                    <a:pt x="22" y="0"/>
                    <a:pt x="22" y="0"/>
                    <a:pt x="22" y="0"/>
                  </a:cubicBezTo>
                  <a:cubicBezTo>
                    <a:pt x="17" y="8"/>
                    <a:pt x="9" y="14"/>
                    <a:pt x="0" y="17"/>
                  </a:cubicBezTo>
                  <a:cubicBezTo>
                    <a:pt x="10" y="34"/>
                    <a:pt x="10" y="34"/>
                    <a:pt x="10" y="34"/>
                  </a:cubicBezTo>
                  <a:cubicBezTo>
                    <a:pt x="10" y="35"/>
                    <a:pt x="11" y="35"/>
                    <a:pt x="12" y="35"/>
                  </a:cubicBezTo>
                  <a:cubicBezTo>
                    <a:pt x="12" y="35"/>
                    <a:pt x="12" y="35"/>
                    <a:pt x="12" y="35"/>
                  </a:cubicBezTo>
                  <a:cubicBezTo>
                    <a:pt x="13" y="35"/>
                    <a:pt x="13" y="34"/>
                    <a:pt x="13" y="34"/>
                  </a:cubicBezTo>
                  <a:cubicBezTo>
                    <a:pt x="18" y="21"/>
                    <a:pt x="18" y="21"/>
                    <a:pt x="18" y="21"/>
                  </a:cubicBezTo>
                  <a:cubicBezTo>
                    <a:pt x="32" y="23"/>
                    <a:pt x="32" y="23"/>
                    <a:pt x="32" y="23"/>
                  </a:cubicBezTo>
                  <a:cubicBezTo>
                    <a:pt x="33" y="23"/>
                    <a:pt x="34" y="23"/>
                    <a:pt x="34" y="22"/>
                  </a:cubicBezTo>
                  <a:cubicBezTo>
                    <a:pt x="34" y="21"/>
                    <a:pt x="34" y="21"/>
                    <a:pt x="34"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Arial"/>
                <a:cs typeface="+mn-cs"/>
              </a:endParaRPr>
            </a:p>
          </p:txBody>
        </p:sp>
        <p:sp>
          <p:nvSpPr>
            <p:cNvPr id="7" name="Freeform 70">
              <a:extLst>
                <a:ext uri="{FF2B5EF4-FFF2-40B4-BE49-F238E27FC236}">
                  <a16:creationId xmlns:a16="http://schemas.microsoft.com/office/drawing/2014/main" id="{9F756871-E274-414A-AB5F-3F21365752A5}"/>
                </a:ext>
              </a:extLst>
            </p:cNvPr>
            <p:cNvSpPr>
              <a:spLocks noEditPoints="1"/>
            </p:cNvSpPr>
            <p:nvPr/>
          </p:nvSpPr>
          <p:spPr bwMode="auto">
            <a:xfrm>
              <a:off x="8499463" y="5326689"/>
              <a:ext cx="179903" cy="179902"/>
            </a:xfrm>
            <a:custGeom>
              <a:avLst/>
              <a:gdLst>
                <a:gd name="T0" fmla="*/ 76 w 76"/>
                <a:gd name="T1" fmla="*/ 38 h 76"/>
                <a:gd name="T2" fmla="*/ 38 w 76"/>
                <a:gd name="T3" fmla="*/ 0 h 76"/>
                <a:gd name="T4" fmla="*/ 0 w 76"/>
                <a:gd name="T5" fmla="*/ 38 h 76"/>
                <a:gd name="T6" fmla="*/ 38 w 76"/>
                <a:gd name="T7" fmla="*/ 76 h 76"/>
                <a:gd name="T8" fmla="*/ 76 w 76"/>
                <a:gd name="T9" fmla="*/ 38 h 76"/>
                <a:gd name="T10" fmla="*/ 57 w 76"/>
                <a:gd name="T11" fmla="*/ 34 h 76"/>
                <a:gd name="T12" fmla="*/ 48 w 76"/>
                <a:gd name="T13" fmla="*/ 41 h 76"/>
                <a:gd name="T14" fmla="*/ 52 w 76"/>
                <a:gd name="T15" fmla="*/ 53 h 76"/>
                <a:gd name="T16" fmla="*/ 51 w 76"/>
                <a:gd name="T17" fmla="*/ 56 h 76"/>
                <a:gd name="T18" fmla="*/ 50 w 76"/>
                <a:gd name="T19" fmla="*/ 56 h 76"/>
                <a:gd name="T20" fmla="*/ 49 w 76"/>
                <a:gd name="T21" fmla="*/ 56 h 76"/>
                <a:gd name="T22" fmla="*/ 38 w 76"/>
                <a:gd name="T23" fmla="*/ 49 h 76"/>
                <a:gd name="T24" fmla="*/ 27 w 76"/>
                <a:gd name="T25" fmla="*/ 56 h 76"/>
                <a:gd name="T26" fmla="*/ 25 w 76"/>
                <a:gd name="T27" fmla="*/ 56 h 76"/>
                <a:gd name="T28" fmla="*/ 24 w 76"/>
                <a:gd name="T29" fmla="*/ 53 h 76"/>
                <a:gd name="T30" fmla="*/ 28 w 76"/>
                <a:gd name="T31" fmla="*/ 41 h 76"/>
                <a:gd name="T32" fmla="*/ 19 w 76"/>
                <a:gd name="T33" fmla="*/ 34 h 76"/>
                <a:gd name="T34" fmla="*/ 18 w 76"/>
                <a:gd name="T35" fmla="*/ 31 h 76"/>
                <a:gd name="T36" fmla="*/ 20 w 76"/>
                <a:gd name="T37" fmla="*/ 30 h 76"/>
                <a:gd name="T38" fmla="*/ 31 w 76"/>
                <a:gd name="T39" fmla="*/ 30 h 76"/>
                <a:gd name="T40" fmla="*/ 36 w 76"/>
                <a:gd name="T41" fmla="*/ 19 h 76"/>
                <a:gd name="T42" fmla="*/ 40 w 76"/>
                <a:gd name="T43" fmla="*/ 19 h 76"/>
                <a:gd name="T44" fmla="*/ 45 w 76"/>
                <a:gd name="T45" fmla="*/ 30 h 76"/>
                <a:gd name="T46" fmla="*/ 56 w 76"/>
                <a:gd name="T47" fmla="*/ 30 h 76"/>
                <a:gd name="T48" fmla="*/ 58 w 76"/>
                <a:gd name="T49" fmla="*/ 31 h 76"/>
                <a:gd name="T50" fmla="*/ 57 w 76"/>
                <a:gd name="T51" fmla="*/ 3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6" h="76">
                  <a:moveTo>
                    <a:pt x="76" y="38"/>
                  </a:moveTo>
                  <a:cubicBezTo>
                    <a:pt x="76" y="17"/>
                    <a:pt x="59" y="0"/>
                    <a:pt x="38" y="0"/>
                  </a:cubicBezTo>
                  <a:cubicBezTo>
                    <a:pt x="17" y="0"/>
                    <a:pt x="0" y="17"/>
                    <a:pt x="0" y="38"/>
                  </a:cubicBezTo>
                  <a:cubicBezTo>
                    <a:pt x="0" y="59"/>
                    <a:pt x="17" y="76"/>
                    <a:pt x="38" y="76"/>
                  </a:cubicBezTo>
                  <a:cubicBezTo>
                    <a:pt x="59" y="76"/>
                    <a:pt x="76" y="59"/>
                    <a:pt x="76" y="38"/>
                  </a:cubicBezTo>
                  <a:close/>
                  <a:moveTo>
                    <a:pt x="57" y="34"/>
                  </a:moveTo>
                  <a:cubicBezTo>
                    <a:pt x="48" y="41"/>
                    <a:pt x="48" y="41"/>
                    <a:pt x="48" y="41"/>
                  </a:cubicBezTo>
                  <a:cubicBezTo>
                    <a:pt x="52" y="53"/>
                    <a:pt x="52" y="53"/>
                    <a:pt x="52" y="53"/>
                  </a:cubicBezTo>
                  <a:cubicBezTo>
                    <a:pt x="52" y="54"/>
                    <a:pt x="52" y="55"/>
                    <a:pt x="51" y="56"/>
                  </a:cubicBezTo>
                  <a:cubicBezTo>
                    <a:pt x="51" y="56"/>
                    <a:pt x="50" y="56"/>
                    <a:pt x="50" y="56"/>
                  </a:cubicBezTo>
                  <a:cubicBezTo>
                    <a:pt x="50" y="56"/>
                    <a:pt x="49" y="56"/>
                    <a:pt x="49" y="56"/>
                  </a:cubicBezTo>
                  <a:cubicBezTo>
                    <a:pt x="38" y="49"/>
                    <a:pt x="38" y="49"/>
                    <a:pt x="38" y="49"/>
                  </a:cubicBezTo>
                  <a:cubicBezTo>
                    <a:pt x="27" y="56"/>
                    <a:pt x="27" y="56"/>
                    <a:pt x="27" y="56"/>
                  </a:cubicBezTo>
                  <a:cubicBezTo>
                    <a:pt x="26" y="56"/>
                    <a:pt x="25" y="56"/>
                    <a:pt x="25" y="56"/>
                  </a:cubicBezTo>
                  <a:cubicBezTo>
                    <a:pt x="24" y="55"/>
                    <a:pt x="24" y="54"/>
                    <a:pt x="24" y="53"/>
                  </a:cubicBezTo>
                  <a:cubicBezTo>
                    <a:pt x="28" y="41"/>
                    <a:pt x="28" y="41"/>
                    <a:pt x="28" y="41"/>
                  </a:cubicBezTo>
                  <a:cubicBezTo>
                    <a:pt x="19" y="34"/>
                    <a:pt x="19" y="34"/>
                    <a:pt x="19" y="34"/>
                  </a:cubicBezTo>
                  <a:cubicBezTo>
                    <a:pt x="18" y="33"/>
                    <a:pt x="18" y="32"/>
                    <a:pt x="18" y="31"/>
                  </a:cubicBezTo>
                  <a:cubicBezTo>
                    <a:pt x="18" y="31"/>
                    <a:pt x="19" y="30"/>
                    <a:pt x="20" y="30"/>
                  </a:cubicBezTo>
                  <a:cubicBezTo>
                    <a:pt x="31" y="30"/>
                    <a:pt x="31" y="30"/>
                    <a:pt x="31" y="30"/>
                  </a:cubicBezTo>
                  <a:cubicBezTo>
                    <a:pt x="36" y="19"/>
                    <a:pt x="36" y="19"/>
                    <a:pt x="36" y="19"/>
                  </a:cubicBezTo>
                  <a:cubicBezTo>
                    <a:pt x="37" y="18"/>
                    <a:pt x="39" y="18"/>
                    <a:pt x="40" y="19"/>
                  </a:cubicBezTo>
                  <a:cubicBezTo>
                    <a:pt x="45" y="30"/>
                    <a:pt x="45" y="30"/>
                    <a:pt x="45" y="30"/>
                  </a:cubicBezTo>
                  <a:cubicBezTo>
                    <a:pt x="56" y="30"/>
                    <a:pt x="56" y="30"/>
                    <a:pt x="56" y="30"/>
                  </a:cubicBezTo>
                  <a:cubicBezTo>
                    <a:pt x="57" y="30"/>
                    <a:pt x="58" y="31"/>
                    <a:pt x="58" y="31"/>
                  </a:cubicBezTo>
                  <a:cubicBezTo>
                    <a:pt x="58" y="32"/>
                    <a:pt x="58" y="33"/>
                    <a:pt x="57"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Arial"/>
                <a:cs typeface="+mn-cs"/>
              </a:endParaRPr>
            </a:p>
          </p:txBody>
        </p:sp>
      </p:grpSp>
      <p:grpSp>
        <p:nvGrpSpPr>
          <p:cNvPr id="8" name="Group 10">
            <a:extLst>
              <a:ext uri="{FF2B5EF4-FFF2-40B4-BE49-F238E27FC236}">
                <a16:creationId xmlns:a16="http://schemas.microsoft.com/office/drawing/2014/main" id="{F46E5680-F916-4547-86D6-ECB45261A746}"/>
              </a:ext>
            </a:extLst>
          </p:cNvPr>
          <p:cNvGrpSpPr/>
          <p:nvPr/>
        </p:nvGrpSpPr>
        <p:grpSpPr>
          <a:xfrm>
            <a:off x="839122" y="1444111"/>
            <a:ext cx="3496132" cy="4550980"/>
            <a:chOff x="839122" y="808537"/>
            <a:chExt cx="3496132" cy="4550980"/>
          </a:xfrm>
        </p:grpSpPr>
        <p:cxnSp>
          <p:nvCxnSpPr>
            <p:cNvPr id="9" name="Straight Connector 126">
              <a:extLst>
                <a:ext uri="{FF2B5EF4-FFF2-40B4-BE49-F238E27FC236}">
                  <a16:creationId xmlns:a16="http://schemas.microsoft.com/office/drawing/2014/main" id="{A494213F-0FDA-4797-982A-024EE555D84C}"/>
                </a:ext>
              </a:extLst>
            </p:cNvPr>
            <p:cNvCxnSpPr>
              <a:cxnSpLocks/>
            </p:cNvCxnSpPr>
            <p:nvPr/>
          </p:nvCxnSpPr>
          <p:spPr>
            <a:xfrm flipH="1">
              <a:off x="859164" y="2202535"/>
              <a:ext cx="3476090" cy="0"/>
            </a:xfrm>
            <a:prstGeom prst="line">
              <a:avLst/>
            </a:prstGeom>
            <a:ln>
              <a:solidFill>
                <a:schemeClr val="accent1"/>
              </a:solidFill>
              <a:headEnd type="oval"/>
              <a:tailEnd type="oval"/>
            </a:ln>
          </p:spPr>
          <p:style>
            <a:lnRef idx="1">
              <a:schemeClr val="accent1"/>
            </a:lnRef>
            <a:fillRef idx="0">
              <a:schemeClr val="accent1"/>
            </a:fillRef>
            <a:effectRef idx="0">
              <a:schemeClr val="accent1"/>
            </a:effectRef>
            <a:fontRef idx="minor">
              <a:schemeClr val="tx1"/>
            </a:fontRef>
          </p:style>
        </p:cxnSp>
        <p:grpSp>
          <p:nvGrpSpPr>
            <p:cNvPr id="10" name="Group 127">
              <a:extLst>
                <a:ext uri="{FF2B5EF4-FFF2-40B4-BE49-F238E27FC236}">
                  <a16:creationId xmlns:a16="http://schemas.microsoft.com/office/drawing/2014/main" id="{51FCD2D0-95A0-406D-B437-283E6B79D27C}"/>
                </a:ext>
              </a:extLst>
            </p:cNvPr>
            <p:cNvGrpSpPr/>
            <p:nvPr/>
          </p:nvGrpSpPr>
          <p:grpSpPr>
            <a:xfrm>
              <a:off x="839122" y="808537"/>
              <a:ext cx="3496132" cy="1025012"/>
              <a:chOff x="1668157" y="1501488"/>
              <a:chExt cx="3496132" cy="1025012"/>
            </a:xfrm>
          </p:grpSpPr>
          <p:sp>
            <p:nvSpPr>
              <p:cNvPr id="28" name="Rectangle 134">
                <a:extLst>
                  <a:ext uri="{FF2B5EF4-FFF2-40B4-BE49-F238E27FC236}">
                    <a16:creationId xmlns:a16="http://schemas.microsoft.com/office/drawing/2014/main" id="{DE06F521-7912-4548-B6A6-C32E46B3D067}"/>
                  </a:ext>
                </a:extLst>
              </p:cNvPr>
              <p:cNvSpPr/>
              <p:nvPr/>
            </p:nvSpPr>
            <p:spPr>
              <a:xfrm>
                <a:off x="2199087" y="1515166"/>
                <a:ext cx="1500845" cy="276999"/>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000000">
                        <a:lumMod val="75000"/>
                        <a:lumOff val="25000"/>
                      </a:srgbClr>
                    </a:solidFill>
                    <a:effectLst/>
                    <a:uLnTx/>
                    <a:uFillTx/>
                    <a:latin typeface="Gill Sans MT" panose="020B0502020104020203" pitchFamily="34" charset="0"/>
                    <a:cs typeface="Segoe UI" panose="020B0502040204020203" pitchFamily="34" charset="0"/>
                  </a:rPr>
                  <a:t>Lorem Ipsum</a:t>
                </a:r>
              </a:p>
            </p:txBody>
          </p:sp>
          <p:sp>
            <p:nvSpPr>
              <p:cNvPr id="29" name="Rectangle 135">
                <a:extLst>
                  <a:ext uri="{FF2B5EF4-FFF2-40B4-BE49-F238E27FC236}">
                    <a16:creationId xmlns:a16="http://schemas.microsoft.com/office/drawing/2014/main" id="{24F2C592-5A35-4FC1-BDCC-ED94BCC8BCB0}"/>
                  </a:ext>
                </a:extLst>
              </p:cNvPr>
              <p:cNvSpPr/>
              <p:nvPr/>
            </p:nvSpPr>
            <p:spPr>
              <a:xfrm>
                <a:off x="2199087" y="1880169"/>
                <a:ext cx="2965202" cy="646331"/>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lumMod val="75000"/>
                        <a:lumOff val="25000"/>
                      </a:srgbClr>
                    </a:solidFill>
                    <a:effectLst/>
                    <a:uLnTx/>
                    <a:uFillTx/>
                    <a:latin typeface="Gill Sans MT" panose="020B0502020104020203" pitchFamily="34" charset="0"/>
                    <a:cs typeface="Segoe UI" panose="020B0502040204020203" pitchFamily="34" charset="0"/>
                  </a:rPr>
                  <a:t>Lorem ipsum dolor sit </a:t>
                </a:r>
                <a:r>
                  <a:rPr kumimoji="0" lang="en-US" sz="1400" b="0" i="0" u="none" strike="noStrike" kern="0" cap="none" spc="0" normalizeH="0" baseline="0" noProof="0" dirty="0" err="1">
                    <a:ln>
                      <a:noFill/>
                    </a:ln>
                    <a:solidFill>
                      <a:srgbClr val="000000">
                        <a:lumMod val="75000"/>
                        <a:lumOff val="25000"/>
                      </a:srgbClr>
                    </a:solidFill>
                    <a:effectLst/>
                    <a:uLnTx/>
                    <a:uFillTx/>
                    <a:latin typeface="Gill Sans MT" panose="020B0502020104020203" pitchFamily="34" charset="0"/>
                    <a:cs typeface="Segoe UI" panose="020B0502040204020203" pitchFamily="34" charset="0"/>
                  </a:rPr>
                  <a:t>amet</a:t>
                </a:r>
                <a:r>
                  <a:rPr kumimoji="0" lang="en-US" sz="1400" b="0" i="0" u="none" strike="noStrike" kern="0" cap="none" spc="0" normalizeH="0" baseline="0" noProof="0" dirty="0">
                    <a:ln>
                      <a:noFill/>
                    </a:ln>
                    <a:solidFill>
                      <a:srgbClr val="000000">
                        <a:lumMod val="75000"/>
                        <a:lumOff val="25000"/>
                      </a:srgbClr>
                    </a:solidFill>
                    <a:effectLst/>
                    <a:uLnTx/>
                    <a:uFillTx/>
                    <a:latin typeface="Gill Sans MT" panose="020B0502020104020203" pitchFamily="34" charset="0"/>
                    <a:cs typeface="Segoe UI" panose="020B0502040204020203" pitchFamily="34" charset="0"/>
                  </a:rPr>
                  <a:t>, </a:t>
                </a:r>
                <a:r>
                  <a:rPr kumimoji="0" lang="en-US" sz="1400" b="0" i="0" u="none" strike="noStrike" kern="0" cap="none" spc="0" normalizeH="0" baseline="0" noProof="0" dirty="0" err="1">
                    <a:ln>
                      <a:noFill/>
                    </a:ln>
                    <a:solidFill>
                      <a:srgbClr val="000000">
                        <a:lumMod val="75000"/>
                        <a:lumOff val="25000"/>
                      </a:srgbClr>
                    </a:solidFill>
                    <a:effectLst/>
                    <a:uLnTx/>
                    <a:uFillTx/>
                    <a:latin typeface="Gill Sans MT" panose="020B0502020104020203" pitchFamily="34" charset="0"/>
                    <a:cs typeface="Segoe UI" panose="020B0502040204020203" pitchFamily="34" charset="0"/>
                  </a:rPr>
                  <a:t>consectetur</a:t>
                </a:r>
                <a:r>
                  <a:rPr kumimoji="0" lang="en-US" sz="1400" b="0" i="0" u="none" strike="noStrike" kern="0" cap="none" spc="0" normalizeH="0" baseline="0" noProof="0" dirty="0">
                    <a:ln>
                      <a:noFill/>
                    </a:ln>
                    <a:solidFill>
                      <a:srgbClr val="000000">
                        <a:lumMod val="75000"/>
                        <a:lumOff val="25000"/>
                      </a:srgbClr>
                    </a:solidFill>
                    <a:effectLst/>
                    <a:uLnTx/>
                    <a:uFillTx/>
                    <a:latin typeface="Gill Sans MT" panose="020B0502020104020203" pitchFamily="34" charset="0"/>
                    <a:cs typeface="Segoe UI" panose="020B0502040204020203" pitchFamily="34" charset="0"/>
                  </a:rPr>
                  <a:t> </a:t>
                </a:r>
                <a:r>
                  <a:rPr kumimoji="0" lang="en-US" sz="1400" b="0" i="0" u="none" strike="noStrike" kern="0" cap="none" spc="0" normalizeH="0" baseline="0" noProof="0" dirty="0" err="1">
                    <a:ln>
                      <a:noFill/>
                    </a:ln>
                    <a:solidFill>
                      <a:srgbClr val="000000">
                        <a:lumMod val="75000"/>
                        <a:lumOff val="25000"/>
                      </a:srgbClr>
                    </a:solidFill>
                    <a:effectLst/>
                    <a:uLnTx/>
                    <a:uFillTx/>
                    <a:latin typeface="Gill Sans MT" panose="020B0502020104020203" pitchFamily="34" charset="0"/>
                    <a:cs typeface="Segoe UI" panose="020B0502040204020203" pitchFamily="34" charset="0"/>
                  </a:rPr>
                  <a:t>adipiscing</a:t>
                </a:r>
                <a:r>
                  <a:rPr kumimoji="0" lang="en-US" sz="1400" b="0" i="0" u="none" strike="noStrike" kern="0" cap="none" spc="0" normalizeH="0" baseline="0" noProof="0" dirty="0">
                    <a:ln>
                      <a:noFill/>
                    </a:ln>
                    <a:solidFill>
                      <a:srgbClr val="000000">
                        <a:lumMod val="75000"/>
                        <a:lumOff val="25000"/>
                      </a:srgbClr>
                    </a:solidFill>
                    <a:effectLst/>
                    <a:uLnTx/>
                    <a:uFillTx/>
                    <a:latin typeface="Gill Sans MT" panose="020B0502020104020203" pitchFamily="34" charset="0"/>
                    <a:cs typeface="Segoe UI" panose="020B0502040204020203" pitchFamily="34" charset="0"/>
                  </a:rPr>
                  <a:t> </a:t>
                </a:r>
                <a:r>
                  <a:rPr kumimoji="0" lang="en-US" sz="1400" b="0" i="0" u="none" strike="noStrike" kern="0" cap="none" spc="0" normalizeH="0" baseline="0" noProof="0" dirty="0" err="1">
                    <a:ln>
                      <a:noFill/>
                    </a:ln>
                    <a:solidFill>
                      <a:srgbClr val="000000">
                        <a:lumMod val="75000"/>
                        <a:lumOff val="25000"/>
                      </a:srgbClr>
                    </a:solidFill>
                    <a:effectLst/>
                    <a:uLnTx/>
                    <a:uFillTx/>
                    <a:latin typeface="Gill Sans MT" panose="020B0502020104020203" pitchFamily="34" charset="0"/>
                    <a:cs typeface="Segoe UI" panose="020B0502040204020203" pitchFamily="34" charset="0"/>
                  </a:rPr>
                  <a:t>elit</a:t>
                </a:r>
                <a:r>
                  <a:rPr kumimoji="0" lang="en-US" sz="1400" b="0" i="0" u="none" strike="noStrike" kern="0" cap="none" spc="0" normalizeH="0" baseline="0" noProof="0" dirty="0">
                    <a:ln>
                      <a:noFill/>
                    </a:ln>
                    <a:solidFill>
                      <a:srgbClr val="000000">
                        <a:lumMod val="75000"/>
                        <a:lumOff val="25000"/>
                      </a:srgbClr>
                    </a:solidFill>
                    <a:effectLst/>
                    <a:uLnTx/>
                    <a:uFillTx/>
                    <a:latin typeface="Gill Sans MT" panose="020B0502020104020203" pitchFamily="34" charset="0"/>
                    <a:cs typeface="Segoe UI" panose="020B0502040204020203" pitchFamily="34" charset="0"/>
                  </a:rPr>
                  <a:t>. </a:t>
                </a:r>
                <a:r>
                  <a:rPr kumimoji="0" lang="en-US" sz="1400" b="0" i="0" u="none" strike="noStrike" kern="0" cap="none" spc="0" normalizeH="0" baseline="0" noProof="0" dirty="0" err="1">
                    <a:ln>
                      <a:noFill/>
                    </a:ln>
                    <a:solidFill>
                      <a:srgbClr val="000000">
                        <a:lumMod val="75000"/>
                        <a:lumOff val="25000"/>
                      </a:srgbClr>
                    </a:solidFill>
                    <a:effectLst/>
                    <a:uLnTx/>
                    <a:uFillTx/>
                    <a:latin typeface="Gill Sans MT" panose="020B0502020104020203" pitchFamily="34" charset="0"/>
                    <a:cs typeface="Segoe UI" panose="020B0502040204020203" pitchFamily="34" charset="0"/>
                  </a:rPr>
                  <a:t>Nulla</a:t>
                </a:r>
                <a:r>
                  <a:rPr kumimoji="0" lang="en-US" sz="1400" b="0" i="0" u="none" strike="noStrike" kern="0" cap="none" spc="0" normalizeH="0" baseline="0" noProof="0" dirty="0">
                    <a:ln>
                      <a:noFill/>
                    </a:ln>
                    <a:solidFill>
                      <a:srgbClr val="000000">
                        <a:lumMod val="75000"/>
                        <a:lumOff val="25000"/>
                      </a:srgbClr>
                    </a:solidFill>
                    <a:effectLst/>
                    <a:uLnTx/>
                    <a:uFillTx/>
                    <a:latin typeface="Gill Sans MT" panose="020B0502020104020203" pitchFamily="34" charset="0"/>
                    <a:cs typeface="Segoe UI" panose="020B0502040204020203" pitchFamily="34" charset="0"/>
                  </a:rPr>
                  <a:t> </a:t>
                </a:r>
                <a:r>
                  <a:rPr kumimoji="0" lang="en-US" sz="1400" b="0" i="0" u="none" strike="noStrike" kern="0" cap="none" spc="0" normalizeH="0" baseline="0" noProof="0" dirty="0" err="1">
                    <a:ln>
                      <a:noFill/>
                    </a:ln>
                    <a:solidFill>
                      <a:srgbClr val="000000">
                        <a:lumMod val="75000"/>
                        <a:lumOff val="25000"/>
                      </a:srgbClr>
                    </a:solidFill>
                    <a:effectLst/>
                    <a:uLnTx/>
                    <a:uFillTx/>
                    <a:latin typeface="Gill Sans MT" panose="020B0502020104020203" pitchFamily="34" charset="0"/>
                    <a:cs typeface="Segoe UI" panose="020B0502040204020203" pitchFamily="34" charset="0"/>
                  </a:rPr>
                  <a:t>eleifend</a:t>
                </a:r>
                <a:r>
                  <a:rPr kumimoji="0" lang="en-US" sz="1400" b="0" i="0" u="none" strike="noStrike" kern="0" cap="none" spc="0" normalizeH="0" baseline="0" noProof="0" dirty="0">
                    <a:ln>
                      <a:noFill/>
                    </a:ln>
                    <a:solidFill>
                      <a:srgbClr val="000000">
                        <a:lumMod val="75000"/>
                        <a:lumOff val="25000"/>
                      </a:srgbClr>
                    </a:solidFill>
                    <a:effectLst/>
                    <a:uLnTx/>
                    <a:uFillTx/>
                    <a:latin typeface="Gill Sans MT" panose="020B0502020104020203" pitchFamily="34" charset="0"/>
                    <a:cs typeface="Segoe UI" panose="020B0502040204020203" pitchFamily="34" charset="0"/>
                  </a:rPr>
                  <a:t> nisi sit </a:t>
                </a:r>
                <a:r>
                  <a:rPr kumimoji="0" lang="en-US" sz="1400" b="0" i="0" u="none" strike="noStrike" kern="0" cap="none" spc="0" normalizeH="0" baseline="0" noProof="0" dirty="0" err="1">
                    <a:ln>
                      <a:noFill/>
                    </a:ln>
                    <a:solidFill>
                      <a:srgbClr val="000000">
                        <a:lumMod val="75000"/>
                        <a:lumOff val="25000"/>
                      </a:srgbClr>
                    </a:solidFill>
                    <a:effectLst/>
                    <a:uLnTx/>
                    <a:uFillTx/>
                    <a:latin typeface="Gill Sans MT" panose="020B0502020104020203" pitchFamily="34" charset="0"/>
                    <a:cs typeface="Segoe UI" panose="020B0502040204020203" pitchFamily="34" charset="0"/>
                  </a:rPr>
                  <a:t>amet</a:t>
                </a:r>
                <a:r>
                  <a:rPr kumimoji="0" lang="en-US" sz="1400" b="0" i="0" u="none" strike="noStrike" kern="0" cap="none" spc="0" normalizeH="0" baseline="0" noProof="0" dirty="0">
                    <a:ln>
                      <a:noFill/>
                    </a:ln>
                    <a:solidFill>
                      <a:srgbClr val="000000">
                        <a:lumMod val="75000"/>
                        <a:lumOff val="25000"/>
                      </a:srgbClr>
                    </a:solidFill>
                    <a:effectLst/>
                    <a:uLnTx/>
                    <a:uFillTx/>
                    <a:latin typeface="Gill Sans MT" panose="020B0502020104020203" pitchFamily="34" charset="0"/>
                    <a:cs typeface="Segoe UI" panose="020B0502040204020203" pitchFamily="34" charset="0"/>
                  </a:rPr>
                  <a:t> </a:t>
                </a:r>
                <a:r>
                  <a:rPr kumimoji="0" lang="en-US" sz="1400" b="0" i="0" u="none" strike="noStrike" kern="0" cap="none" spc="0" normalizeH="0" baseline="0" noProof="0" dirty="0" err="1">
                    <a:ln>
                      <a:noFill/>
                    </a:ln>
                    <a:solidFill>
                      <a:srgbClr val="000000">
                        <a:lumMod val="75000"/>
                        <a:lumOff val="25000"/>
                      </a:srgbClr>
                    </a:solidFill>
                    <a:effectLst/>
                    <a:uLnTx/>
                    <a:uFillTx/>
                    <a:latin typeface="Gill Sans MT" panose="020B0502020104020203" pitchFamily="34" charset="0"/>
                    <a:cs typeface="Segoe UI" panose="020B0502040204020203" pitchFamily="34" charset="0"/>
                  </a:rPr>
                  <a:t>metus</a:t>
                </a:r>
                <a:r>
                  <a:rPr kumimoji="0" lang="en-US" sz="1400" b="0" i="0" u="none" strike="noStrike" kern="0" cap="none" spc="0" normalizeH="0" baseline="0" noProof="0" dirty="0">
                    <a:ln>
                      <a:noFill/>
                    </a:ln>
                    <a:solidFill>
                      <a:srgbClr val="000000">
                        <a:lumMod val="75000"/>
                        <a:lumOff val="25000"/>
                      </a:srgbClr>
                    </a:solidFill>
                    <a:effectLst/>
                    <a:uLnTx/>
                    <a:uFillTx/>
                    <a:latin typeface="Gill Sans MT" panose="020B0502020104020203" pitchFamily="34" charset="0"/>
                    <a:cs typeface="Segoe UI" panose="020B0502040204020203" pitchFamily="34" charset="0"/>
                  </a:rPr>
                  <a:t> </a:t>
                </a:r>
                <a:r>
                  <a:rPr kumimoji="0" lang="en-US" sz="1400" b="0" i="0" u="none" strike="noStrike" kern="0" cap="none" spc="0" normalizeH="0" baseline="0" noProof="0" dirty="0" err="1">
                    <a:ln>
                      <a:noFill/>
                    </a:ln>
                    <a:solidFill>
                      <a:srgbClr val="000000">
                        <a:lumMod val="75000"/>
                        <a:lumOff val="25000"/>
                      </a:srgbClr>
                    </a:solidFill>
                    <a:effectLst/>
                    <a:uLnTx/>
                    <a:uFillTx/>
                    <a:latin typeface="Gill Sans MT" panose="020B0502020104020203" pitchFamily="34" charset="0"/>
                    <a:cs typeface="Segoe UI" panose="020B0502040204020203" pitchFamily="34" charset="0"/>
                  </a:rPr>
                  <a:t>imperdiet</a:t>
                </a:r>
                <a:r>
                  <a:rPr kumimoji="0" lang="en-US" sz="1400" b="0" i="0" u="none" strike="noStrike" kern="0" cap="none" spc="0" normalizeH="0" baseline="0" noProof="0" dirty="0">
                    <a:ln>
                      <a:noFill/>
                    </a:ln>
                    <a:solidFill>
                      <a:srgbClr val="000000">
                        <a:lumMod val="75000"/>
                        <a:lumOff val="25000"/>
                      </a:srgbClr>
                    </a:solidFill>
                    <a:effectLst/>
                    <a:uLnTx/>
                    <a:uFillTx/>
                    <a:latin typeface="Gill Sans MT" panose="020B0502020104020203" pitchFamily="34" charset="0"/>
                    <a:cs typeface="Segoe UI" panose="020B0502040204020203" pitchFamily="34" charset="0"/>
                  </a:rPr>
                  <a:t> </a:t>
                </a:r>
                <a:r>
                  <a:rPr kumimoji="0" lang="en-US" sz="1400" b="0" i="0" u="none" strike="noStrike" kern="0" cap="none" spc="0" normalizeH="0" baseline="0" noProof="0" dirty="0" err="1">
                    <a:ln>
                      <a:noFill/>
                    </a:ln>
                    <a:solidFill>
                      <a:srgbClr val="000000">
                        <a:lumMod val="75000"/>
                        <a:lumOff val="25000"/>
                      </a:srgbClr>
                    </a:solidFill>
                    <a:effectLst/>
                    <a:uLnTx/>
                    <a:uFillTx/>
                    <a:latin typeface="Gill Sans MT" panose="020B0502020104020203" pitchFamily="34" charset="0"/>
                    <a:cs typeface="Segoe UI" panose="020B0502040204020203" pitchFamily="34" charset="0"/>
                  </a:rPr>
                  <a:t>fringilla</a:t>
                </a:r>
                <a:r>
                  <a:rPr kumimoji="0" lang="en-US" sz="1400" b="0" i="0" u="none" strike="noStrike" kern="0" cap="none" spc="0" normalizeH="0" baseline="0" noProof="0" dirty="0">
                    <a:ln>
                      <a:noFill/>
                    </a:ln>
                    <a:solidFill>
                      <a:srgbClr val="000000">
                        <a:lumMod val="75000"/>
                        <a:lumOff val="25000"/>
                      </a:srgbClr>
                    </a:solidFill>
                    <a:effectLst/>
                    <a:uLnTx/>
                    <a:uFillTx/>
                    <a:latin typeface="Gill Sans MT" panose="020B0502020104020203" pitchFamily="34" charset="0"/>
                    <a:cs typeface="Segoe UI" panose="020B0502040204020203" pitchFamily="34" charset="0"/>
                  </a:rPr>
                  <a:t>. </a:t>
                </a:r>
              </a:p>
            </p:txBody>
          </p:sp>
          <p:grpSp>
            <p:nvGrpSpPr>
              <p:cNvPr id="30" name="Group 136">
                <a:extLst>
                  <a:ext uri="{FF2B5EF4-FFF2-40B4-BE49-F238E27FC236}">
                    <a16:creationId xmlns:a16="http://schemas.microsoft.com/office/drawing/2014/main" id="{70A19CFF-1CB1-4887-A1AA-029610346CD4}"/>
                  </a:ext>
                </a:extLst>
              </p:cNvPr>
              <p:cNvGrpSpPr/>
              <p:nvPr/>
            </p:nvGrpSpPr>
            <p:grpSpPr>
              <a:xfrm rot="16200000">
                <a:off x="1336166" y="1833479"/>
                <a:ext cx="1025012" cy="361029"/>
                <a:chOff x="872552" y="3755789"/>
                <a:chExt cx="1025012" cy="361029"/>
              </a:xfrm>
            </p:grpSpPr>
            <p:grpSp>
              <p:nvGrpSpPr>
                <p:cNvPr id="31" name="Group 137">
                  <a:extLst>
                    <a:ext uri="{FF2B5EF4-FFF2-40B4-BE49-F238E27FC236}">
                      <a16:creationId xmlns:a16="http://schemas.microsoft.com/office/drawing/2014/main" id="{0D0E89C3-339D-4421-8399-AAEACC6F5B66}"/>
                    </a:ext>
                  </a:extLst>
                </p:cNvPr>
                <p:cNvGrpSpPr/>
                <p:nvPr/>
              </p:nvGrpSpPr>
              <p:grpSpPr>
                <a:xfrm>
                  <a:off x="872552" y="3755789"/>
                  <a:ext cx="1025012" cy="361029"/>
                  <a:chOff x="5983820" y="1091376"/>
                  <a:chExt cx="1533306" cy="540061"/>
                </a:xfrm>
              </p:grpSpPr>
              <p:sp>
                <p:nvSpPr>
                  <p:cNvPr id="33" name="Oval 139">
                    <a:extLst>
                      <a:ext uri="{FF2B5EF4-FFF2-40B4-BE49-F238E27FC236}">
                        <a16:creationId xmlns:a16="http://schemas.microsoft.com/office/drawing/2014/main" id="{98D3E2D2-8327-4A5D-9E23-64293B7E8101}"/>
                      </a:ext>
                    </a:extLst>
                  </p:cNvPr>
                  <p:cNvSpPr/>
                  <p:nvPr/>
                </p:nvSpPr>
                <p:spPr>
                  <a:xfrm>
                    <a:off x="6977063" y="1091376"/>
                    <a:ext cx="540063" cy="540061"/>
                  </a:xfrm>
                  <a:prstGeom prst="ellipse">
                    <a:avLst/>
                  </a:prstGeom>
                  <a:solidFill>
                    <a:sysClr val="window" lastClr="FFFFFF"/>
                  </a:solidFill>
                  <a:ln w="12700" cap="flat" cmpd="sng" algn="ctr">
                    <a:noFill/>
                    <a:prstDash val="solid"/>
                    <a:miter lim="800000"/>
                  </a:ln>
                  <a:effectLst>
                    <a:outerShdw blurRad="215900" sx="104000" sy="104000" algn="ctr" rotWithShape="0">
                      <a:prstClr val="black">
                        <a:alpha val="19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lumMod val="75000"/>
                          <a:lumOff val="25000"/>
                        </a:srgbClr>
                      </a:solidFill>
                      <a:effectLst/>
                      <a:uLnTx/>
                      <a:uFillTx/>
                      <a:latin typeface="Gill Sans MT" panose="020B0502020104020203" pitchFamily="34" charset="0"/>
                      <a:cs typeface="+mn-cs"/>
                    </a:endParaRPr>
                  </a:p>
                </p:txBody>
              </p:sp>
              <p:sp>
                <p:nvSpPr>
                  <p:cNvPr id="34" name="Flowchart: Stored Data 140">
                    <a:extLst>
                      <a:ext uri="{FF2B5EF4-FFF2-40B4-BE49-F238E27FC236}">
                        <a16:creationId xmlns:a16="http://schemas.microsoft.com/office/drawing/2014/main" id="{A6F30C27-1E59-4B02-B347-D92D9B5E3939}"/>
                      </a:ext>
                    </a:extLst>
                  </p:cNvPr>
                  <p:cNvSpPr/>
                  <p:nvPr/>
                </p:nvSpPr>
                <p:spPr>
                  <a:xfrm>
                    <a:off x="5983820" y="1096805"/>
                    <a:ext cx="1209933" cy="529201"/>
                  </a:xfrm>
                  <a:prstGeom prst="flowChartOnlineStorage">
                    <a:avLst/>
                  </a:prstGeom>
                  <a:gradFill flip="none" rotWithShape="1">
                    <a:gsLst>
                      <a:gs pos="100000">
                        <a:schemeClr val="accent1"/>
                      </a:gs>
                      <a:gs pos="0">
                        <a:schemeClr val="accent1"/>
                      </a:gs>
                    </a:gsLst>
                    <a:lin ang="2700000" scaled="1"/>
                    <a:tileRect/>
                  </a:gradFill>
                  <a:ln w="12700" cap="flat" cmpd="sng" algn="ctr">
                    <a:noFill/>
                    <a:prstDash val="solid"/>
                    <a:miter lim="800000"/>
                  </a:ln>
                  <a:effectLst/>
                </p:spPr>
                <p:txBody>
                  <a:bodyPr vert="vert"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0" cap="none" spc="0" normalizeH="0" baseline="0" noProof="0" dirty="0">
                      <a:ln>
                        <a:noFill/>
                      </a:ln>
                      <a:solidFill>
                        <a:srgbClr val="000000">
                          <a:lumMod val="75000"/>
                          <a:lumOff val="25000"/>
                        </a:srgbClr>
                      </a:solidFill>
                      <a:effectLst/>
                      <a:uLnTx/>
                      <a:uFillTx/>
                      <a:latin typeface="Gill Sans MT" panose="020B0502020104020203" pitchFamily="34" charset="0"/>
                      <a:cs typeface="+mn-cs"/>
                    </a:endParaRPr>
                  </a:p>
                </p:txBody>
              </p:sp>
            </p:grpSp>
            <p:sp>
              <p:nvSpPr>
                <p:cNvPr id="32" name="Freeform 150">
                  <a:extLst>
                    <a:ext uri="{FF2B5EF4-FFF2-40B4-BE49-F238E27FC236}">
                      <a16:creationId xmlns:a16="http://schemas.microsoft.com/office/drawing/2014/main" id="{E9098A2F-34AB-43D6-AE26-C6FD50007DA6}"/>
                    </a:ext>
                  </a:extLst>
                </p:cNvPr>
                <p:cNvSpPr>
                  <a:spLocks noEditPoints="1"/>
                </p:cNvSpPr>
                <p:nvPr/>
              </p:nvSpPr>
              <p:spPr bwMode="auto">
                <a:xfrm rot="5400000">
                  <a:off x="1636174" y="3843207"/>
                  <a:ext cx="194388" cy="195244"/>
                </a:xfrm>
                <a:custGeom>
                  <a:avLst/>
                  <a:gdLst>
                    <a:gd name="T0" fmla="*/ 48 w 96"/>
                    <a:gd name="T1" fmla="*/ 0 h 96"/>
                    <a:gd name="T2" fmla="*/ 0 w 96"/>
                    <a:gd name="T3" fmla="*/ 48 h 96"/>
                    <a:gd name="T4" fmla="*/ 48 w 96"/>
                    <a:gd name="T5" fmla="*/ 96 h 96"/>
                    <a:gd name="T6" fmla="*/ 96 w 96"/>
                    <a:gd name="T7" fmla="*/ 48 h 96"/>
                    <a:gd name="T8" fmla="*/ 48 w 96"/>
                    <a:gd name="T9" fmla="*/ 0 h 96"/>
                    <a:gd name="T10" fmla="*/ 72 w 96"/>
                    <a:gd name="T11" fmla="*/ 43 h 96"/>
                    <a:gd name="T12" fmla="*/ 70 w 96"/>
                    <a:gd name="T13" fmla="*/ 44 h 96"/>
                    <a:gd name="T14" fmla="*/ 54 w 96"/>
                    <a:gd name="T15" fmla="*/ 44 h 96"/>
                    <a:gd name="T16" fmla="*/ 52 w 96"/>
                    <a:gd name="T17" fmla="*/ 45 h 96"/>
                    <a:gd name="T18" fmla="*/ 50 w 96"/>
                    <a:gd name="T19" fmla="*/ 48 h 96"/>
                    <a:gd name="T20" fmla="*/ 64 w 96"/>
                    <a:gd name="T21" fmla="*/ 48 h 96"/>
                    <a:gd name="T22" fmla="*/ 66 w 96"/>
                    <a:gd name="T23" fmla="*/ 50 h 96"/>
                    <a:gd name="T24" fmla="*/ 64 w 96"/>
                    <a:gd name="T25" fmla="*/ 52 h 96"/>
                    <a:gd name="T26" fmla="*/ 46 w 96"/>
                    <a:gd name="T27" fmla="*/ 52 h 96"/>
                    <a:gd name="T28" fmla="*/ 42 w 96"/>
                    <a:gd name="T29" fmla="*/ 56 h 96"/>
                    <a:gd name="T30" fmla="*/ 58 w 96"/>
                    <a:gd name="T31" fmla="*/ 56 h 96"/>
                    <a:gd name="T32" fmla="*/ 60 w 96"/>
                    <a:gd name="T33" fmla="*/ 57 h 96"/>
                    <a:gd name="T34" fmla="*/ 60 w 96"/>
                    <a:gd name="T35" fmla="*/ 59 h 96"/>
                    <a:gd name="T36" fmla="*/ 37 w 96"/>
                    <a:gd name="T37" fmla="*/ 69 h 96"/>
                    <a:gd name="T38" fmla="*/ 30 w 96"/>
                    <a:gd name="T39" fmla="*/ 68 h 96"/>
                    <a:gd name="T40" fmla="*/ 25 w 96"/>
                    <a:gd name="T41" fmla="*/ 73 h 96"/>
                    <a:gd name="T42" fmla="*/ 22 w 96"/>
                    <a:gd name="T43" fmla="*/ 73 h 96"/>
                    <a:gd name="T44" fmla="*/ 22 w 96"/>
                    <a:gd name="T45" fmla="*/ 70 h 96"/>
                    <a:gd name="T46" fmla="*/ 27 w 96"/>
                    <a:gd name="T47" fmla="*/ 65 h 96"/>
                    <a:gd name="T48" fmla="*/ 28 w 96"/>
                    <a:gd name="T49" fmla="*/ 52 h 96"/>
                    <a:gd name="T50" fmla="*/ 40 w 96"/>
                    <a:gd name="T51" fmla="*/ 33 h 96"/>
                    <a:gd name="T52" fmla="*/ 57 w 96"/>
                    <a:gd name="T53" fmla="*/ 20 h 96"/>
                    <a:gd name="T54" fmla="*/ 59 w 96"/>
                    <a:gd name="T55" fmla="*/ 20 h 96"/>
                    <a:gd name="T56" fmla="*/ 60 w 96"/>
                    <a:gd name="T57" fmla="*/ 22 h 96"/>
                    <a:gd name="T58" fmla="*/ 60 w 96"/>
                    <a:gd name="T59" fmla="*/ 32 h 96"/>
                    <a:gd name="T60" fmla="*/ 70 w 96"/>
                    <a:gd name="T61" fmla="*/ 22 h 96"/>
                    <a:gd name="T62" fmla="*/ 73 w 96"/>
                    <a:gd name="T63" fmla="*/ 22 h 96"/>
                    <a:gd name="T64" fmla="*/ 72 w 96"/>
                    <a:gd name="T65" fmla="*/ 43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6" h="96">
                      <a:moveTo>
                        <a:pt x="48" y="0"/>
                      </a:moveTo>
                      <a:cubicBezTo>
                        <a:pt x="22" y="0"/>
                        <a:pt x="0" y="22"/>
                        <a:pt x="0" y="48"/>
                      </a:cubicBezTo>
                      <a:cubicBezTo>
                        <a:pt x="0" y="74"/>
                        <a:pt x="22" y="96"/>
                        <a:pt x="48" y="96"/>
                      </a:cubicBezTo>
                      <a:cubicBezTo>
                        <a:pt x="74" y="96"/>
                        <a:pt x="96" y="74"/>
                        <a:pt x="96" y="48"/>
                      </a:cubicBezTo>
                      <a:cubicBezTo>
                        <a:pt x="96" y="22"/>
                        <a:pt x="74" y="0"/>
                        <a:pt x="48" y="0"/>
                      </a:cubicBezTo>
                      <a:close/>
                      <a:moveTo>
                        <a:pt x="72" y="43"/>
                      </a:moveTo>
                      <a:cubicBezTo>
                        <a:pt x="71" y="44"/>
                        <a:pt x="71" y="44"/>
                        <a:pt x="70" y="44"/>
                      </a:cubicBezTo>
                      <a:cubicBezTo>
                        <a:pt x="54" y="44"/>
                        <a:pt x="54" y="44"/>
                        <a:pt x="54" y="44"/>
                      </a:cubicBezTo>
                      <a:cubicBezTo>
                        <a:pt x="52" y="45"/>
                        <a:pt x="52" y="45"/>
                        <a:pt x="52" y="45"/>
                      </a:cubicBezTo>
                      <a:cubicBezTo>
                        <a:pt x="50" y="48"/>
                        <a:pt x="50" y="48"/>
                        <a:pt x="50" y="48"/>
                      </a:cubicBezTo>
                      <a:cubicBezTo>
                        <a:pt x="64" y="48"/>
                        <a:pt x="64" y="48"/>
                        <a:pt x="64" y="48"/>
                      </a:cubicBezTo>
                      <a:cubicBezTo>
                        <a:pt x="65" y="48"/>
                        <a:pt x="66" y="49"/>
                        <a:pt x="66" y="50"/>
                      </a:cubicBezTo>
                      <a:cubicBezTo>
                        <a:pt x="66" y="51"/>
                        <a:pt x="65" y="52"/>
                        <a:pt x="64" y="52"/>
                      </a:cubicBezTo>
                      <a:cubicBezTo>
                        <a:pt x="46" y="52"/>
                        <a:pt x="46" y="52"/>
                        <a:pt x="46" y="52"/>
                      </a:cubicBezTo>
                      <a:cubicBezTo>
                        <a:pt x="42" y="56"/>
                        <a:pt x="42" y="56"/>
                        <a:pt x="42" y="56"/>
                      </a:cubicBezTo>
                      <a:cubicBezTo>
                        <a:pt x="58" y="56"/>
                        <a:pt x="58" y="56"/>
                        <a:pt x="58" y="56"/>
                      </a:cubicBezTo>
                      <a:cubicBezTo>
                        <a:pt x="59" y="56"/>
                        <a:pt x="60" y="57"/>
                        <a:pt x="60" y="57"/>
                      </a:cubicBezTo>
                      <a:cubicBezTo>
                        <a:pt x="60" y="58"/>
                        <a:pt x="60" y="59"/>
                        <a:pt x="60" y="59"/>
                      </a:cubicBezTo>
                      <a:cubicBezTo>
                        <a:pt x="53" y="66"/>
                        <a:pt x="44" y="69"/>
                        <a:pt x="37" y="69"/>
                      </a:cubicBezTo>
                      <a:cubicBezTo>
                        <a:pt x="34" y="69"/>
                        <a:pt x="32" y="69"/>
                        <a:pt x="30" y="68"/>
                      </a:cubicBezTo>
                      <a:cubicBezTo>
                        <a:pt x="25" y="73"/>
                        <a:pt x="25" y="73"/>
                        <a:pt x="25" y="73"/>
                      </a:cubicBezTo>
                      <a:cubicBezTo>
                        <a:pt x="24" y="74"/>
                        <a:pt x="23" y="74"/>
                        <a:pt x="22" y="73"/>
                      </a:cubicBezTo>
                      <a:cubicBezTo>
                        <a:pt x="21" y="72"/>
                        <a:pt x="21" y="71"/>
                        <a:pt x="22" y="70"/>
                      </a:cubicBezTo>
                      <a:cubicBezTo>
                        <a:pt x="27" y="65"/>
                        <a:pt x="27" y="65"/>
                        <a:pt x="27" y="65"/>
                      </a:cubicBezTo>
                      <a:cubicBezTo>
                        <a:pt x="25" y="62"/>
                        <a:pt x="26" y="57"/>
                        <a:pt x="28" y="52"/>
                      </a:cubicBezTo>
                      <a:cubicBezTo>
                        <a:pt x="30" y="45"/>
                        <a:pt x="34" y="39"/>
                        <a:pt x="40" y="33"/>
                      </a:cubicBezTo>
                      <a:cubicBezTo>
                        <a:pt x="46" y="27"/>
                        <a:pt x="53" y="22"/>
                        <a:pt x="57" y="20"/>
                      </a:cubicBezTo>
                      <a:cubicBezTo>
                        <a:pt x="58" y="20"/>
                        <a:pt x="59" y="20"/>
                        <a:pt x="59" y="20"/>
                      </a:cubicBezTo>
                      <a:cubicBezTo>
                        <a:pt x="60" y="21"/>
                        <a:pt x="60" y="21"/>
                        <a:pt x="60" y="22"/>
                      </a:cubicBezTo>
                      <a:cubicBezTo>
                        <a:pt x="60" y="32"/>
                        <a:pt x="60" y="32"/>
                        <a:pt x="60" y="32"/>
                      </a:cubicBezTo>
                      <a:cubicBezTo>
                        <a:pt x="70" y="22"/>
                        <a:pt x="70" y="22"/>
                        <a:pt x="70" y="22"/>
                      </a:cubicBezTo>
                      <a:cubicBezTo>
                        <a:pt x="71" y="21"/>
                        <a:pt x="72" y="21"/>
                        <a:pt x="73" y="22"/>
                      </a:cubicBezTo>
                      <a:cubicBezTo>
                        <a:pt x="78" y="26"/>
                        <a:pt x="77" y="34"/>
                        <a:pt x="72" y="43"/>
                      </a:cubicBezTo>
                      <a:close/>
                    </a:path>
                  </a:pathLst>
                </a:custGeom>
                <a:gradFill flip="none" rotWithShape="1">
                  <a:gsLst>
                    <a:gs pos="100000">
                      <a:schemeClr val="accent1"/>
                    </a:gs>
                    <a:gs pos="0">
                      <a:schemeClr val="accent1"/>
                    </a:gs>
                  </a:gsLst>
                  <a:lin ang="270000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lumMod val="75000"/>
                        <a:lumOff val="25000"/>
                      </a:srgbClr>
                    </a:solidFill>
                    <a:effectLst/>
                    <a:uLnTx/>
                    <a:uFillTx/>
                    <a:latin typeface="Arial"/>
                    <a:cs typeface="+mn-cs"/>
                  </a:endParaRPr>
                </a:p>
              </p:txBody>
            </p:sp>
          </p:grpSp>
        </p:grpSp>
        <p:grpSp>
          <p:nvGrpSpPr>
            <p:cNvPr id="11" name="Group 164">
              <a:extLst>
                <a:ext uri="{FF2B5EF4-FFF2-40B4-BE49-F238E27FC236}">
                  <a16:creationId xmlns:a16="http://schemas.microsoft.com/office/drawing/2014/main" id="{11044245-21D1-4E7C-AC50-5BCE92F3B206}"/>
                </a:ext>
              </a:extLst>
            </p:cNvPr>
            <p:cNvGrpSpPr/>
            <p:nvPr/>
          </p:nvGrpSpPr>
          <p:grpSpPr>
            <a:xfrm>
              <a:off x="839122" y="2571521"/>
              <a:ext cx="3496132" cy="1025012"/>
              <a:chOff x="1668157" y="1501488"/>
              <a:chExt cx="3496132" cy="1025012"/>
            </a:xfrm>
          </p:grpSpPr>
          <p:sp>
            <p:nvSpPr>
              <p:cNvPr id="21" name="Rectangle 165">
                <a:extLst>
                  <a:ext uri="{FF2B5EF4-FFF2-40B4-BE49-F238E27FC236}">
                    <a16:creationId xmlns:a16="http://schemas.microsoft.com/office/drawing/2014/main" id="{022D56A2-5BA7-41E8-9D60-0616ED7CD025}"/>
                  </a:ext>
                </a:extLst>
              </p:cNvPr>
              <p:cNvSpPr/>
              <p:nvPr/>
            </p:nvSpPr>
            <p:spPr>
              <a:xfrm>
                <a:off x="2199087" y="1515166"/>
                <a:ext cx="1500845" cy="276999"/>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000000">
                        <a:lumMod val="75000"/>
                        <a:lumOff val="25000"/>
                      </a:srgbClr>
                    </a:solidFill>
                    <a:effectLst/>
                    <a:uLnTx/>
                    <a:uFillTx/>
                    <a:latin typeface="Gill Sans MT" panose="020B0502020104020203" pitchFamily="34" charset="0"/>
                    <a:cs typeface="Segoe UI" panose="020B0502040204020203" pitchFamily="34" charset="0"/>
                  </a:rPr>
                  <a:t>Lorem Ipsum</a:t>
                </a:r>
              </a:p>
            </p:txBody>
          </p:sp>
          <p:sp>
            <p:nvSpPr>
              <p:cNvPr id="22" name="Rectangle 166">
                <a:extLst>
                  <a:ext uri="{FF2B5EF4-FFF2-40B4-BE49-F238E27FC236}">
                    <a16:creationId xmlns:a16="http://schemas.microsoft.com/office/drawing/2014/main" id="{FBA4CC04-E65B-401E-9E97-0A7522C1CFF3}"/>
                  </a:ext>
                </a:extLst>
              </p:cNvPr>
              <p:cNvSpPr/>
              <p:nvPr/>
            </p:nvSpPr>
            <p:spPr>
              <a:xfrm>
                <a:off x="2199087" y="1880169"/>
                <a:ext cx="2965202" cy="646331"/>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lumMod val="75000"/>
                        <a:lumOff val="25000"/>
                      </a:srgbClr>
                    </a:solidFill>
                    <a:effectLst/>
                    <a:uLnTx/>
                    <a:uFillTx/>
                    <a:latin typeface="Gill Sans MT" panose="020B0502020104020203" pitchFamily="34" charset="0"/>
                    <a:cs typeface="Segoe UI" panose="020B0502040204020203" pitchFamily="34" charset="0"/>
                  </a:rPr>
                  <a:t>Lorem ipsum dolor sit </a:t>
                </a:r>
                <a:r>
                  <a:rPr kumimoji="0" lang="en-US" sz="1400" b="0" i="0" u="none" strike="noStrike" kern="0" cap="none" spc="0" normalizeH="0" baseline="0" noProof="0" dirty="0" err="1">
                    <a:ln>
                      <a:noFill/>
                    </a:ln>
                    <a:solidFill>
                      <a:srgbClr val="000000">
                        <a:lumMod val="75000"/>
                        <a:lumOff val="25000"/>
                      </a:srgbClr>
                    </a:solidFill>
                    <a:effectLst/>
                    <a:uLnTx/>
                    <a:uFillTx/>
                    <a:latin typeface="Gill Sans MT" panose="020B0502020104020203" pitchFamily="34" charset="0"/>
                    <a:cs typeface="Segoe UI" panose="020B0502040204020203" pitchFamily="34" charset="0"/>
                  </a:rPr>
                  <a:t>amet</a:t>
                </a:r>
                <a:r>
                  <a:rPr kumimoji="0" lang="en-US" sz="1400" b="0" i="0" u="none" strike="noStrike" kern="0" cap="none" spc="0" normalizeH="0" baseline="0" noProof="0" dirty="0">
                    <a:ln>
                      <a:noFill/>
                    </a:ln>
                    <a:solidFill>
                      <a:srgbClr val="000000">
                        <a:lumMod val="75000"/>
                        <a:lumOff val="25000"/>
                      </a:srgbClr>
                    </a:solidFill>
                    <a:effectLst/>
                    <a:uLnTx/>
                    <a:uFillTx/>
                    <a:latin typeface="Gill Sans MT" panose="020B0502020104020203" pitchFamily="34" charset="0"/>
                    <a:cs typeface="Segoe UI" panose="020B0502040204020203" pitchFamily="34" charset="0"/>
                  </a:rPr>
                  <a:t>, </a:t>
                </a:r>
                <a:r>
                  <a:rPr kumimoji="0" lang="en-US" sz="1400" b="0" i="0" u="none" strike="noStrike" kern="0" cap="none" spc="0" normalizeH="0" baseline="0" noProof="0" dirty="0" err="1">
                    <a:ln>
                      <a:noFill/>
                    </a:ln>
                    <a:solidFill>
                      <a:srgbClr val="000000">
                        <a:lumMod val="75000"/>
                        <a:lumOff val="25000"/>
                      </a:srgbClr>
                    </a:solidFill>
                    <a:effectLst/>
                    <a:uLnTx/>
                    <a:uFillTx/>
                    <a:latin typeface="Gill Sans MT" panose="020B0502020104020203" pitchFamily="34" charset="0"/>
                    <a:cs typeface="Segoe UI" panose="020B0502040204020203" pitchFamily="34" charset="0"/>
                  </a:rPr>
                  <a:t>consectetur</a:t>
                </a:r>
                <a:r>
                  <a:rPr kumimoji="0" lang="en-US" sz="1400" b="0" i="0" u="none" strike="noStrike" kern="0" cap="none" spc="0" normalizeH="0" baseline="0" noProof="0" dirty="0">
                    <a:ln>
                      <a:noFill/>
                    </a:ln>
                    <a:solidFill>
                      <a:srgbClr val="000000">
                        <a:lumMod val="75000"/>
                        <a:lumOff val="25000"/>
                      </a:srgbClr>
                    </a:solidFill>
                    <a:effectLst/>
                    <a:uLnTx/>
                    <a:uFillTx/>
                    <a:latin typeface="Gill Sans MT" panose="020B0502020104020203" pitchFamily="34" charset="0"/>
                    <a:cs typeface="Segoe UI" panose="020B0502040204020203" pitchFamily="34" charset="0"/>
                  </a:rPr>
                  <a:t> </a:t>
                </a:r>
                <a:r>
                  <a:rPr kumimoji="0" lang="en-US" sz="1400" b="0" i="0" u="none" strike="noStrike" kern="0" cap="none" spc="0" normalizeH="0" baseline="0" noProof="0" dirty="0" err="1">
                    <a:ln>
                      <a:noFill/>
                    </a:ln>
                    <a:solidFill>
                      <a:srgbClr val="000000">
                        <a:lumMod val="75000"/>
                        <a:lumOff val="25000"/>
                      </a:srgbClr>
                    </a:solidFill>
                    <a:effectLst/>
                    <a:uLnTx/>
                    <a:uFillTx/>
                    <a:latin typeface="Gill Sans MT" panose="020B0502020104020203" pitchFamily="34" charset="0"/>
                    <a:cs typeface="Segoe UI" panose="020B0502040204020203" pitchFamily="34" charset="0"/>
                  </a:rPr>
                  <a:t>adipiscing</a:t>
                </a:r>
                <a:r>
                  <a:rPr kumimoji="0" lang="en-US" sz="1400" b="0" i="0" u="none" strike="noStrike" kern="0" cap="none" spc="0" normalizeH="0" baseline="0" noProof="0" dirty="0">
                    <a:ln>
                      <a:noFill/>
                    </a:ln>
                    <a:solidFill>
                      <a:srgbClr val="000000">
                        <a:lumMod val="75000"/>
                        <a:lumOff val="25000"/>
                      </a:srgbClr>
                    </a:solidFill>
                    <a:effectLst/>
                    <a:uLnTx/>
                    <a:uFillTx/>
                    <a:latin typeface="Gill Sans MT" panose="020B0502020104020203" pitchFamily="34" charset="0"/>
                    <a:cs typeface="Segoe UI" panose="020B0502040204020203" pitchFamily="34" charset="0"/>
                  </a:rPr>
                  <a:t> </a:t>
                </a:r>
                <a:r>
                  <a:rPr kumimoji="0" lang="en-US" sz="1400" b="0" i="0" u="none" strike="noStrike" kern="0" cap="none" spc="0" normalizeH="0" baseline="0" noProof="0" dirty="0" err="1">
                    <a:ln>
                      <a:noFill/>
                    </a:ln>
                    <a:solidFill>
                      <a:srgbClr val="000000">
                        <a:lumMod val="75000"/>
                        <a:lumOff val="25000"/>
                      </a:srgbClr>
                    </a:solidFill>
                    <a:effectLst/>
                    <a:uLnTx/>
                    <a:uFillTx/>
                    <a:latin typeface="Gill Sans MT" panose="020B0502020104020203" pitchFamily="34" charset="0"/>
                    <a:cs typeface="Segoe UI" panose="020B0502040204020203" pitchFamily="34" charset="0"/>
                  </a:rPr>
                  <a:t>elit</a:t>
                </a:r>
                <a:r>
                  <a:rPr kumimoji="0" lang="en-US" sz="1400" b="0" i="0" u="none" strike="noStrike" kern="0" cap="none" spc="0" normalizeH="0" baseline="0" noProof="0" dirty="0">
                    <a:ln>
                      <a:noFill/>
                    </a:ln>
                    <a:solidFill>
                      <a:srgbClr val="000000">
                        <a:lumMod val="75000"/>
                        <a:lumOff val="25000"/>
                      </a:srgbClr>
                    </a:solidFill>
                    <a:effectLst/>
                    <a:uLnTx/>
                    <a:uFillTx/>
                    <a:latin typeface="Gill Sans MT" panose="020B0502020104020203" pitchFamily="34" charset="0"/>
                    <a:cs typeface="Segoe UI" panose="020B0502040204020203" pitchFamily="34" charset="0"/>
                  </a:rPr>
                  <a:t>. </a:t>
                </a:r>
                <a:r>
                  <a:rPr kumimoji="0" lang="en-US" sz="1400" b="0" i="0" u="none" strike="noStrike" kern="0" cap="none" spc="0" normalizeH="0" baseline="0" noProof="0" dirty="0" err="1">
                    <a:ln>
                      <a:noFill/>
                    </a:ln>
                    <a:solidFill>
                      <a:srgbClr val="000000">
                        <a:lumMod val="75000"/>
                        <a:lumOff val="25000"/>
                      </a:srgbClr>
                    </a:solidFill>
                    <a:effectLst/>
                    <a:uLnTx/>
                    <a:uFillTx/>
                    <a:latin typeface="Gill Sans MT" panose="020B0502020104020203" pitchFamily="34" charset="0"/>
                    <a:cs typeface="Segoe UI" panose="020B0502040204020203" pitchFamily="34" charset="0"/>
                  </a:rPr>
                  <a:t>Nulla</a:t>
                </a:r>
                <a:r>
                  <a:rPr kumimoji="0" lang="en-US" sz="1400" b="0" i="0" u="none" strike="noStrike" kern="0" cap="none" spc="0" normalizeH="0" baseline="0" noProof="0" dirty="0">
                    <a:ln>
                      <a:noFill/>
                    </a:ln>
                    <a:solidFill>
                      <a:srgbClr val="000000">
                        <a:lumMod val="75000"/>
                        <a:lumOff val="25000"/>
                      </a:srgbClr>
                    </a:solidFill>
                    <a:effectLst/>
                    <a:uLnTx/>
                    <a:uFillTx/>
                    <a:latin typeface="Gill Sans MT" panose="020B0502020104020203" pitchFamily="34" charset="0"/>
                    <a:cs typeface="Segoe UI" panose="020B0502040204020203" pitchFamily="34" charset="0"/>
                  </a:rPr>
                  <a:t> </a:t>
                </a:r>
                <a:r>
                  <a:rPr kumimoji="0" lang="en-US" sz="1400" b="0" i="0" u="none" strike="noStrike" kern="0" cap="none" spc="0" normalizeH="0" baseline="0" noProof="0" dirty="0" err="1">
                    <a:ln>
                      <a:noFill/>
                    </a:ln>
                    <a:solidFill>
                      <a:srgbClr val="000000">
                        <a:lumMod val="75000"/>
                        <a:lumOff val="25000"/>
                      </a:srgbClr>
                    </a:solidFill>
                    <a:effectLst/>
                    <a:uLnTx/>
                    <a:uFillTx/>
                    <a:latin typeface="Gill Sans MT" panose="020B0502020104020203" pitchFamily="34" charset="0"/>
                    <a:cs typeface="Segoe UI" panose="020B0502040204020203" pitchFamily="34" charset="0"/>
                  </a:rPr>
                  <a:t>eleifend</a:t>
                </a:r>
                <a:r>
                  <a:rPr kumimoji="0" lang="en-US" sz="1400" b="0" i="0" u="none" strike="noStrike" kern="0" cap="none" spc="0" normalizeH="0" baseline="0" noProof="0" dirty="0">
                    <a:ln>
                      <a:noFill/>
                    </a:ln>
                    <a:solidFill>
                      <a:srgbClr val="000000">
                        <a:lumMod val="75000"/>
                        <a:lumOff val="25000"/>
                      </a:srgbClr>
                    </a:solidFill>
                    <a:effectLst/>
                    <a:uLnTx/>
                    <a:uFillTx/>
                    <a:latin typeface="Gill Sans MT" panose="020B0502020104020203" pitchFamily="34" charset="0"/>
                    <a:cs typeface="Segoe UI" panose="020B0502040204020203" pitchFamily="34" charset="0"/>
                  </a:rPr>
                  <a:t> nisi sit </a:t>
                </a:r>
                <a:r>
                  <a:rPr kumimoji="0" lang="en-US" sz="1400" b="0" i="0" u="none" strike="noStrike" kern="0" cap="none" spc="0" normalizeH="0" baseline="0" noProof="0" dirty="0" err="1">
                    <a:ln>
                      <a:noFill/>
                    </a:ln>
                    <a:solidFill>
                      <a:srgbClr val="000000">
                        <a:lumMod val="75000"/>
                        <a:lumOff val="25000"/>
                      </a:srgbClr>
                    </a:solidFill>
                    <a:effectLst/>
                    <a:uLnTx/>
                    <a:uFillTx/>
                    <a:latin typeface="Gill Sans MT" panose="020B0502020104020203" pitchFamily="34" charset="0"/>
                    <a:cs typeface="Segoe UI" panose="020B0502040204020203" pitchFamily="34" charset="0"/>
                  </a:rPr>
                  <a:t>amet</a:t>
                </a:r>
                <a:r>
                  <a:rPr kumimoji="0" lang="en-US" sz="1400" b="0" i="0" u="none" strike="noStrike" kern="0" cap="none" spc="0" normalizeH="0" baseline="0" noProof="0" dirty="0">
                    <a:ln>
                      <a:noFill/>
                    </a:ln>
                    <a:solidFill>
                      <a:srgbClr val="000000">
                        <a:lumMod val="75000"/>
                        <a:lumOff val="25000"/>
                      </a:srgbClr>
                    </a:solidFill>
                    <a:effectLst/>
                    <a:uLnTx/>
                    <a:uFillTx/>
                    <a:latin typeface="Gill Sans MT" panose="020B0502020104020203" pitchFamily="34" charset="0"/>
                    <a:cs typeface="Segoe UI" panose="020B0502040204020203" pitchFamily="34" charset="0"/>
                  </a:rPr>
                  <a:t> </a:t>
                </a:r>
                <a:r>
                  <a:rPr kumimoji="0" lang="en-US" sz="1400" b="0" i="0" u="none" strike="noStrike" kern="0" cap="none" spc="0" normalizeH="0" baseline="0" noProof="0" dirty="0" err="1">
                    <a:ln>
                      <a:noFill/>
                    </a:ln>
                    <a:solidFill>
                      <a:srgbClr val="000000">
                        <a:lumMod val="75000"/>
                        <a:lumOff val="25000"/>
                      </a:srgbClr>
                    </a:solidFill>
                    <a:effectLst/>
                    <a:uLnTx/>
                    <a:uFillTx/>
                    <a:latin typeface="Gill Sans MT" panose="020B0502020104020203" pitchFamily="34" charset="0"/>
                    <a:cs typeface="Segoe UI" panose="020B0502040204020203" pitchFamily="34" charset="0"/>
                  </a:rPr>
                  <a:t>metus</a:t>
                </a:r>
                <a:r>
                  <a:rPr kumimoji="0" lang="en-US" sz="1400" b="0" i="0" u="none" strike="noStrike" kern="0" cap="none" spc="0" normalizeH="0" baseline="0" noProof="0" dirty="0">
                    <a:ln>
                      <a:noFill/>
                    </a:ln>
                    <a:solidFill>
                      <a:srgbClr val="000000">
                        <a:lumMod val="75000"/>
                        <a:lumOff val="25000"/>
                      </a:srgbClr>
                    </a:solidFill>
                    <a:effectLst/>
                    <a:uLnTx/>
                    <a:uFillTx/>
                    <a:latin typeface="Gill Sans MT" panose="020B0502020104020203" pitchFamily="34" charset="0"/>
                    <a:cs typeface="Segoe UI" panose="020B0502040204020203" pitchFamily="34" charset="0"/>
                  </a:rPr>
                  <a:t> </a:t>
                </a:r>
                <a:r>
                  <a:rPr kumimoji="0" lang="en-US" sz="1400" b="0" i="0" u="none" strike="noStrike" kern="0" cap="none" spc="0" normalizeH="0" baseline="0" noProof="0" dirty="0" err="1">
                    <a:ln>
                      <a:noFill/>
                    </a:ln>
                    <a:solidFill>
                      <a:srgbClr val="000000">
                        <a:lumMod val="75000"/>
                        <a:lumOff val="25000"/>
                      </a:srgbClr>
                    </a:solidFill>
                    <a:effectLst/>
                    <a:uLnTx/>
                    <a:uFillTx/>
                    <a:latin typeface="Gill Sans MT" panose="020B0502020104020203" pitchFamily="34" charset="0"/>
                    <a:cs typeface="Segoe UI" panose="020B0502040204020203" pitchFamily="34" charset="0"/>
                  </a:rPr>
                  <a:t>imperdiet</a:t>
                </a:r>
                <a:r>
                  <a:rPr kumimoji="0" lang="en-US" sz="1400" b="0" i="0" u="none" strike="noStrike" kern="0" cap="none" spc="0" normalizeH="0" baseline="0" noProof="0" dirty="0">
                    <a:ln>
                      <a:noFill/>
                    </a:ln>
                    <a:solidFill>
                      <a:srgbClr val="000000">
                        <a:lumMod val="75000"/>
                        <a:lumOff val="25000"/>
                      </a:srgbClr>
                    </a:solidFill>
                    <a:effectLst/>
                    <a:uLnTx/>
                    <a:uFillTx/>
                    <a:latin typeface="Gill Sans MT" panose="020B0502020104020203" pitchFamily="34" charset="0"/>
                    <a:cs typeface="Segoe UI" panose="020B0502040204020203" pitchFamily="34" charset="0"/>
                  </a:rPr>
                  <a:t> </a:t>
                </a:r>
                <a:r>
                  <a:rPr kumimoji="0" lang="en-US" sz="1400" b="0" i="0" u="none" strike="noStrike" kern="0" cap="none" spc="0" normalizeH="0" baseline="0" noProof="0" dirty="0" err="1">
                    <a:ln>
                      <a:noFill/>
                    </a:ln>
                    <a:solidFill>
                      <a:srgbClr val="000000">
                        <a:lumMod val="75000"/>
                        <a:lumOff val="25000"/>
                      </a:srgbClr>
                    </a:solidFill>
                    <a:effectLst/>
                    <a:uLnTx/>
                    <a:uFillTx/>
                    <a:latin typeface="Gill Sans MT" panose="020B0502020104020203" pitchFamily="34" charset="0"/>
                    <a:cs typeface="Segoe UI" panose="020B0502040204020203" pitchFamily="34" charset="0"/>
                  </a:rPr>
                  <a:t>fringilla</a:t>
                </a:r>
                <a:r>
                  <a:rPr kumimoji="0" lang="en-US" sz="1400" b="0" i="0" u="none" strike="noStrike" kern="0" cap="none" spc="0" normalizeH="0" baseline="0" noProof="0" dirty="0">
                    <a:ln>
                      <a:noFill/>
                    </a:ln>
                    <a:solidFill>
                      <a:srgbClr val="000000">
                        <a:lumMod val="75000"/>
                        <a:lumOff val="25000"/>
                      </a:srgbClr>
                    </a:solidFill>
                    <a:effectLst/>
                    <a:uLnTx/>
                    <a:uFillTx/>
                    <a:latin typeface="Gill Sans MT" panose="020B0502020104020203" pitchFamily="34" charset="0"/>
                    <a:cs typeface="Segoe UI" panose="020B0502040204020203" pitchFamily="34" charset="0"/>
                  </a:rPr>
                  <a:t>. </a:t>
                </a:r>
              </a:p>
            </p:txBody>
          </p:sp>
          <p:grpSp>
            <p:nvGrpSpPr>
              <p:cNvPr id="23" name="Group 167">
                <a:extLst>
                  <a:ext uri="{FF2B5EF4-FFF2-40B4-BE49-F238E27FC236}">
                    <a16:creationId xmlns:a16="http://schemas.microsoft.com/office/drawing/2014/main" id="{205E3788-9448-472B-B8CB-D22E647C1BDB}"/>
                  </a:ext>
                </a:extLst>
              </p:cNvPr>
              <p:cNvGrpSpPr/>
              <p:nvPr/>
            </p:nvGrpSpPr>
            <p:grpSpPr>
              <a:xfrm rot="16200000">
                <a:off x="1336166" y="1833479"/>
                <a:ext cx="1025012" cy="361029"/>
                <a:chOff x="872552" y="3755789"/>
                <a:chExt cx="1025012" cy="361029"/>
              </a:xfrm>
            </p:grpSpPr>
            <p:grpSp>
              <p:nvGrpSpPr>
                <p:cNvPr id="24" name="Group 168">
                  <a:extLst>
                    <a:ext uri="{FF2B5EF4-FFF2-40B4-BE49-F238E27FC236}">
                      <a16:creationId xmlns:a16="http://schemas.microsoft.com/office/drawing/2014/main" id="{31E84035-EC53-43FF-9524-04C866B76817}"/>
                    </a:ext>
                  </a:extLst>
                </p:cNvPr>
                <p:cNvGrpSpPr/>
                <p:nvPr/>
              </p:nvGrpSpPr>
              <p:grpSpPr>
                <a:xfrm>
                  <a:off x="872552" y="3755789"/>
                  <a:ext cx="1025012" cy="361029"/>
                  <a:chOff x="5983820" y="1091376"/>
                  <a:chExt cx="1533306" cy="540061"/>
                </a:xfrm>
              </p:grpSpPr>
              <p:sp>
                <p:nvSpPr>
                  <p:cNvPr id="26" name="Oval 170">
                    <a:extLst>
                      <a:ext uri="{FF2B5EF4-FFF2-40B4-BE49-F238E27FC236}">
                        <a16:creationId xmlns:a16="http://schemas.microsoft.com/office/drawing/2014/main" id="{E541804C-3444-41A2-9979-80615ACA76BD}"/>
                      </a:ext>
                    </a:extLst>
                  </p:cNvPr>
                  <p:cNvSpPr/>
                  <p:nvPr/>
                </p:nvSpPr>
                <p:spPr>
                  <a:xfrm>
                    <a:off x="6977063" y="1091376"/>
                    <a:ext cx="540063" cy="540061"/>
                  </a:xfrm>
                  <a:prstGeom prst="ellipse">
                    <a:avLst/>
                  </a:prstGeom>
                  <a:solidFill>
                    <a:sysClr val="window" lastClr="FFFFFF"/>
                  </a:solidFill>
                  <a:ln w="12700" cap="flat" cmpd="sng" algn="ctr">
                    <a:noFill/>
                    <a:prstDash val="solid"/>
                    <a:miter lim="800000"/>
                  </a:ln>
                  <a:effectLst>
                    <a:outerShdw blurRad="215900" sx="104000" sy="104000" algn="ctr" rotWithShape="0">
                      <a:prstClr val="black">
                        <a:alpha val="19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lumMod val="75000"/>
                          <a:lumOff val="25000"/>
                        </a:srgbClr>
                      </a:solidFill>
                      <a:effectLst/>
                      <a:uLnTx/>
                      <a:uFillTx/>
                      <a:latin typeface="Gill Sans MT" panose="020B0502020104020203" pitchFamily="34" charset="0"/>
                      <a:cs typeface="+mn-cs"/>
                    </a:endParaRPr>
                  </a:p>
                </p:txBody>
              </p:sp>
              <p:sp>
                <p:nvSpPr>
                  <p:cNvPr id="27" name="Flowchart: Stored Data 171">
                    <a:extLst>
                      <a:ext uri="{FF2B5EF4-FFF2-40B4-BE49-F238E27FC236}">
                        <a16:creationId xmlns:a16="http://schemas.microsoft.com/office/drawing/2014/main" id="{F1E08661-2463-4254-AA9E-7FCF194AD18F}"/>
                      </a:ext>
                    </a:extLst>
                  </p:cNvPr>
                  <p:cNvSpPr/>
                  <p:nvPr/>
                </p:nvSpPr>
                <p:spPr>
                  <a:xfrm>
                    <a:off x="5983820" y="1096805"/>
                    <a:ext cx="1209933" cy="529201"/>
                  </a:xfrm>
                  <a:prstGeom prst="flowChartOnlineStorage">
                    <a:avLst/>
                  </a:prstGeom>
                  <a:solidFill>
                    <a:schemeClr val="accent1"/>
                  </a:solidFill>
                  <a:ln w="12700" cap="flat" cmpd="sng" algn="ctr">
                    <a:noFill/>
                    <a:prstDash val="solid"/>
                    <a:miter lim="800000"/>
                  </a:ln>
                  <a:effectLst/>
                </p:spPr>
                <p:txBody>
                  <a:bodyPr vert="vert"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0" cap="none" spc="0" normalizeH="0" baseline="0" noProof="0" dirty="0">
                      <a:ln>
                        <a:noFill/>
                      </a:ln>
                      <a:solidFill>
                        <a:srgbClr val="000000">
                          <a:lumMod val="75000"/>
                          <a:lumOff val="25000"/>
                        </a:srgbClr>
                      </a:solidFill>
                      <a:effectLst/>
                      <a:uLnTx/>
                      <a:uFillTx/>
                      <a:latin typeface="Gill Sans MT" panose="020B0502020104020203" pitchFamily="34" charset="0"/>
                      <a:cs typeface="+mn-cs"/>
                    </a:endParaRPr>
                  </a:p>
                </p:txBody>
              </p:sp>
            </p:grpSp>
            <p:sp>
              <p:nvSpPr>
                <p:cNvPr id="25" name="Freeform 150">
                  <a:extLst>
                    <a:ext uri="{FF2B5EF4-FFF2-40B4-BE49-F238E27FC236}">
                      <a16:creationId xmlns:a16="http://schemas.microsoft.com/office/drawing/2014/main" id="{BA2BF02B-4B3C-479A-8567-9BE01E0D7C1D}"/>
                    </a:ext>
                  </a:extLst>
                </p:cNvPr>
                <p:cNvSpPr>
                  <a:spLocks noEditPoints="1"/>
                </p:cNvSpPr>
                <p:nvPr/>
              </p:nvSpPr>
              <p:spPr bwMode="auto">
                <a:xfrm rot="5400000">
                  <a:off x="1636174" y="3843207"/>
                  <a:ext cx="194388" cy="195244"/>
                </a:xfrm>
                <a:custGeom>
                  <a:avLst/>
                  <a:gdLst>
                    <a:gd name="T0" fmla="*/ 48 w 96"/>
                    <a:gd name="T1" fmla="*/ 0 h 96"/>
                    <a:gd name="T2" fmla="*/ 0 w 96"/>
                    <a:gd name="T3" fmla="*/ 48 h 96"/>
                    <a:gd name="T4" fmla="*/ 48 w 96"/>
                    <a:gd name="T5" fmla="*/ 96 h 96"/>
                    <a:gd name="T6" fmla="*/ 96 w 96"/>
                    <a:gd name="T7" fmla="*/ 48 h 96"/>
                    <a:gd name="T8" fmla="*/ 48 w 96"/>
                    <a:gd name="T9" fmla="*/ 0 h 96"/>
                    <a:gd name="T10" fmla="*/ 72 w 96"/>
                    <a:gd name="T11" fmla="*/ 43 h 96"/>
                    <a:gd name="T12" fmla="*/ 70 w 96"/>
                    <a:gd name="T13" fmla="*/ 44 h 96"/>
                    <a:gd name="T14" fmla="*/ 54 w 96"/>
                    <a:gd name="T15" fmla="*/ 44 h 96"/>
                    <a:gd name="T16" fmla="*/ 52 w 96"/>
                    <a:gd name="T17" fmla="*/ 45 h 96"/>
                    <a:gd name="T18" fmla="*/ 50 w 96"/>
                    <a:gd name="T19" fmla="*/ 48 h 96"/>
                    <a:gd name="T20" fmla="*/ 64 w 96"/>
                    <a:gd name="T21" fmla="*/ 48 h 96"/>
                    <a:gd name="T22" fmla="*/ 66 w 96"/>
                    <a:gd name="T23" fmla="*/ 50 h 96"/>
                    <a:gd name="T24" fmla="*/ 64 w 96"/>
                    <a:gd name="T25" fmla="*/ 52 h 96"/>
                    <a:gd name="T26" fmla="*/ 46 w 96"/>
                    <a:gd name="T27" fmla="*/ 52 h 96"/>
                    <a:gd name="T28" fmla="*/ 42 w 96"/>
                    <a:gd name="T29" fmla="*/ 56 h 96"/>
                    <a:gd name="T30" fmla="*/ 58 w 96"/>
                    <a:gd name="T31" fmla="*/ 56 h 96"/>
                    <a:gd name="T32" fmla="*/ 60 w 96"/>
                    <a:gd name="T33" fmla="*/ 57 h 96"/>
                    <a:gd name="T34" fmla="*/ 60 w 96"/>
                    <a:gd name="T35" fmla="*/ 59 h 96"/>
                    <a:gd name="T36" fmla="*/ 37 w 96"/>
                    <a:gd name="T37" fmla="*/ 69 h 96"/>
                    <a:gd name="T38" fmla="*/ 30 w 96"/>
                    <a:gd name="T39" fmla="*/ 68 h 96"/>
                    <a:gd name="T40" fmla="*/ 25 w 96"/>
                    <a:gd name="T41" fmla="*/ 73 h 96"/>
                    <a:gd name="T42" fmla="*/ 22 w 96"/>
                    <a:gd name="T43" fmla="*/ 73 h 96"/>
                    <a:gd name="T44" fmla="*/ 22 w 96"/>
                    <a:gd name="T45" fmla="*/ 70 h 96"/>
                    <a:gd name="T46" fmla="*/ 27 w 96"/>
                    <a:gd name="T47" fmla="*/ 65 h 96"/>
                    <a:gd name="T48" fmla="*/ 28 w 96"/>
                    <a:gd name="T49" fmla="*/ 52 h 96"/>
                    <a:gd name="T50" fmla="*/ 40 w 96"/>
                    <a:gd name="T51" fmla="*/ 33 h 96"/>
                    <a:gd name="T52" fmla="*/ 57 w 96"/>
                    <a:gd name="T53" fmla="*/ 20 h 96"/>
                    <a:gd name="T54" fmla="*/ 59 w 96"/>
                    <a:gd name="T55" fmla="*/ 20 h 96"/>
                    <a:gd name="T56" fmla="*/ 60 w 96"/>
                    <a:gd name="T57" fmla="*/ 22 h 96"/>
                    <a:gd name="T58" fmla="*/ 60 w 96"/>
                    <a:gd name="T59" fmla="*/ 32 h 96"/>
                    <a:gd name="T60" fmla="*/ 70 w 96"/>
                    <a:gd name="T61" fmla="*/ 22 h 96"/>
                    <a:gd name="T62" fmla="*/ 73 w 96"/>
                    <a:gd name="T63" fmla="*/ 22 h 96"/>
                    <a:gd name="T64" fmla="*/ 72 w 96"/>
                    <a:gd name="T65" fmla="*/ 43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6" h="96">
                      <a:moveTo>
                        <a:pt x="48" y="0"/>
                      </a:moveTo>
                      <a:cubicBezTo>
                        <a:pt x="22" y="0"/>
                        <a:pt x="0" y="22"/>
                        <a:pt x="0" y="48"/>
                      </a:cubicBezTo>
                      <a:cubicBezTo>
                        <a:pt x="0" y="74"/>
                        <a:pt x="22" y="96"/>
                        <a:pt x="48" y="96"/>
                      </a:cubicBezTo>
                      <a:cubicBezTo>
                        <a:pt x="74" y="96"/>
                        <a:pt x="96" y="74"/>
                        <a:pt x="96" y="48"/>
                      </a:cubicBezTo>
                      <a:cubicBezTo>
                        <a:pt x="96" y="22"/>
                        <a:pt x="74" y="0"/>
                        <a:pt x="48" y="0"/>
                      </a:cubicBezTo>
                      <a:close/>
                      <a:moveTo>
                        <a:pt x="72" y="43"/>
                      </a:moveTo>
                      <a:cubicBezTo>
                        <a:pt x="71" y="44"/>
                        <a:pt x="71" y="44"/>
                        <a:pt x="70" y="44"/>
                      </a:cubicBezTo>
                      <a:cubicBezTo>
                        <a:pt x="54" y="44"/>
                        <a:pt x="54" y="44"/>
                        <a:pt x="54" y="44"/>
                      </a:cubicBezTo>
                      <a:cubicBezTo>
                        <a:pt x="52" y="45"/>
                        <a:pt x="52" y="45"/>
                        <a:pt x="52" y="45"/>
                      </a:cubicBezTo>
                      <a:cubicBezTo>
                        <a:pt x="50" y="48"/>
                        <a:pt x="50" y="48"/>
                        <a:pt x="50" y="48"/>
                      </a:cubicBezTo>
                      <a:cubicBezTo>
                        <a:pt x="64" y="48"/>
                        <a:pt x="64" y="48"/>
                        <a:pt x="64" y="48"/>
                      </a:cubicBezTo>
                      <a:cubicBezTo>
                        <a:pt x="65" y="48"/>
                        <a:pt x="66" y="49"/>
                        <a:pt x="66" y="50"/>
                      </a:cubicBezTo>
                      <a:cubicBezTo>
                        <a:pt x="66" y="51"/>
                        <a:pt x="65" y="52"/>
                        <a:pt x="64" y="52"/>
                      </a:cubicBezTo>
                      <a:cubicBezTo>
                        <a:pt x="46" y="52"/>
                        <a:pt x="46" y="52"/>
                        <a:pt x="46" y="52"/>
                      </a:cubicBezTo>
                      <a:cubicBezTo>
                        <a:pt x="42" y="56"/>
                        <a:pt x="42" y="56"/>
                        <a:pt x="42" y="56"/>
                      </a:cubicBezTo>
                      <a:cubicBezTo>
                        <a:pt x="58" y="56"/>
                        <a:pt x="58" y="56"/>
                        <a:pt x="58" y="56"/>
                      </a:cubicBezTo>
                      <a:cubicBezTo>
                        <a:pt x="59" y="56"/>
                        <a:pt x="60" y="57"/>
                        <a:pt x="60" y="57"/>
                      </a:cubicBezTo>
                      <a:cubicBezTo>
                        <a:pt x="60" y="58"/>
                        <a:pt x="60" y="59"/>
                        <a:pt x="60" y="59"/>
                      </a:cubicBezTo>
                      <a:cubicBezTo>
                        <a:pt x="53" y="66"/>
                        <a:pt x="44" y="69"/>
                        <a:pt x="37" y="69"/>
                      </a:cubicBezTo>
                      <a:cubicBezTo>
                        <a:pt x="34" y="69"/>
                        <a:pt x="32" y="69"/>
                        <a:pt x="30" y="68"/>
                      </a:cubicBezTo>
                      <a:cubicBezTo>
                        <a:pt x="25" y="73"/>
                        <a:pt x="25" y="73"/>
                        <a:pt x="25" y="73"/>
                      </a:cubicBezTo>
                      <a:cubicBezTo>
                        <a:pt x="24" y="74"/>
                        <a:pt x="23" y="74"/>
                        <a:pt x="22" y="73"/>
                      </a:cubicBezTo>
                      <a:cubicBezTo>
                        <a:pt x="21" y="72"/>
                        <a:pt x="21" y="71"/>
                        <a:pt x="22" y="70"/>
                      </a:cubicBezTo>
                      <a:cubicBezTo>
                        <a:pt x="27" y="65"/>
                        <a:pt x="27" y="65"/>
                        <a:pt x="27" y="65"/>
                      </a:cubicBezTo>
                      <a:cubicBezTo>
                        <a:pt x="25" y="62"/>
                        <a:pt x="26" y="57"/>
                        <a:pt x="28" y="52"/>
                      </a:cubicBezTo>
                      <a:cubicBezTo>
                        <a:pt x="30" y="45"/>
                        <a:pt x="34" y="39"/>
                        <a:pt x="40" y="33"/>
                      </a:cubicBezTo>
                      <a:cubicBezTo>
                        <a:pt x="46" y="27"/>
                        <a:pt x="53" y="22"/>
                        <a:pt x="57" y="20"/>
                      </a:cubicBezTo>
                      <a:cubicBezTo>
                        <a:pt x="58" y="20"/>
                        <a:pt x="59" y="20"/>
                        <a:pt x="59" y="20"/>
                      </a:cubicBezTo>
                      <a:cubicBezTo>
                        <a:pt x="60" y="21"/>
                        <a:pt x="60" y="21"/>
                        <a:pt x="60" y="22"/>
                      </a:cubicBezTo>
                      <a:cubicBezTo>
                        <a:pt x="60" y="32"/>
                        <a:pt x="60" y="32"/>
                        <a:pt x="60" y="32"/>
                      </a:cubicBezTo>
                      <a:cubicBezTo>
                        <a:pt x="70" y="22"/>
                        <a:pt x="70" y="22"/>
                        <a:pt x="70" y="22"/>
                      </a:cubicBezTo>
                      <a:cubicBezTo>
                        <a:pt x="71" y="21"/>
                        <a:pt x="72" y="21"/>
                        <a:pt x="73" y="22"/>
                      </a:cubicBezTo>
                      <a:cubicBezTo>
                        <a:pt x="78" y="26"/>
                        <a:pt x="77" y="34"/>
                        <a:pt x="72" y="43"/>
                      </a:cubicBezTo>
                      <a:close/>
                    </a:path>
                  </a:pathLst>
                </a:custGeom>
                <a:gradFill flip="none" rotWithShape="1">
                  <a:gsLst>
                    <a:gs pos="100000">
                      <a:schemeClr val="accent1"/>
                    </a:gs>
                    <a:gs pos="0">
                      <a:schemeClr val="accent1"/>
                    </a:gs>
                  </a:gsLst>
                  <a:lin ang="270000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lumMod val="75000"/>
                        <a:lumOff val="25000"/>
                      </a:srgbClr>
                    </a:solidFill>
                    <a:effectLst/>
                    <a:uLnTx/>
                    <a:uFillTx/>
                    <a:latin typeface="Arial"/>
                    <a:cs typeface="+mn-cs"/>
                  </a:endParaRPr>
                </a:p>
              </p:txBody>
            </p:sp>
          </p:grpSp>
        </p:grpSp>
        <p:grpSp>
          <p:nvGrpSpPr>
            <p:cNvPr id="12" name="Group 172">
              <a:extLst>
                <a:ext uri="{FF2B5EF4-FFF2-40B4-BE49-F238E27FC236}">
                  <a16:creationId xmlns:a16="http://schemas.microsoft.com/office/drawing/2014/main" id="{69FCCFC8-CCC2-4560-B08C-118CD467442D}"/>
                </a:ext>
              </a:extLst>
            </p:cNvPr>
            <p:cNvGrpSpPr/>
            <p:nvPr/>
          </p:nvGrpSpPr>
          <p:grpSpPr>
            <a:xfrm>
              <a:off x="839122" y="4334505"/>
              <a:ext cx="3496132" cy="1025012"/>
              <a:chOff x="1668157" y="1501488"/>
              <a:chExt cx="3496132" cy="1025012"/>
            </a:xfrm>
          </p:grpSpPr>
          <p:sp>
            <p:nvSpPr>
              <p:cNvPr id="14" name="Rectangle 173">
                <a:extLst>
                  <a:ext uri="{FF2B5EF4-FFF2-40B4-BE49-F238E27FC236}">
                    <a16:creationId xmlns:a16="http://schemas.microsoft.com/office/drawing/2014/main" id="{4C6CC4F7-FAE3-43C5-9787-399A10225DAB}"/>
                  </a:ext>
                </a:extLst>
              </p:cNvPr>
              <p:cNvSpPr/>
              <p:nvPr/>
            </p:nvSpPr>
            <p:spPr>
              <a:xfrm>
                <a:off x="2199087" y="1515166"/>
                <a:ext cx="1500845" cy="276999"/>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000000">
                        <a:lumMod val="75000"/>
                        <a:lumOff val="25000"/>
                      </a:srgbClr>
                    </a:solidFill>
                    <a:effectLst/>
                    <a:uLnTx/>
                    <a:uFillTx/>
                    <a:latin typeface="Gill Sans MT" panose="020B0502020104020203" pitchFamily="34" charset="0"/>
                    <a:cs typeface="Segoe UI" panose="020B0502040204020203" pitchFamily="34" charset="0"/>
                  </a:rPr>
                  <a:t>Lorem Ipsum</a:t>
                </a:r>
              </a:p>
            </p:txBody>
          </p:sp>
          <p:sp>
            <p:nvSpPr>
              <p:cNvPr id="15" name="Rectangle 174">
                <a:extLst>
                  <a:ext uri="{FF2B5EF4-FFF2-40B4-BE49-F238E27FC236}">
                    <a16:creationId xmlns:a16="http://schemas.microsoft.com/office/drawing/2014/main" id="{0CE9AC69-EC94-4FAC-8138-B7D3178D2B67}"/>
                  </a:ext>
                </a:extLst>
              </p:cNvPr>
              <p:cNvSpPr/>
              <p:nvPr/>
            </p:nvSpPr>
            <p:spPr>
              <a:xfrm>
                <a:off x="2199087" y="1880169"/>
                <a:ext cx="2965202" cy="646331"/>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lumMod val="75000"/>
                        <a:lumOff val="25000"/>
                      </a:srgbClr>
                    </a:solidFill>
                    <a:effectLst/>
                    <a:uLnTx/>
                    <a:uFillTx/>
                    <a:latin typeface="Gill Sans MT" panose="020B0502020104020203" pitchFamily="34" charset="0"/>
                    <a:cs typeface="Segoe UI" panose="020B0502040204020203" pitchFamily="34" charset="0"/>
                  </a:rPr>
                  <a:t>Lorem ipsum dolor sit </a:t>
                </a:r>
                <a:r>
                  <a:rPr kumimoji="0" lang="en-US" sz="1400" b="0" i="0" u="none" strike="noStrike" kern="0" cap="none" spc="0" normalizeH="0" baseline="0" noProof="0" dirty="0" err="1">
                    <a:ln>
                      <a:noFill/>
                    </a:ln>
                    <a:solidFill>
                      <a:srgbClr val="000000">
                        <a:lumMod val="75000"/>
                        <a:lumOff val="25000"/>
                      </a:srgbClr>
                    </a:solidFill>
                    <a:effectLst/>
                    <a:uLnTx/>
                    <a:uFillTx/>
                    <a:latin typeface="Gill Sans MT" panose="020B0502020104020203" pitchFamily="34" charset="0"/>
                    <a:cs typeface="Segoe UI" panose="020B0502040204020203" pitchFamily="34" charset="0"/>
                  </a:rPr>
                  <a:t>amet</a:t>
                </a:r>
                <a:r>
                  <a:rPr kumimoji="0" lang="en-US" sz="1400" b="0" i="0" u="none" strike="noStrike" kern="0" cap="none" spc="0" normalizeH="0" baseline="0" noProof="0" dirty="0">
                    <a:ln>
                      <a:noFill/>
                    </a:ln>
                    <a:solidFill>
                      <a:srgbClr val="000000">
                        <a:lumMod val="75000"/>
                        <a:lumOff val="25000"/>
                      </a:srgbClr>
                    </a:solidFill>
                    <a:effectLst/>
                    <a:uLnTx/>
                    <a:uFillTx/>
                    <a:latin typeface="Gill Sans MT" panose="020B0502020104020203" pitchFamily="34" charset="0"/>
                    <a:cs typeface="Segoe UI" panose="020B0502040204020203" pitchFamily="34" charset="0"/>
                  </a:rPr>
                  <a:t>, </a:t>
                </a:r>
                <a:r>
                  <a:rPr kumimoji="0" lang="en-US" sz="1400" b="0" i="0" u="none" strike="noStrike" kern="0" cap="none" spc="0" normalizeH="0" baseline="0" noProof="0" dirty="0" err="1">
                    <a:ln>
                      <a:noFill/>
                    </a:ln>
                    <a:solidFill>
                      <a:srgbClr val="000000">
                        <a:lumMod val="75000"/>
                        <a:lumOff val="25000"/>
                      </a:srgbClr>
                    </a:solidFill>
                    <a:effectLst/>
                    <a:uLnTx/>
                    <a:uFillTx/>
                    <a:latin typeface="Gill Sans MT" panose="020B0502020104020203" pitchFamily="34" charset="0"/>
                    <a:cs typeface="Segoe UI" panose="020B0502040204020203" pitchFamily="34" charset="0"/>
                  </a:rPr>
                  <a:t>consectetur</a:t>
                </a:r>
                <a:r>
                  <a:rPr kumimoji="0" lang="en-US" sz="1400" b="0" i="0" u="none" strike="noStrike" kern="0" cap="none" spc="0" normalizeH="0" baseline="0" noProof="0" dirty="0">
                    <a:ln>
                      <a:noFill/>
                    </a:ln>
                    <a:solidFill>
                      <a:srgbClr val="000000">
                        <a:lumMod val="75000"/>
                        <a:lumOff val="25000"/>
                      </a:srgbClr>
                    </a:solidFill>
                    <a:effectLst/>
                    <a:uLnTx/>
                    <a:uFillTx/>
                    <a:latin typeface="Gill Sans MT" panose="020B0502020104020203" pitchFamily="34" charset="0"/>
                    <a:cs typeface="Segoe UI" panose="020B0502040204020203" pitchFamily="34" charset="0"/>
                  </a:rPr>
                  <a:t> </a:t>
                </a:r>
                <a:r>
                  <a:rPr kumimoji="0" lang="en-US" sz="1400" b="0" i="0" u="none" strike="noStrike" kern="0" cap="none" spc="0" normalizeH="0" baseline="0" noProof="0" dirty="0" err="1">
                    <a:ln>
                      <a:noFill/>
                    </a:ln>
                    <a:solidFill>
                      <a:srgbClr val="000000">
                        <a:lumMod val="75000"/>
                        <a:lumOff val="25000"/>
                      </a:srgbClr>
                    </a:solidFill>
                    <a:effectLst/>
                    <a:uLnTx/>
                    <a:uFillTx/>
                    <a:latin typeface="Gill Sans MT" panose="020B0502020104020203" pitchFamily="34" charset="0"/>
                    <a:cs typeface="Segoe UI" panose="020B0502040204020203" pitchFamily="34" charset="0"/>
                  </a:rPr>
                  <a:t>adipiscing</a:t>
                </a:r>
                <a:r>
                  <a:rPr kumimoji="0" lang="en-US" sz="1400" b="0" i="0" u="none" strike="noStrike" kern="0" cap="none" spc="0" normalizeH="0" baseline="0" noProof="0" dirty="0">
                    <a:ln>
                      <a:noFill/>
                    </a:ln>
                    <a:solidFill>
                      <a:srgbClr val="000000">
                        <a:lumMod val="75000"/>
                        <a:lumOff val="25000"/>
                      </a:srgbClr>
                    </a:solidFill>
                    <a:effectLst/>
                    <a:uLnTx/>
                    <a:uFillTx/>
                    <a:latin typeface="Gill Sans MT" panose="020B0502020104020203" pitchFamily="34" charset="0"/>
                    <a:cs typeface="Segoe UI" panose="020B0502040204020203" pitchFamily="34" charset="0"/>
                  </a:rPr>
                  <a:t> </a:t>
                </a:r>
                <a:r>
                  <a:rPr kumimoji="0" lang="en-US" sz="1400" b="0" i="0" u="none" strike="noStrike" kern="0" cap="none" spc="0" normalizeH="0" baseline="0" noProof="0" dirty="0" err="1">
                    <a:ln>
                      <a:noFill/>
                    </a:ln>
                    <a:solidFill>
                      <a:srgbClr val="000000">
                        <a:lumMod val="75000"/>
                        <a:lumOff val="25000"/>
                      </a:srgbClr>
                    </a:solidFill>
                    <a:effectLst/>
                    <a:uLnTx/>
                    <a:uFillTx/>
                    <a:latin typeface="Gill Sans MT" panose="020B0502020104020203" pitchFamily="34" charset="0"/>
                    <a:cs typeface="Segoe UI" panose="020B0502040204020203" pitchFamily="34" charset="0"/>
                  </a:rPr>
                  <a:t>elit</a:t>
                </a:r>
                <a:r>
                  <a:rPr kumimoji="0" lang="en-US" sz="1400" b="0" i="0" u="none" strike="noStrike" kern="0" cap="none" spc="0" normalizeH="0" baseline="0" noProof="0" dirty="0">
                    <a:ln>
                      <a:noFill/>
                    </a:ln>
                    <a:solidFill>
                      <a:srgbClr val="000000">
                        <a:lumMod val="75000"/>
                        <a:lumOff val="25000"/>
                      </a:srgbClr>
                    </a:solidFill>
                    <a:effectLst/>
                    <a:uLnTx/>
                    <a:uFillTx/>
                    <a:latin typeface="Gill Sans MT" panose="020B0502020104020203" pitchFamily="34" charset="0"/>
                    <a:cs typeface="Segoe UI" panose="020B0502040204020203" pitchFamily="34" charset="0"/>
                  </a:rPr>
                  <a:t>. </a:t>
                </a:r>
                <a:r>
                  <a:rPr kumimoji="0" lang="en-US" sz="1400" b="0" i="0" u="none" strike="noStrike" kern="0" cap="none" spc="0" normalizeH="0" baseline="0" noProof="0" dirty="0" err="1">
                    <a:ln>
                      <a:noFill/>
                    </a:ln>
                    <a:solidFill>
                      <a:srgbClr val="000000">
                        <a:lumMod val="75000"/>
                        <a:lumOff val="25000"/>
                      </a:srgbClr>
                    </a:solidFill>
                    <a:effectLst/>
                    <a:uLnTx/>
                    <a:uFillTx/>
                    <a:latin typeface="Gill Sans MT" panose="020B0502020104020203" pitchFamily="34" charset="0"/>
                    <a:cs typeface="Segoe UI" panose="020B0502040204020203" pitchFamily="34" charset="0"/>
                  </a:rPr>
                  <a:t>Nulla</a:t>
                </a:r>
                <a:r>
                  <a:rPr kumimoji="0" lang="en-US" sz="1400" b="0" i="0" u="none" strike="noStrike" kern="0" cap="none" spc="0" normalizeH="0" baseline="0" noProof="0" dirty="0">
                    <a:ln>
                      <a:noFill/>
                    </a:ln>
                    <a:solidFill>
                      <a:srgbClr val="000000">
                        <a:lumMod val="75000"/>
                        <a:lumOff val="25000"/>
                      </a:srgbClr>
                    </a:solidFill>
                    <a:effectLst/>
                    <a:uLnTx/>
                    <a:uFillTx/>
                    <a:latin typeface="Gill Sans MT" panose="020B0502020104020203" pitchFamily="34" charset="0"/>
                    <a:cs typeface="Segoe UI" panose="020B0502040204020203" pitchFamily="34" charset="0"/>
                  </a:rPr>
                  <a:t> </a:t>
                </a:r>
                <a:r>
                  <a:rPr kumimoji="0" lang="en-US" sz="1400" b="0" i="0" u="none" strike="noStrike" kern="0" cap="none" spc="0" normalizeH="0" baseline="0" noProof="0" dirty="0" err="1">
                    <a:ln>
                      <a:noFill/>
                    </a:ln>
                    <a:solidFill>
                      <a:srgbClr val="000000">
                        <a:lumMod val="75000"/>
                        <a:lumOff val="25000"/>
                      </a:srgbClr>
                    </a:solidFill>
                    <a:effectLst/>
                    <a:uLnTx/>
                    <a:uFillTx/>
                    <a:latin typeface="Gill Sans MT" panose="020B0502020104020203" pitchFamily="34" charset="0"/>
                    <a:cs typeface="Segoe UI" panose="020B0502040204020203" pitchFamily="34" charset="0"/>
                  </a:rPr>
                  <a:t>eleifend</a:t>
                </a:r>
                <a:r>
                  <a:rPr kumimoji="0" lang="en-US" sz="1400" b="0" i="0" u="none" strike="noStrike" kern="0" cap="none" spc="0" normalizeH="0" baseline="0" noProof="0" dirty="0">
                    <a:ln>
                      <a:noFill/>
                    </a:ln>
                    <a:solidFill>
                      <a:srgbClr val="000000">
                        <a:lumMod val="75000"/>
                        <a:lumOff val="25000"/>
                      </a:srgbClr>
                    </a:solidFill>
                    <a:effectLst/>
                    <a:uLnTx/>
                    <a:uFillTx/>
                    <a:latin typeface="Gill Sans MT" panose="020B0502020104020203" pitchFamily="34" charset="0"/>
                    <a:cs typeface="Segoe UI" panose="020B0502040204020203" pitchFamily="34" charset="0"/>
                  </a:rPr>
                  <a:t> nisi sit </a:t>
                </a:r>
                <a:r>
                  <a:rPr kumimoji="0" lang="en-US" sz="1400" b="0" i="0" u="none" strike="noStrike" kern="0" cap="none" spc="0" normalizeH="0" baseline="0" noProof="0" dirty="0" err="1">
                    <a:ln>
                      <a:noFill/>
                    </a:ln>
                    <a:solidFill>
                      <a:srgbClr val="000000">
                        <a:lumMod val="75000"/>
                        <a:lumOff val="25000"/>
                      </a:srgbClr>
                    </a:solidFill>
                    <a:effectLst/>
                    <a:uLnTx/>
                    <a:uFillTx/>
                    <a:latin typeface="Gill Sans MT" panose="020B0502020104020203" pitchFamily="34" charset="0"/>
                    <a:cs typeface="Segoe UI" panose="020B0502040204020203" pitchFamily="34" charset="0"/>
                  </a:rPr>
                  <a:t>amet</a:t>
                </a:r>
                <a:r>
                  <a:rPr kumimoji="0" lang="en-US" sz="1400" b="0" i="0" u="none" strike="noStrike" kern="0" cap="none" spc="0" normalizeH="0" baseline="0" noProof="0" dirty="0">
                    <a:ln>
                      <a:noFill/>
                    </a:ln>
                    <a:solidFill>
                      <a:srgbClr val="000000">
                        <a:lumMod val="75000"/>
                        <a:lumOff val="25000"/>
                      </a:srgbClr>
                    </a:solidFill>
                    <a:effectLst/>
                    <a:uLnTx/>
                    <a:uFillTx/>
                    <a:latin typeface="Gill Sans MT" panose="020B0502020104020203" pitchFamily="34" charset="0"/>
                    <a:cs typeface="Segoe UI" panose="020B0502040204020203" pitchFamily="34" charset="0"/>
                  </a:rPr>
                  <a:t> </a:t>
                </a:r>
                <a:r>
                  <a:rPr kumimoji="0" lang="en-US" sz="1400" b="0" i="0" u="none" strike="noStrike" kern="0" cap="none" spc="0" normalizeH="0" baseline="0" noProof="0" dirty="0" err="1">
                    <a:ln>
                      <a:noFill/>
                    </a:ln>
                    <a:solidFill>
                      <a:srgbClr val="000000">
                        <a:lumMod val="75000"/>
                        <a:lumOff val="25000"/>
                      </a:srgbClr>
                    </a:solidFill>
                    <a:effectLst/>
                    <a:uLnTx/>
                    <a:uFillTx/>
                    <a:latin typeface="Gill Sans MT" panose="020B0502020104020203" pitchFamily="34" charset="0"/>
                    <a:cs typeface="Segoe UI" panose="020B0502040204020203" pitchFamily="34" charset="0"/>
                  </a:rPr>
                  <a:t>metus</a:t>
                </a:r>
                <a:r>
                  <a:rPr kumimoji="0" lang="en-US" sz="1400" b="0" i="0" u="none" strike="noStrike" kern="0" cap="none" spc="0" normalizeH="0" baseline="0" noProof="0" dirty="0">
                    <a:ln>
                      <a:noFill/>
                    </a:ln>
                    <a:solidFill>
                      <a:srgbClr val="000000">
                        <a:lumMod val="75000"/>
                        <a:lumOff val="25000"/>
                      </a:srgbClr>
                    </a:solidFill>
                    <a:effectLst/>
                    <a:uLnTx/>
                    <a:uFillTx/>
                    <a:latin typeface="Gill Sans MT" panose="020B0502020104020203" pitchFamily="34" charset="0"/>
                    <a:cs typeface="Segoe UI" panose="020B0502040204020203" pitchFamily="34" charset="0"/>
                  </a:rPr>
                  <a:t> </a:t>
                </a:r>
                <a:r>
                  <a:rPr kumimoji="0" lang="en-US" sz="1400" b="0" i="0" u="none" strike="noStrike" kern="0" cap="none" spc="0" normalizeH="0" baseline="0" noProof="0" dirty="0" err="1">
                    <a:ln>
                      <a:noFill/>
                    </a:ln>
                    <a:solidFill>
                      <a:srgbClr val="000000">
                        <a:lumMod val="75000"/>
                        <a:lumOff val="25000"/>
                      </a:srgbClr>
                    </a:solidFill>
                    <a:effectLst/>
                    <a:uLnTx/>
                    <a:uFillTx/>
                    <a:latin typeface="Gill Sans MT" panose="020B0502020104020203" pitchFamily="34" charset="0"/>
                    <a:cs typeface="Segoe UI" panose="020B0502040204020203" pitchFamily="34" charset="0"/>
                  </a:rPr>
                  <a:t>imperdiet</a:t>
                </a:r>
                <a:r>
                  <a:rPr kumimoji="0" lang="en-US" sz="1400" b="0" i="0" u="none" strike="noStrike" kern="0" cap="none" spc="0" normalizeH="0" baseline="0" noProof="0" dirty="0">
                    <a:ln>
                      <a:noFill/>
                    </a:ln>
                    <a:solidFill>
                      <a:srgbClr val="000000">
                        <a:lumMod val="75000"/>
                        <a:lumOff val="25000"/>
                      </a:srgbClr>
                    </a:solidFill>
                    <a:effectLst/>
                    <a:uLnTx/>
                    <a:uFillTx/>
                    <a:latin typeface="Gill Sans MT" panose="020B0502020104020203" pitchFamily="34" charset="0"/>
                    <a:cs typeface="Segoe UI" panose="020B0502040204020203" pitchFamily="34" charset="0"/>
                  </a:rPr>
                  <a:t> </a:t>
                </a:r>
                <a:r>
                  <a:rPr kumimoji="0" lang="en-US" sz="1400" b="0" i="0" u="none" strike="noStrike" kern="0" cap="none" spc="0" normalizeH="0" baseline="0" noProof="0" dirty="0" err="1">
                    <a:ln>
                      <a:noFill/>
                    </a:ln>
                    <a:solidFill>
                      <a:srgbClr val="000000">
                        <a:lumMod val="75000"/>
                        <a:lumOff val="25000"/>
                      </a:srgbClr>
                    </a:solidFill>
                    <a:effectLst/>
                    <a:uLnTx/>
                    <a:uFillTx/>
                    <a:latin typeface="Gill Sans MT" panose="020B0502020104020203" pitchFamily="34" charset="0"/>
                    <a:cs typeface="Segoe UI" panose="020B0502040204020203" pitchFamily="34" charset="0"/>
                  </a:rPr>
                  <a:t>fringilla</a:t>
                </a:r>
                <a:r>
                  <a:rPr kumimoji="0" lang="en-US" sz="1400" b="0" i="0" u="none" strike="noStrike" kern="0" cap="none" spc="0" normalizeH="0" baseline="0" noProof="0" dirty="0">
                    <a:ln>
                      <a:noFill/>
                    </a:ln>
                    <a:solidFill>
                      <a:srgbClr val="000000">
                        <a:lumMod val="75000"/>
                        <a:lumOff val="25000"/>
                      </a:srgbClr>
                    </a:solidFill>
                    <a:effectLst/>
                    <a:uLnTx/>
                    <a:uFillTx/>
                    <a:latin typeface="Gill Sans MT" panose="020B0502020104020203" pitchFamily="34" charset="0"/>
                    <a:cs typeface="Segoe UI" panose="020B0502040204020203" pitchFamily="34" charset="0"/>
                  </a:rPr>
                  <a:t>. </a:t>
                </a:r>
              </a:p>
            </p:txBody>
          </p:sp>
          <p:grpSp>
            <p:nvGrpSpPr>
              <p:cNvPr id="16" name="Group 175">
                <a:extLst>
                  <a:ext uri="{FF2B5EF4-FFF2-40B4-BE49-F238E27FC236}">
                    <a16:creationId xmlns:a16="http://schemas.microsoft.com/office/drawing/2014/main" id="{391C30E4-42C2-4186-8A8E-75363A1FC059}"/>
                  </a:ext>
                </a:extLst>
              </p:cNvPr>
              <p:cNvGrpSpPr/>
              <p:nvPr/>
            </p:nvGrpSpPr>
            <p:grpSpPr>
              <a:xfrm rot="16200000">
                <a:off x="1336166" y="1833479"/>
                <a:ext cx="1025012" cy="361029"/>
                <a:chOff x="872552" y="3755789"/>
                <a:chExt cx="1025012" cy="361029"/>
              </a:xfrm>
            </p:grpSpPr>
            <p:grpSp>
              <p:nvGrpSpPr>
                <p:cNvPr id="17" name="Group 176">
                  <a:extLst>
                    <a:ext uri="{FF2B5EF4-FFF2-40B4-BE49-F238E27FC236}">
                      <a16:creationId xmlns:a16="http://schemas.microsoft.com/office/drawing/2014/main" id="{298A6038-1A3A-4D80-943E-7AE9F1BBC01C}"/>
                    </a:ext>
                  </a:extLst>
                </p:cNvPr>
                <p:cNvGrpSpPr/>
                <p:nvPr/>
              </p:nvGrpSpPr>
              <p:grpSpPr>
                <a:xfrm>
                  <a:off x="872552" y="3755789"/>
                  <a:ext cx="1025012" cy="361029"/>
                  <a:chOff x="5983820" y="1091376"/>
                  <a:chExt cx="1533306" cy="540061"/>
                </a:xfrm>
              </p:grpSpPr>
              <p:sp>
                <p:nvSpPr>
                  <p:cNvPr id="19" name="Oval 178">
                    <a:extLst>
                      <a:ext uri="{FF2B5EF4-FFF2-40B4-BE49-F238E27FC236}">
                        <a16:creationId xmlns:a16="http://schemas.microsoft.com/office/drawing/2014/main" id="{FCBA3CDC-4AF5-4982-AC74-A4026B3BEA4E}"/>
                      </a:ext>
                    </a:extLst>
                  </p:cNvPr>
                  <p:cNvSpPr/>
                  <p:nvPr/>
                </p:nvSpPr>
                <p:spPr>
                  <a:xfrm>
                    <a:off x="6977063" y="1091376"/>
                    <a:ext cx="540063" cy="540061"/>
                  </a:xfrm>
                  <a:prstGeom prst="ellipse">
                    <a:avLst/>
                  </a:prstGeom>
                  <a:solidFill>
                    <a:sysClr val="window" lastClr="FFFFFF"/>
                  </a:solidFill>
                  <a:ln w="12700" cap="flat" cmpd="sng" algn="ctr">
                    <a:noFill/>
                    <a:prstDash val="solid"/>
                    <a:miter lim="800000"/>
                  </a:ln>
                  <a:effectLst>
                    <a:outerShdw blurRad="215900" sx="104000" sy="104000" algn="ctr" rotWithShape="0">
                      <a:prstClr val="black">
                        <a:alpha val="19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lumMod val="75000"/>
                          <a:lumOff val="25000"/>
                        </a:srgbClr>
                      </a:solidFill>
                      <a:effectLst/>
                      <a:uLnTx/>
                      <a:uFillTx/>
                      <a:latin typeface="Gill Sans MT" panose="020B0502020104020203" pitchFamily="34" charset="0"/>
                      <a:cs typeface="+mn-cs"/>
                    </a:endParaRPr>
                  </a:p>
                </p:txBody>
              </p:sp>
              <p:sp>
                <p:nvSpPr>
                  <p:cNvPr id="20" name="Flowchart: Stored Data 179">
                    <a:extLst>
                      <a:ext uri="{FF2B5EF4-FFF2-40B4-BE49-F238E27FC236}">
                        <a16:creationId xmlns:a16="http://schemas.microsoft.com/office/drawing/2014/main" id="{7BA3057E-DE6F-4AB3-9B0D-AFDE8F10757B}"/>
                      </a:ext>
                    </a:extLst>
                  </p:cNvPr>
                  <p:cNvSpPr/>
                  <p:nvPr/>
                </p:nvSpPr>
                <p:spPr>
                  <a:xfrm>
                    <a:off x="5983820" y="1096805"/>
                    <a:ext cx="1209933" cy="529201"/>
                  </a:xfrm>
                  <a:prstGeom prst="flowChartOnlineStorage">
                    <a:avLst/>
                  </a:prstGeom>
                  <a:gradFill flip="none" rotWithShape="1">
                    <a:gsLst>
                      <a:gs pos="100000">
                        <a:schemeClr val="accent1"/>
                      </a:gs>
                      <a:gs pos="0">
                        <a:schemeClr val="accent1"/>
                      </a:gs>
                    </a:gsLst>
                    <a:lin ang="2700000" scaled="1"/>
                    <a:tileRect/>
                  </a:gradFill>
                  <a:ln w="12700" cap="flat" cmpd="sng" algn="ctr">
                    <a:noFill/>
                    <a:prstDash val="solid"/>
                    <a:miter lim="800000"/>
                  </a:ln>
                  <a:effectLst/>
                </p:spPr>
                <p:txBody>
                  <a:bodyPr vert="vert"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0" cap="none" spc="0" normalizeH="0" baseline="0" noProof="0" dirty="0">
                      <a:ln>
                        <a:noFill/>
                      </a:ln>
                      <a:solidFill>
                        <a:srgbClr val="000000">
                          <a:lumMod val="75000"/>
                          <a:lumOff val="25000"/>
                        </a:srgbClr>
                      </a:solidFill>
                      <a:effectLst/>
                      <a:uLnTx/>
                      <a:uFillTx/>
                      <a:latin typeface="Gill Sans MT" panose="020B0502020104020203" pitchFamily="34" charset="0"/>
                      <a:cs typeface="+mn-cs"/>
                    </a:endParaRPr>
                  </a:p>
                </p:txBody>
              </p:sp>
            </p:grpSp>
            <p:sp>
              <p:nvSpPr>
                <p:cNvPr id="18" name="Freeform 150">
                  <a:extLst>
                    <a:ext uri="{FF2B5EF4-FFF2-40B4-BE49-F238E27FC236}">
                      <a16:creationId xmlns:a16="http://schemas.microsoft.com/office/drawing/2014/main" id="{0D678820-AEED-4231-B5BB-BAEA3ECC4754}"/>
                    </a:ext>
                  </a:extLst>
                </p:cNvPr>
                <p:cNvSpPr>
                  <a:spLocks noEditPoints="1"/>
                </p:cNvSpPr>
                <p:nvPr/>
              </p:nvSpPr>
              <p:spPr bwMode="auto">
                <a:xfrm rot="5400000">
                  <a:off x="1636174" y="3843207"/>
                  <a:ext cx="194388" cy="195244"/>
                </a:xfrm>
                <a:custGeom>
                  <a:avLst/>
                  <a:gdLst>
                    <a:gd name="T0" fmla="*/ 48 w 96"/>
                    <a:gd name="T1" fmla="*/ 0 h 96"/>
                    <a:gd name="T2" fmla="*/ 0 w 96"/>
                    <a:gd name="T3" fmla="*/ 48 h 96"/>
                    <a:gd name="T4" fmla="*/ 48 w 96"/>
                    <a:gd name="T5" fmla="*/ 96 h 96"/>
                    <a:gd name="T6" fmla="*/ 96 w 96"/>
                    <a:gd name="T7" fmla="*/ 48 h 96"/>
                    <a:gd name="T8" fmla="*/ 48 w 96"/>
                    <a:gd name="T9" fmla="*/ 0 h 96"/>
                    <a:gd name="T10" fmla="*/ 72 w 96"/>
                    <a:gd name="T11" fmla="*/ 43 h 96"/>
                    <a:gd name="T12" fmla="*/ 70 w 96"/>
                    <a:gd name="T13" fmla="*/ 44 h 96"/>
                    <a:gd name="T14" fmla="*/ 54 w 96"/>
                    <a:gd name="T15" fmla="*/ 44 h 96"/>
                    <a:gd name="T16" fmla="*/ 52 w 96"/>
                    <a:gd name="T17" fmla="*/ 45 h 96"/>
                    <a:gd name="T18" fmla="*/ 50 w 96"/>
                    <a:gd name="T19" fmla="*/ 48 h 96"/>
                    <a:gd name="T20" fmla="*/ 64 w 96"/>
                    <a:gd name="T21" fmla="*/ 48 h 96"/>
                    <a:gd name="T22" fmla="*/ 66 w 96"/>
                    <a:gd name="T23" fmla="*/ 50 h 96"/>
                    <a:gd name="T24" fmla="*/ 64 w 96"/>
                    <a:gd name="T25" fmla="*/ 52 h 96"/>
                    <a:gd name="T26" fmla="*/ 46 w 96"/>
                    <a:gd name="T27" fmla="*/ 52 h 96"/>
                    <a:gd name="T28" fmla="*/ 42 w 96"/>
                    <a:gd name="T29" fmla="*/ 56 h 96"/>
                    <a:gd name="T30" fmla="*/ 58 w 96"/>
                    <a:gd name="T31" fmla="*/ 56 h 96"/>
                    <a:gd name="T32" fmla="*/ 60 w 96"/>
                    <a:gd name="T33" fmla="*/ 57 h 96"/>
                    <a:gd name="T34" fmla="*/ 60 w 96"/>
                    <a:gd name="T35" fmla="*/ 59 h 96"/>
                    <a:gd name="T36" fmla="*/ 37 w 96"/>
                    <a:gd name="T37" fmla="*/ 69 h 96"/>
                    <a:gd name="T38" fmla="*/ 30 w 96"/>
                    <a:gd name="T39" fmla="*/ 68 h 96"/>
                    <a:gd name="T40" fmla="*/ 25 w 96"/>
                    <a:gd name="T41" fmla="*/ 73 h 96"/>
                    <a:gd name="T42" fmla="*/ 22 w 96"/>
                    <a:gd name="T43" fmla="*/ 73 h 96"/>
                    <a:gd name="T44" fmla="*/ 22 w 96"/>
                    <a:gd name="T45" fmla="*/ 70 h 96"/>
                    <a:gd name="T46" fmla="*/ 27 w 96"/>
                    <a:gd name="T47" fmla="*/ 65 h 96"/>
                    <a:gd name="T48" fmla="*/ 28 w 96"/>
                    <a:gd name="T49" fmla="*/ 52 h 96"/>
                    <a:gd name="T50" fmla="*/ 40 w 96"/>
                    <a:gd name="T51" fmla="*/ 33 h 96"/>
                    <a:gd name="T52" fmla="*/ 57 w 96"/>
                    <a:gd name="T53" fmla="*/ 20 h 96"/>
                    <a:gd name="T54" fmla="*/ 59 w 96"/>
                    <a:gd name="T55" fmla="*/ 20 h 96"/>
                    <a:gd name="T56" fmla="*/ 60 w 96"/>
                    <a:gd name="T57" fmla="*/ 22 h 96"/>
                    <a:gd name="T58" fmla="*/ 60 w 96"/>
                    <a:gd name="T59" fmla="*/ 32 h 96"/>
                    <a:gd name="T60" fmla="*/ 70 w 96"/>
                    <a:gd name="T61" fmla="*/ 22 h 96"/>
                    <a:gd name="T62" fmla="*/ 73 w 96"/>
                    <a:gd name="T63" fmla="*/ 22 h 96"/>
                    <a:gd name="T64" fmla="*/ 72 w 96"/>
                    <a:gd name="T65" fmla="*/ 43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6" h="96">
                      <a:moveTo>
                        <a:pt x="48" y="0"/>
                      </a:moveTo>
                      <a:cubicBezTo>
                        <a:pt x="22" y="0"/>
                        <a:pt x="0" y="22"/>
                        <a:pt x="0" y="48"/>
                      </a:cubicBezTo>
                      <a:cubicBezTo>
                        <a:pt x="0" y="74"/>
                        <a:pt x="22" y="96"/>
                        <a:pt x="48" y="96"/>
                      </a:cubicBezTo>
                      <a:cubicBezTo>
                        <a:pt x="74" y="96"/>
                        <a:pt x="96" y="74"/>
                        <a:pt x="96" y="48"/>
                      </a:cubicBezTo>
                      <a:cubicBezTo>
                        <a:pt x="96" y="22"/>
                        <a:pt x="74" y="0"/>
                        <a:pt x="48" y="0"/>
                      </a:cubicBezTo>
                      <a:close/>
                      <a:moveTo>
                        <a:pt x="72" y="43"/>
                      </a:moveTo>
                      <a:cubicBezTo>
                        <a:pt x="71" y="44"/>
                        <a:pt x="71" y="44"/>
                        <a:pt x="70" y="44"/>
                      </a:cubicBezTo>
                      <a:cubicBezTo>
                        <a:pt x="54" y="44"/>
                        <a:pt x="54" y="44"/>
                        <a:pt x="54" y="44"/>
                      </a:cubicBezTo>
                      <a:cubicBezTo>
                        <a:pt x="52" y="45"/>
                        <a:pt x="52" y="45"/>
                        <a:pt x="52" y="45"/>
                      </a:cubicBezTo>
                      <a:cubicBezTo>
                        <a:pt x="50" y="48"/>
                        <a:pt x="50" y="48"/>
                        <a:pt x="50" y="48"/>
                      </a:cubicBezTo>
                      <a:cubicBezTo>
                        <a:pt x="64" y="48"/>
                        <a:pt x="64" y="48"/>
                        <a:pt x="64" y="48"/>
                      </a:cubicBezTo>
                      <a:cubicBezTo>
                        <a:pt x="65" y="48"/>
                        <a:pt x="66" y="49"/>
                        <a:pt x="66" y="50"/>
                      </a:cubicBezTo>
                      <a:cubicBezTo>
                        <a:pt x="66" y="51"/>
                        <a:pt x="65" y="52"/>
                        <a:pt x="64" y="52"/>
                      </a:cubicBezTo>
                      <a:cubicBezTo>
                        <a:pt x="46" y="52"/>
                        <a:pt x="46" y="52"/>
                        <a:pt x="46" y="52"/>
                      </a:cubicBezTo>
                      <a:cubicBezTo>
                        <a:pt x="42" y="56"/>
                        <a:pt x="42" y="56"/>
                        <a:pt x="42" y="56"/>
                      </a:cubicBezTo>
                      <a:cubicBezTo>
                        <a:pt x="58" y="56"/>
                        <a:pt x="58" y="56"/>
                        <a:pt x="58" y="56"/>
                      </a:cubicBezTo>
                      <a:cubicBezTo>
                        <a:pt x="59" y="56"/>
                        <a:pt x="60" y="57"/>
                        <a:pt x="60" y="57"/>
                      </a:cubicBezTo>
                      <a:cubicBezTo>
                        <a:pt x="60" y="58"/>
                        <a:pt x="60" y="59"/>
                        <a:pt x="60" y="59"/>
                      </a:cubicBezTo>
                      <a:cubicBezTo>
                        <a:pt x="53" y="66"/>
                        <a:pt x="44" y="69"/>
                        <a:pt x="37" y="69"/>
                      </a:cubicBezTo>
                      <a:cubicBezTo>
                        <a:pt x="34" y="69"/>
                        <a:pt x="32" y="69"/>
                        <a:pt x="30" y="68"/>
                      </a:cubicBezTo>
                      <a:cubicBezTo>
                        <a:pt x="25" y="73"/>
                        <a:pt x="25" y="73"/>
                        <a:pt x="25" y="73"/>
                      </a:cubicBezTo>
                      <a:cubicBezTo>
                        <a:pt x="24" y="74"/>
                        <a:pt x="23" y="74"/>
                        <a:pt x="22" y="73"/>
                      </a:cubicBezTo>
                      <a:cubicBezTo>
                        <a:pt x="21" y="72"/>
                        <a:pt x="21" y="71"/>
                        <a:pt x="22" y="70"/>
                      </a:cubicBezTo>
                      <a:cubicBezTo>
                        <a:pt x="27" y="65"/>
                        <a:pt x="27" y="65"/>
                        <a:pt x="27" y="65"/>
                      </a:cubicBezTo>
                      <a:cubicBezTo>
                        <a:pt x="25" y="62"/>
                        <a:pt x="26" y="57"/>
                        <a:pt x="28" y="52"/>
                      </a:cubicBezTo>
                      <a:cubicBezTo>
                        <a:pt x="30" y="45"/>
                        <a:pt x="34" y="39"/>
                        <a:pt x="40" y="33"/>
                      </a:cubicBezTo>
                      <a:cubicBezTo>
                        <a:pt x="46" y="27"/>
                        <a:pt x="53" y="22"/>
                        <a:pt x="57" y="20"/>
                      </a:cubicBezTo>
                      <a:cubicBezTo>
                        <a:pt x="58" y="20"/>
                        <a:pt x="59" y="20"/>
                        <a:pt x="59" y="20"/>
                      </a:cubicBezTo>
                      <a:cubicBezTo>
                        <a:pt x="60" y="21"/>
                        <a:pt x="60" y="21"/>
                        <a:pt x="60" y="22"/>
                      </a:cubicBezTo>
                      <a:cubicBezTo>
                        <a:pt x="60" y="32"/>
                        <a:pt x="60" y="32"/>
                        <a:pt x="60" y="32"/>
                      </a:cubicBezTo>
                      <a:cubicBezTo>
                        <a:pt x="70" y="22"/>
                        <a:pt x="70" y="22"/>
                        <a:pt x="70" y="22"/>
                      </a:cubicBezTo>
                      <a:cubicBezTo>
                        <a:pt x="71" y="21"/>
                        <a:pt x="72" y="21"/>
                        <a:pt x="73" y="22"/>
                      </a:cubicBezTo>
                      <a:cubicBezTo>
                        <a:pt x="78" y="26"/>
                        <a:pt x="77" y="34"/>
                        <a:pt x="72" y="43"/>
                      </a:cubicBezTo>
                      <a:close/>
                    </a:path>
                  </a:pathLst>
                </a:custGeom>
                <a:gradFill flip="none" rotWithShape="1">
                  <a:gsLst>
                    <a:gs pos="100000">
                      <a:schemeClr val="accent1"/>
                    </a:gs>
                    <a:gs pos="0">
                      <a:schemeClr val="accent1"/>
                    </a:gs>
                  </a:gsLst>
                  <a:lin ang="270000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lumMod val="75000"/>
                        <a:lumOff val="25000"/>
                      </a:srgbClr>
                    </a:solidFill>
                    <a:effectLst/>
                    <a:uLnTx/>
                    <a:uFillTx/>
                    <a:latin typeface="Arial"/>
                    <a:cs typeface="+mn-cs"/>
                  </a:endParaRPr>
                </a:p>
              </p:txBody>
            </p:sp>
          </p:grpSp>
        </p:grpSp>
        <p:cxnSp>
          <p:nvCxnSpPr>
            <p:cNvPr id="13" name="Straight Connector 180">
              <a:extLst>
                <a:ext uri="{FF2B5EF4-FFF2-40B4-BE49-F238E27FC236}">
                  <a16:creationId xmlns:a16="http://schemas.microsoft.com/office/drawing/2014/main" id="{57CFB34A-076F-4778-A6F2-2B12D530281B}"/>
                </a:ext>
              </a:extLst>
            </p:cNvPr>
            <p:cNvCxnSpPr>
              <a:cxnSpLocks/>
            </p:cNvCxnSpPr>
            <p:nvPr/>
          </p:nvCxnSpPr>
          <p:spPr>
            <a:xfrm flipH="1">
              <a:off x="859164" y="3965519"/>
              <a:ext cx="3476090" cy="0"/>
            </a:xfrm>
            <a:prstGeom prst="line">
              <a:avLst/>
            </a:prstGeom>
            <a:ln>
              <a:solidFill>
                <a:schemeClr val="accent1"/>
              </a:solidFill>
              <a:headEnd type="oval"/>
              <a:tailEnd type="oval"/>
            </a:ln>
          </p:spPr>
          <p:style>
            <a:lnRef idx="1">
              <a:schemeClr val="accent1"/>
            </a:lnRef>
            <a:fillRef idx="0">
              <a:schemeClr val="accent1"/>
            </a:fillRef>
            <a:effectRef idx="0">
              <a:schemeClr val="accent1"/>
            </a:effectRef>
            <a:fontRef idx="minor">
              <a:schemeClr val="tx1"/>
            </a:fontRef>
          </p:style>
        </p:cxnSp>
      </p:grpSp>
      <p:grpSp>
        <p:nvGrpSpPr>
          <p:cNvPr id="35" name="Group 194">
            <a:extLst>
              <a:ext uri="{FF2B5EF4-FFF2-40B4-BE49-F238E27FC236}">
                <a16:creationId xmlns:a16="http://schemas.microsoft.com/office/drawing/2014/main" id="{99B66491-8D92-4E8D-BB94-6EBAEC83A18E}"/>
              </a:ext>
            </a:extLst>
          </p:cNvPr>
          <p:cNvGrpSpPr/>
          <p:nvPr/>
        </p:nvGrpSpPr>
        <p:grpSpPr>
          <a:xfrm flipH="1">
            <a:off x="7777519" y="1444111"/>
            <a:ext cx="3496132" cy="4550980"/>
            <a:chOff x="839122" y="808537"/>
            <a:chExt cx="3496132" cy="4550980"/>
          </a:xfrm>
        </p:grpSpPr>
        <p:cxnSp>
          <p:nvCxnSpPr>
            <p:cNvPr id="36" name="Straight Connector 195">
              <a:extLst>
                <a:ext uri="{FF2B5EF4-FFF2-40B4-BE49-F238E27FC236}">
                  <a16:creationId xmlns:a16="http://schemas.microsoft.com/office/drawing/2014/main" id="{22398645-2831-4DFA-B8BF-3A5FC361CE20}"/>
                </a:ext>
              </a:extLst>
            </p:cNvPr>
            <p:cNvCxnSpPr>
              <a:cxnSpLocks/>
            </p:cNvCxnSpPr>
            <p:nvPr/>
          </p:nvCxnSpPr>
          <p:spPr>
            <a:xfrm flipH="1">
              <a:off x="859164" y="2202535"/>
              <a:ext cx="3476090" cy="0"/>
            </a:xfrm>
            <a:prstGeom prst="line">
              <a:avLst/>
            </a:prstGeom>
            <a:ln>
              <a:solidFill>
                <a:schemeClr val="accent1"/>
              </a:solidFill>
              <a:headEnd type="oval"/>
              <a:tailEnd type="oval"/>
            </a:ln>
          </p:spPr>
          <p:style>
            <a:lnRef idx="1">
              <a:schemeClr val="accent1"/>
            </a:lnRef>
            <a:fillRef idx="0">
              <a:schemeClr val="accent1"/>
            </a:fillRef>
            <a:effectRef idx="0">
              <a:schemeClr val="accent1"/>
            </a:effectRef>
            <a:fontRef idx="minor">
              <a:schemeClr val="tx1"/>
            </a:fontRef>
          </p:style>
        </p:cxnSp>
        <p:grpSp>
          <p:nvGrpSpPr>
            <p:cNvPr id="37" name="Group 200">
              <a:extLst>
                <a:ext uri="{FF2B5EF4-FFF2-40B4-BE49-F238E27FC236}">
                  <a16:creationId xmlns:a16="http://schemas.microsoft.com/office/drawing/2014/main" id="{9A53D177-04D7-4575-89F0-4E5C67010E95}"/>
                </a:ext>
              </a:extLst>
            </p:cNvPr>
            <p:cNvGrpSpPr/>
            <p:nvPr/>
          </p:nvGrpSpPr>
          <p:grpSpPr>
            <a:xfrm>
              <a:off x="839122" y="808537"/>
              <a:ext cx="3496132" cy="1025012"/>
              <a:chOff x="1668157" y="1501488"/>
              <a:chExt cx="3496132" cy="1025012"/>
            </a:xfrm>
          </p:grpSpPr>
          <p:sp>
            <p:nvSpPr>
              <p:cNvPr id="55" name="Rectangle 228">
                <a:extLst>
                  <a:ext uri="{FF2B5EF4-FFF2-40B4-BE49-F238E27FC236}">
                    <a16:creationId xmlns:a16="http://schemas.microsoft.com/office/drawing/2014/main" id="{37AB7B5E-4955-4F61-A123-65571AAE8E44}"/>
                  </a:ext>
                </a:extLst>
              </p:cNvPr>
              <p:cNvSpPr/>
              <p:nvPr/>
            </p:nvSpPr>
            <p:spPr>
              <a:xfrm>
                <a:off x="2199087" y="1515166"/>
                <a:ext cx="1500845" cy="276999"/>
              </a:xfrm>
              <a:prstGeom prst="rect">
                <a:avLst/>
              </a:prstGeom>
            </p:spPr>
            <p:txBody>
              <a:bodyPr wrap="square" lIns="0" tIns="0" rIns="0" bIns="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000000">
                        <a:lumMod val="75000"/>
                        <a:lumOff val="25000"/>
                      </a:srgbClr>
                    </a:solidFill>
                    <a:effectLst/>
                    <a:uLnTx/>
                    <a:uFillTx/>
                    <a:latin typeface="Gill Sans MT" panose="020B0502020104020203" pitchFamily="34" charset="0"/>
                    <a:cs typeface="Segoe UI" panose="020B0502040204020203" pitchFamily="34" charset="0"/>
                  </a:rPr>
                  <a:t>Lorem Ipsum</a:t>
                </a:r>
              </a:p>
            </p:txBody>
          </p:sp>
          <p:sp>
            <p:nvSpPr>
              <p:cNvPr id="56" name="Rectangle 229">
                <a:extLst>
                  <a:ext uri="{FF2B5EF4-FFF2-40B4-BE49-F238E27FC236}">
                    <a16:creationId xmlns:a16="http://schemas.microsoft.com/office/drawing/2014/main" id="{1CF8B14A-735F-4933-A51A-20386FC45D31}"/>
                  </a:ext>
                </a:extLst>
              </p:cNvPr>
              <p:cNvSpPr/>
              <p:nvPr/>
            </p:nvSpPr>
            <p:spPr>
              <a:xfrm>
                <a:off x="2199087" y="1880169"/>
                <a:ext cx="2965202" cy="646331"/>
              </a:xfrm>
              <a:prstGeom prst="rect">
                <a:avLst/>
              </a:prstGeom>
            </p:spPr>
            <p:txBody>
              <a:bodyPr wrap="square" lIns="0" tIns="0" rIns="0" bIns="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lumMod val="75000"/>
                        <a:lumOff val="25000"/>
                      </a:srgbClr>
                    </a:solidFill>
                    <a:effectLst/>
                    <a:uLnTx/>
                    <a:uFillTx/>
                    <a:latin typeface="Gill Sans MT" panose="020B0502020104020203" pitchFamily="34" charset="0"/>
                    <a:cs typeface="Segoe UI" panose="020B0502040204020203" pitchFamily="34" charset="0"/>
                  </a:rPr>
                  <a:t>Lorem ipsum dolor sit </a:t>
                </a:r>
                <a:r>
                  <a:rPr kumimoji="0" lang="en-US" sz="1400" b="0" i="0" u="none" strike="noStrike" kern="0" cap="none" spc="0" normalizeH="0" baseline="0" noProof="0" dirty="0" err="1">
                    <a:ln>
                      <a:noFill/>
                    </a:ln>
                    <a:solidFill>
                      <a:srgbClr val="000000">
                        <a:lumMod val="75000"/>
                        <a:lumOff val="25000"/>
                      </a:srgbClr>
                    </a:solidFill>
                    <a:effectLst/>
                    <a:uLnTx/>
                    <a:uFillTx/>
                    <a:latin typeface="Gill Sans MT" panose="020B0502020104020203" pitchFamily="34" charset="0"/>
                    <a:cs typeface="Segoe UI" panose="020B0502040204020203" pitchFamily="34" charset="0"/>
                  </a:rPr>
                  <a:t>amet</a:t>
                </a:r>
                <a:r>
                  <a:rPr kumimoji="0" lang="en-US" sz="1400" b="0" i="0" u="none" strike="noStrike" kern="0" cap="none" spc="0" normalizeH="0" baseline="0" noProof="0" dirty="0">
                    <a:ln>
                      <a:noFill/>
                    </a:ln>
                    <a:solidFill>
                      <a:srgbClr val="000000">
                        <a:lumMod val="75000"/>
                        <a:lumOff val="25000"/>
                      </a:srgbClr>
                    </a:solidFill>
                    <a:effectLst/>
                    <a:uLnTx/>
                    <a:uFillTx/>
                    <a:latin typeface="Gill Sans MT" panose="020B0502020104020203" pitchFamily="34" charset="0"/>
                    <a:cs typeface="Segoe UI" panose="020B0502040204020203" pitchFamily="34" charset="0"/>
                  </a:rPr>
                  <a:t>, </a:t>
                </a:r>
                <a:r>
                  <a:rPr kumimoji="0" lang="en-US" sz="1400" b="0" i="0" u="none" strike="noStrike" kern="0" cap="none" spc="0" normalizeH="0" baseline="0" noProof="0" dirty="0" err="1">
                    <a:ln>
                      <a:noFill/>
                    </a:ln>
                    <a:solidFill>
                      <a:srgbClr val="000000">
                        <a:lumMod val="75000"/>
                        <a:lumOff val="25000"/>
                      </a:srgbClr>
                    </a:solidFill>
                    <a:effectLst/>
                    <a:uLnTx/>
                    <a:uFillTx/>
                    <a:latin typeface="Gill Sans MT" panose="020B0502020104020203" pitchFamily="34" charset="0"/>
                    <a:cs typeface="Segoe UI" panose="020B0502040204020203" pitchFamily="34" charset="0"/>
                  </a:rPr>
                  <a:t>consectetur</a:t>
                </a:r>
                <a:r>
                  <a:rPr kumimoji="0" lang="en-US" sz="1400" b="0" i="0" u="none" strike="noStrike" kern="0" cap="none" spc="0" normalizeH="0" baseline="0" noProof="0" dirty="0">
                    <a:ln>
                      <a:noFill/>
                    </a:ln>
                    <a:solidFill>
                      <a:srgbClr val="000000">
                        <a:lumMod val="75000"/>
                        <a:lumOff val="25000"/>
                      </a:srgbClr>
                    </a:solidFill>
                    <a:effectLst/>
                    <a:uLnTx/>
                    <a:uFillTx/>
                    <a:latin typeface="Gill Sans MT" panose="020B0502020104020203" pitchFamily="34" charset="0"/>
                    <a:cs typeface="Segoe UI" panose="020B0502040204020203" pitchFamily="34" charset="0"/>
                  </a:rPr>
                  <a:t> </a:t>
                </a:r>
                <a:r>
                  <a:rPr kumimoji="0" lang="en-US" sz="1400" b="0" i="0" u="none" strike="noStrike" kern="0" cap="none" spc="0" normalizeH="0" baseline="0" noProof="0" dirty="0" err="1">
                    <a:ln>
                      <a:noFill/>
                    </a:ln>
                    <a:solidFill>
                      <a:srgbClr val="000000">
                        <a:lumMod val="75000"/>
                        <a:lumOff val="25000"/>
                      </a:srgbClr>
                    </a:solidFill>
                    <a:effectLst/>
                    <a:uLnTx/>
                    <a:uFillTx/>
                    <a:latin typeface="Gill Sans MT" panose="020B0502020104020203" pitchFamily="34" charset="0"/>
                    <a:cs typeface="Segoe UI" panose="020B0502040204020203" pitchFamily="34" charset="0"/>
                  </a:rPr>
                  <a:t>adipiscing</a:t>
                </a:r>
                <a:r>
                  <a:rPr kumimoji="0" lang="en-US" sz="1400" b="0" i="0" u="none" strike="noStrike" kern="0" cap="none" spc="0" normalizeH="0" baseline="0" noProof="0" dirty="0">
                    <a:ln>
                      <a:noFill/>
                    </a:ln>
                    <a:solidFill>
                      <a:srgbClr val="000000">
                        <a:lumMod val="75000"/>
                        <a:lumOff val="25000"/>
                      </a:srgbClr>
                    </a:solidFill>
                    <a:effectLst/>
                    <a:uLnTx/>
                    <a:uFillTx/>
                    <a:latin typeface="Gill Sans MT" panose="020B0502020104020203" pitchFamily="34" charset="0"/>
                    <a:cs typeface="Segoe UI" panose="020B0502040204020203" pitchFamily="34" charset="0"/>
                  </a:rPr>
                  <a:t> </a:t>
                </a:r>
                <a:r>
                  <a:rPr kumimoji="0" lang="en-US" sz="1400" b="0" i="0" u="none" strike="noStrike" kern="0" cap="none" spc="0" normalizeH="0" baseline="0" noProof="0" dirty="0" err="1">
                    <a:ln>
                      <a:noFill/>
                    </a:ln>
                    <a:solidFill>
                      <a:srgbClr val="000000">
                        <a:lumMod val="75000"/>
                        <a:lumOff val="25000"/>
                      </a:srgbClr>
                    </a:solidFill>
                    <a:effectLst/>
                    <a:uLnTx/>
                    <a:uFillTx/>
                    <a:latin typeface="Gill Sans MT" panose="020B0502020104020203" pitchFamily="34" charset="0"/>
                    <a:cs typeface="Segoe UI" panose="020B0502040204020203" pitchFamily="34" charset="0"/>
                  </a:rPr>
                  <a:t>elit</a:t>
                </a:r>
                <a:r>
                  <a:rPr kumimoji="0" lang="en-US" sz="1400" b="0" i="0" u="none" strike="noStrike" kern="0" cap="none" spc="0" normalizeH="0" baseline="0" noProof="0" dirty="0">
                    <a:ln>
                      <a:noFill/>
                    </a:ln>
                    <a:solidFill>
                      <a:srgbClr val="000000">
                        <a:lumMod val="75000"/>
                        <a:lumOff val="25000"/>
                      </a:srgbClr>
                    </a:solidFill>
                    <a:effectLst/>
                    <a:uLnTx/>
                    <a:uFillTx/>
                    <a:latin typeface="Gill Sans MT" panose="020B0502020104020203" pitchFamily="34" charset="0"/>
                    <a:cs typeface="Segoe UI" panose="020B0502040204020203" pitchFamily="34" charset="0"/>
                  </a:rPr>
                  <a:t>. </a:t>
                </a:r>
                <a:r>
                  <a:rPr kumimoji="0" lang="en-US" sz="1400" b="0" i="0" u="none" strike="noStrike" kern="0" cap="none" spc="0" normalizeH="0" baseline="0" noProof="0" dirty="0" err="1">
                    <a:ln>
                      <a:noFill/>
                    </a:ln>
                    <a:solidFill>
                      <a:srgbClr val="000000">
                        <a:lumMod val="75000"/>
                        <a:lumOff val="25000"/>
                      </a:srgbClr>
                    </a:solidFill>
                    <a:effectLst/>
                    <a:uLnTx/>
                    <a:uFillTx/>
                    <a:latin typeface="Gill Sans MT" panose="020B0502020104020203" pitchFamily="34" charset="0"/>
                    <a:cs typeface="Segoe UI" panose="020B0502040204020203" pitchFamily="34" charset="0"/>
                  </a:rPr>
                  <a:t>Nulla</a:t>
                </a:r>
                <a:r>
                  <a:rPr kumimoji="0" lang="en-US" sz="1400" b="0" i="0" u="none" strike="noStrike" kern="0" cap="none" spc="0" normalizeH="0" baseline="0" noProof="0" dirty="0">
                    <a:ln>
                      <a:noFill/>
                    </a:ln>
                    <a:solidFill>
                      <a:srgbClr val="000000">
                        <a:lumMod val="75000"/>
                        <a:lumOff val="25000"/>
                      </a:srgbClr>
                    </a:solidFill>
                    <a:effectLst/>
                    <a:uLnTx/>
                    <a:uFillTx/>
                    <a:latin typeface="Gill Sans MT" panose="020B0502020104020203" pitchFamily="34" charset="0"/>
                    <a:cs typeface="Segoe UI" panose="020B0502040204020203" pitchFamily="34" charset="0"/>
                  </a:rPr>
                  <a:t> </a:t>
                </a:r>
                <a:r>
                  <a:rPr kumimoji="0" lang="en-US" sz="1400" b="0" i="0" u="none" strike="noStrike" kern="0" cap="none" spc="0" normalizeH="0" baseline="0" noProof="0" dirty="0" err="1">
                    <a:ln>
                      <a:noFill/>
                    </a:ln>
                    <a:solidFill>
                      <a:srgbClr val="000000">
                        <a:lumMod val="75000"/>
                        <a:lumOff val="25000"/>
                      </a:srgbClr>
                    </a:solidFill>
                    <a:effectLst/>
                    <a:uLnTx/>
                    <a:uFillTx/>
                    <a:latin typeface="Gill Sans MT" panose="020B0502020104020203" pitchFamily="34" charset="0"/>
                    <a:cs typeface="Segoe UI" panose="020B0502040204020203" pitchFamily="34" charset="0"/>
                  </a:rPr>
                  <a:t>eleifend</a:t>
                </a:r>
                <a:r>
                  <a:rPr kumimoji="0" lang="en-US" sz="1400" b="0" i="0" u="none" strike="noStrike" kern="0" cap="none" spc="0" normalizeH="0" baseline="0" noProof="0" dirty="0">
                    <a:ln>
                      <a:noFill/>
                    </a:ln>
                    <a:solidFill>
                      <a:srgbClr val="000000">
                        <a:lumMod val="75000"/>
                        <a:lumOff val="25000"/>
                      </a:srgbClr>
                    </a:solidFill>
                    <a:effectLst/>
                    <a:uLnTx/>
                    <a:uFillTx/>
                    <a:latin typeface="Gill Sans MT" panose="020B0502020104020203" pitchFamily="34" charset="0"/>
                    <a:cs typeface="Segoe UI" panose="020B0502040204020203" pitchFamily="34" charset="0"/>
                  </a:rPr>
                  <a:t> nisi sit </a:t>
                </a:r>
                <a:r>
                  <a:rPr kumimoji="0" lang="en-US" sz="1400" b="0" i="0" u="none" strike="noStrike" kern="0" cap="none" spc="0" normalizeH="0" baseline="0" noProof="0" dirty="0" err="1">
                    <a:ln>
                      <a:noFill/>
                    </a:ln>
                    <a:solidFill>
                      <a:srgbClr val="000000">
                        <a:lumMod val="75000"/>
                        <a:lumOff val="25000"/>
                      </a:srgbClr>
                    </a:solidFill>
                    <a:effectLst/>
                    <a:uLnTx/>
                    <a:uFillTx/>
                    <a:latin typeface="Gill Sans MT" panose="020B0502020104020203" pitchFamily="34" charset="0"/>
                    <a:cs typeface="Segoe UI" panose="020B0502040204020203" pitchFamily="34" charset="0"/>
                  </a:rPr>
                  <a:t>amet</a:t>
                </a:r>
                <a:r>
                  <a:rPr kumimoji="0" lang="en-US" sz="1400" b="0" i="0" u="none" strike="noStrike" kern="0" cap="none" spc="0" normalizeH="0" baseline="0" noProof="0" dirty="0">
                    <a:ln>
                      <a:noFill/>
                    </a:ln>
                    <a:solidFill>
                      <a:srgbClr val="000000">
                        <a:lumMod val="75000"/>
                        <a:lumOff val="25000"/>
                      </a:srgbClr>
                    </a:solidFill>
                    <a:effectLst/>
                    <a:uLnTx/>
                    <a:uFillTx/>
                    <a:latin typeface="Gill Sans MT" panose="020B0502020104020203" pitchFamily="34" charset="0"/>
                    <a:cs typeface="Segoe UI" panose="020B0502040204020203" pitchFamily="34" charset="0"/>
                  </a:rPr>
                  <a:t> </a:t>
                </a:r>
                <a:r>
                  <a:rPr kumimoji="0" lang="en-US" sz="1400" b="0" i="0" u="none" strike="noStrike" kern="0" cap="none" spc="0" normalizeH="0" baseline="0" noProof="0" dirty="0" err="1">
                    <a:ln>
                      <a:noFill/>
                    </a:ln>
                    <a:solidFill>
                      <a:srgbClr val="000000">
                        <a:lumMod val="75000"/>
                        <a:lumOff val="25000"/>
                      </a:srgbClr>
                    </a:solidFill>
                    <a:effectLst/>
                    <a:uLnTx/>
                    <a:uFillTx/>
                    <a:latin typeface="Gill Sans MT" panose="020B0502020104020203" pitchFamily="34" charset="0"/>
                    <a:cs typeface="Segoe UI" panose="020B0502040204020203" pitchFamily="34" charset="0"/>
                  </a:rPr>
                  <a:t>metus</a:t>
                </a:r>
                <a:r>
                  <a:rPr kumimoji="0" lang="en-US" sz="1400" b="0" i="0" u="none" strike="noStrike" kern="0" cap="none" spc="0" normalizeH="0" baseline="0" noProof="0" dirty="0">
                    <a:ln>
                      <a:noFill/>
                    </a:ln>
                    <a:solidFill>
                      <a:srgbClr val="000000">
                        <a:lumMod val="75000"/>
                        <a:lumOff val="25000"/>
                      </a:srgbClr>
                    </a:solidFill>
                    <a:effectLst/>
                    <a:uLnTx/>
                    <a:uFillTx/>
                    <a:latin typeface="Gill Sans MT" panose="020B0502020104020203" pitchFamily="34" charset="0"/>
                    <a:cs typeface="Segoe UI" panose="020B0502040204020203" pitchFamily="34" charset="0"/>
                  </a:rPr>
                  <a:t> </a:t>
                </a:r>
                <a:r>
                  <a:rPr kumimoji="0" lang="en-US" sz="1400" b="0" i="0" u="none" strike="noStrike" kern="0" cap="none" spc="0" normalizeH="0" baseline="0" noProof="0" dirty="0" err="1">
                    <a:ln>
                      <a:noFill/>
                    </a:ln>
                    <a:solidFill>
                      <a:srgbClr val="000000">
                        <a:lumMod val="75000"/>
                        <a:lumOff val="25000"/>
                      </a:srgbClr>
                    </a:solidFill>
                    <a:effectLst/>
                    <a:uLnTx/>
                    <a:uFillTx/>
                    <a:latin typeface="Gill Sans MT" panose="020B0502020104020203" pitchFamily="34" charset="0"/>
                    <a:cs typeface="Segoe UI" panose="020B0502040204020203" pitchFamily="34" charset="0"/>
                  </a:rPr>
                  <a:t>imperdiet</a:t>
                </a:r>
                <a:r>
                  <a:rPr kumimoji="0" lang="en-US" sz="1400" b="0" i="0" u="none" strike="noStrike" kern="0" cap="none" spc="0" normalizeH="0" baseline="0" noProof="0" dirty="0">
                    <a:ln>
                      <a:noFill/>
                    </a:ln>
                    <a:solidFill>
                      <a:srgbClr val="000000">
                        <a:lumMod val="75000"/>
                        <a:lumOff val="25000"/>
                      </a:srgbClr>
                    </a:solidFill>
                    <a:effectLst/>
                    <a:uLnTx/>
                    <a:uFillTx/>
                    <a:latin typeface="Gill Sans MT" panose="020B0502020104020203" pitchFamily="34" charset="0"/>
                    <a:cs typeface="Segoe UI" panose="020B0502040204020203" pitchFamily="34" charset="0"/>
                  </a:rPr>
                  <a:t> </a:t>
                </a:r>
                <a:r>
                  <a:rPr kumimoji="0" lang="en-US" sz="1400" b="0" i="0" u="none" strike="noStrike" kern="0" cap="none" spc="0" normalizeH="0" baseline="0" noProof="0" dirty="0" err="1">
                    <a:ln>
                      <a:noFill/>
                    </a:ln>
                    <a:solidFill>
                      <a:srgbClr val="000000">
                        <a:lumMod val="75000"/>
                        <a:lumOff val="25000"/>
                      </a:srgbClr>
                    </a:solidFill>
                    <a:effectLst/>
                    <a:uLnTx/>
                    <a:uFillTx/>
                    <a:latin typeface="Gill Sans MT" panose="020B0502020104020203" pitchFamily="34" charset="0"/>
                    <a:cs typeface="Segoe UI" panose="020B0502040204020203" pitchFamily="34" charset="0"/>
                  </a:rPr>
                  <a:t>fringilla</a:t>
                </a:r>
                <a:r>
                  <a:rPr kumimoji="0" lang="en-US" sz="1400" b="0" i="0" u="none" strike="noStrike" kern="0" cap="none" spc="0" normalizeH="0" baseline="0" noProof="0" dirty="0">
                    <a:ln>
                      <a:noFill/>
                    </a:ln>
                    <a:solidFill>
                      <a:srgbClr val="000000">
                        <a:lumMod val="75000"/>
                        <a:lumOff val="25000"/>
                      </a:srgbClr>
                    </a:solidFill>
                    <a:effectLst/>
                    <a:uLnTx/>
                    <a:uFillTx/>
                    <a:latin typeface="Gill Sans MT" panose="020B0502020104020203" pitchFamily="34" charset="0"/>
                    <a:cs typeface="Segoe UI" panose="020B0502040204020203" pitchFamily="34" charset="0"/>
                  </a:rPr>
                  <a:t>. </a:t>
                </a:r>
              </a:p>
            </p:txBody>
          </p:sp>
          <p:grpSp>
            <p:nvGrpSpPr>
              <p:cNvPr id="57" name="Group 230">
                <a:extLst>
                  <a:ext uri="{FF2B5EF4-FFF2-40B4-BE49-F238E27FC236}">
                    <a16:creationId xmlns:a16="http://schemas.microsoft.com/office/drawing/2014/main" id="{020D068D-5B59-4F68-BD4D-CFCEABA16EDF}"/>
                  </a:ext>
                </a:extLst>
              </p:cNvPr>
              <p:cNvGrpSpPr/>
              <p:nvPr/>
            </p:nvGrpSpPr>
            <p:grpSpPr>
              <a:xfrm rot="16200000">
                <a:off x="1336166" y="1833479"/>
                <a:ext cx="1025012" cy="361029"/>
                <a:chOff x="872552" y="3755789"/>
                <a:chExt cx="1025012" cy="361029"/>
              </a:xfrm>
            </p:grpSpPr>
            <p:grpSp>
              <p:nvGrpSpPr>
                <p:cNvPr id="58" name="Group 231">
                  <a:extLst>
                    <a:ext uri="{FF2B5EF4-FFF2-40B4-BE49-F238E27FC236}">
                      <a16:creationId xmlns:a16="http://schemas.microsoft.com/office/drawing/2014/main" id="{A6CF4532-F84E-44A8-8320-2F217FA60096}"/>
                    </a:ext>
                  </a:extLst>
                </p:cNvPr>
                <p:cNvGrpSpPr/>
                <p:nvPr/>
              </p:nvGrpSpPr>
              <p:grpSpPr>
                <a:xfrm>
                  <a:off x="872552" y="3755789"/>
                  <a:ext cx="1025012" cy="361029"/>
                  <a:chOff x="5983820" y="1091376"/>
                  <a:chExt cx="1533306" cy="540061"/>
                </a:xfrm>
              </p:grpSpPr>
              <p:sp>
                <p:nvSpPr>
                  <p:cNvPr id="60" name="Oval 233">
                    <a:extLst>
                      <a:ext uri="{FF2B5EF4-FFF2-40B4-BE49-F238E27FC236}">
                        <a16:creationId xmlns:a16="http://schemas.microsoft.com/office/drawing/2014/main" id="{7B8A5970-FB23-4B6E-89C4-15576F2B9F5D}"/>
                      </a:ext>
                    </a:extLst>
                  </p:cNvPr>
                  <p:cNvSpPr/>
                  <p:nvPr/>
                </p:nvSpPr>
                <p:spPr>
                  <a:xfrm>
                    <a:off x="6977063" y="1091376"/>
                    <a:ext cx="540063" cy="540061"/>
                  </a:xfrm>
                  <a:prstGeom prst="ellipse">
                    <a:avLst/>
                  </a:prstGeom>
                  <a:solidFill>
                    <a:sysClr val="window" lastClr="FFFFFF"/>
                  </a:solidFill>
                  <a:ln w="12700" cap="flat" cmpd="sng" algn="ctr">
                    <a:noFill/>
                    <a:prstDash val="solid"/>
                    <a:miter lim="800000"/>
                  </a:ln>
                  <a:effectLst>
                    <a:outerShdw blurRad="215900" sx="104000" sy="104000" algn="ctr" rotWithShape="0">
                      <a:prstClr val="black">
                        <a:alpha val="19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lumMod val="75000"/>
                          <a:lumOff val="25000"/>
                        </a:srgbClr>
                      </a:solidFill>
                      <a:effectLst/>
                      <a:uLnTx/>
                      <a:uFillTx/>
                      <a:latin typeface="Gill Sans MT" panose="020B0502020104020203" pitchFamily="34" charset="0"/>
                      <a:cs typeface="+mn-cs"/>
                    </a:endParaRPr>
                  </a:p>
                </p:txBody>
              </p:sp>
              <p:sp>
                <p:nvSpPr>
                  <p:cNvPr id="61" name="Flowchart: Stored Data 234">
                    <a:extLst>
                      <a:ext uri="{FF2B5EF4-FFF2-40B4-BE49-F238E27FC236}">
                        <a16:creationId xmlns:a16="http://schemas.microsoft.com/office/drawing/2014/main" id="{143EDC0E-B20D-45A9-8793-59EF7B810FE4}"/>
                      </a:ext>
                    </a:extLst>
                  </p:cNvPr>
                  <p:cNvSpPr/>
                  <p:nvPr/>
                </p:nvSpPr>
                <p:spPr>
                  <a:xfrm>
                    <a:off x="5983820" y="1096805"/>
                    <a:ext cx="1209933" cy="529201"/>
                  </a:xfrm>
                  <a:prstGeom prst="flowChartOnlineStorage">
                    <a:avLst/>
                  </a:prstGeom>
                  <a:gradFill flip="none" rotWithShape="1">
                    <a:gsLst>
                      <a:gs pos="100000">
                        <a:schemeClr val="accent1"/>
                      </a:gs>
                      <a:gs pos="0">
                        <a:schemeClr val="accent1"/>
                      </a:gs>
                    </a:gsLst>
                    <a:lin ang="2700000" scaled="1"/>
                    <a:tileRect/>
                  </a:gradFill>
                  <a:ln w="12700" cap="flat" cmpd="sng" algn="ctr">
                    <a:noFill/>
                    <a:prstDash val="solid"/>
                    <a:miter lim="800000"/>
                  </a:ln>
                  <a:effectLst/>
                </p:spPr>
                <p:txBody>
                  <a:bodyPr vert="vert"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0" cap="none" spc="0" normalizeH="0" baseline="0" noProof="0" dirty="0">
                      <a:ln>
                        <a:noFill/>
                      </a:ln>
                      <a:solidFill>
                        <a:srgbClr val="000000">
                          <a:lumMod val="75000"/>
                          <a:lumOff val="25000"/>
                        </a:srgbClr>
                      </a:solidFill>
                      <a:effectLst/>
                      <a:uLnTx/>
                      <a:uFillTx/>
                      <a:latin typeface="Gill Sans MT" panose="020B0502020104020203" pitchFamily="34" charset="0"/>
                      <a:cs typeface="+mn-cs"/>
                    </a:endParaRPr>
                  </a:p>
                </p:txBody>
              </p:sp>
            </p:grpSp>
            <p:sp>
              <p:nvSpPr>
                <p:cNvPr id="59" name="Freeform 150">
                  <a:extLst>
                    <a:ext uri="{FF2B5EF4-FFF2-40B4-BE49-F238E27FC236}">
                      <a16:creationId xmlns:a16="http://schemas.microsoft.com/office/drawing/2014/main" id="{8AC89580-6BBD-4628-80EE-39D72B515D8A}"/>
                    </a:ext>
                  </a:extLst>
                </p:cNvPr>
                <p:cNvSpPr>
                  <a:spLocks noEditPoints="1"/>
                </p:cNvSpPr>
                <p:nvPr/>
              </p:nvSpPr>
              <p:spPr bwMode="auto">
                <a:xfrm rot="5400000">
                  <a:off x="1636174" y="3843207"/>
                  <a:ext cx="194388" cy="195244"/>
                </a:xfrm>
                <a:custGeom>
                  <a:avLst/>
                  <a:gdLst>
                    <a:gd name="T0" fmla="*/ 48 w 96"/>
                    <a:gd name="T1" fmla="*/ 0 h 96"/>
                    <a:gd name="T2" fmla="*/ 0 w 96"/>
                    <a:gd name="T3" fmla="*/ 48 h 96"/>
                    <a:gd name="T4" fmla="*/ 48 w 96"/>
                    <a:gd name="T5" fmla="*/ 96 h 96"/>
                    <a:gd name="T6" fmla="*/ 96 w 96"/>
                    <a:gd name="T7" fmla="*/ 48 h 96"/>
                    <a:gd name="T8" fmla="*/ 48 w 96"/>
                    <a:gd name="T9" fmla="*/ 0 h 96"/>
                    <a:gd name="T10" fmla="*/ 72 w 96"/>
                    <a:gd name="T11" fmla="*/ 43 h 96"/>
                    <a:gd name="T12" fmla="*/ 70 w 96"/>
                    <a:gd name="T13" fmla="*/ 44 h 96"/>
                    <a:gd name="T14" fmla="*/ 54 w 96"/>
                    <a:gd name="T15" fmla="*/ 44 h 96"/>
                    <a:gd name="T16" fmla="*/ 52 w 96"/>
                    <a:gd name="T17" fmla="*/ 45 h 96"/>
                    <a:gd name="T18" fmla="*/ 50 w 96"/>
                    <a:gd name="T19" fmla="*/ 48 h 96"/>
                    <a:gd name="T20" fmla="*/ 64 w 96"/>
                    <a:gd name="T21" fmla="*/ 48 h 96"/>
                    <a:gd name="T22" fmla="*/ 66 w 96"/>
                    <a:gd name="T23" fmla="*/ 50 h 96"/>
                    <a:gd name="T24" fmla="*/ 64 w 96"/>
                    <a:gd name="T25" fmla="*/ 52 h 96"/>
                    <a:gd name="T26" fmla="*/ 46 w 96"/>
                    <a:gd name="T27" fmla="*/ 52 h 96"/>
                    <a:gd name="T28" fmla="*/ 42 w 96"/>
                    <a:gd name="T29" fmla="*/ 56 h 96"/>
                    <a:gd name="T30" fmla="*/ 58 w 96"/>
                    <a:gd name="T31" fmla="*/ 56 h 96"/>
                    <a:gd name="T32" fmla="*/ 60 w 96"/>
                    <a:gd name="T33" fmla="*/ 57 h 96"/>
                    <a:gd name="T34" fmla="*/ 60 w 96"/>
                    <a:gd name="T35" fmla="*/ 59 h 96"/>
                    <a:gd name="T36" fmla="*/ 37 w 96"/>
                    <a:gd name="T37" fmla="*/ 69 h 96"/>
                    <a:gd name="T38" fmla="*/ 30 w 96"/>
                    <a:gd name="T39" fmla="*/ 68 h 96"/>
                    <a:gd name="T40" fmla="*/ 25 w 96"/>
                    <a:gd name="T41" fmla="*/ 73 h 96"/>
                    <a:gd name="T42" fmla="*/ 22 w 96"/>
                    <a:gd name="T43" fmla="*/ 73 h 96"/>
                    <a:gd name="T44" fmla="*/ 22 w 96"/>
                    <a:gd name="T45" fmla="*/ 70 h 96"/>
                    <a:gd name="T46" fmla="*/ 27 w 96"/>
                    <a:gd name="T47" fmla="*/ 65 h 96"/>
                    <a:gd name="T48" fmla="*/ 28 w 96"/>
                    <a:gd name="T49" fmla="*/ 52 h 96"/>
                    <a:gd name="T50" fmla="*/ 40 w 96"/>
                    <a:gd name="T51" fmla="*/ 33 h 96"/>
                    <a:gd name="T52" fmla="*/ 57 w 96"/>
                    <a:gd name="T53" fmla="*/ 20 h 96"/>
                    <a:gd name="T54" fmla="*/ 59 w 96"/>
                    <a:gd name="T55" fmla="*/ 20 h 96"/>
                    <a:gd name="T56" fmla="*/ 60 w 96"/>
                    <a:gd name="T57" fmla="*/ 22 h 96"/>
                    <a:gd name="T58" fmla="*/ 60 w 96"/>
                    <a:gd name="T59" fmla="*/ 32 h 96"/>
                    <a:gd name="T60" fmla="*/ 70 w 96"/>
                    <a:gd name="T61" fmla="*/ 22 h 96"/>
                    <a:gd name="T62" fmla="*/ 73 w 96"/>
                    <a:gd name="T63" fmla="*/ 22 h 96"/>
                    <a:gd name="T64" fmla="*/ 72 w 96"/>
                    <a:gd name="T65" fmla="*/ 43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6" h="96">
                      <a:moveTo>
                        <a:pt x="48" y="0"/>
                      </a:moveTo>
                      <a:cubicBezTo>
                        <a:pt x="22" y="0"/>
                        <a:pt x="0" y="22"/>
                        <a:pt x="0" y="48"/>
                      </a:cubicBezTo>
                      <a:cubicBezTo>
                        <a:pt x="0" y="74"/>
                        <a:pt x="22" y="96"/>
                        <a:pt x="48" y="96"/>
                      </a:cubicBezTo>
                      <a:cubicBezTo>
                        <a:pt x="74" y="96"/>
                        <a:pt x="96" y="74"/>
                        <a:pt x="96" y="48"/>
                      </a:cubicBezTo>
                      <a:cubicBezTo>
                        <a:pt x="96" y="22"/>
                        <a:pt x="74" y="0"/>
                        <a:pt x="48" y="0"/>
                      </a:cubicBezTo>
                      <a:close/>
                      <a:moveTo>
                        <a:pt x="72" y="43"/>
                      </a:moveTo>
                      <a:cubicBezTo>
                        <a:pt x="71" y="44"/>
                        <a:pt x="71" y="44"/>
                        <a:pt x="70" y="44"/>
                      </a:cubicBezTo>
                      <a:cubicBezTo>
                        <a:pt x="54" y="44"/>
                        <a:pt x="54" y="44"/>
                        <a:pt x="54" y="44"/>
                      </a:cubicBezTo>
                      <a:cubicBezTo>
                        <a:pt x="52" y="45"/>
                        <a:pt x="52" y="45"/>
                        <a:pt x="52" y="45"/>
                      </a:cubicBezTo>
                      <a:cubicBezTo>
                        <a:pt x="50" y="48"/>
                        <a:pt x="50" y="48"/>
                        <a:pt x="50" y="48"/>
                      </a:cubicBezTo>
                      <a:cubicBezTo>
                        <a:pt x="64" y="48"/>
                        <a:pt x="64" y="48"/>
                        <a:pt x="64" y="48"/>
                      </a:cubicBezTo>
                      <a:cubicBezTo>
                        <a:pt x="65" y="48"/>
                        <a:pt x="66" y="49"/>
                        <a:pt x="66" y="50"/>
                      </a:cubicBezTo>
                      <a:cubicBezTo>
                        <a:pt x="66" y="51"/>
                        <a:pt x="65" y="52"/>
                        <a:pt x="64" y="52"/>
                      </a:cubicBezTo>
                      <a:cubicBezTo>
                        <a:pt x="46" y="52"/>
                        <a:pt x="46" y="52"/>
                        <a:pt x="46" y="52"/>
                      </a:cubicBezTo>
                      <a:cubicBezTo>
                        <a:pt x="42" y="56"/>
                        <a:pt x="42" y="56"/>
                        <a:pt x="42" y="56"/>
                      </a:cubicBezTo>
                      <a:cubicBezTo>
                        <a:pt x="58" y="56"/>
                        <a:pt x="58" y="56"/>
                        <a:pt x="58" y="56"/>
                      </a:cubicBezTo>
                      <a:cubicBezTo>
                        <a:pt x="59" y="56"/>
                        <a:pt x="60" y="57"/>
                        <a:pt x="60" y="57"/>
                      </a:cubicBezTo>
                      <a:cubicBezTo>
                        <a:pt x="60" y="58"/>
                        <a:pt x="60" y="59"/>
                        <a:pt x="60" y="59"/>
                      </a:cubicBezTo>
                      <a:cubicBezTo>
                        <a:pt x="53" y="66"/>
                        <a:pt x="44" y="69"/>
                        <a:pt x="37" y="69"/>
                      </a:cubicBezTo>
                      <a:cubicBezTo>
                        <a:pt x="34" y="69"/>
                        <a:pt x="32" y="69"/>
                        <a:pt x="30" y="68"/>
                      </a:cubicBezTo>
                      <a:cubicBezTo>
                        <a:pt x="25" y="73"/>
                        <a:pt x="25" y="73"/>
                        <a:pt x="25" y="73"/>
                      </a:cubicBezTo>
                      <a:cubicBezTo>
                        <a:pt x="24" y="74"/>
                        <a:pt x="23" y="74"/>
                        <a:pt x="22" y="73"/>
                      </a:cubicBezTo>
                      <a:cubicBezTo>
                        <a:pt x="21" y="72"/>
                        <a:pt x="21" y="71"/>
                        <a:pt x="22" y="70"/>
                      </a:cubicBezTo>
                      <a:cubicBezTo>
                        <a:pt x="27" y="65"/>
                        <a:pt x="27" y="65"/>
                        <a:pt x="27" y="65"/>
                      </a:cubicBezTo>
                      <a:cubicBezTo>
                        <a:pt x="25" y="62"/>
                        <a:pt x="26" y="57"/>
                        <a:pt x="28" y="52"/>
                      </a:cubicBezTo>
                      <a:cubicBezTo>
                        <a:pt x="30" y="45"/>
                        <a:pt x="34" y="39"/>
                        <a:pt x="40" y="33"/>
                      </a:cubicBezTo>
                      <a:cubicBezTo>
                        <a:pt x="46" y="27"/>
                        <a:pt x="53" y="22"/>
                        <a:pt x="57" y="20"/>
                      </a:cubicBezTo>
                      <a:cubicBezTo>
                        <a:pt x="58" y="20"/>
                        <a:pt x="59" y="20"/>
                        <a:pt x="59" y="20"/>
                      </a:cubicBezTo>
                      <a:cubicBezTo>
                        <a:pt x="60" y="21"/>
                        <a:pt x="60" y="21"/>
                        <a:pt x="60" y="22"/>
                      </a:cubicBezTo>
                      <a:cubicBezTo>
                        <a:pt x="60" y="32"/>
                        <a:pt x="60" y="32"/>
                        <a:pt x="60" y="32"/>
                      </a:cubicBezTo>
                      <a:cubicBezTo>
                        <a:pt x="70" y="22"/>
                        <a:pt x="70" y="22"/>
                        <a:pt x="70" y="22"/>
                      </a:cubicBezTo>
                      <a:cubicBezTo>
                        <a:pt x="71" y="21"/>
                        <a:pt x="72" y="21"/>
                        <a:pt x="73" y="22"/>
                      </a:cubicBezTo>
                      <a:cubicBezTo>
                        <a:pt x="78" y="26"/>
                        <a:pt x="77" y="34"/>
                        <a:pt x="72" y="43"/>
                      </a:cubicBezTo>
                      <a:close/>
                    </a:path>
                  </a:pathLst>
                </a:custGeom>
                <a:gradFill flip="none" rotWithShape="1">
                  <a:gsLst>
                    <a:gs pos="100000">
                      <a:schemeClr val="accent1"/>
                    </a:gs>
                    <a:gs pos="0">
                      <a:schemeClr val="accent1"/>
                    </a:gs>
                  </a:gsLst>
                  <a:lin ang="2700000" scaled="1"/>
                  <a:tileRect/>
                </a:gradFill>
                <a:ln>
                  <a:noFill/>
                </a:ln>
              </p:spPr>
              <p:txBody>
                <a:bodyPr vert="horz" wrap="square" lIns="91440" tIns="45720" rIns="91440" bIns="45720" numCol="1" anchor="t" anchorCtr="0" compatLnSpc="1">
                  <a:prstTxWarp prst="textNoShape">
                    <a:avLst/>
                  </a:prstTxWarp>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lumMod val="75000"/>
                        <a:lumOff val="25000"/>
                      </a:srgbClr>
                    </a:solidFill>
                    <a:effectLst/>
                    <a:uLnTx/>
                    <a:uFillTx/>
                    <a:latin typeface="Arial"/>
                    <a:cs typeface="+mn-cs"/>
                  </a:endParaRPr>
                </a:p>
              </p:txBody>
            </p:sp>
          </p:grpSp>
        </p:grpSp>
        <p:grpSp>
          <p:nvGrpSpPr>
            <p:cNvPr id="38" name="Group 203">
              <a:extLst>
                <a:ext uri="{FF2B5EF4-FFF2-40B4-BE49-F238E27FC236}">
                  <a16:creationId xmlns:a16="http://schemas.microsoft.com/office/drawing/2014/main" id="{F2B76DD5-3875-431C-8B1F-6631F0492FF3}"/>
                </a:ext>
              </a:extLst>
            </p:cNvPr>
            <p:cNvGrpSpPr/>
            <p:nvPr/>
          </p:nvGrpSpPr>
          <p:grpSpPr>
            <a:xfrm>
              <a:off x="839122" y="2571521"/>
              <a:ext cx="3496132" cy="1025012"/>
              <a:chOff x="1668157" y="1501488"/>
              <a:chExt cx="3496132" cy="1025012"/>
            </a:xfrm>
          </p:grpSpPr>
          <p:sp>
            <p:nvSpPr>
              <p:cNvPr id="48" name="Rectangle 221">
                <a:extLst>
                  <a:ext uri="{FF2B5EF4-FFF2-40B4-BE49-F238E27FC236}">
                    <a16:creationId xmlns:a16="http://schemas.microsoft.com/office/drawing/2014/main" id="{F9339DC5-C175-4CB0-AD91-823B17385EF9}"/>
                  </a:ext>
                </a:extLst>
              </p:cNvPr>
              <p:cNvSpPr/>
              <p:nvPr/>
            </p:nvSpPr>
            <p:spPr>
              <a:xfrm>
                <a:off x="2199087" y="1515166"/>
                <a:ext cx="1500845" cy="276999"/>
              </a:xfrm>
              <a:prstGeom prst="rect">
                <a:avLst/>
              </a:prstGeom>
            </p:spPr>
            <p:txBody>
              <a:bodyPr wrap="square" lIns="0" tIns="0" rIns="0" bIns="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000000">
                        <a:lumMod val="75000"/>
                        <a:lumOff val="25000"/>
                      </a:srgbClr>
                    </a:solidFill>
                    <a:effectLst/>
                    <a:uLnTx/>
                    <a:uFillTx/>
                    <a:latin typeface="Gill Sans MT" panose="020B0502020104020203" pitchFamily="34" charset="0"/>
                    <a:cs typeface="Segoe UI" panose="020B0502040204020203" pitchFamily="34" charset="0"/>
                  </a:rPr>
                  <a:t>Lorem Ipsum</a:t>
                </a:r>
              </a:p>
            </p:txBody>
          </p:sp>
          <p:sp>
            <p:nvSpPr>
              <p:cNvPr id="49" name="Rectangle 222">
                <a:extLst>
                  <a:ext uri="{FF2B5EF4-FFF2-40B4-BE49-F238E27FC236}">
                    <a16:creationId xmlns:a16="http://schemas.microsoft.com/office/drawing/2014/main" id="{DBBD7A4D-0D96-42A1-B9A2-2C46FA537826}"/>
                  </a:ext>
                </a:extLst>
              </p:cNvPr>
              <p:cNvSpPr/>
              <p:nvPr/>
            </p:nvSpPr>
            <p:spPr>
              <a:xfrm>
                <a:off x="2199087" y="1880169"/>
                <a:ext cx="2965202" cy="646331"/>
              </a:xfrm>
              <a:prstGeom prst="rect">
                <a:avLst/>
              </a:prstGeom>
            </p:spPr>
            <p:txBody>
              <a:bodyPr wrap="square" lIns="0" tIns="0" rIns="0" bIns="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lumMod val="75000"/>
                        <a:lumOff val="25000"/>
                      </a:srgbClr>
                    </a:solidFill>
                    <a:effectLst/>
                    <a:uLnTx/>
                    <a:uFillTx/>
                    <a:latin typeface="Gill Sans MT" panose="020B0502020104020203" pitchFamily="34" charset="0"/>
                    <a:cs typeface="Segoe UI" panose="020B0502040204020203" pitchFamily="34" charset="0"/>
                  </a:rPr>
                  <a:t>Lorem ipsum dolor sit </a:t>
                </a:r>
                <a:r>
                  <a:rPr kumimoji="0" lang="en-US" sz="1400" b="0" i="0" u="none" strike="noStrike" kern="0" cap="none" spc="0" normalizeH="0" baseline="0" noProof="0" dirty="0" err="1">
                    <a:ln>
                      <a:noFill/>
                    </a:ln>
                    <a:solidFill>
                      <a:srgbClr val="000000">
                        <a:lumMod val="75000"/>
                        <a:lumOff val="25000"/>
                      </a:srgbClr>
                    </a:solidFill>
                    <a:effectLst/>
                    <a:uLnTx/>
                    <a:uFillTx/>
                    <a:latin typeface="Gill Sans MT" panose="020B0502020104020203" pitchFamily="34" charset="0"/>
                    <a:cs typeface="Segoe UI" panose="020B0502040204020203" pitchFamily="34" charset="0"/>
                  </a:rPr>
                  <a:t>amet</a:t>
                </a:r>
                <a:r>
                  <a:rPr kumimoji="0" lang="en-US" sz="1400" b="0" i="0" u="none" strike="noStrike" kern="0" cap="none" spc="0" normalizeH="0" baseline="0" noProof="0" dirty="0">
                    <a:ln>
                      <a:noFill/>
                    </a:ln>
                    <a:solidFill>
                      <a:srgbClr val="000000">
                        <a:lumMod val="75000"/>
                        <a:lumOff val="25000"/>
                      </a:srgbClr>
                    </a:solidFill>
                    <a:effectLst/>
                    <a:uLnTx/>
                    <a:uFillTx/>
                    <a:latin typeface="Gill Sans MT" panose="020B0502020104020203" pitchFamily="34" charset="0"/>
                    <a:cs typeface="Segoe UI" panose="020B0502040204020203" pitchFamily="34" charset="0"/>
                  </a:rPr>
                  <a:t>, </a:t>
                </a:r>
                <a:r>
                  <a:rPr kumimoji="0" lang="en-US" sz="1400" b="0" i="0" u="none" strike="noStrike" kern="0" cap="none" spc="0" normalizeH="0" baseline="0" noProof="0" dirty="0" err="1">
                    <a:ln>
                      <a:noFill/>
                    </a:ln>
                    <a:solidFill>
                      <a:srgbClr val="000000">
                        <a:lumMod val="75000"/>
                        <a:lumOff val="25000"/>
                      </a:srgbClr>
                    </a:solidFill>
                    <a:effectLst/>
                    <a:uLnTx/>
                    <a:uFillTx/>
                    <a:latin typeface="Gill Sans MT" panose="020B0502020104020203" pitchFamily="34" charset="0"/>
                    <a:cs typeface="Segoe UI" panose="020B0502040204020203" pitchFamily="34" charset="0"/>
                  </a:rPr>
                  <a:t>consectetur</a:t>
                </a:r>
                <a:r>
                  <a:rPr kumimoji="0" lang="en-US" sz="1400" b="0" i="0" u="none" strike="noStrike" kern="0" cap="none" spc="0" normalizeH="0" baseline="0" noProof="0" dirty="0">
                    <a:ln>
                      <a:noFill/>
                    </a:ln>
                    <a:solidFill>
                      <a:srgbClr val="000000">
                        <a:lumMod val="75000"/>
                        <a:lumOff val="25000"/>
                      </a:srgbClr>
                    </a:solidFill>
                    <a:effectLst/>
                    <a:uLnTx/>
                    <a:uFillTx/>
                    <a:latin typeface="Gill Sans MT" panose="020B0502020104020203" pitchFamily="34" charset="0"/>
                    <a:cs typeface="Segoe UI" panose="020B0502040204020203" pitchFamily="34" charset="0"/>
                  </a:rPr>
                  <a:t> </a:t>
                </a:r>
                <a:r>
                  <a:rPr kumimoji="0" lang="en-US" sz="1400" b="0" i="0" u="none" strike="noStrike" kern="0" cap="none" spc="0" normalizeH="0" baseline="0" noProof="0" dirty="0" err="1">
                    <a:ln>
                      <a:noFill/>
                    </a:ln>
                    <a:solidFill>
                      <a:srgbClr val="000000">
                        <a:lumMod val="75000"/>
                        <a:lumOff val="25000"/>
                      </a:srgbClr>
                    </a:solidFill>
                    <a:effectLst/>
                    <a:uLnTx/>
                    <a:uFillTx/>
                    <a:latin typeface="Gill Sans MT" panose="020B0502020104020203" pitchFamily="34" charset="0"/>
                    <a:cs typeface="Segoe UI" panose="020B0502040204020203" pitchFamily="34" charset="0"/>
                  </a:rPr>
                  <a:t>adipiscing</a:t>
                </a:r>
                <a:r>
                  <a:rPr kumimoji="0" lang="en-US" sz="1400" b="0" i="0" u="none" strike="noStrike" kern="0" cap="none" spc="0" normalizeH="0" baseline="0" noProof="0" dirty="0">
                    <a:ln>
                      <a:noFill/>
                    </a:ln>
                    <a:solidFill>
                      <a:srgbClr val="000000">
                        <a:lumMod val="75000"/>
                        <a:lumOff val="25000"/>
                      </a:srgbClr>
                    </a:solidFill>
                    <a:effectLst/>
                    <a:uLnTx/>
                    <a:uFillTx/>
                    <a:latin typeface="Gill Sans MT" panose="020B0502020104020203" pitchFamily="34" charset="0"/>
                    <a:cs typeface="Segoe UI" panose="020B0502040204020203" pitchFamily="34" charset="0"/>
                  </a:rPr>
                  <a:t> </a:t>
                </a:r>
                <a:r>
                  <a:rPr kumimoji="0" lang="en-US" sz="1400" b="0" i="0" u="none" strike="noStrike" kern="0" cap="none" spc="0" normalizeH="0" baseline="0" noProof="0" dirty="0" err="1">
                    <a:ln>
                      <a:noFill/>
                    </a:ln>
                    <a:solidFill>
                      <a:srgbClr val="000000">
                        <a:lumMod val="75000"/>
                        <a:lumOff val="25000"/>
                      </a:srgbClr>
                    </a:solidFill>
                    <a:effectLst/>
                    <a:uLnTx/>
                    <a:uFillTx/>
                    <a:latin typeface="Gill Sans MT" panose="020B0502020104020203" pitchFamily="34" charset="0"/>
                    <a:cs typeface="Segoe UI" panose="020B0502040204020203" pitchFamily="34" charset="0"/>
                  </a:rPr>
                  <a:t>elit</a:t>
                </a:r>
                <a:r>
                  <a:rPr kumimoji="0" lang="en-US" sz="1400" b="0" i="0" u="none" strike="noStrike" kern="0" cap="none" spc="0" normalizeH="0" baseline="0" noProof="0" dirty="0">
                    <a:ln>
                      <a:noFill/>
                    </a:ln>
                    <a:solidFill>
                      <a:srgbClr val="000000">
                        <a:lumMod val="75000"/>
                        <a:lumOff val="25000"/>
                      </a:srgbClr>
                    </a:solidFill>
                    <a:effectLst/>
                    <a:uLnTx/>
                    <a:uFillTx/>
                    <a:latin typeface="Gill Sans MT" panose="020B0502020104020203" pitchFamily="34" charset="0"/>
                    <a:cs typeface="Segoe UI" panose="020B0502040204020203" pitchFamily="34" charset="0"/>
                  </a:rPr>
                  <a:t>. </a:t>
                </a:r>
                <a:r>
                  <a:rPr kumimoji="0" lang="en-US" sz="1400" b="0" i="0" u="none" strike="noStrike" kern="0" cap="none" spc="0" normalizeH="0" baseline="0" noProof="0" dirty="0" err="1">
                    <a:ln>
                      <a:noFill/>
                    </a:ln>
                    <a:solidFill>
                      <a:srgbClr val="000000">
                        <a:lumMod val="75000"/>
                        <a:lumOff val="25000"/>
                      </a:srgbClr>
                    </a:solidFill>
                    <a:effectLst/>
                    <a:uLnTx/>
                    <a:uFillTx/>
                    <a:latin typeface="Gill Sans MT" panose="020B0502020104020203" pitchFamily="34" charset="0"/>
                    <a:cs typeface="Segoe UI" panose="020B0502040204020203" pitchFamily="34" charset="0"/>
                  </a:rPr>
                  <a:t>Nulla</a:t>
                </a:r>
                <a:r>
                  <a:rPr kumimoji="0" lang="en-US" sz="1400" b="0" i="0" u="none" strike="noStrike" kern="0" cap="none" spc="0" normalizeH="0" baseline="0" noProof="0" dirty="0">
                    <a:ln>
                      <a:noFill/>
                    </a:ln>
                    <a:solidFill>
                      <a:srgbClr val="000000">
                        <a:lumMod val="75000"/>
                        <a:lumOff val="25000"/>
                      </a:srgbClr>
                    </a:solidFill>
                    <a:effectLst/>
                    <a:uLnTx/>
                    <a:uFillTx/>
                    <a:latin typeface="Gill Sans MT" panose="020B0502020104020203" pitchFamily="34" charset="0"/>
                    <a:cs typeface="Segoe UI" panose="020B0502040204020203" pitchFamily="34" charset="0"/>
                  </a:rPr>
                  <a:t> </a:t>
                </a:r>
                <a:r>
                  <a:rPr kumimoji="0" lang="en-US" sz="1400" b="0" i="0" u="none" strike="noStrike" kern="0" cap="none" spc="0" normalizeH="0" baseline="0" noProof="0" dirty="0" err="1">
                    <a:ln>
                      <a:noFill/>
                    </a:ln>
                    <a:solidFill>
                      <a:srgbClr val="000000">
                        <a:lumMod val="75000"/>
                        <a:lumOff val="25000"/>
                      </a:srgbClr>
                    </a:solidFill>
                    <a:effectLst/>
                    <a:uLnTx/>
                    <a:uFillTx/>
                    <a:latin typeface="Gill Sans MT" panose="020B0502020104020203" pitchFamily="34" charset="0"/>
                    <a:cs typeface="Segoe UI" panose="020B0502040204020203" pitchFamily="34" charset="0"/>
                  </a:rPr>
                  <a:t>eleifend</a:t>
                </a:r>
                <a:r>
                  <a:rPr kumimoji="0" lang="en-US" sz="1400" b="0" i="0" u="none" strike="noStrike" kern="0" cap="none" spc="0" normalizeH="0" baseline="0" noProof="0" dirty="0">
                    <a:ln>
                      <a:noFill/>
                    </a:ln>
                    <a:solidFill>
                      <a:srgbClr val="000000">
                        <a:lumMod val="75000"/>
                        <a:lumOff val="25000"/>
                      </a:srgbClr>
                    </a:solidFill>
                    <a:effectLst/>
                    <a:uLnTx/>
                    <a:uFillTx/>
                    <a:latin typeface="Gill Sans MT" panose="020B0502020104020203" pitchFamily="34" charset="0"/>
                    <a:cs typeface="Segoe UI" panose="020B0502040204020203" pitchFamily="34" charset="0"/>
                  </a:rPr>
                  <a:t> nisi sit </a:t>
                </a:r>
                <a:r>
                  <a:rPr kumimoji="0" lang="en-US" sz="1400" b="0" i="0" u="none" strike="noStrike" kern="0" cap="none" spc="0" normalizeH="0" baseline="0" noProof="0" dirty="0" err="1">
                    <a:ln>
                      <a:noFill/>
                    </a:ln>
                    <a:solidFill>
                      <a:srgbClr val="000000">
                        <a:lumMod val="75000"/>
                        <a:lumOff val="25000"/>
                      </a:srgbClr>
                    </a:solidFill>
                    <a:effectLst/>
                    <a:uLnTx/>
                    <a:uFillTx/>
                    <a:latin typeface="Gill Sans MT" panose="020B0502020104020203" pitchFamily="34" charset="0"/>
                    <a:cs typeface="Segoe UI" panose="020B0502040204020203" pitchFamily="34" charset="0"/>
                  </a:rPr>
                  <a:t>amet</a:t>
                </a:r>
                <a:r>
                  <a:rPr kumimoji="0" lang="en-US" sz="1400" b="0" i="0" u="none" strike="noStrike" kern="0" cap="none" spc="0" normalizeH="0" baseline="0" noProof="0" dirty="0">
                    <a:ln>
                      <a:noFill/>
                    </a:ln>
                    <a:solidFill>
                      <a:srgbClr val="000000">
                        <a:lumMod val="75000"/>
                        <a:lumOff val="25000"/>
                      </a:srgbClr>
                    </a:solidFill>
                    <a:effectLst/>
                    <a:uLnTx/>
                    <a:uFillTx/>
                    <a:latin typeface="Gill Sans MT" panose="020B0502020104020203" pitchFamily="34" charset="0"/>
                    <a:cs typeface="Segoe UI" panose="020B0502040204020203" pitchFamily="34" charset="0"/>
                  </a:rPr>
                  <a:t> </a:t>
                </a:r>
                <a:r>
                  <a:rPr kumimoji="0" lang="en-US" sz="1400" b="0" i="0" u="none" strike="noStrike" kern="0" cap="none" spc="0" normalizeH="0" baseline="0" noProof="0" dirty="0" err="1">
                    <a:ln>
                      <a:noFill/>
                    </a:ln>
                    <a:solidFill>
                      <a:srgbClr val="000000">
                        <a:lumMod val="75000"/>
                        <a:lumOff val="25000"/>
                      </a:srgbClr>
                    </a:solidFill>
                    <a:effectLst/>
                    <a:uLnTx/>
                    <a:uFillTx/>
                    <a:latin typeface="Gill Sans MT" panose="020B0502020104020203" pitchFamily="34" charset="0"/>
                    <a:cs typeface="Segoe UI" panose="020B0502040204020203" pitchFamily="34" charset="0"/>
                  </a:rPr>
                  <a:t>metus</a:t>
                </a:r>
                <a:r>
                  <a:rPr kumimoji="0" lang="en-US" sz="1400" b="0" i="0" u="none" strike="noStrike" kern="0" cap="none" spc="0" normalizeH="0" baseline="0" noProof="0" dirty="0">
                    <a:ln>
                      <a:noFill/>
                    </a:ln>
                    <a:solidFill>
                      <a:srgbClr val="000000">
                        <a:lumMod val="75000"/>
                        <a:lumOff val="25000"/>
                      </a:srgbClr>
                    </a:solidFill>
                    <a:effectLst/>
                    <a:uLnTx/>
                    <a:uFillTx/>
                    <a:latin typeface="Gill Sans MT" panose="020B0502020104020203" pitchFamily="34" charset="0"/>
                    <a:cs typeface="Segoe UI" panose="020B0502040204020203" pitchFamily="34" charset="0"/>
                  </a:rPr>
                  <a:t> </a:t>
                </a:r>
                <a:r>
                  <a:rPr kumimoji="0" lang="en-US" sz="1400" b="0" i="0" u="none" strike="noStrike" kern="0" cap="none" spc="0" normalizeH="0" baseline="0" noProof="0" dirty="0" err="1">
                    <a:ln>
                      <a:noFill/>
                    </a:ln>
                    <a:solidFill>
                      <a:srgbClr val="000000">
                        <a:lumMod val="75000"/>
                        <a:lumOff val="25000"/>
                      </a:srgbClr>
                    </a:solidFill>
                    <a:effectLst/>
                    <a:uLnTx/>
                    <a:uFillTx/>
                    <a:latin typeface="Gill Sans MT" panose="020B0502020104020203" pitchFamily="34" charset="0"/>
                    <a:cs typeface="Segoe UI" panose="020B0502040204020203" pitchFamily="34" charset="0"/>
                  </a:rPr>
                  <a:t>imperdiet</a:t>
                </a:r>
                <a:r>
                  <a:rPr kumimoji="0" lang="en-US" sz="1400" b="0" i="0" u="none" strike="noStrike" kern="0" cap="none" spc="0" normalizeH="0" baseline="0" noProof="0" dirty="0">
                    <a:ln>
                      <a:noFill/>
                    </a:ln>
                    <a:solidFill>
                      <a:srgbClr val="000000">
                        <a:lumMod val="75000"/>
                        <a:lumOff val="25000"/>
                      </a:srgbClr>
                    </a:solidFill>
                    <a:effectLst/>
                    <a:uLnTx/>
                    <a:uFillTx/>
                    <a:latin typeface="Gill Sans MT" panose="020B0502020104020203" pitchFamily="34" charset="0"/>
                    <a:cs typeface="Segoe UI" panose="020B0502040204020203" pitchFamily="34" charset="0"/>
                  </a:rPr>
                  <a:t> </a:t>
                </a:r>
                <a:r>
                  <a:rPr kumimoji="0" lang="en-US" sz="1400" b="0" i="0" u="none" strike="noStrike" kern="0" cap="none" spc="0" normalizeH="0" baseline="0" noProof="0" dirty="0" err="1">
                    <a:ln>
                      <a:noFill/>
                    </a:ln>
                    <a:solidFill>
                      <a:srgbClr val="000000">
                        <a:lumMod val="75000"/>
                        <a:lumOff val="25000"/>
                      </a:srgbClr>
                    </a:solidFill>
                    <a:effectLst/>
                    <a:uLnTx/>
                    <a:uFillTx/>
                    <a:latin typeface="Gill Sans MT" panose="020B0502020104020203" pitchFamily="34" charset="0"/>
                    <a:cs typeface="Segoe UI" panose="020B0502040204020203" pitchFamily="34" charset="0"/>
                  </a:rPr>
                  <a:t>fringilla</a:t>
                </a:r>
                <a:r>
                  <a:rPr kumimoji="0" lang="en-US" sz="1400" b="0" i="0" u="none" strike="noStrike" kern="0" cap="none" spc="0" normalizeH="0" baseline="0" noProof="0" dirty="0">
                    <a:ln>
                      <a:noFill/>
                    </a:ln>
                    <a:solidFill>
                      <a:srgbClr val="000000">
                        <a:lumMod val="75000"/>
                        <a:lumOff val="25000"/>
                      </a:srgbClr>
                    </a:solidFill>
                    <a:effectLst/>
                    <a:uLnTx/>
                    <a:uFillTx/>
                    <a:latin typeface="Gill Sans MT" panose="020B0502020104020203" pitchFamily="34" charset="0"/>
                    <a:cs typeface="Segoe UI" panose="020B0502040204020203" pitchFamily="34" charset="0"/>
                  </a:rPr>
                  <a:t>. </a:t>
                </a:r>
              </a:p>
            </p:txBody>
          </p:sp>
          <p:grpSp>
            <p:nvGrpSpPr>
              <p:cNvPr id="50" name="Group 223">
                <a:extLst>
                  <a:ext uri="{FF2B5EF4-FFF2-40B4-BE49-F238E27FC236}">
                    <a16:creationId xmlns:a16="http://schemas.microsoft.com/office/drawing/2014/main" id="{920BB8A7-B1C7-4F94-BCDA-714CE3E297F3}"/>
                  </a:ext>
                </a:extLst>
              </p:cNvPr>
              <p:cNvGrpSpPr/>
              <p:nvPr/>
            </p:nvGrpSpPr>
            <p:grpSpPr>
              <a:xfrm rot="16200000">
                <a:off x="1336166" y="1833479"/>
                <a:ext cx="1025012" cy="361029"/>
                <a:chOff x="872552" y="3755789"/>
                <a:chExt cx="1025012" cy="361029"/>
              </a:xfrm>
            </p:grpSpPr>
            <p:grpSp>
              <p:nvGrpSpPr>
                <p:cNvPr id="51" name="Group 224">
                  <a:extLst>
                    <a:ext uri="{FF2B5EF4-FFF2-40B4-BE49-F238E27FC236}">
                      <a16:creationId xmlns:a16="http://schemas.microsoft.com/office/drawing/2014/main" id="{1EC23D28-0480-4E5E-B5BA-D4C634F912CD}"/>
                    </a:ext>
                  </a:extLst>
                </p:cNvPr>
                <p:cNvGrpSpPr/>
                <p:nvPr/>
              </p:nvGrpSpPr>
              <p:grpSpPr>
                <a:xfrm>
                  <a:off x="872552" y="3755789"/>
                  <a:ext cx="1025012" cy="361029"/>
                  <a:chOff x="5983820" y="1091376"/>
                  <a:chExt cx="1533306" cy="540061"/>
                </a:xfrm>
              </p:grpSpPr>
              <p:sp>
                <p:nvSpPr>
                  <p:cNvPr id="53" name="Oval 226">
                    <a:extLst>
                      <a:ext uri="{FF2B5EF4-FFF2-40B4-BE49-F238E27FC236}">
                        <a16:creationId xmlns:a16="http://schemas.microsoft.com/office/drawing/2014/main" id="{DA80F06C-1625-40C6-91DE-04A5E7A43C5E}"/>
                      </a:ext>
                    </a:extLst>
                  </p:cNvPr>
                  <p:cNvSpPr/>
                  <p:nvPr/>
                </p:nvSpPr>
                <p:spPr>
                  <a:xfrm>
                    <a:off x="6977063" y="1091376"/>
                    <a:ext cx="540063" cy="540061"/>
                  </a:xfrm>
                  <a:prstGeom prst="ellipse">
                    <a:avLst/>
                  </a:prstGeom>
                  <a:solidFill>
                    <a:sysClr val="window" lastClr="FFFFFF"/>
                  </a:solidFill>
                  <a:ln w="12700" cap="flat" cmpd="sng" algn="ctr">
                    <a:noFill/>
                    <a:prstDash val="solid"/>
                    <a:miter lim="800000"/>
                  </a:ln>
                  <a:effectLst>
                    <a:outerShdw blurRad="215900" sx="104000" sy="104000" algn="ctr" rotWithShape="0">
                      <a:prstClr val="black">
                        <a:alpha val="19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lumMod val="75000"/>
                          <a:lumOff val="25000"/>
                        </a:srgbClr>
                      </a:solidFill>
                      <a:effectLst/>
                      <a:uLnTx/>
                      <a:uFillTx/>
                      <a:latin typeface="Gill Sans MT" panose="020B0502020104020203" pitchFamily="34" charset="0"/>
                      <a:cs typeface="+mn-cs"/>
                    </a:endParaRPr>
                  </a:p>
                </p:txBody>
              </p:sp>
              <p:sp>
                <p:nvSpPr>
                  <p:cNvPr id="54" name="Flowchart: Stored Data 227">
                    <a:extLst>
                      <a:ext uri="{FF2B5EF4-FFF2-40B4-BE49-F238E27FC236}">
                        <a16:creationId xmlns:a16="http://schemas.microsoft.com/office/drawing/2014/main" id="{CE8CBB7E-7E20-4524-A0AD-298E5064D826}"/>
                      </a:ext>
                    </a:extLst>
                  </p:cNvPr>
                  <p:cNvSpPr/>
                  <p:nvPr/>
                </p:nvSpPr>
                <p:spPr>
                  <a:xfrm>
                    <a:off x="5983820" y="1096805"/>
                    <a:ext cx="1209933" cy="529201"/>
                  </a:xfrm>
                  <a:prstGeom prst="flowChartOnlineStorage">
                    <a:avLst/>
                  </a:prstGeom>
                  <a:solidFill>
                    <a:schemeClr val="accent1"/>
                  </a:solidFill>
                  <a:ln w="12700" cap="flat" cmpd="sng" algn="ctr">
                    <a:noFill/>
                    <a:prstDash val="solid"/>
                    <a:miter lim="800000"/>
                  </a:ln>
                  <a:effectLst/>
                </p:spPr>
                <p:txBody>
                  <a:bodyPr vert="vert"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0" cap="none" spc="0" normalizeH="0" baseline="0" noProof="0" dirty="0">
                      <a:ln>
                        <a:noFill/>
                      </a:ln>
                      <a:solidFill>
                        <a:srgbClr val="000000">
                          <a:lumMod val="75000"/>
                          <a:lumOff val="25000"/>
                        </a:srgbClr>
                      </a:solidFill>
                      <a:effectLst/>
                      <a:uLnTx/>
                      <a:uFillTx/>
                      <a:latin typeface="Gill Sans MT" panose="020B0502020104020203" pitchFamily="34" charset="0"/>
                      <a:cs typeface="+mn-cs"/>
                    </a:endParaRPr>
                  </a:p>
                </p:txBody>
              </p:sp>
            </p:grpSp>
            <p:sp>
              <p:nvSpPr>
                <p:cNvPr id="52" name="Freeform 150">
                  <a:extLst>
                    <a:ext uri="{FF2B5EF4-FFF2-40B4-BE49-F238E27FC236}">
                      <a16:creationId xmlns:a16="http://schemas.microsoft.com/office/drawing/2014/main" id="{D94A7C73-C197-414B-9CAE-2D864F6D2540}"/>
                    </a:ext>
                  </a:extLst>
                </p:cNvPr>
                <p:cNvSpPr>
                  <a:spLocks noEditPoints="1"/>
                </p:cNvSpPr>
                <p:nvPr/>
              </p:nvSpPr>
              <p:spPr bwMode="auto">
                <a:xfrm rot="5400000">
                  <a:off x="1636174" y="3843207"/>
                  <a:ext cx="194388" cy="195244"/>
                </a:xfrm>
                <a:custGeom>
                  <a:avLst/>
                  <a:gdLst>
                    <a:gd name="T0" fmla="*/ 48 w 96"/>
                    <a:gd name="T1" fmla="*/ 0 h 96"/>
                    <a:gd name="T2" fmla="*/ 0 w 96"/>
                    <a:gd name="T3" fmla="*/ 48 h 96"/>
                    <a:gd name="T4" fmla="*/ 48 w 96"/>
                    <a:gd name="T5" fmla="*/ 96 h 96"/>
                    <a:gd name="T6" fmla="*/ 96 w 96"/>
                    <a:gd name="T7" fmla="*/ 48 h 96"/>
                    <a:gd name="T8" fmla="*/ 48 w 96"/>
                    <a:gd name="T9" fmla="*/ 0 h 96"/>
                    <a:gd name="T10" fmla="*/ 72 w 96"/>
                    <a:gd name="T11" fmla="*/ 43 h 96"/>
                    <a:gd name="T12" fmla="*/ 70 w 96"/>
                    <a:gd name="T13" fmla="*/ 44 h 96"/>
                    <a:gd name="T14" fmla="*/ 54 w 96"/>
                    <a:gd name="T15" fmla="*/ 44 h 96"/>
                    <a:gd name="T16" fmla="*/ 52 w 96"/>
                    <a:gd name="T17" fmla="*/ 45 h 96"/>
                    <a:gd name="T18" fmla="*/ 50 w 96"/>
                    <a:gd name="T19" fmla="*/ 48 h 96"/>
                    <a:gd name="T20" fmla="*/ 64 w 96"/>
                    <a:gd name="T21" fmla="*/ 48 h 96"/>
                    <a:gd name="T22" fmla="*/ 66 w 96"/>
                    <a:gd name="T23" fmla="*/ 50 h 96"/>
                    <a:gd name="T24" fmla="*/ 64 w 96"/>
                    <a:gd name="T25" fmla="*/ 52 h 96"/>
                    <a:gd name="T26" fmla="*/ 46 w 96"/>
                    <a:gd name="T27" fmla="*/ 52 h 96"/>
                    <a:gd name="T28" fmla="*/ 42 w 96"/>
                    <a:gd name="T29" fmla="*/ 56 h 96"/>
                    <a:gd name="T30" fmla="*/ 58 w 96"/>
                    <a:gd name="T31" fmla="*/ 56 h 96"/>
                    <a:gd name="T32" fmla="*/ 60 w 96"/>
                    <a:gd name="T33" fmla="*/ 57 h 96"/>
                    <a:gd name="T34" fmla="*/ 60 w 96"/>
                    <a:gd name="T35" fmla="*/ 59 h 96"/>
                    <a:gd name="T36" fmla="*/ 37 w 96"/>
                    <a:gd name="T37" fmla="*/ 69 h 96"/>
                    <a:gd name="T38" fmla="*/ 30 w 96"/>
                    <a:gd name="T39" fmla="*/ 68 h 96"/>
                    <a:gd name="T40" fmla="*/ 25 w 96"/>
                    <a:gd name="T41" fmla="*/ 73 h 96"/>
                    <a:gd name="T42" fmla="*/ 22 w 96"/>
                    <a:gd name="T43" fmla="*/ 73 h 96"/>
                    <a:gd name="T44" fmla="*/ 22 w 96"/>
                    <a:gd name="T45" fmla="*/ 70 h 96"/>
                    <a:gd name="T46" fmla="*/ 27 w 96"/>
                    <a:gd name="T47" fmla="*/ 65 h 96"/>
                    <a:gd name="T48" fmla="*/ 28 w 96"/>
                    <a:gd name="T49" fmla="*/ 52 h 96"/>
                    <a:gd name="T50" fmla="*/ 40 w 96"/>
                    <a:gd name="T51" fmla="*/ 33 h 96"/>
                    <a:gd name="T52" fmla="*/ 57 w 96"/>
                    <a:gd name="T53" fmla="*/ 20 h 96"/>
                    <a:gd name="T54" fmla="*/ 59 w 96"/>
                    <a:gd name="T55" fmla="*/ 20 h 96"/>
                    <a:gd name="T56" fmla="*/ 60 w 96"/>
                    <a:gd name="T57" fmla="*/ 22 h 96"/>
                    <a:gd name="T58" fmla="*/ 60 w 96"/>
                    <a:gd name="T59" fmla="*/ 32 h 96"/>
                    <a:gd name="T60" fmla="*/ 70 w 96"/>
                    <a:gd name="T61" fmla="*/ 22 h 96"/>
                    <a:gd name="T62" fmla="*/ 73 w 96"/>
                    <a:gd name="T63" fmla="*/ 22 h 96"/>
                    <a:gd name="T64" fmla="*/ 72 w 96"/>
                    <a:gd name="T65" fmla="*/ 43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6" h="96">
                      <a:moveTo>
                        <a:pt x="48" y="0"/>
                      </a:moveTo>
                      <a:cubicBezTo>
                        <a:pt x="22" y="0"/>
                        <a:pt x="0" y="22"/>
                        <a:pt x="0" y="48"/>
                      </a:cubicBezTo>
                      <a:cubicBezTo>
                        <a:pt x="0" y="74"/>
                        <a:pt x="22" y="96"/>
                        <a:pt x="48" y="96"/>
                      </a:cubicBezTo>
                      <a:cubicBezTo>
                        <a:pt x="74" y="96"/>
                        <a:pt x="96" y="74"/>
                        <a:pt x="96" y="48"/>
                      </a:cubicBezTo>
                      <a:cubicBezTo>
                        <a:pt x="96" y="22"/>
                        <a:pt x="74" y="0"/>
                        <a:pt x="48" y="0"/>
                      </a:cubicBezTo>
                      <a:close/>
                      <a:moveTo>
                        <a:pt x="72" y="43"/>
                      </a:moveTo>
                      <a:cubicBezTo>
                        <a:pt x="71" y="44"/>
                        <a:pt x="71" y="44"/>
                        <a:pt x="70" y="44"/>
                      </a:cubicBezTo>
                      <a:cubicBezTo>
                        <a:pt x="54" y="44"/>
                        <a:pt x="54" y="44"/>
                        <a:pt x="54" y="44"/>
                      </a:cubicBezTo>
                      <a:cubicBezTo>
                        <a:pt x="52" y="45"/>
                        <a:pt x="52" y="45"/>
                        <a:pt x="52" y="45"/>
                      </a:cubicBezTo>
                      <a:cubicBezTo>
                        <a:pt x="50" y="48"/>
                        <a:pt x="50" y="48"/>
                        <a:pt x="50" y="48"/>
                      </a:cubicBezTo>
                      <a:cubicBezTo>
                        <a:pt x="64" y="48"/>
                        <a:pt x="64" y="48"/>
                        <a:pt x="64" y="48"/>
                      </a:cubicBezTo>
                      <a:cubicBezTo>
                        <a:pt x="65" y="48"/>
                        <a:pt x="66" y="49"/>
                        <a:pt x="66" y="50"/>
                      </a:cubicBezTo>
                      <a:cubicBezTo>
                        <a:pt x="66" y="51"/>
                        <a:pt x="65" y="52"/>
                        <a:pt x="64" y="52"/>
                      </a:cubicBezTo>
                      <a:cubicBezTo>
                        <a:pt x="46" y="52"/>
                        <a:pt x="46" y="52"/>
                        <a:pt x="46" y="52"/>
                      </a:cubicBezTo>
                      <a:cubicBezTo>
                        <a:pt x="42" y="56"/>
                        <a:pt x="42" y="56"/>
                        <a:pt x="42" y="56"/>
                      </a:cubicBezTo>
                      <a:cubicBezTo>
                        <a:pt x="58" y="56"/>
                        <a:pt x="58" y="56"/>
                        <a:pt x="58" y="56"/>
                      </a:cubicBezTo>
                      <a:cubicBezTo>
                        <a:pt x="59" y="56"/>
                        <a:pt x="60" y="57"/>
                        <a:pt x="60" y="57"/>
                      </a:cubicBezTo>
                      <a:cubicBezTo>
                        <a:pt x="60" y="58"/>
                        <a:pt x="60" y="59"/>
                        <a:pt x="60" y="59"/>
                      </a:cubicBezTo>
                      <a:cubicBezTo>
                        <a:pt x="53" y="66"/>
                        <a:pt x="44" y="69"/>
                        <a:pt x="37" y="69"/>
                      </a:cubicBezTo>
                      <a:cubicBezTo>
                        <a:pt x="34" y="69"/>
                        <a:pt x="32" y="69"/>
                        <a:pt x="30" y="68"/>
                      </a:cubicBezTo>
                      <a:cubicBezTo>
                        <a:pt x="25" y="73"/>
                        <a:pt x="25" y="73"/>
                        <a:pt x="25" y="73"/>
                      </a:cubicBezTo>
                      <a:cubicBezTo>
                        <a:pt x="24" y="74"/>
                        <a:pt x="23" y="74"/>
                        <a:pt x="22" y="73"/>
                      </a:cubicBezTo>
                      <a:cubicBezTo>
                        <a:pt x="21" y="72"/>
                        <a:pt x="21" y="71"/>
                        <a:pt x="22" y="70"/>
                      </a:cubicBezTo>
                      <a:cubicBezTo>
                        <a:pt x="27" y="65"/>
                        <a:pt x="27" y="65"/>
                        <a:pt x="27" y="65"/>
                      </a:cubicBezTo>
                      <a:cubicBezTo>
                        <a:pt x="25" y="62"/>
                        <a:pt x="26" y="57"/>
                        <a:pt x="28" y="52"/>
                      </a:cubicBezTo>
                      <a:cubicBezTo>
                        <a:pt x="30" y="45"/>
                        <a:pt x="34" y="39"/>
                        <a:pt x="40" y="33"/>
                      </a:cubicBezTo>
                      <a:cubicBezTo>
                        <a:pt x="46" y="27"/>
                        <a:pt x="53" y="22"/>
                        <a:pt x="57" y="20"/>
                      </a:cubicBezTo>
                      <a:cubicBezTo>
                        <a:pt x="58" y="20"/>
                        <a:pt x="59" y="20"/>
                        <a:pt x="59" y="20"/>
                      </a:cubicBezTo>
                      <a:cubicBezTo>
                        <a:pt x="60" y="21"/>
                        <a:pt x="60" y="21"/>
                        <a:pt x="60" y="22"/>
                      </a:cubicBezTo>
                      <a:cubicBezTo>
                        <a:pt x="60" y="32"/>
                        <a:pt x="60" y="32"/>
                        <a:pt x="60" y="32"/>
                      </a:cubicBezTo>
                      <a:cubicBezTo>
                        <a:pt x="70" y="22"/>
                        <a:pt x="70" y="22"/>
                        <a:pt x="70" y="22"/>
                      </a:cubicBezTo>
                      <a:cubicBezTo>
                        <a:pt x="71" y="21"/>
                        <a:pt x="72" y="21"/>
                        <a:pt x="73" y="22"/>
                      </a:cubicBezTo>
                      <a:cubicBezTo>
                        <a:pt x="78" y="26"/>
                        <a:pt x="77" y="34"/>
                        <a:pt x="72" y="43"/>
                      </a:cubicBezTo>
                      <a:close/>
                    </a:path>
                  </a:pathLst>
                </a:custGeom>
                <a:gradFill flip="none" rotWithShape="1">
                  <a:gsLst>
                    <a:gs pos="100000">
                      <a:schemeClr val="accent1"/>
                    </a:gs>
                    <a:gs pos="0">
                      <a:schemeClr val="accent1"/>
                    </a:gs>
                  </a:gsLst>
                  <a:lin ang="2700000" scaled="1"/>
                  <a:tileRect/>
                </a:gradFill>
                <a:ln>
                  <a:noFill/>
                </a:ln>
              </p:spPr>
              <p:txBody>
                <a:bodyPr vert="horz" wrap="square" lIns="91440" tIns="45720" rIns="91440" bIns="45720" numCol="1" anchor="t" anchorCtr="0" compatLnSpc="1">
                  <a:prstTxWarp prst="textNoShape">
                    <a:avLst/>
                  </a:prstTxWarp>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lumMod val="75000"/>
                        <a:lumOff val="25000"/>
                      </a:srgbClr>
                    </a:solidFill>
                    <a:effectLst/>
                    <a:uLnTx/>
                    <a:uFillTx/>
                    <a:latin typeface="Arial"/>
                    <a:cs typeface="+mn-cs"/>
                  </a:endParaRPr>
                </a:p>
              </p:txBody>
            </p:sp>
          </p:grpSp>
        </p:grpSp>
        <p:grpSp>
          <p:nvGrpSpPr>
            <p:cNvPr id="39" name="Group 205">
              <a:extLst>
                <a:ext uri="{FF2B5EF4-FFF2-40B4-BE49-F238E27FC236}">
                  <a16:creationId xmlns:a16="http://schemas.microsoft.com/office/drawing/2014/main" id="{74B71DC6-2BDD-4D03-9E37-7731FF390CF7}"/>
                </a:ext>
              </a:extLst>
            </p:cNvPr>
            <p:cNvGrpSpPr/>
            <p:nvPr/>
          </p:nvGrpSpPr>
          <p:grpSpPr>
            <a:xfrm>
              <a:off x="839122" y="4334505"/>
              <a:ext cx="3496132" cy="1025012"/>
              <a:chOff x="1668157" y="1501488"/>
              <a:chExt cx="3496132" cy="1025012"/>
            </a:xfrm>
          </p:grpSpPr>
          <p:sp>
            <p:nvSpPr>
              <p:cNvPr id="41" name="Rectangle 211">
                <a:extLst>
                  <a:ext uri="{FF2B5EF4-FFF2-40B4-BE49-F238E27FC236}">
                    <a16:creationId xmlns:a16="http://schemas.microsoft.com/office/drawing/2014/main" id="{C6F6A691-8CE8-45AC-95DB-525CC662A9ED}"/>
                  </a:ext>
                </a:extLst>
              </p:cNvPr>
              <p:cNvSpPr/>
              <p:nvPr/>
            </p:nvSpPr>
            <p:spPr>
              <a:xfrm>
                <a:off x="2199087" y="1515166"/>
                <a:ext cx="1500845" cy="276999"/>
              </a:xfrm>
              <a:prstGeom prst="rect">
                <a:avLst/>
              </a:prstGeom>
            </p:spPr>
            <p:txBody>
              <a:bodyPr wrap="square" lIns="0" tIns="0" rIns="0" bIns="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000000">
                        <a:lumMod val="75000"/>
                        <a:lumOff val="25000"/>
                      </a:srgbClr>
                    </a:solidFill>
                    <a:effectLst/>
                    <a:uLnTx/>
                    <a:uFillTx/>
                    <a:latin typeface="Gill Sans MT" panose="020B0502020104020203" pitchFamily="34" charset="0"/>
                    <a:cs typeface="Segoe UI" panose="020B0502040204020203" pitchFamily="34" charset="0"/>
                  </a:rPr>
                  <a:t>Lorem Ipsum</a:t>
                </a:r>
              </a:p>
            </p:txBody>
          </p:sp>
          <p:sp>
            <p:nvSpPr>
              <p:cNvPr id="42" name="Rectangle 213">
                <a:extLst>
                  <a:ext uri="{FF2B5EF4-FFF2-40B4-BE49-F238E27FC236}">
                    <a16:creationId xmlns:a16="http://schemas.microsoft.com/office/drawing/2014/main" id="{52911B16-A3E7-461B-B046-AA761CBAFAB7}"/>
                  </a:ext>
                </a:extLst>
              </p:cNvPr>
              <p:cNvSpPr/>
              <p:nvPr/>
            </p:nvSpPr>
            <p:spPr>
              <a:xfrm>
                <a:off x="2199087" y="1880169"/>
                <a:ext cx="2965202" cy="646331"/>
              </a:xfrm>
              <a:prstGeom prst="rect">
                <a:avLst/>
              </a:prstGeom>
            </p:spPr>
            <p:txBody>
              <a:bodyPr wrap="square" lIns="0" tIns="0" rIns="0" bIns="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lumMod val="75000"/>
                        <a:lumOff val="25000"/>
                      </a:srgbClr>
                    </a:solidFill>
                    <a:effectLst/>
                    <a:uLnTx/>
                    <a:uFillTx/>
                    <a:latin typeface="Gill Sans MT" panose="020B0502020104020203" pitchFamily="34" charset="0"/>
                    <a:cs typeface="Segoe UI" panose="020B0502040204020203" pitchFamily="34" charset="0"/>
                  </a:rPr>
                  <a:t>Lorem ipsum dolor sit </a:t>
                </a:r>
                <a:r>
                  <a:rPr kumimoji="0" lang="en-US" sz="1400" b="0" i="0" u="none" strike="noStrike" kern="0" cap="none" spc="0" normalizeH="0" baseline="0" noProof="0" dirty="0" err="1">
                    <a:ln>
                      <a:noFill/>
                    </a:ln>
                    <a:solidFill>
                      <a:srgbClr val="000000">
                        <a:lumMod val="75000"/>
                        <a:lumOff val="25000"/>
                      </a:srgbClr>
                    </a:solidFill>
                    <a:effectLst/>
                    <a:uLnTx/>
                    <a:uFillTx/>
                    <a:latin typeface="Gill Sans MT" panose="020B0502020104020203" pitchFamily="34" charset="0"/>
                    <a:cs typeface="Segoe UI" panose="020B0502040204020203" pitchFamily="34" charset="0"/>
                  </a:rPr>
                  <a:t>amet</a:t>
                </a:r>
                <a:r>
                  <a:rPr kumimoji="0" lang="en-US" sz="1400" b="0" i="0" u="none" strike="noStrike" kern="0" cap="none" spc="0" normalizeH="0" baseline="0" noProof="0" dirty="0">
                    <a:ln>
                      <a:noFill/>
                    </a:ln>
                    <a:solidFill>
                      <a:srgbClr val="000000">
                        <a:lumMod val="75000"/>
                        <a:lumOff val="25000"/>
                      </a:srgbClr>
                    </a:solidFill>
                    <a:effectLst/>
                    <a:uLnTx/>
                    <a:uFillTx/>
                    <a:latin typeface="Gill Sans MT" panose="020B0502020104020203" pitchFamily="34" charset="0"/>
                    <a:cs typeface="Segoe UI" panose="020B0502040204020203" pitchFamily="34" charset="0"/>
                  </a:rPr>
                  <a:t>, </a:t>
                </a:r>
                <a:r>
                  <a:rPr kumimoji="0" lang="en-US" sz="1400" b="0" i="0" u="none" strike="noStrike" kern="0" cap="none" spc="0" normalizeH="0" baseline="0" noProof="0" dirty="0" err="1">
                    <a:ln>
                      <a:noFill/>
                    </a:ln>
                    <a:solidFill>
                      <a:srgbClr val="000000">
                        <a:lumMod val="75000"/>
                        <a:lumOff val="25000"/>
                      </a:srgbClr>
                    </a:solidFill>
                    <a:effectLst/>
                    <a:uLnTx/>
                    <a:uFillTx/>
                    <a:latin typeface="Gill Sans MT" panose="020B0502020104020203" pitchFamily="34" charset="0"/>
                    <a:cs typeface="Segoe UI" panose="020B0502040204020203" pitchFamily="34" charset="0"/>
                  </a:rPr>
                  <a:t>consectetur</a:t>
                </a:r>
                <a:r>
                  <a:rPr kumimoji="0" lang="en-US" sz="1400" b="0" i="0" u="none" strike="noStrike" kern="0" cap="none" spc="0" normalizeH="0" baseline="0" noProof="0" dirty="0">
                    <a:ln>
                      <a:noFill/>
                    </a:ln>
                    <a:solidFill>
                      <a:srgbClr val="000000">
                        <a:lumMod val="75000"/>
                        <a:lumOff val="25000"/>
                      </a:srgbClr>
                    </a:solidFill>
                    <a:effectLst/>
                    <a:uLnTx/>
                    <a:uFillTx/>
                    <a:latin typeface="Gill Sans MT" panose="020B0502020104020203" pitchFamily="34" charset="0"/>
                    <a:cs typeface="Segoe UI" panose="020B0502040204020203" pitchFamily="34" charset="0"/>
                  </a:rPr>
                  <a:t> </a:t>
                </a:r>
                <a:r>
                  <a:rPr kumimoji="0" lang="en-US" sz="1400" b="0" i="0" u="none" strike="noStrike" kern="0" cap="none" spc="0" normalizeH="0" baseline="0" noProof="0" dirty="0" err="1">
                    <a:ln>
                      <a:noFill/>
                    </a:ln>
                    <a:solidFill>
                      <a:srgbClr val="000000">
                        <a:lumMod val="75000"/>
                        <a:lumOff val="25000"/>
                      </a:srgbClr>
                    </a:solidFill>
                    <a:effectLst/>
                    <a:uLnTx/>
                    <a:uFillTx/>
                    <a:latin typeface="Gill Sans MT" panose="020B0502020104020203" pitchFamily="34" charset="0"/>
                    <a:cs typeface="Segoe UI" panose="020B0502040204020203" pitchFamily="34" charset="0"/>
                  </a:rPr>
                  <a:t>adipiscing</a:t>
                </a:r>
                <a:r>
                  <a:rPr kumimoji="0" lang="en-US" sz="1400" b="0" i="0" u="none" strike="noStrike" kern="0" cap="none" spc="0" normalizeH="0" baseline="0" noProof="0" dirty="0">
                    <a:ln>
                      <a:noFill/>
                    </a:ln>
                    <a:solidFill>
                      <a:srgbClr val="000000">
                        <a:lumMod val="75000"/>
                        <a:lumOff val="25000"/>
                      </a:srgbClr>
                    </a:solidFill>
                    <a:effectLst/>
                    <a:uLnTx/>
                    <a:uFillTx/>
                    <a:latin typeface="Gill Sans MT" panose="020B0502020104020203" pitchFamily="34" charset="0"/>
                    <a:cs typeface="Segoe UI" panose="020B0502040204020203" pitchFamily="34" charset="0"/>
                  </a:rPr>
                  <a:t> </a:t>
                </a:r>
                <a:r>
                  <a:rPr kumimoji="0" lang="en-US" sz="1400" b="0" i="0" u="none" strike="noStrike" kern="0" cap="none" spc="0" normalizeH="0" baseline="0" noProof="0" dirty="0" err="1">
                    <a:ln>
                      <a:noFill/>
                    </a:ln>
                    <a:solidFill>
                      <a:srgbClr val="000000">
                        <a:lumMod val="75000"/>
                        <a:lumOff val="25000"/>
                      </a:srgbClr>
                    </a:solidFill>
                    <a:effectLst/>
                    <a:uLnTx/>
                    <a:uFillTx/>
                    <a:latin typeface="Gill Sans MT" panose="020B0502020104020203" pitchFamily="34" charset="0"/>
                    <a:cs typeface="Segoe UI" panose="020B0502040204020203" pitchFamily="34" charset="0"/>
                  </a:rPr>
                  <a:t>elit</a:t>
                </a:r>
                <a:r>
                  <a:rPr kumimoji="0" lang="en-US" sz="1400" b="0" i="0" u="none" strike="noStrike" kern="0" cap="none" spc="0" normalizeH="0" baseline="0" noProof="0" dirty="0">
                    <a:ln>
                      <a:noFill/>
                    </a:ln>
                    <a:solidFill>
                      <a:srgbClr val="000000">
                        <a:lumMod val="75000"/>
                        <a:lumOff val="25000"/>
                      </a:srgbClr>
                    </a:solidFill>
                    <a:effectLst/>
                    <a:uLnTx/>
                    <a:uFillTx/>
                    <a:latin typeface="Gill Sans MT" panose="020B0502020104020203" pitchFamily="34" charset="0"/>
                    <a:cs typeface="Segoe UI" panose="020B0502040204020203" pitchFamily="34" charset="0"/>
                  </a:rPr>
                  <a:t>. </a:t>
                </a:r>
                <a:r>
                  <a:rPr kumimoji="0" lang="en-US" sz="1400" b="0" i="0" u="none" strike="noStrike" kern="0" cap="none" spc="0" normalizeH="0" baseline="0" noProof="0" dirty="0" err="1">
                    <a:ln>
                      <a:noFill/>
                    </a:ln>
                    <a:solidFill>
                      <a:srgbClr val="000000">
                        <a:lumMod val="75000"/>
                        <a:lumOff val="25000"/>
                      </a:srgbClr>
                    </a:solidFill>
                    <a:effectLst/>
                    <a:uLnTx/>
                    <a:uFillTx/>
                    <a:latin typeface="Gill Sans MT" panose="020B0502020104020203" pitchFamily="34" charset="0"/>
                    <a:cs typeface="Segoe UI" panose="020B0502040204020203" pitchFamily="34" charset="0"/>
                  </a:rPr>
                  <a:t>Nulla</a:t>
                </a:r>
                <a:r>
                  <a:rPr kumimoji="0" lang="en-US" sz="1400" b="0" i="0" u="none" strike="noStrike" kern="0" cap="none" spc="0" normalizeH="0" baseline="0" noProof="0" dirty="0">
                    <a:ln>
                      <a:noFill/>
                    </a:ln>
                    <a:solidFill>
                      <a:srgbClr val="000000">
                        <a:lumMod val="75000"/>
                        <a:lumOff val="25000"/>
                      </a:srgbClr>
                    </a:solidFill>
                    <a:effectLst/>
                    <a:uLnTx/>
                    <a:uFillTx/>
                    <a:latin typeface="Gill Sans MT" panose="020B0502020104020203" pitchFamily="34" charset="0"/>
                    <a:cs typeface="Segoe UI" panose="020B0502040204020203" pitchFamily="34" charset="0"/>
                  </a:rPr>
                  <a:t> </a:t>
                </a:r>
                <a:r>
                  <a:rPr kumimoji="0" lang="en-US" sz="1400" b="0" i="0" u="none" strike="noStrike" kern="0" cap="none" spc="0" normalizeH="0" baseline="0" noProof="0" dirty="0" err="1">
                    <a:ln>
                      <a:noFill/>
                    </a:ln>
                    <a:solidFill>
                      <a:srgbClr val="000000">
                        <a:lumMod val="75000"/>
                        <a:lumOff val="25000"/>
                      </a:srgbClr>
                    </a:solidFill>
                    <a:effectLst/>
                    <a:uLnTx/>
                    <a:uFillTx/>
                    <a:latin typeface="Gill Sans MT" panose="020B0502020104020203" pitchFamily="34" charset="0"/>
                    <a:cs typeface="Segoe UI" panose="020B0502040204020203" pitchFamily="34" charset="0"/>
                  </a:rPr>
                  <a:t>eleifend</a:t>
                </a:r>
                <a:r>
                  <a:rPr kumimoji="0" lang="en-US" sz="1400" b="0" i="0" u="none" strike="noStrike" kern="0" cap="none" spc="0" normalizeH="0" baseline="0" noProof="0" dirty="0">
                    <a:ln>
                      <a:noFill/>
                    </a:ln>
                    <a:solidFill>
                      <a:srgbClr val="000000">
                        <a:lumMod val="75000"/>
                        <a:lumOff val="25000"/>
                      </a:srgbClr>
                    </a:solidFill>
                    <a:effectLst/>
                    <a:uLnTx/>
                    <a:uFillTx/>
                    <a:latin typeface="Gill Sans MT" panose="020B0502020104020203" pitchFamily="34" charset="0"/>
                    <a:cs typeface="Segoe UI" panose="020B0502040204020203" pitchFamily="34" charset="0"/>
                  </a:rPr>
                  <a:t> nisi sit </a:t>
                </a:r>
                <a:r>
                  <a:rPr kumimoji="0" lang="en-US" sz="1400" b="0" i="0" u="none" strike="noStrike" kern="0" cap="none" spc="0" normalizeH="0" baseline="0" noProof="0" dirty="0" err="1">
                    <a:ln>
                      <a:noFill/>
                    </a:ln>
                    <a:solidFill>
                      <a:srgbClr val="000000">
                        <a:lumMod val="75000"/>
                        <a:lumOff val="25000"/>
                      </a:srgbClr>
                    </a:solidFill>
                    <a:effectLst/>
                    <a:uLnTx/>
                    <a:uFillTx/>
                    <a:latin typeface="Gill Sans MT" panose="020B0502020104020203" pitchFamily="34" charset="0"/>
                    <a:cs typeface="Segoe UI" panose="020B0502040204020203" pitchFamily="34" charset="0"/>
                  </a:rPr>
                  <a:t>amet</a:t>
                </a:r>
                <a:r>
                  <a:rPr kumimoji="0" lang="en-US" sz="1400" b="0" i="0" u="none" strike="noStrike" kern="0" cap="none" spc="0" normalizeH="0" baseline="0" noProof="0" dirty="0">
                    <a:ln>
                      <a:noFill/>
                    </a:ln>
                    <a:solidFill>
                      <a:srgbClr val="000000">
                        <a:lumMod val="75000"/>
                        <a:lumOff val="25000"/>
                      </a:srgbClr>
                    </a:solidFill>
                    <a:effectLst/>
                    <a:uLnTx/>
                    <a:uFillTx/>
                    <a:latin typeface="Gill Sans MT" panose="020B0502020104020203" pitchFamily="34" charset="0"/>
                    <a:cs typeface="Segoe UI" panose="020B0502040204020203" pitchFamily="34" charset="0"/>
                  </a:rPr>
                  <a:t> </a:t>
                </a:r>
                <a:r>
                  <a:rPr kumimoji="0" lang="en-US" sz="1400" b="0" i="0" u="none" strike="noStrike" kern="0" cap="none" spc="0" normalizeH="0" baseline="0" noProof="0" dirty="0" err="1">
                    <a:ln>
                      <a:noFill/>
                    </a:ln>
                    <a:solidFill>
                      <a:srgbClr val="000000">
                        <a:lumMod val="75000"/>
                        <a:lumOff val="25000"/>
                      </a:srgbClr>
                    </a:solidFill>
                    <a:effectLst/>
                    <a:uLnTx/>
                    <a:uFillTx/>
                    <a:latin typeface="Gill Sans MT" panose="020B0502020104020203" pitchFamily="34" charset="0"/>
                    <a:cs typeface="Segoe UI" panose="020B0502040204020203" pitchFamily="34" charset="0"/>
                  </a:rPr>
                  <a:t>metus</a:t>
                </a:r>
                <a:r>
                  <a:rPr kumimoji="0" lang="en-US" sz="1400" b="0" i="0" u="none" strike="noStrike" kern="0" cap="none" spc="0" normalizeH="0" baseline="0" noProof="0" dirty="0">
                    <a:ln>
                      <a:noFill/>
                    </a:ln>
                    <a:solidFill>
                      <a:srgbClr val="000000">
                        <a:lumMod val="75000"/>
                        <a:lumOff val="25000"/>
                      </a:srgbClr>
                    </a:solidFill>
                    <a:effectLst/>
                    <a:uLnTx/>
                    <a:uFillTx/>
                    <a:latin typeface="Gill Sans MT" panose="020B0502020104020203" pitchFamily="34" charset="0"/>
                    <a:cs typeface="Segoe UI" panose="020B0502040204020203" pitchFamily="34" charset="0"/>
                  </a:rPr>
                  <a:t> </a:t>
                </a:r>
                <a:r>
                  <a:rPr kumimoji="0" lang="en-US" sz="1400" b="0" i="0" u="none" strike="noStrike" kern="0" cap="none" spc="0" normalizeH="0" baseline="0" noProof="0" dirty="0" err="1">
                    <a:ln>
                      <a:noFill/>
                    </a:ln>
                    <a:solidFill>
                      <a:srgbClr val="000000">
                        <a:lumMod val="75000"/>
                        <a:lumOff val="25000"/>
                      </a:srgbClr>
                    </a:solidFill>
                    <a:effectLst/>
                    <a:uLnTx/>
                    <a:uFillTx/>
                    <a:latin typeface="Gill Sans MT" panose="020B0502020104020203" pitchFamily="34" charset="0"/>
                    <a:cs typeface="Segoe UI" panose="020B0502040204020203" pitchFamily="34" charset="0"/>
                  </a:rPr>
                  <a:t>imperdiet</a:t>
                </a:r>
                <a:r>
                  <a:rPr kumimoji="0" lang="en-US" sz="1400" b="0" i="0" u="none" strike="noStrike" kern="0" cap="none" spc="0" normalizeH="0" baseline="0" noProof="0" dirty="0">
                    <a:ln>
                      <a:noFill/>
                    </a:ln>
                    <a:solidFill>
                      <a:srgbClr val="000000">
                        <a:lumMod val="75000"/>
                        <a:lumOff val="25000"/>
                      </a:srgbClr>
                    </a:solidFill>
                    <a:effectLst/>
                    <a:uLnTx/>
                    <a:uFillTx/>
                    <a:latin typeface="Gill Sans MT" panose="020B0502020104020203" pitchFamily="34" charset="0"/>
                    <a:cs typeface="Segoe UI" panose="020B0502040204020203" pitchFamily="34" charset="0"/>
                  </a:rPr>
                  <a:t> </a:t>
                </a:r>
                <a:r>
                  <a:rPr kumimoji="0" lang="en-US" sz="1400" b="0" i="0" u="none" strike="noStrike" kern="0" cap="none" spc="0" normalizeH="0" baseline="0" noProof="0" dirty="0" err="1">
                    <a:ln>
                      <a:noFill/>
                    </a:ln>
                    <a:solidFill>
                      <a:srgbClr val="000000">
                        <a:lumMod val="75000"/>
                        <a:lumOff val="25000"/>
                      </a:srgbClr>
                    </a:solidFill>
                    <a:effectLst/>
                    <a:uLnTx/>
                    <a:uFillTx/>
                    <a:latin typeface="Gill Sans MT" panose="020B0502020104020203" pitchFamily="34" charset="0"/>
                    <a:cs typeface="Segoe UI" panose="020B0502040204020203" pitchFamily="34" charset="0"/>
                  </a:rPr>
                  <a:t>fringilla</a:t>
                </a:r>
                <a:r>
                  <a:rPr kumimoji="0" lang="en-US" sz="1400" b="0" i="0" u="none" strike="noStrike" kern="0" cap="none" spc="0" normalizeH="0" baseline="0" noProof="0" dirty="0">
                    <a:ln>
                      <a:noFill/>
                    </a:ln>
                    <a:solidFill>
                      <a:srgbClr val="000000">
                        <a:lumMod val="75000"/>
                        <a:lumOff val="25000"/>
                      </a:srgbClr>
                    </a:solidFill>
                    <a:effectLst/>
                    <a:uLnTx/>
                    <a:uFillTx/>
                    <a:latin typeface="Gill Sans MT" panose="020B0502020104020203" pitchFamily="34" charset="0"/>
                    <a:cs typeface="Segoe UI" panose="020B0502040204020203" pitchFamily="34" charset="0"/>
                  </a:rPr>
                  <a:t>. </a:t>
                </a:r>
              </a:p>
            </p:txBody>
          </p:sp>
          <p:grpSp>
            <p:nvGrpSpPr>
              <p:cNvPr id="43" name="Group 216">
                <a:extLst>
                  <a:ext uri="{FF2B5EF4-FFF2-40B4-BE49-F238E27FC236}">
                    <a16:creationId xmlns:a16="http://schemas.microsoft.com/office/drawing/2014/main" id="{B4C77507-F640-45D3-BB05-FBA4BFB79A61}"/>
                  </a:ext>
                </a:extLst>
              </p:cNvPr>
              <p:cNvGrpSpPr/>
              <p:nvPr/>
            </p:nvGrpSpPr>
            <p:grpSpPr>
              <a:xfrm rot="16200000">
                <a:off x="1336166" y="1833479"/>
                <a:ext cx="1025012" cy="361029"/>
                <a:chOff x="872552" y="3755789"/>
                <a:chExt cx="1025012" cy="361029"/>
              </a:xfrm>
            </p:grpSpPr>
            <p:grpSp>
              <p:nvGrpSpPr>
                <p:cNvPr id="44" name="Group 217">
                  <a:extLst>
                    <a:ext uri="{FF2B5EF4-FFF2-40B4-BE49-F238E27FC236}">
                      <a16:creationId xmlns:a16="http://schemas.microsoft.com/office/drawing/2014/main" id="{C6ED9EEA-E730-4FF8-908F-08F68DEFC003}"/>
                    </a:ext>
                  </a:extLst>
                </p:cNvPr>
                <p:cNvGrpSpPr/>
                <p:nvPr/>
              </p:nvGrpSpPr>
              <p:grpSpPr>
                <a:xfrm>
                  <a:off x="872552" y="3755789"/>
                  <a:ext cx="1025012" cy="361029"/>
                  <a:chOff x="5983820" y="1091376"/>
                  <a:chExt cx="1533306" cy="540061"/>
                </a:xfrm>
              </p:grpSpPr>
              <p:sp>
                <p:nvSpPr>
                  <p:cNvPr id="46" name="Oval 219">
                    <a:extLst>
                      <a:ext uri="{FF2B5EF4-FFF2-40B4-BE49-F238E27FC236}">
                        <a16:creationId xmlns:a16="http://schemas.microsoft.com/office/drawing/2014/main" id="{38087F18-01C1-4716-B2D7-A15D3B68307A}"/>
                      </a:ext>
                    </a:extLst>
                  </p:cNvPr>
                  <p:cNvSpPr/>
                  <p:nvPr/>
                </p:nvSpPr>
                <p:spPr>
                  <a:xfrm>
                    <a:off x="6977063" y="1091376"/>
                    <a:ext cx="540063" cy="540061"/>
                  </a:xfrm>
                  <a:prstGeom prst="ellipse">
                    <a:avLst/>
                  </a:prstGeom>
                  <a:solidFill>
                    <a:sysClr val="window" lastClr="FFFFFF"/>
                  </a:solidFill>
                  <a:ln w="12700" cap="flat" cmpd="sng" algn="ctr">
                    <a:noFill/>
                    <a:prstDash val="solid"/>
                    <a:miter lim="800000"/>
                  </a:ln>
                  <a:effectLst>
                    <a:outerShdw blurRad="215900" sx="104000" sy="104000" algn="ctr" rotWithShape="0">
                      <a:prstClr val="black">
                        <a:alpha val="19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lumMod val="75000"/>
                          <a:lumOff val="25000"/>
                        </a:srgbClr>
                      </a:solidFill>
                      <a:effectLst/>
                      <a:uLnTx/>
                      <a:uFillTx/>
                      <a:latin typeface="Gill Sans MT" panose="020B0502020104020203" pitchFamily="34" charset="0"/>
                      <a:cs typeface="+mn-cs"/>
                    </a:endParaRPr>
                  </a:p>
                </p:txBody>
              </p:sp>
              <p:sp>
                <p:nvSpPr>
                  <p:cNvPr id="47" name="Flowchart: Stored Data 220">
                    <a:extLst>
                      <a:ext uri="{FF2B5EF4-FFF2-40B4-BE49-F238E27FC236}">
                        <a16:creationId xmlns:a16="http://schemas.microsoft.com/office/drawing/2014/main" id="{A9B365C8-63BD-4CEA-9F85-7E2BA3FABBF8}"/>
                      </a:ext>
                    </a:extLst>
                  </p:cNvPr>
                  <p:cNvSpPr/>
                  <p:nvPr/>
                </p:nvSpPr>
                <p:spPr>
                  <a:xfrm>
                    <a:off x="5983820" y="1096805"/>
                    <a:ext cx="1209933" cy="529201"/>
                  </a:xfrm>
                  <a:prstGeom prst="flowChartOnlineStorage">
                    <a:avLst/>
                  </a:prstGeom>
                  <a:gradFill flip="none" rotWithShape="1">
                    <a:gsLst>
                      <a:gs pos="100000">
                        <a:schemeClr val="accent1"/>
                      </a:gs>
                      <a:gs pos="0">
                        <a:schemeClr val="accent1"/>
                      </a:gs>
                    </a:gsLst>
                    <a:lin ang="2700000" scaled="1"/>
                    <a:tileRect/>
                  </a:gradFill>
                  <a:ln w="12700" cap="flat" cmpd="sng" algn="ctr">
                    <a:noFill/>
                    <a:prstDash val="solid"/>
                    <a:miter lim="800000"/>
                  </a:ln>
                  <a:effectLst/>
                </p:spPr>
                <p:txBody>
                  <a:bodyPr vert="vert"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0" cap="none" spc="0" normalizeH="0" baseline="0" noProof="0" dirty="0">
                      <a:ln>
                        <a:noFill/>
                      </a:ln>
                      <a:solidFill>
                        <a:srgbClr val="000000">
                          <a:lumMod val="75000"/>
                          <a:lumOff val="25000"/>
                        </a:srgbClr>
                      </a:solidFill>
                      <a:effectLst/>
                      <a:uLnTx/>
                      <a:uFillTx/>
                      <a:latin typeface="Gill Sans MT" panose="020B0502020104020203" pitchFamily="34" charset="0"/>
                      <a:cs typeface="+mn-cs"/>
                    </a:endParaRPr>
                  </a:p>
                </p:txBody>
              </p:sp>
            </p:grpSp>
            <p:sp>
              <p:nvSpPr>
                <p:cNvPr id="45" name="Freeform 150">
                  <a:extLst>
                    <a:ext uri="{FF2B5EF4-FFF2-40B4-BE49-F238E27FC236}">
                      <a16:creationId xmlns:a16="http://schemas.microsoft.com/office/drawing/2014/main" id="{7FB92911-EF5A-4F05-AF02-B0A480756708}"/>
                    </a:ext>
                  </a:extLst>
                </p:cNvPr>
                <p:cNvSpPr>
                  <a:spLocks noEditPoints="1"/>
                </p:cNvSpPr>
                <p:nvPr/>
              </p:nvSpPr>
              <p:spPr bwMode="auto">
                <a:xfrm rot="5400000">
                  <a:off x="1636174" y="3843207"/>
                  <a:ext cx="194388" cy="195244"/>
                </a:xfrm>
                <a:custGeom>
                  <a:avLst/>
                  <a:gdLst>
                    <a:gd name="T0" fmla="*/ 48 w 96"/>
                    <a:gd name="T1" fmla="*/ 0 h 96"/>
                    <a:gd name="T2" fmla="*/ 0 w 96"/>
                    <a:gd name="T3" fmla="*/ 48 h 96"/>
                    <a:gd name="T4" fmla="*/ 48 w 96"/>
                    <a:gd name="T5" fmla="*/ 96 h 96"/>
                    <a:gd name="T6" fmla="*/ 96 w 96"/>
                    <a:gd name="T7" fmla="*/ 48 h 96"/>
                    <a:gd name="T8" fmla="*/ 48 w 96"/>
                    <a:gd name="T9" fmla="*/ 0 h 96"/>
                    <a:gd name="T10" fmla="*/ 72 w 96"/>
                    <a:gd name="T11" fmla="*/ 43 h 96"/>
                    <a:gd name="T12" fmla="*/ 70 w 96"/>
                    <a:gd name="T13" fmla="*/ 44 h 96"/>
                    <a:gd name="T14" fmla="*/ 54 w 96"/>
                    <a:gd name="T15" fmla="*/ 44 h 96"/>
                    <a:gd name="T16" fmla="*/ 52 w 96"/>
                    <a:gd name="T17" fmla="*/ 45 h 96"/>
                    <a:gd name="T18" fmla="*/ 50 w 96"/>
                    <a:gd name="T19" fmla="*/ 48 h 96"/>
                    <a:gd name="T20" fmla="*/ 64 w 96"/>
                    <a:gd name="T21" fmla="*/ 48 h 96"/>
                    <a:gd name="T22" fmla="*/ 66 w 96"/>
                    <a:gd name="T23" fmla="*/ 50 h 96"/>
                    <a:gd name="T24" fmla="*/ 64 w 96"/>
                    <a:gd name="T25" fmla="*/ 52 h 96"/>
                    <a:gd name="T26" fmla="*/ 46 w 96"/>
                    <a:gd name="T27" fmla="*/ 52 h 96"/>
                    <a:gd name="T28" fmla="*/ 42 w 96"/>
                    <a:gd name="T29" fmla="*/ 56 h 96"/>
                    <a:gd name="T30" fmla="*/ 58 w 96"/>
                    <a:gd name="T31" fmla="*/ 56 h 96"/>
                    <a:gd name="T32" fmla="*/ 60 w 96"/>
                    <a:gd name="T33" fmla="*/ 57 h 96"/>
                    <a:gd name="T34" fmla="*/ 60 w 96"/>
                    <a:gd name="T35" fmla="*/ 59 h 96"/>
                    <a:gd name="T36" fmla="*/ 37 w 96"/>
                    <a:gd name="T37" fmla="*/ 69 h 96"/>
                    <a:gd name="T38" fmla="*/ 30 w 96"/>
                    <a:gd name="T39" fmla="*/ 68 h 96"/>
                    <a:gd name="T40" fmla="*/ 25 w 96"/>
                    <a:gd name="T41" fmla="*/ 73 h 96"/>
                    <a:gd name="T42" fmla="*/ 22 w 96"/>
                    <a:gd name="T43" fmla="*/ 73 h 96"/>
                    <a:gd name="T44" fmla="*/ 22 w 96"/>
                    <a:gd name="T45" fmla="*/ 70 h 96"/>
                    <a:gd name="T46" fmla="*/ 27 w 96"/>
                    <a:gd name="T47" fmla="*/ 65 h 96"/>
                    <a:gd name="T48" fmla="*/ 28 w 96"/>
                    <a:gd name="T49" fmla="*/ 52 h 96"/>
                    <a:gd name="T50" fmla="*/ 40 w 96"/>
                    <a:gd name="T51" fmla="*/ 33 h 96"/>
                    <a:gd name="T52" fmla="*/ 57 w 96"/>
                    <a:gd name="T53" fmla="*/ 20 h 96"/>
                    <a:gd name="T54" fmla="*/ 59 w 96"/>
                    <a:gd name="T55" fmla="*/ 20 h 96"/>
                    <a:gd name="T56" fmla="*/ 60 w 96"/>
                    <a:gd name="T57" fmla="*/ 22 h 96"/>
                    <a:gd name="T58" fmla="*/ 60 w 96"/>
                    <a:gd name="T59" fmla="*/ 32 h 96"/>
                    <a:gd name="T60" fmla="*/ 70 w 96"/>
                    <a:gd name="T61" fmla="*/ 22 h 96"/>
                    <a:gd name="T62" fmla="*/ 73 w 96"/>
                    <a:gd name="T63" fmla="*/ 22 h 96"/>
                    <a:gd name="T64" fmla="*/ 72 w 96"/>
                    <a:gd name="T65" fmla="*/ 43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6" h="96">
                      <a:moveTo>
                        <a:pt x="48" y="0"/>
                      </a:moveTo>
                      <a:cubicBezTo>
                        <a:pt x="22" y="0"/>
                        <a:pt x="0" y="22"/>
                        <a:pt x="0" y="48"/>
                      </a:cubicBezTo>
                      <a:cubicBezTo>
                        <a:pt x="0" y="74"/>
                        <a:pt x="22" y="96"/>
                        <a:pt x="48" y="96"/>
                      </a:cubicBezTo>
                      <a:cubicBezTo>
                        <a:pt x="74" y="96"/>
                        <a:pt x="96" y="74"/>
                        <a:pt x="96" y="48"/>
                      </a:cubicBezTo>
                      <a:cubicBezTo>
                        <a:pt x="96" y="22"/>
                        <a:pt x="74" y="0"/>
                        <a:pt x="48" y="0"/>
                      </a:cubicBezTo>
                      <a:close/>
                      <a:moveTo>
                        <a:pt x="72" y="43"/>
                      </a:moveTo>
                      <a:cubicBezTo>
                        <a:pt x="71" y="44"/>
                        <a:pt x="71" y="44"/>
                        <a:pt x="70" y="44"/>
                      </a:cubicBezTo>
                      <a:cubicBezTo>
                        <a:pt x="54" y="44"/>
                        <a:pt x="54" y="44"/>
                        <a:pt x="54" y="44"/>
                      </a:cubicBezTo>
                      <a:cubicBezTo>
                        <a:pt x="52" y="45"/>
                        <a:pt x="52" y="45"/>
                        <a:pt x="52" y="45"/>
                      </a:cubicBezTo>
                      <a:cubicBezTo>
                        <a:pt x="50" y="48"/>
                        <a:pt x="50" y="48"/>
                        <a:pt x="50" y="48"/>
                      </a:cubicBezTo>
                      <a:cubicBezTo>
                        <a:pt x="64" y="48"/>
                        <a:pt x="64" y="48"/>
                        <a:pt x="64" y="48"/>
                      </a:cubicBezTo>
                      <a:cubicBezTo>
                        <a:pt x="65" y="48"/>
                        <a:pt x="66" y="49"/>
                        <a:pt x="66" y="50"/>
                      </a:cubicBezTo>
                      <a:cubicBezTo>
                        <a:pt x="66" y="51"/>
                        <a:pt x="65" y="52"/>
                        <a:pt x="64" y="52"/>
                      </a:cubicBezTo>
                      <a:cubicBezTo>
                        <a:pt x="46" y="52"/>
                        <a:pt x="46" y="52"/>
                        <a:pt x="46" y="52"/>
                      </a:cubicBezTo>
                      <a:cubicBezTo>
                        <a:pt x="42" y="56"/>
                        <a:pt x="42" y="56"/>
                        <a:pt x="42" y="56"/>
                      </a:cubicBezTo>
                      <a:cubicBezTo>
                        <a:pt x="58" y="56"/>
                        <a:pt x="58" y="56"/>
                        <a:pt x="58" y="56"/>
                      </a:cubicBezTo>
                      <a:cubicBezTo>
                        <a:pt x="59" y="56"/>
                        <a:pt x="60" y="57"/>
                        <a:pt x="60" y="57"/>
                      </a:cubicBezTo>
                      <a:cubicBezTo>
                        <a:pt x="60" y="58"/>
                        <a:pt x="60" y="59"/>
                        <a:pt x="60" y="59"/>
                      </a:cubicBezTo>
                      <a:cubicBezTo>
                        <a:pt x="53" y="66"/>
                        <a:pt x="44" y="69"/>
                        <a:pt x="37" y="69"/>
                      </a:cubicBezTo>
                      <a:cubicBezTo>
                        <a:pt x="34" y="69"/>
                        <a:pt x="32" y="69"/>
                        <a:pt x="30" y="68"/>
                      </a:cubicBezTo>
                      <a:cubicBezTo>
                        <a:pt x="25" y="73"/>
                        <a:pt x="25" y="73"/>
                        <a:pt x="25" y="73"/>
                      </a:cubicBezTo>
                      <a:cubicBezTo>
                        <a:pt x="24" y="74"/>
                        <a:pt x="23" y="74"/>
                        <a:pt x="22" y="73"/>
                      </a:cubicBezTo>
                      <a:cubicBezTo>
                        <a:pt x="21" y="72"/>
                        <a:pt x="21" y="71"/>
                        <a:pt x="22" y="70"/>
                      </a:cubicBezTo>
                      <a:cubicBezTo>
                        <a:pt x="27" y="65"/>
                        <a:pt x="27" y="65"/>
                        <a:pt x="27" y="65"/>
                      </a:cubicBezTo>
                      <a:cubicBezTo>
                        <a:pt x="25" y="62"/>
                        <a:pt x="26" y="57"/>
                        <a:pt x="28" y="52"/>
                      </a:cubicBezTo>
                      <a:cubicBezTo>
                        <a:pt x="30" y="45"/>
                        <a:pt x="34" y="39"/>
                        <a:pt x="40" y="33"/>
                      </a:cubicBezTo>
                      <a:cubicBezTo>
                        <a:pt x="46" y="27"/>
                        <a:pt x="53" y="22"/>
                        <a:pt x="57" y="20"/>
                      </a:cubicBezTo>
                      <a:cubicBezTo>
                        <a:pt x="58" y="20"/>
                        <a:pt x="59" y="20"/>
                        <a:pt x="59" y="20"/>
                      </a:cubicBezTo>
                      <a:cubicBezTo>
                        <a:pt x="60" y="21"/>
                        <a:pt x="60" y="21"/>
                        <a:pt x="60" y="22"/>
                      </a:cubicBezTo>
                      <a:cubicBezTo>
                        <a:pt x="60" y="32"/>
                        <a:pt x="60" y="32"/>
                        <a:pt x="60" y="32"/>
                      </a:cubicBezTo>
                      <a:cubicBezTo>
                        <a:pt x="70" y="22"/>
                        <a:pt x="70" y="22"/>
                        <a:pt x="70" y="22"/>
                      </a:cubicBezTo>
                      <a:cubicBezTo>
                        <a:pt x="71" y="21"/>
                        <a:pt x="72" y="21"/>
                        <a:pt x="73" y="22"/>
                      </a:cubicBezTo>
                      <a:cubicBezTo>
                        <a:pt x="78" y="26"/>
                        <a:pt x="77" y="34"/>
                        <a:pt x="72" y="43"/>
                      </a:cubicBezTo>
                      <a:close/>
                    </a:path>
                  </a:pathLst>
                </a:custGeom>
                <a:gradFill flip="none" rotWithShape="1">
                  <a:gsLst>
                    <a:gs pos="100000">
                      <a:schemeClr val="accent1"/>
                    </a:gs>
                    <a:gs pos="0">
                      <a:schemeClr val="accent1"/>
                    </a:gs>
                  </a:gsLst>
                  <a:lin ang="2700000" scaled="1"/>
                  <a:tileRect/>
                </a:gradFill>
                <a:ln>
                  <a:noFill/>
                </a:ln>
              </p:spPr>
              <p:txBody>
                <a:bodyPr vert="horz" wrap="square" lIns="91440" tIns="45720" rIns="91440" bIns="45720" numCol="1" anchor="t" anchorCtr="0" compatLnSpc="1">
                  <a:prstTxWarp prst="textNoShape">
                    <a:avLst/>
                  </a:prstTxWarp>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lumMod val="75000"/>
                        <a:lumOff val="25000"/>
                      </a:srgbClr>
                    </a:solidFill>
                    <a:effectLst/>
                    <a:uLnTx/>
                    <a:uFillTx/>
                    <a:latin typeface="Arial"/>
                    <a:cs typeface="+mn-cs"/>
                  </a:endParaRPr>
                </a:p>
              </p:txBody>
            </p:sp>
          </p:grpSp>
        </p:grpSp>
        <p:cxnSp>
          <p:nvCxnSpPr>
            <p:cNvPr id="40" name="Straight Connector 208">
              <a:extLst>
                <a:ext uri="{FF2B5EF4-FFF2-40B4-BE49-F238E27FC236}">
                  <a16:creationId xmlns:a16="http://schemas.microsoft.com/office/drawing/2014/main" id="{ED58B6A2-AC4C-486C-A72A-FB7302440652}"/>
                </a:ext>
              </a:extLst>
            </p:cNvPr>
            <p:cNvCxnSpPr>
              <a:cxnSpLocks/>
            </p:cNvCxnSpPr>
            <p:nvPr/>
          </p:nvCxnSpPr>
          <p:spPr>
            <a:xfrm flipH="1">
              <a:off x="859164" y="3965519"/>
              <a:ext cx="3476090" cy="0"/>
            </a:xfrm>
            <a:prstGeom prst="line">
              <a:avLst/>
            </a:prstGeom>
            <a:ln>
              <a:solidFill>
                <a:schemeClr val="accent1"/>
              </a:solidFill>
              <a:headEnd type="oval"/>
              <a:tailEnd type="oval"/>
            </a:ln>
          </p:spPr>
          <p:style>
            <a:lnRef idx="1">
              <a:schemeClr val="accent1"/>
            </a:lnRef>
            <a:fillRef idx="0">
              <a:schemeClr val="accent1"/>
            </a:fillRef>
            <a:effectRef idx="0">
              <a:schemeClr val="accent1"/>
            </a:effectRef>
            <a:fontRef idx="minor">
              <a:schemeClr val="tx1"/>
            </a:fontRef>
          </p:style>
        </p:cxnSp>
      </p:grpSp>
      <p:sp>
        <p:nvSpPr>
          <p:cNvPr id="62" name="Oval 235">
            <a:extLst>
              <a:ext uri="{FF2B5EF4-FFF2-40B4-BE49-F238E27FC236}">
                <a16:creationId xmlns:a16="http://schemas.microsoft.com/office/drawing/2014/main" id="{D5E766BB-CADD-4B99-B33F-B252CC7C1A2D}"/>
              </a:ext>
            </a:extLst>
          </p:cNvPr>
          <p:cNvSpPr/>
          <p:nvPr/>
        </p:nvSpPr>
        <p:spPr>
          <a:xfrm flipH="1">
            <a:off x="4605989" y="3122560"/>
            <a:ext cx="782682" cy="782678"/>
          </a:xfrm>
          <a:prstGeom prst="ellipse">
            <a:avLst/>
          </a:prstGeom>
          <a:solidFill>
            <a:sysClr val="window" lastClr="FFFFFF"/>
          </a:solidFill>
          <a:ln w="12700" cap="flat" cmpd="sng" algn="ctr">
            <a:noFill/>
            <a:prstDash val="solid"/>
            <a:miter lim="800000"/>
          </a:ln>
          <a:effectLst>
            <a:outerShdw blurRad="215900" sx="104000" sy="104000" algn="ctr" rotWithShape="0">
              <a:prstClr val="black">
                <a:alpha val="19000"/>
              </a:prst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solidFill>
                  <a:schemeClr val="accent1"/>
                </a:solidFill>
                <a:effectLst/>
                <a:uLnTx/>
                <a:uFillTx/>
                <a:latin typeface="Gill Sans MT" panose="020B0502020104020203" pitchFamily="34" charset="0"/>
                <a:cs typeface="+mn-cs"/>
              </a:rPr>
              <a:t>10</a:t>
            </a:r>
            <a:r>
              <a:rPr kumimoji="0" lang="en-US" sz="2400" b="1" i="0" u="none" strike="noStrike" kern="0" cap="none" spc="0" normalizeH="0" baseline="30000" noProof="0" dirty="0">
                <a:ln>
                  <a:noFill/>
                </a:ln>
                <a:solidFill>
                  <a:schemeClr val="accent1"/>
                </a:solidFill>
                <a:effectLst/>
                <a:uLnTx/>
                <a:uFillTx/>
                <a:latin typeface="Gill Sans MT" panose="020B0502020104020203" pitchFamily="34" charset="0"/>
                <a:cs typeface="+mn-cs"/>
              </a:rPr>
              <a:t>%</a:t>
            </a:r>
          </a:p>
        </p:txBody>
      </p:sp>
      <p:sp>
        <p:nvSpPr>
          <p:cNvPr id="63" name="Oval 236">
            <a:extLst>
              <a:ext uri="{FF2B5EF4-FFF2-40B4-BE49-F238E27FC236}">
                <a16:creationId xmlns:a16="http://schemas.microsoft.com/office/drawing/2014/main" id="{D32B14BD-EB6B-42C0-896E-83F26EC79D81}"/>
              </a:ext>
            </a:extLst>
          </p:cNvPr>
          <p:cNvSpPr/>
          <p:nvPr/>
        </p:nvSpPr>
        <p:spPr>
          <a:xfrm flipH="1">
            <a:off x="5736997" y="4655033"/>
            <a:ext cx="782682" cy="782678"/>
          </a:xfrm>
          <a:prstGeom prst="ellipse">
            <a:avLst/>
          </a:prstGeom>
          <a:solidFill>
            <a:sysClr val="window" lastClr="FFFFFF"/>
          </a:solidFill>
          <a:ln w="12700" cap="flat" cmpd="sng" algn="ctr">
            <a:noFill/>
            <a:prstDash val="solid"/>
            <a:miter lim="800000"/>
          </a:ln>
          <a:effectLst>
            <a:outerShdw blurRad="215900" sx="104000" sy="104000" algn="ctr" rotWithShape="0">
              <a:prstClr val="black">
                <a:alpha val="19000"/>
              </a:prst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solidFill>
                  <a:schemeClr val="accent1"/>
                </a:solidFill>
                <a:effectLst/>
                <a:uLnTx/>
                <a:uFillTx/>
                <a:latin typeface="Gill Sans MT" panose="020B0502020104020203" pitchFamily="34" charset="0"/>
                <a:cs typeface="+mn-cs"/>
              </a:rPr>
              <a:t>15</a:t>
            </a:r>
            <a:r>
              <a:rPr kumimoji="0" lang="en-US" sz="2400" b="1" i="0" u="none" strike="noStrike" kern="0" cap="none" spc="0" normalizeH="0" baseline="30000" noProof="0" dirty="0">
                <a:ln>
                  <a:noFill/>
                </a:ln>
                <a:solidFill>
                  <a:schemeClr val="accent1"/>
                </a:solidFill>
                <a:effectLst/>
                <a:uLnTx/>
                <a:uFillTx/>
                <a:latin typeface="Gill Sans MT" panose="020B0502020104020203" pitchFamily="34" charset="0"/>
                <a:cs typeface="+mn-cs"/>
              </a:rPr>
              <a:t>%</a:t>
            </a:r>
          </a:p>
        </p:txBody>
      </p:sp>
      <p:sp>
        <p:nvSpPr>
          <p:cNvPr id="64" name="Oval 237">
            <a:extLst>
              <a:ext uri="{FF2B5EF4-FFF2-40B4-BE49-F238E27FC236}">
                <a16:creationId xmlns:a16="http://schemas.microsoft.com/office/drawing/2014/main" id="{7AA1EECA-C9FE-4FBC-BB5B-49AC72B49F7A}"/>
              </a:ext>
            </a:extLst>
          </p:cNvPr>
          <p:cNvSpPr/>
          <p:nvPr/>
        </p:nvSpPr>
        <p:spPr>
          <a:xfrm flipH="1">
            <a:off x="6556883" y="3739693"/>
            <a:ext cx="782682" cy="782678"/>
          </a:xfrm>
          <a:prstGeom prst="ellipse">
            <a:avLst/>
          </a:prstGeom>
          <a:solidFill>
            <a:sysClr val="window" lastClr="FFFFFF"/>
          </a:solidFill>
          <a:ln w="12700" cap="flat" cmpd="sng" algn="ctr">
            <a:noFill/>
            <a:prstDash val="solid"/>
            <a:miter lim="800000"/>
          </a:ln>
          <a:effectLst>
            <a:outerShdw blurRad="215900" sx="104000" sy="104000" algn="ctr" rotWithShape="0">
              <a:prstClr val="black">
                <a:alpha val="19000"/>
              </a:prst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solidFill>
                  <a:schemeClr val="accent1"/>
                </a:solidFill>
                <a:effectLst/>
                <a:uLnTx/>
                <a:uFillTx/>
                <a:latin typeface="Gill Sans MT" panose="020B0502020104020203" pitchFamily="34" charset="0"/>
                <a:cs typeface="+mn-cs"/>
              </a:rPr>
              <a:t>25</a:t>
            </a:r>
            <a:r>
              <a:rPr kumimoji="0" lang="en-US" sz="2400" b="1" i="0" u="none" strike="noStrike" kern="0" cap="none" spc="0" normalizeH="0" baseline="30000" noProof="0" dirty="0">
                <a:ln>
                  <a:noFill/>
                </a:ln>
                <a:solidFill>
                  <a:schemeClr val="accent1"/>
                </a:solidFill>
                <a:effectLst/>
                <a:uLnTx/>
                <a:uFillTx/>
                <a:latin typeface="Gill Sans MT" panose="020B0502020104020203" pitchFamily="34" charset="0"/>
                <a:cs typeface="+mn-cs"/>
              </a:rPr>
              <a:t>%</a:t>
            </a:r>
          </a:p>
        </p:txBody>
      </p:sp>
      <p:sp>
        <p:nvSpPr>
          <p:cNvPr id="65" name="Oval 238">
            <a:extLst>
              <a:ext uri="{FF2B5EF4-FFF2-40B4-BE49-F238E27FC236}">
                <a16:creationId xmlns:a16="http://schemas.microsoft.com/office/drawing/2014/main" id="{8232F667-4E67-4F4D-8643-FB6ECDBB025C}"/>
              </a:ext>
            </a:extLst>
          </p:cNvPr>
          <p:cNvSpPr/>
          <p:nvPr/>
        </p:nvSpPr>
        <p:spPr>
          <a:xfrm flipH="1">
            <a:off x="6761306" y="1880991"/>
            <a:ext cx="782682" cy="782678"/>
          </a:xfrm>
          <a:prstGeom prst="ellipse">
            <a:avLst/>
          </a:prstGeom>
          <a:solidFill>
            <a:sysClr val="window" lastClr="FFFFFF"/>
          </a:solidFill>
          <a:ln w="12700" cap="flat" cmpd="sng" algn="ctr">
            <a:noFill/>
            <a:prstDash val="solid"/>
            <a:miter lim="800000"/>
          </a:ln>
          <a:effectLst>
            <a:outerShdw blurRad="215900" sx="104000" sy="104000" algn="ctr" rotWithShape="0">
              <a:prstClr val="black">
                <a:alpha val="19000"/>
              </a:prst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solidFill>
                  <a:schemeClr val="accent1"/>
                </a:solidFill>
                <a:effectLst/>
                <a:uLnTx/>
                <a:uFillTx/>
                <a:latin typeface="Gill Sans MT" panose="020B0502020104020203" pitchFamily="34" charset="0"/>
                <a:cs typeface="+mn-cs"/>
              </a:rPr>
              <a:t>50</a:t>
            </a:r>
            <a:r>
              <a:rPr kumimoji="0" lang="en-US" sz="2400" b="1" i="0" u="none" strike="noStrike" kern="0" cap="none" spc="0" normalizeH="0" baseline="30000" noProof="0" dirty="0">
                <a:ln>
                  <a:noFill/>
                </a:ln>
                <a:solidFill>
                  <a:schemeClr val="accent1"/>
                </a:solidFill>
                <a:effectLst/>
                <a:uLnTx/>
                <a:uFillTx/>
                <a:latin typeface="Gill Sans MT" panose="020B0502020104020203" pitchFamily="34" charset="0"/>
                <a:cs typeface="+mn-cs"/>
              </a:rPr>
              <a:t>%</a:t>
            </a:r>
          </a:p>
        </p:txBody>
      </p:sp>
    </p:spTree>
    <p:extLst>
      <p:ext uri="{BB962C8B-B14F-4D97-AF65-F5344CB8AC3E}">
        <p14:creationId xmlns:p14="http://schemas.microsoft.com/office/powerpoint/2010/main" val="187678350"/>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7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lowchart: Stored Data 197">
            <a:extLst>
              <a:ext uri="{FF2B5EF4-FFF2-40B4-BE49-F238E27FC236}">
                <a16:creationId xmlns:a16="http://schemas.microsoft.com/office/drawing/2014/main" id="{2592DD55-B65A-4FF9-9DC5-AF5C4557675C}"/>
              </a:ext>
            </a:extLst>
          </p:cNvPr>
          <p:cNvSpPr/>
          <p:nvPr/>
        </p:nvSpPr>
        <p:spPr>
          <a:xfrm flipH="1">
            <a:off x="3003414" y="2557932"/>
            <a:ext cx="6375836" cy="1884820"/>
          </a:xfrm>
          <a:prstGeom prst="flowChartOnlineStorage">
            <a:avLst/>
          </a:prstGeom>
          <a:gradFill flip="none" rotWithShape="1">
            <a:gsLst>
              <a:gs pos="67000">
                <a:schemeClr val="accent1"/>
              </a:gs>
              <a:gs pos="0">
                <a:schemeClr val="accent1"/>
              </a:gs>
            </a:gsLst>
            <a:lin ang="18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FFFFFF"/>
              </a:solidFill>
              <a:effectLst/>
              <a:uLnTx/>
              <a:uFillTx/>
              <a:latin typeface="Arial"/>
              <a:cs typeface="+mn-cs"/>
            </a:endParaRPr>
          </a:p>
        </p:txBody>
      </p:sp>
      <p:sp>
        <p:nvSpPr>
          <p:cNvPr id="3" name="Rectangle 63">
            <a:extLst>
              <a:ext uri="{FF2B5EF4-FFF2-40B4-BE49-F238E27FC236}">
                <a16:creationId xmlns:a16="http://schemas.microsoft.com/office/drawing/2014/main" id="{D40984E2-0C2A-416D-8605-C967E46F7D32}"/>
              </a:ext>
            </a:extLst>
          </p:cNvPr>
          <p:cNvSpPr/>
          <p:nvPr/>
        </p:nvSpPr>
        <p:spPr>
          <a:xfrm>
            <a:off x="2204291" y="2032171"/>
            <a:ext cx="1500845" cy="276999"/>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chemeClr val="accent1"/>
                </a:solidFill>
                <a:effectLst/>
                <a:uLnTx/>
                <a:uFillTx/>
                <a:latin typeface="Gill Sans MT" panose="020B0502020104020203" pitchFamily="34" charset="0"/>
                <a:cs typeface="Segoe UI" panose="020B0502040204020203" pitchFamily="34" charset="0"/>
              </a:rPr>
              <a:t>Lorem Ipsum</a:t>
            </a:r>
          </a:p>
        </p:txBody>
      </p:sp>
      <p:sp>
        <p:nvSpPr>
          <p:cNvPr id="4" name="Rectangle 64">
            <a:extLst>
              <a:ext uri="{FF2B5EF4-FFF2-40B4-BE49-F238E27FC236}">
                <a16:creationId xmlns:a16="http://schemas.microsoft.com/office/drawing/2014/main" id="{46596A2A-FDEE-4792-85E0-CDA56F4FD700}"/>
              </a:ext>
            </a:extLst>
          </p:cNvPr>
          <p:cNvSpPr/>
          <p:nvPr/>
        </p:nvSpPr>
        <p:spPr>
          <a:xfrm>
            <a:off x="2689642" y="2506365"/>
            <a:ext cx="1590800" cy="646331"/>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accent1"/>
                </a:solidFill>
                <a:effectLst/>
                <a:uLnTx/>
                <a:uFillTx/>
                <a:latin typeface="Gill Sans MT" panose="020B0502020104020203" pitchFamily="34" charset="0"/>
                <a:cs typeface="Segoe UI" panose="020B0502040204020203" pitchFamily="34" charset="0"/>
              </a:rPr>
              <a:t>Lorem ipsum dolor</a:t>
            </a:r>
            <a:br>
              <a:rPr kumimoji="0" lang="en-US" sz="1400" b="0" i="0" u="none" strike="noStrike" kern="0" cap="none" spc="0" normalizeH="0" baseline="0" noProof="0" dirty="0">
                <a:ln>
                  <a:noFill/>
                </a:ln>
                <a:solidFill>
                  <a:schemeClr val="accent1"/>
                </a:solidFill>
                <a:effectLst/>
                <a:uLnTx/>
                <a:uFillTx/>
                <a:latin typeface="Gill Sans MT" panose="020B0502020104020203" pitchFamily="34" charset="0"/>
                <a:cs typeface="Segoe UI" panose="020B0502040204020203" pitchFamily="34" charset="0"/>
              </a:rPr>
            </a:br>
            <a:r>
              <a:rPr kumimoji="0" lang="en-US" sz="1400" b="0" i="0" u="none" strike="noStrike" kern="0" cap="none" spc="0" normalizeH="0" baseline="0" noProof="0" dirty="0">
                <a:ln>
                  <a:noFill/>
                </a:ln>
                <a:solidFill>
                  <a:schemeClr val="accent1"/>
                </a:solidFill>
                <a:effectLst/>
                <a:uLnTx/>
                <a:uFillTx/>
                <a:latin typeface="Gill Sans MT" panose="020B0502020104020203" pitchFamily="34" charset="0"/>
                <a:cs typeface="Segoe UI" panose="020B0502040204020203" pitchFamily="34" charset="0"/>
              </a:rPr>
              <a:t>sit </a:t>
            </a:r>
            <a:r>
              <a:rPr kumimoji="0" lang="en-US" sz="1400" b="0" i="0" u="none" strike="noStrike" kern="0" cap="none" spc="0" normalizeH="0" baseline="0" noProof="0" dirty="0" err="1">
                <a:ln>
                  <a:noFill/>
                </a:ln>
                <a:solidFill>
                  <a:schemeClr val="accent1"/>
                </a:solidFill>
                <a:effectLst/>
                <a:uLnTx/>
                <a:uFillTx/>
                <a:latin typeface="Gill Sans MT" panose="020B0502020104020203" pitchFamily="34" charset="0"/>
                <a:cs typeface="Segoe UI" panose="020B0502040204020203" pitchFamily="34" charset="0"/>
              </a:rPr>
              <a:t>amet</a:t>
            </a:r>
            <a:r>
              <a:rPr kumimoji="0" lang="en-US" sz="1400" b="0" i="0" u="none" strike="noStrike" kern="0" cap="none" spc="0" normalizeH="0" baseline="0" noProof="0" dirty="0">
                <a:ln>
                  <a:noFill/>
                </a:ln>
                <a:solidFill>
                  <a:schemeClr val="accent1"/>
                </a:solidFill>
                <a:effectLst/>
                <a:uLnTx/>
                <a:uFillTx/>
                <a:latin typeface="Gill Sans MT" panose="020B0502020104020203" pitchFamily="34" charset="0"/>
                <a:cs typeface="Segoe UI" panose="020B0502040204020203" pitchFamily="34" charset="0"/>
              </a:rPr>
              <a:t>, </a:t>
            </a:r>
            <a:r>
              <a:rPr kumimoji="0" lang="en-US" sz="1400" b="0" i="0" u="none" strike="noStrike" kern="0" cap="none" spc="0" normalizeH="0" baseline="0" noProof="0" dirty="0" err="1">
                <a:ln>
                  <a:noFill/>
                </a:ln>
                <a:solidFill>
                  <a:schemeClr val="accent1"/>
                </a:solidFill>
                <a:effectLst/>
                <a:uLnTx/>
                <a:uFillTx/>
                <a:latin typeface="Gill Sans MT" panose="020B0502020104020203" pitchFamily="34" charset="0"/>
                <a:cs typeface="Segoe UI" panose="020B0502040204020203" pitchFamily="34" charset="0"/>
              </a:rPr>
              <a:t>consectetur</a:t>
            </a:r>
            <a:r>
              <a:rPr kumimoji="0" lang="en-US" sz="1400" b="0" i="0" u="none" strike="noStrike" kern="0" cap="none" spc="0" normalizeH="0" baseline="0" noProof="0" dirty="0">
                <a:ln>
                  <a:noFill/>
                </a:ln>
                <a:solidFill>
                  <a:schemeClr val="accent1"/>
                </a:solidFill>
                <a:effectLst/>
                <a:uLnTx/>
                <a:uFillTx/>
                <a:latin typeface="Gill Sans MT" panose="020B0502020104020203" pitchFamily="34" charset="0"/>
                <a:cs typeface="Segoe UI" panose="020B0502040204020203" pitchFamily="34" charset="0"/>
              </a:rPr>
              <a:t> </a:t>
            </a:r>
            <a:r>
              <a:rPr kumimoji="0" lang="en-US" sz="1400" b="0" i="0" u="none" strike="noStrike" kern="0" cap="none" spc="0" normalizeH="0" baseline="0" noProof="0" dirty="0" err="1">
                <a:ln>
                  <a:noFill/>
                </a:ln>
                <a:solidFill>
                  <a:schemeClr val="accent1"/>
                </a:solidFill>
                <a:effectLst/>
                <a:uLnTx/>
                <a:uFillTx/>
                <a:latin typeface="Gill Sans MT" panose="020B0502020104020203" pitchFamily="34" charset="0"/>
                <a:cs typeface="Segoe UI" panose="020B0502040204020203" pitchFamily="34" charset="0"/>
              </a:rPr>
              <a:t>adipiscing</a:t>
            </a:r>
            <a:r>
              <a:rPr kumimoji="0" lang="en-US" sz="1400" b="0" i="0" u="none" strike="noStrike" kern="0" cap="none" spc="0" normalizeH="0" baseline="0" noProof="0" dirty="0">
                <a:ln>
                  <a:noFill/>
                </a:ln>
                <a:solidFill>
                  <a:schemeClr val="accent1"/>
                </a:solidFill>
                <a:effectLst/>
                <a:uLnTx/>
                <a:uFillTx/>
                <a:latin typeface="Gill Sans MT" panose="020B0502020104020203" pitchFamily="34" charset="0"/>
                <a:cs typeface="Segoe UI" panose="020B0502040204020203" pitchFamily="34" charset="0"/>
              </a:rPr>
              <a:t> </a:t>
            </a:r>
            <a:r>
              <a:rPr kumimoji="0" lang="en-US" sz="1400" b="0" i="0" u="none" strike="noStrike" kern="0" cap="none" spc="0" normalizeH="0" baseline="0" noProof="0" dirty="0" err="1">
                <a:ln>
                  <a:noFill/>
                </a:ln>
                <a:solidFill>
                  <a:schemeClr val="accent1"/>
                </a:solidFill>
                <a:effectLst/>
                <a:uLnTx/>
                <a:uFillTx/>
                <a:latin typeface="Gill Sans MT" panose="020B0502020104020203" pitchFamily="34" charset="0"/>
                <a:cs typeface="Segoe UI" panose="020B0502040204020203" pitchFamily="34" charset="0"/>
              </a:rPr>
              <a:t>elit</a:t>
            </a:r>
            <a:r>
              <a:rPr kumimoji="0" lang="en-US" sz="1400" b="0" i="0" u="none" strike="noStrike" kern="0" cap="none" spc="0" normalizeH="0" baseline="0" noProof="0" dirty="0">
                <a:ln>
                  <a:noFill/>
                </a:ln>
                <a:solidFill>
                  <a:schemeClr val="accent1"/>
                </a:solidFill>
                <a:effectLst/>
                <a:uLnTx/>
                <a:uFillTx/>
                <a:latin typeface="Gill Sans MT" panose="020B0502020104020203" pitchFamily="34" charset="0"/>
                <a:cs typeface="Segoe UI" panose="020B0502040204020203" pitchFamily="34" charset="0"/>
              </a:rPr>
              <a:t>.</a:t>
            </a:r>
          </a:p>
        </p:txBody>
      </p:sp>
      <p:sp>
        <p:nvSpPr>
          <p:cNvPr id="5" name="Rounded Rectangle 5">
            <a:extLst>
              <a:ext uri="{FF2B5EF4-FFF2-40B4-BE49-F238E27FC236}">
                <a16:creationId xmlns:a16="http://schemas.microsoft.com/office/drawing/2014/main" id="{AEAE5033-DC40-44E0-9434-120F0B06C01F}"/>
              </a:ext>
            </a:extLst>
          </p:cNvPr>
          <p:cNvSpPr/>
          <p:nvPr/>
        </p:nvSpPr>
        <p:spPr>
          <a:xfrm>
            <a:off x="2114827" y="3350033"/>
            <a:ext cx="8273276" cy="300619"/>
          </a:xfrm>
          <a:prstGeom prst="roundRect">
            <a:avLst>
              <a:gd name="adj" fmla="val 50000"/>
            </a:avLst>
          </a:prstGeom>
          <a:solidFill>
            <a:schemeClr val="bg1">
              <a:lumMod val="95000"/>
            </a:scheme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a:cs typeface="+mn-cs"/>
            </a:endParaRPr>
          </a:p>
        </p:txBody>
      </p:sp>
      <p:grpSp>
        <p:nvGrpSpPr>
          <p:cNvPr id="6" name="Group 61">
            <a:extLst>
              <a:ext uri="{FF2B5EF4-FFF2-40B4-BE49-F238E27FC236}">
                <a16:creationId xmlns:a16="http://schemas.microsoft.com/office/drawing/2014/main" id="{51F3F259-B37A-40D6-B8A8-FD43D95F8179}"/>
              </a:ext>
            </a:extLst>
          </p:cNvPr>
          <p:cNvGrpSpPr/>
          <p:nvPr/>
        </p:nvGrpSpPr>
        <p:grpSpPr>
          <a:xfrm>
            <a:off x="1080565" y="2831995"/>
            <a:ext cx="1922850" cy="1336697"/>
            <a:chOff x="280675" y="2685124"/>
            <a:chExt cx="2166913" cy="1506361"/>
          </a:xfrm>
        </p:grpSpPr>
        <p:sp>
          <p:nvSpPr>
            <p:cNvPr id="7" name="Flowchart: Stored Data 8">
              <a:extLst>
                <a:ext uri="{FF2B5EF4-FFF2-40B4-BE49-F238E27FC236}">
                  <a16:creationId xmlns:a16="http://schemas.microsoft.com/office/drawing/2014/main" id="{27C7930A-0E19-4677-A36C-7B187DBDEAC5}"/>
                </a:ext>
              </a:extLst>
            </p:cNvPr>
            <p:cNvSpPr/>
            <p:nvPr/>
          </p:nvSpPr>
          <p:spPr>
            <a:xfrm flipH="1">
              <a:off x="1750440" y="3269902"/>
              <a:ext cx="697148" cy="336804"/>
            </a:xfrm>
            <a:prstGeom prst="flowChartOnlineStorage">
              <a:avLst/>
            </a:prstGeom>
            <a:solidFill>
              <a:schemeClr val="accent1"/>
            </a:solidFill>
            <a:ln w="12700" cap="flat" cmpd="sng" algn="ctr">
              <a:noFill/>
              <a:prstDash val="solid"/>
              <a:miter lim="800000"/>
            </a:ln>
            <a:effectLst>
              <a:outerShdw blurRad="215900" sx="104000" sy="104000" algn="ctr" rotWithShape="0">
                <a:prstClr val="black">
                  <a:alpha val="19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0" cap="none" spc="0" normalizeH="0" baseline="0" noProof="0">
                <a:ln>
                  <a:noFill/>
                </a:ln>
                <a:solidFill>
                  <a:prstClr val="white"/>
                </a:solidFill>
                <a:effectLst/>
                <a:uLnTx/>
                <a:uFillTx/>
                <a:latin typeface="Arial"/>
                <a:cs typeface="+mn-cs"/>
              </a:endParaRPr>
            </a:p>
          </p:txBody>
        </p:sp>
        <p:sp>
          <p:nvSpPr>
            <p:cNvPr id="8" name="Freeform: Shape 60">
              <a:extLst>
                <a:ext uri="{FF2B5EF4-FFF2-40B4-BE49-F238E27FC236}">
                  <a16:creationId xmlns:a16="http://schemas.microsoft.com/office/drawing/2014/main" id="{97C4A79A-F6C6-4FC2-A3B6-9A65A6804FEA}"/>
                </a:ext>
              </a:extLst>
            </p:cNvPr>
            <p:cNvSpPr/>
            <p:nvPr/>
          </p:nvSpPr>
          <p:spPr>
            <a:xfrm rot="2700000">
              <a:off x="280675" y="2685124"/>
              <a:ext cx="1506361" cy="1506361"/>
            </a:xfrm>
            <a:custGeom>
              <a:avLst/>
              <a:gdLst>
                <a:gd name="connsiteX0" fmla="*/ 39448 w 485775"/>
                <a:gd name="connsiteY0" fmla="*/ 104172 h 485775"/>
                <a:gd name="connsiteX1" fmla="*/ 421267 w 485775"/>
                <a:gd name="connsiteY1" fmla="*/ 1873 h 485775"/>
                <a:gd name="connsiteX2" fmla="*/ 486399 w 485775"/>
                <a:gd name="connsiteY2" fmla="*/ 66996 h 485775"/>
                <a:gd name="connsiteX3" fmla="*/ 384091 w 485775"/>
                <a:gd name="connsiteY3" fmla="*/ 448796 h 485775"/>
                <a:gd name="connsiteX4" fmla="*/ 295118 w 485775"/>
                <a:gd name="connsiteY4" fmla="*/ 472637 h 485775"/>
                <a:gd name="connsiteX5" fmla="*/ 15607 w 485775"/>
                <a:gd name="connsiteY5" fmla="*/ 193145 h 485775"/>
                <a:gd name="connsiteX6" fmla="*/ 39448 w 485775"/>
                <a:gd name="connsiteY6" fmla="*/ 104172 h 485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85775" h="485775">
                  <a:moveTo>
                    <a:pt x="39448" y="104172"/>
                  </a:moveTo>
                  <a:lnTo>
                    <a:pt x="421267" y="1873"/>
                  </a:lnTo>
                  <a:cubicBezTo>
                    <a:pt x="460805" y="-8737"/>
                    <a:pt x="497000" y="27448"/>
                    <a:pt x="486399" y="66996"/>
                  </a:cubicBezTo>
                  <a:lnTo>
                    <a:pt x="384091" y="448796"/>
                  </a:lnTo>
                  <a:cubicBezTo>
                    <a:pt x="373499" y="488344"/>
                    <a:pt x="324074" y="501583"/>
                    <a:pt x="295118" y="472637"/>
                  </a:cubicBezTo>
                  <a:cubicBezTo>
                    <a:pt x="247045" y="340392"/>
                    <a:pt x="155377" y="245932"/>
                    <a:pt x="15607" y="193145"/>
                  </a:cubicBezTo>
                  <a:cubicBezTo>
                    <a:pt x="-13340" y="164198"/>
                    <a:pt x="-90" y="114764"/>
                    <a:pt x="39448" y="104172"/>
                  </a:cubicBezTo>
                  <a:close/>
                </a:path>
              </a:pathLst>
            </a:custGeom>
            <a:gradFill flip="none" rotWithShape="1">
              <a:gsLst>
                <a:gs pos="100000">
                  <a:schemeClr val="accent1"/>
                </a:gs>
                <a:gs pos="0">
                  <a:schemeClr val="accent1"/>
                </a:gs>
              </a:gsLst>
              <a:lin ang="2700000" scaled="1"/>
              <a:tileRect/>
            </a:gradFill>
            <a:ln w="12700" cap="flat" cmpd="sng" algn="ctr">
              <a:noFill/>
              <a:prstDash val="solid"/>
              <a:miter lim="800000"/>
            </a:ln>
            <a:effectLst>
              <a:outerShdw blurRad="215900" sx="104000" sy="104000" algn="ctr" rotWithShape="0">
                <a:prstClr val="black">
                  <a:alpha val="19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0" cap="none" spc="0" normalizeH="0" baseline="0" noProof="0">
                <a:ln>
                  <a:noFill/>
                </a:ln>
                <a:solidFill>
                  <a:prstClr val="white"/>
                </a:solidFill>
                <a:effectLst/>
                <a:uLnTx/>
                <a:uFillTx/>
                <a:latin typeface="Arial"/>
                <a:cs typeface="+mn-cs"/>
              </a:endParaRPr>
            </a:p>
          </p:txBody>
        </p:sp>
      </p:grpSp>
      <p:sp>
        <p:nvSpPr>
          <p:cNvPr id="9" name="Freeform: Shape 68">
            <a:extLst>
              <a:ext uri="{FF2B5EF4-FFF2-40B4-BE49-F238E27FC236}">
                <a16:creationId xmlns:a16="http://schemas.microsoft.com/office/drawing/2014/main" id="{235ACDC0-7E1D-4502-AE3E-F85CA1743504}"/>
              </a:ext>
            </a:extLst>
          </p:cNvPr>
          <p:cNvSpPr/>
          <p:nvPr/>
        </p:nvSpPr>
        <p:spPr>
          <a:xfrm flipH="1">
            <a:off x="8204068" y="3416776"/>
            <a:ext cx="131797" cy="167134"/>
          </a:xfrm>
          <a:custGeom>
            <a:avLst/>
            <a:gdLst>
              <a:gd name="connsiteX0" fmla="*/ 1973674 w 2108298"/>
              <a:gd name="connsiteY0" fmla="*/ 99 h 2673566"/>
              <a:gd name="connsiteX1" fmla="*/ 591493 w 2108298"/>
              <a:gd name="connsiteY1" fmla="*/ 520555 h 2673566"/>
              <a:gd name="connsiteX2" fmla="*/ 0 w 2108298"/>
              <a:gd name="connsiteY2" fmla="*/ 1336780 h 2673566"/>
              <a:gd name="connsiteX3" fmla="*/ 591493 w 2108298"/>
              <a:gd name="connsiteY3" fmla="*/ 2153015 h 2673566"/>
              <a:gd name="connsiteX4" fmla="*/ 1973674 w 2108298"/>
              <a:gd name="connsiteY4" fmla="*/ 2673451 h 2673566"/>
              <a:gd name="connsiteX5" fmla="*/ 1979304 w 2108298"/>
              <a:gd name="connsiteY5" fmla="*/ 2673566 h 2673566"/>
              <a:gd name="connsiteX6" fmla="*/ 2078316 w 2108298"/>
              <a:gd name="connsiteY6" fmla="*/ 2633694 h 2673566"/>
              <a:gd name="connsiteX7" fmla="*/ 2108298 w 2108298"/>
              <a:gd name="connsiteY7" fmla="*/ 2590219 h 2673566"/>
              <a:gd name="connsiteX8" fmla="*/ 2108298 w 2108298"/>
              <a:gd name="connsiteY8" fmla="*/ 83335 h 2673566"/>
              <a:gd name="connsiteX9" fmla="*/ 2078316 w 2108298"/>
              <a:gd name="connsiteY9" fmla="*/ 39866 h 2673566"/>
              <a:gd name="connsiteX10" fmla="*/ 1973674 w 2108298"/>
              <a:gd name="connsiteY10" fmla="*/ 99 h 2673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108298" h="2673566">
                <a:moveTo>
                  <a:pt x="1973674" y="99"/>
                </a:moveTo>
                <a:cubicBezTo>
                  <a:pt x="1330785" y="25388"/>
                  <a:pt x="831742" y="337046"/>
                  <a:pt x="591493" y="520555"/>
                </a:cubicBezTo>
                <a:cubicBezTo>
                  <a:pt x="232172" y="794989"/>
                  <a:pt x="0" y="1115391"/>
                  <a:pt x="0" y="1336780"/>
                </a:cubicBezTo>
                <a:cubicBezTo>
                  <a:pt x="0" y="1558170"/>
                  <a:pt x="232172" y="1878571"/>
                  <a:pt x="591493" y="2153015"/>
                </a:cubicBezTo>
                <a:cubicBezTo>
                  <a:pt x="831742" y="2336523"/>
                  <a:pt x="1330795" y="2648153"/>
                  <a:pt x="1973674" y="2673451"/>
                </a:cubicBezTo>
                <a:cubicBezTo>
                  <a:pt x="1975551" y="2673528"/>
                  <a:pt x="1977418" y="2673566"/>
                  <a:pt x="1979304" y="2673566"/>
                </a:cubicBezTo>
                <a:cubicBezTo>
                  <a:pt x="2016137" y="2673566"/>
                  <a:pt x="2051656" y="2659326"/>
                  <a:pt x="2078316" y="2633694"/>
                </a:cubicBezTo>
                <a:lnTo>
                  <a:pt x="2108298" y="2590219"/>
                </a:lnTo>
                <a:lnTo>
                  <a:pt x="2108298" y="83335"/>
                </a:lnTo>
                <a:lnTo>
                  <a:pt x="2078316" y="39866"/>
                </a:lnTo>
                <a:cubicBezTo>
                  <a:pt x="2050293" y="12939"/>
                  <a:pt x="2012327" y="-1339"/>
                  <a:pt x="1973674" y="99"/>
                </a:cubicBezTo>
                <a:close/>
              </a:path>
            </a:pathLst>
          </a:custGeom>
          <a:solidFill>
            <a:schemeClr val="accent1"/>
          </a:solidFill>
          <a:ln w="12700" cap="flat" cmpd="sng" algn="ctr">
            <a:noFill/>
            <a:prstDash val="solid"/>
            <a:miter lim="800000"/>
          </a:ln>
          <a:effectLst>
            <a:outerShdw blurRad="215900" sx="104000" sy="104000" algn="ctr" rotWithShape="0">
              <a:prstClr val="black">
                <a:alpha val="19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0" cap="none" spc="0" normalizeH="0" baseline="0" noProof="0">
              <a:ln>
                <a:noFill/>
              </a:ln>
              <a:solidFill>
                <a:prstClr val="white"/>
              </a:solidFill>
              <a:effectLst/>
              <a:uLnTx/>
              <a:uFillTx/>
              <a:latin typeface="Arial"/>
              <a:cs typeface="+mn-cs"/>
            </a:endParaRPr>
          </a:p>
        </p:txBody>
      </p:sp>
      <p:sp>
        <p:nvSpPr>
          <p:cNvPr id="10" name="Freeform: Shape 69">
            <a:extLst>
              <a:ext uri="{FF2B5EF4-FFF2-40B4-BE49-F238E27FC236}">
                <a16:creationId xmlns:a16="http://schemas.microsoft.com/office/drawing/2014/main" id="{3E44518F-1E32-4C61-B959-2EE5E8CEAE38}"/>
              </a:ext>
            </a:extLst>
          </p:cNvPr>
          <p:cNvSpPr/>
          <p:nvPr/>
        </p:nvSpPr>
        <p:spPr>
          <a:xfrm flipH="1">
            <a:off x="6293586" y="3416776"/>
            <a:ext cx="131797" cy="167134"/>
          </a:xfrm>
          <a:custGeom>
            <a:avLst/>
            <a:gdLst>
              <a:gd name="connsiteX0" fmla="*/ 1973674 w 2108298"/>
              <a:gd name="connsiteY0" fmla="*/ 99 h 2673566"/>
              <a:gd name="connsiteX1" fmla="*/ 591493 w 2108298"/>
              <a:gd name="connsiteY1" fmla="*/ 520555 h 2673566"/>
              <a:gd name="connsiteX2" fmla="*/ 0 w 2108298"/>
              <a:gd name="connsiteY2" fmla="*/ 1336780 h 2673566"/>
              <a:gd name="connsiteX3" fmla="*/ 591493 w 2108298"/>
              <a:gd name="connsiteY3" fmla="*/ 2153015 h 2673566"/>
              <a:gd name="connsiteX4" fmla="*/ 1973674 w 2108298"/>
              <a:gd name="connsiteY4" fmla="*/ 2673451 h 2673566"/>
              <a:gd name="connsiteX5" fmla="*/ 1979304 w 2108298"/>
              <a:gd name="connsiteY5" fmla="*/ 2673566 h 2673566"/>
              <a:gd name="connsiteX6" fmla="*/ 2078316 w 2108298"/>
              <a:gd name="connsiteY6" fmla="*/ 2633694 h 2673566"/>
              <a:gd name="connsiteX7" fmla="*/ 2108298 w 2108298"/>
              <a:gd name="connsiteY7" fmla="*/ 2590219 h 2673566"/>
              <a:gd name="connsiteX8" fmla="*/ 2108298 w 2108298"/>
              <a:gd name="connsiteY8" fmla="*/ 83335 h 2673566"/>
              <a:gd name="connsiteX9" fmla="*/ 2078316 w 2108298"/>
              <a:gd name="connsiteY9" fmla="*/ 39866 h 2673566"/>
              <a:gd name="connsiteX10" fmla="*/ 1973674 w 2108298"/>
              <a:gd name="connsiteY10" fmla="*/ 99 h 2673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108298" h="2673566">
                <a:moveTo>
                  <a:pt x="1973674" y="99"/>
                </a:moveTo>
                <a:cubicBezTo>
                  <a:pt x="1330785" y="25388"/>
                  <a:pt x="831742" y="337046"/>
                  <a:pt x="591493" y="520555"/>
                </a:cubicBezTo>
                <a:cubicBezTo>
                  <a:pt x="232172" y="794989"/>
                  <a:pt x="0" y="1115391"/>
                  <a:pt x="0" y="1336780"/>
                </a:cubicBezTo>
                <a:cubicBezTo>
                  <a:pt x="0" y="1558170"/>
                  <a:pt x="232172" y="1878571"/>
                  <a:pt x="591493" y="2153015"/>
                </a:cubicBezTo>
                <a:cubicBezTo>
                  <a:pt x="831742" y="2336523"/>
                  <a:pt x="1330795" y="2648153"/>
                  <a:pt x="1973674" y="2673451"/>
                </a:cubicBezTo>
                <a:cubicBezTo>
                  <a:pt x="1975551" y="2673528"/>
                  <a:pt x="1977418" y="2673566"/>
                  <a:pt x="1979304" y="2673566"/>
                </a:cubicBezTo>
                <a:cubicBezTo>
                  <a:pt x="2016137" y="2673566"/>
                  <a:pt x="2051656" y="2659326"/>
                  <a:pt x="2078316" y="2633694"/>
                </a:cubicBezTo>
                <a:lnTo>
                  <a:pt x="2108298" y="2590219"/>
                </a:lnTo>
                <a:lnTo>
                  <a:pt x="2108298" y="83335"/>
                </a:lnTo>
                <a:lnTo>
                  <a:pt x="2078316" y="39866"/>
                </a:lnTo>
                <a:cubicBezTo>
                  <a:pt x="2050293" y="12939"/>
                  <a:pt x="2012327" y="-1339"/>
                  <a:pt x="1973674" y="99"/>
                </a:cubicBezTo>
                <a:close/>
              </a:path>
            </a:pathLst>
          </a:custGeom>
          <a:solidFill>
            <a:schemeClr val="accent1"/>
          </a:solidFill>
          <a:ln w="12700" cap="flat" cmpd="sng" algn="ctr">
            <a:noFill/>
            <a:prstDash val="solid"/>
            <a:miter lim="800000"/>
          </a:ln>
          <a:effectLst>
            <a:outerShdw blurRad="215900" sx="104000" sy="104000" algn="ctr" rotWithShape="0">
              <a:prstClr val="black">
                <a:alpha val="19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0" cap="none" spc="0" normalizeH="0" baseline="0" noProof="0">
              <a:ln>
                <a:noFill/>
              </a:ln>
              <a:solidFill>
                <a:prstClr val="white"/>
              </a:solidFill>
              <a:effectLst/>
              <a:uLnTx/>
              <a:uFillTx/>
              <a:latin typeface="Arial"/>
              <a:cs typeface="+mn-cs"/>
            </a:endParaRPr>
          </a:p>
        </p:txBody>
      </p:sp>
      <p:sp>
        <p:nvSpPr>
          <p:cNvPr id="11" name="Freeform: Shape 70">
            <a:extLst>
              <a:ext uri="{FF2B5EF4-FFF2-40B4-BE49-F238E27FC236}">
                <a16:creationId xmlns:a16="http://schemas.microsoft.com/office/drawing/2014/main" id="{B986E3F8-5033-4D60-B5AC-CDE39390F09C}"/>
              </a:ext>
            </a:extLst>
          </p:cNvPr>
          <p:cNvSpPr/>
          <p:nvPr/>
        </p:nvSpPr>
        <p:spPr>
          <a:xfrm flipH="1">
            <a:off x="4777709" y="3416776"/>
            <a:ext cx="131797" cy="167134"/>
          </a:xfrm>
          <a:custGeom>
            <a:avLst/>
            <a:gdLst>
              <a:gd name="connsiteX0" fmla="*/ 1973674 w 2108298"/>
              <a:gd name="connsiteY0" fmla="*/ 99 h 2673566"/>
              <a:gd name="connsiteX1" fmla="*/ 591493 w 2108298"/>
              <a:gd name="connsiteY1" fmla="*/ 520555 h 2673566"/>
              <a:gd name="connsiteX2" fmla="*/ 0 w 2108298"/>
              <a:gd name="connsiteY2" fmla="*/ 1336780 h 2673566"/>
              <a:gd name="connsiteX3" fmla="*/ 591493 w 2108298"/>
              <a:gd name="connsiteY3" fmla="*/ 2153015 h 2673566"/>
              <a:gd name="connsiteX4" fmla="*/ 1973674 w 2108298"/>
              <a:gd name="connsiteY4" fmla="*/ 2673451 h 2673566"/>
              <a:gd name="connsiteX5" fmla="*/ 1979304 w 2108298"/>
              <a:gd name="connsiteY5" fmla="*/ 2673566 h 2673566"/>
              <a:gd name="connsiteX6" fmla="*/ 2078316 w 2108298"/>
              <a:gd name="connsiteY6" fmla="*/ 2633694 h 2673566"/>
              <a:gd name="connsiteX7" fmla="*/ 2108298 w 2108298"/>
              <a:gd name="connsiteY7" fmla="*/ 2590219 h 2673566"/>
              <a:gd name="connsiteX8" fmla="*/ 2108298 w 2108298"/>
              <a:gd name="connsiteY8" fmla="*/ 83335 h 2673566"/>
              <a:gd name="connsiteX9" fmla="*/ 2078316 w 2108298"/>
              <a:gd name="connsiteY9" fmla="*/ 39866 h 2673566"/>
              <a:gd name="connsiteX10" fmla="*/ 1973674 w 2108298"/>
              <a:gd name="connsiteY10" fmla="*/ 99 h 2673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108298" h="2673566">
                <a:moveTo>
                  <a:pt x="1973674" y="99"/>
                </a:moveTo>
                <a:cubicBezTo>
                  <a:pt x="1330785" y="25388"/>
                  <a:pt x="831742" y="337046"/>
                  <a:pt x="591493" y="520555"/>
                </a:cubicBezTo>
                <a:cubicBezTo>
                  <a:pt x="232172" y="794989"/>
                  <a:pt x="0" y="1115391"/>
                  <a:pt x="0" y="1336780"/>
                </a:cubicBezTo>
                <a:cubicBezTo>
                  <a:pt x="0" y="1558170"/>
                  <a:pt x="232172" y="1878571"/>
                  <a:pt x="591493" y="2153015"/>
                </a:cubicBezTo>
                <a:cubicBezTo>
                  <a:pt x="831742" y="2336523"/>
                  <a:pt x="1330795" y="2648153"/>
                  <a:pt x="1973674" y="2673451"/>
                </a:cubicBezTo>
                <a:cubicBezTo>
                  <a:pt x="1975551" y="2673528"/>
                  <a:pt x="1977418" y="2673566"/>
                  <a:pt x="1979304" y="2673566"/>
                </a:cubicBezTo>
                <a:cubicBezTo>
                  <a:pt x="2016137" y="2673566"/>
                  <a:pt x="2051656" y="2659326"/>
                  <a:pt x="2078316" y="2633694"/>
                </a:cubicBezTo>
                <a:lnTo>
                  <a:pt x="2108298" y="2590219"/>
                </a:lnTo>
                <a:lnTo>
                  <a:pt x="2108298" y="83335"/>
                </a:lnTo>
                <a:lnTo>
                  <a:pt x="2078316" y="39866"/>
                </a:lnTo>
                <a:cubicBezTo>
                  <a:pt x="2050293" y="12939"/>
                  <a:pt x="2012327" y="-1339"/>
                  <a:pt x="1973674" y="99"/>
                </a:cubicBezTo>
                <a:close/>
              </a:path>
            </a:pathLst>
          </a:custGeom>
          <a:solidFill>
            <a:schemeClr val="accent1"/>
          </a:solidFill>
          <a:ln w="12700" cap="flat" cmpd="sng" algn="ctr">
            <a:noFill/>
            <a:prstDash val="solid"/>
            <a:miter lim="800000"/>
          </a:ln>
          <a:effectLst>
            <a:outerShdw blurRad="215900" sx="104000" sy="104000" algn="ctr" rotWithShape="0">
              <a:prstClr val="black">
                <a:alpha val="19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0" cap="none" spc="0" normalizeH="0" baseline="0" noProof="0">
              <a:ln>
                <a:noFill/>
              </a:ln>
              <a:solidFill>
                <a:prstClr val="white"/>
              </a:solidFill>
              <a:effectLst/>
              <a:uLnTx/>
              <a:uFillTx/>
              <a:latin typeface="Arial"/>
              <a:cs typeface="+mn-cs"/>
            </a:endParaRPr>
          </a:p>
        </p:txBody>
      </p:sp>
      <p:sp>
        <p:nvSpPr>
          <p:cNvPr id="12" name="Freeform: Shape 191">
            <a:extLst>
              <a:ext uri="{FF2B5EF4-FFF2-40B4-BE49-F238E27FC236}">
                <a16:creationId xmlns:a16="http://schemas.microsoft.com/office/drawing/2014/main" id="{EC7FB554-6D03-4E10-8662-D8F0546CB688}"/>
              </a:ext>
            </a:extLst>
          </p:cNvPr>
          <p:cNvSpPr/>
          <p:nvPr/>
        </p:nvSpPr>
        <p:spPr>
          <a:xfrm flipH="1">
            <a:off x="9240598" y="2314124"/>
            <a:ext cx="1870837" cy="2372437"/>
          </a:xfrm>
          <a:custGeom>
            <a:avLst/>
            <a:gdLst>
              <a:gd name="connsiteX0" fmla="*/ 1751376 w 1870837"/>
              <a:gd name="connsiteY0" fmla="*/ 88 h 2372437"/>
              <a:gd name="connsiteX1" fmla="*/ 524872 w 1870837"/>
              <a:gd name="connsiteY1" fmla="*/ 461924 h 2372437"/>
              <a:gd name="connsiteX2" fmla="*/ 0 w 1870837"/>
              <a:gd name="connsiteY2" fmla="*/ 1186216 h 2372437"/>
              <a:gd name="connsiteX3" fmla="*/ 524872 w 1870837"/>
              <a:gd name="connsiteY3" fmla="*/ 1910517 h 2372437"/>
              <a:gd name="connsiteX4" fmla="*/ 1751376 w 1870837"/>
              <a:gd name="connsiteY4" fmla="*/ 2372335 h 2372437"/>
              <a:gd name="connsiteX5" fmla="*/ 1756372 w 1870837"/>
              <a:gd name="connsiteY5" fmla="*/ 2372437 h 2372437"/>
              <a:gd name="connsiteX6" fmla="*/ 1844232 w 1870837"/>
              <a:gd name="connsiteY6" fmla="*/ 2337056 h 2372437"/>
              <a:gd name="connsiteX7" fmla="*/ 1870837 w 1870837"/>
              <a:gd name="connsiteY7" fmla="*/ 2298478 h 2372437"/>
              <a:gd name="connsiteX8" fmla="*/ 1870837 w 1870837"/>
              <a:gd name="connsiteY8" fmla="*/ 73949 h 2372437"/>
              <a:gd name="connsiteX9" fmla="*/ 1844232 w 1870837"/>
              <a:gd name="connsiteY9" fmla="*/ 35376 h 2372437"/>
              <a:gd name="connsiteX10" fmla="*/ 1751376 w 1870837"/>
              <a:gd name="connsiteY10" fmla="*/ 88 h 2372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870837" h="2372437">
                <a:moveTo>
                  <a:pt x="1751376" y="88"/>
                </a:moveTo>
                <a:cubicBezTo>
                  <a:pt x="1180896" y="22529"/>
                  <a:pt x="738061" y="299084"/>
                  <a:pt x="524872" y="461924"/>
                </a:cubicBezTo>
                <a:cubicBezTo>
                  <a:pt x="206022" y="705448"/>
                  <a:pt x="0" y="989762"/>
                  <a:pt x="0" y="1186216"/>
                </a:cubicBezTo>
                <a:cubicBezTo>
                  <a:pt x="0" y="1382670"/>
                  <a:pt x="206022" y="1666984"/>
                  <a:pt x="524872" y="1910517"/>
                </a:cubicBezTo>
                <a:cubicBezTo>
                  <a:pt x="738061" y="2073356"/>
                  <a:pt x="1180905" y="2349886"/>
                  <a:pt x="1751376" y="2372335"/>
                </a:cubicBezTo>
                <a:cubicBezTo>
                  <a:pt x="1753042" y="2372403"/>
                  <a:pt x="1754698" y="2372437"/>
                  <a:pt x="1756372" y="2372437"/>
                </a:cubicBezTo>
                <a:cubicBezTo>
                  <a:pt x="1789056" y="2372437"/>
                  <a:pt x="1820575" y="2359801"/>
                  <a:pt x="1844232" y="2337056"/>
                </a:cubicBezTo>
                <a:lnTo>
                  <a:pt x="1870837" y="2298478"/>
                </a:lnTo>
                <a:lnTo>
                  <a:pt x="1870837" y="73949"/>
                </a:lnTo>
                <a:lnTo>
                  <a:pt x="1844232" y="35376"/>
                </a:lnTo>
                <a:cubicBezTo>
                  <a:pt x="1819365" y="11482"/>
                  <a:pt x="1785675" y="-1188"/>
                  <a:pt x="1751376" y="88"/>
                </a:cubicBezTo>
                <a:close/>
              </a:path>
            </a:pathLst>
          </a:custGeom>
          <a:gradFill flip="none" rotWithShape="1">
            <a:gsLst>
              <a:gs pos="100000">
                <a:schemeClr val="accent1"/>
              </a:gs>
              <a:gs pos="0">
                <a:schemeClr val="accent1"/>
              </a:gs>
            </a:gsLst>
            <a:lin ang="2700000" scaled="1"/>
            <a:tileRect/>
          </a:gradFill>
          <a:ln w="12700" cap="flat" cmpd="sng" algn="ctr">
            <a:noFill/>
            <a:prstDash val="solid"/>
            <a:miter lim="800000"/>
          </a:ln>
          <a:effectLst>
            <a:outerShdw blurRad="215900" sx="104000" sy="104000" algn="ctr" rotWithShape="0">
              <a:prstClr val="black">
                <a:alpha val="19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0" cap="none" spc="0" normalizeH="0" baseline="0" noProof="0">
              <a:ln>
                <a:noFill/>
              </a:ln>
              <a:solidFill>
                <a:prstClr val="white"/>
              </a:solidFill>
              <a:effectLst/>
              <a:uLnTx/>
              <a:uFillTx/>
              <a:latin typeface="Arial"/>
              <a:cs typeface="+mn-cs"/>
            </a:endParaRPr>
          </a:p>
        </p:txBody>
      </p:sp>
      <p:grpSp>
        <p:nvGrpSpPr>
          <p:cNvPr id="13" name="Group 74">
            <a:extLst>
              <a:ext uri="{FF2B5EF4-FFF2-40B4-BE49-F238E27FC236}">
                <a16:creationId xmlns:a16="http://schemas.microsoft.com/office/drawing/2014/main" id="{12D1212E-5A5E-477A-99E1-402F6DA464DC}"/>
              </a:ext>
            </a:extLst>
          </p:cNvPr>
          <p:cNvGrpSpPr/>
          <p:nvPr/>
        </p:nvGrpSpPr>
        <p:grpSpPr>
          <a:xfrm>
            <a:off x="6030796" y="1286452"/>
            <a:ext cx="1025015" cy="361029"/>
            <a:chOff x="5983816" y="1091376"/>
            <a:chExt cx="1533310" cy="540061"/>
          </a:xfrm>
        </p:grpSpPr>
        <p:sp>
          <p:nvSpPr>
            <p:cNvPr id="14" name="Oval 5">
              <a:extLst>
                <a:ext uri="{FF2B5EF4-FFF2-40B4-BE49-F238E27FC236}">
                  <a16:creationId xmlns:a16="http://schemas.microsoft.com/office/drawing/2014/main" id="{5E2DE838-5DCF-477A-B4B0-0FC6C6835773}"/>
                </a:ext>
              </a:extLst>
            </p:cNvPr>
            <p:cNvSpPr/>
            <p:nvPr/>
          </p:nvSpPr>
          <p:spPr>
            <a:xfrm>
              <a:off x="6977063" y="1091376"/>
              <a:ext cx="540063" cy="540061"/>
            </a:xfrm>
            <a:prstGeom prst="ellipse">
              <a:avLst/>
            </a:prstGeom>
            <a:solidFill>
              <a:sysClr val="window" lastClr="FFFFFF"/>
            </a:solidFill>
            <a:ln w="12700" cap="flat" cmpd="sng" algn="ctr">
              <a:noFill/>
              <a:prstDash val="solid"/>
              <a:miter lim="800000"/>
            </a:ln>
            <a:effectLst>
              <a:outerShdw blurRad="215900" sx="104000" sy="104000" algn="ctr" rotWithShape="0">
                <a:prstClr val="black">
                  <a:alpha val="19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Gill Sans MT" panose="020B0502020104020203" pitchFamily="34" charset="0"/>
                <a:cs typeface="+mn-cs"/>
              </a:endParaRPr>
            </a:p>
          </p:txBody>
        </p:sp>
        <p:sp>
          <p:nvSpPr>
            <p:cNvPr id="15" name="Flowchart: Stored Data 11">
              <a:extLst>
                <a:ext uri="{FF2B5EF4-FFF2-40B4-BE49-F238E27FC236}">
                  <a16:creationId xmlns:a16="http://schemas.microsoft.com/office/drawing/2014/main" id="{49D73B86-A03C-4400-899C-74ECF25C9B9D}"/>
                </a:ext>
              </a:extLst>
            </p:cNvPr>
            <p:cNvSpPr/>
            <p:nvPr/>
          </p:nvSpPr>
          <p:spPr>
            <a:xfrm>
              <a:off x="5983816" y="1096806"/>
              <a:ext cx="1209933" cy="529201"/>
            </a:xfrm>
            <a:prstGeom prst="flowChartOnlineStorage">
              <a:avLst/>
            </a:prstGeom>
            <a:gradFill flip="none" rotWithShape="1">
              <a:gsLst>
                <a:gs pos="100000">
                  <a:schemeClr val="accent1"/>
                </a:gs>
                <a:gs pos="0">
                  <a:schemeClr val="accent1"/>
                </a:gs>
              </a:gsLst>
              <a:lin ang="2700000" scaled="1"/>
              <a:tileRect/>
            </a:gra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0" cap="none" spc="0" normalizeH="0" baseline="0" noProof="0">
                <a:ln>
                  <a:noFill/>
                </a:ln>
                <a:solidFill>
                  <a:prstClr val="white"/>
                </a:solidFill>
                <a:effectLst/>
                <a:uLnTx/>
                <a:uFillTx/>
                <a:latin typeface="Gill Sans MT" panose="020B0502020104020203" pitchFamily="34" charset="0"/>
                <a:cs typeface="+mn-cs"/>
              </a:endParaRPr>
            </a:p>
          </p:txBody>
        </p:sp>
      </p:grpSp>
      <p:grpSp>
        <p:nvGrpSpPr>
          <p:cNvPr id="16" name="Group 78">
            <a:extLst>
              <a:ext uri="{FF2B5EF4-FFF2-40B4-BE49-F238E27FC236}">
                <a16:creationId xmlns:a16="http://schemas.microsoft.com/office/drawing/2014/main" id="{090EF06C-1117-486D-98E4-17B9B9F0659B}"/>
              </a:ext>
            </a:extLst>
          </p:cNvPr>
          <p:cNvGrpSpPr/>
          <p:nvPr/>
        </p:nvGrpSpPr>
        <p:grpSpPr>
          <a:xfrm>
            <a:off x="7039442" y="1985817"/>
            <a:ext cx="1025015" cy="361029"/>
            <a:chOff x="5983816" y="1091376"/>
            <a:chExt cx="1533310" cy="540061"/>
          </a:xfrm>
        </p:grpSpPr>
        <p:sp>
          <p:nvSpPr>
            <p:cNvPr id="17" name="Oval 79">
              <a:extLst>
                <a:ext uri="{FF2B5EF4-FFF2-40B4-BE49-F238E27FC236}">
                  <a16:creationId xmlns:a16="http://schemas.microsoft.com/office/drawing/2014/main" id="{05211781-7AED-4FEA-BCEA-83A70BE0653E}"/>
                </a:ext>
              </a:extLst>
            </p:cNvPr>
            <p:cNvSpPr/>
            <p:nvPr/>
          </p:nvSpPr>
          <p:spPr>
            <a:xfrm>
              <a:off x="6977063" y="1091376"/>
              <a:ext cx="540063" cy="540061"/>
            </a:xfrm>
            <a:prstGeom prst="ellipse">
              <a:avLst/>
            </a:prstGeom>
            <a:solidFill>
              <a:sysClr val="window" lastClr="FFFFFF"/>
            </a:solidFill>
            <a:ln w="12700" cap="flat" cmpd="sng" algn="ctr">
              <a:noFill/>
              <a:prstDash val="solid"/>
              <a:miter lim="800000"/>
            </a:ln>
            <a:effectLst>
              <a:outerShdw blurRad="215900" sx="104000" sy="104000" algn="ctr" rotWithShape="0">
                <a:prstClr val="black">
                  <a:alpha val="19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Gill Sans MT" panose="020B0502020104020203" pitchFamily="34" charset="0"/>
                <a:cs typeface="+mn-cs"/>
              </a:endParaRPr>
            </a:p>
          </p:txBody>
        </p:sp>
        <p:sp>
          <p:nvSpPr>
            <p:cNvPr id="18" name="Flowchart: Stored Data 80">
              <a:extLst>
                <a:ext uri="{FF2B5EF4-FFF2-40B4-BE49-F238E27FC236}">
                  <a16:creationId xmlns:a16="http://schemas.microsoft.com/office/drawing/2014/main" id="{7325B96E-6ADE-4696-826E-DA414B1837D0}"/>
                </a:ext>
              </a:extLst>
            </p:cNvPr>
            <p:cNvSpPr/>
            <p:nvPr/>
          </p:nvSpPr>
          <p:spPr>
            <a:xfrm>
              <a:off x="5983816" y="1096806"/>
              <a:ext cx="1209933" cy="529201"/>
            </a:xfrm>
            <a:prstGeom prst="flowChartOnlineStorage">
              <a:avLst/>
            </a:prstGeom>
            <a:solidFill>
              <a:schemeClr val="bg1">
                <a:lumMod val="95000"/>
              </a:schemeClr>
            </a:soli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0" cap="none" spc="0" normalizeH="0" baseline="0" noProof="0">
                <a:ln>
                  <a:noFill/>
                </a:ln>
                <a:solidFill>
                  <a:prstClr val="white"/>
                </a:solidFill>
                <a:effectLst/>
                <a:uLnTx/>
                <a:uFillTx/>
                <a:latin typeface="Gill Sans MT" panose="020B0502020104020203" pitchFamily="34" charset="0"/>
                <a:cs typeface="+mn-cs"/>
              </a:endParaRPr>
            </a:p>
          </p:txBody>
        </p:sp>
      </p:grpSp>
      <p:grpSp>
        <p:nvGrpSpPr>
          <p:cNvPr id="19" name="Group 81">
            <a:extLst>
              <a:ext uri="{FF2B5EF4-FFF2-40B4-BE49-F238E27FC236}">
                <a16:creationId xmlns:a16="http://schemas.microsoft.com/office/drawing/2014/main" id="{53BA0D44-185C-49D0-A756-B761F874AAEA}"/>
              </a:ext>
            </a:extLst>
          </p:cNvPr>
          <p:cNvGrpSpPr/>
          <p:nvPr/>
        </p:nvGrpSpPr>
        <p:grpSpPr>
          <a:xfrm>
            <a:off x="8048088" y="2685181"/>
            <a:ext cx="1025015" cy="361029"/>
            <a:chOff x="5983816" y="1091376"/>
            <a:chExt cx="1533310" cy="540061"/>
          </a:xfrm>
        </p:grpSpPr>
        <p:sp>
          <p:nvSpPr>
            <p:cNvPr id="20" name="Oval 82">
              <a:extLst>
                <a:ext uri="{FF2B5EF4-FFF2-40B4-BE49-F238E27FC236}">
                  <a16:creationId xmlns:a16="http://schemas.microsoft.com/office/drawing/2014/main" id="{78737C02-1EF5-4AAC-ADD2-8816547E269F}"/>
                </a:ext>
              </a:extLst>
            </p:cNvPr>
            <p:cNvSpPr/>
            <p:nvPr/>
          </p:nvSpPr>
          <p:spPr>
            <a:xfrm>
              <a:off x="6977063" y="1091376"/>
              <a:ext cx="540063" cy="540061"/>
            </a:xfrm>
            <a:prstGeom prst="ellipse">
              <a:avLst/>
            </a:prstGeom>
            <a:solidFill>
              <a:sysClr val="window" lastClr="FFFFFF"/>
            </a:solidFill>
            <a:ln w="12700" cap="flat" cmpd="sng" algn="ctr">
              <a:noFill/>
              <a:prstDash val="solid"/>
              <a:miter lim="800000"/>
            </a:ln>
            <a:effectLst>
              <a:outerShdw blurRad="215900" sx="104000" sy="104000" algn="ctr" rotWithShape="0">
                <a:prstClr val="black">
                  <a:alpha val="19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cs typeface="+mn-cs"/>
              </a:endParaRPr>
            </a:p>
          </p:txBody>
        </p:sp>
        <p:sp>
          <p:nvSpPr>
            <p:cNvPr id="21" name="Flowchart: Stored Data 83">
              <a:extLst>
                <a:ext uri="{FF2B5EF4-FFF2-40B4-BE49-F238E27FC236}">
                  <a16:creationId xmlns:a16="http://schemas.microsoft.com/office/drawing/2014/main" id="{B812EAF9-C621-4C55-8FCC-81971ED5C450}"/>
                </a:ext>
              </a:extLst>
            </p:cNvPr>
            <p:cNvSpPr/>
            <p:nvPr/>
          </p:nvSpPr>
          <p:spPr>
            <a:xfrm>
              <a:off x="5983816" y="1096806"/>
              <a:ext cx="1209933" cy="529201"/>
            </a:xfrm>
            <a:prstGeom prst="flowChartOnlineStorage">
              <a:avLst/>
            </a:prstGeom>
            <a:solidFill>
              <a:schemeClr val="bg1">
                <a:lumMod val="95000"/>
              </a:schemeClr>
            </a:soli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0" cap="none" spc="0" normalizeH="0" baseline="0" noProof="0">
                <a:ln>
                  <a:noFill/>
                </a:ln>
                <a:solidFill>
                  <a:prstClr val="white"/>
                </a:solidFill>
                <a:effectLst/>
                <a:uLnTx/>
                <a:uFillTx/>
                <a:latin typeface="Arial"/>
                <a:cs typeface="+mn-cs"/>
              </a:endParaRPr>
            </a:p>
          </p:txBody>
        </p:sp>
      </p:grpSp>
      <p:grpSp>
        <p:nvGrpSpPr>
          <p:cNvPr id="22" name="Group 86">
            <a:extLst>
              <a:ext uri="{FF2B5EF4-FFF2-40B4-BE49-F238E27FC236}">
                <a16:creationId xmlns:a16="http://schemas.microsoft.com/office/drawing/2014/main" id="{8915A940-7FB4-45D7-8E9A-A38768808978}"/>
              </a:ext>
            </a:extLst>
          </p:cNvPr>
          <p:cNvGrpSpPr/>
          <p:nvPr/>
        </p:nvGrpSpPr>
        <p:grpSpPr>
          <a:xfrm flipV="1">
            <a:off x="6030796" y="5353201"/>
            <a:ext cx="1025015" cy="361031"/>
            <a:chOff x="5983816" y="1091376"/>
            <a:chExt cx="1533310" cy="540061"/>
          </a:xfrm>
        </p:grpSpPr>
        <p:sp>
          <p:nvSpPr>
            <p:cNvPr id="23" name="Oval 93">
              <a:extLst>
                <a:ext uri="{FF2B5EF4-FFF2-40B4-BE49-F238E27FC236}">
                  <a16:creationId xmlns:a16="http://schemas.microsoft.com/office/drawing/2014/main" id="{6DA0BC7D-7C51-4E91-A844-0F2600196BB9}"/>
                </a:ext>
              </a:extLst>
            </p:cNvPr>
            <p:cNvSpPr/>
            <p:nvPr/>
          </p:nvSpPr>
          <p:spPr>
            <a:xfrm>
              <a:off x="6977063" y="1091376"/>
              <a:ext cx="540063" cy="540061"/>
            </a:xfrm>
            <a:prstGeom prst="ellipse">
              <a:avLst/>
            </a:prstGeom>
            <a:solidFill>
              <a:sysClr val="window" lastClr="FFFFFF"/>
            </a:solidFill>
            <a:ln w="12700" cap="flat" cmpd="sng" algn="ctr">
              <a:noFill/>
              <a:prstDash val="solid"/>
              <a:miter lim="800000"/>
            </a:ln>
            <a:effectLst>
              <a:outerShdw blurRad="215900" sx="104000" sy="104000" algn="ctr" rotWithShape="0">
                <a:prstClr val="black">
                  <a:alpha val="19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Gill Sans MT" panose="020B0502020104020203" pitchFamily="34" charset="0"/>
                <a:cs typeface="+mn-cs"/>
              </a:endParaRPr>
            </a:p>
          </p:txBody>
        </p:sp>
        <p:sp>
          <p:nvSpPr>
            <p:cNvPr id="24" name="Flowchart: Stored Data 94">
              <a:extLst>
                <a:ext uri="{FF2B5EF4-FFF2-40B4-BE49-F238E27FC236}">
                  <a16:creationId xmlns:a16="http://schemas.microsoft.com/office/drawing/2014/main" id="{97E43C6B-3479-4400-9E26-26E6DC7C0FED}"/>
                </a:ext>
              </a:extLst>
            </p:cNvPr>
            <p:cNvSpPr/>
            <p:nvPr/>
          </p:nvSpPr>
          <p:spPr>
            <a:xfrm>
              <a:off x="5983816" y="1096807"/>
              <a:ext cx="1209933" cy="529201"/>
            </a:xfrm>
            <a:prstGeom prst="flowChartOnlineStorage">
              <a:avLst/>
            </a:prstGeom>
            <a:gradFill flip="none" rotWithShape="1">
              <a:gsLst>
                <a:gs pos="100000">
                  <a:schemeClr val="accent1"/>
                </a:gs>
                <a:gs pos="0">
                  <a:schemeClr val="accent1"/>
                </a:gs>
              </a:gsLst>
              <a:lin ang="2700000" scaled="1"/>
              <a:tileRect/>
            </a:gra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0" cap="none" spc="0" normalizeH="0" baseline="0" noProof="0">
                <a:ln>
                  <a:noFill/>
                </a:ln>
                <a:solidFill>
                  <a:prstClr val="white"/>
                </a:solidFill>
                <a:effectLst/>
                <a:uLnTx/>
                <a:uFillTx/>
                <a:latin typeface="Gill Sans MT" panose="020B0502020104020203" pitchFamily="34" charset="0"/>
                <a:cs typeface="+mn-cs"/>
              </a:endParaRPr>
            </a:p>
          </p:txBody>
        </p:sp>
      </p:grpSp>
      <p:grpSp>
        <p:nvGrpSpPr>
          <p:cNvPr id="25" name="Group 87">
            <a:extLst>
              <a:ext uri="{FF2B5EF4-FFF2-40B4-BE49-F238E27FC236}">
                <a16:creationId xmlns:a16="http://schemas.microsoft.com/office/drawing/2014/main" id="{1CBA77FA-937B-4C5F-888A-3D460D26FDFE}"/>
              </a:ext>
            </a:extLst>
          </p:cNvPr>
          <p:cNvGrpSpPr/>
          <p:nvPr/>
        </p:nvGrpSpPr>
        <p:grpSpPr>
          <a:xfrm flipV="1">
            <a:off x="7039442" y="4653837"/>
            <a:ext cx="1025015" cy="361031"/>
            <a:chOff x="5983816" y="1091376"/>
            <a:chExt cx="1533310" cy="540061"/>
          </a:xfrm>
        </p:grpSpPr>
        <p:sp>
          <p:nvSpPr>
            <p:cNvPr id="26" name="Oval 91">
              <a:extLst>
                <a:ext uri="{FF2B5EF4-FFF2-40B4-BE49-F238E27FC236}">
                  <a16:creationId xmlns:a16="http://schemas.microsoft.com/office/drawing/2014/main" id="{E22D805E-D4B3-404E-B2B4-0D6545574F29}"/>
                </a:ext>
              </a:extLst>
            </p:cNvPr>
            <p:cNvSpPr/>
            <p:nvPr/>
          </p:nvSpPr>
          <p:spPr>
            <a:xfrm>
              <a:off x="6977063" y="1091376"/>
              <a:ext cx="540063" cy="540061"/>
            </a:xfrm>
            <a:prstGeom prst="ellipse">
              <a:avLst/>
            </a:prstGeom>
            <a:solidFill>
              <a:sysClr val="window" lastClr="FFFFFF"/>
            </a:solidFill>
            <a:ln w="12700" cap="flat" cmpd="sng" algn="ctr">
              <a:noFill/>
              <a:prstDash val="solid"/>
              <a:miter lim="800000"/>
            </a:ln>
            <a:effectLst>
              <a:outerShdw blurRad="215900" sx="104000" sy="104000" algn="ctr" rotWithShape="0">
                <a:prstClr val="black">
                  <a:alpha val="19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Gill Sans MT" panose="020B0502020104020203" pitchFamily="34" charset="0"/>
                <a:cs typeface="+mn-cs"/>
              </a:endParaRPr>
            </a:p>
          </p:txBody>
        </p:sp>
        <p:sp>
          <p:nvSpPr>
            <p:cNvPr id="27" name="Flowchart: Stored Data 92">
              <a:extLst>
                <a:ext uri="{FF2B5EF4-FFF2-40B4-BE49-F238E27FC236}">
                  <a16:creationId xmlns:a16="http://schemas.microsoft.com/office/drawing/2014/main" id="{F526AD08-1DD3-43AE-A754-C035AFB99B1B}"/>
                </a:ext>
              </a:extLst>
            </p:cNvPr>
            <p:cNvSpPr/>
            <p:nvPr/>
          </p:nvSpPr>
          <p:spPr>
            <a:xfrm>
              <a:off x="5983816" y="1096806"/>
              <a:ext cx="1209933" cy="529201"/>
            </a:xfrm>
            <a:prstGeom prst="flowChartOnlineStorage">
              <a:avLst/>
            </a:prstGeom>
            <a:solidFill>
              <a:schemeClr val="bg1">
                <a:lumMod val="95000"/>
              </a:schemeClr>
            </a:soli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0" cap="none" spc="0" normalizeH="0" baseline="0" noProof="0">
                <a:ln>
                  <a:noFill/>
                </a:ln>
                <a:solidFill>
                  <a:prstClr val="white"/>
                </a:solidFill>
                <a:effectLst/>
                <a:uLnTx/>
                <a:uFillTx/>
                <a:latin typeface="Gill Sans MT" panose="020B0502020104020203" pitchFamily="34" charset="0"/>
                <a:cs typeface="+mn-cs"/>
              </a:endParaRPr>
            </a:p>
          </p:txBody>
        </p:sp>
      </p:grpSp>
      <p:grpSp>
        <p:nvGrpSpPr>
          <p:cNvPr id="28" name="Group 88">
            <a:extLst>
              <a:ext uri="{FF2B5EF4-FFF2-40B4-BE49-F238E27FC236}">
                <a16:creationId xmlns:a16="http://schemas.microsoft.com/office/drawing/2014/main" id="{0EF97159-49BC-474A-95DD-9C9906EE5B90}"/>
              </a:ext>
            </a:extLst>
          </p:cNvPr>
          <p:cNvGrpSpPr/>
          <p:nvPr/>
        </p:nvGrpSpPr>
        <p:grpSpPr>
          <a:xfrm flipV="1">
            <a:off x="8048088" y="3954472"/>
            <a:ext cx="1025015" cy="361031"/>
            <a:chOff x="5983816" y="1091376"/>
            <a:chExt cx="1533310" cy="540061"/>
          </a:xfrm>
        </p:grpSpPr>
        <p:sp>
          <p:nvSpPr>
            <p:cNvPr id="29" name="Oval 89">
              <a:extLst>
                <a:ext uri="{FF2B5EF4-FFF2-40B4-BE49-F238E27FC236}">
                  <a16:creationId xmlns:a16="http://schemas.microsoft.com/office/drawing/2014/main" id="{C2CB438A-D89B-4010-8C51-8A8BEB2C4CB6}"/>
                </a:ext>
              </a:extLst>
            </p:cNvPr>
            <p:cNvSpPr/>
            <p:nvPr/>
          </p:nvSpPr>
          <p:spPr>
            <a:xfrm>
              <a:off x="6977063" y="1091376"/>
              <a:ext cx="540063" cy="540061"/>
            </a:xfrm>
            <a:prstGeom prst="ellipse">
              <a:avLst/>
            </a:prstGeom>
            <a:solidFill>
              <a:sysClr val="window" lastClr="FFFFFF"/>
            </a:solidFill>
            <a:ln w="12700" cap="flat" cmpd="sng" algn="ctr">
              <a:noFill/>
              <a:prstDash val="solid"/>
              <a:miter lim="800000"/>
            </a:ln>
            <a:effectLst>
              <a:outerShdw blurRad="215900" sx="104000" sy="104000" algn="ctr" rotWithShape="0">
                <a:prstClr val="black">
                  <a:alpha val="19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cs typeface="+mn-cs"/>
              </a:endParaRPr>
            </a:p>
          </p:txBody>
        </p:sp>
        <p:sp>
          <p:nvSpPr>
            <p:cNvPr id="30" name="Flowchart: Stored Data 90">
              <a:extLst>
                <a:ext uri="{FF2B5EF4-FFF2-40B4-BE49-F238E27FC236}">
                  <a16:creationId xmlns:a16="http://schemas.microsoft.com/office/drawing/2014/main" id="{51FC247D-EDE8-4EF9-9BCF-176CBE6A807F}"/>
                </a:ext>
              </a:extLst>
            </p:cNvPr>
            <p:cNvSpPr/>
            <p:nvPr/>
          </p:nvSpPr>
          <p:spPr>
            <a:xfrm>
              <a:off x="5983816" y="1096806"/>
              <a:ext cx="1209933" cy="529201"/>
            </a:xfrm>
            <a:prstGeom prst="flowChartOnlineStorage">
              <a:avLst/>
            </a:prstGeom>
            <a:solidFill>
              <a:schemeClr val="bg1">
                <a:lumMod val="95000"/>
              </a:schemeClr>
            </a:soli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0" cap="none" spc="0" normalizeH="0" baseline="0" noProof="0">
                <a:ln>
                  <a:noFill/>
                </a:ln>
                <a:solidFill>
                  <a:prstClr val="white"/>
                </a:solidFill>
                <a:effectLst/>
                <a:uLnTx/>
                <a:uFillTx/>
                <a:latin typeface="Arial"/>
                <a:cs typeface="+mn-cs"/>
              </a:endParaRPr>
            </a:p>
          </p:txBody>
        </p:sp>
      </p:grpSp>
      <p:grpSp>
        <p:nvGrpSpPr>
          <p:cNvPr id="31" name="Group 97">
            <a:extLst>
              <a:ext uri="{FF2B5EF4-FFF2-40B4-BE49-F238E27FC236}">
                <a16:creationId xmlns:a16="http://schemas.microsoft.com/office/drawing/2014/main" id="{82C7A357-9502-4F75-83A3-EFB7EB550366}"/>
              </a:ext>
            </a:extLst>
          </p:cNvPr>
          <p:cNvGrpSpPr/>
          <p:nvPr/>
        </p:nvGrpSpPr>
        <p:grpSpPr>
          <a:xfrm>
            <a:off x="3823449" y="1985817"/>
            <a:ext cx="1025015" cy="361029"/>
            <a:chOff x="5983816" y="1091376"/>
            <a:chExt cx="1533310" cy="540061"/>
          </a:xfrm>
        </p:grpSpPr>
        <p:sp>
          <p:nvSpPr>
            <p:cNvPr id="32" name="Oval 101">
              <a:extLst>
                <a:ext uri="{FF2B5EF4-FFF2-40B4-BE49-F238E27FC236}">
                  <a16:creationId xmlns:a16="http://schemas.microsoft.com/office/drawing/2014/main" id="{758747D1-CF92-482E-8969-6FAD37B225EB}"/>
                </a:ext>
              </a:extLst>
            </p:cNvPr>
            <p:cNvSpPr/>
            <p:nvPr/>
          </p:nvSpPr>
          <p:spPr>
            <a:xfrm>
              <a:off x="6977063" y="1091376"/>
              <a:ext cx="540063" cy="540061"/>
            </a:xfrm>
            <a:prstGeom prst="ellipse">
              <a:avLst/>
            </a:prstGeom>
            <a:solidFill>
              <a:sysClr val="window" lastClr="FFFFFF"/>
            </a:solidFill>
            <a:ln w="12700" cap="flat" cmpd="sng" algn="ctr">
              <a:noFill/>
              <a:prstDash val="solid"/>
              <a:miter lim="800000"/>
            </a:ln>
            <a:effectLst>
              <a:outerShdw blurRad="215900" sx="104000" sy="104000" algn="ctr" rotWithShape="0">
                <a:prstClr val="black">
                  <a:alpha val="19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Gill Sans MT" panose="020B0502020104020203" pitchFamily="34" charset="0"/>
                <a:cs typeface="+mn-cs"/>
              </a:endParaRPr>
            </a:p>
          </p:txBody>
        </p:sp>
        <p:sp>
          <p:nvSpPr>
            <p:cNvPr id="33" name="Flowchart: Stored Data 102">
              <a:extLst>
                <a:ext uri="{FF2B5EF4-FFF2-40B4-BE49-F238E27FC236}">
                  <a16:creationId xmlns:a16="http://schemas.microsoft.com/office/drawing/2014/main" id="{FABBE1EF-AB25-4A4E-9495-E06188AFA617}"/>
                </a:ext>
              </a:extLst>
            </p:cNvPr>
            <p:cNvSpPr/>
            <p:nvPr/>
          </p:nvSpPr>
          <p:spPr>
            <a:xfrm>
              <a:off x="5983816" y="1096806"/>
              <a:ext cx="1209933" cy="529201"/>
            </a:xfrm>
            <a:prstGeom prst="flowChartOnlineStorage">
              <a:avLst/>
            </a:prstGeom>
            <a:gradFill flip="none" rotWithShape="1">
              <a:gsLst>
                <a:gs pos="100000">
                  <a:schemeClr val="accent1"/>
                </a:gs>
                <a:gs pos="0">
                  <a:schemeClr val="accent1"/>
                </a:gs>
              </a:gsLst>
              <a:lin ang="2700000" scaled="1"/>
              <a:tileRect/>
            </a:gra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0" cap="none" spc="0" normalizeH="0" baseline="0" noProof="0">
                <a:ln>
                  <a:noFill/>
                </a:ln>
                <a:solidFill>
                  <a:prstClr val="white"/>
                </a:solidFill>
                <a:effectLst/>
                <a:uLnTx/>
                <a:uFillTx/>
                <a:latin typeface="Gill Sans MT" panose="020B0502020104020203" pitchFamily="34" charset="0"/>
                <a:cs typeface="+mn-cs"/>
              </a:endParaRPr>
            </a:p>
          </p:txBody>
        </p:sp>
      </p:grpSp>
      <p:grpSp>
        <p:nvGrpSpPr>
          <p:cNvPr id="34" name="Group 98">
            <a:extLst>
              <a:ext uri="{FF2B5EF4-FFF2-40B4-BE49-F238E27FC236}">
                <a16:creationId xmlns:a16="http://schemas.microsoft.com/office/drawing/2014/main" id="{AECA2587-9C93-4C20-AB5E-00DAB65B5B6F}"/>
              </a:ext>
            </a:extLst>
          </p:cNvPr>
          <p:cNvGrpSpPr/>
          <p:nvPr/>
        </p:nvGrpSpPr>
        <p:grpSpPr>
          <a:xfrm>
            <a:off x="4427662" y="2685181"/>
            <a:ext cx="1025015" cy="361029"/>
            <a:chOff x="5983816" y="1091376"/>
            <a:chExt cx="1533310" cy="540061"/>
          </a:xfrm>
        </p:grpSpPr>
        <p:sp>
          <p:nvSpPr>
            <p:cNvPr id="35" name="Oval 99">
              <a:extLst>
                <a:ext uri="{FF2B5EF4-FFF2-40B4-BE49-F238E27FC236}">
                  <a16:creationId xmlns:a16="http://schemas.microsoft.com/office/drawing/2014/main" id="{A8AACEDA-81FD-434C-88AB-EC1150092213}"/>
                </a:ext>
              </a:extLst>
            </p:cNvPr>
            <p:cNvSpPr/>
            <p:nvPr/>
          </p:nvSpPr>
          <p:spPr>
            <a:xfrm>
              <a:off x="6977063" y="1091376"/>
              <a:ext cx="540063" cy="540061"/>
            </a:xfrm>
            <a:prstGeom prst="ellipse">
              <a:avLst/>
            </a:prstGeom>
            <a:solidFill>
              <a:sysClr val="window" lastClr="FFFFFF"/>
            </a:solidFill>
            <a:ln w="12700" cap="flat" cmpd="sng" algn="ctr">
              <a:noFill/>
              <a:prstDash val="solid"/>
              <a:miter lim="800000"/>
            </a:ln>
            <a:effectLst>
              <a:outerShdw blurRad="215900" sx="104000" sy="104000" algn="ctr" rotWithShape="0">
                <a:prstClr val="black">
                  <a:alpha val="19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Gill Sans MT" panose="020B0502020104020203" pitchFamily="34" charset="0"/>
                <a:cs typeface="+mn-cs"/>
              </a:endParaRPr>
            </a:p>
          </p:txBody>
        </p:sp>
        <p:sp>
          <p:nvSpPr>
            <p:cNvPr id="36" name="Flowchart: Stored Data 100">
              <a:extLst>
                <a:ext uri="{FF2B5EF4-FFF2-40B4-BE49-F238E27FC236}">
                  <a16:creationId xmlns:a16="http://schemas.microsoft.com/office/drawing/2014/main" id="{9685432B-9990-45E6-B7EE-AFD66FFCC730}"/>
                </a:ext>
              </a:extLst>
            </p:cNvPr>
            <p:cNvSpPr/>
            <p:nvPr/>
          </p:nvSpPr>
          <p:spPr>
            <a:xfrm>
              <a:off x="5983816" y="1096806"/>
              <a:ext cx="1209933" cy="529201"/>
            </a:xfrm>
            <a:prstGeom prst="flowChartOnlineStorage">
              <a:avLst/>
            </a:prstGeom>
            <a:solidFill>
              <a:schemeClr val="bg1">
                <a:lumMod val="95000"/>
              </a:scheme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0" cap="none" spc="0" normalizeH="0" baseline="0" noProof="0">
                <a:ln>
                  <a:noFill/>
                </a:ln>
                <a:solidFill>
                  <a:prstClr val="white"/>
                </a:solidFill>
                <a:effectLst/>
                <a:uLnTx/>
                <a:uFillTx/>
                <a:latin typeface="Gill Sans MT" panose="020B0502020104020203" pitchFamily="34" charset="0"/>
                <a:cs typeface="+mn-cs"/>
              </a:endParaRPr>
            </a:p>
          </p:txBody>
        </p:sp>
      </p:grpSp>
      <p:grpSp>
        <p:nvGrpSpPr>
          <p:cNvPr id="37" name="Group 107">
            <a:extLst>
              <a:ext uri="{FF2B5EF4-FFF2-40B4-BE49-F238E27FC236}">
                <a16:creationId xmlns:a16="http://schemas.microsoft.com/office/drawing/2014/main" id="{B8ED0765-F49F-4D1A-8231-82C04328B49F}"/>
              </a:ext>
            </a:extLst>
          </p:cNvPr>
          <p:cNvGrpSpPr/>
          <p:nvPr/>
        </p:nvGrpSpPr>
        <p:grpSpPr>
          <a:xfrm flipV="1">
            <a:off x="3823449" y="4653837"/>
            <a:ext cx="1025015" cy="361031"/>
            <a:chOff x="5983816" y="1091376"/>
            <a:chExt cx="1533310" cy="540061"/>
          </a:xfrm>
        </p:grpSpPr>
        <p:sp>
          <p:nvSpPr>
            <p:cNvPr id="38" name="Oval 111">
              <a:extLst>
                <a:ext uri="{FF2B5EF4-FFF2-40B4-BE49-F238E27FC236}">
                  <a16:creationId xmlns:a16="http://schemas.microsoft.com/office/drawing/2014/main" id="{D403AA38-3F6D-4922-8636-0C06EF2614D6}"/>
                </a:ext>
              </a:extLst>
            </p:cNvPr>
            <p:cNvSpPr/>
            <p:nvPr/>
          </p:nvSpPr>
          <p:spPr>
            <a:xfrm>
              <a:off x="6977063" y="1091376"/>
              <a:ext cx="540063" cy="540061"/>
            </a:xfrm>
            <a:prstGeom prst="ellipse">
              <a:avLst/>
            </a:prstGeom>
            <a:solidFill>
              <a:sysClr val="window" lastClr="FFFFFF"/>
            </a:solidFill>
            <a:ln w="12700" cap="flat" cmpd="sng" algn="ctr">
              <a:noFill/>
              <a:prstDash val="solid"/>
              <a:miter lim="800000"/>
            </a:ln>
            <a:effectLst>
              <a:outerShdw blurRad="215900" sx="104000" sy="104000" algn="ctr" rotWithShape="0">
                <a:prstClr val="black">
                  <a:alpha val="19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Gill Sans MT" panose="020B0502020104020203" pitchFamily="34" charset="0"/>
                <a:cs typeface="+mn-cs"/>
              </a:endParaRPr>
            </a:p>
          </p:txBody>
        </p:sp>
        <p:sp>
          <p:nvSpPr>
            <p:cNvPr id="39" name="Flowchart: Stored Data 112">
              <a:extLst>
                <a:ext uri="{FF2B5EF4-FFF2-40B4-BE49-F238E27FC236}">
                  <a16:creationId xmlns:a16="http://schemas.microsoft.com/office/drawing/2014/main" id="{77B1A030-7280-422E-A733-60CB89763EAF}"/>
                </a:ext>
              </a:extLst>
            </p:cNvPr>
            <p:cNvSpPr/>
            <p:nvPr/>
          </p:nvSpPr>
          <p:spPr>
            <a:xfrm>
              <a:off x="5983816" y="1096806"/>
              <a:ext cx="1209933" cy="529201"/>
            </a:xfrm>
            <a:prstGeom prst="flowChartOnlineStorage">
              <a:avLst/>
            </a:prstGeom>
            <a:gradFill flip="none" rotWithShape="1">
              <a:gsLst>
                <a:gs pos="100000">
                  <a:schemeClr val="accent1"/>
                </a:gs>
                <a:gs pos="0">
                  <a:schemeClr val="accent1"/>
                </a:gs>
              </a:gsLst>
              <a:lin ang="2700000" scaled="1"/>
              <a:tileRect/>
            </a:gra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0" cap="none" spc="0" normalizeH="0" baseline="0" noProof="0">
                <a:ln>
                  <a:noFill/>
                </a:ln>
                <a:solidFill>
                  <a:prstClr val="white"/>
                </a:solidFill>
                <a:effectLst/>
                <a:uLnTx/>
                <a:uFillTx/>
                <a:latin typeface="Gill Sans MT" panose="020B0502020104020203" pitchFamily="34" charset="0"/>
                <a:cs typeface="+mn-cs"/>
              </a:endParaRPr>
            </a:p>
          </p:txBody>
        </p:sp>
      </p:grpSp>
      <p:grpSp>
        <p:nvGrpSpPr>
          <p:cNvPr id="40" name="Group 108">
            <a:extLst>
              <a:ext uri="{FF2B5EF4-FFF2-40B4-BE49-F238E27FC236}">
                <a16:creationId xmlns:a16="http://schemas.microsoft.com/office/drawing/2014/main" id="{E73A8543-E05A-4089-B236-2F7B8E422CFD}"/>
              </a:ext>
            </a:extLst>
          </p:cNvPr>
          <p:cNvGrpSpPr/>
          <p:nvPr/>
        </p:nvGrpSpPr>
        <p:grpSpPr>
          <a:xfrm flipV="1">
            <a:off x="4427662" y="3954472"/>
            <a:ext cx="1025015" cy="361031"/>
            <a:chOff x="5983816" y="1091376"/>
            <a:chExt cx="1533310" cy="540061"/>
          </a:xfrm>
        </p:grpSpPr>
        <p:sp>
          <p:nvSpPr>
            <p:cNvPr id="41" name="Oval 109">
              <a:extLst>
                <a:ext uri="{FF2B5EF4-FFF2-40B4-BE49-F238E27FC236}">
                  <a16:creationId xmlns:a16="http://schemas.microsoft.com/office/drawing/2014/main" id="{05B3324E-83BC-4491-B5E7-91EF995F22C0}"/>
                </a:ext>
              </a:extLst>
            </p:cNvPr>
            <p:cNvSpPr/>
            <p:nvPr/>
          </p:nvSpPr>
          <p:spPr>
            <a:xfrm>
              <a:off x="6977063" y="1091376"/>
              <a:ext cx="540063" cy="540061"/>
            </a:xfrm>
            <a:prstGeom prst="ellipse">
              <a:avLst/>
            </a:prstGeom>
            <a:solidFill>
              <a:sysClr val="window" lastClr="FFFFFF"/>
            </a:solidFill>
            <a:ln w="12700" cap="flat" cmpd="sng" algn="ctr">
              <a:noFill/>
              <a:prstDash val="solid"/>
              <a:miter lim="800000"/>
            </a:ln>
            <a:effectLst>
              <a:outerShdw blurRad="215900" sx="104000" sy="104000" algn="ctr" rotWithShape="0">
                <a:prstClr val="black">
                  <a:alpha val="19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Gill Sans MT" panose="020B0502020104020203" pitchFamily="34" charset="0"/>
                <a:cs typeface="+mn-cs"/>
              </a:endParaRPr>
            </a:p>
          </p:txBody>
        </p:sp>
        <p:sp>
          <p:nvSpPr>
            <p:cNvPr id="42" name="Flowchart: Stored Data 110">
              <a:extLst>
                <a:ext uri="{FF2B5EF4-FFF2-40B4-BE49-F238E27FC236}">
                  <a16:creationId xmlns:a16="http://schemas.microsoft.com/office/drawing/2014/main" id="{B0331645-B2A0-4288-AFFA-7A7D7572FC7C}"/>
                </a:ext>
              </a:extLst>
            </p:cNvPr>
            <p:cNvSpPr/>
            <p:nvPr/>
          </p:nvSpPr>
          <p:spPr>
            <a:xfrm>
              <a:off x="5983816" y="1096806"/>
              <a:ext cx="1209933" cy="529201"/>
            </a:xfrm>
            <a:prstGeom prst="flowChartOnlineStorage">
              <a:avLst/>
            </a:prstGeom>
            <a:solidFill>
              <a:schemeClr val="bg1">
                <a:lumMod val="95000"/>
              </a:schemeClr>
            </a:soli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0" cap="none" spc="0" normalizeH="0" baseline="0" noProof="0">
                <a:ln>
                  <a:noFill/>
                </a:ln>
                <a:solidFill>
                  <a:prstClr val="white"/>
                </a:solidFill>
                <a:effectLst/>
                <a:uLnTx/>
                <a:uFillTx/>
                <a:latin typeface="Gill Sans MT" panose="020B0502020104020203" pitchFamily="34" charset="0"/>
                <a:cs typeface="+mn-cs"/>
              </a:endParaRPr>
            </a:p>
          </p:txBody>
        </p:sp>
      </p:grpSp>
      <p:sp>
        <p:nvSpPr>
          <p:cNvPr id="43" name="Rectangle 134">
            <a:extLst>
              <a:ext uri="{FF2B5EF4-FFF2-40B4-BE49-F238E27FC236}">
                <a16:creationId xmlns:a16="http://schemas.microsoft.com/office/drawing/2014/main" id="{3FFA869D-5D20-430E-A2BD-2E9CA31B09DA}"/>
              </a:ext>
            </a:extLst>
          </p:cNvPr>
          <p:cNvSpPr/>
          <p:nvPr/>
        </p:nvSpPr>
        <p:spPr>
          <a:xfrm>
            <a:off x="2204291" y="4700191"/>
            <a:ext cx="1500845" cy="276999"/>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chemeClr val="accent1"/>
                </a:solidFill>
                <a:effectLst/>
                <a:uLnTx/>
                <a:uFillTx/>
                <a:latin typeface="Gill Sans MT" panose="020B0502020104020203" pitchFamily="34" charset="0"/>
                <a:cs typeface="Segoe UI" panose="020B0502040204020203" pitchFamily="34" charset="0"/>
              </a:rPr>
              <a:t>Lorem Ipsum</a:t>
            </a:r>
          </a:p>
        </p:txBody>
      </p:sp>
      <p:sp>
        <p:nvSpPr>
          <p:cNvPr id="44" name="Rectangle 135">
            <a:extLst>
              <a:ext uri="{FF2B5EF4-FFF2-40B4-BE49-F238E27FC236}">
                <a16:creationId xmlns:a16="http://schemas.microsoft.com/office/drawing/2014/main" id="{A8583839-F577-4EF7-B39F-5DC0E9AC42CA}"/>
              </a:ext>
            </a:extLst>
          </p:cNvPr>
          <p:cNvSpPr/>
          <p:nvPr/>
        </p:nvSpPr>
        <p:spPr>
          <a:xfrm>
            <a:off x="2689642" y="3746367"/>
            <a:ext cx="1590800" cy="646331"/>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accent1"/>
                </a:solidFill>
                <a:effectLst/>
                <a:uLnTx/>
                <a:uFillTx/>
                <a:latin typeface="Gill Sans MT" panose="020B0502020104020203" pitchFamily="34" charset="0"/>
                <a:cs typeface="Segoe UI" panose="020B0502040204020203" pitchFamily="34" charset="0"/>
              </a:rPr>
              <a:t>Lorem ipsum dolor</a:t>
            </a:r>
            <a:br>
              <a:rPr kumimoji="0" lang="en-US" sz="1400" b="0" i="0" u="none" strike="noStrike" kern="0" cap="none" spc="0" normalizeH="0" baseline="0" noProof="0" dirty="0">
                <a:ln>
                  <a:noFill/>
                </a:ln>
                <a:solidFill>
                  <a:schemeClr val="accent1"/>
                </a:solidFill>
                <a:effectLst/>
                <a:uLnTx/>
                <a:uFillTx/>
                <a:latin typeface="Gill Sans MT" panose="020B0502020104020203" pitchFamily="34" charset="0"/>
                <a:cs typeface="Segoe UI" panose="020B0502040204020203" pitchFamily="34" charset="0"/>
              </a:rPr>
            </a:br>
            <a:r>
              <a:rPr kumimoji="0" lang="en-US" sz="1400" b="0" i="0" u="none" strike="noStrike" kern="0" cap="none" spc="0" normalizeH="0" baseline="0" noProof="0" dirty="0">
                <a:ln>
                  <a:noFill/>
                </a:ln>
                <a:solidFill>
                  <a:schemeClr val="accent1"/>
                </a:solidFill>
                <a:effectLst/>
                <a:uLnTx/>
                <a:uFillTx/>
                <a:latin typeface="Gill Sans MT" panose="020B0502020104020203" pitchFamily="34" charset="0"/>
                <a:cs typeface="Segoe UI" panose="020B0502040204020203" pitchFamily="34" charset="0"/>
              </a:rPr>
              <a:t>sit </a:t>
            </a:r>
            <a:r>
              <a:rPr kumimoji="0" lang="en-US" sz="1400" b="0" i="0" u="none" strike="noStrike" kern="0" cap="none" spc="0" normalizeH="0" baseline="0" noProof="0" dirty="0" err="1">
                <a:ln>
                  <a:noFill/>
                </a:ln>
                <a:solidFill>
                  <a:schemeClr val="accent1"/>
                </a:solidFill>
                <a:effectLst/>
                <a:uLnTx/>
                <a:uFillTx/>
                <a:latin typeface="Gill Sans MT" panose="020B0502020104020203" pitchFamily="34" charset="0"/>
                <a:cs typeface="Segoe UI" panose="020B0502040204020203" pitchFamily="34" charset="0"/>
              </a:rPr>
              <a:t>amet</a:t>
            </a:r>
            <a:r>
              <a:rPr kumimoji="0" lang="en-US" sz="1400" b="0" i="0" u="none" strike="noStrike" kern="0" cap="none" spc="0" normalizeH="0" baseline="0" noProof="0" dirty="0">
                <a:ln>
                  <a:noFill/>
                </a:ln>
                <a:solidFill>
                  <a:schemeClr val="accent1"/>
                </a:solidFill>
                <a:effectLst/>
                <a:uLnTx/>
                <a:uFillTx/>
                <a:latin typeface="Gill Sans MT" panose="020B0502020104020203" pitchFamily="34" charset="0"/>
                <a:cs typeface="Segoe UI" panose="020B0502040204020203" pitchFamily="34" charset="0"/>
              </a:rPr>
              <a:t>, </a:t>
            </a:r>
            <a:r>
              <a:rPr kumimoji="0" lang="en-US" sz="1400" b="0" i="0" u="none" strike="noStrike" kern="0" cap="none" spc="0" normalizeH="0" baseline="0" noProof="0" dirty="0" err="1">
                <a:ln>
                  <a:noFill/>
                </a:ln>
                <a:solidFill>
                  <a:schemeClr val="accent1"/>
                </a:solidFill>
                <a:effectLst/>
                <a:uLnTx/>
                <a:uFillTx/>
                <a:latin typeface="Gill Sans MT" panose="020B0502020104020203" pitchFamily="34" charset="0"/>
                <a:cs typeface="Segoe UI" panose="020B0502040204020203" pitchFamily="34" charset="0"/>
              </a:rPr>
              <a:t>consectetur</a:t>
            </a:r>
            <a:r>
              <a:rPr kumimoji="0" lang="en-US" sz="1400" b="0" i="0" u="none" strike="noStrike" kern="0" cap="none" spc="0" normalizeH="0" baseline="0" noProof="0" dirty="0">
                <a:ln>
                  <a:noFill/>
                </a:ln>
                <a:solidFill>
                  <a:schemeClr val="accent1"/>
                </a:solidFill>
                <a:effectLst/>
                <a:uLnTx/>
                <a:uFillTx/>
                <a:latin typeface="Gill Sans MT" panose="020B0502020104020203" pitchFamily="34" charset="0"/>
                <a:cs typeface="Segoe UI" panose="020B0502040204020203" pitchFamily="34" charset="0"/>
              </a:rPr>
              <a:t> </a:t>
            </a:r>
            <a:r>
              <a:rPr kumimoji="0" lang="en-US" sz="1400" b="0" i="0" u="none" strike="noStrike" kern="0" cap="none" spc="0" normalizeH="0" baseline="0" noProof="0" dirty="0" err="1">
                <a:ln>
                  <a:noFill/>
                </a:ln>
                <a:solidFill>
                  <a:schemeClr val="accent1"/>
                </a:solidFill>
                <a:effectLst/>
                <a:uLnTx/>
                <a:uFillTx/>
                <a:latin typeface="Gill Sans MT" panose="020B0502020104020203" pitchFamily="34" charset="0"/>
                <a:cs typeface="Segoe UI" panose="020B0502040204020203" pitchFamily="34" charset="0"/>
              </a:rPr>
              <a:t>adipiscing</a:t>
            </a:r>
            <a:r>
              <a:rPr kumimoji="0" lang="en-US" sz="1400" b="0" i="0" u="none" strike="noStrike" kern="0" cap="none" spc="0" normalizeH="0" baseline="0" noProof="0" dirty="0">
                <a:ln>
                  <a:noFill/>
                </a:ln>
                <a:solidFill>
                  <a:schemeClr val="accent1"/>
                </a:solidFill>
                <a:effectLst/>
                <a:uLnTx/>
                <a:uFillTx/>
                <a:latin typeface="Gill Sans MT" panose="020B0502020104020203" pitchFamily="34" charset="0"/>
                <a:cs typeface="Segoe UI" panose="020B0502040204020203" pitchFamily="34" charset="0"/>
              </a:rPr>
              <a:t> </a:t>
            </a:r>
            <a:r>
              <a:rPr kumimoji="0" lang="en-US" sz="1400" b="0" i="0" u="none" strike="noStrike" kern="0" cap="none" spc="0" normalizeH="0" baseline="0" noProof="0" dirty="0" err="1">
                <a:ln>
                  <a:noFill/>
                </a:ln>
                <a:solidFill>
                  <a:schemeClr val="accent1"/>
                </a:solidFill>
                <a:effectLst/>
                <a:uLnTx/>
                <a:uFillTx/>
                <a:latin typeface="Gill Sans MT" panose="020B0502020104020203" pitchFamily="34" charset="0"/>
                <a:cs typeface="Segoe UI" panose="020B0502040204020203" pitchFamily="34" charset="0"/>
              </a:rPr>
              <a:t>elit</a:t>
            </a:r>
            <a:r>
              <a:rPr kumimoji="0" lang="en-US" sz="1400" b="0" i="0" u="none" strike="noStrike" kern="0" cap="none" spc="0" normalizeH="0" baseline="0" noProof="0" dirty="0">
                <a:ln>
                  <a:noFill/>
                </a:ln>
                <a:solidFill>
                  <a:schemeClr val="accent1"/>
                </a:solidFill>
                <a:effectLst/>
                <a:uLnTx/>
                <a:uFillTx/>
                <a:latin typeface="Gill Sans MT" panose="020B0502020104020203" pitchFamily="34" charset="0"/>
                <a:cs typeface="Segoe UI" panose="020B0502040204020203" pitchFamily="34" charset="0"/>
              </a:rPr>
              <a:t>.</a:t>
            </a:r>
          </a:p>
        </p:txBody>
      </p:sp>
      <p:sp>
        <p:nvSpPr>
          <p:cNvPr id="45" name="Rectangle 136">
            <a:extLst>
              <a:ext uri="{FF2B5EF4-FFF2-40B4-BE49-F238E27FC236}">
                <a16:creationId xmlns:a16="http://schemas.microsoft.com/office/drawing/2014/main" id="{0D1A0E57-89CB-4432-9166-AD27617161EA}"/>
              </a:ext>
            </a:extLst>
          </p:cNvPr>
          <p:cNvSpPr/>
          <p:nvPr/>
        </p:nvSpPr>
        <p:spPr>
          <a:xfrm>
            <a:off x="4470301" y="1332806"/>
            <a:ext cx="1500845" cy="276999"/>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chemeClr val="accent1"/>
                </a:solidFill>
                <a:effectLst/>
                <a:uLnTx/>
                <a:uFillTx/>
                <a:latin typeface="Gill Sans MT" panose="020B0502020104020203" pitchFamily="34" charset="0"/>
                <a:cs typeface="Segoe UI" panose="020B0502040204020203" pitchFamily="34" charset="0"/>
              </a:rPr>
              <a:t>Lorem Ipsum</a:t>
            </a:r>
          </a:p>
        </p:txBody>
      </p:sp>
      <p:sp>
        <p:nvSpPr>
          <p:cNvPr id="46" name="Rectangle 137">
            <a:extLst>
              <a:ext uri="{FF2B5EF4-FFF2-40B4-BE49-F238E27FC236}">
                <a16:creationId xmlns:a16="http://schemas.microsoft.com/office/drawing/2014/main" id="{CA51198E-5FF7-473B-B18D-B127BDCB2B80}"/>
              </a:ext>
            </a:extLst>
          </p:cNvPr>
          <p:cNvSpPr/>
          <p:nvPr/>
        </p:nvSpPr>
        <p:spPr>
          <a:xfrm>
            <a:off x="4470301" y="5399556"/>
            <a:ext cx="1500845" cy="276999"/>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chemeClr val="accent1"/>
                </a:solidFill>
                <a:effectLst/>
                <a:uLnTx/>
                <a:uFillTx/>
                <a:latin typeface="Gill Sans MT" panose="020B0502020104020203" pitchFamily="34" charset="0"/>
                <a:cs typeface="Segoe UI" panose="020B0502040204020203" pitchFamily="34" charset="0"/>
              </a:rPr>
              <a:t>Lorem Ipsum</a:t>
            </a:r>
          </a:p>
        </p:txBody>
      </p:sp>
      <p:sp>
        <p:nvSpPr>
          <p:cNvPr id="47" name="Rectangle 138">
            <a:extLst>
              <a:ext uri="{FF2B5EF4-FFF2-40B4-BE49-F238E27FC236}">
                <a16:creationId xmlns:a16="http://schemas.microsoft.com/office/drawing/2014/main" id="{A626CB2D-2EAE-4EC2-8F60-36AD1A5A8119}"/>
              </a:ext>
            </a:extLst>
          </p:cNvPr>
          <p:cNvSpPr/>
          <p:nvPr/>
        </p:nvSpPr>
        <p:spPr>
          <a:xfrm>
            <a:off x="6866598" y="2657000"/>
            <a:ext cx="1103458" cy="430887"/>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accent1"/>
                </a:solidFill>
                <a:effectLst/>
                <a:uLnTx/>
                <a:uFillTx/>
                <a:latin typeface="Gill Sans MT" panose="020B0502020104020203" pitchFamily="34" charset="0"/>
                <a:cs typeface="Segoe UI" panose="020B0502040204020203" pitchFamily="34" charset="0"/>
              </a:rPr>
              <a:t>Lorem ipsum</a:t>
            </a:r>
            <a:br>
              <a:rPr kumimoji="0" lang="en-US" sz="1400" b="0" i="0" u="none" strike="noStrike" kern="0" cap="none" spc="0" normalizeH="0" baseline="0" noProof="0" dirty="0">
                <a:ln>
                  <a:noFill/>
                </a:ln>
                <a:solidFill>
                  <a:schemeClr val="accent1"/>
                </a:solidFill>
                <a:effectLst/>
                <a:uLnTx/>
                <a:uFillTx/>
                <a:latin typeface="Gill Sans MT" panose="020B0502020104020203" pitchFamily="34" charset="0"/>
                <a:cs typeface="Segoe UI" panose="020B0502040204020203" pitchFamily="34" charset="0"/>
              </a:rPr>
            </a:br>
            <a:r>
              <a:rPr kumimoji="0" lang="en-US" sz="1400" b="0" i="0" u="none" strike="noStrike" kern="0" cap="none" spc="0" normalizeH="0" baseline="0" noProof="0" dirty="0">
                <a:ln>
                  <a:noFill/>
                </a:ln>
                <a:solidFill>
                  <a:schemeClr val="accent1"/>
                </a:solidFill>
                <a:effectLst/>
                <a:uLnTx/>
                <a:uFillTx/>
                <a:latin typeface="Gill Sans MT" panose="020B0502020104020203" pitchFamily="34" charset="0"/>
                <a:cs typeface="Segoe UI" panose="020B0502040204020203" pitchFamily="34" charset="0"/>
              </a:rPr>
              <a:t>dolor sit </a:t>
            </a:r>
            <a:r>
              <a:rPr kumimoji="0" lang="en-US" sz="1400" b="0" i="0" u="none" strike="noStrike" kern="0" cap="none" spc="0" normalizeH="0" baseline="0" noProof="0" dirty="0" err="1">
                <a:ln>
                  <a:noFill/>
                </a:ln>
                <a:solidFill>
                  <a:schemeClr val="accent1"/>
                </a:solidFill>
                <a:effectLst/>
                <a:uLnTx/>
                <a:uFillTx/>
                <a:latin typeface="Gill Sans MT" panose="020B0502020104020203" pitchFamily="34" charset="0"/>
                <a:cs typeface="Segoe UI" panose="020B0502040204020203" pitchFamily="34" charset="0"/>
              </a:rPr>
              <a:t>amet</a:t>
            </a:r>
            <a:r>
              <a:rPr kumimoji="0" lang="en-US" sz="1400" b="0" i="0" u="none" strike="noStrike" kern="0" cap="none" spc="0" normalizeH="0" baseline="0" noProof="0" dirty="0">
                <a:ln>
                  <a:noFill/>
                </a:ln>
                <a:solidFill>
                  <a:schemeClr val="accent1"/>
                </a:solidFill>
                <a:effectLst/>
                <a:uLnTx/>
                <a:uFillTx/>
                <a:latin typeface="Gill Sans MT" panose="020B0502020104020203" pitchFamily="34" charset="0"/>
                <a:cs typeface="Segoe UI" panose="020B0502040204020203" pitchFamily="34" charset="0"/>
              </a:rPr>
              <a:t>,</a:t>
            </a:r>
          </a:p>
        </p:txBody>
      </p:sp>
      <p:sp>
        <p:nvSpPr>
          <p:cNvPr id="48" name="Rectangle 140">
            <a:extLst>
              <a:ext uri="{FF2B5EF4-FFF2-40B4-BE49-F238E27FC236}">
                <a16:creationId xmlns:a16="http://schemas.microsoft.com/office/drawing/2014/main" id="{5CF141F2-AC97-4B16-A7C3-C1A9E570E926}"/>
              </a:ext>
            </a:extLst>
          </p:cNvPr>
          <p:cNvSpPr/>
          <p:nvPr/>
        </p:nvSpPr>
        <p:spPr>
          <a:xfrm>
            <a:off x="6866598" y="3926293"/>
            <a:ext cx="1103458" cy="430887"/>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accent1"/>
                </a:solidFill>
                <a:effectLst/>
                <a:uLnTx/>
                <a:uFillTx/>
                <a:latin typeface="Gill Sans MT" panose="020B0502020104020203" pitchFamily="34" charset="0"/>
                <a:cs typeface="Segoe UI" panose="020B0502040204020203" pitchFamily="34" charset="0"/>
              </a:rPr>
              <a:t>Lorem ipsum</a:t>
            </a:r>
            <a:br>
              <a:rPr kumimoji="0" lang="en-US" sz="1400" b="0" i="0" u="none" strike="noStrike" kern="0" cap="none" spc="0" normalizeH="0" baseline="0" noProof="0" dirty="0">
                <a:ln>
                  <a:noFill/>
                </a:ln>
                <a:solidFill>
                  <a:schemeClr val="accent1"/>
                </a:solidFill>
                <a:effectLst/>
                <a:uLnTx/>
                <a:uFillTx/>
                <a:latin typeface="Gill Sans MT" panose="020B0502020104020203" pitchFamily="34" charset="0"/>
                <a:cs typeface="Segoe UI" panose="020B0502040204020203" pitchFamily="34" charset="0"/>
              </a:rPr>
            </a:br>
            <a:r>
              <a:rPr kumimoji="0" lang="en-US" sz="1400" b="0" i="0" u="none" strike="noStrike" kern="0" cap="none" spc="0" normalizeH="0" baseline="0" noProof="0" dirty="0">
                <a:ln>
                  <a:noFill/>
                </a:ln>
                <a:solidFill>
                  <a:schemeClr val="accent1"/>
                </a:solidFill>
                <a:effectLst/>
                <a:uLnTx/>
                <a:uFillTx/>
                <a:latin typeface="Gill Sans MT" panose="020B0502020104020203" pitchFamily="34" charset="0"/>
                <a:cs typeface="Segoe UI" panose="020B0502040204020203" pitchFamily="34" charset="0"/>
              </a:rPr>
              <a:t>dolor sit </a:t>
            </a:r>
            <a:r>
              <a:rPr kumimoji="0" lang="en-US" sz="1400" b="0" i="0" u="none" strike="noStrike" kern="0" cap="none" spc="0" normalizeH="0" baseline="0" noProof="0" dirty="0" err="1">
                <a:ln>
                  <a:noFill/>
                </a:ln>
                <a:solidFill>
                  <a:schemeClr val="accent1"/>
                </a:solidFill>
                <a:effectLst/>
                <a:uLnTx/>
                <a:uFillTx/>
                <a:latin typeface="Gill Sans MT" panose="020B0502020104020203" pitchFamily="34" charset="0"/>
                <a:cs typeface="Segoe UI" panose="020B0502040204020203" pitchFamily="34" charset="0"/>
              </a:rPr>
              <a:t>amet</a:t>
            </a:r>
            <a:r>
              <a:rPr kumimoji="0" lang="en-US" sz="1400" b="0" i="0" u="none" strike="noStrike" kern="0" cap="none" spc="0" normalizeH="0" baseline="0" noProof="0" dirty="0">
                <a:ln>
                  <a:noFill/>
                </a:ln>
                <a:solidFill>
                  <a:schemeClr val="accent1"/>
                </a:solidFill>
                <a:effectLst/>
                <a:uLnTx/>
                <a:uFillTx/>
                <a:latin typeface="Gill Sans MT" panose="020B0502020104020203" pitchFamily="34" charset="0"/>
                <a:cs typeface="Segoe UI" panose="020B0502040204020203" pitchFamily="34" charset="0"/>
              </a:rPr>
              <a:t>,</a:t>
            </a:r>
          </a:p>
        </p:txBody>
      </p:sp>
      <p:sp>
        <p:nvSpPr>
          <p:cNvPr id="49" name="Rectangle 141">
            <a:extLst>
              <a:ext uri="{FF2B5EF4-FFF2-40B4-BE49-F238E27FC236}">
                <a16:creationId xmlns:a16="http://schemas.microsoft.com/office/drawing/2014/main" id="{D403D76F-CB97-42F2-AB59-E6830DE819A8}"/>
              </a:ext>
            </a:extLst>
          </p:cNvPr>
          <p:cNvSpPr/>
          <p:nvPr/>
        </p:nvSpPr>
        <p:spPr>
          <a:xfrm>
            <a:off x="5824413" y="4626199"/>
            <a:ext cx="1103458" cy="430887"/>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accent1"/>
                </a:solidFill>
                <a:effectLst/>
                <a:uLnTx/>
                <a:uFillTx/>
                <a:latin typeface="Gill Sans MT" panose="020B0502020104020203" pitchFamily="34" charset="0"/>
                <a:cs typeface="Segoe UI" panose="020B0502040204020203" pitchFamily="34" charset="0"/>
              </a:rPr>
              <a:t>Lorem ipsum</a:t>
            </a:r>
            <a:br>
              <a:rPr kumimoji="0" lang="en-US" sz="1400" b="0" i="0" u="none" strike="noStrike" kern="0" cap="none" spc="0" normalizeH="0" baseline="0" noProof="0" dirty="0">
                <a:ln>
                  <a:noFill/>
                </a:ln>
                <a:solidFill>
                  <a:schemeClr val="accent1"/>
                </a:solidFill>
                <a:effectLst/>
                <a:uLnTx/>
                <a:uFillTx/>
                <a:latin typeface="Gill Sans MT" panose="020B0502020104020203" pitchFamily="34" charset="0"/>
                <a:cs typeface="Segoe UI" panose="020B0502040204020203" pitchFamily="34" charset="0"/>
              </a:rPr>
            </a:br>
            <a:r>
              <a:rPr kumimoji="0" lang="en-US" sz="1400" b="0" i="0" u="none" strike="noStrike" kern="0" cap="none" spc="0" normalizeH="0" baseline="0" noProof="0" dirty="0">
                <a:ln>
                  <a:noFill/>
                </a:ln>
                <a:solidFill>
                  <a:schemeClr val="accent1"/>
                </a:solidFill>
                <a:effectLst/>
                <a:uLnTx/>
                <a:uFillTx/>
                <a:latin typeface="Gill Sans MT" panose="020B0502020104020203" pitchFamily="34" charset="0"/>
                <a:cs typeface="Segoe UI" panose="020B0502040204020203" pitchFamily="34" charset="0"/>
              </a:rPr>
              <a:t>dolor sit </a:t>
            </a:r>
            <a:r>
              <a:rPr kumimoji="0" lang="en-US" sz="1400" b="0" i="0" u="none" strike="noStrike" kern="0" cap="none" spc="0" normalizeH="0" baseline="0" noProof="0" dirty="0" err="1">
                <a:ln>
                  <a:noFill/>
                </a:ln>
                <a:solidFill>
                  <a:schemeClr val="accent1"/>
                </a:solidFill>
                <a:effectLst/>
                <a:uLnTx/>
                <a:uFillTx/>
                <a:latin typeface="Gill Sans MT" panose="020B0502020104020203" pitchFamily="34" charset="0"/>
                <a:cs typeface="Segoe UI" panose="020B0502040204020203" pitchFamily="34" charset="0"/>
              </a:rPr>
              <a:t>amet</a:t>
            </a:r>
            <a:r>
              <a:rPr kumimoji="0" lang="en-US" sz="1400" b="0" i="0" u="none" strike="noStrike" kern="0" cap="none" spc="0" normalizeH="0" baseline="0" noProof="0" dirty="0">
                <a:ln>
                  <a:noFill/>
                </a:ln>
                <a:solidFill>
                  <a:schemeClr val="accent1"/>
                </a:solidFill>
                <a:effectLst/>
                <a:uLnTx/>
                <a:uFillTx/>
                <a:latin typeface="Gill Sans MT" panose="020B0502020104020203" pitchFamily="34" charset="0"/>
                <a:cs typeface="Segoe UI" panose="020B0502040204020203" pitchFamily="34" charset="0"/>
              </a:rPr>
              <a:t>,</a:t>
            </a:r>
          </a:p>
        </p:txBody>
      </p:sp>
      <p:sp>
        <p:nvSpPr>
          <p:cNvPr id="50" name="Rectangle 142">
            <a:extLst>
              <a:ext uri="{FF2B5EF4-FFF2-40B4-BE49-F238E27FC236}">
                <a16:creationId xmlns:a16="http://schemas.microsoft.com/office/drawing/2014/main" id="{DE9FDF4C-57BE-40B0-816F-4D0F005BFB2A}"/>
              </a:ext>
            </a:extLst>
          </p:cNvPr>
          <p:cNvSpPr/>
          <p:nvPr/>
        </p:nvSpPr>
        <p:spPr>
          <a:xfrm>
            <a:off x="5824413" y="1959104"/>
            <a:ext cx="1103458" cy="430887"/>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accent1"/>
                </a:solidFill>
                <a:effectLst/>
                <a:uLnTx/>
                <a:uFillTx/>
                <a:latin typeface="Gill Sans MT" panose="020B0502020104020203" pitchFamily="34" charset="0"/>
                <a:cs typeface="Segoe UI" panose="020B0502040204020203" pitchFamily="34" charset="0"/>
              </a:rPr>
              <a:t>Lorem ipsum</a:t>
            </a:r>
            <a:br>
              <a:rPr kumimoji="0" lang="en-US" sz="1400" b="0" i="0" u="none" strike="noStrike" kern="0" cap="none" spc="0" normalizeH="0" baseline="0" noProof="0" dirty="0">
                <a:ln>
                  <a:noFill/>
                </a:ln>
                <a:solidFill>
                  <a:schemeClr val="accent1"/>
                </a:solidFill>
                <a:effectLst/>
                <a:uLnTx/>
                <a:uFillTx/>
                <a:latin typeface="Gill Sans MT" panose="020B0502020104020203" pitchFamily="34" charset="0"/>
                <a:cs typeface="Segoe UI" panose="020B0502040204020203" pitchFamily="34" charset="0"/>
              </a:rPr>
            </a:br>
            <a:r>
              <a:rPr kumimoji="0" lang="en-US" sz="1400" b="0" i="0" u="none" strike="noStrike" kern="0" cap="none" spc="0" normalizeH="0" baseline="0" noProof="0" dirty="0">
                <a:ln>
                  <a:noFill/>
                </a:ln>
                <a:solidFill>
                  <a:schemeClr val="accent1"/>
                </a:solidFill>
                <a:effectLst/>
                <a:uLnTx/>
                <a:uFillTx/>
                <a:latin typeface="Gill Sans MT" panose="020B0502020104020203" pitchFamily="34" charset="0"/>
                <a:cs typeface="Segoe UI" panose="020B0502040204020203" pitchFamily="34" charset="0"/>
              </a:rPr>
              <a:t>dolor sit </a:t>
            </a:r>
            <a:r>
              <a:rPr kumimoji="0" lang="en-US" sz="1400" b="0" i="0" u="none" strike="noStrike" kern="0" cap="none" spc="0" normalizeH="0" baseline="0" noProof="0" dirty="0" err="1">
                <a:ln>
                  <a:noFill/>
                </a:ln>
                <a:solidFill>
                  <a:schemeClr val="accent1"/>
                </a:solidFill>
                <a:effectLst/>
                <a:uLnTx/>
                <a:uFillTx/>
                <a:latin typeface="Gill Sans MT" panose="020B0502020104020203" pitchFamily="34" charset="0"/>
                <a:cs typeface="Segoe UI" panose="020B0502040204020203" pitchFamily="34" charset="0"/>
              </a:rPr>
              <a:t>amet</a:t>
            </a:r>
            <a:r>
              <a:rPr kumimoji="0" lang="en-US" sz="1400" b="0" i="0" u="none" strike="noStrike" kern="0" cap="none" spc="0" normalizeH="0" baseline="0" noProof="0" dirty="0">
                <a:ln>
                  <a:noFill/>
                </a:ln>
                <a:solidFill>
                  <a:schemeClr val="accent1"/>
                </a:solidFill>
                <a:effectLst/>
                <a:uLnTx/>
                <a:uFillTx/>
                <a:latin typeface="Gill Sans MT" panose="020B0502020104020203" pitchFamily="34" charset="0"/>
                <a:cs typeface="Segoe UI" panose="020B0502040204020203" pitchFamily="34" charset="0"/>
              </a:rPr>
              <a:t>,</a:t>
            </a:r>
          </a:p>
        </p:txBody>
      </p:sp>
      <p:sp>
        <p:nvSpPr>
          <p:cNvPr id="51" name="Freeform 8">
            <a:extLst>
              <a:ext uri="{FF2B5EF4-FFF2-40B4-BE49-F238E27FC236}">
                <a16:creationId xmlns:a16="http://schemas.microsoft.com/office/drawing/2014/main" id="{0DBCFC00-20A3-476E-9076-A8B470A35ABF}"/>
              </a:ext>
            </a:extLst>
          </p:cNvPr>
          <p:cNvSpPr>
            <a:spLocks/>
          </p:cNvSpPr>
          <p:nvPr/>
        </p:nvSpPr>
        <p:spPr bwMode="auto">
          <a:xfrm>
            <a:off x="1803753" y="3314606"/>
            <a:ext cx="360363" cy="371475"/>
          </a:xfrm>
          <a:custGeom>
            <a:avLst/>
            <a:gdLst>
              <a:gd name="T0" fmla="*/ 94 w 96"/>
              <a:gd name="T1" fmla="*/ 44 h 96"/>
              <a:gd name="T2" fmla="*/ 56 w 96"/>
              <a:gd name="T3" fmla="*/ 44 h 96"/>
              <a:gd name="T4" fmla="*/ 56 w 96"/>
              <a:gd name="T5" fmla="*/ 40 h 96"/>
              <a:gd name="T6" fmla="*/ 48 w 96"/>
              <a:gd name="T7" fmla="*/ 32 h 96"/>
              <a:gd name="T8" fmla="*/ 36 w 96"/>
              <a:gd name="T9" fmla="*/ 32 h 96"/>
              <a:gd name="T10" fmla="*/ 32 w 96"/>
              <a:gd name="T11" fmla="*/ 28 h 96"/>
              <a:gd name="T12" fmla="*/ 32 w 96"/>
              <a:gd name="T13" fmla="*/ 16 h 96"/>
              <a:gd name="T14" fmla="*/ 54 w 96"/>
              <a:gd name="T15" fmla="*/ 16 h 96"/>
              <a:gd name="T16" fmla="*/ 56 w 96"/>
              <a:gd name="T17" fmla="*/ 14 h 96"/>
              <a:gd name="T18" fmla="*/ 56 w 96"/>
              <a:gd name="T19" fmla="*/ 2 h 96"/>
              <a:gd name="T20" fmla="*/ 54 w 96"/>
              <a:gd name="T21" fmla="*/ 0 h 96"/>
              <a:gd name="T22" fmla="*/ 2 w 96"/>
              <a:gd name="T23" fmla="*/ 0 h 96"/>
              <a:gd name="T24" fmla="*/ 0 w 96"/>
              <a:gd name="T25" fmla="*/ 2 h 96"/>
              <a:gd name="T26" fmla="*/ 0 w 96"/>
              <a:gd name="T27" fmla="*/ 14 h 96"/>
              <a:gd name="T28" fmla="*/ 2 w 96"/>
              <a:gd name="T29" fmla="*/ 16 h 96"/>
              <a:gd name="T30" fmla="*/ 28 w 96"/>
              <a:gd name="T31" fmla="*/ 16 h 96"/>
              <a:gd name="T32" fmla="*/ 28 w 96"/>
              <a:gd name="T33" fmla="*/ 28 h 96"/>
              <a:gd name="T34" fmla="*/ 36 w 96"/>
              <a:gd name="T35" fmla="*/ 36 h 96"/>
              <a:gd name="T36" fmla="*/ 48 w 96"/>
              <a:gd name="T37" fmla="*/ 36 h 96"/>
              <a:gd name="T38" fmla="*/ 52 w 96"/>
              <a:gd name="T39" fmla="*/ 40 h 96"/>
              <a:gd name="T40" fmla="*/ 52 w 96"/>
              <a:gd name="T41" fmla="*/ 44 h 96"/>
              <a:gd name="T42" fmla="*/ 42 w 96"/>
              <a:gd name="T43" fmla="*/ 44 h 96"/>
              <a:gd name="T44" fmla="*/ 40 w 96"/>
              <a:gd name="T45" fmla="*/ 46 h 96"/>
              <a:gd name="T46" fmla="*/ 40 w 96"/>
              <a:gd name="T47" fmla="*/ 58 h 96"/>
              <a:gd name="T48" fmla="*/ 42 w 96"/>
              <a:gd name="T49" fmla="*/ 60 h 96"/>
              <a:gd name="T50" fmla="*/ 72 w 96"/>
              <a:gd name="T51" fmla="*/ 60 h 96"/>
              <a:gd name="T52" fmla="*/ 72 w 96"/>
              <a:gd name="T53" fmla="*/ 80 h 96"/>
              <a:gd name="T54" fmla="*/ 68 w 96"/>
              <a:gd name="T55" fmla="*/ 84 h 96"/>
              <a:gd name="T56" fmla="*/ 56 w 96"/>
              <a:gd name="T57" fmla="*/ 84 h 96"/>
              <a:gd name="T58" fmla="*/ 56 w 96"/>
              <a:gd name="T59" fmla="*/ 82 h 96"/>
              <a:gd name="T60" fmla="*/ 54 w 96"/>
              <a:gd name="T61" fmla="*/ 80 h 96"/>
              <a:gd name="T62" fmla="*/ 2 w 96"/>
              <a:gd name="T63" fmla="*/ 80 h 96"/>
              <a:gd name="T64" fmla="*/ 0 w 96"/>
              <a:gd name="T65" fmla="*/ 82 h 96"/>
              <a:gd name="T66" fmla="*/ 0 w 96"/>
              <a:gd name="T67" fmla="*/ 94 h 96"/>
              <a:gd name="T68" fmla="*/ 2 w 96"/>
              <a:gd name="T69" fmla="*/ 96 h 96"/>
              <a:gd name="T70" fmla="*/ 54 w 96"/>
              <a:gd name="T71" fmla="*/ 96 h 96"/>
              <a:gd name="T72" fmla="*/ 56 w 96"/>
              <a:gd name="T73" fmla="*/ 94 h 96"/>
              <a:gd name="T74" fmla="*/ 56 w 96"/>
              <a:gd name="T75" fmla="*/ 88 h 96"/>
              <a:gd name="T76" fmla="*/ 68 w 96"/>
              <a:gd name="T77" fmla="*/ 88 h 96"/>
              <a:gd name="T78" fmla="*/ 76 w 96"/>
              <a:gd name="T79" fmla="*/ 80 h 96"/>
              <a:gd name="T80" fmla="*/ 76 w 96"/>
              <a:gd name="T81" fmla="*/ 60 h 96"/>
              <a:gd name="T82" fmla="*/ 94 w 96"/>
              <a:gd name="T83" fmla="*/ 60 h 96"/>
              <a:gd name="T84" fmla="*/ 96 w 96"/>
              <a:gd name="T85" fmla="*/ 58 h 96"/>
              <a:gd name="T86" fmla="*/ 96 w 96"/>
              <a:gd name="T87" fmla="*/ 46 h 96"/>
              <a:gd name="T88" fmla="*/ 94 w 96"/>
              <a:gd name="T89" fmla="*/ 44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6" h="96">
                <a:moveTo>
                  <a:pt x="94" y="44"/>
                </a:moveTo>
                <a:cubicBezTo>
                  <a:pt x="56" y="44"/>
                  <a:pt x="56" y="44"/>
                  <a:pt x="56" y="44"/>
                </a:cubicBezTo>
                <a:cubicBezTo>
                  <a:pt x="56" y="40"/>
                  <a:pt x="56" y="40"/>
                  <a:pt x="56" y="40"/>
                </a:cubicBezTo>
                <a:cubicBezTo>
                  <a:pt x="56" y="36"/>
                  <a:pt x="52" y="32"/>
                  <a:pt x="48" y="32"/>
                </a:cubicBezTo>
                <a:cubicBezTo>
                  <a:pt x="36" y="32"/>
                  <a:pt x="36" y="32"/>
                  <a:pt x="36" y="32"/>
                </a:cubicBezTo>
                <a:cubicBezTo>
                  <a:pt x="34" y="32"/>
                  <a:pt x="32" y="30"/>
                  <a:pt x="32" y="28"/>
                </a:cubicBezTo>
                <a:cubicBezTo>
                  <a:pt x="32" y="16"/>
                  <a:pt x="32" y="16"/>
                  <a:pt x="32" y="16"/>
                </a:cubicBezTo>
                <a:cubicBezTo>
                  <a:pt x="54" y="16"/>
                  <a:pt x="54" y="16"/>
                  <a:pt x="54" y="16"/>
                </a:cubicBezTo>
                <a:cubicBezTo>
                  <a:pt x="55" y="16"/>
                  <a:pt x="56" y="15"/>
                  <a:pt x="56" y="14"/>
                </a:cubicBezTo>
                <a:cubicBezTo>
                  <a:pt x="56" y="2"/>
                  <a:pt x="56" y="2"/>
                  <a:pt x="56" y="2"/>
                </a:cubicBezTo>
                <a:cubicBezTo>
                  <a:pt x="56" y="1"/>
                  <a:pt x="55" y="0"/>
                  <a:pt x="54" y="0"/>
                </a:cubicBezTo>
                <a:cubicBezTo>
                  <a:pt x="2" y="0"/>
                  <a:pt x="2" y="0"/>
                  <a:pt x="2" y="0"/>
                </a:cubicBezTo>
                <a:cubicBezTo>
                  <a:pt x="1" y="0"/>
                  <a:pt x="0" y="1"/>
                  <a:pt x="0" y="2"/>
                </a:cubicBezTo>
                <a:cubicBezTo>
                  <a:pt x="0" y="14"/>
                  <a:pt x="0" y="14"/>
                  <a:pt x="0" y="14"/>
                </a:cubicBezTo>
                <a:cubicBezTo>
                  <a:pt x="0" y="15"/>
                  <a:pt x="1" y="16"/>
                  <a:pt x="2" y="16"/>
                </a:cubicBezTo>
                <a:cubicBezTo>
                  <a:pt x="28" y="16"/>
                  <a:pt x="28" y="16"/>
                  <a:pt x="28" y="16"/>
                </a:cubicBezTo>
                <a:cubicBezTo>
                  <a:pt x="28" y="28"/>
                  <a:pt x="28" y="28"/>
                  <a:pt x="28" y="28"/>
                </a:cubicBezTo>
                <a:cubicBezTo>
                  <a:pt x="28" y="32"/>
                  <a:pt x="32" y="36"/>
                  <a:pt x="36" y="36"/>
                </a:cubicBezTo>
                <a:cubicBezTo>
                  <a:pt x="48" y="36"/>
                  <a:pt x="48" y="36"/>
                  <a:pt x="48" y="36"/>
                </a:cubicBezTo>
                <a:cubicBezTo>
                  <a:pt x="50" y="36"/>
                  <a:pt x="52" y="38"/>
                  <a:pt x="52" y="40"/>
                </a:cubicBezTo>
                <a:cubicBezTo>
                  <a:pt x="52" y="44"/>
                  <a:pt x="52" y="44"/>
                  <a:pt x="52" y="44"/>
                </a:cubicBezTo>
                <a:cubicBezTo>
                  <a:pt x="42" y="44"/>
                  <a:pt x="42" y="44"/>
                  <a:pt x="42" y="44"/>
                </a:cubicBezTo>
                <a:cubicBezTo>
                  <a:pt x="41" y="44"/>
                  <a:pt x="40" y="45"/>
                  <a:pt x="40" y="46"/>
                </a:cubicBezTo>
                <a:cubicBezTo>
                  <a:pt x="40" y="58"/>
                  <a:pt x="40" y="58"/>
                  <a:pt x="40" y="58"/>
                </a:cubicBezTo>
                <a:cubicBezTo>
                  <a:pt x="40" y="59"/>
                  <a:pt x="41" y="60"/>
                  <a:pt x="42" y="60"/>
                </a:cubicBezTo>
                <a:cubicBezTo>
                  <a:pt x="72" y="60"/>
                  <a:pt x="72" y="60"/>
                  <a:pt x="72" y="60"/>
                </a:cubicBezTo>
                <a:cubicBezTo>
                  <a:pt x="72" y="80"/>
                  <a:pt x="72" y="80"/>
                  <a:pt x="72" y="80"/>
                </a:cubicBezTo>
                <a:cubicBezTo>
                  <a:pt x="72" y="82"/>
                  <a:pt x="70" y="84"/>
                  <a:pt x="68" y="84"/>
                </a:cubicBezTo>
                <a:cubicBezTo>
                  <a:pt x="56" y="84"/>
                  <a:pt x="56" y="84"/>
                  <a:pt x="56" y="84"/>
                </a:cubicBezTo>
                <a:cubicBezTo>
                  <a:pt x="56" y="82"/>
                  <a:pt x="56" y="82"/>
                  <a:pt x="56" y="82"/>
                </a:cubicBezTo>
                <a:cubicBezTo>
                  <a:pt x="56" y="81"/>
                  <a:pt x="55" y="80"/>
                  <a:pt x="54" y="80"/>
                </a:cubicBezTo>
                <a:cubicBezTo>
                  <a:pt x="2" y="80"/>
                  <a:pt x="2" y="80"/>
                  <a:pt x="2" y="80"/>
                </a:cubicBezTo>
                <a:cubicBezTo>
                  <a:pt x="1" y="80"/>
                  <a:pt x="0" y="81"/>
                  <a:pt x="0" y="82"/>
                </a:cubicBezTo>
                <a:cubicBezTo>
                  <a:pt x="0" y="94"/>
                  <a:pt x="0" y="94"/>
                  <a:pt x="0" y="94"/>
                </a:cubicBezTo>
                <a:cubicBezTo>
                  <a:pt x="0" y="95"/>
                  <a:pt x="1" y="96"/>
                  <a:pt x="2" y="96"/>
                </a:cubicBezTo>
                <a:cubicBezTo>
                  <a:pt x="54" y="96"/>
                  <a:pt x="54" y="96"/>
                  <a:pt x="54" y="96"/>
                </a:cubicBezTo>
                <a:cubicBezTo>
                  <a:pt x="55" y="96"/>
                  <a:pt x="56" y="95"/>
                  <a:pt x="56" y="94"/>
                </a:cubicBezTo>
                <a:cubicBezTo>
                  <a:pt x="56" y="88"/>
                  <a:pt x="56" y="88"/>
                  <a:pt x="56" y="88"/>
                </a:cubicBezTo>
                <a:cubicBezTo>
                  <a:pt x="68" y="88"/>
                  <a:pt x="68" y="88"/>
                  <a:pt x="68" y="88"/>
                </a:cubicBezTo>
                <a:cubicBezTo>
                  <a:pt x="72" y="88"/>
                  <a:pt x="76" y="84"/>
                  <a:pt x="76" y="80"/>
                </a:cubicBezTo>
                <a:cubicBezTo>
                  <a:pt x="76" y="60"/>
                  <a:pt x="76" y="60"/>
                  <a:pt x="76" y="60"/>
                </a:cubicBezTo>
                <a:cubicBezTo>
                  <a:pt x="94" y="60"/>
                  <a:pt x="94" y="60"/>
                  <a:pt x="94" y="60"/>
                </a:cubicBezTo>
                <a:cubicBezTo>
                  <a:pt x="95" y="60"/>
                  <a:pt x="96" y="59"/>
                  <a:pt x="96" y="58"/>
                </a:cubicBezTo>
                <a:cubicBezTo>
                  <a:pt x="96" y="46"/>
                  <a:pt x="96" y="46"/>
                  <a:pt x="96" y="46"/>
                </a:cubicBezTo>
                <a:cubicBezTo>
                  <a:pt x="96" y="45"/>
                  <a:pt x="95" y="44"/>
                  <a:pt x="94" y="44"/>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Arial"/>
              <a:cs typeface="+mn-cs"/>
            </a:endParaRPr>
          </a:p>
        </p:txBody>
      </p:sp>
      <p:sp>
        <p:nvSpPr>
          <p:cNvPr id="52" name="Freeform 31">
            <a:extLst>
              <a:ext uri="{FF2B5EF4-FFF2-40B4-BE49-F238E27FC236}">
                <a16:creationId xmlns:a16="http://schemas.microsoft.com/office/drawing/2014/main" id="{FCD6BD14-97CA-4D93-9A00-9B3D4F661BE1}"/>
              </a:ext>
            </a:extLst>
          </p:cNvPr>
          <p:cNvSpPr>
            <a:spLocks/>
          </p:cNvSpPr>
          <p:nvPr/>
        </p:nvSpPr>
        <p:spPr bwMode="auto">
          <a:xfrm>
            <a:off x="4631082" y="4743575"/>
            <a:ext cx="96766" cy="195244"/>
          </a:xfrm>
          <a:custGeom>
            <a:avLst/>
            <a:gdLst>
              <a:gd name="T0" fmla="*/ 48 w 48"/>
              <a:gd name="T1" fmla="*/ 1 h 96"/>
              <a:gd name="T2" fmla="*/ 46 w 48"/>
              <a:gd name="T3" fmla="*/ 0 h 96"/>
              <a:gd name="T4" fmla="*/ 14 w 48"/>
              <a:gd name="T5" fmla="*/ 0 h 96"/>
              <a:gd name="T6" fmla="*/ 12 w 48"/>
              <a:gd name="T7" fmla="*/ 2 h 96"/>
              <a:gd name="T8" fmla="*/ 0 w 48"/>
              <a:gd name="T9" fmla="*/ 50 h 96"/>
              <a:gd name="T10" fmla="*/ 0 w 48"/>
              <a:gd name="T11" fmla="*/ 51 h 96"/>
              <a:gd name="T12" fmla="*/ 2 w 48"/>
              <a:gd name="T13" fmla="*/ 52 h 96"/>
              <a:gd name="T14" fmla="*/ 15 w 48"/>
              <a:gd name="T15" fmla="*/ 52 h 96"/>
              <a:gd name="T16" fmla="*/ 4 w 48"/>
              <a:gd name="T17" fmla="*/ 93 h 96"/>
              <a:gd name="T18" fmla="*/ 5 w 48"/>
              <a:gd name="T19" fmla="*/ 96 h 96"/>
              <a:gd name="T20" fmla="*/ 8 w 48"/>
              <a:gd name="T21" fmla="*/ 95 h 96"/>
              <a:gd name="T22" fmla="*/ 48 w 48"/>
              <a:gd name="T23" fmla="*/ 35 h 96"/>
              <a:gd name="T24" fmla="*/ 48 w 48"/>
              <a:gd name="T25" fmla="*/ 33 h 96"/>
              <a:gd name="T26" fmla="*/ 46 w 48"/>
              <a:gd name="T27" fmla="*/ 32 h 96"/>
              <a:gd name="T28" fmla="*/ 30 w 48"/>
              <a:gd name="T29" fmla="*/ 32 h 96"/>
              <a:gd name="T30" fmla="*/ 48 w 48"/>
              <a:gd name="T31" fmla="*/ 3 h 96"/>
              <a:gd name="T32" fmla="*/ 48 w 48"/>
              <a:gd name="T33" fmla="*/ 1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8" h="96">
                <a:moveTo>
                  <a:pt x="48" y="1"/>
                </a:moveTo>
                <a:cubicBezTo>
                  <a:pt x="47" y="0"/>
                  <a:pt x="47" y="0"/>
                  <a:pt x="46" y="0"/>
                </a:cubicBezTo>
                <a:cubicBezTo>
                  <a:pt x="14" y="0"/>
                  <a:pt x="14" y="0"/>
                  <a:pt x="14" y="0"/>
                </a:cubicBezTo>
                <a:cubicBezTo>
                  <a:pt x="13" y="0"/>
                  <a:pt x="12" y="1"/>
                  <a:pt x="12" y="2"/>
                </a:cubicBezTo>
                <a:cubicBezTo>
                  <a:pt x="0" y="50"/>
                  <a:pt x="0" y="50"/>
                  <a:pt x="0" y="50"/>
                </a:cubicBezTo>
                <a:cubicBezTo>
                  <a:pt x="0" y="50"/>
                  <a:pt x="0" y="51"/>
                  <a:pt x="0" y="51"/>
                </a:cubicBezTo>
                <a:cubicBezTo>
                  <a:pt x="1" y="52"/>
                  <a:pt x="1" y="52"/>
                  <a:pt x="2" y="52"/>
                </a:cubicBezTo>
                <a:cubicBezTo>
                  <a:pt x="15" y="52"/>
                  <a:pt x="15" y="52"/>
                  <a:pt x="15" y="52"/>
                </a:cubicBezTo>
                <a:cubicBezTo>
                  <a:pt x="4" y="93"/>
                  <a:pt x="4" y="93"/>
                  <a:pt x="4" y="93"/>
                </a:cubicBezTo>
                <a:cubicBezTo>
                  <a:pt x="4" y="94"/>
                  <a:pt x="4" y="95"/>
                  <a:pt x="5" y="96"/>
                </a:cubicBezTo>
                <a:cubicBezTo>
                  <a:pt x="6" y="96"/>
                  <a:pt x="7" y="96"/>
                  <a:pt x="8" y="95"/>
                </a:cubicBezTo>
                <a:cubicBezTo>
                  <a:pt x="48" y="35"/>
                  <a:pt x="48" y="35"/>
                  <a:pt x="48" y="35"/>
                </a:cubicBezTo>
                <a:cubicBezTo>
                  <a:pt x="48" y="34"/>
                  <a:pt x="48" y="34"/>
                  <a:pt x="48" y="33"/>
                </a:cubicBezTo>
                <a:cubicBezTo>
                  <a:pt x="47" y="32"/>
                  <a:pt x="47" y="32"/>
                  <a:pt x="46" y="32"/>
                </a:cubicBezTo>
                <a:cubicBezTo>
                  <a:pt x="30" y="32"/>
                  <a:pt x="30" y="32"/>
                  <a:pt x="30" y="32"/>
                </a:cubicBezTo>
                <a:cubicBezTo>
                  <a:pt x="48" y="3"/>
                  <a:pt x="48" y="3"/>
                  <a:pt x="48" y="3"/>
                </a:cubicBezTo>
                <a:cubicBezTo>
                  <a:pt x="48" y="2"/>
                  <a:pt x="48" y="2"/>
                  <a:pt x="48" y="1"/>
                </a:cubicBezTo>
                <a:close/>
              </a:path>
            </a:pathLst>
          </a:custGeom>
          <a:gradFill flip="none" rotWithShape="1">
            <a:gsLst>
              <a:gs pos="100000">
                <a:schemeClr val="accent1"/>
              </a:gs>
              <a:gs pos="0">
                <a:schemeClr val="accent1"/>
              </a:gs>
            </a:gsLst>
            <a:lin ang="270000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Arial"/>
              <a:cs typeface="+mn-cs"/>
            </a:endParaRPr>
          </a:p>
        </p:txBody>
      </p:sp>
      <p:sp>
        <p:nvSpPr>
          <p:cNvPr id="53" name="Freeform 43">
            <a:extLst>
              <a:ext uri="{FF2B5EF4-FFF2-40B4-BE49-F238E27FC236}">
                <a16:creationId xmlns:a16="http://schemas.microsoft.com/office/drawing/2014/main" id="{9CB277F5-6C6C-4EA7-BEC4-4F8BE8AB7619}"/>
              </a:ext>
            </a:extLst>
          </p:cNvPr>
          <p:cNvSpPr>
            <a:spLocks noEditPoints="1"/>
          </p:cNvSpPr>
          <p:nvPr/>
        </p:nvSpPr>
        <p:spPr bwMode="auto">
          <a:xfrm>
            <a:off x="5186950" y="2771152"/>
            <a:ext cx="182882" cy="182878"/>
          </a:xfrm>
          <a:custGeom>
            <a:avLst/>
            <a:gdLst>
              <a:gd name="T0" fmla="*/ 47 w 48"/>
              <a:gd name="T1" fmla="*/ 41 h 48"/>
              <a:gd name="T2" fmla="*/ 36 w 48"/>
              <a:gd name="T3" fmla="*/ 30 h 48"/>
              <a:gd name="T4" fmla="*/ 33 w 48"/>
              <a:gd name="T5" fmla="*/ 28 h 48"/>
              <a:gd name="T6" fmla="*/ 36 w 48"/>
              <a:gd name="T7" fmla="*/ 18 h 48"/>
              <a:gd name="T8" fmla="*/ 18 w 48"/>
              <a:gd name="T9" fmla="*/ 0 h 48"/>
              <a:gd name="T10" fmla="*/ 0 w 48"/>
              <a:gd name="T11" fmla="*/ 18 h 48"/>
              <a:gd name="T12" fmla="*/ 18 w 48"/>
              <a:gd name="T13" fmla="*/ 36 h 48"/>
              <a:gd name="T14" fmla="*/ 28 w 48"/>
              <a:gd name="T15" fmla="*/ 33 h 48"/>
              <a:gd name="T16" fmla="*/ 30 w 48"/>
              <a:gd name="T17" fmla="*/ 36 h 48"/>
              <a:gd name="T18" fmla="*/ 41 w 48"/>
              <a:gd name="T19" fmla="*/ 47 h 48"/>
              <a:gd name="T20" fmla="*/ 47 w 48"/>
              <a:gd name="T21" fmla="*/ 47 h 48"/>
              <a:gd name="T22" fmla="*/ 47 w 48"/>
              <a:gd name="T23" fmla="*/ 41 h 48"/>
              <a:gd name="T24" fmla="*/ 20 w 48"/>
              <a:gd name="T25" fmla="*/ 26 h 48"/>
              <a:gd name="T26" fmla="*/ 18 w 48"/>
              <a:gd name="T27" fmla="*/ 28 h 48"/>
              <a:gd name="T28" fmla="*/ 16 w 48"/>
              <a:gd name="T29" fmla="*/ 26 h 48"/>
              <a:gd name="T30" fmla="*/ 16 w 48"/>
              <a:gd name="T31" fmla="*/ 20 h 48"/>
              <a:gd name="T32" fmla="*/ 10 w 48"/>
              <a:gd name="T33" fmla="*/ 20 h 48"/>
              <a:gd name="T34" fmla="*/ 8 w 48"/>
              <a:gd name="T35" fmla="*/ 18 h 48"/>
              <a:gd name="T36" fmla="*/ 10 w 48"/>
              <a:gd name="T37" fmla="*/ 16 h 48"/>
              <a:gd name="T38" fmla="*/ 16 w 48"/>
              <a:gd name="T39" fmla="*/ 16 h 48"/>
              <a:gd name="T40" fmla="*/ 16 w 48"/>
              <a:gd name="T41" fmla="*/ 10 h 48"/>
              <a:gd name="T42" fmla="*/ 18 w 48"/>
              <a:gd name="T43" fmla="*/ 8 h 48"/>
              <a:gd name="T44" fmla="*/ 20 w 48"/>
              <a:gd name="T45" fmla="*/ 10 h 48"/>
              <a:gd name="T46" fmla="*/ 20 w 48"/>
              <a:gd name="T47" fmla="*/ 16 h 48"/>
              <a:gd name="T48" fmla="*/ 26 w 48"/>
              <a:gd name="T49" fmla="*/ 16 h 48"/>
              <a:gd name="T50" fmla="*/ 28 w 48"/>
              <a:gd name="T51" fmla="*/ 18 h 48"/>
              <a:gd name="T52" fmla="*/ 26 w 48"/>
              <a:gd name="T53" fmla="*/ 20 h 48"/>
              <a:gd name="T54" fmla="*/ 20 w 48"/>
              <a:gd name="T55" fmla="*/ 20 h 48"/>
              <a:gd name="T56" fmla="*/ 20 w 48"/>
              <a:gd name="T57" fmla="*/ 2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8" h="48">
                <a:moveTo>
                  <a:pt x="47" y="41"/>
                </a:moveTo>
                <a:cubicBezTo>
                  <a:pt x="36" y="30"/>
                  <a:pt x="36" y="30"/>
                  <a:pt x="36" y="30"/>
                </a:cubicBezTo>
                <a:cubicBezTo>
                  <a:pt x="33" y="28"/>
                  <a:pt x="33" y="28"/>
                  <a:pt x="33" y="28"/>
                </a:cubicBezTo>
                <a:cubicBezTo>
                  <a:pt x="35" y="25"/>
                  <a:pt x="36" y="22"/>
                  <a:pt x="36" y="18"/>
                </a:cubicBezTo>
                <a:cubicBezTo>
                  <a:pt x="36" y="8"/>
                  <a:pt x="28" y="0"/>
                  <a:pt x="18" y="0"/>
                </a:cubicBezTo>
                <a:cubicBezTo>
                  <a:pt x="8" y="0"/>
                  <a:pt x="0" y="8"/>
                  <a:pt x="0" y="18"/>
                </a:cubicBezTo>
                <a:cubicBezTo>
                  <a:pt x="0" y="28"/>
                  <a:pt x="8" y="36"/>
                  <a:pt x="18" y="36"/>
                </a:cubicBezTo>
                <a:cubicBezTo>
                  <a:pt x="22" y="36"/>
                  <a:pt x="25" y="35"/>
                  <a:pt x="28" y="33"/>
                </a:cubicBezTo>
                <a:cubicBezTo>
                  <a:pt x="30" y="36"/>
                  <a:pt x="30" y="36"/>
                  <a:pt x="30" y="36"/>
                </a:cubicBezTo>
                <a:cubicBezTo>
                  <a:pt x="41" y="47"/>
                  <a:pt x="41" y="47"/>
                  <a:pt x="41" y="47"/>
                </a:cubicBezTo>
                <a:cubicBezTo>
                  <a:pt x="43" y="48"/>
                  <a:pt x="45" y="48"/>
                  <a:pt x="47" y="47"/>
                </a:cubicBezTo>
                <a:cubicBezTo>
                  <a:pt x="48" y="45"/>
                  <a:pt x="48" y="43"/>
                  <a:pt x="47" y="41"/>
                </a:cubicBezTo>
                <a:close/>
                <a:moveTo>
                  <a:pt x="20" y="26"/>
                </a:moveTo>
                <a:cubicBezTo>
                  <a:pt x="20" y="27"/>
                  <a:pt x="19" y="28"/>
                  <a:pt x="18" y="28"/>
                </a:cubicBezTo>
                <a:cubicBezTo>
                  <a:pt x="17" y="28"/>
                  <a:pt x="16" y="27"/>
                  <a:pt x="16" y="26"/>
                </a:cubicBezTo>
                <a:cubicBezTo>
                  <a:pt x="16" y="20"/>
                  <a:pt x="16" y="20"/>
                  <a:pt x="16" y="20"/>
                </a:cubicBezTo>
                <a:cubicBezTo>
                  <a:pt x="10" y="20"/>
                  <a:pt x="10" y="20"/>
                  <a:pt x="10" y="20"/>
                </a:cubicBezTo>
                <a:cubicBezTo>
                  <a:pt x="9" y="20"/>
                  <a:pt x="8" y="19"/>
                  <a:pt x="8" y="18"/>
                </a:cubicBezTo>
                <a:cubicBezTo>
                  <a:pt x="8" y="17"/>
                  <a:pt x="9" y="16"/>
                  <a:pt x="10" y="16"/>
                </a:cubicBezTo>
                <a:cubicBezTo>
                  <a:pt x="16" y="16"/>
                  <a:pt x="16" y="16"/>
                  <a:pt x="16" y="16"/>
                </a:cubicBezTo>
                <a:cubicBezTo>
                  <a:pt x="16" y="10"/>
                  <a:pt x="16" y="10"/>
                  <a:pt x="16" y="10"/>
                </a:cubicBezTo>
                <a:cubicBezTo>
                  <a:pt x="16" y="9"/>
                  <a:pt x="17" y="8"/>
                  <a:pt x="18" y="8"/>
                </a:cubicBezTo>
                <a:cubicBezTo>
                  <a:pt x="19" y="8"/>
                  <a:pt x="20" y="9"/>
                  <a:pt x="20" y="10"/>
                </a:cubicBezTo>
                <a:cubicBezTo>
                  <a:pt x="20" y="16"/>
                  <a:pt x="20" y="16"/>
                  <a:pt x="20" y="16"/>
                </a:cubicBezTo>
                <a:cubicBezTo>
                  <a:pt x="26" y="16"/>
                  <a:pt x="26" y="16"/>
                  <a:pt x="26" y="16"/>
                </a:cubicBezTo>
                <a:cubicBezTo>
                  <a:pt x="27" y="16"/>
                  <a:pt x="28" y="17"/>
                  <a:pt x="28" y="18"/>
                </a:cubicBezTo>
                <a:cubicBezTo>
                  <a:pt x="28" y="19"/>
                  <a:pt x="27" y="20"/>
                  <a:pt x="26" y="20"/>
                </a:cubicBezTo>
                <a:cubicBezTo>
                  <a:pt x="20" y="20"/>
                  <a:pt x="20" y="20"/>
                  <a:pt x="20" y="20"/>
                </a:cubicBezTo>
                <a:lnTo>
                  <a:pt x="20" y="26"/>
                </a:lnTo>
                <a:close/>
              </a:path>
            </a:pathLst>
          </a:custGeom>
          <a:gradFill flip="none" rotWithShape="1">
            <a:gsLst>
              <a:gs pos="100000">
                <a:schemeClr val="accent1"/>
              </a:gs>
              <a:gs pos="0">
                <a:schemeClr val="accent1"/>
              </a:gs>
            </a:gsLst>
            <a:lin ang="270000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Arial"/>
              <a:cs typeface="+mn-cs"/>
            </a:endParaRPr>
          </a:p>
        </p:txBody>
      </p:sp>
      <p:grpSp>
        <p:nvGrpSpPr>
          <p:cNvPr id="54" name="Group 160">
            <a:extLst>
              <a:ext uri="{FF2B5EF4-FFF2-40B4-BE49-F238E27FC236}">
                <a16:creationId xmlns:a16="http://schemas.microsoft.com/office/drawing/2014/main" id="{AD451329-5DE6-4CA6-9783-ED36ADB21FAA}"/>
              </a:ext>
            </a:extLst>
          </p:cNvPr>
          <p:cNvGrpSpPr/>
          <p:nvPr/>
        </p:nvGrpSpPr>
        <p:grpSpPr>
          <a:xfrm>
            <a:off x="5174967" y="4038695"/>
            <a:ext cx="194388" cy="180686"/>
            <a:chOff x="6276975" y="3981450"/>
            <a:chExt cx="360363" cy="334963"/>
          </a:xfrm>
          <a:gradFill>
            <a:gsLst>
              <a:gs pos="100000">
                <a:srgbClr val="0098DB"/>
              </a:gs>
              <a:gs pos="0">
                <a:srgbClr val="00497A"/>
              </a:gs>
            </a:gsLst>
            <a:lin ang="2700000" scaled="1"/>
          </a:gradFill>
        </p:grpSpPr>
        <p:sp>
          <p:nvSpPr>
            <p:cNvPr id="55" name="Freeform 98">
              <a:extLst>
                <a:ext uri="{FF2B5EF4-FFF2-40B4-BE49-F238E27FC236}">
                  <a16:creationId xmlns:a16="http://schemas.microsoft.com/office/drawing/2014/main" id="{216D7D40-4753-4709-99C9-35CA37E09E0B}"/>
                </a:ext>
              </a:extLst>
            </p:cNvPr>
            <p:cNvSpPr>
              <a:spLocks noEditPoints="1"/>
            </p:cNvSpPr>
            <p:nvPr/>
          </p:nvSpPr>
          <p:spPr bwMode="auto">
            <a:xfrm>
              <a:off x="6472238" y="3981450"/>
              <a:ext cx="165100" cy="334963"/>
            </a:xfrm>
            <a:custGeom>
              <a:avLst/>
              <a:gdLst>
                <a:gd name="T0" fmla="*/ 14 w 44"/>
                <a:gd name="T1" fmla="*/ 37 h 89"/>
                <a:gd name="T2" fmla="*/ 12 w 44"/>
                <a:gd name="T3" fmla="*/ 39 h 89"/>
                <a:gd name="T4" fmla="*/ 10 w 44"/>
                <a:gd name="T5" fmla="*/ 37 h 89"/>
                <a:gd name="T6" fmla="*/ 0 w 44"/>
                <a:gd name="T7" fmla="*/ 31 h 89"/>
                <a:gd name="T8" fmla="*/ 0 w 44"/>
                <a:gd name="T9" fmla="*/ 67 h 89"/>
                <a:gd name="T10" fmla="*/ 22 w 44"/>
                <a:gd name="T11" fmla="*/ 89 h 89"/>
                <a:gd name="T12" fmla="*/ 44 w 44"/>
                <a:gd name="T13" fmla="*/ 67 h 89"/>
                <a:gd name="T14" fmla="*/ 40 w 44"/>
                <a:gd name="T15" fmla="*/ 54 h 89"/>
                <a:gd name="T16" fmla="*/ 28 w 44"/>
                <a:gd name="T17" fmla="*/ 26 h 89"/>
                <a:gd name="T18" fmla="*/ 27 w 44"/>
                <a:gd name="T19" fmla="*/ 26 h 89"/>
                <a:gd name="T20" fmla="*/ 22 w 44"/>
                <a:gd name="T21" fmla="*/ 20 h 89"/>
                <a:gd name="T22" fmla="*/ 16 w 44"/>
                <a:gd name="T23" fmla="*/ 5 h 89"/>
                <a:gd name="T24" fmla="*/ 15 w 44"/>
                <a:gd name="T25" fmla="*/ 4 h 89"/>
                <a:gd name="T26" fmla="*/ 1 w 44"/>
                <a:gd name="T27" fmla="*/ 4 h 89"/>
                <a:gd name="T28" fmla="*/ 0 w 44"/>
                <a:gd name="T29" fmla="*/ 5 h 89"/>
                <a:gd name="T30" fmla="*/ 0 w 44"/>
                <a:gd name="T31" fmla="*/ 27 h 89"/>
                <a:gd name="T32" fmla="*/ 14 w 44"/>
                <a:gd name="T33" fmla="*/ 37 h 89"/>
                <a:gd name="T34" fmla="*/ 22 w 44"/>
                <a:gd name="T35" fmla="*/ 85 h 89"/>
                <a:gd name="T36" fmla="*/ 4 w 44"/>
                <a:gd name="T37" fmla="*/ 67 h 89"/>
                <a:gd name="T38" fmla="*/ 22 w 44"/>
                <a:gd name="T39" fmla="*/ 49 h 89"/>
                <a:gd name="T40" fmla="*/ 40 w 44"/>
                <a:gd name="T41" fmla="*/ 67 h 89"/>
                <a:gd name="T42" fmla="*/ 22 w 44"/>
                <a:gd name="T43" fmla="*/ 85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4" h="89">
                  <a:moveTo>
                    <a:pt x="14" y="37"/>
                  </a:moveTo>
                  <a:cubicBezTo>
                    <a:pt x="14" y="38"/>
                    <a:pt x="13" y="39"/>
                    <a:pt x="12" y="39"/>
                  </a:cubicBezTo>
                  <a:cubicBezTo>
                    <a:pt x="11" y="39"/>
                    <a:pt x="10" y="38"/>
                    <a:pt x="10" y="37"/>
                  </a:cubicBezTo>
                  <a:cubicBezTo>
                    <a:pt x="10" y="35"/>
                    <a:pt x="6" y="32"/>
                    <a:pt x="0" y="31"/>
                  </a:cubicBezTo>
                  <a:cubicBezTo>
                    <a:pt x="0" y="67"/>
                    <a:pt x="0" y="67"/>
                    <a:pt x="0" y="67"/>
                  </a:cubicBezTo>
                  <a:cubicBezTo>
                    <a:pt x="0" y="79"/>
                    <a:pt x="10" y="89"/>
                    <a:pt x="22" y="89"/>
                  </a:cubicBezTo>
                  <a:cubicBezTo>
                    <a:pt x="34" y="89"/>
                    <a:pt x="44" y="79"/>
                    <a:pt x="44" y="67"/>
                  </a:cubicBezTo>
                  <a:cubicBezTo>
                    <a:pt x="44" y="62"/>
                    <a:pt x="42" y="58"/>
                    <a:pt x="40" y="54"/>
                  </a:cubicBezTo>
                  <a:cubicBezTo>
                    <a:pt x="28" y="26"/>
                    <a:pt x="28" y="26"/>
                    <a:pt x="28" y="26"/>
                  </a:cubicBezTo>
                  <a:cubicBezTo>
                    <a:pt x="28" y="26"/>
                    <a:pt x="28" y="26"/>
                    <a:pt x="27" y="26"/>
                  </a:cubicBezTo>
                  <a:cubicBezTo>
                    <a:pt x="22" y="20"/>
                    <a:pt x="22" y="20"/>
                    <a:pt x="22" y="20"/>
                  </a:cubicBezTo>
                  <a:cubicBezTo>
                    <a:pt x="16" y="5"/>
                    <a:pt x="16" y="5"/>
                    <a:pt x="16" y="5"/>
                  </a:cubicBezTo>
                  <a:cubicBezTo>
                    <a:pt x="16" y="4"/>
                    <a:pt x="16" y="4"/>
                    <a:pt x="15" y="4"/>
                  </a:cubicBezTo>
                  <a:cubicBezTo>
                    <a:pt x="12" y="0"/>
                    <a:pt x="4" y="0"/>
                    <a:pt x="1" y="4"/>
                  </a:cubicBezTo>
                  <a:cubicBezTo>
                    <a:pt x="0" y="4"/>
                    <a:pt x="0" y="5"/>
                    <a:pt x="0" y="5"/>
                  </a:cubicBezTo>
                  <a:cubicBezTo>
                    <a:pt x="0" y="27"/>
                    <a:pt x="0" y="27"/>
                    <a:pt x="0" y="27"/>
                  </a:cubicBezTo>
                  <a:cubicBezTo>
                    <a:pt x="8" y="28"/>
                    <a:pt x="14" y="32"/>
                    <a:pt x="14" y="37"/>
                  </a:cubicBezTo>
                  <a:close/>
                  <a:moveTo>
                    <a:pt x="22" y="85"/>
                  </a:moveTo>
                  <a:cubicBezTo>
                    <a:pt x="12" y="85"/>
                    <a:pt x="4" y="77"/>
                    <a:pt x="4" y="67"/>
                  </a:cubicBezTo>
                  <a:cubicBezTo>
                    <a:pt x="4" y="57"/>
                    <a:pt x="12" y="49"/>
                    <a:pt x="22" y="49"/>
                  </a:cubicBezTo>
                  <a:cubicBezTo>
                    <a:pt x="32" y="49"/>
                    <a:pt x="40" y="57"/>
                    <a:pt x="40" y="67"/>
                  </a:cubicBezTo>
                  <a:cubicBezTo>
                    <a:pt x="40" y="77"/>
                    <a:pt x="32" y="85"/>
                    <a:pt x="22" y="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Arial"/>
                <a:cs typeface="+mn-cs"/>
              </a:endParaRPr>
            </a:p>
          </p:txBody>
        </p:sp>
        <p:sp>
          <p:nvSpPr>
            <p:cNvPr id="56" name="Freeform 99">
              <a:extLst>
                <a:ext uri="{FF2B5EF4-FFF2-40B4-BE49-F238E27FC236}">
                  <a16:creationId xmlns:a16="http://schemas.microsoft.com/office/drawing/2014/main" id="{F0A57AC6-38FB-4EC3-B6A7-B6EA99C29782}"/>
                </a:ext>
              </a:extLst>
            </p:cNvPr>
            <p:cNvSpPr>
              <a:spLocks noEditPoints="1"/>
            </p:cNvSpPr>
            <p:nvPr/>
          </p:nvSpPr>
          <p:spPr bwMode="auto">
            <a:xfrm>
              <a:off x="6276975" y="3981450"/>
              <a:ext cx="165100" cy="334963"/>
            </a:xfrm>
            <a:custGeom>
              <a:avLst/>
              <a:gdLst>
                <a:gd name="T0" fmla="*/ 0 w 44"/>
                <a:gd name="T1" fmla="*/ 67 h 89"/>
                <a:gd name="T2" fmla="*/ 22 w 44"/>
                <a:gd name="T3" fmla="*/ 89 h 89"/>
                <a:gd name="T4" fmla="*/ 44 w 44"/>
                <a:gd name="T5" fmla="*/ 67 h 89"/>
                <a:gd name="T6" fmla="*/ 44 w 44"/>
                <a:gd name="T7" fmla="*/ 31 h 89"/>
                <a:gd name="T8" fmla="*/ 34 w 44"/>
                <a:gd name="T9" fmla="*/ 37 h 89"/>
                <a:gd name="T10" fmla="*/ 32 w 44"/>
                <a:gd name="T11" fmla="*/ 39 h 89"/>
                <a:gd name="T12" fmla="*/ 30 w 44"/>
                <a:gd name="T13" fmla="*/ 37 h 89"/>
                <a:gd name="T14" fmla="*/ 44 w 44"/>
                <a:gd name="T15" fmla="*/ 27 h 89"/>
                <a:gd name="T16" fmla="*/ 44 w 44"/>
                <a:gd name="T17" fmla="*/ 5 h 89"/>
                <a:gd name="T18" fmla="*/ 43 w 44"/>
                <a:gd name="T19" fmla="*/ 4 h 89"/>
                <a:gd name="T20" fmla="*/ 29 w 44"/>
                <a:gd name="T21" fmla="*/ 4 h 89"/>
                <a:gd name="T22" fmla="*/ 28 w 44"/>
                <a:gd name="T23" fmla="*/ 4 h 89"/>
                <a:gd name="T24" fmla="*/ 22 w 44"/>
                <a:gd name="T25" fmla="*/ 20 h 89"/>
                <a:gd name="T26" fmla="*/ 17 w 44"/>
                <a:gd name="T27" fmla="*/ 26 h 89"/>
                <a:gd name="T28" fmla="*/ 16 w 44"/>
                <a:gd name="T29" fmla="*/ 26 h 89"/>
                <a:gd name="T30" fmla="*/ 4 w 44"/>
                <a:gd name="T31" fmla="*/ 54 h 89"/>
                <a:gd name="T32" fmla="*/ 0 w 44"/>
                <a:gd name="T33" fmla="*/ 67 h 89"/>
                <a:gd name="T34" fmla="*/ 22 w 44"/>
                <a:gd name="T35" fmla="*/ 85 h 89"/>
                <a:gd name="T36" fmla="*/ 4 w 44"/>
                <a:gd name="T37" fmla="*/ 67 h 89"/>
                <a:gd name="T38" fmla="*/ 22 w 44"/>
                <a:gd name="T39" fmla="*/ 49 h 89"/>
                <a:gd name="T40" fmla="*/ 40 w 44"/>
                <a:gd name="T41" fmla="*/ 67 h 89"/>
                <a:gd name="T42" fmla="*/ 22 w 44"/>
                <a:gd name="T43" fmla="*/ 85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4" h="89">
                  <a:moveTo>
                    <a:pt x="0" y="67"/>
                  </a:moveTo>
                  <a:cubicBezTo>
                    <a:pt x="0" y="79"/>
                    <a:pt x="10" y="89"/>
                    <a:pt x="22" y="89"/>
                  </a:cubicBezTo>
                  <a:cubicBezTo>
                    <a:pt x="34" y="89"/>
                    <a:pt x="44" y="79"/>
                    <a:pt x="44" y="67"/>
                  </a:cubicBezTo>
                  <a:cubicBezTo>
                    <a:pt x="44" y="31"/>
                    <a:pt x="44" y="31"/>
                    <a:pt x="44" y="31"/>
                  </a:cubicBezTo>
                  <a:cubicBezTo>
                    <a:pt x="38" y="32"/>
                    <a:pt x="34" y="35"/>
                    <a:pt x="34" y="37"/>
                  </a:cubicBezTo>
                  <a:cubicBezTo>
                    <a:pt x="34" y="38"/>
                    <a:pt x="33" y="39"/>
                    <a:pt x="32" y="39"/>
                  </a:cubicBezTo>
                  <a:cubicBezTo>
                    <a:pt x="31" y="39"/>
                    <a:pt x="30" y="38"/>
                    <a:pt x="30" y="37"/>
                  </a:cubicBezTo>
                  <a:cubicBezTo>
                    <a:pt x="30" y="32"/>
                    <a:pt x="36" y="28"/>
                    <a:pt x="44" y="27"/>
                  </a:cubicBezTo>
                  <a:cubicBezTo>
                    <a:pt x="44" y="5"/>
                    <a:pt x="44" y="5"/>
                    <a:pt x="44" y="5"/>
                  </a:cubicBezTo>
                  <a:cubicBezTo>
                    <a:pt x="44" y="5"/>
                    <a:pt x="44" y="4"/>
                    <a:pt x="43" y="4"/>
                  </a:cubicBezTo>
                  <a:cubicBezTo>
                    <a:pt x="40" y="0"/>
                    <a:pt x="32" y="0"/>
                    <a:pt x="29" y="4"/>
                  </a:cubicBezTo>
                  <a:cubicBezTo>
                    <a:pt x="28" y="4"/>
                    <a:pt x="28" y="4"/>
                    <a:pt x="28" y="4"/>
                  </a:cubicBezTo>
                  <a:cubicBezTo>
                    <a:pt x="22" y="20"/>
                    <a:pt x="22" y="20"/>
                    <a:pt x="22" y="20"/>
                  </a:cubicBezTo>
                  <a:cubicBezTo>
                    <a:pt x="17" y="26"/>
                    <a:pt x="17" y="26"/>
                    <a:pt x="17" y="26"/>
                  </a:cubicBezTo>
                  <a:cubicBezTo>
                    <a:pt x="16" y="26"/>
                    <a:pt x="16" y="26"/>
                    <a:pt x="16" y="26"/>
                  </a:cubicBezTo>
                  <a:cubicBezTo>
                    <a:pt x="4" y="54"/>
                    <a:pt x="4" y="54"/>
                    <a:pt x="4" y="54"/>
                  </a:cubicBezTo>
                  <a:cubicBezTo>
                    <a:pt x="2" y="58"/>
                    <a:pt x="0" y="62"/>
                    <a:pt x="0" y="67"/>
                  </a:cubicBezTo>
                  <a:close/>
                  <a:moveTo>
                    <a:pt x="22" y="85"/>
                  </a:moveTo>
                  <a:cubicBezTo>
                    <a:pt x="12" y="85"/>
                    <a:pt x="4" y="77"/>
                    <a:pt x="4" y="67"/>
                  </a:cubicBezTo>
                  <a:cubicBezTo>
                    <a:pt x="4" y="57"/>
                    <a:pt x="12" y="49"/>
                    <a:pt x="22" y="49"/>
                  </a:cubicBezTo>
                  <a:cubicBezTo>
                    <a:pt x="32" y="49"/>
                    <a:pt x="40" y="57"/>
                    <a:pt x="40" y="67"/>
                  </a:cubicBezTo>
                  <a:cubicBezTo>
                    <a:pt x="40" y="77"/>
                    <a:pt x="32" y="85"/>
                    <a:pt x="22" y="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Arial"/>
                <a:cs typeface="+mn-cs"/>
              </a:endParaRPr>
            </a:p>
          </p:txBody>
        </p:sp>
        <p:sp>
          <p:nvSpPr>
            <p:cNvPr id="57" name="Freeform 100">
              <a:extLst>
                <a:ext uri="{FF2B5EF4-FFF2-40B4-BE49-F238E27FC236}">
                  <a16:creationId xmlns:a16="http://schemas.microsoft.com/office/drawing/2014/main" id="{8B38729C-8120-4449-9F64-3691E576D17E}"/>
                </a:ext>
              </a:extLst>
            </p:cNvPr>
            <p:cNvSpPr>
              <a:spLocks/>
            </p:cNvSpPr>
            <p:nvPr/>
          </p:nvSpPr>
          <p:spPr bwMode="auto">
            <a:xfrm>
              <a:off x="6307138" y="4181475"/>
              <a:ext cx="58738" cy="60325"/>
            </a:xfrm>
            <a:custGeom>
              <a:avLst/>
              <a:gdLst>
                <a:gd name="T0" fmla="*/ 14 w 16"/>
                <a:gd name="T1" fmla="*/ 4 h 16"/>
                <a:gd name="T2" fmla="*/ 16 w 16"/>
                <a:gd name="T3" fmla="*/ 2 h 16"/>
                <a:gd name="T4" fmla="*/ 14 w 16"/>
                <a:gd name="T5" fmla="*/ 0 h 16"/>
                <a:gd name="T6" fmla="*/ 0 w 16"/>
                <a:gd name="T7" fmla="*/ 14 h 16"/>
                <a:gd name="T8" fmla="*/ 2 w 16"/>
                <a:gd name="T9" fmla="*/ 16 h 16"/>
                <a:gd name="T10" fmla="*/ 4 w 16"/>
                <a:gd name="T11" fmla="*/ 14 h 16"/>
                <a:gd name="T12" fmla="*/ 14 w 16"/>
                <a:gd name="T13" fmla="*/ 4 h 16"/>
              </a:gdLst>
              <a:ahLst/>
              <a:cxnLst>
                <a:cxn ang="0">
                  <a:pos x="T0" y="T1"/>
                </a:cxn>
                <a:cxn ang="0">
                  <a:pos x="T2" y="T3"/>
                </a:cxn>
                <a:cxn ang="0">
                  <a:pos x="T4" y="T5"/>
                </a:cxn>
                <a:cxn ang="0">
                  <a:pos x="T6" y="T7"/>
                </a:cxn>
                <a:cxn ang="0">
                  <a:pos x="T8" y="T9"/>
                </a:cxn>
                <a:cxn ang="0">
                  <a:pos x="T10" y="T11"/>
                </a:cxn>
                <a:cxn ang="0">
                  <a:pos x="T12" y="T13"/>
                </a:cxn>
              </a:cxnLst>
              <a:rect l="0" t="0" r="r" b="b"/>
              <a:pathLst>
                <a:path w="16" h="16">
                  <a:moveTo>
                    <a:pt x="14" y="4"/>
                  </a:moveTo>
                  <a:cubicBezTo>
                    <a:pt x="15" y="4"/>
                    <a:pt x="16" y="3"/>
                    <a:pt x="16" y="2"/>
                  </a:cubicBezTo>
                  <a:cubicBezTo>
                    <a:pt x="16" y="1"/>
                    <a:pt x="15" y="0"/>
                    <a:pt x="14" y="0"/>
                  </a:cubicBezTo>
                  <a:cubicBezTo>
                    <a:pt x="6" y="0"/>
                    <a:pt x="0" y="6"/>
                    <a:pt x="0" y="14"/>
                  </a:cubicBezTo>
                  <a:cubicBezTo>
                    <a:pt x="0" y="15"/>
                    <a:pt x="1" y="16"/>
                    <a:pt x="2" y="16"/>
                  </a:cubicBezTo>
                  <a:cubicBezTo>
                    <a:pt x="3" y="16"/>
                    <a:pt x="4" y="15"/>
                    <a:pt x="4" y="14"/>
                  </a:cubicBezTo>
                  <a:cubicBezTo>
                    <a:pt x="4" y="9"/>
                    <a:pt x="8" y="4"/>
                    <a:pt x="1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Arial"/>
                <a:cs typeface="+mn-cs"/>
              </a:endParaRPr>
            </a:p>
          </p:txBody>
        </p:sp>
        <p:sp>
          <p:nvSpPr>
            <p:cNvPr id="58" name="Freeform 101">
              <a:extLst>
                <a:ext uri="{FF2B5EF4-FFF2-40B4-BE49-F238E27FC236}">
                  <a16:creationId xmlns:a16="http://schemas.microsoft.com/office/drawing/2014/main" id="{F67AD3CC-B017-48F7-9B77-89BA7C2E9418}"/>
                </a:ext>
              </a:extLst>
            </p:cNvPr>
            <p:cNvSpPr>
              <a:spLocks/>
            </p:cNvSpPr>
            <p:nvPr/>
          </p:nvSpPr>
          <p:spPr bwMode="auto">
            <a:xfrm>
              <a:off x="6502400" y="4181475"/>
              <a:ext cx="58738" cy="60325"/>
            </a:xfrm>
            <a:custGeom>
              <a:avLst/>
              <a:gdLst>
                <a:gd name="T0" fmla="*/ 14 w 16"/>
                <a:gd name="T1" fmla="*/ 4 h 16"/>
                <a:gd name="T2" fmla="*/ 16 w 16"/>
                <a:gd name="T3" fmla="*/ 2 h 16"/>
                <a:gd name="T4" fmla="*/ 14 w 16"/>
                <a:gd name="T5" fmla="*/ 0 h 16"/>
                <a:gd name="T6" fmla="*/ 0 w 16"/>
                <a:gd name="T7" fmla="*/ 14 h 16"/>
                <a:gd name="T8" fmla="*/ 2 w 16"/>
                <a:gd name="T9" fmla="*/ 16 h 16"/>
                <a:gd name="T10" fmla="*/ 4 w 16"/>
                <a:gd name="T11" fmla="*/ 14 h 16"/>
                <a:gd name="T12" fmla="*/ 14 w 16"/>
                <a:gd name="T13" fmla="*/ 4 h 16"/>
              </a:gdLst>
              <a:ahLst/>
              <a:cxnLst>
                <a:cxn ang="0">
                  <a:pos x="T0" y="T1"/>
                </a:cxn>
                <a:cxn ang="0">
                  <a:pos x="T2" y="T3"/>
                </a:cxn>
                <a:cxn ang="0">
                  <a:pos x="T4" y="T5"/>
                </a:cxn>
                <a:cxn ang="0">
                  <a:pos x="T6" y="T7"/>
                </a:cxn>
                <a:cxn ang="0">
                  <a:pos x="T8" y="T9"/>
                </a:cxn>
                <a:cxn ang="0">
                  <a:pos x="T10" y="T11"/>
                </a:cxn>
                <a:cxn ang="0">
                  <a:pos x="T12" y="T13"/>
                </a:cxn>
              </a:cxnLst>
              <a:rect l="0" t="0" r="r" b="b"/>
              <a:pathLst>
                <a:path w="16" h="16">
                  <a:moveTo>
                    <a:pt x="14" y="4"/>
                  </a:moveTo>
                  <a:cubicBezTo>
                    <a:pt x="15" y="4"/>
                    <a:pt x="16" y="3"/>
                    <a:pt x="16" y="2"/>
                  </a:cubicBezTo>
                  <a:cubicBezTo>
                    <a:pt x="16" y="1"/>
                    <a:pt x="15" y="0"/>
                    <a:pt x="14" y="0"/>
                  </a:cubicBezTo>
                  <a:cubicBezTo>
                    <a:pt x="6" y="0"/>
                    <a:pt x="0" y="6"/>
                    <a:pt x="0" y="14"/>
                  </a:cubicBezTo>
                  <a:cubicBezTo>
                    <a:pt x="0" y="15"/>
                    <a:pt x="1" y="16"/>
                    <a:pt x="2" y="16"/>
                  </a:cubicBezTo>
                  <a:cubicBezTo>
                    <a:pt x="3" y="16"/>
                    <a:pt x="4" y="15"/>
                    <a:pt x="4" y="14"/>
                  </a:cubicBezTo>
                  <a:cubicBezTo>
                    <a:pt x="4" y="9"/>
                    <a:pt x="8" y="4"/>
                    <a:pt x="1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Arial"/>
                <a:cs typeface="+mn-cs"/>
              </a:endParaRPr>
            </a:p>
          </p:txBody>
        </p:sp>
      </p:grpSp>
      <p:sp>
        <p:nvSpPr>
          <p:cNvPr id="59" name="Freeform 150">
            <a:extLst>
              <a:ext uri="{FF2B5EF4-FFF2-40B4-BE49-F238E27FC236}">
                <a16:creationId xmlns:a16="http://schemas.microsoft.com/office/drawing/2014/main" id="{241436AA-B797-4829-AD00-DE764B50157B}"/>
              </a:ext>
            </a:extLst>
          </p:cNvPr>
          <p:cNvSpPr>
            <a:spLocks noEditPoints="1"/>
          </p:cNvSpPr>
          <p:nvPr/>
        </p:nvSpPr>
        <p:spPr bwMode="auto">
          <a:xfrm>
            <a:off x="4587072" y="2073235"/>
            <a:ext cx="194388" cy="195244"/>
          </a:xfrm>
          <a:custGeom>
            <a:avLst/>
            <a:gdLst>
              <a:gd name="T0" fmla="*/ 48 w 96"/>
              <a:gd name="T1" fmla="*/ 0 h 96"/>
              <a:gd name="T2" fmla="*/ 0 w 96"/>
              <a:gd name="T3" fmla="*/ 48 h 96"/>
              <a:gd name="T4" fmla="*/ 48 w 96"/>
              <a:gd name="T5" fmla="*/ 96 h 96"/>
              <a:gd name="T6" fmla="*/ 96 w 96"/>
              <a:gd name="T7" fmla="*/ 48 h 96"/>
              <a:gd name="T8" fmla="*/ 48 w 96"/>
              <a:gd name="T9" fmla="*/ 0 h 96"/>
              <a:gd name="T10" fmla="*/ 72 w 96"/>
              <a:gd name="T11" fmla="*/ 43 h 96"/>
              <a:gd name="T12" fmla="*/ 70 w 96"/>
              <a:gd name="T13" fmla="*/ 44 h 96"/>
              <a:gd name="T14" fmla="*/ 54 w 96"/>
              <a:gd name="T15" fmla="*/ 44 h 96"/>
              <a:gd name="T16" fmla="*/ 52 w 96"/>
              <a:gd name="T17" fmla="*/ 45 h 96"/>
              <a:gd name="T18" fmla="*/ 50 w 96"/>
              <a:gd name="T19" fmla="*/ 48 h 96"/>
              <a:gd name="T20" fmla="*/ 64 w 96"/>
              <a:gd name="T21" fmla="*/ 48 h 96"/>
              <a:gd name="T22" fmla="*/ 66 w 96"/>
              <a:gd name="T23" fmla="*/ 50 h 96"/>
              <a:gd name="T24" fmla="*/ 64 w 96"/>
              <a:gd name="T25" fmla="*/ 52 h 96"/>
              <a:gd name="T26" fmla="*/ 46 w 96"/>
              <a:gd name="T27" fmla="*/ 52 h 96"/>
              <a:gd name="T28" fmla="*/ 42 w 96"/>
              <a:gd name="T29" fmla="*/ 56 h 96"/>
              <a:gd name="T30" fmla="*/ 58 w 96"/>
              <a:gd name="T31" fmla="*/ 56 h 96"/>
              <a:gd name="T32" fmla="*/ 60 w 96"/>
              <a:gd name="T33" fmla="*/ 57 h 96"/>
              <a:gd name="T34" fmla="*/ 60 w 96"/>
              <a:gd name="T35" fmla="*/ 59 h 96"/>
              <a:gd name="T36" fmla="*/ 37 w 96"/>
              <a:gd name="T37" fmla="*/ 69 h 96"/>
              <a:gd name="T38" fmla="*/ 30 w 96"/>
              <a:gd name="T39" fmla="*/ 68 h 96"/>
              <a:gd name="T40" fmla="*/ 25 w 96"/>
              <a:gd name="T41" fmla="*/ 73 h 96"/>
              <a:gd name="T42" fmla="*/ 22 w 96"/>
              <a:gd name="T43" fmla="*/ 73 h 96"/>
              <a:gd name="T44" fmla="*/ 22 w 96"/>
              <a:gd name="T45" fmla="*/ 70 h 96"/>
              <a:gd name="T46" fmla="*/ 27 w 96"/>
              <a:gd name="T47" fmla="*/ 65 h 96"/>
              <a:gd name="T48" fmla="*/ 28 w 96"/>
              <a:gd name="T49" fmla="*/ 52 h 96"/>
              <a:gd name="T50" fmla="*/ 40 w 96"/>
              <a:gd name="T51" fmla="*/ 33 h 96"/>
              <a:gd name="T52" fmla="*/ 57 w 96"/>
              <a:gd name="T53" fmla="*/ 20 h 96"/>
              <a:gd name="T54" fmla="*/ 59 w 96"/>
              <a:gd name="T55" fmla="*/ 20 h 96"/>
              <a:gd name="T56" fmla="*/ 60 w 96"/>
              <a:gd name="T57" fmla="*/ 22 h 96"/>
              <a:gd name="T58" fmla="*/ 60 w 96"/>
              <a:gd name="T59" fmla="*/ 32 h 96"/>
              <a:gd name="T60" fmla="*/ 70 w 96"/>
              <a:gd name="T61" fmla="*/ 22 h 96"/>
              <a:gd name="T62" fmla="*/ 73 w 96"/>
              <a:gd name="T63" fmla="*/ 22 h 96"/>
              <a:gd name="T64" fmla="*/ 72 w 96"/>
              <a:gd name="T65" fmla="*/ 43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6" h="96">
                <a:moveTo>
                  <a:pt x="48" y="0"/>
                </a:moveTo>
                <a:cubicBezTo>
                  <a:pt x="22" y="0"/>
                  <a:pt x="0" y="22"/>
                  <a:pt x="0" y="48"/>
                </a:cubicBezTo>
                <a:cubicBezTo>
                  <a:pt x="0" y="74"/>
                  <a:pt x="22" y="96"/>
                  <a:pt x="48" y="96"/>
                </a:cubicBezTo>
                <a:cubicBezTo>
                  <a:pt x="74" y="96"/>
                  <a:pt x="96" y="74"/>
                  <a:pt x="96" y="48"/>
                </a:cubicBezTo>
                <a:cubicBezTo>
                  <a:pt x="96" y="22"/>
                  <a:pt x="74" y="0"/>
                  <a:pt x="48" y="0"/>
                </a:cubicBezTo>
                <a:close/>
                <a:moveTo>
                  <a:pt x="72" y="43"/>
                </a:moveTo>
                <a:cubicBezTo>
                  <a:pt x="71" y="44"/>
                  <a:pt x="71" y="44"/>
                  <a:pt x="70" y="44"/>
                </a:cubicBezTo>
                <a:cubicBezTo>
                  <a:pt x="54" y="44"/>
                  <a:pt x="54" y="44"/>
                  <a:pt x="54" y="44"/>
                </a:cubicBezTo>
                <a:cubicBezTo>
                  <a:pt x="52" y="45"/>
                  <a:pt x="52" y="45"/>
                  <a:pt x="52" y="45"/>
                </a:cubicBezTo>
                <a:cubicBezTo>
                  <a:pt x="50" y="48"/>
                  <a:pt x="50" y="48"/>
                  <a:pt x="50" y="48"/>
                </a:cubicBezTo>
                <a:cubicBezTo>
                  <a:pt x="64" y="48"/>
                  <a:pt x="64" y="48"/>
                  <a:pt x="64" y="48"/>
                </a:cubicBezTo>
                <a:cubicBezTo>
                  <a:pt x="65" y="48"/>
                  <a:pt x="66" y="49"/>
                  <a:pt x="66" y="50"/>
                </a:cubicBezTo>
                <a:cubicBezTo>
                  <a:pt x="66" y="51"/>
                  <a:pt x="65" y="52"/>
                  <a:pt x="64" y="52"/>
                </a:cubicBezTo>
                <a:cubicBezTo>
                  <a:pt x="46" y="52"/>
                  <a:pt x="46" y="52"/>
                  <a:pt x="46" y="52"/>
                </a:cubicBezTo>
                <a:cubicBezTo>
                  <a:pt x="42" y="56"/>
                  <a:pt x="42" y="56"/>
                  <a:pt x="42" y="56"/>
                </a:cubicBezTo>
                <a:cubicBezTo>
                  <a:pt x="58" y="56"/>
                  <a:pt x="58" y="56"/>
                  <a:pt x="58" y="56"/>
                </a:cubicBezTo>
                <a:cubicBezTo>
                  <a:pt x="59" y="56"/>
                  <a:pt x="60" y="57"/>
                  <a:pt x="60" y="57"/>
                </a:cubicBezTo>
                <a:cubicBezTo>
                  <a:pt x="60" y="58"/>
                  <a:pt x="60" y="59"/>
                  <a:pt x="60" y="59"/>
                </a:cubicBezTo>
                <a:cubicBezTo>
                  <a:pt x="53" y="66"/>
                  <a:pt x="44" y="69"/>
                  <a:pt x="37" y="69"/>
                </a:cubicBezTo>
                <a:cubicBezTo>
                  <a:pt x="34" y="69"/>
                  <a:pt x="32" y="69"/>
                  <a:pt x="30" y="68"/>
                </a:cubicBezTo>
                <a:cubicBezTo>
                  <a:pt x="25" y="73"/>
                  <a:pt x="25" y="73"/>
                  <a:pt x="25" y="73"/>
                </a:cubicBezTo>
                <a:cubicBezTo>
                  <a:pt x="24" y="74"/>
                  <a:pt x="23" y="74"/>
                  <a:pt x="22" y="73"/>
                </a:cubicBezTo>
                <a:cubicBezTo>
                  <a:pt x="21" y="72"/>
                  <a:pt x="21" y="71"/>
                  <a:pt x="22" y="70"/>
                </a:cubicBezTo>
                <a:cubicBezTo>
                  <a:pt x="27" y="65"/>
                  <a:pt x="27" y="65"/>
                  <a:pt x="27" y="65"/>
                </a:cubicBezTo>
                <a:cubicBezTo>
                  <a:pt x="25" y="62"/>
                  <a:pt x="26" y="57"/>
                  <a:pt x="28" y="52"/>
                </a:cubicBezTo>
                <a:cubicBezTo>
                  <a:pt x="30" y="45"/>
                  <a:pt x="34" y="39"/>
                  <a:pt x="40" y="33"/>
                </a:cubicBezTo>
                <a:cubicBezTo>
                  <a:pt x="46" y="27"/>
                  <a:pt x="53" y="22"/>
                  <a:pt x="57" y="20"/>
                </a:cubicBezTo>
                <a:cubicBezTo>
                  <a:pt x="58" y="20"/>
                  <a:pt x="59" y="20"/>
                  <a:pt x="59" y="20"/>
                </a:cubicBezTo>
                <a:cubicBezTo>
                  <a:pt x="60" y="21"/>
                  <a:pt x="60" y="21"/>
                  <a:pt x="60" y="22"/>
                </a:cubicBezTo>
                <a:cubicBezTo>
                  <a:pt x="60" y="32"/>
                  <a:pt x="60" y="32"/>
                  <a:pt x="60" y="32"/>
                </a:cubicBezTo>
                <a:cubicBezTo>
                  <a:pt x="70" y="22"/>
                  <a:pt x="70" y="22"/>
                  <a:pt x="70" y="22"/>
                </a:cubicBezTo>
                <a:cubicBezTo>
                  <a:pt x="71" y="21"/>
                  <a:pt x="72" y="21"/>
                  <a:pt x="73" y="22"/>
                </a:cubicBezTo>
                <a:cubicBezTo>
                  <a:pt x="78" y="26"/>
                  <a:pt x="77" y="34"/>
                  <a:pt x="72" y="43"/>
                </a:cubicBezTo>
                <a:close/>
              </a:path>
            </a:pathLst>
          </a:custGeom>
          <a:gradFill flip="none" rotWithShape="1">
            <a:gsLst>
              <a:gs pos="100000">
                <a:schemeClr val="accent1"/>
              </a:gs>
              <a:gs pos="0">
                <a:schemeClr val="accent1"/>
              </a:gs>
            </a:gsLst>
            <a:lin ang="270000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Arial"/>
              <a:cs typeface="+mn-cs"/>
            </a:endParaRPr>
          </a:p>
        </p:txBody>
      </p:sp>
      <p:grpSp>
        <p:nvGrpSpPr>
          <p:cNvPr id="60" name="Group 168">
            <a:extLst>
              <a:ext uri="{FF2B5EF4-FFF2-40B4-BE49-F238E27FC236}">
                <a16:creationId xmlns:a16="http://schemas.microsoft.com/office/drawing/2014/main" id="{1E39E422-CCA6-41DE-BF22-13901FE9AA33}"/>
              </a:ext>
            </a:extLst>
          </p:cNvPr>
          <p:cNvGrpSpPr/>
          <p:nvPr/>
        </p:nvGrpSpPr>
        <p:grpSpPr>
          <a:xfrm>
            <a:off x="6777764" y="1390163"/>
            <a:ext cx="210954" cy="146832"/>
            <a:chOff x="3408363" y="2940050"/>
            <a:chExt cx="360363" cy="250826"/>
          </a:xfrm>
          <a:gradFill>
            <a:gsLst>
              <a:gs pos="100000">
                <a:srgbClr val="0098DB"/>
              </a:gs>
              <a:gs pos="0">
                <a:srgbClr val="00497A"/>
              </a:gs>
            </a:gsLst>
            <a:lin ang="2700000" scaled="1"/>
          </a:gradFill>
        </p:grpSpPr>
        <p:sp>
          <p:nvSpPr>
            <p:cNvPr id="61" name="Freeform 22">
              <a:extLst>
                <a:ext uri="{FF2B5EF4-FFF2-40B4-BE49-F238E27FC236}">
                  <a16:creationId xmlns:a16="http://schemas.microsoft.com/office/drawing/2014/main" id="{59B37B50-EDDA-4F54-AD96-3B76F890853C}"/>
                </a:ext>
              </a:extLst>
            </p:cNvPr>
            <p:cNvSpPr>
              <a:spLocks/>
            </p:cNvSpPr>
            <p:nvPr/>
          </p:nvSpPr>
          <p:spPr bwMode="auto">
            <a:xfrm>
              <a:off x="3551238" y="2940050"/>
              <a:ext cx="120650" cy="101600"/>
            </a:xfrm>
            <a:custGeom>
              <a:avLst/>
              <a:gdLst>
                <a:gd name="T0" fmla="*/ 2 w 32"/>
                <a:gd name="T1" fmla="*/ 27 h 27"/>
                <a:gd name="T2" fmla="*/ 1 w 32"/>
                <a:gd name="T3" fmla="*/ 27 h 27"/>
                <a:gd name="T4" fmla="*/ 1 w 32"/>
                <a:gd name="T5" fmla="*/ 24 h 27"/>
                <a:gd name="T6" fmla="*/ 24 w 32"/>
                <a:gd name="T7" fmla="*/ 1 h 27"/>
                <a:gd name="T8" fmla="*/ 27 w 32"/>
                <a:gd name="T9" fmla="*/ 1 h 27"/>
                <a:gd name="T10" fmla="*/ 31 w 32"/>
                <a:gd name="T11" fmla="*/ 6 h 27"/>
                <a:gd name="T12" fmla="*/ 31 w 32"/>
                <a:gd name="T13" fmla="*/ 8 h 27"/>
                <a:gd name="T14" fmla="*/ 29 w 32"/>
                <a:gd name="T15" fmla="*/ 8 h 27"/>
                <a:gd name="T16" fmla="*/ 25 w 32"/>
                <a:gd name="T17" fmla="*/ 5 h 27"/>
                <a:gd name="T18" fmla="*/ 4 w 32"/>
                <a:gd name="T19" fmla="*/ 27 h 27"/>
                <a:gd name="T20" fmla="*/ 2 w 32"/>
                <a:gd name="T21" fmla="*/ 2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 h="27">
                  <a:moveTo>
                    <a:pt x="2" y="27"/>
                  </a:moveTo>
                  <a:cubicBezTo>
                    <a:pt x="2" y="27"/>
                    <a:pt x="1" y="27"/>
                    <a:pt x="1" y="27"/>
                  </a:cubicBezTo>
                  <a:cubicBezTo>
                    <a:pt x="0" y="26"/>
                    <a:pt x="0" y="25"/>
                    <a:pt x="1" y="24"/>
                  </a:cubicBezTo>
                  <a:cubicBezTo>
                    <a:pt x="24" y="1"/>
                    <a:pt x="24" y="1"/>
                    <a:pt x="24" y="1"/>
                  </a:cubicBezTo>
                  <a:cubicBezTo>
                    <a:pt x="25" y="0"/>
                    <a:pt x="26" y="0"/>
                    <a:pt x="27" y="1"/>
                  </a:cubicBezTo>
                  <a:cubicBezTo>
                    <a:pt x="31" y="6"/>
                    <a:pt x="31" y="6"/>
                    <a:pt x="31" y="6"/>
                  </a:cubicBezTo>
                  <a:cubicBezTo>
                    <a:pt x="32" y="6"/>
                    <a:pt x="32" y="8"/>
                    <a:pt x="31" y="8"/>
                  </a:cubicBezTo>
                  <a:cubicBezTo>
                    <a:pt x="31" y="9"/>
                    <a:pt x="29" y="9"/>
                    <a:pt x="29" y="8"/>
                  </a:cubicBezTo>
                  <a:cubicBezTo>
                    <a:pt x="25" y="5"/>
                    <a:pt x="25" y="5"/>
                    <a:pt x="25" y="5"/>
                  </a:cubicBezTo>
                  <a:cubicBezTo>
                    <a:pt x="4" y="27"/>
                    <a:pt x="4" y="27"/>
                    <a:pt x="4" y="27"/>
                  </a:cubicBezTo>
                  <a:cubicBezTo>
                    <a:pt x="3" y="27"/>
                    <a:pt x="3" y="27"/>
                    <a:pt x="2" y="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Arial"/>
                <a:cs typeface="+mn-cs"/>
              </a:endParaRPr>
            </a:p>
          </p:txBody>
        </p:sp>
        <p:sp>
          <p:nvSpPr>
            <p:cNvPr id="62" name="Freeform 23">
              <a:extLst>
                <a:ext uri="{FF2B5EF4-FFF2-40B4-BE49-F238E27FC236}">
                  <a16:creationId xmlns:a16="http://schemas.microsoft.com/office/drawing/2014/main" id="{606C2EF5-D564-4C1D-B050-BB5CA931D61D}"/>
                </a:ext>
              </a:extLst>
            </p:cNvPr>
            <p:cNvSpPr>
              <a:spLocks/>
            </p:cNvSpPr>
            <p:nvPr/>
          </p:nvSpPr>
          <p:spPr bwMode="auto">
            <a:xfrm>
              <a:off x="3408363" y="3046413"/>
              <a:ext cx="112713" cy="144463"/>
            </a:xfrm>
            <a:custGeom>
              <a:avLst/>
              <a:gdLst>
                <a:gd name="T0" fmla="*/ 24 w 30"/>
                <a:gd name="T1" fmla="*/ 38 h 38"/>
                <a:gd name="T2" fmla="*/ 23 w 30"/>
                <a:gd name="T3" fmla="*/ 37 h 38"/>
                <a:gd name="T4" fmla="*/ 1 w 30"/>
                <a:gd name="T5" fmla="*/ 15 h 38"/>
                <a:gd name="T6" fmla="*/ 1 w 30"/>
                <a:gd name="T7" fmla="*/ 12 h 38"/>
                <a:gd name="T8" fmla="*/ 12 w 30"/>
                <a:gd name="T9" fmla="*/ 1 h 38"/>
                <a:gd name="T10" fmla="*/ 14 w 30"/>
                <a:gd name="T11" fmla="*/ 1 h 38"/>
                <a:gd name="T12" fmla="*/ 19 w 30"/>
                <a:gd name="T13" fmla="*/ 5 h 38"/>
                <a:gd name="T14" fmla="*/ 19 w 30"/>
                <a:gd name="T15" fmla="*/ 8 h 38"/>
                <a:gd name="T16" fmla="*/ 16 w 30"/>
                <a:gd name="T17" fmla="*/ 8 h 38"/>
                <a:gd name="T18" fmla="*/ 13 w 30"/>
                <a:gd name="T19" fmla="*/ 5 h 38"/>
                <a:gd name="T20" fmla="*/ 5 w 30"/>
                <a:gd name="T21" fmla="*/ 14 h 38"/>
                <a:gd name="T22" fmla="*/ 24 w 30"/>
                <a:gd name="T23" fmla="*/ 33 h 38"/>
                <a:gd name="T24" fmla="*/ 26 w 30"/>
                <a:gd name="T25" fmla="*/ 31 h 38"/>
                <a:gd name="T26" fmla="*/ 29 w 30"/>
                <a:gd name="T27" fmla="*/ 31 h 38"/>
                <a:gd name="T28" fmla="*/ 29 w 30"/>
                <a:gd name="T29" fmla="*/ 34 h 38"/>
                <a:gd name="T30" fmla="*/ 25 w 30"/>
                <a:gd name="T31" fmla="*/ 37 h 38"/>
                <a:gd name="T32" fmla="*/ 24 w 30"/>
                <a:gd name="T33" fmla="*/ 3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0" h="38">
                  <a:moveTo>
                    <a:pt x="24" y="38"/>
                  </a:moveTo>
                  <a:cubicBezTo>
                    <a:pt x="24" y="38"/>
                    <a:pt x="23" y="37"/>
                    <a:pt x="23" y="37"/>
                  </a:cubicBezTo>
                  <a:cubicBezTo>
                    <a:pt x="1" y="15"/>
                    <a:pt x="1" y="15"/>
                    <a:pt x="1" y="15"/>
                  </a:cubicBezTo>
                  <a:cubicBezTo>
                    <a:pt x="0" y="14"/>
                    <a:pt x="0" y="13"/>
                    <a:pt x="1" y="12"/>
                  </a:cubicBezTo>
                  <a:cubicBezTo>
                    <a:pt x="12" y="1"/>
                    <a:pt x="12" y="1"/>
                    <a:pt x="12" y="1"/>
                  </a:cubicBezTo>
                  <a:cubicBezTo>
                    <a:pt x="12" y="0"/>
                    <a:pt x="14" y="0"/>
                    <a:pt x="14" y="1"/>
                  </a:cubicBezTo>
                  <a:cubicBezTo>
                    <a:pt x="19" y="5"/>
                    <a:pt x="19" y="5"/>
                    <a:pt x="19" y="5"/>
                  </a:cubicBezTo>
                  <a:cubicBezTo>
                    <a:pt x="19" y="6"/>
                    <a:pt x="19" y="7"/>
                    <a:pt x="19" y="8"/>
                  </a:cubicBezTo>
                  <a:cubicBezTo>
                    <a:pt x="18" y="9"/>
                    <a:pt x="17" y="9"/>
                    <a:pt x="16" y="8"/>
                  </a:cubicBezTo>
                  <a:cubicBezTo>
                    <a:pt x="13" y="5"/>
                    <a:pt x="13" y="5"/>
                    <a:pt x="13" y="5"/>
                  </a:cubicBezTo>
                  <a:cubicBezTo>
                    <a:pt x="5" y="14"/>
                    <a:pt x="5" y="14"/>
                    <a:pt x="5" y="14"/>
                  </a:cubicBezTo>
                  <a:cubicBezTo>
                    <a:pt x="24" y="33"/>
                    <a:pt x="24" y="33"/>
                    <a:pt x="24" y="33"/>
                  </a:cubicBezTo>
                  <a:cubicBezTo>
                    <a:pt x="26" y="31"/>
                    <a:pt x="26" y="31"/>
                    <a:pt x="26" y="31"/>
                  </a:cubicBezTo>
                  <a:cubicBezTo>
                    <a:pt x="27" y="30"/>
                    <a:pt x="28" y="30"/>
                    <a:pt x="29" y="31"/>
                  </a:cubicBezTo>
                  <a:cubicBezTo>
                    <a:pt x="30" y="31"/>
                    <a:pt x="30" y="33"/>
                    <a:pt x="29" y="34"/>
                  </a:cubicBezTo>
                  <a:cubicBezTo>
                    <a:pt x="25" y="37"/>
                    <a:pt x="25" y="37"/>
                    <a:pt x="25" y="37"/>
                  </a:cubicBezTo>
                  <a:cubicBezTo>
                    <a:pt x="25" y="37"/>
                    <a:pt x="25" y="38"/>
                    <a:pt x="24" y="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Arial"/>
                <a:cs typeface="+mn-cs"/>
              </a:endParaRPr>
            </a:p>
          </p:txBody>
        </p:sp>
        <p:sp>
          <p:nvSpPr>
            <p:cNvPr id="63" name="Freeform 24">
              <a:extLst>
                <a:ext uri="{FF2B5EF4-FFF2-40B4-BE49-F238E27FC236}">
                  <a16:creationId xmlns:a16="http://schemas.microsoft.com/office/drawing/2014/main" id="{B669FDAB-413E-4AE1-BB48-85B2643267EE}"/>
                </a:ext>
              </a:extLst>
            </p:cNvPr>
            <p:cNvSpPr>
              <a:spLocks/>
            </p:cNvSpPr>
            <p:nvPr/>
          </p:nvSpPr>
          <p:spPr bwMode="auto">
            <a:xfrm>
              <a:off x="3479801" y="2940050"/>
              <a:ext cx="288925" cy="250825"/>
            </a:xfrm>
            <a:custGeom>
              <a:avLst/>
              <a:gdLst>
                <a:gd name="T0" fmla="*/ 76 w 77"/>
                <a:gd name="T1" fmla="*/ 12 h 66"/>
                <a:gd name="T2" fmla="*/ 65 w 77"/>
                <a:gd name="T3" fmla="*/ 1 h 66"/>
                <a:gd name="T4" fmla="*/ 63 w 77"/>
                <a:gd name="T5" fmla="*/ 1 h 66"/>
                <a:gd name="T6" fmla="*/ 25 w 77"/>
                <a:gd name="T7" fmla="*/ 39 h 66"/>
                <a:gd name="T8" fmla="*/ 15 w 77"/>
                <a:gd name="T9" fmla="*/ 29 h 66"/>
                <a:gd name="T10" fmla="*/ 12 w 77"/>
                <a:gd name="T11" fmla="*/ 29 h 66"/>
                <a:gd name="T12" fmla="*/ 1 w 77"/>
                <a:gd name="T13" fmla="*/ 40 h 66"/>
                <a:gd name="T14" fmla="*/ 1 w 77"/>
                <a:gd name="T15" fmla="*/ 43 h 66"/>
                <a:gd name="T16" fmla="*/ 23 w 77"/>
                <a:gd name="T17" fmla="*/ 65 h 66"/>
                <a:gd name="T18" fmla="*/ 25 w 77"/>
                <a:gd name="T19" fmla="*/ 66 h 66"/>
                <a:gd name="T20" fmla="*/ 26 w 77"/>
                <a:gd name="T21" fmla="*/ 65 h 66"/>
                <a:gd name="T22" fmla="*/ 76 w 77"/>
                <a:gd name="T23" fmla="*/ 15 h 66"/>
                <a:gd name="T24" fmla="*/ 76 w 77"/>
                <a:gd name="T25" fmla="*/ 1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7" h="66">
                  <a:moveTo>
                    <a:pt x="76" y="12"/>
                  </a:moveTo>
                  <a:cubicBezTo>
                    <a:pt x="65" y="1"/>
                    <a:pt x="65" y="1"/>
                    <a:pt x="65" y="1"/>
                  </a:cubicBezTo>
                  <a:cubicBezTo>
                    <a:pt x="65" y="0"/>
                    <a:pt x="63" y="0"/>
                    <a:pt x="63" y="1"/>
                  </a:cubicBezTo>
                  <a:cubicBezTo>
                    <a:pt x="25" y="39"/>
                    <a:pt x="25" y="39"/>
                    <a:pt x="25" y="39"/>
                  </a:cubicBezTo>
                  <a:cubicBezTo>
                    <a:pt x="15" y="29"/>
                    <a:pt x="15" y="29"/>
                    <a:pt x="15" y="29"/>
                  </a:cubicBezTo>
                  <a:cubicBezTo>
                    <a:pt x="14" y="28"/>
                    <a:pt x="13" y="28"/>
                    <a:pt x="12" y="29"/>
                  </a:cubicBezTo>
                  <a:cubicBezTo>
                    <a:pt x="1" y="40"/>
                    <a:pt x="1" y="40"/>
                    <a:pt x="1" y="40"/>
                  </a:cubicBezTo>
                  <a:cubicBezTo>
                    <a:pt x="0" y="41"/>
                    <a:pt x="0" y="42"/>
                    <a:pt x="1" y="43"/>
                  </a:cubicBezTo>
                  <a:cubicBezTo>
                    <a:pt x="23" y="65"/>
                    <a:pt x="23" y="65"/>
                    <a:pt x="23" y="65"/>
                  </a:cubicBezTo>
                  <a:cubicBezTo>
                    <a:pt x="24" y="65"/>
                    <a:pt x="24" y="66"/>
                    <a:pt x="25" y="66"/>
                  </a:cubicBezTo>
                  <a:cubicBezTo>
                    <a:pt x="25" y="66"/>
                    <a:pt x="26" y="65"/>
                    <a:pt x="26" y="65"/>
                  </a:cubicBezTo>
                  <a:cubicBezTo>
                    <a:pt x="76" y="15"/>
                    <a:pt x="76" y="15"/>
                    <a:pt x="76" y="15"/>
                  </a:cubicBezTo>
                  <a:cubicBezTo>
                    <a:pt x="77" y="14"/>
                    <a:pt x="77" y="13"/>
                    <a:pt x="7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Arial"/>
                <a:cs typeface="+mn-cs"/>
              </a:endParaRPr>
            </a:p>
          </p:txBody>
        </p:sp>
      </p:grpSp>
      <p:sp>
        <p:nvSpPr>
          <p:cNvPr id="64" name="Freeform 48">
            <a:extLst>
              <a:ext uri="{FF2B5EF4-FFF2-40B4-BE49-F238E27FC236}">
                <a16:creationId xmlns:a16="http://schemas.microsoft.com/office/drawing/2014/main" id="{892F515C-462B-4380-B8AE-9BF6895CF0C7}"/>
              </a:ext>
            </a:extLst>
          </p:cNvPr>
          <p:cNvSpPr>
            <a:spLocks noEditPoints="1"/>
          </p:cNvSpPr>
          <p:nvPr/>
        </p:nvSpPr>
        <p:spPr bwMode="auto">
          <a:xfrm>
            <a:off x="7798992" y="2068277"/>
            <a:ext cx="202590" cy="211882"/>
          </a:xfrm>
          <a:custGeom>
            <a:avLst/>
            <a:gdLst>
              <a:gd name="T0" fmla="*/ 2 w 92"/>
              <a:gd name="T1" fmla="*/ 0 h 96"/>
              <a:gd name="T2" fmla="*/ 0 w 92"/>
              <a:gd name="T3" fmla="*/ 94 h 96"/>
              <a:gd name="T4" fmla="*/ 90 w 92"/>
              <a:gd name="T5" fmla="*/ 96 h 96"/>
              <a:gd name="T6" fmla="*/ 92 w 92"/>
              <a:gd name="T7" fmla="*/ 2 h 96"/>
              <a:gd name="T8" fmla="*/ 22 w 92"/>
              <a:gd name="T9" fmla="*/ 84 h 96"/>
              <a:gd name="T10" fmla="*/ 22 w 92"/>
              <a:gd name="T11" fmla="*/ 68 h 96"/>
              <a:gd name="T12" fmla="*/ 22 w 92"/>
              <a:gd name="T13" fmla="*/ 84 h 96"/>
              <a:gd name="T14" fmla="*/ 30 w 92"/>
              <a:gd name="T15" fmla="*/ 44 h 96"/>
              <a:gd name="T16" fmla="*/ 24 w 92"/>
              <a:gd name="T17" fmla="*/ 58 h 96"/>
              <a:gd name="T18" fmla="*/ 20 w 92"/>
              <a:gd name="T19" fmla="*/ 58 h 96"/>
              <a:gd name="T20" fmla="*/ 14 w 92"/>
              <a:gd name="T21" fmla="*/ 44 h 96"/>
              <a:gd name="T22" fmla="*/ 12 w 92"/>
              <a:gd name="T23" fmla="*/ 34 h 96"/>
              <a:gd name="T24" fmla="*/ 20 w 92"/>
              <a:gd name="T25" fmla="*/ 32 h 96"/>
              <a:gd name="T26" fmla="*/ 22 w 92"/>
              <a:gd name="T27" fmla="*/ 12 h 96"/>
              <a:gd name="T28" fmla="*/ 24 w 92"/>
              <a:gd name="T29" fmla="*/ 32 h 96"/>
              <a:gd name="T30" fmla="*/ 32 w 92"/>
              <a:gd name="T31" fmla="*/ 34 h 96"/>
              <a:gd name="T32" fmla="*/ 46 w 92"/>
              <a:gd name="T33" fmla="*/ 84 h 96"/>
              <a:gd name="T34" fmla="*/ 46 w 92"/>
              <a:gd name="T35" fmla="*/ 68 h 96"/>
              <a:gd name="T36" fmla="*/ 46 w 92"/>
              <a:gd name="T37" fmla="*/ 84 h 96"/>
              <a:gd name="T38" fmla="*/ 54 w 92"/>
              <a:gd name="T39" fmla="*/ 32 h 96"/>
              <a:gd name="T40" fmla="*/ 48 w 92"/>
              <a:gd name="T41" fmla="*/ 58 h 96"/>
              <a:gd name="T42" fmla="*/ 44 w 92"/>
              <a:gd name="T43" fmla="*/ 58 h 96"/>
              <a:gd name="T44" fmla="*/ 38 w 92"/>
              <a:gd name="T45" fmla="*/ 32 h 96"/>
              <a:gd name="T46" fmla="*/ 36 w 92"/>
              <a:gd name="T47" fmla="*/ 22 h 96"/>
              <a:gd name="T48" fmla="*/ 44 w 92"/>
              <a:gd name="T49" fmla="*/ 20 h 96"/>
              <a:gd name="T50" fmla="*/ 46 w 92"/>
              <a:gd name="T51" fmla="*/ 12 h 96"/>
              <a:gd name="T52" fmla="*/ 48 w 92"/>
              <a:gd name="T53" fmla="*/ 20 h 96"/>
              <a:gd name="T54" fmla="*/ 56 w 92"/>
              <a:gd name="T55" fmla="*/ 22 h 96"/>
              <a:gd name="T56" fmla="*/ 70 w 92"/>
              <a:gd name="T57" fmla="*/ 84 h 96"/>
              <a:gd name="T58" fmla="*/ 70 w 92"/>
              <a:gd name="T59" fmla="*/ 68 h 96"/>
              <a:gd name="T60" fmla="*/ 70 w 92"/>
              <a:gd name="T61" fmla="*/ 84 h 96"/>
              <a:gd name="T62" fmla="*/ 78 w 92"/>
              <a:gd name="T63" fmla="*/ 52 h 96"/>
              <a:gd name="T64" fmla="*/ 72 w 92"/>
              <a:gd name="T65" fmla="*/ 58 h 96"/>
              <a:gd name="T66" fmla="*/ 68 w 92"/>
              <a:gd name="T67" fmla="*/ 58 h 96"/>
              <a:gd name="T68" fmla="*/ 62 w 92"/>
              <a:gd name="T69" fmla="*/ 52 h 96"/>
              <a:gd name="T70" fmla="*/ 60 w 92"/>
              <a:gd name="T71" fmla="*/ 42 h 96"/>
              <a:gd name="T72" fmla="*/ 68 w 92"/>
              <a:gd name="T73" fmla="*/ 40 h 96"/>
              <a:gd name="T74" fmla="*/ 70 w 92"/>
              <a:gd name="T75" fmla="*/ 12 h 96"/>
              <a:gd name="T76" fmla="*/ 72 w 92"/>
              <a:gd name="T77" fmla="*/ 40 h 96"/>
              <a:gd name="T78" fmla="*/ 80 w 92"/>
              <a:gd name="T79" fmla="*/ 4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2" h="96">
                <a:moveTo>
                  <a:pt x="90" y="0"/>
                </a:moveTo>
                <a:cubicBezTo>
                  <a:pt x="2" y="0"/>
                  <a:pt x="2" y="0"/>
                  <a:pt x="2" y="0"/>
                </a:cubicBezTo>
                <a:cubicBezTo>
                  <a:pt x="1" y="0"/>
                  <a:pt x="0" y="1"/>
                  <a:pt x="0" y="2"/>
                </a:cubicBezTo>
                <a:cubicBezTo>
                  <a:pt x="0" y="94"/>
                  <a:pt x="0" y="94"/>
                  <a:pt x="0" y="94"/>
                </a:cubicBezTo>
                <a:cubicBezTo>
                  <a:pt x="0" y="95"/>
                  <a:pt x="1" y="96"/>
                  <a:pt x="2" y="96"/>
                </a:cubicBezTo>
                <a:cubicBezTo>
                  <a:pt x="90" y="96"/>
                  <a:pt x="90" y="96"/>
                  <a:pt x="90" y="96"/>
                </a:cubicBezTo>
                <a:cubicBezTo>
                  <a:pt x="91" y="96"/>
                  <a:pt x="92" y="95"/>
                  <a:pt x="92" y="94"/>
                </a:cubicBezTo>
                <a:cubicBezTo>
                  <a:pt x="92" y="2"/>
                  <a:pt x="92" y="2"/>
                  <a:pt x="92" y="2"/>
                </a:cubicBezTo>
                <a:cubicBezTo>
                  <a:pt x="92" y="1"/>
                  <a:pt x="91" y="0"/>
                  <a:pt x="90" y="0"/>
                </a:cubicBezTo>
                <a:close/>
                <a:moveTo>
                  <a:pt x="22" y="84"/>
                </a:moveTo>
                <a:cubicBezTo>
                  <a:pt x="18" y="84"/>
                  <a:pt x="14" y="80"/>
                  <a:pt x="14" y="76"/>
                </a:cubicBezTo>
                <a:cubicBezTo>
                  <a:pt x="14" y="72"/>
                  <a:pt x="18" y="68"/>
                  <a:pt x="22" y="68"/>
                </a:cubicBezTo>
                <a:cubicBezTo>
                  <a:pt x="26" y="68"/>
                  <a:pt x="30" y="72"/>
                  <a:pt x="30" y="76"/>
                </a:cubicBezTo>
                <a:cubicBezTo>
                  <a:pt x="30" y="80"/>
                  <a:pt x="26" y="84"/>
                  <a:pt x="22" y="84"/>
                </a:cubicBezTo>
                <a:close/>
                <a:moveTo>
                  <a:pt x="32" y="42"/>
                </a:moveTo>
                <a:cubicBezTo>
                  <a:pt x="32" y="43"/>
                  <a:pt x="31" y="44"/>
                  <a:pt x="30" y="44"/>
                </a:cubicBezTo>
                <a:cubicBezTo>
                  <a:pt x="24" y="44"/>
                  <a:pt x="24" y="44"/>
                  <a:pt x="24" y="44"/>
                </a:cubicBezTo>
                <a:cubicBezTo>
                  <a:pt x="24" y="58"/>
                  <a:pt x="24" y="58"/>
                  <a:pt x="24" y="58"/>
                </a:cubicBezTo>
                <a:cubicBezTo>
                  <a:pt x="24" y="59"/>
                  <a:pt x="23" y="60"/>
                  <a:pt x="22" y="60"/>
                </a:cubicBezTo>
                <a:cubicBezTo>
                  <a:pt x="21" y="60"/>
                  <a:pt x="20" y="59"/>
                  <a:pt x="20" y="58"/>
                </a:cubicBezTo>
                <a:cubicBezTo>
                  <a:pt x="20" y="44"/>
                  <a:pt x="20" y="44"/>
                  <a:pt x="20" y="44"/>
                </a:cubicBezTo>
                <a:cubicBezTo>
                  <a:pt x="14" y="44"/>
                  <a:pt x="14" y="44"/>
                  <a:pt x="14" y="44"/>
                </a:cubicBezTo>
                <a:cubicBezTo>
                  <a:pt x="13" y="44"/>
                  <a:pt x="12" y="43"/>
                  <a:pt x="12" y="42"/>
                </a:cubicBezTo>
                <a:cubicBezTo>
                  <a:pt x="12" y="34"/>
                  <a:pt x="12" y="34"/>
                  <a:pt x="12" y="34"/>
                </a:cubicBezTo>
                <a:cubicBezTo>
                  <a:pt x="12" y="33"/>
                  <a:pt x="13" y="32"/>
                  <a:pt x="14" y="32"/>
                </a:cubicBezTo>
                <a:cubicBezTo>
                  <a:pt x="20" y="32"/>
                  <a:pt x="20" y="32"/>
                  <a:pt x="20" y="32"/>
                </a:cubicBezTo>
                <a:cubicBezTo>
                  <a:pt x="20" y="14"/>
                  <a:pt x="20" y="14"/>
                  <a:pt x="20" y="14"/>
                </a:cubicBezTo>
                <a:cubicBezTo>
                  <a:pt x="20" y="13"/>
                  <a:pt x="21" y="12"/>
                  <a:pt x="22" y="12"/>
                </a:cubicBezTo>
                <a:cubicBezTo>
                  <a:pt x="23" y="12"/>
                  <a:pt x="24" y="13"/>
                  <a:pt x="24" y="14"/>
                </a:cubicBezTo>
                <a:cubicBezTo>
                  <a:pt x="24" y="32"/>
                  <a:pt x="24" y="32"/>
                  <a:pt x="24" y="32"/>
                </a:cubicBezTo>
                <a:cubicBezTo>
                  <a:pt x="30" y="32"/>
                  <a:pt x="30" y="32"/>
                  <a:pt x="30" y="32"/>
                </a:cubicBezTo>
                <a:cubicBezTo>
                  <a:pt x="31" y="32"/>
                  <a:pt x="32" y="33"/>
                  <a:pt x="32" y="34"/>
                </a:cubicBezTo>
                <a:lnTo>
                  <a:pt x="32" y="42"/>
                </a:lnTo>
                <a:close/>
                <a:moveTo>
                  <a:pt x="46" y="84"/>
                </a:moveTo>
                <a:cubicBezTo>
                  <a:pt x="42" y="84"/>
                  <a:pt x="38" y="80"/>
                  <a:pt x="38" y="76"/>
                </a:cubicBezTo>
                <a:cubicBezTo>
                  <a:pt x="38" y="72"/>
                  <a:pt x="42" y="68"/>
                  <a:pt x="46" y="68"/>
                </a:cubicBezTo>
                <a:cubicBezTo>
                  <a:pt x="50" y="68"/>
                  <a:pt x="54" y="72"/>
                  <a:pt x="54" y="76"/>
                </a:cubicBezTo>
                <a:cubicBezTo>
                  <a:pt x="54" y="80"/>
                  <a:pt x="50" y="84"/>
                  <a:pt x="46" y="84"/>
                </a:cubicBezTo>
                <a:close/>
                <a:moveTo>
                  <a:pt x="56" y="30"/>
                </a:moveTo>
                <a:cubicBezTo>
                  <a:pt x="56" y="31"/>
                  <a:pt x="55" y="32"/>
                  <a:pt x="54" y="32"/>
                </a:cubicBezTo>
                <a:cubicBezTo>
                  <a:pt x="48" y="32"/>
                  <a:pt x="48" y="32"/>
                  <a:pt x="48" y="32"/>
                </a:cubicBezTo>
                <a:cubicBezTo>
                  <a:pt x="48" y="58"/>
                  <a:pt x="48" y="58"/>
                  <a:pt x="48" y="58"/>
                </a:cubicBezTo>
                <a:cubicBezTo>
                  <a:pt x="48" y="59"/>
                  <a:pt x="47" y="60"/>
                  <a:pt x="46" y="60"/>
                </a:cubicBezTo>
                <a:cubicBezTo>
                  <a:pt x="45" y="60"/>
                  <a:pt x="44" y="59"/>
                  <a:pt x="44" y="58"/>
                </a:cubicBezTo>
                <a:cubicBezTo>
                  <a:pt x="44" y="32"/>
                  <a:pt x="44" y="32"/>
                  <a:pt x="44" y="32"/>
                </a:cubicBezTo>
                <a:cubicBezTo>
                  <a:pt x="38" y="32"/>
                  <a:pt x="38" y="32"/>
                  <a:pt x="38" y="32"/>
                </a:cubicBezTo>
                <a:cubicBezTo>
                  <a:pt x="37" y="32"/>
                  <a:pt x="36" y="31"/>
                  <a:pt x="36" y="30"/>
                </a:cubicBezTo>
                <a:cubicBezTo>
                  <a:pt x="36" y="22"/>
                  <a:pt x="36" y="22"/>
                  <a:pt x="36" y="22"/>
                </a:cubicBezTo>
                <a:cubicBezTo>
                  <a:pt x="36" y="21"/>
                  <a:pt x="37" y="20"/>
                  <a:pt x="38" y="20"/>
                </a:cubicBezTo>
                <a:cubicBezTo>
                  <a:pt x="44" y="20"/>
                  <a:pt x="44" y="20"/>
                  <a:pt x="44" y="20"/>
                </a:cubicBezTo>
                <a:cubicBezTo>
                  <a:pt x="44" y="14"/>
                  <a:pt x="44" y="14"/>
                  <a:pt x="44" y="14"/>
                </a:cubicBezTo>
                <a:cubicBezTo>
                  <a:pt x="44" y="13"/>
                  <a:pt x="45" y="12"/>
                  <a:pt x="46" y="12"/>
                </a:cubicBezTo>
                <a:cubicBezTo>
                  <a:pt x="47" y="12"/>
                  <a:pt x="48" y="13"/>
                  <a:pt x="48" y="14"/>
                </a:cubicBezTo>
                <a:cubicBezTo>
                  <a:pt x="48" y="20"/>
                  <a:pt x="48" y="20"/>
                  <a:pt x="48" y="20"/>
                </a:cubicBezTo>
                <a:cubicBezTo>
                  <a:pt x="54" y="20"/>
                  <a:pt x="54" y="20"/>
                  <a:pt x="54" y="20"/>
                </a:cubicBezTo>
                <a:cubicBezTo>
                  <a:pt x="55" y="20"/>
                  <a:pt x="56" y="21"/>
                  <a:pt x="56" y="22"/>
                </a:cubicBezTo>
                <a:lnTo>
                  <a:pt x="56" y="30"/>
                </a:lnTo>
                <a:close/>
                <a:moveTo>
                  <a:pt x="70" y="84"/>
                </a:moveTo>
                <a:cubicBezTo>
                  <a:pt x="66" y="84"/>
                  <a:pt x="62" y="80"/>
                  <a:pt x="62" y="76"/>
                </a:cubicBezTo>
                <a:cubicBezTo>
                  <a:pt x="62" y="72"/>
                  <a:pt x="66" y="68"/>
                  <a:pt x="70" y="68"/>
                </a:cubicBezTo>
                <a:cubicBezTo>
                  <a:pt x="75" y="68"/>
                  <a:pt x="78" y="72"/>
                  <a:pt x="78" y="76"/>
                </a:cubicBezTo>
                <a:cubicBezTo>
                  <a:pt x="78" y="80"/>
                  <a:pt x="75" y="84"/>
                  <a:pt x="70" y="84"/>
                </a:cubicBezTo>
                <a:close/>
                <a:moveTo>
                  <a:pt x="80" y="50"/>
                </a:moveTo>
                <a:cubicBezTo>
                  <a:pt x="80" y="51"/>
                  <a:pt x="79" y="52"/>
                  <a:pt x="78" y="52"/>
                </a:cubicBezTo>
                <a:cubicBezTo>
                  <a:pt x="72" y="52"/>
                  <a:pt x="72" y="52"/>
                  <a:pt x="72" y="52"/>
                </a:cubicBezTo>
                <a:cubicBezTo>
                  <a:pt x="72" y="58"/>
                  <a:pt x="72" y="58"/>
                  <a:pt x="72" y="58"/>
                </a:cubicBezTo>
                <a:cubicBezTo>
                  <a:pt x="72" y="59"/>
                  <a:pt x="71" y="60"/>
                  <a:pt x="70" y="60"/>
                </a:cubicBezTo>
                <a:cubicBezTo>
                  <a:pt x="69" y="60"/>
                  <a:pt x="68" y="59"/>
                  <a:pt x="68" y="58"/>
                </a:cubicBezTo>
                <a:cubicBezTo>
                  <a:pt x="68" y="52"/>
                  <a:pt x="68" y="52"/>
                  <a:pt x="68" y="52"/>
                </a:cubicBezTo>
                <a:cubicBezTo>
                  <a:pt x="62" y="52"/>
                  <a:pt x="62" y="52"/>
                  <a:pt x="62" y="52"/>
                </a:cubicBezTo>
                <a:cubicBezTo>
                  <a:pt x="61" y="52"/>
                  <a:pt x="60" y="51"/>
                  <a:pt x="60" y="50"/>
                </a:cubicBezTo>
                <a:cubicBezTo>
                  <a:pt x="60" y="42"/>
                  <a:pt x="60" y="42"/>
                  <a:pt x="60" y="42"/>
                </a:cubicBezTo>
                <a:cubicBezTo>
                  <a:pt x="60" y="41"/>
                  <a:pt x="61" y="40"/>
                  <a:pt x="62" y="40"/>
                </a:cubicBezTo>
                <a:cubicBezTo>
                  <a:pt x="68" y="40"/>
                  <a:pt x="68" y="40"/>
                  <a:pt x="68" y="40"/>
                </a:cubicBezTo>
                <a:cubicBezTo>
                  <a:pt x="68" y="14"/>
                  <a:pt x="68" y="14"/>
                  <a:pt x="68" y="14"/>
                </a:cubicBezTo>
                <a:cubicBezTo>
                  <a:pt x="68" y="13"/>
                  <a:pt x="69" y="12"/>
                  <a:pt x="70" y="12"/>
                </a:cubicBezTo>
                <a:cubicBezTo>
                  <a:pt x="71" y="12"/>
                  <a:pt x="72" y="13"/>
                  <a:pt x="72" y="14"/>
                </a:cubicBezTo>
                <a:cubicBezTo>
                  <a:pt x="72" y="40"/>
                  <a:pt x="72" y="40"/>
                  <a:pt x="72" y="40"/>
                </a:cubicBezTo>
                <a:cubicBezTo>
                  <a:pt x="78" y="40"/>
                  <a:pt x="78" y="40"/>
                  <a:pt x="78" y="40"/>
                </a:cubicBezTo>
                <a:cubicBezTo>
                  <a:pt x="79" y="40"/>
                  <a:pt x="80" y="41"/>
                  <a:pt x="80" y="42"/>
                </a:cubicBezTo>
                <a:lnTo>
                  <a:pt x="80" y="50"/>
                </a:lnTo>
                <a:close/>
              </a:path>
            </a:pathLst>
          </a:custGeom>
          <a:gradFill flip="none" rotWithShape="1">
            <a:gsLst>
              <a:gs pos="100000">
                <a:schemeClr val="accent1"/>
              </a:gs>
              <a:gs pos="0">
                <a:schemeClr val="accent1"/>
              </a:gs>
            </a:gsLst>
            <a:lin ang="270000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Arial"/>
              <a:cs typeface="+mn-cs"/>
            </a:endParaRPr>
          </a:p>
        </p:txBody>
      </p:sp>
      <p:grpSp>
        <p:nvGrpSpPr>
          <p:cNvPr id="65" name="Group 173">
            <a:extLst>
              <a:ext uri="{FF2B5EF4-FFF2-40B4-BE49-F238E27FC236}">
                <a16:creationId xmlns:a16="http://schemas.microsoft.com/office/drawing/2014/main" id="{41BF13B3-5EF1-4259-89A3-454F33C7EA0E}"/>
              </a:ext>
            </a:extLst>
          </p:cNvPr>
          <p:cNvGrpSpPr/>
          <p:nvPr/>
        </p:nvGrpSpPr>
        <p:grpSpPr>
          <a:xfrm>
            <a:off x="6784383" y="5427774"/>
            <a:ext cx="210956" cy="211882"/>
            <a:chOff x="7718425" y="3248025"/>
            <a:chExt cx="360363" cy="361951"/>
          </a:xfrm>
          <a:gradFill>
            <a:gsLst>
              <a:gs pos="100000">
                <a:srgbClr val="0098DB"/>
              </a:gs>
              <a:gs pos="0">
                <a:srgbClr val="00497A"/>
              </a:gs>
            </a:gsLst>
            <a:lin ang="2700000" scaled="1"/>
          </a:gradFill>
        </p:grpSpPr>
        <p:sp>
          <p:nvSpPr>
            <p:cNvPr id="66" name="Freeform 63">
              <a:extLst>
                <a:ext uri="{FF2B5EF4-FFF2-40B4-BE49-F238E27FC236}">
                  <a16:creationId xmlns:a16="http://schemas.microsoft.com/office/drawing/2014/main" id="{88CE474E-255E-4AEB-A6C1-9AA2E4A4421A}"/>
                </a:ext>
              </a:extLst>
            </p:cNvPr>
            <p:cNvSpPr>
              <a:spLocks/>
            </p:cNvSpPr>
            <p:nvPr/>
          </p:nvSpPr>
          <p:spPr bwMode="auto">
            <a:xfrm>
              <a:off x="7718425" y="3248025"/>
              <a:ext cx="360363" cy="331788"/>
            </a:xfrm>
            <a:custGeom>
              <a:avLst/>
              <a:gdLst>
                <a:gd name="T0" fmla="*/ 20 w 96"/>
                <a:gd name="T1" fmla="*/ 88 h 88"/>
                <a:gd name="T2" fmla="*/ 8 w 96"/>
                <a:gd name="T3" fmla="*/ 75 h 88"/>
                <a:gd name="T4" fmla="*/ 17 w 96"/>
                <a:gd name="T5" fmla="*/ 65 h 88"/>
                <a:gd name="T6" fmla="*/ 2 w 96"/>
                <a:gd name="T7" fmla="*/ 56 h 88"/>
                <a:gd name="T8" fmla="*/ 0 w 96"/>
                <a:gd name="T9" fmla="*/ 42 h 88"/>
                <a:gd name="T10" fmla="*/ 13 w 96"/>
                <a:gd name="T11" fmla="*/ 40 h 88"/>
                <a:gd name="T12" fmla="*/ 8 w 96"/>
                <a:gd name="T13" fmla="*/ 23 h 88"/>
                <a:gd name="T14" fmla="*/ 8 w 96"/>
                <a:gd name="T15" fmla="*/ 20 h 88"/>
                <a:gd name="T16" fmla="*/ 23 w 96"/>
                <a:gd name="T17" fmla="*/ 8 h 88"/>
                <a:gd name="T18" fmla="*/ 40 w 96"/>
                <a:gd name="T19" fmla="*/ 13 h 88"/>
                <a:gd name="T20" fmla="*/ 42 w 96"/>
                <a:gd name="T21" fmla="*/ 0 h 88"/>
                <a:gd name="T22" fmla="*/ 56 w 96"/>
                <a:gd name="T23" fmla="*/ 2 h 88"/>
                <a:gd name="T24" fmla="*/ 65 w 96"/>
                <a:gd name="T25" fmla="*/ 17 h 88"/>
                <a:gd name="T26" fmla="*/ 76 w 96"/>
                <a:gd name="T27" fmla="*/ 8 h 88"/>
                <a:gd name="T28" fmla="*/ 88 w 96"/>
                <a:gd name="T29" fmla="*/ 21 h 88"/>
                <a:gd name="T30" fmla="*/ 79 w 96"/>
                <a:gd name="T31" fmla="*/ 31 h 88"/>
                <a:gd name="T32" fmla="*/ 94 w 96"/>
                <a:gd name="T33" fmla="*/ 40 h 88"/>
                <a:gd name="T34" fmla="*/ 96 w 96"/>
                <a:gd name="T35" fmla="*/ 54 h 88"/>
                <a:gd name="T36" fmla="*/ 83 w 96"/>
                <a:gd name="T37" fmla="*/ 56 h 88"/>
                <a:gd name="T38" fmla="*/ 88 w 96"/>
                <a:gd name="T39" fmla="*/ 73 h 88"/>
                <a:gd name="T40" fmla="*/ 76 w 96"/>
                <a:gd name="T41" fmla="*/ 88 h 88"/>
                <a:gd name="T42" fmla="*/ 64 w 96"/>
                <a:gd name="T43" fmla="*/ 78 h 88"/>
                <a:gd name="T44" fmla="*/ 67 w 96"/>
                <a:gd name="T45" fmla="*/ 76 h 88"/>
                <a:gd name="T46" fmla="*/ 83 w 96"/>
                <a:gd name="T47" fmla="*/ 75 h 88"/>
                <a:gd name="T48" fmla="*/ 75 w 96"/>
                <a:gd name="T49" fmla="*/ 65 h 88"/>
                <a:gd name="T50" fmla="*/ 81 w 96"/>
                <a:gd name="T51" fmla="*/ 52 h 88"/>
                <a:gd name="T52" fmla="*/ 92 w 96"/>
                <a:gd name="T53" fmla="*/ 44 h 88"/>
                <a:gd name="T54" fmla="*/ 79 w 96"/>
                <a:gd name="T55" fmla="*/ 42 h 88"/>
                <a:gd name="T56" fmla="*/ 76 w 96"/>
                <a:gd name="T57" fmla="*/ 29 h 88"/>
                <a:gd name="T58" fmla="*/ 75 w 96"/>
                <a:gd name="T59" fmla="*/ 13 h 88"/>
                <a:gd name="T60" fmla="*/ 65 w 96"/>
                <a:gd name="T61" fmla="*/ 21 h 88"/>
                <a:gd name="T62" fmla="*/ 52 w 96"/>
                <a:gd name="T63" fmla="*/ 15 h 88"/>
                <a:gd name="T64" fmla="*/ 44 w 96"/>
                <a:gd name="T65" fmla="*/ 4 h 88"/>
                <a:gd name="T66" fmla="*/ 42 w 96"/>
                <a:gd name="T67" fmla="*/ 17 h 88"/>
                <a:gd name="T68" fmla="*/ 29 w 96"/>
                <a:gd name="T69" fmla="*/ 20 h 88"/>
                <a:gd name="T70" fmla="*/ 13 w 96"/>
                <a:gd name="T71" fmla="*/ 21 h 88"/>
                <a:gd name="T72" fmla="*/ 21 w 96"/>
                <a:gd name="T73" fmla="*/ 31 h 88"/>
                <a:gd name="T74" fmla="*/ 15 w 96"/>
                <a:gd name="T75" fmla="*/ 44 h 88"/>
                <a:gd name="T76" fmla="*/ 4 w 96"/>
                <a:gd name="T77" fmla="*/ 52 h 88"/>
                <a:gd name="T78" fmla="*/ 17 w 96"/>
                <a:gd name="T79" fmla="*/ 54 h 88"/>
                <a:gd name="T80" fmla="*/ 20 w 96"/>
                <a:gd name="T81" fmla="*/ 67 h 88"/>
                <a:gd name="T82" fmla="*/ 21 w 96"/>
                <a:gd name="T83" fmla="*/ 83 h 88"/>
                <a:gd name="T84" fmla="*/ 32 w 96"/>
                <a:gd name="T85" fmla="*/ 76 h 88"/>
                <a:gd name="T86" fmla="*/ 23 w 96"/>
                <a:gd name="T87"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6" h="88">
                  <a:moveTo>
                    <a:pt x="21" y="88"/>
                  </a:moveTo>
                  <a:cubicBezTo>
                    <a:pt x="21" y="88"/>
                    <a:pt x="20" y="88"/>
                    <a:pt x="20" y="88"/>
                  </a:cubicBezTo>
                  <a:cubicBezTo>
                    <a:pt x="8" y="76"/>
                    <a:pt x="8" y="76"/>
                    <a:pt x="8" y="76"/>
                  </a:cubicBezTo>
                  <a:cubicBezTo>
                    <a:pt x="8" y="76"/>
                    <a:pt x="8" y="75"/>
                    <a:pt x="8" y="75"/>
                  </a:cubicBezTo>
                  <a:cubicBezTo>
                    <a:pt x="8" y="74"/>
                    <a:pt x="8" y="74"/>
                    <a:pt x="8" y="73"/>
                  </a:cubicBezTo>
                  <a:cubicBezTo>
                    <a:pt x="17" y="65"/>
                    <a:pt x="17" y="65"/>
                    <a:pt x="17" y="65"/>
                  </a:cubicBezTo>
                  <a:cubicBezTo>
                    <a:pt x="15" y="63"/>
                    <a:pt x="14" y="59"/>
                    <a:pt x="13" y="56"/>
                  </a:cubicBezTo>
                  <a:cubicBezTo>
                    <a:pt x="2" y="56"/>
                    <a:pt x="2" y="56"/>
                    <a:pt x="2" y="56"/>
                  </a:cubicBezTo>
                  <a:cubicBezTo>
                    <a:pt x="1" y="56"/>
                    <a:pt x="0" y="55"/>
                    <a:pt x="0" y="54"/>
                  </a:cubicBezTo>
                  <a:cubicBezTo>
                    <a:pt x="0" y="42"/>
                    <a:pt x="0" y="42"/>
                    <a:pt x="0" y="42"/>
                  </a:cubicBezTo>
                  <a:cubicBezTo>
                    <a:pt x="0" y="41"/>
                    <a:pt x="1" y="40"/>
                    <a:pt x="2" y="40"/>
                  </a:cubicBezTo>
                  <a:cubicBezTo>
                    <a:pt x="13" y="40"/>
                    <a:pt x="13" y="40"/>
                    <a:pt x="13" y="40"/>
                  </a:cubicBezTo>
                  <a:cubicBezTo>
                    <a:pt x="14" y="37"/>
                    <a:pt x="15" y="33"/>
                    <a:pt x="17" y="31"/>
                  </a:cubicBezTo>
                  <a:cubicBezTo>
                    <a:pt x="8" y="23"/>
                    <a:pt x="8" y="23"/>
                    <a:pt x="8" y="23"/>
                  </a:cubicBezTo>
                  <a:cubicBezTo>
                    <a:pt x="8" y="22"/>
                    <a:pt x="8" y="22"/>
                    <a:pt x="8" y="21"/>
                  </a:cubicBezTo>
                  <a:cubicBezTo>
                    <a:pt x="8" y="21"/>
                    <a:pt x="8" y="20"/>
                    <a:pt x="8" y="20"/>
                  </a:cubicBezTo>
                  <a:cubicBezTo>
                    <a:pt x="20" y="8"/>
                    <a:pt x="20" y="8"/>
                    <a:pt x="20" y="8"/>
                  </a:cubicBezTo>
                  <a:cubicBezTo>
                    <a:pt x="20" y="8"/>
                    <a:pt x="22" y="8"/>
                    <a:pt x="23" y="8"/>
                  </a:cubicBezTo>
                  <a:cubicBezTo>
                    <a:pt x="31" y="17"/>
                    <a:pt x="31" y="17"/>
                    <a:pt x="31" y="17"/>
                  </a:cubicBezTo>
                  <a:cubicBezTo>
                    <a:pt x="33" y="15"/>
                    <a:pt x="37" y="14"/>
                    <a:pt x="40" y="13"/>
                  </a:cubicBezTo>
                  <a:cubicBezTo>
                    <a:pt x="40" y="2"/>
                    <a:pt x="40" y="2"/>
                    <a:pt x="40" y="2"/>
                  </a:cubicBezTo>
                  <a:cubicBezTo>
                    <a:pt x="40" y="1"/>
                    <a:pt x="41" y="0"/>
                    <a:pt x="42" y="0"/>
                  </a:cubicBezTo>
                  <a:cubicBezTo>
                    <a:pt x="54" y="0"/>
                    <a:pt x="54" y="0"/>
                    <a:pt x="54" y="0"/>
                  </a:cubicBezTo>
                  <a:cubicBezTo>
                    <a:pt x="55" y="0"/>
                    <a:pt x="56" y="1"/>
                    <a:pt x="56" y="2"/>
                  </a:cubicBezTo>
                  <a:cubicBezTo>
                    <a:pt x="56" y="13"/>
                    <a:pt x="56" y="13"/>
                    <a:pt x="56" y="13"/>
                  </a:cubicBezTo>
                  <a:cubicBezTo>
                    <a:pt x="59" y="14"/>
                    <a:pt x="63" y="15"/>
                    <a:pt x="65" y="17"/>
                  </a:cubicBezTo>
                  <a:cubicBezTo>
                    <a:pt x="73" y="8"/>
                    <a:pt x="73" y="8"/>
                    <a:pt x="73" y="8"/>
                  </a:cubicBezTo>
                  <a:cubicBezTo>
                    <a:pt x="74" y="8"/>
                    <a:pt x="75" y="8"/>
                    <a:pt x="76" y="8"/>
                  </a:cubicBezTo>
                  <a:cubicBezTo>
                    <a:pt x="88" y="20"/>
                    <a:pt x="88" y="20"/>
                    <a:pt x="88" y="20"/>
                  </a:cubicBezTo>
                  <a:cubicBezTo>
                    <a:pt x="88" y="20"/>
                    <a:pt x="88" y="21"/>
                    <a:pt x="88" y="21"/>
                  </a:cubicBezTo>
                  <a:cubicBezTo>
                    <a:pt x="88" y="22"/>
                    <a:pt x="88" y="22"/>
                    <a:pt x="88" y="23"/>
                  </a:cubicBezTo>
                  <a:cubicBezTo>
                    <a:pt x="79" y="31"/>
                    <a:pt x="79" y="31"/>
                    <a:pt x="79" y="31"/>
                  </a:cubicBezTo>
                  <a:cubicBezTo>
                    <a:pt x="81" y="33"/>
                    <a:pt x="82" y="37"/>
                    <a:pt x="83" y="40"/>
                  </a:cubicBezTo>
                  <a:cubicBezTo>
                    <a:pt x="94" y="40"/>
                    <a:pt x="94" y="40"/>
                    <a:pt x="94" y="40"/>
                  </a:cubicBezTo>
                  <a:cubicBezTo>
                    <a:pt x="95" y="40"/>
                    <a:pt x="96" y="41"/>
                    <a:pt x="96" y="42"/>
                  </a:cubicBezTo>
                  <a:cubicBezTo>
                    <a:pt x="96" y="54"/>
                    <a:pt x="96" y="54"/>
                    <a:pt x="96" y="54"/>
                  </a:cubicBezTo>
                  <a:cubicBezTo>
                    <a:pt x="96" y="55"/>
                    <a:pt x="95" y="56"/>
                    <a:pt x="94" y="56"/>
                  </a:cubicBezTo>
                  <a:cubicBezTo>
                    <a:pt x="83" y="56"/>
                    <a:pt x="83" y="56"/>
                    <a:pt x="83" y="56"/>
                  </a:cubicBezTo>
                  <a:cubicBezTo>
                    <a:pt x="82" y="59"/>
                    <a:pt x="81" y="63"/>
                    <a:pt x="79" y="65"/>
                  </a:cubicBezTo>
                  <a:cubicBezTo>
                    <a:pt x="88" y="73"/>
                    <a:pt x="88" y="73"/>
                    <a:pt x="88" y="73"/>
                  </a:cubicBezTo>
                  <a:cubicBezTo>
                    <a:pt x="88" y="74"/>
                    <a:pt x="88" y="76"/>
                    <a:pt x="88" y="76"/>
                  </a:cubicBezTo>
                  <a:cubicBezTo>
                    <a:pt x="76" y="88"/>
                    <a:pt x="76" y="88"/>
                    <a:pt x="76" y="88"/>
                  </a:cubicBezTo>
                  <a:cubicBezTo>
                    <a:pt x="76" y="88"/>
                    <a:pt x="74" y="88"/>
                    <a:pt x="73" y="88"/>
                  </a:cubicBezTo>
                  <a:cubicBezTo>
                    <a:pt x="64" y="78"/>
                    <a:pt x="64" y="78"/>
                    <a:pt x="64" y="78"/>
                  </a:cubicBezTo>
                  <a:cubicBezTo>
                    <a:pt x="63" y="78"/>
                    <a:pt x="63" y="76"/>
                    <a:pt x="64" y="76"/>
                  </a:cubicBezTo>
                  <a:cubicBezTo>
                    <a:pt x="65" y="75"/>
                    <a:pt x="66" y="75"/>
                    <a:pt x="67" y="76"/>
                  </a:cubicBezTo>
                  <a:cubicBezTo>
                    <a:pt x="75" y="83"/>
                    <a:pt x="75" y="83"/>
                    <a:pt x="75" y="83"/>
                  </a:cubicBezTo>
                  <a:cubicBezTo>
                    <a:pt x="83" y="75"/>
                    <a:pt x="83" y="75"/>
                    <a:pt x="83" y="75"/>
                  </a:cubicBezTo>
                  <a:cubicBezTo>
                    <a:pt x="76" y="67"/>
                    <a:pt x="76" y="67"/>
                    <a:pt x="76" y="67"/>
                  </a:cubicBezTo>
                  <a:cubicBezTo>
                    <a:pt x="75" y="66"/>
                    <a:pt x="75" y="65"/>
                    <a:pt x="75" y="65"/>
                  </a:cubicBezTo>
                  <a:cubicBezTo>
                    <a:pt x="77" y="62"/>
                    <a:pt x="79" y="56"/>
                    <a:pt x="79" y="54"/>
                  </a:cubicBezTo>
                  <a:cubicBezTo>
                    <a:pt x="79" y="53"/>
                    <a:pt x="80" y="52"/>
                    <a:pt x="81" y="52"/>
                  </a:cubicBezTo>
                  <a:cubicBezTo>
                    <a:pt x="92" y="52"/>
                    <a:pt x="92" y="52"/>
                    <a:pt x="92" y="52"/>
                  </a:cubicBezTo>
                  <a:cubicBezTo>
                    <a:pt x="92" y="44"/>
                    <a:pt x="92" y="44"/>
                    <a:pt x="92" y="44"/>
                  </a:cubicBezTo>
                  <a:cubicBezTo>
                    <a:pt x="81" y="44"/>
                    <a:pt x="81" y="44"/>
                    <a:pt x="81" y="44"/>
                  </a:cubicBezTo>
                  <a:cubicBezTo>
                    <a:pt x="80" y="44"/>
                    <a:pt x="79" y="43"/>
                    <a:pt x="79" y="42"/>
                  </a:cubicBezTo>
                  <a:cubicBezTo>
                    <a:pt x="79" y="40"/>
                    <a:pt x="77" y="34"/>
                    <a:pt x="75" y="31"/>
                  </a:cubicBezTo>
                  <a:cubicBezTo>
                    <a:pt x="75" y="31"/>
                    <a:pt x="75" y="30"/>
                    <a:pt x="76" y="29"/>
                  </a:cubicBezTo>
                  <a:cubicBezTo>
                    <a:pt x="83" y="21"/>
                    <a:pt x="83" y="21"/>
                    <a:pt x="83" y="21"/>
                  </a:cubicBezTo>
                  <a:cubicBezTo>
                    <a:pt x="75" y="13"/>
                    <a:pt x="75" y="13"/>
                    <a:pt x="75" y="13"/>
                  </a:cubicBezTo>
                  <a:cubicBezTo>
                    <a:pt x="67" y="20"/>
                    <a:pt x="67" y="20"/>
                    <a:pt x="67" y="20"/>
                  </a:cubicBezTo>
                  <a:cubicBezTo>
                    <a:pt x="66" y="21"/>
                    <a:pt x="65" y="21"/>
                    <a:pt x="65" y="21"/>
                  </a:cubicBezTo>
                  <a:cubicBezTo>
                    <a:pt x="62" y="19"/>
                    <a:pt x="57" y="18"/>
                    <a:pt x="54" y="17"/>
                  </a:cubicBezTo>
                  <a:cubicBezTo>
                    <a:pt x="53" y="17"/>
                    <a:pt x="52" y="16"/>
                    <a:pt x="52" y="15"/>
                  </a:cubicBezTo>
                  <a:cubicBezTo>
                    <a:pt x="52" y="4"/>
                    <a:pt x="52" y="4"/>
                    <a:pt x="52" y="4"/>
                  </a:cubicBezTo>
                  <a:cubicBezTo>
                    <a:pt x="44" y="4"/>
                    <a:pt x="44" y="4"/>
                    <a:pt x="44" y="4"/>
                  </a:cubicBezTo>
                  <a:cubicBezTo>
                    <a:pt x="44" y="15"/>
                    <a:pt x="44" y="15"/>
                    <a:pt x="44" y="15"/>
                  </a:cubicBezTo>
                  <a:cubicBezTo>
                    <a:pt x="44" y="16"/>
                    <a:pt x="43" y="17"/>
                    <a:pt x="42" y="17"/>
                  </a:cubicBezTo>
                  <a:cubicBezTo>
                    <a:pt x="39" y="18"/>
                    <a:pt x="34" y="19"/>
                    <a:pt x="31" y="21"/>
                  </a:cubicBezTo>
                  <a:cubicBezTo>
                    <a:pt x="31" y="21"/>
                    <a:pt x="30" y="21"/>
                    <a:pt x="29" y="20"/>
                  </a:cubicBezTo>
                  <a:cubicBezTo>
                    <a:pt x="21" y="13"/>
                    <a:pt x="21" y="13"/>
                    <a:pt x="21" y="13"/>
                  </a:cubicBezTo>
                  <a:cubicBezTo>
                    <a:pt x="13" y="21"/>
                    <a:pt x="13" y="21"/>
                    <a:pt x="13" y="21"/>
                  </a:cubicBezTo>
                  <a:cubicBezTo>
                    <a:pt x="20" y="29"/>
                    <a:pt x="20" y="29"/>
                    <a:pt x="20" y="29"/>
                  </a:cubicBezTo>
                  <a:cubicBezTo>
                    <a:pt x="21" y="30"/>
                    <a:pt x="21" y="31"/>
                    <a:pt x="21" y="31"/>
                  </a:cubicBezTo>
                  <a:cubicBezTo>
                    <a:pt x="19" y="34"/>
                    <a:pt x="17" y="40"/>
                    <a:pt x="17" y="42"/>
                  </a:cubicBezTo>
                  <a:cubicBezTo>
                    <a:pt x="17" y="43"/>
                    <a:pt x="16" y="44"/>
                    <a:pt x="15" y="44"/>
                  </a:cubicBezTo>
                  <a:cubicBezTo>
                    <a:pt x="4" y="44"/>
                    <a:pt x="4" y="44"/>
                    <a:pt x="4" y="44"/>
                  </a:cubicBezTo>
                  <a:cubicBezTo>
                    <a:pt x="4" y="52"/>
                    <a:pt x="4" y="52"/>
                    <a:pt x="4" y="52"/>
                  </a:cubicBezTo>
                  <a:cubicBezTo>
                    <a:pt x="15" y="52"/>
                    <a:pt x="15" y="52"/>
                    <a:pt x="15" y="52"/>
                  </a:cubicBezTo>
                  <a:cubicBezTo>
                    <a:pt x="16" y="52"/>
                    <a:pt x="17" y="53"/>
                    <a:pt x="17" y="54"/>
                  </a:cubicBezTo>
                  <a:cubicBezTo>
                    <a:pt x="17" y="56"/>
                    <a:pt x="19" y="62"/>
                    <a:pt x="21" y="65"/>
                  </a:cubicBezTo>
                  <a:cubicBezTo>
                    <a:pt x="21" y="65"/>
                    <a:pt x="21" y="66"/>
                    <a:pt x="20" y="67"/>
                  </a:cubicBezTo>
                  <a:cubicBezTo>
                    <a:pt x="13" y="75"/>
                    <a:pt x="13" y="75"/>
                    <a:pt x="13" y="75"/>
                  </a:cubicBezTo>
                  <a:cubicBezTo>
                    <a:pt x="21" y="83"/>
                    <a:pt x="21" y="83"/>
                    <a:pt x="21" y="83"/>
                  </a:cubicBezTo>
                  <a:cubicBezTo>
                    <a:pt x="29" y="76"/>
                    <a:pt x="29" y="76"/>
                    <a:pt x="29" y="76"/>
                  </a:cubicBezTo>
                  <a:cubicBezTo>
                    <a:pt x="30" y="75"/>
                    <a:pt x="31" y="75"/>
                    <a:pt x="32" y="76"/>
                  </a:cubicBezTo>
                  <a:cubicBezTo>
                    <a:pt x="33" y="76"/>
                    <a:pt x="33" y="78"/>
                    <a:pt x="32" y="78"/>
                  </a:cubicBezTo>
                  <a:cubicBezTo>
                    <a:pt x="23" y="88"/>
                    <a:pt x="23" y="88"/>
                    <a:pt x="23" y="88"/>
                  </a:cubicBezTo>
                  <a:cubicBezTo>
                    <a:pt x="22" y="88"/>
                    <a:pt x="22" y="88"/>
                    <a:pt x="2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Arial"/>
                <a:cs typeface="+mn-cs"/>
              </a:endParaRPr>
            </a:p>
          </p:txBody>
        </p:sp>
        <p:sp>
          <p:nvSpPr>
            <p:cNvPr id="67" name="Freeform 64">
              <a:extLst>
                <a:ext uri="{FF2B5EF4-FFF2-40B4-BE49-F238E27FC236}">
                  <a16:creationId xmlns:a16="http://schemas.microsoft.com/office/drawing/2014/main" id="{B8E3E3CF-CD34-44FC-B3FB-85F93D07E3B1}"/>
                </a:ext>
              </a:extLst>
            </p:cNvPr>
            <p:cNvSpPr>
              <a:spLocks/>
            </p:cNvSpPr>
            <p:nvPr/>
          </p:nvSpPr>
          <p:spPr bwMode="auto">
            <a:xfrm>
              <a:off x="7869238" y="3549650"/>
              <a:ext cx="60325" cy="15875"/>
            </a:xfrm>
            <a:custGeom>
              <a:avLst/>
              <a:gdLst>
                <a:gd name="T0" fmla="*/ 14 w 16"/>
                <a:gd name="T1" fmla="*/ 4 h 4"/>
                <a:gd name="T2" fmla="*/ 2 w 16"/>
                <a:gd name="T3" fmla="*/ 4 h 4"/>
                <a:gd name="T4" fmla="*/ 0 w 16"/>
                <a:gd name="T5" fmla="*/ 2 h 4"/>
                <a:gd name="T6" fmla="*/ 2 w 16"/>
                <a:gd name="T7" fmla="*/ 0 h 4"/>
                <a:gd name="T8" fmla="*/ 14 w 16"/>
                <a:gd name="T9" fmla="*/ 0 h 4"/>
                <a:gd name="T10" fmla="*/ 16 w 16"/>
                <a:gd name="T11" fmla="*/ 2 h 4"/>
                <a:gd name="T12" fmla="*/ 14 w 16"/>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6" h="4">
                  <a:moveTo>
                    <a:pt x="14" y="4"/>
                  </a:moveTo>
                  <a:cubicBezTo>
                    <a:pt x="2" y="4"/>
                    <a:pt x="2" y="4"/>
                    <a:pt x="2" y="4"/>
                  </a:cubicBezTo>
                  <a:cubicBezTo>
                    <a:pt x="1" y="4"/>
                    <a:pt x="0" y="3"/>
                    <a:pt x="0" y="2"/>
                  </a:cubicBezTo>
                  <a:cubicBezTo>
                    <a:pt x="0" y="1"/>
                    <a:pt x="1" y="0"/>
                    <a:pt x="2" y="0"/>
                  </a:cubicBezTo>
                  <a:cubicBezTo>
                    <a:pt x="14" y="0"/>
                    <a:pt x="14" y="0"/>
                    <a:pt x="14" y="0"/>
                  </a:cubicBezTo>
                  <a:cubicBezTo>
                    <a:pt x="15" y="0"/>
                    <a:pt x="16" y="1"/>
                    <a:pt x="16" y="2"/>
                  </a:cubicBezTo>
                  <a:cubicBezTo>
                    <a:pt x="16" y="3"/>
                    <a:pt x="15" y="4"/>
                    <a:pt x="1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Arial"/>
                <a:cs typeface="+mn-cs"/>
              </a:endParaRPr>
            </a:p>
          </p:txBody>
        </p:sp>
        <p:sp>
          <p:nvSpPr>
            <p:cNvPr id="68" name="Freeform 65">
              <a:extLst>
                <a:ext uri="{FF2B5EF4-FFF2-40B4-BE49-F238E27FC236}">
                  <a16:creationId xmlns:a16="http://schemas.microsoft.com/office/drawing/2014/main" id="{94374B6F-D312-4348-BEDC-6899A667901C}"/>
                </a:ext>
              </a:extLst>
            </p:cNvPr>
            <p:cNvSpPr>
              <a:spLocks/>
            </p:cNvSpPr>
            <p:nvPr/>
          </p:nvSpPr>
          <p:spPr bwMode="auto">
            <a:xfrm>
              <a:off x="7869238" y="3579813"/>
              <a:ext cx="60325" cy="30163"/>
            </a:xfrm>
            <a:custGeom>
              <a:avLst/>
              <a:gdLst>
                <a:gd name="T0" fmla="*/ 14 w 16"/>
                <a:gd name="T1" fmla="*/ 0 h 8"/>
                <a:gd name="T2" fmla="*/ 2 w 16"/>
                <a:gd name="T3" fmla="*/ 0 h 8"/>
                <a:gd name="T4" fmla="*/ 0 w 16"/>
                <a:gd name="T5" fmla="*/ 2 h 8"/>
                <a:gd name="T6" fmla="*/ 2 w 16"/>
                <a:gd name="T7" fmla="*/ 4 h 8"/>
                <a:gd name="T8" fmla="*/ 6 w 16"/>
                <a:gd name="T9" fmla="*/ 4 h 8"/>
                <a:gd name="T10" fmla="*/ 6 w 16"/>
                <a:gd name="T11" fmla="*/ 6 h 8"/>
                <a:gd name="T12" fmla="*/ 8 w 16"/>
                <a:gd name="T13" fmla="*/ 8 h 8"/>
                <a:gd name="T14" fmla="*/ 10 w 16"/>
                <a:gd name="T15" fmla="*/ 6 h 8"/>
                <a:gd name="T16" fmla="*/ 10 w 16"/>
                <a:gd name="T17" fmla="*/ 4 h 8"/>
                <a:gd name="T18" fmla="*/ 14 w 16"/>
                <a:gd name="T19" fmla="*/ 4 h 8"/>
                <a:gd name="T20" fmla="*/ 16 w 16"/>
                <a:gd name="T21" fmla="*/ 2 h 8"/>
                <a:gd name="T22" fmla="*/ 14 w 16"/>
                <a:gd name="T23"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8">
                  <a:moveTo>
                    <a:pt x="14" y="0"/>
                  </a:moveTo>
                  <a:cubicBezTo>
                    <a:pt x="2" y="0"/>
                    <a:pt x="2" y="0"/>
                    <a:pt x="2" y="0"/>
                  </a:cubicBezTo>
                  <a:cubicBezTo>
                    <a:pt x="1" y="0"/>
                    <a:pt x="0" y="1"/>
                    <a:pt x="0" y="2"/>
                  </a:cubicBezTo>
                  <a:cubicBezTo>
                    <a:pt x="0" y="3"/>
                    <a:pt x="1" y="4"/>
                    <a:pt x="2" y="4"/>
                  </a:cubicBezTo>
                  <a:cubicBezTo>
                    <a:pt x="6" y="4"/>
                    <a:pt x="6" y="4"/>
                    <a:pt x="6" y="4"/>
                  </a:cubicBezTo>
                  <a:cubicBezTo>
                    <a:pt x="6" y="6"/>
                    <a:pt x="6" y="6"/>
                    <a:pt x="6" y="6"/>
                  </a:cubicBezTo>
                  <a:cubicBezTo>
                    <a:pt x="6" y="7"/>
                    <a:pt x="7" y="8"/>
                    <a:pt x="8" y="8"/>
                  </a:cubicBezTo>
                  <a:cubicBezTo>
                    <a:pt x="9" y="8"/>
                    <a:pt x="10" y="7"/>
                    <a:pt x="10" y="6"/>
                  </a:cubicBezTo>
                  <a:cubicBezTo>
                    <a:pt x="10" y="4"/>
                    <a:pt x="10" y="4"/>
                    <a:pt x="10" y="4"/>
                  </a:cubicBezTo>
                  <a:cubicBezTo>
                    <a:pt x="14" y="4"/>
                    <a:pt x="14" y="4"/>
                    <a:pt x="14" y="4"/>
                  </a:cubicBezTo>
                  <a:cubicBezTo>
                    <a:pt x="15" y="4"/>
                    <a:pt x="16" y="3"/>
                    <a:pt x="16" y="2"/>
                  </a:cubicBezTo>
                  <a:cubicBezTo>
                    <a:pt x="16" y="1"/>
                    <a:pt x="15" y="0"/>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Arial"/>
                <a:cs typeface="+mn-cs"/>
              </a:endParaRPr>
            </a:p>
          </p:txBody>
        </p:sp>
        <p:sp>
          <p:nvSpPr>
            <p:cNvPr id="69" name="Freeform 66">
              <a:extLst>
                <a:ext uri="{FF2B5EF4-FFF2-40B4-BE49-F238E27FC236}">
                  <a16:creationId xmlns:a16="http://schemas.microsoft.com/office/drawing/2014/main" id="{3C06B716-8B75-42E8-8651-9296BB7DDB7F}"/>
                </a:ext>
              </a:extLst>
            </p:cNvPr>
            <p:cNvSpPr>
              <a:spLocks/>
            </p:cNvSpPr>
            <p:nvPr/>
          </p:nvSpPr>
          <p:spPr bwMode="auto">
            <a:xfrm>
              <a:off x="7805738" y="3338513"/>
              <a:ext cx="187325" cy="196850"/>
            </a:xfrm>
            <a:custGeom>
              <a:avLst/>
              <a:gdLst>
                <a:gd name="T0" fmla="*/ 25 w 50"/>
                <a:gd name="T1" fmla="*/ 0 h 52"/>
                <a:gd name="T2" fmla="*/ 0 w 50"/>
                <a:gd name="T3" fmla="*/ 24 h 52"/>
                <a:gd name="T4" fmla="*/ 17 w 50"/>
                <a:gd name="T5" fmla="*/ 47 h 52"/>
                <a:gd name="T6" fmla="*/ 17 w 50"/>
                <a:gd name="T7" fmla="*/ 50 h 52"/>
                <a:gd name="T8" fmla="*/ 19 w 50"/>
                <a:gd name="T9" fmla="*/ 52 h 52"/>
                <a:gd name="T10" fmla="*/ 31 w 50"/>
                <a:gd name="T11" fmla="*/ 52 h 52"/>
                <a:gd name="T12" fmla="*/ 33 w 50"/>
                <a:gd name="T13" fmla="*/ 50 h 52"/>
                <a:gd name="T14" fmla="*/ 33 w 50"/>
                <a:gd name="T15" fmla="*/ 47 h 52"/>
                <a:gd name="T16" fmla="*/ 50 w 50"/>
                <a:gd name="T17" fmla="*/ 24 h 52"/>
                <a:gd name="T18" fmla="*/ 25 w 50"/>
                <a:gd name="T19"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52">
                  <a:moveTo>
                    <a:pt x="25" y="0"/>
                  </a:moveTo>
                  <a:cubicBezTo>
                    <a:pt x="11" y="0"/>
                    <a:pt x="0" y="11"/>
                    <a:pt x="0" y="24"/>
                  </a:cubicBezTo>
                  <a:cubicBezTo>
                    <a:pt x="0" y="34"/>
                    <a:pt x="7" y="43"/>
                    <a:pt x="17" y="47"/>
                  </a:cubicBezTo>
                  <a:cubicBezTo>
                    <a:pt x="17" y="50"/>
                    <a:pt x="17" y="50"/>
                    <a:pt x="17" y="50"/>
                  </a:cubicBezTo>
                  <a:cubicBezTo>
                    <a:pt x="17" y="51"/>
                    <a:pt x="18" y="52"/>
                    <a:pt x="19" y="52"/>
                  </a:cubicBezTo>
                  <a:cubicBezTo>
                    <a:pt x="31" y="52"/>
                    <a:pt x="31" y="52"/>
                    <a:pt x="31" y="52"/>
                  </a:cubicBezTo>
                  <a:cubicBezTo>
                    <a:pt x="32" y="52"/>
                    <a:pt x="33" y="51"/>
                    <a:pt x="33" y="50"/>
                  </a:cubicBezTo>
                  <a:cubicBezTo>
                    <a:pt x="33" y="47"/>
                    <a:pt x="33" y="47"/>
                    <a:pt x="33" y="47"/>
                  </a:cubicBezTo>
                  <a:cubicBezTo>
                    <a:pt x="43" y="43"/>
                    <a:pt x="50" y="34"/>
                    <a:pt x="50" y="24"/>
                  </a:cubicBezTo>
                  <a:cubicBezTo>
                    <a:pt x="50" y="11"/>
                    <a:pt x="39" y="0"/>
                    <a:pt x="2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Arial"/>
                <a:cs typeface="+mn-cs"/>
              </a:endParaRPr>
            </a:p>
          </p:txBody>
        </p:sp>
      </p:grpSp>
      <p:sp>
        <p:nvSpPr>
          <p:cNvPr id="70" name="Freeform 69">
            <a:extLst>
              <a:ext uri="{FF2B5EF4-FFF2-40B4-BE49-F238E27FC236}">
                <a16:creationId xmlns:a16="http://schemas.microsoft.com/office/drawing/2014/main" id="{E6C4A32A-E9D5-460F-9D95-EDD2CAA69522}"/>
              </a:ext>
            </a:extLst>
          </p:cNvPr>
          <p:cNvSpPr>
            <a:spLocks noEditPoints="1"/>
          </p:cNvSpPr>
          <p:nvPr/>
        </p:nvSpPr>
        <p:spPr bwMode="auto">
          <a:xfrm>
            <a:off x="7793881" y="4741572"/>
            <a:ext cx="212812" cy="213738"/>
          </a:xfrm>
          <a:custGeom>
            <a:avLst/>
            <a:gdLst>
              <a:gd name="T0" fmla="*/ 83 w 97"/>
              <a:gd name="T1" fmla="*/ 41 h 97"/>
              <a:gd name="T2" fmla="*/ 79 w 97"/>
              <a:gd name="T3" fmla="*/ 31 h 97"/>
              <a:gd name="T4" fmla="*/ 94 w 97"/>
              <a:gd name="T5" fmla="*/ 2 h 97"/>
              <a:gd name="T6" fmla="*/ 71 w 97"/>
              <a:gd name="T7" fmla="*/ 21 h 97"/>
              <a:gd name="T8" fmla="*/ 56 w 97"/>
              <a:gd name="T9" fmla="*/ 14 h 97"/>
              <a:gd name="T10" fmla="*/ 54 w 97"/>
              <a:gd name="T11" fmla="*/ 1 h 97"/>
              <a:gd name="T12" fmla="*/ 40 w 97"/>
              <a:gd name="T13" fmla="*/ 3 h 97"/>
              <a:gd name="T14" fmla="*/ 31 w 97"/>
              <a:gd name="T15" fmla="*/ 18 h 97"/>
              <a:gd name="T16" fmla="*/ 20 w 97"/>
              <a:gd name="T17" fmla="*/ 9 h 97"/>
              <a:gd name="T18" fmla="*/ 8 w 97"/>
              <a:gd name="T19" fmla="*/ 22 h 97"/>
              <a:gd name="T20" fmla="*/ 17 w 97"/>
              <a:gd name="T21" fmla="*/ 32 h 97"/>
              <a:gd name="T22" fmla="*/ 2 w 97"/>
              <a:gd name="T23" fmla="*/ 41 h 97"/>
              <a:gd name="T24" fmla="*/ 0 w 97"/>
              <a:gd name="T25" fmla="*/ 55 h 97"/>
              <a:gd name="T26" fmla="*/ 13 w 97"/>
              <a:gd name="T27" fmla="*/ 57 h 97"/>
              <a:gd name="T28" fmla="*/ 8 w 97"/>
              <a:gd name="T29" fmla="*/ 74 h 97"/>
              <a:gd name="T30" fmla="*/ 8 w 97"/>
              <a:gd name="T31" fmla="*/ 77 h 97"/>
              <a:gd name="T32" fmla="*/ 23 w 97"/>
              <a:gd name="T33" fmla="*/ 89 h 97"/>
              <a:gd name="T34" fmla="*/ 40 w 97"/>
              <a:gd name="T35" fmla="*/ 84 h 97"/>
              <a:gd name="T36" fmla="*/ 42 w 97"/>
              <a:gd name="T37" fmla="*/ 97 h 97"/>
              <a:gd name="T38" fmla="*/ 56 w 97"/>
              <a:gd name="T39" fmla="*/ 95 h 97"/>
              <a:gd name="T40" fmla="*/ 65 w 97"/>
              <a:gd name="T41" fmla="*/ 80 h 97"/>
              <a:gd name="T42" fmla="*/ 76 w 97"/>
              <a:gd name="T43" fmla="*/ 89 h 97"/>
              <a:gd name="T44" fmla="*/ 88 w 97"/>
              <a:gd name="T45" fmla="*/ 74 h 97"/>
              <a:gd name="T46" fmla="*/ 83 w 97"/>
              <a:gd name="T47" fmla="*/ 57 h 97"/>
              <a:gd name="T48" fmla="*/ 96 w 97"/>
              <a:gd name="T49" fmla="*/ 55 h 97"/>
              <a:gd name="T50" fmla="*/ 94 w 97"/>
              <a:gd name="T51" fmla="*/ 41 h 97"/>
              <a:gd name="T52" fmla="*/ 49 w 97"/>
              <a:gd name="T53" fmla="*/ 60 h 97"/>
              <a:gd name="T54" fmla="*/ 48 w 97"/>
              <a:gd name="T55" fmla="*/ 60 h 97"/>
              <a:gd name="T56" fmla="*/ 30 w 97"/>
              <a:gd name="T57" fmla="*/ 39 h 97"/>
              <a:gd name="T58" fmla="*/ 49 w 97"/>
              <a:gd name="T59" fmla="*/ 56 h 97"/>
              <a:gd name="T60" fmla="*/ 91 w 97"/>
              <a:gd name="T61" fmla="*/ 5 h 97"/>
              <a:gd name="T62" fmla="*/ 51 w 97"/>
              <a:gd name="T63" fmla="*/ 6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7" h="97">
                <a:moveTo>
                  <a:pt x="94" y="41"/>
                </a:moveTo>
                <a:cubicBezTo>
                  <a:pt x="83" y="41"/>
                  <a:pt x="83" y="41"/>
                  <a:pt x="83" y="41"/>
                </a:cubicBezTo>
                <a:cubicBezTo>
                  <a:pt x="82" y="39"/>
                  <a:pt x="82" y="37"/>
                  <a:pt x="81" y="35"/>
                </a:cubicBezTo>
                <a:cubicBezTo>
                  <a:pt x="80" y="34"/>
                  <a:pt x="79" y="32"/>
                  <a:pt x="79" y="31"/>
                </a:cubicBezTo>
                <a:cubicBezTo>
                  <a:pt x="95" y="11"/>
                  <a:pt x="95" y="11"/>
                  <a:pt x="95" y="11"/>
                </a:cubicBezTo>
                <a:cubicBezTo>
                  <a:pt x="97" y="8"/>
                  <a:pt x="96" y="4"/>
                  <a:pt x="94" y="2"/>
                </a:cubicBezTo>
                <a:cubicBezTo>
                  <a:pt x="91" y="0"/>
                  <a:pt x="87" y="1"/>
                  <a:pt x="85" y="3"/>
                </a:cubicBezTo>
                <a:cubicBezTo>
                  <a:pt x="71" y="21"/>
                  <a:pt x="71" y="21"/>
                  <a:pt x="71" y="21"/>
                </a:cubicBezTo>
                <a:cubicBezTo>
                  <a:pt x="70" y="20"/>
                  <a:pt x="68" y="19"/>
                  <a:pt x="67" y="18"/>
                </a:cubicBezTo>
                <a:cubicBezTo>
                  <a:pt x="64" y="17"/>
                  <a:pt x="60" y="15"/>
                  <a:pt x="56" y="14"/>
                </a:cubicBezTo>
                <a:cubicBezTo>
                  <a:pt x="56" y="3"/>
                  <a:pt x="56" y="3"/>
                  <a:pt x="56" y="3"/>
                </a:cubicBezTo>
                <a:cubicBezTo>
                  <a:pt x="56" y="2"/>
                  <a:pt x="55" y="1"/>
                  <a:pt x="54" y="1"/>
                </a:cubicBezTo>
                <a:cubicBezTo>
                  <a:pt x="42" y="1"/>
                  <a:pt x="42" y="1"/>
                  <a:pt x="42" y="1"/>
                </a:cubicBezTo>
                <a:cubicBezTo>
                  <a:pt x="41" y="1"/>
                  <a:pt x="40" y="2"/>
                  <a:pt x="40" y="3"/>
                </a:cubicBezTo>
                <a:cubicBezTo>
                  <a:pt x="40" y="14"/>
                  <a:pt x="40" y="14"/>
                  <a:pt x="40" y="14"/>
                </a:cubicBezTo>
                <a:cubicBezTo>
                  <a:pt x="37" y="15"/>
                  <a:pt x="33" y="16"/>
                  <a:pt x="31" y="18"/>
                </a:cubicBezTo>
                <a:cubicBezTo>
                  <a:pt x="23" y="9"/>
                  <a:pt x="23" y="9"/>
                  <a:pt x="23" y="9"/>
                </a:cubicBezTo>
                <a:cubicBezTo>
                  <a:pt x="22" y="9"/>
                  <a:pt x="20" y="9"/>
                  <a:pt x="20" y="9"/>
                </a:cubicBezTo>
                <a:cubicBezTo>
                  <a:pt x="8" y="21"/>
                  <a:pt x="8" y="21"/>
                  <a:pt x="8" y="21"/>
                </a:cubicBezTo>
                <a:cubicBezTo>
                  <a:pt x="8" y="21"/>
                  <a:pt x="8" y="22"/>
                  <a:pt x="8" y="22"/>
                </a:cubicBezTo>
                <a:cubicBezTo>
                  <a:pt x="8" y="23"/>
                  <a:pt x="8" y="23"/>
                  <a:pt x="8" y="24"/>
                </a:cubicBezTo>
                <a:cubicBezTo>
                  <a:pt x="17" y="32"/>
                  <a:pt x="17" y="32"/>
                  <a:pt x="17" y="32"/>
                </a:cubicBezTo>
                <a:cubicBezTo>
                  <a:pt x="15" y="34"/>
                  <a:pt x="14" y="38"/>
                  <a:pt x="13" y="41"/>
                </a:cubicBezTo>
                <a:cubicBezTo>
                  <a:pt x="2" y="41"/>
                  <a:pt x="2" y="41"/>
                  <a:pt x="2" y="41"/>
                </a:cubicBezTo>
                <a:cubicBezTo>
                  <a:pt x="1" y="41"/>
                  <a:pt x="0" y="42"/>
                  <a:pt x="0" y="43"/>
                </a:cubicBezTo>
                <a:cubicBezTo>
                  <a:pt x="0" y="55"/>
                  <a:pt x="0" y="55"/>
                  <a:pt x="0" y="55"/>
                </a:cubicBezTo>
                <a:cubicBezTo>
                  <a:pt x="0" y="56"/>
                  <a:pt x="1" y="57"/>
                  <a:pt x="2" y="57"/>
                </a:cubicBezTo>
                <a:cubicBezTo>
                  <a:pt x="13" y="57"/>
                  <a:pt x="13" y="57"/>
                  <a:pt x="13" y="57"/>
                </a:cubicBezTo>
                <a:cubicBezTo>
                  <a:pt x="14" y="60"/>
                  <a:pt x="15" y="64"/>
                  <a:pt x="17" y="66"/>
                </a:cubicBezTo>
                <a:cubicBezTo>
                  <a:pt x="8" y="74"/>
                  <a:pt x="8" y="74"/>
                  <a:pt x="8" y="74"/>
                </a:cubicBezTo>
                <a:cubicBezTo>
                  <a:pt x="8" y="75"/>
                  <a:pt x="8" y="75"/>
                  <a:pt x="8" y="76"/>
                </a:cubicBezTo>
                <a:cubicBezTo>
                  <a:pt x="8" y="76"/>
                  <a:pt x="8" y="77"/>
                  <a:pt x="8" y="77"/>
                </a:cubicBezTo>
                <a:cubicBezTo>
                  <a:pt x="20" y="89"/>
                  <a:pt x="20" y="89"/>
                  <a:pt x="20" y="89"/>
                </a:cubicBezTo>
                <a:cubicBezTo>
                  <a:pt x="20" y="89"/>
                  <a:pt x="22" y="89"/>
                  <a:pt x="23" y="89"/>
                </a:cubicBezTo>
                <a:cubicBezTo>
                  <a:pt x="31" y="80"/>
                  <a:pt x="31" y="80"/>
                  <a:pt x="31" y="80"/>
                </a:cubicBezTo>
                <a:cubicBezTo>
                  <a:pt x="33" y="82"/>
                  <a:pt x="37" y="83"/>
                  <a:pt x="40" y="84"/>
                </a:cubicBezTo>
                <a:cubicBezTo>
                  <a:pt x="40" y="95"/>
                  <a:pt x="40" y="95"/>
                  <a:pt x="40" y="95"/>
                </a:cubicBezTo>
                <a:cubicBezTo>
                  <a:pt x="40" y="96"/>
                  <a:pt x="41" y="97"/>
                  <a:pt x="42" y="97"/>
                </a:cubicBezTo>
                <a:cubicBezTo>
                  <a:pt x="54" y="97"/>
                  <a:pt x="54" y="97"/>
                  <a:pt x="54" y="97"/>
                </a:cubicBezTo>
                <a:cubicBezTo>
                  <a:pt x="55" y="97"/>
                  <a:pt x="56" y="96"/>
                  <a:pt x="56" y="95"/>
                </a:cubicBezTo>
                <a:cubicBezTo>
                  <a:pt x="56" y="84"/>
                  <a:pt x="56" y="84"/>
                  <a:pt x="56" y="84"/>
                </a:cubicBezTo>
                <a:cubicBezTo>
                  <a:pt x="59" y="83"/>
                  <a:pt x="63" y="82"/>
                  <a:pt x="65" y="80"/>
                </a:cubicBezTo>
                <a:cubicBezTo>
                  <a:pt x="73" y="89"/>
                  <a:pt x="73" y="89"/>
                  <a:pt x="73" y="89"/>
                </a:cubicBezTo>
                <a:cubicBezTo>
                  <a:pt x="74" y="89"/>
                  <a:pt x="76" y="89"/>
                  <a:pt x="76" y="89"/>
                </a:cubicBezTo>
                <a:cubicBezTo>
                  <a:pt x="88" y="77"/>
                  <a:pt x="88" y="77"/>
                  <a:pt x="88" y="77"/>
                </a:cubicBezTo>
                <a:cubicBezTo>
                  <a:pt x="88" y="77"/>
                  <a:pt x="88" y="75"/>
                  <a:pt x="88" y="74"/>
                </a:cubicBezTo>
                <a:cubicBezTo>
                  <a:pt x="79" y="66"/>
                  <a:pt x="79" y="66"/>
                  <a:pt x="79" y="66"/>
                </a:cubicBezTo>
                <a:cubicBezTo>
                  <a:pt x="81" y="64"/>
                  <a:pt x="82" y="60"/>
                  <a:pt x="83" y="57"/>
                </a:cubicBezTo>
                <a:cubicBezTo>
                  <a:pt x="94" y="57"/>
                  <a:pt x="94" y="57"/>
                  <a:pt x="94" y="57"/>
                </a:cubicBezTo>
                <a:cubicBezTo>
                  <a:pt x="95" y="57"/>
                  <a:pt x="96" y="56"/>
                  <a:pt x="96" y="55"/>
                </a:cubicBezTo>
                <a:cubicBezTo>
                  <a:pt x="96" y="43"/>
                  <a:pt x="96" y="43"/>
                  <a:pt x="96" y="43"/>
                </a:cubicBezTo>
                <a:cubicBezTo>
                  <a:pt x="96" y="42"/>
                  <a:pt x="95" y="41"/>
                  <a:pt x="94" y="41"/>
                </a:cubicBezTo>
                <a:close/>
                <a:moveTo>
                  <a:pt x="51" y="60"/>
                </a:moveTo>
                <a:cubicBezTo>
                  <a:pt x="50" y="60"/>
                  <a:pt x="50" y="60"/>
                  <a:pt x="49" y="60"/>
                </a:cubicBezTo>
                <a:cubicBezTo>
                  <a:pt x="49" y="61"/>
                  <a:pt x="49" y="61"/>
                  <a:pt x="49" y="61"/>
                </a:cubicBezTo>
                <a:cubicBezTo>
                  <a:pt x="49" y="61"/>
                  <a:pt x="48" y="60"/>
                  <a:pt x="48" y="60"/>
                </a:cubicBezTo>
                <a:cubicBezTo>
                  <a:pt x="30" y="42"/>
                  <a:pt x="30" y="42"/>
                  <a:pt x="30" y="42"/>
                </a:cubicBezTo>
                <a:cubicBezTo>
                  <a:pt x="29" y="41"/>
                  <a:pt x="29" y="40"/>
                  <a:pt x="30" y="39"/>
                </a:cubicBezTo>
                <a:cubicBezTo>
                  <a:pt x="31" y="38"/>
                  <a:pt x="32" y="38"/>
                  <a:pt x="33" y="39"/>
                </a:cubicBezTo>
                <a:cubicBezTo>
                  <a:pt x="49" y="56"/>
                  <a:pt x="49" y="56"/>
                  <a:pt x="49" y="56"/>
                </a:cubicBezTo>
                <a:cubicBezTo>
                  <a:pt x="88" y="6"/>
                  <a:pt x="88" y="6"/>
                  <a:pt x="88" y="6"/>
                </a:cubicBezTo>
                <a:cubicBezTo>
                  <a:pt x="89" y="5"/>
                  <a:pt x="90" y="5"/>
                  <a:pt x="91" y="5"/>
                </a:cubicBezTo>
                <a:cubicBezTo>
                  <a:pt x="92" y="6"/>
                  <a:pt x="92" y="7"/>
                  <a:pt x="92" y="8"/>
                </a:cubicBezTo>
                <a:lnTo>
                  <a:pt x="51" y="60"/>
                </a:lnTo>
                <a:close/>
              </a:path>
            </a:pathLst>
          </a:custGeom>
          <a:gradFill flip="none" rotWithShape="1">
            <a:gsLst>
              <a:gs pos="100000">
                <a:schemeClr val="accent1"/>
              </a:gs>
              <a:gs pos="0">
                <a:schemeClr val="accent1"/>
              </a:gs>
            </a:gsLst>
            <a:lin ang="270000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Arial"/>
              <a:cs typeface="+mn-cs"/>
            </a:endParaRPr>
          </a:p>
        </p:txBody>
      </p:sp>
      <p:grpSp>
        <p:nvGrpSpPr>
          <p:cNvPr id="71" name="Group 179">
            <a:extLst>
              <a:ext uri="{FF2B5EF4-FFF2-40B4-BE49-F238E27FC236}">
                <a16:creationId xmlns:a16="http://schemas.microsoft.com/office/drawing/2014/main" id="{A1D3EFB5-878D-4AF3-8FF4-2605EF3ED039}"/>
              </a:ext>
            </a:extLst>
          </p:cNvPr>
          <p:cNvGrpSpPr/>
          <p:nvPr/>
        </p:nvGrpSpPr>
        <p:grpSpPr>
          <a:xfrm>
            <a:off x="8797480" y="4032388"/>
            <a:ext cx="202590" cy="194226"/>
            <a:chOff x="4119563" y="2901951"/>
            <a:chExt cx="346075" cy="331788"/>
          </a:xfrm>
          <a:gradFill>
            <a:gsLst>
              <a:gs pos="100000">
                <a:srgbClr val="0098DB"/>
              </a:gs>
              <a:gs pos="0">
                <a:srgbClr val="00497A"/>
              </a:gs>
            </a:gsLst>
            <a:lin ang="2700000" scaled="1"/>
          </a:gradFill>
        </p:grpSpPr>
        <p:sp>
          <p:nvSpPr>
            <p:cNvPr id="72" name="Freeform 146">
              <a:extLst>
                <a:ext uri="{FF2B5EF4-FFF2-40B4-BE49-F238E27FC236}">
                  <a16:creationId xmlns:a16="http://schemas.microsoft.com/office/drawing/2014/main" id="{7366A0B2-E485-4326-A442-1CD30FC71AFB}"/>
                </a:ext>
              </a:extLst>
            </p:cNvPr>
            <p:cNvSpPr>
              <a:spLocks/>
            </p:cNvSpPr>
            <p:nvPr/>
          </p:nvSpPr>
          <p:spPr bwMode="auto">
            <a:xfrm>
              <a:off x="4360863" y="3052763"/>
              <a:ext cx="104775" cy="150813"/>
            </a:xfrm>
            <a:custGeom>
              <a:avLst/>
              <a:gdLst>
                <a:gd name="T0" fmla="*/ 17 w 28"/>
                <a:gd name="T1" fmla="*/ 22 h 40"/>
                <a:gd name="T2" fmla="*/ 22 w 28"/>
                <a:gd name="T3" fmla="*/ 12 h 40"/>
                <a:gd name="T4" fmla="*/ 10 w 28"/>
                <a:gd name="T5" fmla="*/ 0 h 40"/>
                <a:gd name="T6" fmla="*/ 2 w 28"/>
                <a:gd name="T7" fmla="*/ 3 h 40"/>
                <a:gd name="T8" fmla="*/ 2 w 28"/>
                <a:gd name="T9" fmla="*/ 8 h 40"/>
                <a:gd name="T10" fmla="*/ 0 w 28"/>
                <a:gd name="T11" fmla="*/ 18 h 40"/>
                <a:gd name="T12" fmla="*/ 3 w 28"/>
                <a:gd name="T13" fmla="*/ 22 h 40"/>
                <a:gd name="T14" fmla="*/ 0 w 28"/>
                <a:gd name="T15" fmla="*/ 23 h 40"/>
                <a:gd name="T16" fmla="*/ 10 w 28"/>
                <a:gd name="T17" fmla="*/ 40 h 40"/>
                <a:gd name="T18" fmla="*/ 26 w 28"/>
                <a:gd name="T19" fmla="*/ 40 h 40"/>
                <a:gd name="T20" fmla="*/ 28 w 28"/>
                <a:gd name="T21" fmla="*/ 38 h 40"/>
                <a:gd name="T22" fmla="*/ 17 w 28"/>
                <a:gd name="T23"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 h="40">
                  <a:moveTo>
                    <a:pt x="17" y="22"/>
                  </a:moveTo>
                  <a:cubicBezTo>
                    <a:pt x="20" y="19"/>
                    <a:pt x="22" y="16"/>
                    <a:pt x="22" y="12"/>
                  </a:cubicBezTo>
                  <a:cubicBezTo>
                    <a:pt x="22" y="5"/>
                    <a:pt x="17" y="0"/>
                    <a:pt x="10" y="0"/>
                  </a:cubicBezTo>
                  <a:cubicBezTo>
                    <a:pt x="7" y="0"/>
                    <a:pt x="4" y="1"/>
                    <a:pt x="2" y="3"/>
                  </a:cubicBezTo>
                  <a:cubicBezTo>
                    <a:pt x="2" y="5"/>
                    <a:pt x="2" y="7"/>
                    <a:pt x="2" y="8"/>
                  </a:cubicBezTo>
                  <a:cubicBezTo>
                    <a:pt x="2" y="12"/>
                    <a:pt x="1" y="15"/>
                    <a:pt x="0" y="18"/>
                  </a:cubicBezTo>
                  <a:cubicBezTo>
                    <a:pt x="1" y="19"/>
                    <a:pt x="2" y="21"/>
                    <a:pt x="3" y="22"/>
                  </a:cubicBezTo>
                  <a:cubicBezTo>
                    <a:pt x="2" y="22"/>
                    <a:pt x="1" y="23"/>
                    <a:pt x="0" y="23"/>
                  </a:cubicBezTo>
                  <a:cubicBezTo>
                    <a:pt x="5" y="27"/>
                    <a:pt x="9" y="33"/>
                    <a:pt x="10" y="40"/>
                  </a:cubicBezTo>
                  <a:cubicBezTo>
                    <a:pt x="26" y="40"/>
                    <a:pt x="26" y="40"/>
                    <a:pt x="26" y="40"/>
                  </a:cubicBezTo>
                  <a:cubicBezTo>
                    <a:pt x="27" y="40"/>
                    <a:pt x="28" y="39"/>
                    <a:pt x="28" y="38"/>
                  </a:cubicBezTo>
                  <a:cubicBezTo>
                    <a:pt x="28" y="31"/>
                    <a:pt x="24" y="24"/>
                    <a:pt x="17"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Arial"/>
                <a:cs typeface="+mn-cs"/>
              </a:endParaRPr>
            </a:p>
          </p:txBody>
        </p:sp>
        <p:sp>
          <p:nvSpPr>
            <p:cNvPr id="73" name="Freeform 147">
              <a:extLst>
                <a:ext uri="{FF2B5EF4-FFF2-40B4-BE49-F238E27FC236}">
                  <a16:creationId xmlns:a16="http://schemas.microsoft.com/office/drawing/2014/main" id="{4BAB871A-5954-4EFD-A364-8EB826FAF4B9}"/>
                </a:ext>
              </a:extLst>
            </p:cNvPr>
            <p:cNvSpPr>
              <a:spLocks/>
            </p:cNvSpPr>
            <p:nvPr/>
          </p:nvSpPr>
          <p:spPr bwMode="auto">
            <a:xfrm>
              <a:off x="4119563" y="3052763"/>
              <a:ext cx="106363" cy="150813"/>
            </a:xfrm>
            <a:custGeom>
              <a:avLst/>
              <a:gdLst>
                <a:gd name="T0" fmla="*/ 28 w 28"/>
                <a:gd name="T1" fmla="*/ 23 h 40"/>
                <a:gd name="T2" fmla="*/ 25 w 28"/>
                <a:gd name="T3" fmla="*/ 22 h 40"/>
                <a:gd name="T4" fmla="*/ 28 w 28"/>
                <a:gd name="T5" fmla="*/ 18 h 40"/>
                <a:gd name="T6" fmla="*/ 26 w 28"/>
                <a:gd name="T7" fmla="*/ 8 h 40"/>
                <a:gd name="T8" fmla="*/ 26 w 28"/>
                <a:gd name="T9" fmla="*/ 3 h 40"/>
                <a:gd name="T10" fmla="*/ 18 w 28"/>
                <a:gd name="T11" fmla="*/ 0 h 40"/>
                <a:gd name="T12" fmla="*/ 6 w 28"/>
                <a:gd name="T13" fmla="*/ 12 h 40"/>
                <a:gd name="T14" fmla="*/ 11 w 28"/>
                <a:gd name="T15" fmla="*/ 22 h 40"/>
                <a:gd name="T16" fmla="*/ 0 w 28"/>
                <a:gd name="T17" fmla="*/ 38 h 40"/>
                <a:gd name="T18" fmla="*/ 2 w 28"/>
                <a:gd name="T19" fmla="*/ 40 h 40"/>
                <a:gd name="T20" fmla="*/ 18 w 28"/>
                <a:gd name="T21" fmla="*/ 40 h 40"/>
                <a:gd name="T22" fmla="*/ 28 w 28"/>
                <a:gd name="T23" fmla="*/ 2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 h="40">
                  <a:moveTo>
                    <a:pt x="28" y="23"/>
                  </a:moveTo>
                  <a:cubicBezTo>
                    <a:pt x="27" y="23"/>
                    <a:pt x="26" y="22"/>
                    <a:pt x="25" y="22"/>
                  </a:cubicBezTo>
                  <a:cubicBezTo>
                    <a:pt x="26" y="21"/>
                    <a:pt x="27" y="19"/>
                    <a:pt x="28" y="18"/>
                  </a:cubicBezTo>
                  <a:cubicBezTo>
                    <a:pt x="27" y="15"/>
                    <a:pt x="26" y="12"/>
                    <a:pt x="26" y="8"/>
                  </a:cubicBezTo>
                  <a:cubicBezTo>
                    <a:pt x="26" y="7"/>
                    <a:pt x="26" y="5"/>
                    <a:pt x="26" y="3"/>
                  </a:cubicBezTo>
                  <a:cubicBezTo>
                    <a:pt x="24" y="1"/>
                    <a:pt x="21" y="0"/>
                    <a:pt x="18" y="0"/>
                  </a:cubicBezTo>
                  <a:cubicBezTo>
                    <a:pt x="11" y="0"/>
                    <a:pt x="6" y="5"/>
                    <a:pt x="6" y="12"/>
                  </a:cubicBezTo>
                  <a:cubicBezTo>
                    <a:pt x="6" y="16"/>
                    <a:pt x="8" y="19"/>
                    <a:pt x="11" y="22"/>
                  </a:cubicBezTo>
                  <a:cubicBezTo>
                    <a:pt x="4" y="24"/>
                    <a:pt x="0" y="31"/>
                    <a:pt x="0" y="38"/>
                  </a:cubicBezTo>
                  <a:cubicBezTo>
                    <a:pt x="0" y="39"/>
                    <a:pt x="1" y="40"/>
                    <a:pt x="2" y="40"/>
                  </a:cubicBezTo>
                  <a:cubicBezTo>
                    <a:pt x="18" y="40"/>
                    <a:pt x="18" y="40"/>
                    <a:pt x="18" y="40"/>
                  </a:cubicBezTo>
                  <a:cubicBezTo>
                    <a:pt x="19" y="33"/>
                    <a:pt x="23" y="27"/>
                    <a:pt x="28"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Arial"/>
                <a:cs typeface="+mn-cs"/>
              </a:endParaRPr>
            </a:p>
          </p:txBody>
        </p:sp>
        <p:sp>
          <p:nvSpPr>
            <p:cNvPr id="74" name="Freeform 148">
              <a:extLst>
                <a:ext uri="{FF2B5EF4-FFF2-40B4-BE49-F238E27FC236}">
                  <a16:creationId xmlns:a16="http://schemas.microsoft.com/office/drawing/2014/main" id="{587662B3-1EB1-437A-A377-27599F012F4B}"/>
                </a:ext>
              </a:extLst>
            </p:cNvPr>
            <p:cNvSpPr>
              <a:spLocks/>
            </p:cNvSpPr>
            <p:nvPr/>
          </p:nvSpPr>
          <p:spPr bwMode="auto">
            <a:xfrm>
              <a:off x="4206875" y="2978151"/>
              <a:ext cx="173038" cy="52388"/>
            </a:xfrm>
            <a:custGeom>
              <a:avLst/>
              <a:gdLst>
                <a:gd name="T0" fmla="*/ 2 w 46"/>
                <a:gd name="T1" fmla="*/ 14 h 14"/>
                <a:gd name="T2" fmla="*/ 1 w 46"/>
                <a:gd name="T3" fmla="*/ 14 h 14"/>
                <a:gd name="T4" fmla="*/ 1 w 46"/>
                <a:gd name="T5" fmla="*/ 11 h 14"/>
                <a:gd name="T6" fmla="*/ 23 w 46"/>
                <a:gd name="T7" fmla="*/ 0 h 14"/>
                <a:gd name="T8" fmla="*/ 45 w 46"/>
                <a:gd name="T9" fmla="*/ 11 h 14"/>
                <a:gd name="T10" fmla="*/ 45 w 46"/>
                <a:gd name="T11" fmla="*/ 14 h 14"/>
                <a:gd name="T12" fmla="*/ 42 w 46"/>
                <a:gd name="T13" fmla="*/ 13 h 14"/>
                <a:gd name="T14" fmla="*/ 23 w 46"/>
                <a:gd name="T15" fmla="*/ 4 h 14"/>
                <a:gd name="T16" fmla="*/ 4 w 46"/>
                <a:gd name="T17" fmla="*/ 13 h 14"/>
                <a:gd name="T18" fmla="*/ 2 w 46"/>
                <a:gd name="T19"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6" h="14">
                  <a:moveTo>
                    <a:pt x="2" y="14"/>
                  </a:moveTo>
                  <a:cubicBezTo>
                    <a:pt x="2" y="14"/>
                    <a:pt x="2" y="14"/>
                    <a:pt x="1" y="14"/>
                  </a:cubicBezTo>
                  <a:cubicBezTo>
                    <a:pt x="0" y="13"/>
                    <a:pt x="0" y="12"/>
                    <a:pt x="1" y="11"/>
                  </a:cubicBezTo>
                  <a:cubicBezTo>
                    <a:pt x="6" y="4"/>
                    <a:pt x="14" y="0"/>
                    <a:pt x="23" y="0"/>
                  </a:cubicBezTo>
                  <a:cubicBezTo>
                    <a:pt x="32" y="0"/>
                    <a:pt x="40" y="4"/>
                    <a:pt x="45" y="11"/>
                  </a:cubicBezTo>
                  <a:cubicBezTo>
                    <a:pt x="46" y="12"/>
                    <a:pt x="46" y="13"/>
                    <a:pt x="45" y="14"/>
                  </a:cubicBezTo>
                  <a:cubicBezTo>
                    <a:pt x="44" y="14"/>
                    <a:pt x="43" y="14"/>
                    <a:pt x="42" y="13"/>
                  </a:cubicBezTo>
                  <a:cubicBezTo>
                    <a:pt x="37" y="7"/>
                    <a:pt x="30" y="4"/>
                    <a:pt x="23" y="4"/>
                  </a:cubicBezTo>
                  <a:cubicBezTo>
                    <a:pt x="16" y="4"/>
                    <a:pt x="9" y="7"/>
                    <a:pt x="4" y="13"/>
                  </a:cubicBezTo>
                  <a:cubicBezTo>
                    <a:pt x="4" y="14"/>
                    <a:pt x="3" y="14"/>
                    <a:pt x="2"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Arial"/>
                <a:cs typeface="+mn-cs"/>
              </a:endParaRPr>
            </a:p>
          </p:txBody>
        </p:sp>
        <p:sp>
          <p:nvSpPr>
            <p:cNvPr id="75" name="Freeform 149">
              <a:extLst>
                <a:ext uri="{FF2B5EF4-FFF2-40B4-BE49-F238E27FC236}">
                  <a16:creationId xmlns:a16="http://schemas.microsoft.com/office/drawing/2014/main" id="{AF3BF8B7-711C-41F6-A5D1-E7C6D371D7C0}"/>
                </a:ext>
              </a:extLst>
            </p:cNvPr>
            <p:cNvSpPr>
              <a:spLocks/>
            </p:cNvSpPr>
            <p:nvPr/>
          </p:nvSpPr>
          <p:spPr bwMode="auto">
            <a:xfrm>
              <a:off x="4179888" y="2940051"/>
              <a:ext cx="225425" cy="68263"/>
            </a:xfrm>
            <a:custGeom>
              <a:avLst/>
              <a:gdLst>
                <a:gd name="T0" fmla="*/ 2 w 60"/>
                <a:gd name="T1" fmla="*/ 17 h 18"/>
                <a:gd name="T2" fmla="*/ 1 w 60"/>
                <a:gd name="T3" fmla="*/ 17 h 18"/>
                <a:gd name="T4" fmla="*/ 0 w 60"/>
                <a:gd name="T5" fmla="*/ 14 h 18"/>
                <a:gd name="T6" fmla="*/ 30 w 60"/>
                <a:gd name="T7" fmla="*/ 0 h 18"/>
                <a:gd name="T8" fmla="*/ 60 w 60"/>
                <a:gd name="T9" fmla="*/ 14 h 18"/>
                <a:gd name="T10" fmla="*/ 59 w 60"/>
                <a:gd name="T11" fmla="*/ 17 h 18"/>
                <a:gd name="T12" fmla="*/ 56 w 60"/>
                <a:gd name="T13" fmla="*/ 17 h 18"/>
                <a:gd name="T14" fmla="*/ 30 w 60"/>
                <a:gd name="T15" fmla="*/ 4 h 18"/>
                <a:gd name="T16" fmla="*/ 4 w 60"/>
                <a:gd name="T17" fmla="*/ 17 h 18"/>
                <a:gd name="T18" fmla="*/ 2 w 60"/>
                <a:gd name="T19" fmla="*/ 17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18">
                  <a:moveTo>
                    <a:pt x="2" y="17"/>
                  </a:moveTo>
                  <a:cubicBezTo>
                    <a:pt x="2" y="17"/>
                    <a:pt x="1" y="17"/>
                    <a:pt x="1" y="17"/>
                  </a:cubicBezTo>
                  <a:cubicBezTo>
                    <a:pt x="0" y="16"/>
                    <a:pt x="0" y="15"/>
                    <a:pt x="0" y="14"/>
                  </a:cubicBezTo>
                  <a:cubicBezTo>
                    <a:pt x="8" y="5"/>
                    <a:pt x="18" y="0"/>
                    <a:pt x="30" y="0"/>
                  </a:cubicBezTo>
                  <a:cubicBezTo>
                    <a:pt x="42" y="0"/>
                    <a:pt x="52" y="5"/>
                    <a:pt x="60" y="14"/>
                  </a:cubicBezTo>
                  <a:cubicBezTo>
                    <a:pt x="60" y="15"/>
                    <a:pt x="60" y="16"/>
                    <a:pt x="59" y="17"/>
                  </a:cubicBezTo>
                  <a:cubicBezTo>
                    <a:pt x="58" y="18"/>
                    <a:pt x="57" y="17"/>
                    <a:pt x="56" y="17"/>
                  </a:cubicBezTo>
                  <a:cubicBezTo>
                    <a:pt x="50" y="9"/>
                    <a:pt x="40" y="4"/>
                    <a:pt x="30" y="4"/>
                  </a:cubicBezTo>
                  <a:cubicBezTo>
                    <a:pt x="20" y="4"/>
                    <a:pt x="10" y="9"/>
                    <a:pt x="4" y="17"/>
                  </a:cubicBezTo>
                  <a:cubicBezTo>
                    <a:pt x="3" y="17"/>
                    <a:pt x="3" y="17"/>
                    <a:pt x="2"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Arial"/>
                <a:cs typeface="+mn-cs"/>
              </a:endParaRPr>
            </a:p>
          </p:txBody>
        </p:sp>
        <p:sp>
          <p:nvSpPr>
            <p:cNvPr id="76" name="Freeform 150">
              <a:extLst>
                <a:ext uri="{FF2B5EF4-FFF2-40B4-BE49-F238E27FC236}">
                  <a16:creationId xmlns:a16="http://schemas.microsoft.com/office/drawing/2014/main" id="{0C899392-D20D-48A4-A428-284D94292B0C}"/>
                </a:ext>
              </a:extLst>
            </p:cNvPr>
            <p:cNvSpPr>
              <a:spLocks/>
            </p:cNvSpPr>
            <p:nvPr/>
          </p:nvSpPr>
          <p:spPr bwMode="auto">
            <a:xfrm>
              <a:off x="4149725" y="2901951"/>
              <a:ext cx="285750" cy="84138"/>
            </a:xfrm>
            <a:custGeom>
              <a:avLst/>
              <a:gdLst>
                <a:gd name="T0" fmla="*/ 74 w 76"/>
                <a:gd name="T1" fmla="*/ 21 h 22"/>
                <a:gd name="T2" fmla="*/ 73 w 76"/>
                <a:gd name="T3" fmla="*/ 21 h 22"/>
                <a:gd name="T4" fmla="*/ 38 w 76"/>
                <a:gd name="T5" fmla="*/ 4 h 22"/>
                <a:gd name="T6" fmla="*/ 4 w 76"/>
                <a:gd name="T7" fmla="*/ 21 h 22"/>
                <a:gd name="T8" fmla="*/ 1 w 76"/>
                <a:gd name="T9" fmla="*/ 21 h 22"/>
                <a:gd name="T10" fmla="*/ 0 w 76"/>
                <a:gd name="T11" fmla="*/ 18 h 22"/>
                <a:gd name="T12" fmla="*/ 38 w 76"/>
                <a:gd name="T13" fmla="*/ 0 h 22"/>
                <a:gd name="T14" fmla="*/ 76 w 76"/>
                <a:gd name="T15" fmla="*/ 18 h 22"/>
                <a:gd name="T16" fmla="*/ 75 w 76"/>
                <a:gd name="T17" fmla="*/ 21 h 22"/>
                <a:gd name="T18" fmla="*/ 74 w 76"/>
                <a:gd name="T19" fmla="*/ 21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6" h="22">
                  <a:moveTo>
                    <a:pt x="74" y="21"/>
                  </a:moveTo>
                  <a:cubicBezTo>
                    <a:pt x="73" y="21"/>
                    <a:pt x="73" y="21"/>
                    <a:pt x="73" y="21"/>
                  </a:cubicBezTo>
                  <a:cubicBezTo>
                    <a:pt x="64" y="10"/>
                    <a:pt x="52" y="4"/>
                    <a:pt x="38" y="4"/>
                  </a:cubicBezTo>
                  <a:cubicBezTo>
                    <a:pt x="24" y="4"/>
                    <a:pt x="12" y="10"/>
                    <a:pt x="4" y="21"/>
                  </a:cubicBezTo>
                  <a:cubicBezTo>
                    <a:pt x="3" y="21"/>
                    <a:pt x="2" y="22"/>
                    <a:pt x="1" y="21"/>
                  </a:cubicBezTo>
                  <a:cubicBezTo>
                    <a:pt x="0" y="20"/>
                    <a:pt x="0" y="19"/>
                    <a:pt x="0" y="18"/>
                  </a:cubicBezTo>
                  <a:cubicBezTo>
                    <a:pt x="10" y="7"/>
                    <a:pt x="23" y="0"/>
                    <a:pt x="38" y="0"/>
                  </a:cubicBezTo>
                  <a:cubicBezTo>
                    <a:pt x="53" y="0"/>
                    <a:pt x="66" y="7"/>
                    <a:pt x="76" y="18"/>
                  </a:cubicBezTo>
                  <a:cubicBezTo>
                    <a:pt x="76" y="19"/>
                    <a:pt x="76" y="20"/>
                    <a:pt x="75" y="21"/>
                  </a:cubicBezTo>
                  <a:cubicBezTo>
                    <a:pt x="75" y="21"/>
                    <a:pt x="75" y="21"/>
                    <a:pt x="74"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Arial"/>
                <a:cs typeface="+mn-cs"/>
              </a:endParaRPr>
            </a:p>
          </p:txBody>
        </p:sp>
        <p:sp>
          <p:nvSpPr>
            <p:cNvPr id="77" name="Freeform 151">
              <a:extLst>
                <a:ext uri="{FF2B5EF4-FFF2-40B4-BE49-F238E27FC236}">
                  <a16:creationId xmlns:a16="http://schemas.microsoft.com/office/drawing/2014/main" id="{02556ED9-2BA0-4411-A10F-57222AFD192E}"/>
                </a:ext>
              </a:extLst>
            </p:cNvPr>
            <p:cNvSpPr>
              <a:spLocks/>
            </p:cNvSpPr>
            <p:nvPr/>
          </p:nvSpPr>
          <p:spPr bwMode="auto">
            <a:xfrm>
              <a:off x="4198938" y="3022601"/>
              <a:ext cx="187325" cy="211138"/>
            </a:xfrm>
            <a:custGeom>
              <a:avLst/>
              <a:gdLst>
                <a:gd name="T0" fmla="*/ 50 w 50"/>
                <a:gd name="T1" fmla="*/ 53 h 56"/>
                <a:gd name="T2" fmla="*/ 34 w 50"/>
                <a:gd name="T3" fmla="*/ 30 h 56"/>
                <a:gd name="T4" fmla="*/ 41 w 50"/>
                <a:gd name="T5" fmla="*/ 16 h 56"/>
                <a:gd name="T6" fmla="*/ 25 w 50"/>
                <a:gd name="T7" fmla="*/ 0 h 56"/>
                <a:gd name="T8" fmla="*/ 9 w 50"/>
                <a:gd name="T9" fmla="*/ 16 h 56"/>
                <a:gd name="T10" fmla="*/ 16 w 50"/>
                <a:gd name="T11" fmla="*/ 30 h 56"/>
                <a:gd name="T12" fmla="*/ 0 w 50"/>
                <a:gd name="T13" fmla="*/ 54 h 56"/>
                <a:gd name="T14" fmla="*/ 2 w 50"/>
                <a:gd name="T15" fmla="*/ 56 h 56"/>
                <a:gd name="T16" fmla="*/ 48 w 50"/>
                <a:gd name="T17" fmla="*/ 56 h 56"/>
                <a:gd name="T18" fmla="*/ 48 w 50"/>
                <a:gd name="T19" fmla="*/ 56 h 56"/>
                <a:gd name="T20" fmla="*/ 50 w 50"/>
                <a:gd name="T21" fmla="*/ 54 h 56"/>
                <a:gd name="T22" fmla="*/ 50 w 50"/>
                <a:gd name="T23" fmla="*/ 53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 h="56">
                  <a:moveTo>
                    <a:pt x="50" y="53"/>
                  </a:moveTo>
                  <a:cubicBezTo>
                    <a:pt x="50" y="43"/>
                    <a:pt x="43" y="34"/>
                    <a:pt x="34" y="30"/>
                  </a:cubicBezTo>
                  <a:cubicBezTo>
                    <a:pt x="38" y="28"/>
                    <a:pt x="41" y="22"/>
                    <a:pt x="41" y="16"/>
                  </a:cubicBezTo>
                  <a:cubicBezTo>
                    <a:pt x="41" y="7"/>
                    <a:pt x="34" y="0"/>
                    <a:pt x="25" y="0"/>
                  </a:cubicBezTo>
                  <a:cubicBezTo>
                    <a:pt x="16" y="0"/>
                    <a:pt x="9" y="7"/>
                    <a:pt x="9" y="16"/>
                  </a:cubicBezTo>
                  <a:cubicBezTo>
                    <a:pt x="9" y="22"/>
                    <a:pt x="12" y="28"/>
                    <a:pt x="16" y="30"/>
                  </a:cubicBezTo>
                  <a:cubicBezTo>
                    <a:pt x="7" y="34"/>
                    <a:pt x="0" y="43"/>
                    <a:pt x="0" y="54"/>
                  </a:cubicBezTo>
                  <a:cubicBezTo>
                    <a:pt x="0" y="55"/>
                    <a:pt x="1" y="56"/>
                    <a:pt x="2" y="56"/>
                  </a:cubicBezTo>
                  <a:cubicBezTo>
                    <a:pt x="48" y="56"/>
                    <a:pt x="48" y="56"/>
                    <a:pt x="48" y="56"/>
                  </a:cubicBezTo>
                  <a:cubicBezTo>
                    <a:pt x="48" y="56"/>
                    <a:pt x="48" y="56"/>
                    <a:pt x="48" y="56"/>
                  </a:cubicBezTo>
                  <a:cubicBezTo>
                    <a:pt x="49" y="56"/>
                    <a:pt x="50" y="55"/>
                    <a:pt x="50" y="54"/>
                  </a:cubicBezTo>
                  <a:cubicBezTo>
                    <a:pt x="50" y="54"/>
                    <a:pt x="50" y="54"/>
                    <a:pt x="50" y="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Arial"/>
                <a:cs typeface="+mn-cs"/>
              </a:endParaRPr>
            </a:p>
          </p:txBody>
        </p:sp>
      </p:grpSp>
      <p:grpSp>
        <p:nvGrpSpPr>
          <p:cNvPr id="78" name="Group 186">
            <a:extLst>
              <a:ext uri="{FF2B5EF4-FFF2-40B4-BE49-F238E27FC236}">
                <a16:creationId xmlns:a16="http://schemas.microsoft.com/office/drawing/2014/main" id="{C0224532-DF6B-48D6-9855-FB1DBBA99EC9}"/>
              </a:ext>
            </a:extLst>
          </p:cNvPr>
          <p:cNvGrpSpPr/>
          <p:nvPr/>
        </p:nvGrpSpPr>
        <p:grpSpPr>
          <a:xfrm>
            <a:off x="8788969" y="2777610"/>
            <a:ext cx="207236" cy="210952"/>
            <a:chOff x="8447088" y="3609976"/>
            <a:chExt cx="354013" cy="360362"/>
          </a:xfrm>
          <a:gradFill>
            <a:gsLst>
              <a:gs pos="100000">
                <a:srgbClr val="0098DB"/>
              </a:gs>
              <a:gs pos="0">
                <a:srgbClr val="00497A"/>
              </a:gs>
            </a:gsLst>
            <a:lin ang="2700000" scaled="1"/>
          </a:gradFill>
        </p:grpSpPr>
        <p:sp>
          <p:nvSpPr>
            <p:cNvPr id="79" name="Oval 161">
              <a:extLst>
                <a:ext uri="{FF2B5EF4-FFF2-40B4-BE49-F238E27FC236}">
                  <a16:creationId xmlns:a16="http://schemas.microsoft.com/office/drawing/2014/main" id="{D221E799-2E84-4F9B-8F0E-177A2D28A99B}"/>
                </a:ext>
              </a:extLst>
            </p:cNvPr>
            <p:cNvSpPr>
              <a:spLocks noChangeArrowheads="1"/>
            </p:cNvSpPr>
            <p:nvPr/>
          </p:nvSpPr>
          <p:spPr bwMode="auto">
            <a:xfrm>
              <a:off x="8477250" y="3609976"/>
              <a:ext cx="120650"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Arial"/>
                <a:cs typeface="+mn-cs"/>
              </a:endParaRPr>
            </a:p>
          </p:txBody>
        </p:sp>
        <p:sp>
          <p:nvSpPr>
            <p:cNvPr id="80" name="Freeform 162">
              <a:extLst>
                <a:ext uri="{FF2B5EF4-FFF2-40B4-BE49-F238E27FC236}">
                  <a16:creationId xmlns:a16="http://schemas.microsoft.com/office/drawing/2014/main" id="{423C6F6F-72C6-457F-9752-0383DB55D1B9}"/>
                </a:ext>
              </a:extLst>
            </p:cNvPr>
            <p:cNvSpPr>
              <a:spLocks/>
            </p:cNvSpPr>
            <p:nvPr/>
          </p:nvSpPr>
          <p:spPr bwMode="auto">
            <a:xfrm>
              <a:off x="8447088" y="3744913"/>
              <a:ext cx="180975" cy="225425"/>
            </a:xfrm>
            <a:custGeom>
              <a:avLst/>
              <a:gdLst>
                <a:gd name="T0" fmla="*/ 28 w 48"/>
                <a:gd name="T1" fmla="*/ 0 h 60"/>
                <a:gd name="T2" fmla="*/ 30 w 48"/>
                <a:gd name="T3" fmla="*/ 27 h 60"/>
                <a:gd name="T4" fmla="*/ 24 w 48"/>
                <a:gd name="T5" fmla="*/ 33 h 60"/>
                <a:gd name="T6" fmla="*/ 18 w 48"/>
                <a:gd name="T7" fmla="*/ 27 h 60"/>
                <a:gd name="T8" fmla="*/ 20 w 48"/>
                <a:gd name="T9" fmla="*/ 0 h 60"/>
                <a:gd name="T10" fmla="*/ 0 w 48"/>
                <a:gd name="T11" fmla="*/ 0 h 60"/>
                <a:gd name="T12" fmla="*/ 0 w 48"/>
                <a:gd name="T13" fmla="*/ 2 h 60"/>
                <a:gd name="T14" fmla="*/ 14 w 48"/>
                <a:gd name="T15" fmla="*/ 33 h 60"/>
                <a:gd name="T16" fmla="*/ 14 w 48"/>
                <a:gd name="T17" fmla="*/ 60 h 60"/>
                <a:gd name="T18" fmla="*/ 34 w 48"/>
                <a:gd name="T19" fmla="*/ 60 h 60"/>
                <a:gd name="T20" fmla="*/ 34 w 48"/>
                <a:gd name="T21" fmla="*/ 33 h 60"/>
                <a:gd name="T22" fmla="*/ 48 w 48"/>
                <a:gd name="T23" fmla="*/ 2 h 60"/>
                <a:gd name="T24" fmla="*/ 48 w 48"/>
                <a:gd name="T25" fmla="*/ 0 h 60"/>
                <a:gd name="T26" fmla="*/ 28 w 48"/>
                <a:gd name="T27"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60">
                  <a:moveTo>
                    <a:pt x="28" y="0"/>
                  </a:moveTo>
                  <a:cubicBezTo>
                    <a:pt x="30" y="27"/>
                    <a:pt x="30" y="27"/>
                    <a:pt x="30" y="27"/>
                  </a:cubicBezTo>
                  <a:cubicBezTo>
                    <a:pt x="24" y="33"/>
                    <a:pt x="24" y="33"/>
                    <a:pt x="24" y="33"/>
                  </a:cubicBezTo>
                  <a:cubicBezTo>
                    <a:pt x="18" y="27"/>
                    <a:pt x="18" y="27"/>
                    <a:pt x="18" y="27"/>
                  </a:cubicBezTo>
                  <a:cubicBezTo>
                    <a:pt x="20" y="0"/>
                    <a:pt x="20" y="0"/>
                    <a:pt x="20" y="0"/>
                  </a:cubicBezTo>
                  <a:cubicBezTo>
                    <a:pt x="0" y="0"/>
                    <a:pt x="0" y="0"/>
                    <a:pt x="0" y="0"/>
                  </a:cubicBezTo>
                  <a:cubicBezTo>
                    <a:pt x="0" y="2"/>
                    <a:pt x="0" y="2"/>
                    <a:pt x="0" y="2"/>
                  </a:cubicBezTo>
                  <a:cubicBezTo>
                    <a:pt x="0" y="16"/>
                    <a:pt x="5" y="27"/>
                    <a:pt x="14" y="33"/>
                  </a:cubicBezTo>
                  <a:cubicBezTo>
                    <a:pt x="14" y="60"/>
                    <a:pt x="14" y="60"/>
                    <a:pt x="14" y="60"/>
                  </a:cubicBezTo>
                  <a:cubicBezTo>
                    <a:pt x="34" y="60"/>
                    <a:pt x="34" y="60"/>
                    <a:pt x="34" y="60"/>
                  </a:cubicBezTo>
                  <a:cubicBezTo>
                    <a:pt x="34" y="33"/>
                    <a:pt x="34" y="33"/>
                    <a:pt x="34" y="33"/>
                  </a:cubicBezTo>
                  <a:cubicBezTo>
                    <a:pt x="43" y="27"/>
                    <a:pt x="48" y="16"/>
                    <a:pt x="48" y="2"/>
                  </a:cubicBezTo>
                  <a:cubicBezTo>
                    <a:pt x="48" y="0"/>
                    <a:pt x="48" y="0"/>
                    <a:pt x="48" y="0"/>
                  </a:cubicBezTo>
                  <a:lnTo>
                    <a:pt x="2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Arial"/>
                <a:cs typeface="+mn-cs"/>
              </a:endParaRPr>
            </a:p>
          </p:txBody>
        </p:sp>
        <p:sp>
          <p:nvSpPr>
            <p:cNvPr id="81" name="Freeform 163">
              <a:extLst>
                <a:ext uri="{FF2B5EF4-FFF2-40B4-BE49-F238E27FC236}">
                  <a16:creationId xmlns:a16="http://schemas.microsoft.com/office/drawing/2014/main" id="{FD31A74E-6A93-4C94-9BE9-0DF2BDEAE571}"/>
                </a:ext>
              </a:extLst>
            </p:cNvPr>
            <p:cNvSpPr>
              <a:spLocks noEditPoints="1"/>
            </p:cNvSpPr>
            <p:nvPr/>
          </p:nvSpPr>
          <p:spPr bwMode="auto">
            <a:xfrm>
              <a:off x="8583613" y="3624263"/>
              <a:ext cx="217488" cy="225425"/>
            </a:xfrm>
            <a:custGeom>
              <a:avLst/>
              <a:gdLst>
                <a:gd name="T0" fmla="*/ 4 w 58"/>
                <a:gd name="T1" fmla="*/ 0 h 60"/>
                <a:gd name="T2" fmla="*/ 8 w 58"/>
                <a:gd name="T3" fmla="*/ 12 h 60"/>
                <a:gd name="T4" fmla="*/ 0 w 58"/>
                <a:gd name="T5" fmla="*/ 28 h 60"/>
                <a:gd name="T6" fmla="*/ 16 w 58"/>
                <a:gd name="T7" fmla="*/ 28 h 60"/>
                <a:gd name="T8" fmla="*/ 16 w 58"/>
                <a:gd name="T9" fmla="*/ 34 h 60"/>
                <a:gd name="T10" fmla="*/ 9 w 58"/>
                <a:gd name="T11" fmla="*/ 60 h 60"/>
                <a:gd name="T12" fmla="*/ 58 w 58"/>
                <a:gd name="T13" fmla="*/ 60 h 60"/>
                <a:gd name="T14" fmla="*/ 58 w 58"/>
                <a:gd name="T15" fmla="*/ 0 h 60"/>
                <a:gd name="T16" fmla="*/ 4 w 58"/>
                <a:gd name="T17" fmla="*/ 0 h 60"/>
                <a:gd name="T18" fmla="*/ 50 w 58"/>
                <a:gd name="T19" fmla="*/ 50 h 60"/>
                <a:gd name="T20" fmla="*/ 48 w 58"/>
                <a:gd name="T21" fmla="*/ 52 h 60"/>
                <a:gd name="T22" fmla="*/ 48 w 58"/>
                <a:gd name="T23" fmla="*/ 52 h 60"/>
                <a:gd name="T24" fmla="*/ 48 w 58"/>
                <a:gd name="T25" fmla="*/ 52 h 60"/>
                <a:gd name="T26" fmla="*/ 24 w 58"/>
                <a:gd name="T27" fmla="*/ 52 h 60"/>
                <a:gd name="T28" fmla="*/ 22 w 58"/>
                <a:gd name="T29" fmla="*/ 50 h 60"/>
                <a:gd name="T30" fmla="*/ 24 w 58"/>
                <a:gd name="T31" fmla="*/ 48 h 60"/>
                <a:gd name="T32" fmla="*/ 30 w 58"/>
                <a:gd name="T33" fmla="*/ 48 h 60"/>
                <a:gd name="T34" fmla="*/ 30 w 58"/>
                <a:gd name="T35" fmla="*/ 34 h 60"/>
                <a:gd name="T36" fmla="*/ 32 w 58"/>
                <a:gd name="T37" fmla="*/ 32 h 60"/>
                <a:gd name="T38" fmla="*/ 34 w 58"/>
                <a:gd name="T39" fmla="*/ 34 h 60"/>
                <a:gd name="T40" fmla="*/ 34 w 58"/>
                <a:gd name="T41" fmla="*/ 48 h 60"/>
                <a:gd name="T42" fmla="*/ 38 w 58"/>
                <a:gd name="T43" fmla="*/ 48 h 60"/>
                <a:gd name="T44" fmla="*/ 38 w 58"/>
                <a:gd name="T45" fmla="*/ 26 h 60"/>
                <a:gd name="T46" fmla="*/ 40 w 58"/>
                <a:gd name="T47" fmla="*/ 24 h 60"/>
                <a:gd name="T48" fmla="*/ 42 w 58"/>
                <a:gd name="T49" fmla="*/ 26 h 60"/>
                <a:gd name="T50" fmla="*/ 42 w 58"/>
                <a:gd name="T51" fmla="*/ 48 h 60"/>
                <a:gd name="T52" fmla="*/ 46 w 58"/>
                <a:gd name="T53" fmla="*/ 48 h 60"/>
                <a:gd name="T54" fmla="*/ 46 w 58"/>
                <a:gd name="T55" fmla="*/ 14 h 60"/>
                <a:gd name="T56" fmla="*/ 48 w 58"/>
                <a:gd name="T57" fmla="*/ 12 h 60"/>
                <a:gd name="T58" fmla="*/ 50 w 58"/>
                <a:gd name="T59" fmla="*/ 14 h 60"/>
                <a:gd name="T60" fmla="*/ 50 w 58"/>
                <a:gd name="T61" fmla="*/ 5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58" h="60">
                  <a:moveTo>
                    <a:pt x="4" y="0"/>
                  </a:moveTo>
                  <a:cubicBezTo>
                    <a:pt x="7" y="3"/>
                    <a:pt x="8" y="7"/>
                    <a:pt x="8" y="12"/>
                  </a:cubicBezTo>
                  <a:cubicBezTo>
                    <a:pt x="8" y="19"/>
                    <a:pt x="5" y="24"/>
                    <a:pt x="0" y="28"/>
                  </a:cubicBezTo>
                  <a:cubicBezTo>
                    <a:pt x="16" y="28"/>
                    <a:pt x="16" y="28"/>
                    <a:pt x="16" y="28"/>
                  </a:cubicBezTo>
                  <a:cubicBezTo>
                    <a:pt x="16" y="34"/>
                    <a:pt x="16" y="34"/>
                    <a:pt x="16" y="34"/>
                  </a:cubicBezTo>
                  <a:cubicBezTo>
                    <a:pt x="16" y="44"/>
                    <a:pt x="14" y="53"/>
                    <a:pt x="9" y="60"/>
                  </a:cubicBezTo>
                  <a:cubicBezTo>
                    <a:pt x="58" y="60"/>
                    <a:pt x="58" y="60"/>
                    <a:pt x="58" y="60"/>
                  </a:cubicBezTo>
                  <a:cubicBezTo>
                    <a:pt x="58" y="0"/>
                    <a:pt x="58" y="0"/>
                    <a:pt x="58" y="0"/>
                  </a:cubicBezTo>
                  <a:lnTo>
                    <a:pt x="4" y="0"/>
                  </a:lnTo>
                  <a:close/>
                  <a:moveTo>
                    <a:pt x="50" y="50"/>
                  </a:moveTo>
                  <a:cubicBezTo>
                    <a:pt x="50" y="51"/>
                    <a:pt x="49" y="52"/>
                    <a:pt x="48" y="52"/>
                  </a:cubicBezTo>
                  <a:cubicBezTo>
                    <a:pt x="48" y="52"/>
                    <a:pt x="48" y="52"/>
                    <a:pt x="48" y="52"/>
                  </a:cubicBezTo>
                  <a:cubicBezTo>
                    <a:pt x="48" y="52"/>
                    <a:pt x="48" y="52"/>
                    <a:pt x="48" y="52"/>
                  </a:cubicBezTo>
                  <a:cubicBezTo>
                    <a:pt x="24" y="52"/>
                    <a:pt x="24" y="52"/>
                    <a:pt x="24" y="52"/>
                  </a:cubicBezTo>
                  <a:cubicBezTo>
                    <a:pt x="23" y="52"/>
                    <a:pt x="22" y="51"/>
                    <a:pt x="22" y="50"/>
                  </a:cubicBezTo>
                  <a:cubicBezTo>
                    <a:pt x="22" y="49"/>
                    <a:pt x="23" y="48"/>
                    <a:pt x="24" y="48"/>
                  </a:cubicBezTo>
                  <a:cubicBezTo>
                    <a:pt x="30" y="48"/>
                    <a:pt x="30" y="48"/>
                    <a:pt x="30" y="48"/>
                  </a:cubicBezTo>
                  <a:cubicBezTo>
                    <a:pt x="30" y="34"/>
                    <a:pt x="30" y="34"/>
                    <a:pt x="30" y="34"/>
                  </a:cubicBezTo>
                  <a:cubicBezTo>
                    <a:pt x="30" y="33"/>
                    <a:pt x="31" y="32"/>
                    <a:pt x="32" y="32"/>
                  </a:cubicBezTo>
                  <a:cubicBezTo>
                    <a:pt x="33" y="32"/>
                    <a:pt x="34" y="33"/>
                    <a:pt x="34" y="34"/>
                  </a:cubicBezTo>
                  <a:cubicBezTo>
                    <a:pt x="34" y="48"/>
                    <a:pt x="34" y="48"/>
                    <a:pt x="34" y="48"/>
                  </a:cubicBezTo>
                  <a:cubicBezTo>
                    <a:pt x="38" y="48"/>
                    <a:pt x="38" y="48"/>
                    <a:pt x="38" y="48"/>
                  </a:cubicBezTo>
                  <a:cubicBezTo>
                    <a:pt x="38" y="26"/>
                    <a:pt x="38" y="26"/>
                    <a:pt x="38" y="26"/>
                  </a:cubicBezTo>
                  <a:cubicBezTo>
                    <a:pt x="38" y="25"/>
                    <a:pt x="39" y="24"/>
                    <a:pt x="40" y="24"/>
                  </a:cubicBezTo>
                  <a:cubicBezTo>
                    <a:pt x="41" y="24"/>
                    <a:pt x="42" y="25"/>
                    <a:pt x="42" y="26"/>
                  </a:cubicBezTo>
                  <a:cubicBezTo>
                    <a:pt x="42" y="48"/>
                    <a:pt x="42" y="48"/>
                    <a:pt x="42" y="48"/>
                  </a:cubicBezTo>
                  <a:cubicBezTo>
                    <a:pt x="46" y="48"/>
                    <a:pt x="46" y="48"/>
                    <a:pt x="46" y="48"/>
                  </a:cubicBezTo>
                  <a:cubicBezTo>
                    <a:pt x="46" y="14"/>
                    <a:pt x="46" y="14"/>
                    <a:pt x="46" y="14"/>
                  </a:cubicBezTo>
                  <a:cubicBezTo>
                    <a:pt x="46" y="13"/>
                    <a:pt x="47" y="12"/>
                    <a:pt x="48" y="12"/>
                  </a:cubicBezTo>
                  <a:cubicBezTo>
                    <a:pt x="49" y="12"/>
                    <a:pt x="50" y="13"/>
                    <a:pt x="50" y="14"/>
                  </a:cubicBezTo>
                  <a:lnTo>
                    <a:pt x="50" y="5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Arial"/>
                <a:cs typeface="+mn-cs"/>
              </a:endParaRPr>
            </a:p>
          </p:txBody>
        </p:sp>
      </p:grpSp>
      <p:grpSp>
        <p:nvGrpSpPr>
          <p:cNvPr id="82" name="Group 196">
            <a:extLst>
              <a:ext uri="{FF2B5EF4-FFF2-40B4-BE49-F238E27FC236}">
                <a16:creationId xmlns:a16="http://schemas.microsoft.com/office/drawing/2014/main" id="{9C45B1F8-7F6C-4F4B-BC31-678CB0A6EFC0}"/>
              </a:ext>
            </a:extLst>
          </p:cNvPr>
          <p:cNvGrpSpPr/>
          <p:nvPr/>
        </p:nvGrpSpPr>
        <p:grpSpPr>
          <a:xfrm>
            <a:off x="9431292" y="3284617"/>
            <a:ext cx="1454387" cy="444544"/>
            <a:chOff x="9431292" y="3370342"/>
            <a:chExt cx="1454387" cy="444544"/>
          </a:xfrm>
        </p:grpSpPr>
        <p:sp>
          <p:nvSpPr>
            <p:cNvPr id="83" name="Rectangle 154">
              <a:extLst>
                <a:ext uri="{FF2B5EF4-FFF2-40B4-BE49-F238E27FC236}">
                  <a16:creationId xmlns:a16="http://schemas.microsoft.com/office/drawing/2014/main" id="{02B19FA8-F8B4-4711-8B3A-3E176CB9EDF4}"/>
                </a:ext>
              </a:extLst>
            </p:cNvPr>
            <p:cNvSpPr/>
            <p:nvPr/>
          </p:nvSpPr>
          <p:spPr>
            <a:xfrm>
              <a:off x="9968820" y="3377171"/>
              <a:ext cx="916859" cy="430887"/>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0" cap="none" spc="0" normalizeH="0" baseline="0" noProof="0" dirty="0">
                  <a:ln>
                    <a:noFill/>
                  </a:ln>
                  <a:solidFill>
                    <a:srgbClr val="FFFFFF"/>
                  </a:solidFill>
                  <a:effectLst/>
                  <a:uLnTx/>
                  <a:uFillTx/>
                  <a:latin typeface="Gill Sans MT" panose="020B0502020104020203" pitchFamily="34" charset="0"/>
                  <a:cs typeface="Segoe UI" panose="020B0502040204020203" pitchFamily="34" charset="0"/>
                </a:rPr>
                <a:t>Goal</a:t>
              </a:r>
            </a:p>
          </p:txBody>
        </p:sp>
        <p:grpSp>
          <p:nvGrpSpPr>
            <p:cNvPr id="84" name="Group 192">
              <a:extLst>
                <a:ext uri="{FF2B5EF4-FFF2-40B4-BE49-F238E27FC236}">
                  <a16:creationId xmlns:a16="http://schemas.microsoft.com/office/drawing/2014/main" id="{7BBA64AD-D3A5-40A1-A17C-CB749B06CDC1}"/>
                </a:ext>
              </a:extLst>
            </p:cNvPr>
            <p:cNvGrpSpPr/>
            <p:nvPr/>
          </p:nvGrpSpPr>
          <p:grpSpPr>
            <a:xfrm>
              <a:off x="9431292" y="3370342"/>
              <a:ext cx="438693" cy="444544"/>
              <a:chOff x="5554663" y="723900"/>
              <a:chExt cx="357187" cy="361951"/>
            </a:xfrm>
            <a:solidFill>
              <a:srgbClr val="FF9933"/>
            </a:solidFill>
          </p:grpSpPr>
          <p:sp>
            <p:nvSpPr>
              <p:cNvPr id="85" name="Freeform 68">
                <a:extLst>
                  <a:ext uri="{FF2B5EF4-FFF2-40B4-BE49-F238E27FC236}">
                    <a16:creationId xmlns:a16="http://schemas.microsoft.com/office/drawing/2014/main" id="{CDDA2C3F-1902-4DAF-8E8A-4B0C0A51D84F}"/>
                  </a:ext>
                </a:extLst>
              </p:cNvPr>
              <p:cNvSpPr>
                <a:spLocks/>
              </p:cNvSpPr>
              <p:nvPr/>
            </p:nvSpPr>
            <p:spPr bwMode="auto">
              <a:xfrm>
                <a:off x="5554663" y="949325"/>
                <a:ext cx="131763" cy="136525"/>
              </a:xfrm>
              <a:custGeom>
                <a:avLst/>
                <a:gdLst>
                  <a:gd name="T0" fmla="*/ 12 w 35"/>
                  <a:gd name="T1" fmla="*/ 0 h 36"/>
                  <a:gd name="T2" fmla="*/ 0 w 35"/>
                  <a:gd name="T3" fmla="*/ 21 h 36"/>
                  <a:gd name="T4" fmla="*/ 0 w 35"/>
                  <a:gd name="T5" fmla="*/ 23 h 36"/>
                  <a:gd name="T6" fmla="*/ 2 w 35"/>
                  <a:gd name="T7" fmla="*/ 24 h 36"/>
                  <a:gd name="T8" fmla="*/ 16 w 35"/>
                  <a:gd name="T9" fmla="*/ 22 h 36"/>
                  <a:gd name="T10" fmla="*/ 21 w 35"/>
                  <a:gd name="T11" fmla="*/ 35 h 36"/>
                  <a:gd name="T12" fmla="*/ 23 w 35"/>
                  <a:gd name="T13" fmla="*/ 36 h 36"/>
                  <a:gd name="T14" fmla="*/ 23 w 35"/>
                  <a:gd name="T15" fmla="*/ 36 h 36"/>
                  <a:gd name="T16" fmla="*/ 24 w 35"/>
                  <a:gd name="T17" fmla="*/ 35 h 36"/>
                  <a:gd name="T18" fmla="*/ 35 w 35"/>
                  <a:gd name="T19" fmla="*/ 18 h 36"/>
                  <a:gd name="T20" fmla="*/ 12 w 35"/>
                  <a:gd name="T21"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5" h="36">
                    <a:moveTo>
                      <a:pt x="12" y="0"/>
                    </a:moveTo>
                    <a:cubicBezTo>
                      <a:pt x="0" y="21"/>
                      <a:pt x="0" y="21"/>
                      <a:pt x="0" y="21"/>
                    </a:cubicBezTo>
                    <a:cubicBezTo>
                      <a:pt x="0" y="22"/>
                      <a:pt x="0" y="22"/>
                      <a:pt x="0" y="23"/>
                    </a:cubicBezTo>
                    <a:cubicBezTo>
                      <a:pt x="1" y="24"/>
                      <a:pt x="2" y="24"/>
                      <a:pt x="2" y="24"/>
                    </a:cubicBezTo>
                    <a:cubicBezTo>
                      <a:pt x="16" y="22"/>
                      <a:pt x="16" y="22"/>
                      <a:pt x="16" y="22"/>
                    </a:cubicBezTo>
                    <a:cubicBezTo>
                      <a:pt x="21" y="35"/>
                      <a:pt x="21" y="35"/>
                      <a:pt x="21" y="35"/>
                    </a:cubicBezTo>
                    <a:cubicBezTo>
                      <a:pt x="21" y="35"/>
                      <a:pt x="22" y="36"/>
                      <a:pt x="23" y="36"/>
                    </a:cubicBezTo>
                    <a:cubicBezTo>
                      <a:pt x="23" y="36"/>
                      <a:pt x="23" y="36"/>
                      <a:pt x="23" y="36"/>
                    </a:cubicBezTo>
                    <a:cubicBezTo>
                      <a:pt x="23" y="36"/>
                      <a:pt x="24" y="36"/>
                      <a:pt x="24" y="35"/>
                    </a:cubicBezTo>
                    <a:cubicBezTo>
                      <a:pt x="35" y="18"/>
                      <a:pt x="35" y="18"/>
                      <a:pt x="35" y="18"/>
                    </a:cubicBezTo>
                    <a:cubicBezTo>
                      <a:pt x="25" y="15"/>
                      <a:pt x="17" y="8"/>
                      <a:pt x="1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Arial"/>
                  <a:cs typeface="+mn-cs"/>
                </a:endParaRPr>
              </a:p>
            </p:txBody>
          </p:sp>
          <p:sp>
            <p:nvSpPr>
              <p:cNvPr id="86" name="Freeform 69">
                <a:extLst>
                  <a:ext uri="{FF2B5EF4-FFF2-40B4-BE49-F238E27FC236}">
                    <a16:creationId xmlns:a16="http://schemas.microsoft.com/office/drawing/2014/main" id="{651D4BDD-5A6C-4C35-A80F-697B094D00A2}"/>
                  </a:ext>
                </a:extLst>
              </p:cNvPr>
              <p:cNvSpPr>
                <a:spLocks/>
              </p:cNvSpPr>
              <p:nvPr/>
            </p:nvSpPr>
            <p:spPr bwMode="auto">
              <a:xfrm>
                <a:off x="5784850" y="954088"/>
                <a:ext cx="127000" cy="131763"/>
              </a:xfrm>
              <a:custGeom>
                <a:avLst/>
                <a:gdLst>
                  <a:gd name="T0" fmla="*/ 34 w 34"/>
                  <a:gd name="T1" fmla="*/ 20 h 35"/>
                  <a:gd name="T2" fmla="*/ 22 w 34"/>
                  <a:gd name="T3" fmla="*/ 0 h 35"/>
                  <a:gd name="T4" fmla="*/ 0 w 34"/>
                  <a:gd name="T5" fmla="*/ 17 h 35"/>
                  <a:gd name="T6" fmla="*/ 10 w 34"/>
                  <a:gd name="T7" fmla="*/ 34 h 35"/>
                  <a:gd name="T8" fmla="*/ 12 w 34"/>
                  <a:gd name="T9" fmla="*/ 35 h 35"/>
                  <a:gd name="T10" fmla="*/ 12 w 34"/>
                  <a:gd name="T11" fmla="*/ 35 h 35"/>
                  <a:gd name="T12" fmla="*/ 13 w 34"/>
                  <a:gd name="T13" fmla="*/ 34 h 35"/>
                  <a:gd name="T14" fmla="*/ 18 w 34"/>
                  <a:gd name="T15" fmla="*/ 21 h 35"/>
                  <a:gd name="T16" fmla="*/ 32 w 34"/>
                  <a:gd name="T17" fmla="*/ 23 h 35"/>
                  <a:gd name="T18" fmla="*/ 34 w 34"/>
                  <a:gd name="T19" fmla="*/ 22 h 35"/>
                  <a:gd name="T20" fmla="*/ 34 w 34"/>
                  <a:gd name="T21" fmla="*/ 2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4" h="35">
                    <a:moveTo>
                      <a:pt x="34" y="20"/>
                    </a:moveTo>
                    <a:cubicBezTo>
                      <a:pt x="22" y="0"/>
                      <a:pt x="22" y="0"/>
                      <a:pt x="22" y="0"/>
                    </a:cubicBezTo>
                    <a:cubicBezTo>
                      <a:pt x="17" y="8"/>
                      <a:pt x="9" y="14"/>
                      <a:pt x="0" y="17"/>
                    </a:cubicBezTo>
                    <a:cubicBezTo>
                      <a:pt x="10" y="34"/>
                      <a:pt x="10" y="34"/>
                      <a:pt x="10" y="34"/>
                    </a:cubicBezTo>
                    <a:cubicBezTo>
                      <a:pt x="10" y="35"/>
                      <a:pt x="11" y="35"/>
                      <a:pt x="12" y="35"/>
                    </a:cubicBezTo>
                    <a:cubicBezTo>
                      <a:pt x="12" y="35"/>
                      <a:pt x="12" y="35"/>
                      <a:pt x="12" y="35"/>
                    </a:cubicBezTo>
                    <a:cubicBezTo>
                      <a:pt x="13" y="35"/>
                      <a:pt x="13" y="34"/>
                      <a:pt x="13" y="34"/>
                    </a:cubicBezTo>
                    <a:cubicBezTo>
                      <a:pt x="18" y="21"/>
                      <a:pt x="18" y="21"/>
                      <a:pt x="18" y="21"/>
                    </a:cubicBezTo>
                    <a:cubicBezTo>
                      <a:pt x="32" y="23"/>
                      <a:pt x="32" y="23"/>
                      <a:pt x="32" y="23"/>
                    </a:cubicBezTo>
                    <a:cubicBezTo>
                      <a:pt x="33" y="23"/>
                      <a:pt x="34" y="23"/>
                      <a:pt x="34" y="22"/>
                    </a:cubicBezTo>
                    <a:cubicBezTo>
                      <a:pt x="34" y="21"/>
                      <a:pt x="34" y="21"/>
                      <a:pt x="34"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Arial"/>
                  <a:cs typeface="+mn-cs"/>
                </a:endParaRPr>
              </a:p>
            </p:txBody>
          </p:sp>
          <p:sp>
            <p:nvSpPr>
              <p:cNvPr id="87" name="Freeform 70">
                <a:extLst>
                  <a:ext uri="{FF2B5EF4-FFF2-40B4-BE49-F238E27FC236}">
                    <a16:creationId xmlns:a16="http://schemas.microsoft.com/office/drawing/2014/main" id="{6B4CB5C4-132C-4E76-AD6B-9C806CDB6F2B}"/>
                  </a:ext>
                </a:extLst>
              </p:cNvPr>
              <p:cNvSpPr>
                <a:spLocks noEditPoints="1"/>
              </p:cNvSpPr>
              <p:nvPr/>
            </p:nvSpPr>
            <p:spPr bwMode="auto">
              <a:xfrm>
                <a:off x="5592765" y="723900"/>
                <a:ext cx="285750" cy="285750"/>
              </a:xfrm>
              <a:custGeom>
                <a:avLst/>
                <a:gdLst>
                  <a:gd name="T0" fmla="*/ 76 w 76"/>
                  <a:gd name="T1" fmla="*/ 38 h 76"/>
                  <a:gd name="T2" fmla="*/ 38 w 76"/>
                  <a:gd name="T3" fmla="*/ 0 h 76"/>
                  <a:gd name="T4" fmla="*/ 0 w 76"/>
                  <a:gd name="T5" fmla="*/ 38 h 76"/>
                  <a:gd name="T6" fmla="*/ 38 w 76"/>
                  <a:gd name="T7" fmla="*/ 76 h 76"/>
                  <a:gd name="T8" fmla="*/ 76 w 76"/>
                  <a:gd name="T9" fmla="*/ 38 h 76"/>
                  <a:gd name="T10" fmla="*/ 57 w 76"/>
                  <a:gd name="T11" fmla="*/ 34 h 76"/>
                  <a:gd name="T12" fmla="*/ 48 w 76"/>
                  <a:gd name="T13" fmla="*/ 41 h 76"/>
                  <a:gd name="T14" fmla="*/ 52 w 76"/>
                  <a:gd name="T15" fmla="*/ 53 h 76"/>
                  <a:gd name="T16" fmla="*/ 51 w 76"/>
                  <a:gd name="T17" fmla="*/ 56 h 76"/>
                  <a:gd name="T18" fmla="*/ 50 w 76"/>
                  <a:gd name="T19" fmla="*/ 56 h 76"/>
                  <a:gd name="T20" fmla="*/ 49 w 76"/>
                  <a:gd name="T21" fmla="*/ 56 h 76"/>
                  <a:gd name="T22" fmla="*/ 38 w 76"/>
                  <a:gd name="T23" fmla="*/ 49 h 76"/>
                  <a:gd name="T24" fmla="*/ 27 w 76"/>
                  <a:gd name="T25" fmla="*/ 56 h 76"/>
                  <a:gd name="T26" fmla="*/ 25 w 76"/>
                  <a:gd name="T27" fmla="*/ 56 h 76"/>
                  <a:gd name="T28" fmla="*/ 24 w 76"/>
                  <a:gd name="T29" fmla="*/ 53 h 76"/>
                  <a:gd name="T30" fmla="*/ 28 w 76"/>
                  <a:gd name="T31" fmla="*/ 41 h 76"/>
                  <a:gd name="T32" fmla="*/ 19 w 76"/>
                  <a:gd name="T33" fmla="*/ 34 h 76"/>
                  <a:gd name="T34" fmla="*/ 18 w 76"/>
                  <a:gd name="T35" fmla="*/ 31 h 76"/>
                  <a:gd name="T36" fmla="*/ 20 w 76"/>
                  <a:gd name="T37" fmla="*/ 30 h 76"/>
                  <a:gd name="T38" fmla="*/ 31 w 76"/>
                  <a:gd name="T39" fmla="*/ 30 h 76"/>
                  <a:gd name="T40" fmla="*/ 36 w 76"/>
                  <a:gd name="T41" fmla="*/ 19 h 76"/>
                  <a:gd name="T42" fmla="*/ 40 w 76"/>
                  <a:gd name="T43" fmla="*/ 19 h 76"/>
                  <a:gd name="T44" fmla="*/ 45 w 76"/>
                  <a:gd name="T45" fmla="*/ 30 h 76"/>
                  <a:gd name="T46" fmla="*/ 56 w 76"/>
                  <a:gd name="T47" fmla="*/ 30 h 76"/>
                  <a:gd name="T48" fmla="*/ 58 w 76"/>
                  <a:gd name="T49" fmla="*/ 31 h 76"/>
                  <a:gd name="T50" fmla="*/ 57 w 76"/>
                  <a:gd name="T51" fmla="*/ 3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6" h="76">
                    <a:moveTo>
                      <a:pt x="76" y="38"/>
                    </a:moveTo>
                    <a:cubicBezTo>
                      <a:pt x="76" y="17"/>
                      <a:pt x="59" y="0"/>
                      <a:pt x="38" y="0"/>
                    </a:cubicBezTo>
                    <a:cubicBezTo>
                      <a:pt x="17" y="0"/>
                      <a:pt x="0" y="17"/>
                      <a:pt x="0" y="38"/>
                    </a:cubicBezTo>
                    <a:cubicBezTo>
                      <a:pt x="0" y="59"/>
                      <a:pt x="17" y="76"/>
                      <a:pt x="38" y="76"/>
                    </a:cubicBezTo>
                    <a:cubicBezTo>
                      <a:pt x="59" y="76"/>
                      <a:pt x="76" y="59"/>
                      <a:pt x="76" y="38"/>
                    </a:cubicBezTo>
                    <a:close/>
                    <a:moveTo>
                      <a:pt x="57" y="34"/>
                    </a:moveTo>
                    <a:cubicBezTo>
                      <a:pt x="48" y="41"/>
                      <a:pt x="48" y="41"/>
                      <a:pt x="48" y="41"/>
                    </a:cubicBezTo>
                    <a:cubicBezTo>
                      <a:pt x="52" y="53"/>
                      <a:pt x="52" y="53"/>
                      <a:pt x="52" y="53"/>
                    </a:cubicBezTo>
                    <a:cubicBezTo>
                      <a:pt x="52" y="54"/>
                      <a:pt x="52" y="55"/>
                      <a:pt x="51" y="56"/>
                    </a:cubicBezTo>
                    <a:cubicBezTo>
                      <a:pt x="51" y="56"/>
                      <a:pt x="50" y="56"/>
                      <a:pt x="50" y="56"/>
                    </a:cubicBezTo>
                    <a:cubicBezTo>
                      <a:pt x="50" y="56"/>
                      <a:pt x="49" y="56"/>
                      <a:pt x="49" y="56"/>
                    </a:cubicBezTo>
                    <a:cubicBezTo>
                      <a:pt x="38" y="49"/>
                      <a:pt x="38" y="49"/>
                      <a:pt x="38" y="49"/>
                    </a:cubicBezTo>
                    <a:cubicBezTo>
                      <a:pt x="27" y="56"/>
                      <a:pt x="27" y="56"/>
                      <a:pt x="27" y="56"/>
                    </a:cubicBezTo>
                    <a:cubicBezTo>
                      <a:pt x="26" y="56"/>
                      <a:pt x="25" y="56"/>
                      <a:pt x="25" y="56"/>
                    </a:cubicBezTo>
                    <a:cubicBezTo>
                      <a:pt x="24" y="55"/>
                      <a:pt x="24" y="54"/>
                      <a:pt x="24" y="53"/>
                    </a:cubicBezTo>
                    <a:cubicBezTo>
                      <a:pt x="28" y="41"/>
                      <a:pt x="28" y="41"/>
                      <a:pt x="28" y="41"/>
                    </a:cubicBezTo>
                    <a:cubicBezTo>
                      <a:pt x="19" y="34"/>
                      <a:pt x="19" y="34"/>
                      <a:pt x="19" y="34"/>
                    </a:cubicBezTo>
                    <a:cubicBezTo>
                      <a:pt x="18" y="33"/>
                      <a:pt x="18" y="32"/>
                      <a:pt x="18" y="31"/>
                    </a:cubicBezTo>
                    <a:cubicBezTo>
                      <a:pt x="18" y="31"/>
                      <a:pt x="19" y="30"/>
                      <a:pt x="20" y="30"/>
                    </a:cubicBezTo>
                    <a:cubicBezTo>
                      <a:pt x="31" y="30"/>
                      <a:pt x="31" y="30"/>
                      <a:pt x="31" y="30"/>
                    </a:cubicBezTo>
                    <a:cubicBezTo>
                      <a:pt x="36" y="19"/>
                      <a:pt x="36" y="19"/>
                      <a:pt x="36" y="19"/>
                    </a:cubicBezTo>
                    <a:cubicBezTo>
                      <a:pt x="37" y="18"/>
                      <a:pt x="39" y="18"/>
                      <a:pt x="40" y="19"/>
                    </a:cubicBezTo>
                    <a:cubicBezTo>
                      <a:pt x="45" y="30"/>
                      <a:pt x="45" y="30"/>
                      <a:pt x="45" y="30"/>
                    </a:cubicBezTo>
                    <a:cubicBezTo>
                      <a:pt x="56" y="30"/>
                      <a:pt x="56" y="30"/>
                      <a:pt x="56" y="30"/>
                    </a:cubicBezTo>
                    <a:cubicBezTo>
                      <a:pt x="57" y="30"/>
                      <a:pt x="58" y="31"/>
                      <a:pt x="58" y="31"/>
                    </a:cubicBezTo>
                    <a:cubicBezTo>
                      <a:pt x="58" y="32"/>
                      <a:pt x="58" y="33"/>
                      <a:pt x="57"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Arial"/>
                  <a:cs typeface="+mn-cs"/>
                </a:endParaRPr>
              </a:p>
            </p:txBody>
          </p:sp>
        </p:grpSp>
      </p:grpSp>
    </p:spTree>
    <p:extLst>
      <p:ext uri="{BB962C8B-B14F-4D97-AF65-F5344CB8AC3E}">
        <p14:creationId xmlns:p14="http://schemas.microsoft.com/office/powerpoint/2010/main" val="3809016911"/>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7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lowchart: Stored Data 9">
            <a:extLst>
              <a:ext uri="{FF2B5EF4-FFF2-40B4-BE49-F238E27FC236}">
                <a16:creationId xmlns:a16="http://schemas.microsoft.com/office/drawing/2014/main" id="{37C15AB9-463E-4FBC-96A0-1ABCC49938F5}"/>
              </a:ext>
            </a:extLst>
          </p:cNvPr>
          <p:cNvSpPr/>
          <p:nvPr/>
        </p:nvSpPr>
        <p:spPr>
          <a:xfrm>
            <a:off x="3122469" y="1751350"/>
            <a:ext cx="7946180" cy="3355300"/>
          </a:xfrm>
          <a:prstGeom prst="flowChartOnlineStorage">
            <a:avLst/>
          </a:prstGeom>
          <a:gradFill flip="none" rotWithShape="1">
            <a:gsLst>
              <a:gs pos="67000">
                <a:schemeClr val="accent1"/>
              </a:gs>
              <a:gs pos="0">
                <a:schemeClr val="accent1"/>
              </a:gs>
            </a:gsLst>
            <a:lin ang="18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677C7"/>
              </a:solidFill>
              <a:effectLst/>
              <a:uLnTx/>
              <a:uFillTx/>
              <a:latin typeface="Arial"/>
              <a:cs typeface="+mn-cs"/>
            </a:endParaRPr>
          </a:p>
        </p:txBody>
      </p:sp>
      <p:sp>
        <p:nvSpPr>
          <p:cNvPr id="3" name="Rectangle 63">
            <a:extLst>
              <a:ext uri="{FF2B5EF4-FFF2-40B4-BE49-F238E27FC236}">
                <a16:creationId xmlns:a16="http://schemas.microsoft.com/office/drawing/2014/main" id="{97C24E6D-E2AB-4220-8E92-8B946ED117F2}"/>
              </a:ext>
            </a:extLst>
          </p:cNvPr>
          <p:cNvSpPr/>
          <p:nvPr/>
        </p:nvSpPr>
        <p:spPr>
          <a:xfrm flipH="1">
            <a:off x="8382089" y="1983943"/>
            <a:ext cx="1500845" cy="276999"/>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chemeClr val="accent1"/>
                </a:solidFill>
                <a:effectLst/>
                <a:uLnTx/>
                <a:uFillTx/>
                <a:latin typeface="Gill Sans MT" panose="020B0502020104020203" pitchFamily="34" charset="0"/>
                <a:cs typeface="Segoe UI" panose="020B0502040204020203" pitchFamily="34" charset="0"/>
              </a:rPr>
              <a:t>Lorem Ipsum</a:t>
            </a:r>
          </a:p>
        </p:txBody>
      </p:sp>
      <p:sp>
        <p:nvSpPr>
          <p:cNvPr id="4" name="Rectangle 64">
            <a:extLst>
              <a:ext uri="{FF2B5EF4-FFF2-40B4-BE49-F238E27FC236}">
                <a16:creationId xmlns:a16="http://schemas.microsoft.com/office/drawing/2014/main" id="{EE80A47D-25A4-415F-BA7F-0B0D4E6DE03A}"/>
              </a:ext>
            </a:extLst>
          </p:cNvPr>
          <p:cNvSpPr/>
          <p:nvPr/>
        </p:nvSpPr>
        <p:spPr>
          <a:xfrm flipH="1">
            <a:off x="7806783" y="2458137"/>
            <a:ext cx="1590800" cy="646331"/>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accent1"/>
                </a:solidFill>
                <a:effectLst/>
                <a:uLnTx/>
                <a:uFillTx/>
                <a:latin typeface="Gill Sans MT" panose="020B0502020104020203" pitchFamily="34" charset="0"/>
                <a:cs typeface="Segoe UI" panose="020B0502040204020203" pitchFamily="34" charset="0"/>
              </a:rPr>
              <a:t>Lorem ipsum dolor</a:t>
            </a:r>
            <a:br>
              <a:rPr kumimoji="0" lang="en-US" sz="1400" b="0" i="0" u="none" strike="noStrike" kern="0" cap="none" spc="0" normalizeH="0" baseline="0" noProof="0" dirty="0">
                <a:ln>
                  <a:noFill/>
                </a:ln>
                <a:solidFill>
                  <a:schemeClr val="accent1"/>
                </a:solidFill>
                <a:effectLst/>
                <a:uLnTx/>
                <a:uFillTx/>
                <a:latin typeface="Gill Sans MT" panose="020B0502020104020203" pitchFamily="34" charset="0"/>
                <a:cs typeface="Segoe UI" panose="020B0502040204020203" pitchFamily="34" charset="0"/>
              </a:rPr>
            </a:br>
            <a:r>
              <a:rPr kumimoji="0" lang="en-US" sz="1400" b="0" i="0" u="none" strike="noStrike" kern="0" cap="none" spc="0" normalizeH="0" baseline="0" noProof="0" dirty="0">
                <a:ln>
                  <a:noFill/>
                </a:ln>
                <a:solidFill>
                  <a:schemeClr val="accent1"/>
                </a:solidFill>
                <a:effectLst/>
                <a:uLnTx/>
                <a:uFillTx/>
                <a:latin typeface="Gill Sans MT" panose="020B0502020104020203" pitchFamily="34" charset="0"/>
                <a:cs typeface="Segoe UI" panose="020B0502040204020203" pitchFamily="34" charset="0"/>
              </a:rPr>
              <a:t>sit </a:t>
            </a:r>
            <a:r>
              <a:rPr kumimoji="0" lang="en-US" sz="1400" b="0" i="0" u="none" strike="noStrike" kern="0" cap="none" spc="0" normalizeH="0" baseline="0" noProof="0" dirty="0" err="1">
                <a:ln>
                  <a:noFill/>
                </a:ln>
                <a:solidFill>
                  <a:schemeClr val="accent1"/>
                </a:solidFill>
                <a:effectLst/>
                <a:uLnTx/>
                <a:uFillTx/>
                <a:latin typeface="Gill Sans MT" panose="020B0502020104020203" pitchFamily="34" charset="0"/>
                <a:cs typeface="Segoe UI" panose="020B0502040204020203" pitchFamily="34" charset="0"/>
              </a:rPr>
              <a:t>amet</a:t>
            </a:r>
            <a:r>
              <a:rPr kumimoji="0" lang="en-US" sz="1400" b="0" i="0" u="none" strike="noStrike" kern="0" cap="none" spc="0" normalizeH="0" baseline="0" noProof="0" dirty="0">
                <a:ln>
                  <a:noFill/>
                </a:ln>
                <a:solidFill>
                  <a:schemeClr val="accent1"/>
                </a:solidFill>
                <a:effectLst/>
                <a:uLnTx/>
                <a:uFillTx/>
                <a:latin typeface="Gill Sans MT" panose="020B0502020104020203" pitchFamily="34" charset="0"/>
                <a:cs typeface="Segoe UI" panose="020B0502040204020203" pitchFamily="34" charset="0"/>
              </a:rPr>
              <a:t>, </a:t>
            </a:r>
            <a:r>
              <a:rPr kumimoji="0" lang="en-US" sz="1400" b="0" i="0" u="none" strike="noStrike" kern="0" cap="none" spc="0" normalizeH="0" baseline="0" noProof="0" dirty="0" err="1">
                <a:ln>
                  <a:noFill/>
                </a:ln>
                <a:solidFill>
                  <a:schemeClr val="accent1"/>
                </a:solidFill>
                <a:effectLst/>
                <a:uLnTx/>
                <a:uFillTx/>
                <a:latin typeface="Gill Sans MT" panose="020B0502020104020203" pitchFamily="34" charset="0"/>
                <a:cs typeface="Segoe UI" panose="020B0502040204020203" pitchFamily="34" charset="0"/>
              </a:rPr>
              <a:t>consectetur</a:t>
            </a:r>
            <a:r>
              <a:rPr kumimoji="0" lang="en-US" sz="1400" b="0" i="0" u="none" strike="noStrike" kern="0" cap="none" spc="0" normalizeH="0" baseline="0" noProof="0" dirty="0">
                <a:ln>
                  <a:noFill/>
                </a:ln>
                <a:solidFill>
                  <a:schemeClr val="accent1"/>
                </a:solidFill>
                <a:effectLst/>
                <a:uLnTx/>
                <a:uFillTx/>
                <a:latin typeface="Gill Sans MT" panose="020B0502020104020203" pitchFamily="34" charset="0"/>
                <a:cs typeface="Segoe UI" panose="020B0502040204020203" pitchFamily="34" charset="0"/>
              </a:rPr>
              <a:t> </a:t>
            </a:r>
            <a:r>
              <a:rPr kumimoji="0" lang="en-US" sz="1400" b="0" i="0" u="none" strike="noStrike" kern="0" cap="none" spc="0" normalizeH="0" baseline="0" noProof="0" dirty="0" err="1">
                <a:ln>
                  <a:noFill/>
                </a:ln>
                <a:solidFill>
                  <a:schemeClr val="accent1"/>
                </a:solidFill>
                <a:effectLst/>
                <a:uLnTx/>
                <a:uFillTx/>
                <a:latin typeface="Gill Sans MT" panose="020B0502020104020203" pitchFamily="34" charset="0"/>
                <a:cs typeface="Segoe UI" panose="020B0502040204020203" pitchFamily="34" charset="0"/>
              </a:rPr>
              <a:t>adipiscing</a:t>
            </a:r>
            <a:r>
              <a:rPr kumimoji="0" lang="en-US" sz="1400" b="0" i="0" u="none" strike="noStrike" kern="0" cap="none" spc="0" normalizeH="0" baseline="0" noProof="0" dirty="0">
                <a:ln>
                  <a:noFill/>
                </a:ln>
                <a:solidFill>
                  <a:schemeClr val="accent1"/>
                </a:solidFill>
                <a:effectLst/>
                <a:uLnTx/>
                <a:uFillTx/>
                <a:latin typeface="Gill Sans MT" panose="020B0502020104020203" pitchFamily="34" charset="0"/>
                <a:cs typeface="Segoe UI" panose="020B0502040204020203" pitchFamily="34" charset="0"/>
              </a:rPr>
              <a:t> </a:t>
            </a:r>
            <a:r>
              <a:rPr kumimoji="0" lang="en-US" sz="1400" b="0" i="0" u="none" strike="noStrike" kern="0" cap="none" spc="0" normalizeH="0" baseline="0" noProof="0" dirty="0" err="1">
                <a:ln>
                  <a:noFill/>
                </a:ln>
                <a:solidFill>
                  <a:schemeClr val="accent1"/>
                </a:solidFill>
                <a:effectLst/>
                <a:uLnTx/>
                <a:uFillTx/>
                <a:latin typeface="Gill Sans MT" panose="020B0502020104020203" pitchFamily="34" charset="0"/>
                <a:cs typeface="Segoe UI" panose="020B0502040204020203" pitchFamily="34" charset="0"/>
              </a:rPr>
              <a:t>elit</a:t>
            </a:r>
            <a:r>
              <a:rPr kumimoji="0" lang="en-US" sz="1400" b="0" i="0" u="none" strike="noStrike" kern="0" cap="none" spc="0" normalizeH="0" baseline="0" noProof="0" dirty="0">
                <a:ln>
                  <a:noFill/>
                </a:ln>
                <a:solidFill>
                  <a:schemeClr val="accent1"/>
                </a:solidFill>
                <a:effectLst/>
                <a:uLnTx/>
                <a:uFillTx/>
                <a:latin typeface="Gill Sans MT" panose="020B0502020104020203" pitchFamily="34" charset="0"/>
                <a:cs typeface="Segoe UI" panose="020B0502040204020203" pitchFamily="34" charset="0"/>
              </a:rPr>
              <a:t>.</a:t>
            </a:r>
          </a:p>
        </p:txBody>
      </p:sp>
      <p:sp>
        <p:nvSpPr>
          <p:cNvPr id="5" name="Rounded Rectangle 5">
            <a:extLst>
              <a:ext uri="{FF2B5EF4-FFF2-40B4-BE49-F238E27FC236}">
                <a16:creationId xmlns:a16="http://schemas.microsoft.com/office/drawing/2014/main" id="{B21D956B-E811-40E3-B377-05528277AF6F}"/>
              </a:ext>
            </a:extLst>
          </p:cNvPr>
          <p:cNvSpPr/>
          <p:nvPr/>
        </p:nvSpPr>
        <p:spPr>
          <a:xfrm flipH="1">
            <a:off x="1699122" y="3301805"/>
            <a:ext cx="8273276" cy="300619"/>
          </a:xfrm>
          <a:prstGeom prst="roundRect">
            <a:avLst>
              <a:gd name="adj" fmla="val 50000"/>
            </a:avLst>
          </a:prstGeom>
          <a:solidFill>
            <a:schemeClr val="bg1">
              <a:lumMod val="95000"/>
            </a:scheme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677C7"/>
              </a:solidFill>
              <a:effectLst/>
              <a:uLnTx/>
              <a:uFillTx/>
              <a:latin typeface="Arial"/>
              <a:cs typeface="+mn-cs"/>
            </a:endParaRPr>
          </a:p>
        </p:txBody>
      </p:sp>
      <p:grpSp>
        <p:nvGrpSpPr>
          <p:cNvPr id="6" name="Group 61">
            <a:extLst>
              <a:ext uri="{FF2B5EF4-FFF2-40B4-BE49-F238E27FC236}">
                <a16:creationId xmlns:a16="http://schemas.microsoft.com/office/drawing/2014/main" id="{56BB4EC1-8E02-4154-ACDE-2384C0B3BD43}"/>
              </a:ext>
            </a:extLst>
          </p:cNvPr>
          <p:cNvGrpSpPr/>
          <p:nvPr/>
        </p:nvGrpSpPr>
        <p:grpSpPr>
          <a:xfrm flipH="1">
            <a:off x="9083810" y="2783767"/>
            <a:ext cx="1922850" cy="1336697"/>
            <a:chOff x="280675" y="2685124"/>
            <a:chExt cx="2166913" cy="1506361"/>
          </a:xfrm>
        </p:grpSpPr>
        <p:sp>
          <p:nvSpPr>
            <p:cNvPr id="7" name="Flowchart: Stored Data 8">
              <a:extLst>
                <a:ext uri="{FF2B5EF4-FFF2-40B4-BE49-F238E27FC236}">
                  <a16:creationId xmlns:a16="http://schemas.microsoft.com/office/drawing/2014/main" id="{92A48C1C-A948-4B01-918D-7027A66291C7}"/>
                </a:ext>
              </a:extLst>
            </p:cNvPr>
            <p:cNvSpPr/>
            <p:nvPr/>
          </p:nvSpPr>
          <p:spPr>
            <a:xfrm flipH="1">
              <a:off x="1750440" y="3269902"/>
              <a:ext cx="697148" cy="336804"/>
            </a:xfrm>
            <a:prstGeom prst="flowChartOnlineStorage">
              <a:avLst/>
            </a:prstGeom>
            <a:solidFill>
              <a:schemeClr val="accent1"/>
            </a:solidFill>
            <a:ln w="12700" cap="flat" cmpd="sng" algn="ctr">
              <a:noFill/>
              <a:prstDash val="solid"/>
              <a:miter lim="800000"/>
            </a:ln>
            <a:effectLst>
              <a:outerShdw blurRad="215900" sx="104000" sy="104000" algn="ctr" rotWithShape="0">
                <a:prstClr val="black">
                  <a:alpha val="19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0" cap="none" spc="0" normalizeH="0" baseline="0" noProof="0">
                <a:ln>
                  <a:noFill/>
                </a:ln>
                <a:solidFill>
                  <a:srgbClr val="0677C7"/>
                </a:solidFill>
                <a:effectLst/>
                <a:uLnTx/>
                <a:uFillTx/>
                <a:latin typeface="Arial"/>
                <a:cs typeface="+mn-cs"/>
              </a:endParaRPr>
            </a:p>
          </p:txBody>
        </p:sp>
        <p:sp>
          <p:nvSpPr>
            <p:cNvPr id="8" name="Freeform: Shape 60">
              <a:extLst>
                <a:ext uri="{FF2B5EF4-FFF2-40B4-BE49-F238E27FC236}">
                  <a16:creationId xmlns:a16="http://schemas.microsoft.com/office/drawing/2014/main" id="{F5ADAC35-A93C-4F49-AE5E-60A921199819}"/>
                </a:ext>
              </a:extLst>
            </p:cNvPr>
            <p:cNvSpPr/>
            <p:nvPr/>
          </p:nvSpPr>
          <p:spPr>
            <a:xfrm rot="2700000">
              <a:off x="280675" y="2685124"/>
              <a:ext cx="1506361" cy="1506361"/>
            </a:xfrm>
            <a:custGeom>
              <a:avLst/>
              <a:gdLst>
                <a:gd name="connsiteX0" fmla="*/ 39448 w 485775"/>
                <a:gd name="connsiteY0" fmla="*/ 104172 h 485775"/>
                <a:gd name="connsiteX1" fmla="*/ 421267 w 485775"/>
                <a:gd name="connsiteY1" fmla="*/ 1873 h 485775"/>
                <a:gd name="connsiteX2" fmla="*/ 486399 w 485775"/>
                <a:gd name="connsiteY2" fmla="*/ 66996 h 485775"/>
                <a:gd name="connsiteX3" fmla="*/ 384091 w 485775"/>
                <a:gd name="connsiteY3" fmla="*/ 448796 h 485775"/>
                <a:gd name="connsiteX4" fmla="*/ 295118 w 485775"/>
                <a:gd name="connsiteY4" fmla="*/ 472637 h 485775"/>
                <a:gd name="connsiteX5" fmla="*/ 15607 w 485775"/>
                <a:gd name="connsiteY5" fmla="*/ 193145 h 485775"/>
                <a:gd name="connsiteX6" fmla="*/ 39448 w 485775"/>
                <a:gd name="connsiteY6" fmla="*/ 104172 h 485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85775" h="485775">
                  <a:moveTo>
                    <a:pt x="39448" y="104172"/>
                  </a:moveTo>
                  <a:lnTo>
                    <a:pt x="421267" y="1873"/>
                  </a:lnTo>
                  <a:cubicBezTo>
                    <a:pt x="460805" y="-8737"/>
                    <a:pt x="497000" y="27448"/>
                    <a:pt x="486399" y="66996"/>
                  </a:cubicBezTo>
                  <a:lnTo>
                    <a:pt x="384091" y="448796"/>
                  </a:lnTo>
                  <a:cubicBezTo>
                    <a:pt x="373499" y="488344"/>
                    <a:pt x="324074" y="501583"/>
                    <a:pt x="295118" y="472637"/>
                  </a:cubicBezTo>
                  <a:cubicBezTo>
                    <a:pt x="247045" y="340392"/>
                    <a:pt x="155377" y="245932"/>
                    <a:pt x="15607" y="193145"/>
                  </a:cubicBezTo>
                  <a:cubicBezTo>
                    <a:pt x="-13340" y="164198"/>
                    <a:pt x="-90" y="114764"/>
                    <a:pt x="39448" y="104172"/>
                  </a:cubicBezTo>
                  <a:close/>
                </a:path>
              </a:pathLst>
            </a:custGeom>
            <a:gradFill flip="none" rotWithShape="1">
              <a:gsLst>
                <a:gs pos="100000">
                  <a:schemeClr val="accent1"/>
                </a:gs>
                <a:gs pos="0">
                  <a:schemeClr val="accent1"/>
                </a:gs>
              </a:gsLst>
              <a:lin ang="2700000" scaled="1"/>
              <a:tileRect/>
            </a:gradFill>
            <a:ln w="12700" cap="flat" cmpd="sng" algn="ctr">
              <a:noFill/>
              <a:prstDash val="solid"/>
              <a:miter lim="800000"/>
            </a:ln>
            <a:effectLst>
              <a:outerShdw blurRad="215900" sx="104000" sy="104000" algn="ctr" rotWithShape="0">
                <a:prstClr val="black">
                  <a:alpha val="19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0" cap="none" spc="0" normalizeH="0" baseline="0" noProof="0">
                <a:ln>
                  <a:noFill/>
                </a:ln>
                <a:solidFill>
                  <a:srgbClr val="0677C7"/>
                </a:solidFill>
                <a:effectLst/>
                <a:uLnTx/>
                <a:uFillTx/>
                <a:latin typeface="Arial"/>
                <a:cs typeface="+mn-cs"/>
              </a:endParaRPr>
            </a:p>
          </p:txBody>
        </p:sp>
      </p:grpSp>
      <p:sp>
        <p:nvSpPr>
          <p:cNvPr id="9" name="Freeform: Shape 68">
            <a:extLst>
              <a:ext uri="{FF2B5EF4-FFF2-40B4-BE49-F238E27FC236}">
                <a16:creationId xmlns:a16="http://schemas.microsoft.com/office/drawing/2014/main" id="{E45439CF-25E7-441C-BAB3-D38E422CAFED}"/>
              </a:ext>
            </a:extLst>
          </p:cNvPr>
          <p:cNvSpPr/>
          <p:nvPr/>
        </p:nvSpPr>
        <p:spPr>
          <a:xfrm flipH="1">
            <a:off x="3751360" y="3368548"/>
            <a:ext cx="131797" cy="167134"/>
          </a:xfrm>
          <a:custGeom>
            <a:avLst/>
            <a:gdLst>
              <a:gd name="connsiteX0" fmla="*/ 1973674 w 2108298"/>
              <a:gd name="connsiteY0" fmla="*/ 99 h 2673566"/>
              <a:gd name="connsiteX1" fmla="*/ 591493 w 2108298"/>
              <a:gd name="connsiteY1" fmla="*/ 520555 h 2673566"/>
              <a:gd name="connsiteX2" fmla="*/ 0 w 2108298"/>
              <a:gd name="connsiteY2" fmla="*/ 1336780 h 2673566"/>
              <a:gd name="connsiteX3" fmla="*/ 591493 w 2108298"/>
              <a:gd name="connsiteY3" fmla="*/ 2153015 h 2673566"/>
              <a:gd name="connsiteX4" fmla="*/ 1973674 w 2108298"/>
              <a:gd name="connsiteY4" fmla="*/ 2673451 h 2673566"/>
              <a:gd name="connsiteX5" fmla="*/ 1979304 w 2108298"/>
              <a:gd name="connsiteY5" fmla="*/ 2673566 h 2673566"/>
              <a:gd name="connsiteX6" fmla="*/ 2078316 w 2108298"/>
              <a:gd name="connsiteY6" fmla="*/ 2633694 h 2673566"/>
              <a:gd name="connsiteX7" fmla="*/ 2108298 w 2108298"/>
              <a:gd name="connsiteY7" fmla="*/ 2590219 h 2673566"/>
              <a:gd name="connsiteX8" fmla="*/ 2108298 w 2108298"/>
              <a:gd name="connsiteY8" fmla="*/ 83335 h 2673566"/>
              <a:gd name="connsiteX9" fmla="*/ 2078316 w 2108298"/>
              <a:gd name="connsiteY9" fmla="*/ 39866 h 2673566"/>
              <a:gd name="connsiteX10" fmla="*/ 1973674 w 2108298"/>
              <a:gd name="connsiteY10" fmla="*/ 99 h 2673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108298" h="2673566">
                <a:moveTo>
                  <a:pt x="1973674" y="99"/>
                </a:moveTo>
                <a:cubicBezTo>
                  <a:pt x="1330785" y="25388"/>
                  <a:pt x="831742" y="337046"/>
                  <a:pt x="591493" y="520555"/>
                </a:cubicBezTo>
                <a:cubicBezTo>
                  <a:pt x="232172" y="794989"/>
                  <a:pt x="0" y="1115391"/>
                  <a:pt x="0" y="1336780"/>
                </a:cubicBezTo>
                <a:cubicBezTo>
                  <a:pt x="0" y="1558170"/>
                  <a:pt x="232172" y="1878571"/>
                  <a:pt x="591493" y="2153015"/>
                </a:cubicBezTo>
                <a:cubicBezTo>
                  <a:pt x="831742" y="2336523"/>
                  <a:pt x="1330795" y="2648153"/>
                  <a:pt x="1973674" y="2673451"/>
                </a:cubicBezTo>
                <a:cubicBezTo>
                  <a:pt x="1975551" y="2673528"/>
                  <a:pt x="1977418" y="2673566"/>
                  <a:pt x="1979304" y="2673566"/>
                </a:cubicBezTo>
                <a:cubicBezTo>
                  <a:pt x="2016137" y="2673566"/>
                  <a:pt x="2051656" y="2659326"/>
                  <a:pt x="2078316" y="2633694"/>
                </a:cubicBezTo>
                <a:lnTo>
                  <a:pt x="2108298" y="2590219"/>
                </a:lnTo>
                <a:lnTo>
                  <a:pt x="2108298" y="83335"/>
                </a:lnTo>
                <a:lnTo>
                  <a:pt x="2078316" y="39866"/>
                </a:lnTo>
                <a:cubicBezTo>
                  <a:pt x="2050293" y="12939"/>
                  <a:pt x="2012327" y="-1339"/>
                  <a:pt x="1973674" y="99"/>
                </a:cubicBezTo>
                <a:close/>
              </a:path>
            </a:pathLst>
          </a:custGeom>
          <a:gradFill flip="none" rotWithShape="1">
            <a:gsLst>
              <a:gs pos="100000">
                <a:schemeClr val="accent1"/>
              </a:gs>
              <a:gs pos="0">
                <a:schemeClr val="accent1"/>
              </a:gs>
            </a:gsLst>
            <a:lin ang="2700000" scaled="1"/>
            <a:tileRect/>
          </a:gradFill>
          <a:ln w="12700" cap="flat" cmpd="sng" algn="ctr">
            <a:noFill/>
            <a:prstDash val="solid"/>
            <a:miter lim="800000"/>
          </a:ln>
          <a:effectLst>
            <a:outerShdw blurRad="215900" sx="104000" sy="104000" algn="ctr" rotWithShape="0">
              <a:prstClr val="black">
                <a:alpha val="19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0" cap="none" spc="0" normalizeH="0" baseline="0" noProof="0">
              <a:ln>
                <a:noFill/>
              </a:ln>
              <a:solidFill>
                <a:srgbClr val="0677C7"/>
              </a:solidFill>
              <a:effectLst/>
              <a:uLnTx/>
              <a:uFillTx/>
              <a:latin typeface="Arial"/>
              <a:cs typeface="+mn-cs"/>
            </a:endParaRPr>
          </a:p>
        </p:txBody>
      </p:sp>
      <p:sp>
        <p:nvSpPr>
          <p:cNvPr id="10" name="Freeform: Shape 69">
            <a:extLst>
              <a:ext uri="{FF2B5EF4-FFF2-40B4-BE49-F238E27FC236}">
                <a16:creationId xmlns:a16="http://schemas.microsoft.com/office/drawing/2014/main" id="{6DCDC043-A80E-4827-B3F0-035B264A7025}"/>
              </a:ext>
            </a:extLst>
          </p:cNvPr>
          <p:cNvSpPr/>
          <p:nvPr/>
        </p:nvSpPr>
        <p:spPr>
          <a:xfrm flipH="1">
            <a:off x="5661842" y="3368548"/>
            <a:ext cx="131797" cy="167134"/>
          </a:xfrm>
          <a:custGeom>
            <a:avLst/>
            <a:gdLst>
              <a:gd name="connsiteX0" fmla="*/ 1973674 w 2108298"/>
              <a:gd name="connsiteY0" fmla="*/ 99 h 2673566"/>
              <a:gd name="connsiteX1" fmla="*/ 591493 w 2108298"/>
              <a:gd name="connsiteY1" fmla="*/ 520555 h 2673566"/>
              <a:gd name="connsiteX2" fmla="*/ 0 w 2108298"/>
              <a:gd name="connsiteY2" fmla="*/ 1336780 h 2673566"/>
              <a:gd name="connsiteX3" fmla="*/ 591493 w 2108298"/>
              <a:gd name="connsiteY3" fmla="*/ 2153015 h 2673566"/>
              <a:gd name="connsiteX4" fmla="*/ 1973674 w 2108298"/>
              <a:gd name="connsiteY4" fmla="*/ 2673451 h 2673566"/>
              <a:gd name="connsiteX5" fmla="*/ 1979304 w 2108298"/>
              <a:gd name="connsiteY5" fmla="*/ 2673566 h 2673566"/>
              <a:gd name="connsiteX6" fmla="*/ 2078316 w 2108298"/>
              <a:gd name="connsiteY6" fmla="*/ 2633694 h 2673566"/>
              <a:gd name="connsiteX7" fmla="*/ 2108298 w 2108298"/>
              <a:gd name="connsiteY7" fmla="*/ 2590219 h 2673566"/>
              <a:gd name="connsiteX8" fmla="*/ 2108298 w 2108298"/>
              <a:gd name="connsiteY8" fmla="*/ 83335 h 2673566"/>
              <a:gd name="connsiteX9" fmla="*/ 2078316 w 2108298"/>
              <a:gd name="connsiteY9" fmla="*/ 39866 h 2673566"/>
              <a:gd name="connsiteX10" fmla="*/ 1973674 w 2108298"/>
              <a:gd name="connsiteY10" fmla="*/ 99 h 2673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108298" h="2673566">
                <a:moveTo>
                  <a:pt x="1973674" y="99"/>
                </a:moveTo>
                <a:cubicBezTo>
                  <a:pt x="1330785" y="25388"/>
                  <a:pt x="831742" y="337046"/>
                  <a:pt x="591493" y="520555"/>
                </a:cubicBezTo>
                <a:cubicBezTo>
                  <a:pt x="232172" y="794989"/>
                  <a:pt x="0" y="1115391"/>
                  <a:pt x="0" y="1336780"/>
                </a:cubicBezTo>
                <a:cubicBezTo>
                  <a:pt x="0" y="1558170"/>
                  <a:pt x="232172" y="1878571"/>
                  <a:pt x="591493" y="2153015"/>
                </a:cubicBezTo>
                <a:cubicBezTo>
                  <a:pt x="831742" y="2336523"/>
                  <a:pt x="1330795" y="2648153"/>
                  <a:pt x="1973674" y="2673451"/>
                </a:cubicBezTo>
                <a:cubicBezTo>
                  <a:pt x="1975551" y="2673528"/>
                  <a:pt x="1977418" y="2673566"/>
                  <a:pt x="1979304" y="2673566"/>
                </a:cubicBezTo>
                <a:cubicBezTo>
                  <a:pt x="2016137" y="2673566"/>
                  <a:pt x="2051656" y="2659326"/>
                  <a:pt x="2078316" y="2633694"/>
                </a:cubicBezTo>
                <a:lnTo>
                  <a:pt x="2108298" y="2590219"/>
                </a:lnTo>
                <a:lnTo>
                  <a:pt x="2108298" y="83335"/>
                </a:lnTo>
                <a:lnTo>
                  <a:pt x="2078316" y="39866"/>
                </a:lnTo>
                <a:cubicBezTo>
                  <a:pt x="2050293" y="12939"/>
                  <a:pt x="2012327" y="-1339"/>
                  <a:pt x="1973674" y="99"/>
                </a:cubicBezTo>
                <a:close/>
              </a:path>
            </a:pathLst>
          </a:custGeom>
          <a:gradFill flip="none" rotWithShape="1">
            <a:gsLst>
              <a:gs pos="100000">
                <a:schemeClr val="accent1"/>
              </a:gs>
              <a:gs pos="0">
                <a:schemeClr val="accent1"/>
              </a:gs>
            </a:gsLst>
            <a:lin ang="2700000" scaled="1"/>
            <a:tileRect/>
          </a:gradFill>
          <a:ln w="12700" cap="flat" cmpd="sng" algn="ctr">
            <a:noFill/>
            <a:prstDash val="solid"/>
            <a:miter lim="800000"/>
          </a:ln>
          <a:effectLst>
            <a:outerShdw blurRad="215900" sx="104000" sy="104000" algn="ctr" rotWithShape="0">
              <a:prstClr val="black">
                <a:alpha val="19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0" cap="none" spc="0" normalizeH="0" baseline="0" noProof="0">
              <a:ln>
                <a:noFill/>
              </a:ln>
              <a:solidFill>
                <a:srgbClr val="0677C7"/>
              </a:solidFill>
              <a:effectLst/>
              <a:uLnTx/>
              <a:uFillTx/>
              <a:latin typeface="Arial"/>
              <a:cs typeface="+mn-cs"/>
            </a:endParaRPr>
          </a:p>
        </p:txBody>
      </p:sp>
      <p:sp>
        <p:nvSpPr>
          <p:cNvPr id="11" name="Freeform: Shape 70">
            <a:extLst>
              <a:ext uri="{FF2B5EF4-FFF2-40B4-BE49-F238E27FC236}">
                <a16:creationId xmlns:a16="http://schemas.microsoft.com/office/drawing/2014/main" id="{4B397624-25FE-41A1-8B2B-92813B117C47}"/>
              </a:ext>
            </a:extLst>
          </p:cNvPr>
          <p:cNvSpPr/>
          <p:nvPr/>
        </p:nvSpPr>
        <p:spPr>
          <a:xfrm flipH="1">
            <a:off x="7177719" y="3368548"/>
            <a:ext cx="131797" cy="167134"/>
          </a:xfrm>
          <a:custGeom>
            <a:avLst/>
            <a:gdLst>
              <a:gd name="connsiteX0" fmla="*/ 1973674 w 2108298"/>
              <a:gd name="connsiteY0" fmla="*/ 99 h 2673566"/>
              <a:gd name="connsiteX1" fmla="*/ 591493 w 2108298"/>
              <a:gd name="connsiteY1" fmla="*/ 520555 h 2673566"/>
              <a:gd name="connsiteX2" fmla="*/ 0 w 2108298"/>
              <a:gd name="connsiteY2" fmla="*/ 1336780 h 2673566"/>
              <a:gd name="connsiteX3" fmla="*/ 591493 w 2108298"/>
              <a:gd name="connsiteY3" fmla="*/ 2153015 h 2673566"/>
              <a:gd name="connsiteX4" fmla="*/ 1973674 w 2108298"/>
              <a:gd name="connsiteY4" fmla="*/ 2673451 h 2673566"/>
              <a:gd name="connsiteX5" fmla="*/ 1979304 w 2108298"/>
              <a:gd name="connsiteY5" fmla="*/ 2673566 h 2673566"/>
              <a:gd name="connsiteX6" fmla="*/ 2078316 w 2108298"/>
              <a:gd name="connsiteY6" fmla="*/ 2633694 h 2673566"/>
              <a:gd name="connsiteX7" fmla="*/ 2108298 w 2108298"/>
              <a:gd name="connsiteY7" fmla="*/ 2590219 h 2673566"/>
              <a:gd name="connsiteX8" fmla="*/ 2108298 w 2108298"/>
              <a:gd name="connsiteY8" fmla="*/ 83335 h 2673566"/>
              <a:gd name="connsiteX9" fmla="*/ 2078316 w 2108298"/>
              <a:gd name="connsiteY9" fmla="*/ 39866 h 2673566"/>
              <a:gd name="connsiteX10" fmla="*/ 1973674 w 2108298"/>
              <a:gd name="connsiteY10" fmla="*/ 99 h 2673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108298" h="2673566">
                <a:moveTo>
                  <a:pt x="1973674" y="99"/>
                </a:moveTo>
                <a:cubicBezTo>
                  <a:pt x="1330785" y="25388"/>
                  <a:pt x="831742" y="337046"/>
                  <a:pt x="591493" y="520555"/>
                </a:cubicBezTo>
                <a:cubicBezTo>
                  <a:pt x="232172" y="794989"/>
                  <a:pt x="0" y="1115391"/>
                  <a:pt x="0" y="1336780"/>
                </a:cubicBezTo>
                <a:cubicBezTo>
                  <a:pt x="0" y="1558170"/>
                  <a:pt x="232172" y="1878571"/>
                  <a:pt x="591493" y="2153015"/>
                </a:cubicBezTo>
                <a:cubicBezTo>
                  <a:pt x="831742" y="2336523"/>
                  <a:pt x="1330795" y="2648153"/>
                  <a:pt x="1973674" y="2673451"/>
                </a:cubicBezTo>
                <a:cubicBezTo>
                  <a:pt x="1975551" y="2673528"/>
                  <a:pt x="1977418" y="2673566"/>
                  <a:pt x="1979304" y="2673566"/>
                </a:cubicBezTo>
                <a:cubicBezTo>
                  <a:pt x="2016137" y="2673566"/>
                  <a:pt x="2051656" y="2659326"/>
                  <a:pt x="2078316" y="2633694"/>
                </a:cubicBezTo>
                <a:lnTo>
                  <a:pt x="2108298" y="2590219"/>
                </a:lnTo>
                <a:lnTo>
                  <a:pt x="2108298" y="83335"/>
                </a:lnTo>
                <a:lnTo>
                  <a:pt x="2078316" y="39866"/>
                </a:lnTo>
                <a:cubicBezTo>
                  <a:pt x="2050293" y="12939"/>
                  <a:pt x="2012327" y="-1339"/>
                  <a:pt x="1973674" y="99"/>
                </a:cubicBezTo>
                <a:close/>
              </a:path>
            </a:pathLst>
          </a:custGeom>
          <a:gradFill flip="none" rotWithShape="1">
            <a:gsLst>
              <a:gs pos="100000">
                <a:schemeClr val="accent1"/>
              </a:gs>
              <a:gs pos="0">
                <a:schemeClr val="accent1"/>
              </a:gs>
            </a:gsLst>
            <a:lin ang="2700000" scaled="1"/>
            <a:tileRect/>
          </a:gradFill>
          <a:ln w="12700" cap="flat" cmpd="sng" algn="ctr">
            <a:noFill/>
            <a:prstDash val="solid"/>
            <a:miter lim="800000"/>
          </a:ln>
          <a:effectLst>
            <a:outerShdw blurRad="215900" sx="104000" sy="104000" algn="ctr" rotWithShape="0">
              <a:prstClr val="black">
                <a:alpha val="19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0" cap="none" spc="0" normalizeH="0" baseline="0" noProof="0">
              <a:ln>
                <a:noFill/>
              </a:ln>
              <a:solidFill>
                <a:srgbClr val="0677C7"/>
              </a:solidFill>
              <a:effectLst/>
              <a:uLnTx/>
              <a:uFillTx/>
              <a:latin typeface="Arial"/>
              <a:cs typeface="+mn-cs"/>
            </a:endParaRPr>
          </a:p>
        </p:txBody>
      </p:sp>
      <p:sp>
        <p:nvSpPr>
          <p:cNvPr id="12" name="Freeform: Shape 191">
            <a:extLst>
              <a:ext uri="{FF2B5EF4-FFF2-40B4-BE49-F238E27FC236}">
                <a16:creationId xmlns:a16="http://schemas.microsoft.com/office/drawing/2014/main" id="{8A1AF565-598B-4182-B2DE-02BD955987DB}"/>
              </a:ext>
            </a:extLst>
          </p:cNvPr>
          <p:cNvSpPr/>
          <p:nvPr/>
        </p:nvSpPr>
        <p:spPr>
          <a:xfrm>
            <a:off x="975790" y="2265896"/>
            <a:ext cx="1870837" cy="2372437"/>
          </a:xfrm>
          <a:custGeom>
            <a:avLst/>
            <a:gdLst>
              <a:gd name="connsiteX0" fmla="*/ 1751376 w 1870837"/>
              <a:gd name="connsiteY0" fmla="*/ 88 h 2372437"/>
              <a:gd name="connsiteX1" fmla="*/ 524872 w 1870837"/>
              <a:gd name="connsiteY1" fmla="*/ 461924 h 2372437"/>
              <a:gd name="connsiteX2" fmla="*/ 0 w 1870837"/>
              <a:gd name="connsiteY2" fmla="*/ 1186216 h 2372437"/>
              <a:gd name="connsiteX3" fmla="*/ 524872 w 1870837"/>
              <a:gd name="connsiteY3" fmla="*/ 1910517 h 2372437"/>
              <a:gd name="connsiteX4" fmla="*/ 1751376 w 1870837"/>
              <a:gd name="connsiteY4" fmla="*/ 2372335 h 2372437"/>
              <a:gd name="connsiteX5" fmla="*/ 1756372 w 1870837"/>
              <a:gd name="connsiteY5" fmla="*/ 2372437 h 2372437"/>
              <a:gd name="connsiteX6" fmla="*/ 1844232 w 1870837"/>
              <a:gd name="connsiteY6" fmla="*/ 2337056 h 2372437"/>
              <a:gd name="connsiteX7" fmla="*/ 1870837 w 1870837"/>
              <a:gd name="connsiteY7" fmla="*/ 2298478 h 2372437"/>
              <a:gd name="connsiteX8" fmla="*/ 1870837 w 1870837"/>
              <a:gd name="connsiteY8" fmla="*/ 73949 h 2372437"/>
              <a:gd name="connsiteX9" fmla="*/ 1844232 w 1870837"/>
              <a:gd name="connsiteY9" fmla="*/ 35376 h 2372437"/>
              <a:gd name="connsiteX10" fmla="*/ 1751376 w 1870837"/>
              <a:gd name="connsiteY10" fmla="*/ 88 h 2372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870837" h="2372437">
                <a:moveTo>
                  <a:pt x="1751376" y="88"/>
                </a:moveTo>
                <a:cubicBezTo>
                  <a:pt x="1180896" y="22529"/>
                  <a:pt x="738061" y="299084"/>
                  <a:pt x="524872" y="461924"/>
                </a:cubicBezTo>
                <a:cubicBezTo>
                  <a:pt x="206022" y="705448"/>
                  <a:pt x="0" y="989762"/>
                  <a:pt x="0" y="1186216"/>
                </a:cubicBezTo>
                <a:cubicBezTo>
                  <a:pt x="0" y="1382670"/>
                  <a:pt x="206022" y="1666984"/>
                  <a:pt x="524872" y="1910517"/>
                </a:cubicBezTo>
                <a:cubicBezTo>
                  <a:pt x="738061" y="2073356"/>
                  <a:pt x="1180905" y="2349886"/>
                  <a:pt x="1751376" y="2372335"/>
                </a:cubicBezTo>
                <a:cubicBezTo>
                  <a:pt x="1753042" y="2372403"/>
                  <a:pt x="1754698" y="2372437"/>
                  <a:pt x="1756372" y="2372437"/>
                </a:cubicBezTo>
                <a:cubicBezTo>
                  <a:pt x="1789056" y="2372437"/>
                  <a:pt x="1820575" y="2359801"/>
                  <a:pt x="1844232" y="2337056"/>
                </a:cubicBezTo>
                <a:lnTo>
                  <a:pt x="1870837" y="2298478"/>
                </a:lnTo>
                <a:lnTo>
                  <a:pt x="1870837" y="73949"/>
                </a:lnTo>
                <a:lnTo>
                  <a:pt x="1844232" y="35376"/>
                </a:lnTo>
                <a:cubicBezTo>
                  <a:pt x="1819365" y="11482"/>
                  <a:pt x="1785675" y="-1188"/>
                  <a:pt x="1751376" y="88"/>
                </a:cubicBezTo>
                <a:close/>
              </a:path>
            </a:pathLst>
          </a:custGeom>
          <a:solidFill>
            <a:schemeClr val="bg1">
              <a:lumMod val="95000"/>
            </a:schemeClr>
          </a:soli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0" cap="none" spc="0" normalizeH="0" baseline="0" noProof="0">
              <a:ln>
                <a:noFill/>
              </a:ln>
              <a:solidFill>
                <a:srgbClr val="0677C7"/>
              </a:solidFill>
              <a:effectLst/>
              <a:uLnTx/>
              <a:uFillTx/>
              <a:latin typeface="Arial"/>
              <a:cs typeface="+mn-cs"/>
            </a:endParaRPr>
          </a:p>
        </p:txBody>
      </p:sp>
      <p:grpSp>
        <p:nvGrpSpPr>
          <p:cNvPr id="13" name="Group 74">
            <a:extLst>
              <a:ext uri="{FF2B5EF4-FFF2-40B4-BE49-F238E27FC236}">
                <a16:creationId xmlns:a16="http://schemas.microsoft.com/office/drawing/2014/main" id="{6302BF78-3E1E-4C3F-B9F1-3728C476723A}"/>
              </a:ext>
            </a:extLst>
          </p:cNvPr>
          <p:cNvGrpSpPr/>
          <p:nvPr/>
        </p:nvGrpSpPr>
        <p:grpSpPr>
          <a:xfrm flipH="1">
            <a:off x="5031414" y="1238224"/>
            <a:ext cx="1025015" cy="361029"/>
            <a:chOff x="5983816" y="1091376"/>
            <a:chExt cx="1533310" cy="540061"/>
          </a:xfrm>
        </p:grpSpPr>
        <p:sp>
          <p:nvSpPr>
            <p:cNvPr id="14" name="Oval 5">
              <a:extLst>
                <a:ext uri="{FF2B5EF4-FFF2-40B4-BE49-F238E27FC236}">
                  <a16:creationId xmlns:a16="http://schemas.microsoft.com/office/drawing/2014/main" id="{5CDD6547-D239-4436-B781-BDB873378CB9}"/>
                </a:ext>
              </a:extLst>
            </p:cNvPr>
            <p:cNvSpPr/>
            <p:nvPr/>
          </p:nvSpPr>
          <p:spPr>
            <a:xfrm>
              <a:off x="6977063" y="1091376"/>
              <a:ext cx="540063" cy="540061"/>
            </a:xfrm>
            <a:prstGeom prst="ellipse">
              <a:avLst/>
            </a:prstGeom>
            <a:solidFill>
              <a:sysClr val="window" lastClr="FFFFFF"/>
            </a:solidFill>
            <a:ln w="12700" cap="flat" cmpd="sng" algn="ctr">
              <a:noFill/>
              <a:prstDash val="solid"/>
              <a:miter lim="800000"/>
            </a:ln>
            <a:effectLst>
              <a:outerShdw blurRad="215900" sx="104000" sy="104000" algn="ctr" rotWithShape="0">
                <a:prstClr val="black">
                  <a:alpha val="19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677C7"/>
                </a:solidFill>
                <a:effectLst/>
                <a:uLnTx/>
                <a:uFillTx/>
                <a:latin typeface="Gill Sans MT" panose="020B0502020104020203" pitchFamily="34" charset="0"/>
                <a:cs typeface="+mn-cs"/>
              </a:endParaRPr>
            </a:p>
          </p:txBody>
        </p:sp>
        <p:sp>
          <p:nvSpPr>
            <p:cNvPr id="15" name="Flowchart: Stored Data 11">
              <a:extLst>
                <a:ext uri="{FF2B5EF4-FFF2-40B4-BE49-F238E27FC236}">
                  <a16:creationId xmlns:a16="http://schemas.microsoft.com/office/drawing/2014/main" id="{F83463AA-8F35-474C-B14E-8E277DDE6AB1}"/>
                </a:ext>
              </a:extLst>
            </p:cNvPr>
            <p:cNvSpPr/>
            <p:nvPr/>
          </p:nvSpPr>
          <p:spPr>
            <a:xfrm>
              <a:off x="5983816" y="1096806"/>
              <a:ext cx="1209933" cy="529201"/>
            </a:xfrm>
            <a:prstGeom prst="flowChartOnlineStorage">
              <a:avLst/>
            </a:prstGeom>
            <a:solidFill>
              <a:schemeClr val="bg1">
                <a:lumMod val="95000"/>
              </a:schemeClr>
            </a:soli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0" cap="none" spc="0" normalizeH="0" baseline="0" noProof="0">
                <a:ln>
                  <a:noFill/>
                </a:ln>
                <a:solidFill>
                  <a:srgbClr val="0677C7"/>
                </a:solidFill>
                <a:effectLst/>
                <a:uLnTx/>
                <a:uFillTx/>
                <a:latin typeface="Arial"/>
                <a:cs typeface="+mn-cs"/>
              </a:endParaRPr>
            </a:p>
          </p:txBody>
        </p:sp>
      </p:grpSp>
      <p:grpSp>
        <p:nvGrpSpPr>
          <p:cNvPr id="16" name="Group 78">
            <a:extLst>
              <a:ext uri="{FF2B5EF4-FFF2-40B4-BE49-F238E27FC236}">
                <a16:creationId xmlns:a16="http://schemas.microsoft.com/office/drawing/2014/main" id="{57BFF1C8-AC7B-4C79-844B-DB6D5D1E5D96}"/>
              </a:ext>
            </a:extLst>
          </p:cNvPr>
          <p:cNvGrpSpPr/>
          <p:nvPr/>
        </p:nvGrpSpPr>
        <p:grpSpPr>
          <a:xfrm flipH="1">
            <a:off x="4022768" y="1937589"/>
            <a:ext cx="1025015" cy="361029"/>
            <a:chOff x="5983816" y="1091376"/>
            <a:chExt cx="1533310" cy="540061"/>
          </a:xfrm>
        </p:grpSpPr>
        <p:sp>
          <p:nvSpPr>
            <p:cNvPr id="17" name="Oval 79">
              <a:extLst>
                <a:ext uri="{FF2B5EF4-FFF2-40B4-BE49-F238E27FC236}">
                  <a16:creationId xmlns:a16="http://schemas.microsoft.com/office/drawing/2014/main" id="{BAD1D481-A596-4C99-8731-33E15179297C}"/>
                </a:ext>
              </a:extLst>
            </p:cNvPr>
            <p:cNvSpPr/>
            <p:nvPr/>
          </p:nvSpPr>
          <p:spPr>
            <a:xfrm>
              <a:off x="6977063" y="1091376"/>
              <a:ext cx="540063" cy="540061"/>
            </a:xfrm>
            <a:prstGeom prst="ellipse">
              <a:avLst/>
            </a:prstGeom>
            <a:solidFill>
              <a:sysClr val="window" lastClr="FFFFFF"/>
            </a:solidFill>
            <a:ln w="12700" cap="flat" cmpd="sng" algn="ctr">
              <a:noFill/>
              <a:prstDash val="solid"/>
              <a:miter lim="800000"/>
            </a:ln>
            <a:effectLst>
              <a:outerShdw blurRad="215900" sx="104000" sy="104000" algn="ctr" rotWithShape="0">
                <a:prstClr val="black">
                  <a:alpha val="19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677C7"/>
                </a:solidFill>
                <a:effectLst/>
                <a:uLnTx/>
                <a:uFillTx/>
                <a:latin typeface="Gill Sans MT" panose="020B0502020104020203" pitchFamily="34" charset="0"/>
                <a:cs typeface="+mn-cs"/>
              </a:endParaRPr>
            </a:p>
          </p:txBody>
        </p:sp>
        <p:sp>
          <p:nvSpPr>
            <p:cNvPr id="18" name="Flowchart: Stored Data 80">
              <a:extLst>
                <a:ext uri="{FF2B5EF4-FFF2-40B4-BE49-F238E27FC236}">
                  <a16:creationId xmlns:a16="http://schemas.microsoft.com/office/drawing/2014/main" id="{16458CF3-5DC1-401C-A499-C61DC46D0BD6}"/>
                </a:ext>
              </a:extLst>
            </p:cNvPr>
            <p:cNvSpPr/>
            <p:nvPr/>
          </p:nvSpPr>
          <p:spPr>
            <a:xfrm>
              <a:off x="5983816" y="1096806"/>
              <a:ext cx="1209933" cy="529201"/>
            </a:xfrm>
            <a:prstGeom prst="flowChartOnlineStorage">
              <a:avLst/>
            </a:prstGeom>
            <a:solidFill>
              <a:schemeClr val="bg1">
                <a:lumMod val="95000"/>
              </a:schemeClr>
            </a:soli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0" cap="none" spc="0" normalizeH="0" baseline="0" noProof="0">
                <a:ln>
                  <a:noFill/>
                </a:ln>
                <a:solidFill>
                  <a:srgbClr val="0677C7"/>
                </a:solidFill>
                <a:effectLst/>
                <a:uLnTx/>
                <a:uFillTx/>
                <a:latin typeface="Gill Sans MT" panose="020B0502020104020203" pitchFamily="34" charset="0"/>
                <a:cs typeface="+mn-cs"/>
              </a:endParaRPr>
            </a:p>
          </p:txBody>
        </p:sp>
      </p:grpSp>
      <p:grpSp>
        <p:nvGrpSpPr>
          <p:cNvPr id="19" name="Group 81">
            <a:extLst>
              <a:ext uri="{FF2B5EF4-FFF2-40B4-BE49-F238E27FC236}">
                <a16:creationId xmlns:a16="http://schemas.microsoft.com/office/drawing/2014/main" id="{5EB135BE-9AE7-4126-8A67-9AEDF3B6097B}"/>
              </a:ext>
            </a:extLst>
          </p:cNvPr>
          <p:cNvGrpSpPr/>
          <p:nvPr/>
        </p:nvGrpSpPr>
        <p:grpSpPr>
          <a:xfrm flipH="1">
            <a:off x="3014122" y="2636953"/>
            <a:ext cx="1025015" cy="361029"/>
            <a:chOff x="5983816" y="1091376"/>
            <a:chExt cx="1533310" cy="540061"/>
          </a:xfrm>
        </p:grpSpPr>
        <p:sp>
          <p:nvSpPr>
            <p:cNvPr id="20" name="Oval 82">
              <a:extLst>
                <a:ext uri="{FF2B5EF4-FFF2-40B4-BE49-F238E27FC236}">
                  <a16:creationId xmlns:a16="http://schemas.microsoft.com/office/drawing/2014/main" id="{D56E8B9D-624C-4497-80CB-3444F56C15E2}"/>
                </a:ext>
              </a:extLst>
            </p:cNvPr>
            <p:cNvSpPr/>
            <p:nvPr/>
          </p:nvSpPr>
          <p:spPr>
            <a:xfrm>
              <a:off x="6977063" y="1091376"/>
              <a:ext cx="540063" cy="540061"/>
            </a:xfrm>
            <a:prstGeom prst="ellipse">
              <a:avLst/>
            </a:prstGeom>
            <a:solidFill>
              <a:sysClr val="window" lastClr="FFFFFF"/>
            </a:solidFill>
            <a:ln w="12700" cap="flat" cmpd="sng" algn="ctr">
              <a:noFill/>
              <a:prstDash val="solid"/>
              <a:miter lim="800000"/>
            </a:ln>
            <a:effectLst>
              <a:outerShdw blurRad="215900" sx="104000" sy="104000" algn="ctr" rotWithShape="0">
                <a:prstClr val="black">
                  <a:alpha val="19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677C7"/>
                </a:solidFill>
                <a:effectLst/>
                <a:uLnTx/>
                <a:uFillTx/>
                <a:latin typeface="Arial"/>
                <a:cs typeface="+mn-cs"/>
              </a:endParaRPr>
            </a:p>
          </p:txBody>
        </p:sp>
        <p:sp>
          <p:nvSpPr>
            <p:cNvPr id="21" name="Flowchart: Stored Data 83">
              <a:extLst>
                <a:ext uri="{FF2B5EF4-FFF2-40B4-BE49-F238E27FC236}">
                  <a16:creationId xmlns:a16="http://schemas.microsoft.com/office/drawing/2014/main" id="{2AFC049D-9AEB-4FBC-8F99-73D57BC8FC19}"/>
                </a:ext>
              </a:extLst>
            </p:cNvPr>
            <p:cNvSpPr/>
            <p:nvPr/>
          </p:nvSpPr>
          <p:spPr>
            <a:xfrm>
              <a:off x="5983816" y="1096806"/>
              <a:ext cx="1209933" cy="529201"/>
            </a:xfrm>
            <a:prstGeom prst="flowChartOnlineStorage">
              <a:avLst/>
            </a:prstGeom>
            <a:solidFill>
              <a:schemeClr val="bg1">
                <a:lumMod val="95000"/>
              </a:schemeClr>
            </a:soli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0" cap="none" spc="0" normalizeH="0" baseline="0" noProof="0">
                <a:ln>
                  <a:noFill/>
                </a:ln>
                <a:solidFill>
                  <a:srgbClr val="0677C7"/>
                </a:solidFill>
                <a:effectLst/>
                <a:uLnTx/>
                <a:uFillTx/>
                <a:latin typeface="Arial"/>
                <a:cs typeface="+mn-cs"/>
              </a:endParaRPr>
            </a:p>
          </p:txBody>
        </p:sp>
      </p:grpSp>
      <p:grpSp>
        <p:nvGrpSpPr>
          <p:cNvPr id="22" name="Group 86">
            <a:extLst>
              <a:ext uri="{FF2B5EF4-FFF2-40B4-BE49-F238E27FC236}">
                <a16:creationId xmlns:a16="http://schemas.microsoft.com/office/drawing/2014/main" id="{EED5DFB3-394B-422F-AEB5-F7C5B4E7D75D}"/>
              </a:ext>
            </a:extLst>
          </p:cNvPr>
          <p:cNvGrpSpPr/>
          <p:nvPr/>
        </p:nvGrpSpPr>
        <p:grpSpPr>
          <a:xfrm flipH="1" flipV="1">
            <a:off x="5031414" y="5304973"/>
            <a:ext cx="1025015" cy="361031"/>
            <a:chOff x="5983816" y="1091376"/>
            <a:chExt cx="1533310" cy="540061"/>
          </a:xfrm>
        </p:grpSpPr>
        <p:sp>
          <p:nvSpPr>
            <p:cNvPr id="23" name="Oval 93">
              <a:extLst>
                <a:ext uri="{FF2B5EF4-FFF2-40B4-BE49-F238E27FC236}">
                  <a16:creationId xmlns:a16="http://schemas.microsoft.com/office/drawing/2014/main" id="{64EEB23E-E0DF-484E-A0DC-712E66ADAD72}"/>
                </a:ext>
              </a:extLst>
            </p:cNvPr>
            <p:cNvSpPr/>
            <p:nvPr/>
          </p:nvSpPr>
          <p:spPr>
            <a:xfrm>
              <a:off x="6977063" y="1091376"/>
              <a:ext cx="540063" cy="540061"/>
            </a:xfrm>
            <a:prstGeom prst="ellipse">
              <a:avLst/>
            </a:prstGeom>
            <a:solidFill>
              <a:sysClr val="window" lastClr="FFFFFF"/>
            </a:solidFill>
            <a:ln w="12700" cap="flat" cmpd="sng" algn="ctr">
              <a:noFill/>
              <a:prstDash val="solid"/>
              <a:miter lim="800000"/>
            </a:ln>
            <a:effectLst>
              <a:outerShdw blurRad="215900" sx="104000" sy="104000" algn="ctr" rotWithShape="0">
                <a:prstClr val="black">
                  <a:alpha val="19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677C7"/>
                </a:solidFill>
                <a:effectLst/>
                <a:uLnTx/>
                <a:uFillTx/>
                <a:latin typeface="Gill Sans MT" panose="020B0502020104020203" pitchFamily="34" charset="0"/>
                <a:cs typeface="+mn-cs"/>
              </a:endParaRPr>
            </a:p>
          </p:txBody>
        </p:sp>
        <p:sp>
          <p:nvSpPr>
            <p:cNvPr id="24" name="Flowchart: Stored Data 94">
              <a:extLst>
                <a:ext uri="{FF2B5EF4-FFF2-40B4-BE49-F238E27FC236}">
                  <a16:creationId xmlns:a16="http://schemas.microsoft.com/office/drawing/2014/main" id="{96EBC870-C663-4F3B-83AE-0C82EB18EFFF}"/>
                </a:ext>
              </a:extLst>
            </p:cNvPr>
            <p:cNvSpPr/>
            <p:nvPr/>
          </p:nvSpPr>
          <p:spPr>
            <a:xfrm>
              <a:off x="5983816" y="1096807"/>
              <a:ext cx="1209933" cy="529201"/>
            </a:xfrm>
            <a:prstGeom prst="flowChartOnlineStorage">
              <a:avLst/>
            </a:prstGeom>
            <a:solidFill>
              <a:schemeClr val="bg1">
                <a:lumMod val="95000"/>
              </a:schemeClr>
            </a:soli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0" cap="none" spc="0" normalizeH="0" baseline="0" noProof="0">
                <a:ln>
                  <a:noFill/>
                </a:ln>
                <a:solidFill>
                  <a:srgbClr val="0677C7"/>
                </a:solidFill>
                <a:effectLst/>
                <a:uLnTx/>
                <a:uFillTx/>
                <a:latin typeface="Arial"/>
                <a:cs typeface="+mn-cs"/>
              </a:endParaRPr>
            </a:p>
          </p:txBody>
        </p:sp>
      </p:grpSp>
      <p:grpSp>
        <p:nvGrpSpPr>
          <p:cNvPr id="25" name="Group 87">
            <a:extLst>
              <a:ext uri="{FF2B5EF4-FFF2-40B4-BE49-F238E27FC236}">
                <a16:creationId xmlns:a16="http://schemas.microsoft.com/office/drawing/2014/main" id="{9779BE94-7A05-4187-A7C0-928863723DCD}"/>
              </a:ext>
            </a:extLst>
          </p:cNvPr>
          <p:cNvGrpSpPr/>
          <p:nvPr/>
        </p:nvGrpSpPr>
        <p:grpSpPr>
          <a:xfrm flipH="1" flipV="1">
            <a:off x="4022768" y="4605609"/>
            <a:ext cx="1025015" cy="361031"/>
            <a:chOff x="5983816" y="1091376"/>
            <a:chExt cx="1533310" cy="540061"/>
          </a:xfrm>
        </p:grpSpPr>
        <p:sp>
          <p:nvSpPr>
            <p:cNvPr id="26" name="Oval 91">
              <a:extLst>
                <a:ext uri="{FF2B5EF4-FFF2-40B4-BE49-F238E27FC236}">
                  <a16:creationId xmlns:a16="http://schemas.microsoft.com/office/drawing/2014/main" id="{A478A798-5F0F-484C-94A5-376C8DC18511}"/>
                </a:ext>
              </a:extLst>
            </p:cNvPr>
            <p:cNvSpPr/>
            <p:nvPr/>
          </p:nvSpPr>
          <p:spPr>
            <a:xfrm>
              <a:off x="6977063" y="1091376"/>
              <a:ext cx="540063" cy="540061"/>
            </a:xfrm>
            <a:prstGeom prst="ellipse">
              <a:avLst/>
            </a:prstGeom>
            <a:solidFill>
              <a:sysClr val="window" lastClr="FFFFFF"/>
            </a:solidFill>
            <a:ln w="12700" cap="flat" cmpd="sng" algn="ctr">
              <a:noFill/>
              <a:prstDash val="solid"/>
              <a:miter lim="800000"/>
            </a:ln>
            <a:effectLst>
              <a:outerShdw blurRad="215900" sx="104000" sy="104000" algn="ctr" rotWithShape="0">
                <a:prstClr val="black">
                  <a:alpha val="19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677C7"/>
                </a:solidFill>
                <a:effectLst/>
                <a:uLnTx/>
                <a:uFillTx/>
                <a:latin typeface="Gill Sans MT" panose="020B0502020104020203" pitchFamily="34" charset="0"/>
                <a:cs typeface="+mn-cs"/>
              </a:endParaRPr>
            </a:p>
          </p:txBody>
        </p:sp>
        <p:sp>
          <p:nvSpPr>
            <p:cNvPr id="27" name="Flowchart: Stored Data 92">
              <a:extLst>
                <a:ext uri="{FF2B5EF4-FFF2-40B4-BE49-F238E27FC236}">
                  <a16:creationId xmlns:a16="http://schemas.microsoft.com/office/drawing/2014/main" id="{7E5A0CD0-4447-4F1C-99E7-CDCBC009E893}"/>
                </a:ext>
              </a:extLst>
            </p:cNvPr>
            <p:cNvSpPr/>
            <p:nvPr/>
          </p:nvSpPr>
          <p:spPr>
            <a:xfrm>
              <a:off x="5983816" y="1096806"/>
              <a:ext cx="1209933" cy="529201"/>
            </a:xfrm>
            <a:prstGeom prst="flowChartOnlineStorage">
              <a:avLst/>
            </a:prstGeom>
            <a:solidFill>
              <a:schemeClr val="bg1">
                <a:lumMod val="95000"/>
              </a:schemeClr>
            </a:soli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0" cap="none" spc="0" normalizeH="0" baseline="0" noProof="0">
                <a:ln>
                  <a:noFill/>
                </a:ln>
                <a:solidFill>
                  <a:srgbClr val="0677C7"/>
                </a:solidFill>
                <a:effectLst/>
                <a:uLnTx/>
                <a:uFillTx/>
                <a:latin typeface="Gill Sans MT" panose="020B0502020104020203" pitchFamily="34" charset="0"/>
                <a:cs typeface="+mn-cs"/>
              </a:endParaRPr>
            </a:p>
          </p:txBody>
        </p:sp>
      </p:grpSp>
      <p:grpSp>
        <p:nvGrpSpPr>
          <p:cNvPr id="28" name="Group 88">
            <a:extLst>
              <a:ext uri="{FF2B5EF4-FFF2-40B4-BE49-F238E27FC236}">
                <a16:creationId xmlns:a16="http://schemas.microsoft.com/office/drawing/2014/main" id="{A394432E-B227-4CA0-8BCC-0696BA7BCEA8}"/>
              </a:ext>
            </a:extLst>
          </p:cNvPr>
          <p:cNvGrpSpPr/>
          <p:nvPr/>
        </p:nvGrpSpPr>
        <p:grpSpPr>
          <a:xfrm flipH="1" flipV="1">
            <a:off x="3014122" y="3906244"/>
            <a:ext cx="1025015" cy="361031"/>
            <a:chOff x="5983816" y="1091376"/>
            <a:chExt cx="1533310" cy="540061"/>
          </a:xfrm>
        </p:grpSpPr>
        <p:sp>
          <p:nvSpPr>
            <p:cNvPr id="29" name="Oval 89">
              <a:extLst>
                <a:ext uri="{FF2B5EF4-FFF2-40B4-BE49-F238E27FC236}">
                  <a16:creationId xmlns:a16="http://schemas.microsoft.com/office/drawing/2014/main" id="{4A077AAD-2BF7-44BB-9711-72A64EA5CB79}"/>
                </a:ext>
              </a:extLst>
            </p:cNvPr>
            <p:cNvSpPr/>
            <p:nvPr/>
          </p:nvSpPr>
          <p:spPr>
            <a:xfrm>
              <a:off x="6977063" y="1091376"/>
              <a:ext cx="540063" cy="540061"/>
            </a:xfrm>
            <a:prstGeom prst="ellipse">
              <a:avLst/>
            </a:prstGeom>
            <a:solidFill>
              <a:sysClr val="window" lastClr="FFFFFF"/>
            </a:solidFill>
            <a:ln w="12700" cap="flat" cmpd="sng" algn="ctr">
              <a:noFill/>
              <a:prstDash val="solid"/>
              <a:miter lim="800000"/>
            </a:ln>
            <a:effectLst>
              <a:outerShdw blurRad="215900" sx="104000" sy="104000" algn="ctr" rotWithShape="0">
                <a:prstClr val="black">
                  <a:alpha val="19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677C7"/>
                </a:solidFill>
                <a:effectLst/>
                <a:uLnTx/>
                <a:uFillTx/>
                <a:latin typeface="Arial"/>
                <a:cs typeface="+mn-cs"/>
              </a:endParaRPr>
            </a:p>
          </p:txBody>
        </p:sp>
        <p:sp>
          <p:nvSpPr>
            <p:cNvPr id="30" name="Flowchart: Stored Data 90">
              <a:extLst>
                <a:ext uri="{FF2B5EF4-FFF2-40B4-BE49-F238E27FC236}">
                  <a16:creationId xmlns:a16="http://schemas.microsoft.com/office/drawing/2014/main" id="{6E7139E2-2706-4467-B567-F214362A14C6}"/>
                </a:ext>
              </a:extLst>
            </p:cNvPr>
            <p:cNvSpPr/>
            <p:nvPr/>
          </p:nvSpPr>
          <p:spPr>
            <a:xfrm>
              <a:off x="5983816" y="1096806"/>
              <a:ext cx="1209933" cy="529201"/>
            </a:xfrm>
            <a:prstGeom prst="flowChartOnlineStorage">
              <a:avLst/>
            </a:prstGeom>
            <a:solidFill>
              <a:schemeClr val="bg1">
                <a:lumMod val="95000"/>
              </a:schemeClr>
            </a:soli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0" cap="none" spc="0" normalizeH="0" baseline="0" noProof="0">
                <a:ln>
                  <a:noFill/>
                </a:ln>
                <a:solidFill>
                  <a:srgbClr val="0677C7"/>
                </a:solidFill>
                <a:effectLst/>
                <a:uLnTx/>
                <a:uFillTx/>
                <a:latin typeface="Arial"/>
                <a:cs typeface="+mn-cs"/>
              </a:endParaRPr>
            </a:p>
          </p:txBody>
        </p:sp>
      </p:grpSp>
      <p:grpSp>
        <p:nvGrpSpPr>
          <p:cNvPr id="31" name="Group 97">
            <a:extLst>
              <a:ext uri="{FF2B5EF4-FFF2-40B4-BE49-F238E27FC236}">
                <a16:creationId xmlns:a16="http://schemas.microsoft.com/office/drawing/2014/main" id="{9D2843F3-197E-490A-A5B8-042CBBBF26FE}"/>
              </a:ext>
            </a:extLst>
          </p:cNvPr>
          <p:cNvGrpSpPr/>
          <p:nvPr/>
        </p:nvGrpSpPr>
        <p:grpSpPr>
          <a:xfrm flipH="1">
            <a:off x="7238761" y="1937589"/>
            <a:ext cx="1025015" cy="361029"/>
            <a:chOff x="5983816" y="1091376"/>
            <a:chExt cx="1533310" cy="540061"/>
          </a:xfrm>
        </p:grpSpPr>
        <p:sp>
          <p:nvSpPr>
            <p:cNvPr id="32" name="Oval 101">
              <a:extLst>
                <a:ext uri="{FF2B5EF4-FFF2-40B4-BE49-F238E27FC236}">
                  <a16:creationId xmlns:a16="http://schemas.microsoft.com/office/drawing/2014/main" id="{6390147E-CD9A-4838-809A-F5743B693F25}"/>
                </a:ext>
              </a:extLst>
            </p:cNvPr>
            <p:cNvSpPr/>
            <p:nvPr/>
          </p:nvSpPr>
          <p:spPr>
            <a:xfrm>
              <a:off x="6977063" y="1091376"/>
              <a:ext cx="540063" cy="540061"/>
            </a:xfrm>
            <a:prstGeom prst="ellipse">
              <a:avLst/>
            </a:prstGeom>
            <a:solidFill>
              <a:sysClr val="window" lastClr="FFFFFF"/>
            </a:solidFill>
            <a:ln w="12700" cap="flat" cmpd="sng" algn="ctr">
              <a:noFill/>
              <a:prstDash val="solid"/>
              <a:miter lim="800000"/>
            </a:ln>
            <a:effectLst>
              <a:outerShdw blurRad="215900" sx="104000" sy="104000" algn="ctr" rotWithShape="0">
                <a:prstClr val="black">
                  <a:alpha val="19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677C7"/>
                </a:solidFill>
                <a:effectLst/>
                <a:uLnTx/>
                <a:uFillTx/>
                <a:latin typeface="Gill Sans MT" panose="020B0502020104020203" pitchFamily="34" charset="0"/>
                <a:cs typeface="+mn-cs"/>
              </a:endParaRPr>
            </a:p>
          </p:txBody>
        </p:sp>
        <p:sp>
          <p:nvSpPr>
            <p:cNvPr id="33" name="Flowchart: Stored Data 102">
              <a:extLst>
                <a:ext uri="{FF2B5EF4-FFF2-40B4-BE49-F238E27FC236}">
                  <a16:creationId xmlns:a16="http://schemas.microsoft.com/office/drawing/2014/main" id="{D06ADABF-D656-4FA8-82A4-F5C584E284B0}"/>
                </a:ext>
              </a:extLst>
            </p:cNvPr>
            <p:cNvSpPr/>
            <p:nvPr/>
          </p:nvSpPr>
          <p:spPr>
            <a:xfrm>
              <a:off x="5983816" y="1096806"/>
              <a:ext cx="1209933" cy="529201"/>
            </a:xfrm>
            <a:prstGeom prst="flowChartOnlineStorage">
              <a:avLst/>
            </a:prstGeom>
            <a:solidFill>
              <a:schemeClr val="bg1">
                <a:lumMod val="95000"/>
              </a:schemeClr>
            </a:soli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0" cap="none" spc="0" normalizeH="0" baseline="0" noProof="0">
                <a:ln>
                  <a:noFill/>
                </a:ln>
                <a:solidFill>
                  <a:srgbClr val="0677C7"/>
                </a:solidFill>
                <a:effectLst/>
                <a:uLnTx/>
                <a:uFillTx/>
                <a:latin typeface="Arial"/>
                <a:cs typeface="+mn-cs"/>
              </a:endParaRPr>
            </a:p>
          </p:txBody>
        </p:sp>
      </p:grpSp>
      <p:grpSp>
        <p:nvGrpSpPr>
          <p:cNvPr id="34" name="Group 98">
            <a:extLst>
              <a:ext uri="{FF2B5EF4-FFF2-40B4-BE49-F238E27FC236}">
                <a16:creationId xmlns:a16="http://schemas.microsoft.com/office/drawing/2014/main" id="{557E561B-5F1B-4849-B2D1-7445A570AA4D}"/>
              </a:ext>
            </a:extLst>
          </p:cNvPr>
          <p:cNvGrpSpPr/>
          <p:nvPr/>
        </p:nvGrpSpPr>
        <p:grpSpPr>
          <a:xfrm flipH="1">
            <a:off x="6634548" y="2636953"/>
            <a:ext cx="1025015" cy="361029"/>
            <a:chOff x="5983816" y="1091376"/>
            <a:chExt cx="1533310" cy="540061"/>
          </a:xfrm>
        </p:grpSpPr>
        <p:sp>
          <p:nvSpPr>
            <p:cNvPr id="35" name="Oval 99">
              <a:extLst>
                <a:ext uri="{FF2B5EF4-FFF2-40B4-BE49-F238E27FC236}">
                  <a16:creationId xmlns:a16="http://schemas.microsoft.com/office/drawing/2014/main" id="{E5E18620-CB67-44C8-B524-4C884A46AA32}"/>
                </a:ext>
              </a:extLst>
            </p:cNvPr>
            <p:cNvSpPr/>
            <p:nvPr/>
          </p:nvSpPr>
          <p:spPr>
            <a:xfrm>
              <a:off x="6977063" y="1091376"/>
              <a:ext cx="540063" cy="540061"/>
            </a:xfrm>
            <a:prstGeom prst="ellipse">
              <a:avLst/>
            </a:prstGeom>
            <a:solidFill>
              <a:sysClr val="window" lastClr="FFFFFF"/>
            </a:solidFill>
            <a:ln w="12700" cap="flat" cmpd="sng" algn="ctr">
              <a:noFill/>
              <a:prstDash val="solid"/>
              <a:miter lim="800000"/>
            </a:ln>
            <a:effectLst>
              <a:outerShdw blurRad="215900" sx="104000" sy="104000" algn="ctr" rotWithShape="0">
                <a:prstClr val="black">
                  <a:alpha val="19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677C7"/>
                </a:solidFill>
                <a:effectLst/>
                <a:uLnTx/>
                <a:uFillTx/>
                <a:latin typeface="Gill Sans MT" panose="020B0502020104020203" pitchFamily="34" charset="0"/>
                <a:cs typeface="+mn-cs"/>
              </a:endParaRPr>
            </a:p>
          </p:txBody>
        </p:sp>
        <p:sp>
          <p:nvSpPr>
            <p:cNvPr id="36" name="Flowchart: Stored Data 100">
              <a:extLst>
                <a:ext uri="{FF2B5EF4-FFF2-40B4-BE49-F238E27FC236}">
                  <a16:creationId xmlns:a16="http://schemas.microsoft.com/office/drawing/2014/main" id="{88368370-1A2B-4182-8E55-D98A0119B962}"/>
                </a:ext>
              </a:extLst>
            </p:cNvPr>
            <p:cNvSpPr/>
            <p:nvPr/>
          </p:nvSpPr>
          <p:spPr>
            <a:xfrm>
              <a:off x="5983816" y="1096806"/>
              <a:ext cx="1209933" cy="529201"/>
            </a:xfrm>
            <a:prstGeom prst="flowChartOnlineStorage">
              <a:avLst/>
            </a:prstGeom>
            <a:solidFill>
              <a:schemeClr val="bg1">
                <a:lumMod val="95000"/>
              </a:scheme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0" cap="none" spc="0" normalizeH="0" baseline="0" noProof="0">
                <a:ln>
                  <a:noFill/>
                </a:ln>
                <a:solidFill>
                  <a:srgbClr val="0677C7"/>
                </a:solidFill>
                <a:effectLst/>
                <a:uLnTx/>
                <a:uFillTx/>
                <a:latin typeface="Gill Sans MT" panose="020B0502020104020203" pitchFamily="34" charset="0"/>
                <a:cs typeface="+mn-cs"/>
              </a:endParaRPr>
            </a:p>
          </p:txBody>
        </p:sp>
      </p:grpSp>
      <p:grpSp>
        <p:nvGrpSpPr>
          <p:cNvPr id="37" name="Group 107">
            <a:extLst>
              <a:ext uri="{FF2B5EF4-FFF2-40B4-BE49-F238E27FC236}">
                <a16:creationId xmlns:a16="http://schemas.microsoft.com/office/drawing/2014/main" id="{61643325-C6CE-4531-B936-357F74CA0E54}"/>
              </a:ext>
            </a:extLst>
          </p:cNvPr>
          <p:cNvGrpSpPr/>
          <p:nvPr/>
        </p:nvGrpSpPr>
        <p:grpSpPr>
          <a:xfrm flipH="1" flipV="1">
            <a:off x="7238761" y="4605609"/>
            <a:ext cx="1025015" cy="361031"/>
            <a:chOff x="5983816" y="1091376"/>
            <a:chExt cx="1533310" cy="540061"/>
          </a:xfrm>
        </p:grpSpPr>
        <p:sp>
          <p:nvSpPr>
            <p:cNvPr id="38" name="Oval 111">
              <a:extLst>
                <a:ext uri="{FF2B5EF4-FFF2-40B4-BE49-F238E27FC236}">
                  <a16:creationId xmlns:a16="http://schemas.microsoft.com/office/drawing/2014/main" id="{EA5C5211-0FA3-4C41-B354-C491D6F59EAA}"/>
                </a:ext>
              </a:extLst>
            </p:cNvPr>
            <p:cNvSpPr/>
            <p:nvPr/>
          </p:nvSpPr>
          <p:spPr>
            <a:xfrm>
              <a:off x="6977063" y="1091376"/>
              <a:ext cx="540063" cy="540061"/>
            </a:xfrm>
            <a:prstGeom prst="ellipse">
              <a:avLst/>
            </a:prstGeom>
            <a:solidFill>
              <a:sysClr val="window" lastClr="FFFFFF"/>
            </a:solidFill>
            <a:ln w="12700" cap="flat" cmpd="sng" algn="ctr">
              <a:noFill/>
              <a:prstDash val="solid"/>
              <a:miter lim="800000"/>
            </a:ln>
            <a:effectLst>
              <a:outerShdw blurRad="215900" sx="104000" sy="104000" algn="ctr" rotWithShape="0">
                <a:prstClr val="black">
                  <a:alpha val="19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677C7"/>
                </a:solidFill>
                <a:effectLst/>
                <a:uLnTx/>
                <a:uFillTx/>
                <a:latin typeface="Gill Sans MT" panose="020B0502020104020203" pitchFamily="34" charset="0"/>
                <a:cs typeface="+mn-cs"/>
              </a:endParaRPr>
            </a:p>
          </p:txBody>
        </p:sp>
        <p:sp>
          <p:nvSpPr>
            <p:cNvPr id="39" name="Flowchart: Stored Data 112">
              <a:extLst>
                <a:ext uri="{FF2B5EF4-FFF2-40B4-BE49-F238E27FC236}">
                  <a16:creationId xmlns:a16="http://schemas.microsoft.com/office/drawing/2014/main" id="{032B803E-53E7-4DCD-AE43-08891387FAA8}"/>
                </a:ext>
              </a:extLst>
            </p:cNvPr>
            <p:cNvSpPr/>
            <p:nvPr/>
          </p:nvSpPr>
          <p:spPr>
            <a:xfrm>
              <a:off x="5983816" y="1096806"/>
              <a:ext cx="1209933" cy="529201"/>
            </a:xfrm>
            <a:prstGeom prst="flowChartOnlineStorage">
              <a:avLst/>
            </a:prstGeom>
            <a:solidFill>
              <a:schemeClr val="bg1">
                <a:lumMod val="95000"/>
              </a:schemeClr>
            </a:soli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0" cap="none" spc="0" normalizeH="0" baseline="0" noProof="0">
                <a:ln>
                  <a:noFill/>
                </a:ln>
                <a:solidFill>
                  <a:srgbClr val="0677C7"/>
                </a:solidFill>
                <a:effectLst/>
                <a:uLnTx/>
                <a:uFillTx/>
                <a:latin typeface="Arial"/>
                <a:cs typeface="+mn-cs"/>
              </a:endParaRPr>
            </a:p>
          </p:txBody>
        </p:sp>
      </p:grpSp>
      <p:grpSp>
        <p:nvGrpSpPr>
          <p:cNvPr id="40" name="Group 108">
            <a:extLst>
              <a:ext uri="{FF2B5EF4-FFF2-40B4-BE49-F238E27FC236}">
                <a16:creationId xmlns:a16="http://schemas.microsoft.com/office/drawing/2014/main" id="{C96863A8-7F04-427B-A0B0-3391D14147A3}"/>
              </a:ext>
            </a:extLst>
          </p:cNvPr>
          <p:cNvGrpSpPr/>
          <p:nvPr/>
        </p:nvGrpSpPr>
        <p:grpSpPr>
          <a:xfrm flipH="1" flipV="1">
            <a:off x="6634548" y="3906244"/>
            <a:ext cx="1025015" cy="361031"/>
            <a:chOff x="5983816" y="1091376"/>
            <a:chExt cx="1533310" cy="540061"/>
          </a:xfrm>
        </p:grpSpPr>
        <p:sp>
          <p:nvSpPr>
            <p:cNvPr id="41" name="Oval 109">
              <a:extLst>
                <a:ext uri="{FF2B5EF4-FFF2-40B4-BE49-F238E27FC236}">
                  <a16:creationId xmlns:a16="http://schemas.microsoft.com/office/drawing/2014/main" id="{B21DB242-12A8-4375-8F7F-279FAF027631}"/>
                </a:ext>
              </a:extLst>
            </p:cNvPr>
            <p:cNvSpPr/>
            <p:nvPr/>
          </p:nvSpPr>
          <p:spPr>
            <a:xfrm>
              <a:off x="6977063" y="1091376"/>
              <a:ext cx="540063" cy="540061"/>
            </a:xfrm>
            <a:prstGeom prst="ellipse">
              <a:avLst/>
            </a:prstGeom>
            <a:solidFill>
              <a:sysClr val="window" lastClr="FFFFFF"/>
            </a:solidFill>
            <a:ln w="12700" cap="flat" cmpd="sng" algn="ctr">
              <a:noFill/>
              <a:prstDash val="solid"/>
              <a:miter lim="800000"/>
            </a:ln>
            <a:effectLst>
              <a:outerShdw blurRad="215900" sx="104000" sy="104000" algn="ctr" rotWithShape="0">
                <a:prstClr val="black">
                  <a:alpha val="19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677C7"/>
                </a:solidFill>
                <a:effectLst/>
                <a:uLnTx/>
                <a:uFillTx/>
                <a:latin typeface="Gill Sans MT" panose="020B0502020104020203" pitchFamily="34" charset="0"/>
                <a:cs typeface="+mn-cs"/>
              </a:endParaRPr>
            </a:p>
          </p:txBody>
        </p:sp>
        <p:sp>
          <p:nvSpPr>
            <p:cNvPr id="42" name="Flowchart: Stored Data 110">
              <a:extLst>
                <a:ext uri="{FF2B5EF4-FFF2-40B4-BE49-F238E27FC236}">
                  <a16:creationId xmlns:a16="http://schemas.microsoft.com/office/drawing/2014/main" id="{7ECA0F94-EC58-4BE9-BB84-6DF90A944229}"/>
                </a:ext>
              </a:extLst>
            </p:cNvPr>
            <p:cNvSpPr/>
            <p:nvPr/>
          </p:nvSpPr>
          <p:spPr>
            <a:xfrm>
              <a:off x="5983816" y="1096806"/>
              <a:ext cx="1209933" cy="529201"/>
            </a:xfrm>
            <a:prstGeom prst="flowChartOnlineStorage">
              <a:avLst/>
            </a:prstGeom>
            <a:solidFill>
              <a:schemeClr val="bg1">
                <a:lumMod val="95000"/>
              </a:schemeClr>
            </a:soli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0" cap="none" spc="0" normalizeH="0" baseline="0" noProof="0">
                <a:ln>
                  <a:noFill/>
                </a:ln>
                <a:solidFill>
                  <a:srgbClr val="0677C7"/>
                </a:solidFill>
                <a:effectLst/>
                <a:uLnTx/>
                <a:uFillTx/>
                <a:latin typeface="Gill Sans MT" panose="020B0502020104020203" pitchFamily="34" charset="0"/>
                <a:cs typeface="+mn-cs"/>
              </a:endParaRPr>
            </a:p>
          </p:txBody>
        </p:sp>
      </p:grpSp>
      <p:sp>
        <p:nvSpPr>
          <p:cNvPr id="43" name="Rectangle 134">
            <a:extLst>
              <a:ext uri="{FF2B5EF4-FFF2-40B4-BE49-F238E27FC236}">
                <a16:creationId xmlns:a16="http://schemas.microsoft.com/office/drawing/2014/main" id="{A440AF08-64B9-4E13-882C-A6DA083D39CC}"/>
              </a:ext>
            </a:extLst>
          </p:cNvPr>
          <p:cNvSpPr/>
          <p:nvPr/>
        </p:nvSpPr>
        <p:spPr>
          <a:xfrm flipH="1">
            <a:off x="8382089" y="4651963"/>
            <a:ext cx="1500845" cy="276999"/>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chemeClr val="accent1"/>
                </a:solidFill>
                <a:effectLst/>
                <a:uLnTx/>
                <a:uFillTx/>
                <a:latin typeface="Gill Sans MT" panose="020B0502020104020203" pitchFamily="34" charset="0"/>
                <a:cs typeface="Segoe UI" panose="020B0502040204020203" pitchFamily="34" charset="0"/>
              </a:rPr>
              <a:t>Lorem Ipsum</a:t>
            </a:r>
          </a:p>
        </p:txBody>
      </p:sp>
      <p:sp>
        <p:nvSpPr>
          <p:cNvPr id="44" name="Rectangle 135">
            <a:extLst>
              <a:ext uri="{FF2B5EF4-FFF2-40B4-BE49-F238E27FC236}">
                <a16:creationId xmlns:a16="http://schemas.microsoft.com/office/drawing/2014/main" id="{BD03DD8A-2442-433B-B56A-85D80B0C006F}"/>
              </a:ext>
            </a:extLst>
          </p:cNvPr>
          <p:cNvSpPr/>
          <p:nvPr/>
        </p:nvSpPr>
        <p:spPr>
          <a:xfrm flipH="1">
            <a:off x="7806783" y="3698139"/>
            <a:ext cx="1590800" cy="646331"/>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accent1"/>
                </a:solidFill>
                <a:effectLst/>
                <a:uLnTx/>
                <a:uFillTx/>
                <a:latin typeface="Gill Sans MT" panose="020B0502020104020203" pitchFamily="34" charset="0"/>
                <a:cs typeface="Segoe UI" panose="020B0502040204020203" pitchFamily="34" charset="0"/>
              </a:rPr>
              <a:t>Lorem ipsum dolor</a:t>
            </a:r>
            <a:br>
              <a:rPr kumimoji="0" lang="en-US" sz="1400" b="0" i="0" u="none" strike="noStrike" kern="0" cap="none" spc="0" normalizeH="0" baseline="0" noProof="0" dirty="0">
                <a:ln>
                  <a:noFill/>
                </a:ln>
                <a:solidFill>
                  <a:schemeClr val="accent1"/>
                </a:solidFill>
                <a:effectLst/>
                <a:uLnTx/>
                <a:uFillTx/>
                <a:latin typeface="Gill Sans MT" panose="020B0502020104020203" pitchFamily="34" charset="0"/>
                <a:cs typeface="Segoe UI" panose="020B0502040204020203" pitchFamily="34" charset="0"/>
              </a:rPr>
            </a:br>
            <a:r>
              <a:rPr kumimoji="0" lang="en-US" sz="1400" b="0" i="0" u="none" strike="noStrike" kern="0" cap="none" spc="0" normalizeH="0" baseline="0" noProof="0" dirty="0">
                <a:ln>
                  <a:noFill/>
                </a:ln>
                <a:solidFill>
                  <a:schemeClr val="accent1"/>
                </a:solidFill>
                <a:effectLst/>
                <a:uLnTx/>
                <a:uFillTx/>
                <a:latin typeface="Gill Sans MT" panose="020B0502020104020203" pitchFamily="34" charset="0"/>
                <a:cs typeface="Segoe UI" panose="020B0502040204020203" pitchFamily="34" charset="0"/>
              </a:rPr>
              <a:t>sit </a:t>
            </a:r>
            <a:r>
              <a:rPr kumimoji="0" lang="en-US" sz="1400" b="0" i="0" u="none" strike="noStrike" kern="0" cap="none" spc="0" normalizeH="0" baseline="0" noProof="0" dirty="0" err="1">
                <a:ln>
                  <a:noFill/>
                </a:ln>
                <a:solidFill>
                  <a:schemeClr val="accent1"/>
                </a:solidFill>
                <a:effectLst/>
                <a:uLnTx/>
                <a:uFillTx/>
                <a:latin typeface="Gill Sans MT" panose="020B0502020104020203" pitchFamily="34" charset="0"/>
                <a:cs typeface="Segoe UI" panose="020B0502040204020203" pitchFamily="34" charset="0"/>
              </a:rPr>
              <a:t>amet</a:t>
            </a:r>
            <a:r>
              <a:rPr kumimoji="0" lang="en-US" sz="1400" b="0" i="0" u="none" strike="noStrike" kern="0" cap="none" spc="0" normalizeH="0" baseline="0" noProof="0" dirty="0">
                <a:ln>
                  <a:noFill/>
                </a:ln>
                <a:solidFill>
                  <a:schemeClr val="accent1"/>
                </a:solidFill>
                <a:effectLst/>
                <a:uLnTx/>
                <a:uFillTx/>
                <a:latin typeface="Gill Sans MT" panose="020B0502020104020203" pitchFamily="34" charset="0"/>
                <a:cs typeface="Segoe UI" panose="020B0502040204020203" pitchFamily="34" charset="0"/>
              </a:rPr>
              <a:t>, </a:t>
            </a:r>
            <a:r>
              <a:rPr kumimoji="0" lang="en-US" sz="1400" b="0" i="0" u="none" strike="noStrike" kern="0" cap="none" spc="0" normalizeH="0" baseline="0" noProof="0" dirty="0" err="1">
                <a:ln>
                  <a:noFill/>
                </a:ln>
                <a:solidFill>
                  <a:schemeClr val="accent1"/>
                </a:solidFill>
                <a:effectLst/>
                <a:uLnTx/>
                <a:uFillTx/>
                <a:latin typeface="Gill Sans MT" panose="020B0502020104020203" pitchFamily="34" charset="0"/>
                <a:cs typeface="Segoe UI" panose="020B0502040204020203" pitchFamily="34" charset="0"/>
              </a:rPr>
              <a:t>consectetur</a:t>
            </a:r>
            <a:r>
              <a:rPr kumimoji="0" lang="en-US" sz="1400" b="0" i="0" u="none" strike="noStrike" kern="0" cap="none" spc="0" normalizeH="0" baseline="0" noProof="0" dirty="0">
                <a:ln>
                  <a:noFill/>
                </a:ln>
                <a:solidFill>
                  <a:schemeClr val="accent1"/>
                </a:solidFill>
                <a:effectLst/>
                <a:uLnTx/>
                <a:uFillTx/>
                <a:latin typeface="Gill Sans MT" panose="020B0502020104020203" pitchFamily="34" charset="0"/>
                <a:cs typeface="Segoe UI" panose="020B0502040204020203" pitchFamily="34" charset="0"/>
              </a:rPr>
              <a:t> </a:t>
            </a:r>
            <a:r>
              <a:rPr kumimoji="0" lang="en-US" sz="1400" b="0" i="0" u="none" strike="noStrike" kern="0" cap="none" spc="0" normalizeH="0" baseline="0" noProof="0" dirty="0" err="1">
                <a:ln>
                  <a:noFill/>
                </a:ln>
                <a:solidFill>
                  <a:schemeClr val="accent1"/>
                </a:solidFill>
                <a:effectLst/>
                <a:uLnTx/>
                <a:uFillTx/>
                <a:latin typeface="Gill Sans MT" panose="020B0502020104020203" pitchFamily="34" charset="0"/>
                <a:cs typeface="Segoe UI" panose="020B0502040204020203" pitchFamily="34" charset="0"/>
              </a:rPr>
              <a:t>adipiscing</a:t>
            </a:r>
            <a:r>
              <a:rPr kumimoji="0" lang="en-US" sz="1400" b="0" i="0" u="none" strike="noStrike" kern="0" cap="none" spc="0" normalizeH="0" baseline="0" noProof="0" dirty="0">
                <a:ln>
                  <a:noFill/>
                </a:ln>
                <a:solidFill>
                  <a:schemeClr val="accent1"/>
                </a:solidFill>
                <a:effectLst/>
                <a:uLnTx/>
                <a:uFillTx/>
                <a:latin typeface="Gill Sans MT" panose="020B0502020104020203" pitchFamily="34" charset="0"/>
                <a:cs typeface="Segoe UI" panose="020B0502040204020203" pitchFamily="34" charset="0"/>
              </a:rPr>
              <a:t> </a:t>
            </a:r>
            <a:r>
              <a:rPr kumimoji="0" lang="en-US" sz="1400" b="0" i="0" u="none" strike="noStrike" kern="0" cap="none" spc="0" normalizeH="0" baseline="0" noProof="0" dirty="0" err="1">
                <a:ln>
                  <a:noFill/>
                </a:ln>
                <a:solidFill>
                  <a:schemeClr val="accent1"/>
                </a:solidFill>
                <a:effectLst/>
                <a:uLnTx/>
                <a:uFillTx/>
                <a:latin typeface="Gill Sans MT" panose="020B0502020104020203" pitchFamily="34" charset="0"/>
                <a:cs typeface="Segoe UI" panose="020B0502040204020203" pitchFamily="34" charset="0"/>
              </a:rPr>
              <a:t>elit</a:t>
            </a:r>
            <a:r>
              <a:rPr kumimoji="0" lang="en-US" sz="1400" b="0" i="0" u="none" strike="noStrike" kern="0" cap="none" spc="0" normalizeH="0" baseline="0" noProof="0" dirty="0">
                <a:ln>
                  <a:noFill/>
                </a:ln>
                <a:solidFill>
                  <a:schemeClr val="accent1"/>
                </a:solidFill>
                <a:effectLst/>
                <a:uLnTx/>
                <a:uFillTx/>
                <a:latin typeface="Gill Sans MT" panose="020B0502020104020203" pitchFamily="34" charset="0"/>
                <a:cs typeface="Segoe UI" panose="020B0502040204020203" pitchFamily="34" charset="0"/>
              </a:rPr>
              <a:t>.</a:t>
            </a:r>
          </a:p>
        </p:txBody>
      </p:sp>
      <p:sp>
        <p:nvSpPr>
          <p:cNvPr id="45" name="Rectangle 136">
            <a:extLst>
              <a:ext uri="{FF2B5EF4-FFF2-40B4-BE49-F238E27FC236}">
                <a16:creationId xmlns:a16="http://schemas.microsoft.com/office/drawing/2014/main" id="{DADCE653-DF6F-46E9-AF67-E0CCC7F7440A}"/>
              </a:ext>
            </a:extLst>
          </p:cNvPr>
          <p:cNvSpPr/>
          <p:nvPr/>
        </p:nvSpPr>
        <p:spPr>
          <a:xfrm flipH="1">
            <a:off x="6116079" y="1284578"/>
            <a:ext cx="1500845" cy="276999"/>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chemeClr val="accent1"/>
                </a:solidFill>
                <a:effectLst/>
                <a:uLnTx/>
                <a:uFillTx/>
                <a:latin typeface="Gill Sans MT" panose="020B0502020104020203" pitchFamily="34" charset="0"/>
                <a:cs typeface="Segoe UI" panose="020B0502040204020203" pitchFamily="34" charset="0"/>
              </a:rPr>
              <a:t>Lorem Ipsum</a:t>
            </a:r>
          </a:p>
        </p:txBody>
      </p:sp>
      <p:sp>
        <p:nvSpPr>
          <p:cNvPr id="46" name="Rectangle 137">
            <a:extLst>
              <a:ext uri="{FF2B5EF4-FFF2-40B4-BE49-F238E27FC236}">
                <a16:creationId xmlns:a16="http://schemas.microsoft.com/office/drawing/2014/main" id="{A5278DB5-DDCA-4397-AB33-7C4CC053861F}"/>
              </a:ext>
            </a:extLst>
          </p:cNvPr>
          <p:cNvSpPr/>
          <p:nvPr/>
        </p:nvSpPr>
        <p:spPr>
          <a:xfrm flipH="1">
            <a:off x="6116079" y="5351328"/>
            <a:ext cx="1500845" cy="276999"/>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chemeClr val="accent1"/>
                </a:solidFill>
                <a:effectLst/>
                <a:uLnTx/>
                <a:uFillTx/>
                <a:latin typeface="Gill Sans MT" panose="020B0502020104020203" pitchFamily="34" charset="0"/>
                <a:cs typeface="Segoe UI" panose="020B0502040204020203" pitchFamily="34" charset="0"/>
              </a:rPr>
              <a:t>Lorem Ipsum</a:t>
            </a:r>
          </a:p>
        </p:txBody>
      </p:sp>
      <p:sp>
        <p:nvSpPr>
          <p:cNvPr id="47" name="Rectangle 138">
            <a:extLst>
              <a:ext uri="{FF2B5EF4-FFF2-40B4-BE49-F238E27FC236}">
                <a16:creationId xmlns:a16="http://schemas.microsoft.com/office/drawing/2014/main" id="{19A3BE61-97A7-4ABD-B315-771C68767276}"/>
              </a:ext>
            </a:extLst>
          </p:cNvPr>
          <p:cNvSpPr/>
          <p:nvPr/>
        </p:nvSpPr>
        <p:spPr>
          <a:xfrm flipH="1">
            <a:off x="4117169" y="2608772"/>
            <a:ext cx="1103458" cy="430887"/>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accent1"/>
                </a:solidFill>
                <a:effectLst/>
                <a:uLnTx/>
                <a:uFillTx/>
                <a:latin typeface="Gill Sans MT" panose="020B0502020104020203" pitchFamily="34" charset="0"/>
                <a:cs typeface="Segoe UI" panose="020B0502040204020203" pitchFamily="34" charset="0"/>
              </a:rPr>
              <a:t>Lorem ipsum</a:t>
            </a:r>
            <a:br>
              <a:rPr kumimoji="0" lang="en-US" sz="1400" b="0" i="0" u="none" strike="noStrike" kern="0" cap="none" spc="0" normalizeH="0" baseline="0" noProof="0" dirty="0">
                <a:ln>
                  <a:noFill/>
                </a:ln>
                <a:solidFill>
                  <a:schemeClr val="accent1"/>
                </a:solidFill>
                <a:effectLst/>
                <a:uLnTx/>
                <a:uFillTx/>
                <a:latin typeface="Gill Sans MT" panose="020B0502020104020203" pitchFamily="34" charset="0"/>
                <a:cs typeface="Segoe UI" panose="020B0502040204020203" pitchFamily="34" charset="0"/>
              </a:rPr>
            </a:br>
            <a:r>
              <a:rPr kumimoji="0" lang="en-US" sz="1400" b="0" i="0" u="none" strike="noStrike" kern="0" cap="none" spc="0" normalizeH="0" baseline="0" noProof="0" dirty="0">
                <a:ln>
                  <a:noFill/>
                </a:ln>
                <a:solidFill>
                  <a:schemeClr val="accent1"/>
                </a:solidFill>
                <a:effectLst/>
                <a:uLnTx/>
                <a:uFillTx/>
                <a:latin typeface="Gill Sans MT" panose="020B0502020104020203" pitchFamily="34" charset="0"/>
                <a:cs typeface="Segoe UI" panose="020B0502040204020203" pitchFamily="34" charset="0"/>
              </a:rPr>
              <a:t>dolor sit </a:t>
            </a:r>
            <a:r>
              <a:rPr kumimoji="0" lang="en-US" sz="1400" b="0" i="0" u="none" strike="noStrike" kern="0" cap="none" spc="0" normalizeH="0" baseline="0" noProof="0" dirty="0" err="1">
                <a:ln>
                  <a:noFill/>
                </a:ln>
                <a:solidFill>
                  <a:schemeClr val="accent1"/>
                </a:solidFill>
                <a:effectLst/>
                <a:uLnTx/>
                <a:uFillTx/>
                <a:latin typeface="Gill Sans MT" panose="020B0502020104020203" pitchFamily="34" charset="0"/>
                <a:cs typeface="Segoe UI" panose="020B0502040204020203" pitchFamily="34" charset="0"/>
              </a:rPr>
              <a:t>amet</a:t>
            </a:r>
            <a:r>
              <a:rPr kumimoji="0" lang="en-US" sz="1400" b="0" i="0" u="none" strike="noStrike" kern="0" cap="none" spc="0" normalizeH="0" baseline="0" noProof="0" dirty="0">
                <a:ln>
                  <a:noFill/>
                </a:ln>
                <a:solidFill>
                  <a:schemeClr val="accent1"/>
                </a:solidFill>
                <a:effectLst/>
                <a:uLnTx/>
                <a:uFillTx/>
                <a:latin typeface="Gill Sans MT" panose="020B0502020104020203" pitchFamily="34" charset="0"/>
                <a:cs typeface="Segoe UI" panose="020B0502040204020203" pitchFamily="34" charset="0"/>
              </a:rPr>
              <a:t>,</a:t>
            </a:r>
          </a:p>
        </p:txBody>
      </p:sp>
      <p:sp>
        <p:nvSpPr>
          <p:cNvPr id="48" name="Rectangle 140">
            <a:extLst>
              <a:ext uri="{FF2B5EF4-FFF2-40B4-BE49-F238E27FC236}">
                <a16:creationId xmlns:a16="http://schemas.microsoft.com/office/drawing/2014/main" id="{4672E47C-D68C-43F9-8E4F-9C75E37F56C1}"/>
              </a:ext>
            </a:extLst>
          </p:cNvPr>
          <p:cNvSpPr/>
          <p:nvPr/>
        </p:nvSpPr>
        <p:spPr>
          <a:xfrm flipH="1">
            <a:off x="4117169" y="3878065"/>
            <a:ext cx="1103458" cy="430887"/>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accent1"/>
                </a:solidFill>
                <a:effectLst/>
                <a:uLnTx/>
                <a:uFillTx/>
                <a:latin typeface="Gill Sans MT" panose="020B0502020104020203" pitchFamily="34" charset="0"/>
                <a:cs typeface="Segoe UI" panose="020B0502040204020203" pitchFamily="34" charset="0"/>
              </a:rPr>
              <a:t>Lorem ipsum</a:t>
            </a:r>
            <a:br>
              <a:rPr kumimoji="0" lang="en-US" sz="1400" b="0" i="0" u="none" strike="noStrike" kern="0" cap="none" spc="0" normalizeH="0" baseline="0" noProof="0" dirty="0">
                <a:ln>
                  <a:noFill/>
                </a:ln>
                <a:solidFill>
                  <a:schemeClr val="accent1"/>
                </a:solidFill>
                <a:effectLst/>
                <a:uLnTx/>
                <a:uFillTx/>
                <a:latin typeface="Gill Sans MT" panose="020B0502020104020203" pitchFamily="34" charset="0"/>
                <a:cs typeface="Segoe UI" panose="020B0502040204020203" pitchFamily="34" charset="0"/>
              </a:rPr>
            </a:br>
            <a:r>
              <a:rPr kumimoji="0" lang="en-US" sz="1400" b="0" i="0" u="none" strike="noStrike" kern="0" cap="none" spc="0" normalizeH="0" baseline="0" noProof="0" dirty="0">
                <a:ln>
                  <a:noFill/>
                </a:ln>
                <a:solidFill>
                  <a:schemeClr val="accent1"/>
                </a:solidFill>
                <a:effectLst/>
                <a:uLnTx/>
                <a:uFillTx/>
                <a:latin typeface="Gill Sans MT" panose="020B0502020104020203" pitchFamily="34" charset="0"/>
                <a:cs typeface="Segoe UI" panose="020B0502040204020203" pitchFamily="34" charset="0"/>
              </a:rPr>
              <a:t>dolor sit </a:t>
            </a:r>
            <a:r>
              <a:rPr kumimoji="0" lang="en-US" sz="1400" b="0" i="0" u="none" strike="noStrike" kern="0" cap="none" spc="0" normalizeH="0" baseline="0" noProof="0" dirty="0" err="1">
                <a:ln>
                  <a:noFill/>
                </a:ln>
                <a:solidFill>
                  <a:schemeClr val="accent1"/>
                </a:solidFill>
                <a:effectLst/>
                <a:uLnTx/>
                <a:uFillTx/>
                <a:latin typeface="Gill Sans MT" panose="020B0502020104020203" pitchFamily="34" charset="0"/>
                <a:cs typeface="Segoe UI" panose="020B0502040204020203" pitchFamily="34" charset="0"/>
              </a:rPr>
              <a:t>amet</a:t>
            </a:r>
            <a:r>
              <a:rPr kumimoji="0" lang="en-US" sz="1400" b="0" i="0" u="none" strike="noStrike" kern="0" cap="none" spc="0" normalizeH="0" baseline="0" noProof="0" dirty="0">
                <a:ln>
                  <a:noFill/>
                </a:ln>
                <a:solidFill>
                  <a:schemeClr val="accent1"/>
                </a:solidFill>
                <a:effectLst/>
                <a:uLnTx/>
                <a:uFillTx/>
                <a:latin typeface="Gill Sans MT" panose="020B0502020104020203" pitchFamily="34" charset="0"/>
                <a:cs typeface="Segoe UI" panose="020B0502040204020203" pitchFamily="34" charset="0"/>
              </a:rPr>
              <a:t>,</a:t>
            </a:r>
          </a:p>
        </p:txBody>
      </p:sp>
      <p:sp>
        <p:nvSpPr>
          <p:cNvPr id="49" name="Rectangle 141">
            <a:extLst>
              <a:ext uri="{FF2B5EF4-FFF2-40B4-BE49-F238E27FC236}">
                <a16:creationId xmlns:a16="http://schemas.microsoft.com/office/drawing/2014/main" id="{AA93A26D-E5AC-4F4C-B1C2-CEBEE9680176}"/>
              </a:ext>
            </a:extLst>
          </p:cNvPr>
          <p:cNvSpPr/>
          <p:nvPr/>
        </p:nvSpPr>
        <p:spPr>
          <a:xfrm flipH="1">
            <a:off x="5159354" y="4577971"/>
            <a:ext cx="1103458" cy="430887"/>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accent1"/>
                </a:solidFill>
                <a:effectLst/>
                <a:uLnTx/>
                <a:uFillTx/>
                <a:latin typeface="Gill Sans MT" panose="020B0502020104020203" pitchFamily="34" charset="0"/>
                <a:cs typeface="Segoe UI" panose="020B0502040204020203" pitchFamily="34" charset="0"/>
              </a:rPr>
              <a:t>Lorem ipsum</a:t>
            </a:r>
            <a:br>
              <a:rPr kumimoji="0" lang="en-US" sz="1400" b="0" i="0" u="none" strike="noStrike" kern="0" cap="none" spc="0" normalizeH="0" baseline="0" noProof="0" dirty="0">
                <a:ln>
                  <a:noFill/>
                </a:ln>
                <a:solidFill>
                  <a:schemeClr val="accent1"/>
                </a:solidFill>
                <a:effectLst/>
                <a:uLnTx/>
                <a:uFillTx/>
                <a:latin typeface="Gill Sans MT" panose="020B0502020104020203" pitchFamily="34" charset="0"/>
                <a:cs typeface="Segoe UI" panose="020B0502040204020203" pitchFamily="34" charset="0"/>
              </a:rPr>
            </a:br>
            <a:r>
              <a:rPr kumimoji="0" lang="en-US" sz="1400" b="0" i="0" u="none" strike="noStrike" kern="0" cap="none" spc="0" normalizeH="0" baseline="0" noProof="0" dirty="0">
                <a:ln>
                  <a:noFill/>
                </a:ln>
                <a:solidFill>
                  <a:schemeClr val="accent1"/>
                </a:solidFill>
                <a:effectLst/>
                <a:uLnTx/>
                <a:uFillTx/>
                <a:latin typeface="Gill Sans MT" panose="020B0502020104020203" pitchFamily="34" charset="0"/>
                <a:cs typeface="Segoe UI" panose="020B0502040204020203" pitchFamily="34" charset="0"/>
              </a:rPr>
              <a:t>dolor sit </a:t>
            </a:r>
            <a:r>
              <a:rPr kumimoji="0" lang="en-US" sz="1400" b="0" i="0" u="none" strike="noStrike" kern="0" cap="none" spc="0" normalizeH="0" baseline="0" noProof="0" dirty="0" err="1">
                <a:ln>
                  <a:noFill/>
                </a:ln>
                <a:solidFill>
                  <a:schemeClr val="accent1"/>
                </a:solidFill>
                <a:effectLst/>
                <a:uLnTx/>
                <a:uFillTx/>
                <a:latin typeface="Gill Sans MT" panose="020B0502020104020203" pitchFamily="34" charset="0"/>
                <a:cs typeface="Segoe UI" panose="020B0502040204020203" pitchFamily="34" charset="0"/>
              </a:rPr>
              <a:t>amet</a:t>
            </a:r>
            <a:r>
              <a:rPr kumimoji="0" lang="en-US" sz="1400" b="0" i="0" u="none" strike="noStrike" kern="0" cap="none" spc="0" normalizeH="0" baseline="0" noProof="0" dirty="0">
                <a:ln>
                  <a:noFill/>
                </a:ln>
                <a:solidFill>
                  <a:schemeClr val="accent1"/>
                </a:solidFill>
                <a:effectLst/>
                <a:uLnTx/>
                <a:uFillTx/>
                <a:latin typeface="Gill Sans MT" panose="020B0502020104020203" pitchFamily="34" charset="0"/>
                <a:cs typeface="Segoe UI" panose="020B0502040204020203" pitchFamily="34" charset="0"/>
              </a:rPr>
              <a:t>,</a:t>
            </a:r>
          </a:p>
        </p:txBody>
      </p:sp>
      <p:sp>
        <p:nvSpPr>
          <p:cNvPr id="50" name="Rectangle 142">
            <a:extLst>
              <a:ext uri="{FF2B5EF4-FFF2-40B4-BE49-F238E27FC236}">
                <a16:creationId xmlns:a16="http://schemas.microsoft.com/office/drawing/2014/main" id="{18C4C608-B509-4CEE-8D01-C56243CB52E6}"/>
              </a:ext>
            </a:extLst>
          </p:cNvPr>
          <p:cNvSpPr/>
          <p:nvPr/>
        </p:nvSpPr>
        <p:spPr>
          <a:xfrm flipH="1">
            <a:off x="5159354" y="1910876"/>
            <a:ext cx="1103458" cy="430887"/>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accent1"/>
                </a:solidFill>
                <a:effectLst/>
                <a:uLnTx/>
                <a:uFillTx/>
                <a:latin typeface="Gill Sans MT" panose="020B0502020104020203" pitchFamily="34" charset="0"/>
                <a:cs typeface="Segoe UI" panose="020B0502040204020203" pitchFamily="34" charset="0"/>
              </a:rPr>
              <a:t>Lorem ipsum</a:t>
            </a:r>
            <a:br>
              <a:rPr kumimoji="0" lang="en-US" sz="1400" b="0" i="0" u="none" strike="noStrike" kern="0" cap="none" spc="0" normalizeH="0" baseline="0" noProof="0" dirty="0">
                <a:ln>
                  <a:noFill/>
                </a:ln>
                <a:solidFill>
                  <a:schemeClr val="accent1"/>
                </a:solidFill>
                <a:effectLst/>
                <a:uLnTx/>
                <a:uFillTx/>
                <a:latin typeface="Gill Sans MT" panose="020B0502020104020203" pitchFamily="34" charset="0"/>
                <a:cs typeface="Segoe UI" panose="020B0502040204020203" pitchFamily="34" charset="0"/>
              </a:rPr>
            </a:br>
            <a:r>
              <a:rPr kumimoji="0" lang="en-US" sz="1400" b="0" i="0" u="none" strike="noStrike" kern="0" cap="none" spc="0" normalizeH="0" baseline="0" noProof="0" dirty="0">
                <a:ln>
                  <a:noFill/>
                </a:ln>
                <a:solidFill>
                  <a:schemeClr val="accent1"/>
                </a:solidFill>
                <a:effectLst/>
                <a:uLnTx/>
                <a:uFillTx/>
                <a:latin typeface="Gill Sans MT" panose="020B0502020104020203" pitchFamily="34" charset="0"/>
                <a:cs typeface="Segoe UI" panose="020B0502040204020203" pitchFamily="34" charset="0"/>
              </a:rPr>
              <a:t>dolor sit </a:t>
            </a:r>
            <a:r>
              <a:rPr kumimoji="0" lang="en-US" sz="1400" b="0" i="0" u="none" strike="noStrike" kern="0" cap="none" spc="0" normalizeH="0" baseline="0" noProof="0" dirty="0" err="1">
                <a:ln>
                  <a:noFill/>
                </a:ln>
                <a:solidFill>
                  <a:schemeClr val="accent1"/>
                </a:solidFill>
                <a:effectLst/>
                <a:uLnTx/>
                <a:uFillTx/>
                <a:latin typeface="Gill Sans MT" panose="020B0502020104020203" pitchFamily="34" charset="0"/>
                <a:cs typeface="Segoe UI" panose="020B0502040204020203" pitchFamily="34" charset="0"/>
              </a:rPr>
              <a:t>amet</a:t>
            </a:r>
            <a:r>
              <a:rPr kumimoji="0" lang="en-US" sz="1400" b="0" i="0" u="none" strike="noStrike" kern="0" cap="none" spc="0" normalizeH="0" baseline="0" noProof="0" dirty="0">
                <a:ln>
                  <a:noFill/>
                </a:ln>
                <a:solidFill>
                  <a:schemeClr val="accent1"/>
                </a:solidFill>
                <a:effectLst/>
                <a:uLnTx/>
                <a:uFillTx/>
                <a:latin typeface="Gill Sans MT" panose="020B0502020104020203" pitchFamily="34" charset="0"/>
                <a:cs typeface="Segoe UI" panose="020B0502040204020203" pitchFamily="34" charset="0"/>
              </a:rPr>
              <a:t>,</a:t>
            </a:r>
          </a:p>
        </p:txBody>
      </p:sp>
      <p:sp>
        <p:nvSpPr>
          <p:cNvPr id="51" name="Freeform 8">
            <a:extLst>
              <a:ext uri="{FF2B5EF4-FFF2-40B4-BE49-F238E27FC236}">
                <a16:creationId xmlns:a16="http://schemas.microsoft.com/office/drawing/2014/main" id="{D2EE852F-69D7-4B3B-84DB-A63443E1F9E9}"/>
              </a:ext>
            </a:extLst>
          </p:cNvPr>
          <p:cNvSpPr>
            <a:spLocks/>
          </p:cNvSpPr>
          <p:nvPr/>
        </p:nvSpPr>
        <p:spPr bwMode="auto">
          <a:xfrm flipH="1">
            <a:off x="9923109" y="3266378"/>
            <a:ext cx="360363" cy="371475"/>
          </a:xfrm>
          <a:custGeom>
            <a:avLst/>
            <a:gdLst>
              <a:gd name="T0" fmla="*/ 94 w 96"/>
              <a:gd name="T1" fmla="*/ 44 h 96"/>
              <a:gd name="T2" fmla="*/ 56 w 96"/>
              <a:gd name="T3" fmla="*/ 44 h 96"/>
              <a:gd name="T4" fmla="*/ 56 w 96"/>
              <a:gd name="T5" fmla="*/ 40 h 96"/>
              <a:gd name="T6" fmla="*/ 48 w 96"/>
              <a:gd name="T7" fmla="*/ 32 h 96"/>
              <a:gd name="T8" fmla="*/ 36 w 96"/>
              <a:gd name="T9" fmla="*/ 32 h 96"/>
              <a:gd name="T10" fmla="*/ 32 w 96"/>
              <a:gd name="T11" fmla="*/ 28 h 96"/>
              <a:gd name="T12" fmla="*/ 32 w 96"/>
              <a:gd name="T13" fmla="*/ 16 h 96"/>
              <a:gd name="T14" fmla="*/ 54 w 96"/>
              <a:gd name="T15" fmla="*/ 16 h 96"/>
              <a:gd name="T16" fmla="*/ 56 w 96"/>
              <a:gd name="T17" fmla="*/ 14 h 96"/>
              <a:gd name="T18" fmla="*/ 56 w 96"/>
              <a:gd name="T19" fmla="*/ 2 h 96"/>
              <a:gd name="T20" fmla="*/ 54 w 96"/>
              <a:gd name="T21" fmla="*/ 0 h 96"/>
              <a:gd name="T22" fmla="*/ 2 w 96"/>
              <a:gd name="T23" fmla="*/ 0 h 96"/>
              <a:gd name="T24" fmla="*/ 0 w 96"/>
              <a:gd name="T25" fmla="*/ 2 h 96"/>
              <a:gd name="T26" fmla="*/ 0 w 96"/>
              <a:gd name="T27" fmla="*/ 14 h 96"/>
              <a:gd name="T28" fmla="*/ 2 w 96"/>
              <a:gd name="T29" fmla="*/ 16 h 96"/>
              <a:gd name="T30" fmla="*/ 28 w 96"/>
              <a:gd name="T31" fmla="*/ 16 h 96"/>
              <a:gd name="T32" fmla="*/ 28 w 96"/>
              <a:gd name="T33" fmla="*/ 28 h 96"/>
              <a:gd name="T34" fmla="*/ 36 w 96"/>
              <a:gd name="T35" fmla="*/ 36 h 96"/>
              <a:gd name="T36" fmla="*/ 48 w 96"/>
              <a:gd name="T37" fmla="*/ 36 h 96"/>
              <a:gd name="T38" fmla="*/ 52 w 96"/>
              <a:gd name="T39" fmla="*/ 40 h 96"/>
              <a:gd name="T40" fmla="*/ 52 w 96"/>
              <a:gd name="T41" fmla="*/ 44 h 96"/>
              <a:gd name="T42" fmla="*/ 42 w 96"/>
              <a:gd name="T43" fmla="*/ 44 h 96"/>
              <a:gd name="T44" fmla="*/ 40 w 96"/>
              <a:gd name="T45" fmla="*/ 46 h 96"/>
              <a:gd name="T46" fmla="*/ 40 w 96"/>
              <a:gd name="T47" fmla="*/ 58 h 96"/>
              <a:gd name="T48" fmla="*/ 42 w 96"/>
              <a:gd name="T49" fmla="*/ 60 h 96"/>
              <a:gd name="T50" fmla="*/ 72 w 96"/>
              <a:gd name="T51" fmla="*/ 60 h 96"/>
              <a:gd name="T52" fmla="*/ 72 w 96"/>
              <a:gd name="T53" fmla="*/ 80 h 96"/>
              <a:gd name="T54" fmla="*/ 68 w 96"/>
              <a:gd name="T55" fmla="*/ 84 h 96"/>
              <a:gd name="T56" fmla="*/ 56 w 96"/>
              <a:gd name="T57" fmla="*/ 84 h 96"/>
              <a:gd name="T58" fmla="*/ 56 w 96"/>
              <a:gd name="T59" fmla="*/ 82 h 96"/>
              <a:gd name="T60" fmla="*/ 54 w 96"/>
              <a:gd name="T61" fmla="*/ 80 h 96"/>
              <a:gd name="T62" fmla="*/ 2 w 96"/>
              <a:gd name="T63" fmla="*/ 80 h 96"/>
              <a:gd name="T64" fmla="*/ 0 w 96"/>
              <a:gd name="T65" fmla="*/ 82 h 96"/>
              <a:gd name="T66" fmla="*/ 0 w 96"/>
              <a:gd name="T67" fmla="*/ 94 h 96"/>
              <a:gd name="T68" fmla="*/ 2 w 96"/>
              <a:gd name="T69" fmla="*/ 96 h 96"/>
              <a:gd name="T70" fmla="*/ 54 w 96"/>
              <a:gd name="T71" fmla="*/ 96 h 96"/>
              <a:gd name="T72" fmla="*/ 56 w 96"/>
              <a:gd name="T73" fmla="*/ 94 h 96"/>
              <a:gd name="T74" fmla="*/ 56 w 96"/>
              <a:gd name="T75" fmla="*/ 88 h 96"/>
              <a:gd name="T76" fmla="*/ 68 w 96"/>
              <a:gd name="T77" fmla="*/ 88 h 96"/>
              <a:gd name="T78" fmla="*/ 76 w 96"/>
              <a:gd name="T79" fmla="*/ 80 h 96"/>
              <a:gd name="T80" fmla="*/ 76 w 96"/>
              <a:gd name="T81" fmla="*/ 60 h 96"/>
              <a:gd name="T82" fmla="*/ 94 w 96"/>
              <a:gd name="T83" fmla="*/ 60 h 96"/>
              <a:gd name="T84" fmla="*/ 96 w 96"/>
              <a:gd name="T85" fmla="*/ 58 h 96"/>
              <a:gd name="T86" fmla="*/ 96 w 96"/>
              <a:gd name="T87" fmla="*/ 46 h 96"/>
              <a:gd name="T88" fmla="*/ 94 w 96"/>
              <a:gd name="T89" fmla="*/ 44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6" h="96">
                <a:moveTo>
                  <a:pt x="94" y="44"/>
                </a:moveTo>
                <a:cubicBezTo>
                  <a:pt x="56" y="44"/>
                  <a:pt x="56" y="44"/>
                  <a:pt x="56" y="44"/>
                </a:cubicBezTo>
                <a:cubicBezTo>
                  <a:pt x="56" y="40"/>
                  <a:pt x="56" y="40"/>
                  <a:pt x="56" y="40"/>
                </a:cubicBezTo>
                <a:cubicBezTo>
                  <a:pt x="56" y="36"/>
                  <a:pt x="52" y="32"/>
                  <a:pt x="48" y="32"/>
                </a:cubicBezTo>
                <a:cubicBezTo>
                  <a:pt x="36" y="32"/>
                  <a:pt x="36" y="32"/>
                  <a:pt x="36" y="32"/>
                </a:cubicBezTo>
                <a:cubicBezTo>
                  <a:pt x="34" y="32"/>
                  <a:pt x="32" y="30"/>
                  <a:pt x="32" y="28"/>
                </a:cubicBezTo>
                <a:cubicBezTo>
                  <a:pt x="32" y="16"/>
                  <a:pt x="32" y="16"/>
                  <a:pt x="32" y="16"/>
                </a:cubicBezTo>
                <a:cubicBezTo>
                  <a:pt x="54" y="16"/>
                  <a:pt x="54" y="16"/>
                  <a:pt x="54" y="16"/>
                </a:cubicBezTo>
                <a:cubicBezTo>
                  <a:pt x="55" y="16"/>
                  <a:pt x="56" y="15"/>
                  <a:pt x="56" y="14"/>
                </a:cubicBezTo>
                <a:cubicBezTo>
                  <a:pt x="56" y="2"/>
                  <a:pt x="56" y="2"/>
                  <a:pt x="56" y="2"/>
                </a:cubicBezTo>
                <a:cubicBezTo>
                  <a:pt x="56" y="1"/>
                  <a:pt x="55" y="0"/>
                  <a:pt x="54" y="0"/>
                </a:cubicBezTo>
                <a:cubicBezTo>
                  <a:pt x="2" y="0"/>
                  <a:pt x="2" y="0"/>
                  <a:pt x="2" y="0"/>
                </a:cubicBezTo>
                <a:cubicBezTo>
                  <a:pt x="1" y="0"/>
                  <a:pt x="0" y="1"/>
                  <a:pt x="0" y="2"/>
                </a:cubicBezTo>
                <a:cubicBezTo>
                  <a:pt x="0" y="14"/>
                  <a:pt x="0" y="14"/>
                  <a:pt x="0" y="14"/>
                </a:cubicBezTo>
                <a:cubicBezTo>
                  <a:pt x="0" y="15"/>
                  <a:pt x="1" y="16"/>
                  <a:pt x="2" y="16"/>
                </a:cubicBezTo>
                <a:cubicBezTo>
                  <a:pt x="28" y="16"/>
                  <a:pt x="28" y="16"/>
                  <a:pt x="28" y="16"/>
                </a:cubicBezTo>
                <a:cubicBezTo>
                  <a:pt x="28" y="28"/>
                  <a:pt x="28" y="28"/>
                  <a:pt x="28" y="28"/>
                </a:cubicBezTo>
                <a:cubicBezTo>
                  <a:pt x="28" y="32"/>
                  <a:pt x="32" y="36"/>
                  <a:pt x="36" y="36"/>
                </a:cubicBezTo>
                <a:cubicBezTo>
                  <a:pt x="48" y="36"/>
                  <a:pt x="48" y="36"/>
                  <a:pt x="48" y="36"/>
                </a:cubicBezTo>
                <a:cubicBezTo>
                  <a:pt x="50" y="36"/>
                  <a:pt x="52" y="38"/>
                  <a:pt x="52" y="40"/>
                </a:cubicBezTo>
                <a:cubicBezTo>
                  <a:pt x="52" y="44"/>
                  <a:pt x="52" y="44"/>
                  <a:pt x="52" y="44"/>
                </a:cubicBezTo>
                <a:cubicBezTo>
                  <a:pt x="42" y="44"/>
                  <a:pt x="42" y="44"/>
                  <a:pt x="42" y="44"/>
                </a:cubicBezTo>
                <a:cubicBezTo>
                  <a:pt x="41" y="44"/>
                  <a:pt x="40" y="45"/>
                  <a:pt x="40" y="46"/>
                </a:cubicBezTo>
                <a:cubicBezTo>
                  <a:pt x="40" y="58"/>
                  <a:pt x="40" y="58"/>
                  <a:pt x="40" y="58"/>
                </a:cubicBezTo>
                <a:cubicBezTo>
                  <a:pt x="40" y="59"/>
                  <a:pt x="41" y="60"/>
                  <a:pt x="42" y="60"/>
                </a:cubicBezTo>
                <a:cubicBezTo>
                  <a:pt x="72" y="60"/>
                  <a:pt x="72" y="60"/>
                  <a:pt x="72" y="60"/>
                </a:cubicBezTo>
                <a:cubicBezTo>
                  <a:pt x="72" y="80"/>
                  <a:pt x="72" y="80"/>
                  <a:pt x="72" y="80"/>
                </a:cubicBezTo>
                <a:cubicBezTo>
                  <a:pt x="72" y="82"/>
                  <a:pt x="70" y="84"/>
                  <a:pt x="68" y="84"/>
                </a:cubicBezTo>
                <a:cubicBezTo>
                  <a:pt x="56" y="84"/>
                  <a:pt x="56" y="84"/>
                  <a:pt x="56" y="84"/>
                </a:cubicBezTo>
                <a:cubicBezTo>
                  <a:pt x="56" y="82"/>
                  <a:pt x="56" y="82"/>
                  <a:pt x="56" y="82"/>
                </a:cubicBezTo>
                <a:cubicBezTo>
                  <a:pt x="56" y="81"/>
                  <a:pt x="55" y="80"/>
                  <a:pt x="54" y="80"/>
                </a:cubicBezTo>
                <a:cubicBezTo>
                  <a:pt x="2" y="80"/>
                  <a:pt x="2" y="80"/>
                  <a:pt x="2" y="80"/>
                </a:cubicBezTo>
                <a:cubicBezTo>
                  <a:pt x="1" y="80"/>
                  <a:pt x="0" y="81"/>
                  <a:pt x="0" y="82"/>
                </a:cubicBezTo>
                <a:cubicBezTo>
                  <a:pt x="0" y="94"/>
                  <a:pt x="0" y="94"/>
                  <a:pt x="0" y="94"/>
                </a:cubicBezTo>
                <a:cubicBezTo>
                  <a:pt x="0" y="95"/>
                  <a:pt x="1" y="96"/>
                  <a:pt x="2" y="96"/>
                </a:cubicBezTo>
                <a:cubicBezTo>
                  <a:pt x="54" y="96"/>
                  <a:pt x="54" y="96"/>
                  <a:pt x="54" y="96"/>
                </a:cubicBezTo>
                <a:cubicBezTo>
                  <a:pt x="55" y="96"/>
                  <a:pt x="56" y="95"/>
                  <a:pt x="56" y="94"/>
                </a:cubicBezTo>
                <a:cubicBezTo>
                  <a:pt x="56" y="88"/>
                  <a:pt x="56" y="88"/>
                  <a:pt x="56" y="88"/>
                </a:cubicBezTo>
                <a:cubicBezTo>
                  <a:pt x="68" y="88"/>
                  <a:pt x="68" y="88"/>
                  <a:pt x="68" y="88"/>
                </a:cubicBezTo>
                <a:cubicBezTo>
                  <a:pt x="72" y="88"/>
                  <a:pt x="76" y="84"/>
                  <a:pt x="76" y="80"/>
                </a:cubicBezTo>
                <a:cubicBezTo>
                  <a:pt x="76" y="60"/>
                  <a:pt x="76" y="60"/>
                  <a:pt x="76" y="60"/>
                </a:cubicBezTo>
                <a:cubicBezTo>
                  <a:pt x="94" y="60"/>
                  <a:pt x="94" y="60"/>
                  <a:pt x="94" y="60"/>
                </a:cubicBezTo>
                <a:cubicBezTo>
                  <a:pt x="95" y="60"/>
                  <a:pt x="96" y="59"/>
                  <a:pt x="96" y="58"/>
                </a:cubicBezTo>
                <a:cubicBezTo>
                  <a:pt x="96" y="46"/>
                  <a:pt x="96" y="46"/>
                  <a:pt x="96" y="46"/>
                </a:cubicBezTo>
                <a:cubicBezTo>
                  <a:pt x="96" y="45"/>
                  <a:pt x="95" y="44"/>
                  <a:pt x="94" y="44"/>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677C7"/>
              </a:solidFill>
              <a:effectLst/>
              <a:uLnTx/>
              <a:uFillTx/>
              <a:latin typeface="Arial"/>
              <a:cs typeface="+mn-cs"/>
            </a:endParaRPr>
          </a:p>
        </p:txBody>
      </p:sp>
      <p:sp>
        <p:nvSpPr>
          <p:cNvPr id="52" name="Freeform 31">
            <a:extLst>
              <a:ext uri="{FF2B5EF4-FFF2-40B4-BE49-F238E27FC236}">
                <a16:creationId xmlns:a16="http://schemas.microsoft.com/office/drawing/2014/main" id="{62CDA129-6C88-4561-A3F5-A5221B5F0B12}"/>
              </a:ext>
            </a:extLst>
          </p:cNvPr>
          <p:cNvSpPr>
            <a:spLocks/>
          </p:cNvSpPr>
          <p:nvPr/>
        </p:nvSpPr>
        <p:spPr bwMode="auto">
          <a:xfrm flipH="1">
            <a:off x="7359377" y="4695347"/>
            <a:ext cx="96766" cy="195244"/>
          </a:xfrm>
          <a:custGeom>
            <a:avLst/>
            <a:gdLst>
              <a:gd name="T0" fmla="*/ 48 w 48"/>
              <a:gd name="T1" fmla="*/ 1 h 96"/>
              <a:gd name="T2" fmla="*/ 46 w 48"/>
              <a:gd name="T3" fmla="*/ 0 h 96"/>
              <a:gd name="T4" fmla="*/ 14 w 48"/>
              <a:gd name="T5" fmla="*/ 0 h 96"/>
              <a:gd name="T6" fmla="*/ 12 w 48"/>
              <a:gd name="T7" fmla="*/ 2 h 96"/>
              <a:gd name="T8" fmla="*/ 0 w 48"/>
              <a:gd name="T9" fmla="*/ 50 h 96"/>
              <a:gd name="T10" fmla="*/ 0 w 48"/>
              <a:gd name="T11" fmla="*/ 51 h 96"/>
              <a:gd name="T12" fmla="*/ 2 w 48"/>
              <a:gd name="T13" fmla="*/ 52 h 96"/>
              <a:gd name="T14" fmla="*/ 15 w 48"/>
              <a:gd name="T15" fmla="*/ 52 h 96"/>
              <a:gd name="T16" fmla="*/ 4 w 48"/>
              <a:gd name="T17" fmla="*/ 93 h 96"/>
              <a:gd name="T18" fmla="*/ 5 w 48"/>
              <a:gd name="T19" fmla="*/ 96 h 96"/>
              <a:gd name="T20" fmla="*/ 8 w 48"/>
              <a:gd name="T21" fmla="*/ 95 h 96"/>
              <a:gd name="T22" fmla="*/ 48 w 48"/>
              <a:gd name="T23" fmla="*/ 35 h 96"/>
              <a:gd name="T24" fmla="*/ 48 w 48"/>
              <a:gd name="T25" fmla="*/ 33 h 96"/>
              <a:gd name="T26" fmla="*/ 46 w 48"/>
              <a:gd name="T27" fmla="*/ 32 h 96"/>
              <a:gd name="T28" fmla="*/ 30 w 48"/>
              <a:gd name="T29" fmla="*/ 32 h 96"/>
              <a:gd name="T30" fmla="*/ 48 w 48"/>
              <a:gd name="T31" fmla="*/ 3 h 96"/>
              <a:gd name="T32" fmla="*/ 48 w 48"/>
              <a:gd name="T33" fmla="*/ 1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8" h="96">
                <a:moveTo>
                  <a:pt x="48" y="1"/>
                </a:moveTo>
                <a:cubicBezTo>
                  <a:pt x="47" y="0"/>
                  <a:pt x="47" y="0"/>
                  <a:pt x="46" y="0"/>
                </a:cubicBezTo>
                <a:cubicBezTo>
                  <a:pt x="14" y="0"/>
                  <a:pt x="14" y="0"/>
                  <a:pt x="14" y="0"/>
                </a:cubicBezTo>
                <a:cubicBezTo>
                  <a:pt x="13" y="0"/>
                  <a:pt x="12" y="1"/>
                  <a:pt x="12" y="2"/>
                </a:cubicBezTo>
                <a:cubicBezTo>
                  <a:pt x="0" y="50"/>
                  <a:pt x="0" y="50"/>
                  <a:pt x="0" y="50"/>
                </a:cubicBezTo>
                <a:cubicBezTo>
                  <a:pt x="0" y="50"/>
                  <a:pt x="0" y="51"/>
                  <a:pt x="0" y="51"/>
                </a:cubicBezTo>
                <a:cubicBezTo>
                  <a:pt x="1" y="52"/>
                  <a:pt x="1" y="52"/>
                  <a:pt x="2" y="52"/>
                </a:cubicBezTo>
                <a:cubicBezTo>
                  <a:pt x="15" y="52"/>
                  <a:pt x="15" y="52"/>
                  <a:pt x="15" y="52"/>
                </a:cubicBezTo>
                <a:cubicBezTo>
                  <a:pt x="4" y="93"/>
                  <a:pt x="4" y="93"/>
                  <a:pt x="4" y="93"/>
                </a:cubicBezTo>
                <a:cubicBezTo>
                  <a:pt x="4" y="94"/>
                  <a:pt x="4" y="95"/>
                  <a:pt x="5" y="96"/>
                </a:cubicBezTo>
                <a:cubicBezTo>
                  <a:pt x="6" y="96"/>
                  <a:pt x="7" y="96"/>
                  <a:pt x="8" y="95"/>
                </a:cubicBezTo>
                <a:cubicBezTo>
                  <a:pt x="48" y="35"/>
                  <a:pt x="48" y="35"/>
                  <a:pt x="48" y="35"/>
                </a:cubicBezTo>
                <a:cubicBezTo>
                  <a:pt x="48" y="34"/>
                  <a:pt x="48" y="34"/>
                  <a:pt x="48" y="33"/>
                </a:cubicBezTo>
                <a:cubicBezTo>
                  <a:pt x="47" y="32"/>
                  <a:pt x="47" y="32"/>
                  <a:pt x="46" y="32"/>
                </a:cubicBezTo>
                <a:cubicBezTo>
                  <a:pt x="30" y="32"/>
                  <a:pt x="30" y="32"/>
                  <a:pt x="30" y="32"/>
                </a:cubicBezTo>
                <a:cubicBezTo>
                  <a:pt x="48" y="3"/>
                  <a:pt x="48" y="3"/>
                  <a:pt x="48" y="3"/>
                </a:cubicBezTo>
                <a:cubicBezTo>
                  <a:pt x="48" y="2"/>
                  <a:pt x="48" y="2"/>
                  <a:pt x="48" y="1"/>
                </a:cubicBezTo>
                <a:close/>
              </a:path>
            </a:pathLst>
          </a:custGeom>
          <a:solidFill>
            <a:srgbClr val="D9D9D9"/>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677C7"/>
              </a:solidFill>
              <a:effectLst/>
              <a:uLnTx/>
              <a:uFillTx/>
              <a:latin typeface="Arial"/>
              <a:cs typeface="+mn-cs"/>
            </a:endParaRPr>
          </a:p>
        </p:txBody>
      </p:sp>
      <p:sp>
        <p:nvSpPr>
          <p:cNvPr id="53" name="Freeform 43">
            <a:extLst>
              <a:ext uri="{FF2B5EF4-FFF2-40B4-BE49-F238E27FC236}">
                <a16:creationId xmlns:a16="http://schemas.microsoft.com/office/drawing/2014/main" id="{03E2C44B-3C5E-4D1F-9723-198BC2EC764F}"/>
              </a:ext>
            </a:extLst>
          </p:cNvPr>
          <p:cNvSpPr>
            <a:spLocks noEditPoints="1"/>
          </p:cNvSpPr>
          <p:nvPr/>
        </p:nvSpPr>
        <p:spPr bwMode="auto">
          <a:xfrm flipH="1">
            <a:off x="6717393" y="2722924"/>
            <a:ext cx="182882" cy="182878"/>
          </a:xfrm>
          <a:custGeom>
            <a:avLst/>
            <a:gdLst>
              <a:gd name="T0" fmla="*/ 47 w 48"/>
              <a:gd name="T1" fmla="*/ 41 h 48"/>
              <a:gd name="T2" fmla="*/ 36 w 48"/>
              <a:gd name="T3" fmla="*/ 30 h 48"/>
              <a:gd name="T4" fmla="*/ 33 w 48"/>
              <a:gd name="T5" fmla="*/ 28 h 48"/>
              <a:gd name="T6" fmla="*/ 36 w 48"/>
              <a:gd name="T7" fmla="*/ 18 h 48"/>
              <a:gd name="T8" fmla="*/ 18 w 48"/>
              <a:gd name="T9" fmla="*/ 0 h 48"/>
              <a:gd name="T10" fmla="*/ 0 w 48"/>
              <a:gd name="T11" fmla="*/ 18 h 48"/>
              <a:gd name="T12" fmla="*/ 18 w 48"/>
              <a:gd name="T13" fmla="*/ 36 h 48"/>
              <a:gd name="T14" fmla="*/ 28 w 48"/>
              <a:gd name="T15" fmla="*/ 33 h 48"/>
              <a:gd name="T16" fmla="*/ 30 w 48"/>
              <a:gd name="T17" fmla="*/ 36 h 48"/>
              <a:gd name="T18" fmla="*/ 41 w 48"/>
              <a:gd name="T19" fmla="*/ 47 h 48"/>
              <a:gd name="T20" fmla="*/ 47 w 48"/>
              <a:gd name="T21" fmla="*/ 47 h 48"/>
              <a:gd name="T22" fmla="*/ 47 w 48"/>
              <a:gd name="T23" fmla="*/ 41 h 48"/>
              <a:gd name="T24" fmla="*/ 20 w 48"/>
              <a:gd name="T25" fmla="*/ 26 h 48"/>
              <a:gd name="T26" fmla="*/ 18 w 48"/>
              <a:gd name="T27" fmla="*/ 28 h 48"/>
              <a:gd name="T28" fmla="*/ 16 w 48"/>
              <a:gd name="T29" fmla="*/ 26 h 48"/>
              <a:gd name="T30" fmla="*/ 16 w 48"/>
              <a:gd name="T31" fmla="*/ 20 h 48"/>
              <a:gd name="T32" fmla="*/ 10 w 48"/>
              <a:gd name="T33" fmla="*/ 20 h 48"/>
              <a:gd name="T34" fmla="*/ 8 w 48"/>
              <a:gd name="T35" fmla="*/ 18 h 48"/>
              <a:gd name="T36" fmla="*/ 10 w 48"/>
              <a:gd name="T37" fmla="*/ 16 h 48"/>
              <a:gd name="T38" fmla="*/ 16 w 48"/>
              <a:gd name="T39" fmla="*/ 16 h 48"/>
              <a:gd name="T40" fmla="*/ 16 w 48"/>
              <a:gd name="T41" fmla="*/ 10 h 48"/>
              <a:gd name="T42" fmla="*/ 18 w 48"/>
              <a:gd name="T43" fmla="*/ 8 h 48"/>
              <a:gd name="T44" fmla="*/ 20 w 48"/>
              <a:gd name="T45" fmla="*/ 10 h 48"/>
              <a:gd name="T46" fmla="*/ 20 w 48"/>
              <a:gd name="T47" fmla="*/ 16 h 48"/>
              <a:gd name="T48" fmla="*/ 26 w 48"/>
              <a:gd name="T49" fmla="*/ 16 h 48"/>
              <a:gd name="T50" fmla="*/ 28 w 48"/>
              <a:gd name="T51" fmla="*/ 18 h 48"/>
              <a:gd name="T52" fmla="*/ 26 w 48"/>
              <a:gd name="T53" fmla="*/ 20 h 48"/>
              <a:gd name="T54" fmla="*/ 20 w 48"/>
              <a:gd name="T55" fmla="*/ 20 h 48"/>
              <a:gd name="T56" fmla="*/ 20 w 48"/>
              <a:gd name="T57" fmla="*/ 2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8" h="48">
                <a:moveTo>
                  <a:pt x="47" y="41"/>
                </a:moveTo>
                <a:cubicBezTo>
                  <a:pt x="36" y="30"/>
                  <a:pt x="36" y="30"/>
                  <a:pt x="36" y="30"/>
                </a:cubicBezTo>
                <a:cubicBezTo>
                  <a:pt x="33" y="28"/>
                  <a:pt x="33" y="28"/>
                  <a:pt x="33" y="28"/>
                </a:cubicBezTo>
                <a:cubicBezTo>
                  <a:pt x="35" y="25"/>
                  <a:pt x="36" y="22"/>
                  <a:pt x="36" y="18"/>
                </a:cubicBezTo>
                <a:cubicBezTo>
                  <a:pt x="36" y="8"/>
                  <a:pt x="28" y="0"/>
                  <a:pt x="18" y="0"/>
                </a:cubicBezTo>
                <a:cubicBezTo>
                  <a:pt x="8" y="0"/>
                  <a:pt x="0" y="8"/>
                  <a:pt x="0" y="18"/>
                </a:cubicBezTo>
                <a:cubicBezTo>
                  <a:pt x="0" y="28"/>
                  <a:pt x="8" y="36"/>
                  <a:pt x="18" y="36"/>
                </a:cubicBezTo>
                <a:cubicBezTo>
                  <a:pt x="22" y="36"/>
                  <a:pt x="25" y="35"/>
                  <a:pt x="28" y="33"/>
                </a:cubicBezTo>
                <a:cubicBezTo>
                  <a:pt x="30" y="36"/>
                  <a:pt x="30" y="36"/>
                  <a:pt x="30" y="36"/>
                </a:cubicBezTo>
                <a:cubicBezTo>
                  <a:pt x="41" y="47"/>
                  <a:pt x="41" y="47"/>
                  <a:pt x="41" y="47"/>
                </a:cubicBezTo>
                <a:cubicBezTo>
                  <a:pt x="43" y="48"/>
                  <a:pt x="45" y="48"/>
                  <a:pt x="47" y="47"/>
                </a:cubicBezTo>
                <a:cubicBezTo>
                  <a:pt x="48" y="45"/>
                  <a:pt x="48" y="43"/>
                  <a:pt x="47" y="41"/>
                </a:cubicBezTo>
                <a:close/>
                <a:moveTo>
                  <a:pt x="20" y="26"/>
                </a:moveTo>
                <a:cubicBezTo>
                  <a:pt x="20" y="27"/>
                  <a:pt x="19" y="28"/>
                  <a:pt x="18" y="28"/>
                </a:cubicBezTo>
                <a:cubicBezTo>
                  <a:pt x="17" y="28"/>
                  <a:pt x="16" y="27"/>
                  <a:pt x="16" y="26"/>
                </a:cubicBezTo>
                <a:cubicBezTo>
                  <a:pt x="16" y="20"/>
                  <a:pt x="16" y="20"/>
                  <a:pt x="16" y="20"/>
                </a:cubicBezTo>
                <a:cubicBezTo>
                  <a:pt x="10" y="20"/>
                  <a:pt x="10" y="20"/>
                  <a:pt x="10" y="20"/>
                </a:cubicBezTo>
                <a:cubicBezTo>
                  <a:pt x="9" y="20"/>
                  <a:pt x="8" y="19"/>
                  <a:pt x="8" y="18"/>
                </a:cubicBezTo>
                <a:cubicBezTo>
                  <a:pt x="8" y="17"/>
                  <a:pt x="9" y="16"/>
                  <a:pt x="10" y="16"/>
                </a:cubicBezTo>
                <a:cubicBezTo>
                  <a:pt x="16" y="16"/>
                  <a:pt x="16" y="16"/>
                  <a:pt x="16" y="16"/>
                </a:cubicBezTo>
                <a:cubicBezTo>
                  <a:pt x="16" y="10"/>
                  <a:pt x="16" y="10"/>
                  <a:pt x="16" y="10"/>
                </a:cubicBezTo>
                <a:cubicBezTo>
                  <a:pt x="16" y="9"/>
                  <a:pt x="17" y="8"/>
                  <a:pt x="18" y="8"/>
                </a:cubicBezTo>
                <a:cubicBezTo>
                  <a:pt x="19" y="8"/>
                  <a:pt x="20" y="9"/>
                  <a:pt x="20" y="10"/>
                </a:cubicBezTo>
                <a:cubicBezTo>
                  <a:pt x="20" y="16"/>
                  <a:pt x="20" y="16"/>
                  <a:pt x="20" y="16"/>
                </a:cubicBezTo>
                <a:cubicBezTo>
                  <a:pt x="26" y="16"/>
                  <a:pt x="26" y="16"/>
                  <a:pt x="26" y="16"/>
                </a:cubicBezTo>
                <a:cubicBezTo>
                  <a:pt x="27" y="16"/>
                  <a:pt x="28" y="17"/>
                  <a:pt x="28" y="18"/>
                </a:cubicBezTo>
                <a:cubicBezTo>
                  <a:pt x="28" y="19"/>
                  <a:pt x="27" y="20"/>
                  <a:pt x="26" y="20"/>
                </a:cubicBezTo>
                <a:cubicBezTo>
                  <a:pt x="20" y="20"/>
                  <a:pt x="20" y="20"/>
                  <a:pt x="20" y="20"/>
                </a:cubicBezTo>
                <a:lnTo>
                  <a:pt x="20" y="26"/>
                </a:lnTo>
                <a:close/>
              </a:path>
            </a:pathLst>
          </a:custGeom>
          <a:gradFill flip="none" rotWithShape="1">
            <a:gsLst>
              <a:gs pos="100000">
                <a:schemeClr val="accent1"/>
              </a:gs>
              <a:gs pos="0">
                <a:schemeClr val="accent1"/>
              </a:gs>
            </a:gsLst>
            <a:lin ang="2700000" scaled="1"/>
            <a:tileRect/>
          </a:gradFill>
          <a:ln w="12700" cap="flat" cmpd="sng" algn="ctr">
            <a:noFill/>
            <a:prstDash val="solid"/>
            <a:miter lim="800000"/>
          </a:ln>
          <a:effectLst>
            <a:outerShdw blurRad="215900" sx="104000" sy="104000" algn="ctr" rotWithShape="0">
              <a:prstClr val="black">
                <a:alpha val="19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0" cap="none" spc="0" normalizeH="0" baseline="0" noProof="0">
              <a:ln>
                <a:noFill/>
              </a:ln>
              <a:solidFill>
                <a:srgbClr val="0677C7"/>
              </a:solidFill>
              <a:effectLst/>
              <a:uLnTx/>
              <a:uFillTx/>
              <a:latin typeface="Arial"/>
              <a:cs typeface="+mn-cs"/>
            </a:endParaRPr>
          </a:p>
        </p:txBody>
      </p:sp>
      <p:grpSp>
        <p:nvGrpSpPr>
          <p:cNvPr id="54" name="Group 160">
            <a:extLst>
              <a:ext uri="{FF2B5EF4-FFF2-40B4-BE49-F238E27FC236}">
                <a16:creationId xmlns:a16="http://schemas.microsoft.com/office/drawing/2014/main" id="{FC7BC947-870D-4A43-80C2-921537D65196}"/>
              </a:ext>
            </a:extLst>
          </p:cNvPr>
          <p:cNvGrpSpPr/>
          <p:nvPr/>
        </p:nvGrpSpPr>
        <p:grpSpPr>
          <a:xfrm flipH="1">
            <a:off x="6717870" y="3990467"/>
            <a:ext cx="194388" cy="180686"/>
            <a:chOff x="6276975" y="3981450"/>
            <a:chExt cx="360363" cy="334963"/>
          </a:xfrm>
          <a:solidFill>
            <a:srgbClr val="D9D9D9"/>
          </a:solidFill>
        </p:grpSpPr>
        <p:sp>
          <p:nvSpPr>
            <p:cNvPr id="55" name="Freeform 98">
              <a:extLst>
                <a:ext uri="{FF2B5EF4-FFF2-40B4-BE49-F238E27FC236}">
                  <a16:creationId xmlns:a16="http://schemas.microsoft.com/office/drawing/2014/main" id="{0AFE60E7-20DA-46F0-B79A-DC39EB915748}"/>
                </a:ext>
              </a:extLst>
            </p:cNvPr>
            <p:cNvSpPr>
              <a:spLocks noEditPoints="1"/>
            </p:cNvSpPr>
            <p:nvPr/>
          </p:nvSpPr>
          <p:spPr bwMode="auto">
            <a:xfrm>
              <a:off x="6472238" y="3981450"/>
              <a:ext cx="165100" cy="334963"/>
            </a:xfrm>
            <a:custGeom>
              <a:avLst/>
              <a:gdLst>
                <a:gd name="T0" fmla="*/ 14 w 44"/>
                <a:gd name="T1" fmla="*/ 37 h 89"/>
                <a:gd name="T2" fmla="*/ 12 w 44"/>
                <a:gd name="T3" fmla="*/ 39 h 89"/>
                <a:gd name="T4" fmla="*/ 10 w 44"/>
                <a:gd name="T5" fmla="*/ 37 h 89"/>
                <a:gd name="T6" fmla="*/ 0 w 44"/>
                <a:gd name="T7" fmla="*/ 31 h 89"/>
                <a:gd name="T8" fmla="*/ 0 w 44"/>
                <a:gd name="T9" fmla="*/ 67 h 89"/>
                <a:gd name="T10" fmla="*/ 22 w 44"/>
                <a:gd name="T11" fmla="*/ 89 h 89"/>
                <a:gd name="T12" fmla="*/ 44 w 44"/>
                <a:gd name="T13" fmla="*/ 67 h 89"/>
                <a:gd name="T14" fmla="*/ 40 w 44"/>
                <a:gd name="T15" fmla="*/ 54 h 89"/>
                <a:gd name="T16" fmla="*/ 28 w 44"/>
                <a:gd name="T17" fmla="*/ 26 h 89"/>
                <a:gd name="T18" fmla="*/ 27 w 44"/>
                <a:gd name="T19" fmla="*/ 26 h 89"/>
                <a:gd name="T20" fmla="*/ 22 w 44"/>
                <a:gd name="T21" fmla="*/ 20 h 89"/>
                <a:gd name="T22" fmla="*/ 16 w 44"/>
                <a:gd name="T23" fmla="*/ 5 h 89"/>
                <a:gd name="T24" fmla="*/ 15 w 44"/>
                <a:gd name="T25" fmla="*/ 4 h 89"/>
                <a:gd name="T26" fmla="*/ 1 w 44"/>
                <a:gd name="T27" fmla="*/ 4 h 89"/>
                <a:gd name="T28" fmla="*/ 0 w 44"/>
                <a:gd name="T29" fmla="*/ 5 h 89"/>
                <a:gd name="T30" fmla="*/ 0 w 44"/>
                <a:gd name="T31" fmla="*/ 27 h 89"/>
                <a:gd name="T32" fmla="*/ 14 w 44"/>
                <a:gd name="T33" fmla="*/ 37 h 89"/>
                <a:gd name="T34" fmla="*/ 22 w 44"/>
                <a:gd name="T35" fmla="*/ 85 h 89"/>
                <a:gd name="T36" fmla="*/ 4 w 44"/>
                <a:gd name="T37" fmla="*/ 67 h 89"/>
                <a:gd name="T38" fmla="*/ 22 w 44"/>
                <a:gd name="T39" fmla="*/ 49 h 89"/>
                <a:gd name="T40" fmla="*/ 40 w 44"/>
                <a:gd name="T41" fmla="*/ 67 h 89"/>
                <a:gd name="T42" fmla="*/ 22 w 44"/>
                <a:gd name="T43" fmla="*/ 85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4" h="89">
                  <a:moveTo>
                    <a:pt x="14" y="37"/>
                  </a:moveTo>
                  <a:cubicBezTo>
                    <a:pt x="14" y="38"/>
                    <a:pt x="13" y="39"/>
                    <a:pt x="12" y="39"/>
                  </a:cubicBezTo>
                  <a:cubicBezTo>
                    <a:pt x="11" y="39"/>
                    <a:pt x="10" y="38"/>
                    <a:pt x="10" y="37"/>
                  </a:cubicBezTo>
                  <a:cubicBezTo>
                    <a:pt x="10" y="35"/>
                    <a:pt x="6" y="32"/>
                    <a:pt x="0" y="31"/>
                  </a:cubicBezTo>
                  <a:cubicBezTo>
                    <a:pt x="0" y="67"/>
                    <a:pt x="0" y="67"/>
                    <a:pt x="0" y="67"/>
                  </a:cubicBezTo>
                  <a:cubicBezTo>
                    <a:pt x="0" y="79"/>
                    <a:pt x="10" y="89"/>
                    <a:pt x="22" y="89"/>
                  </a:cubicBezTo>
                  <a:cubicBezTo>
                    <a:pt x="34" y="89"/>
                    <a:pt x="44" y="79"/>
                    <a:pt x="44" y="67"/>
                  </a:cubicBezTo>
                  <a:cubicBezTo>
                    <a:pt x="44" y="62"/>
                    <a:pt x="42" y="58"/>
                    <a:pt x="40" y="54"/>
                  </a:cubicBezTo>
                  <a:cubicBezTo>
                    <a:pt x="28" y="26"/>
                    <a:pt x="28" y="26"/>
                    <a:pt x="28" y="26"/>
                  </a:cubicBezTo>
                  <a:cubicBezTo>
                    <a:pt x="28" y="26"/>
                    <a:pt x="28" y="26"/>
                    <a:pt x="27" y="26"/>
                  </a:cubicBezTo>
                  <a:cubicBezTo>
                    <a:pt x="22" y="20"/>
                    <a:pt x="22" y="20"/>
                    <a:pt x="22" y="20"/>
                  </a:cubicBezTo>
                  <a:cubicBezTo>
                    <a:pt x="16" y="5"/>
                    <a:pt x="16" y="5"/>
                    <a:pt x="16" y="5"/>
                  </a:cubicBezTo>
                  <a:cubicBezTo>
                    <a:pt x="16" y="4"/>
                    <a:pt x="16" y="4"/>
                    <a:pt x="15" y="4"/>
                  </a:cubicBezTo>
                  <a:cubicBezTo>
                    <a:pt x="12" y="0"/>
                    <a:pt x="4" y="0"/>
                    <a:pt x="1" y="4"/>
                  </a:cubicBezTo>
                  <a:cubicBezTo>
                    <a:pt x="0" y="4"/>
                    <a:pt x="0" y="5"/>
                    <a:pt x="0" y="5"/>
                  </a:cubicBezTo>
                  <a:cubicBezTo>
                    <a:pt x="0" y="27"/>
                    <a:pt x="0" y="27"/>
                    <a:pt x="0" y="27"/>
                  </a:cubicBezTo>
                  <a:cubicBezTo>
                    <a:pt x="8" y="28"/>
                    <a:pt x="14" y="32"/>
                    <a:pt x="14" y="37"/>
                  </a:cubicBezTo>
                  <a:close/>
                  <a:moveTo>
                    <a:pt x="22" y="85"/>
                  </a:moveTo>
                  <a:cubicBezTo>
                    <a:pt x="12" y="85"/>
                    <a:pt x="4" y="77"/>
                    <a:pt x="4" y="67"/>
                  </a:cubicBezTo>
                  <a:cubicBezTo>
                    <a:pt x="4" y="57"/>
                    <a:pt x="12" y="49"/>
                    <a:pt x="22" y="49"/>
                  </a:cubicBezTo>
                  <a:cubicBezTo>
                    <a:pt x="32" y="49"/>
                    <a:pt x="40" y="57"/>
                    <a:pt x="40" y="67"/>
                  </a:cubicBezTo>
                  <a:cubicBezTo>
                    <a:pt x="40" y="77"/>
                    <a:pt x="32" y="85"/>
                    <a:pt x="22" y="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677C7"/>
                </a:solidFill>
                <a:effectLst/>
                <a:uLnTx/>
                <a:uFillTx/>
                <a:latin typeface="Arial"/>
                <a:cs typeface="+mn-cs"/>
              </a:endParaRPr>
            </a:p>
          </p:txBody>
        </p:sp>
        <p:sp>
          <p:nvSpPr>
            <p:cNvPr id="56" name="Freeform 99">
              <a:extLst>
                <a:ext uri="{FF2B5EF4-FFF2-40B4-BE49-F238E27FC236}">
                  <a16:creationId xmlns:a16="http://schemas.microsoft.com/office/drawing/2014/main" id="{A87972E9-C3D3-4070-8019-1B77C9973FF6}"/>
                </a:ext>
              </a:extLst>
            </p:cNvPr>
            <p:cNvSpPr>
              <a:spLocks noEditPoints="1"/>
            </p:cNvSpPr>
            <p:nvPr/>
          </p:nvSpPr>
          <p:spPr bwMode="auto">
            <a:xfrm>
              <a:off x="6276975" y="3981450"/>
              <a:ext cx="165100" cy="334963"/>
            </a:xfrm>
            <a:custGeom>
              <a:avLst/>
              <a:gdLst>
                <a:gd name="T0" fmla="*/ 0 w 44"/>
                <a:gd name="T1" fmla="*/ 67 h 89"/>
                <a:gd name="T2" fmla="*/ 22 w 44"/>
                <a:gd name="T3" fmla="*/ 89 h 89"/>
                <a:gd name="T4" fmla="*/ 44 w 44"/>
                <a:gd name="T5" fmla="*/ 67 h 89"/>
                <a:gd name="T6" fmla="*/ 44 w 44"/>
                <a:gd name="T7" fmla="*/ 31 h 89"/>
                <a:gd name="T8" fmla="*/ 34 w 44"/>
                <a:gd name="T9" fmla="*/ 37 h 89"/>
                <a:gd name="T10" fmla="*/ 32 w 44"/>
                <a:gd name="T11" fmla="*/ 39 h 89"/>
                <a:gd name="T12" fmla="*/ 30 w 44"/>
                <a:gd name="T13" fmla="*/ 37 h 89"/>
                <a:gd name="T14" fmla="*/ 44 w 44"/>
                <a:gd name="T15" fmla="*/ 27 h 89"/>
                <a:gd name="T16" fmla="*/ 44 w 44"/>
                <a:gd name="T17" fmla="*/ 5 h 89"/>
                <a:gd name="T18" fmla="*/ 43 w 44"/>
                <a:gd name="T19" fmla="*/ 4 h 89"/>
                <a:gd name="T20" fmla="*/ 29 w 44"/>
                <a:gd name="T21" fmla="*/ 4 h 89"/>
                <a:gd name="T22" fmla="*/ 28 w 44"/>
                <a:gd name="T23" fmla="*/ 4 h 89"/>
                <a:gd name="T24" fmla="*/ 22 w 44"/>
                <a:gd name="T25" fmla="*/ 20 h 89"/>
                <a:gd name="T26" fmla="*/ 17 w 44"/>
                <a:gd name="T27" fmla="*/ 26 h 89"/>
                <a:gd name="T28" fmla="*/ 16 w 44"/>
                <a:gd name="T29" fmla="*/ 26 h 89"/>
                <a:gd name="T30" fmla="*/ 4 w 44"/>
                <a:gd name="T31" fmla="*/ 54 h 89"/>
                <a:gd name="T32" fmla="*/ 0 w 44"/>
                <a:gd name="T33" fmla="*/ 67 h 89"/>
                <a:gd name="T34" fmla="*/ 22 w 44"/>
                <a:gd name="T35" fmla="*/ 85 h 89"/>
                <a:gd name="T36" fmla="*/ 4 w 44"/>
                <a:gd name="T37" fmla="*/ 67 h 89"/>
                <a:gd name="T38" fmla="*/ 22 w 44"/>
                <a:gd name="T39" fmla="*/ 49 h 89"/>
                <a:gd name="T40" fmla="*/ 40 w 44"/>
                <a:gd name="T41" fmla="*/ 67 h 89"/>
                <a:gd name="T42" fmla="*/ 22 w 44"/>
                <a:gd name="T43" fmla="*/ 85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4" h="89">
                  <a:moveTo>
                    <a:pt x="0" y="67"/>
                  </a:moveTo>
                  <a:cubicBezTo>
                    <a:pt x="0" y="79"/>
                    <a:pt x="10" y="89"/>
                    <a:pt x="22" y="89"/>
                  </a:cubicBezTo>
                  <a:cubicBezTo>
                    <a:pt x="34" y="89"/>
                    <a:pt x="44" y="79"/>
                    <a:pt x="44" y="67"/>
                  </a:cubicBezTo>
                  <a:cubicBezTo>
                    <a:pt x="44" y="31"/>
                    <a:pt x="44" y="31"/>
                    <a:pt x="44" y="31"/>
                  </a:cubicBezTo>
                  <a:cubicBezTo>
                    <a:pt x="38" y="32"/>
                    <a:pt x="34" y="35"/>
                    <a:pt x="34" y="37"/>
                  </a:cubicBezTo>
                  <a:cubicBezTo>
                    <a:pt x="34" y="38"/>
                    <a:pt x="33" y="39"/>
                    <a:pt x="32" y="39"/>
                  </a:cubicBezTo>
                  <a:cubicBezTo>
                    <a:pt x="31" y="39"/>
                    <a:pt x="30" y="38"/>
                    <a:pt x="30" y="37"/>
                  </a:cubicBezTo>
                  <a:cubicBezTo>
                    <a:pt x="30" y="32"/>
                    <a:pt x="36" y="28"/>
                    <a:pt x="44" y="27"/>
                  </a:cubicBezTo>
                  <a:cubicBezTo>
                    <a:pt x="44" y="5"/>
                    <a:pt x="44" y="5"/>
                    <a:pt x="44" y="5"/>
                  </a:cubicBezTo>
                  <a:cubicBezTo>
                    <a:pt x="44" y="5"/>
                    <a:pt x="44" y="4"/>
                    <a:pt x="43" y="4"/>
                  </a:cubicBezTo>
                  <a:cubicBezTo>
                    <a:pt x="40" y="0"/>
                    <a:pt x="32" y="0"/>
                    <a:pt x="29" y="4"/>
                  </a:cubicBezTo>
                  <a:cubicBezTo>
                    <a:pt x="28" y="4"/>
                    <a:pt x="28" y="4"/>
                    <a:pt x="28" y="4"/>
                  </a:cubicBezTo>
                  <a:cubicBezTo>
                    <a:pt x="22" y="20"/>
                    <a:pt x="22" y="20"/>
                    <a:pt x="22" y="20"/>
                  </a:cubicBezTo>
                  <a:cubicBezTo>
                    <a:pt x="17" y="26"/>
                    <a:pt x="17" y="26"/>
                    <a:pt x="17" y="26"/>
                  </a:cubicBezTo>
                  <a:cubicBezTo>
                    <a:pt x="16" y="26"/>
                    <a:pt x="16" y="26"/>
                    <a:pt x="16" y="26"/>
                  </a:cubicBezTo>
                  <a:cubicBezTo>
                    <a:pt x="4" y="54"/>
                    <a:pt x="4" y="54"/>
                    <a:pt x="4" y="54"/>
                  </a:cubicBezTo>
                  <a:cubicBezTo>
                    <a:pt x="2" y="58"/>
                    <a:pt x="0" y="62"/>
                    <a:pt x="0" y="67"/>
                  </a:cubicBezTo>
                  <a:close/>
                  <a:moveTo>
                    <a:pt x="22" y="85"/>
                  </a:moveTo>
                  <a:cubicBezTo>
                    <a:pt x="12" y="85"/>
                    <a:pt x="4" y="77"/>
                    <a:pt x="4" y="67"/>
                  </a:cubicBezTo>
                  <a:cubicBezTo>
                    <a:pt x="4" y="57"/>
                    <a:pt x="12" y="49"/>
                    <a:pt x="22" y="49"/>
                  </a:cubicBezTo>
                  <a:cubicBezTo>
                    <a:pt x="32" y="49"/>
                    <a:pt x="40" y="57"/>
                    <a:pt x="40" y="67"/>
                  </a:cubicBezTo>
                  <a:cubicBezTo>
                    <a:pt x="40" y="77"/>
                    <a:pt x="32" y="85"/>
                    <a:pt x="22" y="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677C7"/>
                </a:solidFill>
                <a:effectLst/>
                <a:uLnTx/>
                <a:uFillTx/>
                <a:latin typeface="Arial"/>
                <a:cs typeface="+mn-cs"/>
              </a:endParaRPr>
            </a:p>
          </p:txBody>
        </p:sp>
        <p:sp>
          <p:nvSpPr>
            <p:cNvPr id="57" name="Freeform 100">
              <a:extLst>
                <a:ext uri="{FF2B5EF4-FFF2-40B4-BE49-F238E27FC236}">
                  <a16:creationId xmlns:a16="http://schemas.microsoft.com/office/drawing/2014/main" id="{DF09912C-D4DB-4B5C-AD01-4556AF59D4BF}"/>
                </a:ext>
              </a:extLst>
            </p:cNvPr>
            <p:cNvSpPr>
              <a:spLocks/>
            </p:cNvSpPr>
            <p:nvPr/>
          </p:nvSpPr>
          <p:spPr bwMode="auto">
            <a:xfrm>
              <a:off x="6307138" y="4181475"/>
              <a:ext cx="58738" cy="60325"/>
            </a:xfrm>
            <a:custGeom>
              <a:avLst/>
              <a:gdLst>
                <a:gd name="T0" fmla="*/ 14 w 16"/>
                <a:gd name="T1" fmla="*/ 4 h 16"/>
                <a:gd name="T2" fmla="*/ 16 w 16"/>
                <a:gd name="T3" fmla="*/ 2 h 16"/>
                <a:gd name="T4" fmla="*/ 14 w 16"/>
                <a:gd name="T5" fmla="*/ 0 h 16"/>
                <a:gd name="T6" fmla="*/ 0 w 16"/>
                <a:gd name="T7" fmla="*/ 14 h 16"/>
                <a:gd name="T8" fmla="*/ 2 w 16"/>
                <a:gd name="T9" fmla="*/ 16 h 16"/>
                <a:gd name="T10" fmla="*/ 4 w 16"/>
                <a:gd name="T11" fmla="*/ 14 h 16"/>
                <a:gd name="T12" fmla="*/ 14 w 16"/>
                <a:gd name="T13" fmla="*/ 4 h 16"/>
              </a:gdLst>
              <a:ahLst/>
              <a:cxnLst>
                <a:cxn ang="0">
                  <a:pos x="T0" y="T1"/>
                </a:cxn>
                <a:cxn ang="0">
                  <a:pos x="T2" y="T3"/>
                </a:cxn>
                <a:cxn ang="0">
                  <a:pos x="T4" y="T5"/>
                </a:cxn>
                <a:cxn ang="0">
                  <a:pos x="T6" y="T7"/>
                </a:cxn>
                <a:cxn ang="0">
                  <a:pos x="T8" y="T9"/>
                </a:cxn>
                <a:cxn ang="0">
                  <a:pos x="T10" y="T11"/>
                </a:cxn>
                <a:cxn ang="0">
                  <a:pos x="T12" y="T13"/>
                </a:cxn>
              </a:cxnLst>
              <a:rect l="0" t="0" r="r" b="b"/>
              <a:pathLst>
                <a:path w="16" h="16">
                  <a:moveTo>
                    <a:pt x="14" y="4"/>
                  </a:moveTo>
                  <a:cubicBezTo>
                    <a:pt x="15" y="4"/>
                    <a:pt x="16" y="3"/>
                    <a:pt x="16" y="2"/>
                  </a:cubicBezTo>
                  <a:cubicBezTo>
                    <a:pt x="16" y="1"/>
                    <a:pt x="15" y="0"/>
                    <a:pt x="14" y="0"/>
                  </a:cubicBezTo>
                  <a:cubicBezTo>
                    <a:pt x="6" y="0"/>
                    <a:pt x="0" y="6"/>
                    <a:pt x="0" y="14"/>
                  </a:cubicBezTo>
                  <a:cubicBezTo>
                    <a:pt x="0" y="15"/>
                    <a:pt x="1" y="16"/>
                    <a:pt x="2" y="16"/>
                  </a:cubicBezTo>
                  <a:cubicBezTo>
                    <a:pt x="3" y="16"/>
                    <a:pt x="4" y="15"/>
                    <a:pt x="4" y="14"/>
                  </a:cubicBezTo>
                  <a:cubicBezTo>
                    <a:pt x="4" y="9"/>
                    <a:pt x="8" y="4"/>
                    <a:pt x="1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677C7"/>
                </a:solidFill>
                <a:effectLst/>
                <a:uLnTx/>
                <a:uFillTx/>
                <a:latin typeface="Arial"/>
                <a:cs typeface="+mn-cs"/>
              </a:endParaRPr>
            </a:p>
          </p:txBody>
        </p:sp>
        <p:sp>
          <p:nvSpPr>
            <p:cNvPr id="58" name="Freeform 101">
              <a:extLst>
                <a:ext uri="{FF2B5EF4-FFF2-40B4-BE49-F238E27FC236}">
                  <a16:creationId xmlns:a16="http://schemas.microsoft.com/office/drawing/2014/main" id="{F8959CB5-3414-4814-96E1-2E1C0C7729CA}"/>
                </a:ext>
              </a:extLst>
            </p:cNvPr>
            <p:cNvSpPr>
              <a:spLocks/>
            </p:cNvSpPr>
            <p:nvPr/>
          </p:nvSpPr>
          <p:spPr bwMode="auto">
            <a:xfrm>
              <a:off x="6502400" y="4181475"/>
              <a:ext cx="58738" cy="60325"/>
            </a:xfrm>
            <a:custGeom>
              <a:avLst/>
              <a:gdLst>
                <a:gd name="T0" fmla="*/ 14 w 16"/>
                <a:gd name="T1" fmla="*/ 4 h 16"/>
                <a:gd name="T2" fmla="*/ 16 w 16"/>
                <a:gd name="T3" fmla="*/ 2 h 16"/>
                <a:gd name="T4" fmla="*/ 14 w 16"/>
                <a:gd name="T5" fmla="*/ 0 h 16"/>
                <a:gd name="T6" fmla="*/ 0 w 16"/>
                <a:gd name="T7" fmla="*/ 14 h 16"/>
                <a:gd name="T8" fmla="*/ 2 w 16"/>
                <a:gd name="T9" fmla="*/ 16 h 16"/>
                <a:gd name="T10" fmla="*/ 4 w 16"/>
                <a:gd name="T11" fmla="*/ 14 h 16"/>
                <a:gd name="T12" fmla="*/ 14 w 16"/>
                <a:gd name="T13" fmla="*/ 4 h 16"/>
              </a:gdLst>
              <a:ahLst/>
              <a:cxnLst>
                <a:cxn ang="0">
                  <a:pos x="T0" y="T1"/>
                </a:cxn>
                <a:cxn ang="0">
                  <a:pos x="T2" y="T3"/>
                </a:cxn>
                <a:cxn ang="0">
                  <a:pos x="T4" y="T5"/>
                </a:cxn>
                <a:cxn ang="0">
                  <a:pos x="T6" y="T7"/>
                </a:cxn>
                <a:cxn ang="0">
                  <a:pos x="T8" y="T9"/>
                </a:cxn>
                <a:cxn ang="0">
                  <a:pos x="T10" y="T11"/>
                </a:cxn>
                <a:cxn ang="0">
                  <a:pos x="T12" y="T13"/>
                </a:cxn>
              </a:cxnLst>
              <a:rect l="0" t="0" r="r" b="b"/>
              <a:pathLst>
                <a:path w="16" h="16">
                  <a:moveTo>
                    <a:pt x="14" y="4"/>
                  </a:moveTo>
                  <a:cubicBezTo>
                    <a:pt x="15" y="4"/>
                    <a:pt x="16" y="3"/>
                    <a:pt x="16" y="2"/>
                  </a:cubicBezTo>
                  <a:cubicBezTo>
                    <a:pt x="16" y="1"/>
                    <a:pt x="15" y="0"/>
                    <a:pt x="14" y="0"/>
                  </a:cubicBezTo>
                  <a:cubicBezTo>
                    <a:pt x="6" y="0"/>
                    <a:pt x="0" y="6"/>
                    <a:pt x="0" y="14"/>
                  </a:cubicBezTo>
                  <a:cubicBezTo>
                    <a:pt x="0" y="15"/>
                    <a:pt x="1" y="16"/>
                    <a:pt x="2" y="16"/>
                  </a:cubicBezTo>
                  <a:cubicBezTo>
                    <a:pt x="3" y="16"/>
                    <a:pt x="4" y="15"/>
                    <a:pt x="4" y="14"/>
                  </a:cubicBezTo>
                  <a:cubicBezTo>
                    <a:pt x="4" y="9"/>
                    <a:pt x="8" y="4"/>
                    <a:pt x="1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677C7"/>
                </a:solidFill>
                <a:effectLst/>
                <a:uLnTx/>
                <a:uFillTx/>
                <a:latin typeface="Arial"/>
                <a:cs typeface="+mn-cs"/>
              </a:endParaRPr>
            </a:p>
          </p:txBody>
        </p:sp>
      </p:grpSp>
      <p:sp>
        <p:nvSpPr>
          <p:cNvPr id="59" name="Freeform 150">
            <a:extLst>
              <a:ext uri="{FF2B5EF4-FFF2-40B4-BE49-F238E27FC236}">
                <a16:creationId xmlns:a16="http://schemas.microsoft.com/office/drawing/2014/main" id="{B635DE54-B3BA-46A8-BE39-E14056F2A3C1}"/>
              </a:ext>
            </a:extLst>
          </p:cNvPr>
          <p:cNvSpPr>
            <a:spLocks noEditPoints="1"/>
          </p:cNvSpPr>
          <p:nvPr/>
        </p:nvSpPr>
        <p:spPr bwMode="auto">
          <a:xfrm flipH="1">
            <a:off x="7305765" y="2025007"/>
            <a:ext cx="194388" cy="195244"/>
          </a:xfrm>
          <a:custGeom>
            <a:avLst/>
            <a:gdLst>
              <a:gd name="T0" fmla="*/ 48 w 96"/>
              <a:gd name="T1" fmla="*/ 0 h 96"/>
              <a:gd name="T2" fmla="*/ 0 w 96"/>
              <a:gd name="T3" fmla="*/ 48 h 96"/>
              <a:gd name="T4" fmla="*/ 48 w 96"/>
              <a:gd name="T5" fmla="*/ 96 h 96"/>
              <a:gd name="T6" fmla="*/ 96 w 96"/>
              <a:gd name="T7" fmla="*/ 48 h 96"/>
              <a:gd name="T8" fmla="*/ 48 w 96"/>
              <a:gd name="T9" fmla="*/ 0 h 96"/>
              <a:gd name="T10" fmla="*/ 72 w 96"/>
              <a:gd name="T11" fmla="*/ 43 h 96"/>
              <a:gd name="T12" fmla="*/ 70 w 96"/>
              <a:gd name="T13" fmla="*/ 44 h 96"/>
              <a:gd name="T14" fmla="*/ 54 w 96"/>
              <a:gd name="T15" fmla="*/ 44 h 96"/>
              <a:gd name="T16" fmla="*/ 52 w 96"/>
              <a:gd name="T17" fmla="*/ 45 h 96"/>
              <a:gd name="T18" fmla="*/ 50 w 96"/>
              <a:gd name="T19" fmla="*/ 48 h 96"/>
              <a:gd name="T20" fmla="*/ 64 w 96"/>
              <a:gd name="T21" fmla="*/ 48 h 96"/>
              <a:gd name="T22" fmla="*/ 66 w 96"/>
              <a:gd name="T23" fmla="*/ 50 h 96"/>
              <a:gd name="T24" fmla="*/ 64 w 96"/>
              <a:gd name="T25" fmla="*/ 52 h 96"/>
              <a:gd name="T26" fmla="*/ 46 w 96"/>
              <a:gd name="T27" fmla="*/ 52 h 96"/>
              <a:gd name="T28" fmla="*/ 42 w 96"/>
              <a:gd name="T29" fmla="*/ 56 h 96"/>
              <a:gd name="T30" fmla="*/ 58 w 96"/>
              <a:gd name="T31" fmla="*/ 56 h 96"/>
              <a:gd name="T32" fmla="*/ 60 w 96"/>
              <a:gd name="T33" fmla="*/ 57 h 96"/>
              <a:gd name="T34" fmla="*/ 60 w 96"/>
              <a:gd name="T35" fmla="*/ 59 h 96"/>
              <a:gd name="T36" fmla="*/ 37 w 96"/>
              <a:gd name="T37" fmla="*/ 69 h 96"/>
              <a:gd name="T38" fmla="*/ 30 w 96"/>
              <a:gd name="T39" fmla="*/ 68 h 96"/>
              <a:gd name="T40" fmla="*/ 25 w 96"/>
              <a:gd name="T41" fmla="*/ 73 h 96"/>
              <a:gd name="T42" fmla="*/ 22 w 96"/>
              <a:gd name="T43" fmla="*/ 73 h 96"/>
              <a:gd name="T44" fmla="*/ 22 w 96"/>
              <a:gd name="T45" fmla="*/ 70 h 96"/>
              <a:gd name="T46" fmla="*/ 27 w 96"/>
              <a:gd name="T47" fmla="*/ 65 h 96"/>
              <a:gd name="T48" fmla="*/ 28 w 96"/>
              <a:gd name="T49" fmla="*/ 52 h 96"/>
              <a:gd name="T50" fmla="*/ 40 w 96"/>
              <a:gd name="T51" fmla="*/ 33 h 96"/>
              <a:gd name="T52" fmla="*/ 57 w 96"/>
              <a:gd name="T53" fmla="*/ 20 h 96"/>
              <a:gd name="T54" fmla="*/ 59 w 96"/>
              <a:gd name="T55" fmla="*/ 20 h 96"/>
              <a:gd name="T56" fmla="*/ 60 w 96"/>
              <a:gd name="T57" fmla="*/ 22 h 96"/>
              <a:gd name="T58" fmla="*/ 60 w 96"/>
              <a:gd name="T59" fmla="*/ 32 h 96"/>
              <a:gd name="T60" fmla="*/ 70 w 96"/>
              <a:gd name="T61" fmla="*/ 22 h 96"/>
              <a:gd name="T62" fmla="*/ 73 w 96"/>
              <a:gd name="T63" fmla="*/ 22 h 96"/>
              <a:gd name="T64" fmla="*/ 72 w 96"/>
              <a:gd name="T65" fmla="*/ 43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6" h="96">
                <a:moveTo>
                  <a:pt x="48" y="0"/>
                </a:moveTo>
                <a:cubicBezTo>
                  <a:pt x="22" y="0"/>
                  <a:pt x="0" y="22"/>
                  <a:pt x="0" y="48"/>
                </a:cubicBezTo>
                <a:cubicBezTo>
                  <a:pt x="0" y="74"/>
                  <a:pt x="22" y="96"/>
                  <a:pt x="48" y="96"/>
                </a:cubicBezTo>
                <a:cubicBezTo>
                  <a:pt x="74" y="96"/>
                  <a:pt x="96" y="74"/>
                  <a:pt x="96" y="48"/>
                </a:cubicBezTo>
                <a:cubicBezTo>
                  <a:pt x="96" y="22"/>
                  <a:pt x="74" y="0"/>
                  <a:pt x="48" y="0"/>
                </a:cubicBezTo>
                <a:close/>
                <a:moveTo>
                  <a:pt x="72" y="43"/>
                </a:moveTo>
                <a:cubicBezTo>
                  <a:pt x="71" y="44"/>
                  <a:pt x="71" y="44"/>
                  <a:pt x="70" y="44"/>
                </a:cubicBezTo>
                <a:cubicBezTo>
                  <a:pt x="54" y="44"/>
                  <a:pt x="54" y="44"/>
                  <a:pt x="54" y="44"/>
                </a:cubicBezTo>
                <a:cubicBezTo>
                  <a:pt x="52" y="45"/>
                  <a:pt x="52" y="45"/>
                  <a:pt x="52" y="45"/>
                </a:cubicBezTo>
                <a:cubicBezTo>
                  <a:pt x="50" y="48"/>
                  <a:pt x="50" y="48"/>
                  <a:pt x="50" y="48"/>
                </a:cubicBezTo>
                <a:cubicBezTo>
                  <a:pt x="64" y="48"/>
                  <a:pt x="64" y="48"/>
                  <a:pt x="64" y="48"/>
                </a:cubicBezTo>
                <a:cubicBezTo>
                  <a:pt x="65" y="48"/>
                  <a:pt x="66" y="49"/>
                  <a:pt x="66" y="50"/>
                </a:cubicBezTo>
                <a:cubicBezTo>
                  <a:pt x="66" y="51"/>
                  <a:pt x="65" y="52"/>
                  <a:pt x="64" y="52"/>
                </a:cubicBezTo>
                <a:cubicBezTo>
                  <a:pt x="46" y="52"/>
                  <a:pt x="46" y="52"/>
                  <a:pt x="46" y="52"/>
                </a:cubicBezTo>
                <a:cubicBezTo>
                  <a:pt x="42" y="56"/>
                  <a:pt x="42" y="56"/>
                  <a:pt x="42" y="56"/>
                </a:cubicBezTo>
                <a:cubicBezTo>
                  <a:pt x="58" y="56"/>
                  <a:pt x="58" y="56"/>
                  <a:pt x="58" y="56"/>
                </a:cubicBezTo>
                <a:cubicBezTo>
                  <a:pt x="59" y="56"/>
                  <a:pt x="60" y="57"/>
                  <a:pt x="60" y="57"/>
                </a:cubicBezTo>
                <a:cubicBezTo>
                  <a:pt x="60" y="58"/>
                  <a:pt x="60" y="59"/>
                  <a:pt x="60" y="59"/>
                </a:cubicBezTo>
                <a:cubicBezTo>
                  <a:pt x="53" y="66"/>
                  <a:pt x="44" y="69"/>
                  <a:pt x="37" y="69"/>
                </a:cubicBezTo>
                <a:cubicBezTo>
                  <a:pt x="34" y="69"/>
                  <a:pt x="32" y="69"/>
                  <a:pt x="30" y="68"/>
                </a:cubicBezTo>
                <a:cubicBezTo>
                  <a:pt x="25" y="73"/>
                  <a:pt x="25" y="73"/>
                  <a:pt x="25" y="73"/>
                </a:cubicBezTo>
                <a:cubicBezTo>
                  <a:pt x="24" y="74"/>
                  <a:pt x="23" y="74"/>
                  <a:pt x="22" y="73"/>
                </a:cubicBezTo>
                <a:cubicBezTo>
                  <a:pt x="21" y="72"/>
                  <a:pt x="21" y="71"/>
                  <a:pt x="22" y="70"/>
                </a:cubicBezTo>
                <a:cubicBezTo>
                  <a:pt x="27" y="65"/>
                  <a:pt x="27" y="65"/>
                  <a:pt x="27" y="65"/>
                </a:cubicBezTo>
                <a:cubicBezTo>
                  <a:pt x="25" y="62"/>
                  <a:pt x="26" y="57"/>
                  <a:pt x="28" y="52"/>
                </a:cubicBezTo>
                <a:cubicBezTo>
                  <a:pt x="30" y="45"/>
                  <a:pt x="34" y="39"/>
                  <a:pt x="40" y="33"/>
                </a:cubicBezTo>
                <a:cubicBezTo>
                  <a:pt x="46" y="27"/>
                  <a:pt x="53" y="22"/>
                  <a:pt x="57" y="20"/>
                </a:cubicBezTo>
                <a:cubicBezTo>
                  <a:pt x="58" y="20"/>
                  <a:pt x="59" y="20"/>
                  <a:pt x="59" y="20"/>
                </a:cubicBezTo>
                <a:cubicBezTo>
                  <a:pt x="60" y="21"/>
                  <a:pt x="60" y="21"/>
                  <a:pt x="60" y="22"/>
                </a:cubicBezTo>
                <a:cubicBezTo>
                  <a:pt x="60" y="32"/>
                  <a:pt x="60" y="32"/>
                  <a:pt x="60" y="32"/>
                </a:cubicBezTo>
                <a:cubicBezTo>
                  <a:pt x="70" y="22"/>
                  <a:pt x="70" y="22"/>
                  <a:pt x="70" y="22"/>
                </a:cubicBezTo>
                <a:cubicBezTo>
                  <a:pt x="71" y="21"/>
                  <a:pt x="72" y="21"/>
                  <a:pt x="73" y="22"/>
                </a:cubicBezTo>
                <a:cubicBezTo>
                  <a:pt x="78" y="26"/>
                  <a:pt x="77" y="34"/>
                  <a:pt x="72" y="43"/>
                </a:cubicBezTo>
                <a:close/>
              </a:path>
            </a:pathLst>
          </a:custGeom>
          <a:gradFill flip="none" rotWithShape="1">
            <a:gsLst>
              <a:gs pos="100000">
                <a:schemeClr val="accent1"/>
              </a:gs>
              <a:gs pos="0">
                <a:schemeClr val="accent1"/>
              </a:gs>
            </a:gsLst>
            <a:lin ang="2700000" scaled="1"/>
            <a:tileRect/>
          </a:gradFill>
          <a:ln w="12700" cap="flat" cmpd="sng" algn="ctr">
            <a:noFill/>
            <a:prstDash val="solid"/>
            <a:miter lim="800000"/>
          </a:ln>
          <a:effectLst>
            <a:outerShdw blurRad="215900" sx="104000" sy="104000" algn="ctr" rotWithShape="0">
              <a:prstClr val="black">
                <a:alpha val="19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0" cap="none" spc="0" normalizeH="0" baseline="0" noProof="0">
              <a:ln>
                <a:noFill/>
              </a:ln>
              <a:solidFill>
                <a:srgbClr val="0677C7"/>
              </a:solidFill>
              <a:effectLst/>
              <a:uLnTx/>
              <a:uFillTx/>
              <a:latin typeface="Arial"/>
              <a:cs typeface="+mn-cs"/>
            </a:endParaRPr>
          </a:p>
        </p:txBody>
      </p:sp>
      <p:grpSp>
        <p:nvGrpSpPr>
          <p:cNvPr id="60" name="Group 168">
            <a:extLst>
              <a:ext uri="{FF2B5EF4-FFF2-40B4-BE49-F238E27FC236}">
                <a16:creationId xmlns:a16="http://schemas.microsoft.com/office/drawing/2014/main" id="{914F6EC3-9D4B-4107-BAFC-7BE633A51CD2}"/>
              </a:ext>
            </a:extLst>
          </p:cNvPr>
          <p:cNvGrpSpPr/>
          <p:nvPr/>
        </p:nvGrpSpPr>
        <p:grpSpPr>
          <a:xfrm>
            <a:off x="5098507" y="1341935"/>
            <a:ext cx="210954" cy="146832"/>
            <a:chOff x="3408363" y="2940050"/>
            <a:chExt cx="360363" cy="250826"/>
          </a:xfrm>
          <a:solidFill>
            <a:srgbClr val="D9D9D9"/>
          </a:solidFill>
        </p:grpSpPr>
        <p:sp>
          <p:nvSpPr>
            <p:cNvPr id="61" name="Freeform 22">
              <a:extLst>
                <a:ext uri="{FF2B5EF4-FFF2-40B4-BE49-F238E27FC236}">
                  <a16:creationId xmlns:a16="http://schemas.microsoft.com/office/drawing/2014/main" id="{E436CA5E-9A81-476C-B854-575E7F58E33C}"/>
                </a:ext>
              </a:extLst>
            </p:cNvPr>
            <p:cNvSpPr>
              <a:spLocks/>
            </p:cNvSpPr>
            <p:nvPr/>
          </p:nvSpPr>
          <p:spPr bwMode="auto">
            <a:xfrm>
              <a:off x="3551238" y="2940050"/>
              <a:ext cx="120650" cy="101600"/>
            </a:xfrm>
            <a:custGeom>
              <a:avLst/>
              <a:gdLst>
                <a:gd name="T0" fmla="*/ 2 w 32"/>
                <a:gd name="T1" fmla="*/ 27 h 27"/>
                <a:gd name="T2" fmla="*/ 1 w 32"/>
                <a:gd name="T3" fmla="*/ 27 h 27"/>
                <a:gd name="T4" fmla="*/ 1 w 32"/>
                <a:gd name="T5" fmla="*/ 24 h 27"/>
                <a:gd name="T6" fmla="*/ 24 w 32"/>
                <a:gd name="T7" fmla="*/ 1 h 27"/>
                <a:gd name="T8" fmla="*/ 27 w 32"/>
                <a:gd name="T9" fmla="*/ 1 h 27"/>
                <a:gd name="T10" fmla="*/ 31 w 32"/>
                <a:gd name="T11" fmla="*/ 6 h 27"/>
                <a:gd name="T12" fmla="*/ 31 w 32"/>
                <a:gd name="T13" fmla="*/ 8 h 27"/>
                <a:gd name="T14" fmla="*/ 29 w 32"/>
                <a:gd name="T15" fmla="*/ 8 h 27"/>
                <a:gd name="T16" fmla="*/ 25 w 32"/>
                <a:gd name="T17" fmla="*/ 5 h 27"/>
                <a:gd name="T18" fmla="*/ 4 w 32"/>
                <a:gd name="T19" fmla="*/ 27 h 27"/>
                <a:gd name="T20" fmla="*/ 2 w 32"/>
                <a:gd name="T21" fmla="*/ 2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 h="27">
                  <a:moveTo>
                    <a:pt x="2" y="27"/>
                  </a:moveTo>
                  <a:cubicBezTo>
                    <a:pt x="2" y="27"/>
                    <a:pt x="1" y="27"/>
                    <a:pt x="1" y="27"/>
                  </a:cubicBezTo>
                  <a:cubicBezTo>
                    <a:pt x="0" y="26"/>
                    <a:pt x="0" y="25"/>
                    <a:pt x="1" y="24"/>
                  </a:cubicBezTo>
                  <a:cubicBezTo>
                    <a:pt x="24" y="1"/>
                    <a:pt x="24" y="1"/>
                    <a:pt x="24" y="1"/>
                  </a:cubicBezTo>
                  <a:cubicBezTo>
                    <a:pt x="25" y="0"/>
                    <a:pt x="26" y="0"/>
                    <a:pt x="27" y="1"/>
                  </a:cubicBezTo>
                  <a:cubicBezTo>
                    <a:pt x="31" y="6"/>
                    <a:pt x="31" y="6"/>
                    <a:pt x="31" y="6"/>
                  </a:cubicBezTo>
                  <a:cubicBezTo>
                    <a:pt x="32" y="6"/>
                    <a:pt x="32" y="8"/>
                    <a:pt x="31" y="8"/>
                  </a:cubicBezTo>
                  <a:cubicBezTo>
                    <a:pt x="31" y="9"/>
                    <a:pt x="29" y="9"/>
                    <a:pt x="29" y="8"/>
                  </a:cubicBezTo>
                  <a:cubicBezTo>
                    <a:pt x="25" y="5"/>
                    <a:pt x="25" y="5"/>
                    <a:pt x="25" y="5"/>
                  </a:cubicBezTo>
                  <a:cubicBezTo>
                    <a:pt x="4" y="27"/>
                    <a:pt x="4" y="27"/>
                    <a:pt x="4" y="27"/>
                  </a:cubicBezTo>
                  <a:cubicBezTo>
                    <a:pt x="3" y="27"/>
                    <a:pt x="3" y="27"/>
                    <a:pt x="2" y="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677C7"/>
                </a:solidFill>
                <a:effectLst/>
                <a:uLnTx/>
                <a:uFillTx/>
                <a:latin typeface="Arial"/>
                <a:cs typeface="+mn-cs"/>
              </a:endParaRPr>
            </a:p>
          </p:txBody>
        </p:sp>
        <p:sp>
          <p:nvSpPr>
            <p:cNvPr id="62" name="Freeform 23">
              <a:extLst>
                <a:ext uri="{FF2B5EF4-FFF2-40B4-BE49-F238E27FC236}">
                  <a16:creationId xmlns:a16="http://schemas.microsoft.com/office/drawing/2014/main" id="{834D6A5C-F29E-432D-A2F2-614471CB6855}"/>
                </a:ext>
              </a:extLst>
            </p:cNvPr>
            <p:cNvSpPr>
              <a:spLocks/>
            </p:cNvSpPr>
            <p:nvPr/>
          </p:nvSpPr>
          <p:spPr bwMode="auto">
            <a:xfrm>
              <a:off x="3408363" y="3046413"/>
              <a:ext cx="112713" cy="144463"/>
            </a:xfrm>
            <a:custGeom>
              <a:avLst/>
              <a:gdLst>
                <a:gd name="T0" fmla="*/ 24 w 30"/>
                <a:gd name="T1" fmla="*/ 38 h 38"/>
                <a:gd name="T2" fmla="*/ 23 w 30"/>
                <a:gd name="T3" fmla="*/ 37 h 38"/>
                <a:gd name="T4" fmla="*/ 1 w 30"/>
                <a:gd name="T5" fmla="*/ 15 h 38"/>
                <a:gd name="T6" fmla="*/ 1 w 30"/>
                <a:gd name="T7" fmla="*/ 12 h 38"/>
                <a:gd name="T8" fmla="*/ 12 w 30"/>
                <a:gd name="T9" fmla="*/ 1 h 38"/>
                <a:gd name="T10" fmla="*/ 14 w 30"/>
                <a:gd name="T11" fmla="*/ 1 h 38"/>
                <a:gd name="T12" fmla="*/ 19 w 30"/>
                <a:gd name="T13" fmla="*/ 5 h 38"/>
                <a:gd name="T14" fmla="*/ 19 w 30"/>
                <a:gd name="T15" fmla="*/ 8 h 38"/>
                <a:gd name="T16" fmla="*/ 16 w 30"/>
                <a:gd name="T17" fmla="*/ 8 h 38"/>
                <a:gd name="T18" fmla="*/ 13 w 30"/>
                <a:gd name="T19" fmla="*/ 5 h 38"/>
                <a:gd name="T20" fmla="*/ 5 w 30"/>
                <a:gd name="T21" fmla="*/ 14 h 38"/>
                <a:gd name="T22" fmla="*/ 24 w 30"/>
                <a:gd name="T23" fmla="*/ 33 h 38"/>
                <a:gd name="T24" fmla="*/ 26 w 30"/>
                <a:gd name="T25" fmla="*/ 31 h 38"/>
                <a:gd name="T26" fmla="*/ 29 w 30"/>
                <a:gd name="T27" fmla="*/ 31 h 38"/>
                <a:gd name="T28" fmla="*/ 29 w 30"/>
                <a:gd name="T29" fmla="*/ 34 h 38"/>
                <a:gd name="T30" fmla="*/ 25 w 30"/>
                <a:gd name="T31" fmla="*/ 37 h 38"/>
                <a:gd name="T32" fmla="*/ 24 w 30"/>
                <a:gd name="T33" fmla="*/ 3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0" h="38">
                  <a:moveTo>
                    <a:pt x="24" y="38"/>
                  </a:moveTo>
                  <a:cubicBezTo>
                    <a:pt x="24" y="38"/>
                    <a:pt x="23" y="37"/>
                    <a:pt x="23" y="37"/>
                  </a:cubicBezTo>
                  <a:cubicBezTo>
                    <a:pt x="1" y="15"/>
                    <a:pt x="1" y="15"/>
                    <a:pt x="1" y="15"/>
                  </a:cubicBezTo>
                  <a:cubicBezTo>
                    <a:pt x="0" y="14"/>
                    <a:pt x="0" y="13"/>
                    <a:pt x="1" y="12"/>
                  </a:cubicBezTo>
                  <a:cubicBezTo>
                    <a:pt x="12" y="1"/>
                    <a:pt x="12" y="1"/>
                    <a:pt x="12" y="1"/>
                  </a:cubicBezTo>
                  <a:cubicBezTo>
                    <a:pt x="12" y="0"/>
                    <a:pt x="14" y="0"/>
                    <a:pt x="14" y="1"/>
                  </a:cubicBezTo>
                  <a:cubicBezTo>
                    <a:pt x="19" y="5"/>
                    <a:pt x="19" y="5"/>
                    <a:pt x="19" y="5"/>
                  </a:cubicBezTo>
                  <a:cubicBezTo>
                    <a:pt x="19" y="6"/>
                    <a:pt x="19" y="7"/>
                    <a:pt x="19" y="8"/>
                  </a:cubicBezTo>
                  <a:cubicBezTo>
                    <a:pt x="18" y="9"/>
                    <a:pt x="17" y="9"/>
                    <a:pt x="16" y="8"/>
                  </a:cubicBezTo>
                  <a:cubicBezTo>
                    <a:pt x="13" y="5"/>
                    <a:pt x="13" y="5"/>
                    <a:pt x="13" y="5"/>
                  </a:cubicBezTo>
                  <a:cubicBezTo>
                    <a:pt x="5" y="14"/>
                    <a:pt x="5" y="14"/>
                    <a:pt x="5" y="14"/>
                  </a:cubicBezTo>
                  <a:cubicBezTo>
                    <a:pt x="24" y="33"/>
                    <a:pt x="24" y="33"/>
                    <a:pt x="24" y="33"/>
                  </a:cubicBezTo>
                  <a:cubicBezTo>
                    <a:pt x="26" y="31"/>
                    <a:pt x="26" y="31"/>
                    <a:pt x="26" y="31"/>
                  </a:cubicBezTo>
                  <a:cubicBezTo>
                    <a:pt x="27" y="30"/>
                    <a:pt x="28" y="30"/>
                    <a:pt x="29" y="31"/>
                  </a:cubicBezTo>
                  <a:cubicBezTo>
                    <a:pt x="30" y="31"/>
                    <a:pt x="30" y="33"/>
                    <a:pt x="29" y="34"/>
                  </a:cubicBezTo>
                  <a:cubicBezTo>
                    <a:pt x="25" y="37"/>
                    <a:pt x="25" y="37"/>
                    <a:pt x="25" y="37"/>
                  </a:cubicBezTo>
                  <a:cubicBezTo>
                    <a:pt x="25" y="37"/>
                    <a:pt x="25" y="38"/>
                    <a:pt x="24" y="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677C7"/>
                </a:solidFill>
                <a:effectLst/>
                <a:uLnTx/>
                <a:uFillTx/>
                <a:latin typeface="Arial"/>
                <a:cs typeface="+mn-cs"/>
              </a:endParaRPr>
            </a:p>
          </p:txBody>
        </p:sp>
        <p:sp>
          <p:nvSpPr>
            <p:cNvPr id="63" name="Freeform 24">
              <a:extLst>
                <a:ext uri="{FF2B5EF4-FFF2-40B4-BE49-F238E27FC236}">
                  <a16:creationId xmlns:a16="http://schemas.microsoft.com/office/drawing/2014/main" id="{35E77809-35F4-4D58-9444-3A030FFC1A4E}"/>
                </a:ext>
              </a:extLst>
            </p:cNvPr>
            <p:cNvSpPr>
              <a:spLocks/>
            </p:cNvSpPr>
            <p:nvPr/>
          </p:nvSpPr>
          <p:spPr bwMode="auto">
            <a:xfrm>
              <a:off x="3479801" y="2940050"/>
              <a:ext cx="288925" cy="250825"/>
            </a:xfrm>
            <a:custGeom>
              <a:avLst/>
              <a:gdLst>
                <a:gd name="T0" fmla="*/ 76 w 77"/>
                <a:gd name="T1" fmla="*/ 12 h 66"/>
                <a:gd name="T2" fmla="*/ 65 w 77"/>
                <a:gd name="T3" fmla="*/ 1 h 66"/>
                <a:gd name="T4" fmla="*/ 63 w 77"/>
                <a:gd name="T5" fmla="*/ 1 h 66"/>
                <a:gd name="T6" fmla="*/ 25 w 77"/>
                <a:gd name="T7" fmla="*/ 39 h 66"/>
                <a:gd name="T8" fmla="*/ 15 w 77"/>
                <a:gd name="T9" fmla="*/ 29 h 66"/>
                <a:gd name="T10" fmla="*/ 12 w 77"/>
                <a:gd name="T11" fmla="*/ 29 h 66"/>
                <a:gd name="T12" fmla="*/ 1 w 77"/>
                <a:gd name="T13" fmla="*/ 40 h 66"/>
                <a:gd name="T14" fmla="*/ 1 w 77"/>
                <a:gd name="T15" fmla="*/ 43 h 66"/>
                <a:gd name="T16" fmla="*/ 23 w 77"/>
                <a:gd name="T17" fmla="*/ 65 h 66"/>
                <a:gd name="T18" fmla="*/ 25 w 77"/>
                <a:gd name="T19" fmla="*/ 66 h 66"/>
                <a:gd name="T20" fmla="*/ 26 w 77"/>
                <a:gd name="T21" fmla="*/ 65 h 66"/>
                <a:gd name="T22" fmla="*/ 76 w 77"/>
                <a:gd name="T23" fmla="*/ 15 h 66"/>
                <a:gd name="T24" fmla="*/ 76 w 77"/>
                <a:gd name="T25" fmla="*/ 1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7" h="66">
                  <a:moveTo>
                    <a:pt x="76" y="12"/>
                  </a:moveTo>
                  <a:cubicBezTo>
                    <a:pt x="65" y="1"/>
                    <a:pt x="65" y="1"/>
                    <a:pt x="65" y="1"/>
                  </a:cubicBezTo>
                  <a:cubicBezTo>
                    <a:pt x="65" y="0"/>
                    <a:pt x="63" y="0"/>
                    <a:pt x="63" y="1"/>
                  </a:cubicBezTo>
                  <a:cubicBezTo>
                    <a:pt x="25" y="39"/>
                    <a:pt x="25" y="39"/>
                    <a:pt x="25" y="39"/>
                  </a:cubicBezTo>
                  <a:cubicBezTo>
                    <a:pt x="15" y="29"/>
                    <a:pt x="15" y="29"/>
                    <a:pt x="15" y="29"/>
                  </a:cubicBezTo>
                  <a:cubicBezTo>
                    <a:pt x="14" y="28"/>
                    <a:pt x="13" y="28"/>
                    <a:pt x="12" y="29"/>
                  </a:cubicBezTo>
                  <a:cubicBezTo>
                    <a:pt x="1" y="40"/>
                    <a:pt x="1" y="40"/>
                    <a:pt x="1" y="40"/>
                  </a:cubicBezTo>
                  <a:cubicBezTo>
                    <a:pt x="0" y="41"/>
                    <a:pt x="0" y="42"/>
                    <a:pt x="1" y="43"/>
                  </a:cubicBezTo>
                  <a:cubicBezTo>
                    <a:pt x="23" y="65"/>
                    <a:pt x="23" y="65"/>
                    <a:pt x="23" y="65"/>
                  </a:cubicBezTo>
                  <a:cubicBezTo>
                    <a:pt x="24" y="65"/>
                    <a:pt x="24" y="66"/>
                    <a:pt x="25" y="66"/>
                  </a:cubicBezTo>
                  <a:cubicBezTo>
                    <a:pt x="25" y="66"/>
                    <a:pt x="26" y="65"/>
                    <a:pt x="26" y="65"/>
                  </a:cubicBezTo>
                  <a:cubicBezTo>
                    <a:pt x="76" y="15"/>
                    <a:pt x="76" y="15"/>
                    <a:pt x="76" y="15"/>
                  </a:cubicBezTo>
                  <a:cubicBezTo>
                    <a:pt x="77" y="14"/>
                    <a:pt x="77" y="13"/>
                    <a:pt x="7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677C7"/>
                </a:solidFill>
                <a:effectLst/>
                <a:uLnTx/>
                <a:uFillTx/>
                <a:latin typeface="Arial"/>
                <a:cs typeface="+mn-cs"/>
              </a:endParaRPr>
            </a:p>
          </p:txBody>
        </p:sp>
      </p:grpSp>
      <p:sp>
        <p:nvSpPr>
          <p:cNvPr id="64" name="Freeform 48">
            <a:extLst>
              <a:ext uri="{FF2B5EF4-FFF2-40B4-BE49-F238E27FC236}">
                <a16:creationId xmlns:a16="http://schemas.microsoft.com/office/drawing/2014/main" id="{53883B87-EC5B-4ECB-B6BA-BB6711BB1AFB}"/>
              </a:ext>
            </a:extLst>
          </p:cNvPr>
          <p:cNvSpPr>
            <a:spLocks noEditPoints="1"/>
          </p:cNvSpPr>
          <p:nvPr/>
        </p:nvSpPr>
        <p:spPr bwMode="auto">
          <a:xfrm flipH="1">
            <a:off x="4085643" y="2020049"/>
            <a:ext cx="202590" cy="211882"/>
          </a:xfrm>
          <a:custGeom>
            <a:avLst/>
            <a:gdLst>
              <a:gd name="T0" fmla="*/ 2 w 92"/>
              <a:gd name="T1" fmla="*/ 0 h 96"/>
              <a:gd name="T2" fmla="*/ 0 w 92"/>
              <a:gd name="T3" fmla="*/ 94 h 96"/>
              <a:gd name="T4" fmla="*/ 90 w 92"/>
              <a:gd name="T5" fmla="*/ 96 h 96"/>
              <a:gd name="T6" fmla="*/ 92 w 92"/>
              <a:gd name="T7" fmla="*/ 2 h 96"/>
              <a:gd name="T8" fmla="*/ 22 w 92"/>
              <a:gd name="T9" fmla="*/ 84 h 96"/>
              <a:gd name="T10" fmla="*/ 22 w 92"/>
              <a:gd name="T11" fmla="*/ 68 h 96"/>
              <a:gd name="T12" fmla="*/ 22 w 92"/>
              <a:gd name="T13" fmla="*/ 84 h 96"/>
              <a:gd name="T14" fmla="*/ 30 w 92"/>
              <a:gd name="T15" fmla="*/ 44 h 96"/>
              <a:gd name="T16" fmla="*/ 24 w 92"/>
              <a:gd name="T17" fmla="*/ 58 h 96"/>
              <a:gd name="T18" fmla="*/ 20 w 92"/>
              <a:gd name="T19" fmla="*/ 58 h 96"/>
              <a:gd name="T20" fmla="*/ 14 w 92"/>
              <a:gd name="T21" fmla="*/ 44 h 96"/>
              <a:gd name="T22" fmla="*/ 12 w 92"/>
              <a:gd name="T23" fmla="*/ 34 h 96"/>
              <a:gd name="T24" fmla="*/ 20 w 92"/>
              <a:gd name="T25" fmla="*/ 32 h 96"/>
              <a:gd name="T26" fmla="*/ 22 w 92"/>
              <a:gd name="T27" fmla="*/ 12 h 96"/>
              <a:gd name="T28" fmla="*/ 24 w 92"/>
              <a:gd name="T29" fmla="*/ 32 h 96"/>
              <a:gd name="T30" fmla="*/ 32 w 92"/>
              <a:gd name="T31" fmla="*/ 34 h 96"/>
              <a:gd name="T32" fmla="*/ 46 w 92"/>
              <a:gd name="T33" fmla="*/ 84 h 96"/>
              <a:gd name="T34" fmla="*/ 46 w 92"/>
              <a:gd name="T35" fmla="*/ 68 h 96"/>
              <a:gd name="T36" fmla="*/ 46 w 92"/>
              <a:gd name="T37" fmla="*/ 84 h 96"/>
              <a:gd name="T38" fmla="*/ 54 w 92"/>
              <a:gd name="T39" fmla="*/ 32 h 96"/>
              <a:gd name="T40" fmla="*/ 48 w 92"/>
              <a:gd name="T41" fmla="*/ 58 h 96"/>
              <a:gd name="T42" fmla="*/ 44 w 92"/>
              <a:gd name="T43" fmla="*/ 58 h 96"/>
              <a:gd name="T44" fmla="*/ 38 w 92"/>
              <a:gd name="T45" fmla="*/ 32 h 96"/>
              <a:gd name="T46" fmla="*/ 36 w 92"/>
              <a:gd name="T47" fmla="*/ 22 h 96"/>
              <a:gd name="T48" fmla="*/ 44 w 92"/>
              <a:gd name="T49" fmla="*/ 20 h 96"/>
              <a:gd name="T50" fmla="*/ 46 w 92"/>
              <a:gd name="T51" fmla="*/ 12 h 96"/>
              <a:gd name="T52" fmla="*/ 48 w 92"/>
              <a:gd name="T53" fmla="*/ 20 h 96"/>
              <a:gd name="T54" fmla="*/ 56 w 92"/>
              <a:gd name="T55" fmla="*/ 22 h 96"/>
              <a:gd name="T56" fmla="*/ 70 w 92"/>
              <a:gd name="T57" fmla="*/ 84 h 96"/>
              <a:gd name="T58" fmla="*/ 70 w 92"/>
              <a:gd name="T59" fmla="*/ 68 h 96"/>
              <a:gd name="T60" fmla="*/ 70 w 92"/>
              <a:gd name="T61" fmla="*/ 84 h 96"/>
              <a:gd name="T62" fmla="*/ 78 w 92"/>
              <a:gd name="T63" fmla="*/ 52 h 96"/>
              <a:gd name="T64" fmla="*/ 72 w 92"/>
              <a:gd name="T65" fmla="*/ 58 h 96"/>
              <a:gd name="T66" fmla="*/ 68 w 92"/>
              <a:gd name="T67" fmla="*/ 58 h 96"/>
              <a:gd name="T68" fmla="*/ 62 w 92"/>
              <a:gd name="T69" fmla="*/ 52 h 96"/>
              <a:gd name="T70" fmla="*/ 60 w 92"/>
              <a:gd name="T71" fmla="*/ 42 h 96"/>
              <a:gd name="T72" fmla="*/ 68 w 92"/>
              <a:gd name="T73" fmla="*/ 40 h 96"/>
              <a:gd name="T74" fmla="*/ 70 w 92"/>
              <a:gd name="T75" fmla="*/ 12 h 96"/>
              <a:gd name="T76" fmla="*/ 72 w 92"/>
              <a:gd name="T77" fmla="*/ 40 h 96"/>
              <a:gd name="T78" fmla="*/ 80 w 92"/>
              <a:gd name="T79" fmla="*/ 4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2" h="96">
                <a:moveTo>
                  <a:pt x="90" y="0"/>
                </a:moveTo>
                <a:cubicBezTo>
                  <a:pt x="2" y="0"/>
                  <a:pt x="2" y="0"/>
                  <a:pt x="2" y="0"/>
                </a:cubicBezTo>
                <a:cubicBezTo>
                  <a:pt x="1" y="0"/>
                  <a:pt x="0" y="1"/>
                  <a:pt x="0" y="2"/>
                </a:cubicBezTo>
                <a:cubicBezTo>
                  <a:pt x="0" y="94"/>
                  <a:pt x="0" y="94"/>
                  <a:pt x="0" y="94"/>
                </a:cubicBezTo>
                <a:cubicBezTo>
                  <a:pt x="0" y="95"/>
                  <a:pt x="1" y="96"/>
                  <a:pt x="2" y="96"/>
                </a:cubicBezTo>
                <a:cubicBezTo>
                  <a:pt x="90" y="96"/>
                  <a:pt x="90" y="96"/>
                  <a:pt x="90" y="96"/>
                </a:cubicBezTo>
                <a:cubicBezTo>
                  <a:pt x="91" y="96"/>
                  <a:pt x="92" y="95"/>
                  <a:pt x="92" y="94"/>
                </a:cubicBezTo>
                <a:cubicBezTo>
                  <a:pt x="92" y="2"/>
                  <a:pt x="92" y="2"/>
                  <a:pt x="92" y="2"/>
                </a:cubicBezTo>
                <a:cubicBezTo>
                  <a:pt x="92" y="1"/>
                  <a:pt x="91" y="0"/>
                  <a:pt x="90" y="0"/>
                </a:cubicBezTo>
                <a:close/>
                <a:moveTo>
                  <a:pt x="22" y="84"/>
                </a:moveTo>
                <a:cubicBezTo>
                  <a:pt x="18" y="84"/>
                  <a:pt x="14" y="80"/>
                  <a:pt x="14" y="76"/>
                </a:cubicBezTo>
                <a:cubicBezTo>
                  <a:pt x="14" y="72"/>
                  <a:pt x="18" y="68"/>
                  <a:pt x="22" y="68"/>
                </a:cubicBezTo>
                <a:cubicBezTo>
                  <a:pt x="26" y="68"/>
                  <a:pt x="30" y="72"/>
                  <a:pt x="30" y="76"/>
                </a:cubicBezTo>
                <a:cubicBezTo>
                  <a:pt x="30" y="80"/>
                  <a:pt x="26" y="84"/>
                  <a:pt x="22" y="84"/>
                </a:cubicBezTo>
                <a:close/>
                <a:moveTo>
                  <a:pt x="32" y="42"/>
                </a:moveTo>
                <a:cubicBezTo>
                  <a:pt x="32" y="43"/>
                  <a:pt x="31" y="44"/>
                  <a:pt x="30" y="44"/>
                </a:cubicBezTo>
                <a:cubicBezTo>
                  <a:pt x="24" y="44"/>
                  <a:pt x="24" y="44"/>
                  <a:pt x="24" y="44"/>
                </a:cubicBezTo>
                <a:cubicBezTo>
                  <a:pt x="24" y="58"/>
                  <a:pt x="24" y="58"/>
                  <a:pt x="24" y="58"/>
                </a:cubicBezTo>
                <a:cubicBezTo>
                  <a:pt x="24" y="59"/>
                  <a:pt x="23" y="60"/>
                  <a:pt x="22" y="60"/>
                </a:cubicBezTo>
                <a:cubicBezTo>
                  <a:pt x="21" y="60"/>
                  <a:pt x="20" y="59"/>
                  <a:pt x="20" y="58"/>
                </a:cubicBezTo>
                <a:cubicBezTo>
                  <a:pt x="20" y="44"/>
                  <a:pt x="20" y="44"/>
                  <a:pt x="20" y="44"/>
                </a:cubicBezTo>
                <a:cubicBezTo>
                  <a:pt x="14" y="44"/>
                  <a:pt x="14" y="44"/>
                  <a:pt x="14" y="44"/>
                </a:cubicBezTo>
                <a:cubicBezTo>
                  <a:pt x="13" y="44"/>
                  <a:pt x="12" y="43"/>
                  <a:pt x="12" y="42"/>
                </a:cubicBezTo>
                <a:cubicBezTo>
                  <a:pt x="12" y="34"/>
                  <a:pt x="12" y="34"/>
                  <a:pt x="12" y="34"/>
                </a:cubicBezTo>
                <a:cubicBezTo>
                  <a:pt x="12" y="33"/>
                  <a:pt x="13" y="32"/>
                  <a:pt x="14" y="32"/>
                </a:cubicBezTo>
                <a:cubicBezTo>
                  <a:pt x="20" y="32"/>
                  <a:pt x="20" y="32"/>
                  <a:pt x="20" y="32"/>
                </a:cubicBezTo>
                <a:cubicBezTo>
                  <a:pt x="20" y="14"/>
                  <a:pt x="20" y="14"/>
                  <a:pt x="20" y="14"/>
                </a:cubicBezTo>
                <a:cubicBezTo>
                  <a:pt x="20" y="13"/>
                  <a:pt x="21" y="12"/>
                  <a:pt x="22" y="12"/>
                </a:cubicBezTo>
                <a:cubicBezTo>
                  <a:pt x="23" y="12"/>
                  <a:pt x="24" y="13"/>
                  <a:pt x="24" y="14"/>
                </a:cubicBezTo>
                <a:cubicBezTo>
                  <a:pt x="24" y="32"/>
                  <a:pt x="24" y="32"/>
                  <a:pt x="24" y="32"/>
                </a:cubicBezTo>
                <a:cubicBezTo>
                  <a:pt x="30" y="32"/>
                  <a:pt x="30" y="32"/>
                  <a:pt x="30" y="32"/>
                </a:cubicBezTo>
                <a:cubicBezTo>
                  <a:pt x="31" y="32"/>
                  <a:pt x="32" y="33"/>
                  <a:pt x="32" y="34"/>
                </a:cubicBezTo>
                <a:lnTo>
                  <a:pt x="32" y="42"/>
                </a:lnTo>
                <a:close/>
                <a:moveTo>
                  <a:pt x="46" y="84"/>
                </a:moveTo>
                <a:cubicBezTo>
                  <a:pt x="42" y="84"/>
                  <a:pt x="38" y="80"/>
                  <a:pt x="38" y="76"/>
                </a:cubicBezTo>
                <a:cubicBezTo>
                  <a:pt x="38" y="72"/>
                  <a:pt x="42" y="68"/>
                  <a:pt x="46" y="68"/>
                </a:cubicBezTo>
                <a:cubicBezTo>
                  <a:pt x="50" y="68"/>
                  <a:pt x="54" y="72"/>
                  <a:pt x="54" y="76"/>
                </a:cubicBezTo>
                <a:cubicBezTo>
                  <a:pt x="54" y="80"/>
                  <a:pt x="50" y="84"/>
                  <a:pt x="46" y="84"/>
                </a:cubicBezTo>
                <a:close/>
                <a:moveTo>
                  <a:pt x="56" y="30"/>
                </a:moveTo>
                <a:cubicBezTo>
                  <a:pt x="56" y="31"/>
                  <a:pt x="55" y="32"/>
                  <a:pt x="54" y="32"/>
                </a:cubicBezTo>
                <a:cubicBezTo>
                  <a:pt x="48" y="32"/>
                  <a:pt x="48" y="32"/>
                  <a:pt x="48" y="32"/>
                </a:cubicBezTo>
                <a:cubicBezTo>
                  <a:pt x="48" y="58"/>
                  <a:pt x="48" y="58"/>
                  <a:pt x="48" y="58"/>
                </a:cubicBezTo>
                <a:cubicBezTo>
                  <a:pt x="48" y="59"/>
                  <a:pt x="47" y="60"/>
                  <a:pt x="46" y="60"/>
                </a:cubicBezTo>
                <a:cubicBezTo>
                  <a:pt x="45" y="60"/>
                  <a:pt x="44" y="59"/>
                  <a:pt x="44" y="58"/>
                </a:cubicBezTo>
                <a:cubicBezTo>
                  <a:pt x="44" y="32"/>
                  <a:pt x="44" y="32"/>
                  <a:pt x="44" y="32"/>
                </a:cubicBezTo>
                <a:cubicBezTo>
                  <a:pt x="38" y="32"/>
                  <a:pt x="38" y="32"/>
                  <a:pt x="38" y="32"/>
                </a:cubicBezTo>
                <a:cubicBezTo>
                  <a:pt x="37" y="32"/>
                  <a:pt x="36" y="31"/>
                  <a:pt x="36" y="30"/>
                </a:cubicBezTo>
                <a:cubicBezTo>
                  <a:pt x="36" y="22"/>
                  <a:pt x="36" y="22"/>
                  <a:pt x="36" y="22"/>
                </a:cubicBezTo>
                <a:cubicBezTo>
                  <a:pt x="36" y="21"/>
                  <a:pt x="37" y="20"/>
                  <a:pt x="38" y="20"/>
                </a:cubicBezTo>
                <a:cubicBezTo>
                  <a:pt x="44" y="20"/>
                  <a:pt x="44" y="20"/>
                  <a:pt x="44" y="20"/>
                </a:cubicBezTo>
                <a:cubicBezTo>
                  <a:pt x="44" y="14"/>
                  <a:pt x="44" y="14"/>
                  <a:pt x="44" y="14"/>
                </a:cubicBezTo>
                <a:cubicBezTo>
                  <a:pt x="44" y="13"/>
                  <a:pt x="45" y="12"/>
                  <a:pt x="46" y="12"/>
                </a:cubicBezTo>
                <a:cubicBezTo>
                  <a:pt x="47" y="12"/>
                  <a:pt x="48" y="13"/>
                  <a:pt x="48" y="14"/>
                </a:cubicBezTo>
                <a:cubicBezTo>
                  <a:pt x="48" y="20"/>
                  <a:pt x="48" y="20"/>
                  <a:pt x="48" y="20"/>
                </a:cubicBezTo>
                <a:cubicBezTo>
                  <a:pt x="54" y="20"/>
                  <a:pt x="54" y="20"/>
                  <a:pt x="54" y="20"/>
                </a:cubicBezTo>
                <a:cubicBezTo>
                  <a:pt x="55" y="20"/>
                  <a:pt x="56" y="21"/>
                  <a:pt x="56" y="22"/>
                </a:cubicBezTo>
                <a:lnTo>
                  <a:pt x="56" y="30"/>
                </a:lnTo>
                <a:close/>
                <a:moveTo>
                  <a:pt x="70" y="84"/>
                </a:moveTo>
                <a:cubicBezTo>
                  <a:pt x="66" y="84"/>
                  <a:pt x="62" y="80"/>
                  <a:pt x="62" y="76"/>
                </a:cubicBezTo>
                <a:cubicBezTo>
                  <a:pt x="62" y="72"/>
                  <a:pt x="66" y="68"/>
                  <a:pt x="70" y="68"/>
                </a:cubicBezTo>
                <a:cubicBezTo>
                  <a:pt x="75" y="68"/>
                  <a:pt x="78" y="72"/>
                  <a:pt x="78" y="76"/>
                </a:cubicBezTo>
                <a:cubicBezTo>
                  <a:pt x="78" y="80"/>
                  <a:pt x="75" y="84"/>
                  <a:pt x="70" y="84"/>
                </a:cubicBezTo>
                <a:close/>
                <a:moveTo>
                  <a:pt x="80" y="50"/>
                </a:moveTo>
                <a:cubicBezTo>
                  <a:pt x="80" y="51"/>
                  <a:pt x="79" y="52"/>
                  <a:pt x="78" y="52"/>
                </a:cubicBezTo>
                <a:cubicBezTo>
                  <a:pt x="72" y="52"/>
                  <a:pt x="72" y="52"/>
                  <a:pt x="72" y="52"/>
                </a:cubicBezTo>
                <a:cubicBezTo>
                  <a:pt x="72" y="58"/>
                  <a:pt x="72" y="58"/>
                  <a:pt x="72" y="58"/>
                </a:cubicBezTo>
                <a:cubicBezTo>
                  <a:pt x="72" y="59"/>
                  <a:pt x="71" y="60"/>
                  <a:pt x="70" y="60"/>
                </a:cubicBezTo>
                <a:cubicBezTo>
                  <a:pt x="69" y="60"/>
                  <a:pt x="68" y="59"/>
                  <a:pt x="68" y="58"/>
                </a:cubicBezTo>
                <a:cubicBezTo>
                  <a:pt x="68" y="52"/>
                  <a:pt x="68" y="52"/>
                  <a:pt x="68" y="52"/>
                </a:cubicBezTo>
                <a:cubicBezTo>
                  <a:pt x="62" y="52"/>
                  <a:pt x="62" y="52"/>
                  <a:pt x="62" y="52"/>
                </a:cubicBezTo>
                <a:cubicBezTo>
                  <a:pt x="61" y="52"/>
                  <a:pt x="60" y="51"/>
                  <a:pt x="60" y="50"/>
                </a:cubicBezTo>
                <a:cubicBezTo>
                  <a:pt x="60" y="42"/>
                  <a:pt x="60" y="42"/>
                  <a:pt x="60" y="42"/>
                </a:cubicBezTo>
                <a:cubicBezTo>
                  <a:pt x="60" y="41"/>
                  <a:pt x="61" y="40"/>
                  <a:pt x="62" y="40"/>
                </a:cubicBezTo>
                <a:cubicBezTo>
                  <a:pt x="68" y="40"/>
                  <a:pt x="68" y="40"/>
                  <a:pt x="68" y="40"/>
                </a:cubicBezTo>
                <a:cubicBezTo>
                  <a:pt x="68" y="14"/>
                  <a:pt x="68" y="14"/>
                  <a:pt x="68" y="14"/>
                </a:cubicBezTo>
                <a:cubicBezTo>
                  <a:pt x="68" y="13"/>
                  <a:pt x="69" y="12"/>
                  <a:pt x="70" y="12"/>
                </a:cubicBezTo>
                <a:cubicBezTo>
                  <a:pt x="71" y="12"/>
                  <a:pt x="72" y="13"/>
                  <a:pt x="72" y="14"/>
                </a:cubicBezTo>
                <a:cubicBezTo>
                  <a:pt x="72" y="40"/>
                  <a:pt x="72" y="40"/>
                  <a:pt x="72" y="40"/>
                </a:cubicBezTo>
                <a:cubicBezTo>
                  <a:pt x="78" y="40"/>
                  <a:pt x="78" y="40"/>
                  <a:pt x="78" y="40"/>
                </a:cubicBezTo>
                <a:cubicBezTo>
                  <a:pt x="79" y="40"/>
                  <a:pt x="80" y="41"/>
                  <a:pt x="80" y="42"/>
                </a:cubicBezTo>
                <a:lnTo>
                  <a:pt x="80" y="50"/>
                </a:lnTo>
                <a:close/>
              </a:path>
            </a:pathLst>
          </a:custGeom>
          <a:solidFill>
            <a:srgbClr val="D9D9D9"/>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677C7"/>
              </a:solidFill>
              <a:effectLst/>
              <a:uLnTx/>
              <a:uFillTx/>
              <a:latin typeface="Arial"/>
              <a:cs typeface="+mn-cs"/>
            </a:endParaRPr>
          </a:p>
        </p:txBody>
      </p:sp>
      <p:grpSp>
        <p:nvGrpSpPr>
          <p:cNvPr id="65" name="Group 173">
            <a:extLst>
              <a:ext uri="{FF2B5EF4-FFF2-40B4-BE49-F238E27FC236}">
                <a16:creationId xmlns:a16="http://schemas.microsoft.com/office/drawing/2014/main" id="{DD26219D-FE82-4282-B0CC-0DDE4C76EBDC}"/>
              </a:ext>
            </a:extLst>
          </p:cNvPr>
          <p:cNvGrpSpPr/>
          <p:nvPr/>
        </p:nvGrpSpPr>
        <p:grpSpPr>
          <a:xfrm flipH="1">
            <a:off x="5091886" y="5379546"/>
            <a:ext cx="210956" cy="211882"/>
            <a:chOff x="7718425" y="3248025"/>
            <a:chExt cx="360363" cy="361951"/>
          </a:xfrm>
          <a:solidFill>
            <a:srgbClr val="D9D9D9"/>
          </a:solidFill>
        </p:grpSpPr>
        <p:sp>
          <p:nvSpPr>
            <p:cNvPr id="66" name="Freeform 63">
              <a:extLst>
                <a:ext uri="{FF2B5EF4-FFF2-40B4-BE49-F238E27FC236}">
                  <a16:creationId xmlns:a16="http://schemas.microsoft.com/office/drawing/2014/main" id="{7470A6A4-C4A8-48A3-BA85-6656CFE40C86}"/>
                </a:ext>
              </a:extLst>
            </p:cNvPr>
            <p:cNvSpPr>
              <a:spLocks/>
            </p:cNvSpPr>
            <p:nvPr/>
          </p:nvSpPr>
          <p:spPr bwMode="auto">
            <a:xfrm>
              <a:off x="7718425" y="3248025"/>
              <a:ext cx="360363" cy="331788"/>
            </a:xfrm>
            <a:custGeom>
              <a:avLst/>
              <a:gdLst>
                <a:gd name="T0" fmla="*/ 20 w 96"/>
                <a:gd name="T1" fmla="*/ 88 h 88"/>
                <a:gd name="T2" fmla="*/ 8 w 96"/>
                <a:gd name="T3" fmla="*/ 75 h 88"/>
                <a:gd name="T4" fmla="*/ 17 w 96"/>
                <a:gd name="T5" fmla="*/ 65 h 88"/>
                <a:gd name="T6" fmla="*/ 2 w 96"/>
                <a:gd name="T7" fmla="*/ 56 h 88"/>
                <a:gd name="T8" fmla="*/ 0 w 96"/>
                <a:gd name="T9" fmla="*/ 42 h 88"/>
                <a:gd name="T10" fmla="*/ 13 w 96"/>
                <a:gd name="T11" fmla="*/ 40 h 88"/>
                <a:gd name="T12" fmla="*/ 8 w 96"/>
                <a:gd name="T13" fmla="*/ 23 h 88"/>
                <a:gd name="T14" fmla="*/ 8 w 96"/>
                <a:gd name="T15" fmla="*/ 20 h 88"/>
                <a:gd name="T16" fmla="*/ 23 w 96"/>
                <a:gd name="T17" fmla="*/ 8 h 88"/>
                <a:gd name="T18" fmla="*/ 40 w 96"/>
                <a:gd name="T19" fmla="*/ 13 h 88"/>
                <a:gd name="T20" fmla="*/ 42 w 96"/>
                <a:gd name="T21" fmla="*/ 0 h 88"/>
                <a:gd name="T22" fmla="*/ 56 w 96"/>
                <a:gd name="T23" fmla="*/ 2 h 88"/>
                <a:gd name="T24" fmla="*/ 65 w 96"/>
                <a:gd name="T25" fmla="*/ 17 h 88"/>
                <a:gd name="T26" fmla="*/ 76 w 96"/>
                <a:gd name="T27" fmla="*/ 8 h 88"/>
                <a:gd name="T28" fmla="*/ 88 w 96"/>
                <a:gd name="T29" fmla="*/ 21 h 88"/>
                <a:gd name="T30" fmla="*/ 79 w 96"/>
                <a:gd name="T31" fmla="*/ 31 h 88"/>
                <a:gd name="T32" fmla="*/ 94 w 96"/>
                <a:gd name="T33" fmla="*/ 40 h 88"/>
                <a:gd name="T34" fmla="*/ 96 w 96"/>
                <a:gd name="T35" fmla="*/ 54 h 88"/>
                <a:gd name="T36" fmla="*/ 83 w 96"/>
                <a:gd name="T37" fmla="*/ 56 h 88"/>
                <a:gd name="T38" fmla="*/ 88 w 96"/>
                <a:gd name="T39" fmla="*/ 73 h 88"/>
                <a:gd name="T40" fmla="*/ 76 w 96"/>
                <a:gd name="T41" fmla="*/ 88 h 88"/>
                <a:gd name="T42" fmla="*/ 64 w 96"/>
                <a:gd name="T43" fmla="*/ 78 h 88"/>
                <a:gd name="T44" fmla="*/ 67 w 96"/>
                <a:gd name="T45" fmla="*/ 76 h 88"/>
                <a:gd name="T46" fmla="*/ 83 w 96"/>
                <a:gd name="T47" fmla="*/ 75 h 88"/>
                <a:gd name="T48" fmla="*/ 75 w 96"/>
                <a:gd name="T49" fmla="*/ 65 h 88"/>
                <a:gd name="T50" fmla="*/ 81 w 96"/>
                <a:gd name="T51" fmla="*/ 52 h 88"/>
                <a:gd name="T52" fmla="*/ 92 w 96"/>
                <a:gd name="T53" fmla="*/ 44 h 88"/>
                <a:gd name="T54" fmla="*/ 79 w 96"/>
                <a:gd name="T55" fmla="*/ 42 h 88"/>
                <a:gd name="T56" fmla="*/ 76 w 96"/>
                <a:gd name="T57" fmla="*/ 29 h 88"/>
                <a:gd name="T58" fmla="*/ 75 w 96"/>
                <a:gd name="T59" fmla="*/ 13 h 88"/>
                <a:gd name="T60" fmla="*/ 65 w 96"/>
                <a:gd name="T61" fmla="*/ 21 h 88"/>
                <a:gd name="T62" fmla="*/ 52 w 96"/>
                <a:gd name="T63" fmla="*/ 15 h 88"/>
                <a:gd name="T64" fmla="*/ 44 w 96"/>
                <a:gd name="T65" fmla="*/ 4 h 88"/>
                <a:gd name="T66" fmla="*/ 42 w 96"/>
                <a:gd name="T67" fmla="*/ 17 h 88"/>
                <a:gd name="T68" fmla="*/ 29 w 96"/>
                <a:gd name="T69" fmla="*/ 20 h 88"/>
                <a:gd name="T70" fmla="*/ 13 w 96"/>
                <a:gd name="T71" fmla="*/ 21 h 88"/>
                <a:gd name="T72" fmla="*/ 21 w 96"/>
                <a:gd name="T73" fmla="*/ 31 h 88"/>
                <a:gd name="T74" fmla="*/ 15 w 96"/>
                <a:gd name="T75" fmla="*/ 44 h 88"/>
                <a:gd name="T76" fmla="*/ 4 w 96"/>
                <a:gd name="T77" fmla="*/ 52 h 88"/>
                <a:gd name="T78" fmla="*/ 17 w 96"/>
                <a:gd name="T79" fmla="*/ 54 h 88"/>
                <a:gd name="T80" fmla="*/ 20 w 96"/>
                <a:gd name="T81" fmla="*/ 67 h 88"/>
                <a:gd name="T82" fmla="*/ 21 w 96"/>
                <a:gd name="T83" fmla="*/ 83 h 88"/>
                <a:gd name="T84" fmla="*/ 32 w 96"/>
                <a:gd name="T85" fmla="*/ 76 h 88"/>
                <a:gd name="T86" fmla="*/ 23 w 96"/>
                <a:gd name="T87"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6" h="88">
                  <a:moveTo>
                    <a:pt x="21" y="88"/>
                  </a:moveTo>
                  <a:cubicBezTo>
                    <a:pt x="21" y="88"/>
                    <a:pt x="20" y="88"/>
                    <a:pt x="20" y="88"/>
                  </a:cubicBezTo>
                  <a:cubicBezTo>
                    <a:pt x="8" y="76"/>
                    <a:pt x="8" y="76"/>
                    <a:pt x="8" y="76"/>
                  </a:cubicBezTo>
                  <a:cubicBezTo>
                    <a:pt x="8" y="76"/>
                    <a:pt x="8" y="75"/>
                    <a:pt x="8" y="75"/>
                  </a:cubicBezTo>
                  <a:cubicBezTo>
                    <a:pt x="8" y="74"/>
                    <a:pt x="8" y="74"/>
                    <a:pt x="8" y="73"/>
                  </a:cubicBezTo>
                  <a:cubicBezTo>
                    <a:pt x="17" y="65"/>
                    <a:pt x="17" y="65"/>
                    <a:pt x="17" y="65"/>
                  </a:cubicBezTo>
                  <a:cubicBezTo>
                    <a:pt x="15" y="63"/>
                    <a:pt x="14" y="59"/>
                    <a:pt x="13" y="56"/>
                  </a:cubicBezTo>
                  <a:cubicBezTo>
                    <a:pt x="2" y="56"/>
                    <a:pt x="2" y="56"/>
                    <a:pt x="2" y="56"/>
                  </a:cubicBezTo>
                  <a:cubicBezTo>
                    <a:pt x="1" y="56"/>
                    <a:pt x="0" y="55"/>
                    <a:pt x="0" y="54"/>
                  </a:cubicBezTo>
                  <a:cubicBezTo>
                    <a:pt x="0" y="42"/>
                    <a:pt x="0" y="42"/>
                    <a:pt x="0" y="42"/>
                  </a:cubicBezTo>
                  <a:cubicBezTo>
                    <a:pt x="0" y="41"/>
                    <a:pt x="1" y="40"/>
                    <a:pt x="2" y="40"/>
                  </a:cubicBezTo>
                  <a:cubicBezTo>
                    <a:pt x="13" y="40"/>
                    <a:pt x="13" y="40"/>
                    <a:pt x="13" y="40"/>
                  </a:cubicBezTo>
                  <a:cubicBezTo>
                    <a:pt x="14" y="37"/>
                    <a:pt x="15" y="33"/>
                    <a:pt x="17" y="31"/>
                  </a:cubicBezTo>
                  <a:cubicBezTo>
                    <a:pt x="8" y="23"/>
                    <a:pt x="8" y="23"/>
                    <a:pt x="8" y="23"/>
                  </a:cubicBezTo>
                  <a:cubicBezTo>
                    <a:pt x="8" y="22"/>
                    <a:pt x="8" y="22"/>
                    <a:pt x="8" y="21"/>
                  </a:cubicBezTo>
                  <a:cubicBezTo>
                    <a:pt x="8" y="21"/>
                    <a:pt x="8" y="20"/>
                    <a:pt x="8" y="20"/>
                  </a:cubicBezTo>
                  <a:cubicBezTo>
                    <a:pt x="20" y="8"/>
                    <a:pt x="20" y="8"/>
                    <a:pt x="20" y="8"/>
                  </a:cubicBezTo>
                  <a:cubicBezTo>
                    <a:pt x="20" y="8"/>
                    <a:pt x="22" y="8"/>
                    <a:pt x="23" y="8"/>
                  </a:cubicBezTo>
                  <a:cubicBezTo>
                    <a:pt x="31" y="17"/>
                    <a:pt x="31" y="17"/>
                    <a:pt x="31" y="17"/>
                  </a:cubicBezTo>
                  <a:cubicBezTo>
                    <a:pt x="33" y="15"/>
                    <a:pt x="37" y="14"/>
                    <a:pt x="40" y="13"/>
                  </a:cubicBezTo>
                  <a:cubicBezTo>
                    <a:pt x="40" y="2"/>
                    <a:pt x="40" y="2"/>
                    <a:pt x="40" y="2"/>
                  </a:cubicBezTo>
                  <a:cubicBezTo>
                    <a:pt x="40" y="1"/>
                    <a:pt x="41" y="0"/>
                    <a:pt x="42" y="0"/>
                  </a:cubicBezTo>
                  <a:cubicBezTo>
                    <a:pt x="54" y="0"/>
                    <a:pt x="54" y="0"/>
                    <a:pt x="54" y="0"/>
                  </a:cubicBezTo>
                  <a:cubicBezTo>
                    <a:pt x="55" y="0"/>
                    <a:pt x="56" y="1"/>
                    <a:pt x="56" y="2"/>
                  </a:cubicBezTo>
                  <a:cubicBezTo>
                    <a:pt x="56" y="13"/>
                    <a:pt x="56" y="13"/>
                    <a:pt x="56" y="13"/>
                  </a:cubicBezTo>
                  <a:cubicBezTo>
                    <a:pt x="59" y="14"/>
                    <a:pt x="63" y="15"/>
                    <a:pt x="65" y="17"/>
                  </a:cubicBezTo>
                  <a:cubicBezTo>
                    <a:pt x="73" y="8"/>
                    <a:pt x="73" y="8"/>
                    <a:pt x="73" y="8"/>
                  </a:cubicBezTo>
                  <a:cubicBezTo>
                    <a:pt x="74" y="8"/>
                    <a:pt x="75" y="8"/>
                    <a:pt x="76" y="8"/>
                  </a:cubicBezTo>
                  <a:cubicBezTo>
                    <a:pt x="88" y="20"/>
                    <a:pt x="88" y="20"/>
                    <a:pt x="88" y="20"/>
                  </a:cubicBezTo>
                  <a:cubicBezTo>
                    <a:pt x="88" y="20"/>
                    <a:pt x="88" y="21"/>
                    <a:pt x="88" y="21"/>
                  </a:cubicBezTo>
                  <a:cubicBezTo>
                    <a:pt x="88" y="22"/>
                    <a:pt x="88" y="22"/>
                    <a:pt x="88" y="23"/>
                  </a:cubicBezTo>
                  <a:cubicBezTo>
                    <a:pt x="79" y="31"/>
                    <a:pt x="79" y="31"/>
                    <a:pt x="79" y="31"/>
                  </a:cubicBezTo>
                  <a:cubicBezTo>
                    <a:pt x="81" y="33"/>
                    <a:pt x="82" y="37"/>
                    <a:pt x="83" y="40"/>
                  </a:cubicBezTo>
                  <a:cubicBezTo>
                    <a:pt x="94" y="40"/>
                    <a:pt x="94" y="40"/>
                    <a:pt x="94" y="40"/>
                  </a:cubicBezTo>
                  <a:cubicBezTo>
                    <a:pt x="95" y="40"/>
                    <a:pt x="96" y="41"/>
                    <a:pt x="96" y="42"/>
                  </a:cubicBezTo>
                  <a:cubicBezTo>
                    <a:pt x="96" y="54"/>
                    <a:pt x="96" y="54"/>
                    <a:pt x="96" y="54"/>
                  </a:cubicBezTo>
                  <a:cubicBezTo>
                    <a:pt x="96" y="55"/>
                    <a:pt x="95" y="56"/>
                    <a:pt x="94" y="56"/>
                  </a:cubicBezTo>
                  <a:cubicBezTo>
                    <a:pt x="83" y="56"/>
                    <a:pt x="83" y="56"/>
                    <a:pt x="83" y="56"/>
                  </a:cubicBezTo>
                  <a:cubicBezTo>
                    <a:pt x="82" y="59"/>
                    <a:pt x="81" y="63"/>
                    <a:pt x="79" y="65"/>
                  </a:cubicBezTo>
                  <a:cubicBezTo>
                    <a:pt x="88" y="73"/>
                    <a:pt x="88" y="73"/>
                    <a:pt x="88" y="73"/>
                  </a:cubicBezTo>
                  <a:cubicBezTo>
                    <a:pt x="88" y="74"/>
                    <a:pt x="88" y="76"/>
                    <a:pt x="88" y="76"/>
                  </a:cubicBezTo>
                  <a:cubicBezTo>
                    <a:pt x="76" y="88"/>
                    <a:pt x="76" y="88"/>
                    <a:pt x="76" y="88"/>
                  </a:cubicBezTo>
                  <a:cubicBezTo>
                    <a:pt x="76" y="88"/>
                    <a:pt x="74" y="88"/>
                    <a:pt x="73" y="88"/>
                  </a:cubicBezTo>
                  <a:cubicBezTo>
                    <a:pt x="64" y="78"/>
                    <a:pt x="64" y="78"/>
                    <a:pt x="64" y="78"/>
                  </a:cubicBezTo>
                  <a:cubicBezTo>
                    <a:pt x="63" y="78"/>
                    <a:pt x="63" y="76"/>
                    <a:pt x="64" y="76"/>
                  </a:cubicBezTo>
                  <a:cubicBezTo>
                    <a:pt x="65" y="75"/>
                    <a:pt x="66" y="75"/>
                    <a:pt x="67" y="76"/>
                  </a:cubicBezTo>
                  <a:cubicBezTo>
                    <a:pt x="75" y="83"/>
                    <a:pt x="75" y="83"/>
                    <a:pt x="75" y="83"/>
                  </a:cubicBezTo>
                  <a:cubicBezTo>
                    <a:pt x="83" y="75"/>
                    <a:pt x="83" y="75"/>
                    <a:pt x="83" y="75"/>
                  </a:cubicBezTo>
                  <a:cubicBezTo>
                    <a:pt x="76" y="67"/>
                    <a:pt x="76" y="67"/>
                    <a:pt x="76" y="67"/>
                  </a:cubicBezTo>
                  <a:cubicBezTo>
                    <a:pt x="75" y="66"/>
                    <a:pt x="75" y="65"/>
                    <a:pt x="75" y="65"/>
                  </a:cubicBezTo>
                  <a:cubicBezTo>
                    <a:pt x="77" y="62"/>
                    <a:pt x="79" y="56"/>
                    <a:pt x="79" y="54"/>
                  </a:cubicBezTo>
                  <a:cubicBezTo>
                    <a:pt x="79" y="53"/>
                    <a:pt x="80" y="52"/>
                    <a:pt x="81" y="52"/>
                  </a:cubicBezTo>
                  <a:cubicBezTo>
                    <a:pt x="92" y="52"/>
                    <a:pt x="92" y="52"/>
                    <a:pt x="92" y="52"/>
                  </a:cubicBezTo>
                  <a:cubicBezTo>
                    <a:pt x="92" y="44"/>
                    <a:pt x="92" y="44"/>
                    <a:pt x="92" y="44"/>
                  </a:cubicBezTo>
                  <a:cubicBezTo>
                    <a:pt x="81" y="44"/>
                    <a:pt x="81" y="44"/>
                    <a:pt x="81" y="44"/>
                  </a:cubicBezTo>
                  <a:cubicBezTo>
                    <a:pt x="80" y="44"/>
                    <a:pt x="79" y="43"/>
                    <a:pt x="79" y="42"/>
                  </a:cubicBezTo>
                  <a:cubicBezTo>
                    <a:pt x="79" y="40"/>
                    <a:pt x="77" y="34"/>
                    <a:pt x="75" y="31"/>
                  </a:cubicBezTo>
                  <a:cubicBezTo>
                    <a:pt x="75" y="31"/>
                    <a:pt x="75" y="30"/>
                    <a:pt x="76" y="29"/>
                  </a:cubicBezTo>
                  <a:cubicBezTo>
                    <a:pt x="83" y="21"/>
                    <a:pt x="83" y="21"/>
                    <a:pt x="83" y="21"/>
                  </a:cubicBezTo>
                  <a:cubicBezTo>
                    <a:pt x="75" y="13"/>
                    <a:pt x="75" y="13"/>
                    <a:pt x="75" y="13"/>
                  </a:cubicBezTo>
                  <a:cubicBezTo>
                    <a:pt x="67" y="20"/>
                    <a:pt x="67" y="20"/>
                    <a:pt x="67" y="20"/>
                  </a:cubicBezTo>
                  <a:cubicBezTo>
                    <a:pt x="66" y="21"/>
                    <a:pt x="65" y="21"/>
                    <a:pt x="65" y="21"/>
                  </a:cubicBezTo>
                  <a:cubicBezTo>
                    <a:pt x="62" y="19"/>
                    <a:pt x="57" y="18"/>
                    <a:pt x="54" y="17"/>
                  </a:cubicBezTo>
                  <a:cubicBezTo>
                    <a:pt x="53" y="17"/>
                    <a:pt x="52" y="16"/>
                    <a:pt x="52" y="15"/>
                  </a:cubicBezTo>
                  <a:cubicBezTo>
                    <a:pt x="52" y="4"/>
                    <a:pt x="52" y="4"/>
                    <a:pt x="52" y="4"/>
                  </a:cubicBezTo>
                  <a:cubicBezTo>
                    <a:pt x="44" y="4"/>
                    <a:pt x="44" y="4"/>
                    <a:pt x="44" y="4"/>
                  </a:cubicBezTo>
                  <a:cubicBezTo>
                    <a:pt x="44" y="15"/>
                    <a:pt x="44" y="15"/>
                    <a:pt x="44" y="15"/>
                  </a:cubicBezTo>
                  <a:cubicBezTo>
                    <a:pt x="44" y="16"/>
                    <a:pt x="43" y="17"/>
                    <a:pt x="42" y="17"/>
                  </a:cubicBezTo>
                  <a:cubicBezTo>
                    <a:pt x="39" y="18"/>
                    <a:pt x="34" y="19"/>
                    <a:pt x="31" y="21"/>
                  </a:cubicBezTo>
                  <a:cubicBezTo>
                    <a:pt x="31" y="21"/>
                    <a:pt x="30" y="21"/>
                    <a:pt x="29" y="20"/>
                  </a:cubicBezTo>
                  <a:cubicBezTo>
                    <a:pt x="21" y="13"/>
                    <a:pt x="21" y="13"/>
                    <a:pt x="21" y="13"/>
                  </a:cubicBezTo>
                  <a:cubicBezTo>
                    <a:pt x="13" y="21"/>
                    <a:pt x="13" y="21"/>
                    <a:pt x="13" y="21"/>
                  </a:cubicBezTo>
                  <a:cubicBezTo>
                    <a:pt x="20" y="29"/>
                    <a:pt x="20" y="29"/>
                    <a:pt x="20" y="29"/>
                  </a:cubicBezTo>
                  <a:cubicBezTo>
                    <a:pt x="21" y="30"/>
                    <a:pt x="21" y="31"/>
                    <a:pt x="21" y="31"/>
                  </a:cubicBezTo>
                  <a:cubicBezTo>
                    <a:pt x="19" y="34"/>
                    <a:pt x="17" y="40"/>
                    <a:pt x="17" y="42"/>
                  </a:cubicBezTo>
                  <a:cubicBezTo>
                    <a:pt x="17" y="43"/>
                    <a:pt x="16" y="44"/>
                    <a:pt x="15" y="44"/>
                  </a:cubicBezTo>
                  <a:cubicBezTo>
                    <a:pt x="4" y="44"/>
                    <a:pt x="4" y="44"/>
                    <a:pt x="4" y="44"/>
                  </a:cubicBezTo>
                  <a:cubicBezTo>
                    <a:pt x="4" y="52"/>
                    <a:pt x="4" y="52"/>
                    <a:pt x="4" y="52"/>
                  </a:cubicBezTo>
                  <a:cubicBezTo>
                    <a:pt x="15" y="52"/>
                    <a:pt x="15" y="52"/>
                    <a:pt x="15" y="52"/>
                  </a:cubicBezTo>
                  <a:cubicBezTo>
                    <a:pt x="16" y="52"/>
                    <a:pt x="17" y="53"/>
                    <a:pt x="17" y="54"/>
                  </a:cubicBezTo>
                  <a:cubicBezTo>
                    <a:pt x="17" y="56"/>
                    <a:pt x="19" y="62"/>
                    <a:pt x="21" y="65"/>
                  </a:cubicBezTo>
                  <a:cubicBezTo>
                    <a:pt x="21" y="65"/>
                    <a:pt x="21" y="66"/>
                    <a:pt x="20" y="67"/>
                  </a:cubicBezTo>
                  <a:cubicBezTo>
                    <a:pt x="13" y="75"/>
                    <a:pt x="13" y="75"/>
                    <a:pt x="13" y="75"/>
                  </a:cubicBezTo>
                  <a:cubicBezTo>
                    <a:pt x="21" y="83"/>
                    <a:pt x="21" y="83"/>
                    <a:pt x="21" y="83"/>
                  </a:cubicBezTo>
                  <a:cubicBezTo>
                    <a:pt x="29" y="76"/>
                    <a:pt x="29" y="76"/>
                    <a:pt x="29" y="76"/>
                  </a:cubicBezTo>
                  <a:cubicBezTo>
                    <a:pt x="30" y="75"/>
                    <a:pt x="31" y="75"/>
                    <a:pt x="32" y="76"/>
                  </a:cubicBezTo>
                  <a:cubicBezTo>
                    <a:pt x="33" y="76"/>
                    <a:pt x="33" y="78"/>
                    <a:pt x="32" y="78"/>
                  </a:cubicBezTo>
                  <a:cubicBezTo>
                    <a:pt x="23" y="88"/>
                    <a:pt x="23" y="88"/>
                    <a:pt x="23" y="88"/>
                  </a:cubicBezTo>
                  <a:cubicBezTo>
                    <a:pt x="22" y="88"/>
                    <a:pt x="22" y="88"/>
                    <a:pt x="2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677C7"/>
                </a:solidFill>
                <a:effectLst/>
                <a:uLnTx/>
                <a:uFillTx/>
                <a:latin typeface="Arial"/>
                <a:cs typeface="+mn-cs"/>
              </a:endParaRPr>
            </a:p>
          </p:txBody>
        </p:sp>
        <p:sp>
          <p:nvSpPr>
            <p:cNvPr id="67" name="Freeform 64">
              <a:extLst>
                <a:ext uri="{FF2B5EF4-FFF2-40B4-BE49-F238E27FC236}">
                  <a16:creationId xmlns:a16="http://schemas.microsoft.com/office/drawing/2014/main" id="{7AFF7815-9F58-4A02-835C-F877C131BCCC}"/>
                </a:ext>
              </a:extLst>
            </p:cNvPr>
            <p:cNvSpPr>
              <a:spLocks/>
            </p:cNvSpPr>
            <p:nvPr/>
          </p:nvSpPr>
          <p:spPr bwMode="auto">
            <a:xfrm>
              <a:off x="7869238" y="3549650"/>
              <a:ext cx="60325" cy="15875"/>
            </a:xfrm>
            <a:custGeom>
              <a:avLst/>
              <a:gdLst>
                <a:gd name="T0" fmla="*/ 14 w 16"/>
                <a:gd name="T1" fmla="*/ 4 h 4"/>
                <a:gd name="T2" fmla="*/ 2 w 16"/>
                <a:gd name="T3" fmla="*/ 4 h 4"/>
                <a:gd name="T4" fmla="*/ 0 w 16"/>
                <a:gd name="T5" fmla="*/ 2 h 4"/>
                <a:gd name="T6" fmla="*/ 2 w 16"/>
                <a:gd name="T7" fmla="*/ 0 h 4"/>
                <a:gd name="T8" fmla="*/ 14 w 16"/>
                <a:gd name="T9" fmla="*/ 0 h 4"/>
                <a:gd name="T10" fmla="*/ 16 w 16"/>
                <a:gd name="T11" fmla="*/ 2 h 4"/>
                <a:gd name="T12" fmla="*/ 14 w 16"/>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6" h="4">
                  <a:moveTo>
                    <a:pt x="14" y="4"/>
                  </a:moveTo>
                  <a:cubicBezTo>
                    <a:pt x="2" y="4"/>
                    <a:pt x="2" y="4"/>
                    <a:pt x="2" y="4"/>
                  </a:cubicBezTo>
                  <a:cubicBezTo>
                    <a:pt x="1" y="4"/>
                    <a:pt x="0" y="3"/>
                    <a:pt x="0" y="2"/>
                  </a:cubicBezTo>
                  <a:cubicBezTo>
                    <a:pt x="0" y="1"/>
                    <a:pt x="1" y="0"/>
                    <a:pt x="2" y="0"/>
                  </a:cubicBezTo>
                  <a:cubicBezTo>
                    <a:pt x="14" y="0"/>
                    <a:pt x="14" y="0"/>
                    <a:pt x="14" y="0"/>
                  </a:cubicBezTo>
                  <a:cubicBezTo>
                    <a:pt x="15" y="0"/>
                    <a:pt x="16" y="1"/>
                    <a:pt x="16" y="2"/>
                  </a:cubicBezTo>
                  <a:cubicBezTo>
                    <a:pt x="16" y="3"/>
                    <a:pt x="15" y="4"/>
                    <a:pt x="1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677C7"/>
                </a:solidFill>
                <a:effectLst/>
                <a:uLnTx/>
                <a:uFillTx/>
                <a:latin typeface="Arial"/>
                <a:cs typeface="+mn-cs"/>
              </a:endParaRPr>
            </a:p>
          </p:txBody>
        </p:sp>
        <p:sp>
          <p:nvSpPr>
            <p:cNvPr id="68" name="Freeform 65">
              <a:extLst>
                <a:ext uri="{FF2B5EF4-FFF2-40B4-BE49-F238E27FC236}">
                  <a16:creationId xmlns:a16="http://schemas.microsoft.com/office/drawing/2014/main" id="{5A3FDE01-B145-4B7B-858B-83CD158B4058}"/>
                </a:ext>
              </a:extLst>
            </p:cNvPr>
            <p:cNvSpPr>
              <a:spLocks/>
            </p:cNvSpPr>
            <p:nvPr/>
          </p:nvSpPr>
          <p:spPr bwMode="auto">
            <a:xfrm>
              <a:off x="7869238" y="3579813"/>
              <a:ext cx="60325" cy="30163"/>
            </a:xfrm>
            <a:custGeom>
              <a:avLst/>
              <a:gdLst>
                <a:gd name="T0" fmla="*/ 14 w 16"/>
                <a:gd name="T1" fmla="*/ 0 h 8"/>
                <a:gd name="T2" fmla="*/ 2 w 16"/>
                <a:gd name="T3" fmla="*/ 0 h 8"/>
                <a:gd name="T4" fmla="*/ 0 w 16"/>
                <a:gd name="T5" fmla="*/ 2 h 8"/>
                <a:gd name="T6" fmla="*/ 2 w 16"/>
                <a:gd name="T7" fmla="*/ 4 h 8"/>
                <a:gd name="T8" fmla="*/ 6 w 16"/>
                <a:gd name="T9" fmla="*/ 4 h 8"/>
                <a:gd name="T10" fmla="*/ 6 w 16"/>
                <a:gd name="T11" fmla="*/ 6 h 8"/>
                <a:gd name="T12" fmla="*/ 8 w 16"/>
                <a:gd name="T13" fmla="*/ 8 h 8"/>
                <a:gd name="T14" fmla="*/ 10 w 16"/>
                <a:gd name="T15" fmla="*/ 6 h 8"/>
                <a:gd name="T16" fmla="*/ 10 w 16"/>
                <a:gd name="T17" fmla="*/ 4 h 8"/>
                <a:gd name="T18" fmla="*/ 14 w 16"/>
                <a:gd name="T19" fmla="*/ 4 h 8"/>
                <a:gd name="T20" fmla="*/ 16 w 16"/>
                <a:gd name="T21" fmla="*/ 2 h 8"/>
                <a:gd name="T22" fmla="*/ 14 w 16"/>
                <a:gd name="T23"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8">
                  <a:moveTo>
                    <a:pt x="14" y="0"/>
                  </a:moveTo>
                  <a:cubicBezTo>
                    <a:pt x="2" y="0"/>
                    <a:pt x="2" y="0"/>
                    <a:pt x="2" y="0"/>
                  </a:cubicBezTo>
                  <a:cubicBezTo>
                    <a:pt x="1" y="0"/>
                    <a:pt x="0" y="1"/>
                    <a:pt x="0" y="2"/>
                  </a:cubicBezTo>
                  <a:cubicBezTo>
                    <a:pt x="0" y="3"/>
                    <a:pt x="1" y="4"/>
                    <a:pt x="2" y="4"/>
                  </a:cubicBezTo>
                  <a:cubicBezTo>
                    <a:pt x="6" y="4"/>
                    <a:pt x="6" y="4"/>
                    <a:pt x="6" y="4"/>
                  </a:cubicBezTo>
                  <a:cubicBezTo>
                    <a:pt x="6" y="6"/>
                    <a:pt x="6" y="6"/>
                    <a:pt x="6" y="6"/>
                  </a:cubicBezTo>
                  <a:cubicBezTo>
                    <a:pt x="6" y="7"/>
                    <a:pt x="7" y="8"/>
                    <a:pt x="8" y="8"/>
                  </a:cubicBezTo>
                  <a:cubicBezTo>
                    <a:pt x="9" y="8"/>
                    <a:pt x="10" y="7"/>
                    <a:pt x="10" y="6"/>
                  </a:cubicBezTo>
                  <a:cubicBezTo>
                    <a:pt x="10" y="4"/>
                    <a:pt x="10" y="4"/>
                    <a:pt x="10" y="4"/>
                  </a:cubicBezTo>
                  <a:cubicBezTo>
                    <a:pt x="14" y="4"/>
                    <a:pt x="14" y="4"/>
                    <a:pt x="14" y="4"/>
                  </a:cubicBezTo>
                  <a:cubicBezTo>
                    <a:pt x="15" y="4"/>
                    <a:pt x="16" y="3"/>
                    <a:pt x="16" y="2"/>
                  </a:cubicBezTo>
                  <a:cubicBezTo>
                    <a:pt x="16" y="1"/>
                    <a:pt x="15" y="0"/>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677C7"/>
                </a:solidFill>
                <a:effectLst/>
                <a:uLnTx/>
                <a:uFillTx/>
                <a:latin typeface="Arial"/>
                <a:cs typeface="+mn-cs"/>
              </a:endParaRPr>
            </a:p>
          </p:txBody>
        </p:sp>
        <p:sp>
          <p:nvSpPr>
            <p:cNvPr id="69" name="Freeform 66">
              <a:extLst>
                <a:ext uri="{FF2B5EF4-FFF2-40B4-BE49-F238E27FC236}">
                  <a16:creationId xmlns:a16="http://schemas.microsoft.com/office/drawing/2014/main" id="{000D4DA5-00E8-4D2B-B409-73B3699D5D7A}"/>
                </a:ext>
              </a:extLst>
            </p:cNvPr>
            <p:cNvSpPr>
              <a:spLocks/>
            </p:cNvSpPr>
            <p:nvPr/>
          </p:nvSpPr>
          <p:spPr bwMode="auto">
            <a:xfrm>
              <a:off x="7805738" y="3338513"/>
              <a:ext cx="187325" cy="196850"/>
            </a:xfrm>
            <a:custGeom>
              <a:avLst/>
              <a:gdLst>
                <a:gd name="T0" fmla="*/ 25 w 50"/>
                <a:gd name="T1" fmla="*/ 0 h 52"/>
                <a:gd name="T2" fmla="*/ 0 w 50"/>
                <a:gd name="T3" fmla="*/ 24 h 52"/>
                <a:gd name="T4" fmla="*/ 17 w 50"/>
                <a:gd name="T5" fmla="*/ 47 h 52"/>
                <a:gd name="T6" fmla="*/ 17 w 50"/>
                <a:gd name="T7" fmla="*/ 50 h 52"/>
                <a:gd name="T8" fmla="*/ 19 w 50"/>
                <a:gd name="T9" fmla="*/ 52 h 52"/>
                <a:gd name="T10" fmla="*/ 31 w 50"/>
                <a:gd name="T11" fmla="*/ 52 h 52"/>
                <a:gd name="T12" fmla="*/ 33 w 50"/>
                <a:gd name="T13" fmla="*/ 50 h 52"/>
                <a:gd name="T14" fmla="*/ 33 w 50"/>
                <a:gd name="T15" fmla="*/ 47 h 52"/>
                <a:gd name="T16" fmla="*/ 50 w 50"/>
                <a:gd name="T17" fmla="*/ 24 h 52"/>
                <a:gd name="T18" fmla="*/ 25 w 50"/>
                <a:gd name="T19"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52">
                  <a:moveTo>
                    <a:pt x="25" y="0"/>
                  </a:moveTo>
                  <a:cubicBezTo>
                    <a:pt x="11" y="0"/>
                    <a:pt x="0" y="11"/>
                    <a:pt x="0" y="24"/>
                  </a:cubicBezTo>
                  <a:cubicBezTo>
                    <a:pt x="0" y="34"/>
                    <a:pt x="7" y="43"/>
                    <a:pt x="17" y="47"/>
                  </a:cubicBezTo>
                  <a:cubicBezTo>
                    <a:pt x="17" y="50"/>
                    <a:pt x="17" y="50"/>
                    <a:pt x="17" y="50"/>
                  </a:cubicBezTo>
                  <a:cubicBezTo>
                    <a:pt x="17" y="51"/>
                    <a:pt x="18" y="52"/>
                    <a:pt x="19" y="52"/>
                  </a:cubicBezTo>
                  <a:cubicBezTo>
                    <a:pt x="31" y="52"/>
                    <a:pt x="31" y="52"/>
                    <a:pt x="31" y="52"/>
                  </a:cubicBezTo>
                  <a:cubicBezTo>
                    <a:pt x="32" y="52"/>
                    <a:pt x="33" y="51"/>
                    <a:pt x="33" y="50"/>
                  </a:cubicBezTo>
                  <a:cubicBezTo>
                    <a:pt x="33" y="47"/>
                    <a:pt x="33" y="47"/>
                    <a:pt x="33" y="47"/>
                  </a:cubicBezTo>
                  <a:cubicBezTo>
                    <a:pt x="43" y="43"/>
                    <a:pt x="50" y="34"/>
                    <a:pt x="50" y="24"/>
                  </a:cubicBezTo>
                  <a:cubicBezTo>
                    <a:pt x="50" y="11"/>
                    <a:pt x="39" y="0"/>
                    <a:pt x="2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677C7"/>
                </a:solidFill>
                <a:effectLst/>
                <a:uLnTx/>
                <a:uFillTx/>
                <a:latin typeface="Arial"/>
                <a:cs typeface="+mn-cs"/>
              </a:endParaRPr>
            </a:p>
          </p:txBody>
        </p:sp>
      </p:grpSp>
      <p:sp>
        <p:nvSpPr>
          <p:cNvPr id="70" name="Freeform 69">
            <a:extLst>
              <a:ext uri="{FF2B5EF4-FFF2-40B4-BE49-F238E27FC236}">
                <a16:creationId xmlns:a16="http://schemas.microsoft.com/office/drawing/2014/main" id="{BFAAE9A5-1B55-4CD7-8287-9FC2E8E2D10E}"/>
              </a:ext>
            </a:extLst>
          </p:cNvPr>
          <p:cNvSpPr>
            <a:spLocks noEditPoints="1"/>
          </p:cNvSpPr>
          <p:nvPr/>
        </p:nvSpPr>
        <p:spPr bwMode="auto">
          <a:xfrm>
            <a:off x="4080532" y="4693344"/>
            <a:ext cx="212812" cy="213738"/>
          </a:xfrm>
          <a:custGeom>
            <a:avLst/>
            <a:gdLst>
              <a:gd name="T0" fmla="*/ 83 w 97"/>
              <a:gd name="T1" fmla="*/ 41 h 97"/>
              <a:gd name="T2" fmla="*/ 79 w 97"/>
              <a:gd name="T3" fmla="*/ 31 h 97"/>
              <a:gd name="T4" fmla="*/ 94 w 97"/>
              <a:gd name="T5" fmla="*/ 2 h 97"/>
              <a:gd name="T6" fmla="*/ 71 w 97"/>
              <a:gd name="T7" fmla="*/ 21 h 97"/>
              <a:gd name="T8" fmla="*/ 56 w 97"/>
              <a:gd name="T9" fmla="*/ 14 h 97"/>
              <a:gd name="T10" fmla="*/ 54 w 97"/>
              <a:gd name="T11" fmla="*/ 1 h 97"/>
              <a:gd name="T12" fmla="*/ 40 w 97"/>
              <a:gd name="T13" fmla="*/ 3 h 97"/>
              <a:gd name="T14" fmla="*/ 31 w 97"/>
              <a:gd name="T15" fmla="*/ 18 h 97"/>
              <a:gd name="T16" fmla="*/ 20 w 97"/>
              <a:gd name="T17" fmla="*/ 9 h 97"/>
              <a:gd name="T18" fmla="*/ 8 w 97"/>
              <a:gd name="T19" fmla="*/ 22 h 97"/>
              <a:gd name="T20" fmla="*/ 17 w 97"/>
              <a:gd name="T21" fmla="*/ 32 h 97"/>
              <a:gd name="T22" fmla="*/ 2 w 97"/>
              <a:gd name="T23" fmla="*/ 41 h 97"/>
              <a:gd name="T24" fmla="*/ 0 w 97"/>
              <a:gd name="T25" fmla="*/ 55 h 97"/>
              <a:gd name="T26" fmla="*/ 13 w 97"/>
              <a:gd name="T27" fmla="*/ 57 h 97"/>
              <a:gd name="T28" fmla="*/ 8 w 97"/>
              <a:gd name="T29" fmla="*/ 74 h 97"/>
              <a:gd name="T30" fmla="*/ 8 w 97"/>
              <a:gd name="T31" fmla="*/ 77 h 97"/>
              <a:gd name="T32" fmla="*/ 23 w 97"/>
              <a:gd name="T33" fmla="*/ 89 h 97"/>
              <a:gd name="T34" fmla="*/ 40 w 97"/>
              <a:gd name="T35" fmla="*/ 84 h 97"/>
              <a:gd name="T36" fmla="*/ 42 w 97"/>
              <a:gd name="T37" fmla="*/ 97 h 97"/>
              <a:gd name="T38" fmla="*/ 56 w 97"/>
              <a:gd name="T39" fmla="*/ 95 h 97"/>
              <a:gd name="T40" fmla="*/ 65 w 97"/>
              <a:gd name="T41" fmla="*/ 80 h 97"/>
              <a:gd name="T42" fmla="*/ 76 w 97"/>
              <a:gd name="T43" fmla="*/ 89 h 97"/>
              <a:gd name="T44" fmla="*/ 88 w 97"/>
              <a:gd name="T45" fmla="*/ 74 h 97"/>
              <a:gd name="T46" fmla="*/ 83 w 97"/>
              <a:gd name="T47" fmla="*/ 57 h 97"/>
              <a:gd name="T48" fmla="*/ 96 w 97"/>
              <a:gd name="T49" fmla="*/ 55 h 97"/>
              <a:gd name="T50" fmla="*/ 94 w 97"/>
              <a:gd name="T51" fmla="*/ 41 h 97"/>
              <a:gd name="T52" fmla="*/ 49 w 97"/>
              <a:gd name="T53" fmla="*/ 60 h 97"/>
              <a:gd name="T54" fmla="*/ 48 w 97"/>
              <a:gd name="T55" fmla="*/ 60 h 97"/>
              <a:gd name="T56" fmla="*/ 30 w 97"/>
              <a:gd name="T57" fmla="*/ 39 h 97"/>
              <a:gd name="T58" fmla="*/ 49 w 97"/>
              <a:gd name="T59" fmla="*/ 56 h 97"/>
              <a:gd name="T60" fmla="*/ 91 w 97"/>
              <a:gd name="T61" fmla="*/ 5 h 97"/>
              <a:gd name="T62" fmla="*/ 51 w 97"/>
              <a:gd name="T63" fmla="*/ 6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7" h="97">
                <a:moveTo>
                  <a:pt x="94" y="41"/>
                </a:moveTo>
                <a:cubicBezTo>
                  <a:pt x="83" y="41"/>
                  <a:pt x="83" y="41"/>
                  <a:pt x="83" y="41"/>
                </a:cubicBezTo>
                <a:cubicBezTo>
                  <a:pt x="82" y="39"/>
                  <a:pt x="82" y="37"/>
                  <a:pt x="81" y="35"/>
                </a:cubicBezTo>
                <a:cubicBezTo>
                  <a:pt x="80" y="34"/>
                  <a:pt x="79" y="32"/>
                  <a:pt x="79" y="31"/>
                </a:cubicBezTo>
                <a:cubicBezTo>
                  <a:pt x="95" y="11"/>
                  <a:pt x="95" y="11"/>
                  <a:pt x="95" y="11"/>
                </a:cubicBezTo>
                <a:cubicBezTo>
                  <a:pt x="97" y="8"/>
                  <a:pt x="96" y="4"/>
                  <a:pt x="94" y="2"/>
                </a:cubicBezTo>
                <a:cubicBezTo>
                  <a:pt x="91" y="0"/>
                  <a:pt x="87" y="1"/>
                  <a:pt x="85" y="3"/>
                </a:cubicBezTo>
                <a:cubicBezTo>
                  <a:pt x="71" y="21"/>
                  <a:pt x="71" y="21"/>
                  <a:pt x="71" y="21"/>
                </a:cubicBezTo>
                <a:cubicBezTo>
                  <a:pt x="70" y="20"/>
                  <a:pt x="68" y="19"/>
                  <a:pt x="67" y="18"/>
                </a:cubicBezTo>
                <a:cubicBezTo>
                  <a:pt x="64" y="17"/>
                  <a:pt x="60" y="15"/>
                  <a:pt x="56" y="14"/>
                </a:cubicBezTo>
                <a:cubicBezTo>
                  <a:pt x="56" y="3"/>
                  <a:pt x="56" y="3"/>
                  <a:pt x="56" y="3"/>
                </a:cubicBezTo>
                <a:cubicBezTo>
                  <a:pt x="56" y="2"/>
                  <a:pt x="55" y="1"/>
                  <a:pt x="54" y="1"/>
                </a:cubicBezTo>
                <a:cubicBezTo>
                  <a:pt x="42" y="1"/>
                  <a:pt x="42" y="1"/>
                  <a:pt x="42" y="1"/>
                </a:cubicBezTo>
                <a:cubicBezTo>
                  <a:pt x="41" y="1"/>
                  <a:pt x="40" y="2"/>
                  <a:pt x="40" y="3"/>
                </a:cubicBezTo>
                <a:cubicBezTo>
                  <a:pt x="40" y="14"/>
                  <a:pt x="40" y="14"/>
                  <a:pt x="40" y="14"/>
                </a:cubicBezTo>
                <a:cubicBezTo>
                  <a:pt x="37" y="15"/>
                  <a:pt x="33" y="16"/>
                  <a:pt x="31" y="18"/>
                </a:cubicBezTo>
                <a:cubicBezTo>
                  <a:pt x="23" y="9"/>
                  <a:pt x="23" y="9"/>
                  <a:pt x="23" y="9"/>
                </a:cubicBezTo>
                <a:cubicBezTo>
                  <a:pt x="22" y="9"/>
                  <a:pt x="20" y="9"/>
                  <a:pt x="20" y="9"/>
                </a:cubicBezTo>
                <a:cubicBezTo>
                  <a:pt x="8" y="21"/>
                  <a:pt x="8" y="21"/>
                  <a:pt x="8" y="21"/>
                </a:cubicBezTo>
                <a:cubicBezTo>
                  <a:pt x="8" y="21"/>
                  <a:pt x="8" y="22"/>
                  <a:pt x="8" y="22"/>
                </a:cubicBezTo>
                <a:cubicBezTo>
                  <a:pt x="8" y="23"/>
                  <a:pt x="8" y="23"/>
                  <a:pt x="8" y="24"/>
                </a:cubicBezTo>
                <a:cubicBezTo>
                  <a:pt x="17" y="32"/>
                  <a:pt x="17" y="32"/>
                  <a:pt x="17" y="32"/>
                </a:cubicBezTo>
                <a:cubicBezTo>
                  <a:pt x="15" y="34"/>
                  <a:pt x="14" y="38"/>
                  <a:pt x="13" y="41"/>
                </a:cubicBezTo>
                <a:cubicBezTo>
                  <a:pt x="2" y="41"/>
                  <a:pt x="2" y="41"/>
                  <a:pt x="2" y="41"/>
                </a:cubicBezTo>
                <a:cubicBezTo>
                  <a:pt x="1" y="41"/>
                  <a:pt x="0" y="42"/>
                  <a:pt x="0" y="43"/>
                </a:cubicBezTo>
                <a:cubicBezTo>
                  <a:pt x="0" y="55"/>
                  <a:pt x="0" y="55"/>
                  <a:pt x="0" y="55"/>
                </a:cubicBezTo>
                <a:cubicBezTo>
                  <a:pt x="0" y="56"/>
                  <a:pt x="1" y="57"/>
                  <a:pt x="2" y="57"/>
                </a:cubicBezTo>
                <a:cubicBezTo>
                  <a:pt x="13" y="57"/>
                  <a:pt x="13" y="57"/>
                  <a:pt x="13" y="57"/>
                </a:cubicBezTo>
                <a:cubicBezTo>
                  <a:pt x="14" y="60"/>
                  <a:pt x="15" y="64"/>
                  <a:pt x="17" y="66"/>
                </a:cubicBezTo>
                <a:cubicBezTo>
                  <a:pt x="8" y="74"/>
                  <a:pt x="8" y="74"/>
                  <a:pt x="8" y="74"/>
                </a:cubicBezTo>
                <a:cubicBezTo>
                  <a:pt x="8" y="75"/>
                  <a:pt x="8" y="75"/>
                  <a:pt x="8" y="76"/>
                </a:cubicBezTo>
                <a:cubicBezTo>
                  <a:pt x="8" y="76"/>
                  <a:pt x="8" y="77"/>
                  <a:pt x="8" y="77"/>
                </a:cubicBezTo>
                <a:cubicBezTo>
                  <a:pt x="20" y="89"/>
                  <a:pt x="20" y="89"/>
                  <a:pt x="20" y="89"/>
                </a:cubicBezTo>
                <a:cubicBezTo>
                  <a:pt x="20" y="89"/>
                  <a:pt x="22" y="89"/>
                  <a:pt x="23" y="89"/>
                </a:cubicBezTo>
                <a:cubicBezTo>
                  <a:pt x="31" y="80"/>
                  <a:pt x="31" y="80"/>
                  <a:pt x="31" y="80"/>
                </a:cubicBezTo>
                <a:cubicBezTo>
                  <a:pt x="33" y="82"/>
                  <a:pt x="37" y="83"/>
                  <a:pt x="40" y="84"/>
                </a:cubicBezTo>
                <a:cubicBezTo>
                  <a:pt x="40" y="95"/>
                  <a:pt x="40" y="95"/>
                  <a:pt x="40" y="95"/>
                </a:cubicBezTo>
                <a:cubicBezTo>
                  <a:pt x="40" y="96"/>
                  <a:pt x="41" y="97"/>
                  <a:pt x="42" y="97"/>
                </a:cubicBezTo>
                <a:cubicBezTo>
                  <a:pt x="54" y="97"/>
                  <a:pt x="54" y="97"/>
                  <a:pt x="54" y="97"/>
                </a:cubicBezTo>
                <a:cubicBezTo>
                  <a:pt x="55" y="97"/>
                  <a:pt x="56" y="96"/>
                  <a:pt x="56" y="95"/>
                </a:cubicBezTo>
                <a:cubicBezTo>
                  <a:pt x="56" y="84"/>
                  <a:pt x="56" y="84"/>
                  <a:pt x="56" y="84"/>
                </a:cubicBezTo>
                <a:cubicBezTo>
                  <a:pt x="59" y="83"/>
                  <a:pt x="63" y="82"/>
                  <a:pt x="65" y="80"/>
                </a:cubicBezTo>
                <a:cubicBezTo>
                  <a:pt x="73" y="89"/>
                  <a:pt x="73" y="89"/>
                  <a:pt x="73" y="89"/>
                </a:cubicBezTo>
                <a:cubicBezTo>
                  <a:pt x="74" y="89"/>
                  <a:pt x="76" y="89"/>
                  <a:pt x="76" y="89"/>
                </a:cubicBezTo>
                <a:cubicBezTo>
                  <a:pt x="88" y="77"/>
                  <a:pt x="88" y="77"/>
                  <a:pt x="88" y="77"/>
                </a:cubicBezTo>
                <a:cubicBezTo>
                  <a:pt x="88" y="77"/>
                  <a:pt x="88" y="75"/>
                  <a:pt x="88" y="74"/>
                </a:cubicBezTo>
                <a:cubicBezTo>
                  <a:pt x="79" y="66"/>
                  <a:pt x="79" y="66"/>
                  <a:pt x="79" y="66"/>
                </a:cubicBezTo>
                <a:cubicBezTo>
                  <a:pt x="81" y="64"/>
                  <a:pt x="82" y="60"/>
                  <a:pt x="83" y="57"/>
                </a:cubicBezTo>
                <a:cubicBezTo>
                  <a:pt x="94" y="57"/>
                  <a:pt x="94" y="57"/>
                  <a:pt x="94" y="57"/>
                </a:cubicBezTo>
                <a:cubicBezTo>
                  <a:pt x="95" y="57"/>
                  <a:pt x="96" y="56"/>
                  <a:pt x="96" y="55"/>
                </a:cubicBezTo>
                <a:cubicBezTo>
                  <a:pt x="96" y="43"/>
                  <a:pt x="96" y="43"/>
                  <a:pt x="96" y="43"/>
                </a:cubicBezTo>
                <a:cubicBezTo>
                  <a:pt x="96" y="42"/>
                  <a:pt x="95" y="41"/>
                  <a:pt x="94" y="41"/>
                </a:cubicBezTo>
                <a:close/>
                <a:moveTo>
                  <a:pt x="51" y="60"/>
                </a:moveTo>
                <a:cubicBezTo>
                  <a:pt x="50" y="60"/>
                  <a:pt x="50" y="60"/>
                  <a:pt x="49" y="60"/>
                </a:cubicBezTo>
                <a:cubicBezTo>
                  <a:pt x="49" y="61"/>
                  <a:pt x="49" y="61"/>
                  <a:pt x="49" y="61"/>
                </a:cubicBezTo>
                <a:cubicBezTo>
                  <a:pt x="49" y="61"/>
                  <a:pt x="48" y="60"/>
                  <a:pt x="48" y="60"/>
                </a:cubicBezTo>
                <a:cubicBezTo>
                  <a:pt x="30" y="42"/>
                  <a:pt x="30" y="42"/>
                  <a:pt x="30" y="42"/>
                </a:cubicBezTo>
                <a:cubicBezTo>
                  <a:pt x="29" y="41"/>
                  <a:pt x="29" y="40"/>
                  <a:pt x="30" y="39"/>
                </a:cubicBezTo>
                <a:cubicBezTo>
                  <a:pt x="31" y="38"/>
                  <a:pt x="32" y="38"/>
                  <a:pt x="33" y="39"/>
                </a:cubicBezTo>
                <a:cubicBezTo>
                  <a:pt x="49" y="56"/>
                  <a:pt x="49" y="56"/>
                  <a:pt x="49" y="56"/>
                </a:cubicBezTo>
                <a:cubicBezTo>
                  <a:pt x="88" y="6"/>
                  <a:pt x="88" y="6"/>
                  <a:pt x="88" y="6"/>
                </a:cubicBezTo>
                <a:cubicBezTo>
                  <a:pt x="89" y="5"/>
                  <a:pt x="90" y="5"/>
                  <a:pt x="91" y="5"/>
                </a:cubicBezTo>
                <a:cubicBezTo>
                  <a:pt x="92" y="6"/>
                  <a:pt x="92" y="7"/>
                  <a:pt x="92" y="8"/>
                </a:cubicBezTo>
                <a:lnTo>
                  <a:pt x="51" y="60"/>
                </a:lnTo>
                <a:close/>
              </a:path>
            </a:pathLst>
          </a:custGeom>
          <a:solidFill>
            <a:srgbClr val="D9D9D9"/>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677C7"/>
              </a:solidFill>
              <a:effectLst/>
              <a:uLnTx/>
              <a:uFillTx/>
              <a:latin typeface="Arial"/>
              <a:cs typeface="+mn-cs"/>
            </a:endParaRPr>
          </a:p>
        </p:txBody>
      </p:sp>
      <p:grpSp>
        <p:nvGrpSpPr>
          <p:cNvPr id="71" name="Group 179">
            <a:extLst>
              <a:ext uri="{FF2B5EF4-FFF2-40B4-BE49-F238E27FC236}">
                <a16:creationId xmlns:a16="http://schemas.microsoft.com/office/drawing/2014/main" id="{431E096B-D81A-4F6E-B4CE-5BCD6ACA2E87}"/>
              </a:ext>
            </a:extLst>
          </p:cNvPr>
          <p:cNvGrpSpPr/>
          <p:nvPr/>
        </p:nvGrpSpPr>
        <p:grpSpPr>
          <a:xfrm flipH="1">
            <a:off x="3087155" y="3984160"/>
            <a:ext cx="202590" cy="194226"/>
            <a:chOff x="4119563" y="2901951"/>
            <a:chExt cx="346075" cy="331788"/>
          </a:xfrm>
          <a:solidFill>
            <a:srgbClr val="D9D9D9"/>
          </a:solidFill>
        </p:grpSpPr>
        <p:sp>
          <p:nvSpPr>
            <p:cNvPr id="72" name="Freeform 146">
              <a:extLst>
                <a:ext uri="{FF2B5EF4-FFF2-40B4-BE49-F238E27FC236}">
                  <a16:creationId xmlns:a16="http://schemas.microsoft.com/office/drawing/2014/main" id="{ADDE4C7D-6533-438E-BBB6-D76976BC4F29}"/>
                </a:ext>
              </a:extLst>
            </p:cNvPr>
            <p:cNvSpPr>
              <a:spLocks/>
            </p:cNvSpPr>
            <p:nvPr/>
          </p:nvSpPr>
          <p:spPr bwMode="auto">
            <a:xfrm>
              <a:off x="4360863" y="3052763"/>
              <a:ext cx="104775" cy="150813"/>
            </a:xfrm>
            <a:custGeom>
              <a:avLst/>
              <a:gdLst>
                <a:gd name="T0" fmla="*/ 17 w 28"/>
                <a:gd name="T1" fmla="*/ 22 h 40"/>
                <a:gd name="T2" fmla="*/ 22 w 28"/>
                <a:gd name="T3" fmla="*/ 12 h 40"/>
                <a:gd name="T4" fmla="*/ 10 w 28"/>
                <a:gd name="T5" fmla="*/ 0 h 40"/>
                <a:gd name="T6" fmla="*/ 2 w 28"/>
                <a:gd name="T7" fmla="*/ 3 h 40"/>
                <a:gd name="T8" fmla="*/ 2 w 28"/>
                <a:gd name="T9" fmla="*/ 8 h 40"/>
                <a:gd name="T10" fmla="*/ 0 w 28"/>
                <a:gd name="T11" fmla="*/ 18 h 40"/>
                <a:gd name="T12" fmla="*/ 3 w 28"/>
                <a:gd name="T13" fmla="*/ 22 h 40"/>
                <a:gd name="T14" fmla="*/ 0 w 28"/>
                <a:gd name="T15" fmla="*/ 23 h 40"/>
                <a:gd name="T16" fmla="*/ 10 w 28"/>
                <a:gd name="T17" fmla="*/ 40 h 40"/>
                <a:gd name="T18" fmla="*/ 26 w 28"/>
                <a:gd name="T19" fmla="*/ 40 h 40"/>
                <a:gd name="T20" fmla="*/ 28 w 28"/>
                <a:gd name="T21" fmla="*/ 38 h 40"/>
                <a:gd name="T22" fmla="*/ 17 w 28"/>
                <a:gd name="T23"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 h="40">
                  <a:moveTo>
                    <a:pt x="17" y="22"/>
                  </a:moveTo>
                  <a:cubicBezTo>
                    <a:pt x="20" y="19"/>
                    <a:pt x="22" y="16"/>
                    <a:pt x="22" y="12"/>
                  </a:cubicBezTo>
                  <a:cubicBezTo>
                    <a:pt x="22" y="5"/>
                    <a:pt x="17" y="0"/>
                    <a:pt x="10" y="0"/>
                  </a:cubicBezTo>
                  <a:cubicBezTo>
                    <a:pt x="7" y="0"/>
                    <a:pt x="4" y="1"/>
                    <a:pt x="2" y="3"/>
                  </a:cubicBezTo>
                  <a:cubicBezTo>
                    <a:pt x="2" y="5"/>
                    <a:pt x="2" y="7"/>
                    <a:pt x="2" y="8"/>
                  </a:cubicBezTo>
                  <a:cubicBezTo>
                    <a:pt x="2" y="12"/>
                    <a:pt x="1" y="15"/>
                    <a:pt x="0" y="18"/>
                  </a:cubicBezTo>
                  <a:cubicBezTo>
                    <a:pt x="1" y="19"/>
                    <a:pt x="2" y="21"/>
                    <a:pt x="3" y="22"/>
                  </a:cubicBezTo>
                  <a:cubicBezTo>
                    <a:pt x="2" y="22"/>
                    <a:pt x="1" y="23"/>
                    <a:pt x="0" y="23"/>
                  </a:cubicBezTo>
                  <a:cubicBezTo>
                    <a:pt x="5" y="27"/>
                    <a:pt x="9" y="33"/>
                    <a:pt x="10" y="40"/>
                  </a:cubicBezTo>
                  <a:cubicBezTo>
                    <a:pt x="26" y="40"/>
                    <a:pt x="26" y="40"/>
                    <a:pt x="26" y="40"/>
                  </a:cubicBezTo>
                  <a:cubicBezTo>
                    <a:pt x="27" y="40"/>
                    <a:pt x="28" y="39"/>
                    <a:pt x="28" y="38"/>
                  </a:cubicBezTo>
                  <a:cubicBezTo>
                    <a:pt x="28" y="31"/>
                    <a:pt x="24" y="24"/>
                    <a:pt x="17"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677C7"/>
                </a:solidFill>
                <a:effectLst/>
                <a:uLnTx/>
                <a:uFillTx/>
                <a:latin typeface="Arial"/>
                <a:cs typeface="+mn-cs"/>
              </a:endParaRPr>
            </a:p>
          </p:txBody>
        </p:sp>
        <p:sp>
          <p:nvSpPr>
            <p:cNvPr id="73" name="Freeform 147">
              <a:extLst>
                <a:ext uri="{FF2B5EF4-FFF2-40B4-BE49-F238E27FC236}">
                  <a16:creationId xmlns:a16="http://schemas.microsoft.com/office/drawing/2014/main" id="{9E5ED7E4-2CD7-4D44-828B-5EB767BE1A73}"/>
                </a:ext>
              </a:extLst>
            </p:cNvPr>
            <p:cNvSpPr>
              <a:spLocks/>
            </p:cNvSpPr>
            <p:nvPr/>
          </p:nvSpPr>
          <p:spPr bwMode="auto">
            <a:xfrm>
              <a:off x="4119563" y="3052763"/>
              <a:ext cx="106363" cy="150813"/>
            </a:xfrm>
            <a:custGeom>
              <a:avLst/>
              <a:gdLst>
                <a:gd name="T0" fmla="*/ 28 w 28"/>
                <a:gd name="T1" fmla="*/ 23 h 40"/>
                <a:gd name="T2" fmla="*/ 25 w 28"/>
                <a:gd name="T3" fmla="*/ 22 h 40"/>
                <a:gd name="T4" fmla="*/ 28 w 28"/>
                <a:gd name="T5" fmla="*/ 18 h 40"/>
                <a:gd name="T6" fmla="*/ 26 w 28"/>
                <a:gd name="T7" fmla="*/ 8 h 40"/>
                <a:gd name="T8" fmla="*/ 26 w 28"/>
                <a:gd name="T9" fmla="*/ 3 h 40"/>
                <a:gd name="T10" fmla="*/ 18 w 28"/>
                <a:gd name="T11" fmla="*/ 0 h 40"/>
                <a:gd name="T12" fmla="*/ 6 w 28"/>
                <a:gd name="T13" fmla="*/ 12 h 40"/>
                <a:gd name="T14" fmla="*/ 11 w 28"/>
                <a:gd name="T15" fmla="*/ 22 h 40"/>
                <a:gd name="T16" fmla="*/ 0 w 28"/>
                <a:gd name="T17" fmla="*/ 38 h 40"/>
                <a:gd name="T18" fmla="*/ 2 w 28"/>
                <a:gd name="T19" fmla="*/ 40 h 40"/>
                <a:gd name="T20" fmla="*/ 18 w 28"/>
                <a:gd name="T21" fmla="*/ 40 h 40"/>
                <a:gd name="T22" fmla="*/ 28 w 28"/>
                <a:gd name="T23" fmla="*/ 2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 h="40">
                  <a:moveTo>
                    <a:pt x="28" y="23"/>
                  </a:moveTo>
                  <a:cubicBezTo>
                    <a:pt x="27" y="23"/>
                    <a:pt x="26" y="22"/>
                    <a:pt x="25" y="22"/>
                  </a:cubicBezTo>
                  <a:cubicBezTo>
                    <a:pt x="26" y="21"/>
                    <a:pt x="27" y="19"/>
                    <a:pt x="28" y="18"/>
                  </a:cubicBezTo>
                  <a:cubicBezTo>
                    <a:pt x="27" y="15"/>
                    <a:pt x="26" y="12"/>
                    <a:pt x="26" y="8"/>
                  </a:cubicBezTo>
                  <a:cubicBezTo>
                    <a:pt x="26" y="7"/>
                    <a:pt x="26" y="5"/>
                    <a:pt x="26" y="3"/>
                  </a:cubicBezTo>
                  <a:cubicBezTo>
                    <a:pt x="24" y="1"/>
                    <a:pt x="21" y="0"/>
                    <a:pt x="18" y="0"/>
                  </a:cubicBezTo>
                  <a:cubicBezTo>
                    <a:pt x="11" y="0"/>
                    <a:pt x="6" y="5"/>
                    <a:pt x="6" y="12"/>
                  </a:cubicBezTo>
                  <a:cubicBezTo>
                    <a:pt x="6" y="16"/>
                    <a:pt x="8" y="19"/>
                    <a:pt x="11" y="22"/>
                  </a:cubicBezTo>
                  <a:cubicBezTo>
                    <a:pt x="4" y="24"/>
                    <a:pt x="0" y="31"/>
                    <a:pt x="0" y="38"/>
                  </a:cubicBezTo>
                  <a:cubicBezTo>
                    <a:pt x="0" y="39"/>
                    <a:pt x="1" y="40"/>
                    <a:pt x="2" y="40"/>
                  </a:cubicBezTo>
                  <a:cubicBezTo>
                    <a:pt x="18" y="40"/>
                    <a:pt x="18" y="40"/>
                    <a:pt x="18" y="40"/>
                  </a:cubicBezTo>
                  <a:cubicBezTo>
                    <a:pt x="19" y="33"/>
                    <a:pt x="23" y="27"/>
                    <a:pt x="28"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677C7"/>
                </a:solidFill>
                <a:effectLst/>
                <a:uLnTx/>
                <a:uFillTx/>
                <a:latin typeface="Arial"/>
                <a:cs typeface="+mn-cs"/>
              </a:endParaRPr>
            </a:p>
          </p:txBody>
        </p:sp>
        <p:sp>
          <p:nvSpPr>
            <p:cNvPr id="74" name="Freeform 148">
              <a:extLst>
                <a:ext uri="{FF2B5EF4-FFF2-40B4-BE49-F238E27FC236}">
                  <a16:creationId xmlns:a16="http://schemas.microsoft.com/office/drawing/2014/main" id="{05F28AF0-6457-423B-9979-08B3ECF70C8D}"/>
                </a:ext>
              </a:extLst>
            </p:cNvPr>
            <p:cNvSpPr>
              <a:spLocks/>
            </p:cNvSpPr>
            <p:nvPr/>
          </p:nvSpPr>
          <p:spPr bwMode="auto">
            <a:xfrm>
              <a:off x="4206875" y="2978151"/>
              <a:ext cx="173038" cy="52388"/>
            </a:xfrm>
            <a:custGeom>
              <a:avLst/>
              <a:gdLst>
                <a:gd name="T0" fmla="*/ 2 w 46"/>
                <a:gd name="T1" fmla="*/ 14 h 14"/>
                <a:gd name="T2" fmla="*/ 1 w 46"/>
                <a:gd name="T3" fmla="*/ 14 h 14"/>
                <a:gd name="T4" fmla="*/ 1 w 46"/>
                <a:gd name="T5" fmla="*/ 11 h 14"/>
                <a:gd name="T6" fmla="*/ 23 w 46"/>
                <a:gd name="T7" fmla="*/ 0 h 14"/>
                <a:gd name="T8" fmla="*/ 45 w 46"/>
                <a:gd name="T9" fmla="*/ 11 h 14"/>
                <a:gd name="T10" fmla="*/ 45 w 46"/>
                <a:gd name="T11" fmla="*/ 14 h 14"/>
                <a:gd name="T12" fmla="*/ 42 w 46"/>
                <a:gd name="T13" fmla="*/ 13 h 14"/>
                <a:gd name="T14" fmla="*/ 23 w 46"/>
                <a:gd name="T15" fmla="*/ 4 h 14"/>
                <a:gd name="T16" fmla="*/ 4 w 46"/>
                <a:gd name="T17" fmla="*/ 13 h 14"/>
                <a:gd name="T18" fmla="*/ 2 w 46"/>
                <a:gd name="T19"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6" h="14">
                  <a:moveTo>
                    <a:pt x="2" y="14"/>
                  </a:moveTo>
                  <a:cubicBezTo>
                    <a:pt x="2" y="14"/>
                    <a:pt x="2" y="14"/>
                    <a:pt x="1" y="14"/>
                  </a:cubicBezTo>
                  <a:cubicBezTo>
                    <a:pt x="0" y="13"/>
                    <a:pt x="0" y="12"/>
                    <a:pt x="1" y="11"/>
                  </a:cubicBezTo>
                  <a:cubicBezTo>
                    <a:pt x="6" y="4"/>
                    <a:pt x="14" y="0"/>
                    <a:pt x="23" y="0"/>
                  </a:cubicBezTo>
                  <a:cubicBezTo>
                    <a:pt x="32" y="0"/>
                    <a:pt x="40" y="4"/>
                    <a:pt x="45" y="11"/>
                  </a:cubicBezTo>
                  <a:cubicBezTo>
                    <a:pt x="46" y="12"/>
                    <a:pt x="46" y="13"/>
                    <a:pt x="45" y="14"/>
                  </a:cubicBezTo>
                  <a:cubicBezTo>
                    <a:pt x="44" y="14"/>
                    <a:pt x="43" y="14"/>
                    <a:pt x="42" y="13"/>
                  </a:cubicBezTo>
                  <a:cubicBezTo>
                    <a:pt x="37" y="7"/>
                    <a:pt x="30" y="4"/>
                    <a:pt x="23" y="4"/>
                  </a:cubicBezTo>
                  <a:cubicBezTo>
                    <a:pt x="16" y="4"/>
                    <a:pt x="9" y="7"/>
                    <a:pt x="4" y="13"/>
                  </a:cubicBezTo>
                  <a:cubicBezTo>
                    <a:pt x="4" y="14"/>
                    <a:pt x="3" y="14"/>
                    <a:pt x="2"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677C7"/>
                </a:solidFill>
                <a:effectLst/>
                <a:uLnTx/>
                <a:uFillTx/>
                <a:latin typeface="Arial"/>
                <a:cs typeface="+mn-cs"/>
              </a:endParaRPr>
            </a:p>
          </p:txBody>
        </p:sp>
        <p:sp>
          <p:nvSpPr>
            <p:cNvPr id="75" name="Freeform 149">
              <a:extLst>
                <a:ext uri="{FF2B5EF4-FFF2-40B4-BE49-F238E27FC236}">
                  <a16:creationId xmlns:a16="http://schemas.microsoft.com/office/drawing/2014/main" id="{D424C4B9-58E4-4A1E-AB0F-747C70CB5A31}"/>
                </a:ext>
              </a:extLst>
            </p:cNvPr>
            <p:cNvSpPr>
              <a:spLocks/>
            </p:cNvSpPr>
            <p:nvPr/>
          </p:nvSpPr>
          <p:spPr bwMode="auto">
            <a:xfrm>
              <a:off x="4179888" y="2940051"/>
              <a:ext cx="225425" cy="68263"/>
            </a:xfrm>
            <a:custGeom>
              <a:avLst/>
              <a:gdLst>
                <a:gd name="T0" fmla="*/ 2 w 60"/>
                <a:gd name="T1" fmla="*/ 17 h 18"/>
                <a:gd name="T2" fmla="*/ 1 w 60"/>
                <a:gd name="T3" fmla="*/ 17 h 18"/>
                <a:gd name="T4" fmla="*/ 0 w 60"/>
                <a:gd name="T5" fmla="*/ 14 h 18"/>
                <a:gd name="T6" fmla="*/ 30 w 60"/>
                <a:gd name="T7" fmla="*/ 0 h 18"/>
                <a:gd name="T8" fmla="*/ 60 w 60"/>
                <a:gd name="T9" fmla="*/ 14 h 18"/>
                <a:gd name="T10" fmla="*/ 59 w 60"/>
                <a:gd name="T11" fmla="*/ 17 h 18"/>
                <a:gd name="T12" fmla="*/ 56 w 60"/>
                <a:gd name="T13" fmla="*/ 17 h 18"/>
                <a:gd name="T14" fmla="*/ 30 w 60"/>
                <a:gd name="T15" fmla="*/ 4 h 18"/>
                <a:gd name="T16" fmla="*/ 4 w 60"/>
                <a:gd name="T17" fmla="*/ 17 h 18"/>
                <a:gd name="T18" fmla="*/ 2 w 60"/>
                <a:gd name="T19" fmla="*/ 17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18">
                  <a:moveTo>
                    <a:pt x="2" y="17"/>
                  </a:moveTo>
                  <a:cubicBezTo>
                    <a:pt x="2" y="17"/>
                    <a:pt x="1" y="17"/>
                    <a:pt x="1" y="17"/>
                  </a:cubicBezTo>
                  <a:cubicBezTo>
                    <a:pt x="0" y="16"/>
                    <a:pt x="0" y="15"/>
                    <a:pt x="0" y="14"/>
                  </a:cubicBezTo>
                  <a:cubicBezTo>
                    <a:pt x="8" y="5"/>
                    <a:pt x="18" y="0"/>
                    <a:pt x="30" y="0"/>
                  </a:cubicBezTo>
                  <a:cubicBezTo>
                    <a:pt x="42" y="0"/>
                    <a:pt x="52" y="5"/>
                    <a:pt x="60" y="14"/>
                  </a:cubicBezTo>
                  <a:cubicBezTo>
                    <a:pt x="60" y="15"/>
                    <a:pt x="60" y="16"/>
                    <a:pt x="59" y="17"/>
                  </a:cubicBezTo>
                  <a:cubicBezTo>
                    <a:pt x="58" y="18"/>
                    <a:pt x="57" y="17"/>
                    <a:pt x="56" y="17"/>
                  </a:cubicBezTo>
                  <a:cubicBezTo>
                    <a:pt x="50" y="9"/>
                    <a:pt x="40" y="4"/>
                    <a:pt x="30" y="4"/>
                  </a:cubicBezTo>
                  <a:cubicBezTo>
                    <a:pt x="20" y="4"/>
                    <a:pt x="10" y="9"/>
                    <a:pt x="4" y="17"/>
                  </a:cubicBezTo>
                  <a:cubicBezTo>
                    <a:pt x="3" y="17"/>
                    <a:pt x="3" y="17"/>
                    <a:pt x="2"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677C7"/>
                </a:solidFill>
                <a:effectLst/>
                <a:uLnTx/>
                <a:uFillTx/>
                <a:latin typeface="Arial"/>
                <a:cs typeface="+mn-cs"/>
              </a:endParaRPr>
            </a:p>
          </p:txBody>
        </p:sp>
        <p:sp>
          <p:nvSpPr>
            <p:cNvPr id="76" name="Freeform 150">
              <a:extLst>
                <a:ext uri="{FF2B5EF4-FFF2-40B4-BE49-F238E27FC236}">
                  <a16:creationId xmlns:a16="http://schemas.microsoft.com/office/drawing/2014/main" id="{6DED3D09-DDAD-4A14-87E0-78D24D605C75}"/>
                </a:ext>
              </a:extLst>
            </p:cNvPr>
            <p:cNvSpPr>
              <a:spLocks/>
            </p:cNvSpPr>
            <p:nvPr/>
          </p:nvSpPr>
          <p:spPr bwMode="auto">
            <a:xfrm>
              <a:off x="4149725" y="2901951"/>
              <a:ext cx="285750" cy="84138"/>
            </a:xfrm>
            <a:custGeom>
              <a:avLst/>
              <a:gdLst>
                <a:gd name="T0" fmla="*/ 74 w 76"/>
                <a:gd name="T1" fmla="*/ 21 h 22"/>
                <a:gd name="T2" fmla="*/ 73 w 76"/>
                <a:gd name="T3" fmla="*/ 21 h 22"/>
                <a:gd name="T4" fmla="*/ 38 w 76"/>
                <a:gd name="T5" fmla="*/ 4 h 22"/>
                <a:gd name="T6" fmla="*/ 4 w 76"/>
                <a:gd name="T7" fmla="*/ 21 h 22"/>
                <a:gd name="T8" fmla="*/ 1 w 76"/>
                <a:gd name="T9" fmla="*/ 21 h 22"/>
                <a:gd name="T10" fmla="*/ 0 w 76"/>
                <a:gd name="T11" fmla="*/ 18 h 22"/>
                <a:gd name="T12" fmla="*/ 38 w 76"/>
                <a:gd name="T13" fmla="*/ 0 h 22"/>
                <a:gd name="T14" fmla="*/ 76 w 76"/>
                <a:gd name="T15" fmla="*/ 18 h 22"/>
                <a:gd name="T16" fmla="*/ 75 w 76"/>
                <a:gd name="T17" fmla="*/ 21 h 22"/>
                <a:gd name="T18" fmla="*/ 74 w 76"/>
                <a:gd name="T19" fmla="*/ 21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6" h="22">
                  <a:moveTo>
                    <a:pt x="74" y="21"/>
                  </a:moveTo>
                  <a:cubicBezTo>
                    <a:pt x="73" y="21"/>
                    <a:pt x="73" y="21"/>
                    <a:pt x="73" y="21"/>
                  </a:cubicBezTo>
                  <a:cubicBezTo>
                    <a:pt x="64" y="10"/>
                    <a:pt x="52" y="4"/>
                    <a:pt x="38" y="4"/>
                  </a:cubicBezTo>
                  <a:cubicBezTo>
                    <a:pt x="24" y="4"/>
                    <a:pt x="12" y="10"/>
                    <a:pt x="4" y="21"/>
                  </a:cubicBezTo>
                  <a:cubicBezTo>
                    <a:pt x="3" y="21"/>
                    <a:pt x="2" y="22"/>
                    <a:pt x="1" y="21"/>
                  </a:cubicBezTo>
                  <a:cubicBezTo>
                    <a:pt x="0" y="20"/>
                    <a:pt x="0" y="19"/>
                    <a:pt x="0" y="18"/>
                  </a:cubicBezTo>
                  <a:cubicBezTo>
                    <a:pt x="10" y="7"/>
                    <a:pt x="23" y="0"/>
                    <a:pt x="38" y="0"/>
                  </a:cubicBezTo>
                  <a:cubicBezTo>
                    <a:pt x="53" y="0"/>
                    <a:pt x="66" y="7"/>
                    <a:pt x="76" y="18"/>
                  </a:cubicBezTo>
                  <a:cubicBezTo>
                    <a:pt x="76" y="19"/>
                    <a:pt x="76" y="20"/>
                    <a:pt x="75" y="21"/>
                  </a:cubicBezTo>
                  <a:cubicBezTo>
                    <a:pt x="75" y="21"/>
                    <a:pt x="75" y="21"/>
                    <a:pt x="74"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677C7"/>
                </a:solidFill>
                <a:effectLst/>
                <a:uLnTx/>
                <a:uFillTx/>
                <a:latin typeface="Arial"/>
                <a:cs typeface="+mn-cs"/>
              </a:endParaRPr>
            </a:p>
          </p:txBody>
        </p:sp>
        <p:sp>
          <p:nvSpPr>
            <p:cNvPr id="77" name="Freeform 151">
              <a:extLst>
                <a:ext uri="{FF2B5EF4-FFF2-40B4-BE49-F238E27FC236}">
                  <a16:creationId xmlns:a16="http://schemas.microsoft.com/office/drawing/2014/main" id="{8757371E-A80D-4BCB-B7CB-EE1DE4EC4B6A}"/>
                </a:ext>
              </a:extLst>
            </p:cNvPr>
            <p:cNvSpPr>
              <a:spLocks/>
            </p:cNvSpPr>
            <p:nvPr/>
          </p:nvSpPr>
          <p:spPr bwMode="auto">
            <a:xfrm>
              <a:off x="4198938" y="3022601"/>
              <a:ext cx="187325" cy="211138"/>
            </a:xfrm>
            <a:custGeom>
              <a:avLst/>
              <a:gdLst>
                <a:gd name="T0" fmla="*/ 50 w 50"/>
                <a:gd name="T1" fmla="*/ 53 h 56"/>
                <a:gd name="T2" fmla="*/ 34 w 50"/>
                <a:gd name="T3" fmla="*/ 30 h 56"/>
                <a:gd name="T4" fmla="*/ 41 w 50"/>
                <a:gd name="T5" fmla="*/ 16 h 56"/>
                <a:gd name="T6" fmla="*/ 25 w 50"/>
                <a:gd name="T7" fmla="*/ 0 h 56"/>
                <a:gd name="T8" fmla="*/ 9 w 50"/>
                <a:gd name="T9" fmla="*/ 16 h 56"/>
                <a:gd name="T10" fmla="*/ 16 w 50"/>
                <a:gd name="T11" fmla="*/ 30 h 56"/>
                <a:gd name="T12" fmla="*/ 0 w 50"/>
                <a:gd name="T13" fmla="*/ 54 h 56"/>
                <a:gd name="T14" fmla="*/ 2 w 50"/>
                <a:gd name="T15" fmla="*/ 56 h 56"/>
                <a:gd name="T16" fmla="*/ 48 w 50"/>
                <a:gd name="T17" fmla="*/ 56 h 56"/>
                <a:gd name="T18" fmla="*/ 48 w 50"/>
                <a:gd name="T19" fmla="*/ 56 h 56"/>
                <a:gd name="T20" fmla="*/ 50 w 50"/>
                <a:gd name="T21" fmla="*/ 54 h 56"/>
                <a:gd name="T22" fmla="*/ 50 w 50"/>
                <a:gd name="T23" fmla="*/ 53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 h="56">
                  <a:moveTo>
                    <a:pt x="50" y="53"/>
                  </a:moveTo>
                  <a:cubicBezTo>
                    <a:pt x="50" y="43"/>
                    <a:pt x="43" y="34"/>
                    <a:pt x="34" y="30"/>
                  </a:cubicBezTo>
                  <a:cubicBezTo>
                    <a:pt x="38" y="28"/>
                    <a:pt x="41" y="22"/>
                    <a:pt x="41" y="16"/>
                  </a:cubicBezTo>
                  <a:cubicBezTo>
                    <a:pt x="41" y="7"/>
                    <a:pt x="34" y="0"/>
                    <a:pt x="25" y="0"/>
                  </a:cubicBezTo>
                  <a:cubicBezTo>
                    <a:pt x="16" y="0"/>
                    <a:pt x="9" y="7"/>
                    <a:pt x="9" y="16"/>
                  </a:cubicBezTo>
                  <a:cubicBezTo>
                    <a:pt x="9" y="22"/>
                    <a:pt x="12" y="28"/>
                    <a:pt x="16" y="30"/>
                  </a:cubicBezTo>
                  <a:cubicBezTo>
                    <a:pt x="7" y="34"/>
                    <a:pt x="0" y="43"/>
                    <a:pt x="0" y="54"/>
                  </a:cubicBezTo>
                  <a:cubicBezTo>
                    <a:pt x="0" y="55"/>
                    <a:pt x="1" y="56"/>
                    <a:pt x="2" y="56"/>
                  </a:cubicBezTo>
                  <a:cubicBezTo>
                    <a:pt x="48" y="56"/>
                    <a:pt x="48" y="56"/>
                    <a:pt x="48" y="56"/>
                  </a:cubicBezTo>
                  <a:cubicBezTo>
                    <a:pt x="48" y="56"/>
                    <a:pt x="48" y="56"/>
                    <a:pt x="48" y="56"/>
                  </a:cubicBezTo>
                  <a:cubicBezTo>
                    <a:pt x="49" y="56"/>
                    <a:pt x="50" y="55"/>
                    <a:pt x="50" y="54"/>
                  </a:cubicBezTo>
                  <a:cubicBezTo>
                    <a:pt x="50" y="54"/>
                    <a:pt x="50" y="54"/>
                    <a:pt x="50" y="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677C7"/>
                </a:solidFill>
                <a:effectLst/>
                <a:uLnTx/>
                <a:uFillTx/>
                <a:latin typeface="Arial"/>
                <a:cs typeface="+mn-cs"/>
              </a:endParaRPr>
            </a:p>
          </p:txBody>
        </p:sp>
      </p:grpSp>
      <p:grpSp>
        <p:nvGrpSpPr>
          <p:cNvPr id="78" name="Group 186">
            <a:extLst>
              <a:ext uri="{FF2B5EF4-FFF2-40B4-BE49-F238E27FC236}">
                <a16:creationId xmlns:a16="http://schemas.microsoft.com/office/drawing/2014/main" id="{FA0B17AA-9B80-4772-B831-FFEC14B446CB}"/>
              </a:ext>
            </a:extLst>
          </p:cNvPr>
          <p:cNvGrpSpPr/>
          <p:nvPr/>
        </p:nvGrpSpPr>
        <p:grpSpPr>
          <a:xfrm flipH="1">
            <a:off x="3091020" y="2729382"/>
            <a:ext cx="207236" cy="210952"/>
            <a:chOff x="8447088" y="3609976"/>
            <a:chExt cx="354013" cy="360362"/>
          </a:xfrm>
          <a:solidFill>
            <a:srgbClr val="D9D9D9"/>
          </a:solidFill>
        </p:grpSpPr>
        <p:sp>
          <p:nvSpPr>
            <p:cNvPr id="79" name="Oval 161">
              <a:extLst>
                <a:ext uri="{FF2B5EF4-FFF2-40B4-BE49-F238E27FC236}">
                  <a16:creationId xmlns:a16="http://schemas.microsoft.com/office/drawing/2014/main" id="{8977BF55-8EA1-4EC1-A3F9-5D7C018A3D3A}"/>
                </a:ext>
              </a:extLst>
            </p:cNvPr>
            <p:cNvSpPr>
              <a:spLocks noChangeArrowheads="1"/>
            </p:cNvSpPr>
            <p:nvPr/>
          </p:nvSpPr>
          <p:spPr bwMode="auto">
            <a:xfrm>
              <a:off x="8477250" y="3609976"/>
              <a:ext cx="120650"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677C7"/>
                </a:solidFill>
                <a:effectLst/>
                <a:uLnTx/>
                <a:uFillTx/>
                <a:latin typeface="Arial"/>
                <a:cs typeface="+mn-cs"/>
              </a:endParaRPr>
            </a:p>
          </p:txBody>
        </p:sp>
        <p:sp>
          <p:nvSpPr>
            <p:cNvPr id="80" name="Freeform 162">
              <a:extLst>
                <a:ext uri="{FF2B5EF4-FFF2-40B4-BE49-F238E27FC236}">
                  <a16:creationId xmlns:a16="http://schemas.microsoft.com/office/drawing/2014/main" id="{C0CFEFD7-A64B-4B1E-9B27-6F37CD2B9CC4}"/>
                </a:ext>
              </a:extLst>
            </p:cNvPr>
            <p:cNvSpPr>
              <a:spLocks/>
            </p:cNvSpPr>
            <p:nvPr/>
          </p:nvSpPr>
          <p:spPr bwMode="auto">
            <a:xfrm>
              <a:off x="8447088" y="3744913"/>
              <a:ext cx="180975" cy="225425"/>
            </a:xfrm>
            <a:custGeom>
              <a:avLst/>
              <a:gdLst>
                <a:gd name="T0" fmla="*/ 28 w 48"/>
                <a:gd name="T1" fmla="*/ 0 h 60"/>
                <a:gd name="T2" fmla="*/ 30 w 48"/>
                <a:gd name="T3" fmla="*/ 27 h 60"/>
                <a:gd name="T4" fmla="*/ 24 w 48"/>
                <a:gd name="T5" fmla="*/ 33 h 60"/>
                <a:gd name="T6" fmla="*/ 18 w 48"/>
                <a:gd name="T7" fmla="*/ 27 h 60"/>
                <a:gd name="T8" fmla="*/ 20 w 48"/>
                <a:gd name="T9" fmla="*/ 0 h 60"/>
                <a:gd name="T10" fmla="*/ 0 w 48"/>
                <a:gd name="T11" fmla="*/ 0 h 60"/>
                <a:gd name="T12" fmla="*/ 0 w 48"/>
                <a:gd name="T13" fmla="*/ 2 h 60"/>
                <a:gd name="T14" fmla="*/ 14 w 48"/>
                <a:gd name="T15" fmla="*/ 33 h 60"/>
                <a:gd name="T16" fmla="*/ 14 w 48"/>
                <a:gd name="T17" fmla="*/ 60 h 60"/>
                <a:gd name="T18" fmla="*/ 34 w 48"/>
                <a:gd name="T19" fmla="*/ 60 h 60"/>
                <a:gd name="T20" fmla="*/ 34 w 48"/>
                <a:gd name="T21" fmla="*/ 33 h 60"/>
                <a:gd name="T22" fmla="*/ 48 w 48"/>
                <a:gd name="T23" fmla="*/ 2 h 60"/>
                <a:gd name="T24" fmla="*/ 48 w 48"/>
                <a:gd name="T25" fmla="*/ 0 h 60"/>
                <a:gd name="T26" fmla="*/ 28 w 48"/>
                <a:gd name="T27"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60">
                  <a:moveTo>
                    <a:pt x="28" y="0"/>
                  </a:moveTo>
                  <a:cubicBezTo>
                    <a:pt x="30" y="27"/>
                    <a:pt x="30" y="27"/>
                    <a:pt x="30" y="27"/>
                  </a:cubicBezTo>
                  <a:cubicBezTo>
                    <a:pt x="24" y="33"/>
                    <a:pt x="24" y="33"/>
                    <a:pt x="24" y="33"/>
                  </a:cubicBezTo>
                  <a:cubicBezTo>
                    <a:pt x="18" y="27"/>
                    <a:pt x="18" y="27"/>
                    <a:pt x="18" y="27"/>
                  </a:cubicBezTo>
                  <a:cubicBezTo>
                    <a:pt x="20" y="0"/>
                    <a:pt x="20" y="0"/>
                    <a:pt x="20" y="0"/>
                  </a:cubicBezTo>
                  <a:cubicBezTo>
                    <a:pt x="0" y="0"/>
                    <a:pt x="0" y="0"/>
                    <a:pt x="0" y="0"/>
                  </a:cubicBezTo>
                  <a:cubicBezTo>
                    <a:pt x="0" y="2"/>
                    <a:pt x="0" y="2"/>
                    <a:pt x="0" y="2"/>
                  </a:cubicBezTo>
                  <a:cubicBezTo>
                    <a:pt x="0" y="16"/>
                    <a:pt x="5" y="27"/>
                    <a:pt x="14" y="33"/>
                  </a:cubicBezTo>
                  <a:cubicBezTo>
                    <a:pt x="14" y="60"/>
                    <a:pt x="14" y="60"/>
                    <a:pt x="14" y="60"/>
                  </a:cubicBezTo>
                  <a:cubicBezTo>
                    <a:pt x="34" y="60"/>
                    <a:pt x="34" y="60"/>
                    <a:pt x="34" y="60"/>
                  </a:cubicBezTo>
                  <a:cubicBezTo>
                    <a:pt x="34" y="33"/>
                    <a:pt x="34" y="33"/>
                    <a:pt x="34" y="33"/>
                  </a:cubicBezTo>
                  <a:cubicBezTo>
                    <a:pt x="43" y="27"/>
                    <a:pt x="48" y="16"/>
                    <a:pt x="48" y="2"/>
                  </a:cubicBezTo>
                  <a:cubicBezTo>
                    <a:pt x="48" y="0"/>
                    <a:pt x="48" y="0"/>
                    <a:pt x="48" y="0"/>
                  </a:cubicBezTo>
                  <a:lnTo>
                    <a:pt x="2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677C7"/>
                </a:solidFill>
                <a:effectLst/>
                <a:uLnTx/>
                <a:uFillTx/>
                <a:latin typeface="Arial"/>
                <a:cs typeface="+mn-cs"/>
              </a:endParaRPr>
            </a:p>
          </p:txBody>
        </p:sp>
        <p:sp>
          <p:nvSpPr>
            <p:cNvPr id="81" name="Freeform 163">
              <a:extLst>
                <a:ext uri="{FF2B5EF4-FFF2-40B4-BE49-F238E27FC236}">
                  <a16:creationId xmlns:a16="http://schemas.microsoft.com/office/drawing/2014/main" id="{2C283FD1-B581-4A5E-8CBB-27FB44E03305}"/>
                </a:ext>
              </a:extLst>
            </p:cNvPr>
            <p:cNvSpPr>
              <a:spLocks noEditPoints="1"/>
            </p:cNvSpPr>
            <p:nvPr/>
          </p:nvSpPr>
          <p:spPr bwMode="auto">
            <a:xfrm>
              <a:off x="8583613" y="3624263"/>
              <a:ext cx="217488" cy="225425"/>
            </a:xfrm>
            <a:custGeom>
              <a:avLst/>
              <a:gdLst>
                <a:gd name="T0" fmla="*/ 4 w 58"/>
                <a:gd name="T1" fmla="*/ 0 h 60"/>
                <a:gd name="T2" fmla="*/ 8 w 58"/>
                <a:gd name="T3" fmla="*/ 12 h 60"/>
                <a:gd name="T4" fmla="*/ 0 w 58"/>
                <a:gd name="T5" fmla="*/ 28 h 60"/>
                <a:gd name="T6" fmla="*/ 16 w 58"/>
                <a:gd name="T7" fmla="*/ 28 h 60"/>
                <a:gd name="T8" fmla="*/ 16 w 58"/>
                <a:gd name="T9" fmla="*/ 34 h 60"/>
                <a:gd name="T10" fmla="*/ 9 w 58"/>
                <a:gd name="T11" fmla="*/ 60 h 60"/>
                <a:gd name="T12" fmla="*/ 58 w 58"/>
                <a:gd name="T13" fmla="*/ 60 h 60"/>
                <a:gd name="T14" fmla="*/ 58 w 58"/>
                <a:gd name="T15" fmla="*/ 0 h 60"/>
                <a:gd name="T16" fmla="*/ 4 w 58"/>
                <a:gd name="T17" fmla="*/ 0 h 60"/>
                <a:gd name="T18" fmla="*/ 50 w 58"/>
                <a:gd name="T19" fmla="*/ 50 h 60"/>
                <a:gd name="T20" fmla="*/ 48 w 58"/>
                <a:gd name="T21" fmla="*/ 52 h 60"/>
                <a:gd name="T22" fmla="*/ 48 w 58"/>
                <a:gd name="T23" fmla="*/ 52 h 60"/>
                <a:gd name="T24" fmla="*/ 48 w 58"/>
                <a:gd name="T25" fmla="*/ 52 h 60"/>
                <a:gd name="T26" fmla="*/ 24 w 58"/>
                <a:gd name="T27" fmla="*/ 52 h 60"/>
                <a:gd name="T28" fmla="*/ 22 w 58"/>
                <a:gd name="T29" fmla="*/ 50 h 60"/>
                <a:gd name="T30" fmla="*/ 24 w 58"/>
                <a:gd name="T31" fmla="*/ 48 h 60"/>
                <a:gd name="T32" fmla="*/ 30 w 58"/>
                <a:gd name="T33" fmla="*/ 48 h 60"/>
                <a:gd name="T34" fmla="*/ 30 w 58"/>
                <a:gd name="T35" fmla="*/ 34 h 60"/>
                <a:gd name="T36" fmla="*/ 32 w 58"/>
                <a:gd name="T37" fmla="*/ 32 h 60"/>
                <a:gd name="T38" fmla="*/ 34 w 58"/>
                <a:gd name="T39" fmla="*/ 34 h 60"/>
                <a:gd name="T40" fmla="*/ 34 w 58"/>
                <a:gd name="T41" fmla="*/ 48 h 60"/>
                <a:gd name="T42" fmla="*/ 38 w 58"/>
                <a:gd name="T43" fmla="*/ 48 h 60"/>
                <a:gd name="T44" fmla="*/ 38 w 58"/>
                <a:gd name="T45" fmla="*/ 26 h 60"/>
                <a:gd name="T46" fmla="*/ 40 w 58"/>
                <a:gd name="T47" fmla="*/ 24 h 60"/>
                <a:gd name="T48" fmla="*/ 42 w 58"/>
                <a:gd name="T49" fmla="*/ 26 h 60"/>
                <a:gd name="T50" fmla="*/ 42 w 58"/>
                <a:gd name="T51" fmla="*/ 48 h 60"/>
                <a:gd name="T52" fmla="*/ 46 w 58"/>
                <a:gd name="T53" fmla="*/ 48 h 60"/>
                <a:gd name="T54" fmla="*/ 46 w 58"/>
                <a:gd name="T55" fmla="*/ 14 h 60"/>
                <a:gd name="T56" fmla="*/ 48 w 58"/>
                <a:gd name="T57" fmla="*/ 12 h 60"/>
                <a:gd name="T58" fmla="*/ 50 w 58"/>
                <a:gd name="T59" fmla="*/ 14 h 60"/>
                <a:gd name="T60" fmla="*/ 50 w 58"/>
                <a:gd name="T61" fmla="*/ 5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58" h="60">
                  <a:moveTo>
                    <a:pt x="4" y="0"/>
                  </a:moveTo>
                  <a:cubicBezTo>
                    <a:pt x="7" y="3"/>
                    <a:pt x="8" y="7"/>
                    <a:pt x="8" y="12"/>
                  </a:cubicBezTo>
                  <a:cubicBezTo>
                    <a:pt x="8" y="19"/>
                    <a:pt x="5" y="24"/>
                    <a:pt x="0" y="28"/>
                  </a:cubicBezTo>
                  <a:cubicBezTo>
                    <a:pt x="16" y="28"/>
                    <a:pt x="16" y="28"/>
                    <a:pt x="16" y="28"/>
                  </a:cubicBezTo>
                  <a:cubicBezTo>
                    <a:pt x="16" y="34"/>
                    <a:pt x="16" y="34"/>
                    <a:pt x="16" y="34"/>
                  </a:cubicBezTo>
                  <a:cubicBezTo>
                    <a:pt x="16" y="44"/>
                    <a:pt x="14" y="53"/>
                    <a:pt x="9" y="60"/>
                  </a:cubicBezTo>
                  <a:cubicBezTo>
                    <a:pt x="58" y="60"/>
                    <a:pt x="58" y="60"/>
                    <a:pt x="58" y="60"/>
                  </a:cubicBezTo>
                  <a:cubicBezTo>
                    <a:pt x="58" y="0"/>
                    <a:pt x="58" y="0"/>
                    <a:pt x="58" y="0"/>
                  </a:cubicBezTo>
                  <a:lnTo>
                    <a:pt x="4" y="0"/>
                  </a:lnTo>
                  <a:close/>
                  <a:moveTo>
                    <a:pt x="50" y="50"/>
                  </a:moveTo>
                  <a:cubicBezTo>
                    <a:pt x="50" y="51"/>
                    <a:pt x="49" y="52"/>
                    <a:pt x="48" y="52"/>
                  </a:cubicBezTo>
                  <a:cubicBezTo>
                    <a:pt x="48" y="52"/>
                    <a:pt x="48" y="52"/>
                    <a:pt x="48" y="52"/>
                  </a:cubicBezTo>
                  <a:cubicBezTo>
                    <a:pt x="48" y="52"/>
                    <a:pt x="48" y="52"/>
                    <a:pt x="48" y="52"/>
                  </a:cubicBezTo>
                  <a:cubicBezTo>
                    <a:pt x="24" y="52"/>
                    <a:pt x="24" y="52"/>
                    <a:pt x="24" y="52"/>
                  </a:cubicBezTo>
                  <a:cubicBezTo>
                    <a:pt x="23" y="52"/>
                    <a:pt x="22" y="51"/>
                    <a:pt x="22" y="50"/>
                  </a:cubicBezTo>
                  <a:cubicBezTo>
                    <a:pt x="22" y="49"/>
                    <a:pt x="23" y="48"/>
                    <a:pt x="24" y="48"/>
                  </a:cubicBezTo>
                  <a:cubicBezTo>
                    <a:pt x="30" y="48"/>
                    <a:pt x="30" y="48"/>
                    <a:pt x="30" y="48"/>
                  </a:cubicBezTo>
                  <a:cubicBezTo>
                    <a:pt x="30" y="34"/>
                    <a:pt x="30" y="34"/>
                    <a:pt x="30" y="34"/>
                  </a:cubicBezTo>
                  <a:cubicBezTo>
                    <a:pt x="30" y="33"/>
                    <a:pt x="31" y="32"/>
                    <a:pt x="32" y="32"/>
                  </a:cubicBezTo>
                  <a:cubicBezTo>
                    <a:pt x="33" y="32"/>
                    <a:pt x="34" y="33"/>
                    <a:pt x="34" y="34"/>
                  </a:cubicBezTo>
                  <a:cubicBezTo>
                    <a:pt x="34" y="48"/>
                    <a:pt x="34" y="48"/>
                    <a:pt x="34" y="48"/>
                  </a:cubicBezTo>
                  <a:cubicBezTo>
                    <a:pt x="38" y="48"/>
                    <a:pt x="38" y="48"/>
                    <a:pt x="38" y="48"/>
                  </a:cubicBezTo>
                  <a:cubicBezTo>
                    <a:pt x="38" y="26"/>
                    <a:pt x="38" y="26"/>
                    <a:pt x="38" y="26"/>
                  </a:cubicBezTo>
                  <a:cubicBezTo>
                    <a:pt x="38" y="25"/>
                    <a:pt x="39" y="24"/>
                    <a:pt x="40" y="24"/>
                  </a:cubicBezTo>
                  <a:cubicBezTo>
                    <a:pt x="41" y="24"/>
                    <a:pt x="42" y="25"/>
                    <a:pt x="42" y="26"/>
                  </a:cubicBezTo>
                  <a:cubicBezTo>
                    <a:pt x="42" y="48"/>
                    <a:pt x="42" y="48"/>
                    <a:pt x="42" y="48"/>
                  </a:cubicBezTo>
                  <a:cubicBezTo>
                    <a:pt x="46" y="48"/>
                    <a:pt x="46" y="48"/>
                    <a:pt x="46" y="48"/>
                  </a:cubicBezTo>
                  <a:cubicBezTo>
                    <a:pt x="46" y="14"/>
                    <a:pt x="46" y="14"/>
                    <a:pt x="46" y="14"/>
                  </a:cubicBezTo>
                  <a:cubicBezTo>
                    <a:pt x="46" y="13"/>
                    <a:pt x="47" y="12"/>
                    <a:pt x="48" y="12"/>
                  </a:cubicBezTo>
                  <a:cubicBezTo>
                    <a:pt x="49" y="12"/>
                    <a:pt x="50" y="13"/>
                    <a:pt x="50" y="14"/>
                  </a:cubicBezTo>
                  <a:lnTo>
                    <a:pt x="50" y="5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677C7"/>
                </a:solidFill>
                <a:effectLst/>
                <a:uLnTx/>
                <a:uFillTx/>
                <a:latin typeface="Arial"/>
                <a:cs typeface="+mn-cs"/>
              </a:endParaRPr>
            </a:p>
          </p:txBody>
        </p:sp>
      </p:grpSp>
      <p:grpSp>
        <p:nvGrpSpPr>
          <p:cNvPr id="82" name="Group 3">
            <a:extLst>
              <a:ext uri="{FF2B5EF4-FFF2-40B4-BE49-F238E27FC236}">
                <a16:creationId xmlns:a16="http://schemas.microsoft.com/office/drawing/2014/main" id="{7C1887B2-6D36-410E-AB62-68CCAB24541B}"/>
              </a:ext>
            </a:extLst>
          </p:cNvPr>
          <p:cNvGrpSpPr/>
          <p:nvPr/>
        </p:nvGrpSpPr>
        <p:grpSpPr>
          <a:xfrm>
            <a:off x="1201546" y="3236389"/>
            <a:ext cx="1454387" cy="444544"/>
            <a:chOff x="1306321" y="3370342"/>
            <a:chExt cx="1454387" cy="444544"/>
          </a:xfrm>
        </p:grpSpPr>
        <p:sp>
          <p:nvSpPr>
            <p:cNvPr id="83" name="Rectangle 154">
              <a:extLst>
                <a:ext uri="{FF2B5EF4-FFF2-40B4-BE49-F238E27FC236}">
                  <a16:creationId xmlns:a16="http://schemas.microsoft.com/office/drawing/2014/main" id="{117558EE-34FD-4E62-9FC9-72B4F3353EC1}"/>
                </a:ext>
              </a:extLst>
            </p:cNvPr>
            <p:cNvSpPr/>
            <p:nvPr/>
          </p:nvSpPr>
          <p:spPr>
            <a:xfrm flipH="1">
              <a:off x="1306321" y="3377171"/>
              <a:ext cx="916859" cy="430887"/>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0" cap="none" spc="0" normalizeH="0" baseline="0" noProof="0" dirty="0">
                  <a:ln>
                    <a:noFill/>
                  </a:ln>
                  <a:solidFill>
                    <a:schemeClr val="accent1"/>
                  </a:solidFill>
                  <a:effectLst/>
                  <a:uLnTx/>
                  <a:uFillTx/>
                  <a:latin typeface="Gill Sans MT" panose="020B0502020104020203" pitchFamily="34" charset="0"/>
                  <a:cs typeface="Segoe UI" panose="020B0502040204020203" pitchFamily="34" charset="0"/>
                </a:rPr>
                <a:t>Goal</a:t>
              </a:r>
            </a:p>
          </p:txBody>
        </p:sp>
        <p:grpSp>
          <p:nvGrpSpPr>
            <p:cNvPr id="84" name="Group 192">
              <a:extLst>
                <a:ext uri="{FF2B5EF4-FFF2-40B4-BE49-F238E27FC236}">
                  <a16:creationId xmlns:a16="http://schemas.microsoft.com/office/drawing/2014/main" id="{EBFF2C70-6D67-42B6-AA7E-4634686099A8}"/>
                </a:ext>
              </a:extLst>
            </p:cNvPr>
            <p:cNvGrpSpPr/>
            <p:nvPr/>
          </p:nvGrpSpPr>
          <p:grpSpPr>
            <a:xfrm flipH="1">
              <a:off x="2322015" y="3370342"/>
              <a:ext cx="438693" cy="444544"/>
              <a:chOff x="5554663" y="723900"/>
              <a:chExt cx="357187" cy="361951"/>
            </a:xfrm>
            <a:solidFill>
              <a:srgbClr val="D9D9D9"/>
            </a:solidFill>
          </p:grpSpPr>
          <p:sp>
            <p:nvSpPr>
              <p:cNvPr id="85" name="Freeform 68">
                <a:extLst>
                  <a:ext uri="{FF2B5EF4-FFF2-40B4-BE49-F238E27FC236}">
                    <a16:creationId xmlns:a16="http://schemas.microsoft.com/office/drawing/2014/main" id="{BF2726EF-8107-4D2E-ABC8-6F4A7DBF6EDD}"/>
                  </a:ext>
                </a:extLst>
              </p:cNvPr>
              <p:cNvSpPr>
                <a:spLocks/>
              </p:cNvSpPr>
              <p:nvPr/>
            </p:nvSpPr>
            <p:spPr bwMode="auto">
              <a:xfrm>
                <a:off x="5554663" y="949325"/>
                <a:ext cx="131763" cy="136525"/>
              </a:xfrm>
              <a:custGeom>
                <a:avLst/>
                <a:gdLst>
                  <a:gd name="T0" fmla="*/ 12 w 35"/>
                  <a:gd name="T1" fmla="*/ 0 h 36"/>
                  <a:gd name="T2" fmla="*/ 0 w 35"/>
                  <a:gd name="T3" fmla="*/ 21 h 36"/>
                  <a:gd name="T4" fmla="*/ 0 w 35"/>
                  <a:gd name="T5" fmla="*/ 23 h 36"/>
                  <a:gd name="T6" fmla="*/ 2 w 35"/>
                  <a:gd name="T7" fmla="*/ 24 h 36"/>
                  <a:gd name="T8" fmla="*/ 16 w 35"/>
                  <a:gd name="T9" fmla="*/ 22 h 36"/>
                  <a:gd name="T10" fmla="*/ 21 w 35"/>
                  <a:gd name="T11" fmla="*/ 35 h 36"/>
                  <a:gd name="T12" fmla="*/ 23 w 35"/>
                  <a:gd name="T13" fmla="*/ 36 h 36"/>
                  <a:gd name="T14" fmla="*/ 23 w 35"/>
                  <a:gd name="T15" fmla="*/ 36 h 36"/>
                  <a:gd name="T16" fmla="*/ 24 w 35"/>
                  <a:gd name="T17" fmla="*/ 35 h 36"/>
                  <a:gd name="T18" fmla="*/ 35 w 35"/>
                  <a:gd name="T19" fmla="*/ 18 h 36"/>
                  <a:gd name="T20" fmla="*/ 12 w 35"/>
                  <a:gd name="T21"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5" h="36">
                    <a:moveTo>
                      <a:pt x="12" y="0"/>
                    </a:moveTo>
                    <a:cubicBezTo>
                      <a:pt x="0" y="21"/>
                      <a:pt x="0" y="21"/>
                      <a:pt x="0" y="21"/>
                    </a:cubicBezTo>
                    <a:cubicBezTo>
                      <a:pt x="0" y="22"/>
                      <a:pt x="0" y="22"/>
                      <a:pt x="0" y="23"/>
                    </a:cubicBezTo>
                    <a:cubicBezTo>
                      <a:pt x="1" y="24"/>
                      <a:pt x="2" y="24"/>
                      <a:pt x="2" y="24"/>
                    </a:cubicBezTo>
                    <a:cubicBezTo>
                      <a:pt x="16" y="22"/>
                      <a:pt x="16" y="22"/>
                      <a:pt x="16" y="22"/>
                    </a:cubicBezTo>
                    <a:cubicBezTo>
                      <a:pt x="21" y="35"/>
                      <a:pt x="21" y="35"/>
                      <a:pt x="21" y="35"/>
                    </a:cubicBezTo>
                    <a:cubicBezTo>
                      <a:pt x="21" y="35"/>
                      <a:pt x="22" y="36"/>
                      <a:pt x="23" y="36"/>
                    </a:cubicBezTo>
                    <a:cubicBezTo>
                      <a:pt x="23" y="36"/>
                      <a:pt x="23" y="36"/>
                      <a:pt x="23" y="36"/>
                    </a:cubicBezTo>
                    <a:cubicBezTo>
                      <a:pt x="23" y="36"/>
                      <a:pt x="24" y="36"/>
                      <a:pt x="24" y="35"/>
                    </a:cubicBezTo>
                    <a:cubicBezTo>
                      <a:pt x="35" y="18"/>
                      <a:pt x="35" y="18"/>
                      <a:pt x="35" y="18"/>
                    </a:cubicBezTo>
                    <a:cubicBezTo>
                      <a:pt x="25" y="15"/>
                      <a:pt x="17" y="8"/>
                      <a:pt x="1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677C7"/>
                  </a:solidFill>
                  <a:effectLst/>
                  <a:uLnTx/>
                  <a:uFillTx/>
                  <a:latin typeface="Arial"/>
                  <a:cs typeface="+mn-cs"/>
                </a:endParaRPr>
              </a:p>
            </p:txBody>
          </p:sp>
          <p:sp>
            <p:nvSpPr>
              <p:cNvPr id="86" name="Freeform 69">
                <a:extLst>
                  <a:ext uri="{FF2B5EF4-FFF2-40B4-BE49-F238E27FC236}">
                    <a16:creationId xmlns:a16="http://schemas.microsoft.com/office/drawing/2014/main" id="{3B77DD6E-C114-440D-84B2-CDBEC81D6392}"/>
                  </a:ext>
                </a:extLst>
              </p:cNvPr>
              <p:cNvSpPr>
                <a:spLocks/>
              </p:cNvSpPr>
              <p:nvPr/>
            </p:nvSpPr>
            <p:spPr bwMode="auto">
              <a:xfrm>
                <a:off x="5784850" y="954088"/>
                <a:ext cx="127000" cy="131763"/>
              </a:xfrm>
              <a:custGeom>
                <a:avLst/>
                <a:gdLst>
                  <a:gd name="T0" fmla="*/ 34 w 34"/>
                  <a:gd name="T1" fmla="*/ 20 h 35"/>
                  <a:gd name="T2" fmla="*/ 22 w 34"/>
                  <a:gd name="T3" fmla="*/ 0 h 35"/>
                  <a:gd name="T4" fmla="*/ 0 w 34"/>
                  <a:gd name="T5" fmla="*/ 17 h 35"/>
                  <a:gd name="T6" fmla="*/ 10 w 34"/>
                  <a:gd name="T7" fmla="*/ 34 h 35"/>
                  <a:gd name="T8" fmla="*/ 12 w 34"/>
                  <a:gd name="T9" fmla="*/ 35 h 35"/>
                  <a:gd name="T10" fmla="*/ 12 w 34"/>
                  <a:gd name="T11" fmla="*/ 35 h 35"/>
                  <a:gd name="T12" fmla="*/ 13 w 34"/>
                  <a:gd name="T13" fmla="*/ 34 h 35"/>
                  <a:gd name="T14" fmla="*/ 18 w 34"/>
                  <a:gd name="T15" fmla="*/ 21 h 35"/>
                  <a:gd name="T16" fmla="*/ 32 w 34"/>
                  <a:gd name="T17" fmla="*/ 23 h 35"/>
                  <a:gd name="T18" fmla="*/ 34 w 34"/>
                  <a:gd name="T19" fmla="*/ 22 h 35"/>
                  <a:gd name="T20" fmla="*/ 34 w 34"/>
                  <a:gd name="T21" fmla="*/ 2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4" h="35">
                    <a:moveTo>
                      <a:pt x="34" y="20"/>
                    </a:moveTo>
                    <a:cubicBezTo>
                      <a:pt x="22" y="0"/>
                      <a:pt x="22" y="0"/>
                      <a:pt x="22" y="0"/>
                    </a:cubicBezTo>
                    <a:cubicBezTo>
                      <a:pt x="17" y="8"/>
                      <a:pt x="9" y="14"/>
                      <a:pt x="0" y="17"/>
                    </a:cubicBezTo>
                    <a:cubicBezTo>
                      <a:pt x="10" y="34"/>
                      <a:pt x="10" y="34"/>
                      <a:pt x="10" y="34"/>
                    </a:cubicBezTo>
                    <a:cubicBezTo>
                      <a:pt x="10" y="35"/>
                      <a:pt x="11" y="35"/>
                      <a:pt x="12" y="35"/>
                    </a:cubicBezTo>
                    <a:cubicBezTo>
                      <a:pt x="12" y="35"/>
                      <a:pt x="12" y="35"/>
                      <a:pt x="12" y="35"/>
                    </a:cubicBezTo>
                    <a:cubicBezTo>
                      <a:pt x="13" y="35"/>
                      <a:pt x="13" y="34"/>
                      <a:pt x="13" y="34"/>
                    </a:cubicBezTo>
                    <a:cubicBezTo>
                      <a:pt x="18" y="21"/>
                      <a:pt x="18" y="21"/>
                      <a:pt x="18" y="21"/>
                    </a:cubicBezTo>
                    <a:cubicBezTo>
                      <a:pt x="32" y="23"/>
                      <a:pt x="32" y="23"/>
                      <a:pt x="32" y="23"/>
                    </a:cubicBezTo>
                    <a:cubicBezTo>
                      <a:pt x="33" y="23"/>
                      <a:pt x="34" y="23"/>
                      <a:pt x="34" y="22"/>
                    </a:cubicBezTo>
                    <a:cubicBezTo>
                      <a:pt x="34" y="21"/>
                      <a:pt x="34" y="21"/>
                      <a:pt x="34"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677C7"/>
                  </a:solidFill>
                  <a:effectLst/>
                  <a:uLnTx/>
                  <a:uFillTx/>
                  <a:latin typeface="Arial"/>
                  <a:cs typeface="+mn-cs"/>
                </a:endParaRPr>
              </a:p>
            </p:txBody>
          </p:sp>
          <p:sp>
            <p:nvSpPr>
              <p:cNvPr id="87" name="Freeform 70">
                <a:extLst>
                  <a:ext uri="{FF2B5EF4-FFF2-40B4-BE49-F238E27FC236}">
                    <a16:creationId xmlns:a16="http://schemas.microsoft.com/office/drawing/2014/main" id="{3A9542CF-2FA1-45C6-B504-B4F1ED572639}"/>
                  </a:ext>
                </a:extLst>
              </p:cNvPr>
              <p:cNvSpPr>
                <a:spLocks noEditPoints="1"/>
              </p:cNvSpPr>
              <p:nvPr/>
            </p:nvSpPr>
            <p:spPr bwMode="auto">
              <a:xfrm>
                <a:off x="5592763" y="723900"/>
                <a:ext cx="285750" cy="285750"/>
              </a:xfrm>
              <a:custGeom>
                <a:avLst/>
                <a:gdLst>
                  <a:gd name="T0" fmla="*/ 76 w 76"/>
                  <a:gd name="T1" fmla="*/ 38 h 76"/>
                  <a:gd name="T2" fmla="*/ 38 w 76"/>
                  <a:gd name="T3" fmla="*/ 0 h 76"/>
                  <a:gd name="T4" fmla="*/ 0 w 76"/>
                  <a:gd name="T5" fmla="*/ 38 h 76"/>
                  <a:gd name="T6" fmla="*/ 38 w 76"/>
                  <a:gd name="T7" fmla="*/ 76 h 76"/>
                  <a:gd name="T8" fmla="*/ 76 w 76"/>
                  <a:gd name="T9" fmla="*/ 38 h 76"/>
                  <a:gd name="T10" fmla="*/ 57 w 76"/>
                  <a:gd name="T11" fmla="*/ 34 h 76"/>
                  <a:gd name="T12" fmla="*/ 48 w 76"/>
                  <a:gd name="T13" fmla="*/ 41 h 76"/>
                  <a:gd name="T14" fmla="*/ 52 w 76"/>
                  <a:gd name="T15" fmla="*/ 53 h 76"/>
                  <a:gd name="T16" fmla="*/ 51 w 76"/>
                  <a:gd name="T17" fmla="*/ 56 h 76"/>
                  <a:gd name="T18" fmla="*/ 50 w 76"/>
                  <a:gd name="T19" fmla="*/ 56 h 76"/>
                  <a:gd name="T20" fmla="*/ 49 w 76"/>
                  <a:gd name="T21" fmla="*/ 56 h 76"/>
                  <a:gd name="T22" fmla="*/ 38 w 76"/>
                  <a:gd name="T23" fmla="*/ 49 h 76"/>
                  <a:gd name="T24" fmla="*/ 27 w 76"/>
                  <a:gd name="T25" fmla="*/ 56 h 76"/>
                  <a:gd name="T26" fmla="*/ 25 w 76"/>
                  <a:gd name="T27" fmla="*/ 56 h 76"/>
                  <a:gd name="T28" fmla="*/ 24 w 76"/>
                  <a:gd name="T29" fmla="*/ 53 h 76"/>
                  <a:gd name="T30" fmla="*/ 28 w 76"/>
                  <a:gd name="T31" fmla="*/ 41 h 76"/>
                  <a:gd name="T32" fmla="*/ 19 w 76"/>
                  <a:gd name="T33" fmla="*/ 34 h 76"/>
                  <a:gd name="T34" fmla="*/ 18 w 76"/>
                  <a:gd name="T35" fmla="*/ 31 h 76"/>
                  <a:gd name="T36" fmla="*/ 20 w 76"/>
                  <a:gd name="T37" fmla="*/ 30 h 76"/>
                  <a:gd name="T38" fmla="*/ 31 w 76"/>
                  <a:gd name="T39" fmla="*/ 30 h 76"/>
                  <a:gd name="T40" fmla="*/ 36 w 76"/>
                  <a:gd name="T41" fmla="*/ 19 h 76"/>
                  <a:gd name="T42" fmla="*/ 40 w 76"/>
                  <a:gd name="T43" fmla="*/ 19 h 76"/>
                  <a:gd name="T44" fmla="*/ 45 w 76"/>
                  <a:gd name="T45" fmla="*/ 30 h 76"/>
                  <a:gd name="T46" fmla="*/ 56 w 76"/>
                  <a:gd name="T47" fmla="*/ 30 h 76"/>
                  <a:gd name="T48" fmla="*/ 58 w 76"/>
                  <a:gd name="T49" fmla="*/ 31 h 76"/>
                  <a:gd name="T50" fmla="*/ 57 w 76"/>
                  <a:gd name="T51" fmla="*/ 3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6" h="76">
                    <a:moveTo>
                      <a:pt x="76" y="38"/>
                    </a:moveTo>
                    <a:cubicBezTo>
                      <a:pt x="76" y="17"/>
                      <a:pt x="59" y="0"/>
                      <a:pt x="38" y="0"/>
                    </a:cubicBezTo>
                    <a:cubicBezTo>
                      <a:pt x="17" y="0"/>
                      <a:pt x="0" y="17"/>
                      <a:pt x="0" y="38"/>
                    </a:cubicBezTo>
                    <a:cubicBezTo>
                      <a:pt x="0" y="59"/>
                      <a:pt x="17" y="76"/>
                      <a:pt x="38" y="76"/>
                    </a:cubicBezTo>
                    <a:cubicBezTo>
                      <a:pt x="59" y="76"/>
                      <a:pt x="76" y="59"/>
                      <a:pt x="76" y="38"/>
                    </a:cubicBezTo>
                    <a:close/>
                    <a:moveTo>
                      <a:pt x="57" y="34"/>
                    </a:moveTo>
                    <a:cubicBezTo>
                      <a:pt x="48" y="41"/>
                      <a:pt x="48" y="41"/>
                      <a:pt x="48" y="41"/>
                    </a:cubicBezTo>
                    <a:cubicBezTo>
                      <a:pt x="52" y="53"/>
                      <a:pt x="52" y="53"/>
                      <a:pt x="52" y="53"/>
                    </a:cubicBezTo>
                    <a:cubicBezTo>
                      <a:pt x="52" y="54"/>
                      <a:pt x="52" y="55"/>
                      <a:pt x="51" y="56"/>
                    </a:cubicBezTo>
                    <a:cubicBezTo>
                      <a:pt x="51" y="56"/>
                      <a:pt x="50" y="56"/>
                      <a:pt x="50" y="56"/>
                    </a:cubicBezTo>
                    <a:cubicBezTo>
                      <a:pt x="50" y="56"/>
                      <a:pt x="49" y="56"/>
                      <a:pt x="49" y="56"/>
                    </a:cubicBezTo>
                    <a:cubicBezTo>
                      <a:pt x="38" y="49"/>
                      <a:pt x="38" y="49"/>
                      <a:pt x="38" y="49"/>
                    </a:cubicBezTo>
                    <a:cubicBezTo>
                      <a:pt x="27" y="56"/>
                      <a:pt x="27" y="56"/>
                      <a:pt x="27" y="56"/>
                    </a:cubicBezTo>
                    <a:cubicBezTo>
                      <a:pt x="26" y="56"/>
                      <a:pt x="25" y="56"/>
                      <a:pt x="25" y="56"/>
                    </a:cubicBezTo>
                    <a:cubicBezTo>
                      <a:pt x="24" y="55"/>
                      <a:pt x="24" y="54"/>
                      <a:pt x="24" y="53"/>
                    </a:cubicBezTo>
                    <a:cubicBezTo>
                      <a:pt x="28" y="41"/>
                      <a:pt x="28" y="41"/>
                      <a:pt x="28" y="41"/>
                    </a:cubicBezTo>
                    <a:cubicBezTo>
                      <a:pt x="19" y="34"/>
                      <a:pt x="19" y="34"/>
                      <a:pt x="19" y="34"/>
                    </a:cubicBezTo>
                    <a:cubicBezTo>
                      <a:pt x="18" y="33"/>
                      <a:pt x="18" y="32"/>
                      <a:pt x="18" y="31"/>
                    </a:cubicBezTo>
                    <a:cubicBezTo>
                      <a:pt x="18" y="31"/>
                      <a:pt x="19" y="30"/>
                      <a:pt x="20" y="30"/>
                    </a:cubicBezTo>
                    <a:cubicBezTo>
                      <a:pt x="31" y="30"/>
                      <a:pt x="31" y="30"/>
                      <a:pt x="31" y="30"/>
                    </a:cubicBezTo>
                    <a:cubicBezTo>
                      <a:pt x="36" y="19"/>
                      <a:pt x="36" y="19"/>
                      <a:pt x="36" y="19"/>
                    </a:cubicBezTo>
                    <a:cubicBezTo>
                      <a:pt x="37" y="18"/>
                      <a:pt x="39" y="18"/>
                      <a:pt x="40" y="19"/>
                    </a:cubicBezTo>
                    <a:cubicBezTo>
                      <a:pt x="45" y="30"/>
                      <a:pt x="45" y="30"/>
                      <a:pt x="45" y="30"/>
                    </a:cubicBezTo>
                    <a:cubicBezTo>
                      <a:pt x="56" y="30"/>
                      <a:pt x="56" y="30"/>
                      <a:pt x="56" y="30"/>
                    </a:cubicBezTo>
                    <a:cubicBezTo>
                      <a:pt x="57" y="30"/>
                      <a:pt x="58" y="31"/>
                      <a:pt x="58" y="31"/>
                    </a:cubicBezTo>
                    <a:cubicBezTo>
                      <a:pt x="58" y="32"/>
                      <a:pt x="58" y="33"/>
                      <a:pt x="57"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677C7"/>
                  </a:solidFill>
                  <a:effectLst/>
                  <a:uLnTx/>
                  <a:uFillTx/>
                  <a:latin typeface="Arial"/>
                  <a:cs typeface="+mn-cs"/>
                </a:endParaRPr>
              </a:p>
            </p:txBody>
          </p:sp>
        </p:grpSp>
      </p:grpSp>
      <p:grpSp>
        <p:nvGrpSpPr>
          <p:cNvPr id="88" name="Group 12">
            <a:extLst>
              <a:ext uri="{FF2B5EF4-FFF2-40B4-BE49-F238E27FC236}">
                <a16:creationId xmlns:a16="http://schemas.microsoft.com/office/drawing/2014/main" id="{9D19936B-40D3-42FD-B923-5697AA9B5750}"/>
              </a:ext>
            </a:extLst>
          </p:cNvPr>
          <p:cNvGrpSpPr/>
          <p:nvPr/>
        </p:nvGrpSpPr>
        <p:grpSpPr>
          <a:xfrm>
            <a:off x="6203628" y="1547162"/>
            <a:ext cx="1817666" cy="1817666"/>
            <a:chOff x="6308403" y="1681115"/>
            <a:chExt cx="1817666" cy="1817666"/>
          </a:xfrm>
        </p:grpSpPr>
        <p:sp>
          <p:nvSpPr>
            <p:cNvPr id="89" name="Oval 7">
              <a:extLst>
                <a:ext uri="{FF2B5EF4-FFF2-40B4-BE49-F238E27FC236}">
                  <a16:creationId xmlns:a16="http://schemas.microsoft.com/office/drawing/2014/main" id="{7034F0A6-4503-4B38-8169-159DA8A8D137}"/>
                </a:ext>
              </a:extLst>
            </p:cNvPr>
            <p:cNvSpPr/>
            <p:nvPr/>
          </p:nvSpPr>
          <p:spPr>
            <a:xfrm>
              <a:off x="6308403" y="1681115"/>
              <a:ext cx="1817666" cy="1817666"/>
            </a:xfrm>
            <a:prstGeom prst="ellipse">
              <a:avLst/>
            </a:prstGeom>
            <a:solidFill>
              <a:schemeClr val="accent1">
                <a:alpha val="19000"/>
              </a:schemeClr>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677C7"/>
                </a:solidFill>
                <a:effectLst/>
                <a:uLnTx/>
                <a:uFillTx/>
                <a:latin typeface="Arial"/>
                <a:cs typeface="+mn-cs"/>
              </a:endParaRPr>
            </a:p>
          </p:txBody>
        </p:sp>
        <p:sp>
          <p:nvSpPr>
            <p:cNvPr id="90" name="Oval 10">
              <a:extLst>
                <a:ext uri="{FF2B5EF4-FFF2-40B4-BE49-F238E27FC236}">
                  <a16:creationId xmlns:a16="http://schemas.microsoft.com/office/drawing/2014/main" id="{A23C5ECC-EE0E-44DA-B0D1-BDE48DA57AAA}"/>
                </a:ext>
              </a:extLst>
            </p:cNvPr>
            <p:cNvSpPr/>
            <p:nvPr/>
          </p:nvSpPr>
          <p:spPr>
            <a:xfrm>
              <a:off x="6579127" y="2606208"/>
              <a:ext cx="669638" cy="669638"/>
            </a:xfrm>
            <a:prstGeom prst="ellipse">
              <a:avLst/>
            </a:prstGeom>
            <a:solidFill>
              <a:schemeClr val="bg1">
                <a:alpha val="5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677C7"/>
                </a:solidFill>
                <a:effectLst/>
                <a:uLnTx/>
                <a:uFillTx/>
                <a:latin typeface="Arial"/>
                <a:cs typeface="+mn-cs"/>
              </a:endParaRPr>
            </a:p>
          </p:txBody>
        </p:sp>
        <p:sp>
          <p:nvSpPr>
            <p:cNvPr id="91" name="Oval 122">
              <a:extLst>
                <a:ext uri="{FF2B5EF4-FFF2-40B4-BE49-F238E27FC236}">
                  <a16:creationId xmlns:a16="http://schemas.microsoft.com/office/drawing/2014/main" id="{6A81B574-F6C3-4955-89F5-A2F511D63229}"/>
                </a:ext>
              </a:extLst>
            </p:cNvPr>
            <p:cNvSpPr/>
            <p:nvPr/>
          </p:nvSpPr>
          <p:spPr>
            <a:xfrm>
              <a:off x="7178770" y="1924598"/>
              <a:ext cx="669638" cy="669638"/>
            </a:xfrm>
            <a:prstGeom prst="ellipse">
              <a:avLst/>
            </a:prstGeom>
            <a:solidFill>
              <a:schemeClr val="bg1">
                <a:alpha val="5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677C7"/>
                </a:solidFill>
                <a:effectLst/>
                <a:uLnTx/>
                <a:uFillTx/>
                <a:latin typeface="Arial"/>
                <a:cs typeface="+mn-cs"/>
              </a:endParaRPr>
            </a:p>
          </p:txBody>
        </p:sp>
      </p:grpSp>
    </p:spTree>
    <p:extLst>
      <p:ext uri="{BB962C8B-B14F-4D97-AF65-F5344CB8AC3E}">
        <p14:creationId xmlns:p14="http://schemas.microsoft.com/office/powerpoint/2010/main" val="4236807556"/>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7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429">
            <a:extLst>
              <a:ext uri="{FF2B5EF4-FFF2-40B4-BE49-F238E27FC236}">
                <a16:creationId xmlns:a16="http://schemas.microsoft.com/office/drawing/2014/main" id="{FD2204E4-28FF-499A-8A6C-9EDC10AE2AB3}"/>
              </a:ext>
            </a:extLst>
          </p:cNvPr>
          <p:cNvGrpSpPr/>
          <p:nvPr/>
        </p:nvGrpSpPr>
        <p:grpSpPr>
          <a:xfrm>
            <a:off x="779310" y="351724"/>
            <a:ext cx="10519080" cy="6116452"/>
            <a:chOff x="631439" y="290286"/>
            <a:chExt cx="10773242" cy="6264238"/>
          </a:xfrm>
        </p:grpSpPr>
        <p:sp>
          <p:nvSpPr>
            <p:cNvPr id="3" name="Freeform: Shape 422">
              <a:extLst>
                <a:ext uri="{FF2B5EF4-FFF2-40B4-BE49-F238E27FC236}">
                  <a16:creationId xmlns:a16="http://schemas.microsoft.com/office/drawing/2014/main" id="{96AF6831-6158-409D-A9A0-4B4161446A2D}"/>
                </a:ext>
              </a:extLst>
            </p:cNvPr>
            <p:cNvSpPr/>
            <p:nvPr/>
          </p:nvSpPr>
          <p:spPr>
            <a:xfrm>
              <a:off x="876299" y="850900"/>
              <a:ext cx="8964575" cy="5130800"/>
            </a:xfrm>
            <a:custGeom>
              <a:avLst/>
              <a:gdLst>
                <a:gd name="connsiteX0" fmla="*/ 7962900 w 8026400"/>
                <a:gd name="connsiteY0" fmla="*/ 2438400 h 5130800"/>
                <a:gd name="connsiteX1" fmla="*/ 7924800 w 8026400"/>
                <a:gd name="connsiteY1" fmla="*/ 2400300 h 5130800"/>
                <a:gd name="connsiteX2" fmla="*/ 6350000 w 8026400"/>
                <a:gd name="connsiteY2" fmla="*/ 38100 h 5130800"/>
                <a:gd name="connsiteX3" fmla="*/ 4686300 w 8026400"/>
                <a:gd name="connsiteY3" fmla="*/ 0 h 5130800"/>
                <a:gd name="connsiteX4" fmla="*/ 50800 w 8026400"/>
                <a:gd name="connsiteY4" fmla="*/ 1828800 h 5130800"/>
                <a:gd name="connsiteX5" fmla="*/ 355600 w 8026400"/>
                <a:gd name="connsiteY5" fmla="*/ 2654300 h 5130800"/>
                <a:gd name="connsiteX6" fmla="*/ 0 w 8026400"/>
                <a:gd name="connsiteY6" fmla="*/ 3403600 h 5130800"/>
                <a:gd name="connsiteX7" fmla="*/ 4635500 w 8026400"/>
                <a:gd name="connsiteY7" fmla="*/ 5130800 h 5130800"/>
                <a:gd name="connsiteX8" fmla="*/ 6426200 w 8026400"/>
                <a:gd name="connsiteY8" fmla="*/ 5092700 h 5130800"/>
                <a:gd name="connsiteX9" fmla="*/ 8026400 w 8026400"/>
                <a:gd name="connsiteY9" fmla="*/ 2667000 h 5130800"/>
                <a:gd name="connsiteX10" fmla="*/ 7962900 w 8026400"/>
                <a:gd name="connsiteY10" fmla="*/ 2438400 h 5130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026400" h="5130800">
                  <a:moveTo>
                    <a:pt x="7962900" y="2438400"/>
                  </a:moveTo>
                  <a:lnTo>
                    <a:pt x="7924800" y="2400300"/>
                  </a:lnTo>
                  <a:lnTo>
                    <a:pt x="6350000" y="38100"/>
                  </a:lnTo>
                  <a:lnTo>
                    <a:pt x="4686300" y="0"/>
                  </a:lnTo>
                  <a:lnTo>
                    <a:pt x="50800" y="1828800"/>
                  </a:lnTo>
                  <a:lnTo>
                    <a:pt x="355600" y="2654300"/>
                  </a:lnTo>
                  <a:lnTo>
                    <a:pt x="0" y="3403600"/>
                  </a:lnTo>
                  <a:lnTo>
                    <a:pt x="4635500" y="5130800"/>
                  </a:lnTo>
                  <a:lnTo>
                    <a:pt x="6426200" y="5092700"/>
                  </a:lnTo>
                  <a:lnTo>
                    <a:pt x="8026400" y="2667000"/>
                  </a:lnTo>
                  <a:lnTo>
                    <a:pt x="7962900" y="2438400"/>
                  </a:lnTo>
                  <a:close/>
                </a:path>
              </a:pathLst>
            </a:custGeom>
            <a:gradFill flip="none" rotWithShape="1">
              <a:gsLst>
                <a:gs pos="34000">
                  <a:schemeClr val="accent1"/>
                </a:gs>
                <a:gs pos="100000">
                  <a:schemeClr val="accent1"/>
                </a:gs>
              </a:gsLst>
              <a:lin ang="42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FFFFFF"/>
                </a:solidFill>
                <a:effectLst/>
                <a:uLnTx/>
                <a:uFillTx/>
                <a:latin typeface="Arial"/>
                <a:cs typeface="+mn-cs"/>
              </a:endParaRPr>
            </a:p>
          </p:txBody>
        </p:sp>
        <p:sp>
          <p:nvSpPr>
            <p:cNvPr id="4" name="Freeform: Shape 385">
              <a:extLst>
                <a:ext uri="{FF2B5EF4-FFF2-40B4-BE49-F238E27FC236}">
                  <a16:creationId xmlns:a16="http://schemas.microsoft.com/office/drawing/2014/main" id="{307DF8CB-F516-4C47-91DC-48598E692B6E}"/>
                </a:ext>
              </a:extLst>
            </p:cNvPr>
            <p:cNvSpPr/>
            <p:nvPr/>
          </p:nvSpPr>
          <p:spPr>
            <a:xfrm flipH="1" flipV="1">
              <a:off x="5968831" y="3674173"/>
              <a:ext cx="3735578" cy="2274930"/>
            </a:xfrm>
            <a:custGeom>
              <a:avLst/>
              <a:gdLst>
                <a:gd name="connsiteX0" fmla="*/ 0 w 5050971"/>
                <a:gd name="connsiteY0" fmla="*/ 2405743 h 2405743"/>
                <a:gd name="connsiteX1" fmla="*/ 947057 w 5050971"/>
                <a:gd name="connsiteY1" fmla="*/ 2405743 h 2405743"/>
                <a:gd name="connsiteX2" fmla="*/ 2601686 w 5050971"/>
                <a:gd name="connsiteY2" fmla="*/ 0 h 2405743"/>
                <a:gd name="connsiteX3" fmla="*/ 4288971 w 5050971"/>
                <a:gd name="connsiteY3" fmla="*/ 0 h 2405743"/>
                <a:gd name="connsiteX4" fmla="*/ 5050971 w 5050971"/>
                <a:gd name="connsiteY4" fmla="*/ 315686 h 2405743"/>
                <a:gd name="connsiteX0" fmla="*/ 0 w 4288971"/>
                <a:gd name="connsiteY0" fmla="*/ 2405743 h 2405743"/>
                <a:gd name="connsiteX1" fmla="*/ 947057 w 4288971"/>
                <a:gd name="connsiteY1" fmla="*/ 2405743 h 2405743"/>
                <a:gd name="connsiteX2" fmla="*/ 2601686 w 4288971"/>
                <a:gd name="connsiteY2" fmla="*/ 0 h 2405743"/>
                <a:gd name="connsiteX3" fmla="*/ 4288971 w 4288971"/>
                <a:gd name="connsiteY3" fmla="*/ 0 h 2405743"/>
                <a:gd name="connsiteX0" fmla="*/ 0 w 4833257"/>
                <a:gd name="connsiteY0" fmla="*/ 2405743 h 2405743"/>
                <a:gd name="connsiteX1" fmla="*/ 947057 w 4833257"/>
                <a:gd name="connsiteY1" fmla="*/ 2405743 h 2405743"/>
                <a:gd name="connsiteX2" fmla="*/ 2601686 w 4833257"/>
                <a:gd name="connsiteY2" fmla="*/ 0 h 2405743"/>
                <a:gd name="connsiteX3" fmla="*/ 4833257 w 4833257"/>
                <a:gd name="connsiteY3" fmla="*/ 32658 h 2405743"/>
                <a:gd name="connsiteX0" fmla="*/ 0 w 4833257"/>
                <a:gd name="connsiteY0" fmla="*/ 2405743 h 2405743"/>
                <a:gd name="connsiteX1" fmla="*/ 947057 w 4833257"/>
                <a:gd name="connsiteY1" fmla="*/ 2405743 h 2405743"/>
                <a:gd name="connsiteX2" fmla="*/ 2601686 w 4833257"/>
                <a:gd name="connsiteY2" fmla="*/ 0 h 2405743"/>
                <a:gd name="connsiteX3" fmla="*/ 4833257 w 4833257"/>
                <a:gd name="connsiteY3" fmla="*/ 32658 h 2405743"/>
                <a:gd name="connsiteX0" fmla="*/ 0 w 5099957"/>
                <a:gd name="connsiteY0" fmla="*/ 2421433 h 2421433"/>
                <a:gd name="connsiteX1" fmla="*/ 947057 w 5099957"/>
                <a:gd name="connsiteY1" fmla="*/ 2421433 h 2421433"/>
                <a:gd name="connsiteX2" fmla="*/ 2601686 w 5099957"/>
                <a:gd name="connsiteY2" fmla="*/ 15690 h 2421433"/>
                <a:gd name="connsiteX3" fmla="*/ 5099957 w 5099957"/>
                <a:gd name="connsiteY3" fmla="*/ 10248 h 2421433"/>
                <a:gd name="connsiteX0" fmla="*/ 0 w 5169807"/>
                <a:gd name="connsiteY0" fmla="*/ 2405743 h 2405743"/>
                <a:gd name="connsiteX1" fmla="*/ 947057 w 5169807"/>
                <a:gd name="connsiteY1" fmla="*/ 2405743 h 2405743"/>
                <a:gd name="connsiteX2" fmla="*/ 2601686 w 5169807"/>
                <a:gd name="connsiteY2" fmla="*/ 0 h 2405743"/>
                <a:gd name="connsiteX3" fmla="*/ 5169807 w 5169807"/>
                <a:gd name="connsiteY3" fmla="*/ 83458 h 2405743"/>
                <a:gd name="connsiteX0" fmla="*/ 0 w 5163457"/>
                <a:gd name="connsiteY0" fmla="*/ 2405743 h 2405743"/>
                <a:gd name="connsiteX1" fmla="*/ 947057 w 5163457"/>
                <a:gd name="connsiteY1" fmla="*/ 2405743 h 2405743"/>
                <a:gd name="connsiteX2" fmla="*/ 2601686 w 5163457"/>
                <a:gd name="connsiteY2" fmla="*/ 0 h 2405743"/>
                <a:gd name="connsiteX3" fmla="*/ 5163457 w 5163457"/>
                <a:gd name="connsiteY3" fmla="*/ 32658 h 2405743"/>
                <a:gd name="connsiteX0" fmla="*/ 0 w 5163457"/>
                <a:gd name="connsiteY0" fmla="*/ 2405743 h 2405743"/>
                <a:gd name="connsiteX1" fmla="*/ 947057 w 5163457"/>
                <a:gd name="connsiteY1" fmla="*/ 2405743 h 2405743"/>
                <a:gd name="connsiteX2" fmla="*/ 2601686 w 5163457"/>
                <a:gd name="connsiteY2" fmla="*/ 0 h 2405743"/>
                <a:gd name="connsiteX3" fmla="*/ 5163457 w 5163457"/>
                <a:gd name="connsiteY3" fmla="*/ 32658 h 2405743"/>
                <a:gd name="connsiteX0" fmla="*/ 0 w 5163457"/>
                <a:gd name="connsiteY0" fmla="*/ 2405743 h 2405743"/>
                <a:gd name="connsiteX1" fmla="*/ 947057 w 5163457"/>
                <a:gd name="connsiteY1" fmla="*/ 2405743 h 2405743"/>
                <a:gd name="connsiteX2" fmla="*/ 2601686 w 5163457"/>
                <a:gd name="connsiteY2" fmla="*/ 0 h 2405743"/>
                <a:gd name="connsiteX3" fmla="*/ 5163457 w 5163457"/>
                <a:gd name="connsiteY3" fmla="*/ 32658 h 2405743"/>
                <a:gd name="connsiteX0" fmla="*/ 0 w 5151551"/>
                <a:gd name="connsiteY0" fmla="*/ 2418329 h 2418329"/>
                <a:gd name="connsiteX1" fmla="*/ 947057 w 5151551"/>
                <a:gd name="connsiteY1" fmla="*/ 2418329 h 2418329"/>
                <a:gd name="connsiteX2" fmla="*/ 2601686 w 5151551"/>
                <a:gd name="connsiteY2" fmla="*/ 12586 h 2418329"/>
                <a:gd name="connsiteX3" fmla="*/ 5151551 w 5151551"/>
                <a:gd name="connsiteY3" fmla="*/ 0 h 2418329"/>
                <a:gd name="connsiteX0" fmla="*/ 0 w 5158694"/>
                <a:gd name="connsiteY0" fmla="*/ 2405743 h 2405743"/>
                <a:gd name="connsiteX1" fmla="*/ 947057 w 5158694"/>
                <a:gd name="connsiteY1" fmla="*/ 2405743 h 2405743"/>
                <a:gd name="connsiteX2" fmla="*/ 2601686 w 5158694"/>
                <a:gd name="connsiteY2" fmla="*/ 0 h 2405743"/>
                <a:gd name="connsiteX3" fmla="*/ 5158694 w 5158694"/>
                <a:gd name="connsiteY3" fmla="*/ 1701 h 2405743"/>
                <a:gd name="connsiteX0" fmla="*/ 0 w 3787094"/>
                <a:gd name="connsiteY0" fmla="*/ 2405743 h 2405743"/>
                <a:gd name="connsiteX1" fmla="*/ 947057 w 3787094"/>
                <a:gd name="connsiteY1" fmla="*/ 2405743 h 2405743"/>
                <a:gd name="connsiteX2" fmla="*/ 2601686 w 3787094"/>
                <a:gd name="connsiteY2" fmla="*/ 0 h 2405743"/>
                <a:gd name="connsiteX3" fmla="*/ 3787094 w 3787094"/>
                <a:gd name="connsiteY3" fmla="*/ 12586 h 2405743"/>
                <a:gd name="connsiteX0" fmla="*/ 0 w 3895952"/>
                <a:gd name="connsiteY0" fmla="*/ 2425815 h 2425815"/>
                <a:gd name="connsiteX1" fmla="*/ 947057 w 3895952"/>
                <a:gd name="connsiteY1" fmla="*/ 2425815 h 2425815"/>
                <a:gd name="connsiteX2" fmla="*/ 2601686 w 3895952"/>
                <a:gd name="connsiteY2" fmla="*/ 20072 h 2425815"/>
                <a:gd name="connsiteX3" fmla="*/ 3895952 w 3895952"/>
                <a:gd name="connsiteY3" fmla="*/ 0 h 2425815"/>
                <a:gd name="connsiteX0" fmla="*/ 0 w 3950380"/>
                <a:gd name="connsiteY0" fmla="*/ 2405743 h 2405743"/>
                <a:gd name="connsiteX1" fmla="*/ 947057 w 3950380"/>
                <a:gd name="connsiteY1" fmla="*/ 2405743 h 2405743"/>
                <a:gd name="connsiteX2" fmla="*/ 2601686 w 3950380"/>
                <a:gd name="connsiteY2" fmla="*/ 0 h 2405743"/>
                <a:gd name="connsiteX3" fmla="*/ 3950380 w 3950380"/>
                <a:gd name="connsiteY3" fmla="*/ 1700 h 2405743"/>
              </a:gdLst>
              <a:ahLst/>
              <a:cxnLst>
                <a:cxn ang="0">
                  <a:pos x="connsiteX0" y="connsiteY0"/>
                </a:cxn>
                <a:cxn ang="0">
                  <a:pos x="connsiteX1" y="connsiteY1"/>
                </a:cxn>
                <a:cxn ang="0">
                  <a:pos x="connsiteX2" y="connsiteY2"/>
                </a:cxn>
                <a:cxn ang="0">
                  <a:pos x="connsiteX3" y="connsiteY3"/>
                </a:cxn>
              </a:cxnLst>
              <a:rect l="l" t="t" r="r" b="b"/>
              <a:pathLst>
                <a:path w="3950380" h="2405743">
                  <a:moveTo>
                    <a:pt x="0" y="2405743"/>
                  </a:moveTo>
                  <a:lnTo>
                    <a:pt x="947057" y="2405743"/>
                  </a:lnTo>
                  <a:lnTo>
                    <a:pt x="2601686" y="0"/>
                  </a:lnTo>
                  <a:lnTo>
                    <a:pt x="3950380" y="1700"/>
                  </a:lnTo>
                </a:path>
              </a:pathLst>
            </a:custGeom>
            <a:noFill/>
            <a:ln w="114300">
              <a:solidFill>
                <a:sysClr val="window" lastClr="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FFFFFF"/>
                </a:solidFill>
                <a:effectLst/>
                <a:uLnTx/>
                <a:uFillTx/>
                <a:latin typeface="Arial"/>
                <a:cs typeface="+mn-cs"/>
              </a:endParaRPr>
            </a:p>
          </p:txBody>
        </p:sp>
        <p:sp>
          <p:nvSpPr>
            <p:cNvPr id="5" name="Freeform: Shape 386">
              <a:extLst>
                <a:ext uri="{FF2B5EF4-FFF2-40B4-BE49-F238E27FC236}">
                  <a16:creationId xmlns:a16="http://schemas.microsoft.com/office/drawing/2014/main" id="{7C7BBCBD-EE8C-4B04-8054-61836D211C70}"/>
                </a:ext>
              </a:extLst>
            </p:cNvPr>
            <p:cNvSpPr/>
            <p:nvPr/>
          </p:nvSpPr>
          <p:spPr>
            <a:xfrm flipH="1" flipV="1">
              <a:off x="4258779" y="3563563"/>
              <a:ext cx="5259061" cy="1564658"/>
            </a:xfrm>
            <a:custGeom>
              <a:avLst/>
              <a:gdLst>
                <a:gd name="connsiteX0" fmla="*/ 0 w 5050971"/>
                <a:gd name="connsiteY0" fmla="*/ 2405743 h 2405743"/>
                <a:gd name="connsiteX1" fmla="*/ 947057 w 5050971"/>
                <a:gd name="connsiteY1" fmla="*/ 2405743 h 2405743"/>
                <a:gd name="connsiteX2" fmla="*/ 2601686 w 5050971"/>
                <a:gd name="connsiteY2" fmla="*/ 0 h 2405743"/>
                <a:gd name="connsiteX3" fmla="*/ 4288971 w 5050971"/>
                <a:gd name="connsiteY3" fmla="*/ 0 h 2405743"/>
                <a:gd name="connsiteX4" fmla="*/ 5050971 w 5050971"/>
                <a:gd name="connsiteY4" fmla="*/ 315686 h 2405743"/>
                <a:gd name="connsiteX0" fmla="*/ 0 w 4288971"/>
                <a:gd name="connsiteY0" fmla="*/ 2405743 h 2405743"/>
                <a:gd name="connsiteX1" fmla="*/ 947057 w 4288971"/>
                <a:gd name="connsiteY1" fmla="*/ 2405743 h 2405743"/>
                <a:gd name="connsiteX2" fmla="*/ 2601686 w 4288971"/>
                <a:gd name="connsiteY2" fmla="*/ 0 h 2405743"/>
                <a:gd name="connsiteX3" fmla="*/ 4288971 w 4288971"/>
                <a:gd name="connsiteY3" fmla="*/ 0 h 2405743"/>
                <a:gd name="connsiteX0" fmla="*/ 0 w 4833257"/>
                <a:gd name="connsiteY0" fmla="*/ 2405743 h 2405743"/>
                <a:gd name="connsiteX1" fmla="*/ 947057 w 4833257"/>
                <a:gd name="connsiteY1" fmla="*/ 2405743 h 2405743"/>
                <a:gd name="connsiteX2" fmla="*/ 2601686 w 4833257"/>
                <a:gd name="connsiteY2" fmla="*/ 0 h 2405743"/>
                <a:gd name="connsiteX3" fmla="*/ 4833257 w 4833257"/>
                <a:gd name="connsiteY3" fmla="*/ 32658 h 2405743"/>
                <a:gd name="connsiteX0" fmla="*/ 0 w 4833257"/>
                <a:gd name="connsiteY0" fmla="*/ 2405743 h 2405743"/>
                <a:gd name="connsiteX1" fmla="*/ 947057 w 4833257"/>
                <a:gd name="connsiteY1" fmla="*/ 2405743 h 2405743"/>
                <a:gd name="connsiteX2" fmla="*/ 2601686 w 4833257"/>
                <a:gd name="connsiteY2" fmla="*/ 0 h 2405743"/>
                <a:gd name="connsiteX3" fmla="*/ 4833257 w 4833257"/>
                <a:gd name="connsiteY3" fmla="*/ 32658 h 2405743"/>
                <a:gd name="connsiteX0" fmla="*/ 0 w 5099957"/>
                <a:gd name="connsiteY0" fmla="*/ 2421433 h 2421433"/>
                <a:gd name="connsiteX1" fmla="*/ 947057 w 5099957"/>
                <a:gd name="connsiteY1" fmla="*/ 2421433 h 2421433"/>
                <a:gd name="connsiteX2" fmla="*/ 2601686 w 5099957"/>
                <a:gd name="connsiteY2" fmla="*/ 15690 h 2421433"/>
                <a:gd name="connsiteX3" fmla="*/ 5099957 w 5099957"/>
                <a:gd name="connsiteY3" fmla="*/ 10248 h 2421433"/>
                <a:gd name="connsiteX0" fmla="*/ 0 w 5169807"/>
                <a:gd name="connsiteY0" fmla="*/ 2405743 h 2405743"/>
                <a:gd name="connsiteX1" fmla="*/ 947057 w 5169807"/>
                <a:gd name="connsiteY1" fmla="*/ 2405743 h 2405743"/>
                <a:gd name="connsiteX2" fmla="*/ 2601686 w 5169807"/>
                <a:gd name="connsiteY2" fmla="*/ 0 h 2405743"/>
                <a:gd name="connsiteX3" fmla="*/ 5169807 w 5169807"/>
                <a:gd name="connsiteY3" fmla="*/ 83458 h 2405743"/>
                <a:gd name="connsiteX0" fmla="*/ 0 w 5163457"/>
                <a:gd name="connsiteY0" fmla="*/ 2405743 h 2405743"/>
                <a:gd name="connsiteX1" fmla="*/ 947057 w 5163457"/>
                <a:gd name="connsiteY1" fmla="*/ 2405743 h 2405743"/>
                <a:gd name="connsiteX2" fmla="*/ 2601686 w 5163457"/>
                <a:gd name="connsiteY2" fmla="*/ 0 h 2405743"/>
                <a:gd name="connsiteX3" fmla="*/ 5163457 w 5163457"/>
                <a:gd name="connsiteY3" fmla="*/ 32658 h 2405743"/>
                <a:gd name="connsiteX0" fmla="*/ 0 w 5163457"/>
                <a:gd name="connsiteY0" fmla="*/ 2405743 h 2405743"/>
                <a:gd name="connsiteX1" fmla="*/ 947057 w 5163457"/>
                <a:gd name="connsiteY1" fmla="*/ 2405743 h 2405743"/>
                <a:gd name="connsiteX2" fmla="*/ 2601686 w 5163457"/>
                <a:gd name="connsiteY2" fmla="*/ 0 h 2405743"/>
                <a:gd name="connsiteX3" fmla="*/ 5163457 w 5163457"/>
                <a:gd name="connsiteY3" fmla="*/ 32658 h 2405743"/>
                <a:gd name="connsiteX0" fmla="*/ 0 w 5163457"/>
                <a:gd name="connsiteY0" fmla="*/ 2405743 h 2405743"/>
                <a:gd name="connsiteX1" fmla="*/ 947057 w 5163457"/>
                <a:gd name="connsiteY1" fmla="*/ 2405743 h 2405743"/>
                <a:gd name="connsiteX2" fmla="*/ 2601686 w 5163457"/>
                <a:gd name="connsiteY2" fmla="*/ 0 h 2405743"/>
                <a:gd name="connsiteX3" fmla="*/ 5163457 w 5163457"/>
                <a:gd name="connsiteY3" fmla="*/ 32658 h 2405743"/>
                <a:gd name="connsiteX0" fmla="*/ 0 w 5151551"/>
                <a:gd name="connsiteY0" fmla="*/ 2418329 h 2418329"/>
                <a:gd name="connsiteX1" fmla="*/ 947057 w 5151551"/>
                <a:gd name="connsiteY1" fmla="*/ 2418329 h 2418329"/>
                <a:gd name="connsiteX2" fmla="*/ 2601686 w 5151551"/>
                <a:gd name="connsiteY2" fmla="*/ 12586 h 2418329"/>
                <a:gd name="connsiteX3" fmla="*/ 5151551 w 5151551"/>
                <a:gd name="connsiteY3" fmla="*/ 0 h 2418329"/>
                <a:gd name="connsiteX0" fmla="*/ 0 w 5158694"/>
                <a:gd name="connsiteY0" fmla="*/ 2405743 h 2405743"/>
                <a:gd name="connsiteX1" fmla="*/ 947057 w 5158694"/>
                <a:gd name="connsiteY1" fmla="*/ 2405743 h 2405743"/>
                <a:gd name="connsiteX2" fmla="*/ 2601686 w 5158694"/>
                <a:gd name="connsiteY2" fmla="*/ 0 h 2405743"/>
                <a:gd name="connsiteX3" fmla="*/ 5158694 w 5158694"/>
                <a:gd name="connsiteY3" fmla="*/ 1701 h 2405743"/>
                <a:gd name="connsiteX0" fmla="*/ 0 w 7226979"/>
                <a:gd name="connsiteY0" fmla="*/ 2394857 h 2405743"/>
                <a:gd name="connsiteX1" fmla="*/ 3015342 w 7226979"/>
                <a:gd name="connsiteY1" fmla="*/ 2405743 h 2405743"/>
                <a:gd name="connsiteX2" fmla="*/ 4669971 w 7226979"/>
                <a:gd name="connsiteY2" fmla="*/ 0 h 2405743"/>
                <a:gd name="connsiteX3" fmla="*/ 7226979 w 7226979"/>
                <a:gd name="connsiteY3" fmla="*/ 1701 h 2405743"/>
                <a:gd name="connsiteX0" fmla="*/ 0 w 7237865"/>
                <a:gd name="connsiteY0" fmla="*/ 2394857 h 2405743"/>
                <a:gd name="connsiteX1" fmla="*/ 3015342 w 7237865"/>
                <a:gd name="connsiteY1" fmla="*/ 2405743 h 2405743"/>
                <a:gd name="connsiteX2" fmla="*/ 4669971 w 7237865"/>
                <a:gd name="connsiteY2" fmla="*/ 0 h 2405743"/>
                <a:gd name="connsiteX3" fmla="*/ 7237865 w 7237865"/>
                <a:gd name="connsiteY3" fmla="*/ 1046729 h 2405743"/>
                <a:gd name="connsiteX0" fmla="*/ 0 w 7237865"/>
                <a:gd name="connsiteY0" fmla="*/ 1654628 h 1665514"/>
                <a:gd name="connsiteX1" fmla="*/ 3015342 w 7237865"/>
                <a:gd name="connsiteY1" fmla="*/ 1665514 h 1665514"/>
                <a:gd name="connsiteX2" fmla="*/ 4691742 w 7237865"/>
                <a:gd name="connsiteY2" fmla="*/ 0 h 1665514"/>
                <a:gd name="connsiteX3" fmla="*/ 7237865 w 7237865"/>
                <a:gd name="connsiteY3" fmla="*/ 306500 h 1665514"/>
                <a:gd name="connsiteX0" fmla="*/ 0 w 7248751"/>
                <a:gd name="connsiteY0" fmla="*/ 1654628 h 1665514"/>
                <a:gd name="connsiteX1" fmla="*/ 3015342 w 7248751"/>
                <a:gd name="connsiteY1" fmla="*/ 1665514 h 1665514"/>
                <a:gd name="connsiteX2" fmla="*/ 4691742 w 7248751"/>
                <a:gd name="connsiteY2" fmla="*/ 0 h 1665514"/>
                <a:gd name="connsiteX3" fmla="*/ 7248751 w 7248751"/>
                <a:gd name="connsiteY3" fmla="*/ 34357 h 1665514"/>
                <a:gd name="connsiteX0" fmla="*/ 0 w 7259636"/>
                <a:gd name="connsiteY0" fmla="*/ 1654628 h 1665514"/>
                <a:gd name="connsiteX1" fmla="*/ 3015342 w 7259636"/>
                <a:gd name="connsiteY1" fmla="*/ 1665514 h 1665514"/>
                <a:gd name="connsiteX2" fmla="*/ 4691742 w 7259636"/>
                <a:gd name="connsiteY2" fmla="*/ 0 h 1665514"/>
                <a:gd name="connsiteX3" fmla="*/ 7259636 w 7259636"/>
                <a:gd name="connsiteY3" fmla="*/ 12585 h 1665514"/>
                <a:gd name="connsiteX0" fmla="*/ 0 w 7259636"/>
                <a:gd name="connsiteY0" fmla="*/ 1643743 h 1654629"/>
                <a:gd name="connsiteX1" fmla="*/ 3015342 w 7259636"/>
                <a:gd name="connsiteY1" fmla="*/ 1654629 h 1654629"/>
                <a:gd name="connsiteX2" fmla="*/ 3984170 w 7259636"/>
                <a:gd name="connsiteY2" fmla="*/ 0 h 1654629"/>
                <a:gd name="connsiteX3" fmla="*/ 7259636 w 7259636"/>
                <a:gd name="connsiteY3" fmla="*/ 1700 h 1654629"/>
                <a:gd name="connsiteX0" fmla="*/ 0 w 5332865"/>
                <a:gd name="connsiteY0" fmla="*/ 1643743 h 1654629"/>
                <a:gd name="connsiteX1" fmla="*/ 3015342 w 5332865"/>
                <a:gd name="connsiteY1" fmla="*/ 1654629 h 1654629"/>
                <a:gd name="connsiteX2" fmla="*/ 3984170 w 5332865"/>
                <a:gd name="connsiteY2" fmla="*/ 0 h 1654629"/>
                <a:gd name="connsiteX3" fmla="*/ 5332865 w 5332865"/>
                <a:gd name="connsiteY3" fmla="*/ 1700 h 1654629"/>
                <a:gd name="connsiteX0" fmla="*/ 0 w 5561465"/>
                <a:gd name="connsiteY0" fmla="*/ 1643743 h 1654629"/>
                <a:gd name="connsiteX1" fmla="*/ 3015342 w 5561465"/>
                <a:gd name="connsiteY1" fmla="*/ 1654629 h 1654629"/>
                <a:gd name="connsiteX2" fmla="*/ 3984170 w 5561465"/>
                <a:gd name="connsiteY2" fmla="*/ 0 h 1654629"/>
                <a:gd name="connsiteX3" fmla="*/ 5561465 w 5561465"/>
                <a:gd name="connsiteY3" fmla="*/ 1700 h 1654629"/>
              </a:gdLst>
              <a:ahLst/>
              <a:cxnLst>
                <a:cxn ang="0">
                  <a:pos x="connsiteX0" y="connsiteY0"/>
                </a:cxn>
                <a:cxn ang="0">
                  <a:pos x="connsiteX1" y="connsiteY1"/>
                </a:cxn>
                <a:cxn ang="0">
                  <a:pos x="connsiteX2" y="connsiteY2"/>
                </a:cxn>
                <a:cxn ang="0">
                  <a:pos x="connsiteX3" y="connsiteY3"/>
                </a:cxn>
              </a:cxnLst>
              <a:rect l="l" t="t" r="r" b="b"/>
              <a:pathLst>
                <a:path w="5561465" h="1654629">
                  <a:moveTo>
                    <a:pt x="0" y="1643743"/>
                  </a:moveTo>
                  <a:lnTo>
                    <a:pt x="3015342" y="1654629"/>
                  </a:lnTo>
                  <a:lnTo>
                    <a:pt x="3984170" y="0"/>
                  </a:lnTo>
                  <a:lnTo>
                    <a:pt x="5561465" y="1700"/>
                  </a:lnTo>
                </a:path>
              </a:pathLst>
            </a:custGeom>
            <a:noFill/>
            <a:ln w="114300">
              <a:solidFill>
                <a:sysClr val="window" lastClr="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FFFFFF"/>
                </a:solidFill>
                <a:effectLst/>
                <a:uLnTx/>
                <a:uFillTx/>
                <a:latin typeface="Arial"/>
                <a:cs typeface="+mn-cs"/>
              </a:endParaRPr>
            </a:p>
          </p:txBody>
        </p:sp>
        <p:sp>
          <p:nvSpPr>
            <p:cNvPr id="6" name="Freeform: Shape 387">
              <a:extLst>
                <a:ext uri="{FF2B5EF4-FFF2-40B4-BE49-F238E27FC236}">
                  <a16:creationId xmlns:a16="http://schemas.microsoft.com/office/drawing/2014/main" id="{B2F7034F-5A7C-4695-A7F1-A3CDBACE4018}"/>
                </a:ext>
              </a:extLst>
            </p:cNvPr>
            <p:cNvSpPr/>
            <p:nvPr/>
          </p:nvSpPr>
          <p:spPr>
            <a:xfrm flipH="1" flipV="1">
              <a:off x="3208818" y="3407031"/>
              <a:ext cx="5489384" cy="960924"/>
            </a:xfrm>
            <a:custGeom>
              <a:avLst/>
              <a:gdLst>
                <a:gd name="connsiteX0" fmla="*/ 0 w 5050971"/>
                <a:gd name="connsiteY0" fmla="*/ 2405743 h 2405743"/>
                <a:gd name="connsiteX1" fmla="*/ 947057 w 5050971"/>
                <a:gd name="connsiteY1" fmla="*/ 2405743 h 2405743"/>
                <a:gd name="connsiteX2" fmla="*/ 2601686 w 5050971"/>
                <a:gd name="connsiteY2" fmla="*/ 0 h 2405743"/>
                <a:gd name="connsiteX3" fmla="*/ 4288971 w 5050971"/>
                <a:gd name="connsiteY3" fmla="*/ 0 h 2405743"/>
                <a:gd name="connsiteX4" fmla="*/ 5050971 w 5050971"/>
                <a:gd name="connsiteY4" fmla="*/ 315686 h 2405743"/>
                <a:gd name="connsiteX0" fmla="*/ 0 w 4288971"/>
                <a:gd name="connsiteY0" fmla="*/ 2405743 h 2405743"/>
                <a:gd name="connsiteX1" fmla="*/ 947057 w 4288971"/>
                <a:gd name="connsiteY1" fmla="*/ 2405743 h 2405743"/>
                <a:gd name="connsiteX2" fmla="*/ 2601686 w 4288971"/>
                <a:gd name="connsiteY2" fmla="*/ 0 h 2405743"/>
                <a:gd name="connsiteX3" fmla="*/ 4288971 w 4288971"/>
                <a:gd name="connsiteY3" fmla="*/ 0 h 2405743"/>
                <a:gd name="connsiteX0" fmla="*/ 0 w 4833257"/>
                <a:gd name="connsiteY0" fmla="*/ 2405743 h 2405743"/>
                <a:gd name="connsiteX1" fmla="*/ 947057 w 4833257"/>
                <a:gd name="connsiteY1" fmla="*/ 2405743 h 2405743"/>
                <a:gd name="connsiteX2" fmla="*/ 2601686 w 4833257"/>
                <a:gd name="connsiteY2" fmla="*/ 0 h 2405743"/>
                <a:gd name="connsiteX3" fmla="*/ 4833257 w 4833257"/>
                <a:gd name="connsiteY3" fmla="*/ 32658 h 2405743"/>
                <a:gd name="connsiteX0" fmla="*/ 0 w 4833257"/>
                <a:gd name="connsiteY0" fmla="*/ 2405743 h 2405743"/>
                <a:gd name="connsiteX1" fmla="*/ 947057 w 4833257"/>
                <a:gd name="connsiteY1" fmla="*/ 2405743 h 2405743"/>
                <a:gd name="connsiteX2" fmla="*/ 2601686 w 4833257"/>
                <a:gd name="connsiteY2" fmla="*/ 0 h 2405743"/>
                <a:gd name="connsiteX3" fmla="*/ 4833257 w 4833257"/>
                <a:gd name="connsiteY3" fmla="*/ 32658 h 2405743"/>
                <a:gd name="connsiteX0" fmla="*/ 0 w 5099957"/>
                <a:gd name="connsiteY0" fmla="*/ 2421433 h 2421433"/>
                <a:gd name="connsiteX1" fmla="*/ 947057 w 5099957"/>
                <a:gd name="connsiteY1" fmla="*/ 2421433 h 2421433"/>
                <a:gd name="connsiteX2" fmla="*/ 2601686 w 5099957"/>
                <a:gd name="connsiteY2" fmla="*/ 15690 h 2421433"/>
                <a:gd name="connsiteX3" fmla="*/ 5099957 w 5099957"/>
                <a:gd name="connsiteY3" fmla="*/ 10248 h 2421433"/>
                <a:gd name="connsiteX0" fmla="*/ 0 w 5169807"/>
                <a:gd name="connsiteY0" fmla="*/ 2405743 h 2405743"/>
                <a:gd name="connsiteX1" fmla="*/ 947057 w 5169807"/>
                <a:gd name="connsiteY1" fmla="*/ 2405743 h 2405743"/>
                <a:gd name="connsiteX2" fmla="*/ 2601686 w 5169807"/>
                <a:gd name="connsiteY2" fmla="*/ 0 h 2405743"/>
                <a:gd name="connsiteX3" fmla="*/ 5169807 w 5169807"/>
                <a:gd name="connsiteY3" fmla="*/ 83458 h 2405743"/>
                <a:gd name="connsiteX0" fmla="*/ 0 w 5163457"/>
                <a:gd name="connsiteY0" fmla="*/ 2405743 h 2405743"/>
                <a:gd name="connsiteX1" fmla="*/ 947057 w 5163457"/>
                <a:gd name="connsiteY1" fmla="*/ 2405743 h 2405743"/>
                <a:gd name="connsiteX2" fmla="*/ 2601686 w 5163457"/>
                <a:gd name="connsiteY2" fmla="*/ 0 h 2405743"/>
                <a:gd name="connsiteX3" fmla="*/ 5163457 w 5163457"/>
                <a:gd name="connsiteY3" fmla="*/ 32658 h 2405743"/>
                <a:gd name="connsiteX0" fmla="*/ 0 w 5163457"/>
                <a:gd name="connsiteY0" fmla="*/ 2405743 h 2405743"/>
                <a:gd name="connsiteX1" fmla="*/ 947057 w 5163457"/>
                <a:gd name="connsiteY1" fmla="*/ 2405743 h 2405743"/>
                <a:gd name="connsiteX2" fmla="*/ 2601686 w 5163457"/>
                <a:gd name="connsiteY2" fmla="*/ 0 h 2405743"/>
                <a:gd name="connsiteX3" fmla="*/ 5163457 w 5163457"/>
                <a:gd name="connsiteY3" fmla="*/ 32658 h 2405743"/>
                <a:gd name="connsiteX0" fmla="*/ 0 w 5163457"/>
                <a:gd name="connsiteY0" fmla="*/ 2405743 h 2405743"/>
                <a:gd name="connsiteX1" fmla="*/ 947057 w 5163457"/>
                <a:gd name="connsiteY1" fmla="*/ 2405743 h 2405743"/>
                <a:gd name="connsiteX2" fmla="*/ 2601686 w 5163457"/>
                <a:gd name="connsiteY2" fmla="*/ 0 h 2405743"/>
                <a:gd name="connsiteX3" fmla="*/ 5163457 w 5163457"/>
                <a:gd name="connsiteY3" fmla="*/ 32658 h 2405743"/>
                <a:gd name="connsiteX0" fmla="*/ 0 w 5151551"/>
                <a:gd name="connsiteY0" fmla="*/ 2418329 h 2418329"/>
                <a:gd name="connsiteX1" fmla="*/ 947057 w 5151551"/>
                <a:gd name="connsiteY1" fmla="*/ 2418329 h 2418329"/>
                <a:gd name="connsiteX2" fmla="*/ 2601686 w 5151551"/>
                <a:gd name="connsiteY2" fmla="*/ 12586 h 2418329"/>
                <a:gd name="connsiteX3" fmla="*/ 5151551 w 5151551"/>
                <a:gd name="connsiteY3" fmla="*/ 0 h 2418329"/>
                <a:gd name="connsiteX0" fmla="*/ 0 w 5158694"/>
                <a:gd name="connsiteY0" fmla="*/ 2405743 h 2405743"/>
                <a:gd name="connsiteX1" fmla="*/ 947057 w 5158694"/>
                <a:gd name="connsiteY1" fmla="*/ 2405743 h 2405743"/>
                <a:gd name="connsiteX2" fmla="*/ 2601686 w 5158694"/>
                <a:gd name="connsiteY2" fmla="*/ 0 h 2405743"/>
                <a:gd name="connsiteX3" fmla="*/ 5158694 w 5158694"/>
                <a:gd name="connsiteY3" fmla="*/ 1701 h 2405743"/>
                <a:gd name="connsiteX0" fmla="*/ 0 w 7226979"/>
                <a:gd name="connsiteY0" fmla="*/ 2394857 h 2405743"/>
                <a:gd name="connsiteX1" fmla="*/ 3015342 w 7226979"/>
                <a:gd name="connsiteY1" fmla="*/ 2405743 h 2405743"/>
                <a:gd name="connsiteX2" fmla="*/ 4669971 w 7226979"/>
                <a:gd name="connsiteY2" fmla="*/ 0 h 2405743"/>
                <a:gd name="connsiteX3" fmla="*/ 7226979 w 7226979"/>
                <a:gd name="connsiteY3" fmla="*/ 1701 h 2405743"/>
                <a:gd name="connsiteX0" fmla="*/ 0 w 7237865"/>
                <a:gd name="connsiteY0" fmla="*/ 2394857 h 2405743"/>
                <a:gd name="connsiteX1" fmla="*/ 3015342 w 7237865"/>
                <a:gd name="connsiteY1" fmla="*/ 2405743 h 2405743"/>
                <a:gd name="connsiteX2" fmla="*/ 4669971 w 7237865"/>
                <a:gd name="connsiteY2" fmla="*/ 0 h 2405743"/>
                <a:gd name="connsiteX3" fmla="*/ 7237865 w 7237865"/>
                <a:gd name="connsiteY3" fmla="*/ 1046729 h 2405743"/>
                <a:gd name="connsiteX0" fmla="*/ 0 w 7237865"/>
                <a:gd name="connsiteY0" fmla="*/ 1654628 h 1665514"/>
                <a:gd name="connsiteX1" fmla="*/ 3015342 w 7237865"/>
                <a:gd name="connsiteY1" fmla="*/ 1665514 h 1665514"/>
                <a:gd name="connsiteX2" fmla="*/ 4691742 w 7237865"/>
                <a:gd name="connsiteY2" fmla="*/ 0 h 1665514"/>
                <a:gd name="connsiteX3" fmla="*/ 7237865 w 7237865"/>
                <a:gd name="connsiteY3" fmla="*/ 306500 h 1665514"/>
                <a:gd name="connsiteX0" fmla="*/ 0 w 7248751"/>
                <a:gd name="connsiteY0" fmla="*/ 1654628 h 1665514"/>
                <a:gd name="connsiteX1" fmla="*/ 3015342 w 7248751"/>
                <a:gd name="connsiteY1" fmla="*/ 1665514 h 1665514"/>
                <a:gd name="connsiteX2" fmla="*/ 4691742 w 7248751"/>
                <a:gd name="connsiteY2" fmla="*/ 0 h 1665514"/>
                <a:gd name="connsiteX3" fmla="*/ 7248751 w 7248751"/>
                <a:gd name="connsiteY3" fmla="*/ 34357 h 1665514"/>
                <a:gd name="connsiteX0" fmla="*/ 0 w 7259636"/>
                <a:gd name="connsiteY0" fmla="*/ 1654628 h 1665514"/>
                <a:gd name="connsiteX1" fmla="*/ 3015342 w 7259636"/>
                <a:gd name="connsiteY1" fmla="*/ 1665514 h 1665514"/>
                <a:gd name="connsiteX2" fmla="*/ 4691742 w 7259636"/>
                <a:gd name="connsiteY2" fmla="*/ 0 h 1665514"/>
                <a:gd name="connsiteX3" fmla="*/ 7259636 w 7259636"/>
                <a:gd name="connsiteY3" fmla="*/ 12585 h 1665514"/>
                <a:gd name="connsiteX0" fmla="*/ 0 w 7259636"/>
                <a:gd name="connsiteY0" fmla="*/ 1643743 h 1654629"/>
                <a:gd name="connsiteX1" fmla="*/ 3015342 w 7259636"/>
                <a:gd name="connsiteY1" fmla="*/ 1654629 h 1654629"/>
                <a:gd name="connsiteX2" fmla="*/ 3984170 w 7259636"/>
                <a:gd name="connsiteY2" fmla="*/ 0 h 1654629"/>
                <a:gd name="connsiteX3" fmla="*/ 7259636 w 7259636"/>
                <a:gd name="connsiteY3" fmla="*/ 1700 h 1654629"/>
                <a:gd name="connsiteX0" fmla="*/ 0 w 5332865"/>
                <a:gd name="connsiteY0" fmla="*/ 1643743 h 1654629"/>
                <a:gd name="connsiteX1" fmla="*/ 3015342 w 5332865"/>
                <a:gd name="connsiteY1" fmla="*/ 1654629 h 1654629"/>
                <a:gd name="connsiteX2" fmla="*/ 3984170 w 5332865"/>
                <a:gd name="connsiteY2" fmla="*/ 0 h 1654629"/>
                <a:gd name="connsiteX3" fmla="*/ 5332865 w 5332865"/>
                <a:gd name="connsiteY3" fmla="*/ 1700 h 1654629"/>
                <a:gd name="connsiteX0" fmla="*/ 0 w 5561465"/>
                <a:gd name="connsiteY0" fmla="*/ 1643743 h 1654629"/>
                <a:gd name="connsiteX1" fmla="*/ 3015342 w 5561465"/>
                <a:gd name="connsiteY1" fmla="*/ 1654629 h 1654629"/>
                <a:gd name="connsiteX2" fmla="*/ 3984170 w 5561465"/>
                <a:gd name="connsiteY2" fmla="*/ 0 h 1654629"/>
                <a:gd name="connsiteX3" fmla="*/ 5561465 w 5561465"/>
                <a:gd name="connsiteY3" fmla="*/ 1700 h 1654629"/>
                <a:gd name="connsiteX0" fmla="*/ 0 w 8511493"/>
                <a:gd name="connsiteY0" fmla="*/ 1652929 h 1663815"/>
                <a:gd name="connsiteX1" fmla="*/ 3015342 w 8511493"/>
                <a:gd name="connsiteY1" fmla="*/ 1663815 h 1663815"/>
                <a:gd name="connsiteX2" fmla="*/ 3984170 w 8511493"/>
                <a:gd name="connsiteY2" fmla="*/ 9186 h 1663815"/>
                <a:gd name="connsiteX3" fmla="*/ 8511493 w 8511493"/>
                <a:gd name="connsiteY3" fmla="*/ 0 h 1663815"/>
                <a:gd name="connsiteX0" fmla="*/ 0 w 8511493"/>
                <a:gd name="connsiteY0" fmla="*/ 1654628 h 1665514"/>
                <a:gd name="connsiteX1" fmla="*/ 3015342 w 8511493"/>
                <a:gd name="connsiteY1" fmla="*/ 1665514 h 1665514"/>
                <a:gd name="connsiteX2" fmla="*/ 6553199 w 8511493"/>
                <a:gd name="connsiteY2" fmla="*/ 0 h 1665514"/>
                <a:gd name="connsiteX3" fmla="*/ 8511493 w 8511493"/>
                <a:gd name="connsiteY3" fmla="*/ 1699 h 1665514"/>
                <a:gd name="connsiteX0" fmla="*/ 0 w 8511493"/>
                <a:gd name="connsiteY0" fmla="*/ 1654628 h 1687285"/>
                <a:gd name="connsiteX1" fmla="*/ 5693228 w 8511493"/>
                <a:gd name="connsiteY1" fmla="*/ 1687285 h 1687285"/>
                <a:gd name="connsiteX2" fmla="*/ 6553199 w 8511493"/>
                <a:gd name="connsiteY2" fmla="*/ 0 h 1687285"/>
                <a:gd name="connsiteX3" fmla="*/ 8511493 w 8511493"/>
                <a:gd name="connsiteY3" fmla="*/ 1699 h 1687285"/>
                <a:gd name="connsiteX0" fmla="*/ 0 w 8511493"/>
                <a:gd name="connsiteY0" fmla="*/ 1652929 h 1685586"/>
                <a:gd name="connsiteX1" fmla="*/ 5693228 w 8511493"/>
                <a:gd name="connsiteY1" fmla="*/ 1685586 h 1685586"/>
                <a:gd name="connsiteX2" fmla="*/ 6357256 w 8511493"/>
                <a:gd name="connsiteY2" fmla="*/ 411958 h 1685586"/>
                <a:gd name="connsiteX3" fmla="*/ 8511493 w 8511493"/>
                <a:gd name="connsiteY3" fmla="*/ 0 h 1685586"/>
                <a:gd name="connsiteX0" fmla="*/ 0 w 8500607"/>
                <a:gd name="connsiteY0" fmla="*/ 1271929 h 1304586"/>
                <a:gd name="connsiteX1" fmla="*/ 5693228 w 8500607"/>
                <a:gd name="connsiteY1" fmla="*/ 1304586 h 1304586"/>
                <a:gd name="connsiteX2" fmla="*/ 6357256 w 8500607"/>
                <a:gd name="connsiteY2" fmla="*/ 30958 h 1304586"/>
                <a:gd name="connsiteX3" fmla="*/ 8500607 w 8500607"/>
                <a:gd name="connsiteY3" fmla="*/ 0 h 1304586"/>
                <a:gd name="connsiteX0" fmla="*/ 0 w 7386182"/>
                <a:gd name="connsiteY0" fmla="*/ 1243354 h 1276011"/>
                <a:gd name="connsiteX1" fmla="*/ 5693228 w 7386182"/>
                <a:gd name="connsiteY1" fmla="*/ 1276011 h 1276011"/>
                <a:gd name="connsiteX2" fmla="*/ 6357256 w 7386182"/>
                <a:gd name="connsiteY2" fmla="*/ 2383 h 1276011"/>
                <a:gd name="connsiteX3" fmla="*/ 7386182 w 7386182"/>
                <a:gd name="connsiteY3" fmla="*/ 0 h 1276011"/>
                <a:gd name="connsiteX0" fmla="*/ 0 w 5805032"/>
                <a:gd name="connsiteY0" fmla="*/ 1252879 h 1276011"/>
                <a:gd name="connsiteX1" fmla="*/ 4112078 w 5805032"/>
                <a:gd name="connsiteY1" fmla="*/ 1276011 h 1276011"/>
                <a:gd name="connsiteX2" fmla="*/ 4776106 w 5805032"/>
                <a:gd name="connsiteY2" fmla="*/ 2383 h 1276011"/>
                <a:gd name="connsiteX3" fmla="*/ 5805032 w 5805032"/>
                <a:gd name="connsiteY3" fmla="*/ 0 h 1276011"/>
              </a:gdLst>
              <a:ahLst/>
              <a:cxnLst>
                <a:cxn ang="0">
                  <a:pos x="connsiteX0" y="connsiteY0"/>
                </a:cxn>
                <a:cxn ang="0">
                  <a:pos x="connsiteX1" y="connsiteY1"/>
                </a:cxn>
                <a:cxn ang="0">
                  <a:pos x="connsiteX2" y="connsiteY2"/>
                </a:cxn>
                <a:cxn ang="0">
                  <a:pos x="connsiteX3" y="connsiteY3"/>
                </a:cxn>
              </a:cxnLst>
              <a:rect l="l" t="t" r="r" b="b"/>
              <a:pathLst>
                <a:path w="5805032" h="1276011">
                  <a:moveTo>
                    <a:pt x="0" y="1252879"/>
                  </a:moveTo>
                  <a:lnTo>
                    <a:pt x="4112078" y="1276011"/>
                  </a:lnTo>
                  <a:lnTo>
                    <a:pt x="4776106" y="2383"/>
                  </a:lnTo>
                  <a:lnTo>
                    <a:pt x="5805032" y="0"/>
                  </a:lnTo>
                </a:path>
              </a:pathLst>
            </a:custGeom>
            <a:noFill/>
            <a:ln w="114300">
              <a:solidFill>
                <a:sysClr val="window" lastClr="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FFFFFF"/>
                </a:solidFill>
                <a:effectLst/>
                <a:uLnTx/>
                <a:uFillTx/>
                <a:latin typeface="Arial"/>
                <a:cs typeface="+mn-cs"/>
              </a:endParaRPr>
            </a:p>
          </p:txBody>
        </p:sp>
        <p:sp>
          <p:nvSpPr>
            <p:cNvPr id="7" name="Teardrop 388">
              <a:extLst>
                <a:ext uri="{FF2B5EF4-FFF2-40B4-BE49-F238E27FC236}">
                  <a16:creationId xmlns:a16="http://schemas.microsoft.com/office/drawing/2014/main" id="{AA0A59F6-F6CA-42AA-B0CE-5D251AC8B8F1}"/>
                </a:ext>
              </a:extLst>
            </p:cNvPr>
            <p:cNvSpPr/>
            <p:nvPr/>
          </p:nvSpPr>
          <p:spPr>
            <a:xfrm rot="13500000" flipH="1" flipV="1">
              <a:off x="5468355" y="5345685"/>
              <a:ext cx="1195648" cy="1222029"/>
            </a:xfrm>
            <a:prstGeom prst="teardrop">
              <a:avLst/>
            </a:prstGeom>
            <a:pattFill prst="shingle">
              <a:fgClr>
                <a:schemeClr val="bg1">
                  <a:lumMod val="95000"/>
                </a:schemeClr>
              </a:fgClr>
              <a:bgClr>
                <a:schemeClr val="bg1"/>
              </a:bgClr>
            </a:pattFill>
            <a:ln w="12700" cap="flat" cmpd="sng" algn="ctr">
              <a:noFill/>
              <a:prstDash val="solid"/>
              <a:miter lim="800000"/>
            </a:ln>
            <a:effectLst>
              <a:outerShdw blurRad="215900" sx="104000" sy="104000" algn="ctr" rotWithShape="0">
                <a:prstClr val="black">
                  <a:alpha val="19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0" cap="none" spc="0" normalizeH="0" baseline="0" noProof="0">
                <a:ln>
                  <a:noFill/>
                </a:ln>
                <a:solidFill>
                  <a:prstClr val="white"/>
                </a:solidFill>
                <a:effectLst/>
                <a:uLnTx/>
                <a:uFillTx/>
                <a:latin typeface="Arial"/>
                <a:cs typeface="+mn-cs"/>
              </a:endParaRPr>
            </a:p>
          </p:txBody>
        </p:sp>
        <p:sp>
          <p:nvSpPr>
            <p:cNvPr id="8" name="Teardrop 389">
              <a:extLst>
                <a:ext uri="{FF2B5EF4-FFF2-40B4-BE49-F238E27FC236}">
                  <a16:creationId xmlns:a16="http://schemas.microsoft.com/office/drawing/2014/main" id="{2415F8EF-6C27-4D91-8D3E-928061ADEE18}"/>
                </a:ext>
              </a:extLst>
            </p:cNvPr>
            <p:cNvSpPr/>
            <p:nvPr/>
          </p:nvSpPr>
          <p:spPr>
            <a:xfrm rot="13500000" flipH="1" flipV="1">
              <a:off x="3878824" y="4524788"/>
              <a:ext cx="1195648" cy="1222029"/>
            </a:xfrm>
            <a:prstGeom prst="teardrop">
              <a:avLst/>
            </a:prstGeom>
            <a:pattFill prst="shingle">
              <a:fgClr>
                <a:schemeClr val="bg1">
                  <a:lumMod val="95000"/>
                </a:schemeClr>
              </a:fgClr>
              <a:bgClr>
                <a:schemeClr val="bg1"/>
              </a:bgClr>
            </a:pattFill>
            <a:ln w="12700" cap="flat" cmpd="sng" algn="ctr">
              <a:noFill/>
              <a:prstDash val="solid"/>
              <a:miter lim="800000"/>
            </a:ln>
            <a:effectLst>
              <a:outerShdw blurRad="215900" sx="104000" sy="104000" algn="ctr" rotWithShape="0">
                <a:prstClr val="black">
                  <a:alpha val="19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0" cap="none" spc="0" normalizeH="0" baseline="0" noProof="0">
                <a:ln>
                  <a:noFill/>
                </a:ln>
                <a:solidFill>
                  <a:prstClr val="white"/>
                </a:solidFill>
                <a:effectLst/>
                <a:uLnTx/>
                <a:uFillTx/>
                <a:latin typeface="Arial"/>
                <a:cs typeface="+mn-cs"/>
              </a:endParaRPr>
            </a:p>
          </p:txBody>
        </p:sp>
        <p:sp>
          <p:nvSpPr>
            <p:cNvPr id="9" name="Teardrop 390">
              <a:extLst>
                <a:ext uri="{FF2B5EF4-FFF2-40B4-BE49-F238E27FC236}">
                  <a16:creationId xmlns:a16="http://schemas.microsoft.com/office/drawing/2014/main" id="{4539E3B0-8B39-4A90-861A-582871903D52}"/>
                </a:ext>
              </a:extLst>
            </p:cNvPr>
            <p:cNvSpPr/>
            <p:nvPr/>
          </p:nvSpPr>
          <p:spPr>
            <a:xfrm rot="13500000" flipH="1" flipV="1">
              <a:off x="2289292" y="3769729"/>
              <a:ext cx="1195648" cy="1222029"/>
            </a:xfrm>
            <a:prstGeom prst="teardrop">
              <a:avLst/>
            </a:prstGeom>
            <a:pattFill prst="shingle">
              <a:fgClr>
                <a:schemeClr val="bg1">
                  <a:lumMod val="95000"/>
                </a:schemeClr>
              </a:fgClr>
              <a:bgClr>
                <a:schemeClr val="bg1"/>
              </a:bgClr>
            </a:pattFill>
            <a:ln w="12700" cap="flat" cmpd="sng" algn="ctr">
              <a:noFill/>
              <a:prstDash val="solid"/>
              <a:miter lim="800000"/>
            </a:ln>
            <a:effectLst>
              <a:outerShdw blurRad="215900" sx="104000" sy="104000" algn="ctr" rotWithShape="0">
                <a:prstClr val="black">
                  <a:alpha val="19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0" cap="none" spc="0" normalizeH="0" baseline="0" noProof="0">
                <a:ln>
                  <a:noFill/>
                </a:ln>
                <a:solidFill>
                  <a:prstClr val="white"/>
                </a:solidFill>
                <a:effectLst/>
                <a:uLnTx/>
                <a:uFillTx/>
                <a:latin typeface="Arial"/>
                <a:cs typeface="+mn-cs"/>
              </a:endParaRPr>
            </a:p>
          </p:txBody>
        </p:sp>
        <p:sp>
          <p:nvSpPr>
            <p:cNvPr id="10" name="Rectangle 391">
              <a:extLst>
                <a:ext uri="{FF2B5EF4-FFF2-40B4-BE49-F238E27FC236}">
                  <a16:creationId xmlns:a16="http://schemas.microsoft.com/office/drawing/2014/main" id="{23261957-AE76-429F-9841-69C0AC0D4153}"/>
                </a:ext>
              </a:extLst>
            </p:cNvPr>
            <p:cNvSpPr/>
            <p:nvPr/>
          </p:nvSpPr>
          <p:spPr>
            <a:xfrm flipH="1">
              <a:off x="5781947" y="5828382"/>
              <a:ext cx="578852" cy="441298"/>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chemeClr val="accent1"/>
                  </a:solidFill>
                  <a:effectLst/>
                  <a:uLnTx/>
                  <a:uFillTx/>
                  <a:latin typeface="Gill Sans MT" panose="020B0502020104020203" pitchFamily="34" charset="0"/>
                  <a:cs typeface="Segoe UI" panose="020B0502040204020203" pitchFamily="34" charset="0"/>
                </a:rPr>
                <a:t>Lorem Ipsum</a:t>
              </a:r>
            </a:p>
          </p:txBody>
        </p:sp>
        <p:sp>
          <p:nvSpPr>
            <p:cNvPr id="11" name="Rectangle 392">
              <a:extLst>
                <a:ext uri="{FF2B5EF4-FFF2-40B4-BE49-F238E27FC236}">
                  <a16:creationId xmlns:a16="http://schemas.microsoft.com/office/drawing/2014/main" id="{EB0BB2FB-7E7D-488E-B953-399FD42D5395}"/>
                </a:ext>
              </a:extLst>
            </p:cNvPr>
            <p:cNvSpPr/>
            <p:nvPr/>
          </p:nvSpPr>
          <p:spPr>
            <a:xfrm flipH="1">
              <a:off x="4258779" y="4975669"/>
              <a:ext cx="578852" cy="441298"/>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chemeClr val="accent1"/>
                  </a:solidFill>
                  <a:effectLst/>
                  <a:uLnTx/>
                  <a:uFillTx/>
                  <a:latin typeface="Gill Sans MT" panose="020B0502020104020203" pitchFamily="34" charset="0"/>
                  <a:cs typeface="Segoe UI" panose="020B0502040204020203" pitchFamily="34" charset="0"/>
                </a:rPr>
                <a:t>Lorem Ipsum</a:t>
              </a:r>
            </a:p>
          </p:txBody>
        </p:sp>
        <p:sp>
          <p:nvSpPr>
            <p:cNvPr id="12" name="Rectangle 393">
              <a:extLst>
                <a:ext uri="{FF2B5EF4-FFF2-40B4-BE49-F238E27FC236}">
                  <a16:creationId xmlns:a16="http://schemas.microsoft.com/office/drawing/2014/main" id="{C93B4467-7843-4EAB-A9D9-ACC8D94048DF}"/>
                </a:ext>
              </a:extLst>
            </p:cNvPr>
            <p:cNvSpPr/>
            <p:nvPr/>
          </p:nvSpPr>
          <p:spPr>
            <a:xfrm flipH="1">
              <a:off x="2632393" y="4198636"/>
              <a:ext cx="578852" cy="441298"/>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chemeClr val="accent1"/>
                  </a:solidFill>
                  <a:effectLst/>
                  <a:uLnTx/>
                  <a:uFillTx/>
                  <a:latin typeface="Gill Sans MT" panose="020B0502020104020203" pitchFamily="34" charset="0"/>
                  <a:cs typeface="Segoe UI" panose="020B0502040204020203" pitchFamily="34" charset="0"/>
                </a:rPr>
                <a:t>Lorem Ipsum</a:t>
              </a:r>
            </a:p>
          </p:txBody>
        </p:sp>
        <p:grpSp>
          <p:nvGrpSpPr>
            <p:cNvPr id="13" name="Group 397">
              <a:extLst>
                <a:ext uri="{FF2B5EF4-FFF2-40B4-BE49-F238E27FC236}">
                  <a16:creationId xmlns:a16="http://schemas.microsoft.com/office/drawing/2014/main" id="{4ABF8640-FBD6-433D-9109-CA6C87D1EEE7}"/>
                </a:ext>
              </a:extLst>
            </p:cNvPr>
            <p:cNvGrpSpPr/>
            <p:nvPr/>
          </p:nvGrpSpPr>
          <p:grpSpPr>
            <a:xfrm flipV="1">
              <a:off x="4860607" y="3655486"/>
              <a:ext cx="859076" cy="972337"/>
              <a:chOff x="5035981" y="2500095"/>
              <a:chExt cx="908474" cy="1028248"/>
            </a:xfrm>
          </p:grpSpPr>
          <p:sp>
            <p:nvSpPr>
              <p:cNvPr id="81" name="Teardrop 404">
                <a:extLst>
                  <a:ext uri="{FF2B5EF4-FFF2-40B4-BE49-F238E27FC236}">
                    <a16:creationId xmlns:a16="http://schemas.microsoft.com/office/drawing/2014/main" id="{CC8DB1C9-E78B-40E8-A7C4-4A60FE3F520A}"/>
                  </a:ext>
                </a:extLst>
              </p:cNvPr>
              <p:cNvSpPr/>
              <p:nvPr/>
            </p:nvSpPr>
            <p:spPr>
              <a:xfrm rot="8100000" flipH="1">
                <a:off x="5035981" y="2500095"/>
                <a:ext cx="908474" cy="1028248"/>
              </a:xfrm>
              <a:prstGeom prst="teardrop">
                <a:avLst/>
              </a:prstGeom>
              <a:gradFill flip="none" rotWithShape="1">
                <a:gsLst>
                  <a:gs pos="100000">
                    <a:schemeClr val="accent1"/>
                  </a:gs>
                  <a:gs pos="33000">
                    <a:schemeClr val="accent1"/>
                  </a:gs>
                </a:gsLst>
                <a:lin ang="1800000" scaled="0"/>
                <a:tileRect/>
              </a:gradFill>
              <a:ln w="12700" cap="flat" cmpd="sng" algn="ctr">
                <a:noFill/>
                <a:prstDash val="solid"/>
                <a:miter lim="800000"/>
              </a:ln>
              <a:effectLst>
                <a:outerShdw blurRad="215900" sx="104000" sy="104000" algn="ctr" rotWithShape="0">
                  <a:prstClr val="black">
                    <a:alpha val="19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0" cap="none" spc="0" normalizeH="0" baseline="0" noProof="0">
                  <a:ln>
                    <a:noFill/>
                  </a:ln>
                  <a:solidFill>
                    <a:prstClr val="white"/>
                  </a:solidFill>
                  <a:effectLst/>
                  <a:uLnTx/>
                  <a:uFillTx/>
                  <a:latin typeface="Arial"/>
                  <a:cs typeface="+mn-cs"/>
                </a:endParaRPr>
              </a:p>
            </p:txBody>
          </p:sp>
          <p:sp>
            <p:nvSpPr>
              <p:cNvPr id="82" name="Rectangle 405">
                <a:extLst>
                  <a:ext uri="{FF2B5EF4-FFF2-40B4-BE49-F238E27FC236}">
                    <a16:creationId xmlns:a16="http://schemas.microsoft.com/office/drawing/2014/main" id="{08B6EC53-BC8B-4529-BDDA-777409DF0CE0}"/>
                  </a:ext>
                </a:extLst>
              </p:cNvPr>
              <p:cNvSpPr/>
              <p:nvPr/>
            </p:nvSpPr>
            <p:spPr>
              <a:xfrm flipH="1" flipV="1">
                <a:off x="5184150" y="2798776"/>
                <a:ext cx="612137" cy="430888"/>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FFFFF"/>
                    </a:solidFill>
                    <a:effectLst/>
                    <a:uLnTx/>
                    <a:uFillTx/>
                    <a:latin typeface="Gill Sans MT" panose="020B0502020104020203" pitchFamily="34" charset="0"/>
                    <a:cs typeface="Segoe UI" panose="020B0502040204020203" pitchFamily="34" charset="0"/>
                  </a:rPr>
                  <a:t>Lorem Ipsum</a:t>
                </a:r>
              </a:p>
            </p:txBody>
          </p:sp>
        </p:grpSp>
        <p:grpSp>
          <p:nvGrpSpPr>
            <p:cNvPr id="14" name="Group 398">
              <a:extLst>
                <a:ext uri="{FF2B5EF4-FFF2-40B4-BE49-F238E27FC236}">
                  <a16:creationId xmlns:a16="http://schemas.microsoft.com/office/drawing/2014/main" id="{80CF7CC1-D811-4E27-A8CF-1046C3319C37}"/>
                </a:ext>
              </a:extLst>
            </p:cNvPr>
            <p:cNvGrpSpPr/>
            <p:nvPr/>
          </p:nvGrpSpPr>
          <p:grpSpPr>
            <a:xfrm flipV="1">
              <a:off x="6465187" y="4543040"/>
              <a:ext cx="859076" cy="972337"/>
              <a:chOff x="6732827" y="1561505"/>
              <a:chExt cx="908474" cy="1028248"/>
            </a:xfrm>
          </p:grpSpPr>
          <p:sp>
            <p:nvSpPr>
              <p:cNvPr id="79" name="Teardrop 402">
                <a:extLst>
                  <a:ext uri="{FF2B5EF4-FFF2-40B4-BE49-F238E27FC236}">
                    <a16:creationId xmlns:a16="http://schemas.microsoft.com/office/drawing/2014/main" id="{88B1C8CA-54BF-458D-BDA1-1784625129FA}"/>
                  </a:ext>
                </a:extLst>
              </p:cNvPr>
              <p:cNvSpPr/>
              <p:nvPr/>
            </p:nvSpPr>
            <p:spPr>
              <a:xfrm rot="8100000" flipH="1">
                <a:off x="6732827" y="1561505"/>
                <a:ext cx="908474" cy="1028248"/>
              </a:xfrm>
              <a:prstGeom prst="teardrop">
                <a:avLst/>
              </a:prstGeom>
              <a:gradFill flip="none" rotWithShape="1">
                <a:gsLst>
                  <a:gs pos="100000">
                    <a:schemeClr val="accent1"/>
                  </a:gs>
                  <a:gs pos="33000">
                    <a:schemeClr val="accent1"/>
                  </a:gs>
                </a:gsLst>
                <a:lin ang="1800000" scaled="0"/>
                <a:tileRect/>
              </a:gradFill>
              <a:ln w="12700" cap="flat" cmpd="sng" algn="ctr">
                <a:noFill/>
                <a:prstDash val="solid"/>
                <a:miter lim="800000"/>
              </a:ln>
              <a:effectLst>
                <a:outerShdw blurRad="215900" sx="104000" sy="104000" algn="ctr" rotWithShape="0">
                  <a:prstClr val="black">
                    <a:alpha val="19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0" cap="none" spc="0" normalizeH="0" baseline="0" noProof="0">
                  <a:ln>
                    <a:noFill/>
                  </a:ln>
                  <a:solidFill>
                    <a:prstClr val="white"/>
                  </a:solidFill>
                  <a:effectLst/>
                  <a:uLnTx/>
                  <a:uFillTx/>
                  <a:latin typeface="Arial"/>
                  <a:cs typeface="+mn-cs"/>
                </a:endParaRPr>
              </a:p>
            </p:txBody>
          </p:sp>
          <p:sp>
            <p:nvSpPr>
              <p:cNvPr id="80" name="Rectangle 403">
                <a:extLst>
                  <a:ext uri="{FF2B5EF4-FFF2-40B4-BE49-F238E27FC236}">
                    <a16:creationId xmlns:a16="http://schemas.microsoft.com/office/drawing/2014/main" id="{A4215A99-EA08-46FF-9B89-E9C5C2F7562A}"/>
                  </a:ext>
                </a:extLst>
              </p:cNvPr>
              <p:cNvSpPr/>
              <p:nvPr/>
            </p:nvSpPr>
            <p:spPr>
              <a:xfrm flipH="1" flipV="1">
                <a:off x="6880996" y="1860186"/>
                <a:ext cx="612137" cy="430888"/>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FFFFF"/>
                    </a:solidFill>
                    <a:effectLst/>
                    <a:uLnTx/>
                    <a:uFillTx/>
                    <a:latin typeface="Gill Sans MT" panose="020B0502020104020203" pitchFamily="34" charset="0"/>
                    <a:cs typeface="Segoe UI" panose="020B0502040204020203" pitchFamily="34" charset="0"/>
                  </a:rPr>
                  <a:t>Lorem Ipsum</a:t>
                </a:r>
              </a:p>
            </p:txBody>
          </p:sp>
        </p:grpSp>
        <p:grpSp>
          <p:nvGrpSpPr>
            <p:cNvPr id="15" name="Group 399">
              <a:extLst>
                <a:ext uri="{FF2B5EF4-FFF2-40B4-BE49-F238E27FC236}">
                  <a16:creationId xmlns:a16="http://schemas.microsoft.com/office/drawing/2014/main" id="{5CCECCDC-4B52-4753-9BC7-1007C9622C48}"/>
                </a:ext>
              </a:extLst>
            </p:cNvPr>
            <p:cNvGrpSpPr/>
            <p:nvPr/>
          </p:nvGrpSpPr>
          <p:grpSpPr>
            <a:xfrm flipV="1">
              <a:off x="7153299" y="3655486"/>
              <a:ext cx="859076" cy="972337"/>
              <a:chOff x="7460506" y="2500095"/>
              <a:chExt cx="908474" cy="1028248"/>
            </a:xfrm>
          </p:grpSpPr>
          <p:sp>
            <p:nvSpPr>
              <p:cNvPr id="77" name="Teardrop 400">
                <a:extLst>
                  <a:ext uri="{FF2B5EF4-FFF2-40B4-BE49-F238E27FC236}">
                    <a16:creationId xmlns:a16="http://schemas.microsoft.com/office/drawing/2014/main" id="{A152B7A0-5218-458D-A21A-01BE231B5A95}"/>
                  </a:ext>
                </a:extLst>
              </p:cNvPr>
              <p:cNvSpPr/>
              <p:nvPr/>
            </p:nvSpPr>
            <p:spPr>
              <a:xfrm rot="8100000" flipH="1">
                <a:off x="7460506" y="2500095"/>
                <a:ext cx="908474" cy="1028248"/>
              </a:xfrm>
              <a:prstGeom prst="teardrop">
                <a:avLst/>
              </a:prstGeom>
              <a:gradFill flip="none" rotWithShape="1">
                <a:gsLst>
                  <a:gs pos="100000">
                    <a:schemeClr val="accent1"/>
                  </a:gs>
                  <a:gs pos="33000">
                    <a:schemeClr val="accent1"/>
                  </a:gs>
                </a:gsLst>
                <a:lin ang="1800000" scaled="0"/>
                <a:tileRect/>
              </a:gradFill>
              <a:ln w="12700" cap="flat" cmpd="sng" algn="ctr">
                <a:noFill/>
                <a:prstDash val="solid"/>
                <a:miter lim="800000"/>
              </a:ln>
              <a:effectLst>
                <a:outerShdw blurRad="215900" sx="104000" sy="104000" algn="ctr" rotWithShape="0">
                  <a:prstClr val="black">
                    <a:alpha val="19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0" cap="none" spc="0" normalizeH="0" baseline="0" noProof="0">
                  <a:ln>
                    <a:noFill/>
                  </a:ln>
                  <a:solidFill>
                    <a:prstClr val="white"/>
                  </a:solidFill>
                  <a:effectLst/>
                  <a:uLnTx/>
                  <a:uFillTx/>
                  <a:latin typeface="Arial"/>
                  <a:cs typeface="+mn-cs"/>
                </a:endParaRPr>
              </a:p>
            </p:txBody>
          </p:sp>
          <p:sp>
            <p:nvSpPr>
              <p:cNvPr id="78" name="Rectangle 401">
                <a:extLst>
                  <a:ext uri="{FF2B5EF4-FFF2-40B4-BE49-F238E27FC236}">
                    <a16:creationId xmlns:a16="http://schemas.microsoft.com/office/drawing/2014/main" id="{490FC199-4A10-46D4-82A7-B4428AFCCAA5}"/>
                  </a:ext>
                </a:extLst>
              </p:cNvPr>
              <p:cNvSpPr/>
              <p:nvPr/>
            </p:nvSpPr>
            <p:spPr>
              <a:xfrm flipH="1" flipV="1">
                <a:off x="7608675" y="2798776"/>
                <a:ext cx="612137" cy="430888"/>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FFFFF"/>
                    </a:solidFill>
                    <a:effectLst/>
                    <a:uLnTx/>
                    <a:uFillTx/>
                    <a:latin typeface="Gill Sans MT" panose="020B0502020104020203" pitchFamily="34" charset="0"/>
                    <a:cs typeface="Segoe UI" panose="020B0502040204020203" pitchFamily="34" charset="0"/>
                  </a:rPr>
                  <a:t>Lorem Ipsum</a:t>
                </a:r>
              </a:p>
            </p:txBody>
          </p:sp>
        </p:grpSp>
        <p:sp>
          <p:nvSpPr>
            <p:cNvPr id="16" name="Right Arrow 30">
              <a:extLst>
                <a:ext uri="{FF2B5EF4-FFF2-40B4-BE49-F238E27FC236}">
                  <a16:creationId xmlns:a16="http://schemas.microsoft.com/office/drawing/2014/main" id="{59D4236E-EA02-47EE-870F-3EC9BEDFF58B}"/>
                </a:ext>
              </a:extLst>
            </p:cNvPr>
            <p:cNvSpPr/>
            <p:nvPr/>
          </p:nvSpPr>
          <p:spPr>
            <a:xfrm>
              <a:off x="2351125" y="3108147"/>
              <a:ext cx="6781387" cy="651998"/>
            </a:xfrm>
            <a:prstGeom prst="rightArrow">
              <a:avLst>
                <a:gd name="adj1" fmla="val 56677"/>
                <a:gd name="adj2" fmla="val 50000"/>
              </a:avLst>
            </a:prstGeom>
            <a:pattFill prst="shingle">
              <a:fgClr>
                <a:schemeClr val="bg1">
                  <a:lumMod val="95000"/>
                </a:schemeClr>
              </a:fgClr>
              <a:bgClr>
                <a:schemeClr val="bg1"/>
              </a:bgClr>
            </a:patt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0" cap="none" spc="0" normalizeH="0" baseline="0" noProof="0">
                <a:ln>
                  <a:noFill/>
                </a:ln>
                <a:solidFill>
                  <a:prstClr val="white"/>
                </a:solidFill>
                <a:effectLst/>
                <a:uLnTx/>
                <a:uFillTx/>
                <a:latin typeface="Arial"/>
                <a:cs typeface="+mn-cs"/>
              </a:endParaRPr>
            </a:p>
          </p:txBody>
        </p:sp>
        <p:sp>
          <p:nvSpPr>
            <p:cNvPr id="17" name="Freeform: Shape 219">
              <a:extLst>
                <a:ext uri="{FF2B5EF4-FFF2-40B4-BE49-F238E27FC236}">
                  <a16:creationId xmlns:a16="http://schemas.microsoft.com/office/drawing/2014/main" id="{E60EC3E8-7A92-4959-92F1-A2B4490A932C}"/>
                </a:ext>
              </a:extLst>
            </p:cNvPr>
            <p:cNvSpPr/>
            <p:nvPr/>
          </p:nvSpPr>
          <p:spPr>
            <a:xfrm>
              <a:off x="787321" y="2511644"/>
              <a:ext cx="1752971" cy="1827171"/>
            </a:xfrm>
            <a:custGeom>
              <a:avLst/>
              <a:gdLst>
                <a:gd name="connsiteX0" fmla="*/ 147493 w 1800225"/>
                <a:gd name="connsiteY0" fmla="*/ 1877854 h 1876425"/>
                <a:gd name="connsiteX1" fmla="*/ 50909 w 1800225"/>
                <a:gd name="connsiteY1" fmla="*/ 1836420 h 1876425"/>
                <a:gd name="connsiteX2" fmla="*/ 50909 w 1800225"/>
                <a:gd name="connsiteY2" fmla="*/ 1836420 h 1876425"/>
                <a:gd name="connsiteX3" fmla="*/ 23382 w 1800225"/>
                <a:gd name="connsiteY3" fmla="*/ 1793177 h 1876425"/>
                <a:gd name="connsiteX4" fmla="*/ 26144 w 1800225"/>
                <a:gd name="connsiteY4" fmla="*/ 1689449 h 1876425"/>
                <a:gd name="connsiteX5" fmla="*/ 41765 w 1800225"/>
                <a:gd name="connsiteY5" fmla="*/ 1655350 h 1876425"/>
                <a:gd name="connsiteX6" fmla="*/ 80341 w 1800225"/>
                <a:gd name="connsiteY6" fmla="*/ 1568577 h 1876425"/>
                <a:gd name="connsiteX7" fmla="*/ 189498 w 1800225"/>
                <a:gd name="connsiteY7" fmla="*/ 1301306 h 1876425"/>
                <a:gd name="connsiteX8" fmla="*/ 275128 w 1800225"/>
                <a:gd name="connsiteY8" fmla="*/ 1036320 h 1876425"/>
                <a:gd name="connsiteX9" fmla="*/ 289606 w 1800225"/>
                <a:gd name="connsiteY9" fmla="*/ 958025 h 1876425"/>
                <a:gd name="connsiteX10" fmla="*/ 290558 w 1800225"/>
                <a:gd name="connsiteY10" fmla="*/ 947738 h 1876425"/>
                <a:gd name="connsiteX11" fmla="*/ 290939 w 1800225"/>
                <a:gd name="connsiteY11" fmla="*/ 935927 h 1876425"/>
                <a:gd name="connsiteX12" fmla="*/ 290368 w 1800225"/>
                <a:gd name="connsiteY12" fmla="*/ 924115 h 1876425"/>
                <a:gd name="connsiteX13" fmla="*/ 289129 w 1800225"/>
                <a:gd name="connsiteY13" fmla="*/ 913162 h 1876425"/>
                <a:gd name="connsiteX14" fmla="*/ 273413 w 1800225"/>
                <a:gd name="connsiteY14" fmla="*/ 836581 h 1876425"/>
                <a:gd name="connsiteX15" fmla="*/ 183116 w 1800225"/>
                <a:gd name="connsiteY15" fmla="*/ 574072 h 1876425"/>
                <a:gd name="connsiteX16" fmla="*/ 69292 w 1800225"/>
                <a:gd name="connsiteY16" fmla="*/ 309944 h 1876425"/>
                <a:gd name="connsiteX17" fmla="*/ 29097 w 1800225"/>
                <a:gd name="connsiteY17" fmla="*/ 223933 h 1876425"/>
                <a:gd name="connsiteX18" fmla="*/ 13571 w 1800225"/>
                <a:gd name="connsiteY18" fmla="*/ 191738 h 1876425"/>
                <a:gd name="connsiteX19" fmla="*/ 7285 w 1800225"/>
                <a:gd name="connsiteY19" fmla="*/ 90011 h 1876425"/>
                <a:gd name="connsiteX20" fmla="*/ 74817 w 1800225"/>
                <a:gd name="connsiteY20" fmla="*/ 13526 h 1876425"/>
                <a:gd name="connsiteX21" fmla="*/ 133300 w 1800225"/>
                <a:gd name="connsiteY21" fmla="*/ 0 h 1876425"/>
                <a:gd name="connsiteX22" fmla="*/ 175401 w 1800225"/>
                <a:gd name="connsiteY22" fmla="*/ 6763 h 1876425"/>
                <a:gd name="connsiteX23" fmla="*/ 248743 w 1800225"/>
                <a:gd name="connsiteY23" fmla="*/ 31814 h 1876425"/>
                <a:gd name="connsiteX24" fmla="*/ 440101 w 1800225"/>
                <a:gd name="connsiteY24" fmla="*/ 100108 h 1876425"/>
                <a:gd name="connsiteX25" fmla="*/ 1012839 w 1800225"/>
                <a:gd name="connsiteY25" fmla="*/ 327946 h 1876425"/>
                <a:gd name="connsiteX26" fmla="*/ 1573957 w 1800225"/>
                <a:gd name="connsiteY26" fmla="*/ 620935 h 1876425"/>
                <a:gd name="connsiteX27" fmla="*/ 1756360 w 1800225"/>
                <a:gd name="connsiteY27" fmla="*/ 788956 h 1876425"/>
                <a:gd name="connsiteX28" fmla="*/ 1799890 w 1800225"/>
                <a:gd name="connsiteY28" fmla="*/ 884873 h 1876425"/>
                <a:gd name="connsiteX29" fmla="*/ 1804938 w 1800225"/>
                <a:gd name="connsiteY29" fmla="*/ 917638 h 1876425"/>
                <a:gd name="connsiteX30" fmla="*/ 1805700 w 1800225"/>
                <a:gd name="connsiteY30" fmla="*/ 928592 h 1876425"/>
                <a:gd name="connsiteX31" fmla="*/ 1805891 w 1800225"/>
                <a:gd name="connsiteY31" fmla="*/ 934784 h 1876425"/>
                <a:gd name="connsiteX32" fmla="*/ 1805605 w 1800225"/>
                <a:gd name="connsiteY32" fmla="*/ 942785 h 1876425"/>
                <a:gd name="connsiteX33" fmla="*/ 1804938 w 1800225"/>
                <a:gd name="connsiteY33" fmla="*/ 951167 h 1876425"/>
                <a:gd name="connsiteX34" fmla="*/ 1804557 w 1800225"/>
                <a:gd name="connsiteY34" fmla="*/ 955262 h 1876425"/>
                <a:gd name="connsiteX35" fmla="*/ 1802271 w 1800225"/>
                <a:gd name="connsiteY35" fmla="*/ 971360 h 1876425"/>
                <a:gd name="connsiteX36" fmla="*/ 1800747 w 1800225"/>
                <a:gd name="connsiteY36" fmla="*/ 978027 h 1876425"/>
                <a:gd name="connsiteX37" fmla="*/ 1796175 w 1800225"/>
                <a:gd name="connsiteY37" fmla="*/ 994124 h 1876425"/>
                <a:gd name="connsiteX38" fmla="*/ 1795413 w 1800225"/>
                <a:gd name="connsiteY38" fmla="*/ 996506 h 1876425"/>
                <a:gd name="connsiteX39" fmla="*/ 1740073 w 1800225"/>
                <a:gd name="connsiteY39" fmla="*/ 1088803 h 1876425"/>
                <a:gd name="connsiteX40" fmla="*/ 1557383 w 1800225"/>
                <a:gd name="connsiteY40" fmla="*/ 1236155 h 1876425"/>
                <a:gd name="connsiteX41" fmla="*/ 1009124 w 1800225"/>
                <a:gd name="connsiteY41" fmla="*/ 1524667 h 1876425"/>
                <a:gd name="connsiteX42" fmla="*/ 452007 w 1800225"/>
                <a:gd name="connsiteY42" fmla="*/ 1766316 h 1876425"/>
                <a:gd name="connsiteX43" fmla="*/ 266650 w 1800225"/>
                <a:gd name="connsiteY43" fmla="*/ 1840992 h 1876425"/>
                <a:gd name="connsiteX44" fmla="*/ 195975 w 1800225"/>
                <a:gd name="connsiteY44" fmla="*/ 1868614 h 1876425"/>
                <a:gd name="connsiteX45" fmla="*/ 147493 w 1800225"/>
                <a:gd name="connsiteY45" fmla="*/ 1877854 h 1876425"/>
                <a:gd name="connsiteX46" fmla="*/ 384856 w 1800225"/>
                <a:gd name="connsiteY46" fmla="*/ 364046 h 1876425"/>
                <a:gd name="connsiteX47" fmla="*/ 430861 w 1800225"/>
                <a:gd name="connsiteY47" fmla="*/ 475298 h 1876425"/>
                <a:gd name="connsiteX48" fmla="*/ 531636 w 1800225"/>
                <a:gd name="connsiteY48" fmla="*/ 769430 h 1876425"/>
                <a:gd name="connsiteX49" fmla="*/ 554115 w 1800225"/>
                <a:gd name="connsiteY49" fmla="*/ 881920 h 1876425"/>
                <a:gd name="connsiteX50" fmla="*/ 556115 w 1800225"/>
                <a:gd name="connsiteY50" fmla="*/ 899827 h 1876425"/>
                <a:gd name="connsiteX51" fmla="*/ 556591 w 1800225"/>
                <a:gd name="connsiteY51" fmla="*/ 905542 h 1876425"/>
                <a:gd name="connsiteX52" fmla="*/ 557734 w 1800225"/>
                <a:gd name="connsiteY52" fmla="*/ 929926 h 1876425"/>
                <a:gd name="connsiteX53" fmla="*/ 557830 w 1800225"/>
                <a:gd name="connsiteY53" fmla="*/ 934212 h 1876425"/>
                <a:gd name="connsiteX54" fmla="*/ 557830 w 1800225"/>
                <a:gd name="connsiteY54" fmla="*/ 936974 h 1876425"/>
                <a:gd name="connsiteX55" fmla="*/ 557544 w 1800225"/>
                <a:gd name="connsiteY55" fmla="*/ 947833 h 1876425"/>
                <a:gd name="connsiteX56" fmla="*/ 557068 w 1800225"/>
                <a:gd name="connsiteY56" fmla="*/ 961454 h 1876425"/>
                <a:gd name="connsiteX57" fmla="*/ 556687 w 1800225"/>
                <a:gd name="connsiteY57" fmla="*/ 967169 h 1876425"/>
                <a:gd name="connsiteX58" fmla="*/ 555163 w 1800225"/>
                <a:gd name="connsiteY58" fmla="*/ 984218 h 1876425"/>
                <a:gd name="connsiteX59" fmla="*/ 534589 w 1800225"/>
                <a:gd name="connsiteY59" fmla="*/ 1098709 h 1876425"/>
                <a:gd name="connsiteX60" fmla="*/ 439148 w 1800225"/>
                <a:gd name="connsiteY60" fmla="*/ 1395508 h 1876425"/>
                <a:gd name="connsiteX61" fmla="*/ 398286 w 1800225"/>
                <a:gd name="connsiteY61" fmla="*/ 1500188 h 1876425"/>
                <a:gd name="connsiteX62" fmla="*/ 897110 w 1800225"/>
                <a:gd name="connsiteY62" fmla="*/ 1282827 h 1876425"/>
                <a:gd name="connsiteX63" fmla="*/ 1412794 w 1800225"/>
                <a:gd name="connsiteY63" fmla="*/ 1012222 h 1876425"/>
                <a:gd name="connsiteX64" fmla="*/ 1526332 w 1800225"/>
                <a:gd name="connsiteY64" fmla="*/ 926973 h 1876425"/>
                <a:gd name="connsiteX65" fmla="*/ 1423081 w 1800225"/>
                <a:gd name="connsiteY65" fmla="*/ 841153 h 1876425"/>
                <a:gd name="connsiteX66" fmla="*/ 906159 w 1800225"/>
                <a:gd name="connsiteY66" fmla="*/ 572643 h 1876425"/>
                <a:gd name="connsiteX67" fmla="*/ 384856 w 1800225"/>
                <a:gd name="connsiteY67" fmla="*/ 364046 h 1876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1800225" h="1876425">
                  <a:moveTo>
                    <a:pt x="147493" y="1877854"/>
                  </a:moveTo>
                  <a:cubicBezTo>
                    <a:pt x="111202" y="1877854"/>
                    <a:pt x="75960" y="1862709"/>
                    <a:pt x="50909" y="1836420"/>
                  </a:cubicBezTo>
                  <a:lnTo>
                    <a:pt x="50909" y="1836420"/>
                  </a:lnTo>
                  <a:cubicBezTo>
                    <a:pt x="38908" y="1823847"/>
                    <a:pt x="29668" y="1809274"/>
                    <a:pt x="23382" y="1793177"/>
                  </a:cubicBezTo>
                  <a:cubicBezTo>
                    <a:pt x="10333" y="1759839"/>
                    <a:pt x="11380" y="1722025"/>
                    <a:pt x="26144" y="1689449"/>
                  </a:cubicBezTo>
                  <a:lnTo>
                    <a:pt x="41765" y="1655350"/>
                  </a:lnTo>
                  <a:cubicBezTo>
                    <a:pt x="54719" y="1626870"/>
                    <a:pt x="67673" y="1597533"/>
                    <a:pt x="80341" y="1568577"/>
                  </a:cubicBezTo>
                  <a:cubicBezTo>
                    <a:pt x="109012" y="1502759"/>
                    <a:pt x="151207" y="1402937"/>
                    <a:pt x="189498" y="1301306"/>
                  </a:cubicBezTo>
                  <a:cubicBezTo>
                    <a:pt x="228836" y="1197293"/>
                    <a:pt x="259221" y="1103186"/>
                    <a:pt x="275128" y="1036320"/>
                  </a:cubicBezTo>
                  <a:cubicBezTo>
                    <a:pt x="285224" y="994601"/>
                    <a:pt x="288558" y="967740"/>
                    <a:pt x="289606" y="958025"/>
                  </a:cubicBezTo>
                  <a:lnTo>
                    <a:pt x="290558" y="947738"/>
                  </a:lnTo>
                  <a:lnTo>
                    <a:pt x="290939" y="935927"/>
                  </a:lnTo>
                  <a:lnTo>
                    <a:pt x="290368" y="924115"/>
                  </a:lnTo>
                  <a:lnTo>
                    <a:pt x="289129" y="913162"/>
                  </a:lnTo>
                  <a:cubicBezTo>
                    <a:pt x="288082" y="904304"/>
                    <a:pt x="284176" y="877538"/>
                    <a:pt x="273413" y="836581"/>
                  </a:cubicBezTo>
                  <a:cubicBezTo>
                    <a:pt x="256173" y="769906"/>
                    <a:pt x="224169" y="676847"/>
                    <a:pt x="183116" y="574072"/>
                  </a:cubicBezTo>
                  <a:cubicBezTo>
                    <a:pt x="143016" y="473583"/>
                    <a:pt x="99106" y="374999"/>
                    <a:pt x="69292" y="309944"/>
                  </a:cubicBezTo>
                  <a:cubicBezTo>
                    <a:pt x="56243" y="281464"/>
                    <a:pt x="42718" y="252508"/>
                    <a:pt x="29097" y="223933"/>
                  </a:cubicBezTo>
                  <a:lnTo>
                    <a:pt x="13571" y="191738"/>
                  </a:lnTo>
                  <a:cubicBezTo>
                    <a:pt x="-2050" y="159830"/>
                    <a:pt x="-4241" y="123634"/>
                    <a:pt x="7285" y="90011"/>
                  </a:cubicBezTo>
                  <a:cubicBezTo>
                    <a:pt x="18810" y="56293"/>
                    <a:pt x="42813" y="29147"/>
                    <a:pt x="74817" y="13526"/>
                  </a:cubicBezTo>
                  <a:cubicBezTo>
                    <a:pt x="92819" y="4667"/>
                    <a:pt x="113107" y="0"/>
                    <a:pt x="133300" y="0"/>
                  </a:cubicBezTo>
                  <a:cubicBezTo>
                    <a:pt x="147588" y="0"/>
                    <a:pt x="161780" y="2286"/>
                    <a:pt x="175401" y="6763"/>
                  </a:cubicBezTo>
                  <a:lnTo>
                    <a:pt x="248743" y="31814"/>
                  </a:lnTo>
                  <a:cubicBezTo>
                    <a:pt x="291320" y="46577"/>
                    <a:pt x="358757" y="70295"/>
                    <a:pt x="440101" y="100108"/>
                  </a:cubicBezTo>
                  <a:cubicBezTo>
                    <a:pt x="649936" y="176975"/>
                    <a:pt x="842627" y="253651"/>
                    <a:pt x="1012839" y="327946"/>
                  </a:cubicBezTo>
                  <a:cubicBezTo>
                    <a:pt x="1261537" y="436626"/>
                    <a:pt x="1445083" y="532448"/>
                    <a:pt x="1573957" y="620935"/>
                  </a:cubicBezTo>
                  <a:cubicBezTo>
                    <a:pt x="1659872" y="680085"/>
                    <a:pt x="1719499" y="734949"/>
                    <a:pt x="1756360" y="788956"/>
                  </a:cubicBezTo>
                  <a:cubicBezTo>
                    <a:pt x="1777601" y="819531"/>
                    <a:pt x="1792937" y="853440"/>
                    <a:pt x="1799890" y="884873"/>
                  </a:cubicBezTo>
                  <a:cubicBezTo>
                    <a:pt x="1803509" y="899255"/>
                    <a:pt x="1804462" y="911066"/>
                    <a:pt x="1804938" y="917638"/>
                  </a:cubicBezTo>
                  <a:lnTo>
                    <a:pt x="1805700" y="928592"/>
                  </a:lnTo>
                  <a:lnTo>
                    <a:pt x="1805891" y="934784"/>
                  </a:lnTo>
                  <a:lnTo>
                    <a:pt x="1805605" y="942785"/>
                  </a:lnTo>
                  <a:lnTo>
                    <a:pt x="1804938" y="951167"/>
                  </a:lnTo>
                  <a:lnTo>
                    <a:pt x="1804557" y="955262"/>
                  </a:lnTo>
                  <a:cubicBezTo>
                    <a:pt x="1804176" y="958691"/>
                    <a:pt x="1803604" y="964406"/>
                    <a:pt x="1802271" y="971360"/>
                  </a:cubicBezTo>
                  <a:lnTo>
                    <a:pt x="1800747" y="978027"/>
                  </a:lnTo>
                  <a:cubicBezTo>
                    <a:pt x="1799509" y="982694"/>
                    <a:pt x="1797985" y="988124"/>
                    <a:pt x="1796175" y="994124"/>
                  </a:cubicBezTo>
                  <a:lnTo>
                    <a:pt x="1795413" y="996506"/>
                  </a:lnTo>
                  <a:cubicBezTo>
                    <a:pt x="1785221" y="1027176"/>
                    <a:pt x="1766076" y="1059085"/>
                    <a:pt x="1740073" y="1088803"/>
                  </a:cubicBezTo>
                  <a:cubicBezTo>
                    <a:pt x="1700544" y="1134237"/>
                    <a:pt x="1642441" y="1181195"/>
                    <a:pt x="1557383" y="1236155"/>
                  </a:cubicBezTo>
                  <a:cubicBezTo>
                    <a:pt x="1429081" y="1318832"/>
                    <a:pt x="1249726" y="1413129"/>
                    <a:pt x="1009124" y="1524667"/>
                  </a:cubicBezTo>
                  <a:cubicBezTo>
                    <a:pt x="843865" y="1601248"/>
                    <a:pt x="656509" y="1682496"/>
                    <a:pt x="452007" y="1766316"/>
                  </a:cubicBezTo>
                  <a:cubicBezTo>
                    <a:pt x="389332" y="1792034"/>
                    <a:pt x="326944" y="1817180"/>
                    <a:pt x="266650" y="1840992"/>
                  </a:cubicBezTo>
                  <a:lnTo>
                    <a:pt x="195975" y="1868614"/>
                  </a:lnTo>
                  <a:cubicBezTo>
                    <a:pt x="180449" y="1874711"/>
                    <a:pt x="164161" y="1877854"/>
                    <a:pt x="147493" y="1877854"/>
                  </a:cubicBezTo>
                  <a:close/>
                  <a:moveTo>
                    <a:pt x="384856" y="364046"/>
                  </a:moveTo>
                  <a:cubicBezTo>
                    <a:pt x="400096" y="399764"/>
                    <a:pt x="415717" y="437388"/>
                    <a:pt x="430861" y="475298"/>
                  </a:cubicBezTo>
                  <a:cubicBezTo>
                    <a:pt x="462770" y="555022"/>
                    <a:pt x="506109" y="670846"/>
                    <a:pt x="531636" y="769430"/>
                  </a:cubicBezTo>
                  <a:cubicBezTo>
                    <a:pt x="542304" y="810292"/>
                    <a:pt x="550114" y="849249"/>
                    <a:pt x="554115" y="881920"/>
                  </a:cubicBezTo>
                  <a:lnTo>
                    <a:pt x="556115" y="899827"/>
                  </a:lnTo>
                  <a:lnTo>
                    <a:pt x="556591" y="905542"/>
                  </a:lnTo>
                  <a:lnTo>
                    <a:pt x="557734" y="929926"/>
                  </a:lnTo>
                  <a:lnTo>
                    <a:pt x="557830" y="934212"/>
                  </a:lnTo>
                  <a:lnTo>
                    <a:pt x="557830" y="936974"/>
                  </a:lnTo>
                  <a:lnTo>
                    <a:pt x="557544" y="947833"/>
                  </a:lnTo>
                  <a:lnTo>
                    <a:pt x="557068" y="961454"/>
                  </a:lnTo>
                  <a:lnTo>
                    <a:pt x="556687" y="967169"/>
                  </a:lnTo>
                  <a:lnTo>
                    <a:pt x="555163" y="984218"/>
                  </a:lnTo>
                  <a:cubicBezTo>
                    <a:pt x="551734" y="1018032"/>
                    <a:pt x="544685" y="1057275"/>
                    <a:pt x="534589" y="1098709"/>
                  </a:cubicBezTo>
                  <a:cubicBezTo>
                    <a:pt x="510967" y="1197674"/>
                    <a:pt x="469628" y="1314831"/>
                    <a:pt x="439148" y="1395508"/>
                  </a:cubicBezTo>
                  <a:cubicBezTo>
                    <a:pt x="425718" y="1431036"/>
                    <a:pt x="411907" y="1466374"/>
                    <a:pt x="398286" y="1500188"/>
                  </a:cubicBezTo>
                  <a:cubicBezTo>
                    <a:pt x="580404" y="1424845"/>
                    <a:pt x="748139" y="1351788"/>
                    <a:pt x="897110" y="1282827"/>
                  </a:cubicBezTo>
                  <a:cubicBezTo>
                    <a:pt x="1123329" y="1178052"/>
                    <a:pt x="1296779" y="1086993"/>
                    <a:pt x="1412794" y="1012222"/>
                  </a:cubicBezTo>
                  <a:cubicBezTo>
                    <a:pt x="1475754" y="971740"/>
                    <a:pt x="1509568" y="943070"/>
                    <a:pt x="1526332" y="926973"/>
                  </a:cubicBezTo>
                  <a:cubicBezTo>
                    <a:pt x="1509091" y="907256"/>
                    <a:pt x="1475182" y="876681"/>
                    <a:pt x="1423081" y="841153"/>
                  </a:cubicBezTo>
                  <a:cubicBezTo>
                    <a:pt x="1309828" y="763143"/>
                    <a:pt x="1135997" y="672846"/>
                    <a:pt x="906159" y="572643"/>
                  </a:cubicBezTo>
                  <a:cubicBezTo>
                    <a:pt x="717469" y="490061"/>
                    <a:pt x="524206" y="415671"/>
                    <a:pt x="384856" y="364046"/>
                  </a:cubicBezTo>
                  <a:close/>
                </a:path>
              </a:pathLst>
            </a:custGeom>
            <a:gradFill flip="none" rotWithShape="1">
              <a:gsLst>
                <a:gs pos="100000">
                  <a:schemeClr val="accent1"/>
                </a:gs>
                <a:gs pos="0">
                  <a:schemeClr val="accent1"/>
                </a:gs>
              </a:gsLst>
              <a:lin ang="2700000" scaled="1"/>
              <a:tileRect/>
            </a:gradFill>
            <a:ln w="12700" cap="flat" cmpd="sng" algn="ctr">
              <a:noFill/>
              <a:prstDash val="solid"/>
              <a:miter lim="800000"/>
            </a:ln>
            <a:effectLst>
              <a:outerShdw blurRad="215900" sx="104000" sy="104000" algn="ctr" rotWithShape="0">
                <a:prstClr val="black">
                  <a:alpha val="19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0" cap="none" spc="0" normalizeH="0" baseline="0" noProof="0">
                <a:ln>
                  <a:noFill/>
                </a:ln>
                <a:solidFill>
                  <a:prstClr val="white"/>
                </a:solidFill>
                <a:effectLst/>
                <a:uLnTx/>
                <a:uFillTx/>
                <a:latin typeface="Arial"/>
                <a:cs typeface="+mn-cs"/>
              </a:endParaRPr>
            </a:p>
          </p:txBody>
        </p:sp>
        <p:sp>
          <p:nvSpPr>
            <p:cNvPr id="18" name="Freeform: Shape 247">
              <a:extLst>
                <a:ext uri="{FF2B5EF4-FFF2-40B4-BE49-F238E27FC236}">
                  <a16:creationId xmlns:a16="http://schemas.microsoft.com/office/drawing/2014/main" id="{C997FCF8-3587-4C5D-9BD5-3266AFA73C0B}"/>
                </a:ext>
              </a:extLst>
            </p:cNvPr>
            <p:cNvSpPr/>
            <p:nvPr/>
          </p:nvSpPr>
          <p:spPr>
            <a:xfrm flipH="1">
              <a:off x="5968831" y="908897"/>
              <a:ext cx="3735578" cy="2274930"/>
            </a:xfrm>
            <a:custGeom>
              <a:avLst/>
              <a:gdLst>
                <a:gd name="connsiteX0" fmla="*/ 0 w 5050971"/>
                <a:gd name="connsiteY0" fmla="*/ 2405743 h 2405743"/>
                <a:gd name="connsiteX1" fmla="*/ 947057 w 5050971"/>
                <a:gd name="connsiteY1" fmla="*/ 2405743 h 2405743"/>
                <a:gd name="connsiteX2" fmla="*/ 2601686 w 5050971"/>
                <a:gd name="connsiteY2" fmla="*/ 0 h 2405743"/>
                <a:gd name="connsiteX3" fmla="*/ 4288971 w 5050971"/>
                <a:gd name="connsiteY3" fmla="*/ 0 h 2405743"/>
                <a:gd name="connsiteX4" fmla="*/ 5050971 w 5050971"/>
                <a:gd name="connsiteY4" fmla="*/ 315686 h 2405743"/>
                <a:gd name="connsiteX0" fmla="*/ 0 w 4288971"/>
                <a:gd name="connsiteY0" fmla="*/ 2405743 h 2405743"/>
                <a:gd name="connsiteX1" fmla="*/ 947057 w 4288971"/>
                <a:gd name="connsiteY1" fmla="*/ 2405743 h 2405743"/>
                <a:gd name="connsiteX2" fmla="*/ 2601686 w 4288971"/>
                <a:gd name="connsiteY2" fmla="*/ 0 h 2405743"/>
                <a:gd name="connsiteX3" fmla="*/ 4288971 w 4288971"/>
                <a:gd name="connsiteY3" fmla="*/ 0 h 2405743"/>
                <a:gd name="connsiteX0" fmla="*/ 0 w 4833257"/>
                <a:gd name="connsiteY0" fmla="*/ 2405743 h 2405743"/>
                <a:gd name="connsiteX1" fmla="*/ 947057 w 4833257"/>
                <a:gd name="connsiteY1" fmla="*/ 2405743 h 2405743"/>
                <a:gd name="connsiteX2" fmla="*/ 2601686 w 4833257"/>
                <a:gd name="connsiteY2" fmla="*/ 0 h 2405743"/>
                <a:gd name="connsiteX3" fmla="*/ 4833257 w 4833257"/>
                <a:gd name="connsiteY3" fmla="*/ 32658 h 2405743"/>
                <a:gd name="connsiteX0" fmla="*/ 0 w 4833257"/>
                <a:gd name="connsiteY0" fmla="*/ 2405743 h 2405743"/>
                <a:gd name="connsiteX1" fmla="*/ 947057 w 4833257"/>
                <a:gd name="connsiteY1" fmla="*/ 2405743 h 2405743"/>
                <a:gd name="connsiteX2" fmla="*/ 2601686 w 4833257"/>
                <a:gd name="connsiteY2" fmla="*/ 0 h 2405743"/>
                <a:gd name="connsiteX3" fmla="*/ 4833257 w 4833257"/>
                <a:gd name="connsiteY3" fmla="*/ 32658 h 2405743"/>
                <a:gd name="connsiteX0" fmla="*/ 0 w 5099957"/>
                <a:gd name="connsiteY0" fmla="*/ 2421433 h 2421433"/>
                <a:gd name="connsiteX1" fmla="*/ 947057 w 5099957"/>
                <a:gd name="connsiteY1" fmla="*/ 2421433 h 2421433"/>
                <a:gd name="connsiteX2" fmla="*/ 2601686 w 5099957"/>
                <a:gd name="connsiteY2" fmla="*/ 15690 h 2421433"/>
                <a:gd name="connsiteX3" fmla="*/ 5099957 w 5099957"/>
                <a:gd name="connsiteY3" fmla="*/ 10248 h 2421433"/>
                <a:gd name="connsiteX0" fmla="*/ 0 w 5169807"/>
                <a:gd name="connsiteY0" fmla="*/ 2405743 h 2405743"/>
                <a:gd name="connsiteX1" fmla="*/ 947057 w 5169807"/>
                <a:gd name="connsiteY1" fmla="*/ 2405743 h 2405743"/>
                <a:gd name="connsiteX2" fmla="*/ 2601686 w 5169807"/>
                <a:gd name="connsiteY2" fmla="*/ 0 h 2405743"/>
                <a:gd name="connsiteX3" fmla="*/ 5169807 w 5169807"/>
                <a:gd name="connsiteY3" fmla="*/ 83458 h 2405743"/>
                <a:gd name="connsiteX0" fmla="*/ 0 w 5163457"/>
                <a:gd name="connsiteY0" fmla="*/ 2405743 h 2405743"/>
                <a:gd name="connsiteX1" fmla="*/ 947057 w 5163457"/>
                <a:gd name="connsiteY1" fmla="*/ 2405743 h 2405743"/>
                <a:gd name="connsiteX2" fmla="*/ 2601686 w 5163457"/>
                <a:gd name="connsiteY2" fmla="*/ 0 h 2405743"/>
                <a:gd name="connsiteX3" fmla="*/ 5163457 w 5163457"/>
                <a:gd name="connsiteY3" fmla="*/ 32658 h 2405743"/>
                <a:gd name="connsiteX0" fmla="*/ 0 w 5163457"/>
                <a:gd name="connsiteY0" fmla="*/ 2405743 h 2405743"/>
                <a:gd name="connsiteX1" fmla="*/ 947057 w 5163457"/>
                <a:gd name="connsiteY1" fmla="*/ 2405743 h 2405743"/>
                <a:gd name="connsiteX2" fmla="*/ 2601686 w 5163457"/>
                <a:gd name="connsiteY2" fmla="*/ 0 h 2405743"/>
                <a:gd name="connsiteX3" fmla="*/ 5163457 w 5163457"/>
                <a:gd name="connsiteY3" fmla="*/ 32658 h 2405743"/>
                <a:gd name="connsiteX0" fmla="*/ 0 w 5163457"/>
                <a:gd name="connsiteY0" fmla="*/ 2405743 h 2405743"/>
                <a:gd name="connsiteX1" fmla="*/ 947057 w 5163457"/>
                <a:gd name="connsiteY1" fmla="*/ 2405743 h 2405743"/>
                <a:gd name="connsiteX2" fmla="*/ 2601686 w 5163457"/>
                <a:gd name="connsiteY2" fmla="*/ 0 h 2405743"/>
                <a:gd name="connsiteX3" fmla="*/ 5163457 w 5163457"/>
                <a:gd name="connsiteY3" fmla="*/ 32658 h 2405743"/>
                <a:gd name="connsiteX0" fmla="*/ 0 w 5151551"/>
                <a:gd name="connsiteY0" fmla="*/ 2418329 h 2418329"/>
                <a:gd name="connsiteX1" fmla="*/ 947057 w 5151551"/>
                <a:gd name="connsiteY1" fmla="*/ 2418329 h 2418329"/>
                <a:gd name="connsiteX2" fmla="*/ 2601686 w 5151551"/>
                <a:gd name="connsiteY2" fmla="*/ 12586 h 2418329"/>
                <a:gd name="connsiteX3" fmla="*/ 5151551 w 5151551"/>
                <a:gd name="connsiteY3" fmla="*/ 0 h 2418329"/>
                <a:gd name="connsiteX0" fmla="*/ 0 w 5158694"/>
                <a:gd name="connsiteY0" fmla="*/ 2405743 h 2405743"/>
                <a:gd name="connsiteX1" fmla="*/ 947057 w 5158694"/>
                <a:gd name="connsiteY1" fmla="*/ 2405743 h 2405743"/>
                <a:gd name="connsiteX2" fmla="*/ 2601686 w 5158694"/>
                <a:gd name="connsiteY2" fmla="*/ 0 h 2405743"/>
                <a:gd name="connsiteX3" fmla="*/ 5158694 w 5158694"/>
                <a:gd name="connsiteY3" fmla="*/ 1701 h 2405743"/>
                <a:gd name="connsiteX0" fmla="*/ 0 w 3787094"/>
                <a:gd name="connsiteY0" fmla="*/ 2405743 h 2405743"/>
                <a:gd name="connsiteX1" fmla="*/ 947057 w 3787094"/>
                <a:gd name="connsiteY1" fmla="*/ 2405743 h 2405743"/>
                <a:gd name="connsiteX2" fmla="*/ 2601686 w 3787094"/>
                <a:gd name="connsiteY2" fmla="*/ 0 h 2405743"/>
                <a:gd name="connsiteX3" fmla="*/ 3787094 w 3787094"/>
                <a:gd name="connsiteY3" fmla="*/ 12586 h 2405743"/>
                <a:gd name="connsiteX0" fmla="*/ 0 w 3895952"/>
                <a:gd name="connsiteY0" fmla="*/ 2425815 h 2425815"/>
                <a:gd name="connsiteX1" fmla="*/ 947057 w 3895952"/>
                <a:gd name="connsiteY1" fmla="*/ 2425815 h 2425815"/>
                <a:gd name="connsiteX2" fmla="*/ 2601686 w 3895952"/>
                <a:gd name="connsiteY2" fmla="*/ 20072 h 2425815"/>
                <a:gd name="connsiteX3" fmla="*/ 3895952 w 3895952"/>
                <a:gd name="connsiteY3" fmla="*/ 0 h 2425815"/>
                <a:gd name="connsiteX0" fmla="*/ 0 w 3950380"/>
                <a:gd name="connsiteY0" fmla="*/ 2405743 h 2405743"/>
                <a:gd name="connsiteX1" fmla="*/ 947057 w 3950380"/>
                <a:gd name="connsiteY1" fmla="*/ 2405743 h 2405743"/>
                <a:gd name="connsiteX2" fmla="*/ 2601686 w 3950380"/>
                <a:gd name="connsiteY2" fmla="*/ 0 h 2405743"/>
                <a:gd name="connsiteX3" fmla="*/ 3950380 w 3950380"/>
                <a:gd name="connsiteY3" fmla="*/ 1700 h 2405743"/>
              </a:gdLst>
              <a:ahLst/>
              <a:cxnLst>
                <a:cxn ang="0">
                  <a:pos x="connsiteX0" y="connsiteY0"/>
                </a:cxn>
                <a:cxn ang="0">
                  <a:pos x="connsiteX1" y="connsiteY1"/>
                </a:cxn>
                <a:cxn ang="0">
                  <a:pos x="connsiteX2" y="connsiteY2"/>
                </a:cxn>
                <a:cxn ang="0">
                  <a:pos x="connsiteX3" y="connsiteY3"/>
                </a:cxn>
              </a:cxnLst>
              <a:rect l="l" t="t" r="r" b="b"/>
              <a:pathLst>
                <a:path w="3950380" h="2405743">
                  <a:moveTo>
                    <a:pt x="0" y="2405743"/>
                  </a:moveTo>
                  <a:lnTo>
                    <a:pt x="947057" y="2405743"/>
                  </a:lnTo>
                  <a:lnTo>
                    <a:pt x="2601686" y="0"/>
                  </a:lnTo>
                  <a:lnTo>
                    <a:pt x="3950380" y="1700"/>
                  </a:lnTo>
                </a:path>
              </a:pathLst>
            </a:custGeom>
            <a:noFill/>
            <a:ln w="114300">
              <a:solidFill>
                <a:sysClr val="window" lastClr="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FFFFFF"/>
                </a:solidFill>
                <a:effectLst/>
                <a:uLnTx/>
                <a:uFillTx/>
                <a:latin typeface="Arial"/>
                <a:cs typeface="+mn-cs"/>
              </a:endParaRPr>
            </a:p>
          </p:txBody>
        </p:sp>
        <p:sp>
          <p:nvSpPr>
            <p:cNvPr id="19" name="Freeform: Shape 249">
              <a:extLst>
                <a:ext uri="{FF2B5EF4-FFF2-40B4-BE49-F238E27FC236}">
                  <a16:creationId xmlns:a16="http://schemas.microsoft.com/office/drawing/2014/main" id="{5A69E716-D286-42EE-A04B-8E3CF53406C4}"/>
                </a:ext>
              </a:extLst>
            </p:cNvPr>
            <p:cNvSpPr/>
            <p:nvPr/>
          </p:nvSpPr>
          <p:spPr>
            <a:xfrm flipH="1">
              <a:off x="4258779" y="1729779"/>
              <a:ext cx="5259061" cy="1564658"/>
            </a:xfrm>
            <a:custGeom>
              <a:avLst/>
              <a:gdLst>
                <a:gd name="connsiteX0" fmla="*/ 0 w 5050971"/>
                <a:gd name="connsiteY0" fmla="*/ 2405743 h 2405743"/>
                <a:gd name="connsiteX1" fmla="*/ 947057 w 5050971"/>
                <a:gd name="connsiteY1" fmla="*/ 2405743 h 2405743"/>
                <a:gd name="connsiteX2" fmla="*/ 2601686 w 5050971"/>
                <a:gd name="connsiteY2" fmla="*/ 0 h 2405743"/>
                <a:gd name="connsiteX3" fmla="*/ 4288971 w 5050971"/>
                <a:gd name="connsiteY3" fmla="*/ 0 h 2405743"/>
                <a:gd name="connsiteX4" fmla="*/ 5050971 w 5050971"/>
                <a:gd name="connsiteY4" fmla="*/ 315686 h 2405743"/>
                <a:gd name="connsiteX0" fmla="*/ 0 w 4288971"/>
                <a:gd name="connsiteY0" fmla="*/ 2405743 h 2405743"/>
                <a:gd name="connsiteX1" fmla="*/ 947057 w 4288971"/>
                <a:gd name="connsiteY1" fmla="*/ 2405743 h 2405743"/>
                <a:gd name="connsiteX2" fmla="*/ 2601686 w 4288971"/>
                <a:gd name="connsiteY2" fmla="*/ 0 h 2405743"/>
                <a:gd name="connsiteX3" fmla="*/ 4288971 w 4288971"/>
                <a:gd name="connsiteY3" fmla="*/ 0 h 2405743"/>
                <a:gd name="connsiteX0" fmla="*/ 0 w 4833257"/>
                <a:gd name="connsiteY0" fmla="*/ 2405743 h 2405743"/>
                <a:gd name="connsiteX1" fmla="*/ 947057 w 4833257"/>
                <a:gd name="connsiteY1" fmla="*/ 2405743 h 2405743"/>
                <a:gd name="connsiteX2" fmla="*/ 2601686 w 4833257"/>
                <a:gd name="connsiteY2" fmla="*/ 0 h 2405743"/>
                <a:gd name="connsiteX3" fmla="*/ 4833257 w 4833257"/>
                <a:gd name="connsiteY3" fmla="*/ 32658 h 2405743"/>
                <a:gd name="connsiteX0" fmla="*/ 0 w 4833257"/>
                <a:gd name="connsiteY0" fmla="*/ 2405743 h 2405743"/>
                <a:gd name="connsiteX1" fmla="*/ 947057 w 4833257"/>
                <a:gd name="connsiteY1" fmla="*/ 2405743 h 2405743"/>
                <a:gd name="connsiteX2" fmla="*/ 2601686 w 4833257"/>
                <a:gd name="connsiteY2" fmla="*/ 0 h 2405743"/>
                <a:gd name="connsiteX3" fmla="*/ 4833257 w 4833257"/>
                <a:gd name="connsiteY3" fmla="*/ 32658 h 2405743"/>
                <a:gd name="connsiteX0" fmla="*/ 0 w 5099957"/>
                <a:gd name="connsiteY0" fmla="*/ 2421433 h 2421433"/>
                <a:gd name="connsiteX1" fmla="*/ 947057 w 5099957"/>
                <a:gd name="connsiteY1" fmla="*/ 2421433 h 2421433"/>
                <a:gd name="connsiteX2" fmla="*/ 2601686 w 5099957"/>
                <a:gd name="connsiteY2" fmla="*/ 15690 h 2421433"/>
                <a:gd name="connsiteX3" fmla="*/ 5099957 w 5099957"/>
                <a:gd name="connsiteY3" fmla="*/ 10248 h 2421433"/>
                <a:gd name="connsiteX0" fmla="*/ 0 w 5169807"/>
                <a:gd name="connsiteY0" fmla="*/ 2405743 h 2405743"/>
                <a:gd name="connsiteX1" fmla="*/ 947057 w 5169807"/>
                <a:gd name="connsiteY1" fmla="*/ 2405743 h 2405743"/>
                <a:gd name="connsiteX2" fmla="*/ 2601686 w 5169807"/>
                <a:gd name="connsiteY2" fmla="*/ 0 h 2405743"/>
                <a:gd name="connsiteX3" fmla="*/ 5169807 w 5169807"/>
                <a:gd name="connsiteY3" fmla="*/ 83458 h 2405743"/>
                <a:gd name="connsiteX0" fmla="*/ 0 w 5163457"/>
                <a:gd name="connsiteY0" fmla="*/ 2405743 h 2405743"/>
                <a:gd name="connsiteX1" fmla="*/ 947057 w 5163457"/>
                <a:gd name="connsiteY1" fmla="*/ 2405743 h 2405743"/>
                <a:gd name="connsiteX2" fmla="*/ 2601686 w 5163457"/>
                <a:gd name="connsiteY2" fmla="*/ 0 h 2405743"/>
                <a:gd name="connsiteX3" fmla="*/ 5163457 w 5163457"/>
                <a:gd name="connsiteY3" fmla="*/ 32658 h 2405743"/>
                <a:gd name="connsiteX0" fmla="*/ 0 w 5163457"/>
                <a:gd name="connsiteY0" fmla="*/ 2405743 h 2405743"/>
                <a:gd name="connsiteX1" fmla="*/ 947057 w 5163457"/>
                <a:gd name="connsiteY1" fmla="*/ 2405743 h 2405743"/>
                <a:gd name="connsiteX2" fmla="*/ 2601686 w 5163457"/>
                <a:gd name="connsiteY2" fmla="*/ 0 h 2405743"/>
                <a:gd name="connsiteX3" fmla="*/ 5163457 w 5163457"/>
                <a:gd name="connsiteY3" fmla="*/ 32658 h 2405743"/>
                <a:gd name="connsiteX0" fmla="*/ 0 w 5163457"/>
                <a:gd name="connsiteY0" fmla="*/ 2405743 h 2405743"/>
                <a:gd name="connsiteX1" fmla="*/ 947057 w 5163457"/>
                <a:gd name="connsiteY1" fmla="*/ 2405743 h 2405743"/>
                <a:gd name="connsiteX2" fmla="*/ 2601686 w 5163457"/>
                <a:gd name="connsiteY2" fmla="*/ 0 h 2405743"/>
                <a:gd name="connsiteX3" fmla="*/ 5163457 w 5163457"/>
                <a:gd name="connsiteY3" fmla="*/ 32658 h 2405743"/>
                <a:gd name="connsiteX0" fmla="*/ 0 w 5151551"/>
                <a:gd name="connsiteY0" fmla="*/ 2418329 h 2418329"/>
                <a:gd name="connsiteX1" fmla="*/ 947057 w 5151551"/>
                <a:gd name="connsiteY1" fmla="*/ 2418329 h 2418329"/>
                <a:gd name="connsiteX2" fmla="*/ 2601686 w 5151551"/>
                <a:gd name="connsiteY2" fmla="*/ 12586 h 2418329"/>
                <a:gd name="connsiteX3" fmla="*/ 5151551 w 5151551"/>
                <a:gd name="connsiteY3" fmla="*/ 0 h 2418329"/>
                <a:gd name="connsiteX0" fmla="*/ 0 w 5158694"/>
                <a:gd name="connsiteY0" fmla="*/ 2405743 h 2405743"/>
                <a:gd name="connsiteX1" fmla="*/ 947057 w 5158694"/>
                <a:gd name="connsiteY1" fmla="*/ 2405743 h 2405743"/>
                <a:gd name="connsiteX2" fmla="*/ 2601686 w 5158694"/>
                <a:gd name="connsiteY2" fmla="*/ 0 h 2405743"/>
                <a:gd name="connsiteX3" fmla="*/ 5158694 w 5158694"/>
                <a:gd name="connsiteY3" fmla="*/ 1701 h 2405743"/>
                <a:gd name="connsiteX0" fmla="*/ 0 w 7226979"/>
                <a:gd name="connsiteY0" fmla="*/ 2394857 h 2405743"/>
                <a:gd name="connsiteX1" fmla="*/ 3015342 w 7226979"/>
                <a:gd name="connsiteY1" fmla="*/ 2405743 h 2405743"/>
                <a:gd name="connsiteX2" fmla="*/ 4669971 w 7226979"/>
                <a:gd name="connsiteY2" fmla="*/ 0 h 2405743"/>
                <a:gd name="connsiteX3" fmla="*/ 7226979 w 7226979"/>
                <a:gd name="connsiteY3" fmla="*/ 1701 h 2405743"/>
                <a:gd name="connsiteX0" fmla="*/ 0 w 7237865"/>
                <a:gd name="connsiteY0" fmla="*/ 2394857 h 2405743"/>
                <a:gd name="connsiteX1" fmla="*/ 3015342 w 7237865"/>
                <a:gd name="connsiteY1" fmla="*/ 2405743 h 2405743"/>
                <a:gd name="connsiteX2" fmla="*/ 4669971 w 7237865"/>
                <a:gd name="connsiteY2" fmla="*/ 0 h 2405743"/>
                <a:gd name="connsiteX3" fmla="*/ 7237865 w 7237865"/>
                <a:gd name="connsiteY3" fmla="*/ 1046729 h 2405743"/>
                <a:gd name="connsiteX0" fmla="*/ 0 w 7237865"/>
                <a:gd name="connsiteY0" fmla="*/ 1654628 h 1665514"/>
                <a:gd name="connsiteX1" fmla="*/ 3015342 w 7237865"/>
                <a:gd name="connsiteY1" fmla="*/ 1665514 h 1665514"/>
                <a:gd name="connsiteX2" fmla="*/ 4691742 w 7237865"/>
                <a:gd name="connsiteY2" fmla="*/ 0 h 1665514"/>
                <a:gd name="connsiteX3" fmla="*/ 7237865 w 7237865"/>
                <a:gd name="connsiteY3" fmla="*/ 306500 h 1665514"/>
                <a:gd name="connsiteX0" fmla="*/ 0 w 7248751"/>
                <a:gd name="connsiteY0" fmla="*/ 1654628 h 1665514"/>
                <a:gd name="connsiteX1" fmla="*/ 3015342 w 7248751"/>
                <a:gd name="connsiteY1" fmla="*/ 1665514 h 1665514"/>
                <a:gd name="connsiteX2" fmla="*/ 4691742 w 7248751"/>
                <a:gd name="connsiteY2" fmla="*/ 0 h 1665514"/>
                <a:gd name="connsiteX3" fmla="*/ 7248751 w 7248751"/>
                <a:gd name="connsiteY3" fmla="*/ 34357 h 1665514"/>
                <a:gd name="connsiteX0" fmla="*/ 0 w 7259636"/>
                <a:gd name="connsiteY0" fmla="*/ 1654628 h 1665514"/>
                <a:gd name="connsiteX1" fmla="*/ 3015342 w 7259636"/>
                <a:gd name="connsiteY1" fmla="*/ 1665514 h 1665514"/>
                <a:gd name="connsiteX2" fmla="*/ 4691742 w 7259636"/>
                <a:gd name="connsiteY2" fmla="*/ 0 h 1665514"/>
                <a:gd name="connsiteX3" fmla="*/ 7259636 w 7259636"/>
                <a:gd name="connsiteY3" fmla="*/ 12585 h 1665514"/>
                <a:gd name="connsiteX0" fmla="*/ 0 w 7259636"/>
                <a:gd name="connsiteY0" fmla="*/ 1643743 h 1654629"/>
                <a:gd name="connsiteX1" fmla="*/ 3015342 w 7259636"/>
                <a:gd name="connsiteY1" fmla="*/ 1654629 h 1654629"/>
                <a:gd name="connsiteX2" fmla="*/ 3984170 w 7259636"/>
                <a:gd name="connsiteY2" fmla="*/ 0 h 1654629"/>
                <a:gd name="connsiteX3" fmla="*/ 7259636 w 7259636"/>
                <a:gd name="connsiteY3" fmla="*/ 1700 h 1654629"/>
                <a:gd name="connsiteX0" fmla="*/ 0 w 5332865"/>
                <a:gd name="connsiteY0" fmla="*/ 1643743 h 1654629"/>
                <a:gd name="connsiteX1" fmla="*/ 3015342 w 5332865"/>
                <a:gd name="connsiteY1" fmla="*/ 1654629 h 1654629"/>
                <a:gd name="connsiteX2" fmla="*/ 3984170 w 5332865"/>
                <a:gd name="connsiteY2" fmla="*/ 0 h 1654629"/>
                <a:gd name="connsiteX3" fmla="*/ 5332865 w 5332865"/>
                <a:gd name="connsiteY3" fmla="*/ 1700 h 1654629"/>
                <a:gd name="connsiteX0" fmla="*/ 0 w 5561465"/>
                <a:gd name="connsiteY0" fmla="*/ 1643743 h 1654629"/>
                <a:gd name="connsiteX1" fmla="*/ 3015342 w 5561465"/>
                <a:gd name="connsiteY1" fmla="*/ 1654629 h 1654629"/>
                <a:gd name="connsiteX2" fmla="*/ 3984170 w 5561465"/>
                <a:gd name="connsiteY2" fmla="*/ 0 h 1654629"/>
                <a:gd name="connsiteX3" fmla="*/ 5561465 w 5561465"/>
                <a:gd name="connsiteY3" fmla="*/ 1700 h 1654629"/>
              </a:gdLst>
              <a:ahLst/>
              <a:cxnLst>
                <a:cxn ang="0">
                  <a:pos x="connsiteX0" y="connsiteY0"/>
                </a:cxn>
                <a:cxn ang="0">
                  <a:pos x="connsiteX1" y="connsiteY1"/>
                </a:cxn>
                <a:cxn ang="0">
                  <a:pos x="connsiteX2" y="connsiteY2"/>
                </a:cxn>
                <a:cxn ang="0">
                  <a:pos x="connsiteX3" y="connsiteY3"/>
                </a:cxn>
              </a:cxnLst>
              <a:rect l="l" t="t" r="r" b="b"/>
              <a:pathLst>
                <a:path w="5561465" h="1654629">
                  <a:moveTo>
                    <a:pt x="0" y="1643743"/>
                  </a:moveTo>
                  <a:lnTo>
                    <a:pt x="3015342" y="1654629"/>
                  </a:lnTo>
                  <a:lnTo>
                    <a:pt x="3984170" y="0"/>
                  </a:lnTo>
                  <a:lnTo>
                    <a:pt x="5561465" y="1700"/>
                  </a:lnTo>
                </a:path>
              </a:pathLst>
            </a:custGeom>
            <a:noFill/>
            <a:ln w="114300">
              <a:solidFill>
                <a:sysClr val="window" lastClr="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FFFFFF"/>
                </a:solidFill>
                <a:effectLst/>
                <a:uLnTx/>
                <a:uFillTx/>
                <a:latin typeface="Arial"/>
                <a:cs typeface="+mn-cs"/>
              </a:endParaRPr>
            </a:p>
          </p:txBody>
        </p:sp>
        <p:sp>
          <p:nvSpPr>
            <p:cNvPr id="20" name="Freeform: Shape 250">
              <a:extLst>
                <a:ext uri="{FF2B5EF4-FFF2-40B4-BE49-F238E27FC236}">
                  <a16:creationId xmlns:a16="http://schemas.microsoft.com/office/drawing/2014/main" id="{530ED5E1-1CC6-4804-A68A-218D5109B03D}"/>
                </a:ext>
              </a:extLst>
            </p:cNvPr>
            <p:cNvSpPr/>
            <p:nvPr/>
          </p:nvSpPr>
          <p:spPr>
            <a:xfrm flipH="1">
              <a:off x="3208818" y="2490045"/>
              <a:ext cx="5489384" cy="960924"/>
            </a:xfrm>
            <a:custGeom>
              <a:avLst/>
              <a:gdLst>
                <a:gd name="connsiteX0" fmla="*/ 0 w 5050971"/>
                <a:gd name="connsiteY0" fmla="*/ 2405743 h 2405743"/>
                <a:gd name="connsiteX1" fmla="*/ 947057 w 5050971"/>
                <a:gd name="connsiteY1" fmla="*/ 2405743 h 2405743"/>
                <a:gd name="connsiteX2" fmla="*/ 2601686 w 5050971"/>
                <a:gd name="connsiteY2" fmla="*/ 0 h 2405743"/>
                <a:gd name="connsiteX3" fmla="*/ 4288971 w 5050971"/>
                <a:gd name="connsiteY3" fmla="*/ 0 h 2405743"/>
                <a:gd name="connsiteX4" fmla="*/ 5050971 w 5050971"/>
                <a:gd name="connsiteY4" fmla="*/ 315686 h 2405743"/>
                <a:gd name="connsiteX0" fmla="*/ 0 w 4288971"/>
                <a:gd name="connsiteY0" fmla="*/ 2405743 h 2405743"/>
                <a:gd name="connsiteX1" fmla="*/ 947057 w 4288971"/>
                <a:gd name="connsiteY1" fmla="*/ 2405743 h 2405743"/>
                <a:gd name="connsiteX2" fmla="*/ 2601686 w 4288971"/>
                <a:gd name="connsiteY2" fmla="*/ 0 h 2405743"/>
                <a:gd name="connsiteX3" fmla="*/ 4288971 w 4288971"/>
                <a:gd name="connsiteY3" fmla="*/ 0 h 2405743"/>
                <a:gd name="connsiteX0" fmla="*/ 0 w 4833257"/>
                <a:gd name="connsiteY0" fmla="*/ 2405743 h 2405743"/>
                <a:gd name="connsiteX1" fmla="*/ 947057 w 4833257"/>
                <a:gd name="connsiteY1" fmla="*/ 2405743 h 2405743"/>
                <a:gd name="connsiteX2" fmla="*/ 2601686 w 4833257"/>
                <a:gd name="connsiteY2" fmla="*/ 0 h 2405743"/>
                <a:gd name="connsiteX3" fmla="*/ 4833257 w 4833257"/>
                <a:gd name="connsiteY3" fmla="*/ 32658 h 2405743"/>
                <a:gd name="connsiteX0" fmla="*/ 0 w 4833257"/>
                <a:gd name="connsiteY0" fmla="*/ 2405743 h 2405743"/>
                <a:gd name="connsiteX1" fmla="*/ 947057 w 4833257"/>
                <a:gd name="connsiteY1" fmla="*/ 2405743 h 2405743"/>
                <a:gd name="connsiteX2" fmla="*/ 2601686 w 4833257"/>
                <a:gd name="connsiteY2" fmla="*/ 0 h 2405743"/>
                <a:gd name="connsiteX3" fmla="*/ 4833257 w 4833257"/>
                <a:gd name="connsiteY3" fmla="*/ 32658 h 2405743"/>
                <a:gd name="connsiteX0" fmla="*/ 0 w 5099957"/>
                <a:gd name="connsiteY0" fmla="*/ 2421433 h 2421433"/>
                <a:gd name="connsiteX1" fmla="*/ 947057 w 5099957"/>
                <a:gd name="connsiteY1" fmla="*/ 2421433 h 2421433"/>
                <a:gd name="connsiteX2" fmla="*/ 2601686 w 5099957"/>
                <a:gd name="connsiteY2" fmla="*/ 15690 h 2421433"/>
                <a:gd name="connsiteX3" fmla="*/ 5099957 w 5099957"/>
                <a:gd name="connsiteY3" fmla="*/ 10248 h 2421433"/>
                <a:gd name="connsiteX0" fmla="*/ 0 w 5169807"/>
                <a:gd name="connsiteY0" fmla="*/ 2405743 h 2405743"/>
                <a:gd name="connsiteX1" fmla="*/ 947057 w 5169807"/>
                <a:gd name="connsiteY1" fmla="*/ 2405743 h 2405743"/>
                <a:gd name="connsiteX2" fmla="*/ 2601686 w 5169807"/>
                <a:gd name="connsiteY2" fmla="*/ 0 h 2405743"/>
                <a:gd name="connsiteX3" fmla="*/ 5169807 w 5169807"/>
                <a:gd name="connsiteY3" fmla="*/ 83458 h 2405743"/>
                <a:gd name="connsiteX0" fmla="*/ 0 w 5163457"/>
                <a:gd name="connsiteY0" fmla="*/ 2405743 h 2405743"/>
                <a:gd name="connsiteX1" fmla="*/ 947057 w 5163457"/>
                <a:gd name="connsiteY1" fmla="*/ 2405743 h 2405743"/>
                <a:gd name="connsiteX2" fmla="*/ 2601686 w 5163457"/>
                <a:gd name="connsiteY2" fmla="*/ 0 h 2405743"/>
                <a:gd name="connsiteX3" fmla="*/ 5163457 w 5163457"/>
                <a:gd name="connsiteY3" fmla="*/ 32658 h 2405743"/>
                <a:gd name="connsiteX0" fmla="*/ 0 w 5163457"/>
                <a:gd name="connsiteY0" fmla="*/ 2405743 h 2405743"/>
                <a:gd name="connsiteX1" fmla="*/ 947057 w 5163457"/>
                <a:gd name="connsiteY1" fmla="*/ 2405743 h 2405743"/>
                <a:gd name="connsiteX2" fmla="*/ 2601686 w 5163457"/>
                <a:gd name="connsiteY2" fmla="*/ 0 h 2405743"/>
                <a:gd name="connsiteX3" fmla="*/ 5163457 w 5163457"/>
                <a:gd name="connsiteY3" fmla="*/ 32658 h 2405743"/>
                <a:gd name="connsiteX0" fmla="*/ 0 w 5163457"/>
                <a:gd name="connsiteY0" fmla="*/ 2405743 h 2405743"/>
                <a:gd name="connsiteX1" fmla="*/ 947057 w 5163457"/>
                <a:gd name="connsiteY1" fmla="*/ 2405743 h 2405743"/>
                <a:gd name="connsiteX2" fmla="*/ 2601686 w 5163457"/>
                <a:gd name="connsiteY2" fmla="*/ 0 h 2405743"/>
                <a:gd name="connsiteX3" fmla="*/ 5163457 w 5163457"/>
                <a:gd name="connsiteY3" fmla="*/ 32658 h 2405743"/>
                <a:gd name="connsiteX0" fmla="*/ 0 w 5151551"/>
                <a:gd name="connsiteY0" fmla="*/ 2418329 h 2418329"/>
                <a:gd name="connsiteX1" fmla="*/ 947057 w 5151551"/>
                <a:gd name="connsiteY1" fmla="*/ 2418329 h 2418329"/>
                <a:gd name="connsiteX2" fmla="*/ 2601686 w 5151551"/>
                <a:gd name="connsiteY2" fmla="*/ 12586 h 2418329"/>
                <a:gd name="connsiteX3" fmla="*/ 5151551 w 5151551"/>
                <a:gd name="connsiteY3" fmla="*/ 0 h 2418329"/>
                <a:gd name="connsiteX0" fmla="*/ 0 w 5158694"/>
                <a:gd name="connsiteY0" fmla="*/ 2405743 h 2405743"/>
                <a:gd name="connsiteX1" fmla="*/ 947057 w 5158694"/>
                <a:gd name="connsiteY1" fmla="*/ 2405743 h 2405743"/>
                <a:gd name="connsiteX2" fmla="*/ 2601686 w 5158694"/>
                <a:gd name="connsiteY2" fmla="*/ 0 h 2405743"/>
                <a:gd name="connsiteX3" fmla="*/ 5158694 w 5158694"/>
                <a:gd name="connsiteY3" fmla="*/ 1701 h 2405743"/>
                <a:gd name="connsiteX0" fmla="*/ 0 w 7226979"/>
                <a:gd name="connsiteY0" fmla="*/ 2394857 h 2405743"/>
                <a:gd name="connsiteX1" fmla="*/ 3015342 w 7226979"/>
                <a:gd name="connsiteY1" fmla="*/ 2405743 h 2405743"/>
                <a:gd name="connsiteX2" fmla="*/ 4669971 w 7226979"/>
                <a:gd name="connsiteY2" fmla="*/ 0 h 2405743"/>
                <a:gd name="connsiteX3" fmla="*/ 7226979 w 7226979"/>
                <a:gd name="connsiteY3" fmla="*/ 1701 h 2405743"/>
                <a:gd name="connsiteX0" fmla="*/ 0 w 7237865"/>
                <a:gd name="connsiteY0" fmla="*/ 2394857 h 2405743"/>
                <a:gd name="connsiteX1" fmla="*/ 3015342 w 7237865"/>
                <a:gd name="connsiteY1" fmla="*/ 2405743 h 2405743"/>
                <a:gd name="connsiteX2" fmla="*/ 4669971 w 7237865"/>
                <a:gd name="connsiteY2" fmla="*/ 0 h 2405743"/>
                <a:gd name="connsiteX3" fmla="*/ 7237865 w 7237865"/>
                <a:gd name="connsiteY3" fmla="*/ 1046729 h 2405743"/>
                <a:gd name="connsiteX0" fmla="*/ 0 w 7237865"/>
                <a:gd name="connsiteY0" fmla="*/ 1654628 h 1665514"/>
                <a:gd name="connsiteX1" fmla="*/ 3015342 w 7237865"/>
                <a:gd name="connsiteY1" fmla="*/ 1665514 h 1665514"/>
                <a:gd name="connsiteX2" fmla="*/ 4691742 w 7237865"/>
                <a:gd name="connsiteY2" fmla="*/ 0 h 1665514"/>
                <a:gd name="connsiteX3" fmla="*/ 7237865 w 7237865"/>
                <a:gd name="connsiteY3" fmla="*/ 306500 h 1665514"/>
                <a:gd name="connsiteX0" fmla="*/ 0 w 7248751"/>
                <a:gd name="connsiteY0" fmla="*/ 1654628 h 1665514"/>
                <a:gd name="connsiteX1" fmla="*/ 3015342 w 7248751"/>
                <a:gd name="connsiteY1" fmla="*/ 1665514 h 1665514"/>
                <a:gd name="connsiteX2" fmla="*/ 4691742 w 7248751"/>
                <a:gd name="connsiteY2" fmla="*/ 0 h 1665514"/>
                <a:gd name="connsiteX3" fmla="*/ 7248751 w 7248751"/>
                <a:gd name="connsiteY3" fmla="*/ 34357 h 1665514"/>
                <a:gd name="connsiteX0" fmla="*/ 0 w 7259636"/>
                <a:gd name="connsiteY0" fmla="*/ 1654628 h 1665514"/>
                <a:gd name="connsiteX1" fmla="*/ 3015342 w 7259636"/>
                <a:gd name="connsiteY1" fmla="*/ 1665514 h 1665514"/>
                <a:gd name="connsiteX2" fmla="*/ 4691742 w 7259636"/>
                <a:gd name="connsiteY2" fmla="*/ 0 h 1665514"/>
                <a:gd name="connsiteX3" fmla="*/ 7259636 w 7259636"/>
                <a:gd name="connsiteY3" fmla="*/ 12585 h 1665514"/>
                <a:gd name="connsiteX0" fmla="*/ 0 w 7259636"/>
                <a:gd name="connsiteY0" fmla="*/ 1643743 h 1654629"/>
                <a:gd name="connsiteX1" fmla="*/ 3015342 w 7259636"/>
                <a:gd name="connsiteY1" fmla="*/ 1654629 h 1654629"/>
                <a:gd name="connsiteX2" fmla="*/ 3984170 w 7259636"/>
                <a:gd name="connsiteY2" fmla="*/ 0 h 1654629"/>
                <a:gd name="connsiteX3" fmla="*/ 7259636 w 7259636"/>
                <a:gd name="connsiteY3" fmla="*/ 1700 h 1654629"/>
                <a:gd name="connsiteX0" fmla="*/ 0 w 5332865"/>
                <a:gd name="connsiteY0" fmla="*/ 1643743 h 1654629"/>
                <a:gd name="connsiteX1" fmla="*/ 3015342 w 5332865"/>
                <a:gd name="connsiteY1" fmla="*/ 1654629 h 1654629"/>
                <a:gd name="connsiteX2" fmla="*/ 3984170 w 5332865"/>
                <a:gd name="connsiteY2" fmla="*/ 0 h 1654629"/>
                <a:gd name="connsiteX3" fmla="*/ 5332865 w 5332865"/>
                <a:gd name="connsiteY3" fmla="*/ 1700 h 1654629"/>
                <a:gd name="connsiteX0" fmla="*/ 0 w 5561465"/>
                <a:gd name="connsiteY0" fmla="*/ 1643743 h 1654629"/>
                <a:gd name="connsiteX1" fmla="*/ 3015342 w 5561465"/>
                <a:gd name="connsiteY1" fmla="*/ 1654629 h 1654629"/>
                <a:gd name="connsiteX2" fmla="*/ 3984170 w 5561465"/>
                <a:gd name="connsiteY2" fmla="*/ 0 h 1654629"/>
                <a:gd name="connsiteX3" fmla="*/ 5561465 w 5561465"/>
                <a:gd name="connsiteY3" fmla="*/ 1700 h 1654629"/>
                <a:gd name="connsiteX0" fmla="*/ 0 w 8511493"/>
                <a:gd name="connsiteY0" fmla="*/ 1652929 h 1663815"/>
                <a:gd name="connsiteX1" fmla="*/ 3015342 w 8511493"/>
                <a:gd name="connsiteY1" fmla="*/ 1663815 h 1663815"/>
                <a:gd name="connsiteX2" fmla="*/ 3984170 w 8511493"/>
                <a:gd name="connsiteY2" fmla="*/ 9186 h 1663815"/>
                <a:gd name="connsiteX3" fmla="*/ 8511493 w 8511493"/>
                <a:gd name="connsiteY3" fmla="*/ 0 h 1663815"/>
                <a:gd name="connsiteX0" fmla="*/ 0 w 8511493"/>
                <a:gd name="connsiteY0" fmla="*/ 1654628 h 1665514"/>
                <a:gd name="connsiteX1" fmla="*/ 3015342 w 8511493"/>
                <a:gd name="connsiteY1" fmla="*/ 1665514 h 1665514"/>
                <a:gd name="connsiteX2" fmla="*/ 6553199 w 8511493"/>
                <a:gd name="connsiteY2" fmla="*/ 0 h 1665514"/>
                <a:gd name="connsiteX3" fmla="*/ 8511493 w 8511493"/>
                <a:gd name="connsiteY3" fmla="*/ 1699 h 1665514"/>
                <a:gd name="connsiteX0" fmla="*/ 0 w 8511493"/>
                <a:gd name="connsiteY0" fmla="*/ 1654628 h 1687285"/>
                <a:gd name="connsiteX1" fmla="*/ 5693228 w 8511493"/>
                <a:gd name="connsiteY1" fmla="*/ 1687285 h 1687285"/>
                <a:gd name="connsiteX2" fmla="*/ 6553199 w 8511493"/>
                <a:gd name="connsiteY2" fmla="*/ 0 h 1687285"/>
                <a:gd name="connsiteX3" fmla="*/ 8511493 w 8511493"/>
                <a:gd name="connsiteY3" fmla="*/ 1699 h 1687285"/>
                <a:gd name="connsiteX0" fmla="*/ 0 w 8511493"/>
                <a:gd name="connsiteY0" fmla="*/ 1652929 h 1685586"/>
                <a:gd name="connsiteX1" fmla="*/ 5693228 w 8511493"/>
                <a:gd name="connsiteY1" fmla="*/ 1685586 h 1685586"/>
                <a:gd name="connsiteX2" fmla="*/ 6357256 w 8511493"/>
                <a:gd name="connsiteY2" fmla="*/ 411958 h 1685586"/>
                <a:gd name="connsiteX3" fmla="*/ 8511493 w 8511493"/>
                <a:gd name="connsiteY3" fmla="*/ 0 h 1685586"/>
                <a:gd name="connsiteX0" fmla="*/ 0 w 8500607"/>
                <a:gd name="connsiteY0" fmla="*/ 1271929 h 1304586"/>
                <a:gd name="connsiteX1" fmla="*/ 5693228 w 8500607"/>
                <a:gd name="connsiteY1" fmla="*/ 1304586 h 1304586"/>
                <a:gd name="connsiteX2" fmla="*/ 6357256 w 8500607"/>
                <a:gd name="connsiteY2" fmla="*/ 30958 h 1304586"/>
                <a:gd name="connsiteX3" fmla="*/ 8500607 w 8500607"/>
                <a:gd name="connsiteY3" fmla="*/ 0 h 1304586"/>
                <a:gd name="connsiteX0" fmla="*/ 0 w 7386182"/>
                <a:gd name="connsiteY0" fmla="*/ 1243354 h 1276011"/>
                <a:gd name="connsiteX1" fmla="*/ 5693228 w 7386182"/>
                <a:gd name="connsiteY1" fmla="*/ 1276011 h 1276011"/>
                <a:gd name="connsiteX2" fmla="*/ 6357256 w 7386182"/>
                <a:gd name="connsiteY2" fmla="*/ 2383 h 1276011"/>
                <a:gd name="connsiteX3" fmla="*/ 7386182 w 7386182"/>
                <a:gd name="connsiteY3" fmla="*/ 0 h 1276011"/>
                <a:gd name="connsiteX0" fmla="*/ 0 w 5805032"/>
                <a:gd name="connsiteY0" fmla="*/ 1252879 h 1276011"/>
                <a:gd name="connsiteX1" fmla="*/ 4112078 w 5805032"/>
                <a:gd name="connsiteY1" fmla="*/ 1276011 h 1276011"/>
                <a:gd name="connsiteX2" fmla="*/ 4776106 w 5805032"/>
                <a:gd name="connsiteY2" fmla="*/ 2383 h 1276011"/>
                <a:gd name="connsiteX3" fmla="*/ 5805032 w 5805032"/>
                <a:gd name="connsiteY3" fmla="*/ 0 h 1276011"/>
              </a:gdLst>
              <a:ahLst/>
              <a:cxnLst>
                <a:cxn ang="0">
                  <a:pos x="connsiteX0" y="connsiteY0"/>
                </a:cxn>
                <a:cxn ang="0">
                  <a:pos x="connsiteX1" y="connsiteY1"/>
                </a:cxn>
                <a:cxn ang="0">
                  <a:pos x="connsiteX2" y="connsiteY2"/>
                </a:cxn>
                <a:cxn ang="0">
                  <a:pos x="connsiteX3" y="connsiteY3"/>
                </a:cxn>
              </a:cxnLst>
              <a:rect l="l" t="t" r="r" b="b"/>
              <a:pathLst>
                <a:path w="5805032" h="1276011">
                  <a:moveTo>
                    <a:pt x="0" y="1252879"/>
                  </a:moveTo>
                  <a:lnTo>
                    <a:pt x="4112078" y="1276011"/>
                  </a:lnTo>
                  <a:lnTo>
                    <a:pt x="4776106" y="2383"/>
                  </a:lnTo>
                  <a:lnTo>
                    <a:pt x="5805032" y="0"/>
                  </a:lnTo>
                </a:path>
              </a:pathLst>
            </a:custGeom>
            <a:noFill/>
            <a:ln w="114300">
              <a:solidFill>
                <a:sysClr val="window" lastClr="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FFFFFF"/>
                </a:solidFill>
                <a:effectLst/>
                <a:uLnTx/>
                <a:uFillTx/>
                <a:latin typeface="Arial"/>
                <a:cs typeface="+mn-cs"/>
              </a:endParaRPr>
            </a:p>
          </p:txBody>
        </p:sp>
        <p:sp>
          <p:nvSpPr>
            <p:cNvPr id="21" name="Teardrop 198">
              <a:extLst>
                <a:ext uri="{FF2B5EF4-FFF2-40B4-BE49-F238E27FC236}">
                  <a16:creationId xmlns:a16="http://schemas.microsoft.com/office/drawing/2014/main" id="{9743F341-2489-49BC-8B81-0C9821E827C9}"/>
                </a:ext>
              </a:extLst>
            </p:cNvPr>
            <p:cNvSpPr/>
            <p:nvPr/>
          </p:nvSpPr>
          <p:spPr>
            <a:xfrm rot="8100000" flipH="1">
              <a:off x="5468355" y="290286"/>
              <a:ext cx="1195648" cy="1222029"/>
            </a:xfrm>
            <a:prstGeom prst="teardrop">
              <a:avLst/>
            </a:prstGeom>
            <a:pattFill prst="shingle">
              <a:fgClr>
                <a:schemeClr val="bg1">
                  <a:lumMod val="95000"/>
                </a:schemeClr>
              </a:fgClr>
              <a:bgClr>
                <a:schemeClr val="bg1"/>
              </a:bgClr>
            </a:pattFill>
            <a:ln w="12700" cap="flat" cmpd="sng" algn="ctr">
              <a:noFill/>
              <a:prstDash val="solid"/>
              <a:miter lim="800000"/>
            </a:ln>
            <a:effectLst>
              <a:outerShdw blurRad="215900" sx="104000" sy="104000" algn="ctr" rotWithShape="0">
                <a:prstClr val="black">
                  <a:alpha val="19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0" cap="none" spc="0" normalizeH="0" baseline="0" noProof="0">
                <a:ln>
                  <a:noFill/>
                </a:ln>
                <a:solidFill>
                  <a:prstClr val="white"/>
                </a:solidFill>
                <a:effectLst/>
                <a:uLnTx/>
                <a:uFillTx/>
                <a:latin typeface="Arial"/>
                <a:cs typeface="+mn-cs"/>
              </a:endParaRPr>
            </a:p>
          </p:txBody>
        </p:sp>
        <p:sp>
          <p:nvSpPr>
            <p:cNvPr id="22" name="Teardrop 259">
              <a:extLst>
                <a:ext uri="{FF2B5EF4-FFF2-40B4-BE49-F238E27FC236}">
                  <a16:creationId xmlns:a16="http://schemas.microsoft.com/office/drawing/2014/main" id="{081F112E-6239-46F6-8012-35CBAC1EB685}"/>
                </a:ext>
              </a:extLst>
            </p:cNvPr>
            <p:cNvSpPr/>
            <p:nvPr/>
          </p:nvSpPr>
          <p:spPr>
            <a:xfrm rot="8100000" flipH="1">
              <a:off x="3878824" y="1111183"/>
              <a:ext cx="1195648" cy="1222029"/>
            </a:xfrm>
            <a:prstGeom prst="teardrop">
              <a:avLst/>
            </a:prstGeom>
            <a:pattFill prst="shingle">
              <a:fgClr>
                <a:schemeClr val="bg1">
                  <a:lumMod val="95000"/>
                </a:schemeClr>
              </a:fgClr>
              <a:bgClr>
                <a:schemeClr val="bg1"/>
              </a:bgClr>
            </a:pattFill>
            <a:ln w="12700" cap="flat" cmpd="sng" algn="ctr">
              <a:noFill/>
              <a:prstDash val="solid"/>
              <a:miter lim="800000"/>
            </a:ln>
            <a:effectLst>
              <a:outerShdw blurRad="215900" sx="104000" sy="104000" algn="ctr" rotWithShape="0">
                <a:prstClr val="black">
                  <a:alpha val="19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0" cap="none" spc="0" normalizeH="0" baseline="0" noProof="0">
                <a:ln>
                  <a:noFill/>
                </a:ln>
                <a:solidFill>
                  <a:prstClr val="white"/>
                </a:solidFill>
                <a:effectLst/>
                <a:uLnTx/>
                <a:uFillTx/>
                <a:latin typeface="Arial"/>
                <a:cs typeface="+mn-cs"/>
              </a:endParaRPr>
            </a:p>
          </p:txBody>
        </p:sp>
        <p:sp>
          <p:nvSpPr>
            <p:cNvPr id="23" name="Teardrop 262">
              <a:extLst>
                <a:ext uri="{FF2B5EF4-FFF2-40B4-BE49-F238E27FC236}">
                  <a16:creationId xmlns:a16="http://schemas.microsoft.com/office/drawing/2014/main" id="{47F0F0BF-1C01-45D5-8C3E-C2DD12D7837F}"/>
                </a:ext>
              </a:extLst>
            </p:cNvPr>
            <p:cNvSpPr/>
            <p:nvPr/>
          </p:nvSpPr>
          <p:spPr>
            <a:xfrm rot="8100000" flipH="1">
              <a:off x="2289292" y="1866242"/>
              <a:ext cx="1195648" cy="1222029"/>
            </a:xfrm>
            <a:prstGeom prst="teardrop">
              <a:avLst/>
            </a:prstGeom>
            <a:pattFill prst="shingle">
              <a:fgClr>
                <a:schemeClr val="bg1">
                  <a:lumMod val="95000"/>
                </a:schemeClr>
              </a:fgClr>
              <a:bgClr>
                <a:schemeClr val="bg1"/>
              </a:bgClr>
            </a:pattFill>
            <a:ln w="12700" cap="flat" cmpd="sng" algn="ctr">
              <a:noFill/>
              <a:prstDash val="solid"/>
              <a:miter lim="800000"/>
            </a:ln>
            <a:effectLst>
              <a:outerShdw blurRad="215900" sx="104000" sy="104000" algn="ctr" rotWithShape="0">
                <a:prstClr val="black">
                  <a:alpha val="19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0" cap="none" spc="0" normalizeH="0" baseline="0" noProof="0">
                <a:ln>
                  <a:noFill/>
                </a:ln>
                <a:solidFill>
                  <a:prstClr val="white"/>
                </a:solidFill>
                <a:effectLst/>
                <a:uLnTx/>
                <a:uFillTx/>
                <a:latin typeface="Arial"/>
                <a:cs typeface="+mn-cs"/>
              </a:endParaRPr>
            </a:p>
          </p:txBody>
        </p:sp>
        <p:sp>
          <p:nvSpPr>
            <p:cNvPr id="24" name="Rectangle 264">
              <a:extLst>
                <a:ext uri="{FF2B5EF4-FFF2-40B4-BE49-F238E27FC236}">
                  <a16:creationId xmlns:a16="http://schemas.microsoft.com/office/drawing/2014/main" id="{8BC9540B-8B4F-48AC-BF6D-14D5472D1465}"/>
                </a:ext>
              </a:extLst>
            </p:cNvPr>
            <p:cNvSpPr/>
            <p:nvPr/>
          </p:nvSpPr>
          <p:spPr>
            <a:xfrm flipH="1">
              <a:off x="5781947" y="622161"/>
              <a:ext cx="578852" cy="441298"/>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chemeClr val="accent1"/>
                  </a:solidFill>
                  <a:effectLst/>
                  <a:uLnTx/>
                  <a:uFillTx/>
                  <a:latin typeface="Gill Sans MT" panose="020B0502020104020203" pitchFamily="34" charset="0"/>
                  <a:cs typeface="Segoe UI" panose="020B0502040204020203" pitchFamily="34" charset="0"/>
                </a:rPr>
                <a:t>Lorem Ipsum</a:t>
              </a:r>
            </a:p>
          </p:txBody>
        </p:sp>
        <p:sp>
          <p:nvSpPr>
            <p:cNvPr id="25" name="Rectangle 265">
              <a:extLst>
                <a:ext uri="{FF2B5EF4-FFF2-40B4-BE49-F238E27FC236}">
                  <a16:creationId xmlns:a16="http://schemas.microsoft.com/office/drawing/2014/main" id="{52627DE5-9795-45C9-B5A8-2B3185CEB019}"/>
                </a:ext>
              </a:extLst>
            </p:cNvPr>
            <p:cNvSpPr/>
            <p:nvPr/>
          </p:nvSpPr>
          <p:spPr>
            <a:xfrm flipH="1">
              <a:off x="4258779" y="1474874"/>
              <a:ext cx="578852" cy="441298"/>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chemeClr val="accent1"/>
                  </a:solidFill>
                  <a:effectLst/>
                  <a:uLnTx/>
                  <a:uFillTx/>
                  <a:latin typeface="Gill Sans MT" panose="020B0502020104020203" pitchFamily="34" charset="0"/>
                  <a:cs typeface="Segoe UI" panose="020B0502040204020203" pitchFamily="34" charset="0"/>
                </a:rPr>
                <a:t>Lorem Ipsum</a:t>
              </a:r>
            </a:p>
          </p:txBody>
        </p:sp>
        <p:sp>
          <p:nvSpPr>
            <p:cNvPr id="26" name="Rectangle 266">
              <a:extLst>
                <a:ext uri="{FF2B5EF4-FFF2-40B4-BE49-F238E27FC236}">
                  <a16:creationId xmlns:a16="http://schemas.microsoft.com/office/drawing/2014/main" id="{E1901ACB-490C-4C7B-BAEB-2B5F939C4EBB}"/>
                </a:ext>
              </a:extLst>
            </p:cNvPr>
            <p:cNvSpPr/>
            <p:nvPr/>
          </p:nvSpPr>
          <p:spPr>
            <a:xfrm flipH="1">
              <a:off x="2632393" y="2251905"/>
              <a:ext cx="578852" cy="441298"/>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chemeClr val="accent1"/>
                  </a:solidFill>
                  <a:effectLst/>
                  <a:uLnTx/>
                  <a:uFillTx/>
                  <a:latin typeface="Gill Sans MT" panose="020B0502020104020203" pitchFamily="34" charset="0"/>
                  <a:cs typeface="Segoe UI" panose="020B0502040204020203" pitchFamily="34" charset="0"/>
                </a:rPr>
                <a:t>Lorem Ipsum</a:t>
              </a:r>
            </a:p>
          </p:txBody>
        </p:sp>
        <p:grpSp>
          <p:nvGrpSpPr>
            <p:cNvPr id="27" name="Group 341">
              <a:extLst>
                <a:ext uri="{FF2B5EF4-FFF2-40B4-BE49-F238E27FC236}">
                  <a16:creationId xmlns:a16="http://schemas.microsoft.com/office/drawing/2014/main" id="{5F693D18-B290-46C7-8001-1CCA6F290B30}"/>
                </a:ext>
              </a:extLst>
            </p:cNvPr>
            <p:cNvGrpSpPr/>
            <p:nvPr/>
          </p:nvGrpSpPr>
          <p:grpSpPr>
            <a:xfrm>
              <a:off x="6623546" y="717590"/>
              <a:ext cx="341400" cy="341398"/>
              <a:chOff x="-3169900" y="-1107425"/>
              <a:chExt cx="361031" cy="361029"/>
            </a:xfrm>
          </p:grpSpPr>
          <p:sp>
            <p:nvSpPr>
              <p:cNvPr id="72" name="Oval 274">
                <a:extLst>
                  <a:ext uri="{FF2B5EF4-FFF2-40B4-BE49-F238E27FC236}">
                    <a16:creationId xmlns:a16="http://schemas.microsoft.com/office/drawing/2014/main" id="{B4C0EC9A-A9B1-4D1F-929F-742020B1DDAB}"/>
                  </a:ext>
                </a:extLst>
              </p:cNvPr>
              <p:cNvSpPr/>
              <p:nvPr/>
            </p:nvSpPr>
            <p:spPr>
              <a:xfrm>
                <a:off x="-3169900" y="-1107425"/>
                <a:ext cx="361031" cy="361029"/>
              </a:xfrm>
              <a:prstGeom prst="ellipse">
                <a:avLst/>
              </a:prstGeom>
              <a:solidFill>
                <a:sysClr val="window" lastClr="FFFFFF"/>
              </a:solidFill>
              <a:ln w="12700" cap="flat" cmpd="sng" algn="ctr">
                <a:noFill/>
                <a:prstDash val="solid"/>
                <a:miter lim="800000"/>
              </a:ln>
              <a:effectLst>
                <a:outerShdw blurRad="215900" sx="104000" sy="104000" algn="ctr" rotWithShape="0">
                  <a:prstClr val="black">
                    <a:alpha val="19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Gill Sans MT" panose="020B0502020104020203" pitchFamily="34" charset="0"/>
                  <a:cs typeface="+mn-cs"/>
                </a:endParaRPr>
              </a:p>
            </p:txBody>
          </p:sp>
          <p:grpSp>
            <p:nvGrpSpPr>
              <p:cNvPr id="73" name="Group 318">
                <a:extLst>
                  <a:ext uri="{FF2B5EF4-FFF2-40B4-BE49-F238E27FC236}">
                    <a16:creationId xmlns:a16="http://schemas.microsoft.com/office/drawing/2014/main" id="{F439DCE7-96AF-49DD-ACC5-6CA10C65FFD1}"/>
                  </a:ext>
                </a:extLst>
              </p:cNvPr>
              <p:cNvGrpSpPr/>
              <p:nvPr/>
            </p:nvGrpSpPr>
            <p:grpSpPr>
              <a:xfrm>
                <a:off x="-3094862" y="-1000327"/>
                <a:ext cx="210954" cy="146832"/>
                <a:chOff x="3408363" y="2940050"/>
                <a:chExt cx="360363" cy="250826"/>
              </a:xfrm>
              <a:gradFill>
                <a:gsLst>
                  <a:gs pos="100000">
                    <a:srgbClr val="0098DB"/>
                  </a:gs>
                  <a:gs pos="0">
                    <a:srgbClr val="00497A"/>
                  </a:gs>
                </a:gsLst>
                <a:lin ang="2700000" scaled="1"/>
              </a:gradFill>
            </p:grpSpPr>
            <p:sp>
              <p:nvSpPr>
                <p:cNvPr id="74" name="Freeform 22">
                  <a:extLst>
                    <a:ext uri="{FF2B5EF4-FFF2-40B4-BE49-F238E27FC236}">
                      <a16:creationId xmlns:a16="http://schemas.microsoft.com/office/drawing/2014/main" id="{23A4D0AB-6DD3-40E8-AE41-AB722A81D13A}"/>
                    </a:ext>
                  </a:extLst>
                </p:cNvPr>
                <p:cNvSpPr>
                  <a:spLocks/>
                </p:cNvSpPr>
                <p:nvPr/>
              </p:nvSpPr>
              <p:spPr bwMode="auto">
                <a:xfrm>
                  <a:off x="3551238" y="2940050"/>
                  <a:ext cx="120650" cy="101600"/>
                </a:xfrm>
                <a:custGeom>
                  <a:avLst/>
                  <a:gdLst>
                    <a:gd name="T0" fmla="*/ 2 w 32"/>
                    <a:gd name="T1" fmla="*/ 27 h 27"/>
                    <a:gd name="T2" fmla="*/ 1 w 32"/>
                    <a:gd name="T3" fmla="*/ 27 h 27"/>
                    <a:gd name="T4" fmla="*/ 1 w 32"/>
                    <a:gd name="T5" fmla="*/ 24 h 27"/>
                    <a:gd name="T6" fmla="*/ 24 w 32"/>
                    <a:gd name="T7" fmla="*/ 1 h 27"/>
                    <a:gd name="T8" fmla="*/ 27 w 32"/>
                    <a:gd name="T9" fmla="*/ 1 h 27"/>
                    <a:gd name="T10" fmla="*/ 31 w 32"/>
                    <a:gd name="T11" fmla="*/ 6 h 27"/>
                    <a:gd name="T12" fmla="*/ 31 w 32"/>
                    <a:gd name="T13" fmla="*/ 8 h 27"/>
                    <a:gd name="T14" fmla="*/ 29 w 32"/>
                    <a:gd name="T15" fmla="*/ 8 h 27"/>
                    <a:gd name="T16" fmla="*/ 25 w 32"/>
                    <a:gd name="T17" fmla="*/ 5 h 27"/>
                    <a:gd name="T18" fmla="*/ 4 w 32"/>
                    <a:gd name="T19" fmla="*/ 27 h 27"/>
                    <a:gd name="T20" fmla="*/ 2 w 32"/>
                    <a:gd name="T21" fmla="*/ 2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 h="27">
                      <a:moveTo>
                        <a:pt x="2" y="27"/>
                      </a:moveTo>
                      <a:cubicBezTo>
                        <a:pt x="2" y="27"/>
                        <a:pt x="1" y="27"/>
                        <a:pt x="1" y="27"/>
                      </a:cubicBezTo>
                      <a:cubicBezTo>
                        <a:pt x="0" y="26"/>
                        <a:pt x="0" y="25"/>
                        <a:pt x="1" y="24"/>
                      </a:cubicBezTo>
                      <a:cubicBezTo>
                        <a:pt x="24" y="1"/>
                        <a:pt x="24" y="1"/>
                        <a:pt x="24" y="1"/>
                      </a:cubicBezTo>
                      <a:cubicBezTo>
                        <a:pt x="25" y="0"/>
                        <a:pt x="26" y="0"/>
                        <a:pt x="27" y="1"/>
                      </a:cubicBezTo>
                      <a:cubicBezTo>
                        <a:pt x="31" y="6"/>
                        <a:pt x="31" y="6"/>
                        <a:pt x="31" y="6"/>
                      </a:cubicBezTo>
                      <a:cubicBezTo>
                        <a:pt x="32" y="6"/>
                        <a:pt x="32" y="8"/>
                        <a:pt x="31" y="8"/>
                      </a:cubicBezTo>
                      <a:cubicBezTo>
                        <a:pt x="31" y="9"/>
                        <a:pt x="29" y="9"/>
                        <a:pt x="29" y="8"/>
                      </a:cubicBezTo>
                      <a:cubicBezTo>
                        <a:pt x="25" y="5"/>
                        <a:pt x="25" y="5"/>
                        <a:pt x="25" y="5"/>
                      </a:cubicBezTo>
                      <a:cubicBezTo>
                        <a:pt x="4" y="27"/>
                        <a:pt x="4" y="27"/>
                        <a:pt x="4" y="27"/>
                      </a:cubicBezTo>
                      <a:cubicBezTo>
                        <a:pt x="3" y="27"/>
                        <a:pt x="3" y="27"/>
                        <a:pt x="2" y="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Arial"/>
                    <a:cs typeface="+mn-cs"/>
                  </a:endParaRPr>
                </a:p>
              </p:txBody>
            </p:sp>
            <p:sp>
              <p:nvSpPr>
                <p:cNvPr id="75" name="Freeform 23">
                  <a:extLst>
                    <a:ext uri="{FF2B5EF4-FFF2-40B4-BE49-F238E27FC236}">
                      <a16:creationId xmlns:a16="http://schemas.microsoft.com/office/drawing/2014/main" id="{4AB4DD65-FD0D-4B36-BCDF-F755B2A9C546}"/>
                    </a:ext>
                  </a:extLst>
                </p:cNvPr>
                <p:cNvSpPr>
                  <a:spLocks/>
                </p:cNvSpPr>
                <p:nvPr/>
              </p:nvSpPr>
              <p:spPr bwMode="auto">
                <a:xfrm>
                  <a:off x="3408363" y="3046413"/>
                  <a:ext cx="112713" cy="144463"/>
                </a:xfrm>
                <a:custGeom>
                  <a:avLst/>
                  <a:gdLst>
                    <a:gd name="T0" fmla="*/ 24 w 30"/>
                    <a:gd name="T1" fmla="*/ 38 h 38"/>
                    <a:gd name="T2" fmla="*/ 23 w 30"/>
                    <a:gd name="T3" fmla="*/ 37 h 38"/>
                    <a:gd name="T4" fmla="*/ 1 w 30"/>
                    <a:gd name="T5" fmla="*/ 15 h 38"/>
                    <a:gd name="T6" fmla="*/ 1 w 30"/>
                    <a:gd name="T7" fmla="*/ 12 h 38"/>
                    <a:gd name="T8" fmla="*/ 12 w 30"/>
                    <a:gd name="T9" fmla="*/ 1 h 38"/>
                    <a:gd name="T10" fmla="*/ 14 w 30"/>
                    <a:gd name="T11" fmla="*/ 1 h 38"/>
                    <a:gd name="T12" fmla="*/ 19 w 30"/>
                    <a:gd name="T13" fmla="*/ 5 h 38"/>
                    <a:gd name="T14" fmla="*/ 19 w 30"/>
                    <a:gd name="T15" fmla="*/ 8 h 38"/>
                    <a:gd name="T16" fmla="*/ 16 w 30"/>
                    <a:gd name="T17" fmla="*/ 8 h 38"/>
                    <a:gd name="T18" fmla="*/ 13 w 30"/>
                    <a:gd name="T19" fmla="*/ 5 h 38"/>
                    <a:gd name="T20" fmla="*/ 5 w 30"/>
                    <a:gd name="T21" fmla="*/ 14 h 38"/>
                    <a:gd name="T22" fmla="*/ 24 w 30"/>
                    <a:gd name="T23" fmla="*/ 33 h 38"/>
                    <a:gd name="T24" fmla="*/ 26 w 30"/>
                    <a:gd name="T25" fmla="*/ 31 h 38"/>
                    <a:gd name="T26" fmla="*/ 29 w 30"/>
                    <a:gd name="T27" fmla="*/ 31 h 38"/>
                    <a:gd name="T28" fmla="*/ 29 w 30"/>
                    <a:gd name="T29" fmla="*/ 34 h 38"/>
                    <a:gd name="T30" fmla="*/ 25 w 30"/>
                    <a:gd name="T31" fmla="*/ 37 h 38"/>
                    <a:gd name="T32" fmla="*/ 24 w 30"/>
                    <a:gd name="T33" fmla="*/ 3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0" h="38">
                      <a:moveTo>
                        <a:pt x="24" y="38"/>
                      </a:moveTo>
                      <a:cubicBezTo>
                        <a:pt x="24" y="38"/>
                        <a:pt x="23" y="37"/>
                        <a:pt x="23" y="37"/>
                      </a:cubicBezTo>
                      <a:cubicBezTo>
                        <a:pt x="1" y="15"/>
                        <a:pt x="1" y="15"/>
                        <a:pt x="1" y="15"/>
                      </a:cubicBezTo>
                      <a:cubicBezTo>
                        <a:pt x="0" y="14"/>
                        <a:pt x="0" y="13"/>
                        <a:pt x="1" y="12"/>
                      </a:cubicBezTo>
                      <a:cubicBezTo>
                        <a:pt x="12" y="1"/>
                        <a:pt x="12" y="1"/>
                        <a:pt x="12" y="1"/>
                      </a:cubicBezTo>
                      <a:cubicBezTo>
                        <a:pt x="12" y="0"/>
                        <a:pt x="14" y="0"/>
                        <a:pt x="14" y="1"/>
                      </a:cubicBezTo>
                      <a:cubicBezTo>
                        <a:pt x="19" y="5"/>
                        <a:pt x="19" y="5"/>
                        <a:pt x="19" y="5"/>
                      </a:cubicBezTo>
                      <a:cubicBezTo>
                        <a:pt x="19" y="6"/>
                        <a:pt x="19" y="7"/>
                        <a:pt x="19" y="8"/>
                      </a:cubicBezTo>
                      <a:cubicBezTo>
                        <a:pt x="18" y="9"/>
                        <a:pt x="17" y="9"/>
                        <a:pt x="16" y="8"/>
                      </a:cubicBezTo>
                      <a:cubicBezTo>
                        <a:pt x="13" y="5"/>
                        <a:pt x="13" y="5"/>
                        <a:pt x="13" y="5"/>
                      </a:cubicBezTo>
                      <a:cubicBezTo>
                        <a:pt x="5" y="14"/>
                        <a:pt x="5" y="14"/>
                        <a:pt x="5" y="14"/>
                      </a:cubicBezTo>
                      <a:cubicBezTo>
                        <a:pt x="24" y="33"/>
                        <a:pt x="24" y="33"/>
                        <a:pt x="24" y="33"/>
                      </a:cubicBezTo>
                      <a:cubicBezTo>
                        <a:pt x="26" y="31"/>
                        <a:pt x="26" y="31"/>
                        <a:pt x="26" y="31"/>
                      </a:cubicBezTo>
                      <a:cubicBezTo>
                        <a:pt x="27" y="30"/>
                        <a:pt x="28" y="30"/>
                        <a:pt x="29" y="31"/>
                      </a:cubicBezTo>
                      <a:cubicBezTo>
                        <a:pt x="30" y="31"/>
                        <a:pt x="30" y="33"/>
                        <a:pt x="29" y="34"/>
                      </a:cubicBezTo>
                      <a:cubicBezTo>
                        <a:pt x="25" y="37"/>
                        <a:pt x="25" y="37"/>
                        <a:pt x="25" y="37"/>
                      </a:cubicBezTo>
                      <a:cubicBezTo>
                        <a:pt x="25" y="37"/>
                        <a:pt x="25" y="38"/>
                        <a:pt x="24" y="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Arial"/>
                    <a:cs typeface="+mn-cs"/>
                  </a:endParaRPr>
                </a:p>
              </p:txBody>
            </p:sp>
            <p:sp>
              <p:nvSpPr>
                <p:cNvPr id="76" name="Freeform 24">
                  <a:extLst>
                    <a:ext uri="{FF2B5EF4-FFF2-40B4-BE49-F238E27FC236}">
                      <a16:creationId xmlns:a16="http://schemas.microsoft.com/office/drawing/2014/main" id="{B1652893-40E8-4BCF-AB04-5F1AC7496988}"/>
                    </a:ext>
                  </a:extLst>
                </p:cNvPr>
                <p:cNvSpPr>
                  <a:spLocks/>
                </p:cNvSpPr>
                <p:nvPr/>
              </p:nvSpPr>
              <p:spPr bwMode="auto">
                <a:xfrm>
                  <a:off x="3479801" y="2940050"/>
                  <a:ext cx="288925" cy="250825"/>
                </a:xfrm>
                <a:custGeom>
                  <a:avLst/>
                  <a:gdLst>
                    <a:gd name="T0" fmla="*/ 76 w 77"/>
                    <a:gd name="T1" fmla="*/ 12 h 66"/>
                    <a:gd name="T2" fmla="*/ 65 w 77"/>
                    <a:gd name="T3" fmla="*/ 1 h 66"/>
                    <a:gd name="T4" fmla="*/ 63 w 77"/>
                    <a:gd name="T5" fmla="*/ 1 h 66"/>
                    <a:gd name="T6" fmla="*/ 25 w 77"/>
                    <a:gd name="T7" fmla="*/ 39 h 66"/>
                    <a:gd name="T8" fmla="*/ 15 w 77"/>
                    <a:gd name="T9" fmla="*/ 29 h 66"/>
                    <a:gd name="T10" fmla="*/ 12 w 77"/>
                    <a:gd name="T11" fmla="*/ 29 h 66"/>
                    <a:gd name="T12" fmla="*/ 1 w 77"/>
                    <a:gd name="T13" fmla="*/ 40 h 66"/>
                    <a:gd name="T14" fmla="*/ 1 w 77"/>
                    <a:gd name="T15" fmla="*/ 43 h 66"/>
                    <a:gd name="T16" fmla="*/ 23 w 77"/>
                    <a:gd name="T17" fmla="*/ 65 h 66"/>
                    <a:gd name="T18" fmla="*/ 25 w 77"/>
                    <a:gd name="T19" fmla="*/ 66 h 66"/>
                    <a:gd name="T20" fmla="*/ 26 w 77"/>
                    <a:gd name="T21" fmla="*/ 65 h 66"/>
                    <a:gd name="T22" fmla="*/ 76 w 77"/>
                    <a:gd name="T23" fmla="*/ 15 h 66"/>
                    <a:gd name="T24" fmla="*/ 76 w 77"/>
                    <a:gd name="T25" fmla="*/ 1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7" h="66">
                      <a:moveTo>
                        <a:pt x="76" y="12"/>
                      </a:moveTo>
                      <a:cubicBezTo>
                        <a:pt x="65" y="1"/>
                        <a:pt x="65" y="1"/>
                        <a:pt x="65" y="1"/>
                      </a:cubicBezTo>
                      <a:cubicBezTo>
                        <a:pt x="65" y="0"/>
                        <a:pt x="63" y="0"/>
                        <a:pt x="63" y="1"/>
                      </a:cubicBezTo>
                      <a:cubicBezTo>
                        <a:pt x="25" y="39"/>
                        <a:pt x="25" y="39"/>
                        <a:pt x="25" y="39"/>
                      </a:cubicBezTo>
                      <a:cubicBezTo>
                        <a:pt x="15" y="29"/>
                        <a:pt x="15" y="29"/>
                        <a:pt x="15" y="29"/>
                      </a:cubicBezTo>
                      <a:cubicBezTo>
                        <a:pt x="14" y="28"/>
                        <a:pt x="13" y="28"/>
                        <a:pt x="12" y="29"/>
                      </a:cubicBezTo>
                      <a:cubicBezTo>
                        <a:pt x="1" y="40"/>
                        <a:pt x="1" y="40"/>
                        <a:pt x="1" y="40"/>
                      </a:cubicBezTo>
                      <a:cubicBezTo>
                        <a:pt x="0" y="41"/>
                        <a:pt x="0" y="42"/>
                        <a:pt x="1" y="43"/>
                      </a:cubicBezTo>
                      <a:cubicBezTo>
                        <a:pt x="23" y="65"/>
                        <a:pt x="23" y="65"/>
                        <a:pt x="23" y="65"/>
                      </a:cubicBezTo>
                      <a:cubicBezTo>
                        <a:pt x="24" y="65"/>
                        <a:pt x="24" y="66"/>
                        <a:pt x="25" y="66"/>
                      </a:cubicBezTo>
                      <a:cubicBezTo>
                        <a:pt x="25" y="66"/>
                        <a:pt x="26" y="65"/>
                        <a:pt x="26" y="65"/>
                      </a:cubicBezTo>
                      <a:cubicBezTo>
                        <a:pt x="76" y="15"/>
                        <a:pt x="76" y="15"/>
                        <a:pt x="76" y="15"/>
                      </a:cubicBezTo>
                      <a:cubicBezTo>
                        <a:pt x="77" y="14"/>
                        <a:pt x="77" y="13"/>
                        <a:pt x="7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Arial"/>
                    <a:cs typeface="+mn-cs"/>
                  </a:endParaRPr>
                </a:p>
              </p:txBody>
            </p:sp>
          </p:grpSp>
        </p:grpSp>
        <p:grpSp>
          <p:nvGrpSpPr>
            <p:cNvPr id="28" name="Group 343">
              <a:extLst>
                <a:ext uri="{FF2B5EF4-FFF2-40B4-BE49-F238E27FC236}">
                  <a16:creationId xmlns:a16="http://schemas.microsoft.com/office/drawing/2014/main" id="{541D5B81-F4ED-492A-9BF6-5BAA301C2DFF}"/>
                </a:ext>
              </a:extLst>
            </p:cNvPr>
            <p:cNvGrpSpPr/>
            <p:nvPr/>
          </p:nvGrpSpPr>
          <p:grpSpPr>
            <a:xfrm flipH="1">
              <a:off x="5082128" y="1567507"/>
              <a:ext cx="341400" cy="341398"/>
              <a:chOff x="-2161254" y="-408060"/>
              <a:chExt cx="361031" cy="361029"/>
            </a:xfrm>
          </p:grpSpPr>
          <p:sp>
            <p:nvSpPr>
              <p:cNvPr id="70" name="Oval 277">
                <a:extLst>
                  <a:ext uri="{FF2B5EF4-FFF2-40B4-BE49-F238E27FC236}">
                    <a16:creationId xmlns:a16="http://schemas.microsoft.com/office/drawing/2014/main" id="{1BA51D2C-5641-4957-B8DB-46DF4220F736}"/>
                  </a:ext>
                </a:extLst>
              </p:cNvPr>
              <p:cNvSpPr/>
              <p:nvPr/>
            </p:nvSpPr>
            <p:spPr>
              <a:xfrm>
                <a:off x="-2161254" y="-408060"/>
                <a:ext cx="361031" cy="361029"/>
              </a:xfrm>
              <a:prstGeom prst="ellipse">
                <a:avLst/>
              </a:prstGeom>
              <a:solidFill>
                <a:sysClr val="window" lastClr="FFFFFF"/>
              </a:solidFill>
              <a:ln w="12700" cap="flat" cmpd="sng" algn="ctr">
                <a:noFill/>
                <a:prstDash val="solid"/>
                <a:miter lim="800000"/>
              </a:ln>
              <a:effectLst>
                <a:outerShdw blurRad="215900" sx="104000" sy="104000" algn="ctr" rotWithShape="0">
                  <a:prstClr val="black">
                    <a:alpha val="19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Gill Sans MT" panose="020B0502020104020203" pitchFamily="34" charset="0"/>
                  <a:cs typeface="+mn-cs"/>
                </a:endParaRPr>
              </a:p>
            </p:txBody>
          </p:sp>
          <p:sp>
            <p:nvSpPr>
              <p:cNvPr id="71" name="Freeform 48">
                <a:extLst>
                  <a:ext uri="{FF2B5EF4-FFF2-40B4-BE49-F238E27FC236}">
                    <a16:creationId xmlns:a16="http://schemas.microsoft.com/office/drawing/2014/main" id="{CF2E1164-FA2C-4D9F-9660-75BA67DCA993}"/>
                  </a:ext>
                </a:extLst>
              </p:cNvPr>
              <p:cNvSpPr>
                <a:spLocks noEditPoints="1"/>
              </p:cNvSpPr>
              <p:nvPr/>
            </p:nvSpPr>
            <p:spPr bwMode="auto">
              <a:xfrm>
                <a:off x="-2065688" y="-325600"/>
                <a:ext cx="202590" cy="211882"/>
              </a:xfrm>
              <a:custGeom>
                <a:avLst/>
                <a:gdLst>
                  <a:gd name="T0" fmla="*/ 2 w 92"/>
                  <a:gd name="T1" fmla="*/ 0 h 96"/>
                  <a:gd name="T2" fmla="*/ 0 w 92"/>
                  <a:gd name="T3" fmla="*/ 94 h 96"/>
                  <a:gd name="T4" fmla="*/ 90 w 92"/>
                  <a:gd name="T5" fmla="*/ 96 h 96"/>
                  <a:gd name="T6" fmla="*/ 92 w 92"/>
                  <a:gd name="T7" fmla="*/ 2 h 96"/>
                  <a:gd name="T8" fmla="*/ 22 w 92"/>
                  <a:gd name="T9" fmla="*/ 84 h 96"/>
                  <a:gd name="T10" fmla="*/ 22 w 92"/>
                  <a:gd name="T11" fmla="*/ 68 h 96"/>
                  <a:gd name="T12" fmla="*/ 22 w 92"/>
                  <a:gd name="T13" fmla="*/ 84 h 96"/>
                  <a:gd name="T14" fmla="*/ 30 w 92"/>
                  <a:gd name="T15" fmla="*/ 44 h 96"/>
                  <a:gd name="T16" fmla="*/ 24 w 92"/>
                  <a:gd name="T17" fmla="*/ 58 h 96"/>
                  <a:gd name="T18" fmla="*/ 20 w 92"/>
                  <a:gd name="T19" fmla="*/ 58 h 96"/>
                  <a:gd name="T20" fmla="*/ 14 w 92"/>
                  <a:gd name="T21" fmla="*/ 44 h 96"/>
                  <a:gd name="T22" fmla="*/ 12 w 92"/>
                  <a:gd name="T23" fmla="*/ 34 h 96"/>
                  <a:gd name="T24" fmla="*/ 20 w 92"/>
                  <a:gd name="T25" fmla="*/ 32 h 96"/>
                  <a:gd name="T26" fmla="*/ 22 w 92"/>
                  <a:gd name="T27" fmla="*/ 12 h 96"/>
                  <a:gd name="T28" fmla="*/ 24 w 92"/>
                  <a:gd name="T29" fmla="*/ 32 h 96"/>
                  <a:gd name="T30" fmla="*/ 32 w 92"/>
                  <a:gd name="T31" fmla="*/ 34 h 96"/>
                  <a:gd name="T32" fmla="*/ 46 w 92"/>
                  <a:gd name="T33" fmla="*/ 84 h 96"/>
                  <a:gd name="T34" fmla="*/ 46 w 92"/>
                  <a:gd name="T35" fmla="*/ 68 h 96"/>
                  <a:gd name="T36" fmla="*/ 46 w 92"/>
                  <a:gd name="T37" fmla="*/ 84 h 96"/>
                  <a:gd name="T38" fmla="*/ 54 w 92"/>
                  <a:gd name="T39" fmla="*/ 32 h 96"/>
                  <a:gd name="T40" fmla="*/ 48 w 92"/>
                  <a:gd name="T41" fmla="*/ 58 h 96"/>
                  <a:gd name="T42" fmla="*/ 44 w 92"/>
                  <a:gd name="T43" fmla="*/ 58 h 96"/>
                  <a:gd name="T44" fmla="*/ 38 w 92"/>
                  <a:gd name="T45" fmla="*/ 32 h 96"/>
                  <a:gd name="T46" fmla="*/ 36 w 92"/>
                  <a:gd name="T47" fmla="*/ 22 h 96"/>
                  <a:gd name="T48" fmla="*/ 44 w 92"/>
                  <a:gd name="T49" fmla="*/ 20 h 96"/>
                  <a:gd name="T50" fmla="*/ 46 w 92"/>
                  <a:gd name="T51" fmla="*/ 12 h 96"/>
                  <a:gd name="T52" fmla="*/ 48 w 92"/>
                  <a:gd name="T53" fmla="*/ 20 h 96"/>
                  <a:gd name="T54" fmla="*/ 56 w 92"/>
                  <a:gd name="T55" fmla="*/ 22 h 96"/>
                  <a:gd name="T56" fmla="*/ 70 w 92"/>
                  <a:gd name="T57" fmla="*/ 84 h 96"/>
                  <a:gd name="T58" fmla="*/ 70 w 92"/>
                  <a:gd name="T59" fmla="*/ 68 h 96"/>
                  <a:gd name="T60" fmla="*/ 70 w 92"/>
                  <a:gd name="T61" fmla="*/ 84 h 96"/>
                  <a:gd name="T62" fmla="*/ 78 w 92"/>
                  <a:gd name="T63" fmla="*/ 52 h 96"/>
                  <a:gd name="T64" fmla="*/ 72 w 92"/>
                  <a:gd name="T65" fmla="*/ 58 h 96"/>
                  <a:gd name="T66" fmla="*/ 68 w 92"/>
                  <a:gd name="T67" fmla="*/ 58 h 96"/>
                  <a:gd name="T68" fmla="*/ 62 w 92"/>
                  <a:gd name="T69" fmla="*/ 52 h 96"/>
                  <a:gd name="T70" fmla="*/ 60 w 92"/>
                  <a:gd name="T71" fmla="*/ 42 h 96"/>
                  <a:gd name="T72" fmla="*/ 68 w 92"/>
                  <a:gd name="T73" fmla="*/ 40 h 96"/>
                  <a:gd name="T74" fmla="*/ 70 w 92"/>
                  <a:gd name="T75" fmla="*/ 12 h 96"/>
                  <a:gd name="T76" fmla="*/ 72 w 92"/>
                  <a:gd name="T77" fmla="*/ 40 h 96"/>
                  <a:gd name="T78" fmla="*/ 80 w 92"/>
                  <a:gd name="T79" fmla="*/ 4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2" h="96">
                    <a:moveTo>
                      <a:pt x="90" y="0"/>
                    </a:moveTo>
                    <a:cubicBezTo>
                      <a:pt x="2" y="0"/>
                      <a:pt x="2" y="0"/>
                      <a:pt x="2" y="0"/>
                    </a:cubicBezTo>
                    <a:cubicBezTo>
                      <a:pt x="1" y="0"/>
                      <a:pt x="0" y="1"/>
                      <a:pt x="0" y="2"/>
                    </a:cubicBezTo>
                    <a:cubicBezTo>
                      <a:pt x="0" y="94"/>
                      <a:pt x="0" y="94"/>
                      <a:pt x="0" y="94"/>
                    </a:cubicBezTo>
                    <a:cubicBezTo>
                      <a:pt x="0" y="95"/>
                      <a:pt x="1" y="96"/>
                      <a:pt x="2" y="96"/>
                    </a:cubicBezTo>
                    <a:cubicBezTo>
                      <a:pt x="90" y="96"/>
                      <a:pt x="90" y="96"/>
                      <a:pt x="90" y="96"/>
                    </a:cubicBezTo>
                    <a:cubicBezTo>
                      <a:pt x="91" y="96"/>
                      <a:pt x="92" y="95"/>
                      <a:pt x="92" y="94"/>
                    </a:cubicBezTo>
                    <a:cubicBezTo>
                      <a:pt x="92" y="2"/>
                      <a:pt x="92" y="2"/>
                      <a:pt x="92" y="2"/>
                    </a:cubicBezTo>
                    <a:cubicBezTo>
                      <a:pt x="92" y="1"/>
                      <a:pt x="91" y="0"/>
                      <a:pt x="90" y="0"/>
                    </a:cubicBezTo>
                    <a:close/>
                    <a:moveTo>
                      <a:pt x="22" y="84"/>
                    </a:moveTo>
                    <a:cubicBezTo>
                      <a:pt x="18" y="84"/>
                      <a:pt x="14" y="80"/>
                      <a:pt x="14" y="76"/>
                    </a:cubicBezTo>
                    <a:cubicBezTo>
                      <a:pt x="14" y="72"/>
                      <a:pt x="18" y="68"/>
                      <a:pt x="22" y="68"/>
                    </a:cubicBezTo>
                    <a:cubicBezTo>
                      <a:pt x="26" y="68"/>
                      <a:pt x="30" y="72"/>
                      <a:pt x="30" y="76"/>
                    </a:cubicBezTo>
                    <a:cubicBezTo>
                      <a:pt x="30" y="80"/>
                      <a:pt x="26" y="84"/>
                      <a:pt x="22" y="84"/>
                    </a:cubicBezTo>
                    <a:close/>
                    <a:moveTo>
                      <a:pt x="32" y="42"/>
                    </a:moveTo>
                    <a:cubicBezTo>
                      <a:pt x="32" y="43"/>
                      <a:pt x="31" y="44"/>
                      <a:pt x="30" y="44"/>
                    </a:cubicBezTo>
                    <a:cubicBezTo>
                      <a:pt x="24" y="44"/>
                      <a:pt x="24" y="44"/>
                      <a:pt x="24" y="44"/>
                    </a:cubicBezTo>
                    <a:cubicBezTo>
                      <a:pt x="24" y="58"/>
                      <a:pt x="24" y="58"/>
                      <a:pt x="24" y="58"/>
                    </a:cubicBezTo>
                    <a:cubicBezTo>
                      <a:pt x="24" y="59"/>
                      <a:pt x="23" y="60"/>
                      <a:pt x="22" y="60"/>
                    </a:cubicBezTo>
                    <a:cubicBezTo>
                      <a:pt x="21" y="60"/>
                      <a:pt x="20" y="59"/>
                      <a:pt x="20" y="58"/>
                    </a:cubicBezTo>
                    <a:cubicBezTo>
                      <a:pt x="20" y="44"/>
                      <a:pt x="20" y="44"/>
                      <a:pt x="20" y="44"/>
                    </a:cubicBezTo>
                    <a:cubicBezTo>
                      <a:pt x="14" y="44"/>
                      <a:pt x="14" y="44"/>
                      <a:pt x="14" y="44"/>
                    </a:cubicBezTo>
                    <a:cubicBezTo>
                      <a:pt x="13" y="44"/>
                      <a:pt x="12" y="43"/>
                      <a:pt x="12" y="42"/>
                    </a:cubicBezTo>
                    <a:cubicBezTo>
                      <a:pt x="12" y="34"/>
                      <a:pt x="12" y="34"/>
                      <a:pt x="12" y="34"/>
                    </a:cubicBezTo>
                    <a:cubicBezTo>
                      <a:pt x="12" y="33"/>
                      <a:pt x="13" y="32"/>
                      <a:pt x="14" y="32"/>
                    </a:cubicBezTo>
                    <a:cubicBezTo>
                      <a:pt x="20" y="32"/>
                      <a:pt x="20" y="32"/>
                      <a:pt x="20" y="32"/>
                    </a:cubicBezTo>
                    <a:cubicBezTo>
                      <a:pt x="20" y="14"/>
                      <a:pt x="20" y="14"/>
                      <a:pt x="20" y="14"/>
                    </a:cubicBezTo>
                    <a:cubicBezTo>
                      <a:pt x="20" y="13"/>
                      <a:pt x="21" y="12"/>
                      <a:pt x="22" y="12"/>
                    </a:cubicBezTo>
                    <a:cubicBezTo>
                      <a:pt x="23" y="12"/>
                      <a:pt x="24" y="13"/>
                      <a:pt x="24" y="14"/>
                    </a:cubicBezTo>
                    <a:cubicBezTo>
                      <a:pt x="24" y="32"/>
                      <a:pt x="24" y="32"/>
                      <a:pt x="24" y="32"/>
                    </a:cubicBezTo>
                    <a:cubicBezTo>
                      <a:pt x="30" y="32"/>
                      <a:pt x="30" y="32"/>
                      <a:pt x="30" y="32"/>
                    </a:cubicBezTo>
                    <a:cubicBezTo>
                      <a:pt x="31" y="32"/>
                      <a:pt x="32" y="33"/>
                      <a:pt x="32" y="34"/>
                    </a:cubicBezTo>
                    <a:lnTo>
                      <a:pt x="32" y="42"/>
                    </a:lnTo>
                    <a:close/>
                    <a:moveTo>
                      <a:pt x="46" y="84"/>
                    </a:moveTo>
                    <a:cubicBezTo>
                      <a:pt x="42" y="84"/>
                      <a:pt x="38" y="80"/>
                      <a:pt x="38" y="76"/>
                    </a:cubicBezTo>
                    <a:cubicBezTo>
                      <a:pt x="38" y="72"/>
                      <a:pt x="42" y="68"/>
                      <a:pt x="46" y="68"/>
                    </a:cubicBezTo>
                    <a:cubicBezTo>
                      <a:pt x="50" y="68"/>
                      <a:pt x="54" y="72"/>
                      <a:pt x="54" y="76"/>
                    </a:cubicBezTo>
                    <a:cubicBezTo>
                      <a:pt x="54" y="80"/>
                      <a:pt x="50" y="84"/>
                      <a:pt x="46" y="84"/>
                    </a:cubicBezTo>
                    <a:close/>
                    <a:moveTo>
                      <a:pt x="56" y="30"/>
                    </a:moveTo>
                    <a:cubicBezTo>
                      <a:pt x="56" y="31"/>
                      <a:pt x="55" y="32"/>
                      <a:pt x="54" y="32"/>
                    </a:cubicBezTo>
                    <a:cubicBezTo>
                      <a:pt x="48" y="32"/>
                      <a:pt x="48" y="32"/>
                      <a:pt x="48" y="32"/>
                    </a:cubicBezTo>
                    <a:cubicBezTo>
                      <a:pt x="48" y="58"/>
                      <a:pt x="48" y="58"/>
                      <a:pt x="48" y="58"/>
                    </a:cubicBezTo>
                    <a:cubicBezTo>
                      <a:pt x="48" y="59"/>
                      <a:pt x="47" y="60"/>
                      <a:pt x="46" y="60"/>
                    </a:cubicBezTo>
                    <a:cubicBezTo>
                      <a:pt x="45" y="60"/>
                      <a:pt x="44" y="59"/>
                      <a:pt x="44" y="58"/>
                    </a:cubicBezTo>
                    <a:cubicBezTo>
                      <a:pt x="44" y="32"/>
                      <a:pt x="44" y="32"/>
                      <a:pt x="44" y="32"/>
                    </a:cubicBezTo>
                    <a:cubicBezTo>
                      <a:pt x="38" y="32"/>
                      <a:pt x="38" y="32"/>
                      <a:pt x="38" y="32"/>
                    </a:cubicBezTo>
                    <a:cubicBezTo>
                      <a:pt x="37" y="32"/>
                      <a:pt x="36" y="31"/>
                      <a:pt x="36" y="30"/>
                    </a:cubicBezTo>
                    <a:cubicBezTo>
                      <a:pt x="36" y="22"/>
                      <a:pt x="36" y="22"/>
                      <a:pt x="36" y="22"/>
                    </a:cubicBezTo>
                    <a:cubicBezTo>
                      <a:pt x="36" y="21"/>
                      <a:pt x="37" y="20"/>
                      <a:pt x="38" y="20"/>
                    </a:cubicBezTo>
                    <a:cubicBezTo>
                      <a:pt x="44" y="20"/>
                      <a:pt x="44" y="20"/>
                      <a:pt x="44" y="20"/>
                    </a:cubicBezTo>
                    <a:cubicBezTo>
                      <a:pt x="44" y="14"/>
                      <a:pt x="44" y="14"/>
                      <a:pt x="44" y="14"/>
                    </a:cubicBezTo>
                    <a:cubicBezTo>
                      <a:pt x="44" y="13"/>
                      <a:pt x="45" y="12"/>
                      <a:pt x="46" y="12"/>
                    </a:cubicBezTo>
                    <a:cubicBezTo>
                      <a:pt x="47" y="12"/>
                      <a:pt x="48" y="13"/>
                      <a:pt x="48" y="14"/>
                    </a:cubicBezTo>
                    <a:cubicBezTo>
                      <a:pt x="48" y="20"/>
                      <a:pt x="48" y="20"/>
                      <a:pt x="48" y="20"/>
                    </a:cubicBezTo>
                    <a:cubicBezTo>
                      <a:pt x="54" y="20"/>
                      <a:pt x="54" y="20"/>
                      <a:pt x="54" y="20"/>
                    </a:cubicBezTo>
                    <a:cubicBezTo>
                      <a:pt x="55" y="20"/>
                      <a:pt x="56" y="21"/>
                      <a:pt x="56" y="22"/>
                    </a:cubicBezTo>
                    <a:lnTo>
                      <a:pt x="56" y="30"/>
                    </a:lnTo>
                    <a:close/>
                    <a:moveTo>
                      <a:pt x="70" y="84"/>
                    </a:moveTo>
                    <a:cubicBezTo>
                      <a:pt x="66" y="84"/>
                      <a:pt x="62" y="80"/>
                      <a:pt x="62" y="76"/>
                    </a:cubicBezTo>
                    <a:cubicBezTo>
                      <a:pt x="62" y="72"/>
                      <a:pt x="66" y="68"/>
                      <a:pt x="70" y="68"/>
                    </a:cubicBezTo>
                    <a:cubicBezTo>
                      <a:pt x="75" y="68"/>
                      <a:pt x="78" y="72"/>
                      <a:pt x="78" y="76"/>
                    </a:cubicBezTo>
                    <a:cubicBezTo>
                      <a:pt x="78" y="80"/>
                      <a:pt x="75" y="84"/>
                      <a:pt x="70" y="84"/>
                    </a:cubicBezTo>
                    <a:close/>
                    <a:moveTo>
                      <a:pt x="80" y="50"/>
                    </a:moveTo>
                    <a:cubicBezTo>
                      <a:pt x="80" y="51"/>
                      <a:pt x="79" y="52"/>
                      <a:pt x="78" y="52"/>
                    </a:cubicBezTo>
                    <a:cubicBezTo>
                      <a:pt x="72" y="52"/>
                      <a:pt x="72" y="52"/>
                      <a:pt x="72" y="52"/>
                    </a:cubicBezTo>
                    <a:cubicBezTo>
                      <a:pt x="72" y="58"/>
                      <a:pt x="72" y="58"/>
                      <a:pt x="72" y="58"/>
                    </a:cubicBezTo>
                    <a:cubicBezTo>
                      <a:pt x="72" y="59"/>
                      <a:pt x="71" y="60"/>
                      <a:pt x="70" y="60"/>
                    </a:cubicBezTo>
                    <a:cubicBezTo>
                      <a:pt x="69" y="60"/>
                      <a:pt x="68" y="59"/>
                      <a:pt x="68" y="58"/>
                    </a:cubicBezTo>
                    <a:cubicBezTo>
                      <a:pt x="68" y="52"/>
                      <a:pt x="68" y="52"/>
                      <a:pt x="68" y="52"/>
                    </a:cubicBezTo>
                    <a:cubicBezTo>
                      <a:pt x="62" y="52"/>
                      <a:pt x="62" y="52"/>
                      <a:pt x="62" y="52"/>
                    </a:cubicBezTo>
                    <a:cubicBezTo>
                      <a:pt x="61" y="52"/>
                      <a:pt x="60" y="51"/>
                      <a:pt x="60" y="50"/>
                    </a:cubicBezTo>
                    <a:cubicBezTo>
                      <a:pt x="60" y="42"/>
                      <a:pt x="60" y="42"/>
                      <a:pt x="60" y="42"/>
                    </a:cubicBezTo>
                    <a:cubicBezTo>
                      <a:pt x="60" y="41"/>
                      <a:pt x="61" y="40"/>
                      <a:pt x="62" y="40"/>
                    </a:cubicBezTo>
                    <a:cubicBezTo>
                      <a:pt x="68" y="40"/>
                      <a:pt x="68" y="40"/>
                      <a:pt x="68" y="40"/>
                    </a:cubicBezTo>
                    <a:cubicBezTo>
                      <a:pt x="68" y="14"/>
                      <a:pt x="68" y="14"/>
                      <a:pt x="68" y="14"/>
                    </a:cubicBezTo>
                    <a:cubicBezTo>
                      <a:pt x="68" y="13"/>
                      <a:pt x="69" y="12"/>
                      <a:pt x="70" y="12"/>
                    </a:cubicBezTo>
                    <a:cubicBezTo>
                      <a:pt x="71" y="12"/>
                      <a:pt x="72" y="13"/>
                      <a:pt x="72" y="14"/>
                    </a:cubicBezTo>
                    <a:cubicBezTo>
                      <a:pt x="72" y="40"/>
                      <a:pt x="72" y="40"/>
                      <a:pt x="72" y="40"/>
                    </a:cubicBezTo>
                    <a:cubicBezTo>
                      <a:pt x="78" y="40"/>
                      <a:pt x="78" y="40"/>
                      <a:pt x="78" y="40"/>
                    </a:cubicBezTo>
                    <a:cubicBezTo>
                      <a:pt x="79" y="40"/>
                      <a:pt x="80" y="41"/>
                      <a:pt x="80" y="42"/>
                    </a:cubicBezTo>
                    <a:lnTo>
                      <a:pt x="80" y="50"/>
                    </a:lnTo>
                    <a:close/>
                  </a:path>
                </a:pathLst>
              </a:custGeom>
              <a:gradFill flip="none" rotWithShape="1">
                <a:gsLst>
                  <a:gs pos="100000">
                    <a:schemeClr val="accent1"/>
                  </a:gs>
                  <a:gs pos="0">
                    <a:schemeClr val="accent1"/>
                  </a:gs>
                </a:gsLst>
                <a:lin ang="270000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Arial"/>
                  <a:cs typeface="+mn-cs"/>
                </a:endParaRPr>
              </a:p>
            </p:txBody>
          </p:sp>
        </p:grpSp>
        <p:grpSp>
          <p:nvGrpSpPr>
            <p:cNvPr id="29" name="Group 344">
              <a:extLst>
                <a:ext uri="{FF2B5EF4-FFF2-40B4-BE49-F238E27FC236}">
                  <a16:creationId xmlns:a16="http://schemas.microsoft.com/office/drawing/2014/main" id="{6BD18C1C-AE97-4D3C-BC25-3145B07A0254}"/>
                </a:ext>
              </a:extLst>
            </p:cNvPr>
            <p:cNvGrpSpPr/>
            <p:nvPr/>
          </p:nvGrpSpPr>
          <p:grpSpPr>
            <a:xfrm flipH="1">
              <a:off x="3399968" y="2335917"/>
              <a:ext cx="341400" cy="341398"/>
              <a:chOff x="-1152608" y="291304"/>
              <a:chExt cx="361031" cy="361029"/>
            </a:xfrm>
          </p:grpSpPr>
          <p:sp>
            <p:nvSpPr>
              <p:cNvPr id="65" name="Oval 280">
                <a:extLst>
                  <a:ext uri="{FF2B5EF4-FFF2-40B4-BE49-F238E27FC236}">
                    <a16:creationId xmlns:a16="http://schemas.microsoft.com/office/drawing/2014/main" id="{1859D895-9A20-4694-B09B-5D6F5D84325D}"/>
                  </a:ext>
                </a:extLst>
              </p:cNvPr>
              <p:cNvSpPr/>
              <p:nvPr/>
            </p:nvSpPr>
            <p:spPr>
              <a:xfrm>
                <a:off x="-1152608" y="291304"/>
                <a:ext cx="361031" cy="361029"/>
              </a:xfrm>
              <a:prstGeom prst="ellipse">
                <a:avLst/>
              </a:prstGeom>
              <a:solidFill>
                <a:sysClr val="window" lastClr="FFFFFF"/>
              </a:solidFill>
              <a:ln w="12700" cap="flat" cmpd="sng" algn="ctr">
                <a:noFill/>
                <a:prstDash val="solid"/>
                <a:miter lim="800000"/>
              </a:ln>
              <a:effectLst>
                <a:outerShdw blurRad="215900" sx="104000" sy="104000" algn="ctr" rotWithShape="0">
                  <a:prstClr val="black">
                    <a:alpha val="19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cs typeface="+mn-cs"/>
                </a:endParaRPr>
              </a:p>
            </p:txBody>
          </p:sp>
          <p:grpSp>
            <p:nvGrpSpPr>
              <p:cNvPr id="66" name="Group 336">
                <a:extLst>
                  <a:ext uri="{FF2B5EF4-FFF2-40B4-BE49-F238E27FC236}">
                    <a16:creationId xmlns:a16="http://schemas.microsoft.com/office/drawing/2014/main" id="{7E9C8AA1-8225-4AE7-A178-D07CBCFF5831}"/>
                  </a:ext>
                </a:extLst>
              </p:cNvPr>
              <p:cNvGrpSpPr/>
              <p:nvPr/>
            </p:nvGrpSpPr>
            <p:grpSpPr>
              <a:xfrm>
                <a:off x="-1075711" y="383733"/>
                <a:ext cx="207236" cy="210952"/>
                <a:chOff x="8447088" y="3609976"/>
                <a:chExt cx="354013" cy="360362"/>
              </a:xfrm>
              <a:gradFill>
                <a:gsLst>
                  <a:gs pos="100000">
                    <a:srgbClr val="0098DB"/>
                  </a:gs>
                  <a:gs pos="0">
                    <a:srgbClr val="00497A"/>
                  </a:gs>
                </a:gsLst>
                <a:lin ang="2700000" scaled="1"/>
              </a:gradFill>
            </p:grpSpPr>
            <p:sp>
              <p:nvSpPr>
                <p:cNvPr id="67" name="Oval 161">
                  <a:extLst>
                    <a:ext uri="{FF2B5EF4-FFF2-40B4-BE49-F238E27FC236}">
                      <a16:creationId xmlns:a16="http://schemas.microsoft.com/office/drawing/2014/main" id="{181731C2-C420-43C9-81A5-C5205452236C}"/>
                    </a:ext>
                  </a:extLst>
                </p:cNvPr>
                <p:cNvSpPr>
                  <a:spLocks noChangeArrowheads="1"/>
                </p:cNvSpPr>
                <p:nvPr/>
              </p:nvSpPr>
              <p:spPr bwMode="auto">
                <a:xfrm>
                  <a:off x="8477250" y="3609976"/>
                  <a:ext cx="120650" cy="1206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Arial"/>
                    <a:cs typeface="+mn-cs"/>
                  </a:endParaRPr>
                </a:p>
              </p:txBody>
            </p:sp>
            <p:sp>
              <p:nvSpPr>
                <p:cNvPr id="68" name="Freeform 162">
                  <a:extLst>
                    <a:ext uri="{FF2B5EF4-FFF2-40B4-BE49-F238E27FC236}">
                      <a16:creationId xmlns:a16="http://schemas.microsoft.com/office/drawing/2014/main" id="{C7F3A0DA-46E2-4F32-ABD2-C44CC97A1E45}"/>
                    </a:ext>
                  </a:extLst>
                </p:cNvPr>
                <p:cNvSpPr>
                  <a:spLocks/>
                </p:cNvSpPr>
                <p:nvPr/>
              </p:nvSpPr>
              <p:spPr bwMode="auto">
                <a:xfrm>
                  <a:off x="8447088" y="3744913"/>
                  <a:ext cx="180975" cy="225425"/>
                </a:xfrm>
                <a:custGeom>
                  <a:avLst/>
                  <a:gdLst>
                    <a:gd name="T0" fmla="*/ 28 w 48"/>
                    <a:gd name="T1" fmla="*/ 0 h 60"/>
                    <a:gd name="T2" fmla="*/ 30 w 48"/>
                    <a:gd name="T3" fmla="*/ 27 h 60"/>
                    <a:gd name="T4" fmla="*/ 24 w 48"/>
                    <a:gd name="T5" fmla="*/ 33 h 60"/>
                    <a:gd name="T6" fmla="*/ 18 w 48"/>
                    <a:gd name="T7" fmla="*/ 27 h 60"/>
                    <a:gd name="T8" fmla="*/ 20 w 48"/>
                    <a:gd name="T9" fmla="*/ 0 h 60"/>
                    <a:gd name="T10" fmla="*/ 0 w 48"/>
                    <a:gd name="T11" fmla="*/ 0 h 60"/>
                    <a:gd name="T12" fmla="*/ 0 w 48"/>
                    <a:gd name="T13" fmla="*/ 2 h 60"/>
                    <a:gd name="T14" fmla="*/ 14 w 48"/>
                    <a:gd name="T15" fmla="*/ 33 h 60"/>
                    <a:gd name="T16" fmla="*/ 14 w 48"/>
                    <a:gd name="T17" fmla="*/ 60 h 60"/>
                    <a:gd name="T18" fmla="*/ 34 w 48"/>
                    <a:gd name="T19" fmla="*/ 60 h 60"/>
                    <a:gd name="T20" fmla="*/ 34 w 48"/>
                    <a:gd name="T21" fmla="*/ 33 h 60"/>
                    <a:gd name="T22" fmla="*/ 48 w 48"/>
                    <a:gd name="T23" fmla="*/ 2 h 60"/>
                    <a:gd name="T24" fmla="*/ 48 w 48"/>
                    <a:gd name="T25" fmla="*/ 0 h 60"/>
                    <a:gd name="T26" fmla="*/ 28 w 48"/>
                    <a:gd name="T27"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60">
                      <a:moveTo>
                        <a:pt x="28" y="0"/>
                      </a:moveTo>
                      <a:cubicBezTo>
                        <a:pt x="30" y="27"/>
                        <a:pt x="30" y="27"/>
                        <a:pt x="30" y="27"/>
                      </a:cubicBezTo>
                      <a:cubicBezTo>
                        <a:pt x="24" y="33"/>
                        <a:pt x="24" y="33"/>
                        <a:pt x="24" y="33"/>
                      </a:cubicBezTo>
                      <a:cubicBezTo>
                        <a:pt x="18" y="27"/>
                        <a:pt x="18" y="27"/>
                        <a:pt x="18" y="27"/>
                      </a:cubicBezTo>
                      <a:cubicBezTo>
                        <a:pt x="20" y="0"/>
                        <a:pt x="20" y="0"/>
                        <a:pt x="20" y="0"/>
                      </a:cubicBezTo>
                      <a:cubicBezTo>
                        <a:pt x="0" y="0"/>
                        <a:pt x="0" y="0"/>
                        <a:pt x="0" y="0"/>
                      </a:cubicBezTo>
                      <a:cubicBezTo>
                        <a:pt x="0" y="2"/>
                        <a:pt x="0" y="2"/>
                        <a:pt x="0" y="2"/>
                      </a:cubicBezTo>
                      <a:cubicBezTo>
                        <a:pt x="0" y="16"/>
                        <a:pt x="5" y="27"/>
                        <a:pt x="14" y="33"/>
                      </a:cubicBezTo>
                      <a:cubicBezTo>
                        <a:pt x="14" y="60"/>
                        <a:pt x="14" y="60"/>
                        <a:pt x="14" y="60"/>
                      </a:cubicBezTo>
                      <a:cubicBezTo>
                        <a:pt x="34" y="60"/>
                        <a:pt x="34" y="60"/>
                        <a:pt x="34" y="60"/>
                      </a:cubicBezTo>
                      <a:cubicBezTo>
                        <a:pt x="34" y="33"/>
                        <a:pt x="34" y="33"/>
                        <a:pt x="34" y="33"/>
                      </a:cubicBezTo>
                      <a:cubicBezTo>
                        <a:pt x="43" y="27"/>
                        <a:pt x="48" y="16"/>
                        <a:pt x="48" y="2"/>
                      </a:cubicBezTo>
                      <a:cubicBezTo>
                        <a:pt x="48" y="0"/>
                        <a:pt x="48" y="0"/>
                        <a:pt x="48" y="0"/>
                      </a:cubicBezTo>
                      <a:lnTo>
                        <a:pt x="2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Arial"/>
                    <a:cs typeface="+mn-cs"/>
                  </a:endParaRPr>
                </a:p>
              </p:txBody>
            </p:sp>
            <p:sp>
              <p:nvSpPr>
                <p:cNvPr id="69" name="Freeform 163">
                  <a:extLst>
                    <a:ext uri="{FF2B5EF4-FFF2-40B4-BE49-F238E27FC236}">
                      <a16:creationId xmlns:a16="http://schemas.microsoft.com/office/drawing/2014/main" id="{2E958532-BA58-4298-BD11-0D007C1C3148}"/>
                    </a:ext>
                  </a:extLst>
                </p:cNvPr>
                <p:cNvSpPr>
                  <a:spLocks noEditPoints="1"/>
                </p:cNvSpPr>
                <p:nvPr/>
              </p:nvSpPr>
              <p:spPr bwMode="auto">
                <a:xfrm>
                  <a:off x="8583613" y="3624263"/>
                  <a:ext cx="217488" cy="225425"/>
                </a:xfrm>
                <a:custGeom>
                  <a:avLst/>
                  <a:gdLst>
                    <a:gd name="T0" fmla="*/ 4 w 58"/>
                    <a:gd name="T1" fmla="*/ 0 h 60"/>
                    <a:gd name="T2" fmla="*/ 8 w 58"/>
                    <a:gd name="T3" fmla="*/ 12 h 60"/>
                    <a:gd name="T4" fmla="*/ 0 w 58"/>
                    <a:gd name="T5" fmla="*/ 28 h 60"/>
                    <a:gd name="T6" fmla="*/ 16 w 58"/>
                    <a:gd name="T7" fmla="*/ 28 h 60"/>
                    <a:gd name="T8" fmla="*/ 16 w 58"/>
                    <a:gd name="T9" fmla="*/ 34 h 60"/>
                    <a:gd name="T10" fmla="*/ 9 w 58"/>
                    <a:gd name="T11" fmla="*/ 60 h 60"/>
                    <a:gd name="T12" fmla="*/ 58 w 58"/>
                    <a:gd name="T13" fmla="*/ 60 h 60"/>
                    <a:gd name="T14" fmla="*/ 58 w 58"/>
                    <a:gd name="T15" fmla="*/ 0 h 60"/>
                    <a:gd name="T16" fmla="*/ 4 w 58"/>
                    <a:gd name="T17" fmla="*/ 0 h 60"/>
                    <a:gd name="T18" fmla="*/ 50 w 58"/>
                    <a:gd name="T19" fmla="*/ 50 h 60"/>
                    <a:gd name="T20" fmla="*/ 48 w 58"/>
                    <a:gd name="T21" fmla="*/ 52 h 60"/>
                    <a:gd name="T22" fmla="*/ 48 w 58"/>
                    <a:gd name="T23" fmla="*/ 52 h 60"/>
                    <a:gd name="T24" fmla="*/ 48 w 58"/>
                    <a:gd name="T25" fmla="*/ 52 h 60"/>
                    <a:gd name="T26" fmla="*/ 24 w 58"/>
                    <a:gd name="T27" fmla="*/ 52 h 60"/>
                    <a:gd name="T28" fmla="*/ 22 w 58"/>
                    <a:gd name="T29" fmla="*/ 50 h 60"/>
                    <a:gd name="T30" fmla="*/ 24 w 58"/>
                    <a:gd name="T31" fmla="*/ 48 h 60"/>
                    <a:gd name="T32" fmla="*/ 30 w 58"/>
                    <a:gd name="T33" fmla="*/ 48 h 60"/>
                    <a:gd name="T34" fmla="*/ 30 w 58"/>
                    <a:gd name="T35" fmla="*/ 34 h 60"/>
                    <a:gd name="T36" fmla="*/ 32 w 58"/>
                    <a:gd name="T37" fmla="*/ 32 h 60"/>
                    <a:gd name="T38" fmla="*/ 34 w 58"/>
                    <a:gd name="T39" fmla="*/ 34 h 60"/>
                    <a:gd name="T40" fmla="*/ 34 w 58"/>
                    <a:gd name="T41" fmla="*/ 48 h 60"/>
                    <a:gd name="T42" fmla="*/ 38 w 58"/>
                    <a:gd name="T43" fmla="*/ 48 h 60"/>
                    <a:gd name="T44" fmla="*/ 38 w 58"/>
                    <a:gd name="T45" fmla="*/ 26 h 60"/>
                    <a:gd name="T46" fmla="*/ 40 w 58"/>
                    <a:gd name="T47" fmla="*/ 24 h 60"/>
                    <a:gd name="T48" fmla="*/ 42 w 58"/>
                    <a:gd name="T49" fmla="*/ 26 h 60"/>
                    <a:gd name="T50" fmla="*/ 42 w 58"/>
                    <a:gd name="T51" fmla="*/ 48 h 60"/>
                    <a:gd name="T52" fmla="*/ 46 w 58"/>
                    <a:gd name="T53" fmla="*/ 48 h 60"/>
                    <a:gd name="T54" fmla="*/ 46 w 58"/>
                    <a:gd name="T55" fmla="*/ 14 h 60"/>
                    <a:gd name="T56" fmla="*/ 48 w 58"/>
                    <a:gd name="T57" fmla="*/ 12 h 60"/>
                    <a:gd name="T58" fmla="*/ 50 w 58"/>
                    <a:gd name="T59" fmla="*/ 14 h 60"/>
                    <a:gd name="T60" fmla="*/ 50 w 58"/>
                    <a:gd name="T61" fmla="*/ 5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58" h="60">
                      <a:moveTo>
                        <a:pt x="4" y="0"/>
                      </a:moveTo>
                      <a:cubicBezTo>
                        <a:pt x="7" y="3"/>
                        <a:pt x="8" y="7"/>
                        <a:pt x="8" y="12"/>
                      </a:cubicBezTo>
                      <a:cubicBezTo>
                        <a:pt x="8" y="19"/>
                        <a:pt x="5" y="24"/>
                        <a:pt x="0" y="28"/>
                      </a:cubicBezTo>
                      <a:cubicBezTo>
                        <a:pt x="16" y="28"/>
                        <a:pt x="16" y="28"/>
                        <a:pt x="16" y="28"/>
                      </a:cubicBezTo>
                      <a:cubicBezTo>
                        <a:pt x="16" y="34"/>
                        <a:pt x="16" y="34"/>
                        <a:pt x="16" y="34"/>
                      </a:cubicBezTo>
                      <a:cubicBezTo>
                        <a:pt x="16" y="44"/>
                        <a:pt x="14" y="53"/>
                        <a:pt x="9" y="60"/>
                      </a:cubicBezTo>
                      <a:cubicBezTo>
                        <a:pt x="58" y="60"/>
                        <a:pt x="58" y="60"/>
                        <a:pt x="58" y="60"/>
                      </a:cubicBezTo>
                      <a:cubicBezTo>
                        <a:pt x="58" y="0"/>
                        <a:pt x="58" y="0"/>
                        <a:pt x="58" y="0"/>
                      </a:cubicBezTo>
                      <a:lnTo>
                        <a:pt x="4" y="0"/>
                      </a:lnTo>
                      <a:close/>
                      <a:moveTo>
                        <a:pt x="50" y="50"/>
                      </a:moveTo>
                      <a:cubicBezTo>
                        <a:pt x="50" y="51"/>
                        <a:pt x="49" y="52"/>
                        <a:pt x="48" y="52"/>
                      </a:cubicBezTo>
                      <a:cubicBezTo>
                        <a:pt x="48" y="52"/>
                        <a:pt x="48" y="52"/>
                        <a:pt x="48" y="52"/>
                      </a:cubicBezTo>
                      <a:cubicBezTo>
                        <a:pt x="48" y="52"/>
                        <a:pt x="48" y="52"/>
                        <a:pt x="48" y="52"/>
                      </a:cubicBezTo>
                      <a:cubicBezTo>
                        <a:pt x="24" y="52"/>
                        <a:pt x="24" y="52"/>
                        <a:pt x="24" y="52"/>
                      </a:cubicBezTo>
                      <a:cubicBezTo>
                        <a:pt x="23" y="52"/>
                        <a:pt x="22" y="51"/>
                        <a:pt x="22" y="50"/>
                      </a:cubicBezTo>
                      <a:cubicBezTo>
                        <a:pt x="22" y="49"/>
                        <a:pt x="23" y="48"/>
                        <a:pt x="24" y="48"/>
                      </a:cubicBezTo>
                      <a:cubicBezTo>
                        <a:pt x="30" y="48"/>
                        <a:pt x="30" y="48"/>
                        <a:pt x="30" y="48"/>
                      </a:cubicBezTo>
                      <a:cubicBezTo>
                        <a:pt x="30" y="34"/>
                        <a:pt x="30" y="34"/>
                        <a:pt x="30" y="34"/>
                      </a:cubicBezTo>
                      <a:cubicBezTo>
                        <a:pt x="30" y="33"/>
                        <a:pt x="31" y="32"/>
                        <a:pt x="32" y="32"/>
                      </a:cubicBezTo>
                      <a:cubicBezTo>
                        <a:pt x="33" y="32"/>
                        <a:pt x="34" y="33"/>
                        <a:pt x="34" y="34"/>
                      </a:cubicBezTo>
                      <a:cubicBezTo>
                        <a:pt x="34" y="48"/>
                        <a:pt x="34" y="48"/>
                        <a:pt x="34" y="48"/>
                      </a:cubicBezTo>
                      <a:cubicBezTo>
                        <a:pt x="38" y="48"/>
                        <a:pt x="38" y="48"/>
                        <a:pt x="38" y="48"/>
                      </a:cubicBezTo>
                      <a:cubicBezTo>
                        <a:pt x="38" y="26"/>
                        <a:pt x="38" y="26"/>
                        <a:pt x="38" y="26"/>
                      </a:cubicBezTo>
                      <a:cubicBezTo>
                        <a:pt x="38" y="25"/>
                        <a:pt x="39" y="24"/>
                        <a:pt x="40" y="24"/>
                      </a:cubicBezTo>
                      <a:cubicBezTo>
                        <a:pt x="41" y="24"/>
                        <a:pt x="42" y="25"/>
                        <a:pt x="42" y="26"/>
                      </a:cubicBezTo>
                      <a:cubicBezTo>
                        <a:pt x="42" y="48"/>
                        <a:pt x="42" y="48"/>
                        <a:pt x="42" y="48"/>
                      </a:cubicBezTo>
                      <a:cubicBezTo>
                        <a:pt x="46" y="48"/>
                        <a:pt x="46" y="48"/>
                        <a:pt x="46" y="48"/>
                      </a:cubicBezTo>
                      <a:cubicBezTo>
                        <a:pt x="46" y="14"/>
                        <a:pt x="46" y="14"/>
                        <a:pt x="46" y="14"/>
                      </a:cubicBezTo>
                      <a:cubicBezTo>
                        <a:pt x="46" y="13"/>
                        <a:pt x="47" y="12"/>
                        <a:pt x="48" y="12"/>
                      </a:cubicBezTo>
                      <a:cubicBezTo>
                        <a:pt x="49" y="12"/>
                        <a:pt x="50" y="13"/>
                        <a:pt x="50" y="14"/>
                      </a:cubicBezTo>
                      <a:lnTo>
                        <a:pt x="50" y="5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Arial"/>
                    <a:cs typeface="+mn-cs"/>
                  </a:endParaRPr>
                </a:p>
              </p:txBody>
            </p:sp>
          </p:grpSp>
        </p:grpSp>
        <p:grpSp>
          <p:nvGrpSpPr>
            <p:cNvPr id="30" name="Group 364">
              <a:extLst>
                <a:ext uri="{FF2B5EF4-FFF2-40B4-BE49-F238E27FC236}">
                  <a16:creationId xmlns:a16="http://schemas.microsoft.com/office/drawing/2014/main" id="{65CE4909-7445-4483-AB08-C1D621CB8361}"/>
                </a:ext>
              </a:extLst>
            </p:cNvPr>
            <p:cNvGrpSpPr/>
            <p:nvPr/>
          </p:nvGrpSpPr>
          <p:grpSpPr>
            <a:xfrm>
              <a:off x="4860607" y="2230177"/>
              <a:ext cx="859076" cy="972337"/>
              <a:chOff x="5035981" y="2500095"/>
              <a:chExt cx="908474" cy="1028248"/>
            </a:xfrm>
          </p:grpSpPr>
          <p:sp>
            <p:nvSpPr>
              <p:cNvPr id="63" name="Teardrop 260">
                <a:extLst>
                  <a:ext uri="{FF2B5EF4-FFF2-40B4-BE49-F238E27FC236}">
                    <a16:creationId xmlns:a16="http://schemas.microsoft.com/office/drawing/2014/main" id="{95F64D2D-CCDC-4126-BAD1-6CD60925A32B}"/>
                  </a:ext>
                </a:extLst>
              </p:cNvPr>
              <p:cNvSpPr/>
              <p:nvPr/>
            </p:nvSpPr>
            <p:spPr>
              <a:xfrm rot="8100000" flipH="1">
                <a:off x="5035981" y="2500095"/>
                <a:ext cx="908474" cy="1028248"/>
              </a:xfrm>
              <a:prstGeom prst="teardrop">
                <a:avLst/>
              </a:prstGeom>
              <a:gradFill flip="none" rotWithShape="1">
                <a:gsLst>
                  <a:gs pos="100000">
                    <a:schemeClr val="accent1"/>
                  </a:gs>
                  <a:gs pos="33000">
                    <a:schemeClr val="accent1"/>
                  </a:gs>
                </a:gsLst>
                <a:lin ang="1800000" scaled="0"/>
                <a:tileRect/>
              </a:gradFill>
              <a:ln w="12700" cap="flat" cmpd="sng" algn="ctr">
                <a:noFill/>
                <a:prstDash val="solid"/>
                <a:miter lim="800000"/>
              </a:ln>
              <a:effectLst>
                <a:outerShdw blurRad="215900" sx="104000" sy="104000" algn="ctr" rotWithShape="0">
                  <a:prstClr val="black">
                    <a:alpha val="19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0" cap="none" spc="0" normalizeH="0" baseline="0" noProof="0">
                  <a:ln>
                    <a:noFill/>
                  </a:ln>
                  <a:solidFill>
                    <a:prstClr val="white"/>
                  </a:solidFill>
                  <a:effectLst/>
                  <a:uLnTx/>
                  <a:uFillTx/>
                  <a:latin typeface="Arial"/>
                  <a:cs typeface="+mn-cs"/>
                </a:endParaRPr>
              </a:p>
            </p:txBody>
          </p:sp>
          <p:sp>
            <p:nvSpPr>
              <p:cNvPr id="64" name="Rectangle 359">
                <a:extLst>
                  <a:ext uri="{FF2B5EF4-FFF2-40B4-BE49-F238E27FC236}">
                    <a16:creationId xmlns:a16="http://schemas.microsoft.com/office/drawing/2014/main" id="{7737CFB3-0901-485A-B74E-A5160FF55278}"/>
                  </a:ext>
                </a:extLst>
              </p:cNvPr>
              <p:cNvSpPr/>
              <p:nvPr/>
            </p:nvSpPr>
            <p:spPr>
              <a:xfrm flipH="1">
                <a:off x="5184150" y="2798776"/>
                <a:ext cx="612137" cy="430887"/>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FFFFF"/>
                    </a:solidFill>
                    <a:effectLst/>
                    <a:uLnTx/>
                    <a:uFillTx/>
                    <a:latin typeface="Gill Sans MT" panose="020B0502020104020203" pitchFamily="34" charset="0"/>
                    <a:cs typeface="Segoe UI" panose="020B0502040204020203" pitchFamily="34" charset="0"/>
                  </a:rPr>
                  <a:t>Lorem Ipsum</a:t>
                </a:r>
              </a:p>
            </p:txBody>
          </p:sp>
        </p:grpSp>
        <p:grpSp>
          <p:nvGrpSpPr>
            <p:cNvPr id="31" name="Group 363">
              <a:extLst>
                <a:ext uri="{FF2B5EF4-FFF2-40B4-BE49-F238E27FC236}">
                  <a16:creationId xmlns:a16="http://schemas.microsoft.com/office/drawing/2014/main" id="{3CFB162A-F72F-4CFF-ADAA-4B9C905E12A5}"/>
                </a:ext>
              </a:extLst>
            </p:cNvPr>
            <p:cNvGrpSpPr/>
            <p:nvPr/>
          </p:nvGrpSpPr>
          <p:grpSpPr>
            <a:xfrm>
              <a:off x="6465187" y="1342623"/>
              <a:ext cx="859076" cy="972337"/>
              <a:chOff x="6732827" y="1561505"/>
              <a:chExt cx="908474" cy="1028248"/>
            </a:xfrm>
          </p:grpSpPr>
          <p:sp>
            <p:nvSpPr>
              <p:cNvPr id="61" name="Teardrop 251">
                <a:extLst>
                  <a:ext uri="{FF2B5EF4-FFF2-40B4-BE49-F238E27FC236}">
                    <a16:creationId xmlns:a16="http://schemas.microsoft.com/office/drawing/2014/main" id="{0131817B-5BBB-46E9-AF31-886FB342545F}"/>
                  </a:ext>
                </a:extLst>
              </p:cNvPr>
              <p:cNvSpPr/>
              <p:nvPr/>
            </p:nvSpPr>
            <p:spPr>
              <a:xfrm rot="8100000" flipH="1">
                <a:off x="6732827" y="1561505"/>
                <a:ext cx="908474" cy="1028248"/>
              </a:xfrm>
              <a:prstGeom prst="teardrop">
                <a:avLst/>
              </a:prstGeom>
              <a:gradFill flip="none" rotWithShape="1">
                <a:gsLst>
                  <a:gs pos="100000">
                    <a:schemeClr val="accent1"/>
                  </a:gs>
                  <a:gs pos="33000">
                    <a:schemeClr val="accent1"/>
                  </a:gs>
                </a:gsLst>
                <a:lin ang="1800000" scaled="0"/>
                <a:tileRect/>
              </a:gradFill>
              <a:ln w="12700" cap="flat" cmpd="sng" algn="ctr">
                <a:noFill/>
                <a:prstDash val="solid"/>
                <a:miter lim="800000"/>
              </a:ln>
              <a:effectLst>
                <a:outerShdw blurRad="215900" sx="104000" sy="104000" algn="ctr" rotWithShape="0">
                  <a:prstClr val="black">
                    <a:alpha val="19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0" cap="none" spc="0" normalizeH="0" baseline="0" noProof="0">
                  <a:ln>
                    <a:noFill/>
                  </a:ln>
                  <a:solidFill>
                    <a:prstClr val="white"/>
                  </a:solidFill>
                  <a:effectLst/>
                  <a:uLnTx/>
                  <a:uFillTx/>
                  <a:latin typeface="Arial"/>
                  <a:cs typeface="+mn-cs"/>
                </a:endParaRPr>
              </a:p>
            </p:txBody>
          </p:sp>
          <p:sp>
            <p:nvSpPr>
              <p:cNvPr id="62" name="Rectangle 360">
                <a:extLst>
                  <a:ext uri="{FF2B5EF4-FFF2-40B4-BE49-F238E27FC236}">
                    <a16:creationId xmlns:a16="http://schemas.microsoft.com/office/drawing/2014/main" id="{5F4093E4-2C54-48CE-BA70-4D7C1429A0A2}"/>
                  </a:ext>
                </a:extLst>
              </p:cNvPr>
              <p:cNvSpPr/>
              <p:nvPr/>
            </p:nvSpPr>
            <p:spPr>
              <a:xfrm flipH="1">
                <a:off x="6880996" y="1860186"/>
                <a:ext cx="612137" cy="430887"/>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FFFFF"/>
                    </a:solidFill>
                    <a:effectLst/>
                    <a:uLnTx/>
                    <a:uFillTx/>
                    <a:latin typeface="Gill Sans MT" panose="020B0502020104020203" pitchFamily="34" charset="0"/>
                    <a:cs typeface="Segoe UI" panose="020B0502040204020203" pitchFamily="34" charset="0"/>
                  </a:rPr>
                  <a:t>Lorem Ipsum</a:t>
                </a:r>
              </a:p>
            </p:txBody>
          </p:sp>
        </p:grpSp>
        <p:grpSp>
          <p:nvGrpSpPr>
            <p:cNvPr id="32" name="Group 362">
              <a:extLst>
                <a:ext uri="{FF2B5EF4-FFF2-40B4-BE49-F238E27FC236}">
                  <a16:creationId xmlns:a16="http://schemas.microsoft.com/office/drawing/2014/main" id="{05765D49-AA3F-4FB4-AC18-584EE63659CC}"/>
                </a:ext>
              </a:extLst>
            </p:cNvPr>
            <p:cNvGrpSpPr/>
            <p:nvPr/>
          </p:nvGrpSpPr>
          <p:grpSpPr>
            <a:xfrm>
              <a:off x="7153299" y="2230177"/>
              <a:ext cx="859076" cy="972337"/>
              <a:chOff x="7460506" y="2500095"/>
              <a:chExt cx="908474" cy="1028248"/>
            </a:xfrm>
          </p:grpSpPr>
          <p:sp>
            <p:nvSpPr>
              <p:cNvPr id="59" name="Teardrop 254">
                <a:extLst>
                  <a:ext uri="{FF2B5EF4-FFF2-40B4-BE49-F238E27FC236}">
                    <a16:creationId xmlns:a16="http://schemas.microsoft.com/office/drawing/2014/main" id="{CE4327C1-0C36-4F98-B56D-C0801E80D018}"/>
                  </a:ext>
                </a:extLst>
              </p:cNvPr>
              <p:cNvSpPr/>
              <p:nvPr/>
            </p:nvSpPr>
            <p:spPr>
              <a:xfrm rot="8100000" flipH="1">
                <a:off x="7460506" y="2500095"/>
                <a:ext cx="908474" cy="1028248"/>
              </a:xfrm>
              <a:prstGeom prst="teardrop">
                <a:avLst/>
              </a:prstGeom>
              <a:gradFill flip="none" rotWithShape="1">
                <a:gsLst>
                  <a:gs pos="100000">
                    <a:schemeClr val="accent1"/>
                  </a:gs>
                  <a:gs pos="33000">
                    <a:schemeClr val="accent1"/>
                  </a:gs>
                </a:gsLst>
                <a:lin ang="1800000" scaled="0"/>
                <a:tileRect/>
              </a:gradFill>
              <a:ln w="12700" cap="flat" cmpd="sng" algn="ctr">
                <a:noFill/>
                <a:prstDash val="solid"/>
                <a:miter lim="800000"/>
              </a:ln>
              <a:effectLst>
                <a:outerShdw blurRad="215900" sx="104000" sy="104000" algn="ctr" rotWithShape="0">
                  <a:prstClr val="black">
                    <a:alpha val="19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0" cap="none" spc="0" normalizeH="0" baseline="0" noProof="0">
                  <a:ln>
                    <a:noFill/>
                  </a:ln>
                  <a:solidFill>
                    <a:prstClr val="white"/>
                  </a:solidFill>
                  <a:effectLst/>
                  <a:uLnTx/>
                  <a:uFillTx/>
                  <a:latin typeface="Arial"/>
                  <a:cs typeface="+mn-cs"/>
                </a:endParaRPr>
              </a:p>
            </p:txBody>
          </p:sp>
          <p:sp>
            <p:nvSpPr>
              <p:cNvPr id="60" name="Rectangle 361">
                <a:extLst>
                  <a:ext uri="{FF2B5EF4-FFF2-40B4-BE49-F238E27FC236}">
                    <a16:creationId xmlns:a16="http://schemas.microsoft.com/office/drawing/2014/main" id="{6453CF6A-DC8D-4EE9-95BA-CF07202A7EB8}"/>
                  </a:ext>
                </a:extLst>
              </p:cNvPr>
              <p:cNvSpPr/>
              <p:nvPr/>
            </p:nvSpPr>
            <p:spPr>
              <a:xfrm flipH="1">
                <a:off x="7608675" y="2798776"/>
                <a:ext cx="612137" cy="430887"/>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FFFFF"/>
                    </a:solidFill>
                    <a:effectLst/>
                    <a:uLnTx/>
                    <a:uFillTx/>
                    <a:latin typeface="Gill Sans MT" panose="020B0502020104020203" pitchFamily="34" charset="0"/>
                    <a:cs typeface="Segoe UI" panose="020B0502040204020203" pitchFamily="34" charset="0"/>
                  </a:rPr>
                  <a:t>Lorem Ipsum</a:t>
                </a:r>
              </a:p>
            </p:txBody>
          </p:sp>
        </p:grpSp>
        <p:grpSp>
          <p:nvGrpSpPr>
            <p:cNvPr id="33" name="Group 418">
              <a:extLst>
                <a:ext uri="{FF2B5EF4-FFF2-40B4-BE49-F238E27FC236}">
                  <a16:creationId xmlns:a16="http://schemas.microsoft.com/office/drawing/2014/main" id="{D5FE70A1-3197-455A-8259-8CA0EC5D6118}"/>
                </a:ext>
              </a:extLst>
            </p:cNvPr>
            <p:cNvGrpSpPr/>
            <p:nvPr/>
          </p:nvGrpSpPr>
          <p:grpSpPr>
            <a:xfrm>
              <a:off x="8599435" y="1961624"/>
              <a:ext cx="2805246" cy="2927210"/>
              <a:chOff x="8989797" y="2216100"/>
              <a:chExt cx="2966552" cy="3095530"/>
            </a:xfrm>
          </p:grpSpPr>
          <p:sp>
            <p:nvSpPr>
              <p:cNvPr id="51" name="Freeform: Shape 217">
                <a:extLst>
                  <a:ext uri="{FF2B5EF4-FFF2-40B4-BE49-F238E27FC236}">
                    <a16:creationId xmlns:a16="http://schemas.microsoft.com/office/drawing/2014/main" id="{39739A3C-52DD-4F2A-A391-3795A182F341}"/>
                  </a:ext>
                </a:extLst>
              </p:cNvPr>
              <p:cNvSpPr/>
              <p:nvPr/>
            </p:nvSpPr>
            <p:spPr>
              <a:xfrm>
                <a:off x="8989797" y="2216100"/>
                <a:ext cx="2966552" cy="3095530"/>
              </a:xfrm>
              <a:custGeom>
                <a:avLst/>
                <a:gdLst>
                  <a:gd name="connsiteX0" fmla="*/ 17050 w 1752600"/>
                  <a:gd name="connsiteY0" fmla="*/ 1697831 h 1828800"/>
                  <a:gd name="connsiteX1" fmla="*/ 16383 w 1752600"/>
                  <a:gd name="connsiteY1" fmla="*/ 1697546 h 1828800"/>
                  <a:gd name="connsiteX2" fmla="*/ 54483 w 1752600"/>
                  <a:gd name="connsiteY2" fmla="*/ 1588770 h 1828800"/>
                  <a:gd name="connsiteX3" fmla="*/ 132112 w 1752600"/>
                  <a:gd name="connsiteY3" fmla="*/ 1121569 h 1828800"/>
                  <a:gd name="connsiteX4" fmla="*/ 140208 w 1752600"/>
                  <a:gd name="connsiteY4" fmla="*/ 886301 h 1828800"/>
                  <a:gd name="connsiteX5" fmla="*/ 60103 w 1752600"/>
                  <a:gd name="connsiteY5" fmla="*/ 314039 h 1828800"/>
                  <a:gd name="connsiteX6" fmla="*/ 0 w 1752600"/>
                  <a:gd name="connsiteY6" fmla="*/ 130302 h 1828800"/>
                  <a:gd name="connsiteX7" fmla="*/ 104870 w 1752600"/>
                  <a:gd name="connsiteY7" fmla="*/ 0 h 1828800"/>
                  <a:gd name="connsiteX8" fmla="*/ 109633 w 1752600"/>
                  <a:gd name="connsiteY8" fmla="*/ 857 h 1828800"/>
                  <a:gd name="connsiteX9" fmla="*/ 498348 w 1752600"/>
                  <a:gd name="connsiteY9" fmla="*/ 92107 h 1828800"/>
                  <a:gd name="connsiteX10" fmla="*/ 741140 w 1752600"/>
                  <a:gd name="connsiteY10" fmla="*/ 164783 h 1828800"/>
                  <a:gd name="connsiteX11" fmla="*/ 1431798 w 1752600"/>
                  <a:gd name="connsiteY11" fmla="*/ 485394 h 1828800"/>
                  <a:gd name="connsiteX12" fmla="*/ 1697927 w 1752600"/>
                  <a:gd name="connsiteY12" fmla="*/ 765810 h 1828800"/>
                  <a:gd name="connsiteX13" fmla="*/ 1754124 w 1752600"/>
                  <a:gd name="connsiteY13" fmla="*/ 984885 h 1828800"/>
                  <a:gd name="connsiteX14" fmla="*/ 1738027 w 1752600"/>
                  <a:gd name="connsiteY14" fmla="*/ 1087565 h 1828800"/>
                  <a:gd name="connsiteX15" fmla="*/ 1501712 w 1752600"/>
                  <a:gd name="connsiteY15" fmla="*/ 1368933 h 1828800"/>
                  <a:gd name="connsiteX16" fmla="*/ 418243 w 1752600"/>
                  <a:gd name="connsiteY16" fmla="*/ 1771650 h 1828800"/>
                  <a:gd name="connsiteX17" fmla="*/ 117920 w 1752600"/>
                  <a:gd name="connsiteY17" fmla="*/ 1832134 h 1828800"/>
                  <a:gd name="connsiteX18" fmla="*/ 17050 w 1752600"/>
                  <a:gd name="connsiteY18" fmla="*/ 1697831 h 1828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752600" h="1828800">
                    <a:moveTo>
                      <a:pt x="17050" y="1697831"/>
                    </a:moveTo>
                    <a:lnTo>
                      <a:pt x="16383" y="1697546"/>
                    </a:lnTo>
                    <a:cubicBezTo>
                      <a:pt x="16573" y="1697165"/>
                      <a:pt x="33433" y="1660684"/>
                      <a:pt x="54483" y="1588770"/>
                    </a:cubicBezTo>
                    <a:cubicBezTo>
                      <a:pt x="81249" y="1496949"/>
                      <a:pt x="116491" y="1341311"/>
                      <a:pt x="132112" y="1121569"/>
                    </a:cubicBezTo>
                    <a:cubicBezTo>
                      <a:pt x="137446" y="1045845"/>
                      <a:pt x="140208" y="966788"/>
                      <a:pt x="140208" y="886301"/>
                    </a:cubicBezTo>
                    <a:cubicBezTo>
                      <a:pt x="140208" y="654749"/>
                      <a:pt x="96584" y="447294"/>
                      <a:pt x="60103" y="314039"/>
                    </a:cubicBezTo>
                    <a:cubicBezTo>
                      <a:pt x="29051" y="200787"/>
                      <a:pt x="286" y="131064"/>
                      <a:pt x="0" y="130302"/>
                    </a:cubicBezTo>
                    <a:lnTo>
                      <a:pt x="104870" y="0"/>
                    </a:lnTo>
                    <a:lnTo>
                      <a:pt x="109633" y="857"/>
                    </a:lnTo>
                    <a:cubicBezTo>
                      <a:pt x="138589" y="6287"/>
                      <a:pt x="294037" y="36290"/>
                      <a:pt x="498348" y="92107"/>
                    </a:cubicBezTo>
                    <a:cubicBezTo>
                      <a:pt x="581883" y="114967"/>
                      <a:pt x="663607" y="139351"/>
                      <a:pt x="741140" y="164783"/>
                    </a:cubicBezTo>
                    <a:cubicBezTo>
                      <a:pt x="1032510" y="260223"/>
                      <a:pt x="1264920" y="368046"/>
                      <a:pt x="1431798" y="485394"/>
                    </a:cubicBezTo>
                    <a:cubicBezTo>
                      <a:pt x="1556195" y="572834"/>
                      <a:pt x="1645730" y="667226"/>
                      <a:pt x="1697927" y="765810"/>
                    </a:cubicBezTo>
                    <a:cubicBezTo>
                      <a:pt x="1735264" y="836390"/>
                      <a:pt x="1754124" y="910114"/>
                      <a:pt x="1754124" y="984885"/>
                    </a:cubicBezTo>
                    <a:cubicBezTo>
                      <a:pt x="1754124" y="1019366"/>
                      <a:pt x="1748695" y="1053846"/>
                      <a:pt x="1738027" y="1087565"/>
                    </a:cubicBezTo>
                    <a:cubicBezTo>
                      <a:pt x="1706213" y="1187482"/>
                      <a:pt x="1626775" y="1282160"/>
                      <a:pt x="1501712" y="1368933"/>
                    </a:cubicBezTo>
                    <a:cubicBezTo>
                      <a:pt x="1224153" y="1561624"/>
                      <a:pt x="759333" y="1694307"/>
                      <a:pt x="418243" y="1771650"/>
                    </a:cubicBezTo>
                    <a:cubicBezTo>
                      <a:pt x="243364" y="1811274"/>
                      <a:pt x="122968" y="1831277"/>
                      <a:pt x="117920" y="1832134"/>
                    </a:cubicBezTo>
                    <a:lnTo>
                      <a:pt x="17050" y="1697831"/>
                    </a:lnTo>
                    <a:close/>
                  </a:path>
                </a:pathLst>
              </a:custGeom>
              <a:gradFill flip="none" rotWithShape="1">
                <a:gsLst>
                  <a:gs pos="100000">
                    <a:schemeClr val="accent1"/>
                  </a:gs>
                  <a:gs pos="0">
                    <a:schemeClr val="accent1"/>
                  </a:gs>
                </a:gsLst>
                <a:lin ang="2700000" scaled="1"/>
                <a:tileRect/>
              </a:gradFill>
              <a:ln w="12700" cap="flat" cmpd="sng" algn="ctr">
                <a:noFill/>
                <a:prstDash val="solid"/>
                <a:miter lim="800000"/>
              </a:ln>
              <a:effectLst>
                <a:outerShdw blurRad="215900" sx="104000" sy="104000" algn="ctr" rotWithShape="0">
                  <a:prstClr val="black">
                    <a:alpha val="19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0" cap="none" spc="0" normalizeH="0" baseline="0" noProof="0">
                  <a:ln>
                    <a:noFill/>
                  </a:ln>
                  <a:solidFill>
                    <a:prstClr val="white"/>
                  </a:solidFill>
                  <a:effectLst/>
                  <a:uLnTx/>
                  <a:uFillTx/>
                  <a:latin typeface="Arial"/>
                  <a:cs typeface="+mn-cs"/>
                </a:endParaRPr>
              </a:p>
            </p:txBody>
          </p:sp>
          <p:grpSp>
            <p:nvGrpSpPr>
              <p:cNvPr id="52" name="Group 358">
                <a:extLst>
                  <a:ext uri="{FF2B5EF4-FFF2-40B4-BE49-F238E27FC236}">
                    <a16:creationId xmlns:a16="http://schemas.microsoft.com/office/drawing/2014/main" id="{39AB888E-04C3-45D3-B074-34CE1A9F9822}"/>
                  </a:ext>
                </a:extLst>
              </p:cNvPr>
              <p:cNvGrpSpPr/>
              <p:nvPr/>
            </p:nvGrpSpPr>
            <p:grpSpPr>
              <a:xfrm>
                <a:off x="9573228" y="3168933"/>
                <a:ext cx="2030839" cy="1189865"/>
                <a:chOff x="9233965" y="3123330"/>
                <a:chExt cx="2030839" cy="1189865"/>
              </a:xfrm>
            </p:grpSpPr>
            <p:sp>
              <p:nvSpPr>
                <p:cNvPr id="53" name="Rectangle 123">
                  <a:extLst>
                    <a:ext uri="{FF2B5EF4-FFF2-40B4-BE49-F238E27FC236}">
                      <a16:creationId xmlns:a16="http://schemas.microsoft.com/office/drawing/2014/main" id="{10DBBC75-32AD-4412-BD9B-B11C096BFA48}"/>
                    </a:ext>
                  </a:extLst>
                </p:cNvPr>
                <p:cNvSpPr/>
                <p:nvPr/>
              </p:nvSpPr>
              <p:spPr>
                <a:xfrm flipH="1">
                  <a:off x="9238853" y="3666864"/>
                  <a:ext cx="1748048" cy="646331"/>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FFFFF"/>
                      </a:solidFill>
                      <a:effectLst/>
                      <a:uLnTx/>
                      <a:uFillTx/>
                      <a:latin typeface="Gill Sans MT" panose="020B0502020104020203" pitchFamily="34" charset="0"/>
                      <a:cs typeface="Segoe UI" panose="020B0502040204020203" pitchFamily="34" charset="0"/>
                    </a:rPr>
                    <a:t>87% Lorem Ipsum is simply dummy text</a:t>
                  </a:r>
                  <a:br>
                    <a:rPr kumimoji="0" lang="en-US" sz="1400" b="0" i="0" u="none" strike="noStrike" kern="0" cap="none" spc="0" normalizeH="0" baseline="0" noProof="0" dirty="0">
                      <a:ln>
                        <a:noFill/>
                      </a:ln>
                      <a:solidFill>
                        <a:srgbClr val="FFFFFF"/>
                      </a:solidFill>
                      <a:effectLst/>
                      <a:uLnTx/>
                      <a:uFillTx/>
                      <a:latin typeface="Gill Sans MT" panose="020B0502020104020203" pitchFamily="34" charset="0"/>
                      <a:cs typeface="Segoe UI" panose="020B0502040204020203" pitchFamily="34" charset="0"/>
                    </a:rPr>
                  </a:br>
                  <a:r>
                    <a:rPr kumimoji="0" lang="en-US" sz="1400" b="0" i="0" u="none" strike="noStrike" kern="0" cap="none" spc="0" normalizeH="0" baseline="0" noProof="0" dirty="0">
                      <a:ln>
                        <a:noFill/>
                      </a:ln>
                      <a:solidFill>
                        <a:srgbClr val="FFFFFF"/>
                      </a:solidFill>
                      <a:effectLst/>
                      <a:uLnTx/>
                      <a:uFillTx/>
                      <a:latin typeface="Gill Sans MT" panose="020B0502020104020203" pitchFamily="34" charset="0"/>
                      <a:cs typeface="Segoe UI" panose="020B0502040204020203" pitchFamily="34" charset="0"/>
                    </a:rPr>
                    <a:t>of the printing.</a:t>
                  </a:r>
                </a:p>
              </p:txBody>
            </p:sp>
            <p:grpSp>
              <p:nvGrpSpPr>
                <p:cNvPr id="54" name="Group 124">
                  <a:extLst>
                    <a:ext uri="{FF2B5EF4-FFF2-40B4-BE49-F238E27FC236}">
                      <a16:creationId xmlns:a16="http://schemas.microsoft.com/office/drawing/2014/main" id="{6AE6F2B4-2181-40BF-BA39-A9D6930559BD}"/>
                    </a:ext>
                  </a:extLst>
                </p:cNvPr>
                <p:cNvGrpSpPr/>
                <p:nvPr/>
              </p:nvGrpSpPr>
              <p:grpSpPr>
                <a:xfrm flipH="1">
                  <a:off x="9233965" y="3123330"/>
                  <a:ext cx="426922" cy="432616"/>
                  <a:chOff x="5554663" y="723900"/>
                  <a:chExt cx="357187" cy="361951"/>
                </a:xfrm>
                <a:solidFill>
                  <a:schemeClr val="bg1"/>
                </a:solidFill>
              </p:grpSpPr>
              <p:sp>
                <p:nvSpPr>
                  <p:cNvPr id="56" name="Freeform 68">
                    <a:extLst>
                      <a:ext uri="{FF2B5EF4-FFF2-40B4-BE49-F238E27FC236}">
                        <a16:creationId xmlns:a16="http://schemas.microsoft.com/office/drawing/2014/main" id="{C70B5618-2FD2-4F8B-A1FC-2ECC51273465}"/>
                      </a:ext>
                    </a:extLst>
                  </p:cNvPr>
                  <p:cNvSpPr>
                    <a:spLocks/>
                  </p:cNvSpPr>
                  <p:nvPr/>
                </p:nvSpPr>
                <p:spPr bwMode="auto">
                  <a:xfrm>
                    <a:off x="5554663" y="949325"/>
                    <a:ext cx="131763" cy="136525"/>
                  </a:xfrm>
                  <a:custGeom>
                    <a:avLst/>
                    <a:gdLst>
                      <a:gd name="T0" fmla="*/ 12 w 35"/>
                      <a:gd name="T1" fmla="*/ 0 h 36"/>
                      <a:gd name="T2" fmla="*/ 0 w 35"/>
                      <a:gd name="T3" fmla="*/ 21 h 36"/>
                      <a:gd name="T4" fmla="*/ 0 w 35"/>
                      <a:gd name="T5" fmla="*/ 23 h 36"/>
                      <a:gd name="T6" fmla="*/ 2 w 35"/>
                      <a:gd name="T7" fmla="*/ 24 h 36"/>
                      <a:gd name="T8" fmla="*/ 16 w 35"/>
                      <a:gd name="T9" fmla="*/ 22 h 36"/>
                      <a:gd name="T10" fmla="*/ 21 w 35"/>
                      <a:gd name="T11" fmla="*/ 35 h 36"/>
                      <a:gd name="T12" fmla="*/ 23 w 35"/>
                      <a:gd name="T13" fmla="*/ 36 h 36"/>
                      <a:gd name="T14" fmla="*/ 23 w 35"/>
                      <a:gd name="T15" fmla="*/ 36 h 36"/>
                      <a:gd name="T16" fmla="*/ 24 w 35"/>
                      <a:gd name="T17" fmla="*/ 35 h 36"/>
                      <a:gd name="T18" fmla="*/ 35 w 35"/>
                      <a:gd name="T19" fmla="*/ 18 h 36"/>
                      <a:gd name="T20" fmla="*/ 12 w 35"/>
                      <a:gd name="T21"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5" h="36">
                        <a:moveTo>
                          <a:pt x="12" y="0"/>
                        </a:moveTo>
                        <a:cubicBezTo>
                          <a:pt x="0" y="21"/>
                          <a:pt x="0" y="21"/>
                          <a:pt x="0" y="21"/>
                        </a:cubicBezTo>
                        <a:cubicBezTo>
                          <a:pt x="0" y="22"/>
                          <a:pt x="0" y="22"/>
                          <a:pt x="0" y="23"/>
                        </a:cubicBezTo>
                        <a:cubicBezTo>
                          <a:pt x="1" y="24"/>
                          <a:pt x="2" y="24"/>
                          <a:pt x="2" y="24"/>
                        </a:cubicBezTo>
                        <a:cubicBezTo>
                          <a:pt x="16" y="22"/>
                          <a:pt x="16" y="22"/>
                          <a:pt x="16" y="22"/>
                        </a:cubicBezTo>
                        <a:cubicBezTo>
                          <a:pt x="21" y="35"/>
                          <a:pt x="21" y="35"/>
                          <a:pt x="21" y="35"/>
                        </a:cubicBezTo>
                        <a:cubicBezTo>
                          <a:pt x="21" y="35"/>
                          <a:pt x="22" y="36"/>
                          <a:pt x="23" y="36"/>
                        </a:cubicBezTo>
                        <a:cubicBezTo>
                          <a:pt x="23" y="36"/>
                          <a:pt x="23" y="36"/>
                          <a:pt x="23" y="36"/>
                        </a:cubicBezTo>
                        <a:cubicBezTo>
                          <a:pt x="23" y="36"/>
                          <a:pt x="24" y="36"/>
                          <a:pt x="24" y="35"/>
                        </a:cubicBezTo>
                        <a:cubicBezTo>
                          <a:pt x="35" y="18"/>
                          <a:pt x="35" y="18"/>
                          <a:pt x="35" y="18"/>
                        </a:cubicBezTo>
                        <a:cubicBezTo>
                          <a:pt x="25" y="15"/>
                          <a:pt x="17" y="8"/>
                          <a:pt x="1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FFFFFF"/>
                      </a:solidFill>
                      <a:effectLst/>
                      <a:uLnTx/>
                      <a:uFillTx/>
                      <a:latin typeface="Arial"/>
                      <a:cs typeface="+mn-cs"/>
                    </a:endParaRPr>
                  </a:p>
                </p:txBody>
              </p:sp>
              <p:sp>
                <p:nvSpPr>
                  <p:cNvPr id="57" name="Freeform 69">
                    <a:extLst>
                      <a:ext uri="{FF2B5EF4-FFF2-40B4-BE49-F238E27FC236}">
                        <a16:creationId xmlns:a16="http://schemas.microsoft.com/office/drawing/2014/main" id="{818BBC42-2055-4F5D-BBF9-03AE7DD3C821}"/>
                      </a:ext>
                    </a:extLst>
                  </p:cNvPr>
                  <p:cNvSpPr>
                    <a:spLocks/>
                  </p:cNvSpPr>
                  <p:nvPr/>
                </p:nvSpPr>
                <p:spPr bwMode="auto">
                  <a:xfrm>
                    <a:off x="5784850" y="954088"/>
                    <a:ext cx="127000" cy="131763"/>
                  </a:xfrm>
                  <a:custGeom>
                    <a:avLst/>
                    <a:gdLst>
                      <a:gd name="T0" fmla="*/ 34 w 34"/>
                      <a:gd name="T1" fmla="*/ 20 h 35"/>
                      <a:gd name="T2" fmla="*/ 22 w 34"/>
                      <a:gd name="T3" fmla="*/ 0 h 35"/>
                      <a:gd name="T4" fmla="*/ 0 w 34"/>
                      <a:gd name="T5" fmla="*/ 17 h 35"/>
                      <a:gd name="T6" fmla="*/ 10 w 34"/>
                      <a:gd name="T7" fmla="*/ 34 h 35"/>
                      <a:gd name="T8" fmla="*/ 12 w 34"/>
                      <a:gd name="T9" fmla="*/ 35 h 35"/>
                      <a:gd name="T10" fmla="*/ 12 w 34"/>
                      <a:gd name="T11" fmla="*/ 35 h 35"/>
                      <a:gd name="T12" fmla="*/ 13 w 34"/>
                      <a:gd name="T13" fmla="*/ 34 h 35"/>
                      <a:gd name="T14" fmla="*/ 18 w 34"/>
                      <a:gd name="T15" fmla="*/ 21 h 35"/>
                      <a:gd name="T16" fmla="*/ 32 w 34"/>
                      <a:gd name="T17" fmla="*/ 23 h 35"/>
                      <a:gd name="T18" fmla="*/ 34 w 34"/>
                      <a:gd name="T19" fmla="*/ 22 h 35"/>
                      <a:gd name="T20" fmla="*/ 34 w 34"/>
                      <a:gd name="T21" fmla="*/ 2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4" h="35">
                        <a:moveTo>
                          <a:pt x="34" y="20"/>
                        </a:moveTo>
                        <a:cubicBezTo>
                          <a:pt x="22" y="0"/>
                          <a:pt x="22" y="0"/>
                          <a:pt x="22" y="0"/>
                        </a:cubicBezTo>
                        <a:cubicBezTo>
                          <a:pt x="17" y="8"/>
                          <a:pt x="9" y="14"/>
                          <a:pt x="0" y="17"/>
                        </a:cubicBezTo>
                        <a:cubicBezTo>
                          <a:pt x="10" y="34"/>
                          <a:pt x="10" y="34"/>
                          <a:pt x="10" y="34"/>
                        </a:cubicBezTo>
                        <a:cubicBezTo>
                          <a:pt x="10" y="35"/>
                          <a:pt x="11" y="35"/>
                          <a:pt x="12" y="35"/>
                        </a:cubicBezTo>
                        <a:cubicBezTo>
                          <a:pt x="12" y="35"/>
                          <a:pt x="12" y="35"/>
                          <a:pt x="12" y="35"/>
                        </a:cubicBezTo>
                        <a:cubicBezTo>
                          <a:pt x="13" y="35"/>
                          <a:pt x="13" y="34"/>
                          <a:pt x="13" y="34"/>
                        </a:cubicBezTo>
                        <a:cubicBezTo>
                          <a:pt x="18" y="21"/>
                          <a:pt x="18" y="21"/>
                          <a:pt x="18" y="21"/>
                        </a:cubicBezTo>
                        <a:cubicBezTo>
                          <a:pt x="32" y="23"/>
                          <a:pt x="32" y="23"/>
                          <a:pt x="32" y="23"/>
                        </a:cubicBezTo>
                        <a:cubicBezTo>
                          <a:pt x="33" y="23"/>
                          <a:pt x="34" y="23"/>
                          <a:pt x="34" y="22"/>
                        </a:cubicBezTo>
                        <a:cubicBezTo>
                          <a:pt x="34" y="21"/>
                          <a:pt x="34" y="21"/>
                          <a:pt x="34"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FFFFFF"/>
                      </a:solidFill>
                      <a:effectLst/>
                      <a:uLnTx/>
                      <a:uFillTx/>
                      <a:latin typeface="Arial"/>
                      <a:cs typeface="+mn-cs"/>
                    </a:endParaRPr>
                  </a:p>
                </p:txBody>
              </p:sp>
              <p:sp>
                <p:nvSpPr>
                  <p:cNvPr id="58" name="Freeform 70">
                    <a:extLst>
                      <a:ext uri="{FF2B5EF4-FFF2-40B4-BE49-F238E27FC236}">
                        <a16:creationId xmlns:a16="http://schemas.microsoft.com/office/drawing/2014/main" id="{92ABC5AC-326C-46E0-ACD0-A0A950FF1351}"/>
                      </a:ext>
                    </a:extLst>
                  </p:cNvPr>
                  <p:cNvSpPr>
                    <a:spLocks noEditPoints="1"/>
                  </p:cNvSpPr>
                  <p:nvPr/>
                </p:nvSpPr>
                <p:spPr bwMode="auto">
                  <a:xfrm>
                    <a:off x="5592765" y="723900"/>
                    <a:ext cx="285750" cy="285750"/>
                  </a:xfrm>
                  <a:custGeom>
                    <a:avLst/>
                    <a:gdLst>
                      <a:gd name="T0" fmla="*/ 76 w 76"/>
                      <a:gd name="T1" fmla="*/ 38 h 76"/>
                      <a:gd name="T2" fmla="*/ 38 w 76"/>
                      <a:gd name="T3" fmla="*/ 0 h 76"/>
                      <a:gd name="T4" fmla="*/ 0 w 76"/>
                      <a:gd name="T5" fmla="*/ 38 h 76"/>
                      <a:gd name="T6" fmla="*/ 38 w 76"/>
                      <a:gd name="T7" fmla="*/ 76 h 76"/>
                      <a:gd name="T8" fmla="*/ 76 w 76"/>
                      <a:gd name="T9" fmla="*/ 38 h 76"/>
                      <a:gd name="T10" fmla="*/ 57 w 76"/>
                      <a:gd name="T11" fmla="*/ 34 h 76"/>
                      <a:gd name="T12" fmla="*/ 48 w 76"/>
                      <a:gd name="T13" fmla="*/ 41 h 76"/>
                      <a:gd name="T14" fmla="*/ 52 w 76"/>
                      <a:gd name="T15" fmla="*/ 53 h 76"/>
                      <a:gd name="T16" fmla="*/ 51 w 76"/>
                      <a:gd name="T17" fmla="*/ 56 h 76"/>
                      <a:gd name="T18" fmla="*/ 50 w 76"/>
                      <a:gd name="T19" fmla="*/ 56 h 76"/>
                      <a:gd name="T20" fmla="*/ 49 w 76"/>
                      <a:gd name="T21" fmla="*/ 56 h 76"/>
                      <a:gd name="T22" fmla="*/ 38 w 76"/>
                      <a:gd name="T23" fmla="*/ 49 h 76"/>
                      <a:gd name="T24" fmla="*/ 27 w 76"/>
                      <a:gd name="T25" fmla="*/ 56 h 76"/>
                      <a:gd name="T26" fmla="*/ 25 w 76"/>
                      <a:gd name="T27" fmla="*/ 56 h 76"/>
                      <a:gd name="T28" fmla="*/ 24 w 76"/>
                      <a:gd name="T29" fmla="*/ 53 h 76"/>
                      <a:gd name="T30" fmla="*/ 28 w 76"/>
                      <a:gd name="T31" fmla="*/ 41 h 76"/>
                      <a:gd name="T32" fmla="*/ 19 w 76"/>
                      <a:gd name="T33" fmla="*/ 34 h 76"/>
                      <a:gd name="T34" fmla="*/ 18 w 76"/>
                      <a:gd name="T35" fmla="*/ 31 h 76"/>
                      <a:gd name="T36" fmla="*/ 20 w 76"/>
                      <a:gd name="T37" fmla="*/ 30 h 76"/>
                      <a:gd name="T38" fmla="*/ 31 w 76"/>
                      <a:gd name="T39" fmla="*/ 30 h 76"/>
                      <a:gd name="T40" fmla="*/ 36 w 76"/>
                      <a:gd name="T41" fmla="*/ 19 h 76"/>
                      <a:gd name="T42" fmla="*/ 40 w 76"/>
                      <a:gd name="T43" fmla="*/ 19 h 76"/>
                      <a:gd name="T44" fmla="*/ 45 w 76"/>
                      <a:gd name="T45" fmla="*/ 30 h 76"/>
                      <a:gd name="T46" fmla="*/ 56 w 76"/>
                      <a:gd name="T47" fmla="*/ 30 h 76"/>
                      <a:gd name="T48" fmla="*/ 58 w 76"/>
                      <a:gd name="T49" fmla="*/ 31 h 76"/>
                      <a:gd name="T50" fmla="*/ 57 w 76"/>
                      <a:gd name="T51" fmla="*/ 3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6" h="76">
                        <a:moveTo>
                          <a:pt x="76" y="38"/>
                        </a:moveTo>
                        <a:cubicBezTo>
                          <a:pt x="76" y="17"/>
                          <a:pt x="59" y="0"/>
                          <a:pt x="38" y="0"/>
                        </a:cubicBezTo>
                        <a:cubicBezTo>
                          <a:pt x="17" y="0"/>
                          <a:pt x="0" y="17"/>
                          <a:pt x="0" y="38"/>
                        </a:cubicBezTo>
                        <a:cubicBezTo>
                          <a:pt x="0" y="59"/>
                          <a:pt x="17" y="76"/>
                          <a:pt x="38" y="76"/>
                        </a:cubicBezTo>
                        <a:cubicBezTo>
                          <a:pt x="59" y="76"/>
                          <a:pt x="76" y="59"/>
                          <a:pt x="76" y="38"/>
                        </a:cubicBezTo>
                        <a:close/>
                        <a:moveTo>
                          <a:pt x="57" y="34"/>
                        </a:moveTo>
                        <a:cubicBezTo>
                          <a:pt x="48" y="41"/>
                          <a:pt x="48" y="41"/>
                          <a:pt x="48" y="41"/>
                        </a:cubicBezTo>
                        <a:cubicBezTo>
                          <a:pt x="52" y="53"/>
                          <a:pt x="52" y="53"/>
                          <a:pt x="52" y="53"/>
                        </a:cubicBezTo>
                        <a:cubicBezTo>
                          <a:pt x="52" y="54"/>
                          <a:pt x="52" y="55"/>
                          <a:pt x="51" y="56"/>
                        </a:cubicBezTo>
                        <a:cubicBezTo>
                          <a:pt x="51" y="56"/>
                          <a:pt x="50" y="56"/>
                          <a:pt x="50" y="56"/>
                        </a:cubicBezTo>
                        <a:cubicBezTo>
                          <a:pt x="50" y="56"/>
                          <a:pt x="49" y="56"/>
                          <a:pt x="49" y="56"/>
                        </a:cubicBezTo>
                        <a:cubicBezTo>
                          <a:pt x="38" y="49"/>
                          <a:pt x="38" y="49"/>
                          <a:pt x="38" y="49"/>
                        </a:cubicBezTo>
                        <a:cubicBezTo>
                          <a:pt x="27" y="56"/>
                          <a:pt x="27" y="56"/>
                          <a:pt x="27" y="56"/>
                        </a:cubicBezTo>
                        <a:cubicBezTo>
                          <a:pt x="26" y="56"/>
                          <a:pt x="25" y="56"/>
                          <a:pt x="25" y="56"/>
                        </a:cubicBezTo>
                        <a:cubicBezTo>
                          <a:pt x="24" y="55"/>
                          <a:pt x="24" y="54"/>
                          <a:pt x="24" y="53"/>
                        </a:cubicBezTo>
                        <a:cubicBezTo>
                          <a:pt x="28" y="41"/>
                          <a:pt x="28" y="41"/>
                          <a:pt x="28" y="41"/>
                        </a:cubicBezTo>
                        <a:cubicBezTo>
                          <a:pt x="19" y="34"/>
                          <a:pt x="19" y="34"/>
                          <a:pt x="19" y="34"/>
                        </a:cubicBezTo>
                        <a:cubicBezTo>
                          <a:pt x="18" y="33"/>
                          <a:pt x="18" y="32"/>
                          <a:pt x="18" y="31"/>
                        </a:cubicBezTo>
                        <a:cubicBezTo>
                          <a:pt x="18" y="31"/>
                          <a:pt x="19" y="30"/>
                          <a:pt x="20" y="30"/>
                        </a:cubicBezTo>
                        <a:cubicBezTo>
                          <a:pt x="31" y="30"/>
                          <a:pt x="31" y="30"/>
                          <a:pt x="31" y="30"/>
                        </a:cubicBezTo>
                        <a:cubicBezTo>
                          <a:pt x="36" y="19"/>
                          <a:pt x="36" y="19"/>
                          <a:pt x="36" y="19"/>
                        </a:cubicBezTo>
                        <a:cubicBezTo>
                          <a:pt x="37" y="18"/>
                          <a:pt x="39" y="18"/>
                          <a:pt x="40" y="19"/>
                        </a:cubicBezTo>
                        <a:cubicBezTo>
                          <a:pt x="45" y="30"/>
                          <a:pt x="45" y="30"/>
                          <a:pt x="45" y="30"/>
                        </a:cubicBezTo>
                        <a:cubicBezTo>
                          <a:pt x="56" y="30"/>
                          <a:pt x="56" y="30"/>
                          <a:pt x="56" y="30"/>
                        </a:cubicBezTo>
                        <a:cubicBezTo>
                          <a:pt x="57" y="30"/>
                          <a:pt x="58" y="31"/>
                          <a:pt x="58" y="31"/>
                        </a:cubicBezTo>
                        <a:cubicBezTo>
                          <a:pt x="58" y="32"/>
                          <a:pt x="58" y="33"/>
                          <a:pt x="57"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FFFFFF"/>
                      </a:solidFill>
                      <a:effectLst/>
                      <a:uLnTx/>
                      <a:uFillTx/>
                      <a:latin typeface="Arial"/>
                      <a:cs typeface="+mn-cs"/>
                    </a:endParaRPr>
                  </a:p>
                </p:txBody>
              </p:sp>
            </p:grpSp>
            <p:sp>
              <p:nvSpPr>
                <p:cNvPr id="55" name="Rectangle 125">
                  <a:extLst>
                    <a:ext uri="{FF2B5EF4-FFF2-40B4-BE49-F238E27FC236}">
                      <a16:creationId xmlns:a16="http://schemas.microsoft.com/office/drawing/2014/main" id="{7EF204F9-67B3-465C-92BF-BF3152B1597B}"/>
                    </a:ext>
                  </a:extLst>
                </p:cNvPr>
                <p:cNvSpPr/>
                <p:nvPr/>
              </p:nvSpPr>
              <p:spPr>
                <a:xfrm flipH="1">
                  <a:off x="9730981" y="3185749"/>
                  <a:ext cx="1533823" cy="325475"/>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dirty="0">
                      <a:ln>
                        <a:noFill/>
                      </a:ln>
                      <a:solidFill>
                        <a:srgbClr val="FFFFFF"/>
                      </a:solidFill>
                      <a:effectLst/>
                      <a:uLnTx/>
                      <a:uFillTx/>
                      <a:latin typeface="Gill Sans MT" panose="020B0502020104020203" pitchFamily="34" charset="0"/>
                      <a:cs typeface="Segoe UI" panose="020B0502040204020203" pitchFamily="34" charset="0"/>
                    </a:rPr>
                    <a:t>GROWTH</a:t>
                  </a:r>
                </a:p>
              </p:txBody>
            </p:sp>
          </p:grpSp>
        </p:grpSp>
        <p:grpSp>
          <p:nvGrpSpPr>
            <p:cNvPr id="34" name="Group 349">
              <a:extLst>
                <a:ext uri="{FF2B5EF4-FFF2-40B4-BE49-F238E27FC236}">
                  <a16:creationId xmlns:a16="http://schemas.microsoft.com/office/drawing/2014/main" id="{60715E53-5CAE-4748-9377-A5CF8245A33D}"/>
                </a:ext>
              </a:extLst>
            </p:cNvPr>
            <p:cNvGrpSpPr/>
            <p:nvPr/>
          </p:nvGrpSpPr>
          <p:grpSpPr>
            <a:xfrm>
              <a:off x="5062497" y="4955288"/>
              <a:ext cx="361031" cy="361029"/>
              <a:chOff x="-4773034" y="291304"/>
              <a:chExt cx="361031" cy="361029"/>
            </a:xfrm>
          </p:grpSpPr>
          <p:sp>
            <p:nvSpPr>
              <p:cNvPr id="49" name="Oval 295">
                <a:extLst>
                  <a:ext uri="{FF2B5EF4-FFF2-40B4-BE49-F238E27FC236}">
                    <a16:creationId xmlns:a16="http://schemas.microsoft.com/office/drawing/2014/main" id="{C98CCEC1-6119-4E32-BCB0-C232E9CEBEA0}"/>
                  </a:ext>
                </a:extLst>
              </p:cNvPr>
              <p:cNvSpPr/>
              <p:nvPr/>
            </p:nvSpPr>
            <p:spPr>
              <a:xfrm>
                <a:off x="-4773034" y="291304"/>
                <a:ext cx="361031" cy="361029"/>
              </a:xfrm>
              <a:prstGeom prst="ellipse">
                <a:avLst/>
              </a:prstGeom>
              <a:solidFill>
                <a:sysClr val="window" lastClr="FFFFFF"/>
              </a:solidFill>
              <a:ln w="12700" cap="flat" cmpd="sng" algn="ctr">
                <a:noFill/>
                <a:prstDash val="solid"/>
                <a:miter lim="800000"/>
              </a:ln>
              <a:effectLst>
                <a:outerShdw blurRad="215900" sx="104000" sy="104000" algn="ctr" rotWithShape="0">
                  <a:prstClr val="black">
                    <a:alpha val="19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Gill Sans MT" panose="020B0502020104020203" pitchFamily="34" charset="0"/>
                  <a:cs typeface="+mn-cs"/>
                </a:endParaRPr>
              </a:p>
            </p:txBody>
          </p:sp>
          <p:sp>
            <p:nvSpPr>
              <p:cNvPr id="50" name="Freeform 43">
                <a:extLst>
                  <a:ext uri="{FF2B5EF4-FFF2-40B4-BE49-F238E27FC236}">
                    <a16:creationId xmlns:a16="http://schemas.microsoft.com/office/drawing/2014/main" id="{1541D185-59F7-4E59-82BE-B17810534E10}"/>
                  </a:ext>
                </a:extLst>
              </p:cNvPr>
              <p:cNvSpPr>
                <a:spLocks noEditPoints="1"/>
              </p:cNvSpPr>
              <p:nvPr/>
            </p:nvSpPr>
            <p:spPr bwMode="auto">
              <a:xfrm>
                <a:off x="-4677730" y="377275"/>
                <a:ext cx="182882" cy="182878"/>
              </a:xfrm>
              <a:custGeom>
                <a:avLst/>
                <a:gdLst>
                  <a:gd name="T0" fmla="*/ 47 w 48"/>
                  <a:gd name="T1" fmla="*/ 41 h 48"/>
                  <a:gd name="T2" fmla="*/ 36 w 48"/>
                  <a:gd name="T3" fmla="*/ 30 h 48"/>
                  <a:gd name="T4" fmla="*/ 33 w 48"/>
                  <a:gd name="T5" fmla="*/ 28 h 48"/>
                  <a:gd name="T6" fmla="*/ 36 w 48"/>
                  <a:gd name="T7" fmla="*/ 18 h 48"/>
                  <a:gd name="T8" fmla="*/ 18 w 48"/>
                  <a:gd name="T9" fmla="*/ 0 h 48"/>
                  <a:gd name="T10" fmla="*/ 0 w 48"/>
                  <a:gd name="T11" fmla="*/ 18 h 48"/>
                  <a:gd name="T12" fmla="*/ 18 w 48"/>
                  <a:gd name="T13" fmla="*/ 36 h 48"/>
                  <a:gd name="T14" fmla="*/ 28 w 48"/>
                  <a:gd name="T15" fmla="*/ 33 h 48"/>
                  <a:gd name="T16" fmla="*/ 30 w 48"/>
                  <a:gd name="T17" fmla="*/ 36 h 48"/>
                  <a:gd name="T18" fmla="*/ 41 w 48"/>
                  <a:gd name="T19" fmla="*/ 47 h 48"/>
                  <a:gd name="T20" fmla="*/ 47 w 48"/>
                  <a:gd name="T21" fmla="*/ 47 h 48"/>
                  <a:gd name="T22" fmla="*/ 47 w 48"/>
                  <a:gd name="T23" fmla="*/ 41 h 48"/>
                  <a:gd name="T24" fmla="*/ 20 w 48"/>
                  <a:gd name="T25" fmla="*/ 26 h 48"/>
                  <a:gd name="T26" fmla="*/ 18 w 48"/>
                  <a:gd name="T27" fmla="*/ 28 h 48"/>
                  <a:gd name="T28" fmla="*/ 16 w 48"/>
                  <a:gd name="T29" fmla="*/ 26 h 48"/>
                  <a:gd name="T30" fmla="*/ 16 w 48"/>
                  <a:gd name="T31" fmla="*/ 20 h 48"/>
                  <a:gd name="T32" fmla="*/ 10 w 48"/>
                  <a:gd name="T33" fmla="*/ 20 h 48"/>
                  <a:gd name="T34" fmla="*/ 8 w 48"/>
                  <a:gd name="T35" fmla="*/ 18 h 48"/>
                  <a:gd name="T36" fmla="*/ 10 w 48"/>
                  <a:gd name="T37" fmla="*/ 16 h 48"/>
                  <a:gd name="T38" fmla="*/ 16 w 48"/>
                  <a:gd name="T39" fmla="*/ 16 h 48"/>
                  <a:gd name="T40" fmla="*/ 16 w 48"/>
                  <a:gd name="T41" fmla="*/ 10 h 48"/>
                  <a:gd name="T42" fmla="*/ 18 w 48"/>
                  <a:gd name="T43" fmla="*/ 8 h 48"/>
                  <a:gd name="T44" fmla="*/ 20 w 48"/>
                  <a:gd name="T45" fmla="*/ 10 h 48"/>
                  <a:gd name="T46" fmla="*/ 20 w 48"/>
                  <a:gd name="T47" fmla="*/ 16 h 48"/>
                  <a:gd name="T48" fmla="*/ 26 w 48"/>
                  <a:gd name="T49" fmla="*/ 16 h 48"/>
                  <a:gd name="T50" fmla="*/ 28 w 48"/>
                  <a:gd name="T51" fmla="*/ 18 h 48"/>
                  <a:gd name="T52" fmla="*/ 26 w 48"/>
                  <a:gd name="T53" fmla="*/ 20 h 48"/>
                  <a:gd name="T54" fmla="*/ 20 w 48"/>
                  <a:gd name="T55" fmla="*/ 20 h 48"/>
                  <a:gd name="T56" fmla="*/ 20 w 48"/>
                  <a:gd name="T57" fmla="*/ 2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8" h="48">
                    <a:moveTo>
                      <a:pt x="47" y="41"/>
                    </a:moveTo>
                    <a:cubicBezTo>
                      <a:pt x="36" y="30"/>
                      <a:pt x="36" y="30"/>
                      <a:pt x="36" y="30"/>
                    </a:cubicBezTo>
                    <a:cubicBezTo>
                      <a:pt x="33" y="28"/>
                      <a:pt x="33" y="28"/>
                      <a:pt x="33" y="28"/>
                    </a:cubicBezTo>
                    <a:cubicBezTo>
                      <a:pt x="35" y="25"/>
                      <a:pt x="36" y="22"/>
                      <a:pt x="36" y="18"/>
                    </a:cubicBezTo>
                    <a:cubicBezTo>
                      <a:pt x="36" y="8"/>
                      <a:pt x="28" y="0"/>
                      <a:pt x="18" y="0"/>
                    </a:cubicBezTo>
                    <a:cubicBezTo>
                      <a:pt x="8" y="0"/>
                      <a:pt x="0" y="8"/>
                      <a:pt x="0" y="18"/>
                    </a:cubicBezTo>
                    <a:cubicBezTo>
                      <a:pt x="0" y="28"/>
                      <a:pt x="8" y="36"/>
                      <a:pt x="18" y="36"/>
                    </a:cubicBezTo>
                    <a:cubicBezTo>
                      <a:pt x="22" y="36"/>
                      <a:pt x="25" y="35"/>
                      <a:pt x="28" y="33"/>
                    </a:cubicBezTo>
                    <a:cubicBezTo>
                      <a:pt x="30" y="36"/>
                      <a:pt x="30" y="36"/>
                      <a:pt x="30" y="36"/>
                    </a:cubicBezTo>
                    <a:cubicBezTo>
                      <a:pt x="41" y="47"/>
                      <a:pt x="41" y="47"/>
                      <a:pt x="41" y="47"/>
                    </a:cubicBezTo>
                    <a:cubicBezTo>
                      <a:pt x="43" y="48"/>
                      <a:pt x="45" y="48"/>
                      <a:pt x="47" y="47"/>
                    </a:cubicBezTo>
                    <a:cubicBezTo>
                      <a:pt x="48" y="45"/>
                      <a:pt x="48" y="43"/>
                      <a:pt x="47" y="41"/>
                    </a:cubicBezTo>
                    <a:close/>
                    <a:moveTo>
                      <a:pt x="20" y="26"/>
                    </a:moveTo>
                    <a:cubicBezTo>
                      <a:pt x="20" y="27"/>
                      <a:pt x="19" y="28"/>
                      <a:pt x="18" y="28"/>
                    </a:cubicBezTo>
                    <a:cubicBezTo>
                      <a:pt x="17" y="28"/>
                      <a:pt x="16" y="27"/>
                      <a:pt x="16" y="26"/>
                    </a:cubicBezTo>
                    <a:cubicBezTo>
                      <a:pt x="16" y="20"/>
                      <a:pt x="16" y="20"/>
                      <a:pt x="16" y="20"/>
                    </a:cubicBezTo>
                    <a:cubicBezTo>
                      <a:pt x="10" y="20"/>
                      <a:pt x="10" y="20"/>
                      <a:pt x="10" y="20"/>
                    </a:cubicBezTo>
                    <a:cubicBezTo>
                      <a:pt x="9" y="20"/>
                      <a:pt x="8" y="19"/>
                      <a:pt x="8" y="18"/>
                    </a:cubicBezTo>
                    <a:cubicBezTo>
                      <a:pt x="8" y="17"/>
                      <a:pt x="9" y="16"/>
                      <a:pt x="10" y="16"/>
                    </a:cubicBezTo>
                    <a:cubicBezTo>
                      <a:pt x="16" y="16"/>
                      <a:pt x="16" y="16"/>
                      <a:pt x="16" y="16"/>
                    </a:cubicBezTo>
                    <a:cubicBezTo>
                      <a:pt x="16" y="10"/>
                      <a:pt x="16" y="10"/>
                      <a:pt x="16" y="10"/>
                    </a:cubicBezTo>
                    <a:cubicBezTo>
                      <a:pt x="16" y="9"/>
                      <a:pt x="17" y="8"/>
                      <a:pt x="18" y="8"/>
                    </a:cubicBezTo>
                    <a:cubicBezTo>
                      <a:pt x="19" y="8"/>
                      <a:pt x="20" y="9"/>
                      <a:pt x="20" y="10"/>
                    </a:cubicBezTo>
                    <a:cubicBezTo>
                      <a:pt x="20" y="16"/>
                      <a:pt x="20" y="16"/>
                      <a:pt x="20" y="16"/>
                    </a:cubicBezTo>
                    <a:cubicBezTo>
                      <a:pt x="26" y="16"/>
                      <a:pt x="26" y="16"/>
                      <a:pt x="26" y="16"/>
                    </a:cubicBezTo>
                    <a:cubicBezTo>
                      <a:pt x="27" y="16"/>
                      <a:pt x="28" y="17"/>
                      <a:pt x="28" y="18"/>
                    </a:cubicBezTo>
                    <a:cubicBezTo>
                      <a:pt x="28" y="19"/>
                      <a:pt x="27" y="20"/>
                      <a:pt x="26" y="20"/>
                    </a:cubicBezTo>
                    <a:cubicBezTo>
                      <a:pt x="20" y="20"/>
                      <a:pt x="20" y="20"/>
                      <a:pt x="20" y="20"/>
                    </a:cubicBezTo>
                    <a:lnTo>
                      <a:pt x="20" y="26"/>
                    </a:lnTo>
                    <a:close/>
                  </a:path>
                </a:pathLst>
              </a:custGeom>
              <a:gradFill flip="none" rotWithShape="1">
                <a:gsLst>
                  <a:gs pos="100000">
                    <a:schemeClr val="accent1"/>
                  </a:gs>
                  <a:gs pos="0">
                    <a:schemeClr val="accent1"/>
                  </a:gs>
                </a:gsLst>
                <a:lin ang="270000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Arial"/>
                  <a:cs typeface="+mn-cs"/>
                </a:endParaRPr>
              </a:p>
            </p:txBody>
          </p:sp>
        </p:grpSp>
        <p:grpSp>
          <p:nvGrpSpPr>
            <p:cNvPr id="35" name="Group 350">
              <a:extLst>
                <a:ext uri="{FF2B5EF4-FFF2-40B4-BE49-F238E27FC236}">
                  <a16:creationId xmlns:a16="http://schemas.microsoft.com/office/drawing/2014/main" id="{D0ADD55B-D059-4082-872F-414C9B061EF2}"/>
                </a:ext>
              </a:extLst>
            </p:cNvPr>
            <p:cNvGrpSpPr/>
            <p:nvPr/>
          </p:nvGrpSpPr>
          <p:grpSpPr>
            <a:xfrm>
              <a:off x="3380337" y="4200228"/>
              <a:ext cx="361031" cy="361031"/>
              <a:chOff x="-4773034" y="1560595"/>
              <a:chExt cx="361031" cy="361031"/>
            </a:xfrm>
          </p:grpSpPr>
          <p:sp>
            <p:nvSpPr>
              <p:cNvPr id="43" name="Oval 301">
                <a:extLst>
                  <a:ext uri="{FF2B5EF4-FFF2-40B4-BE49-F238E27FC236}">
                    <a16:creationId xmlns:a16="http://schemas.microsoft.com/office/drawing/2014/main" id="{9CABEAF9-8294-406E-AA6C-48016863F89C}"/>
                  </a:ext>
                </a:extLst>
              </p:cNvPr>
              <p:cNvSpPr/>
              <p:nvPr/>
            </p:nvSpPr>
            <p:spPr>
              <a:xfrm flipV="1">
                <a:off x="-4773034" y="1560595"/>
                <a:ext cx="361031" cy="361031"/>
              </a:xfrm>
              <a:prstGeom prst="ellipse">
                <a:avLst/>
              </a:prstGeom>
              <a:solidFill>
                <a:sysClr val="window" lastClr="FFFFFF"/>
              </a:solidFill>
              <a:ln w="12700" cap="flat" cmpd="sng" algn="ctr">
                <a:noFill/>
                <a:prstDash val="solid"/>
                <a:miter lim="800000"/>
              </a:ln>
              <a:effectLst>
                <a:outerShdw blurRad="215900" sx="104000" sy="104000" algn="ctr" rotWithShape="0">
                  <a:prstClr val="black">
                    <a:alpha val="19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Gill Sans MT" panose="020B0502020104020203" pitchFamily="34" charset="0"/>
                  <a:cs typeface="+mn-cs"/>
                </a:endParaRPr>
              </a:p>
            </p:txBody>
          </p:sp>
          <p:grpSp>
            <p:nvGrpSpPr>
              <p:cNvPr id="44" name="Group 312">
                <a:extLst>
                  <a:ext uri="{FF2B5EF4-FFF2-40B4-BE49-F238E27FC236}">
                    <a16:creationId xmlns:a16="http://schemas.microsoft.com/office/drawing/2014/main" id="{60EE87A9-D018-4FB8-8466-84BB3C7BC44C}"/>
                  </a:ext>
                </a:extLst>
              </p:cNvPr>
              <p:cNvGrpSpPr/>
              <p:nvPr/>
            </p:nvGrpSpPr>
            <p:grpSpPr>
              <a:xfrm>
                <a:off x="-4689713" y="1644818"/>
                <a:ext cx="194388" cy="180686"/>
                <a:chOff x="6276975" y="3981450"/>
                <a:chExt cx="360363" cy="334963"/>
              </a:xfrm>
              <a:gradFill>
                <a:gsLst>
                  <a:gs pos="100000">
                    <a:srgbClr val="0098DB"/>
                  </a:gs>
                  <a:gs pos="0">
                    <a:srgbClr val="00497A"/>
                  </a:gs>
                </a:gsLst>
                <a:lin ang="2700000" scaled="1"/>
              </a:gradFill>
            </p:grpSpPr>
            <p:sp>
              <p:nvSpPr>
                <p:cNvPr id="45" name="Freeform 98">
                  <a:extLst>
                    <a:ext uri="{FF2B5EF4-FFF2-40B4-BE49-F238E27FC236}">
                      <a16:creationId xmlns:a16="http://schemas.microsoft.com/office/drawing/2014/main" id="{FE58EFEC-9CA5-44B2-8BEA-D50896AD4102}"/>
                    </a:ext>
                  </a:extLst>
                </p:cNvPr>
                <p:cNvSpPr>
                  <a:spLocks noEditPoints="1"/>
                </p:cNvSpPr>
                <p:nvPr/>
              </p:nvSpPr>
              <p:spPr bwMode="auto">
                <a:xfrm>
                  <a:off x="6472238" y="3981450"/>
                  <a:ext cx="165100" cy="334963"/>
                </a:xfrm>
                <a:custGeom>
                  <a:avLst/>
                  <a:gdLst>
                    <a:gd name="T0" fmla="*/ 14 w 44"/>
                    <a:gd name="T1" fmla="*/ 37 h 89"/>
                    <a:gd name="T2" fmla="*/ 12 w 44"/>
                    <a:gd name="T3" fmla="*/ 39 h 89"/>
                    <a:gd name="T4" fmla="*/ 10 w 44"/>
                    <a:gd name="T5" fmla="*/ 37 h 89"/>
                    <a:gd name="T6" fmla="*/ 0 w 44"/>
                    <a:gd name="T7" fmla="*/ 31 h 89"/>
                    <a:gd name="T8" fmla="*/ 0 w 44"/>
                    <a:gd name="T9" fmla="*/ 67 h 89"/>
                    <a:gd name="T10" fmla="*/ 22 w 44"/>
                    <a:gd name="T11" fmla="*/ 89 h 89"/>
                    <a:gd name="T12" fmla="*/ 44 w 44"/>
                    <a:gd name="T13" fmla="*/ 67 h 89"/>
                    <a:gd name="T14" fmla="*/ 40 w 44"/>
                    <a:gd name="T15" fmla="*/ 54 h 89"/>
                    <a:gd name="T16" fmla="*/ 28 w 44"/>
                    <a:gd name="T17" fmla="*/ 26 h 89"/>
                    <a:gd name="T18" fmla="*/ 27 w 44"/>
                    <a:gd name="T19" fmla="*/ 26 h 89"/>
                    <a:gd name="T20" fmla="*/ 22 w 44"/>
                    <a:gd name="T21" fmla="*/ 20 h 89"/>
                    <a:gd name="T22" fmla="*/ 16 w 44"/>
                    <a:gd name="T23" fmla="*/ 5 h 89"/>
                    <a:gd name="T24" fmla="*/ 15 w 44"/>
                    <a:gd name="T25" fmla="*/ 4 h 89"/>
                    <a:gd name="T26" fmla="*/ 1 w 44"/>
                    <a:gd name="T27" fmla="*/ 4 h 89"/>
                    <a:gd name="T28" fmla="*/ 0 w 44"/>
                    <a:gd name="T29" fmla="*/ 5 h 89"/>
                    <a:gd name="T30" fmla="*/ 0 w 44"/>
                    <a:gd name="T31" fmla="*/ 27 h 89"/>
                    <a:gd name="T32" fmla="*/ 14 w 44"/>
                    <a:gd name="T33" fmla="*/ 37 h 89"/>
                    <a:gd name="T34" fmla="*/ 22 w 44"/>
                    <a:gd name="T35" fmla="*/ 85 h 89"/>
                    <a:gd name="T36" fmla="*/ 4 w 44"/>
                    <a:gd name="T37" fmla="*/ 67 h 89"/>
                    <a:gd name="T38" fmla="*/ 22 w 44"/>
                    <a:gd name="T39" fmla="*/ 49 h 89"/>
                    <a:gd name="T40" fmla="*/ 40 w 44"/>
                    <a:gd name="T41" fmla="*/ 67 h 89"/>
                    <a:gd name="T42" fmla="*/ 22 w 44"/>
                    <a:gd name="T43" fmla="*/ 85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4" h="89">
                      <a:moveTo>
                        <a:pt x="14" y="37"/>
                      </a:moveTo>
                      <a:cubicBezTo>
                        <a:pt x="14" y="38"/>
                        <a:pt x="13" y="39"/>
                        <a:pt x="12" y="39"/>
                      </a:cubicBezTo>
                      <a:cubicBezTo>
                        <a:pt x="11" y="39"/>
                        <a:pt x="10" y="38"/>
                        <a:pt x="10" y="37"/>
                      </a:cubicBezTo>
                      <a:cubicBezTo>
                        <a:pt x="10" y="35"/>
                        <a:pt x="6" y="32"/>
                        <a:pt x="0" y="31"/>
                      </a:cubicBezTo>
                      <a:cubicBezTo>
                        <a:pt x="0" y="67"/>
                        <a:pt x="0" y="67"/>
                        <a:pt x="0" y="67"/>
                      </a:cubicBezTo>
                      <a:cubicBezTo>
                        <a:pt x="0" y="79"/>
                        <a:pt x="10" y="89"/>
                        <a:pt x="22" y="89"/>
                      </a:cubicBezTo>
                      <a:cubicBezTo>
                        <a:pt x="34" y="89"/>
                        <a:pt x="44" y="79"/>
                        <a:pt x="44" y="67"/>
                      </a:cubicBezTo>
                      <a:cubicBezTo>
                        <a:pt x="44" y="62"/>
                        <a:pt x="42" y="58"/>
                        <a:pt x="40" y="54"/>
                      </a:cubicBezTo>
                      <a:cubicBezTo>
                        <a:pt x="28" y="26"/>
                        <a:pt x="28" y="26"/>
                        <a:pt x="28" y="26"/>
                      </a:cubicBezTo>
                      <a:cubicBezTo>
                        <a:pt x="28" y="26"/>
                        <a:pt x="28" y="26"/>
                        <a:pt x="27" y="26"/>
                      </a:cubicBezTo>
                      <a:cubicBezTo>
                        <a:pt x="22" y="20"/>
                        <a:pt x="22" y="20"/>
                        <a:pt x="22" y="20"/>
                      </a:cubicBezTo>
                      <a:cubicBezTo>
                        <a:pt x="16" y="5"/>
                        <a:pt x="16" y="5"/>
                        <a:pt x="16" y="5"/>
                      </a:cubicBezTo>
                      <a:cubicBezTo>
                        <a:pt x="16" y="4"/>
                        <a:pt x="16" y="4"/>
                        <a:pt x="15" y="4"/>
                      </a:cubicBezTo>
                      <a:cubicBezTo>
                        <a:pt x="12" y="0"/>
                        <a:pt x="4" y="0"/>
                        <a:pt x="1" y="4"/>
                      </a:cubicBezTo>
                      <a:cubicBezTo>
                        <a:pt x="0" y="4"/>
                        <a:pt x="0" y="5"/>
                        <a:pt x="0" y="5"/>
                      </a:cubicBezTo>
                      <a:cubicBezTo>
                        <a:pt x="0" y="27"/>
                        <a:pt x="0" y="27"/>
                        <a:pt x="0" y="27"/>
                      </a:cubicBezTo>
                      <a:cubicBezTo>
                        <a:pt x="8" y="28"/>
                        <a:pt x="14" y="32"/>
                        <a:pt x="14" y="37"/>
                      </a:cubicBezTo>
                      <a:close/>
                      <a:moveTo>
                        <a:pt x="22" y="85"/>
                      </a:moveTo>
                      <a:cubicBezTo>
                        <a:pt x="12" y="85"/>
                        <a:pt x="4" y="77"/>
                        <a:pt x="4" y="67"/>
                      </a:cubicBezTo>
                      <a:cubicBezTo>
                        <a:pt x="4" y="57"/>
                        <a:pt x="12" y="49"/>
                        <a:pt x="22" y="49"/>
                      </a:cubicBezTo>
                      <a:cubicBezTo>
                        <a:pt x="32" y="49"/>
                        <a:pt x="40" y="57"/>
                        <a:pt x="40" y="67"/>
                      </a:cubicBezTo>
                      <a:cubicBezTo>
                        <a:pt x="40" y="77"/>
                        <a:pt x="32" y="85"/>
                        <a:pt x="22" y="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Arial"/>
                    <a:cs typeface="+mn-cs"/>
                  </a:endParaRPr>
                </a:p>
              </p:txBody>
            </p:sp>
            <p:sp>
              <p:nvSpPr>
                <p:cNvPr id="46" name="Freeform 99">
                  <a:extLst>
                    <a:ext uri="{FF2B5EF4-FFF2-40B4-BE49-F238E27FC236}">
                      <a16:creationId xmlns:a16="http://schemas.microsoft.com/office/drawing/2014/main" id="{4AF0BCEB-D5AE-407C-A2C5-6B548DF141DF}"/>
                    </a:ext>
                  </a:extLst>
                </p:cNvPr>
                <p:cNvSpPr>
                  <a:spLocks noEditPoints="1"/>
                </p:cNvSpPr>
                <p:nvPr/>
              </p:nvSpPr>
              <p:spPr bwMode="auto">
                <a:xfrm>
                  <a:off x="6276975" y="3981450"/>
                  <a:ext cx="165100" cy="334963"/>
                </a:xfrm>
                <a:custGeom>
                  <a:avLst/>
                  <a:gdLst>
                    <a:gd name="T0" fmla="*/ 0 w 44"/>
                    <a:gd name="T1" fmla="*/ 67 h 89"/>
                    <a:gd name="T2" fmla="*/ 22 w 44"/>
                    <a:gd name="T3" fmla="*/ 89 h 89"/>
                    <a:gd name="T4" fmla="*/ 44 w 44"/>
                    <a:gd name="T5" fmla="*/ 67 h 89"/>
                    <a:gd name="T6" fmla="*/ 44 w 44"/>
                    <a:gd name="T7" fmla="*/ 31 h 89"/>
                    <a:gd name="T8" fmla="*/ 34 w 44"/>
                    <a:gd name="T9" fmla="*/ 37 h 89"/>
                    <a:gd name="T10" fmla="*/ 32 w 44"/>
                    <a:gd name="T11" fmla="*/ 39 h 89"/>
                    <a:gd name="T12" fmla="*/ 30 w 44"/>
                    <a:gd name="T13" fmla="*/ 37 h 89"/>
                    <a:gd name="T14" fmla="*/ 44 w 44"/>
                    <a:gd name="T15" fmla="*/ 27 h 89"/>
                    <a:gd name="T16" fmla="*/ 44 w 44"/>
                    <a:gd name="T17" fmla="*/ 5 h 89"/>
                    <a:gd name="T18" fmla="*/ 43 w 44"/>
                    <a:gd name="T19" fmla="*/ 4 h 89"/>
                    <a:gd name="T20" fmla="*/ 29 w 44"/>
                    <a:gd name="T21" fmla="*/ 4 h 89"/>
                    <a:gd name="T22" fmla="*/ 28 w 44"/>
                    <a:gd name="T23" fmla="*/ 4 h 89"/>
                    <a:gd name="T24" fmla="*/ 22 w 44"/>
                    <a:gd name="T25" fmla="*/ 20 h 89"/>
                    <a:gd name="T26" fmla="*/ 17 w 44"/>
                    <a:gd name="T27" fmla="*/ 26 h 89"/>
                    <a:gd name="T28" fmla="*/ 16 w 44"/>
                    <a:gd name="T29" fmla="*/ 26 h 89"/>
                    <a:gd name="T30" fmla="*/ 4 w 44"/>
                    <a:gd name="T31" fmla="*/ 54 h 89"/>
                    <a:gd name="T32" fmla="*/ 0 w 44"/>
                    <a:gd name="T33" fmla="*/ 67 h 89"/>
                    <a:gd name="T34" fmla="*/ 22 w 44"/>
                    <a:gd name="T35" fmla="*/ 85 h 89"/>
                    <a:gd name="T36" fmla="*/ 4 w 44"/>
                    <a:gd name="T37" fmla="*/ 67 h 89"/>
                    <a:gd name="T38" fmla="*/ 22 w 44"/>
                    <a:gd name="T39" fmla="*/ 49 h 89"/>
                    <a:gd name="T40" fmla="*/ 40 w 44"/>
                    <a:gd name="T41" fmla="*/ 67 h 89"/>
                    <a:gd name="T42" fmla="*/ 22 w 44"/>
                    <a:gd name="T43" fmla="*/ 85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4" h="89">
                      <a:moveTo>
                        <a:pt x="0" y="67"/>
                      </a:moveTo>
                      <a:cubicBezTo>
                        <a:pt x="0" y="79"/>
                        <a:pt x="10" y="89"/>
                        <a:pt x="22" y="89"/>
                      </a:cubicBezTo>
                      <a:cubicBezTo>
                        <a:pt x="34" y="89"/>
                        <a:pt x="44" y="79"/>
                        <a:pt x="44" y="67"/>
                      </a:cubicBezTo>
                      <a:cubicBezTo>
                        <a:pt x="44" y="31"/>
                        <a:pt x="44" y="31"/>
                        <a:pt x="44" y="31"/>
                      </a:cubicBezTo>
                      <a:cubicBezTo>
                        <a:pt x="38" y="32"/>
                        <a:pt x="34" y="35"/>
                        <a:pt x="34" y="37"/>
                      </a:cubicBezTo>
                      <a:cubicBezTo>
                        <a:pt x="34" y="38"/>
                        <a:pt x="33" y="39"/>
                        <a:pt x="32" y="39"/>
                      </a:cubicBezTo>
                      <a:cubicBezTo>
                        <a:pt x="31" y="39"/>
                        <a:pt x="30" y="38"/>
                        <a:pt x="30" y="37"/>
                      </a:cubicBezTo>
                      <a:cubicBezTo>
                        <a:pt x="30" y="32"/>
                        <a:pt x="36" y="28"/>
                        <a:pt x="44" y="27"/>
                      </a:cubicBezTo>
                      <a:cubicBezTo>
                        <a:pt x="44" y="5"/>
                        <a:pt x="44" y="5"/>
                        <a:pt x="44" y="5"/>
                      </a:cubicBezTo>
                      <a:cubicBezTo>
                        <a:pt x="44" y="5"/>
                        <a:pt x="44" y="4"/>
                        <a:pt x="43" y="4"/>
                      </a:cubicBezTo>
                      <a:cubicBezTo>
                        <a:pt x="40" y="0"/>
                        <a:pt x="32" y="0"/>
                        <a:pt x="29" y="4"/>
                      </a:cubicBezTo>
                      <a:cubicBezTo>
                        <a:pt x="28" y="4"/>
                        <a:pt x="28" y="4"/>
                        <a:pt x="28" y="4"/>
                      </a:cubicBezTo>
                      <a:cubicBezTo>
                        <a:pt x="22" y="20"/>
                        <a:pt x="22" y="20"/>
                        <a:pt x="22" y="20"/>
                      </a:cubicBezTo>
                      <a:cubicBezTo>
                        <a:pt x="17" y="26"/>
                        <a:pt x="17" y="26"/>
                        <a:pt x="17" y="26"/>
                      </a:cubicBezTo>
                      <a:cubicBezTo>
                        <a:pt x="16" y="26"/>
                        <a:pt x="16" y="26"/>
                        <a:pt x="16" y="26"/>
                      </a:cubicBezTo>
                      <a:cubicBezTo>
                        <a:pt x="4" y="54"/>
                        <a:pt x="4" y="54"/>
                        <a:pt x="4" y="54"/>
                      </a:cubicBezTo>
                      <a:cubicBezTo>
                        <a:pt x="2" y="58"/>
                        <a:pt x="0" y="62"/>
                        <a:pt x="0" y="67"/>
                      </a:cubicBezTo>
                      <a:close/>
                      <a:moveTo>
                        <a:pt x="22" y="85"/>
                      </a:moveTo>
                      <a:cubicBezTo>
                        <a:pt x="12" y="85"/>
                        <a:pt x="4" y="77"/>
                        <a:pt x="4" y="67"/>
                      </a:cubicBezTo>
                      <a:cubicBezTo>
                        <a:pt x="4" y="57"/>
                        <a:pt x="12" y="49"/>
                        <a:pt x="22" y="49"/>
                      </a:cubicBezTo>
                      <a:cubicBezTo>
                        <a:pt x="32" y="49"/>
                        <a:pt x="40" y="57"/>
                        <a:pt x="40" y="67"/>
                      </a:cubicBezTo>
                      <a:cubicBezTo>
                        <a:pt x="40" y="77"/>
                        <a:pt x="32" y="85"/>
                        <a:pt x="22" y="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Arial"/>
                    <a:cs typeface="+mn-cs"/>
                  </a:endParaRPr>
                </a:p>
              </p:txBody>
            </p:sp>
            <p:sp>
              <p:nvSpPr>
                <p:cNvPr id="47" name="Freeform 100">
                  <a:extLst>
                    <a:ext uri="{FF2B5EF4-FFF2-40B4-BE49-F238E27FC236}">
                      <a16:creationId xmlns:a16="http://schemas.microsoft.com/office/drawing/2014/main" id="{C0DEEC62-A746-4873-954F-AC105B99FF17}"/>
                    </a:ext>
                  </a:extLst>
                </p:cNvPr>
                <p:cNvSpPr>
                  <a:spLocks/>
                </p:cNvSpPr>
                <p:nvPr/>
              </p:nvSpPr>
              <p:spPr bwMode="auto">
                <a:xfrm>
                  <a:off x="6307138" y="4181475"/>
                  <a:ext cx="58738" cy="60325"/>
                </a:xfrm>
                <a:custGeom>
                  <a:avLst/>
                  <a:gdLst>
                    <a:gd name="T0" fmla="*/ 14 w 16"/>
                    <a:gd name="T1" fmla="*/ 4 h 16"/>
                    <a:gd name="T2" fmla="*/ 16 w 16"/>
                    <a:gd name="T3" fmla="*/ 2 h 16"/>
                    <a:gd name="T4" fmla="*/ 14 w 16"/>
                    <a:gd name="T5" fmla="*/ 0 h 16"/>
                    <a:gd name="T6" fmla="*/ 0 w 16"/>
                    <a:gd name="T7" fmla="*/ 14 h 16"/>
                    <a:gd name="T8" fmla="*/ 2 w 16"/>
                    <a:gd name="T9" fmla="*/ 16 h 16"/>
                    <a:gd name="T10" fmla="*/ 4 w 16"/>
                    <a:gd name="T11" fmla="*/ 14 h 16"/>
                    <a:gd name="T12" fmla="*/ 14 w 16"/>
                    <a:gd name="T13" fmla="*/ 4 h 16"/>
                  </a:gdLst>
                  <a:ahLst/>
                  <a:cxnLst>
                    <a:cxn ang="0">
                      <a:pos x="T0" y="T1"/>
                    </a:cxn>
                    <a:cxn ang="0">
                      <a:pos x="T2" y="T3"/>
                    </a:cxn>
                    <a:cxn ang="0">
                      <a:pos x="T4" y="T5"/>
                    </a:cxn>
                    <a:cxn ang="0">
                      <a:pos x="T6" y="T7"/>
                    </a:cxn>
                    <a:cxn ang="0">
                      <a:pos x="T8" y="T9"/>
                    </a:cxn>
                    <a:cxn ang="0">
                      <a:pos x="T10" y="T11"/>
                    </a:cxn>
                    <a:cxn ang="0">
                      <a:pos x="T12" y="T13"/>
                    </a:cxn>
                  </a:cxnLst>
                  <a:rect l="0" t="0" r="r" b="b"/>
                  <a:pathLst>
                    <a:path w="16" h="16">
                      <a:moveTo>
                        <a:pt x="14" y="4"/>
                      </a:moveTo>
                      <a:cubicBezTo>
                        <a:pt x="15" y="4"/>
                        <a:pt x="16" y="3"/>
                        <a:pt x="16" y="2"/>
                      </a:cubicBezTo>
                      <a:cubicBezTo>
                        <a:pt x="16" y="1"/>
                        <a:pt x="15" y="0"/>
                        <a:pt x="14" y="0"/>
                      </a:cubicBezTo>
                      <a:cubicBezTo>
                        <a:pt x="6" y="0"/>
                        <a:pt x="0" y="6"/>
                        <a:pt x="0" y="14"/>
                      </a:cubicBezTo>
                      <a:cubicBezTo>
                        <a:pt x="0" y="15"/>
                        <a:pt x="1" y="16"/>
                        <a:pt x="2" y="16"/>
                      </a:cubicBezTo>
                      <a:cubicBezTo>
                        <a:pt x="3" y="16"/>
                        <a:pt x="4" y="15"/>
                        <a:pt x="4" y="14"/>
                      </a:cubicBezTo>
                      <a:cubicBezTo>
                        <a:pt x="4" y="9"/>
                        <a:pt x="8" y="4"/>
                        <a:pt x="1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Arial"/>
                    <a:cs typeface="+mn-cs"/>
                  </a:endParaRPr>
                </a:p>
              </p:txBody>
            </p:sp>
            <p:sp>
              <p:nvSpPr>
                <p:cNvPr id="48" name="Freeform 101">
                  <a:extLst>
                    <a:ext uri="{FF2B5EF4-FFF2-40B4-BE49-F238E27FC236}">
                      <a16:creationId xmlns:a16="http://schemas.microsoft.com/office/drawing/2014/main" id="{DB00BC1D-D358-4DDF-8F16-4D8144794FBC}"/>
                    </a:ext>
                  </a:extLst>
                </p:cNvPr>
                <p:cNvSpPr>
                  <a:spLocks/>
                </p:cNvSpPr>
                <p:nvPr/>
              </p:nvSpPr>
              <p:spPr bwMode="auto">
                <a:xfrm>
                  <a:off x="6502400" y="4181475"/>
                  <a:ext cx="58738" cy="60325"/>
                </a:xfrm>
                <a:custGeom>
                  <a:avLst/>
                  <a:gdLst>
                    <a:gd name="T0" fmla="*/ 14 w 16"/>
                    <a:gd name="T1" fmla="*/ 4 h 16"/>
                    <a:gd name="T2" fmla="*/ 16 w 16"/>
                    <a:gd name="T3" fmla="*/ 2 h 16"/>
                    <a:gd name="T4" fmla="*/ 14 w 16"/>
                    <a:gd name="T5" fmla="*/ 0 h 16"/>
                    <a:gd name="T6" fmla="*/ 0 w 16"/>
                    <a:gd name="T7" fmla="*/ 14 h 16"/>
                    <a:gd name="T8" fmla="*/ 2 w 16"/>
                    <a:gd name="T9" fmla="*/ 16 h 16"/>
                    <a:gd name="T10" fmla="*/ 4 w 16"/>
                    <a:gd name="T11" fmla="*/ 14 h 16"/>
                    <a:gd name="T12" fmla="*/ 14 w 16"/>
                    <a:gd name="T13" fmla="*/ 4 h 16"/>
                  </a:gdLst>
                  <a:ahLst/>
                  <a:cxnLst>
                    <a:cxn ang="0">
                      <a:pos x="T0" y="T1"/>
                    </a:cxn>
                    <a:cxn ang="0">
                      <a:pos x="T2" y="T3"/>
                    </a:cxn>
                    <a:cxn ang="0">
                      <a:pos x="T4" y="T5"/>
                    </a:cxn>
                    <a:cxn ang="0">
                      <a:pos x="T6" y="T7"/>
                    </a:cxn>
                    <a:cxn ang="0">
                      <a:pos x="T8" y="T9"/>
                    </a:cxn>
                    <a:cxn ang="0">
                      <a:pos x="T10" y="T11"/>
                    </a:cxn>
                    <a:cxn ang="0">
                      <a:pos x="T12" y="T13"/>
                    </a:cxn>
                  </a:cxnLst>
                  <a:rect l="0" t="0" r="r" b="b"/>
                  <a:pathLst>
                    <a:path w="16" h="16">
                      <a:moveTo>
                        <a:pt x="14" y="4"/>
                      </a:moveTo>
                      <a:cubicBezTo>
                        <a:pt x="15" y="4"/>
                        <a:pt x="16" y="3"/>
                        <a:pt x="16" y="2"/>
                      </a:cubicBezTo>
                      <a:cubicBezTo>
                        <a:pt x="16" y="1"/>
                        <a:pt x="15" y="0"/>
                        <a:pt x="14" y="0"/>
                      </a:cubicBezTo>
                      <a:cubicBezTo>
                        <a:pt x="6" y="0"/>
                        <a:pt x="0" y="6"/>
                        <a:pt x="0" y="14"/>
                      </a:cubicBezTo>
                      <a:cubicBezTo>
                        <a:pt x="0" y="15"/>
                        <a:pt x="1" y="16"/>
                        <a:pt x="2" y="16"/>
                      </a:cubicBezTo>
                      <a:cubicBezTo>
                        <a:pt x="3" y="16"/>
                        <a:pt x="4" y="15"/>
                        <a:pt x="4" y="14"/>
                      </a:cubicBezTo>
                      <a:cubicBezTo>
                        <a:pt x="4" y="9"/>
                        <a:pt x="8" y="4"/>
                        <a:pt x="1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Arial"/>
                    <a:cs typeface="+mn-cs"/>
                  </a:endParaRPr>
                </a:p>
              </p:txBody>
            </p:sp>
          </p:grpSp>
        </p:grpSp>
        <p:grpSp>
          <p:nvGrpSpPr>
            <p:cNvPr id="36" name="Group 346">
              <a:extLst>
                <a:ext uri="{FF2B5EF4-FFF2-40B4-BE49-F238E27FC236}">
                  <a16:creationId xmlns:a16="http://schemas.microsoft.com/office/drawing/2014/main" id="{F3D07F01-5E7E-4F4A-B4A0-ECDDDA590A98}"/>
                </a:ext>
              </a:extLst>
            </p:cNvPr>
            <p:cNvGrpSpPr/>
            <p:nvPr/>
          </p:nvGrpSpPr>
          <p:grpSpPr>
            <a:xfrm>
              <a:off x="6603915" y="5776184"/>
              <a:ext cx="361031" cy="361031"/>
              <a:chOff x="-2161254" y="2259960"/>
              <a:chExt cx="361031" cy="361031"/>
            </a:xfrm>
          </p:grpSpPr>
          <p:sp>
            <p:nvSpPr>
              <p:cNvPr id="41" name="Oval 286">
                <a:extLst>
                  <a:ext uri="{FF2B5EF4-FFF2-40B4-BE49-F238E27FC236}">
                    <a16:creationId xmlns:a16="http://schemas.microsoft.com/office/drawing/2014/main" id="{225F28D6-326A-4E63-99E1-CD91D0DEF2F8}"/>
                  </a:ext>
                </a:extLst>
              </p:cNvPr>
              <p:cNvSpPr/>
              <p:nvPr/>
            </p:nvSpPr>
            <p:spPr>
              <a:xfrm flipV="1">
                <a:off x="-2161254" y="2259960"/>
                <a:ext cx="361031" cy="361031"/>
              </a:xfrm>
              <a:prstGeom prst="ellipse">
                <a:avLst/>
              </a:prstGeom>
              <a:solidFill>
                <a:sysClr val="window" lastClr="FFFFFF"/>
              </a:solidFill>
              <a:ln w="12700" cap="flat" cmpd="sng" algn="ctr">
                <a:noFill/>
                <a:prstDash val="solid"/>
                <a:miter lim="800000"/>
              </a:ln>
              <a:effectLst>
                <a:outerShdw blurRad="215900" sx="104000" sy="104000" algn="ctr" rotWithShape="0">
                  <a:prstClr val="black">
                    <a:alpha val="19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Gill Sans MT" panose="020B0502020104020203" pitchFamily="34" charset="0"/>
                  <a:cs typeface="+mn-cs"/>
                </a:endParaRPr>
              </a:p>
            </p:txBody>
          </p:sp>
          <p:sp>
            <p:nvSpPr>
              <p:cNvPr id="42" name="Freeform 69">
                <a:extLst>
                  <a:ext uri="{FF2B5EF4-FFF2-40B4-BE49-F238E27FC236}">
                    <a16:creationId xmlns:a16="http://schemas.microsoft.com/office/drawing/2014/main" id="{6057EFBF-949B-4615-A493-F8BA166297C6}"/>
                  </a:ext>
                </a:extLst>
              </p:cNvPr>
              <p:cNvSpPr>
                <a:spLocks noEditPoints="1"/>
              </p:cNvSpPr>
              <p:nvPr/>
            </p:nvSpPr>
            <p:spPr bwMode="auto">
              <a:xfrm>
                <a:off x="-2087145" y="2333606"/>
                <a:ext cx="212812" cy="213738"/>
              </a:xfrm>
              <a:custGeom>
                <a:avLst/>
                <a:gdLst>
                  <a:gd name="T0" fmla="*/ 83 w 97"/>
                  <a:gd name="T1" fmla="*/ 41 h 97"/>
                  <a:gd name="T2" fmla="*/ 79 w 97"/>
                  <a:gd name="T3" fmla="*/ 31 h 97"/>
                  <a:gd name="T4" fmla="*/ 94 w 97"/>
                  <a:gd name="T5" fmla="*/ 2 h 97"/>
                  <a:gd name="T6" fmla="*/ 71 w 97"/>
                  <a:gd name="T7" fmla="*/ 21 h 97"/>
                  <a:gd name="T8" fmla="*/ 56 w 97"/>
                  <a:gd name="T9" fmla="*/ 14 h 97"/>
                  <a:gd name="T10" fmla="*/ 54 w 97"/>
                  <a:gd name="T11" fmla="*/ 1 h 97"/>
                  <a:gd name="T12" fmla="*/ 40 w 97"/>
                  <a:gd name="T13" fmla="*/ 3 h 97"/>
                  <a:gd name="T14" fmla="*/ 31 w 97"/>
                  <a:gd name="T15" fmla="*/ 18 h 97"/>
                  <a:gd name="T16" fmla="*/ 20 w 97"/>
                  <a:gd name="T17" fmla="*/ 9 h 97"/>
                  <a:gd name="T18" fmla="*/ 8 w 97"/>
                  <a:gd name="T19" fmla="*/ 22 h 97"/>
                  <a:gd name="T20" fmla="*/ 17 w 97"/>
                  <a:gd name="T21" fmla="*/ 32 h 97"/>
                  <a:gd name="T22" fmla="*/ 2 w 97"/>
                  <a:gd name="T23" fmla="*/ 41 h 97"/>
                  <a:gd name="T24" fmla="*/ 0 w 97"/>
                  <a:gd name="T25" fmla="*/ 55 h 97"/>
                  <a:gd name="T26" fmla="*/ 13 w 97"/>
                  <a:gd name="T27" fmla="*/ 57 h 97"/>
                  <a:gd name="T28" fmla="*/ 8 w 97"/>
                  <a:gd name="T29" fmla="*/ 74 h 97"/>
                  <a:gd name="T30" fmla="*/ 8 w 97"/>
                  <a:gd name="T31" fmla="*/ 77 h 97"/>
                  <a:gd name="T32" fmla="*/ 23 w 97"/>
                  <a:gd name="T33" fmla="*/ 89 h 97"/>
                  <a:gd name="T34" fmla="*/ 40 w 97"/>
                  <a:gd name="T35" fmla="*/ 84 h 97"/>
                  <a:gd name="T36" fmla="*/ 42 w 97"/>
                  <a:gd name="T37" fmla="*/ 97 h 97"/>
                  <a:gd name="T38" fmla="*/ 56 w 97"/>
                  <a:gd name="T39" fmla="*/ 95 h 97"/>
                  <a:gd name="T40" fmla="*/ 65 w 97"/>
                  <a:gd name="T41" fmla="*/ 80 h 97"/>
                  <a:gd name="T42" fmla="*/ 76 w 97"/>
                  <a:gd name="T43" fmla="*/ 89 h 97"/>
                  <a:gd name="T44" fmla="*/ 88 w 97"/>
                  <a:gd name="T45" fmla="*/ 74 h 97"/>
                  <a:gd name="T46" fmla="*/ 83 w 97"/>
                  <a:gd name="T47" fmla="*/ 57 h 97"/>
                  <a:gd name="T48" fmla="*/ 96 w 97"/>
                  <a:gd name="T49" fmla="*/ 55 h 97"/>
                  <a:gd name="T50" fmla="*/ 94 w 97"/>
                  <a:gd name="T51" fmla="*/ 41 h 97"/>
                  <a:gd name="T52" fmla="*/ 49 w 97"/>
                  <a:gd name="T53" fmla="*/ 60 h 97"/>
                  <a:gd name="T54" fmla="*/ 48 w 97"/>
                  <a:gd name="T55" fmla="*/ 60 h 97"/>
                  <a:gd name="T56" fmla="*/ 30 w 97"/>
                  <a:gd name="T57" fmla="*/ 39 h 97"/>
                  <a:gd name="T58" fmla="*/ 49 w 97"/>
                  <a:gd name="T59" fmla="*/ 56 h 97"/>
                  <a:gd name="T60" fmla="*/ 91 w 97"/>
                  <a:gd name="T61" fmla="*/ 5 h 97"/>
                  <a:gd name="T62" fmla="*/ 51 w 97"/>
                  <a:gd name="T63" fmla="*/ 6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7" h="97">
                    <a:moveTo>
                      <a:pt x="94" y="41"/>
                    </a:moveTo>
                    <a:cubicBezTo>
                      <a:pt x="83" y="41"/>
                      <a:pt x="83" y="41"/>
                      <a:pt x="83" y="41"/>
                    </a:cubicBezTo>
                    <a:cubicBezTo>
                      <a:pt x="82" y="39"/>
                      <a:pt x="82" y="37"/>
                      <a:pt x="81" y="35"/>
                    </a:cubicBezTo>
                    <a:cubicBezTo>
                      <a:pt x="80" y="34"/>
                      <a:pt x="79" y="32"/>
                      <a:pt x="79" y="31"/>
                    </a:cubicBezTo>
                    <a:cubicBezTo>
                      <a:pt x="95" y="11"/>
                      <a:pt x="95" y="11"/>
                      <a:pt x="95" y="11"/>
                    </a:cubicBezTo>
                    <a:cubicBezTo>
                      <a:pt x="97" y="8"/>
                      <a:pt x="96" y="4"/>
                      <a:pt x="94" y="2"/>
                    </a:cubicBezTo>
                    <a:cubicBezTo>
                      <a:pt x="91" y="0"/>
                      <a:pt x="87" y="1"/>
                      <a:pt x="85" y="3"/>
                    </a:cubicBezTo>
                    <a:cubicBezTo>
                      <a:pt x="71" y="21"/>
                      <a:pt x="71" y="21"/>
                      <a:pt x="71" y="21"/>
                    </a:cubicBezTo>
                    <a:cubicBezTo>
                      <a:pt x="70" y="20"/>
                      <a:pt x="68" y="19"/>
                      <a:pt x="67" y="18"/>
                    </a:cubicBezTo>
                    <a:cubicBezTo>
                      <a:pt x="64" y="17"/>
                      <a:pt x="60" y="15"/>
                      <a:pt x="56" y="14"/>
                    </a:cubicBezTo>
                    <a:cubicBezTo>
                      <a:pt x="56" y="3"/>
                      <a:pt x="56" y="3"/>
                      <a:pt x="56" y="3"/>
                    </a:cubicBezTo>
                    <a:cubicBezTo>
                      <a:pt x="56" y="2"/>
                      <a:pt x="55" y="1"/>
                      <a:pt x="54" y="1"/>
                    </a:cubicBezTo>
                    <a:cubicBezTo>
                      <a:pt x="42" y="1"/>
                      <a:pt x="42" y="1"/>
                      <a:pt x="42" y="1"/>
                    </a:cubicBezTo>
                    <a:cubicBezTo>
                      <a:pt x="41" y="1"/>
                      <a:pt x="40" y="2"/>
                      <a:pt x="40" y="3"/>
                    </a:cubicBezTo>
                    <a:cubicBezTo>
                      <a:pt x="40" y="14"/>
                      <a:pt x="40" y="14"/>
                      <a:pt x="40" y="14"/>
                    </a:cubicBezTo>
                    <a:cubicBezTo>
                      <a:pt x="37" y="15"/>
                      <a:pt x="33" y="16"/>
                      <a:pt x="31" y="18"/>
                    </a:cubicBezTo>
                    <a:cubicBezTo>
                      <a:pt x="23" y="9"/>
                      <a:pt x="23" y="9"/>
                      <a:pt x="23" y="9"/>
                    </a:cubicBezTo>
                    <a:cubicBezTo>
                      <a:pt x="22" y="9"/>
                      <a:pt x="20" y="9"/>
                      <a:pt x="20" y="9"/>
                    </a:cubicBezTo>
                    <a:cubicBezTo>
                      <a:pt x="8" y="21"/>
                      <a:pt x="8" y="21"/>
                      <a:pt x="8" y="21"/>
                    </a:cubicBezTo>
                    <a:cubicBezTo>
                      <a:pt x="8" y="21"/>
                      <a:pt x="8" y="22"/>
                      <a:pt x="8" y="22"/>
                    </a:cubicBezTo>
                    <a:cubicBezTo>
                      <a:pt x="8" y="23"/>
                      <a:pt x="8" y="23"/>
                      <a:pt x="8" y="24"/>
                    </a:cubicBezTo>
                    <a:cubicBezTo>
                      <a:pt x="17" y="32"/>
                      <a:pt x="17" y="32"/>
                      <a:pt x="17" y="32"/>
                    </a:cubicBezTo>
                    <a:cubicBezTo>
                      <a:pt x="15" y="34"/>
                      <a:pt x="14" y="38"/>
                      <a:pt x="13" y="41"/>
                    </a:cubicBezTo>
                    <a:cubicBezTo>
                      <a:pt x="2" y="41"/>
                      <a:pt x="2" y="41"/>
                      <a:pt x="2" y="41"/>
                    </a:cubicBezTo>
                    <a:cubicBezTo>
                      <a:pt x="1" y="41"/>
                      <a:pt x="0" y="42"/>
                      <a:pt x="0" y="43"/>
                    </a:cubicBezTo>
                    <a:cubicBezTo>
                      <a:pt x="0" y="55"/>
                      <a:pt x="0" y="55"/>
                      <a:pt x="0" y="55"/>
                    </a:cubicBezTo>
                    <a:cubicBezTo>
                      <a:pt x="0" y="56"/>
                      <a:pt x="1" y="57"/>
                      <a:pt x="2" y="57"/>
                    </a:cubicBezTo>
                    <a:cubicBezTo>
                      <a:pt x="13" y="57"/>
                      <a:pt x="13" y="57"/>
                      <a:pt x="13" y="57"/>
                    </a:cubicBezTo>
                    <a:cubicBezTo>
                      <a:pt x="14" y="60"/>
                      <a:pt x="15" y="64"/>
                      <a:pt x="17" y="66"/>
                    </a:cubicBezTo>
                    <a:cubicBezTo>
                      <a:pt x="8" y="74"/>
                      <a:pt x="8" y="74"/>
                      <a:pt x="8" y="74"/>
                    </a:cubicBezTo>
                    <a:cubicBezTo>
                      <a:pt x="8" y="75"/>
                      <a:pt x="8" y="75"/>
                      <a:pt x="8" y="76"/>
                    </a:cubicBezTo>
                    <a:cubicBezTo>
                      <a:pt x="8" y="76"/>
                      <a:pt x="8" y="77"/>
                      <a:pt x="8" y="77"/>
                    </a:cubicBezTo>
                    <a:cubicBezTo>
                      <a:pt x="20" y="89"/>
                      <a:pt x="20" y="89"/>
                      <a:pt x="20" y="89"/>
                    </a:cubicBezTo>
                    <a:cubicBezTo>
                      <a:pt x="20" y="89"/>
                      <a:pt x="22" y="89"/>
                      <a:pt x="23" y="89"/>
                    </a:cubicBezTo>
                    <a:cubicBezTo>
                      <a:pt x="31" y="80"/>
                      <a:pt x="31" y="80"/>
                      <a:pt x="31" y="80"/>
                    </a:cubicBezTo>
                    <a:cubicBezTo>
                      <a:pt x="33" y="82"/>
                      <a:pt x="37" y="83"/>
                      <a:pt x="40" y="84"/>
                    </a:cubicBezTo>
                    <a:cubicBezTo>
                      <a:pt x="40" y="95"/>
                      <a:pt x="40" y="95"/>
                      <a:pt x="40" y="95"/>
                    </a:cubicBezTo>
                    <a:cubicBezTo>
                      <a:pt x="40" y="96"/>
                      <a:pt x="41" y="97"/>
                      <a:pt x="42" y="97"/>
                    </a:cubicBezTo>
                    <a:cubicBezTo>
                      <a:pt x="54" y="97"/>
                      <a:pt x="54" y="97"/>
                      <a:pt x="54" y="97"/>
                    </a:cubicBezTo>
                    <a:cubicBezTo>
                      <a:pt x="55" y="97"/>
                      <a:pt x="56" y="96"/>
                      <a:pt x="56" y="95"/>
                    </a:cubicBezTo>
                    <a:cubicBezTo>
                      <a:pt x="56" y="84"/>
                      <a:pt x="56" y="84"/>
                      <a:pt x="56" y="84"/>
                    </a:cubicBezTo>
                    <a:cubicBezTo>
                      <a:pt x="59" y="83"/>
                      <a:pt x="63" y="82"/>
                      <a:pt x="65" y="80"/>
                    </a:cubicBezTo>
                    <a:cubicBezTo>
                      <a:pt x="73" y="89"/>
                      <a:pt x="73" y="89"/>
                      <a:pt x="73" y="89"/>
                    </a:cubicBezTo>
                    <a:cubicBezTo>
                      <a:pt x="74" y="89"/>
                      <a:pt x="76" y="89"/>
                      <a:pt x="76" y="89"/>
                    </a:cubicBezTo>
                    <a:cubicBezTo>
                      <a:pt x="88" y="77"/>
                      <a:pt x="88" y="77"/>
                      <a:pt x="88" y="77"/>
                    </a:cubicBezTo>
                    <a:cubicBezTo>
                      <a:pt x="88" y="77"/>
                      <a:pt x="88" y="75"/>
                      <a:pt x="88" y="74"/>
                    </a:cubicBezTo>
                    <a:cubicBezTo>
                      <a:pt x="79" y="66"/>
                      <a:pt x="79" y="66"/>
                      <a:pt x="79" y="66"/>
                    </a:cubicBezTo>
                    <a:cubicBezTo>
                      <a:pt x="81" y="64"/>
                      <a:pt x="82" y="60"/>
                      <a:pt x="83" y="57"/>
                    </a:cubicBezTo>
                    <a:cubicBezTo>
                      <a:pt x="94" y="57"/>
                      <a:pt x="94" y="57"/>
                      <a:pt x="94" y="57"/>
                    </a:cubicBezTo>
                    <a:cubicBezTo>
                      <a:pt x="95" y="57"/>
                      <a:pt x="96" y="56"/>
                      <a:pt x="96" y="55"/>
                    </a:cubicBezTo>
                    <a:cubicBezTo>
                      <a:pt x="96" y="43"/>
                      <a:pt x="96" y="43"/>
                      <a:pt x="96" y="43"/>
                    </a:cubicBezTo>
                    <a:cubicBezTo>
                      <a:pt x="96" y="42"/>
                      <a:pt x="95" y="41"/>
                      <a:pt x="94" y="41"/>
                    </a:cubicBezTo>
                    <a:close/>
                    <a:moveTo>
                      <a:pt x="51" y="60"/>
                    </a:moveTo>
                    <a:cubicBezTo>
                      <a:pt x="50" y="60"/>
                      <a:pt x="50" y="60"/>
                      <a:pt x="49" y="60"/>
                    </a:cubicBezTo>
                    <a:cubicBezTo>
                      <a:pt x="49" y="61"/>
                      <a:pt x="49" y="61"/>
                      <a:pt x="49" y="61"/>
                    </a:cubicBezTo>
                    <a:cubicBezTo>
                      <a:pt x="49" y="61"/>
                      <a:pt x="48" y="60"/>
                      <a:pt x="48" y="60"/>
                    </a:cubicBezTo>
                    <a:cubicBezTo>
                      <a:pt x="30" y="42"/>
                      <a:pt x="30" y="42"/>
                      <a:pt x="30" y="42"/>
                    </a:cubicBezTo>
                    <a:cubicBezTo>
                      <a:pt x="29" y="41"/>
                      <a:pt x="29" y="40"/>
                      <a:pt x="30" y="39"/>
                    </a:cubicBezTo>
                    <a:cubicBezTo>
                      <a:pt x="31" y="38"/>
                      <a:pt x="32" y="38"/>
                      <a:pt x="33" y="39"/>
                    </a:cubicBezTo>
                    <a:cubicBezTo>
                      <a:pt x="49" y="56"/>
                      <a:pt x="49" y="56"/>
                      <a:pt x="49" y="56"/>
                    </a:cubicBezTo>
                    <a:cubicBezTo>
                      <a:pt x="88" y="6"/>
                      <a:pt x="88" y="6"/>
                      <a:pt x="88" y="6"/>
                    </a:cubicBezTo>
                    <a:cubicBezTo>
                      <a:pt x="89" y="5"/>
                      <a:pt x="90" y="5"/>
                      <a:pt x="91" y="5"/>
                    </a:cubicBezTo>
                    <a:cubicBezTo>
                      <a:pt x="92" y="6"/>
                      <a:pt x="92" y="7"/>
                      <a:pt x="92" y="8"/>
                    </a:cubicBezTo>
                    <a:lnTo>
                      <a:pt x="51" y="60"/>
                    </a:lnTo>
                    <a:close/>
                  </a:path>
                </a:pathLst>
              </a:custGeom>
              <a:gradFill flip="none" rotWithShape="1">
                <a:gsLst>
                  <a:gs pos="100000">
                    <a:schemeClr val="accent1"/>
                  </a:gs>
                  <a:gs pos="0">
                    <a:schemeClr val="accent1"/>
                  </a:gs>
                </a:gsLst>
                <a:lin ang="270000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srgbClr val="000000"/>
                  </a:solidFill>
                  <a:effectLst/>
                  <a:uLnTx/>
                  <a:uFillTx/>
                  <a:latin typeface="Arial"/>
                  <a:cs typeface="+mn-cs"/>
                </a:endParaRPr>
              </a:p>
            </p:txBody>
          </p:sp>
        </p:grpSp>
        <p:sp>
          <p:nvSpPr>
            <p:cNvPr id="37" name="Rectangle 425">
              <a:extLst>
                <a:ext uri="{FF2B5EF4-FFF2-40B4-BE49-F238E27FC236}">
                  <a16:creationId xmlns:a16="http://schemas.microsoft.com/office/drawing/2014/main" id="{116C0F66-600C-49F7-9757-6E6508FFCC9C}"/>
                </a:ext>
              </a:extLst>
            </p:cNvPr>
            <p:cNvSpPr/>
            <p:nvPr/>
          </p:nvSpPr>
          <p:spPr>
            <a:xfrm flipH="1">
              <a:off x="4137902" y="3297335"/>
              <a:ext cx="1033598" cy="220650"/>
            </a:xfrm>
            <a:prstGeom prst="rect">
              <a:avLst/>
            </a:prstGeom>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accent1"/>
                  </a:solidFill>
                  <a:effectLst/>
                  <a:uLnTx/>
                  <a:uFillTx/>
                  <a:latin typeface="Gill Sans MT" panose="020B0502020104020203" pitchFamily="34" charset="0"/>
                  <a:cs typeface="Segoe UI" panose="020B0502040204020203" pitchFamily="34" charset="0"/>
                </a:rPr>
                <a:t>Lorem Ipsum</a:t>
              </a:r>
            </a:p>
          </p:txBody>
        </p:sp>
        <p:sp>
          <p:nvSpPr>
            <p:cNvPr id="38" name="Freeform: Shape 426">
              <a:extLst>
                <a:ext uri="{FF2B5EF4-FFF2-40B4-BE49-F238E27FC236}">
                  <a16:creationId xmlns:a16="http://schemas.microsoft.com/office/drawing/2014/main" id="{2445F5F8-6434-408E-8BF0-DDB081CCD320}"/>
                </a:ext>
              </a:extLst>
            </p:cNvPr>
            <p:cNvSpPr/>
            <p:nvPr/>
          </p:nvSpPr>
          <p:spPr>
            <a:xfrm rot="2700000">
              <a:off x="631438" y="2687957"/>
              <a:ext cx="1486224" cy="1486222"/>
            </a:xfrm>
            <a:custGeom>
              <a:avLst/>
              <a:gdLst>
                <a:gd name="connsiteX0" fmla="*/ 39448 w 485775"/>
                <a:gd name="connsiteY0" fmla="*/ 104172 h 485775"/>
                <a:gd name="connsiteX1" fmla="*/ 421267 w 485775"/>
                <a:gd name="connsiteY1" fmla="*/ 1873 h 485775"/>
                <a:gd name="connsiteX2" fmla="*/ 486399 w 485775"/>
                <a:gd name="connsiteY2" fmla="*/ 66996 h 485775"/>
                <a:gd name="connsiteX3" fmla="*/ 384091 w 485775"/>
                <a:gd name="connsiteY3" fmla="*/ 448796 h 485775"/>
                <a:gd name="connsiteX4" fmla="*/ 295118 w 485775"/>
                <a:gd name="connsiteY4" fmla="*/ 472637 h 485775"/>
                <a:gd name="connsiteX5" fmla="*/ 15607 w 485775"/>
                <a:gd name="connsiteY5" fmla="*/ 193145 h 485775"/>
                <a:gd name="connsiteX6" fmla="*/ 39448 w 485775"/>
                <a:gd name="connsiteY6" fmla="*/ 104172 h 485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85775" h="485775">
                  <a:moveTo>
                    <a:pt x="39448" y="104172"/>
                  </a:moveTo>
                  <a:lnTo>
                    <a:pt x="421267" y="1873"/>
                  </a:lnTo>
                  <a:cubicBezTo>
                    <a:pt x="460805" y="-8737"/>
                    <a:pt x="497000" y="27448"/>
                    <a:pt x="486399" y="66996"/>
                  </a:cubicBezTo>
                  <a:lnTo>
                    <a:pt x="384091" y="448796"/>
                  </a:lnTo>
                  <a:cubicBezTo>
                    <a:pt x="373499" y="488344"/>
                    <a:pt x="324074" y="501583"/>
                    <a:pt x="295118" y="472637"/>
                  </a:cubicBezTo>
                  <a:cubicBezTo>
                    <a:pt x="247045" y="340392"/>
                    <a:pt x="155377" y="245932"/>
                    <a:pt x="15607" y="193145"/>
                  </a:cubicBezTo>
                  <a:cubicBezTo>
                    <a:pt x="-13340" y="164198"/>
                    <a:pt x="-90" y="114764"/>
                    <a:pt x="39448" y="104172"/>
                  </a:cubicBezTo>
                  <a:close/>
                </a:path>
              </a:pathLst>
            </a:custGeom>
            <a:gradFill flip="none" rotWithShape="1">
              <a:gsLst>
                <a:gs pos="100000">
                  <a:schemeClr val="accent1"/>
                </a:gs>
                <a:gs pos="0">
                  <a:schemeClr val="accent1"/>
                </a:gs>
              </a:gsLst>
              <a:lin ang="2700000" scaled="1"/>
              <a:tileRect/>
            </a:gradFill>
            <a:ln w="12700" cap="flat" cmpd="sng" algn="ctr">
              <a:noFill/>
              <a:prstDash val="solid"/>
              <a:miter lim="800000"/>
            </a:ln>
            <a:effectLst>
              <a:outerShdw blurRad="215900" sx="104000" sy="104000" algn="ctr" rotWithShape="0">
                <a:prstClr val="black">
                  <a:alpha val="19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0" cap="none" spc="0" normalizeH="0" baseline="0" noProof="0">
                <a:ln>
                  <a:noFill/>
                </a:ln>
                <a:solidFill>
                  <a:prstClr val="white"/>
                </a:solidFill>
                <a:effectLst/>
                <a:uLnTx/>
                <a:uFillTx/>
                <a:latin typeface="Arial"/>
                <a:cs typeface="+mn-cs"/>
              </a:endParaRPr>
            </a:p>
          </p:txBody>
        </p:sp>
        <p:sp>
          <p:nvSpPr>
            <p:cNvPr id="39" name="Rectangle 427">
              <a:extLst>
                <a:ext uri="{FF2B5EF4-FFF2-40B4-BE49-F238E27FC236}">
                  <a16:creationId xmlns:a16="http://schemas.microsoft.com/office/drawing/2014/main" id="{53451449-2CE8-4B78-945D-2A125DFCDE31}"/>
                </a:ext>
              </a:extLst>
            </p:cNvPr>
            <p:cNvSpPr/>
            <p:nvPr/>
          </p:nvSpPr>
          <p:spPr>
            <a:xfrm flipH="1">
              <a:off x="6161225" y="3297335"/>
              <a:ext cx="1033598" cy="220650"/>
            </a:xfrm>
            <a:prstGeom prst="rect">
              <a:avLst/>
            </a:prstGeom>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chemeClr val="accent1"/>
                  </a:solidFill>
                  <a:effectLst/>
                  <a:uLnTx/>
                  <a:uFillTx/>
                  <a:latin typeface="Gill Sans MT" panose="020B0502020104020203" pitchFamily="34" charset="0"/>
                  <a:cs typeface="Segoe UI" panose="020B0502040204020203" pitchFamily="34" charset="0"/>
                </a:rPr>
                <a:t>Lorem Ipsum</a:t>
              </a:r>
            </a:p>
          </p:txBody>
        </p:sp>
        <p:sp>
          <p:nvSpPr>
            <p:cNvPr id="40" name="Rectangle 428">
              <a:extLst>
                <a:ext uri="{FF2B5EF4-FFF2-40B4-BE49-F238E27FC236}">
                  <a16:creationId xmlns:a16="http://schemas.microsoft.com/office/drawing/2014/main" id="{EF47F737-6501-467B-8E5A-BCDC7AA9E231}"/>
                </a:ext>
              </a:extLst>
            </p:cNvPr>
            <p:cNvSpPr/>
            <p:nvPr/>
          </p:nvSpPr>
          <p:spPr>
            <a:xfrm>
              <a:off x="1226973" y="3100592"/>
              <a:ext cx="964661" cy="646331"/>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FFFFF"/>
                  </a:solidFill>
                  <a:effectLst/>
                  <a:uLnTx/>
                  <a:uFillTx/>
                  <a:latin typeface="Gill Sans MT" panose="020B0502020104020203" pitchFamily="34" charset="0"/>
                  <a:cs typeface="Segoe UI" panose="020B0502040204020203" pitchFamily="34" charset="0"/>
                </a:rPr>
                <a:t>Lorem Ipsum is simply dummy text.</a:t>
              </a:r>
            </a:p>
          </p:txBody>
        </p:sp>
      </p:grpSp>
    </p:spTree>
    <p:extLst>
      <p:ext uri="{BB962C8B-B14F-4D97-AF65-F5344CB8AC3E}">
        <p14:creationId xmlns:p14="http://schemas.microsoft.com/office/powerpoint/2010/main" val="2738789078"/>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7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0">
            <a:extLst>
              <a:ext uri="{FF2B5EF4-FFF2-40B4-BE49-F238E27FC236}">
                <a16:creationId xmlns:a16="http://schemas.microsoft.com/office/drawing/2014/main" id="{3A3E53C3-9D68-4B88-9CF8-83F3118700E5}"/>
              </a:ext>
            </a:extLst>
          </p:cNvPr>
          <p:cNvGrpSpPr/>
          <p:nvPr/>
        </p:nvGrpSpPr>
        <p:grpSpPr>
          <a:xfrm>
            <a:off x="1672068" y="2288228"/>
            <a:ext cx="8847863" cy="2238122"/>
            <a:chOff x="2921902" y="2288228"/>
            <a:chExt cx="8847863" cy="2238122"/>
          </a:xfrm>
        </p:grpSpPr>
        <p:sp>
          <p:nvSpPr>
            <p:cNvPr id="3" name="Flowchart: Stored Data 187">
              <a:extLst>
                <a:ext uri="{FF2B5EF4-FFF2-40B4-BE49-F238E27FC236}">
                  <a16:creationId xmlns:a16="http://schemas.microsoft.com/office/drawing/2014/main" id="{7D2901FB-6271-48D2-9364-BD06A3B25E71}"/>
                </a:ext>
              </a:extLst>
            </p:cNvPr>
            <p:cNvSpPr/>
            <p:nvPr/>
          </p:nvSpPr>
          <p:spPr>
            <a:xfrm>
              <a:off x="4016927" y="2288228"/>
              <a:ext cx="6501868" cy="2238122"/>
            </a:xfrm>
            <a:prstGeom prst="flowChartOnlineStorage">
              <a:avLst/>
            </a:prstGeom>
            <a:gradFill flip="none" rotWithShape="1">
              <a:gsLst>
                <a:gs pos="70000">
                  <a:schemeClr val="bg1">
                    <a:alpha val="0"/>
                  </a:schemeClr>
                </a:gs>
                <a:gs pos="0">
                  <a:schemeClr val="accent1"/>
                </a:gs>
              </a:gsLst>
              <a:lin ang="18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FFFFFF"/>
                </a:solidFill>
                <a:effectLst/>
                <a:uLnTx/>
                <a:uFillTx/>
                <a:latin typeface="Arial"/>
                <a:cs typeface="+mn-cs"/>
              </a:endParaRPr>
            </a:p>
          </p:txBody>
        </p:sp>
        <p:sp>
          <p:nvSpPr>
            <p:cNvPr id="4" name="Freeform: Shape 61">
              <a:extLst>
                <a:ext uri="{FF2B5EF4-FFF2-40B4-BE49-F238E27FC236}">
                  <a16:creationId xmlns:a16="http://schemas.microsoft.com/office/drawing/2014/main" id="{EC27535F-6C00-4263-A4D9-A4DE6ADE9562}"/>
                </a:ext>
              </a:extLst>
            </p:cNvPr>
            <p:cNvSpPr/>
            <p:nvPr/>
          </p:nvSpPr>
          <p:spPr>
            <a:xfrm flipH="1">
              <a:off x="2921902" y="2326001"/>
              <a:ext cx="2072790" cy="2162910"/>
            </a:xfrm>
            <a:custGeom>
              <a:avLst/>
              <a:gdLst>
                <a:gd name="connsiteX0" fmla="*/ 17050 w 1752600"/>
                <a:gd name="connsiteY0" fmla="*/ 1697831 h 1828800"/>
                <a:gd name="connsiteX1" fmla="*/ 16383 w 1752600"/>
                <a:gd name="connsiteY1" fmla="*/ 1697546 h 1828800"/>
                <a:gd name="connsiteX2" fmla="*/ 54483 w 1752600"/>
                <a:gd name="connsiteY2" fmla="*/ 1588770 h 1828800"/>
                <a:gd name="connsiteX3" fmla="*/ 132112 w 1752600"/>
                <a:gd name="connsiteY3" fmla="*/ 1121569 h 1828800"/>
                <a:gd name="connsiteX4" fmla="*/ 140208 w 1752600"/>
                <a:gd name="connsiteY4" fmla="*/ 886301 h 1828800"/>
                <a:gd name="connsiteX5" fmla="*/ 60103 w 1752600"/>
                <a:gd name="connsiteY5" fmla="*/ 314039 h 1828800"/>
                <a:gd name="connsiteX6" fmla="*/ 0 w 1752600"/>
                <a:gd name="connsiteY6" fmla="*/ 130302 h 1828800"/>
                <a:gd name="connsiteX7" fmla="*/ 104870 w 1752600"/>
                <a:gd name="connsiteY7" fmla="*/ 0 h 1828800"/>
                <a:gd name="connsiteX8" fmla="*/ 109633 w 1752600"/>
                <a:gd name="connsiteY8" fmla="*/ 857 h 1828800"/>
                <a:gd name="connsiteX9" fmla="*/ 498348 w 1752600"/>
                <a:gd name="connsiteY9" fmla="*/ 92107 h 1828800"/>
                <a:gd name="connsiteX10" fmla="*/ 741140 w 1752600"/>
                <a:gd name="connsiteY10" fmla="*/ 164783 h 1828800"/>
                <a:gd name="connsiteX11" fmla="*/ 1431798 w 1752600"/>
                <a:gd name="connsiteY11" fmla="*/ 485394 h 1828800"/>
                <a:gd name="connsiteX12" fmla="*/ 1697927 w 1752600"/>
                <a:gd name="connsiteY12" fmla="*/ 765810 h 1828800"/>
                <a:gd name="connsiteX13" fmla="*/ 1754124 w 1752600"/>
                <a:gd name="connsiteY13" fmla="*/ 984885 h 1828800"/>
                <a:gd name="connsiteX14" fmla="*/ 1738027 w 1752600"/>
                <a:gd name="connsiteY14" fmla="*/ 1087565 h 1828800"/>
                <a:gd name="connsiteX15" fmla="*/ 1501712 w 1752600"/>
                <a:gd name="connsiteY15" fmla="*/ 1368933 h 1828800"/>
                <a:gd name="connsiteX16" fmla="*/ 418243 w 1752600"/>
                <a:gd name="connsiteY16" fmla="*/ 1771650 h 1828800"/>
                <a:gd name="connsiteX17" fmla="*/ 117920 w 1752600"/>
                <a:gd name="connsiteY17" fmla="*/ 1832134 h 1828800"/>
                <a:gd name="connsiteX18" fmla="*/ 17050 w 1752600"/>
                <a:gd name="connsiteY18" fmla="*/ 1697831 h 1828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752600" h="1828800">
                  <a:moveTo>
                    <a:pt x="17050" y="1697831"/>
                  </a:moveTo>
                  <a:lnTo>
                    <a:pt x="16383" y="1697546"/>
                  </a:lnTo>
                  <a:cubicBezTo>
                    <a:pt x="16573" y="1697165"/>
                    <a:pt x="33433" y="1660684"/>
                    <a:pt x="54483" y="1588770"/>
                  </a:cubicBezTo>
                  <a:cubicBezTo>
                    <a:pt x="81249" y="1496949"/>
                    <a:pt x="116491" y="1341311"/>
                    <a:pt x="132112" y="1121569"/>
                  </a:cubicBezTo>
                  <a:cubicBezTo>
                    <a:pt x="137446" y="1045845"/>
                    <a:pt x="140208" y="966788"/>
                    <a:pt x="140208" y="886301"/>
                  </a:cubicBezTo>
                  <a:cubicBezTo>
                    <a:pt x="140208" y="654749"/>
                    <a:pt x="96584" y="447294"/>
                    <a:pt x="60103" y="314039"/>
                  </a:cubicBezTo>
                  <a:cubicBezTo>
                    <a:pt x="29051" y="200787"/>
                    <a:pt x="286" y="131064"/>
                    <a:pt x="0" y="130302"/>
                  </a:cubicBezTo>
                  <a:lnTo>
                    <a:pt x="104870" y="0"/>
                  </a:lnTo>
                  <a:lnTo>
                    <a:pt x="109633" y="857"/>
                  </a:lnTo>
                  <a:cubicBezTo>
                    <a:pt x="138589" y="6287"/>
                    <a:pt x="294037" y="36290"/>
                    <a:pt x="498348" y="92107"/>
                  </a:cubicBezTo>
                  <a:cubicBezTo>
                    <a:pt x="581883" y="114967"/>
                    <a:pt x="663607" y="139351"/>
                    <a:pt x="741140" y="164783"/>
                  </a:cubicBezTo>
                  <a:cubicBezTo>
                    <a:pt x="1032510" y="260223"/>
                    <a:pt x="1264920" y="368046"/>
                    <a:pt x="1431798" y="485394"/>
                  </a:cubicBezTo>
                  <a:cubicBezTo>
                    <a:pt x="1556195" y="572834"/>
                    <a:pt x="1645730" y="667226"/>
                    <a:pt x="1697927" y="765810"/>
                  </a:cubicBezTo>
                  <a:cubicBezTo>
                    <a:pt x="1735264" y="836390"/>
                    <a:pt x="1754124" y="910114"/>
                    <a:pt x="1754124" y="984885"/>
                  </a:cubicBezTo>
                  <a:cubicBezTo>
                    <a:pt x="1754124" y="1019366"/>
                    <a:pt x="1748695" y="1053846"/>
                    <a:pt x="1738027" y="1087565"/>
                  </a:cubicBezTo>
                  <a:cubicBezTo>
                    <a:pt x="1706213" y="1187482"/>
                    <a:pt x="1626775" y="1282160"/>
                    <a:pt x="1501712" y="1368933"/>
                  </a:cubicBezTo>
                  <a:cubicBezTo>
                    <a:pt x="1224153" y="1561624"/>
                    <a:pt x="759333" y="1694307"/>
                    <a:pt x="418243" y="1771650"/>
                  </a:cubicBezTo>
                  <a:cubicBezTo>
                    <a:pt x="243364" y="1811274"/>
                    <a:pt x="122968" y="1831277"/>
                    <a:pt x="117920" y="1832134"/>
                  </a:cubicBezTo>
                  <a:lnTo>
                    <a:pt x="17050" y="1697831"/>
                  </a:lnTo>
                  <a:close/>
                </a:path>
              </a:pathLst>
            </a:custGeom>
            <a:gradFill flip="none" rotWithShape="1">
              <a:gsLst>
                <a:gs pos="100000">
                  <a:schemeClr val="accent1"/>
                </a:gs>
                <a:gs pos="0">
                  <a:schemeClr val="accent1"/>
                </a:gs>
              </a:gsLst>
              <a:lin ang="2700000" scaled="1"/>
              <a:tileRect/>
            </a:gradFill>
            <a:ln w="12700" cap="flat" cmpd="sng" algn="ctr">
              <a:noFill/>
              <a:prstDash val="solid"/>
              <a:miter lim="800000"/>
            </a:ln>
            <a:effectLst>
              <a:outerShdw blurRad="215900" sx="104000" sy="104000" algn="ctr" rotWithShape="0">
                <a:prstClr val="black">
                  <a:alpha val="19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0" cap="none" spc="0" normalizeH="0" baseline="0" noProof="0">
                <a:ln>
                  <a:noFill/>
                </a:ln>
                <a:solidFill>
                  <a:prstClr val="white"/>
                </a:solidFill>
                <a:effectLst/>
                <a:uLnTx/>
                <a:uFillTx/>
                <a:latin typeface="Arial"/>
                <a:cs typeface="+mn-cs"/>
              </a:endParaRPr>
            </a:p>
          </p:txBody>
        </p:sp>
        <p:grpSp>
          <p:nvGrpSpPr>
            <p:cNvPr id="5" name="Group 191">
              <a:extLst>
                <a:ext uri="{FF2B5EF4-FFF2-40B4-BE49-F238E27FC236}">
                  <a16:creationId xmlns:a16="http://schemas.microsoft.com/office/drawing/2014/main" id="{63C69257-4686-4309-BB49-0961ABEF76DF}"/>
                </a:ext>
              </a:extLst>
            </p:cNvPr>
            <p:cNvGrpSpPr/>
            <p:nvPr/>
          </p:nvGrpSpPr>
          <p:grpSpPr>
            <a:xfrm>
              <a:off x="3145490" y="2700609"/>
              <a:ext cx="8624275" cy="1413694"/>
              <a:chOff x="3145490" y="2759255"/>
              <a:chExt cx="8624275" cy="1413694"/>
            </a:xfrm>
          </p:grpSpPr>
          <p:sp>
            <p:nvSpPr>
              <p:cNvPr id="6" name="Freeform: Shape 62">
                <a:extLst>
                  <a:ext uri="{FF2B5EF4-FFF2-40B4-BE49-F238E27FC236}">
                    <a16:creationId xmlns:a16="http://schemas.microsoft.com/office/drawing/2014/main" id="{BD2F4805-B403-4757-8EFD-B65690CCA29B}"/>
                  </a:ext>
                </a:extLst>
              </p:cNvPr>
              <p:cNvSpPr/>
              <p:nvPr/>
            </p:nvSpPr>
            <p:spPr>
              <a:xfrm flipH="1">
                <a:off x="10413479" y="2759255"/>
                <a:ext cx="1356286" cy="1413694"/>
              </a:xfrm>
              <a:custGeom>
                <a:avLst/>
                <a:gdLst>
                  <a:gd name="connsiteX0" fmla="*/ 147493 w 1800225"/>
                  <a:gd name="connsiteY0" fmla="*/ 1877854 h 1876425"/>
                  <a:gd name="connsiteX1" fmla="*/ 50909 w 1800225"/>
                  <a:gd name="connsiteY1" fmla="*/ 1836420 h 1876425"/>
                  <a:gd name="connsiteX2" fmla="*/ 50909 w 1800225"/>
                  <a:gd name="connsiteY2" fmla="*/ 1836420 h 1876425"/>
                  <a:gd name="connsiteX3" fmla="*/ 23382 w 1800225"/>
                  <a:gd name="connsiteY3" fmla="*/ 1793177 h 1876425"/>
                  <a:gd name="connsiteX4" fmla="*/ 26144 w 1800225"/>
                  <a:gd name="connsiteY4" fmla="*/ 1689449 h 1876425"/>
                  <a:gd name="connsiteX5" fmla="*/ 41765 w 1800225"/>
                  <a:gd name="connsiteY5" fmla="*/ 1655350 h 1876425"/>
                  <a:gd name="connsiteX6" fmla="*/ 80341 w 1800225"/>
                  <a:gd name="connsiteY6" fmla="*/ 1568577 h 1876425"/>
                  <a:gd name="connsiteX7" fmla="*/ 189498 w 1800225"/>
                  <a:gd name="connsiteY7" fmla="*/ 1301306 h 1876425"/>
                  <a:gd name="connsiteX8" fmla="*/ 275128 w 1800225"/>
                  <a:gd name="connsiteY8" fmla="*/ 1036320 h 1876425"/>
                  <a:gd name="connsiteX9" fmla="*/ 289606 w 1800225"/>
                  <a:gd name="connsiteY9" fmla="*/ 958025 h 1876425"/>
                  <a:gd name="connsiteX10" fmla="*/ 290558 w 1800225"/>
                  <a:gd name="connsiteY10" fmla="*/ 947738 h 1876425"/>
                  <a:gd name="connsiteX11" fmla="*/ 290939 w 1800225"/>
                  <a:gd name="connsiteY11" fmla="*/ 935927 h 1876425"/>
                  <a:gd name="connsiteX12" fmla="*/ 290368 w 1800225"/>
                  <a:gd name="connsiteY12" fmla="*/ 924115 h 1876425"/>
                  <a:gd name="connsiteX13" fmla="*/ 289129 w 1800225"/>
                  <a:gd name="connsiteY13" fmla="*/ 913162 h 1876425"/>
                  <a:gd name="connsiteX14" fmla="*/ 273413 w 1800225"/>
                  <a:gd name="connsiteY14" fmla="*/ 836581 h 1876425"/>
                  <a:gd name="connsiteX15" fmla="*/ 183116 w 1800225"/>
                  <a:gd name="connsiteY15" fmla="*/ 574072 h 1876425"/>
                  <a:gd name="connsiteX16" fmla="*/ 69292 w 1800225"/>
                  <a:gd name="connsiteY16" fmla="*/ 309944 h 1876425"/>
                  <a:gd name="connsiteX17" fmla="*/ 29097 w 1800225"/>
                  <a:gd name="connsiteY17" fmla="*/ 223933 h 1876425"/>
                  <a:gd name="connsiteX18" fmla="*/ 13571 w 1800225"/>
                  <a:gd name="connsiteY18" fmla="*/ 191738 h 1876425"/>
                  <a:gd name="connsiteX19" fmla="*/ 7285 w 1800225"/>
                  <a:gd name="connsiteY19" fmla="*/ 90011 h 1876425"/>
                  <a:gd name="connsiteX20" fmla="*/ 74817 w 1800225"/>
                  <a:gd name="connsiteY20" fmla="*/ 13526 h 1876425"/>
                  <a:gd name="connsiteX21" fmla="*/ 133300 w 1800225"/>
                  <a:gd name="connsiteY21" fmla="*/ 0 h 1876425"/>
                  <a:gd name="connsiteX22" fmla="*/ 175401 w 1800225"/>
                  <a:gd name="connsiteY22" fmla="*/ 6763 h 1876425"/>
                  <a:gd name="connsiteX23" fmla="*/ 248743 w 1800225"/>
                  <a:gd name="connsiteY23" fmla="*/ 31814 h 1876425"/>
                  <a:gd name="connsiteX24" fmla="*/ 440101 w 1800225"/>
                  <a:gd name="connsiteY24" fmla="*/ 100108 h 1876425"/>
                  <a:gd name="connsiteX25" fmla="*/ 1012839 w 1800225"/>
                  <a:gd name="connsiteY25" fmla="*/ 327946 h 1876425"/>
                  <a:gd name="connsiteX26" fmla="*/ 1573957 w 1800225"/>
                  <a:gd name="connsiteY26" fmla="*/ 620935 h 1876425"/>
                  <a:gd name="connsiteX27" fmla="*/ 1756360 w 1800225"/>
                  <a:gd name="connsiteY27" fmla="*/ 788956 h 1876425"/>
                  <a:gd name="connsiteX28" fmla="*/ 1799890 w 1800225"/>
                  <a:gd name="connsiteY28" fmla="*/ 884873 h 1876425"/>
                  <a:gd name="connsiteX29" fmla="*/ 1804938 w 1800225"/>
                  <a:gd name="connsiteY29" fmla="*/ 917638 h 1876425"/>
                  <a:gd name="connsiteX30" fmla="*/ 1805700 w 1800225"/>
                  <a:gd name="connsiteY30" fmla="*/ 928592 h 1876425"/>
                  <a:gd name="connsiteX31" fmla="*/ 1805891 w 1800225"/>
                  <a:gd name="connsiteY31" fmla="*/ 934784 h 1876425"/>
                  <a:gd name="connsiteX32" fmla="*/ 1805605 w 1800225"/>
                  <a:gd name="connsiteY32" fmla="*/ 942785 h 1876425"/>
                  <a:gd name="connsiteX33" fmla="*/ 1804938 w 1800225"/>
                  <a:gd name="connsiteY33" fmla="*/ 951167 h 1876425"/>
                  <a:gd name="connsiteX34" fmla="*/ 1804557 w 1800225"/>
                  <a:gd name="connsiteY34" fmla="*/ 955262 h 1876425"/>
                  <a:gd name="connsiteX35" fmla="*/ 1802271 w 1800225"/>
                  <a:gd name="connsiteY35" fmla="*/ 971360 h 1876425"/>
                  <a:gd name="connsiteX36" fmla="*/ 1800747 w 1800225"/>
                  <a:gd name="connsiteY36" fmla="*/ 978027 h 1876425"/>
                  <a:gd name="connsiteX37" fmla="*/ 1796175 w 1800225"/>
                  <a:gd name="connsiteY37" fmla="*/ 994124 h 1876425"/>
                  <a:gd name="connsiteX38" fmla="*/ 1795413 w 1800225"/>
                  <a:gd name="connsiteY38" fmla="*/ 996506 h 1876425"/>
                  <a:gd name="connsiteX39" fmla="*/ 1740073 w 1800225"/>
                  <a:gd name="connsiteY39" fmla="*/ 1088803 h 1876425"/>
                  <a:gd name="connsiteX40" fmla="*/ 1557383 w 1800225"/>
                  <a:gd name="connsiteY40" fmla="*/ 1236155 h 1876425"/>
                  <a:gd name="connsiteX41" fmla="*/ 1009124 w 1800225"/>
                  <a:gd name="connsiteY41" fmla="*/ 1524667 h 1876425"/>
                  <a:gd name="connsiteX42" fmla="*/ 452007 w 1800225"/>
                  <a:gd name="connsiteY42" fmla="*/ 1766316 h 1876425"/>
                  <a:gd name="connsiteX43" fmla="*/ 266650 w 1800225"/>
                  <a:gd name="connsiteY43" fmla="*/ 1840992 h 1876425"/>
                  <a:gd name="connsiteX44" fmla="*/ 195975 w 1800225"/>
                  <a:gd name="connsiteY44" fmla="*/ 1868614 h 1876425"/>
                  <a:gd name="connsiteX45" fmla="*/ 147493 w 1800225"/>
                  <a:gd name="connsiteY45" fmla="*/ 1877854 h 1876425"/>
                  <a:gd name="connsiteX46" fmla="*/ 384856 w 1800225"/>
                  <a:gd name="connsiteY46" fmla="*/ 364046 h 1876425"/>
                  <a:gd name="connsiteX47" fmla="*/ 430861 w 1800225"/>
                  <a:gd name="connsiteY47" fmla="*/ 475298 h 1876425"/>
                  <a:gd name="connsiteX48" fmla="*/ 531636 w 1800225"/>
                  <a:gd name="connsiteY48" fmla="*/ 769430 h 1876425"/>
                  <a:gd name="connsiteX49" fmla="*/ 554115 w 1800225"/>
                  <a:gd name="connsiteY49" fmla="*/ 881920 h 1876425"/>
                  <a:gd name="connsiteX50" fmla="*/ 556115 w 1800225"/>
                  <a:gd name="connsiteY50" fmla="*/ 899827 h 1876425"/>
                  <a:gd name="connsiteX51" fmla="*/ 556591 w 1800225"/>
                  <a:gd name="connsiteY51" fmla="*/ 905542 h 1876425"/>
                  <a:gd name="connsiteX52" fmla="*/ 557734 w 1800225"/>
                  <a:gd name="connsiteY52" fmla="*/ 929926 h 1876425"/>
                  <a:gd name="connsiteX53" fmla="*/ 557830 w 1800225"/>
                  <a:gd name="connsiteY53" fmla="*/ 934212 h 1876425"/>
                  <a:gd name="connsiteX54" fmla="*/ 557830 w 1800225"/>
                  <a:gd name="connsiteY54" fmla="*/ 936974 h 1876425"/>
                  <a:gd name="connsiteX55" fmla="*/ 557544 w 1800225"/>
                  <a:gd name="connsiteY55" fmla="*/ 947833 h 1876425"/>
                  <a:gd name="connsiteX56" fmla="*/ 557068 w 1800225"/>
                  <a:gd name="connsiteY56" fmla="*/ 961454 h 1876425"/>
                  <a:gd name="connsiteX57" fmla="*/ 556687 w 1800225"/>
                  <a:gd name="connsiteY57" fmla="*/ 967169 h 1876425"/>
                  <a:gd name="connsiteX58" fmla="*/ 555163 w 1800225"/>
                  <a:gd name="connsiteY58" fmla="*/ 984218 h 1876425"/>
                  <a:gd name="connsiteX59" fmla="*/ 534589 w 1800225"/>
                  <a:gd name="connsiteY59" fmla="*/ 1098709 h 1876425"/>
                  <a:gd name="connsiteX60" fmla="*/ 439148 w 1800225"/>
                  <a:gd name="connsiteY60" fmla="*/ 1395508 h 1876425"/>
                  <a:gd name="connsiteX61" fmla="*/ 398286 w 1800225"/>
                  <a:gd name="connsiteY61" fmla="*/ 1500188 h 1876425"/>
                  <a:gd name="connsiteX62" fmla="*/ 897110 w 1800225"/>
                  <a:gd name="connsiteY62" fmla="*/ 1282827 h 1876425"/>
                  <a:gd name="connsiteX63" fmla="*/ 1412794 w 1800225"/>
                  <a:gd name="connsiteY63" fmla="*/ 1012222 h 1876425"/>
                  <a:gd name="connsiteX64" fmla="*/ 1526332 w 1800225"/>
                  <a:gd name="connsiteY64" fmla="*/ 926973 h 1876425"/>
                  <a:gd name="connsiteX65" fmla="*/ 1423081 w 1800225"/>
                  <a:gd name="connsiteY65" fmla="*/ 841153 h 1876425"/>
                  <a:gd name="connsiteX66" fmla="*/ 906159 w 1800225"/>
                  <a:gd name="connsiteY66" fmla="*/ 572643 h 1876425"/>
                  <a:gd name="connsiteX67" fmla="*/ 384856 w 1800225"/>
                  <a:gd name="connsiteY67" fmla="*/ 364046 h 1876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1800225" h="1876425">
                    <a:moveTo>
                      <a:pt x="147493" y="1877854"/>
                    </a:moveTo>
                    <a:cubicBezTo>
                      <a:pt x="111202" y="1877854"/>
                      <a:pt x="75960" y="1862709"/>
                      <a:pt x="50909" y="1836420"/>
                    </a:cubicBezTo>
                    <a:lnTo>
                      <a:pt x="50909" y="1836420"/>
                    </a:lnTo>
                    <a:cubicBezTo>
                      <a:pt x="38908" y="1823847"/>
                      <a:pt x="29668" y="1809274"/>
                      <a:pt x="23382" y="1793177"/>
                    </a:cubicBezTo>
                    <a:cubicBezTo>
                      <a:pt x="10333" y="1759839"/>
                      <a:pt x="11380" y="1722025"/>
                      <a:pt x="26144" y="1689449"/>
                    </a:cubicBezTo>
                    <a:lnTo>
                      <a:pt x="41765" y="1655350"/>
                    </a:lnTo>
                    <a:cubicBezTo>
                      <a:pt x="54719" y="1626870"/>
                      <a:pt x="67673" y="1597533"/>
                      <a:pt x="80341" y="1568577"/>
                    </a:cubicBezTo>
                    <a:cubicBezTo>
                      <a:pt x="109012" y="1502759"/>
                      <a:pt x="151207" y="1402937"/>
                      <a:pt x="189498" y="1301306"/>
                    </a:cubicBezTo>
                    <a:cubicBezTo>
                      <a:pt x="228836" y="1197293"/>
                      <a:pt x="259221" y="1103186"/>
                      <a:pt x="275128" y="1036320"/>
                    </a:cubicBezTo>
                    <a:cubicBezTo>
                      <a:pt x="285224" y="994601"/>
                      <a:pt x="288558" y="967740"/>
                      <a:pt x="289606" y="958025"/>
                    </a:cubicBezTo>
                    <a:lnTo>
                      <a:pt x="290558" y="947738"/>
                    </a:lnTo>
                    <a:lnTo>
                      <a:pt x="290939" y="935927"/>
                    </a:lnTo>
                    <a:lnTo>
                      <a:pt x="290368" y="924115"/>
                    </a:lnTo>
                    <a:lnTo>
                      <a:pt x="289129" y="913162"/>
                    </a:lnTo>
                    <a:cubicBezTo>
                      <a:pt x="288082" y="904304"/>
                      <a:pt x="284176" y="877538"/>
                      <a:pt x="273413" y="836581"/>
                    </a:cubicBezTo>
                    <a:cubicBezTo>
                      <a:pt x="256173" y="769906"/>
                      <a:pt x="224169" y="676847"/>
                      <a:pt x="183116" y="574072"/>
                    </a:cubicBezTo>
                    <a:cubicBezTo>
                      <a:pt x="143016" y="473583"/>
                      <a:pt x="99106" y="374999"/>
                      <a:pt x="69292" y="309944"/>
                    </a:cubicBezTo>
                    <a:cubicBezTo>
                      <a:pt x="56243" y="281464"/>
                      <a:pt x="42718" y="252508"/>
                      <a:pt x="29097" y="223933"/>
                    </a:cubicBezTo>
                    <a:lnTo>
                      <a:pt x="13571" y="191738"/>
                    </a:lnTo>
                    <a:cubicBezTo>
                      <a:pt x="-2050" y="159830"/>
                      <a:pt x="-4241" y="123634"/>
                      <a:pt x="7285" y="90011"/>
                    </a:cubicBezTo>
                    <a:cubicBezTo>
                      <a:pt x="18810" y="56293"/>
                      <a:pt x="42813" y="29147"/>
                      <a:pt x="74817" y="13526"/>
                    </a:cubicBezTo>
                    <a:cubicBezTo>
                      <a:pt x="92819" y="4667"/>
                      <a:pt x="113107" y="0"/>
                      <a:pt x="133300" y="0"/>
                    </a:cubicBezTo>
                    <a:cubicBezTo>
                      <a:pt x="147588" y="0"/>
                      <a:pt x="161780" y="2286"/>
                      <a:pt x="175401" y="6763"/>
                    </a:cubicBezTo>
                    <a:lnTo>
                      <a:pt x="248743" y="31814"/>
                    </a:lnTo>
                    <a:cubicBezTo>
                      <a:pt x="291320" y="46577"/>
                      <a:pt x="358757" y="70295"/>
                      <a:pt x="440101" y="100108"/>
                    </a:cubicBezTo>
                    <a:cubicBezTo>
                      <a:pt x="649936" y="176975"/>
                      <a:pt x="842627" y="253651"/>
                      <a:pt x="1012839" y="327946"/>
                    </a:cubicBezTo>
                    <a:cubicBezTo>
                      <a:pt x="1261537" y="436626"/>
                      <a:pt x="1445083" y="532448"/>
                      <a:pt x="1573957" y="620935"/>
                    </a:cubicBezTo>
                    <a:cubicBezTo>
                      <a:pt x="1659872" y="680085"/>
                      <a:pt x="1719499" y="734949"/>
                      <a:pt x="1756360" y="788956"/>
                    </a:cubicBezTo>
                    <a:cubicBezTo>
                      <a:pt x="1777601" y="819531"/>
                      <a:pt x="1792937" y="853440"/>
                      <a:pt x="1799890" y="884873"/>
                    </a:cubicBezTo>
                    <a:cubicBezTo>
                      <a:pt x="1803509" y="899255"/>
                      <a:pt x="1804462" y="911066"/>
                      <a:pt x="1804938" y="917638"/>
                    </a:cubicBezTo>
                    <a:lnTo>
                      <a:pt x="1805700" y="928592"/>
                    </a:lnTo>
                    <a:lnTo>
                      <a:pt x="1805891" y="934784"/>
                    </a:lnTo>
                    <a:lnTo>
                      <a:pt x="1805605" y="942785"/>
                    </a:lnTo>
                    <a:lnTo>
                      <a:pt x="1804938" y="951167"/>
                    </a:lnTo>
                    <a:lnTo>
                      <a:pt x="1804557" y="955262"/>
                    </a:lnTo>
                    <a:cubicBezTo>
                      <a:pt x="1804176" y="958691"/>
                      <a:pt x="1803604" y="964406"/>
                      <a:pt x="1802271" y="971360"/>
                    </a:cubicBezTo>
                    <a:lnTo>
                      <a:pt x="1800747" y="978027"/>
                    </a:lnTo>
                    <a:cubicBezTo>
                      <a:pt x="1799509" y="982694"/>
                      <a:pt x="1797985" y="988124"/>
                      <a:pt x="1796175" y="994124"/>
                    </a:cubicBezTo>
                    <a:lnTo>
                      <a:pt x="1795413" y="996506"/>
                    </a:lnTo>
                    <a:cubicBezTo>
                      <a:pt x="1785221" y="1027176"/>
                      <a:pt x="1766076" y="1059085"/>
                      <a:pt x="1740073" y="1088803"/>
                    </a:cubicBezTo>
                    <a:cubicBezTo>
                      <a:pt x="1700544" y="1134237"/>
                      <a:pt x="1642441" y="1181195"/>
                      <a:pt x="1557383" y="1236155"/>
                    </a:cubicBezTo>
                    <a:cubicBezTo>
                      <a:pt x="1429081" y="1318832"/>
                      <a:pt x="1249726" y="1413129"/>
                      <a:pt x="1009124" y="1524667"/>
                    </a:cubicBezTo>
                    <a:cubicBezTo>
                      <a:pt x="843865" y="1601248"/>
                      <a:pt x="656509" y="1682496"/>
                      <a:pt x="452007" y="1766316"/>
                    </a:cubicBezTo>
                    <a:cubicBezTo>
                      <a:pt x="389332" y="1792034"/>
                      <a:pt x="326944" y="1817180"/>
                      <a:pt x="266650" y="1840992"/>
                    </a:cubicBezTo>
                    <a:lnTo>
                      <a:pt x="195975" y="1868614"/>
                    </a:lnTo>
                    <a:cubicBezTo>
                      <a:pt x="180449" y="1874711"/>
                      <a:pt x="164161" y="1877854"/>
                      <a:pt x="147493" y="1877854"/>
                    </a:cubicBezTo>
                    <a:close/>
                    <a:moveTo>
                      <a:pt x="384856" y="364046"/>
                    </a:moveTo>
                    <a:cubicBezTo>
                      <a:pt x="400096" y="399764"/>
                      <a:pt x="415717" y="437388"/>
                      <a:pt x="430861" y="475298"/>
                    </a:cubicBezTo>
                    <a:cubicBezTo>
                      <a:pt x="462770" y="555022"/>
                      <a:pt x="506109" y="670846"/>
                      <a:pt x="531636" y="769430"/>
                    </a:cubicBezTo>
                    <a:cubicBezTo>
                      <a:pt x="542304" y="810292"/>
                      <a:pt x="550114" y="849249"/>
                      <a:pt x="554115" y="881920"/>
                    </a:cubicBezTo>
                    <a:lnTo>
                      <a:pt x="556115" y="899827"/>
                    </a:lnTo>
                    <a:lnTo>
                      <a:pt x="556591" y="905542"/>
                    </a:lnTo>
                    <a:lnTo>
                      <a:pt x="557734" y="929926"/>
                    </a:lnTo>
                    <a:lnTo>
                      <a:pt x="557830" y="934212"/>
                    </a:lnTo>
                    <a:lnTo>
                      <a:pt x="557830" y="936974"/>
                    </a:lnTo>
                    <a:lnTo>
                      <a:pt x="557544" y="947833"/>
                    </a:lnTo>
                    <a:lnTo>
                      <a:pt x="557068" y="961454"/>
                    </a:lnTo>
                    <a:lnTo>
                      <a:pt x="556687" y="967169"/>
                    </a:lnTo>
                    <a:lnTo>
                      <a:pt x="555163" y="984218"/>
                    </a:lnTo>
                    <a:cubicBezTo>
                      <a:pt x="551734" y="1018032"/>
                      <a:pt x="544685" y="1057275"/>
                      <a:pt x="534589" y="1098709"/>
                    </a:cubicBezTo>
                    <a:cubicBezTo>
                      <a:pt x="510967" y="1197674"/>
                      <a:pt x="469628" y="1314831"/>
                      <a:pt x="439148" y="1395508"/>
                    </a:cubicBezTo>
                    <a:cubicBezTo>
                      <a:pt x="425718" y="1431036"/>
                      <a:pt x="411907" y="1466374"/>
                      <a:pt x="398286" y="1500188"/>
                    </a:cubicBezTo>
                    <a:cubicBezTo>
                      <a:pt x="580404" y="1424845"/>
                      <a:pt x="748139" y="1351788"/>
                      <a:pt x="897110" y="1282827"/>
                    </a:cubicBezTo>
                    <a:cubicBezTo>
                      <a:pt x="1123329" y="1178052"/>
                      <a:pt x="1296779" y="1086993"/>
                      <a:pt x="1412794" y="1012222"/>
                    </a:cubicBezTo>
                    <a:cubicBezTo>
                      <a:pt x="1475754" y="971740"/>
                      <a:pt x="1509568" y="943070"/>
                      <a:pt x="1526332" y="926973"/>
                    </a:cubicBezTo>
                    <a:cubicBezTo>
                      <a:pt x="1509091" y="907256"/>
                      <a:pt x="1475182" y="876681"/>
                      <a:pt x="1423081" y="841153"/>
                    </a:cubicBezTo>
                    <a:cubicBezTo>
                      <a:pt x="1309828" y="763143"/>
                      <a:pt x="1135997" y="672846"/>
                      <a:pt x="906159" y="572643"/>
                    </a:cubicBezTo>
                    <a:cubicBezTo>
                      <a:pt x="717469" y="490061"/>
                      <a:pt x="524206" y="415671"/>
                      <a:pt x="384856" y="364046"/>
                    </a:cubicBezTo>
                    <a:close/>
                  </a:path>
                </a:pathLst>
              </a:custGeom>
              <a:gradFill flip="none" rotWithShape="1">
                <a:gsLst>
                  <a:gs pos="100000">
                    <a:schemeClr val="accent1"/>
                  </a:gs>
                  <a:gs pos="0">
                    <a:schemeClr val="accent1"/>
                  </a:gs>
                </a:gsLst>
                <a:lin ang="2700000" scaled="1"/>
                <a:tileRect/>
              </a:gradFill>
              <a:ln w="12700" cap="flat" cmpd="sng" algn="ctr">
                <a:noFill/>
                <a:prstDash val="solid"/>
                <a:miter lim="800000"/>
              </a:ln>
              <a:effectLst>
                <a:outerShdw blurRad="215900" sx="104000" sy="104000" algn="ctr" rotWithShape="0">
                  <a:prstClr val="black">
                    <a:alpha val="19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0" cap="none" spc="0" normalizeH="0" baseline="0" noProof="0">
                  <a:ln>
                    <a:noFill/>
                  </a:ln>
                  <a:solidFill>
                    <a:prstClr val="white"/>
                  </a:solidFill>
                  <a:effectLst/>
                  <a:uLnTx/>
                  <a:uFillTx/>
                  <a:latin typeface="Arial"/>
                  <a:cs typeface="+mn-cs"/>
                </a:endParaRPr>
              </a:p>
            </p:txBody>
          </p:sp>
          <p:sp>
            <p:nvSpPr>
              <p:cNvPr id="7" name="Right Arrow 30">
                <a:extLst>
                  <a:ext uri="{FF2B5EF4-FFF2-40B4-BE49-F238E27FC236}">
                    <a16:creationId xmlns:a16="http://schemas.microsoft.com/office/drawing/2014/main" id="{A3EB3F95-445E-4FF0-8073-7E41DA77B703}"/>
                  </a:ext>
                </a:extLst>
              </p:cNvPr>
              <p:cNvSpPr/>
              <p:nvPr/>
            </p:nvSpPr>
            <p:spPr>
              <a:xfrm flipH="1">
                <a:off x="3857630" y="3275892"/>
                <a:ext cx="6603662" cy="380420"/>
              </a:xfrm>
              <a:prstGeom prst="rightArrow">
                <a:avLst/>
              </a:prstGeom>
              <a:gradFill flip="none" rotWithShape="1">
                <a:gsLst>
                  <a:gs pos="100000">
                    <a:schemeClr val="accent1"/>
                  </a:gs>
                  <a:gs pos="33000">
                    <a:schemeClr val="accent1"/>
                  </a:gs>
                </a:gsLst>
                <a:lin ang="1800000" scaled="0"/>
                <a:tileRect/>
              </a:gradFill>
              <a:ln w="12700" cap="flat" cmpd="sng" algn="ctr">
                <a:noFill/>
                <a:prstDash val="solid"/>
                <a:miter lim="800000"/>
              </a:ln>
              <a:effectLst>
                <a:outerShdw blurRad="215900" sx="104000" sy="104000" algn="ctr" rotWithShape="0">
                  <a:prstClr val="black">
                    <a:alpha val="19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0" cap="none" spc="0" normalizeH="0" baseline="0" noProof="0">
                  <a:ln>
                    <a:noFill/>
                  </a:ln>
                  <a:solidFill>
                    <a:prstClr val="white"/>
                  </a:solidFill>
                  <a:effectLst/>
                  <a:uLnTx/>
                  <a:uFillTx/>
                  <a:latin typeface="Arial"/>
                  <a:cs typeface="+mn-cs"/>
                </a:endParaRPr>
              </a:p>
            </p:txBody>
          </p:sp>
          <p:sp>
            <p:nvSpPr>
              <p:cNvPr id="8" name="Rectangle 67">
                <a:extLst>
                  <a:ext uri="{FF2B5EF4-FFF2-40B4-BE49-F238E27FC236}">
                    <a16:creationId xmlns:a16="http://schemas.microsoft.com/office/drawing/2014/main" id="{17BDAFB1-E62E-4301-8A5F-3D3E0AC49F1E}"/>
                  </a:ext>
                </a:extLst>
              </p:cNvPr>
              <p:cNvSpPr/>
              <p:nvPr/>
            </p:nvSpPr>
            <p:spPr>
              <a:xfrm flipH="1">
                <a:off x="5227096" y="2972661"/>
                <a:ext cx="730872" cy="796821"/>
              </a:xfrm>
              <a:prstGeom prst="rect">
                <a:avLst/>
              </a:prstGeom>
            </p:spPr>
            <p:txBody>
              <a:bodyPr wrap="square" lIns="0" tIns="0" rIns="0" bIns="0" anchor="t" anchorCtr="0">
                <a:spAutoFit/>
              </a:bodyPr>
              <a:lstStyle/>
              <a:p>
                <a:pPr marL="0" marR="0" lvl="0" indent="0" algn="ctr" defTabSz="914400" rtl="0" eaLnBrk="1" fontAlgn="auto" latinLnBrk="0" hangingPunct="1">
                  <a:lnSpc>
                    <a:spcPct val="200000"/>
                  </a:lnSpc>
                  <a:spcBef>
                    <a:spcPts val="0"/>
                  </a:spcBef>
                  <a:spcAft>
                    <a:spcPts val="0"/>
                  </a:spcAft>
                  <a:buClrTx/>
                  <a:buSzTx/>
                  <a:buFontTx/>
                  <a:buNone/>
                  <a:tabLst/>
                  <a:defRPr/>
                </a:pPr>
                <a:r>
                  <a:rPr kumimoji="0" lang="en-US" sz="1400" b="1" i="0" u="none" strike="noStrike" kern="0" cap="none" spc="0" normalizeH="0" baseline="0" noProof="0" dirty="0">
                    <a:ln>
                      <a:noFill/>
                    </a:ln>
                    <a:solidFill>
                      <a:schemeClr val="accent1"/>
                    </a:solidFill>
                    <a:effectLst/>
                    <a:uLnTx/>
                    <a:uFillTx/>
                    <a:latin typeface="Gill Sans MT" panose="020B0502020104020203" pitchFamily="34" charset="0"/>
                    <a:cs typeface="Segoe UI" panose="020B0502040204020203" pitchFamily="34" charset="0"/>
                  </a:rPr>
                  <a:t>Lorem</a:t>
                </a:r>
                <a:br>
                  <a:rPr kumimoji="0" lang="en-US" sz="1400" b="1" i="0" u="none" strike="noStrike" kern="0" cap="none" spc="0" normalizeH="0" baseline="0" noProof="0" dirty="0">
                    <a:ln>
                      <a:noFill/>
                    </a:ln>
                    <a:solidFill>
                      <a:schemeClr val="accent1"/>
                    </a:solidFill>
                    <a:effectLst/>
                    <a:uLnTx/>
                    <a:uFillTx/>
                    <a:latin typeface="Gill Sans MT" panose="020B0502020104020203" pitchFamily="34" charset="0"/>
                    <a:cs typeface="Segoe UI" panose="020B0502040204020203" pitchFamily="34" charset="0"/>
                  </a:rPr>
                </a:br>
                <a:r>
                  <a:rPr kumimoji="0" lang="en-US" sz="1400" b="1" i="0" u="none" strike="noStrike" kern="0" cap="none" spc="0" normalizeH="0" baseline="0" noProof="0" dirty="0">
                    <a:ln>
                      <a:noFill/>
                    </a:ln>
                    <a:solidFill>
                      <a:schemeClr val="accent1"/>
                    </a:solidFill>
                    <a:effectLst/>
                    <a:uLnTx/>
                    <a:uFillTx/>
                    <a:latin typeface="Gill Sans MT" panose="020B0502020104020203" pitchFamily="34" charset="0"/>
                    <a:cs typeface="Segoe UI" panose="020B0502040204020203" pitchFamily="34" charset="0"/>
                  </a:rPr>
                  <a:t>Ipsum</a:t>
                </a:r>
              </a:p>
            </p:txBody>
          </p:sp>
          <p:sp>
            <p:nvSpPr>
              <p:cNvPr id="9" name="Rectangle 68">
                <a:extLst>
                  <a:ext uri="{FF2B5EF4-FFF2-40B4-BE49-F238E27FC236}">
                    <a16:creationId xmlns:a16="http://schemas.microsoft.com/office/drawing/2014/main" id="{6CB175CA-99B0-4535-8C52-4EEAF5A1F4B4}"/>
                  </a:ext>
                </a:extLst>
              </p:cNvPr>
              <p:cNvSpPr/>
              <p:nvPr/>
            </p:nvSpPr>
            <p:spPr>
              <a:xfrm flipH="1">
                <a:off x="6576919" y="2972661"/>
                <a:ext cx="730872" cy="796821"/>
              </a:xfrm>
              <a:prstGeom prst="rect">
                <a:avLst/>
              </a:prstGeom>
            </p:spPr>
            <p:txBody>
              <a:bodyPr wrap="square" lIns="0" tIns="0" rIns="0" bIns="0" anchor="t" anchorCtr="0">
                <a:spAutoFit/>
              </a:bodyPr>
              <a:lstStyle/>
              <a:p>
                <a:pPr marL="0" marR="0" lvl="0" indent="0" algn="ctr" defTabSz="914400" rtl="0" eaLnBrk="1" fontAlgn="auto" latinLnBrk="0" hangingPunct="1">
                  <a:lnSpc>
                    <a:spcPct val="200000"/>
                  </a:lnSpc>
                  <a:spcBef>
                    <a:spcPts val="0"/>
                  </a:spcBef>
                  <a:spcAft>
                    <a:spcPts val="0"/>
                  </a:spcAft>
                  <a:buClrTx/>
                  <a:buSzTx/>
                  <a:buFontTx/>
                  <a:buNone/>
                  <a:tabLst/>
                  <a:defRPr/>
                </a:pPr>
                <a:r>
                  <a:rPr kumimoji="0" lang="en-US" sz="1400" b="1" i="0" u="none" strike="noStrike" kern="0" cap="none" spc="0" normalizeH="0" baseline="0" noProof="0" dirty="0">
                    <a:ln>
                      <a:noFill/>
                    </a:ln>
                    <a:solidFill>
                      <a:schemeClr val="accent1"/>
                    </a:solidFill>
                    <a:effectLst/>
                    <a:uLnTx/>
                    <a:uFillTx/>
                    <a:latin typeface="Gill Sans MT" panose="020B0502020104020203" pitchFamily="34" charset="0"/>
                    <a:cs typeface="Segoe UI" panose="020B0502040204020203" pitchFamily="34" charset="0"/>
                  </a:rPr>
                  <a:t>Lorem</a:t>
                </a:r>
                <a:br>
                  <a:rPr kumimoji="0" lang="en-US" sz="1400" b="1" i="0" u="none" strike="noStrike" kern="0" cap="none" spc="0" normalizeH="0" baseline="0" noProof="0" dirty="0">
                    <a:ln>
                      <a:noFill/>
                    </a:ln>
                    <a:solidFill>
                      <a:schemeClr val="accent1"/>
                    </a:solidFill>
                    <a:effectLst/>
                    <a:uLnTx/>
                    <a:uFillTx/>
                    <a:latin typeface="Gill Sans MT" panose="020B0502020104020203" pitchFamily="34" charset="0"/>
                    <a:cs typeface="Segoe UI" panose="020B0502040204020203" pitchFamily="34" charset="0"/>
                  </a:rPr>
                </a:br>
                <a:r>
                  <a:rPr kumimoji="0" lang="en-US" sz="1400" b="1" i="0" u="none" strike="noStrike" kern="0" cap="none" spc="0" normalizeH="0" baseline="0" noProof="0" dirty="0">
                    <a:ln>
                      <a:noFill/>
                    </a:ln>
                    <a:solidFill>
                      <a:schemeClr val="accent1"/>
                    </a:solidFill>
                    <a:effectLst/>
                    <a:uLnTx/>
                    <a:uFillTx/>
                    <a:latin typeface="Gill Sans MT" panose="020B0502020104020203" pitchFamily="34" charset="0"/>
                    <a:cs typeface="Segoe UI" panose="020B0502040204020203" pitchFamily="34" charset="0"/>
                  </a:rPr>
                  <a:t>Ipsum</a:t>
                </a:r>
              </a:p>
            </p:txBody>
          </p:sp>
          <p:sp>
            <p:nvSpPr>
              <p:cNvPr id="10" name="Rectangle 69">
                <a:extLst>
                  <a:ext uri="{FF2B5EF4-FFF2-40B4-BE49-F238E27FC236}">
                    <a16:creationId xmlns:a16="http://schemas.microsoft.com/office/drawing/2014/main" id="{A94DBA34-5D7E-41E6-8566-37966BBB428E}"/>
                  </a:ext>
                </a:extLst>
              </p:cNvPr>
              <p:cNvSpPr/>
              <p:nvPr/>
            </p:nvSpPr>
            <p:spPr>
              <a:xfrm flipH="1">
                <a:off x="7926742" y="2972661"/>
                <a:ext cx="730872" cy="796821"/>
              </a:xfrm>
              <a:prstGeom prst="rect">
                <a:avLst/>
              </a:prstGeom>
            </p:spPr>
            <p:txBody>
              <a:bodyPr wrap="square" lIns="0" tIns="0" rIns="0" bIns="0" anchor="t" anchorCtr="0">
                <a:spAutoFit/>
              </a:bodyPr>
              <a:lstStyle/>
              <a:p>
                <a:pPr marL="0" marR="0" lvl="0" indent="0" algn="ctr" defTabSz="914400" rtl="0" eaLnBrk="1" fontAlgn="auto" latinLnBrk="0" hangingPunct="1">
                  <a:lnSpc>
                    <a:spcPct val="200000"/>
                  </a:lnSpc>
                  <a:spcBef>
                    <a:spcPts val="0"/>
                  </a:spcBef>
                  <a:spcAft>
                    <a:spcPts val="0"/>
                  </a:spcAft>
                  <a:buClrTx/>
                  <a:buSzTx/>
                  <a:buFontTx/>
                  <a:buNone/>
                  <a:tabLst/>
                  <a:defRPr/>
                </a:pPr>
                <a:r>
                  <a:rPr kumimoji="0" lang="en-US" sz="1400" b="1" i="0" u="none" strike="noStrike" kern="0" cap="none" spc="0" normalizeH="0" baseline="0" noProof="0" dirty="0">
                    <a:ln>
                      <a:noFill/>
                    </a:ln>
                    <a:solidFill>
                      <a:schemeClr val="accent1"/>
                    </a:solidFill>
                    <a:effectLst/>
                    <a:uLnTx/>
                    <a:uFillTx/>
                    <a:latin typeface="Gill Sans MT" panose="020B0502020104020203" pitchFamily="34" charset="0"/>
                    <a:cs typeface="Segoe UI" panose="020B0502040204020203" pitchFamily="34" charset="0"/>
                  </a:rPr>
                  <a:t>Lorem</a:t>
                </a:r>
                <a:br>
                  <a:rPr kumimoji="0" lang="en-US" sz="1400" b="1" i="0" u="none" strike="noStrike" kern="0" cap="none" spc="0" normalizeH="0" baseline="0" noProof="0" dirty="0">
                    <a:ln>
                      <a:noFill/>
                    </a:ln>
                    <a:solidFill>
                      <a:schemeClr val="accent1"/>
                    </a:solidFill>
                    <a:effectLst/>
                    <a:uLnTx/>
                    <a:uFillTx/>
                    <a:latin typeface="Gill Sans MT" panose="020B0502020104020203" pitchFamily="34" charset="0"/>
                    <a:cs typeface="Segoe UI" panose="020B0502040204020203" pitchFamily="34" charset="0"/>
                  </a:rPr>
                </a:br>
                <a:r>
                  <a:rPr kumimoji="0" lang="en-US" sz="1400" b="1" i="0" u="none" strike="noStrike" kern="0" cap="none" spc="0" normalizeH="0" baseline="0" noProof="0" dirty="0">
                    <a:ln>
                      <a:noFill/>
                    </a:ln>
                    <a:solidFill>
                      <a:schemeClr val="accent1"/>
                    </a:solidFill>
                    <a:effectLst/>
                    <a:uLnTx/>
                    <a:uFillTx/>
                    <a:latin typeface="Gill Sans MT" panose="020B0502020104020203" pitchFamily="34" charset="0"/>
                    <a:cs typeface="Segoe UI" panose="020B0502040204020203" pitchFamily="34" charset="0"/>
                  </a:rPr>
                  <a:t>Ipsum</a:t>
                </a:r>
              </a:p>
            </p:txBody>
          </p:sp>
          <p:sp>
            <p:nvSpPr>
              <p:cNvPr id="11" name="Rectangle 70">
                <a:extLst>
                  <a:ext uri="{FF2B5EF4-FFF2-40B4-BE49-F238E27FC236}">
                    <a16:creationId xmlns:a16="http://schemas.microsoft.com/office/drawing/2014/main" id="{10E06FDF-5A1F-4A45-BDC2-76CDB44A3DC4}"/>
                  </a:ext>
                </a:extLst>
              </p:cNvPr>
              <p:cNvSpPr/>
              <p:nvPr/>
            </p:nvSpPr>
            <p:spPr>
              <a:xfrm flipH="1">
                <a:off x="9276565" y="2972661"/>
                <a:ext cx="730872" cy="796821"/>
              </a:xfrm>
              <a:prstGeom prst="rect">
                <a:avLst/>
              </a:prstGeom>
            </p:spPr>
            <p:txBody>
              <a:bodyPr wrap="square" lIns="0" tIns="0" rIns="0" bIns="0" anchor="t" anchorCtr="0">
                <a:spAutoFit/>
              </a:bodyPr>
              <a:lstStyle/>
              <a:p>
                <a:pPr marL="0" marR="0" lvl="0" indent="0" algn="ctr" defTabSz="914400" rtl="0" eaLnBrk="1" fontAlgn="auto" latinLnBrk="0" hangingPunct="1">
                  <a:lnSpc>
                    <a:spcPct val="200000"/>
                  </a:lnSpc>
                  <a:spcBef>
                    <a:spcPts val="0"/>
                  </a:spcBef>
                  <a:spcAft>
                    <a:spcPts val="0"/>
                  </a:spcAft>
                  <a:buClrTx/>
                  <a:buSzTx/>
                  <a:buFontTx/>
                  <a:buNone/>
                  <a:tabLst/>
                  <a:defRPr/>
                </a:pPr>
                <a:r>
                  <a:rPr kumimoji="0" lang="en-US" sz="1400" b="1" i="0" u="none" strike="noStrike" kern="0" cap="none" spc="0" normalizeH="0" baseline="0" noProof="0" dirty="0">
                    <a:ln>
                      <a:noFill/>
                    </a:ln>
                    <a:solidFill>
                      <a:schemeClr val="accent1"/>
                    </a:solidFill>
                    <a:effectLst/>
                    <a:uLnTx/>
                    <a:uFillTx/>
                    <a:latin typeface="Gill Sans MT" panose="020B0502020104020203" pitchFamily="34" charset="0"/>
                    <a:cs typeface="Segoe UI" panose="020B0502040204020203" pitchFamily="34" charset="0"/>
                  </a:rPr>
                  <a:t>Lorem</a:t>
                </a:r>
                <a:br>
                  <a:rPr kumimoji="0" lang="en-US" sz="1400" b="1" i="0" u="none" strike="noStrike" kern="0" cap="none" spc="0" normalizeH="0" baseline="0" noProof="0" dirty="0">
                    <a:ln>
                      <a:noFill/>
                    </a:ln>
                    <a:solidFill>
                      <a:schemeClr val="accent1"/>
                    </a:solidFill>
                    <a:effectLst/>
                    <a:uLnTx/>
                    <a:uFillTx/>
                    <a:latin typeface="Gill Sans MT" panose="020B0502020104020203" pitchFamily="34" charset="0"/>
                    <a:cs typeface="Segoe UI" panose="020B0502040204020203" pitchFamily="34" charset="0"/>
                  </a:rPr>
                </a:br>
                <a:r>
                  <a:rPr kumimoji="0" lang="en-US" sz="1400" b="1" i="0" u="none" strike="noStrike" kern="0" cap="none" spc="0" normalizeH="0" baseline="0" noProof="0" dirty="0">
                    <a:ln>
                      <a:noFill/>
                    </a:ln>
                    <a:solidFill>
                      <a:schemeClr val="accent1"/>
                    </a:solidFill>
                    <a:effectLst/>
                    <a:uLnTx/>
                    <a:uFillTx/>
                    <a:latin typeface="Gill Sans MT" panose="020B0502020104020203" pitchFamily="34" charset="0"/>
                    <a:cs typeface="Segoe UI" panose="020B0502040204020203" pitchFamily="34" charset="0"/>
                  </a:rPr>
                  <a:t>Ipsum</a:t>
                </a:r>
              </a:p>
            </p:txBody>
          </p:sp>
          <p:grpSp>
            <p:nvGrpSpPr>
              <p:cNvPr id="12" name="Group 26">
                <a:extLst>
                  <a:ext uri="{FF2B5EF4-FFF2-40B4-BE49-F238E27FC236}">
                    <a16:creationId xmlns:a16="http://schemas.microsoft.com/office/drawing/2014/main" id="{5057E14B-45B5-4700-8B1F-F07BFA8B3743}"/>
                  </a:ext>
                </a:extLst>
              </p:cNvPr>
              <p:cNvGrpSpPr/>
              <p:nvPr/>
            </p:nvGrpSpPr>
            <p:grpSpPr>
              <a:xfrm>
                <a:off x="8765204" y="3264217"/>
                <a:ext cx="403771" cy="403770"/>
                <a:chOff x="8765204" y="3264217"/>
                <a:chExt cx="403771" cy="403770"/>
              </a:xfrm>
            </p:grpSpPr>
            <p:sp>
              <p:nvSpPr>
                <p:cNvPr id="32" name="Oval 11">
                  <a:extLst>
                    <a:ext uri="{FF2B5EF4-FFF2-40B4-BE49-F238E27FC236}">
                      <a16:creationId xmlns:a16="http://schemas.microsoft.com/office/drawing/2014/main" id="{D6FCDD03-0BB1-4B9C-BCEB-10A043890300}"/>
                    </a:ext>
                  </a:extLst>
                </p:cNvPr>
                <p:cNvSpPr/>
                <p:nvPr/>
              </p:nvSpPr>
              <p:spPr>
                <a:xfrm flipH="1">
                  <a:off x="8765204" y="3264217"/>
                  <a:ext cx="403771" cy="403770"/>
                </a:xfrm>
                <a:prstGeom prst="ellipse">
                  <a:avLst/>
                </a:prstGeom>
                <a:solidFill>
                  <a:sysClr val="window" lastClr="FFFFFF"/>
                </a:solidFill>
                <a:ln w="12700" cap="flat" cmpd="sng" algn="ctr">
                  <a:noFill/>
                  <a:prstDash val="solid"/>
                  <a:miter lim="800000"/>
                </a:ln>
                <a:effectLst>
                  <a:outerShdw blurRad="50800" dist="38100" dir="2700000" algn="tl" rotWithShape="0">
                    <a:prstClr val="black">
                      <a:alpha val="24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33" name="Freeform 43">
                  <a:extLst>
                    <a:ext uri="{FF2B5EF4-FFF2-40B4-BE49-F238E27FC236}">
                      <a16:creationId xmlns:a16="http://schemas.microsoft.com/office/drawing/2014/main" id="{3528A9C4-7700-47F6-9770-E9F69E28D4DD}"/>
                    </a:ext>
                  </a:extLst>
                </p:cNvPr>
                <p:cNvSpPr>
                  <a:spLocks noEditPoints="1"/>
                </p:cNvSpPr>
                <p:nvPr/>
              </p:nvSpPr>
              <p:spPr bwMode="auto">
                <a:xfrm>
                  <a:off x="8875648" y="3374663"/>
                  <a:ext cx="182882" cy="182878"/>
                </a:xfrm>
                <a:custGeom>
                  <a:avLst/>
                  <a:gdLst>
                    <a:gd name="T0" fmla="*/ 47 w 48"/>
                    <a:gd name="T1" fmla="*/ 41 h 48"/>
                    <a:gd name="T2" fmla="*/ 36 w 48"/>
                    <a:gd name="T3" fmla="*/ 30 h 48"/>
                    <a:gd name="T4" fmla="*/ 33 w 48"/>
                    <a:gd name="T5" fmla="*/ 28 h 48"/>
                    <a:gd name="T6" fmla="*/ 36 w 48"/>
                    <a:gd name="T7" fmla="*/ 18 h 48"/>
                    <a:gd name="T8" fmla="*/ 18 w 48"/>
                    <a:gd name="T9" fmla="*/ 0 h 48"/>
                    <a:gd name="T10" fmla="*/ 0 w 48"/>
                    <a:gd name="T11" fmla="*/ 18 h 48"/>
                    <a:gd name="T12" fmla="*/ 18 w 48"/>
                    <a:gd name="T13" fmla="*/ 36 h 48"/>
                    <a:gd name="T14" fmla="*/ 28 w 48"/>
                    <a:gd name="T15" fmla="*/ 33 h 48"/>
                    <a:gd name="T16" fmla="*/ 30 w 48"/>
                    <a:gd name="T17" fmla="*/ 36 h 48"/>
                    <a:gd name="T18" fmla="*/ 41 w 48"/>
                    <a:gd name="T19" fmla="*/ 47 h 48"/>
                    <a:gd name="T20" fmla="*/ 47 w 48"/>
                    <a:gd name="T21" fmla="*/ 47 h 48"/>
                    <a:gd name="T22" fmla="*/ 47 w 48"/>
                    <a:gd name="T23" fmla="*/ 41 h 48"/>
                    <a:gd name="T24" fmla="*/ 20 w 48"/>
                    <a:gd name="T25" fmla="*/ 26 h 48"/>
                    <a:gd name="T26" fmla="*/ 18 w 48"/>
                    <a:gd name="T27" fmla="*/ 28 h 48"/>
                    <a:gd name="T28" fmla="*/ 16 w 48"/>
                    <a:gd name="T29" fmla="*/ 26 h 48"/>
                    <a:gd name="T30" fmla="*/ 16 w 48"/>
                    <a:gd name="T31" fmla="*/ 20 h 48"/>
                    <a:gd name="T32" fmla="*/ 10 w 48"/>
                    <a:gd name="T33" fmla="*/ 20 h 48"/>
                    <a:gd name="T34" fmla="*/ 8 w 48"/>
                    <a:gd name="T35" fmla="*/ 18 h 48"/>
                    <a:gd name="T36" fmla="*/ 10 w 48"/>
                    <a:gd name="T37" fmla="*/ 16 h 48"/>
                    <a:gd name="T38" fmla="*/ 16 w 48"/>
                    <a:gd name="T39" fmla="*/ 16 h 48"/>
                    <a:gd name="T40" fmla="*/ 16 w 48"/>
                    <a:gd name="T41" fmla="*/ 10 h 48"/>
                    <a:gd name="T42" fmla="*/ 18 w 48"/>
                    <a:gd name="T43" fmla="*/ 8 h 48"/>
                    <a:gd name="T44" fmla="*/ 20 w 48"/>
                    <a:gd name="T45" fmla="*/ 10 h 48"/>
                    <a:gd name="T46" fmla="*/ 20 w 48"/>
                    <a:gd name="T47" fmla="*/ 16 h 48"/>
                    <a:gd name="T48" fmla="*/ 26 w 48"/>
                    <a:gd name="T49" fmla="*/ 16 h 48"/>
                    <a:gd name="T50" fmla="*/ 28 w 48"/>
                    <a:gd name="T51" fmla="*/ 18 h 48"/>
                    <a:gd name="T52" fmla="*/ 26 w 48"/>
                    <a:gd name="T53" fmla="*/ 20 h 48"/>
                    <a:gd name="T54" fmla="*/ 20 w 48"/>
                    <a:gd name="T55" fmla="*/ 20 h 48"/>
                    <a:gd name="T56" fmla="*/ 20 w 48"/>
                    <a:gd name="T57" fmla="*/ 2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8" h="48">
                      <a:moveTo>
                        <a:pt x="47" y="41"/>
                      </a:moveTo>
                      <a:cubicBezTo>
                        <a:pt x="36" y="30"/>
                        <a:pt x="36" y="30"/>
                        <a:pt x="36" y="30"/>
                      </a:cubicBezTo>
                      <a:cubicBezTo>
                        <a:pt x="33" y="28"/>
                        <a:pt x="33" y="28"/>
                        <a:pt x="33" y="28"/>
                      </a:cubicBezTo>
                      <a:cubicBezTo>
                        <a:pt x="35" y="25"/>
                        <a:pt x="36" y="22"/>
                        <a:pt x="36" y="18"/>
                      </a:cubicBezTo>
                      <a:cubicBezTo>
                        <a:pt x="36" y="8"/>
                        <a:pt x="28" y="0"/>
                        <a:pt x="18" y="0"/>
                      </a:cubicBezTo>
                      <a:cubicBezTo>
                        <a:pt x="8" y="0"/>
                        <a:pt x="0" y="8"/>
                        <a:pt x="0" y="18"/>
                      </a:cubicBezTo>
                      <a:cubicBezTo>
                        <a:pt x="0" y="28"/>
                        <a:pt x="8" y="36"/>
                        <a:pt x="18" y="36"/>
                      </a:cubicBezTo>
                      <a:cubicBezTo>
                        <a:pt x="22" y="36"/>
                        <a:pt x="25" y="35"/>
                        <a:pt x="28" y="33"/>
                      </a:cubicBezTo>
                      <a:cubicBezTo>
                        <a:pt x="30" y="36"/>
                        <a:pt x="30" y="36"/>
                        <a:pt x="30" y="36"/>
                      </a:cubicBezTo>
                      <a:cubicBezTo>
                        <a:pt x="41" y="47"/>
                        <a:pt x="41" y="47"/>
                        <a:pt x="41" y="47"/>
                      </a:cubicBezTo>
                      <a:cubicBezTo>
                        <a:pt x="43" y="48"/>
                        <a:pt x="45" y="48"/>
                        <a:pt x="47" y="47"/>
                      </a:cubicBezTo>
                      <a:cubicBezTo>
                        <a:pt x="48" y="45"/>
                        <a:pt x="48" y="43"/>
                        <a:pt x="47" y="41"/>
                      </a:cubicBezTo>
                      <a:close/>
                      <a:moveTo>
                        <a:pt x="20" y="26"/>
                      </a:moveTo>
                      <a:cubicBezTo>
                        <a:pt x="20" y="27"/>
                        <a:pt x="19" y="28"/>
                        <a:pt x="18" y="28"/>
                      </a:cubicBezTo>
                      <a:cubicBezTo>
                        <a:pt x="17" y="28"/>
                        <a:pt x="16" y="27"/>
                        <a:pt x="16" y="26"/>
                      </a:cubicBezTo>
                      <a:cubicBezTo>
                        <a:pt x="16" y="20"/>
                        <a:pt x="16" y="20"/>
                        <a:pt x="16" y="20"/>
                      </a:cubicBezTo>
                      <a:cubicBezTo>
                        <a:pt x="10" y="20"/>
                        <a:pt x="10" y="20"/>
                        <a:pt x="10" y="20"/>
                      </a:cubicBezTo>
                      <a:cubicBezTo>
                        <a:pt x="9" y="20"/>
                        <a:pt x="8" y="19"/>
                        <a:pt x="8" y="18"/>
                      </a:cubicBezTo>
                      <a:cubicBezTo>
                        <a:pt x="8" y="17"/>
                        <a:pt x="9" y="16"/>
                        <a:pt x="10" y="16"/>
                      </a:cubicBezTo>
                      <a:cubicBezTo>
                        <a:pt x="16" y="16"/>
                        <a:pt x="16" y="16"/>
                        <a:pt x="16" y="16"/>
                      </a:cubicBezTo>
                      <a:cubicBezTo>
                        <a:pt x="16" y="10"/>
                        <a:pt x="16" y="10"/>
                        <a:pt x="16" y="10"/>
                      </a:cubicBezTo>
                      <a:cubicBezTo>
                        <a:pt x="16" y="9"/>
                        <a:pt x="17" y="8"/>
                        <a:pt x="18" y="8"/>
                      </a:cubicBezTo>
                      <a:cubicBezTo>
                        <a:pt x="19" y="8"/>
                        <a:pt x="20" y="9"/>
                        <a:pt x="20" y="10"/>
                      </a:cubicBezTo>
                      <a:cubicBezTo>
                        <a:pt x="20" y="16"/>
                        <a:pt x="20" y="16"/>
                        <a:pt x="20" y="16"/>
                      </a:cubicBezTo>
                      <a:cubicBezTo>
                        <a:pt x="26" y="16"/>
                        <a:pt x="26" y="16"/>
                        <a:pt x="26" y="16"/>
                      </a:cubicBezTo>
                      <a:cubicBezTo>
                        <a:pt x="27" y="16"/>
                        <a:pt x="28" y="17"/>
                        <a:pt x="28" y="18"/>
                      </a:cubicBezTo>
                      <a:cubicBezTo>
                        <a:pt x="28" y="19"/>
                        <a:pt x="27" y="20"/>
                        <a:pt x="26" y="20"/>
                      </a:cubicBezTo>
                      <a:cubicBezTo>
                        <a:pt x="20" y="20"/>
                        <a:pt x="20" y="20"/>
                        <a:pt x="20" y="20"/>
                      </a:cubicBezTo>
                      <a:lnTo>
                        <a:pt x="20" y="26"/>
                      </a:lnTo>
                      <a:close/>
                    </a:path>
                  </a:pathLst>
                </a:custGeom>
                <a:gradFill flip="none" rotWithShape="1">
                  <a:gsLst>
                    <a:gs pos="100000">
                      <a:schemeClr val="accent1"/>
                    </a:gs>
                    <a:gs pos="33000">
                      <a:schemeClr val="accent1"/>
                    </a:gs>
                  </a:gsLst>
                  <a:lin ang="1800000" scaled="0"/>
                  <a:tileRect/>
                </a:gradFill>
                <a:ln w="12700" cap="flat" cmpd="sng" algn="ctr">
                  <a:noFill/>
                  <a:prstDash val="solid"/>
                  <a:miter lim="800000"/>
                </a:ln>
                <a:effectLst>
                  <a:outerShdw blurRad="215900" sx="104000" sy="104000" algn="ctr" rotWithShape="0">
                    <a:prstClr val="black">
                      <a:alpha val="19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0" cap="none" spc="0" normalizeH="0" baseline="0" noProof="0">
                    <a:ln>
                      <a:noFill/>
                    </a:ln>
                    <a:solidFill>
                      <a:prstClr val="white"/>
                    </a:solidFill>
                    <a:effectLst/>
                    <a:uLnTx/>
                    <a:uFillTx/>
                    <a:latin typeface="Arial"/>
                    <a:cs typeface="+mn-cs"/>
                  </a:endParaRPr>
                </a:p>
              </p:txBody>
            </p:sp>
          </p:grpSp>
          <p:grpSp>
            <p:nvGrpSpPr>
              <p:cNvPr id="13" name="Group 34">
                <a:extLst>
                  <a:ext uri="{FF2B5EF4-FFF2-40B4-BE49-F238E27FC236}">
                    <a16:creationId xmlns:a16="http://schemas.microsoft.com/office/drawing/2014/main" id="{AD683074-FAAF-4641-ACB0-4CF6E2BCD461}"/>
                  </a:ext>
                </a:extLst>
              </p:cNvPr>
              <p:cNvGrpSpPr/>
              <p:nvPr/>
            </p:nvGrpSpPr>
            <p:grpSpPr>
              <a:xfrm>
                <a:off x="10115028" y="3264217"/>
                <a:ext cx="403771" cy="403770"/>
                <a:chOff x="10115028" y="3264217"/>
                <a:chExt cx="403771" cy="403770"/>
              </a:xfrm>
            </p:grpSpPr>
            <p:sp>
              <p:nvSpPr>
                <p:cNvPr id="30" name="Oval 14">
                  <a:extLst>
                    <a:ext uri="{FF2B5EF4-FFF2-40B4-BE49-F238E27FC236}">
                      <a16:creationId xmlns:a16="http://schemas.microsoft.com/office/drawing/2014/main" id="{5C00B809-876F-4A0F-8ECF-6793B44BE87A}"/>
                    </a:ext>
                  </a:extLst>
                </p:cNvPr>
                <p:cNvSpPr/>
                <p:nvPr/>
              </p:nvSpPr>
              <p:spPr>
                <a:xfrm flipH="1">
                  <a:off x="10115028" y="3264217"/>
                  <a:ext cx="403771" cy="403770"/>
                </a:xfrm>
                <a:prstGeom prst="ellipse">
                  <a:avLst/>
                </a:prstGeom>
                <a:solidFill>
                  <a:sysClr val="window" lastClr="FFFFFF"/>
                </a:solidFill>
                <a:ln w="12700" cap="flat" cmpd="sng" algn="ctr">
                  <a:noFill/>
                  <a:prstDash val="solid"/>
                  <a:miter lim="800000"/>
                </a:ln>
                <a:effectLst>
                  <a:outerShdw blurRad="50800" dist="38100" dir="2700000" algn="tl" rotWithShape="0">
                    <a:prstClr val="black">
                      <a:alpha val="24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31" name="Freeform 150">
                  <a:extLst>
                    <a:ext uri="{FF2B5EF4-FFF2-40B4-BE49-F238E27FC236}">
                      <a16:creationId xmlns:a16="http://schemas.microsoft.com/office/drawing/2014/main" id="{BAC877F6-9E9E-4FDA-BF34-F50EA9917A2E}"/>
                    </a:ext>
                  </a:extLst>
                </p:cNvPr>
                <p:cNvSpPr>
                  <a:spLocks noEditPoints="1"/>
                </p:cNvSpPr>
                <p:nvPr/>
              </p:nvSpPr>
              <p:spPr bwMode="auto">
                <a:xfrm>
                  <a:off x="10219719" y="3368480"/>
                  <a:ext cx="194388" cy="195244"/>
                </a:xfrm>
                <a:custGeom>
                  <a:avLst/>
                  <a:gdLst>
                    <a:gd name="T0" fmla="*/ 48 w 96"/>
                    <a:gd name="T1" fmla="*/ 0 h 96"/>
                    <a:gd name="T2" fmla="*/ 0 w 96"/>
                    <a:gd name="T3" fmla="*/ 48 h 96"/>
                    <a:gd name="T4" fmla="*/ 48 w 96"/>
                    <a:gd name="T5" fmla="*/ 96 h 96"/>
                    <a:gd name="T6" fmla="*/ 96 w 96"/>
                    <a:gd name="T7" fmla="*/ 48 h 96"/>
                    <a:gd name="T8" fmla="*/ 48 w 96"/>
                    <a:gd name="T9" fmla="*/ 0 h 96"/>
                    <a:gd name="T10" fmla="*/ 72 w 96"/>
                    <a:gd name="T11" fmla="*/ 43 h 96"/>
                    <a:gd name="T12" fmla="*/ 70 w 96"/>
                    <a:gd name="T13" fmla="*/ 44 h 96"/>
                    <a:gd name="T14" fmla="*/ 54 w 96"/>
                    <a:gd name="T15" fmla="*/ 44 h 96"/>
                    <a:gd name="T16" fmla="*/ 52 w 96"/>
                    <a:gd name="T17" fmla="*/ 45 h 96"/>
                    <a:gd name="T18" fmla="*/ 50 w 96"/>
                    <a:gd name="T19" fmla="*/ 48 h 96"/>
                    <a:gd name="T20" fmla="*/ 64 w 96"/>
                    <a:gd name="T21" fmla="*/ 48 h 96"/>
                    <a:gd name="T22" fmla="*/ 66 w 96"/>
                    <a:gd name="T23" fmla="*/ 50 h 96"/>
                    <a:gd name="T24" fmla="*/ 64 w 96"/>
                    <a:gd name="T25" fmla="*/ 52 h 96"/>
                    <a:gd name="T26" fmla="*/ 46 w 96"/>
                    <a:gd name="T27" fmla="*/ 52 h 96"/>
                    <a:gd name="T28" fmla="*/ 42 w 96"/>
                    <a:gd name="T29" fmla="*/ 56 h 96"/>
                    <a:gd name="T30" fmla="*/ 58 w 96"/>
                    <a:gd name="T31" fmla="*/ 56 h 96"/>
                    <a:gd name="T32" fmla="*/ 60 w 96"/>
                    <a:gd name="T33" fmla="*/ 57 h 96"/>
                    <a:gd name="T34" fmla="*/ 60 w 96"/>
                    <a:gd name="T35" fmla="*/ 59 h 96"/>
                    <a:gd name="T36" fmla="*/ 37 w 96"/>
                    <a:gd name="T37" fmla="*/ 69 h 96"/>
                    <a:gd name="T38" fmla="*/ 30 w 96"/>
                    <a:gd name="T39" fmla="*/ 68 h 96"/>
                    <a:gd name="T40" fmla="*/ 25 w 96"/>
                    <a:gd name="T41" fmla="*/ 73 h 96"/>
                    <a:gd name="T42" fmla="*/ 22 w 96"/>
                    <a:gd name="T43" fmla="*/ 73 h 96"/>
                    <a:gd name="T44" fmla="*/ 22 w 96"/>
                    <a:gd name="T45" fmla="*/ 70 h 96"/>
                    <a:gd name="T46" fmla="*/ 27 w 96"/>
                    <a:gd name="T47" fmla="*/ 65 h 96"/>
                    <a:gd name="T48" fmla="*/ 28 w 96"/>
                    <a:gd name="T49" fmla="*/ 52 h 96"/>
                    <a:gd name="T50" fmla="*/ 40 w 96"/>
                    <a:gd name="T51" fmla="*/ 33 h 96"/>
                    <a:gd name="T52" fmla="*/ 57 w 96"/>
                    <a:gd name="T53" fmla="*/ 20 h 96"/>
                    <a:gd name="T54" fmla="*/ 59 w 96"/>
                    <a:gd name="T55" fmla="*/ 20 h 96"/>
                    <a:gd name="T56" fmla="*/ 60 w 96"/>
                    <a:gd name="T57" fmla="*/ 22 h 96"/>
                    <a:gd name="T58" fmla="*/ 60 w 96"/>
                    <a:gd name="T59" fmla="*/ 32 h 96"/>
                    <a:gd name="T60" fmla="*/ 70 w 96"/>
                    <a:gd name="T61" fmla="*/ 22 h 96"/>
                    <a:gd name="T62" fmla="*/ 73 w 96"/>
                    <a:gd name="T63" fmla="*/ 22 h 96"/>
                    <a:gd name="T64" fmla="*/ 72 w 96"/>
                    <a:gd name="T65" fmla="*/ 43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6" h="96">
                      <a:moveTo>
                        <a:pt x="48" y="0"/>
                      </a:moveTo>
                      <a:cubicBezTo>
                        <a:pt x="22" y="0"/>
                        <a:pt x="0" y="22"/>
                        <a:pt x="0" y="48"/>
                      </a:cubicBezTo>
                      <a:cubicBezTo>
                        <a:pt x="0" y="74"/>
                        <a:pt x="22" y="96"/>
                        <a:pt x="48" y="96"/>
                      </a:cubicBezTo>
                      <a:cubicBezTo>
                        <a:pt x="74" y="96"/>
                        <a:pt x="96" y="74"/>
                        <a:pt x="96" y="48"/>
                      </a:cubicBezTo>
                      <a:cubicBezTo>
                        <a:pt x="96" y="22"/>
                        <a:pt x="74" y="0"/>
                        <a:pt x="48" y="0"/>
                      </a:cubicBezTo>
                      <a:close/>
                      <a:moveTo>
                        <a:pt x="72" y="43"/>
                      </a:moveTo>
                      <a:cubicBezTo>
                        <a:pt x="71" y="44"/>
                        <a:pt x="71" y="44"/>
                        <a:pt x="70" y="44"/>
                      </a:cubicBezTo>
                      <a:cubicBezTo>
                        <a:pt x="54" y="44"/>
                        <a:pt x="54" y="44"/>
                        <a:pt x="54" y="44"/>
                      </a:cubicBezTo>
                      <a:cubicBezTo>
                        <a:pt x="52" y="45"/>
                        <a:pt x="52" y="45"/>
                        <a:pt x="52" y="45"/>
                      </a:cubicBezTo>
                      <a:cubicBezTo>
                        <a:pt x="50" y="48"/>
                        <a:pt x="50" y="48"/>
                        <a:pt x="50" y="48"/>
                      </a:cubicBezTo>
                      <a:cubicBezTo>
                        <a:pt x="64" y="48"/>
                        <a:pt x="64" y="48"/>
                        <a:pt x="64" y="48"/>
                      </a:cubicBezTo>
                      <a:cubicBezTo>
                        <a:pt x="65" y="48"/>
                        <a:pt x="66" y="49"/>
                        <a:pt x="66" y="50"/>
                      </a:cubicBezTo>
                      <a:cubicBezTo>
                        <a:pt x="66" y="51"/>
                        <a:pt x="65" y="52"/>
                        <a:pt x="64" y="52"/>
                      </a:cubicBezTo>
                      <a:cubicBezTo>
                        <a:pt x="46" y="52"/>
                        <a:pt x="46" y="52"/>
                        <a:pt x="46" y="52"/>
                      </a:cubicBezTo>
                      <a:cubicBezTo>
                        <a:pt x="42" y="56"/>
                        <a:pt x="42" y="56"/>
                        <a:pt x="42" y="56"/>
                      </a:cubicBezTo>
                      <a:cubicBezTo>
                        <a:pt x="58" y="56"/>
                        <a:pt x="58" y="56"/>
                        <a:pt x="58" y="56"/>
                      </a:cubicBezTo>
                      <a:cubicBezTo>
                        <a:pt x="59" y="56"/>
                        <a:pt x="60" y="57"/>
                        <a:pt x="60" y="57"/>
                      </a:cubicBezTo>
                      <a:cubicBezTo>
                        <a:pt x="60" y="58"/>
                        <a:pt x="60" y="59"/>
                        <a:pt x="60" y="59"/>
                      </a:cubicBezTo>
                      <a:cubicBezTo>
                        <a:pt x="53" y="66"/>
                        <a:pt x="44" y="69"/>
                        <a:pt x="37" y="69"/>
                      </a:cubicBezTo>
                      <a:cubicBezTo>
                        <a:pt x="34" y="69"/>
                        <a:pt x="32" y="69"/>
                        <a:pt x="30" y="68"/>
                      </a:cubicBezTo>
                      <a:cubicBezTo>
                        <a:pt x="25" y="73"/>
                        <a:pt x="25" y="73"/>
                        <a:pt x="25" y="73"/>
                      </a:cubicBezTo>
                      <a:cubicBezTo>
                        <a:pt x="24" y="74"/>
                        <a:pt x="23" y="74"/>
                        <a:pt x="22" y="73"/>
                      </a:cubicBezTo>
                      <a:cubicBezTo>
                        <a:pt x="21" y="72"/>
                        <a:pt x="21" y="71"/>
                        <a:pt x="22" y="70"/>
                      </a:cubicBezTo>
                      <a:cubicBezTo>
                        <a:pt x="27" y="65"/>
                        <a:pt x="27" y="65"/>
                        <a:pt x="27" y="65"/>
                      </a:cubicBezTo>
                      <a:cubicBezTo>
                        <a:pt x="25" y="62"/>
                        <a:pt x="26" y="57"/>
                        <a:pt x="28" y="52"/>
                      </a:cubicBezTo>
                      <a:cubicBezTo>
                        <a:pt x="30" y="45"/>
                        <a:pt x="34" y="39"/>
                        <a:pt x="40" y="33"/>
                      </a:cubicBezTo>
                      <a:cubicBezTo>
                        <a:pt x="46" y="27"/>
                        <a:pt x="53" y="22"/>
                        <a:pt x="57" y="20"/>
                      </a:cubicBezTo>
                      <a:cubicBezTo>
                        <a:pt x="58" y="20"/>
                        <a:pt x="59" y="20"/>
                        <a:pt x="59" y="20"/>
                      </a:cubicBezTo>
                      <a:cubicBezTo>
                        <a:pt x="60" y="21"/>
                        <a:pt x="60" y="21"/>
                        <a:pt x="60" y="22"/>
                      </a:cubicBezTo>
                      <a:cubicBezTo>
                        <a:pt x="60" y="32"/>
                        <a:pt x="60" y="32"/>
                        <a:pt x="60" y="32"/>
                      </a:cubicBezTo>
                      <a:cubicBezTo>
                        <a:pt x="70" y="22"/>
                        <a:pt x="70" y="22"/>
                        <a:pt x="70" y="22"/>
                      </a:cubicBezTo>
                      <a:cubicBezTo>
                        <a:pt x="71" y="21"/>
                        <a:pt x="72" y="21"/>
                        <a:pt x="73" y="22"/>
                      </a:cubicBezTo>
                      <a:cubicBezTo>
                        <a:pt x="78" y="26"/>
                        <a:pt x="77" y="34"/>
                        <a:pt x="72" y="43"/>
                      </a:cubicBezTo>
                      <a:close/>
                    </a:path>
                  </a:pathLst>
                </a:custGeom>
                <a:gradFill flip="none" rotWithShape="1">
                  <a:gsLst>
                    <a:gs pos="100000">
                      <a:schemeClr val="accent1"/>
                    </a:gs>
                    <a:gs pos="33000">
                      <a:schemeClr val="accent1"/>
                    </a:gs>
                  </a:gsLst>
                  <a:lin ang="1800000" scaled="0"/>
                  <a:tileRect/>
                </a:gradFill>
                <a:ln w="12700" cap="flat" cmpd="sng" algn="ctr">
                  <a:noFill/>
                  <a:prstDash val="solid"/>
                  <a:miter lim="800000"/>
                </a:ln>
                <a:effectLst>
                  <a:outerShdw blurRad="215900" sx="104000" sy="104000" algn="ctr" rotWithShape="0">
                    <a:prstClr val="black">
                      <a:alpha val="19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0" cap="none" spc="0" normalizeH="0" baseline="0" noProof="0">
                    <a:ln>
                      <a:noFill/>
                    </a:ln>
                    <a:solidFill>
                      <a:prstClr val="white"/>
                    </a:solidFill>
                    <a:effectLst/>
                    <a:uLnTx/>
                    <a:uFillTx/>
                    <a:latin typeface="Arial"/>
                    <a:cs typeface="+mn-cs"/>
                  </a:endParaRPr>
                </a:p>
              </p:txBody>
            </p:sp>
          </p:grpSp>
          <p:grpSp>
            <p:nvGrpSpPr>
              <p:cNvPr id="14" name="Group 7">
                <a:extLst>
                  <a:ext uri="{FF2B5EF4-FFF2-40B4-BE49-F238E27FC236}">
                    <a16:creationId xmlns:a16="http://schemas.microsoft.com/office/drawing/2014/main" id="{8096CCCE-8246-4880-9C06-CE0BA75E72D9}"/>
                  </a:ext>
                </a:extLst>
              </p:cNvPr>
              <p:cNvGrpSpPr/>
              <p:nvPr/>
            </p:nvGrpSpPr>
            <p:grpSpPr>
              <a:xfrm>
                <a:off x="7415381" y="3264217"/>
                <a:ext cx="403771" cy="403770"/>
                <a:chOff x="7415381" y="3264217"/>
                <a:chExt cx="403771" cy="403770"/>
              </a:xfrm>
            </p:grpSpPr>
            <p:sp>
              <p:nvSpPr>
                <p:cNvPr id="28" name="Oval 23">
                  <a:extLst>
                    <a:ext uri="{FF2B5EF4-FFF2-40B4-BE49-F238E27FC236}">
                      <a16:creationId xmlns:a16="http://schemas.microsoft.com/office/drawing/2014/main" id="{777C2749-3E81-4A3B-B0D8-A60F32E70CDC}"/>
                    </a:ext>
                  </a:extLst>
                </p:cNvPr>
                <p:cNvSpPr/>
                <p:nvPr/>
              </p:nvSpPr>
              <p:spPr>
                <a:xfrm flipH="1">
                  <a:off x="7415381" y="3264217"/>
                  <a:ext cx="403771" cy="403770"/>
                </a:xfrm>
                <a:prstGeom prst="ellipse">
                  <a:avLst/>
                </a:prstGeom>
                <a:solidFill>
                  <a:sysClr val="window" lastClr="FFFFFF"/>
                </a:solidFill>
                <a:ln w="12700" cap="flat" cmpd="sng" algn="ctr">
                  <a:noFill/>
                  <a:prstDash val="solid"/>
                  <a:miter lim="800000"/>
                </a:ln>
                <a:effectLst>
                  <a:outerShdw blurRad="50800" dist="38100" dir="2700000" algn="tl" rotWithShape="0">
                    <a:prstClr val="black">
                      <a:alpha val="24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29" name="Freeform 48">
                  <a:extLst>
                    <a:ext uri="{FF2B5EF4-FFF2-40B4-BE49-F238E27FC236}">
                      <a16:creationId xmlns:a16="http://schemas.microsoft.com/office/drawing/2014/main" id="{D4605AA1-483C-448E-A401-AF92B260DC7E}"/>
                    </a:ext>
                  </a:extLst>
                </p:cNvPr>
                <p:cNvSpPr>
                  <a:spLocks noEditPoints="1"/>
                </p:cNvSpPr>
                <p:nvPr/>
              </p:nvSpPr>
              <p:spPr bwMode="auto">
                <a:xfrm>
                  <a:off x="7515971" y="3360161"/>
                  <a:ext cx="202590" cy="211882"/>
                </a:xfrm>
                <a:custGeom>
                  <a:avLst/>
                  <a:gdLst>
                    <a:gd name="T0" fmla="*/ 2 w 92"/>
                    <a:gd name="T1" fmla="*/ 0 h 96"/>
                    <a:gd name="T2" fmla="*/ 0 w 92"/>
                    <a:gd name="T3" fmla="*/ 94 h 96"/>
                    <a:gd name="T4" fmla="*/ 90 w 92"/>
                    <a:gd name="T5" fmla="*/ 96 h 96"/>
                    <a:gd name="T6" fmla="*/ 92 w 92"/>
                    <a:gd name="T7" fmla="*/ 2 h 96"/>
                    <a:gd name="T8" fmla="*/ 22 w 92"/>
                    <a:gd name="T9" fmla="*/ 84 h 96"/>
                    <a:gd name="T10" fmla="*/ 22 w 92"/>
                    <a:gd name="T11" fmla="*/ 68 h 96"/>
                    <a:gd name="T12" fmla="*/ 22 w 92"/>
                    <a:gd name="T13" fmla="*/ 84 h 96"/>
                    <a:gd name="T14" fmla="*/ 30 w 92"/>
                    <a:gd name="T15" fmla="*/ 44 h 96"/>
                    <a:gd name="T16" fmla="*/ 24 w 92"/>
                    <a:gd name="T17" fmla="*/ 58 h 96"/>
                    <a:gd name="T18" fmla="*/ 20 w 92"/>
                    <a:gd name="T19" fmla="*/ 58 h 96"/>
                    <a:gd name="T20" fmla="*/ 14 w 92"/>
                    <a:gd name="T21" fmla="*/ 44 h 96"/>
                    <a:gd name="T22" fmla="*/ 12 w 92"/>
                    <a:gd name="T23" fmla="*/ 34 h 96"/>
                    <a:gd name="T24" fmla="*/ 20 w 92"/>
                    <a:gd name="T25" fmla="*/ 32 h 96"/>
                    <a:gd name="T26" fmla="*/ 22 w 92"/>
                    <a:gd name="T27" fmla="*/ 12 h 96"/>
                    <a:gd name="T28" fmla="*/ 24 w 92"/>
                    <a:gd name="T29" fmla="*/ 32 h 96"/>
                    <a:gd name="T30" fmla="*/ 32 w 92"/>
                    <a:gd name="T31" fmla="*/ 34 h 96"/>
                    <a:gd name="T32" fmla="*/ 46 w 92"/>
                    <a:gd name="T33" fmla="*/ 84 h 96"/>
                    <a:gd name="T34" fmla="*/ 46 w 92"/>
                    <a:gd name="T35" fmla="*/ 68 h 96"/>
                    <a:gd name="T36" fmla="*/ 46 w 92"/>
                    <a:gd name="T37" fmla="*/ 84 h 96"/>
                    <a:gd name="T38" fmla="*/ 54 w 92"/>
                    <a:gd name="T39" fmla="*/ 32 h 96"/>
                    <a:gd name="T40" fmla="*/ 48 w 92"/>
                    <a:gd name="T41" fmla="*/ 58 h 96"/>
                    <a:gd name="T42" fmla="*/ 44 w 92"/>
                    <a:gd name="T43" fmla="*/ 58 h 96"/>
                    <a:gd name="T44" fmla="*/ 38 w 92"/>
                    <a:gd name="T45" fmla="*/ 32 h 96"/>
                    <a:gd name="T46" fmla="*/ 36 w 92"/>
                    <a:gd name="T47" fmla="*/ 22 h 96"/>
                    <a:gd name="T48" fmla="*/ 44 w 92"/>
                    <a:gd name="T49" fmla="*/ 20 h 96"/>
                    <a:gd name="T50" fmla="*/ 46 w 92"/>
                    <a:gd name="T51" fmla="*/ 12 h 96"/>
                    <a:gd name="T52" fmla="*/ 48 w 92"/>
                    <a:gd name="T53" fmla="*/ 20 h 96"/>
                    <a:gd name="T54" fmla="*/ 56 w 92"/>
                    <a:gd name="T55" fmla="*/ 22 h 96"/>
                    <a:gd name="T56" fmla="*/ 70 w 92"/>
                    <a:gd name="T57" fmla="*/ 84 h 96"/>
                    <a:gd name="T58" fmla="*/ 70 w 92"/>
                    <a:gd name="T59" fmla="*/ 68 h 96"/>
                    <a:gd name="T60" fmla="*/ 70 w 92"/>
                    <a:gd name="T61" fmla="*/ 84 h 96"/>
                    <a:gd name="T62" fmla="*/ 78 w 92"/>
                    <a:gd name="T63" fmla="*/ 52 h 96"/>
                    <a:gd name="T64" fmla="*/ 72 w 92"/>
                    <a:gd name="T65" fmla="*/ 58 h 96"/>
                    <a:gd name="T66" fmla="*/ 68 w 92"/>
                    <a:gd name="T67" fmla="*/ 58 h 96"/>
                    <a:gd name="T68" fmla="*/ 62 w 92"/>
                    <a:gd name="T69" fmla="*/ 52 h 96"/>
                    <a:gd name="T70" fmla="*/ 60 w 92"/>
                    <a:gd name="T71" fmla="*/ 42 h 96"/>
                    <a:gd name="T72" fmla="*/ 68 w 92"/>
                    <a:gd name="T73" fmla="*/ 40 h 96"/>
                    <a:gd name="T74" fmla="*/ 70 w 92"/>
                    <a:gd name="T75" fmla="*/ 12 h 96"/>
                    <a:gd name="T76" fmla="*/ 72 w 92"/>
                    <a:gd name="T77" fmla="*/ 40 h 96"/>
                    <a:gd name="T78" fmla="*/ 80 w 92"/>
                    <a:gd name="T79" fmla="*/ 4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2" h="96">
                      <a:moveTo>
                        <a:pt x="90" y="0"/>
                      </a:moveTo>
                      <a:cubicBezTo>
                        <a:pt x="2" y="0"/>
                        <a:pt x="2" y="0"/>
                        <a:pt x="2" y="0"/>
                      </a:cubicBezTo>
                      <a:cubicBezTo>
                        <a:pt x="1" y="0"/>
                        <a:pt x="0" y="1"/>
                        <a:pt x="0" y="2"/>
                      </a:cubicBezTo>
                      <a:cubicBezTo>
                        <a:pt x="0" y="94"/>
                        <a:pt x="0" y="94"/>
                        <a:pt x="0" y="94"/>
                      </a:cubicBezTo>
                      <a:cubicBezTo>
                        <a:pt x="0" y="95"/>
                        <a:pt x="1" y="96"/>
                        <a:pt x="2" y="96"/>
                      </a:cubicBezTo>
                      <a:cubicBezTo>
                        <a:pt x="90" y="96"/>
                        <a:pt x="90" y="96"/>
                        <a:pt x="90" y="96"/>
                      </a:cubicBezTo>
                      <a:cubicBezTo>
                        <a:pt x="91" y="96"/>
                        <a:pt x="92" y="95"/>
                        <a:pt x="92" y="94"/>
                      </a:cubicBezTo>
                      <a:cubicBezTo>
                        <a:pt x="92" y="2"/>
                        <a:pt x="92" y="2"/>
                        <a:pt x="92" y="2"/>
                      </a:cubicBezTo>
                      <a:cubicBezTo>
                        <a:pt x="92" y="1"/>
                        <a:pt x="91" y="0"/>
                        <a:pt x="90" y="0"/>
                      </a:cubicBezTo>
                      <a:close/>
                      <a:moveTo>
                        <a:pt x="22" y="84"/>
                      </a:moveTo>
                      <a:cubicBezTo>
                        <a:pt x="18" y="84"/>
                        <a:pt x="14" y="80"/>
                        <a:pt x="14" y="76"/>
                      </a:cubicBezTo>
                      <a:cubicBezTo>
                        <a:pt x="14" y="72"/>
                        <a:pt x="18" y="68"/>
                        <a:pt x="22" y="68"/>
                      </a:cubicBezTo>
                      <a:cubicBezTo>
                        <a:pt x="26" y="68"/>
                        <a:pt x="30" y="72"/>
                        <a:pt x="30" y="76"/>
                      </a:cubicBezTo>
                      <a:cubicBezTo>
                        <a:pt x="30" y="80"/>
                        <a:pt x="26" y="84"/>
                        <a:pt x="22" y="84"/>
                      </a:cubicBezTo>
                      <a:close/>
                      <a:moveTo>
                        <a:pt x="32" y="42"/>
                      </a:moveTo>
                      <a:cubicBezTo>
                        <a:pt x="32" y="43"/>
                        <a:pt x="31" y="44"/>
                        <a:pt x="30" y="44"/>
                      </a:cubicBezTo>
                      <a:cubicBezTo>
                        <a:pt x="24" y="44"/>
                        <a:pt x="24" y="44"/>
                        <a:pt x="24" y="44"/>
                      </a:cubicBezTo>
                      <a:cubicBezTo>
                        <a:pt x="24" y="58"/>
                        <a:pt x="24" y="58"/>
                        <a:pt x="24" y="58"/>
                      </a:cubicBezTo>
                      <a:cubicBezTo>
                        <a:pt x="24" y="59"/>
                        <a:pt x="23" y="60"/>
                        <a:pt x="22" y="60"/>
                      </a:cubicBezTo>
                      <a:cubicBezTo>
                        <a:pt x="21" y="60"/>
                        <a:pt x="20" y="59"/>
                        <a:pt x="20" y="58"/>
                      </a:cubicBezTo>
                      <a:cubicBezTo>
                        <a:pt x="20" y="44"/>
                        <a:pt x="20" y="44"/>
                        <a:pt x="20" y="44"/>
                      </a:cubicBezTo>
                      <a:cubicBezTo>
                        <a:pt x="14" y="44"/>
                        <a:pt x="14" y="44"/>
                        <a:pt x="14" y="44"/>
                      </a:cubicBezTo>
                      <a:cubicBezTo>
                        <a:pt x="13" y="44"/>
                        <a:pt x="12" y="43"/>
                        <a:pt x="12" y="42"/>
                      </a:cubicBezTo>
                      <a:cubicBezTo>
                        <a:pt x="12" y="34"/>
                        <a:pt x="12" y="34"/>
                        <a:pt x="12" y="34"/>
                      </a:cubicBezTo>
                      <a:cubicBezTo>
                        <a:pt x="12" y="33"/>
                        <a:pt x="13" y="32"/>
                        <a:pt x="14" y="32"/>
                      </a:cubicBezTo>
                      <a:cubicBezTo>
                        <a:pt x="20" y="32"/>
                        <a:pt x="20" y="32"/>
                        <a:pt x="20" y="32"/>
                      </a:cubicBezTo>
                      <a:cubicBezTo>
                        <a:pt x="20" y="14"/>
                        <a:pt x="20" y="14"/>
                        <a:pt x="20" y="14"/>
                      </a:cubicBezTo>
                      <a:cubicBezTo>
                        <a:pt x="20" y="13"/>
                        <a:pt x="21" y="12"/>
                        <a:pt x="22" y="12"/>
                      </a:cubicBezTo>
                      <a:cubicBezTo>
                        <a:pt x="23" y="12"/>
                        <a:pt x="24" y="13"/>
                        <a:pt x="24" y="14"/>
                      </a:cubicBezTo>
                      <a:cubicBezTo>
                        <a:pt x="24" y="32"/>
                        <a:pt x="24" y="32"/>
                        <a:pt x="24" y="32"/>
                      </a:cubicBezTo>
                      <a:cubicBezTo>
                        <a:pt x="30" y="32"/>
                        <a:pt x="30" y="32"/>
                        <a:pt x="30" y="32"/>
                      </a:cubicBezTo>
                      <a:cubicBezTo>
                        <a:pt x="31" y="32"/>
                        <a:pt x="32" y="33"/>
                        <a:pt x="32" y="34"/>
                      </a:cubicBezTo>
                      <a:lnTo>
                        <a:pt x="32" y="42"/>
                      </a:lnTo>
                      <a:close/>
                      <a:moveTo>
                        <a:pt x="46" y="84"/>
                      </a:moveTo>
                      <a:cubicBezTo>
                        <a:pt x="42" y="84"/>
                        <a:pt x="38" y="80"/>
                        <a:pt x="38" y="76"/>
                      </a:cubicBezTo>
                      <a:cubicBezTo>
                        <a:pt x="38" y="72"/>
                        <a:pt x="42" y="68"/>
                        <a:pt x="46" y="68"/>
                      </a:cubicBezTo>
                      <a:cubicBezTo>
                        <a:pt x="50" y="68"/>
                        <a:pt x="54" y="72"/>
                        <a:pt x="54" y="76"/>
                      </a:cubicBezTo>
                      <a:cubicBezTo>
                        <a:pt x="54" y="80"/>
                        <a:pt x="50" y="84"/>
                        <a:pt x="46" y="84"/>
                      </a:cubicBezTo>
                      <a:close/>
                      <a:moveTo>
                        <a:pt x="56" y="30"/>
                      </a:moveTo>
                      <a:cubicBezTo>
                        <a:pt x="56" y="31"/>
                        <a:pt x="55" y="32"/>
                        <a:pt x="54" y="32"/>
                      </a:cubicBezTo>
                      <a:cubicBezTo>
                        <a:pt x="48" y="32"/>
                        <a:pt x="48" y="32"/>
                        <a:pt x="48" y="32"/>
                      </a:cubicBezTo>
                      <a:cubicBezTo>
                        <a:pt x="48" y="58"/>
                        <a:pt x="48" y="58"/>
                        <a:pt x="48" y="58"/>
                      </a:cubicBezTo>
                      <a:cubicBezTo>
                        <a:pt x="48" y="59"/>
                        <a:pt x="47" y="60"/>
                        <a:pt x="46" y="60"/>
                      </a:cubicBezTo>
                      <a:cubicBezTo>
                        <a:pt x="45" y="60"/>
                        <a:pt x="44" y="59"/>
                        <a:pt x="44" y="58"/>
                      </a:cubicBezTo>
                      <a:cubicBezTo>
                        <a:pt x="44" y="32"/>
                        <a:pt x="44" y="32"/>
                        <a:pt x="44" y="32"/>
                      </a:cubicBezTo>
                      <a:cubicBezTo>
                        <a:pt x="38" y="32"/>
                        <a:pt x="38" y="32"/>
                        <a:pt x="38" y="32"/>
                      </a:cubicBezTo>
                      <a:cubicBezTo>
                        <a:pt x="37" y="32"/>
                        <a:pt x="36" y="31"/>
                        <a:pt x="36" y="30"/>
                      </a:cubicBezTo>
                      <a:cubicBezTo>
                        <a:pt x="36" y="22"/>
                        <a:pt x="36" y="22"/>
                        <a:pt x="36" y="22"/>
                      </a:cubicBezTo>
                      <a:cubicBezTo>
                        <a:pt x="36" y="21"/>
                        <a:pt x="37" y="20"/>
                        <a:pt x="38" y="20"/>
                      </a:cubicBezTo>
                      <a:cubicBezTo>
                        <a:pt x="44" y="20"/>
                        <a:pt x="44" y="20"/>
                        <a:pt x="44" y="20"/>
                      </a:cubicBezTo>
                      <a:cubicBezTo>
                        <a:pt x="44" y="14"/>
                        <a:pt x="44" y="14"/>
                        <a:pt x="44" y="14"/>
                      </a:cubicBezTo>
                      <a:cubicBezTo>
                        <a:pt x="44" y="13"/>
                        <a:pt x="45" y="12"/>
                        <a:pt x="46" y="12"/>
                      </a:cubicBezTo>
                      <a:cubicBezTo>
                        <a:pt x="47" y="12"/>
                        <a:pt x="48" y="13"/>
                        <a:pt x="48" y="14"/>
                      </a:cubicBezTo>
                      <a:cubicBezTo>
                        <a:pt x="48" y="20"/>
                        <a:pt x="48" y="20"/>
                        <a:pt x="48" y="20"/>
                      </a:cubicBezTo>
                      <a:cubicBezTo>
                        <a:pt x="54" y="20"/>
                        <a:pt x="54" y="20"/>
                        <a:pt x="54" y="20"/>
                      </a:cubicBezTo>
                      <a:cubicBezTo>
                        <a:pt x="55" y="20"/>
                        <a:pt x="56" y="21"/>
                        <a:pt x="56" y="22"/>
                      </a:cubicBezTo>
                      <a:lnTo>
                        <a:pt x="56" y="30"/>
                      </a:lnTo>
                      <a:close/>
                      <a:moveTo>
                        <a:pt x="70" y="84"/>
                      </a:moveTo>
                      <a:cubicBezTo>
                        <a:pt x="66" y="84"/>
                        <a:pt x="62" y="80"/>
                        <a:pt x="62" y="76"/>
                      </a:cubicBezTo>
                      <a:cubicBezTo>
                        <a:pt x="62" y="72"/>
                        <a:pt x="66" y="68"/>
                        <a:pt x="70" y="68"/>
                      </a:cubicBezTo>
                      <a:cubicBezTo>
                        <a:pt x="75" y="68"/>
                        <a:pt x="78" y="72"/>
                        <a:pt x="78" y="76"/>
                      </a:cubicBezTo>
                      <a:cubicBezTo>
                        <a:pt x="78" y="80"/>
                        <a:pt x="75" y="84"/>
                        <a:pt x="70" y="84"/>
                      </a:cubicBezTo>
                      <a:close/>
                      <a:moveTo>
                        <a:pt x="80" y="50"/>
                      </a:moveTo>
                      <a:cubicBezTo>
                        <a:pt x="80" y="51"/>
                        <a:pt x="79" y="52"/>
                        <a:pt x="78" y="52"/>
                      </a:cubicBezTo>
                      <a:cubicBezTo>
                        <a:pt x="72" y="52"/>
                        <a:pt x="72" y="52"/>
                        <a:pt x="72" y="52"/>
                      </a:cubicBezTo>
                      <a:cubicBezTo>
                        <a:pt x="72" y="58"/>
                        <a:pt x="72" y="58"/>
                        <a:pt x="72" y="58"/>
                      </a:cubicBezTo>
                      <a:cubicBezTo>
                        <a:pt x="72" y="59"/>
                        <a:pt x="71" y="60"/>
                        <a:pt x="70" y="60"/>
                      </a:cubicBezTo>
                      <a:cubicBezTo>
                        <a:pt x="69" y="60"/>
                        <a:pt x="68" y="59"/>
                        <a:pt x="68" y="58"/>
                      </a:cubicBezTo>
                      <a:cubicBezTo>
                        <a:pt x="68" y="52"/>
                        <a:pt x="68" y="52"/>
                        <a:pt x="68" y="52"/>
                      </a:cubicBezTo>
                      <a:cubicBezTo>
                        <a:pt x="62" y="52"/>
                        <a:pt x="62" y="52"/>
                        <a:pt x="62" y="52"/>
                      </a:cubicBezTo>
                      <a:cubicBezTo>
                        <a:pt x="61" y="52"/>
                        <a:pt x="60" y="51"/>
                        <a:pt x="60" y="50"/>
                      </a:cubicBezTo>
                      <a:cubicBezTo>
                        <a:pt x="60" y="42"/>
                        <a:pt x="60" y="42"/>
                        <a:pt x="60" y="42"/>
                      </a:cubicBezTo>
                      <a:cubicBezTo>
                        <a:pt x="60" y="41"/>
                        <a:pt x="61" y="40"/>
                        <a:pt x="62" y="40"/>
                      </a:cubicBezTo>
                      <a:cubicBezTo>
                        <a:pt x="68" y="40"/>
                        <a:pt x="68" y="40"/>
                        <a:pt x="68" y="40"/>
                      </a:cubicBezTo>
                      <a:cubicBezTo>
                        <a:pt x="68" y="14"/>
                        <a:pt x="68" y="14"/>
                        <a:pt x="68" y="14"/>
                      </a:cubicBezTo>
                      <a:cubicBezTo>
                        <a:pt x="68" y="13"/>
                        <a:pt x="69" y="12"/>
                        <a:pt x="70" y="12"/>
                      </a:cubicBezTo>
                      <a:cubicBezTo>
                        <a:pt x="71" y="12"/>
                        <a:pt x="72" y="13"/>
                        <a:pt x="72" y="14"/>
                      </a:cubicBezTo>
                      <a:cubicBezTo>
                        <a:pt x="72" y="40"/>
                        <a:pt x="72" y="40"/>
                        <a:pt x="72" y="40"/>
                      </a:cubicBezTo>
                      <a:cubicBezTo>
                        <a:pt x="78" y="40"/>
                        <a:pt x="78" y="40"/>
                        <a:pt x="78" y="40"/>
                      </a:cubicBezTo>
                      <a:cubicBezTo>
                        <a:pt x="79" y="40"/>
                        <a:pt x="80" y="41"/>
                        <a:pt x="80" y="42"/>
                      </a:cubicBezTo>
                      <a:lnTo>
                        <a:pt x="80" y="50"/>
                      </a:lnTo>
                      <a:close/>
                    </a:path>
                  </a:pathLst>
                </a:custGeom>
                <a:gradFill flip="none" rotWithShape="1">
                  <a:gsLst>
                    <a:gs pos="100000">
                      <a:schemeClr val="accent1"/>
                    </a:gs>
                    <a:gs pos="33000">
                      <a:schemeClr val="accent1"/>
                    </a:gs>
                  </a:gsLst>
                  <a:lin ang="1800000" scaled="0"/>
                  <a:tileRect/>
                </a:gradFill>
                <a:ln w="12700" cap="flat" cmpd="sng" algn="ctr">
                  <a:noFill/>
                  <a:prstDash val="solid"/>
                  <a:miter lim="800000"/>
                </a:ln>
                <a:effectLst>
                  <a:outerShdw blurRad="215900" sx="104000" sy="104000" algn="ctr" rotWithShape="0">
                    <a:prstClr val="black">
                      <a:alpha val="19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0" cap="none" spc="0" normalizeH="0" baseline="0" noProof="0">
                    <a:ln>
                      <a:noFill/>
                    </a:ln>
                    <a:solidFill>
                      <a:prstClr val="white"/>
                    </a:solidFill>
                    <a:effectLst/>
                    <a:uLnTx/>
                    <a:uFillTx/>
                    <a:latin typeface="Arial"/>
                    <a:cs typeface="+mn-cs"/>
                  </a:endParaRPr>
                </a:p>
              </p:txBody>
            </p:sp>
          </p:grpSp>
          <p:grpSp>
            <p:nvGrpSpPr>
              <p:cNvPr id="15" name="Group 8">
                <a:extLst>
                  <a:ext uri="{FF2B5EF4-FFF2-40B4-BE49-F238E27FC236}">
                    <a16:creationId xmlns:a16="http://schemas.microsoft.com/office/drawing/2014/main" id="{AF95D9D3-C167-46D9-A133-5B43C538DD99}"/>
                  </a:ext>
                </a:extLst>
              </p:cNvPr>
              <p:cNvGrpSpPr/>
              <p:nvPr/>
            </p:nvGrpSpPr>
            <p:grpSpPr>
              <a:xfrm>
                <a:off x="6065558" y="3264217"/>
                <a:ext cx="403771" cy="403770"/>
                <a:chOff x="6065558" y="3264217"/>
                <a:chExt cx="403771" cy="403770"/>
              </a:xfrm>
            </p:grpSpPr>
            <p:sp>
              <p:nvSpPr>
                <p:cNvPr id="26" name="Oval 20">
                  <a:extLst>
                    <a:ext uri="{FF2B5EF4-FFF2-40B4-BE49-F238E27FC236}">
                      <a16:creationId xmlns:a16="http://schemas.microsoft.com/office/drawing/2014/main" id="{F23A0EE5-5400-49AD-9F4A-E01A53A62BC5}"/>
                    </a:ext>
                  </a:extLst>
                </p:cNvPr>
                <p:cNvSpPr/>
                <p:nvPr/>
              </p:nvSpPr>
              <p:spPr>
                <a:xfrm flipH="1">
                  <a:off x="6065558" y="3264217"/>
                  <a:ext cx="403771" cy="403770"/>
                </a:xfrm>
                <a:prstGeom prst="ellipse">
                  <a:avLst/>
                </a:prstGeom>
                <a:solidFill>
                  <a:sysClr val="window" lastClr="FFFFFF"/>
                </a:solidFill>
                <a:ln w="12700" cap="flat" cmpd="sng" algn="ctr">
                  <a:noFill/>
                  <a:prstDash val="solid"/>
                  <a:miter lim="800000"/>
                </a:ln>
                <a:effectLst>
                  <a:outerShdw blurRad="50800" dist="38100" dir="2700000" algn="tl" rotWithShape="0">
                    <a:prstClr val="black">
                      <a:alpha val="24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27" name="Freeform 69">
                  <a:extLst>
                    <a:ext uri="{FF2B5EF4-FFF2-40B4-BE49-F238E27FC236}">
                      <a16:creationId xmlns:a16="http://schemas.microsoft.com/office/drawing/2014/main" id="{262E8A2E-D2E7-431B-A7BC-1B315455BD1B}"/>
                    </a:ext>
                  </a:extLst>
                </p:cNvPr>
                <p:cNvSpPr>
                  <a:spLocks noEditPoints="1"/>
                </p:cNvSpPr>
                <p:nvPr/>
              </p:nvSpPr>
              <p:spPr bwMode="auto">
                <a:xfrm>
                  <a:off x="6158396" y="3356580"/>
                  <a:ext cx="218095" cy="219045"/>
                </a:xfrm>
                <a:custGeom>
                  <a:avLst/>
                  <a:gdLst>
                    <a:gd name="T0" fmla="*/ 83 w 97"/>
                    <a:gd name="T1" fmla="*/ 41 h 97"/>
                    <a:gd name="T2" fmla="*/ 79 w 97"/>
                    <a:gd name="T3" fmla="*/ 31 h 97"/>
                    <a:gd name="T4" fmla="*/ 94 w 97"/>
                    <a:gd name="T5" fmla="*/ 2 h 97"/>
                    <a:gd name="T6" fmla="*/ 71 w 97"/>
                    <a:gd name="T7" fmla="*/ 21 h 97"/>
                    <a:gd name="T8" fmla="*/ 56 w 97"/>
                    <a:gd name="T9" fmla="*/ 14 h 97"/>
                    <a:gd name="T10" fmla="*/ 54 w 97"/>
                    <a:gd name="T11" fmla="*/ 1 h 97"/>
                    <a:gd name="T12" fmla="*/ 40 w 97"/>
                    <a:gd name="T13" fmla="*/ 3 h 97"/>
                    <a:gd name="T14" fmla="*/ 31 w 97"/>
                    <a:gd name="T15" fmla="*/ 18 h 97"/>
                    <a:gd name="T16" fmla="*/ 20 w 97"/>
                    <a:gd name="T17" fmla="*/ 9 h 97"/>
                    <a:gd name="T18" fmla="*/ 8 w 97"/>
                    <a:gd name="T19" fmla="*/ 22 h 97"/>
                    <a:gd name="T20" fmla="*/ 17 w 97"/>
                    <a:gd name="T21" fmla="*/ 32 h 97"/>
                    <a:gd name="T22" fmla="*/ 2 w 97"/>
                    <a:gd name="T23" fmla="*/ 41 h 97"/>
                    <a:gd name="T24" fmla="*/ 0 w 97"/>
                    <a:gd name="T25" fmla="*/ 55 h 97"/>
                    <a:gd name="T26" fmla="*/ 13 w 97"/>
                    <a:gd name="T27" fmla="*/ 57 h 97"/>
                    <a:gd name="T28" fmla="*/ 8 w 97"/>
                    <a:gd name="T29" fmla="*/ 74 h 97"/>
                    <a:gd name="T30" fmla="*/ 8 w 97"/>
                    <a:gd name="T31" fmla="*/ 77 h 97"/>
                    <a:gd name="T32" fmla="*/ 23 w 97"/>
                    <a:gd name="T33" fmla="*/ 89 h 97"/>
                    <a:gd name="T34" fmla="*/ 40 w 97"/>
                    <a:gd name="T35" fmla="*/ 84 h 97"/>
                    <a:gd name="T36" fmla="*/ 42 w 97"/>
                    <a:gd name="T37" fmla="*/ 97 h 97"/>
                    <a:gd name="T38" fmla="*/ 56 w 97"/>
                    <a:gd name="T39" fmla="*/ 95 h 97"/>
                    <a:gd name="T40" fmla="*/ 65 w 97"/>
                    <a:gd name="T41" fmla="*/ 80 h 97"/>
                    <a:gd name="T42" fmla="*/ 76 w 97"/>
                    <a:gd name="T43" fmla="*/ 89 h 97"/>
                    <a:gd name="T44" fmla="*/ 88 w 97"/>
                    <a:gd name="T45" fmla="*/ 74 h 97"/>
                    <a:gd name="T46" fmla="*/ 83 w 97"/>
                    <a:gd name="T47" fmla="*/ 57 h 97"/>
                    <a:gd name="T48" fmla="*/ 96 w 97"/>
                    <a:gd name="T49" fmla="*/ 55 h 97"/>
                    <a:gd name="T50" fmla="*/ 94 w 97"/>
                    <a:gd name="T51" fmla="*/ 41 h 97"/>
                    <a:gd name="T52" fmla="*/ 49 w 97"/>
                    <a:gd name="T53" fmla="*/ 60 h 97"/>
                    <a:gd name="T54" fmla="*/ 48 w 97"/>
                    <a:gd name="T55" fmla="*/ 60 h 97"/>
                    <a:gd name="T56" fmla="*/ 30 w 97"/>
                    <a:gd name="T57" fmla="*/ 39 h 97"/>
                    <a:gd name="T58" fmla="*/ 49 w 97"/>
                    <a:gd name="T59" fmla="*/ 56 h 97"/>
                    <a:gd name="T60" fmla="*/ 91 w 97"/>
                    <a:gd name="T61" fmla="*/ 5 h 97"/>
                    <a:gd name="T62" fmla="*/ 51 w 97"/>
                    <a:gd name="T63" fmla="*/ 6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7" h="97">
                      <a:moveTo>
                        <a:pt x="94" y="41"/>
                      </a:moveTo>
                      <a:cubicBezTo>
                        <a:pt x="83" y="41"/>
                        <a:pt x="83" y="41"/>
                        <a:pt x="83" y="41"/>
                      </a:cubicBezTo>
                      <a:cubicBezTo>
                        <a:pt x="82" y="39"/>
                        <a:pt x="82" y="37"/>
                        <a:pt x="81" y="35"/>
                      </a:cubicBezTo>
                      <a:cubicBezTo>
                        <a:pt x="80" y="34"/>
                        <a:pt x="79" y="32"/>
                        <a:pt x="79" y="31"/>
                      </a:cubicBezTo>
                      <a:cubicBezTo>
                        <a:pt x="95" y="11"/>
                        <a:pt x="95" y="11"/>
                        <a:pt x="95" y="11"/>
                      </a:cubicBezTo>
                      <a:cubicBezTo>
                        <a:pt x="97" y="8"/>
                        <a:pt x="96" y="4"/>
                        <a:pt x="94" y="2"/>
                      </a:cubicBezTo>
                      <a:cubicBezTo>
                        <a:pt x="91" y="0"/>
                        <a:pt x="87" y="1"/>
                        <a:pt x="85" y="3"/>
                      </a:cubicBezTo>
                      <a:cubicBezTo>
                        <a:pt x="71" y="21"/>
                        <a:pt x="71" y="21"/>
                        <a:pt x="71" y="21"/>
                      </a:cubicBezTo>
                      <a:cubicBezTo>
                        <a:pt x="70" y="20"/>
                        <a:pt x="68" y="19"/>
                        <a:pt x="67" y="18"/>
                      </a:cubicBezTo>
                      <a:cubicBezTo>
                        <a:pt x="64" y="17"/>
                        <a:pt x="60" y="15"/>
                        <a:pt x="56" y="14"/>
                      </a:cubicBezTo>
                      <a:cubicBezTo>
                        <a:pt x="56" y="3"/>
                        <a:pt x="56" y="3"/>
                        <a:pt x="56" y="3"/>
                      </a:cubicBezTo>
                      <a:cubicBezTo>
                        <a:pt x="56" y="2"/>
                        <a:pt x="55" y="1"/>
                        <a:pt x="54" y="1"/>
                      </a:cubicBezTo>
                      <a:cubicBezTo>
                        <a:pt x="42" y="1"/>
                        <a:pt x="42" y="1"/>
                        <a:pt x="42" y="1"/>
                      </a:cubicBezTo>
                      <a:cubicBezTo>
                        <a:pt x="41" y="1"/>
                        <a:pt x="40" y="2"/>
                        <a:pt x="40" y="3"/>
                      </a:cubicBezTo>
                      <a:cubicBezTo>
                        <a:pt x="40" y="14"/>
                        <a:pt x="40" y="14"/>
                        <a:pt x="40" y="14"/>
                      </a:cubicBezTo>
                      <a:cubicBezTo>
                        <a:pt x="37" y="15"/>
                        <a:pt x="33" y="16"/>
                        <a:pt x="31" y="18"/>
                      </a:cubicBezTo>
                      <a:cubicBezTo>
                        <a:pt x="23" y="9"/>
                        <a:pt x="23" y="9"/>
                        <a:pt x="23" y="9"/>
                      </a:cubicBezTo>
                      <a:cubicBezTo>
                        <a:pt x="22" y="9"/>
                        <a:pt x="20" y="9"/>
                        <a:pt x="20" y="9"/>
                      </a:cubicBezTo>
                      <a:cubicBezTo>
                        <a:pt x="8" y="21"/>
                        <a:pt x="8" y="21"/>
                        <a:pt x="8" y="21"/>
                      </a:cubicBezTo>
                      <a:cubicBezTo>
                        <a:pt x="8" y="21"/>
                        <a:pt x="8" y="22"/>
                        <a:pt x="8" y="22"/>
                      </a:cubicBezTo>
                      <a:cubicBezTo>
                        <a:pt x="8" y="23"/>
                        <a:pt x="8" y="23"/>
                        <a:pt x="8" y="24"/>
                      </a:cubicBezTo>
                      <a:cubicBezTo>
                        <a:pt x="17" y="32"/>
                        <a:pt x="17" y="32"/>
                        <a:pt x="17" y="32"/>
                      </a:cubicBezTo>
                      <a:cubicBezTo>
                        <a:pt x="15" y="34"/>
                        <a:pt x="14" y="38"/>
                        <a:pt x="13" y="41"/>
                      </a:cubicBezTo>
                      <a:cubicBezTo>
                        <a:pt x="2" y="41"/>
                        <a:pt x="2" y="41"/>
                        <a:pt x="2" y="41"/>
                      </a:cubicBezTo>
                      <a:cubicBezTo>
                        <a:pt x="1" y="41"/>
                        <a:pt x="0" y="42"/>
                        <a:pt x="0" y="43"/>
                      </a:cubicBezTo>
                      <a:cubicBezTo>
                        <a:pt x="0" y="55"/>
                        <a:pt x="0" y="55"/>
                        <a:pt x="0" y="55"/>
                      </a:cubicBezTo>
                      <a:cubicBezTo>
                        <a:pt x="0" y="56"/>
                        <a:pt x="1" y="57"/>
                        <a:pt x="2" y="57"/>
                      </a:cubicBezTo>
                      <a:cubicBezTo>
                        <a:pt x="13" y="57"/>
                        <a:pt x="13" y="57"/>
                        <a:pt x="13" y="57"/>
                      </a:cubicBezTo>
                      <a:cubicBezTo>
                        <a:pt x="14" y="60"/>
                        <a:pt x="15" y="64"/>
                        <a:pt x="17" y="66"/>
                      </a:cubicBezTo>
                      <a:cubicBezTo>
                        <a:pt x="8" y="74"/>
                        <a:pt x="8" y="74"/>
                        <a:pt x="8" y="74"/>
                      </a:cubicBezTo>
                      <a:cubicBezTo>
                        <a:pt x="8" y="75"/>
                        <a:pt x="8" y="75"/>
                        <a:pt x="8" y="76"/>
                      </a:cubicBezTo>
                      <a:cubicBezTo>
                        <a:pt x="8" y="76"/>
                        <a:pt x="8" y="77"/>
                        <a:pt x="8" y="77"/>
                      </a:cubicBezTo>
                      <a:cubicBezTo>
                        <a:pt x="20" y="89"/>
                        <a:pt x="20" y="89"/>
                        <a:pt x="20" y="89"/>
                      </a:cubicBezTo>
                      <a:cubicBezTo>
                        <a:pt x="20" y="89"/>
                        <a:pt x="22" y="89"/>
                        <a:pt x="23" y="89"/>
                      </a:cubicBezTo>
                      <a:cubicBezTo>
                        <a:pt x="31" y="80"/>
                        <a:pt x="31" y="80"/>
                        <a:pt x="31" y="80"/>
                      </a:cubicBezTo>
                      <a:cubicBezTo>
                        <a:pt x="33" y="82"/>
                        <a:pt x="37" y="83"/>
                        <a:pt x="40" y="84"/>
                      </a:cubicBezTo>
                      <a:cubicBezTo>
                        <a:pt x="40" y="95"/>
                        <a:pt x="40" y="95"/>
                        <a:pt x="40" y="95"/>
                      </a:cubicBezTo>
                      <a:cubicBezTo>
                        <a:pt x="40" y="96"/>
                        <a:pt x="41" y="97"/>
                        <a:pt x="42" y="97"/>
                      </a:cubicBezTo>
                      <a:cubicBezTo>
                        <a:pt x="54" y="97"/>
                        <a:pt x="54" y="97"/>
                        <a:pt x="54" y="97"/>
                      </a:cubicBezTo>
                      <a:cubicBezTo>
                        <a:pt x="55" y="97"/>
                        <a:pt x="56" y="96"/>
                        <a:pt x="56" y="95"/>
                      </a:cubicBezTo>
                      <a:cubicBezTo>
                        <a:pt x="56" y="84"/>
                        <a:pt x="56" y="84"/>
                        <a:pt x="56" y="84"/>
                      </a:cubicBezTo>
                      <a:cubicBezTo>
                        <a:pt x="59" y="83"/>
                        <a:pt x="63" y="82"/>
                        <a:pt x="65" y="80"/>
                      </a:cubicBezTo>
                      <a:cubicBezTo>
                        <a:pt x="73" y="89"/>
                        <a:pt x="73" y="89"/>
                        <a:pt x="73" y="89"/>
                      </a:cubicBezTo>
                      <a:cubicBezTo>
                        <a:pt x="74" y="89"/>
                        <a:pt x="76" y="89"/>
                        <a:pt x="76" y="89"/>
                      </a:cubicBezTo>
                      <a:cubicBezTo>
                        <a:pt x="88" y="77"/>
                        <a:pt x="88" y="77"/>
                        <a:pt x="88" y="77"/>
                      </a:cubicBezTo>
                      <a:cubicBezTo>
                        <a:pt x="88" y="77"/>
                        <a:pt x="88" y="75"/>
                        <a:pt x="88" y="74"/>
                      </a:cubicBezTo>
                      <a:cubicBezTo>
                        <a:pt x="79" y="66"/>
                        <a:pt x="79" y="66"/>
                        <a:pt x="79" y="66"/>
                      </a:cubicBezTo>
                      <a:cubicBezTo>
                        <a:pt x="81" y="64"/>
                        <a:pt x="82" y="60"/>
                        <a:pt x="83" y="57"/>
                      </a:cubicBezTo>
                      <a:cubicBezTo>
                        <a:pt x="94" y="57"/>
                        <a:pt x="94" y="57"/>
                        <a:pt x="94" y="57"/>
                      </a:cubicBezTo>
                      <a:cubicBezTo>
                        <a:pt x="95" y="57"/>
                        <a:pt x="96" y="56"/>
                        <a:pt x="96" y="55"/>
                      </a:cubicBezTo>
                      <a:cubicBezTo>
                        <a:pt x="96" y="43"/>
                        <a:pt x="96" y="43"/>
                        <a:pt x="96" y="43"/>
                      </a:cubicBezTo>
                      <a:cubicBezTo>
                        <a:pt x="96" y="42"/>
                        <a:pt x="95" y="41"/>
                        <a:pt x="94" y="41"/>
                      </a:cubicBezTo>
                      <a:close/>
                      <a:moveTo>
                        <a:pt x="51" y="60"/>
                      </a:moveTo>
                      <a:cubicBezTo>
                        <a:pt x="50" y="60"/>
                        <a:pt x="50" y="60"/>
                        <a:pt x="49" y="60"/>
                      </a:cubicBezTo>
                      <a:cubicBezTo>
                        <a:pt x="49" y="61"/>
                        <a:pt x="49" y="61"/>
                        <a:pt x="49" y="61"/>
                      </a:cubicBezTo>
                      <a:cubicBezTo>
                        <a:pt x="49" y="61"/>
                        <a:pt x="48" y="60"/>
                        <a:pt x="48" y="60"/>
                      </a:cubicBezTo>
                      <a:cubicBezTo>
                        <a:pt x="30" y="42"/>
                        <a:pt x="30" y="42"/>
                        <a:pt x="30" y="42"/>
                      </a:cubicBezTo>
                      <a:cubicBezTo>
                        <a:pt x="29" y="41"/>
                        <a:pt x="29" y="40"/>
                        <a:pt x="30" y="39"/>
                      </a:cubicBezTo>
                      <a:cubicBezTo>
                        <a:pt x="31" y="38"/>
                        <a:pt x="32" y="38"/>
                        <a:pt x="33" y="39"/>
                      </a:cubicBezTo>
                      <a:cubicBezTo>
                        <a:pt x="49" y="56"/>
                        <a:pt x="49" y="56"/>
                        <a:pt x="49" y="56"/>
                      </a:cubicBezTo>
                      <a:cubicBezTo>
                        <a:pt x="88" y="6"/>
                        <a:pt x="88" y="6"/>
                        <a:pt x="88" y="6"/>
                      </a:cubicBezTo>
                      <a:cubicBezTo>
                        <a:pt x="89" y="5"/>
                        <a:pt x="90" y="5"/>
                        <a:pt x="91" y="5"/>
                      </a:cubicBezTo>
                      <a:cubicBezTo>
                        <a:pt x="92" y="6"/>
                        <a:pt x="92" y="7"/>
                        <a:pt x="92" y="8"/>
                      </a:cubicBezTo>
                      <a:lnTo>
                        <a:pt x="51" y="60"/>
                      </a:lnTo>
                      <a:close/>
                    </a:path>
                  </a:pathLst>
                </a:custGeom>
                <a:gradFill flip="none" rotWithShape="1">
                  <a:gsLst>
                    <a:gs pos="100000">
                      <a:schemeClr val="accent1"/>
                    </a:gs>
                    <a:gs pos="33000">
                      <a:schemeClr val="accent1"/>
                    </a:gs>
                  </a:gsLst>
                  <a:lin ang="1800000" scaled="0"/>
                  <a:tileRect/>
                </a:gradFill>
                <a:ln w="12700" cap="flat" cmpd="sng" algn="ctr">
                  <a:noFill/>
                  <a:prstDash val="solid"/>
                  <a:miter lim="800000"/>
                </a:ln>
                <a:effectLst>
                  <a:outerShdw blurRad="215900" sx="104000" sy="104000" algn="ctr" rotWithShape="0">
                    <a:prstClr val="black">
                      <a:alpha val="19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0" cap="none" spc="0" normalizeH="0" baseline="0" noProof="0">
                    <a:ln>
                      <a:noFill/>
                    </a:ln>
                    <a:solidFill>
                      <a:prstClr val="white"/>
                    </a:solidFill>
                    <a:effectLst/>
                    <a:uLnTx/>
                    <a:uFillTx/>
                    <a:latin typeface="Arial"/>
                    <a:cs typeface="+mn-cs"/>
                  </a:endParaRPr>
                </a:p>
              </p:txBody>
            </p:sp>
          </p:grpSp>
          <p:grpSp>
            <p:nvGrpSpPr>
              <p:cNvPr id="16" name="Group 25">
                <a:extLst>
                  <a:ext uri="{FF2B5EF4-FFF2-40B4-BE49-F238E27FC236}">
                    <a16:creationId xmlns:a16="http://schemas.microsoft.com/office/drawing/2014/main" id="{3BDFC3C3-BEF6-4CD6-8CD1-57C92852C96D}"/>
                  </a:ext>
                </a:extLst>
              </p:cNvPr>
              <p:cNvGrpSpPr/>
              <p:nvPr/>
            </p:nvGrpSpPr>
            <p:grpSpPr>
              <a:xfrm>
                <a:off x="4715735" y="3264217"/>
                <a:ext cx="403771" cy="403770"/>
                <a:chOff x="4715735" y="3264217"/>
                <a:chExt cx="403771" cy="403770"/>
              </a:xfrm>
            </p:grpSpPr>
            <p:sp>
              <p:nvSpPr>
                <p:cNvPr id="18" name="Oval 17">
                  <a:extLst>
                    <a:ext uri="{FF2B5EF4-FFF2-40B4-BE49-F238E27FC236}">
                      <a16:creationId xmlns:a16="http://schemas.microsoft.com/office/drawing/2014/main" id="{EDC16CA6-9CF3-4CB3-99B8-A307E917ABD9}"/>
                    </a:ext>
                  </a:extLst>
                </p:cNvPr>
                <p:cNvSpPr/>
                <p:nvPr/>
              </p:nvSpPr>
              <p:spPr>
                <a:xfrm flipH="1">
                  <a:off x="4715735" y="3264217"/>
                  <a:ext cx="403771" cy="403770"/>
                </a:xfrm>
                <a:prstGeom prst="ellipse">
                  <a:avLst/>
                </a:prstGeom>
                <a:solidFill>
                  <a:sysClr val="window" lastClr="FFFFFF"/>
                </a:solidFill>
                <a:ln w="12700" cap="flat" cmpd="sng" algn="ctr">
                  <a:noFill/>
                  <a:prstDash val="solid"/>
                  <a:miter lim="800000"/>
                </a:ln>
                <a:effectLst>
                  <a:outerShdw blurRad="50800" dist="38100" dir="2700000" algn="tl" rotWithShape="0">
                    <a:prstClr val="black">
                      <a:alpha val="24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0" cap="none" spc="0" normalizeH="0" baseline="0" noProof="0">
                    <a:ln>
                      <a:noFill/>
                    </a:ln>
                    <a:solidFill>
                      <a:prstClr val="white"/>
                    </a:solidFill>
                    <a:effectLst/>
                    <a:uLnTx/>
                    <a:uFillTx/>
                    <a:latin typeface="Arial" panose="020B0604020202020204"/>
                    <a:ea typeface="+mn-ea"/>
                    <a:cs typeface="+mn-cs"/>
                  </a:endParaRPr>
                </a:p>
              </p:txBody>
            </p:sp>
            <p:grpSp>
              <p:nvGrpSpPr>
                <p:cNvPr id="19" name="Group 130">
                  <a:extLst>
                    <a:ext uri="{FF2B5EF4-FFF2-40B4-BE49-F238E27FC236}">
                      <a16:creationId xmlns:a16="http://schemas.microsoft.com/office/drawing/2014/main" id="{C94E43F5-D06B-4D6E-B5B8-5F0F95372A02}"/>
                    </a:ext>
                  </a:extLst>
                </p:cNvPr>
                <p:cNvGrpSpPr/>
                <p:nvPr/>
              </p:nvGrpSpPr>
              <p:grpSpPr>
                <a:xfrm>
                  <a:off x="4813810" y="3366578"/>
                  <a:ext cx="207620" cy="199048"/>
                  <a:chOff x="4119563" y="2901951"/>
                  <a:chExt cx="346075" cy="331788"/>
                </a:xfrm>
                <a:solidFill>
                  <a:schemeClr val="bg1"/>
                </a:solidFill>
              </p:grpSpPr>
              <p:sp>
                <p:nvSpPr>
                  <p:cNvPr id="20" name="Freeform 146">
                    <a:extLst>
                      <a:ext uri="{FF2B5EF4-FFF2-40B4-BE49-F238E27FC236}">
                        <a16:creationId xmlns:a16="http://schemas.microsoft.com/office/drawing/2014/main" id="{EEAFFA71-999A-47FD-BFDB-7EAEACBC5511}"/>
                      </a:ext>
                    </a:extLst>
                  </p:cNvPr>
                  <p:cNvSpPr>
                    <a:spLocks/>
                  </p:cNvSpPr>
                  <p:nvPr/>
                </p:nvSpPr>
                <p:spPr bwMode="auto">
                  <a:xfrm>
                    <a:off x="4360863" y="3052763"/>
                    <a:ext cx="104775" cy="150813"/>
                  </a:xfrm>
                  <a:custGeom>
                    <a:avLst/>
                    <a:gdLst>
                      <a:gd name="T0" fmla="*/ 17 w 28"/>
                      <a:gd name="T1" fmla="*/ 22 h 40"/>
                      <a:gd name="T2" fmla="*/ 22 w 28"/>
                      <a:gd name="T3" fmla="*/ 12 h 40"/>
                      <a:gd name="T4" fmla="*/ 10 w 28"/>
                      <a:gd name="T5" fmla="*/ 0 h 40"/>
                      <a:gd name="T6" fmla="*/ 2 w 28"/>
                      <a:gd name="T7" fmla="*/ 3 h 40"/>
                      <a:gd name="T8" fmla="*/ 2 w 28"/>
                      <a:gd name="T9" fmla="*/ 8 h 40"/>
                      <a:gd name="T10" fmla="*/ 0 w 28"/>
                      <a:gd name="T11" fmla="*/ 18 h 40"/>
                      <a:gd name="T12" fmla="*/ 3 w 28"/>
                      <a:gd name="T13" fmla="*/ 22 h 40"/>
                      <a:gd name="T14" fmla="*/ 0 w 28"/>
                      <a:gd name="T15" fmla="*/ 23 h 40"/>
                      <a:gd name="T16" fmla="*/ 10 w 28"/>
                      <a:gd name="T17" fmla="*/ 40 h 40"/>
                      <a:gd name="T18" fmla="*/ 26 w 28"/>
                      <a:gd name="T19" fmla="*/ 40 h 40"/>
                      <a:gd name="T20" fmla="*/ 28 w 28"/>
                      <a:gd name="T21" fmla="*/ 38 h 40"/>
                      <a:gd name="T22" fmla="*/ 17 w 28"/>
                      <a:gd name="T23"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 h="40">
                        <a:moveTo>
                          <a:pt x="17" y="22"/>
                        </a:moveTo>
                        <a:cubicBezTo>
                          <a:pt x="20" y="19"/>
                          <a:pt x="22" y="16"/>
                          <a:pt x="22" y="12"/>
                        </a:cubicBezTo>
                        <a:cubicBezTo>
                          <a:pt x="22" y="5"/>
                          <a:pt x="17" y="0"/>
                          <a:pt x="10" y="0"/>
                        </a:cubicBezTo>
                        <a:cubicBezTo>
                          <a:pt x="7" y="0"/>
                          <a:pt x="4" y="1"/>
                          <a:pt x="2" y="3"/>
                        </a:cubicBezTo>
                        <a:cubicBezTo>
                          <a:pt x="2" y="5"/>
                          <a:pt x="2" y="7"/>
                          <a:pt x="2" y="8"/>
                        </a:cubicBezTo>
                        <a:cubicBezTo>
                          <a:pt x="2" y="12"/>
                          <a:pt x="1" y="15"/>
                          <a:pt x="0" y="18"/>
                        </a:cubicBezTo>
                        <a:cubicBezTo>
                          <a:pt x="1" y="19"/>
                          <a:pt x="2" y="21"/>
                          <a:pt x="3" y="22"/>
                        </a:cubicBezTo>
                        <a:cubicBezTo>
                          <a:pt x="2" y="22"/>
                          <a:pt x="1" y="23"/>
                          <a:pt x="0" y="23"/>
                        </a:cubicBezTo>
                        <a:cubicBezTo>
                          <a:pt x="5" y="27"/>
                          <a:pt x="9" y="33"/>
                          <a:pt x="10" y="40"/>
                        </a:cubicBezTo>
                        <a:cubicBezTo>
                          <a:pt x="26" y="40"/>
                          <a:pt x="26" y="40"/>
                          <a:pt x="26" y="40"/>
                        </a:cubicBezTo>
                        <a:cubicBezTo>
                          <a:pt x="27" y="40"/>
                          <a:pt x="28" y="39"/>
                          <a:pt x="28" y="38"/>
                        </a:cubicBezTo>
                        <a:cubicBezTo>
                          <a:pt x="28" y="31"/>
                          <a:pt x="24" y="24"/>
                          <a:pt x="17" y="22"/>
                        </a:cubicBezTo>
                        <a:close/>
                      </a:path>
                    </a:pathLst>
                  </a:custGeom>
                  <a:gradFill flip="none" rotWithShape="1">
                    <a:gsLst>
                      <a:gs pos="100000">
                        <a:schemeClr val="accent1"/>
                      </a:gs>
                      <a:gs pos="33000">
                        <a:schemeClr val="accent1"/>
                      </a:gs>
                    </a:gsLst>
                    <a:lin ang="1800000" scaled="0"/>
                    <a:tileRect/>
                  </a:gradFill>
                  <a:ln w="12700" cap="flat" cmpd="sng" algn="ctr">
                    <a:noFill/>
                    <a:prstDash val="solid"/>
                    <a:miter lim="800000"/>
                  </a:ln>
                  <a:effectLst>
                    <a:outerShdw blurRad="215900" sx="104000" sy="104000" algn="ctr" rotWithShape="0">
                      <a:prstClr val="black">
                        <a:alpha val="19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0" cap="none" spc="0" normalizeH="0" baseline="0" noProof="0">
                      <a:ln>
                        <a:noFill/>
                      </a:ln>
                      <a:solidFill>
                        <a:prstClr val="white"/>
                      </a:solidFill>
                      <a:effectLst/>
                      <a:uLnTx/>
                      <a:uFillTx/>
                      <a:latin typeface="Arial"/>
                      <a:cs typeface="+mn-cs"/>
                    </a:endParaRPr>
                  </a:p>
                </p:txBody>
              </p:sp>
              <p:sp>
                <p:nvSpPr>
                  <p:cNvPr id="21" name="Freeform 147">
                    <a:extLst>
                      <a:ext uri="{FF2B5EF4-FFF2-40B4-BE49-F238E27FC236}">
                        <a16:creationId xmlns:a16="http://schemas.microsoft.com/office/drawing/2014/main" id="{D5551BE7-12FE-46A7-9462-13931041A7CF}"/>
                      </a:ext>
                    </a:extLst>
                  </p:cNvPr>
                  <p:cNvSpPr>
                    <a:spLocks/>
                  </p:cNvSpPr>
                  <p:nvPr/>
                </p:nvSpPr>
                <p:spPr bwMode="auto">
                  <a:xfrm>
                    <a:off x="4119563" y="3052763"/>
                    <a:ext cx="106363" cy="150813"/>
                  </a:xfrm>
                  <a:custGeom>
                    <a:avLst/>
                    <a:gdLst>
                      <a:gd name="T0" fmla="*/ 28 w 28"/>
                      <a:gd name="T1" fmla="*/ 23 h 40"/>
                      <a:gd name="T2" fmla="*/ 25 w 28"/>
                      <a:gd name="T3" fmla="*/ 22 h 40"/>
                      <a:gd name="T4" fmla="*/ 28 w 28"/>
                      <a:gd name="T5" fmla="*/ 18 h 40"/>
                      <a:gd name="T6" fmla="*/ 26 w 28"/>
                      <a:gd name="T7" fmla="*/ 8 h 40"/>
                      <a:gd name="T8" fmla="*/ 26 w 28"/>
                      <a:gd name="T9" fmla="*/ 3 h 40"/>
                      <a:gd name="T10" fmla="*/ 18 w 28"/>
                      <a:gd name="T11" fmla="*/ 0 h 40"/>
                      <a:gd name="T12" fmla="*/ 6 w 28"/>
                      <a:gd name="T13" fmla="*/ 12 h 40"/>
                      <a:gd name="T14" fmla="*/ 11 w 28"/>
                      <a:gd name="T15" fmla="*/ 22 h 40"/>
                      <a:gd name="T16" fmla="*/ 0 w 28"/>
                      <a:gd name="T17" fmla="*/ 38 h 40"/>
                      <a:gd name="T18" fmla="*/ 2 w 28"/>
                      <a:gd name="T19" fmla="*/ 40 h 40"/>
                      <a:gd name="T20" fmla="*/ 18 w 28"/>
                      <a:gd name="T21" fmla="*/ 40 h 40"/>
                      <a:gd name="T22" fmla="*/ 28 w 28"/>
                      <a:gd name="T23" fmla="*/ 2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 h="40">
                        <a:moveTo>
                          <a:pt x="28" y="23"/>
                        </a:moveTo>
                        <a:cubicBezTo>
                          <a:pt x="27" y="23"/>
                          <a:pt x="26" y="22"/>
                          <a:pt x="25" y="22"/>
                        </a:cubicBezTo>
                        <a:cubicBezTo>
                          <a:pt x="26" y="21"/>
                          <a:pt x="27" y="19"/>
                          <a:pt x="28" y="18"/>
                        </a:cubicBezTo>
                        <a:cubicBezTo>
                          <a:pt x="27" y="15"/>
                          <a:pt x="26" y="12"/>
                          <a:pt x="26" y="8"/>
                        </a:cubicBezTo>
                        <a:cubicBezTo>
                          <a:pt x="26" y="7"/>
                          <a:pt x="26" y="5"/>
                          <a:pt x="26" y="3"/>
                        </a:cubicBezTo>
                        <a:cubicBezTo>
                          <a:pt x="24" y="1"/>
                          <a:pt x="21" y="0"/>
                          <a:pt x="18" y="0"/>
                        </a:cubicBezTo>
                        <a:cubicBezTo>
                          <a:pt x="11" y="0"/>
                          <a:pt x="6" y="5"/>
                          <a:pt x="6" y="12"/>
                        </a:cubicBezTo>
                        <a:cubicBezTo>
                          <a:pt x="6" y="16"/>
                          <a:pt x="8" y="19"/>
                          <a:pt x="11" y="22"/>
                        </a:cubicBezTo>
                        <a:cubicBezTo>
                          <a:pt x="4" y="24"/>
                          <a:pt x="0" y="31"/>
                          <a:pt x="0" y="38"/>
                        </a:cubicBezTo>
                        <a:cubicBezTo>
                          <a:pt x="0" y="39"/>
                          <a:pt x="1" y="40"/>
                          <a:pt x="2" y="40"/>
                        </a:cubicBezTo>
                        <a:cubicBezTo>
                          <a:pt x="18" y="40"/>
                          <a:pt x="18" y="40"/>
                          <a:pt x="18" y="40"/>
                        </a:cubicBezTo>
                        <a:cubicBezTo>
                          <a:pt x="19" y="33"/>
                          <a:pt x="23" y="27"/>
                          <a:pt x="28" y="23"/>
                        </a:cubicBezTo>
                        <a:close/>
                      </a:path>
                    </a:pathLst>
                  </a:custGeom>
                  <a:gradFill flip="none" rotWithShape="1">
                    <a:gsLst>
                      <a:gs pos="100000">
                        <a:schemeClr val="accent1"/>
                      </a:gs>
                      <a:gs pos="33000">
                        <a:schemeClr val="accent1"/>
                      </a:gs>
                    </a:gsLst>
                    <a:lin ang="1800000" scaled="0"/>
                    <a:tileRect/>
                  </a:gradFill>
                  <a:ln w="12700" cap="flat" cmpd="sng" algn="ctr">
                    <a:noFill/>
                    <a:prstDash val="solid"/>
                    <a:miter lim="800000"/>
                  </a:ln>
                  <a:effectLst>
                    <a:outerShdw blurRad="215900" sx="104000" sy="104000" algn="ctr" rotWithShape="0">
                      <a:prstClr val="black">
                        <a:alpha val="19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0" cap="none" spc="0" normalizeH="0" baseline="0" noProof="0">
                      <a:ln>
                        <a:noFill/>
                      </a:ln>
                      <a:solidFill>
                        <a:prstClr val="white"/>
                      </a:solidFill>
                      <a:effectLst/>
                      <a:uLnTx/>
                      <a:uFillTx/>
                      <a:latin typeface="Arial"/>
                      <a:cs typeface="+mn-cs"/>
                    </a:endParaRPr>
                  </a:p>
                </p:txBody>
              </p:sp>
              <p:sp>
                <p:nvSpPr>
                  <p:cNvPr id="22" name="Freeform 148">
                    <a:extLst>
                      <a:ext uri="{FF2B5EF4-FFF2-40B4-BE49-F238E27FC236}">
                        <a16:creationId xmlns:a16="http://schemas.microsoft.com/office/drawing/2014/main" id="{B7F55137-1190-4995-9118-45A8EBE735F4}"/>
                      </a:ext>
                    </a:extLst>
                  </p:cNvPr>
                  <p:cNvSpPr>
                    <a:spLocks/>
                  </p:cNvSpPr>
                  <p:nvPr/>
                </p:nvSpPr>
                <p:spPr bwMode="auto">
                  <a:xfrm>
                    <a:off x="4206875" y="2978151"/>
                    <a:ext cx="173038" cy="52388"/>
                  </a:xfrm>
                  <a:custGeom>
                    <a:avLst/>
                    <a:gdLst>
                      <a:gd name="T0" fmla="*/ 2 w 46"/>
                      <a:gd name="T1" fmla="*/ 14 h 14"/>
                      <a:gd name="T2" fmla="*/ 1 w 46"/>
                      <a:gd name="T3" fmla="*/ 14 h 14"/>
                      <a:gd name="T4" fmla="*/ 1 w 46"/>
                      <a:gd name="T5" fmla="*/ 11 h 14"/>
                      <a:gd name="T6" fmla="*/ 23 w 46"/>
                      <a:gd name="T7" fmla="*/ 0 h 14"/>
                      <a:gd name="T8" fmla="*/ 45 w 46"/>
                      <a:gd name="T9" fmla="*/ 11 h 14"/>
                      <a:gd name="T10" fmla="*/ 45 w 46"/>
                      <a:gd name="T11" fmla="*/ 14 h 14"/>
                      <a:gd name="T12" fmla="*/ 42 w 46"/>
                      <a:gd name="T13" fmla="*/ 13 h 14"/>
                      <a:gd name="T14" fmla="*/ 23 w 46"/>
                      <a:gd name="T15" fmla="*/ 4 h 14"/>
                      <a:gd name="T16" fmla="*/ 4 w 46"/>
                      <a:gd name="T17" fmla="*/ 13 h 14"/>
                      <a:gd name="T18" fmla="*/ 2 w 46"/>
                      <a:gd name="T19"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6" h="14">
                        <a:moveTo>
                          <a:pt x="2" y="14"/>
                        </a:moveTo>
                        <a:cubicBezTo>
                          <a:pt x="2" y="14"/>
                          <a:pt x="2" y="14"/>
                          <a:pt x="1" y="14"/>
                        </a:cubicBezTo>
                        <a:cubicBezTo>
                          <a:pt x="0" y="13"/>
                          <a:pt x="0" y="12"/>
                          <a:pt x="1" y="11"/>
                        </a:cubicBezTo>
                        <a:cubicBezTo>
                          <a:pt x="6" y="4"/>
                          <a:pt x="14" y="0"/>
                          <a:pt x="23" y="0"/>
                        </a:cubicBezTo>
                        <a:cubicBezTo>
                          <a:pt x="32" y="0"/>
                          <a:pt x="40" y="4"/>
                          <a:pt x="45" y="11"/>
                        </a:cubicBezTo>
                        <a:cubicBezTo>
                          <a:pt x="46" y="12"/>
                          <a:pt x="46" y="13"/>
                          <a:pt x="45" y="14"/>
                        </a:cubicBezTo>
                        <a:cubicBezTo>
                          <a:pt x="44" y="14"/>
                          <a:pt x="43" y="14"/>
                          <a:pt x="42" y="13"/>
                        </a:cubicBezTo>
                        <a:cubicBezTo>
                          <a:pt x="37" y="7"/>
                          <a:pt x="30" y="4"/>
                          <a:pt x="23" y="4"/>
                        </a:cubicBezTo>
                        <a:cubicBezTo>
                          <a:pt x="16" y="4"/>
                          <a:pt x="9" y="7"/>
                          <a:pt x="4" y="13"/>
                        </a:cubicBezTo>
                        <a:cubicBezTo>
                          <a:pt x="4" y="14"/>
                          <a:pt x="3" y="14"/>
                          <a:pt x="2" y="14"/>
                        </a:cubicBezTo>
                        <a:close/>
                      </a:path>
                    </a:pathLst>
                  </a:custGeom>
                  <a:gradFill flip="none" rotWithShape="1">
                    <a:gsLst>
                      <a:gs pos="100000">
                        <a:schemeClr val="accent1"/>
                      </a:gs>
                      <a:gs pos="33000">
                        <a:schemeClr val="accent1"/>
                      </a:gs>
                    </a:gsLst>
                    <a:lin ang="1800000" scaled="0"/>
                    <a:tileRect/>
                  </a:gradFill>
                  <a:ln w="12700" cap="flat" cmpd="sng" algn="ctr">
                    <a:noFill/>
                    <a:prstDash val="solid"/>
                    <a:miter lim="800000"/>
                  </a:ln>
                  <a:effectLst>
                    <a:outerShdw blurRad="215900" sx="104000" sy="104000" algn="ctr" rotWithShape="0">
                      <a:prstClr val="black">
                        <a:alpha val="19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0" cap="none" spc="0" normalizeH="0" baseline="0" noProof="0">
                      <a:ln>
                        <a:noFill/>
                      </a:ln>
                      <a:solidFill>
                        <a:prstClr val="white"/>
                      </a:solidFill>
                      <a:effectLst/>
                      <a:uLnTx/>
                      <a:uFillTx/>
                      <a:latin typeface="Arial"/>
                      <a:cs typeface="+mn-cs"/>
                    </a:endParaRPr>
                  </a:p>
                </p:txBody>
              </p:sp>
              <p:sp>
                <p:nvSpPr>
                  <p:cNvPr id="23" name="Freeform 149">
                    <a:extLst>
                      <a:ext uri="{FF2B5EF4-FFF2-40B4-BE49-F238E27FC236}">
                        <a16:creationId xmlns:a16="http://schemas.microsoft.com/office/drawing/2014/main" id="{01D00C2E-D0BE-42B4-ADB3-4EB2E70CD8B1}"/>
                      </a:ext>
                    </a:extLst>
                  </p:cNvPr>
                  <p:cNvSpPr>
                    <a:spLocks/>
                  </p:cNvSpPr>
                  <p:nvPr/>
                </p:nvSpPr>
                <p:spPr bwMode="auto">
                  <a:xfrm>
                    <a:off x="4179888" y="2940051"/>
                    <a:ext cx="225425" cy="68263"/>
                  </a:xfrm>
                  <a:custGeom>
                    <a:avLst/>
                    <a:gdLst>
                      <a:gd name="T0" fmla="*/ 2 w 60"/>
                      <a:gd name="T1" fmla="*/ 17 h 18"/>
                      <a:gd name="T2" fmla="*/ 1 w 60"/>
                      <a:gd name="T3" fmla="*/ 17 h 18"/>
                      <a:gd name="T4" fmla="*/ 0 w 60"/>
                      <a:gd name="T5" fmla="*/ 14 h 18"/>
                      <a:gd name="T6" fmla="*/ 30 w 60"/>
                      <a:gd name="T7" fmla="*/ 0 h 18"/>
                      <a:gd name="T8" fmla="*/ 60 w 60"/>
                      <a:gd name="T9" fmla="*/ 14 h 18"/>
                      <a:gd name="T10" fmla="*/ 59 w 60"/>
                      <a:gd name="T11" fmla="*/ 17 h 18"/>
                      <a:gd name="T12" fmla="*/ 56 w 60"/>
                      <a:gd name="T13" fmla="*/ 17 h 18"/>
                      <a:gd name="T14" fmla="*/ 30 w 60"/>
                      <a:gd name="T15" fmla="*/ 4 h 18"/>
                      <a:gd name="T16" fmla="*/ 4 w 60"/>
                      <a:gd name="T17" fmla="*/ 17 h 18"/>
                      <a:gd name="T18" fmla="*/ 2 w 60"/>
                      <a:gd name="T19" fmla="*/ 17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18">
                        <a:moveTo>
                          <a:pt x="2" y="17"/>
                        </a:moveTo>
                        <a:cubicBezTo>
                          <a:pt x="2" y="17"/>
                          <a:pt x="1" y="17"/>
                          <a:pt x="1" y="17"/>
                        </a:cubicBezTo>
                        <a:cubicBezTo>
                          <a:pt x="0" y="16"/>
                          <a:pt x="0" y="15"/>
                          <a:pt x="0" y="14"/>
                        </a:cubicBezTo>
                        <a:cubicBezTo>
                          <a:pt x="8" y="5"/>
                          <a:pt x="18" y="0"/>
                          <a:pt x="30" y="0"/>
                        </a:cubicBezTo>
                        <a:cubicBezTo>
                          <a:pt x="42" y="0"/>
                          <a:pt x="52" y="5"/>
                          <a:pt x="60" y="14"/>
                        </a:cubicBezTo>
                        <a:cubicBezTo>
                          <a:pt x="60" y="15"/>
                          <a:pt x="60" y="16"/>
                          <a:pt x="59" y="17"/>
                        </a:cubicBezTo>
                        <a:cubicBezTo>
                          <a:pt x="58" y="18"/>
                          <a:pt x="57" y="17"/>
                          <a:pt x="56" y="17"/>
                        </a:cubicBezTo>
                        <a:cubicBezTo>
                          <a:pt x="50" y="9"/>
                          <a:pt x="40" y="4"/>
                          <a:pt x="30" y="4"/>
                        </a:cubicBezTo>
                        <a:cubicBezTo>
                          <a:pt x="20" y="4"/>
                          <a:pt x="10" y="9"/>
                          <a:pt x="4" y="17"/>
                        </a:cubicBezTo>
                        <a:cubicBezTo>
                          <a:pt x="3" y="17"/>
                          <a:pt x="3" y="17"/>
                          <a:pt x="2" y="17"/>
                        </a:cubicBezTo>
                        <a:close/>
                      </a:path>
                    </a:pathLst>
                  </a:custGeom>
                  <a:gradFill flip="none" rotWithShape="1">
                    <a:gsLst>
                      <a:gs pos="100000">
                        <a:schemeClr val="accent1"/>
                      </a:gs>
                      <a:gs pos="33000">
                        <a:schemeClr val="accent1"/>
                      </a:gs>
                    </a:gsLst>
                    <a:lin ang="1800000" scaled="0"/>
                    <a:tileRect/>
                  </a:gradFill>
                  <a:ln w="12700" cap="flat" cmpd="sng" algn="ctr">
                    <a:noFill/>
                    <a:prstDash val="solid"/>
                    <a:miter lim="800000"/>
                  </a:ln>
                  <a:effectLst>
                    <a:outerShdw blurRad="215900" sx="104000" sy="104000" algn="ctr" rotWithShape="0">
                      <a:prstClr val="black">
                        <a:alpha val="19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0" cap="none" spc="0" normalizeH="0" baseline="0" noProof="0">
                      <a:ln>
                        <a:noFill/>
                      </a:ln>
                      <a:solidFill>
                        <a:prstClr val="white"/>
                      </a:solidFill>
                      <a:effectLst/>
                      <a:uLnTx/>
                      <a:uFillTx/>
                      <a:latin typeface="Arial"/>
                      <a:cs typeface="+mn-cs"/>
                    </a:endParaRPr>
                  </a:p>
                </p:txBody>
              </p:sp>
              <p:sp>
                <p:nvSpPr>
                  <p:cNvPr id="24" name="Freeform 150">
                    <a:extLst>
                      <a:ext uri="{FF2B5EF4-FFF2-40B4-BE49-F238E27FC236}">
                        <a16:creationId xmlns:a16="http://schemas.microsoft.com/office/drawing/2014/main" id="{8DA7608B-6BF4-4953-B521-DCD5A3133CED}"/>
                      </a:ext>
                    </a:extLst>
                  </p:cNvPr>
                  <p:cNvSpPr>
                    <a:spLocks/>
                  </p:cNvSpPr>
                  <p:nvPr/>
                </p:nvSpPr>
                <p:spPr bwMode="auto">
                  <a:xfrm>
                    <a:off x="4149725" y="2901951"/>
                    <a:ext cx="285750" cy="84138"/>
                  </a:xfrm>
                  <a:custGeom>
                    <a:avLst/>
                    <a:gdLst>
                      <a:gd name="T0" fmla="*/ 74 w 76"/>
                      <a:gd name="T1" fmla="*/ 21 h 22"/>
                      <a:gd name="T2" fmla="*/ 73 w 76"/>
                      <a:gd name="T3" fmla="*/ 21 h 22"/>
                      <a:gd name="T4" fmla="*/ 38 w 76"/>
                      <a:gd name="T5" fmla="*/ 4 h 22"/>
                      <a:gd name="T6" fmla="*/ 4 w 76"/>
                      <a:gd name="T7" fmla="*/ 21 h 22"/>
                      <a:gd name="T8" fmla="*/ 1 w 76"/>
                      <a:gd name="T9" fmla="*/ 21 h 22"/>
                      <a:gd name="T10" fmla="*/ 0 w 76"/>
                      <a:gd name="T11" fmla="*/ 18 h 22"/>
                      <a:gd name="T12" fmla="*/ 38 w 76"/>
                      <a:gd name="T13" fmla="*/ 0 h 22"/>
                      <a:gd name="T14" fmla="*/ 76 w 76"/>
                      <a:gd name="T15" fmla="*/ 18 h 22"/>
                      <a:gd name="T16" fmla="*/ 75 w 76"/>
                      <a:gd name="T17" fmla="*/ 21 h 22"/>
                      <a:gd name="T18" fmla="*/ 74 w 76"/>
                      <a:gd name="T19" fmla="*/ 21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6" h="22">
                        <a:moveTo>
                          <a:pt x="74" y="21"/>
                        </a:moveTo>
                        <a:cubicBezTo>
                          <a:pt x="73" y="21"/>
                          <a:pt x="73" y="21"/>
                          <a:pt x="73" y="21"/>
                        </a:cubicBezTo>
                        <a:cubicBezTo>
                          <a:pt x="64" y="10"/>
                          <a:pt x="52" y="4"/>
                          <a:pt x="38" y="4"/>
                        </a:cubicBezTo>
                        <a:cubicBezTo>
                          <a:pt x="24" y="4"/>
                          <a:pt x="12" y="10"/>
                          <a:pt x="4" y="21"/>
                        </a:cubicBezTo>
                        <a:cubicBezTo>
                          <a:pt x="3" y="21"/>
                          <a:pt x="2" y="22"/>
                          <a:pt x="1" y="21"/>
                        </a:cubicBezTo>
                        <a:cubicBezTo>
                          <a:pt x="0" y="20"/>
                          <a:pt x="0" y="19"/>
                          <a:pt x="0" y="18"/>
                        </a:cubicBezTo>
                        <a:cubicBezTo>
                          <a:pt x="10" y="7"/>
                          <a:pt x="23" y="0"/>
                          <a:pt x="38" y="0"/>
                        </a:cubicBezTo>
                        <a:cubicBezTo>
                          <a:pt x="53" y="0"/>
                          <a:pt x="66" y="7"/>
                          <a:pt x="76" y="18"/>
                        </a:cubicBezTo>
                        <a:cubicBezTo>
                          <a:pt x="76" y="19"/>
                          <a:pt x="76" y="20"/>
                          <a:pt x="75" y="21"/>
                        </a:cubicBezTo>
                        <a:cubicBezTo>
                          <a:pt x="75" y="21"/>
                          <a:pt x="75" y="21"/>
                          <a:pt x="74" y="21"/>
                        </a:cubicBezTo>
                        <a:close/>
                      </a:path>
                    </a:pathLst>
                  </a:custGeom>
                  <a:gradFill flip="none" rotWithShape="1">
                    <a:gsLst>
                      <a:gs pos="100000">
                        <a:schemeClr val="accent1"/>
                      </a:gs>
                      <a:gs pos="33000">
                        <a:schemeClr val="accent1"/>
                      </a:gs>
                    </a:gsLst>
                    <a:lin ang="1800000" scaled="0"/>
                    <a:tileRect/>
                  </a:gradFill>
                  <a:ln w="12700" cap="flat" cmpd="sng" algn="ctr">
                    <a:noFill/>
                    <a:prstDash val="solid"/>
                    <a:miter lim="800000"/>
                  </a:ln>
                  <a:effectLst>
                    <a:outerShdw blurRad="215900" sx="104000" sy="104000" algn="ctr" rotWithShape="0">
                      <a:prstClr val="black">
                        <a:alpha val="19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0" cap="none" spc="0" normalizeH="0" baseline="0" noProof="0">
                      <a:ln>
                        <a:noFill/>
                      </a:ln>
                      <a:solidFill>
                        <a:prstClr val="white"/>
                      </a:solidFill>
                      <a:effectLst/>
                      <a:uLnTx/>
                      <a:uFillTx/>
                      <a:latin typeface="Arial"/>
                      <a:cs typeface="+mn-cs"/>
                    </a:endParaRPr>
                  </a:p>
                </p:txBody>
              </p:sp>
              <p:sp>
                <p:nvSpPr>
                  <p:cNvPr id="25" name="Freeform 151">
                    <a:extLst>
                      <a:ext uri="{FF2B5EF4-FFF2-40B4-BE49-F238E27FC236}">
                        <a16:creationId xmlns:a16="http://schemas.microsoft.com/office/drawing/2014/main" id="{B618D4F1-9780-4AC3-8A0C-11072A1EDE4E}"/>
                      </a:ext>
                    </a:extLst>
                  </p:cNvPr>
                  <p:cNvSpPr>
                    <a:spLocks/>
                  </p:cNvSpPr>
                  <p:nvPr/>
                </p:nvSpPr>
                <p:spPr bwMode="auto">
                  <a:xfrm>
                    <a:off x="4198938" y="3022601"/>
                    <a:ext cx="187325" cy="211138"/>
                  </a:xfrm>
                  <a:custGeom>
                    <a:avLst/>
                    <a:gdLst>
                      <a:gd name="T0" fmla="*/ 50 w 50"/>
                      <a:gd name="T1" fmla="*/ 53 h 56"/>
                      <a:gd name="T2" fmla="*/ 34 w 50"/>
                      <a:gd name="T3" fmla="*/ 30 h 56"/>
                      <a:gd name="T4" fmla="*/ 41 w 50"/>
                      <a:gd name="T5" fmla="*/ 16 h 56"/>
                      <a:gd name="T6" fmla="*/ 25 w 50"/>
                      <a:gd name="T7" fmla="*/ 0 h 56"/>
                      <a:gd name="T8" fmla="*/ 9 w 50"/>
                      <a:gd name="T9" fmla="*/ 16 h 56"/>
                      <a:gd name="T10" fmla="*/ 16 w 50"/>
                      <a:gd name="T11" fmla="*/ 30 h 56"/>
                      <a:gd name="T12" fmla="*/ 0 w 50"/>
                      <a:gd name="T13" fmla="*/ 54 h 56"/>
                      <a:gd name="T14" fmla="*/ 2 w 50"/>
                      <a:gd name="T15" fmla="*/ 56 h 56"/>
                      <a:gd name="T16" fmla="*/ 48 w 50"/>
                      <a:gd name="T17" fmla="*/ 56 h 56"/>
                      <a:gd name="T18" fmla="*/ 48 w 50"/>
                      <a:gd name="T19" fmla="*/ 56 h 56"/>
                      <a:gd name="T20" fmla="*/ 50 w 50"/>
                      <a:gd name="T21" fmla="*/ 54 h 56"/>
                      <a:gd name="T22" fmla="*/ 50 w 50"/>
                      <a:gd name="T23" fmla="*/ 53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 h="56">
                        <a:moveTo>
                          <a:pt x="50" y="53"/>
                        </a:moveTo>
                        <a:cubicBezTo>
                          <a:pt x="50" y="43"/>
                          <a:pt x="43" y="34"/>
                          <a:pt x="34" y="30"/>
                        </a:cubicBezTo>
                        <a:cubicBezTo>
                          <a:pt x="38" y="28"/>
                          <a:pt x="41" y="22"/>
                          <a:pt x="41" y="16"/>
                        </a:cubicBezTo>
                        <a:cubicBezTo>
                          <a:pt x="41" y="7"/>
                          <a:pt x="34" y="0"/>
                          <a:pt x="25" y="0"/>
                        </a:cubicBezTo>
                        <a:cubicBezTo>
                          <a:pt x="16" y="0"/>
                          <a:pt x="9" y="7"/>
                          <a:pt x="9" y="16"/>
                        </a:cubicBezTo>
                        <a:cubicBezTo>
                          <a:pt x="9" y="22"/>
                          <a:pt x="12" y="28"/>
                          <a:pt x="16" y="30"/>
                        </a:cubicBezTo>
                        <a:cubicBezTo>
                          <a:pt x="7" y="34"/>
                          <a:pt x="0" y="43"/>
                          <a:pt x="0" y="54"/>
                        </a:cubicBezTo>
                        <a:cubicBezTo>
                          <a:pt x="0" y="55"/>
                          <a:pt x="1" y="56"/>
                          <a:pt x="2" y="56"/>
                        </a:cubicBezTo>
                        <a:cubicBezTo>
                          <a:pt x="48" y="56"/>
                          <a:pt x="48" y="56"/>
                          <a:pt x="48" y="56"/>
                        </a:cubicBezTo>
                        <a:cubicBezTo>
                          <a:pt x="48" y="56"/>
                          <a:pt x="48" y="56"/>
                          <a:pt x="48" y="56"/>
                        </a:cubicBezTo>
                        <a:cubicBezTo>
                          <a:pt x="49" y="56"/>
                          <a:pt x="50" y="55"/>
                          <a:pt x="50" y="54"/>
                        </a:cubicBezTo>
                        <a:cubicBezTo>
                          <a:pt x="50" y="54"/>
                          <a:pt x="50" y="54"/>
                          <a:pt x="50" y="53"/>
                        </a:cubicBezTo>
                        <a:close/>
                      </a:path>
                    </a:pathLst>
                  </a:custGeom>
                  <a:gradFill flip="none" rotWithShape="1">
                    <a:gsLst>
                      <a:gs pos="100000">
                        <a:schemeClr val="accent1"/>
                      </a:gs>
                      <a:gs pos="33000">
                        <a:schemeClr val="accent1"/>
                      </a:gs>
                    </a:gsLst>
                    <a:lin ang="1800000" scaled="0"/>
                    <a:tileRect/>
                  </a:gradFill>
                  <a:ln w="12700" cap="flat" cmpd="sng" algn="ctr">
                    <a:noFill/>
                    <a:prstDash val="solid"/>
                    <a:miter lim="800000"/>
                  </a:ln>
                  <a:effectLst>
                    <a:outerShdw blurRad="215900" sx="104000" sy="104000" algn="ctr" rotWithShape="0">
                      <a:prstClr val="black">
                        <a:alpha val="19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0" cap="none" spc="0" normalizeH="0" baseline="0" noProof="0">
                      <a:ln>
                        <a:noFill/>
                      </a:ln>
                      <a:solidFill>
                        <a:prstClr val="white"/>
                      </a:solidFill>
                      <a:effectLst/>
                      <a:uLnTx/>
                      <a:uFillTx/>
                      <a:latin typeface="Arial"/>
                      <a:cs typeface="+mn-cs"/>
                    </a:endParaRPr>
                  </a:p>
                </p:txBody>
              </p:sp>
            </p:grpSp>
          </p:grpSp>
          <p:sp>
            <p:nvSpPr>
              <p:cNvPr id="17" name="Rectangle 189">
                <a:extLst>
                  <a:ext uri="{FF2B5EF4-FFF2-40B4-BE49-F238E27FC236}">
                    <a16:creationId xmlns:a16="http://schemas.microsoft.com/office/drawing/2014/main" id="{070AA20A-0BAF-4158-8704-0A0D7E0B6F11}"/>
                  </a:ext>
                </a:extLst>
              </p:cNvPr>
              <p:cNvSpPr/>
              <p:nvPr/>
            </p:nvSpPr>
            <p:spPr>
              <a:xfrm>
                <a:off x="3145490" y="3254000"/>
                <a:ext cx="612137" cy="430887"/>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Gill Sans MT" panose="020B0502020104020203" pitchFamily="34" charset="0"/>
                    <a:cs typeface="Segoe UI" panose="020B0502040204020203" pitchFamily="34" charset="0"/>
                  </a:rPr>
                  <a:t>Lorem Ipsum</a:t>
                </a:r>
              </a:p>
            </p:txBody>
          </p:sp>
        </p:grpSp>
      </p:grpSp>
      <p:sp>
        <p:nvSpPr>
          <p:cNvPr id="34" name="Freeform 4">
            <a:extLst>
              <a:ext uri="{FF2B5EF4-FFF2-40B4-BE49-F238E27FC236}">
                <a16:creationId xmlns:a16="http://schemas.microsoft.com/office/drawing/2014/main" id="{113C82F8-0BC9-4B81-892F-9F9FD1D41412}"/>
              </a:ext>
            </a:extLst>
          </p:cNvPr>
          <p:cNvSpPr/>
          <p:nvPr/>
        </p:nvSpPr>
        <p:spPr>
          <a:xfrm>
            <a:off x="4159542" y="620888"/>
            <a:ext cx="3943807" cy="2209382"/>
          </a:xfrm>
          <a:custGeom>
            <a:avLst/>
            <a:gdLst>
              <a:gd name="connsiteX0" fmla="*/ 2434139 w 3690690"/>
              <a:gd name="connsiteY0" fmla="*/ 0 h 2067582"/>
              <a:gd name="connsiteX1" fmla="*/ 3340194 w 3690690"/>
              <a:gd name="connsiteY1" fmla="*/ 0 h 2067582"/>
              <a:gd name="connsiteX2" fmla="*/ 3690690 w 3690690"/>
              <a:gd name="connsiteY2" fmla="*/ 350496 h 2067582"/>
              <a:gd name="connsiteX3" fmla="*/ 3588032 w 3690690"/>
              <a:gd name="connsiteY3" fmla="*/ 598334 h 2067582"/>
              <a:gd name="connsiteX4" fmla="*/ 3536669 w 3690690"/>
              <a:gd name="connsiteY4" fmla="*/ 640713 h 2067582"/>
              <a:gd name="connsiteX5" fmla="*/ 3537460 w 3690690"/>
              <a:gd name="connsiteY5" fmla="*/ 641917 h 2067582"/>
              <a:gd name="connsiteX6" fmla="*/ 1471608 w 3690690"/>
              <a:gd name="connsiteY6" fmla="*/ 1997840 h 2067582"/>
              <a:gd name="connsiteX7" fmla="*/ 1469109 w 3690690"/>
              <a:gd name="connsiteY7" fmla="*/ 1994033 h 2067582"/>
              <a:gd name="connsiteX8" fmla="*/ 1452517 w 3690690"/>
              <a:gd name="connsiteY8" fmla="*/ 2007723 h 2067582"/>
              <a:gd name="connsiteX9" fmla="*/ 1256551 w 3690690"/>
              <a:gd name="connsiteY9" fmla="*/ 2067582 h 2067582"/>
              <a:gd name="connsiteX10" fmla="*/ 350496 w 3690690"/>
              <a:gd name="connsiteY10" fmla="*/ 2067582 h 2067582"/>
              <a:gd name="connsiteX11" fmla="*/ 0 w 3690690"/>
              <a:gd name="connsiteY11" fmla="*/ 1717086 h 2067582"/>
              <a:gd name="connsiteX12" fmla="*/ 154530 w 3690690"/>
              <a:gd name="connsiteY12" fmla="*/ 1426449 h 2067582"/>
              <a:gd name="connsiteX13" fmla="*/ 178536 w 3690690"/>
              <a:gd name="connsiteY13" fmla="*/ 1413419 h 2067582"/>
              <a:gd name="connsiteX14" fmla="*/ 2217145 w 3690690"/>
              <a:gd name="connsiteY14" fmla="*/ 75377 h 2067582"/>
              <a:gd name="connsiteX15" fmla="*/ 2217925 w 3690690"/>
              <a:gd name="connsiteY15" fmla="*/ 76566 h 2067582"/>
              <a:gd name="connsiteX16" fmla="*/ 2238173 w 3690690"/>
              <a:gd name="connsiteY16" fmla="*/ 59859 h 2067582"/>
              <a:gd name="connsiteX17" fmla="*/ 2434139 w 3690690"/>
              <a:gd name="connsiteY17" fmla="*/ 0 h 2067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690690" h="2067582">
                <a:moveTo>
                  <a:pt x="2434139" y="0"/>
                </a:moveTo>
                <a:lnTo>
                  <a:pt x="3340194" y="0"/>
                </a:lnTo>
                <a:cubicBezTo>
                  <a:pt x="3533768" y="0"/>
                  <a:pt x="3690690" y="156922"/>
                  <a:pt x="3690690" y="350496"/>
                </a:cubicBezTo>
                <a:cubicBezTo>
                  <a:pt x="3690690" y="447283"/>
                  <a:pt x="3651459" y="534907"/>
                  <a:pt x="3588032" y="598334"/>
                </a:cubicBezTo>
                <a:lnTo>
                  <a:pt x="3536669" y="640713"/>
                </a:lnTo>
                <a:lnTo>
                  <a:pt x="3537460" y="641917"/>
                </a:lnTo>
                <a:lnTo>
                  <a:pt x="1471608" y="1997840"/>
                </a:lnTo>
                <a:lnTo>
                  <a:pt x="1469109" y="1994033"/>
                </a:lnTo>
                <a:lnTo>
                  <a:pt x="1452517" y="2007723"/>
                </a:lnTo>
                <a:cubicBezTo>
                  <a:pt x="1396577" y="2045515"/>
                  <a:pt x="1329141" y="2067582"/>
                  <a:pt x="1256551" y="2067582"/>
                </a:cubicBezTo>
                <a:lnTo>
                  <a:pt x="350496" y="2067582"/>
                </a:lnTo>
                <a:cubicBezTo>
                  <a:pt x="156922" y="2067582"/>
                  <a:pt x="0" y="1910660"/>
                  <a:pt x="0" y="1717086"/>
                </a:cubicBezTo>
                <a:cubicBezTo>
                  <a:pt x="0" y="1596102"/>
                  <a:pt x="61297" y="1489436"/>
                  <a:pt x="154530" y="1426449"/>
                </a:cubicBezTo>
                <a:lnTo>
                  <a:pt x="178536" y="1413419"/>
                </a:lnTo>
                <a:lnTo>
                  <a:pt x="2217145" y="75377"/>
                </a:lnTo>
                <a:lnTo>
                  <a:pt x="2217925" y="76566"/>
                </a:lnTo>
                <a:lnTo>
                  <a:pt x="2238173" y="59859"/>
                </a:lnTo>
                <a:cubicBezTo>
                  <a:pt x="2294113" y="22067"/>
                  <a:pt x="2361549" y="0"/>
                  <a:pt x="2434139" y="0"/>
                </a:cubicBezTo>
                <a:close/>
              </a:path>
            </a:pathLst>
          </a:custGeom>
          <a:solidFill>
            <a:schemeClr val="accent1"/>
          </a:solidFill>
          <a:ln w="6350" cap="flat" cmpd="sng" algn="ctr">
            <a:solidFill>
              <a:sysClr val="window" lastClr="FFFFFF"/>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grpSp>
        <p:nvGrpSpPr>
          <p:cNvPr id="35" name="Group 139">
            <a:extLst>
              <a:ext uri="{FF2B5EF4-FFF2-40B4-BE49-F238E27FC236}">
                <a16:creationId xmlns:a16="http://schemas.microsoft.com/office/drawing/2014/main" id="{5ABCEDAA-D587-4765-83CC-376317C7BD04}"/>
              </a:ext>
            </a:extLst>
          </p:cNvPr>
          <p:cNvGrpSpPr/>
          <p:nvPr/>
        </p:nvGrpSpPr>
        <p:grpSpPr>
          <a:xfrm>
            <a:off x="4356235" y="776401"/>
            <a:ext cx="3550421" cy="1898356"/>
            <a:chOff x="5392971" y="796264"/>
            <a:chExt cx="3550421" cy="1898356"/>
          </a:xfrm>
        </p:grpSpPr>
        <p:grpSp>
          <p:nvGrpSpPr>
            <p:cNvPr id="36" name="Group 4">
              <a:extLst>
                <a:ext uri="{FF2B5EF4-FFF2-40B4-BE49-F238E27FC236}">
                  <a16:creationId xmlns:a16="http://schemas.microsoft.com/office/drawing/2014/main" id="{3FA53689-B43A-4B15-B3D9-C3C3C1C7DDFD}"/>
                </a:ext>
              </a:extLst>
            </p:cNvPr>
            <p:cNvGrpSpPr/>
            <p:nvPr/>
          </p:nvGrpSpPr>
          <p:grpSpPr>
            <a:xfrm>
              <a:off x="6875835" y="1321833"/>
              <a:ext cx="1326126" cy="321647"/>
              <a:chOff x="7439080" y="1052372"/>
              <a:chExt cx="1326126" cy="321647"/>
            </a:xfrm>
          </p:grpSpPr>
          <p:sp>
            <p:nvSpPr>
              <p:cNvPr id="46" name="Rounded Rectangle 23">
                <a:extLst>
                  <a:ext uri="{FF2B5EF4-FFF2-40B4-BE49-F238E27FC236}">
                    <a16:creationId xmlns:a16="http://schemas.microsoft.com/office/drawing/2014/main" id="{0E31D3FD-822E-4EFC-8779-1843433450FC}"/>
                  </a:ext>
                </a:extLst>
              </p:cNvPr>
              <p:cNvSpPr/>
              <p:nvPr/>
            </p:nvSpPr>
            <p:spPr>
              <a:xfrm>
                <a:off x="7439080" y="1052372"/>
                <a:ext cx="1326126" cy="321647"/>
              </a:xfrm>
              <a:prstGeom prst="roundRect">
                <a:avLst>
                  <a:gd name="adj" fmla="val 50000"/>
                </a:avLst>
              </a:prstGeom>
              <a:gradFill flip="none" rotWithShape="1">
                <a:gsLst>
                  <a:gs pos="100000">
                    <a:schemeClr val="accent1"/>
                  </a:gs>
                  <a:gs pos="0">
                    <a:schemeClr val="accent1"/>
                  </a:gs>
                </a:gsLst>
                <a:lin ang="2700000" scaled="1"/>
                <a:tileRect/>
              </a:gradFill>
              <a:ln w="12700" cap="flat" cmpd="sng" algn="ctr">
                <a:noFill/>
                <a:prstDash val="solid"/>
                <a:miter lim="800000"/>
              </a:ln>
              <a:effectLst>
                <a:outerShdw blurRad="215900" sx="104000" sy="104000" algn="ctr" rotWithShape="0">
                  <a:prstClr val="black">
                    <a:alpha val="19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cs typeface="+mn-cs"/>
                </a:endParaRPr>
              </a:p>
            </p:txBody>
          </p:sp>
          <p:sp>
            <p:nvSpPr>
              <p:cNvPr id="47" name="TextBox 39">
                <a:extLst>
                  <a:ext uri="{FF2B5EF4-FFF2-40B4-BE49-F238E27FC236}">
                    <a16:creationId xmlns:a16="http://schemas.microsoft.com/office/drawing/2014/main" id="{6B81C80F-3470-48F9-97F0-6F175F8ABB66}"/>
                  </a:ext>
                </a:extLst>
              </p:cNvPr>
              <p:cNvSpPr txBox="1"/>
              <p:nvPr/>
            </p:nvSpPr>
            <p:spPr>
              <a:xfrm>
                <a:off x="7577466" y="1105473"/>
                <a:ext cx="1049355" cy="215444"/>
              </a:xfrm>
              <a:prstGeom prst="rect">
                <a:avLst/>
              </a:prstGeom>
            </p:spPr>
            <p:txBody>
              <a:bodyPr wrap="square" lIns="0" tIns="0" rIns="0" bIns="0">
                <a:spAutoFit/>
              </a:bodyPr>
              <a:lstStyle>
                <a:defPPr>
                  <a:defRPr lang="en-US"/>
                </a:defPPr>
                <a:lvl1pPr>
                  <a:defRPr sz="1400" kern="0">
                    <a:solidFill>
                      <a:schemeClr val="bg1"/>
                    </a:solidFill>
                    <a:latin typeface="Gill Sans MT" panose="020B0502020104020203" pitchFamily="34" charset="0"/>
                    <a:cs typeface="Segoe UI" panose="020B05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FFFFF"/>
                    </a:solidFill>
                    <a:effectLst/>
                    <a:uLnTx/>
                    <a:uFillTx/>
                    <a:latin typeface="Gill Sans MT" panose="020B0502020104020203" pitchFamily="34" charset="0"/>
                    <a:cs typeface="Segoe UI" panose="020B0502040204020203" pitchFamily="34" charset="0"/>
                  </a:rPr>
                  <a:t>Lorem Ipsum</a:t>
                </a:r>
              </a:p>
            </p:txBody>
          </p:sp>
        </p:grpSp>
        <p:grpSp>
          <p:nvGrpSpPr>
            <p:cNvPr id="37" name="Group 5">
              <a:extLst>
                <a:ext uri="{FF2B5EF4-FFF2-40B4-BE49-F238E27FC236}">
                  <a16:creationId xmlns:a16="http://schemas.microsoft.com/office/drawing/2014/main" id="{25CAE448-2297-422C-A4F5-C8FD04CBC56B}"/>
                </a:ext>
              </a:extLst>
            </p:cNvPr>
            <p:cNvGrpSpPr/>
            <p:nvPr/>
          </p:nvGrpSpPr>
          <p:grpSpPr>
            <a:xfrm>
              <a:off x="6134403" y="1847402"/>
              <a:ext cx="1326126" cy="321647"/>
              <a:chOff x="6374989" y="1748429"/>
              <a:chExt cx="1326126" cy="321647"/>
            </a:xfrm>
          </p:grpSpPr>
          <p:sp>
            <p:nvSpPr>
              <p:cNvPr id="44" name="Rounded Rectangle 20">
                <a:extLst>
                  <a:ext uri="{FF2B5EF4-FFF2-40B4-BE49-F238E27FC236}">
                    <a16:creationId xmlns:a16="http://schemas.microsoft.com/office/drawing/2014/main" id="{AC3582AB-FB2C-44EB-B340-A33D1A43D778}"/>
                  </a:ext>
                </a:extLst>
              </p:cNvPr>
              <p:cNvSpPr/>
              <p:nvPr/>
            </p:nvSpPr>
            <p:spPr>
              <a:xfrm>
                <a:off x="6374989" y="1748429"/>
                <a:ext cx="1326126" cy="321647"/>
              </a:xfrm>
              <a:prstGeom prst="roundRect">
                <a:avLst>
                  <a:gd name="adj" fmla="val 50000"/>
                </a:avLst>
              </a:prstGeom>
              <a:gradFill flip="none" rotWithShape="1">
                <a:gsLst>
                  <a:gs pos="100000">
                    <a:schemeClr val="accent1"/>
                  </a:gs>
                  <a:gs pos="0">
                    <a:schemeClr val="accent1"/>
                  </a:gs>
                </a:gsLst>
                <a:lin ang="2700000" scaled="1"/>
                <a:tileRect/>
              </a:gradFill>
              <a:ln w="12700" cap="flat" cmpd="sng" algn="ctr">
                <a:noFill/>
                <a:prstDash val="solid"/>
                <a:miter lim="800000"/>
              </a:ln>
              <a:effectLst>
                <a:outerShdw blurRad="215900" sx="104000" sy="104000" algn="ctr" rotWithShape="0">
                  <a:prstClr val="black">
                    <a:alpha val="19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cs typeface="+mn-cs"/>
                </a:endParaRPr>
              </a:p>
            </p:txBody>
          </p:sp>
          <p:sp>
            <p:nvSpPr>
              <p:cNvPr id="45" name="TextBox 43">
                <a:extLst>
                  <a:ext uri="{FF2B5EF4-FFF2-40B4-BE49-F238E27FC236}">
                    <a16:creationId xmlns:a16="http://schemas.microsoft.com/office/drawing/2014/main" id="{2815F763-2A8B-4064-B282-FE2B974107B3}"/>
                  </a:ext>
                </a:extLst>
              </p:cNvPr>
              <p:cNvSpPr txBox="1"/>
              <p:nvPr/>
            </p:nvSpPr>
            <p:spPr>
              <a:xfrm>
                <a:off x="6513375" y="1801530"/>
                <a:ext cx="1049355" cy="215444"/>
              </a:xfrm>
              <a:prstGeom prst="rect">
                <a:avLst/>
              </a:prstGeom>
            </p:spPr>
            <p:txBody>
              <a:bodyPr wrap="square" lIns="0" tIns="0" rIns="0" bIns="0">
                <a:spAutoFit/>
              </a:bodyPr>
              <a:lstStyle>
                <a:defPPr>
                  <a:defRPr lang="en-US"/>
                </a:defPPr>
                <a:lvl1pPr>
                  <a:defRPr sz="1400" kern="0">
                    <a:solidFill>
                      <a:schemeClr val="bg1"/>
                    </a:solidFill>
                    <a:latin typeface="Gill Sans MT" panose="020B0502020104020203" pitchFamily="34" charset="0"/>
                    <a:cs typeface="Segoe UI" panose="020B05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FFFFF"/>
                    </a:solidFill>
                    <a:effectLst/>
                    <a:uLnTx/>
                    <a:uFillTx/>
                    <a:latin typeface="Gill Sans MT" panose="020B0502020104020203" pitchFamily="34" charset="0"/>
                    <a:cs typeface="Segoe UI" panose="020B0502040204020203" pitchFamily="34" charset="0"/>
                  </a:rPr>
                  <a:t>Lorem Ipsum</a:t>
                </a:r>
              </a:p>
            </p:txBody>
          </p:sp>
        </p:grpSp>
        <p:grpSp>
          <p:nvGrpSpPr>
            <p:cNvPr id="38" name="Group 6">
              <a:extLst>
                <a:ext uri="{FF2B5EF4-FFF2-40B4-BE49-F238E27FC236}">
                  <a16:creationId xmlns:a16="http://schemas.microsoft.com/office/drawing/2014/main" id="{1D76DFCE-88E3-4DE0-B774-C29BE0E485AD}"/>
                </a:ext>
              </a:extLst>
            </p:cNvPr>
            <p:cNvGrpSpPr/>
            <p:nvPr/>
          </p:nvGrpSpPr>
          <p:grpSpPr>
            <a:xfrm>
              <a:off x="5392971" y="2372972"/>
              <a:ext cx="1326126" cy="321648"/>
              <a:chOff x="5364516" y="2429678"/>
              <a:chExt cx="1326126" cy="321648"/>
            </a:xfrm>
          </p:grpSpPr>
          <p:sp>
            <p:nvSpPr>
              <p:cNvPr id="42" name="Rounded Rectangle 17">
                <a:extLst>
                  <a:ext uri="{FF2B5EF4-FFF2-40B4-BE49-F238E27FC236}">
                    <a16:creationId xmlns:a16="http://schemas.microsoft.com/office/drawing/2014/main" id="{64C7E2EE-5874-42AE-B7FA-C5CD53A18059}"/>
                  </a:ext>
                </a:extLst>
              </p:cNvPr>
              <p:cNvSpPr/>
              <p:nvPr/>
            </p:nvSpPr>
            <p:spPr>
              <a:xfrm>
                <a:off x="5364516" y="2429678"/>
                <a:ext cx="1326126" cy="321648"/>
              </a:xfrm>
              <a:prstGeom prst="roundRect">
                <a:avLst>
                  <a:gd name="adj" fmla="val 50000"/>
                </a:avLst>
              </a:prstGeom>
              <a:gradFill flip="none" rotWithShape="1">
                <a:gsLst>
                  <a:gs pos="100000">
                    <a:schemeClr val="accent1"/>
                  </a:gs>
                  <a:gs pos="0">
                    <a:schemeClr val="accent1"/>
                  </a:gs>
                </a:gsLst>
                <a:lin ang="2700000" scaled="1"/>
                <a:tileRect/>
              </a:gradFill>
              <a:ln w="12700" cap="flat" cmpd="sng" algn="ctr">
                <a:noFill/>
                <a:prstDash val="solid"/>
                <a:miter lim="800000"/>
              </a:ln>
              <a:effectLst>
                <a:outerShdw blurRad="215900" sx="104000" sy="104000" algn="ctr" rotWithShape="0">
                  <a:prstClr val="black">
                    <a:alpha val="19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cs typeface="+mn-cs"/>
                </a:endParaRPr>
              </a:p>
            </p:txBody>
          </p:sp>
          <p:sp>
            <p:nvSpPr>
              <p:cNvPr id="43" name="TextBox 47">
                <a:extLst>
                  <a:ext uri="{FF2B5EF4-FFF2-40B4-BE49-F238E27FC236}">
                    <a16:creationId xmlns:a16="http://schemas.microsoft.com/office/drawing/2014/main" id="{0237BC47-8152-4885-B053-322A2EE98490}"/>
                  </a:ext>
                </a:extLst>
              </p:cNvPr>
              <p:cNvSpPr txBox="1"/>
              <p:nvPr/>
            </p:nvSpPr>
            <p:spPr>
              <a:xfrm>
                <a:off x="5502902" y="2482780"/>
                <a:ext cx="1049355" cy="215444"/>
              </a:xfrm>
              <a:prstGeom prst="rect">
                <a:avLst/>
              </a:prstGeom>
            </p:spPr>
            <p:txBody>
              <a:bodyPr wrap="square" lIns="0" tIns="0" rIns="0" bIns="0">
                <a:spAutoFit/>
              </a:bodyPr>
              <a:lstStyle>
                <a:defPPr>
                  <a:defRPr lang="en-US"/>
                </a:defPPr>
                <a:lvl1pPr>
                  <a:defRPr sz="1400" kern="0">
                    <a:solidFill>
                      <a:schemeClr val="bg1"/>
                    </a:solidFill>
                    <a:latin typeface="Gill Sans MT" panose="020B0502020104020203" pitchFamily="34" charset="0"/>
                    <a:cs typeface="Segoe UI" panose="020B05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FFFFF"/>
                    </a:solidFill>
                    <a:effectLst/>
                    <a:uLnTx/>
                    <a:uFillTx/>
                    <a:latin typeface="Gill Sans MT" panose="020B0502020104020203" pitchFamily="34" charset="0"/>
                    <a:cs typeface="Segoe UI" panose="020B0502040204020203" pitchFamily="34" charset="0"/>
                  </a:rPr>
                  <a:t>Lorem Ipsum</a:t>
                </a:r>
              </a:p>
            </p:txBody>
          </p:sp>
        </p:grpSp>
        <p:grpSp>
          <p:nvGrpSpPr>
            <p:cNvPr id="39" name="Group 64">
              <a:extLst>
                <a:ext uri="{FF2B5EF4-FFF2-40B4-BE49-F238E27FC236}">
                  <a16:creationId xmlns:a16="http://schemas.microsoft.com/office/drawing/2014/main" id="{A5F95526-DC73-4A40-BFA9-B8983B79481E}"/>
                </a:ext>
              </a:extLst>
            </p:cNvPr>
            <p:cNvGrpSpPr/>
            <p:nvPr/>
          </p:nvGrpSpPr>
          <p:grpSpPr>
            <a:xfrm>
              <a:off x="7617266" y="796264"/>
              <a:ext cx="1326126" cy="321647"/>
              <a:chOff x="7439080" y="1052372"/>
              <a:chExt cx="1326126" cy="321647"/>
            </a:xfrm>
          </p:grpSpPr>
          <p:sp>
            <p:nvSpPr>
              <p:cNvPr id="40" name="Rounded Rectangle 23">
                <a:extLst>
                  <a:ext uri="{FF2B5EF4-FFF2-40B4-BE49-F238E27FC236}">
                    <a16:creationId xmlns:a16="http://schemas.microsoft.com/office/drawing/2014/main" id="{B9B30D19-B07A-480D-AF71-7EAD33FFEBDF}"/>
                  </a:ext>
                </a:extLst>
              </p:cNvPr>
              <p:cNvSpPr/>
              <p:nvPr/>
            </p:nvSpPr>
            <p:spPr>
              <a:xfrm>
                <a:off x="7439080" y="1052372"/>
                <a:ext cx="1326126" cy="321647"/>
              </a:xfrm>
              <a:prstGeom prst="roundRect">
                <a:avLst>
                  <a:gd name="adj" fmla="val 50000"/>
                </a:avLst>
              </a:prstGeom>
              <a:gradFill flip="none" rotWithShape="1">
                <a:gsLst>
                  <a:gs pos="100000">
                    <a:schemeClr val="accent1"/>
                  </a:gs>
                  <a:gs pos="0">
                    <a:schemeClr val="accent1"/>
                  </a:gs>
                </a:gsLst>
                <a:lin ang="2700000" scaled="1"/>
                <a:tileRect/>
              </a:gradFill>
              <a:ln w="12700" cap="flat" cmpd="sng" algn="ctr">
                <a:noFill/>
                <a:prstDash val="solid"/>
                <a:miter lim="800000"/>
              </a:ln>
              <a:effectLst>
                <a:outerShdw blurRad="215900" sx="104000" sy="104000" algn="ctr" rotWithShape="0">
                  <a:prstClr val="black">
                    <a:alpha val="19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cs typeface="+mn-cs"/>
                </a:endParaRPr>
              </a:p>
            </p:txBody>
          </p:sp>
          <p:sp>
            <p:nvSpPr>
              <p:cNvPr id="41" name="TextBox 66">
                <a:extLst>
                  <a:ext uri="{FF2B5EF4-FFF2-40B4-BE49-F238E27FC236}">
                    <a16:creationId xmlns:a16="http://schemas.microsoft.com/office/drawing/2014/main" id="{231CE8E1-3AD1-4F0B-9C46-21D59AEF2220}"/>
                  </a:ext>
                </a:extLst>
              </p:cNvPr>
              <p:cNvSpPr txBox="1"/>
              <p:nvPr/>
            </p:nvSpPr>
            <p:spPr>
              <a:xfrm>
                <a:off x="7577466" y="1105473"/>
                <a:ext cx="1049355" cy="215444"/>
              </a:xfrm>
              <a:prstGeom prst="rect">
                <a:avLst/>
              </a:prstGeom>
            </p:spPr>
            <p:txBody>
              <a:bodyPr wrap="square" lIns="0" tIns="0" rIns="0" bIns="0">
                <a:spAutoFit/>
              </a:bodyPr>
              <a:lstStyle>
                <a:defPPr>
                  <a:defRPr lang="en-US"/>
                </a:defPPr>
                <a:lvl1pPr>
                  <a:defRPr sz="1400" kern="0">
                    <a:solidFill>
                      <a:schemeClr val="bg1"/>
                    </a:solidFill>
                    <a:latin typeface="Gill Sans MT" panose="020B0502020104020203" pitchFamily="34" charset="0"/>
                    <a:cs typeface="Segoe UI" panose="020B05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FFFFF"/>
                    </a:solidFill>
                    <a:effectLst/>
                    <a:uLnTx/>
                    <a:uFillTx/>
                    <a:latin typeface="Gill Sans MT" panose="020B0502020104020203" pitchFamily="34" charset="0"/>
                    <a:cs typeface="Segoe UI" panose="020B0502040204020203" pitchFamily="34" charset="0"/>
                  </a:rPr>
                  <a:t>Lorem Ipsum</a:t>
                </a:r>
              </a:p>
            </p:txBody>
          </p:sp>
        </p:grpSp>
      </p:grpSp>
      <p:sp>
        <p:nvSpPr>
          <p:cNvPr id="48" name="Freeform 4">
            <a:extLst>
              <a:ext uri="{FF2B5EF4-FFF2-40B4-BE49-F238E27FC236}">
                <a16:creationId xmlns:a16="http://schemas.microsoft.com/office/drawing/2014/main" id="{FE16C4B2-EEA5-489E-AE5C-F0C27D794C96}"/>
              </a:ext>
            </a:extLst>
          </p:cNvPr>
          <p:cNvSpPr/>
          <p:nvPr/>
        </p:nvSpPr>
        <p:spPr>
          <a:xfrm>
            <a:off x="7139627" y="1249104"/>
            <a:ext cx="2822424" cy="1581166"/>
          </a:xfrm>
          <a:custGeom>
            <a:avLst/>
            <a:gdLst>
              <a:gd name="connsiteX0" fmla="*/ 2434139 w 3690690"/>
              <a:gd name="connsiteY0" fmla="*/ 0 h 2067582"/>
              <a:gd name="connsiteX1" fmla="*/ 3340194 w 3690690"/>
              <a:gd name="connsiteY1" fmla="*/ 0 h 2067582"/>
              <a:gd name="connsiteX2" fmla="*/ 3690690 w 3690690"/>
              <a:gd name="connsiteY2" fmla="*/ 350496 h 2067582"/>
              <a:gd name="connsiteX3" fmla="*/ 3588032 w 3690690"/>
              <a:gd name="connsiteY3" fmla="*/ 598334 h 2067582"/>
              <a:gd name="connsiteX4" fmla="*/ 3536669 w 3690690"/>
              <a:gd name="connsiteY4" fmla="*/ 640713 h 2067582"/>
              <a:gd name="connsiteX5" fmla="*/ 3537460 w 3690690"/>
              <a:gd name="connsiteY5" fmla="*/ 641917 h 2067582"/>
              <a:gd name="connsiteX6" fmla="*/ 1471608 w 3690690"/>
              <a:gd name="connsiteY6" fmla="*/ 1997840 h 2067582"/>
              <a:gd name="connsiteX7" fmla="*/ 1469109 w 3690690"/>
              <a:gd name="connsiteY7" fmla="*/ 1994033 h 2067582"/>
              <a:gd name="connsiteX8" fmla="*/ 1452517 w 3690690"/>
              <a:gd name="connsiteY8" fmla="*/ 2007723 h 2067582"/>
              <a:gd name="connsiteX9" fmla="*/ 1256551 w 3690690"/>
              <a:gd name="connsiteY9" fmla="*/ 2067582 h 2067582"/>
              <a:gd name="connsiteX10" fmla="*/ 350496 w 3690690"/>
              <a:gd name="connsiteY10" fmla="*/ 2067582 h 2067582"/>
              <a:gd name="connsiteX11" fmla="*/ 0 w 3690690"/>
              <a:gd name="connsiteY11" fmla="*/ 1717086 h 2067582"/>
              <a:gd name="connsiteX12" fmla="*/ 154530 w 3690690"/>
              <a:gd name="connsiteY12" fmla="*/ 1426449 h 2067582"/>
              <a:gd name="connsiteX13" fmla="*/ 178536 w 3690690"/>
              <a:gd name="connsiteY13" fmla="*/ 1413419 h 2067582"/>
              <a:gd name="connsiteX14" fmla="*/ 2217145 w 3690690"/>
              <a:gd name="connsiteY14" fmla="*/ 75377 h 2067582"/>
              <a:gd name="connsiteX15" fmla="*/ 2217925 w 3690690"/>
              <a:gd name="connsiteY15" fmla="*/ 76566 h 2067582"/>
              <a:gd name="connsiteX16" fmla="*/ 2238173 w 3690690"/>
              <a:gd name="connsiteY16" fmla="*/ 59859 h 2067582"/>
              <a:gd name="connsiteX17" fmla="*/ 2434139 w 3690690"/>
              <a:gd name="connsiteY17" fmla="*/ 0 h 2067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690690" h="2067582">
                <a:moveTo>
                  <a:pt x="2434139" y="0"/>
                </a:moveTo>
                <a:lnTo>
                  <a:pt x="3340194" y="0"/>
                </a:lnTo>
                <a:cubicBezTo>
                  <a:pt x="3533768" y="0"/>
                  <a:pt x="3690690" y="156922"/>
                  <a:pt x="3690690" y="350496"/>
                </a:cubicBezTo>
                <a:cubicBezTo>
                  <a:pt x="3690690" y="447283"/>
                  <a:pt x="3651459" y="534907"/>
                  <a:pt x="3588032" y="598334"/>
                </a:cubicBezTo>
                <a:lnTo>
                  <a:pt x="3536669" y="640713"/>
                </a:lnTo>
                <a:lnTo>
                  <a:pt x="3537460" y="641917"/>
                </a:lnTo>
                <a:lnTo>
                  <a:pt x="1471608" y="1997840"/>
                </a:lnTo>
                <a:lnTo>
                  <a:pt x="1469109" y="1994033"/>
                </a:lnTo>
                <a:lnTo>
                  <a:pt x="1452517" y="2007723"/>
                </a:lnTo>
                <a:cubicBezTo>
                  <a:pt x="1396577" y="2045515"/>
                  <a:pt x="1329141" y="2067582"/>
                  <a:pt x="1256551" y="2067582"/>
                </a:cubicBezTo>
                <a:lnTo>
                  <a:pt x="350496" y="2067582"/>
                </a:lnTo>
                <a:cubicBezTo>
                  <a:pt x="156922" y="2067582"/>
                  <a:pt x="0" y="1910660"/>
                  <a:pt x="0" y="1717086"/>
                </a:cubicBezTo>
                <a:cubicBezTo>
                  <a:pt x="0" y="1596102"/>
                  <a:pt x="61297" y="1489436"/>
                  <a:pt x="154530" y="1426449"/>
                </a:cubicBezTo>
                <a:lnTo>
                  <a:pt x="178536" y="1413419"/>
                </a:lnTo>
                <a:lnTo>
                  <a:pt x="2217145" y="75377"/>
                </a:lnTo>
                <a:lnTo>
                  <a:pt x="2217925" y="76566"/>
                </a:lnTo>
                <a:lnTo>
                  <a:pt x="2238173" y="59859"/>
                </a:lnTo>
                <a:cubicBezTo>
                  <a:pt x="2294113" y="22067"/>
                  <a:pt x="2361549" y="0"/>
                  <a:pt x="2434139" y="0"/>
                </a:cubicBezTo>
                <a:close/>
              </a:path>
            </a:pathLst>
          </a:custGeom>
          <a:solidFill>
            <a:schemeClr val="accent1"/>
          </a:solidFill>
          <a:ln w="6350" cap="flat" cmpd="sng" algn="ctr">
            <a:solidFill>
              <a:sysClr val="window" lastClr="FFFFFF"/>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grpSp>
        <p:nvGrpSpPr>
          <p:cNvPr id="49" name="Group 147">
            <a:extLst>
              <a:ext uri="{FF2B5EF4-FFF2-40B4-BE49-F238E27FC236}">
                <a16:creationId xmlns:a16="http://schemas.microsoft.com/office/drawing/2014/main" id="{CC8318D5-902E-48C1-B143-4B4860B34835}"/>
              </a:ext>
            </a:extLst>
          </p:cNvPr>
          <p:cNvGrpSpPr/>
          <p:nvPr/>
        </p:nvGrpSpPr>
        <p:grpSpPr>
          <a:xfrm>
            <a:off x="8650397" y="1397245"/>
            <a:ext cx="1238956" cy="321647"/>
            <a:chOff x="7439080" y="1052372"/>
            <a:chExt cx="1326126" cy="321647"/>
          </a:xfrm>
        </p:grpSpPr>
        <p:sp>
          <p:nvSpPr>
            <p:cNvPr id="50" name="Rounded Rectangle 23">
              <a:extLst>
                <a:ext uri="{FF2B5EF4-FFF2-40B4-BE49-F238E27FC236}">
                  <a16:creationId xmlns:a16="http://schemas.microsoft.com/office/drawing/2014/main" id="{EAA5ECF7-C88F-4A4B-AD96-08AA277F7E96}"/>
                </a:ext>
              </a:extLst>
            </p:cNvPr>
            <p:cNvSpPr/>
            <p:nvPr/>
          </p:nvSpPr>
          <p:spPr>
            <a:xfrm>
              <a:off x="7439080" y="1052372"/>
              <a:ext cx="1326126" cy="321647"/>
            </a:xfrm>
            <a:prstGeom prst="roundRect">
              <a:avLst>
                <a:gd name="adj" fmla="val 50000"/>
              </a:avLst>
            </a:prstGeom>
            <a:gradFill flip="none" rotWithShape="1">
              <a:gsLst>
                <a:gs pos="100000">
                  <a:schemeClr val="accent1"/>
                </a:gs>
                <a:gs pos="33000">
                  <a:schemeClr val="accent1"/>
                </a:gs>
              </a:gsLst>
              <a:lin ang="1800000" scaled="0"/>
              <a:tileRect/>
            </a:gradFill>
            <a:ln w="12700" cap="flat" cmpd="sng" algn="ctr">
              <a:noFill/>
              <a:prstDash val="solid"/>
              <a:miter lim="800000"/>
            </a:ln>
            <a:effectLst>
              <a:outerShdw blurRad="215900" sx="104000" sy="104000" algn="ctr" rotWithShape="0">
                <a:prstClr val="black">
                  <a:alpha val="19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cs typeface="+mn-cs"/>
              </a:endParaRPr>
            </a:p>
          </p:txBody>
        </p:sp>
        <p:sp>
          <p:nvSpPr>
            <p:cNvPr id="51" name="TextBox 149">
              <a:extLst>
                <a:ext uri="{FF2B5EF4-FFF2-40B4-BE49-F238E27FC236}">
                  <a16:creationId xmlns:a16="http://schemas.microsoft.com/office/drawing/2014/main" id="{136E0040-E8D7-4DB4-A1D1-CD4B71ACA656}"/>
                </a:ext>
              </a:extLst>
            </p:cNvPr>
            <p:cNvSpPr txBox="1"/>
            <p:nvPr/>
          </p:nvSpPr>
          <p:spPr>
            <a:xfrm>
              <a:off x="7577466" y="1105473"/>
              <a:ext cx="1049355" cy="215444"/>
            </a:xfrm>
            <a:prstGeom prst="rect">
              <a:avLst/>
            </a:prstGeom>
          </p:spPr>
          <p:txBody>
            <a:bodyPr wrap="square" lIns="0" tIns="0" rIns="0" bIns="0">
              <a:spAutoFit/>
            </a:bodyPr>
            <a:lstStyle>
              <a:defPPr>
                <a:defRPr lang="en-US"/>
              </a:defPPr>
              <a:lvl1pPr>
                <a:defRPr sz="1400" kern="0">
                  <a:solidFill>
                    <a:schemeClr val="bg1"/>
                  </a:solidFill>
                  <a:latin typeface="Gill Sans MT" panose="020B0502020104020203" pitchFamily="34" charset="0"/>
                  <a:cs typeface="Segoe UI" panose="020B05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FFFFF"/>
                  </a:solidFill>
                  <a:effectLst/>
                  <a:uLnTx/>
                  <a:uFillTx/>
                  <a:latin typeface="Gill Sans MT" panose="020B0502020104020203" pitchFamily="34" charset="0"/>
                  <a:cs typeface="Segoe UI" panose="020B0502040204020203" pitchFamily="34" charset="0"/>
                </a:rPr>
                <a:t>Lorem Ipsum</a:t>
              </a:r>
            </a:p>
          </p:txBody>
        </p:sp>
      </p:grpSp>
      <p:grpSp>
        <p:nvGrpSpPr>
          <p:cNvPr id="52" name="Group 150">
            <a:extLst>
              <a:ext uri="{FF2B5EF4-FFF2-40B4-BE49-F238E27FC236}">
                <a16:creationId xmlns:a16="http://schemas.microsoft.com/office/drawing/2014/main" id="{2FE47DB6-7ADA-4796-9BD1-E2FF60F8083F}"/>
              </a:ext>
            </a:extLst>
          </p:cNvPr>
          <p:cNvGrpSpPr/>
          <p:nvPr/>
        </p:nvGrpSpPr>
        <p:grpSpPr>
          <a:xfrm>
            <a:off x="7933398" y="1885108"/>
            <a:ext cx="1238956" cy="321647"/>
            <a:chOff x="6374989" y="1748429"/>
            <a:chExt cx="1326126" cy="321647"/>
          </a:xfrm>
        </p:grpSpPr>
        <p:sp>
          <p:nvSpPr>
            <p:cNvPr id="53" name="Rounded Rectangle 20">
              <a:extLst>
                <a:ext uri="{FF2B5EF4-FFF2-40B4-BE49-F238E27FC236}">
                  <a16:creationId xmlns:a16="http://schemas.microsoft.com/office/drawing/2014/main" id="{9C4527C8-6C8B-4017-87B6-2244617E047E}"/>
                </a:ext>
              </a:extLst>
            </p:cNvPr>
            <p:cNvSpPr/>
            <p:nvPr/>
          </p:nvSpPr>
          <p:spPr>
            <a:xfrm>
              <a:off x="6374989" y="1748429"/>
              <a:ext cx="1326126" cy="321647"/>
            </a:xfrm>
            <a:prstGeom prst="roundRect">
              <a:avLst>
                <a:gd name="adj" fmla="val 50000"/>
              </a:avLst>
            </a:prstGeom>
            <a:gradFill flip="none" rotWithShape="1">
              <a:gsLst>
                <a:gs pos="100000">
                  <a:schemeClr val="accent1"/>
                </a:gs>
                <a:gs pos="33000">
                  <a:schemeClr val="accent1"/>
                </a:gs>
              </a:gsLst>
              <a:lin ang="1800000" scaled="0"/>
              <a:tileRect/>
            </a:gradFill>
            <a:ln w="12700" cap="flat" cmpd="sng" algn="ctr">
              <a:noFill/>
              <a:prstDash val="solid"/>
              <a:miter lim="800000"/>
            </a:ln>
            <a:effectLst>
              <a:outerShdw blurRad="215900" sx="104000" sy="104000" algn="ctr" rotWithShape="0">
                <a:prstClr val="black">
                  <a:alpha val="19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cs typeface="+mn-cs"/>
              </a:endParaRPr>
            </a:p>
          </p:txBody>
        </p:sp>
        <p:sp>
          <p:nvSpPr>
            <p:cNvPr id="54" name="TextBox 152">
              <a:extLst>
                <a:ext uri="{FF2B5EF4-FFF2-40B4-BE49-F238E27FC236}">
                  <a16:creationId xmlns:a16="http://schemas.microsoft.com/office/drawing/2014/main" id="{4DEEFD98-78AB-449E-BE6E-F7C0A89FA50C}"/>
                </a:ext>
              </a:extLst>
            </p:cNvPr>
            <p:cNvSpPr txBox="1"/>
            <p:nvPr/>
          </p:nvSpPr>
          <p:spPr>
            <a:xfrm>
              <a:off x="6513375" y="1801530"/>
              <a:ext cx="1049355" cy="215444"/>
            </a:xfrm>
            <a:prstGeom prst="rect">
              <a:avLst/>
            </a:prstGeom>
          </p:spPr>
          <p:txBody>
            <a:bodyPr wrap="square" lIns="0" tIns="0" rIns="0" bIns="0">
              <a:spAutoFit/>
            </a:bodyPr>
            <a:lstStyle>
              <a:defPPr>
                <a:defRPr lang="en-US"/>
              </a:defPPr>
              <a:lvl1pPr>
                <a:defRPr sz="1400" kern="0">
                  <a:solidFill>
                    <a:schemeClr val="bg1"/>
                  </a:solidFill>
                  <a:latin typeface="Gill Sans MT" panose="020B0502020104020203" pitchFamily="34" charset="0"/>
                  <a:cs typeface="Segoe UI" panose="020B05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FFFFF"/>
                  </a:solidFill>
                  <a:effectLst/>
                  <a:uLnTx/>
                  <a:uFillTx/>
                  <a:latin typeface="Gill Sans MT" panose="020B0502020104020203" pitchFamily="34" charset="0"/>
                  <a:cs typeface="Segoe UI" panose="020B0502040204020203" pitchFamily="34" charset="0"/>
                </a:rPr>
                <a:t>Lorem Ipsum</a:t>
              </a:r>
            </a:p>
          </p:txBody>
        </p:sp>
      </p:grpSp>
      <p:grpSp>
        <p:nvGrpSpPr>
          <p:cNvPr id="55" name="Group 153">
            <a:extLst>
              <a:ext uri="{FF2B5EF4-FFF2-40B4-BE49-F238E27FC236}">
                <a16:creationId xmlns:a16="http://schemas.microsoft.com/office/drawing/2014/main" id="{A765F4AE-0F3B-4F59-8E52-2D3E0F3FF4FC}"/>
              </a:ext>
            </a:extLst>
          </p:cNvPr>
          <p:cNvGrpSpPr/>
          <p:nvPr/>
        </p:nvGrpSpPr>
        <p:grpSpPr>
          <a:xfrm>
            <a:off x="7216398" y="2372972"/>
            <a:ext cx="1238956" cy="321648"/>
            <a:chOff x="5364516" y="2429678"/>
            <a:chExt cx="1326126" cy="321648"/>
          </a:xfrm>
        </p:grpSpPr>
        <p:sp>
          <p:nvSpPr>
            <p:cNvPr id="56" name="Rounded Rectangle 17">
              <a:extLst>
                <a:ext uri="{FF2B5EF4-FFF2-40B4-BE49-F238E27FC236}">
                  <a16:creationId xmlns:a16="http://schemas.microsoft.com/office/drawing/2014/main" id="{3E8C9C90-4075-49C8-97A3-B9691691F182}"/>
                </a:ext>
              </a:extLst>
            </p:cNvPr>
            <p:cNvSpPr/>
            <p:nvPr/>
          </p:nvSpPr>
          <p:spPr>
            <a:xfrm>
              <a:off x="5364516" y="2429678"/>
              <a:ext cx="1326126" cy="321648"/>
            </a:xfrm>
            <a:prstGeom prst="roundRect">
              <a:avLst>
                <a:gd name="adj" fmla="val 50000"/>
              </a:avLst>
            </a:prstGeom>
            <a:gradFill flip="none" rotWithShape="1">
              <a:gsLst>
                <a:gs pos="100000">
                  <a:schemeClr val="accent1"/>
                </a:gs>
                <a:gs pos="33000">
                  <a:schemeClr val="accent1"/>
                </a:gs>
              </a:gsLst>
              <a:lin ang="1800000" scaled="0"/>
              <a:tileRect/>
            </a:gradFill>
            <a:ln w="12700" cap="flat" cmpd="sng" algn="ctr">
              <a:noFill/>
              <a:prstDash val="solid"/>
              <a:miter lim="800000"/>
            </a:ln>
            <a:effectLst>
              <a:outerShdw blurRad="215900" sx="104000" sy="104000" algn="ctr" rotWithShape="0">
                <a:prstClr val="black">
                  <a:alpha val="19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cs typeface="+mn-cs"/>
              </a:endParaRPr>
            </a:p>
          </p:txBody>
        </p:sp>
        <p:sp>
          <p:nvSpPr>
            <p:cNvPr id="57" name="TextBox 155">
              <a:extLst>
                <a:ext uri="{FF2B5EF4-FFF2-40B4-BE49-F238E27FC236}">
                  <a16:creationId xmlns:a16="http://schemas.microsoft.com/office/drawing/2014/main" id="{18CF90B0-A206-46C4-A44B-8347154574B5}"/>
                </a:ext>
              </a:extLst>
            </p:cNvPr>
            <p:cNvSpPr txBox="1"/>
            <p:nvPr/>
          </p:nvSpPr>
          <p:spPr>
            <a:xfrm>
              <a:off x="5502902" y="2482780"/>
              <a:ext cx="1049355" cy="215444"/>
            </a:xfrm>
            <a:prstGeom prst="rect">
              <a:avLst/>
            </a:prstGeom>
          </p:spPr>
          <p:txBody>
            <a:bodyPr wrap="square" lIns="0" tIns="0" rIns="0" bIns="0">
              <a:spAutoFit/>
            </a:bodyPr>
            <a:lstStyle>
              <a:defPPr>
                <a:defRPr lang="en-US"/>
              </a:defPPr>
              <a:lvl1pPr>
                <a:defRPr sz="1400" kern="0">
                  <a:solidFill>
                    <a:schemeClr val="bg1"/>
                  </a:solidFill>
                  <a:latin typeface="Gill Sans MT" panose="020B0502020104020203" pitchFamily="34" charset="0"/>
                  <a:cs typeface="Segoe UI" panose="020B05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FFFFF"/>
                  </a:solidFill>
                  <a:effectLst/>
                  <a:uLnTx/>
                  <a:uFillTx/>
                  <a:latin typeface="Gill Sans MT" panose="020B0502020104020203" pitchFamily="34" charset="0"/>
                  <a:cs typeface="Segoe UI" panose="020B0502040204020203" pitchFamily="34" charset="0"/>
                </a:rPr>
                <a:t>Lorem Ipsum</a:t>
              </a:r>
            </a:p>
          </p:txBody>
        </p:sp>
      </p:grpSp>
      <p:sp>
        <p:nvSpPr>
          <p:cNvPr id="58" name="Freeform 4">
            <a:extLst>
              <a:ext uri="{FF2B5EF4-FFF2-40B4-BE49-F238E27FC236}">
                <a16:creationId xmlns:a16="http://schemas.microsoft.com/office/drawing/2014/main" id="{A6116D72-7373-4BD0-8881-74B96B96CDC9}"/>
              </a:ext>
            </a:extLst>
          </p:cNvPr>
          <p:cNvSpPr/>
          <p:nvPr/>
        </p:nvSpPr>
        <p:spPr>
          <a:xfrm flipV="1">
            <a:off x="4159542" y="3984309"/>
            <a:ext cx="3943807" cy="2209382"/>
          </a:xfrm>
          <a:custGeom>
            <a:avLst/>
            <a:gdLst>
              <a:gd name="connsiteX0" fmla="*/ 2434139 w 3690690"/>
              <a:gd name="connsiteY0" fmla="*/ 0 h 2067582"/>
              <a:gd name="connsiteX1" fmla="*/ 3340194 w 3690690"/>
              <a:gd name="connsiteY1" fmla="*/ 0 h 2067582"/>
              <a:gd name="connsiteX2" fmla="*/ 3690690 w 3690690"/>
              <a:gd name="connsiteY2" fmla="*/ 350496 h 2067582"/>
              <a:gd name="connsiteX3" fmla="*/ 3588032 w 3690690"/>
              <a:gd name="connsiteY3" fmla="*/ 598334 h 2067582"/>
              <a:gd name="connsiteX4" fmla="*/ 3536669 w 3690690"/>
              <a:gd name="connsiteY4" fmla="*/ 640713 h 2067582"/>
              <a:gd name="connsiteX5" fmla="*/ 3537460 w 3690690"/>
              <a:gd name="connsiteY5" fmla="*/ 641917 h 2067582"/>
              <a:gd name="connsiteX6" fmla="*/ 1471608 w 3690690"/>
              <a:gd name="connsiteY6" fmla="*/ 1997840 h 2067582"/>
              <a:gd name="connsiteX7" fmla="*/ 1469109 w 3690690"/>
              <a:gd name="connsiteY7" fmla="*/ 1994033 h 2067582"/>
              <a:gd name="connsiteX8" fmla="*/ 1452517 w 3690690"/>
              <a:gd name="connsiteY8" fmla="*/ 2007723 h 2067582"/>
              <a:gd name="connsiteX9" fmla="*/ 1256551 w 3690690"/>
              <a:gd name="connsiteY9" fmla="*/ 2067582 h 2067582"/>
              <a:gd name="connsiteX10" fmla="*/ 350496 w 3690690"/>
              <a:gd name="connsiteY10" fmla="*/ 2067582 h 2067582"/>
              <a:gd name="connsiteX11" fmla="*/ 0 w 3690690"/>
              <a:gd name="connsiteY11" fmla="*/ 1717086 h 2067582"/>
              <a:gd name="connsiteX12" fmla="*/ 154530 w 3690690"/>
              <a:gd name="connsiteY12" fmla="*/ 1426449 h 2067582"/>
              <a:gd name="connsiteX13" fmla="*/ 178536 w 3690690"/>
              <a:gd name="connsiteY13" fmla="*/ 1413419 h 2067582"/>
              <a:gd name="connsiteX14" fmla="*/ 2217145 w 3690690"/>
              <a:gd name="connsiteY14" fmla="*/ 75377 h 2067582"/>
              <a:gd name="connsiteX15" fmla="*/ 2217925 w 3690690"/>
              <a:gd name="connsiteY15" fmla="*/ 76566 h 2067582"/>
              <a:gd name="connsiteX16" fmla="*/ 2238173 w 3690690"/>
              <a:gd name="connsiteY16" fmla="*/ 59859 h 2067582"/>
              <a:gd name="connsiteX17" fmla="*/ 2434139 w 3690690"/>
              <a:gd name="connsiteY17" fmla="*/ 0 h 2067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690690" h="2067582">
                <a:moveTo>
                  <a:pt x="2434139" y="0"/>
                </a:moveTo>
                <a:lnTo>
                  <a:pt x="3340194" y="0"/>
                </a:lnTo>
                <a:cubicBezTo>
                  <a:pt x="3533768" y="0"/>
                  <a:pt x="3690690" y="156922"/>
                  <a:pt x="3690690" y="350496"/>
                </a:cubicBezTo>
                <a:cubicBezTo>
                  <a:pt x="3690690" y="447283"/>
                  <a:pt x="3651459" y="534907"/>
                  <a:pt x="3588032" y="598334"/>
                </a:cubicBezTo>
                <a:lnTo>
                  <a:pt x="3536669" y="640713"/>
                </a:lnTo>
                <a:lnTo>
                  <a:pt x="3537460" y="641917"/>
                </a:lnTo>
                <a:lnTo>
                  <a:pt x="1471608" y="1997840"/>
                </a:lnTo>
                <a:lnTo>
                  <a:pt x="1469109" y="1994033"/>
                </a:lnTo>
                <a:lnTo>
                  <a:pt x="1452517" y="2007723"/>
                </a:lnTo>
                <a:cubicBezTo>
                  <a:pt x="1396577" y="2045515"/>
                  <a:pt x="1329141" y="2067582"/>
                  <a:pt x="1256551" y="2067582"/>
                </a:cubicBezTo>
                <a:lnTo>
                  <a:pt x="350496" y="2067582"/>
                </a:lnTo>
                <a:cubicBezTo>
                  <a:pt x="156922" y="2067582"/>
                  <a:pt x="0" y="1910660"/>
                  <a:pt x="0" y="1717086"/>
                </a:cubicBezTo>
                <a:cubicBezTo>
                  <a:pt x="0" y="1596102"/>
                  <a:pt x="61297" y="1489436"/>
                  <a:pt x="154530" y="1426449"/>
                </a:cubicBezTo>
                <a:lnTo>
                  <a:pt x="178536" y="1413419"/>
                </a:lnTo>
                <a:lnTo>
                  <a:pt x="2217145" y="75377"/>
                </a:lnTo>
                <a:lnTo>
                  <a:pt x="2217925" y="76566"/>
                </a:lnTo>
                <a:lnTo>
                  <a:pt x="2238173" y="59859"/>
                </a:lnTo>
                <a:cubicBezTo>
                  <a:pt x="2294113" y="22067"/>
                  <a:pt x="2361549" y="0"/>
                  <a:pt x="2434139" y="0"/>
                </a:cubicBezTo>
                <a:close/>
              </a:path>
            </a:pathLst>
          </a:custGeom>
          <a:solidFill>
            <a:schemeClr val="accent1"/>
          </a:solidFill>
          <a:ln w="6350" cap="flat" cmpd="sng" algn="ctr">
            <a:solidFill>
              <a:sysClr val="window" lastClr="FFFFFF"/>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grpSp>
        <p:nvGrpSpPr>
          <p:cNvPr id="59" name="Group 162">
            <a:extLst>
              <a:ext uri="{FF2B5EF4-FFF2-40B4-BE49-F238E27FC236}">
                <a16:creationId xmlns:a16="http://schemas.microsoft.com/office/drawing/2014/main" id="{A1882ED3-EDD2-4B6E-A7A7-A6377B4F9566}"/>
              </a:ext>
            </a:extLst>
          </p:cNvPr>
          <p:cNvGrpSpPr/>
          <p:nvPr/>
        </p:nvGrpSpPr>
        <p:grpSpPr>
          <a:xfrm flipV="1">
            <a:off x="4356235" y="4139822"/>
            <a:ext cx="3550421" cy="1898356"/>
            <a:chOff x="5392971" y="796264"/>
            <a:chExt cx="3550421" cy="1898356"/>
          </a:xfrm>
        </p:grpSpPr>
        <p:grpSp>
          <p:nvGrpSpPr>
            <p:cNvPr id="60" name="Group 163">
              <a:extLst>
                <a:ext uri="{FF2B5EF4-FFF2-40B4-BE49-F238E27FC236}">
                  <a16:creationId xmlns:a16="http://schemas.microsoft.com/office/drawing/2014/main" id="{04190987-C5E8-4931-A031-674295AED35B}"/>
                </a:ext>
              </a:extLst>
            </p:cNvPr>
            <p:cNvGrpSpPr/>
            <p:nvPr/>
          </p:nvGrpSpPr>
          <p:grpSpPr>
            <a:xfrm>
              <a:off x="6875835" y="1321833"/>
              <a:ext cx="1326126" cy="321647"/>
              <a:chOff x="7439080" y="1052372"/>
              <a:chExt cx="1326126" cy="321647"/>
            </a:xfrm>
          </p:grpSpPr>
          <p:sp>
            <p:nvSpPr>
              <p:cNvPr id="70" name="Rounded Rectangle 23">
                <a:extLst>
                  <a:ext uri="{FF2B5EF4-FFF2-40B4-BE49-F238E27FC236}">
                    <a16:creationId xmlns:a16="http://schemas.microsoft.com/office/drawing/2014/main" id="{281053F5-16EA-4388-A6A0-3D9698244EB3}"/>
                  </a:ext>
                </a:extLst>
              </p:cNvPr>
              <p:cNvSpPr/>
              <p:nvPr/>
            </p:nvSpPr>
            <p:spPr>
              <a:xfrm>
                <a:off x="7439080" y="1052372"/>
                <a:ext cx="1326126" cy="321647"/>
              </a:xfrm>
              <a:prstGeom prst="roundRect">
                <a:avLst>
                  <a:gd name="adj" fmla="val 50000"/>
                </a:avLst>
              </a:prstGeom>
              <a:gradFill flip="none" rotWithShape="1">
                <a:gsLst>
                  <a:gs pos="100000">
                    <a:schemeClr val="accent1"/>
                  </a:gs>
                  <a:gs pos="0">
                    <a:schemeClr val="accent1"/>
                  </a:gs>
                </a:gsLst>
                <a:lin ang="2700000" scaled="1"/>
                <a:tileRect/>
              </a:gradFill>
              <a:ln w="12700" cap="flat" cmpd="sng" algn="ctr">
                <a:noFill/>
                <a:prstDash val="solid"/>
                <a:miter lim="800000"/>
              </a:ln>
              <a:effectLst>
                <a:outerShdw blurRad="215900" sx="104000" sy="104000" algn="ctr" rotWithShape="0">
                  <a:prstClr val="black">
                    <a:alpha val="19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cs typeface="+mn-cs"/>
                </a:endParaRPr>
              </a:p>
            </p:txBody>
          </p:sp>
          <p:sp>
            <p:nvSpPr>
              <p:cNvPr id="71" name="TextBox 174">
                <a:extLst>
                  <a:ext uri="{FF2B5EF4-FFF2-40B4-BE49-F238E27FC236}">
                    <a16:creationId xmlns:a16="http://schemas.microsoft.com/office/drawing/2014/main" id="{3B600421-C111-45DE-AF36-E0A743E5CB9E}"/>
                  </a:ext>
                </a:extLst>
              </p:cNvPr>
              <p:cNvSpPr txBox="1"/>
              <p:nvPr/>
            </p:nvSpPr>
            <p:spPr>
              <a:xfrm flipV="1">
                <a:off x="7577466" y="1105473"/>
                <a:ext cx="1049355" cy="215444"/>
              </a:xfrm>
              <a:prstGeom prst="rect">
                <a:avLst/>
              </a:prstGeom>
            </p:spPr>
            <p:txBody>
              <a:bodyPr wrap="square" lIns="0" tIns="0" rIns="0" bIns="0">
                <a:spAutoFit/>
              </a:bodyPr>
              <a:lstStyle>
                <a:defPPr>
                  <a:defRPr lang="en-US"/>
                </a:defPPr>
                <a:lvl1pPr>
                  <a:defRPr sz="1400" kern="0">
                    <a:solidFill>
                      <a:schemeClr val="bg1"/>
                    </a:solidFill>
                    <a:latin typeface="Gill Sans MT" panose="020B0502020104020203" pitchFamily="34" charset="0"/>
                    <a:cs typeface="Segoe UI" panose="020B05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FFFFF"/>
                    </a:solidFill>
                    <a:effectLst/>
                    <a:uLnTx/>
                    <a:uFillTx/>
                    <a:latin typeface="Gill Sans MT" panose="020B0502020104020203" pitchFamily="34" charset="0"/>
                    <a:cs typeface="Segoe UI" panose="020B0502040204020203" pitchFamily="34" charset="0"/>
                  </a:rPr>
                  <a:t>Lorem Ipsum</a:t>
                </a:r>
              </a:p>
            </p:txBody>
          </p:sp>
        </p:grpSp>
        <p:grpSp>
          <p:nvGrpSpPr>
            <p:cNvPr id="61" name="Group 164">
              <a:extLst>
                <a:ext uri="{FF2B5EF4-FFF2-40B4-BE49-F238E27FC236}">
                  <a16:creationId xmlns:a16="http://schemas.microsoft.com/office/drawing/2014/main" id="{E891DC6C-E3F2-414F-AF25-683562326AEA}"/>
                </a:ext>
              </a:extLst>
            </p:cNvPr>
            <p:cNvGrpSpPr/>
            <p:nvPr/>
          </p:nvGrpSpPr>
          <p:grpSpPr>
            <a:xfrm>
              <a:off x="6134403" y="1847402"/>
              <a:ext cx="1326126" cy="321647"/>
              <a:chOff x="6374989" y="1748429"/>
              <a:chExt cx="1326126" cy="321647"/>
            </a:xfrm>
          </p:grpSpPr>
          <p:sp>
            <p:nvSpPr>
              <p:cNvPr id="68" name="Rounded Rectangle 20">
                <a:extLst>
                  <a:ext uri="{FF2B5EF4-FFF2-40B4-BE49-F238E27FC236}">
                    <a16:creationId xmlns:a16="http://schemas.microsoft.com/office/drawing/2014/main" id="{7A1F06B5-20F4-4F8C-A56B-759A3795E383}"/>
                  </a:ext>
                </a:extLst>
              </p:cNvPr>
              <p:cNvSpPr/>
              <p:nvPr/>
            </p:nvSpPr>
            <p:spPr>
              <a:xfrm>
                <a:off x="6374989" y="1748429"/>
                <a:ext cx="1326126" cy="321647"/>
              </a:xfrm>
              <a:prstGeom prst="roundRect">
                <a:avLst>
                  <a:gd name="adj" fmla="val 50000"/>
                </a:avLst>
              </a:prstGeom>
              <a:gradFill flip="none" rotWithShape="1">
                <a:gsLst>
                  <a:gs pos="100000">
                    <a:schemeClr val="accent1"/>
                  </a:gs>
                  <a:gs pos="0">
                    <a:schemeClr val="accent1"/>
                  </a:gs>
                </a:gsLst>
                <a:lin ang="2700000" scaled="1"/>
                <a:tileRect/>
              </a:gradFill>
              <a:ln w="12700" cap="flat" cmpd="sng" algn="ctr">
                <a:noFill/>
                <a:prstDash val="solid"/>
                <a:miter lim="800000"/>
              </a:ln>
              <a:effectLst>
                <a:outerShdw blurRad="215900" sx="104000" sy="104000" algn="ctr" rotWithShape="0">
                  <a:prstClr val="black">
                    <a:alpha val="19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cs typeface="+mn-cs"/>
                </a:endParaRPr>
              </a:p>
            </p:txBody>
          </p:sp>
          <p:sp>
            <p:nvSpPr>
              <p:cNvPr id="69" name="TextBox 172">
                <a:extLst>
                  <a:ext uri="{FF2B5EF4-FFF2-40B4-BE49-F238E27FC236}">
                    <a16:creationId xmlns:a16="http://schemas.microsoft.com/office/drawing/2014/main" id="{09E1450A-3C3B-4019-9B2C-18B90E199A55}"/>
                  </a:ext>
                </a:extLst>
              </p:cNvPr>
              <p:cNvSpPr txBox="1"/>
              <p:nvPr/>
            </p:nvSpPr>
            <p:spPr>
              <a:xfrm flipV="1">
                <a:off x="6513375" y="1801530"/>
                <a:ext cx="1049355" cy="215444"/>
              </a:xfrm>
              <a:prstGeom prst="rect">
                <a:avLst/>
              </a:prstGeom>
            </p:spPr>
            <p:txBody>
              <a:bodyPr wrap="square" lIns="0" tIns="0" rIns="0" bIns="0">
                <a:spAutoFit/>
              </a:bodyPr>
              <a:lstStyle>
                <a:defPPr>
                  <a:defRPr lang="en-US"/>
                </a:defPPr>
                <a:lvl1pPr>
                  <a:defRPr sz="1400" kern="0">
                    <a:solidFill>
                      <a:schemeClr val="bg1"/>
                    </a:solidFill>
                    <a:latin typeface="Gill Sans MT" panose="020B0502020104020203" pitchFamily="34" charset="0"/>
                    <a:cs typeface="Segoe UI" panose="020B05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FFFFF"/>
                    </a:solidFill>
                    <a:effectLst/>
                    <a:uLnTx/>
                    <a:uFillTx/>
                    <a:latin typeface="Gill Sans MT" panose="020B0502020104020203" pitchFamily="34" charset="0"/>
                    <a:cs typeface="Segoe UI" panose="020B0502040204020203" pitchFamily="34" charset="0"/>
                  </a:rPr>
                  <a:t>Lorem Ipsum</a:t>
                </a:r>
              </a:p>
            </p:txBody>
          </p:sp>
        </p:grpSp>
        <p:grpSp>
          <p:nvGrpSpPr>
            <p:cNvPr id="62" name="Group 165">
              <a:extLst>
                <a:ext uri="{FF2B5EF4-FFF2-40B4-BE49-F238E27FC236}">
                  <a16:creationId xmlns:a16="http://schemas.microsoft.com/office/drawing/2014/main" id="{4A7D16B0-90A6-40ED-8411-B8C3EB8ABDEA}"/>
                </a:ext>
              </a:extLst>
            </p:cNvPr>
            <p:cNvGrpSpPr/>
            <p:nvPr/>
          </p:nvGrpSpPr>
          <p:grpSpPr>
            <a:xfrm>
              <a:off x="5392971" y="2372972"/>
              <a:ext cx="1326126" cy="321648"/>
              <a:chOff x="5364516" y="2429678"/>
              <a:chExt cx="1326126" cy="321648"/>
            </a:xfrm>
          </p:grpSpPr>
          <p:sp>
            <p:nvSpPr>
              <p:cNvPr id="66" name="Rounded Rectangle 17">
                <a:extLst>
                  <a:ext uri="{FF2B5EF4-FFF2-40B4-BE49-F238E27FC236}">
                    <a16:creationId xmlns:a16="http://schemas.microsoft.com/office/drawing/2014/main" id="{6935DF1A-2D92-4C4A-9986-012024907DD1}"/>
                  </a:ext>
                </a:extLst>
              </p:cNvPr>
              <p:cNvSpPr/>
              <p:nvPr/>
            </p:nvSpPr>
            <p:spPr>
              <a:xfrm>
                <a:off x="5364516" y="2429678"/>
                <a:ext cx="1326126" cy="321648"/>
              </a:xfrm>
              <a:prstGeom prst="roundRect">
                <a:avLst>
                  <a:gd name="adj" fmla="val 50000"/>
                </a:avLst>
              </a:prstGeom>
              <a:gradFill flip="none" rotWithShape="1">
                <a:gsLst>
                  <a:gs pos="100000">
                    <a:schemeClr val="accent1"/>
                  </a:gs>
                  <a:gs pos="0">
                    <a:schemeClr val="accent1"/>
                  </a:gs>
                </a:gsLst>
                <a:lin ang="2700000" scaled="1"/>
                <a:tileRect/>
              </a:gradFill>
              <a:ln w="12700" cap="flat" cmpd="sng" algn="ctr">
                <a:noFill/>
                <a:prstDash val="solid"/>
                <a:miter lim="800000"/>
              </a:ln>
              <a:effectLst>
                <a:outerShdw blurRad="215900" sx="104000" sy="104000" algn="ctr" rotWithShape="0">
                  <a:prstClr val="black">
                    <a:alpha val="19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cs typeface="+mn-cs"/>
                </a:endParaRPr>
              </a:p>
            </p:txBody>
          </p:sp>
          <p:sp>
            <p:nvSpPr>
              <p:cNvPr id="67" name="TextBox 170">
                <a:extLst>
                  <a:ext uri="{FF2B5EF4-FFF2-40B4-BE49-F238E27FC236}">
                    <a16:creationId xmlns:a16="http://schemas.microsoft.com/office/drawing/2014/main" id="{A58C458B-60C0-45C1-80ED-DCF6952206F3}"/>
                  </a:ext>
                </a:extLst>
              </p:cNvPr>
              <p:cNvSpPr txBox="1"/>
              <p:nvPr/>
            </p:nvSpPr>
            <p:spPr>
              <a:xfrm flipV="1">
                <a:off x="5502902" y="2482780"/>
                <a:ext cx="1049355" cy="215444"/>
              </a:xfrm>
              <a:prstGeom prst="rect">
                <a:avLst/>
              </a:prstGeom>
            </p:spPr>
            <p:txBody>
              <a:bodyPr wrap="square" lIns="0" tIns="0" rIns="0" bIns="0">
                <a:spAutoFit/>
              </a:bodyPr>
              <a:lstStyle>
                <a:defPPr>
                  <a:defRPr lang="en-US"/>
                </a:defPPr>
                <a:lvl1pPr>
                  <a:defRPr sz="1400" kern="0">
                    <a:solidFill>
                      <a:schemeClr val="bg1"/>
                    </a:solidFill>
                    <a:latin typeface="Gill Sans MT" panose="020B0502020104020203" pitchFamily="34" charset="0"/>
                    <a:cs typeface="Segoe UI" panose="020B05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FFFFF"/>
                    </a:solidFill>
                    <a:effectLst/>
                    <a:uLnTx/>
                    <a:uFillTx/>
                    <a:latin typeface="Gill Sans MT" panose="020B0502020104020203" pitchFamily="34" charset="0"/>
                    <a:cs typeface="Segoe UI" panose="020B0502040204020203" pitchFamily="34" charset="0"/>
                  </a:rPr>
                  <a:t>Lorem Ipsum</a:t>
                </a:r>
              </a:p>
            </p:txBody>
          </p:sp>
        </p:grpSp>
        <p:grpSp>
          <p:nvGrpSpPr>
            <p:cNvPr id="63" name="Group 166">
              <a:extLst>
                <a:ext uri="{FF2B5EF4-FFF2-40B4-BE49-F238E27FC236}">
                  <a16:creationId xmlns:a16="http://schemas.microsoft.com/office/drawing/2014/main" id="{5660B18D-1C1D-4985-8EE2-B487E96C5536}"/>
                </a:ext>
              </a:extLst>
            </p:cNvPr>
            <p:cNvGrpSpPr/>
            <p:nvPr/>
          </p:nvGrpSpPr>
          <p:grpSpPr>
            <a:xfrm>
              <a:off x="7617266" y="796264"/>
              <a:ext cx="1326126" cy="321647"/>
              <a:chOff x="7439080" y="1052372"/>
              <a:chExt cx="1326126" cy="321647"/>
            </a:xfrm>
          </p:grpSpPr>
          <p:sp>
            <p:nvSpPr>
              <p:cNvPr id="64" name="Rounded Rectangle 23">
                <a:extLst>
                  <a:ext uri="{FF2B5EF4-FFF2-40B4-BE49-F238E27FC236}">
                    <a16:creationId xmlns:a16="http://schemas.microsoft.com/office/drawing/2014/main" id="{4D3A4F38-D850-439D-932C-9FE485CAC294}"/>
                  </a:ext>
                </a:extLst>
              </p:cNvPr>
              <p:cNvSpPr/>
              <p:nvPr/>
            </p:nvSpPr>
            <p:spPr>
              <a:xfrm>
                <a:off x="7439080" y="1052372"/>
                <a:ext cx="1326126" cy="321647"/>
              </a:xfrm>
              <a:prstGeom prst="roundRect">
                <a:avLst>
                  <a:gd name="adj" fmla="val 50000"/>
                </a:avLst>
              </a:prstGeom>
              <a:gradFill flip="none" rotWithShape="1">
                <a:gsLst>
                  <a:gs pos="100000">
                    <a:schemeClr val="accent1"/>
                  </a:gs>
                  <a:gs pos="0">
                    <a:schemeClr val="accent1"/>
                  </a:gs>
                </a:gsLst>
                <a:lin ang="2700000" scaled="1"/>
                <a:tileRect/>
              </a:gradFill>
              <a:ln w="12700" cap="flat" cmpd="sng" algn="ctr">
                <a:noFill/>
                <a:prstDash val="solid"/>
                <a:miter lim="800000"/>
              </a:ln>
              <a:effectLst>
                <a:outerShdw blurRad="215900" sx="104000" sy="104000" algn="ctr" rotWithShape="0">
                  <a:prstClr val="black">
                    <a:alpha val="19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cs typeface="+mn-cs"/>
                </a:endParaRPr>
              </a:p>
            </p:txBody>
          </p:sp>
          <p:sp>
            <p:nvSpPr>
              <p:cNvPr id="65" name="TextBox 168">
                <a:extLst>
                  <a:ext uri="{FF2B5EF4-FFF2-40B4-BE49-F238E27FC236}">
                    <a16:creationId xmlns:a16="http://schemas.microsoft.com/office/drawing/2014/main" id="{44652241-96D8-40FD-A9C1-CC9BA8B1E17D}"/>
                  </a:ext>
                </a:extLst>
              </p:cNvPr>
              <p:cNvSpPr txBox="1"/>
              <p:nvPr/>
            </p:nvSpPr>
            <p:spPr>
              <a:xfrm flipV="1">
                <a:off x="7577466" y="1105473"/>
                <a:ext cx="1049355" cy="215444"/>
              </a:xfrm>
              <a:prstGeom prst="rect">
                <a:avLst/>
              </a:prstGeom>
            </p:spPr>
            <p:txBody>
              <a:bodyPr wrap="square" lIns="0" tIns="0" rIns="0" bIns="0">
                <a:spAutoFit/>
              </a:bodyPr>
              <a:lstStyle>
                <a:defPPr>
                  <a:defRPr lang="en-US"/>
                </a:defPPr>
                <a:lvl1pPr>
                  <a:defRPr sz="1400" kern="0">
                    <a:solidFill>
                      <a:schemeClr val="bg1"/>
                    </a:solidFill>
                    <a:latin typeface="Gill Sans MT" panose="020B0502020104020203" pitchFamily="34" charset="0"/>
                    <a:cs typeface="Segoe UI" panose="020B05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FFFFF"/>
                    </a:solidFill>
                    <a:effectLst/>
                    <a:uLnTx/>
                    <a:uFillTx/>
                    <a:latin typeface="Gill Sans MT" panose="020B0502020104020203" pitchFamily="34" charset="0"/>
                    <a:cs typeface="Segoe UI" panose="020B0502040204020203" pitchFamily="34" charset="0"/>
                  </a:rPr>
                  <a:t>Lorem Ipsum</a:t>
                </a:r>
              </a:p>
            </p:txBody>
          </p:sp>
        </p:grpSp>
      </p:grpSp>
      <p:sp>
        <p:nvSpPr>
          <p:cNvPr id="72" name="Freeform 4">
            <a:extLst>
              <a:ext uri="{FF2B5EF4-FFF2-40B4-BE49-F238E27FC236}">
                <a16:creationId xmlns:a16="http://schemas.microsoft.com/office/drawing/2014/main" id="{0AE30372-DA85-41C9-B35D-12A5548F201A}"/>
              </a:ext>
            </a:extLst>
          </p:cNvPr>
          <p:cNvSpPr/>
          <p:nvPr/>
        </p:nvSpPr>
        <p:spPr>
          <a:xfrm flipV="1">
            <a:off x="7139627" y="3984309"/>
            <a:ext cx="2822424" cy="1581166"/>
          </a:xfrm>
          <a:custGeom>
            <a:avLst/>
            <a:gdLst>
              <a:gd name="connsiteX0" fmla="*/ 2434139 w 3690690"/>
              <a:gd name="connsiteY0" fmla="*/ 0 h 2067582"/>
              <a:gd name="connsiteX1" fmla="*/ 3340194 w 3690690"/>
              <a:gd name="connsiteY1" fmla="*/ 0 h 2067582"/>
              <a:gd name="connsiteX2" fmla="*/ 3690690 w 3690690"/>
              <a:gd name="connsiteY2" fmla="*/ 350496 h 2067582"/>
              <a:gd name="connsiteX3" fmla="*/ 3588032 w 3690690"/>
              <a:gd name="connsiteY3" fmla="*/ 598334 h 2067582"/>
              <a:gd name="connsiteX4" fmla="*/ 3536669 w 3690690"/>
              <a:gd name="connsiteY4" fmla="*/ 640713 h 2067582"/>
              <a:gd name="connsiteX5" fmla="*/ 3537460 w 3690690"/>
              <a:gd name="connsiteY5" fmla="*/ 641917 h 2067582"/>
              <a:gd name="connsiteX6" fmla="*/ 1471608 w 3690690"/>
              <a:gd name="connsiteY6" fmla="*/ 1997840 h 2067582"/>
              <a:gd name="connsiteX7" fmla="*/ 1469109 w 3690690"/>
              <a:gd name="connsiteY7" fmla="*/ 1994033 h 2067582"/>
              <a:gd name="connsiteX8" fmla="*/ 1452517 w 3690690"/>
              <a:gd name="connsiteY8" fmla="*/ 2007723 h 2067582"/>
              <a:gd name="connsiteX9" fmla="*/ 1256551 w 3690690"/>
              <a:gd name="connsiteY9" fmla="*/ 2067582 h 2067582"/>
              <a:gd name="connsiteX10" fmla="*/ 350496 w 3690690"/>
              <a:gd name="connsiteY10" fmla="*/ 2067582 h 2067582"/>
              <a:gd name="connsiteX11" fmla="*/ 0 w 3690690"/>
              <a:gd name="connsiteY11" fmla="*/ 1717086 h 2067582"/>
              <a:gd name="connsiteX12" fmla="*/ 154530 w 3690690"/>
              <a:gd name="connsiteY12" fmla="*/ 1426449 h 2067582"/>
              <a:gd name="connsiteX13" fmla="*/ 178536 w 3690690"/>
              <a:gd name="connsiteY13" fmla="*/ 1413419 h 2067582"/>
              <a:gd name="connsiteX14" fmla="*/ 2217145 w 3690690"/>
              <a:gd name="connsiteY14" fmla="*/ 75377 h 2067582"/>
              <a:gd name="connsiteX15" fmla="*/ 2217925 w 3690690"/>
              <a:gd name="connsiteY15" fmla="*/ 76566 h 2067582"/>
              <a:gd name="connsiteX16" fmla="*/ 2238173 w 3690690"/>
              <a:gd name="connsiteY16" fmla="*/ 59859 h 2067582"/>
              <a:gd name="connsiteX17" fmla="*/ 2434139 w 3690690"/>
              <a:gd name="connsiteY17" fmla="*/ 0 h 2067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690690" h="2067582">
                <a:moveTo>
                  <a:pt x="2434139" y="0"/>
                </a:moveTo>
                <a:lnTo>
                  <a:pt x="3340194" y="0"/>
                </a:lnTo>
                <a:cubicBezTo>
                  <a:pt x="3533768" y="0"/>
                  <a:pt x="3690690" y="156922"/>
                  <a:pt x="3690690" y="350496"/>
                </a:cubicBezTo>
                <a:cubicBezTo>
                  <a:pt x="3690690" y="447283"/>
                  <a:pt x="3651459" y="534907"/>
                  <a:pt x="3588032" y="598334"/>
                </a:cubicBezTo>
                <a:lnTo>
                  <a:pt x="3536669" y="640713"/>
                </a:lnTo>
                <a:lnTo>
                  <a:pt x="3537460" y="641917"/>
                </a:lnTo>
                <a:lnTo>
                  <a:pt x="1471608" y="1997840"/>
                </a:lnTo>
                <a:lnTo>
                  <a:pt x="1469109" y="1994033"/>
                </a:lnTo>
                <a:lnTo>
                  <a:pt x="1452517" y="2007723"/>
                </a:lnTo>
                <a:cubicBezTo>
                  <a:pt x="1396577" y="2045515"/>
                  <a:pt x="1329141" y="2067582"/>
                  <a:pt x="1256551" y="2067582"/>
                </a:cubicBezTo>
                <a:lnTo>
                  <a:pt x="350496" y="2067582"/>
                </a:lnTo>
                <a:cubicBezTo>
                  <a:pt x="156922" y="2067582"/>
                  <a:pt x="0" y="1910660"/>
                  <a:pt x="0" y="1717086"/>
                </a:cubicBezTo>
                <a:cubicBezTo>
                  <a:pt x="0" y="1596102"/>
                  <a:pt x="61297" y="1489436"/>
                  <a:pt x="154530" y="1426449"/>
                </a:cubicBezTo>
                <a:lnTo>
                  <a:pt x="178536" y="1413419"/>
                </a:lnTo>
                <a:lnTo>
                  <a:pt x="2217145" y="75377"/>
                </a:lnTo>
                <a:lnTo>
                  <a:pt x="2217925" y="76566"/>
                </a:lnTo>
                <a:lnTo>
                  <a:pt x="2238173" y="59859"/>
                </a:lnTo>
                <a:cubicBezTo>
                  <a:pt x="2294113" y="22067"/>
                  <a:pt x="2361549" y="0"/>
                  <a:pt x="2434139" y="0"/>
                </a:cubicBezTo>
                <a:close/>
              </a:path>
            </a:pathLst>
          </a:custGeom>
          <a:solidFill>
            <a:schemeClr val="accent1"/>
          </a:solidFill>
          <a:ln w="6350" cap="flat" cmpd="sng" algn="ctr">
            <a:solidFill>
              <a:sysClr val="window" lastClr="FFFFFF"/>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grpSp>
        <p:nvGrpSpPr>
          <p:cNvPr id="73" name="Group 177">
            <a:extLst>
              <a:ext uri="{FF2B5EF4-FFF2-40B4-BE49-F238E27FC236}">
                <a16:creationId xmlns:a16="http://schemas.microsoft.com/office/drawing/2014/main" id="{2844FC9F-7F0C-4749-83A2-D8943216EBB0}"/>
              </a:ext>
            </a:extLst>
          </p:cNvPr>
          <p:cNvGrpSpPr/>
          <p:nvPr/>
        </p:nvGrpSpPr>
        <p:grpSpPr>
          <a:xfrm flipV="1">
            <a:off x="8650397" y="5095687"/>
            <a:ext cx="1238956" cy="321647"/>
            <a:chOff x="7439080" y="1052372"/>
            <a:chExt cx="1326126" cy="321647"/>
          </a:xfrm>
        </p:grpSpPr>
        <p:sp>
          <p:nvSpPr>
            <p:cNvPr id="74" name="Rounded Rectangle 23">
              <a:extLst>
                <a:ext uri="{FF2B5EF4-FFF2-40B4-BE49-F238E27FC236}">
                  <a16:creationId xmlns:a16="http://schemas.microsoft.com/office/drawing/2014/main" id="{47E66A12-C202-44D5-BC68-8DD24B32B259}"/>
                </a:ext>
              </a:extLst>
            </p:cNvPr>
            <p:cNvSpPr/>
            <p:nvPr/>
          </p:nvSpPr>
          <p:spPr>
            <a:xfrm>
              <a:off x="7439080" y="1052372"/>
              <a:ext cx="1326126" cy="321647"/>
            </a:xfrm>
            <a:prstGeom prst="roundRect">
              <a:avLst>
                <a:gd name="adj" fmla="val 50000"/>
              </a:avLst>
            </a:prstGeom>
            <a:gradFill flip="none" rotWithShape="1">
              <a:gsLst>
                <a:gs pos="100000">
                  <a:schemeClr val="accent1"/>
                </a:gs>
                <a:gs pos="33000">
                  <a:schemeClr val="accent1"/>
                </a:gs>
              </a:gsLst>
              <a:lin ang="1800000" scaled="0"/>
              <a:tileRect/>
            </a:gradFill>
            <a:ln w="12700" cap="flat" cmpd="sng" algn="ctr">
              <a:noFill/>
              <a:prstDash val="solid"/>
              <a:miter lim="800000"/>
            </a:ln>
            <a:effectLst>
              <a:outerShdw blurRad="215900" sx="104000" sy="104000" algn="ctr" rotWithShape="0">
                <a:prstClr val="black">
                  <a:alpha val="19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cs typeface="+mn-cs"/>
              </a:endParaRPr>
            </a:p>
          </p:txBody>
        </p:sp>
        <p:sp>
          <p:nvSpPr>
            <p:cNvPr id="75" name="TextBox 186">
              <a:extLst>
                <a:ext uri="{FF2B5EF4-FFF2-40B4-BE49-F238E27FC236}">
                  <a16:creationId xmlns:a16="http://schemas.microsoft.com/office/drawing/2014/main" id="{9E5152C0-F101-42A9-9BF6-7A8D2F4467F8}"/>
                </a:ext>
              </a:extLst>
            </p:cNvPr>
            <p:cNvSpPr txBox="1"/>
            <p:nvPr/>
          </p:nvSpPr>
          <p:spPr>
            <a:xfrm flipV="1">
              <a:off x="7577465" y="1105473"/>
              <a:ext cx="1049355" cy="215444"/>
            </a:xfrm>
            <a:prstGeom prst="rect">
              <a:avLst/>
            </a:prstGeom>
          </p:spPr>
          <p:txBody>
            <a:bodyPr wrap="square" lIns="0" tIns="0" rIns="0" bIns="0">
              <a:spAutoFit/>
            </a:bodyPr>
            <a:lstStyle>
              <a:defPPr>
                <a:defRPr lang="en-US"/>
              </a:defPPr>
              <a:lvl1pPr>
                <a:defRPr sz="1400" kern="0">
                  <a:solidFill>
                    <a:schemeClr val="bg1"/>
                  </a:solidFill>
                  <a:latin typeface="Gill Sans MT" panose="020B0502020104020203" pitchFamily="34" charset="0"/>
                  <a:cs typeface="Segoe UI" panose="020B05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FFFFF"/>
                  </a:solidFill>
                  <a:effectLst/>
                  <a:uLnTx/>
                  <a:uFillTx/>
                  <a:latin typeface="Gill Sans MT" panose="020B0502020104020203" pitchFamily="34" charset="0"/>
                  <a:cs typeface="Segoe UI" panose="020B0502040204020203" pitchFamily="34" charset="0"/>
                </a:rPr>
                <a:t>Lorem Ipsum</a:t>
              </a:r>
            </a:p>
          </p:txBody>
        </p:sp>
      </p:grpSp>
      <p:grpSp>
        <p:nvGrpSpPr>
          <p:cNvPr id="76" name="Group 178">
            <a:extLst>
              <a:ext uri="{FF2B5EF4-FFF2-40B4-BE49-F238E27FC236}">
                <a16:creationId xmlns:a16="http://schemas.microsoft.com/office/drawing/2014/main" id="{590D3A24-39FF-47C7-AEA5-692BD3EC09E2}"/>
              </a:ext>
            </a:extLst>
          </p:cNvPr>
          <p:cNvGrpSpPr/>
          <p:nvPr/>
        </p:nvGrpSpPr>
        <p:grpSpPr>
          <a:xfrm flipV="1">
            <a:off x="7933398" y="4607824"/>
            <a:ext cx="1238956" cy="321647"/>
            <a:chOff x="6374989" y="1748429"/>
            <a:chExt cx="1326126" cy="321647"/>
          </a:xfrm>
        </p:grpSpPr>
        <p:sp>
          <p:nvSpPr>
            <p:cNvPr id="77" name="Rounded Rectangle 20">
              <a:extLst>
                <a:ext uri="{FF2B5EF4-FFF2-40B4-BE49-F238E27FC236}">
                  <a16:creationId xmlns:a16="http://schemas.microsoft.com/office/drawing/2014/main" id="{1E2235D4-8535-4747-B3B6-B4FA89C6C698}"/>
                </a:ext>
              </a:extLst>
            </p:cNvPr>
            <p:cNvSpPr/>
            <p:nvPr/>
          </p:nvSpPr>
          <p:spPr>
            <a:xfrm>
              <a:off x="6374989" y="1748429"/>
              <a:ext cx="1326126" cy="321647"/>
            </a:xfrm>
            <a:prstGeom prst="roundRect">
              <a:avLst>
                <a:gd name="adj" fmla="val 50000"/>
              </a:avLst>
            </a:prstGeom>
            <a:gradFill flip="none" rotWithShape="1">
              <a:gsLst>
                <a:gs pos="100000">
                  <a:schemeClr val="accent1"/>
                </a:gs>
                <a:gs pos="33000">
                  <a:schemeClr val="accent1"/>
                </a:gs>
              </a:gsLst>
              <a:lin ang="1800000" scaled="0"/>
              <a:tileRect/>
            </a:gradFill>
            <a:ln w="12700" cap="flat" cmpd="sng" algn="ctr">
              <a:noFill/>
              <a:prstDash val="solid"/>
              <a:miter lim="800000"/>
            </a:ln>
            <a:effectLst>
              <a:outerShdw blurRad="215900" sx="104000" sy="104000" algn="ctr" rotWithShape="0">
                <a:prstClr val="black">
                  <a:alpha val="19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cs typeface="+mn-cs"/>
              </a:endParaRPr>
            </a:p>
          </p:txBody>
        </p:sp>
        <p:sp>
          <p:nvSpPr>
            <p:cNvPr id="78" name="TextBox 184">
              <a:extLst>
                <a:ext uri="{FF2B5EF4-FFF2-40B4-BE49-F238E27FC236}">
                  <a16:creationId xmlns:a16="http://schemas.microsoft.com/office/drawing/2014/main" id="{30547C9D-5C86-4410-B927-053C99FF23E1}"/>
                </a:ext>
              </a:extLst>
            </p:cNvPr>
            <p:cNvSpPr txBox="1"/>
            <p:nvPr/>
          </p:nvSpPr>
          <p:spPr>
            <a:xfrm flipV="1">
              <a:off x="6513374" y="1801530"/>
              <a:ext cx="1049355" cy="215444"/>
            </a:xfrm>
            <a:prstGeom prst="rect">
              <a:avLst/>
            </a:prstGeom>
          </p:spPr>
          <p:txBody>
            <a:bodyPr wrap="square" lIns="0" tIns="0" rIns="0" bIns="0">
              <a:spAutoFit/>
            </a:bodyPr>
            <a:lstStyle>
              <a:defPPr>
                <a:defRPr lang="en-US"/>
              </a:defPPr>
              <a:lvl1pPr>
                <a:defRPr sz="1400" kern="0">
                  <a:solidFill>
                    <a:schemeClr val="bg1"/>
                  </a:solidFill>
                  <a:latin typeface="Gill Sans MT" panose="020B0502020104020203" pitchFamily="34" charset="0"/>
                  <a:cs typeface="Segoe UI" panose="020B05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FFFFF"/>
                  </a:solidFill>
                  <a:effectLst/>
                  <a:uLnTx/>
                  <a:uFillTx/>
                  <a:latin typeface="Gill Sans MT" panose="020B0502020104020203" pitchFamily="34" charset="0"/>
                  <a:cs typeface="Segoe UI" panose="020B0502040204020203" pitchFamily="34" charset="0"/>
                </a:rPr>
                <a:t>Lorem Ipsum</a:t>
              </a:r>
            </a:p>
          </p:txBody>
        </p:sp>
      </p:grpSp>
      <p:grpSp>
        <p:nvGrpSpPr>
          <p:cNvPr id="79" name="Group 180">
            <a:extLst>
              <a:ext uri="{FF2B5EF4-FFF2-40B4-BE49-F238E27FC236}">
                <a16:creationId xmlns:a16="http://schemas.microsoft.com/office/drawing/2014/main" id="{A13B204D-DBFA-49DD-87E6-140FBD94EF8A}"/>
              </a:ext>
            </a:extLst>
          </p:cNvPr>
          <p:cNvGrpSpPr/>
          <p:nvPr/>
        </p:nvGrpSpPr>
        <p:grpSpPr>
          <a:xfrm flipV="1">
            <a:off x="7216398" y="4119959"/>
            <a:ext cx="1238956" cy="321648"/>
            <a:chOff x="5364516" y="2429678"/>
            <a:chExt cx="1326126" cy="321648"/>
          </a:xfrm>
        </p:grpSpPr>
        <p:sp>
          <p:nvSpPr>
            <p:cNvPr id="80" name="Rounded Rectangle 17">
              <a:extLst>
                <a:ext uri="{FF2B5EF4-FFF2-40B4-BE49-F238E27FC236}">
                  <a16:creationId xmlns:a16="http://schemas.microsoft.com/office/drawing/2014/main" id="{D9081A4F-CD45-45F3-B5C8-CBCF395415FD}"/>
                </a:ext>
              </a:extLst>
            </p:cNvPr>
            <p:cNvSpPr/>
            <p:nvPr/>
          </p:nvSpPr>
          <p:spPr>
            <a:xfrm>
              <a:off x="5364516" y="2429678"/>
              <a:ext cx="1326126" cy="321648"/>
            </a:xfrm>
            <a:prstGeom prst="roundRect">
              <a:avLst>
                <a:gd name="adj" fmla="val 50000"/>
              </a:avLst>
            </a:prstGeom>
            <a:gradFill flip="none" rotWithShape="1">
              <a:gsLst>
                <a:gs pos="100000">
                  <a:schemeClr val="accent1"/>
                </a:gs>
                <a:gs pos="33000">
                  <a:schemeClr val="accent1"/>
                </a:gs>
              </a:gsLst>
              <a:lin ang="1800000" scaled="0"/>
              <a:tileRect/>
            </a:gradFill>
            <a:ln w="12700" cap="flat" cmpd="sng" algn="ctr">
              <a:noFill/>
              <a:prstDash val="solid"/>
              <a:miter lim="800000"/>
            </a:ln>
            <a:effectLst>
              <a:outerShdw blurRad="215900" sx="104000" sy="104000" algn="ctr" rotWithShape="0">
                <a:prstClr val="black">
                  <a:alpha val="19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cs typeface="+mn-cs"/>
              </a:endParaRPr>
            </a:p>
          </p:txBody>
        </p:sp>
        <p:sp>
          <p:nvSpPr>
            <p:cNvPr id="81" name="TextBox 182">
              <a:extLst>
                <a:ext uri="{FF2B5EF4-FFF2-40B4-BE49-F238E27FC236}">
                  <a16:creationId xmlns:a16="http://schemas.microsoft.com/office/drawing/2014/main" id="{3BCF39CA-7ED0-450C-B624-631D79CBE5E1}"/>
                </a:ext>
              </a:extLst>
            </p:cNvPr>
            <p:cNvSpPr txBox="1"/>
            <p:nvPr/>
          </p:nvSpPr>
          <p:spPr>
            <a:xfrm flipV="1">
              <a:off x="5502901" y="2482780"/>
              <a:ext cx="1049355" cy="215444"/>
            </a:xfrm>
            <a:prstGeom prst="rect">
              <a:avLst/>
            </a:prstGeom>
          </p:spPr>
          <p:txBody>
            <a:bodyPr wrap="square" lIns="0" tIns="0" rIns="0" bIns="0">
              <a:spAutoFit/>
            </a:bodyPr>
            <a:lstStyle>
              <a:defPPr>
                <a:defRPr lang="en-US"/>
              </a:defPPr>
              <a:lvl1pPr>
                <a:defRPr sz="1400" kern="0">
                  <a:solidFill>
                    <a:schemeClr val="bg1"/>
                  </a:solidFill>
                  <a:latin typeface="Gill Sans MT" panose="020B0502020104020203" pitchFamily="34" charset="0"/>
                  <a:cs typeface="Segoe UI" panose="020B05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FFFFF"/>
                  </a:solidFill>
                  <a:effectLst/>
                  <a:uLnTx/>
                  <a:uFillTx/>
                  <a:latin typeface="Gill Sans MT" panose="020B0502020104020203" pitchFamily="34" charset="0"/>
                  <a:cs typeface="Segoe UI" panose="020B0502040204020203" pitchFamily="34" charset="0"/>
                </a:rPr>
                <a:t>Lorem Ipsum</a:t>
              </a:r>
            </a:p>
          </p:txBody>
        </p:sp>
      </p:grpSp>
    </p:spTree>
    <p:extLst>
      <p:ext uri="{BB962C8B-B14F-4D97-AF65-F5344CB8AC3E}">
        <p14:creationId xmlns:p14="http://schemas.microsoft.com/office/powerpoint/2010/main" val="1029500591"/>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7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0" name="Group 4">
            <a:extLst>
              <a:ext uri="{FF2B5EF4-FFF2-40B4-BE49-F238E27FC236}">
                <a16:creationId xmlns:a16="http://schemas.microsoft.com/office/drawing/2014/main" id="{DD82F1C1-5775-4061-9C5C-656B38B2AB5A}"/>
              </a:ext>
            </a:extLst>
          </p:cNvPr>
          <p:cNvGrpSpPr>
            <a:grpSpLocks noChangeAspect="1"/>
          </p:cNvGrpSpPr>
          <p:nvPr/>
        </p:nvGrpSpPr>
        <p:grpSpPr bwMode="auto">
          <a:xfrm>
            <a:off x="1308409" y="1992314"/>
            <a:ext cx="4000499" cy="850106"/>
            <a:chOff x="1200" y="1599"/>
            <a:chExt cx="5280" cy="1122"/>
          </a:xfrm>
        </p:grpSpPr>
        <p:sp>
          <p:nvSpPr>
            <p:cNvPr id="102" name="Freeform 5">
              <a:extLst>
                <a:ext uri="{FF2B5EF4-FFF2-40B4-BE49-F238E27FC236}">
                  <a16:creationId xmlns:a16="http://schemas.microsoft.com/office/drawing/2014/main" id="{3C2AA85F-6C65-48AE-8055-E006539FF5EA}"/>
                </a:ext>
              </a:extLst>
            </p:cNvPr>
            <p:cNvSpPr>
              <a:spLocks/>
            </p:cNvSpPr>
            <p:nvPr/>
          </p:nvSpPr>
          <p:spPr bwMode="auto">
            <a:xfrm>
              <a:off x="1200" y="1599"/>
              <a:ext cx="5280" cy="1122"/>
            </a:xfrm>
            <a:custGeom>
              <a:avLst/>
              <a:gdLst>
                <a:gd name="T0" fmla="*/ 784 w 1978"/>
                <a:gd name="T1" fmla="*/ 211 h 418"/>
                <a:gd name="T2" fmla="*/ 834 w 1978"/>
                <a:gd name="T3" fmla="*/ 365 h 418"/>
                <a:gd name="T4" fmla="*/ 883 w 1978"/>
                <a:gd name="T5" fmla="*/ 356 h 418"/>
                <a:gd name="T6" fmla="*/ 933 w 1978"/>
                <a:gd name="T7" fmla="*/ 335 h 418"/>
                <a:gd name="T8" fmla="*/ 987 w 1978"/>
                <a:gd name="T9" fmla="*/ 328 h 418"/>
                <a:gd name="T10" fmla="*/ 1009 w 1978"/>
                <a:gd name="T11" fmla="*/ 240 h 418"/>
                <a:gd name="T12" fmla="*/ 1029 w 1978"/>
                <a:gd name="T13" fmla="*/ 208 h 418"/>
                <a:gd name="T14" fmla="*/ 1127 w 1978"/>
                <a:gd name="T15" fmla="*/ 259 h 418"/>
                <a:gd name="T16" fmla="*/ 1209 w 1978"/>
                <a:gd name="T17" fmla="*/ 316 h 418"/>
                <a:gd name="T18" fmla="*/ 1265 w 1978"/>
                <a:gd name="T19" fmla="*/ 310 h 418"/>
                <a:gd name="T20" fmla="*/ 1299 w 1978"/>
                <a:gd name="T21" fmla="*/ 208 h 418"/>
                <a:gd name="T22" fmla="*/ 1370 w 1978"/>
                <a:gd name="T23" fmla="*/ 298 h 418"/>
                <a:gd name="T24" fmla="*/ 1425 w 1978"/>
                <a:gd name="T25" fmla="*/ 292 h 418"/>
                <a:gd name="T26" fmla="*/ 1478 w 1978"/>
                <a:gd name="T27" fmla="*/ 282 h 418"/>
                <a:gd name="T28" fmla="*/ 1512 w 1978"/>
                <a:gd name="T29" fmla="*/ 212 h 418"/>
                <a:gd name="T30" fmla="*/ 1609 w 1978"/>
                <a:gd name="T31" fmla="*/ 229 h 418"/>
                <a:gd name="T32" fmla="*/ 1723 w 1978"/>
                <a:gd name="T33" fmla="*/ 279 h 418"/>
                <a:gd name="T34" fmla="*/ 1892 w 1978"/>
                <a:gd name="T35" fmla="*/ 104 h 418"/>
                <a:gd name="T36" fmla="*/ 1660 w 1978"/>
                <a:gd name="T37" fmla="*/ 187 h 418"/>
                <a:gd name="T38" fmla="*/ 1565 w 1978"/>
                <a:gd name="T39" fmla="*/ 187 h 418"/>
                <a:gd name="T40" fmla="*/ 1528 w 1978"/>
                <a:gd name="T41" fmla="*/ 122 h 418"/>
                <a:gd name="T42" fmla="*/ 1475 w 1978"/>
                <a:gd name="T43" fmla="*/ 113 h 418"/>
                <a:gd name="T44" fmla="*/ 1373 w 1978"/>
                <a:gd name="T45" fmla="*/ 187 h 418"/>
                <a:gd name="T46" fmla="*/ 1321 w 1978"/>
                <a:gd name="T47" fmla="*/ 187 h 418"/>
                <a:gd name="T48" fmla="*/ 1266 w 1978"/>
                <a:gd name="T49" fmla="*/ 187 h 418"/>
                <a:gd name="T50" fmla="*/ 1213 w 1978"/>
                <a:gd name="T51" fmla="*/ 187 h 418"/>
                <a:gd name="T52" fmla="*/ 1183 w 1978"/>
                <a:gd name="T53" fmla="*/ 132 h 418"/>
                <a:gd name="T54" fmla="*/ 1155 w 1978"/>
                <a:gd name="T55" fmla="*/ 73 h 418"/>
                <a:gd name="T56" fmla="*/ 1102 w 1978"/>
                <a:gd name="T57" fmla="*/ 67 h 418"/>
                <a:gd name="T58" fmla="*/ 1046 w 1978"/>
                <a:gd name="T59" fmla="*/ 61 h 418"/>
                <a:gd name="T60" fmla="*/ 980 w 1978"/>
                <a:gd name="T61" fmla="*/ 84 h 418"/>
                <a:gd name="T62" fmla="*/ 927 w 1978"/>
                <a:gd name="T63" fmla="*/ 78 h 418"/>
                <a:gd name="T64" fmla="*/ 871 w 1978"/>
                <a:gd name="T65" fmla="*/ 75 h 418"/>
                <a:gd name="T66" fmla="*/ 833 w 1978"/>
                <a:gd name="T67" fmla="*/ 33 h 418"/>
                <a:gd name="T68" fmla="*/ 759 w 1978"/>
                <a:gd name="T69" fmla="*/ 188 h 418"/>
                <a:gd name="T70" fmla="*/ 703 w 1978"/>
                <a:gd name="T71" fmla="*/ 188 h 418"/>
                <a:gd name="T72" fmla="*/ 675 w 1978"/>
                <a:gd name="T73" fmla="*/ 188 h 418"/>
                <a:gd name="T74" fmla="*/ 619 w 1978"/>
                <a:gd name="T75" fmla="*/ 188 h 418"/>
                <a:gd name="T76" fmla="*/ 604 w 1978"/>
                <a:gd name="T77" fmla="*/ 46 h 418"/>
                <a:gd name="T78" fmla="*/ 552 w 1978"/>
                <a:gd name="T79" fmla="*/ 47 h 418"/>
                <a:gd name="T80" fmla="*/ 71 w 1978"/>
                <a:gd name="T81" fmla="*/ 106 h 418"/>
                <a:gd name="T82" fmla="*/ 107 w 1978"/>
                <a:gd name="T83" fmla="*/ 194 h 418"/>
                <a:gd name="T84" fmla="*/ 246 w 1978"/>
                <a:gd name="T85" fmla="*/ 317 h 418"/>
                <a:gd name="T86" fmla="*/ 531 w 1978"/>
                <a:gd name="T87" fmla="*/ 268 h 418"/>
                <a:gd name="T88" fmla="*/ 605 w 1978"/>
                <a:gd name="T89" fmla="*/ 350 h 418"/>
                <a:gd name="T90" fmla="*/ 667 w 1978"/>
                <a:gd name="T91" fmla="*/ 377 h 418"/>
                <a:gd name="T92" fmla="*/ 676 w 1978"/>
                <a:gd name="T93" fmla="*/ 212 h 418"/>
                <a:gd name="T94" fmla="*/ 726 w 1978"/>
                <a:gd name="T95" fmla="*/ 378 h 418"/>
                <a:gd name="T96" fmla="*/ 778 w 1978"/>
                <a:gd name="T97" fmla="*/ 368 h 4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978" h="418">
                  <a:moveTo>
                    <a:pt x="778" y="368"/>
                  </a:moveTo>
                  <a:cubicBezTo>
                    <a:pt x="778" y="341"/>
                    <a:pt x="771" y="314"/>
                    <a:pt x="769" y="288"/>
                  </a:cubicBezTo>
                  <a:cubicBezTo>
                    <a:pt x="766" y="264"/>
                    <a:pt x="759" y="232"/>
                    <a:pt x="759" y="208"/>
                  </a:cubicBezTo>
                  <a:cubicBezTo>
                    <a:pt x="769" y="212"/>
                    <a:pt x="771" y="211"/>
                    <a:pt x="784" y="211"/>
                  </a:cubicBezTo>
                  <a:cubicBezTo>
                    <a:pt x="819" y="327"/>
                    <a:pt x="819" y="327"/>
                    <a:pt x="819" y="327"/>
                  </a:cubicBezTo>
                  <a:cubicBezTo>
                    <a:pt x="822" y="335"/>
                    <a:pt x="823" y="338"/>
                    <a:pt x="825" y="346"/>
                  </a:cubicBezTo>
                  <a:cubicBezTo>
                    <a:pt x="825" y="348"/>
                    <a:pt x="827" y="353"/>
                    <a:pt x="828" y="356"/>
                  </a:cubicBezTo>
                  <a:cubicBezTo>
                    <a:pt x="830" y="362"/>
                    <a:pt x="830" y="361"/>
                    <a:pt x="834" y="365"/>
                  </a:cubicBezTo>
                  <a:cubicBezTo>
                    <a:pt x="833" y="353"/>
                    <a:pt x="829" y="339"/>
                    <a:pt x="828" y="328"/>
                  </a:cubicBezTo>
                  <a:cubicBezTo>
                    <a:pt x="812" y="208"/>
                    <a:pt x="812" y="208"/>
                    <a:pt x="812" y="208"/>
                  </a:cubicBezTo>
                  <a:cubicBezTo>
                    <a:pt x="822" y="212"/>
                    <a:pt x="823" y="211"/>
                    <a:pt x="837" y="211"/>
                  </a:cubicBezTo>
                  <a:cubicBezTo>
                    <a:pt x="846" y="251"/>
                    <a:pt x="872" y="309"/>
                    <a:pt x="883" y="356"/>
                  </a:cubicBezTo>
                  <a:cubicBezTo>
                    <a:pt x="886" y="352"/>
                    <a:pt x="885" y="356"/>
                    <a:pt x="886" y="350"/>
                  </a:cubicBezTo>
                  <a:cubicBezTo>
                    <a:pt x="887" y="339"/>
                    <a:pt x="868" y="241"/>
                    <a:pt x="868" y="211"/>
                  </a:cubicBezTo>
                  <a:cubicBezTo>
                    <a:pt x="881" y="211"/>
                    <a:pt x="881" y="212"/>
                    <a:pt x="890" y="208"/>
                  </a:cubicBezTo>
                  <a:cubicBezTo>
                    <a:pt x="933" y="335"/>
                    <a:pt x="933" y="335"/>
                    <a:pt x="933" y="335"/>
                  </a:cubicBezTo>
                  <a:cubicBezTo>
                    <a:pt x="937" y="350"/>
                    <a:pt x="937" y="348"/>
                    <a:pt x="943" y="350"/>
                  </a:cubicBezTo>
                  <a:cubicBezTo>
                    <a:pt x="940" y="344"/>
                    <a:pt x="921" y="221"/>
                    <a:pt x="921" y="208"/>
                  </a:cubicBezTo>
                  <a:cubicBezTo>
                    <a:pt x="931" y="212"/>
                    <a:pt x="932" y="211"/>
                    <a:pt x="946" y="211"/>
                  </a:cubicBezTo>
                  <a:cubicBezTo>
                    <a:pt x="987" y="328"/>
                    <a:pt x="987" y="328"/>
                    <a:pt x="987" y="328"/>
                  </a:cubicBezTo>
                  <a:cubicBezTo>
                    <a:pt x="991" y="342"/>
                    <a:pt x="985" y="337"/>
                    <a:pt x="995" y="344"/>
                  </a:cubicBezTo>
                  <a:cubicBezTo>
                    <a:pt x="994" y="331"/>
                    <a:pt x="976" y="216"/>
                    <a:pt x="973" y="211"/>
                  </a:cubicBezTo>
                  <a:cubicBezTo>
                    <a:pt x="987" y="211"/>
                    <a:pt x="989" y="213"/>
                    <a:pt x="998" y="208"/>
                  </a:cubicBezTo>
                  <a:cubicBezTo>
                    <a:pt x="1001" y="220"/>
                    <a:pt x="1005" y="228"/>
                    <a:pt x="1009" y="240"/>
                  </a:cubicBezTo>
                  <a:cubicBezTo>
                    <a:pt x="1014" y="253"/>
                    <a:pt x="1019" y="262"/>
                    <a:pt x="1023" y="273"/>
                  </a:cubicBezTo>
                  <a:cubicBezTo>
                    <a:pt x="1027" y="285"/>
                    <a:pt x="1030" y="292"/>
                    <a:pt x="1034" y="305"/>
                  </a:cubicBezTo>
                  <a:cubicBezTo>
                    <a:pt x="1048" y="338"/>
                    <a:pt x="1048" y="338"/>
                    <a:pt x="1048" y="338"/>
                  </a:cubicBezTo>
                  <a:cubicBezTo>
                    <a:pt x="1048" y="310"/>
                    <a:pt x="1029" y="238"/>
                    <a:pt x="1029" y="208"/>
                  </a:cubicBezTo>
                  <a:cubicBezTo>
                    <a:pt x="1039" y="212"/>
                    <a:pt x="1041" y="211"/>
                    <a:pt x="1054" y="211"/>
                  </a:cubicBezTo>
                  <a:cubicBezTo>
                    <a:pt x="1057" y="222"/>
                    <a:pt x="1094" y="325"/>
                    <a:pt x="1104" y="332"/>
                  </a:cubicBezTo>
                  <a:cubicBezTo>
                    <a:pt x="1082" y="208"/>
                    <a:pt x="1082" y="208"/>
                    <a:pt x="1082" y="208"/>
                  </a:cubicBezTo>
                  <a:cubicBezTo>
                    <a:pt x="1113" y="223"/>
                    <a:pt x="1095" y="182"/>
                    <a:pt x="1127" y="259"/>
                  </a:cubicBezTo>
                  <a:cubicBezTo>
                    <a:pt x="1132" y="269"/>
                    <a:pt x="1150" y="318"/>
                    <a:pt x="1157" y="326"/>
                  </a:cubicBezTo>
                  <a:cubicBezTo>
                    <a:pt x="1156" y="314"/>
                    <a:pt x="1138" y="218"/>
                    <a:pt x="1135" y="211"/>
                  </a:cubicBezTo>
                  <a:cubicBezTo>
                    <a:pt x="1163" y="211"/>
                    <a:pt x="1163" y="211"/>
                    <a:pt x="1163" y="211"/>
                  </a:cubicBezTo>
                  <a:cubicBezTo>
                    <a:pt x="1209" y="316"/>
                    <a:pt x="1209" y="316"/>
                    <a:pt x="1209" y="316"/>
                  </a:cubicBezTo>
                  <a:cubicBezTo>
                    <a:pt x="1208" y="282"/>
                    <a:pt x="1191" y="242"/>
                    <a:pt x="1191" y="208"/>
                  </a:cubicBezTo>
                  <a:cubicBezTo>
                    <a:pt x="1200" y="212"/>
                    <a:pt x="1202" y="211"/>
                    <a:pt x="1215" y="211"/>
                  </a:cubicBezTo>
                  <a:cubicBezTo>
                    <a:pt x="1224" y="227"/>
                    <a:pt x="1231" y="244"/>
                    <a:pt x="1239" y="262"/>
                  </a:cubicBezTo>
                  <a:cubicBezTo>
                    <a:pt x="1247" y="277"/>
                    <a:pt x="1253" y="301"/>
                    <a:pt x="1265" y="310"/>
                  </a:cubicBezTo>
                  <a:cubicBezTo>
                    <a:pt x="1257" y="277"/>
                    <a:pt x="1251" y="242"/>
                    <a:pt x="1243" y="208"/>
                  </a:cubicBezTo>
                  <a:cubicBezTo>
                    <a:pt x="1253" y="213"/>
                    <a:pt x="1257" y="211"/>
                    <a:pt x="1271" y="211"/>
                  </a:cubicBezTo>
                  <a:cubicBezTo>
                    <a:pt x="1272" y="218"/>
                    <a:pt x="1310" y="299"/>
                    <a:pt x="1317" y="304"/>
                  </a:cubicBezTo>
                  <a:cubicBezTo>
                    <a:pt x="1315" y="280"/>
                    <a:pt x="1299" y="232"/>
                    <a:pt x="1299" y="208"/>
                  </a:cubicBezTo>
                  <a:cubicBezTo>
                    <a:pt x="1308" y="213"/>
                    <a:pt x="1310" y="212"/>
                    <a:pt x="1323" y="212"/>
                  </a:cubicBezTo>
                  <a:cubicBezTo>
                    <a:pt x="1363" y="287"/>
                    <a:pt x="1363" y="287"/>
                    <a:pt x="1363" y="287"/>
                  </a:cubicBezTo>
                  <a:cubicBezTo>
                    <a:pt x="1365" y="291"/>
                    <a:pt x="1364" y="290"/>
                    <a:pt x="1366" y="293"/>
                  </a:cubicBezTo>
                  <a:cubicBezTo>
                    <a:pt x="1369" y="298"/>
                    <a:pt x="1367" y="295"/>
                    <a:pt x="1370" y="298"/>
                  </a:cubicBezTo>
                  <a:cubicBezTo>
                    <a:pt x="1369" y="276"/>
                    <a:pt x="1353" y="232"/>
                    <a:pt x="1351" y="208"/>
                  </a:cubicBezTo>
                  <a:cubicBezTo>
                    <a:pt x="1361" y="213"/>
                    <a:pt x="1365" y="212"/>
                    <a:pt x="1379" y="212"/>
                  </a:cubicBezTo>
                  <a:cubicBezTo>
                    <a:pt x="1381" y="222"/>
                    <a:pt x="1395" y="242"/>
                    <a:pt x="1401" y="252"/>
                  </a:cubicBezTo>
                  <a:cubicBezTo>
                    <a:pt x="1407" y="262"/>
                    <a:pt x="1418" y="286"/>
                    <a:pt x="1425" y="292"/>
                  </a:cubicBezTo>
                  <a:cubicBezTo>
                    <a:pt x="1421" y="272"/>
                    <a:pt x="1407" y="231"/>
                    <a:pt x="1407" y="212"/>
                  </a:cubicBezTo>
                  <a:cubicBezTo>
                    <a:pt x="1432" y="212"/>
                    <a:pt x="1432" y="212"/>
                    <a:pt x="1432" y="212"/>
                  </a:cubicBezTo>
                  <a:cubicBezTo>
                    <a:pt x="1440" y="224"/>
                    <a:pt x="1446" y="236"/>
                    <a:pt x="1454" y="248"/>
                  </a:cubicBezTo>
                  <a:cubicBezTo>
                    <a:pt x="1461" y="258"/>
                    <a:pt x="1471" y="277"/>
                    <a:pt x="1478" y="282"/>
                  </a:cubicBezTo>
                  <a:cubicBezTo>
                    <a:pt x="1460" y="208"/>
                    <a:pt x="1460" y="208"/>
                    <a:pt x="1460" y="208"/>
                  </a:cubicBezTo>
                  <a:cubicBezTo>
                    <a:pt x="1469" y="213"/>
                    <a:pt x="1474" y="212"/>
                    <a:pt x="1487" y="212"/>
                  </a:cubicBezTo>
                  <a:cubicBezTo>
                    <a:pt x="1531" y="276"/>
                    <a:pt x="1531" y="276"/>
                    <a:pt x="1531" y="276"/>
                  </a:cubicBezTo>
                  <a:cubicBezTo>
                    <a:pt x="1529" y="263"/>
                    <a:pt x="1517" y="222"/>
                    <a:pt x="1512" y="212"/>
                  </a:cubicBezTo>
                  <a:cubicBezTo>
                    <a:pt x="1543" y="212"/>
                    <a:pt x="1543" y="212"/>
                    <a:pt x="1543" y="212"/>
                  </a:cubicBezTo>
                  <a:cubicBezTo>
                    <a:pt x="1546" y="223"/>
                    <a:pt x="1578" y="263"/>
                    <a:pt x="1583" y="267"/>
                  </a:cubicBezTo>
                  <a:cubicBezTo>
                    <a:pt x="1581" y="248"/>
                    <a:pt x="1569" y="227"/>
                    <a:pt x="1567" y="208"/>
                  </a:cubicBezTo>
                  <a:cubicBezTo>
                    <a:pt x="1592" y="220"/>
                    <a:pt x="1585" y="198"/>
                    <a:pt x="1609" y="229"/>
                  </a:cubicBezTo>
                  <a:cubicBezTo>
                    <a:pt x="1615" y="237"/>
                    <a:pt x="1633" y="260"/>
                    <a:pt x="1639" y="264"/>
                  </a:cubicBezTo>
                  <a:cubicBezTo>
                    <a:pt x="1635" y="249"/>
                    <a:pt x="1627" y="224"/>
                    <a:pt x="1620" y="212"/>
                  </a:cubicBezTo>
                  <a:cubicBezTo>
                    <a:pt x="1660" y="212"/>
                    <a:pt x="1660" y="212"/>
                    <a:pt x="1660" y="212"/>
                  </a:cubicBezTo>
                  <a:cubicBezTo>
                    <a:pt x="1671" y="232"/>
                    <a:pt x="1705" y="261"/>
                    <a:pt x="1723" y="279"/>
                  </a:cubicBezTo>
                  <a:cubicBezTo>
                    <a:pt x="1744" y="300"/>
                    <a:pt x="1771" y="321"/>
                    <a:pt x="1796" y="338"/>
                  </a:cubicBezTo>
                  <a:cubicBezTo>
                    <a:pt x="1835" y="365"/>
                    <a:pt x="1915" y="418"/>
                    <a:pt x="1978" y="418"/>
                  </a:cubicBezTo>
                  <a:cubicBezTo>
                    <a:pt x="1972" y="392"/>
                    <a:pt x="1876" y="198"/>
                    <a:pt x="1817" y="193"/>
                  </a:cubicBezTo>
                  <a:cubicBezTo>
                    <a:pt x="1827" y="180"/>
                    <a:pt x="1850" y="168"/>
                    <a:pt x="1892" y="104"/>
                  </a:cubicBezTo>
                  <a:cubicBezTo>
                    <a:pt x="1916" y="69"/>
                    <a:pt x="1943" y="41"/>
                    <a:pt x="1963" y="11"/>
                  </a:cubicBezTo>
                  <a:cubicBezTo>
                    <a:pt x="1897" y="11"/>
                    <a:pt x="1832" y="49"/>
                    <a:pt x="1789" y="75"/>
                  </a:cubicBezTo>
                  <a:cubicBezTo>
                    <a:pt x="1763" y="90"/>
                    <a:pt x="1741" y="108"/>
                    <a:pt x="1719" y="126"/>
                  </a:cubicBezTo>
                  <a:cubicBezTo>
                    <a:pt x="1705" y="137"/>
                    <a:pt x="1664" y="172"/>
                    <a:pt x="1660" y="187"/>
                  </a:cubicBezTo>
                  <a:cubicBezTo>
                    <a:pt x="1620" y="187"/>
                    <a:pt x="1620" y="187"/>
                    <a:pt x="1620" y="187"/>
                  </a:cubicBezTo>
                  <a:cubicBezTo>
                    <a:pt x="1624" y="179"/>
                    <a:pt x="1636" y="144"/>
                    <a:pt x="1638" y="135"/>
                  </a:cubicBezTo>
                  <a:cubicBezTo>
                    <a:pt x="1624" y="144"/>
                    <a:pt x="1603" y="172"/>
                    <a:pt x="1595" y="187"/>
                  </a:cubicBezTo>
                  <a:cubicBezTo>
                    <a:pt x="1565" y="187"/>
                    <a:pt x="1565" y="187"/>
                    <a:pt x="1565" y="187"/>
                  </a:cubicBezTo>
                  <a:cubicBezTo>
                    <a:pt x="1567" y="169"/>
                    <a:pt x="1579" y="144"/>
                    <a:pt x="1583" y="126"/>
                  </a:cubicBezTo>
                  <a:cubicBezTo>
                    <a:pt x="1575" y="132"/>
                    <a:pt x="1545" y="176"/>
                    <a:pt x="1537" y="187"/>
                  </a:cubicBezTo>
                  <a:cubicBezTo>
                    <a:pt x="1509" y="187"/>
                    <a:pt x="1509" y="187"/>
                    <a:pt x="1509" y="187"/>
                  </a:cubicBezTo>
                  <a:cubicBezTo>
                    <a:pt x="1513" y="180"/>
                    <a:pt x="1527" y="132"/>
                    <a:pt x="1528" y="122"/>
                  </a:cubicBezTo>
                  <a:cubicBezTo>
                    <a:pt x="1520" y="128"/>
                    <a:pt x="1512" y="144"/>
                    <a:pt x="1505" y="153"/>
                  </a:cubicBezTo>
                  <a:cubicBezTo>
                    <a:pt x="1499" y="162"/>
                    <a:pt x="1487" y="177"/>
                    <a:pt x="1485" y="187"/>
                  </a:cubicBezTo>
                  <a:cubicBezTo>
                    <a:pt x="1457" y="187"/>
                    <a:pt x="1457" y="187"/>
                    <a:pt x="1457" y="187"/>
                  </a:cubicBezTo>
                  <a:cubicBezTo>
                    <a:pt x="1459" y="163"/>
                    <a:pt x="1473" y="137"/>
                    <a:pt x="1475" y="113"/>
                  </a:cubicBezTo>
                  <a:cubicBezTo>
                    <a:pt x="1463" y="122"/>
                    <a:pt x="1437" y="172"/>
                    <a:pt x="1429" y="187"/>
                  </a:cubicBezTo>
                  <a:cubicBezTo>
                    <a:pt x="1401" y="187"/>
                    <a:pt x="1401" y="187"/>
                    <a:pt x="1401" y="187"/>
                  </a:cubicBezTo>
                  <a:cubicBezTo>
                    <a:pt x="1409" y="171"/>
                    <a:pt x="1419" y="126"/>
                    <a:pt x="1423" y="107"/>
                  </a:cubicBezTo>
                  <a:cubicBezTo>
                    <a:pt x="1409" y="116"/>
                    <a:pt x="1384" y="171"/>
                    <a:pt x="1373" y="187"/>
                  </a:cubicBezTo>
                  <a:cubicBezTo>
                    <a:pt x="1349" y="187"/>
                    <a:pt x="1349" y="187"/>
                    <a:pt x="1349" y="187"/>
                  </a:cubicBezTo>
                  <a:cubicBezTo>
                    <a:pt x="1355" y="160"/>
                    <a:pt x="1367" y="130"/>
                    <a:pt x="1367" y="101"/>
                  </a:cubicBezTo>
                  <a:cubicBezTo>
                    <a:pt x="1367" y="101"/>
                    <a:pt x="1366" y="102"/>
                    <a:pt x="1366" y="102"/>
                  </a:cubicBezTo>
                  <a:cubicBezTo>
                    <a:pt x="1365" y="112"/>
                    <a:pt x="1326" y="170"/>
                    <a:pt x="1321" y="187"/>
                  </a:cubicBezTo>
                  <a:cubicBezTo>
                    <a:pt x="1297" y="187"/>
                    <a:pt x="1297" y="187"/>
                    <a:pt x="1297" y="187"/>
                  </a:cubicBezTo>
                  <a:cubicBezTo>
                    <a:pt x="1297" y="174"/>
                    <a:pt x="1303" y="151"/>
                    <a:pt x="1305" y="140"/>
                  </a:cubicBezTo>
                  <a:cubicBezTo>
                    <a:pt x="1309" y="126"/>
                    <a:pt x="1314" y="106"/>
                    <a:pt x="1315" y="92"/>
                  </a:cubicBezTo>
                  <a:cubicBezTo>
                    <a:pt x="1266" y="187"/>
                    <a:pt x="1266" y="187"/>
                    <a:pt x="1266" y="187"/>
                  </a:cubicBezTo>
                  <a:cubicBezTo>
                    <a:pt x="1241" y="187"/>
                    <a:pt x="1241" y="187"/>
                    <a:pt x="1241" y="187"/>
                  </a:cubicBezTo>
                  <a:cubicBezTo>
                    <a:pt x="1249" y="154"/>
                    <a:pt x="1255" y="118"/>
                    <a:pt x="1263" y="85"/>
                  </a:cubicBezTo>
                  <a:cubicBezTo>
                    <a:pt x="1253" y="92"/>
                    <a:pt x="1243" y="121"/>
                    <a:pt x="1237" y="134"/>
                  </a:cubicBezTo>
                  <a:cubicBezTo>
                    <a:pt x="1229" y="150"/>
                    <a:pt x="1217" y="170"/>
                    <a:pt x="1213" y="187"/>
                  </a:cubicBezTo>
                  <a:cubicBezTo>
                    <a:pt x="1189" y="187"/>
                    <a:pt x="1189" y="187"/>
                    <a:pt x="1189" y="187"/>
                  </a:cubicBezTo>
                  <a:cubicBezTo>
                    <a:pt x="1189" y="151"/>
                    <a:pt x="1207" y="115"/>
                    <a:pt x="1207" y="79"/>
                  </a:cubicBezTo>
                  <a:cubicBezTo>
                    <a:pt x="1205" y="82"/>
                    <a:pt x="1205" y="80"/>
                    <a:pt x="1203" y="85"/>
                  </a:cubicBezTo>
                  <a:cubicBezTo>
                    <a:pt x="1183" y="132"/>
                    <a:pt x="1183" y="132"/>
                    <a:pt x="1183" y="132"/>
                  </a:cubicBezTo>
                  <a:cubicBezTo>
                    <a:pt x="1177" y="146"/>
                    <a:pt x="1162" y="174"/>
                    <a:pt x="1161" y="188"/>
                  </a:cubicBezTo>
                  <a:cubicBezTo>
                    <a:pt x="1133" y="188"/>
                    <a:pt x="1133" y="188"/>
                    <a:pt x="1133" y="188"/>
                  </a:cubicBezTo>
                  <a:cubicBezTo>
                    <a:pt x="1143" y="167"/>
                    <a:pt x="1145" y="125"/>
                    <a:pt x="1149" y="102"/>
                  </a:cubicBezTo>
                  <a:cubicBezTo>
                    <a:pt x="1151" y="95"/>
                    <a:pt x="1154" y="82"/>
                    <a:pt x="1155" y="73"/>
                  </a:cubicBezTo>
                  <a:cubicBezTo>
                    <a:pt x="1145" y="80"/>
                    <a:pt x="1135" y="115"/>
                    <a:pt x="1129" y="128"/>
                  </a:cubicBezTo>
                  <a:cubicBezTo>
                    <a:pt x="1122" y="146"/>
                    <a:pt x="1109" y="168"/>
                    <a:pt x="1105" y="188"/>
                  </a:cubicBezTo>
                  <a:cubicBezTo>
                    <a:pt x="1080" y="188"/>
                    <a:pt x="1080" y="188"/>
                    <a:pt x="1080" y="188"/>
                  </a:cubicBezTo>
                  <a:cubicBezTo>
                    <a:pt x="1081" y="173"/>
                    <a:pt x="1098" y="75"/>
                    <a:pt x="1102" y="67"/>
                  </a:cubicBezTo>
                  <a:cubicBezTo>
                    <a:pt x="1091" y="72"/>
                    <a:pt x="1093" y="80"/>
                    <a:pt x="1088" y="93"/>
                  </a:cubicBezTo>
                  <a:cubicBezTo>
                    <a:pt x="1078" y="119"/>
                    <a:pt x="1055" y="163"/>
                    <a:pt x="1053" y="188"/>
                  </a:cubicBezTo>
                  <a:cubicBezTo>
                    <a:pt x="1028" y="188"/>
                    <a:pt x="1028" y="188"/>
                    <a:pt x="1028" y="188"/>
                  </a:cubicBezTo>
                  <a:cubicBezTo>
                    <a:pt x="1028" y="144"/>
                    <a:pt x="1046" y="104"/>
                    <a:pt x="1046" y="61"/>
                  </a:cubicBezTo>
                  <a:cubicBezTo>
                    <a:pt x="1031" y="78"/>
                    <a:pt x="1009" y="162"/>
                    <a:pt x="997" y="188"/>
                  </a:cubicBezTo>
                  <a:cubicBezTo>
                    <a:pt x="972" y="188"/>
                    <a:pt x="972" y="188"/>
                    <a:pt x="972" y="188"/>
                  </a:cubicBezTo>
                  <a:cubicBezTo>
                    <a:pt x="976" y="168"/>
                    <a:pt x="993" y="75"/>
                    <a:pt x="993" y="52"/>
                  </a:cubicBezTo>
                  <a:cubicBezTo>
                    <a:pt x="986" y="60"/>
                    <a:pt x="984" y="74"/>
                    <a:pt x="980" y="84"/>
                  </a:cubicBezTo>
                  <a:cubicBezTo>
                    <a:pt x="971" y="108"/>
                    <a:pt x="946" y="167"/>
                    <a:pt x="944" y="188"/>
                  </a:cubicBezTo>
                  <a:cubicBezTo>
                    <a:pt x="919" y="188"/>
                    <a:pt x="919" y="188"/>
                    <a:pt x="919" y="188"/>
                  </a:cubicBezTo>
                  <a:cubicBezTo>
                    <a:pt x="920" y="157"/>
                    <a:pt x="934" y="77"/>
                    <a:pt x="941" y="46"/>
                  </a:cubicBezTo>
                  <a:cubicBezTo>
                    <a:pt x="933" y="52"/>
                    <a:pt x="931" y="66"/>
                    <a:pt x="927" y="78"/>
                  </a:cubicBezTo>
                  <a:cubicBezTo>
                    <a:pt x="917" y="107"/>
                    <a:pt x="901" y="162"/>
                    <a:pt x="888" y="188"/>
                  </a:cubicBezTo>
                  <a:cubicBezTo>
                    <a:pt x="863" y="188"/>
                    <a:pt x="863" y="188"/>
                    <a:pt x="863" y="188"/>
                  </a:cubicBezTo>
                  <a:cubicBezTo>
                    <a:pt x="867" y="181"/>
                    <a:pt x="885" y="54"/>
                    <a:pt x="885" y="39"/>
                  </a:cubicBezTo>
                  <a:cubicBezTo>
                    <a:pt x="878" y="49"/>
                    <a:pt x="875" y="63"/>
                    <a:pt x="871" y="75"/>
                  </a:cubicBezTo>
                  <a:cubicBezTo>
                    <a:pt x="847" y="150"/>
                    <a:pt x="847" y="150"/>
                    <a:pt x="847" y="150"/>
                  </a:cubicBezTo>
                  <a:cubicBezTo>
                    <a:pt x="844" y="162"/>
                    <a:pt x="839" y="175"/>
                    <a:pt x="836" y="188"/>
                  </a:cubicBezTo>
                  <a:cubicBezTo>
                    <a:pt x="811" y="188"/>
                    <a:pt x="811" y="188"/>
                    <a:pt x="811" y="188"/>
                  </a:cubicBezTo>
                  <a:cubicBezTo>
                    <a:pt x="815" y="136"/>
                    <a:pt x="828" y="85"/>
                    <a:pt x="833" y="33"/>
                  </a:cubicBezTo>
                  <a:cubicBezTo>
                    <a:pt x="824" y="39"/>
                    <a:pt x="822" y="56"/>
                    <a:pt x="819" y="68"/>
                  </a:cubicBezTo>
                  <a:cubicBezTo>
                    <a:pt x="795" y="146"/>
                    <a:pt x="795" y="146"/>
                    <a:pt x="795" y="146"/>
                  </a:cubicBezTo>
                  <a:cubicBezTo>
                    <a:pt x="790" y="160"/>
                    <a:pt x="784" y="173"/>
                    <a:pt x="783" y="188"/>
                  </a:cubicBezTo>
                  <a:cubicBezTo>
                    <a:pt x="759" y="188"/>
                    <a:pt x="759" y="188"/>
                    <a:pt x="759" y="188"/>
                  </a:cubicBezTo>
                  <a:cubicBezTo>
                    <a:pt x="759" y="171"/>
                    <a:pt x="777" y="34"/>
                    <a:pt x="780" y="27"/>
                  </a:cubicBezTo>
                  <a:cubicBezTo>
                    <a:pt x="771" y="31"/>
                    <a:pt x="767" y="54"/>
                    <a:pt x="765" y="64"/>
                  </a:cubicBezTo>
                  <a:cubicBezTo>
                    <a:pt x="753" y="106"/>
                    <a:pt x="737" y="146"/>
                    <a:pt x="727" y="188"/>
                  </a:cubicBezTo>
                  <a:cubicBezTo>
                    <a:pt x="703" y="188"/>
                    <a:pt x="703" y="188"/>
                    <a:pt x="703" y="188"/>
                  </a:cubicBezTo>
                  <a:cubicBezTo>
                    <a:pt x="706" y="181"/>
                    <a:pt x="724" y="35"/>
                    <a:pt x="724" y="18"/>
                  </a:cubicBezTo>
                  <a:cubicBezTo>
                    <a:pt x="722" y="22"/>
                    <a:pt x="722" y="22"/>
                    <a:pt x="722" y="22"/>
                  </a:cubicBezTo>
                  <a:cubicBezTo>
                    <a:pt x="713" y="42"/>
                    <a:pt x="705" y="78"/>
                    <a:pt x="699" y="101"/>
                  </a:cubicBezTo>
                  <a:cubicBezTo>
                    <a:pt x="691" y="127"/>
                    <a:pt x="677" y="160"/>
                    <a:pt x="675" y="188"/>
                  </a:cubicBezTo>
                  <a:cubicBezTo>
                    <a:pt x="650" y="188"/>
                    <a:pt x="650" y="188"/>
                    <a:pt x="650" y="188"/>
                  </a:cubicBezTo>
                  <a:cubicBezTo>
                    <a:pt x="651" y="146"/>
                    <a:pt x="671" y="50"/>
                    <a:pt x="671" y="12"/>
                  </a:cubicBezTo>
                  <a:cubicBezTo>
                    <a:pt x="662" y="22"/>
                    <a:pt x="636" y="126"/>
                    <a:pt x="632" y="142"/>
                  </a:cubicBezTo>
                  <a:cubicBezTo>
                    <a:pt x="628" y="156"/>
                    <a:pt x="624" y="178"/>
                    <a:pt x="619" y="188"/>
                  </a:cubicBezTo>
                  <a:cubicBezTo>
                    <a:pt x="597" y="188"/>
                    <a:pt x="597" y="188"/>
                    <a:pt x="597" y="188"/>
                  </a:cubicBezTo>
                  <a:cubicBezTo>
                    <a:pt x="597" y="157"/>
                    <a:pt x="604" y="126"/>
                    <a:pt x="607" y="96"/>
                  </a:cubicBezTo>
                  <a:cubicBezTo>
                    <a:pt x="610" y="66"/>
                    <a:pt x="613" y="31"/>
                    <a:pt x="619" y="3"/>
                  </a:cubicBezTo>
                  <a:cubicBezTo>
                    <a:pt x="609" y="10"/>
                    <a:pt x="607" y="34"/>
                    <a:pt x="604" y="46"/>
                  </a:cubicBezTo>
                  <a:cubicBezTo>
                    <a:pt x="579" y="139"/>
                    <a:pt x="579" y="139"/>
                    <a:pt x="579" y="139"/>
                  </a:cubicBezTo>
                  <a:cubicBezTo>
                    <a:pt x="575" y="153"/>
                    <a:pt x="567" y="174"/>
                    <a:pt x="566" y="188"/>
                  </a:cubicBezTo>
                  <a:cubicBezTo>
                    <a:pt x="537" y="188"/>
                    <a:pt x="537" y="188"/>
                    <a:pt x="537" y="188"/>
                  </a:cubicBezTo>
                  <a:cubicBezTo>
                    <a:pt x="547" y="167"/>
                    <a:pt x="555" y="78"/>
                    <a:pt x="552" y="47"/>
                  </a:cubicBezTo>
                  <a:cubicBezTo>
                    <a:pt x="550" y="22"/>
                    <a:pt x="555" y="18"/>
                    <a:pt x="533" y="14"/>
                  </a:cubicBezTo>
                  <a:cubicBezTo>
                    <a:pt x="501" y="6"/>
                    <a:pt x="481" y="0"/>
                    <a:pt x="441" y="0"/>
                  </a:cubicBezTo>
                  <a:cubicBezTo>
                    <a:pt x="404" y="0"/>
                    <a:pt x="373" y="4"/>
                    <a:pt x="339" y="6"/>
                  </a:cubicBezTo>
                  <a:cubicBezTo>
                    <a:pt x="217" y="14"/>
                    <a:pt x="165" y="57"/>
                    <a:pt x="71" y="106"/>
                  </a:cubicBezTo>
                  <a:cubicBezTo>
                    <a:pt x="59" y="112"/>
                    <a:pt x="47" y="122"/>
                    <a:pt x="34" y="124"/>
                  </a:cubicBezTo>
                  <a:cubicBezTo>
                    <a:pt x="36" y="133"/>
                    <a:pt x="35" y="129"/>
                    <a:pt x="40" y="134"/>
                  </a:cubicBezTo>
                  <a:cubicBezTo>
                    <a:pt x="83" y="175"/>
                    <a:pt x="186" y="198"/>
                    <a:pt x="244" y="198"/>
                  </a:cubicBezTo>
                  <a:cubicBezTo>
                    <a:pt x="207" y="224"/>
                    <a:pt x="144" y="208"/>
                    <a:pt x="107" y="194"/>
                  </a:cubicBezTo>
                  <a:cubicBezTo>
                    <a:pt x="87" y="186"/>
                    <a:pt x="69" y="174"/>
                    <a:pt x="53" y="164"/>
                  </a:cubicBezTo>
                  <a:cubicBezTo>
                    <a:pt x="36" y="154"/>
                    <a:pt x="19" y="136"/>
                    <a:pt x="0" y="130"/>
                  </a:cubicBezTo>
                  <a:cubicBezTo>
                    <a:pt x="10" y="176"/>
                    <a:pt x="83" y="228"/>
                    <a:pt x="125" y="253"/>
                  </a:cubicBezTo>
                  <a:cubicBezTo>
                    <a:pt x="246" y="317"/>
                    <a:pt x="246" y="317"/>
                    <a:pt x="246" y="317"/>
                  </a:cubicBezTo>
                  <a:cubicBezTo>
                    <a:pt x="254" y="321"/>
                    <a:pt x="259" y="322"/>
                    <a:pt x="267" y="326"/>
                  </a:cubicBezTo>
                  <a:cubicBezTo>
                    <a:pt x="336" y="358"/>
                    <a:pt x="393" y="388"/>
                    <a:pt x="481" y="393"/>
                  </a:cubicBezTo>
                  <a:cubicBezTo>
                    <a:pt x="527" y="395"/>
                    <a:pt x="534" y="407"/>
                    <a:pt x="534" y="328"/>
                  </a:cubicBezTo>
                  <a:cubicBezTo>
                    <a:pt x="534" y="306"/>
                    <a:pt x="534" y="286"/>
                    <a:pt x="531" y="268"/>
                  </a:cubicBezTo>
                  <a:cubicBezTo>
                    <a:pt x="528" y="244"/>
                    <a:pt x="534" y="230"/>
                    <a:pt x="534" y="208"/>
                  </a:cubicBezTo>
                  <a:cubicBezTo>
                    <a:pt x="544" y="212"/>
                    <a:pt x="553" y="211"/>
                    <a:pt x="568" y="211"/>
                  </a:cubicBezTo>
                  <a:cubicBezTo>
                    <a:pt x="575" y="242"/>
                    <a:pt x="585" y="273"/>
                    <a:pt x="593" y="304"/>
                  </a:cubicBezTo>
                  <a:cubicBezTo>
                    <a:pt x="597" y="320"/>
                    <a:pt x="601" y="334"/>
                    <a:pt x="605" y="350"/>
                  </a:cubicBezTo>
                  <a:cubicBezTo>
                    <a:pt x="608" y="362"/>
                    <a:pt x="611" y="386"/>
                    <a:pt x="621" y="393"/>
                  </a:cubicBezTo>
                  <a:cubicBezTo>
                    <a:pt x="613" y="361"/>
                    <a:pt x="599" y="240"/>
                    <a:pt x="599" y="208"/>
                  </a:cubicBezTo>
                  <a:cubicBezTo>
                    <a:pt x="609" y="213"/>
                    <a:pt x="611" y="213"/>
                    <a:pt x="621" y="208"/>
                  </a:cubicBezTo>
                  <a:cubicBezTo>
                    <a:pt x="667" y="377"/>
                    <a:pt x="667" y="377"/>
                    <a:pt x="667" y="377"/>
                  </a:cubicBezTo>
                  <a:cubicBezTo>
                    <a:pt x="670" y="384"/>
                    <a:pt x="669" y="382"/>
                    <a:pt x="673" y="387"/>
                  </a:cubicBezTo>
                  <a:cubicBezTo>
                    <a:pt x="673" y="375"/>
                    <a:pt x="669" y="355"/>
                    <a:pt x="667" y="344"/>
                  </a:cubicBezTo>
                  <a:cubicBezTo>
                    <a:pt x="663" y="311"/>
                    <a:pt x="651" y="236"/>
                    <a:pt x="651" y="208"/>
                  </a:cubicBezTo>
                  <a:cubicBezTo>
                    <a:pt x="661" y="213"/>
                    <a:pt x="663" y="212"/>
                    <a:pt x="676" y="212"/>
                  </a:cubicBezTo>
                  <a:cubicBezTo>
                    <a:pt x="678" y="238"/>
                    <a:pt x="693" y="271"/>
                    <a:pt x="700" y="296"/>
                  </a:cubicBezTo>
                  <a:cubicBezTo>
                    <a:pt x="704" y="311"/>
                    <a:pt x="707" y="322"/>
                    <a:pt x="711" y="337"/>
                  </a:cubicBezTo>
                  <a:cubicBezTo>
                    <a:pt x="714" y="345"/>
                    <a:pt x="716" y="350"/>
                    <a:pt x="718" y="358"/>
                  </a:cubicBezTo>
                  <a:cubicBezTo>
                    <a:pt x="726" y="378"/>
                    <a:pt x="726" y="378"/>
                    <a:pt x="726" y="378"/>
                  </a:cubicBezTo>
                  <a:cubicBezTo>
                    <a:pt x="726" y="364"/>
                    <a:pt x="707" y="217"/>
                    <a:pt x="704" y="212"/>
                  </a:cubicBezTo>
                  <a:cubicBezTo>
                    <a:pt x="717" y="212"/>
                    <a:pt x="719" y="213"/>
                    <a:pt x="729" y="208"/>
                  </a:cubicBezTo>
                  <a:cubicBezTo>
                    <a:pt x="734" y="228"/>
                    <a:pt x="765" y="339"/>
                    <a:pt x="775" y="363"/>
                  </a:cubicBezTo>
                  <a:cubicBezTo>
                    <a:pt x="778" y="371"/>
                    <a:pt x="775" y="364"/>
                    <a:pt x="778" y="368"/>
                  </a:cubicBezTo>
                  <a:close/>
                </a:path>
              </a:pathLst>
            </a:custGeom>
            <a:solidFill>
              <a:srgbClr val="4E8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cs typeface="+mn-cs"/>
              </a:endParaRPr>
            </a:p>
          </p:txBody>
        </p:sp>
        <p:sp>
          <p:nvSpPr>
            <p:cNvPr id="103" name="Freeform 6">
              <a:extLst>
                <a:ext uri="{FF2B5EF4-FFF2-40B4-BE49-F238E27FC236}">
                  <a16:creationId xmlns:a16="http://schemas.microsoft.com/office/drawing/2014/main" id="{BF84C2BB-B5E3-4847-82D1-F436A794B42D}"/>
                </a:ext>
              </a:extLst>
            </p:cNvPr>
            <p:cNvSpPr>
              <a:spLocks/>
            </p:cNvSpPr>
            <p:nvPr/>
          </p:nvSpPr>
          <p:spPr bwMode="auto">
            <a:xfrm>
              <a:off x="1320" y="2088"/>
              <a:ext cx="5160" cy="633"/>
            </a:xfrm>
            <a:custGeom>
              <a:avLst/>
              <a:gdLst>
                <a:gd name="T0" fmla="*/ 724 w 1933"/>
                <a:gd name="T1" fmla="*/ 106 h 236"/>
                <a:gd name="T2" fmla="*/ 739 w 1933"/>
                <a:gd name="T3" fmla="*/ 29 h 236"/>
                <a:gd name="T4" fmla="*/ 780 w 1933"/>
                <a:gd name="T5" fmla="*/ 164 h 236"/>
                <a:gd name="T6" fmla="*/ 789 w 1933"/>
                <a:gd name="T7" fmla="*/ 183 h 236"/>
                <a:gd name="T8" fmla="*/ 767 w 1933"/>
                <a:gd name="T9" fmla="*/ 26 h 236"/>
                <a:gd name="T10" fmla="*/ 838 w 1933"/>
                <a:gd name="T11" fmla="*/ 174 h 236"/>
                <a:gd name="T12" fmla="*/ 823 w 1933"/>
                <a:gd name="T13" fmla="*/ 29 h 236"/>
                <a:gd name="T14" fmla="*/ 888 w 1933"/>
                <a:gd name="T15" fmla="*/ 153 h 236"/>
                <a:gd name="T16" fmla="*/ 876 w 1933"/>
                <a:gd name="T17" fmla="*/ 26 h 236"/>
                <a:gd name="T18" fmla="*/ 942 w 1933"/>
                <a:gd name="T19" fmla="*/ 146 h 236"/>
                <a:gd name="T20" fmla="*/ 928 w 1933"/>
                <a:gd name="T21" fmla="*/ 29 h 236"/>
                <a:gd name="T22" fmla="*/ 964 w 1933"/>
                <a:gd name="T23" fmla="*/ 58 h 236"/>
                <a:gd name="T24" fmla="*/ 989 w 1933"/>
                <a:gd name="T25" fmla="*/ 123 h 236"/>
                <a:gd name="T26" fmla="*/ 984 w 1933"/>
                <a:gd name="T27" fmla="*/ 26 h 236"/>
                <a:gd name="T28" fmla="*/ 1059 w 1933"/>
                <a:gd name="T29" fmla="*/ 150 h 236"/>
                <a:gd name="T30" fmla="*/ 1082 w 1933"/>
                <a:gd name="T31" fmla="*/ 77 h 236"/>
                <a:gd name="T32" fmla="*/ 1090 w 1933"/>
                <a:gd name="T33" fmla="*/ 29 h 236"/>
                <a:gd name="T34" fmla="*/ 1164 w 1933"/>
                <a:gd name="T35" fmla="*/ 134 h 236"/>
                <a:gd name="T36" fmla="*/ 1170 w 1933"/>
                <a:gd name="T37" fmla="*/ 29 h 236"/>
                <a:gd name="T38" fmla="*/ 1220 w 1933"/>
                <a:gd name="T39" fmla="*/ 128 h 236"/>
                <a:gd name="T40" fmla="*/ 1226 w 1933"/>
                <a:gd name="T41" fmla="*/ 29 h 236"/>
                <a:gd name="T42" fmla="*/ 1254 w 1933"/>
                <a:gd name="T43" fmla="*/ 26 h 236"/>
                <a:gd name="T44" fmla="*/ 1318 w 1933"/>
                <a:gd name="T45" fmla="*/ 105 h 236"/>
                <a:gd name="T46" fmla="*/ 1325 w 1933"/>
                <a:gd name="T47" fmla="*/ 116 h 236"/>
                <a:gd name="T48" fmla="*/ 1334 w 1933"/>
                <a:gd name="T49" fmla="*/ 30 h 236"/>
                <a:gd name="T50" fmla="*/ 1380 w 1933"/>
                <a:gd name="T51" fmla="*/ 110 h 236"/>
                <a:gd name="T52" fmla="*/ 1387 w 1933"/>
                <a:gd name="T53" fmla="*/ 30 h 236"/>
                <a:gd name="T54" fmla="*/ 1433 w 1933"/>
                <a:gd name="T55" fmla="*/ 100 h 236"/>
                <a:gd name="T56" fmla="*/ 1442 w 1933"/>
                <a:gd name="T57" fmla="*/ 30 h 236"/>
                <a:gd name="T58" fmla="*/ 1467 w 1933"/>
                <a:gd name="T59" fmla="*/ 30 h 236"/>
                <a:gd name="T60" fmla="*/ 1538 w 1933"/>
                <a:gd name="T61" fmla="*/ 85 h 236"/>
                <a:gd name="T62" fmla="*/ 1564 w 1933"/>
                <a:gd name="T63" fmla="*/ 47 h 236"/>
                <a:gd name="T64" fmla="*/ 1575 w 1933"/>
                <a:gd name="T65" fmla="*/ 30 h 236"/>
                <a:gd name="T66" fmla="*/ 1678 w 1933"/>
                <a:gd name="T67" fmla="*/ 97 h 236"/>
                <a:gd name="T68" fmla="*/ 1933 w 1933"/>
                <a:gd name="T69" fmla="*/ 236 h 236"/>
                <a:gd name="T70" fmla="*/ 149 w 1933"/>
                <a:gd name="T71" fmla="*/ 13 h 236"/>
                <a:gd name="T72" fmla="*/ 63 w 1933"/>
                <a:gd name="T73" fmla="*/ 13 h 236"/>
                <a:gd name="T74" fmla="*/ 80 w 1933"/>
                <a:gd name="T75" fmla="*/ 71 h 236"/>
                <a:gd name="T76" fmla="*/ 222 w 1933"/>
                <a:gd name="T77" fmla="*/ 144 h 236"/>
                <a:gd name="T78" fmla="*/ 489 w 1933"/>
                <a:gd name="T79" fmla="*/ 146 h 236"/>
                <a:gd name="T80" fmla="*/ 489 w 1933"/>
                <a:gd name="T81" fmla="*/ 26 h 236"/>
                <a:gd name="T82" fmla="*/ 548 w 1933"/>
                <a:gd name="T83" fmla="*/ 122 h 236"/>
                <a:gd name="T84" fmla="*/ 576 w 1933"/>
                <a:gd name="T85" fmla="*/ 212 h 236"/>
                <a:gd name="T86" fmla="*/ 576 w 1933"/>
                <a:gd name="T87" fmla="*/ 26 h 236"/>
                <a:gd name="T88" fmla="*/ 628 w 1933"/>
                <a:gd name="T89" fmla="*/ 206 h 236"/>
                <a:gd name="T90" fmla="*/ 606 w 1933"/>
                <a:gd name="T91" fmla="*/ 27 h 236"/>
                <a:gd name="T92" fmla="*/ 655 w 1933"/>
                <a:gd name="T93" fmla="*/ 114 h 236"/>
                <a:gd name="T94" fmla="*/ 673 w 1933"/>
                <a:gd name="T95" fmla="*/ 176 h 236"/>
                <a:gd name="T96" fmla="*/ 659 w 1933"/>
                <a:gd name="T97" fmla="*/ 30 h 236"/>
                <a:gd name="T98" fmla="*/ 730 w 1933"/>
                <a:gd name="T99" fmla="*/ 181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933" h="236">
                  <a:moveTo>
                    <a:pt x="733" y="186"/>
                  </a:moveTo>
                  <a:cubicBezTo>
                    <a:pt x="733" y="159"/>
                    <a:pt x="726" y="132"/>
                    <a:pt x="724" y="106"/>
                  </a:cubicBezTo>
                  <a:cubicBezTo>
                    <a:pt x="721" y="82"/>
                    <a:pt x="714" y="50"/>
                    <a:pt x="714" y="26"/>
                  </a:cubicBezTo>
                  <a:cubicBezTo>
                    <a:pt x="724" y="30"/>
                    <a:pt x="726" y="29"/>
                    <a:pt x="739" y="29"/>
                  </a:cubicBezTo>
                  <a:cubicBezTo>
                    <a:pt x="774" y="145"/>
                    <a:pt x="774" y="145"/>
                    <a:pt x="774" y="145"/>
                  </a:cubicBezTo>
                  <a:cubicBezTo>
                    <a:pt x="777" y="153"/>
                    <a:pt x="778" y="156"/>
                    <a:pt x="780" y="164"/>
                  </a:cubicBezTo>
                  <a:cubicBezTo>
                    <a:pt x="780" y="166"/>
                    <a:pt x="782" y="171"/>
                    <a:pt x="783" y="174"/>
                  </a:cubicBezTo>
                  <a:cubicBezTo>
                    <a:pt x="785" y="180"/>
                    <a:pt x="785" y="179"/>
                    <a:pt x="789" y="183"/>
                  </a:cubicBezTo>
                  <a:cubicBezTo>
                    <a:pt x="788" y="171"/>
                    <a:pt x="784" y="157"/>
                    <a:pt x="783" y="146"/>
                  </a:cubicBezTo>
                  <a:cubicBezTo>
                    <a:pt x="767" y="26"/>
                    <a:pt x="767" y="26"/>
                    <a:pt x="767" y="26"/>
                  </a:cubicBezTo>
                  <a:cubicBezTo>
                    <a:pt x="777" y="30"/>
                    <a:pt x="778" y="29"/>
                    <a:pt x="792" y="29"/>
                  </a:cubicBezTo>
                  <a:cubicBezTo>
                    <a:pt x="801" y="69"/>
                    <a:pt x="827" y="127"/>
                    <a:pt x="838" y="174"/>
                  </a:cubicBezTo>
                  <a:cubicBezTo>
                    <a:pt x="841" y="170"/>
                    <a:pt x="840" y="174"/>
                    <a:pt x="841" y="168"/>
                  </a:cubicBezTo>
                  <a:cubicBezTo>
                    <a:pt x="842" y="157"/>
                    <a:pt x="823" y="59"/>
                    <a:pt x="823" y="29"/>
                  </a:cubicBezTo>
                  <a:cubicBezTo>
                    <a:pt x="836" y="29"/>
                    <a:pt x="836" y="30"/>
                    <a:pt x="845" y="26"/>
                  </a:cubicBezTo>
                  <a:cubicBezTo>
                    <a:pt x="888" y="153"/>
                    <a:pt x="888" y="153"/>
                    <a:pt x="888" y="153"/>
                  </a:cubicBezTo>
                  <a:cubicBezTo>
                    <a:pt x="892" y="168"/>
                    <a:pt x="892" y="166"/>
                    <a:pt x="898" y="168"/>
                  </a:cubicBezTo>
                  <a:cubicBezTo>
                    <a:pt x="895" y="162"/>
                    <a:pt x="876" y="39"/>
                    <a:pt x="876" y="26"/>
                  </a:cubicBezTo>
                  <a:cubicBezTo>
                    <a:pt x="886" y="30"/>
                    <a:pt x="887" y="29"/>
                    <a:pt x="901" y="29"/>
                  </a:cubicBezTo>
                  <a:cubicBezTo>
                    <a:pt x="942" y="146"/>
                    <a:pt x="942" y="146"/>
                    <a:pt x="942" y="146"/>
                  </a:cubicBezTo>
                  <a:cubicBezTo>
                    <a:pt x="946" y="160"/>
                    <a:pt x="940" y="155"/>
                    <a:pt x="950" y="162"/>
                  </a:cubicBezTo>
                  <a:cubicBezTo>
                    <a:pt x="949" y="149"/>
                    <a:pt x="931" y="34"/>
                    <a:pt x="928" y="29"/>
                  </a:cubicBezTo>
                  <a:cubicBezTo>
                    <a:pt x="942" y="29"/>
                    <a:pt x="944" y="31"/>
                    <a:pt x="953" y="26"/>
                  </a:cubicBezTo>
                  <a:cubicBezTo>
                    <a:pt x="956" y="38"/>
                    <a:pt x="960" y="46"/>
                    <a:pt x="964" y="58"/>
                  </a:cubicBezTo>
                  <a:cubicBezTo>
                    <a:pt x="969" y="71"/>
                    <a:pt x="974" y="80"/>
                    <a:pt x="978" y="91"/>
                  </a:cubicBezTo>
                  <a:cubicBezTo>
                    <a:pt x="982" y="103"/>
                    <a:pt x="985" y="110"/>
                    <a:pt x="989" y="123"/>
                  </a:cubicBezTo>
                  <a:cubicBezTo>
                    <a:pt x="1003" y="156"/>
                    <a:pt x="1003" y="156"/>
                    <a:pt x="1003" y="156"/>
                  </a:cubicBezTo>
                  <a:cubicBezTo>
                    <a:pt x="1003" y="128"/>
                    <a:pt x="984" y="56"/>
                    <a:pt x="984" y="26"/>
                  </a:cubicBezTo>
                  <a:cubicBezTo>
                    <a:pt x="994" y="30"/>
                    <a:pt x="996" y="29"/>
                    <a:pt x="1009" y="29"/>
                  </a:cubicBezTo>
                  <a:cubicBezTo>
                    <a:pt x="1012" y="40"/>
                    <a:pt x="1049" y="143"/>
                    <a:pt x="1059" y="150"/>
                  </a:cubicBezTo>
                  <a:cubicBezTo>
                    <a:pt x="1037" y="26"/>
                    <a:pt x="1037" y="26"/>
                    <a:pt x="1037" y="26"/>
                  </a:cubicBezTo>
                  <a:cubicBezTo>
                    <a:pt x="1068" y="41"/>
                    <a:pt x="1050" y="0"/>
                    <a:pt x="1082" y="77"/>
                  </a:cubicBezTo>
                  <a:cubicBezTo>
                    <a:pt x="1087" y="87"/>
                    <a:pt x="1105" y="136"/>
                    <a:pt x="1112" y="144"/>
                  </a:cubicBezTo>
                  <a:cubicBezTo>
                    <a:pt x="1111" y="132"/>
                    <a:pt x="1093" y="36"/>
                    <a:pt x="1090" y="29"/>
                  </a:cubicBezTo>
                  <a:cubicBezTo>
                    <a:pt x="1118" y="29"/>
                    <a:pt x="1118" y="29"/>
                    <a:pt x="1118" y="29"/>
                  </a:cubicBezTo>
                  <a:cubicBezTo>
                    <a:pt x="1164" y="134"/>
                    <a:pt x="1164" y="134"/>
                    <a:pt x="1164" y="134"/>
                  </a:cubicBezTo>
                  <a:cubicBezTo>
                    <a:pt x="1163" y="100"/>
                    <a:pt x="1146" y="60"/>
                    <a:pt x="1146" y="26"/>
                  </a:cubicBezTo>
                  <a:cubicBezTo>
                    <a:pt x="1155" y="30"/>
                    <a:pt x="1157" y="29"/>
                    <a:pt x="1170" y="29"/>
                  </a:cubicBezTo>
                  <a:cubicBezTo>
                    <a:pt x="1179" y="45"/>
                    <a:pt x="1186" y="62"/>
                    <a:pt x="1194" y="80"/>
                  </a:cubicBezTo>
                  <a:cubicBezTo>
                    <a:pt x="1202" y="95"/>
                    <a:pt x="1208" y="119"/>
                    <a:pt x="1220" y="128"/>
                  </a:cubicBezTo>
                  <a:cubicBezTo>
                    <a:pt x="1212" y="95"/>
                    <a:pt x="1206" y="60"/>
                    <a:pt x="1198" y="26"/>
                  </a:cubicBezTo>
                  <a:cubicBezTo>
                    <a:pt x="1208" y="31"/>
                    <a:pt x="1212" y="29"/>
                    <a:pt x="1226" y="29"/>
                  </a:cubicBezTo>
                  <a:cubicBezTo>
                    <a:pt x="1227" y="36"/>
                    <a:pt x="1265" y="117"/>
                    <a:pt x="1272" y="122"/>
                  </a:cubicBezTo>
                  <a:cubicBezTo>
                    <a:pt x="1270" y="98"/>
                    <a:pt x="1254" y="50"/>
                    <a:pt x="1254" y="26"/>
                  </a:cubicBezTo>
                  <a:cubicBezTo>
                    <a:pt x="1263" y="31"/>
                    <a:pt x="1265" y="30"/>
                    <a:pt x="1278" y="30"/>
                  </a:cubicBezTo>
                  <a:cubicBezTo>
                    <a:pt x="1318" y="105"/>
                    <a:pt x="1318" y="105"/>
                    <a:pt x="1318" y="105"/>
                  </a:cubicBezTo>
                  <a:cubicBezTo>
                    <a:pt x="1320" y="109"/>
                    <a:pt x="1319" y="108"/>
                    <a:pt x="1321" y="111"/>
                  </a:cubicBezTo>
                  <a:cubicBezTo>
                    <a:pt x="1324" y="116"/>
                    <a:pt x="1322" y="113"/>
                    <a:pt x="1325" y="116"/>
                  </a:cubicBezTo>
                  <a:cubicBezTo>
                    <a:pt x="1324" y="94"/>
                    <a:pt x="1308" y="50"/>
                    <a:pt x="1306" y="26"/>
                  </a:cubicBezTo>
                  <a:cubicBezTo>
                    <a:pt x="1316" y="31"/>
                    <a:pt x="1320" y="30"/>
                    <a:pt x="1334" y="30"/>
                  </a:cubicBezTo>
                  <a:cubicBezTo>
                    <a:pt x="1336" y="40"/>
                    <a:pt x="1350" y="60"/>
                    <a:pt x="1356" y="70"/>
                  </a:cubicBezTo>
                  <a:cubicBezTo>
                    <a:pt x="1362" y="80"/>
                    <a:pt x="1373" y="104"/>
                    <a:pt x="1380" y="110"/>
                  </a:cubicBezTo>
                  <a:cubicBezTo>
                    <a:pt x="1376" y="90"/>
                    <a:pt x="1362" y="49"/>
                    <a:pt x="1362" y="30"/>
                  </a:cubicBezTo>
                  <a:cubicBezTo>
                    <a:pt x="1387" y="30"/>
                    <a:pt x="1387" y="30"/>
                    <a:pt x="1387" y="30"/>
                  </a:cubicBezTo>
                  <a:cubicBezTo>
                    <a:pt x="1395" y="42"/>
                    <a:pt x="1401" y="54"/>
                    <a:pt x="1409" y="66"/>
                  </a:cubicBezTo>
                  <a:cubicBezTo>
                    <a:pt x="1416" y="76"/>
                    <a:pt x="1426" y="95"/>
                    <a:pt x="1433" y="100"/>
                  </a:cubicBezTo>
                  <a:cubicBezTo>
                    <a:pt x="1415" y="26"/>
                    <a:pt x="1415" y="26"/>
                    <a:pt x="1415" y="26"/>
                  </a:cubicBezTo>
                  <a:cubicBezTo>
                    <a:pt x="1424" y="31"/>
                    <a:pt x="1429" y="30"/>
                    <a:pt x="1442" y="30"/>
                  </a:cubicBezTo>
                  <a:cubicBezTo>
                    <a:pt x="1486" y="94"/>
                    <a:pt x="1486" y="94"/>
                    <a:pt x="1486" y="94"/>
                  </a:cubicBezTo>
                  <a:cubicBezTo>
                    <a:pt x="1484" y="81"/>
                    <a:pt x="1472" y="40"/>
                    <a:pt x="1467" y="30"/>
                  </a:cubicBezTo>
                  <a:cubicBezTo>
                    <a:pt x="1498" y="30"/>
                    <a:pt x="1498" y="30"/>
                    <a:pt x="1498" y="30"/>
                  </a:cubicBezTo>
                  <a:cubicBezTo>
                    <a:pt x="1501" y="41"/>
                    <a:pt x="1533" y="81"/>
                    <a:pt x="1538" y="85"/>
                  </a:cubicBezTo>
                  <a:cubicBezTo>
                    <a:pt x="1536" y="66"/>
                    <a:pt x="1524" y="45"/>
                    <a:pt x="1522" y="26"/>
                  </a:cubicBezTo>
                  <a:cubicBezTo>
                    <a:pt x="1547" y="38"/>
                    <a:pt x="1540" y="16"/>
                    <a:pt x="1564" y="47"/>
                  </a:cubicBezTo>
                  <a:cubicBezTo>
                    <a:pt x="1570" y="55"/>
                    <a:pt x="1588" y="78"/>
                    <a:pt x="1594" y="82"/>
                  </a:cubicBezTo>
                  <a:cubicBezTo>
                    <a:pt x="1590" y="67"/>
                    <a:pt x="1582" y="42"/>
                    <a:pt x="1575" y="30"/>
                  </a:cubicBezTo>
                  <a:cubicBezTo>
                    <a:pt x="1615" y="30"/>
                    <a:pt x="1615" y="30"/>
                    <a:pt x="1615" y="30"/>
                  </a:cubicBezTo>
                  <a:cubicBezTo>
                    <a:pt x="1626" y="50"/>
                    <a:pt x="1660" y="79"/>
                    <a:pt x="1678" y="97"/>
                  </a:cubicBezTo>
                  <a:cubicBezTo>
                    <a:pt x="1699" y="118"/>
                    <a:pt x="1726" y="139"/>
                    <a:pt x="1751" y="156"/>
                  </a:cubicBezTo>
                  <a:cubicBezTo>
                    <a:pt x="1790" y="183"/>
                    <a:pt x="1870" y="236"/>
                    <a:pt x="1933" y="236"/>
                  </a:cubicBezTo>
                  <a:cubicBezTo>
                    <a:pt x="1927" y="211"/>
                    <a:pt x="1840" y="34"/>
                    <a:pt x="1781" y="13"/>
                  </a:cubicBezTo>
                  <a:cubicBezTo>
                    <a:pt x="149" y="13"/>
                    <a:pt x="149" y="13"/>
                    <a:pt x="149" y="13"/>
                  </a:cubicBezTo>
                  <a:cubicBezTo>
                    <a:pt x="167" y="16"/>
                    <a:pt x="184" y="17"/>
                    <a:pt x="199" y="17"/>
                  </a:cubicBezTo>
                  <a:cubicBezTo>
                    <a:pt x="162" y="43"/>
                    <a:pt x="100" y="28"/>
                    <a:pt x="63" y="13"/>
                  </a:cubicBezTo>
                  <a:cubicBezTo>
                    <a:pt x="0" y="13"/>
                    <a:pt x="0" y="13"/>
                    <a:pt x="0" y="13"/>
                  </a:cubicBezTo>
                  <a:cubicBezTo>
                    <a:pt x="26" y="37"/>
                    <a:pt x="57" y="58"/>
                    <a:pt x="80" y="71"/>
                  </a:cubicBezTo>
                  <a:cubicBezTo>
                    <a:pt x="201" y="135"/>
                    <a:pt x="201" y="135"/>
                    <a:pt x="201" y="135"/>
                  </a:cubicBezTo>
                  <a:cubicBezTo>
                    <a:pt x="209" y="139"/>
                    <a:pt x="214" y="140"/>
                    <a:pt x="222" y="144"/>
                  </a:cubicBezTo>
                  <a:cubicBezTo>
                    <a:pt x="291" y="176"/>
                    <a:pt x="348" y="207"/>
                    <a:pt x="436" y="211"/>
                  </a:cubicBezTo>
                  <a:cubicBezTo>
                    <a:pt x="482" y="214"/>
                    <a:pt x="489" y="225"/>
                    <a:pt x="489" y="146"/>
                  </a:cubicBezTo>
                  <a:cubicBezTo>
                    <a:pt x="489" y="124"/>
                    <a:pt x="489" y="104"/>
                    <a:pt x="486" y="87"/>
                  </a:cubicBezTo>
                  <a:cubicBezTo>
                    <a:pt x="483" y="62"/>
                    <a:pt x="489" y="48"/>
                    <a:pt x="489" y="26"/>
                  </a:cubicBezTo>
                  <a:cubicBezTo>
                    <a:pt x="499" y="31"/>
                    <a:pt x="508" y="29"/>
                    <a:pt x="523" y="29"/>
                  </a:cubicBezTo>
                  <a:cubicBezTo>
                    <a:pt x="530" y="60"/>
                    <a:pt x="540" y="91"/>
                    <a:pt x="548" y="122"/>
                  </a:cubicBezTo>
                  <a:cubicBezTo>
                    <a:pt x="552" y="138"/>
                    <a:pt x="556" y="152"/>
                    <a:pt x="560" y="168"/>
                  </a:cubicBezTo>
                  <a:cubicBezTo>
                    <a:pt x="563" y="181"/>
                    <a:pt x="566" y="204"/>
                    <a:pt x="576" y="212"/>
                  </a:cubicBezTo>
                  <a:cubicBezTo>
                    <a:pt x="568" y="180"/>
                    <a:pt x="554" y="59"/>
                    <a:pt x="554" y="26"/>
                  </a:cubicBezTo>
                  <a:cubicBezTo>
                    <a:pt x="564" y="31"/>
                    <a:pt x="566" y="31"/>
                    <a:pt x="576" y="26"/>
                  </a:cubicBezTo>
                  <a:cubicBezTo>
                    <a:pt x="622" y="196"/>
                    <a:pt x="622" y="196"/>
                    <a:pt x="622" y="196"/>
                  </a:cubicBezTo>
                  <a:cubicBezTo>
                    <a:pt x="625" y="202"/>
                    <a:pt x="624" y="200"/>
                    <a:pt x="628" y="206"/>
                  </a:cubicBezTo>
                  <a:cubicBezTo>
                    <a:pt x="628" y="194"/>
                    <a:pt x="624" y="173"/>
                    <a:pt x="622" y="162"/>
                  </a:cubicBezTo>
                  <a:cubicBezTo>
                    <a:pt x="618" y="130"/>
                    <a:pt x="606" y="55"/>
                    <a:pt x="606" y="27"/>
                  </a:cubicBezTo>
                  <a:cubicBezTo>
                    <a:pt x="616" y="31"/>
                    <a:pt x="618" y="30"/>
                    <a:pt x="631" y="30"/>
                  </a:cubicBezTo>
                  <a:cubicBezTo>
                    <a:pt x="633" y="56"/>
                    <a:pt x="648" y="89"/>
                    <a:pt x="655" y="114"/>
                  </a:cubicBezTo>
                  <a:cubicBezTo>
                    <a:pt x="659" y="130"/>
                    <a:pt x="662" y="140"/>
                    <a:pt x="666" y="155"/>
                  </a:cubicBezTo>
                  <a:cubicBezTo>
                    <a:pt x="669" y="164"/>
                    <a:pt x="671" y="168"/>
                    <a:pt x="673" y="176"/>
                  </a:cubicBezTo>
                  <a:cubicBezTo>
                    <a:pt x="681" y="197"/>
                    <a:pt x="681" y="197"/>
                    <a:pt x="681" y="197"/>
                  </a:cubicBezTo>
                  <a:cubicBezTo>
                    <a:pt x="681" y="182"/>
                    <a:pt x="662" y="35"/>
                    <a:pt x="659" y="30"/>
                  </a:cubicBezTo>
                  <a:cubicBezTo>
                    <a:pt x="672" y="30"/>
                    <a:pt x="674" y="32"/>
                    <a:pt x="684" y="27"/>
                  </a:cubicBezTo>
                  <a:cubicBezTo>
                    <a:pt x="689" y="47"/>
                    <a:pt x="720" y="157"/>
                    <a:pt x="730" y="181"/>
                  </a:cubicBezTo>
                  <a:cubicBezTo>
                    <a:pt x="733" y="189"/>
                    <a:pt x="730" y="182"/>
                    <a:pt x="733" y="186"/>
                  </a:cubicBezTo>
                  <a:close/>
                </a:path>
              </a:pathLst>
            </a:custGeom>
            <a:solidFill>
              <a:srgbClr val="2159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cs typeface="+mn-cs"/>
              </a:endParaRPr>
            </a:p>
          </p:txBody>
        </p:sp>
        <p:sp>
          <p:nvSpPr>
            <p:cNvPr id="104" name="Freeform 7">
              <a:extLst>
                <a:ext uri="{FF2B5EF4-FFF2-40B4-BE49-F238E27FC236}">
                  <a16:creationId xmlns:a16="http://schemas.microsoft.com/office/drawing/2014/main" id="{99544922-D9F7-4FC7-B457-DEC933F0A2B5}"/>
                </a:ext>
              </a:extLst>
            </p:cNvPr>
            <p:cNvSpPr>
              <a:spLocks/>
            </p:cNvSpPr>
            <p:nvPr/>
          </p:nvSpPr>
          <p:spPr bwMode="auto">
            <a:xfrm>
              <a:off x="5420" y="2313"/>
              <a:ext cx="8" cy="11"/>
            </a:xfrm>
            <a:custGeom>
              <a:avLst/>
              <a:gdLst>
                <a:gd name="T0" fmla="*/ 0 w 8"/>
                <a:gd name="T1" fmla="*/ 0 h 11"/>
                <a:gd name="T2" fmla="*/ 0 w 8"/>
                <a:gd name="T3" fmla="*/ 11 h 11"/>
                <a:gd name="T4" fmla="*/ 8 w 8"/>
                <a:gd name="T5" fmla="*/ 3 h 11"/>
                <a:gd name="T6" fmla="*/ 0 w 8"/>
                <a:gd name="T7" fmla="*/ 0 h 11"/>
              </a:gdLst>
              <a:ahLst/>
              <a:cxnLst>
                <a:cxn ang="0">
                  <a:pos x="T0" y="T1"/>
                </a:cxn>
                <a:cxn ang="0">
                  <a:pos x="T2" y="T3"/>
                </a:cxn>
                <a:cxn ang="0">
                  <a:pos x="T4" y="T5"/>
                </a:cxn>
                <a:cxn ang="0">
                  <a:pos x="T6" y="T7"/>
                </a:cxn>
              </a:cxnLst>
              <a:rect l="0" t="0" r="r" b="b"/>
              <a:pathLst>
                <a:path w="8" h="11">
                  <a:moveTo>
                    <a:pt x="0" y="0"/>
                  </a:moveTo>
                  <a:lnTo>
                    <a:pt x="0" y="11"/>
                  </a:lnTo>
                  <a:lnTo>
                    <a:pt x="8" y="3"/>
                  </a:lnTo>
                  <a:lnTo>
                    <a:pt x="0" y="0"/>
                  </a:lnTo>
                  <a:close/>
                </a:path>
              </a:pathLst>
            </a:custGeom>
            <a:solidFill>
              <a:srgbClr val="0C0D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cs typeface="+mn-cs"/>
              </a:endParaRPr>
            </a:p>
          </p:txBody>
        </p:sp>
        <p:sp>
          <p:nvSpPr>
            <p:cNvPr id="105" name="Freeform 8">
              <a:extLst>
                <a:ext uri="{FF2B5EF4-FFF2-40B4-BE49-F238E27FC236}">
                  <a16:creationId xmlns:a16="http://schemas.microsoft.com/office/drawing/2014/main" id="{75294FF4-A8CC-4D8D-AD62-078047B55EB4}"/>
                </a:ext>
              </a:extLst>
            </p:cNvPr>
            <p:cNvSpPr>
              <a:spLocks/>
            </p:cNvSpPr>
            <p:nvPr/>
          </p:nvSpPr>
          <p:spPr bwMode="auto">
            <a:xfrm>
              <a:off x="3277" y="2587"/>
              <a:ext cx="8" cy="11"/>
            </a:xfrm>
            <a:custGeom>
              <a:avLst/>
              <a:gdLst>
                <a:gd name="T0" fmla="*/ 0 w 8"/>
                <a:gd name="T1" fmla="*/ 0 h 11"/>
                <a:gd name="T2" fmla="*/ 0 w 8"/>
                <a:gd name="T3" fmla="*/ 11 h 11"/>
                <a:gd name="T4" fmla="*/ 8 w 8"/>
                <a:gd name="T5" fmla="*/ 3 h 11"/>
                <a:gd name="T6" fmla="*/ 0 w 8"/>
                <a:gd name="T7" fmla="*/ 0 h 11"/>
              </a:gdLst>
              <a:ahLst/>
              <a:cxnLst>
                <a:cxn ang="0">
                  <a:pos x="T0" y="T1"/>
                </a:cxn>
                <a:cxn ang="0">
                  <a:pos x="T2" y="T3"/>
                </a:cxn>
                <a:cxn ang="0">
                  <a:pos x="T4" y="T5"/>
                </a:cxn>
                <a:cxn ang="0">
                  <a:pos x="T6" y="T7"/>
                </a:cxn>
              </a:cxnLst>
              <a:rect l="0" t="0" r="r" b="b"/>
              <a:pathLst>
                <a:path w="8" h="11">
                  <a:moveTo>
                    <a:pt x="0" y="0"/>
                  </a:moveTo>
                  <a:lnTo>
                    <a:pt x="0" y="11"/>
                  </a:lnTo>
                  <a:lnTo>
                    <a:pt x="8" y="3"/>
                  </a:lnTo>
                  <a:lnTo>
                    <a:pt x="0" y="0"/>
                  </a:lnTo>
                  <a:close/>
                </a:path>
              </a:pathLst>
            </a:custGeom>
            <a:solidFill>
              <a:srgbClr val="A2A1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cs typeface="+mn-cs"/>
              </a:endParaRPr>
            </a:p>
          </p:txBody>
        </p:sp>
        <p:sp>
          <p:nvSpPr>
            <p:cNvPr id="106" name="Freeform 9">
              <a:extLst>
                <a:ext uri="{FF2B5EF4-FFF2-40B4-BE49-F238E27FC236}">
                  <a16:creationId xmlns:a16="http://schemas.microsoft.com/office/drawing/2014/main" id="{D8847BAB-2FD5-4EE7-9EA4-B4809598FDB5}"/>
                </a:ext>
              </a:extLst>
            </p:cNvPr>
            <p:cNvSpPr>
              <a:spLocks/>
            </p:cNvSpPr>
            <p:nvPr/>
          </p:nvSpPr>
          <p:spPr bwMode="auto">
            <a:xfrm>
              <a:off x="1905" y="1650"/>
              <a:ext cx="520" cy="464"/>
            </a:xfrm>
            <a:custGeom>
              <a:avLst/>
              <a:gdLst>
                <a:gd name="T0" fmla="*/ 76 w 195"/>
                <a:gd name="T1" fmla="*/ 29 h 173"/>
                <a:gd name="T2" fmla="*/ 118 w 195"/>
                <a:gd name="T3" fmla="*/ 145 h 173"/>
                <a:gd name="T4" fmla="*/ 76 w 195"/>
                <a:gd name="T5" fmla="*/ 29 h 173"/>
              </a:gdLst>
              <a:ahLst/>
              <a:cxnLst>
                <a:cxn ang="0">
                  <a:pos x="T0" y="T1"/>
                </a:cxn>
                <a:cxn ang="0">
                  <a:pos x="T2" y="T3"/>
                </a:cxn>
                <a:cxn ang="0">
                  <a:pos x="T4" y="T5"/>
                </a:cxn>
              </a:cxnLst>
              <a:rect l="0" t="0" r="r" b="b"/>
              <a:pathLst>
                <a:path w="195" h="173">
                  <a:moveTo>
                    <a:pt x="76" y="29"/>
                  </a:moveTo>
                  <a:cubicBezTo>
                    <a:pt x="0" y="59"/>
                    <a:pt x="45" y="173"/>
                    <a:pt x="118" y="145"/>
                  </a:cubicBezTo>
                  <a:cubicBezTo>
                    <a:pt x="195" y="116"/>
                    <a:pt x="151" y="0"/>
                    <a:pt x="76" y="29"/>
                  </a:cubicBezTo>
                  <a:close/>
                </a:path>
              </a:pathLst>
            </a:custGeom>
            <a:solidFill>
              <a:srgbClr val="FEFE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cs typeface="+mn-cs"/>
              </a:endParaRPr>
            </a:p>
          </p:txBody>
        </p:sp>
        <p:sp>
          <p:nvSpPr>
            <p:cNvPr id="107" name="Freeform 10">
              <a:extLst>
                <a:ext uri="{FF2B5EF4-FFF2-40B4-BE49-F238E27FC236}">
                  <a16:creationId xmlns:a16="http://schemas.microsoft.com/office/drawing/2014/main" id="{0611FC2D-8DDB-484B-8144-026D85170D16}"/>
                </a:ext>
              </a:extLst>
            </p:cNvPr>
            <p:cNvSpPr>
              <a:spLocks/>
            </p:cNvSpPr>
            <p:nvPr/>
          </p:nvSpPr>
          <p:spPr bwMode="auto">
            <a:xfrm>
              <a:off x="1987" y="1717"/>
              <a:ext cx="361" cy="333"/>
            </a:xfrm>
            <a:custGeom>
              <a:avLst/>
              <a:gdLst>
                <a:gd name="T0" fmla="*/ 57 w 135"/>
                <a:gd name="T1" fmla="*/ 16 h 124"/>
                <a:gd name="T2" fmla="*/ 79 w 135"/>
                <a:gd name="T3" fmla="*/ 110 h 124"/>
                <a:gd name="T4" fmla="*/ 57 w 135"/>
                <a:gd name="T5" fmla="*/ 16 h 124"/>
              </a:gdLst>
              <a:ahLst/>
              <a:cxnLst>
                <a:cxn ang="0">
                  <a:pos x="T0" y="T1"/>
                </a:cxn>
                <a:cxn ang="0">
                  <a:pos x="T2" y="T3"/>
                </a:cxn>
                <a:cxn ang="0">
                  <a:pos x="T4" y="T5"/>
                </a:cxn>
              </a:cxnLst>
              <a:rect l="0" t="0" r="r" b="b"/>
              <a:pathLst>
                <a:path w="135" h="124">
                  <a:moveTo>
                    <a:pt x="57" y="16"/>
                  </a:moveTo>
                  <a:cubicBezTo>
                    <a:pt x="0" y="30"/>
                    <a:pt x="12" y="124"/>
                    <a:pt x="79" y="110"/>
                  </a:cubicBezTo>
                  <a:cubicBezTo>
                    <a:pt x="135" y="98"/>
                    <a:pt x="119" y="0"/>
                    <a:pt x="57" y="16"/>
                  </a:cubicBezTo>
                  <a:close/>
                </a:path>
              </a:pathLst>
            </a:custGeom>
            <a:solidFill>
              <a:srgbClr val="A88F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cs typeface="+mn-cs"/>
              </a:endParaRPr>
            </a:p>
          </p:txBody>
        </p:sp>
      </p:grpSp>
      <p:grpSp>
        <p:nvGrpSpPr>
          <p:cNvPr id="109" name="Group 13">
            <a:extLst>
              <a:ext uri="{FF2B5EF4-FFF2-40B4-BE49-F238E27FC236}">
                <a16:creationId xmlns:a16="http://schemas.microsoft.com/office/drawing/2014/main" id="{D06B9F34-559E-4220-8F7A-A04B2BF63DBA}"/>
              </a:ext>
            </a:extLst>
          </p:cNvPr>
          <p:cNvGrpSpPr>
            <a:grpSpLocks noChangeAspect="1"/>
          </p:cNvGrpSpPr>
          <p:nvPr/>
        </p:nvGrpSpPr>
        <p:grpSpPr bwMode="auto">
          <a:xfrm>
            <a:off x="6910775" y="1822382"/>
            <a:ext cx="3881027" cy="1187615"/>
            <a:chOff x="876" y="1256"/>
            <a:chExt cx="5928" cy="1814"/>
          </a:xfrm>
        </p:grpSpPr>
        <p:sp>
          <p:nvSpPr>
            <p:cNvPr id="111" name="Freeform 14">
              <a:extLst>
                <a:ext uri="{FF2B5EF4-FFF2-40B4-BE49-F238E27FC236}">
                  <a16:creationId xmlns:a16="http://schemas.microsoft.com/office/drawing/2014/main" id="{6E010EEB-209E-4907-BEBC-66F7B83F4041}"/>
                </a:ext>
              </a:extLst>
            </p:cNvPr>
            <p:cNvSpPr>
              <a:spLocks/>
            </p:cNvSpPr>
            <p:nvPr/>
          </p:nvSpPr>
          <p:spPr bwMode="auto">
            <a:xfrm>
              <a:off x="876" y="1256"/>
              <a:ext cx="5928" cy="1814"/>
            </a:xfrm>
            <a:custGeom>
              <a:avLst/>
              <a:gdLst>
                <a:gd name="T0" fmla="*/ 103 w 2221"/>
                <a:gd name="T1" fmla="*/ 488 h 677"/>
                <a:gd name="T2" fmla="*/ 0 w 2221"/>
                <a:gd name="T3" fmla="*/ 600 h 677"/>
                <a:gd name="T4" fmla="*/ 358 w 2221"/>
                <a:gd name="T5" fmla="*/ 462 h 677"/>
                <a:gd name="T6" fmla="*/ 476 w 2221"/>
                <a:gd name="T7" fmla="*/ 451 h 677"/>
                <a:gd name="T8" fmla="*/ 535 w 2221"/>
                <a:gd name="T9" fmla="*/ 434 h 677"/>
                <a:gd name="T10" fmla="*/ 560 w 2221"/>
                <a:gd name="T11" fmla="*/ 439 h 677"/>
                <a:gd name="T12" fmla="*/ 585 w 2221"/>
                <a:gd name="T13" fmla="*/ 467 h 677"/>
                <a:gd name="T14" fmla="*/ 637 w 2221"/>
                <a:gd name="T15" fmla="*/ 456 h 677"/>
                <a:gd name="T16" fmla="*/ 663 w 2221"/>
                <a:gd name="T17" fmla="*/ 463 h 677"/>
                <a:gd name="T18" fmla="*/ 690 w 2221"/>
                <a:gd name="T19" fmla="*/ 485 h 677"/>
                <a:gd name="T20" fmla="*/ 722 w 2221"/>
                <a:gd name="T21" fmla="*/ 478 h 677"/>
                <a:gd name="T22" fmla="*/ 739 w 2221"/>
                <a:gd name="T23" fmla="*/ 498 h 677"/>
                <a:gd name="T24" fmla="*/ 774 w 2221"/>
                <a:gd name="T25" fmla="*/ 527 h 677"/>
                <a:gd name="T26" fmla="*/ 1011 w 2221"/>
                <a:gd name="T27" fmla="*/ 563 h 677"/>
                <a:gd name="T28" fmla="*/ 1499 w 2221"/>
                <a:gd name="T29" fmla="*/ 599 h 677"/>
                <a:gd name="T30" fmla="*/ 1511 w 2221"/>
                <a:gd name="T31" fmla="*/ 669 h 677"/>
                <a:gd name="T32" fmla="*/ 1657 w 2221"/>
                <a:gd name="T33" fmla="*/ 596 h 677"/>
                <a:gd name="T34" fmla="*/ 2029 w 2221"/>
                <a:gd name="T35" fmla="*/ 503 h 677"/>
                <a:gd name="T36" fmla="*/ 2221 w 2221"/>
                <a:gd name="T37" fmla="*/ 409 h 677"/>
                <a:gd name="T38" fmla="*/ 2124 w 2221"/>
                <a:gd name="T39" fmla="*/ 416 h 677"/>
                <a:gd name="T40" fmla="*/ 2220 w 2221"/>
                <a:gd name="T41" fmla="*/ 367 h 677"/>
                <a:gd name="T42" fmla="*/ 2121 w 2221"/>
                <a:gd name="T43" fmla="*/ 295 h 677"/>
                <a:gd name="T44" fmla="*/ 1715 w 2221"/>
                <a:gd name="T45" fmla="*/ 209 h 677"/>
                <a:gd name="T46" fmla="*/ 1627 w 2221"/>
                <a:gd name="T47" fmla="*/ 108 h 677"/>
                <a:gd name="T48" fmla="*/ 1537 w 2221"/>
                <a:gd name="T49" fmla="*/ 9 h 677"/>
                <a:gd name="T50" fmla="*/ 1503 w 2221"/>
                <a:gd name="T51" fmla="*/ 29 h 677"/>
                <a:gd name="T52" fmla="*/ 1448 w 2221"/>
                <a:gd name="T53" fmla="*/ 87 h 677"/>
                <a:gd name="T54" fmla="*/ 1382 w 2221"/>
                <a:gd name="T55" fmla="*/ 136 h 677"/>
                <a:gd name="T56" fmla="*/ 1329 w 2221"/>
                <a:gd name="T57" fmla="*/ 189 h 677"/>
                <a:gd name="T58" fmla="*/ 1184 w 2221"/>
                <a:gd name="T59" fmla="*/ 215 h 677"/>
                <a:gd name="T60" fmla="*/ 952 w 2221"/>
                <a:gd name="T61" fmla="*/ 138 h 677"/>
                <a:gd name="T62" fmla="*/ 775 w 2221"/>
                <a:gd name="T63" fmla="*/ 268 h 677"/>
                <a:gd name="T64" fmla="*/ 741 w 2221"/>
                <a:gd name="T65" fmla="*/ 300 h 677"/>
                <a:gd name="T66" fmla="*/ 708 w 2221"/>
                <a:gd name="T67" fmla="*/ 306 h 677"/>
                <a:gd name="T68" fmla="*/ 685 w 2221"/>
                <a:gd name="T69" fmla="*/ 313 h 677"/>
                <a:gd name="T70" fmla="*/ 628 w 2221"/>
                <a:gd name="T71" fmla="*/ 297 h 677"/>
                <a:gd name="T72" fmla="*/ 562 w 2221"/>
                <a:gd name="T73" fmla="*/ 312 h 677"/>
                <a:gd name="T74" fmla="*/ 531 w 2221"/>
                <a:gd name="T75" fmla="*/ 337 h 677"/>
                <a:gd name="T76" fmla="*/ 485 w 2221"/>
                <a:gd name="T77" fmla="*/ 343 h 677"/>
                <a:gd name="T78" fmla="*/ 452 w 2221"/>
                <a:gd name="T79" fmla="*/ 328 h 677"/>
                <a:gd name="T80" fmla="*/ 258 w 2221"/>
                <a:gd name="T81" fmla="*/ 238 h 677"/>
                <a:gd name="T82" fmla="*/ 59 w 2221"/>
                <a:gd name="T83" fmla="*/ 139 h 677"/>
                <a:gd name="T84" fmla="*/ 177 w 2221"/>
                <a:gd name="T85" fmla="*/ 341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221" h="677">
                  <a:moveTo>
                    <a:pt x="227" y="386"/>
                  </a:moveTo>
                  <a:cubicBezTo>
                    <a:pt x="166" y="417"/>
                    <a:pt x="139" y="444"/>
                    <a:pt x="103" y="488"/>
                  </a:cubicBezTo>
                  <a:cubicBezTo>
                    <a:pt x="81" y="516"/>
                    <a:pt x="61" y="555"/>
                    <a:pt x="35" y="576"/>
                  </a:cubicBezTo>
                  <a:cubicBezTo>
                    <a:pt x="28" y="582"/>
                    <a:pt x="3" y="595"/>
                    <a:pt x="0" y="600"/>
                  </a:cubicBezTo>
                  <a:cubicBezTo>
                    <a:pt x="19" y="611"/>
                    <a:pt x="97" y="585"/>
                    <a:pt x="124" y="576"/>
                  </a:cubicBezTo>
                  <a:cubicBezTo>
                    <a:pt x="209" y="547"/>
                    <a:pt x="279" y="503"/>
                    <a:pt x="358" y="462"/>
                  </a:cubicBezTo>
                  <a:cubicBezTo>
                    <a:pt x="395" y="443"/>
                    <a:pt x="439" y="422"/>
                    <a:pt x="477" y="429"/>
                  </a:cubicBezTo>
                  <a:cubicBezTo>
                    <a:pt x="481" y="441"/>
                    <a:pt x="477" y="443"/>
                    <a:pt x="476" y="451"/>
                  </a:cubicBezTo>
                  <a:cubicBezTo>
                    <a:pt x="485" y="447"/>
                    <a:pt x="498" y="432"/>
                    <a:pt x="503" y="431"/>
                  </a:cubicBezTo>
                  <a:cubicBezTo>
                    <a:pt x="507" y="430"/>
                    <a:pt x="529" y="434"/>
                    <a:pt x="535" y="434"/>
                  </a:cubicBezTo>
                  <a:cubicBezTo>
                    <a:pt x="537" y="443"/>
                    <a:pt x="533" y="449"/>
                    <a:pt x="531" y="454"/>
                  </a:cubicBezTo>
                  <a:cubicBezTo>
                    <a:pt x="541" y="451"/>
                    <a:pt x="554" y="439"/>
                    <a:pt x="560" y="439"/>
                  </a:cubicBezTo>
                  <a:cubicBezTo>
                    <a:pt x="565" y="438"/>
                    <a:pt x="585" y="443"/>
                    <a:pt x="589" y="445"/>
                  </a:cubicBezTo>
                  <a:cubicBezTo>
                    <a:pt x="593" y="451"/>
                    <a:pt x="587" y="461"/>
                    <a:pt x="585" y="467"/>
                  </a:cubicBezTo>
                  <a:cubicBezTo>
                    <a:pt x="597" y="462"/>
                    <a:pt x="604" y="454"/>
                    <a:pt x="611" y="451"/>
                  </a:cubicBezTo>
                  <a:cubicBezTo>
                    <a:pt x="617" y="448"/>
                    <a:pt x="632" y="453"/>
                    <a:pt x="637" y="456"/>
                  </a:cubicBezTo>
                  <a:cubicBezTo>
                    <a:pt x="643" y="463"/>
                    <a:pt x="635" y="474"/>
                    <a:pt x="633" y="481"/>
                  </a:cubicBezTo>
                  <a:cubicBezTo>
                    <a:pt x="645" y="476"/>
                    <a:pt x="656" y="465"/>
                    <a:pt x="663" y="463"/>
                  </a:cubicBezTo>
                  <a:cubicBezTo>
                    <a:pt x="669" y="461"/>
                    <a:pt x="683" y="467"/>
                    <a:pt x="690" y="468"/>
                  </a:cubicBezTo>
                  <a:cubicBezTo>
                    <a:pt x="691" y="476"/>
                    <a:pt x="693" y="476"/>
                    <a:pt x="690" y="485"/>
                  </a:cubicBezTo>
                  <a:cubicBezTo>
                    <a:pt x="688" y="491"/>
                    <a:pt x="686" y="492"/>
                    <a:pt x="684" y="498"/>
                  </a:cubicBezTo>
                  <a:cubicBezTo>
                    <a:pt x="701" y="494"/>
                    <a:pt x="714" y="480"/>
                    <a:pt x="722" y="478"/>
                  </a:cubicBezTo>
                  <a:cubicBezTo>
                    <a:pt x="727" y="477"/>
                    <a:pt x="752" y="487"/>
                    <a:pt x="757" y="491"/>
                  </a:cubicBezTo>
                  <a:cubicBezTo>
                    <a:pt x="739" y="498"/>
                    <a:pt x="739" y="498"/>
                    <a:pt x="739" y="498"/>
                  </a:cubicBezTo>
                  <a:cubicBezTo>
                    <a:pt x="743" y="505"/>
                    <a:pt x="751" y="509"/>
                    <a:pt x="756" y="512"/>
                  </a:cubicBezTo>
                  <a:cubicBezTo>
                    <a:pt x="762" y="516"/>
                    <a:pt x="768" y="521"/>
                    <a:pt x="774" y="527"/>
                  </a:cubicBezTo>
                  <a:cubicBezTo>
                    <a:pt x="813" y="561"/>
                    <a:pt x="841" y="637"/>
                    <a:pt x="861" y="652"/>
                  </a:cubicBezTo>
                  <a:cubicBezTo>
                    <a:pt x="904" y="642"/>
                    <a:pt x="981" y="560"/>
                    <a:pt x="1011" y="563"/>
                  </a:cubicBezTo>
                  <a:cubicBezTo>
                    <a:pt x="1169" y="578"/>
                    <a:pt x="1295" y="597"/>
                    <a:pt x="1457" y="598"/>
                  </a:cubicBezTo>
                  <a:cubicBezTo>
                    <a:pt x="1469" y="598"/>
                    <a:pt x="1488" y="597"/>
                    <a:pt x="1499" y="599"/>
                  </a:cubicBezTo>
                  <a:cubicBezTo>
                    <a:pt x="1500" y="606"/>
                    <a:pt x="1498" y="613"/>
                    <a:pt x="1497" y="621"/>
                  </a:cubicBezTo>
                  <a:cubicBezTo>
                    <a:pt x="1497" y="637"/>
                    <a:pt x="1499" y="657"/>
                    <a:pt x="1511" y="669"/>
                  </a:cubicBezTo>
                  <a:cubicBezTo>
                    <a:pt x="1518" y="677"/>
                    <a:pt x="1523" y="676"/>
                    <a:pt x="1533" y="672"/>
                  </a:cubicBezTo>
                  <a:cubicBezTo>
                    <a:pt x="1574" y="658"/>
                    <a:pt x="1636" y="600"/>
                    <a:pt x="1657" y="596"/>
                  </a:cubicBezTo>
                  <a:cubicBezTo>
                    <a:pt x="1674" y="593"/>
                    <a:pt x="1692" y="589"/>
                    <a:pt x="1709" y="586"/>
                  </a:cubicBezTo>
                  <a:cubicBezTo>
                    <a:pt x="1806" y="565"/>
                    <a:pt x="1938" y="535"/>
                    <a:pt x="2029" y="503"/>
                  </a:cubicBezTo>
                  <a:cubicBezTo>
                    <a:pt x="2081" y="483"/>
                    <a:pt x="2135" y="465"/>
                    <a:pt x="2185" y="440"/>
                  </a:cubicBezTo>
                  <a:cubicBezTo>
                    <a:pt x="2199" y="433"/>
                    <a:pt x="2220" y="423"/>
                    <a:pt x="2221" y="409"/>
                  </a:cubicBezTo>
                  <a:cubicBezTo>
                    <a:pt x="2212" y="395"/>
                    <a:pt x="2191" y="403"/>
                    <a:pt x="2174" y="407"/>
                  </a:cubicBezTo>
                  <a:cubicBezTo>
                    <a:pt x="2155" y="413"/>
                    <a:pt x="2142" y="416"/>
                    <a:pt x="2124" y="416"/>
                  </a:cubicBezTo>
                  <a:cubicBezTo>
                    <a:pt x="2130" y="405"/>
                    <a:pt x="2152" y="391"/>
                    <a:pt x="2165" y="385"/>
                  </a:cubicBezTo>
                  <a:cubicBezTo>
                    <a:pt x="2181" y="377"/>
                    <a:pt x="2209" y="377"/>
                    <a:pt x="2220" y="367"/>
                  </a:cubicBezTo>
                  <a:cubicBezTo>
                    <a:pt x="2219" y="344"/>
                    <a:pt x="2159" y="313"/>
                    <a:pt x="2137" y="302"/>
                  </a:cubicBezTo>
                  <a:cubicBezTo>
                    <a:pt x="2131" y="299"/>
                    <a:pt x="2127" y="298"/>
                    <a:pt x="2121" y="295"/>
                  </a:cubicBezTo>
                  <a:cubicBezTo>
                    <a:pt x="2112" y="291"/>
                    <a:pt x="2111" y="291"/>
                    <a:pt x="2104" y="288"/>
                  </a:cubicBezTo>
                  <a:cubicBezTo>
                    <a:pt x="1983" y="240"/>
                    <a:pt x="1847" y="219"/>
                    <a:pt x="1715" y="209"/>
                  </a:cubicBezTo>
                  <a:cubicBezTo>
                    <a:pt x="1702" y="209"/>
                    <a:pt x="1687" y="208"/>
                    <a:pt x="1677" y="206"/>
                  </a:cubicBezTo>
                  <a:cubicBezTo>
                    <a:pt x="1665" y="192"/>
                    <a:pt x="1637" y="129"/>
                    <a:pt x="1627" y="108"/>
                  </a:cubicBezTo>
                  <a:cubicBezTo>
                    <a:pt x="1616" y="82"/>
                    <a:pt x="1592" y="19"/>
                    <a:pt x="1581" y="0"/>
                  </a:cubicBezTo>
                  <a:cubicBezTo>
                    <a:pt x="1566" y="18"/>
                    <a:pt x="1556" y="23"/>
                    <a:pt x="1537" y="9"/>
                  </a:cubicBezTo>
                  <a:cubicBezTo>
                    <a:pt x="1535" y="16"/>
                    <a:pt x="1535" y="24"/>
                    <a:pt x="1526" y="29"/>
                  </a:cubicBezTo>
                  <a:cubicBezTo>
                    <a:pt x="1518" y="34"/>
                    <a:pt x="1509" y="31"/>
                    <a:pt x="1503" y="29"/>
                  </a:cubicBezTo>
                  <a:cubicBezTo>
                    <a:pt x="1496" y="43"/>
                    <a:pt x="1509" y="57"/>
                    <a:pt x="1474" y="57"/>
                  </a:cubicBezTo>
                  <a:cubicBezTo>
                    <a:pt x="1470" y="72"/>
                    <a:pt x="1476" y="86"/>
                    <a:pt x="1448" y="87"/>
                  </a:cubicBezTo>
                  <a:cubicBezTo>
                    <a:pt x="1439" y="108"/>
                    <a:pt x="1445" y="110"/>
                    <a:pt x="1415" y="113"/>
                  </a:cubicBezTo>
                  <a:cubicBezTo>
                    <a:pt x="1413" y="133"/>
                    <a:pt x="1403" y="135"/>
                    <a:pt x="1382" y="136"/>
                  </a:cubicBezTo>
                  <a:cubicBezTo>
                    <a:pt x="1381" y="153"/>
                    <a:pt x="1373" y="160"/>
                    <a:pt x="1353" y="161"/>
                  </a:cubicBezTo>
                  <a:cubicBezTo>
                    <a:pt x="1349" y="179"/>
                    <a:pt x="1360" y="185"/>
                    <a:pt x="1329" y="189"/>
                  </a:cubicBezTo>
                  <a:cubicBezTo>
                    <a:pt x="1332" y="206"/>
                    <a:pt x="1332" y="206"/>
                    <a:pt x="1332" y="206"/>
                  </a:cubicBezTo>
                  <a:cubicBezTo>
                    <a:pt x="1184" y="215"/>
                    <a:pt x="1184" y="215"/>
                    <a:pt x="1184" y="215"/>
                  </a:cubicBezTo>
                  <a:cubicBezTo>
                    <a:pt x="1131" y="220"/>
                    <a:pt x="1079" y="229"/>
                    <a:pt x="1026" y="240"/>
                  </a:cubicBezTo>
                  <a:cubicBezTo>
                    <a:pt x="1003" y="220"/>
                    <a:pt x="967" y="170"/>
                    <a:pt x="952" y="138"/>
                  </a:cubicBezTo>
                  <a:cubicBezTo>
                    <a:pt x="941" y="145"/>
                    <a:pt x="926" y="185"/>
                    <a:pt x="885" y="214"/>
                  </a:cubicBezTo>
                  <a:cubicBezTo>
                    <a:pt x="847" y="242"/>
                    <a:pt x="818" y="249"/>
                    <a:pt x="775" y="268"/>
                  </a:cubicBezTo>
                  <a:cubicBezTo>
                    <a:pt x="780" y="277"/>
                    <a:pt x="789" y="277"/>
                    <a:pt x="795" y="287"/>
                  </a:cubicBezTo>
                  <a:cubicBezTo>
                    <a:pt x="783" y="290"/>
                    <a:pt x="751" y="299"/>
                    <a:pt x="741" y="300"/>
                  </a:cubicBezTo>
                  <a:cubicBezTo>
                    <a:pt x="731" y="300"/>
                    <a:pt x="716" y="284"/>
                    <a:pt x="699" y="284"/>
                  </a:cubicBezTo>
                  <a:cubicBezTo>
                    <a:pt x="704" y="292"/>
                    <a:pt x="709" y="297"/>
                    <a:pt x="708" y="306"/>
                  </a:cubicBezTo>
                  <a:cubicBezTo>
                    <a:pt x="707" y="307"/>
                    <a:pt x="707" y="307"/>
                    <a:pt x="707" y="307"/>
                  </a:cubicBezTo>
                  <a:cubicBezTo>
                    <a:pt x="706" y="311"/>
                    <a:pt x="689" y="312"/>
                    <a:pt x="685" y="313"/>
                  </a:cubicBezTo>
                  <a:cubicBezTo>
                    <a:pt x="681" y="313"/>
                    <a:pt x="666" y="317"/>
                    <a:pt x="662" y="317"/>
                  </a:cubicBezTo>
                  <a:cubicBezTo>
                    <a:pt x="656" y="316"/>
                    <a:pt x="641" y="301"/>
                    <a:pt x="628" y="297"/>
                  </a:cubicBezTo>
                  <a:cubicBezTo>
                    <a:pt x="639" y="322"/>
                    <a:pt x="635" y="322"/>
                    <a:pt x="614" y="326"/>
                  </a:cubicBezTo>
                  <a:cubicBezTo>
                    <a:pt x="566" y="334"/>
                    <a:pt x="599" y="325"/>
                    <a:pt x="562" y="312"/>
                  </a:cubicBezTo>
                  <a:cubicBezTo>
                    <a:pt x="569" y="331"/>
                    <a:pt x="569" y="333"/>
                    <a:pt x="549" y="336"/>
                  </a:cubicBezTo>
                  <a:cubicBezTo>
                    <a:pt x="545" y="336"/>
                    <a:pt x="535" y="338"/>
                    <a:pt x="531" y="337"/>
                  </a:cubicBezTo>
                  <a:cubicBezTo>
                    <a:pt x="523" y="336"/>
                    <a:pt x="517" y="322"/>
                    <a:pt x="503" y="321"/>
                  </a:cubicBezTo>
                  <a:cubicBezTo>
                    <a:pt x="514" y="345"/>
                    <a:pt x="506" y="341"/>
                    <a:pt x="485" y="343"/>
                  </a:cubicBezTo>
                  <a:cubicBezTo>
                    <a:pt x="470" y="343"/>
                    <a:pt x="466" y="341"/>
                    <a:pt x="453" y="327"/>
                  </a:cubicBezTo>
                  <a:cubicBezTo>
                    <a:pt x="452" y="327"/>
                    <a:pt x="452" y="327"/>
                    <a:pt x="452" y="328"/>
                  </a:cubicBezTo>
                  <a:cubicBezTo>
                    <a:pt x="453" y="342"/>
                    <a:pt x="453" y="342"/>
                    <a:pt x="453" y="342"/>
                  </a:cubicBezTo>
                  <a:cubicBezTo>
                    <a:pt x="395" y="358"/>
                    <a:pt x="316" y="275"/>
                    <a:pt x="258" y="238"/>
                  </a:cubicBezTo>
                  <a:cubicBezTo>
                    <a:pt x="163" y="182"/>
                    <a:pt x="163" y="182"/>
                    <a:pt x="163" y="182"/>
                  </a:cubicBezTo>
                  <a:cubicBezTo>
                    <a:pt x="151" y="176"/>
                    <a:pt x="72" y="139"/>
                    <a:pt x="59" y="139"/>
                  </a:cubicBezTo>
                  <a:cubicBezTo>
                    <a:pt x="69" y="161"/>
                    <a:pt x="88" y="179"/>
                    <a:pt x="99" y="205"/>
                  </a:cubicBezTo>
                  <a:cubicBezTo>
                    <a:pt x="126" y="267"/>
                    <a:pt x="126" y="287"/>
                    <a:pt x="177" y="341"/>
                  </a:cubicBezTo>
                  <a:cubicBezTo>
                    <a:pt x="186" y="353"/>
                    <a:pt x="227" y="386"/>
                    <a:pt x="227" y="386"/>
                  </a:cubicBezTo>
                  <a:close/>
                </a:path>
              </a:pathLst>
            </a:custGeom>
            <a:solidFill>
              <a:srgbClr val="799EA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cs typeface="+mn-cs"/>
              </a:endParaRPr>
            </a:p>
          </p:txBody>
        </p:sp>
        <p:sp>
          <p:nvSpPr>
            <p:cNvPr id="112" name="Freeform 15">
              <a:extLst>
                <a:ext uri="{FF2B5EF4-FFF2-40B4-BE49-F238E27FC236}">
                  <a16:creationId xmlns:a16="http://schemas.microsoft.com/office/drawing/2014/main" id="{39C24E20-747D-4B78-8DE9-A4BA9A254AE9}"/>
                </a:ext>
              </a:extLst>
            </p:cNvPr>
            <p:cNvSpPr>
              <a:spLocks/>
            </p:cNvSpPr>
            <p:nvPr/>
          </p:nvSpPr>
          <p:spPr bwMode="auto">
            <a:xfrm>
              <a:off x="1033" y="1259"/>
              <a:ext cx="5769" cy="1039"/>
            </a:xfrm>
            <a:custGeom>
              <a:avLst/>
              <a:gdLst>
                <a:gd name="T0" fmla="*/ 168 w 2161"/>
                <a:gd name="T1" fmla="*/ 385 h 388"/>
                <a:gd name="T2" fmla="*/ 162 w 2161"/>
                <a:gd name="T3" fmla="*/ 388 h 388"/>
                <a:gd name="T4" fmla="*/ 2099 w 2161"/>
                <a:gd name="T5" fmla="*/ 388 h 388"/>
                <a:gd name="T6" fmla="*/ 2106 w 2161"/>
                <a:gd name="T7" fmla="*/ 385 h 388"/>
                <a:gd name="T8" fmla="*/ 2161 w 2161"/>
                <a:gd name="T9" fmla="*/ 366 h 388"/>
                <a:gd name="T10" fmla="*/ 2078 w 2161"/>
                <a:gd name="T11" fmla="*/ 302 h 388"/>
                <a:gd name="T12" fmla="*/ 2062 w 2161"/>
                <a:gd name="T13" fmla="*/ 295 h 388"/>
                <a:gd name="T14" fmla="*/ 2045 w 2161"/>
                <a:gd name="T15" fmla="*/ 288 h 388"/>
                <a:gd name="T16" fmla="*/ 1656 w 2161"/>
                <a:gd name="T17" fmla="*/ 209 h 388"/>
                <a:gd name="T18" fmla="*/ 1618 w 2161"/>
                <a:gd name="T19" fmla="*/ 206 h 388"/>
                <a:gd name="T20" fmla="*/ 1568 w 2161"/>
                <a:gd name="T21" fmla="*/ 108 h 388"/>
                <a:gd name="T22" fmla="*/ 1522 w 2161"/>
                <a:gd name="T23" fmla="*/ 0 h 388"/>
                <a:gd name="T24" fmla="*/ 1478 w 2161"/>
                <a:gd name="T25" fmla="*/ 9 h 388"/>
                <a:gd name="T26" fmla="*/ 1467 w 2161"/>
                <a:gd name="T27" fmla="*/ 29 h 388"/>
                <a:gd name="T28" fmla="*/ 1444 w 2161"/>
                <a:gd name="T29" fmla="*/ 28 h 388"/>
                <a:gd name="T30" fmla="*/ 1415 w 2161"/>
                <a:gd name="T31" fmla="*/ 57 h 388"/>
                <a:gd name="T32" fmla="*/ 1389 w 2161"/>
                <a:gd name="T33" fmla="*/ 87 h 388"/>
                <a:gd name="T34" fmla="*/ 1356 w 2161"/>
                <a:gd name="T35" fmla="*/ 113 h 388"/>
                <a:gd name="T36" fmla="*/ 1323 w 2161"/>
                <a:gd name="T37" fmla="*/ 136 h 388"/>
                <a:gd name="T38" fmla="*/ 1294 w 2161"/>
                <a:gd name="T39" fmla="*/ 161 h 388"/>
                <a:gd name="T40" fmla="*/ 1270 w 2161"/>
                <a:gd name="T41" fmla="*/ 189 h 388"/>
                <a:gd name="T42" fmla="*/ 1273 w 2161"/>
                <a:gd name="T43" fmla="*/ 206 h 388"/>
                <a:gd name="T44" fmla="*/ 1125 w 2161"/>
                <a:gd name="T45" fmla="*/ 215 h 388"/>
                <a:gd name="T46" fmla="*/ 967 w 2161"/>
                <a:gd name="T47" fmla="*/ 240 h 388"/>
                <a:gd name="T48" fmla="*/ 893 w 2161"/>
                <a:gd name="T49" fmla="*/ 138 h 388"/>
                <a:gd name="T50" fmla="*/ 826 w 2161"/>
                <a:gd name="T51" fmla="*/ 214 h 388"/>
                <a:gd name="T52" fmla="*/ 716 w 2161"/>
                <a:gd name="T53" fmla="*/ 268 h 388"/>
                <a:gd name="T54" fmla="*/ 736 w 2161"/>
                <a:gd name="T55" fmla="*/ 287 h 388"/>
                <a:gd name="T56" fmla="*/ 682 w 2161"/>
                <a:gd name="T57" fmla="*/ 300 h 388"/>
                <a:gd name="T58" fmla="*/ 640 w 2161"/>
                <a:gd name="T59" fmla="*/ 284 h 388"/>
                <a:gd name="T60" fmla="*/ 649 w 2161"/>
                <a:gd name="T61" fmla="*/ 306 h 388"/>
                <a:gd name="T62" fmla="*/ 648 w 2161"/>
                <a:gd name="T63" fmla="*/ 307 h 388"/>
                <a:gd name="T64" fmla="*/ 626 w 2161"/>
                <a:gd name="T65" fmla="*/ 312 h 388"/>
                <a:gd name="T66" fmla="*/ 603 w 2161"/>
                <a:gd name="T67" fmla="*/ 316 h 388"/>
                <a:gd name="T68" fmla="*/ 569 w 2161"/>
                <a:gd name="T69" fmla="*/ 297 h 388"/>
                <a:gd name="T70" fmla="*/ 555 w 2161"/>
                <a:gd name="T71" fmla="*/ 326 h 388"/>
                <a:gd name="T72" fmla="*/ 503 w 2161"/>
                <a:gd name="T73" fmla="*/ 312 h 388"/>
                <a:gd name="T74" fmla="*/ 490 w 2161"/>
                <a:gd name="T75" fmla="*/ 336 h 388"/>
                <a:gd name="T76" fmla="*/ 472 w 2161"/>
                <a:gd name="T77" fmla="*/ 337 h 388"/>
                <a:gd name="T78" fmla="*/ 444 w 2161"/>
                <a:gd name="T79" fmla="*/ 321 h 388"/>
                <a:gd name="T80" fmla="*/ 426 w 2161"/>
                <a:gd name="T81" fmla="*/ 342 h 388"/>
                <a:gd name="T82" fmla="*/ 394 w 2161"/>
                <a:gd name="T83" fmla="*/ 326 h 388"/>
                <a:gd name="T84" fmla="*/ 393 w 2161"/>
                <a:gd name="T85" fmla="*/ 328 h 388"/>
                <a:gd name="T86" fmla="*/ 394 w 2161"/>
                <a:gd name="T87" fmla="*/ 342 h 388"/>
                <a:gd name="T88" fmla="*/ 199 w 2161"/>
                <a:gd name="T89" fmla="*/ 238 h 388"/>
                <a:gd name="T90" fmla="*/ 104 w 2161"/>
                <a:gd name="T91" fmla="*/ 182 h 388"/>
                <a:gd name="T92" fmla="*/ 0 w 2161"/>
                <a:gd name="T93" fmla="*/ 139 h 388"/>
                <a:gd name="T94" fmla="*/ 40 w 2161"/>
                <a:gd name="T95" fmla="*/ 205 h 388"/>
                <a:gd name="T96" fmla="*/ 118 w 2161"/>
                <a:gd name="T97" fmla="*/ 341 h 388"/>
                <a:gd name="T98" fmla="*/ 168 w 2161"/>
                <a:gd name="T99" fmla="*/ 385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61" h="388">
                  <a:moveTo>
                    <a:pt x="168" y="385"/>
                  </a:moveTo>
                  <a:cubicBezTo>
                    <a:pt x="166" y="386"/>
                    <a:pt x="164" y="387"/>
                    <a:pt x="162" y="388"/>
                  </a:cubicBezTo>
                  <a:cubicBezTo>
                    <a:pt x="2099" y="388"/>
                    <a:pt x="2099" y="388"/>
                    <a:pt x="2099" y="388"/>
                  </a:cubicBezTo>
                  <a:cubicBezTo>
                    <a:pt x="2101" y="387"/>
                    <a:pt x="2104" y="386"/>
                    <a:pt x="2106" y="385"/>
                  </a:cubicBezTo>
                  <a:cubicBezTo>
                    <a:pt x="2122" y="377"/>
                    <a:pt x="2150" y="377"/>
                    <a:pt x="2161" y="366"/>
                  </a:cubicBezTo>
                  <a:cubicBezTo>
                    <a:pt x="2160" y="344"/>
                    <a:pt x="2100" y="312"/>
                    <a:pt x="2078" y="302"/>
                  </a:cubicBezTo>
                  <a:cubicBezTo>
                    <a:pt x="2072" y="299"/>
                    <a:pt x="2068" y="298"/>
                    <a:pt x="2062" y="295"/>
                  </a:cubicBezTo>
                  <a:cubicBezTo>
                    <a:pt x="2053" y="290"/>
                    <a:pt x="2052" y="291"/>
                    <a:pt x="2045" y="288"/>
                  </a:cubicBezTo>
                  <a:cubicBezTo>
                    <a:pt x="1924" y="240"/>
                    <a:pt x="1787" y="219"/>
                    <a:pt x="1656" y="209"/>
                  </a:cubicBezTo>
                  <a:cubicBezTo>
                    <a:pt x="1643" y="208"/>
                    <a:pt x="1628" y="208"/>
                    <a:pt x="1618" y="206"/>
                  </a:cubicBezTo>
                  <a:cubicBezTo>
                    <a:pt x="1606" y="192"/>
                    <a:pt x="1578" y="129"/>
                    <a:pt x="1568" y="108"/>
                  </a:cubicBezTo>
                  <a:cubicBezTo>
                    <a:pt x="1557" y="82"/>
                    <a:pt x="1533" y="19"/>
                    <a:pt x="1522" y="0"/>
                  </a:cubicBezTo>
                  <a:cubicBezTo>
                    <a:pt x="1507" y="18"/>
                    <a:pt x="1497" y="22"/>
                    <a:pt x="1478" y="9"/>
                  </a:cubicBezTo>
                  <a:cubicBezTo>
                    <a:pt x="1476" y="16"/>
                    <a:pt x="1476" y="24"/>
                    <a:pt x="1467" y="29"/>
                  </a:cubicBezTo>
                  <a:cubicBezTo>
                    <a:pt x="1459" y="34"/>
                    <a:pt x="1450" y="31"/>
                    <a:pt x="1444" y="28"/>
                  </a:cubicBezTo>
                  <a:cubicBezTo>
                    <a:pt x="1437" y="43"/>
                    <a:pt x="1450" y="57"/>
                    <a:pt x="1415" y="57"/>
                  </a:cubicBezTo>
                  <a:cubicBezTo>
                    <a:pt x="1411" y="72"/>
                    <a:pt x="1417" y="86"/>
                    <a:pt x="1389" y="87"/>
                  </a:cubicBezTo>
                  <a:cubicBezTo>
                    <a:pt x="1380" y="108"/>
                    <a:pt x="1386" y="110"/>
                    <a:pt x="1356" y="113"/>
                  </a:cubicBezTo>
                  <a:cubicBezTo>
                    <a:pt x="1354" y="133"/>
                    <a:pt x="1344" y="135"/>
                    <a:pt x="1323" y="136"/>
                  </a:cubicBezTo>
                  <a:cubicBezTo>
                    <a:pt x="1322" y="153"/>
                    <a:pt x="1314" y="160"/>
                    <a:pt x="1294" y="161"/>
                  </a:cubicBezTo>
                  <a:cubicBezTo>
                    <a:pt x="1290" y="179"/>
                    <a:pt x="1301" y="185"/>
                    <a:pt x="1270" y="189"/>
                  </a:cubicBezTo>
                  <a:cubicBezTo>
                    <a:pt x="1273" y="206"/>
                    <a:pt x="1273" y="206"/>
                    <a:pt x="1273" y="206"/>
                  </a:cubicBezTo>
                  <a:cubicBezTo>
                    <a:pt x="1125" y="215"/>
                    <a:pt x="1125" y="215"/>
                    <a:pt x="1125" y="215"/>
                  </a:cubicBezTo>
                  <a:cubicBezTo>
                    <a:pt x="1072" y="220"/>
                    <a:pt x="1020" y="229"/>
                    <a:pt x="967" y="240"/>
                  </a:cubicBezTo>
                  <a:cubicBezTo>
                    <a:pt x="944" y="220"/>
                    <a:pt x="908" y="170"/>
                    <a:pt x="893" y="138"/>
                  </a:cubicBezTo>
                  <a:cubicBezTo>
                    <a:pt x="882" y="145"/>
                    <a:pt x="867" y="185"/>
                    <a:pt x="826" y="214"/>
                  </a:cubicBezTo>
                  <a:cubicBezTo>
                    <a:pt x="788" y="242"/>
                    <a:pt x="759" y="249"/>
                    <a:pt x="716" y="268"/>
                  </a:cubicBezTo>
                  <a:cubicBezTo>
                    <a:pt x="721" y="277"/>
                    <a:pt x="730" y="277"/>
                    <a:pt x="736" y="287"/>
                  </a:cubicBezTo>
                  <a:cubicBezTo>
                    <a:pt x="724" y="290"/>
                    <a:pt x="692" y="299"/>
                    <a:pt x="682" y="300"/>
                  </a:cubicBezTo>
                  <a:cubicBezTo>
                    <a:pt x="672" y="300"/>
                    <a:pt x="657" y="284"/>
                    <a:pt x="640" y="284"/>
                  </a:cubicBezTo>
                  <a:cubicBezTo>
                    <a:pt x="645" y="292"/>
                    <a:pt x="650" y="297"/>
                    <a:pt x="649" y="306"/>
                  </a:cubicBezTo>
                  <a:cubicBezTo>
                    <a:pt x="648" y="306"/>
                    <a:pt x="648" y="306"/>
                    <a:pt x="648" y="307"/>
                  </a:cubicBezTo>
                  <a:cubicBezTo>
                    <a:pt x="647" y="310"/>
                    <a:pt x="630" y="312"/>
                    <a:pt x="626" y="312"/>
                  </a:cubicBezTo>
                  <a:cubicBezTo>
                    <a:pt x="622" y="313"/>
                    <a:pt x="607" y="317"/>
                    <a:pt x="603" y="316"/>
                  </a:cubicBezTo>
                  <a:cubicBezTo>
                    <a:pt x="597" y="316"/>
                    <a:pt x="582" y="300"/>
                    <a:pt x="569" y="297"/>
                  </a:cubicBezTo>
                  <a:cubicBezTo>
                    <a:pt x="580" y="322"/>
                    <a:pt x="576" y="322"/>
                    <a:pt x="555" y="326"/>
                  </a:cubicBezTo>
                  <a:cubicBezTo>
                    <a:pt x="507" y="334"/>
                    <a:pt x="540" y="324"/>
                    <a:pt x="503" y="312"/>
                  </a:cubicBezTo>
                  <a:cubicBezTo>
                    <a:pt x="510" y="331"/>
                    <a:pt x="510" y="333"/>
                    <a:pt x="490" y="336"/>
                  </a:cubicBezTo>
                  <a:cubicBezTo>
                    <a:pt x="486" y="336"/>
                    <a:pt x="476" y="338"/>
                    <a:pt x="472" y="337"/>
                  </a:cubicBezTo>
                  <a:cubicBezTo>
                    <a:pt x="464" y="336"/>
                    <a:pt x="458" y="322"/>
                    <a:pt x="444" y="321"/>
                  </a:cubicBezTo>
                  <a:cubicBezTo>
                    <a:pt x="455" y="345"/>
                    <a:pt x="447" y="341"/>
                    <a:pt x="426" y="342"/>
                  </a:cubicBezTo>
                  <a:cubicBezTo>
                    <a:pt x="411" y="343"/>
                    <a:pt x="407" y="341"/>
                    <a:pt x="394" y="326"/>
                  </a:cubicBezTo>
                  <a:cubicBezTo>
                    <a:pt x="393" y="327"/>
                    <a:pt x="393" y="327"/>
                    <a:pt x="393" y="328"/>
                  </a:cubicBezTo>
                  <a:cubicBezTo>
                    <a:pt x="394" y="342"/>
                    <a:pt x="394" y="342"/>
                    <a:pt x="394" y="342"/>
                  </a:cubicBezTo>
                  <a:cubicBezTo>
                    <a:pt x="336" y="358"/>
                    <a:pt x="257" y="275"/>
                    <a:pt x="199" y="238"/>
                  </a:cubicBezTo>
                  <a:cubicBezTo>
                    <a:pt x="104" y="182"/>
                    <a:pt x="104" y="182"/>
                    <a:pt x="104" y="182"/>
                  </a:cubicBezTo>
                  <a:cubicBezTo>
                    <a:pt x="92" y="176"/>
                    <a:pt x="13" y="139"/>
                    <a:pt x="0" y="139"/>
                  </a:cubicBezTo>
                  <a:cubicBezTo>
                    <a:pt x="10" y="161"/>
                    <a:pt x="29" y="180"/>
                    <a:pt x="40" y="205"/>
                  </a:cubicBezTo>
                  <a:cubicBezTo>
                    <a:pt x="67" y="266"/>
                    <a:pt x="67" y="287"/>
                    <a:pt x="118" y="341"/>
                  </a:cubicBezTo>
                  <a:cubicBezTo>
                    <a:pt x="127" y="352"/>
                    <a:pt x="168" y="385"/>
                    <a:pt x="168" y="385"/>
                  </a:cubicBezTo>
                  <a:close/>
                </a:path>
              </a:pathLst>
            </a:custGeom>
            <a:solidFill>
              <a:srgbClr val="4E8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cs typeface="+mn-cs"/>
              </a:endParaRPr>
            </a:p>
          </p:txBody>
        </p:sp>
        <p:sp>
          <p:nvSpPr>
            <p:cNvPr id="113" name="Freeform 16">
              <a:extLst>
                <a:ext uri="{FF2B5EF4-FFF2-40B4-BE49-F238E27FC236}">
                  <a16:creationId xmlns:a16="http://schemas.microsoft.com/office/drawing/2014/main" id="{B171CCF6-439A-4327-9819-F474F204D404}"/>
                </a:ext>
              </a:extLst>
            </p:cNvPr>
            <p:cNvSpPr>
              <a:spLocks/>
            </p:cNvSpPr>
            <p:nvPr/>
          </p:nvSpPr>
          <p:spPr bwMode="auto">
            <a:xfrm>
              <a:off x="3951" y="1864"/>
              <a:ext cx="368" cy="407"/>
            </a:xfrm>
            <a:custGeom>
              <a:avLst/>
              <a:gdLst>
                <a:gd name="T0" fmla="*/ 65 w 138"/>
                <a:gd name="T1" fmla="*/ 84 h 152"/>
                <a:gd name="T2" fmla="*/ 94 w 138"/>
                <a:gd name="T3" fmla="*/ 95 h 152"/>
                <a:gd name="T4" fmla="*/ 96 w 138"/>
                <a:gd name="T5" fmla="*/ 126 h 152"/>
                <a:gd name="T6" fmla="*/ 132 w 138"/>
                <a:gd name="T7" fmla="*/ 98 h 152"/>
                <a:gd name="T8" fmla="*/ 113 w 138"/>
                <a:gd name="T9" fmla="*/ 69 h 152"/>
                <a:gd name="T10" fmla="*/ 83 w 138"/>
                <a:gd name="T11" fmla="*/ 58 h 152"/>
                <a:gd name="T12" fmla="*/ 50 w 138"/>
                <a:gd name="T13" fmla="*/ 0 h 152"/>
                <a:gd name="T14" fmla="*/ 16 w 138"/>
                <a:gd name="T15" fmla="*/ 3 h 152"/>
                <a:gd name="T16" fmla="*/ 33 w 138"/>
                <a:gd name="T17" fmla="*/ 62 h 152"/>
                <a:gd name="T18" fmla="*/ 27 w 138"/>
                <a:gd name="T19" fmla="*/ 87 h 152"/>
                <a:gd name="T20" fmla="*/ 18 w 138"/>
                <a:gd name="T21" fmla="*/ 111 h 152"/>
                <a:gd name="T22" fmla="*/ 48 w 138"/>
                <a:gd name="T23" fmla="*/ 127 h 152"/>
                <a:gd name="T24" fmla="*/ 65 w 138"/>
                <a:gd name="T25" fmla="*/ 84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8" h="152">
                  <a:moveTo>
                    <a:pt x="65" y="84"/>
                  </a:moveTo>
                  <a:cubicBezTo>
                    <a:pt x="71" y="87"/>
                    <a:pt x="89" y="89"/>
                    <a:pt x="94" y="95"/>
                  </a:cubicBezTo>
                  <a:cubicBezTo>
                    <a:pt x="101" y="104"/>
                    <a:pt x="91" y="116"/>
                    <a:pt x="96" y="126"/>
                  </a:cubicBezTo>
                  <a:cubicBezTo>
                    <a:pt x="103" y="143"/>
                    <a:pt x="138" y="138"/>
                    <a:pt x="132" y="98"/>
                  </a:cubicBezTo>
                  <a:cubicBezTo>
                    <a:pt x="130" y="85"/>
                    <a:pt x="125" y="76"/>
                    <a:pt x="113" y="69"/>
                  </a:cubicBezTo>
                  <a:cubicBezTo>
                    <a:pt x="103" y="62"/>
                    <a:pt x="94" y="62"/>
                    <a:pt x="83" y="58"/>
                  </a:cubicBezTo>
                  <a:cubicBezTo>
                    <a:pt x="54" y="48"/>
                    <a:pt x="59" y="22"/>
                    <a:pt x="50" y="0"/>
                  </a:cubicBezTo>
                  <a:cubicBezTo>
                    <a:pt x="16" y="3"/>
                    <a:pt x="16" y="3"/>
                    <a:pt x="16" y="3"/>
                  </a:cubicBezTo>
                  <a:cubicBezTo>
                    <a:pt x="19" y="37"/>
                    <a:pt x="33" y="59"/>
                    <a:pt x="33" y="62"/>
                  </a:cubicBezTo>
                  <a:cubicBezTo>
                    <a:pt x="33" y="62"/>
                    <a:pt x="28" y="84"/>
                    <a:pt x="27" y="87"/>
                  </a:cubicBezTo>
                  <a:cubicBezTo>
                    <a:pt x="23" y="104"/>
                    <a:pt x="28" y="97"/>
                    <a:pt x="18" y="111"/>
                  </a:cubicBezTo>
                  <a:cubicBezTo>
                    <a:pt x="0" y="136"/>
                    <a:pt x="30" y="152"/>
                    <a:pt x="48" y="127"/>
                  </a:cubicBezTo>
                  <a:cubicBezTo>
                    <a:pt x="65" y="103"/>
                    <a:pt x="56" y="106"/>
                    <a:pt x="65" y="84"/>
                  </a:cubicBezTo>
                  <a:close/>
                </a:path>
              </a:pathLst>
            </a:custGeom>
            <a:solidFill>
              <a:srgbClr val="8EB3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cs typeface="+mn-cs"/>
              </a:endParaRPr>
            </a:p>
          </p:txBody>
        </p:sp>
        <p:sp>
          <p:nvSpPr>
            <p:cNvPr id="114" name="Freeform 17">
              <a:extLst>
                <a:ext uri="{FF2B5EF4-FFF2-40B4-BE49-F238E27FC236}">
                  <a16:creationId xmlns:a16="http://schemas.microsoft.com/office/drawing/2014/main" id="{8A98F9C6-382B-4093-AF11-27B1699FA990}"/>
                </a:ext>
              </a:extLst>
            </p:cNvPr>
            <p:cNvSpPr>
              <a:spLocks/>
            </p:cNvSpPr>
            <p:nvPr/>
          </p:nvSpPr>
          <p:spPr bwMode="auto">
            <a:xfrm>
              <a:off x="4882" y="1829"/>
              <a:ext cx="339" cy="367"/>
            </a:xfrm>
            <a:custGeom>
              <a:avLst/>
              <a:gdLst>
                <a:gd name="T0" fmla="*/ 126 w 127"/>
                <a:gd name="T1" fmla="*/ 2 h 137"/>
                <a:gd name="T2" fmla="*/ 122 w 127"/>
                <a:gd name="T3" fmla="*/ 1 h 137"/>
                <a:gd name="T4" fmla="*/ 90 w 127"/>
                <a:gd name="T5" fmla="*/ 1 h 137"/>
                <a:gd name="T6" fmla="*/ 82 w 127"/>
                <a:gd name="T7" fmla="*/ 24 h 137"/>
                <a:gd name="T8" fmla="*/ 64 w 127"/>
                <a:gd name="T9" fmla="*/ 41 h 137"/>
                <a:gd name="T10" fmla="*/ 44 w 127"/>
                <a:gd name="T11" fmla="*/ 2 h 137"/>
                <a:gd name="T12" fmla="*/ 0 w 127"/>
                <a:gd name="T13" fmla="*/ 2 h 137"/>
                <a:gd name="T14" fmla="*/ 33 w 127"/>
                <a:gd name="T15" fmla="*/ 80 h 137"/>
                <a:gd name="T16" fmla="*/ 36 w 127"/>
                <a:gd name="T17" fmla="*/ 99 h 137"/>
                <a:gd name="T18" fmla="*/ 47 w 127"/>
                <a:gd name="T19" fmla="*/ 135 h 137"/>
                <a:gd name="T20" fmla="*/ 67 w 127"/>
                <a:gd name="T21" fmla="*/ 132 h 137"/>
                <a:gd name="T22" fmla="*/ 74 w 127"/>
                <a:gd name="T23" fmla="*/ 97 h 137"/>
                <a:gd name="T24" fmla="*/ 89 w 127"/>
                <a:gd name="T25" fmla="*/ 64 h 137"/>
                <a:gd name="T26" fmla="*/ 126 w 127"/>
                <a:gd name="T27" fmla="*/ 2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7" h="137">
                  <a:moveTo>
                    <a:pt x="126" y="2"/>
                  </a:moveTo>
                  <a:cubicBezTo>
                    <a:pt x="124" y="1"/>
                    <a:pt x="127" y="1"/>
                    <a:pt x="122" y="1"/>
                  </a:cubicBezTo>
                  <a:cubicBezTo>
                    <a:pt x="90" y="1"/>
                    <a:pt x="90" y="1"/>
                    <a:pt x="90" y="1"/>
                  </a:cubicBezTo>
                  <a:cubicBezTo>
                    <a:pt x="89" y="10"/>
                    <a:pt x="88" y="19"/>
                    <a:pt x="82" y="24"/>
                  </a:cubicBezTo>
                  <a:cubicBezTo>
                    <a:pt x="76" y="29"/>
                    <a:pt x="68" y="37"/>
                    <a:pt x="64" y="41"/>
                  </a:cubicBezTo>
                  <a:cubicBezTo>
                    <a:pt x="61" y="32"/>
                    <a:pt x="53" y="7"/>
                    <a:pt x="44" y="2"/>
                  </a:cubicBezTo>
                  <a:cubicBezTo>
                    <a:pt x="40" y="0"/>
                    <a:pt x="7" y="1"/>
                    <a:pt x="0" y="2"/>
                  </a:cubicBezTo>
                  <a:cubicBezTo>
                    <a:pt x="5" y="17"/>
                    <a:pt x="32" y="21"/>
                    <a:pt x="33" y="80"/>
                  </a:cubicBezTo>
                  <a:cubicBezTo>
                    <a:pt x="34" y="89"/>
                    <a:pt x="33" y="90"/>
                    <a:pt x="36" y="99"/>
                  </a:cubicBezTo>
                  <a:cubicBezTo>
                    <a:pt x="38" y="107"/>
                    <a:pt x="32" y="128"/>
                    <a:pt x="47" y="135"/>
                  </a:cubicBezTo>
                  <a:cubicBezTo>
                    <a:pt x="52" y="137"/>
                    <a:pt x="61" y="137"/>
                    <a:pt x="67" y="132"/>
                  </a:cubicBezTo>
                  <a:cubicBezTo>
                    <a:pt x="78" y="123"/>
                    <a:pt x="66" y="116"/>
                    <a:pt x="74" y="97"/>
                  </a:cubicBezTo>
                  <a:cubicBezTo>
                    <a:pt x="78" y="86"/>
                    <a:pt x="83" y="74"/>
                    <a:pt x="89" y="64"/>
                  </a:cubicBezTo>
                  <a:cubicBezTo>
                    <a:pt x="107" y="36"/>
                    <a:pt x="116" y="55"/>
                    <a:pt x="126" y="2"/>
                  </a:cubicBezTo>
                  <a:close/>
                </a:path>
              </a:pathLst>
            </a:custGeom>
            <a:solidFill>
              <a:srgbClr val="8EB3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cs typeface="+mn-cs"/>
              </a:endParaRPr>
            </a:p>
          </p:txBody>
        </p:sp>
        <p:sp>
          <p:nvSpPr>
            <p:cNvPr id="115" name="Freeform 18">
              <a:extLst>
                <a:ext uri="{FF2B5EF4-FFF2-40B4-BE49-F238E27FC236}">
                  <a16:creationId xmlns:a16="http://schemas.microsoft.com/office/drawing/2014/main" id="{FE12ACD9-E606-4019-9F4D-EF609838A801}"/>
                </a:ext>
              </a:extLst>
            </p:cNvPr>
            <p:cNvSpPr>
              <a:spLocks/>
            </p:cNvSpPr>
            <p:nvPr/>
          </p:nvSpPr>
          <p:spPr bwMode="auto">
            <a:xfrm>
              <a:off x="3011" y="1993"/>
              <a:ext cx="328" cy="369"/>
            </a:xfrm>
            <a:custGeom>
              <a:avLst/>
              <a:gdLst>
                <a:gd name="T0" fmla="*/ 65 w 123"/>
                <a:gd name="T1" fmla="*/ 57 h 138"/>
                <a:gd name="T2" fmla="*/ 109 w 123"/>
                <a:gd name="T3" fmla="*/ 116 h 138"/>
                <a:gd name="T4" fmla="*/ 121 w 123"/>
                <a:gd name="T5" fmla="*/ 95 h 138"/>
                <a:gd name="T6" fmla="*/ 87 w 123"/>
                <a:gd name="T7" fmla="*/ 20 h 138"/>
                <a:gd name="T8" fmla="*/ 96 w 123"/>
                <a:gd name="T9" fmla="*/ 0 h 138"/>
                <a:gd name="T10" fmla="*/ 53 w 123"/>
                <a:gd name="T11" fmla="*/ 8 h 138"/>
                <a:gd name="T12" fmla="*/ 38 w 123"/>
                <a:gd name="T13" fmla="*/ 52 h 138"/>
                <a:gd name="T14" fmla="*/ 51 w 123"/>
                <a:gd name="T15" fmla="*/ 114 h 138"/>
                <a:gd name="T16" fmla="*/ 49 w 123"/>
                <a:gd name="T17" fmla="*/ 90 h 138"/>
                <a:gd name="T18" fmla="*/ 65 w 123"/>
                <a:gd name="T19" fmla="*/ 57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3" h="138">
                  <a:moveTo>
                    <a:pt x="65" y="57"/>
                  </a:moveTo>
                  <a:cubicBezTo>
                    <a:pt x="93" y="68"/>
                    <a:pt x="73" y="126"/>
                    <a:pt x="109" y="116"/>
                  </a:cubicBezTo>
                  <a:cubicBezTo>
                    <a:pt x="123" y="112"/>
                    <a:pt x="122" y="106"/>
                    <a:pt x="121" y="95"/>
                  </a:cubicBezTo>
                  <a:cubicBezTo>
                    <a:pt x="114" y="30"/>
                    <a:pt x="81" y="43"/>
                    <a:pt x="87" y="20"/>
                  </a:cubicBezTo>
                  <a:cubicBezTo>
                    <a:pt x="89" y="10"/>
                    <a:pt x="97" y="8"/>
                    <a:pt x="96" y="0"/>
                  </a:cubicBezTo>
                  <a:cubicBezTo>
                    <a:pt x="53" y="8"/>
                    <a:pt x="53" y="8"/>
                    <a:pt x="53" y="8"/>
                  </a:cubicBezTo>
                  <a:cubicBezTo>
                    <a:pt x="48" y="52"/>
                    <a:pt x="59" y="29"/>
                    <a:pt x="38" y="52"/>
                  </a:cubicBezTo>
                  <a:cubicBezTo>
                    <a:pt x="0" y="94"/>
                    <a:pt x="38" y="138"/>
                    <a:pt x="51" y="114"/>
                  </a:cubicBezTo>
                  <a:cubicBezTo>
                    <a:pt x="56" y="105"/>
                    <a:pt x="43" y="102"/>
                    <a:pt x="49" y="90"/>
                  </a:cubicBezTo>
                  <a:cubicBezTo>
                    <a:pt x="52" y="80"/>
                    <a:pt x="58" y="63"/>
                    <a:pt x="65" y="57"/>
                  </a:cubicBezTo>
                  <a:close/>
                </a:path>
              </a:pathLst>
            </a:custGeom>
            <a:solidFill>
              <a:srgbClr val="8EB3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cs typeface="+mn-cs"/>
              </a:endParaRPr>
            </a:p>
          </p:txBody>
        </p:sp>
        <p:sp>
          <p:nvSpPr>
            <p:cNvPr id="116" name="Freeform 19">
              <a:extLst>
                <a:ext uri="{FF2B5EF4-FFF2-40B4-BE49-F238E27FC236}">
                  <a16:creationId xmlns:a16="http://schemas.microsoft.com/office/drawing/2014/main" id="{A0CDF375-AB75-465D-8061-313D59891CC6}"/>
                </a:ext>
              </a:extLst>
            </p:cNvPr>
            <p:cNvSpPr>
              <a:spLocks/>
            </p:cNvSpPr>
            <p:nvPr/>
          </p:nvSpPr>
          <p:spPr bwMode="auto">
            <a:xfrm>
              <a:off x="5608" y="1985"/>
              <a:ext cx="446" cy="693"/>
            </a:xfrm>
            <a:custGeom>
              <a:avLst/>
              <a:gdLst>
                <a:gd name="T0" fmla="*/ 140 w 167"/>
                <a:gd name="T1" fmla="*/ 223 h 259"/>
                <a:gd name="T2" fmla="*/ 121 w 167"/>
                <a:gd name="T3" fmla="*/ 230 h 259"/>
                <a:gd name="T4" fmla="*/ 112 w 167"/>
                <a:gd name="T5" fmla="*/ 229 h 259"/>
                <a:gd name="T6" fmla="*/ 101 w 167"/>
                <a:gd name="T7" fmla="*/ 225 h 259"/>
                <a:gd name="T8" fmla="*/ 132 w 167"/>
                <a:gd name="T9" fmla="*/ 221 h 259"/>
                <a:gd name="T10" fmla="*/ 161 w 167"/>
                <a:gd name="T11" fmla="*/ 217 h 259"/>
                <a:gd name="T12" fmla="*/ 156 w 167"/>
                <a:gd name="T13" fmla="*/ 214 h 259"/>
                <a:gd name="T14" fmla="*/ 151 w 167"/>
                <a:gd name="T15" fmla="*/ 210 h 259"/>
                <a:gd name="T16" fmla="*/ 106 w 167"/>
                <a:gd name="T17" fmla="*/ 182 h 259"/>
                <a:gd name="T18" fmla="*/ 100 w 167"/>
                <a:gd name="T19" fmla="*/ 134 h 259"/>
                <a:gd name="T20" fmla="*/ 111 w 167"/>
                <a:gd name="T21" fmla="*/ 105 h 259"/>
                <a:gd name="T22" fmla="*/ 115 w 167"/>
                <a:gd name="T23" fmla="*/ 98 h 259"/>
                <a:gd name="T24" fmla="*/ 117 w 167"/>
                <a:gd name="T25" fmla="*/ 95 h 259"/>
                <a:gd name="T26" fmla="*/ 118 w 167"/>
                <a:gd name="T27" fmla="*/ 89 h 259"/>
                <a:gd name="T28" fmla="*/ 96 w 167"/>
                <a:gd name="T29" fmla="*/ 121 h 259"/>
                <a:gd name="T30" fmla="*/ 83 w 167"/>
                <a:gd name="T31" fmla="*/ 159 h 259"/>
                <a:gd name="T32" fmla="*/ 141 w 167"/>
                <a:gd name="T33" fmla="*/ 215 h 259"/>
                <a:gd name="T34" fmla="*/ 77 w 167"/>
                <a:gd name="T35" fmla="*/ 202 h 259"/>
                <a:gd name="T36" fmla="*/ 74 w 167"/>
                <a:gd name="T37" fmla="*/ 201 h 259"/>
                <a:gd name="T38" fmla="*/ 96 w 167"/>
                <a:gd name="T39" fmla="*/ 219 h 259"/>
                <a:gd name="T40" fmla="*/ 93 w 167"/>
                <a:gd name="T41" fmla="*/ 226 h 259"/>
                <a:gd name="T42" fmla="*/ 70 w 167"/>
                <a:gd name="T43" fmla="*/ 222 h 259"/>
                <a:gd name="T44" fmla="*/ 51 w 167"/>
                <a:gd name="T45" fmla="*/ 213 h 259"/>
                <a:gd name="T46" fmla="*/ 62 w 167"/>
                <a:gd name="T47" fmla="*/ 225 h 259"/>
                <a:gd name="T48" fmla="*/ 68 w 167"/>
                <a:gd name="T49" fmla="*/ 228 h 259"/>
                <a:gd name="T50" fmla="*/ 106 w 167"/>
                <a:gd name="T51" fmla="*/ 247 h 259"/>
                <a:gd name="T52" fmla="*/ 57 w 167"/>
                <a:gd name="T53" fmla="*/ 237 h 259"/>
                <a:gd name="T54" fmla="*/ 22 w 167"/>
                <a:gd name="T55" fmla="*/ 182 h 259"/>
                <a:gd name="T56" fmla="*/ 28 w 167"/>
                <a:gd name="T57" fmla="*/ 164 h 259"/>
                <a:gd name="T58" fmla="*/ 34 w 167"/>
                <a:gd name="T59" fmla="*/ 144 h 259"/>
                <a:gd name="T60" fmla="*/ 41 w 167"/>
                <a:gd name="T61" fmla="*/ 60 h 259"/>
                <a:gd name="T62" fmla="*/ 60 w 167"/>
                <a:gd name="T63" fmla="*/ 26 h 259"/>
                <a:gd name="T64" fmla="*/ 95 w 167"/>
                <a:gd name="T65" fmla="*/ 0 h 259"/>
                <a:gd name="T66" fmla="*/ 50 w 167"/>
                <a:gd name="T67" fmla="*/ 31 h 259"/>
                <a:gd name="T68" fmla="*/ 40 w 167"/>
                <a:gd name="T69" fmla="*/ 52 h 259"/>
                <a:gd name="T70" fmla="*/ 19 w 167"/>
                <a:gd name="T71" fmla="*/ 69 h 259"/>
                <a:gd name="T72" fmla="*/ 19 w 167"/>
                <a:gd name="T73" fmla="*/ 162 h 259"/>
                <a:gd name="T74" fmla="*/ 30 w 167"/>
                <a:gd name="T75" fmla="*/ 232 h 259"/>
                <a:gd name="T76" fmla="*/ 115 w 167"/>
                <a:gd name="T77" fmla="*/ 252 h 259"/>
                <a:gd name="T78" fmla="*/ 138 w 167"/>
                <a:gd name="T79" fmla="*/ 247 h 259"/>
                <a:gd name="T80" fmla="*/ 140 w 167"/>
                <a:gd name="T81" fmla="*/ 223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7" h="259">
                  <a:moveTo>
                    <a:pt x="140" y="223"/>
                  </a:moveTo>
                  <a:cubicBezTo>
                    <a:pt x="129" y="229"/>
                    <a:pt x="136" y="230"/>
                    <a:pt x="121" y="230"/>
                  </a:cubicBezTo>
                  <a:cubicBezTo>
                    <a:pt x="118" y="230"/>
                    <a:pt x="115" y="230"/>
                    <a:pt x="112" y="229"/>
                  </a:cubicBezTo>
                  <a:cubicBezTo>
                    <a:pt x="100" y="229"/>
                    <a:pt x="105" y="230"/>
                    <a:pt x="101" y="225"/>
                  </a:cubicBezTo>
                  <a:cubicBezTo>
                    <a:pt x="108" y="215"/>
                    <a:pt x="108" y="221"/>
                    <a:pt x="132" y="221"/>
                  </a:cubicBezTo>
                  <a:cubicBezTo>
                    <a:pt x="167" y="220"/>
                    <a:pt x="150" y="219"/>
                    <a:pt x="161" y="217"/>
                  </a:cubicBezTo>
                  <a:cubicBezTo>
                    <a:pt x="156" y="214"/>
                    <a:pt x="156" y="214"/>
                    <a:pt x="156" y="214"/>
                  </a:cubicBezTo>
                  <a:cubicBezTo>
                    <a:pt x="154" y="212"/>
                    <a:pt x="153" y="212"/>
                    <a:pt x="151" y="210"/>
                  </a:cubicBezTo>
                  <a:cubicBezTo>
                    <a:pt x="145" y="207"/>
                    <a:pt x="110" y="185"/>
                    <a:pt x="106" y="182"/>
                  </a:cubicBezTo>
                  <a:cubicBezTo>
                    <a:pt x="88" y="169"/>
                    <a:pt x="94" y="153"/>
                    <a:pt x="100" y="134"/>
                  </a:cubicBezTo>
                  <a:cubicBezTo>
                    <a:pt x="111" y="105"/>
                    <a:pt x="111" y="105"/>
                    <a:pt x="111" y="105"/>
                  </a:cubicBezTo>
                  <a:cubicBezTo>
                    <a:pt x="113" y="102"/>
                    <a:pt x="114" y="101"/>
                    <a:pt x="115" y="98"/>
                  </a:cubicBezTo>
                  <a:cubicBezTo>
                    <a:pt x="116" y="96"/>
                    <a:pt x="116" y="97"/>
                    <a:pt x="117" y="95"/>
                  </a:cubicBezTo>
                  <a:cubicBezTo>
                    <a:pt x="119" y="90"/>
                    <a:pt x="118" y="94"/>
                    <a:pt x="118" y="89"/>
                  </a:cubicBezTo>
                  <a:cubicBezTo>
                    <a:pt x="109" y="98"/>
                    <a:pt x="102" y="111"/>
                    <a:pt x="96" y="121"/>
                  </a:cubicBezTo>
                  <a:cubicBezTo>
                    <a:pt x="91" y="129"/>
                    <a:pt x="84" y="146"/>
                    <a:pt x="83" y="159"/>
                  </a:cubicBezTo>
                  <a:cubicBezTo>
                    <a:pt x="81" y="198"/>
                    <a:pt x="122" y="194"/>
                    <a:pt x="141" y="215"/>
                  </a:cubicBezTo>
                  <a:cubicBezTo>
                    <a:pt x="122" y="216"/>
                    <a:pt x="95" y="208"/>
                    <a:pt x="77" y="202"/>
                  </a:cubicBezTo>
                  <a:cubicBezTo>
                    <a:pt x="74" y="201"/>
                    <a:pt x="74" y="201"/>
                    <a:pt x="74" y="201"/>
                  </a:cubicBezTo>
                  <a:cubicBezTo>
                    <a:pt x="83" y="215"/>
                    <a:pt x="90" y="210"/>
                    <a:pt x="96" y="219"/>
                  </a:cubicBezTo>
                  <a:cubicBezTo>
                    <a:pt x="93" y="226"/>
                    <a:pt x="93" y="226"/>
                    <a:pt x="93" y="226"/>
                  </a:cubicBezTo>
                  <a:cubicBezTo>
                    <a:pt x="86" y="227"/>
                    <a:pt x="76" y="225"/>
                    <a:pt x="70" y="222"/>
                  </a:cubicBezTo>
                  <a:cubicBezTo>
                    <a:pt x="68" y="221"/>
                    <a:pt x="52" y="214"/>
                    <a:pt x="51" y="213"/>
                  </a:cubicBezTo>
                  <a:cubicBezTo>
                    <a:pt x="54" y="219"/>
                    <a:pt x="57" y="222"/>
                    <a:pt x="62" y="225"/>
                  </a:cubicBezTo>
                  <a:cubicBezTo>
                    <a:pt x="65" y="227"/>
                    <a:pt x="65" y="226"/>
                    <a:pt x="68" y="228"/>
                  </a:cubicBezTo>
                  <a:cubicBezTo>
                    <a:pt x="86" y="239"/>
                    <a:pt x="86" y="227"/>
                    <a:pt x="106" y="247"/>
                  </a:cubicBezTo>
                  <a:cubicBezTo>
                    <a:pt x="95" y="248"/>
                    <a:pt x="66" y="243"/>
                    <a:pt x="57" y="237"/>
                  </a:cubicBezTo>
                  <a:cubicBezTo>
                    <a:pt x="34" y="223"/>
                    <a:pt x="13" y="215"/>
                    <a:pt x="22" y="182"/>
                  </a:cubicBezTo>
                  <a:cubicBezTo>
                    <a:pt x="23" y="175"/>
                    <a:pt x="26" y="171"/>
                    <a:pt x="28" y="164"/>
                  </a:cubicBezTo>
                  <a:cubicBezTo>
                    <a:pt x="30" y="157"/>
                    <a:pt x="33" y="151"/>
                    <a:pt x="34" y="144"/>
                  </a:cubicBezTo>
                  <a:cubicBezTo>
                    <a:pt x="40" y="113"/>
                    <a:pt x="7" y="75"/>
                    <a:pt x="41" y="60"/>
                  </a:cubicBezTo>
                  <a:cubicBezTo>
                    <a:pt x="64" y="50"/>
                    <a:pt x="49" y="46"/>
                    <a:pt x="60" y="26"/>
                  </a:cubicBezTo>
                  <a:cubicBezTo>
                    <a:pt x="68" y="12"/>
                    <a:pt x="82" y="9"/>
                    <a:pt x="95" y="0"/>
                  </a:cubicBezTo>
                  <a:cubicBezTo>
                    <a:pt x="78" y="3"/>
                    <a:pt x="57" y="13"/>
                    <a:pt x="50" y="31"/>
                  </a:cubicBezTo>
                  <a:cubicBezTo>
                    <a:pt x="46" y="42"/>
                    <a:pt x="51" y="45"/>
                    <a:pt x="40" y="52"/>
                  </a:cubicBezTo>
                  <a:cubicBezTo>
                    <a:pt x="27" y="61"/>
                    <a:pt x="23" y="57"/>
                    <a:pt x="19" y="69"/>
                  </a:cubicBezTo>
                  <a:cubicBezTo>
                    <a:pt x="9" y="101"/>
                    <a:pt x="38" y="108"/>
                    <a:pt x="19" y="162"/>
                  </a:cubicBezTo>
                  <a:cubicBezTo>
                    <a:pt x="9" y="193"/>
                    <a:pt x="0" y="208"/>
                    <a:pt x="30" y="232"/>
                  </a:cubicBezTo>
                  <a:cubicBezTo>
                    <a:pt x="63" y="257"/>
                    <a:pt x="106" y="250"/>
                    <a:pt x="115" y="252"/>
                  </a:cubicBezTo>
                  <a:cubicBezTo>
                    <a:pt x="123" y="254"/>
                    <a:pt x="129" y="259"/>
                    <a:pt x="138" y="247"/>
                  </a:cubicBezTo>
                  <a:cubicBezTo>
                    <a:pt x="143" y="240"/>
                    <a:pt x="145" y="234"/>
                    <a:pt x="140" y="223"/>
                  </a:cubicBezTo>
                  <a:close/>
                </a:path>
              </a:pathLst>
            </a:custGeom>
            <a:solidFill>
              <a:srgbClr val="CECC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cs typeface="+mn-cs"/>
              </a:endParaRPr>
            </a:p>
          </p:txBody>
        </p:sp>
        <p:sp>
          <p:nvSpPr>
            <p:cNvPr id="117" name="Freeform 20">
              <a:extLst>
                <a:ext uri="{FF2B5EF4-FFF2-40B4-BE49-F238E27FC236}">
                  <a16:creationId xmlns:a16="http://schemas.microsoft.com/office/drawing/2014/main" id="{8774F918-428C-4A2B-8679-D2FA6CDA1D87}"/>
                </a:ext>
              </a:extLst>
            </p:cNvPr>
            <p:cNvSpPr>
              <a:spLocks noEditPoints="1"/>
            </p:cNvSpPr>
            <p:nvPr/>
          </p:nvSpPr>
          <p:spPr bwMode="auto">
            <a:xfrm>
              <a:off x="5641" y="1985"/>
              <a:ext cx="282" cy="313"/>
            </a:xfrm>
            <a:custGeom>
              <a:avLst/>
              <a:gdLst>
                <a:gd name="T0" fmla="*/ 94 w 106"/>
                <a:gd name="T1" fmla="*/ 117 h 117"/>
                <a:gd name="T2" fmla="*/ 99 w 106"/>
                <a:gd name="T3" fmla="*/ 104 h 117"/>
                <a:gd name="T4" fmla="*/ 102 w 106"/>
                <a:gd name="T5" fmla="*/ 97 h 117"/>
                <a:gd name="T6" fmla="*/ 104 w 106"/>
                <a:gd name="T7" fmla="*/ 94 h 117"/>
                <a:gd name="T8" fmla="*/ 106 w 106"/>
                <a:gd name="T9" fmla="*/ 88 h 117"/>
                <a:gd name="T10" fmla="*/ 86 w 106"/>
                <a:gd name="T11" fmla="*/ 117 h 117"/>
                <a:gd name="T12" fmla="*/ 94 w 106"/>
                <a:gd name="T13" fmla="*/ 117 h 117"/>
                <a:gd name="T14" fmla="*/ 20 w 106"/>
                <a:gd name="T15" fmla="*/ 117 h 117"/>
                <a:gd name="T16" fmla="*/ 28 w 106"/>
                <a:gd name="T17" fmla="*/ 60 h 117"/>
                <a:gd name="T18" fmla="*/ 48 w 106"/>
                <a:gd name="T19" fmla="*/ 25 h 117"/>
                <a:gd name="T20" fmla="*/ 83 w 106"/>
                <a:gd name="T21" fmla="*/ 0 h 117"/>
                <a:gd name="T22" fmla="*/ 38 w 106"/>
                <a:gd name="T23" fmla="*/ 30 h 117"/>
                <a:gd name="T24" fmla="*/ 27 w 106"/>
                <a:gd name="T25" fmla="*/ 52 h 117"/>
                <a:gd name="T26" fmla="*/ 6 w 106"/>
                <a:gd name="T27" fmla="*/ 69 h 117"/>
                <a:gd name="T28" fmla="*/ 12 w 106"/>
                <a:gd name="T29" fmla="*/ 117 h 117"/>
                <a:gd name="T30" fmla="*/ 20 w 106"/>
                <a:gd name="T31" fmla="*/ 117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6" h="117">
                  <a:moveTo>
                    <a:pt x="94" y="117"/>
                  </a:moveTo>
                  <a:cubicBezTo>
                    <a:pt x="99" y="104"/>
                    <a:pt x="99" y="104"/>
                    <a:pt x="99" y="104"/>
                  </a:cubicBezTo>
                  <a:cubicBezTo>
                    <a:pt x="100" y="101"/>
                    <a:pt x="101" y="100"/>
                    <a:pt x="102" y="97"/>
                  </a:cubicBezTo>
                  <a:cubicBezTo>
                    <a:pt x="104" y="95"/>
                    <a:pt x="104" y="96"/>
                    <a:pt x="104" y="94"/>
                  </a:cubicBezTo>
                  <a:cubicBezTo>
                    <a:pt x="106" y="89"/>
                    <a:pt x="105" y="93"/>
                    <a:pt x="106" y="88"/>
                  </a:cubicBezTo>
                  <a:cubicBezTo>
                    <a:pt x="97" y="96"/>
                    <a:pt x="92" y="107"/>
                    <a:pt x="86" y="117"/>
                  </a:cubicBezTo>
                  <a:cubicBezTo>
                    <a:pt x="94" y="117"/>
                    <a:pt x="94" y="117"/>
                    <a:pt x="94" y="117"/>
                  </a:cubicBezTo>
                  <a:close/>
                  <a:moveTo>
                    <a:pt x="20" y="117"/>
                  </a:moveTo>
                  <a:cubicBezTo>
                    <a:pt x="15" y="94"/>
                    <a:pt x="4" y="71"/>
                    <a:pt x="28" y="60"/>
                  </a:cubicBezTo>
                  <a:cubicBezTo>
                    <a:pt x="51" y="49"/>
                    <a:pt x="36" y="46"/>
                    <a:pt x="48" y="25"/>
                  </a:cubicBezTo>
                  <a:cubicBezTo>
                    <a:pt x="56" y="12"/>
                    <a:pt x="69" y="9"/>
                    <a:pt x="83" y="0"/>
                  </a:cubicBezTo>
                  <a:cubicBezTo>
                    <a:pt x="65" y="2"/>
                    <a:pt x="45" y="13"/>
                    <a:pt x="38" y="30"/>
                  </a:cubicBezTo>
                  <a:cubicBezTo>
                    <a:pt x="33" y="41"/>
                    <a:pt x="38" y="44"/>
                    <a:pt x="27" y="52"/>
                  </a:cubicBezTo>
                  <a:cubicBezTo>
                    <a:pt x="15" y="60"/>
                    <a:pt x="10" y="56"/>
                    <a:pt x="6" y="69"/>
                  </a:cubicBezTo>
                  <a:cubicBezTo>
                    <a:pt x="0" y="89"/>
                    <a:pt x="9" y="99"/>
                    <a:pt x="12" y="117"/>
                  </a:cubicBezTo>
                  <a:lnTo>
                    <a:pt x="20" y="117"/>
                  </a:lnTo>
                  <a:close/>
                </a:path>
              </a:pathLst>
            </a:custGeom>
            <a:solidFill>
              <a:srgbClr val="AEAC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cs typeface="+mn-cs"/>
              </a:endParaRPr>
            </a:p>
          </p:txBody>
        </p:sp>
        <p:sp>
          <p:nvSpPr>
            <p:cNvPr id="118" name="Freeform 21">
              <a:extLst>
                <a:ext uri="{FF2B5EF4-FFF2-40B4-BE49-F238E27FC236}">
                  <a16:creationId xmlns:a16="http://schemas.microsoft.com/office/drawing/2014/main" id="{6E817F46-560C-4DFC-A313-79AC48BEC9AB}"/>
                </a:ext>
              </a:extLst>
            </p:cNvPr>
            <p:cNvSpPr>
              <a:spLocks/>
            </p:cNvSpPr>
            <p:nvPr/>
          </p:nvSpPr>
          <p:spPr bwMode="auto">
            <a:xfrm>
              <a:off x="4268" y="1848"/>
              <a:ext cx="259" cy="386"/>
            </a:xfrm>
            <a:custGeom>
              <a:avLst/>
              <a:gdLst>
                <a:gd name="T0" fmla="*/ 55 w 97"/>
                <a:gd name="T1" fmla="*/ 106 h 144"/>
                <a:gd name="T2" fmla="*/ 44 w 97"/>
                <a:gd name="T3" fmla="*/ 127 h 144"/>
                <a:gd name="T4" fmla="*/ 88 w 97"/>
                <a:gd name="T5" fmla="*/ 120 h 144"/>
                <a:gd name="T6" fmla="*/ 96 w 97"/>
                <a:gd name="T7" fmla="*/ 97 h 144"/>
                <a:gd name="T8" fmla="*/ 35 w 97"/>
                <a:gd name="T9" fmla="*/ 2 h 144"/>
                <a:gd name="T10" fmla="*/ 0 w 97"/>
                <a:gd name="T11" fmla="*/ 3 h 144"/>
                <a:gd name="T12" fmla="*/ 55 w 97"/>
                <a:gd name="T13" fmla="*/ 106 h 144"/>
              </a:gdLst>
              <a:ahLst/>
              <a:cxnLst>
                <a:cxn ang="0">
                  <a:pos x="T0" y="T1"/>
                </a:cxn>
                <a:cxn ang="0">
                  <a:pos x="T2" y="T3"/>
                </a:cxn>
                <a:cxn ang="0">
                  <a:pos x="T4" y="T5"/>
                </a:cxn>
                <a:cxn ang="0">
                  <a:pos x="T6" y="T7"/>
                </a:cxn>
                <a:cxn ang="0">
                  <a:pos x="T8" y="T9"/>
                </a:cxn>
                <a:cxn ang="0">
                  <a:pos x="T10" y="T11"/>
                </a:cxn>
                <a:cxn ang="0">
                  <a:pos x="T12" y="T13"/>
                </a:cxn>
              </a:cxnLst>
              <a:rect l="0" t="0" r="r" b="b"/>
              <a:pathLst>
                <a:path w="97" h="144">
                  <a:moveTo>
                    <a:pt x="55" y="106"/>
                  </a:moveTo>
                  <a:cubicBezTo>
                    <a:pt x="48" y="112"/>
                    <a:pt x="40" y="117"/>
                    <a:pt x="44" y="127"/>
                  </a:cubicBezTo>
                  <a:cubicBezTo>
                    <a:pt x="48" y="141"/>
                    <a:pt x="68" y="144"/>
                    <a:pt x="88" y="120"/>
                  </a:cubicBezTo>
                  <a:cubicBezTo>
                    <a:pt x="93" y="113"/>
                    <a:pt x="97" y="107"/>
                    <a:pt x="96" y="97"/>
                  </a:cubicBezTo>
                  <a:cubicBezTo>
                    <a:pt x="96" y="59"/>
                    <a:pt x="47" y="41"/>
                    <a:pt x="35" y="2"/>
                  </a:cubicBezTo>
                  <a:cubicBezTo>
                    <a:pt x="26" y="0"/>
                    <a:pt x="10" y="1"/>
                    <a:pt x="0" y="3"/>
                  </a:cubicBezTo>
                  <a:cubicBezTo>
                    <a:pt x="13" y="60"/>
                    <a:pt x="38" y="39"/>
                    <a:pt x="55" y="106"/>
                  </a:cubicBezTo>
                  <a:close/>
                </a:path>
              </a:pathLst>
            </a:custGeom>
            <a:solidFill>
              <a:srgbClr val="8EB3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cs typeface="+mn-cs"/>
              </a:endParaRPr>
            </a:p>
          </p:txBody>
        </p:sp>
        <p:sp>
          <p:nvSpPr>
            <p:cNvPr id="119" name="Freeform 22">
              <a:extLst>
                <a:ext uri="{FF2B5EF4-FFF2-40B4-BE49-F238E27FC236}">
                  <a16:creationId xmlns:a16="http://schemas.microsoft.com/office/drawing/2014/main" id="{A119DA3C-5B48-4697-9B4C-969BDE275B5B}"/>
                </a:ext>
              </a:extLst>
            </p:cNvPr>
            <p:cNvSpPr>
              <a:spLocks/>
            </p:cNvSpPr>
            <p:nvPr/>
          </p:nvSpPr>
          <p:spPr bwMode="auto">
            <a:xfrm>
              <a:off x="4680" y="1832"/>
              <a:ext cx="224" cy="402"/>
            </a:xfrm>
            <a:custGeom>
              <a:avLst/>
              <a:gdLst>
                <a:gd name="T0" fmla="*/ 14 w 84"/>
                <a:gd name="T1" fmla="*/ 3 h 150"/>
                <a:gd name="T2" fmla="*/ 15 w 84"/>
                <a:gd name="T3" fmla="*/ 42 h 150"/>
                <a:gd name="T4" fmla="*/ 34 w 84"/>
                <a:gd name="T5" fmla="*/ 83 h 150"/>
                <a:gd name="T6" fmla="*/ 35 w 84"/>
                <a:gd name="T7" fmla="*/ 104 h 150"/>
                <a:gd name="T8" fmla="*/ 22 w 84"/>
                <a:gd name="T9" fmla="*/ 121 h 150"/>
                <a:gd name="T10" fmla="*/ 52 w 84"/>
                <a:gd name="T11" fmla="*/ 136 h 150"/>
                <a:gd name="T12" fmla="*/ 70 w 84"/>
                <a:gd name="T13" fmla="*/ 60 h 150"/>
                <a:gd name="T14" fmla="*/ 43 w 84"/>
                <a:gd name="T15" fmla="*/ 22 h 150"/>
                <a:gd name="T16" fmla="*/ 37 w 84"/>
                <a:gd name="T17" fmla="*/ 2 h 150"/>
                <a:gd name="T18" fmla="*/ 14 w 84"/>
                <a:gd name="T19" fmla="*/ 3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150">
                  <a:moveTo>
                    <a:pt x="14" y="3"/>
                  </a:moveTo>
                  <a:cubicBezTo>
                    <a:pt x="0" y="12"/>
                    <a:pt x="6" y="28"/>
                    <a:pt x="15" y="42"/>
                  </a:cubicBezTo>
                  <a:cubicBezTo>
                    <a:pt x="30" y="64"/>
                    <a:pt x="31" y="56"/>
                    <a:pt x="34" y="83"/>
                  </a:cubicBezTo>
                  <a:cubicBezTo>
                    <a:pt x="34" y="88"/>
                    <a:pt x="36" y="100"/>
                    <a:pt x="35" y="104"/>
                  </a:cubicBezTo>
                  <a:cubicBezTo>
                    <a:pt x="34" y="111"/>
                    <a:pt x="26" y="114"/>
                    <a:pt x="22" y="121"/>
                  </a:cubicBezTo>
                  <a:cubicBezTo>
                    <a:pt x="14" y="135"/>
                    <a:pt x="36" y="150"/>
                    <a:pt x="52" y="136"/>
                  </a:cubicBezTo>
                  <a:cubicBezTo>
                    <a:pt x="76" y="117"/>
                    <a:pt x="84" y="88"/>
                    <a:pt x="70" y="60"/>
                  </a:cubicBezTo>
                  <a:cubicBezTo>
                    <a:pt x="64" y="48"/>
                    <a:pt x="46" y="30"/>
                    <a:pt x="43" y="22"/>
                  </a:cubicBezTo>
                  <a:cubicBezTo>
                    <a:pt x="42" y="16"/>
                    <a:pt x="46" y="6"/>
                    <a:pt x="37" y="2"/>
                  </a:cubicBezTo>
                  <a:cubicBezTo>
                    <a:pt x="33" y="0"/>
                    <a:pt x="17" y="1"/>
                    <a:pt x="14" y="3"/>
                  </a:cubicBezTo>
                  <a:close/>
                </a:path>
              </a:pathLst>
            </a:custGeom>
            <a:solidFill>
              <a:srgbClr val="8EB3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cs typeface="+mn-cs"/>
              </a:endParaRPr>
            </a:p>
          </p:txBody>
        </p:sp>
        <p:sp>
          <p:nvSpPr>
            <p:cNvPr id="120" name="Freeform 23">
              <a:extLst>
                <a:ext uri="{FF2B5EF4-FFF2-40B4-BE49-F238E27FC236}">
                  <a16:creationId xmlns:a16="http://schemas.microsoft.com/office/drawing/2014/main" id="{B707BBD1-2F8D-46BB-AFE6-8F7917F3144E}"/>
                </a:ext>
              </a:extLst>
            </p:cNvPr>
            <p:cNvSpPr>
              <a:spLocks/>
            </p:cNvSpPr>
            <p:nvPr/>
          </p:nvSpPr>
          <p:spPr bwMode="auto">
            <a:xfrm>
              <a:off x="4479" y="1840"/>
              <a:ext cx="238" cy="359"/>
            </a:xfrm>
            <a:custGeom>
              <a:avLst/>
              <a:gdLst>
                <a:gd name="T0" fmla="*/ 34 w 89"/>
                <a:gd name="T1" fmla="*/ 0 h 134"/>
                <a:gd name="T2" fmla="*/ 1 w 89"/>
                <a:gd name="T3" fmla="*/ 1 h 134"/>
                <a:gd name="T4" fmla="*/ 17 w 89"/>
                <a:gd name="T5" fmla="*/ 35 h 134"/>
                <a:gd name="T6" fmla="*/ 40 w 89"/>
                <a:gd name="T7" fmla="*/ 68 h 134"/>
                <a:gd name="T8" fmla="*/ 46 w 89"/>
                <a:gd name="T9" fmla="*/ 107 h 134"/>
                <a:gd name="T10" fmla="*/ 61 w 89"/>
                <a:gd name="T11" fmla="*/ 133 h 134"/>
                <a:gd name="T12" fmla="*/ 78 w 89"/>
                <a:gd name="T13" fmla="*/ 69 h 134"/>
                <a:gd name="T14" fmla="*/ 34 w 89"/>
                <a:gd name="T15" fmla="*/ 0 h 13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9" h="134">
                  <a:moveTo>
                    <a:pt x="34" y="0"/>
                  </a:moveTo>
                  <a:cubicBezTo>
                    <a:pt x="1" y="1"/>
                    <a:pt x="1" y="1"/>
                    <a:pt x="1" y="1"/>
                  </a:cubicBezTo>
                  <a:cubicBezTo>
                    <a:pt x="0" y="15"/>
                    <a:pt x="6" y="23"/>
                    <a:pt x="17" y="35"/>
                  </a:cubicBezTo>
                  <a:cubicBezTo>
                    <a:pt x="27" y="47"/>
                    <a:pt x="34" y="51"/>
                    <a:pt x="40" y="68"/>
                  </a:cubicBezTo>
                  <a:cubicBezTo>
                    <a:pt x="45" y="81"/>
                    <a:pt x="48" y="95"/>
                    <a:pt x="46" y="107"/>
                  </a:cubicBezTo>
                  <a:cubicBezTo>
                    <a:pt x="46" y="108"/>
                    <a:pt x="36" y="134"/>
                    <a:pt x="61" y="133"/>
                  </a:cubicBezTo>
                  <a:cubicBezTo>
                    <a:pt x="89" y="132"/>
                    <a:pt x="84" y="88"/>
                    <a:pt x="78" y="69"/>
                  </a:cubicBezTo>
                  <a:cubicBezTo>
                    <a:pt x="68" y="34"/>
                    <a:pt x="51" y="28"/>
                    <a:pt x="34" y="0"/>
                  </a:cubicBezTo>
                  <a:close/>
                </a:path>
              </a:pathLst>
            </a:custGeom>
            <a:solidFill>
              <a:srgbClr val="8EB3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cs typeface="+mn-cs"/>
              </a:endParaRPr>
            </a:p>
          </p:txBody>
        </p:sp>
        <p:sp>
          <p:nvSpPr>
            <p:cNvPr id="121" name="Freeform 24">
              <a:extLst>
                <a:ext uri="{FF2B5EF4-FFF2-40B4-BE49-F238E27FC236}">
                  <a16:creationId xmlns:a16="http://schemas.microsoft.com/office/drawing/2014/main" id="{28ABC707-C136-422D-94CF-BE7E953533F4}"/>
                </a:ext>
              </a:extLst>
            </p:cNvPr>
            <p:cNvSpPr>
              <a:spLocks/>
            </p:cNvSpPr>
            <p:nvPr/>
          </p:nvSpPr>
          <p:spPr bwMode="auto">
            <a:xfrm>
              <a:off x="5163" y="1832"/>
              <a:ext cx="205" cy="348"/>
            </a:xfrm>
            <a:custGeom>
              <a:avLst/>
              <a:gdLst>
                <a:gd name="T0" fmla="*/ 77 w 77"/>
                <a:gd name="T1" fmla="*/ 2 h 130"/>
                <a:gd name="T2" fmla="*/ 41 w 77"/>
                <a:gd name="T3" fmla="*/ 2 h 130"/>
                <a:gd name="T4" fmla="*/ 29 w 77"/>
                <a:gd name="T5" fmla="*/ 35 h 130"/>
                <a:gd name="T6" fmla="*/ 24 w 77"/>
                <a:gd name="T7" fmla="*/ 71 h 130"/>
                <a:gd name="T8" fmla="*/ 12 w 77"/>
                <a:gd name="T9" fmla="*/ 86 h 130"/>
                <a:gd name="T10" fmla="*/ 5 w 77"/>
                <a:gd name="T11" fmla="*/ 120 h 130"/>
                <a:gd name="T12" fmla="*/ 22 w 77"/>
                <a:gd name="T13" fmla="*/ 129 h 130"/>
                <a:gd name="T14" fmla="*/ 41 w 77"/>
                <a:gd name="T15" fmla="*/ 102 h 130"/>
                <a:gd name="T16" fmla="*/ 54 w 77"/>
                <a:gd name="T17" fmla="*/ 88 h 130"/>
                <a:gd name="T18" fmla="*/ 67 w 77"/>
                <a:gd name="T19" fmla="*/ 35 h 130"/>
                <a:gd name="T20" fmla="*/ 77 w 77"/>
                <a:gd name="T21" fmla="*/ 2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130">
                  <a:moveTo>
                    <a:pt x="77" y="2"/>
                  </a:moveTo>
                  <a:cubicBezTo>
                    <a:pt x="68" y="1"/>
                    <a:pt x="52" y="0"/>
                    <a:pt x="41" y="2"/>
                  </a:cubicBezTo>
                  <a:cubicBezTo>
                    <a:pt x="29" y="35"/>
                    <a:pt x="29" y="35"/>
                    <a:pt x="29" y="35"/>
                  </a:cubicBezTo>
                  <a:cubicBezTo>
                    <a:pt x="23" y="48"/>
                    <a:pt x="27" y="61"/>
                    <a:pt x="24" y="71"/>
                  </a:cubicBezTo>
                  <a:cubicBezTo>
                    <a:pt x="22" y="76"/>
                    <a:pt x="15" y="81"/>
                    <a:pt x="12" y="86"/>
                  </a:cubicBezTo>
                  <a:cubicBezTo>
                    <a:pt x="4" y="95"/>
                    <a:pt x="0" y="109"/>
                    <a:pt x="5" y="120"/>
                  </a:cubicBezTo>
                  <a:cubicBezTo>
                    <a:pt x="8" y="129"/>
                    <a:pt x="12" y="130"/>
                    <a:pt x="22" y="129"/>
                  </a:cubicBezTo>
                  <a:cubicBezTo>
                    <a:pt x="49" y="127"/>
                    <a:pt x="33" y="113"/>
                    <a:pt x="41" y="102"/>
                  </a:cubicBezTo>
                  <a:cubicBezTo>
                    <a:pt x="45" y="97"/>
                    <a:pt x="49" y="94"/>
                    <a:pt x="54" y="88"/>
                  </a:cubicBezTo>
                  <a:cubicBezTo>
                    <a:pt x="67" y="67"/>
                    <a:pt x="54" y="63"/>
                    <a:pt x="67" y="35"/>
                  </a:cubicBezTo>
                  <a:cubicBezTo>
                    <a:pt x="71" y="26"/>
                    <a:pt x="77" y="14"/>
                    <a:pt x="77" y="2"/>
                  </a:cubicBezTo>
                  <a:close/>
                </a:path>
              </a:pathLst>
            </a:custGeom>
            <a:solidFill>
              <a:srgbClr val="8EB3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cs typeface="+mn-cs"/>
              </a:endParaRPr>
            </a:p>
          </p:txBody>
        </p:sp>
        <p:sp>
          <p:nvSpPr>
            <p:cNvPr id="122" name="Freeform 25">
              <a:extLst>
                <a:ext uri="{FF2B5EF4-FFF2-40B4-BE49-F238E27FC236}">
                  <a16:creationId xmlns:a16="http://schemas.microsoft.com/office/drawing/2014/main" id="{08126DC6-CB6D-43E3-AE34-91375070F352}"/>
                </a:ext>
              </a:extLst>
            </p:cNvPr>
            <p:cNvSpPr>
              <a:spLocks/>
            </p:cNvSpPr>
            <p:nvPr/>
          </p:nvSpPr>
          <p:spPr bwMode="auto">
            <a:xfrm>
              <a:off x="5323" y="1840"/>
              <a:ext cx="184" cy="343"/>
            </a:xfrm>
            <a:custGeom>
              <a:avLst/>
              <a:gdLst>
                <a:gd name="T0" fmla="*/ 8 w 69"/>
                <a:gd name="T1" fmla="*/ 124 h 128"/>
                <a:gd name="T2" fmla="*/ 39 w 69"/>
                <a:gd name="T3" fmla="*/ 126 h 128"/>
                <a:gd name="T4" fmla="*/ 68 w 69"/>
                <a:gd name="T5" fmla="*/ 71 h 128"/>
                <a:gd name="T6" fmla="*/ 64 w 69"/>
                <a:gd name="T7" fmla="*/ 36 h 128"/>
                <a:gd name="T8" fmla="*/ 69 w 69"/>
                <a:gd name="T9" fmla="*/ 3 h 128"/>
                <a:gd name="T10" fmla="*/ 34 w 69"/>
                <a:gd name="T11" fmla="*/ 0 h 128"/>
                <a:gd name="T12" fmla="*/ 33 w 69"/>
                <a:gd name="T13" fmla="*/ 66 h 128"/>
                <a:gd name="T14" fmla="*/ 8 w 69"/>
                <a:gd name="T15" fmla="*/ 124 h 1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9" h="128">
                  <a:moveTo>
                    <a:pt x="8" y="124"/>
                  </a:moveTo>
                  <a:cubicBezTo>
                    <a:pt x="15" y="127"/>
                    <a:pt x="31" y="128"/>
                    <a:pt x="39" y="126"/>
                  </a:cubicBezTo>
                  <a:cubicBezTo>
                    <a:pt x="46" y="109"/>
                    <a:pt x="66" y="87"/>
                    <a:pt x="68" y="71"/>
                  </a:cubicBezTo>
                  <a:cubicBezTo>
                    <a:pt x="69" y="61"/>
                    <a:pt x="66" y="47"/>
                    <a:pt x="64" y="36"/>
                  </a:cubicBezTo>
                  <a:cubicBezTo>
                    <a:pt x="60" y="13"/>
                    <a:pt x="67" y="14"/>
                    <a:pt x="69" y="3"/>
                  </a:cubicBezTo>
                  <a:cubicBezTo>
                    <a:pt x="62" y="0"/>
                    <a:pt x="45" y="1"/>
                    <a:pt x="34" y="0"/>
                  </a:cubicBezTo>
                  <a:cubicBezTo>
                    <a:pt x="17" y="21"/>
                    <a:pt x="34" y="42"/>
                    <a:pt x="33" y="66"/>
                  </a:cubicBezTo>
                  <a:cubicBezTo>
                    <a:pt x="31" y="83"/>
                    <a:pt x="0" y="106"/>
                    <a:pt x="8" y="124"/>
                  </a:cubicBezTo>
                  <a:close/>
                </a:path>
              </a:pathLst>
            </a:custGeom>
            <a:solidFill>
              <a:srgbClr val="8EB3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cs typeface="+mn-cs"/>
              </a:endParaRPr>
            </a:p>
          </p:txBody>
        </p:sp>
        <p:sp>
          <p:nvSpPr>
            <p:cNvPr id="123" name="Freeform 26">
              <a:extLst>
                <a:ext uri="{FF2B5EF4-FFF2-40B4-BE49-F238E27FC236}">
                  <a16:creationId xmlns:a16="http://schemas.microsoft.com/office/drawing/2014/main" id="{7109A729-DE4F-4FAD-936B-5F8ECE37DD5F}"/>
                </a:ext>
              </a:extLst>
            </p:cNvPr>
            <p:cNvSpPr>
              <a:spLocks/>
            </p:cNvSpPr>
            <p:nvPr/>
          </p:nvSpPr>
          <p:spPr bwMode="auto">
            <a:xfrm>
              <a:off x="3318" y="1966"/>
              <a:ext cx="248" cy="343"/>
            </a:xfrm>
            <a:custGeom>
              <a:avLst/>
              <a:gdLst>
                <a:gd name="T0" fmla="*/ 35 w 93"/>
                <a:gd name="T1" fmla="*/ 0 h 128"/>
                <a:gd name="T2" fmla="*/ 0 w 93"/>
                <a:gd name="T3" fmla="*/ 6 h 128"/>
                <a:gd name="T4" fmla="*/ 28 w 93"/>
                <a:gd name="T5" fmla="*/ 70 h 128"/>
                <a:gd name="T6" fmla="*/ 50 w 93"/>
                <a:gd name="T7" fmla="*/ 99 h 128"/>
                <a:gd name="T8" fmla="*/ 75 w 93"/>
                <a:gd name="T9" fmla="*/ 123 h 128"/>
                <a:gd name="T10" fmla="*/ 84 w 93"/>
                <a:gd name="T11" fmla="*/ 93 h 128"/>
                <a:gd name="T12" fmla="*/ 64 w 93"/>
                <a:gd name="T13" fmla="*/ 59 h 128"/>
                <a:gd name="T14" fmla="*/ 39 w 93"/>
                <a:gd name="T15" fmla="*/ 35 h 128"/>
                <a:gd name="T16" fmla="*/ 35 w 93"/>
                <a:gd name="T17" fmla="*/ 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128">
                  <a:moveTo>
                    <a:pt x="35" y="0"/>
                  </a:moveTo>
                  <a:cubicBezTo>
                    <a:pt x="0" y="6"/>
                    <a:pt x="0" y="6"/>
                    <a:pt x="0" y="6"/>
                  </a:cubicBezTo>
                  <a:cubicBezTo>
                    <a:pt x="1" y="38"/>
                    <a:pt x="0" y="46"/>
                    <a:pt x="28" y="70"/>
                  </a:cubicBezTo>
                  <a:cubicBezTo>
                    <a:pt x="38" y="79"/>
                    <a:pt x="46" y="85"/>
                    <a:pt x="50" y="99"/>
                  </a:cubicBezTo>
                  <a:cubicBezTo>
                    <a:pt x="54" y="113"/>
                    <a:pt x="56" y="128"/>
                    <a:pt x="75" y="123"/>
                  </a:cubicBezTo>
                  <a:cubicBezTo>
                    <a:pt x="93" y="118"/>
                    <a:pt x="88" y="106"/>
                    <a:pt x="84" y="93"/>
                  </a:cubicBezTo>
                  <a:cubicBezTo>
                    <a:pt x="80" y="76"/>
                    <a:pt x="77" y="71"/>
                    <a:pt x="64" y="59"/>
                  </a:cubicBezTo>
                  <a:cubicBezTo>
                    <a:pt x="58" y="53"/>
                    <a:pt x="44" y="43"/>
                    <a:pt x="39" y="35"/>
                  </a:cubicBezTo>
                  <a:cubicBezTo>
                    <a:pt x="33" y="23"/>
                    <a:pt x="39" y="5"/>
                    <a:pt x="35" y="0"/>
                  </a:cubicBezTo>
                  <a:close/>
                </a:path>
              </a:pathLst>
            </a:custGeom>
            <a:solidFill>
              <a:srgbClr val="8EB3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cs typeface="+mn-cs"/>
              </a:endParaRPr>
            </a:p>
          </p:txBody>
        </p:sp>
        <p:sp>
          <p:nvSpPr>
            <p:cNvPr id="124" name="Freeform 27">
              <a:extLst>
                <a:ext uri="{FF2B5EF4-FFF2-40B4-BE49-F238E27FC236}">
                  <a16:creationId xmlns:a16="http://schemas.microsoft.com/office/drawing/2014/main" id="{B13782EF-077C-49BF-B559-33537B1FCD67}"/>
                </a:ext>
              </a:extLst>
            </p:cNvPr>
            <p:cNvSpPr>
              <a:spLocks/>
            </p:cNvSpPr>
            <p:nvPr/>
          </p:nvSpPr>
          <p:spPr bwMode="auto">
            <a:xfrm>
              <a:off x="3775" y="1883"/>
              <a:ext cx="192" cy="332"/>
            </a:xfrm>
            <a:custGeom>
              <a:avLst/>
              <a:gdLst>
                <a:gd name="T0" fmla="*/ 15 w 72"/>
                <a:gd name="T1" fmla="*/ 7 h 124"/>
                <a:gd name="T2" fmla="*/ 30 w 72"/>
                <a:gd name="T3" fmla="*/ 39 h 124"/>
                <a:gd name="T4" fmla="*/ 17 w 72"/>
                <a:gd name="T5" fmla="*/ 103 h 124"/>
                <a:gd name="T6" fmla="*/ 46 w 72"/>
                <a:gd name="T7" fmla="*/ 123 h 124"/>
                <a:gd name="T8" fmla="*/ 58 w 72"/>
                <a:gd name="T9" fmla="*/ 97 h 124"/>
                <a:gd name="T10" fmla="*/ 59 w 72"/>
                <a:gd name="T11" fmla="*/ 70 h 124"/>
                <a:gd name="T12" fmla="*/ 53 w 72"/>
                <a:gd name="T13" fmla="*/ 1 h 124"/>
                <a:gd name="T14" fmla="*/ 34 w 72"/>
                <a:gd name="T15" fmla="*/ 3 h 124"/>
                <a:gd name="T16" fmla="*/ 25 w 72"/>
                <a:gd name="T17" fmla="*/ 4 h 124"/>
                <a:gd name="T18" fmla="*/ 21 w 72"/>
                <a:gd name="T19" fmla="*/ 5 h 124"/>
                <a:gd name="T20" fmla="*/ 15 w 72"/>
                <a:gd name="T21" fmla="*/ 7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124">
                  <a:moveTo>
                    <a:pt x="15" y="7"/>
                  </a:moveTo>
                  <a:cubicBezTo>
                    <a:pt x="17" y="18"/>
                    <a:pt x="28" y="17"/>
                    <a:pt x="30" y="39"/>
                  </a:cubicBezTo>
                  <a:cubicBezTo>
                    <a:pt x="33" y="66"/>
                    <a:pt x="0" y="72"/>
                    <a:pt x="17" y="103"/>
                  </a:cubicBezTo>
                  <a:cubicBezTo>
                    <a:pt x="22" y="113"/>
                    <a:pt x="37" y="124"/>
                    <a:pt x="46" y="123"/>
                  </a:cubicBezTo>
                  <a:cubicBezTo>
                    <a:pt x="61" y="123"/>
                    <a:pt x="68" y="106"/>
                    <a:pt x="58" y="97"/>
                  </a:cubicBezTo>
                  <a:cubicBezTo>
                    <a:pt x="47" y="87"/>
                    <a:pt x="42" y="93"/>
                    <a:pt x="59" y="70"/>
                  </a:cubicBezTo>
                  <a:cubicBezTo>
                    <a:pt x="69" y="56"/>
                    <a:pt x="72" y="21"/>
                    <a:pt x="53" y="1"/>
                  </a:cubicBezTo>
                  <a:cubicBezTo>
                    <a:pt x="47" y="0"/>
                    <a:pt x="40" y="2"/>
                    <a:pt x="34" y="3"/>
                  </a:cubicBezTo>
                  <a:cubicBezTo>
                    <a:pt x="31" y="3"/>
                    <a:pt x="28" y="3"/>
                    <a:pt x="25" y="4"/>
                  </a:cubicBezTo>
                  <a:cubicBezTo>
                    <a:pt x="23" y="4"/>
                    <a:pt x="23" y="4"/>
                    <a:pt x="21" y="5"/>
                  </a:cubicBezTo>
                  <a:lnTo>
                    <a:pt x="15" y="7"/>
                  </a:lnTo>
                  <a:close/>
                </a:path>
              </a:pathLst>
            </a:custGeom>
            <a:solidFill>
              <a:srgbClr val="8EB3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cs typeface="+mn-cs"/>
              </a:endParaRPr>
            </a:p>
          </p:txBody>
        </p:sp>
        <p:sp>
          <p:nvSpPr>
            <p:cNvPr id="125" name="Freeform 28">
              <a:extLst>
                <a:ext uri="{FF2B5EF4-FFF2-40B4-BE49-F238E27FC236}">
                  <a16:creationId xmlns:a16="http://schemas.microsoft.com/office/drawing/2014/main" id="{8AF84019-60AB-4625-9C9C-565E56800092}"/>
                </a:ext>
              </a:extLst>
            </p:cNvPr>
            <p:cNvSpPr>
              <a:spLocks/>
            </p:cNvSpPr>
            <p:nvPr/>
          </p:nvSpPr>
          <p:spPr bwMode="auto">
            <a:xfrm>
              <a:off x="3473" y="1942"/>
              <a:ext cx="307" cy="295"/>
            </a:xfrm>
            <a:custGeom>
              <a:avLst/>
              <a:gdLst>
                <a:gd name="T0" fmla="*/ 36 w 115"/>
                <a:gd name="T1" fmla="*/ 0 h 110"/>
                <a:gd name="T2" fmla="*/ 0 w 115"/>
                <a:gd name="T3" fmla="*/ 5 h 110"/>
                <a:gd name="T4" fmla="*/ 36 w 115"/>
                <a:gd name="T5" fmla="*/ 65 h 110"/>
                <a:gd name="T6" fmla="*/ 68 w 115"/>
                <a:gd name="T7" fmla="*/ 104 h 110"/>
                <a:gd name="T8" fmla="*/ 84 w 115"/>
                <a:gd name="T9" fmla="*/ 109 h 110"/>
                <a:gd name="T10" fmla="*/ 76 w 115"/>
                <a:gd name="T11" fmla="*/ 55 h 110"/>
                <a:gd name="T12" fmla="*/ 36 w 115"/>
                <a:gd name="T13" fmla="*/ 0 h 110"/>
              </a:gdLst>
              <a:ahLst/>
              <a:cxnLst>
                <a:cxn ang="0">
                  <a:pos x="T0" y="T1"/>
                </a:cxn>
                <a:cxn ang="0">
                  <a:pos x="T2" y="T3"/>
                </a:cxn>
                <a:cxn ang="0">
                  <a:pos x="T4" y="T5"/>
                </a:cxn>
                <a:cxn ang="0">
                  <a:pos x="T6" y="T7"/>
                </a:cxn>
                <a:cxn ang="0">
                  <a:pos x="T8" y="T9"/>
                </a:cxn>
                <a:cxn ang="0">
                  <a:pos x="T10" y="T11"/>
                </a:cxn>
                <a:cxn ang="0">
                  <a:pos x="T12" y="T13"/>
                </a:cxn>
              </a:cxnLst>
              <a:rect l="0" t="0" r="r" b="b"/>
              <a:pathLst>
                <a:path w="115" h="110">
                  <a:moveTo>
                    <a:pt x="36" y="0"/>
                  </a:moveTo>
                  <a:cubicBezTo>
                    <a:pt x="0" y="5"/>
                    <a:pt x="0" y="5"/>
                    <a:pt x="0" y="5"/>
                  </a:cubicBezTo>
                  <a:cubicBezTo>
                    <a:pt x="4" y="35"/>
                    <a:pt x="14" y="48"/>
                    <a:pt x="36" y="65"/>
                  </a:cubicBezTo>
                  <a:cubicBezTo>
                    <a:pt x="75" y="96"/>
                    <a:pt x="58" y="93"/>
                    <a:pt x="68" y="104"/>
                  </a:cubicBezTo>
                  <a:cubicBezTo>
                    <a:pt x="71" y="107"/>
                    <a:pt x="78" y="110"/>
                    <a:pt x="84" y="109"/>
                  </a:cubicBezTo>
                  <a:cubicBezTo>
                    <a:pt x="115" y="106"/>
                    <a:pt x="94" y="71"/>
                    <a:pt x="76" y="55"/>
                  </a:cubicBezTo>
                  <a:cubicBezTo>
                    <a:pt x="52" y="36"/>
                    <a:pt x="40" y="33"/>
                    <a:pt x="36" y="0"/>
                  </a:cubicBezTo>
                  <a:close/>
                </a:path>
              </a:pathLst>
            </a:custGeom>
            <a:solidFill>
              <a:srgbClr val="8EB3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cs typeface="+mn-cs"/>
              </a:endParaRPr>
            </a:p>
          </p:txBody>
        </p:sp>
        <p:sp>
          <p:nvSpPr>
            <p:cNvPr id="126" name="Freeform 29">
              <a:extLst>
                <a:ext uri="{FF2B5EF4-FFF2-40B4-BE49-F238E27FC236}">
                  <a16:creationId xmlns:a16="http://schemas.microsoft.com/office/drawing/2014/main" id="{5EB2EC99-37FB-49A7-AF13-E293B8739F4E}"/>
                </a:ext>
              </a:extLst>
            </p:cNvPr>
            <p:cNvSpPr>
              <a:spLocks/>
            </p:cNvSpPr>
            <p:nvPr/>
          </p:nvSpPr>
          <p:spPr bwMode="auto">
            <a:xfrm>
              <a:off x="2923" y="2025"/>
              <a:ext cx="192" cy="281"/>
            </a:xfrm>
            <a:custGeom>
              <a:avLst/>
              <a:gdLst>
                <a:gd name="T0" fmla="*/ 66 w 72"/>
                <a:gd name="T1" fmla="*/ 0 h 105"/>
                <a:gd name="T2" fmla="*/ 7 w 72"/>
                <a:gd name="T3" fmla="*/ 36 h 105"/>
                <a:gd name="T4" fmla="*/ 0 w 72"/>
                <a:gd name="T5" fmla="*/ 65 h 105"/>
                <a:gd name="T6" fmla="*/ 12 w 72"/>
                <a:gd name="T7" fmla="*/ 99 h 105"/>
                <a:gd name="T8" fmla="*/ 40 w 72"/>
                <a:gd name="T9" fmla="*/ 86 h 105"/>
                <a:gd name="T10" fmla="*/ 38 w 72"/>
                <a:gd name="T11" fmla="*/ 53 h 105"/>
                <a:gd name="T12" fmla="*/ 66 w 72"/>
                <a:gd name="T13" fmla="*/ 0 h 105"/>
              </a:gdLst>
              <a:ahLst/>
              <a:cxnLst>
                <a:cxn ang="0">
                  <a:pos x="T0" y="T1"/>
                </a:cxn>
                <a:cxn ang="0">
                  <a:pos x="T2" y="T3"/>
                </a:cxn>
                <a:cxn ang="0">
                  <a:pos x="T4" y="T5"/>
                </a:cxn>
                <a:cxn ang="0">
                  <a:pos x="T6" y="T7"/>
                </a:cxn>
                <a:cxn ang="0">
                  <a:pos x="T8" y="T9"/>
                </a:cxn>
                <a:cxn ang="0">
                  <a:pos x="T10" y="T11"/>
                </a:cxn>
                <a:cxn ang="0">
                  <a:pos x="T12" y="T13"/>
                </a:cxn>
              </a:cxnLst>
              <a:rect l="0" t="0" r="r" b="b"/>
              <a:pathLst>
                <a:path w="72" h="105">
                  <a:moveTo>
                    <a:pt x="66" y="0"/>
                  </a:moveTo>
                  <a:cubicBezTo>
                    <a:pt x="18" y="11"/>
                    <a:pt x="21" y="2"/>
                    <a:pt x="7" y="36"/>
                  </a:cubicBezTo>
                  <a:cubicBezTo>
                    <a:pt x="2" y="46"/>
                    <a:pt x="0" y="52"/>
                    <a:pt x="0" y="65"/>
                  </a:cubicBezTo>
                  <a:cubicBezTo>
                    <a:pt x="0" y="75"/>
                    <a:pt x="2" y="93"/>
                    <a:pt x="12" y="99"/>
                  </a:cubicBezTo>
                  <a:cubicBezTo>
                    <a:pt x="24" y="105"/>
                    <a:pt x="40" y="96"/>
                    <a:pt x="40" y="86"/>
                  </a:cubicBezTo>
                  <a:cubicBezTo>
                    <a:pt x="40" y="72"/>
                    <a:pt x="33" y="69"/>
                    <a:pt x="38" y="53"/>
                  </a:cubicBezTo>
                  <a:cubicBezTo>
                    <a:pt x="46" y="24"/>
                    <a:pt x="72" y="14"/>
                    <a:pt x="66" y="0"/>
                  </a:cubicBezTo>
                  <a:close/>
                </a:path>
              </a:pathLst>
            </a:custGeom>
            <a:solidFill>
              <a:srgbClr val="8EB3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cs typeface="+mn-cs"/>
              </a:endParaRPr>
            </a:p>
          </p:txBody>
        </p:sp>
        <p:sp>
          <p:nvSpPr>
            <p:cNvPr id="127" name="Freeform 30">
              <a:extLst>
                <a:ext uri="{FF2B5EF4-FFF2-40B4-BE49-F238E27FC236}">
                  <a16:creationId xmlns:a16="http://schemas.microsoft.com/office/drawing/2014/main" id="{DD4AEC24-ED5C-4A56-8915-97203AB776F7}"/>
                </a:ext>
              </a:extLst>
            </p:cNvPr>
            <p:cNvSpPr>
              <a:spLocks/>
            </p:cNvSpPr>
            <p:nvPr/>
          </p:nvSpPr>
          <p:spPr bwMode="auto">
            <a:xfrm>
              <a:off x="5515" y="1851"/>
              <a:ext cx="179" cy="278"/>
            </a:xfrm>
            <a:custGeom>
              <a:avLst/>
              <a:gdLst>
                <a:gd name="T0" fmla="*/ 67 w 67"/>
                <a:gd name="T1" fmla="*/ 3 h 104"/>
                <a:gd name="T2" fmla="*/ 32 w 67"/>
                <a:gd name="T3" fmla="*/ 0 h 104"/>
                <a:gd name="T4" fmla="*/ 26 w 67"/>
                <a:gd name="T5" fmla="*/ 27 h 104"/>
                <a:gd name="T6" fmla="*/ 21 w 67"/>
                <a:gd name="T7" fmla="*/ 55 h 104"/>
                <a:gd name="T8" fmla="*/ 27 w 67"/>
                <a:gd name="T9" fmla="*/ 104 h 104"/>
                <a:gd name="T10" fmla="*/ 49 w 67"/>
                <a:gd name="T11" fmla="*/ 85 h 104"/>
                <a:gd name="T12" fmla="*/ 61 w 67"/>
                <a:gd name="T13" fmla="*/ 30 h 104"/>
                <a:gd name="T14" fmla="*/ 67 w 67"/>
                <a:gd name="T15" fmla="*/ 3 h 1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7" h="104">
                  <a:moveTo>
                    <a:pt x="67" y="3"/>
                  </a:moveTo>
                  <a:cubicBezTo>
                    <a:pt x="32" y="0"/>
                    <a:pt x="32" y="0"/>
                    <a:pt x="32" y="0"/>
                  </a:cubicBezTo>
                  <a:cubicBezTo>
                    <a:pt x="32" y="6"/>
                    <a:pt x="28" y="19"/>
                    <a:pt x="26" y="27"/>
                  </a:cubicBezTo>
                  <a:cubicBezTo>
                    <a:pt x="24" y="37"/>
                    <a:pt x="23" y="46"/>
                    <a:pt x="21" y="55"/>
                  </a:cubicBezTo>
                  <a:cubicBezTo>
                    <a:pt x="19" y="69"/>
                    <a:pt x="0" y="104"/>
                    <a:pt x="27" y="104"/>
                  </a:cubicBezTo>
                  <a:cubicBezTo>
                    <a:pt x="44" y="104"/>
                    <a:pt x="47" y="93"/>
                    <a:pt x="49" y="85"/>
                  </a:cubicBezTo>
                  <a:cubicBezTo>
                    <a:pt x="56" y="64"/>
                    <a:pt x="57" y="51"/>
                    <a:pt x="61" y="30"/>
                  </a:cubicBezTo>
                  <a:cubicBezTo>
                    <a:pt x="63" y="22"/>
                    <a:pt x="67" y="10"/>
                    <a:pt x="67" y="3"/>
                  </a:cubicBezTo>
                  <a:close/>
                </a:path>
              </a:pathLst>
            </a:custGeom>
            <a:solidFill>
              <a:srgbClr val="8EB3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cs typeface="+mn-cs"/>
              </a:endParaRPr>
            </a:p>
          </p:txBody>
        </p:sp>
        <p:sp>
          <p:nvSpPr>
            <p:cNvPr id="128" name="Freeform 31">
              <a:extLst>
                <a:ext uri="{FF2B5EF4-FFF2-40B4-BE49-F238E27FC236}">
                  <a16:creationId xmlns:a16="http://schemas.microsoft.com/office/drawing/2014/main" id="{A1D649E3-510C-498D-8057-9B03CFBC9752}"/>
                </a:ext>
              </a:extLst>
            </p:cNvPr>
            <p:cNvSpPr>
              <a:spLocks/>
            </p:cNvSpPr>
            <p:nvPr/>
          </p:nvSpPr>
          <p:spPr bwMode="auto">
            <a:xfrm>
              <a:off x="3638" y="1910"/>
              <a:ext cx="185" cy="201"/>
            </a:xfrm>
            <a:custGeom>
              <a:avLst/>
              <a:gdLst>
                <a:gd name="T0" fmla="*/ 38 w 69"/>
                <a:gd name="T1" fmla="*/ 0 h 75"/>
                <a:gd name="T2" fmla="*/ 4 w 69"/>
                <a:gd name="T3" fmla="*/ 6 h 75"/>
                <a:gd name="T4" fmla="*/ 12 w 69"/>
                <a:gd name="T5" fmla="*/ 51 h 75"/>
                <a:gd name="T6" fmla="*/ 67 w 69"/>
                <a:gd name="T7" fmla="*/ 52 h 75"/>
                <a:gd name="T8" fmla="*/ 38 w 69"/>
                <a:gd name="T9" fmla="*/ 21 h 75"/>
                <a:gd name="T10" fmla="*/ 38 w 69"/>
                <a:gd name="T11" fmla="*/ 0 h 75"/>
              </a:gdLst>
              <a:ahLst/>
              <a:cxnLst>
                <a:cxn ang="0">
                  <a:pos x="T0" y="T1"/>
                </a:cxn>
                <a:cxn ang="0">
                  <a:pos x="T2" y="T3"/>
                </a:cxn>
                <a:cxn ang="0">
                  <a:pos x="T4" y="T5"/>
                </a:cxn>
                <a:cxn ang="0">
                  <a:pos x="T6" y="T7"/>
                </a:cxn>
                <a:cxn ang="0">
                  <a:pos x="T8" y="T9"/>
                </a:cxn>
                <a:cxn ang="0">
                  <a:pos x="T10" y="T11"/>
                </a:cxn>
              </a:cxnLst>
              <a:rect l="0" t="0" r="r" b="b"/>
              <a:pathLst>
                <a:path w="69" h="75">
                  <a:moveTo>
                    <a:pt x="38" y="0"/>
                  </a:moveTo>
                  <a:cubicBezTo>
                    <a:pt x="4" y="6"/>
                    <a:pt x="4" y="6"/>
                    <a:pt x="4" y="6"/>
                  </a:cubicBezTo>
                  <a:cubicBezTo>
                    <a:pt x="0" y="19"/>
                    <a:pt x="1" y="39"/>
                    <a:pt x="12" y="51"/>
                  </a:cubicBezTo>
                  <a:cubicBezTo>
                    <a:pt x="34" y="75"/>
                    <a:pt x="69" y="74"/>
                    <a:pt x="67" y="52"/>
                  </a:cubicBezTo>
                  <a:cubicBezTo>
                    <a:pt x="65" y="34"/>
                    <a:pt x="39" y="46"/>
                    <a:pt x="38" y="21"/>
                  </a:cubicBezTo>
                  <a:cubicBezTo>
                    <a:pt x="38" y="14"/>
                    <a:pt x="40" y="7"/>
                    <a:pt x="38" y="0"/>
                  </a:cubicBezTo>
                  <a:close/>
                </a:path>
              </a:pathLst>
            </a:custGeom>
            <a:solidFill>
              <a:srgbClr val="8EB3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cs typeface="+mn-cs"/>
              </a:endParaRPr>
            </a:p>
          </p:txBody>
        </p:sp>
        <p:sp>
          <p:nvSpPr>
            <p:cNvPr id="129" name="Freeform 32">
              <a:extLst>
                <a:ext uri="{FF2B5EF4-FFF2-40B4-BE49-F238E27FC236}">
                  <a16:creationId xmlns:a16="http://schemas.microsoft.com/office/drawing/2014/main" id="{8F6464D9-D580-4762-8CD8-E5245E9C831C}"/>
                </a:ext>
              </a:extLst>
            </p:cNvPr>
            <p:cNvSpPr>
              <a:spLocks/>
            </p:cNvSpPr>
            <p:nvPr/>
          </p:nvSpPr>
          <p:spPr bwMode="auto">
            <a:xfrm>
              <a:off x="6148" y="2049"/>
              <a:ext cx="275" cy="260"/>
            </a:xfrm>
            <a:custGeom>
              <a:avLst/>
              <a:gdLst>
                <a:gd name="T0" fmla="*/ 36 w 103"/>
                <a:gd name="T1" fmla="*/ 23 h 97"/>
                <a:gd name="T2" fmla="*/ 70 w 103"/>
                <a:gd name="T3" fmla="*/ 75 h 97"/>
                <a:gd name="T4" fmla="*/ 36 w 103"/>
                <a:gd name="T5" fmla="*/ 23 h 97"/>
              </a:gdLst>
              <a:ahLst/>
              <a:cxnLst>
                <a:cxn ang="0">
                  <a:pos x="T0" y="T1"/>
                </a:cxn>
                <a:cxn ang="0">
                  <a:pos x="T2" y="T3"/>
                </a:cxn>
                <a:cxn ang="0">
                  <a:pos x="T4" y="T5"/>
                </a:cxn>
              </a:cxnLst>
              <a:rect l="0" t="0" r="r" b="b"/>
              <a:pathLst>
                <a:path w="103" h="97">
                  <a:moveTo>
                    <a:pt x="36" y="23"/>
                  </a:moveTo>
                  <a:cubicBezTo>
                    <a:pt x="0" y="47"/>
                    <a:pt x="33" y="97"/>
                    <a:pt x="70" y="75"/>
                  </a:cubicBezTo>
                  <a:cubicBezTo>
                    <a:pt x="103" y="55"/>
                    <a:pt x="74" y="0"/>
                    <a:pt x="36" y="2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cs typeface="+mn-cs"/>
              </a:endParaRPr>
            </a:p>
          </p:txBody>
        </p:sp>
        <p:sp>
          <p:nvSpPr>
            <p:cNvPr id="130" name="Freeform 33">
              <a:extLst>
                <a:ext uri="{FF2B5EF4-FFF2-40B4-BE49-F238E27FC236}">
                  <a16:creationId xmlns:a16="http://schemas.microsoft.com/office/drawing/2014/main" id="{3F08E836-BA54-4BAD-B3FE-B4BF97B59721}"/>
                </a:ext>
              </a:extLst>
            </p:cNvPr>
            <p:cNvSpPr>
              <a:spLocks/>
            </p:cNvSpPr>
            <p:nvPr/>
          </p:nvSpPr>
          <p:spPr bwMode="auto">
            <a:xfrm>
              <a:off x="2787" y="2062"/>
              <a:ext cx="131" cy="241"/>
            </a:xfrm>
            <a:custGeom>
              <a:avLst/>
              <a:gdLst>
                <a:gd name="T0" fmla="*/ 49 w 49"/>
                <a:gd name="T1" fmla="*/ 0 h 90"/>
                <a:gd name="T2" fmla="*/ 4 w 49"/>
                <a:gd name="T3" fmla="*/ 30 h 90"/>
                <a:gd name="T4" fmla="*/ 9 w 49"/>
                <a:gd name="T5" fmla="*/ 60 h 90"/>
                <a:gd name="T6" fmla="*/ 11 w 49"/>
                <a:gd name="T7" fmla="*/ 84 h 90"/>
                <a:gd name="T8" fmla="*/ 35 w 49"/>
                <a:gd name="T9" fmla="*/ 76 h 90"/>
                <a:gd name="T10" fmla="*/ 36 w 49"/>
                <a:gd name="T11" fmla="*/ 21 h 90"/>
                <a:gd name="T12" fmla="*/ 49 w 49"/>
                <a:gd name="T13" fmla="*/ 0 h 90"/>
              </a:gdLst>
              <a:ahLst/>
              <a:cxnLst>
                <a:cxn ang="0">
                  <a:pos x="T0" y="T1"/>
                </a:cxn>
                <a:cxn ang="0">
                  <a:pos x="T2" y="T3"/>
                </a:cxn>
                <a:cxn ang="0">
                  <a:pos x="T4" y="T5"/>
                </a:cxn>
                <a:cxn ang="0">
                  <a:pos x="T6" y="T7"/>
                </a:cxn>
                <a:cxn ang="0">
                  <a:pos x="T8" y="T9"/>
                </a:cxn>
                <a:cxn ang="0">
                  <a:pos x="T10" y="T11"/>
                </a:cxn>
                <a:cxn ang="0">
                  <a:pos x="T12" y="T13"/>
                </a:cxn>
              </a:cxnLst>
              <a:rect l="0" t="0" r="r" b="b"/>
              <a:pathLst>
                <a:path w="49" h="90">
                  <a:moveTo>
                    <a:pt x="49" y="0"/>
                  </a:moveTo>
                  <a:cubicBezTo>
                    <a:pt x="17" y="6"/>
                    <a:pt x="7" y="4"/>
                    <a:pt x="4" y="30"/>
                  </a:cubicBezTo>
                  <a:cubicBezTo>
                    <a:pt x="3" y="43"/>
                    <a:pt x="7" y="47"/>
                    <a:pt x="9" y="60"/>
                  </a:cubicBezTo>
                  <a:cubicBezTo>
                    <a:pt x="11" y="70"/>
                    <a:pt x="0" y="76"/>
                    <a:pt x="11" y="84"/>
                  </a:cubicBezTo>
                  <a:cubicBezTo>
                    <a:pt x="19" y="90"/>
                    <a:pt x="32" y="84"/>
                    <a:pt x="35" y="76"/>
                  </a:cubicBezTo>
                  <a:cubicBezTo>
                    <a:pt x="44" y="56"/>
                    <a:pt x="25" y="46"/>
                    <a:pt x="36" y="21"/>
                  </a:cubicBezTo>
                  <a:cubicBezTo>
                    <a:pt x="39" y="14"/>
                    <a:pt x="48" y="6"/>
                    <a:pt x="49" y="0"/>
                  </a:cubicBezTo>
                  <a:close/>
                </a:path>
              </a:pathLst>
            </a:custGeom>
            <a:solidFill>
              <a:srgbClr val="8EB3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cs typeface="+mn-cs"/>
              </a:endParaRPr>
            </a:p>
          </p:txBody>
        </p:sp>
        <p:sp>
          <p:nvSpPr>
            <p:cNvPr id="131" name="Freeform 34">
              <a:extLst>
                <a:ext uri="{FF2B5EF4-FFF2-40B4-BE49-F238E27FC236}">
                  <a16:creationId xmlns:a16="http://schemas.microsoft.com/office/drawing/2014/main" id="{52713E9E-7783-4F9A-9502-EEEB79B57E64}"/>
                </a:ext>
              </a:extLst>
            </p:cNvPr>
            <p:cNvSpPr>
              <a:spLocks/>
            </p:cNvSpPr>
            <p:nvPr/>
          </p:nvSpPr>
          <p:spPr bwMode="auto">
            <a:xfrm>
              <a:off x="2632" y="2095"/>
              <a:ext cx="152" cy="230"/>
            </a:xfrm>
            <a:custGeom>
              <a:avLst/>
              <a:gdLst>
                <a:gd name="T0" fmla="*/ 57 w 57"/>
                <a:gd name="T1" fmla="*/ 0 h 86"/>
                <a:gd name="T2" fmla="*/ 4 w 57"/>
                <a:gd name="T3" fmla="*/ 25 h 86"/>
                <a:gd name="T4" fmla="*/ 11 w 57"/>
                <a:gd name="T5" fmla="*/ 54 h 86"/>
                <a:gd name="T6" fmla="*/ 12 w 57"/>
                <a:gd name="T7" fmla="*/ 78 h 86"/>
                <a:gd name="T8" fmla="*/ 38 w 57"/>
                <a:gd name="T9" fmla="*/ 46 h 86"/>
                <a:gd name="T10" fmla="*/ 57 w 57"/>
                <a:gd name="T11" fmla="*/ 0 h 86"/>
              </a:gdLst>
              <a:ahLst/>
              <a:cxnLst>
                <a:cxn ang="0">
                  <a:pos x="T0" y="T1"/>
                </a:cxn>
                <a:cxn ang="0">
                  <a:pos x="T2" y="T3"/>
                </a:cxn>
                <a:cxn ang="0">
                  <a:pos x="T4" y="T5"/>
                </a:cxn>
                <a:cxn ang="0">
                  <a:pos x="T6" y="T7"/>
                </a:cxn>
                <a:cxn ang="0">
                  <a:pos x="T8" y="T9"/>
                </a:cxn>
                <a:cxn ang="0">
                  <a:pos x="T10" y="T11"/>
                </a:cxn>
              </a:cxnLst>
              <a:rect l="0" t="0" r="r" b="b"/>
              <a:pathLst>
                <a:path w="57" h="86">
                  <a:moveTo>
                    <a:pt x="57" y="0"/>
                  </a:moveTo>
                  <a:cubicBezTo>
                    <a:pt x="21" y="4"/>
                    <a:pt x="6" y="5"/>
                    <a:pt x="4" y="25"/>
                  </a:cubicBezTo>
                  <a:cubicBezTo>
                    <a:pt x="3" y="36"/>
                    <a:pt x="8" y="43"/>
                    <a:pt x="11" y="54"/>
                  </a:cubicBezTo>
                  <a:cubicBezTo>
                    <a:pt x="13" y="65"/>
                    <a:pt x="0" y="70"/>
                    <a:pt x="12" y="78"/>
                  </a:cubicBezTo>
                  <a:cubicBezTo>
                    <a:pt x="23" y="86"/>
                    <a:pt x="47" y="78"/>
                    <a:pt x="38" y="46"/>
                  </a:cubicBezTo>
                  <a:cubicBezTo>
                    <a:pt x="28" y="11"/>
                    <a:pt x="41" y="20"/>
                    <a:pt x="57" y="0"/>
                  </a:cubicBezTo>
                  <a:close/>
                </a:path>
              </a:pathLst>
            </a:custGeom>
            <a:solidFill>
              <a:srgbClr val="8EB3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cs typeface="+mn-cs"/>
              </a:endParaRPr>
            </a:p>
          </p:txBody>
        </p:sp>
        <p:sp>
          <p:nvSpPr>
            <p:cNvPr id="132" name="Freeform 35">
              <a:extLst>
                <a:ext uri="{FF2B5EF4-FFF2-40B4-BE49-F238E27FC236}">
                  <a16:creationId xmlns:a16="http://schemas.microsoft.com/office/drawing/2014/main" id="{EDC965D7-2384-423E-A094-C367C02CC4AA}"/>
                </a:ext>
              </a:extLst>
            </p:cNvPr>
            <p:cNvSpPr>
              <a:spLocks/>
            </p:cNvSpPr>
            <p:nvPr/>
          </p:nvSpPr>
          <p:spPr bwMode="auto">
            <a:xfrm>
              <a:off x="2523" y="2121"/>
              <a:ext cx="120" cy="182"/>
            </a:xfrm>
            <a:custGeom>
              <a:avLst/>
              <a:gdLst>
                <a:gd name="T0" fmla="*/ 32 w 45"/>
                <a:gd name="T1" fmla="*/ 0 h 68"/>
                <a:gd name="T2" fmla="*/ 4 w 45"/>
                <a:gd name="T3" fmla="*/ 6 h 68"/>
                <a:gd name="T4" fmla="*/ 4 w 45"/>
                <a:gd name="T5" fmla="*/ 39 h 68"/>
                <a:gd name="T6" fmla="*/ 26 w 45"/>
                <a:gd name="T7" fmla="*/ 63 h 68"/>
                <a:gd name="T8" fmla="*/ 27 w 45"/>
                <a:gd name="T9" fmla="*/ 14 h 68"/>
                <a:gd name="T10" fmla="*/ 32 w 45"/>
                <a:gd name="T11" fmla="*/ 0 h 68"/>
              </a:gdLst>
              <a:ahLst/>
              <a:cxnLst>
                <a:cxn ang="0">
                  <a:pos x="T0" y="T1"/>
                </a:cxn>
                <a:cxn ang="0">
                  <a:pos x="T2" y="T3"/>
                </a:cxn>
                <a:cxn ang="0">
                  <a:pos x="T4" y="T5"/>
                </a:cxn>
                <a:cxn ang="0">
                  <a:pos x="T6" y="T7"/>
                </a:cxn>
                <a:cxn ang="0">
                  <a:pos x="T8" y="T9"/>
                </a:cxn>
                <a:cxn ang="0">
                  <a:pos x="T10" y="T11"/>
                </a:cxn>
              </a:cxnLst>
              <a:rect l="0" t="0" r="r" b="b"/>
              <a:pathLst>
                <a:path w="45" h="68">
                  <a:moveTo>
                    <a:pt x="32" y="0"/>
                  </a:moveTo>
                  <a:cubicBezTo>
                    <a:pt x="4" y="6"/>
                    <a:pt x="4" y="6"/>
                    <a:pt x="4" y="6"/>
                  </a:cubicBezTo>
                  <a:cubicBezTo>
                    <a:pt x="4" y="18"/>
                    <a:pt x="0" y="23"/>
                    <a:pt x="4" y="39"/>
                  </a:cubicBezTo>
                  <a:cubicBezTo>
                    <a:pt x="6" y="50"/>
                    <a:pt x="10" y="68"/>
                    <a:pt x="26" y="63"/>
                  </a:cubicBezTo>
                  <a:cubicBezTo>
                    <a:pt x="45" y="57"/>
                    <a:pt x="22" y="39"/>
                    <a:pt x="27" y="14"/>
                  </a:cubicBezTo>
                  <a:cubicBezTo>
                    <a:pt x="28" y="7"/>
                    <a:pt x="32" y="6"/>
                    <a:pt x="32" y="0"/>
                  </a:cubicBezTo>
                  <a:close/>
                </a:path>
              </a:pathLst>
            </a:custGeom>
            <a:solidFill>
              <a:srgbClr val="8EB3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cs typeface="+mn-cs"/>
              </a:endParaRPr>
            </a:p>
          </p:txBody>
        </p:sp>
        <p:sp>
          <p:nvSpPr>
            <p:cNvPr id="133" name="Freeform 36">
              <a:extLst>
                <a:ext uri="{FF2B5EF4-FFF2-40B4-BE49-F238E27FC236}">
                  <a16:creationId xmlns:a16="http://schemas.microsoft.com/office/drawing/2014/main" id="{B0733182-641B-4D24-8783-B88717602921}"/>
                </a:ext>
              </a:extLst>
            </p:cNvPr>
            <p:cNvSpPr>
              <a:spLocks/>
            </p:cNvSpPr>
            <p:nvPr/>
          </p:nvSpPr>
          <p:spPr bwMode="auto">
            <a:xfrm>
              <a:off x="2395" y="2140"/>
              <a:ext cx="88" cy="145"/>
            </a:xfrm>
            <a:custGeom>
              <a:avLst/>
              <a:gdLst>
                <a:gd name="T0" fmla="*/ 33 w 33"/>
                <a:gd name="T1" fmla="*/ 2 h 54"/>
                <a:gd name="T2" fmla="*/ 5 w 33"/>
                <a:gd name="T3" fmla="*/ 15 h 54"/>
                <a:gd name="T4" fmla="*/ 28 w 33"/>
                <a:gd name="T5" fmla="*/ 45 h 54"/>
                <a:gd name="T6" fmla="*/ 29 w 33"/>
                <a:gd name="T7" fmla="*/ 31 h 54"/>
                <a:gd name="T8" fmla="*/ 33 w 33"/>
                <a:gd name="T9" fmla="*/ 2 h 54"/>
              </a:gdLst>
              <a:ahLst/>
              <a:cxnLst>
                <a:cxn ang="0">
                  <a:pos x="T0" y="T1"/>
                </a:cxn>
                <a:cxn ang="0">
                  <a:pos x="T2" y="T3"/>
                </a:cxn>
                <a:cxn ang="0">
                  <a:pos x="T4" y="T5"/>
                </a:cxn>
                <a:cxn ang="0">
                  <a:pos x="T6" y="T7"/>
                </a:cxn>
                <a:cxn ang="0">
                  <a:pos x="T8" y="T9"/>
                </a:cxn>
              </a:cxnLst>
              <a:rect l="0" t="0" r="r" b="b"/>
              <a:pathLst>
                <a:path w="33" h="54">
                  <a:moveTo>
                    <a:pt x="33" y="2"/>
                  </a:moveTo>
                  <a:cubicBezTo>
                    <a:pt x="17" y="5"/>
                    <a:pt x="7" y="0"/>
                    <a:pt x="5" y="15"/>
                  </a:cubicBezTo>
                  <a:cubicBezTo>
                    <a:pt x="0" y="47"/>
                    <a:pt x="17" y="54"/>
                    <a:pt x="28" y="45"/>
                  </a:cubicBezTo>
                  <a:cubicBezTo>
                    <a:pt x="32" y="41"/>
                    <a:pt x="31" y="37"/>
                    <a:pt x="29" y="31"/>
                  </a:cubicBezTo>
                  <a:cubicBezTo>
                    <a:pt x="26" y="20"/>
                    <a:pt x="31" y="11"/>
                    <a:pt x="33" y="2"/>
                  </a:cubicBezTo>
                  <a:close/>
                </a:path>
              </a:pathLst>
            </a:custGeom>
            <a:solidFill>
              <a:srgbClr val="8EB3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cs typeface="+mn-cs"/>
              </a:endParaRPr>
            </a:p>
          </p:txBody>
        </p:sp>
        <p:sp>
          <p:nvSpPr>
            <p:cNvPr id="134" name="Freeform 37">
              <a:extLst>
                <a:ext uri="{FF2B5EF4-FFF2-40B4-BE49-F238E27FC236}">
                  <a16:creationId xmlns:a16="http://schemas.microsoft.com/office/drawing/2014/main" id="{A86F54A9-B52B-412E-899D-A1F6A60137A0}"/>
                </a:ext>
              </a:extLst>
            </p:cNvPr>
            <p:cNvSpPr>
              <a:spLocks/>
            </p:cNvSpPr>
            <p:nvPr/>
          </p:nvSpPr>
          <p:spPr bwMode="auto">
            <a:xfrm>
              <a:off x="6209" y="2105"/>
              <a:ext cx="160" cy="145"/>
            </a:xfrm>
            <a:custGeom>
              <a:avLst/>
              <a:gdLst>
                <a:gd name="T0" fmla="*/ 19 w 60"/>
                <a:gd name="T1" fmla="*/ 16 h 54"/>
                <a:gd name="T2" fmla="*/ 41 w 60"/>
                <a:gd name="T3" fmla="*/ 41 h 54"/>
                <a:gd name="T4" fmla="*/ 19 w 60"/>
                <a:gd name="T5" fmla="*/ 16 h 54"/>
              </a:gdLst>
              <a:ahLst/>
              <a:cxnLst>
                <a:cxn ang="0">
                  <a:pos x="T0" y="T1"/>
                </a:cxn>
                <a:cxn ang="0">
                  <a:pos x="T2" y="T3"/>
                </a:cxn>
                <a:cxn ang="0">
                  <a:pos x="T4" y="T5"/>
                </a:cxn>
              </a:cxnLst>
              <a:rect l="0" t="0" r="r" b="b"/>
              <a:pathLst>
                <a:path w="60" h="54">
                  <a:moveTo>
                    <a:pt x="19" y="16"/>
                  </a:moveTo>
                  <a:cubicBezTo>
                    <a:pt x="0" y="35"/>
                    <a:pt x="24" y="54"/>
                    <a:pt x="41" y="41"/>
                  </a:cubicBezTo>
                  <a:cubicBezTo>
                    <a:pt x="60" y="26"/>
                    <a:pt x="35" y="0"/>
                    <a:pt x="19" y="16"/>
                  </a:cubicBezTo>
                  <a:close/>
                </a:path>
              </a:pathLst>
            </a:custGeom>
            <a:solidFill>
              <a:srgbClr val="CFD0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cs typeface="+mn-cs"/>
              </a:endParaRPr>
            </a:p>
          </p:txBody>
        </p:sp>
        <p:sp>
          <p:nvSpPr>
            <p:cNvPr id="135" name="Freeform 38">
              <a:extLst>
                <a:ext uri="{FF2B5EF4-FFF2-40B4-BE49-F238E27FC236}">
                  <a16:creationId xmlns:a16="http://schemas.microsoft.com/office/drawing/2014/main" id="{89CD8357-8557-41B2-85E9-C6CB115622BA}"/>
                </a:ext>
              </a:extLst>
            </p:cNvPr>
            <p:cNvSpPr>
              <a:spLocks/>
            </p:cNvSpPr>
            <p:nvPr/>
          </p:nvSpPr>
          <p:spPr bwMode="auto">
            <a:xfrm>
              <a:off x="2197" y="2170"/>
              <a:ext cx="85" cy="99"/>
            </a:xfrm>
            <a:custGeom>
              <a:avLst/>
              <a:gdLst>
                <a:gd name="T0" fmla="*/ 28 w 32"/>
                <a:gd name="T1" fmla="*/ 0 h 37"/>
                <a:gd name="T2" fmla="*/ 6 w 32"/>
                <a:gd name="T3" fmla="*/ 4 h 37"/>
                <a:gd name="T4" fmla="*/ 19 w 32"/>
                <a:gd name="T5" fmla="*/ 34 h 37"/>
                <a:gd name="T6" fmla="*/ 29 w 32"/>
                <a:gd name="T7" fmla="*/ 9 h 37"/>
                <a:gd name="T8" fmla="*/ 28 w 32"/>
                <a:gd name="T9" fmla="*/ 0 h 37"/>
              </a:gdLst>
              <a:ahLst/>
              <a:cxnLst>
                <a:cxn ang="0">
                  <a:pos x="T0" y="T1"/>
                </a:cxn>
                <a:cxn ang="0">
                  <a:pos x="T2" y="T3"/>
                </a:cxn>
                <a:cxn ang="0">
                  <a:pos x="T4" y="T5"/>
                </a:cxn>
                <a:cxn ang="0">
                  <a:pos x="T6" y="T7"/>
                </a:cxn>
                <a:cxn ang="0">
                  <a:pos x="T8" y="T9"/>
                </a:cxn>
              </a:cxnLst>
              <a:rect l="0" t="0" r="r" b="b"/>
              <a:pathLst>
                <a:path w="32" h="37">
                  <a:moveTo>
                    <a:pt x="28" y="0"/>
                  </a:moveTo>
                  <a:cubicBezTo>
                    <a:pt x="6" y="4"/>
                    <a:pt x="6" y="4"/>
                    <a:pt x="6" y="4"/>
                  </a:cubicBezTo>
                  <a:cubicBezTo>
                    <a:pt x="5" y="14"/>
                    <a:pt x="0" y="37"/>
                    <a:pt x="19" y="34"/>
                  </a:cubicBezTo>
                  <a:cubicBezTo>
                    <a:pt x="32" y="31"/>
                    <a:pt x="28" y="22"/>
                    <a:pt x="29" y="9"/>
                  </a:cubicBezTo>
                  <a:cubicBezTo>
                    <a:pt x="30" y="5"/>
                    <a:pt x="31" y="2"/>
                    <a:pt x="28" y="0"/>
                  </a:cubicBezTo>
                  <a:close/>
                </a:path>
              </a:pathLst>
            </a:custGeom>
            <a:solidFill>
              <a:srgbClr val="8EB3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cs typeface="+mn-cs"/>
              </a:endParaRPr>
            </a:p>
          </p:txBody>
        </p:sp>
      </p:grpSp>
      <p:grpSp>
        <p:nvGrpSpPr>
          <p:cNvPr id="137" name="Group 41">
            <a:extLst>
              <a:ext uri="{FF2B5EF4-FFF2-40B4-BE49-F238E27FC236}">
                <a16:creationId xmlns:a16="http://schemas.microsoft.com/office/drawing/2014/main" id="{63520952-DA6E-4E3A-BC60-52F34FA8DCB9}"/>
              </a:ext>
            </a:extLst>
          </p:cNvPr>
          <p:cNvGrpSpPr>
            <a:grpSpLocks noChangeAspect="1"/>
          </p:cNvGrpSpPr>
          <p:nvPr/>
        </p:nvGrpSpPr>
        <p:grpSpPr bwMode="auto">
          <a:xfrm>
            <a:off x="1308409" y="3988337"/>
            <a:ext cx="4116387" cy="1097116"/>
            <a:chOff x="1031" y="1416"/>
            <a:chExt cx="5613" cy="1496"/>
          </a:xfrm>
        </p:grpSpPr>
        <p:sp>
          <p:nvSpPr>
            <p:cNvPr id="139" name="Freeform 42">
              <a:extLst>
                <a:ext uri="{FF2B5EF4-FFF2-40B4-BE49-F238E27FC236}">
                  <a16:creationId xmlns:a16="http://schemas.microsoft.com/office/drawing/2014/main" id="{35A25AF4-22EA-41B9-88B1-EFE6AEDD9F57}"/>
                </a:ext>
              </a:extLst>
            </p:cNvPr>
            <p:cNvSpPr>
              <a:spLocks/>
            </p:cNvSpPr>
            <p:nvPr/>
          </p:nvSpPr>
          <p:spPr bwMode="auto">
            <a:xfrm>
              <a:off x="1036" y="1424"/>
              <a:ext cx="5603" cy="1486"/>
            </a:xfrm>
            <a:custGeom>
              <a:avLst/>
              <a:gdLst>
                <a:gd name="T0" fmla="*/ 15 w 2099"/>
                <a:gd name="T1" fmla="*/ 349 h 554"/>
                <a:gd name="T2" fmla="*/ 33 w 2099"/>
                <a:gd name="T3" fmla="*/ 377 h 554"/>
                <a:gd name="T4" fmla="*/ 33 w 2099"/>
                <a:gd name="T5" fmla="*/ 378 h 554"/>
                <a:gd name="T6" fmla="*/ 34 w 2099"/>
                <a:gd name="T7" fmla="*/ 379 h 554"/>
                <a:gd name="T8" fmla="*/ 36 w 2099"/>
                <a:gd name="T9" fmla="*/ 381 h 554"/>
                <a:gd name="T10" fmla="*/ 53 w 2099"/>
                <a:gd name="T11" fmla="*/ 396 h 554"/>
                <a:gd name="T12" fmla="*/ 216 w 2099"/>
                <a:gd name="T13" fmla="*/ 468 h 554"/>
                <a:gd name="T14" fmla="*/ 291 w 2099"/>
                <a:gd name="T15" fmla="*/ 492 h 554"/>
                <a:gd name="T16" fmla="*/ 541 w 2099"/>
                <a:gd name="T17" fmla="*/ 541 h 554"/>
                <a:gd name="T18" fmla="*/ 584 w 2099"/>
                <a:gd name="T19" fmla="*/ 552 h 554"/>
                <a:gd name="T20" fmla="*/ 631 w 2099"/>
                <a:gd name="T21" fmla="*/ 545 h 554"/>
                <a:gd name="T22" fmla="*/ 814 w 2099"/>
                <a:gd name="T23" fmla="*/ 533 h 554"/>
                <a:gd name="T24" fmla="*/ 949 w 2099"/>
                <a:gd name="T25" fmla="*/ 523 h 554"/>
                <a:gd name="T26" fmla="*/ 996 w 2099"/>
                <a:gd name="T27" fmla="*/ 521 h 554"/>
                <a:gd name="T28" fmla="*/ 1031 w 2099"/>
                <a:gd name="T29" fmla="*/ 516 h 554"/>
                <a:gd name="T30" fmla="*/ 1068 w 2099"/>
                <a:gd name="T31" fmla="*/ 511 h 554"/>
                <a:gd name="T32" fmla="*/ 1244 w 2099"/>
                <a:gd name="T33" fmla="*/ 485 h 554"/>
                <a:gd name="T34" fmla="*/ 1410 w 2099"/>
                <a:gd name="T35" fmla="*/ 449 h 554"/>
                <a:gd name="T36" fmla="*/ 1660 w 2099"/>
                <a:gd name="T37" fmla="*/ 398 h 554"/>
                <a:gd name="T38" fmla="*/ 1756 w 2099"/>
                <a:gd name="T39" fmla="*/ 394 h 554"/>
                <a:gd name="T40" fmla="*/ 1921 w 2099"/>
                <a:gd name="T41" fmla="*/ 452 h 554"/>
                <a:gd name="T42" fmla="*/ 2099 w 2099"/>
                <a:gd name="T43" fmla="*/ 498 h 554"/>
                <a:gd name="T44" fmla="*/ 1991 w 2099"/>
                <a:gd name="T45" fmla="*/ 377 h 554"/>
                <a:gd name="T46" fmla="*/ 1971 w 2099"/>
                <a:gd name="T47" fmla="*/ 297 h 554"/>
                <a:gd name="T48" fmla="*/ 2009 w 2099"/>
                <a:gd name="T49" fmla="*/ 220 h 554"/>
                <a:gd name="T50" fmla="*/ 2018 w 2099"/>
                <a:gd name="T51" fmla="*/ 199 h 554"/>
                <a:gd name="T52" fmla="*/ 2023 w 2099"/>
                <a:gd name="T53" fmla="*/ 173 h 554"/>
                <a:gd name="T54" fmla="*/ 2021 w 2099"/>
                <a:gd name="T55" fmla="*/ 113 h 554"/>
                <a:gd name="T56" fmla="*/ 1967 w 2099"/>
                <a:gd name="T57" fmla="*/ 133 h 554"/>
                <a:gd name="T58" fmla="*/ 1951 w 2099"/>
                <a:gd name="T59" fmla="*/ 142 h 554"/>
                <a:gd name="T60" fmla="*/ 1904 w 2099"/>
                <a:gd name="T61" fmla="*/ 163 h 554"/>
                <a:gd name="T62" fmla="*/ 1895 w 2099"/>
                <a:gd name="T63" fmla="*/ 168 h 554"/>
                <a:gd name="T64" fmla="*/ 1894 w 2099"/>
                <a:gd name="T65" fmla="*/ 169 h 554"/>
                <a:gd name="T66" fmla="*/ 1843 w 2099"/>
                <a:gd name="T67" fmla="*/ 193 h 554"/>
                <a:gd name="T68" fmla="*/ 1665 w 2099"/>
                <a:gd name="T69" fmla="*/ 219 h 554"/>
                <a:gd name="T70" fmla="*/ 1438 w 2099"/>
                <a:gd name="T71" fmla="*/ 139 h 554"/>
                <a:gd name="T72" fmla="*/ 1177 w 2099"/>
                <a:gd name="T73" fmla="*/ 94 h 554"/>
                <a:gd name="T74" fmla="*/ 1119 w 2099"/>
                <a:gd name="T75" fmla="*/ 76 h 554"/>
                <a:gd name="T76" fmla="*/ 964 w 2099"/>
                <a:gd name="T77" fmla="*/ 1 h 554"/>
                <a:gd name="T78" fmla="*/ 963 w 2099"/>
                <a:gd name="T79" fmla="*/ 0 h 554"/>
                <a:gd name="T80" fmla="*/ 935 w 2099"/>
                <a:gd name="T81" fmla="*/ 0 h 554"/>
                <a:gd name="T82" fmla="*/ 905 w 2099"/>
                <a:gd name="T83" fmla="*/ 9 h 554"/>
                <a:gd name="T84" fmla="*/ 807 w 2099"/>
                <a:gd name="T85" fmla="*/ 67 h 554"/>
                <a:gd name="T86" fmla="*/ 782 w 2099"/>
                <a:gd name="T87" fmla="*/ 80 h 554"/>
                <a:gd name="T88" fmla="*/ 454 w 2099"/>
                <a:gd name="T89" fmla="*/ 144 h 554"/>
                <a:gd name="T90" fmla="*/ 337 w 2099"/>
                <a:gd name="T91" fmla="*/ 183 h 554"/>
                <a:gd name="T92" fmla="*/ 183 w 2099"/>
                <a:gd name="T93" fmla="*/ 221 h 554"/>
                <a:gd name="T94" fmla="*/ 151 w 2099"/>
                <a:gd name="T95" fmla="*/ 229 h 554"/>
                <a:gd name="T96" fmla="*/ 90 w 2099"/>
                <a:gd name="T97" fmla="*/ 247 h 554"/>
                <a:gd name="T98" fmla="*/ 35 w 2099"/>
                <a:gd name="T99" fmla="*/ 271 h 554"/>
                <a:gd name="T100" fmla="*/ 13 w 2099"/>
                <a:gd name="T101" fmla="*/ 289 h 554"/>
                <a:gd name="T102" fmla="*/ 0 w 2099"/>
                <a:gd name="T103" fmla="*/ 314 h 554"/>
                <a:gd name="T104" fmla="*/ 0 w 2099"/>
                <a:gd name="T105" fmla="*/ 330 h 554"/>
                <a:gd name="T106" fmla="*/ 7 w 2099"/>
                <a:gd name="T107" fmla="*/ 341 h 554"/>
                <a:gd name="T108" fmla="*/ 15 w 2099"/>
                <a:gd name="T109" fmla="*/ 349 h 5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099" h="554">
                  <a:moveTo>
                    <a:pt x="15" y="349"/>
                  </a:moveTo>
                  <a:cubicBezTo>
                    <a:pt x="21" y="366"/>
                    <a:pt x="23" y="366"/>
                    <a:pt x="33" y="377"/>
                  </a:cubicBezTo>
                  <a:cubicBezTo>
                    <a:pt x="33" y="378"/>
                    <a:pt x="33" y="378"/>
                    <a:pt x="33" y="378"/>
                  </a:cubicBezTo>
                  <a:cubicBezTo>
                    <a:pt x="34" y="379"/>
                    <a:pt x="34" y="379"/>
                    <a:pt x="34" y="379"/>
                  </a:cubicBezTo>
                  <a:cubicBezTo>
                    <a:pt x="36" y="381"/>
                    <a:pt x="36" y="381"/>
                    <a:pt x="36" y="381"/>
                  </a:cubicBezTo>
                  <a:cubicBezTo>
                    <a:pt x="41" y="385"/>
                    <a:pt x="47" y="391"/>
                    <a:pt x="53" y="396"/>
                  </a:cubicBezTo>
                  <a:cubicBezTo>
                    <a:pt x="86" y="421"/>
                    <a:pt x="191" y="466"/>
                    <a:pt x="216" y="468"/>
                  </a:cubicBezTo>
                  <a:cubicBezTo>
                    <a:pt x="225" y="477"/>
                    <a:pt x="281" y="491"/>
                    <a:pt x="291" y="492"/>
                  </a:cubicBezTo>
                  <a:cubicBezTo>
                    <a:pt x="371" y="506"/>
                    <a:pt x="458" y="535"/>
                    <a:pt x="541" y="541"/>
                  </a:cubicBezTo>
                  <a:cubicBezTo>
                    <a:pt x="555" y="545"/>
                    <a:pt x="566" y="550"/>
                    <a:pt x="584" y="552"/>
                  </a:cubicBezTo>
                  <a:cubicBezTo>
                    <a:pt x="609" y="554"/>
                    <a:pt x="613" y="550"/>
                    <a:pt x="631" y="545"/>
                  </a:cubicBezTo>
                  <a:cubicBezTo>
                    <a:pt x="645" y="541"/>
                    <a:pt x="780" y="537"/>
                    <a:pt x="814" y="533"/>
                  </a:cubicBezTo>
                  <a:cubicBezTo>
                    <a:pt x="949" y="523"/>
                    <a:pt x="949" y="523"/>
                    <a:pt x="949" y="523"/>
                  </a:cubicBezTo>
                  <a:cubicBezTo>
                    <a:pt x="963" y="522"/>
                    <a:pt x="984" y="528"/>
                    <a:pt x="996" y="521"/>
                  </a:cubicBezTo>
                  <a:cubicBezTo>
                    <a:pt x="1008" y="521"/>
                    <a:pt x="1024" y="517"/>
                    <a:pt x="1031" y="516"/>
                  </a:cubicBezTo>
                  <a:cubicBezTo>
                    <a:pt x="1043" y="515"/>
                    <a:pt x="1055" y="512"/>
                    <a:pt x="1068" y="511"/>
                  </a:cubicBezTo>
                  <a:cubicBezTo>
                    <a:pt x="1129" y="504"/>
                    <a:pt x="1185" y="497"/>
                    <a:pt x="1244" y="485"/>
                  </a:cubicBezTo>
                  <a:cubicBezTo>
                    <a:pt x="1299" y="473"/>
                    <a:pt x="1355" y="461"/>
                    <a:pt x="1410" y="449"/>
                  </a:cubicBezTo>
                  <a:cubicBezTo>
                    <a:pt x="1493" y="433"/>
                    <a:pt x="1577" y="413"/>
                    <a:pt x="1660" y="398"/>
                  </a:cubicBezTo>
                  <a:cubicBezTo>
                    <a:pt x="1675" y="395"/>
                    <a:pt x="1743" y="389"/>
                    <a:pt x="1756" y="394"/>
                  </a:cubicBezTo>
                  <a:cubicBezTo>
                    <a:pt x="1784" y="392"/>
                    <a:pt x="1889" y="439"/>
                    <a:pt x="1921" y="452"/>
                  </a:cubicBezTo>
                  <a:cubicBezTo>
                    <a:pt x="1969" y="470"/>
                    <a:pt x="2043" y="498"/>
                    <a:pt x="2099" y="498"/>
                  </a:cubicBezTo>
                  <a:cubicBezTo>
                    <a:pt x="2087" y="451"/>
                    <a:pt x="2023" y="411"/>
                    <a:pt x="1991" y="377"/>
                  </a:cubicBezTo>
                  <a:cubicBezTo>
                    <a:pt x="1971" y="357"/>
                    <a:pt x="1952" y="337"/>
                    <a:pt x="1971" y="297"/>
                  </a:cubicBezTo>
                  <a:cubicBezTo>
                    <a:pt x="1978" y="281"/>
                    <a:pt x="2007" y="235"/>
                    <a:pt x="2009" y="220"/>
                  </a:cubicBezTo>
                  <a:cubicBezTo>
                    <a:pt x="2018" y="199"/>
                    <a:pt x="2018" y="199"/>
                    <a:pt x="2018" y="199"/>
                  </a:cubicBezTo>
                  <a:cubicBezTo>
                    <a:pt x="2020" y="190"/>
                    <a:pt x="2022" y="183"/>
                    <a:pt x="2023" y="173"/>
                  </a:cubicBezTo>
                  <a:cubicBezTo>
                    <a:pt x="2027" y="148"/>
                    <a:pt x="2023" y="136"/>
                    <a:pt x="2021" y="113"/>
                  </a:cubicBezTo>
                  <a:cubicBezTo>
                    <a:pt x="2000" y="117"/>
                    <a:pt x="1985" y="125"/>
                    <a:pt x="1967" y="133"/>
                  </a:cubicBezTo>
                  <a:cubicBezTo>
                    <a:pt x="1961" y="135"/>
                    <a:pt x="1954" y="137"/>
                    <a:pt x="1951" y="142"/>
                  </a:cubicBezTo>
                  <a:cubicBezTo>
                    <a:pt x="1941" y="142"/>
                    <a:pt x="1916" y="159"/>
                    <a:pt x="1904" y="163"/>
                  </a:cubicBezTo>
                  <a:cubicBezTo>
                    <a:pt x="1895" y="168"/>
                    <a:pt x="1895" y="168"/>
                    <a:pt x="1895" y="168"/>
                  </a:cubicBezTo>
                  <a:cubicBezTo>
                    <a:pt x="1895" y="168"/>
                    <a:pt x="1894" y="168"/>
                    <a:pt x="1894" y="169"/>
                  </a:cubicBezTo>
                  <a:cubicBezTo>
                    <a:pt x="1879" y="177"/>
                    <a:pt x="1859" y="186"/>
                    <a:pt x="1843" y="193"/>
                  </a:cubicBezTo>
                  <a:cubicBezTo>
                    <a:pt x="1770" y="227"/>
                    <a:pt x="1746" y="242"/>
                    <a:pt x="1665" y="219"/>
                  </a:cubicBezTo>
                  <a:cubicBezTo>
                    <a:pt x="1584" y="195"/>
                    <a:pt x="1560" y="169"/>
                    <a:pt x="1438" y="139"/>
                  </a:cubicBezTo>
                  <a:cubicBezTo>
                    <a:pt x="1364" y="120"/>
                    <a:pt x="1251" y="102"/>
                    <a:pt x="1177" y="94"/>
                  </a:cubicBezTo>
                  <a:cubicBezTo>
                    <a:pt x="1157" y="91"/>
                    <a:pt x="1136" y="83"/>
                    <a:pt x="1119" y="76"/>
                  </a:cubicBezTo>
                  <a:cubicBezTo>
                    <a:pt x="1035" y="45"/>
                    <a:pt x="1024" y="52"/>
                    <a:pt x="964" y="1"/>
                  </a:cubicBezTo>
                  <a:cubicBezTo>
                    <a:pt x="963" y="1"/>
                    <a:pt x="963" y="1"/>
                    <a:pt x="963" y="0"/>
                  </a:cubicBezTo>
                  <a:cubicBezTo>
                    <a:pt x="935" y="0"/>
                    <a:pt x="935" y="0"/>
                    <a:pt x="935" y="0"/>
                  </a:cubicBezTo>
                  <a:cubicBezTo>
                    <a:pt x="927" y="4"/>
                    <a:pt x="915" y="6"/>
                    <a:pt x="905" y="9"/>
                  </a:cubicBezTo>
                  <a:cubicBezTo>
                    <a:pt x="874" y="21"/>
                    <a:pt x="833" y="46"/>
                    <a:pt x="807" y="67"/>
                  </a:cubicBezTo>
                  <a:cubicBezTo>
                    <a:pt x="799" y="73"/>
                    <a:pt x="794" y="79"/>
                    <a:pt x="782" y="80"/>
                  </a:cubicBezTo>
                  <a:cubicBezTo>
                    <a:pt x="664" y="84"/>
                    <a:pt x="559" y="106"/>
                    <a:pt x="454" y="144"/>
                  </a:cubicBezTo>
                  <a:cubicBezTo>
                    <a:pt x="415" y="157"/>
                    <a:pt x="377" y="171"/>
                    <a:pt x="337" y="183"/>
                  </a:cubicBezTo>
                  <a:cubicBezTo>
                    <a:pt x="286" y="198"/>
                    <a:pt x="243" y="201"/>
                    <a:pt x="183" y="221"/>
                  </a:cubicBezTo>
                  <a:cubicBezTo>
                    <a:pt x="170" y="226"/>
                    <a:pt x="163" y="226"/>
                    <a:pt x="151" y="229"/>
                  </a:cubicBezTo>
                  <a:cubicBezTo>
                    <a:pt x="127" y="233"/>
                    <a:pt x="111" y="240"/>
                    <a:pt x="90" y="247"/>
                  </a:cubicBezTo>
                  <a:cubicBezTo>
                    <a:pt x="71" y="253"/>
                    <a:pt x="52" y="261"/>
                    <a:pt x="35" y="271"/>
                  </a:cubicBezTo>
                  <a:cubicBezTo>
                    <a:pt x="27" y="276"/>
                    <a:pt x="19" y="283"/>
                    <a:pt x="13" y="289"/>
                  </a:cubicBezTo>
                  <a:cubicBezTo>
                    <a:pt x="4" y="299"/>
                    <a:pt x="6" y="301"/>
                    <a:pt x="0" y="314"/>
                  </a:cubicBezTo>
                  <a:cubicBezTo>
                    <a:pt x="0" y="330"/>
                    <a:pt x="0" y="330"/>
                    <a:pt x="0" y="330"/>
                  </a:cubicBezTo>
                  <a:cubicBezTo>
                    <a:pt x="3" y="334"/>
                    <a:pt x="3" y="337"/>
                    <a:pt x="7" y="341"/>
                  </a:cubicBezTo>
                  <a:cubicBezTo>
                    <a:pt x="10" y="345"/>
                    <a:pt x="13" y="346"/>
                    <a:pt x="15" y="349"/>
                  </a:cubicBezTo>
                  <a:close/>
                </a:path>
              </a:pathLst>
            </a:custGeom>
            <a:solidFill>
              <a:srgbClr val="8EB3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cs typeface="+mn-cs"/>
              </a:endParaRPr>
            </a:p>
          </p:txBody>
        </p:sp>
        <p:sp>
          <p:nvSpPr>
            <p:cNvPr id="140" name="Freeform 43">
              <a:extLst>
                <a:ext uri="{FF2B5EF4-FFF2-40B4-BE49-F238E27FC236}">
                  <a16:creationId xmlns:a16="http://schemas.microsoft.com/office/drawing/2014/main" id="{2ACCB3D3-2AA6-4242-A7DD-B08C75E3E7C3}"/>
                </a:ext>
              </a:extLst>
            </p:cNvPr>
            <p:cNvSpPr>
              <a:spLocks/>
            </p:cNvSpPr>
            <p:nvPr/>
          </p:nvSpPr>
          <p:spPr bwMode="auto">
            <a:xfrm>
              <a:off x="1036" y="1427"/>
              <a:ext cx="5411" cy="866"/>
            </a:xfrm>
            <a:custGeom>
              <a:avLst/>
              <a:gdLst>
                <a:gd name="T0" fmla="*/ 1963 w 2027"/>
                <a:gd name="T1" fmla="*/ 323 h 323"/>
                <a:gd name="T2" fmla="*/ 1971 w 2027"/>
                <a:gd name="T3" fmla="*/ 297 h 323"/>
                <a:gd name="T4" fmla="*/ 2009 w 2027"/>
                <a:gd name="T5" fmla="*/ 220 h 323"/>
                <a:gd name="T6" fmla="*/ 2018 w 2027"/>
                <a:gd name="T7" fmla="*/ 198 h 323"/>
                <a:gd name="T8" fmla="*/ 2023 w 2027"/>
                <a:gd name="T9" fmla="*/ 173 h 323"/>
                <a:gd name="T10" fmla="*/ 2021 w 2027"/>
                <a:gd name="T11" fmla="*/ 113 h 323"/>
                <a:gd name="T12" fmla="*/ 1967 w 2027"/>
                <a:gd name="T13" fmla="*/ 132 h 323"/>
                <a:gd name="T14" fmla="*/ 1951 w 2027"/>
                <a:gd name="T15" fmla="*/ 141 h 323"/>
                <a:gd name="T16" fmla="*/ 1904 w 2027"/>
                <a:gd name="T17" fmla="*/ 162 h 323"/>
                <a:gd name="T18" fmla="*/ 1895 w 2027"/>
                <a:gd name="T19" fmla="*/ 167 h 323"/>
                <a:gd name="T20" fmla="*/ 1894 w 2027"/>
                <a:gd name="T21" fmla="*/ 168 h 323"/>
                <a:gd name="T22" fmla="*/ 1843 w 2027"/>
                <a:gd name="T23" fmla="*/ 193 h 323"/>
                <a:gd name="T24" fmla="*/ 1665 w 2027"/>
                <a:gd name="T25" fmla="*/ 218 h 323"/>
                <a:gd name="T26" fmla="*/ 1438 w 2027"/>
                <a:gd name="T27" fmla="*/ 138 h 323"/>
                <a:gd name="T28" fmla="*/ 1177 w 2027"/>
                <a:gd name="T29" fmla="*/ 93 h 323"/>
                <a:gd name="T30" fmla="*/ 1119 w 2027"/>
                <a:gd name="T31" fmla="*/ 76 h 323"/>
                <a:gd name="T32" fmla="*/ 964 w 2027"/>
                <a:gd name="T33" fmla="*/ 0 h 323"/>
                <a:gd name="T34" fmla="*/ 963 w 2027"/>
                <a:gd name="T35" fmla="*/ 0 h 323"/>
                <a:gd name="T36" fmla="*/ 935 w 2027"/>
                <a:gd name="T37" fmla="*/ 0 h 323"/>
                <a:gd name="T38" fmla="*/ 905 w 2027"/>
                <a:gd name="T39" fmla="*/ 9 h 323"/>
                <a:gd name="T40" fmla="*/ 807 w 2027"/>
                <a:gd name="T41" fmla="*/ 66 h 323"/>
                <a:gd name="T42" fmla="*/ 782 w 2027"/>
                <a:gd name="T43" fmla="*/ 79 h 323"/>
                <a:gd name="T44" fmla="*/ 454 w 2027"/>
                <a:gd name="T45" fmla="*/ 143 h 323"/>
                <a:gd name="T46" fmla="*/ 337 w 2027"/>
                <a:gd name="T47" fmla="*/ 182 h 323"/>
                <a:gd name="T48" fmla="*/ 183 w 2027"/>
                <a:gd name="T49" fmla="*/ 221 h 323"/>
                <a:gd name="T50" fmla="*/ 151 w 2027"/>
                <a:gd name="T51" fmla="*/ 228 h 323"/>
                <a:gd name="T52" fmla="*/ 90 w 2027"/>
                <a:gd name="T53" fmla="*/ 246 h 323"/>
                <a:gd name="T54" fmla="*/ 35 w 2027"/>
                <a:gd name="T55" fmla="*/ 270 h 323"/>
                <a:gd name="T56" fmla="*/ 13 w 2027"/>
                <a:gd name="T57" fmla="*/ 288 h 323"/>
                <a:gd name="T58" fmla="*/ 0 w 2027"/>
                <a:gd name="T59" fmla="*/ 313 h 323"/>
                <a:gd name="T60" fmla="*/ 0 w 2027"/>
                <a:gd name="T61" fmla="*/ 323 h 323"/>
                <a:gd name="T62" fmla="*/ 1963 w 2027"/>
                <a:gd name="T63" fmla="*/ 323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027" h="323">
                  <a:moveTo>
                    <a:pt x="1963" y="323"/>
                  </a:moveTo>
                  <a:cubicBezTo>
                    <a:pt x="1964" y="315"/>
                    <a:pt x="1966" y="306"/>
                    <a:pt x="1971" y="297"/>
                  </a:cubicBezTo>
                  <a:cubicBezTo>
                    <a:pt x="1978" y="280"/>
                    <a:pt x="2007" y="235"/>
                    <a:pt x="2009" y="220"/>
                  </a:cubicBezTo>
                  <a:cubicBezTo>
                    <a:pt x="2018" y="198"/>
                    <a:pt x="2018" y="198"/>
                    <a:pt x="2018" y="198"/>
                  </a:cubicBezTo>
                  <a:cubicBezTo>
                    <a:pt x="2020" y="190"/>
                    <a:pt x="2022" y="182"/>
                    <a:pt x="2023" y="173"/>
                  </a:cubicBezTo>
                  <a:cubicBezTo>
                    <a:pt x="2027" y="148"/>
                    <a:pt x="2023" y="136"/>
                    <a:pt x="2021" y="113"/>
                  </a:cubicBezTo>
                  <a:cubicBezTo>
                    <a:pt x="2000" y="116"/>
                    <a:pt x="1985" y="125"/>
                    <a:pt x="1967" y="132"/>
                  </a:cubicBezTo>
                  <a:cubicBezTo>
                    <a:pt x="1961" y="134"/>
                    <a:pt x="1954" y="136"/>
                    <a:pt x="1951" y="141"/>
                  </a:cubicBezTo>
                  <a:cubicBezTo>
                    <a:pt x="1941" y="142"/>
                    <a:pt x="1916" y="158"/>
                    <a:pt x="1904" y="162"/>
                  </a:cubicBezTo>
                  <a:cubicBezTo>
                    <a:pt x="1895" y="167"/>
                    <a:pt x="1895" y="167"/>
                    <a:pt x="1895" y="167"/>
                  </a:cubicBezTo>
                  <a:cubicBezTo>
                    <a:pt x="1895" y="167"/>
                    <a:pt x="1894" y="168"/>
                    <a:pt x="1894" y="168"/>
                  </a:cubicBezTo>
                  <a:cubicBezTo>
                    <a:pt x="1879" y="177"/>
                    <a:pt x="1859" y="185"/>
                    <a:pt x="1843" y="193"/>
                  </a:cubicBezTo>
                  <a:cubicBezTo>
                    <a:pt x="1770" y="227"/>
                    <a:pt x="1746" y="242"/>
                    <a:pt x="1665" y="218"/>
                  </a:cubicBezTo>
                  <a:cubicBezTo>
                    <a:pt x="1584" y="194"/>
                    <a:pt x="1560" y="168"/>
                    <a:pt x="1438" y="138"/>
                  </a:cubicBezTo>
                  <a:cubicBezTo>
                    <a:pt x="1364" y="120"/>
                    <a:pt x="1251" y="102"/>
                    <a:pt x="1177" y="93"/>
                  </a:cubicBezTo>
                  <a:cubicBezTo>
                    <a:pt x="1157" y="91"/>
                    <a:pt x="1136" y="82"/>
                    <a:pt x="1119" y="76"/>
                  </a:cubicBezTo>
                  <a:cubicBezTo>
                    <a:pt x="1035" y="44"/>
                    <a:pt x="1024" y="52"/>
                    <a:pt x="964" y="0"/>
                  </a:cubicBezTo>
                  <a:cubicBezTo>
                    <a:pt x="963" y="0"/>
                    <a:pt x="963" y="0"/>
                    <a:pt x="963" y="0"/>
                  </a:cubicBezTo>
                  <a:cubicBezTo>
                    <a:pt x="935" y="0"/>
                    <a:pt x="935" y="0"/>
                    <a:pt x="935" y="0"/>
                  </a:cubicBezTo>
                  <a:cubicBezTo>
                    <a:pt x="927" y="4"/>
                    <a:pt x="915" y="5"/>
                    <a:pt x="905" y="9"/>
                  </a:cubicBezTo>
                  <a:cubicBezTo>
                    <a:pt x="874" y="21"/>
                    <a:pt x="833" y="46"/>
                    <a:pt x="807" y="66"/>
                  </a:cubicBezTo>
                  <a:cubicBezTo>
                    <a:pt x="799" y="72"/>
                    <a:pt x="794" y="79"/>
                    <a:pt x="782" y="79"/>
                  </a:cubicBezTo>
                  <a:cubicBezTo>
                    <a:pt x="664" y="84"/>
                    <a:pt x="559" y="106"/>
                    <a:pt x="454" y="143"/>
                  </a:cubicBezTo>
                  <a:cubicBezTo>
                    <a:pt x="415" y="157"/>
                    <a:pt x="377" y="170"/>
                    <a:pt x="337" y="182"/>
                  </a:cubicBezTo>
                  <a:cubicBezTo>
                    <a:pt x="286" y="198"/>
                    <a:pt x="243" y="201"/>
                    <a:pt x="183" y="221"/>
                  </a:cubicBezTo>
                  <a:cubicBezTo>
                    <a:pt x="170" y="225"/>
                    <a:pt x="163" y="226"/>
                    <a:pt x="151" y="228"/>
                  </a:cubicBezTo>
                  <a:cubicBezTo>
                    <a:pt x="127" y="233"/>
                    <a:pt x="111" y="239"/>
                    <a:pt x="90" y="246"/>
                  </a:cubicBezTo>
                  <a:cubicBezTo>
                    <a:pt x="71" y="253"/>
                    <a:pt x="52" y="260"/>
                    <a:pt x="35" y="270"/>
                  </a:cubicBezTo>
                  <a:cubicBezTo>
                    <a:pt x="27" y="275"/>
                    <a:pt x="19" y="282"/>
                    <a:pt x="13" y="288"/>
                  </a:cubicBezTo>
                  <a:cubicBezTo>
                    <a:pt x="4" y="298"/>
                    <a:pt x="6" y="300"/>
                    <a:pt x="0" y="313"/>
                  </a:cubicBezTo>
                  <a:cubicBezTo>
                    <a:pt x="0" y="323"/>
                    <a:pt x="0" y="323"/>
                    <a:pt x="0" y="323"/>
                  </a:cubicBezTo>
                  <a:cubicBezTo>
                    <a:pt x="1963" y="323"/>
                    <a:pt x="1963" y="323"/>
                    <a:pt x="1963" y="323"/>
                  </a:cubicBezTo>
                  <a:close/>
                </a:path>
              </a:pathLst>
            </a:custGeom>
            <a:solidFill>
              <a:srgbClr val="BFDB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cs typeface="+mn-cs"/>
              </a:endParaRPr>
            </a:p>
          </p:txBody>
        </p:sp>
        <p:sp>
          <p:nvSpPr>
            <p:cNvPr id="141" name="Freeform 44">
              <a:extLst>
                <a:ext uri="{FF2B5EF4-FFF2-40B4-BE49-F238E27FC236}">
                  <a16:creationId xmlns:a16="http://schemas.microsoft.com/office/drawing/2014/main" id="{1B1D9A11-8E93-4600-A5C7-FF65B27C38F5}"/>
                </a:ext>
              </a:extLst>
            </p:cNvPr>
            <p:cNvSpPr>
              <a:spLocks/>
            </p:cNvSpPr>
            <p:nvPr/>
          </p:nvSpPr>
          <p:spPr bwMode="auto">
            <a:xfrm>
              <a:off x="1031" y="1416"/>
              <a:ext cx="5613" cy="1330"/>
            </a:xfrm>
            <a:custGeom>
              <a:avLst/>
              <a:gdLst>
                <a:gd name="T0" fmla="*/ 2103 w 2103"/>
                <a:gd name="T1" fmla="*/ 492 h 496"/>
                <a:gd name="T2" fmla="*/ 2025 w 2103"/>
                <a:gd name="T3" fmla="*/ 405 h 496"/>
                <a:gd name="T4" fmla="*/ 1996 w 2103"/>
                <a:gd name="T5" fmla="*/ 379 h 496"/>
                <a:gd name="T6" fmla="*/ 2024 w 2103"/>
                <a:gd name="T7" fmla="*/ 114 h 496"/>
                <a:gd name="T8" fmla="*/ 1793 w 2103"/>
                <a:gd name="T9" fmla="*/ 217 h 496"/>
                <a:gd name="T10" fmla="*/ 1537 w 2103"/>
                <a:gd name="T11" fmla="*/ 167 h 496"/>
                <a:gd name="T12" fmla="*/ 1217 w 2103"/>
                <a:gd name="T13" fmla="*/ 99 h 496"/>
                <a:gd name="T14" fmla="*/ 974 w 2103"/>
                <a:gd name="T15" fmla="*/ 9 h 496"/>
                <a:gd name="T16" fmla="*/ 835 w 2103"/>
                <a:gd name="T17" fmla="*/ 49 h 496"/>
                <a:gd name="T18" fmla="*/ 500 w 2103"/>
                <a:gd name="T19" fmla="*/ 129 h 496"/>
                <a:gd name="T20" fmla="*/ 337 w 2103"/>
                <a:gd name="T21" fmla="*/ 184 h 496"/>
                <a:gd name="T22" fmla="*/ 157 w 2103"/>
                <a:gd name="T23" fmla="*/ 228 h 496"/>
                <a:gd name="T24" fmla="*/ 10 w 2103"/>
                <a:gd name="T25" fmla="*/ 342 h 496"/>
                <a:gd name="T26" fmla="*/ 135 w 2103"/>
                <a:gd name="T27" fmla="*/ 368 h 496"/>
                <a:gd name="T28" fmla="*/ 263 w 2103"/>
                <a:gd name="T29" fmla="*/ 292 h 496"/>
                <a:gd name="T30" fmla="*/ 406 w 2103"/>
                <a:gd name="T31" fmla="*/ 231 h 496"/>
                <a:gd name="T32" fmla="*/ 445 w 2103"/>
                <a:gd name="T33" fmla="*/ 304 h 496"/>
                <a:gd name="T34" fmla="*/ 464 w 2103"/>
                <a:gd name="T35" fmla="*/ 232 h 496"/>
                <a:gd name="T36" fmla="*/ 587 w 2103"/>
                <a:gd name="T37" fmla="*/ 159 h 496"/>
                <a:gd name="T38" fmla="*/ 571 w 2103"/>
                <a:gd name="T39" fmla="*/ 191 h 496"/>
                <a:gd name="T40" fmla="*/ 699 w 2103"/>
                <a:gd name="T41" fmla="*/ 178 h 496"/>
                <a:gd name="T42" fmla="*/ 789 w 2103"/>
                <a:gd name="T43" fmla="*/ 131 h 496"/>
                <a:gd name="T44" fmla="*/ 820 w 2103"/>
                <a:gd name="T45" fmla="*/ 164 h 496"/>
                <a:gd name="T46" fmla="*/ 965 w 2103"/>
                <a:gd name="T47" fmla="*/ 153 h 496"/>
                <a:gd name="T48" fmla="*/ 1002 w 2103"/>
                <a:gd name="T49" fmla="*/ 200 h 496"/>
                <a:gd name="T50" fmla="*/ 1162 w 2103"/>
                <a:gd name="T51" fmla="*/ 150 h 496"/>
                <a:gd name="T52" fmla="*/ 1234 w 2103"/>
                <a:gd name="T53" fmla="*/ 178 h 496"/>
                <a:gd name="T54" fmla="*/ 1625 w 2103"/>
                <a:gd name="T55" fmla="*/ 246 h 496"/>
                <a:gd name="T56" fmla="*/ 1788 w 2103"/>
                <a:gd name="T57" fmla="*/ 316 h 496"/>
                <a:gd name="T58" fmla="*/ 1757 w 2103"/>
                <a:gd name="T59" fmla="*/ 391 h 496"/>
                <a:gd name="T60" fmla="*/ 1924 w 2103"/>
                <a:gd name="T61" fmla="*/ 451 h 496"/>
                <a:gd name="T62" fmla="*/ 2103 w 2103"/>
                <a:gd name="T63" fmla="*/ 496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103" h="496">
                  <a:moveTo>
                    <a:pt x="2103" y="496"/>
                  </a:moveTo>
                  <a:cubicBezTo>
                    <a:pt x="2103" y="492"/>
                    <a:pt x="2103" y="492"/>
                    <a:pt x="2103" y="492"/>
                  </a:cubicBezTo>
                  <a:cubicBezTo>
                    <a:pt x="2098" y="487"/>
                    <a:pt x="2093" y="474"/>
                    <a:pt x="2089" y="468"/>
                  </a:cubicBezTo>
                  <a:cubicBezTo>
                    <a:pt x="2069" y="439"/>
                    <a:pt x="2049" y="427"/>
                    <a:pt x="2025" y="405"/>
                  </a:cubicBezTo>
                  <a:cubicBezTo>
                    <a:pt x="2020" y="400"/>
                    <a:pt x="2020" y="400"/>
                    <a:pt x="2015" y="396"/>
                  </a:cubicBezTo>
                  <a:cubicBezTo>
                    <a:pt x="1996" y="379"/>
                    <a:pt x="1996" y="379"/>
                    <a:pt x="1996" y="379"/>
                  </a:cubicBezTo>
                  <a:cubicBezTo>
                    <a:pt x="1956" y="340"/>
                    <a:pt x="1959" y="323"/>
                    <a:pt x="1981" y="281"/>
                  </a:cubicBezTo>
                  <a:cubicBezTo>
                    <a:pt x="2015" y="217"/>
                    <a:pt x="2034" y="198"/>
                    <a:pt x="2024" y="114"/>
                  </a:cubicBezTo>
                  <a:cubicBezTo>
                    <a:pt x="2000" y="118"/>
                    <a:pt x="1963" y="136"/>
                    <a:pt x="1943" y="146"/>
                  </a:cubicBezTo>
                  <a:cubicBezTo>
                    <a:pt x="1892" y="170"/>
                    <a:pt x="1847" y="196"/>
                    <a:pt x="1793" y="217"/>
                  </a:cubicBezTo>
                  <a:cubicBezTo>
                    <a:pt x="1755" y="231"/>
                    <a:pt x="1741" y="233"/>
                    <a:pt x="1699" y="226"/>
                  </a:cubicBezTo>
                  <a:cubicBezTo>
                    <a:pt x="1639" y="215"/>
                    <a:pt x="1589" y="187"/>
                    <a:pt x="1537" y="167"/>
                  </a:cubicBezTo>
                  <a:cubicBezTo>
                    <a:pt x="1471" y="141"/>
                    <a:pt x="1342" y="116"/>
                    <a:pt x="1265" y="106"/>
                  </a:cubicBezTo>
                  <a:cubicBezTo>
                    <a:pt x="1249" y="103"/>
                    <a:pt x="1233" y="101"/>
                    <a:pt x="1217" y="99"/>
                  </a:cubicBezTo>
                  <a:cubicBezTo>
                    <a:pt x="1138" y="90"/>
                    <a:pt x="1162" y="90"/>
                    <a:pt x="1085" y="64"/>
                  </a:cubicBezTo>
                  <a:cubicBezTo>
                    <a:pt x="1027" y="44"/>
                    <a:pt x="1019" y="45"/>
                    <a:pt x="974" y="9"/>
                  </a:cubicBezTo>
                  <a:cubicBezTo>
                    <a:pt x="966" y="3"/>
                    <a:pt x="968" y="2"/>
                    <a:pt x="954" y="1"/>
                  </a:cubicBezTo>
                  <a:cubicBezTo>
                    <a:pt x="916" y="0"/>
                    <a:pt x="865" y="29"/>
                    <a:pt x="835" y="49"/>
                  </a:cubicBezTo>
                  <a:cubicBezTo>
                    <a:pt x="825" y="56"/>
                    <a:pt x="797" y="80"/>
                    <a:pt x="786" y="80"/>
                  </a:cubicBezTo>
                  <a:cubicBezTo>
                    <a:pt x="681" y="88"/>
                    <a:pt x="600" y="95"/>
                    <a:pt x="500" y="129"/>
                  </a:cubicBezTo>
                  <a:cubicBezTo>
                    <a:pt x="420" y="157"/>
                    <a:pt x="420" y="157"/>
                    <a:pt x="420" y="157"/>
                  </a:cubicBezTo>
                  <a:cubicBezTo>
                    <a:pt x="392" y="167"/>
                    <a:pt x="366" y="176"/>
                    <a:pt x="337" y="184"/>
                  </a:cubicBezTo>
                  <a:cubicBezTo>
                    <a:pt x="306" y="193"/>
                    <a:pt x="276" y="197"/>
                    <a:pt x="245" y="204"/>
                  </a:cubicBezTo>
                  <a:cubicBezTo>
                    <a:pt x="213" y="212"/>
                    <a:pt x="188" y="222"/>
                    <a:pt x="157" y="228"/>
                  </a:cubicBezTo>
                  <a:cubicBezTo>
                    <a:pt x="114" y="237"/>
                    <a:pt x="29" y="262"/>
                    <a:pt x="7" y="300"/>
                  </a:cubicBezTo>
                  <a:cubicBezTo>
                    <a:pt x="0" y="313"/>
                    <a:pt x="0" y="332"/>
                    <a:pt x="10" y="342"/>
                  </a:cubicBezTo>
                  <a:cubicBezTo>
                    <a:pt x="26" y="360"/>
                    <a:pt x="70" y="363"/>
                    <a:pt x="95" y="368"/>
                  </a:cubicBezTo>
                  <a:cubicBezTo>
                    <a:pt x="111" y="372"/>
                    <a:pt x="126" y="383"/>
                    <a:pt x="135" y="368"/>
                  </a:cubicBezTo>
                  <a:cubicBezTo>
                    <a:pt x="163" y="326"/>
                    <a:pt x="155" y="344"/>
                    <a:pt x="183" y="348"/>
                  </a:cubicBezTo>
                  <a:cubicBezTo>
                    <a:pt x="219" y="353"/>
                    <a:pt x="255" y="322"/>
                    <a:pt x="263" y="292"/>
                  </a:cubicBezTo>
                  <a:cubicBezTo>
                    <a:pt x="273" y="260"/>
                    <a:pt x="262" y="260"/>
                    <a:pt x="319" y="236"/>
                  </a:cubicBezTo>
                  <a:cubicBezTo>
                    <a:pt x="342" y="226"/>
                    <a:pt x="384" y="214"/>
                    <a:pt x="406" y="231"/>
                  </a:cubicBezTo>
                  <a:cubicBezTo>
                    <a:pt x="423" y="244"/>
                    <a:pt x="416" y="253"/>
                    <a:pt x="427" y="266"/>
                  </a:cubicBezTo>
                  <a:cubicBezTo>
                    <a:pt x="438" y="278"/>
                    <a:pt x="445" y="280"/>
                    <a:pt x="445" y="304"/>
                  </a:cubicBezTo>
                  <a:cubicBezTo>
                    <a:pt x="445" y="335"/>
                    <a:pt x="433" y="368"/>
                    <a:pt x="425" y="395"/>
                  </a:cubicBezTo>
                  <a:cubicBezTo>
                    <a:pt x="467" y="379"/>
                    <a:pt x="475" y="282"/>
                    <a:pt x="464" y="232"/>
                  </a:cubicBezTo>
                  <a:cubicBezTo>
                    <a:pt x="458" y="209"/>
                    <a:pt x="452" y="201"/>
                    <a:pt x="439" y="186"/>
                  </a:cubicBezTo>
                  <a:cubicBezTo>
                    <a:pt x="448" y="180"/>
                    <a:pt x="566" y="160"/>
                    <a:pt x="587" y="159"/>
                  </a:cubicBezTo>
                  <a:cubicBezTo>
                    <a:pt x="586" y="169"/>
                    <a:pt x="583" y="169"/>
                    <a:pt x="577" y="175"/>
                  </a:cubicBezTo>
                  <a:cubicBezTo>
                    <a:pt x="573" y="179"/>
                    <a:pt x="567" y="188"/>
                    <a:pt x="571" y="191"/>
                  </a:cubicBezTo>
                  <a:cubicBezTo>
                    <a:pt x="579" y="194"/>
                    <a:pt x="622" y="170"/>
                    <a:pt x="634" y="166"/>
                  </a:cubicBezTo>
                  <a:cubicBezTo>
                    <a:pt x="690" y="145"/>
                    <a:pt x="687" y="176"/>
                    <a:pt x="699" y="178"/>
                  </a:cubicBezTo>
                  <a:cubicBezTo>
                    <a:pt x="709" y="177"/>
                    <a:pt x="711" y="169"/>
                    <a:pt x="717" y="160"/>
                  </a:cubicBezTo>
                  <a:cubicBezTo>
                    <a:pt x="737" y="132"/>
                    <a:pt x="751" y="129"/>
                    <a:pt x="789" y="131"/>
                  </a:cubicBezTo>
                  <a:cubicBezTo>
                    <a:pt x="787" y="150"/>
                    <a:pt x="777" y="154"/>
                    <a:pt x="771" y="166"/>
                  </a:cubicBezTo>
                  <a:cubicBezTo>
                    <a:pt x="793" y="177"/>
                    <a:pt x="797" y="178"/>
                    <a:pt x="820" y="164"/>
                  </a:cubicBezTo>
                  <a:cubicBezTo>
                    <a:pt x="832" y="156"/>
                    <a:pt x="843" y="143"/>
                    <a:pt x="857" y="136"/>
                  </a:cubicBezTo>
                  <a:cubicBezTo>
                    <a:pt x="869" y="130"/>
                    <a:pt x="949" y="128"/>
                    <a:pt x="965" y="153"/>
                  </a:cubicBezTo>
                  <a:cubicBezTo>
                    <a:pt x="961" y="157"/>
                    <a:pt x="949" y="170"/>
                    <a:pt x="947" y="176"/>
                  </a:cubicBezTo>
                  <a:cubicBezTo>
                    <a:pt x="954" y="196"/>
                    <a:pt x="980" y="202"/>
                    <a:pt x="1002" y="200"/>
                  </a:cubicBezTo>
                  <a:cubicBezTo>
                    <a:pt x="1039" y="196"/>
                    <a:pt x="1010" y="170"/>
                    <a:pt x="1031" y="151"/>
                  </a:cubicBezTo>
                  <a:cubicBezTo>
                    <a:pt x="1051" y="133"/>
                    <a:pt x="1133" y="143"/>
                    <a:pt x="1162" y="150"/>
                  </a:cubicBezTo>
                  <a:cubicBezTo>
                    <a:pt x="1155" y="171"/>
                    <a:pt x="1155" y="182"/>
                    <a:pt x="1180" y="183"/>
                  </a:cubicBezTo>
                  <a:cubicBezTo>
                    <a:pt x="1197" y="184"/>
                    <a:pt x="1217" y="181"/>
                    <a:pt x="1234" y="178"/>
                  </a:cubicBezTo>
                  <a:cubicBezTo>
                    <a:pt x="1269" y="173"/>
                    <a:pt x="1301" y="184"/>
                    <a:pt x="1333" y="190"/>
                  </a:cubicBezTo>
                  <a:cubicBezTo>
                    <a:pt x="1427" y="209"/>
                    <a:pt x="1532" y="230"/>
                    <a:pt x="1625" y="246"/>
                  </a:cubicBezTo>
                  <a:cubicBezTo>
                    <a:pt x="1658" y="252"/>
                    <a:pt x="1693" y="255"/>
                    <a:pt x="1725" y="262"/>
                  </a:cubicBezTo>
                  <a:cubicBezTo>
                    <a:pt x="1759" y="268"/>
                    <a:pt x="1782" y="282"/>
                    <a:pt x="1788" y="316"/>
                  </a:cubicBezTo>
                  <a:cubicBezTo>
                    <a:pt x="1791" y="332"/>
                    <a:pt x="1791" y="350"/>
                    <a:pt x="1785" y="365"/>
                  </a:cubicBezTo>
                  <a:cubicBezTo>
                    <a:pt x="1779" y="383"/>
                    <a:pt x="1776" y="383"/>
                    <a:pt x="1757" y="391"/>
                  </a:cubicBezTo>
                  <a:cubicBezTo>
                    <a:pt x="1765" y="396"/>
                    <a:pt x="1790" y="400"/>
                    <a:pt x="1802" y="404"/>
                  </a:cubicBezTo>
                  <a:cubicBezTo>
                    <a:pt x="1850" y="418"/>
                    <a:pt x="1879" y="436"/>
                    <a:pt x="1924" y="451"/>
                  </a:cubicBezTo>
                  <a:cubicBezTo>
                    <a:pt x="1931" y="453"/>
                    <a:pt x="1936" y="456"/>
                    <a:pt x="1944" y="459"/>
                  </a:cubicBezTo>
                  <a:cubicBezTo>
                    <a:pt x="1987" y="474"/>
                    <a:pt x="2057" y="496"/>
                    <a:pt x="2103" y="496"/>
                  </a:cubicBezTo>
                  <a:close/>
                </a:path>
              </a:pathLst>
            </a:custGeom>
            <a:solidFill>
              <a:srgbClr val="8EB3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cs typeface="+mn-cs"/>
              </a:endParaRPr>
            </a:p>
          </p:txBody>
        </p:sp>
        <p:sp>
          <p:nvSpPr>
            <p:cNvPr id="142" name="Freeform 45">
              <a:extLst>
                <a:ext uri="{FF2B5EF4-FFF2-40B4-BE49-F238E27FC236}">
                  <a16:creationId xmlns:a16="http://schemas.microsoft.com/office/drawing/2014/main" id="{C52E49A1-E2C9-4850-88BA-ECC0484ACB6E}"/>
                </a:ext>
              </a:extLst>
            </p:cNvPr>
            <p:cNvSpPr>
              <a:spLocks noEditPoints="1"/>
            </p:cNvSpPr>
            <p:nvPr/>
          </p:nvSpPr>
          <p:spPr bwMode="auto">
            <a:xfrm>
              <a:off x="1039" y="2290"/>
              <a:ext cx="5605" cy="456"/>
            </a:xfrm>
            <a:custGeom>
              <a:avLst/>
              <a:gdLst>
                <a:gd name="T0" fmla="*/ 2100 w 2100"/>
                <a:gd name="T1" fmla="*/ 170 h 170"/>
                <a:gd name="T2" fmla="*/ 2100 w 2100"/>
                <a:gd name="T3" fmla="*/ 166 h 170"/>
                <a:gd name="T4" fmla="*/ 2086 w 2100"/>
                <a:gd name="T5" fmla="*/ 142 h 170"/>
                <a:gd name="T6" fmla="*/ 2022 w 2100"/>
                <a:gd name="T7" fmla="*/ 79 h 170"/>
                <a:gd name="T8" fmla="*/ 2012 w 2100"/>
                <a:gd name="T9" fmla="*/ 70 h 170"/>
                <a:gd name="T10" fmla="*/ 1993 w 2100"/>
                <a:gd name="T11" fmla="*/ 53 h 170"/>
                <a:gd name="T12" fmla="*/ 1962 w 2100"/>
                <a:gd name="T13" fmla="*/ 4 h 170"/>
                <a:gd name="T14" fmla="*/ 1786 w 2100"/>
                <a:gd name="T15" fmla="*/ 4 h 170"/>
                <a:gd name="T16" fmla="*/ 1781 w 2100"/>
                <a:gd name="T17" fmla="*/ 38 h 170"/>
                <a:gd name="T18" fmla="*/ 1753 w 2100"/>
                <a:gd name="T19" fmla="*/ 64 h 170"/>
                <a:gd name="T20" fmla="*/ 1798 w 2100"/>
                <a:gd name="T21" fmla="*/ 76 h 170"/>
                <a:gd name="T22" fmla="*/ 1920 w 2100"/>
                <a:gd name="T23" fmla="*/ 123 h 170"/>
                <a:gd name="T24" fmla="*/ 1940 w 2100"/>
                <a:gd name="T25" fmla="*/ 132 h 170"/>
                <a:gd name="T26" fmla="*/ 2100 w 2100"/>
                <a:gd name="T27" fmla="*/ 170 h 170"/>
                <a:gd name="T28" fmla="*/ 0 w 2100"/>
                <a:gd name="T29" fmla="*/ 5 h 170"/>
                <a:gd name="T30" fmla="*/ 6 w 2100"/>
                <a:gd name="T31" fmla="*/ 16 h 170"/>
                <a:gd name="T32" fmla="*/ 91 w 2100"/>
                <a:gd name="T33" fmla="*/ 42 h 170"/>
                <a:gd name="T34" fmla="*/ 132 w 2100"/>
                <a:gd name="T35" fmla="*/ 42 h 170"/>
                <a:gd name="T36" fmla="*/ 180 w 2100"/>
                <a:gd name="T37" fmla="*/ 22 h 170"/>
                <a:gd name="T38" fmla="*/ 233 w 2100"/>
                <a:gd name="T39" fmla="*/ 4 h 170"/>
                <a:gd name="T40" fmla="*/ 0 w 2100"/>
                <a:gd name="T41" fmla="*/ 4 h 170"/>
                <a:gd name="T42" fmla="*/ 0 w 2100"/>
                <a:gd name="T43" fmla="*/ 5 h 170"/>
                <a:gd name="T44" fmla="*/ 438 w 2100"/>
                <a:gd name="T45" fmla="*/ 5 h 170"/>
                <a:gd name="T46" fmla="*/ 422 w 2100"/>
                <a:gd name="T47" fmla="*/ 69 h 170"/>
                <a:gd name="T48" fmla="*/ 460 w 2100"/>
                <a:gd name="T49" fmla="*/ 5 h 170"/>
                <a:gd name="T50" fmla="*/ 438 w 2100"/>
                <a:gd name="T51" fmla="*/ 5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100" h="170">
                  <a:moveTo>
                    <a:pt x="2100" y="170"/>
                  </a:moveTo>
                  <a:cubicBezTo>
                    <a:pt x="2100" y="166"/>
                    <a:pt x="2100" y="166"/>
                    <a:pt x="2100" y="166"/>
                  </a:cubicBezTo>
                  <a:cubicBezTo>
                    <a:pt x="2095" y="161"/>
                    <a:pt x="2090" y="148"/>
                    <a:pt x="2086" y="142"/>
                  </a:cubicBezTo>
                  <a:cubicBezTo>
                    <a:pt x="2066" y="113"/>
                    <a:pt x="2046" y="101"/>
                    <a:pt x="2022" y="79"/>
                  </a:cubicBezTo>
                  <a:cubicBezTo>
                    <a:pt x="2017" y="74"/>
                    <a:pt x="2017" y="74"/>
                    <a:pt x="2012" y="70"/>
                  </a:cubicBezTo>
                  <a:cubicBezTo>
                    <a:pt x="1993" y="53"/>
                    <a:pt x="1993" y="53"/>
                    <a:pt x="1993" y="53"/>
                  </a:cubicBezTo>
                  <a:cubicBezTo>
                    <a:pt x="1973" y="33"/>
                    <a:pt x="1964" y="19"/>
                    <a:pt x="1962" y="4"/>
                  </a:cubicBezTo>
                  <a:cubicBezTo>
                    <a:pt x="1786" y="4"/>
                    <a:pt x="1786" y="4"/>
                    <a:pt x="1786" y="4"/>
                  </a:cubicBezTo>
                  <a:cubicBezTo>
                    <a:pt x="1786" y="16"/>
                    <a:pt x="1785" y="27"/>
                    <a:pt x="1781" y="38"/>
                  </a:cubicBezTo>
                  <a:cubicBezTo>
                    <a:pt x="1774" y="56"/>
                    <a:pt x="1772" y="56"/>
                    <a:pt x="1753" y="64"/>
                  </a:cubicBezTo>
                  <a:cubicBezTo>
                    <a:pt x="1761" y="68"/>
                    <a:pt x="1786" y="73"/>
                    <a:pt x="1798" y="76"/>
                  </a:cubicBezTo>
                  <a:cubicBezTo>
                    <a:pt x="1846" y="90"/>
                    <a:pt x="1875" y="108"/>
                    <a:pt x="1920" y="123"/>
                  </a:cubicBezTo>
                  <a:cubicBezTo>
                    <a:pt x="1926" y="126"/>
                    <a:pt x="1932" y="128"/>
                    <a:pt x="1940" y="132"/>
                  </a:cubicBezTo>
                  <a:cubicBezTo>
                    <a:pt x="1984" y="148"/>
                    <a:pt x="2054" y="170"/>
                    <a:pt x="2100" y="170"/>
                  </a:cubicBezTo>
                  <a:close/>
                  <a:moveTo>
                    <a:pt x="0" y="5"/>
                  </a:moveTo>
                  <a:cubicBezTo>
                    <a:pt x="1" y="9"/>
                    <a:pt x="3" y="13"/>
                    <a:pt x="6" y="16"/>
                  </a:cubicBezTo>
                  <a:cubicBezTo>
                    <a:pt x="22" y="33"/>
                    <a:pt x="67" y="37"/>
                    <a:pt x="91" y="42"/>
                  </a:cubicBezTo>
                  <a:cubicBezTo>
                    <a:pt x="108" y="46"/>
                    <a:pt x="122" y="56"/>
                    <a:pt x="132" y="42"/>
                  </a:cubicBezTo>
                  <a:cubicBezTo>
                    <a:pt x="160" y="0"/>
                    <a:pt x="152" y="18"/>
                    <a:pt x="180" y="22"/>
                  </a:cubicBezTo>
                  <a:cubicBezTo>
                    <a:pt x="199" y="25"/>
                    <a:pt x="218" y="17"/>
                    <a:pt x="233" y="4"/>
                  </a:cubicBezTo>
                  <a:cubicBezTo>
                    <a:pt x="0" y="4"/>
                    <a:pt x="0" y="4"/>
                    <a:pt x="0" y="4"/>
                  </a:cubicBezTo>
                  <a:lnTo>
                    <a:pt x="0" y="5"/>
                  </a:lnTo>
                  <a:close/>
                  <a:moveTo>
                    <a:pt x="438" y="5"/>
                  </a:moveTo>
                  <a:cubicBezTo>
                    <a:pt x="435" y="27"/>
                    <a:pt x="427" y="50"/>
                    <a:pt x="422" y="69"/>
                  </a:cubicBezTo>
                  <a:cubicBezTo>
                    <a:pt x="441" y="61"/>
                    <a:pt x="454" y="35"/>
                    <a:pt x="460" y="5"/>
                  </a:cubicBezTo>
                  <a:lnTo>
                    <a:pt x="438" y="5"/>
                  </a:lnTo>
                  <a:close/>
                </a:path>
              </a:pathLst>
            </a:custGeom>
            <a:solidFill>
              <a:srgbClr val="7BA2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cs typeface="+mn-cs"/>
              </a:endParaRPr>
            </a:p>
          </p:txBody>
        </p:sp>
        <p:sp>
          <p:nvSpPr>
            <p:cNvPr id="143" name="Freeform 46">
              <a:extLst>
                <a:ext uri="{FF2B5EF4-FFF2-40B4-BE49-F238E27FC236}">
                  <a16:creationId xmlns:a16="http://schemas.microsoft.com/office/drawing/2014/main" id="{62DF5BD7-6EB5-4D3D-BA79-ACD7932AF6A8}"/>
                </a:ext>
              </a:extLst>
            </p:cNvPr>
            <p:cNvSpPr>
              <a:spLocks/>
            </p:cNvSpPr>
            <p:nvPr/>
          </p:nvSpPr>
          <p:spPr bwMode="auto">
            <a:xfrm>
              <a:off x="2141" y="2470"/>
              <a:ext cx="3395" cy="442"/>
            </a:xfrm>
            <a:custGeom>
              <a:avLst/>
              <a:gdLst>
                <a:gd name="T0" fmla="*/ 229 w 1272"/>
                <a:gd name="T1" fmla="*/ 143 h 165"/>
                <a:gd name="T2" fmla="*/ 200 w 1272"/>
                <a:gd name="T3" fmla="*/ 115 h 165"/>
                <a:gd name="T4" fmla="*/ 263 w 1272"/>
                <a:gd name="T5" fmla="*/ 119 h 165"/>
                <a:gd name="T6" fmla="*/ 335 w 1272"/>
                <a:gd name="T7" fmla="*/ 116 h 165"/>
                <a:gd name="T8" fmla="*/ 483 w 1272"/>
                <a:gd name="T9" fmla="*/ 114 h 165"/>
                <a:gd name="T10" fmla="*/ 527 w 1272"/>
                <a:gd name="T11" fmla="*/ 118 h 165"/>
                <a:gd name="T12" fmla="*/ 604 w 1272"/>
                <a:gd name="T13" fmla="*/ 136 h 165"/>
                <a:gd name="T14" fmla="*/ 687 w 1272"/>
                <a:gd name="T15" fmla="*/ 120 h 165"/>
                <a:gd name="T16" fmla="*/ 635 w 1272"/>
                <a:gd name="T17" fmla="*/ 100 h 165"/>
                <a:gd name="T18" fmla="*/ 928 w 1272"/>
                <a:gd name="T19" fmla="*/ 81 h 165"/>
                <a:gd name="T20" fmla="*/ 979 w 1272"/>
                <a:gd name="T21" fmla="*/ 75 h 165"/>
                <a:gd name="T22" fmla="*/ 987 w 1272"/>
                <a:gd name="T23" fmla="*/ 75 h 165"/>
                <a:gd name="T24" fmla="*/ 994 w 1272"/>
                <a:gd name="T25" fmla="*/ 72 h 165"/>
                <a:gd name="T26" fmla="*/ 1141 w 1272"/>
                <a:gd name="T27" fmla="*/ 44 h 165"/>
                <a:gd name="T28" fmla="*/ 1268 w 1272"/>
                <a:gd name="T29" fmla="*/ 2 h 165"/>
                <a:gd name="T30" fmla="*/ 1272 w 1272"/>
                <a:gd name="T31" fmla="*/ 0 h 165"/>
                <a:gd name="T32" fmla="*/ 1201 w 1272"/>
                <a:gd name="T33" fmla="*/ 11 h 165"/>
                <a:gd name="T34" fmla="*/ 990 w 1272"/>
                <a:gd name="T35" fmla="*/ 44 h 165"/>
                <a:gd name="T36" fmla="*/ 941 w 1272"/>
                <a:gd name="T37" fmla="*/ 51 h 165"/>
                <a:gd name="T38" fmla="*/ 885 w 1272"/>
                <a:gd name="T39" fmla="*/ 57 h 165"/>
                <a:gd name="T40" fmla="*/ 828 w 1272"/>
                <a:gd name="T41" fmla="*/ 64 h 165"/>
                <a:gd name="T42" fmla="*/ 709 w 1272"/>
                <a:gd name="T43" fmla="*/ 70 h 165"/>
                <a:gd name="T44" fmla="*/ 467 w 1272"/>
                <a:gd name="T45" fmla="*/ 80 h 165"/>
                <a:gd name="T46" fmla="*/ 163 w 1272"/>
                <a:gd name="T47" fmla="*/ 92 h 165"/>
                <a:gd name="T48" fmla="*/ 0 w 1272"/>
                <a:gd name="T49" fmla="*/ 73 h 165"/>
                <a:gd name="T50" fmla="*/ 39 w 1272"/>
                <a:gd name="T51" fmla="*/ 99 h 165"/>
                <a:gd name="T52" fmla="*/ 80 w 1272"/>
                <a:gd name="T53" fmla="*/ 122 h 165"/>
                <a:gd name="T54" fmla="*/ 145 w 1272"/>
                <a:gd name="T55" fmla="*/ 155 h 165"/>
                <a:gd name="T56" fmla="*/ 229 w 1272"/>
                <a:gd name="T57" fmla="*/ 143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272" h="165">
                  <a:moveTo>
                    <a:pt x="229" y="143"/>
                  </a:moveTo>
                  <a:cubicBezTo>
                    <a:pt x="221" y="133"/>
                    <a:pt x="212" y="123"/>
                    <a:pt x="200" y="115"/>
                  </a:cubicBezTo>
                  <a:cubicBezTo>
                    <a:pt x="263" y="119"/>
                    <a:pt x="263" y="119"/>
                    <a:pt x="263" y="119"/>
                  </a:cubicBezTo>
                  <a:cubicBezTo>
                    <a:pt x="276" y="119"/>
                    <a:pt x="327" y="121"/>
                    <a:pt x="335" y="116"/>
                  </a:cubicBezTo>
                  <a:cubicBezTo>
                    <a:pt x="483" y="114"/>
                    <a:pt x="483" y="114"/>
                    <a:pt x="483" y="114"/>
                  </a:cubicBezTo>
                  <a:cubicBezTo>
                    <a:pt x="505" y="113"/>
                    <a:pt x="510" y="109"/>
                    <a:pt x="527" y="118"/>
                  </a:cubicBezTo>
                  <a:cubicBezTo>
                    <a:pt x="550" y="130"/>
                    <a:pt x="570" y="141"/>
                    <a:pt x="604" y="136"/>
                  </a:cubicBezTo>
                  <a:cubicBezTo>
                    <a:pt x="633" y="132"/>
                    <a:pt x="659" y="125"/>
                    <a:pt x="687" y="120"/>
                  </a:cubicBezTo>
                  <a:cubicBezTo>
                    <a:pt x="677" y="109"/>
                    <a:pt x="640" y="103"/>
                    <a:pt x="635" y="100"/>
                  </a:cubicBezTo>
                  <a:cubicBezTo>
                    <a:pt x="642" y="98"/>
                    <a:pt x="893" y="84"/>
                    <a:pt x="928" y="81"/>
                  </a:cubicBezTo>
                  <a:cubicBezTo>
                    <a:pt x="979" y="75"/>
                    <a:pt x="979" y="75"/>
                    <a:pt x="979" y="75"/>
                  </a:cubicBezTo>
                  <a:cubicBezTo>
                    <a:pt x="982" y="75"/>
                    <a:pt x="984" y="75"/>
                    <a:pt x="987" y="75"/>
                  </a:cubicBezTo>
                  <a:cubicBezTo>
                    <a:pt x="993" y="74"/>
                    <a:pt x="990" y="75"/>
                    <a:pt x="994" y="72"/>
                  </a:cubicBezTo>
                  <a:cubicBezTo>
                    <a:pt x="1018" y="75"/>
                    <a:pt x="1115" y="51"/>
                    <a:pt x="1141" y="44"/>
                  </a:cubicBezTo>
                  <a:cubicBezTo>
                    <a:pt x="1268" y="2"/>
                    <a:pt x="1268" y="2"/>
                    <a:pt x="1268" y="2"/>
                  </a:cubicBezTo>
                  <a:cubicBezTo>
                    <a:pt x="1270" y="1"/>
                    <a:pt x="1271" y="1"/>
                    <a:pt x="1272" y="0"/>
                  </a:cubicBezTo>
                  <a:cubicBezTo>
                    <a:pt x="1250" y="2"/>
                    <a:pt x="1223" y="8"/>
                    <a:pt x="1201" y="11"/>
                  </a:cubicBezTo>
                  <a:cubicBezTo>
                    <a:pt x="990" y="44"/>
                    <a:pt x="990" y="44"/>
                    <a:pt x="990" y="44"/>
                  </a:cubicBezTo>
                  <a:cubicBezTo>
                    <a:pt x="981" y="45"/>
                    <a:pt x="946" y="47"/>
                    <a:pt x="941" y="51"/>
                  </a:cubicBezTo>
                  <a:cubicBezTo>
                    <a:pt x="928" y="50"/>
                    <a:pt x="899" y="56"/>
                    <a:pt x="885" y="57"/>
                  </a:cubicBezTo>
                  <a:cubicBezTo>
                    <a:pt x="865" y="59"/>
                    <a:pt x="846" y="62"/>
                    <a:pt x="828" y="64"/>
                  </a:cubicBezTo>
                  <a:cubicBezTo>
                    <a:pt x="790" y="68"/>
                    <a:pt x="747" y="69"/>
                    <a:pt x="709" y="70"/>
                  </a:cubicBezTo>
                  <a:cubicBezTo>
                    <a:pt x="628" y="74"/>
                    <a:pt x="547" y="77"/>
                    <a:pt x="467" y="80"/>
                  </a:cubicBezTo>
                  <a:cubicBezTo>
                    <a:pt x="163" y="92"/>
                    <a:pt x="163" y="92"/>
                    <a:pt x="163" y="92"/>
                  </a:cubicBezTo>
                  <a:cubicBezTo>
                    <a:pt x="135" y="93"/>
                    <a:pt x="66" y="67"/>
                    <a:pt x="0" y="73"/>
                  </a:cubicBezTo>
                  <a:cubicBezTo>
                    <a:pt x="6" y="84"/>
                    <a:pt x="26" y="92"/>
                    <a:pt x="39" y="99"/>
                  </a:cubicBezTo>
                  <a:cubicBezTo>
                    <a:pt x="52" y="107"/>
                    <a:pt x="67" y="115"/>
                    <a:pt x="80" y="122"/>
                  </a:cubicBezTo>
                  <a:cubicBezTo>
                    <a:pt x="104" y="134"/>
                    <a:pt x="115" y="147"/>
                    <a:pt x="145" y="155"/>
                  </a:cubicBezTo>
                  <a:cubicBezTo>
                    <a:pt x="173" y="163"/>
                    <a:pt x="206" y="165"/>
                    <a:pt x="229" y="143"/>
                  </a:cubicBezTo>
                  <a:close/>
                </a:path>
              </a:pathLst>
            </a:custGeom>
            <a:solidFill>
              <a:srgbClr val="7BA2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cs typeface="+mn-cs"/>
              </a:endParaRPr>
            </a:p>
          </p:txBody>
        </p:sp>
        <p:sp>
          <p:nvSpPr>
            <p:cNvPr id="144" name="Freeform 47">
              <a:extLst>
                <a:ext uri="{FF2B5EF4-FFF2-40B4-BE49-F238E27FC236}">
                  <a16:creationId xmlns:a16="http://schemas.microsoft.com/office/drawing/2014/main" id="{34C703F7-E6C0-4134-B01A-758F387627DE}"/>
                </a:ext>
              </a:extLst>
            </p:cNvPr>
            <p:cNvSpPr>
              <a:spLocks/>
            </p:cNvSpPr>
            <p:nvPr/>
          </p:nvSpPr>
          <p:spPr bwMode="auto">
            <a:xfrm>
              <a:off x="5841" y="1885"/>
              <a:ext cx="691" cy="818"/>
            </a:xfrm>
            <a:custGeom>
              <a:avLst/>
              <a:gdLst>
                <a:gd name="T0" fmla="*/ 0 w 259"/>
                <a:gd name="T1" fmla="*/ 85 h 305"/>
                <a:gd name="T2" fmla="*/ 15 w 259"/>
                <a:gd name="T3" fmla="*/ 97 h 305"/>
                <a:gd name="T4" fmla="*/ 30 w 259"/>
                <a:gd name="T5" fmla="*/ 109 h 305"/>
                <a:gd name="T6" fmla="*/ 49 w 259"/>
                <a:gd name="T7" fmla="*/ 183 h 305"/>
                <a:gd name="T8" fmla="*/ 17 w 259"/>
                <a:gd name="T9" fmla="*/ 207 h 305"/>
                <a:gd name="T10" fmla="*/ 48 w 259"/>
                <a:gd name="T11" fmla="*/ 217 h 305"/>
                <a:gd name="T12" fmla="*/ 259 w 259"/>
                <a:gd name="T13" fmla="*/ 305 h 305"/>
                <a:gd name="T14" fmla="*/ 251 w 259"/>
                <a:gd name="T15" fmla="*/ 294 h 305"/>
                <a:gd name="T16" fmla="*/ 212 w 259"/>
                <a:gd name="T17" fmla="*/ 268 h 305"/>
                <a:gd name="T18" fmla="*/ 155 w 259"/>
                <a:gd name="T19" fmla="*/ 239 h 305"/>
                <a:gd name="T20" fmla="*/ 217 w 259"/>
                <a:gd name="T21" fmla="*/ 243 h 305"/>
                <a:gd name="T22" fmla="*/ 110 w 259"/>
                <a:gd name="T23" fmla="*/ 197 h 305"/>
                <a:gd name="T24" fmla="*/ 151 w 259"/>
                <a:gd name="T25" fmla="*/ 191 h 305"/>
                <a:gd name="T26" fmla="*/ 145 w 259"/>
                <a:gd name="T27" fmla="*/ 186 h 305"/>
                <a:gd name="T28" fmla="*/ 137 w 259"/>
                <a:gd name="T29" fmla="*/ 183 h 305"/>
                <a:gd name="T30" fmla="*/ 88 w 259"/>
                <a:gd name="T31" fmla="*/ 161 h 305"/>
                <a:gd name="T32" fmla="*/ 151 w 259"/>
                <a:gd name="T33" fmla="*/ 134 h 305"/>
                <a:gd name="T34" fmla="*/ 154 w 259"/>
                <a:gd name="T35" fmla="*/ 132 h 305"/>
                <a:gd name="T36" fmla="*/ 155 w 259"/>
                <a:gd name="T37" fmla="*/ 131 h 305"/>
                <a:gd name="T38" fmla="*/ 79 w 259"/>
                <a:gd name="T39" fmla="*/ 121 h 305"/>
                <a:gd name="T40" fmla="*/ 120 w 259"/>
                <a:gd name="T41" fmla="*/ 101 h 305"/>
                <a:gd name="T42" fmla="*/ 157 w 259"/>
                <a:gd name="T43" fmla="*/ 81 h 305"/>
                <a:gd name="T44" fmla="*/ 160 w 259"/>
                <a:gd name="T45" fmla="*/ 78 h 305"/>
                <a:gd name="T46" fmla="*/ 102 w 259"/>
                <a:gd name="T47" fmla="*/ 83 h 305"/>
                <a:gd name="T48" fmla="*/ 150 w 259"/>
                <a:gd name="T49" fmla="*/ 45 h 305"/>
                <a:gd name="T50" fmla="*/ 189 w 259"/>
                <a:gd name="T51" fmla="*/ 0 h 305"/>
                <a:gd name="T52" fmla="*/ 97 w 259"/>
                <a:gd name="T53" fmla="*/ 45 h 305"/>
                <a:gd name="T54" fmla="*/ 0 w 259"/>
                <a:gd name="T55" fmla="*/ 85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59" h="305">
                  <a:moveTo>
                    <a:pt x="0" y="85"/>
                  </a:moveTo>
                  <a:cubicBezTo>
                    <a:pt x="5" y="89"/>
                    <a:pt x="10" y="93"/>
                    <a:pt x="15" y="97"/>
                  </a:cubicBezTo>
                  <a:cubicBezTo>
                    <a:pt x="21" y="101"/>
                    <a:pt x="25" y="105"/>
                    <a:pt x="30" y="109"/>
                  </a:cubicBezTo>
                  <a:cubicBezTo>
                    <a:pt x="54" y="127"/>
                    <a:pt x="69" y="157"/>
                    <a:pt x="49" y="183"/>
                  </a:cubicBezTo>
                  <a:cubicBezTo>
                    <a:pt x="43" y="190"/>
                    <a:pt x="27" y="202"/>
                    <a:pt x="17" y="207"/>
                  </a:cubicBezTo>
                  <a:cubicBezTo>
                    <a:pt x="25" y="212"/>
                    <a:pt x="39" y="214"/>
                    <a:pt x="48" y="217"/>
                  </a:cubicBezTo>
                  <a:cubicBezTo>
                    <a:pt x="91" y="231"/>
                    <a:pt x="253" y="304"/>
                    <a:pt x="259" y="305"/>
                  </a:cubicBezTo>
                  <a:cubicBezTo>
                    <a:pt x="256" y="302"/>
                    <a:pt x="254" y="298"/>
                    <a:pt x="251" y="294"/>
                  </a:cubicBezTo>
                  <a:cubicBezTo>
                    <a:pt x="242" y="284"/>
                    <a:pt x="224" y="274"/>
                    <a:pt x="212" y="268"/>
                  </a:cubicBezTo>
                  <a:cubicBezTo>
                    <a:pt x="195" y="259"/>
                    <a:pt x="168" y="249"/>
                    <a:pt x="155" y="239"/>
                  </a:cubicBezTo>
                  <a:cubicBezTo>
                    <a:pt x="186" y="245"/>
                    <a:pt x="178" y="252"/>
                    <a:pt x="217" y="243"/>
                  </a:cubicBezTo>
                  <a:cubicBezTo>
                    <a:pt x="205" y="234"/>
                    <a:pt x="138" y="219"/>
                    <a:pt x="110" y="197"/>
                  </a:cubicBezTo>
                  <a:cubicBezTo>
                    <a:pt x="118" y="192"/>
                    <a:pt x="144" y="191"/>
                    <a:pt x="151" y="191"/>
                  </a:cubicBezTo>
                  <a:cubicBezTo>
                    <a:pt x="145" y="186"/>
                    <a:pt x="145" y="186"/>
                    <a:pt x="145" y="186"/>
                  </a:cubicBezTo>
                  <a:cubicBezTo>
                    <a:pt x="142" y="185"/>
                    <a:pt x="139" y="184"/>
                    <a:pt x="137" y="183"/>
                  </a:cubicBezTo>
                  <a:cubicBezTo>
                    <a:pt x="88" y="161"/>
                    <a:pt x="88" y="161"/>
                    <a:pt x="88" y="161"/>
                  </a:cubicBezTo>
                  <a:cubicBezTo>
                    <a:pt x="107" y="157"/>
                    <a:pt x="133" y="144"/>
                    <a:pt x="151" y="134"/>
                  </a:cubicBezTo>
                  <a:cubicBezTo>
                    <a:pt x="154" y="132"/>
                    <a:pt x="154" y="132"/>
                    <a:pt x="154" y="132"/>
                  </a:cubicBezTo>
                  <a:cubicBezTo>
                    <a:pt x="154" y="132"/>
                    <a:pt x="155" y="131"/>
                    <a:pt x="155" y="131"/>
                  </a:cubicBezTo>
                  <a:cubicBezTo>
                    <a:pt x="129" y="127"/>
                    <a:pt x="107" y="123"/>
                    <a:pt x="79" y="121"/>
                  </a:cubicBezTo>
                  <a:cubicBezTo>
                    <a:pt x="93" y="114"/>
                    <a:pt x="106" y="109"/>
                    <a:pt x="120" y="101"/>
                  </a:cubicBezTo>
                  <a:cubicBezTo>
                    <a:pt x="157" y="81"/>
                    <a:pt x="157" y="81"/>
                    <a:pt x="157" y="81"/>
                  </a:cubicBezTo>
                  <a:cubicBezTo>
                    <a:pt x="161" y="78"/>
                    <a:pt x="157" y="81"/>
                    <a:pt x="160" y="78"/>
                  </a:cubicBezTo>
                  <a:cubicBezTo>
                    <a:pt x="138" y="78"/>
                    <a:pt x="123" y="79"/>
                    <a:pt x="102" y="83"/>
                  </a:cubicBezTo>
                  <a:cubicBezTo>
                    <a:pt x="120" y="70"/>
                    <a:pt x="135" y="59"/>
                    <a:pt x="150" y="45"/>
                  </a:cubicBezTo>
                  <a:cubicBezTo>
                    <a:pt x="157" y="39"/>
                    <a:pt x="185" y="11"/>
                    <a:pt x="189" y="0"/>
                  </a:cubicBezTo>
                  <a:cubicBezTo>
                    <a:pt x="178" y="2"/>
                    <a:pt x="112" y="37"/>
                    <a:pt x="97" y="45"/>
                  </a:cubicBezTo>
                  <a:cubicBezTo>
                    <a:pt x="70" y="58"/>
                    <a:pt x="32" y="79"/>
                    <a:pt x="0" y="85"/>
                  </a:cubicBezTo>
                  <a:close/>
                </a:path>
              </a:pathLst>
            </a:custGeom>
            <a:solidFill>
              <a:srgbClr val="C0D2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cs typeface="+mn-cs"/>
              </a:endParaRPr>
            </a:p>
          </p:txBody>
        </p:sp>
        <p:sp>
          <p:nvSpPr>
            <p:cNvPr id="145" name="Freeform 48">
              <a:extLst>
                <a:ext uri="{FF2B5EF4-FFF2-40B4-BE49-F238E27FC236}">
                  <a16:creationId xmlns:a16="http://schemas.microsoft.com/office/drawing/2014/main" id="{F42BAE66-5B8B-434D-9D2C-B2D67EAA4F46}"/>
                </a:ext>
              </a:extLst>
            </p:cNvPr>
            <p:cNvSpPr>
              <a:spLocks/>
            </p:cNvSpPr>
            <p:nvPr/>
          </p:nvSpPr>
          <p:spPr bwMode="auto">
            <a:xfrm>
              <a:off x="1746" y="2129"/>
              <a:ext cx="352" cy="569"/>
            </a:xfrm>
            <a:custGeom>
              <a:avLst/>
              <a:gdLst>
                <a:gd name="T0" fmla="*/ 131 w 132"/>
                <a:gd name="T1" fmla="*/ 123 h 212"/>
                <a:gd name="T2" fmla="*/ 110 w 132"/>
                <a:gd name="T3" fmla="*/ 61 h 212"/>
                <a:gd name="T4" fmla="*/ 117 w 132"/>
                <a:gd name="T5" fmla="*/ 26 h 212"/>
                <a:gd name="T6" fmla="*/ 98 w 132"/>
                <a:gd name="T7" fmla="*/ 3 h 212"/>
                <a:gd name="T8" fmla="*/ 69 w 132"/>
                <a:gd name="T9" fmla="*/ 57 h 212"/>
                <a:gd name="T10" fmla="*/ 15 w 132"/>
                <a:gd name="T11" fmla="*/ 89 h 212"/>
                <a:gd name="T12" fmla="*/ 58 w 132"/>
                <a:gd name="T13" fmla="*/ 123 h 212"/>
                <a:gd name="T14" fmla="*/ 69 w 132"/>
                <a:gd name="T15" fmla="*/ 186 h 212"/>
                <a:gd name="T16" fmla="*/ 88 w 132"/>
                <a:gd name="T17" fmla="*/ 207 h 212"/>
                <a:gd name="T18" fmla="*/ 110 w 132"/>
                <a:gd name="T19" fmla="*/ 145 h 212"/>
                <a:gd name="T20" fmla="*/ 120 w 132"/>
                <a:gd name="T21" fmla="*/ 134 h 212"/>
                <a:gd name="T22" fmla="*/ 131 w 132"/>
                <a:gd name="T23" fmla="*/ 123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2" h="212">
                  <a:moveTo>
                    <a:pt x="131" y="123"/>
                  </a:moveTo>
                  <a:cubicBezTo>
                    <a:pt x="132" y="91"/>
                    <a:pt x="109" y="88"/>
                    <a:pt x="110" y="61"/>
                  </a:cubicBezTo>
                  <a:cubicBezTo>
                    <a:pt x="111" y="50"/>
                    <a:pt x="117" y="37"/>
                    <a:pt x="117" y="26"/>
                  </a:cubicBezTo>
                  <a:cubicBezTo>
                    <a:pt x="116" y="16"/>
                    <a:pt x="109" y="0"/>
                    <a:pt x="98" y="3"/>
                  </a:cubicBezTo>
                  <a:cubicBezTo>
                    <a:pt x="85" y="6"/>
                    <a:pt x="80" y="45"/>
                    <a:pt x="69" y="57"/>
                  </a:cubicBezTo>
                  <a:cubicBezTo>
                    <a:pt x="53" y="74"/>
                    <a:pt x="29" y="67"/>
                    <a:pt x="15" y="89"/>
                  </a:cubicBezTo>
                  <a:cubicBezTo>
                    <a:pt x="0" y="111"/>
                    <a:pt x="37" y="110"/>
                    <a:pt x="58" y="123"/>
                  </a:cubicBezTo>
                  <a:cubicBezTo>
                    <a:pt x="90" y="143"/>
                    <a:pt x="64" y="153"/>
                    <a:pt x="69" y="186"/>
                  </a:cubicBezTo>
                  <a:cubicBezTo>
                    <a:pt x="71" y="196"/>
                    <a:pt x="75" y="212"/>
                    <a:pt x="88" y="207"/>
                  </a:cubicBezTo>
                  <a:cubicBezTo>
                    <a:pt x="111" y="198"/>
                    <a:pt x="91" y="168"/>
                    <a:pt x="110" y="145"/>
                  </a:cubicBezTo>
                  <a:cubicBezTo>
                    <a:pt x="114" y="141"/>
                    <a:pt x="117" y="139"/>
                    <a:pt x="120" y="134"/>
                  </a:cubicBezTo>
                  <a:cubicBezTo>
                    <a:pt x="126" y="124"/>
                    <a:pt x="124" y="128"/>
                    <a:pt x="131" y="123"/>
                  </a:cubicBezTo>
                  <a:close/>
                </a:path>
              </a:pathLst>
            </a:custGeom>
            <a:solidFill>
              <a:srgbClr val="7BA2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cs typeface="+mn-cs"/>
              </a:endParaRPr>
            </a:p>
          </p:txBody>
        </p:sp>
        <p:sp>
          <p:nvSpPr>
            <p:cNvPr id="146" name="Freeform 49">
              <a:extLst>
                <a:ext uri="{FF2B5EF4-FFF2-40B4-BE49-F238E27FC236}">
                  <a16:creationId xmlns:a16="http://schemas.microsoft.com/office/drawing/2014/main" id="{AEB4F7B6-2B36-4C19-A43C-022160C0315B}"/>
                </a:ext>
              </a:extLst>
            </p:cNvPr>
            <p:cNvSpPr>
              <a:spLocks/>
            </p:cNvSpPr>
            <p:nvPr/>
          </p:nvSpPr>
          <p:spPr bwMode="auto">
            <a:xfrm>
              <a:off x="1127" y="2413"/>
              <a:ext cx="739" cy="290"/>
            </a:xfrm>
            <a:custGeom>
              <a:avLst/>
              <a:gdLst>
                <a:gd name="T0" fmla="*/ 108 w 277"/>
                <a:gd name="T1" fmla="*/ 0 h 108"/>
                <a:gd name="T2" fmla="*/ 63 w 277"/>
                <a:gd name="T3" fmla="*/ 28 h 108"/>
                <a:gd name="T4" fmla="*/ 0 w 277"/>
                <a:gd name="T5" fmla="*/ 4 h 108"/>
                <a:gd name="T6" fmla="*/ 106 w 277"/>
                <a:gd name="T7" fmla="*/ 67 h 108"/>
                <a:gd name="T8" fmla="*/ 235 w 277"/>
                <a:gd name="T9" fmla="*/ 108 h 108"/>
                <a:gd name="T10" fmla="*/ 219 w 277"/>
                <a:gd name="T11" fmla="*/ 59 h 108"/>
                <a:gd name="T12" fmla="*/ 277 w 277"/>
                <a:gd name="T13" fmla="*/ 39 h 108"/>
                <a:gd name="T14" fmla="*/ 227 w 277"/>
                <a:gd name="T15" fmla="*/ 34 h 108"/>
                <a:gd name="T16" fmla="*/ 201 w 277"/>
                <a:gd name="T17" fmla="*/ 0 h 108"/>
                <a:gd name="T18" fmla="*/ 131 w 277"/>
                <a:gd name="T19" fmla="*/ 18 h 108"/>
                <a:gd name="T20" fmla="*/ 108 w 277"/>
                <a:gd name="T21" fmla="*/ 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7" h="108">
                  <a:moveTo>
                    <a:pt x="108" y="0"/>
                  </a:moveTo>
                  <a:cubicBezTo>
                    <a:pt x="113" y="35"/>
                    <a:pt x="105" y="41"/>
                    <a:pt x="63" y="28"/>
                  </a:cubicBezTo>
                  <a:cubicBezTo>
                    <a:pt x="41" y="22"/>
                    <a:pt x="21" y="11"/>
                    <a:pt x="0" y="4"/>
                  </a:cubicBezTo>
                  <a:cubicBezTo>
                    <a:pt x="19" y="29"/>
                    <a:pt x="75" y="57"/>
                    <a:pt x="106" y="67"/>
                  </a:cubicBezTo>
                  <a:cubicBezTo>
                    <a:pt x="143" y="79"/>
                    <a:pt x="192" y="101"/>
                    <a:pt x="235" y="108"/>
                  </a:cubicBezTo>
                  <a:cubicBezTo>
                    <a:pt x="231" y="94"/>
                    <a:pt x="216" y="78"/>
                    <a:pt x="219" y="59"/>
                  </a:cubicBezTo>
                  <a:cubicBezTo>
                    <a:pt x="232" y="43"/>
                    <a:pt x="265" y="53"/>
                    <a:pt x="277" y="39"/>
                  </a:cubicBezTo>
                  <a:cubicBezTo>
                    <a:pt x="261" y="28"/>
                    <a:pt x="245" y="42"/>
                    <a:pt x="227" y="34"/>
                  </a:cubicBezTo>
                  <a:cubicBezTo>
                    <a:pt x="214" y="28"/>
                    <a:pt x="203" y="8"/>
                    <a:pt x="201" y="0"/>
                  </a:cubicBezTo>
                  <a:cubicBezTo>
                    <a:pt x="196" y="42"/>
                    <a:pt x="161" y="38"/>
                    <a:pt x="131" y="18"/>
                  </a:cubicBezTo>
                  <a:cubicBezTo>
                    <a:pt x="121" y="13"/>
                    <a:pt x="117" y="7"/>
                    <a:pt x="108" y="0"/>
                  </a:cubicBezTo>
                  <a:close/>
                </a:path>
              </a:pathLst>
            </a:custGeom>
            <a:solidFill>
              <a:srgbClr val="7BA2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cs typeface="+mn-cs"/>
              </a:endParaRPr>
            </a:p>
          </p:txBody>
        </p:sp>
        <p:sp>
          <p:nvSpPr>
            <p:cNvPr id="147" name="Freeform 50">
              <a:extLst>
                <a:ext uri="{FF2B5EF4-FFF2-40B4-BE49-F238E27FC236}">
                  <a16:creationId xmlns:a16="http://schemas.microsoft.com/office/drawing/2014/main" id="{54E72244-E2C2-4CE9-9902-B12685A6A635}"/>
                </a:ext>
              </a:extLst>
            </p:cNvPr>
            <p:cNvSpPr>
              <a:spLocks/>
            </p:cNvSpPr>
            <p:nvPr/>
          </p:nvSpPr>
          <p:spPr bwMode="auto">
            <a:xfrm>
              <a:off x="3385" y="1454"/>
              <a:ext cx="446" cy="144"/>
            </a:xfrm>
            <a:custGeom>
              <a:avLst/>
              <a:gdLst>
                <a:gd name="T0" fmla="*/ 1 w 167"/>
                <a:gd name="T1" fmla="*/ 54 h 54"/>
                <a:gd name="T2" fmla="*/ 167 w 167"/>
                <a:gd name="T3" fmla="*/ 54 h 54"/>
                <a:gd name="T4" fmla="*/ 90 w 167"/>
                <a:gd name="T5" fmla="*/ 21 h 54"/>
                <a:gd name="T6" fmla="*/ 73 w 167"/>
                <a:gd name="T7" fmla="*/ 2 h 54"/>
                <a:gd name="T8" fmla="*/ 1 w 167"/>
                <a:gd name="T9" fmla="*/ 54 h 54"/>
              </a:gdLst>
              <a:ahLst/>
              <a:cxnLst>
                <a:cxn ang="0">
                  <a:pos x="T0" y="T1"/>
                </a:cxn>
                <a:cxn ang="0">
                  <a:pos x="T2" y="T3"/>
                </a:cxn>
                <a:cxn ang="0">
                  <a:pos x="T4" y="T5"/>
                </a:cxn>
                <a:cxn ang="0">
                  <a:pos x="T6" y="T7"/>
                </a:cxn>
                <a:cxn ang="0">
                  <a:pos x="T8" y="T9"/>
                </a:cxn>
              </a:cxnLst>
              <a:rect l="0" t="0" r="r" b="b"/>
              <a:pathLst>
                <a:path w="167" h="54">
                  <a:moveTo>
                    <a:pt x="1" y="54"/>
                  </a:moveTo>
                  <a:cubicBezTo>
                    <a:pt x="167" y="54"/>
                    <a:pt x="167" y="54"/>
                    <a:pt x="167" y="54"/>
                  </a:cubicBezTo>
                  <a:cubicBezTo>
                    <a:pt x="161" y="45"/>
                    <a:pt x="110" y="33"/>
                    <a:pt x="90" y="21"/>
                  </a:cubicBezTo>
                  <a:cubicBezTo>
                    <a:pt x="77" y="13"/>
                    <a:pt x="81" y="16"/>
                    <a:pt x="73" y="2"/>
                  </a:cubicBezTo>
                  <a:cubicBezTo>
                    <a:pt x="33" y="0"/>
                    <a:pt x="0" y="15"/>
                    <a:pt x="1" y="54"/>
                  </a:cubicBezTo>
                  <a:close/>
                </a:path>
              </a:pathLst>
            </a:custGeom>
            <a:solidFill>
              <a:srgbClr val="C0D2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cs typeface="+mn-cs"/>
              </a:endParaRPr>
            </a:p>
          </p:txBody>
        </p:sp>
        <p:sp>
          <p:nvSpPr>
            <p:cNvPr id="148" name="Freeform 51">
              <a:extLst>
                <a:ext uri="{FF2B5EF4-FFF2-40B4-BE49-F238E27FC236}">
                  <a16:creationId xmlns:a16="http://schemas.microsoft.com/office/drawing/2014/main" id="{DD11DF13-BEAB-4ABE-9DD6-D8B48E747955}"/>
                </a:ext>
              </a:extLst>
            </p:cNvPr>
            <p:cNvSpPr>
              <a:spLocks/>
            </p:cNvSpPr>
            <p:nvPr/>
          </p:nvSpPr>
          <p:spPr bwMode="auto">
            <a:xfrm>
              <a:off x="1530" y="1995"/>
              <a:ext cx="357" cy="319"/>
            </a:xfrm>
            <a:custGeom>
              <a:avLst/>
              <a:gdLst>
                <a:gd name="T0" fmla="*/ 53 w 134"/>
                <a:gd name="T1" fmla="*/ 20 h 119"/>
                <a:gd name="T2" fmla="*/ 82 w 134"/>
                <a:gd name="T3" fmla="*/ 100 h 119"/>
                <a:gd name="T4" fmla="*/ 53 w 134"/>
                <a:gd name="T5" fmla="*/ 20 h 119"/>
              </a:gdLst>
              <a:ahLst/>
              <a:cxnLst>
                <a:cxn ang="0">
                  <a:pos x="T0" y="T1"/>
                </a:cxn>
                <a:cxn ang="0">
                  <a:pos x="T2" y="T3"/>
                </a:cxn>
                <a:cxn ang="0">
                  <a:pos x="T4" y="T5"/>
                </a:cxn>
              </a:cxnLst>
              <a:rect l="0" t="0" r="r" b="b"/>
              <a:pathLst>
                <a:path w="134" h="119">
                  <a:moveTo>
                    <a:pt x="53" y="20"/>
                  </a:moveTo>
                  <a:cubicBezTo>
                    <a:pt x="0" y="40"/>
                    <a:pt x="31" y="119"/>
                    <a:pt x="82" y="100"/>
                  </a:cubicBezTo>
                  <a:cubicBezTo>
                    <a:pt x="134" y="79"/>
                    <a:pt x="104" y="0"/>
                    <a:pt x="53" y="20"/>
                  </a:cubicBezTo>
                  <a:close/>
                </a:path>
              </a:pathLst>
            </a:custGeom>
            <a:solidFill>
              <a:srgbClr val="FEFE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cs typeface="+mn-cs"/>
              </a:endParaRPr>
            </a:p>
          </p:txBody>
        </p:sp>
        <p:sp>
          <p:nvSpPr>
            <p:cNvPr id="149" name="Freeform 52">
              <a:extLst>
                <a:ext uri="{FF2B5EF4-FFF2-40B4-BE49-F238E27FC236}">
                  <a16:creationId xmlns:a16="http://schemas.microsoft.com/office/drawing/2014/main" id="{2FCEE18A-A169-4B15-BF8E-C8F516CE3537}"/>
                </a:ext>
              </a:extLst>
            </p:cNvPr>
            <p:cNvSpPr>
              <a:spLocks/>
            </p:cNvSpPr>
            <p:nvPr/>
          </p:nvSpPr>
          <p:spPr bwMode="auto">
            <a:xfrm>
              <a:off x="1588" y="2041"/>
              <a:ext cx="249" cy="228"/>
            </a:xfrm>
            <a:custGeom>
              <a:avLst/>
              <a:gdLst>
                <a:gd name="T0" fmla="*/ 39 w 93"/>
                <a:gd name="T1" fmla="*/ 11 h 85"/>
                <a:gd name="T2" fmla="*/ 54 w 93"/>
                <a:gd name="T3" fmla="*/ 75 h 85"/>
                <a:gd name="T4" fmla="*/ 39 w 93"/>
                <a:gd name="T5" fmla="*/ 11 h 85"/>
              </a:gdLst>
              <a:ahLst/>
              <a:cxnLst>
                <a:cxn ang="0">
                  <a:pos x="T0" y="T1"/>
                </a:cxn>
                <a:cxn ang="0">
                  <a:pos x="T2" y="T3"/>
                </a:cxn>
                <a:cxn ang="0">
                  <a:pos x="T4" y="T5"/>
                </a:cxn>
              </a:cxnLst>
              <a:rect l="0" t="0" r="r" b="b"/>
              <a:pathLst>
                <a:path w="93" h="85">
                  <a:moveTo>
                    <a:pt x="39" y="11"/>
                  </a:moveTo>
                  <a:cubicBezTo>
                    <a:pt x="0" y="20"/>
                    <a:pt x="8" y="85"/>
                    <a:pt x="54" y="75"/>
                  </a:cubicBezTo>
                  <a:cubicBezTo>
                    <a:pt x="93" y="67"/>
                    <a:pt x="82" y="0"/>
                    <a:pt x="39" y="11"/>
                  </a:cubicBezTo>
                  <a:close/>
                </a:path>
              </a:pathLst>
            </a:custGeom>
            <a:solidFill>
              <a:srgbClr val="CFD0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cs typeface="+mn-cs"/>
              </a:endParaRPr>
            </a:p>
          </p:txBody>
        </p:sp>
      </p:grpSp>
      <p:grpSp>
        <p:nvGrpSpPr>
          <p:cNvPr id="151" name="Group 55">
            <a:extLst>
              <a:ext uri="{FF2B5EF4-FFF2-40B4-BE49-F238E27FC236}">
                <a16:creationId xmlns:a16="http://schemas.microsoft.com/office/drawing/2014/main" id="{451A7341-61CD-4614-9EF3-4595D260D91D}"/>
              </a:ext>
            </a:extLst>
          </p:cNvPr>
          <p:cNvGrpSpPr>
            <a:grpSpLocks noChangeAspect="1"/>
          </p:cNvGrpSpPr>
          <p:nvPr/>
        </p:nvGrpSpPr>
        <p:grpSpPr bwMode="auto">
          <a:xfrm>
            <a:off x="6769101" y="4141789"/>
            <a:ext cx="4192587" cy="854076"/>
            <a:chOff x="4264" y="2609"/>
            <a:chExt cx="2641" cy="538"/>
          </a:xfrm>
        </p:grpSpPr>
        <p:sp>
          <p:nvSpPr>
            <p:cNvPr id="153" name="Freeform 56">
              <a:extLst>
                <a:ext uri="{FF2B5EF4-FFF2-40B4-BE49-F238E27FC236}">
                  <a16:creationId xmlns:a16="http://schemas.microsoft.com/office/drawing/2014/main" id="{5242B8CF-8D42-45E0-BC51-00D145FCB9F9}"/>
                </a:ext>
              </a:extLst>
            </p:cNvPr>
            <p:cNvSpPr>
              <a:spLocks/>
            </p:cNvSpPr>
            <p:nvPr/>
          </p:nvSpPr>
          <p:spPr bwMode="auto">
            <a:xfrm>
              <a:off x="4264" y="2609"/>
              <a:ext cx="2641" cy="538"/>
            </a:xfrm>
            <a:custGeom>
              <a:avLst/>
              <a:gdLst>
                <a:gd name="T0" fmla="*/ 287 w 2297"/>
                <a:gd name="T1" fmla="*/ 249 h 465"/>
                <a:gd name="T2" fmla="*/ 535 w 2297"/>
                <a:gd name="T3" fmla="*/ 305 h 465"/>
                <a:gd name="T4" fmla="*/ 1292 w 2297"/>
                <a:gd name="T5" fmla="*/ 455 h 465"/>
                <a:gd name="T6" fmla="*/ 2252 w 2297"/>
                <a:gd name="T7" fmla="*/ 305 h 465"/>
                <a:gd name="T8" fmla="*/ 2295 w 2297"/>
                <a:gd name="T9" fmla="*/ 268 h 465"/>
                <a:gd name="T10" fmla="*/ 2276 w 2297"/>
                <a:gd name="T11" fmla="*/ 257 h 465"/>
                <a:gd name="T12" fmla="*/ 2176 w 2297"/>
                <a:gd name="T13" fmla="*/ 180 h 465"/>
                <a:gd name="T14" fmla="*/ 2049 w 2297"/>
                <a:gd name="T15" fmla="*/ 136 h 465"/>
                <a:gd name="T16" fmla="*/ 495 w 2297"/>
                <a:gd name="T17" fmla="*/ 162 h 465"/>
                <a:gd name="T18" fmla="*/ 237 w 2297"/>
                <a:gd name="T19" fmla="*/ 155 h 465"/>
                <a:gd name="T20" fmla="*/ 0 w 2297"/>
                <a:gd name="T21" fmla="*/ 60 h 465"/>
                <a:gd name="T22" fmla="*/ 41 w 2297"/>
                <a:gd name="T23" fmla="*/ 98 h 465"/>
                <a:gd name="T24" fmla="*/ 77 w 2297"/>
                <a:gd name="T25" fmla="*/ 144 h 465"/>
                <a:gd name="T26" fmla="*/ 127 w 2297"/>
                <a:gd name="T27" fmla="*/ 279 h 465"/>
                <a:gd name="T28" fmla="*/ 50 w 2297"/>
                <a:gd name="T29" fmla="*/ 372 h 465"/>
                <a:gd name="T30" fmla="*/ 7 w 2297"/>
                <a:gd name="T31" fmla="*/ 415 h 465"/>
                <a:gd name="T32" fmla="*/ 264 w 2297"/>
                <a:gd name="T33" fmla="*/ 289 h 465"/>
                <a:gd name="T34" fmla="*/ 287 w 2297"/>
                <a:gd name="T35" fmla="*/ 249 h 4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97" h="465">
                  <a:moveTo>
                    <a:pt x="287" y="249"/>
                  </a:moveTo>
                  <a:cubicBezTo>
                    <a:pt x="345" y="276"/>
                    <a:pt x="403" y="248"/>
                    <a:pt x="535" y="305"/>
                  </a:cubicBezTo>
                  <a:cubicBezTo>
                    <a:pt x="691" y="373"/>
                    <a:pt x="1127" y="445"/>
                    <a:pt x="1292" y="455"/>
                  </a:cubicBezTo>
                  <a:cubicBezTo>
                    <a:pt x="1486" y="465"/>
                    <a:pt x="2085" y="457"/>
                    <a:pt x="2252" y="305"/>
                  </a:cubicBezTo>
                  <a:cubicBezTo>
                    <a:pt x="2297" y="265"/>
                    <a:pt x="2261" y="274"/>
                    <a:pt x="2295" y="268"/>
                  </a:cubicBezTo>
                  <a:cubicBezTo>
                    <a:pt x="2276" y="262"/>
                    <a:pt x="2287" y="266"/>
                    <a:pt x="2276" y="257"/>
                  </a:cubicBezTo>
                  <a:cubicBezTo>
                    <a:pt x="2282" y="216"/>
                    <a:pt x="2259" y="221"/>
                    <a:pt x="2176" y="180"/>
                  </a:cubicBezTo>
                  <a:cubicBezTo>
                    <a:pt x="2137" y="161"/>
                    <a:pt x="2092" y="148"/>
                    <a:pt x="2049" y="136"/>
                  </a:cubicBezTo>
                  <a:cubicBezTo>
                    <a:pt x="1576" y="0"/>
                    <a:pt x="971" y="78"/>
                    <a:pt x="495" y="162"/>
                  </a:cubicBezTo>
                  <a:cubicBezTo>
                    <a:pt x="326" y="192"/>
                    <a:pt x="317" y="219"/>
                    <a:pt x="237" y="155"/>
                  </a:cubicBezTo>
                  <a:cubicBezTo>
                    <a:pt x="210" y="133"/>
                    <a:pt x="45" y="36"/>
                    <a:pt x="0" y="60"/>
                  </a:cubicBezTo>
                  <a:cubicBezTo>
                    <a:pt x="15" y="83"/>
                    <a:pt x="23" y="80"/>
                    <a:pt x="41" y="98"/>
                  </a:cubicBezTo>
                  <a:cubicBezTo>
                    <a:pt x="55" y="112"/>
                    <a:pt x="65" y="131"/>
                    <a:pt x="77" y="144"/>
                  </a:cubicBezTo>
                  <a:cubicBezTo>
                    <a:pt x="122" y="201"/>
                    <a:pt x="213" y="216"/>
                    <a:pt x="127" y="279"/>
                  </a:cubicBezTo>
                  <a:cubicBezTo>
                    <a:pt x="78" y="315"/>
                    <a:pt x="79" y="339"/>
                    <a:pt x="50" y="372"/>
                  </a:cubicBezTo>
                  <a:cubicBezTo>
                    <a:pt x="33" y="392"/>
                    <a:pt x="21" y="392"/>
                    <a:pt x="7" y="415"/>
                  </a:cubicBezTo>
                  <a:cubicBezTo>
                    <a:pt x="86" y="430"/>
                    <a:pt x="200" y="334"/>
                    <a:pt x="264" y="289"/>
                  </a:cubicBezTo>
                  <a:cubicBezTo>
                    <a:pt x="295" y="268"/>
                    <a:pt x="289" y="283"/>
                    <a:pt x="287" y="249"/>
                  </a:cubicBezTo>
                  <a:close/>
                </a:path>
              </a:pathLst>
            </a:custGeom>
            <a:solidFill>
              <a:srgbClr val="C9E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cs typeface="+mn-cs"/>
              </a:endParaRPr>
            </a:p>
          </p:txBody>
        </p:sp>
        <p:sp>
          <p:nvSpPr>
            <p:cNvPr id="154" name="Freeform 57">
              <a:extLst>
                <a:ext uri="{FF2B5EF4-FFF2-40B4-BE49-F238E27FC236}">
                  <a16:creationId xmlns:a16="http://schemas.microsoft.com/office/drawing/2014/main" id="{30F7CDA0-1994-458E-AC2D-A58248E07FA8}"/>
                </a:ext>
              </a:extLst>
            </p:cNvPr>
            <p:cNvSpPr>
              <a:spLocks/>
            </p:cNvSpPr>
            <p:nvPr/>
          </p:nvSpPr>
          <p:spPr bwMode="auto">
            <a:xfrm>
              <a:off x="4265" y="2610"/>
              <a:ext cx="2621" cy="291"/>
            </a:xfrm>
            <a:custGeom>
              <a:avLst/>
              <a:gdLst>
                <a:gd name="T0" fmla="*/ 286 w 2279"/>
                <a:gd name="T1" fmla="*/ 248 h 251"/>
                <a:gd name="T2" fmla="*/ 498 w 2279"/>
                <a:gd name="T3" fmla="*/ 251 h 251"/>
                <a:gd name="T4" fmla="*/ 1035 w 2279"/>
                <a:gd name="T5" fmla="*/ 251 h 251"/>
                <a:gd name="T6" fmla="*/ 1245 w 2279"/>
                <a:gd name="T7" fmla="*/ 251 h 251"/>
                <a:gd name="T8" fmla="*/ 1746 w 2279"/>
                <a:gd name="T9" fmla="*/ 251 h 251"/>
                <a:gd name="T10" fmla="*/ 1750 w 2279"/>
                <a:gd name="T11" fmla="*/ 245 h 251"/>
                <a:gd name="T12" fmla="*/ 1752 w 2279"/>
                <a:gd name="T13" fmla="*/ 251 h 251"/>
                <a:gd name="T14" fmla="*/ 1812 w 2279"/>
                <a:gd name="T15" fmla="*/ 251 h 251"/>
                <a:gd name="T16" fmla="*/ 1890 w 2279"/>
                <a:gd name="T17" fmla="*/ 144 h 251"/>
                <a:gd name="T18" fmla="*/ 1990 w 2279"/>
                <a:gd name="T19" fmla="*/ 152 h 251"/>
                <a:gd name="T20" fmla="*/ 1938 w 2279"/>
                <a:gd name="T21" fmla="*/ 251 h 251"/>
                <a:gd name="T22" fmla="*/ 2276 w 2279"/>
                <a:gd name="T23" fmla="*/ 251 h 251"/>
                <a:gd name="T24" fmla="*/ 2175 w 2279"/>
                <a:gd name="T25" fmla="*/ 180 h 251"/>
                <a:gd name="T26" fmla="*/ 2048 w 2279"/>
                <a:gd name="T27" fmla="*/ 136 h 251"/>
                <a:gd name="T28" fmla="*/ 495 w 2279"/>
                <a:gd name="T29" fmla="*/ 162 h 251"/>
                <a:gd name="T30" fmla="*/ 236 w 2279"/>
                <a:gd name="T31" fmla="*/ 155 h 251"/>
                <a:gd name="T32" fmla="*/ 0 w 2279"/>
                <a:gd name="T33" fmla="*/ 60 h 251"/>
                <a:gd name="T34" fmla="*/ 40 w 2279"/>
                <a:gd name="T35" fmla="*/ 98 h 251"/>
                <a:gd name="T36" fmla="*/ 76 w 2279"/>
                <a:gd name="T37" fmla="*/ 144 h 251"/>
                <a:gd name="T38" fmla="*/ 156 w 2279"/>
                <a:gd name="T39" fmla="*/ 251 h 251"/>
                <a:gd name="T40" fmla="*/ 287 w 2279"/>
                <a:gd name="T41" fmla="*/ 251 h 251"/>
                <a:gd name="T42" fmla="*/ 286 w 2279"/>
                <a:gd name="T43" fmla="*/ 248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79" h="251">
                  <a:moveTo>
                    <a:pt x="286" y="248"/>
                  </a:moveTo>
                  <a:cubicBezTo>
                    <a:pt x="302" y="239"/>
                    <a:pt x="404" y="244"/>
                    <a:pt x="498" y="251"/>
                  </a:cubicBezTo>
                  <a:cubicBezTo>
                    <a:pt x="1035" y="251"/>
                    <a:pt x="1035" y="251"/>
                    <a:pt x="1035" y="251"/>
                  </a:cubicBezTo>
                  <a:cubicBezTo>
                    <a:pt x="1102" y="249"/>
                    <a:pt x="1172" y="248"/>
                    <a:pt x="1245" y="251"/>
                  </a:cubicBezTo>
                  <a:cubicBezTo>
                    <a:pt x="1746" y="251"/>
                    <a:pt x="1746" y="251"/>
                    <a:pt x="1746" y="251"/>
                  </a:cubicBezTo>
                  <a:cubicBezTo>
                    <a:pt x="1750" y="245"/>
                    <a:pt x="1750" y="245"/>
                    <a:pt x="1750" y="245"/>
                  </a:cubicBezTo>
                  <a:cubicBezTo>
                    <a:pt x="1751" y="247"/>
                    <a:pt x="1752" y="249"/>
                    <a:pt x="1752" y="251"/>
                  </a:cubicBezTo>
                  <a:cubicBezTo>
                    <a:pt x="1812" y="251"/>
                    <a:pt x="1812" y="251"/>
                    <a:pt x="1812" y="251"/>
                  </a:cubicBezTo>
                  <a:cubicBezTo>
                    <a:pt x="1823" y="206"/>
                    <a:pt x="1848" y="165"/>
                    <a:pt x="1890" y="144"/>
                  </a:cubicBezTo>
                  <a:cubicBezTo>
                    <a:pt x="1928" y="126"/>
                    <a:pt x="1952" y="140"/>
                    <a:pt x="1990" y="152"/>
                  </a:cubicBezTo>
                  <a:cubicBezTo>
                    <a:pt x="1952" y="179"/>
                    <a:pt x="1935" y="216"/>
                    <a:pt x="1938" y="251"/>
                  </a:cubicBezTo>
                  <a:cubicBezTo>
                    <a:pt x="2276" y="251"/>
                    <a:pt x="2276" y="251"/>
                    <a:pt x="2276" y="251"/>
                  </a:cubicBezTo>
                  <a:cubicBezTo>
                    <a:pt x="2279" y="216"/>
                    <a:pt x="2254" y="219"/>
                    <a:pt x="2175" y="180"/>
                  </a:cubicBezTo>
                  <a:cubicBezTo>
                    <a:pt x="2136" y="161"/>
                    <a:pt x="2092" y="148"/>
                    <a:pt x="2048" y="136"/>
                  </a:cubicBezTo>
                  <a:cubicBezTo>
                    <a:pt x="1575" y="0"/>
                    <a:pt x="971" y="78"/>
                    <a:pt x="495" y="162"/>
                  </a:cubicBezTo>
                  <a:cubicBezTo>
                    <a:pt x="326" y="192"/>
                    <a:pt x="317" y="220"/>
                    <a:pt x="236" y="155"/>
                  </a:cubicBezTo>
                  <a:cubicBezTo>
                    <a:pt x="209" y="134"/>
                    <a:pt x="45" y="36"/>
                    <a:pt x="0" y="60"/>
                  </a:cubicBezTo>
                  <a:cubicBezTo>
                    <a:pt x="14" y="83"/>
                    <a:pt x="22" y="80"/>
                    <a:pt x="40" y="98"/>
                  </a:cubicBezTo>
                  <a:cubicBezTo>
                    <a:pt x="54" y="112"/>
                    <a:pt x="65" y="131"/>
                    <a:pt x="76" y="144"/>
                  </a:cubicBezTo>
                  <a:cubicBezTo>
                    <a:pt x="114" y="191"/>
                    <a:pt x="183" y="210"/>
                    <a:pt x="156" y="251"/>
                  </a:cubicBezTo>
                  <a:cubicBezTo>
                    <a:pt x="287" y="251"/>
                    <a:pt x="287" y="251"/>
                    <a:pt x="287" y="251"/>
                  </a:cubicBezTo>
                  <a:lnTo>
                    <a:pt x="286" y="248"/>
                  </a:lnTo>
                  <a:close/>
                </a:path>
              </a:pathLst>
            </a:custGeom>
            <a:solidFill>
              <a:srgbClr val="B3D8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cs typeface="+mn-cs"/>
              </a:endParaRPr>
            </a:p>
          </p:txBody>
        </p:sp>
        <p:sp>
          <p:nvSpPr>
            <p:cNvPr id="155" name="Freeform 58">
              <a:extLst>
                <a:ext uri="{FF2B5EF4-FFF2-40B4-BE49-F238E27FC236}">
                  <a16:creationId xmlns:a16="http://schemas.microsoft.com/office/drawing/2014/main" id="{48BCFD87-7199-4FC7-9F45-ECBD74A6E6A5}"/>
                </a:ext>
              </a:extLst>
            </p:cNvPr>
            <p:cNvSpPr>
              <a:spLocks/>
            </p:cNvSpPr>
            <p:nvPr/>
          </p:nvSpPr>
          <p:spPr bwMode="auto">
            <a:xfrm>
              <a:off x="4594" y="2755"/>
              <a:ext cx="2311" cy="392"/>
            </a:xfrm>
            <a:custGeom>
              <a:avLst/>
              <a:gdLst>
                <a:gd name="T0" fmla="*/ 0 w 2010"/>
                <a:gd name="T1" fmla="*/ 123 h 339"/>
                <a:gd name="T2" fmla="*/ 248 w 2010"/>
                <a:gd name="T3" fmla="*/ 179 h 339"/>
                <a:gd name="T4" fmla="*/ 1005 w 2010"/>
                <a:gd name="T5" fmla="*/ 329 h 339"/>
                <a:gd name="T6" fmla="*/ 1965 w 2010"/>
                <a:gd name="T7" fmla="*/ 179 h 339"/>
                <a:gd name="T8" fmla="*/ 2008 w 2010"/>
                <a:gd name="T9" fmla="*/ 142 h 339"/>
                <a:gd name="T10" fmla="*/ 1989 w 2010"/>
                <a:gd name="T11" fmla="*/ 131 h 339"/>
                <a:gd name="T12" fmla="*/ 1740 w 2010"/>
                <a:gd name="T13" fmla="*/ 211 h 339"/>
                <a:gd name="T14" fmla="*/ 1704 w 2010"/>
                <a:gd name="T15" fmla="*/ 26 h 339"/>
                <a:gd name="T16" fmla="*/ 1603 w 2010"/>
                <a:gd name="T17" fmla="*/ 19 h 339"/>
                <a:gd name="T18" fmla="*/ 1519 w 2010"/>
                <a:gd name="T19" fmla="*/ 180 h 339"/>
                <a:gd name="T20" fmla="*/ 1543 w 2010"/>
                <a:gd name="T21" fmla="*/ 275 h 339"/>
                <a:gd name="T22" fmla="*/ 1497 w 2010"/>
                <a:gd name="T23" fmla="*/ 143 h 339"/>
                <a:gd name="T24" fmla="*/ 1476 w 2010"/>
                <a:gd name="T25" fmla="*/ 133 h 339"/>
                <a:gd name="T26" fmla="*/ 1463 w 2010"/>
                <a:gd name="T27" fmla="*/ 119 h 339"/>
                <a:gd name="T28" fmla="*/ 1452 w 2010"/>
                <a:gd name="T29" fmla="*/ 140 h 339"/>
                <a:gd name="T30" fmla="*/ 1266 w 2010"/>
                <a:gd name="T31" fmla="*/ 149 h 339"/>
                <a:gd name="T32" fmla="*/ 1087 w 2010"/>
                <a:gd name="T33" fmla="*/ 134 h 339"/>
                <a:gd name="T34" fmla="*/ 357 w 2010"/>
                <a:gd name="T35" fmla="*/ 135 h 339"/>
                <a:gd name="T36" fmla="*/ 0 w 2010"/>
                <a:gd name="T37" fmla="*/ 123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010" h="339">
                  <a:moveTo>
                    <a:pt x="0" y="123"/>
                  </a:moveTo>
                  <a:cubicBezTo>
                    <a:pt x="58" y="150"/>
                    <a:pt x="116" y="122"/>
                    <a:pt x="248" y="179"/>
                  </a:cubicBezTo>
                  <a:cubicBezTo>
                    <a:pt x="404" y="247"/>
                    <a:pt x="840" y="319"/>
                    <a:pt x="1005" y="329"/>
                  </a:cubicBezTo>
                  <a:cubicBezTo>
                    <a:pt x="1199" y="339"/>
                    <a:pt x="1798" y="331"/>
                    <a:pt x="1965" y="179"/>
                  </a:cubicBezTo>
                  <a:cubicBezTo>
                    <a:pt x="2010" y="139"/>
                    <a:pt x="1974" y="148"/>
                    <a:pt x="2008" y="142"/>
                  </a:cubicBezTo>
                  <a:cubicBezTo>
                    <a:pt x="1989" y="136"/>
                    <a:pt x="2000" y="140"/>
                    <a:pt x="1989" y="131"/>
                  </a:cubicBezTo>
                  <a:cubicBezTo>
                    <a:pt x="1903" y="136"/>
                    <a:pt x="1844" y="238"/>
                    <a:pt x="1740" y="211"/>
                  </a:cubicBezTo>
                  <a:cubicBezTo>
                    <a:pt x="1634" y="184"/>
                    <a:pt x="1624" y="83"/>
                    <a:pt x="1704" y="26"/>
                  </a:cubicBezTo>
                  <a:cubicBezTo>
                    <a:pt x="1665" y="15"/>
                    <a:pt x="1641" y="0"/>
                    <a:pt x="1603" y="19"/>
                  </a:cubicBezTo>
                  <a:cubicBezTo>
                    <a:pt x="1544" y="48"/>
                    <a:pt x="1520" y="117"/>
                    <a:pt x="1519" y="180"/>
                  </a:cubicBezTo>
                  <a:cubicBezTo>
                    <a:pt x="1519" y="224"/>
                    <a:pt x="1538" y="243"/>
                    <a:pt x="1543" y="275"/>
                  </a:cubicBezTo>
                  <a:cubicBezTo>
                    <a:pt x="1500" y="251"/>
                    <a:pt x="1496" y="203"/>
                    <a:pt x="1497" y="143"/>
                  </a:cubicBezTo>
                  <a:cubicBezTo>
                    <a:pt x="1476" y="133"/>
                    <a:pt x="1476" y="133"/>
                    <a:pt x="1476" y="133"/>
                  </a:cubicBezTo>
                  <a:cubicBezTo>
                    <a:pt x="1460" y="121"/>
                    <a:pt x="1474" y="142"/>
                    <a:pt x="1463" y="119"/>
                  </a:cubicBezTo>
                  <a:cubicBezTo>
                    <a:pt x="1452" y="140"/>
                    <a:pt x="1452" y="140"/>
                    <a:pt x="1452" y="140"/>
                  </a:cubicBezTo>
                  <a:cubicBezTo>
                    <a:pt x="1386" y="143"/>
                    <a:pt x="1328" y="147"/>
                    <a:pt x="1266" y="149"/>
                  </a:cubicBezTo>
                  <a:cubicBezTo>
                    <a:pt x="1092" y="153"/>
                    <a:pt x="1184" y="144"/>
                    <a:pt x="1087" y="134"/>
                  </a:cubicBezTo>
                  <a:cubicBezTo>
                    <a:pt x="796" y="105"/>
                    <a:pt x="554" y="146"/>
                    <a:pt x="357" y="135"/>
                  </a:cubicBezTo>
                  <a:cubicBezTo>
                    <a:pt x="293" y="133"/>
                    <a:pt x="26" y="108"/>
                    <a:pt x="0" y="123"/>
                  </a:cubicBezTo>
                  <a:close/>
                </a:path>
              </a:pathLst>
            </a:custGeom>
            <a:solidFill>
              <a:srgbClr val="C9E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cs typeface="+mn-cs"/>
              </a:endParaRPr>
            </a:p>
          </p:txBody>
        </p:sp>
        <p:sp>
          <p:nvSpPr>
            <p:cNvPr id="156" name="Oval 59">
              <a:extLst>
                <a:ext uri="{FF2B5EF4-FFF2-40B4-BE49-F238E27FC236}">
                  <a16:creationId xmlns:a16="http://schemas.microsoft.com/office/drawing/2014/main" id="{2ACB2BC1-0C48-4C3B-8CA8-76F12E842705}"/>
                </a:ext>
              </a:extLst>
            </p:cNvPr>
            <p:cNvSpPr>
              <a:spLocks noChangeArrowheads="1"/>
            </p:cNvSpPr>
            <p:nvPr/>
          </p:nvSpPr>
          <p:spPr bwMode="auto">
            <a:xfrm>
              <a:off x="6403" y="2798"/>
              <a:ext cx="79" cy="80"/>
            </a:xfrm>
            <a:prstGeom prst="ellipse">
              <a:avLst/>
            </a:prstGeom>
            <a:solidFill>
              <a:srgbClr val="B3D8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cs typeface="+mn-cs"/>
              </a:endParaRPr>
            </a:p>
          </p:txBody>
        </p:sp>
      </p:grpSp>
    </p:spTree>
    <p:extLst>
      <p:ext uri="{BB962C8B-B14F-4D97-AF65-F5344CB8AC3E}">
        <p14:creationId xmlns:p14="http://schemas.microsoft.com/office/powerpoint/2010/main" val="979907082"/>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7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4">
            <a:extLst>
              <a:ext uri="{FF2B5EF4-FFF2-40B4-BE49-F238E27FC236}">
                <a16:creationId xmlns:a16="http://schemas.microsoft.com/office/drawing/2014/main" id="{DA3BFEEF-CA3A-48EA-8E49-6485F61598B1}"/>
              </a:ext>
            </a:extLst>
          </p:cNvPr>
          <p:cNvGrpSpPr>
            <a:grpSpLocks noChangeAspect="1"/>
          </p:cNvGrpSpPr>
          <p:nvPr/>
        </p:nvGrpSpPr>
        <p:grpSpPr bwMode="auto">
          <a:xfrm>
            <a:off x="1214439" y="1477963"/>
            <a:ext cx="4429982" cy="1544637"/>
            <a:chOff x="701" y="1067"/>
            <a:chExt cx="6278" cy="2189"/>
          </a:xfrm>
        </p:grpSpPr>
        <p:sp>
          <p:nvSpPr>
            <p:cNvPr id="5" name="Freeform 5">
              <a:extLst>
                <a:ext uri="{FF2B5EF4-FFF2-40B4-BE49-F238E27FC236}">
                  <a16:creationId xmlns:a16="http://schemas.microsoft.com/office/drawing/2014/main" id="{C1A49F1E-2EB5-4D7F-8D74-955C6A75A6D9}"/>
                </a:ext>
              </a:extLst>
            </p:cNvPr>
            <p:cNvSpPr>
              <a:spLocks/>
            </p:cNvSpPr>
            <p:nvPr/>
          </p:nvSpPr>
          <p:spPr bwMode="auto">
            <a:xfrm>
              <a:off x="701" y="1067"/>
              <a:ext cx="6278" cy="2186"/>
            </a:xfrm>
            <a:custGeom>
              <a:avLst/>
              <a:gdLst>
                <a:gd name="T0" fmla="*/ 0 w 2353"/>
                <a:gd name="T1" fmla="*/ 401 h 817"/>
                <a:gd name="T2" fmla="*/ 0 w 2353"/>
                <a:gd name="T3" fmla="*/ 406 h 817"/>
                <a:gd name="T4" fmla="*/ 40 w 2353"/>
                <a:gd name="T5" fmla="*/ 450 h 817"/>
                <a:gd name="T6" fmla="*/ 208 w 2353"/>
                <a:gd name="T7" fmla="*/ 545 h 817"/>
                <a:gd name="T8" fmla="*/ 338 w 2353"/>
                <a:gd name="T9" fmla="*/ 588 h 817"/>
                <a:gd name="T10" fmla="*/ 472 w 2353"/>
                <a:gd name="T11" fmla="*/ 628 h 817"/>
                <a:gd name="T12" fmla="*/ 794 w 2353"/>
                <a:gd name="T13" fmla="*/ 651 h 817"/>
                <a:gd name="T14" fmla="*/ 927 w 2353"/>
                <a:gd name="T15" fmla="*/ 693 h 817"/>
                <a:gd name="T16" fmla="*/ 947 w 2353"/>
                <a:gd name="T17" fmla="*/ 762 h 817"/>
                <a:gd name="T18" fmla="*/ 959 w 2353"/>
                <a:gd name="T19" fmla="*/ 794 h 817"/>
                <a:gd name="T20" fmla="*/ 980 w 2353"/>
                <a:gd name="T21" fmla="*/ 817 h 817"/>
                <a:gd name="T22" fmla="*/ 996 w 2353"/>
                <a:gd name="T23" fmla="*/ 817 h 817"/>
                <a:gd name="T24" fmla="*/ 1036 w 2353"/>
                <a:gd name="T25" fmla="*/ 774 h 817"/>
                <a:gd name="T26" fmla="*/ 1059 w 2353"/>
                <a:gd name="T27" fmla="*/ 710 h 817"/>
                <a:gd name="T28" fmla="*/ 971 w 2353"/>
                <a:gd name="T29" fmla="*/ 656 h 817"/>
                <a:gd name="T30" fmla="*/ 1100 w 2353"/>
                <a:gd name="T31" fmla="*/ 652 h 817"/>
                <a:gd name="T32" fmla="*/ 1980 w 2353"/>
                <a:gd name="T33" fmla="*/ 516 h 817"/>
                <a:gd name="T34" fmla="*/ 2353 w 2353"/>
                <a:gd name="T35" fmla="*/ 625 h 817"/>
                <a:gd name="T36" fmla="*/ 2353 w 2353"/>
                <a:gd name="T37" fmla="*/ 615 h 817"/>
                <a:gd name="T38" fmla="*/ 2342 w 2353"/>
                <a:gd name="T39" fmla="*/ 596 h 817"/>
                <a:gd name="T40" fmla="*/ 2168 w 2353"/>
                <a:gd name="T41" fmla="*/ 447 h 817"/>
                <a:gd name="T42" fmla="*/ 2092 w 2353"/>
                <a:gd name="T43" fmla="*/ 409 h 817"/>
                <a:gd name="T44" fmla="*/ 2160 w 2353"/>
                <a:gd name="T45" fmla="*/ 360 h 817"/>
                <a:gd name="T46" fmla="*/ 2258 w 2353"/>
                <a:gd name="T47" fmla="*/ 281 h 817"/>
                <a:gd name="T48" fmla="*/ 2343 w 2353"/>
                <a:gd name="T49" fmla="*/ 195 h 817"/>
                <a:gd name="T50" fmla="*/ 2049 w 2353"/>
                <a:gd name="T51" fmla="*/ 266 h 817"/>
                <a:gd name="T52" fmla="*/ 1917 w 2353"/>
                <a:gd name="T53" fmla="*/ 322 h 817"/>
                <a:gd name="T54" fmla="*/ 1749 w 2353"/>
                <a:gd name="T55" fmla="*/ 325 h 817"/>
                <a:gd name="T56" fmla="*/ 1423 w 2353"/>
                <a:gd name="T57" fmla="*/ 278 h 817"/>
                <a:gd name="T58" fmla="*/ 1042 w 2353"/>
                <a:gd name="T59" fmla="*/ 126 h 817"/>
                <a:gd name="T60" fmla="*/ 970 w 2353"/>
                <a:gd name="T61" fmla="*/ 0 h 817"/>
                <a:gd name="T62" fmla="*/ 956 w 2353"/>
                <a:gd name="T63" fmla="*/ 0 h 817"/>
                <a:gd name="T64" fmla="*/ 914 w 2353"/>
                <a:gd name="T65" fmla="*/ 48 h 817"/>
                <a:gd name="T66" fmla="*/ 882 w 2353"/>
                <a:gd name="T67" fmla="*/ 107 h 817"/>
                <a:gd name="T68" fmla="*/ 854 w 2353"/>
                <a:gd name="T69" fmla="*/ 170 h 817"/>
                <a:gd name="T70" fmla="*/ 841 w 2353"/>
                <a:gd name="T71" fmla="*/ 201 h 817"/>
                <a:gd name="T72" fmla="*/ 824 w 2353"/>
                <a:gd name="T73" fmla="*/ 230 h 817"/>
                <a:gd name="T74" fmla="*/ 589 w 2353"/>
                <a:gd name="T75" fmla="*/ 234 h 817"/>
                <a:gd name="T76" fmla="*/ 97 w 2353"/>
                <a:gd name="T77" fmla="*/ 339 h 817"/>
                <a:gd name="T78" fmla="*/ 11 w 2353"/>
                <a:gd name="T79" fmla="*/ 370 h 817"/>
                <a:gd name="T80" fmla="*/ 27 w 2353"/>
                <a:gd name="T81" fmla="*/ 399 h 817"/>
                <a:gd name="T82" fmla="*/ 0 w 2353"/>
                <a:gd name="T83" fmla="*/ 401 h 8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53" h="817">
                  <a:moveTo>
                    <a:pt x="0" y="401"/>
                  </a:moveTo>
                  <a:cubicBezTo>
                    <a:pt x="0" y="406"/>
                    <a:pt x="0" y="406"/>
                    <a:pt x="0" y="406"/>
                  </a:cubicBezTo>
                  <a:cubicBezTo>
                    <a:pt x="19" y="431"/>
                    <a:pt x="6" y="423"/>
                    <a:pt x="40" y="450"/>
                  </a:cubicBezTo>
                  <a:cubicBezTo>
                    <a:pt x="81" y="484"/>
                    <a:pt x="158" y="522"/>
                    <a:pt x="208" y="545"/>
                  </a:cubicBezTo>
                  <a:cubicBezTo>
                    <a:pt x="304" y="588"/>
                    <a:pt x="278" y="563"/>
                    <a:pt x="338" y="588"/>
                  </a:cubicBezTo>
                  <a:cubicBezTo>
                    <a:pt x="376" y="604"/>
                    <a:pt x="429" y="618"/>
                    <a:pt x="472" y="628"/>
                  </a:cubicBezTo>
                  <a:cubicBezTo>
                    <a:pt x="563" y="648"/>
                    <a:pt x="696" y="649"/>
                    <a:pt x="794" y="651"/>
                  </a:cubicBezTo>
                  <a:cubicBezTo>
                    <a:pt x="859" y="653"/>
                    <a:pt x="906" y="639"/>
                    <a:pt x="927" y="693"/>
                  </a:cubicBezTo>
                  <a:cubicBezTo>
                    <a:pt x="936" y="714"/>
                    <a:pt x="940" y="740"/>
                    <a:pt x="947" y="762"/>
                  </a:cubicBezTo>
                  <a:cubicBezTo>
                    <a:pt x="950" y="773"/>
                    <a:pt x="954" y="784"/>
                    <a:pt x="959" y="794"/>
                  </a:cubicBezTo>
                  <a:cubicBezTo>
                    <a:pt x="967" y="809"/>
                    <a:pt x="969" y="808"/>
                    <a:pt x="980" y="817"/>
                  </a:cubicBezTo>
                  <a:cubicBezTo>
                    <a:pt x="996" y="817"/>
                    <a:pt x="996" y="817"/>
                    <a:pt x="996" y="817"/>
                  </a:cubicBezTo>
                  <a:cubicBezTo>
                    <a:pt x="1014" y="802"/>
                    <a:pt x="1022" y="802"/>
                    <a:pt x="1036" y="774"/>
                  </a:cubicBezTo>
                  <a:cubicBezTo>
                    <a:pt x="1046" y="754"/>
                    <a:pt x="1055" y="733"/>
                    <a:pt x="1059" y="710"/>
                  </a:cubicBezTo>
                  <a:cubicBezTo>
                    <a:pt x="1043" y="700"/>
                    <a:pt x="979" y="664"/>
                    <a:pt x="971" y="656"/>
                  </a:cubicBezTo>
                  <a:cubicBezTo>
                    <a:pt x="1015" y="654"/>
                    <a:pt x="1055" y="656"/>
                    <a:pt x="1100" y="652"/>
                  </a:cubicBezTo>
                  <a:cubicBezTo>
                    <a:pt x="1349" y="634"/>
                    <a:pt x="1901" y="483"/>
                    <a:pt x="1980" y="516"/>
                  </a:cubicBezTo>
                  <a:cubicBezTo>
                    <a:pt x="2034" y="538"/>
                    <a:pt x="2296" y="646"/>
                    <a:pt x="2353" y="625"/>
                  </a:cubicBezTo>
                  <a:cubicBezTo>
                    <a:pt x="2353" y="615"/>
                    <a:pt x="2353" y="615"/>
                    <a:pt x="2353" y="615"/>
                  </a:cubicBezTo>
                  <a:cubicBezTo>
                    <a:pt x="2348" y="609"/>
                    <a:pt x="2346" y="602"/>
                    <a:pt x="2342" y="596"/>
                  </a:cubicBezTo>
                  <a:cubicBezTo>
                    <a:pt x="2328" y="577"/>
                    <a:pt x="2196" y="463"/>
                    <a:pt x="2168" y="447"/>
                  </a:cubicBezTo>
                  <a:cubicBezTo>
                    <a:pt x="2143" y="433"/>
                    <a:pt x="2116" y="421"/>
                    <a:pt x="2092" y="409"/>
                  </a:cubicBezTo>
                  <a:cubicBezTo>
                    <a:pt x="2101" y="398"/>
                    <a:pt x="2144" y="371"/>
                    <a:pt x="2160" y="360"/>
                  </a:cubicBezTo>
                  <a:cubicBezTo>
                    <a:pt x="2203" y="328"/>
                    <a:pt x="2219" y="317"/>
                    <a:pt x="2258" y="281"/>
                  </a:cubicBezTo>
                  <a:cubicBezTo>
                    <a:pt x="2280" y="261"/>
                    <a:pt x="2318" y="214"/>
                    <a:pt x="2343" y="195"/>
                  </a:cubicBezTo>
                  <a:cubicBezTo>
                    <a:pt x="2273" y="173"/>
                    <a:pt x="2105" y="240"/>
                    <a:pt x="2049" y="266"/>
                  </a:cubicBezTo>
                  <a:cubicBezTo>
                    <a:pt x="2006" y="286"/>
                    <a:pt x="1966" y="309"/>
                    <a:pt x="1917" y="322"/>
                  </a:cubicBezTo>
                  <a:cubicBezTo>
                    <a:pt x="1875" y="332"/>
                    <a:pt x="1791" y="337"/>
                    <a:pt x="1749" y="325"/>
                  </a:cubicBezTo>
                  <a:cubicBezTo>
                    <a:pt x="1655" y="297"/>
                    <a:pt x="1526" y="289"/>
                    <a:pt x="1423" y="278"/>
                  </a:cubicBezTo>
                  <a:cubicBezTo>
                    <a:pt x="1209" y="254"/>
                    <a:pt x="1117" y="257"/>
                    <a:pt x="1042" y="126"/>
                  </a:cubicBezTo>
                  <a:cubicBezTo>
                    <a:pt x="1019" y="84"/>
                    <a:pt x="1000" y="24"/>
                    <a:pt x="970" y="0"/>
                  </a:cubicBezTo>
                  <a:cubicBezTo>
                    <a:pt x="956" y="0"/>
                    <a:pt x="956" y="0"/>
                    <a:pt x="956" y="0"/>
                  </a:cubicBezTo>
                  <a:cubicBezTo>
                    <a:pt x="933" y="20"/>
                    <a:pt x="936" y="15"/>
                    <a:pt x="914" y="48"/>
                  </a:cubicBezTo>
                  <a:cubicBezTo>
                    <a:pt x="901" y="68"/>
                    <a:pt x="893" y="85"/>
                    <a:pt x="882" y="107"/>
                  </a:cubicBezTo>
                  <a:cubicBezTo>
                    <a:pt x="871" y="128"/>
                    <a:pt x="862" y="148"/>
                    <a:pt x="854" y="170"/>
                  </a:cubicBezTo>
                  <a:cubicBezTo>
                    <a:pt x="849" y="180"/>
                    <a:pt x="845" y="190"/>
                    <a:pt x="841" y="201"/>
                  </a:cubicBezTo>
                  <a:cubicBezTo>
                    <a:pt x="834" y="217"/>
                    <a:pt x="834" y="228"/>
                    <a:pt x="824" y="230"/>
                  </a:cubicBezTo>
                  <a:cubicBezTo>
                    <a:pt x="747" y="230"/>
                    <a:pt x="665" y="227"/>
                    <a:pt x="589" y="234"/>
                  </a:cubicBezTo>
                  <a:cubicBezTo>
                    <a:pt x="388" y="253"/>
                    <a:pt x="283" y="278"/>
                    <a:pt x="97" y="339"/>
                  </a:cubicBezTo>
                  <a:cubicBezTo>
                    <a:pt x="73" y="347"/>
                    <a:pt x="30" y="359"/>
                    <a:pt x="11" y="370"/>
                  </a:cubicBezTo>
                  <a:cubicBezTo>
                    <a:pt x="18" y="393"/>
                    <a:pt x="25" y="382"/>
                    <a:pt x="27" y="399"/>
                  </a:cubicBezTo>
                  <a:lnTo>
                    <a:pt x="0" y="401"/>
                  </a:lnTo>
                  <a:close/>
                </a:path>
              </a:pathLst>
            </a:custGeom>
            <a:solidFill>
              <a:srgbClr val="C9E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cs typeface="+mn-cs"/>
              </a:endParaRPr>
            </a:p>
          </p:txBody>
        </p:sp>
        <p:sp>
          <p:nvSpPr>
            <p:cNvPr id="6" name="Freeform 6">
              <a:extLst>
                <a:ext uri="{FF2B5EF4-FFF2-40B4-BE49-F238E27FC236}">
                  <a16:creationId xmlns:a16="http://schemas.microsoft.com/office/drawing/2014/main" id="{D811D667-A416-48E5-9DAD-5D20D92A7986}"/>
                </a:ext>
              </a:extLst>
            </p:cNvPr>
            <p:cNvSpPr>
              <a:spLocks/>
            </p:cNvSpPr>
            <p:nvPr/>
          </p:nvSpPr>
          <p:spPr bwMode="auto">
            <a:xfrm>
              <a:off x="701" y="2151"/>
              <a:ext cx="6278" cy="1105"/>
            </a:xfrm>
            <a:custGeom>
              <a:avLst/>
              <a:gdLst>
                <a:gd name="T0" fmla="*/ 0 w 2353"/>
                <a:gd name="T1" fmla="*/ 0 h 413"/>
                <a:gd name="T2" fmla="*/ 0 w 2353"/>
                <a:gd name="T3" fmla="*/ 1 h 413"/>
                <a:gd name="T4" fmla="*/ 40 w 2353"/>
                <a:gd name="T5" fmla="*/ 46 h 413"/>
                <a:gd name="T6" fmla="*/ 208 w 2353"/>
                <a:gd name="T7" fmla="*/ 140 h 413"/>
                <a:gd name="T8" fmla="*/ 338 w 2353"/>
                <a:gd name="T9" fmla="*/ 183 h 413"/>
                <a:gd name="T10" fmla="*/ 472 w 2353"/>
                <a:gd name="T11" fmla="*/ 223 h 413"/>
                <a:gd name="T12" fmla="*/ 794 w 2353"/>
                <a:gd name="T13" fmla="*/ 247 h 413"/>
                <a:gd name="T14" fmla="*/ 927 w 2353"/>
                <a:gd name="T15" fmla="*/ 288 h 413"/>
                <a:gd name="T16" fmla="*/ 947 w 2353"/>
                <a:gd name="T17" fmla="*/ 357 h 413"/>
                <a:gd name="T18" fmla="*/ 959 w 2353"/>
                <a:gd name="T19" fmla="*/ 389 h 413"/>
                <a:gd name="T20" fmla="*/ 980 w 2353"/>
                <a:gd name="T21" fmla="*/ 413 h 413"/>
                <a:gd name="T22" fmla="*/ 996 w 2353"/>
                <a:gd name="T23" fmla="*/ 413 h 413"/>
                <a:gd name="T24" fmla="*/ 1036 w 2353"/>
                <a:gd name="T25" fmla="*/ 369 h 413"/>
                <a:gd name="T26" fmla="*/ 1059 w 2353"/>
                <a:gd name="T27" fmla="*/ 306 h 413"/>
                <a:gd name="T28" fmla="*/ 971 w 2353"/>
                <a:gd name="T29" fmla="*/ 251 h 413"/>
                <a:gd name="T30" fmla="*/ 1100 w 2353"/>
                <a:gd name="T31" fmla="*/ 248 h 413"/>
                <a:gd name="T32" fmla="*/ 1980 w 2353"/>
                <a:gd name="T33" fmla="*/ 111 h 413"/>
                <a:gd name="T34" fmla="*/ 2353 w 2353"/>
                <a:gd name="T35" fmla="*/ 220 h 413"/>
                <a:gd name="T36" fmla="*/ 2353 w 2353"/>
                <a:gd name="T37" fmla="*/ 210 h 413"/>
                <a:gd name="T38" fmla="*/ 2342 w 2353"/>
                <a:gd name="T39" fmla="*/ 192 h 413"/>
                <a:gd name="T40" fmla="*/ 2168 w 2353"/>
                <a:gd name="T41" fmla="*/ 43 h 413"/>
                <a:gd name="T42" fmla="*/ 2092 w 2353"/>
                <a:gd name="T43" fmla="*/ 4 h 413"/>
                <a:gd name="T44" fmla="*/ 2096 w 2353"/>
                <a:gd name="T45" fmla="*/ 1 h 413"/>
                <a:gd name="T46" fmla="*/ 0 w 2353"/>
                <a:gd name="T47" fmla="*/ 1 h 413"/>
                <a:gd name="T48" fmla="*/ 0 w 2353"/>
                <a:gd name="T49" fmla="*/ 0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353" h="413">
                  <a:moveTo>
                    <a:pt x="0" y="0"/>
                  </a:moveTo>
                  <a:cubicBezTo>
                    <a:pt x="0" y="1"/>
                    <a:pt x="0" y="1"/>
                    <a:pt x="0" y="1"/>
                  </a:cubicBezTo>
                  <a:cubicBezTo>
                    <a:pt x="19" y="26"/>
                    <a:pt x="6" y="18"/>
                    <a:pt x="40" y="46"/>
                  </a:cubicBezTo>
                  <a:cubicBezTo>
                    <a:pt x="81" y="79"/>
                    <a:pt x="158" y="118"/>
                    <a:pt x="208" y="140"/>
                  </a:cubicBezTo>
                  <a:cubicBezTo>
                    <a:pt x="304" y="184"/>
                    <a:pt x="278" y="159"/>
                    <a:pt x="338" y="183"/>
                  </a:cubicBezTo>
                  <a:cubicBezTo>
                    <a:pt x="376" y="200"/>
                    <a:pt x="429" y="213"/>
                    <a:pt x="472" y="223"/>
                  </a:cubicBezTo>
                  <a:cubicBezTo>
                    <a:pt x="563" y="244"/>
                    <a:pt x="696" y="244"/>
                    <a:pt x="794" y="247"/>
                  </a:cubicBezTo>
                  <a:cubicBezTo>
                    <a:pt x="859" y="248"/>
                    <a:pt x="906" y="235"/>
                    <a:pt x="927" y="288"/>
                  </a:cubicBezTo>
                  <a:cubicBezTo>
                    <a:pt x="936" y="309"/>
                    <a:pt x="940" y="335"/>
                    <a:pt x="947" y="357"/>
                  </a:cubicBezTo>
                  <a:cubicBezTo>
                    <a:pt x="950" y="369"/>
                    <a:pt x="954" y="379"/>
                    <a:pt x="959" y="389"/>
                  </a:cubicBezTo>
                  <a:cubicBezTo>
                    <a:pt x="967" y="404"/>
                    <a:pt x="969" y="403"/>
                    <a:pt x="980" y="413"/>
                  </a:cubicBezTo>
                  <a:cubicBezTo>
                    <a:pt x="996" y="413"/>
                    <a:pt x="996" y="413"/>
                    <a:pt x="996" y="413"/>
                  </a:cubicBezTo>
                  <a:cubicBezTo>
                    <a:pt x="1014" y="397"/>
                    <a:pt x="1022" y="398"/>
                    <a:pt x="1036" y="369"/>
                  </a:cubicBezTo>
                  <a:cubicBezTo>
                    <a:pt x="1046" y="350"/>
                    <a:pt x="1055" y="328"/>
                    <a:pt x="1059" y="306"/>
                  </a:cubicBezTo>
                  <a:cubicBezTo>
                    <a:pt x="1043" y="295"/>
                    <a:pt x="979" y="259"/>
                    <a:pt x="971" y="251"/>
                  </a:cubicBezTo>
                  <a:cubicBezTo>
                    <a:pt x="1015" y="250"/>
                    <a:pt x="1055" y="251"/>
                    <a:pt x="1100" y="248"/>
                  </a:cubicBezTo>
                  <a:cubicBezTo>
                    <a:pt x="1349" y="229"/>
                    <a:pt x="1901" y="79"/>
                    <a:pt x="1980" y="111"/>
                  </a:cubicBezTo>
                  <a:cubicBezTo>
                    <a:pt x="2034" y="133"/>
                    <a:pt x="2296" y="241"/>
                    <a:pt x="2353" y="220"/>
                  </a:cubicBezTo>
                  <a:cubicBezTo>
                    <a:pt x="2353" y="210"/>
                    <a:pt x="2353" y="210"/>
                    <a:pt x="2353" y="210"/>
                  </a:cubicBezTo>
                  <a:cubicBezTo>
                    <a:pt x="2348" y="204"/>
                    <a:pt x="2346" y="198"/>
                    <a:pt x="2342" y="192"/>
                  </a:cubicBezTo>
                  <a:cubicBezTo>
                    <a:pt x="2328" y="173"/>
                    <a:pt x="2196" y="58"/>
                    <a:pt x="2168" y="43"/>
                  </a:cubicBezTo>
                  <a:cubicBezTo>
                    <a:pt x="2143" y="29"/>
                    <a:pt x="2116" y="16"/>
                    <a:pt x="2092" y="4"/>
                  </a:cubicBezTo>
                  <a:cubicBezTo>
                    <a:pt x="2093" y="3"/>
                    <a:pt x="2094" y="2"/>
                    <a:pt x="2096" y="1"/>
                  </a:cubicBezTo>
                  <a:cubicBezTo>
                    <a:pt x="0" y="1"/>
                    <a:pt x="0" y="1"/>
                    <a:pt x="0" y="1"/>
                  </a:cubicBezTo>
                  <a:lnTo>
                    <a:pt x="0" y="0"/>
                  </a:lnTo>
                  <a:close/>
                </a:path>
              </a:pathLst>
            </a:custGeom>
            <a:solidFill>
              <a:srgbClr val="C0D2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cs typeface="+mn-cs"/>
              </a:endParaRPr>
            </a:p>
          </p:txBody>
        </p:sp>
        <p:sp>
          <p:nvSpPr>
            <p:cNvPr id="7" name="Freeform 7">
              <a:extLst>
                <a:ext uri="{FF2B5EF4-FFF2-40B4-BE49-F238E27FC236}">
                  <a16:creationId xmlns:a16="http://schemas.microsoft.com/office/drawing/2014/main" id="{DA70F923-6362-4A0D-A870-C9A8D6CD5666}"/>
                </a:ext>
              </a:extLst>
            </p:cNvPr>
            <p:cNvSpPr>
              <a:spLocks/>
            </p:cNvSpPr>
            <p:nvPr/>
          </p:nvSpPr>
          <p:spPr bwMode="auto">
            <a:xfrm>
              <a:off x="1501" y="1822"/>
              <a:ext cx="302" cy="720"/>
            </a:xfrm>
            <a:custGeom>
              <a:avLst/>
              <a:gdLst>
                <a:gd name="T0" fmla="*/ 0 w 113"/>
                <a:gd name="T1" fmla="*/ 17 h 269"/>
                <a:gd name="T2" fmla="*/ 73 w 113"/>
                <a:gd name="T3" fmla="*/ 41 h 269"/>
                <a:gd name="T4" fmla="*/ 82 w 113"/>
                <a:gd name="T5" fmla="*/ 132 h 269"/>
                <a:gd name="T6" fmla="*/ 76 w 113"/>
                <a:gd name="T7" fmla="*/ 220 h 269"/>
                <a:gd name="T8" fmla="*/ 34 w 113"/>
                <a:gd name="T9" fmla="*/ 252 h 269"/>
                <a:gd name="T10" fmla="*/ 19 w 113"/>
                <a:gd name="T11" fmla="*/ 264 h 269"/>
                <a:gd name="T12" fmla="*/ 26 w 113"/>
                <a:gd name="T13" fmla="*/ 268 h 269"/>
                <a:gd name="T14" fmla="*/ 35 w 113"/>
                <a:gd name="T15" fmla="*/ 268 h 269"/>
                <a:gd name="T16" fmla="*/ 83 w 113"/>
                <a:gd name="T17" fmla="*/ 262 h 269"/>
                <a:gd name="T18" fmla="*/ 88 w 113"/>
                <a:gd name="T19" fmla="*/ 220 h 269"/>
                <a:gd name="T20" fmla="*/ 101 w 113"/>
                <a:gd name="T21" fmla="*/ 183 h 269"/>
                <a:gd name="T22" fmla="*/ 94 w 113"/>
                <a:gd name="T23" fmla="*/ 99 h 269"/>
                <a:gd name="T24" fmla="*/ 72 w 113"/>
                <a:gd name="T25" fmla="*/ 21 h 269"/>
                <a:gd name="T26" fmla="*/ 0 w 113"/>
                <a:gd name="T27" fmla="*/ 17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3" h="269">
                  <a:moveTo>
                    <a:pt x="0" y="17"/>
                  </a:moveTo>
                  <a:cubicBezTo>
                    <a:pt x="13" y="40"/>
                    <a:pt x="60" y="7"/>
                    <a:pt x="73" y="41"/>
                  </a:cubicBezTo>
                  <a:cubicBezTo>
                    <a:pt x="82" y="64"/>
                    <a:pt x="78" y="106"/>
                    <a:pt x="82" y="132"/>
                  </a:cubicBezTo>
                  <a:cubicBezTo>
                    <a:pt x="86" y="172"/>
                    <a:pt x="82" y="182"/>
                    <a:pt x="76" y="220"/>
                  </a:cubicBezTo>
                  <a:cubicBezTo>
                    <a:pt x="71" y="249"/>
                    <a:pt x="68" y="248"/>
                    <a:pt x="34" y="252"/>
                  </a:cubicBezTo>
                  <a:cubicBezTo>
                    <a:pt x="19" y="253"/>
                    <a:pt x="20" y="251"/>
                    <a:pt x="19" y="264"/>
                  </a:cubicBezTo>
                  <a:cubicBezTo>
                    <a:pt x="24" y="267"/>
                    <a:pt x="20" y="266"/>
                    <a:pt x="26" y="268"/>
                  </a:cubicBezTo>
                  <a:cubicBezTo>
                    <a:pt x="31" y="269"/>
                    <a:pt x="30" y="268"/>
                    <a:pt x="35" y="268"/>
                  </a:cubicBezTo>
                  <a:cubicBezTo>
                    <a:pt x="83" y="262"/>
                    <a:pt x="83" y="262"/>
                    <a:pt x="83" y="262"/>
                  </a:cubicBezTo>
                  <a:cubicBezTo>
                    <a:pt x="89" y="242"/>
                    <a:pt x="86" y="241"/>
                    <a:pt x="88" y="220"/>
                  </a:cubicBezTo>
                  <a:cubicBezTo>
                    <a:pt x="88" y="204"/>
                    <a:pt x="96" y="196"/>
                    <a:pt x="101" y="183"/>
                  </a:cubicBezTo>
                  <a:cubicBezTo>
                    <a:pt x="113" y="152"/>
                    <a:pt x="100" y="128"/>
                    <a:pt x="94" y="99"/>
                  </a:cubicBezTo>
                  <a:cubicBezTo>
                    <a:pt x="88" y="67"/>
                    <a:pt x="88" y="45"/>
                    <a:pt x="72" y="21"/>
                  </a:cubicBezTo>
                  <a:cubicBezTo>
                    <a:pt x="60" y="0"/>
                    <a:pt x="16" y="2"/>
                    <a:pt x="0" y="17"/>
                  </a:cubicBezTo>
                  <a:close/>
                </a:path>
              </a:pathLst>
            </a:custGeom>
            <a:solidFill>
              <a:srgbClr val="A5C4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cs typeface="+mn-cs"/>
              </a:endParaRPr>
            </a:p>
          </p:txBody>
        </p:sp>
        <p:sp>
          <p:nvSpPr>
            <p:cNvPr id="8" name="Freeform 8">
              <a:extLst>
                <a:ext uri="{FF2B5EF4-FFF2-40B4-BE49-F238E27FC236}">
                  <a16:creationId xmlns:a16="http://schemas.microsoft.com/office/drawing/2014/main" id="{20382ED1-75F4-4958-AB06-C8E30E480C44}"/>
                </a:ext>
              </a:extLst>
            </p:cNvPr>
            <p:cNvSpPr>
              <a:spLocks/>
            </p:cNvSpPr>
            <p:nvPr/>
          </p:nvSpPr>
          <p:spPr bwMode="auto">
            <a:xfrm>
              <a:off x="1552" y="2143"/>
              <a:ext cx="243" cy="396"/>
            </a:xfrm>
            <a:custGeom>
              <a:avLst/>
              <a:gdLst>
                <a:gd name="T0" fmla="*/ 61 w 91"/>
                <a:gd name="T1" fmla="*/ 0 h 148"/>
                <a:gd name="T2" fmla="*/ 63 w 91"/>
                <a:gd name="T3" fmla="*/ 12 h 148"/>
                <a:gd name="T4" fmla="*/ 57 w 91"/>
                <a:gd name="T5" fmla="*/ 99 h 148"/>
                <a:gd name="T6" fmla="*/ 15 w 91"/>
                <a:gd name="T7" fmla="*/ 131 h 148"/>
                <a:gd name="T8" fmla="*/ 0 w 91"/>
                <a:gd name="T9" fmla="*/ 144 h 148"/>
                <a:gd name="T10" fmla="*/ 7 w 91"/>
                <a:gd name="T11" fmla="*/ 147 h 148"/>
                <a:gd name="T12" fmla="*/ 16 w 91"/>
                <a:gd name="T13" fmla="*/ 148 h 148"/>
                <a:gd name="T14" fmla="*/ 64 w 91"/>
                <a:gd name="T15" fmla="*/ 141 h 148"/>
                <a:gd name="T16" fmla="*/ 69 w 91"/>
                <a:gd name="T17" fmla="*/ 99 h 148"/>
                <a:gd name="T18" fmla="*/ 82 w 91"/>
                <a:gd name="T19" fmla="*/ 62 h 148"/>
                <a:gd name="T20" fmla="*/ 81 w 91"/>
                <a:gd name="T21" fmla="*/ 0 h 148"/>
                <a:gd name="T22" fmla="*/ 61 w 91"/>
                <a:gd name="T23" fmla="*/ 0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1" h="148">
                  <a:moveTo>
                    <a:pt x="61" y="0"/>
                  </a:moveTo>
                  <a:cubicBezTo>
                    <a:pt x="62" y="4"/>
                    <a:pt x="62" y="8"/>
                    <a:pt x="63" y="12"/>
                  </a:cubicBezTo>
                  <a:cubicBezTo>
                    <a:pt x="67" y="52"/>
                    <a:pt x="63" y="62"/>
                    <a:pt x="57" y="99"/>
                  </a:cubicBezTo>
                  <a:cubicBezTo>
                    <a:pt x="52" y="129"/>
                    <a:pt x="49" y="128"/>
                    <a:pt x="15" y="131"/>
                  </a:cubicBezTo>
                  <a:cubicBezTo>
                    <a:pt x="0" y="133"/>
                    <a:pt x="1" y="131"/>
                    <a:pt x="0" y="144"/>
                  </a:cubicBezTo>
                  <a:cubicBezTo>
                    <a:pt x="5" y="147"/>
                    <a:pt x="1" y="146"/>
                    <a:pt x="7" y="147"/>
                  </a:cubicBezTo>
                  <a:cubicBezTo>
                    <a:pt x="12" y="148"/>
                    <a:pt x="11" y="148"/>
                    <a:pt x="16" y="148"/>
                  </a:cubicBezTo>
                  <a:cubicBezTo>
                    <a:pt x="64" y="141"/>
                    <a:pt x="64" y="141"/>
                    <a:pt x="64" y="141"/>
                  </a:cubicBezTo>
                  <a:cubicBezTo>
                    <a:pt x="70" y="122"/>
                    <a:pt x="67" y="121"/>
                    <a:pt x="69" y="99"/>
                  </a:cubicBezTo>
                  <a:cubicBezTo>
                    <a:pt x="69" y="84"/>
                    <a:pt x="77" y="75"/>
                    <a:pt x="82" y="62"/>
                  </a:cubicBezTo>
                  <a:cubicBezTo>
                    <a:pt x="91" y="40"/>
                    <a:pt x="86" y="20"/>
                    <a:pt x="81" y="0"/>
                  </a:cubicBezTo>
                  <a:cubicBezTo>
                    <a:pt x="61" y="0"/>
                    <a:pt x="61" y="0"/>
                    <a:pt x="61" y="0"/>
                  </a:cubicBezTo>
                  <a:close/>
                </a:path>
              </a:pathLst>
            </a:custGeom>
            <a:solidFill>
              <a:srgbClr val="8EB3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cs typeface="+mn-cs"/>
              </a:endParaRPr>
            </a:p>
          </p:txBody>
        </p:sp>
        <p:sp>
          <p:nvSpPr>
            <p:cNvPr id="9" name="Freeform 9">
              <a:extLst>
                <a:ext uri="{FF2B5EF4-FFF2-40B4-BE49-F238E27FC236}">
                  <a16:creationId xmlns:a16="http://schemas.microsoft.com/office/drawing/2014/main" id="{63B2C58E-9062-459F-9859-477615F3542E}"/>
                </a:ext>
              </a:extLst>
            </p:cNvPr>
            <p:cNvSpPr>
              <a:spLocks/>
            </p:cNvSpPr>
            <p:nvPr/>
          </p:nvSpPr>
          <p:spPr bwMode="auto">
            <a:xfrm>
              <a:off x="2809" y="1757"/>
              <a:ext cx="1329" cy="710"/>
            </a:xfrm>
            <a:custGeom>
              <a:avLst/>
              <a:gdLst>
                <a:gd name="T0" fmla="*/ 99 w 498"/>
                <a:gd name="T1" fmla="*/ 254 h 265"/>
                <a:gd name="T2" fmla="*/ 151 w 498"/>
                <a:gd name="T3" fmla="*/ 237 h 265"/>
                <a:gd name="T4" fmla="*/ 179 w 498"/>
                <a:gd name="T5" fmla="*/ 231 h 265"/>
                <a:gd name="T6" fmla="*/ 221 w 498"/>
                <a:gd name="T7" fmla="*/ 221 h 265"/>
                <a:gd name="T8" fmla="*/ 358 w 498"/>
                <a:gd name="T9" fmla="*/ 198 h 265"/>
                <a:gd name="T10" fmla="*/ 180 w 498"/>
                <a:gd name="T11" fmla="*/ 186 h 265"/>
                <a:gd name="T12" fmla="*/ 302 w 498"/>
                <a:gd name="T13" fmla="*/ 175 h 265"/>
                <a:gd name="T14" fmla="*/ 383 w 498"/>
                <a:gd name="T15" fmla="*/ 166 h 265"/>
                <a:gd name="T16" fmla="*/ 396 w 498"/>
                <a:gd name="T17" fmla="*/ 148 h 265"/>
                <a:gd name="T18" fmla="*/ 231 w 498"/>
                <a:gd name="T19" fmla="*/ 140 h 265"/>
                <a:gd name="T20" fmla="*/ 278 w 498"/>
                <a:gd name="T21" fmla="*/ 135 h 265"/>
                <a:gd name="T22" fmla="*/ 347 w 498"/>
                <a:gd name="T23" fmla="*/ 124 h 265"/>
                <a:gd name="T24" fmla="*/ 402 w 498"/>
                <a:gd name="T25" fmla="*/ 116 h 265"/>
                <a:gd name="T26" fmla="*/ 427 w 498"/>
                <a:gd name="T27" fmla="*/ 111 h 265"/>
                <a:gd name="T28" fmla="*/ 404 w 498"/>
                <a:gd name="T29" fmla="*/ 84 h 265"/>
                <a:gd name="T30" fmla="*/ 345 w 498"/>
                <a:gd name="T31" fmla="*/ 95 h 265"/>
                <a:gd name="T32" fmla="*/ 290 w 498"/>
                <a:gd name="T33" fmla="*/ 109 h 265"/>
                <a:gd name="T34" fmla="*/ 228 w 498"/>
                <a:gd name="T35" fmla="*/ 119 h 265"/>
                <a:gd name="T36" fmla="*/ 208 w 498"/>
                <a:gd name="T37" fmla="*/ 118 h 265"/>
                <a:gd name="T38" fmla="*/ 244 w 498"/>
                <a:gd name="T39" fmla="*/ 107 h 265"/>
                <a:gd name="T40" fmla="*/ 274 w 498"/>
                <a:gd name="T41" fmla="*/ 98 h 265"/>
                <a:gd name="T42" fmla="*/ 306 w 498"/>
                <a:gd name="T43" fmla="*/ 91 h 265"/>
                <a:gd name="T44" fmla="*/ 319 w 498"/>
                <a:gd name="T45" fmla="*/ 86 h 265"/>
                <a:gd name="T46" fmla="*/ 362 w 498"/>
                <a:gd name="T47" fmla="*/ 74 h 265"/>
                <a:gd name="T48" fmla="*/ 384 w 498"/>
                <a:gd name="T49" fmla="*/ 67 h 265"/>
                <a:gd name="T50" fmla="*/ 418 w 498"/>
                <a:gd name="T51" fmla="*/ 43 h 265"/>
                <a:gd name="T52" fmla="*/ 410 w 498"/>
                <a:gd name="T53" fmla="*/ 40 h 265"/>
                <a:gd name="T54" fmla="*/ 341 w 498"/>
                <a:gd name="T55" fmla="*/ 41 h 265"/>
                <a:gd name="T56" fmla="*/ 312 w 498"/>
                <a:gd name="T57" fmla="*/ 48 h 265"/>
                <a:gd name="T58" fmla="*/ 283 w 498"/>
                <a:gd name="T59" fmla="*/ 55 h 265"/>
                <a:gd name="T60" fmla="*/ 230 w 498"/>
                <a:gd name="T61" fmla="*/ 73 h 265"/>
                <a:gd name="T62" fmla="*/ 177 w 498"/>
                <a:gd name="T63" fmla="*/ 92 h 265"/>
                <a:gd name="T64" fmla="*/ 158 w 498"/>
                <a:gd name="T65" fmla="*/ 99 h 265"/>
                <a:gd name="T66" fmla="*/ 96 w 498"/>
                <a:gd name="T67" fmla="*/ 126 h 265"/>
                <a:gd name="T68" fmla="*/ 75 w 498"/>
                <a:gd name="T69" fmla="*/ 137 h 265"/>
                <a:gd name="T70" fmla="*/ 26 w 498"/>
                <a:gd name="T71" fmla="*/ 158 h 265"/>
                <a:gd name="T72" fmla="*/ 21 w 498"/>
                <a:gd name="T73" fmla="*/ 161 h 265"/>
                <a:gd name="T74" fmla="*/ 0 w 498"/>
                <a:gd name="T75" fmla="*/ 163 h 265"/>
                <a:gd name="T76" fmla="*/ 40 w 498"/>
                <a:gd name="T77" fmla="*/ 138 h 265"/>
                <a:gd name="T78" fmla="*/ 124 w 498"/>
                <a:gd name="T79" fmla="*/ 85 h 265"/>
                <a:gd name="T80" fmla="*/ 148 w 498"/>
                <a:gd name="T81" fmla="*/ 73 h 265"/>
                <a:gd name="T82" fmla="*/ 193 w 498"/>
                <a:gd name="T83" fmla="*/ 50 h 265"/>
                <a:gd name="T84" fmla="*/ 225 w 498"/>
                <a:gd name="T85" fmla="*/ 38 h 265"/>
                <a:gd name="T86" fmla="*/ 244 w 498"/>
                <a:gd name="T87" fmla="*/ 32 h 265"/>
                <a:gd name="T88" fmla="*/ 255 w 498"/>
                <a:gd name="T89" fmla="*/ 26 h 265"/>
                <a:gd name="T90" fmla="*/ 282 w 498"/>
                <a:gd name="T91" fmla="*/ 21 h 265"/>
                <a:gd name="T92" fmla="*/ 286 w 498"/>
                <a:gd name="T93" fmla="*/ 20 h 265"/>
                <a:gd name="T94" fmla="*/ 323 w 498"/>
                <a:gd name="T95" fmla="*/ 10 h 265"/>
                <a:gd name="T96" fmla="*/ 467 w 498"/>
                <a:gd name="T97" fmla="*/ 8 h 265"/>
                <a:gd name="T98" fmla="*/ 496 w 498"/>
                <a:gd name="T99" fmla="*/ 44 h 265"/>
                <a:gd name="T100" fmla="*/ 479 w 498"/>
                <a:gd name="T101" fmla="*/ 82 h 265"/>
                <a:gd name="T102" fmla="*/ 476 w 498"/>
                <a:gd name="T103" fmla="*/ 87 h 265"/>
                <a:gd name="T104" fmla="*/ 441 w 498"/>
                <a:gd name="T105" fmla="*/ 114 h 265"/>
                <a:gd name="T106" fmla="*/ 431 w 498"/>
                <a:gd name="T107" fmla="*/ 142 h 265"/>
                <a:gd name="T108" fmla="*/ 391 w 498"/>
                <a:gd name="T109" fmla="*/ 200 h 265"/>
                <a:gd name="T110" fmla="*/ 356 w 498"/>
                <a:gd name="T111" fmla="*/ 227 h 265"/>
                <a:gd name="T112" fmla="*/ 208 w 498"/>
                <a:gd name="T113" fmla="*/ 234 h 265"/>
                <a:gd name="T114" fmla="*/ 172 w 498"/>
                <a:gd name="T115" fmla="*/ 240 h 265"/>
                <a:gd name="T116" fmla="*/ 128 w 498"/>
                <a:gd name="T117" fmla="*/ 251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98" h="265">
                  <a:moveTo>
                    <a:pt x="128" y="251"/>
                  </a:moveTo>
                  <a:cubicBezTo>
                    <a:pt x="111" y="252"/>
                    <a:pt x="112" y="265"/>
                    <a:pt x="99" y="254"/>
                  </a:cubicBezTo>
                  <a:cubicBezTo>
                    <a:pt x="135" y="240"/>
                    <a:pt x="135" y="240"/>
                    <a:pt x="135" y="240"/>
                  </a:cubicBezTo>
                  <a:cubicBezTo>
                    <a:pt x="140" y="238"/>
                    <a:pt x="146" y="239"/>
                    <a:pt x="151" y="237"/>
                  </a:cubicBezTo>
                  <a:cubicBezTo>
                    <a:pt x="159" y="234"/>
                    <a:pt x="147" y="235"/>
                    <a:pt x="162" y="232"/>
                  </a:cubicBezTo>
                  <a:cubicBezTo>
                    <a:pt x="168" y="232"/>
                    <a:pt x="174" y="232"/>
                    <a:pt x="179" y="231"/>
                  </a:cubicBezTo>
                  <a:cubicBezTo>
                    <a:pt x="192" y="229"/>
                    <a:pt x="173" y="229"/>
                    <a:pt x="209" y="225"/>
                  </a:cubicBezTo>
                  <a:cubicBezTo>
                    <a:pt x="224" y="224"/>
                    <a:pt x="211" y="224"/>
                    <a:pt x="221" y="221"/>
                  </a:cubicBezTo>
                  <a:cubicBezTo>
                    <a:pt x="239" y="216"/>
                    <a:pt x="323" y="218"/>
                    <a:pt x="343" y="218"/>
                  </a:cubicBezTo>
                  <a:cubicBezTo>
                    <a:pt x="358" y="198"/>
                    <a:pt x="358" y="198"/>
                    <a:pt x="358" y="198"/>
                  </a:cubicBezTo>
                  <a:cubicBezTo>
                    <a:pt x="362" y="194"/>
                    <a:pt x="363" y="196"/>
                    <a:pt x="364" y="188"/>
                  </a:cubicBezTo>
                  <a:cubicBezTo>
                    <a:pt x="180" y="186"/>
                    <a:pt x="180" y="186"/>
                    <a:pt x="180" y="186"/>
                  </a:cubicBezTo>
                  <a:cubicBezTo>
                    <a:pt x="188" y="180"/>
                    <a:pt x="183" y="185"/>
                    <a:pt x="188" y="177"/>
                  </a:cubicBezTo>
                  <a:cubicBezTo>
                    <a:pt x="226" y="176"/>
                    <a:pt x="264" y="175"/>
                    <a:pt x="302" y="175"/>
                  </a:cubicBezTo>
                  <a:cubicBezTo>
                    <a:pt x="315" y="175"/>
                    <a:pt x="369" y="178"/>
                    <a:pt x="378" y="170"/>
                  </a:cubicBezTo>
                  <a:cubicBezTo>
                    <a:pt x="383" y="167"/>
                    <a:pt x="381" y="168"/>
                    <a:pt x="383" y="166"/>
                  </a:cubicBezTo>
                  <a:cubicBezTo>
                    <a:pt x="391" y="157"/>
                    <a:pt x="391" y="157"/>
                    <a:pt x="391" y="157"/>
                  </a:cubicBezTo>
                  <a:cubicBezTo>
                    <a:pt x="395" y="152"/>
                    <a:pt x="394" y="158"/>
                    <a:pt x="396" y="148"/>
                  </a:cubicBezTo>
                  <a:cubicBezTo>
                    <a:pt x="359" y="145"/>
                    <a:pt x="241" y="154"/>
                    <a:pt x="218" y="147"/>
                  </a:cubicBezTo>
                  <a:cubicBezTo>
                    <a:pt x="220" y="144"/>
                    <a:pt x="225" y="143"/>
                    <a:pt x="231" y="140"/>
                  </a:cubicBezTo>
                  <a:cubicBezTo>
                    <a:pt x="240" y="136"/>
                    <a:pt x="258" y="137"/>
                    <a:pt x="269" y="136"/>
                  </a:cubicBezTo>
                  <a:cubicBezTo>
                    <a:pt x="278" y="135"/>
                    <a:pt x="278" y="135"/>
                    <a:pt x="278" y="135"/>
                  </a:cubicBezTo>
                  <a:cubicBezTo>
                    <a:pt x="285" y="133"/>
                    <a:pt x="282" y="132"/>
                    <a:pt x="292" y="131"/>
                  </a:cubicBezTo>
                  <a:cubicBezTo>
                    <a:pt x="324" y="128"/>
                    <a:pt x="302" y="127"/>
                    <a:pt x="347" y="124"/>
                  </a:cubicBezTo>
                  <a:cubicBezTo>
                    <a:pt x="360" y="123"/>
                    <a:pt x="363" y="120"/>
                    <a:pt x="373" y="118"/>
                  </a:cubicBezTo>
                  <a:cubicBezTo>
                    <a:pt x="382" y="117"/>
                    <a:pt x="394" y="118"/>
                    <a:pt x="402" y="116"/>
                  </a:cubicBezTo>
                  <a:cubicBezTo>
                    <a:pt x="411" y="114"/>
                    <a:pt x="405" y="114"/>
                    <a:pt x="411" y="112"/>
                  </a:cubicBezTo>
                  <a:cubicBezTo>
                    <a:pt x="416" y="111"/>
                    <a:pt x="422" y="111"/>
                    <a:pt x="427" y="111"/>
                  </a:cubicBezTo>
                  <a:cubicBezTo>
                    <a:pt x="429" y="97"/>
                    <a:pt x="434" y="95"/>
                    <a:pt x="434" y="79"/>
                  </a:cubicBezTo>
                  <a:cubicBezTo>
                    <a:pt x="421" y="79"/>
                    <a:pt x="414" y="81"/>
                    <a:pt x="404" y="84"/>
                  </a:cubicBezTo>
                  <a:cubicBezTo>
                    <a:pt x="395" y="88"/>
                    <a:pt x="386" y="85"/>
                    <a:pt x="375" y="90"/>
                  </a:cubicBezTo>
                  <a:cubicBezTo>
                    <a:pt x="365" y="94"/>
                    <a:pt x="354" y="91"/>
                    <a:pt x="345" y="95"/>
                  </a:cubicBezTo>
                  <a:cubicBezTo>
                    <a:pt x="330" y="102"/>
                    <a:pt x="318" y="102"/>
                    <a:pt x="302" y="105"/>
                  </a:cubicBezTo>
                  <a:cubicBezTo>
                    <a:pt x="287" y="107"/>
                    <a:pt x="297" y="107"/>
                    <a:pt x="290" y="109"/>
                  </a:cubicBezTo>
                  <a:cubicBezTo>
                    <a:pt x="280" y="112"/>
                    <a:pt x="266" y="110"/>
                    <a:pt x="257" y="114"/>
                  </a:cubicBezTo>
                  <a:cubicBezTo>
                    <a:pt x="244" y="119"/>
                    <a:pt x="241" y="116"/>
                    <a:pt x="228" y="119"/>
                  </a:cubicBezTo>
                  <a:cubicBezTo>
                    <a:pt x="217" y="121"/>
                    <a:pt x="222" y="124"/>
                    <a:pt x="198" y="124"/>
                  </a:cubicBezTo>
                  <a:cubicBezTo>
                    <a:pt x="199" y="115"/>
                    <a:pt x="196" y="120"/>
                    <a:pt x="208" y="118"/>
                  </a:cubicBezTo>
                  <a:cubicBezTo>
                    <a:pt x="226" y="114"/>
                    <a:pt x="208" y="116"/>
                    <a:pt x="222" y="112"/>
                  </a:cubicBezTo>
                  <a:cubicBezTo>
                    <a:pt x="231" y="110"/>
                    <a:pt x="235" y="111"/>
                    <a:pt x="244" y="107"/>
                  </a:cubicBezTo>
                  <a:cubicBezTo>
                    <a:pt x="249" y="105"/>
                    <a:pt x="248" y="106"/>
                    <a:pt x="253" y="104"/>
                  </a:cubicBezTo>
                  <a:cubicBezTo>
                    <a:pt x="274" y="98"/>
                    <a:pt x="274" y="98"/>
                    <a:pt x="274" y="98"/>
                  </a:cubicBezTo>
                  <a:cubicBezTo>
                    <a:pt x="287" y="95"/>
                    <a:pt x="284" y="93"/>
                    <a:pt x="298" y="92"/>
                  </a:cubicBezTo>
                  <a:cubicBezTo>
                    <a:pt x="300" y="92"/>
                    <a:pt x="304" y="92"/>
                    <a:pt x="306" y="91"/>
                  </a:cubicBezTo>
                  <a:cubicBezTo>
                    <a:pt x="314" y="90"/>
                    <a:pt x="310" y="89"/>
                    <a:pt x="315" y="87"/>
                  </a:cubicBezTo>
                  <a:cubicBezTo>
                    <a:pt x="322" y="84"/>
                    <a:pt x="309" y="88"/>
                    <a:pt x="319" y="86"/>
                  </a:cubicBezTo>
                  <a:cubicBezTo>
                    <a:pt x="331" y="83"/>
                    <a:pt x="330" y="81"/>
                    <a:pt x="340" y="80"/>
                  </a:cubicBezTo>
                  <a:cubicBezTo>
                    <a:pt x="362" y="74"/>
                    <a:pt x="362" y="74"/>
                    <a:pt x="362" y="74"/>
                  </a:cubicBezTo>
                  <a:cubicBezTo>
                    <a:pt x="365" y="72"/>
                    <a:pt x="368" y="73"/>
                    <a:pt x="371" y="72"/>
                  </a:cubicBezTo>
                  <a:cubicBezTo>
                    <a:pt x="382" y="69"/>
                    <a:pt x="368" y="69"/>
                    <a:pt x="384" y="67"/>
                  </a:cubicBezTo>
                  <a:cubicBezTo>
                    <a:pt x="427" y="52"/>
                    <a:pt x="427" y="52"/>
                    <a:pt x="427" y="52"/>
                  </a:cubicBezTo>
                  <a:cubicBezTo>
                    <a:pt x="418" y="43"/>
                    <a:pt x="418" y="43"/>
                    <a:pt x="418" y="43"/>
                  </a:cubicBezTo>
                  <a:cubicBezTo>
                    <a:pt x="416" y="42"/>
                    <a:pt x="415" y="42"/>
                    <a:pt x="412" y="41"/>
                  </a:cubicBezTo>
                  <a:cubicBezTo>
                    <a:pt x="412" y="40"/>
                    <a:pt x="411" y="40"/>
                    <a:pt x="410" y="40"/>
                  </a:cubicBezTo>
                  <a:cubicBezTo>
                    <a:pt x="397" y="34"/>
                    <a:pt x="364" y="32"/>
                    <a:pt x="349" y="38"/>
                  </a:cubicBezTo>
                  <a:cubicBezTo>
                    <a:pt x="344" y="40"/>
                    <a:pt x="347" y="40"/>
                    <a:pt x="341" y="41"/>
                  </a:cubicBezTo>
                  <a:cubicBezTo>
                    <a:pt x="322" y="46"/>
                    <a:pt x="322" y="46"/>
                    <a:pt x="322" y="46"/>
                  </a:cubicBezTo>
                  <a:cubicBezTo>
                    <a:pt x="318" y="47"/>
                    <a:pt x="316" y="47"/>
                    <a:pt x="312" y="48"/>
                  </a:cubicBezTo>
                  <a:cubicBezTo>
                    <a:pt x="297" y="51"/>
                    <a:pt x="311" y="50"/>
                    <a:pt x="300" y="52"/>
                  </a:cubicBezTo>
                  <a:cubicBezTo>
                    <a:pt x="295" y="54"/>
                    <a:pt x="289" y="53"/>
                    <a:pt x="283" y="55"/>
                  </a:cubicBezTo>
                  <a:cubicBezTo>
                    <a:pt x="274" y="59"/>
                    <a:pt x="286" y="56"/>
                    <a:pt x="272" y="60"/>
                  </a:cubicBezTo>
                  <a:cubicBezTo>
                    <a:pt x="230" y="73"/>
                    <a:pt x="230" y="73"/>
                    <a:pt x="230" y="73"/>
                  </a:cubicBezTo>
                  <a:cubicBezTo>
                    <a:pt x="216" y="76"/>
                    <a:pt x="229" y="74"/>
                    <a:pt x="218" y="78"/>
                  </a:cubicBezTo>
                  <a:cubicBezTo>
                    <a:pt x="177" y="92"/>
                    <a:pt x="177" y="92"/>
                    <a:pt x="177" y="92"/>
                  </a:cubicBezTo>
                  <a:cubicBezTo>
                    <a:pt x="165" y="96"/>
                    <a:pt x="179" y="94"/>
                    <a:pt x="165" y="98"/>
                  </a:cubicBezTo>
                  <a:cubicBezTo>
                    <a:pt x="162" y="98"/>
                    <a:pt x="161" y="98"/>
                    <a:pt x="158" y="99"/>
                  </a:cubicBezTo>
                  <a:cubicBezTo>
                    <a:pt x="148" y="103"/>
                    <a:pt x="136" y="110"/>
                    <a:pt x="126" y="115"/>
                  </a:cubicBezTo>
                  <a:cubicBezTo>
                    <a:pt x="96" y="126"/>
                    <a:pt x="96" y="126"/>
                    <a:pt x="96" y="126"/>
                  </a:cubicBezTo>
                  <a:cubicBezTo>
                    <a:pt x="96" y="127"/>
                    <a:pt x="96" y="127"/>
                    <a:pt x="95" y="127"/>
                  </a:cubicBezTo>
                  <a:cubicBezTo>
                    <a:pt x="75" y="137"/>
                    <a:pt x="75" y="137"/>
                    <a:pt x="75" y="137"/>
                  </a:cubicBezTo>
                  <a:cubicBezTo>
                    <a:pt x="74" y="137"/>
                    <a:pt x="74" y="137"/>
                    <a:pt x="73" y="138"/>
                  </a:cubicBezTo>
                  <a:cubicBezTo>
                    <a:pt x="26" y="158"/>
                    <a:pt x="26" y="158"/>
                    <a:pt x="26" y="158"/>
                  </a:cubicBezTo>
                  <a:cubicBezTo>
                    <a:pt x="26" y="159"/>
                    <a:pt x="26" y="159"/>
                    <a:pt x="25" y="159"/>
                  </a:cubicBezTo>
                  <a:cubicBezTo>
                    <a:pt x="21" y="161"/>
                    <a:pt x="21" y="161"/>
                    <a:pt x="21" y="161"/>
                  </a:cubicBezTo>
                  <a:cubicBezTo>
                    <a:pt x="12" y="166"/>
                    <a:pt x="16" y="167"/>
                    <a:pt x="2" y="168"/>
                  </a:cubicBezTo>
                  <a:cubicBezTo>
                    <a:pt x="0" y="163"/>
                    <a:pt x="0" y="163"/>
                    <a:pt x="0" y="163"/>
                  </a:cubicBezTo>
                  <a:cubicBezTo>
                    <a:pt x="11" y="161"/>
                    <a:pt x="5" y="160"/>
                    <a:pt x="13" y="156"/>
                  </a:cubicBezTo>
                  <a:cubicBezTo>
                    <a:pt x="40" y="138"/>
                    <a:pt x="40" y="138"/>
                    <a:pt x="40" y="138"/>
                  </a:cubicBezTo>
                  <a:cubicBezTo>
                    <a:pt x="40" y="138"/>
                    <a:pt x="41" y="138"/>
                    <a:pt x="41" y="138"/>
                  </a:cubicBezTo>
                  <a:cubicBezTo>
                    <a:pt x="124" y="85"/>
                    <a:pt x="124" y="85"/>
                    <a:pt x="124" y="85"/>
                  </a:cubicBezTo>
                  <a:cubicBezTo>
                    <a:pt x="125" y="85"/>
                    <a:pt x="125" y="85"/>
                    <a:pt x="126" y="84"/>
                  </a:cubicBezTo>
                  <a:cubicBezTo>
                    <a:pt x="148" y="73"/>
                    <a:pt x="148" y="73"/>
                    <a:pt x="148" y="73"/>
                  </a:cubicBezTo>
                  <a:cubicBezTo>
                    <a:pt x="148" y="72"/>
                    <a:pt x="149" y="72"/>
                    <a:pt x="150" y="72"/>
                  </a:cubicBezTo>
                  <a:cubicBezTo>
                    <a:pt x="193" y="50"/>
                    <a:pt x="193" y="50"/>
                    <a:pt x="193" y="50"/>
                  </a:cubicBezTo>
                  <a:cubicBezTo>
                    <a:pt x="194" y="50"/>
                    <a:pt x="194" y="50"/>
                    <a:pt x="195" y="50"/>
                  </a:cubicBezTo>
                  <a:cubicBezTo>
                    <a:pt x="225" y="38"/>
                    <a:pt x="225" y="38"/>
                    <a:pt x="225" y="38"/>
                  </a:cubicBezTo>
                  <a:cubicBezTo>
                    <a:pt x="231" y="35"/>
                    <a:pt x="235" y="36"/>
                    <a:pt x="242" y="33"/>
                  </a:cubicBezTo>
                  <a:cubicBezTo>
                    <a:pt x="242" y="32"/>
                    <a:pt x="244" y="32"/>
                    <a:pt x="244" y="32"/>
                  </a:cubicBezTo>
                  <a:cubicBezTo>
                    <a:pt x="254" y="27"/>
                    <a:pt x="254" y="27"/>
                    <a:pt x="254" y="27"/>
                  </a:cubicBezTo>
                  <a:cubicBezTo>
                    <a:pt x="254" y="27"/>
                    <a:pt x="255" y="27"/>
                    <a:pt x="255" y="26"/>
                  </a:cubicBezTo>
                  <a:cubicBezTo>
                    <a:pt x="262" y="23"/>
                    <a:pt x="265" y="24"/>
                    <a:pt x="274" y="22"/>
                  </a:cubicBezTo>
                  <a:cubicBezTo>
                    <a:pt x="276" y="22"/>
                    <a:pt x="280" y="22"/>
                    <a:pt x="282" y="21"/>
                  </a:cubicBezTo>
                  <a:cubicBezTo>
                    <a:pt x="282" y="21"/>
                    <a:pt x="283" y="21"/>
                    <a:pt x="283" y="21"/>
                  </a:cubicBezTo>
                  <a:cubicBezTo>
                    <a:pt x="286" y="20"/>
                    <a:pt x="286" y="20"/>
                    <a:pt x="286" y="20"/>
                  </a:cubicBezTo>
                  <a:cubicBezTo>
                    <a:pt x="286" y="20"/>
                    <a:pt x="287" y="19"/>
                    <a:pt x="287" y="19"/>
                  </a:cubicBezTo>
                  <a:cubicBezTo>
                    <a:pt x="299" y="14"/>
                    <a:pt x="310" y="12"/>
                    <a:pt x="323" y="10"/>
                  </a:cubicBezTo>
                  <a:cubicBezTo>
                    <a:pt x="341" y="8"/>
                    <a:pt x="325" y="8"/>
                    <a:pt x="338" y="6"/>
                  </a:cubicBezTo>
                  <a:cubicBezTo>
                    <a:pt x="362" y="2"/>
                    <a:pt x="446" y="0"/>
                    <a:pt x="467" y="8"/>
                  </a:cubicBezTo>
                  <a:cubicBezTo>
                    <a:pt x="475" y="11"/>
                    <a:pt x="486" y="10"/>
                    <a:pt x="495" y="11"/>
                  </a:cubicBezTo>
                  <a:cubicBezTo>
                    <a:pt x="497" y="21"/>
                    <a:pt x="498" y="34"/>
                    <a:pt x="496" y="44"/>
                  </a:cubicBezTo>
                  <a:cubicBezTo>
                    <a:pt x="494" y="49"/>
                    <a:pt x="494" y="48"/>
                    <a:pt x="494" y="48"/>
                  </a:cubicBezTo>
                  <a:cubicBezTo>
                    <a:pt x="488" y="62"/>
                    <a:pt x="488" y="71"/>
                    <a:pt x="479" y="82"/>
                  </a:cubicBezTo>
                  <a:cubicBezTo>
                    <a:pt x="476" y="86"/>
                    <a:pt x="476" y="86"/>
                    <a:pt x="476" y="86"/>
                  </a:cubicBezTo>
                  <a:cubicBezTo>
                    <a:pt x="476" y="86"/>
                    <a:pt x="476" y="87"/>
                    <a:pt x="476" y="87"/>
                  </a:cubicBezTo>
                  <a:cubicBezTo>
                    <a:pt x="475" y="88"/>
                    <a:pt x="475" y="88"/>
                    <a:pt x="474" y="88"/>
                  </a:cubicBezTo>
                  <a:cubicBezTo>
                    <a:pt x="441" y="114"/>
                    <a:pt x="441" y="114"/>
                    <a:pt x="441" y="114"/>
                  </a:cubicBezTo>
                  <a:cubicBezTo>
                    <a:pt x="432" y="141"/>
                    <a:pt x="432" y="141"/>
                    <a:pt x="432" y="141"/>
                  </a:cubicBezTo>
                  <a:cubicBezTo>
                    <a:pt x="432" y="141"/>
                    <a:pt x="432" y="142"/>
                    <a:pt x="431" y="142"/>
                  </a:cubicBezTo>
                  <a:cubicBezTo>
                    <a:pt x="406" y="181"/>
                    <a:pt x="406" y="181"/>
                    <a:pt x="406" y="181"/>
                  </a:cubicBezTo>
                  <a:cubicBezTo>
                    <a:pt x="400" y="188"/>
                    <a:pt x="399" y="192"/>
                    <a:pt x="391" y="200"/>
                  </a:cubicBezTo>
                  <a:cubicBezTo>
                    <a:pt x="362" y="224"/>
                    <a:pt x="362" y="224"/>
                    <a:pt x="362" y="224"/>
                  </a:cubicBezTo>
                  <a:cubicBezTo>
                    <a:pt x="359" y="226"/>
                    <a:pt x="367" y="224"/>
                    <a:pt x="356" y="227"/>
                  </a:cubicBezTo>
                  <a:cubicBezTo>
                    <a:pt x="335" y="232"/>
                    <a:pt x="264" y="222"/>
                    <a:pt x="241" y="230"/>
                  </a:cubicBezTo>
                  <a:cubicBezTo>
                    <a:pt x="232" y="234"/>
                    <a:pt x="218" y="233"/>
                    <a:pt x="208" y="234"/>
                  </a:cubicBezTo>
                  <a:cubicBezTo>
                    <a:pt x="196" y="234"/>
                    <a:pt x="203" y="236"/>
                    <a:pt x="193" y="238"/>
                  </a:cubicBezTo>
                  <a:cubicBezTo>
                    <a:pt x="172" y="240"/>
                    <a:pt x="172" y="240"/>
                    <a:pt x="172" y="240"/>
                  </a:cubicBezTo>
                  <a:cubicBezTo>
                    <a:pt x="162" y="240"/>
                    <a:pt x="160" y="243"/>
                    <a:pt x="151" y="245"/>
                  </a:cubicBezTo>
                  <a:cubicBezTo>
                    <a:pt x="141" y="248"/>
                    <a:pt x="139" y="251"/>
                    <a:pt x="128" y="251"/>
                  </a:cubicBezTo>
                  <a:close/>
                </a:path>
              </a:pathLst>
            </a:custGeom>
            <a:solidFill>
              <a:srgbClr val="8EB3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cs typeface="+mn-cs"/>
              </a:endParaRPr>
            </a:p>
          </p:txBody>
        </p:sp>
        <p:sp>
          <p:nvSpPr>
            <p:cNvPr id="10" name="Freeform 10">
              <a:extLst>
                <a:ext uri="{FF2B5EF4-FFF2-40B4-BE49-F238E27FC236}">
                  <a16:creationId xmlns:a16="http://schemas.microsoft.com/office/drawing/2014/main" id="{4231626E-48C6-43C7-9BF3-F79E25090ABE}"/>
                </a:ext>
              </a:extLst>
            </p:cNvPr>
            <p:cNvSpPr>
              <a:spLocks noEditPoints="1"/>
            </p:cNvSpPr>
            <p:nvPr/>
          </p:nvSpPr>
          <p:spPr bwMode="auto">
            <a:xfrm>
              <a:off x="2814" y="2145"/>
              <a:ext cx="1139" cy="322"/>
            </a:xfrm>
            <a:custGeom>
              <a:avLst/>
              <a:gdLst>
                <a:gd name="T0" fmla="*/ 126 w 427"/>
                <a:gd name="T1" fmla="*/ 106 h 120"/>
                <a:gd name="T2" fmla="*/ 97 w 427"/>
                <a:gd name="T3" fmla="*/ 109 h 120"/>
                <a:gd name="T4" fmla="*/ 133 w 427"/>
                <a:gd name="T5" fmla="*/ 95 h 120"/>
                <a:gd name="T6" fmla="*/ 149 w 427"/>
                <a:gd name="T7" fmla="*/ 92 h 120"/>
                <a:gd name="T8" fmla="*/ 160 w 427"/>
                <a:gd name="T9" fmla="*/ 87 h 120"/>
                <a:gd name="T10" fmla="*/ 177 w 427"/>
                <a:gd name="T11" fmla="*/ 86 h 120"/>
                <a:gd name="T12" fmla="*/ 207 w 427"/>
                <a:gd name="T13" fmla="*/ 80 h 120"/>
                <a:gd name="T14" fmla="*/ 219 w 427"/>
                <a:gd name="T15" fmla="*/ 76 h 120"/>
                <a:gd name="T16" fmla="*/ 341 w 427"/>
                <a:gd name="T17" fmla="*/ 73 h 120"/>
                <a:gd name="T18" fmla="*/ 356 w 427"/>
                <a:gd name="T19" fmla="*/ 53 h 120"/>
                <a:gd name="T20" fmla="*/ 362 w 427"/>
                <a:gd name="T21" fmla="*/ 43 h 120"/>
                <a:gd name="T22" fmla="*/ 178 w 427"/>
                <a:gd name="T23" fmla="*/ 41 h 120"/>
                <a:gd name="T24" fmla="*/ 186 w 427"/>
                <a:gd name="T25" fmla="*/ 32 h 120"/>
                <a:gd name="T26" fmla="*/ 300 w 427"/>
                <a:gd name="T27" fmla="*/ 30 h 120"/>
                <a:gd name="T28" fmla="*/ 376 w 427"/>
                <a:gd name="T29" fmla="*/ 25 h 120"/>
                <a:gd name="T30" fmla="*/ 381 w 427"/>
                <a:gd name="T31" fmla="*/ 21 h 120"/>
                <a:gd name="T32" fmla="*/ 389 w 427"/>
                <a:gd name="T33" fmla="*/ 12 h 120"/>
                <a:gd name="T34" fmla="*/ 394 w 427"/>
                <a:gd name="T35" fmla="*/ 3 h 120"/>
                <a:gd name="T36" fmla="*/ 216 w 427"/>
                <a:gd name="T37" fmla="*/ 2 h 120"/>
                <a:gd name="T38" fmla="*/ 217 w 427"/>
                <a:gd name="T39" fmla="*/ 1 h 120"/>
                <a:gd name="T40" fmla="*/ 427 w 427"/>
                <a:gd name="T41" fmla="*/ 1 h 120"/>
                <a:gd name="T42" fmla="*/ 405 w 427"/>
                <a:gd name="T43" fmla="*/ 35 h 120"/>
                <a:gd name="T44" fmla="*/ 390 w 427"/>
                <a:gd name="T45" fmla="*/ 54 h 120"/>
                <a:gd name="T46" fmla="*/ 362 w 427"/>
                <a:gd name="T47" fmla="*/ 78 h 120"/>
                <a:gd name="T48" fmla="*/ 356 w 427"/>
                <a:gd name="T49" fmla="*/ 81 h 120"/>
                <a:gd name="T50" fmla="*/ 240 w 427"/>
                <a:gd name="T51" fmla="*/ 84 h 120"/>
                <a:gd name="T52" fmla="*/ 207 w 427"/>
                <a:gd name="T53" fmla="*/ 87 h 120"/>
                <a:gd name="T54" fmla="*/ 192 w 427"/>
                <a:gd name="T55" fmla="*/ 92 h 120"/>
                <a:gd name="T56" fmla="*/ 171 w 427"/>
                <a:gd name="T57" fmla="*/ 93 h 120"/>
                <a:gd name="T58" fmla="*/ 150 w 427"/>
                <a:gd name="T59" fmla="*/ 99 h 120"/>
                <a:gd name="T60" fmla="*/ 126 w 427"/>
                <a:gd name="T61" fmla="*/ 106 h 120"/>
                <a:gd name="T62" fmla="*/ 54 w 427"/>
                <a:gd name="T63" fmla="*/ 2 h 120"/>
                <a:gd name="T64" fmla="*/ 26 w 427"/>
                <a:gd name="T65" fmla="*/ 15 h 120"/>
                <a:gd name="T66" fmla="*/ 24 w 427"/>
                <a:gd name="T67" fmla="*/ 15 h 120"/>
                <a:gd name="T68" fmla="*/ 20 w 427"/>
                <a:gd name="T69" fmla="*/ 17 h 120"/>
                <a:gd name="T70" fmla="*/ 1 w 427"/>
                <a:gd name="T71" fmla="*/ 25 h 120"/>
                <a:gd name="T72" fmla="*/ 0 w 427"/>
                <a:gd name="T73" fmla="*/ 19 h 120"/>
                <a:gd name="T74" fmla="*/ 12 w 427"/>
                <a:gd name="T75" fmla="*/ 12 h 120"/>
                <a:gd name="T76" fmla="*/ 27 w 427"/>
                <a:gd name="T77" fmla="*/ 3 h 120"/>
                <a:gd name="T78" fmla="*/ 54 w 427"/>
                <a:gd name="T79" fmla="*/ 3 h 120"/>
                <a:gd name="T80" fmla="*/ 54 w 427"/>
                <a:gd name="T81" fmla="*/ 2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27" h="120">
                  <a:moveTo>
                    <a:pt x="126" y="106"/>
                  </a:moveTo>
                  <a:cubicBezTo>
                    <a:pt x="109" y="107"/>
                    <a:pt x="110" y="120"/>
                    <a:pt x="97" y="109"/>
                  </a:cubicBezTo>
                  <a:cubicBezTo>
                    <a:pt x="133" y="95"/>
                    <a:pt x="133" y="95"/>
                    <a:pt x="133" y="95"/>
                  </a:cubicBezTo>
                  <a:cubicBezTo>
                    <a:pt x="138" y="93"/>
                    <a:pt x="144" y="94"/>
                    <a:pt x="149" y="92"/>
                  </a:cubicBezTo>
                  <a:cubicBezTo>
                    <a:pt x="157" y="89"/>
                    <a:pt x="145" y="90"/>
                    <a:pt x="160" y="87"/>
                  </a:cubicBezTo>
                  <a:cubicBezTo>
                    <a:pt x="166" y="87"/>
                    <a:pt x="172" y="87"/>
                    <a:pt x="177" y="86"/>
                  </a:cubicBezTo>
                  <a:cubicBezTo>
                    <a:pt x="190" y="84"/>
                    <a:pt x="171" y="84"/>
                    <a:pt x="207" y="80"/>
                  </a:cubicBezTo>
                  <a:cubicBezTo>
                    <a:pt x="222" y="79"/>
                    <a:pt x="209" y="79"/>
                    <a:pt x="219" y="76"/>
                  </a:cubicBezTo>
                  <a:cubicBezTo>
                    <a:pt x="237" y="71"/>
                    <a:pt x="321" y="73"/>
                    <a:pt x="341" y="73"/>
                  </a:cubicBezTo>
                  <a:cubicBezTo>
                    <a:pt x="356" y="53"/>
                    <a:pt x="356" y="53"/>
                    <a:pt x="356" y="53"/>
                  </a:cubicBezTo>
                  <a:cubicBezTo>
                    <a:pt x="360" y="49"/>
                    <a:pt x="361" y="51"/>
                    <a:pt x="362" y="43"/>
                  </a:cubicBezTo>
                  <a:cubicBezTo>
                    <a:pt x="178" y="41"/>
                    <a:pt x="178" y="41"/>
                    <a:pt x="178" y="41"/>
                  </a:cubicBezTo>
                  <a:cubicBezTo>
                    <a:pt x="186" y="35"/>
                    <a:pt x="181" y="40"/>
                    <a:pt x="186" y="32"/>
                  </a:cubicBezTo>
                  <a:cubicBezTo>
                    <a:pt x="224" y="31"/>
                    <a:pt x="262" y="30"/>
                    <a:pt x="300" y="30"/>
                  </a:cubicBezTo>
                  <a:cubicBezTo>
                    <a:pt x="313" y="30"/>
                    <a:pt x="367" y="33"/>
                    <a:pt x="376" y="25"/>
                  </a:cubicBezTo>
                  <a:cubicBezTo>
                    <a:pt x="381" y="22"/>
                    <a:pt x="379" y="23"/>
                    <a:pt x="381" y="21"/>
                  </a:cubicBezTo>
                  <a:cubicBezTo>
                    <a:pt x="389" y="12"/>
                    <a:pt x="389" y="12"/>
                    <a:pt x="389" y="12"/>
                  </a:cubicBezTo>
                  <a:cubicBezTo>
                    <a:pt x="393" y="7"/>
                    <a:pt x="392" y="13"/>
                    <a:pt x="394" y="3"/>
                  </a:cubicBezTo>
                  <a:cubicBezTo>
                    <a:pt x="357" y="0"/>
                    <a:pt x="239" y="9"/>
                    <a:pt x="216" y="2"/>
                  </a:cubicBezTo>
                  <a:cubicBezTo>
                    <a:pt x="216" y="2"/>
                    <a:pt x="217" y="1"/>
                    <a:pt x="217" y="1"/>
                  </a:cubicBezTo>
                  <a:cubicBezTo>
                    <a:pt x="427" y="1"/>
                    <a:pt x="427" y="1"/>
                    <a:pt x="427" y="1"/>
                  </a:cubicBezTo>
                  <a:cubicBezTo>
                    <a:pt x="405" y="35"/>
                    <a:pt x="405" y="35"/>
                    <a:pt x="405" y="35"/>
                  </a:cubicBezTo>
                  <a:cubicBezTo>
                    <a:pt x="399" y="41"/>
                    <a:pt x="398" y="46"/>
                    <a:pt x="390" y="54"/>
                  </a:cubicBezTo>
                  <a:cubicBezTo>
                    <a:pt x="362" y="78"/>
                    <a:pt x="362" y="78"/>
                    <a:pt x="362" y="78"/>
                  </a:cubicBezTo>
                  <a:cubicBezTo>
                    <a:pt x="358" y="80"/>
                    <a:pt x="366" y="78"/>
                    <a:pt x="356" y="81"/>
                  </a:cubicBezTo>
                  <a:cubicBezTo>
                    <a:pt x="334" y="85"/>
                    <a:pt x="263" y="76"/>
                    <a:pt x="240" y="84"/>
                  </a:cubicBezTo>
                  <a:cubicBezTo>
                    <a:pt x="231" y="88"/>
                    <a:pt x="218" y="87"/>
                    <a:pt x="207" y="87"/>
                  </a:cubicBezTo>
                  <a:cubicBezTo>
                    <a:pt x="195" y="88"/>
                    <a:pt x="202" y="89"/>
                    <a:pt x="192" y="92"/>
                  </a:cubicBezTo>
                  <a:cubicBezTo>
                    <a:pt x="171" y="93"/>
                    <a:pt x="171" y="93"/>
                    <a:pt x="171" y="93"/>
                  </a:cubicBezTo>
                  <a:cubicBezTo>
                    <a:pt x="162" y="94"/>
                    <a:pt x="160" y="97"/>
                    <a:pt x="150" y="99"/>
                  </a:cubicBezTo>
                  <a:cubicBezTo>
                    <a:pt x="139" y="103"/>
                    <a:pt x="137" y="106"/>
                    <a:pt x="126" y="106"/>
                  </a:cubicBezTo>
                  <a:close/>
                  <a:moveTo>
                    <a:pt x="54" y="2"/>
                  </a:moveTo>
                  <a:cubicBezTo>
                    <a:pt x="26" y="15"/>
                    <a:pt x="26" y="15"/>
                    <a:pt x="26" y="15"/>
                  </a:cubicBezTo>
                  <a:cubicBezTo>
                    <a:pt x="25" y="15"/>
                    <a:pt x="25" y="15"/>
                    <a:pt x="24" y="15"/>
                  </a:cubicBezTo>
                  <a:cubicBezTo>
                    <a:pt x="20" y="17"/>
                    <a:pt x="20" y="17"/>
                    <a:pt x="20" y="17"/>
                  </a:cubicBezTo>
                  <a:cubicBezTo>
                    <a:pt x="11" y="22"/>
                    <a:pt x="15" y="23"/>
                    <a:pt x="1" y="25"/>
                  </a:cubicBezTo>
                  <a:cubicBezTo>
                    <a:pt x="0" y="19"/>
                    <a:pt x="0" y="19"/>
                    <a:pt x="0" y="19"/>
                  </a:cubicBezTo>
                  <a:cubicBezTo>
                    <a:pt x="10" y="17"/>
                    <a:pt x="4" y="17"/>
                    <a:pt x="12" y="12"/>
                  </a:cubicBezTo>
                  <a:cubicBezTo>
                    <a:pt x="27" y="3"/>
                    <a:pt x="27" y="3"/>
                    <a:pt x="27" y="3"/>
                  </a:cubicBezTo>
                  <a:cubicBezTo>
                    <a:pt x="54" y="3"/>
                    <a:pt x="54" y="3"/>
                    <a:pt x="54" y="3"/>
                  </a:cubicBezTo>
                  <a:lnTo>
                    <a:pt x="54" y="2"/>
                  </a:lnTo>
                  <a:close/>
                </a:path>
              </a:pathLst>
            </a:custGeom>
            <a:solidFill>
              <a:srgbClr val="799EA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cs typeface="+mn-cs"/>
              </a:endParaRPr>
            </a:p>
          </p:txBody>
        </p:sp>
        <p:sp>
          <p:nvSpPr>
            <p:cNvPr id="11" name="Freeform 11">
              <a:extLst>
                <a:ext uri="{FF2B5EF4-FFF2-40B4-BE49-F238E27FC236}">
                  <a16:creationId xmlns:a16="http://schemas.microsoft.com/office/drawing/2014/main" id="{7BB4981B-51E9-48F7-94CD-29562720DE55}"/>
                </a:ext>
              </a:extLst>
            </p:cNvPr>
            <p:cNvSpPr>
              <a:spLocks/>
            </p:cNvSpPr>
            <p:nvPr/>
          </p:nvSpPr>
          <p:spPr bwMode="auto">
            <a:xfrm>
              <a:off x="1296" y="1875"/>
              <a:ext cx="352" cy="316"/>
            </a:xfrm>
            <a:custGeom>
              <a:avLst/>
              <a:gdLst>
                <a:gd name="T0" fmla="*/ 52 w 132"/>
                <a:gd name="T1" fmla="*/ 20 h 118"/>
                <a:gd name="T2" fmla="*/ 80 w 132"/>
                <a:gd name="T3" fmla="*/ 99 h 118"/>
                <a:gd name="T4" fmla="*/ 52 w 132"/>
                <a:gd name="T5" fmla="*/ 20 h 118"/>
              </a:gdLst>
              <a:ahLst/>
              <a:cxnLst>
                <a:cxn ang="0">
                  <a:pos x="T0" y="T1"/>
                </a:cxn>
                <a:cxn ang="0">
                  <a:pos x="T2" y="T3"/>
                </a:cxn>
                <a:cxn ang="0">
                  <a:pos x="T4" y="T5"/>
                </a:cxn>
              </a:cxnLst>
              <a:rect l="0" t="0" r="r" b="b"/>
              <a:pathLst>
                <a:path w="132" h="118">
                  <a:moveTo>
                    <a:pt x="52" y="20"/>
                  </a:moveTo>
                  <a:cubicBezTo>
                    <a:pt x="0" y="40"/>
                    <a:pt x="31" y="118"/>
                    <a:pt x="80" y="99"/>
                  </a:cubicBezTo>
                  <a:cubicBezTo>
                    <a:pt x="132" y="79"/>
                    <a:pt x="103" y="0"/>
                    <a:pt x="52" y="20"/>
                  </a:cubicBezTo>
                  <a:close/>
                </a:path>
              </a:pathLst>
            </a:custGeom>
            <a:solidFill>
              <a:srgbClr val="FEFE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cs typeface="+mn-cs"/>
              </a:endParaRPr>
            </a:p>
          </p:txBody>
        </p:sp>
        <p:sp>
          <p:nvSpPr>
            <p:cNvPr id="12" name="Freeform 12">
              <a:extLst>
                <a:ext uri="{FF2B5EF4-FFF2-40B4-BE49-F238E27FC236}">
                  <a16:creationId xmlns:a16="http://schemas.microsoft.com/office/drawing/2014/main" id="{D18CA068-7732-44A6-B0C0-84B264760CC9}"/>
                </a:ext>
              </a:extLst>
            </p:cNvPr>
            <p:cNvSpPr>
              <a:spLocks/>
            </p:cNvSpPr>
            <p:nvPr/>
          </p:nvSpPr>
          <p:spPr bwMode="auto">
            <a:xfrm>
              <a:off x="1352" y="1921"/>
              <a:ext cx="245" cy="224"/>
            </a:xfrm>
            <a:custGeom>
              <a:avLst/>
              <a:gdLst>
                <a:gd name="T0" fmla="*/ 39 w 92"/>
                <a:gd name="T1" fmla="*/ 11 h 84"/>
                <a:gd name="T2" fmla="*/ 54 w 92"/>
                <a:gd name="T3" fmla="*/ 75 h 84"/>
                <a:gd name="T4" fmla="*/ 39 w 92"/>
                <a:gd name="T5" fmla="*/ 11 h 84"/>
              </a:gdLst>
              <a:ahLst/>
              <a:cxnLst>
                <a:cxn ang="0">
                  <a:pos x="T0" y="T1"/>
                </a:cxn>
                <a:cxn ang="0">
                  <a:pos x="T2" y="T3"/>
                </a:cxn>
                <a:cxn ang="0">
                  <a:pos x="T4" y="T5"/>
                </a:cxn>
              </a:cxnLst>
              <a:rect l="0" t="0" r="r" b="b"/>
              <a:pathLst>
                <a:path w="92" h="84">
                  <a:moveTo>
                    <a:pt x="39" y="11"/>
                  </a:moveTo>
                  <a:cubicBezTo>
                    <a:pt x="0" y="20"/>
                    <a:pt x="8" y="84"/>
                    <a:pt x="54" y="75"/>
                  </a:cubicBezTo>
                  <a:cubicBezTo>
                    <a:pt x="92" y="67"/>
                    <a:pt x="81" y="0"/>
                    <a:pt x="39" y="11"/>
                  </a:cubicBezTo>
                  <a:close/>
                </a:path>
              </a:pathLst>
            </a:custGeom>
            <a:solidFill>
              <a:srgbClr val="A88F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cs typeface="+mn-cs"/>
              </a:endParaRPr>
            </a:p>
          </p:txBody>
        </p:sp>
      </p:grpSp>
      <p:grpSp>
        <p:nvGrpSpPr>
          <p:cNvPr id="14" name="Group 15">
            <a:extLst>
              <a:ext uri="{FF2B5EF4-FFF2-40B4-BE49-F238E27FC236}">
                <a16:creationId xmlns:a16="http://schemas.microsoft.com/office/drawing/2014/main" id="{59DE72AD-0B8B-453C-8EE0-B427C0C95BA2}"/>
              </a:ext>
            </a:extLst>
          </p:cNvPr>
          <p:cNvGrpSpPr>
            <a:grpSpLocks noChangeAspect="1"/>
          </p:cNvGrpSpPr>
          <p:nvPr/>
        </p:nvGrpSpPr>
        <p:grpSpPr bwMode="auto">
          <a:xfrm>
            <a:off x="6930884" y="1156718"/>
            <a:ext cx="4046677" cy="1708000"/>
            <a:chOff x="829" y="444"/>
            <a:chExt cx="6025" cy="2543"/>
          </a:xfrm>
        </p:grpSpPr>
        <p:sp>
          <p:nvSpPr>
            <p:cNvPr id="16" name="Freeform 16">
              <a:extLst>
                <a:ext uri="{FF2B5EF4-FFF2-40B4-BE49-F238E27FC236}">
                  <a16:creationId xmlns:a16="http://schemas.microsoft.com/office/drawing/2014/main" id="{3C5FABFA-61F7-45B9-98FD-067BF6F73162}"/>
                </a:ext>
              </a:extLst>
            </p:cNvPr>
            <p:cNvSpPr>
              <a:spLocks/>
            </p:cNvSpPr>
            <p:nvPr/>
          </p:nvSpPr>
          <p:spPr bwMode="auto">
            <a:xfrm>
              <a:off x="829" y="444"/>
              <a:ext cx="6025" cy="2543"/>
            </a:xfrm>
            <a:custGeom>
              <a:avLst/>
              <a:gdLst>
                <a:gd name="T0" fmla="*/ 1884 w 2257"/>
                <a:gd name="T1" fmla="*/ 612 h 949"/>
                <a:gd name="T2" fmla="*/ 2024 w 2257"/>
                <a:gd name="T3" fmla="*/ 573 h 949"/>
                <a:gd name="T4" fmla="*/ 2255 w 2257"/>
                <a:gd name="T5" fmla="*/ 361 h 949"/>
                <a:gd name="T6" fmla="*/ 2120 w 2257"/>
                <a:gd name="T7" fmla="*/ 649 h 949"/>
                <a:gd name="T8" fmla="*/ 2256 w 2257"/>
                <a:gd name="T9" fmla="*/ 938 h 949"/>
                <a:gd name="T10" fmla="*/ 2000 w 2257"/>
                <a:gd name="T11" fmla="*/ 693 h 949"/>
                <a:gd name="T12" fmla="*/ 1972 w 2257"/>
                <a:gd name="T13" fmla="*/ 654 h 949"/>
                <a:gd name="T14" fmla="*/ 1950 w 2257"/>
                <a:gd name="T15" fmla="*/ 681 h 949"/>
                <a:gd name="T16" fmla="*/ 1932 w 2257"/>
                <a:gd name="T17" fmla="*/ 652 h 949"/>
                <a:gd name="T18" fmla="*/ 1929 w 2257"/>
                <a:gd name="T19" fmla="*/ 670 h 949"/>
                <a:gd name="T20" fmla="*/ 1906 w 2257"/>
                <a:gd name="T21" fmla="*/ 675 h 949"/>
                <a:gd name="T22" fmla="*/ 1872 w 2257"/>
                <a:gd name="T23" fmla="*/ 672 h 949"/>
                <a:gd name="T24" fmla="*/ 1864 w 2257"/>
                <a:gd name="T25" fmla="*/ 682 h 949"/>
                <a:gd name="T26" fmla="*/ 1858 w 2257"/>
                <a:gd name="T27" fmla="*/ 686 h 949"/>
                <a:gd name="T28" fmla="*/ 1801 w 2257"/>
                <a:gd name="T29" fmla="*/ 700 h 949"/>
                <a:gd name="T30" fmla="*/ 1786 w 2257"/>
                <a:gd name="T31" fmla="*/ 707 h 949"/>
                <a:gd name="T32" fmla="*/ 1744 w 2257"/>
                <a:gd name="T33" fmla="*/ 718 h 949"/>
                <a:gd name="T34" fmla="*/ 1732 w 2257"/>
                <a:gd name="T35" fmla="*/ 733 h 949"/>
                <a:gd name="T36" fmla="*/ 1697 w 2257"/>
                <a:gd name="T37" fmla="*/ 735 h 949"/>
                <a:gd name="T38" fmla="*/ 1612 w 2257"/>
                <a:gd name="T39" fmla="*/ 792 h 949"/>
                <a:gd name="T40" fmla="*/ 1566 w 2257"/>
                <a:gd name="T41" fmla="*/ 806 h 949"/>
                <a:gd name="T42" fmla="*/ 1503 w 2257"/>
                <a:gd name="T43" fmla="*/ 828 h 949"/>
                <a:gd name="T44" fmla="*/ 1139 w 2257"/>
                <a:gd name="T45" fmla="*/ 921 h 949"/>
                <a:gd name="T46" fmla="*/ 308 w 2257"/>
                <a:gd name="T47" fmla="*/ 859 h 949"/>
                <a:gd name="T48" fmla="*/ 0 w 2257"/>
                <a:gd name="T49" fmla="*/ 710 h 949"/>
                <a:gd name="T50" fmla="*/ 140 w 2257"/>
                <a:gd name="T51" fmla="*/ 733 h 949"/>
                <a:gd name="T52" fmla="*/ 128 w 2257"/>
                <a:gd name="T53" fmla="*/ 717 h 949"/>
                <a:gd name="T54" fmla="*/ 90 w 2257"/>
                <a:gd name="T55" fmla="*/ 689 h 949"/>
                <a:gd name="T56" fmla="*/ 40 w 2257"/>
                <a:gd name="T57" fmla="*/ 650 h 949"/>
                <a:gd name="T58" fmla="*/ 24 w 2257"/>
                <a:gd name="T59" fmla="*/ 634 h 949"/>
                <a:gd name="T60" fmla="*/ 1884 w 2257"/>
                <a:gd name="T61" fmla="*/ 612 h 9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57" h="949">
                  <a:moveTo>
                    <a:pt x="1884" y="612"/>
                  </a:moveTo>
                  <a:cubicBezTo>
                    <a:pt x="1955" y="617"/>
                    <a:pt x="1964" y="659"/>
                    <a:pt x="2024" y="573"/>
                  </a:cubicBezTo>
                  <a:cubicBezTo>
                    <a:pt x="2067" y="512"/>
                    <a:pt x="2173" y="364"/>
                    <a:pt x="2255" y="361"/>
                  </a:cubicBezTo>
                  <a:cubicBezTo>
                    <a:pt x="2257" y="392"/>
                    <a:pt x="2120" y="552"/>
                    <a:pt x="2120" y="649"/>
                  </a:cubicBezTo>
                  <a:cubicBezTo>
                    <a:pt x="2120" y="750"/>
                    <a:pt x="2255" y="902"/>
                    <a:pt x="2256" y="938"/>
                  </a:cubicBezTo>
                  <a:cubicBezTo>
                    <a:pt x="2154" y="936"/>
                    <a:pt x="2042" y="741"/>
                    <a:pt x="2000" y="693"/>
                  </a:cubicBezTo>
                  <a:cubicBezTo>
                    <a:pt x="1972" y="654"/>
                    <a:pt x="1972" y="654"/>
                    <a:pt x="1972" y="654"/>
                  </a:cubicBezTo>
                  <a:cubicBezTo>
                    <a:pt x="1957" y="669"/>
                    <a:pt x="1982" y="668"/>
                    <a:pt x="1950" y="681"/>
                  </a:cubicBezTo>
                  <a:cubicBezTo>
                    <a:pt x="1925" y="666"/>
                    <a:pt x="1947" y="673"/>
                    <a:pt x="1932" y="652"/>
                  </a:cubicBezTo>
                  <a:cubicBezTo>
                    <a:pt x="1929" y="670"/>
                    <a:pt x="1929" y="670"/>
                    <a:pt x="1929" y="670"/>
                  </a:cubicBezTo>
                  <a:cubicBezTo>
                    <a:pt x="1906" y="675"/>
                    <a:pt x="1906" y="675"/>
                    <a:pt x="1906" y="675"/>
                  </a:cubicBezTo>
                  <a:cubicBezTo>
                    <a:pt x="1899" y="675"/>
                    <a:pt x="1884" y="672"/>
                    <a:pt x="1872" y="672"/>
                  </a:cubicBezTo>
                  <a:cubicBezTo>
                    <a:pt x="1852" y="700"/>
                    <a:pt x="1898" y="656"/>
                    <a:pt x="1864" y="682"/>
                  </a:cubicBezTo>
                  <a:cubicBezTo>
                    <a:pt x="1858" y="686"/>
                    <a:pt x="1858" y="686"/>
                    <a:pt x="1858" y="686"/>
                  </a:cubicBezTo>
                  <a:cubicBezTo>
                    <a:pt x="1832" y="696"/>
                    <a:pt x="1840" y="674"/>
                    <a:pt x="1801" y="700"/>
                  </a:cubicBezTo>
                  <a:cubicBezTo>
                    <a:pt x="1790" y="708"/>
                    <a:pt x="1801" y="704"/>
                    <a:pt x="1786" y="707"/>
                  </a:cubicBezTo>
                  <a:cubicBezTo>
                    <a:pt x="1773" y="710"/>
                    <a:pt x="1760" y="706"/>
                    <a:pt x="1744" y="718"/>
                  </a:cubicBezTo>
                  <a:cubicBezTo>
                    <a:pt x="1732" y="733"/>
                    <a:pt x="1732" y="733"/>
                    <a:pt x="1732" y="733"/>
                  </a:cubicBezTo>
                  <a:cubicBezTo>
                    <a:pt x="1720" y="733"/>
                    <a:pt x="1708" y="731"/>
                    <a:pt x="1697" y="735"/>
                  </a:cubicBezTo>
                  <a:cubicBezTo>
                    <a:pt x="1693" y="736"/>
                    <a:pt x="1613" y="790"/>
                    <a:pt x="1612" y="792"/>
                  </a:cubicBezTo>
                  <a:cubicBezTo>
                    <a:pt x="1596" y="816"/>
                    <a:pt x="1596" y="793"/>
                    <a:pt x="1566" y="806"/>
                  </a:cubicBezTo>
                  <a:cubicBezTo>
                    <a:pt x="1522" y="824"/>
                    <a:pt x="1582" y="828"/>
                    <a:pt x="1503" y="828"/>
                  </a:cubicBezTo>
                  <a:cubicBezTo>
                    <a:pt x="1484" y="882"/>
                    <a:pt x="1199" y="914"/>
                    <a:pt x="1139" y="921"/>
                  </a:cubicBezTo>
                  <a:cubicBezTo>
                    <a:pt x="902" y="949"/>
                    <a:pt x="531" y="928"/>
                    <a:pt x="308" y="859"/>
                  </a:cubicBezTo>
                  <a:cubicBezTo>
                    <a:pt x="252" y="842"/>
                    <a:pt x="18" y="748"/>
                    <a:pt x="0" y="710"/>
                  </a:cubicBezTo>
                  <a:cubicBezTo>
                    <a:pt x="42" y="707"/>
                    <a:pt x="105" y="719"/>
                    <a:pt x="140" y="733"/>
                  </a:cubicBezTo>
                  <a:cubicBezTo>
                    <a:pt x="132" y="719"/>
                    <a:pt x="138" y="728"/>
                    <a:pt x="128" y="717"/>
                  </a:cubicBezTo>
                  <a:cubicBezTo>
                    <a:pt x="90" y="689"/>
                    <a:pt x="90" y="689"/>
                    <a:pt x="90" y="689"/>
                  </a:cubicBezTo>
                  <a:cubicBezTo>
                    <a:pt x="71" y="674"/>
                    <a:pt x="55" y="664"/>
                    <a:pt x="40" y="650"/>
                  </a:cubicBezTo>
                  <a:cubicBezTo>
                    <a:pt x="24" y="634"/>
                    <a:pt x="24" y="634"/>
                    <a:pt x="24" y="634"/>
                  </a:cubicBezTo>
                  <a:cubicBezTo>
                    <a:pt x="906" y="0"/>
                    <a:pt x="1960" y="598"/>
                    <a:pt x="1884" y="612"/>
                  </a:cubicBezTo>
                  <a:close/>
                </a:path>
              </a:pathLst>
            </a:custGeom>
            <a:solidFill>
              <a:srgbClr val="C9E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cs typeface="+mn-cs"/>
              </a:endParaRPr>
            </a:p>
          </p:txBody>
        </p:sp>
        <p:sp>
          <p:nvSpPr>
            <p:cNvPr id="17" name="Freeform 17">
              <a:extLst>
                <a:ext uri="{FF2B5EF4-FFF2-40B4-BE49-F238E27FC236}">
                  <a16:creationId xmlns:a16="http://schemas.microsoft.com/office/drawing/2014/main" id="{CD145BC7-A916-442A-8986-8D9B4632F23A}"/>
                </a:ext>
              </a:extLst>
            </p:cNvPr>
            <p:cNvSpPr>
              <a:spLocks/>
            </p:cNvSpPr>
            <p:nvPr/>
          </p:nvSpPr>
          <p:spPr bwMode="auto">
            <a:xfrm>
              <a:off x="893" y="444"/>
              <a:ext cx="5961" cy="1782"/>
            </a:xfrm>
            <a:custGeom>
              <a:avLst/>
              <a:gdLst>
                <a:gd name="T0" fmla="*/ 1860 w 2233"/>
                <a:gd name="T1" fmla="*/ 612 h 665"/>
                <a:gd name="T2" fmla="*/ 2000 w 2233"/>
                <a:gd name="T3" fmla="*/ 573 h 665"/>
                <a:gd name="T4" fmla="*/ 2231 w 2233"/>
                <a:gd name="T5" fmla="*/ 361 h 665"/>
                <a:gd name="T6" fmla="*/ 2096 w 2233"/>
                <a:gd name="T7" fmla="*/ 649 h 665"/>
                <a:gd name="T8" fmla="*/ 2097 w 2233"/>
                <a:gd name="T9" fmla="*/ 665 h 665"/>
                <a:gd name="T10" fmla="*/ 1956 w 2233"/>
                <a:gd name="T11" fmla="*/ 665 h 665"/>
                <a:gd name="T12" fmla="*/ 1948 w 2233"/>
                <a:gd name="T13" fmla="*/ 654 h 665"/>
                <a:gd name="T14" fmla="*/ 1942 w 2233"/>
                <a:gd name="T15" fmla="*/ 665 h 665"/>
                <a:gd name="T16" fmla="*/ 1913 w 2233"/>
                <a:gd name="T17" fmla="*/ 665 h 665"/>
                <a:gd name="T18" fmla="*/ 1907 w 2233"/>
                <a:gd name="T19" fmla="*/ 652 h 665"/>
                <a:gd name="T20" fmla="*/ 1905 w 2233"/>
                <a:gd name="T21" fmla="*/ 665 h 665"/>
                <a:gd name="T22" fmla="*/ 35 w 2233"/>
                <a:gd name="T23" fmla="*/ 665 h 665"/>
                <a:gd name="T24" fmla="*/ 16 w 2233"/>
                <a:gd name="T25" fmla="*/ 649 h 665"/>
                <a:gd name="T26" fmla="*/ 0 w 2233"/>
                <a:gd name="T27" fmla="*/ 633 h 665"/>
                <a:gd name="T28" fmla="*/ 1860 w 2233"/>
                <a:gd name="T29" fmla="*/ 612 h 6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233" h="665">
                  <a:moveTo>
                    <a:pt x="1860" y="612"/>
                  </a:moveTo>
                  <a:cubicBezTo>
                    <a:pt x="1931" y="617"/>
                    <a:pt x="1940" y="659"/>
                    <a:pt x="2000" y="573"/>
                  </a:cubicBezTo>
                  <a:cubicBezTo>
                    <a:pt x="2043" y="512"/>
                    <a:pt x="2149" y="364"/>
                    <a:pt x="2231" y="361"/>
                  </a:cubicBezTo>
                  <a:cubicBezTo>
                    <a:pt x="2233" y="392"/>
                    <a:pt x="2096" y="552"/>
                    <a:pt x="2096" y="649"/>
                  </a:cubicBezTo>
                  <a:cubicBezTo>
                    <a:pt x="2096" y="654"/>
                    <a:pt x="2096" y="660"/>
                    <a:pt x="2097" y="665"/>
                  </a:cubicBezTo>
                  <a:cubicBezTo>
                    <a:pt x="1956" y="665"/>
                    <a:pt x="1956" y="665"/>
                    <a:pt x="1956" y="665"/>
                  </a:cubicBezTo>
                  <a:cubicBezTo>
                    <a:pt x="1948" y="654"/>
                    <a:pt x="1948" y="654"/>
                    <a:pt x="1948" y="654"/>
                  </a:cubicBezTo>
                  <a:cubicBezTo>
                    <a:pt x="1942" y="659"/>
                    <a:pt x="1942" y="662"/>
                    <a:pt x="1942" y="665"/>
                  </a:cubicBezTo>
                  <a:cubicBezTo>
                    <a:pt x="1913" y="665"/>
                    <a:pt x="1913" y="665"/>
                    <a:pt x="1913" y="665"/>
                  </a:cubicBezTo>
                  <a:cubicBezTo>
                    <a:pt x="1913" y="662"/>
                    <a:pt x="1912" y="658"/>
                    <a:pt x="1907" y="652"/>
                  </a:cubicBezTo>
                  <a:cubicBezTo>
                    <a:pt x="1905" y="665"/>
                    <a:pt x="1905" y="665"/>
                    <a:pt x="1905" y="665"/>
                  </a:cubicBezTo>
                  <a:cubicBezTo>
                    <a:pt x="35" y="665"/>
                    <a:pt x="35" y="665"/>
                    <a:pt x="35" y="665"/>
                  </a:cubicBezTo>
                  <a:cubicBezTo>
                    <a:pt x="28" y="660"/>
                    <a:pt x="22" y="655"/>
                    <a:pt x="16" y="649"/>
                  </a:cubicBezTo>
                  <a:cubicBezTo>
                    <a:pt x="0" y="633"/>
                    <a:pt x="0" y="633"/>
                    <a:pt x="0" y="633"/>
                  </a:cubicBezTo>
                  <a:cubicBezTo>
                    <a:pt x="882" y="0"/>
                    <a:pt x="1936" y="598"/>
                    <a:pt x="1860" y="612"/>
                  </a:cubicBezTo>
                  <a:close/>
                </a:path>
              </a:pathLst>
            </a:custGeom>
            <a:solidFill>
              <a:srgbClr val="A1D7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cs typeface="+mn-cs"/>
              </a:endParaRPr>
            </a:p>
          </p:txBody>
        </p:sp>
        <p:sp>
          <p:nvSpPr>
            <p:cNvPr id="18" name="Freeform 18">
              <a:extLst>
                <a:ext uri="{FF2B5EF4-FFF2-40B4-BE49-F238E27FC236}">
                  <a16:creationId xmlns:a16="http://schemas.microsoft.com/office/drawing/2014/main" id="{98A0C945-9A3E-497E-B874-D242E45B5F49}"/>
                </a:ext>
              </a:extLst>
            </p:cNvPr>
            <p:cNvSpPr>
              <a:spLocks/>
            </p:cNvSpPr>
            <p:nvPr/>
          </p:nvSpPr>
          <p:spPr bwMode="auto">
            <a:xfrm>
              <a:off x="1512" y="1853"/>
              <a:ext cx="499" cy="445"/>
            </a:xfrm>
            <a:custGeom>
              <a:avLst/>
              <a:gdLst>
                <a:gd name="T0" fmla="*/ 74 w 187"/>
                <a:gd name="T1" fmla="*/ 28 h 166"/>
                <a:gd name="T2" fmla="*/ 114 w 187"/>
                <a:gd name="T3" fmla="*/ 139 h 166"/>
                <a:gd name="T4" fmla="*/ 74 w 187"/>
                <a:gd name="T5" fmla="*/ 28 h 166"/>
              </a:gdLst>
              <a:ahLst/>
              <a:cxnLst>
                <a:cxn ang="0">
                  <a:pos x="T0" y="T1"/>
                </a:cxn>
                <a:cxn ang="0">
                  <a:pos x="T2" y="T3"/>
                </a:cxn>
                <a:cxn ang="0">
                  <a:pos x="T4" y="T5"/>
                </a:cxn>
              </a:cxnLst>
              <a:rect l="0" t="0" r="r" b="b"/>
              <a:pathLst>
                <a:path w="187" h="166">
                  <a:moveTo>
                    <a:pt x="74" y="28"/>
                  </a:moveTo>
                  <a:cubicBezTo>
                    <a:pt x="0" y="56"/>
                    <a:pt x="44" y="166"/>
                    <a:pt x="114" y="139"/>
                  </a:cubicBezTo>
                  <a:cubicBezTo>
                    <a:pt x="187" y="111"/>
                    <a:pt x="146" y="0"/>
                    <a:pt x="74" y="28"/>
                  </a:cubicBezTo>
                  <a:close/>
                </a:path>
              </a:pathLst>
            </a:custGeom>
            <a:solidFill>
              <a:srgbClr val="FEFE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cs typeface="+mn-cs"/>
              </a:endParaRPr>
            </a:p>
          </p:txBody>
        </p:sp>
        <p:sp>
          <p:nvSpPr>
            <p:cNvPr id="19" name="Freeform 19">
              <a:extLst>
                <a:ext uri="{FF2B5EF4-FFF2-40B4-BE49-F238E27FC236}">
                  <a16:creationId xmlns:a16="http://schemas.microsoft.com/office/drawing/2014/main" id="{A7CEB225-428E-4F14-A604-B481F823F64E}"/>
                </a:ext>
              </a:extLst>
            </p:cNvPr>
            <p:cNvSpPr>
              <a:spLocks/>
            </p:cNvSpPr>
            <p:nvPr/>
          </p:nvSpPr>
          <p:spPr bwMode="auto">
            <a:xfrm>
              <a:off x="1595" y="1917"/>
              <a:ext cx="344" cy="317"/>
            </a:xfrm>
            <a:custGeom>
              <a:avLst/>
              <a:gdLst>
                <a:gd name="T0" fmla="*/ 54 w 129"/>
                <a:gd name="T1" fmla="*/ 15 h 118"/>
                <a:gd name="T2" fmla="*/ 75 w 129"/>
                <a:gd name="T3" fmla="*/ 105 h 118"/>
                <a:gd name="T4" fmla="*/ 54 w 129"/>
                <a:gd name="T5" fmla="*/ 15 h 118"/>
              </a:gdLst>
              <a:ahLst/>
              <a:cxnLst>
                <a:cxn ang="0">
                  <a:pos x="T0" y="T1"/>
                </a:cxn>
                <a:cxn ang="0">
                  <a:pos x="T2" y="T3"/>
                </a:cxn>
                <a:cxn ang="0">
                  <a:pos x="T4" y="T5"/>
                </a:cxn>
              </a:cxnLst>
              <a:rect l="0" t="0" r="r" b="b"/>
              <a:pathLst>
                <a:path w="129" h="118">
                  <a:moveTo>
                    <a:pt x="54" y="15"/>
                  </a:moveTo>
                  <a:cubicBezTo>
                    <a:pt x="0" y="28"/>
                    <a:pt x="11" y="118"/>
                    <a:pt x="75" y="105"/>
                  </a:cubicBezTo>
                  <a:cubicBezTo>
                    <a:pt x="129" y="94"/>
                    <a:pt x="113" y="0"/>
                    <a:pt x="54" y="15"/>
                  </a:cubicBezTo>
                  <a:close/>
                </a:path>
              </a:pathLst>
            </a:custGeom>
            <a:solidFill>
              <a:srgbClr val="A88F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cs typeface="+mn-cs"/>
              </a:endParaRPr>
            </a:p>
          </p:txBody>
        </p:sp>
      </p:grpSp>
      <p:grpSp>
        <p:nvGrpSpPr>
          <p:cNvPr id="21" name="Group 22">
            <a:extLst>
              <a:ext uri="{FF2B5EF4-FFF2-40B4-BE49-F238E27FC236}">
                <a16:creationId xmlns:a16="http://schemas.microsoft.com/office/drawing/2014/main" id="{6BE990EA-72AF-4CAF-9ABD-55CA04E91066}"/>
              </a:ext>
            </a:extLst>
          </p:cNvPr>
          <p:cNvGrpSpPr>
            <a:grpSpLocks noChangeAspect="1"/>
          </p:cNvGrpSpPr>
          <p:nvPr/>
        </p:nvGrpSpPr>
        <p:grpSpPr bwMode="auto">
          <a:xfrm>
            <a:off x="1168401" y="3714751"/>
            <a:ext cx="4522787" cy="1666875"/>
            <a:chOff x="736" y="2340"/>
            <a:chExt cx="2849" cy="1050"/>
          </a:xfrm>
        </p:grpSpPr>
        <p:sp>
          <p:nvSpPr>
            <p:cNvPr id="23" name="Freeform 23">
              <a:extLst>
                <a:ext uri="{FF2B5EF4-FFF2-40B4-BE49-F238E27FC236}">
                  <a16:creationId xmlns:a16="http://schemas.microsoft.com/office/drawing/2014/main" id="{6BE537E2-CDE1-48AC-A3AB-010E71FE5977}"/>
                </a:ext>
              </a:extLst>
            </p:cNvPr>
            <p:cNvSpPr>
              <a:spLocks/>
            </p:cNvSpPr>
            <p:nvPr/>
          </p:nvSpPr>
          <p:spPr bwMode="auto">
            <a:xfrm>
              <a:off x="736" y="2340"/>
              <a:ext cx="2849" cy="1050"/>
            </a:xfrm>
            <a:custGeom>
              <a:avLst/>
              <a:gdLst>
                <a:gd name="T0" fmla="*/ 0 w 2135"/>
                <a:gd name="T1" fmla="*/ 560 h 785"/>
                <a:gd name="T2" fmla="*/ 0 w 2135"/>
                <a:gd name="T3" fmla="*/ 567 h 785"/>
                <a:gd name="T4" fmla="*/ 312 w 2135"/>
                <a:gd name="T5" fmla="*/ 470 h 785"/>
                <a:gd name="T6" fmla="*/ 398 w 2135"/>
                <a:gd name="T7" fmla="*/ 462 h 785"/>
                <a:gd name="T8" fmla="*/ 491 w 2135"/>
                <a:gd name="T9" fmla="*/ 471 h 785"/>
                <a:gd name="T10" fmla="*/ 576 w 2135"/>
                <a:gd name="T11" fmla="*/ 488 h 785"/>
                <a:gd name="T12" fmla="*/ 615 w 2135"/>
                <a:gd name="T13" fmla="*/ 501 h 785"/>
                <a:gd name="T14" fmla="*/ 646 w 2135"/>
                <a:gd name="T15" fmla="*/ 518 h 785"/>
                <a:gd name="T16" fmla="*/ 488 w 2135"/>
                <a:gd name="T17" fmla="*/ 480 h 785"/>
                <a:gd name="T18" fmla="*/ 435 w 2135"/>
                <a:gd name="T19" fmla="*/ 497 h 785"/>
                <a:gd name="T20" fmla="*/ 437 w 2135"/>
                <a:gd name="T21" fmla="*/ 499 h 785"/>
                <a:gd name="T22" fmla="*/ 442 w 2135"/>
                <a:gd name="T23" fmla="*/ 504 h 785"/>
                <a:gd name="T24" fmla="*/ 567 w 2135"/>
                <a:gd name="T25" fmla="*/ 614 h 785"/>
                <a:gd name="T26" fmla="*/ 603 w 2135"/>
                <a:gd name="T27" fmla="*/ 623 h 785"/>
                <a:gd name="T28" fmla="*/ 706 w 2135"/>
                <a:gd name="T29" fmla="*/ 539 h 785"/>
                <a:gd name="T30" fmla="*/ 872 w 2135"/>
                <a:gd name="T31" fmla="*/ 577 h 785"/>
                <a:gd name="T32" fmla="*/ 1046 w 2135"/>
                <a:gd name="T33" fmla="*/ 609 h 785"/>
                <a:gd name="T34" fmla="*/ 1014 w 2135"/>
                <a:gd name="T35" fmla="*/ 644 h 785"/>
                <a:gd name="T36" fmla="*/ 1078 w 2135"/>
                <a:gd name="T37" fmla="*/ 785 h 785"/>
                <a:gd name="T38" fmla="*/ 1088 w 2135"/>
                <a:gd name="T39" fmla="*/ 785 h 785"/>
                <a:gd name="T40" fmla="*/ 1147 w 2135"/>
                <a:gd name="T41" fmla="*/ 689 h 785"/>
                <a:gd name="T42" fmla="*/ 1190 w 2135"/>
                <a:gd name="T43" fmla="*/ 577 h 785"/>
                <a:gd name="T44" fmla="*/ 1109 w 2135"/>
                <a:gd name="T45" fmla="*/ 582 h 785"/>
                <a:gd name="T46" fmla="*/ 1215 w 2135"/>
                <a:gd name="T47" fmla="*/ 560 h 785"/>
                <a:gd name="T48" fmla="*/ 1197 w 2135"/>
                <a:gd name="T49" fmla="*/ 620 h 785"/>
                <a:gd name="T50" fmla="*/ 1963 w 2135"/>
                <a:gd name="T51" fmla="*/ 536 h 785"/>
                <a:gd name="T52" fmla="*/ 2125 w 2135"/>
                <a:gd name="T53" fmla="*/ 405 h 785"/>
                <a:gd name="T54" fmla="*/ 2108 w 2135"/>
                <a:gd name="T55" fmla="*/ 383 h 785"/>
                <a:gd name="T56" fmla="*/ 2084 w 2135"/>
                <a:gd name="T57" fmla="*/ 367 h 785"/>
                <a:gd name="T58" fmla="*/ 2027 w 2135"/>
                <a:gd name="T59" fmla="*/ 342 h 785"/>
                <a:gd name="T60" fmla="*/ 1915 w 2135"/>
                <a:gd name="T61" fmla="*/ 290 h 785"/>
                <a:gd name="T62" fmla="*/ 1674 w 2135"/>
                <a:gd name="T63" fmla="*/ 204 h 785"/>
                <a:gd name="T64" fmla="*/ 1378 w 2135"/>
                <a:gd name="T65" fmla="*/ 177 h 785"/>
                <a:gd name="T66" fmla="*/ 1221 w 2135"/>
                <a:gd name="T67" fmla="*/ 184 h 785"/>
                <a:gd name="T68" fmla="*/ 1072 w 2135"/>
                <a:gd name="T69" fmla="*/ 200 h 785"/>
                <a:gd name="T70" fmla="*/ 1079 w 2135"/>
                <a:gd name="T71" fmla="*/ 196 h 785"/>
                <a:gd name="T72" fmla="*/ 1245 w 2135"/>
                <a:gd name="T73" fmla="*/ 164 h 785"/>
                <a:gd name="T74" fmla="*/ 1111 w 2135"/>
                <a:gd name="T75" fmla="*/ 0 h 785"/>
                <a:gd name="T76" fmla="*/ 1096 w 2135"/>
                <a:gd name="T77" fmla="*/ 0 h 785"/>
                <a:gd name="T78" fmla="*/ 1002 w 2135"/>
                <a:gd name="T79" fmla="*/ 102 h 785"/>
                <a:gd name="T80" fmla="*/ 938 w 2135"/>
                <a:gd name="T81" fmla="*/ 156 h 785"/>
                <a:gd name="T82" fmla="*/ 962 w 2135"/>
                <a:gd name="T83" fmla="*/ 186 h 785"/>
                <a:gd name="T84" fmla="*/ 987 w 2135"/>
                <a:gd name="T85" fmla="*/ 212 h 785"/>
                <a:gd name="T86" fmla="*/ 664 w 2135"/>
                <a:gd name="T87" fmla="*/ 285 h 785"/>
                <a:gd name="T88" fmla="*/ 487 w 2135"/>
                <a:gd name="T89" fmla="*/ 304 h 785"/>
                <a:gd name="T90" fmla="*/ 302 w 2135"/>
                <a:gd name="T91" fmla="*/ 316 h 785"/>
                <a:gd name="T92" fmla="*/ 270 w 2135"/>
                <a:gd name="T93" fmla="*/ 391 h 785"/>
                <a:gd name="T94" fmla="*/ 281 w 2135"/>
                <a:gd name="T95" fmla="*/ 350 h 785"/>
                <a:gd name="T96" fmla="*/ 337 w 2135"/>
                <a:gd name="T97" fmla="*/ 292 h 785"/>
                <a:gd name="T98" fmla="*/ 208 w 2135"/>
                <a:gd name="T99" fmla="*/ 177 h 785"/>
                <a:gd name="T100" fmla="*/ 62 w 2135"/>
                <a:gd name="T101" fmla="*/ 86 h 785"/>
                <a:gd name="T102" fmla="*/ 132 w 2135"/>
                <a:gd name="T103" fmla="*/ 230 h 785"/>
                <a:gd name="T104" fmla="*/ 202 w 2135"/>
                <a:gd name="T105" fmla="*/ 373 h 785"/>
                <a:gd name="T106" fmla="*/ 152 w 2135"/>
                <a:gd name="T107" fmla="*/ 422 h 785"/>
                <a:gd name="T108" fmla="*/ 50 w 2135"/>
                <a:gd name="T109" fmla="*/ 516 h 785"/>
                <a:gd name="T110" fmla="*/ 23 w 2135"/>
                <a:gd name="T111" fmla="*/ 539 h 785"/>
                <a:gd name="T112" fmla="*/ 0 w 2135"/>
                <a:gd name="T113" fmla="*/ 560 h 7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135" h="785">
                  <a:moveTo>
                    <a:pt x="0" y="560"/>
                  </a:moveTo>
                  <a:cubicBezTo>
                    <a:pt x="0" y="567"/>
                    <a:pt x="0" y="567"/>
                    <a:pt x="0" y="567"/>
                  </a:cubicBezTo>
                  <a:cubicBezTo>
                    <a:pt x="85" y="579"/>
                    <a:pt x="246" y="502"/>
                    <a:pt x="312" y="470"/>
                  </a:cubicBezTo>
                  <a:cubicBezTo>
                    <a:pt x="348" y="452"/>
                    <a:pt x="356" y="459"/>
                    <a:pt x="398" y="462"/>
                  </a:cubicBezTo>
                  <a:cubicBezTo>
                    <a:pt x="429" y="464"/>
                    <a:pt x="460" y="467"/>
                    <a:pt x="491" y="471"/>
                  </a:cubicBezTo>
                  <a:cubicBezTo>
                    <a:pt x="520" y="474"/>
                    <a:pt x="548" y="480"/>
                    <a:pt x="576" y="488"/>
                  </a:cubicBezTo>
                  <a:cubicBezTo>
                    <a:pt x="590" y="492"/>
                    <a:pt x="602" y="496"/>
                    <a:pt x="615" y="501"/>
                  </a:cubicBezTo>
                  <a:cubicBezTo>
                    <a:pt x="623" y="504"/>
                    <a:pt x="645" y="518"/>
                    <a:pt x="646" y="518"/>
                  </a:cubicBezTo>
                  <a:cubicBezTo>
                    <a:pt x="618" y="515"/>
                    <a:pt x="544" y="487"/>
                    <a:pt x="488" y="480"/>
                  </a:cubicBezTo>
                  <a:cubicBezTo>
                    <a:pt x="463" y="478"/>
                    <a:pt x="452" y="485"/>
                    <a:pt x="435" y="497"/>
                  </a:cubicBezTo>
                  <a:cubicBezTo>
                    <a:pt x="436" y="498"/>
                    <a:pt x="436" y="498"/>
                    <a:pt x="437" y="499"/>
                  </a:cubicBezTo>
                  <a:cubicBezTo>
                    <a:pt x="442" y="504"/>
                    <a:pt x="442" y="504"/>
                    <a:pt x="442" y="504"/>
                  </a:cubicBezTo>
                  <a:cubicBezTo>
                    <a:pt x="479" y="537"/>
                    <a:pt x="527" y="560"/>
                    <a:pt x="567" y="614"/>
                  </a:cubicBezTo>
                  <a:cubicBezTo>
                    <a:pt x="578" y="629"/>
                    <a:pt x="582" y="636"/>
                    <a:pt x="603" y="623"/>
                  </a:cubicBezTo>
                  <a:cubicBezTo>
                    <a:pt x="621" y="611"/>
                    <a:pt x="694" y="554"/>
                    <a:pt x="706" y="539"/>
                  </a:cubicBezTo>
                  <a:cubicBezTo>
                    <a:pt x="727" y="539"/>
                    <a:pt x="838" y="570"/>
                    <a:pt x="872" y="577"/>
                  </a:cubicBezTo>
                  <a:cubicBezTo>
                    <a:pt x="898" y="583"/>
                    <a:pt x="1036" y="602"/>
                    <a:pt x="1046" y="609"/>
                  </a:cubicBezTo>
                  <a:cubicBezTo>
                    <a:pt x="1014" y="644"/>
                    <a:pt x="1014" y="644"/>
                    <a:pt x="1014" y="644"/>
                  </a:cubicBezTo>
                  <a:cubicBezTo>
                    <a:pt x="992" y="671"/>
                    <a:pt x="1043" y="758"/>
                    <a:pt x="1078" y="785"/>
                  </a:cubicBezTo>
                  <a:cubicBezTo>
                    <a:pt x="1088" y="785"/>
                    <a:pt x="1088" y="785"/>
                    <a:pt x="1088" y="785"/>
                  </a:cubicBezTo>
                  <a:cubicBezTo>
                    <a:pt x="1118" y="761"/>
                    <a:pt x="1132" y="727"/>
                    <a:pt x="1147" y="689"/>
                  </a:cubicBezTo>
                  <a:cubicBezTo>
                    <a:pt x="1160" y="658"/>
                    <a:pt x="1182" y="608"/>
                    <a:pt x="1190" y="577"/>
                  </a:cubicBezTo>
                  <a:cubicBezTo>
                    <a:pt x="1166" y="580"/>
                    <a:pt x="1132" y="590"/>
                    <a:pt x="1109" y="582"/>
                  </a:cubicBezTo>
                  <a:cubicBezTo>
                    <a:pt x="1215" y="560"/>
                    <a:pt x="1215" y="560"/>
                    <a:pt x="1215" y="560"/>
                  </a:cubicBezTo>
                  <a:cubicBezTo>
                    <a:pt x="1212" y="587"/>
                    <a:pt x="1199" y="603"/>
                    <a:pt x="1197" y="620"/>
                  </a:cubicBezTo>
                  <a:cubicBezTo>
                    <a:pt x="1524" y="624"/>
                    <a:pt x="1658" y="678"/>
                    <a:pt x="1963" y="536"/>
                  </a:cubicBezTo>
                  <a:cubicBezTo>
                    <a:pt x="1993" y="522"/>
                    <a:pt x="2135" y="438"/>
                    <a:pt x="2125" y="405"/>
                  </a:cubicBezTo>
                  <a:cubicBezTo>
                    <a:pt x="2122" y="393"/>
                    <a:pt x="2120" y="408"/>
                    <a:pt x="2108" y="383"/>
                  </a:cubicBezTo>
                  <a:cubicBezTo>
                    <a:pt x="2102" y="370"/>
                    <a:pt x="2100" y="372"/>
                    <a:pt x="2084" y="367"/>
                  </a:cubicBezTo>
                  <a:cubicBezTo>
                    <a:pt x="2067" y="362"/>
                    <a:pt x="2042" y="350"/>
                    <a:pt x="2027" y="342"/>
                  </a:cubicBezTo>
                  <a:cubicBezTo>
                    <a:pt x="1989" y="324"/>
                    <a:pt x="1952" y="308"/>
                    <a:pt x="1915" y="290"/>
                  </a:cubicBezTo>
                  <a:cubicBezTo>
                    <a:pt x="1840" y="253"/>
                    <a:pt x="1767" y="220"/>
                    <a:pt x="1674" y="204"/>
                  </a:cubicBezTo>
                  <a:cubicBezTo>
                    <a:pt x="1581" y="188"/>
                    <a:pt x="1474" y="177"/>
                    <a:pt x="1378" y="177"/>
                  </a:cubicBezTo>
                  <a:cubicBezTo>
                    <a:pt x="1324" y="177"/>
                    <a:pt x="1274" y="180"/>
                    <a:pt x="1221" y="184"/>
                  </a:cubicBezTo>
                  <a:cubicBezTo>
                    <a:pt x="1172" y="188"/>
                    <a:pt x="1118" y="198"/>
                    <a:pt x="1072" y="200"/>
                  </a:cubicBezTo>
                  <a:cubicBezTo>
                    <a:pt x="1074" y="198"/>
                    <a:pt x="1073" y="198"/>
                    <a:pt x="1079" y="196"/>
                  </a:cubicBezTo>
                  <a:cubicBezTo>
                    <a:pt x="1245" y="164"/>
                    <a:pt x="1245" y="164"/>
                    <a:pt x="1245" y="164"/>
                  </a:cubicBezTo>
                  <a:cubicBezTo>
                    <a:pt x="1230" y="130"/>
                    <a:pt x="1145" y="30"/>
                    <a:pt x="1111" y="0"/>
                  </a:cubicBezTo>
                  <a:cubicBezTo>
                    <a:pt x="1096" y="0"/>
                    <a:pt x="1096" y="0"/>
                    <a:pt x="1096" y="0"/>
                  </a:cubicBezTo>
                  <a:cubicBezTo>
                    <a:pt x="1066" y="25"/>
                    <a:pt x="1034" y="73"/>
                    <a:pt x="1002" y="102"/>
                  </a:cubicBezTo>
                  <a:cubicBezTo>
                    <a:pt x="985" y="118"/>
                    <a:pt x="963" y="146"/>
                    <a:pt x="938" y="156"/>
                  </a:cubicBezTo>
                  <a:cubicBezTo>
                    <a:pt x="944" y="170"/>
                    <a:pt x="952" y="176"/>
                    <a:pt x="962" y="186"/>
                  </a:cubicBezTo>
                  <a:cubicBezTo>
                    <a:pt x="969" y="195"/>
                    <a:pt x="980" y="202"/>
                    <a:pt x="987" y="212"/>
                  </a:cubicBezTo>
                  <a:cubicBezTo>
                    <a:pt x="969" y="227"/>
                    <a:pt x="710" y="276"/>
                    <a:pt x="664" y="285"/>
                  </a:cubicBezTo>
                  <a:cubicBezTo>
                    <a:pt x="603" y="297"/>
                    <a:pt x="550" y="301"/>
                    <a:pt x="487" y="304"/>
                  </a:cubicBezTo>
                  <a:cubicBezTo>
                    <a:pt x="426" y="306"/>
                    <a:pt x="358" y="300"/>
                    <a:pt x="302" y="316"/>
                  </a:cubicBezTo>
                  <a:cubicBezTo>
                    <a:pt x="294" y="357"/>
                    <a:pt x="308" y="375"/>
                    <a:pt x="270" y="391"/>
                  </a:cubicBezTo>
                  <a:cubicBezTo>
                    <a:pt x="276" y="373"/>
                    <a:pt x="280" y="374"/>
                    <a:pt x="281" y="350"/>
                  </a:cubicBezTo>
                  <a:cubicBezTo>
                    <a:pt x="282" y="296"/>
                    <a:pt x="271" y="296"/>
                    <a:pt x="337" y="292"/>
                  </a:cubicBezTo>
                  <a:cubicBezTo>
                    <a:pt x="326" y="273"/>
                    <a:pt x="230" y="192"/>
                    <a:pt x="208" y="177"/>
                  </a:cubicBezTo>
                  <a:cubicBezTo>
                    <a:pt x="62" y="86"/>
                    <a:pt x="62" y="86"/>
                    <a:pt x="62" y="86"/>
                  </a:cubicBezTo>
                  <a:cubicBezTo>
                    <a:pt x="82" y="136"/>
                    <a:pt x="107" y="184"/>
                    <a:pt x="132" y="230"/>
                  </a:cubicBezTo>
                  <a:cubicBezTo>
                    <a:pt x="149" y="260"/>
                    <a:pt x="197" y="340"/>
                    <a:pt x="202" y="373"/>
                  </a:cubicBezTo>
                  <a:cubicBezTo>
                    <a:pt x="186" y="390"/>
                    <a:pt x="169" y="406"/>
                    <a:pt x="152" y="422"/>
                  </a:cubicBezTo>
                  <a:cubicBezTo>
                    <a:pt x="116" y="453"/>
                    <a:pt x="86" y="486"/>
                    <a:pt x="50" y="516"/>
                  </a:cubicBezTo>
                  <a:cubicBezTo>
                    <a:pt x="40" y="524"/>
                    <a:pt x="34" y="531"/>
                    <a:pt x="23" y="539"/>
                  </a:cubicBezTo>
                  <a:cubicBezTo>
                    <a:pt x="14" y="547"/>
                    <a:pt x="11" y="554"/>
                    <a:pt x="0" y="560"/>
                  </a:cubicBezTo>
                  <a:close/>
                </a:path>
              </a:pathLst>
            </a:custGeom>
            <a:solidFill>
              <a:srgbClr val="A5C4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cs typeface="+mn-cs"/>
              </a:endParaRPr>
            </a:p>
          </p:txBody>
        </p:sp>
        <p:sp>
          <p:nvSpPr>
            <p:cNvPr id="24" name="Freeform 24">
              <a:extLst>
                <a:ext uri="{FF2B5EF4-FFF2-40B4-BE49-F238E27FC236}">
                  <a16:creationId xmlns:a16="http://schemas.microsoft.com/office/drawing/2014/main" id="{4FE004FD-2518-47FF-A799-67D8E3B4E416}"/>
                </a:ext>
              </a:extLst>
            </p:cNvPr>
            <p:cNvSpPr>
              <a:spLocks noEditPoints="1"/>
            </p:cNvSpPr>
            <p:nvPr/>
          </p:nvSpPr>
          <p:spPr bwMode="auto">
            <a:xfrm>
              <a:off x="820" y="2340"/>
              <a:ext cx="2764" cy="515"/>
            </a:xfrm>
            <a:custGeom>
              <a:avLst/>
              <a:gdLst>
                <a:gd name="T0" fmla="*/ 2071 w 2071"/>
                <a:gd name="T1" fmla="*/ 385 h 385"/>
                <a:gd name="T2" fmla="*/ 1965 w 2071"/>
                <a:gd name="T3" fmla="*/ 343 h 385"/>
                <a:gd name="T4" fmla="*/ 1853 w 2071"/>
                <a:gd name="T5" fmla="*/ 291 h 385"/>
                <a:gd name="T6" fmla="*/ 1611 w 2071"/>
                <a:gd name="T7" fmla="*/ 204 h 385"/>
                <a:gd name="T8" fmla="*/ 1315 w 2071"/>
                <a:gd name="T9" fmla="*/ 177 h 385"/>
                <a:gd name="T10" fmla="*/ 1159 w 2071"/>
                <a:gd name="T11" fmla="*/ 184 h 385"/>
                <a:gd name="T12" fmla="*/ 1009 w 2071"/>
                <a:gd name="T13" fmla="*/ 200 h 385"/>
                <a:gd name="T14" fmla="*/ 1017 w 2071"/>
                <a:gd name="T15" fmla="*/ 196 h 385"/>
                <a:gd name="T16" fmla="*/ 1183 w 2071"/>
                <a:gd name="T17" fmla="*/ 164 h 385"/>
                <a:gd name="T18" fmla="*/ 1049 w 2071"/>
                <a:gd name="T19" fmla="*/ 0 h 385"/>
                <a:gd name="T20" fmla="*/ 1034 w 2071"/>
                <a:gd name="T21" fmla="*/ 0 h 385"/>
                <a:gd name="T22" fmla="*/ 940 w 2071"/>
                <a:gd name="T23" fmla="*/ 102 h 385"/>
                <a:gd name="T24" fmla="*/ 875 w 2071"/>
                <a:gd name="T25" fmla="*/ 156 h 385"/>
                <a:gd name="T26" fmla="*/ 899 w 2071"/>
                <a:gd name="T27" fmla="*/ 187 h 385"/>
                <a:gd name="T28" fmla="*/ 925 w 2071"/>
                <a:gd name="T29" fmla="*/ 213 h 385"/>
                <a:gd name="T30" fmla="*/ 602 w 2071"/>
                <a:gd name="T31" fmla="*/ 285 h 385"/>
                <a:gd name="T32" fmla="*/ 425 w 2071"/>
                <a:gd name="T33" fmla="*/ 304 h 385"/>
                <a:gd name="T34" fmla="*/ 240 w 2071"/>
                <a:gd name="T35" fmla="*/ 316 h 385"/>
                <a:gd name="T36" fmla="*/ 234 w 2071"/>
                <a:gd name="T37" fmla="*/ 366 h 385"/>
                <a:gd name="T38" fmla="*/ 2071 w 2071"/>
                <a:gd name="T39" fmla="*/ 385 h 385"/>
                <a:gd name="T40" fmla="*/ 217 w 2071"/>
                <a:gd name="T41" fmla="*/ 366 h 385"/>
                <a:gd name="T42" fmla="*/ 138 w 2071"/>
                <a:gd name="T43" fmla="*/ 366 h 385"/>
                <a:gd name="T44" fmla="*/ 70 w 2071"/>
                <a:gd name="T45" fmla="*/ 230 h 385"/>
                <a:gd name="T46" fmla="*/ 0 w 2071"/>
                <a:gd name="T47" fmla="*/ 86 h 385"/>
                <a:gd name="T48" fmla="*/ 147 w 2071"/>
                <a:gd name="T49" fmla="*/ 176 h 385"/>
                <a:gd name="T50" fmla="*/ 275 w 2071"/>
                <a:gd name="T51" fmla="*/ 292 h 385"/>
                <a:gd name="T52" fmla="*/ 219 w 2071"/>
                <a:gd name="T53" fmla="*/ 350 h 385"/>
                <a:gd name="T54" fmla="*/ 217 w 2071"/>
                <a:gd name="T55" fmla="*/ 366 h 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71" h="385">
                  <a:moveTo>
                    <a:pt x="2071" y="385"/>
                  </a:moveTo>
                  <a:cubicBezTo>
                    <a:pt x="2055" y="379"/>
                    <a:pt x="1978" y="350"/>
                    <a:pt x="1965" y="343"/>
                  </a:cubicBezTo>
                  <a:cubicBezTo>
                    <a:pt x="1927" y="324"/>
                    <a:pt x="1890" y="309"/>
                    <a:pt x="1853" y="291"/>
                  </a:cubicBezTo>
                  <a:cubicBezTo>
                    <a:pt x="1777" y="254"/>
                    <a:pt x="1705" y="220"/>
                    <a:pt x="1611" y="204"/>
                  </a:cubicBezTo>
                  <a:cubicBezTo>
                    <a:pt x="1519" y="188"/>
                    <a:pt x="1412" y="177"/>
                    <a:pt x="1315" y="177"/>
                  </a:cubicBezTo>
                  <a:cubicBezTo>
                    <a:pt x="1262" y="177"/>
                    <a:pt x="1211" y="180"/>
                    <a:pt x="1159" y="184"/>
                  </a:cubicBezTo>
                  <a:cubicBezTo>
                    <a:pt x="1110" y="188"/>
                    <a:pt x="1056" y="198"/>
                    <a:pt x="1009" y="200"/>
                  </a:cubicBezTo>
                  <a:cubicBezTo>
                    <a:pt x="1012" y="198"/>
                    <a:pt x="1011" y="199"/>
                    <a:pt x="1017" y="196"/>
                  </a:cubicBezTo>
                  <a:cubicBezTo>
                    <a:pt x="1183" y="164"/>
                    <a:pt x="1183" y="164"/>
                    <a:pt x="1183" y="164"/>
                  </a:cubicBezTo>
                  <a:cubicBezTo>
                    <a:pt x="1167" y="131"/>
                    <a:pt x="1083" y="30"/>
                    <a:pt x="1049" y="0"/>
                  </a:cubicBezTo>
                  <a:cubicBezTo>
                    <a:pt x="1034" y="0"/>
                    <a:pt x="1034" y="0"/>
                    <a:pt x="1034" y="0"/>
                  </a:cubicBezTo>
                  <a:cubicBezTo>
                    <a:pt x="1004" y="25"/>
                    <a:pt x="971" y="73"/>
                    <a:pt x="940" y="102"/>
                  </a:cubicBezTo>
                  <a:cubicBezTo>
                    <a:pt x="923" y="118"/>
                    <a:pt x="901" y="146"/>
                    <a:pt x="875" y="156"/>
                  </a:cubicBezTo>
                  <a:cubicBezTo>
                    <a:pt x="881" y="170"/>
                    <a:pt x="890" y="176"/>
                    <a:pt x="899" y="187"/>
                  </a:cubicBezTo>
                  <a:cubicBezTo>
                    <a:pt x="907" y="196"/>
                    <a:pt x="917" y="202"/>
                    <a:pt x="925" y="213"/>
                  </a:cubicBezTo>
                  <a:cubicBezTo>
                    <a:pt x="907" y="227"/>
                    <a:pt x="648" y="276"/>
                    <a:pt x="602" y="285"/>
                  </a:cubicBezTo>
                  <a:cubicBezTo>
                    <a:pt x="541" y="297"/>
                    <a:pt x="488" y="301"/>
                    <a:pt x="425" y="304"/>
                  </a:cubicBezTo>
                  <a:cubicBezTo>
                    <a:pt x="363" y="307"/>
                    <a:pt x="296" y="300"/>
                    <a:pt x="240" y="316"/>
                  </a:cubicBezTo>
                  <a:cubicBezTo>
                    <a:pt x="236" y="338"/>
                    <a:pt x="238" y="354"/>
                    <a:pt x="234" y="366"/>
                  </a:cubicBezTo>
                  <a:cubicBezTo>
                    <a:pt x="2071" y="385"/>
                    <a:pt x="2071" y="385"/>
                    <a:pt x="2071" y="385"/>
                  </a:cubicBezTo>
                  <a:close/>
                  <a:moveTo>
                    <a:pt x="217" y="366"/>
                  </a:moveTo>
                  <a:cubicBezTo>
                    <a:pt x="138" y="366"/>
                    <a:pt x="138" y="366"/>
                    <a:pt x="138" y="366"/>
                  </a:cubicBezTo>
                  <a:cubicBezTo>
                    <a:pt x="129" y="329"/>
                    <a:pt x="86" y="258"/>
                    <a:pt x="70" y="230"/>
                  </a:cubicBezTo>
                  <a:cubicBezTo>
                    <a:pt x="45" y="184"/>
                    <a:pt x="20" y="135"/>
                    <a:pt x="0" y="86"/>
                  </a:cubicBezTo>
                  <a:cubicBezTo>
                    <a:pt x="147" y="176"/>
                    <a:pt x="147" y="176"/>
                    <a:pt x="147" y="176"/>
                  </a:cubicBezTo>
                  <a:cubicBezTo>
                    <a:pt x="168" y="191"/>
                    <a:pt x="265" y="272"/>
                    <a:pt x="275" y="292"/>
                  </a:cubicBezTo>
                  <a:cubicBezTo>
                    <a:pt x="209" y="296"/>
                    <a:pt x="220" y="296"/>
                    <a:pt x="219" y="350"/>
                  </a:cubicBezTo>
                  <a:cubicBezTo>
                    <a:pt x="219" y="357"/>
                    <a:pt x="218" y="362"/>
                    <a:pt x="217" y="366"/>
                  </a:cubicBezTo>
                  <a:close/>
                </a:path>
              </a:pathLst>
            </a:custGeom>
            <a:solidFill>
              <a:srgbClr val="C9E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cs typeface="+mn-cs"/>
              </a:endParaRPr>
            </a:p>
          </p:txBody>
        </p:sp>
        <p:sp>
          <p:nvSpPr>
            <p:cNvPr id="25" name="Oval 25">
              <a:extLst>
                <a:ext uri="{FF2B5EF4-FFF2-40B4-BE49-F238E27FC236}">
                  <a16:creationId xmlns:a16="http://schemas.microsoft.com/office/drawing/2014/main" id="{16C7EDE9-DD67-49F7-B024-825CDE76FD82}"/>
                </a:ext>
              </a:extLst>
            </p:cNvPr>
            <p:cNvSpPr>
              <a:spLocks noChangeArrowheads="1"/>
            </p:cNvSpPr>
            <p:nvPr/>
          </p:nvSpPr>
          <p:spPr bwMode="auto">
            <a:xfrm>
              <a:off x="3260" y="2765"/>
              <a:ext cx="110" cy="112"/>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cs typeface="+mn-cs"/>
              </a:endParaRPr>
            </a:p>
          </p:txBody>
        </p:sp>
        <p:sp>
          <p:nvSpPr>
            <p:cNvPr id="26" name="Freeform 26">
              <a:extLst>
                <a:ext uri="{FF2B5EF4-FFF2-40B4-BE49-F238E27FC236}">
                  <a16:creationId xmlns:a16="http://schemas.microsoft.com/office/drawing/2014/main" id="{F15E82B4-1F28-4D9C-ABDB-4A83CF3C04CF}"/>
                </a:ext>
              </a:extLst>
            </p:cNvPr>
            <p:cNvSpPr>
              <a:spLocks/>
            </p:cNvSpPr>
            <p:nvPr/>
          </p:nvSpPr>
          <p:spPr bwMode="auto">
            <a:xfrm>
              <a:off x="3070" y="2724"/>
              <a:ext cx="182" cy="280"/>
            </a:xfrm>
            <a:custGeom>
              <a:avLst/>
              <a:gdLst>
                <a:gd name="T0" fmla="*/ 92 w 136"/>
                <a:gd name="T1" fmla="*/ 180 h 209"/>
                <a:gd name="T2" fmla="*/ 21 w 136"/>
                <a:gd name="T3" fmla="*/ 132 h 209"/>
                <a:gd name="T4" fmla="*/ 42 w 136"/>
                <a:gd name="T5" fmla="*/ 57 h 209"/>
                <a:gd name="T6" fmla="*/ 16 w 136"/>
                <a:gd name="T7" fmla="*/ 95 h 209"/>
                <a:gd name="T8" fmla="*/ 0 w 136"/>
                <a:gd name="T9" fmla="*/ 139 h 209"/>
                <a:gd name="T10" fmla="*/ 62 w 136"/>
                <a:gd name="T11" fmla="*/ 175 h 209"/>
                <a:gd name="T12" fmla="*/ 96 w 136"/>
                <a:gd name="T13" fmla="*/ 191 h 209"/>
                <a:gd name="T14" fmla="*/ 129 w 136"/>
                <a:gd name="T15" fmla="*/ 209 h 209"/>
                <a:gd name="T16" fmla="*/ 81 w 136"/>
                <a:gd name="T17" fmla="*/ 74 h 209"/>
                <a:gd name="T18" fmla="*/ 135 w 136"/>
                <a:gd name="T19" fmla="*/ 125 h 209"/>
                <a:gd name="T20" fmla="*/ 100 w 136"/>
                <a:gd name="T21" fmla="*/ 73 h 209"/>
                <a:gd name="T22" fmla="*/ 85 w 136"/>
                <a:gd name="T23" fmla="*/ 0 h 209"/>
                <a:gd name="T24" fmla="*/ 71 w 136"/>
                <a:gd name="T25" fmla="*/ 41 h 209"/>
                <a:gd name="T26" fmla="*/ 60 w 136"/>
                <a:gd name="T27" fmla="*/ 91 h 209"/>
                <a:gd name="T28" fmla="*/ 92 w 136"/>
                <a:gd name="T29" fmla="*/ 180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6" h="209">
                  <a:moveTo>
                    <a:pt x="92" y="180"/>
                  </a:moveTo>
                  <a:cubicBezTo>
                    <a:pt x="62" y="175"/>
                    <a:pt x="61" y="146"/>
                    <a:pt x="21" y="132"/>
                  </a:cubicBezTo>
                  <a:cubicBezTo>
                    <a:pt x="42" y="57"/>
                    <a:pt x="42" y="57"/>
                    <a:pt x="42" y="57"/>
                  </a:cubicBezTo>
                  <a:cubicBezTo>
                    <a:pt x="25" y="66"/>
                    <a:pt x="23" y="73"/>
                    <a:pt x="16" y="95"/>
                  </a:cubicBezTo>
                  <a:cubicBezTo>
                    <a:pt x="11" y="111"/>
                    <a:pt x="0" y="123"/>
                    <a:pt x="0" y="139"/>
                  </a:cubicBezTo>
                  <a:cubicBezTo>
                    <a:pt x="24" y="151"/>
                    <a:pt x="38" y="163"/>
                    <a:pt x="62" y="175"/>
                  </a:cubicBezTo>
                  <a:cubicBezTo>
                    <a:pt x="73" y="181"/>
                    <a:pt x="84" y="185"/>
                    <a:pt x="96" y="191"/>
                  </a:cubicBezTo>
                  <a:cubicBezTo>
                    <a:pt x="109" y="197"/>
                    <a:pt x="111" y="203"/>
                    <a:pt x="129" y="209"/>
                  </a:cubicBezTo>
                  <a:cubicBezTo>
                    <a:pt x="91" y="169"/>
                    <a:pt x="77" y="150"/>
                    <a:pt x="81" y="74"/>
                  </a:cubicBezTo>
                  <a:cubicBezTo>
                    <a:pt x="98" y="84"/>
                    <a:pt x="131" y="101"/>
                    <a:pt x="135" y="125"/>
                  </a:cubicBezTo>
                  <a:cubicBezTo>
                    <a:pt x="136" y="88"/>
                    <a:pt x="122" y="87"/>
                    <a:pt x="100" y="73"/>
                  </a:cubicBezTo>
                  <a:cubicBezTo>
                    <a:pt x="71" y="54"/>
                    <a:pt x="93" y="23"/>
                    <a:pt x="85" y="0"/>
                  </a:cubicBezTo>
                  <a:cubicBezTo>
                    <a:pt x="73" y="19"/>
                    <a:pt x="79" y="27"/>
                    <a:pt x="71" y="41"/>
                  </a:cubicBezTo>
                  <a:cubicBezTo>
                    <a:pt x="63" y="55"/>
                    <a:pt x="56" y="57"/>
                    <a:pt x="60" y="91"/>
                  </a:cubicBezTo>
                  <a:cubicBezTo>
                    <a:pt x="63" y="123"/>
                    <a:pt x="79" y="156"/>
                    <a:pt x="92" y="180"/>
                  </a:cubicBezTo>
                  <a:close/>
                </a:path>
              </a:pathLst>
            </a:custGeom>
            <a:solidFill>
              <a:srgbClr val="799EA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cs typeface="+mn-cs"/>
              </a:endParaRPr>
            </a:p>
          </p:txBody>
        </p:sp>
        <p:sp>
          <p:nvSpPr>
            <p:cNvPr id="27" name="Freeform 27">
              <a:extLst>
                <a:ext uri="{FF2B5EF4-FFF2-40B4-BE49-F238E27FC236}">
                  <a16:creationId xmlns:a16="http://schemas.microsoft.com/office/drawing/2014/main" id="{1AB9DDAD-2024-4AE6-B2F2-0ECB1C116DED}"/>
                </a:ext>
              </a:extLst>
            </p:cNvPr>
            <p:cNvSpPr>
              <a:spLocks noEditPoints="1"/>
            </p:cNvSpPr>
            <p:nvPr/>
          </p:nvSpPr>
          <p:spPr bwMode="auto">
            <a:xfrm>
              <a:off x="3069" y="2848"/>
              <a:ext cx="181" cy="156"/>
            </a:xfrm>
            <a:custGeom>
              <a:avLst/>
              <a:gdLst>
                <a:gd name="T0" fmla="*/ 93 w 136"/>
                <a:gd name="T1" fmla="*/ 87 h 116"/>
                <a:gd name="T2" fmla="*/ 22 w 136"/>
                <a:gd name="T3" fmla="*/ 39 h 116"/>
                <a:gd name="T4" fmla="*/ 33 w 136"/>
                <a:gd name="T5" fmla="*/ 0 h 116"/>
                <a:gd name="T6" fmla="*/ 17 w 136"/>
                <a:gd name="T7" fmla="*/ 0 h 116"/>
                <a:gd name="T8" fmla="*/ 17 w 136"/>
                <a:gd name="T9" fmla="*/ 2 h 116"/>
                <a:gd name="T10" fmla="*/ 0 w 136"/>
                <a:gd name="T11" fmla="*/ 46 h 116"/>
                <a:gd name="T12" fmla="*/ 63 w 136"/>
                <a:gd name="T13" fmla="*/ 82 h 116"/>
                <a:gd name="T14" fmla="*/ 97 w 136"/>
                <a:gd name="T15" fmla="*/ 98 h 116"/>
                <a:gd name="T16" fmla="*/ 129 w 136"/>
                <a:gd name="T17" fmla="*/ 116 h 116"/>
                <a:gd name="T18" fmla="*/ 81 w 136"/>
                <a:gd name="T19" fmla="*/ 0 h 116"/>
                <a:gd name="T20" fmla="*/ 61 w 136"/>
                <a:gd name="T21" fmla="*/ 0 h 116"/>
                <a:gd name="T22" fmla="*/ 93 w 136"/>
                <a:gd name="T23" fmla="*/ 87 h 116"/>
                <a:gd name="T24" fmla="*/ 112 w 136"/>
                <a:gd name="T25" fmla="*/ 0 h 116"/>
                <a:gd name="T26" fmla="*/ 129 w 136"/>
                <a:gd name="T27" fmla="*/ 0 h 116"/>
                <a:gd name="T28" fmla="*/ 136 w 136"/>
                <a:gd name="T29" fmla="*/ 32 h 116"/>
                <a:gd name="T30" fmla="*/ 112 w 136"/>
                <a:gd name="T31"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6" h="116">
                  <a:moveTo>
                    <a:pt x="93" y="87"/>
                  </a:moveTo>
                  <a:cubicBezTo>
                    <a:pt x="63" y="82"/>
                    <a:pt x="62" y="53"/>
                    <a:pt x="22" y="39"/>
                  </a:cubicBezTo>
                  <a:cubicBezTo>
                    <a:pt x="33" y="0"/>
                    <a:pt x="33" y="0"/>
                    <a:pt x="33" y="0"/>
                  </a:cubicBezTo>
                  <a:cubicBezTo>
                    <a:pt x="17" y="0"/>
                    <a:pt x="17" y="0"/>
                    <a:pt x="17" y="0"/>
                  </a:cubicBezTo>
                  <a:cubicBezTo>
                    <a:pt x="17" y="2"/>
                    <a:pt x="17" y="2"/>
                    <a:pt x="17" y="2"/>
                  </a:cubicBezTo>
                  <a:cubicBezTo>
                    <a:pt x="11" y="18"/>
                    <a:pt x="1" y="30"/>
                    <a:pt x="0" y="46"/>
                  </a:cubicBezTo>
                  <a:cubicBezTo>
                    <a:pt x="25" y="58"/>
                    <a:pt x="39" y="70"/>
                    <a:pt x="63" y="82"/>
                  </a:cubicBezTo>
                  <a:cubicBezTo>
                    <a:pt x="74" y="88"/>
                    <a:pt x="84" y="92"/>
                    <a:pt x="97" y="98"/>
                  </a:cubicBezTo>
                  <a:cubicBezTo>
                    <a:pt x="110" y="104"/>
                    <a:pt x="112" y="110"/>
                    <a:pt x="129" y="116"/>
                  </a:cubicBezTo>
                  <a:cubicBezTo>
                    <a:pt x="95" y="80"/>
                    <a:pt x="80" y="60"/>
                    <a:pt x="81" y="0"/>
                  </a:cubicBezTo>
                  <a:cubicBezTo>
                    <a:pt x="61" y="0"/>
                    <a:pt x="61" y="0"/>
                    <a:pt x="61" y="0"/>
                  </a:cubicBezTo>
                  <a:cubicBezTo>
                    <a:pt x="65" y="32"/>
                    <a:pt x="80" y="64"/>
                    <a:pt x="93" y="87"/>
                  </a:cubicBezTo>
                  <a:close/>
                  <a:moveTo>
                    <a:pt x="112" y="0"/>
                  </a:moveTo>
                  <a:cubicBezTo>
                    <a:pt x="129" y="0"/>
                    <a:pt x="129" y="0"/>
                    <a:pt x="129" y="0"/>
                  </a:cubicBezTo>
                  <a:cubicBezTo>
                    <a:pt x="134" y="7"/>
                    <a:pt x="136" y="16"/>
                    <a:pt x="136" y="32"/>
                  </a:cubicBezTo>
                  <a:cubicBezTo>
                    <a:pt x="134" y="20"/>
                    <a:pt x="124" y="9"/>
                    <a:pt x="112" y="0"/>
                  </a:cubicBezTo>
                  <a:close/>
                </a:path>
              </a:pathLst>
            </a:custGeom>
            <a:solidFill>
              <a:srgbClr val="8EB3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cs typeface="+mn-cs"/>
              </a:endParaRPr>
            </a:p>
          </p:txBody>
        </p:sp>
        <p:sp>
          <p:nvSpPr>
            <p:cNvPr id="28" name="Freeform 28">
              <a:extLst>
                <a:ext uri="{FF2B5EF4-FFF2-40B4-BE49-F238E27FC236}">
                  <a16:creationId xmlns:a16="http://schemas.microsoft.com/office/drawing/2014/main" id="{25F8DE3B-38D3-4C5B-B5F3-E6B3197572A0}"/>
                </a:ext>
              </a:extLst>
            </p:cNvPr>
            <p:cNvSpPr>
              <a:spLocks/>
            </p:cNvSpPr>
            <p:nvPr/>
          </p:nvSpPr>
          <p:spPr bwMode="auto">
            <a:xfrm>
              <a:off x="2719" y="2906"/>
              <a:ext cx="374" cy="197"/>
            </a:xfrm>
            <a:custGeom>
              <a:avLst/>
              <a:gdLst>
                <a:gd name="T0" fmla="*/ 126 w 280"/>
                <a:gd name="T1" fmla="*/ 147 h 147"/>
                <a:gd name="T2" fmla="*/ 116 w 280"/>
                <a:gd name="T3" fmla="*/ 135 h 147"/>
                <a:gd name="T4" fmla="*/ 67 w 280"/>
                <a:gd name="T5" fmla="*/ 32 h 147"/>
                <a:gd name="T6" fmla="*/ 246 w 280"/>
                <a:gd name="T7" fmla="*/ 85 h 147"/>
                <a:gd name="T8" fmla="*/ 250 w 280"/>
                <a:gd name="T9" fmla="*/ 123 h 147"/>
                <a:gd name="T10" fmla="*/ 280 w 280"/>
                <a:gd name="T11" fmla="*/ 92 h 147"/>
                <a:gd name="T12" fmla="*/ 278 w 280"/>
                <a:gd name="T13" fmla="*/ 90 h 147"/>
                <a:gd name="T14" fmla="*/ 262 w 280"/>
                <a:gd name="T15" fmla="*/ 79 h 147"/>
                <a:gd name="T16" fmla="*/ 99 w 280"/>
                <a:gd name="T17" fmla="*/ 12 h 147"/>
                <a:gd name="T18" fmla="*/ 126 w 280"/>
                <a:gd name="T19" fmla="*/ 147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0" h="147">
                  <a:moveTo>
                    <a:pt x="126" y="147"/>
                  </a:moveTo>
                  <a:cubicBezTo>
                    <a:pt x="119" y="134"/>
                    <a:pt x="125" y="144"/>
                    <a:pt x="116" y="135"/>
                  </a:cubicBezTo>
                  <a:cubicBezTo>
                    <a:pt x="95" y="114"/>
                    <a:pt x="61" y="67"/>
                    <a:pt x="67" y="32"/>
                  </a:cubicBezTo>
                  <a:cubicBezTo>
                    <a:pt x="104" y="9"/>
                    <a:pt x="211" y="71"/>
                    <a:pt x="246" y="85"/>
                  </a:cubicBezTo>
                  <a:cubicBezTo>
                    <a:pt x="243" y="107"/>
                    <a:pt x="234" y="100"/>
                    <a:pt x="250" y="123"/>
                  </a:cubicBezTo>
                  <a:cubicBezTo>
                    <a:pt x="261" y="105"/>
                    <a:pt x="259" y="99"/>
                    <a:pt x="280" y="92"/>
                  </a:cubicBezTo>
                  <a:cubicBezTo>
                    <a:pt x="280" y="91"/>
                    <a:pt x="278" y="89"/>
                    <a:pt x="278" y="90"/>
                  </a:cubicBezTo>
                  <a:cubicBezTo>
                    <a:pt x="262" y="79"/>
                    <a:pt x="262" y="79"/>
                    <a:pt x="262" y="79"/>
                  </a:cubicBezTo>
                  <a:cubicBezTo>
                    <a:pt x="210" y="51"/>
                    <a:pt x="159" y="19"/>
                    <a:pt x="99" y="12"/>
                  </a:cubicBezTo>
                  <a:cubicBezTo>
                    <a:pt x="0" y="0"/>
                    <a:pt x="61" y="117"/>
                    <a:pt x="126" y="147"/>
                  </a:cubicBezTo>
                  <a:close/>
                </a:path>
              </a:pathLst>
            </a:custGeom>
            <a:solidFill>
              <a:srgbClr val="8EB3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cs typeface="+mn-cs"/>
              </a:endParaRPr>
            </a:p>
          </p:txBody>
        </p:sp>
        <p:sp>
          <p:nvSpPr>
            <p:cNvPr id="29" name="Freeform 29">
              <a:extLst>
                <a:ext uri="{FF2B5EF4-FFF2-40B4-BE49-F238E27FC236}">
                  <a16:creationId xmlns:a16="http://schemas.microsoft.com/office/drawing/2014/main" id="{BFB44C97-A17F-46C3-96C7-5CE108C04F0C}"/>
                </a:ext>
              </a:extLst>
            </p:cNvPr>
            <p:cNvSpPr>
              <a:spLocks/>
            </p:cNvSpPr>
            <p:nvPr/>
          </p:nvSpPr>
          <p:spPr bwMode="auto">
            <a:xfrm>
              <a:off x="3284" y="2902"/>
              <a:ext cx="152" cy="70"/>
            </a:xfrm>
            <a:custGeom>
              <a:avLst/>
              <a:gdLst>
                <a:gd name="T0" fmla="*/ 114 w 114"/>
                <a:gd name="T1" fmla="*/ 21 h 52"/>
                <a:gd name="T2" fmla="*/ 55 w 114"/>
                <a:gd name="T3" fmla="*/ 4 h 52"/>
                <a:gd name="T4" fmla="*/ 5 w 114"/>
                <a:gd name="T5" fmla="*/ 31 h 52"/>
                <a:gd name="T6" fmla="*/ 61 w 114"/>
                <a:gd name="T7" fmla="*/ 48 h 52"/>
                <a:gd name="T8" fmla="*/ 114 w 114"/>
                <a:gd name="T9" fmla="*/ 21 h 52"/>
              </a:gdLst>
              <a:ahLst/>
              <a:cxnLst>
                <a:cxn ang="0">
                  <a:pos x="T0" y="T1"/>
                </a:cxn>
                <a:cxn ang="0">
                  <a:pos x="T2" y="T3"/>
                </a:cxn>
                <a:cxn ang="0">
                  <a:pos x="T4" y="T5"/>
                </a:cxn>
                <a:cxn ang="0">
                  <a:pos x="T6" y="T7"/>
                </a:cxn>
                <a:cxn ang="0">
                  <a:pos x="T8" y="T9"/>
                </a:cxn>
              </a:cxnLst>
              <a:rect l="0" t="0" r="r" b="b"/>
              <a:pathLst>
                <a:path w="114" h="52">
                  <a:moveTo>
                    <a:pt x="114" y="21"/>
                  </a:moveTo>
                  <a:cubicBezTo>
                    <a:pt x="100" y="0"/>
                    <a:pt x="78" y="4"/>
                    <a:pt x="55" y="4"/>
                  </a:cubicBezTo>
                  <a:cubicBezTo>
                    <a:pt x="37" y="4"/>
                    <a:pt x="0" y="2"/>
                    <a:pt x="5" y="31"/>
                  </a:cubicBezTo>
                  <a:cubicBezTo>
                    <a:pt x="9" y="52"/>
                    <a:pt x="46" y="52"/>
                    <a:pt x="61" y="48"/>
                  </a:cubicBezTo>
                  <a:cubicBezTo>
                    <a:pt x="76" y="45"/>
                    <a:pt x="105" y="34"/>
                    <a:pt x="114" y="21"/>
                  </a:cubicBezTo>
                  <a:close/>
                </a:path>
              </a:pathLst>
            </a:custGeom>
            <a:solidFill>
              <a:srgbClr val="BFDB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cs typeface="+mn-cs"/>
              </a:endParaRPr>
            </a:p>
          </p:txBody>
        </p:sp>
        <p:sp>
          <p:nvSpPr>
            <p:cNvPr id="30" name="Freeform 30">
              <a:extLst>
                <a:ext uri="{FF2B5EF4-FFF2-40B4-BE49-F238E27FC236}">
                  <a16:creationId xmlns:a16="http://schemas.microsoft.com/office/drawing/2014/main" id="{DF68E204-CEA0-41D4-96F6-85F84EEFF9D0}"/>
                </a:ext>
              </a:extLst>
            </p:cNvPr>
            <p:cNvSpPr>
              <a:spLocks/>
            </p:cNvSpPr>
            <p:nvPr/>
          </p:nvSpPr>
          <p:spPr bwMode="auto">
            <a:xfrm>
              <a:off x="3289" y="2930"/>
              <a:ext cx="147" cy="42"/>
            </a:xfrm>
            <a:custGeom>
              <a:avLst/>
              <a:gdLst>
                <a:gd name="T0" fmla="*/ 110 w 110"/>
                <a:gd name="T1" fmla="*/ 0 h 31"/>
                <a:gd name="T2" fmla="*/ 109 w 110"/>
                <a:gd name="T3" fmla="*/ 0 h 31"/>
                <a:gd name="T4" fmla="*/ 1 w 110"/>
                <a:gd name="T5" fmla="*/ 0 h 31"/>
                <a:gd name="T6" fmla="*/ 1 w 110"/>
                <a:gd name="T7" fmla="*/ 10 h 31"/>
                <a:gd name="T8" fmla="*/ 57 w 110"/>
                <a:gd name="T9" fmla="*/ 27 h 31"/>
                <a:gd name="T10" fmla="*/ 110 w 110"/>
                <a:gd name="T11" fmla="*/ 0 h 31"/>
              </a:gdLst>
              <a:ahLst/>
              <a:cxnLst>
                <a:cxn ang="0">
                  <a:pos x="T0" y="T1"/>
                </a:cxn>
                <a:cxn ang="0">
                  <a:pos x="T2" y="T3"/>
                </a:cxn>
                <a:cxn ang="0">
                  <a:pos x="T4" y="T5"/>
                </a:cxn>
                <a:cxn ang="0">
                  <a:pos x="T6" y="T7"/>
                </a:cxn>
                <a:cxn ang="0">
                  <a:pos x="T8" y="T9"/>
                </a:cxn>
                <a:cxn ang="0">
                  <a:pos x="T10" y="T11"/>
                </a:cxn>
              </a:cxnLst>
              <a:rect l="0" t="0" r="r" b="b"/>
              <a:pathLst>
                <a:path w="110" h="31">
                  <a:moveTo>
                    <a:pt x="110" y="0"/>
                  </a:moveTo>
                  <a:cubicBezTo>
                    <a:pt x="109" y="0"/>
                    <a:pt x="109" y="0"/>
                    <a:pt x="109" y="0"/>
                  </a:cubicBezTo>
                  <a:cubicBezTo>
                    <a:pt x="1" y="0"/>
                    <a:pt x="1" y="0"/>
                    <a:pt x="1" y="0"/>
                  </a:cubicBezTo>
                  <a:cubicBezTo>
                    <a:pt x="0" y="3"/>
                    <a:pt x="0" y="6"/>
                    <a:pt x="1" y="10"/>
                  </a:cubicBezTo>
                  <a:cubicBezTo>
                    <a:pt x="4" y="31"/>
                    <a:pt x="42" y="31"/>
                    <a:pt x="57" y="27"/>
                  </a:cubicBezTo>
                  <a:cubicBezTo>
                    <a:pt x="72" y="24"/>
                    <a:pt x="101" y="13"/>
                    <a:pt x="110" y="0"/>
                  </a:cubicBezTo>
                  <a:close/>
                </a:path>
              </a:pathLst>
            </a:custGeom>
            <a:solidFill>
              <a:srgbClr val="C9E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cs typeface="+mn-cs"/>
              </a:endParaRPr>
            </a:p>
          </p:txBody>
        </p:sp>
        <p:sp>
          <p:nvSpPr>
            <p:cNvPr id="31" name="Freeform 31">
              <a:extLst>
                <a:ext uri="{FF2B5EF4-FFF2-40B4-BE49-F238E27FC236}">
                  <a16:creationId xmlns:a16="http://schemas.microsoft.com/office/drawing/2014/main" id="{D8AB8EF4-02EC-4D88-8DF7-9C378D5688A0}"/>
                </a:ext>
              </a:extLst>
            </p:cNvPr>
            <p:cNvSpPr>
              <a:spLocks/>
            </p:cNvSpPr>
            <p:nvPr/>
          </p:nvSpPr>
          <p:spPr bwMode="auto">
            <a:xfrm>
              <a:off x="3266" y="2784"/>
              <a:ext cx="83" cy="86"/>
            </a:xfrm>
            <a:custGeom>
              <a:avLst/>
              <a:gdLst>
                <a:gd name="T0" fmla="*/ 60 w 62"/>
                <a:gd name="T1" fmla="*/ 18 h 64"/>
                <a:gd name="T2" fmla="*/ 41 w 62"/>
                <a:gd name="T3" fmla="*/ 20 h 64"/>
                <a:gd name="T4" fmla="*/ 39 w 62"/>
                <a:gd name="T5" fmla="*/ 0 h 64"/>
                <a:gd name="T6" fmla="*/ 17 w 62"/>
                <a:gd name="T7" fmla="*/ 45 h 64"/>
                <a:gd name="T8" fmla="*/ 60 w 62"/>
                <a:gd name="T9" fmla="*/ 18 h 64"/>
              </a:gdLst>
              <a:ahLst/>
              <a:cxnLst>
                <a:cxn ang="0">
                  <a:pos x="T0" y="T1"/>
                </a:cxn>
                <a:cxn ang="0">
                  <a:pos x="T2" y="T3"/>
                </a:cxn>
                <a:cxn ang="0">
                  <a:pos x="T4" y="T5"/>
                </a:cxn>
                <a:cxn ang="0">
                  <a:pos x="T6" y="T7"/>
                </a:cxn>
                <a:cxn ang="0">
                  <a:pos x="T8" y="T9"/>
                </a:cxn>
              </a:cxnLst>
              <a:rect l="0" t="0" r="r" b="b"/>
              <a:pathLst>
                <a:path w="62" h="64">
                  <a:moveTo>
                    <a:pt x="60" y="18"/>
                  </a:moveTo>
                  <a:cubicBezTo>
                    <a:pt x="41" y="20"/>
                    <a:pt x="41" y="20"/>
                    <a:pt x="41" y="20"/>
                  </a:cubicBezTo>
                  <a:cubicBezTo>
                    <a:pt x="39" y="0"/>
                    <a:pt x="39" y="0"/>
                    <a:pt x="39" y="0"/>
                  </a:cubicBezTo>
                  <a:cubicBezTo>
                    <a:pt x="10" y="1"/>
                    <a:pt x="0" y="28"/>
                    <a:pt x="17" y="45"/>
                  </a:cubicBezTo>
                  <a:cubicBezTo>
                    <a:pt x="36" y="64"/>
                    <a:pt x="62" y="48"/>
                    <a:pt x="60" y="18"/>
                  </a:cubicBezTo>
                  <a:close/>
                </a:path>
              </a:pathLst>
            </a:custGeom>
            <a:solidFill>
              <a:srgbClr val="A88F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cs typeface="+mn-cs"/>
              </a:endParaRPr>
            </a:p>
          </p:txBody>
        </p:sp>
      </p:grpSp>
      <p:grpSp>
        <p:nvGrpSpPr>
          <p:cNvPr id="33" name="Group 34">
            <a:extLst>
              <a:ext uri="{FF2B5EF4-FFF2-40B4-BE49-F238E27FC236}">
                <a16:creationId xmlns:a16="http://schemas.microsoft.com/office/drawing/2014/main" id="{DF11BD9A-DE01-47FC-BFE0-65644FA00175}"/>
              </a:ext>
            </a:extLst>
          </p:cNvPr>
          <p:cNvGrpSpPr>
            <a:grpSpLocks noChangeAspect="1"/>
          </p:cNvGrpSpPr>
          <p:nvPr/>
        </p:nvGrpSpPr>
        <p:grpSpPr bwMode="auto">
          <a:xfrm>
            <a:off x="7069138" y="3444875"/>
            <a:ext cx="3711575" cy="2647950"/>
            <a:chOff x="4453" y="2170"/>
            <a:chExt cx="2338" cy="1668"/>
          </a:xfrm>
        </p:grpSpPr>
        <p:sp>
          <p:nvSpPr>
            <p:cNvPr id="35" name="Freeform 35">
              <a:extLst>
                <a:ext uri="{FF2B5EF4-FFF2-40B4-BE49-F238E27FC236}">
                  <a16:creationId xmlns:a16="http://schemas.microsoft.com/office/drawing/2014/main" id="{6D41226B-7736-4352-A56F-56ADFE8DA154}"/>
                </a:ext>
              </a:extLst>
            </p:cNvPr>
            <p:cNvSpPr>
              <a:spLocks/>
            </p:cNvSpPr>
            <p:nvPr/>
          </p:nvSpPr>
          <p:spPr bwMode="auto">
            <a:xfrm>
              <a:off x="4453" y="2170"/>
              <a:ext cx="2336" cy="1668"/>
            </a:xfrm>
            <a:custGeom>
              <a:avLst/>
              <a:gdLst>
                <a:gd name="T0" fmla="*/ 597 w 1438"/>
                <a:gd name="T1" fmla="*/ 27 h 1025"/>
                <a:gd name="T2" fmla="*/ 757 w 1438"/>
                <a:gd name="T3" fmla="*/ 125 h 1025"/>
                <a:gd name="T4" fmla="*/ 655 w 1438"/>
                <a:gd name="T5" fmla="*/ 57 h 1025"/>
                <a:gd name="T6" fmla="*/ 438 w 1438"/>
                <a:gd name="T7" fmla="*/ 0 h 1025"/>
                <a:gd name="T8" fmla="*/ 336 w 1438"/>
                <a:gd name="T9" fmla="*/ 8 h 1025"/>
                <a:gd name="T10" fmla="*/ 537 w 1438"/>
                <a:gd name="T11" fmla="*/ 136 h 1025"/>
                <a:gd name="T12" fmla="*/ 575 w 1438"/>
                <a:gd name="T13" fmla="*/ 145 h 1025"/>
                <a:gd name="T14" fmla="*/ 615 w 1438"/>
                <a:gd name="T15" fmla="*/ 145 h 1025"/>
                <a:gd name="T16" fmla="*/ 503 w 1438"/>
                <a:gd name="T17" fmla="*/ 129 h 1025"/>
                <a:gd name="T18" fmla="*/ 389 w 1438"/>
                <a:gd name="T19" fmla="*/ 79 h 1025"/>
                <a:gd name="T20" fmla="*/ 325 w 1438"/>
                <a:gd name="T21" fmla="*/ 85 h 1025"/>
                <a:gd name="T22" fmla="*/ 81 w 1438"/>
                <a:gd name="T23" fmla="*/ 329 h 1025"/>
                <a:gd name="T24" fmla="*/ 68 w 1438"/>
                <a:gd name="T25" fmla="*/ 528 h 1025"/>
                <a:gd name="T26" fmla="*/ 90 w 1438"/>
                <a:gd name="T27" fmla="*/ 511 h 1025"/>
                <a:gd name="T28" fmla="*/ 17 w 1438"/>
                <a:gd name="T29" fmla="*/ 700 h 1025"/>
                <a:gd name="T30" fmla="*/ 184 w 1438"/>
                <a:gd name="T31" fmla="*/ 722 h 1025"/>
                <a:gd name="T32" fmla="*/ 183 w 1438"/>
                <a:gd name="T33" fmla="*/ 697 h 1025"/>
                <a:gd name="T34" fmla="*/ 227 w 1438"/>
                <a:gd name="T35" fmla="*/ 858 h 1025"/>
                <a:gd name="T36" fmla="*/ 271 w 1438"/>
                <a:gd name="T37" fmla="*/ 1025 h 1025"/>
                <a:gd name="T38" fmla="*/ 337 w 1438"/>
                <a:gd name="T39" fmla="*/ 861 h 1025"/>
                <a:gd name="T40" fmla="*/ 454 w 1438"/>
                <a:gd name="T41" fmla="*/ 779 h 1025"/>
                <a:gd name="T42" fmla="*/ 574 w 1438"/>
                <a:gd name="T43" fmla="*/ 715 h 1025"/>
                <a:gd name="T44" fmla="*/ 492 w 1438"/>
                <a:gd name="T45" fmla="*/ 690 h 1025"/>
                <a:gd name="T46" fmla="*/ 448 w 1438"/>
                <a:gd name="T47" fmla="*/ 685 h 1025"/>
                <a:gd name="T48" fmla="*/ 433 w 1438"/>
                <a:gd name="T49" fmla="*/ 685 h 1025"/>
                <a:gd name="T50" fmla="*/ 342 w 1438"/>
                <a:gd name="T51" fmla="*/ 686 h 1025"/>
                <a:gd name="T52" fmla="*/ 285 w 1438"/>
                <a:gd name="T53" fmla="*/ 671 h 1025"/>
                <a:gd name="T54" fmla="*/ 437 w 1438"/>
                <a:gd name="T55" fmla="*/ 470 h 1025"/>
                <a:gd name="T56" fmla="*/ 353 w 1438"/>
                <a:gd name="T57" fmla="*/ 489 h 1025"/>
                <a:gd name="T58" fmla="*/ 326 w 1438"/>
                <a:gd name="T59" fmla="*/ 568 h 1025"/>
                <a:gd name="T60" fmla="*/ 478 w 1438"/>
                <a:gd name="T61" fmla="*/ 491 h 1025"/>
                <a:gd name="T62" fmla="*/ 641 w 1438"/>
                <a:gd name="T63" fmla="*/ 519 h 1025"/>
                <a:gd name="T64" fmla="*/ 697 w 1438"/>
                <a:gd name="T65" fmla="*/ 522 h 1025"/>
                <a:gd name="T66" fmla="*/ 622 w 1438"/>
                <a:gd name="T67" fmla="*/ 615 h 1025"/>
                <a:gd name="T68" fmla="*/ 810 w 1438"/>
                <a:gd name="T69" fmla="*/ 527 h 1025"/>
                <a:gd name="T70" fmla="*/ 1294 w 1438"/>
                <a:gd name="T71" fmla="*/ 462 h 1025"/>
                <a:gd name="T72" fmla="*/ 1275 w 1438"/>
                <a:gd name="T73" fmla="*/ 351 h 1025"/>
                <a:gd name="T74" fmla="*/ 1209 w 1438"/>
                <a:gd name="T75" fmla="*/ 354 h 1025"/>
                <a:gd name="T76" fmla="*/ 1352 w 1438"/>
                <a:gd name="T77" fmla="*/ 350 h 1025"/>
                <a:gd name="T78" fmla="*/ 1005 w 1438"/>
                <a:gd name="T79" fmla="*/ 106 h 1025"/>
                <a:gd name="T80" fmla="*/ 821 w 1438"/>
                <a:gd name="T81" fmla="*/ 46 h 1025"/>
                <a:gd name="T82" fmla="*/ 774 w 1438"/>
                <a:gd name="T83" fmla="*/ 36 h 1025"/>
                <a:gd name="T84" fmla="*/ 727 w 1438"/>
                <a:gd name="T85" fmla="*/ 28 h 1025"/>
                <a:gd name="T86" fmla="*/ 597 w 1438"/>
                <a:gd name="T87" fmla="*/ 27 h 10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38" h="1025">
                  <a:moveTo>
                    <a:pt x="597" y="27"/>
                  </a:moveTo>
                  <a:cubicBezTo>
                    <a:pt x="605" y="35"/>
                    <a:pt x="723" y="66"/>
                    <a:pt x="757" y="125"/>
                  </a:cubicBezTo>
                  <a:cubicBezTo>
                    <a:pt x="751" y="121"/>
                    <a:pt x="718" y="89"/>
                    <a:pt x="655" y="57"/>
                  </a:cubicBezTo>
                  <a:cubicBezTo>
                    <a:pt x="596" y="27"/>
                    <a:pt x="505" y="0"/>
                    <a:pt x="438" y="0"/>
                  </a:cubicBezTo>
                  <a:cubicBezTo>
                    <a:pt x="420" y="0"/>
                    <a:pt x="353" y="0"/>
                    <a:pt x="336" y="8"/>
                  </a:cubicBezTo>
                  <a:cubicBezTo>
                    <a:pt x="264" y="41"/>
                    <a:pt x="509" y="129"/>
                    <a:pt x="537" y="136"/>
                  </a:cubicBezTo>
                  <a:cubicBezTo>
                    <a:pt x="550" y="140"/>
                    <a:pt x="562" y="145"/>
                    <a:pt x="575" y="145"/>
                  </a:cubicBezTo>
                  <a:cubicBezTo>
                    <a:pt x="590" y="145"/>
                    <a:pt x="601" y="141"/>
                    <a:pt x="615" y="145"/>
                  </a:cubicBezTo>
                  <a:cubicBezTo>
                    <a:pt x="577" y="153"/>
                    <a:pt x="543" y="143"/>
                    <a:pt x="503" y="129"/>
                  </a:cubicBezTo>
                  <a:cubicBezTo>
                    <a:pt x="465" y="115"/>
                    <a:pt x="422" y="96"/>
                    <a:pt x="389" y="79"/>
                  </a:cubicBezTo>
                  <a:cubicBezTo>
                    <a:pt x="363" y="66"/>
                    <a:pt x="356" y="73"/>
                    <a:pt x="325" y="85"/>
                  </a:cubicBezTo>
                  <a:cubicBezTo>
                    <a:pt x="212" y="127"/>
                    <a:pt x="122" y="222"/>
                    <a:pt x="81" y="329"/>
                  </a:cubicBezTo>
                  <a:cubicBezTo>
                    <a:pt x="61" y="381"/>
                    <a:pt x="47" y="466"/>
                    <a:pt x="68" y="528"/>
                  </a:cubicBezTo>
                  <a:cubicBezTo>
                    <a:pt x="90" y="511"/>
                    <a:pt x="90" y="511"/>
                    <a:pt x="90" y="511"/>
                  </a:cubicBezTo>
                  <a:cubicBezTo>
                    <a:pt x="66" y="552"/>
                    <a:pt x="0" y="615"/>
                    <a:pt x="17" y="700"/>
                  </a:cubicBezTo>
                  <a:cubicBezTo>
                    <a:pt x="83" y="671"/>
                    <a:pt x="128" y="684"/>
                    <a:pt x="184" y="722"/>
                  </a:cubicBezTo>
                  <a:cubicBezTo>
                    <a:pt x="183" y="697"/>
                    <a:pt x="183" y="697"/>
                    <a:pt x="183" y="697"/>
                  </a:cubicBezTo>
                  <a:cubicBezTo>
                    <a:pt x="242" y="755"/>
                    <a:pt x="219" y="751"/>
                    <a:pt x="227" y="858"/>
                  </a:cubicBezTo>
                  <a:cubicBezTo>
                    <a:pt x="231" y="908"/>
                    <a:pt x="241" y="972"/>
                    <a:pt x="271" y="1025"/>
                  </a:cubicBezTo>
                  <a:cubicBezTo>
                    <a:pt x="321" y="993"/>
                    <a:pt x="336" y="911"/>
                    <a:pt x="337" y="861"/>
                  </a:cubicBezTo>
                  <a:cubicBezTo>
                    <a:pt x="339" y="756"/>
                    <a:pt x="341" y="808"/>
                    <a:pt x="454" y="779"/>
                  </a:cubicBezTo>
                  <a:cubicBezTo>
                    <a:pt x="489" y="771"/>
                    <a:pt x="549" y="749"/>
                    <a:pt x="574" y="715"/>
                  </a:cubicBezTo>
                  <a:cubicBezTo>
                    <a:pt x="553" y="695"/>
                    <a:pt x="503" y="693"/>
                    <a:pt x="492" y="690"/>
                  </a:cubicBezTo>
                  <a:cubicBezTo>
                    <a:pt x="448" y="685"/>
                    <a:pt x="448" y="685"/>
                    <a:pt x="448" y="685"/>
                  </a:cubicBezTo>
                  <a:cubicBezTo>
                    <a:pt x="442" y="685"/>
                    <a:pt x="439" y="685"/>
                    <a:pt x="433" y="685"/>
                  </a:cubicBezTo>
                  <a:cubicBezTo>
                    <a:pt x="342" y="686"/>
                    <a:pt x="342" y="686"/>
                    <a:pt x="342" y="686"/>
                  </a:cubicBezTo>
                  <a:cubicBezTo>
                    <a:pt x="315" y="689"/>
                    <a:pt x="309" y="696"/>
                    <a:pt x="285" y="671"/>
                  </a:cubicBezTo>
                  <a:cubicBezTo>
                    <a:pt x="249" y="537"/>
                    <a:pt x="295" y="449"/>
                    <a:pt x="437" y="470"/>
                  </a:cubicBezTo>
                  <a:cubicBezTo>
                    <a:pt x="423" y="474"/>
                    <a:pt x="380" y="470"/>
                    <a:pt x="353" y="489"/>
                  </a:cubicBezTo>
                  <a:cubicBezTo>
                    <a:pt x="330" y="506"/>
                    <a:pt x="317" y="550"/>
                    <a:pt x="326" y="568"/>
                  </a:cubicBezTo>
                  <a:cubicBezTo>
                    <a:pt x="368" y="575"/>
                    <a:pt x="440" y="523"/>
                    <a:pt x="478" y="491"/>
                  </a:cubicBezTo>
                  <a:cubicBezTo>
                    <a:pt x="505" y="502"/>
                    <a:pt x="612" y="517"/>
                    <a:pt x="641" y="519"/>
                  </a:cubicBezTo>
                  <a:cubicBezTo>
                    <a:pt x="697" y="522"/>
                    <a:pt x="697" y="522"/>
                    <a:pt x="697" y="522"/>
                  </a:cubicBezTo>
                  <a:cubicBezTo>
                    <a:pt x="651" y="553"/>
                    <a:pt x="615" y="587"/>
                    <a:pt x="622" y="615"/>
                  </a:cubicBezTo>
                  <a:cubicBezTo>
                    <a:pt x="653" y="631"/>
                    <a:pt x="768" y="571"/>
                    <a:pt x="810" y="527"/>
                  </a:cubicBezTo>
                  <a:cubicBezTo>
                    <a:pt x="968" y="532"/>
                    <a:pt x="1144" y="525"/>
                    <a:pt x="1294" y="462"/>
                  </a:cubicBezTo>
                  <a:cubicBezTo>
                    <a:pt x="1438" y="402"/>
                    <a:pt x="1368" y="357"/>
                    <a:pt x="1275" y="351"/>
                  </a:cubicBezTo>
                  <a:cubicBezTo>
                    <a:pt x="1267" y="350"/>
                    <a:pt x="1216" y="349"/>
                    <a:pt x="1209" y="354"/>
                  </a:cubicBezTo>
                  <a:cubicBezTo>
                    <a:pt x="1249" y="325"/>
                    <a:pt x="1343" y="351"/>
                    <a:pt x="1352" y="350"/>
                  </a:cubicBezTo>
                  <a:cubicBezTo>
                    <a:pt x="1279" y="241"/>
                    <a:pt x="1101" y="145"/>
                    <a:pt x="1005" y="106"/>
                  </a:cubicBezTo>
                  <a:cubicBezTo>
                    <a:pt x="928" y="75"/>
                    <a:pt x="896" y="67"/>
                    <a:pt x="821" y="46"/>
                  </a:cubicBezTo>
                  <a:cubicBezTo>
                    <a:pt x="807" y="42"/>
                    <a:pt x="788" y="37"/>
                    <a:pt x="774" y="36"/>
                  </a:cubicBezTo>
                  <a:cubicBezTo>
                    <a:pt x="758" y="34"/>
                    <a:pt x="743" y="30"/>
                    <a:pt x="727" y="28"/>
                  </a:cubicBezTo>
                  <a:cubicBezTo>
                    <a:pt x="699" y="25"/>
                    <a:pt x="631" y="21"/>
                    <a:pt x="597" y="27"/>
                  </a:cubicBezTo>
                  <a:close/>
                </a:path>
              </a:pathLst>
            </a:custGeom>
            <a:solidFill>
              <a:srgbClr val="8EB3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cs typeface="+mn-cs"/>
              </a:endParaRPr>
            </a:p>
          </p:txBody>
        </p:sp>
        <p:sp>
          <p:nvSpPr>
            <p:cNvPr id="36" name="Freeform 36">
              <a:extLst>
                <a:ext uri="{FF2B5EF4-FFF2-40B4-BE49-F238E27FC236}">
                  <a16:creationId xmlns:a16="http://schemas.microsoft.com/office/drawing/2014/main" id="{95D5EE31-EA85-4B93-B40C-4060EB776186}"/>
                </a:ext>
              </a:extLst>
            </p:cNvPr>
            <p:cNvSpPr>
              <a:spLocks noEditPoints="1"/>
            </p:cNvSpPr>
            <p:nvPr/>
          </p:nvSpPr>
          <p:spPr bwMode="auto">
            <a:xfrm>
              <a:off x="4455" y="2730"/>
              <a:ext cx="2336" cy="1108"/>
            </a:xfrm>
            <a:custGeom>
              <a:avLst/>
              <a:gdLst>
                <a:gd name="T0" fmla="*/ 75 w 1438"/>
                <a:gd name="T1" fmla="*/ 0 h 681"/>
                <a:gd name="T2" fmla="*/ 68 w 1438"/>
                <a:gd name="T3" fmla="*/ 184 h 681"/>
                <a:gd name="T4" fmla="*/ 90 w 1438"/>
                <a:gd name="T5" fmla="*/ 168 h 681"/>
                <a:gd name="T6" fmla="*/ 17 w 1438"/>
                <a:gd name="T7" fmla="*/ 356 h 681"/>
                <a:gd name="T8" fmla="*/ 184 w 1438"/>
                <a:gd name="T9" fmla="*/ 378 h 681"/>
                <a:gd name="T10" fmla="*/ 182 w 1438"/>
                <a:gd name="T11" fmla="*/ 354 h 681"/>
                <a:gd name="T12" fmla="*/ 227 w 1438"/>
                <a:gd name="T13" fmla="*/ 514 h 681"/>
                <a:gd name="T14" fmla="*/ 271 w 1438"/>
                <a:gd name="T15" fmla="*/ 681 h 681"/>
                <a:gd name="T16" fmla="*/ 337 w 1438"/>
                <a:gd name="T17" fmla="*/ 517 h 681"/>
                <a:gd name="T18" fmla="*/ 454 w 1438"/>
                <a:gd name="T19" fmla="*/ 436 h 681"/>
                <a:gd name="T20" fmla="*/ 574 w 1438"/>
                <a:gd name="T21" fmla="*/ 372 h 681"/>
                <a:gd name="T22" fmla="*/ 492 w 1438"/>
                <a:gd name="T23" fmla="*/ 346 h 681"/>
                <a:gd name="T24" fmla="*/ 448 w 1438"/>
                <a:gd name="T25" fmla="*/ 341 h 681"/>
                <a:gd name="T26" fmla="*/ 432 w 1438"/>
                <a:gd name="T27" fmla="*/ 341 h 681"/>
                <a:gd name="T28" fmla="*/ 342 w 1438"/>
                <a:gd name="T29" fmla="*/ 343 h 681"/>
                <a:gd name="T30" fmla="*/ 284 w 1438"/>
                <a:gd name="T31" fmla="*/ 327 h 681"/>
                <a:gd name="T32" fmla="*/ 437 w 1438"/>
                <a:gd name="T33" fmla="*/ 126 h 681"/>
                <a:gd name="T34" fmla="*/ 353 w 1438"/>
                <a:gd name="T35" fmla="*/ 145 h 681"/>
                <a:gd name="T36" fmla="*/ 326 w 1438"/>
                <a:gd name="T37" fmla="*/ 224 h 681"/>
                <a:gd name="T38" fmla="*/ 478 w 1438"/>
                <a:gd name="T39" fmla="*/ 147 h 681"/>
                <a:gd name="T40" fmla="*/ 641 w 1438"/>
                <a:gd name="T41" fmla="*/ 175 h 681"/>
                <a:gd name="T42" fmla="*/ 696 w 1438"/>
                <a:gd name="T43" fmla="*/ 179 h 681"/>
                <a:gd name="T44" fmla="*/ 622 w 1438"/>
                <a:gd name="T45" fmla="*/ 272 h 681"/>
                <a:gd name="T46" fmla="*/ 810 w 1438"/>
                <a:gd name="T47" fmla="*/ 184 h 681"/>
                <a:gd name="T48" fmla="*/ 1294 w 1438"/>
                <a:gd name="T49" fmla="*/ 118 h 681"/>
                <a:gd name="T50" fmla="*/ 1275 w 1438"/>
                <a:gd name="T51" fmla="*/ 7 h 681"/>
                <a:gd name="T52" fmla="*/ 1209 w 1438"/>
                <a:gd name="T53" fmla="*/ 11 h 681"/>
                <a:gd name="T54" fmla="*/ 1231 w 1438"/>
                <a:gd name="T55" fmla="*/ 1 h 681"/>
                <a:gd name="T56" fmla="*/ 75 w 1438"/>
                <a:gd name="T57" fmla="*/ 1 h 681"/>
                <a:gd name="T58" fmla="*/ 75 w 1438"/>
                <a:gd name="T59" fmla="*/ 0 h 681"/>
                <a:gd name="T60" fmla="*/ 1315 w 1438"/>
                <a:gd name="T61" fmla="*/ 0 h 681"/>
                <a:gd name="T62" fmla="*/ 1348 w 1438"/>
                <a:gd name="T63" fmla="*/ 0 h 681"/>
                <a:gd name="T64" fmla="*/ 1352 w 1438"/>
                <a:gd name="T65" fmla="*/ 6 h 681"/>
                <a:gd name="T66" fmla="*/ 1315 w 1438"/>
                <a:gd name="T67" fmla="*/ 0 h 6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438" h="681">
                  <a:moveTo>
                    <a:pt x="75" y="0"/>
                  </a:moveTo>
                  <a:cubicBezTo>
                    <a:pt x="58" y="52"/>
                    <a:pt x="49" y="128"/>
                    <a:pt x="68" y="184"/>
                  </a:cubicBezTo>
                  <a:cubicBezTo>
                    <a:pt x="90" y="168"/>
                    <a:pt x="90" y="168"/>
                    <a:pt x="90" y="168"/>
                  </a:cubicBezTo>
                  <a:cubicBezTo>
                    <a:pt x="66" y="209"/>
                    <a:pt x="0" y="271"/>
                    <a:pt x="17" y="356"/>
                  </a:cubicBezTo>
                  <a:cubicBezTo>
                    <a:pt x="83" y="328"/>
                    <a:pt x="128" y="341"/>
                    <a:pt x="184" y="378"/>
                  </a:cubicBezTo>
                  <a:cubicBezTo>
                    <a:pt x="182" y="354"/>
                    <a:pt x="182" y="354"/>
                    <a:pt x="182" y="354"/>
                  </a:cubicBezTo>
                  <a:cubicBezTo>
                    <a:pt x="242" y="411"/>
                    <a:pt x="218" y="407"/>
                    <a:pt x="227" y="514"/>
                  </a:cubicBezTo>
                  <a:cubicBezTo>
                    <a:pt x="231" y="564"/>
                    <a:pt x="240" y="629"/>
                    <a:pt x="271" y="681"/>
                  </a:cubicBezTo>
                  <a:cubicBezTo>
                    <a:pt x="321" y="649"/>
                    <a:pt x="336" y="568"/>
                    <a:pt x="337" y="517"/>
                  </a:cubicBezTo>
                  <a:cubicBezTo>
                    <a:pt x="338" y="413"/>
                    <a:pt x="341" y="464"/>
                    <a:pt x="454" y="436"/>
                  </a:cubicBezTo>
                  <a:cubicBezTo>
                    <a:pt x="489" y="427"/>
                    <a:pt x="548" y="405"/>
                    <a:pt x="574" y="372"/>
                  </a:cubicBezTo>
                  <a:cubicBezTo>
                    <a:pt x="552" y="351"/>
                    <a:pt x="503" y="349"/>
                    <a:pt x="492" y="346"/>
                  </a:cubicBezTo>
                  <a:cubicBezTo>
                    <a:pt x="448" y="341"/>
                    <a:pt x="448" y="341"/>
                    <a:pt x="448" y="341"/>
                  </a:cubicBezTo>
                  <a:cubicBezTo>
                    <a:pt x="442" y="341"/>
                    <a:pt x="439" y="341"/>
                    <a:pt x="432" y="341"/>
                  </a:cubicBezTo>
                  <a:cubicBezTo>
                    <a:pt x="342" y="343"/>
                    <a:pt x="342" y="343"/>
                    <a:pt x="342" y="343"/>
                  </a:cubicBezTo>
                  <a:cubicBezTo>
                    <a:pt x="314" y="345"/>
                    <a:pt x="309" y="353"/>
                    <a:pt x="284" y="327"/>
                  </a:cubicBezTo>
                  <a:cubicBezTo>
                    <a:pt x="249" y="193"/>
                    <a:pt x="295" y="105"/>
                    <a:pt x="437" y="126"/>
                  </a:cubicBezTo>
                  <a:cubicBezTo>
                    <a:pt x="422" y="130"/>
                    <a:pt x="380" y="126"/>
                    <a:pt x="353" y="145"/>
                  </a:cubicBezTo>
                  <a:cubicBezTo>
                    <a:pt x="330" y="162"/>
                    <a:pt x="316" y="207"/>
                    <a:pt x="326" y="224"/>
                  </a:cubicBezTo>
                  <a:cubicBezTo>
                    <a:pt x="368" y="232"/>
                    <a:pt x="440" y="180"/>
                    <a:pt x="478" y="147"/>
                  </a:cubicBezTo>
                  <a:cubicBezTo>
                    <a:pt x="505" y="159"/>
                    <a:pt x="612" y="173"/>
                    <a:pt x="641" y="175"/>
                  </a:cubicBezTo>
                  <a:cubicBezTo>
                    <a:pt x="696" y="179"/>
                    <a:pt x="696" y="179"/>
                    <a:pt x="696" y="179"/>
                  </a:cubicBezTo>
                  <a:cubicBezTo>
                    <a:pt x="651" y="209"/>
                    <a:pt x="615" y="244"/>
                    <a:pt x="622" y="272"/>
                  </a:cubicBezTo>
                  <a:cubicBezTo>
                    <a:pt x="652" y="287"/>
                    <a:pt x="768" y="228"/>
                    <a:pt x="810" y="184"/>
                  </a:cubicBezTo>
                  <a:cubicBezTo>
                    <a:pt x="968" y="189"/>
                    <a:pt x="1144" y="181"/>
                    <a:pt x="1294" y="118"/>
                  </a:cubicBezTo>
                  <a:cubicBezTo>
                    <a:pt x="1438" y="58"/>
                    <a:pt x="1368" y="13"/>
                    <a:pt x="1275" y="7"/>
                  </a:cubicBezTo>
                  <a:cubicBezTo>
                    <a:pt x="1266" y="6"/>
                    <a:pt x="1216" y="6"/>
                    <a:pt x="1209" y="11"/>
                  </a:cubicBezTo>
                  <a:cubicBezTo>
                    <a:pt x="1215" y="6"/>
                    <a:pt x="1223" y="3"/>
                    <a:pt x="1231" y="1"/>
                  </a:cubicBezTo>
                  <a:cubicBezTo>
                    <a:pt x="75" y="1"/>
                    <a:pt x="75" y="1"/>
                    <a:pt x="75" y="1"/>
                  </a:cubicBezTo>
                  <a:lnTo>
                    <a:pt x="75" y="0"/>
                  </a:lnTo>
                  <a:close/>
                  <a:moveTo>
                    <a:pt x="1315" y="0"/>
                  </a:moveTo>
                  <a:cubicBezTo>
                    <a:pt x="1348" y="0"/>
                    <a:pt x="1348" y="0"/>
                    <a:pt x="1348" y="0"/>
                  </a:cubicBezTo>
                  <a:cubicBezTo>
                    <a:pt x="1350" y="2"/>
                    <a:pt x="1351" y="4"/>
                    <a:pt x="1352" y="6"/>
                  </a:cubicBezTo>
                  <a:cubicBezTo>
                    <a:pt x="1349" y="6"/>
                    <a:pt x="1334" y="3"/>
                    <a:pt x="1315" y="0"/>
                  </a:cubicBezTo>
                  <a:close/>
                </a:path>
              </a:pathLst>
            </a:custGeom>
            <a:solidFill>
              <a:srgbClr val="BFDB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cs typeface="+mn-cs"/>
              </a:endParaRPr>
            </a:p>
          </p:txBody>
        </p:sp>
        <p:sp>
          <p:nvSpPr>
            <p:cNvPr id="37" name="Freeform 37">
              <a:extLst>
                <a:ext uri="{FF2B5EF4-FFF2-40B4-BE49-F238E27FC236}">
                  <a16:creationId xmlns:a16="http://schemas.microsoft.com/office/drawing/2014/main" id="{485BC834-9C50-47C1-8CC2-C07F78BDE52A}"/>
                </a:ext>
              </a:extLst>
            </p:cNvPr>
            <p:cNvSpPr>
              <a:spLocks/>
            </p:cNvSpPr>
            <p:nvPr/>
          </p:nvSpPr>
          <p:spPr bwMode="auto">
            <a:xfrm>
              <a:off x="5789" y="2416"/>
              <a:ext cx="321" cy="495"/>
            </a:xfrm>
            <a:custGeom>
              <a:avLst/>
              <a:gdLst>
                <a:gd name="T0" fmla="*/ 53 w 198"/>
                <a:gd name="T1" fmla="*/ 37 h 304"/>
                <a:gd name="T2" fmla="*/ 41 w 198"/>
                <a:gd name="T3" fmla="*/ 79 h 304"/>
                <a:gd name="T4" fmla="*/ 14 w 198"/>
                <a:gd name="T5" fmla="*/ 119 h 304"/>
                <a:gd name="T6" fmla="*/ 111 w 198"/>
                <a:gd name="T7" fmla="*/ 288 h 304"/>
                <a:gd name="T8" fmla="*/ 198 w 198"/>
                <a:gd name="T9" fmla="*/ 297 h 304"/>
                <a:gd name="T10" fmla="*/ 96 w 198"/>
                <a:gd name="T11" fmla="*/ 266 h 304"/>
                <a:gd name="T12" fmla="*/ 33 w 198"/>
                <a:gd name="T13" fmla="*/ 106 h 304"/>
                <a:gd name="T14" fmla="*/ 56 w 198"/>
                <a:gd name="T15" fmla="*/ 82 h 304"/>
                <a:gd name="T16" fmla="*/ 59 w 198"/>
                <a:gd name="T17" fmla="*/ 55 h 304"/>
                <a:gd name="T18" fmla="*/ 160 w 198"/>
                <a:gd name="T19" fmla="*/ 9 h 304"/>
                <a:gd name="T20" fmla="*/ 53 w 198"/>
                <a:gd name="T21" fmla="*/ 37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8" h="304">
                  <a:moveTo>
                    <a:pt x="53" y="37"/>
                  </a:moveTo>
                  <a:cubicBezTo>
                    <a:pt x="52" y="59"/>
                    <a:pt x="59" y="62"/>
                    <a:pt x="41" y="79"/>
                  </a:cubicBezTo>
                  <a:cubicBezTo>
                    <a:pt x="27" y="92"/>
                    <a:pt x="19" y="102"/>
                    <a:pt x="14" y="119"/>
                  </a:cubicBezTo>
                  <a:cubicBezTo>
                    <a:pt x="0" y="174"/>
                    <a:pt x="51" y="259"/>
                    <a:pt x="111" y="288"/>
                  </a:cubicBezTo>
                  <a:cubicBezTo>
                    <a:pt x="142" y="303"/>
                    <a:pt x="164" y="304"/>
                    <a:pt x="198" y="297"/>
                  </a:cubicBezTo>
                  <a:cubicBezTo>
                    <a:pt x="179" y="299"/>
                    <a:pt x="120" y="284"/>
                    <a:pt x="96" y="266"/>
                  </a:cubicBezTo>
                  <a:cubicBezTo>
                    <a:pt x="40" y="226"/>
                    <a:pt x="8" y="146"/>
                    <a:pt x="33" y="106"/>
                  </a:cubicBezTo>
                  <a:cubicBezTo>
                    <a:pt x="38" y="97"/>
                    <a:pt x="48" y="90"/>
                    <a:pt x="56" y="82"/>
                  </a:cubicBezTo>
                  <a:cubicBezTo>
                    <a:pt x="68" y="70"/>
                    <a:pt x="61" y="70"/>
                    <a:pt x="59" y="55"/>
                  </a:cubicBezTo>
                  <a:cubicBezTo>
                    <a:pt x="53" y="17"/>
                    <a:pt x="143" y="12"/>
                    <a:pt x="160" y="9"/>
                  </a:cubicBezTo>
                  <a:cubicBezTo>
                    <a:pt x="133" y="0"/>
                    <a:pt x="84" y="10"/>
                    <a:pt x="53" y="37"/>
                  </a:cubicBezTo>
                  <a:close/>
                </a:path>
              </a:pathLst>
            </a:custGeom>
            <a:solidFill>
              <a:srgbClr val="7BA2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cs typeface="+mn-cs"/>
              </a:endParaRPr>
            </a:p>
          </p:txBody>
        </p:sp>
        <p:sp>
          <p:nvSpPr>
            <p:cNvPr id="38" name="Freeform 38">
              <a:extLst>
                <a:ext uri="{FF2B5EF4-FFF2-40B4-BE49-F238E27FC236}">
                  <a16:creationId xmlns:a16="http://schemas.microsoft.com/office/drawing/2014/main" id="{C98C9E82-9A91-4F96-A606-5D2B087FB249}"/>
                </a:ext>
              </a:extLst>
            </p:cNvPr>
            <p:cNvSpPr>
              <a:spLocks/>
            </p:cNvSpPr>
            <p:nvPr/>
          </p:nvSpPr>
          <p:spPr bwMode="auto">
            <a:xfrm>
              <a:off x="5828" y="2732"/>
              <a:ext cx="282" cy="180"/>
            </a:xfrm>
            <a:custGeom>
              <a:avLst/>
              <a:gdLst>
                <a:gd name="T0" fmla="*/ 0 w 174"/>
                <a:gd name="T1" fmla="*/ 0 h 111"/>
                <a:gd name="T2" fmla="*/ 87 w 174"/>
                <a:gd name="T3" fmla="*/ 94 h 111"/>
                <a:gd name="T4" fmla="*/ 174 w 174"/>
                <a:gd name="T5" fmla="*/ 103 h 111"/>
                <a:gd name="T6" fmla="*/ 72 w 174"/>
                <a:gd name="T7" fmla="*/ 73 h 111"/>
                <a:gd name="T8" fmla="*/ 13 w 174"/>
                <a:gd name="T9" fmla="*/ 0 h 111"/>
                <a:gd name="T10" fmla="*/ 0 w 174"/>
                <a:gd name="T11" fmla="*/ 0 h 111"/>
              </a:gdLst>
              <a:ahLst/>
              <a:cxnLst>
                <a:cxn ang="0">
                  <a:pos x="T0" y="T1"/>
                </a:cxn>
                <a:cxn ang="0">
                  <a:pos x="T2" y="T3"/>
                </a:cxn>
                <a:cxn ang="0">
                  <a:pos x="T4" y="T5"/>
                </a:cxn>
                <a:cxn ang="0">
                  <a:pos x="T6" y="T7"/>
                </a:cxn>
                <a:cxn ang="0">
                  <a:pos x="T8" y="T9"/>
                </a:cxn>
                <a:cxn ang="0">
                  <a:pos x="T10" y="T11"/>
                </a:cxn>
              </a:cxnLst>
              <a:rect l="0" t="0" r="r" b="b"/>
              <a:pathLst>
                <a:path w="174" h="111">
                  <a:moveTo>
                    <a:pt x="0" y="0"/>
                  </a:moveTo>
                  <a:cubicBezTo>
                    <a:pt x="17" y="39"/>
                    <a:pt x="50" y="77"/>
                    <a:pt x="87" y="94"/>
                  </a:cubicBezTo>
                  <a:cubicBezTo>
                    <a:pt x="118" y="109"/>
                    <a:pt x="140" y="111"/>
                    <a:pt x="174" y="103"/>
                  </a:cubicBezTo>
                  <a:cubicBezTo>
                    <a:pt x="155" y="105"/>
                    <a:pt x="96" y="90"/>
                    <a:pt x="72" y="73"/>
                  </a:cubicBezTo>
                  <a:cubicBezTo>
                    <a:pt x="47" y="54"/>
                    <a:pt x="26" y="27"/>
                    <a:pt x="13" y="0"/>
                  </a:cubicBezTo>
                  <a:cubicBezTo>
                    <a:pt x="0" y="0"/>
                    <a:pt x="0" y="0"/>
                    <a:pt x="0" y="0"/>
                  </a:cubicBezTo>
                  <a:close/>
                </a:path>
              </a:pathLst>
            </a:custGeom>
            <a:solidFill>
              <a:srgbClr val="8DB6B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cs typeface="+mn-cs"/>
              </a:endParaRPr>
            </a:p>
          </p:txBody>
        </p:sp>
        <p:sp>
          <p:nvSpPr>
            <p:cNvPr id="39" name="Freeform 39">
              <a:extLst>
                <a:ext uri="{FF2B5EF4-FFF2-40B4-BE49-F238E27FC236}">
                  <a16:creationId xmlns:a16="http://schemas.microsoft.com/office/drawing/2014/main" id="{40345519-391B-4FCA-A31C-228639AA8A51}"/>
                </a:ext>
              </a:extLst>
            </p:cNvPr>
            <p:cNvSpPr>
              <a:spLocks/>
            </p:cNvSpPr>
            <p:nvPr/>
          </p:nvSpPr>
          <p:spPr bwMode="auto">
            <a:xfrm>
              <a:off x="6037" y="2475"/>
              <a:ext cx="239" cy="211"/>
            </a:xfrm>
            <a:custGeom>
              <a:avLst/>
              <a:gdLst>
                <a:gd name="T0" fmla="*/ 58 w 147"/>
                <a:gd name="T1" fmla="*/ 21 h 130"/>
                <a:gd name="T2" fmla="*/ 89 w 147"/>
                <a:gd name="T3" fmla="*/ 109 h 130"/>
                <a:gd name="T4" fmla="*/ 58 w 147"/>
                <a:gd name="T5" fmla="*/ 21 h 130"/>
              </a:gdLst>
              <a:ahLst/>
              <a:cxnLst>
                <a:cxn ang="0">
                  <a:pos x="T0" y="T1"/>
                </a:cxn>
                <a:cxn ang="0">
                  <a:pos x="T2" y="T3"/>
                </a:cxn>
                <a:cxn ang="0">
                  <a:pos x="T4" y="T5"/>
                </a:cxn>
              </a:cxnLst>
              <a:rect l="0" t="0" r="r" b="b"/>
              <a:pathLst>
                <a:path w="147" h="130">
                  <a:moveTo>
                    <a:pt x="58" y="21"/>
                  </a:moveTo>
                  <a:cubicBezTo>
                    <a:pt x="0" y="43"/>
                    <a:pt x="34" y="130"/>
                    <a:pt x="89" y="109"/>
                  </a:cubicBezTo>
                  <a:cubicBezTo>
                    <a:pt x="147" y="86"/>
                    <a:pt x="114" y="0"/>
                    <a:pt x="58" y="21"/>
                  </a:cubicBezTo>
                  <a:close/>
                </a:path>
              </a:pathLst>
            </a:custGeom>
            <a:solidFill>
              <a:srgbClr val="FEFE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cs typeface="+mn-cs"/>
              </a:endParaRPr>
            </a:p>
          </p:txBody>
        </p:sp>
        <p:sp>
          <p:nvSpPr>
            <p:cNvPr id="40" name="Freeform 40">
              <a:extLst>
                <a:ext uri="{FF2B5EF4-FFF2-40B4-BE49-F238E27FC236}">
                  <a16:creationId xmlns:a16="http://schemas.microsoft.com/office/drawing/2014/main" id="{1EE2F523-7E54-4795-90A8-82F30A4D3425}"/>
                </a:ext>
              </a:extLst>
            </p:cNvPr>
            <p:cNvSpPr>
              <a:spLocks/>
            </p:cNvSpPr>
            <p:nvPr/>
          </p:nvSpPr>
          <p:spPr bwMode="auto">
            <a:xfrm>
              <a:off x="6076" y="2506"/>
              <a:ext cx="166" cy="149"/>
            </a:xfrm>
            <a:custGeom>
              <a:avLst/>
              <a:gdLst>
                <a:gd name="T0" fmla="*/ 43 w 102"/>
                <a:gd name="T1" fmla="*/ 11 h 92"/>
                <a:gd name="T2" fmla="*/ 60 w 102"/>
                <a:gd name="T3" fmla="*/ 81 h 92"/>
                <a:gd name="T4" fmla="*/ 43 w 102"/>
                <a:gd name="T5" fmla="*/ 11 h 92"/>
              </a:gdLst>
              <a:ahLst/>
              <a:cxnLst>
                <a:cxn ang="0">
                  <a:pos x="T0" y="T1"/>
                </a:cxn>
                <a:cxn ang="0">
                  <a:pos x="T2" y="T3"/>
                </a:cxn>
                <a:cxn ang="0">
                  <a:pos x="T4" y="T5"/>
                </a:cxn>
              </a:cxnLst>
              <a:rect l="0" t="0" r="r" b="b"/>
              <a:pathLst>
                <a:path w="102" h="92">
                  <a:moveTo>
                    <a:pt x="43" y="11"/>
                  </a:moveTo>
                  <a:cubicBezTo>
                    <a:pt x="0" y="21"/>
                    <a:pt x="9" y="92"/>
                    <a:pt x="60" y="81"/>
                  </a:cubicBezTo>
                  <a:cubicBezTo>
                    <a:pt x="102" y="73"/>
                    <a:pt x="89" y="0"/>
                    <a:pt x="43" y="11"/>
                  </a:cubicBezTo>
                  <a:close/>
                </a:path>
              </a:pathLst>
            </a:custGeom>
            <a:solidFill>
              <a:srgbClr val="A88F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cs typeface="+mn-cs"/>
              </a:endParaRPr>
            </a:p>
          </p:txBody>
        </p:sp>
      </p:grpSp>
    </p:spTree>
    <p:extLst>
      <p:ext uri="{BB962C8B-B14F-4D97-AF65-F5344CB8AC3E}">
        <p14:creationId xmlns:p14="http://schemas.microsoft.com/office/powerpoint/2010/main" val="4132527006"/>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7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reeform 5">
            <a:extLst>
              <a:ext uri="{FF2B5EF4-FFF2-40B4-BE49-F238E27FC236}">
                <a16:creationId xmlns:a16="http://schemas.microsoft.com/office/drawing/2014/main" id="{D4E5D621-B229-4961-9AD0-C7450B56C739}"/>
              </a:ext>
            </a:extLst>
          </p:cNvPr>
          <p:cNvSpPr>
            <a:spLocks/>
          </p:cNvSpPr>
          <p:nvPr/>
        </p:nvSpPr>
        <p:spPr bwMode="auto">
          <a:xfrm>
            <a:off x="1006475" y="1346200"/>
            <a:ext cx="3091202" cy="1257300"/>
          </a:xfrm>
          <a:custGeom>
            <a:avLst/>
            <a:gdLst>
              <a:gd name="T0" fmla="*/ 210 w 2415"/>
              <a:gd name="T1" fmla="*/ 32 h 980"/>
              <a:gd name="T2" fmla="*/ 462 w 2415"/>
              <a:gd name="T3" fmla="*/ 119 h 980"/>
              <a:gd name="T4" fmla="*/ 691 w 2415"/>
              <a:gd name="T5" fmla="*/ 237 h 980"/>
              <a:gd name="T6" fmla="*/ 998 w 2415"/>
              <a:gd name="T7" fmla="*/ 363 h 980"/>
              <a:gd name="T8" fmla="*/ 1141 w 2415"/>
              <a:gd name="T9" fmla="*/ 392 h 980"/>
              <a:gd name="T10" fmla="*/ 1305 w 2415"/>
              <a:gd name="T11" fmla="*/ 326 h 980"/>
              <a:gd name="T12" fmla="*/ 1312 w 2415"/>
              <a:gd name="T13" fmla="*/ 336 h 980"/>
              <a:gd name="T14" fmla="*/ 1322 w 2415"/>
              <a:gd name="T15" fmla="*/ 358 h 980"/>
              <a:gd name="T16" fmla="*/ 1331 w 2415"/>
              <a:gd name="T17" fmla="*/ 366 h 980"/>
              <a:gd name="T18" fmla="*/ 1348 w 2415"/>
              <a:gd name="T19" fmla="*/ 376 h 980"/>
              <a:gd name="T20" fmla="*/ 1349 w 2415"/>
              <a:gd name="T21" fmla="*/ 384 h 980"/>
              <a:gd name="T22" fmla="*/ 1358 w 2415"/>
              <a:gd name="T23" fmla="*/ 390 h 980"/>
              <a:gd name="T24" fmla="*/ 1378 w 2415"/>
              <a:gd name="T25" fmla="*/ 395 h 980"/>
              <a:gd name="T26" fmla="*/ 1390 w 2415"/>
              <a:gd name="T27" fmla="*/ 402 h 980"/>
              <a:gd name="T28" fmla="*/ 1500 w 2415"/>
              <a:gd name="T29" fmla="*/ 442 h 980"/>
              <a:gd name="T30" fmla="*/ 1696 w 2415"/>
              <a:gd name="T31" fmla="*/ 417 h 980"/>
              <a:gd name="T32" fmla="*/ 1945 w 2415"/>
              <a:gd name="T33" fmla="*/ 330 h 980"/>
              <a:gd name="T34" fmla="*/ 2142 w 2415"/>
              <a:gd name="T35" fmla="*/ 70 h 980"/>
              <a:gd name="T36" fmla="*/ 2218 w 2415"/>
              <a:gd name="T37" fmla="*/ 9 h 980"/>
              <a:gd name="T38" fmla="*/ 2190 w 2415"/>
              <a:gd name="T39" fmla="*/ 47 h 980"/>
              <a:gd name="T40" fmla="*/ 2208 w 2415"/>
              <a:gd name="T41" fmla="*/ 45 h 980"/>
              <a:gd name="T42" fmla="*/ 2209 w 2415"/>
              <a:gd name="T43" fmla="*/ 72 h 980"/>
              <a:gd name="T44" fmla="*/ 2141 w 2415"/>
              <a:gd name="T45" fmla="*/ 173 h 980"/>
              <a:gd name="T46" fmla="*/ 2156 w 2415"/>
              <a:gd name="T47" fmla="*/ 188 h 980"/>
              <a:gd name="T48" fmla="*/ 2185 w 2415"/>
              <a:gd name="T49" fmla="*/ 206 h 980"/>
              <a:gd name="T50" fmla="*/ 2236 w 2415"/>
              <a:gd name="T51" fmla="*/ 188 h 980"/>
              <a:gd name="T52" fmla="*/ 2282 w 2415"/>
              <a:gd name="T53" fmla="*/ 178 h 980"/>
              <a:gd name="T54" fmla="*/ 2351 w 2415"/>
              <a:gd name="T55" fmla="*/ 170 h 980"/>
              <a:gd name="T56" fmla="*/ 2372 w 2415"/>
              <a:gd name="T57" fmla="*/ 176 h 980"/>
              <a:gd name="T58" fmla="*/ 2398 w 2415"/>
              <a:gd name="T59" fmla="*/ 168 h 980"/>
              <a:gd name="T60" fmla="*/ 2154 w 2415"/>
              <a:gd name="T61" fmla="*/ 392 h 980"/>
              <a:gd name="T62" fmla="*/ 1971 w 2415"/>
              <a:gd name="T63" fmla="*/ 523 h 980"/>
              <a:gd name="T64" fmla="*/ 1920 w 2415"/>
              <a:gd name="T65" fmla="*/ 568 h 980"/>
              <a:gd name="T66" fmla="*/ 1902 w 2415"/>
              <a:gd name="T67" fmla="*/ 612 h 980"/>
              <a:gd name="T68" fmla="*/ 1893 w 2415"/>
              <a:gd name="T69" fmla="*/ 671 h 980"/>
              <a:gd name="T70" fmla="*/ 1826 w 2415"/>
              <a:gd name="T71" fmla="*/ 690 h 980"/>
              <a:gd name="T72" fmla="*/ 1798 w 2415"/>
              <a:gd name="T73" fmla="*/ 717 h 980"/>
              <a:gd name="T74" fmla="*/ 1544 w 2415"/>
              <a:gd name="T75" fmla="*/ 851 h 980"/>
              <a:gd name="T76" fmla="*/ 1393 w 2415"/>
              <a:gd name="T77" fmla="*/ 906 h 980"/>
              <a:gd name="T78" fmla="*/ 1240 w 2415"/>
              <a:gd name="T79" fmla="*/ 927 h 980"/>
              <a:gd name="T80" fmla="*/ 1219 w 2415"/>
              <a:gd name="T81" fmla="*/ 933 h 980"/>
              <a:gd name="T82" fmla="*/ 1284 w 2415"/>
              <a:gd name="T83" fmla="*/ 963 h 980"/>
              <a:gd name="T84" fmla="*/ 1243 w 2415"/>
              <a:gd name="T85" fmla="*/ 980 h 980"/>
              <a:gd name="T86" fmla="*/ 1135 w 2415"/>
              <a:gd name="T87" fmla="*/ 926 h 980"/>
              <a:gd name="T88" fmla="*/ 953 w 2415"/>
              <a:gd name="T89" fmla="*/ 897 h 980"/>
              <a:gd name="T90" fmla="*/ 647 w 2415"/>
              <a:gd name="T91" fmla="*/ 796 h 980"/>
              <a:gd name="T92" fmla="*/ 207 w 2415"/>
              <a:gd name="T93" fmla="*/ 459 h 980"/>
              <a:gd name="T94" fmla="*/ 24 w 2415"/>
              <a:gd name="T95" fmla="*/ 152 h 980"/>
              <a:gd name="T96" fmla="*/ 9 w 2415"/>
              <a:gd name="T97" fmla="*/ 19 h 980"/>
              <a:gd name="T98" fmla="*/ 76 w 2415"/>
              <a:gd name="T99" fmla="*/ 0 h 9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415" h="980">
                <a:moveTo>
                  <a:pt x="76" y="0"/>
                </a:moveTo>
                <a:cubicBezTo>
                  <a:pt x="77" y="5"/>
                  <a:pt x="195" y="27"/>
                  <a:pt x="210" y="32"/>
                </a:cubicBezTo>
                <a:cubicBezTo>
                  <a:pt x="263" y="50"/>
                  <a:pt x="323" y="56"/>
                  <a:pt x="373" y="81"/>
                </a:cubicBezTo>
                <a:cubicBezTo>
                  <a:pt x="394" y="77"/>
                  <a:pt x="443" y="110"/>
                  <a:pt x="462" y="119"/>
                </a:cubicBezTo>
                <a:cubicBezTo>
                  <a:pt x="488" y="132"/>
                  <a:pt x="518" y="142"/>
                  <a:pt x="543" y="157"/>
                </a:cubicBezTo>
                <a:cubicBezTo>
                  <a:pt x="587" y="185"/>
                  <a:pt x="641" y="223"/>
                  <a:pt x="691" y="237"/>
                </a:cubicBezTo>
                <a:cubicBezTo>
                  <a:pt x="743" y="252"/>
                  <a:pt x="799" y="284"/>
                  <a:pt x="849" y="306"/>
                </a:cubicBezTo>
                <a:cubicBezTo>
                  <a:pt x="895" y="327"/>
                  <a:pt x="959" y="331"/>
                  <a:pt x="998" y="363"/>
                </a:cubicBezTo>
                <a:cubicBezTo>
                  <a:pt x="1010" y="373"/>
                  <a:pt x="1048" y="386"/>
                  <a:pt x="1064" y="388"/>
                </a:cubicBezTo>
                <a:cubicBezTo>
                  <a:pt x="1096" y="393"/>
                  <a:pt x="1102" y="411"/>
                  <a:pt x="1141" y="392"/>
                </a:cubicBezTo>
                <a:cubicBezTo>
                  <a:pt x="1195" y="364"/>
                  <a:pt x="1253" y="338"/>
                  <a:pt x="1310" y="315"/>
                </a:cubicBezTo>
                <a:cubicBezTo>
                  <a:pt x="1308" y="319"/>
                  <a:pt x="1307" y="322"/>
                  <a:pt x="1305" y="326"/>
                </a:cubicBezTo>
                <a:cubicBezTo>
                  <a:pt x="1312" y="323"/>
                  <a:pt x="1279" y="364"/>
                  <a:pt x="1269" y="371"/>
                </a:cubicBezTo>
                <a:cubicBezTo>
                  <a:pt x="1278" y="377"/>
                  <a:pt x="1309" y="340"/>
                  <a:pt x="1312" y="336"/>
                </a:cubicBezTo>
                <a:cubicBezTo>
                  <a:pt x="1317" y="351"/>
                  <a:pt x="1264" y="376"/>
                  <a:pt x="1274" y="386"/>
                </a:cubicBezTo>
                <a:cubicBezTo>
                  <a:pt x="1293" y="386"/>
                  <a:pt x="1305" y="358"/>
                  <a:pt x="1322" y="358"/>
                </a:cubicBezTo>
                <a:cubicBezTo>
                  <a:pt x="1313" y="372"/>
                  <a:pt x="1293" y="384"/>
                  <a:pt x="1281" y="394"/>
                </a:cubicBezTo>
                <a:cubicBezTo>
                  <a:pt x="1290" y="407"/>
                  <a:pt x="1324" y="371"/>
                  <a:pt x="1331" y="366"/>
                </a:cubicBezTo>
                <a:cubicBezTo>
                  <a:pt x="1328" y="381"/>
                  <a:pt x="1302" y="386"/>
                  <a:pt x="1299" y="400"/>
                </a:cubicBezTo>
                <a:cubicBezTo>
                  <a:pt x="1318" y="400"/>
                  <a:pt x="1330" y="379"/>
                  <a:pt x="1348" y="376"/>
                </a:cubicBezTo>
                <a:cubicBezTo>
                  <a:pt x="1342" y="389"/>
                  <a:pt x="1323" y="392"/>
                  <a:pt x="1315" y="404"/>
                </a:cubicBezTo>
                <a:cubicBezTo>
                  <a:pt x="1327" y="399"/>
                  <a:pt x="1337" y="390"/>
                  <a:pt x="1349" y="384"/>
                </a:cubicBezTo>
                <a:cubicBezTo>
                  <a:pt x="1355" y="390"/>
                  <a:pt x="1351" y="395"/>
                  <a:pt x="1338" y="398"/>
                </a:cubicBezTo>
                <a:cubicBezTo>
                  <a:pt x="1346" y="399"/>
                  <a:pt x="1351" y="390"/>
                  <a:pt x="1358" y="390"/>
                </a:cubicBezTo>
                <a:cubicBezTo>
                  <a:pt x="1352" y="398"/>
                  <a:pt x="1343" y="403"/>
                  <a:pt x="1337" y="411"/>
                </a:cubicBezTo>
                <a:cubicBezTo>
                  <a:pt x="1341" y="413"/>
                  <a:pt x="1368" y="395"/>
                  <a:pt x="1378" y="395"/>
                </a:cubicBezTo>
                <a:cubicBezTo>
                  <a:pt x="1363" y="411"/>
                  <a:pt x="1346" y="424"/>
                  <a:pt x="1330" y="438"/>
                </a:cubicBezTo>
                <a:cubicBezTo>
                  <a:pt x="1334" y="445"/>
                  <a:pt x="1381" y="404"/>
                  <a:pt x="1390" y="402"/>
                </a:cubicBezTo>
                <a:cubicBezTo>
                  <a:pt x="1382" y="417"/>
                  <a:pt x="1363" y="424"/>
                  <a:pt x="1354" y="439"/>
                </a:cubicBezTo>
                <a:cubicBezTo>
                  <a:pt x="1403" y="439"/>
                  <a:pt x="1451" y="446"/>
                  <a:pt x="1500" y="442"/>
                </a:cubicBezTo>
                <a:cubicBezTo>
                  <a:pt x="1517" y="440"/>
                  <a:pt x="1576" y="449"/>
                  <a:pt x="1590" y="435"/>
                </a:cubicBezTo>
                <a:cubicBezTo>
                  <a:pt x="1598" y="427"/>
                  <a:pt x="1684" y="417"/>
                  <a:pt x="1696" y="417"/>
                </a:cubicBezTo>
                <a:cubicBezTo>
                  <a:pt x="1729" y="417"/>
                  <a:pt x="1788" y="402"/>
                  <a:pt x="1817" y="387"/>
                </a:cubicBezTo>
                <a:cubicBezTo>
                  <a:pt x="1857" y="365"/>
                  <a:pt x="1912" y="368"/>
                  <a:pt x="1945" y="330"/>
                </a:cubicBezTo>
                <a:cubicBezTo>
                  <a:pt x="1975" y="294"/>
                  <a:pt x="2008" y="259"/>
                  <a:pt x="2036" y="221"/>
                </a:cubicBezTo>
                <a:cubicBezTo>
                  <a:pt x="2072" y="171"/>
                  <a:pt x="2106" y="120"/>
                  <a:pt x="2142" y="70"/>
                </a:cubicBezTo>
                <a:cubicBezTo>
                  <a:pt x="2155" y="53"/>
                  <a:pt x="2169" y="40"/>
                  <a:pt x="2184" y="25"/>
                </a:cubicBezTo>
                <a:cubicBezTo>
                  <a:pt x="2206" y="4"/>
                  <a:pt x="2198" y="22"/>
                  <a:pt x="2218" y="9"/>
                </a:cubicBezTo>
                <a:cubicBezTo>
                  <a:pt x="2215" y="16"/>
                  <a:pt x="2218" y="13"/>
                  <a:pt x="2223" y="11"/>
                </a:cubicBezTo>
                <a:cubicBezTo>
                  <a:pt x="2225" y="19"/>
                  <a:pt x="2195" y="41"/>
                  <a:pt x="2190" y="47"/>
                </a:cubicBezTo>
                <a:cubicBezTo>
                  <a:pt x="2176" y="64"/>
                  <a:pt x="2156" y="89"/>
                  <a:pt x="2150" y="111"/>
                </a:cubicBezTo>
                <a:cubicBezTo>
                  <a:pt x="2170" y="101"/>
                  <a:pt x="2190" y="60"/>
                  <a:pt x="2208" y="45"/>
                </a:cubicBezTo>
                <a:cubicBezTo>
                  <a:pt x="2212" y="63"/>
                  <a:pt x="2165" y="104"/>
                  <a:pt x="2154" y="120"/>
                </a:cubicBezTo>
                <a:cubicBezTo>
                  <a:pt x="2174" y="111"/>
                  <a:pt x="2188" y="83"/>
                  <a:pt x="2209" y="72"/>
                </a:cubicBezTo>
                <a:cubicBezTo>
                  <a:pt x="2214" y="77"/>
                  <a:pt x="2187" y="122"/>
                  <a:pt x="2184" y="125"/>
                </a:cubicBezTo>
                <a:cubicBezTo>
                  <a:pt x="2173" y="143"/>
                  <a:pt x="2151" y="154"/>
                  <a:pt x="2141" y="173"/>
                </a:cubicBezTo>
                <a:cubicBezTo>
                  <a:pt x="2163" y="163"/>
                  <a:pt x="2187" y="135"/>
                  <a:pt x="2208" y="122"/>
                </a:cubicBezTo>
                <a:cubicBezTo>
                  <a:pt x="2216" y="142"/>
                  <a:pt x="2162" y="171"/>
                  <a:pt x="2156" y="188"/>
                </a:cubicBezTo>
                <a:cubicBezTo>
                  <a:pt x="2172" y="177"/>
                  <a:pt x="2187" y="165"/>
                  <a:pt x="2206" y="158"/>
                </a:cubicBezTo>
                <a:cubicBezTo>
                  <a:pt x="2202" y="174"/>
                  <a:pt x="2191" y="191"/>
                  <a:pt x="2185" y="206"/>
                </a:cubicBezTo>
                <a:cubicBezTo>
                  <a:pt x="2190" y="209"/>
                  <a:pt x="2194" y="207"/>
                  <a:pt x="2198" y="201"/>
                </a:cubicBezTo>
                <a:cubicBezTo>
                  <a:pt x="2202" y="212"/>
                  <a:pt x="2218" y="197"/>
                  <a:pt x="2236" y="188"/>
                </a:cubicBezTo>
                <a:cubicBezTo>
                  <a:pt x="2239" y="203"/>
                  <a:pt x="2210" y="226"/>
                  <a:pt x="2204" y="239"/>
                </a:cubicBezTo>
                <a:cubicBezTo>
                  <a:pt x="2227" y="234"/>
                  <a:pt x="2257" y="172"/>
                  <a:pt x="2282" y="178"/>
                </a:cubicBezTo>
                <a:cubicBezTo>
                  <a:pt x="2275" y="196"/>
                  <a:pt x="2193" y="272"/>
                  <a:pt x="2196" y="282"/>
                </a:cubicBezTo>
                <a:cubicBezTo>
                  <a:pt x="2246" y="242"/>
                  <a:pt x="2291" y="188"/>
                  <a:pt x="2351" y="170"/>
                </a:cubicBezTo>
                <a:cubicBezTo>
                  <a:pt x="2345" y="183"/>
                  <a:pt x="2310" y="216"/>
                  <a:pt x="2309" y="226"/>
                </a:cubicBezTo>
                <a:cubicBezTo>
                  <a:pt x="2324" y="220"/>
                  <a:pt x="2359" y="175"/>
                  <a:pt x="2372" y="176"/>
                </a:cubicBezTo>
                <a:cubicBezTo>
                  <a:pt x="2356" y="192"/>
                  <a:pt x="2341" y="208"/>
                  <a:pt x="2326" y="223"/>
                </a:cubicBezTo>
                <a:cubicBezTo>
                  <a:pt x="2344" y="220"/>
                  <a:pt x="2383" y="180"/>
                  <a:pt x="2398" y="168"/>
                </a:cubicBezTo>
                <a:cubicBezTo>
                  <a:pt x="2415" y="201"/>
                  <a:pt x="2323" y="263"/>
                  <a:pt x="2306" y="275"/>
                </a:cubicBezTo>
                <a:cubicBezTo>
                  <a:pt x="2253" y="312"/>
                  <a:pt x="2204" y="352"/>
                  <a:pt x="2154" y="392"/>
                </a:cubicBezTo>
                <a:cubicBezTo>
                  <a:pt x="2118" y="421"/>
                  <a:pt x="2086" y="455"/>
                  <a:pt x="2043" y="475"/>
                </a:cubicBezTo>
                <a:cubicBezTo>
                  <a:pt x="2020" y="486"/>
                  <a:pt x="1988" y="502"/>
                  <a:pt x="1971" y="523"/>
                </a:cubicBezTo>
                <a:cubicBezTo>
                  <a:pt x="1957" y="529"/>
                  <a:pt x="1910" y="563"/>
                  <a:pt x="1903" y="578"/>
                </a:cubicBezTo>
                <a:cubicBezTo>
                  <a:pt x="1909" y="575"/>
                  <a:pt x="1915" y="572"/>
                  <a:pt x="1920" y="568"/>
                </a:cubicBezTo>
                <a:cubicBezTo>
                  <a:pt x="1919" y="590"/>
                  <a:pt x="1861" y="604"/>
                  <a:pt x="1861" y="623"/>
                </a:cubicBezTo>
                <a:cubicBezTo>
                  <a:pt x="1868" y="628"/>
                  <a:pt x="1897" y="613"/>
                  <a:pt x="1902" y="612"/>
                </a:cubicBezTo>
                <a:cubicBezTo>
                  <a:pt x="1880" y="638"/>
                  <a:pt x="1837" y="637"/>
                  <a:pt x="1817" y="661"/>
                </a:cubicBezTo>
                <a:cubicBezTo>
                  <a:pt x="1833" y="675"/>
                  <a:pt x="1873" y="669"/>
                  <a:pt x="1893" y="671"/>
                </a:cubicBezTo>
                <a:cubicBezTo>
                  <a:pt x="1868" y="675"/>
                  <a:pt x="1859" y="679"/>
                  <a:pt x="1828" y="685"/>
                </a:cubicBezTo>
                <a:cubicBezTo>
                  <a:pt x="1841" y="691"/>
                  <a:pt x="1837" y="686"/>
                  <a:pt x="1826" y="690"/>
                </a:cubicBezTo>
                <a:cubicBezTo>
                  <a:pt x="1837" y="691"/>
                  <a:pt x="1851" y="684"/>
                  <a:pt x="1861" y="689"/>
                </a:cubicBezTo>
                <a:cubicBezTo>
                  <a:pt x="1855" y="697"/>
                  <a:pt x="1809" y="714"/>
                  <a:pt x="1798" y="717"/>
                </a:cubicBezTo>
                <a:cubicBezTo>
                  <a:pt x="1760" y="728"/>
                  <a:pt x="1726" y="747"/>
                  <a:pt x="1687" y="756"/>
                </a:cubicBezTo>
                <a:cubicBezTo>
                  <a:pt x="1628" y="769"/>
                  <a:pt x="1599" y="833"/>
                  <a:pt x="1544" y="851"/>
                </a:cubicBezTo>
                <a:cubicBezTo>
                  <a:pt x="1527" y="857"/>
                  <a:pt x="1479" y="876"/>
                  <a:pt x="1466" y="888"/>
                </a:cubicBezTo>
                <a:cubicBezTo>
                  <a:pt x="1450" y="902"/>
                  <a:pt x="1413" y="901"/>
                  <a:pt x="1393" y="906"/>
                </a:cubicBezTo>
                <a:cubicBezTo>
                  <a:pt x="1352" y="919"/>
                  <a:pt x="1295" y="903"/>
                  <a:pt x="1257" y="919"/>
                </a:cubicBezTo>
                <a:cubicBezTo>
                  <a:pt x="1277" y="935"/>
                  <a:pt x="1254" y="914"/>
                  <a:pt x="1240" y="927"/>
                </a:cubicBezTo>
                <a:cubicBezTo>
                  <a:pt x="1248" y="928"/>
                  <a:pt x="1269" y="930"/>
                  <a:pt x="1275" y="936"/>
                </a:cubicBezTo>
                <a:cubicBezTo>
                  <a:pt x="1265" y="936"/>
                  <a:pt x="1225" y="928"/>
                  <a:pt x="1219" y="933"/>
                </a:cubicBezTo>
                <a:cubicBezTo>
                  <a:pt x="1224" y="945"/>
                  <a:pt x="1273" y="957"/>
                  <a:pt x="1285" y="962"/>
                </a:cubicBezTo>
                <a:cubicBezTo>
                  <a:pt x="1283" y="961"/>
                  <a:pt x="1282" y="962"/>
                  <a:pt x="1284" y="963"/>
                </a:cubicBezTo>
                <a:cubicBezTo>
                  <a:pt x="1255" y="963"/>
                  <a:pt x="1227" y="945"/>
                  <a:pt x="1198" y="947"/>
                </a:cubicBezTo>
                <a:cubicBezTo>
                  <a:pt x="1213" y="958"/>
                  <a:pt x="1231" y="966"/>
                  <a:pt x="1243" y="980"/>
                </a:cubicBezTo>
                <a:cubicBezTo>
                  <a:pt x="1229" y="977"/>
                  <a:pt x="1213" y="959"/>
                  <a:pt x="1198" y="953"/>
                </a:cubicBezTo>
                <a:cubicBezTo>
                  <a:pt x="1177" y="944"/>
                  <a:pt x="1156" y="935"/>
                  <a:pt x="1135" y="926"/>
                </a:cubicBezTo>
                <a:cubicBezTo>
                  <a:pt x="1103" y="913"/>
                  <a:pt x="1069" y="923"/>
                  <a:pt x="1038" y="911"/>
                </a:cubicBezTo>
                <a:cubicBezTo>
                  <a:pt x="1011" y="901"/>
                  <a:pt x="979" y="907"/>
                  <a:pt x="953" y="897"/>
                </a:cubicBezTo>
                <a:cubicBezTo>
                  <a:pt x="927" y="886"/>
                  <a:pt x="880" y="880"/>
                  <a:pt x="852" y="876"/>
                </a:cubicBezTo>
                <a:cubicBezTo>
                  <a:pt x="784" y="868"/>
                  <a:pt x="707" y="828"/>
                  <a:pt x="647" y="796"/>
                </a:cubicBezTo>
                <a:cubicBezTo>
                  <a:pt x="573" y="756"/>
                  <a:pt x="495" y="725"/>
                  <a:pt x="425" y="679"/>
                </a:cubicBezTo>
                <a:cubicBezTo>
                  <a:pt x="343" y="625"/>
                  <a:pt x="261" y="540"/>
                  <a:pt x="207" y="459"/>
                </a:cubicBezTo>
                <a:cubicBezTo>
                  <a:pt x="165" y="397"/>
                  <a:pt x="116" y="345"/>
                  <a:pt x="80" y="278"/>
                </a:cubicBezTo>
                <a:cubicBezTo>
                  <a:pt x="58" y="237"/>
                  <a:pt x="36" y="197"/>
                  <a:pt x="24" y="152"/>
                </a:cubicBezTo>
                <a:cubicBezTo>
                  <a:pt x="19" y="135"/>
                  <a:pt x="19" y="87"/>
                  <a:pt x="8" y="77"/>
                </a:cubicBezTo>
                <a:cubicBezTo>
                  <a:pt x="0" y="69"/>
                  <a:pt x="4" y="29"/>
                  <a:pt x="9" y="19"/>
                </a:cubicBezTo>
                <a:cubicBezTo>
                  <a:pt x="18" y="1"/>
                  <a:pt x="57" y="0"/>
                  <a:pt x="76" y="0"/>
                </a:cubicBezTo>
                <a:cubicBezTo>
                  <a:pt x="76" y="1"/>
                  <a:pt x="73" y="0"/>
                  <a:pt x="76" y="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cs typeface="+mn-cs"/>
            </a:endParaRPr>
          </a:p>
        </p:txBody>
      </p:sp>
      <p:sp>
        <p:nvSpPr>
          <p:cNvPr id="9" name="Freeform 9">
            <a:extLst>
              <a:ext uri="{FF2B5EF4-FFF2-40B4-BE49-F238E27FC236}">
                <a16:creationId xmlns:a16="http://schemas.microsoft.com/office/drawing/2014/main" id="{54FD3C19-A1EA-4F99-B3B8-4174EF05DABE}"/>
              </a:ext>
            </a:extLst>
          </p:cNvPr>
          <p:cNvSpPr>
            <a:spLocks/>
          </p:cNvSpPr>
          <p:nvPr/>
        </p:nvSpPr>
        <p:spPr bwMode="auto">
          <a:xfrm>
            <a:off x="1006475" y="3533393"/>
            <a:ext cx="1679575" cy="2580070"/>
          </a:xfrm>
          <a:custGeom>
            <a:avLst/>
            <a:gdLst>
              <a:gd name="T0" fmla="*/ 675 w 1258"/>
              <a:gd name="T1" fmla="*/ 1776 h 1933"/>
              <a:gd name="T2" fmla="*/ 565 w 1258"/>
              <a:gd name="T3" fmla="*/ 1672 h 1933"/>
              <a:gd name="T4" fmla="*/ 418 w 1258"/>
              <a:gd name="T5" fmla="*/ 1444 h 1933"/>
              <a:gd name="T6" fmla="*/ 237 w 1258"/>
              <a:gd name="T7" fmla="*/ 1263 h 1933"/>
              <a:gd name="T8" fmla="*/ 70 w 1258"/>
              <a:gd name="T9" fmla="*/ 1185 h 1933"/>
              <a:gd name="T10" fmla="*/ 0 w 1258"/>
              <a:gd name="T11" fmla="*/ 1112 h 1933"/>
              <a:gd name="T12" fmla="*/ 100 w 1258"/>
              <a:gd name="T13" fmla="*/ 983 h 1933"/>
              <a:gd name="T14" fmla="*/ 191 w 1258"/>
              <a:gd name="T15" fmla="*/ 811 h 1933"/>
              <a:gd name="T16" fmla="*/ 360 w 1258"/>
              <a:gd name="T17" fmla="*/ 898 h 1933"/>
              <a:gd name="T18" fmla="*/ 491 w 1258"/>
              <a:gd name="T19" fmla="*/ 929 h 1933"/>
              <a:gd name="T20" fmla="*/ 484 w 1258"/>
              <a:gd name="T21" fmla="*/ 767 h 1933"/>
              <a:gd name="T22" fmla="*/ 497 w 1258"/>
              <a:gd name="T23" fmla="*/ 620 h 1933"/>
              <a:gd name="T24" fmla="*/ 531 w 1258"/>
              <a:gd name="T25" fmla="*/ 492 h 1933"/>
              <a:gd name="T26" fmla="*/ 407 w 1258"/>
              <a:gd name="T27" fmla="*/ 338 h 1933"/>
              <a:gd name="T28" fmla="*/ 243 w 1258"/>
              <a:gd name="T29" fmla="*/ 151 h 1933"/>
              <a:gd name="T30" fmla="*/ 337 w 1258"/>
              <a:gd name="T31" fmla="*/ 113 h 1933"/>
              <a:gd name="T32" fmla="*/ 401 w 1258"/>
              <a:gd name="T33" fmla="*/ 116 h 1933"/>
              <a:gd name="T34" fmla="*/ 661 w 1258"/>
              <a:gd name="T35" fmla="*/ 175 h 1933"/>
              <a:gd name="T36" fmla="*/ 801 w 1258"/>
              <a:gd name="T37" fmla="*/ 22 h 1933"/>
              <a:gd name="T38" fmla="*/ 866 w 1258"/>
              <a:gd name="T39" fmla="*/ 7 h 1933"/>
              <a:gd name="T40" fmla="*/ 935 w 1258"/>
              <a:gd name="T41" fmla="*/ 16 h 1933"/>
              <a:gd name="T42" fmla="*/ 952 w 1258"/>
              <a:gd name="T43" fmla="*/ 53 h 1933"/>
              <a:gd name="T44" fmla="*/ 794 w 1258"/>
              <a:gd name="T45" fmla="*/ 528 h 1933"/>
              <a:gd name="T46" fmla="*/ 1003 w 1258"/>
              <a:gd name="T47" fmla="*/ 445 h 1933"/>
              <a:gd name="T48" fmla="*/ 1062 w 1258"/>
              <a:gd name="T49" fmla="*/ 575 h 1933"/>
              <a:gd name="T50" fmla="*/ 1020 w 1258"/>
              <a:gd name="T51" fmla="*/ 692 h 1933"/>
              <a:gd name="T52" fmla="*/ 977 w 1258"/>
              <a:gd name="T53" fmla="*/ 789 h 1933"/>
              <a:gd name="T54" fmla="*/ 1018 w 1258"/>
              <a:gd name="T55" fmla="*/ 885 h 1933"/>
              <a:gd name="T56" fmla="*/ 1076 w 1258"/>
              <a:gd name="T57" fmla="*/ 797 h 1933"/>
              <a:gd name="T58" fmla="*/ 1155 w 1258"/>
              <a:gd name="T59" fmla="*/ 725 h 1933"/>
              <a:gd name="T60" fmla="*/ 1256 w 1258"/>
              <a:gd name="T61" fmla="*/ 776 h 1933"/>
              <a:gd name="T62" fmla="*/ 1199 w 1258"/>
              <a:gd name="T63" fmla="*/ 942 h 1933"/>
              <a:gd name="T64" fmla="*/ 1221 w 1258"/>
              <a:gd name="T65" fmla="*/ 1099 h 1933"/>
              <a:gd name="T66" fmla="*/ 1204 w 1258"/>
              <a:gd name="T67" fmla="*/ 1251 h 1933"/>
              <a:gd name="T68" fmla="*/ 1111 w 1258"/>
              <a:gd name="T69" fmla="*/ 1265 h 1933"/>
              <a:gd name="T70" fmla="*/ 1120 w 1258"/>
              <a:gd name="T71" fmla="*/ 1449 h 1933"/>
              <a:gd name="T72" fmla="*/ 1204 w 1258"/>
              <a:gd name="T73" fmla="*/ 1607 h 1933"/>
              <a:gd name="T74" fmla="*/ 1088 w 1258"/>
              <a:gd name="T75" fmla="*/ 1632 h 1933"/>
              <a:gd name="T76" fmla="*/ 1070 w 1258"/>
              <a:gd name="T77" fmla="*/ 1816 h 1933"/>
              <a:gd name="T78" fmla="*/ 894 w 1258"/>
              <a:gd name="T79" fmla="*/ 1928 h 1933"/>
              <a:gd name="T80" fmla="*/ 750 w 1258"/>
              <a:gd name="T81" fmla="*/ 1837 h 19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258" h="1933">
                <a:moveTo>
                  <a:pt x="750" y="1837"/>
                </a:moveTo>
                <a:cubicBezTo>
                  <a:pt x="726" y="1824"/>
                  <a:pt x="704" y="1780"/>
                  <a:pt x="675" y="1776"/>
                </a:cubicBezTo>
                <a:cubicBezTo>
                  <a:pt x="676" y="1760"/>
                  <a:pt x="604" y="1724"/>
                  <a:pt x="594" y="1705"/>
                </a:cubicBezTo>
                <a:cubicBezTo>
                  <a:pt x="588" y="1693"/>
                  <a:pt x="571" y="1685"/>
                  <a:pt x="565" y="1672"/>
                </a:cubicBezTo>
                <a:cubicBezTo>
                  <a:pt x="558" y="1654"/>
                  <a:pt x="530" y="1618"/>
                  <a:pt x="515" y="1607"/>
                </a:cubicBezTo>
                <a:cubicBezTo>
                  <a:pt x="471" y="1575"/>
                  <a:pt x="439" y="1493"/>
                  <a:pt x="418" y="1444"/>
                </a:cubicBezTo>
                <a:cubicBezTo>
                  <a:pt x="395" y="1390"/>
                  <a:pt x="395" y="1311"/>
                  <a:pt x="333" y="1299"/>
                </a:cubicBezTo>
                <a:cubicBezTo>
                  <a:pt x="299" y="1292"/>
                  <a:pt x="269" y="1271"/>
                  <a:pt x="237" y="1263"/>
                </a:cubicBezTo>
                <a:cubicBezTo>
                  <a:pt x="237" y="1265"/>
                  <a:pt x="151" y="1226"/>
                  <a:pt x="140" y="1224"/>
                </a:cubicBezTo>
                <a:cubicBezTo>
                  <a:pt x="117" y="1220"/>
                  <a:pt x="93" y="1191"/>
                  <a:pt x="70" y="1185"/>
                </a:cubicBezTo>
                <a:cubicBezTo>
                  <a:pt x="69" y="1182"/>
                  <a:pt x="44" y="1166"/>
                  <a:pt x="39" y="1166"/>
                </a:cubicBezTo>
                <a:cubicBezTo>
                  <a:pt x="29" y="1164"/>
                  <a:pt x="2" y="1122"/>
                  <a:pt x="0" y="1112"/>
                </a:cubicBezTo>
                <a:cubicBezTo>
                  <a:pt x="12" y="1088"/>
                  <a:pt x="17" y="1047"/>
                  <a:pt x="51" y="1039"/>
                </a:cubicBezTo>
                <a:cubicBezTo>
                  <a:pt x="55" y="1027"/>
                  <a:pt x="91" y="993"/>
                  <a:pt x="100" y="983"/>
                </a:cubicBezTo>
                <a:cubicBezTo>
                  <a:pt x="126" y="958"/>
                  <a:pt x="138" y="910"/>
                  <a:pt x="150" y="877"/>
                </a:cubicBezTo>
                <a:cubicBezTo>
                  <a:pt x="156" y="862"/>
                  <a:pt x="174" y="816"/>
                  <a:pt x="191" y="811"/>
                </a:cubicBezTo>
                <a:cubicBezTo>
                  <a:pt x="196" y="799"/>
                  <a:pt x="225" y="827"/>
                  <a:pt x="232" y="826"/>
                </a:cubicBezTo>
                <a:cubicBezTo>
                  <a:pt x="272" y="823"/>
                  <a:pt x="321" y="883"/>
                  <a:pt x="360" y="898"/>
                </a:cubicBezTo>
                <a:cubicBezTo>
                  <a:pt x="381" y="906"/>
                  <a:pt x="387" y="914"/>
                  <a:pt x="411" y="915"/>
                </a:cubicBezTo>
                <a:cubicBezTo>
                  <a:pt x="439" y="916"/>
                  <a:pt x="462" y="934"/>
                  <a:pt x="491" y="929"/>
                </a:cubicBezTo>
                <a:cubicBezTo>
                  <a:pt x="512" y="898"/>
                  <a:pt x="501" y="847"/>
                  <a:pt x="504" y="813"/>
                </a:cubicBezTo>
                <a:cubicBezTo>
                  <a:pt x="496" y="798"/>
                  <a:pt x="494" y="782"/>
                  <a:pt x="484" y="767"/>
                </a:cubicBezTo>
                <a:cubicBezTo>
                  <a:pt x="472" y="762"/>
                  <a:pt x="462" y="742"/>
                  <a:pt x="461" y="730"/>
                </a:cubicBezTo>
                <a:cubicBezTo>
                  <a:pt x="457" y="697"/>
                  <a:pt x="467" y="643"/>
                  <a:pt x="497" y="620"/>
                </a:cubicBezTo>
                <a:cubicBezTo>
                  <a:pt x="520" y="603"/>
                  <a:pt x="541" y="585"/>
                  <a:pt x="559" y="619"/>
                </a:cubicBezTo>
                <a:cubicBezTo>
                  <a:pt x="557" y="575"/>
                  <a:pt x="562" y="529"/>
                  <a:pt x="531" y="492"/>
                </a:cubicBezTo>
                <a:cubicBezTo>
                  <a:pt x="517" y="475"/>
                  <a:pt x="496" y="410"/>
                  <a:pt x="473" y="406"/>
                </a:cubicBezTo>
                <a:cubicBezTo>
                  <a:pt x="457" y="403"/>
                  <a:pt x="422" y="350"/>
                  <a:pt x="407" y="338"/>
                </a:cubicBezTo>
                <a:cubicBezTo>
                  <a:pt x="359" y="297"/>
                  <a:pt x="309" y="256"/>
                  <a:pt x="265" y="214"/>
                </a:cubicBezTo>
                <a:cubicBezTo>
                  <a:pt x="237" y="209"/>
                  <a:pt x="228" y="169"/>
                  <a:pt x="243" y="151"/>
                </a:cubicBezTo>
                <a:cubicBezTo>
                  <a:pt x="259" y="132"/>
                  <a:pt x="265" y="129"/>
                  <a:pt x="283" y="129"/>
                </a:cubicBezTo>
                <a:cubicBezTo>
                  <a:pt x="292" y="115"/>
                  <a:pt x="323" y="114"/>
                  <a:pt x="337" y="113"/>
                </a:cubicBezTo>
                <a:cubicBezTo>
                  <a:pt x="342" y="113"/>
                  <a:pt x="355" y="111"/>
                  <a:pt x="357" y="118"/>
                </a:cubicBezTo>
                <a:cubicBezTo>
                  <a:pt x="372" y="122"/>
                  <a:pt x="384" y="117"/>
                  <a:pt x="401" y="116"/>
                </a:cubicBezTo>
                <a:cubicBezTo>
                  <a:pt x="468" y="114"/>
                  <a:pt x="536" y="149"/>
                  <a:pt x="600" y="174"/>
                </a:cubicBezTo>
                <a:cubicBezTo>
                  <a:pt x="627" y="185"/>
                  <a:pt x="634" y="198"/>
                  <a:pt x="661" y="175"/>
                </a:cubicBezTo>
                <a:cubicBezTo>
                  <a:pt x="686" y="153"/>
                  <a:pt x="702" y="102"/>
                  <a:pt x="737" y="90"/>
                </a:cubicBezTo>
                <a:cubicBezTo>
                  <a:pt x="769" y="78"/>
                  <a:pt x="776" y="41"/>
                  <a:pt x="801" y="22"/>
                </a:cubicBezTo>
                <a:cubicBezTo>
                  <a:pt x="810" y="14"/>
                  <a:pt x="834" y="18"/>
                  <a:pt x="841" y="8"/>
                </a:cubicBezTo>
                <a:cubicBezTo>
                  <a:pt x="846" y="0"/>
                  <a:pt x="860" y="5"/>
                  <a:pt x="866" y="7"/>
                </a:cubicBezTo>
                <a:cubicBezTo>
                  <a:pt x="876" y="20"/>
                  <a:pt x="858" y="46"/>
                  <a:pt x="859" y="62"/>
                </a:cubicBezTo>
                <a:cubicBezTo>
                  <a:pt x="886" y="21"/>
                  <a:pt x="888" y="8"/>
                  <a:pt x="935" y="16"/>
                </a:cubicBezTo>
                <a:cubicBezTo>
                  <a:pt x="937" y="24"/>
                  <a:pt x="952" y="14"/>
                  <a:pt x="955" y="29"/>
                </a:cubicBezTo>
                <a:cubicBezTo>
                  <a:pt x="956" y="38"/>
                  <a:pt x="953" y="45"/>
                  <a:pt x="952" y="53"/>
                </a:cubicBezTo>
                <a:cubicBezTo>
                  <a:pt x="950" y="100"/>
                  <a:pt x="911" y="147"/>
                  <a:pt x="893" y="189"/>
                </a:cubicBezTo>
                <a:cubicBezTo>
                  <a:pt x="848" y="294"/>
                  <a:pt x="769" y="409"/>
                  <a:pt x="794" y="528"/>
                </a:cubicBezTo>
                <a:cubicBezTo>
                  <a:pt x="815" y="449"/>
                  <a:pt x="865" y="448"/>
                  <a:pt x="933" y="440"/>
                </a:cubicBezTo>
                <a:cubicBezTo>
                  <a:pt x="938" y="418"/>
                  <a:pt x="999" y="457"/>
                  <a:pt x="1003" y="445"/>
                </a:cubicBezTo>
                <a:cubicBezTo>
                  <a:pt x="1034" y="435"/>
                  <a:pt x="1025" y="428"/>
                  <a:pt x="1051" y="455"/>
                </a:cubicBezTo>
                <a:cubicBezTo>
                  <a:pt x="1068" y="473"/>
                  <a:pt x="1074" y="557"/>
                  <a:pt x="1062" y="575"/>
                </a:cubicBezTo>
                <a:cubicBezTo>
                  <a:pt x="1055" y="586"/>
                  <a:pt x="1045" y="627"/>
                  <a:pt x="1044" y="637"/>
                </a:cubicBezTo>
                <a:cubicBezTo>
                  <a:pt x="1042" y="657"/>
                  <a:pt x="1024" y="673"/>
                  <a:pt x="1020" y="692"/>
                </a:cubicBezTo>
                <a:cubicBezTo>
                  <a:pt x="1016" y="709"/>
                  <a:pt x="1007" y="724"/>
                  <a:pt x="997" y="739"/>
                </a:cubicBezTo>
                <a:cubicBezTo>
                  <a:pt x="998" y="749"/>
                  <a:pt x="982" y="783"/>
                  <a:pt x="977" y="789"/>
                </a:cubicBezTo>
                <a:cubicBezTo>
                  <a:pt x="962" y="806"/>
                  <a:pt x="1008" y="913"/>
                  <a:pt x="1015" y="937"/>
                </a:cubicBezTo>
                <a:cubicBezTo>
                  <a:pt x="1018" y="920"/>
                  <a:pt x="1015" y="902"/>
                  <a:pt x="1018" y="885"/>
                </a:cubicBezTo>
                <a:cubicBezTo>
                  <a:pt x="1020" y="868"/>
                  <a:pt x="1036" y="867"/>
                  <a:pt x="1038" y="852"/>
                </a:cubicBezTo>
                <a:cubicBezTo>
                  <a:pt x="1040" y="817"/>
                  <a:pt x="1063" y="821"/>
                  <a:pt x="1076" y="797"/>
                </a:cubicBezTo>
                <a:cubicBezTo>
                  <a:pt x="1080" y="790"/>
                  <a:pt x="1118" y="753"/>
                  <a:pt x="1119" y="757"/>
                </a:cubicBezTo>
                <a:cubicBezTo>
                  <a:pt x="1123" y="758"/>
                  <a:pt x="1146" y="728"/>
                  <a:pt x="1155" y="725"/>
                </a:cubicBezTo>
                <a:cubicBezTo>
                  <a:pt x="1160" y="704"/>
                  <a:pt x="1241" y="707"/>
                  <a:pt x="1251" y="721"/>
                </a:cubicBezTo>
                <a:cubicBezTo>
                  <a:pt x="1251" y="740"/>
                  <a:pt x="1255" y="758"/>
                  <a:pt x="1256" y="776"/>
                </a:cubicBezTo>
                <a:cubicBezTo>
                  <a:pt x="1258" y="793"/>
                  <a:pt x="1244" y="807"/>
                  <a:pt x="1241" y="822"/>
                </a:cubicBezTo>
                <a:cubicBezTo>
                  <a:pt x="1217" y="843"/>
                  <a:pt x="1201" y="914"/>
                  <a:pt x="1199" y="942"/>
                </a:cubicBezTo>
                <a:cubicBezTo>
                  <a:pt x="1195" y="981"/>
                  <a:pt x="1165" y="1018"/>
                  <a:pt x="1180" y="1053"/>
                </a:cubicBezTo>
                <a:cubicBezTo>
                  <a:pt x="1187" y="1072"/>
                  <a:pt x="1215" y="1073"/>
                  <a:pt x="1221" y="1099"/>
                </a:cubicBezTo>
                <a:cubicBezTo>
                  <a:pt x="1228" y="1133"/>
                  <a:pt x="1249" y="1153"/>
                  <a:pt x="1246" y="1191"/>
                </a:cubicBezTo>
                <a:cubicBezTo>
                  <a:pt x="1243" y="1214"/>
                  <a:pt x="1223" y="1239"/>
                  <a:pt x="1204" y="1251"/>
                </a:cubicBezTo>
                <a:cubicBezTo>
                  <a:pt x="1180" y="1265"/>
                  <a:pt x="1173" y="1271"/>
                  <a:pt x="1143" y="1270"/>
                </a:cubicBezTo>
                <a:cubicBezTo>
                  <a:pt x="1132" y="1270"/>
                  <a:pt x="1122" y="1265"/>
                  <a:pt x="1111" y="1265"/>
                </a:cubicBezTo>
                <a:cubicBezTo>
                  <a:pt x="1100" y="1279"/>
                  <a:pt x="1109" y="1302"/>
                  <a:pt x="1111" y="1318"/>
                </a:cubicBezTo>
                <a:cubicBezTo>
                  <a:pt x="1114" y="1333"/>
                  <a:pt x="1114" y="1448"/>
                  <a:pt x="1120" y="1449"/>
                </a:cubicBezTo>
                <a:cubicBezTo>
                  <a:pt x="1121" y="1454"/>
                  <a:pt x="1150" y="1461"/>
                  <a:pt x="1153" y="1472"/>
                </a:cubicBezTo>
                <a:cubicBezTo>
                  <a:pt x="1158" y="1497"/>
                  <a:pt x="1249" y="1587"/>
                  <a:pt x="1204" y="1607"/>
                </a:cubicBezTo>
                <a:cubicBezTo>
                  <a:pt x="1201" y="1614"/>
                  <a:pt x="1128" y="1603"/>
                  <a:pt x="1126" y="1596"/>
                </a:cubicBezTo>
                <a:cubicBezTo>
                  <a:pt x="1093" y="1591"/>
                  <a:pt x="1090" y="1596"/>
                  <a:pt x="1088" y="1632"/>
                </a:cubicBezTo>
                <a:cubicBezTo>
                  <a:pt x="1088" y="1656"/>
                  <a:pt x="1082" y="1681"/>
                  <a:pt x="1076" y="1704"/>
                </a:cubicBezTo>
                <a:cubicBezTo>
                  <a:pt x="1051" y="1722"/>
                  <a:pt x="1071" y="1792"/>
                  <a:pt x="1070" y="1816"/>
                </a:cubicBezTo>
                <a:cubicBezTo>
                  <a:pt x="1069" y="1884"/>
                  <a:pt x="971" y="1917"/>
                  <a:pt x="918" y="1899"/>
                </a:cubicBezTo>
                <a:cubicBezTo>
                  <a:pt x="922" y="1913"/>
                  <a:pt x="895" y="1920"/>
                  <a:pt x="894" y="1928"/>
                </a:cubicBezTo>
                <a:cubicBezTo>
                  <a:pt x="864" y="1933"/>
                  <a:pt x="854" y="1923"/>
                  <a:pt x="829" y="1917"/>
                </a:cubicBezTo>
                <a:cubicBezTo>
                  <a:pt x="796" y="1910"/>
                  <a:pt x="766" y="1862"/>
                  <a:pt x="750" y="1837"/>
                </a:cubicBezTo>
                <a:cubicBezTo>
                  <a:pt x="749" y="1837"/>
                  <a:pt x="753" y="1841"/>
                  <a:pt x="750" y="1837"/>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cs typeface="+mn-cs"/>
            </a:endParaRPr>
          </a:p>
        </p:txBody>
      </p:sp>
      <p:sp>
        <p:nvSpPr>
          <p:cNvPr id="13" name="Freeform 13">
            <a:extLst>
              <a:ext uri="{FF2B5EF4-FFF2-40B4-BE49-F238E27FC236}">
                <a16:creationId xmlns:a16="http://schemas.microsoft.com/office/drawing/2014/main" id="{09E3D135-0E11-4307-80BC-F104BDFF5CC3}"/>
              </a:ext>
            </a:extLst>
          </p:cNvPr>
          <p:cNvSpPr>
            <a:spLocks/>
          </p:cNvSpPr>
          <p:nvPr/>
        </p:nvSpPr>
        <p:spPr bwMode="auto">
          <a:xfrm>
            <a:off x="4250077" y="435974"/>
            <a:ext cx="2644775" cy="3573052"/>
          </a:xfrm>
          <a:custGeom>
            <a:avLst/>
            <a:gdLst>
              <a:gd name="T0" fmla="*/ 51 w 1775"/>
              <a:gd name="T1" fmla="*/ 2172 h 2398"/>
              <a:gd name="T2" fmla="*/ 111 w 1775"/>
              <a:gd name="T3" fmla="*/ 2041 h 2398"/>
              <a:gd name="T4" fmla="*/ 320 w 1775"/>
              <a:gd name="T5" fmla="*/ 1679 h 2398"/>
              <a:gd name="T6" fmla="*/ 517 w 1775"/>
              <a:gd name="T7" fmla="*/ 1379 h 2398"/>
              <a:gd name="T8" fmla="*/ 695 w 1775"/>
              <a:gd name="T9" fmla="*/ 993 h 2398"/>
              <a:gd name="T10" fmla="*/ 698 w 1775"/>
              <a:gd name="T11" fmla="*/ 1076 h 2398"/>
              <a:gd name="T12" fmla="*/ 705 w 1775"/>
              <a:gd name="T13" fmla="*/ 1109 h 2398"/>
              <a:gd name="T14" fmla="*/ 770 w 1775"/>
              <a:gd name="T15" fmla="*/ 1110 h 2398"/>
              <a:gd name="T16" fmla="*/ 830 w 1775"/>
              <a:gd name="T17" fmla="*/ 1072 h 2398"/>
              <a:gd name="T18" fmla="*/ 1068 w 1775"/>
              <a:gd name="T19" fmla="*/ 852 h 2398"/>
              <a:gd name="T20" fmla="*/ 1197 w 1775"/>
              <a:gd name="T21" fmla="*/ 630 h 2398"/>
              <a:gd name="T22" fmla="*/ 1219 w 1775"/>
              <a:gd name="T23" fmla="*/ 468 h 2398"/>
              <a:gd name="T24" fmla="*/ 1255 w 1775"/>
              <a:gd name="T25" fmla="*/ 249 h 2398"/>
              <a:gd name="T26" fmla="*/ 1362 w 1775"/>
              <a:gd name="T27" fmla="*/ 14 h 2398"/>
              <a:gd name="T28" fmla="*/ 1323 w 1775"/>
              <a:gd name="T29" fmla="*/ 155 h 2398"/>
              <a:gd name="T30" fmla="*/ 1327 w 1775"/>
              <a:gd name="T31" fmla="*/ 235 h 2398"/>
              <a:gd name="T32" fmla="*/ 1332 w 1775"/>
              <a:gd name="T33" fmla="*/ 301 h 2398"/>
              <a:gd name="T34" fmla="*/ 1334 w 1775"/>
              <a:gd name="T35" fmla="*/ 374 h 2398"/>
              <a:gd name="T36" fmla="*/ 1337 w 1775"/>
              <a:gd name="T37" fmla="*/ 425 h 2398"/>
              <a:gd name="T38" fmla="*/ 1321 w 1775"/>
              <a:gd name="T39" fmla="*/ 492 h 2398"/>
              <a:gd name="T40" fmla="*/ 1332 w 1775"/>
              <a:gd name="T41" fmla="*/ 498 h 2398"/>
              <a:gd name="T42" fmla="*/ 1343 w 1775"/>
              <a:gd name="T43" fmla="*/ 555 h 2398"/>
              <a:gd name="T44" fmla="*/ 1388 w 1775"/>
              <a:gd name="T45" fmla="*/ 562 h 2398"/>
              <a:gd name="T46" fmla="*/ 1436 w 1775"/>
              <a:gd name="T47" fmla="*/ 518 h 2398"/>
              <a:gd name="T48" fmla="*/ 1473 w 1775"/>
              <a:gd name="T49" fmla="*/ 506 h 2398"/>
              <a:gd name="T50" fmla="*/ 1539 w 1775"/>
              <a:gd name="T51" fmla="*/ 457 h 2398"/>
              <a:gd name="T52" fmla="*/ 1592 w 1775"/>
              <a:gd name="T53" fmla="*/ 427 h 2398"/>
              <a:gd name="T54" fmla="*/ 1630 w 1775"/>
              <a:gd name="T55" fmla="*/ 397 h 2398"/>
              <a:gd name="T56" fmla="*/ 1669 w 1775"/>
              <a:gd name="T57" fmla="*/ 363 h 2398"/>
              <a:gd name="T58" fmla="*/ 1708 w 1775"/>
              <a:gd name="T59" fmla="*/ 319 h 2398"/>
              <a:gd name="T60" fmla="*/ 1735 w 1775"/>
              <a:gd name="T61" fmla="*/ 325 h 2398"/>
              <a:gd name="T62" fmla="*/ 1543 w 1775"/>
              <a:gd name="T63" fmla="*/ 599 h 2398"/>
              <a:gd name="T64" fmla="*/ 1412 w 1775"/>
              <a:gd name="T65" fmla="*/ 733 h 2398"/>
              <a:gd name="T66" fmla="*/ 1319 w 1775"/>
              <a:gd name="T67" fmla="*/ 941 h 2398"/>
              <a:gd name="T68" fmla="*/ 1323 w 1775"/>
              <a:gd name="T69" fmla="*/ 951 h 2398"/>
              <a:gd name="T70" fmla="*/ 1328 w 1775"/>
              <a:gd name="T71" fmla="*/ 981 h 2398"/>
              <a:gd name="T72" fmla="*/ 1334 w 1775"/>
              <a:gd name="T73" fmla="*/ 1006 h 2398"/>
              <a:gd name="T74" fmla="*/ 1269 w 1775"/>
              <a:gd name="T75" fmla="*/ 1204 h 2398"/>
              <a:gd name="T76" fmla="*/ 1201 w 1775"/>
              <a:gd name="T77" fmla="*/ 1386 h 2398"/>
              <a:gd name="T78" fmla="*/ 1249 w 1775"/>
              <a:gd name="T79" fmla="*/ 1433 h 2398"/>
              <a:gd name="T80" fmla="*/ 1271 w 1775"/>
              <a:gd name="T81" fmla="*/ 1421 h 2398"/>
              <a:gd name="T82" fmla="*/ 1095 w 1775"/>
              <a:gd name="T83" fmla="*/ 1613 h 2398"/>
              <a:gd name="T84" fmla="*/ 970 w 1775"/>
              <a:gd name="T85" fmla="*/ 1809 h 2398"/>
              <a:gd name="T86" fmla="*/ 841 w 1775"/>
              <a:gd name="T87" fmla="*/ 1950 h 2398"/>
              <a:gd name="T88" fmla="*/ 713 w 1775"/>
              <a:gd name="T89" fmla="*/ 2059 h 2398"/>
              <a:gd name="T90" fmla="*/ 531 w 1775"/>
              <a:gd name="T91" fmla="*/ 2190 h 2398"/>
              <a:gd name="T92" fmla="*/ 418 w 1775"/>
              <a:gd name="T93" fmla="*/ 2256 h 2398"/>
              <a:gd name="T94" fmla="*/ 278 w 1775"/>
              <a:gd name="T95" fmla="*/ 2315 h 2398"/>
              <a:gd name="T96" fmla="*/ 0 w 1775"/>
              <a:gd name="T97" fmla="*/ 2335 h 2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775" h="2398">
                <a:moveTo>
                  <a:pt x="0" y="2335"/>
                </a:moveTo>
                <a:cubicBezTo>
                  <a:pt x="5" y="2335"/>
                  <a:pt x="41" y="2180"/>
                  <a:pt x="51" y="2172"/>
                </a:cubicBezTo>
                <a:cubicBezTo>
                  <a:pt x="67" y="2158"/>
                  <a:pt x="63" y="2121"/>
                  <a:pt x="79" y="2106"/>
                </a:cubicBezTo>
                <a:cubicBezTo>
                  <a:pt x="95" y="2092"/>
                  <a:pt x="99" y="2059"/>
                  <a:pt x="111" y="2041"/>
                </a:cubicBezTo>
                <a:cubicBezTo>
                  <a:pt x="171" y="1950"/>
                  <a:pt x="205" y="1843"/>
                  <a:pt x="271" y="1757"/>
                </a:cubicBezTo>
                <a:cubicBezTo>
                  <a:pt x="270" y="1743"/>
                  <a:pt x="310" y="1691"/>
                  <a:pt x="320" y="1679"/>
                </a:cubicBezTo>
                <a:cubicBezTo>
                  <a:pt x="318" y="1663"/>
                  <a:pt x="364" y="1604"/>
                  <a:pt x="375" y="1589"/>
                </a:cubicBezTo>
                <a:cubicBezTo>
                  <a:pt x="426" y="1523"/>
                  <a:pt x="470" y="1448"/>
                  <a:pt x="517" y="1379"/>
                </a:cubicBezTo>
                <a:cubicBezTo>
                  <a:pt x="579" y="1289"/>
                  <a:pt x="567" y="1157"/>
                  <a:pt x="641" y="1072"/>
                </a:cubicBezTo>
                <a:cubicBezTo>
                  <a:pt x="659" y="1051"/>
                  <a:pt x="663" y="1002"/>
                  <a:pt x="695" y="993"/>
                </a:cubicBezTo>
                <a:cubicBezTo>
                  <a:pt x="708" y="1000"/>
                  <a:pt x="675" y="1095"/>
                  <a:pt x="681" y="1099"/>
                </a:cubicBezTo>
                <a:cubicBezTo>
                  <a:pt x="687" y="1092"/>
                  <a:pt x="692" y="1084"/>
                  <a:pt x="698" y="1076"/>
                </a:cubicBezTo>
                <a:cubicBezTo>
                  <a:pt x="699" y="1080"/>
                  <a:pt x="701" y="1081"/>
                  <a:pt x="704" y="1077"/>
                </a:cubicBezTo>
                <a:cubicBezTo>
                  <a:pt x="704" y="1078"/>
                  <a:pt x="703" y="1111"/>
                  <a:pt x="705" y="1109"/>
                </a:cubicBezTo>
                <a:cubicBezTo>
                  <a:pt x="705" y="1110"/>
                  <a:pt x="715" y="1142"/>
                  <a:pt x="715" y="1141"/>
                </a:cubicBezTo>
                <a:cubicBezTo>
                  <a:pt x="724" y="1146"/>
                  <a:pt x="757" y="1111"/>
                  <a:pt x="770" y="1110"/>
                </a:cubicBezTo>
                <a:cubicBezTo>
                  <a:pt x="777" y="1102"/>
                  <a:pt x="789" y="1106"/>
                  <a:pt x="797" y="1097"/>
                </a:cubicBezTo>
                <a:cubicBezTo>
                  <a:pt x="813" y="1096"/>
                  <a:pt x="819" y="1081"/>
                  <a:pt x="830" y="1072"/>
                </a:cubicBezTo>
                <a:cubicBezTo>
                  <a:pt x="869" y="1038"/>
                  <a:pt x="921" y="1001"/>
                  <a:pt x="953" y="960"/>
                </a:cubicBezTo>
                <a:cubicBezTo>
                  <a:pt x="982" y="921"/>
                  <a:pt x="1046" y="895"/>
                  <a:pt x="1068" y="852"/>
                </a:cubicBezTo>
                <a:cubicBezTo>
                  <a:pt x="1094" y="804"/>
                  <a:pt x="1194" y="761"/>
                  <a:pt x="1186" y="696"/>
                </a:cubicBezTo>
                <a:cubicBezTo>
                  <a:pt x="1194" y="685"/>
                  <a:pt x="1196" y="645"/>
                  <a:pt x="1197" y="630"/>
                </a:cubicBezTo>
                <a:cubicBezTo>
                  <a:pt x="1206" y="617"/>
                  <a:pt x="1202" y="589"/>
                  <a:pt x="1205" y="573"/>
                </a:cubicBezTo>
                <a:cubicBezTo>
                  <a:pt x="1217" y="554"/>
                  <a:pt x="1221" y="488"/>
                  <a:pt x="1219" y="468"/>
                </a:cubicBezTo>
                <a:cubicBezTo>
                  <a:pt x="1239" y="442"/>
                  <a:pt x="1215" y="386"/>
                  <a:pt x="1234" y="359"/>
                </a:cubicBezTo>
                <a:cubicBezTo>
                  <a:pt x="1230" y="328"/>
                  <a:pt x="1264" y="277"/>
                  <a:pt x="1255" y="249"/>
                </a:cubicBezTo>
                <a:cubicBezTo>
                  <a:pt x="1248" y="227"/>
                  <a:pt x="1278" y="161"/>
                  <a:pt x="1284" y="142"/>
                </a:cubicBezTo>
                <a:cubicBezTo>
                  <a:pt x="1290" y="121"/>
                  <a:pt x="1325" y="0"/>
                  <a:pt x="1362" y="14"/>
                </a:cubicBezTo>
                <a:cubicBezTo>
                  <a:pt x="1363" y="16"/>
                  <a:pt x="1339" y="77"/>
                  <a:pt x="1341" y="87"/>
                </a:cubicBezTo>
                <a:cubicBezTo>
                  <a:pt x="1336" y="94"/>
                  <a:pt x="1318" y="148"/>
                  <a:pt x="1323" y="155"/>
                </a:cubicBezTo>
                <a:cubicBezTo>
                  <a:pt x="1329" y="150"/>
                  <a:pt x="1329" y="134"/>
                  <a:pt x="1336" y="130"/>
                </a:cubicBezTo>
                <a:cubicBezTo>
                  <a:pt x="1346" y="141"/>
                  <a:pt x="1334" y="220"/>
                  <a:pt x="1327" y="235"/>
                </a:cubicBezTo>
                <a:cubicBezTo>
                  <a:pt x="1328" y="234"/>
                  <a:pt x="1331" y="290"/>
                  <a:pt x="1326" y="307"/>
                </a:cubicBezTo>
                <a:cubicBezTo>
                  <a:pt x="1330" y="309"/>
                  <a:pt x="1332" y="306"/>
                  <a:pt x="1332" y="301"/>
                </a:cubicBezTo>
                <a:cubicBezTo>
                  <a:pt x="1342" y="309"/>
                  <a:pt x="1333" y="329"/>
                  <a:pt x="1334" y="340"/>
                </a:cubicBezTo>
                <a:cubicBezTo>
                  <a:pt x="1335" y="348"/>
                  <a:pt x="1328" y="387"/>
                  <a:pt x="1334" y="374"/>
                </a:cubicBezTo>
                <a:cubicBezTo>
                  <a:pt x="1338" y="386"/>
                  <a:pt x="1328" y="399"/>
                  <a:pt x="1332" y="410"/>
                </a:cubicBezTo>
                <a:cubicBezTo>
                  <a:pt x="1340" y="401"/>
                  <a:pt x="1329" y="433"/>
                  <a:pt x="1337" y="425"/>
                </a:cubicBezTo>
                <a:cubicBezTo>
                  <a:pt x="1340" y="432"/>
                  <a:pt x="1328" y="453"/>
                  <a:pt x="1333" y="457"/>
                </a:cubicBezTo>
                <a:cubicBezTo>
                  <a:pt x="1338" y="442"/>
                  <a:pt x="1323" y="485"/>
                  <a:pt x="1321" y="492"/>
                </a:cubicBezTo>
                <a:cubicBezTo>
                  <a:pt x="1330" y="493"/>
                  <a:pt x="1333" y="466"/>
                  <a:pt x="1342" y="467"/>
                </a:cubicBezTo>
                <a:cubicBezTo>
                  <a:pt x="1345" y="472"/>
                  <a:pt x="1334" y="495"/>
                  <a:pt x="1332" y="498"/>
                </a:cubicBezTo>
                <a:cubicBezTo>
                  <a:pt x="1333" y="502"/>
                  <a:pt x="1337" y="494"/>
                  <a:pt x="1338" y="495"/>
                </a:cubicBezTo>
                <a:cubicBezTo>
                  <a:pt x="1343" y="499"/>
                  <a:pt x="1341" y="544"/>
                  <a:pt x="1343" y="555"/>
                </a:cubicBezTo>
                <a:cubicBezTo>
                  <a:pt x="1334" y="566"/>
                  <a:pt x="1347" y="578"/>
                  <a:pt x="1357" y="581"/>
                </a:cubicBezTo>
                <a:cubicBezTo>
                  <a:pt x="1364" y="573"/>
                  <a:pt x="1376" y="571"/>
                  <a:pt x="1388" y="562"/>
                </a:cubicBezTo>
                <a:cubicBezTo>
                  <a:pt x="1389" y="565"/>
                  <a:pt x="1389" y="567"/>
                  <a:pt x="1387" y="569"/>
                </a:cubicBezTo>
                <a:cubicBezTo>
                  <a:pt x="1394" y="570"/>
                  <a:pt x="1429" y="530"/>
                  <a:pt x="1436" y="518"/>
                </a:cubicBezTo>
                <a:cubicBezTo>
                  <a:pt x="1441" y="531"/>
                  <a:pt x="1424" y="562"/>
                  <a:pt x="1419" y="575"/>
                </a:cubicBezTo>
                <a:cubicBezTo>
                  <a:pt x="1429" y="577"/>
                  <a:pt x="1464" y="499"/>
                  <a:pt x="1473" y="506"/>
                </a:cubicBezTo>
                <a:cubicBezTo>
                  <a:pt x="1484" y="504"/>
                  <a:pt x="1513" y="470"/>
                  <a:pt x="1522" y="472"/>
                </a:cubicBezTo>
                <a:cubicBezTo>
                  <a:pt x="1503" y="496"/>
                  <a:pt x="1534" y="461"/>
                  <a:pt x="1539" y="457"/>
                </a:cubicBezTo>
                <a:cubicBezTo>
                  <a:pt x="1542" y="463"/>
                  <a:pt x="1528" y="478"/>
                  <a:pt x="1524" y="483"/>
                </a:cubicBezTo>
                <a:cubicBezTo>
                  <a:pt x="1528" y="486"/>
                  <a:pt x="1575" y="425"/>
                  <a:pt x="1592" y="427"/>
                </a:cubicBezTo>
                <a:cubicBezTo>
                  <a:pt x="1592" y="431"/>
                  <a:pt x="1590" y="434"/>
                  <a:pt x="1588" y="436"/>
                </a:cubicBezTo>
                <a:cubicBezTo>
                  <a:pt x="1589" y="437"/>
                  <a:pt x="1626" y="402"/>
                  <a:pt x="1630" y="397"/>
                </a:cubicBezTo>
                <a:cubicBezTo>
                  <a:pt x="1633" y="399"/>
                  <a:pt x="1632" y="402"/>
                  <a:pt x="1628" y="404"/>
                </a:cubicBezTo>
                <a:cubicBezTo>
                  <a:pt x="1635" y="405"/>
                  <a:pt x="1662" y="368"/>
                  <a:pt x="1669" y="363"/>
                </a:cubicBezTo>
                <a:cubicBezTo>
                  <a:pt x="1677" y="378"/>
                  <a:pt x="1634" y="411"/>
                  <a:pt x="1639" y="425"/>
                </a:cubicBezTo>
                <a:cubicBezTo>
                  <a:pt x="1667" y="391"/>
                  <a:pt x="1693" y="361"/>
                  <a:pt x="1708" y="319"/>
                </a:cubicBezTo>
                <a:cubicBezTo>
                  <a:pt x="1730" y="346"/>
                  <a:pt x="1656" y="406"/>
                  <a:pt x="1664" y="425"/>
                </a:cubicBezTo>
                <a:cubicBezTo>
                  <a:pt x="1694" y="404"/>
                  <a:pt x="1720" y="358"/>
                  <a:pt x="1735" y="325"/>
                </a:cubicBezTo>
                <a:cubicBezTo>
                  <a:pt x="1775" y="335"/>
                  <a:pt x="1627" y="506"/>
                  <a:pt x="1615" y="521"/>
                </a:cubicBezTo>
                <a:cubicBezTo>
                  <a:pt x="1594" y="549"/>
                  <a:pt x="1567" y="573"/>
                  <a:pt x="1543" y="599"/>
                </a:cubicBezTo>
                <a:cubicBezTo>
                  <a:pt x="1526" y="616"/>
                  <a:pt x="1487" y="640"/>
                  <a:pt x="1479" y="661"/>
                </a:cubicBezTo>
                <a:cubicBezTo>
                  <a:pt x="1471" y="686"/>
                  <a:pt x="1428" y="711"/>
                  <a:pt x="1412" y="733"/>
                </a:cubicBezTo>
                <a:cubicBezTo>
                  <a:pt x="1389" y="745"/>
                  <a:pt x="1374" y="788"/>
                  <a:pt x="1349" y="794"/>
                </a:cubicBezTo>
                <a:cubicBezTo>
                  <a:pt x="1338" y="819"/>
                  <a:pt x="1294" y="917"/>
                  <a:pt x="1319" y="941"/>
                </a:cubicBezTo>
                <a:cubicBezTo>
                  <a:pt x="1321" y="939"/>
                  <a:pt x="1323" y="936"/>
                  <a:pt x="1325" y="934"/>
                </a:cubicBezTo>
                <a:cubicBezTo>
                  <a:pt x="1325" y="934"/>
                  <a:pt x="1323" y="950"/>
                  <a:pt x="1323" y="951"/>
                </a:cubicBezTo>
                <a:cubicBezTo>
                  <a:pt x="1325" y="950"/>
                  <a:pt x="1326" y="948"/>
                  <a:pt x="1326" y="947"/>
                </a:cubicBezTo>
                <a:cubicBezTo>
                  <a:pt x="1330" y="951"/>
                  <a:pt x="1330" y="979"/>
                  <a:pt x="1328" y="981"/>
                </a:cubicBezTo>
                <a:cubicBezTo>
                  <a:pt x="1332" y="979"/>
                  <a:pt x="1334" y="975"/>
                  <a:pt x="1335" y="971"/>
                </a:cubicBezTo>
                <a:cubicBezTo>
                  <a:pt x="1339" y="975"/>
                  <a:pt x="1324" y="1020"/>
                  <a:pt x="1334" y="1006"/>
                </a:cubicBezTo>
                <a:cubicBezTo>
                  <a:pt x="1343" y="1036"/>
                  <a:pt x="1294" y="1122"/>
                  <a:pt x="1286" y="1148"/>
                </a:cubicBezTo>
                <a:cubicBezTo>
                  <a:pt x="1274" y="1157"/>
                  <a:pt x="1282" y="1195"/>
                  <a:pt x="1269" y="1204"/>
                </a:cubicBezTo>
                <a:cubicBezTo>
                  <a:pt x="1274" y="1214"/>
                  <a:pt x="1251" y="1262"/>
                  <a:pt x="1245" y="1275"/>
                </a:cubicBezTo>
                <a:cubicBezTo>
                  <a:pt x="1252" y="1288"/>
                  <a:pt x="1205" y="1374"/>
                  <a:pt x="1201" y="1386"/>
                </a:cubicBezTo>
                <a:cubicBezTo>
                  <a:pt x="1186" y="1424"/>
                  <a:pt x="1167" y="1458"/>
                  <a:pt x="1159" y="1497"/>
                </a:cubicBezTo>
                <a:cubicBezTo>
                  <a:pt x="1164" y="1502"/>
                  <a:pt x="1237" y="1428"/>
                  <a:pt x="1249" y="1433"/>
                </a:cubicBezTo>
                <a:cubicBezTo>
                  <a:pt x="1251" y="1436"/>
                  <a:pt x="1241" y="1447"/>
                  <a:pt x="1238" y="1451"/>
                </a:cubicBezTo>
                <a:cubicBezTo>
                  <a:pt x="1253" y="1454"/>
                  <a:pt x="1260" y="1417"/>
                  <a:pt x="1271" y="1421"/>
                </a:cubicBezTo>
                <a:cubicBezTo>
                  <a:pt x="1263" y="1459"/>
                  <a:pt x="1182" y="1537"/>
                  <a:pt x="1144" y="1555"/>
                </a:cubicBezTo>
                <a:cubicBezTo>
                  <a:pt x="1126" y="1564"/>
                  <a:pt x="1100" y="1594"/>
                  <a:pt x="1095" y="1613"/>
                </a:cubicBezTo>
                <a:cubicBezTo>
                  <a:pt x="1077" y="1637"/>
                  <a:pt x="1041" y="1679"/>
                  <a:pt x="1034" y="1709"/>
                </a:cubicBezTo>
                <a:cubicBezTo>
                  <a:pt x="1025" y="1741"/>
                  <a:pt x="989" y="1783"/>
                  <a:pt x="970" y="1809"/>
                </a:cubicBezTo>
                <a:cubicBezTo>
                  <a:pt x="947" y="1841"/>
                  <a:pt x="917" y="1883"/>
                  <a:pt x="885" y="1907"/>
                </a:cubicBezTo>
                <a:cubicBezTo>
                  <a:pt x="870" y="1919"/>
                  <a:pt x="853" y="1935"/>
                  <a:pt x="841" y="1950"/>
                </a:cubicBezTo>
                <a:cubicBezTo>
                  <a:pt x="829" y="1964"/>
                  <a:pt x="795" y="2003"/>
                  <a:pt x="776" y="2008"/>
                </a:cubicBezTo>
                <a:cubicBezTo>
                  <a:pt x="761" y="2012"/>
                  <a:pt x="723" y="2046"/>
                  <a:pt x="713" y="2059"/>
                </a:cubicBezTo>
                <a:cubicBezTo>
                  <a:pt x="696" y="2082"/>
                  <a:pt x="664" y="2091"/>
                  <a:pt x="646" y="2113"/>
                </a:cubicBezTo>
                <a:cubicBezTo>
                  <a:pt x="617" y="2146"/>
                  <a:pt x="564" y="2161"/>
                  <a:pt x="531" y="2190"/>
                </a:cubicBezTo>
                <a:cubicBezTo>
                  <a:pt x="519" y="2201"/>
                  <a:pt x="496" y="2221"/>
                  <a:pt x="479" y="2225"/>
                </a:cubicBezTo>
                <a:cubicBezTo>
                  <a:pt x="469" y="2227"/>
                  <a:pt x="424" y="2247"/>
                  <a:pt x="418" y="2256"/>
                </a:cubicBezTo>
                <a:cubicBezTo>
                  <a:pt x="406" y="2273"/>
                  <a:pt x="354" y="2269"/>
                  <a:pt x="345" y="2288"/>
                </a:cubicBezTo>
                <a:cubicBezTo>
                  <a:pt x="341" y="2296"/>
                  <a:pt x="288" y="2313"/>
                  <a:pt x="278" y="2315"/>
                </a:cubicBezTo>
                <a:cubicBezTo>
                  <a:pt x="253" y="2318"/>
                  <a:pt x="233" y="2338"/>
                  <a:pt x="208" y="2341"/>
                </a:cubicBezTo>
                <a:cubicBezTo>
                  <a:pt x="181" y="2373"/>
                  <a:pt x="8" y="2398"/>
                  <a:pt x="0" y="2335"/>
                </a:cubicBezTo>
                <a:cubicBezTo>
                  <a:pt x="1" y="2335"/>
                  <a:pt x="0" y="2338"/>
                  <a:pt x="0" y="2335"/>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cs typeface="+mn-cs"/>
            </a:endParaRPr>
          </a:p>
        </p:txBody>
      </p:sp>
      <p:sp>
        <p:nvSpPr>
          <p:cNvPr id="17" name="Freeform 17">
            <a:extLst>
              <a:ext uri="{FF2B5EF4-FFF2-40B4-BE49-F238E27FC236}">
                <a16:creationId xmlns:a16="http://schemas.microsoft.com/office/drawing/2014/main" id="{158F85CF-3CD9-4773-B3FA-393A65D81680}"/>
              </a:ext>
            </a:extLst>
          </p:cNvPr>
          <p:cNvSpPr>
            <a:spLocks/>
          </p:cNvSpPr>
          <p:nvPr/>
        </p:nvSpPr>
        <p:spPr bwMode="auto">
          <a:xfrm>
            <a:off x="3983806" y="4449762"/>
            <a:ext cx="2911046" cy="1663701"/>
          </a:xfrm>
          <a:custGeom>
            <a:avLst/>
            <a:gdLst>
              <a:gd name="T0" fmla="*/ 1234 w 1901"/>
              <a:gd name="T1" fmla="*/ 1081 h 1085"/>
              <a:gd name="T2" fmla="*/ 1188 w 1901"/>
              <a:gd name="T3" fmla="*/ 1059 h 1085"/>
              <a:gd name="T4" fmla="*/ 1162 w 1901"/>
              <a:gd name="T5" fmla="*/ 1022 h 1085"/>
              <a:gd name="T6" fmla="*/ 1183 w 1901"/>
              <a:gd name="T7" fmla="*/ 961 h 1085"/>
              <a:gd name="T8" fmla="*/ 1204 w 1901"/>
              <a:gd name="T9" fmla="*/ 937 h 1085"/>
              <a:gd name="T10" fmla="*/ 1160 w 1901"/>
              <a:gd name="T11" fmla="*/ 928 h 1085"/>
              <a:gd name="T12" fmla="*/ 1104 w 1901"/>
              <a:gd name="T13" fmla="*/ 940 h 1085"/>
              <a:gd name="T14" fmla="*/ 970 w 1901"/>
              <a:gd name="T15" fmla="*/ 973 h 1085"/>
              <a:gd name="T16" fmla="*/ 868 w 1901"/>
              <a:gd name="T17" fmla="*/ 986 h 1085"/>
              <a:gd name="T18" fmla="*/ 736 w 1901"/>
              <a:gd name="T19" fmla="*/ 981 h 1085"/>
              <a:gd name="T20" fmla="*/ 491 w 1901"/>
              <a:gd name="T21" fmla="*/ 852 h 1085"/>
              <a:gd name="T22" fmla="*/ 409 w 1901"/>
              <a:gd name="T23" fmla="*/ 726 h 1085"/>
              <a:gd name="T24" fmla="*/ 394 w 1901"/>
              <a:gd name="T25" fmla="*/ 658 h 1085"/>
              <a:gd name="T26" fmla="*/ 466 w 1901"/>
              <a:gd name="T27" fmla="*/ 643 h 1085"/>
              <a:gd name="T28" fmla="*/ 429 w 1901"/>
              <a:gd name="T29" fmla="*/ 630 h 1085"/>
              <a:gd name="T30" fmla="*/ 359 w 1901"/>
              <a:gd name="T31" fmla="*/ 649 h 1085"/>
              <a:gd name="T32" fmla="*/ 262 w 1901"/>
              <a:gd name="T33" fmla="*/ 734 h 1085"/>
              <a:gd name="T34" fmla="*/ 194 w 1901"/>
              <a:gd name="T35" fmla="*/ 804 h 1085"/>
              <a:gd name="T36" fmla="*/ 93 w 1901"/>
              <a:gd name="T37" fmla="*/ 856 h 1085"/>
              <a:gd name="T38" fmla="*/ 115 w 1901"/>
              <a:gd name="T39" fmla="*/ 764 h 1085"/>
              <a:gd name="T40" fmla="*/ 120 w 1901"/>
              <a:gd name="T41" fmla="*/ 619 h 1085"/>
              <a:gd name="T42" fmla="*/ 22 w 1901"/>
              <a:gd name="T43" fmla="*/ 345 h 1085"/>
              <a:gd name="T44" fmla="*/ 20 w 1901"/>
              <a:gd name="T45" fmla="*/ 306 h 1085"/>
              <a:gd name="T46" fmla="*/ 99 w 1901"/>
              <a:gd name="T47" fmla="*/ 307 h 1085"/>
              <a:gd name="T48" fmla="*/ 204 w 1901"/>
              <a:gd name="T49" fmla="*/ 361 h 1085"/>
              <a:gd name="T50" fmla="*/ 309 w 1901"/>
              <a:gd name="T51" fmla="*/ 438 h 1085"/>
              <a:gd name="T52" fmla="*/ 383 w 1901"/>
              <a:gd name="T53" fmla="*/ 454 h 1085"/>
              <a:gd name="T54" fmla="*/ 439 w 1901"/>
              <a:gd name="T55" fmla="*/ 414 h 1085"/>
              <a:gd name="T56" fmla="*/ 599 w 1901"/>
              <a:gd name="T57" fmla="*/ 156 h 1085"/>
              <a:gd name="T58" fmla="*/ 826 w 1901"/>
              <a:gd name="T59" fmla="*/ 37 h 1085"/>
              <a:gd name="T60" fmla="*/ 953 w 1901"/>
              <a:gd name="T61" fmla="*/ 18 h 1085"/>
              <a:gd name="T62" fmla="*/ 1041 w 1901"/>
              <a:gd name="T63" fmla="*/ 9 h 1085"/>
              <a:gd name="T64" fmla="*/ 1157 w 1901"/>
              <a:gd name="T65" fmla="*/ 7 h 1085"/>
              <a:gd name="T66" fmla="*/ 1426 w 1901"/>
              <a:gd name="T67" fmla="*/ 49 h 1085"/>
              <a:gd name="T68" fmla="*/ 1591 w 1901"/>
              <a:gd name="T69" fmla="*/ 128 h 1085"/>
              <a:gd name="T70" fmla="*/ 1722 w 1901"/>
              <a:gd name="T71" fmla="*/ 233 h 1085"/>
              <a:gd name="T72" fmla="*/ 1794 w 1901"/>
              <a:gd name="T73" fmla="*/ 372 h 1085"/>
              <a:gd name="T74" fmla="*/ 1810 w 1901"/>
              <a:gd name="T75" fmla="*/ 437 h 1085"/>
              <a:gd name="T76" fmla="*/ 1881 w 1901"/>
              <a:gd name="T77" fmla="*/ 511 h 1085"/>
              <a:gd name="T78" fmla="*/ 1837 w 1901"/>
              <a:gd name="T79" fmla="*/ 574 h 1085"/>
              <a:gd name="T80" fmla="*/ 1854 w 1901"/>
              <a:gd name="T81" fmla="*/ 587 h 1085"/>
              <a:gd name="T82" fmla="*/ 1833 w 1901"/>
              <a:gd name="T83" fmla="*/ 599 h 1085"/>
              <a:gd name="T84" fmla="*/ 1807 w 1901"/>
              <a:gd name="T85" fmla="*/ 611 h 1085"/>
              <a:gd name="T86" fmla="*/ 1776 w 1901"/>
              <a:gd name="T87" fmla="*/ 628 h 1085"/>
              <a:gd name="T88" fmla="*/ 1725 w 1901"/>
              <a:gd name="T89" fmla="*/ 693 h 1085"/>
              <a:gd name="T90" fmla="*/ 1636 w 1901"/>
              <a:gd name="T91" fmla="*/ 788 h 1085"/>
              <a:gd name="T92" fmla="*/ 1458 w 1901"/>
              <a:gd name="T93" fmla="*/ 895 h 1085"/>
              <a:gd name="T94" fmla="*/ 1362 w 1901"/>
              <a:gd name="T95" fmla="*/ 996 h 1085"/>
              <a:gd name="T96" fmla="*/ 1234 w 1901"/>
              <a:gd name="T97" fmla="*/ 1081 h 1085"/>
              <a:gd name="T98" fmla="*/ 1234 w 1901"/>
              <a:gd name="T99" fmla="*/ 1081 h 10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901" h="1085">
                <a:moveTo>
                  <a:pt x="1234" y="1081"/>
                </a:moveTo>
                <a:cubicBezTo>
                  <a:pt x="1212" y="1081"/>
                  <a:pt x="1191" y="1085"/>
                  <a:pt x="1188" y="1059"/>
                </a:cubicBezTo>
                <a:cubicBezTo>
                  <a:pt x="1185" y="1032"/>
                  <a:pt x="1157" y="1052"/>
                  <a:pt x="1162" y="1022"/>
                </a:cubicBezTo>
                <a:cubicBezTo>
                  <a:pt x="1166" y="1001"/>
                  <a:pt x="1169" y="978"/>
                  <a:pt x="1183" y="961"/>
                </a:cubicBezTo>
                <a:cubicBezTo>
                  <a:pt x="1187" y="956"/>
                  <a:pt x="1203" y="944"/>
                  <a:pt x="1204" y="937"/>
                </a:cubicBezTo>
                <a:cubicBezTo>
                  <a:pt x="1188" y="937"/>
                  <a:pt x="1174" y="934"/>
                  <a:pt x="1160" y="928"/>
                </a:cubicBezTo>
                <a:cubicBezTo>
                  <a:pt x="1140" y="920"/>
                  <a:pt x="1126" y="933"/>
                  <a:pt x="1104" y="940"/>
                </a:cubicBezTo>
                <a:cubicBezTo>
                  <a:pt x="1066" y="953"/>
                  <a:pt x="1011" y="977"/>
                  <a:pt x="970" y="973"/>
                </a:cubicBezTo>
                <a:cubicBezTo>
                  <a:pt x="955" y="972"/>
                  <a:pt x="879" y="975"/>
                  <a:pt x="868" y="986"/>
                </a:cubicBezTo>
                <a:cubicBezTo>
                  <a:pt x="823" y="986"/>
                  <a:pt x="780" y="983"/>
                  <a:pt x="736" y="981"/>
                </a:cubicBezTo>
                <a:cubicBezTo>
                  <a:pt x="644" y="976"/>
                  <a:pt x="552" y="919"/>
                  <a:pt x="491" y="852"/>
                </a:cubicBezTo>
                <a:cubicBezTo>
                  <a:pt x="469" y="828"/>
                  <a:pt x="407" y="761"/>
                  <a:pt x="409" y="726"/>
                </a:cubicBezTo>
                <a:cubicBezTo>
                  <a:pt x="390" y="712"/>
                  <a:pt x="380" y="677"/>
                  <a:pt x="394" y="658"/>
                </a:cubicBezTo>
                <a:cubicBezTo>
                  <a:pt x="409" y="636"/>
                  <a:pt x="443" y="643"/>
                  <a:pt x="466" y="643"/>
                </a:cubicBezTo>
                <a:cubicBezTo>
                  <a:pt x="468" y="635"/>
                  <a:pt x="435" y="631"/>
                  <a:pt x="429" y="630"/>
                </a:cubicBezTo>
                <a:cubicBezTo>
                  <a:pt x="402" y="623"/>
                  <a:pt x="378" y="629"/>
                  <a:pt x="359" y="649"/>
                </a:cubicBezTo>
                <a:cubicBezTo>
                  <a:pt x="321" y="649"/>
                  <a:pt x="296" y="723"/>
                  <a:pt x="262" y="734"/>
                </a:cubicBezTo>
                <a:cubicBezTo>
                  <a:pt x="254" y="757"/>
                  <a:pt x="208" y="785"/>
                  <a:pt x="194" y="804"/>
                </a:cubicBezTo>
                <a:cubicBezTo>
                  <a:pt x="176" y="827"/>
                  <a:pt x="121" y="856"/>
                  <a:pt x="93" y="856"/>
                </a:cubicBezTo>
                <a:cubicBezTo>
                  <a:pt x="113" y="830"/>
                  <a:pt x="91" y="791"/>
                  <a:pt x="115" y="764"/>
                </a:cubicBezTo>
                <a:cubicBezTo>
                  <a:pt x="138" y="739"/>
                  <a:pt x="124" y="652"/>
                  <a:pt x="120" y="619"/>
                </a:cubicBezTo>
                <a:cubicBezTo>
                  <a:pt x="110" y="526"/>
                  <a:pt x="78" y="421"/>
                  <a:pt x="22" y="345"/>
                </a:cubicBezTo>
                <a:cubicBezTo>
                  <a:pt x="3" y="319"/>
                  <a:pt x="0" y="333"/>
                  <a:pt x="20" y="306"/>
                </a:cubicBezTo>
                <a:cubicBezTo>
                  <a:pt x="32" y="289"/>
                  <a:pt x="84" y="300"/>
                  <a:pt x="99" y="307"/>
                </a:cubicBezTo>
                <a:cubicBezTo>
                  <a:pt x="135" y="323"/>
                  <a:pt x="170" y="341"/>
                  <a:pt x="204" y="361"/>
                </a:cubicBezTo>
                <a:cubicBezTo>
                  <a:pt x="240" y="382"/>
                  <a:pt x="271" y="417"/>
                  <a:pt x="309" y="438"/>
                </a:cubicBezTo>
                <a:cubicBezTo>
                  <a:pt x="328" y="447"/>
                  <a:pt x="361" y="453"/>
                  <a:pt x="383" y="454"/>
                </a:cubicBezTo>
                <a:cubicBezTo>
                  <a:pt x="421" y="457"/>
                  <a:pt x="416" y="438"/>
                  <a:pt x="439" y="414"/>
                </a:cubicBezTo>
                <a:cubicBezTo>
                  <a:pt x="509" y="337"/>
                  <a:pt x="532" y="236"/>
                  <a:pt x="599" y="156"/>
                </a:cubicBezTo>
                <a:cubicBezTo>
                  <a:pt x="644" y="102"/>
                  <a:pt x="754" y="36"/>
                  <a:pt x="826" y="37"/>
                </a:cubicBezTo>
                <a:cubicBezTo>
                  <a:pt x="867" y="38"/>
                  <a:pt x="910" y="11"/>
                  <a:pt x="953" y="18"/>
                </a:cubicBezTo>
                <a:cubicBezTo>
                  <a:pt x="978" y="6"/>
                  <a:pt x="1015" y="16"/>
                  <a:pt x="1041" y="9"/>
                </a:cubicBezTo>
                <a:cubicBezTo>
                  <a:pt x="1076" y="0"/>
                  <a:pt x="1121" y="7"/>
                  <a:pt x="1157" y="7"/>
                </a:cubicBezTo>
                <a:cubicBezTo>
                  <a:pt x="1251" y="8"/>
                  <a:pt x="1335" y="29"/>
                  <a:pt x="1426" y="49"/>
                </a:cubicBezTo>
                <a:cubicBezTo>
                  <a:pt x="1487" y="62"/>
                  <a:pt x="1533" y="112"/>
                  <a:pt x="1591" y="128"/>
                </a:cubicBezTo>
                <a:cubicBezTo>
                  <a:pt x="1640" y="142"/>
                  <a:pt x="1698" y="189"/>
                  <a:pt x="1722" y="233"/>
                </a:cubicBezTo>
                <a:cubicBezTo>
                  <a:pt x="1749" y="281"/>
                  <a:pt x="1775" y="322"/>
                  <a:pt x="1794" y="372"/>
                </a:cubicBezTo>
                <a:cubicBezTo>
                  <a:pt x="1796" y="374"/>
                  <a:pt x="1811" y="431"/>
                  <a:pt x="1810" y="437"/>
                </a:cubicBezTo>
                <a:cubicBezTo>
                  <a:pt x="1827" y="460"/>
                  <a:pt x="1849" y="511"/>
                  <a:pt x="1881" y="511"/>
                </a:cubicBezTo>
                <a:cubicBezTo>
                  <a:pt x="1901" y="574"/>
                  <a:pt x="1836" y="524"/>
                  <a:pt x="1837" y="574"/>
                </a:cubicBezTo>
                <a:cubicBezTo>
                  <a:pt x="1843" y="577"/>
                  <a:pt x="1849" y="582"/>
                  <a:pt x="1854" y="587"/>
                </a:cubicBezTo>
                <a:cubicBezTo>
                  <a:pt x="1852" y="596"/>
                  <a:pt x="1845" y="600"/>
                  <a:pt x="1833" y="599"/>
                </a:cubicBezTo>
                <a:cubicBezTo>
                  <a:pt x="1820" y="592"/>
                  <a:pt x="1820" y="606"/>
                  <a:pt x="1807" y="611"/>
                </a:cubicBezTo>
                <a:cubicBezTo>
                  <a:pt x="1781" y="620"/>
                  <a:pt x="1796" y="610"/>
                  <a:pt x="1776" y="628"/>
                </a:cubicBezTo>
                <a:cubicBezTo>
                  <a:pt x="1756" y="646"/>
                  <a:pt x="1745" y="674"/>
                  <a:pt x="1725" y="693"/>
                </a:cubicBezTo>
                <a:cubicBezTo>
                  <a:pt x="1695" y="720"/>
                  <a:pt x="1669" y="767"/>
                  <a:pt x="1636" y="788"/>
                </a:cubicBezTo>
                <a:cubicBezTo>
                  <a:pt x="1581" y="822"/>
                  <a:pt x="1521" y="876"/>
                  <a:pt x="1458" y="895"/>
                </a:cubicBezTo>
                <a:cubicBezTo>
                  <a:pt x="1417" y="907"/>
                  <a:pt x="1391" y="968"/>
                  <a:pt x="1362" y="996"/>
                </a:cubicBezTo>
                <a:cubicBezTo>
                  <a:pt x="1323" y="1034"/>
                  <a:pt x="1280" y="1055"/>
                  <a:pt x="1234" y="1081"/>
                </a:cubicBezTo>
                <a:cubicBezTo>
                  <a:pt x="1227" y="1081"/>
                  <a:pt x="1237" y="1079"/>
                  <a:pt x="1234" y="1081"/>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cs typeface="+mn-cs"/>
            </a:endParaRPr>
          </a:p>
        </p:txBody>
      </p:sp>
      <p:sp>
        <p:nvSpPr>
          <p:cNvPr id="21" name="Freeform 21">
            <a:extLst>
              <a:ext uri="{FF2B5EF4-FFF2-40B4-BE49-F238E27FC236}">
                <a16:creationId xmlns:a16="http://schemas.microsoft.com/office/drawing/2014/main" id="{1605BCF4-15E4-4C9C-B369-6325902E45A7}"/>
              </a:ext>
            </a:extLst>
          </p:cNvPr>
          <p:cNvSpPr>
            <a:spLocks/>
          </p:cNvSpPr>
          <p:nvPr/>
        </p:nvSpPr>
        <p:spPr bwMode="auto">
          <a:xfrm>
            <a:off x="8220075" y="970393"/>
            <a:ext cx="3235326" cy="1252107"/>
          </a:xfrm>
          <a:custGeom>
            <a:avLst/>
            <a:gdLst>
              <a:gd name="T0" fmla="*/ 1519 w 2117"/>
              <a:gd name="T1" fmla="*/ 794 h 817"/>
              <a:gd name="T2" fmla="*/ 1363 w 2117"/>
              <a:gd name="T3" fmla="*/ 817 h 817"/>
              <a:gd name="T4" fmla="*/ 952 w 2117"/>
              <a:gd name="T5" fmla="*/ 770 h 817"/>
              <a:gd name="T6" fmla="*/ 898 w 2117"/>
              <a:gd name="T7" fmla="*/ 731 h 817"/>
              <a:gd name="T8" fmla="*/ 806 w 2117"/>
              <a:gd name="T9" fmla="*/ 679 h 817"/>
              <a:gd name="T10" fmla="*/ 707 w 2117"/>
              <a:gd name="T11" fmla="*/ 617 h 817"/>
              <a:gd name="T12" fmla="*/ 551 w 2117"/>
              <a:gd name="T13" fmla="*/ 547 h 817"/>
              <a:gd name="T14" fmla="*/ 532 w 2117"/>
              <a:gd name="T15" fmla="*/ 517 h 817"/>
              <a:gd name="T16" fmla="*/ 378 w 2117"/>
              <a:gd name="T17" fmla="*/ 471 h 817"/>
              <a:gd name="T18" fmla="*/ 167 w 2117"/>
              <a:gd name="T19" fmla="*/ 469 h 817"/>
              <a:gd name="T20" fmla="*/ 0 w 2117"/>
              <a:gd name="T21" fmla="*/ 432 h 817"/>
              <a:gd name="T22" fmla="*/ 151 w 2117"/>
              <a:gd name="T23" fmla="*/ 323 h 817"/>
              <a:gd name="T24" fmla="*/ 240 w 2117"/>
              <a:gd name="T25" fmla="*/ 295 h 817"/>
              <a:gd name="T26" fmla="*/ 273 w 2117"/>
              <a:gd name="T27" fmla="*/ 268 h 817"/>
              <a:gd name="T28" fmla="*/ 196 w 2117"/>
              <a:gd name="T29" fmla="*/ 218 h 817"/>
              <a:gd name="T30" fmla="*/ 107 w 2117"/>
              <a:gd name="T31" fmla="*/ 167 h 817"/>
              <a:gd name="T32" fmla="*/ 129 w 2117"/>
              <a:gd name="T33" fmla="*/ 104 h 817"/>
              <a:gd name="T34" fmla="*/ 225 w 2117"/>
              <a:gd name="T35" fmla="*/ 124 h 817"/>
              <a:gd name="T36" fmla="*/ 419 w 2117"/>
              <a:gd name="T37" fmla="*/ 176 h 817"/>
              <a:gd name="T38" fmla="*/ 665 w 2117"/>
              <a:gd name="T39" fmla="*/ 203 h 817"/>
              <a:gd name="T40" fmla="*/ 716 w 2117"/>
              <a:gd name="T41" fmla="*/ 167 h 817"/>
              <a:gd name="T42" fmla="*/ 845 w 2117"/>
              <a:gd name="T43" fmla="*/ 115 h 817"/>
              <a:gd name="T44" fmla="*/ 1003 w 2117"/>
              <a:gd name="T45" fmla="*/ 85 h 817"/>
              <a:gd name="T46" fmla="*/ 1112 w 2117"/>
              <a:gd name="T47" fmla="*/ 62 h 817"/>
              <a:gd name="T48" fmla="*/ 1196 w 2117"/>
              <a:gd name="T49" fmla="*/ 38 h 817"/>
              <a:gd name="T50" fmla="*/ 1365 w 2117"/>
              <a:gd name="T51" fmla="*/ 92 h 817"/>
              <a:gd name="T52" fmla="*/ 1560 w 2117"/>
              <a:gd name="T53" fmla="*/ 122 h 817"/>
              <a:gd name="T54" fmla="*/ 1749 w 2117"/>
              <a:gd name="T55" fmla="*/ 216 h 817"/>
              <a:gd name="T56" fmla="*/ 1940 w 2117"/>
              <a:gd name="T57" fmla="*/ 370 h 817"/>
              <a:gd name="T58" fmla="*/ 2098 w 2117"/>
              <a:gd name="T59" fmla="*/ 516 h 817"/>
              <a:gd name="T60" fmla="*/ 2073 w 2117"/>
              <a:gd name="T61" fmla="*/ 605 h 817"/>
              <a:gd name="T62" fmla="*/ 1916 w 2117"/>
              <a:gd name="T63" fmla="*/ 669 h 817"/>
              <a:gd name="T64" fmla="*/ 1720 w 2117"/>
              <a:gd name="T65" fmla="*/ 729 h 817"/>
              <a:gd name="T66" fmla="*/ 1618 w 2117"/>
              <a:gd name="T67" fmla="*/ 771 h 8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117" h="817">
                <a:moveTo>
                  <a:pt x="1618" y="771"/>
                </a:moveTo>
                <a:cubicBezTo>
                  <a:pt x="1608" y="771"/>
                  <a:pt x="1525" y="786"/>
                  <a:pt x="1519" y="794"/>
                </a:cubicBezTo>
                <a:cubicBezTo>
                  <a:pt x="1512" y="804"/>
                  <a:pt x="1451" y="805"/>
                  <a:pt x="1441" y="805"/>
                </a:cubicBezTo>
                <a:cubicBezTo>
                  <a:pt x="1419" y="817"/>
                  <a:pt x="1389" y="817"/>
                  <a:pt x="1363" y="817"/>
                </a:cubicBezTo>
                <a:cubicBezTo>
                  <a:pt x="1263" y="817"/>
                  <a:pt x="1169" y="788"/>
                  <a:pt x="1073" y="788"/>
                </a:cubicBezTo>
                <a:cubicBezTo>
                  <a:pt x="1047" y="766"/>
                  <a:pt x="977" y="795"/>
                  <a:pt x="952" y="770"/>
                </a:cubicBezTo>
                <a:cubicBezTo>
                  <a:pt x="937" y="761"/>
                  <a:pt x="923" y="767"/>
                  <a:pt x="913" y="753"/>
                </a:cubicBezTo>
                <a:cubicBezTo>
                  <a:pt x="904" y="741"/>
                  <a:pt x="912" y="738"/>
                  <a:pt x="898" y="731"/>
                </a:cubicBezTo>
                <a:cubicBezTo>
                  <a:pt x="894" y="727"/>
                  <a:pt x="886" y="729"/>
                  <a:pt x="882" y="725"/>
                </a:cubicBezTo>
                <a:cubicBezTo>
                  <a:pt x="873" y="725"/>
                  <a:pt x="803" y="683"/>
                  <a:pt x="806" y="679"/>
                </a:cubicBezTo>
                <a:cubicBezTo>
                  <a:pt x="802" y="670"/>
                  <a:pt x="760" y="632"/>
                  <a:pt x="745" y="632"/>
                </a:cubicBezTo>
                <a:cubicBezTo>
                  <a:pt x="739" y="627"/>
                  <a:pt x="710" y="624"/>
                  <a:pt x="707" y="617"/>
                </a:cubicBezTo>
                <a:cubicBezTo>
                  <a:pt x="689" y="619"/>
                  <a:pt x="628" y="594"/>
                  <a:pt x="616" y="580"/>
                </a:cubicBezTo>
                <a:cubicBezTo>
                  <a:pt x="607" y="570"/>
                  <a:pt x="564" y="547"/>
                  <a:pt x="551" y="547"/>
                </a:cubicBezTo>
                <a:cubicBezTo>
                  <a:pt x="544" y="541"/>
                  <a:pt x="555" y="531"/>
                  <a:pt x="541" y="524"/>
                </a:cubicBezTo>
                <a:cubicBezTo>
                  <a:pt x="537" y="522"/>
                  <a:pt x="532" y="523"/>
                  <a:pt x="532" y="517"/>
                </a:cubicBezTo>
                <a:cubicBezTo>
                  <a:pt x="517" y="503"/>
                  <a:pt x="500" y="491"/>
                  <a:pt x="485" y="477"/>
                </a:cubicBezTo>
                <a:cubicBezTo>
                  <a:pt x="471" y="489"/>
                  <a:pt x="389" y="481"/>
                  <a:pt x="378" y="471"/>
                </a:cubicBezTo>
                <a:cubicBezTo>
                  <a:pt x="354" y="492"/>
                  <a:pt x="275" y="451"/>
                  <a:pt x="254" y="472"/>
                </a:cubicBezTo>
                <a:cubicBezTo>
                  <a:pt x="229" y="480"/>
                  <a:pt x="193" y="469"/>
                  <a:pt x="167" y="469"/>
                </a:cubicBezTo>
                <a:cubicBezTo>
                  <a:pt x="148" y="452"/>
                  <a:pt x="101" y="475"/>
                  <a:pt x="82" y="458"/>
                </a:cubicBezTo>
                <a:cubicBezTo>
                  <a:pt x="56" y="458"/>
                  <a:pt x="19" y="451"/>
                  <a:pt x="0" y="432"/>
                </a:cubicBezTo>
                <a:cubicBezTo>
                  <a:pt x="0" y="385"/>
                  <a:pt x="81" y="364"/>
                  <a:pt x="115" y="338"/>
                </a:cubicBezTo>
                <a:cubicBezTo>
                  <a:pt x="130" y="338"/>
                  <a:pt x="138" y="327"/>
                  <a:pt x="151" y="323"/>
                </a:cubicBezTo>
                <a:cubicBezTo>
                  <a:pt x="161" y="321"/>
                  <a:pt x="194" y="321"/>
                  <a:pt x="198" y="317"/>
                </a:cubicBezTo>
                <a:cubicBezTo>
                  <a:pt x="203" y="317"/>
                  <a:pt x="247" y="304"/>
                  <a:pt x="240" y="295"/>
                </a:cubicBezTo>
                <a:cubicBezTo>
                  <a:pt x="232" y="285"/>
                  <a:pt x="214" y="284"/>
                  <a:pt x="207" y="276"/>
                </a:cubicBezTo>
                <a:cubicBezTo>
                  <a:pt x="221" y="271"/>
                  <a:pt x="265" y="284"/>
                  <a:pt x="273" y="268"/>
                </a:cubicBezTo>
                <a:cubicBezTo>
                  <a:pt x="273" y="257"/>
                  <a:pt x="287" y="238"/>
                  <a:pt x="264" y="238"/>
                </a:cubicBezTo>
                <a:cubicBezTo>
                  <a:pt x="248" y="222"/>
                  <a:pt x="212" y="233"/>
                  <a:pt x="196" y="218"/>
                </a:cubicBezTo>
                <a:cubicBezTo>
                  <a:pt x="191" y="214"/>
                  <a:pt x="158" y="208"/>
                  <a:pt x="149" y="206"/>
                </a:cubicBezTo>
                <a:cubicBezTo>
                  <a:pt x="149" y="206"/>
                  <a:pt x="107" y="169"/>
                  <a:pt x="107" y="167"/>
                </a:cubicBezTo>
                <a:cubicBezTo>
                  <a:pt x="88" y="158"/>
                  <a:pt x="70" y="139"/>
                  <a:pt x="64" y="119"/>
                </a:cubicBezTo>
                <a:cubicBezTo>
                  <a:pt x="80" y="101"/>
                  <a:pt x="107" y="104"/>
                  <a:pt x="129" y="104"/>
                </a:cubicBezTo>
                <a:cubicBezTo>
                  <a:pt x="152" y="104"/>
                  <a:pt x="170" y="115"/>
                  <a:pt x="190" y="115"/>
                </a:cubicBezTo>
                <a:cubicBezTo>
                  <a:pt x="194" y="118"/>
                  <a:pt x="221" y="128"/>
                  <a:pt x="225" y="124"/>
                </a:cubicBezTo>
                <a:cubicBezTo>
                  <a:pt x="254" y="139"/>
                  <a:pt x="298" y="125"/>
                  <a:pt x="322" y="149"/>
                </a:cubicBezTo>
                <a:cubicBezTo>
                  <a:pt x="352" y="149"/>
                  <a:pt x="391" y="180"/>
                  <a:pt x="419" y="176"/>
                </a:cubicBezTo>
                <a:cubicBezTo>
                  <a:pt x="436" y="196"/>
                  <a:pt x="491" y="190"/>
                  <a:pt x="511" y="210"/>
                </a:cubicBezTo>
                <a:cubicBezTo>
                  <a:pt x="525" y="218"/>
                  <a:pt x="666" y="220"/>
                  <a:pt x="665" y="203"/>
                </a:cubicBezTo>
                <a:cubicBezTo>
                  <a:pt x="658" y="203"/>
                  <a:pt x="632" y="208"/>
                  <a:pt x="627" y="203"/>
                </a:cubicBezTo>
                <a:cubicBezTo>
                  <a:pt x="646" y="182"/>
                  <a:pt x="697" y="187"/>
                  <a:pt x="716" y="167"/>
                </a:cubicBezTo>
                <a:cubicBezTo>
                  <a:pt x="705" y="152"/>
                  <a:pt x="776" y="147"/>
                  <a:pt x="768" y="133"/>
                </a:cubicBezTo>
                <a:cubicBezTo>
                  <a:pt x="774" y="126"/>
                  <a:pt x="837" y="115"/>
                  <a:pt x="845" y="115"/>
                </a:cubicBezTo>
                <a:cubicBezTo>
                  <a:pt x="857" y="104"/>
                  <a:pt x="906" y="96"/>
                  <a:pt x="921" y="96"/>
                </a:cubicBezTo>
                <a:cubicBezTo>
                  <a:pt x="936" y="86"/>
                  <a:pt x="993" y="96"/>
                  <a:pt x="1003" y="85"/>
                </a:cubicBezTo>
                <a:cubicBezTo>
                  <a:pt x="1011" y="79"/>
                  <a:pt x="1082" y="82"/>
                  <a:pt x="1062" y="68"/>
                </a:cubicBezTo>
                <a:cubicBezTo>
                  <a:pt x="1066" y="65"/>
                  <a:pt x="1108" y="62"/>
                  <a:pt x="1112" y="62"/>
                </a:cubicBezTo>
                <a:cubicBezTo>
                  <a:pt x="1129" y="45"/>
                  <a:pt x="1077" y="52"/>
                  <a:pt x="1109" y="20"/>
                </a:cubicBezTo>
                <a:cubicBezTo>
                  <a:pt x="1109" y="0"/>
                  <a:pt x="1187" y="38"/>
                  <a:pt x="1196" y="38"/>
                </a:cubicBezTo>
                <a:cubicBezTo>
                  <a:pt x="1235" y="39"/>
                  <a:pt x="1269" y="84"/>
                  <a:pt x="1307" y="84"/>
                </a:cubicBezTo>
                <a:cubicBezTo>
                  <a:pt x="1312" y="89"/>
                  <a:pt x="1357" y="92"/>
                  <a:pt x="1365" y="92"/>
                </a:cubicBezTo>
                <a:cubicBezTo>
                  <a:pt x="1371" y="98"/>
                  <a:pt x="1439" y="102"/>
                  <a:pt x="1450" y="102"/>
                </a:cubicBezTo>
                <a:cubicBezTo>
                  <a:pt x="1474" y="126"/>
                  <a:pt x="1535" y="103"/>
                  <a:pt x="1560" y="122"/>
                </a:cubicBezTo>
                <a:cubicBezTo>
                  <a:pt x="1579" y="137"/>
                  <a:pt x="1622" y="139"/>
                  <a:pt x="1646" y="151"/>
                </a:cubicBezTo>
                <a:cubicBezTo>
                  <a:pt x="1677" y="166"/>
                  <a:pt x="1726" y="191"/>
                  <a:pt x="1749" y="216"/>
                </a:cubicBezTo>
                <a:cubicBezTo>
                  <a:pt x="1771" y="240"/>
                  <a:pt x="1813" y="294"/>
                  <a:pt x="1848" y="302"/>
                </a:cubicBezTo>
                <a:cubicBezTo>
                  <a:pt x="1882" y="310"/>
                  <a:pt x="1910" y="354"/>
                  <a:pt x="1940" y="370"/>
                </a:cubicBezTo>
                <a:cubicBezTo>
                  <a:pt x="1984" y="393"/>
                  <a:pt x="2013" y="441"/>
                  <a:pt x="2050" y="472"/>
                </a:cubicBezTo>
                <a:cubicBezTo>
                  <a:pt x="2067" y="486"/>
                  <a:pt x="2083" y="501"/>
                  <a:pt x="2098" y="516"/>
                </a:cubicBezTo>
                <a:cubicBezTo>
                  <a:pt x="2105" y="527"/>
                  <a:pt x="2110" y="547"/>
                  <a:pt x="2117" y="555"/>
                </a:cubicBezTo>
                <a:cubicBezTo>
                  <a:pt x="2117" y="587"/>
                  <a:pt x="2090" y="588"/>
                  <a:pt x="2073" y="605"/>
                </a:cubicBezTo>
                <a:cubicBezTo>
                  <a:pt x="2056" y="601"/>
                  <a:pt x="2037" y="631"/>
                  <a:pt x="2022" y="631"/>
                </a:cubicBezTo>
                <a:cubicBezTo>
                  <a:pt x="2008" y="658"/>
                  <a:pt x="1940" y="669"/>
                  <a:pt x="1916" y="669"/>
                </a:cubicBezTo>
                <a:cubicBezTo>
                  <a:pt x="1885" y="686"/>
                  <a:pt x="1836" y="672"/>
                  <a:pt x="1808" y="697"/>
                </a:cubicBezTo>
                <a:cubicBezTo>
                  <a:pt x="1779" y="697"/>
                  <a:pt x="1749" y="728"/>
                  <a:pt x="1720" y="729"/>
                </a:cubicBezTo>
                <a:cubicBezTo>
                  <a:pt x="1686" y="730"/>
                  <a:pt x="1651" y="760"/>
                  <a:pt x="1618" y="771"/>
                </a:cubicBezTo>
                <a:cubicBezTo>
                  <a:pt x="1617" y="771"/>
                  <a:pt x="1622" y="770"/>
                  <a:pt x="1618" y="771"/>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cs typeface="+mn-cs"/>
            </a:endParaRPr>
          </a:p>
        </p:txBody>
      </p:sp>
      <p:sp>
        <p:nvSpPr>
          <p:cNvPr id="25" name="Freeform 25">
            <a:extLst>
              <a:ext uri="{FF2B5EF4-FFF2-40B4-BE49-F238E27FC236}">
                <a16:creationId xmlns:a16="http://schemas.microsoft.com/office/drawing/2014/main" id="{62BD141B-4065-48EC-96EE-032FF01BCE17}"/>
              </a:ext>
            </a:extLst>
          </p:cNvPr>
          <p:cNvSpPr>
            <a:spLocks/>
          </p:cNvSpPr>
          <p:nvPr/>
        </p:nvSpPr>
        <p:spPr bwMode="auto">
          <a:xfrm>
            <a:off x="6784975" y="2345902"/>
            <a:ext cx="3556001" cy="2236633"/>
          </a:xfrm>
          <a:custGeom>
            <a:avLst/>
            <a:gdLst>
              <a:gd name="T0" fmla="*/ 1844 w 2286"/>
              <a:gd name="T1" fmla="*/ 954 h 1436"/>
              <a:gd name="T2" fmla="*/ 1627 w 2286"/>
              <a:gd name="T3" fmla="*/ 1140 h 1436"/>
              <a:gd name="T4" fmla="*/ 1413 w 2286"/>
              <a:gd name="T5" fmla="*/ 1421 h 1436"/>
              <a:gd name="T6" fmla="*/ 1394 w 2286"/>
              <a:gd name="T7" fmla="*/ 1356 h 1436"/>
              <a:gd name="T8" fmla="*/ 1359 w 2286"/>
              <a:gd name="T9" fmla="*/ 1244 h 1436"/>
              <a:gd name="T10" fmla="*/ 1345 w 2286"/>
              <a:gd name="T11" fmla="*/ 1110 h 1436"/>
              <a:gd name="T12" fmla="*/ 1421 w 2286"/>
              <a:gd name="T13" fmla="*/ 967 h 1436"/>
              <a:gd name="T14" fmla="*/ 1292 w 2286"/>
              <a:gd name="T15" fmla="*/ 936 h 1436"/>
              <a:gd name="T16" fmla="*/ 1127 w 2286"/>
              <a:gd name="T17" fmla="*/ 1074 h 1436"/>
              <a:gd name="T18" fmla="*/ 1026 w 2286"/>
              <a:gd name="T19" fmla="*/ 1107 h 1436"/>
              <a:gd name="T20" fmla="*/ 970 w 2286"/>
              <a:gd name="T21" fmla="*/ 811 h 1436"/>
              <a:gd name="T22" fmla="*/ 672 w 2286"/>
              <a:gd name="T23" fmla="*/ 1055 h 1436"/>
              <a:gd name="T24" fmla="*/ 409 w 2286"/>
              <a:gd name="T25" fmla="*/ 1375 h 1436"/>
              <a:gd name="T26" fmla="*/ 457 w 2286"/>
              <a:gd name="T27" fmla="*/ 1087 h 1436"/>
              <a:gd name="T28" fmla="*/ 485 w 2286"/>
              <a:gd name="T29" fmla="*/ 924 h 1436"/>
              <a:gd name="T30" fmla="*/ 486 w 2286"/>
              <a:gd name="T31" fmla="*/ 841 h 1436"/>
              <a:gd name="T32" fmla="*/ 374 w 2286"/>
              <a:gd name="T33" fmla="*/ 793 h 1436"/>
              <a:gd name="T34" fmla="*/ 302 w 2286"/>
              <a:gd name="T35" fmla="*/ 757 h 1436"/>
              <a:gd name="T36" fmla="*/ 178 w 2286"/>
              <a:gd name="T37" fmla="*/ 696 h 1436"/>
              <a:gd name="T38" fmla="*/ 8 w 2286"/>
              <a:gd name="T39" fmla="*/ 598 h 1436"/>
              <a:gd name="T40" fmla="*/ 244 w 2286"/>
              <a:gd name="T41" fmla="*/ 516 h 1436"/>
              <a:gd name="T42" fmla="*/ 396 w 2286"/>
              <a:gd name="T43" fmla="*/ 492 h 1436"/>
              <a:gd name="T44" fmla="*/ 602 w 2286"/>
              <a:gd name="T45" fmla="*/ 489 h 1436"/>
              <a:gd name="T46" fmla="*/ 881 w 2286"/>
              <a:gd name="T47" fmla="*/ 532 h 1436"/>
              <a:gd name="T48" fmla="*/ 970 w 2286"/>
              <a:gd name="T49" fmla="*/ 366 h 1436"/>
              <a:gd name="T50" fmla="*/ 1123 w 2286"/>
              <a:gd name="T51" fmla="*/ 255 h 1436"/>
              <a:gd name="T52" fmla="*/ 1245 w 2286"/>
              <a:gd name="T53" fmla="*/ 160 h 1436"/>
              <a:gd name="T54" fmla="*/ 1348 w 2286"/>
              <a:gd name="T55" fmla="*/ 64 h 1436"/>
              <a:gd name="T56" fmla="*/ 1430 w 2286"/>
              <a:gd name="T57" fmla="*/ 13 h 1436"/>
              <a:gd name="T58" fmla="*/ 1582 w 2286"/>
              <a:gd name="T59" fmla="*/ 350 h 1436"/>
              <a:gd name="T60" fmla="*/ 1949 w 2286"/>
              <a:gd name="T61" fmla="*/ 468 h 1436"/>
              <a:gd name="T62" fmla="*/ 2197 w 2286"/>
              <a:gd name="T63" fmla="*/ 806 h 1436"/>
              <a:gd name="T64" fmla="*/ 1958 w 2286"/>
              <a:gd name="T65" fmla="*/ 925 h 1436"/>
              <a:gd name="T66" fmla="*/ 1920 w 2286"/>
              <a:gd name="T67" fmla="*/ 1051 h 1436"/>
              <a:gd name="T68" fmla="*/ 1837 w 2286"/>
              <a:gd name="T69" fmla="*/ 1164 h 14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286" h="1436">
                <a:moveTo>
                  <a:pt x="1837" y="1164"/>
                </a:moveTo>
                <a:cubicBezTo>
                  <a:pt x="1822" y="1095"/>
                  <a:pt x="1827" y="1023"/>
                  <a:pt x="1844" y="954"/>
                </a:cubicBezTo>
                <a:cubicBezTo>
                  <a:pt x="1785" y="966"/>
                  <a:pt x="1724" y="979"/>
                  <a:pt x="1664" y="979"/>
                </a:cubicBezTo>
                <a:cubicBezTo>
                  <a:pt x="1670" y="1030"/>
                  <a:pt x="1646" y="1096"/>
                  <a:pt x="1627" y="1140"/>
                </a:cubicBezTo>
                <a:cubicBezTo>
                  <a:pt x="1594" y="1215"/>
                  <a:pt x="1553" y="1301"/>
                  <a:pt x="1497" y="1361"/>
                </a:cubicBezTo>
                <a:cubicBezTo>
                  <a:pt x="1483" y="1376"/>
                  <a:pt x="1439" y="1436"/>
                  <a:pt x="1413" y="1421"/>
                </a:cubicBezTo>
                <a:cubicBezTo>
                  <a:pt x="1406" y="1416"/>
                  <a:pt x="1399" y="1396"/>
                  <a:pt x="1394" y="1390"/>
                </a:cubicBezTo>
                <a:cubicBezTo>
                  <a:pt x="1383" y="1374"/>
                  <a:pt x="1415" y="1367"/>
                  <a:pt x="1394" y="1356"/>
                </a:cubicBezTo>
                <a:cubicBezTo>
                  <a:pt x="1385" y="1340"/>
                  <a:pt x="1413" y="1299"/>
                  <a:pt x="1397" y="1293"/>
                </a:cubicBezTo>
                <a:cubicBezTo>
                  <a:pt x="1377" y="1285"/>
                  <a:pt x="1398" y="1224"/>
                  <a:pt x="1359" y="1244"/>
                </a:cubicBezTo>
                <a:cubicBezTo>
                  <a:pt x="1373" y="1220"/>
                  <a:pt x="1358" y="1185"/>
                  <a:pt x="1356" y="1159"/>
                </a:cubicBezTo>
                <a:cubicBezTo>
                  <a:pt x="1355" y="1143"/>
                  <a:pt x="1344" y="1125"/>
                  <a:pt x="1345" y="1110"/>
                </a:cubicBezTo>
                <a:cubicBezTo>
                  <a:pt x="1346" y="1100"/>
                  <a:pt x="1352" y="1091"/>
                  <a:pt x="1352" y="1081"/>
                </a:cubicBezTo>
                <a:cubicBezTo>
                  <a:pt x="1306" y="1081"/>
                  <a:pt x="1407" y="982"/>
                  <a:pt x="1421" y="967"/>
                </a:cubicBezTo>
                <a:cubicBezTo>
                  <a:pt x="1412" y="958"/>
                  <a:pt x="1383" y="960"/>
                  <a:pt x="1371" y="955"/>
                </a:cubicBezTo>
                <a:cubicBezTo>
                  <a:pt x="1348" y="957"/>
                  <a:pt x="1314" y="944"/>
                  <a:pt x="1292" y="936"/>
                </a:cubicBezTo>
                <a:cubicBezTo>
                  <a:pt x="1250" y="922"/>
                  <a:pt x="1201" y="917"/>
                  <a:pt x="1162" y="895"/>
                </a:cubicBezTo>
                <a:cubicBezTo>
                  <a:pt x="1139" y="952"/>
                  <a:pt x="1156" y="1019"/>
                  <a:pt x="1127" y="1074"/>
                </a:cubicBezTo>
                <a:cubicBezTo>
                  <a:pt x="1110" y="1105"/>
                  <a:pt x="1098" y="1132"/>
                  <a:pt x="1074" y="1156"/>
                </a:cubicBezTo>
                <a:cubicBezTo>
                  <a:pt x="1049" y="1156"/>
                  <a:pt x="1032" y="1128"/>
                  <a:pt x="1026" y="1107"/>
                </a:cubicBezTo>
                <a:cubicBezTo>
                  <a:pt x="1004" y="1035"/>
                  <a:pt x="913" y="1031"/>
                  <a:pt x="882" y="972"/>
                </a:cubicBezTo>
                <a:cubicBezTo>
                  <a:pt x="852" y="914"/>
                  <a:pt x="931" y="842"/>
                  <a:pt x="970" y="811"/>
                </a:cubicBezTo>
                <a:cubicBezTo>
                  <a:pt x="932" y="793"/>
                  <a:pt x="896" y="769"/>
                  <a:pt x="859" y="747"/>
                </a:cubicBezTo>
                <a:cubicBezTo>
                  <a:pt x="804" y="853"/>
                  <a:pt x="738" y="955"/>
                  <a:pt x="672" y="1055"/>
                </a:cubicBezTo>
                <a:cubicBezTo>
                  <a:pt x="632" y="1115"/>
                  <a:pt x="594" y="1176"/>
                  <a:pt x="551" y="1234"/>
                </a:cubicBezTo>
                <a:cubicBezTo>
                  <a:pt x="515" y="1283"/>
                  <a:pt x="466" y="1352"/>
                  <a:pt x="409" y="1375"/>
                </a:cubicBezTo>
                <a:cubicBezTo>
                  <a:pt x="348" y="1386"/>
                  <a:pt x="411" y="1268"/>
                  <a:pt x="422" y="1244"/>
                </a:cubicBezTo>
                <a:cubicBezTo>
                  <a:pt x="442" y="1198"/>
                  <a:pt x="458" y="1138"/>
                  <a:pt x="457" y="1087"/>
                </a:cubicBezTo>
                <a:cubicBezTo>
                  <a:pt x="457" y="1047"/>
                  <a:pt x="462" y="1004"/>
                  <a:pt x="469" y="964"/>
                </a:cubicBezTo>
                <a:cubicBezTo>
                  <a:pt x="472" y="949"/>
                  <a:pt x="477" y="936"/>
                  <a:pt x="485" y="924"/>
                </a:cubicBezTo>
                <a:cubicBezTo>
                  <a:pt x="473" y="919"/>
                  <a:pt x="469" y="911"/>
                  <a:pt x="466" y="900"/>
                </a:cubicBezTo>
                <a:cubicBezTo>
                  <a:pt x="461" y="883"/>
                  <a:pt x="479" y="855"/>
                  <a:pt x="486" y="841"/>
                </a:cubicBezTo>
                <a:cubicBezTo>
                  <a:pt x="452" y="841"/>
                  <a:pt x="418" y="825"/>
                  <a:pt x="398" y="798"/>
                </a:cubicBezTo>
                <a:cubicBezTo>
                  <a:pt x="386" y="783"/>
                  <a:pt x="386" y="803"/>
                  <a:pt x="374" y="793"/>
                </a:cubicBezTo>
                <a:cubicBezTo>
                  <a:pt x="352" y="794"/>
                  <a:pt x="342" y="768"/>
                  <a:pt x="325" y="759"/>
                </a:cubicBezTo>
                <a:cubicBezTo>
                  <a:pt x="317" y="754"/>
                  <a:pt x="310" y="755"/>
                  <a:pt x="302" y="757"/>
                </a:cubicBezTo>
                <a:cubicBezTo>
                  <a:pt x="296" y="741"/>
                  <a:pt x="281" y="729"/>
                  <a:pt x="264" y="724"/>
                </a:cubicBezTo>
                <a:cubicBezTo>
                  <a:pt x="232" y="713"/>
                  <a:pt x="206" y="716"/>
                  <a:pt x="178" y="696"/>
                </a:cubicBezTo>
                <a:cubicBezTo>
                  <a:pt x="144" y="671"/>
                  <a:pt x="97" y="678"/>
                  <a:pt x="63" y="651"/>
                </a:cubicBezTo>
                <a:cubicBezTo>
                  <a:pt x="44" y="636"/>
                  <a:pt x="0" y="631"/>
                  <a:pt x="8" y="598"/>
                </a:cubicBezTo>
                <a:cubicBezTo>
                  <a:pt x="15" y="573"/>
                  <a:pt x="92" y="557"/>
                  <a:pt x="113" y="551"/>
                </a:cubicBezTo>
                <a:cubicBezTo>
                  <a:pt x="156" y="537"/>
                  <a:pt x="200" y="525"/>
                  <a:pt x="244" y="516"/>
                </a:cubicBezTo>
                <a:cubicBezTo>
                  <a:pt x="271" y="510"/>
                  <a:pt x="299" y="503"/>
                  <a:pt x="327" y="500"/>
                </a:cubicBezTo>
                <a:cubicBezTo>
                  <a:pt x="341" y="499"/>
                  <a:pt x="387" y="500"/>
                  <a:pt x="396" y="492"/>
                </a:cubicBezTo>
                <a:cubicBezTo>
                  <a:pt x="408" y="481"/>
                  <a:pt x="466" y="489"/>
                  <a:pt x="484" y="487"/>
                </a:cubicBezTo>
                <a:cubicBezTo>
                  <a:pt x="520" y="483"/>
                  <a:pt x="566" y="482"/>
                  <a:pt x="602" y="489"/>
                </a:cubicBezTo>
                <a:cubicBezTo>
                  <a:pt x="667" y="504"/>
                  <a:pt x="734" y="508"/>
                  <a:pt x="799" y="524"/>
                </a:cubicBezTo>
                <a:cubicBezTo>
                  <a:pt x="825" y="531"/>
                  <a:pt x="855" y="539"/>
                  <a:pt x="881" y="532"/>
                </a:cubicBezTo>
                <a:cubicBezTo>
                  <a:pt x="926" y="520"/>
                  <a:pt x="966" y="501"/>
                  <a:pt x="1010" y="486"/>
                </a:cubicBezTo>
                <a:cubicBezTo>
                  <a:pt x="967" y="459"/>
                  <a:pt x="910" y="414"/>
                  <a:pt x="970" y="366"/>
                </a:cubicBezTo>
                <a:cubicBezTo>
                  <a:pt x="990" y="350"/>
                  <a:pt x="1020" y="341"/>
                  <a:pt x="1043" y="329"/>
                </a:cubicBezTo>
                <a:cubicBezTo>
                  <a:pt x="1078" y="309"/>
                  <a:pt x="1091" y="274"/>
                  <a:pt x="1123" y="255"/>
                </a:cubicBezTo>
                <a:cubicBezTo>
                  <a:pt x="1147" y="240"/>
                  <a:pt x="1175" y="233"/>
                  <a:pt x="1199" y="218"/>
                </a:cubicBezTo>
                <a:cubicBezTo>
                  <a:pt x="1220" y="204"/>
                  <a:pt x="1221" y="170"/>
                  <a:pt x="1245" y="160"/>
                </a:cubicBezTo>
                <a:cubicBezTo>
                  <a:pt x="1268" y="151"/>
                  <a:pt x="1276" y="136"/>
                  <a:pt x="1289" y="113"/>
                </a:cubicBezTo>
                <a:cubicBezTo>
                  <a:pt x="1305" y="85"/>
                  <a:pt x="1323" y="82"/>
                  <a:pt x="1348" y="64"/>
                </a:cubicBezTo>
                <a:cubicBezTo>
                  <a:pt x="1364" y="53"/>
                  <a:pt x="1377" y="36"/>
                  <a:pt x="1390" y="21"/>
                </a:cubicBezTo>
                <a:cubicBezTo>
                  <a:pt x="1407" y="0"/>
                  <a:pt x="1409" y="0"/>
                  <a:pt x="1430" y="13"/>
                </a:cubicBezTo>
                <a:cubicBezTo>
                  <a:pt x="1475" y="40"/>
                  <a:pt x="1511" y="120"/>
                  <a:pt x="1533" y="165"/>
                </a:cubicBezTo>
                <a:cubicBezTo>
                  <a:pt x="1562" y="227"/>
                  <a:pt x="1578" y="283"/>
                  <a:pt x="1582" y="350"/>
                </a:cubicBezTo>
                <a:cubicBezTo>
                  <a:pt x="1571" y="388"/>
                  <a:pt x="1620" y="381"/>
                  <a:pt x="1649" y="384"/>
                </a:cubicBezTo>
                <a:cubicBezTo>
                  <a:pt x="1751" y="398"/>
                  <a:pt x="1854" y="428"/>
                  <a:pt x="1949" y="468"/>
                </a:cubicBezTo>
                <a:cubicBezTo>
                  <a:pt x="2048" y="510"/>
                  <a:pt x="2189" y="556"/>
                  <a:pt x="2250" y="654"/>
                </a:cubicBezTo>
                <a:cubicBezTo>
                  <a:pt x="2286" y="713"/>
                  <a:pt x="2239" y="766"/>
                  <a:pt x="2197" y="806"/>
                </a:cubicBezTo>
                <a:cubicBezTo>
                  <a:pt x="2165" y="837"/>
                  <a:pt x="2094" y="894"/>
                  <a:pt x="2048" y="895"/>
                </a:cubicBezTo>
                <a:cubicBezTo>
                  <a:pt x="2024" y="912"/>
                  <a:pt x="1986" y="920"/>
                  <a:pt x="1958" y="925"/>
                </a:cubicBezTo>
                <a:cubicBezTo>
                  <a:pt x="1927" y="931"/>
                  <a:pt x="1901" y="932"/>
                  <a:pt x="1907" y="967"/>
                </a:cubicBezTo>
                <a:cubicBezTo>
                  <a:pt x="1911" y="997"/>
                  <a:pt x="1905" y="1023"/>
                  <a:pt x="1920" y="1051"/>
                </a:cubicBezTo>
                <a:cubicBezTo>
                  <a:pt x="1939" y="1086"/>
                  <a:pt x="1931" y="1108"/>
                  <a:pt x="1903" y="1137"/>
                </a:cubicBezTo>
                <a:cubicBezTo>
                  <a:pt x="1890" y="1150"/>
                  <a:pt x="1856" y="1184"/>
                  <a:pt x="1837" y="1164"/>
                </a:cubicBezTo>
                <a:cubicBezTo>
                  <a:pt x="1836" y="1161"/>
                  <a:pt x="1838" y="1165"/>
                  <a:pt x="1837" y="1164"/>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cs typeface="+mn-cs"/>
            </a:endParaRPr>
          </a:p>
        </p:txBody>
      </p:sp>
      <p:sp>
        <p:nvSpPr>
          <p:cNvPr id="29" name="Freeform 29">
            <a:extLst>
              <a:ext uri="{FF2B5EF4-FFF2-40B4-BE49-F238E27FC236}">
                <a16:creationId xmlns:a16="http://schemas.microsoft.com/office/drawing/2014/main" id="{D0BC37A9-C2C1-4E28-84D9-49B7FA6FAE0F}"/>
              </a:ext>
            </a:extLst>
          </p:cNvPr>
          <p:cNvSpPr>
            <a:spLocks/>
          </p:cNvSpPr>
          <p:nvPr/>
        </p:nvSpPr>
        <p:spPr bwMode="auto">
          <a:xfrm>
            <a:off x="7905032" y="4629738"/>
            <a:ext cx="3322486" cy="1483725"/>
          </a:xfrm>
          <a:custGeom>
            <a:avLst/>
            <a:gdLst>
              <a:gd name="T0" fmla="*/ 588 w 2212"/>
              <a:gd name="T1" fmla="*/ 774 h 986"/>
              <a:gd name="T2" fmla="*/ 448 w 2212"/>
              <a:gd name="T3" fmla="*/ 715 h 986"/>
              <a:gd name="T4" fmla="*/ 128 w 2212"/>
              <a:gd name="T5" fmla="*/ 762 h 986"/>
              <a:gd name="T6" fmla="*/ 32 w 2212"/>
              <a:gd name="T7" fmla="*/ 711 h 986"/>
              <a:gd name="T8" fmla="*/ 62 w 2212"/>
              <a:gd name="T9" fmla="*/ 688 h 986"/>
              <a:gd name="T10" fmla="*/ 96 w 2212"/>
              <a:gd name="T11" fmla="*/ 646 h 986"/>
              <a:gd name="T12" fmla="*/ 74 w 2212"/>
              <a:gd name="T13" fmla="*/ 405 h 986"/>
              <a:gd name="T14" fmla="*/ 34 w 2212"/>
              <a:gd name="T15" fmla="*/ 305 h 986"/>
              <a:gd name="T16" fmla="*/ 438 w 2212"/>
              <a:gd name="T17" fmla="*/ 440 h 986"/>
              <a:gd name="T18" fmla="*/ 577 w 2212"/>
              <a:gd name="T19" fmla="*/ 362 h 986"/>
              <a:gd name="T20" fmla="*/ 796 w 2212"/>
              <a:gd name="T21" fmla="*/ 234 h 986"/>
              <a:gd name="T22" fmla="*/ 867 w 2212"/>
              <a:gd name="T23" fmla="*/ 192 h 986"/>
              <a:gd name="T24" fmla="*/ 994 w 2212"/>
              <a:gd name="T25" fmla="*/ 162 h 986"/>
              <a:gd name="T26" fmla="*/ 1035 w 2212"/>
              <a:gd name="T27" fmla="*/ 109 h 986"/>
              <a:gd name="T28" fmla="*/ 1111 w 2212"/>
              <a:gd name="T29" fmla="*/ 49 h 986"/>
              <a:gd name="T30" fmla="*/ 1159 w 2212"/>
              <a:gd name="T31" fmla="*/ 23 h 986"/>
              <a:gd name="T32" fmla="*/ 1278 w 2212"/>
              <a:gd name="T33" fmla="*/ 41 h 986"/>
              <a:gd name="T34" fmla="*/ 1343 w 2212"/>
              <a:gd name="T35" fmla="*/ 41 h 986"/>
              <a:gd name="T36" fmla="*/ 1422 w 2212"/>
              <a:gd name="T37" fmla="*/ 63 h 986"/>
              <a:gd name="T38" fmla="*/ 1485 w 2212"/>
              <a:gd name="T39" fmla="*/ 43 h 986"/>
              <a:gd name="T40" fmla="*/ 1546 w 2212"/>
              <a:gd name="T41" fmla="*/ 78 h 986"/>
              <a:gd name="T42" fmla="*/ 1578 w 2212"/>
              <a:gd name="T43" fmla="*/ 105 h 986"/>
              <a:gd name="T44" fmla="*/ 1865 w 2212"/>
              <a:gd name="T45" fmla="*/ 225 h 986"/>
              <a:gd name="T46" fmla="*/ 2129 w 2212"/>
              <a:gd name="T47" fmla="*/ 506 h 986"/>
              <a:gd name="T48" fmla="*/ 2096 w 2212"/>
              <a:gd name="T49" fmla="*/ 586 h 986"/>
              <a:gd name="T50" fmla="*/ 1815 w 2212"/>
              <a:gd name="T51" fmla="*/ 754 h 986"/>
              <a:gd name="T52" fmla="*/ 1574 w 2212"/>
              <a:gd name="T53" fmla="*/ 845 h 986"/>
              <a:gd name="T54" fmla="*/ 1451 w 2212"/>
              <a:gd name="T55" fmla="*/ 938 h 986"/>
              <a:gd name="T56" fmla="*/ 1412 w 2212"/>
              <a:gd name="T57" fmla="*/ 900 h 986"/>
              <a:gd name="T58" fmla="*/ 1312 w 2212"/>
              <a:gd name="T59" fmla="*/ 878 h 986"/>
              <a:gd name="T60" fmla="*/ 1189 w 2212"/>
              <a:gd name="T61" fmla="*/ 858 h 986"/>
              <a:gd name="T62" fmla="*/ 1008 w 2212"/>
              <a:gd name="T63" fmla="*/ 923 h 986"/>
              <a:gd name="T64" fmla="*/ 904 w 2212"/>
              <a:gd name="T65" fmla="*/ 949 h 986"/>
              <a:gd name="T66" fmla="*/ 787 w 2212"/>
              <a:gd name="T67" fmla="*/ 903 h 986"/>
              <a:gd name="T68" fmla="*/ 708 w 2212"/>
              <a:gd name="T69" fmla="*/ 914 h 986"/>
              <a:gd name="T70" fmla="*/ 622 w 2212"/>
              <a:gd name="T71" fmla="*/ 829 h 9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212" h="986">
                <a:moveTo>
                  <a:pt x="622" y="829"/>
                </a:moveTo>
                <a:cubicBezTo>
                  <a:pt x="609" y="812"/>
                  <a:pt x="597" y="794"/>
                  <a:pt x="588" y="774"/>
                </a:cubicBezTo>
                <a:cubicBezTo>
                  <a:pt x="573" y="742"/>
                  <a:pt x="599" y="742"/>
                  <a:pt x="618" y="724"/>
                </a:cubicBezTo>
                <a:cubicBezTo>
                  <a:pt x="569" y="700"/>
                  <a:pt x="500" y="714"/>
                  <a:pt x="448" y="715"/>
                </a:cubicBezTo>
                <a:cubicBezTo>
                  <a:pt x="387" y="716"/>
                  <a:pt x="331" y="739"/>
                  <a:pt x="272" y="746"/>
                </a:cubicBezTo>
                <a:cubicBezTo>
                  <a:pt x="221" y="752"/>
                  <a:pt x="181" y="762"/>
                  <a:pt x="128" y="762"/>
                </a:cubicBezTo>
                <a:cubicBezTo>
                  <a:pt x="98" y="762"/>
                  <a:pt x="78" y="757"/>
                  <a:pt x="53" y="742"/>
                </a:cubicBezTo>
                <a:cubicBezTo>
                  <a:pt x="38" y="733"/>
                  <a:pt x="32" y="728"/>
                  <a:pt x="32" y="711"/>
                </a:cubicBezTo>
                <a:cubicBezTo>
                  <a:pt x="46" y="705"/>
                  <a:pt x="60" y="716"/>
                  <a:pt x="74" y="714"/>
                </a:cubicBezTo>
                <a:cubicBezTo>
                  <a:pt x="72" y="699"/>
                  <a:pt x="50" y="703"/>
                  <a:pt x="62" y="688"/>
                </a:cubicBezTo>
                <a:cubicBezTo>
                  <a:pt x="65" y="684"/>
                  <a:pt x="69" y="681"/>
                  <a:pt x="73" y="679"/>
                </a:cubicBezTo>
                <a:cubicBezTo>
                  <a:pt x="91" y="670"/>
                  <a:pt x="85" y="662"/>
                  <a:pt x="96" y="646"/>
                </a:cubicBezTo>
                <a:cubicBezTo>
                  <a:pt x="123" y="609"/>
                  <a:pt x="136" y="583"/>
                  <a:pt x="125" y="536"/>
                </a:cubicBezTo>
                <a:cubicBezTo>
                  <a:pt x="114" y="490"/>
                  <a:pt x="104" y="445"/>
                  <a:pt x="74" y="405"/>
                </a:cubicBezTo>
                <a:cubicBezTo>
                  <a:pt x="64" y="392"/>
                  <a:pt x="54" y="378"/>
                  <a:pt x="44" y="365"/>
                </a:cubicBezTo>
                <a:cubicBezTo>
                  <a:pt x="30" y="344"/>
                  <a:pt x="0" y="315"/>
                  <a:pt x="34" y="305"/>
                </a:cubicBezTo>
                <a:cubicBezTo>
                  <a:pt x="117" y="280"/>
                  <a:pt x="219" y="341"/>
                  <a:pt x="290" y="376"/>
                </a:cubicBezTo>
                <a:cubicBezTo>
                  <a:pt x="337" y="399"/>
                  <a:pt x="393" y="412"/>
                  <a:pt x="438" y="440"/>
                </a:cubicBezTo>
                <a:cubicBezTo>
                  <a:pt x="471" y="444"/>
                  <a:pt x="529" y="483"/>
                  <a:pt x="560" y="447"/>
                </a:cubicBezTo>
                <a:cubicBezTo>
                  <a:pt x="498" y="447"/>
                  <a:pt x="560" y="379"/>
                  <a:pt x="577" y="362"/>
                </a:cubicBezTo>
                <a:cubicBezTo>
                  <a:pt x="605" y="332"/>
                  <a:pt x="636" y="300"/>
                  <a:pt x="671" y="278"/>
                </a:cubicBezTo>
                <a:cubicBezTo>
                  <a:pt x="704" y="257"/>
                  <a:pt x="755" y="231"/>
                  <a:pt x="796" y="234"/>
                </a:cubicBezTo>
                <a:cubicBezTo>
                  <a:pt x="803" y="221"/>
                  <a:pt x="823" y="225"/>
                  <a:pt x="835" y="217"/>
                </a:cubicBezTo>
                <a:cubicBezTo>
                  <a:pt x="849" y="208"/>
                  <a:pt x="894" y="209"/>
                  <a:pt x="867" y="192"/>
                </a:cubicBezTo>
                <a:cubicBezTo>
                  <a:pt x="886" y="186"/>
                  <a:pt x="914" y="178"/>
                  <a:pt x="934" y="178"/>
                </a:cubicBezTo>
                <a:cubicBezTo>
                  <a:pt x="922" y="147"/>
                  <a:pt x="974" y="162"/>
                  <a:pt x="994" y="162"/>
                </a:cubicBezTo>
                <a:cubicBezTo>
                  <a:pt x="1053" y="162"/>
                  <a:pt x="999" y="138"/>
                  <a:pt x="999" y="114"/>
                </a:cubicBezTo>
                <a:cubicBezTo>
                  <a:pt x="1014" y="116"/>
                  <a:pt x="1024" y="119"/>
                  <a:pt x="1035" y="109"/>
                </a:cubicBezTo>
                <a:cubicBezTo>
                  <a:pt x="1057" y="91"/>
                  <a:pt x="1031" y="86"/>
                  <a:pt x="1043" y="71"/>
                </a:cubicBezTo>
                <a:cubicBezTo>
                  <a:pt x="1075" y="82"/>
                  <a:pt x="1119" y="96"/>
                  <a:pt x="1111" y="49"/>
                </a:cubicBezTo>
                <a:cubicBezTo>
                  <a:pt x="1124" y="52"/>
                  <a:pt x="1137" y="57"/>
                  <a:pt x="1150" y="59"/>
                </a:cubicBezTo>
                <a:cubicBezTo>
                  <a:pt x="1183" y="64"/>
                  <a:pt x="1166" y="38"/>
                  <a:pt x="1159" y="23"/>
                </a:cubicBezTo>
                <a:cubicBezTo>
                  <a:pt x="1178" y="17"/>
                  <a:pt x="1203" y="51"/>
                  <a:pt x="1216" y="26"/>
                </a:cubicBezTo>
                <a:cubicBezTo>
                  <a:pt x="1231" y="0"/>
                  <a:pt x="1254" y="41"/>
                  <a:pt x="1278" y="41"/>
                </a:cubicBezTo>
                <a:cubicBezTo>
                  <a:pt x="1297" y="41"/>
                  <a:pt x="1301" y="33"/>
                  <a:pt x="1311" y="18"/>
                </a:cubicBezTo>
                <a:cubicBezTo>
                  <a:pt x="1325" y="21"/>
                  <a:pt x="1332" y="34"/>
                  <a:pt x="1343" y="41"/>
                </a:cubicBezTo>
                <a:cubicBezTo>
                  <a:pt x="1388" y="67"/>
                  <a:pt x="1359" y="22"/>
                  <a:pt x="1367" y="14"/>
                </a:cubicBezTo>
                <a:cubicBezTo>
                  <a:pt x="1385" y="30"/>
                  <a:pt x="1403" y="47"/>
                  <a:pt x="1422" y="63"/>
                </a:cubicBezTo>
                <a:cubicBezTo>
                  <a:pt x="1445" y="49"/>
                  <a:pt x="1425" y="41"/>
                  <a:pt x="1437" y="24"/>
                </a:cubicBezTo>
                <a:cubicBezTo>
                  <a:pt x="1463" y="47"/>
                  <a:pt x="1500" y="111"/>
                  <a:pt x="1485" y="43"/>
                </a:cubicBezTo>
                <a:cubicBezTo>
                  <a:pt x="1504" y="43"/>
                  <a:pt x="1522" y="80"/>
                  <a:pt x="1534" y="95"/>
                </a:cubicBezTo>
                <a:cubicBezTo>
                  <a:pt x="1541" y="91"/>
                  <a:pt x="1534" y="79"/>
                  <a:pt x="1546" y="78"/>
                </a:cubicBezTo>
                <a:cubicBezTo>
                  <a:pt x="1552" y="86"/>
                  <a:pt x="1558" y="94"/>
                  <a:pt x="1564" y="102"/>
                </a:cubicBezTo>
                <a:cubicBezTo>
                  <a:pt x="1568" y="95"/>
                  <a:pt x="1573" y="96"/>
                  <a:pt x="1578" y="105"/>
                </a:cubicBezTo>
                <a:cubicBezTo>
                  <a:pt x="1596" y="140"/>
                  <a:pt x="1618" y="151"/>
                  <a:pt x="1660" y="154"/>
                </a:cubicBezTo>
                <a:cubicBezTo>
                  <a:pt x="1730" y="161"/>
                  <a:pt x="1801" y="197"/>
                  <a:pt x="1865" y="225"/>
                </a:cubicBezTo>
                <a:cubicBezTo>
                  <a:pt x="1935" y="255"/>
                  <a:pt x="2014" y="299"/>
                  <a:pt x="2074" y="347"/>
                </a:cubicBezTo>
                <a:cubicBezTo>
                  <a:pt x="2101" y="369"/>
                  <a:pt x="2212" y="506"/>
                  <a:pt x="2129" y="506"/>
                </a:cubicBezTo>
                <a:cubicBezTo>
                  <a:pt x="2137" y="524"/>
                  <a:pt x="2151" y="528"/>
                  <a:pt x="2138" y="547"/>
                </a:cubicBezTo>
                <a:cubicBezTo>
                  <a:pt x="2127" y="563"/>
                  <a:pt x="2111" y="575"/>
                  <a:pt x="2096" y="586"/>
                </a:cubicBezTo>
                <a:cubicBezTo>
                  <a:pt x="2066" y="607"/>
                  <a:pt x="2035" y="625"/>
                  <a:pt x="2005" y="644"/>
                </a:cubicBezTo>
                <a:cubicBezTo>
                  <a:pt x="1939" y="685"/>
                  <a:pt x="1886" y="725"/>
                  <a:pt x="1815" y="754"/>
                </a:cubicBezTo>
                <a:cubicBezTo>
                  <a:pt x="1769" y="773"/>
                  <a:pt x="1721" y="789"/>
                  <a:pt x="1674" y="802"/>
                </a:cubicBezTo>
                <a:cubicBezTo>
                  <a:pt x="1626" y="815"/>
                  <a:pt x="1610" y="809"/>
                  <a:pt x="1574" y="845"/>
                </a:cubicBezTo>
                <a:cubicBezTo>
                  <a:pt x="1553" y="865"/>
                  <a:pt x="1532" y="885"/>
                  <a:pt x="1511" y="906"/>
                </a:cubicBezTo>
                <a:cubicBezTo>
                  <a:pt x="1493" y="924"/>
                  <a:pt x="1473" y="925"/>
                  <a:pt x="1451" y="938"/>
                </a:cubicBezTo>
                <a:cubicBezTo>
                  <a:pt x="1417" y="959"/>
                  <a:pt x="1377" y="978"/>
                  <a:pt x="1337" y="986"/>
                </a:cubicBezTo>
                <a:cubicBezTo>
                  <a:pt x="1332" y="941"/>
                  <a:pt x="1381" y="919"/>
                  <a:pt x="1412" y="900"/>
                </a:cubicBezTo>
                <a:cubicBezTo>
                  <a:pt x="1402" y="891"/>
                  <a:pt x="1312" y="916"/>
                  <a:pt x="1299" y="922"/>
                </a:cubicBezTo>
                <a:cubicBezTo>
                  <a:pt x="1274" y="933"/>
                  <a:pt x="1310" y="881"/>
                  <a:pt x="1312" y="878"/>
                </a:cubicBezTo>
                <a:cubicBezTo>
                  <a:pt x="1328" y="858"/>
                  <a:pt x="1347" y="860"/>
                  <a:pt x="1365" y="844"/>
                </a:cubicBezTo>
                <a:cubicBezTo>
                  <a:pt x="1305" y="842"/>
                  <a:pt x="1248" y="854"/>
                  <a:pt x="1189" y="858"/>
                </a:cubicBezTo>
                <a:cubicBezTo>
                  <a:pt x="1150" y="861"/>
                  <a:pt x="1104" y="857"/>
                  <a:pt x="1065" y="854"/>
                </a:cubicBezTo>
                <a:cubicBezTo>
                  <a:pt x="1022" y="850"/>
                  <a:pt x="1020" y="890"/>
                  <a:pt x="1008" y="923"/>
                </a:cubicBezTo>
                <a:cubicBezTo>
                  <a:pt x="986" y="917"/>
                  <a:pt x="1003" y="899"/>
                  <a:pt x="974" y="899"/>
                </a:cubicBezTo>
                <a:cubicBezTo>
                  <a:pt x="954" y="920"/>
                  <a:pt x="929" y="934"/>
                  <a:pt x="904" y="949"/>
                </a:cubicBezTo>
                <a:cubicBezTo>
                  <a:pt x="904" y="917"/>
                  <a:pt x="953" y="875"/>
                  <a:pt x="884" y="884"/>
                </a:cubicBezTo>
                <a:cubicBezTo>
                  <a:pt x="852" y="889"/>
                  <a:pt x="819" y="904"/>
                  <a:pt x="787" y="903"/>
                </a:cubicBezTo>
                <a:cubicBezTo>
                  <a:pt x="775" y="903"/>
                  <a:pt x="764" y="901"/>
                  <a:pt x="753" y="907"/>
                </a:cubicBezTo>
                <a:cubicBezTo>
                  <a:pt x="735" y="916"/>
                  <a:pt x="726" y="911"/>
                  <a:pt x="708" y="914"/>
                </a:cubicBezTo>
                <a:cubicBezTo>
                  <a:pt x="651" y="924"/>
                  <a:pt x="636" y="870"/>
                  <a:pt x="622" y="829"/>
                </a:cubicBezTo>
                <a:cubicBezTo>
                  <a:pt x="608" y="809"/>
                  <a:pt x="629" y="848"/>
                  <a:pt x="622" y="829"/>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cs typeface="+mn-cs"/>
            </a:endParaRPr>
          </a:p>
        </p:txBody>
      </p:sp>
    </p:spTree>
    <p:extLst>
      <p:ext uri="{BB962C8B-B14F-4D97-AF65-F5344CB8AC3E}">
        <p14:creationId xmlns:p14="http://schemas.microsoft.com/office/powerpoint/2010/main" val="2468433112"/>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7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reeform 5">
            <a:extLst>
              <a:ext uri="{FF2B5EF4-FFF2-40B4-BE49-F238E27FC236}">
                <a16:creationId xmlns:a16="http://schemas.microsoft.com/office/drawing/2014/main" id="{C09407C1-078F-4D60-B9BE-4B34ECBE7002}"/>
              </a:ext>
            </a:extLst>
          </p:cNvPr>
          <p:cNvSpPr>
            <a:spLocks/>
          </p:cNvSpPr>
          <p:nvPr/>
        </p:nvSpPr>
        <p:spPr bwMode="auto">
          <a:xfrm>
            <a:off x="1246188" y="1100138"/>
            <a:ext cx="2400300" cy="1574800"/>
          </a:xfrm>
          <a:custGeom>
            <a:avLst/>
            <a:gdLst>
              <a:gd name="T0" fmla="*/ 440 w 564"/>
              <a:gd name="T1" fmla="*/ 255 h 369"/>
              <a:gd name="T2" fmla="*/ 449 w 564"/>
              <a:gd name="T3" fmla="*/ 310 h 369"/>
              <a:gd name="T4" fmla="*/ 439 w 564"/>
              <a:gd name="T5" fmla="*/ 337 h 369"/>
              <a:gd name="T6" fmla="*/ 381 w 564"/>
              <a:gd name="T7" fmla="*/ 361 h 369"/>
              <a:gd name="T8" fmla="*/ 251 w 564"/>
              <a:gd name="T9" fmla="*/ 369 h 369"/>
              <a:gd name="T10" fmla="*/ 241 w 564"/>
              <a:gd name="T11" fmla="*/ 367 h 369"/>
              <a:gd name="T12" fmla="*/ 140 w 564"/>
              <a:gd name="T13" fmla="*/ 354 h 369"/>
              <a:gd name="T14" fmla="*/ 85 w 564"/>
              <a:gd name="T15" fmla="*/ 331 h 369"/>
              <a:gd name="T16" fmla="*/ 72 w 564"/>
              <a:gd name="T17" fmla="*/ 322 h 369"/>
              <a:gd name="T18" fmla="*/ 54 w 564"/>
              <a:gd name="T19" fmla="*/ 345 h 369"/>
              <a:gd name="T20" fmla="*/ 52 w 564"/>
              <a:gd name="T21" fmla="*/ 343 h 369"/>
              <a:gd name="T22" fmla="*/ 60 w 564"/>
              <a:gd name="T23" fmla="*/ 330 h 369"/>
              <a:gd name="T24" fmla="*/ 58 w 564"/>
              <a:gd name="T25" fmla="*/ 308 h 369"/>
              <a:gd name="T26" fmla="*/ 45 w 564"/>
              <a:gd name="T27" fmla="*/ 296 h 369"/>
              <a:gd name="T28" fmla="*/ 35 w 564"/>
              <a:gd name="T29" fmla="*/ 256 h 369"/>
              <a:gd name="T30" fmla="*/ 0 w 564"/>
              <a:gd name="T31" fmla="*/ 250 h 369"/>
              <a:gd name="T32" fmla="*/ 1 w 564"/>
              <a:gd name="T33" fmla="*/ 246 h 369"/>
              <a:gd name="T34" fmla="*/ 27 w 564"/>
              <a:gd name="T35" fmla="*/ 250 h 369"/>
              <a:gd name="T36" fmla="*/ 46 w 564"/>
              <a:gd name="T37" fmla="*/ 242 h 369"/>
              <a:gd name="T38" fmla="*/ 58 w 564"/>
              <a:gd name="T39" fmla="*/ 222 h 369"/>
              <a:gd name="T40" fmla="*/ 110 w 564"/>
              <a:gd name="T41" fmla="*/ 129 h 369"/>
              <a:gd name="T42" fmla="*/ 132 w 564"/>
              <a:gd name="T43" fmla="*/ 107 h 369"/>
              <a:gd name="T44" fmla="*/ 264 w 564"/>
              <a:gd name="T45" fmla="*/ 28 h 369"/>
              <a:gd name="T46" fmla="*/ 402 w 564"/>
              <a:gd name="T47" fmla="*/ 18 h 369"/>
              <a:gd name="T48" fmla="*/ 451 w 564"/>
              <a:gd name="T49" fmla="*/ 61 h 369"/>
              <a:gd name="T50" fmla="*/ 462 w 564"/>
              <a:gd name="T51" fmla="*/ 86 h 369"/>
              <a:gd name="T52" fmla="*/ 448 w 564"/>
              <a:gd name="T53" fmla="*/ 182 h 369"/>
              <a:gd name="T54" fmla="*/ 452 w 564"/>
              <a:gd name="T55" fmla="*/ 185 h 369"/>
              <a:gd name="T56" fmla="*/ 486 w 564"/>
              <a:gd name="T57" fmla="*/ 157 h 369"/>
              <a:gd name="T58" fmla="*/ 540 w 564"/>
              <a:gd name="T59" fmla="*/ 120 h 369"/>
              <a:gd name="T60" fmla="*/ 557 w 564"/>
              <a:gd name="T61" fmla="*/ 128 h 369"/>
              <a:gd name="T62" fmla="*/ 564 w 564"/>
              <a:gd name="T63" fmla="*/ 190 h 369"/>
              <a:gd name="T64" fmla="*/ 556 w 564"/>
              <a:gd name="T65" fmla="*/ 260 h 369"/>
              <a:gd name="T66" fmla="*/ 523 w 564"/>
              <a:gd name="T67" fmla="*/ 281 h 369"/>
              <a:gd name="T68" fmla="*/ 440 w 564"/>
              <a:gd name="T69" fmla="*/ 255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64" h="369">
                <a:moveTo>
                  <a:pt x="440" y="255"/>
                </a:moveTo>
                <a:cubicBezTo>
                  <a:pt x="443" y="274"/>
                  <a:pt x="445" y="292"/>
                  <a:pt x="449" y="310"/>
                </a:cubicBezTo>
                <a:cubicBezTo>
                  <a:pt x="452" y="322"/>
                  <a:pt x="450" y="332"/>
                  <a:pt x="439" y="337"/>
                </a:cubicBezTo>
                <a:cubicBezTo>
                  <a:pt x="420" y="347"/>
                  <a:pt x="401" y="359"/>
                  <a:pt x="381" y="361"/>
                </a:cubicBezTo>
                <a:cubicBezTo>
                  <a:pt x="338" y="367"/>
                  <a:pt x="294" y="367"/>
                  <a:pt x="251" y="369"/>
                </a:cubicBezTo>
                <a:cubicBezTo>
                  <a:pt x="248" y="369"/>
                  <a:pt x="244" y="369"/>
                  <a:pt x="241" y="367"/>
                </a:cubicBezTo>
                <a:cubicBezTo>
                  <a:pt x="208" y="355"/>
                  <a:pt x="174" y="356"/>
                  <a:pt x="140" y="354"/>
                </a:cubicBezTo>
                <a:cubicBezTo>
                  <a:pt x="119" y="353"/>
                  <a:pt x="100" y="347"/>
                  <a:pt x="85" y="331"/>
                </a:cubicBezTo>
                <a:cubicBezTo>
                  <a:pt x="82" y="328"/>
                  <a:pt x="77" y="326"/>
                  <a:pt x="72" y="322"/>
                </a:cubicBezTo>
                <a:cubicBezTo>
                  <a:pt x="66" y="330"/>
                  <a:pt x="60" y="338"/>
                  <a:pt x="54" y="345"/>
                </a:cubicBezTo>
                <a:cubicBezTo>
                  <a:pt x="53" y="344"/>
                  <a:pt x="52" y="344"/>
                  <a:pt x="52" y="343"/>
                </a:cubicBezTo>
                <a:cubicBezTo>
                  <a:pt x="55" y="339"/>
                  <a:pt x="56" y="334"/>
                  <a:pt x="60" y="330"/>
                </a:cubicBezTo>
                <a:cubicBezTo>
                  <a:pt x="70" y="321"/>
                  <a:pt x="66" y="315"/>
                  <a:pt x="58" y="308"/>
                </a:cubicBezTo>
                <a:cubicBezTo>
                  <a:pt x="53" y="304"/>
                  <a:pt x="49" y="300"/>
                  <a:pt x="45" y="296"/>
                </a:cubicBezTo>
                <a:cubicBezTo>
                  <a:pt x="31" y="287"/>
                  <a:pt x="25" y="275"/>
                  <a:pt x="35" y="256"/>
                </a:cubicBezTo>
                <a:cubicBezTo>
                  <a:pt x="22" y="254"/>
                  <a:pt x="11" y="252"/>
                  <a:pt x="0" y="250"/>
                </a:cubicBezTo>
                <a:cubicBezTo>
                  <a:pt x="0" y="249"/>
                  <a:pt x="0" y="247"/>
                  <a:pt x="1" y="246"/>
                </a:cubicBezTo>
                <a:cubicBezTo>
                  <a:pt x="9" y="247"/>
                  <a:pt x="18" y="248"/>
                  <a:pt x="27" y="250"/>
                </a:cubicBezTo>
                <a:cubicBezTo>
                  <a:pt x="36" y="253"/>
                  <a:pt x="42" y="251"/>
                  <a:pt x="46" y="242"/>
                </a:cubicBezTo>
                <a:cubicBezTo>
                  <a:pt x="50" y="235"/>
                  <a:pt x="56" y="229"/>
                  <a:pt x="58" y="222"/>
                </a:cubicBezTo>
                <a:cubicBezTo>
                  <a:pt x="69" y="187"/>
                  <a:pt x="91" y="158"/>
                  <a:pt x="110" y="129"/>
                </a:cubicBezTo>
                <a:cubicBezTo>
                  <a:pt x="116" y="120"/>
                  <a:pt x="124" y="112"/>
                  <a:pt x="132" y="107"/>
                </a:cubicBezTo>
                <a:cubicBezTo>
                  <a:pt x="176" y="80"/>
                  <a:pt x="220" y="54"/>
                  <a:pt x="264" y="28"/>
                </a:cubicBezTo>
                <a:cubicBezTo>
                  <a:pt x="308" y="2"/>
                  <a:pt x="355" y="0"/>
                  <a:pt x="402" y="18"/>
                </a:cubicBezTo>
                <a:cubicBezTo>
                  <a:pt x="424" y="26"/>
                  <a:pt x="441" y="40"/>
                  <a:pt x="451" y="61"/>
                </a:cubicBezTo>
                <a:cubicBezTo>
                  <a:pt x="455" y="69"/>
                  <a:pt x="459" y="78"/>
                  <a:pt x="462" y="86"/>
                </a:cubicBezTo>
                <a:cubicBezTo>
                  <a:pt x="476" y="120"/>
                  <a:pt x="476" y="153"/>
                  <a:pt x="448" y="182"/>
                </a:cubicBezTo>
                <a:cubicBezTo>
                  <a:pt x="450" y="183"/>
                  <a:pt x="451" y="184"/>
                  <a:pt x="452" y="185"/>
                </a:cubicBezTo>
                <a:cubicBezTo>
                  <a:pt x="463" y="176"/>
                  <a:pt x="476" y="168"/>
                  <a:pt x="486" y="157"/>
                </a:cubicBezTo>
                <a:cubicBezTo>
                  <a:pt x="502" y="141"/>
                  <a:pt x="519" y="128"/>
                  <a:pt x="540" y="120"/>
                </a:cubicBezTo>
                <a:cubicBezTo>
                  <a:pt x="550" y="116"/>
                  <a:pt x="556" y="118"/>
                  <a:pt x="557" y="128"/>
                </a:cubicBezTo>
                <a:cubicBezTo>
                  <a:pt x="560" y="149"/>
                  <a:pt x="564" y="170"/>
                  <a:pt x="564" y="190"/>
                </a:cubicBezTo>
                <a:cubicBezTo>
                  <a:pt x="564" y="214"/>
                  <a:pt x="560" y="237"/>
                  <a:pt x="556" y="260"/>
                </a:cubicBezTo>
                <a:cubicBezTo>
                  <a:pt x="554" y="281"/>
                  <a:pt x="543" y="288"/>
                  <a:pt x="523" y="281"/>
                </a:cubicBezTo>
                <a:cubicBezTo>
                  <a:pt x="496" y="273"/>
                  <a:pt x="469" y="264"/>
                  <a:pt x="440" y="255"/>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cs typeface="+mn-cs"/>
            </a:endParaRPr>
          </a:p>
        </p:txBody>
      </p:sp>
      <p:sp>
        <p:nvSpPr>
          <p:cNvPr id="9" name="Freeform 9">
            <a:extLst>
              <a:ext uri="{FF2B5EF4-FFF2-40B4-BE49-F238E27FC236}">
                <a16:creationId xmlns:a16="http://schemas.microsoft.com/office/drawing/2014/main" id="{EE9E4017-CD20-41FB-9CFA-CA3EAF6F69E1}"/>
              </a:ext>
            </a:extLst>
          </p:cNvPr>
          <p:cNvSpPr>
            <a:spLocks/>
          </p:cNvSpPr>
          <p:nvPr/>
        </p:nvSpPr>
        <p:spPr bwMode="auto">
          <a:xfrm>
            <a:off x="1246189" y="3597275"/>
            <a:ext cx="2614612" cy="1820565"/>
          </a:xfrm>
          <a:custGeom>
            <a:avLst/>
            <a:gdLst>
              <a:gd name="T0" fmla="*/ 546 w 697"/>
              <a:gd name="T1" fmla="*/ 291 h 484"/>
              <a:gd name="T2" fmla="*/ 647 w 697"/>
              <a:gd name="T3" fmla="*/ 313 h 484"/>
              <a:gd name="T4" fmla="*/ 674 w 697"/>
              <a:gd name="T5" fmla="*/ 321 h 484"/>
              <a:gd name="T6" fmla="*/ 684 w 697"/>
              <a:gd name="T7" fmla="*/ 353 h 484"/>
              <a:gd name="T8" fmla="*/ 665 w 697"/>
              <a:gd name="T9" fmla="*/ 375 h 484"/>
              <a:gd name="T10" fmla="*/ 606 w 697"/>
              <a:gd name="T11" fmla="*/ 453 h 484"/>
              <a:gd name="T12" fmla="*/ 573 w 697"/>
              <a:gd name="T13" fmla="*/ 453 h 484"/>
              <a:gd name="T14" fmla="*/ 526 w 697"/>
              <a:gd name="T15" fmla="*/ 364 h 484"/>
              <a:gd name="T16" fmla="*/ 497 w 697"/>
              <a:gd name="T17" fmla="*/ 418 h 484"/>
              <a:gd name="T18" fmla="*/ 330 w 697"/>
              <a:gd name="T19" fmla="*/ 447 h 484"/>
              <a:gd name="T20" fmla="*/ 78 w 697"/>
              <a:gd name="T21" fmla="*/ 225 h 484"/>
              <a:gd name="T22" fmla="*/ 36 w 697"/>
              <a:gd name="T23" fmla="*/ 187 h 484"/>
              <a:gd name="T24" fmla="*/ 23 w 697"/>
              <a:gd name="T25" fmla="*/ 180 h 484"/>
              <a:gd name="T26" fmla="*/ 0 w 697"/>
              <a:gd name="T27" fmla="*/ 150 h 484"/>
              <a:gd name="T28" fmla="*/ 31 w 697"/>
              <a:gd name="T29" fmla="*/ 135 h 484"/>
              <a:gd name="T30" fmla="*/ 98 w 697"/>
              <a:gd name="T31" fmla="*/ 94 h 484"/>
              <a:gd name="T32" fmla="*/ 315 w 697"/>
              <a:gd name="T33" fmla="*/ 21 h 484"/>
              <a:gd name="T34" fmla="*/ 331 w 697"/>
              <a:gd name="T35" fmla="*/ 26 h 484"/>
              <a:gd name="T36" fmla="*/ 463 w 697"/>
              <a:gd name="T37" fmla="*/ 81 h 484"/>
              <a:gd name="T38" fmla="*/ 529 w 697"/>
              <a:gd name="T39" fmla="*/ 165 h 484"/>
              <a:gd name="T40" fmla="*/ 540 w 697"/>
              <a:gd name="T41" fmla="*/ 209 h 484"/>
              <a:gd name="T42" fmla="*/ 546 w 697"/>
              <a:gd name="T43" fmla="*/ 291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97" h="484">
                <a:moveTo>
                  <a:pt x="546" y="291"/>
                </a:moveTo>
                <a:cubicBezTo>
                  <a:pt x="581" y="299"/>
                  <a:pt x="614" y="306"/>
                  <a:pt x="647" y="313"/>
                </a:cubicBezTo>
                <a:cubicBezTo>
                  <a:pt x="656" y="315"/>
                  <a:pt x="665" y="318"/>
                  <a:pt x="674" y="321"/>
                </a:cubicBezTo>
                <a:cubicBezTo>
                  <a:pt x="695" y="329"/>
                  <a:pt x="697" y="335"/>
                  <a:pt x="684" y="353"/>
                </a:cubicBezTo>
                <a:cubicBezTo>
                  <a:pt x="678" y="361"/>
                  <a:pt x="671" y="368"/>
                  <a:pt x="665" y="375"/>
                </a:cubicBezTo>
                <a:cubicBezTo>
                  <a:pt x="645" y="401"/>
                  <a:pt x="625" y="427"/>
                  <a:pt x="606" y="453"/>
                </a:cubicBezTo>
                <a:cubicBezTo>
                  <a:pt x="593" y="471"/>
                  <a:pt x="584" y="473"/>
                  <a:pt x="573" y="453"/>
                </a:cubicBezTo>
                <a:cubicBezTo>
                  <a:pt x="556" y="423"/>
                  <a:pt x="541" y="392"/>
                  <a:pt x="526" y="364"/>
                </a:cubicBezTo>
                <a:cubicBezTo>
                  <a:pt x="517" y="382"/>
                  <a:pt x="510" y="403"/>
                  <a:pt x="497" y="418"/>
                </a:cubicBezTo>
                <a:cubicBezTo>
                  <a:pt x="449" y="472"/>
                  <a:pt x="392" y="484"/>
                  <a:pt x="330" y="447"/>
                </a:cubicBezTo>
                <a:cubicBezTo>
                  <a:pt x="233" y="388"/>
                  <a:pt x="138" y="328"/>
                  <a:pt x="78" y="225"/>
                </a:cubicBezTo>
                <a:cubicBezTo>
                  <a:pt x="69" y="210"/>
                  <a:pt x="50" y="200"/>
                  <a:pt x="36" y="187"/>
                </a:cubicBezTo>
                <a:cubicBezTo>
                  <a:pt x="32" y="184"/>
                  <a:pt x="26" y="183"/>
                  <a:pt x="23" y="180"/>
                </a:cubicBezTo>
                <a:cubicBezTo>
                  <a:pt x="15" y="170"/>
                  <a:pt x="7" y="160"/>
                  <a:pt x="0" y="150"/>
                </a:cubicBezTo>
                <a:cubicBezTo>
                  <a:pt x="10" y="145"/>
                  <a:pt x="20" y="136"/>
                  <a:pt x="31" y="135"/>
                </a:cubicBezTo>
                <a:cubicBezTo>
                  <a:pt x="60" y="131"/>
                  <a:pt x="81" y="115"/>
                  <a:pt x="98" y="94"/>
                </a:cubicBezTo>
                <a:cubicBezTo>
                  <a:pt x="155" y="23"/>
                  <a:pt x="228" y="0"/>
                  <a:pt x="315" y="21"/>
                </a:cubicBezTo>
                <a:cubicBezTo>
                  <a:pt x="321" y="23"/>
                  <a:pt x="326" y="24"/>
                  <a:pt x="331" y="26"/>
                </a:cubicBezTo>
                <a:cubicBezTo>
                  <a:pt x="375" y="44"/>
                  <a:pt x="419" y="63"/>
                  <a:pt x="463" y="81"/>
                </a:cubicBezTo>
                <a:cubicBezTo>
                  <a:pt x="501" y="97"/>
                  <a:pt x="524" y="123"/>
                  <a:pt x="529" y="165"/>
                </a:cubicBezTo>
                <a:cubicBezTo>
                  <a:pt x="530" y="180"/>
                  <a:pt x="536" y="195"/>
                  <a:pt x="540" y="209"/>
                </a:cubicBezTo>
                <a:cubicBezTo>
                  <a:pt x="550" y="236"/>
                  <a:pt x="557" y="263"/>
                  <a:pt x="546" y="291"/>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cs typeface="+mn-cs"/>
            </a:endParaRPr>
          </a:p>
        </p:txBody>
      </p:sp>
      <p:sp>
        <p:nvSpPr>
          <p:cNvPr id="13" name="Freeform 13">
            <a:extLst>
              <a:ext uri="{FF2B5EF4-FFF2-40B4-BE49-F238E27FC236}">
                <a16:creationId xmlns:a16="http://schemas.microsoft.com/office/drawing/2014/main" id="{D8A3B2E4-DF1C-45BD-8099-02C8F69F0375}"/>
              </a:ext>
            </a:extLst>
          </p:cNvPr>
          <p:cNvSpPr>
            <a:spLocks/>
          </p:cNvSpPr>
          <p:nvPr/>
        </p:nvSpPr>
        <p:spPr bwMode="auto">
          <a:xfrm>
            <a:off x="4780037" y="1100137"/>
            <a:ext cx="3038326" cy="1574801"/>
          </a:xfrm>
          <a:custGeom>
            <a:avLst/>
            <a:gdLst>
              <a:gd name="T0" fmla="*/ 7 w 940"/>
              <a:gd name="T1" fmla="*/ 366 h 485"/>
              <a:gd name="T2" fmla="*/ 390 w 940"/>
              <a:gd name="T3" fmla="*/ 485 h 485"/>
              <a:gd name="T4" fmla="*/ 362 w 940"/>
              <a:gd name="T5" fmla="*/ 454 h 485"/>
              <a:gd name="T6" fmla="*/ 480 w 940"/>
              <a:gd name="T7" fmla="*/ 432 h 485"/>
              <a:gd name="T8" fmla="*/ 600 w 940"/>
              <a:gd name="T9" fmla="*/ 431 h 485"/>
              <a:gd name="T10" fmla="*/ 584 w 940"/>
              <a:gd name="T11" fmla="*/ 416 h 485"/>
              <a:gd name="T12" fmla="*/ 645 w 940"/>
              <a:gd name="T13" fmla="*/ 384 h 485"/>
              <a:gd name="T14" fmla="*/ 686 w 940"/>
              <a:gd name="T15" fmla="*/ 328 h 485"/>
              <a:gd name="T16" fmla="*/ 634 w 940"/>
              <a:gd name="T17" fmla="*/ 333 h 485"/>
              <a:gd name="T18" fmla="*/ 692 w 940"/>
              <a:gd name="T19" fmla="*/ 308 h 485"/>
              <a:gd name="T20" fmla="*/ 940 w 940"/>
              <a:gd name="T21" fmla="*/ 381 h 485"/>
              <a:gd name="T22" fmla="*/ 856 w 940"/>
              <a:gd name="T23" fmla="*/ 246 h 485"/>
              <a:gd name="T24" fmla="*/ 922 w 940"/>
              <a:gd name="T25" fmla="*/ 54 h 485"/>
              <a:gd name="T26" fmla="*/ 784 w 940"/>
              <a:gd name="T27" fmla="*/ 151 h 485"/>
              <a:gd name="T28" fmla="*/ 641 w 940"/>
              <a:gd name="T29" fmla="*/ 196 h 485"/>
              <a:gd name="T30" fmla="*/ 688 w 940"/>
              <a:gd name="T31" fmla="*/ 184 h 485"/>
              <a:gd name="T32" fmla="*/ 564 w 940"/>
              <a:gd name="T33" fmla="*/ 62 h 485"/>
              <a:gd name="T34" fmla="*/ 471 w 940"/>
              <a:gd name="T35" fmla="*/ 49 h 485"/>
              <a:gd name="T36" fmla="*/ 173 w 940"/>
              <a:gd name="T37" fmla="*/ 96 h 485"/>
              <a:gd name="T38" fmla="*/ 0 w 940"/>
              <a:gd name="T39" fmla="*/ 328 h 485"/>
              <a:gd name="T40" fmla="*/ 21 w 940"/>
              <a:gd name="T41" fmla="*/ 349 h 485"/>
              <a:gd name="T42" fmla="*/ 5 w 940"/>
              <a:gd name="T43" fmla="*/ 366 h 4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40" h="485">
                <a:moveTo>
                  <a:pt x="7" y="366"/>
                </a:moveTo>
                <a:cubicBezTo>
                  <a:pt x="7" y="366"/>
                  <a:pt x="72" y="469"/>
                  <a:pt x="390" y="485"/>
                </a:cubicBezTo>
                <a:cubicBezTo>
                  <a:pt x="390" y="485"/>
                  <a:pt x="369" y="475"/>
                  <a:pt x="362" y="454"/>
                </a:cubicBezTo>
                <a:cubicBezTo>
                  <a:pt x="362" y="454"/>
                  <a:pt x="450" y="442"/>
                  <a:pt x="480" y="432"/>
                </a:cubicBezTo>
                <a:cubicBezTo>
                  <a:pt x="480" y="432"/>
                  <a:pt x="554" y="458"/>
                  <a:pt x="600" y="431"/>
                </a:cubicBezTo>
                <a:cubicBezTo>
                  <a:pt x="600" y="431"/>
                  <a:pt x="583" y="422"/>
                  <a:pt x="584" y="416"/>
                </a:cubicBezTo>
                <a:cubicBezTo>
                  <a:pt x="584" y="416"/>
                  <a:pt x="630" y="407"/>
                  <a:pt x="645" y="384"/>
                </a:cubicBezTo>
                <a:cubicBezTo>
                  <a:pt x="660" y="361"/>
                  <a:pt x="680" y="331"/>
                  <a:pt x="686" y="328"/>
                </a:cubicBezTo>
                <a:cubicBezTo>
                  <a:pt x="692" y="326"/>
                  <a:pt x="647" y="329"/>
                  <a:pt x="634" y="333"/>
                </a:cubicBezTo>
                <a:cubicBezTo>
                  <a:pt x="620" y="337"/>
                  <a:pt x="657" y="305"/>
                  <a:pt x="692" y="308"/>
                </a:cubicBezTo>
                <a:cubicBezTo>
                  <a:pt x="727" y="311"/>
                  <a:pt x="878" y="387"/>
                  <a:pt x="940" y="381"/>
                </a:cubicBezTo>
                <a:cubicBezTo>
                  <a:pt x="940" y="381"/>
                  <a:pt x="858" y="276"/>
                  <a:pt x="856" y="246"/>
                </a:cubicBezTo>
                <a:cubicBezTo>
                  <a:pt x="854" y="216"/>
                  <a:pt x="898" y="96"/>
                  <a:pt x="922" y="54"/>
                </a:cubicBezTo>
                <a:cubicBezTo>
                  <a:pt x="922" y="54"/>
                  <a:pt x="868" y="61"/>
                  <a:pt x="784" y="151"/>
                </a:cubicBezTo>
                <a:cubicBezTo>
                  <a:pt x="724" y="216"/>
                  <a:pt x="641" y="196"/>
                  <a:pt x="641" y="196"/>
                </a:cubicBezTo>
                <a:cubicBezTo>
                  <a:pt x="641" y="196"/>
                  <a:pt x="684" y="185"/>
                  <a:pt x="688" y="184"/>
                </a:cubicBezTo>
                <a:cubicBezTo>
                  <a:pt x="688" y="184"/>
                  <a:pt x="606" y="80"/>
                  <a:pt x="564" y="62"/>
                </a:cubicBezTo>
                <a:cubicBezTo>
                  <a:pt x="521" y="43"/>
                  <a:pt x="483" y="51"/>
                  <a:pt x="471" y="49"/>
                </a:cubicBezTo>
                <a:cubicBezTo>
                  <a:pt x="459" y="46"/>
                  <a:pt x="281" y="0"/>
                  <a:pt x="173" y="96"/>
                </a:cubicBezTo>
                <a:cubicBezTo>
                  <a:pt x="65" y="193"/>
                  <a:pt x="24" y="245"/>
                  <a:pt x="0" y="328"/>
                </a:cubicBezTo>
                <a:cubicBezTo>
                  <a:pt x="21" y="349"/>
                  <a:pt x="21" y="349"/>
                  <a:pt x="21" y="349"/>
                </a:cubicBezTo>
                <a:cubicBezTo>
                  <a:pt x="5" y="366"/>
                  <a:pt x="5" y="366"/>
                  <a:pt x="5" y="366"/>
                </a:cubicBezTo>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cs typeface="+mn-cs"/>
            </a:endParaRPr>
          </a:p>
        </p:txBody>
      </p:sp>
      <p:sp>
        <p:nvSpPr>
          <p:cNvPr id="17" name="Freeform 17">
            <a:extLst>
              <a:ext uri="{FF2B5EF4-FFF2-40B4-BE49-F238E27FC236}">
                <a16:creationId xmlns:a16="http://schemas.microsoft.com/office/drawing/2014/main" id="{2FCB98BD-B43A-4AA6-9AF5-AC700EAF1C5C}"/>
              </a:ext>
            </a:extLst>
          </p:cNvPr>
          <p:cNvSpPr>
            <a:spLocks noEditPoints="1"/>
          </p:cNvSpPr>
          <p:nvPr/>
        </p:nvSpPr>
        <p:spPr bwMode="auto">
          <a:xfrm>
            <a:off x="4911726" y="3429000"/>
            <a:ext cx="2517774" cy="2092361"/>
          </a:xfrm>
          <a:custGeom>
            <a:avLst/>
            <a:gdLst>
              <a:gd name="T0" fmla="*/ 821 w 841"/>
              <a:gd name="T1" fmla="*/ 303 h 698"/>
              <a:gd name="T2" fmla="*/ 817 w 841"/>
              <a:gd name="T3" fmla="*/ 359 h 698"/>
              <a:gd name="T4" fmla="*/ 779 w 841"/>
              <a:gd name="T5" fmla="*/ 412 h 698"/>
              <a:gd name="T6" fmla="*/ 749 w 841"/>
              <a:gd name="T7" fmla="*/ 424 h 698"/>
              <a:gd name="T8" fmla="*/ 664 w 841"/>
              <a:gd name="T9" fmla="*/ 411 h 698"/>
              <a:gd name="T10" fmla="*/ 647 w 841"/>
              <a:gd name="T11" fmla="*/ 407 h 698"/>
              <a:gd name="T12" fmla="*/ 749 w 841"/>
              <a:gd name="T13" fmla="*/ 492 h 698"/>
              <a:gd name="T14" fmla="*/ 773 w 841"/>
              <a:gd name="T15" fmla="*/ 559 h 698"/>
              <a:gd name="T16" fmla="*/ 785 w 841"/>
              <a:gd name="T17" fmla="*/ 622 h 698"/>
              <a:gd name="T18" fmla="*/ 760 w 841"/>
              <a:gd name="T19" fmla="*/ 654 h 698"/>
              <a:gd name="T20" fmla="*/ 598 w 841"/>
              <a:gd name="T21" fmla="*/ 554 h 698"/>
              <a:gd name="T22" fmla="*/ 531 w 841"/>
              <a:gd name="T23" fmla="*/ 404 h 698"/>
              <a:gd name="T24" fmla="*/ 499 w 841"/>
              <a:gd name="T25" fmla="*/ 401 h 698"/>
              <a:gd name="T26" fmla="*/ 399 w 841"/>
              <a:gd name="T27" fmla="*/ 499 h 698"/>
              <a:gd name="T28" fmla="*/ 424 w 841"/>
              <a:gd name="T29" fmla="*/ 507 h 698"/>
              <a:gd name="T30" fmla="*/ 497 w 841"/>
              <a:gd name="T31" fmla="*/ 544 h 698"/>
              <a:gd name="T32" fmla="*/ 504 w 841"/>
              <a:gd name="T33" fmla="*/ 599 h 698"/>
              <a:gd name="T34" fmla="*/ 526 w 841"/>
              <a:gd name="T35" fmla="*/ 675 h 698"/>
              <a:gd name="T36" fmla="*/ 440 w 841"/>
              <a:gd name="T37" fmla="*/ 654 h 698"/>
              <a:gd name="T38" fmla="*/ 385 w 841"/>
              <a:gd name="T39" fmla="*/ 668 h 698"/>
              <a:gd name="T40" fmla="*/ 386 w 841"/>
              <a:gd name="T41" fmla="*/ 695 h 698"/>
              <a:gd name="T42" fmla="*/ 365 w 841"/>
              <a:gd name="T43" fmla="*/ 691 h 698"/>
              <a:gd name="T44" fmla="*/ 295 w 841"/>
              <a:gd name="T45" fmla="*/ 512 h 698"/>
              <a:gd name="T46" fmla="*/ 137 w 841"/>
              <a:gd name="T47" fmla="*/ 455 h 698"/>
              <a:gd name="T48" fmla="*/ 39 w 841"/>
              <a:gd name="T49" fmla="*/ 393 h 698"/>
              <a:gd name="T50" fmla="*/ 12 w 841"/>
              <a:gd name="T51" fmla="*/ 326 h 698"/>
              <a:gd name="T52" fmla="*/ 40 w 841"/>
              <a:gd name="T53" fmla="*/ 287 h 698"/>
              <a:gd name="T54" fmla="*/ 110 w 841"/>
              <a:gd name="T55" fmla="*/ 243 h 698"/>
              <a:gd name="T56" fmla="*/ 233 w 841"/>
              <a:gd name="T57" fmla="*/ 178 h 698"/>
              <a:gd name="T58" fmla="*/ 308 w 841"/>
              <a:gd name="T59" fmla="*/ 21 h 698"/>
              <a:gd name="T60" fmla="*/ 345 w 841"/>
              <a:gd name="T61" fmla="*/ 0 h 698"/>
              <a:gd name="T62" fmla="*/ 410 w 841"/>
              <a:gd name="T63" fmla="*/ 40 h 698"/>
              <a:gd name="T64" fmla="*/ 494 w 841"/>
              <a:gd name="T65" fmla="*/ 119 h 698"/>
              <a:gd name="T66" fmla="*/ 538 w 841"/>
              <a:gd name="T67" fmla="*/ 234 h 698"/>
              <a:gd name="T68" fmla="*/ 565 w 841"/>
              <a:gd name="T69" fmla="*/ 249 h 698"/>
              <a:gd name="T70" fmla="*/ 736 w 841"/>
              <a:gd name="T71" fmla="*/ 97 h 698"/>
              <a:gd name="T72" fmla="*/ 815 w 841"/>
              <a:gd name="T73" fmla="*/ 96 h 698"/>
              <a:gd name="T74" fmla="*/ 809 w 841"/>
              <a:gd name="T75" fmla="*/ 131 h 698"/>
              <a:gd name="T76" fmla="*/ 841 w 841"/>
              <a:gd name="T77" fmla="*/ 215 h 698"/>
              <a:gd name="T78" fmla="*/ 356 w 841"/>
              <a:gd name="T79" fmla="*/ 548 h 698"/>
              <a:gd name="T80" fmla="*/ 338 w 841"/>
              <a:gd name="T81" fmla="*/ 513 h 6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41" h="698">
                <a:moveTo>
                  <a:pt x="819" y="251"/>
                </a:moveTo>
                <a:cubicBezTo>
                  <a:pt x="809" y="269"/>
                  <a:pt x="815" y="286"/>
                  <a:pt x="821" y="303"/>
                </a:cubicBezTo>
                <a:cubicBezTo>
                  <a:pt x="825" y="314"/>
                  <a:pt x="826" y="324"/>
                  <a:pt x="820" y="335"/>
                </a:cubicBezTo>
                <a:cubicBezTo>
                  <a:pt x="817" y="342"/>
                  <a:pt x="816" y="351"/>
                  <a:pt x="817" y="359"/>
                </a:cubicBezTo>
                <a:cubicBezTo>
                  <a:pt x="819" y="375"/>
                  <a:pt x="814" y="385"/>
                  <a:pt x="799" y="390"/>
                </a:cubicBezTo>
                <a:cubicBezTo>
                  <a:pt x="788" y="394"/>
                  <a:pt x="779" y="398"/>
                  <a:pt x="779" y="412"/>
                </a:cubicBezTo>
                <a:cubicBezTo>
                  <a:pt x="779" y="416"/>
                  <a:pt x="771" y="422"/>
                  <a:pt x="766" y="424"/>
                </a:cubicBezTo>
                <a:cubicBezTo>
                  <a:pt x="761" y="426"/>
                  <a:pt x="755" y="425"/>
                  <a:pt x="749" y="424"/>
                </a:cubicBezTo>
                <a:cubicBezTo>
                  <a:pt x="726" y="422"/>
                  <a:pt x="703" y="421"/>
                  <a:pt x="681" y="418"/>
                </a:cubicBezTo>
                <a:cubicBezTo>
                  <a:pt x="675" y="417"/>
                  <a:pt x="670" y="414"/>
                  <a:pt x="664" y="411"/>
                </a:cubicBezTo>
                <a:cubicBezTo>
                  <a:pt x="660" y="409"/>
                  <a:pt x="655" y="406"/>
                  <a:pt x="650" y="404"/>
                </a:cubicBezTo>
                <a:cubicBezTo>
                  <a:pt x="649" y="405"/>
                  <a:pt x="648" y="406"/>
                  <a:pt x="647" y="407"/>
                </a:cubicBezTo>
                <a:cubicBezTo>
                  <a:pt x="657" y="415"/>
                  <a:pt x="666" y="424"/>
                  <a:pt x="676" y="431"/>
                </a:cubicBezTo>
                <a:cubicBezTo>
                  <a:pt x="703" y="449"/>
                  <a:pt x="730" y="465"/>
                  <a:pt x="749" y="492"/>
                </a:cubicBezTo>
                <a:cubicBezTo>
                  <a:pt x="756" y="502"/>
                  <a:pt x="759" y="514"/>
                  <a:pt x="763" y="526"/>
                </a:cubicBezTo>
                <a:cubicBezTo>
                  <a:pt x="767" y="537"/>
                  <a:pt x="771" y="548"/>
                  <a:pt x="773" y="559"/>
                </a:cubicBezTo>
                <a:cubicBezTo>
                  <a:pt x="775" y="568"/>
                  <a:pt x="774" y="578"/>
                  <a:pt x="776" y="588"/>
                </a:cubicBezTo>
                <a:cubicBezTo>
                  <a:pt x="778" y="599"/>
                  <a:pt x="782" y="610"/>
                  <a:pt x="785" y="622"/>
                </a:cubicBezTo>
                <a:cubicBezTo>
                  <a:pt x="787" y="630"/>
                  <a:pt x="793" y="645"/>
                  <a:pt x="790" y="646"/>
                </a:cubicBezTo>
                <a:cubicBezTo>
                  <a:pt x="781" y="651"/>
                  <a:pt x="770" y="655"/>
                  <a:pt x="760" y="654"/>
                </a:cubicBezTo>
                <a:cubicBezTo>
                  <a:pt x="732" y="651"/>
                  <a:pt x="707" y="637"/>
                  <a:pt x="685" y="621"/>
                </a:cubicBezTo>
                <a:cubicBezTo>
                  <a:pt x="655" y="600"/>
                  <a:pt x="625" y="578"/>
                  <a:pt x="598" y="554"/>
                </a:cubicBezTo>
                <a:cubicBezTo>
                  <a:pt x="556" y="516"/>
                  <a:pt x="534" y="467"/>
                  <a:pt x="531" y="409"/>
                </a:cubicBezTo>
                <a:cubicBezTo>
                  <a:pt x="531" y="408"/>
                  <a:pt x="531" y="405"/>
                  <a:pt x="531" y="404"/>
                </a:cubicBezTo>
                <a:cubicBezTo>
                  <a:pt x="526" y="397"/>
                  <a:pt x="522" y="391"/>
                  <a:pt x="517" y="385"/>
                </a:cubicBezTo>
                <a:cubicBezTo>
                  <a:pt x="511" y="390"/>
                  <a:pt x="501" y="395"/>
                  <a:pt x="499" y="401"/>
                </a:cubicBezTo>
                <a:cubicBezTo>
                  <a:pt x="487" y="453"/>
                  <a:pt x="452" y="481"/>
                  <a:pt x="404" y="497"/>
                </a:cubicBezTo>
                <a:cubicBezTo>
                  <a:pt x="402" y="497"/>
                  <a:pt x="401" y="498"/>
                  <a:pt x="399" y="499"/>
                </a:cubicBezTo>
                <a:cubicBezTo>
                  <a:pt x="398" y="499"/>
                  <a:pt x="398" y="500"/>
                  <a:pt x="394" y="502"/>
                </a:cubicBezTo>
                <a:cubicBezTo>
                  <a:pt x="406" y="504"/>
                  <a:pt x="415" y="506"/>
                  <a:pt x="424" y="507"/>
                </a:cubicBezTo>
                <a:cubicBezTo>
                  <a:pt x="439" y="509"/>
                  <a:pt x="454" y="508"/>
                  <a:pt x="468" y="510"/>
                </a:cubicBezTo>
                <a:cubicBezTo>
                  <a:pt x="489" y="513"/>
                  <a:pt x="496" y="523"/>
                  <a:pt x="497" y="544"/>
                </a:cubicBezTo>
                <a:cubicBezTo>
                  <a:pt x="498" y="556"/>
                  <a:pt x="502" y="567"/>
                  <a:pt x="504" y="578"/>
                </a:cubicBezTo>
                <a:cubicBezTo>
                  <a:pt x="505" y="585"/>
                  <a:pt x="505" y="592"/>
                  <a:pt x="504" y="599"/>
                </a:cubicBezTo>
                <a:cubicBezTo>
                  <a:pt x="502" y="610"/>
                  <a:pt x="505" y="620"/>
                  <a:pt x="513" y="628"/>
                </a:cubicBezTo>
                <a:cubicBezTo>
                  <a:pt x="525" y="641"/>
                  <a:pt x="531" y="656"/>
                  <a:pt x="526" y="675"/>
                </a:cubicBezTo>
                <a:cubicBezTo>
                  <a:pt x="525" y="683"/>
                  <a:pt x="520" y="686"/>
                  <a:pt x="512" y="687"/>
                </a:cubicBezTo>
                <a:cubicBezTo>
                  <a:pt x="482" y="689"/>
                  <a:pt x="461" y="671"/>
                  <a:pt x="440" y="654"/>
                </a:cubicBezTo>
                <a:cubicBezTo>
                  <a:pt x="430" y="646"/>
                  <a:pt x="421" y="637"/>
                  <a:pt x="411" y="628"/>
                </a:cubicBezTo>
                <a:cubicBezTo>
                  <a:pt x="400" y="640"/>
                  <a:pt x="409" y="665"/>
                  <a:pt x="385" y="668"/>
                </a:cubicBezTo>
                <a:cubicBezTo>
                  <a:pt x="386" y="674"/>
                  <a:pt x="388" y="678"/>
                  <a:pt x="388" y="683"/>
                </a:cubicBezTo>
                <a:cubicBezTo>
                  <a:pt x="388" y="687"/>
                  <a:pt x="388" y="693"/>
                  <a:pt x="386" y="695"/>
                </a:cubicBezTo>
                <a:cubicBezTo>
                  <a:pt x="383" y="698"/>
                  <a:pt x="377" y="697"/>
                  <a:pt x="373" y="696"/>
                </a:cubicBezTo>
                <a:cubicBezTo>
                  <a:pt x="370" y="696"/>
                  <a:pt x="367" y="693"/>
                  <a:pt x="365" y="691"/>
                </a:cubicBezTo>
                <a:cubicBezTo>
                  <a:pt x="331" y="654"/>
                  <a:pt x="301" y="614"/>
                  <a:pt x="295" y="562"/>
                </a:cubicBezTo>
                <a:cubicBezTo>
                  <a:pt x="293" y="545"/>
                  <a:pt x="295" y="528"/>
                  <a:pt x="295" y="512"/>
                </a:cubicBezTo>
                <a:cubicBezTo>
                  <a:pt x="265" y="506"/>
                  <a:pt x="234" y="500"/>
                  <a:pt x="205" y="492"/>
                </a:cubicBezTo>
                <a:cubicBezTo>
                  <a:pt x="179" y="486"/>
                  <a:pt x="156" y="475"/>
                  <a:pt x="137" y="455"/>
                </a:cubicBezTo>
                <a:cubicBezTo>
                  <a:pt x="134" y="452"/>
                  <a:pt x="129" y="448"/>
                  <a:pt x="125" y="447"/>
                </a:cubicBezTo>
                <a:cubicBezTo>
                  <a:pt x="90" y="438"/>
                  <a:pt x="63" y="418"/>
                  <a:pt x="39" y="393"/>
                </a:cubicBezTo>
                <a:cubicBezTo>
                  <a:pt x="32" y="385"/>
                  <a:pt x="23" y="377"/>
                  <a:pt x="16" y="369"/>
                </a:cubicBezTo>
                <a:cubicBezTo>
                  <a:pt x="2" y="354"/>
                  <a:pt x="0" y="342"/>
                  <a:pt x="12" y="326"/>
                </a:cubicBezTo>
                <a:cubicBezTo>
                  <a:pt x="20" y="314"/>
                  <a:pt x="28" y="302"/>
                  <a:pt x="36" y="291"/>
                </a:cubicBezTo>
                <a:cubicBezTo>
                  <a:pt x="37" y="289"/>
                  <a:pt x="39" y="288"/>
                  <a:pt x="40" y="287"/>
                </a:cubicBezTo>
                <a:cubicBezTo>
                  <a:pt x="58" y="285"/>
                  <a:pt x="66" y="269"/>
                  <a:pt x="79" y="259"/>
                </a:cubicBezTo>
                <a:cubicBezTo>
                  <a:pt x="88" y="252"/>
                  <a:pt x="100" y="248"/>
                  <a:pt x="110" y="243"/>
                </a:cubicBezTo>
                <a:cubicBezTo>
                  <a:pt x="126" y="235"/>
                  <a:pt x="142" y="227"/>
                  <a:pt x="158" y="219"/>
                </a:cubicBezTo>
                <a:cubicBezTo>
                  <a:pt x="183" y="206"/>
                  <a:pt x="209" y="192"/>
                  <a:pt x="233" y="178"/>
                </a:cubicBezTo>
                <a:cubicBezTo>
                  <a:pt x="238" y="175"/>
                  <a:pt x="243" y="168"/>
                  <a:pt x="245" y="163"/>
                </a:cubicBezTo>
                <a:cubicBezTo>
                  <a:pt x="260" y="113"/>
                  <a:pt x="275" y="62"/>
                  <a:pt x="308" y="21"/>
                </a:cubicBezTo>
                <a:cubicBezTo>
                  <a:pt x="314" y="13"/>
                  <a:pt x="321" y="7"/>
                  <a:pt x="328" y="0"/>
                </a:cubicBezTo>
                <a:cubicBezTo>
                  <a:pt x="334" y="0"/>
                  <a:pt x="339" y="0"/>
                  <a:pt x="345" y="0"/>
                </a:cubicBezTo>
                <a:cubicBezTo>
                  <a:pt x="356" y="5"/>
                  <a:pt x="368" y="10"/>
                  <a:pt x="379" y="17"/>
                </a:cubicBezTo>
                <a:cubicBezTo>
                  <a:pt x="390" y="24"/>
                  <a:pt x="401" y="31"/>
                  <a:pt x="410" y="40"/>
                </a:cubicBezTo>
                <a:cubicBezTo>
                  <a:pt x="420" y="48"/>
                  <a:pt x="429" y="58"/>
                  <a:pt x="437" y="69"/>
                </a:cubicBezTo>
                <a:cubicBezTo>
                  <a:pt x="453" y="89"/>
                  <a:pt x="475" y="103"/>
                  <a:pt x="494" y="119"/>
                </a:cubicBezTo>
                <a:cubicBezTo>
                  <a:pt x="521" y="142"/>
                  <a:pt x="545" y="172"/>
                  <a:pt x="551" y="211"/>
                </a:cubicBezTo>
                <a:cubicBezTo>
                  <a:pt x="552" y="224"/>
                  <a:pt x="551" y="231"/>
                  <a:pt x="538" y="234"/>
                </a:cubicBezTo>
                <a:cubicBezTo>
                  <a:pt x="527" y="237"/>
                  <a:pt x="516" y="241"/>
                  <a:pt x="505" y="244"/>
                </a:cubicBezTo>
                <a:cubicBezTo>
                  <a:pt x="519" y="263"/>
                  <a:pt x="549" y="266"/>
                  <a:pt x="565" y="249"/>
                </a:cubicBezTo>
                <a:cubicBezTo>
                  <a:pt x="577" y="237"/>
                  <a:pt x="586" y="224"/>
                  <a:pt x="596" y="211"/>
                </a:cubicBezTo>
                <a:cubicBezTo>
                  <a:pt x="633" y="161"/>
                  <a:pt x="677" y="119"/>
                  <a:pt x="736" y="97"/>
                </a:cubicBezTo>
                <a:cubicBezTo>
                  <a:pt x="755" y="89"/>
                  <a:pt x="777" y="91"/>
                  <a:pt x="798" y="89"/>
                </a:cubicBezTo>
                <a:cubicBezTo>
                  <a:pt x="803" y="89"/>
                  <a:pt x="809" y="93"/>
                  <a:pt x="815" y="96"/>
                </a:cubicBezTo>
                <a:cubicBezTo>
                  <a:pt x="812" y="99"/>
                  <a:pt x="811" y="101"/>
                  <a:pt x="809" y="102"/>
                </a:cubicBezTo>
                <a:cubicBezTo>
                  <a:pt x="792" y="115"/>
                  <a:pt x="791" y="119"/>
                  <a:pt x="809" y="131"/>
                </a:cubicBezTo>
                <a:cubicBezTo>
                  <a:pt x="828" y="144"/>
                  <a:pt x="834" y="164"/>
                  <a:pt x="841" y="184"/>
                </a:cubicBezTo>
                <a:cubicBezTo>
                  <a:pt x="841" y="194"/>
                  <a:pt x="841" y="204"/>
                  <a:pt x="841" y="215"/>
                </a:cubicBezTo>
                <a:cubicBezTo>
                  <a:pt x="834" y="227"/>
                  <a:pt x="826" y="239"/>
                  <a:pt x="819" y="251"/>
                </a:cubicBezTo>
                <a:close/>
                <a:moveTo>
                  <a:pt x="356" y="548"/>
                </a:moveTo>
                <a:cubicBezTo>
                  <a:pt x="354" y="534"/>
                  <a:pt x="352" y="520"/>
                  <a:pt x="346" y="508"/>
                </a:cubicBezTo>
                <a:cubicBezTo>
                  <a:pt x="343" y="509"/>
                  <a:pt x="340" y="511"/>
                  <a:pt x="338" y="513"/>
                </a:cubicBezTo>
                <a:cubicBezTo>
                  <a:pt x="344" y="524"/>
                  <a:pt x="350" y="536"/>
                  <a:pt x="356" y="548"/>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cs typeface="+mn-cs"/>
            </a:endParaRPr>
          </a:p>
        </p:txBody>
      </p:sp>
      <p:sp>
        <p:nvSpPr>
          <p:cNvPr id="21" name="Freeform 21">
            <a:extLst>
              <a:ext uri="{FF2B5EF4-FFF2-40B4-BE49-F238E27FC236}">
                <a16:creationId xmlns:a16="http://schemas.microsoft.com/office/drawing/2014/main" id="{6CC47B57-FC82-4267-BA38-BB55AF48A008}"/>
              </a:ext>
            </a:extLst>
          </p:cNvPr>
          <p:cNvSpPr>
            <a:spLocks/>
          </p:cNvSpPr>
          <p:nvPr/>
        </p:nvSpPr>
        <p:spPr bwMode="auto">
          <a:xfrm>
            <a:off x="8457134" y="1683543"/>
            <a:ext cx="2895077" cy="3490913"/>
          </a:xfrm>
          <a:custGeom>
            <a:avLst/>
            <a:gdLst>
              <a:gd name="T0" fmla="*/ 434 w 1069"/>
              <a:gd name="T1" fmla="*/ 994 h 1289"/>
              <a:gd name="T2" fmla="*/ 573 w 1069"/>
              <a:gd name="T3" fmla="*/ 1217 h 1289"/>
              <a:gd name="T4" fmla="*/ 564 w 1069"/>
              <a:gd name="T5" fmla="*/ 1208 h 1289"/>
              <a:gd name="T6" fmla="*/ 429 w 1069"/>
              <a:gd name="T7" fmla="*/ 1035 h 1289"/>
              <a:gd name="T8" fmla="*/ 345 w 1069"/>
              <a:gd name="T9" fmla="*/ 902 h 1289"/>
              <a:gd name="T10" fmla="*/ 329 w 1069"/>
              <a:gd name="T11" fmla="*/ 889 h 1289"/>
              <a:gd name="T12" fmla="*/ 169 w 1069"/>
              <a:gd name="T13" fmla="*/ 804 h 1289"/>
              <a:gd name="T14" fmla="*/ 111 w 1069"/>
              <a:gd name="T15" fmla="*/ 785 h 1289"/>
              <a:gd name="T16" fmla="*/ 46 w 1069"/>
              <a:gd name="T17" fmla="*/ 763 h 1289"/>
              <a:gd name="T18" fmla="*/ 5 w 1069"/>
              <a:gd name="T19" fmla="*/ 731 h 1289"/>
              <a:gd name="T20" fmla="*/ 0 w 1069"/>
              <a:gd name="T21" fmla="*/ 716 h 1289"/>
              <a:gd name="T22" fmla="*/ 15 w 1069"/>
              <a:gd name="T23" fmla="*/ 713 h 1289"/>
              <a:gd name="T24" fmla="*/ 23 w 1069"/>
              <a:gd name="T25" fmla="*/ 714 h 1289"/>
              <a:gd name="T26" fmla="*/ 15 w 1069"/>
              <a:gd name="T27" fmla="*/ 707 h 1289"/>
              <a:gd name="T28" fmla="*/ 16 w 1069"/>
              <a:gd name="T29" fmla="*/ 675 h 1289"/>
              <a:gd name="T30" fmla="*/ 67 w 1069"/>
              <a:gd name="T31" fmla="*/ 648 h 1289"/>
              <a:gd name="T32" fmla="*/ 83 w 1069"/>
              <a:gd name="T33" fmla="*/ 633 h 1289"/>
              <a:gd name="T34" fmla="*/ 223 w 1069"/>
              <a:gd name="T35" fmla="*/ 460 h 1289"/>
              <a:gd name="T36" fmla="*/ 515 w 1069"/>
              <a:gd name="T37" fmla="*/ 232 h 1289"/>
              <a:gd name="T38" fmla="*/ 805 w 1069"/>
              <a:gd name="T39" fmla="*/ 18 h 1289"/>
              <a:gd name="T40" fmla="*/ 835 w 1069"/>
              <a:gd name="T41" fmla="*/ 0 h 1289"/>
              <a:gd name="T42" fmla="*/ 836 w 1069"/>
              <a:gd name="T43" fmla="*/ 5 h 1289"/>
              <a:gd name="T44" fmla="*/ 797 w 1069"/>
              <a:gd name="T45" fmla="*/ 50 h 1289"/>
              <a:gd name="T46" fmla="*/ 511 w 1069"/>
              <a:gd name="T47" fmla="*/ 311 h 1289"/>
              <a:gd name="T48" fmla="*/ 467 w 1069"/>
              <a:gd name="T49" fmla="*/ 384 h 1289"/>
              <a:gd name="T50" fmla="*/ 473 w 1069"/>
              <a:gd name="T51" fmla="*/ 425 h 1289"/>
              <a:gd name="T52" fmla="*/ 473 w 1069"/>
              <a:gd name="T53" fmla="*/ 444 h 1289"/>
              <a:gd name="T54" fmla="*/ 454 w 1069"/>
              <a:gd name="T55" fmla="*/ 539 h 1289"/>
              <a:gd name="T56" fmla="*/ 488 w 1069"/>
              <a:gd name="T57" fmla="*/ 572 h 1289"/>
              <a:gd name="T58" fmla="*/ 554 w 1069"/>
              <a:gd name="T59" fmla="*/ 562 h 1289"/>
              <a:gd name="T60" fmla="*/ 748 w 1069"/>
              <a:gd name="T61" fmla="*/ 497 h 1289"/>
              <a:gd name="T62" fmla="*/ 766 w 1069"/>
              <a:gd name="T63" fmla="*/ 494 h 1289"/>
              <a:gd name="T64" fmla="*/ 768 w 1069"/>
              <a:gd name="T65" fmla="*/ 497 h 1289"/>
              <a:gd name="T66" fmla="*/ 759 w 1069"/>
              <a:gd name="T67" fmla="*/ 503 h 1289"/>
              <a:gd name="T68" fmla="*/ 736 w 1069"/>
              <a:gd name="T69" fmla="*/ 521 h 1289"/>
              <a:gd name="T70" fmla="*/ 684 w 1069"/>
              <a:gd name="T71" fmla="*/ 668 h 1289"/>
              <a:gd name="T72" fmla="*/ 698 w 1069"/>
              <a:gd name="T73" fmla="*/ 736 h 1289"/>
              <a:gd name="T74" fmla="*/ 725 w 1069"/>
              <a:gd name="T75" fmla="*/ 754 h 1289"/>
              <a:gd name="T76" fmla="*/ 737 w 1069"/>
              <a:gd name="T77" fmla="*/ 757 h 1289"/>
              <a:gd name="T78" fmla="*/ 681 w 1069"/>
              <a:gd name="T79" fmla="*/ 761 h 1289"/>
              <a:gd name="T80" fmla="*/ 560 w 1069"/>
              <a:gd name="T81" fmla="*/ 703 h 1289"/>
              <a:gd name="T82" fmla="*/ 494 w 1069"/>
              <a:gd name="T83" fmla="*/ 719 h 1289"/>
              <a:gd name="T84" fmla="*/ 494 w 1069"/>
              <a:gd name="T85" fmla="*/ 800 h 1289"/>
              <a:gd name="T86" fmla="*/ 581 w 1069"/>
              <a:gd name="T87" fmla="*/ 938 h 1289"/>
              <a:gd name="T88" fmla="*/ 802 w 1069"/>
              <a:gd name="T89" fmla="*/ 1108 h 1289"/>
              <a:gd name="T90" fmla="*/ 1062 w 1069"/>
              <a:gd name="T91" fmla="*/ 1282 h 1289"/>
              <a:gd name="T92" fmla="*/ 1069 w 1069"/>
              <a:gd name="T93" fmla="*/ 1289 h 1289"/>
              <a:gd name="T94" fmla="*/ 1059 w 1069"/>
              <a:gd name="T95" fmla="*/ 1284 h 1289"/>
              <a:gd name="T96" fmla="*/ 586 w 1069"/>
              <a:gd name="T97" fmla="*/ 988 h 1289"/>
              <a:gd name="T98" fmla="*/ 553 w 1069"/>
              <a:gd name="T99" fmla="*/ 959 h 1289"/>
              <a:gd name="T100" fmla="*/ 454 w 1069"/>
              <a:gd name="T101" fmla="*/ 893 h 1289"/>
              <a:gd name="T102" fmla="*/ 409 w 1069"/>
              <a:gd name="T103" fmla="*/ 871 h 1289"/>
              <a:gd name="T104" fmla="*/ 392 w 1069"/>
              <a:gd name="T105" fmla="*/ 871 h 1289"/>
              <a:gd name="T106" fmla="*/ 393 w 1069"/>
              <a:gd name="T107" fmla="*/ 885 h 1289"/>
              <a:gd name="T108" fmla="*/ 425 w 1069"/>
              <a:gd name="T109" fmla="*/ 938 h 1289"/>
              <a:gd name="T110" fmla="*/ 573 w 1069"/>
              <a:gd name="T111" fmla="*/ 1098 h 1289"/>
              <a:gd name="T112" fmla="*/ 579 w 1069"/>
              <a:gd name="T113" fmla="*/ 1106 h 1289"/>
              <a:gd name="T114" fmla="*/ 434 w 1069"/>
              <a:gd name="T115" fmla="*/ 994 h 1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69" h="1289">
                <a:moveTo>
                  <a:pt x="434" y="994"/>
                </a:moveTo>
                <a:cubicBezTo>
                  <a:pt x="474" y="1072"/>
                  <a:pt x="526" y="1142"/>
                  <a:pt x="573" y="1217"/>
                </a:cubicBezTo>
                <a:cubicBezTo>
                  <a:pt x="570" y="1214"/>
                  <a:pt x="566" y="1211"/>
                  <a:pt x="564" y="1208"/>
                </a:cubicBezTo>
                <a:cubicBezTo>
                  <a:pt x="512" y="1156"/>
                  <a:pt x="469" y="1097"/>
                  <a:pt x="429" y="1035"/>
                </a:cubicBezTo>
                <a:cubicBezTo>
                  <a:pt x="400" y="992"/>
                  <a:pt x="373" y="946"/>
                  <a:pt x="345" y="902"/>
                </a:cubicBezTo>
                <a:cubicBezTo>
                  <a:pt x="341" y="897"/>
                  <a:pt x="335" y="892"/>
                  <a:pt x="329" y="889"/>
                </a:cubicBezTo>
                <a:cubicBezTo>
                  <a:pt x="276" y="860"/>
                  <a:pt x="223" y="831"/>
                  <a:pt x="169" y="804"/>
                </a:cubicBezTo>
                <a:cubicBezTo>
                  <a:pt x="151" y="795"/>
                  <a:pt x="131" y="791"/>
                  <a:pt x="111" y="785"/>
                </a:cubicBezTo>
                <a:cubicBezTo>
                  <a:pt x="90" y="778"/>
                  <a:pt x="67" y="773"/>
                  <a:pt x="46" y="763"/>
                </a:cubicBezTo>
                <a:cubicBezTo>
                  <a:pt x="31" y="756"/>
                  <a:pt x="18" y="742"/>
                  <a:pt x="5" y="731"/>
                </a:cubicBezTo>
                <a:cubicBezTo>
                  <a:pt x="2" y="728"/>
                  <a:pt x="2" y="721"/>
                  <a:pt x="0" y="716"/>
                </a:cubicBezTo>
                <a:cubicBezTo>
                  <a:pt x="5" y="715"/>
                  <a:pt x="10" y="714"/>
                  <a:pt x="15" y="713"/>
                </a:cubicBezTo>
                <a:cubicBezTo>
                  <a:pt x="17" y="713"/>
                  <a:pt x="19" y="714"/>
                  <a:pt x="23" y="714"/>
                </a:cubicBezTo>
                <a:cubicBezTo>
                  <a:pt x="19" y="711"/>
                  <a:pt x="17" y="709"/>
                  <a:pt x="15" y="707"/>
                </a:cubicBezTo>
                <a:cubicBezTo>
                  <a:pt x="4" y="696"/>
                  <a:pt x="3" y="684"/>
                  <a:pt x="16" y="675"/>
                </a:cubicBezTo>
                <a:cubicBezTo>
                  <a:pt x="32" y="664"/>
                  <a:pt x="49" y="656"/>
                  <a:pt x="67" y="648"/>
                </a:cubicBezTo>
                <a:cubicBezTo>
                  <a:pt x="75" y="645"/>
                  <a:pt x="80" y="641"/>
                  <a:pt x="83" y="633"/>
                </a:cubicBezTo>
                <a:cubicBezTo>
                  <a:pt x="117" y="565"/>
                  <a:pt x="167" y="511"/>
                  <a:pt x="223" y="460"/>
                </a:cubicBezTo>
                <a:cubicBezTo>
                  <a:pt x="315" y="377"/>
                  <a:pt x="416" y="305"/>
                  <a:pt x="515" y="232"/>
                </a:cubicBezTo>
                <a:cubicBezTo>
                  <a:pt x="612" y="160"/>
                  <a:pt x="708" y="89"/>
                  <a:pt x="805" y="18"/>
                </a:cubicBezTo>
                <a:cubicBezTo>
                  <a:pt x="814" y="11"/>
                  <a:pt x="825" y="7"/>
                  <a:pt x="835" y="0"/>
                </a:cubicBezTo>
                <a:cubicBezTo>
                  <a:pt x="836" y="4"/>
                  <a:pt x="837" y="5"/>
                  <a:pt x="836" y="5"/>
                </a:cubicBezTo>
                <a:cubicBezTo>
                  <a:pt x="822" y="19"/>
                  <a:pt x="813" y="37"/>
                  <a:pt x="797" y="50"/>
                </a:cubicBezTo>
                <a:cubicBezTo>
                  <a:pt x="698" y="133"/>
                  <a:pt x="602" y="219"/>
                  <a:pt x="511" y="311"/>
                </a:cubicBezTo>
                <a:cubicBezTo>
                  <a:pt x="491" y="332"/>
                  <a:pt x="471" y="354"/>
                  <a:pt x="467" y="384"/>
                </a:cubicBezTo>
                <a:cubicBezTo>
                  <a:pt x="465" y="398"/>
                  <a:pt x="469" y="412"/>
                  <a:pt x="473" y="425"/>
                </a:cubicBezTo>
                <a:cubicBezTo>
                  <a:pt x="476" y="433"/>
                  <a:pt x="477" y="437"/>
                  <a:pt x="473" y="444"/>
                </a:cubicBezTo>
                <a:cubicBezTo>
                  <a:pt x="456" y="474"/>
                  <a:pt x="447" y="505"/>
                  <a:pt x="454" y="539"/>
                </a:cubicBezTo>
                <a:cubicBezTo>
                  <a:pt x="458" y="558"/>
                  <a:pt x="468" y="568"/>
                  <a:pt x="488" y="572"/>
                </a:cubicBezTo>
                <a:cubicBezTo>
                  <a:pt x="511" y="576"/>
                  <a:pt x="532" y="570"/>
                  <a:pt x="554" y="562"/>
                </a:cubicBezTo>
                <a:cubicBezTo>
                  <a:pt x="618" y="540"/>
                  <a:pt x="683" y="518"/>
                  <a:pt x="748" y="497"/>
                </a:cubicBezTo>
                <a:cubicBezTo>
                  <a:pt x="754" y="495"/>
                  <a:pt x="760" y="495"/>
                  <a:pt x="766" y="494"/>
                </a:cubicBezTo>
                <a:cubicBezTo>
                  <a:pt x="767" y="495"/>
                  <a:pt x="767" y="496"/>
                  <a:pt x="768" y="497"/>
                </a:cubicBezTo>
                <a:cubicBezTo>
                  <a:pt x="765" y="499"/>
                  <a:pt x="762" y="503"/>
                  <a:pt x="759" y="503"/>
                </a:cubicBezTo>
                <a:cubicBezTo>
                  <a:pt x="747" y="503"/>
                  <a:pt x="742" y="513"/>
                  <a:pt x="736" y="521"/>
                </a:cubicBezTo>
                <a:cubicBezTo>
                  <a:pt x="704" y="565"/>
                  <a:pt x="684" y="613"/>
                  <a:pt x="684" y="668"/>
                </a:cubicBezTo>
                <a:cubicBezTo>
                  <a:pt x="683" y="691"/>
                  <a:pt x="688" y="714"/>
                  <a:pt x="698" y="736"/>
                </a:cubicBezTo>
                <a:cubicBezTo>
                  <a:pt x="703" y="747"/>
                  <a:pt x="711" y="755"/>
                  <a:pt x="725" y="754"/>
                </a:cubicBezTo>
                <a:cubicBezTo>
                  <a:pt x="728" y="754"/>
                  <a:pt x="731" y="756"/>
                  <a:pt x="737" y="757"/>
                </a:cubicBezTo>
                <a:cubicBezTo>
                  <a:pt x="717" y="764"/>
                  <a:pt x="699" y="765"/>
                  <a:pt x="681" y="761"/>
                </a:cubicBezTo>
                <a:cubicBezTo>
                  <a:pt x="637" y="749"/>
                  <a:pt x="597" y="731"/>
                  <a:pt x="560" y="703"/>
                </a:cubicBezTo>
                <a:cubicBezTo>
                  <a:pt x="539" y="686"/>
                  <a:pt x="506" y="694"/>
                  <a:pt x="494" y="719"/>
                </a:cubicBezTo>
                <a:cubicBezTo>
                  <a:pt x="481" y="745"/>
                  <a:pt x="485" y="774"/>
                  <a:pt x="494" y="800"/>
                </a:cubicBezTo>
                <a:cubicBezTo>
                  <a:pt x="511" y="853"/>
                  <a:pt x="539" y="900"/>
                  <a:pt x="581" y="938"/>
                </a:cubicBezTo>
                <a:cubicBezTo>
                  <a:pt x="649" y="1001"/>
                  <a:pt x="725" y="1056"/>
                  <a:pt x="802" y="1108"/>
                </a:cubicBezTo>
                <a:cubicBezTo>
                  <a:pt x="888" y="1167"/>
                  <a:pt x="975" y="1224"/>
                  <a:pt x="1062" y="1282"/>
                </a:cubicBezTo>
                <a:cubicBezTo>
                  <a:pt x="1065" y="1284"/>
                  <a:pt x="1067" y="1286"/>
                  <a:pt x="1069" y="1289"/>
                </a:cubicBezTo>
                <a:cubicBezTo>
                  <a:pt x="1066" y="1288"/>
                  <a:pt x="1062" y="1286"/>
                  <a:pt x="1059" y="1284"/>
                </a:cubicBezTo>
                <a:cubicBezTo>
                  <a:pt x="902" y="1186"/>
                  <a:pt x="744" y="1087"/>
                  <a:pt x="586" y="988"/>
                </a:cubicBezTo>
                <a:cubicBezTo>
                  <a:pt x="574" y="980"/>
                  <a:pt x="564" y="969"/>
                  <a:pt x="553" y="959"/>
                </a:cubicBezTo>
                <a:cubicBezTo>
                  <a:pt x="524" y="932"/>
                  <a:pt x="489" y="912"/>
                  <a:pt x="454" y="893"/>
                </a:cubicBezTo>
                <a:cubicBezTo>
                  <a:pt x="439" y="885"/>
                  <a:pt x="424" y="877"/>
                  <a:pt x="409" y="871"/>
                </a:cubicBezTo>
                <a:cubicBezTo>
                  <a:pt x="404" y="869"/>
                  <a:pt x="398" y="871"/>
                  <a:pt x="392" y="871"/>
                </a:cubicBezTo>
                <a:cubicBezTo>
                  <a:pt x="392" y="876"/>
                  <a:pt x="391" y="881"/>
                  <a:pt x="393" y="885"/>
                </a:cubicBezTo>
                <a:cubicBezTo>
                  <a:pt x="403" y="903"/>
                  <a:pt x="411" y="923"/>
                  <a:pt x="425" y="938"/>
                </a:cubicBezTo>
                <a:cubicBezTo>
                  <a:pt x="473" y="993"/>
                  <a:pt x="524" y="1045"/>
                  <a:pt x="573" y="1098"/>
                </a:cubicBezTo>
                <a:cubicBezTo>
                  <a:pt x="575" y="1100"/>
                  <a:pt x="578" y="1103"/>
                  <a:pt x="579" y="1106"/>
                </a:cubicBezTo>
                <a:cubicBezTo>
                  <a:pt x="527" y="1074"/>
                  <a:pt x="482" y="1032"/>
                  <a:pt x="434" y="994"/>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cs typeface="+mn-cs"/>
            </a:endParaRPr>
          </a:p>
        </p:txBody>
      </p:sp>
    </p:spTree>
    <p:extLst>
      <p:ext uri="{BB962C8B-B14F-4D97-AF65-F5344CB8AC3E}">
        <p14:creationId xmlns:p14="http://schemas.microsoft.com/office/powerpoint/2010/main" val="3008427673"/>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流程图: 文档 1">
            <a:extLst>
              <a:ext uri="{FF2B5EF4-FFF2-40B4-BE49-F238E27FC236}">
                <a16:creationId xmlns:a16="http://schemas.microsoft.com/office/drawing/2014/main" id="{07C1740F-BA5C-4391-AB18-8EFC65478A40}"/>
              </a:ext>
            </a:extLst>
          </p:cNvPr>
          <p:cNvSpPr/>
          <p:nvPr/>
        </p:nvSpPr>
        <p:spPr>
          <a:xfrm>
            <a:off x="0" y="-1"/>
            <a:ext cx="12192000" cy="4257675"/>
          </a:xfrm>
          <a:prstGeom prst="flowChartDocumen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zh-CN" altLang="en-US" sz="1600">
              <a:solidFill>
                <a:schemeClr val="bg1"/>
              </a:solidFill>
              <a:latin typeface="+mj-ea"/>
              <a:ea typeface="+mj-ea"/>
            </a:endParaRPr>
          </a:p>
        </p:txBody>
      </p:sp>
      <p:sp>
        <p:nvSpPr>
          <p:cNvPr id="6" name="文本框 5">
            <a:extLst>
              <a:ext uri="{FF2B5EF4-FFF2-40B4-BE49-F238E27FC236}">
                <a16:creationId xmlns:a16="http://schemas.microsoft.com/office/drawing/2014/main" id="{14A38E46-48B1-4EA9-B2F0-DFD33C7DECE0}"/>
              </a:ext>
            </a:extLst>
          </p:cNvPr>
          <p:cNvSpPr txBox="1"/>
          <p:nvPr/>
        </p:nvSpPr>
        <p:spPr>
          <a:xfrm>
            <a:off x="4943475" y="562566"/>
            <a:ext cx="2305050" cy="1354217"/>
          </a:xfrm>
          <a:prstGeom prst="rect">
            <a:avLst/>
          </a:prstGeom>
          <a:noFill/>
        </p:spPr>
        <p:txBody>
          <a:bodyPr wrap="square" lIns="0" tIns="0" rIns="0" bIns="0" rtlCol="0" anchor="t">
            <a:spAutoFit/>
          </a:bodyPr>
          <a:lstStyle/>
          <a:p>
            <a:pPr algn="dist"/>
            <a:r>
              <a:rPr lang="zh-CN" altLang="en-US" sz="8800" dirty="0">
                <a:solidFill>
                  <a:schemeClr val="bg1"/>
                </a:solidFill>
                <a:latin typeface="+mj-ea"/>
                <a:ea typeface="+mj-ea"/>
              </a:rPr>
              <a:t>目录</a:t>
            </a:r>
          </a:p>
        </p:txBody>
      </p:sp>
      <p:sp>
        <p:nvSpPr>
          <p:cNvPr id="7" name="文本框 6">
            <a:extLst>
              <a:ext uri="{FF2B5EF4-FFF2-40B4-BE49-F238E27FC236}">
                <a16:creationId xmlns:a16="http://schemas.microsoft.com/office/drawing/2014/main" id="{D3CD7C73-2063-48B8-B651-A7A6C33F7591}"/>
              </a:ext>
            </a:extLst>
          </p:cNvPr>
          <p:cNvSpPr txBox="1"/>
          <p:nvPr/>
        </p:nvSpPr>
        <p:spPr>
          <a:xfrm>
            <a:off x="5067300" y="1916783"/>
            <a:ext cx="2133600" cy="276999"/>
          </a:xfrm>
          <a:prstGeom prst="rect">
            <a:avLst/>
          </a:prstGeom>
          <a:noFill/>
        </p:spPr>
        <p:txBody>
          <a:bodyPr wrap="square" lIns="0" tIns="0" rIns="0" bIns="0" rtlCol="0" anchor="t">
            <a:spAutoFit/>
          </a:bodyPr>
          <a:lstStyle/>
          <a:p>
            <a:pPr algn="dist"/>
            <a:r>
              <a:rPr lang="en-US" altLang="zh-CN" dirty="0">
                <a:solidFill>
                  <a:schemeClr val="bg1"/>
                </a:solidFill>
              </a:rPr>
              <a:t>CONTENTS</a:t>
            </a:r>
            <a:endParaRPr lang="zh-CN" altLang="en-US" dirty="0">
              <a:solidFill>
                <a:schemeClr val="bg1"/>
              </a:solidFill>
            </a:endParaRPr>
          </a:p>
        </p:txBody>
      </p:sp>
      <p:sp>
        <p:nvSpPr>
          <p:cNvPr id="33" name="任意多边形: 形状 32">
            <a:extLst>
              <a:ext uri="{FF2B5EF4-FFF2-40B4-BE49-F238E27FC236}">
                <a16:creationId xmlns:a16="http://schemas.microsoft.com/office/drawing/2014/main" id="{4B99083A-DD10-4BAA-9F35-298B2DF89345}"/>
              </a:ext>
            </a:extLst>
          </p:cNvPr>
          <p:cNvSpPr/>
          <p:nvPr/>
        </p:nvSpPr>
        <p:spPr>
          <a:xfrm>
            <a:off x="590931" y="2875025"/>
            <a:ext cx="2352294" cy="2702814"/>
          </a:xfrm>
          <a:custGeom>
            <a:avLst/>
            <a:gdLst>
              <a:gd name="connsiteX0" fmla="*/ 219059 w 2352294"/>
              <a:gd name="connsiteY0" fmla="*/ 0 h 2702814"/>
              <a:gd name="connsiteX1" fmla="*/ 2133235 w 2352294"/>
              <a:gd name="connsiteY1" fmla="*/ 0 h 2702814"/>
              <a:gd name="connsiteX2" fmla="*/ 2225549 w 2352294"/>
              <a:gd name="connsiteY2" fmla="*/ 61190 h 2702814"/>
              <a:gd name="connsiteX3" fmla="*/ 2229310 w 2352294"/>
              <a:gd name="connsiteY3" fmla="*/ 79820 h 2702814"/>
              <a:gd name="connsiteX4" fmla="*/ 2236561 w 2352294"/>
              <a:gd name="connsiteY4" fmla="*/ 79820 h 2702814"/>
              <a:gd name="connsiteX5" fmla="*/ 2352294 w 2352294"/>
              <a:gd name="connsiteY5" fmla="*/ 195553 h 2702814"/>
              <a:gd name="connsiteX6" fmla="*/ 2352294 w 2352294"/>
              <a:gd name="connsiteY6" fmla="*/ 2507262 h 2702814"/>
              <a:gd name="connsiteX7" fmla="*/ 2236561 w 2352294"/>
              <a:gd name="connsiteY7" fmla="*/ 2622995 h 2702814"/>
              <a:gd name="connsiteX8" fmla="*/ 2229310 w 2352294"/>
              <a:gd name="connsiteY8" fmla="*/ 2622995 h 2702814"/>
              <a:gd name="connsiteX9" fmla="*/ 2225549 w 2352294"/>
              <a:gd name="connsiteY9" fmla="*/ 2641625 h 2702814"/>
              <a:gd name="connsiteX10" fmla="*/ 2133235 w 2352294"/>
              <a:gd name="connsiteY10" fmla="*/ 2702814 h 2702814"/>
              <a:gd name="connsiteX11" fmla="*/ 219059 w 2352294"/>
              <a:gd name="connsiteY11" fmla="*/ 2702814 h 2702814"/>
              <a:gd name="connsiteX12" fmla="*/ 126745 w 2352294"/>
              <a:gd name="connsiteY12" fmla="*/ 2641625 h 2702814"/>
              <a:gd name="connsiteX13" fmla="*/ 122984 w 2352294"/>
              <a:gd name="connsiteY13" fmla="*/ 2622995 h 2702814"/>
              <a:gd name="connsiteX14" fmla="*/ 115733 w 2352294"/>
              <a:gd name="connsiteY14" fmla="*/ 2622995 h 2702814"/>
              <a:gd name="connsiteX15" fmla="*/ 0 w 2352294"/>
              <a:gd name="connsiteY15" fmla="*/ 2507262 h 2702814"/>
              <a:gd name="connsiteX16" fmla="*/ 0 w 2352294"/>
              <a:gd name="connsiteY16" fmla="*/ 195553 h 2702814"/>
              <a:gd name="connsiteX17" fmla="*/ 115733 w 2352294"/>
              <a:gd name="connsiteY17" fmla="*/ 79820 h 2702814"/>
              <a:gd name="connsiteX18" fmla="*/ 122984 w 2352294"/>
              <a:gd name="connsiteY18" fmla="*/ 79820 h 2702814"/>
              <a:gd name="connsiteX19" fmla="*/ 126745 w 2352294"/>
              <a:gd name="connsiteY19" fmla="*/ 61190 h 2702814"/>
              <a:gd name="connsiteX20" fmla="*/ 219059 w 2352294"/>
              <a:gd name="connsiteY20" fmla="*/ 0 h 27028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352294" h="2702814">
                <a:moveTo>
                  <a:pt x="219059" y="0"/>
                </a:moveTo>
                <a:lnTo>
                  <a:pt x="2133235" y="0"/>
                </a:lnTo>
                <a:cubicBezTo>
                  <a:pt x="2174734" y="0"/>
                  <a:pt x="2210340" y="25231"/>
                  <a:pt x="2225549" y="61190"/>
                </a:cubicBezTo>
                <a:lnTo>
                  <a:pt x="2229310" y="79820"/>
                </a:lnTo>
                <a:lnTo>
                  <a:pt x="2236561" y="79820"/>
                </a:lnTo>
                <a:cubicBezTo>
                  <a:pt x="2300479" y="79820"/>
                  <a:pt x="2352294" y="131635"/>
                  <a:pt x="2352294" y="195553"/>
                </a:cubicBezTo>
                <a:lnTo>
                  <a:pt x="2352294" y="2507262"/>
                </a:lnTo>
                <a:cubicBezTo>
                  <a:pt x="2352294" y="2571180"/>
                  <a:pt x="2300479" y="2622995"/>
                  <a:pt x="2236561" y="2622995"/>
                </a:cubicBezTo>
                <a:lnTo>
                  <a:pt x="2229310" y="2622995"/>
                </a:lnTo>
                <a:lnTo>
                  <a:pt x="2225549" y="2641625"/>
                </a:lnTo>
                <a:cubicBezTo>
                  <a:pt x="2210340" y="2677583"/>
                  <a:pt x="2174734" y="2702814"/>
                  <a:pt x="2133235" y="2702814"/>
                </a:cubicBezTo>
                <a:lnTo>
                  <a:pt x="219059" y="2702814"/>
                </a:lnTo>
                <a:cubicBezTo>
                  <a:pt x="177560" y="2702814"/>
                  <a:pt x="141954" y="2677583"/>
                  <a:pt x="126745" y="2641625"/>
                </a:cubicBezTo>
                <a:lnTo>
                  <a:pt x="122984" y="2622995"/>
                </a:lnTo>
                <a:lnTo>
                  <a:pt x="115733" y="2622995"/>
                </a:lnTo>
                <a:cubicBezTo>
                  <a:pt x="51815" y="2622995"/>
                  <a:pt x="0" y="2571180"/>
                  <a:pt x="0" y="2507262"/>
                </a:cubicBezTo>
                <a:lnTo>
                  <a:pt x="0" y="195553"/>
                </a:lnTo>
                <a:cubicBezTo>
                  <a:pt x="0" y="131635"/>
                  <a:pt x="51815" y="79820"/>
                  <a:pt x="115733" y="79820"/>
                </a:cubicBezTo>
                <a:lnTo>
                  <a:pt x="122984" y="79820"/>
                </a:lnTo>
                <a:lnTo>
                  <a:pt x="126745" y="61190"/>
                </a:lnTo>
                <a:cubicBezTo>
                  <a:pt x="141954" y="25231"/>
                  <a:pt x="177560" y="0"/>
                  <a:pt x="219059" y="0"/>
                </a:cubicBezTo>
                <a:close/>
              </a:path>
            </a:pathLst>
          </a:custGeom>
          <a:solidFill>
            <a:schemeClr val="accent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l"/>
            <a:endParaRPr lang="zh-CN" altLang="en-US" sz="1600">
              <a:solidFill>
                <a:schemeClr val="bg1"/>
              </a:solidFill>
              <a:latin typeface="+mj-ea"/>
              <a:ea typeface="+mj-ea"/>
            </a:endParaRPr>
          </a:p>
        </p:txBody>
      </p:sp>
      <p:sp>
        <p:nvSpPr>
          <p:cNvPr id="38" name="任意多边形: 形状 37">
            <a:extLst>
              <a:ext uri="{FF2B5EF4-FFF2-40B4-BE49-F238E27FC236}">
                <a16:creationId xmlns:a16="http://schemas.microsoft.com/office/drawing/2014/main" id="{F8C2CA6D-A62C-49B1-8F3F-751B92C07BB1}"/>
              </a:ext>
            </a:extLst>
          </p:cNvPr>
          <p:cNvSpPr/>
          <p:nvPr/>
        </p:nvSpPr>
        <p:spPr>
          <a:xfrm>
            <a:off x="765175" y="3024188"/>
            <a:ext cx="2019300" cy="2381250"/>
          </a:xfrm>
          <a:custGeom>
            <a:avLst/>
            <a:gdLst>
              <a:gd name="connsiteX0" fmla="*/ 107157 w 2019300"/>
              <a:gd name="connsiteY0" fmla="*/ 0 h 2381250"/>
              <a:gd name="connsiteX1" fmla="*/ 1915318 w 2019300"/>
              <a:gd name="connsiteY1" fmla="*/ 0 h 2381250"/>
              <a:gd name="connsiteX2" fmla="*/ 1980765 w 2019300"/>
              <a:gd name="connsiteY2" fmla="*/ 98736 h 2381250"/>
              <a:gd name="connsiteX3" fmla="*/ 2019300 w 2019300"/>
              <a:gd name="connsiteY3" fmla="*/ 106516 h 2381250"/>
              <a:gd name="connsiteX4" fmla="*/ 2019300 w 2019300"/>
              <a:gd name="connsiteY4" fmla="*/ 2274735 h 2381250"/>
              <a:gd name="connsiteX5" fmla="*/ 1980765 w 2019300"/>
              <a:gd name="connsiteY5" fmla="*/ 2282515 h 2381250"/>
              <a:gd name="connsiteX6" fmla="*/ 1923739 w 2019300"/>
              <a:gd name="connsiteY6" fmla="*/ 2339541 h 2381250"/>
              <a:gd name="connsiteX7" fmla="*/ 1915318 w 2019300"/>
              <a:gd name="connsiteY7" fmla="*/ 2381250 h 2381250"/>
              <a:gd name="connsiteX8" fmla="*/ 107157 w 2019300"/>
              <a:gd name="connsiteY8" fmla="*/ 2381250 h 2381250"/>
              <a:gd name="connsiteX9" fmla="*/ 98736 w 2019300"/>
              <a:gd name="connsiteY9" fmla="*/ 2339541 h 2381250"/>
              <a:gd name="connsiteX10" fmla="*/ 0 w 2019300"/>
              <a:gd name="connsiteY10" fmla="*/ 2274094 h 2381250"/>
              <a:gd name="connsiteX11" fmla="*/ 0 w 2019300"/>
              <a:gd name="connsiteY11" fmla="*/ 107157 h 2381250"/>
              <a:gd name="connsiteX12" fmla="*/ 107157 w 2019300"/>
              <a:gd name="connsiteY12" fmla="*/ 0 h 2381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019300" h="2381250">
                <a:moveTo>
                  <a:pt x="107157" y="0"/>
                </a:moveTo>
                <a:lnTo>
                  <a:pt x="1915318" y="0"/>
                </a:lnTo>
                <a:cubicBezTo>
                  <a:pt x="1915318" y="44386"/>
                  <a:pt x="1942305" y="82469"/>
                  <a:pt x="1980765" y="98736"/>
                </a:cubicBezTo>
                <a:lnTo>
                  <a:pt x="2019300" y="106516"/>
                </a:lnTo>
                <a:lnTo>
                  <a:pt x="2019300" y="2274735"/>
                </a:lnTo>
                <a:lnTo>
                  <a:pt x="1980765" y="2282515"/>
                </a:lnTo>
                <a:cubicBezTo>
                  <a:pt x="1955125" y="2293360"/>
                  <a:pt x="1934584" y="2313901"/>
                  <a:pt x="1923739" y="2339541"/>
                </a:cubicBezTo>
                <a:lnTo>
                  <a:pt x="1915318" y="2381250"/>
                </a:lnTo>
                <a:lnTo>
                  <a:pt x="107157" y="2381250"/>
                </a:lnTo>
                <a:lnTo>
                  <a:pt x="98736" y="2339541"/>
                </a:lnTo>
                <a:cubicBezTo>
                  <a:pt x="82469" y="2301081"/>
                  <a:pt x="44386" y="2274094"/>
                  <a:pt x="0" y="2274094"/>
                </a:cubicBezTo>
                <a:lnTo>
                  <a:pt x="0" y="107157"/>
                </a:lnTo>
                <a:cubicBezTo>
                  <a:pt x="59181" y="107157"/>
                  <a:pt x="107157" y="59181"/>
                  <a:pt x="107157"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l"/>
            <a:endParaRPr lang="zh-CN" altLang="en-US" sz="1600">
              <a:solidFill>
                <a:schemeClr val="bg1"/>
              </a:solidFill>
              <a:latin typeface="+mj-ea"/>
              <a:ea typeface="+mj-ea"/>
            </a:endParaRPr>
          </a:p>
        </p:txBody>
      </p:sp>
      <p:sp>
        <p:nvSpPr>
          <p:cNvPr id="39" name="文本框 38">
            <a:extLst>
              <a:ext uri="{FF2B5EF4-FFF2-40B4-BE49-F238E27FC236}">
                <a16:creationId xmlns:a16="http://schemas.microsoft.com/office/drawing/2014/main" id="{AC4E14F4-2967-45B9-81F9-43D542E808C0}"/>
              </a:ext>
            </a:extLst>
          </p:cNvPr>
          <p:cNvSpPr txBox="1"/>
          <p:nvPr/>
        </p:nvSpPr>
        <p:spPr>
          <a:xfrm>
            <a:off x="964677" y="4054533"/>
            <a:ext cx="1641475" cy="492443"/>
          </a:xfrm>
          <a:prstGeom prst="rect">
            <a:avLst/>
          </a:prstGeom>
          <a:noFill/>
        </p:spPr>
        <p:txBody>
          <a:bodyPr wrap="none" lIns="0" tIns="0" rIns="0" bIns="0" rtlCol="0" anchor="t">
            <a:spAutoFit/>
          </a:bodyPr>
          <a:lstStyle/>
          <a:p>
            <a:pPr algn="ctr"/>
            <a:r>
              <a:rPr lang="zh-CN" altLang="en-US" sz="3200" dirty="0">
                <a:solidFill>
                  <a:schemeClr val="accent1"/>
                </a:solidFill>
                <a:latin typeface="+mj-ea"/>
                <a:ea typeface="+mj-ea"/>
              </a:rPr>
              <a:t>目录标题</a:t>
            </a:r>
          </a:p>
        </p:txBody>
      </p:sp>
      <p:sp>
        <p:nvSpPr>
          <p:cNvPr id="40" name="文本框 39">
            <a:extLst>
              <a:ext uri="{FF2B5EF4-FFF2-40B4-BE49-F238E27FC236}">
                <a16:creationId xmlns:a16="http://schemas.microsoft.com/office/drawing/2014/main" id="{664134E2-ED31-44AC-B9D7-D34179B6E126}"/>
              </a:ext>
            </a:extLst>
          </p:cNvPr>
          <p:cNvSpPr txBox="1"/>
          <p:nvPr/>
        </p:nvSpPr>
        <p:spPr>
          <a:xfrm>
            <a:off x="1019174" y="4515715"/>
            <a:ext cx="1586977" cy="184666"/>
          </a:xfrm>
          <a:prstGeom prst="rect">
            <a:avLst/>
          </a:prstGeom>
          <a:noFill/>
        </p:spPr>
        <p:txBody>
          <a:bodyPr wrap="square" lIns="0" tIns="0" rIns="0" bIns="0" rtlCol="0" anchor="t">
            <a:spAutoFit/>
          </a:bodyPr>
          <a:lstStyle/>
          <a:p>
            <a:pPr algn="dist"/>
            <a:r>
              <a:rPr lang="en-US" altLang="zh-CN" sz="1200" dirty="0">
                <a:solidFill>
                  <a:schemeClr val="accent1"/>
                </a:solidFill>
              </a:rPr>
              <a:t>Contents Title Here</a:t>
            </a:r>
            <a:endParaRPr lang="zh-CN" altLang="en-US" sz="1200" dirty="0">
              <a:solidFill>
                <a:schemeClr val="accent1"/>
              </a:solidFill>
            </a:endParaRPr>
          </a:p>
        </p:txBody>
      </p:sp>
      <p:sp>
        <p:nvSpPr>
          <p:cNvPr id="25" name="文本框 24">
            <a:extLst>
              <a:ext uri="{FF2B5EF4-FFF2-40B4-BE49-F238E27FC236}">
                <a16:creationId xmlns:a16="http://schemas.microsoft.com/office/drawing/2014/main" id="{A3D9B4AF-4CC5-4314-ABC2-EC26FC7D835B}"/>
              </a:ext>
            </a:extLst>
          </p:cNvPr>
          <p:cNvSpPr txBox="1"/>
          <p:nvPr/>
        </p:nvSpPr>
        <p:spPr>
          <a:xfrm>
            <a:off x="1505788" y="3429000"/>
            <a:ext cx="522579" cy="615553"/>
          </a:xfrm>
          <a:prstGeom prst="rect">
            <a:avLst/>
          </a:prstGeom>
          <a:noFill/>
        </p:spPr>
        <p:txBody>
          <a:bodyPr wrap="none" lIns="0" tIns="0" rIns="0" bIns="0" rtlCol="0" anchor="t">
            <a:spAutoFit/>
          </a:bodyPr>
          <a:lstStyle/>
          <a:p>
            <a:pPr algn="l"/>
            <a:r>
              <a:rPr lang="en-US" altLang="zh-CN" sz="4000" dirty="0">
                <a:solidFill>
                  <a:schemeClr val="accent1">
                    <a:lumMod val="100000"/>
                  </a:schemeClr>
                </a:solidFill>
              </a:rPr>
              <a:t>01</a:t>
            </a:r>
            <a:endParaRPr lang="zh-CN" altLang="en-US" sz="4000" dirty="0">
              <a:solidFill>
                <a:schemeClr val="accent1">
                  <a:lumMod val="100000"/>
                </a:schemeClr>
              </a:solidFill>
            </a:endParaRPr>
          </a:p>
        </p:txBody>
      </p:sp>
      <p:sp>
        <p:nvSpPr>
          <p:cNvPr id="49" name="任意多边形: 形状 48">
            <a:extLst>
              <a:ext uri="{FF2B5EF4-FFF2-40B4-BE49-F238E27FC236}">
                <a16:creationId xmlns:a16="http://schemas.microsoft.com/office/drawing/2014/main" id="{E3939BED-4E49-4777-A432-2BF0165E37E5}"/>
              </a:ext>
            </a:extLst>
          </p:cNvPr>
          <p:cNvSpPr/>
          <p:nvPr/>
        </p:nvSpPr>
        <p:spPr>
          <a:xfrm>
            <a:off x="3457956" y="2875025"/>
            <a:ext cx="2352294" cy="2702814"/>
          </a:xfrm>
          <a:custGeom>
            <a:avLst/>
            <a:gdLst>
              <a:gd name="connsiteX0" fmla="*/ 219059 w 2352294"/>
              <a:gd name="connsiteY0" fmla="*/ 0 h 2702814"/>
              <a:gd name="connsiteX1" fmla="*/ 2133235 w 2352294"/>
              <a:gd name="connsiteY1" fmla="*/ 0 h 2702814"/>
              <a:gd name="connsiteX2" fmla="*/ 2225549 w 2352294"/>
              <a:gd name="connsiteY2" fmla="*/ 61190 h 2702814"/>
              <a:gd name="connsiteX3" fmla="*/ 2229310 w 2352294"/>
              <a:gd name="connsiteY3" fmla="*/ 79820 h 2702814"/>
              <a:gd name="connsiteX4" fmla="*/ 2236561 w 2352294"/>
              <a:gd name="connsiteY4" fmla="*/ 79820 h 2702814"/>
              <a:gd name="connsiteX5" fmla="*/ 2352294 w 2352294"/>
              <a:gd name="connsiteY5" fmla="*/ 195553 h 2702814"/>
              <a:gd name="connsiteX6" fmla="*/ 2352294 w 2352294"/>
              <a:gd name="connsiteY6" fmla="*/ 2507262 h 2702814"/>
              <a:gd name="connsiteX7" fmla="*/ 2236561 w 2352294"/>
              <a:gd name="connsiteY7" fmla="*/ 2622995 h 2702814"/>
              <a:gd name="connsiteX8" fmla="*/ 2229310 w 2352294"/>
              <a:gd name="connsiteY8" fmla="*/ 2622995 h 2702814"/>
              <a:gd name="connsiteX9" fmla="*/ 2225549 w 2352294"/>
              <a:gd name="connsiteY9" fmla="*/ 2641625 h 2702814"/>
              <a:gd name="connsiteX10" fmla="*/ 2133235 w 2352294"/>
              <a:gd name="connsiteY10" fmla="*/ 2702814 h 2702814"/>
              <a:gd name="connsiteX11" fmla="*/ 219059 w 2352294"/>
              <a:gd name="connsiteY11" fmla="*/ 2702814 h 2702814"/>
              <a:gd name="connsiteX12" fmla="*/ 126745 w 2352294"/>
              <a:gd name="connsiteY12" fmla="*/ 2641625 h 2702814"/>
              <a:gd name="connsiteX13" fmla="*/ 122984 w 2352294"/>
              <a:gd name="connsiteY13" fmla="*/ 2622995 h 2702814"/>
              <a:gd name="connsiteX14" fmla="*/ 115733 w 2352294"/>
              <a:gd name="connsiteY14" fmla="*/ 2622995 h 2702814"/>
              <a:gd name="connsiteX15" fmla="*/ 0 w 2352294"/>
              <a:gd name="connsiteY15" fmla="*/ 2507262 h 2702814"/>
              <a:gd name="connsiteX16" fmla="*/ 0 w 2352294"/>
              <a:gd name="connsiteY16" fmla="*/ 195553 h 2702814"/>
              <a:gd name="connsiteX17" fmla="*/ 115733 w 2352294"/>
              <a:gd name="connsiteY17" fmla="*/ 79820 h 2702814"/>
              <a:gd name="connsiteX18" fmla="*/ 122984 w 2352294"/>
              <a:gd name="connsiteY18" fmla="*/ 79820 h 2702814"/>
              <a:gd name="connsiteX19" fmla="*/ 126745 w 2352294"/>
              <a:gd name="connsiteY19" fmla="*/ 61190 h 2702814"/>
              <a:gd name="connsiteX20" fmla="*/ 219059 w 2352294"/>
              <a:gd name="connsiteY20" fmla="*/ 0 h 27028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352294" h="2702814">
                <a:moveTo>
                  <a:pt x="219059" y="0"/>
                </a:moveTo>
                <a:lnTo>
                  <a:pt x="2133235" y="0"/>
                </a:lnTo>
                <a:cubicBezTo>
                  <a:pt x="2174734" y="0"/>
                  <a:pt x="2210340" y="25231"/>
                  <a:pt x="2225549" y="61190"/>
                </a:cubicBezTo>
                <a:lnTo>
                  <a:pt x="2229310" y="79820"/>
                </a:lnTo>
                <a:lnTo>
                  <a:pt x="2236561" y="79820"/>
                </a:lnTo>
                <a:cubicBezTo>
                  <a:pt x="2300479" y="79820"/>
                  <a:pt x="2352294" y="131635"/>
                  <a:pt x="2352294" y="195553"/>
                </a:cubicBezTo>
                <a:lnTo>
                  <a:pt x="2352294" y="2507262"/>
                </a:lnTo>
                <a:cubicBezTo>
                  <a:pt x="2352294" y="2571180"/>
                  <a:pt x="2300479" y="2622995"/>
                  <a:pt x="2236561" y="2622995"/>
                </a:cubicBezTo>
                <a:lnTo>
                  <a:pt x="2229310" y="2622995"/>
                </a:lnTo>
                <a:lnTo>
                  <a:pt x="2225549" y="2641625"/>
                </a:lnTo>
                <a:cubicBezTo>
                  <a:pt x="2210340" y="2677583"/>
                  <a:pt x="2174734" y="2702814"/>
                  <a:pt x="2133235" y="2702814"/>
                </a:cubicBezTo>
                <a:lnTo>
                  <a:pt x="219059" y="2702814"/>
                </a:lnTo>
                <a:cubicBezTo>
                  <a:pt x="177560" y="2702814"/>
                  <a:pt x="141954" y="2677583"/>
                  <a:pt x="126745" y="2641625"/>
                </a:cubicBezTo>
                <a:lnTo>
                  <a:pt x="122984" y="2622995"/>
                </a:lnTo>
                <a:lnTo>
                  <a:pt x="115733" y="2622995"/>
                </a:lnTo>
                <a:cubicBezTo>
                  <a:pt x="51815" y="2622995"/>
                  <a:pt x="0" y="2571180"/>
                  <a:pt x="0" y="2507262"/>
                </a:cubicBezTo>
                <a:lnTo>
                  <a:pt x="0" y="195553"/>
                </a:lnTo>
                <a:cubicBezTo>
                  <a:pt x="0" y="131635"/>
                  <a:pt x="51815" y="79820"/>
                  <a:pt x="115733" y="79820"/>
                </a:cubicBezTo>
                <a:lnTo>
                  <a:pt x="122984" y="79820"/>
                </a:lnTo>
                <a:lnTo>
                  <a:pt x="126745" y="61190"/>
                </a:lnTo>
                <a:cubicBezTo>
                  <a:pt x="141954" y="25231"/>
                  <a:pt x="177560" y="0"/>
                  <a:pt x="219059" y="0"/>
                </a:cubicBezTo>
                <a:close/>
              </a:path>
            </a:pathLst>
          </a:custGeom>
          <a:solidFill>
            <a:schemeClr val="accent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l"/>
            <a:endParaRPr lang="zh-CN" altLang="en-US" sz="1600">
              <a:solidFill>
                <a:schemeClr val="bg1"/>
              </a:solidFill>
              <a:latin typeface="+mj-ea"/>
              <a:ea typeface="+mj-ea"/>
            </a:endParaRPr>
          </a:p>
        </p:txBody>
      </p:sp>
      <p:sp>
        <p:nvSpPr>
          <p:cNvPr id="50" name="任意多边形: 形状 49">
            <a:extLst>
              <a:ext uri="{FF2B5EF4-FFF2-40B4-BE49-F238E27FC236}">
                <a16:creationId xmlns:a16="http://schemas.microsoft.com/office/drawing/2014/main" id="{62148AF0-9401-420C-89C9-CFCD6F935473}"/>
              </a:ext>
            </a:extLst>
          </p:cNvPr>
          <p:cNvSpPr/>
          <p:nvPr/>
        </p:nvSpPr>
        <p:spPr>
          <a:xfrm>
            <a:off x="3632200" y="3024188"/>
            <a:ext cx="2019300" cy="2381250"/>
          </a:xfrm>
          <a:custGeom>
            <a:avLst/>
            <a:gdLst>
              <a:gd name="connsiteX0" fmla="*/ 107157 w 2019300"/>
              <a:gd name="connsiteY0" fmla="*/ 0 h 2381250"/>
              <a:gd name="connsiteX1" fmla="*/ 1915318 w 2019300"/>
              <a:gd name="connsiteY1" fmla="*/ 0 h 2381250"/>
              <a:gd name="connsiteX2" fmla="*/ 1980765 w 2019300"/>
              <a:gd name="connsiteY2" fmla="*/ 98736 h 2381250"/>
              <a:gd name="connsiteX3" fmla="*/ 2019300 w 2019300"/>
              <a:gd name="connsiteY3" fmla="*/ 106516 h 2381250"/>
              <a:gd name="connsiteX4" fmla="*/ 2019300 w 2019300"/>
              <a:gd name="connsiteY4" fmla="*/ 2274735 h 2381250"/>
              <a:gd name="connsiteX5" fmla="*/ 1980765 w 2019300"/>
              <a:gd name="connsiteY5" fmla="*/ 2282515 h 2381250"/>
              <a:gd name="connsiteX6" fmla="*/ 1923739 w 2019300"/>
              <a:gd name="connsiteY6" fmla="*/ 2339541 h 2381250"/>
              <a:gd name="connsiteX7" fmla="*/ 1915318 w 2019300"/>
              <a:gd name="connsiteY7" fmla="*/ 2381250 h 2381250"/>
              <a:gd name="connsiteX8" fmla="*/ 107157 w 2019300"/>
              <a:gd name="connsiteY8" fmla="*/ 2381250 h 2381250"/>
              <a:gd name="connsiteX9" fmla="*/ 98736 w 2019300"/>
              <a:gd name="connsiteY9" fmla="*/ 2339541 h 2381250"/>
              <a:gd name="connsiteX10" fmla="*/ 0 w 2019300"/>
              <a:gd name="connsiteY10" fmla="*/ 2274094 h 2381250"/>
              <a:gd name="connsiteX11" fmla="*/ 0 w 2019300"/>
              <a:gd name="connsiteY11" fmla="*/ 107157 h 2381250"/>
              <a:gd name="connsiteX12" fmla="*/ 107157 w 2019300"/>
              <a:gd name="connsiteY12" fmla="*/ 0 h 2381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019300" h="2381250">
                <a:moveTo>
                  <a:pt x="107157" y="0"/>
                </a:moveTo>
                <a:lnTo>
                  <a:pt x="1915318" y="0"/>
                </a:lnTo>
                <a:cubicBezTo>
                  <a:pt x="1915318" y="44386"/>
                  <a:pt x="1942305" y="82469"/>
                  <a:pt x="1980765" y="98736"/>
                </a:cubicBezTo>
                <a:lnTo>
                  <a:pt x="2019300" y="106516"/>
                </a:lnTo>
                <a:lnTo>
                  <a:pt x="2019300" y="2274735"/>
                </a:lnTo>
                <a:lnTo>
                  <a:pt x="1980765" y="2282515"/>
                </a:lnTo>
                <a:cubicBezTo>
                  <a:pt x="1955125" y="2293360"/>
                  <a:pt x="1934584" y="2313901"/>
                  <a:pt x="1923739" y="2339541"/>
                </a:cubicBezTo>
                <a:lnTo>
                  <a:pt x="1915318" y="2381250"/>
                </a:lnTo>
                <a:lnTo>
                  <a:pt x="107157" y="2381250"/>
                </a:lnTo>
                <a:lnTo>
                  <a:pt x="98736" y="2339541"/>
                </a:lnTo>
                <a:cubicBezTo>
                  <a:pt x="82469" y="2301081"/>
                  <a:pt x="44386" y="2274094"/>
                  <a:pt x="0" y="2274094"/>
                </a:cubicBezTo>
                <a:lnTo>
                  <a:pt x="0" y="107157"/>
                </a:lnTo>
                <a:cubicBezTo>
                  <a:pt x="59181" y="107157"/>
                  <a:pt x="107157" y="59181"/>
                  <a:pt x="107157"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l"/>
            <a:endParaRPr lang="zh-CN" altLang="en-US" sz="1600">
              <a:solidFill>
                <a:schemeClr val="bg1"/>
              </a:solidFill>
              <a:latin typeface="+mj-ea"/>
              <a:ea typeface="+mj-ea"/>
            </a:endParaRPr>
          </a:p>
        </p:txBody>
      </p:sp>
      <p:sp>
        <p:nvSpPr>
          <p:cNvPr id="51" name="文本框 50">
            <a:extLst>
              <a:ext uri="{FF2B5EF4-FFF2-40B4-BE49-F238E27FC236}">
                <a16:creationId xmlns:a16="http://schemas.microsoft.com/office/drawing/2014/main" id="{C8F35A52-74D1-4A02-BDC2-C738386202CB}"/>
              </a:ext>
            </a:extLst>
          </p:cNvPr>
          <p:cNvSpPr txBox="1"/>
          <p:nvPr/>
        </p:nvSpPr>
        <p:spPr>
          <a:xfrm>
            <a:off x="3831702" y="4054533"/>
            <a:ext cx="1641475" cy="492443"/>
          </a:xfrm>
          <a:prstGeom prst="rect">
            <a:avLst/>
          </a:prstGeom>
          <a:noFill/>
        </p:spPr>
        <p:txBody>
          <a:bodyPr wrap="none" lIns="0" tIns="0" rIns="0" bIns="0" rtlCol="0" anchor="t">
            <a:spAutoFit/>
          </a:bodyPr>
          <a:lstStyle/>
          <a:p>
            <a:pPr algn="ctr"/>
            <a:r>
              <a:rPr lang="zh-CN" altLang="en-US" sz="3200" dirty="0">
                <a:solidFill>
                  <a:schemeClr val="accent1"/>
                </a:solidFill>
                <a:latin typeface="+mj-ea"/>
                <a:ea typeface="+mj-ea"/>
              </a:rPr>
              <a:t>目录标题</a:t>
            </a:r>
          </a:p>
        </p:txBody>
      </p:sp>
      <p:sp>
        <p:nvSpPr>
          <p:cNvPr id="52" name="文本框 51">
            <a:extLst>
              <a:ext uri="{FF2B5EF4-FFF2-40B4-BE49-F238E27FC236}">
                <a16:creationId xmlns:a16="http://schemas.microsoft.com/office/drawing/2014/main" id="{609EC7E2-5E0E-4197-BAC4-71025B6BF76F}"/>
              </a:ext>
            </a:extLst>
          </p:cNvPr>
          <p:cNvSpPr txBox="1"/>
          <p:nvPr/>
        </p:nvSpPr>
        <p:spPr>
          <a:xfrm>
            <a:off x="3886199" y="4515715"/>
            <a:ext cx="1586977" cy="184666"/>
          </a:xfrm>
          <a:prstGeom prst="rect">
            <a:avLst/>
          </a:prstGeom>
          <a:noFill/>
        </p:spPr>
        <p:txBody>
          <a:bodyPr wrap="square" lIns="0" tIns="0" rIns="0" bIns="0" rtlCol="0" anchor="t">
            <a:spAutoFit/>
          </a:bodyPr>
          <a:lstStyle/>
          <a:p>
            <a:pPr algn="dist"/>
            <a:r>
              <a:rPr lang="en-US" altLang="zh-CN" sz="1200" dirty="0">
                <a:solidFill>
                  <a:schemeClr val="accent1"/>
                </a:solidFill>
              </a:rPr>
              <a:t>Contents Title Here</a:t>
            </a:r>
            <a:endParaRPr lang="zh-CN" altLang="en-US" sz="1200" dirty="0">
              <a:solidFill>
                <a:schemeClr val="accent1"/>
              </a:solidFill>
            </a:endParaRPr>
          </a:p>
        </p:txBody>
      </p:sp>
      <p:sp>
        <p:nvSpPr>
          <p:cNvPr id="53" name="文本框 52">
            <a:extLst>
              <a:ext uri="{FF2B5EF4-FFF2-40B4-BE49-F238E27FC236}">
                <a16:creationId xmlns:a16="http://schemas.microsoft.com/office/drawing/2014/main" id="{E4857E5E-5E6D-4754-B195-3C6406CF605F}"/>
              </a:ext>
            </a:extLst>
          </p:cNvPr>
          <p:cNvSpPr txBox="1"/>
          <p:nvPr/>
        </p:nvSpPr>
        <p:spPr>
          <a:xfrm>
            <a:off x="4372813" y="3429000"/>
            <a:ext cx="628377" cy="615553"/>
          </a:xfrm>
          <a:prstGeom prst="rect">
            <a:avLst/>
          </a:prstGeom>
          <a:noFill/>
        </p:spPr>
        <p:txBody>
          <a:bodyPr wrap="none" lIns="0" tIns="0" rIns="0" bIns="0" rtlCol="0" anchor="t">
            <a:spAutoFit/>
          </a:bodyPr>
          <a:lstStyle/>
          <a:p>
            <a:pPr algn="l"/>
            <a:r>
              <a:rPr lang="en-US" altLang="zh-CN" sz="4000" dirty="0">
                <a:solidFill>
                  <a:schemeClr val="accent1">
                    <a:lumMod val="100000"/>
                  </a:schemeClr>
                </a:solidFill>
              </a:rPr>
              <a:t>02</a:t>
            </a:r>
            <a:endParaRPr lang="zh-CN" altLang="en-US" sz="4000" dirty="0">
              <a:solidFill>
                <a:schemeClr val="accent1">
                  <a:lumMod val="100000"/>
                </a:schemeClr>
              </a:solidFill>
            </a:endParaRPr>
          </a:p>
        </p:txBody>
      </p:sp>
      <p:sp>
        <p:nvSpPr>
          <p:cNvPr id="55" name="任意多边形: 形状 54">
            <a:extLst>
              <a:ext uri="{FF2B5EF4-FFF2-40B4-BE49-F238E27FC236}">
                <a16:creationId xmlns:a16="http://schemas.microsoft.com/office/drawing/2014/main" id="{30C5585D-8312-4AA7-A500-9C6670C07C47}"/>
              </a:ext>
            </a:extLst>
          </p:cNvPr>
          <p:cNvSpPr/>
          <p:nvPr/>
        </p:nvSpPr>
        <p:spPr>
          <a:xfrm>
            <a:off x="6324981" y="2875025"/>
            <a:ext cx="2352294" cy="2702814"/>
          </a:xfrm>
          <a:custGeom>
            <a:avLst/>
            <a:gdLst>
              <a:gd name="connsiteX0" fmla="*/ 219059 w 2352294"/>
              <a:gd name="connsiteY0" fmla="*/ 0 h 2702814"/>
              <a:gd name="connsiteX1" fmla="*/ 2133235 w 2352294"/>
              <a:gd name="connsiteY1" fmla="*/ 0 h 2702814"/>
              <a:gd name="connsiteX2" fmla="*/ 2225549 w 2352294"/>
              <a:gd name="connsiteY2" fmla="*/ 61190 h 2702814"/>
              <a:gd name="connsiteX3" fmla="*/ 2229310 w 2352294"/>
              <a:gd name="connsiteY3" fmla="*/ 79820 h 2702814"/>
              <a:gd name="connsiteX4" fmla="*/ 2236561 w 2352294"/>
              <a:gd name="connsiteY4" fmla="*/ 79820 h 2702814"/>
              <a:gd name="connsiteX5" fmla="*/ 2352294 w 2352294"/>
              <a:gd name="connsiteY5" fmla="*/ 195553 h 2702814"/>
              <a:gd name="connsiteX6" fmla="*/ 2352294 w 2352294"/>
              <a:gd name="connsiteY6" fmla="*/ 2507262 h 2702814"/>
              <a:gd name="connsiteX7" fmla="*/ 2236561 w 2352294"/>
              <a:gd name="connsiteY7" fmla="*/ 2622995 h 2702814"/>
              <a:gd name="connsiteX8" fmla="*/ 2229310 w 2352294"/>
              <a:gd name="connsiteY8" fmla="*/ 2622995 h 2702814"/>
              <a:gd name="connsiteX9" fmla="*/ 2225549 w 2352294"/>
              <a:gd name="connsiteY9" fmla="*/ 2641625 h 2702814"/>
              <a:gd name="connsiteX10" fmla="*/ 2133235 w 2352294"/>
              <a:gd name="connsiteY10" fmla="*/ 2702814 h 2702814"/>
              <a:gd name="connsiteX11" fmla="*/ 219059 w 2352294"/>
              <a:gd name="connsiteY11" fmla="*/ 2702814 h 2702814"/>
              <a:gd name="connsiteX12" fmla="*/ 126745 w 2352294"/>
              <a:gd name="connsiteY12" fmla="*/ 2641625 h 2702814"/>
              <a:gd name="connsiteX13" fmla="*/ 122984 w 2352294"/>
              <a:gd name="connsiteY13" fmla="*/ 2622995 h 2702814"/>
              <a:gd name="connsiteX14" fmla="*/ 115733 w 2352294"/>
              <a:gd name="connsiteY14" fmla="*/ 2622995 h 2702814"/>
              <a:gd name="connsiteX15" fmla="*/ 0 w 2352294"/>
              <a:gd name="connsiteY15" fmla="*/ 2507262 h 2702814"/>
              <a:gd name="connsiteX16" fmla="*/ 0 w 2352294"/>
              <a:gd name="connsiteY16" fmla="*/ 195553 h 2702814"/>
              <a:gd name="connsiteX17" fmla="*/ 115733 w 2352294"/>
              <a:gd name="connsiteY17" fmla="*/ 79820 h 2702814"/>
              <a:gd name="connsiteX18" fmla="*/ 122984 w 2352294"/>
              <a:gd name="connsiteY18" fmla="*/ 79820 h 2702814"/>
              <a:gd name="connsiteX19" fmla="*/ 126745 w 2352294"/>
              <a:gd name="connsiteY19" fmla="*/ 61190 h 2702814"/>
              <a:gd name="connsiteX20" fmla="*/ 219059 w 2352294"/>
              <a:gd name="connsiteY20" fmla="*/ 0 h 27028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352294" h="2702814">
                <a:moveTo>
                  <a:pt x="219059" y="0"/>
                </a:moveTo>
                <a:lnTo>
                  <a:pt x="2133235" y="0"/>
                </a:lnTo>
                <a:cubicBezTo>
                  <a:pt x="2174734" y="0"/>
                  <a:pt x="2210340" y="25231"/>
                  <a:pt x="2225549" y="61190"/>
                </a:cubicBezTo>
                <a:lnTo>
                  <a:pt x="2229310" y="79820"/>
                </a:lnTo>
                <a:lnTo>
                  <a:pt x="2236561" y="79820"/>
                </a:lnTo>
                <a:cubicBezTo>
                  <a:pt x="2300479" y="79820"/>
                  <a:pt x="2352294" y="131635"/>
                  <a:pt x="2352294" y="195553"/>
                </a:cubicBezTo>
                <a:lnTo>
                  <a:pt x="2352294" y="2507262"/>
                </a:lnTo>
                <a:cubicBezTo>
                  <a:pt x="2352294" y="2571180"/>
                  <a:pt x="2300479" y="2622995"/>
                  <a:pt x="2236561" y="2622995"/>
                </a:cubicBezTo>
                <a:lnTo>
                  <a:pt x="2229310" y="2622995"/>
                </a:lnTo>
                <a:lnTo>
                  <a:pt x="2225549" y="2641625"/>
                </a:lnTo>
                <a:cubicBezTo>
                  <a:pt x="2210340" y="2677583"/>
                  <a:pt x="2174734" y="2702814"/>
                  <a:pt x="2133235" y="2702814"/>
                </a:cubicBezTo>
                <a:lnTo>
                  <a:pt x="219059" y="2702814"/>
                </a:lnTo>
                <a:cubicBezTo>
                  <a:pt x="177560" y="2702814"/>
                  <a:pt x="141954" y="2677583"/>
                  <a:pt x="126745" y="2641625"/>
                </a:cubicBezTo>
                <a:lnTo>
                  <a:pt x="122984" y="2622995"/>
                </a:lnTo>
                <a:lnTo>
                  <a:pt x="115733" y="2622995"/>
                </a:lnTo>
                <a:cubicBezTo>
                  <a:pt x="51815" y="2622995"/>
                  <a:pt x="0" y="2571180"/>
                  <a:pt x="0" y="2507262"/>
                </a:cubicBezTo>
                <a:lnTo>
                  <a:pt x="0" y="195553"/>
                </a:lnTo>
                <a:cubicBezTo>
                  <a:pt x="0" y="131635"/>
                  <a:pt x="51815" y="79820"/>
                  <a:pt x="115733" y="79820"/>
                </a:cubicBezTo>
                <a:lnTo>
                  <a:pt x="122984" y="79820"/>
                </a:lnTo>
                <a:lnTo>
                  <a:pt x="126745" y="61190"/>
                </a:lnTo>
                <a:cubicBezTo>
                  <a:pt x="141954" y="25231"/>
                  <a:pt x="177560" y="0"/>
                  <a:pt x="219059" y="0"/>
                </a:cubicBezTo>
                <a:close/>
              </a:path>
            </a:pathLst>
          </a:custGeom>
          <a:solidFill>
            <a:schemeClr val="accent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l"/>
            <a:endParaRPr lang="zh-CN" altLang="en-US" sz="1600">
              <a:solidFill>
                <a:schemeClr val="bg1"/>
              </a:solidFill>
              <a:latin typeface="+mj-ea"/>
              <a:ea typeface="+mj-ea"/>
            </a:endParaRPr>
          </a:p>
        </p:txBody>
      </p:sp>
      <p:sp>
        <p:nvSpPr>
          <p:cNvPr id="56" name="任意多边形: 形状 55">
            <a:extLst>
              <a:ext uri="{FF2B5EF4-FFF2-40B4-BE49-F238E27FC236}">
                <a16:creationId xmlns:a16="http://schemas.microsoft.com/office/drawing/2014/main" id="{7500A74D-4C79-436A-B080-1EA56943F6A0}"/>
              </a:ext>
            </a:extLst>
          </p:cNvPr>
          <p:cNvSpPr/>
          <p:nvPr/>
        </p:nvSpPr>
        <p:spPr>
          <a:xfrm>
            <a:off x="6499225" y="3024188"/>
            <a:ext cx="2019300" cy="2381250"/>
          </a:xfrm>
          <a:custGeom>
            <a:avLst/>
            <a:gdLst>
              <a:gd name="connsiteX0" fmla="*/ 107157 w 2019300"/>
              <a:gd name="connsiteY0" fmla="*/ 0 h 2381250"/>
              <a:gd name="connsiteX1" fmla="*/ 1915318 w 2019300"/>
              <a:gd name="connsiteY1" fmla="*/ 0 h 2381250"/>
              <a:gd name="connsiteX2" fmla="*/ 1980765 w 2019300"/>
              <a:gd name="connsiteY2" fmla="*/ 98736 h 2381250"/>
              <a:gd name="connsiteX3" fmla="*/ 2019300 w 2019300"/>
              <a:gd name="connsiteY3" fmla="*/ 106516 h 2381250"/>
              <a:gd name="connsiteX4" fmla="*/ 2019300 w 2019300"/>
              <a:gd name="connsiteY4" fmla="*/ 2274735 h 2381250"/>
              <a:gd name="connsiteX5" fmla="*/ 1980765 w 2019300"/>
              <a:gd name="connsiteY5" fmla="*/ 2282515 h 2381250"/>
              <a:gd name="connsiteX6" fmla="*/ 1923739 w 2019300"/>
              <a:gd name="connsiteY6" fmla="*/ 2339541 h 2381250"/>
              <a:gd name="connsiteX7" fmla="*/ 1915318 w 2019300"/>
              <a:gd name="connsiteY7" fmla="*/ 2381250 h 2381250"/>
              <a:gd name="connsiteX8" fmla="*/ 107157 w 2019300"/>
              <a:gd name="connsiteY8" fmla="*/ 2381250 h 2381250"/>
              <a:gd name="connsiteX9" fmla="*/ 98736 w 2019300"/>
              <a:gd name="connsiteY9" fmla="*/ 2339541 h 2381250"/>
              <a:gd name="connsiteX10" fmla="*/ 0 w 2019300"/>
              <a:gd name="connsiteY10" fmla="*/ 2274094 h 2381250"/>
              <a:gd name="connsiteX11" fmla="*/ 0 w 2019300"/>
              <a:gd name="connsiteY11" fmla="*/ 107157 h 2381250"/>
              <a:gd name="connsiteX12" fmla="*/ 107157 w 2019300"/>
              <a:gd name="connsiteY12" fmla="*/ 0 h 2381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019300" h="2381250">
                <a:moveTo>
                  <a:pt x="107157" y="0"/>
                </a:moveTo>
                <a:lnTo>
                  <a:pt x="1915318" y="0"/>
                </a:lnTo>
                <a:cubicBezTo>
                  <a:pt x="1915318" y="44386"/>
                  <a:pt x="1942305" y="82469"/>
                  <a:pt x="1980765" y="98736"/>
                </a:cubicBezTo>
                <a:lnTo>
                  <a:pt x="2019300" y="106516"/>
                </a:lnTo>
                <a:lnTo>
                  <a:pt x="2019300" y="2274735"/>
                </a:lnTo>
                <a:lnTo>
                  <a:pt x="1980765" y="2282515"/>
                </a:lnTo>
                <a:cubicBezTo>
                  <a:pt x="1955125" y="2293360"/>
                  <a:pt x="1934584" y="2313901"/>
                  <a:pt x="1923739" y="2339541"/>
                </a:cubicBezTo>
                <a:lnTo>
                  <a:pt x="1915318" y="2381250"/>
                </a:lnTo>
                <a:lnTo>
                  <a:pt x="107157" y="2381250"/>
                </a:lnTo>
                <a:lnTo>
                  <a:pt x="98736" y="2339541"/>
                </a:lnTo>
                <a:cubicBezTo>
                  <a:pt x="82469" y="2301081"/>
                  <a:pt x="44386" y="2274094"/>
                  <a:pt x="0" y="2274094"/>
                </a:cubicBezTo>
                <a:lnTo>
                  <a:pt x="0" y="107157"/>
                </a:lnTo>
                <a:cubicBezTo>
                  <a:pt x="59181" y="107157"/>
                  <a:pt x="107157" y="59181"/>
                  <a:pt x="107157"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l"/>
            <a:endParaRPr lang="zh-CN" altLang="en-US" sz="1600">
              <a:solidFill>
                <a:schemeClr val="bg1"/>
              </a:solidFill>
              <a:latin typeface="+mj-ea"/>
              <a:ea typeface="+mj-ea"/>
            </a:endParaRPr>
          </a:p>
        </p:txBody>
      </p:sp>
      <p:sp>
        <p:nvSpPr>
          <p:cNvPr id="57" name="文本框 56">
            <a:extLst>
              <a:ext uri="{FF2B5EF4-FFF2-40B4-BE49-F238E27FC236}">
                <a16:creationId xmlns:a16="http://schemas.microsoft.com/office/drawing/2014/main" id="{04295B34-A9A8-4BE1-A8F7-73CB23B8375C}"/>
              </a:ext>
            </a:extLst>
          </p:cNvPr>
          <p:cNvSpPr txBox="1"/>
          <p:nvPr/>
        </p:nvSpPr>
        <p:spPr>
          <a:xfrm>
            <a:off x="6698727" y="4054533"/>
            <a:ext cx="1641475" cy="492443"/>
          </a:xfrm>
          <a:prstGeom prst="rect">
            <a:avLst/>
          </a:prstGeom>
          <a:noFill/>
        </p:spPr>
        <p:txBody>
          <a:bodyPr wrap="none" lIns="0" tIns="0" rIns="0" bIns="0" rtlCol="0" anchor="t">
            <a:spAutoFit/>
          </a:bodyPr>
          <a:lstStyle/>
          <a:p>
            <a:pPr algn="ctr"/>
            <a:r>
              <a:rPr lang="zh-CN" altLang="en-US" sz="3200" dirty="0">
                <a:solidFill>
                  <a:schemeClr val="accent1"/>
                </a:solidFill>
                <a:latin typeface="+mj-ea"/>
                <a:ea typeface="+mj-ea"/>
              </a:rPr>
              <a:t>目录标题</a:t>
            </a:r>
          </a:p>
        </p:txBody>
      </p:sp>
      <p:sp>
        <p:nvSpPr>
          <p:cNvPr id="58" name="文本框 57">
            <a:extLst>
              <a:ext uri="{FF2B5EF4-FFF2-40B4-BE49-F238E27FC236}">
                <a16:creationId xmlns:a16="http://schemas.microsoft.com/office/drawing/2014/main" id="{16C13A3A-B882-4CEA-B052-24BF079175C6}"/>
              </a:ext>
            </a:extLst>
          </p:cNvPr>
          <p:cNvSpPr txBox="1"/>
          <p:nvPr/>
        </p:nvSpPr>
        <p:spPr>
          <a:xfrm>
            <a:off x="6753224" y="4515715"/>
            <a:ext cx="1586977" cy="184666"/>
          </a:xfrm>
          <a:prstGeom prst="rect">
            <a:avLst/>
          </a:prstGeom>
          <a:noFill/>
        </p:spPr>
        <p:txBody>
          <a:bodyPr wrap="square" lIns="0" tIns="0" rIns="0" bIns="0" rtlCol="0" anchor="t">
            <a:spAutoFit/>
          </a:bodyPr>
          <a:lstStyle/>
          <a:p>
            <a:pPr algn="dist"/>
            <a:r>
              <a:rPr lang="en-US" altLang="zh-CN" sz="1200" dirty="0">
                <a:solidFill>
                  <a:schemeClr val="accent1"/>
                </a:solidFill>
              </a:rPr>
              <a:t>Contents Title Here</a:t>
            </a:r>
            <a:endParaRPr lang="zh-CN" altLang="en-US" sz="1200" dirty="0">
              <a:solidFill>
                <a:schemeClr val="accent1"/>
              </a:solidFill>
            </a:endParaRPr>
          </a:p>
        </p:txBody>
      </p:sp>
      <p:sp>
        <p:nvSpPr>
          <p:cNvPr id="59" name="文本框 58">
            <a:extLst>
              <a:ext uri="{FF2B5EF4-FFF2-40B4-BE49-F238E27FC236}">
                <a16:creationId xmlns:a16="http://schemas.microsoft.com/office/drawing/2014/main" id="{D890A5B3-CC79-4486-A72A-A1131D388FD3}"/>
              </a:ext>
            </a:extLst>
          </p:cNvPr>
          <p:cNvSpPr txBox="1"/>
          <p:nvPr/>
        </p:nvSpPr>
        <p:spPr>
          <a:xfrm>
            <a:off x="7239838" y="3429000"/>
            <a:ext cx="628377" cy="615553"/>
          </a:xfrm>
          <a:prstGeom prst="rect">
            <a:avLst/>
          </a:prstGeom>
          <a:noFill/>
        </p:spPr>
        <p:txBody>
          <a:bodyPr wrap="none" lIns="0" tIns="0" rIns="0" bIns="0" rtlCol="0" anchor="t">
            <a:spAutoFit/>
          </a:bodyPr>
          <a:lstStyle/>
          <a:p>
            <a:pPr algn="l"/>
            <a:r>
              <a:rPr lang="en-US" altLang="zh-CN" sz="4000" dirty="0">
                <a:solidFill>
                  <a:schemeClr val="accent1">
                    <a:lumMod val="100000"/>
                  </a:schemeClr>
                </a:solidFill>
              </a:rPr>
              <a:t>03</a:t>
            </a:r>
            <a:endParaRPr lang="zh-CN" altLang="en-US" sz="4000" dirty="0">
              <a:solidFill>
                <a:schemeClr val="accent1">
                  <a:lumMod val="100000"/>
                </a:schemeClr>
              </a:solidFill>
            </a:endParaRPr>
          </a:p>
        </p:txBody>
      </p:sp>
      <p:sp>
        <p:nvSpPr>
          <p:cNvPr id="61" name="任意多边形: 形状 60">
            <a:extLst>
              <a:ext uri="{FF2B5EF4-FFF2-40B4-BE49-F238E27FC236}">
                <a16:creationId xmlns:a16="http://schemas.microsoft.com/office/drawing/2014/main" id="{BD4F14CB-2F39-4617-81FD-DE7377E3F7EF}"/>
              </a:ext>
            </a:extLst>
          </p:cNvPr>
          <p:cNvSpPr/>
          <p:nvPr/>
        </p:nvSpPr>
        <p:spPr>
          <a:xfrm>
            <a:off x="9192006" y="2875025"/>
            <a:ext cx="2352294" cy="2702814"/>
          </a:xfrm>
          <a:custGeom>
            <a:avLst/>
            <a:gdLst>
              <a:gd name="connsiteX0" fmla="*/ 219059 w 2352294"/>
              <a:gd name="connsiteY0" fmla="*/ 0 h 2702814"/>
              <a:gd name="connsiteX1" fmla="*/ 2133235 w 2352294"/>
              <a:gd name="connsiteY1" fmla="*/ 0 h 2702814"/>
              <a:gd name="connsiteX2" fmla="*/ 2225549 w 2352294"/>
              <a:gd name="connsiteY2" fmla="*/ 61190 h 2702814"/>
              <a:gd name="connsiteX3" fmla="*/ 2229310 w 2352294"/>
              <a:gd name="connsiteY3" fmla="*/ 79820 h 2702814"/>
              <a:gd name="connsiteX4" fmla="*/ 2236561 w 2352294"/>
              <a:gd name="connsiteY4" fmla="*/ 79820 h 2702814"/>
              <a:gd name="connsiteX5" fmla="*/ 2352294 w 2352294"/>
              <a:gd name="connsiteY5" fmla="*/ 195553 h 2702814"/>
              <a:gd name="connsiteX6" fmla="*/ 2352294 w 2352294"/>
              <a:gd name="connsiteY6" fmla="*/ 2507262 h 2702814"/>
              <a:gd name="connsiteX7" fmla="*/ 2236561 w 2352294"/>
              <a:gd name="connsiteY7" fmla="*/ 2622995 h 2702814"/>
              <a:gd name="connsiteX8" fmla="*/ 2229310 w 2352294"/>
              <a:gd name="connsiteY8" fmla="*/ 2622995 h 2702814"/>
              <a:gd name="connsiteX9" fmla="*/ 2225549 w 2352294"/>
              <a:gd name="connsiteY9" fmla="*/ 2641625 h 2702814"/>
              <a:gd name="connsiteX10" fmla="*/ 2133235 w 2352294"/>
              <a:gd name="connsiteY10" fmla="*/ 2702814 h 2702814"/>
              <a:gd name="connsiteX11" fmla="*/ 219059 w 2352294"/>
              <a:gd name="connsiteY11" fmla="*/ 2702814 h 2702814"/>
              <a:gd name="connsiteX12" fmla="*/ 126745 w 2352294"/>
              <a:gd name="connsiteY12" fmla="*/ 2641625 h 2702814"/>
              <a:gd name="connsiteX13" fmla="*/ 122984 w 2352294"/>
              <a:gd name="connsiteY13" fmla="*/ 2622995 h 2702814"/>
              <a:gd name="connsiteX14" fmla="*/ 115733 w 2352294"/>
              <a:gd name="connsiteY14" fmla="*/ 2622995 h 2702814"/>
              <a:gd name="connsiteX15" fmla="*/ 0 w 2352294"/>
              <a:gd name="connsiteY15" fmla="*/ 2507262 h 2702814"/>
              <a:gd name="connsiteX16" fmla="*/ 0 w 2352294"/>
              <a:gd name="connsiteY16" fmla="*/ 195553 h 2702814"/>
              <a:gd name="connsiteX17" fmla="*/ 115733 w 2352294"/>
              <a:gd name="connsiteY17" fmla="*/ 79820 h 2702814"/>
              <a:gd name="connsiteX18" fmla="*/ 122984 w 2352294"/>
              <a:gd name="connsiteY18" fmla="*/ 79820 h 2702814"/>
              <a:gd name="connsiteX19" fmla="*/ 126745 w 2352294"/>
              <a:gd name="connsiteY19" fmla="*/ 61190 h 2702814"/>
              <a:gd name="connsiteX20" fmla="*/ 219059 w 2352294"/>
              <a:gd name="connsiteY20" fmla="*/ 0 h 27028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352294" h="2702814">
                <a:moveTo>
                  <a:pt x="219059" y="0"/>
                </a:moveTo>
                <a:lnTo>
                  <a:pt x="2133235" y="0"/>
                </a:lnTo>
                <a:cubicBezTo>
                  <a:pt x="2174734" y="0"/>
                  <a:pt x="2210340" y="25231"/>
                  <a:pt x="2225549" y="61190"/>
                </a:cubicBezTo>
                <a:lnTo>
                  <a:pt x="2229310" y="79820"/>
                </a:lnTo>
                <a:lnTo>
                  <a:pt x="2236561" y="79820"/>
                </a:lnTo>
                <a:cubicBezTo>
                  <a:pt x="2300479" y="79820"/>
                  <a:pt x="2352294" y="131635"/>
                  <a:pt x="2352294" y="195553"/>
                </a:cubicBezTo>
                <a:lnTo>
                  <a:pt x="2352294" y="2507262"/>
                </a:lnTo>
                <a:cubicBezTo>
                  <a:pt x="2352294" y="2571180"/>
                  <a:pt x="2300479" y="2622995"/>
                  <a:pt x="2236561" y="2622995"/>
                </a:cubicBezTo>
                <a:lnTo>
                  <a:pt x="2229310" y="2622995"/>
                </a:lnTo>
                <a:lnTo>
                  <a:pt x="2225549" y="2641625"/>
                </a:lnTo>
                <a:cubicBezTo>
                  <a:pt x="2210340" y="2677583"/>
                  <a:pt x="2174734" y="2702814"/>
                  <a:pt x="2133235" y="2702814"/>
                </a:cubicBezTo>
                <a:lnTo>
                  <a:pt x="219059" y="2702814"/>
                </a:lnTo>
                <a:cubicBezTo>
                  <a:pt x="177560" y="2702814"/>
                  <a:pt x="141954" y="2677583"/>
                  <a:pt x="126745" y="2641625"/>
                </a:cubicBezTo>
                <a:lnTo>
                  <a:pt x="122984" y="2622995"/>
                </a:lnTo>
                <a:lnTo>
                  <a:pt x="115733" y="2622995"/>
                </a:lnTo>
                <a:cubicBezTo>
                  <a:pt x="51815" y="2622995"/>
                  <a:pt x="0" y="2571180"/>
                  <a:pt x="0" y="2507262"/>
                </a:cubicBezTo>
                <a:lnTo>
                  <a:pt x="0" y="195553"/>
                </a:lnTo>
                <a:cubicBezTo>
                  <a:pt x="0" y="131635"/>
                  <a:pt x="51815" y="79820"/>
                  <a:pt x="115733" y="79820"/>
                </a:cubicBezTo>
                <a:lnTo>
                  <a:pt x="122984" y="79820"/>
                </a:lnTo>
                <a:lnTo>
                  <a:pt x="126745" y="61190"/>
                </a:lnTo>
                <a:cubicBezTo>
                  <a:pt x="141954" y="25231"/>
                  <a:pt x="177560" y="0"/>
                  <a:pt x="219059" y="0"/>
                </a:cubicBezTo>
                <a:close/>
              </a:path>
            </a:pathLst>
          </a:custGeom>
          <a:solidFill>
            <a:schemeClr val="accent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l"/>
            <a:endParaRPr lang="zh-CN" altLang="en-US" sz="1600">
              <a:solidFill>
                <a:schemeClr val="bg1"/>
              </a:solidFill>
              <a:latin typeface="+mj-ea"/>
              <a:ea typeface="+mj-ea"/>
            </a:endParaRPr>
          </a:p>
        </p:txBody>
      </p:sp>
      <p:sp>
        <p:nvSpPr>
          <p:cNvPr id="62" name="任意多边形: 形状 61">
            <a:extLst>
              <a:ext uri="{FF2B5EF4-FFF2-40B4-BE49-F238E27FC236}">
                <a16:creationId xmlns:a16="http://schemas.microsoft.com/office/drawing/2014/main" id="{D6C0BE2A-E446-42A0-A4BB-C89F92651826}"/>
              </a:ext>
            </a:extLst>
          </p:cNvPr>
          <p:cNvSpPr/>
          <p:nvPr/>
        </p:nvSpPr>
        <p:spPr>
          <a:xfrm>
            <a:off x="9366250" y="3024188"/>
            <a:ext cx="2019300" cy="2381250"/>
          </a:xfrm>
          <a:custGeom>
            <a:avLst/>
            <a:gdLst>
              <a:gd name="connsiteX0" fmla="*/ 107157 w 2019300"/>
              <a:gd name="connsiteY0" fmla="*/ 0 h 2381250"/>
              <a:gd name="connsiteX1" fmla="*/ 1915318 w 2019300"/>
              <a:gd name="connsiteY1" fmla="*/ 0 h 2381250"/>
              <a:gd name="connsiteX2" fmla="*/ 1980765 w 2019300"/>
              <a:gd name="connsiteY2" fmla="*/ 98736 h 2381250"/>
              <a:gd name="connsiteX3" fmla="*/ 2019300 w 2019300"/>
              <a:gd name="connsiteY3" fmla="*/ 106516 h 2381250"/>
              <a:gd name="connsiteX4" fmla="*/ 2019300 w 2019300"/>
              <a:gd name="connsiteY4" fmla="*/ 2274735 h 2381250"/>
              <a:gd name="connsiteX5" fmla="*/ 1980765 w 2019300"/>
              <a:gd name="connsiteY5" fmla="*/ 2282515 h 2381250"/>
              <a:gd name="connsiteX6" fmla="*/ 1923739 w 2019300"/>
              <a:gd name="connsiteY6" fmla="*/ 2339541 h 2381250"/>
              <a:gd name="connsiteX7" fmla="*/ 1915318 w 2019300"/>
              <a:gd name="connsiteY7" fmla="*/ 2381250 h 2381250"/>
              <a:gd name="connsiteX8" fmla="*/ 107157 w 2019300"/>
              <a:gd name="connsiteY8" fmla="*/ 2381250 h 2381250"/>
              <a:gd name="connsiteX9" fmla="*/ 98736 w 2019300"/>
              <a:gd name="connsiteY9" fmla="*/ 2339541 h 2381250"/>
              <a:gd name="connsiteX10" fmla="*/ 0 w 2019300"/>
              <a:gd name="connsiteY10" fmla="*/ 2274094 h 2381250"/>
              <a:gd name="connsiteX11" fmla="*/ 0 w 2019300"/>
              <a:gd name="connsiteY11" fmla="*/ 107157 h 2381250"/>
              <a:gd name="connsiteX12" fmla="*/ 107157 w 2019300"/>
              <a:gd name="connsiteY12" fmla="*/ 0 h 2381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019300" h="2381250">
                <a:moveTo>
                  <a:pt x="107157" y="0"/>
                </a:moveTo>
                <a:lnTo>
                  <a:pt x="1915318" y="0"/>
                </a:lnTo>
                <a:cubicBezTo>
                  <a:pt x="1915318" y="44386"/>
                  <a:pt x="1942305" y="82469"/>
                  <a:pt x="1980765" y="98736"/>
                </a:cubicBezTo>
                <a:lnTo>
                  <a:pt x="2019300" y="106516"/>
                </a:lnTo>
                <a:lnTo>
                  <a:pt x="2019300" y="2274735"/>
                </a:lnTo>
                <a:lnTo>
                  <a:pt x="1980765" y="2282515"/>
                </a:lnTo>
                <a:cubicBezTo>
                  <a:pt x="1955125" y="2293360"/>
                  <a:pt x="1934584" y="2313901"/>
                  <a:pt x="1923739" y="2339541"/>
                </a:cubicBezTo>
                <a:lnTo>
                  <a:pt x="1915318" y="2381250"/>
                </a:lnTo>
                <a:lnTo>
                  <a:pt x="107157" y="2381250"/>
                </a:lnTo>
                <a:lnTo>
                  <a:pt x="98736" y="2339541"/>
                </a:lnTo>
                <a:cubicBezTo>
                  <a:pt x="82469" y="2301081"/>
                  <a:pt x="44386" y="2274094"/>
                  <a:pt x="0" y="2274094"/>
                </a:cubicBezTo>
                <a:lnTo>
                  <a:pt x="0" y="107157"/>
                </a:lnTo>
                <a:cubicBezTo>
                  <a:pt x="59181" y="107157"/>
                  <a:pt x="107157" y="59181"/>
                  <a:pt x="107157"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l"/>
            <a:endParaRPr lang="zh-CN" altLang="en-US" sz="1600">
              <a:solidFill>
                <a:schemeClr val="bg1"/>
              </a:solidFill>
              <a:latin typeface="+mj-ea"/>
              <a:ea typeface="+mj-ea"/>
            </a:endParaRPr>
          </a:p>
        </p:txBody>
      </p:sp>
      <p:sp>
        <p:nvSpPr>
          <p:cNvPr id="63" name="文本框 62">
            <a:extLst>
              <a:ext uri="{FF2B5EF4-FFF2-40B4-BE49-F238E27FC236}">
                <a16:creationId xmlns:a16="http://schemas.microsoft.com/office/drawing/2014/main" id="{FDB9F748-E056-48E5-8538-78442F360339}"/>
              </a:ext>
            </a:extLst>
          </p:cNvPr>
          <p:cNvSpPr txBox="1"/>
          <p:nvPr/>
        </p:nvSpPr>
        <p:spPr>
          <a:xfrm>
            <a:off x="9565752" y="4054533"/>
            <a:ext cx="1641475" cy="492443"/>
          </a:xfrm>
          <a:prstGeom prst="rect">
            <a:avLst/>
          </a:prstGeom>
          <a:noFill/>
        </p:spPr>
        <p:txBody>
          <a:bodyPr wrap="none" lIns="0" tIns="0" rIns="0" bIns="0" rtlCol="0" anchor="t">
            <a:spAutoFit/>
          </a:bodyPr>
          <a:lstStyle/>
          <a:p>
            <a:pPr algn="ctr"/>
            <a:r>
              <a:rPr lang="zh-CN" altLang="en-US" sz="3200" dirty="0">
                <a:solidFill>
                  <a:schemeClr val="accent1"/>
                </a:solidFill>
                <a:latin typeface="+mj-ea"/>
                <a:ea typeface="+mj-ea"/>
              </a:rPr>
              <a:t>目录标题</a:t>
            </a:r>
          </a:p>
        </p:txBody>
      </p:sp>
      <p:sp>
        <p:nvSpPr>
          <p:cNvPr id="64" name="文本框 63">
            <a:extLst>
              <a:ext uri="{FF2B5EF4-FFF2-40B4-BE49-F238E27FC236}">
                <a16:creationId xmlns:a16="http://schemas.microsoft.com/office/drawing/2014/main" id="{DC8523E4-99B8-43C7-8158-C58EFC83B1F3}"/>
              </a:ext>
            </a:extLst>
          </p:cNvPr>
          <p:cNvSpPr txBox="1"/>
          <p:nvPr/>
        </p:nvSpPr>
        <p:spPr>
          <a:xfrm>
            <a:off x="9620249" y="4515715"/>
            <a:ext cx="1586977" cy="184666"/>
          </a:xfrm>
          <a:prstGeom prst="rect">
            <a:avLst/>
          </a:prstGeom>
          <a:noFill/>
        </p:spPr>
        <p:txBody>
          <a:bodyPr wrap="square" lIns="0" tIns="0" rIns="0" bIns="0" rtlCol="0" anchor="t">
            <a:spAutoFit/>
          </a:bodyPr>
          <a:lstStyle/>
          <a:p>
            <a:pPr algn="dist"/>
            <a:r>
              <a:rPr lang="en-US" altLang="zh-CN" sz="1200" dirty="0">
                <a:solidFill>
                  <a:schemeClr val="accent1"/>
                </a:solidFill>
              </a:rPr>
              <a:t>Contents Title Here</a:t>
            </a:r>
            <a:endParaRPr lang="zh-CN" altLang="en-US" sz="1200" dirty="0">
              <a:solidFill>
                <a:schemeClr val="accent1"/>
              </a:solidFill>
            </a:endParaRPr>
          </a:p>
        </p:txBody>
      </p:sp>
      <p:sp>
        <p:nvSpPr>
          <p:cNvPr id="65" name="文本框 64">
            <a:extLst>
              <a:ext uri="{FF2B5EF4-FFF2-40B4-BE49-F238E27FC236}">
                <a16:creationId xmlns:a16="http://schemas.microsoft.com/office/drawing/2014/main" id="{3437DCEE-482D-4D8D-A7DB-22B3B5C0C422}"/>
              </a:ext>
            </a:extLst>
          </p:cNvPr>
          <p:cNvSpPr txBox="1"/>
          <p:nvPr/>
        </p:nvSpPr>
        <p:spPr>
          <a:xfrm>
            <a:off x="10106863" y="3429000"/>
            <a:ext cx="628377" cy="615553"/>
          </a:xfrm>
          <a:prstGeom prst="rect">
            <a:avLst/>
          </a:prstGeom>
          <a:noFill/>
        </p:spPr>
        <p:txBody>
          <a:bodyPr wrap="none" lIns="0" tIns="0" rIns="0" bIns="0" rtlCol="0" anchor="t">
            <a:spAutoFit/>
          </a:bodyPr>
          <a:lstStyle/>
          <a:p>
            <a:pPr algn="l"/>
            <a:r>
              <a:rPr lang="en-US" altLang="zh-CN" sz="4000" dirty="0">
                <a:solidFill>
                  <a:schemeClr val="accent1">
                    <a:lumMod val="100000"/>
                  </a:schemeClr>
                </a:solidFill>
              </a:rPr>
              <a:t>04</a:t>
            </a:r>
            <a:endParaRPr lang="zh-CN" altLang="en-US" sz="4000" dirty="0">
              <a:solidFill>
                <a:schemeClr val="accent1">
                  <a:lumMod val="100000"/>
                </a:schemeClr>
              </a:solidFill>
            </a:endParaRPr>
          </a:p>
        </p:txBody>
      </p:sp>
    </p:spTree>
    <p:extLst>
      <p:ext uri="{BB962C8B-B14F-4D97-AF65-F5344CB8AC3E}">
        <p14:creationId xmlns:p14="http://schemas.microsoft.com/office/powerpoint/2010/main" val="3389642759"/>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7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reeform 5">
            <a:extLst>
              <a:ext uri="{FF2B5EF4-FFF2-40B4-BE49-F238E27FC236}">
                <a16:creationId xmlns:a16="http://schemas.microsoft.com/office/drawing/2014/main" id="{4C5A0EFD-EB61-440A-A7F0-7E7623EA112F}"/>
              </a:ext>
            </a:extLst>
          </p:cNvPr>
          <p:cNvSpPr>
            <a:spLocks/>
          </p:cNvSpPr>
          <p:nvPr/>
        </p:nvSpPr>
        <p:spPr bwMode="auto">
          <a:xfrm>
            <a:off x="1131889" y="1079501"/>
            <a:ext cx="2087771" cy="2159000"/>
          </a:xfrm>
          <a:custGeom>
            <a:avLst/>
            <a:gdLst>
              <a:gd name="T0" fmla="*/ 391 w 811"/>
              <a:gd name="T1" fmla="*/ 709 h 838"/>
              <a:gd name="T2" fmla="*/ 480 w 811"/>
              <a:gd name="T3" fmla="*/ 838 h 838"/>
              <a:gd name="T4" fmla="*/ 419 w 811"/>
              <a:gd name="T5" fmla="*/ 813 h 838"/>
              <a:gd name="T6" fmla="*/ 435 w 811"/>
              <a:gd name="T7" fmla="*/ 831 h 838"/>
              <a:gd name="T8" fmla="*/ 297 w 811"/>
              <a:gd name="T9" fmla="*/ 717 h 838"/>
              <a:gd name="T10" fmla="*/ 256 w 811"/>
              <a:gd name="T11" fmla="*/ 674 h 838"/>
              <a:gd name="T12" fmla="*/ 150 w 811"/>
              <a:gd name="T13" fmla="*/ 557 h 838"/>
              <a:gd name="T14" fmla="*/ 109 w 811"/>
              <a:gd name="T15" fmla="*/ 524 h 838"/>
              <a:gd name="T16" fmla="*/ 3 w 811"/>
              <a:gd name="T17" fmla="*/ 511 h 838"/>
              <a:gd name="T18" fmla="*/ 31 w 811"/>
              <a:gd name="T19" fmla="*/ 483 h 838"/>
              <a:gd name="T20" fmla="*/ 13 w 811"/>
              <a:gd name="T21" fmla="*/ 461 h 838"/>
              <a:gd name="T22" fmla="*/ 38 w 811"/>
              <a:gd name="T23" fmla="*/ 452 h 838"/>
              <a:gd name="T24" fmla="*/ 148 w 811"/>
              <a:gd name="T25" fmla="*/ 329 h 838"/>
              <a:gd name="T26" fmla="*/ 158 w 811"/>
              <a:gd name="T27" fmla="*/ 307 h 838"/>
              <a:gd name="T28" fmla="*/ 222 w 811"/>
              <a:gd name="T29" fmla="*/ 216 h 838"/>
              <a:gd name="T30" fmla="*/ 579 w 811"/>
              <a:gd name="T31" fmla="*/ 1 h 838"/>
              <a:gd name="T32" fmla="*/ 615 w 811"/>
              <a:gd name="T33" fmla="*/ 2 h 838"/>
              <a:gd name="T34" fmla="*/ 642 w 811"/>
              <a:gd name="T35" fmla="*/ 8 h 838"/>
              <a:gd name="T36" fmla="*/ 621 w 811"/>
              <a:gd name="T37" fmla="*/ 16 h 838"/>
              <a:gd name="T38" fmla="*/ 538 w 811"/>
              <a:gd name="T39" fmla="*/ 183 h 838"/>
              <a:gd name="T40" fmla="*/ 593 w 811"/>
              <a:gd name="T41" fmla="*/ 292 h 838"/>
              <a:gd name="T42" fmla="*/ 635 w 811"/>
              <a:gd name="T43" fmla="*/ 375 h 838"/>
              <a:gd name="T44" fmla="*/ 676 w 811"/>
              <a:gd name="T45" fmla="*/ 386 h 838"/>
              <a:gd name="T46" fmla="*/ 783 w 811"/>
              <a:gd name="T47" fmla="*/ 301 h 838"/>
              <a:gd name="T48" fmla="*/ 802 w 811"/>
              <a:gd name="T49" fmla="*/ 289 h 838"/>
              <a:gd name="T50" fmla="*/ 791 w 811"/>
              <a:gd name="T51" fmla="*/ 444 h 838"/>
              <a:gd name="T52" fmla="*/ 811 w 811"/>
              <a:gd name="T53" fmla="*/ 597 h 838"/>
              <a:gd name="T54" fmla="*/ 811 w 811"/>
              <a:gd name="T55" fmla="*/ 597 h 838"/>
              <a:gd name="T56" fmla="*/ 776 w 811"/>
              <a:gd name="T57" fmla="*/ 573 h 838"/>
              <a:gd name="T58" fmla="*/ 721 w 811"/>
              <a:gd name="T59" fmla="*/ 526 h 838"/>
              <a:gd name="T60" fmla="*/ 687 w 811"/>
              <a:gd name="T61" fmla="*/ 514 h 838"/>
              <a:gd name="T62" fmla="*/ 669 w 811"/>
              <a:gd name="T63" fmla="*/ 543 h 838"/>
              <a:gd name="T64" fmla="*/ 634 w 811"/>
              <a:gd name="T65" fmla="*/ 575 h 838"/>
              <a:gd name="T66" fmla="*/ 632 w 811"/>
              <a:gd name="T67" fmla="*/ 729 h 838"/>
              <a:gd name="T68" fmla="*/ 653 w 811"/>
              <a:gd name="T69" fmla="*/ 795 h 838"/>
              <a:gd name="T70" fmla="*/ 634 w 811"/>
              <a:gd name="T71" fmla="*/ 820 h 838"/>
              <a:gd name="T72" fmla="*/ 584 w 811"/>
              <a:gd name="T73" fmla="*/ 806 h 838"/>
              <a:gd name="T74" fmla="*/ 469 w 811"/>
              <a:gd name="T75" fmla="*/ 739 h 838"/>
              <a:gd name="T76" fmla="*/ 415 w 811"/>
              <a:gd name="T77" fmla="*/ 714 h 838"/>
              <a:gd name="T78" fmla="*/ 391 w 811"/>
              <a:gd name="T79" fmla="*/ 709 h 8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811" h="838">
                <a:moveTo>
                  <a:pt x="391" y="709"/>
                </a:moveTo>
                <a:cubicBezTo>
                  <a:pt x="411" y="769"/>
                  <a:pt x="439" y="792"/>
                  <a:pt x="480" y="838"/>
                </a:cubicBezTo>
                <a:cubicBezTo>
                  <a:pt x="459" y="829"/>
                  <a:pt x="440" y="822"/>
                  <a:pt x="419" y="813"/>
                </a:cubicBezTo>
                <a:cubicBezTo>
                  <a:pt x="425" y="820"/>
                  <a:pt x="430" y="826"/>
                  <a:pt x="435" y="831"/>
                </a:cubicBezTo>
                <a:cubicBezTo>
                  <a:pt x="388" y="825"/>
                  <a:pt x="317" y="768"/>
                  <a:pt x="297" y="717"/>
                </a:cubicBezTo>
                <a:cubicBezTo>
                  <a:pt x="288" y="697"/>
                  <a:pt x="277" y="684"/>
                  <a:pt x="256" y="674"/>
                </a:cubicBezTo>
                <a:cubicBezTo>
                  <a:pt x="204" y="651"/>
                  <a:pt x="171" y="609"/>
                  <a:pt x="150" y="557"/>
                </a:cubicBezTo>
                <a:cubicBezTo>
                  <a:pt x="142" y="537"/>
                  <a:pt x="130" y="527"/>
                  <a:pt x="109" y="524"/>
                </a:cubicBezTo>
                <a:cubicBezTo>
                  <a:pt x="76" y="521"/>
                  <a:pt x="5" y="519"/>
                  <a:pt x="3" y="511"/>
                </a:cubicBezTo>
                <a:cubicBezTo>
                  <a:pt x="0" y="504"/>
                  <a:pt x="23" y="492"/>
                  <a:pt x="31" y="483"/>
                </a:cubicBezTo>
                <a:cubicBezTo>
                  <a:pt x="26" y="477"/>
                  <a:pt x="12" y="467"/>
                  <a:pt x="13" y="461"/>
                </a:cubicBezTo>
                <a:cubicBezTo>
                  <a:pt x="16" y="453"/>
                  <a:pt x="31" y="454"/>
                  <a:pt x="38" y="452"/>
                </a:cubicBezTo>
                <a:cubicBezTo>
                  <a:pt x="106" y="436"/>
                  <a:pt x="141" y="396"/>
                  <a:pt x="148" y="329"/>
                </a:cubicBezTo>
                <a:cubicBezTo>
                  <a:pt x="149" y="321"/>
                  <a:pt x="154" y="313"/>
                  <a:pt x="158" y="307"/>
                </a:cubicBezTo>
                <a:cubicBezTo>
                  <a:pt x="179" y="276"/>
                  <a:pt x="202" y="247"/>
                  <a:pt x="222" y="216"/>
                </a:cubicBezTo>
                <a:cubicBezTo>
                  <a:pt x="308" y="88"/>
                  <a:pt x="425" y="14"/>
                  <a:pt x="579" y="1"/>
                </a:cubicBezTo>
                <a:cubicBezTo>
                  <a:pt x="591" y="0"/>
                  <a:pt x="603" y="1"/>
                  <a:pt x="615" y="2"/>
                </a:cubicBezTo>
                <a:cubicBezTo>
                  <a:pt x="624" y="2"/>
                  <a:pt x="633" y="3"/>
                  <a:pt x="642" y="8"/>
                </a:cubicBezTo>
                <a:cubicBezTo>
                  <a:pt x="635" y="10"/>
                  <a:pt x="628" y="13"/>
                  <a:pt x="621" y="16"/>
                </a:cubicBezTo>
                <a:cubicBezTo>
                  <a:pt x="545" y="45"/>
                  <a:pt x="505" y="103"/>
                  <a:pt x="538" y="183"/>
                </a:cubicBezTo>
                <a:cubicBezTo>
                  <a:pt x="553" y="221"/>
                  <a:pt x="575" y="256"/>
                  <a:pt x="593" y="292"/>
                </a:cubicBezTo>
                <a:cubicBezTo>
                  <a:pt x="607" y="320"/>
                  <a:pt x="622" y="347"/>
                  <a:pt x="635" y="375"/>
                </a:cubicBezTo>
                <a:cubicBezTo>
                  <a:pt x="645" y="398"/>
                  <a:pt x="656" y="402"/>
                  <a:pt x="676" y="386"/>
                </a:cubicBezTo>
                <a:cubicBezTo>
                  <a:pt x="712" y="358"/>
                  <a:pt x="747" y="329"/>
                  <a:pt x="783" y="301"/>
                </a:cubicBezTo>
                <a:cubicBezTo>
                  <a:pt x="787" y="297"/>
                  <a:pt x="793" y="295"/>
                  <a:pt x="802" y="289"/>
                </a:cubicBezTo>
                <a:cubicBezTo>
                  <a:pt x="797" y="344"/>
                  <a:pt x="789" y="394"/>
                  <a:pt x="791" y="444"/>
                </a:cubicBezTo>
                <a:cubicBezTo>
                  <a:pt x="793" y="494"/>
                  <a:pt x="785" y="550"/>
                  <a:pt x="811" y="597"/>
                </a:cubicBezTo>
                <a:cubicBezTo>
                  <a:pt x="811" y="597"/>
                  <a:pt x="811" y="597"/>
                  <a:pt x="811" y="597"/>
                </a:cubicBezTo>
                <a:cubicBezTo>
                  <a:pt x="800" y="589"/>
                  <a:pt x="787" y="582"/>
                  <a:pt x="776" y="573"/>
                </a:cubicBezTo>
                <a:cubicBezTo>
                  <a:pt x="757" y="558"/>
                  <a:pt x="740" y="541"/>
                  <a:pt x="721" y="526"/>
                </a:cubicBezTo>
                <a:cubicBezTo>
                  <a:pt x="711" y="520"/>
                  <a:pt x="699" y="516"/>
                  <a:pt x="687" y="514"/>
                </a:cubicBezTo>
                <a:cubicBezTo>
                  <a:pt x="669" y="511"/>
                  <a:pt x="671" y="521"/>
                  <a:pt x="669" y="543"/>
                </a:cubicBezTo>
                <a:cubicBezTo>
                  <a:pt x="641" y="542"/>
                  <a:pt x="641" y="565"/>
                  <a:pt x="634" y="575"/>
                </a:cubicBezTo>
                <a:cubicBezTo>
                  <a:pt x="618" y="610"/>
                  <a:pt x="617" y="677"/>
                  <a:pt x="632" y="729"/>
                </a:cubicBezTo>
                <a:cubicBezTo>
                  <a:pt x="639" y="751"/>
                  <a:pt x="646" y="773"/>
                  <a:pt x="653" y="795"/>
                </a:cubicBezTo>
                <a:cubicBezTo>
                  <a:pt x="664" y="826"/>
                  <a:pt x="648" y="820"/>
                  <a:pt x="634" y="820"/>
                </a:cubicBezTo>
                <a:cubicBezTo>
                  <a:pt x="620" y="820"/>
                  <a:pt x="596" y="813"/>
                  <a:pt x="584" y="806"/>
                </a:cubicBezTo>
                <a:cubicBezTo>
                  <a:pt x="542" y="784"/>
                  <a:pt x="508" y="766"/>
                  <a:pt x="469" y="739"/>
                </a:cubicBezTo>
                <a:cubicBezTo>
                  <a:pt x="452" y="728"/>
                  <a:pt x="437" y="716"/>
                  <a:pt x="415" y="714"/>
                </a:cubicBezTo>
                <a:lnTo>
                  <a:pt x="391" y="709"/>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cs typeface="+mn-cs"/>
            </a:endParaRPr>
          </a:p>
        </p:txBody>
      </p:sp>
      <p:sp>
        <p:nvSpPr>
          <p:cNvPr id="9" name="Freeform 9">
            <a:extLst>
              <a:ext uri="{FF2B5EF4-FFF2-40B4-BE49-F238E27FC236}">
                <a16:creationId xmlns:a16="http://schemas.microsoft.com/office/drawing/2014/main" id="{CB5241BB-B838-4C8E-8097-81A9E4194D6C}"/>
              </a:ext>
            </a:extLst>
          </p:cNvPr>
          <p:cNvSpPr>
            <a:spLocks/>
          </p:cNvSpPr>
          <p:nvPr/>
        </p:nvSpPr>
        <p:spPr bwMode="auto">
          <a:xfrm>
            <a:off x="882651" y="4016686"/>
            <a:ext cx="2889249" cy="1915802"/>
          </a:xfrm>
          <a:custGeom>
            <a:avLst/>
            <a:gdLst>
              <a:gd name="T0" fmla="*/ 489 w 904"/>
              <a:gd name="T1" fmla="*/ 562 h 598"/>
              <a:gd name="T2" fmla="*/ 548 w 904"/>
              <a:gd name="T3" fmla="*/ 598 h 598"/>
              <a:gd name="T4" fmla="*/ 445 w 904"/>
              <a:gd name="T5" fmla="*/ 491 h 598"/>
              <a:gd name="T6" fmla="*/ 447 w 904"/>
              <a:gd name="T7" fmla="*/ 487 h 598"/>
              <a:gd name="T8" fmla="*/ 459 w 904"/>
              <a:gd name="T9" fmla="*/ 488 h 598"/>
              <a:gd name="T10" fmla="*/ 666 w 904"/>
              <a:gd name="T11" fmla="*/ 498 h 598"/>
              <a:gd name="T12" fmla="*/ 771 w 904"/>
              <a:gd name="T13" fmla="*/ 492 h 598"/>
              <a:gd name="T14" fmla="*/ 782 w 904"/>
              <a:gd name="T15" fmla="*/ 489 h 598"/>
              <a:gd name="T16" fmla="*/ 803 w 904"/>
              <a:gd name="T17" fmla="*/ 444 h 598"/>
              <a:gd name="T18" fmla="*/ 798 w 904"/>
              <a:gd name="T19" fmla="*/ 408 h 598"/>
              <a:gd name="T20" fmla="*/ 790 w 904"/>
              <a:gd name="T21" fmla="*/ 306 h 598"/>
              <a:gd name="T22" fmla="*/ 823 w 904"/>
              <a:gd name="T23" fmla="*/ 317 h 598"/>
              <a:gd name="T24" fmla="*/ 853 w 904"/>
              <a:gd name="T25" fmla="*/ 370 h 598"/>
              <a:gd name="T26" fmla="*/ 858 w 904"/>
              <a:gd name="T27" fmla="*/ 385 h 598"/>
              <a:gd name="T28" fmla="*/ 870 w 904"/>
              <a:gd name="T29" fmla="*/ 385 h 598"/>
              <a:gd name="T30" fmla="*/ 903 w 904"/>
              <a:gd name="T31" fmla="*/ 292 h 598"/>
              <a:gd name="T32" fmla="*/ 900 w 904"/>
              <a:gd name="T33" fmla="*/ 238 h 598"/>
              <a:gd name="T34" fmla="*/ 898 w 904"/>
              <a:gd name="T35" fmla="*/ 162 h 598"/>
              <a:gd name="T36" fmla="*/ 796 w 904"/>
              <a:gd name="T37" fmla="*/ 215 h 598"/>
              <a:gd name="T38" fmla="*/ 827 w 904"/>
              <a:gd name="T39" fmla="*/ 166 h 598"/>
              <a:gd name="T40" fmla="*/ 842 w 904"/>
              <a:gd name="T41" fmla="*/ 116 h 598"/>
              <a:gd name="T42" fmla="*/ 849 w 904"/>
              <a:gd name="T43" fmla="*/ 89 h 598"/>
              <a:gd name="T44" fmla="*/ 826 w 904"/>
              <a:gd name="T45" fmla="*/ 33 h 598"/>
              <a:gd name="T46" fmla="*/ 734 w 904"/>
              <a:gd name="T47" fmla="*/ 9 h 598"/>
              <a:gd name="T48" fmla="*/ 396 w 904"/>
              <a:gd name="T49" fmla="*/ 15 h 598"/>
              <a:gd name="T50" fmla="*/ 287 w 904"/>
              <a:gd name="T51" fmla="*/ 98 h 598"/>
              <a:gd name="T52" fmla="*/ 261 w 904"/>
              <a:gd name="T53" fmla="*/ 181 h 598"/>
              <a:gd name="T54" fmla="*/ 199 w 904"/>
              <a:gd name="T55" fmla="*/ 293 h 598"/>
              <a:gd name="T56" fmla="*/ 158 w 904"/>
              <a:gd name="T57" fmla="*/ 318 h 598"/>
              <a:gd name="T58" fmla="*/ 8 w 904"/>
              <a:gd name="T59" fmla="*/ 356 h 598"/>
              <a:gd name="T60" fmla="*/ 0 w 904"/>
              <a:gd name="T61" fmla="*/ 358 h 598"/>
              <a:gd name="T62" fmla="*/ 3 w 904"/>
              <a:gd name="T63" fmla="*/ 368 h 598"/>
              <a:gd name="T64" fmla="*/ 7 w 904"/>
              <a:gd name="T65" fmla="*/ 368 h 598"/>
              <a:gd name="T66" fmla="*/ 195 w 904"/>
              <a:gd name="T67" fmla="*/ 399 h 598"/>
              <a:gd name="T68" fmla="*/ 245 w 904"/>
              <a:gd name="T69" fmla="*/ 426 h 598"/>
              <a:gd name="T70" fmla="*/ 338 w 904"/>
              <a:gd name="T71" fmla="*/ 473 h 598"/>
              <a:gd name="T72" fmla="*/ 347 w 904"/>
              <a:gd name="T73" fmla="*/ 477 h 598"/>
              <a:gd name="T74" fmla="*/ 482 w 904"/>
              <a:gd name="T75" fmla="*/ 587 h 598"/>
              <a:gd name="T76" fmla="*/ 501 w 904"/>
              <a:gd name="T77" fmla="*/ 598 h 598"/>
              <a:gd name="T78" fmla="*/ 486 w 904"/>
              <a:gd name="T79" fmla="*/ 563 h 598"/>
              <a:gd name="T80" fmla="*/ 489 w 904"/>
              <a:gd name="T81" fmla="*/ 562 h 5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904" h="598">
                <a:moveTo>
                  <a:pt x="489" y="562"/>
                </a:moveTo>
                <a:cubicBezTo>
                  <a:pt x="508" y="574"/>
                  <a:pt x="527" y="585"/>
                  <a:pt x="548" y="598"/>
                </a:cubicBezTo>
                <a:cubicBezTo>
                  <a:pt x="512" y="561"/>
                  <a:pt x="478" y="526"/>
                  <a:pt x="445" y="491"/>
                </a:cubicBezTo>
                <a:cubicBezTo>
                  <a:pt x="445" y="490"/>
                  <a:pt x="446" y="488"/>
                  <a:pt x="447" y="487"/>
                </a:cubicBezTo>
                <a:cubicBezTo>
                  <a:pt x="451" y="487"/>
                  <a:pt x="455" y="488"/>
                  <a:pt x="459" y="488"/>
                </a:cubicBezTo>
                <a:cubicBezTo>
                  <a:pt x="528" y="492"/>
                  <a:pt x="597" y="497"/>
                  <a:pt x="666" y="498"/>
                </a:cubicBezTo>
                <a:cubicBezTo>
                  <a:pt x="701" y="499"/>
                  <a:pt x="736" y="494"/>
                  <a:pt x="771" y="492"/>
                </a:cubicBezTo>
                <a:cubicBezTo>
                  <a:pt x="775" y="491"/>
                  <a:pt x="778" y="490"/>
                  <a:pt x="782" y="489"/>
                </a:cubicBezTo>
                <a:cubicBezTo>
                  <a:pt x="806" y="482"/>
                  <a:pt x="815" y="466"/>
                  <a:pt x="803" y="444"/>
                </a:cubicBezTo>
                <a:cubicBezTo>
                  <a:pt x="797" y="432"/>
                  <a:pt x="797" y="421"/>
                  <a:pt x="798" y="408"/>
                </a:cubicBezTo>
                <a:cubicBezTo>
                  <a:pt x="803" y="373"/>
                  <a:pt x="801" y="339"/>
                  <a:pt x="790" y="306"/>
                </a:cubicBezTo>
                <a:cubicBezTo>
                  <a:pt x="803" y="302"/>
                  <a:pt x="814" y="304"/>
                  <a:pt x="823" y="317"/>
                </a:cubicBezTo>
                <a:cubicBezTo>
                  <a:pt x="835" y="333"/>
                  <a:pt x="843" y="352"/>
                  <a:pt x="853" y="370"/>
                </a:cubicBezTo>
                <a:cubicBezTo>
                  <a:pt x="855" y="375"/>
                  <a:pt x="856" y="380"/>
                  <a:pt x="858" y="385"/>
                </a:cubicBezTo>
                <a:cubicBezTo>
                  <a:pt x="861" y="391"/>
                  <a:pt x="867" y="392"/>
                  <a:pt x="870" y="385"/>
                </a:cubicBezTo>
                <a:cubicBezTo>
                  <a:pt x="884" y="355"/>
                  <a:pt x="900" y="325"/>
                  <a:pt x="903" y="292"/>
                </a:cubicBezTo>
                <a:cubicBezTo>
                  <a:pt x="904" y="274"/>
                  <a:pt x="903" y="255"/>
                  <a:pt x="900" y="238"/>
                </a:cubicBezTo>
                <a:cubicBezTo>
                  <a:pt x="895" y="213"/>
                  <a:pt x="890" y="189"/>
                  <a:pt x="898" y="162"/>
                </a:cubicBezTo>
                <a:cubicBezTo>
                  <a:pt x="868" y="192"/>
                  <a:pt x="843" y="225"/>
                  <a:pt x="796" y="215"/>
                </a:cubicBezTo>
                <a:cubicBezTo>
                  <a:pt x="807" y="197"/>
                  <a:pt x="819" y="183"/>
                  <a:pt x="827" y="166"/>
                </a:cubicBezTo>
                <a:cubicBezTo>
                  <a:pt x="834" y="150"/>
                  <a:pt x="837" y="133"/>
                  <a:pt x="842" y="116"/>
                </a:cubicBezTo>
                <a:cubicBezTo>
                  <a:pt x="845" y="107"/>
                  <a:pt x="847" y="98"/>
                  <a:pt x="849" y="89"/>
                </a:cubicBezTo>
                <a:cubicBezTo>
                  <a:pt x="857" y="61"/>
                  <a:pt x="851" y="47"/>
                  <a:pt x="826" y="33"/>
                </a:cubicBezTo>
                <a:cubicBezTo>
                  <a:pt x="797" y="17"/>
                  <a:pt x="766" y="11"/>
                  <a:pt x="734" y="9"/>
                </a:cubicBezTo>
                <a:cubicBezTo>
                  <a:pt x="621" y="0"/>
                  <a:pt x="508" y="7"/>
                  <a:pt x="396" y="15"/>
                </a:cubicBezTo>
                <a:cubicBezTo>
                  <a:pt x="341" y="19"/>
                  <a:pt x="307" y="51"/>
                  <a:pt x="287" y="98"/>
                </a:cubicBezTo>
                <a:cubicBezTo>
                  <a:pt x="275" y="124"/>
                  <a:pt x="268" y="153"/>
                  <a:pt x="261" y="181"/>
                </a:cubicBezTo>
                <a:cubicBezTo>
                  <a:pt x="251" y="224"/>
                  <a:pt x="230" y="262"/>
                  <a:pt x="199" y="293"/>
                </a:cubicBezTo>
                <a:cubicBezTo>
                  <a:pt x="189" y="304"/>
                  <a:pt x="173" y="312"/>
                  <a:pt x="158" y="318"/>
                </a:cubicBezTo>
                <a:cubicBezTo>
                  <a:pt x="110" y="337"/>
                  <a:pt x="59" y="347"/>
                  <a:pt x="8" y="356"/>
                </a:cubicBezTo>
                <a:cubicBezTo>
                  <a:pt x="6" y="357"/>
                  <a:pt x="3" y="358"/>
                  <a:pt x="0" y="358"/>
                </a:cubicBezTo>
                <a:cubicBezTo>
                  <a:pt x="1" y="361"/>
                  <a:pt x="2" y="364"/>
                  <a:pt x="3" y="368"/>
                </a:cubicBezTo>
                <a:cubicBezTo>
                  <a:pt x="4" y="368"/>
                  <a:pt x="5" y="368"/>
                  <a:pt x="7" y="368"/>
                </a:cubicBezTo>
                <a:cubicBezTo>
                  <a:pt x="70" y="378"/>
                  <a:pt x="132" y="388"/>
                  <a:pt x="195" y="399"/>
                </a:cubicBezTo>
                <a:cubicBezTo>
                  <a:pt x="214" y="402"/>
                  <a:pt x="231" y="412"/>
                  <a:pt x="245" y="426"/>
                </a:cubicBezTo>
                <a:cubicBezTo>
                  <a:pt x="271" y="452"/>
                  <a:pt x="302" y="468"/>
                  <a:pt x="338" y="473"/>
                </a:cubicBezTo>
                <a:cubicBezTo>
                  <a:pt x="341" y="473"/>
                  <a:pt x="345" y="475"/>
                  <a:pt x="347" y="477"/>
                </a:cubicBezTo>
                <a:cubicBezTo>
                  <a:pt x="384" y="524"/>
                  <a:pt x="434" y="555"/>
                  <a:pt x="482" y="587"/>
                </a:cubicBezTo>
                <a:cubicBezTo>
                  <a:pt x="488" y="591"/>
                  <a:pt x="495" y="595"/>
                  <a:pt x="501" y="598"/>
                </a:cubicBezTo>
                <a:cubicBezTo>
                  <a:pt x="496" y="586"/>
                  <a:pt x="491" y="575"/>
                  <a:pt x="486" y="563"/>
                </a:cubicBezTo>
                <a:cubicBezTo>
                  <a:pt x="487" y="563"/>
                  <a:pt x="488" y="563"/>
                  <a:pt x="489" y="562"/>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cs typeface="+mn-cs"/>
            </a:endParaRPr>
          </a:p>
        </p:txBody>
      </p:sp>
      <p:sp>
        <p:nvSpPr>
          <p:cNvPr id="13" name="Freeform 13">
            <a:extLst>
              <a:ext uri="{FF2B5EF4-FFF2-40B4-BE49-F238E27FC236}">
                <a16:creationId xmlns:a16="http://schemas.microsoft.com/office/drawing/2014/main" id="{A714090B-80AA-477A-A9E9-66AE0150D589}"/>
              </a:ext>
            </a:extLst>
          </p:cNvPr>
          <p:cNvSpPr>
            <a:spLocks/>
          </p:cNvSpPr>
          <p:nvPr/>
        </p:nvSpPr>
        <p:spPr bwMode="auto">
          <a:xfrm>
            <a:off x="7175837" y="988220"/>
            <a:ext cx="3593009" cy="1604962"/>
          </a:xfrm>
          <a:custGeom>
            <a:avLst/>
            <a:gdLst>
              <a:gd name="T0" fmla="*/ 89 w 1482"/>
              <a:gd name="T1" fmla="*/ 429 h 660"/>
              <a:gd name="T2" fmla="*/ 311 w 1482"/>
              <a:gd name="T3" fmla="*/ 501 h 660"/>
              <a:gd name="T4" fmla="*/ 382 w 1482"/>
              <a:gd name="T5" fmla="*/ 596 h 660"/>
              <a:gd name="T6" fmla="*/ 396 w 1482"/>
              <a:gd name="T7" fmla="*/ 517 h 660"/>
              <a:gd name="T8" fmla="*/ 627 w 1482"/>
              <a:gd name="T9" fmla="*/ 539 h 660"/>
              <a:gd name="T10" fmla="*/ 677 w 1482"/>
              <a:gd name="T11" fmla="*/ 589 h 660"/>
              <a:gd name="T12" fmla="*/ 702 w 1482"/>
              <a:gd name="T13" fmla="*/ 578 h 660"/>
              <a:gd name="T14" fmla="*/ 784 w 1482"/>
              <a:gd name="T15" fmla="*/ 651 h 660"/>
              <a:gd name="T16" fmla="*/ 783 w 1482"/>
              <a:gd name="T17" fmla="*/ 576 h 660"/>
              <a:gd name="T18" fmla="*/ 769 w 1482"/>
              <a:gd name="T19" fmla="*/ 522 h 660"/>
              <a:gd name="T20" fmla="*/ 919 w 1482"/>
              <a:gd name="T21" fmla="*/ 500 h 660"/>
              <a:gd name="T22" fmla="*/ 1115 w 1482"/>
              <a:gd name="T23" fmla="*/ 603 h 660"/>
              <a:gd name="T24" fmla="*/ 1165 w 1482"/>
              <a:gd name="T25" fmla="*/ 484 h 660"/>
              <a:gd name="T26" fmla="*/ 1155 w 1482"/>
              <a:gd name="T27" fmla="*/ 450 h 660"/>
              <a:gd name="T28" fmla="*/ 1126 w 1482"/>
              <a:gd name="T29" fmla="*/ 436 h 660"/>
              <a:gd name="T30" fmla="*/ 1217 w 1482"/>
              <a:gd name="T31" fmla="*/ 423 h 660"/>
              <a:gd name="T32" fmla="*/ 1480 w 1482"/>
              <a:gd name="T33" fmla="*/ 494 h 660"/>
              <a:gd name="T34" fmla="*/ 1471 w 1482"/>
              <a:gd name="T35" fmla="*/ 432 h 660"/>
              <a:gd name="T36" fmla="*/ 1454 w 1482"/>
              <a:gd name="T37" fmla="*/ 371 h 660"/>
              <a:gd name="T38" fmla="*/ 1464 w 1482"/>
              <a:gd name="T39" fmla="*/ 278 h 660"/>
              <a:gd name="T40" fmla="*/ 1467 w 1482"/>
              <a:gd name="T41" fmla="*/ 231 h 660"/>
              <a:gd name="T42" fmla="*/ 1454 w 1482"/>
              <a:gd name="T43" fmla="*/ 158 h 660"/>
              <a:gd name="T44" fmla="*/ 1305 w 1482"/>
              <a:gd name="T45" fmla="*/ 230 h 660"/>
              <a:gd name="T46" fmla="*/ 1159 w 1482"/>
              <a:gd name="T47" fmla="*/ 267 h 660"/>
              <a:gd name="T48" fmla="*/ 1145 w 1482"/>
              <a:gd name="T49" fmla="*/ 262 h 660"/>
              <a:gd name="T50" fmla="*/ 1179 w 1482"/>
              <a:gd name="T51" fmla="*/ 245 h 660"/>
              <a:gd name="T52" fmla="*/ 1136 w 1482"/>
              <a:gd name="T53" fmla="*/ 226 h 660"/>
              <a:gd name="T54" fmla="*/ 1027 w 1482"/>
              <a:gd name="T55" fmla="*/ 237 h 660"/>
              <a:gd name="T56" fmla="*/ 801 w 1482"/>
              <a:gd name="T57" fmla="*/ 192 h 660"/>
              <a:gd name="T58" fmla="*/ 839 w 1482"/>
              <a:gd name="T59" fmla="*/ 143 h 660"/>
              <a:gd name="T60" fmla="*/ 801 w 1482"/>
              <a:gd name="T61" fmla="*/ 105 h 660"/>
              <a:gd name="T62" fmla="*/ 800 w 1482"/>
              <a:gd name="T63" fmla="*/ 95 h 660"/>
              <a:gd name="T64" fmla="*/ 740 w 1482"/>
              <a:gd name="T65" fmla="*/ 29 h 660"/>
              <a:gd name="T66" fmla="*/ 742 w 1482"/>
              <a:gd name="T67" fmla="*/ 4 h 660"/>
              <a:gd name="T68" fmla="*/ 665 w 1482"/>
              <a:gd name="T69" fmla="*/ 59 h 660"/>
              <a:gd name="T70" fmla="*/ 547 w 1482"/>
              <a:gd name="T71" fmla="*/ 161 h 660"/>
              <a:gd name="T72" fmla="*/ 236 w 1482"/>
              <a:gd name="T73" fmla="*/ 208 h 660"/>
              <a:gd name="T74" fmla="*/ 16 w 1482"/>
              <a:gd name="T75" fmla="*/ 312 h 660"/>
              <a:gd name="T76" fmla="*/ 38 w 1482"/>
              <a:gd name="T77" fmla="*/ 365 h 660"/>
              <a:gd name="T78" fmla="*/ 4 w 1482"/>
              <a:gd name="T79" fmla="*/ 370 h 6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82" h="660">
                <a:moveTo>
                  <a:pt x="4" y="378"/>
                </a:moveTo>
                <a:cubicBezTo>
                  <a:pt x="27" y="408"/>
                  <a:pt x="58" y="420"/>
                  <a:pt x="89" y="429"/>
                </a:cubicBezTo>
                <a:cubicBezTo>
                  <a:pt x="158" y="449"/>
                  <a:pt x="227" y="469"/>
                  <a:pt x="296" y="489"/>
                </a:cubicBezTo>
                <a:cubicBezTo>
                  <a:pt x="302" y="491"/>
                  <a:pt x="307" y="495"/>
                  <a:pt x="311" y="501"/>
                </a:cubicBezTo>
                <a:cubicBezTo>
                  <a:pt x="330" y="529"/>
                  <a:pt x="348" y="558"/>
                  <a:pt x="366" y="586"/>
                </a:cubicBezTo>
                <a:cubicBezTo>
                  <a:pt x="370" y="591"/>
                  <a:pt x="379" y="598"/>
                  <a:pt x="382" y="596"/>
                </a:cubicBezTo>
                <a:cubicBezTo>
                  <a:pt x="388" y="592"/>
                  <a:pt x="392" y="583"/>
                  <a:pt x="393" y="575"/>
                </a:cubicBezTo>
                <a:cubicBezTo>
                  <a:pt x="395" y="556"/>
                  <a:pt x="395" y="537"/>
                  <a:pt x="396" y="517"/>
                </a:cubicBezTo>
                <a:cubicBezTo>
                  <a:pt x="415" y="521"/>
                  <a:pt x="434" y="524"/>
                  <a:pt x="454" y="527"/>
                </a:cubicBezTo>
                <a:cubicBezTo>
                  <a:pt x="511" y="537"/>
                  <a:pt x="569" y="544"/>
                  <a:pt x="627" y="539"/>
                </a:cubicBezTo>
                <a:cubicBezTo>
                  <a:pt x="644" y="538"/>
                  <a:pt x="652" y="541"/>
                  <a:pt x="659" y="559"/>
                </a:cubicBezTo>
                <a:cubicBezTo>
                  <a:pt x="663" y="570"/>
                  <a:pt x="671" y="579"/>
                  <a:pt x="677" y="589"/>
                </a:cubicBezTo>
                <a:cubicBezTo>
                  <a:pt x="685" y="601"/>
                  <a:pt x="690" y="601"/>
                  <a:pt x="697" y="587"/>
                </a:cubicBezTo>
                <a:cubicBezTo>
                  <a:pt x="698" y="584"/>
                  <a:pt x="700" y="581"/>
                  <a:pt x="702" y="578"/>
                </a:cubicBezTo>
                <a:cubicBezTo>
                  <a:pt x="722" y="600"/>
                  <a:pt x="741" y="621"/>
                  <a:pt x="761" y="642"/>
                </a:cubicBezTo>
                <a:cubicBezTo>
                  <a:pt x="767" y="648"/>
                  <a:pt x="774" y="660"/>
                  <a:pt x="784" y="651"/>
                </a:cubicBezTo>
                <a:cubicBezTo>
                  <a:pt x="794" y="643"/>
                  <a:pt x="791" y="629"/>
                  <a:pt x="790" y="617"/>
                </a:cubicBezTo>
                <a:cubicBezTo>
                  <a:pt x="789" y="603"/>
                  <a:pt x="788" y="588"/>
                  <a:pt x="783" y="576"/>
                </a:cubicBezTo>
                <a:cubicBezTo>
                  <a:pt x="777" y="563"/>
                  <a:pt x="779" y="550"/>
                  <a:pt x="777" y="538"/>
                </a:cubicBezTo>
                <a:cubicBezTo>
                  <a:pt x="776" y="532"/>
                  <a:pt x="772" y="528"/>
                  <a:pt x="769" y="522"/>
                </a:cubicBezTo>
                <a:cubicBezTo>
                  <a:pt x="792" y="518"/>
                  <a:pt x="815" y="514"/>
                  <a:pt x="839" y="510"/>
                </a:cubicBezTo>
                <a:cubicBezTo>
                  <a:pt x="866" y="507"/>
                  <a:pt x="892" y="504"/>
                  <a:pt x="919" y="500"/>
                </a:cubicBezTo>
                <a:cubicBezTo>
                  <a:pt x="946" y="497"/>
                  <a:pt x="967" y="510"/>
                  <a:pt x="990" y="525"/>
                </a:cubicBezTo>
                <a:cubicBezTo>
                  <a:pt x="1031" y="552"/>
                  <a:pt x="1073" y="578"/>
                  <a:pt x="1115" y="603"/>
                </a:cubicBezTo>
                <a:cubicBezTo>
                  <a:pt x="1133" y="614"/>
                  <a:pt x="1144" y="607"/>
                  <a:pt x="1149" y="584"/>
                </a:cubicBezTo>
                <a:cubicBezTo>
                  <a:pt x="1156" y="551"/>
                  <a:pt x="1167" y="520"/>
                  <a:pt x="1165" y="484"/>
                </a:cubicBezTo>
                <a:cubicBezTo>
                  <a:pt x="1164" y="476"/>
                  <a:pt x="1166" y="467"/>
                  <a:pt x="1164" y="459"/>
                </a:cubicBezTo>
                <a:cubicBezTo>
                  <a:pt x="1164" y="455"/>
                  <a:pt x="1158" y="451"/>
                  <a:pt x="1155" y="450"/>
                </a:cubicBezTo>
                <a:cubicBezTo>
                  <a:pt x="1145" y="447"/>
                  <a:pt x="1135" y="445"/>
                  <a:pt x="1126" y="442"/>
                </a:cubicBezTo>
                <a:cubicBezTo>
                  <a:pt x="1126" y="440"/>
                  <a:pt x="1126" y="438"/>
                  <a:pt x="1126" y="436"/>
                </a:cubicBezTo>
                <a:cubicBezTo>
                  <a:pt x="1143" y="432"/>
                  <a:pt x="1160" y="427"/>
                  <a:pt x="1177" y="424"/>
                </a:cubicBezTo>
                <a:cubicBezTo>
                  <a:pt x="1190" y="422"/>
                  <a:pt x="1204" y="423"/>
                  <a:pt x="1217" y="423"/>
                </a:cubicBezTo>
                <a:cubicBezTo>
                  <a:pt x="1257" y="424"/>
                  <a:pt x="1294" y="444"/>
                  <a:pt x="1331" y="460"/>
                </a:cubicBezTo>
                <a:cubicBezTo>
                  <a:pt x="1380" y="480"/>
                  <a:pt x="1429" y="494"/>
                  <a:pt x="1480" y="494"/>
                </a:cubicBezTo>
                <a:cubicBezTo>
                  <a:pt x="1481" y="494"/>
                  <a:pt x="1482" y="494"/>
                  <a:pt x="1482" y="494"/>
                </a:cubicBezTo>
                <a:cubicBezTo>
                  <a:pt x="1479" y="473"/>
                  <a:pt x="1475" y="452"/>
                  <a:pt x="1471" y="432"/>
                </a:cubicBezTo>
                <a:cubicBezTo>
                  <a:pt x="1468" y="418"/>
                  <a:pt x="1465" y="403"/>
                  <a:pt x="1447" y="403"/>
                </a:cubicBezTo>
                <a:cubicBezTo>
                  <a:pt x="1462" y="393"/>
                  <a:pt x="1456" y="382"/>
                  <a:pt x="1454" y="371"/>
                </a:cubicBezTo>
                <a:cubicBezTo>
                  <a:pt x="1451" y="353"/>
                  <a:pt x="1448" y="335"/>
                  <a:pt x="1449" y="318"/>
                </a:cubicBezTo>
                <a:cubicBezTo>
                  <a:pt x="1451" y="304"/>
                  <a:pt x="1459" y="291"/>
                  <a:pt x="1464" y="278"/>
                </a:cubicBezTo>
                <a:cubicBezTo>
                  <a:pt x="1468" y="269"/>
                  <a:pt x="1469" y="260"/>
                  <a:pt x="1462" y="256"/>
                </a:cubicBezTo>
                <a:cubicBezTo>
                  <a:pt x="1464" y="247"/>
                  <a:pt x="1467" y="239"/>
                  <a:pt x="1467" y="231"/>
                </a:cubicBezTo>
                <a:cubicBezTo>
                  <a:pt x="1468" y="211"/>
                  <a:pt x="1467" y="192"/>
                  <a:pt x="1467" y="173"/>
                </a:cubicBezTo>
                <a:cubicBezTo>
                  <a:pt x="1467" y="161"/>
                  <a:pt x="1463" y="157"/>
                  <a:pt x="1454" y="158"/>
                </a:cubicBezTo>
                <a:cubicBezTo>
                  <a:pt x="1414" y="163"/>
                  <a:pt x="1377" y="180"/>
                  <a:pt x="1342" y="203"/>
                </a:cubicBezTo>
                <a:cubicBezTo>
                  <a:pt x="1329" y="211"/>
                  <a:pt x="1316" y="219"/>
                  <a:pt x="1305" y="230"/>
                </a:cubicBezTo>
                <a:cubicBezTo>
                  <a:pt x="1266" y="266"/>
                  <a:pt x="1221" y="273"/>
                  <a:pt x="1174" y="268"/>
                </a:cubicBezTo>
                <a:cubicBezTo>
                  <a:pt x="1169" y="268"/>
                  <a:pt x="1164" y="268"/>
                  <a:pt x="1159" y="267"/>
                </a:cubicBezTo>
                <a:cubicBezTo>
                  <a:pt x="1154" y="267"/>
                  <a:pt x="1150" y="266"/>
                  <a:pt x="1145" y="266"/>
                </a:cubicBezTo>
                <a:cubicBezTo>
                  <a:pt x="1145" y="265"/>
                  <a:pt x="1145" y="263"/>
                  <a:pt x="1145" y="262"/>
                </a:cubicBezTo>
                <a:cubicBezTo>
                  <a:pt x="1153" y="259"/>
                  <a:pt x="1161" y="257"/>
                  <a:pt x="1169" y="253"/>
                </a:cubicBezTo>
                <a:cubicBezTo>
                  <a:pt x="1173" y="252"/>
                  <a:pt x="1179" y="247"/>
                  <a:pt x="1179" y="245"/>
                </a:cubicBezTo>
                <a:cubicBezTo>
                  <a:pt x="1177" y="240"/>
                  <a:pt x="1174" y="232"/>
                  <a:pt x="1171" y="231"/>
                </a:cubicBezTo>
                <a:cubicBezTo>
                  <a:pt x="1160" y="228"/>
                  <a:pt x="1148" y="227"/>
                  <a:pt x="1136" y="226"/>
                </a:cubicBezTo>
                <a:cubicBezTo>
                  <a:pt x="1132" y="226"/>
                  <a:pt x="1128" y="228"/>
                  <a:pt x="1124" y="230"/>
                </a:cubicBezTo>
                <a:cubicBezTo>
                  <a:pt x="1092" y="250"/>
                  <a:pt x="1060" y="244"/>
                  <a:pt x="1027" y="237"/>
                </a:cubicBezTo>
                <a:cubicBezTo>
                  <a:pt x="967" y="225"/>
                  <a:pt x="906" y="216"/>
                  <a:pt x="846" y="205"/>
                </a:cubicBezTo>
                <a:cubicBezTo>
                  <a:pt x="831" y="202"/>
                  <a:pt x="816" y="198"/>
                  <a:pt x="801" y="192"/>
                </a:cubicBezTo>
                <a:cubicBezTo>
                  <a:pt x="820" y="186"/>
                  <a:pt x="838" y="179"/>
                  <a:pt x="857" y="173"/>
                </a:cubicBezTo>
                <a:cubicBezTo>
                  <a:pt x="856" y="157"/>
                  <a:pt x="847" y="151"/>
                  <a:pt x="839" y="143"/>
                </a:cubicBezTo>
                <a:cubicBezTo>
                  <a:pt x="829" y="133"/>
                  <a:pt x="820" y="121"/>
                  <a:pt x="812" y="109"/>
                </a:cubicBezTo>
                <a:cubicBezTo>
                  <a:pt x="808" y="103"/>
                  <a:pt x="806" y="101"/>
                  <a:pt x="801" y="105"/>
                </a:cubicBezTo>
                <a:cubicBezTo>
                  <a:pt x="798" y="107"/>
                  <a:pt x="794" y="107"/>
                  <a:pt x="790" y="106"/>
                </a:cubicBezTo>
                <a:cubicBezTo>
                  <a:pt x="793" y="102"/>
                  <a:pt x="796" y="99"/>
                  <a:pt x="800" y="95"/>
                </a:cubicBezTo>
                <a:cubicBezTo>
                  <a:pt x="784" y="71"/>
                  <a:pt x="768" y="48"/>
                  <a:pt x="752" y="24"/>
                </a:cubicBezTo>
                <a:cubicBezTo>
                  <a:pt x="748" y="25"/>
                  <a:pt x="745" y="27"/>
                  <a:pt x="740" y="29"/>
                </a:cubicBezTo>
                <a:cubicBezTo>
                  <a:pt x="740" y="25"/>
                  <a:pt x="741" y="22"/>
                  <a:pt x="741" y="20"/>
                </a:cubicBezTo>
                <a:cubicBezTo>
                  <a:pt x="742" y="14"/>
                  <a:pt x="743" y="5"/>
                  <a:pt x="742" y="4"/>
                </a:cubicBezTo>
                <a:cubicBezTo>
                  <a:pt x="738" y="2"/>
                  <a:pt x="731" y="0"/>
                  <a:pt x="727" y="3"/>
                </a:cubicBezTo>
                <a:cubicBezTo>
                  <a:pt x="706" y="21"/>
                  <a:pt x="685" y="39"/>
                  <a:pt x="665" y="59"/>
                </a:cubicBezTo>
                <a:cubicBezTo>
                  <a:pt x="638" y="88"/>
                  <a:pt x="611" y="117"/>
                  <a:pt x="586" y="149"/>
                </a:cubicBezTo>
                <a:cubicBezTo>
                  <a:pt x="574" y="165"/>
                  <a:pt x="560" y="159"/>
                  <a:pt x="547" y="161"/>
                </a:cubicBezTo>
                <a:cubicBezTo>
                  <a:pt x="530" y="165"/>
                  <a:pt x="511" y="164"/>
                  <a:pt x="493" y="164"/>
                </a:cubicBezTo>
                <a:cubicBezTo>
                  <a:pt x="406" y="165"/>
                  <a:pt x="321" y="183"/>
                  <a:pt x="236" y="208"/>
                </a:cubicBezTo>
                <a:cubicBezTo>
                  <a:pt x="180" y="224"/>
                  <a:pt x="125" y="241"/>
                  <a:pt x="73" y="268"/>
                </a:cubicBezTo>
                <a:cubicBezTo>
                  <a:pt x="52" y="279"/>
                  <a:pt x="33" y="295"/>
                  <a:pt x="16" y="312"/>
                </a:cubicBezTo>
                <a:cubicBezTo>
                  <a:pt x="0" y="327"/>
                  <a:pt x="2" y="341"/>
                  <a:pt x="20" y="352"/>
                </a:cubicBezTo>
                <a:cubicBezTo>
                  <a:pt x="26" y="355"/>
                  <a:pt x="32" y="358"/>
                  <a:pt x="38" y="365"/>
                </a:cubicBezTo>
                <a:cubicBezTo>
                  <a:pt x="32" y="365"/>
                  <a:pt x="27" y="364"/>
                  <a:pt x="21" y="365"/>
                </a:cubicBezTo>
                <a:cubicBezTo>
                  <a:pt x="15" y="366"/>
                  <a:pt x="10" y="368"/>
                  <a:pt x="4" y="370"/>
                </a:cubicBezTo>
                <a:cubicBezTo>
                  <a:pt x="4" y="373"/>
                  <a:pt x="4" y="375"/>
                  <a:pt x="4" y="378"/>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cs typeface="+mn-cs"/>
            </a:endParaRPr>
          </a:p>
        </p:txBody>
      </p:sp>
      <p:sp>
        <p:nvSpPr>
          <p:cNvPr id="17" name="Freeform 17">
            <a:extLst>
              <a:ext uri="{FF2B5EF4-FFF2-40B4-BE49-F238E27FC236}">
                <a16:creationId xmlns:a16="http://schemas.microsoft.com/office/drawing/2014/main" id="{E12B012A-1FC8-4D1B-8DDD-EDFE95B2B26A}"/>
              </a:ext>
            </a:extLst>
          </p:cNvPr>
          <p:cNvSpPr>
            <a:spLocks/>
          </p:cNvSpPr>
          <p:nvPr/>
        </p:nvSpPr>
        <p:spPr bwMode="auto">
          <a:xfrm>
            <a:off x="4244976" y="2688034"/>
            <a:ext cx="3340207" cy="1481931"/>
          </a:xfrm>
          <a:custGeom>
            <a:avLst/>
            <a:gdLst>
              <a:gd name="T0" fmla="*/ 651 w 1066"/>
              <a:gd name="T1" fmla="*/ 259 h 471"/>
              <a:gd name="T2" fmla="*/ 671 w 1066"/>
              <a:gd name="T3" fmla="*/ 269 h 471"/>
              <a:gd name="T4" fmla="*/ 677 w 1066"/>
              <a:gd name="T5" fmla="*/ 290 h 471"/>
              <a:gd name="T6" fmla="*/ 640 w 1066"/>
              <a:gd name="T7" fmla="*/ 353 h 471"/>
              <a:gd name="T8" fmla="*/ 595 w 1066"/>
              <a:gd name="T9" fmla="*/ 354 h 471"/>
              <a:gd name="T10" fmla="*/ 569 w 1066"/>
              <a:gd name="T11" fmla="*/ 324 h 471"/>
              <a:gd name="T12" fmla="*/ 531 w 1066"/>
              <a:gd name="T13" fmla="*/ 334 h 471"/>
              <a:gd name="T14" fmla="*/ 503 w 1066"/>
              <a:gd name="T15" fmla="*/ 340 h 471"/>
              <a:gd name="T16" fmla="*/ 504 w 1066"/>
              <a:gd name="T17" fmla="*/ 343 h 471"/>
              <a:gd name="T18" fmla="*/ 501 w 1066"/>
              <a:gd name="T19" fmla="*/ 388 h 471"/>
              <a:gd name="T20" fmla="*/ 446 w 1066"/>
              <a:gd name="T21" fmla="*/ 445 h 471"/>
              <a:gd name="T22" fmla="*/ 412 w 1066"/>
              <a:gd name="T23" fmla="*/ 452 h 471"/>
              <a:gd name="T24" fmla="*/ 403 w 1066"/>
              <a:gd name="T25" fmla="*/ 455 h 471"/>
              <a:gd name="T26" fmla="*/ 354 w 1066"/>
              <a:gd name="T27" fmla="*/ 443 h 471"/>
              <a:gd name="T28" fmla="*/ 324 w 1066"/>
              <a:gd name="T29" fmla="*/ 372 h 471"/>
              <a:gd name="T30" fmla="*/ 310 w 1066"/>
              <a:gd name="T31" fmla="*/ 360 h 471"/>
              <a:gd name="T32" fmla="*/ 21 w 1066"/>
              <a:gd name="T33" fmla="*/ 261 h 471"/>
              <a:gd name="T34" fmla="*/ 0 w 1066"/>
              <a:gd name="T35" fmla="*/ 247 h 471"/>
              <a:gd name="T36" fmla="*/ 12 w 1066"/>
              <a:gd name="T37" fmla="*/ 242 h 471"/>
              <a:gd name="T38" fmla="*/ 10 w 1066"/>
              <a:gd name="T39" fmla="*/ 224 h 471"/>
              <a:gd name="T40" fmla="*/ 110 w 1066"/>
              <a:gd name="T41" fmla="*/ 140 h 471"/>
              <a:gd name="T42" fmla="*/ 282 w 1066"/>
              <a:gd name="T43" fmla="*/ 81 h 471"/>
              <a:gd name="T44" fmla="*/ 298 w 1066"/>
              <a:gd name="T45" fmla="*/ 69 h 471"/>
              <a:gd name="T46" fmla="*/ 312 w 1066"/>
              <a:gd name="T47" fmla="*/ 28 h 471"/>
              <a:gd name="T48" fmla="*/ 359 w 1066"/>
              <a:gd name="T49" fmla="*/ 1 h 471"/>
              <a:gd name="T50" fmla="*/ 580 w 1066"/>
              <a:gd name="T51" fmla="*/ 47 h 471"/>
              <a:gd name="T52" fmla="*/ 603 w 1066"/>
              <a:gd name="T53" fmla="*/ 54 h 471"/>
              <a:gd name="T54" fmla="*/ 607 w 1066"/>
              <a:gd name="T55" fmla="*/ 74 h 471"/>
              <a:gd name="T56" fmla="*/ 563 w 1066"/>
              <a:gd name="T57" fmla="*/ 95 h 471"/>
              <a:gd name="T58" fmla="*/ 531 w 1066"/>
              <a:gd name="T59" fmla="*/ 103 h 471"/>
              <a:gd name="T60" fmla="*/ 598 w 1066"/>
              <a:gd name="T61" fmla="*/ 121 h 471"/>
              <a:gd name="T62" fmla="*/ 713 w 1066"/>
              <a:gd name="T63" fmla="*/ 149 h 471"/>
              <a:gd name="T64" fmla="*/ 811 w 1066"/>
              <a:gd name="T65" fmla="*/ 140 h 471"/>
              <a:gd name="T66" fmla="*/ 1020 w 1066"/>
              <a:gd name="T67" fmla="*/ 65 h 471"/>
              <a:gd name="T68" fmla="*/ 1046 w 1066"/>
              <a:gd name="T69" fmla="*/ 62 h 471"/>
              <a:gd name="T70" fmla="*/ 1060 w 1066"/>
              <a:gd name="T71" fmla="*/ 84 h 471"/>
              <a:gd name="T72" fmla="*/ 1041 w 1066"/>
              <a:gd name="T73" fmla="*/ 112 h 471"/>
              <a:gd name="T74" fmla="*/ 982 w 1066"/>
              <a:gd name="T75" fmla="*/ 160 h 471"/>
              <a:gd name="T76" fmla="*/ 975 w 1066"/>
              <a:gd name="T77" fmla="*/ 167 h 471"/>
              <a:gd name="T78" fmla="*/ 976 w 1066"/>
              <a:gd name="T79" fmla="*/ 267 h 471"/>
              <a:gd name="T80" fmla="*/ 998 w 1066"/>
              <a:gd name="T81" fmla="*/ 304 h 471"/>
              <a:gd name="T82" fmla="*/ 981 w 1066"/>
              <a:gd name="T83" fmla="*/ 332 h 471"/>
              <a:gd name="T84" fmla="*/ 910 w 1066"/>
              <a:gd name="T85" fmla="*/ 309 h 471"/>
              <a:gd name="T86" fmla="*/ 826 w 1066"/>
              <a:gd name="T87" fmla="*/ 259 h 471"/>
              <a:gd name="T88" fmla="*/ 659 w 1066"/>
              <a:gd name="T89" fmla="*/ 255 h 471"/>
              <a:gd name="T90" fmla="*/ 651 w 1066"/>
              <a:gd name="T91" fmla="*/ 259 h 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066" h="471">
                <a:moveTo>
                  <a:pt x="651" y="259"/>
                </a:moveTo>
                <a:cubicBezTo>
                  <a:pt x="658" y="262"/>
                  <a:pt x="665" y="265"/>
                  <a:pt x="671" y="269"/>
                </a:cubicBezTo>
                <a:cubicBezTo>
                  <a:pt x="679" y="274"/>
                  <a:pt x="682" y="281"/>
                  <a:pt x="677" y="290"/>
                </a:cubicBezTo>
                <a:cubicBezTo>
                  <a:pt x="665" y="311"/>
                  <a:pt x="653" y="333"/>
                  <a:pt x="640" y="353"/>
                </a:cubicBezTo>
                <a:cubicBezTo>
                  <a:pt x="626" y="374"/>
                  <a:pt x="611" y="374"/>
                  <a:pt x="595" y="354"/>
                </a:cubicBezTo>
                <a:cubicBezTo>
                  <a:pt x="587" y="344"/>
                  <a:pt x="580" y="328"/>
                  <a:pt x="569" y="324"/>
                </a:cubicBezTo>
                <a:cubicBezTo>
                  <a:pt x="559" y="321"/>
                  <a:pt x="544" y="330"/>
                  <a:pt x="531" y="334"/>
                </a:cubicBezTo>
                <a:cubicBezTo>
                  <a:pt x="522" y="336"/>
                  <a:pt x="513" y="338"/>
                  <a:pt x="503" y="340"/>
                </a:cubicBezTo>
                <a:cubicBezTo>
                  <a:pt x="504" y="341"/>
                  <a:pt x="503" y="342"/>
                  <a:pt x="504" y="343"/>
                </a:cubicBezTo>
                <a:cubicBezTo>
                  <a:pt x="521" y="367"/>
                  <a:pt x="520" y="366"/>
                  <a:pt x="501" y="388"/>
                </a:cubicBezTo>
                <a:cubicBezTo>
                  <a:pt x="484" y="408"/>
                  <a:pt x="465" y="426"/>
                  <a:pt x="446" y="445"/>
                </a:cubicBezTo>
                <a:cubicBezTo>
                  <a:pt x="437" y="453"/>
                  <a:pt x="425" y="458"/>
                  <a:pt x="412" y="452"/>
                </a:cubicBezTo>
                <a:cubicBezTo>
                  <a:pt x="410" y="451"/>
                  <a:pt x="405" y="453"/>
                  <a:pt x="403" y="455"/>
                </a:cubicBezTo>
                <a:cubicBezTo>
                  <a:pt x="379" y="471"/>
                  <a:pt x="367" y="469"/>
                  <a:pt x="354" y="443"/>
                </a:cubicBezTo>
                <a:cubicBezTo>
                  <a:pt x="343" y="420"/>
                  <a:pt x="334" y="396"/>
                  <a:pt x="324" y="372"/>
                </a:cubicBezTo>
                <a:cubicBezTo>
                  <a:pt x="321" y="365"/>
                  <a:pt x="318" y="362"/>
                  <a:pt x="310" y="360"/>
                </a:cubicBezTo>
                <a:cubicBezTo>
                  <a:pt x="208" y="343"/>
                  <a:pt x="112" y="311"/>
                  <a:pt x="21" y="261"/>
                </a:cubicBezTo>
                <a:cubicBezTo>
                  <a:pt x="14" y="258"/>
                  <a:pt x="8" y="253"/>
                  <a:pt x="0" y="247"/>
                </a:cubicBezTo>
                <a:cubicBezTo>
                  <a:pt x="6" y="245"/>
                  <a:pt x="9" y="244"/>
                  <a:pt x="12" y="242"/>
                </a:cubicBezTo>
                <a:cubicBezTo>
                  <a:pt x="1" y="235"/>
                  <a:pt x="0" y="233"/>
                  <a:pt x="10" y="224"/>
                </a:cubicBezTo>
                <a:cubicBezTo>
                  <a:pt x="43" y="196"/>
                  <a:pt x="76" y="167"/>
                  <a:pt x="110" y="140"/>
                </a:cubicBezTo>
                <a:cubicBezTo>
                  <a:pt x="160" y="101"/>
                  <a:pt x="219" y="85"/>
                  <a:pt x="282" y="81"/>
                </a:cubicBezTo>
                <a:cubicBezTo>
                  <a:pt x="291" y="80"/>
                  <a:pt x="295" y="77"/>
                  <a:pt x="298" y="69"/>
                </a:cubicBezTo>
                <a:cubicBezTo>
                  <a:pt x="302" y="55"/>
                  <a:pt x="306" y="41"/>
                  <a:pt x="312" y="28"/>
                </a:cubicBezTo>
                <a:cubicBezTo>
                  <a:pt x="321" y="9"/>
                  <a:pt x="338" y="1"/>
                  <a:pt x="359" y="1"/>
                </a:cubicBezTo>
                <a:cubicBezTo>
                  <a:pt x="437" y="0"/>
                  <a:pt x="509" y="22"/>
                  <a:pt x="580" y="47"/>
                </a:cubicBezTo>
                <a:cubicBezTo>
                  <a:pt x="588" y="49"/>
                  <a:pt x="596" y="51"/>
                  <a:pt x="603" y="54"/>
                </a:cubicBezTo>
                <a:cubicBezTo>
                  <a:pt x="616" y="58"/>
                  <a:pt x="619" y="66"/>
                  <a:pt x="607" y="74"/>
                </a:cubicBezTo>
                <a:cubicBezTo>
                  <a:pt x="594" y="83"/>
                  <a:pt x="578" y="89"/>
                  <a:pt x="563" y="95"/>
                </a:cubicBezTo>
                <a:cubicBezTo>
                  <a:pt x="554" y="98"/>
                  <a:pt x="544" y="100"/>
                  <a:pt x="531" y="103"/>
                </a:cubicBezTo>
                <a:cubicBezTo>
                  <a:pt x="556" y="110"/>
                  <a:pt x="577" y="116"/>
                  <a:pt x="598" y="121"/>
                </a:cubicBezTo>
                <a:cubicBezTo>
                  <a:pt x="636" y="131"/>
                  <a:pt x="674" y="140"/>
                  <a:pt x="713" y="149"/>
                </a:cubicBezTo>
                <a:cubicBezTo>
                  <a:pt x="746" y="157"/>
                  <a:pt x="778" y="156"/>
                  <a:pt x="811" y="140"/>
                </a:cubicBezTo>
                <a:cubicBezTo>
                  <a:pt x="878" y="109"/>
                  <a:pt x="948" y="84"/>
                  <a:pt x="1020" y="65"/>
                </a:cubicBezTo>
                <a:cubicBezTo>
                  <a:pt x="1028" y="63"/>
                  <a:pt x="1037" y="62"/>
                  <a:pt x="1046" y="62"/>
                </a:cubicBezTo>
                <a:cubicBezTo>
                  <a:pt x="1060" y="62"/>
                  <a:pt x="1066" y="71"/>
                  <a:pt x="1060" y="84"/>
                </a:cubicBezTo>
                <a:cubicBezTo>
                  <a:pt x="1056" y="94"/>
                  <a:pt x="1049" y="104"/>
                  <a:pt x="1041" y="112"/>
                </a:cubicBezTo>
                <a:cubicBezTo>
                  <a:pt x="1022" y="129"/>
                  <a:pt x="1002" y="144"/>
                  <a:pt x="982" y="160"/>
                </a:cubicBezTo>
                <a:cubicBezTo>
                  <a:pt x="980" y="162"/>
                  <a:pt x="977" y="164"/>
                  <a:pt x="975" y="167"/>
                </a:cubicBezTo>
                <a:cubicBezTo>
                  <a:pt x="957" y="187"/>
                  <a:pt x="958" y="246"/>
                  <a:pt x="976" y="267"/>
                </a:cubicBezTo>
                <a:cubicBezTo>
                  <a:pt x="985" y="278"/>
                  <a:pt x="993" y="291"/>
                  <a:pt x="998" y="304"/>
                </a:cubicBezTo>
                <a:cubicBezTo>
                  <a:pt x="1005" y="321"/>
                  <a:pt x="998" y="329"/>
                  <a:pt x="981" y="332"/>
                </a:cubicBezTo>
                <a:cubicBezTo>
                  <a:pt x="953" y="336"/>
                  <a:pt x="931" y="326"/>
                  <a:pt x="910" y="309"/>
                </a:cubicBezTo>
                <a:cubicBezTo>
                  <a:pt x="885" y="288"/>
                  <a:pt x="857" y="271"/>
                  <a:pt x="826" y="259"/>
                </a:cubicBezTo>
                <a:cubicBezTo>
                  <a:pt x="770" y="237"/>
                  <a:pt x="715" y="234"/>
                  <a:pt x="659" y="255"/>
                </a:cubicBezTo>
                <a:cubicBezTo>
                  <a:pt x="656" y="256"/>
                  <a:pt x="654" y="258"/>
                  <a:pt x="651" y="259"/>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cs typeface="+mn-cs"/>
            </a:endParaRPr>
          </a:p>
        </p:txBody>
      </p:sp>
      <p:sp>
        <p:nvSpPr>
          <p:cNvPr id="21" name="Freeform 21">
            <a:extLst>
              <a:ext uri="{FF2B5EF4-FFF2-40B4-BE49-F238E27FC236}">
                <a16:creationId xmlns:a16="http://schemas.microsoft.com/office/drawing/2014/main" id="{FFF5BC4F-1586-4D07-8642-387010E64D7E}"/>
              </a:ext>
            </a:extLst>
          </p:cNvPr>
          <p:cNvSpPr>
            <a:spLocks/>
          </p:cNvSpPr>
          <p:nvPr/>
        </p:nvSpPr>
        <p:spPr bwMode="auto">
          <a:xfrm>
            <a:off x="6822033" y="4016686"/>
            <a:ext cx="4487316" cy="1630789"/>
          </a:xfrm>
          <a:custGeom>
            <a:avLst/>
            <a:gdLst>
              <a:gd name="T0" fmla="*/ 6 w 1269"/>
              <a:gd name="T1" fmla="*/ 288 h 459"/>
              <a:gd name="T2" fmla="*/ 0 w 1269"/>
              <a:gd name="T3" fmla="*/ 277 h 459"/>
              <a:gd name="T4" fmla="*/ 17 w 1269"/>
              <a:gd name="T5" fmla="*/ 239 h 459"/>
              <a:gd name="T6" fmla="*/ 114 w 1269"/>
              <a:gd name="T7" fmla="*/ 171 h 459"/>
              <a:gd name="T8" fmla="*/ 292 w 1269"/>
              <a:gd name="T9" fmla="*/ 113 h 459"/>
              <a:gd name="T10" fmla="*/ 479 w 1269"/>
              <a:gd name="T11" fmla="*/ 94 h 459"/>
              <a:gd name="T12" fmla="*/ 552 w 1269"/>
              <a:gd name="T13" fmla="*/ 69 h 459"/>
              <a:gd name="T14" fmla="*/ 648 w 1269"/>
              <a:gd name="T15" fmla="*/ 5 h 459"/>
              <a:gd name="T16" fmla="*/ 667 w 1269"/>
              <a:gd name="T17" fmla="*/ 3 h 459"/>
              <a:gd name="T18" fmla="*/ 673 w 1269"/>
              <a:gd name="T19" fmla="*/ 23 h 459"/>
              <a:gd name="T20" fmla="*/ 696 w 1269"/>
              <a:gd name="T21" fmla="*/ 104 h 459"/>
              <a:gd name="T22" fmla="*/ 705 w 1269"/>
              <a:gd name="T23" fmla="*/ 109 h 459"/>
              <a:gd name="T24" fmla="*/ 920 w 1269"/>
              <a:gd name="T25" fmla="*/ 153 h 459"/>
              <a:gd name="T26" fmla="*/ 1075 w 1269"/>
              <a:gd name="T27" fmla="*/ 184 h 459"/>
              <a:gd name="T28" fmla="*/ 1151 w 1269"/>
              <a:gd name="T29" fmla="*/ 176 h 459"/>
              <a:gd name="T30" fmla="*/ 1250 w 1269"/>
              <a:gd name="T31" fmla="*/ 132 h 459"/>
              <a:gd name="T32" fmla="*/ 1269 w 1269"/>
              <a:gd name="T33" fmla="*/ 129 h 459"/>
              <a:gd name="T34" fmla="*/ 1266 w 1269"/>
              <a:gd name="T35" fmla="*/ 145 h 459"/>
              <a:gd name="T36" fmla="*/ 1256 w 1269"/>
              <a:gd name="T37" fmla="*/ 165 h 459"/>
              <a:gd name="T38" fmla="*/ 1216 w 1269"/>
              <a:gd name="T39" fmla="*/ 281 h 459"/>
              <a:gd name="T40" fmla="*/ 1223 w 1269"/>
              <a:gd name="T41" fmla="*/ 380 h 459"/>
              <a:gd name="T42" fmla="*/ 1227 w 1269"/>
              <a:gd name="T43" fmla="*/ 413 h 459"/>
              <a:gd name="T44" fmla="*/ 1215 w 1269"/>
              <a:gd name="T45" fmla="*/ 425 h 459"/>
              <a:gd name="T46" fmla="*/ 1191 w 1269"/>
              <a:gd name="T47" fmla="*/ 417 h 459"/>
              <a:gd name="T48" fmla="*/ 1139 w 1269"/>
              <a:gd name="T49" fmla="*/ 376 h 459"/>
              <a:gd name="T50" fmla="*/ 1097 w 1269"/>
              <a:gd name="T51" fmla="*/ 339 h 459"/>
              <a:gd name="T52" fmla="*/ 1020 w 1269"/>
              <a:gd name="T53" fmla="*/ 322 h 459"/>
              <a:gd name="T54" fmla="*/ 953 w 1269"/>
              <a:gd name="T55" fmla="*/ 339 h 459"/>
              <a:gd name="T56" fmla="*/ 942 w 1269"/>
              <a:gd name="T57" fmla="*/ 349 h 459"/>
              <a:gd name="T58" fmla="*/ 929 w 1269"/>
              <a:gd name="T59" fmla="*/ 378 h 459"/>
              <a:gd name="T60" fmla="*/ 915 w 1269"/>
              <a:gd name="T61" fmla="*/ 384 h 459"/>
              <a:gd name="T62" fmla="*/ 865 w 1269"/>
              <a:gd name="T63" fmla="*/ 357 h 459"/>
              <a:gd name="T64" fmla="*/ 843 w 1269"/>
              <a:gd name="T65" fmla="*/ 353 h 459"/>
              <a:gd name="T66" fmla="*/ 784 w 1269"/>
              <a:gd name="T67" fmla="*/ 359 h 459"/>
              <a:gd name="T68" fmla="*/ 728 w 1269"/>
              <a:gd name="T69" fmla="*/ 366 h 459"/>
              <a:gd name="T70" fmla="*/ 736 w 1269"/>
              <a:gd name="T71" fmla="*/ 386 h 459"/>
              <a:gd name="T72" fmla="*/ 735 w 1269"/>
              <a:gd name="T73" fmla="*/ 410 h 459"/>
              <a:gd name="T74" fmla="*/ 710 w 1269"/>
              <a:gd name="T75" fmla="*/ 412 h 459"/>
              <a:gd name="T76" fmla="*/ 706 w 1269"/>
              <a:gd name="T77" fmla="*/ 410 h 459"/>
              <a:gd name="T78" fmla="*/ 661 w 1269"/>
              <a:gd name="T79" fmla="*/ 382 h 459"/>
              <a:gd name="T80" fmla="*/ 631 w 1269"/>
              <a:gd name="T81" fmla="*/ 373 h 459"/>
              <a:gd name="T82" fmla="*/ 451 w 1269"/>
              <a:gd name="T83" fmla="*/ 385 h 459"/>
              <a:gd name="T84" fmla="*/ 399 w 1269"/>
              <a:gd name="T85" fmla="*/ 389 h 459"/>
              <a:gd name="T86" fmla="*/ 361 w 1269"/>
              <a:gd name="T87" fmla="*/ 451 h 459"/>
              <a:gd name="T88" fmla="*/ 335 w 1269"/>
              <a:gd name="T89" fmla="*/ 443 h 459"/>
              <a:gd name="T90" fmla="*/ 307 w 1269"/>
              <a:gd name="T91" fmla="*/ 386 h 459"/>
              <a:gd name="T92" fmla="*/ 296 w 1269"/>
              <a:gd name="T93" fmla="*/ 378 h 459"/>
              <a:gd name="T94" fmla="*/ 209 w 1269"/>
              <a:gd name="T95" fmla="*/ 366 h 459"/>
              <a:gd name="T96" fmla="*/ 8 w 1269"/>
              <a:gd name="T97" fmla="*/ 289 h 459"/>
              <a:gd name="T98" fmla="*/ 6 w 1269"/>
              <a:gd name="T99" fmla="*/ 288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269" h="459">
                <a:moveTo>
                  <a:pt x="6" y="288"/>
                </a:moveTo>
                <a:cubicBezTo>
                  <a:pt x="4" y="284"/>
                  <a:pt x="2" y="281"/>
                  <a:pt x="0" y="277"/>
                </a:cubicBezTo>
                <a:cubicBezTo>
                  <a:pt x="1" y="262"/>
                  <a:pt x="6" y="250"/>
                  <a:pt x="17" y="239"/>
                </a:cubicBezTo>
                <a:cubicBezTo>
                  <a:pt x="45" y="210"/>
                  <a:pt x="78" y="188"/>
                  <a:pt x="114" y="171"/>
                </a:cubicBezTo>
                <a:cubicBezTo>
                  <a:pt x="170" y="144"/>
                  <a:pt x="230" y="124"/>
                  <a:pt x="292" y="113"/>
                </a:cubicBezTo>
                <a:cubicBezTo>
                  <a:pt x="354" y="102"/>
                  <a:pt x="416" y="92"/>
                  <a:pt x="479" y="94"/>
                </a:cubicBezTo>
                <a:cubicBezTo>
                  <a:pt x="508" y="95"/>
                  <a:pt x="530" y="86"/>
                  <a:pt x="552" y="69"/>
                </a:cubicBezTo>
                <a:cubicBezTo>
                  <a:pt x="582" y="45"/>
                  <a:pt x="615" y="25"/>
                  <a:pt x="648" y="5"/>
                </a:cubicBezTo>
                <a:cubicBezTo>
                  <a:pt x="653" y="2"/>
                  <a:pt x="663" y="0"/>
                  <a:pt x="667" y="3"/>
                </a:cubicBezTo>
                <a:cubicBezTo>
                  <a:pt x="672" y="7"/>
                  <a:pt x="673" y="16"/>
                  <a:pt x="673" y="23"/>
                </a:cubicBezTo>
                <a:cubicBezTo>
                  <a:pt x="670" y="53"/>
                  <a:pt x="679" y="80"/>
                  <a:pt x="696" y="104"/>
                </a:cubicBezTo>
                <a:cubicBezTo>
                  <a:pt x="698" y="107"/>
                  <a:pt x="701" y="108"/>
                  <a:pt x="705" y="109"/>
                </a:cubicBezTo>
                <a:cubicBezTo>
                  <a:pt x="776" y="124"/>
                  <a:pt x="848" y="139"/>
                  <a:pt x="920" y="153"/>
                </a:cubicBezTo>
                <a:cubicBezTo>
                  <a:pt x="971" y="163"/>
                  <a:pt x="1023" y="172"/>
                  <a:pt x="1075" y="184"/>
                </a:cubicBezTo>
                <a:cubicBezTo>
                  <a:pt x="1102" y="191"/>
                  <a:pt x="1126" y="188"/>
                  <a:pt x="1151" y="176"/>
                </a:cubicBezTo>
                <a:cubicBezTo>
                  <a:pt x="1183" y="160"/>
                  <a:pt x="1217" y="146"/>
                  <a:pt x="1250" y="132"/>
                </a:cubicBezTo>
                <a:cubicBezTo>
                  <a:pt x="1255" y="130"/>
                  <a:pt x="1261" y="130"/>
                  <a:pt x="1269" y="129"/>
                </a:cubicBezTo>
                <a:cubicBezTo>
                  <a:pt x="1268" y="136"/>
                  <a:pt x="1268" y="141"/>
                  <a:pt x="1266" y="145"/>
                </a:cubicBezTo>
                <a:cubicBezTo>
                  <a:pt x="1263" y="152"/>
                  <a:pt x="1260" y="158"/>
                  <a:pt x="1256" y="165"/>
                </a:cubicBezTo>
                <a:cubicBezTo>
                  <a:pt x="1236" y="201"/>
                  <a:pt x="1220" y="239"/>
                  <a:pt x="1216" y="281"/>
                </a:cubicBezTo>
                <a:cubicBezTo>
                  <a:pt x="1213" y="314"/>
                  <a:pt x="1214" y="347"/>
                  <a:pt x="1223" y="380"/>
                </a:cubicBezTo>
                <a:cubicBezTo>
                  <a:pt x="1226" y="390"/>
                  <a:pt x="1226" y="402"/>
                  <a:pt x="1227" y="413"/>
                </a:cubicBezTo>
                <a:cubicBezTo>
                  <a:pt x="1228" y="422"/>
                  <a:pt x="1222" y="426"/>
                  <a:pt x="1215" y="425"/>
                </a:cubicBezTo>
                <a:cubicBezTo>
                  <a:pt x="1207" y="424"/>
                  <a:pt x="1197" y="422"/>
                  <a:pt x="1191" y="417"/>
                </a:cubicBezTo>
                <a:cubicBezTo>
                  <a:pt x="1173" y="404"/>
                  <a:pt x="1156" y="390"/>
                  <a:pt x="1139" y="376"/>
                </a:cubicBezTo>
                <a:cubicBezTo>
                  <a:pt x="1124" y="364"/>
                  <a:pt x="1109" y="352"/>
                  <a:pt x="1097" y="339"/>
                </a:cubicBezTo>
                <a:cubicBezTo>
                  <a:pt x="1075" y="315"/>
                  <a:pt x="1047" y="318"/>
                  <a:pt x="1020" y="322"/>
                </a:cubicBezTo>
                <a:cubicBezTo>
                  <a:pt x="998" y="326"/>
                  <a:pt x="975" y="333"/>
                  <a:pt x="953" y="339"/>
                </a:cubicBezTo>
                <a:cubicBezTo>
                  <a:pt x="949" y="341"/>
                  <a:pt x="944" y="345"/>
                  <a:pt x="942" y="349"/>
                </a:cubicBezTo>
                <a:cubicBezTo>
                  <a:pt x="937" y="358"/>
                  <a:pt x="933" y="368"/>
                  <a:pt x="929" y="378"/>
                </a:cubicBezTo>
                <a:cubicBezTo>
                  <a:pt x="926" y="386"/>
                  <a:pt x="922" y="388"/>
                  <a:pt x="915" y="384"/>
                </a:cubicBezTo>
                <a:cubicBezTo>
                  <a:pt x="898" y="374"/>
                  <a:pt x="882" y="365"/>
                  <a:pt x="865" y="357"/>
                </a:cubicBezTo>
                <a:cubicBezTo>
                  <a:pt x="859" y="354"/>
                  <a:pt x="851" y="353"/>
                  <a:pt x="843" y="353"/>
                </a:cubicBezTo>
                <a:cubicBezTo>
                  <a:pt x="824" y="355"/>
                  <a:pt x="804" y="357"/>
                  <a:pt x="784" y="359"/>
                </a:cubicBezTo>
                <a:cubicBezTo>
                  <a:pt x="766" y="362"/>
                  <a:pt x="747" y="364"/>
                  <a:pt x="728" y="366"/>
                </a:cubicBezTo>
                <a:cubicBezTo>
                  <a:pt x="731" y="374"/>
                  <a:pt x="735" y="380"/>
                  <a:pt x="736" y="386"/>
                </a:cubicBezTo>
                <a:cubicBezTo>
                  <a:pt x="737" y="394"/>
                  <a:pt x="739" y="406"/>
                  <a:pt x="735" y="410"/>
                </a:cubicBezTo>
                <a:cubicBezTo>
                  <a:pt x="730" y="414"/>
                  <a:pt x="719" y="412"/>
                  <a:pt x="710" y="412"/>
                </a:cubicBezTo>
                <a:cubicBezTo>
                  <a:pt x="709" y="412"/>
                  <a:pt x="707" y="411"/>
                  <a:pt x="706" y="410"/>
                </a:cubicBezTo>
                <a:cubicBezTo>
                  <a:pt x="691" y="401"/>
                  <a:pt x="675" y="393"/>
                  <a:pt x="661" y="382"/>
                </a:cubicBezTo>
                <a:cubicBezTo>
                  <a:pt x="651" y="375"/>
                  <a:pt x="643" y="372"/>
                  <a:pt x="631" y="373"/>
                </a:cubicBezTo>
                <a:cubicBezTo>
                  <a:pt x="571" y="377"/>
                  <a:pt x="511" y="381"/>
                  <a:pt x="451" y="385"/>
                </a:cubicBezTo>
                <a:cubicBezTo>
                  <a:pt x="433" y="386"/>
                  <a:pt x="415" y="388"/>
                  <a:pt x="399" y="389"/>
                </a:cubicBezTo>
                <a:cubicBezTo>
                  <a:pt x="395" y="417"/>
                  <a:pt x="380" y="435"/>
                  <a:pt x="361" y="451"/>
                </a:cubicBezTo>
                <a:cubicBezTo>
                  <a:pt x="350" y="459"/>
                  <a:pt x="341" y="455"/>
                  <a:pt x="335" y="443"/>
                </a:cubicBezTo>
                <a:cubicBezTo>
                  <a:pt x="326" y="424"/>
                  <a:pt x="317" y="405"/>
                  <a:pt x="307" y="386"/>
                </a:cubicBezTo>
                <a:cubicBezTo>
                  <a:pt x="305" y="383"/>
                  <a:pt x="300" y="379"/>
                  <a:pt x="296" y="378"/>
                </a:cubicBezTo>
                <a:cubicBezTo>
                  <a:pt x="267" y="374"/>
                  <a:pt x="238" y="370"/>
                  <a:pt x="209" y="366"/>
                </a:cubicBezTo>
                <a:cubicBezTo>
                  <a:pt x="136" y="355"/>
                  <a:pt x="68" y="334"/>
                  <a:pt x="8" y="289"/>
                </a:cubicBezTo>
                <a:cubicBezTo>
                  <a:pt x="7" y="288"/>
                  <a:pt x="7" y="288"/>
                  <a:pt x="6" y="288"/>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cs typeface="+mn-cs"/>
            </a:endParaRPr>
          </a:p>
        </p:txBody>
      </p:sp>
    </p:spTree>
    <p:extLst>
      <p:ext uri="{BB962C8B-B14F-4D97-AF65-F5344CB8AC3E}">
        <p14:creationId xmlns:p14="http://schemas.microsoft.com/office/powerpoint/2010/main" val="1038623701"/>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7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reeform 5">
            <a:extLst>
              <a:ext uri="{FF2B5EF4-FFF2-40B4-BE49-F238E27FC236}">
                <a16:creationId xmlns:a16="http://schemas.microsoft.com/office/drawing/2014/main" id="{17A90B95-5D4F-4075-96FE-5A4FE40C61CF}"/>
              </a:ext>
            </a:extLst>
          </p:cNvPr>
          <p:cNvSpPr>
            <a:spLocks noEditPoints="1"/>
          </p:cNvSpPr>
          <p:nvPr/>
        </p:nvSpPr>
        <p:spPr bwMode="auto">
          <a:xfrm>
            <a:off x="863600" y="1802406"/>
            <a:ext cx="3022600" cy="1240394"/>
          </a:xfrm>
          <a:custGeom>
            <a:avLst/>
            <a:gdLst>
              <a:gd name="T0" fmla="*/ 2936 w 2936"/>
              <a:gd name="T1" fmla="*/ 547 h 1202"/>
              <a:gd name="T2" fmla="*/ 2056 w 2936"/>
              <a:gd name="T3" fmla="*/ 506 h 1202"/>
              <a:gd name="T4" fmla="*/ 1853 w 2936"/>
              <a:gd name="T5" fmla="*/ 605 h 1202"/>
              <a:gd name="T6" fmla="*/ 1848 w 2936"/>
              <a:gd name="T7" fmla="*/ 494 h 1202"/>
              <a:gd name="T8" fmla="*/ 1766 w 2936"/>
              <a:gd name="T9" fmla="*/ 85 h 1202"/>
              <a:gd name="T10" fmla="*/ 1739 w 2936"/>
              <a:gd name="T11" fmla="*/ 160 h 1202"/>
              <a:gd name="T12" fmla="*/ 1802 w 2936"/>
              <a:gd name="T13" fmla="*/ 576 h 1202"/>
              <a:gd name="T14" fmla="*/ 1672 w 2936"/>
              <a:gd name="T15" fmla="*/ 603 h 1202"/>
              <a:gd name="T16" fmla="*/ 1599 w 2936"/>
              <a:gd name="T17" fmla="*/ 226 h 1202"/>
              <a:gd name="T18" fmla="*/ 1573 w 2936"/>
              <a:gd name="T19" fmla="*/ 231 h 1202"/>
              <a:gd name="T20" fmla="*/ 1632 w 2936"/>
              <a:gd name="T21" fmla="*/ 602 h 1202"/>
              <a:gd name="T22" fmla="*/ 1454 w 2936"/>
              <a:gd name="T23" fmla="*/ 462 h 1202"/>
              <a:gd name="T24" fmla="*/ 1375 w 2936"/>
              <a:gd name="T25" fmla="*/ 297 h 1202"/>
              <a:gd name="T26" fmla="*/ 1266 w 2936"/>
              <a:gd name="T27" fmla="*/ 564 h 1202"/>
              <a:gd name="T28" fmla="*/ 1173 w 2936"/>
              <a:gd name="T29" fmla="*/ 366 h 1202"/>
              <a:gd name="T30" fmla="*/ 1235 w 2936"/>
              <a:gd name="T31" fmla="*/ 600 h 1202"/>
              <a:gd name="T32" fmla="*/ 994 w 2936"/>
              <a:gd name="T33" fmla="*/ 422 h 1202"/>
              <a:gd name="T34" fmla="*/ 1028 w 2936"/>
              <a:gd name="T35" fmla="*/ 603 h 1202"/>
              <a:gd name="T36" fmla="*/ 868 w 2936"/>
              <a:gd name="T37" fmla="*/ 591 h 1202"/>
              <a:gd name="T38" fmla="*/ 794 w 2936"/>
              <a:gd name="T39" fmla="*/ 499 h 1202"/>
              <a:gd name="T40" fmla="*/ 830 w 2936"/>
              <a:gd name="T41" fmla="*/ 604 h 1202"/>
              <a:gd name="T42" fmla="*/ 661 w 2936"/>
              <a:gd name="T43" fmla="*/ 560 h 1202"/>
              <a:gd name="T44" fmla="*/ 641 w 2936"/>
              <a:gd name="T45" fmla="*/ 605 h 1202"/>
              <a:gd name="T46" fmla="*/ 343 w 2936"/>
              <a:gd name="T47" fmla="*/ 552 h 1202"/>
              <a:gd name="T48" fmla="*/ 29 w 2936"/>
              <a:gd name="T49" fmla="*/ 348 h 1202"/>
              <a:gd name="T50" fmla="*/ 78 w 2936"/>
              <a:gd name="T51" fmla="*/ 476 h 1202"/>
              <a:gd name="T52" fmla="*/ 95 w 2936"/>
              <a:gd name="T53" fmla="*/ 563 h 1202"/>
              <a:gd name="T54" fmla="*/ 84 w 2936"/>
              <a:gd name="T55" fmla="*/ 630 h 1202"/>
              <a:gd name="T56" fmla="*/ 65 w 2936"/>
              <a:gd name="T57" fmla="*/ 682 h 1202"/>
              <a:gd name="T58" fmla="*/ 46 w 2936"/>
              <a:gd name="T59" fmla="*/ 791 h 1202"/>
              <a:gd name="T60" fmla="*/ 73 w 2936"/>
              <a:gd name="T61" fmla="*/ 840 h 1202"/>
              <a:gd name="T62" fmla="*/ 143 w 2936"/>
              <a:gd name="T63" fmla="*/ 912 h 1202"/>
              <a:gd name="T64" fmla="*/ 415 w 2936"/>
              <a:gd name="T65" fmla="*/ 684 h 1202"/>
              <a:gd name="T66" fmla="*/ 614 w 2936"/>
              <a:gd name="T67" fmla="*/ 740 h 1202"/>
              <a:gd name="T68" fmla="*/ 642 w 2936"/>
              <a:gd name="T69" fmla="*/ 750 h 1202"/>
              <a:gd name="T70" fmla="*/ 679 w 2936"/>
              <a:gd name="T71" fmla="*/ 662 h 1202"/>
              <a:gd name="T72" fmla="*/ 803 w 2936"/>
              <a:gd name="T73" fmla="*/ 732 h 1202"/>
              <a:gd name="T74" fmla="*/ 814 w 2936"/>
              <a:gd name="T75" fmla="*/ 800 h 1202"/>
              <a:gd name="T76" fmla="*/ 863 w 2936"/>
              <a:gd name="T77" fmla="*/ 672 h 1202"/>
              <a:gd name="T78" fmla="*/ 1013 w 2936"/>
              <a:gd name="T79" fmla="*/ 679 h 1202"/>
              <a:gd name="T80" fmla="*/ 947 w 2936"/>
              <a:gd name="T81" fmla="*/ 833 h 1202"/>
              <a:gd name="T82" fmla="*/ 984 w 2936"/>
              <a:gd name="T83" fmla="*/ 845 h 1202"/>
              <a:gd name="T84" fmla="*/ 1224 w 2936"/>
              <a:gd name="T85" fmla="*/ 676 h 1202"/>
              <a:gd name="T86" fmla="*/ 1142 w 2936"/>
              <a:gd name="T87" fmla="*/ 887 h 1202"/>
              <a:gd name="T88" fmla="*/ 1263 w 2936"/>
              <a:gd name="T89" fmla="*/ 709 h 1202"/>
              <a:gd name="T90" fmla="*/ 1426 w 2936"/>
              <a:gd name="T91" fmla="*/ 678 h 1202"/>
              <a:gd name="T92" fmla="*/ 1354 w 2936"/>
              <a:gd name="T93" fmla="*/ 884 h 1202"/>
              <a:gd name="T94" fmla="*/ 1336 w 2936"/>
              <a:gd name="T95" fmla="*/ 984 h 1202"/>
              <a:gd name="T96" fmla="*/ 1427 w 2936"/>
              <a:gd name="T97" fmla="*/ 801 h 1202"/>
              <a:gd name="T98" fmla="*/ 1577 w 2936"/>
              <a:gd name="T99" fmla="*/ 676 h 1202"/>
              <a:gd name="T100" fmla="*/ 1605 w 2936"/>
              <a:gd name="T101" fmla="*/ 732 h 1202"/>
              <a:gd name="T102" fmla="*/ 1532 w 2936"/>
              <a:gd name="T103" fmla="*/ 1058 h 1202"/>
              <a:gd name="T104" fmla="*/ 1626 w 2936"/>
              <a:gd name="T105" fmla="*/ 852 h 1202"/>
              <a:gd name="T106" fmla="*/ 1665 w 2936"/>
              <a:gd name="T107" fmla="*/ 675 h 1202"/>
              <a:gd name="T108" fmla="*/ 1795 w 2936"/>
              <a:gd name="T109" fmla="*/ 685 h 1202"/>
              <a:gd name="T110" fmla="*/ 1726 w 2936"/>
              <a:gd name="T111" fmla="*/ 1040 h 1202"/>
              <a:gd name="T112" fmla="*/ 1765 w 2936"/>
              <a:gd name="T113" fmla="*/ 1053 h 1202"/>
              <a:gd name="T114" fmla="*/ 1850 w 2936"/>
              <a:gd name="T115" fmla="*/ 701 h 1202"/>
              <a:gd name="T116" fmla="*/ 2063 w 2936"/>
              <a:gd name="T117" fmla="*/ 682 h 1202"/>
              <a:gd name="T118" fmla="*/ 2761 w 2936"/>
              <a:gd name="T119" fmla="*/ 901 h 1202"/>
              <a:gd name="T120" fmla="*/ 2274 w 2936"/>
              <a:gd name="T121" fmla="*/ 341 h 1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936" h="1202">
                <a:moveTo>
                  <a:pt x="2861" y="750"/>
                </a:moveTo>
                <a:cubicBezTo>
                  <a:pt x="2830" y="748"/>
                  <a:pt x="2797" y="754"/>
                  <a:pt x="2764" y="759"/>
                </a:cubicBezTo>
                <a:cubicBezTo>
                  <a:pt x="2837" y="682"/>
                  <a:pt x="2925" y="572"/>
                  <a:pt x="2936" y="547"/>
                </a:cubicBezTo>
                <a:cubicBezTo>
                  <a:pt x="2892" y="514"/>
                  <a:pt x="2840" y="486"/>
                  <a:pt x="2793" y="454"/>
                </a:cubicBezTo>
                <a:cubicBezTo>
                  <a:pt x="2641" y="354"/>
                  <a:pt x="2448" y="206"/>
                  <a:pt x="2263" y="187"/>
                </a:cubicBezTo>
                <a:cubicBezTo>
                  <a:pt x="2088" y="169"/>
                  <a:pt x="2060" y="376"/>
                  <a:pt x="2056" y="506"/>
                </a:cubicBezTo>
                <a:cubicBezTo>
                  <a:pt x="2056" y="534"/>
                  <a:pt x="2056" y="562"/>
                  <a:pt x="2058" y="589"/>
                </a:cubicBezTo>
                <a:cubicBezTo>
                  <a:pt x="2042" y="588"/>
                  <a:pt x="2026" y="586"/>
                  <a:pt x="2010" y="584"/>
                </a:cubicBezTo>
                <a:cubicBezTo>
                  <a:pt x="1978" y="581"/>
                  <a:pt x="1874" y="605"/>
                  <a:pt x="1853" y="605"/>
                </a:cubicBezTo>
                <a:cubicBezTo>
                  <a:pt x="1853" y="605"/>
                  <a:pt x="1853" y="605"/>
                  <a:pt x="1852" y="605"/>
                </a:cubicBezTo>
                <a:cubicBezTo>
                  <a:pt x="1852" y="596"/>
                  <a:pt x="1852" y="586"/>
                  <a:pt x="1852" y="577"/>
                </a:cubicBezTo>
                <a:cubicBezTo>
                  <a:pt x="1852" y="549"/>
                  <a:pt x="1850" y="522"/>
                  <a:pt x="1848" y="494"/>
                </a:cubicBezTo>
                <a:cubicBezTo>
                  <a:pt x="1842" y="436"/>
                  <a:pt x="1832" y="380"/>
                  <a:pt x="1821" y="323"/>
                </a:cubicBezTo>
                <a:cubicBezTo>
                  <a:pt x="1810" y="268"/>
                  <a:pt x="1799" y="213"/>
                  <a:pt x="1787" y="159"/>
                </a:cubicBezTo>
                <a:cubicBezTo>
                  <a:pt x="1781" y="134"/>
                  <a:pt x="1774" y="109"/>
                  <a:pt x="1766" y="85"/>
                </a:cubicBezTo>
                <a:cubicBezTo>
                  <a:pt x="1756" y="61"/>
                  <a:pt x="1747" y="36"/>
                  <a:pt x="1742" y="11"/>
                </a:cubicBezTo>
                <a:cubicBezTo>
                  <a:pt x="1740" y="0"/>
                  <a:pt x="1724" y="2"/>
                  <a:pt x="1722" y="12"/>
                </a:cubicBezTo>
                <a:cubicBezTo>
                  <a:pt x="1715" y="63"/>
                  <a:pt x="1730" y="110"/>
                  <a:pt x="1739" y="160"/>
                </a:cubicBezTo>
                <a:cubicBezTo>
                  <a:pt x="1749" y="216"/>
                  <a:pt x="1758" y="274"/>
                  <a:pt x="1768" y="331"/>
                </a:cubicBezTo>
                <a:cubicBezTo>
                  <a:pt x="1777" y="385"/>
                  <a:pt x="1785" y="440"/>
                  <a:pt x="1792" y="495"/>
                </a:cubicBezTo>
                <a:cubicBezTo>
                  <a:pt x="1796" y="522"/>
                  <a:pt x="1799" y="549"/>
                  <a:pt x="1802" y="576"/>
                </a:cubicBezTo>
                <a:cubicBezTo>
                  <a:pt x="1802" y="585"/>
                  <a:pt x="1803" y="595"/>
                  <a:pt x="1804" y="604"/>
                </a:cubicBezTo>
                <a:cubicBezTo>
                  <a:pt x="1783" y="604"/>
                  <a:pt x="1783" y="604"/>
                  <a:pt x="1783" y="604"/>
                </a:cubicBezTo>
                <a:cubicBezTo>
                  <a:pt x="1746" y="604"/>
                  <a:pt x="1709" y="603"/>
                  <a:pt x="1672" y="603"/>
                </a:cubicBezTo>
                <a:cubicBezTo>
                  <a:pt x="1672" y="530"/>
                  <a:pt x="1652" y="459"/>
                  <a:pt x="1638" y="388"/>
                </a:cubicBezTo>
                <a:cubicBezTo>
                  <a:pt x="1631" y="351"/>
                  <a:pt x="1625" y="314"/>
                  <a:pt x="1615" y="277"/>
                </a:cubicBezTo>
                <a:cubicBezTo>
                  <a:pt x="1610" y="260"/>
                  <a:pt x="1605" y="242"/>
                  <a:pt x="1599" y="226"/>
                </a:cubicBezTo>
                <a:cubicBezTo>
                  <a:pt x="1593" y="208"/>
                  <a:pt x="1588" y="192"/>
                  <a:pt x="1576" y="179"/>
                </a:cubicBezTo>
                <a:cubicBezTo>
                  <a:pt x="1572" y="175"/>
                  <a:pt x="1566" y="177"/>
                  <a:pt x="1566" y="182"/>
                </a:cubicBezTo>
                <a:cubicBezTo>
                  <a:pt x="1565" y="199"/>
                  <a:pt x="1570" y="214"/>
                  <a:pt x="1573" y="231"/>
                </a:cubicBezTo>
                <a:cubicBezTo>
                  <a:pt x="1577" y="249"/>
                  <a:pt x="1580" y="267"/>
                  <a:pt x="1582" y="285"/>
                </a:cubicBezTo>
                <a:cubicBezTo>
                  <a:pt x="1588" y="321"/>
                  <a:pt x="1593" y="356"/>
                  <a:pt x="1599" y="392"/>
                </a:cubicBezTo>
                <a:cubicBezTo>
                  <a:pt x="1610" y="462"/>
                  <a:pt x="1632" y="531"/>
                  <a:pt x="1632" y="602"/>
                </a:cubicBezTo>
                <a:cubicBezTo>
                  <a:pt x="1592" y="602"/>
                  <a:pt x="1553" y="601"/>
                  <a:pt x="1514" y="600"/>
                </a:cubicBezTo>
                <a:cubicBezTo>
                  <a:pt x="1504" y="600"/>
                  <a:pt x="1493" y="600"/>
                  <a:pt x="1483" y="600"/>
                </a:cubicBezTo>
                <a:cubicBezTo>
                  <a:pt x="1475" y="554"/>
                  <a:pt x="1467" y="507"/>
                  <a:pt x="1454" y="462"/>
                </a:cubicBezTo>
                <a:cubicBezTo>
                  <a:pt x="1446" y="433"/>
                  <a:pt x="1437" y="404"/>
                  <a:pt x="1427" y="376"/>
                </a:cubicBezTo>
                <a:cubicBezTo>
                  <a:pt x="1416" y="347"/>
                  <a:pt x="1402" y="320"/>
                  <a:pt x="1387" y="293"/>
                </a:cubicBezTo>
                <a:cubicBezTo>
                  <a:pt x="1384" y="286"/>
                  <a:pt x="1372" y="290"/>
                  <a:pt x="1375" y="297"/>
                </a:cubicBezTo>
                <a:cubicBezTo>
                  <a:pt x="1404" y="396"/>
                  <a:pt x="1424" y="498"/>
                  <a:pt x="1442" y="599"/>
                </a:cubicBezTo>
                <a:cubicBezTo>
                  <a:pt x="1385" y="599"/>
                  <a:pt x="1328" y="599"/>
                  <a:pt x="1270" y="600"/>
                </a:cubicBezTo>
                <a:cubicBezTo>
                  <a:pt x="1268" y="588"/>
                  <a:pt x="1268" y="576"/>
                  <a:pt x="1266" y="564"/>
                </a:cubicBezTo>
                <a:cubicBezTo>
                  <a:pt x="1264" y="539"/>
                  <a:pt x="1262" y="514"/>
                  <a:pt x="1255" y="489"/>
                </a:cubicBezTo>
                <a:cubicBezTo>
                  <a:pt x="1242" y="443"/>
                  <a:pt x="1219" y="396"/>
                  <a:pt x="1191" y="357"/>
                </a:cubicBezTo>
                <a:cubicBezTo>
                  <a:pt x="1184" y="348"/>
                  <a:pt x="1172" y="357"/>
                  <a:pt x="1173" y="366"/>
                </a:cubicBezTo>
                <a:cubicBezTo>
                  <a:pt x="1177" y="414"/>
                  <a:pt x="1207" y="456"/>
                  <a:pt x="1218" y="502"/>
                </a:cubicBezTo>
                <a:cubicBezTo>
                  <a:pt x="1223" y="527"/>
                  <a:pt x="1226" y="552"/>
                  <a:pt x="1231" y="577"/>
                </a:cubicBezTo>
                <a:cubicBezTo>
                  <a:pt x="1232" y="584"/>
                  <a:pt x="1233" y="592"/>
                  <a:pt x="1235" y="600"/>
                </a:cubicBezTo>
                <a:cubicBezTo>
                  <a:pt x="1179" y="600"/>
                  <a:pt x="1122" y="601"/>
                  <a:pt x="1066" y="602"/>
                </a:cubicBezTo>
                <a:cubicBezTo>
                  <a:pt x="1064" y="574"/>
                  <a:pt x="1066" y="545"/>
                  <a:pt x="1056" y="517"/>
                </a:cubicBezTo>
                <a:cubicBezTo>
                  <a:pt x="1044" y="480"/>
                  <a:pt x="1024" y="447"/>
                  <a:pt x="994" y="422"/>
                </a:cubicBezTo>
                <a:cubicBezTo>
                  <a:pt x="989" y="418"/>
                  <a:pt x="980" y="424"/>
                  <a:pt x="982" y="430"/>
                </a:cubicBezTo>
                <a:cubicBezTo>
                  <a:pt x="993" y="464"/>
                  <a:pt x="1012" y="495"/>
                  <a:pt x="1022" y="529"/>
                </a:cubicBezTo>
                <a:cubicBezTo>
                  <a:pt x="1029" y="553"/>
                  <a:pt x="1027" y="578"/>
                  <a:pt x="1028" y="603"/>
                </a:cubicBezTo>
                <a:cubicBezTo>
                  <a:pt x="1011" y="603"/>
                  <a:pt x="994" y="603"/>
                  <a:pt x="977" y="603"/>
                </a:cubicBezTo>
                <a:cubicBezTo>
                  <a:pt x="942" y="603"/>
                  <a:pt x="906" y="603"/>
                  <a:pt x="871" y="604"/>
                </a:cubicBezTo>
                <a:cubicBezTo>
                  <a:pt x="870" y="599"/>
                  <a:pt x="869" y="595"/>
                  <a:pt x="868" y="591"/>
                </a:cubicBezTo>
                <a:cubicBezTo>
                  <a:pt x="865" y="577"/>
                  <a:pt x="860" y="563"/>
                  <a:pt x="855" y="550"/>
                </a:cubicBezTo>
                <a:cubicBezTo>
                  <a:pt x="846" y="525"/>
                  <a:pt x="827" y="501"/>
                  <a:pt x="805" y="486"/>
                </a:cubicBezTo>
                <a:cubicBezTo>
                  <a:pt x="797" y="481"/>
                  <a:pt x="786" y="492"/>
                  <a:pt x="794" y="499"/>
                </a:cubicBezTo>
                <a:cubicBezTo>
                  <a:pt x="812" y="516"/>
                  <a:pt x="817" y="538"/>
                  <a:pt x="823" y="562"/>
                </a:cubicBezTo>
                <a:cubicBezTo>
                  <a:pt x="826" y="574"/>
                  <a:pt x="827" y="587"/>
                  <a:pt x="829" y="600"/>
                </a:cubicBezTo>
                <a:cubicBezTo>
                  <a:pt x="830" y="601"/>
                  <a:pt x="830" y="602"/>
                  <a:pt x="830" y="604"/>
                </a:cubicBezTo>
                <a:cubicBezTo>
                  <a:pt x="779" y="604"/>
                  <a:pt x="729" y="604"/>
                  <a:pt x="678" y="605"/>
                </a:cubicBezTo>
                <a:cubicBezTo>
                  <a:pt x="678" y="604"/>
                  <a:pt x="678" y="603"/>
                  <a:pt x="678" y="602"/>
                </a:cubicBezTo>
                <a:cubicBezTo>
                  <a:pt x="673" y="588"/>
                  <a:pt x="666" y="574"/>
                  <a:pt x="661" y="560"/>
                </a:cubicBezTo>
                <a:cubicBezTo>
                  <a:pt x="655" y="544"/>
                  <a:pt x="645" y="531"/>
                  <a:pt x="632" y="521"/>
                </a:cubicBezTo>
                <a:cubicBezTo>
                  <a:pt x="624" y="514"/>
                  <a:pt x="614" y="525"/>
                  <a:pt x="618" y="534"/>
                </a:cubicBezTo>
                <a:cubicBezTo>
                  <a:pt x="627" y="556"/>
                  <a:pt x="630" y="583"/>
                  <a:pt x="641" y="605"/>
                </a:cubicBezTo>
                <a:cubicBezTo>
                  <a:pt x="596" y="606"/>
                  <a:pt x="487" y="615"/>
                  <a:pt x="450" y="615"/>
                </a:cubicBezTo>
                <a:cubicBezTo>
                  <a:pt x="439" y="615"/>
                  <a:pt x="427" y="616"/>
                  <a:pt x="415" y="616"/>
                </a:cubicBezTo>
                <a:cubicBezTo>
                  <a:pt x="386" y="604"/>
                  <a:pt x="364" y="574"/>
                  <a:pt x="343" y="552"/>
                </a:cubicBezTo>
                <a:cubicBezTo>
                  <a:pt x="310" y="519"/>
                  <a:pt x="276" y="486"/>
                  <a:pt x="239" y="457"/>
                </a:cubicBezTo>
                <a:cubicBezTo>
                  <a:pt x="208" y="433"/>
                  <a:pt x="177" y="408"/>
                  <a:pt x="143" y="388"/>
                </a:cubicBezTo>
                <a:cubicBezTo>
                  <a:pt x="110" y="368"/>
                  <a:pt x="69" y="347"/>
                  <a:pt x="29" y="348"/>
                </a:cubicBezTo>
                <a:cubicBezTo>
                  <a:pt x="11" y="348"/>
                  <a:pt x="0" y="369"/>
                  <a:pt x="13" y="383"/>
                </a:cubicBezTo>
                <a:cubicBezTo>
                  <a:pt x="36" y="406"/>
                  <a:pt x="56" y="433"/>
                  <a:pt x="73" y="460"/>
                </a:cubicBezTo>
                <a:cubicBezTo>
                  <a:pt x="76" y="465"/>
                  <a:pt x="82" y="472"/>
                  <a:pt x="78" y="476"/>
                </a:cubicBezTo>
                <a:cubicBezTo>
                  <a:pt x="70" y="482"/>
                  <a:pt x="58" y="486"/>
                  <a:pt x="49" y="490"/>
                </a:cubicBezTo>
                <a:cubicBezTo>
                  <a:pt x="42" y="494"/>
                  <a:pt x="41" y="503"/>
                  <a:pt x="46" y="509"/>
                </a:cubicBezTo>
                <a:cubicBezTo>
                  <a:pt x="62" y="526"/>
                  <a:pt x="82" y="542"/>
                  <a:pt x="95" y="563"/>
                </a:cubicBezTo>
                <a:cubicBezTo>
                  <a:pt x="83" y="571"/>
                  <a:pt x="74" y="582"/>
                  <a:pt x="63" y="593"/>
                </a:cubicBezTo>
                <a:cubicBezTo>
                  <a:pt x="56" y="600"/>
                  <a:pt x="56" y="612"/>
                  <a:pt x="65" y="618"/>
                </a:cubicBezTo>
                <a:cubicBezTo>
                  <a:pt x="71" y="622"/>
                  <a:pt x="78" y="626"/>
                  <a:pt x="84" y="630"/>
                </a:cubicBezTo>
                <a:cubicBezTo>
                  <a:pt x="79" y="635"/>
                  <a:pt x="78" y="644"/>
                  <a:pt x="82" y="650"/>
                </a:cubicBezTo>
                <a:cubicBezTo>
                  <a:pt x="78" y="656"/>
                  <a:pt x="79" y="665"/>
                  <a:pt x="84" y="670"/>
                </a:cubicBezTo>
                <a:cubicBezTo>
                  <a:pt x="78" y="674"/>
                  <a:pt x="71" y="678"/>
                  <a:pt x="65" y="682"/>
                </a:cubicBezTo>
                <a:cubicBezTo>
                  <a:pt x="56" y="688"/>
                  <a:pt x="56" y="700"/>
                  <a:pt x="63" y="707"/>
                </a:cubicBezTo>
                <a:cubicBezTo>
                  <a:pt x="74" y="718"/>
                  <a:pt x="83" y="729"/>
                  <a:pt x="95" y="737"/>
                </a:cubicBezTo>
                <a:cubicBezTo>
                  <a:pt x="82" y="758"/>
                  <a:pt x="62" y="774"/>
                  <a:pt x="46" y="791"/>
                </a:cubicBezTo>
                <a:cubicBezTo>
                  <a:pt x="41" y="797"/>
                  <a:pt x="43" y="806"/>
                  <a:pt x="49" y="810"/>
                </a:cubicBezTo>
                <a:cubicBezTo>
                  <a:pt x="58" y="814"/>
                  <a:pt x="70" y="818"/>
                  <a:pt x="78" y="824"/>
                </a:cubicBezTo>
                <a:cubicBezTo>
                  <a:pt x="82" y="828"/>
                  <a:pt x="76" y="835"/>
                  <a:pt x="73" y="840"/>
                </a:cubicBezTo>
                <a:cubicBezTo>
                  <a:pt x="56" y="867"/>
                  <a:pt x="36" y="894"/>
                  <a:pt x="13" y="917"/>
                </a:cubicBezTo>
                <a:cubicBezTo>
                  <a:pt x="0" y="931"/>
                  <a:pt x="12" y="952"/>
                  <a:pt x="29" y="952"/>
                </a:cubicBezTo>
                <a:cubicBezTo>
                  <a:pt x="69" y="953"/>
                  <a:pt x="110" y="932"/>
                  <a:pt x="143" y="912"/>
                </a:cubicBezTo>
                <a:cubicBezTo>
                  <a:pt x="177" y="892"/>
                  <a:pt x="208" y="867"/>
                  <a:pt x="239" y="843"/>
                </a:cubicBezTo>
                <a:cubicBezTo>
                  <a:pt x="276" y="814"/>
                  <a:pt x="310" y="781"/>
                  <a:pt x="343" y="748"/>
                </a:cubicBezTo>
                <a:cubicBezTo>
                  <a:pt x="364" y="726"/>
                  <a:pt x="386" y="696"/>
                  <a:pt x="415" y="684"/>
                </a:cubicBezTo>
                <a:cubicBezTo>
                  <a:pt x="457" y="666"/>
                  <a:pt x="572" y="663"/>
                  <a:pt x="634" y="662"/>
                </a:cubicBezTo>
                <a:cubicBezTo>
                  <a:pt x="630" y="672"/>
                  <a:pt x="626" y="683"/>
                  <a:pt x="623" y="694"/>
                </a:cubicBezTo>
                <a:cubicBezTo>
                  <a:pt x="619" y="709"/>
                  <a:pt x="616" y="724"/>
                  <a:pt x="614" y="740"/>
                </a:cubicBezTo>
                <a:cubicBezTo>
                  <a:pt x="611" y="755"/>
                  <a:pt x="612" y="771"/>
                  <a:pt x="609" y="787"/>
                </a:cubicBezTo>
                <a:cubicBezTo>
                  <a:pt x="608" y="794"/>
                  <a:pt x="617" y="795"/>
                  <a:pt x="620" y="790"/>
                </a:cubicBezTo>
                <a:cubicBezTo>
                  <a:pt x="626" y="776"/>
                  <a:pt x="635" y="764"/>
                  <a:pt x="642" y="750"/>
                </a:cubicBezTo>
                <a:cubicBezTo>
                  <a:pt x="648" y="735"/>
                  <a:pt x="655" y="721"/>
                  <a:pt x="661" y="707"/>
                </a:cubicBezTo>
                <a:cubicBezTo>
                  <a:pt x="666" y="693"/>
                  <a:pt x="672" y="678"/>
                  <a:pt x="678" y="664"/>
                </a:cubicBezTo>
                <a:cubicBezTo>
                  <a:pt x="678" y="664"/>
                  <a:pt x="678" y="663"/>
                  <a:pt x="679" y="662"/>
                </a:cubicBezTo>
                <a:cubicBezTo>
                  <a:pt x="727" y="664"/>
                  <a:pt x="775" y="668"/>
                  <a:pt x="820" y="670"/>
                </a:cubicBezTo>
                <a:cubicBezTo>
                  <a:pt x="820" y="673"/>
                  <a:pt x="819" y="676"/>
                  <a:pt x="818" y="678"/>
                </a:cubicBezTo>
                <a:cubicBezTo>
                  <a:pt x="814" y="696"/>
                  <a:pt x="808" y="714"/>
                  <a:pt x="803" y="732"/>
                </a:cubicBezTo>
                <a:cubicBezTo>
                  <a:pt x="793" y="768"/>
                  <a:pt x="783" y="804"/>
                  <a:pt x="770" y="838"/>
                </a:cubicBezTo>
                <a:cubicBezTo>
                  <a:pt x="767" y="846"/>
                  <a:pt x="777" y="850"/>
                  <a:pt x="782" y="844"/>
                </a:cubicBezTo>
                <a:cubicBezTo>
                  <a:pt x="794" y="830"/>
                  <a:pt x="804" y="816"/>
                  <a:pt x="814" y="800"/>
                </a:cubicBezTo>
                <a:cubicBezTo>
                  <a:pt x="824" y="784"/>
                  <a:pt x="831" y="766"/>
                  <a:pt x="838" y="749"/>
                </a:cubicBezTo>
                <a:cubicBezTo>
                  <a:pt x="845" y="731"/>
                  <a:pt x="850" y="713"/>
                  <a:pt x="856" y="695"/>
                </a:cubicBezTo>
                <a:cubicBezTo>
                  <a:pt x="858" y="688"/>
                  <a:pt x="861" y="680"/>
                  <a:pt x="863" y="672"/>
                </a:cubicBezTo>
                <a:cubicBezTo>
                  <a:pt x="871" y="673"/>
                  <a:pt x="878" y="673"/>
                  <a:pt x="885" y="673"/>
                </a:cubicBezTo>
                <a:cubicBezTo>
                  <a:pt x="928" y="673"/>
                  <a:pt x="971" y="674"/>
                  <a:pt x="1014" y="674"/>
                </a:cubicBezTo>
                <a:cubicBezTo>
                  <a:pt x="1014" y="676"/>
                  <a:pt x="1013" y="678"/>
                  <a:pt x="1013" y="679"/>
                </a:cubicBezTo>
                <a:cubicBezTo>
                  <a:pt x="1010" y="690"/>
                  <a:pt x="1006" y="701"/>
                  <a:pt x="1002" y="712"/>
                </a:cubicBezTo>
                <a:cubicBezTo>
                  <a:pt x="994" y="733"/>
                  <a:pt x="984" y="752"/>
                  <a:pt x="975" y="772"/>
                </a:cubicBezTo>
                <a:cubicBezTo>
                  <a:pt x="966" y="792"/>
                  <a:pt x="956" y="812"/>
                  <a:pt x="947" y="833"/>
                </a:cubicBezTo>
                <a:cubicBezTo>
                  <a:pt x="938" y="853"/>
                  <a:pt x="937" y="876"/>
                  <a:pt x="932" y="897"/>
                </a:cubicBezTo>
                <a:cubicBezTo>
                  <a:pt x="930" y="909"/>
                  <a:pt x="946" y="915"/>
                  <a:pt x="950" y="904"/>
                </a:cubicBezTo>
                <a:cubicBezTo>
                  <a:pt x="959" y="883"/>
                  <a:pt x="974" y="865"/>
                  <a:pt x="984" y="845"/>
                </a:cubicBezTo>
                <a:cubicBezTo>
                  <a:pt x="994" y="825"/>
                  <a:pt x="1004" y="806"/>
                  <a:pt x="1014" y="786"/>
                </a:cubicBezTo>
                <a:cubicBezTo>
                  <a:pt x="1033" y="751"/>
                  <a:pt x="1050" y="714"/>
                  <a:pt x="1059" y="674"/>
                </a:cubicBezTo>
                <a:cubicBezTo>
                  <a:pt x="1114" y="675"/>
                  <a:pt x="1169" y="676"/>
                  <a:pt x="1224" y="676"/>
                </a:cubicBezTo>
                <a:cubicBezTo>
                  <a:pt x="1222" y="684"/>
                  <a:pt x="1220" y="692"/>
                  <a:pt x="1218" y="700"/>
                </a:cubicBezTo>
                <a:cubicBezTo>
                  <a:pt x="1212" y="721"/>
                  <a:pt x="1204" y="742"/>
                  <a:pt x="1196" y="762"/>
                </a:cubicBezTo>
                <a:cubicBezTo>
                  <a:pt x="1177" y="803"/>
                  <a:pt x="1157" y="844"/>
                  <a:pt x="1142" y="887"/>
                </a:cubicBezTo>
                <a:cubicBezTo>
                  <a:pt x="1140" y="893"/>
                  <a:pt x="1148" y="897"/>
                  <a:pt x="1151" y="892"/>
                </a:cubicBezTo>
                <a:cubicBezTo>
                  <a:pt x="1177" y="852"/>
                  <a:pt x="1207" y="815"/>
                  <a:pt x="1231" y="774"/>
                </a:cubicBezTo>
                <a:cubicBezTo>
                  <a:pt x="1243" y="753"/>
                  <a:pt x="1254" y="732"/>
                  <a:pt x="1263" y="709"/>
                </a:cubicBezTo>
                <a:cubicBezTo>
                  <a:pt x="1266" y="700"/>
                  <a:pt x="1271" y="688"/>
                  <a:pt x="1273" y="677"/>
                </a:cubicBezTo>
                <a:cubicBezTo>
                  <a:pt x="1323" y="677"/>
                  <a:pt x="1373" y="678"/>
                  <a:pt x="1422" y="678"/>
                </a:cubicBezTo>
                <a:cubicBezTo>
                  <a:pt x="1424" y="678"/>
                  <a:pt x="1424" y="678"/>
                  <a:pt x="1426" y="678"/>
                </a:cubicBezTo>
                <a:cubicBezTo>
                  <a:pt x="1424" y="686"/>
                  <a:pt x="1422" y="692"/>
                  <a:pt x="1420" y="699"/>
                </a:cubicBezTo>
                <a:cubicBezTo>
                  <a:pt x="1410" y="729"/>
                  <a:pt x="1398" y="758"/>
                  <a:pt x="1387" y="788"/>
                </a:cubicBezTo>
                <a:cubicBezTo>
                  <a:pt x="1375" y="819"/>
                  <a:pt x="1365" y="852"/>
                  <a:pt x="1354" y="884"/>
                </a:cubicBezTo>
                <a:cubicBezTo>
                  <a:pt x="1349" y="900"/>
                  <a:pt x="1344" y="916"/>
                  <a:pt x="1339" y="932"/>
                </a:cubicBezTo>
                <a:cubicBezTo>
                  <a:pt x="1334" y="948"/>
                  <a:pt x="1332" y="964"/>
                  <a:pt x="1328" y="980"/>
                </a:cubicBezTo>
                <a:cubicBezTo>
                  <a:pt x="1326" y="985"/>
                  <a:pt x="1333" y="989"/>
                  <a:pt x="1336" y="984"/>
                </a:cubicBezTo>
                <a:cubicBezTo>
                  <a:pt x="1345" y="971"/>
                  <a:pt x="1356" y="959"/>
                  <a:pt x="1364" y="944"/>
                </a:cubicBezTo>
                <a:cubicBezTo>
                  <a:pt x="1372" y="928"/>
                  <a:pt x="1380" y="912"/>
                  <a:pt x="1387" y="895"/>
                </a:cubicBezTo>
                <a:cubicBezTo>
                  <a:pt x="1401" y="864"/>
                  <a:pt x="1414" y="832"/>
                  <a:pt x="1427" y="801"/>
                </a:cubicBezTo>
                <a:cubicBezTo>
                  <a:pt x="1440" y="772"/>
                  <a:pt x="1454" y="744"/>
                  <a:pt x="1466" y="714"/>
                </a:cubicBezTo>
                <a:cubicBezTo>
                  <a:pt x="1470" y="702"/>
                  <a:pt x="1474" y="690"/>
                  <a:pt x="1476" y="678"/>
                </a:cubicBezTo>
                <a:cubicBezTo>
                  <a:pt x="1510" y="678"/>
                  <a:pt x="1544" y="676"/>
                  <a:pt x="1577" y="676"/>
                </a:cubicBezTo>
                <a:cubicBezTo>
                  <a:pt x="1589" y="675"/>
                  <a:pt x="1601" y="675"/>
                  <a:pt x="1612" y="675"/>
                </a:cubicBezTo>
                <a:cubicBezTo>
                  <a:pt x="1612" y="676"/>
                  <a:pt x="1612" y="677"/>
                  <a:pt x="1612" y="678"/>
                </a:cubicBezTo>
                <a:cubicBezTo>
                  <a:pt x="1610" y="696"/>
                  <a:pt x="1607" y="714"/>
                  <a:pt x="1605" y="732"/>
                </a:cubicBezTo>
                <a:cubicBezTo>
                  <a:pt x="1600" y="768"/>
                  <a:pt x="1593" y="804"/>
                  <a:pt x="1586" y="839"/>
                </a:cubicBezTo>
                <a:cubicBezTo>
                  <a:pt x="1578" y="875"/>
                  <a:pt x="1569" y="910"/>
                  <a:pt x="1560" y="946"/>
                </a:cubicBezTo>
                <a:cubicBezTo>
                  <a:pt x="1549" y="983"/>
                  <a:pt x="1541" y="1020"/>
                  <a:pt x="1532" y="1058"/>
                </a:cubicBezTo>
                <a:cubicBezTo>
                  <a:pt x="1531" y="1060"/>
                  <a:pt x="1534" y="1062"/>
                  <a:pt x="1535" y="1060"/>
                </a:cubicBezTo>
                <a:cubicBezTo>
                  <a:pt x="1554" y="1027"/>
                  <a:pt x="1572" y="995"/>
                  <a:pt x="1587" y="960"/>
                </a:cubicBezTo>
                <a:cubicBezTo>
                  <a:pt x="1602" y="924"/>
                  <a:pt x="1615" y="888"/>
                  <a:pt x="1626" y="852"/>
                </a:cubicBezTo>
                <a:cubicBezTo>
                  <a:pt x="1637" y="815"/>
                  <a:pt x="1646" y="778"/>
                  <a:pt x="1654" y="741"/>
                </a:cubicBezTo>
                <a:cubicBezTo>
                  <a:pt x="1658" y="722"/>
                  <a:pt x="1661" y="704"/>
                  <a:pt x="1664" y="685"/>
                </a:cubicBezTo>
                <a:cubicBezTo>
                  <a:pt x="1664" y="682"/>
                  <a:pt x="1664" y="678"/>
                  <a:pt x="1665" y="675"/>
                </a:cubicBezTo>
                <a:cubicBezTo>
                  <a:pt x="1688" y="675"/>
                  <a:pt x="1710" y="674"/>
                  <a:pt x="1733" y="674"/>
                </a:cubicBezTo>
                <a:cubicBezTo>
                  <a:pt x="1754" y="674"/>
                  <a:pt x="1776" y="674"/>
                  <a:pt x="1797" y="674"/>
                </a:cubicBezTo>
                <a:cubicBezTo>
                  <a:pt x="1796" y="678"/>
                  <a:pt x="1796" y="681"/>
                  <a:pt x="1795" y="685"/>
                </a:cubicBezTo>
                <a:cubicBezTo>
                  <a:pt x="1791" y="708"/>
                  <a:pt x="1787" y="732"/>
                  <a:pt x="1783" y="756"/>
                </a:cubicBezTo>
                <a:cubicBezTo>
                  <a:pt x="1775" y="804"/>
                  <a:pt x="1768" y="851"/>
                  <a:pt x="1759" y="899"/>
                </a:cubicBezTo>
                <a:cubicBezTo>
                  <a:pt x="1750" y="947"/>
                  <a:pt x="1736" y="993"/>
                  <a:pt x="1726" y="1040"/>
                </a:cubicBezTo>
                <a:cubicBezTo>
                  <a:pt x="1716" y="1086"/>
                  <a:pt x="1704" y="1132"/>
                  <a:pt x="1702" y="1179"/>
                </a:cubicBezTo>
                <a:cubicBezTo>
                  <a:pt x="1702" y="1185"/>
                  <a:pt x="1710" y="1186"/>
                  <a:pt x="1712" y="1181"/>
                </a:cubicBezTo>
                <a:cubicBezTo>
                  <a:pt x="1732" y="1140"/>
                  <a:pt x="1748" y="1096"/>
                  <a:pt x="1765" y="1053"/>
                </a:cubicBezTo>
                <a:cubicBezTo>
                  <a:pt x="1783" y="1008"/>
                  <a:pt x="1797" y="961"/>
                  <a:pt x="1809" y="914"/>
                </a:cubicBezTo>
                <a:cubicBezTo>
                  <a:pt x="1821" y="867"/>
                  <a:pt x="1830" y="820"/>
                  <a:pt x="1838" y="772"/>
                </a:cubicBezTo>
                <a:cubicBezTo>
                  <a:pt x="1842" y="748"/>
                  <a:pt x="1846" y="724"/>
                  <a:pt x="1850" y="701"/>
                </a:cubicBezTo>
                <a:cubicBezTo>
                  <a:pt x="1852" y="692"/>
                  <a:pt x="1854" y="682"/>
                  <a:pt x="1856" y="672"/>
                </a:cubicBezTo>
                <a:cubicBezTo>
                  <a:pt x="1867" y="672"/>
                  <a:pt x="1878" y="672"/>
                  <a:pt x="1888" y="672"/>
                </a:cubicBezTo>
                <a:cubicBezTo>
                  <a:pt x="1909" y="672"/>
                  <a:pt x="2031" y="685"/>
                  <a:pt x="2063" y="682"/>
                </a:cubicBezTo>
                <a:cubicBezTo>
                  <a:pt x="2064" y="701"/>
                  <a:pt x="2066" y="721"/>
                  <a:pt x="2068" y="740"/>
                </a:cubicBezTo>
                <a:cubicBezTo>
                  <a:pt x="2076" y="837"/>
                  <a:pt x="2062" y="964"/>
                  <a:pt x="2137" y="1039"/>
                </a:cubicBezTo>
                <a:cubicBezTo>
                  <a:pt x="2301" y="1202"/>
                  <a:pt x="2618" y="1012"/>
                  <a:pt x="2761" y="901"/>
                </a:cubicBezTo>
                <a:cubicBezTo>
                  <a:pt x="2769" y="895"/>
                  <a:pt x="2908" y="753"/>
                  <a:pt x="2861" y="750"/>
                </a:cubicBezTo>
                <a:close/>
                <a:moveTo>
                  <a:pt x="2313" y="531"/>
                </a:moveTo>
                <a:cubicBezTo>
                  <a:pt x="2196" y="572"/>
                  <a:pt x="2174" y="374"/>
                  <a:pt x="2274" y="341"/>
                </a:cubicBezTo>
                <a:cubicBezTo>
                  <a:pt x="2371" y="309"/>
                  <a:pt x="2434" y="488"/>
                  <a:pt x="2313" y="531"/>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cs typeface="+mn-cs"/>
            </a:endParaRPr>
          </a:p>
        </p:txBody>
      </p:sp>
      <p:grpSp>
        <p:nvGrpSpPr>
          <p:cNvPr id="7" name="Group 8">
            <a:extLst>
              <a:ext uri="{FF2B5EF4-FFF2-40B4-BE49-F238E27FC236}">
                <a16:creationId xmlns:a16="http://schemas.microsoft.com/office/drawing/2014/main" id="{EC8643A9-5D38-4441-8271-F0ED2CB7E88B}"/>
              </a:ext>
            </a:extLst>
          </p:cNvPr>
          <p:cNvGrpSpPr>
            <a:grpSpLocks noChangeAspect="1"/>
          </p:cNvGrpSpPr>
          <p:nvPr/>
        </p:nvGrpSpPr>
        <p:grpSpPr bwMode="auto">
          <a:xfrm>
            <a:off x="4503738" y="2028467"/>
            <a:ext cx="3093939" cy="1017587"/>
            <a:chOff x="1877" y="1519"/>
            <a:chExt cx="3907" cy="1285"/>
          </a:xfrm>
          <a:solidFill>
            <a:schemeClr val="accent2"/>
          </a:solidFill>
        </p:grpSpPr>
        <p:sp>
          <p:nvSpPr>
            <p:cNvPr id="9" name="Freeform 9">
              <a:extLst>
                <a:ext uri="{FF2B5EF4-FFF2-40B4-BE49-F238E27FC236}">
                  <a16:creationId xmlns:a16="http://schemas.microsoft.com/office/drawing/2014/main" id="{1873651E-3954-4692-B09C-84794C7A2ECB}"/>
                </a:ext>
              </a:extLst>
            </p:cNvPr>
            <p:cNvSpPr>
              <a:spLocks noEditPoints="1"/>
            </p:cNvSpPr>
            <p:nvPr/>
          </p:nvSpPr>
          <p:spPr bwMode="auto">
            <a:xfrm>
              <a:off x="4743" y="1615"/>
              <a:ext cx="1041" cy="1042"/>
            </a:xfrm>
            <a:custGeom>
              <a:avLst/>
              <a:gdLst>
                <a:gd name="T0" fmla="*/ 380 w 390"/>
                <a:gd name="T1" fmla="*/ 189 h 388"/>
                <a:gd name="T2" fmla="*/ 342 w 390"/>
                <a:gd name="T3" fmla="*/ 145 h 388"/>
                <a:gd name="T4" fmla="*/ 191 w 390"/>
                <a:gd name="T5" fmla="*/ 49 h 388"/>
                <a:gd name="T6" fmla="*/ 35 w 390"/>
                <a:gd name="T7" fmla="*/ 49 h 388"/>
                <a:gd name="T8" fmla="*/ 16 w 390"/>
                <a:gd name="T9" fmla="*/ 243 h 388"/>
                <a:gd name="T10" fmla="*/ 90 w 390"/>
                <a:gd name="T11" fmla="*/ 383 h 388"/>
                <a:gd name="T12" fmla="*/ 350 w 390"/>
                <a:gd name="T13" fmla="*/ 275 h 388"/>
                <a:gd name="T14" fmla="*/ 387 w 390"/>
                <a:gd name="T15" fmla="*/ 215 h 388"/>
                <a:gd name="T16" fmla="*/ 380 w 390"/>
                <a:gd name="T17" fmla="*/ 189 h 388"/>
                <a:gd name="T18" fmla="*/ 156 w 390"/>
                <a:gd name="T19" fmla="*/ 193 h 388"/>
                <a:gd name="T20" fmla="*/ 111 w 390"/>
                <a:gd name="T21" fmla="*/ 148 h 388"/>
                <a:gd name="T22" fmla="*/ 156 w 390"/>
                <a:gd name="T23" fmla="*/ 104 h 388"/>
                <a:gd name="T24" fmla="*/ 200 w 390"/>
                <a:gd name="T25" fmla="*/ 148 h 388"/>
                <a:gd name="T26" fmla="*/ 156 w 390"/>
                <a:gd name="T27" fmla="*/ 193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0" h="388">
                  <a:moveTo>
                    <a:pt x="380" y="189"/>
                  </a:moveTo>
                  <a:cubicBezTo>
                    <a:pt x="366" y="176"/>
                    <a:pt x="356" y="158"/>
                    <a:pt x="342" y="145"/>
                  </a:cubicBezTo>
                  <a:cubicBezTo>
                    <a:pt x="300" y="102"/>
                    <a:pt x="246" y="72"/>
                    <a:pt x="191" y="49"/>
                  </a:cubicBezTo>
                  <a:cubicBezTo>
                    <a:pt x="149" y="33"/>
                    <a:pt x="68" y="0"/>
                    <a:pt x="35" y="49"/>
                  </a:cubicBezTo>
                  <a:cubicBezTo>
                    <a:pt x="0" y="100"/>
                    <a:pt x="14" y="184"/>
                    <a:pt x="16" y="243"/>
                  </a:cubicBezTo>
                  <a:cubicBezTo>
                    <a:pt x="18" y="291"/>
                    <a:pt x="25" y="380"/>
                    <a:pt x="90" y="383"/>
                  </a:cubicBezTo>
                  <a:cubicBezTo>
                    <a:pt x="180" y="388"/>
                    <a:pt x="287" y="339"/>
                    <a:pt x="350" y="275"/>
                  </a:cubicBezTo>
                  <a:cubicBezTo>
                    <a:pt x="368" y="257"/>
                    <a:pt x="374" y="237"/>
                    <a:pt x="387" y="215"/>
                  </a:cubicBezTo>
                  <a:cubicBezTo>
                    <a:pt x="390" y="206"/>
                    <a:pt x="387" y="196"/>
                    <a:pt x="380" y="189"/>
                  </a:cubicBezTo>
                  <a:close/>
                  <a:moveTo>
                    <a:pt x="156" y="193"/>
                  </a:moveTo>
                  <a:cubicBezTo>
                    <a:pt x="131" y="193"/>
                    <a:pt x="111" y="173"/>
                    <a:pt x="111" y="148"/>
                  </a:cubicBezTo>
                  <a:cubicBezTo>
                    <a:pt x="111" y="124"/>
                    <a:pt x="131" y="104"/>
                    <a:pt x="156" y="104"/>
                  </a:cubicBezTo>
                  <a:cubicBezTo>
                    <a:pt x="180" y="104"/>
                    <a:pt x="200" y="124"/>
                    <a:pt x="200" y="148"/>
                  </a:cubicBezTo>
                  <a:cubicBezTo>
                    <a:pt x="200" y="173"/>
                    <a:pt x="180" y="193"/>
                    <a:pt x="156" y="19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cs typeface="+mn-cs"/>
              </a:endParaRPr>
            </a:p>
          </p:txBody>
        </p:sp>
        <p:sp>
          <p:nvSpPr>
            <p:cNvPr id="10" name="Freeform 10">
              <a:extLst>
                <a:ext uri="{FF2B5EF4-FFF2-40B4-BE49-F238E27FC236}">
                  <a16:creationId xmlns:a16="http://schemas.microsoft.com/office/drawing/2014/main" id="{57E2EDC5-9B0F-4913-96EC-4699904F603B}"/>
                </a:ext>
              </a:extLst>
            </p:cNvPr>
            <p:cNvSpPr>
              <a:spLocks/>
            </p:cNvSpPr>
            <p:nvPr/>
          </p:nvSpPr>
          <p:spPr bwMode="auto">
            <a:xfrm>
              <a:off x="1877" y="1605"/>
              <a:ext cx="3050" cy="1113"/>
            </a:xfrm>
            <a:custGeom>
              <a:avLst/>
              <a:gdLst>
                <a:gd name="T0" fmla="*/ 1133 w 1142"/>
                <a:gd name="T1" fmla="*/ 193 h 415"/>
                <a:gd name="T2" fmla="*/ 1129 w 1142"/>
                <a:gd name="T3" fmla="*/ 191 h 415"/>
                <a:gd name="T4" fmla="*/ 1107 w 1142"/>
                <a:gd name="T5" fmla="*/ 180 h 415"/>
                <a:gd name="T6" fmla="*/ 1075 w 1142"/>
                <a:gd name="T7" fmla="*/ 177 h 415"/>
                <a:gd name="T8" fmla="*/ 1021 w 1142"/>
                <a:gd name="T9" fmla="*/ 180 h 415"/>
                <a:gd name="T10" fmla="*/ 911 w 1142"/>
                <a:gd name="T11" fmla="*/ 182 h 415"/>
                <a:gd name="T12" fmla="*/ 686 w 1142"/>
                <a:gd name="T13" fmla="*/ 185 h 415"/>
                <a:gd name="T14" fmla="*/ 461 w 1142"/>
                <a:gd name="T15" fmla="*/ 189 h 415"/>
                <a:gd name="T16" fmla="*/ 358 w 1142"/>
                <a:gd name="T17" fmla="*/ 191 h 415"/>
                <a:gd name="T18" fmla="*/ 331 w 1142"/>
                <a:gd name="T19" fmla="*/ 190 h 415"/>
                <a:gd name="T20" fmla="*/ 311 w 1142"/>
                <a:gd name="T21" fmla="*/ 179 h 415"/>
                <a:gd name="T22" fmla="*/ 278 w 1142"/>
                <a:gd name="T23" fmla="*/ 147 h 415"/>
                <a:gd name="T24" fmla="*/ 205 w 1142"/>
                <a:gd name="T25" fmla="*/ 71 h 415"/>
                <a:gd name="T26" fmla="*/ 124 w 1142"/>
                <a:gd name="T27" fmla="*/ 22 h 415"/>
                <a:gd name="T28" fmla="*/ 28 w 1142"/>
                <a:gd name="T29" fmla="*/ 1 h 415"/>
                <a:gd name="T30" fmla="*/ 22 w 1142"/>
                <a:gd name="T31" fmla="*/ 34 h 415"/>
                <a:gd name="T32" fmla="*/ 33 w 1142"/>
                <a:gd name="T33" fmla="*/ 38 h 415"/>
                <a:gd name="T34" fmla="*/ 64 w 1142"/>
                <a:gd name="T35" fmla="*/ 64 h 415"/>
                <a:gd name="T36" fmla="*/ 85 w 1142"/>
                <a:gd name="T37" fmla="*/ 117 h 415"/>
                <a:gd name="T38" fmla="*/ 110 w 1142"/>
                <a:gd name="T39" fmla="*/ 207 h 415"/>
                <a:gd name="T40" fmla="*/ 85 w 1142"/>
                <a:gd name="T41" fmla="*/ 298 h 415"/>
                <a:gd name="T42" fmla="*/ 64 w 1142"/>
                <a:gd name="T43" fmla="*/ 351 h 415"/>
                <a:gd name="T44" fmla="*/ 33 w 1142"/>
                <a:gd name="T45" fmla="*/ 377 h 415"/>
                <a:gd name="T46" fmla="*/ 22 w 1142"/>
                <a:gd name="T47" fmla="*/ 381 h 415"/>
                <a:gd name="T48" fmla="*/ 28 w 1142"/>
                <a:gd name="T49" fmla="*/ 414 h 415"/>
                <a:gd name="T50" fmla="*/ 124 w 1142"/>
                <a:gd name="T51" fmla="*/ 393 h 415"/>
                <a:gd name="T52" fmla="*/ 205 w 1142"/>
                <a:gd name="T53" fmla="*/ 343 h 415"/>
                <a:gd name="T54" fmla="*/ 278 w 1142"/>
                <a:gd name="T55" fmla="*/ 268 h 415"/>
                <a:gd name="T56" fmla="*/ 311 w 1142"/>
                <a:gd name="T57" fmla="*/ 236 h 415"/>
                <a:gd name="T58" fmla="*/ 331 w 1142"/>
                <a:gd name="T59" fmla="*/ 225 h 415"/>
                <a:gd name="T60" fmla="*/ 358 w 1142"/>
                <a:gd name="T61" fmla="*/ 223 h 415"/>
                <a:gd name="T62" fmla="*/ 461 w 1142"/>
                <a:gd name="T63" fmla="*/ 226 h 415"/>
                <a:gd name="T64" fmla="*/ 686 w 1142"/>
                <a:gd name="T65" fmla="*/ 229 h 415"/>
                <a:gd name="T66" fmla="*/ 911 w 1142"/>
                <a:gd name="T67" fmla="*/ 233 h 415"/>
                <a:gd name="T68" fmla="*/ 1021 w 1142"/>
                <a:gd name="T69" fmla="*/ 235 h 415"/>
                <a:gd name="T70" fmla="*/ 1075 w 1142"/>
                <a:gd name="T71" fmla="*/ 238 h 415"/>
                <a:gd name="T72" fmla="*/ 1107 w 1142"/>
                <a:gd name="T73" fmla="*/ 235 h 415"/>
                <a:gd name="T74" fmla="*/ 1129 w 1142"/>
                <a:gd name="T75" fmla="*/ 224 h 415"/>
                <a:gd name="T76" fmla="*/ 1133 w 1142"/>
                <a:gd name="T77" fmla="*/ 222 h 415"/>
                <a:gd name="T78" fmla="*/ 1141 w 1142"/>
                <a:gd name="T79" fmla="*/ 207 h 415"/>
                <a:gd name="T80" fmla="*/ 1133 w 1142"/>
                <a:gd name="T81" fmla="*/ 193 h 4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142" h="415">
                  <a:moveTo>
                    <a:pt x="1133" y="193"/>
                  </a:moveTo>
                  <a:cubicBezTo>
                    <a:pt x="1131" y="192"/>
                    <a:pt x="1130" y="191"/>
                    <a:pt x="1129" y="191"/>
                  </a:cubicBezTo>
                  <a:cubicBezTo>
                    <a:pt x="1122" y="187"/>
                    <a:pt x="1114" y="182"/>
                    <a:pt x="1107" y="180"/>
                  </a:cubicBezTo>
                  <a:cubicBezTo>
                    <a:pt x="1097" y="177"/>
                    <a:pt x="1086" y="177"/>
                    <a:pt x="1075" y="177"/>
                  </a:cubicBezTo>
                  <a:cubicBezTo>
                    <a:pt x="1057" y="176"/>
                    <a:pt x="1039" y="179"/>
                    <a:pt x="1021" y="180"/>
                  </a:cubicBezTo>
                  <a:cubicBezTo>
                    <a:pt x="984" y="182"/>
                    <a:pt x="948" y="182"/>
                    <a:pt x="911" y="182"/>
                  </a:cubicBezTo>
                  <a:cubicBezTo>
                    <a:pt x="836" y="182"/>
                    <a:pt x="761" y="182"/>
                    <a:pt x="686" y="185"/>
                  </a:cubicBezTo>
                  <a:cubicBezTo>
                    <a:pt x="611" y="189"/>
                    <a:pt x="536" y="188"/>
                    <a:pt x="461" y="189"/>
                  </a:cubicBezTo>
                  <a:cubicBezTo>
                    <a:pt x="427" y="189"/>
                    <a:pt x="392" y="190"/>
                    <a:pt x="358" y="191"/>
                  </a:cubicBezTo>
                  <a:cubicBezTo>
                    <a:pt x="349" y="191"/>
                    <a:pt x="340" y="191"/>
                    <a:pt x="331" y="190"/>
                  </a:cubicBezTo>
                  <a:cubicBezTo>
                    <a:pt x="325" y="186"/>
                    <a:pt x="317" y="183"/>
                    <a:pt x="311" y="179"/>
                  </a:cubicBezTo>
                  <a:cubicBezTo>
                    <a:pt x="299" y="170"/>
                    <a:pt x="288" y="158"/>
                    <a:pt x="278" y="147"/>
                  </a:cubicBezTo>
                  <a:cubicBezTo>
                    <a:pt x="255" y="121"/>
                    <a:pt x="232" y="95"/>
                    <a:pt x="205" y="71"/>
                  </a:cubicBezTo>
                  <a:cubicBezTo>
                    <a:pt x="182" y="51"/>
                    <a:pt x="154" y="34"/>
                    <a:pt x="124" y="22"/>
                  </a:cubicBezTo>
                  <a:cubicBezTo>
                    <a:pt x="95" y="11"/>
                    <a:pt x="61" y="0"/>
                    <a:pt x="28" y="1"/>
                  </a:cubicBezTo>
                  <a:cubicBezTo>
                    <a:pt x="7" y="2"/>
                    <a:pt x="0" y="29"/>
                    <a:pt x="22" y="34"/>
                  </a:cubicBezTo>
                  <a:cubicBezTo>
                    <a:pt x="26" y="35"/>
                    <a:pt x="29" y="37"/>
                    <a:pt x="33" y="38"/>
                  </a:cubicBezTo>
                  <a:cubicBezTo>
                    <a:pt x="46" y="43"/>
                    <a:pt x="55" y="52"/>
                    <a:pt x="64" y="64"/>
                  </a:cubicBezTo>
                  <a:cubicBezTo>
                    <a:pt x="75" y="80"/>
                    <a:pt x="82" y="99"/>
                    <a:pt x="85" y="117"/>
                  </a:cubicBezTo>
                  <a:cubicBezTo>
                    <a:pt x="91" y="147"/>
                    <a:pt x="92" y="181"/>
                    <a:pt x="110" y="207"/>
                  </a:cubicBezTo>
                  <a:cubicBezTo>
                    <a:pt x="92" y="234"/>
                    <a:pt x="90" y="267"/>
                    <a:pt x="85" y="298"/>
                  </a:cubicBezTo>
                  <a:cubicBezTo>
                    <a:pt x="82" y="317"/>
                    <a:pt x="75" y="335"/>
                    <a:pt x="64" y="351"/>
                  </a:cubicBezTo>
                  <a:cubicBezTo>
                    <a:pt x="55" y="363"/>
                    <a:pt x="46" y="372"/>
                    <a:pt x="33" y="377"/>
                  </a:cubicBezTo>
                  <a:cubicBezTo>
                    <a:pt x="29" y="378"/>
                    <a:pt x="26" y="379"/>
                    <a:pt x="22" y="381"/>
                  </a:cubicBezTo>
                  <a:cubicBezTo>
                    <a:pt x="1" y="386"/>
                    <a:pt x="7" y="413"/>
                    <a:pt x="28" y="414"/>
                  </a:cubicBezTo>
                  <a:cubicBezTo>
                    <a:pt x="60" y="415"/>
                    <a:pt x="95" y="404"/>
                    <a:pt x="124" y="393"/>
                  </a:cubicBezTo>
                  <a:cubicBezTo>
                    <a:pt x="154" y="381"/>
                    <a:pt x="182" y="364"/>
                    <a:pt x="205" y="343"/>
                  </a:cubicBezTo>
                  <a:cubicBezTo>
                    <a:pt x="232" y="320"/>
                    <a:pt x="255" y="294"/>
                    <a:pt x="278" y="268"/>
                  </a:cubicBezTo>
                  <a:cubicBezTo>
                    <a:pt x="289" y="257"/>
                    <a:pt x="299" y="245"/>
                    <a:pt x="311" y="236"/>
                  </a:cubicBezTo>
                  <a:cubicBezTo>
                    <a:pt x="317" y="231"/>
                    <a:pt x="325" y="229"/>
                    <a:pt x="331" y="225"/>
                  </a:cubicBezTo>
                  <a:cubicBezTo>
                    <a:pt x="340" y="224"/>
                    <a:pt x="349" y="224"/>
                    <a:pt x="358" y="223"/>
                  </a:cubicBezTo>
                  <a:cubicBezTo>
                    <a:pt x="392" y="225"/>
                    <a:pt x="427" y="226"/>
                    <a:pt x="461" y="226"/>
                  </a:cubicBezTo>
                  <a:cubicBezTo>
                    <a:pt x="536" y="227"/>
                    <a:pt x="611" y="226"/>
                    <a:pt x="686" y="229"/>
                  </a:cubicBezTo>
                  <a:cubicBezTo>
                    <a:pt x="761" y="233"/>
                    <a:pt x="836" y="232"/>
                    <a:pt x="911" y="233"/>
                  </a:cubicBezTo>
                  <a:cubicBezTo>
                    <a:pt x="947" y="233"/>
                    <a:pt x="984" y="233"/>
                    <a:pt x="1021" y="235"/>
                  </a:cubicBezTo>
                  <a:cubicBezTo>
                    <a:pt x="1039" y="236"/>
                    <a:pt x="1057" y="239"/>
                    <a:pt x="1075" y="238"/>
                  </a:cubicBezTo>
                  <a:cubicBezTo>
                    <a:pt x="1086" y="238"/>
                    <a:pt x="1097" y="237"/>
                    <a:pt x="1107" y="235"/>
                  </a:cubicBezTo>
                  <a:cubicBezTo>
                    <a:pt x="1114" y="233"/>
                    <a:pt x="1122" y="227"/>
                    <a:pt x="1129" y="224"/>
                  </a:cubicBezTo>
                  <a:cubicBezTo>
                    <a:pt x="1130" y="224"/>
                    <a:pt x="1131" y="223"/>
                    <a:pt x="1133" y="222"/>
                  </a:cubicBezTo>
                  <a:cubicBezTo>
                    <a:pt x="1139" y="219"/>
                    <a:pt x="1142" y="213"/>
                    <a:pt x="1141" y="207"/>
                  </a:cubicBezTo>
                  <a:cubicBezTo>
                    <a:pt x="1141" y="202"/>
                    <a:pt x="1139" y="196"/>
                    <a:pt x="1133" y="19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cs typeface="+mn-cs"/>
              </a:endParaRPr>
            </a:p>
          </p:txBody>
        </p:sp>
        <p:sp>
          <p:nvSpPr>
            <p:cNvPr id="11" name="Freeform 11">
              <a:extLst>
                <a:ext uri="{FF2B5EF4-FFF2-40B4-BE49-F238E27FC236}">
                  <a16:creationId xmlns:a16="http://schemas.microsoft.com/office/drawing/2014/main" id="{72295ECC-8BB7-47BC-B71F-E22B3E6472C5}"/>
                </a:ext>
              </a:extLst>
            </p:cNvPr>
            <p:cNvSpPr>
              <a:spLocks/>
            </p:cNvSpPr>
            <p:nvPr/>
          </p:nvSpPr>
          <p:spPr bwMode="auto">
            <a:xfrm>
              <a:off x="4486" y="1519"/>
              <a:ext cx="222" cy="652"/>
            </a:xfrm>
            <a:custGeom>
              <a:avLst/>
              <a:gdLst>
                <a:gd name="T0" fmla="*/ 78 w 83"/>
                <a:gd name="T1" fmla="*/ 207 h 243"/>
                <a:gd name="T2" fmla="*/ 56 w 83"/>
                <a:gd name="T3" fmla="*/ 102 h 243"/>
                <a:gd name="T4" fmla="*/ 14 w 83"/>
                <a:gd name="T5" fmla="*/ 5 h 243"/>
                <a:gd name="T6" fmla="*/ 4 w 83"/>
                <a:gd name="T7" fmla="*/ 13 h 243"/>
                <a:gd name="T8" fmla="*/ 29 w 83"/>
                <a:gd name="T9" fmla="*/ 109 h 243"/>
                <a:gd name="T10" fmla="*/ 39 w 83"/>
                <a:gd name="T11" fmla="*/ 217 h 243"/>
                <a:gd name="T12" fmla="*/ 78 w 83"/>
                <a:gd name="T13" fmla="*/ 207 h 243"/>
              </a:gdLst>
              <a:ahLst/>
              <a:cxnLst>
                <a:cxn ang="0">
                  <a:pos x="T0" y="T1"/>
                </a:cxn>
                <a:cxn ang="0">
                  <a:pos x="T2" y="T3"/>
                </a:cxn>
                <a:cxn ang="0">
                  <a:pos x="T4" y="T5"/>
                </a:cxn>
                <a:cxn ang="0">
                  <a:pos x="T6" y="T7"/>
                </a:cxn>
                <a:cxn ang="0">
                  <a:pos x="T8" y="T9"/>
                </a:cxn>
                <a:cxn ang="0">
                  <a:pos x="T10" y="T11"/>
                </a:cxn>
                <a:cxn ang="0">
                  <a:pos x="T12" y="T13"/>
                </a:cxn>
              </a:cxnLst>
              <a:rect l="0" t="0" r="r" b="b"/>
              <a:pathLst>
                <a:path w="83" h="243">
                  <a:moveTo>
                    <a:pt x="78" y="207"/>
                  </a:moveTo>
                  <a:cubicBezTo>
                    <a:pt x="72" y="171"/>
                    <a:pt x="64" y="137"/>
                    <a:pt x="56" y="102"/>
                  </a:cubicBezTo>
                  <a:cubicBezTo>
                    <a:pt x="48" y="67"/>
                    <a:pt x="36" y="34"/>
                    <a:pt x="14" y="5"/>
                  </a:cubicBezTo>
                  <a:cubicBezTo>
                    <a:pt x="10" y="0"/>
                    <a:pt x="0" y="6"/>
                    <a:pt x="4" y="13"/>
                  </a:cubicBezTo>
                  <a:cubicBezTo>
                    <a:pt x="21" y="41"/>
                    <a:pt x="27" y="76"/>
                    <a:pt x="29" y="109"/>
                  </a:cubicBezTo>
                  <a:cubicBezTo>
                    <a:pt x="31" y="145"/>
                    <a:pt x="28" y="182"/>
                    <a:pt x="39" y="217"/>
                  </a:cubicBezTo>
                  <a:cubicBezTo>
                    <a:pt x="47" y="243"/>
                    <a:pt x="83" y="233"/>
                    <a:pt x="78" y="20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cs typeface="+mn-cs"/>
              </a:endParaRPr>
            </a:p>
          </p:txBody>
        </p:sp>
        <p:sp>
          <p:nvSpPr>
            <p:cNvPr id="12" name="Freeform 12">
              <a:extLst>
                <a:ext uri="{FF2B5EF4-FFF2-40B4-BE49-F238E27FC236}">
                  <a16:creationId xmlns:a16="http://schemas.microsoft.com/office/drawing/2014/main" id="{0F125618-599E-4641-9D75-25C61D9CBC61}"/>
                </a:ext>
              </a:extLst>
            </p:cNvPr>
            <p:cNvSpPr>
              <a:spLocks/>
            </p:cNvSpPr>
            <p:nvPr/>
          </p:nvSpPr>
          <p:spPr bwMode="auto">
            <a:xfrm>
              <a:off x="4486" y="2155"/>
              <a:ext cx="222" cy="649"/>
            </a:xfrm>
            <a:custGeom>
              <a:avLst/>
              <a:gdLst>
                <a:gd name="T0" fmla="*/ 78 w 83"/>
                <a:gd name="T1" fmla="*/ 36 h 242"/>
                <a:gd name="T2" fmla="*/ 56 w 83"/>
                <a:gd name="T3" fmla="*/ 140 h 242"/>
                <a:gd name="T4" fmla="*/ 14 w 83"/>
                <a:gd name="T5" fmla="*/ 237 h 242"/>
                <a:gd name="T6" fmla="*/ 4 w 83"/>
                <a:gd name="T7" fmla="*/ 230 h 242"/>
                <a:gd name="T8" fmla="*/ 29 w 83"/>
                <a:gd name="T9" fmla="*/ 133 h 242"/>
                <a:gd name="T10" fmla="*/ 39 w 83"/>
                <a:gd name="T11" fmla="*/ 26 h 242"/>
                <a:gd name="T12" fmla="*/ 78 w 83"/>
                <a:gd name="T13" fmla="*/ 36 h 242"/>
              </a:gdLst>
              <a:ahLst/>
              <a:cxnLst>
                <a:cxn ang="0">
                  <a:pos x="T0" y="T1"/>
                </a:cxn>
                <a:cxn ang="0">
                  <a:pos x="T2" y="T3"/>
                </a:cxn>
                <a:cxn ang="0">
                  <a:pos x="T4" y="T5"/>
                </a:cxn>
                <a:cxn ang="0">
                  <a:pos x="T6" y="T7"/>
                </a:cxn>
                <a:cxn ang="0">
                  <a:pos x="T8" y="T9"/>
                </a:cxn>
                <a:cxn ang="0">
                  <a:pos x="T10" y="T11"/>
                </a:cxn>
                <a:cxn ang="0">
                  <a:pos x="T12" y="T13"/>
                </a:cxn>
              </a:cxnLst>
              <a:rect l="0" t="0" r="r" b="b"/>
              <a:pathLst>
                <a:path w="83" h="242">
                  <a:moveTo>
                    <a:pt x="78" y="36"/>
                  </a:moveTo>
                  <a:cubicBezTo>
                    <a:pt x="72" y="71"/>
                    <a:pt x="64" y="106"/>
                    <a:pt x="56" y="140"/>
                  </a:cubicBezTo>
                  <a:cubicBezTo>
                    <a:pt x="48" y="176"/>
                    <a:pt x="36" y="208"/>
                    <a:pt x="14" y="237"/>
                  </a:cubicBezTo>
                  <a:cubicBezTo>
                    <a:pt x="10" y="242"/>
                    <a:pt x="0" y="236"/>
                    <a:pt x="4" y="230"/>
                  </a:cubicBezTo>
                  <a:cubicBezTo>
                    <a:pt x="21" y="201"/>
                    <a:pt x="27" y="166"/>
                    <a:pt x="29" y="133"/>
                  </a:cubicBezTo>
                  <a:cubicBezTo>
                    <a:pt x="31" y="97"/>
                    <a:pt x="28" y="60"/>
                    <a:pt x="39" y="26"/>
                  </a:cubicBezTo>
                  <a:cubicBezTo>
                    <a:pt x="47" y="0"/>
                    <a:pt x="83" y="9"/>
                    <a:pt x="78"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cs typeface="+mn-cs"/>
              </a:endParaRPr>
            </a:p>
          </p:txBody>
        </p:sp>
        <p:sp>
          <p:nvSpPr>
            <p:cNvPr id="13" name="Freeform 13">
              <a:extLst>
                <a:ext uri="{FF2B5EF4-FFF2-40B4-BE49-F238E27FC236}">
                  <a16:creationId xmlns:a16="http://schemas.microsoft.com/office/drawing/2014/main" id="{91D492F4-37BC-40EB-B660-B24BF54D2BEA}"/>
                </a:ext>
              </a:extLst>
            </p:cNvPr>
            <p:cNvSpPr>
              <a:spLocks/>
            </p:cNvSpPr>
            <p:nvPr/>
          </p:nvSpPr>
          <p:spPr bwMode="auto">
            <a:xfrm>
              <a:off x="4235" y="1618"/>
              <a:ext cx="219" cy="550"/>
            </a:xfrm>
            <a:custGeom>
              <a:avLst/>
              <a:gdLst>
                <a:gd name="T0" fmla="*/ 78 w 82"/>
                <a:gd name="T1" fmla="*/ 175 h 205"/>
                <a:gd name="T2" fmla="*/ 56 w 82"/>
                <a:gd name="T3" fmla="*/ 86 h 205"/>
                <a:gd name="T4" fmla="*/ 14 w 82"/>
                <a:gd name="T5" fmla="*/ 5 h 205"/>
                <a:gd name="T6" fmla="*/ 4 w 82"/>
                <a:gd name="T7" fmla="*/ 11 h 205"/>
                <a:gd name="T8" fmla="*/ 29 w 82"/>
                <a:gd name="T9" fmla="*/ 93 h 205"/>
                <a:gd name="T10" fmla="*/ 39 w 82"/>
                <a:gd name="T11" fmla="*/ 184 h 205"/>
                <a:gd name="T12" fmla="*/ 78 w 82"/>
                <a:gd name="T13" fmla="*/ 175 h 205"/>
              </a:gdLst>
              <a:ahLst/>
              <a:cxnLst>
                <a:cxn ang="0">
                  <a:pos x="T0" y="T1"/>
                </a:cxn>
                <a:cxn ang="0">
                  <a:pos x="T2" y="T3"/>
                </a:cxn>
                <a:cxn ang="0">
                  <a:pos x="T4" y="T5"/>
                </a:cxn>
                <a:cxn ang="0">
                  <a:pos x="T6" y="T7"/>
                </a:cxn>
                <a:cxn ang="0">
                  <a:pos x="T8" y="T9"/>
                </a:cxn>
                <a:cxn ang="0">
                  <a:pos x="T10" y="T11"/>
                </a:cxn>
                <a:cxn ang="0">
                  <a:pos x="T12" y="T13"/>
                </a:cxn>
              </a:cxnLst>
              <a:rect l="0" t="0" r="r" b="b"/>
              <a:pathLst>
                <a:path w="82" h="205">
                  <a:moveTo>
                    <a:pt x="78" y="175"/>
                  </a:moveTo>
                  <a:cubicBezTo>
                    <a:pt x="72" y="145"/>
                    <a:pt x="64" y="116"/>
                    <a:pt x="56" y="86"/>
                  </a:cubicBezTo>
                  <a:cubicBezTo>
                    <a:pt x="48" y="56"/>
                    <a:pt x="36" y="29"/>
                    <a:pt x="14" y="5"/>
                  </a:cubicBezTo>
                  <a:cubicBezTo>
                    <a:pt x="10" y="0"/>
                    <a:pt x="0" y="6"/>
                    <a:pt x="4" y="11"/>
                  </a:cubicBezTo>
                  <a:cubicBezTo>
                    <a:pt x="21" y="35"/>
                    <a:pt x="27" y="65"/>
                    <a:pt x="29" y="93"/>
                  </a:cubicBezTo>
                  <a:cubicBezTo>
                    <a:pt x="31" y="123"/>
                    <a:pt x="28" y="154"/>
                    <a:pt x="39" y="184"/>
                  </a:cubicBezTo>
                  <a:cubicBezTo>
                    <a:pt x="47" y="205"/>
                    <a:pt x="82" y="198"/>
                    <a:pt x="78" y="1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cs typeface="+mn-cs"/>
              </a:endParaRPr>
            </a:p>
          </p:txBody>
        </p:sp>
        <p:sp>
          <p:nvSpPr>
            <p:cNvPr id="14" name="Freeform 14">
              <a:extLst>
                <a:ext uri="{FF2B5EF4-FFF2-40B4-BE49-F238E27FC236}">
                  <a16:creationId xmlns:a16="http://schemas.microsoft.com/office/drawing/2014/main" id="{B4F83E8E-993A-41A9-85FB-825EF5BB3408}"/>
                </a:ext>
              </a:extLst>
            </p:cNvPr>
            <p:cNvSpPr>
              <a:spLocks/>
            </p:cNvSpPr>
            <p:nvPr/>
          </p:nvSpPr>
          <p:spPr bwMode="auto">
            <a:xfrm>
              <a:off x="4235" y="2155"/>
              <a:ext cx="219" cy="550"/>
            </a:xfrm>
            <a:custGeom>
              <a:avLst/>
              <a:gdLst>
                <a:gd name="T0" fmla="*/ 78 w 82"/>
                <a:gd name="T1" fmla="*/ 30 h 205"/>
                <a:gd name="T2" fmla="*/ 56 w 82"/>
                <a:gd name="T3" fmla="*/ 119 h 205"/>
                <a:gd name="T4" fmla="*/ 14 w 82"/>
                <a:gd name="T5" fmla="*/ 200 h 205"/>
                <a:gd name="T6" fmla="*/ 4 w 82"/>
                <a:gd name="T7" fmla="*/ 194 h 205"/>
                <a:gd name="T8" fmla="*/ 29 w 82"/>
                <a:gd name="T9" fmla="*/ 112 h 205"/>
                <a:gd name="T10" fmla="*/ 39 w 82"/>
                <a:gd name="T11" fmla="*/ 22 h 205"/>
                <a:gd name="T12" fmla="*/ 78 w 82"/>
                <a:gd name="T13" fmla="*/ 30 h 205"/>
              </a:gdLst>
              <a:ahLst/>
              <a:cxnLst>
                <a:cxn ang="0">
                  <a:pos x="T0" y="T1"/>
                </a:cxn>
                <a:cxn ang="0">
                  <a:pos x="T2" y="T3"/>
                </a:cxn>
                <a:cxn ang="0">
                  <a:pos x="T4" y="T5"/>
                </a:cxn>
                <a:cxn ang="0">
                  <a:pos x="T6" y="T7"/>
                </a:cxn>
                <a:cxn ang="0">
                  <a:pos x="T8" y="T9"/>
                </a:cxn>
                <a:cxn ang="0">
                  <a:pos x="T10" y="T11"/>
                </a:cxn>
                <a:cxn ang="0">
                  <a:pos x="T12" y="T13"/>
                </a:cxn>
              </a:cxnLst>
              <a:rect l="0" t="0" r="r" b="b"/>
              <a:pathLst>
                <a:path w="82" h="205">
                  <a:moveTo>
                    <a:pt x="78" y="30"/>
                  </a:moveTo>
                  <a:cubicBezTo>
                    <a:pt x="72" y="60"/>
                    <a:pt x="64" y="90"/>
                    <a:pt x="56" y="119"/>
                  </a:cubicBezTo>
                  <a:cubicBezTo>
                    <a:pt x="48" y="149"/>
                    <a:pt x="36" y="176"/>
                    <a:pt x="14" y="200"/>
                  </a:cubicBezTo>
                  <a:cubicBezTo>
                    <a:pt x="10" y="205"/>
                    <a:pt x="0" y="199"/>
                    <a:pt x="4" y="194"/>
                  </a:cubicBezTo>
                  <a:cubicBezTo>
                    <a:pt x="21" y="170"/>
                    <a:pt x="27" y="140"/>
                    <a:pt x="29" y="112"/>
                  </a:cubicBezTo>
                  <a:cubicBezTo>
                    <a:pt x="31" y="82"/>
                    <a:pt x="28" y="51"/>
                    <a:pt x="39" y="22"/>
                  </a:cubicBezTo>
                  <a:cubicBezTo>
                    <a:pt x="47" y="0"/>
                    <a:pt x="82" y="8"/>
                    <a:pt x="78"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cs typeface="+mn-cs"/>
              </a:endParaRPr>
            </a:p>
          </p:txBody>
        </p:sp>
        <p:sp>
          <p:nvSpPr>
            <p:cNvPr id="15" name="Freeform 15">
              <a:extLst>
                <a:ext uri="{FF2B5EF4-FFF2-40B4-BE49-F238E27FC236}">
                  <a16:creationId xmlns:a16="http://schemas.microsoft.com/office/drawing/2014/main" id="{A531B1DB-193E-4E4B-85EF-CE95E661E8F1}"/>
                </a:ext>
              </a:extLst>
            </p:cNvPr>
            <p:cNvSpPr>
              <a:spLocks/>
            </p:cNvSpPr>
            <p:nvPr/>
          </p:nvSpPr>
          <p:spPr bwMode="auto">
            <a:xfrm>
              <a:off x="3968" y="1704"/>
              <a:ext cx="222" cy="464"/>
            </a:xfrm>
            <a:custGeom>
              <a:avLst/>
              <a:gdLst>
                <a:gd name="T0" fmla="*/ 78 w 83"/>
                <a:gd name="T1" fmla="*/ 147 h 173"/>
                <a:gd name="T2" fmla="*/ 56 w 83"/>
                <a:gd name="T3" fmla="*/ 72 h 173"/>
                <a:gd name="T4" fmla="*/ 14 w 83"/>
                <a:gd name="T5" fmla="*/ 4 h 173"/>
                <a:gd name="T6" fmla="*/ 4 w 83"/>
                <a:gd name="T7" fmla="*/ 9 h 173"/>
                <a:gd name="T8" fmla="*/ 29 w 83"/>
                <a:gd name="T9" fmla="*/ 78 h 173"/>
                <a:gd name="T10" fmla="*/ 39 w 83"/>
                <a:gd name="T11" fmla="*/ 155 h 173"/>
                <a:gd name="T12" fmla="*/ 78 w 83"/>
                <a:gd name="T13" fmla="*/ 147 h 173"/>
              </a:gdLst>
              <a:ahLst/>
              <a:cxnLst>
                <a:cxn ang="0">
                  <a:pos x="T0" y="T1"/>
                </a:cxn>
                <a:cxn ang="0">
                  <a:pos x="T2" y="T3"/>
                </a:cxn>
                <a:cxn ang="0">
                  <a:pos x="T4" y="T5"/>
                </a:cxn>
                <a:cxn ang="0">
                  <a:pos x="T6" y="T7"/>
                </a:cxn>
                <a:cxn ang="0">
                  <a:pos x="T8" y="T9"/>
                </a:cxn>
                <a:cxn ang="0">
                  <a:pos x="T10" y="T11"/>
                </a:cxn>
                <a:cxn ang="0">
                  <a:pos x="T12" y="T13"/>
                </a:cxn>
              </a:cxnLst>
              <a:rect l="0" t="0" r="r" b="b"/>
              <a:pathLst>
                <a:path w="83" h="173">
                  <a:moveTo>
                    <a:pt x="78" y="147"/>
                  </a:moveTo>
                  <a:cubicBezTo>
                    <a:pt x="72" y="122"/>
                    <a:pt x="65" y="97"/>
                    <a:pt x="56" y="72"/>
                  </a:cubicBezTo>
                  <a:cubicBezTo>
                    <a:pt x="48" y="47"/>
                    <a:pt x="37" y="24"/>
                    <a:pt x="14" y="4"/>
                  </a:cubicBezTo>
                  <a:cubicBezTo>
                    <a:pt x="10" y="0"/>
                    <a:pt x="0" y="4"/>
                    <a:pt x="4" y="9"/>
                  </a:cubicBezTo>
                  <a:cubicBezTo>
                    <a:pt x="21" y="29"/>
                    <a:pt x="27" y="54"/>
                    <a:pt x="29" y="78"/>
                  </a:cubicBezTo>
                  <a:cubicBezTo>
                    <a:pt x="31" y="104"/>
                    <a:pt x="28" y="130"/>
                    <a:pt x="39" y="155"/>
                  </a:cubicBezTo>
                  <a:cubicBezTo>
                    <a:pt x="48" y="173"/>
                    <a:pt x="83" y="166"/>
                    <a:pt x="78" y="14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cs typeface="+mn-cs"/>
              </a:endParaRPr>
            </a:p>
          </p:txBody>
        </p:sp>
        <p:sp>
          <p:nvSpPr>
            <p:cNvPr id="16" name="Freeform 16">
              <a:extLst>
                <a:ext uri="{FF2B5EF4-FFF2-40B4-BE49-F238E27FC236}">
                  <a16:creationId xmlns:a16="http://schemas.microsoft.com/office/drawing/2014/main" id="{C94812B9-8B84-4129-88D7-BADCD2693BF0}"/>
                </a:ext>
              </a:extLst>
            </p:cNvPr>
            <p:cNvSpPr>
              <a:spLocks/>
            </p:cNvSpPr>
            <p:nvPr/>
          </p:nvSpPr>
          <p:spPr bwMode="auto">
            <a:xfrm>
              <a:off x="3968" y="2155"/>
              <a:ext cx="222" cy="467"/>
            </a:xfrm>
            <a:custGeom>
              <a:avLst/>
              <a:gdLst>
                <a:gd name="T0" fmla="*/ 78 w 83"/>
                <a:gd name="T1" fmla="*/ 26 h 174"/>
                <a:gd name="T2" fmla="*/ 56 w 83"/>
                <a:gd name="T3" fmla="*/ 101 h 174"/>
                <a:gd name="T4" fmla="*/ 14 w 83"/>
                <a:gd name="T5" fmla="*/ 170 h 174"/>
                <a:gd name="T6" fmla="*/ 4 w 83"/>
                <a:gd name="T7" fmla="*/ 164 h 174"/>
                <a:gd name="T8" fmla="*/ 29 w 83"/>
                <a:gd name="T9" fmla="*/ 95 h 174"/>
                <a:gd name="T10" fmla="*/ 39 w 83"/>
                <a:gd name="T11" fmla="*/ 18 h 174"/>
                <a:gd name="T12" fmla="*/ 78 w 83"/>
                <a:gd name="T13" fmla="*/ 26 h 174"/>
              </a:gdLst>
              <a:ahLst/>
              <a:cxnLst>
                <a:cxn ang="0">
                  <a:pos x="T0" y="T1"/>
                </a:cxn>
                <a:cxn ang="0">
                  <a:pos x="T2" y="T3"/>
                </a:cxn>
                <a:cxn ang="0">
                  <a:pos x="T4" y="T5"/>
                </a:cxn>
                <a:cxn ang="0">
                  <a:pos x="T6" y="T7"/>
                </a:cxn>
                <a:cxn ang="0">
                  <a:pos x="T8" y="T9"/>
                </a:cxn>
                <a:cxn ang="0">
                  <a:pos x="T10" y="T11"/>
                </a:cxn>
                <a:cxn ang="0">
                  <a:pos x="T12" y="T13"/>
                </a:cxn>
              </a:cxnLst>
              <a:rect l="0" t="0" r="r" b="b"/>
              <a:pathLst>
                <a:path w="83" h="174">
                  <a:moveTo>
                    <a:pt x="78" y="26"/>
                  </a:moveTo>
                  <a:cubicBezTo>
                    <a:pt x="72" y="51"/>
                    <a:pt x="65" y="76"/>
                    <a:pt x="56" y="101"/>
                  </a:cubicBezTo>
                  <a:cubicBezTo>
                    <a:pt x="48" y="126"/>
                    <a:pt x="37" y="149"/>
                    <a:pt x="14" y="170"/>
                  </a:cubicBezTo>
                  <a:cubicBezTo>
                    <a:pt x="10" y="174"/>
                    <a:pt x="0" y="169"/>
                    <a:pt x="4" y="164"/>
                  </a:cubicBezTo>
                  <a:cubicBezTo>
                    <a:pt x="21" y="144"/>
                    <a:pt x="27" y="119"/>
                    <a:pt x="29" y="95"/>
                  </a:cubicBezTo>
                  <a:cubicBezTo>
                    <a:pt x="31" y="70"/>
                    <a:pt x="28" y="43"/>
                    <a:pt x="39" y="18"/>
                  </a:cubicBezTo>
                  <a:cubicBezTo>
                    <a:pt x="48" y="0"/>
                    <a:pt x="83" y="7"/>
                    <a:pt x="78" y="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cs typeface="+mn-cs"/>
              </a:endParaRPr>
            </a:p>
          </p:txBody>
        </p:sp>
        <p:sp>
          <p:nvSpPr>
            <p:cNvPr id="17" name="Freeform 17">
              <a:extLst>
                <a:ext uri="{FF2B5EF4-FFF2-40B4-BE49-F238E27FC236}">
                  <a16:creationId xmlns:a16="http://schemas.microsoft.com/office/drawing/2014/main" id="{F0296F50-3465-4DEF-8030-877DE9D4E929}"/>
                </a:ext>
              </a:extLst>
            </p:cNvPr>
            <p:cNvSpPr>
              <a:spLocks/>
            </p:cNvSpPr>
            <p:nvPr/>
          </p:nvSpPr>
          <p:spPr bwMode="auto">
            <a:xfrm>
              <a:off x="3696" y="1768"/>
              <a:ext cx="219" cy="397"/>
            </a:xfrm>
            <a:custGeom>
              <a:avLst/>
              <a:gdLst>
                <a:gd name="T0" fmla="*/ 78 w 82"/>
                <a:gd name="T1" fmla="*/ 126 h 148"/>
                <a:gd name="T2" fmla="*/ 56 w 82"/>
                <a:gd name="T3" fmla="*/ 62 h 148"/>
                <a:gd name="T4" fmla="*/ 14 w 82"/>
                <a:gd name="T5" fmla="*/ 4 h 148"/>
                <a:gd name="T6" fmla="*/ 3 w 82"/>
                <a:gd name="T7" fmla="*/ 8 h 148"/>
                <a:gd name="T8" fmla="*/ 28 w 82"/>
                <a:gd name="T9" fmla="*/ 67 h 148"/>
                <a:gd name="T10" fmla="*/ 38 w 82"/>
                <a:gd name="T11" fmla="*/ 132 h 148"/>
                <a:gd name="T12" fmla="*/ 78 w 82"/>
                <a:gd name="T13" fmla="*/ 126 h 148"/>
              </a:gdLst>
              <a:ahLst/>
              <a:cxnLst>
                <a:cxn ang="0">
                  <a:pos x="T0" y="T1"/>
                </a:cxn>
                <a:cxn ang="0">
                  <a:pos x="T2" y="T3"/>
                </a:cxn>
                <a:cxn ang="0">
                  <a:pos x="T4" y="T5"/>
                </a:cxn>
                <a:cxn ang="0">
                  <a:pos x="T6" y="T7"/>
                </a:cxn>
                <a:cxn ang="0">
                  <a:pos x="T8" y="T9"/>
                </a:cxn>
                <a:cxn ang="0">
                  <a:pos x="T10" y="T11"/>
                </a:cxn>
                <a:cxn ang="0">
                  <a:pos x="T12" y="T13"/>
                </a:cxn>
              </a:cxnLst>
              <a:rect l="0" t="0" r="r" b="b"/>
              <a:pathLst>
                <a:path w="82" h="148">
                  <a:moveTo>
                    <a:pt x="78" y="126"/>
                  </a:moveTo>
                  <a:cubicBezTo>
                    <a:pt x="72" y="105"/>
                    <a:pt x="64" y="84"/>
                    <a:pt x="56" y="62"/>
                  </a:cubicBezTo>
                  <a:cubicBezTo>
                    <a:pt x="47" y="41"/>
                    <a:pt x="36" y="21"/>
                    <a:pt x="14" y="4"/>
                  </a:cubicBezTo>
                  <a:cubicBezTo>
                    <a:pt x="9" y="0"/>
                    <a:pt x="0" y="4"/>
                    <a:pt x="3" y="8"/>
                  </a:cubicBezTo>
                  <a:cubicBezTo>
                    <a:pt x="20" y="25"/>
                    <a:pt x="26" y="47"/>
                    <a:pt x="28" y="67"/>
                  </a:cubicBezTo>
                  <a:cubicBezTo>
                    <a:pt x="30" y="89"/>
                    <a:pt x="28" y="111"/>
                    <a:pt x="38" y="132"/>
                  </a:cubicBezTo>
                  <a:cubicBezTo>
                    <a:pt x="47" y="148"/>
                    <a:pt x="82" y="143"/>
                    <a:pt x="78" y="1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cs typeface="+mn-cs"/>
              </a:endParaRPr>
            </a:p>
          </p:txBody>
        </p:sp>
        <p:sp>
          <p:nvSpPr>
            <p:cNvPr id="18" name="Freeform 18">
              <a:extLst>
                <a:ext uri="{FF2B5EF4-FFF2-40B4-BE49-F238E27FC236}">
                  <a16:creationId xmlns:a16="http://schemas.microsoft.com/office/drawing/2014/main" id="{417BD924-01A7-4776-9817-F64BDBBCEFF6}"/>
                </a:ext>
              </a:extLst>
            </p:cNvPr>
            <p:cNvSpPr>
              <a:spLocks/>
            </p:cNvSpPr>
            <p:nvPr/>
          </p:nvSpPr>
          <p:spPr bwMode="auto">
            <a:xfrm>
              <a:off x="3696" y="2157"/>
              <a:ext cx="219" cy="398"/>
            </a:xfrm>
            <a:custGeom>
              <a:avLst/>
              <a:gdLst>
                <a:gd name="T0" fmla="*/ 78 w 82"/>
                <a:gd name="T1" fmla="*/ 22 h 148"/>
                <a:gd name="T2" fmla="*/ 56 w 82"/>
                <a:gd name="T3" fmla="*/ 86 h 148"/>
                <a:gd name="T4" fmla="*/ 14 w 82"/>
                <a:gd name="T5" fmla="*/ 145 h 148"/>
                <a:gd name="T6" fmla="*/ 3 w 82"/>
                <a:gd name="T7" fmla="*/ 140 h 148"/>
                <a:gd name="T8" fmla="*/ 28 w 82"/>
                <a:gd name="T9" fmla="*/ 81 h 148"/>
                <a:gd name="T10" fmla="*/ 38 w 82"/>
                <a:gd name="T11" fmla="*/ 16 h 148"/>
                <a:gd name="T12" fmla="*/ 78 w 82"/>
                <a:gd name="T13" fmla="*/ 22 h 148"/>
              </a:gdLst>
              <a:ahLst/>
              <a:cxnLst>
                <a:cxn ang="0">
                  <a:pos x="T0" y="T1"/>
                </a:cxn>
                <a:cxn ang="0">
                  <a:pos x="T2" y="T3"/>
                </a:cxn>
                <a:cxn ang="0">
                  <a:pos x="T4" y="T5"/>
                </a:cxn>
                <a:cxn ang="0">
                  <a:pos x="T6" y="T7"/>
                </a:cxn>
                <a:cxn ang="0">
                  <a:pos x="T8" y="T9"/>
                </a:cxn>
                <a:cxn ang="0">
                  <a:pos x="T10" y="T11"/>
                </a:cxn>
                <a:cxn ang="0">
                  <a:pos x="T12" y="T13"/>
                </a:cxn>
              </a:cxnLst>
              <a:rect l="0" t="0" r="r" b="b"/>
              <a:pathLst>
                <a:path w="82" h="148">
                  <a:moveTo>
                    <a:pt x="78" y="22"/>
                  </a:moveTo>
                  <a:cubicBezTo>
                    <a:pt x="72" y="43"/>
                    <a:pt x="64" y="65"/>
                    <a:pt x="56" y="86"/>
                  </a:cubicBezTo>
                  <a:cubicBezTo>
                    <a:pt x="47" y="107"/>
                    <a:pt x="36" y="127"/>
                    <a:pt x="14" y="145"/>
                  </a:cubicBezTo>
                  <a:cubicBezTo>
                    <a:pt x="9" y="148"/>
                    <a:pt x="0" y="144"/>
                    <a:pt x="3" y="140"/>
                  </a:cubicBezTo>
                  <a:cubicBezTo>
                    <a:pt x="20" y="123"/>
                    <a:pt x="26" y="101"/>
                    <a:pt x="28" y="81"/>
                  </a:cubicBezTo>
                  <a:cubicBezTo>
                    <a:pt x="30" y="59"/>
                    <a:pt x="28" y="37"/>
                    <a:pt x="38" y="16"/>
                  </a:cubicBezTo>
                  <a:cubicBezTo>
                    <a:pt x="47" y="0"/>
                    <a:pt x="82" y="5"/>
                    <a:pt x="78"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cs typeface="+mn-cs"/>
              </a:endParaRPr>
            </a:p>
          </p:txBody>
        </p:sp>
        <p:sp>
          <p:nvSpPr>
            <p:cNvPr id="19" name="Freeform 19">
              <a:extLst>
                <a:ext uri="{FF2B5EF4-FFF2-40B4-BE49-F238E27FC236}">
                  <a16:creationId xmlns:a16="http://schemas.microsoft.com/office/drawing/2014/main" id="{DCB06E60-8287-4AF1-BF09-DFDC0845F875}"/>
                </a:ext>
              </a:extLst>
            </p:cNvPr>
            <p:cNvSpPr>
              <a:spLocks/>
            </p:cNvSpPr>
            <p:nvPr/>
          </p:nvSpPr>
          <p:spPr bwMode="auto">
            <a:xfrm>
              <a:off x="3413" y="1822"/>
              <a:ext cx="221" cy="343"/>
            </a:xfrm>
            <a:custGeom>
              <a:avLst/>
              <a:gdLst>
                <a:gd name="T0" fmla="*/ 78 w 83"/>
                <a:gd name="T1" fmla="*/ 109 h 128"/>
                <a:gd name="T2" fmla="*/ 56 w 83"/>
                <a:gd name="T3" fmla="*/ 54 h 128"/>
                <a:gd name="T4" fmla="*/ 14 w 83"/>
                <a:gd name="T5" fmla="*/ 3 h 128"/>
                <a:gd name="T6" fmla="*/ 4 w 83"/>
                <a:gd name="T7" fmla="*/ 7 h 128"/>
                <a:gd name="T8" fmla="*/ 29 w 83"/>
                <a:gd name="T9" fmla="*/ 58 h 128"/>
                <a:gd name="T10" fmla="*/ 39 w 83"/>
                <a:gd name="T11" fmla="*/ 114 h 128"/>
                <a:gd name="T12" fmla="*/ 78 w 83"/>
                <a:gd name="T13" fmla="*/ 109 h 128"/>
              </a:gdLst>
              <a:ahLst/>
              <a:cxnLst>
                <a:cxn ang="0">
                  <a:pos x="T0" y="T1"/>
                </a:cxn>
                <a:cxn ang="0">
                  <a:pos x="T2" y="T3"/>
                </a:cxn>
                <a:cxn ang="0">
                  <a:pos x="T4" y="T5"/>
                </a:cxn>
                <a:cxn ang="0">
                  <a:pos x="T6" y="T7"/>
                </a:cxn>
                <a:cxn ang="0">
                  <a:pos x="T8" y="T9"/>
                </a:cxn>
                <a:cxn ang="0">
                  <a:pos x="T10" y="T11"/>
                </a:cxn>
                <a:cxn ang="0">
                  <a:pos x="T12" y="T13"/>
                </a:cxn>
              </a:cxnLst>
              <a:rect l="0" t="0" r="r" b="b"/>
              <a:pathLst>
                <a:path w="83" h="128">
                  <a:moveTo>
                    <a:pt x="78" y="109"/>
                  </a:moveTo>
                  <a:cubicBezTo>
                    <a:pt x="72" y="91"/>
                    <a:pt x="65" y="72"/>
                    <a:pt x="56" y="54"/>
                  </a:cubicBezTo>
                  <a:cubicBezTo>
                    <a:pt x="48" y="35"/>
                    <a:pt x="37" y="18"/>
                    <a:pt x="14" y="3"/>
                  </a:cubicBezTo>
                  <a:cubicBezTo>
                    <a:pt x="10" y="0"/>
                    <a:pt x="0" y="4"/>
                    <a:pt x="4" y="7"/>
                  </a:cubicBezTo>
                  <a:cubicBezTo>
                    <a:pt x="21" y="22"/>
                    <a:pt x="27" y="40"/>
                    <a:pt x="29" y="58"/>
                  </a:cubicBezTo>
                  <a:cubicBezTo>
                    <a:pt x="31" y="77"/>
                    <a:pt x="28" y="96"/>
                    <a:pt x="39" y="114"/>
                  </a:cubicBezTo>
                  <a:cubicBezTo>
                    <a:pt x="47" y="128"/>
                    <a:pt x="83" y="124"/>
                    <a:pt x="78" y="10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cs typeface="+mn-cs"/>
              </a:endParaRPr>
            </a:p>
          </p:txBody>
        </p:sp>
        <p:sp>
          <p:nvSpPr>
            <p:cNvPr id="20" name="Freeform 20">
              <a:extLst>
                <a:ext uri="{FF2B5EF4-FFF2-40B4-BE49-F238E27FC236}">
                  <a16:creationId xmlns:a16="http://schemas.microsoft.com/office/drawing/2014/main" id="{3EDC2FBF-2D44-4816-9807-D164376F8BD8}"/>
                </a:ext>
              </a:extLst>
            </p:cNvPr>
            <p:cNvSpPr>
              <a:spLocks/>
            </p:cNvSpPr>
            <p:nvPr/>
          </p:nvSpPr>
          <p:spPr bwMode="auto">
            <a:xfrm>
              <a:off x="3413" y="2157"/>
              <a:ext cx="221" cy="344"/>
            </a:xfrm>
            <a:custGeom>
              <a:avLst/>
              <a:gdLst>
                <a:gd name="T0" fmla="*/ 78 w 83"/>
                <a:gd name="T1" fmla="*/ 19 h 128"/>
                <a:gd name="T2" fmla="*/ 56 w 83"/>
                <a:gd name="T3" fmla="*/ 74 h 128"/>
                <a:gd name="T4" fmla="*/ 14 w 83"/>
                <a:gd name="T5" fmla="*/ 125 h 128"/>
                <a:gd name="T6" fmla="*/ 4 w 83"/>
                <a:gd name="T7" fmla="*/ 121 h 128"/>
                <a:gd name="T8" fmla="*/ 29 w 83"/>
                <a:gd name="T9" fmla="*/ 70 h 128"/>
                <a:gd name="T10" fmla="*/ 39 w 83"/>
                <a:gd name="T11" fmla="*/ 14 h 128"/>
                <a:gd name="T12" fmla="*/ 78 w 83"/>
                <a:gd name="T13" fmla="*/ 19 h 128"/>
              </a:gdLst>
              <a:ahLst/>
              <a:cxnLst>
                <a:cxn ang="0">
                  <a:pos x="T0" y="T1"/>
                </a:cxn>
                <a:cxn ang="0">
                  <a:pos x="T2" y="T3"/>
                </a:cxn>
                <a:cxn ang="0">
                  <a:pos x="T4" y="T5"/>
                </a:cxn>
                <a:cxn ang="0">
                  <a:pos x="T6" y="T7"/>
                </a:cxn>
                <a:cxn ang="0">
                  <a:pos x="T8" y="T9"/>
                </a:cxn>
                <a:cxn ang="0">
                  <a:pos x="T10" y="T11"/>
                </a:cxn>
                <a:cxn ang="0">
                  <a:pos x="T12" y="T13"/>
                </a:cxn>
              </a:cxnLst>
              <a:rect l="0" t="0" r="r" b="b"/>
              <a:pathLst>
                <a:path w="83" h="128">
                  <a:moveTo>
                    <a:pt x="78" y="19"/>
                  </a:moveTo>
                  <a:cubicBezTo>
                    <a:pt x="72" y="37"/>
                    <a:pt x="65" y="56"/>
                    <a:pt x="56" y="74"/>
                  </a:cubicBezTo>
                  <a:cubicBezTo>
                    <a:pt x="48" y="93"/>
                    <a:pt x="37" y="110"/>
                    <a:pt x="14" y="125"/>
                  </a:cubicBezTo>
                  <a:cubicBezTo>
                    <a:pt x="10" y="128"/>
                    <a:pt x="0" y="125"/>
                    <a:pt x="4" y="121"/>
                  </a:cubicBezTo>
                  <a:cubicBezTo>
                    <a:pt x="21" y="106"/>
                    <a:pt x="27" y="88"/>
                    <a:pt x="29" y="70"/>
                  </a:cubicBezTo>
                  <a:cubicBezTo>
                    <a:pt x="31" y="51"/>
                    <a:pt x="28" y="32"/>
                    <a:pt x="39" y="14"/>
                  </a:cubicBezTo>
                  <a:cubicBezTo>
                    <a:pt x="47" y="0"/>
                    <a:pt x="83" y="5"/>
                    <a:pt x="78"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cs typeface="+mn-cs"/>
              </a:endParaRPr>
            </a:p>
          </p:txBody>
        </p:sp>
        <p:sp>
          <p:nvSpPr>
            <p:cNvPr id="21" name="Freeform 21">
              <a:extLst>
                <a:ext uri="{FF2B5EF4-FFF2-40B4-BE49-F238E27FC236}">
                  <a16:creationId xmlns:a16="http://schemas.microsoft.com/office/drawing/2014/main" id="{A3534764-8411-4A8D-AEA8-E60AC96F3D4C}"/>
                </a:ext>
              </a:extLst>
            </p:cNvPr>
            <p:cNvSpPr>
              <a:spLocks/>
            </p:cNvSpPr>
            <p:nvPr/>
          </p:nvSpPr>
          <p:spPr bwMode="auto">
            <a:xfrm>
              <a:off x="3127" y="1878"/>
              <a:ext cx="219" cy="287"/>
            </a:xfrm>
            <a:custGeom>
              <a:avLst/>
              <a:gdLst>
                <a:gd name="T0" fmla="*/ 78 w 82"/>
                <a:gd name="T1" fmla="*/ 91 h 107"/>
                <a:gd name="T2" fmla="*/ 56 w 82"/>
                <a:gd name="T3" fmla="*/ 45 h 107"/>
                <a:gd name="T4" fmla="*/ 14 w 82"/>
                <a:gd name="T5" fmla="*/ 3 h 107"/>
                <a:gd name="T6" fmla="*/ 3 w 82"/>
                <a:gd name="T7" fmla="*/ 6 h 107"/>
                <a:gd name="T8" fmla="*/ 29 w 82"/>
                <a:gd name="T9" fmla="*/ 48 h 107"/>
                <a:gd name="T10" fmla="*/ 39 w 82"/>
                <a:gd name="T11" fmla="*/ 95 h 107"/>
                <a:gd name="T12" fmla="*/ 78 w 82"/>
                <a:gd name="T13" fmla="*/ 91 h 107"/>
              </a:gdLst>
              <a:ahLst/>
              <a:cxnLst>
                <a:cxn ang="0">
                  <a:pos x="T0" y="T1"/>
                </a:cxn>
                <a:cxn ang="0">
                  <a:pos x="T2" y="T3"/>
                </a:cxn>
                <a:cxn ang="0">
                  <a:pos x="T4" y="T5"/>
                </a:cxn>
                <a:cxn ang="0">
                  <a:pos x="T6" y="T7"/>
                </a:cxn>
                <a:cxn ang="0">
                  <a:pos x="T8" y="T9"/>
                </a:cxn>
                <a:cxn ang="0">
                  <a:pos x="T10" y="T11"/>
                </a:cxn>
                <a:cxn ang="0">
                  <a:pos x="T12" y="T13"/>
                </a:cxn>
              </a:cxnLst>
              <a:rect l="0" t="0" r="r" b="b"/>
              <a:pathLst>
                <a:path w="82" h="107">
                  <a:moveTo>
                    <a:pt x="78" y="91"/>
                  </a:moveTo>
                  <a:cubicBezTo>
                    <a:pt x="72" y="75"/>
                    <a:pt x="64" y="60"/>
                    <a:pt x="56" y="45"/>
                  </a:cubicBezTo>
                  <a:cubicBezTo>
                    <a:pt x="47" y="29"/>
                    <a:pt x="36" y="15"/>
                    <a:pt x="14" y="3"/>
                  </a:cubicBezTo>
                  <a:cubicBezTo>
                    <a:pt x="9" y="0"/>
                    <a:pt x="0" y="3"/>
                    <a:pt x="3" y="6"/>
                  </a:cubicBezTo>
                  <a:cubicBezTo>
                    <a:pt x="21" y="18"/>
                    <a:pt x="27" y="34"/>
                    <a:pt x="29" y="48"/>
                  </a:cubicBezTo>
                  <a:cubicBezTo>
                    <a:pt x="31" y="64"/>
                    <a:pt x="28" y="80"/>
                    <a:pt x="39" y="95"/>
                  </a:cubicBezTo>
                  <a:cubicBezTo>
                    <a:pt x="47" y="107"/>
                    <a:pt x="82" y="103"/>
                    <a:pt x="78" y="9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cs typeface="+mn-cs"/>
              </a:endParaRPr>
            </a:p>
          </p:txBody>
        </p:sp>
        <p:sp>
          <p:nvSpPr>
            <p:cNvPr id="22" name="Freeform 22">
              <a:extLst>
                <a:ext uri="{FF2B5EF4-FFF2-40B4-BE49-F238E27FC236}">
                  <a16:creationId xmlns:a16="http://schemas.microsoft.com/office/drawing/2014/main" id="{65833DF7-7DA0-4484-8266-0747D9805FE8}"/>
                </a:ext>
              </a:extLst>
            </p:cNvPr>
            <p:cNvSpPr>
              <a:spLocks/>
            </p:cNvSpPr>
            <p:nvPr/>
          </p:nvSpPr>
          <p:spPr bwMode="auto">
            <a:xfrm>
              <a:off x="3127" y="2157"/>
              <a:ext cx="219" cy="288"/>
            </a:xfrm>
            <a:custGeom>
              <a:avLst/>
              <a:gdLst>
                <a:gd name="T0" fmla="*/ 78 w 82"/>
                <a:gd name="T1" fmla="*/ 16 h 107"/>
                <a:gd name="T2" fmla="*/ 56 w 82"/>
                <a:gd name="T3" fmla="*/ 62 h 107"/>
                <a:gd name="T4" fmla="*/ 14 w 82"/>
                <a:gd name="T5" fmla="*/ 105 h 107"/>
                <a:gd name="T6" fmla="*/ 3 w 82"/>
                <a:gd name="T7" fmla="*/ 101 h 107"/>
                <a:gd name="T8" fmla="*/ 29 w 82"/>
                <a:gd name="T9" fmla="*/ 59 h 107"/>
                <a:gd name="T10" fmla="*/ 39 w 82"/>
                <a:gd name="T11" fmla="*/ 12 h 107"/>
                <a:gd name="T12" fmla="*/ 78 w 82"/>
                <a:gd name="T13" fmla="*/ 16 h 107"/>
              </a:gdLst>
              <a:ahLst/>
              <a:cxnLst>
                <a:cxn ang="0">
                  <a:pos x="T0" y="T1"/>
                </a:cxn>
                <a:cxn ang="0">
                  <a:pos x="T2" y="T3"/>
                </a:cxn>
                <a:cxn ang="0">
                  <a:pos x="T4" y="T5"/>
                </a:cxn>
                <a:cxn ang="0">
                  <a:pos x="T6" y="T7"/>
                </a:cxn>
                <a:cxn ang="0">
                  <a:pos x="T8" y="T9"/>
                </a:cxn>
                <a:cxn ang="0">
                  <a:pos x="T10" y="T11"/>
                </a:cxn>
                <a:cxn ang="0">
                  <a:pos x="T12" y="T13"/>
                </a:cxn>
              </a:cxnLst>
              <a:rect l="0" t="0" r="r" b="b"/>
              <a:pathLst>
                <a:path w="82" h="107">
                  <a:moveTo>
                    <a:pt x="78" y="16"/>
                  </a:moveTo>
                  <a:cubicBezTo>
                    <a:pt x="72" y="32"/>
                    <a:pt x="64" y="47"/>
                    <a:pt x="56" y="62"/>
                  </a:cubicBezTo>
                  <a:cubicBezTo>
                    <a:pt x="47" y="78"/>
                    <a:pt x="36" y="92"/>
                    <a:pt x="14" y="105"/>
                  </a:cubicBezTo>
                  <a:cubicBezTo>
                    <a:pt x="9" y="107"/>
                    <a:pt x="0" y="104"/>
                    <a:pt x="3" y="101"/>
                  </a:cubicBezTo>
                  <a:cubicBezTo>
                    <a:pt x="21" y="89"/>
                    <a:pt x="27" y="73"/>
                    <a:pt x="29" y="59"/>
                  </a:cubicBezTo>
                  <a:cubicBezTo>
                    <a:pt x="31" y="43"/>
                    <a:pt x="28" y="27"/>
                    <a:pt x="39" y="12"/>
                  </a:cubicBezTo>
                  <a:cubicBezTo>
                    <a:pt x="47" y="0"/>
                    <a:pt x="82" y="4"/>
                    <a:pt x="78"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cs typeface="+mn-cs"/>
              </a:endParaRPr>
            </a:p>
          </p:txBody>
        </p:sp>
        <p:sp>
          <p:nvSpPr>
            <p:cNvPr id="23" name="Freeform 23">
              <a:extLst>
                <a:ext uri="{FF2B5EF4-FFF2-40B4-BE49-F238E27FC236}">
                  <a16:creationId xmlns:a16="http://schemas.microsoft.com/office/drawing/2014/main" id="{A59FC9A9-7522-41A7-95DD-9ED61E8FFB6D}"/>
                </a:ext>
              </a:extLst>
            </p:cNvPr>
            <p:cNvSpPr>
              <a:spLocks/>
            </p:cNvSpPr>
            <p:nvPr/>
          </p:nvSpPr>
          <p:spPr bwMode="auto">
            <a:xfrm>
              <a:off x="2868" y="1924"/>
              <a:ext cx="222" cy="241"/>
            </a:xfrm>
            <a:custGeom>
              <a:avLst/>
              <a:gdLst>
                <a:gd name="T0" fmla="*/ 78 w 83"/>
                <a:gd name="T1" fmla="*/ 76 h 90"/>
                <a:gd name="T2" fmla="*/ 56 w 83"/>
                <a:gd name="T3" fmla="*/ 38 h 90"/>
                <a:gd name="T4" fmla="*/ 14 w 83"/>
                <a:gd name="T5" fmla="*/ 2 h 90"/>
                <a:gd name="T6" fmla="*/ 4 w 83"/>
                <a:gd name="T7" fmla="*/ 4 h 90"/>
                <a:gd name="T8" fmla="*/ 29 w 83"/>
                <a:gd name="T9" fmla="*/ 40 h 90"/>
                <a:gd name="T10" fmla="*/ 39 w 83"/>
                <a:gd name="T11" fmla="*/ 80 h 90"/>
                <a:gd name="T12" fmla="*/ 78 w 83"/>
                <a:gd name="T13" fmla="*/ 76 h 90"/>
              </a:gdLst>
              <a:ahLst/>
              <a:cxnLst>
                <a:cxn ang="0">
                  <a:pos x="T0" y="T1"/>
                </a:cxn>
                <a:cxn ang="0">
                  <a:pos x="T2" y="T3"/>
                </a:cxn>
                <a:cxn ang="0">
                  <a:pos x="T4" y="T5"/>
                </a:cxn>
                <a:cxn ang="0">
                  <a:pos x="T6" y="T7"/>
                </a:cxn>
                <a:cxn ang="0">
                  <a:pos x="T8" y="T9"/>
                </a:cxn>
                <a:cxn ang="0">
                  <a:pos x="T10" y="T11"/>
                </a:cxn>
                <a:cxn ang="0">
                  <a:pos x="T12" y="T13"/>
                </a:cxn>
              </a:cxnLst>
              <a:rect l="0" t="0" r="r" b="b"/>
              <a:pathLst>
                <a:path w="83" h="90">
                  <a:moveTo>
                    <a:pt x="78" y="76"/>
                  </a:moveTo>
                  <a:cubicBezTo>
                    <a:pt x="72" y="63"/>
                    <a:pt x="65" y="50"/>
                    <a:pt x="56" y="38"/>
                  </a:cubicBezTo>
                  <a:cubicBezTo>
                    <a:pt x="48" y="24"/>
                    <a:pt x="37" y="12"/>
                    <a:pt x="14" y="2"/>
                  </a:cubicBezTo>
                  <a:cubicBezTo>
                    <a:pt x="10" y="0"/>
                    <a:pt x="0" y="2"/>
                    <a:pt x="4" y="4"/>
                  </a:cubicBezTo>
                  <a:cubicBezTo>
                    <a:pt x="21" y="15"/>
                    <a:pt x="27" y="28"/>
                    <a:pt x="29" y="40"/>
                  </a:cubicBezTo>
                  <a:cubicBezTo>
                    <a:pt x="31" y="54"/>
                    <a:pt x="28" y="68"/>
                    <a:pt x="39" y="80"/>
                  </a:cubicBezTo>
                  <a:cubicBezTo>
                    <a:pt x="48" y="90"/>
                    <a:pt x="83" y="86"/>
                    <a:pt x="78"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cs typeface="+mn-cs"/>
              </a:endParaRPr>
            </a:p>
          </p:txBody>
        </p:sp>
        <p:sp>
          <p:nvSpPr>
            <p:cNvPr id="24" name="Freeform 24">
              <a:extLst>
                <a:ext uri="{FF2B5EF4-FFF2-40B4-BE49-F238E27FC236}">
                  <a16:creationId xmlns:a16="http://schemas.microsoft.com/office/drawing/2014/main" id="{22B0AECC-F1FA-4153-A454-947CAEABB7C7}"/>
                </a:ext>
              </a:extLst>
            </p:cNvPr>
            <p:cNvSpPr>
              <a:spLocks/>
            </p:cNvSpPr>
            <p:nvPr/>
          </p:nvSpPr>
          <p:spPr bwMode="auto">
            <a:xfrm>
              <a:off x="2868" y="2160"/>
              <a:ext cx="222" cy="242"/>
            </a:xfrm>
            <a:custGeom>
              <a:avLst/>
              <a:gdLst>
                <a:gd name="T0" fmla="*/ 78 w 83"/>
                <a:gd name="T1" fmla="*/ 13 h 90"/>
                <a:gd name="T2" fmla="*/ 56 w 83"/>
                <a:gd name="T3" fmla="*/ 52 h 90"/>
                <a:gd name="T4" fmla="*/ 14 w 83"/>
                <a:gd name="T5" fmla="*/ 88 h 90"/>
                <a:gd name="T6" fmla="*/ 4 w 83"/>
                <a:gd name="T7" fmla="*/ 85 h 90"/>
                <a:gd name="T8" fmla="*/ 29 w 83"/>
                <a:gd name="T9" fmla="*/ 49 h 90"/>
                <a:gd name="T10" fmla="*/ 39 w 83"/>
                <a:gd name="T11" fmla="*/ 9 h 90"/>
                <a:gd name="T12" fmla="*/ 78 w 83"/>
                <a:gd name="T13" fmla="*/ 13 h 90"/>
              </a:gdLst>
              <a:ahLst/>
              <a:cxnLst>
                <a:cxn ang="0">
                  <a:pos x="T0" y="T1"/>
                </a:cxn>
                <a:cxn ang="0">
                  <a:pos x="T2" y="T3"/>
                </a:cxn>
                <a:cxn ang="0">
                  <a:pos x="T4" y="T5"/>
                </a:cxn>
                <a:cxn ang="0">
                  <a:pos x="T6" y="T7"/>
                </a:cxn>
                <a:cxn ang="0">
                  <a:pos x="T8" y="T9"/>
                </a:cxn>
                <a:cxn ang="0">
                  <a:pos x="T10" y="T11"/>
                </a:cxn>
                <a:cxn ang="0">
                  <a:pos x="T12" y="T13"/>
                </a:cxn>
              </a:cxnLst>
              <a:rect l="0" t="0" r="r" b="b"/>
              <a:pathLst>
                <a:path w="83" h="90">
                  <a:moveTo>
                    <a:pt x="78" y="13"/>
                  </a:moveTo>
                  <a:cubicBezTo>
                    <a:pt x="72" y="26"/>
                    <a:pt x="65" y="39"/>
                    <a:pt x="56" y="52"/>
                  </a:cubicBezTo>
                  <a:cubicBezTo>
                    <a:pt x="48" y="65"/>
                    <a:pt x="37" y="77"/>
                    <a:pt x="14" y="88"/>
                  </a:cubicBezTo>
                  <a:cubicBezTo>
                    <a:pt x="10" y="90"/>
                    <a:pt x="0" y="87"/>
                    <a:pt x="4" y="85"/>
                  </a:cubicBezTo>
                  <a:cubicBezTo>
                    <a:pt x="21" y="74"/>
                    <a:pt x="27" y="61"/>
                    <a:pt x="29" y="49"/>
                  </a:cubicBezTo>
                  <a:cubicBezTo>
                    <a:pt x="31" y="36"/>
                    <a:pt x="28" y="22"/>
                    <a:pt x="39" y="9"/>
                  </a:cubicBezTo>
                  <a:cubicBezTo>
                    <a:pt x="48" y="0"/>
                    <a:pt x="83" y="3"/>
                    <a:pt x="78"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cs typeface="+mn-cs"/>
              </a:endParaRPr>
            </a:p>
          </p:txBody>
        </p:sp>
      </p:grpSp>
      <p:sp>
        <p:nvSpPr>
          <p:cNvPr id="28" name="Freeform 28">
            <a:extLst>
              <a:ext uri="{FF2B5EF4-FFF2-40B4-BE49-F238E27FC236}">
                <a16:creationId xmlns:a16="http://schemas.microsoft.com/office/drawing/2014/main" id="{573F38C6-303D-4CFB-8216-7918C857B2A3}"/>
              </a:ext>
            </a:extLst>
          </p:cNvPr>
          <p:cNvSpPr>
            <a:spLocks noEditPoints="1"/>
          </p:cNvSpPr>
          <p:nvPr/>
        </p:nvSpPr>
        <p:spPr bwMode="auto">
          <a:xfrm>
            <a:off x="8135375" y="1914602"/>
            <a:ext cx="3126936" cy="1016001"/>
          </a:xfrm>
          <a:custGeom>
            <a:avLst/>
            <a:gdLst>
              <a:gd name="T0" fmla="*/ 1584 w 1617"/>
              <a:gd name="T1" fmla="*/ 266 h 523"/>
              <a:gd name="T2" fmla="*/ 1292 w 1617"/>
              <a:gd name="T3" fmla="*/ 165 h 523"/>
              <a:gd name="T4" fmla="*/ 1273 w 1617"/>
              <a:gd name="T5" fmla="*/ 206 h 523"/>
              <a:gd name="T6" fmla="*/ 1192 w 1617"/>
              <a:gd name="T7" fmla="*/ 34 h 523"/>
              <a:gd name="T8" fmla="*/ 1192 w 1617"/>
              <a:gd name="T9" fmla="*/ 70 h 523"/>
              <a:gd name="T10" fmla="*/ 1172 w 1617"/>
              <a:gd name="T11" fmla="*/ 175 h 523"/>
              <a:gd name="T12" fmla="*/ 1052 w 1617"/>
              <a:gd name="T13" fmla="*/ 12 h 523"/>
              <a:gd name="T14" fmla="*/ 1042 w 1617"/>
              <a:gd name="T15" fmla="*/ 167 h 523"/>
              <a:gd name="T16" fmla="*/ 1010 w 1617"/>
              <a:gd name="T17" fmla="*/ 165 h 523"/>
              <a:gd name="T18" fmla="*/ 846 w 1617"/>
              <a:gd name="T19" fmla="*/ 56 h 523"/>
              <a:gd name="T20" fmla="*/ 873 w 1617"/>
              <a:gd name="T21" fmla="*/ 157 h 523"/>
              <a:gd name="T22" fmla="*/ 754 w 1617"/>
              <a:gd name="T23" fmla="*/ 66 h 523"/>
              <a:gd name="T24" fmla="*/ 795 w 1617"/>
              <a:gd name="T25" fmla="*/ 154 h 523"/>
              <a:gd name="T26" fmla="*/ 664 w 1617"/>
              <a:gd name="T27" fmla="*/ 71 h 523"/>
              <a:gd name="T28" fmla="*/ 702 w 1617"/>
              <a:gd name="T29" fmla="*/ 144 h 523"/>
              <a:gd name="T30" fmla="*/ 601 w 1617"/>
              <a:gd name="T31" fmla="*/ 92 h 523"/>
              <a:gd name="T32" fmla="*/ 632 w 1617"/>
              <a:gd name="T33" fmla="*/ 165 h 523"/>
              <a:gd name="T34" fmla="*/ 510 w 1617"/>
              <a:gd name="T35" fmla="*/ 118 h 523"/>
              <a:gd name="T36" fmla="*/ 505 w 1617"/>
              <a:gd name="T37" fmla="*/ 189 h 523"/>
              <a:gd name="T38" fmla="*/ 463 w 1617"/>
              <a:gd name="T39" fmla="*/ 183 h 523"/>
              <a:gd name="T40" fmla="*/ 401 w 1617"/>
              <a:gd name="T41" fmla="*/ 185 h 523"/>
              <a:gd name="T42" fmla="*/ 278 w 1617"/>
              <a:gd name="T43" fmla="*/ 207 h 523"/>
              <a:gd name="T44" fmla="*/ 69 w 1617"/>
              <a:gd name="T45" fmla="*/ 256 h 523"/>
              <a:gd name="T46" fmla="*/ 184 w 1617"/>
              <a:gd name="T47" fmla="*/ 380 h 523"/>
              <a:gd name="T48" fmla="*/ 392 w 1617"/>
              <a:gd name="T49" fmla="*/ 259 h 523"/>
              <a:gd name="T50" fmla="*/ 414 w 1617"/>
              <a:gd name="T51" fmla="*/ 292 h 523"/>
              <a:gd name="T52" fmla="*/ 499 w 1617"/>
              <a:gd name="T53" fmla="*/ 228 h 523"/>
              <a:gd name="T54" fmla="*/ 476 w 1617"/>
              <a:gd name="T55" fmla="*/ 297 h 523"/>
              <a:gd name="T56" fmla="*/ 525 w 1617"/>
              <a:gd name="T57" fmla="*/ 275 h 523"/>
              <a:gd name="T58" fmla="*/ 599 w 1617"/>
              <a:gd name="T59" fmla="*/ 211 h 523"/>
              <a:gd name="T60" fmla="*/ 596 w 1617"/>
              <a:gd name="T61" fmla="*/ 273 h 523"/>
              <a:gd name="T62" fmla="*/ 654 w 1617"/>
              <a:gd name="T63" fmla="*/ 275 h 523"/>
              <a:gd name="T64" fmla="*/ 792 w 1617"/>
              <a:gd name="T65" fmla="*/ 198 h 523"/>
              <a:gd name="T66" fmla="*/ 723 w 1617"/>
              <a:gd name="T67" fmla="*/ 280 h 523"/>
              <a:gd name="T68" fmla="*/ 778 w 1617"/>
              <a:gd name="T69" fmla="*/ 257 h 523"/>
              <a:gd name="T70" fmla="*/ 876 w 1617"/>
              <a:gd name="T71" fmla="*/ 204 h 523"/>
              <a:gd name="T72" fmla="*/ 791 w 1617"/>
              <a:gd name="T73" fmla="*/ 325 h 523"/>
              <a:gd name="T74" fmla="*/ 997 w 1617"/>
              <a:gd name="T75" fmla="*/ 218 h 523"/>
              <a:gd name="T76" fmla="*/ 870 w 1617"/>
              <a:gd name="T77" fmla="*/ 360 h 523"/>
              <a:gd name="T78" fmla="*/ 1122 w 1617"/>
              <a:gd name="T79" fmla="*/ 232 h 523"/>
              <a:gd name="T80" fmla="*/ 962 w 1617"/>
              <a:gd name="T81" fmla="*/ 362 h 523"/>
              <a:gd name="T82" fmla="*/ 1082 w 1617"/>
              <a:gd name="T83" fmla="*/ 320 h 523"/>
              <a:gd name="T84" fmla="*/ 1169 w 1617"/>
              <a:gd name="T85" fmla="*/ 358 h 523"/>
              <a:gd name="T86" fmla="*/ 1076 w 1617"/>
              <a:gd name="T87" fmla="*/ 449 h 523"/>
              <a:gd name="T88" fmla="*/ 1325 w 1617"/>
              <a:gd name="T89" fmla="*/ 282 h 523"/>
              <a:gd name="T90" fmla="*/ 1526 w 1617"/>
              <a:gd name="T91" fmla="*/ 405 h 523"/>
              <a:gd name="T92" fmla="*/ 1420 w 1617"/>
              <a:gd name="T93" fmla="*/ 240 h 523"/>
              <a:gd name="T94" fmla="*/ 1399 w 1617"/>
              <a:gd name="T95" fmla="*/ 209 h 523"/>
              <a:gd name="T96" fmla="*/ 1418 w 1617"/>
              <a:gd name="T97" fmla="*/ 186 h 523"/>
              <a:gd name="T98" fmla="*/ 1438 w 1617"/>
              <a:gd name="T99" fmla="*/ 247 h 5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617" h="523">
                <a:moveTo>
                  <a:pt x="1516" y="326"/>
                </a:moveTo>
                <a:cubicBezTo>
                  <a:pt x="1504" y="314"/>
                  <a:pt x="1523" y="295"/>
                  <a:pt x="1534" y="308"/>
                </a:cubicBezTo>
                <a:cubicBezTo>
                  <a:pt x="1554" y="330"/>
                  <a:pt x="1584" y="346"/>
                  <a:pt x="1614" y="340"/>
                </a:cubicBezTo>
                <a:cubicBezTo>
                  <a:pt x="1617" y="312"/>
                  <a:pt x="1602" y="288"/>
                  <a:pt x="1584" y="266"/>
                </a:cubicBezTo>
                <a:cubicBezTo>
                  <a:pt x="1578" y="260"/>
                  <a:pt x="1572" y="253"/>
                  <a:pt x="1566" y="247"/>
                </a:cubicBezTo>
                <a:cubicBezTo>
                  <a:pt x="1510" y="190"/>
                  <a:pt x="1451" y="134"/>
                  <a:pt x="1378" y="99"/>
                </a:cubicBezTo>
                <a:cubicBezTo>
                  <a:pt x="1350" y="85"/>
                  <a:pt x="1267" y="45"/>
                  <a:pt x="1265" y="104"/>
                </a:cubicBezTo>
                <a:cubicBezTo>
                  <a:pt x="1264" y="125"/>
                  <a:pt x="1283" y="147"/>
                  <a:pt x="1292" y="165"/>
                </a:cubicBezTo>
                <a:cubicBezTo>
                  <a:pt x="1301" y="183"/>
                  <a:pt x="1312" y="202"/>
                  <a:pt x="1319" y="222"/>
                </a:cubicBezTo>
                <a:cubicBezTo>
                  <a:pt x="1309" y="218"/>
                  <a:pt x="1299" y="214"/>
                  <a:pt x="1290" y="211"/>
                </a:cubicBezTo>
                <a:cubicBezTo>
                  <a:pt x="1284" y="209"/>
                  <a:pt x="1278" y="208"/>
                  <a:pt x="1273" y="206"/>
                </a:cubicBezTo>
                <a:cubicBezTo>
                  <a:pt x="1273" y="206"/>
                  <a:pt x="1273" y="206"/>
                  <a:pt x="1273" y="206"/>
                </a:cubicBezTo>
                <a:cubicBezTo>
                  <a:pt x="1272" y="188"/>
                  <a:pt x="1266" y="170"/>
                  <a:pt x="1258" y="154"/>
                </a:cubicBezTo>
                <a:cubicBezTo>
                  <a:pt x="1251" y="138"/>
                  <a:pt x="1240" y="125"/>
                  <a:pt x="1232" y="110"/>
                </a:cubicBezTo>
                <a:cubicBezTo>
                  <a:pt x="1223" y="93"/>
                  <a:pt x="1216" y="74"/>
                  <a:pt x="1206" y="57"/>
                </a:cubicBezTo>
                <a:cubicBezTo>
                  <a:pt x="1202" y="49"/>
                  <a:pt x="1198" y="41"/>
                  <a:pt x="1192" y="34"/>
                </a:cubicBezTo>
                <a:cubicBezTo>
                  <a:pt x="1188" y="27"/>
                  <a:pt x="1181" y="23"/>
                  <a:pt x="1176" y="16"/>
                </a:cubicBezTo>
                <a:cubicBezTo>
                  <a:pt x="1173" y="14"/>
                  <a:pt x="1168" y="17"/>
                  <a:pt x="1170" y="20"/>
                </a:cubicBezTo>
                <a:cubicBezTo>
                  <a:pt x="1174" y="28"/>
                  <a:pt x="1177" y="38"/>
                  <a:pt x="1181" y="46"/>
                </a:cubicBezTo>
                <a:cubicBezTo>
                  <a:pt x="1185" y="54"/>
                  <a:pt x="1189" y="62"/>
                  <a:pt x="1192" y="70"/>
                </a:cubicBezTo>
                <a:cubicBezTo>
                  <a:pt x="1199" y="85"/>
                  <a:pt x="1208" y="102"/>
                  <a:pt x="1212" y="118"/>
                </a:cubicBezTo>
                <a:cubicBezTo>
                  <a:pt x="1218" y="143"/>
                  <a:pt x="1228" y="169"/>
                  <a:pt x="1232" y="195"/>
                </a:cubicBezTo>
                <a:cubicBezTo>
                  <a:pt x="1212" y="190"/>
                  <a:pt x="1192" y="186"/>
                  <a:pt x="1172" y="182"/>
                </a:cubicBezTo>
                <a:cubicBezTo>
                  <a:pt x="1173" y="180"/>
                  <a:pt x="1173" y="178"/>
                  <a:pt x="1172" y="175"/>
                </a:cubicBezTo>
                <a:cubicBezTo>
                  <a:pt x="1165" y="137"/>
                  <a:pt x="1141" y="102"/>
                  <a:pt x="1122" y="68"/>
                </a:cubicBezTo>
                <a:cubicBezTo>
                  <a:pt x="1113" y="52"/>
                  <a:pt x="1103" y="36"/>
                  <a:pt x="1091" y="22"/>
                </a:cubicBezTo>
                <a:cubicBezTo>
                  <a:pt x="1084" y="13"/>
                  <a:pt x="1068" y="0"/>
                  <a:pt x="1056" y="4"/>
                </a:cubicBezTo>
                <a:cubicBezTo>
                  <a:pt x="1052" y="5"/>
                  <a:pt x="1050" y="8"/>
                  <a:pt x="1052" y="12"/>
                </a:cubicBezTo>
                <a:cubicBezTo>
                  <a:pt x="1059" y="24"/>
                  <a:pt x="1070" y="34"/>
                  <a:pt x="1078" y="46"/>
                </a:cubicBezTo>
                <a:cubicBezTo>
                  <a:pt x="1086" y="59"/>
                  <a:pt x="1093" y="73"/>
                  <a:pt x="1100" y="87"/>
                </a:cubicBezTo>
                <a:cubicBezTo>
                  <a:pt x="1114" y="115"/>
                  <a:pt x="1131" y="145"/>
                  <a:pt x="1138" y="176"/>
                </a:cubicBezTo>
                <a:cubicBezTo>
                  <a:pt x="1106" y="171"/>
                  <a:pt x="1074" y="168"/>
                  <a:pt x="1042" y="167"/>
                </a:cubicBezTo>
                <a:cubicBezTo>
                  <a:pt x="1031" y="139"/>
                  <a:pt x="1018" y="113"/>
                  <a:pt x="1001" y="89"/>
                </a:cubicBezTo>
                <a:cubicBezTo>
                  <a:pt x="984" y="65"/>
                  <a:pt x="963" y="45"/>
                  <a:pt x="941" y="24"/>
                </a:cubicBezTo>
                <a:cubicBezTo>
                  <a:pt x="931" y="15"/>
                  <a:pt x="916" y="29"/>
                  <a:pt x="926" y="38"/>
                </a:cubicBezTo>
                <a:cubicBezTo>
                  <a:pt x="962" y="72"/>
                  <a:pt x="992" y="118"/>
                  <a:pt x="1010" y="165"/>
                </a:cubicBezTo>
                <a:cubicBezTo>
                  <a:pt x="978" y="164"/>
                  <a:pt x="945" y="162"/>
                  <a:pt x="912" y="160"/>
                </a:cubicBezTo>
                <a:cubicBezTo>
                  <a:pt x="910" y="140"/>
                  <a:pt x="902" y="117"/>
                  <a:pt x="893" y="101"/>
                </a:cubicBezTo>
                <a:cubicBezTo>
                  <a:pt x="887" y="92"/>
                  <a:pt x="880" y="82"/>
                  <a:pt x="873" y="73"/>
                </a:cubicBezTo>
                <a:cubicBezTo>
                  <a:pt x="865" y="65"/>
                  <a:pt x="856" y="61"/>
                  <a:pt x="846" y="56"/>
                </a:cubicBezTo>
                <a:cubicBezTo>
                  <a:pt x="843" y="54"/>
                  <a:pt x="840" y="58"/>
                  <a:pt x="842" y="61"/>
                </a:cubicBezTo>
                <a:cubicBezTo>
                  <a:pt x="856" y="76"/>
                  <a:pt x="863" y="99"/>
                  <a:pt x="870" y="118"/>
                </a:cubicBezTo>
                <a:cubicBezTo>
                  <a:pt x="876" y="130"/>
                  <a:pt x="878" y="144"/>
                  <a:pt x="882" y="157"/>
                </a:cubicBezTo>
                <a:cubicBezTo>
                  <a:pt x="879" y="157"/>
                  <a:pt x="876" y="157"/>
                  <a:pt x="873" y="157"/>
                </a:cubicBezTo>
                <a:cubicBezTo>
                  <a:pt x="856" y="156"/>
                  <a:pt x="840" y="155"/>
                  <a:pt x="823" y="154"/>
                </a:cubicBezTo>
                <a:cubicBezTo>
                  <a:pt x="816" y="135"/>
                  <a:pt x="808" y="117"/>
                  <a:pt x="796" y="101"/>
                </a:cubicBezTo>
                <a:cubicBezTo>
                  <a:pt x="790" y="93"/>
                  <a:pt x="784" y="83"/>
                  <a:pt x="776" y="77"/>
                </a:cubicBezTo>
                <a:cubicBezTo>
                  <a:pt x="768" y="72"/>
                  <a:pt x="762" y="70"/>
                  <a:pt x="754" y="66"/>
                </a:cubicBezTo>
                <a:cubicBezTo>
                  <a:pt x="751" y="65"/>
                  <a:pt x="748" y="69"/>
                  <a:pt x="750" y="71"/>
                </a:cubicBezTo>
                <a:cubicBezTo>
                  <a:pt x="754" y="79"/>
                  <a:pt x="755" y="87"/>
                  <a:pt x="761" y="94"/>
                </a:cubicBezTo>
                <a:cubicBezTo>
                  <a:pt x="767" y="102"/>
                  <a:pt x="773" y="110"/>
                  <a:pt x="778" y="119"/>
                </a:cubicBezTo>
                <a:cubicBezTo>
                  <a:pt x="784" y="130"/>
                  <a:pt x="790" y="142"/>
                  <a:pt x="795" y="154"/>
                </a:cubicBezTo>
                <a:cubicBezTo>
                  <a:pt x="778" y="153"/>
                  <a:pt x="761" y="154"/>
                  <a:pt x="744" y="154"/>
                </a:cubicBezTo>
                <a:cubicBezTo>
                  <a:pt x="742" y="136"/>
                  <a:pt x="727" y="116"/>
                  <a:pt x="718" y="105"/>
                </a:cubicBezTo>
                <a:cubicBezTo>
                  <a:pt x="710" y="95"/>
                  <a:pt x="701" y="85"/>
                  <a:pt x="690" y="77"/>
                </a:cubicBezTo>
                <a:cubicBezTo>
                  <a:pt x="685" y="74"/>
                  <a:pt x="669" y="64"/>
                  <a:pt x="664" y="71"/>
                </a:cubicBezTo>
                <a:cubicBezTo>
                  <a:pt x="663" y="73"/>
                  <a:pt x="660" y="72"/>
                  <a:pt x="659" y="75"/>
                </a:cubicBezTo>
                <a:cubicBezTo>
                  <a:pt x="658" y="77"/>
                  <a:pt x="658" y="82"/>
                  <a:pt x="658" y="84"/>
                </a:cubicBezTo>
                <a:cubicBezTo>
                  <a:pt x="661" y="95"/>
                  <a:pt x="672" y="105"/>
                  <a:pt x="678" y="112"/>
                </a:cubicBezTo>
                <a:cubicBezTo>
                  <a:pt x="687" y="122"/>
                  <a:pt x="696" y="133"/>
                  <a:pt x="702" y="144"/>
                </a:cubicBezTo>
                <a:cubicBezTo>
                  <a:pt x="703" y="148"/>
                  <a:pt x="705" y="152"/>
                  <a:pt x="706" y="156"/>
                </a:cubicBezTo>
                <a:cubicBezTo>
                  <a:pt x="690" y="157"/>
                  <a:pt x="674" y="159"/>
                  <a:pt x="658" y="161"/>
                </a:cubicBezTo>
                <a:cubicBezTo>
                  <a:pt x="659" y="145"/>
                  <a:pt x="651" y="128"/>
                  <a:pt x="640" y="117"/>
                </a:cubicBezTo>
                <a:cubicBezTo>
                  <a:pt x="628" y="105"/>
                  <a:pt x="614" y="102"/>
                  <a:pt x="601" y="92"/>
                </a:cubicBezTo>
                <a:cubicBezTo>
                  <a:pt x="596" y="89"/>
                  <a:pt x="592" y="96"/>
                  <a:pt x="595" y="99"/>
                </a:cubicBezTo>
                <a:cubicBezTo>
                  <a:pt x="604" y="109"/>
                  <a:pt x="608" y="122"/>
                  <a:pt x="616" y="133"/>
                </a:cubicBezTo>
                <a:cubicBezTo>
                  <a:pt x="623" y="143"/>
                  <a:pt x="629" y="152"/>
                  <a:pt x="632" y="164"/>
                </a:cubicBezTo>
                <a:cubicBezTo>
                  <a:pt x="632" y="165"/>
                  <a:pt x="632" y="165"/>
                  <a:pt x="632" y="165"/>
                </a:cubicBezTo>
                <a:cubicBezTo>
                  <a:pt x="616" y="167"/>
                  <a:pt x="601" y="170"/>
                  <a:pt x="586" y="172"/>
                </a:cubicBezTo>
                <a:cubicBezTo>
                  <a:pt x="584" y="173"/>
                  <a:pt x="582" y="173"/>
                  <a:pt x="579" y="174"/>
                </a:cubicBezTo>
                <a:cubicBezTo>
                  <a:pt x="574" y="162"/>
                  <a:pt x="565" y="152"/>
                  <a:pt x="555" y="143"/>
                </a:cubicBezTo>
                <a:cubicBezTo>
                  <a:pt x="541" y="131"/>
                  <a:pt x="526" y="126"/>
                  <a:pt x="510" y="118"/>
                </a:cubicBezTo>
                <a:cubicBezTo>
                  <a:pt x="508" y="118"/>
                  <a:pt x="506" y="119"/>
                  <a:pt x="507" y="120"/>
                </a:cubicBezTo>
                <a:cubicBezTo>
                  <a:pt x="511" y="134"/>
                  <a:pt x="518" y="145"/>
                  <a:pt x="526" y="156"/>
                </a:cubicBezTo>
                <a:cubicBezTo>
                  <a:pt x="532" y="164"/>
                  <a:pt x="540" y="171"/>
                  <a:pt x="544" y="180"/>
                </a:cubicBezTo>
                <a:cubicBezTo>
                  <a:pt x="531" y="183"/>
                  <a:pt x="518" y="186"/>
                  <a:pt x="505" y="189"/>
                </a:cubicBezTo>
                <a:cubicBezTo>
                  <a:pt x="500" y="179"/>
                  <a:pt x="490" y="169"/>
                  <a:pt x="482" y="162"/>
                </a:cubicBezTo>
                <a:cubicBezTo>
                  <a:pt x="472" y="153"/>
                  <a:pt x="458" y="146"/>
                  <a:pt x="445" y="145"/>
                </a:cubicBezTo>
                <a:cubicBezTo>
                  <a:pt x="441" y="145"/>
                  <a:pt x="439" y="149"/>
                  <a:pt x="440" y="152"/>
                </a:cubicBezTo>
                <a:cubicBezTo>
                  <a:pt x="445" y="164"/>
                  <a:pt x="455" y="174"/>
                  <a:pt x="463" y="183"/>
                </a:cubicBezTo>
                <a:cubicBezTo>
                  <a:pt x="468" y="188"/>
                  <a:pt x="471" y="194"/>
                  <a:pt x="475" y="199"/>
                </a:cubicBezTo>
                <a:cubicBezTo>
                  <a:pt x="467" y="202"/>
                  <a:pt x="459" y="206"/>
                  <a:pt x="452" y="209"/>
                </a:cubicBezTo>
                <a:cubicBezTo>
                  <a:pt x="447" y="212"/>
                  <a:pt x="441" y="215"/>
                  <a:pt x="435" y="218"/>
                </a:cubicBezTo>
                <a:cubicBezTo>
                  <a:pt x="426" y="205"/>
                  <a:pt x="414" y="196"/>
                  <a:pt x="401" y="185"/>
                </a:cubicBezTo>
                <a:cubicBezTo>
                  <a:pt x="396" y="181"/>
                  <a:pt x="390" y="187"/>
                  <a:pt x="394" y="192"/>
                </a:cubicBezTo>
                <a:cubicBezTo>
                  <a:pt x="403" y="203"/>
                  <a:pt x="408" y="217"/>
                  <a:pt x="414" y="231"/>
                </a:cubicBezTo>
                <a:cubicBezTo>
                  <a:pt x="388" y="246"/>
                  <a:pt x="359" y="260"/>
                  <a:pt x="335" y="254"/>
                </a:cubicBezTo>
                <a:cubicBezTo>
                  <a:pt x="311" y="247"/>
                  <a:pt x="299" y="219"/>
                  <a:pt x="278" y="207"/>
                </a:cubicBezTo>
                <a:cubicBezTo>
                  <a:pt x="247" y="190"/>
                  <a:pt x="216" y="177"/>
                  <a:pt x="181" y="170"/>
                </a:cubicBezTo>
                <a:cubicBezTo>
                  <a:pt x="135" y="162"/>
                  <a:pt x="81" y="156"/>
                  <a:pt x="38" y="178"/>
                </a:cubicBezTo>
                <a:cubicBezTo>
                  <a:pt x="28" y="183"/>
                  <a:pt x="21" y="188"/>
                  <a:pt x="18" y="193"/>
                </a:cubicBezTo>
                <a:cubicBezTo>
                  <a:pt x="0" y="216"/>
                  <a:pt x="48" y="236"/>
                  <a:pt x="69" y="256"/>
                </a:cubicBezTo>
                <a:cubicBezTo>
                  <a:pt x="94" y="280"/>
                  <a:pt x="120" y="299"/>
                  <a:pt x="156" y="303"/>
                </a:cubicBezTo>
                <a:cubicBezTo>
                  <a:pt x="166" y="304"/>
                  <a:pt x="230" y="307"/>
                  <a:pt x="237" y="299"/>
                </a:cubicBezTo>
                <a:cubicBezTo>
                  <a:pt x="229" y="309"/>
                  <a:pt x="222" y="320"/>
                  <a:pt x="215" y="330"/>
                </a:cubicBezTo>
                <a:cubicBezTo>
                  <a:pt x="204" y="346"/>
                  <a:pt x="196" y="364"/>
                  <a:pt x="184" y="380"/>
                </a:cubicBezTo>
                <a:cubicBezTo>
                  <a:pt x="165" y="408"/>
                  <a:pt x="147" y="436"/>
                  <a:pt x="142" y="469"/>
                </a:cubicBezTo>
                <a:cubicBezTo>
                  <a:pt x="141" y="480"/>
                  <a:pt x="137" y="523"/>
                  <a:pt x="161" y="508"/>
                </a:cubicBezTo>
                <a:cubicBezTo>
                  <a:pt x="216" y="475"/>
                  <a:pt x="282" y="453"/>
                  <a:pt x="317" y="396"/>
                </a:cubicBezTo>
                <a:cubicBezTo>
                  <a:pt x="344" y="350"/>
                  <a:pt x="353" y="296"/>
                  <a:pt x="392" y="259"/>
                </a:cubicBezTo>
                <a:cubicBezTo>
                  <a:pt x="404" y="256"/>
                  <a:pt x="415" y="252"/>
                  <a:pt x="427" y="249"/>
                </a:cubicBezTo>
                <a:cubicBezTo>
                  <a:pt x="430" y="250"/>
                  <a:pt x="433" y="249"/>
                  <a:pt x="435" y="248"/>
                </a:cubicBezTo>
                <a:cubicBezTo>
                  <a:pt x="433" y="254"/>
                  <a:pt x="433" y="262"/>
                  <a:pt x="430" y="269"/>
                </a:cubicBezTo>
                <a:cubicBezTo>
                  <a:pt x="425" y="277"/>
                  <a:pt x="420" y="285"/>
                  <a:pt x="414" y="292"/>
                </a:cubicBezTo>
                <a:cubicBezTo>
                  <a:pt x="409" y="300"/>
                  <a:pt x="420" y="306"/>
                  <a:pt x="425" y="300"/>
                </a:cubicBezTo>
                <a:cubicBezTo>
                  <a:pt x="434" y="289"/>
                  <a:pt x="461" y="258"/>
                  <a:pt x="447" y="243"/>
                </a:cubicBezTo>
                <a:cubicBezTo>
                  <a:pt x="456" y="241"/>
                  <a:pt x="464" y="238"/>
                  <a:pt x="472" y="236"/>
                </a:cubicBezTo>
                <a:cubicBezTo>
                  <a:pt x="481" y="233"/>
                  <a:pt x="490" y="230"/>
                  <a:pt x="499" y="228"/>
                </a:cubicBezTo>
                <a:cubicBezTo>
                  <a:pt x="499" y="231"/>
                  <a:pt x="498" y="233"/>
                  <a:pt x="498" y="235"/>
                </a:cubicBezTo>
                <a:cubicBezTo>
                  <a:pt x="496" y="242"/>
                  <a:pt x="493" y="248"/>
                  <a:pt x="490" y="254"/>
                </a:cubicBezTo>
                <a:cubicBezTo>
                  <a:pt x="485" y="264"/>
                  <a:pt x="478" y="276"/>
                  <a:pt x="469" y="284"/>
                </a:cubicBezTo>
                <a:cubicBezTo>
                  <a:pt x="463" y="289"/>
                  <a:pt x="468" y="298"/>
                  <a:pt x="476" y="297"/>
                </a:cubicBezTo>
                <a:cubicBezTo>
                  <a:pt x="500" y="291"/>
                  <a:pt x="536" y="250"/>
                  <a:pt x="526" y="222"/>
                </a:cubicBezTo>
                <a:cubicBezTo>
                  <a:pt x="537" y="220"/>
                  <a:pt x="549" y="218"/>
                  <a:pt x="561" y="216"/>
                </a:cubicBezTo>
                <a:cubicBezTo>
                  <a:pt x="557" y="224"/>
                  <a:pt x="555" y="232"/>
                  <a:pt x="552" y="238"/>
                </a:cubicBezTo>
                <a:cubicBezTo>
                  <a:pt x="544" y="251"/>
                  <a:pt x="534" y="263"/>
                  <a:pt x="525" y="275"/>
                </a:cubicBezTo>
                <a:cubicBezTo>
                  <a:pt x="520" y="281"/>
                  <a:pt x="530" y="290"/>
                  <a:pt x="535" y="284"/>
                </a:cubicBezTo>
                <a:cubicBezTo>
                  <a:pt x="552" y="263"/>
                  <a:pt x="572" y="244"/>
                  <a:pt x="579" y="216"/>
                </a:cubicBezTo>
                <a:cubicBezTo>
                  <a:pt x="580" y="216"/>
                  <a:pt x="580" y="215"/>
                  <a:pt x="580" y="214"/>
                </a:cubicBezTo>
                <a:cubicBezTo>
                  <a:pt x="586" y="213"/>
                  <a:pt x="593" y="212"/>
                  <a:pt x="599" y="211"/>
                </a:cubicBezTo>
                <a:cubicBezTo>
                  <a:pt x="612" y="209"/>
                  <a:pt x="624" y="207"/>
                  <a:pt x="637" y="205"/>
                </a:cubicBezTo>
                <a:cubicBezTo>
                  <a:pt x="632" y="214"/>
                  <a:pt x="627" y="221"/>
                  <a:pt x="621" y="230"/>
                </a:cubicBezTo>
                <a:cubicBezTo>
                  <a:pt x="612" y="242"/>
                  <a:pt x="601" y="254"/>
                  <a:pt x="592" y="267"/>
                </a:cubicBezTo>
                <a:cubicBezTo>
                  <a:pt x="590" y="270"/>
                  <a:pt x="593" y="274"/>
                  <a:pt x="596" y="273"/>
                </a:cubicBezTo>
                <a:cubicBezTo>
                  <a:pt x="627" y="264"/>
                  <a:pt x="662" y="234"/>
                  <a:pt x="668" y="201"/>
                </a:cubicBezTo>
                <a:cubicBezTo>
                  <a:pt x="684" y="199"/>
                  <a:pt x="700" y="198"/>
                  <a:pt x="716" y="197"/>
                </a:cubicBezTo>
                <a:cubicBezTo>
                  <a:pt x="711" y="208"/>
                  <a:pt x="700" y="219"/>
                  <a:pt x="694" y="226"/>
                </a:cubicBezTo>
                <a:cubicBezTo>
                  <a:pt x="682" y="244"/>
                  <a:pt x="670" y="261"/>
                  <a:pt x="654" y="275"/>
                </a:cubicBezTo>
                <a:cubicBezTo>
                  <a:pt x="648" y="280"/>
                  <a:pt x="657" y="290"/>
                  <a:pt x="663" y="284"/>
                </a:cubicBezTo>
                <a:cubicBezTo>
                  <a:pt x="682" y="268"/>
                  <a:pt x="694" y="246"/>
                  <a:pt x="713" y="229"/>
                </a:cubicBezTo>
                <a:cubicBezTo>
                  <a:pt x="722" y="220"/>
                  <a:pt x="733" y="210"/>
                  <a:pt x="738" y="197"/>
                </a:cubicBezTo>
                <a:cubicBezTo>
                  <a:pt x="756" y="197"/>
                  <a:pt x="774" y="198"/>
                  <a:pt x="792" y="198"/>
                </a:cubicBezTo>
                <a:cubicBezTo>
                  <a:pt x="786" y="215"/>
                  <a:pt x="771" y="229"/>
                  <a:pt x="758" y="241"/>
                </a:cubicBezTo>
                <a:cubicBezTo>
                  <a:pt x="750" y="248"/>
                  <a:pt x="743" y="256"/>
                  <a:pt x="735" y="262"/>
                </a:cubicBezTo>
                <a:cubicBezTo>
                  <a:pt x="730" y="266"/>
                  <a:pt x="728" y="268"/>
                  <a:pt x="726" y="273"/>
                </a:cubicBezTo>
                <a:cubicBezTo>
                  <a:pt x="725" y="274"/>
                  <a:pt x="723" y="280"/>
                  <a:pt x="723" y="280"/>
                </a:cubicBezTo>
                <a:cubicBezTo>
                  <a:pt x="719" y="282"/>
                  <a:pt x="723" y="288"/>
                  <a:pt x="727" y="287"/>
                </a:cubicBezTo>
                <a:cubicBezTo>
                  <a:pt x="729" y="287"/>
                  <a:pt x="735" y="288"/>
                  <a:pt x="739" y="288"/>
                </a:cubicBezTo>
                <a:cubicBezTo>
                  <a:pt x="744" y="287"/>
                  <a:pt x="748" y="284"/>
                  <a:pt x="752" y="281"/>
                </a:cubicBezTo>
                <a:cubicBezTo>
                  <a:pt x="761" y="274"/>
                  <a:pt x="770" y="266"/>
                  <a:pt x="778" y="257"/>
                </a:cubicBezTo>
                <a:cubicBezTo>
                  <a:pt x="792" y="240"/>
                  <a:pt x="809" y="222"/>
                  <a:pt x="815" y="200"/>
                </a:cubicBezTo>
                <a:cubicBezTo>
                  <a:pt x="815" y="200"/>
                  <a:pt x="815" y="200"/>
                  <a:pt x="815" y="199"/>
                </a:cubicBezTo>
                <a:cubicBezTo>
                  <a:pt x="831" y="200"/>
                  <a:pt x="848" y="202"/>
                  <a:pt x="864" y="203"/>
                </a:cubicBezTo>
                <a:cubicBezTo>
                  <a:pt x="868" y="204"/>
                  <a:pt x="872" y="204"/>
                  <a:pt x="876" y="204"/>
                </a:cubicBezTo>
                <a:cubicBezTo>
                  <a:pt x="867" y="226"/>
                  <a:pt x="856" y="245"/>
                  <a:pt x="841" y="264"/>
                </a:cubicBezTo>
                <a:cubicBezTo>
                  <a:pt x="832" y="275"/>
                  <a:pt x="823" y="286"/>
                  <a:pt x="812" y="296"/>
                </a:cubicBezTo>
                <a:cubicBezTo>
                  <a:pt x="804" y="304"/>
                  <a:pt x="797" y="313"/>
                  <a:pt x="788" y="320"/>
                </a:cubicBezTo>
                <a:cubicBezTo>
                  <a:pt x="785" y="322"/>
                  <a:pt x="788" y="326"/>
                  <a:pt x="791" y="325"/>
                </a:cubicBezTo>
                <a:cubicBezTo>
                  <a:pt x="803" y="318"/>
                  <a:pt x="815" y="313"/>
                  <a:pt x="826" y="304"/>
                </a:cubicBezTo>
                <a:cubicBezTo>
                  <a:pt x="837" y="294"/>
                  <a:pt x="848" y="284"/>
                  <a:pt x="858" y="272"/>
                </a:cubicBezTo>
                <a:cubicBezTo>
                  <a:pt x="874" y="254"/>
                  <a:pt x="892" y="232"/>
                  <a:pt x="900" y="207"/>
                </a:cubicBezTo>
                <a:cubicBezTo>
                  <a:pt x="932" y="211"/>
                  <a:pt x="964" y="214"/>
                  <a:pt x="997" y="218"/>
                </a:cubicBezTo>
                <a:cubicBezTo>
                  <a:pt x="991" y="230"/>
                  <a:pt x="986" y="241"/>
                  <a:pt x="977" y="252"/>
                </a:cubicBezTo>
                <a:cubicBezTo>
                  <a:pt x="968" y="264"/>
                  <a:pt x="957" y="274"/>
                  <a:pt x="946" y="285"/>
                </a:cubicBezTo>
                <a:cubicBezTo>
                  <a:pt x="924" y="306"/>
                  <a:pt x="898" y="330"/>
                  <a:pt x="869" y="340"/>
                </a:cubicBezTo>
                <a:cubicBezTo>
                  <a:pt x="859" y="343"/>
                  <a:pt x="858" y="360"/>
                  <a:pt x="870" y="360"/>
                </a:cubicBezTo>
                <a:cubicBezTo>
                  <a:pt x="908" y="358"/>
                  <a:pt x="940" y="332"/>
                  <a:pt x="965" y="307"/>
                </a:cubicBezTo>
                <a:cubicBezTo>
                  <a:pt x="979" y="293"/>
                  <a:pt x="992" y="279"/>
                  <a:pt x="1003" y="263"/>
                </a:cubicBezTo>
                <a:cubicBezTo>
                  <a:pt x="1012" y="251"/>
                  <a:pt x="1021" y="236"/>
                  <a:pt x="1024" y="221"/>
                </a:cubicBezTo>
                <a:cubicBezTo>
                  <a:pt x="1056" y="224"/>
                  <a:pt x="1090" y="227"/>
                  <a:pt x="1122" y="232"/>
                </a:cubicBezTo>
                <a:cubicBezTo>
                  <a:pt x="1104" y="262"/>
                  <a:pt x="1076" y="287"/>
                  <a:pt x="1048" y="307"/>
                </a:cubicBezTo>
                <a:cubicBezTo>
                  <a:pt x="1033" y="318"/>
                  <a:pt x="1016" y="328"/>
                  <a:pt x="1000" y="338"/>
                </a:cubicBezTo>
                <a:cubicBezTo>
                  <a:pt x="992" y="342"/>
                  <a:pt x="984" y="348"/>
                  <a:pt x="975" y="350"/>
                </a:cubicBezTo>
                <a:cubicBezTo>
                  <a:pt x="968" y="351"/>
                  <a:pt x="965" y="356"/>
                  <a:pt x="962" y="362"/>
                </a:cubicBezTo>
                <a:cubicBezTo>
                  <a:pt x="960" y="368"/>
                  <a:pt x="963" y="372"/>
                  <a:pt x="966" y="376"/>
                </a:cubicBezTo>
                <a:cubicBezTo>
                  <a:pt x="970" y="380"/>
                  <a:pt x="977" y="382"/>
                  <a:pt x="982" y="381"/>
                </a:cubicBezTo>
                <a:cubicBezTo>
                  <a:pt x="1000" y="377"/>
                  <a:pt x="1016" y="367"/>
                  <a:pt x="1031" y="358"/>
                </a:cubicBezTo>
                <a:cubicBezTo>
                  <a:pt x="1049" y="346"/>
                  <a:pt x="1066" y="334"/>
                  <a:pt x="1082" y="320"/>
                </a:cubicBezTo>
                <a:cubicBezTo>
                  <a:pt x="1110" y="296"/>
                  <a:pt x="1140" y="273"/>
                  <a:pt x="1156" y="238"/>
                </a:cubicBezTo>
                <a:cubicBezTo>
                  <a:pt x="1183" y="244"/>
                  <a:pt x="1209" y="249"/>
                  <a:pt x="1236" y="256"/>
                </a:cubicBezTo>
                <a:cubicBezTo>
                  <a:pt x="1231" y="274"/>
                  <a:pt x="1224" y="293"/>
                  <a:pt x="1214" y="307"/>
                </a:cubicBezTo>
                <a:cubicBezTo>
                  <a:pt x="1200" y="326"/>
                  <a:pt x="1184" y="342"/>
                  <a:pt x="1169" y="358"/>
                </a:cubicBezTo>
                <a:cubicBezTo>
                  <a:pt x="1153" y="374"/>
                  <a:pt x="1138" y="391"/>
                  <a:pt x="1121" y="406"/>
                </a:cubicBezTo>
                <a:cubicBezTo>
                  <a:pt x="1112" y="413"/>
                  <a:pt x="1103" y="420"/>
                  <a:pt x="1093" y="426"/>
                </a:cubicBezTo>
                <a:cubicBezTo>
                  <a:pt x="1086" y="431"/>
                  <a:pt x="1078" y="435"/>
                  <a:pt x="1074" y="443"/>
                </a:cubicBezTo>
                <a:cubicBezTo>
                  <a:pt x="1073" y="445"/>
                  <a:pt x="1074" y="448"/>
                  <a:pt x="1076" y="449"/>
                </a:cubicBezTo>
                <a:cubicBezTo>
                  <a:pt x="1095" y="454"/>
                  <a:pt x="1118" y="435"/>
                  <a:pt x="1131" y="424"/>
                </a:cubicBezTo>
                <a:cubicBezTo>
                  <a:pt x="1151" y="408"/>
                  <a:pt x="1170" y="390"/>
                  <a:pt x="1188" y="371"/>
                </a:cubicBezTo>
                <a:cubicBezTo>
                  <a:pt x="1219" y="340"/>
                  <a:pt x="1254" y="307"/>
                  <a:pt x="1270" y="265"/>
                </a:cubicBezTo>
                <a:cubicBezTo>
                  <a:pt x="1288" y="270"/>
                  <a:pt x="1307" y="275"/>
                  <a:pt x="1325" y="282"/>
                </a:cubicBezTo>
                <a:cubicBezTo>
                  <a:pt x="1321" y="302"/>
                  <a:pt x="1312" y="322"/>
                  <a:pt x="1303" y="341"/>
                </a:cubicBezTo>
                <a:cubicBezTo>
                  <a:pt x="1292" y="364"/>
                  <a:pt x="1260" y="412"/>
                  <a:pt x="1301" y="423"/>
                </a:cubicBezTo>
                <a:cubicBezTo>
                  <a:pt x="1323" y="429"/>
                  <a:pt x="1362" y="417"/>
                  <a:pt x="1384" y="415"/>
                </a:cubicBezTo>
                <a:cubicBezTo>
                  <a:pt x="1432" y="410"/>
                  <a:pt x="1480" y="411"/>
                  <a:pt x="1526" y="405"/>
                </a:cubicBezTo>
                <a:cubicBezTo>
                  <a:pt x="1556" y="401"/>
                  <a:pt x="1590" y="392"/>
                  <a:pt x="1606" y="367"/>
                </a:cubicBezTo>
                <a:cubicBezTo>
                  <a:pt x="1571" y="368"/>
                  <a:pt x="1538" y="351"/>
                  <a:pt x="1516" y="326"/>
                </a:cubicBezTo>
                <a:close/>
                <a:moveTo>
                  <a:pt x="1438" y="247"/>
                </a:moveTo>
                <a:cubicBezTo>
                  <a:pt x="1430" y="250"/>
                  <a:pt x="1424" y="246"/>
                  <a:pt x="1420" y="240"/>
                </a:cubicBezTo>
                <a:cubicBezTo>
                  <a:pt x="1418" y="237"/>
                  <a:pt x="1416" y="234"/>
                  <a:pt x="1414" y="231"/>
                </a:cubicBezTo>
                <a:cubicBezTo>
                  <a:pt x="1408" y="238"/>
                  <a:pt x="1402" y="246"/>
                  <a:pt x="1396" y="254"/>
                </a:cubicBezTo>
                <a:cubicBezTo>
                  <a:pt x="1387" y="268"/>
                  <a:pt x="1366" y="253"/>
                  <a:pt x="1376" y="239"/>
                </a:cubicBezTo>
                <a:cubicBezTo>
                  <a:pt x="1382" y="228"/>
                  <a:pt x="1391" y="219"/>
                  <a:pt x="1399" y="209"/>
                </a:cubicBezTo>
                <a:cubicBezTo>
                  <a:pt x="1394" y="203"/>
                  <a:pt x="1390" y="198"/>
                  <a:pt x="1384" y="192"/>
                </a:cubicBezTo>
                <a:cubicBezTo>
                  <a:pt x="1373" y="180"/>
                  <a:pt x="1393" y="163"/>
                  <a:pt x="1404" y="176"/>
                </a:cubicBezTo>
                <a:cubicBezTo>
                  <a:pt x="1408" y="180"/>
                  <a:pt x="1412" y="184"/>
                  <a:pt x="1416" y="189"/>
                </a:cubicBezTo>
                <a:cubicBezTo>
                  <a:pt x="1416" y="188"/>
                  <a:pt x="1417" y="187"/>
                  <a:pt x="1418" y="186"/>
                </a:cubicBezTo>
                <a:cubicBezTo>
                  <a:pt x="1428" y="173"/>
                  <a:pt x="1449" y="188"/>
                  <a:pt x="1439" y="201"/>
                </a:cubicBezTo>
                <a:cubicBezTo>
                  <a:pt x="1436" y="204"/>
                  <a:pt x="1434" y="207"/>
                  <a:pt x="1432" y="210"/>
                </a:cubicBezTo>
                <a:cubicBezTo>
                  <a:pt x="1436" y="217"/>
                  <a:pt x="1440" y="223"/>
                  <a:pt x="1444" y="230"/>
                </a:cubicBezTo>
                <a:cubicBezTo>
                  <a:pt x="1448" y="236"/>
                  <a:pt x="1444" y="244"/>
                  <a:pt x="1438" y="247"/>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cs typeface="+mn-cs"/>
            </a:endParaRPr>
          </a:p>
        </p:txBody>
      </p:sp>
      <p:grpSp>
        <p:nvGrpSpPr>
          <p:cNvPr id="30" name="Group 31">
            <a:extLst>
              <a:ext uri="{FF2B5EF4-FFF2-40B4-BE49-F238E27FC236}">
                <a16:creationId xmlns:a16="http://schemas.microsoft.com/office/drawing/2014/main" id="{FB0F82F4-665F-45D9-AF26-A9637F5ECB2A}"/>
              </a:ext>
            </a:extLst>
          </p:cNvPr>
          <p:cNvGrpSpPr>
            <a:grpSpLocks noChangeAspect="1"/>
          </p:cNvGrpSpPr>
          <p:nvPr/>
        </p:nvGrpSpPr>
        <p:grpSpPr bwMode="auto">
          <a:xfrm>
            <a:off x="863600" y="4115244"/>
            <a:ext cx="3022600" cy="1046708"/>
            <a:chOff x="1632" y="1400"/>
            <a:chExt cx="4398" cy="1523"/>
          </a:xfrm>
          <a:solidFill>
            <a:schemeClr val="accent2"/>
          </a:solidFill>
        </p:grpSpPr>
        <p:sp>
          <p:nvSpPr>
            <p:cNvPr id="32" name="Freeform 32">
              <a:extLst>
                <a:ext uri="{FF2B5EF4-FFF2-40B4-BE49-F238E27FC236}">
                  <a16:creationId xmlns:a16="http://schemas.microsoft.com/office/drawing/2014/main" id="{16546DB3-67C8-4014-BDE3-8494E014A7C3}"/>
                </a:ext>
              </a:extLst>
            </p:cNvPr>
            <p:cNvSpPr>
              <a:spLocks noEditPoints="1"/>
            </p:cNvSpPr>
            <p:nvPr/>
          </p:nvSpPr>
          <p:spPr bwMode="auto">
            <a:xfrm>
              <a:off x="4841" y="1636"/>
              <a:ext cx="1189" cy="1268"/>
            </a:xfrm>
            <a:custGeom>
              <a:avLst/>
              <a:gdLst>
                <a:gd name="T0" fmla="*/ 434 w 445"/>
                <a:gd name="T1" fmla="*/ 344 h 473"/>
                <a:gd name="T2" fmla="*/ 390 w 445"/>
                <a:gd name="T3" fmla="*/ 276 h 473"/>
                <a:gd name="T4" fmla="*/ 220 w 445"/>
                <a:gd name="T5" fmla="*/ 107 h 473"/>
                <a:gd name="T6" fmla="*/ 44 w 445"/>
                <a:gd name="T7" fmla="*/ 43 h 473"/>
                <a:gd name="T8" fmla="*/ 23 w 445"/>
                <a:gd name="T9" fmla="*/ 240 h 473"/>
                <a:gd name="T10" fmla="*/ 106 w 445"/>
                <a:gd name="T11" fmla="*/ 407 h 473"/>
                <a:gd name="T12" fmla="*/ 399 w 445"/>
                <a:gd name="T13" fmla="*/ 425 h 473"/>
                <a:gd name="T14" fmla="*/ 442 w 445"/>
                <a:gd name="T15" fmla="*/ 376 h 473"/>
                <a:gd name="T16" fmla="*/ 434 w 445"/>
                <a:gd name="T17" fmla="*/ 344 h 473"/>
                <a:gd name="T18" fmla="*/ 179 w 445"/>
                <a:gd name="T19" fmla="*/ 243 h 473"/>
                <a:gd name="T20" fmla="*/ 129 w 445"/>
                <a:gd name="T21" fmla="*/ 177 h 473"/>
                <a:gd name="T22" fmla="*/ 179 w 445"/>
                <a:gd name="T23" fmla="*/ 149 h 473"/>
                <a:gd name="T24" fmla="*/ 229 w 445"/>
                <a:gd name="T25" fmla="*/ 215 h 473"/>
                <a:gd name="T26" fmla="*/ 179 w 445"/>
                <a:gd name="T27" fmla="*/ 243 h 4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5" h="473">
                  <a:moveTo>
                    <a:pt x="434" y="344"/>
                  </a:moveTo>
                  <a:cubicBezTo>
                    <a:pt x="418" y="322"/>
                    <a:pt x="406" y="296"/>
                    <a:pt x="390" y="276"/>
                  </a:cubicBezTo>
                  <a:cubicBezTo>
                    <a:pt x="342" y="212"/>
                    <a:pt x="284" y="156"/>
                    <a:pt x="220" y="107"/>
                  </a:cubicBezTo>
                  <a:cubicBezTo>
                    <a:pt x="183" y="78"/>
                    <a:pt x="86" y="0"/>
                    <a:pt x="44" y="43"/>
                  </a:cubicBezTo>
                  <a:cubicBezTo>
                    <a:pt x="0" y="86"/>
                    <a:pt x="20" y="180"/>
                    <a:pt x="23" y="240"/>
                  </a:cubicBezTo>
                  <a:cubicBezTo>
                    <a:pt x="26" y="303"/>
                    <a:pt x="42" y="377"/>
                    <a:pt x="106" y="407"/>
                  </a:cubicBezTo>
                  <a:cubicBezTo>
                    <a:pt x="192" y="448"/>
                    <a:pt x="312" y="473"/>
                    <a:pt x="399" y="425"/>
                  </a:cubicBezTo>
                  <a:cubicBezTo>
                    <a:pt x="420" y="413"/>
                    <a:pt x="428" y="394"/>
                    <a:pt x="442" y="376"/>
                  </a:cubicBezTo>
                  <a:cubicBezTo>
                    <a:pt x="445" y="367"/>
                    <a:pt x="442" y="355"/>
                    <a:pt x="434" y="344"/>
                  </a:cubicBezTo>
                  <a:close/>
                  <a:moveTo>
                    <a:pt x="179" y="243"/>
                  </a:moveTo>
                  <a:cubicBezTo>
                    <a:pt x="152" y="232"/>
                    <a:pt x="129" y="203"/>
                    <a:pt x="129" y="177"/>
                  </a:cubicBezTo>
                  <a:cubicBezTo>
                    <a:pt x="129" y="152"/>
                    <a:pt x="152" y="139"/>
                    <a:pt x="179" y="149"/>
                  </a:cubicBezTo>
                  <a:cubicBezTo>
                    <a:pt x="207" y="160"/>
                    <a:pt x="229" y="189"/>
                    <a:pt x="229" y="215"/>
                  </a:cubicBezTo>
                  <a:cubicBezTo>
                    <a:pt x="229" y="241"/>
                    <a:pt x="207" y="254"/>
                    <a:pt x="179" y="2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cs typeface="+mn-cs"/>
              </a:endParaRPr>
            </a:p>
          </p:txBody>
        </p:sp>
        <p:sp>
          <p:nvSpPr>
            <p:cNvPr id="33" name="Freeform 33">
              <a:extLst>
                <a:ext uri="{FF2B5EF4-FFF2-40B4-BE49-F238E27FC236}">
                  <a16:creationId xmlns:a16="http://schemas.microsoft.com/office/drawing/2014/main" id="{53104F9D-4D50-40CC-BFEB-2E0DEA8F84F8}"/>
                </a:ext>
              </a:extLst>
            </p:cNvPr>
            <p:cNvSpPr>
              <a:spLocks/>
            </p:cNvSpPr>
            <p:nvPr/>
          </p:nvSpPr>
          <p:spPr bwMode="auto">
            <a:xfrm>
              <a:off x="1632" y="1633"/>
              <a:ext cx="3428" cy="1290"/>
            </a:xfrm>
            <a:custGeom>
              <a:avLst/>
              <a:gdLst>
                <a:gd name="T0" fmla="*/ 1273 w 1284"/>
                <a:gd name="T1" fmla="*/ 200 h 481"/>
                <a:gd name="T2" fmla="*/ 1269 w 1284"/>
                <a:gd name="T3" fmla="*/ 197 h 481"/>
                <a:gd name="T4" fmla="*/ 1244 w 1284"/>
                <a:gd name="T5" fmla="*/ 177 h 481"/>
                <a:gd name="T6" fmla="*/ 1208 w 1284"/>
                <a:gd name="T7" fmla="*/ 162 h 481"/>
                <a:gd name="T8" fmla="*/ 1147 w 1284"/>
                <a:gd name="T9" fmla="*/ 147 h 481"/>
                <a:gd name="T10" fmla="*/ 1025 w 1284"/>
                <a:gd name="T11" fmla="*/ 122 h 481"/>
                <a:gd name="T12" fmla="*/ 772 w 1284"/>
                <a:gd name="T13" fmla="*/ 107 h 481"/>
                <a:gd name="T14" fmla="*/ 519 w 1284"/>
                <a:gd name="T15" fmla="*/ 145 h 481"/>
                <a:gd name="T16" fmla="*/ 402 w 1284"/>
                <a:gd name="T17" fmla="*/ 173 h 481"/>
                <a:gd name="T18" fmla="*/ 373 w 1284"/>
                <a:gd name="T19" fmla="*/ 177 h 481"/>
                <a:gd name="T20" fmla="*/ 350 w 1284"/>
                <a:gd name="T21" fmla="*/ 168 h 481"/>
                <a:gd name="T22" fmla="*/ 312 w 1284"/>
                <a:gd name="T23" fmla="*/ 134 h 481"/>
                <a:gd name="T24" fmla="*/ 229 w 1284"/>
                <a:gd name="T25" fmla="*/ 54 h 481"/>
                <a:gd name="T26" fmla="*/ 137 w 1284"/>
                <a:gd name="T27" fmla="*/ 10 h 481"/>
                <a:gd name="T28" fmla="*/ 31 w 1284"/>
                <a:gd name="T29" fmla="*/ 10 h 481"/>
                <a:gd name="T30" fmla="*/ 24 w 1284"/>
                <a:gd name="T31" fmla="*/ 50 h 481"/>
                <a:gd name="T32" fmla="*/ 36 w 1284"/>
                <a:gd name="T33" fmla="*/ 51 h 481"/>
                <a:gd name="T34" fmla="*/ 70 w 1284"/>
                <a:gd name="T35" fmla="*/ 75 h 481"/>
                <a:gd name="T36" fmla="*/ 94 w 1284"/>
                <a:gd name="T37" fmla="*/ 135 h 481"/>
                <a:gd name="T38" fmla="*/ 123 w 1284"/>
                <a:gd name="T39" fmla="*/ 242 h 481"/>
                <a:gd name="T40" fmla="*/ 93 w 1284"/>
                <a:gd name="T41" fmla="*/ 339 h 481"/>
                <a:gd name="T42" fmla="*/ 68 w 1284"/>
                <a:gd name="T43" fmla="*/ 399 h 481"/>
                <a:gd name="T44" fmla="*/ 35 w 1284"/>
                <a:gd name="T45" fmla="*/ 434 h 481"/>
                <a:gd name="T46" fmla="*/ 23 w 1284"/>
                <a:gd name="T47" fmla="*/ 441 h 481"/>
                <a:gd name="T48" fmla="*/ 30 w 1284"/>
                <a:gd name="T49" fmla="*/ 476 h 481"/>
                <a:gd name="T50" fmla="*/ 133 w 1284"/>
                <a:gd name="T51" fmla="*/ 426 h 481"/>
                <a:gd name="T52" fmla="*/ 225 w 1284"/>
                <a:gd name="T53" fmla="*/ 357 h 481"/>
                <a:gd name="T54" fmla="*/ 309 w 1284"/>
                <a:gd name="T55" fmla="*/ 270 h 481"/>
                <a:gd name="T56" fmla="*/ 348 w 1284"/>
                <a:gd name="T57" fmla="*/ 233 h 481"/>
                <a:gd name="T58" fmla="*/ 371 w 1284"/>
                <a:gd name="T59" fmla="*/ 218 h 481"/>
                <a:gd name="T60" fmla="*/ 400 w 1284"/>
                <a:gd name="T61" fmla="*/ 210 h 481"/>
                <a:gd name="T62" fmla="*/ 517 w 1284"/>
                <a:gd name="T63" fmla="*/ 189 h 481"/>
                <a:gd name="T64" fmla="*/ 770 w 1284"/>
                <a:gd name="T65" fmla="*/ 157 h 481"/>
                <a:gd name="T66" fmla="*/ 1023 w 1284"/>
                <a:gd name="T67" fmla="*/ 177 h 481"/>
                <a:gd name="T68" fmla="*/ 1146 w 1284"/>
                <a:gd name="T69" fmla="*/ 208 h 481"/>
                <a:gd name="T70" fmla="*/ 1207 w 1284"/>
                <a:gd name="T71" fmla="*/ 229 h 481"/>
                <a:gd name="T72" fmla="*/ 1243 w 1284"/>
                <a:gd name="T73" fmla="*/ 237 h 481"/>
                <a:gd name="T74" fmla="*/ 1268 w 1284"/>
                <a:gd name="T75" fmla="*/ 234 h 481"/>
                <a:gd name="T76" fmla="*/ 1272 w 1284"/>
                <a:gd name="T77" fmla="*/ 233 h 481"/>
                <a:gd name="T78" fmla="*/ 1281 w 1284"/>
                <a:gd name="T79" fmla="*/ 221 h 481"/>
                <a:gd name="T80" fmla="*/ 1273 w 1284"/>
                <a:gd name="T81" fmla="*/ 200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284" h="481">
                  <a:moveTo>
                    <a:pt x="1273" y="200"/>
                  </a:moveTo>
                  <a:cubicBezTo>
                    <a:pt x="1272" y="199"/>
                    <a:pt x="1270" y="197"/>
                    <a:pt x="1269" y="197"/>
                  </a:cubicBezTo>
                  <a:cubicBezTo>
                    <a:pt x="1261" y="191"/>
                    <a:pt x="1253" y="182"/>
                    <a:pt x="1244" y="177"/>
                  </a:cubicBezTo>
                  <a:cubicBezTo>
                    <a:pt x="1233" y="171"/>
                    <a:pt x="1220" y="166"/>
                    <a:pt x="1208" y="162"/>
                  </a:cubicBezTo>
                  <a:cubicBezTo>
                    <a:pt x="1188" y="155"/>
                    <a:pt x="1168" y="152"/>
                    <a:pt x="1147" y="147"/>
                  </a:cubicBezTo>
                  <a:cubicBezTo>
                    <a:pt x="1106" y="139"/>
                    <a:pt x="1065" y="129"/>
                    <a:pt x="1025" y="122"/>
                  </a:cubicBezTo>
                  <a:cubicBezTo>
                    <a:pt x="942" y="107"/>
                    <a:pt x="856" y="100"/>
                    <a:pt x="772" y="107"/>
                  </a:cubicBezTo>
                  <a:cubicBezTo>
                    <a:pt x="688" y="115"/>
                    <a:pt x="602" y="128"/>
                    <a:pt x="519" y="145"/>
                  </a:cubicBezTo>
                  <a:cubicBezTo>
                    <a:pt x="480" y="153"/>
                    <a:pt x="441" y="163"/>
                    <a:pt x="402" y="173"/>
                  </a:cubicBezTo>
                  <a:cubicBezTo>
                    <a:pt x="392" y="174"/>
                    <a:pt x="382" y="176"/>
                    <a:pt x="373" y="177"/>
                  </a:cubicBezTo>
                  <a:cubicBezTo>
                    <a:pt x="365" y="174"/>
                    <a:pt x="357" y="172"/>
                    <a:pt x="350" y="168"/>
                  </a:cubicBezTo>
                  <a:cubicBezTo>
                    <a:pt x="336" y="159"/>
                    <a:pt x="324" y="146"/>
                    <a:pt x="312" y="134"/>
                  </a:cubicBezTo>
                  <a:cubicBezTo>
                    <a:pt x="286" y="107"/>
                    <a:pt x="259" y="78"/>
                    <a:pt x="229" y="54"/>
                  </a:cubicBezTo>
                  <a:cubicBezTo>
                    <a:pt x="203" y="33"/>
                    <a:pt x="170" y="18"/>
                    <a:pt x="137" y="10"/>
                  </a:cubicBezTo>
                  <a:cubicBezTo>
                    <a:pt x="103" y="2"/>
                    <a:pt x="66" y="0"/>
                    <a:pt x="31" y="10"/>
                  </a:cubicBezTo>
                  <a:cubicBezTo>
                    <a:pt x="8" y="17"/>
                    <a:pt x="0" y="49"/>
                    <a:pt x="24" y="50"/>
                  </a:cubicBezTo>
                  <a:cubicBezTo>
                    <a:pt x="28" y="50"/>
                    <a:pt x="32" y="51"/>
                    <a:pt x="36" y="51"/>
                  </a:cubicBezTo>
                  <a:cubicBezTo>
                    <a:pt x="51" y="54"/>
                    <a:pt x="60" y="63"/>
                    <a:pt x="70" y="75"/>
                  </a:cubicBezTo>
                  <a:cubicBezTo>
                    <a:pt x="83" y="92"/>
                    <a:pt x="92" y="113"/>
                    <a:pt x="94" y="135"/>
                  </a:cubicBezTo>
                  <a:cubicBezTo>
                    <a:pt x="100" y="171"/>
                    <a:pt x="104" y="209"/>
                    <a:pt x="123" y="242"/>
                  </a:cubicBezTo>
                  <a:cubicBezTo>
                    <a:pt x="104" y="271"/>
                    <a:pt x="99" y="306"/>
                    <a:pt x="93" y="339"/>
                  </a:cubicBezTo>
                  <a:cubicBezTo>
                    <a:pt x="90" y="358"/>
                    <a:pt x="81" y="379"/>
                    <a:pt x="68" y="399"/>
                  </a:cubicBezTo>
                  <a:cubicBezTo>
                    <a:pt x="59" y="413"/>
                    <a:pt x="49" y="425"/>
                    <a:pt x="35" y="434"/>
                  </a:cubicBezTo>
                  <a:cubicBezTo>
                    <a:pt x="31" y="436"/>
                    <a:pt x="27" y="438"/>
                    <a:pt x="23" y="441"/>
                  </a:cubicBezTo>
                  <a:cubicBezTo>
                    <a:pt x="0" y="451"/>
                    <a:pt x="8" y="481"/>
                    <a:pt x="30" y="476"/>
                  </a:cubicBezTo>
                  <a:cubicBezTo>
                    <a:pt x="67" y="467"/>
                    <a:pt x="101" y="447"/>
                    <a:pt x="133" y="426"/>
                  </a:cubicBezTo>
                  <a:cubicBezTo>
                    <a:pt x="165" y="406"/>
                    <a:pt x="197" y="383"/>
                    <a:pt x="225" y="357"/>
                  </a:cubicBezTo>
                  <a:cubicBezTo>
                    <a:pt x="254" y="329"/>
                    <a:pt x="282" y="299"/>
                    <a:pt x="309" y="270"/>
                  </a:cubicBezTo>
                  <a:cubicBezTo>
                    <a:pt x="321" y="257"/>
                    <a:pt x="333" y="244"/>
                    <a:pt x="348" y="233"/>
                  </a:cubicBezTo>
                  <a:cubicBezTo>
                    <a:pt x="355" y="227"/>
                    <a:pt x="364" y="223"/>
                    <a:pt x="371" y="218"/>
                  </a:cubicBezTo>
                  <a:cubicBezTo>
                    <a:pt x="381" y="215"/>
                    <a:pt x="390" y="212"/>
                    <a:pt x="400" y="210"/>
                  </a:cubicBezTo>
                  <a:cubicBezTo>
                    <a:pt x="439" y="203"/>
                    <a:pt x="478" y="196"/>
                    <a:pt x="517" y="189"/>
                  </a:cubicBezTo>
                  <a:cubicBezTo>
                    <a:pt x="601" y="173"/>
                    <a:pt x="686" y="159"/>
                    <a:pt x="770" y="157"/>
                  </a:cubicBezTo>
                  <a:cubicBezTo>
                    <a:pt x="854" y="156"/>
                    <a:pt x="941" y="162"/>
                    <a:pt x="1023" y="177"/>
                  </a:cubicBezTo>
                  <a:cubicBezTo>
                    <a:pt x="1064" y="185"/>
                    <a:pt x="1106" y="195"/>
                    <a:pt x="1146" y="208"/>
                  </a:cubicBezTo>
                  <a:cubicBezTo>
                    <a:pt x="1166" y="214"/>
                    <a:pt x="1186" y="223"/>
                    <a:pt x="1207" y="229"/>
                  </a:cubicBezTo>
                  <a:cubicBezTo>
                    <a:pt x="1219" y="233"/>
                    <a:pt x="1231" y="236"/>
                    <a:pt x="1243" y="237"/>
                  </a:cubicBezTo>
                  <a:cubicBezTo>
                    <a:pt x="1251" y="237"/>
                    <a:pt x="1260" y="235"/>
                    <a:pt x="1268" y="234"/>
                  </a:cubicBezTo>
                  <a:cubicBezTo>
                    <a:pt x="1269" y="234"/>
                    <a:pt x="1270" y="234"/>
                    <a:pt x="1272" y="233"/>
                  </a:cubicBezTo>
                  <a:cubicBezTo>
                    <a:pt x="1279" y="233"/>
                    <a:pt x="1282" y="227"/>
                    <a:pt x="1281" y="221"/>
                  </a:cubicBezTo>
                  <a:cubicBezTo>
                    <a:pt x="1284" y="213"/>
                    <a:pt x="1281" y="207"/>
                    <a:pt x="1273" y="2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cs typeface="+mn-cs"/>
              </a:endParaRPr>
            </a:p>
          </p:txBody>
        </p:sp>
        <p:sp>
          <p:nvSpPr>
            <p:cNvPr id="34" name="Freeform 34">
              <a:extLst>
                <a:ext uri="{FF2B5EF4-FFF2-40B4-BE49-F238E27FC236}">
                  <a16:creationId xmlns:a16="http://schemas.microsoft.com/office/drawing/2014/main" id="{0B62B85E-8E15-4C8E-AD7F-C0D55F2341EC}"/>
                </a:ext>
              </a:extLst>
            </p:cNvPr>
            <p:cNvSpPr>
              <a:spLocks/>
            </p:cNvSpPr>
            <p:nvPr/>
          </p:nvSpPr>
          <p:spPr bwMode="auto">
            <a:xfrm>
              <a:off x="4572" y="1400"/>
              <a:ext cx="243" cy="724"/>
            </a:xfrm>
            <a:custGeom>
              <a:avLst/>
              <a:gdLst>
                <a:gd name="T0" fmla="*/ 86 w 91"/>
                <a:gd name="T1" fmla="*/ 240 h 270"/>
                <a:gd name="T2" fmla="*/ 62 w 91"/>
                <a:gd name="T3" fmla="*/ 123 h 270"/>
                <a:gd name="T4" fmla="*/ 15 w 91"/>
                <a:gd name="T5" fmla="*/ 8 h 270"/>
                <a:gd name="T6" fmla="*/ 3 w 91"/>
                <a:gd name="T7" fmla="*/ 12 h 270"/>
                <a:gd name="T8" fmla="*/ 31 w 91"/>
                <a:gd name="T9" fmla="*/ 122 h 270"/>
                <a:gd name="T10" fmla="*/ 42 w 91"/>
                <a:gd name="T11" fmla="*/ 238 h 270"/>
                <a:gd name="T12" fmla="*/ 86 w 91"/>
                <a:gd name="T13" fmla="*/ 240 h 270"/>
              </a:gdLst>
              <a:ahLst/>
              <a:cxnLst>
                <a:cxn ang="0">
                  <a:pos x="T0" y="T1"/>
                </a:cxn>
                <a:cxn ang="0">
                  <a:pos x="T2" y="T3"/>
                </a:cxn>
                <a:cxn ang="0">
                  <a:pos x="T4" y="T5"/>
                </a:cxn>
                <a:cxn ang="0">
                  <a:pos x="T6" y="T7"/>
                </a:cxn>
                <a:cxn ang="0">
                  <a:pos x="T8" y="T9"/>
                </a:cxn>
                <a:cxn ang="0">
                  <a:pos x="T10" y="T11"/>
                </a:cxn>
                <a:cxn ang="0">
                  <a:pos x="T12" y="T13"/>
                </a:cxn>
              </a:cxnLst>
              <a:rect l="0" t="0" r="r" b="b"/>
              <a:pathLst>
                <a:path w="91" h="270">
                  <a:moveTo>
                    <a:pt x="86" y="240"/>
                  </a:moveTo>
                  <a:cubicBezTo>
                    <a:pt x="79" y="201"/>
                    <a:pt x="71" y="162"/>
                    <a:pt x="62" y="123"/>
                  </a:cubicBezTo>
                  <a:cubicBezTo>
                    <a:pt x="53" y="82"/>
                    <a:pt x="38" y="43"/>
                    <a:pt x="15" y="8"/>
                  </a:cubicBezTo>
                  <a:cubicBezTo>
                    <a:pt x="10" y="0"/>
                    <a:pt x="0" y="4"/>
                    <a:pt x="3" y="12"/>
                  </a:cubicBezTo>
                  <a:cubicBezTo>
                    <a:pt x="20" y="46"/>
                    <a:pt x="30" y="83"/>
                    <a:pt x="31" y="122"/>
                  </a:cubicBezTo>
                  <a:cubicBezTo>
                    <a:pt x="33" y="162"/>
                    <a:pt x="33" y="202"/>
                    <a:pt x="42" y="238"/>
                  </a:cubicBezTo>
                  <a:cubicBezTo>
                    <a:pt x="49" y="268"/>
                    <a:pt x="91" y="270"/>
                    <a:pt x="86" y="2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cs typeface="+mn-cs"/>
              </a:endParaRPr>
            </a:p>
          </p:txBody>
        </p:sp>
        <p:sp>
          <p:nvSpPr>
            <p:cNvPr id="35" name="Freeform 35">
              <a:extLst>
                <a:ext uri="{FF2B5EF4-FFF2-40B4-BE49-F238E27FC236}">
                  <a16:creationId xmlns:a16="http://schemas.microsoft.com/office/drawing/2014/main" id="{C78BD4E9-7FFC-4428-9B2F-B010192E713C}"/>
                </a:ext>
              </a:extLst>
            </p:cNvPr>
            <p:cNvSpPr>
              <a:spLocks/>
            </p:cNvSpPr>
            <p:nvPr/>
          </p:nvSpPr>
          <p:spPr bwMode="auto">
            <a:xfrm>
              <a:off x="4569" y="2108"/>
              <a:ext cx="246" cy="590"/>
            </a:xfrm>
            <a:custGeom>
              <a:avLst/>
              <a:gdLst>
                <a:gd name="T0" fmla="*/ 87 w 92"/>
                <a:gd name="T1" fmla="*/ 46 h 220"/>
                <a:gd name="T2" fmla="*/ 63 w 92"/>
                <a:gd name="T3" fmla="*/ 137 h 220"/>
                <a:gd name="T4" fmla="*/ 16 w 92"/>
                <a:gd name="T5" fmla="*/ 216 h 220"/>
                <a:gd name="T6" fmla="*/ 4 w 92"/>
                <a:gd name="T7" fmla="*/ 204 h 220"/>
                <a:gd name="T8" fmla="*/ 32 w 92"/>
                <a:gd name="T9" fmla="*/ 120 h 220"/>
                <a:gd name="T10" fmla="*/ 43 w 92"/>
                <a:gd name="T11" fmla="*/ 23 h 220"/>
                <a:gd name="T12" fmla="*/ 87 w 92"/>
                <a:gd name="T13" fmla="*/ 46 h 220"/>
              </a:gdLst>
              <a:ahLst/>
              <a:cxnLst>
                <a:cxn ang="0">
                  <a:pos x="T0" y="T1"/>
                </a:cxn>
                <a:cxn ang="0">
                  <a:pos x="T2" y="T3"/>
                </a:cxn>
                <a:cxn ang="0">
                  <a:pos x="T4" y="T5"/>
                </a:cxn>
                <a:cxn ang="0">
                  <a:pos x="T6" y="T7"/>
                </a:cxn>
                <a:cxn ang="0">
                  <a:pos x="T8" y="T9"/>
                </a:cxn>
                <a:cxn ang="0">
                  <a:pos x="T10" y="T11"/>
                </a:cxn>
                <a:cxn ang="0">
                  <a:pos x="T12" y="T13"/>
                </a:cxn>
              </a:cxnLst>
              <a:rect l="0" t="0" r="r" b="b"/>
              <a:pathLst>
                <a:path w="92" h="220">
                  <a:moveTo>
                    <a:pt x="87" y="46"/>
                  </a:moveTo>
                  <a:cubicBezTo>
                    <a:pt x="80" y="80"/>
                    <a:pt x="72" y="108"/>
                    <a:pt x="63" y="137"/>
                  </a:cubicBezTo>
                  <a:cubicBezTo>
                    <a:pt x="53" y="166"/>
                    <a:pt x="41" y="193"/>
                    <a:pt x="16" y="216"/>
                  </a:cubicBezTo>
                  <a:cubicBezTo>
                    <a:pt x="11" y="220"/>
                    <a:pt x="0" y="210"/>
                    <a:pt x="4" y="204"/>
                  </a:cubicBezTo>
                  <a:cubicBezTo>
                    <a:pt x="24" y="180"/>
                    <a:pt x="31" y="149"/>
                    <a:pt x="32" y="120"/>
                  </a:cubicBezTo>
                  <a:cubicBezTo>
                    <a:pt x="34" y="88"/>
                    <a:pt x="32" y="54"/>
                    <a:pt x="43" y="23"/>
                  </a:cubicBezTo>
                  <a:cubicBezTo>
                    <a:pt x="51" y="0"/>
                    <a:pt x="92" y="20"/>
                    <a:pt x="87" y="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cs typeface="+mn-cs"/>
              </a:endParaRPr>
            </a:p>
          </p:txBody>
        </p:sp>
        <p:sp>
          <p:nvSpPr>
            <p:cNvPr id="36" name="Freeform 36">
              <a:extLst>
                <a:ext uri="{FF2B5EF4-FFF2-40B4-BE49-F238E27FC236}">
                  <a16:creationId xmlns:a16="http://schemas.microsoft.com/office/drawing/2014/main" id="{A7B1893F-0C51-4F2F-8486-7E8244095043}"/>
                </a:ext>
              </a:extLst>
            </p:cNvPr>
            <p:cNvSpPr>
              <a:spLocks/>
            </p:cNvSpPr>
            <p:nvPr/>
          </p:nvSpPr>
          <p:spPr bwMode="auto">
            <a:xfrm>
              <a:off x="4286" y="1446"/>
              <a:ext cx="246" cy="608"/>
            </a:xfrm>
            <a:custGeom>
              <a:avLst/>
              <a:gdLst>
                <a:gd name="T0" fmla="*/ 87 w 92"/>
                <a:gd name="T1" fmla="*/ 201 h 227"/>
                <a:gd name="T2" fmla="*/ 63 w 92"/>
                <a:gd name="T3" fmla="*/ 102 h 227"/>
                <a:gd name="T4" fmla="*/ 16 w 92"/>
                <a:gd name="T5" fmla="*/ 6 h 227"/>
                <a:gd name="T6" fmla="*/ 4 w 92"/>
                <a:gd name="T7" fmla="*/ 10 h 227"/>
                <a:gd name="T8" fmla="*/ 32 w 92"/>
                <a:gd name="T9" fmla="*/ 102 h 227"/>
                <a:gd name="T10" fmla="*/ 44 w 92"/>
                <a:gd name="T11" fmla="*/ 201 h 227"/>
                <a:gd name="T12" fmla="*/ 87 w 92"/>
                <a:gd name="T13" fmla="*/ 201 h 227"/>
              </a:gdLst>
              <a:ahLst/>
              <a:cxnLst>
                <a:cxn ang="0">
                  <a:pos x="T0" y="T1"/>
                </a:cxn>
                <a:cxn ang="0">
                  <a:pos x="T2" y="T3"/>
                </a:cxn>
                <a:cxn ang="0">
                  <a:pos x="T4" y="T5"/>
                </a:cxn>
                <a:cxn ang="0">
                  <a:pos x="T6" y="T7"/>
                </a:cxn>
                <a:cxn ang="0">
                  <a:pos x="T8" y="T9"/>
                </a:cxn>
                <a:cxn ang="0">
                  <a:pos x="T10" y="T11"/>
                </a:cxn>
                <a:cxn ang="0">
                  <a:pos x="T12" y="T13"/>
                </a:cxn>
              </a:cxnLst>
              <a:rect l="0" t="0" r="r" b="b"/>
              <a:pathLst>
                <a:path w="92" h="227">
                  <a:moveTo>
                    <a:pt x="87" y="201"/>
                  </a:moveTo>
                  <a:cubicBezTo>
                    <a:pt x="81" y="168"/>
                    <a:pt x="72" y="134"/>
                    <a:pt x="63" y="102"/>
                  </a:cubicBezTo>
                  <a:cubicBezTo>
                    <a:pt x="53" y="67"/>
                    <a:pt x="38" y="34"/>
                    <a:pt x="16" y="6"/>
                  </a:cubicBezTo>
                  <a:cubicBezTo>
                    <a:pt x="11" y="0"/>
                    <a:pt x="0" y="4"/>
                    <a:pt x="4" y="10"/>
                  </a:cubicBezTo>
                  <a:cubicBezTo>
                    <a:pt x="22" y="37"/>
                    <a:pt x="31" y="70"/>
                    <a:pt x="32" y="102"/>
                  </a:cubicBezTo>
                  <a:cubicBezTo>
                    <a:pt x="34" y="135"/>
                    <a:pt x="33" y="170"/>
                    <a:pt x="44" y="201"/>
                  </a:cubicBezTo>
                  <a:cubicBezTo>
                    <a:pt x="52" y="226"/>
                    <a:pt x="92" y="227"/>
                    <a:pt x="87" y="2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cs typeface="+mn-cs"/>
              </a:endParaRPr>
            </a:p>
          </p:txBody>
        </p:sp>
        <p:sp>
          <p:nvSpPr>
            <p:cNvPr id="37" name="Freeform 37">
              <a:extLst>
                <a:ext uri="{FF2B5EF4-FFF2-40B4-BE49-F238E27FC236}">
                  <a16:creationId xmlns:a16="http://schemas.microsoft.com/office/drawing/2014/main" id="{54108680-9316-4D2B-8B6F-061C6C972781}"/>
                </a:ext>
              </a:extLst>
            </p:cNvPr>
            <p:cNvSpPr>
              <a:spLocks/>
            </p:cNvSpPr>
            <p:nvPr/>
          </p:nvSpPr>
          <p:spPr bwMode="auto">
            <a:xfrm>
              <a:off x="4286" y="2041"/>
              <a:ext cx="246" cy="482"/>
            </a:xfrm>
            <a:custGeom>
              <a:avLst/>
              <a:gdLst>
                <a:gd name="T0" fmla="*/ 87 w 92"/>
                <a:gd name="T1" fmla="*/ 38 h 180"/>
                <a:gd name="T2" fmla="*/ 63 w 92"/>
                <a:gd name="T3" fmla="*/ 114 h 180"/>
                <a:gd name="T4" fmla="*/ 16 w 92"/>
                <a:gd name="T5" fmla="*/ 176 h 180"/>
                <a:gd name="T6" fmla="*/ 4 w 92"/>
                <a:gd name="T7" fmla="*/ 168 h 180"/>
                <a:gd name="T8" fmla="*/ 32 w 92"/>
                <a:gd name="T9" fmla="*/ 102 h 180"/>
                <a:gd name="T10" fmla="*/ 44 w 92"/>
                <a:gd name="T11" fmla="*/ 21 h 180"/>
                <a:gd name="T12" fmla="*/ 87 w 92"/>
                <a:gd name="T13" fmla="*/ 38 h 180"/>
              </a:gdLst>
              <a:ahLst/>
              <a:cxnLst>
                <a:cxn ang="0">
                  <a:pos x="T0" y="T1"/>
                </a:cxn>
                <a:cxn ang="0">
                  <a:pos x="T2" y="T3"/>
                </a:cxn>
                <a:cxn ang="0">
                  <a:pos x="T4" y="T5"/>
                </a:cxn>
                <a:cxn ang="0">
                  <a:pos x="T6" y="T7"/>
                </a:cxn>
                <a:cxn ang="0">
                  <a:pos x="T8" y="T9"/>
                </a:cxn>
                <a:cxn ang="0">
                  <a:pos x="T10" y="T11"/>
                </a:cxn>
                <a:cxn ang="0">
                  <a:pos x="T12" y="T13"/>
                </a:cxn>
              </a:cxnLst>
              <a:rect l="0" t="0" r="r" b="b"/>
              <a:pathLst>
                <a:path w="92" h="180">
                  <a:moveTo>
                    <a:pt x="87" y="38"/>
                  </a:moveTo>
                  <a:cubicBezTo>
                    <a:pt x="81" y="67"/>
                    <a:pt x="72" y="90"/>
                    <a:pt x="63" y="114"/>
                  </a:cubicBezTo>
                  <a:cubicBezTo>
                    <a:pt x="53" y="137"/>
                    <a:pt x="41" y="158"/>
                    <a:pt x="16" y="176"/>
                  </a:cubicBezTo>
                  <a:cubicBezTo>
                    <a:pt x="10" y="180"/>
                    <a:pt x="0" y="172"/>
                    <a:pt x="4" y="168"/>
                  </a:cubicBezTo>
                  <a:cubicBezTo>
                    <a:pt x="23" y="149"/>
                    <a:pt x="30" y="125"/>
                    <a:pt x="32" y="102"/>
                  </a:cubicBezTo>
                  <a:cubicBezTo>
                    <a:pt x="35" y="76"/>
                    <a:pt x="31" y="48"/>
                    <a:pt x="44" y="21"/>
                  </a:cubicBezTo>
                  <a:cubicBezTo>
                    <a:pt x="52" y="0"/>
                    <a:pt x="92" y="17"/>
                    <a:pt x="87" y="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cs typeface="+mn-cs"/>
              </a:endParaRPr>
            </a:p>
          </p:txBody>
        </p:sp>
        <p:sp>
          <p:nvSpPr>
            <p:cNvPr id="38" name="Freeform 38">
              <a:extLst>
                <a:ext uri="{FF2B5EF4-FFF2-40B4-BE49-F238E27FC236}">
                  <a16:creationId xmlns:a16="http://schemas.microsoft.com/office/drawing/2014/main" id="{86C29F4A-03F5-4A58-AA3D-715AF578B0E8}"/>
                </a:ext>
              </a:extLst>
            </p:cNvPr>
            <p:cNvSpPr>
              <a:spLocks/>
            </p:cNvSpPr>
            <p:nvPr/>
          </p:nvSpPr>
          <p:spPr bwMode="auto">
            <a:xfrm>
              <a:off x="3987" y="1497"/>
              <a:ext cx="248" cy="509"/>
            </a:xfrm>
            <a:custGeom>
              <a:avLst/>
              <a:gdLst>
                <a:gd name="T0" fmla="*/ 88 w 93"/>
                <a:gd name="T1" fmla="*/ 166 h 190"/>
                <a:gd name="T2" fmla="*/ 63 w 93"/>
                <a:gd name="T3" fmla="*/ 82 h 190"/>
                <a:gd name="T4" fmla="*/ 16 w 93"/>
                <a:gd name="T5" fmla="*/ 4 h 190"/>
                <a:gd name="T6" fmla="*/ 4 w 93"/>
                <a:gd name="T7" fmla="*/ 9 h 190"/>
                <a:gd name="T8" fmla="*/ 33 w 93"/>
                <a:gd name="T9" fmla="*/ 85 h 190"/>
                <a:gd name="T10" fmla="*/ 44 w 93"/>
                <a:gd name="T11" fmla="*/ 169 h 190"/>
                <a:gd name="T12" fmla="*/ 88 w 93"/>
                <a:gd name="T13" fmla="*/ 166 h 190"/>
              </a:gdLst>
              <a:ahLst/>
              <a:cxnLst>
                <a:cxn ang="0">
                  <a:pos x="T0" y="T1"/>
                </a:cxn>
                <a:cxn ang="0">
                  <a:pos x="T2" y="T3"/>
                </a:cxn>
                <a:cxn ang="0">
                  <a:pos x="T4" y="T5"/>
                </a:cxn>
                <a:cxn ang="0">
                  <a:pos x="T6" y="T7"/>
                </a:cxn>
                <a:cxn ang="0">
                  <a:pos x="T8" y="T9"/>
                </a:cxn>
                <a:cxn ang="0">
                  <a:pos x="T10" y="T11"/>
                </a:cxn>
                <a:cxn ang="0">
                  <a:pos x="T12" y="T13"/>
                </a:cxn>
              </a:cxnLst>
              <a:rect l="0" t="0" r="r" b="b"/>
              <a:pathLst>
                <a:path w="93" h="190">
                  <a:moveTo>
                    <a:pt x="88" y="166"/>
                  </a:moveTo>
                  <a:cubicBezTo>
                    <a:pt x="81" y="138"/>
                    <a:pt x="72" y="110"/>
                    <a:pt x="63" y="82"/>
                  </a:cubicBezTo>
                  <a:cubicBezTo>
                    <a:pt x="54" y="54"/>
                    <a:pt x="41" y="28"/>
                    <a:pt x="16" y="4"/>
                  </a:cubicBezTo>
                  <a:cubicBezTo>
                    <a:pt x="11" y="0"/>
                    <a:pt x="0" y="4"/>
                    <a:pt x="4" y="9"/>
                  </a:cubicBezTo>
                  <a:cubicBezTo>
                    <a:pt x="24" y="32"/>
                    <a:pt x="30" y="60"/>
                    <a:pt x="33" y="85"/>
                  </a:cubicBezTo>
                  <a:cubicBezTo>
                    <a:pt x="35" y="112"/>
                    <a:pt x="32" y="140"/>
                    <a:pt x="44" y="169"/>
                  </a:cubicBezTo>
                  <a:cubicBezTo>
                    <a:pt x="53" y="190"/>
                    <a:pt x="93" y="188"/>
                    <a:pt x="88" y="16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cs typeface="+mn-cs"/>
              </a:endParaRPr>
            </a:p>
          </p:txBody>
        </p:sp>
        <p:sp>
          <p:nvSpPr>
            <p:cNvPr id="39" name="Freeform 39">
              <a:extLst>
                <a:ext uri="{FF2B5EF4-FFF2-40B4-BE49-F238E27FC236}">
                  <a16:creationId xmlns:a16="http://schemas.microsoft.com/office/drawing/2014/main" id="{D0241271-6744-49EB-AEC7-0AC4597637B1}"/>
                </a:ext>
              </a:extLst>
            </p:cNvPr>
            <p:cNvSpPr>
              <a:spLocks/>
            </p:cNvSpPr>
            <p:nvPr/>
          </p:nvSpPr>
          <p:spPr bwMode="auto">
            <a:xfrm>
              <a:off x="3987" y="1995"/>
              <a:ext cx="248" cy="408"/>
            </a:xfrm>
            <a:custGeom>
              <a:avLst/>
              <a:gdLst>
                <a:gd name="T0" fmla="*/ 88 w 93"/>
                <a:gd name="T1" fmla="*/ 31 h 152"/>
                <a:gd name="T2" fmla="*/ 63 w 93"/>
                <a:gd name="T3" fmla="*/ 96 h 152"/>
                <a:gd name="T4" fmla="*/ 16 w 93"/>
                <a:gd name="T5" fmla="*/ 148 h 152"/>
                <a:gd name="T6" fmla="*/ 4 w 93"/>
                <a:gd name="T7" fmla="*/ 143 h 152"/>
                <a:gd name="T8" fmla="*/ 33 w 93"/>
                <a:gd name="T9" fmla="*/ 88 h 152"/>
                <a:gd name="T10" fmla="*/ 44 w 93"/>
                <a:gd name="T11" fmla="*/ 18 h 152"/>
                <a:gd name="T12" fmla="*/ 88 w 93"/>
                <a:gd name="T13" fmla="*/ 31 h 152"/>
              </a:gdLst>
              <a:ahLst/>
              <a:cxnLst>
                <a:cxn ang="0">
                  <a:pos x="T0" y="T1"/>
                </a:cxn>
                <a:cxn ang="0">
                  <a:pos x="T2" y="T3"/>
                </a:cxn>
                <a:cxn ang="0">
                  <a:pos x="T4" y="T5"/>
                </a:cxn>
                <a:cxn ang="0">
                  <a:pos x="T6" y="T7"/>
                </a:cxn>
                <a:cxn ang="0">
                  <a:pos x="T8" y="T9"/>
                </a:cxn>
                <a:cxn ang="0">
                  <a:pos x="T10" y="T11"/>
                </a:cxn>
                <a:cxn ang="0">
                  <a:pos x="T12" y="T13"/>
                </a:cxn>
              </a:cxnLst>
              <a:rect l="0" t="0" r="r" b="b"/>
              <a:pathLst>
                <a:path w="93" h="152">
                  <a:moveTo>
                    <a:pt x="88" y="31"/>
                  </a:moveTo>
                  <a:cubicBezTo>
                    <a:pt x="81" y="55"/>
                    <a:pt x="72" y="76"/>
                    <a:pt x="63" y="96"/>
                  </a:cubicBezTo>
                  <a:cubicBezTo>
                    <a:pt x="54" y="116"/>
                    <a:pt x="41" y="133"/>
                    <a:pt x="16" y="148"/>
                  </a:cubicBezTo>
                  <a:cubicBezTo>
                    <a:pt x="11" y="152"/>
                    <a:pt x="0" y="146"/>
                    <a:pt x="4" y="143"/>
                  </a:cubicBezTo>
                  <a:cubicBezTo>
                    <a:pt x="24" y="127"/>
                    <a:pt x="30" y="107"/>
                    <a:pt x="33" y="88"/>
                  </a:cubicBezTo>
                  <a:cubicBezTo>
                    <a:pt x="35" y="66"/>
                    <a:pt x="32" y="42"/>
                    <a:pt x="44" y="18"/>
                  </a:cubicBezTo>
                  <a:cubicBezTo>
                    <a:pt x="53" y="0"/>
                    <a:pt x="93" y="12"/>
                    <a:pt x="88" y="3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cs typeface="+mn-cs"/>
              </a:endParaRPr>
            </a:p>
          </p:txBody>
        </p:sp>
        <p:sp>
          <p:nvSpPr>
            <p:cNvPr id="40" name="Freeform 40">
              <a:extLst>
                <a:ext uri="{FF2B5EF4-FFF2-40B4-BE49-F238E27FC236}">
                  <a16:creationId xmlns:a16="http://schemas.microsoft.com/office/drawing/2014/main" id="{F7E98CFC-D7FE-4341-AEB6-68CD2A6B49B4}"/>
                </a:ext>
              </a:extLst>
            </p:cNvPr>
            <p:cNvSpPr>
              <a:spLocks/>
            </p:cNvSpPr>
            <p:nvPr/>
          </p:nvSpPr>
          <p:spPr bwMode="auto">
            <a:xfrm>
              <a:off x="3680" y="1564"/>
              <a:ext cx="245" cy="426"/>
            </a:xfrm>
            <a:custGeom>
              <a:avLst/>
              <a:gdLst>
                <a:gd name="T0" fmla="*/ 87 w 92"/>
                <a:gd name="T1" fmla="*/ 135 h 159"/>
                <a:gd name="T2" fmla="*/ 63 w 92"/>
                <a:gd name="T3" fmla="*/ 65 h 159"/>
                <a:gd name="T4" fmla="*/ 16 w 92"/>
                <a:gd name="T5" fmla="*/ 3 h 159"/>
                <a:gd name="T6" fmla="*/ 4 w 92"/>
                <a:gd name="T7" fmla="*/ 9 h 159"/>
                <a:gd name="T8" fmla="*/ 33 w 92"/>
                <a:gd name="T9" fmla="*/ 71 h 159"/>
                <a:gd name="T10" fmla="*/ 44 w 92"/>
                <a:gd name="T11" fmla="*/ 142 h 159"/>
                <a:gd name="T12" fmla="*/ 87 w 92"/>
                <a:gd name="T13" fmla="*/ 135 h 159"/>
              </a:gdLst>
              <a:ahLst/>
              <a:cxnLst>
                <a:cxn ang="0">
                  <a:pos x="T0" y="T1"/>
                </a:cxn>
                <a:cxn ang="0">
                  <a:pos x="T2" y="T3"/>
                </a:cxn>
                <a:cxn ang="0">
                  <a:pos x="T4" y="T5"/>
                </a:cxn>
                <a:cxn ang="0">
                  <a:pos x="T6" y="T7"/>
                </a:cxn>
                <a:cxn ang="0">
                  <a:pos x="T8" y="T9"/>
                </a:cxn>
                <a:cxn ang="0">
                  <a:pos x="T10" y="T11"/>
                </a:cxn>
                <a:cxn ang="0">
                  <a:pos x="T12" y="T13"/>
                </a:cxn>
              </a:cxnLst>
              <a:rect l="0" t="0" r="r" b="b"/>
              <a:pathLst>
                <a:path w="92" h="159">
                  <a:moveTo>
                    <a:pt x="87" y="135"/>
                  </a:moveTo>
                  <a:cubicBezTo>
                    <a:pt x="81" y="111"/>
                    <a:pt x="72" y="88"/>
                    <a:pt x="63" y="65"/>
                  </a:cubicBezTo>
                  <a:cubicBezTo>
                    <a:pt x="53" y="42"/>
                    <a:pt x="41" y="21"/>
                    <a:pt x="16" y="3"/>
                  </a:cubicBezTo>
                  <a:cubicBezTo>
                    <a:pt x="11" y="0"/>
                    <a:pt x="0" y="4"/>
                    <a:pt x="4" y="9"/>
                  </a:cubicBezTo>
                  <a:cubicBezTo>
                    <a:pt x="23" y="27"/>
                    <a:pt x="31" y="49"/>
                    <a:pt x="33" y="71"/>
                  </a:cubicBezTo>
                  <a:cubicBezTo>
                    <a:pt x="35" y="94"/>
                    <a:pt x="32" y="119"/>
                    <a:pt x="44" y="142"/>
                  </a:cubicBezTo>
                  <a:cubicBezTo>
                    <a:pt x="53" y="159"/>
                    <a:pt x="92" y="153"/>
                    <a:pt x="87" y="1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cs typeface="+mn-cs"/>
              </a:endParaRPr>
            </a:p>
          </p:txBody>
        </p:sp>
        <p:sp>
          <p:nvSpPr>
            <p:cNvPr id="41" name="Freeform 41">
              <a:extLst>
                <a:ext uri="{FF2B5EF4-FFF2-40B4-BE49-F238E27FC236}">
                  <a16:creationId xmlns:a16="http://schemas.microsoft.com/office/drawing/2014/main" id="{95AE521A-7C1A-45C1-988C-82D6895C6BF2}"/>
                </a:ext>
              </a:extLst>
            </p:cNvPr>
            <p:cNvSpPr>
              <a:spLocks/>
            </p:cNvSpPr>
            <p:nvPr/>
          </p:nvSpPr>
          <p:spPr bwMode="auto">
            <a:xfrm>
              <a:off x="3677" y="1979"/>
              <a:ext cx="248" cy="362"/>
            </a:xfrm>
            <a:custGeom>
              <a:avLst/>
              <a:gdLst>
                <a:gd name="T0" fmla="*/ 88 w 93"/>
                <a:gd name="T1" fmla="*/ 24 h 135"/>
                <a:gd name="T2" fmla="*/ 64 w 93"/>
                <a:gd name="T3" fmla="*/ 82 h 135"/>
                <a:gd name="T4" fmla="*/ 16 w 93"/>
                <a:gd name="T5" fmla="*/ 132 h 135"/>
                <a:gd name="T6" fmla="*/ 5 w 93"/>
                <a:gd name="T7" fmla="*/ 128 h 135"/>
                <a:gd name="T8" fmla="*/ 34 w 93"/>
                <a:gd name="T9" fmla="*/ 79 h 135"/>
                <a:gd name="T10" fmla="*/ 45 w 93"/>
                <a:gd name="T11" fmla="*/ 17 h 135"/>
                <a:gd name="T12" fmla="*/ 88 w 93"/>
                <a:gd name="T13" fmla="*/ 24 h 135"/>
              </a:gdLst>
              <a:ahLst/>
              <a:cxnLst>
                <a:cxn ang="0">
                  <a:pos x="T0" y="T1"/>
                </a:cxn>
                <a:cxn ang="0">
                  <a:pos x="T2" y="T3"/>
                </a:cxn>
                <a:cxn ang="0">
                  <a:pos x="T4" y="T5"/>
                </a:cxn>
                <a:cxn ang="0">
                  <a:pos x="T6" y="T7"/>
                </a:cxn>
                <a:cxn ang="0">
                  <a:pos x="T8" y="T9"/>
                </a:cxn>
                <a:cxn ang="0">
                  <a:pos x="T10" y="T11"/>
                </a:cxn>
                <a:cxn ang="0">
                  <a:pos x="T12" y="T13"/>
                </a:cxn>
              </a:cxnLst>
              <a:rect l="0" t="0" r="r" b="b"/>
              <a:pathLst>
                <a:path w="93" h="135">
                  <a:moveTo>
                    <a:pt x="88" y="24"/>
                  </a:moveTo>
                  <a:cubicBezTo>
                    <a:pt x="82" y="46"/>
                    <a:pt x="73" y="65"/>
                    <a:pt x="64" y="82"/>
                  </a:cubicBezTo>
                  <a:cubicBezTo>
                    <a:pt x="54" y="100"/>
                    <a:pt x="42" y="116"/>
                    <a:pt x="16" y="132"/>
                  </a:cubicBezTo>
                  <a:cubicBezTo>
                    <a:pt x="11" y="135"/>
                    <a:pt x="0" y="132"/>
                    <a:pt x="5" y="128"/>
                  </a:cubicBezTo>
                  <a:cubicBezTo>
                    <a:pt x="24" y="113"/>
                    <a:pt x="31" y="96"/>
                    <a:pt x="34" y="79"/>
                  </a:cubicBezTo>
                  <a:cubicBezTo>
                    <a:pt x="36" y="60"/>
                    <a:pt x="33" y="40"/>
                    <a:pt x="45" y="17"/>
                  </a:cubicBezTo>
                  <a:cubicBezTo>
                    <a:pt x="54" y="0"/>
                    <a:pt x="93" y="7"/>
                    <a:pt x="88"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cs typeface="+mn-cs"/>
              </a:endParaRPr>
            </a:p>
          </p:txBody>
        </p:sp>
        <p:sp>
          <p:nvSpPr>
            <p:cNvPr id="42" name="Freeform 42">
              <a:extLst>
                <a:ext uri="{FF2B5EF4-FFF2-40B4-BE49-F238E27FC236}">
                  <a16:creationId xmlns:a16="http://schemas.microsoft.com/office/drawing/2014/main" id="{AD4D93CB-04CF-41D4-B964-1E2CF303DD0D}"/>
                </a:ext>
              </a:extLst>
            </p:cNvPr>
            <p:cNvSpPr>
              <a:spLocks/>
            </p:cNvSpPr>
            <p:nvPr/>
          </p:nvSpPr>
          <p:spPr bwMode="auto">
            <a:xfrm>
              <a:off x="3359" y="1641"/>
              <a:ext cx="251" cy="370"/>
            </a:xfrm>
            <a:custGeom>
              <a:avLst/>
              <a:gdLst>
                <a:gd name="T0" fmla="*/ 89 w 94"/>
                <a:gd name="T1" fmla="*/ 113 h 138"/>
                <a:gd name="T2" fmla="*/ 64 w 94"/>
                <a:gd name="T3" fmla="*/ 54 h 138"/>
                <a:gd name="T4" fmla="*/ 16 w 94"/>
                <a:gd name="T5" fmla="*/ 2 h 138"/>
                <a:gd name="T6" fmla="*/ 5 w 94"/>
                <a:gd name="T7" fmla="*/ 8 h 138"/>
                <a:gd name="T8" fmla="*/ 33 w 94"/>
                <a:gd name="T9" fmla="*/ 61 h 138"/>
                <a:gd name="T10" fmla="*/ 45 w 94"/>
                <a:gd name="T11" fmla="*/ 123 h 138"/>
                <a:gd name="T12" fmla="*/ 89 w 94"/>
                <a:gd name="T13" fmla="*/ 113 h 138"/>
              </a:gdLst>
              <a:ahLst/>
              <a:cxnLst>
                <a:cxn ang="0">
                  <a:pos x="T0" y="T1"/>
                </a:cxn>
                <a:cxn ang="0">
                  <a:pos x="T2" y="T3"/>
                </a:cxn>
                <a:cxn ang="0">
                  <a:pos x="T4" y="T5"/>
                </a:cxn>
                <a:cxn ang="0">
                  <a:pos x="T6" y="T7"/>
                </a:cxn>
                <a:cxn ang="0">
                  <a:pos x="T8" y="T9"/>
                </a:cxn>
                <a:cxn ang="0">
                  <a:pos x="T10" y="T11"/>
                </a:cxn>
                <a:cxn ang="0">
                  <a:pos x="T12" y="T13"/>
                </a:cxn>
              </a:cxnLst>
              <a:rect l="0" t="0" r="r" b="b"/>
              <a:pathLst>
                <a:path w="94" h="138">
                  <a:moveTo>
                    <a:pt x="89" y="113"/>
                  </a:moveTo>
                  <a:cubicBezTo>
                    <a:pt x="82" y="93"/>
                    <a:pt x="73" y="73"/>
                    <a:pt x="64" y="54"/>
                  </a:cubicBezTo>
                  <a:cubicBezTo>
                    <a:pt x="54" y="34"/>
                    <a:pt x="42" y="17"/>
                    <a:pt x="16" y="2"/>
                  </a:cubicBezTo>
                  <a:cubicBezTo>
                    <a:pt x="11" y="0"/>
                    <a:pt x="0" y="4"/>
                    <a:pt x="5" y="8"/>
                  </a:cubicBezTo>
                  <a:cubicBezTo>
                    <a:pt x="24" y="22"/>
                    <a:pt x="31" y="42"/>
                    <a:pt x="33" y="61"/>
                  </a:cubicBezTo>
                  <a:cubicBezTo>
                    <a:pt x="36" y="82"/>
                    <a:pt x="33" y="104"/>
                    <a:pt x="45" y="123"/>
                  </a:cubicBezTo>
                  <a:cubicBezTo>
                    <a:pt x="54" y="138"/>
                    <a:pt x="94" y="128"/>
                    <a:pt x="89" y="1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cs typeface="+mn-cs"/>
              </a:endParaRPr>
            </a:p>
          </p:txBody>
        </p:sp>
        <p:sp>
          <p:nvSpPr>
            <p:cNvPr id="43" name="Freeform 43">
              <a:extLst>
                <a:ext uri="{FF2B5EF4-FFF2-40B4-BE49-F238E27FC236}">
                  <a16:creationId xmlns:a16="http://schemas.microsoft.com/office/drawing/2014/main" id="{229D7AD5-9519-4A41-B5E3-CBDC64CAD0BE}"/>
                </a:ext>
              </a:extLst>
            </p:cNvPr>
            <p:cNvSpPr>
              <a:spLocks/>
            </p:cNvSpPr>
            <p:nvPr/>
          </p:nvSpPr>
          <p:spPr bwMode="auto">
            <a:xfrm>
              <a:off x="3359" y="2001"/>
              <a:ext cx="251" cy="324"/>
            </a:xfrm>
            <a:custGeom>
              <a:avLst/>
              <a:gdLst>
                <a:gd name="T0" fmla="*/ 89 w 94"/>
                <a:gd name="T1" fmla="*/ 16 h 121"/>
                <a:gd name="T2" fmla="*/ 64 w 94"/>
                <a:gd name="T3" fmla="*/ 70 h 121"/>
                <a:gd name="T4" fmla="*/ 16 w 94"/>
                <a:gd name="T5" fmla="*/ 118 h 121"/>
                <a:gd name="T6" fmla="*/ 4 w 94"/>
                <a:gd name="T7" fmla="*/ 116 h 121"/>
                <a:gd name="T8" fmla="*/ 33 w 94"/>
                <a:gd name="T9" fmla="*/ 70 h 121"/>
                <a:gd name="T10" fmla="*/ 45 w 94"/>
                <a:gd name="T11" fmla="*/ 15 h 121"/>
                <a:gd name="T12" fmla="*/ 89 w 94"/>
                <a:gd name="T13" fmla="*/ 16 h 121"/>
              </a:gdLst>
              <a:ahLst/>
              <a:cxnLst>
                <a:cxn ang="0">
                  <a:pos x="T0" y="T1"/>
                </a:cxn>
                <a:cxn ang="0">
                  <a:pos x="T2" y="T3"/>
                </a:cxn>
                <a:cxn ang="0">
                  <a:pos x="T4" y="T5"/>
                </a:cxn>
                <a:cxn ang="0">
                  <a:pos x="T6" y="T7"/>
                </a:cxn>
                <a:cxn ang="0">
                  <a:pos x="T8" y="T9"/>
                </a:cxn>
                <a:cxn ang="0">
                  <a:pos x="T10" y="T11"/>
                </a:cxn>
                <a:cxn ang="0">
                  <a:pos x="T12" y="T13"/>
                </a:cxn>
              </a:cxnLst>
              <a:rect l="0" t="0" r="r" b="b"/>
              <a:pathLst>
                <a:path w="94" h="121">
                  <a:moveTo>
                    <a:pt x="89" y="16"/>
                  </a:moveTo>
                  <a:cubicBezTo>
                    <a:pt x="82" y="36"/>
                    <a:pt x="73" y="53"/>
                    <a:pt x="64" y="70"/>
                  </a:cubicBezTo>
                  <a:cubicBezTo>
                    <a:pt x="54" y="87"/>
                    <a:pt x="41" y="102"/>
                    <a:pt x="16" y="118"/>
                  </a:cubicBezTo>
                  <a:cubicBezTo>
                    <a:pt x="11" y="121"/>
                    <a:pt x="0" y="119"/>
                    <a:pt x="4" y="116"/>
                  </a:cubicBezTo>
                  <a:cubicBezTo>
                    <a:pt x="24" y="101"/>
                    <a:pt x="31" y="85"/>
                    <a:pt x="33" y="70"/>
                  </a:cubicBezTo>
                  <a:cubicBezTo>
                    <a:pt x="36" y="53"/>
                    <a:pt x="33" y="35"/>
                    <a:pt x="45" y="15"/>
                  </a:cubicBezTo>
                  <a:cubicBezTo>
                    <a:pt x="54" y="0"/>
                    <a:pt x="94" y="2"/>
                    <a:pt x="89"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cs typeface="+mn-cs"/>
              </a:endParaRPr>
            </a:p>
          </p:txBody>
        </p:sp>
        <p:sp>
          <p:nvSpPr>
            <p:cNvPr id="44" name="Freeform 44">
              <a:extLst>
                <a:ext uri="{FF2B5EF4-FFF2-40B4-BE49-F238E27FC236}">
                  <a16:creationId xmlns:a16="http://schemas.microsoft.com/office/drawing/2014/main" id="{28659783-0DEC-4843-B633-6FF7580B7599}"/>
                </a:ext>
              </a:extLst>
            </p:cNvPr>
            <p:cNvSpPr>
              <a:spLocks/>
            </p:cNvSpPr>
            <p:nvPr/>
          </p:nvSpPr>
          <p:spPr bwMode="auto">
            <a:xfrm>
              <a:off x="3036" y="1740"/>
              <a:ext cx="251" cy="320"/>
            </a:xfrm>
            <a:custGeom>
              <a:avLst/>
              <a:gdLst>
                <a:gd name="T0" fmla="*/ 88 w 94"/>
                <a:gd name="T1" fmla="*/ 94 h 119"/>
                <a:gd name="T2" fmla="*/ 64 w 94"/>
                <a:gd name="T3" fmla="*/ 44 h 119"/>
                <a:gd name="T4" fmla="*/ 16 w 94"/>
                <a:gd name="T5" fmla="*/ 2 h 119"/>
                <a:gd name="T6" fmla="*/ 4 w 94"/>
                <a:gd name="T7" fmla="*/ 8 h 119"/>
                <a:gd name="T8" fmla="*/ 33 w 94"/>
                <a:gd name="T9" fmla="*/ 53 h 119"/>
                <a:gd name="T10" fmla="*/ 45 w 94"/>
                <a:gd name="T11" fmla="*/ 107 h 119"/>
                <a:gd name="T12" fmla="*/ 88 w 94"/>
                <a:gd name="T13" fmla="*/ 94 h 119"/>
              </a:gdLst>
              <a:ahLst/>
              <a:cxnLst>
                <a:cxn ang="0">
                  <a:pos x="T0" y="T1"/>
                </a:cxn>
                <a:cxn ang="0">
                  <a:pos x="T2" y="T3"/>
                </a:cxn>
                <a:cxn ang="0">
                  <a:pos x="T4" y="T5"/>
                </a:cxn>
                <a:cxn ang="0">
                  <a:pos x="T6" y="T7"/>
                </a:cxn>
                <a:cxn ang="0">
                  <a:pos x="T8" y="T9"/>
                </a:cxn>
                <a:cxn ang="0">
                  <a:pos x="T10" y="T11"/>
                </a:cxn>
                <a:cxn ang="0">
                  <a:pos x="T12" y="T13"/>
                </a:cxn>
              </a:cxnLst>
              <a:rect l="0" t="0" r="r" b="b"/>
              <a:pathLst>
                <a:path w="94" h="119">
                  <a:moveTo>
                    <a:pt x="88" y="94"/>
                  </a:moveTo>
                  <a:cubicBezTo>
                    <a:pt x="82" y="77"/>
                    <a:pt x="73" y="61"/>
                    <a:pt x="64" y="44"/>
                  </a:cubicBezTo>
                  <a:cubicBezTo>
                    <a:pt x="54" y="28"/>
                    <a:pt x="41" y="13"/>
                    <a:pt x="16" y="2"/>
                  </a:cubicBezTo>
                  <a:cubicBezTo>
                    <a:pt x="11" y="0"/>
                    <a:pt x="0" y="5"/>
                    <a:pt x="4" y="8"/>
                  </a:cubicBezTo>
                  <a:cubicBezTo>
                    <a:pt x="24" y="20"/>
                    <a:pt x="31" y="37"/>
                    <a:pt x="33" y="53"/>
                  </a:cubicBezTo>
                  <a:cubicBezTo>
                    <a:pt x="36" y="71"/>
                    <a:pt x="32" y="91"/>
                    <a:pt x="45" y="107"/>
                  </a:cubicBezTo>
                  <a:cubicBezTo>
                    <a:pt x="54" y="119"/>
                    <a:pt x="94" y="107"/>
                    <a:pt x="88"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cs typeface="+mn-cs"/>
              </a:endParaRPr>
            </a:p>
          </p:txBody>
        </p:sp>
        <p:sp>
          <p:nvSpPr>
            <p:cNvPr id="45" name="Freeform 45">
              <a:extLst>
                <a:ext uri="{FF2B5EF4-FFF2-40B4-BE49-F238E27FC236}">
                  <a16:creationId xmlns:a16="http://schemas.microsoft.com/office/drawing/2014/main" id="{3BB8CA42-782D-4CFC-A69D-170CFD0CB300}"/>
                </a:ext>
              </a:extLst>
            </p:cNvPr>
            <p:cNvSpPr>
              <a:spLocks/>
            </p:cNvSpPr>
            <p:nvPr/>
          </p:nvSpPr>
          <p:spPr bwMode="auto">
            <a:xfrm>
              <a:off x="3033" y="2043"/>
              <a:ext cx="254" cy="290"/>
            </a:xfrm>
            <a:custGeom>
              <a:avLst/>
              <a:gdLst>
                <a:gd name="T0" fmla="*/ 89 w 95"/>
                <a:gd name="T1" fmla="*/ 13 h 108"/>
                <a:gd name="T2" fmla="*/ 64 w 95"/>
                <a:gd name="T3" fmla="*/ 60 h 108"/>
                <a:gd name="T4" fmla="*/ 16 w 95"/>
                <a:gd name="T5" fmla="*/ 105 h 108"/>
                <a:gd name="T6" fmla="*/ 4 w 95"/>
                <a:gd name="T7" fmla="*/ 104 h 108"/>
                <a:gd name="T8" fmla="*/ 34 w 95"/>
                <a:gd name="T9" fmla="*/ 62 h 108"/>
                <a:gd name="T10" fmla="*/ 46 w 95"/>
                <a:gd name="T11" fmla="*/ 16 h 108"/>
                <a:gd name="T12" fmla="*/ 89 w 95"/>
                <a:gd name="T13" fmla="*/ 13 h 108"/>
              </a:gdLst>
              <a:ahLst/>
              <a:cxnLst>
                <a:cxn ang="0">
                  <a:pos x="T0" y="T1"/>
                </a:cxn>
                <a:cxn ang="0">
                  <a:pos x="T2" y="T3"/>
                </a:cxn>
                <a:cxn ang="0">
                  <a:pos x="T4" y="T5"/>
                </a:cxn>
                <a:cxn ang="0">
                  <a:pos x="T6" y="T7"/>
                </a:cxn>
                <a:cxn ang="0">
                  <a:pos x="T8" y="T9"/>
                </a:cxn>
                <a:cxn ang="0">
                  <a:pos x="T10" y="T11"/>
                </a:cxn>
                <a:cxn ang="0">
                  <a:pos x="T12" y="T13"/>
                </a:cxn>
              </a:cxnLst>
              <a:rect l="0" t="0" r="r" b="b"/>
              <a:pathLst>
                <a:path w="95" h="108">
                  <a:moveTo>
                    <a:pt x="89" y="13"/>
                  </a:moveTo>
                  <a:cubicBezTo>
                    <a:pt x="83" y="30"/>
                    <a:pt x="74" y="45"/>
                    <a:pt x="64" y="60"/>
                  </a:cubicBezTo>
                  <a:cubicBezTo>
                    <a:pt x="54" y="75"/>
                    <a:pt x="41" y="90"/>
                    <a:pt x="16" y="105"/>
                  </a:cubicBezTo>
                  <a:cubicBezTo>
                    <a:pt x="11" y="108"/>
                    <a:pt x="0" y="108"/>
                    <a:pt x="4" y="104"/>
                  </a:cubicBezTo>
                  <a:cubicBezTo>
                    <a:pt x="24" y="90"/>
                    <a:pt x="31" y="76"/>
                    <a:pt x="34" y="62"/>
                  </a:cubicBezTo>
                  <a:cubicBezTo>
                    <a:pt x="37" y="48"/>
                    <a:pt x="33" y="34"/>
                    <a:pt x="46" y="16"/>
                  </a:cubicBezTo>
                  <a:cubicBezTo>
                    <a:pt x="55" y="2"/>
                    <a:pt x="95" y="0"/>
                    <a:pt x="89"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cs typeface="+mn-cs"/>
              </a:endParaRPr>
            </a:p>
          </p:txBody>
        </p:sp>
        <p:sp>
          <p:nvSpPr>
            <p:cNvPr id="46" name="Freeform 46">
              <a:extLst>
                <a:ext uri="{FF2B5EF4-FFF2-40B4-BE49-F238E27FC236}">
                  <a16:creationId xmlns:a16="http://schemas.microsoft.com/office/drawing/2014/main" id="{BF383477-39B0-4CD0-AF87-57621F27280A}"/>
                </a:ext>
              </a:extLst>
            </p:cNvPr>
            <p:cNvSpPr>
              <a:spLocks/>
            </p:cNvSpPr>
            <p:nvPr/>
          </p:nvSpPr>
          <p:spPr bwMode="auto">
            <a:xfrm>
              <a:off x="2748" y="1840"/>
              <a:ext cx="251" cy="276"/>
            </a:xfrm>
            <a:custGeom>
              <a:avLst/>
              <a:gdLst>
                <a:gd name="T0" fmla="*/ 88 w 94"/>
                <a:gd name="T1" fmla="*/ 79 h 103"/>
                <a:gd name="T2" fmla="*/ 64 w 94"/>
                <a:gd name="T3" fmla="*/ 37 h 103"/>
                <a:gd name="T4" fmla="*/ 16 w 94"/>
                <a:gd name="T5" fmla="*/ 2 h 103"/>
                <a:gd name="T6" fmla="*/ 4 w 94"/>
                <a:gd name="T7" fmla="*/ 7 h 103"/>
                <a:gd name="T8" fmla="*/ 33 w 94"/>
                <a:gd name="T9" fmla="*/ 46 h 103"/>
                <a:gd name="T10" fmla="*/ 45 w 94"/>
                <a:gd name="T11" fmla="*/ 93 h 103"/>
                <a:gd name="T12" fmla="*/ 88 w 94"/>
                <a:gd name="T13" fmla="*/ 79 h 103"/>
              </a:gdLst>
              <a:ahLst/>
              <a:cxnLst>
                <a:cxn ang="0">
                  <a:pos x="T0" y="T1"/>
                </a:cxn>
                <a:cxn ang="0">
                  <a:pos x="T2" y="T3"/>
                </a:cxn>
                <a:cxn ang="0">
                  <a:pos x="T4" y="T5"/>
                </a:cxn>
                <a:cxn ang="0">
                  <a:pos x="T6" y="T7"/>
                </a:cxn>
                <a:cxn ang="0">
                  <a:pos x="T8" y="T9"/>
                </a:cxn>
                <a:cxn ang="0">
                  <a:pos x="T10" y="T11"/>
                </a:cxn>
                <a:cxn ang="0">
                  <a:pos x="T12" y="T13"/>
                </a:cxn>
              </a:cxnLst>
              <a:rect l="0" t="0" r="r" b="b"/>
              <a:pathLst>
                <a:path w="94" h="103">
                  <a:moveTo>
                    <a:pt x="88" y="79"/>
                  </a:moveTo>
                  <a:cubicBezTo>
                    <a:pt x="82" y="65"/>
                    <a:pt x="73" y="50"/>
                    <a:pt x="64" y="37"/>
                  </a:cubicBezTo>
                  <a:cubicBezTo>
                    <a:pt x="54" y="23"/>
                    <a:pt x="41" y="10"/>
                    <a:pt x="16" y="2"/>
                  </a:cubicBezTo>
                  <a:cubicBezTo>
                    <a:pt x="11" y="0"/>
                    <a:pt x="0" y="5"/>
                    <a:pt x="4" y="7"/>
                  </a:cubicBezTo>
                  <a:cubicBezTo>
                    <a:pt x="24" y="17"/>
                    <a:pt x="31" y="31"/>
                    <a:pt x="33" y="46"/>
                  </a:cubicBezTo>
                  <a:cubicBezTo>
                    <a:pt x="36" y="62"/>
                    <a:pt x="32" y="80"/>
                    <a:pt x="45" y="93"/>
                  </a:cubicBezTo>
                  <a:cubicBezTo>
                    <a:pt x="54" y="103"/>
                    <a:pt x="94" y="90"/>
                    <a:pt x="88" y="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cs typeface="+mn-cs"/>
              </a:endParaRPr>
            </a:p>
          </p:txBody>
        </p:sp>
        <p:sp>
          <p:nvSpPr>
            <p:cNvPr id="47" name="Freeform 47">
              <a:extLst>
                <a:ext uri="{FF2B5EF4-FFF2-40B4-BE49-F238E27FC236}">
                  <a16:creationId xmlns:a16="http://schemas.microsoft.com/office/drawing/2014/main" id="{402B1A26-B801-4B69-966E-4433F99A2789}"/>
                </a:ext>
              </a:extLst>
            </p:cNvPr>
            <p:cNvSpPr>
              <a:spLocks/>
            </p:cNvSpPr>
            <p:nvPr/>
          </p:nvSpPr>
          <p:spPr bwMode="auto">
            <a:xfrm>
              <a:off x="2742" y="2097"/>
              <a:ext cx="254" cy="258"/>
            </a:xfrm>
            <a:custGeom>
              <a:avLst/>
              <a:gdLst>
                <a:gd name="T0" fmla="*/ 90 w 95"/>
                <a:gd name="T1" fmla="*/ 10 h 96"/>
                <a:gd name="T2" fmla="*/ 64 w 95"/>
                <a:gd name="T3" fmla="*/ 52 h 96"/>
                <a:gd name="T4" fmla="*/ 16 w 95"/>
                <a:gd name="T5" fmla="*/ 93 h 96"/>
                <a:gd name="T6" fmla="*/ 4 w 95"/>
                <a:gd name="T7" fmla="*/ 94 h 96"/>
                <a:gd name="T8" fmla="*/ 34 w 95"/>
                <a:gd name="T9" fmla="*/ 56 h 96"/>
                <a:gd name="T10" fmla="*/ 46 w 95"/>
                <a:gd name="T11" fmla="*/ 16 h 96"/>
                <a:gd name="T12" fmla="*/ 90 w 95"/>
                <a:gd name="T13" fmla="*/ 10 h 96"/>
              </a:gdLst>
              <a:ahLst/>
              <a:cxnLst>
                <a:cxn ang="0">
                  <a:pos x="T0" y="T1"/>
                </a:cxn>
                <a:cxn ang="0">
                  <a:pos x="T2" y="T3"/>
                </a:cxn>
                <a:cxn ang="0">
                  <a:pos x="T4" y="T5"/>
                </a:cxn>
                <a:cxn ang="0">
                  <a:pos x="T6" y="T7"/>
                </a:cxn>
                <a:cxn ang="0">
                  <a:pos x="T8" y="T9"/>
                </a:cxn>
                <a:cxn ang="0">
                  <a:pos x="T10" y="T11"/>
                </a:cxn>
                <a:cxn ang="0">
                  <a:pos x="T12" y="T13"/>
                </a:cxn>
              </a:cxnLst>
              <a:rect l="0" t="0" r="r" b="b"/>
              <a:pathLst>
                <a:path w="95" h="96">
                  <a:moveTo>
                    <a:pt x="90" y="10"/>
                  </a:moveTo>
                  <a:cubicBezTo>
                    <a:pt x="83" y="25"/>
                    <a:pt x="74" y="38"/>
                    <a:pt x="64" y="52"/>
                  </a:cubicBezTo>
                  <a:cubicBezTo>
                    <a:pt x="54" y="66"/>
                    <a:pt x="42" y="79"/>
                    <a:pt x="16" y="93"/>
                  </a:cubicBezTo>
                  <a:cubicBezTo>
                    <a:pt x="10" y="96"/>
                    <a:pt x="0" y="96"/>
                    <a:pt x="4" y="94"/>
                  </a:cubicBezTo>
                  <a:cubicBezTo>
                    <a:pt x="24" y="80"/>
                    <a:pt x="31" y="68"/>
                    <a:pt x="34" y="56"/>
                  </a:cubicBezTo>
                  <a:cubicBezTo>
                    <a:pt x="36" y="44"/>
                    <a:pt x="34" y="31"/>
                    <a:pt x="46" y="16"/>
                  </a:cubicBezTo>
                  <a:cubicBezTo>
                    <a:pt x="56" y="4"/>
                    <a:pt x="95" y="0"/>
                    <a:pt x="9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cs typeface="+mn-cs"/>
              </a:endParaRPr>
            </a:p>
          </p:txBody>
        </p:sp>
      </p:grpSp>
      <p:sp>
        <p:nvSpPr>
          <p:cNvPr id="51" name="Freeform 51">
            <a:extLst>
              <a:ext uri="{FF2B5EF4-FFF2-40B4-BE49-F238E27FC236}">
                <a16:creationId xmlns:a16="http://schemas.microsoft.com/office/drawing/2014/main" id="{517BE01F-4659-4F45-969D-89D25CF33069}"/>
              </a:ext>
            </a:extLst>
          </p:cNvPr>
          <p:cNvSpPr>
            <a:spLocks noEditPoints="1"/>
          </p:cNvSpPr>
          <p:nvPr/>
        </p:nvSpPr>
        <p:spPr bwMode="auto">
          <a:xfrm>
            <a:off x="4503737" y="3957320"/>
            <a:ext cx="3093939" cy="1319687"/>
          </a:xfrm>
          <a:custGeom>
            <a:avLst/>
            <a:gdLst>
              <a:gd name="T0" fmla="*/ 1207 w 1606"/>
              <a:gd name="T1" fmla="*/ 141 h 683"/>
              <a:gd name="T2" fmla="*/ 1120 w 1606"/>
              <a:gd name="T3" fmla="*/ 124 h 683"/>
              <a:gd name="T4" fmla="*/ 1076 w 1606"/>
              <a:gd name="T5" fmla="*/ 223 h 683"/>
              <a:gd name="T6" fmla="*/ 1020 w 1606"/>
              <a:gd name="T7" fmla="*/ 118 h 683"/>
              <a:gd name="T8" fmla="*/ 964 w 1606"/>
              <a:gd name="T9" fmla="*/ 240 h 683"/>
              <a:gd name="T10" fmla="*/ 896 w 1606"/>
              <a:gd name="T11" fmla="*/ 46 h 683"/>
              <a:gd name="T12" fmla="*/ 917 w 1606"/>
              <a:gd name="T13" fmla="*/ 154 h 683"/>
              <a:gd name="T14" fmla="*/ 852 w 1606"/>
              <a:gd name="T15" fmla="*/ 190 h 683"/>
              <a:gd name="T16" fmla="*/ 825 w 1606"/>
              <a:gd name="T17" fmla="*/ 192 h 683"/>
              <a:gd name="T18" fmla="*/ 830 w 1606"/>
              <a:gd name="T19" fmla="*/ 255 h 683"/>
              <a:gd name="T20" fmla="*/ 743 w 1606"/>
              <a:gd name="T21" fmla="*/ 206 h 683"/>
              <a:gd name="T22" fmla="*/ 664 w 1606"/>
              <a:gd name="T23" fmla="*/ 84 h 683"/>
              <a:gd name="T24" fmla="*/ 652 w 1606"/>
              <a:gd name="T25" fmla="*/ 292 h 683"/>
              <a:gd name="T26" fmla="*/ 616 w 1606"/>
              <a:gd name="T27" fmla="*/ 272 h 683"/>
              <a:gd name="T28" fmla="*/ 522 w 1606"/>
              <a:gd name="T29" fmla="*/ 254 h 683"/>
              <a:gd name="T30" fmla="*/ 504 w 1606"/>
              <a:gd name="T31" fmla="*/ 319 h 683"/>
              <a:gd name="T32" fmla="*/ 366 w 1606"/>
              <a:gd name="T33" fmla="*/ 238 h 683"/>
              <a:gd name="T34" fmla="*/ 321 w 1606"/>
              <a:gd name="T35" fmla="*/ 310 h 683"/>
              <a:gd name="T36" fmla="*/ 183 w 1606"/>
              <a:gd name="T37" fmla="*/ 390 h 683"/>
              <a:gd name="T38" fmla="*/ 256 w 1606"/>
              <a:gd name="T39" fmla="*/ 557 h 683"/>
              <a:gd name="T40" fmla="*/ 380 w 1606"/>
              <a:gd name="T41" fmla="*/ 502 h 683"/>
              <a:gd name="T42" fmla="*/ 440 w 1606"/>
              <a:gd name="T43" fmla="*/ 392 h 683"/>
              <a:gd name="T44" fmla="*/ 508 w 1606"/>
              <a:gd name="T45" fmla="*/ 431 h 683"/>
              <a:gd name="T46" fmla="*/ 599 w 1606"/>
              <a:gd name="T47" fmla="*/ 362 h 683"/>
              <a:gd name="T48" fmla="*/ 537 w 1606"/>
              <a:gd name="T49" fmla="*/ 500 h 683"/>
              <a:gd name="T50" fmla="*/ 633 w 1606"/>
              <a:gd name="T51" fmla="*/ 372 h 683"/>
              <a:gd name="T52" fmla="*/ 686 w 1606"/>
              <a:gd name="T53" fmla="*/ 402 h 683"/>
              <a:gd name="T54" fmla="*/ 691 w 1606"/>
              <a:gd name="T55" fmla="*/ 478 h 683"/>
              <a:gd name="T56" fmla="*/ 819 w 1606"/>
              <a:gd name="T57" fmla="*/ 317 h 683"/>
              <a:gd name="T58" fmla="*/ 778 w 1606"/>
              <a:gd name="T59" fmla="*/ 466 h 683"/>
              <a:gd name="T60" fmla="*/ 923 w 1606"/>
              <a:gd name="T61" fmla="*/ 355 h 683"/>
              <a:gd name="T62" fmla="*/ 954 w 1606"/>
              <a:gd name="T63" fmla="*/ 369 h 683"/>
              <a:gd name="T64" fmla="*/ 1030 w 1606"/>
              <a:gd name="T65" fmla="*/ 345 h 683"/>
              <a:gd name="T66" fmla="*/ 1065 w 1606"/>
              <a:gd name="T67" fmla="*/ 294 h 683"/>
              <a:gd name="T68" fmla="*/ 1116 w 1606"/>
              <a:gd name="T69" fmla="*/ 377 h 683"/>
              <a:gd name="T70" fmla="*/ 1168 w 1606"/>
              <a:gd name="T71" fmla="*/ 403 h 683"/>
              <a:gd name="T72" fmla="*/ 1461 w 1606"/>
              <a:gd name="T73" fmla="*/ 357 h 683"/>
              <a:gd name="T74" fmla="*/ 171 w 1606"/>
              <a:gd name="T75" fmla="*/ 178 h 683"/>
              <a:gd name="T76" fmla="*/ 117 w 1606"/>
              <a:gd name="T77" fmla="*/ 173 h 683"/>
              <a:gd name="T78" fmla="*/ 219 w 1606"/>
              <a:gd name="T79" fmla="*/ 239 h 683"/>
              <a:gd name="T80" fmla="*/ 63 w 1606"/>
              <a:gd name="T81" fmla="*/ 179 h 683"/>
              <a:gd name="T82" fmla="*/ 224 w 1606"/>
              <a:gd name="T83" fmla="*/ 268 h 683"/>
              <a:gd name="T84" fmla="*/ 132 w 1606"/>
              <a:gd name="T85" fmla="*/ 288 h 683"/>
              <a:gd name="T86" fmla="*/ 214 w 1606"/>
              <a:gd name="T87" fmla="*/ 308 h 683"/>
              <a:gd name="T88" fmla="*/ 168 w 1606"/>
              <a:gd name="T89" fmla="*/ 332 h 683"/>
              <a:gd name="T90" fmla="*/ 168 w 1606"/>
              <a:gd name="T91" fmla="*/ 343 h 683"/>
              <a:gd name="T92" fmla="*/ 142 w 1606"/>
              <a:gd name="T93" fmla="*/ 623 h 683"/>
              <a:gd name="T94" fmla="*/ 125 w 1606"/>
              <a:gd name="T95" fmla="*/ 553 h 683"/>
              <a:gd name="T96" fmla="*/ 198 w 1606"/>
              <a:gd name="T97" fmla="*/ 520 h 683"/>
              <a:gd name="T98" fmla="*/ 167 w 1606"/>
              <a:gd name="T99" fmla="*/ 502 h 683"/>
              <a:gd name="T100" fmla="*/ 223 w 1606"/>
              <a:gd name="T101" fmla="*/ 466 h 683"/>
              <a:gd name="T102" fmla="*/ 278 w 1606"/>
              <a:gd name="T103" fmla="*/ 452 h 683"/>
              <a:gd name="T104" fmla="*/ 183 w 1606"/>
              <a:gd name="T105" fmla="*/ 423 h 683"/>
              <a:gd name="T106" fmla="*/ 1322 w 1606"/>
              <a:gd name="T107" fmla="*/ 234 h 6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606" h="683">
                <a:moveTo>
                  <a:pt x="1606" y="314"/>
                </a:moveTo>
                <a:cubicBezTo>
                  <a:pt x="1581" y="294"/>
                  <a:pt x="1412" y="96"/>
                  <a:pt x="1237" y="66"/>
                </a:cubicBezTo>
                <a:cubicBezTo>
                  <a:pt x="1224" y="64"/>
                  <a:pt x="1213" y="55"/>
                  <a:pt x="1202" y="60"/>
                </a:cubicBezTo>
                <a:cubicBezTo>
                  <a:pt x="1187" y="65"/>
                  <a:pt x="1182" y="84"/>
                  <a:pt x="1186" y="99"/>
                </a:cubicBezTo>
                <a:cubicBezTo>
                  <a:pt x="1190" y="114"/>
                  <a:pt x="1200" y="127"/>
                  <a:pt x="1207" y="141"/>
                </a:cubicBezTo>
                <a:cubicBezTo>
                  <a:pt x="1225" y="180"/>
                  <a:pt x="1220" y="225"/>
                  <a:pt x="1208" y="266"/>
                </a:cubicBezTo>
                <a:cubicBezTo>
                  <a:pt x="1205" y="265"/>
                  <a:pt x="1203" y="264"/>
                  <a:pt x="1200" y="263"/>
                </a:cubicBezTo>
                <a:cubicBezTo>
                  <a:pt x="1185" y="258"/>
                  <a:pt x="1169" y="254"/>
                  <a:pt x="1154" y="250"/>
                </a:cubicBezTo>
                <a:cubicBezTo>
                  <a:pt x="1158" y="229"/>
                  <a:pt x="1151" y="206"/>
                  <a:pt x="1146" y="186"/>
                </a:cubicBezTo>
                <a:cubicBezTo>
                  <a:pt x="1140" y="164"/>
                  <a:pt x="1132" y="142"/>
                  <a:pt x="1120" y="124"/>
                </a:cubicBezTo>
                <a:cubicBezTo>
                  <a:pt x="1118" y="120"/>
                  <a:pt x="1112" y="120"/>
                  <a:pt x="1111" y="126"/>
                </a:cubicBezTo>
                <a:cubicBezTo>
                  <a:pt x="1108" y="146"/>
                  <a:pt x="1113" y="168"/>
                  <a:pt x="1119" y="187"/>
                </a:cubicBezTo>
                <a:cubicBezTo>
                  <a:pt x="1125" y="207"/>
                  <a:pt x="1127" y="226"/>
                  <a:pt x="1131" y="246"/>
                </a:cubicBezTo>
                <a:cubicBezTo>
                  <a:pt x="1114" y="242"/>
                  <a:pt x="1096" y="240"/>
                  <a:pt x="1078" y="238"/>
                </a:cubicBezTo>
                <a:cubicBezTo>
                  <a:pt x="1078" y="233"/>
                  <a:pt x="1077" y="228"/>
                  <a:pt x="1076" y="223"/>
                </a:cubicBezTo>
                <a:cubicBezTo>
                  <a:pt x="1074" y="204"/>
                  <a:pt x="1069" y="186"/>
                  <a:pt x="1064" y="168"/>
                </a:cubicBezTo>
                <a:cubicBezTo>
                  <a:pt x="1058" y="150"/>
                  <a:pt x="1052" y="133"/>
                  <a:pt x="1044" y="116"/>
                </a:cubicBezTo>
                <a:cubicBezTo>
                  <a:pt x="1036" y="97"/>
                  <a:pt x="1025" y="80"/>
                  <a:pt x="1017" y="61"/>
                </a:cubicBezTo>
                <a:cubicBezTo>
                  <a:pt x="1013" y="52"/>
                  <a:pt x="1000" y="59"/>
                  <a:pt x="1003" y="68"/>
                </a:cubicBezTo>
                <a:cubicBezTo>
                  <a:pt x="1010" y="84"/>
                  <a:pt x="1014" y="102"/>
                  <a:pt x="1020" y="118"/>
                </a:cubicBezTo>
                <a:cubicBezTo>
                  <a:pt x="1026" y="135"/>
                  <a:pt x="1032" y="152"/>
                  <a:pt x="1038" y="169"/>
                </a:cubicBezTo>
                <a:cubicBezTo>
                  <a:pt x="1043" y="185"/>
                  <a:pt x="1047" y="202"/>
                  <a:pt x="1050" y="219"/>
                </a:cubicBezTo>
                <a:cubicBezTo>
                  <a:pt x="1051" y="225"/>
                  <a:pt x="1052" y="231"/>
                  <a:pt x="1052" y="237"/>
                </a:cubicBezTo>
                <a:cubicBezTo>
                  <a:pt x="1045" y="237"/>
                  <a:pt x="1037" y="237"/>
                  <a:pt x="1030" y="237"/>
                </a:cubicBezTo>
                <a:cubicBezTo>
                  <a:pt x="1008" y="238"/>
                  <a:pt x="986" y="238"/>
                  <a:pt x="964" y="240"/>
                </a:cubicBezTo>
                <a:cubicBezTo>
                  <a:pt x="962" y="228"/>
                  <a:pt x="960" y="217"/>
                  <a:pt x="958" y="205"/>
                </a:cubicBezTo>
                <a:cubicBezTo>
                  <a:pt x="954" y="182"/>
                  <a:pt x="947" y="160"/>
                  <a:pt x="940" y="138"/>
                </a:cubicBezTo>
                <a:cubicBezTo>
                  <a:pt x="934" y="119"/>
                  <a:pt x="927" y="100"/>
                  <a:pt x="918" y="82"/>
                </a:cubicBezTo>
                <a:cubicBezTo>
                  <a:pt x="914" y="74"/>
                  <a:pt x="909" y="65"/>
                  <a:pt x="904" y="57"/>
                </a:cubicBezTo>
                <a:cubicBezTo>
                  <a:pt x="902" y="53"/>
                  <a:pt x="899" y="50"/>
                  <a:pt x="896" y="46"/>
                </a:cubicBezTo>
                <a:cubicBezTo>
                  <a:pt x="893" y="42"/>
                  <a:pt x="887" y="38"/>
                  <a:pt x="885" y="34"/>
                </a:cubicBezTo>
                <a:cubicBezTo>
                  <a:pt x="875" y="12"/>
                  <a:pt x="849" y="46"/>
                  <a:pt x="871" y="50"/>
                </a:cubicBezTo>
                <a:cubicBezTo>
                  <a:pt x="877" y="52"/>
                  <a:pt x="884" y="64"/>
                  <a:pt x="887" y="70"/>
                </a:cubicBezTo>
                <a:cubicBezTo>
                  <a:pt x="892" y="78"/>
                  <a:pt x="896" y="88"/>
                  <a:pt x="900" y="97"/>
                </a:cubicBezTo>
                <a:cubicBezTo>
                  <a:pt x="906" y="116"/>
                  <a:pt x="911" y="135"/>
                  <a:pt x="917" y="154"/>
                </a:cubicBezTo>
                <a:cubicBezTo>
                  <a:pt x="925" y="177"/>
                  <a:pt x="930" y="201"/>
                  <a:pt x="936" y="225"/>
                </a:cubicBezTo>
                <a:cubicBezTo>
                  <a:pt x="936" y="228"/>
                  <a:pt x="937" y="234"/>
                  <a:pt x="939" y="242"/>
                </a:cubicBezTo>
                <a:cubicBezTo>
                  <a:pt x="912" y="244"/>
                  <a:pt x="884" y="247"/>
                  <a:pt x="857" y="250"/>
                </a:cubicBezTo>
                <a:cubicBezTo>
                  <a:pt x="857" y="246"/>
                  <a:pt x="856" y="241"/>
                  <a:pt x="856" y="236"/>
                </a:cubicBezTo>
                <a:cubicBezTo>
                  <a:pt x="854" y="221"/>
                  <a:pt x="854" y="206"/>
                  <a:pt x="852" y="190"/>
                </a:cubicBezTo>
                <a:cubicBezTo>
                  <a:pt x="850" y="166"/>
                  <a:pt x="841" y="143"/>
                  <a:pt x="834" y="121"/>
                </a:cubicBezTo>
                <a:cubicBezTo>
                  <a:pt x="819" y="78"/>
                  <a:pt x="798" y="35"/>
                  <a:pt x="761" y="6"/>
                </a:cubicBezTo>
                <a:cubicBezTo>
                  <a:pt x="753" y="0"/>
                  <a:pt x="742" y="12"/>
                  <a:pt x="749" y="20"/>
                </a:cubicBezTo>
                <a:cubicBezTo>
                  <a:pt x="777" y="50"/>
                  <a:pt x="793" y="93"/>
                  <a:pt x="806" y="131"/>
                </a:cubicBezTo>
                <a:cubicBezTo>
                  <a:pt x="814" y="151"/>
                  <a:pt x="819" y="171"/>
                  <a:pt x="825" y="192"/>
                </a:cubicBezTo>
                <a:cubicBezTo>
                  <a:pt x="829" y="205"/>
                  <a:pt x="833" y="219"/>
                  <a:pt x="834" y="233"/>
                </a:cubicBezTo>
                <a:cubicBezTo>
                  <a:pt x="834" y="240"/>
                  <a:pt x="835" y="246"/>
                  <a:pt x="835" y="253"/>
                </a:cubicBezTo>
                <a:cubicBezTo>
                  <a:pt x="835" y="254"/>
                  <a:pt x="835" y="254"/>
                  <a:pt x="835" y="254"/>
                </a:cubicBezTo>
                <a:cubicBezTo>
                  <a:pt x="834" y="254"/>
                  <a:pt x="834" y="254"/>
                  <a:pt x="834" y="254"/>
                </a:cubicBezTo>
                <a:cubicBezTo>
                  <a:pt x="833" y="254"/>
                  <a:pt x="831" y="254"/>
                  <a:pt x="830" y="255"/>
                </a:cubicBezTo>
                <a:cubicBezTo>
                  <a:pt x="816" y="257"/>
                  <a:pt x="802" y="260"/>
                  <a:pt x="788" y="263"/>
                </a:cubicBezTo>
                <a:cubicBezTo>
                  <a:pt x="779" y="265"/>
                  <a:pt x="770" y="267"/>
                  <a:pt x="761" y="269"/>
                </a:cubicBezTo>
                <a:cubicBezTo>
                  <a:pt x="761" y="268"/>
                  <a:pt x="761" y="267"/>
                  <a:pt x="761" y="266"/>
                </a:cubicBezTo>
                <a:cubicBezTo>
                  <a:pt x="759" y="250"/>
                  <a:pt x="753" y="233"/>
                  <a:pt x="748" y="218"/>
                </a:cubicBezTo>
                <a:cubicBezTo>
                  <a:pt x="746" y="214"/>
                  <a:pt x="745" y="210"/>
                  <a:pt x="743" y="206"/>
                </a:cubicBezTo>
                <a:cubicBezTo>
                  <a:pt x="740" y="196"/>
                  <a:pt x="735" y="185"/>
                  <a:pt x="731" y="174"/>
                </a:cubicBezTo>
                <a:cubicBezTo>
                  <a:pt x="724" y="158"/>
                  <a:pt x="718" y="140"/>
                  <a:pt x="710" y="125"/>
                </a:cubicBezTo>
                <a:cubicBezTo>
                  <a:pt x="704" y="116"/>
                  <a:pt x="698" y="108"/>
                  <a:pt x="692" y="99"/>
                </a:cubicBezTo>
                <a:cubicBezTo>
                  <a:pt x="687" y="92"/>
                  <a:pt x="682" y="84"/>
                  <a:pt x="676" y="78"/>
                </a:cubicBezTo>
                <a:cubicBezTo>
                  <a:pt x="671" y="73"/>
                  <a:pt x="663" y="77"/>
                  <a:pt x="664" y="84"/>
                </a:cubicBezTo>
                <a:cubicBezTo>
                  <a:pt x="666" y="104"/>
                  <a:pt x="680" y="123"/>
                  <a:pt x="686" y="142"/>
                </a:cubicBezTo>
                <a:cubicBezTo>
                  <a:pt x="695" y="173"/>
                  <a:pt x="705" y="204"/>
                  <a:pt x="712" y="235"/>
                </a:cubicBezTo>
                <a:cubicBezTo>
                  <a:pt x="716" y="248"/>
                  <a:pt x="718" y="264"/>
                  <a:pt x="724" y="278"/>
                </a:cubicBezTo>
                <a:cubicBezTo>
                  <a:pt x="705" y="282"/>
                  <a:pt x="687" y="286"/>
                  <a:pt x="668" y="289"/>
                </a:cubicBezTo>
                <a:cubicBezTo>
                  <a:pt x="662" y="290"/>
                  <a:pt x="657" y="291"/>
                  <a:pt x="652" y="292"/>
                </a:cubicBezTo>
                <a:cubicBezTo>
                  <a:pt x="651" y="281"/>
                  <a:pt x="648" y="270"/>
                  <a:pt x="644" y="259"/>
                </a:cubicBezTo>
                <a:cubicBezTo>
                  <a:pt x="640" y="246"/>
                  <a:pt x="635" y="232"/>
                  <a:pt x="630" y="220"/>
                </a:cubicBezTo>
                <a:cubicBezTo>
                  <a:pt x="619" y="193"/>
                  <a:pt x="604" y="165"/>
                  <a:pt x="584" y="143"/>
                </a:cubicBezTo>
                <a:cubicBezTo>
                  <a:pt x="577" y="136"/>
                  <a:pt x="566" y="146"/>
                  <a:pt x="572" y="154"/>
                </a:cubicBezTo>
                <a:cubicBezTo>
                  <a:pt x="597" y="187"/>
                  <a:pt x="609" y="231"/>
                  <a:pt x="616" y="272"/>
                </a:cubicBezTo>
                <a:cubicBezTo>
                  <a:pt x="618" y="280"/>
                  <a:pt x="618" y="290"/>
                  <a:pt x="618" y="298"/>
                </a:cubicBezTo>
                <a:cubicBezTo>
                  <a:pt x="594" y="302"/>
                  <a:pt x="570" y="306"/>
                  <a:pt x="546" y="310"/>
                </a:cubicBezTo>
                <a:cubicBezTo>
                  <a:pt x="543" y="310"/>
                  <a:pt x="539" y="311"/>
                  <a:pt x="536" y="312"/>
                </a:cubicBezTo>
                <a:cubicBezTo>
                  <a:pt x="535" y="307"/>
                  <a:pt x="535" y="302"/>
                  <a:pt x="534" y="298"/>
                </a:cubicBezTo>
                <a:cubicBezTo>
                  <a:pt x="532" y="283"/>
                  <a:pt x="527" y="268"/>
                  <a:pt x="522" y="254"/>
                </a:cubicBezTo>
                <a:cubicBezTo>
                  <a:pt x="517" y="241"/>
                  <a:pt x="512" y="228"/>
                  <a:pt x="504" y="217"/>
                </a:cubicBezTo>
                <a:cubicBezTo>
                  <a:pt x="498" y="208"/>
                  <a:pt x="490" y="200"/>
                  <a:pt x="482" y="192"/>
                </a:cubicBezTo>
                <a:cubicBezTo>
                  <a:pt x="481" y="190"/>
                  <a:pt x="477" y="189"/>
                  <a:pt x="475" y="191"/>
                </a:cubicBezTo>
                <a:cubicBezTo>
                  <a:pt x="469" y="198"/>
                  <a:pt x="470" y="209"/>
                  <a:pt x="474" y="217"/>
                </a:cubicBezTo>
                <a:cubicBezTo>
                  <a:pt x="477" y="224"/>
                  <a:pt x="509" y="318"/>
                  <a:pt x="504" y="319"/>
                </a:cubicBezTo>
                <a:cubicBezTo>
                  <a:pt x="483" y="323"/>
                  <a:pt x="463" y="328"/>
                  <a:pt x="442" y="332"/>
                </a:cubicBezTo>
                <a:cubicBezTo>
                  <a:pt x="439" y="332"/>
                  <a:pt x="435" y="333"/>
                  <a:pt x="431" y="334"/>
                </a:cubicBezTo>
                <a:cubicBezTo>
                  <a:pt x="429" y="318"/>
                  <a:pt x="425" y="304"/>
                  <a:pt x="419" y="290"/>
                </a:cubicBezTo>
                <a:cubicBezTo>
                  <a:pt x="410" y="268"/>
                  <a:pt x="391" y="252"/>
                  <a:pt x="377" y="232"/>
                </a:cubicBezTo>
                <a:cubicBezTo>
                  <a:pt x="373" y="227"/>
                  <a:pt x="364" y="232"/>
                  <a:pt x="366" y="238"/>
                </a:cubicBezTo>
                <a:cubicBezTo>
                  <a:pt x="372" y="258"/>
                  <a:pt x="382" y="276"/>
                  <a:pt x="392" y="295"/>
                </a:cubicBezTo>
                <a:cubicBezTo>
                  <a:pt x="398" y="308"/>
                  <a:pt x="400" y="323"/>
                  <a:pt x="402" y="337"/>
                </a:cubicBezTo>
                <a:cubicBezTo>
                  <a:pt x="399" y="338"/>
                  <a:pt x="396" y="338"/>
                  <a:pt x="393" y="338"/>
                </a:cubicBezTo>
                <a:cubicBezTo>
                  <a:pt x="381" y="339"/>
                  <a:pt x="370" y="338"/>
                  <a:pt x="358" y="339"/>
                </a:cubicBezTo>
                <a:cubicBezTo>
                  <a:pt x="344" y="331"/>
                  <a:pt x="332" y="321"/>
                  <a:pt x="321" y="310"/>
                </a:cubicBezTo>
                <a:cubicBezTo>
                  <a:pt x="296" y="285"/>
                  <a:pt x="276" y="255"/>
                  <a:pt x="256" y="227"/>
                </a:cubicBezTo>
                <a:cubicBezTo>
                  <a:pt x="200" y="152"/>
                  <a:pt x="123" y="96"/>
                  <a:pt x="41" y="51"/>
                </a:cubicBezTo>
                <a:cubicBezTo>
                  <a:pt x="26" y="43"/>
                  <a:pt x="8" y="53"/>
                  <a:pt x="8" y="70"/>
                </a:cubicBezTo>
                <a:cubicBezTo>
                  <a:pt x="2" y="166"/>
                  <a:pt x="27" y="264"/>
                  <a:pt x="94" y="334"/>
                </a:cubicBezTo>
                <a:cubicBezTo>
                  <a:pt x="119" y="360"/>
                  <a:pt x="149" y="380"/>
                  <a:pt x="183" y="390"/>
                </a:cubicBezTo>
                <a:cubicBezTo>
                  <a:pt x="157" y="406"/>
                  <a:pt x="133" y="424"/>
                  <a:pt x="114" y="444"/>
                </a:cubicBezTo>
                <a:cubicBezTo>
                  <a:pt x="60" y="498"/>
                  <a:pt x="18" y="572"/>
                  <a:pt x="4" y="648"/>
                </a:cubicBezTo>
                <a:cubicBezTo>
                  <a:pt x="0" y="669"/>
                  <a:pt x="16" y="683"/>
                  <a:pt x="36" y="680"/>
                </a:cubicBezTo>
                <a:cubicBezTo>
                  <a:pt x="79" y="673"/>
                  <a:pt x="120" y="654"/>
                  <a:pt x="157" y="632"/>
                </a:cubicBezTo>
                <a:cubicBezTo>
                  <a:pt x="192" y="612"/>
                  <a:pt x="228" y="586"/>
                  <a:pt x="256" y="557"/>
                </a:cubicBezTo>
                <a:cubicBezTo>
                  <a:pt x="283" y="530"/>
                  <a:pt x="302" y="496"/>
                  <a:pt x="323" y="465"/>
                </a:cubicBezTo>
                <a:cubicBezTo>
                  <a:pt x="339" y="442"/>
                  <a:pt x="356" y="422"/>
                  <a:pt x="373" y="400"/>
                </a:cubicBezTo>
                <a:cubicBezTo>
                  <a:pt x="382" y="400"/>
                  <a:pt x="392" y="400"/>
                  <a:pt x="400" y="398"/>
                </a:cubicBezTo>
                <a:cubicBezTo>
                  <a:pt x="393" y="432"/>
                  <a:pt x="378" y="464"/>
                  <a:pt x="375" y="499"/>
                </a:cubicBezTo>
                <a:cubicBezTo>
                  <a:pt x="374" y="501"/>
                  <a:pt x="377" y="503"/>
                  <a:pt x="380" y="502"/>
                </a:cubicBezTo>
                <a:cubicBezTo>
                  <a:pt x="396" y="494"/>
                  <a:pt x="404" y="479"/>
                  <a:pt x="410" y="463"/>
                </a:cubicBezTo>
                <a:cubicBezTo>
                  <a:pt x="418" y="454"/>
                  <a:pt x="424" y="444"/>
                  <a:pt x="429" y="432"/>
                </a:cubicBezTo>
                <a:cubicBezTo>
                  <a:pt x="434" y="420"/>
                  <a:pt x="437" y="408"/>
                  <a:pt x="439" y="396"/>
                </a:cubicBezTo>
                <a:cubicBezTo>
                  <a:pt x="439" y="394"/>
                  <a:pt x="439" y="393"/>
                  <a:pt x="440" y="392"/>
                </a:cubicBezTo>
                <a:cubicBezTo>
                  <a:pt x="440" y="392"/>
                  <a:pt x="440" y="392"/>
                  <a:pt x="440" y="392"/>
                </a:cubicBezTo>
                <a:cubicBezTo>
                  <a:pt x="456" y="389"/>
                  <a:pt x="472" y="386"/>
                  <a:pt x="488" y="382"/>
                </a:cubicBezTo>
                <a:cubicBezTo>
                  <a:pt x="486" y="390"/>
                  <a:pt x="485" y="397"/>
                  <a:pt x="484" y="402"/>
                </a:cubicBezTo>
                <a:cubicBezTo>
                  <a:pt x="476" y="429"/>
                  <a:pt x="465" y="460"/>
                  <a:pt x="446" y="482"/>
                </a:cubicBezTo>
                <a:cubicBezTo>
                  <a:pt x="440" y="489"/>
                  <a:pt x="452" y="499"/>
                  <a:pt x="458" y="492"/>
                </a:cubicBezTo>
                <a:cubicBezTo>
                  <a:pt x="478" y="474"/>
                  <a:pt x="495" y="455"/>
                  <a:pt x="508" y="431"/>
                </a:cubicBezTo>
                <a:cubicBezTo>
                  <a:pt x="515" y="418"/>
                  <a:pt x="519" y="405"/>
                  <a:pt x="522" y="391"/>
                </a:cubicBezTo>
                <a:cubicBezTo>
                  <a:pt x="524" y="386"/>
                  <a:pt x="525" y="380"/>
                  <a:pt x="526" y="374"/>
                </a:cubicBezTo>
                <a:cubicBezTo>
                  <a:pt x="532" y="372"/>
                  <a:pt x="539" y="371"/>
                  <a:pt x="545" y="370"/>
                </a:cubicBezTo>
                <a:cubicBezTo>
                  <a:pt x="563" y="366"/>
                  <a:pt x="581" y="363"/>
                  <a:pt x="599" y="360"/>
                </a:cubicBezTo>
                <a:cubicBezTo>
                  <a:pt x="599" y="361"/>
                  <a:pt x="599" y="361"/>
                  <a:pt x="599" y="362"/>
                </a:cubicBezTo>
                <a:cubicBezTo>
                  <a:pt x="594" y="377"/>
                  <a:pt x="587" y="392"/>
                  <a:pt x="581" y="406"/>
                </a:cubicBezTo>
                <a:cubicBezTo>
                  <a:pt x="575" y="422"/>
                  <a:pt x="568" y="439"/>
                  <a:pt x="560" y="454"/>
                </a:cubicBezTo>
                <a:cubicBezTo>
                  <a:pt x="557" y="462"/>
                  <a:pt x="552" y="468"/>
                  <a:pt x="549" y="476"/>
                </a:cubicBezTo>
                <a:cubicBezTo>
                  <a:pt x="547" y="479"/>
                  <a:pt x="545" y="482"/>
                  <a:pt x="543" y="486"/>
                </a:cubicBezTo>
                <a:cubicBezTo>
                  <a:pt x="540" y="490"/>
                  <a:pt x="540" y="495"/>
                  <a:pt x="537" y="500"/>
                </a:cubicBezTo>
                <a:cubicBezTo>
                  <a:pt x="534" y="504"/>
                  <a:pt x="538" y="509"/>
                  <a:pt x="544" y="507"/>
                </a:cubicBezTo>
                <a:cubicBezTo>
                  <a:pt x="553" y="504"/>
                  <a:pt x="558" y="502"/>
                  <a:pt x="566" y="496"/>
                </a:cubicBezTo>
                <a:cubicBezTo>
                  <a:pt x="574" y="490"/>
                  <a:pt x="579" y="482"/>
                  <a:pt x="584" y="475"/>
                </a:cubicBezTo>
                <a:cubicBezTo>
                  <a:pt x="596" y="458"/>
                  <a:pt x="604" y="440"/>
                  <a:pt x="613" y="421"/>
                </a:cubicBezTo>
                <a:cubicBezTo>
                  <a:pt x="620" y="405"/>
                  <a:pt x="627" y="389"/>
                  <a:pt x="633" y="372"/>
                </a:cubicBezTo>
                <a:cubicBezTo>
                  <a:pt x="635" y="367"/>
                  <a:pt x="637" y="361"/>
                  <a:pt x="638" y="355"/>
                </a:cubicBezTo>
                <a:cubicBezTo>
                  <a:pt x="647" y="353"/>
                  <a:pt x="655" y="352"/>
                  <a:pt x="664" y="350"/>
                </a:cubicBezTo>
                <a:cubicBezTo>
                  <a:pt x="676" y="348"/>
                  <a:pt x="689" y="345"/>
                  <a:pt x="702" y="342"/>
                </a:cubicBezTo>
                <a:cubicBezTo>
                  <a:pt x="702" y="344"/>
                  <a:pt x="702" y="346"/>
                  <a:pt x="701" y="347"/>
                </a:cubicBezTo>
                <a:cubicBezTo>
                  <a:pt x="698" y="366"/>
                  <a:pt x="691" y="384"/>
                  <a:pt x="686" y="402"/>
                </a:cubicBezTo>
                <a:cubicBezTo>
                  <a:pt x="678" y="425"/>
                  <a:pt x="668" y="446"/>
                  <a:pt x="658" y="468"/>
                </a:cubicBezTo>
                <a:cubicBezTo>
                  <a:pt x="650" y="488"/>
                  <a:pt x="638" y="503"/>
                  <a:pt x="638" y="526"/>
                </a:cubicBezTo>
                <a:cubicBezTo>
                  <a:pt x="638" y="528"/>
                  <a:pt x="639" y="528"/>
                  <a:pt x="641" y="528"/>
                </a:cubicBezTo>
                <a:cubicBezTo>
                  <a:pt x="651" y="521"/>
                  <a:pt x="661" y="516"/>
                  <a:pt x="670" y="507"/>
                </a:cubicBezTo>
                <a:cubicBezTo>
                  <a:pt x="678" y="498"/>
                  <a:pt x="685" y="489"/>
                  <a:pt x="691" y="478"/>
                </a:cubicBezTo>
                <a:cubicBezTo>
                  <a:pt x="704" y="455"/>
                  <a:pt x="716" y="431"/>
                  <a:pt x="724" y="406"/>
                </a:cubicBezTo>
                <a:cubicBezTo>
                  <a:pt x="730" y="386"/>
                  <a:pt x="736" y="366"/>
                  <a:pt x="739" y="346"/>
                </a:cubicBezTo>
                <a:cubicBezTo>
                  <a:pt x="740" y="343"/>
                  <a:pt x="740" y="339"/>
                  <a:pt x="741" y="334"/>
                </a:cubicBezTo>
                <a:cubicBezTo>
                  <a:pt x="755" y="331"/>
                  <a:pt x="769" y="328"/>
                  <a:pt x="783" y="325"/>
                </a:cubicBezTo>
                <a:cubicBezTo>
                  <a:pt x="795" y="322"/>
                  <a:pt x="807" y="320"/>
                  <a:pt x="819" y="317"/>
                </a:cubicBezTo>
                <a:cubicBezTo>
                  <a:pt x="814" y="338"/>
                  <a:pt x="805" y="360"/>
                  <a:pt x="796" y="378"/>
                </a:cubicBezTo>
                <a:cubicBezTo>
                  <a:pt x="782" y="409"/>
                  <a:pt x="766" y="439"/>
                  <a:pt x="748" y="468"/>
                </a:cubicBezTo>
                <a:cubicBezTo>
                  <a:pt x="733" y="495"/>
                  <a:pt x="717" y="522"/>
                  <a:pt x="708" y="552"/>
                </a:cubicBezTo>
                <a:cubicBezTo>
                  <a:pt x="705" y="563"/>
                  <a:pt x="721" y="568"/>
                  <a:pt x="724" y="558"/>
                </a:cubicBezTo>
                <a:cubicBezTo>
                  <a:pt x="734" y="524"/>
                  <a:pt x="760" y="495"/>
                  <a:pt x="778" y="466"/>
                </a:cubicBezTo>
                <a:cubicBezTo>
                  <a:pt x="797" y="436"/>
                  <a:pt x="816" y="406"/>
                  <a:pt x="831" y="374"/>
                </a:cubicBezTo>
                <a:cubicBezTo>
                  <a:pt x="840" y="354"/>
                  <a:pt x="847" y="334"/>
                  <a:pt x="852" y="312"/>
                </a:cubicBezTo>
                <a:cubicBezTo>
                  <a:pt x="852" y="312"/>
                  <a:pt x="852" y="312"/>
                  <a:pt x="852" y="312"/>
                </a:cubicBezTo>
                <a:cubicBezTo>
                  <a:pt x="880" y="307"/>
                  <a:pt x="908" y="304"/>
                  <a:pt x="937" y="301"/>
                </a:cubicBezTo>
                <a:cubicBezTo>
                  <a:pt x="934" y="319"/>
                  <a:pt x="929" y="338"/>
                  <a:pt x="923" y="355"/>
                </a:cubicBezTo>
                <a:cubicBezTo>
                  <a:pt x="914" y="384"/>
                  <a:pt x="900" y="411"/>
                  <a:pt x="888" y="438"/>
                </a:cubicBezTo>
                <a:cubicBezTo>
                  <a:pt x="875" y="464"/>
                  <a:pt x="862" y="493"/>
                  <a:pt x="861" y="523"/>
                </a:cubicBezTo>
                <a:cubicBezTo>
                  <a:pt x="861" y="529"/>
                  <a:pt x="870" y="533"/>
                  <a:pt x="874" y="527"/>
                </a:cubicBezTo>
                <a:cubicBezTo>
                  <a:pt x="890" y="502"/>
                  <a:pt x="902" y="476"/>
                  <a:pt x="916" y="450"/>
                </a:cubicBezTo>
                <a:cubicBezTo>
                  <a:pt x="930" y="423"/>
                  <a:pt x="943" y="397"/>
                  <a:pt x="954" y="369"/>
                </a:cubicBezTo>
                <a:cubicBezTo>
                  <a:pt x="961" y="350"/>
                  <a:pt x="966" y="330"/>
                  <a:pt x="970" y="309"/>
                </a:cubicBezTo>
                <a:cubicBezTo>
                  <a:pt x="970" y="306"/>
                  <a:pt x="971" y="302"/>
                  <a:pt x="972" y="298"/>
                </a:cubicBezTo>
                <a:cubicBezTo>
                  <a:pt x="988" y="296"/>
                  <a:pt x="1004" y="295"/>
                  <a:pt x="1020" y="294"/>
                </a:cubicBezTo>
                <a:cubicBezTo>
                  <a:pt x="1027" y="294"/>
                  <a:pt x="1034" y="294"/>
                  <a:pt x="1041" y="294"/>
                </a:cubicBezTo>
                <a:cubicBezTo>
                  <a:pt x="1037" y="310"/>
                  <a:pt x="1034" y="328"/>
                  <a:pt x="1030" y="345"/>
                </a:cubicBezTo>
                <a:cubicBezTo>
                  <a:pt x="1022" y="390"/>
                  <a:pt x="1010" y="442"/>
                  <a:pt x="981" y="479"/>
                </a:cubicBezTo>
                <a:cubicBezTo>
                  <a:pt x="979" y="482"/>
                  <a:pt x="983" y="485"/>
                  <a:pt x="985" y="483"/>
                </a:cubicBezTo>
                <a:cubicBezTo>
                  <a:pt x="1018" y="452"/>
                  <a:pt x="1036" y="410"/>
                  <a:pt x="1048" y="367"/>
                </a:cubicBezTo>
                <a:cubicBezTo>
                  <a:pt x="1055" y="344"/>
                  <a:pt x="1059" y="320"/>
                  <a:pt x="1064" y="296"/>
                </a:cubicBezTo>
                <a:cubicBezTo>
                  <a:pt x="1064" y="295"/>
                  <a:pt x="1065" y="294"/>
                  <a:pt x="1065" y="294"/>
                </a:cubicBezTo>
                <a:cubicBezTo>
                  <a:pt x="1084" y="294"/>
                  <a:pt x="1102" y="295"/>
                  <a:pt x="1121" y="298"/>
                </a:cubicBezTo>
                <a:cubicBezTo>
                  <a:pt x="1118" y="306"/>
                  <a:pt x="1114" y="314"/>
                  <a:pt x="1112" y="322"/>
                </a:cubicBezTo>
                <a:cubicBezTo>
                  <a:pt x="1099" y="356"/>
                  <a:pt x="1088" y="391"/>
                  <a:pt x="1074" y="424"/>
                </a:cubicBezTo>
                <a:cubicBezTo>
                  <a:pt x="1072" y="430"/>
                  <a:pt x="1080" y="434"/>
                  <a:pt x="1084" y="429"/>
                </a:cubicBezTo>
                <a:cubicBezTo>
                  <a:pt x="1096" y="412"/>
                  <a:pt x="1106" y="395"/>
                  <a:pt x="1116" y="377"/>
                </a:cubicBezTo>
                <a:cubicBezTo>
                  <a:pt x="1125" y="361"/>
                  <a:pt x="1131" y="344"/>
                  <a:pt x="1138" y="328"/>
                </a:cubicBezTo>
                <a:cubicBezTo>
                  <a:pt x="1140" y="321"/>
                  <a:pt x="1145" y="312"/>
                  <a:pt x="1149" y="302"/>
                </a:cubicBezTo>
                <a:cubicBezTo>
                  <a:pt x="1164" y="304"/>
                  <a:pt x="1180" y="306"/>
                  <a:pt x="1195" y="308"/>
                </a:cubicBezTo>
                <a:cubicBezTo>
                  <a:pt x="1195" y="308"/>
                  <a:pt x="1195" y="308"/>
                  <a:pt x="1195" y="308"/>
                </a:cubicBezTo>
                <a:cubicBezTo>
                  <a:pt x="1184" y="340"/>
                  <a:pt x="1172" y="371"/>
                  <a:pt x="1168" y="403"/>
                </a:cubicBezTo>
                <a:cubicBezTo>
                  <a:pt x="1163" y="448"/>
                  <a:pt x="1176" y="498"/>
                  <a:pt x="1214" y="522"/>
                </a:cubicBezTo>
                <a:cubicBezTo>
                  <a:pt x="1308" y="580"/>
                  <a:pt x="1451" y="488"/>
                  <a:pt x="1530" y="411"/>
                </a:cubicBezTo>
                <a:cubicBezTo>
                  <a:pt x="1534" y="407"/>
                  <a:pt x="1538" y="402"/>
                  <a:pt x="1544" y="397"/>
                </a:cubicBezTo>
                <a:cubicBezTo>
                  <a:pt x="1548" y="392"/>
                  <a:pt x="1553" y="388"/>
                  <a:pt x="1557" y="383"/>
                </a:cubicBezTo>
                <a:cubicBezTo>
                  <a:pt x="1524" y="378"/>
                  <a:pt x="1491" y="368"/>
                  <a:pt x="1461" y="357"/>
                </a:cubicBezTo>
                <a:cubicBezTo>
                  <a:pt x="1511" y="350"/>
                  <a:pt x="1562" y="338"/>
                  <a:pt x="1606" y="314"/>
                </a:cubicBezTo>
                <a:close/>
                <a:moveTo>
                  <a:pt x="46" y="118"/>
                </a:moveTo>
                <a:cubicBezTo>
                  <a:pt x="44" y="117"/>
                  <a:pt x="45" y="114"/>
                  <a:pt x="47" y="114"/>
                </a:cubicBezTo>
                <a:cubicBezTo>
                  <a:pt x="78" y="112"/>
                  <a:pt x="103" y="144"/>
                  <a:pt x="127" y="158"/>
                </a:cubicBezTo>
                <a:cubicBezTo>
                  <a:pt x="141" y="167"/>
                  <a:pt x="156" y="172"/>
                  <a:pt x="171" y="178"/>
                </a:cubicBezTo>
                <a:cubicBezTo>
                  <a:pt x="180" y="182"/>
                  <a:pt x="196" y="186"/>
                  <a:pt x="198" y="197"/>
                </a:cubicBezTo>
                <a:cubicBezTo>
                  <a:pt x="199" y="199"/>
                  <a:pt x="198" y="201"/>
                  <a:pt x="196" y="201"/>
                </a:cubicBezTo>
                <a:cubicBezTo>
                  <a:pt x="189" y="204"/>
                  <a:pt x="184" y="200"/>
                  <a:pt x="178" y="197"/>
                </a:cubicBezTo>
                <a:cubicBezTo>
                  <a:pt x="172" y="194"/>
                  <a:pt x="165" y="193"/>
                  <a:pt x="158" y="190"/>
                </a:cubicBezTo>
                <a:cubicBezTo>
                  <a:pt x="144" y="186"/>
                  <a:pt x="130" y="181"/>
                  <a:pt x="117" y="173"/>
                </a:cubicBezTo>
                <a:cubicBezTo>
                  <a:pt x="103" y="164"/>
                  <a:pt x="90" y="154"/>
                  <a:pt x="77" y="144"/>
                </a:cubicBezTo>
                <a:cubicBezTo>
                  <a:pt x="66" y="136"/>
                  <a:pt x="54" y="129"/>
                  <a:pt x="46" y="118"/>
                </a:cubicBezTo>
                <a:close/>
                <a:moveTo>
                  <a:pt x="63" y="179"/>
                </a:moveTo>
                <a:cubicBezTo>
                  <a:pt x="97" y="184"/>
                  <a:pt x="127" y="203"/>
                  <a:pt x="160" y="211"/>
                </a:cubicBezTo>
                <a:cubicBezTo>
                  <a:pt x="176" y="215"/>
                  <a:pt x="218" y="218"/>
                  <a:pt x="219" y="239"/>
                </a:cubicBezTo>
                <a:cubicBezTo>
                  <a:pt x="219" y="243"/>
                  <a:pt x="216" y="246"/>
                  <a:pt x="213" y="247"/>
                </a:cubicBezTo>
                <a:cubicBezTo>
                  <a:pt x="203" y="249"/>
                  <a:pt x="192" y="239"/>
                  <a:pt x="183" y="236"/>
                </a:cubicBezTo>
                <a:cubicBezTo>
                  <a:pt x="171" y="232"/>
                  <a:pt x="160" y="228"/>
                  <a:pt x="148" y="225"/>
                </a:cubicBezTo>
                <a:cubicBezTo>
                  <a:pt x="118" y="217"/>
                  <a:pt x="85" y="206"/>
                  <a:pt x="60" y="186"/>
                </a:cubicBezTo>
                <a:cubicBezTo>
                  <a:pt x="57" y="184"/>
                  <a:pt x="58" y="178"/>
                  <a:pt x="63" y="179"/>
                </a:cubicBezTo>
                <a:close/>
                <a:moveTo>
                  <a:pt x="94" y="247"/>
                </a:moveTo>
                <a:cubicBezTo>
                  <a:pt x="91" y="246"/>
                  <a:pt x="92" y="242"/>
                  <a:pt x="95" y="241"/>
                </a:cubicBezTo>
                <a:cubicBezTo>
                  <a:pt x="118" y="235"/>
                  <a:pt x="141" y="244"/>
                  <a:pt x="162" y="251"/>
                </a:cubicBezTo>
                <a:cubicBezTo>
                  <a:pt x="174" y="255"/>
                  <a:pt x="187" y="259"/>
                  <a:pt x="199" y="261"/>
                </a:cubicBezTo>
                <a:cubicBezTo>
                  <a:pt x="208" y="262"/>
                  <a:pt x="218" y="261"/>
                  <a:pt x="224" y="268"/>
                </a:cubicBezTo>
                <a:cubicBezTo>
                  <a:pt x="226" y="270"/>
                  <a:pt x="226" y="273"/>
                  <a:pt x="224" y="275"/>
                </a:cubicBezTo>
                <a:cubicBezTo>
                  <a:pt x="216" y="282"/>
                  <a:pt x="205" y="278"/>
                  <a:pt x="196" y="276"/>
                </a:cubicBezTo>
                <a:cubicBezTo>
                  <a:pt x="185" y="274"/>
                  <a:pt x="174" y="270"/>
                  <a:pt x="162" y="267"/>
                </a:cubicBezTo>
                <a:cubicBezTo>
                  <a:pt x="140" y="259"/>
                  <a:pt x="117" y="254"/>
                  <a:pt x="94" y="247"/>
                </a:cubicBezTo>
                <a:close/>
                <a:moveTo>
                  <a:pt x="132" y="288"/>
                </a:moveTo>
                <a:cubicBezTo>
                  <a:pt x="151" y="284"/>
                  <a:pt x="170" y="288"/>
                  <a:pt x="189" y="290"/>
                </a:cubicBezTo>
                <a:cubicBezTo>
                  <a:pt x="200" y="290"/>
                  <a:pt x="210" y="291"/>
                  <a:pt x="220" y="292"/>
                </a:cubicBezTo>
                <a:cubicBezTo>
                  <a:pt x="228" y="292"/>
                  <a:pt x="232" y="292"/>
                  <a:pt x="238" y="296"/>
                </a:cubicBezTo>
                <a:cubicBezTo>
                  <a:pt x="242" y="298"/>
                  <a:pt x="241" y="304"/>
                  <a:pt x="238" y="306"/>
                </a:cubicBezTo>
                <a:cubicBezTo>
                  <a:pt x="230" y="310"/>
                  <a:pt x="222" y="309"/>
                  <a:pt x="214" y="308"/>
                </a:cubicBezTo>
                <a:cubicBezTo>
                  <a:pt x="204" y="308"/>
                  <a:pt x="194" y="308"/>
                  <a:pt x="183" y="306"/>
                </a:cubicBezTo>
                <a:cubicBezTo>
                  <a:pt x="165" y="304"/>
                  <a:pt x="147" y="304"/>
                  <a:pt x="131" y="295"/>
                </a:cubicBezTo>
                <a:cubicBezTo>
                  <a:pt x="128" y="293"/>
                  <a:pt x="129" y="289"/>
                  <a:pt x="132" y="288"/>
                </a:cubicBezTo>
                <a:close/>
                <a:moveTo>
                  <a:pt x="168" y="343"/>
                </a:moveTo>
                <a:cubicBezTo>
                  <a:pt x="165" y="340"/>
                  <a:pt x="164" y="335"/>
                  <a:pt x="168" y="332"/>
                </a:cubicBezTo>
                <a:cubicBezTo>
                  <a:pt x="178" y="322"/>
                  <a:pt x="196" y="323"/>
                  <a:pt x="209" y="322"/>
                </a:cubicBezTo>
                <a:cubicBezTo>
                  <a:pt x="223" y="320"/>
                  <a:pt x="237" y="320"/>
                  <a:pt x="250" y="321"/>
                </a:cubicBezTo>
                <a:cubicBezTo>
                  <a:pt x="262" y="322"/>
                  <a:pt x="264" y="336"/>
                  <a:pt x="255" y="341"/>
                </a:cubicBezTo>
                <a:cubicBezTo>
                  <a:pt x="242" y="350"/>
                  <a:pt x="225" y="346"/>
                  <a:pt x="210" y="348"/>
                </a:cubicBezTo>
                <a:cubicBezTo>
                  <a:pt x="197" y="349"/>
                  <a:pt x="180" y="352"/>
                  <a:pt x="168" y="343"/>
                </a:cubicBezTo>
                <a:close/>
                <a:moveTo>
                  <a:pt x="142" y="623"/>
                </a:moveTo>
                <a:cubicBezTo>
                  <a:pt x="116" y="628"/>
                  <a:pt x="90" y="611"/>
                  <a:pt x="63" y="611"/>
                </a:cubicBezTo>
                <a:cubicBezTo>
                  <a:pt x="52" y="611"/>
                  <a:pt x="53" y="594"/>
                  <a:pt x="64" y="594"/>
                </a:cubicBezTo>
                <a:cubicBezTo>
                  <a:pt x="90" y="594"/>
                  <a:pt x="119" y="602"/>
                  <a:pt x="142" y="611"/>
                </a:cubicBezTo>
                <a:cubicBezTo>
                  <a:pt x="148" y="614"/>
                  <a:pt x="148" y="622"/>
                  <a:pt x="142" y="623"/>
                </a:cubicBezTo>
                <a:close/>
                <a:moveTo>
                  <a:pt x="186" y="571"/>
                </a:moveTo>
                <a:cubicBezTo>
                  <a:pt x="174" y="583"/>
                  <a:pt x="145" y="579"/>
                  <a:pt x="131" y="575"/>
                </a:cubicBezTo>
                <a:cubicBezTo>
                  <a:pt x="118" y="572"/>
                  <a:pt x="98" y="562"/>
                  <a:pt x="85" y="567"/>
                </a:cubicBezTo>
                <a:cubicBezTo>
                  <a:pt x="79" y="570"/>
                  <a:pt x="76" y="563"/>
                  <a:pt x="79" y="559"/>
                </a:cubicBezTo>
                <a:cubicBezTo>
                  <a:pt x="91" y="546"/>
                  <a:pt x="110" y="549"/>
                  <a:pt x="125" y="553"/>
                </a:cubicBezTo>
                <a:cubicBezTo>
                  <a:pt x="136" y="556"/>
                  <a:pt x="147" y="557"/>
                  <a:pt x="159" y="557"/>
                </a:cubicBezTo>
                <a:cubicBezTo>
                  <a:pt x="169" y="557"/>
                  <a:pt x="179" y="555"/>
                  <a:pt x="186" y="563"/>
                </a:cubicBezTo>
                <a:cubicBezTo>
                  <a:pt x="188" y="565"/>
                  <a:pt x="188" y="569"/>
                  <a:pt x="186" y="571"/>
                </a:cubicBezTo>
                <a:close/>
                <a:moveTo>
                  <a:pt x="230" y="515"/>
                </a:moveTo>
                <a:cubicBezTo>
                  <a:pt x="220" y="520"/>
                  <a:pt x="209" y="518"/>
                  <a:pt x="198" y="520"/>
                </a:cubicBezTo>
                <a:cubicBezTo>
                  <a:pt x="188" y="522"/>
                  <a:pt x="178" y="524"/>
                  <a:pt x="168" y="525"/>
                </a:cubicBezTo>
                <a:cubicBezTo>
                  <a:pt x="160" y="526"/>
                  <a:pt x="150" y="525"/>
                  <a:pt x="142" y="524"/>
                </a:cubicBezTo>
                <a:cubicBezTo>
                  <a:pt x="136" y="524"/>
                  <a:pt x="128" y="520"/>
                  <a:pt x="122" y="523"/>
                </a:cubicBezTo>
                <a:cubicBezTo>
                  <a:pt x="116" y="526"/>
                  <a:pt x="110" y="518"/>
                  <a:pt x="115" y="513"/>
                </a:cubicBezTo>
                <a:cubicBezTo>
                  <a:pt x="128" y="502"/>
                  <a:pt x="151" y="502"/>
                  <a:pt x="167" y="502"/>
                </a:cubicBezTo>
                <a:cubicBezTo>
                  <a:pt x="185" y="501"/>
                  <a:pt x="222" y="486"/>
                  <a:pt x="232" y="509"/>
                </a:cubicBezTo>
                <a:cubicBezTo>
                  <a:pt x="234" y="511"/>
                  <a:pt x="233" y="514"/>
                  <a:pt x="230" y="515"/>
                </a:cubicBezTo>
                <a:close/>
                <a:moveTo>
                  <a:pt x="277" y="458"/>
                </a:moveTo>
                <a:cubicBezTo>
                  <a:pt x="272" y="467"/>
                  <a:pt x="263" y="466"/>
                  <a:pt x="254" y="466"/>
                </a:cubicBezTo>
                <a:cubicBezTo>
                  <a:pt x="244" y="466"/>
                  <a:pt x="234" y="466"/>
                  <a:pt x="223" y="466"/>
                </a:cubicBezTo>
                <a:cubicBezTo>
                  <a:pt x="202" y="466"/>
                  <a:pt x="179" y="466"/>
                  <a:pt x="159" y="472"/>
                </a:cubicBezTo>
                <a:cubicBezTo>
                  <a:pt x="152" y="474"/>
                  <a:pt x="149" y="463"/>
                  <a:pt x="155" y="460"/>
                </a:cubicBezTo>
                <a:cubicBezTo>
                  <a:pt x="177" y="452"/>
                  <a:pt x="198" y="447"/>
                  <a:pt x="221" y="445"/>
                </a:cubicBezTo>
                <a:cubicBezTo>
                  <a:pt x="232" y="444"/>
                  <a:pt x="244" y="444"/>
                  <a:pt x="256" y="444"/>
                </a:cubicBezTo>
                <a:cubicBezTo>
                  <a:pt x="265" y="444"/>
                  <a:pt x="273" y="444"/>
                  <a:pt x="278" y="452"/>
                </a:cubicBezTo>
                <a:cubicBezTo>
                  <a:pt x="278" y="454"/>
                  <a:pt x="278" y="457"/>
                  <a:pt x="277" y="458"/>
                </a:cubicBezTo>
                <a:close/>
                <a:moveTo>
                  <a:pt x="301" y="417"/>
                </a:moveTo>
                <a:cubicBezTo>
                  <a:pt x="294" y="423"/>
                  <a:pt x="286" y="419"/>
                  <a:pt x="278" y="420"/>
                </a:cubicBezTo>
                <a:cubicBezTo>
                  <a:pt x="268" y="420"/>
                  <a:pt x="258" y="421"/>
                  <a:pt x="247" y="422"/>
                </a:cubicBezTo>
                <a:cubicBezTo>
                  <a:pt x="226" y="424"/>
                  <a:pt x="204" y="426"/>
                  <a:pt x="183" y="423"/>
                </a:cubicBezTo>
                <a:cubicBezTo>
                  <a:pt x="178" y="422"/>
                  <a:pt x="174" y="414"/>
                  <a:pt x="180" y="412"/>
                </a:cubicBezTo>
                <a:cubicBezTo>
                  <a:pt x="204" y="402"/>
                  <a:pt x="230" y="404"/>
                  <a:pt x="255" y="402"/>
                </a:cubicBezTo>
                <a:cubicBezTo>
                  <a:pt x="268" y="400"/>
                  <a:pt x="299" y="394"/>
                  <a:pt x="303" y="412"/>
                </a:cubicBezTo>
                <a:cubicBezTo>
                  <a:pt x="304" y="414"/>
                  <a:pt x="303" y="416"/>
                  <a:pt x="301" y="417"/>
                </a:cubicBezTo>
                <a:close/>
                <a:moveTo>
                  <a:pt x="1322" y="234"/>
                </a:moveTo>
                <a:cubicBezTo>
                  <a:pt x="1282" y="248"/>
                  <a:pt x="1270" y="184"/>
                  <a:pt x="1299" y="164"/>
                </a:cubicBezTo>
                <a:cubicBezTo>
                  <a:pt x="1302" y="162"/>
                  <a:pt x="1304" y="162"/>
                  <a:pt x="1306" y="162"/>
                </a:cubicBezTo>
                <a:cubicBezTo>
                  <a:pt x="1311" y="161"/>
                  <a:pt x="1316" y="160"/>
                  <a:pt x="1322" y="162"/>
                </a:cubicBezTo>
                <a:cubicBezTo>
                  <a:pt x="1353" y="168"/>
                  <a:pt x="1351" y="224"/>
                  <a:pt x="1322" y="234"/>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cs typeface="+mn-cs"/>
            </a:endParaRPr>
          </a:p>
        </p:txBody>
      </p:sp>
      <p:sp>
        <p:nvSpPr>
          <p:cNvPr id="55" name="Freeform 55">
            <a:extLst>
              <a:ext uri="{FF2B5EF4-FFF2-40B4-BE49-F238E27FC236}">
                <a16:creationId xmlns:a16="http://schemas.microsoft.com/office/drawing/2014/main" id="{15919ABC-311A-4B89-B1EE-A8B200170CC4}"/>
              </a:ext>
            </a:extLst>
          </p:cNvPr>
          <p:cNvSpPr>
            <a:spLocks noEditPoints="1"/>
          </p:cNvSpPr>
          <p:nvPr/>
        </p:nvSpPr>
        <p:spPr bwMode="auto">
          <a:xfrm>
            <a:off x="8215213" y="3744613"/>
            <a:ext cx="3047098" cy="1389537"/>
          </a:xfrm>
          <a:custGeom>
            <a:avLst/>
            <a:gdLst>
              <a:gd name="T0" fmla="*/ 1589 w 1686"/>
              <a:gd name="T1" fmla="*/ 437 h 767"/>
              <a:gd name="T2" fmla="*/ 1619 w 1686"/>
              <a:gd name="T3" fmla="*/ 368 h 767"/>
              <a:gd name="T4" fmla="*/ 1307 w 1686"/>
              <a:gd name="T5" fmla="*/ 170 h 767"/>
              <a:gd name="T6" fmla="*/ 1182 w 1686"/>
              <a:gd name="T7" fmla="*/ 345 h 767"/>
              <a:gd name="T8" fmla="*/ 1122 w 1686"/>
              <a:gd name="T9" fmla="*/ 318 h 767"/>
              <a:gd name="T10" fmla="*/ 1022 w 1686"/>
              <a:gd name="T11" fmla="*/ 13 h 767"/>
              <a:gd name="T12" fmla="*/ 1097 w 1686"/>
              <a:gd name="T13" fmla="*/ 352 h 767"/>
              <a:gd name="T14" fmla="*/ 999 w 1686"/>
              <a:gd name="T15" fmla="*/ 358 h 767"/>
              <a:gd name="T16" fmla="*/ 925 w 1686"/>
              <a:gd name="T17" fmla="*/ 96 h 767"/>
              <a:gd name="T18" fmla="*/ 945 w 1686"/>
              <a:gd name="T19" fmla="*/ 238 h 767"/>
              <a:gd name="T20" fmla="*/ 864 w 1686"/>
              <a:gd name="T21" fmla="*/ 343 h 767"/>
              <a:gd name="T22" fmla="*/ 793 w 1686"/>
              <a:gd name="T23" fmla="*/ 183 h 767"/>
              <a:gd name="T24" fmla="*/ 837 w 1686"/>
              <a:gd name="T25" fmla="*/ 358 h 767"/>
              <a:gd name="T26" fmla="*/ 787 w 1686"/>
              <a:gd name="T27" fmla="*/ 361 h 767"/>
              <a:gd name="T28" fmla="*/ 733 w 1686"/>
              <a:gd name="T29" fmla="*/ 319 h 767"/>
              <a:gd name="T30" fmla="*/ 703 w 1686"/>
              <a:gd name="T31" fmla="*/ 322 h 767"/>
              <a:gd name="T32" fmla="*/ 654 w 1686"/>
              <a:gd name="T33" fmla="*/ 376 h 767"/>
              <a:gd name="T34" fmla="*/ 555 w 1686"/>
              <a:gd name="T35" fmla="*/ 292 h 767"/>
              <a:gd name="T36" fmla="*/ 557 w 1686"/>
              <a:gd name="T37" fmla="*/ 385 h 767"/>
              <a:gd name="T38" fmla="*/ 422 w 1686"/>
              <a:gd name="T39" fmla="*/ 360 h 767"/>
              <a:gd name="T40" fmla="*/ 391 w 1686"/>
              <a:gd name="T41" fmla="*/ 348 h 767"/>
              <a:gd name="T42" fmla="*/ 387 w 1686"/>
              <a:gd name="T43" fmla="*/ 394 h 767"/>
              <a:gd name="T44" fmla="*/ 192 w 1686"/>
              <a:gd name="T45" fmla="*/ 275 h 767"/>
              <a:gd name="T46" fmla="*/ 54 w 1686"/>
              <a:gd name="T47" fmla="*/ 307 h 767"/>
              <a:gd name="T48" fmla="*/ 70 w 1686"/>
              <a:gd name="T49" fmla="*/ 396 h 767"/>
              <a:gd name="T50" fmla="*/ 95 w 1686"/>
              <a:gd name="T51" fmla="*/ 490 h 767"/>
              <a:gd name="T52" fmla="*/ 99 w 1686"/>
              <a:gd name="T53" fmla="*/ 496 h 767"/>
              <a:gd name="T54" fmla="*/ 29 w 1686"/>
              <a:gd name="T55" fmla="*/ 654 h 767"/>
              <a:gd name="T56" fmla="*/ 57 w 1686"/>
              <a:gd name="T57" fmla="*/ 737 h 767"/>
              <a:gd name="T58" fmla="*/ 295 w 1686"/>
              <a:gd name="T59" fmla="*/ 430 h 767"/>
              <a:gd name="T60" fmla="*/ 371 w 1686"/>
              <a:gd name="T61" fmla="*/ 477 h 767"/>
              <a:gd name="T62" fmla="*/ 382 w 1686"/>
              <a:gd name="T63" fmla="*/ 515 h 767"/>
              <a:gd name="T64" fmla="*/ 521 w 1686"/>
              <a:gd name="T65" fmla="*/ 436 h 767"/>
              <a:gd name="T66" fmla="*/ 530 w 1686"/>
              <a:gd name="T67" fmla="*/ 475 h 767"/>
              <a:gd name="T68" fmla="*/ 557 w 1686"/>
              <a:gd name="T69" fmla="*/ 483 h 767"/>
              <a:gd name="T70" fmla="*/ 656 w 1686"/>
              <a:gd name="T71" fmla="*/ 431 h 767"/>
              <a:gd name="T72" fmla="*/ 683 w 1686"/>
              <a:gd name="T73" fmla="*/ 497 h 767"/>
              <a:gd name="T74" fmla="*/ 687 w 1686"/>
              <a:gd name="T75" fmla="*/ 548 h 767"/>
              <a:gd name="T76" fmla="*/ 724 w 1686"/>
              <a:gd name="T77" fmla="*/ 424 h 767"/>
              <a:gd name="T78" fmla="*/ 823 w 1686"/>
              <a:gd name="T79" fmla="*/ 422 h 767"/>
              <a:gd name="T80" fmla="*/ 763 w 1686"/>
              <a:gd name="T81" fmla="*/ 615 h 767"/>
              <a:gd name="T82" fmla="*/ 860 w 1686"/>
              <a:gd name="T83" fmla="*/ 416 h 767"/>
              <a:gd name="T84" fmla="*/ 977 w 1686"/>
              <a:gd name="T85" fmla="*/ 435 h 767"/>
              <a:gd name="T86" fmla="*/ 911 w 1686"/>
              <a:gd name="T87" fmla="*/ 666 h 767"/>
              <a:gd name="T88" fmla="*/ 1013 w 1686"/>
              <a:gd name="T89" fmla="*/ 436 h 767"/>
              <a:gd name="T90" fmla="*/ 1085 w 1686"/>
              <a:gd name="T91" fmla="*/ 412 h 767"/>
              <a:gd name="T92" fmla="*/ 1007 w 1686"/>
              <a:gd name="T93" fmla="*/ 733 h 767"/>
              <a:gd name="T94" fmla="*/ 1121 w 1686"/>
              <a:gd name="T95" fmla="*/ 456 h 767"/>
              <a:gd name="T96" fmla="*/ 1141 w 1686"/>
              <a:gd name="T97" fmla="*/ 407 h 767"/>
              <a:gd name="T98" fmla="*/ 1216 w 1686"/>
              <a:gd name="T99" fmla="*/ 593 h 767"/>
              <a:gd name="T100" fmla="*/ 1680 w 1686"/>
              <a:gd name="T101" fmla="*/ 470 h 767"/>
              <a:gd name="T102" fmla="*/ 1343 w 1686"/>
              <a:gd name="T103" fmla="*/ 307 h 767"/>
              <a:gd name="T104" fmla="*/ 1370 w 1686"/>
              <a:gd name="T105" fmla="*/ 354 h 767"/>
              <a:gd name="T106" fmla="*/ 1289 w 1686"/>
              <a:gd name="T107" fmla="*/ 354 h 767"/>
              <a:gd name="T108" fmla="*/ 1291 w 1686"/>
              <a:gd name="T109" fmla="*/ 254 h 767"/>
              <a:gd name="T110" fmla="*/ 1362 w 1686"/>
              <a:gd name="T111" fmla="*/ 261 h 767"/>
              <a:gd name="T112" fmla="*/ 1383 w 1686"/>
              <a:gd name="T113" fmla="*/ 269 h 7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686" h="767">
                <a:moveTo>
                  <a:pt x="1621" y="459"/>
                </a:moveTo>
                <a:cubicBezTo>
                  <a:pt x="1607" y="461"/>
                  <a:pt x="1591" y="460"/>
                  <a:pt x="1576" y="460"/>
                </a:cubicBezTo>
                <a:cubicBezTo>
                  <a:pt x="1573" y="460"/>
                  <a:pt x="1587" y="438"/>
                  <a:pt x="1589" y="437"/>
                </a:cubicBezTo>
                <a:cubicBezTo>
                  <a:pt x="1596" y="431"/>
                  <a:pt x="1605" y="427"/>
                  <a:pt x="1613" y="423"/>
                </a:cubicBezTo>
                <a:cubicBezTo>
                  <a:pt x="1622" y="419"/>
                  <a:pt x="1631" y="416"/>
                  <a:pt x="1638" y="410"/>
                </a:cubicBezTo>
                <a:cubicBezTo>
                  <a:pt x="1660" y="395"/>
                  <a:pt x="1632" y="378"/>
                  <a:pt x="1619" y="368"/>
                </a:cubicBezTo>
                <a:cubicBezTo>
                  <a:pt x="1602" y="355"/>
                  <a:pt x="1587" y="338"/>
                  <a:pt x="1571" y="322"/>
                </a:cubicBezTo>
                <a:cubicBezTo>
                  <a:pt x="1538" y="290"/>
                  <a:pt x="1506" y="270"/>
                  <a:pt x="1469" y="244"/>
                </a:cubicBezTo>
                <a:cubicBezTo>
                  <a:pt x="1414" y="208"/>
                  <a:pt x="1371" y="183"/>
                  <a:pt x="1307" y="170"/>
                </a:cubicBezTo>
                <a:cubicBezTo>
                  <a:pt x="1256" y="160"/>
                  <a:pt x="1179" y="168"/>
                  <a:pt x="1196" y="236"/>
                </a:cubicBezTo>
                <a:cubicBezTo>
                  <a:pt x="1205" y="269"/>
                  <a:pt x="1205" y="280"/>
                  <a:pt x="1190" y="312"/>
                </a:cubicBezTo>
                <a:cubicBezTo>
                  <a:pt x="1183" y="327"/>
                  <a:pt x="1181" y="336"/>
                  <a:pt x="1182" y="345"/>
                </a:cubicBezTo>
                <a:cubicBezTo>
                  <a:pt x="1167" y="348"/>
                  <a:pt x="1153" y="351"/>
                  <a:pt x="1138" y="352"/>
                </a:cubicBezTo>
                <a:cubicBezTo>
                  <a:pt x="1134" y="353"/>
                  <a:pt x="1129" y="353"/>
                  <a:pt x="1125" y="354"/>
                </a:cubicBezTo>
                <a:cubicBezTo>
                  <a:pt x="1124" y="342"/>
                  <a:pt x="1123" y="330"/>
                  <a:pt x="1122" y="318"/>
                </a:cubicBezTo>
                <a:cubicBezTo>
                  <a:pt x="1119" y="282"/>
                  <a:pt x="1113" y="246"/>
                  <a:pt x="1107" y="210"/>
                </a:cubicBezTo>
                <a:cubicBezTo>
                  <a:pt x="1093" y="140"/>
                  <a:pt x="1072" y="70"/>
                  <a:pt x="1037" y="8"/>
                </a:cubicBezTo>
                <a:cubicBezTo>
                  <a:pt x="1033" y="0"/>
                  <a:pt x="1019" y="4"/>
                  <a:pt x="1022" y="13"/>
                </a:cubicBezTo>
                <a:cubicBezTo>
                  <a:pt x="1040" y="80"/>
                  <a:pt x="1060" y="146"/>
                  <a:pt x="1075" y="213"/>
                </a:cubicBezTo>
                <a:cubicBezTo>
                  <a:pt x="1083" y="247"/>
                  <a:pt x="1089" y="281"/>
                  <a:pt x="1093" y="316"/>
                </a:cubicBezTo>
                <a:cubicBezTo>
                  <a:pt x="1095" y="328"/>
                  <a:pt x="1096" y="340"/>
                  <a:pt x="1097" y="352"/>
                </a:cubicBezTo>
                <a:cubicBezTo>
                  <a:pt x="1095" y="353"/>
                  <a:pt x="1094" y="354"/>
                  <a:pt x="1093" y="356"/>
                </a:cubicBezTo>
                <a:cubicBezTo>
                  <a:pt x="1074" y="357"/>
                  <a:pt x="1055" y="357"/>
                  <a:pt x="1037" y="358"/>
                </a:cubicBezTo>
                <a:cubicBezTo>
                  <a:pt x="1024" y="358"/>
                  <a:pt x="1011" y="358"/>
                  <a:pt x="999" y="358"/>
                </a:cubicBezTo>
                <a:cubicBezTo>
                  <a:pt x="997" y="318"/>
                  <a:pt x="988" y="279"/>
                  <a:pt x="975" y="241"/>
                </a:cubicBezTo>
                <a:cubicBezTo>
                  <a:pt x="967" y="216"/>
                  <a:pt x="959" y="190"/>
                  <a:pt x="949" y="166"/>
                </a:cubicBezTo>
                <a:cubicBezTo>
                  <a:pt x="941" y="142"/>
                  <a:pt x="935" y="118"/>
                  <a:pt x="925" y="96"/>
                </a:cubicBezTo>
                <a:cubicBezTo>
                  <a:pt x="921" y="89"/>
                  <a:pt x="910" y="91"/>
                  <a:pt x="910" y="98"/>
                </a:cubicBezTo>
                <a:cubicBezTo>
                  <a:pt x="911" y="122"/>
                  <a:pt x="918" y="144"/>
                  <a:pt x="924" y="166"/>
                </a:cubicBezTo>
                <a:cubicBezTo>
                  <a:pt x="930" y="190"/>
                  <a:pt x="938" y="214"/>
                  <a:pt x="945" y="238"/>
                </a:cubicBezTo>
                <a:cubicBezTo>
                  <a:pt x="956" y="277"/>
                  <a:pt x="965" y="317"/>
                  <a:pt x="969" y="358"/>
                </a:cubicBezTo>
                <a:cubicBezTo>
                  <a:pt x="935" y="357"/>
                  <a:pt x="901" y="357"/>
                  <a:pt x="867" y="358"/>
                </a:cubicBezTo>
                <a:cubicBezTo>
                  <a:pt x="866" y="352"/>
                  <a:pt x="865" y="348"/>
                  <a:pt x="864" y="343"/>
                </a:cubicBezTo>
                <a:cubicBezTo>
                  <a:pt x="860" y="323"/>
                  <a:pt x="857" y="303"/>
                  <a:pt x="852" y="283"/>
                </a:cubicBezTo>
                <a:cubicBezTo>
                  <a:pt x="844" y="245"/>
                  <a:pt x="832" y="207"/>
                  <a:pt x="810" y="174"/>
                </a:cubicBezTo>
                <a:cubicBezTo>
                  <a:pt x="803" y="164"/>
                  <a:pt x="786" y="172"/>
                  <a:pt x="793" y="183"/>
                </a:cubicBezTo>
                <a:cubicBezTo>
                  <a:pt x="811" y="215"/>
                  <a:pt x="820" y="252"/>
                  <a:pt x="826" y="289"/>
                </a:cubicBezTo>
                <a:cubicBezTo>
                  <a:pt x="829" y="308"/>
                  <a:pt x="832" y="326"/>
                  <a:pt x="835" y="345"/>
                </a:cubicBezTo>
                <a:cubicBezTo>
                  <a:pt x="836" y="349"/>
                  <a:pt x="837" y="354"/>
                  <a:pt x="837" y="358"/>
                </a:cubicBezTo>
                <a:cubicBezTo>
                  <a:pt x="837" y="358"/>
                  <a:pt x="836" y="358"/>
                  <a:pt x="835" y="358"/>
                </a:cubicBezTo>
                <a:cubicBezTo>
                  <a:pt x="833" y="358"/>
                  <a:pt x="831" y="358"/>
                  <a:pt x="830" y="358"/>
                </a:cubicBezTo>
                <a:cubicBezTo>
                  <a:pt x="815" y="359"/>
                  <a:pt x="801" y="360"/>
                  <a:pt x="787" y="361"/>
                </a:cubicBezTo>
                <a:cubicBezTo>
                  <a:pt x="771" y="362"/>
                  <a:pt x="754" y="364"/>
                  <a:pt x="738" y="366"/>
                </a:cubicBezTo>
                <a:cubicBezTo>
                  <a:pt x="737" y="362"/>
                  <a:pt x="737" y="360"/>
                  <a:pt x="737" y="357"/>
                </a:cubicBezTo>
                <a:cubicBezTo>
                  <a:pt x="736" y="344"/>
                  <a:pt x="735" y="332"/>
                  <a:pt x="733" y="319"/>
                </a:cubicBezTo>
                <a:cubicBezTo>
                  <a:pt x="729" y="294"/>
                  <a:pt x="723" y="265"/>
                  <a:pt x="708" y="244"/>
                </a:cubicBezTo>
                <a:cubicBezTo>
                  <a:pt x="701" y="233"/>
                  <a:pt x="680" y="238"/>
                  <a:pt x="685" y="252"/>
                </a:cubicBezTo>
                <a:cubicBezTo>
                  <a:pt x="693" y="276"/>
                  <a:pt x="699" y="298"/>
                  <a:pt x="703" y="322"/>
                </a:cubicBezTo>
                <a:cubicBezTo>
                  <a:pt x="704" y="335"/>
                  <a:pt x="705" y="348"/>
                  <a:pt x="705" y="361"/>
                </a:cubicBezTo>
                <a:cubicBezTo>
                  <a:pt x="705" y="364"/>
                  <a:pt x="705" y="367"/>
                  <a:pt x="705" y="370"/>
                </a:cubicBezTo>
                <a:cubicBezTo>
                  <a:pt x="688" y="372"/>
                  <a:pt x="671" y="374"/>
                  <a:pt x="654" y="376"/>
                </a:cubicBezTo>
                <a:cubicBezTo>
                  <a:pt x="631" y="379"/>
                  <a:pt x="608" y="381"/>
                  <a:pt x="585" y="383"/>
                </a:cubicBezTo>
                <a:cubicBezTo>
                  <a:pt x="587" y="371"/>
                  <a:pt x="583" y="358"/>
                  <a:pt x="579" y="344"/>
                </a:cubicBezTo>
                <a:cubicBezTo>
                  <a:pt x="574" y="327"/>
                  <a:pt x="567" y="305"/>
                  <a:pt x="555" y="292"/>
                </a:cubicBezTo>
                <a:cubicBezTo>
                  <a:pt x="549" y="285"/>
                  <a:pt x="535" y="288"/>
                  <a:pt x="536" y="299"/>
                </a:cubicBezTo>
                <a:cubicBezTo>
                  <a:pt x="537" y="316"/>
                  <a:pt x="545" y="335"/>
                  <a:pt x="549" y="352"/>
                </a:cubicBezTo>
                <a:cubicBezTo>
                  <a:pt x="552" y="363"/>
                  <a:pt x="553" y="375"/>
                  <a:pt x="557" y="385"/>
                </a:cubicBezTo>
                <a:cubicBezTo>
                  <a:pt x="545" y="386"/>
                  <a:pt x="533" y="386"/>
                  <a:pt x="521" y="387"/>
                </a:cubicBezTo>
                <a:cubicBezTo>
                  <a:pt x="491" y="389"/>
                  <a:pt x="462" y="391"/>
                  <a:pt x="433" y="392"/>
                </a:cubicBezTo>
                <a:cubicBezTo>
                  <a:pt x="430" y="381"/>
                  <a:pt x="426" y="370"/>
                  <a:pt x="422" y="360"/>
                </a:cubicBezTo>
                <a:cubicBezTo>
                  <a:pt x="417" y="346"/>
                  <a:pt x="410" y="328"/>
                  <a:pt x="396" y="321"/>
                </a:cubicBezTo>
                <a:cubicBezTo>
                  <a:pt x="391" y="319"/>
                  <a:pt x="387" y="323"/>
                  <a:pt x="386" y="327"/>
                </a:cubicBezTo>
                <a:cubicBezTo>
                  <a:pt x="385" y="335"/>
                  <a:pt x="389" y="340"/>
                  <a:pt x="391" y="348"/>
                </a:cubicBezTo>
                <a:cubicBezTo>
                  <a:pt x="394" y="355"/>
                  <a:pt x="396" y="363"/>
                  <a:pt x="398" y="371"/>
                </a:cubicBezTo>
                <a:cubicBezTo>
                  <a:pt x="400" y="378"/>
                  <a:pt x="401" y="386"/>
                  <a:pt x="403" y="394"/>
                </a:cubicBezTo>
                <a:cubicBezTo>
                  <a:pt x="398" y="394"/>
                  <a:pt x="392" y="394"/>
                  <a:pt x="387" y="394"/>
                </a:cubicBezTo>
                <a:cubicBezTo>
                  <a:pt x="375" y="395"/>
                  <a:pt x="362" y="396"/>
                  <a:pt x="349" y="396"/>
                </a:cubicBezTo>
                <a:cubicBezTo>
                  <a:pt x="317" y="388"/>
                  <a:pt x="286" y="381"/>
                  <a:pt x="260" y="358"/>
                </a:cubicBezTo>
                <a:cubicBezTo>
                  <a:pt x="233" y="334"/>
                  <a:pt x="212" y="305"/>
                  <a:pt x="192" y="275"/>
                </a:cubicBezTo>
                <a:cubicBezTo>
                  <a:pt x="150" y="214"/>
                  <a:pt x="104" y="144"/>
                  <a:pt x="24" y="136"/>
                </a:cubicBezTo>
                <a:cubicBezTo>
                  <a:pt x="10" y="134"/>
                  <a:pt x="0" y="150"/>
                  <a:pt x="3" y="163"/>
                </a:cubicBezTo>
                <a:cubicBezTo>
                  <a:pt x="15" y="213"/>
                  <a:pt x="35" y="260"/>
                  <a:pt x="54" y="307"/>
                </a:cubicBezTo>
                <a:cubicBezTo>
                  <a:pt x="47" y="310"/>
                  <a:pt x="40" y="313"/>
                  <a:pt x="34" y="318"/>
                </a:cubicBezTo>
                <a:cubicBezTo>
                  <a:pt x="21" y="326"/>
                  <a:pt x="19" y="341"/>
                  <a:pt x="29" y="353"/>
                </a:cubicBezTo>
                <a:cubicBezTo>
                  <a:pt x="42" y="368"/>
                  <a:pt x="57" y="381"/>
                  <a:pt x="70" y="396"/>
                </a:cubicBezTo>
                <a:cubicBezTo>
                  <a:pt x="82" y="410"/>
                  <a:pt x="79" y="412"/>
                  <a:pt x="63" y="421"/>
                </a:cubicBezTo>
                <a:cubicBezTo>
                  <a:pt x="50" y="429"/>
                  <a:pt x="49" y="445"/>
                  <a:pt x="58" y="456"/>
                </a:cubicBezTo>
                <a:cubicBezTo>
                  <a:pt x="69" y="469"/>
                  <a:pt x="82" y="479"/>
                  <a:pt x="95" y="490"/>
                </a:cubicBezTo>
                <a:cubicBezTo>
                  <a:pt x="95" y="491"/>
                  <a:pt x="98" y="494"/>
                  <a:pt x="99" y="494"/>
                </a:cubicBezTo>
                <a:cubicBezTo>
                  <a:pt x="99" y="495"/>
                  <a:pt x="99" y="495"/>
                  <a:pt x="99" y="495"/>
                </a:cubicBezTo>
                <a:cubicBezTo>
                  <a:pt x="99" y="495"/>
                  <a:pt x="99" y="496"/>
                  <a:pt x="99" y="496"/>
                </a:cubicBezTo>
                <a:cubicBezTo>
                  <a:pt x="98" y="494"/>
                  <a:pt x="99" y="501"/>
                  <a:pt x="99" y="502"/>
                </a:cubicBezTo>
                <a:cubicBezTo>
                  <a:pt x="99" y="507"/>
                  <a:pt x="97" y="512"/>
                  <a:pt x="95" y="516"/>
                </a:cubicBezTo>
                <a:cubicBezTo>
                  <a:pt x="81" y="565"/>
                  <a:pt x="56" y="612"/>
                  <a:pt x="29" y="654"/>
                </a:cubicBezTo>
                <a:cubicBezTo>
                  <a:pt x="15" y="676"/>
                  <a:pt x="41" y="697"/>
                  <a:pt x="61" y="687"/>
                </a:cubicBezTo>
                <a:cubicBezTo>
                  <a:pt x="67" y="684"/>
                  <a:pt x="73" y="681"/>
                  <a:pt x="79" y="678"/>
                </a:cubicBezTo>
                <a:cubicBezTo>
                  <a:pt x="71" y="698"/>
                  <a:pt x="62" y="716"/>
                  <a:pt x="57" y="737"/>
                </a:cubicBezTo>
                <a:cubicBezTo>
                  <a:pt x="55" y="750"/>
                  <a:pt x="63" y="767"/>
                  <a:pt x="78" y="765"/>
                </a:cubicBezTo>
                <a:cubicBezTo>
                  <a:pt x="146" y="758"/>
                  <a:pt x="194" y="706"/>
                  <a:pt x="226" y="650"/>
                </a:cubicBezTo>
                <a:cubicBezTo>
                  <a:pt x="265" y="583"/>
                  <a:pt x="276" y="505"/>
                  <a:pt x="295" y="430"/>
                </a:cubicBezTo>
                <a:cubicBezTo>
                  <a:pt x="302" y="431"/>
                  <a:pt x="309" y="431"/>
                  <a:pt x="316" y="432"/>
                </a:cubicBezTo>
                <a:cubicBezTo>
                  <a:pt x="339" y="433"/>
                  <a:pt x="361" y="434"/>
                  <a:pt x="383" y="435"/>
                </a:cubicBezTo>
                <a:cubicBezTo>
                  <a:pt x="380" y="449"/>
                  <a:pt x="375" y="463"/>
                  <a:pt x="371" y="477"/>
                </a:cubicBezTo>
                <a:cubicBezTo>
                  <a:pt x="366" y="490"/>
                  <a:pt x="353" y="515"/>
                  <a:pt x="359" y="528"/>
                </a:cubicBezTo>
                <a:cubicBezTo>
                  <a:pt x="361" y="532"/>
                  <a:pt x="365" y="533"/>
                  <a:pt x="369" y="532"/>
                </a:cubicBezTo>
                <a:cubicBezTo>
                  <a:pt x="375" y="528"/>
                  <a:pt x="379" y="521"/>
                  <a:pt x="382" y="515"/>
                </a:cubicBezTo>
                <a:cubicBezTo>
                  <a:pt x="388" y="506"/>
                  <a:pt x="393" y="495"/>
                  <a:pt x="399" y="485"/>
                </a:cubicBezTo>
                <a:cubicBezTo>
                  <a:pt x="407" y="470"/>
                  <a:pt x="413" y="453"/>
                  <a:pt x="417" y="436"/>
                </a:cubicBezTo>
                <a:cubicBezTo>
                  <a:pt x="451" y="436"/>
                  <a:pt x="486" y="437"/>
                  <a:pt x="521" y="436"/>
                </a:cubicBezTo>
                <a:cubicBezTo>
                  <a:pt x="527" y="436"/>
                  <a:pt x="533" y="436"/>
                  <a:pt x="539" y="436"/>
                </a:cubicBezTo>
                <a:cubicBezTo>
                  <a:pt x="539" y="436"/>
                  <a:pt x="539" y="437"/>
                  <a:pt x="538" y="438"/>
                </a:cubicBezTo>
                <a:cubicBezTo>
                  <a:pt x="536" y="450"/>
                  <a:pt x="533" y="463"/>
                  <a:pt x="530" y="475"/>
                </a:cubicBezTo>
                <a:cubicBezTo>
                  <a:pt x="523" y="501"/>
                  <a:pt x="515" y="528"/>
                  <a:pt x="507" y="554"/>
                </a:cubicBezTo>
                <a:cubicBezTo>
                  <a:pt x="504" y="564"/>
                  <a:pt x="518" y="568"/>
                  <a:pt x="523" y="559"/>
                </a:cubicBezTo>
                <a:cubicBezTo>
                  <a:pt x="534" y="534"/>
                  <a:pt x="547" y="510"/>
                  <a:pt x="557" y="483"/>
                </a:cubicBezTo>
                <a:cubicBezTo>
                  <a:pt x="562" y="470"/>
                  <a:pt x="565" y="456"/>
                  <a:pt x="568" y="441"/>
                </a:cubicBezTo>
                <a:cubicBezTo>
                  <a:pt x="568" y="439"/>
                  <a:pt x="569" y="437"/>
                  <a:pt x="569" y="435"/>
                </a:cubicBezTo>
                <a:cubicBezTo>
                  <a:pt x="598" y="434"/>
                  <a:pt x="627" y="433"/>
                  <a:pt x="656" y="431"/>
                </a:cubicBezTo>
                <a:cubicBezTo>
                  <a:pt x="668" y="430"/>
                  <a:pt x="681" y="429"/>
                  <a:pt x="693" y="428"/>
                </a:cubicBezTo>
                <a:cubicBezTo>
                  <a:pt x="693" y="434"/>
                  <a:pt x="693" y="439"/>
                  <a:pt x="692" y="444"/>
                </a:cubicBezTo>
                <a:cubicBezTo>
                  <a:pt x="690" y="462"/>
                  <a:pt x="687" y="480"/>
                  <a:pt x="683" y="497"/>
                </a:cubicBezTo>
                <a:cubicBezTo>
                  <a:pt x="676" y="529"/>
                  <a:pt x="652" y="555"/>
                  <a:pt x="650" y="588"/>
                </a:cubicBezTo>
                <a:cubicBezTo>
                  <a:pt x="650" y="596"/>
                  <a:pt x="661" y="598"/>
                  <a:pt x="663" y="591"/>
                </a:cubicBezTo>
                <a:cubicBezTo>
                  <a:pt x="667" y="574"/>
                  <a:pt x="677" y="561"/>
                  <a:pt x="687" y="548"/>
                </a:cubicBezTo>
                <a:cubicBezTo>
                  <a:pt x="697" y="533"/>
                  <a:pt x="705" y="518"/>
                  <a:pt x="710" y="501"/>
                </a:cubicBezTo>
                <a:cubicBezTo>
                  <a:pt x="715" y="484"/>
                  <a:pt x="718" y="467"/>
                  <a:pt x="721" y="450"/>
                </a:cubicBezTo>
                <a:cubicBezTo>
                  <a:pt x="722" y="442"/>
                  <a:pt x="723" y="433"/>
                  <a:pt x="724" y="424"/>
                </a:cubicBezTo>
                <a:cubicBezTo>
                  <a:pt x="746" y="422"/>
                  <a:pt x="767" y="420"/>
                  <a:pt x="789" y="418"/>
                </a:cubicBezTo>
                <a:cubicBezTo>
                  <a:pt x="801" y="418"/>
                  <a:pt x="812" y="417"/>
                  <a:pt x="823" y="416"/>
                </a:cubicBezTo>
                <a:cubicBezTo>
                  <a:pt x="823" y="418"/>
                  <a:pt x="823" y="420"/>
                  <a:pt x="823" y="422"/>
                </a:cubicBezTo>
                <a:cubicBezTo>
                  <a:pt x="821" y="445"/>
                  <a:pt x="813" y="467"/>
                  <a:pt x="805" y="489"/>
                </a:cubicBezTo>
                <a:cubicBezTo>
                  <a:pt x="797" y="511"/>
                  <a:pt x="788" y="533"/>
                  <a:pt x="780" y="556"/>
                </a:cubicBezTo>
                <a:cubicBezTo>
                  <a:pt x="773" y="575"/>
                  <a:pt x="764" y="594"/>
                  <a:pt x="763" y="615"/>
                </a:cubicBezTo>
                <a:cubicBezTo>
                  <a:pt x="762" y="633"/>
                  <a:pt x="786" y="635"/>
                  <a:pt x="792" y="620"/>
                </a:cubicBezTo>
                <a:cubicBezTo>
                  <a:pt x="810" y="577"/>
                  <a:pt x="828" y="533"/>
                  <a:pt x="843" y="489"/>
                </a:cubicBezTo>
                <a:cubicBezTo>
                  <a:pt x="851" y="465"/>
                  <a:pt x="858" y="441"/>
                  <a:pt x="860" y="416"/>
                </a:cubicBezTo>
                <a:cubicBezTo>
                  <a:pt x="860" y="416"/>
                  <a:pt x="860" y="415"/>
                  <a:pt x="860" y="415"/>
                </a:cubicBezTo>
                <a:cubicBezTo>
                  <a:pt x="899" y="414"/>
                  <a:pt x="939" y="414"/>
                  <a:pt x="978" y="414"/>
                </a:cubicBezTo>
                <a:cubicBezTo>
                  <a:pt x="978" y="422"/>
                  <a:pt x="978" y="428"/>
                  <a:pt x="977" y="435"/>
                </a:cubicBezTo>
                <a:cubicBezTo>
                  <a:pt x="975" y="462"/>
                  <a:pt x="969" y="490"/>
                  <a:pt x="961" y="516"/>
                </a:cubicBezTo>
                <a:cubicBezTo>
                  <a:pt x="947" y="565"/>
                  <a:pt x="924" y="610"/>
                  <a:pt x="900" y="654"/>
                </a:cubicBezTo>
                <a:cubicBezTo>
                  <a:pt x="896" y="661"/>
                  <a:pt x="903" y="670"/>
                  <a:pt x="911" y="666"/>
                </a:cubicBezTo>
                <a:cubicBezTo>
                  <a:pt x="933" y="656"/>
                  <a:pt x="946" y="635"/>
                  <a:pt x="957" y="614"/>
                </a:cubicBezTo>
                <a:cubicBezTo>
                  <a:pt x="973" y="586"/>
                  <a:pt x="984" y="556"/>
                  <a:pt x="994" y="526"/>
                </a:cubicBezTo>
                <a:cubicBezTo>
                  <a:pt x="1003" y="496"/>
                  <a:pt x="1009" y="466"/>
                  <a:pt x="1013" y="436"/>
                </a:cubicBezTo>
                <a:cubicBezTo>
                  <a:pt x="1013" y="430"/>
                  <a:pt x="1014" y="422"/>
                  <a:pt x="1014" y="414"/>
                </a:cubicBezTo>
                <a:cubicBezTo>
                  <a:pt x="1022" y="414"/>
                  <a:pt x="1031" y="414"/>
                  <a:pt x="1039" y="414"/>
                </a:cubicBezTo>
                <a:cubicBezTo>
                  <a:pt x="1054" y="413"/>
                  <a:pt x="1070" y="413"/>
                  <a:pt x="1085" y="412"/>
                </a:cubicBezTo>
                <a:cubicBezTo>
                  <a:pt x="1085" y="425"/>
                  <a:pt x="1084" y="438"/>
                  <a:pt x="1083" y="450"/>
                </a:cubicBezTo>
                <a:cubicBezTo>
                  <a:pt x="1079" y="484"/>
                  <a:pt x="1073" y="518"/>
                  <a:pt x="1065" y="551"/>
                </a:cubicBezTo>
                <a:cubicBezTo>
                  <a:pt x="1049" y="612"/>
                  <a:pt x="1012" y="669"/>
                  <a:pt x="1007" y="733"/>
                </a:cubicBezTo>
                <a:cubicBezTo>
                  <a:pt x="1007" y="742"/>
                  <a:pt x="1019" y="743"/>
                  <a:pt x="1022" y="736"/>
                </a:cubicBezTo>
                <a:cubicBezTo>
                  <a:pt x="1049" y="677"/>
                  <a:pt x="1081" y="618"/>
                  <a:pt x="1101" y="556"/>
                </a:cubicBezTo>
                <a:cubicBezTo>
                  <a:pt x="1111" y="524"/>
                  <a:pt x="1117" y="490"/>
                  <a:pt x="1121" y="456"/>
                </a:cubicBezTo>
                <a:cubicBezTo>
                  <a:pt x="1123" y="443"/>
                  <a:pt x="1124" y="429"/>
                  <a:pt x="1125" y="415"/>
                </a:cubicBezTo>
                <a:cubicBezTo>
                  <a:pt x="1125" y="413"/>
                  <a:pt x="1126" y="411"/>
                  <a:pt x="1127" y="409"/>
                </a:cubicBezTo>
                <a:cubicBezTo>
                  <a:pt x="1131" y="408"/>
                  <a:pt x="1136" y="408"/>
                  <a:pt x="1141" y="407"/>
                </a:cubicBezTo>
                <a:cubicBezTo>
                  <a:pt x="1157" y="405"/>
                  <a:pt x="1175" y="402"/>
                  <a:pt x="1191" y="399"/>
                </a:cubicBezTo>
                <a:cubicBezTo>
                  <a:pt x="1193" y="398"/>
                  <a:pt x="1196" y="398"/>
                  <a:pt x="1199" y="397"/>
                </a:cubicBezTo>
                <a:cubicBezTo>
                  <a:pt x="1206" y="456"/>
                  <a:pt x="1156" y="550"/>
                  <a:pt x="1216" y="593"/>
                </a:cubicBezTo>
                <a:cubicBezTo>
                  <a:pt x="1271" y="632"/>
                  <a:pt x="1377" y="566"/>
                  <a:pt x="1431" y="554"/>
                </a:cubicBezTo>
                <a:cubicBezTo>
                  <a:pt x="1493" y="539"/>
                  <a:pt x="1557" y="527"/>
                  <a:pt x="1617" y="506"/>
                </a:cubicBezTo>
                <a:cubicBezTo>
                  <a:pt x="1631" y="501"/>
                  <a:pt x="1676" y="488"/>
                  <a:pt x="1680" y="470"/>
                </a:cubicBezTo>
                <a:cubicBezTo>
                  <a:pt x="1686" y="440"/>
                  <a:pt x="1637" y="458"/>
                  <a:pt x="1621" y="459"/>
                </a:cubicBezTo>
                <a:close/>
                <a:moveTo>
                  <a:pt x="1383" y="269"/>
                </a:moveTo>
                <a:cubicBezTo>
                  <a:pt x="1372" y="283"/>
                  <a:pt x="1357" y="295"/>
                  <a:pt x="1343" y="307"/>
                </a:cubicBezTo>
                <a:cubicBezTo>
                  <a:pt x="1342" y="308"/>
                  <a:pt x="1342" y="308"/>
                  <a:pt x="1342" y="308"/>
                </a:cubicBezTo>
                <a:cubicBezTo>
                  <a:pt x="1342" y="308"/>
                  <a:pt x="1342" y="308"/>
                  <a:pt x="1342" y="308"/>
                </a:cubicBezTo>
                <a:cubicBezTo>
                  <a:pt x="1349" y="324"/>
                  <a:pt x="1356" y="342"/>
                  <a:pt x="1370" y="354"/>
                </a:cubicBezTo>
                <a:cubicBezTo>
                  <a:pt x="1380" y="362"/>
                  <a:pt x="1365" y="376"/>
                  <a:pt x="1355" y="368"/>
                </a:cubicBezTo>
                <a:cubicBezTo>
                  <a:pt x="1341" y="356"/>
                  <a:pt x="1334" y="338"/>
                  <a:pt x="1326" y="322"/>
                </a:cubicBezTo>
                <a:cubicBezTo>
                  <a:pt x="1289" y="354"/>
                  <a:pt x="1289" y="354"/>
                  <a:pt x="1289" y="354"/>
                </a:cubicBezTo>
                <a:cubicBezTo>
                  <a:pt x="1279" y="362"/>
                  <a:pt x="1265" y="348"/>
                  <a:pt x="1275" y="340"/>
                </a:cubicBezTo>
                <a:cubicBezTo>
                  <a:pt x="1288" y="328"/>
                  <a:pt x="1302" y="316"/>
                  <a:pt x="1316" y="304"/>
                </a:cubicBezTo>
                <a:cubicBezTo>
                  <a:pt x="1307" y="288"/>
                  <a:pt x="1296" y="272"/>
                  <a:pt x="1291" y="254"/>
                </a:cubicBezTo>
                <a:cubicBezTo>
                  <a:pt x="1287" y="242"/>
                  <a:pt x="1307" y="237"/>
                  <a:pt x="1310" y="249"/>
                </a:cubicBezTo>
                <a:cubicBezTo>
                  <a:pt x="1315" y="264"/>
                  <a:pt x="1323" y="277"/>
                  <a:pt x="1331" y="290"/>
                </a:cubicBezTo>
                <a:cubicBezTo>
                  <a:pt x="1341" y="281"/>
                  <a:pt x="1353" y="272"/>
                  <a:pt x="1362" y="261"/>
                </a:cubicBezTo>
                <a:cubicBezTo>
                  <a:pt x="1362" y="256"/>
                  <a:pt x="1365" y="251"/>
                  <a:pt x="1372" y="251"/>
                </a:cubicBezTo>
                <a:cubicBezTo>
                  <a:pt x="1376" y="252"/>
                  <a:pt x="1379" y="252"/>
                  <a:pt x="1382" y="255"/>
                </a:cubicBezTo>
                <a:cubicBezTo>
                  <a:pt x="1387" y="259"/>
                  <a:pt x="1386" y="265"/>
                  <a:pt x="1383" y="269"/>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cs typeface="+mn-cs"/>
            </a:endParaRPr>
          </a:p>
        </p:txBody>
      </p:sp>
    </p:spTree>
    <p:extLst>
      <p:ext uri="{BB962C8B-B14F-4D97-AF65-F5344CB8AC3E}">
        <p14:creationId xmlns:p14="http://schemas.microsoft.com/office/powerpoint/2010/main" val="2702212658"/>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7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gaoding-1">
            <a:extLst>
              <a:ext uri="{FF2B5EF4-FFF2-40B4-BE49-F238E27FC236}">
                <a16:creationId xmlns:a16="http://schemas.microsoft.com/office/drawing/2014/main" id="{7BCA645B-8DA6-82AB-089B-B20B60BE5E64}"/>
              </a:ext>
            </a:extLst>
          </p:cNvPr>
          <p:cNvSpPr txBox="1"/>
          <p:nvPr/>
        </p:nvSpPr>
        <p:spPr>
          <a:xfrm>
            <a:off x="947473" y="557439"/>
            <a:ext cx="1676356" cy="707886"/>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4000" b="1" i="0" u="none" strike="noStrike" kern="1200" cap="none" spc="0" normalizeH="0" baseline="0" noProof="0" dirty="0" err="1">
                <a:ln>
                  <a:noFill/>
                </a:ln>
                <a:solidFill>
                  <a:srgbClr val="2254F4"/>
                </a:solidFill>
                <a:effectLst/>
                <a:uLnTx/>
                <a:uFillTx/>
                <a:latin typeface="微软雅黑"/>
                <a:ea typeface="微软雅黑"/>
                <a:cs typeface="+mn-ea"/>
                <a:sym typeface="+mn-lt"/>
              </a:rPr>
              <a:t>Qiuye</a:t>
            </a:r>
            <a:endParaRPr kumimoji="0" lang="zh-CN" altLang="en-US" sz="4000" b="1" i="0" u="none" strike="noStrike" kern="1200" cap="none" spc="0" normalizeH="0" baseline="0" noProof="0" dirty="0">
              <a:ln>
                <a:noFill/>
              </a:ln>
              <a:solidFill>
                <a:srgbClr val="000000">
                  <a:lumMod val="85000"/>
                  <a:lumOff val="15000"/>
                </a:srgbClr>
              </a:solidFill>
              <a:effectLst/>
              <a:uLnTx/>
              <a:uFillTx/>
              <a:latin typeface="微软雅黑"/>
              <a:ea typeface="微软雅黑"/>
              <a:cs typeface="+mn-ea"/>
              <a:sym typeface="+mn-lt"/>
            </a:endParaRPr>
          </a:p>
        </p:txBody>
      </p:sp>
      <p:sp>
        <p:nvSpPr>
          <p:cNvPr id="120" name="gaoding-2">
            <a:extLst>
              <a:ext uri="{FF2B5EF4-FFF2-40B4-BE49-F238E27FC236}">
                <a16:creationId xmlns:a16="http://schemas.microsoft.com/office/drawing/2014/main" id="{70314A93-B365-DE78-F977-69C669E803E3}"/>
              </a:ext>
            </a:extLst>
          </p:cNvPr>
          <p:cNvSpPr txBox="1"/>
          <p:nvPr/>
        </p:nvSpPr>
        <p:spPr>
          <a:xfrm>
            <a:off x="596864" y="1124706"/>
            <a:ext cx="5102359" cy="707886"/>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4000" b="1" i="0" u="none" strike="noStrike" kern="1200" cap="none" spc="0" normalizeH="0" baseline="0" noProof="0" dirty="0" err="1">
                <a:ln>
                  <a:noFill/>
                </a:ln>
                <a:solidFill>
                  <a:srgbClr val="000000">
                    <a:lumMod val="85000"/>
                    <a:lumOff val="15000"/>
                  </a:srgbClr>
                </a:solidFill>
                <a:effectLst/>
                <a:uLnTx/>
                <a:uFillTx/>
                <a:latin typeface="微软雅黑"/>
                <a:ea typeface="微软雅黑"/>
                <a:cs typeface="+mn-ea"/>
                <a:sym typeface="+mn-lt"/>
              </a:rPr>
              <a:t>Powerpoint</a:t>
            </a:r>
            <a:r>
              <a:rPr kumimoji="0" lang="en-US" altLang="zh-CN" sz="4000" b="1" i="0" u="none" strike="noStrike" kern="1200" cap="none" spc="0" normalizeH="0" baseline="0" noProof="0" dirty="0">
                <a:ln>
                  <a:noFill/>
                </a:ln>
                <a:solidFill>
                  <a:srgbClr val="000000">
                    <a:lumMod val="85000"/>
                    <a:lumOff val="15000"/>
                  </a:srgbClr>
                </a:solidFill>
                <a:effectLst/>
                <a:uLnTx/>
                <a:uFillTx/>
                <a:latin typeface="微软雅黑"/>
                <a:ea typeface="微软雅黑"/>
                <a:cs typeface="+mn-ea"/>
                <a:sym typeface="+mn-lt"/>
              </a:rPr>
              <a:t> Design</a:t>
            </a:r>
            <a:endParaRPr kumimoji="0" lang="zh-CN" altLang="en-US" sz="4000" b="1" i="0" u="none" strike="noStrike" kern="1200" cap="none" spc="0" normalizeH="0" baseline="0" noProof="0" dirty="0">
              <a:ln>
                <a:noFill/>
              </a:ln>
              <a:solidFill>
                <a:srgbClr val="000000">
                  <a:lumMod val="85000"/>
                  <a:lumOff val="15000"/>
                </a:srgbClr>
              </a:solidFill>
              <a:effectLst/>
              <a:uLnTx/>
              <a:uFillTx/>
              <a:latin typeface="微软雅黑"/>
              <a:ea typeface="微软雅黑"/>
              <a:cs typeface="+mn-ea"/>
              <a:sym typeface="+mn-lt"/>
            </a:endParaRPr>
          </a:p>
        </p:txBody>
      </p:sp>
      <p:sp>
        <p:nvSpPr>
          <p:cNvPr id="138" name="gaoding-3">
            <a:extLst>
              <a:ext uri="{FF2B5EF4-FFF2-40B4-BE49-F238E27FC236}">
                <a16:creationId xmlns:a16="http://schemas.microsoft.com/office/drawing/2014/main" id="{A190FAB4-F359-38E8-C8BB-03F682739C8F}"/>
              </a:ext>
            </a:extLst>
          </p:cNvPr>
          <p:cNvSpPr/>
          <p:nvPr/>
        </p:nvSpPr>
        <p:spPr>
          <a:xfrm>
            <a:off x="2624497" y="2536635"/>
            <a:ext cx="2488776" cy="2488774"/>
          </a:xfrm>
          <a:custGeom>
            <a:avLst/>
            <a:gdLst>
              <a:gd name="connsiteX0" fmla="*/ 2351135 w 2351134"/>
              <a:gd name="connsiteY0" fmla="*/ 1175567 h 2351134"/>
              <a:gd name="connsiteX1" fmla="*/ 1175568 w 2351134"/>
              <a:gd name="connsiteY1" fmla="*/ 2351135 h 2351134"/>
              <a:gd name="connsiteX2" fmla="*/ 0 w 2351134"/>
              <a:gd name="connsiteY2" fmla="*/ 1175567 h 2351134"/>
              <a:gd name="connsiteX3" fmla="*/ 1175568 w 2351134"/>
              <a:gd name="connsiteY3" fmla="*/ 0 h 2351134"/>
              <a:gd name="connsiteX4" fmla="*/ 2351135 w 2351134"/>
              <a:gd name="connsiteY4" fmla="*/ 1175567 h 23511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51134" h="2351134">
                <a:moveTo>
                  <a:pt x="2351135" y="1175567"/>
                </a:moveTo>
                <a:cubicBezTo>
                  <a:pt x="2351135" y="1824815"/>
                  <a:pt x="1824816" y="2351135"/>
                  <a:pt x="1175568" y="2351135"/>
                </a:cubicBezTo>
                <a:cubicBezTo>
                  <a:pt x="526320" y="2351135"/>
                  <a:pt x="0" y="1824815"/>
                  <a:pt x="0" y="1175567"/>
                </a:cubicBezTo>
                <a:cubicBezTo>
                  <a:pt x="0" y="526319"/>
                  <a:pt x="526320" y="0"/>
                  <a:pt x="1175568" y="0"/>
                </a:cubicBezTo>
                <a:cubicBezTo>
                  <a:pt x="1824816" y="0"/>
                  <a:pt x="2351135" y="526319"/>
                  <a:pt x="2351135" y="1175567"/>
                </a:cubicBezTo>
                <a:close/>
              </a:path>
            </a:pathLst>
          </a:custGeom>
          <a:solidFill>
            <a:srgbClr val="FFFFFF"/>
          </a:solidFill>
          <a:ln w="17650" cap="flat">
            <a:noFill/>
            <a:prstDash val="solid"/>
            <a:miter/>
          </a:ln>
          <a:effectLst>
            <a:outerShdw blurRad="698500" sx="99000" sy="99000" algn="ctr" rotWithShape="0">
              <a:schemeClr val="accent1">
                <a:alpha val="20000"/>
              </a:schemeClr>
            </a:outerShdw>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POSans R" panose="00020600040101010101" pitchFamily="18" charset="-122"/>
              <a:ea typeface="微软雅黑"/>
              <a:cs typeface="+mn-cs"/>
            </a:endParaRPr>
          </a:p>
        </p:txBody>
      </p:sp>
      <p:sp>
        <p:nvSpPr>
          <p:cNvPr id="139" name="gaoding-4">
            <a:extLst>
              <a:ext uri="{FF2B5EF4-FFF2-40B4-BE49-F238E27FC236}">
                <a16:creationId xmlns:a16="http://schemas.microsoft.com/office/drawing/2014/main" id="{7B41921E-1CEB-5817-A537-8F015AA69168}"/>
              </a:ext>
            </a:extLst>
          </p:cNvPr>
          <p:cNvSpPr/>
          <p:nvPr/>
        </p:nvSpPr>
        <p:spPr>
          <a:xfrm>
            <a:off x="6054465" y="1518637"/>
            <a:ext cx="1053475" cy="1053475"/>
          </a:xfrm>
          <a:custGeom>
            <a:avLst/>
            <a:gdLst>
              <a:gd name="connsiteX0" fmla="*/ 919977 w 919977"/>
              <a:gd name="connsiteY0" fmla="*/ 459989 h 919977"/>
              <a:gd name="connsiteX1" fmla="*/ 459989 w 919977"/>
              <a:gd name="connsiteY1" fmla="*/ 919977 h 919977"/>
              <a:gd name="connsiteX2" fmla="*/ 0 w 919977"/>
              <a:gd name="connsiteY2" fmla="*/ 459989 h 919977"/>
              <a:gd name="connsiteX3" fmla="*/ 459989 w 919977"/>
              <a:gd name="connsiteY3" fmla="*/ 0 h 919977"/>
              <a:gd name="connsiteX4" fmla="*/ 919977 w 919977"/>
              <a:gd name="connsiteY4" fmla="*/ 459989 h 9199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9977" h="919977">
                <a:moveTo>
                  <a:pt x="919977" y="459989"/>
                </a:moveTo>
                <a:cubicBezTo>
                  <a:pt x="919977" y="714033"/>
                  <a:pt x="714033" y="919977"/>
                  <a:pt x="459989" y="919977"/>
                </a:cubicBezTo>
                <a:cubicBezTo>
                  <a:pt x="205944" y="919977"/>
                  <a:pt x="0" y="714033"/>
                  <a:pt x="0" y="459989"/>
                </a:cubicBezTo>
                <a:cubicBezTo>
                  <a:pt x="0" y="205944"/>
                  <a:pt x="205944" y="0"/>
                  <a:pt x="459989" y="0"/>
                </a:cubicBezTo>
                <a:cubicBezTo>
                  <a:pt x="714033" y="0"/>
                  <a:pt x="919977" y="205944"/>
                  <a:pt x="919977" y="459989"/>
                </a:cubicBezTo>
                <a:close/>
              </a:path>
            </a:pathLst>
          </a:custGeom>
          <a:solidFill>
            <a:schemeClr val="accent1"/>
          </a:solidFill>
          <a:ln w="38100" cap="sq" cmpd="sng">
            <a:solidFill>
              <a:schemeClr val="bg1"/>
            </a:solidFill>
            <a:prstDash val="solid"/>
            <a:miter lim="800000"/>
          </a:ln>
          <a:effectLst>
            <a:outerShdw blurRad="787400" dist="431800" dir="2700000" sx="98000" sy="98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noAutofit/>
          </a:bodyPr>
          <a:lstStyle/>
          <a:p>
            <a:pPr marL="0" marR="0" lvl="0" indent="0" algn="ctr" defTabSz="914400" rtl="0" eaLnBrk="1" fontAlgn="auto" latinLnBrk="0" hangingPunct="1">
              <a:lnSpc>
                <a:spcPct val="100000"/>
              </a:lnSpc>
              <a:spcBef>
                <a:spcPts val="1000"/>
              </a:spcBef>
              <a:spcAft>
                <a:spcPts val="0"/>
              </a:spcAft>
              <a:buClrTx/>
              <a:buSzTx/>
              <a:buFontTx/>
              <a:buNone/>
              <a:tabLst/>
              <a:defRPr/>
            </a:pPr>
            <a:r>
              <a:rPr kumimoji="0" lang="en-US" sz="3200" b="0" i="0" u="none" strike="noStrike" kern="1200" cap="none" spc="0" normalizeH="0" baseline="0" noProof="0" dirty="0">
                <a:ln>
                  <a:noFill/>
                </a:ln>
                <a:solidFill>
                  <a:srgbClr val="FFFFFF"/>
                </a:solidFill>
                <a:effectLst/>
                <a:uLnTx/>
                <a:uFillTx/>
                <a:latin typeface="OPPOSans R" panose="00020600040101010101" pitchFamily="18" charset="-122"/>
                <a:ea typeface="微软雅黑"/>
                <a:cs typeface="+mn-cs"/>
              </a:rPr>
              <a:t>01</a:t>
            </a:r>
          </a:p>
        </p:txBody>
      </p:sp>
      <p:sp>
        <p:nvSpPr>
          <p:cNvPr id="140" name="gaoding-5">
            <a:extLst>
              <a:ext uri="{FF2B5EF4-FFF2-40B4-BE49-F238E27FC236}">
                <a16:creationId xmlns:a16="http://schemas.microsoft.com/office/drawing/2014/main" id="{2C493CDD-4A9F-4200-0FD9-268038394ACB}"/>
              </a:ext>
            </a:extLst>
          </p:cNvPr>
          <p:cNvSpPr/>
          <p:nvPr/>
        </p:nvSpPr>
        <p:spPr>
          <a:xfrm rot="16746489">
            <a:off x="5539062" y="2296966"/>
            <a:ext cx="384330" cy="384330"/>
          </a:xfrm>
          <a:custGeom>
            <a:avLst/>
            <a:gdLst>
              <a:gd name="connsiteX0" fmla="*/ 335627 w 335627"/>
              <a:gd name="connsiteY0" fmla="*/ 167814 h 335627"/>
              <a:gd name="connsiteX1" fmla="*/ 167814 w 335627"/>
              <a:gd name="connsiteY1" fmla="*/ 335627 h 335627"/>
              <a:gd name="connsiteX2" fmla="*/ 0 w 335627"/>
              <a:gd name="connsiteY2" fmla="*/ 167814 h 335627"/>
              <a:gd name="connsiteX3" fmla="*/ 167814 w 335627"/>
              <a:gd name="connsiteY3" fmla="*/ 0 h 335627"/>
              <a:gd name="connsiteX4" fmla="*/ 335627 w 335627"/>
              <a:gd name="connsiteY4" fmla="*/ 167814 h 3356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5627" h="335627">
                <a:moveTo>
                  <a:pt x="335627" y="167814"/>
                </a:moveTo>
                <a:cubicBezTo>
                  <a:pt x="335627" y="260494"/>
                  <a:pt x="260494" y="335627"/>
                  <a:pt x="167814" y="335627"/>
                </a:cubicBezTo>
                <a:cubicBezTo>
                  <a:pt x="75133" y="335627"/>
                  <a:pt x="0" y="260494"/>
                  <a:pt x="0" y="167814"/>
                </a:cubicBezTo>
                <a:cubicBezTo>
                  <a:pt x="0" y="75133"/>
                  <a:pt x="75133" y="0"/>
                  <a:pt x="167814" y="0"/>
                </a:cubicBezTo>
                <a:cubicBezTo>
                  <a:pt x="260494" y="0"/>
                  <a:pt x="335627" y="75133"/>
                  <a:pt x="335627" y="167814"/>
                </a:cubicBezTo>
                <a:close/>
              </a:path>
            </a:pathLst>
          </a:custGeom>
          <a:solidFill>
            <a:schemeClr val="accent1"/>
          </a:solidFill>
          <a:ln w="176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POSans R" panose="00020600040101010101" pitchFamily="18" charset="-122"/>
              <a:ea typeface="微软雅黑"/>
              <a:cs typeface="+mn-cs"/>
            </a:endParaRPr>
          </a:p>
        </p:txBody>
      </p:sp>
      <p:sp>
        <p:nvSpPr>
          <p:cNvPr id="141" name="gaoding-6">
            <a:extLst>
              <a:ext uri="{FF2B5EF4-FFF2-40B4-BE49-F238E27FC236}">
                <a16:creationId xmlns:a16="http://schemas.microsoft.com/office/drawing/2014/main" id="{2EF38E5D-1531-283B-BCBB-578689FB87E4}"/>
              </a:ext>
            </a:extLst>
          </p:cNvPr>
          <p:cNvSpPr/>
          <p:nvPr/>
        </p:nvSpPr>
        <p:spPr>
          <a:xfrm>
            <a:off x="5508542" y="2266574"/>
            <a:ext cx="445009" cy="445009"/>
          </a:xfrm>
          <a:custGeom>
            <a:avLst/>
            <a:gdLst>
              <a:gd name="connsiteX0" fmla="*/ 194309 w 388617"/>
              <a:gd name="connsiteY0" fmla="*/ 388617 h 388617"/>
              <a:gd name="connsiteX1" fmla="*/ 0 w 388617"/>
              <a:gd name="connsiteY1" fmla="*/ 194309 h 388617"/>
              <a:gd name="connsiteX2" fmla="*/ 194309 w 388617"/>
              <a:gd name="connsiteY2" fmla="*/ 0 h 388617"/>
              <a:gd name="connsiteX3" fmla="*/ 388617 w 388617"/>
              <a:gd name="connsiteY3" fmla="*/ 194309 h 388617"/>
              <a:gd name="connsiteX4" fmla="*/ 194309 w 388617"/>
              <a:gd name="connsiteY4" fmla="*/ 388617 h 388617"/>
              <a:gd name="connsiteX5" fmla="*/ 194309 w 388617"/>
              <a:gd name="connsiteY5" fmla="*/ 52993 h 388617"/>
              <a:gd name="connsiteX6" fmla="*/ 52993 w 388617"/>
              <a:gd name="connsiteY6" fmla="*/ 194309 h 388617"/>
              <a:gd name="connsiteX7" fmla="*/ 194309 w 388617"/>
              <a:gd name="connsiteY7" fmla="*/ 335624 h 388617"/>
              <a:gd name="connsiteX8" fmla="*/ 335624 w 388617"/>
              <a:gd name="connsiteY8" fmla="*/ 194309 h 388617"/>
              <a:gd name="connsiteX9" fmla="*/ 194309 w 388617"/>
              <a:gd name="connsiteY9" fmla="*/ 52993 h 3886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88617" h="388617">
                <a:moveTo>
                  <a:pt x="194309" y="388617"/>
                </a:moveTo>
                <a:cubicBezTo>
                  <a:pt x="87085" y="388617"/>
                  <a:pt x="0" y="301355"/>
                  <a:pt x="0" y="194309"/>
                </a:cubicBezTo>
                <a:cubicBezTo>
                  <a:pt x="0" y="87086"/>
                  <a:pt x="87262" y="0"/>
                  <a:pt x="194309" y="0"/>
                </a:cubicBezTo>
                <a:cubicBezTo>
                  <a:pt x="301532" y="0"/>
                  <a:pt x="388617" y="87262"/>
                  <a:pt x="388617" y="194309"/>
                </a:cubicBezTo>
                <a:cubicBezTo>
                  <a:pt x="388617" y="301532"/>
                  <a:pt x="301532" y="388617"/>
                  <a:pt x="194309" y="388617"/>
                </a:cubicBezTo>
                <a:close/>
                <a:moveTo>
                  <a:pt x="194309" y="52993"/>
                </a:moveTo>
                <a:cubicBezTo>
                  <a:pt x="116409" y="52993"/>
                  <a:pt x="52993" y="116409"/>
                  <a:pt x="52993" y="194309"/>
                </a:cubicBezTo>
                <a:cubicBezTo>
                  <a:pt x="52993" y="272209"/>
                  <a:pt x="116409" y="335624"/>
                  <a:pt x="194309" y="335624"/>
                </a:cubicBezTo>
                <a:cubicBezTo>
                  <a:pt x="272209" y="335624"/>
                  <a:pt x="335624" y="272209"/>
                  <a:pt x="335624" y="194309"/>
                </a:cubicBezTo>
                <a:cubicBezTo>
                  <a:pt x="335624" y="116409"/>
                  <a:pt x="272209" y="52993"/>
                  <a:pt x="194309" y="52993"/>
                </a:cubicBezTo>
                <a:close/>
              </a:path>
            </a:pathLst>
          </a:custGeom>
          <a:solidFill>
            <a:srgbClr val="FFFFFF"/>
          </a:solidFill>
          <a:ln w="176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POSans R" panose="00020600040101010101" pitchFamily="18" charset="-122"/>
              <a:ea typeface="微软雅黑"/>
              <a:cs typeface="+mn-cs"/>
            </a:endParaRPr>
          </a:p>
        </p:txBody>
      </p:sp>
      <p:sp>
        <p:nvSpPr>
          <p:cNvPr id="142" name="gaoding-7">
            <a:extLst>
              <a:ext uri="{FF2B5EF4-FFF2-40B4-BE49-F238E27FC236}">
                <a16:creationId xmlns:a16="http://schemas.microsoft.com/office/drawing/2014/main" id="{29811EC5-DFC6-8511-D966-EF56F4FEED58}"/>
              </a:ext>
            </a:extLst>
          </p:cNvPr>
          <p:cNvSpPr/>
          <p:nvPr/>
        </p:nvSpPr>
        <p:spPr>
          <a:xfrm>
            <a:off x="6054329" y="4901718"/>
            <a:ext cx="1053437" cy="1053437"/>
          </a:xfrm>
          <a:custGeom>
            <a:avLst/>
            <a:gdLst>
              <a:gd name="connsiteX0" fmla="*/ 919944 w 919944"/>
              <a:gd name="connsiteY0" fmla="*/ 459972 h 919944"/>
              <a:gd name="connsiteX1" fmla="*/ 459972 w 919944"/>
              <a:gd name="connsiteY1" fmla="*/ 919944 h 919944"/>
              <a:gd name="connsiteX2" fmla="*/ 0 w 919944"/>
              <a:gd name="connsiteY2" fmla="*/ 459972 h 919944"/>
              <a:gd name="connsiteX3" fmla="*/ 459972 w 919944"/>
              <a:gd name="connsiteY3" fmla="*/ 0 h 919944"/>
              <a:gd name="connsiteX4" fmla="*/ 919944 w 919944"/>
              <a:gd name="connsiteY4" fmla="*/ 459972 h 9199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9944" h="919944">
                <a:moveTo>
                  <a:pt x="919944" y="459972"/>
                </a:moveTo>
                <a:cubicBezTo>
                  <a:pt x="919944" y="714008"/>
                  <a:pt x="714008" y="919944"/>
                  <a:pt x="459972" y="919944"/>
                </a:cubicBezTo>
                <a:cubicBezTo>
                  <a:pt x="205936" y="919944"/>
                  <a:pt x="0" y="714008"/>
                  <a:pt x="0" y="459972"/>
                </a:cubicBezTo>
                <a:cubicBezTo>
                  <a:pt x="0" y="205936"/>
                  <a:pt x="205937" y="0"/>
                  <a:pt x="459972" y="0"/>
                </a:cubicBezTo>
                <a:cubicBezTo>
                  <a:pt x="714008" y="0"/>
                  <a:pt x="919944" y="205937"/>
                  <a:pt x="919944" y="459972"/>
                </a:cubicBezTo>
                <a:close/>
              </a:path>
            </a:pathLst>
          </a:custGeom>
          <a:solidFill>
            <a:schemeClr val="accent3"/>
          </a:solidFill>
          <a:ln w="38100" cap="sq" cmpd="sng">
            <a:solidFill>
              <a:schemeClr val="bg1"/>
            </a:solidFill>
            <a:prstDash val="solid"/>
            <a:miter lim="800000"/>
          </a:ln>
          <a:effectLst>
            <a:outerShdw blurRad="787400" dist="431800" dir="2700000" sx="98000" sy="98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noAutofit/>
          </a:bodyPr>
          <a:lstStyle/>
          <a:p>
            <a:pPr marL="0" marR="0" lvl="0" indent="0" algn="ctr" defTabSz="914400" rtl="0" eaLnBrk="1" fontAlgn="auto" latinLnBrk="0" hangingPunct="1">
              <a:lnSpc>
                <a:spcPct val="100000"/>
              </a:lnSpc>
              <a:spcBef>
                <a:spcPts val="1000"/>
              </a:spcBef>
              <a:spcAft>
                <a:spcPts val="0"/>
              </a:spcAft>
              <a:buClrTx/>
              <a:buSzTx/>
              <a:buFontTx/>
              <a:buNone/>
              <a:tabLst/>
              <a:defRPr/>
            </a:pPr>
            <a:r>
              <a:rPr kumimoji="0" lang="en-US" sz="3200" b="0" i="0" u="none" strike="noStrike" kern="1200" cap="none" spc="0" normalizeH="0" baseline="0" noProof="0" dirty="0">
                <a:ln>
                  <a:noFill/>
                </a:ln>
                <a:solidFill>
                  <a:srgbClr val="FFFFFF"/>
                </a:solidFill>
                <a:effectLst/>
                <a:uLnTx/>
                <a:uFillTx/>
                <a:latin typeface="OPPOSans R" panose="00020600040101010101" pitchFamily="18" charset="-122"/>
                <a:ea typeface="微软雅黑"/>
                <a:cs typeface="+mn-cs"/>
              </a:rPr>
              <a:t>03</a:t>
            </a:r>
          </a:p>
        </p:txBody>
      </p:sp>
      <p:sp>
        <p:nvSpPr>
          <p:cNvPr id="143" name="gaoding-8">
            <a:extLst>
              <a:ext uri="{FF2B5EF4-FFF2-40B4-BE49-F238E27FC236}">
                <a16:creationId xmlns:a16="http://schemas.microsoft.com/office/drawing/2014/main" id="{2F0C5544-7B0E-C664-2440-53854F1096A8}"/>
              </a:ext>
            </a:extLst>
          </p:cNvPr>
          <p:cNvSpPr/>
          <p:nvPr/>
        </p:nvSpPr>
        <p:spPr>
          <a:xfrm rot="20258145">
            <a:off x="5527845" y="4769668"/>
            <a:ext cx="384333" cy="384332"/>
          </a:xfrm>
          <a:custGeom>
            <a:avLst/>
            <a:gdLst>
              <a:gd name="connsiteX0" fmla="*/ 335630 w 335630"/>
              <a:gd name="connsiteY0" fmla="*/ 167815 h 335629"/>
              <a:gd name="connsiteX1" fmla="*/ 167815 w 335630"/>
              <a:gd name="connsiteY1" fmla="*/ 335630 h 335629"/>
              <a:gd name="connsiteX2" fmla="*/ 0 w 335630"/>
              <a:gd name="connsiteY2" fmla="*/ 167815 h 335629"/>
              <a:gd name="connsiteX3" fmla="*/ 167815 w 335630"/>
              <a:gd name="connsiteY3" fmla="*/ 0 h 335629"/>
              <a:gd name="connsiteX4" fmla="*/ 335630 w 335630"/>
              <a:gd name="connsiteY4" fmla="*/ 167815 h 3356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5630" h="335629">
                <a:moveTo>
                  <a:pt x="335630" y="167815"/>
                </a:moveTo>
                <a:cubicBezTo>
                  <a:pt x="335630" y="260497"/>
                  <a:pt x="260497" y="335630"/>
                  <a:pt x="167815" y="335630"/>
                </a:cubicBezTo>
                <a:cubicBezTo>
                  <a:pt x="75133" y="335630"/>
                  <a:pt x="0" y="260497"/>
                  <a:pt x="0" y="167815"/>
                </a:cubicBezTo>
                <a:cubicBezTo>
                  <a:pt x="0" y="75133"/>
                  <a:pt x="75133" y="0"/>
                  <a:pt x="167815" y="0"/>
                </a:cubicBezTo>
                <a:cubicBezTo>
                  <a:pt x="260497" y="0"/>
                  <a:pt x="335630" y="75133"/>
                  <a:pt x="335630" y="167815"/>
                </a:cubicBezTo>
                <a:close/>
              </a:path>
            </a:pathLst>
          </a:custGeom>
          <a:solidFill>
            <a:schemeClr val="accent3"/>
          </a:solidFill>
          <a:ln w="176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POSans R" panose="00020600040101010101" pitchFamily="18" charset="-122"/>
              <a:ea typeface="微软雅黑"/>
              <a:cs typeface="+mn-cs"/>
            </a:endParaRPr>
          </a:p>
        </p:txBody>
      </p:sp>
      <p:sp>
        <p:nvSpPr>
          <p:cNvPr id="144" name="gaoding-9">
            <a:extLst>
              <a:ext uri="{FF2B5EF4-FFF2-40B4-BE49-F238E27FC236}">
                <a16:creationId xmlns:a16="http://schemas.microsoft.com/office/drawing/2014/main" id="{9EB03AF0-AA8F-9D2D-3319-B695C1ED8A44}"/>
              </a:ext>
            </a:extLst>
          </p:cNvPr>
          <p:cNvSpPr/>
          <p:nvPr/>
        </p:nvSpPr>
        <p:spPr>
          <a:xfrm>
            <a:off x="5497418" y="4739411"/>
            <a:ext cx="445009" cy="445009"/>
          </a:xfrm>
          <a:custGeom>
            <a:avLst/>
            <a:gdLst>
              <a:gd name="connsiteX0" fmla="*/ 194309 w 388617"/>
              <a:gd name="connsiteY0" fmla="*/ 388617 h 388617"/>
              <a:gd name="connsiteX1" fmla="*/ 0 w 388617"/>
              <a:gd name="connsiteY1" fmla="*/ 194309 h 388617"/>
              <a:gd name="connsiteX2" fmla="*/ 194309 w 388617"/>
              <a:gd name="connsiteY2" fmla="*/ 0 h 388617"/>
              <a:gd name="connsiteX3" fmla="*/ 388617 w 388617"/>
              <a:gd name="connsiteY3" fmla="*/ 194309 h 388617"/>
              <a:gd name="connsiteX4" fmla="*/ 194309 w 388617"/>
              <a:gd name="connsiteY4" fmla="*/ 388617 h 388617"/>
              <a:gd name="connsiteX5" fmla="*/ 194309 w 388617"/>
              <a:gd name="connsiteY5" fmla="*/ 52993 h 388617"/>
              <a:gd name="connsiteX6" fmla="*/ 52993 w 388617"/>
              <a:gd name="connsiteY6" fmla="*/ 194309 h 388617"/>
              <a:gd name="connsiteX7" fmla="*/ 194309 w 388617"/>
              <a:gd name="connsiteY7" fmla="*/ 335624 h 388617"/>
              <a:gd name="connsiteX8" fmla="*/ 335624 w 388617"/>
              <a:gd name="connsiteY8" fmla="*/ 194309 h 388617"/>
              <a:gd name="connsiteX9" fmla="*/ 194309 w 388617"/>
              <a:gd name="connsiteY9" fmla="*/ 52993 h 3886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88617" h="388617">
                <a:moveTo>
                  <a:pt x="194309" y="388617"/>
                </a:moveTo>
                <a:cubicBezTo>
                  <a:pt x="87086" y="388617"/>
                  <a:pt x="0" y="301355"/>
                  <a:pt x="0" y="194309"/>
                </a:cubicBezTo>
                <a:cubicBezTo>
                  <a:pt x="0" y="87085"/>
                  <a:pt x="87262" y="0"/>
                  <a:pt x="194309" y="0"/>
                </a:cubicBezTo>
                <a:cubicBezTo>
                  <a:pt x="301532" y="0"/>
                  <a:pt x="388617" y="87262"/>
                  <a:pt x="388617" y="194309"/>
                </a:cubicBezTo>
                <a:cubicBezTo>
                  <a:pt x="388617" y="301532"/>
                  <a:pt x="301355" y="388617"/>
                  <a:pt x="194309" y="388617"/>
                </a:cubicBezTo>
                <a:close/>
                <a:moveTo>
                  <a:pt x="194309" y="52993"/>
                </a:moveTo>
                <a:cubicBezTo>
                  <a:pt x="116409" y="52993"/>
                  <a:pt x="52993" y="116408"/>
                  <a:pt x="52993" y="194309"/>
                </a:cubicBezTo>
                <a:cubicBezTo>
                  <a:pt x="52993" y="272209"/>
                  <a:pt x="116409" y="335624"/>
                  <a:pt x="194309" y="335624"/>
                </a:cubicBezTo>
                <a:cubicBezTo>
                  <a:pt x="272209" y="335624"/>
                  <a:pt x="335624" y="272209"/>
                  <a:pt x="335624" y="194309"/>
                </a:cubicBezTo>
                <a:cubicBezTo>
                  <a:pt x="335624" y="116408"/>
                  <a:pt x="272209" y="52993"/>
                  <a:pt x="194309" y="52993"/>
                </a:cubicBezTo>
                <a:close/>
              </a:path>
            </a:pathLst>
          </a:custGeom>
          <a:solidFill>
            <a:srgbClr val="FFFFFF"/>
          </a:solidFill>
          <a:ln w="176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POSans R" panose="00020600040101010101" pitchFamily="18" charset="-122"/>
              <a:ea typeface="微软雅黑"/>
              <a:cs typeface="+mn-cs"/>
            </a:endParaRPr>
          </a:p>
        </p:txBody>
      </p:sp>
      <p:sp>
        <p:nvSpPr>
          <p:cNvPr id="145" name="gaoding-10">
            <a:extLst>
              <a:ext uri="{FF2B5EF4-FFF2-40B4-BE49-F238E27FC236}">
                <a16:creationId xmlns:a16="http://schemas.microsoft.com/office/drawing/2014/main" id="{469FC862-9627-888D-7F81-C13BF839FE1D}"/>
              </a:ext>
            </a:extLst>
          </p:cNvPr>
          <p:cNvSpPr/>
          <p:nvPr/>
        </p:nvSpPr>
        <p:spPr>
          <a:xfrm>
            <a:off x="6782012" y="3118276"/>
            <a:ext cx="1053483" cy="1053482"/>
          </a:xfrm>
          <a:custGeom>
            <a:avLst/>
            <a:gdLst>
              <a:gd name="connsiteX0" fmla="*/ 919984 w 919984"/>
              <a:gd name="connsiteY0" fmla="*/ 459992 h 919983"/>
              <a:gd name="connsiteX1" fmla="*/ 459992 w 919984"/>
              <a:gd name="connsiteY1" fmla="*/ 919984 h 919983"/>
              <a:gd name="connsiteX2" fmla="*/ 0 w 919984"/>
              <a:gd name="connsiteY2" fmla="*/ 459992 h 919983"/>
              <a:gd name="connsiteX3" fmla="*/ 459992 w 919984"/>
              <a:gd name="connsiteY3" fmla="*/ 0 h 919983"/>
              <a:gd name="connsiteX4" fmla="*/ 919984 w 919984"/>
              <a:gd name="connsiteY4" fmla="*/ 459992 h 9199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9984" h="919983">
                <a:moveTo>
                  <a:pt x="919984" y="459992"/>
                </a:moveTo>
                <a:cubicBezTo>
                  <a:pt x="919984" y="714039"/>
                  <a:pt x="714038" y="919984"/>
                  <a:pt x="459992" y="919984"/>
                </a:cubicBezTo>
                <a:cubicBezTo>
                  <a:pt x="205945" y="919984"/>
                  <a:pt x="0" y="714039"/>
                  <a:pt x="0" y="459992"/>
                </a:cubicBezTo>
                <a:cubicBezTo>
                  <a:pt x="0" y="205946"/>
                  <a:pt x="205946" y="0"/>
                  <a:pt x="459992" y="0"/>
                </a:cubicBezTo>
                <a:cubicBezTo>
                  <a:pt x="714039" y="0"/>
                  <a:pt x="919984" y="205946"/>
                  <a:pt x="919984" y="459992"/>
                </a:cubicBezTo>
                <a:close/>
              </a:path>
            </a:pathLst>
          </a:custGeom>
          <a:solidFill>
            <a:schemeClr val="accent2"/>
          </a:solidFill>
          <a:ln w="38100" cap="sq" cmpd="sng">
            <a:solidFill>
              <a:schemeClr val="bg1"/>
            </a:solidFill>
            <a:prstDash val="solid"/>
            <a:miter lim="800000"/>
          </a:ln>
          <a:effectLst>
            <a:outerShdw blurRad="787400" dist="431800" dir="2700000" sx="98000" sy="98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noAutofit/>
          </a:bodyPr>
          <a:lstStyle/>
          <a:p>
            <a:pPr marL="0" marR="0" lvl="0" indent="0" algn="ctr" defTabSz="914400" rtl="0" eaLnBrk="1" fontAlgn="auto" latinLnBrk="0" hangingPunct="1">
              <a:lnSpc>
                <a:spcPct val="100000"/>
              </a:lnSpc>
              <a:spcBef>
                <a:spcPts val="1000"/>
              </a:spcBef>
              <a:spcAft>
                <a:spcPts val="0"/>
              </a:spcAft>
              <a:buClrTx/>
              <a:buSzTx/>
              <a:buFontTx/>
              <a:buNone/>
              <a:tabLst/>
              <a:defRPr/>
            </a:pPr>
            <a:r>
              <a:rPr kumimoji="0" lang="en-US" sz="3200" b="0" i="0" u="none" strike="noStrike" kern="1200" cap="none" spc="0" normalizeH="0" baseline="0" noProof="0" dirty="0">
                <a:ln>
                  <a:noFill/>
                </a:ln>
                <a:solidFill>
                  <a:srgbClr val="FFFFFF"/>
                </a:solidFill>
                <a:effectLst/>
                <a:uLnTx/>
                <a:uFillTx/>
                <a:latin typeface="OPPOSans R" panose="00020600040101010101" pitchFamily="18" charset="-122"/>
                <a:ea typeface="微软雅黑"/>
                <a:cs typeface="+mn-cs"/>
              </a:rPr>
              <a:t>02</a:t>
            </a:r>
          </a:p>
        </p:txBody>
      </p:sp>
      <p:sp>
        <p:nvSpPr>
          <p:cNvPr id="146" name="gaoding-11">
            <a:extLst>
              <a:ext uri="{FF2B5EF4-FFF2-40B4-BE49-F238E27FC236}">
                <a16:creationId xmlns:a16="http://schemas.microsoft.com/office/drawing/2014/main" id="{55F4100B-3608-723B-C954-D9297D7A8D76}"/>
              </a:ext>
            </a:extLst>
          </p:cNvPr>
          <p:cNvSpPr/>
          <p:nvPr/>
        </p:nvSpPr>
        <p:spPr>
          <a:xfrm rot="16751350">
            <a:off x="6146117" y="3480297"/>
            <a:ext cx="384339" cy="384339"/>
          </a:xfrm>
          <a:custGeom>
            <a:avLst/>
            <a:gdLst>
              <a:gd name="connsiteX0" fmla="*/ 335636 w 335635"/>
              <a:gd name="connsiteY0" fmla="*/ 167818 h 335635"/>
              <a:gd name="connsiteX1" fmla="*/ 167818 w 335635"/>
              <a:gd name="connsiteY1" fmla="*/ 335636 h 335635"/>
              <a:gd name="connsiteX2" fmla="*/ 0 w 335635"/>
              <a:gd name="connsiteY2" fmla="*/ 167818 h 335635"/>
              <a:gd name="connsiteX3" fmla="*/ 167818 w 335635"/>
              <a:gd name="connsiteY3" fmla="*/ 0 h 335635"/>
              <a:gd name="connsiteX4" fmla="*/ 335636 w 335635"/>
              <a:gd name="connsiteY4" fmla="*/ 167818 h 3356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5635" h="335635">
                <a:moveTo>
                  <a:pt x="335636" y="167818"/>
                </a:moveTo>
                <a:cubicBezTo>
                  <a:pt x="335636" y="260501"/>
                  <a:pt x="260501" y="335636"/>
                  <a:pt x="167818" y="335636"/>
                </a:cubicBezTo>
                <a:cubicBezTo>
                  <a:pt x="75135" y="335636"/>
                  <a:pt x="0" y="260501"/>
                  <a:pt x="0" y="167818"/>
                </a:cubicBezTo>
                <a:cubicBezTo>
                  <a:pt x="0" y="75135"/>
                  <a:pt x="75135" y="0"/>
                  <a:pt x="167818" y="0"/>
                </a:cubicBezTo>
                <a:cubicBezTo>
                  <a:pt x="260501" y="0"/>
                  <a:pt x="335636" y="75135"/>
                  <a:pt x="335636" y="167818"/>
                </a:cubicBezTo>
                <a:close/>
              </a:path>
            </a:pathLst>
          </a:custGeom>
          <a:solidFill>
            <a:schemeClr val="accent2"/>
          </a:solidFill>
          <a:ln w="1765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POSans R" panose="00020600040101010101" pitchFamily="18" charset="-122"/>
              <a:ea typeface="微软雅黑"/>
              <a:cs typeface="+mn-cs"/>
            </a:endParaRPr>
          </a:p>
        </p:txBody>
      </p:sp>
      <p:sp>
        <p:nvSpPr>
          <p:cNvPr id="147" name="gaoding-12">
            <a:extLst>
              <a:ext uri="{FF2B5EF4-FFF2-40B4-BE49-F238E27FC236}">
                <a16:creationId xmlns:a16="http://schemas.microsoft.com/office/drawing/2014/main" id="{1C0AF0CC-85B6-8E2E-322B-D38073FE173C}"/>
              </a:ext>
            </a:extLst>
          </p:cNvPr>
          <p:cNvSpPr/>
          <p:nvPr/>
        </p:nvSpPr>
        <p:spPr>
          <a:xfrm>
            <a:off x="6115778" y="3450096"/>
            <a:ext cx="445009" cy="445009"/>
          </a:xfrm>
          <a:custGeom>
            <a:avLst/>
            <a:gdLst>
              <a:gd name="connsiteX0" fmla="*/ 194309 w 388617"/>
              <a:gd name="connsiteY0" fmla="*/ 388617 h 388617"/>
              <a:gd name="connsiteX1" fmla="*/ 0 w 388617"/>
              <a:gd name="connsiteY1" fmla="*/ 194309 h 388617"/>
              <a:gd name="connsiteX2" fmla="*/ 194309 w 388617"/>
              <a:gd name="connsiteY2" fmla="*/ 0 h 388617"/>
              <a:gd name="connsiteX3" fmla="*/ 388617 w 388617"/>
              <a:gd name="connsiteY3" fmla="*/ 194309 h 388617"/>
              <a:gd name="connsiteX4" fmla="*/ 194309 w 388617"/>
              <a:gd name="connsiteY4" fmla="*/ 388617 h 388617"/>
              <a:gd name="connsiteX5" fmla="*/ 194309 w 388617"/>
              <a:gd name="connsiteY5" fmla="*/ 52993 h 388617"/>
              <a:gd name="connsiteX6" fmla="*/ 52993 w 388617"/>
              <a:gd name="connsiteY6" fmla="*/ 194309 h 388617"/>
              <a:gd name="connsiteX7" fmla="*/ 194309 w 388617"/>
              <a:gd name="connsiteY7" fmla="*/ 335624 h 388617"/>
              <a:gd name="connsiteX8" fmla="*/ 335624 w 388617"/>
              <a:gd name="connsiteY8" fmla="*/ 194309 h 388617"/>
              <a:gd name="connsiteX9" fmla="*/ 194309 w 388617"/>
              <a:gd name="connsiteY9" fmla="*/ 52993 h 3886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88617" h="388617">
                <a:moveTo>
                  <a:pt x="194309" y="388617"/>
                </a:moveTo>
                <a:cubicBezTo>
                  <a:pt x="87085" y="388617"/>
                  <a:pt x="0" y="301355"/>
                  <a:pt x="0" y="194309"/>
                </a:cubicBezTo>
                <a:cubicBezTo>
                  <a:pt x="0" y="87086"/>
                  <a:pt x="87262" y="0"/>
                  <a:pt x="194309" y="0"/>
                </a:cubicBezTo>
                <a:cubicBezTo>
                  <a:pt x="301355" y="0"/>
                  <a:pt x="388617" y="87262"/>
                  <a:pt x="388617" y="194309"/>
                </a:cubicBezTo>
                <a:cubicBezTo>
                  <a:pt x="388617" y="301532"/>
                  <a:pt x="301532" y="388617"/>
                  <a:pt x="194309" y="388617"/>
                </a:cubicBezTo>
                <a:close/>
                <a:moveTo>
                  <a:pt x="194309" y="52993"/>
                </a:moveTo>
                <a:cubicBezTo>
                  <a:pt x="116409" y="52993"/>
                  <a:pt x="52993" y="116408"/>
                  <a:pt x="52993" y="194309"/>
                </a:cubicBezTo>
                <a:cubicBezTo>
                  <a:pt x="52993" y="272209"/>
                  <a:pt x="116409" y="335624"/>
                  <a:pt x="194309" y="335624"/>
                </a:cubicBezTo>
                <a:cubicBezTo>
                  <a:pt x="272209" y="335624"/>
                  <a:pt x="335624" y="272209"/>
                  <a:pt x="335624" y="194309"/>
                </a:cubicBezTo>
                <a:cubicBezTo>
                  <a:pt x="335624" y="116408"/>
                  <a:pt x="272209" y="52993"/>
                  <a:pt x="194309" y="52993"/>
                </a:cubicBezTo>
                <a:close/>
              </a:path>
            </a:pathLst>
          </a:custGeom>
          <a:solidFill>
            <a:srgbClr val="FFFFFF"/>
          </a:solidFill>
          <a:ln w="176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POSans R" panose="00020600040101010101" pitchFamily="18" charset="-122"/>
              <a:ea typeface="微软雅黑"/>
              <a:cs typeface="+mn-cs"/>
            </a:endParaRPr>
          </a:p>
        </p:txBody>
      </p:sp>
      <p:sp>
        <p:nvSpPr>
          <p:cNvPr id="148" name="gaoding-13">
            <a:extLst>
              <a:ext uri="{FF2B5EF4-FFF2-40B4-BE49-F238E27FC236}">
                <a16:creationId xmlns:a16="http://schemas.microsoft.com/office/drawing/2014/main" id="{AD0640B8-FA98-BA5B-E202-B8A2B631C2CC}"/>
              </a:ext>
            </a:extLst>
          </p:cNvPr>
          <p:cNvSpPr/>
          <p:nvPr/>
        </p:nvSpPr>
        <p:spPr>
          <a:xfrm rot="19619404">
            <a:off x="4941877" y="2785925"/>
            <a:ext cx="607860" cy="20227"/>
          </a:xfrm>
          <a:custGeom>
            <a:avLst/>
            <a:gdLst>
              <a:gd name="connsiteX0" fmla="*/ 0 w 530831"/>
              <a:gd name="connsiteY0" fmla="*/ 0 h 17664"/>
              <a:gd name="connsiteX1" fmla="*/ 530831 w 530831"/>
              <a:gd name="connsiteY1" fmla="*/ 0 h 17664"/>
              <a:gd name="connsiteX2" fmla="*/ 530831 w 530831"/>
              <a:gd name="connsiteY2" fmla="*/ 17665 h 17664"/>
              <a:gd name="connsiteX3" fmla="*/ 0 w 530831"/>
              <a:gd name="connsiteY3" fmla="*/ 17665 h 17664"/>
            </a:gdLst>
            <a:ahLst/>
            <a:cxnLst>
              <a:cxn ang="0">
                <a:pos x="connsiteX0" y="connsiteY0"/>
              </a:cxn>
              <a:cxn ang="0">
                <a:pos x="connsiteX1" y="connsiteY1"/>
              </a:cxn>
              <a:cxn ang="0">
                <a:pos x="connsiteX2" y="connsiteY2"/>
              </a:cxn>
              <a:cxn ang="0">
                <a:pos x="connsiteX3" y="connsiteY3"/>
              </a:cxn>
            </a:cxnLst>
            <a:rect l="l" t="t" r="r" b="b"/>
            <a:pathLst>
              <a:path w="530831" h="17664">
                <a:moveTo>
                  <a:pt x="0" y="0"/>
                </a:moveTo>
                <a:lnTo>
                  <a:pt x="530831" y="0"/>
                </a:lnTo>
                <a:lnTo>
                  <a:pt x="530831" y="17665"/>
                </a:lnTo>
                <a:lnTo>
                  <a:pt x="0" y="17665"/>
                </a:lnTo>
                <a:close/>
              </a:path>
            </a:pathLst>
          </a:custGeom>
          <a:solidFill>
            <a:schemeClr val="tx1">
              <a:lumMod val="50000"/>
              <a:lumOff val="50000"/>
            </a:schemeClr>
          </a:solidFill>
          <a:ln w="1765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POSans R" panose="00020600040101010101" pitchFamily="18" charset="-122"/>
              <a:ea typeface="微软雅黑"/>
              <a:cs typeface="+mn-cs"/>
            </a:endParaRPr>
          </a:p>
        </p:txBody>
      </p:sp>
      <p:sp>
        <p:nvSpPr>
          <p:cNvPr id="149" name="gaoding-14">
            <a:extLst>
              <a:ext uri="{FF2B5EF4-FFF2-40B4-BE49-F238E27FC236}">
                <a16:creationId xmlns:a16="http://schemas.microsoft.com/office/drawing/2014/main" id="{904B9F70-27BE-2B13-19EA-7D9207DAC651}"/>
              </a:ext>
            </a:extLst>
          </p:cNvPr>
          <p:cNvSpPr/>
          <p:nvPr/>
        </p:nvSpPr>
        <p:spPr>
          <a:xfrm>
            <a:off x="5460883" y="2593531"/>
            <a:ext cx="76102" cy="76102"/>
          </a:xfrm>
          <a:custGeom>
            <a:avLst/>
            <a:gdLst>
              <a:gd name="connsiteX0" fmla="*/ 15123 w 66458"/>
              <a:gd name="connsiteY0" fmla="*/ 5408 h 66458"/>
              <a:gd name="connsiteX1" fmla="*/ 61051 w 66458"/>
              <a:gd name="connsiteY1" fmla="*/ 15123 h 66458"/>
              <a:gd name="connsiteX2" fmla="*/ 51335 w 66458"/>
              <a:gd name="connsiteY2" fmla="*/ 61051 h 66458"/>
              <a:gd name="connsiteX3" fmla="*/ 5408 w 66458"/>
              <a:gd name="connsiteY3" fmla="*/ 51335 h 66458"/>
              <a:gd name="connsiteX4" fmla="*/ 15123 w 66458"/>
              <a:gd name="connsiteY4" fmla="*/ 5408 h 664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458" h="66458">
                <a:moveTo>
                  <a:pt x="15123" y="5408"/>
                </a:moveTo>
                <a:cubicBezTo>
                  <a:pt x="30491" y="-4661"/>
                  <a:pt x="51159" y="-245"/>
                  <a:pt x="61051" y="15123"/>
                </a:cubicBezTo>
                <a:cubicBezTo>
                  <a:pt x="71119" y="30491"/>
                  <a:pt x="66703" y="51159"/>
                  <a:pt x="51335" y="61051"/>
                </a:cubicBezTo>
                <a:cubicBezTo>
                  <a:pt x="35967" y="71120"/>
                  <a:pt x="15300" y="66703"/>
                  <a:pt x="5408" y="51335"/>
                </a:cubicBezTo>
                <a:cubicBezTo>
                  <a:pt x="-4661" y="35967"/>
                  <a:pt x="-245" y="15300"/>
                  <a:pt x="15123" y="5408"/>
                </a:cubicBezTo>
                <a:close/>
              </a:path>
            </a:pathLst>
          </a:custGeom>
          <a:solidFill>
            <a:schemeClr val="tx1">
              <a:lumMod val="50000"/>
              <a:lumOff val="50000"/>
            </a:schemeClr>
          </a:solidFill>
          <a:ln w="176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POSans R" panose="00020600040101010101" pitchFamily="18" charset="-122"/>
              <a:ea typeface="微软雅黑"/>
              <a:cs typeface="+mn-cs"/>
            </a:endParaRPr>
          </a:p>
        </p:txBody>
      </p:sp>
      <p:sp>
        <p:nvSpPr>
          <p:cNvPr id="150" name="gaoding-15">
            <a:extLst>
              <a:ext uri="{FF2B5EF4-FFF2-40B4-BE49-F238E27FC236}">
                <a16:creationId xmlns:a16="http://schemas.microsoft.com/office/drawing/2014/main" id="{EA9AB997-BAA3-930A-CE29-C7387FF987F2}"/>
              </a:ext>
            </a:extLst>
          </p:cNvPr>
          <p:cNvSpPr/>
          <p:nvPr/>
        </p:nvSpPr>
        <p:spPr>
          <a:xfrm>
            <a:off x="4954381" y="2922524"/>
            <a:ext cx="76102" cy="76012"/>
          </a:xfrm>
          <a:custGeom>
            <a:avLst/>
            <a:gdLst>
              <a:gd name="connsiteX0" fmla="*/ 15123 w 66458"/>
              <a:gd name="connsiteY0" fmla="*/ 5330 h 66380"/>
              <a:gd name="connsiteX1" fmla="*/ 5408 w 66458"/>
              <a:gd name="connsiteY1" fmla="*/ 51257 h 66380"/>
              <a:gd name="connsiteX2" fmla="*/ 51335 w 66458"/>
              <a:gd name="connsiteY2" fmla="*/ 60973 h 66380"/>
              <a:gd name="connsiteX3" fmla="*/ 61051 w 66458"/>
              <a:gd name="connsiteY3" fmla="*/ 15045 h 66380"/>
              <a:gd name="connsiteX4" fmla="*/ 15123 w 66458"/>
              <a:gd name="connsiteY4" fmla="*/ 5330 h 66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458" h="66380">
                <a:moveTo>
                  <a:pt x="15123" y="5330"/>
                </a:moveTo>
                <a:cubicBezTo>
                  <a:pt x="-245" y="15399"/>
                  <a:pt x="-4661" y="35889"/>
                  <a:pt x="5408" y="51257"/>
                </a:cubicBezTo>
                <a:cubicBezTo>
                  <a:pt x="15477" y="66625"/>
                  <a:pt x="35967" y="71042"/>
                  <a:pt x="51335" y="60973"/>
                </a:cubicBezTo>
                <a:cubicBezTo>
                  <a:pt x="66703" y="50904"/>
                  <a:pt x="71120" y="30413"/>
                  <a:pt x="61051" y="15045"/>
                </a:cubicBezTo>
                <a:cubicBezTo>
                  <a:pt x="50982" y="-323"/>
                  <a:pt x="30491" y="-4562"/>
                  <a:pt x="15123" y="5330"/>
                </a:cubicBezTo>
                <a:close/>
              </a:path>
            </a:pathLst>
          </a:custGeom>
          <a:solidFill>
            <a:schemeClr val="tx1">
              <a:lumMod val="50000"/>
              <a:lumOff val="50000"/>
            </a:schemeClr>
          </a:solidFill>
          <a:ln w="176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POSans R" panose="00020600040101010101" pitchFamily="18" charset="-122"/>
              <a:ea typeface="微软雅黑"/>
              <a:cs typeface="+mn-cs"/>
            </a:endParaRPr>
          </a:p>
        </p:txBody>
      </p:sp>
      <p:sp>
        <p:nvSpPr>
          <p:cNvPr id="151" name="gaoding-16">
            <a:extLst>
              <a:ext uri="{FF2B5EF4-FFF2-40B4-BE49-F238E27FC236}">
                <a16:creationId xmlns:a16="http://schemas.microsoft.com/office/drawing/2014/main" id="{E8131CBC-A1B1-6EBB-EBD8-65FBB62777B4}"/>
              </a:ext>
            </a:extLst>
          </p:cNvPr>
          <p:cNvSpPr/>
          <p:nvPr/>
        </p:nvSpPr>
        <p:spPr>
          <a:xfrm>
            <a:off x="5251246" y="3678265"/>
            <a:ext cx="814974" cy="20227"/>
          </a:xfrm>
          <a:custGeom>
            <a:avLst/>
            <a:gdLst>
              <a:gd name="connsiteX0" fmla="*/ 0 w 711699"/>
              <a:gd name="connsiteY0" fmla="*/ 0 h 17664"/>
              <a:gd name="connsiteX1" fmla="*/ 711700 w 711699"/>
              <a:gd name="connsiteY1" fmla="*/ 0 h 17664"/>
              <a:gd name="connsiteX2" fmla="*/ 711700 w 711699"/>
              <a:gd name="connsiteY2" fmla="*/ 17664 h 17664"/>
              <a:gd name="connsiteX3" fmla="*/ 0 w 711699"/>
              <a:gd name="connsiteY3" fmla="*/ 17664 h 17664"/>
            </a:gdLst>
            <a:ahLst/>
            <a:cxnLst>
              <a:cxn ang="0">
                <a:pos x="connsiteX0" y="connsiteY0"/>
              </a:cxn>
              <a:cxn ang="0">
                <a:pos x="connsiteX1" y="connsiteY1"/>
              </a:cxn>
              <a:cxn ang="0">
                <a:pos x="connsiteX2" y="connsiteY2"/>
              </a:cxn>
              <a:cxn ang="0">
                <a:pos x="connsiteX3" y="connsiteY3"/>
              </a:cxn>
            </a:cxnLst>
            <a:rect l="l" t="t" r="r" b="b"/>
            <a:pathLst>
              <a:path w="711699" h="17664">
                <a:moveTo>
                  <a:pt x="0" y="0"/>
                </a:moveTo>
                <a:lnTo>
                  <a:pt x="711700" y="0"/>
                </a:lnTo>
                <a:lnTo>
                  <a:pt x="711700" y="17664"/>
                </a:lnTo>
                <a:lnTo>
                  <a:pt x="0" y="17664"/>
                </a:lnTo>
                <a:close/>
              </a:path>
            </a:pathLst>
          </a:custGeom>
          <a:solidFill>
            <a:schemeClr val="tx1">
              <a:lumMod val="50000"/>
              <a:lumOff val="50000"/>
            </a:schemeClr>
          </a:solidFill>
          <a:ln w="176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POSans R" panose="00020600040101010101" pitchFamily="18" charset="-122"/>
              <a:ea typeface="微软雅黑"/>
              <a:cs typeface="+mn-cs"/>
            </a:endParaRPr>
          </a:p>
        </p:txBody>
      </p:sp>
      <p:sp>
        <p:nvSpPr>
          <p:cNvPr id="152" name="gaoding-17">
            <a:extLst>
              <a:ext uri="{FF2B5EF4-FFF2-40B4-BE49-F238E27FC236}">
                <a16:creationId xmlns:a16="http://schemas.microsoft.com/office/drawing/2014/main" id="{FF20C80C-BB8C-CD40-CFC8-1F371E2E5C63}"/>
              </a:ext>
            </a:extLst>
          </p:cNvPr>
          <p:cNvSpPr/>
          <p:nvPr/>
        </p:nvSpPr>
        <p:spPr>
          <a:xfrm>
            <a:off x="5215038" y="3650351"/>
            <a:ext cx="76056" cy="76056"/>
          </a:xfrm>
          <a:custGeom>
            <a:avLst/>
            <a:gdLst>
              <a:gd name="connsiteX0" fmla="*/ 66418 w 66418"/>
              <a:gd name="connsiteY0" fmla="*/ 33209 h 66418"/>
              <a:gd name="connsiteX1" fmla="*/ 33209 w 66418"/>
              <a:gd name="connsiteY1" fmla="*/ 66418 h 66418"/>
              <a:gd name="connsiteX2" fmla="*/ 0 w 66418"/>
              <a:gd name="connsiteY2" fmla="*/ 33209 h 66418"/>
              <a:gd name="connsiteX3" fmla="*/ 33209 w 66418"/>
              <a:gd name="connsiteY3" fmla="*/ 0 h 66418"/>
              <a:gd name="connsiteX4" fmla="*/ 66418 w 66418"/>
              <a:gd name="connsiteY4" fmla="*/ 33209 h 664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418" h="66418">
                <a:moveTo>
                  <a:pt x="66418" y="33209"/>
                </a:moveTo>
                <a:cubicBezTo>
                  <a:pt x="66418" y="51550"/>
                  <a:pt x="51550" y="66418"/>
                  <a:pt x="33209" y="66418"/>
                </a:cubicBezTo>
                <a:cubicBezTo>
                  <a:pt x="14868" y="66418"/>
                  <a:pt x="0" y="51550"/>
                  <a:pt x="0" y="33209"/>
                </a:cubicBezTo>
                <a:cubicBezTo>
                  <a:pt x="0" y="14868"/>
                  <a:pt x="14868" y="0"/>
                  <a:pt x="33209" y="0"/>
                </a:cubicBezTo>
                <a:cubicBezTo>
                  <a:pt x="51550" y="0"/>
                  <a:pt x="66418" y="14868"/>
                  <a:pt x="66418" y="33209"/>
                </a:cubicBezTo>
                <a:close/>
              </a:path>
            </a:pathLst>
          </a:custGeom>
          <a:solidFill>
            <a:schemeClr val="tx1">
              <a:lumMod val="50000"/>
              <a:lumOff val="50000"/>
            </a:schemeClr>
          </a:solidFill>
          <a:ln w="176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POSans R" panose="00020600040101010101" pitchFamily="18" charset="-122"/>
              <a:ea typeface="微软雅黑"/>
              <a:cs typeface="+mn-cs"/>
            </a:endParaRPr>
          </a:p>
        </p:txBody>
      </p:sp>
      <p:sp>
        <p:nvSpPr>
          <p:cNvPr id="153" name="gaoding-18">
            <a:extLst>
              <a:ext uri="{FF2B5EF4-FFF2-40B4-BE49-F238E27FC236}">
                <a16:creationId xmlns:a16="http://schemas.microsoft.com/office/drawing/2014/main" id="{56785221-BF14-6A09-F368-36BAB323A071}"/>
              </a:ext>
            </a:extLst>
          </p:cNvPr>
          <p:cNvSpPr/>
          <p:nvPr/>
        </p:nvSpPr>
        <p:spPr>
          <a:xfrm>
            <a:off x="6026170" y="3650351"/>
            <a:ext cx="76056" cy="76056"/>
          </a:xfrm>
          <a:custGeom>
            <a:avLst/>
            <a:gdLst>
              <a:gd name="connsiteX0" fmla="*/ 33209 w 66418"/>
              <a:gd name="connsiteY0" fmla="*/ 66418 h 66418"/>
              <a:gd name="connsiteX1" fmla="*/ 66418 w 66418"/>
              <a:gd name="connsiteY1" fmla="*/ 33209 h 66418"/>
              <a:gd name="connsiteX2" fmla="*/ 33209 w 66418"/>
              <a:gd name="connsiteY2" fmla="*/ 0 h 66418"/>
              <a:gd name="connsiteX3" fmla="*/ 0 w 66418"/>
              <a:gd name="connsiteY3" fmla="*/ 33209 h 66418"/>
              <a:gd name="connsiteX4" fmla="*/ 33209 w 66418"/>
              <a:gd name="connsiteY4" fmla="*/ 66418 h 664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418" h="66418">
                <a:moveTo>
                  <a:pt x="33209" y="66418"/>
                </a:moveTo>
                <a:cubicBezTo>
                  <a:pt x="51580" y="66418"/>
                  <a:pt x="66418" y="51580"/>
                  <a:pt x="66418" y="33209"/>
                </a:cubicBezTo>
                <a:cubicBezTo>
                  <a:pt x="66418" y="14838"/>
                  <a:pt x="51580" y="0"/>
                  <a:pt x="33209" y="0"/>
                </a:cubicBezTo>
                <a:cubicBezTo>
                  <a:pt x="14838" y="0"/>
                  <a:pt x="0" y="14838"/>
                  <a:pt x="0" y="33209"/>
                </a:cubicBezTo>
                <a:cubicBezTo>
                  <a:pt x="0" y="51580"/>
                  <a:pt x="14838" y="66418"/>
                  <a:pt x="33209" y="66418"/>
                </a:cubicBezTo>
                <a:close/>
              </a:path>
            </a:pathLst>
          </a:custGeom>
          <a:solidFill>
            <a:schemeClr val="tx1">
              <a:lumMod val="50000"/>
              <a:lumOff val="50000"/>
            </a:schemeClr>
          </a:solidFill>
          <a:ln w="176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POSans R" panose="00020600040101010101" pitchFamily="18" charset="-122"/>
              <a:ea typeface="微软雅黑"/>
              <a:cs typeface="+mn-cs"/>
            </a:endParaRPr>
          </a:p>
        </p:txBody>
      </p:sp>
      <p:sp>
        <p:nvSpPr>
          <p:cNvPr id="154" name="gaoding-19">
            <a:extLst>
              <a:ext uri="{FF2B5EF4-FFF2-40B4-BE49-F238E27FC236}">
                <a16:creationId xmlns:a16="http://schemas.microsoft.com/office/drawing/2014/main" id="{54210EE8-73A8-D297-36CB-5A5A1ACE7F2B}"/>
              </a:ext>
            </a:extLst>
          </p:cNvPr>
          <p:cNvSpPr/>
          <p:nvPr/>
        </p:nvSpPr>
        <p:spPr>
          <a:xfrm rot="18025754">
            <a:off x="5250768" y="4404012"/>
            <a:ext cx="20228" cy="546985"/>
          </a:xfrm>
          <a:custGeom>
            <a:avLst/>
            <a:gdLst>
              <a:gd name="connsiteX0" fmla="*/ 0 w 17665"/>
              <a:gd name="connsiteY0" fmla="*/ 0 h 477670"/>
              <a:gd name="connsiteX1" fmla="*/ 17665 w 17665"/>
              <a:gd name="connsiteY1" fmla="*/ 0 h 477670"/>
              <a:gd name="connsiteX2" fmla="*/ 17665 w 17665"/>
              <a:gd name="connsiteY2" fmla="*/ 477671 h 477670"/>
              <a:gd name="connsiteX3" fmla="*/ 0 w 17665"/>
              <a:gd name="connsiteY3" fmla="*/ 477671 h 477670"/>
            </a:gdLst>
            <a:ahLst/>
            <a:cxnLst>
              <a:cxn ang="0">
                <a:pos x="connsiteX0" y="connsiteY0"/>
              </a:cxn>
              <a:cxn ang="0">
                <a:pos x="connsiteX1" y="connsiteY1"/>
              </a:cxn>
              <a:cxn ang="0">
                <a:pos x="connsiteX2" y="connsiteY2"/>
              </a:cxn>
              <a:cxn ang="0">
                <a:pos x="connsiteX3" y="connsiteY3"/>
              </a:cxn>
            </a:cxnLst>
            <a:rect l="l" t="t" r="r" b="b"/>
            <a:pathLst>
              <a:path w="17665" h="477670">
                <a:moveTo>
                  <a:pt x="0" y="0"/>
                </a:moveTo>
                <a:lnTo>
                  <a:pt x="17665" y="0"/>
                </a:lnTo>
                <a:lnTo>
                  <a:pt x="17665" y="477671"/>
                </a:lnTo>
                <a:lnTo>
                  <a:pt x="0" y="477671"/>
                </a:lnTo>
                <a:close/>
              </a:path>
            </a:pathLst>
          </a:custGeom>
          <a:solidFill>
            <a:schemeClr val="tx1">
              <a:lumMod val="50000"/>
              <a:lumOff val="50000"/>
            </a:schemeClr>
          </a:solidFill>
          <a:ln w="1765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POSans R" panose="00020600040101010101" pitchFamily="18" charset="-122"/>
              <a:ea typeface="微软雅黑"/>
              <a:cs typeface="+mn-cs"/>
            </a:endParaRPr>
          </a:p>
        </p:txBody>
      </p:sp>
      <p:sp>
        <p:nvSpPr>
          <p:cNvPr id="155" name="gaoding-20">
            <a:extLst>
              <a:ext uri="{FF2B5EF4-FFF2-40B4-BE49-F238E27FC236}">
                <a16:creationId xmlns:a16="http://schemas.microsoft.com/office/drawing/2014/main" id="{F2813A6A-EAF8-9C73-87E2-A6BF8956E9BB}"/>
              </a:ext>
            </a:extLst>
          </p:cNvPr>
          <p:cNvSpPr/>
          <p:nvPr/>
        </p:nvSpPr>
        <p:spPr>
          <a:xfrm>
            <a:off x="5456812" y="4777132"/>
            <a:ext cx="75951" cy="75906"/>
          </a:xfrm>
          <a:custGeom>
            <a:avLst/>
            <a:gdLst>
              <a:gd name="connsiteX0" fmla="*/ 49945 w 66326"/>
              <a:gd name="connsiteY0" fmla="*/ 4508 h 66287"/>
              <a:gd name="connsiteX1" fmla="*/ 61780 w 66326"/>
              <a:gd name="connsiteY1" fmla="*/ 49905 h 66287"/>
              <a:gd name="connsiteX2" fmla="*/ 16382 w 66326"/>
              <a:gd name="connsiteY2" fmla="*/ 61740 h 66287"/>
              <a:gd name="connsiteX3" fmla="*/ 4547 w 66326"/>
              <a:gd name="connsiteY3" fmla="*/ 16343 h 66287"/>
              <a:gd name="connsiteX4" fmla="*/ 49945 w 66326"/>
              <a:gd name="connsiteY4" fmla="*/ 4508 h 662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326" h="66287">
                <a:moveTo>
                  <a:pt x="49945" y="4508"/>
                </a:moveTo>
                <a:cubicBezTo>
                  <a:pt x="65843" y="13870"/>
                  <a:pt x="70965" y="34184"/>
                  <a:pt x="61780" y="49905"/>
                </a:cubicBezTo>
                <a:cubicBezTo>
                  <a:pt x="52418" y="65803"/>
                  <a:pt x="32104" y="70926"/>
                  <a:pt x="16382" y="61740"/>
                </a:cubicBezTo>
                <a:cubicBezTo>
                  <a:pt x="484" y="52378"/>
                  <a:pt x="-4639" y="32064"/>
                  <a:pt x="4547" y="16343"/>
                </a:cubicBezTo>
                <a:cubicBezTo>
                  <a:pt x="13909" y="621"/>
                  <a:pt x="34223" y="-4678"/>
                  <a:pt x="49945" y="4508"/>
                </a:cubicBezTo>
                <a:close/>
              </a:path>
            </a:pathLst>
          </a:custGeom>
          <a:solidFill>
            <a:schemeClr val="tx1">
              <a:lumMod val="50000"/>
              <a:lumOff val="50000"/>
            </a:schemeClr>
          </a:solidFill>
          <a:ln w="176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POSans R" panose="00020600040101010101" pitchFamily="18" charset="-122"/>
              <a:ea typeface="微软雅黑"/>
              <a:cs typeface="+mn-cs"/>
            </a:endParaRPr>
          </a:p>
        </p:txBody>
      </p:sp>
      <p:sp>
        <p:nvSpPr>
          <p:cNvPr id="156" name="gaoding-21">
            <a:extLst>
              <a:ext uri="{FF2B5EF4-FFF2-40B4-BE49-F238E27FC236}">
                <a16:creationId xmlns:a16="http://schemas.microsoft.com/office/drawing/2014/main" id="{293713CE-BC49-B380-4486-337F2CB87FAE}"/>
              </a:ext>
            </a:extLst>
          </p:cNvPr>
          <p:cNvSpPr/>
          <p:nvPr/>
        </p:nvSpPr>
        <p:spPr>
          <a:xfrm>
            <a:off x="4988451" y="4501900"/>
            <a:ext cx="76041" cy="76130"/>
          </a:xfrm>
          <a:custGeom>
            <a:avLst/>
            <a:gdLst>
              <a:gd name="connsiteX0" fmla="*/ 50023 w 66405"/>
              <a:gd name="connsiteY0" fmla="*/ 4626 h 66483"/>
              <a:gd name="connsiteX1" fmla="*/ 4626 w 66405"/>
              <a:gd name="connsiteY1" fmla="*/ 16461 h 66483"/>
              <a:gd name="connsiteX2" fmla="*/ 16461 w 66405"/>
              <a:gd name="connsiteY2" fmla="*/ 61858 h 66483"/>
              <a:gd name="connsiteX3" fmla="*/ 61858 w 66405"/>
              <a:gd name="connsiteY3" fmla="*/ 50023 h 66483"/>
              <a:gd name="connsiteX4" fmla="*/ 50023 w 66405"/>
              <a:gd name="connsiteY4" fmla="*/ 4626 h 664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405" h="66483">
                <a:moveTo>
                  <a:pt x="50023" y="4626"/>
                </a:moveTo>
                <a:cubicBezTo>
                  <a:pt x="34125" y="-4737"/>
                  <a:pt x="13811" y="563"/>
                  <a:pt x="4626" y="16461"/>
                </a:cubicBezTo>
                <a:cubicBezTo>
                  <a:pt x="-4737" y="32359"/>
                  <a:pt x="563" y="52673"/>
                  <a:pt x="16461" y="61858"/>
                </a:cubicBezTo>
                <a:cubicBezTo>
                  <a:pt x="32359" y="71220"/>
                  <a:pt x="52673" y="65921"/>
                  <a:pt x="61858" y="50023"/>
                </a:cubicBezTo>
                <a:cubicBezTo>
                  <a:pt x="71044" y="34302"/>
                  <a:pt x="65921" y="13988"/>
                  <a:pt x="50023" y="4626"/>
                </a:cubicBezTo>
                <a:close/>
              </a:path>
            </a:pathLst>
          </a:custGeom>
          <a:solidFill>
            <a:schemeClr val="tx1">
              <a:lumMod val="50000"/>
              <a:lumOff val="50000"/>
            </a:schemeClr>
          </a:solidFill>
          <a:ln w="1765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POSans R" panose="00020600040101010101" pitchFamily="18" charset="-122"/>
              <a:ea typeface="微软雅黑"/>
              <a:cs typeface="+mn-cs"/>
            </a:endParaRPr>
          </a:p>
        </p:txBody>
      </p:sp>
      <p:sp>
        <p:nvSpPr>
          <p:cNvPr id="130" name="gaoding-22">
            <a:extLst>
              <a:ext uri="{FF2B5EF4-FFF2-40B4-BE49-F238E27FC236}">
                <a16:creationId xmlns:a16="http://schemas.microsoft.com/office/drawing/2014/main" id="{AC13E77E-E30A-BF19-156A-BB80A62798AA}"/>
              </a:ext>
            </a:extLst>
          </p:cNvPr>
          <p:cNvSpPr/>
          <p:nvPr/>
        </p:nvSpPr>
        <p:spPr>
          <a:xfrm>
            <a:off x="7443157" y="1397009"/>
            <a:ext cx="1725623" cy="392113"/>
          </a:xfrm>
          <a:prstGeom prst="roundRect">
            <a:avLst>
              <a:gd name="adj" fmla="val 50000"/>
            </a:avLst>
          </a:prstGeom>
          <a:gradFill flip="none" rotWithShape="1">
            <a:gsLst>
              <a:gs pos="1000">
                <a:schemeClr val="accent1"/>
              </a:gs>
              <a:gs pos="100000">
                <a:schemeClr val="accent1">
                  <a:lumMod val="60000"/>
                  <a:lumOff val="40000"/>
                </a:schemeClr>
              </a:gs>
            </a:gsLst>
            <a:lin ang="2700000" scaled="0"/>
            <a:tileRect/>
          </a:gradFill>
          <a:ln>
            <a:noFill/>
          </a:ln>
          <a:effectLst>
            <a:outerShdw blurRad="254000" dist="127000" dir="5400000" sx="90000" sy="90000" algn="t" rotWithShape="0">
              <a:schemeClr val="accent1">
                <a:lumMod val="75000"/>
                <a:alpha val="2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800" b="0" i="0" u="none" strike="noStrike" kern="1200" cap="none" spc="0" normalizeH="0" baseline="0" noProof="0" dirty="0">
                <a:ln>
                  <a:noFill/>
                </a:ln>
                <a:solidFill>
                  <a:srgbClr val="FFFFFF"/>
                </a:solidFill>
                <a:effectLst/>
                <a:uLnTx/>
                <a:uFillTx/>
                <a:latin typeface="OPPOSans B" panose="00020600040101010101" pitchFamily="18" charset="-122"/>
                <a:ea typeface="OPPOSans B" panose="00020600040101010101" pitchFamily="18" charset="-122"/>
                <a:cs typeface="OPPOSans B" panose="00020600040101010101" pitchFamily="18" charset="-122"/>
              </a:rPr>
              <a:t>更快更轻松</a:t>
            </a:r>
          </a:p>
        </p:txBody>
      </p:sp>
      <p:sp>
        <p:nvSpPr>
          <p:cNvPr id="131" name="gaoding-23">
            <a:extLst>
              <a:ext uri="{FF2B5EF4-FFF2-40B4-BE49-F238E27FC236}">
                <a16:creationId xmlns:a16="http://schemas.microsoft.com/office/drawing/2014/main" id="{18C80C8B-3D6D-CC07-4CF5-704D0455C2E5}"/>
              </a:ext>
            </a:extLst>
          </p:cNvPr>
          <p:cNvSpPr txBox="1"/>
          <p:nvPr/>
        </p:nvSpPr>
        <p:spPr>
          <a:xfrm>
            <a:off x="7443157" y="1830012"/>
            <a:ext cx="2952750" cy="973856"/>
          </a:xfrm>
          <a:prstGeom prst="rect">
            <a:avLst/>
          </a:prstGeom>
          <a:noFill/>
        </p:spPr>
        <p:txBody>
          <a:bodyPr wrap="square" rtlCol="0">
            <a:spAutoFit/>
          </a:bodyPr>
          <a:lstStyle/>
          <a:p>
            <a:pPr marL="0" marR="0" lvl="0" indent="0" algn="l" defTabSz="914400" rtl="0" eaLnBrk="1" fontAlgn="auto" latinLnBrk="0" hangingPunct="1">
              <a:lnSpc>
                <a:spcPct val="140000"/>
              </a:lnSpc>
              <a:spcBef>
                <a:spcPts val="0"/>
              </a:spcBef>
              <a:spcAft>
                <a:spcPts val="0"/>
              </a:spcAft>
              <a:buClrTx/>
              <a:buSzTx/>
              <a:buFontTx/>
              <a:buNone/>
              <a:tabLst/>
              <a:defRPr/>
            </a:pPr>
            <a:r>
              <a:rPr kumimoji="0" lang="zh-CN" altLang="en-US" sz="1400" b="0" i="0" u="none" strike="noStrike" kern="1200" cap="none" spc="0" normalizeH="0" baseline="0" noProof="0" dirty="0">
                <a:ln>
                  <a:noFill/>
                </a:ln>
                <a:solidFill>
                  <a:srgbClr val="000000">
                    <a:lumMod val="65000"/>
                    <a:lumOff val="3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rPr>
              <a:t>秋叶</a:t>
            </a:r>
            <a:r>
              <a:rPr kumimoji="0" lang="en-US" altLang="zh-CN" sz="1400" b="0" i="0" u="none" strike="noStrike" kern="1200" cap="none" spc="0" normalizeH="0" baseline="0" noProof="0" dirty="0">
                <a:ln>
                  <a:noFill/>
                </a:ln>
                <a:solidFill>
                  <a:srgbClr val="000000">
                    <a:lumMod val="65000"/>
                    <a:lumOff val="3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rPr>
              <a:t>PPT</a:t>
            </a:r>
            <a:r>
              <a:rPr kumimoji="0" lang="zh-CN" altLang="en-US" sz="1400" b="0" i="0" u="none" strike="noStrike" kern="1200" cap="none" spc="0" normalizeH="0" baseline="0" noProof="0" dirty="0">
                <a:ln>
                  <a:noFill/>
                </a:ln>
                <a:solidFill>
                  <a:srgbClr val="000000">
                    <a:lumMod val="65000"/>
                    <a:lumOff val="3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rPr>
              <a:t>拥有千余款模板线上到插件同步上新，覆盖商务、教育、金融等多用途场景</a:t>
            </a:r>
          </a:p>
        </p:txBody>
      </p:sp>
      <p:sp>
        <p:nvSpPr>
          <p:cNvPr id="128" name="gaoding-24">
            <a:extLst>
              <a:ext uri="{FF2B5EF4-FFF2-40B4-BE49-F238E27FC236}">
                <a16:creationId xmlns:a16="http://schemas.microsoft.com/office/drawing/2014/main" id="{19F07E0B-A1E1-7D30-9A4C-C766B73E1AB8}"/>
              </a:ext>
            </a:extLst>
          </p:cNvPr>
          <p:cNvSpPr/>
          <p:nvPr/>
        </p:nvSpPr>
        <p:spPr>
          <a:xfrm>
            <a:off x="8125009" y="3054406"/>
            <a:ext cx="2472544" cy="392113"/>
          </a:xfrm>
          <a:prstGeom prst="roundRect">
            <a:avLst>
              <a:gd name="adj" fmla="val 50000"/>
            </a:avLst>
          </a:prstGeom>
          <a:gradFill flip="none" rotWithShape="1">
            <a:gsLst>
              <a:gs pos="1000">
                <a:schemeClr val="accent2"/>
              </a:gs>
              <a:gs pos="100000">
                <a:schemeClr val="accent2">
                  <a:lumMod val="60000"/>
                  <a:lumOff val="40000"/>
                </a:schemeClr>
              </a:gs>
            </a:gsLst>
            <a:lin ang="2700000" scaled="0"/>
            <a:tileRect/>
          </a:gradFill>
          <a:ln>
            <a:noFill/>
          </a:ln>
          <a:effectLst>
            <a:outerShdw blurRad="254000" dist="127000" dir="5400000" sx="90000" sy="90000" algn="t" rotWithShape="0">
              <a:schemeClr val="accent2">
                <a:lumMod val="75000"/>
                <a:alpha val="2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800" b="0" i="0" u="none" strike="noStrike" kern="1200" cap="none" spc="0" normalizeH="0" baseline="0" noProof="0" dirty="0">
                <a:ln>
                  <a:noFill/>
                </a:ln>
                <a:solidFill>
                  <a:srgbClr val="FFFFFF"/>
                </a:solidFill>
                <a:effectLst/>
                <a:uLnTx/>
                <a:uFillTx/>
                <a:latin typeface="OPPOSans B" panose="00020600040101010101" pitchFamily="18" charset="-122"/>
                <a:ea typeface="OPPOSans B" panose="00020600040101010101" pitchFamily="18" charset="-122"/>
                <a:cs typeface="OPPOSans B" panose="00020600040101010101" pitchFamily="18" charset="-122"/>
              </a:rPr>
              <a:t>多用途场景</a:t>
            </a:r>
          </a:p>
        </p:txBody>
      </p:sp>
      <p:sp>
        <p:nvSpPr>
          <p:cNvPr id="129" name="gaoding-25">
            <a:extLst>
              <a:ext uri="{FF2B5EF4-FFF2-40B4-BE49-F238E27FC236}">
                <a16:creationId xmlns:a16="http://schemas.microsoft.com/office/drawing/2014/main" id="{7E65D1BA-3BD8-5D5A-8288-6626546146AE}"/>
              </a:ext>
            </a:extLst>
          </p:cNvPr>
          <p:cNvSpPr txBox="1"/>
          <p:nvPr/>
        </p:nvSpPr>
        <p:spPr>
          <a:xfrm>
            <a:off x="8121592" y="3500650"/>
            <a:ext cx="2952750" cy="973856"/>
          </a:xfrm>
          <a:prstGeom prst="rect">
            <a:avLst/>
          </a:prstGeom>
          <a:noFill/>
        </p:spPr>
        <p:txBody>
          <a:bodyPr wrap="square" rtlCol="0">
            <a:spAutoFit/>
          </a:bodyPr>
          <a:lstStyle/>
          <a:p>
            <a:pPr marL="0" marR="0" lvl="0" indent="0" algn="l" defTabSz="914400" rtl="0" eaLnBrk="1" fontAlgn="auto" latinLnBrk="0" hangingPunct="1">
              <a:lnSpc>
                <a:spcPct val="140000"/>
              </a:lnSpc>
              <a:spcBef>
                <a:spcPts val="0"/>
              </a:spcBef>
              <a:spcAft>
                <a:spcPts val="0"/>
              </a:spcAft>
              <a:buClrTx/>
              <a:buSzTx/>
              <a:buFontTx/>
              <a:buNone/>
              <a:tabLst/>
              <a:defRPr/>
            </a:pPr>
            <a:r>
              <a:rPr kumimoji="0" lang="zh-CN" altLang="en-US" sz="1400" b="0" i="0" u="none" strike="noStrike" kern="1200" cap="none" spc="0" normalizeH="0" baseline="0" noProof="0" dirty="0">
                <a:ln>
                  <a:noFill/>
                </a:ln>
                <a:solidFill>
                  <a:srgbClr val="000000">
                    <a:lumMod val="65000"/>
                    <a:lumOff val="3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rPr>
              <a:t>秋叶</a:t>
            </a:r>
            <a:r>
              <a:rPr kumimoji="0" lang="en-US" altLang="zh-CN" sz="1400" b="0" i="0" u="none" strike="noStrike" kern="1200" cap="none" spc="0" normalizeH="0" baseline="0" noProof="0" dirty="0">
                <a:ln>
                  <a:noFill/>
                </a:ln>
                <a:solidFill>
                  <a:srgbClr val="000000">
                    <a:lumMod val="65000"/>
                    <a:lumOff val="3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rPr>
              <a:t>PPT</a:t>
            </a:r>
            <a:r>
              <a:rPr kumimoji="0" lang="zh-CN" altLang="en-US" sz="1400" b="0" i="0" u="none" strike="noStrike" kern="1200" cap="none" spc="0" normalizeH="0" baseline="0" noProof="0" dirty="0">
                <a:ln>
                  <a:noFill/>
                </a:ln>
                <a:solidFill>
                  <a:srgbClr val="000000">
                    <a:lumMod val="65000"/>
                    <a:lumOff val="3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rPr>
              <a:t>拥有千余款模板线上到插件同步上新，覆盖商务、教育、金融等多用途场景</a:t>
            </a:r>
          </a:p>
        </p:txBody>
      </p:sp>
      <p:sp>
        <p:nvSpPr>
          <p:cNvPr id="126" name="gaoding-26">
            <a:extLst>
              <a:ext uri="{FF2B5EF4-FFF2-40B4-BE49-F238E27FC236}">
                <a16:creationId xmlns:a16="http://schemas.microsoft.com/office/drawing/2014/main" id="{FE9D3365-9E19-CC15-FC9F-17F403DAA120}"/>
              </a:ext>
            </a:extLst>
          </p:cNvPr>
          <p:cNvSpPr/>
          <p:nvPr/>
        </p:nvSpPr>
        <p:spPr>
          <a:xfrm>
            <a:off x="7443157" y="4847112"/>
            <a:ext cx="2769465" cy="392113"/>
          </a:xfrm>
          <a:prstGeom prst="roundRect">
            <a:avLst>
              <a:gd name="adj" fmla="val 50000"/>
            </a:avLst>
          </a:prstGeom>
          <a:gradFill flip="none" rotWithShape="1">
            <a:gsLst>
              <a:gs pos="1000">
                <a:schemeClr val="accent3"/>
              </a:gs>
              <a:gs pos="100000">
                <a:schemeClr val="accent3">
                  <a:lumMod val="60000"/>
                  <a:lumOff val="40000"/>
                </a:schemeClr>
              </a:gs>
            </a:gsLst>
            <a:lin ang="2700000" scaled="0"/>
            <a:tileRect/>
          </a:gradFill>
          <a:ln>
            <a:noFill/>
          </a:ln>
          <a:effectLst>
            <a:outerShdw blurRad="330200" dist="127000" dir="5400000" sx="90000" sy="90000" algn="t" rotWithShape="0">
              <a:schemeClr val="accent3">
                <a:lumMod val="75000"/>
                <a:alpha val="2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800" b="0" i="0" u="none" strike="noStrike" kern="1200" cap="none" spc="0" normalizeH="0" baseline="0" noProof="0" dirty="0">
                <a:ln>
                  <a:noFill/>
                </a:ln>
                <a:solidFill>
                  <a:srgbClr val="FFFFFF"/>
                </a:solidFill>
                <a:effectLst/>
                <a:uLnTx/>
                <a:uFillTx/>
                <a:latin typeface="OPPOSans B" panose="00020600040101010101" pitchFamily="18" charset="-122"/>
                <a:ea typeface="OPPOSans B" panose="00020600040101010101" pitchFamily="18" charset="-122"/>
                <a:cs typeface="OPPOSans B" panose="00020600040101010101" pitchFamily="18" charset="-122"/>
              </a:rPr>
              <a:t>强大表现力</a:t>
            </a:r>
          </a:p>
        </p:txBody>
      </p:sp>
      <p:sp>
        <p:nvSpPr>
          <p:cNvPr id="127" name="gaoding-27">
            <a:extLst>
              <a:ext uri="{FF2B5EF4-FFF2-40B4-BE49-F238E27FC236}">
                <a16:creationId xmlns:a16="http://schemas.microsoft.com/office/drawing/2014/main" id="{AC10264C-D600-B283-AB0D-F2DB1DF32874}"/>
              </a:ext>
            </a:extLst>
          </p:cNvPr>
          <p:cNvSpPr txBox="1"/>
          <p:nvPr/>
        </p:nvSpPr>
        <p:spPr>
          <a:xfrm>
            <a:off x="7443157" y="5274783"/>
            <a:ext cx="2952750" cy="973856"/>
          </a:xfrm>
          <a:prstGeom prst="rect">
            <a:avLst/>
          </a:prstGeom>
          <a:noFill/>
        </p:spPr>
        <p:txBody>
          <a:bodyPr wrap="square" rtlCol="0">
            <a:spAutoFit/>
          </a:bodyPr>
          <a:lstStyle/>
          <a:p>
            <a:pPr marL="0" marR="0" lvl="0" indent="0" algn="l" defTabSz="914400" rtl="0" eaLnBrk="1" fontAlgn="auto" latinLnBrk="0" hangingPunct="1">
              <a:lnSpc>
                <a:spcPct val="140000"/>
              </a:lnSpc>
              <a:spcBef>
                <a:spcPts val="0"/>
              </a:spcBef>
              <a:spcAft>
                <a:spcPts val="0"/>
              </a:spcAft>
              <a:buClrTx/>
              <a:buSzTx/>
              <a:buFontTx/>
              <a:buNone/>
              <a:tabLst/>
              <a:defRPr/>
            </a:pPr>
            <a:r>
              <a:rPr kumimoji="0" lang="zh-CN" altLang="en-US" sz="1400" b="0" i="0" u="none" strike="noStrike" kern="1200" cap="none" spc="0" normalizeH="0" baseline="0" noProof="0" dirty="0">
                <a:ln>
                  <a:noFill/>
                </a:ln>
                <a:solidFill>
                  <a:srgbClr val="000000">
                    <a:lumMod val="65000"/>
                    <a:lumOff val="3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rPr>
              <a:t>秋叶</a:t>
            </a:r>
            <a:r>
              <a:rPr kumimoji="0" lang="en-US" altLang="zh-CN" sz="1400" b="0" i="0" u="none" strike="noStrike" kern="1200" cap="none" spc="0" normalizeH="0" baseline="0" noProof="0" dirty="0">
                <a:ln>
                  <a:noFill/>
                </a:ln>
                <a:solidFill>
                  <a:srgbClr val="000000">
                    <a:lumMod val="65000"/>
                    <a:lumOff val="3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rPr>
              <a:t>PPT</a:t>
            </a:r>
            <a:r>
              <a:rPr kumimoji="0" lang="zh-CN" altLang="en-US" sz="1400" b="0" i="0" u="none" strike="noStrike" kern="1200" cap="none" spc="0" normalizeH="0" baseline="0" noProof="0" dirty="0">
                <a:ln>
                  <a:noFill/>
                </a:ln>
                <a:solidFill>
                  <a:srgbClr val="000000">
                    <a:lumMod val="65000"/>
                    <a:lumOff val="3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rPr>
              <a:t>丰富的信息图表覆盖并列</a:t>
            </a:r>
            <a:r>
              <a:rPr kumimoji="0" lang="en-US" altLang="zh-CN" sz="1400" b="0" i="0" u="none" strike="noStrike" kern="1200" cap="none" spc="0" normalizeH="0" baseline="0" noProof="0" dirty="0">
                <a:ln>
                  <a:noFill/>
                </a:ln>
                <a:solidFill>
                  <a:srgbClr val="000000">
                    <a:lumMod val="65000"/>
                    <a:lumOff val="3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rPr>
              <a:t>/</a:t>
            </a:r>
            <a:r>
              <a:rPr kumimoji="0" lang="zh-CN" altLang="en-US" sz="1400" b="0" i="0" u="none" strike="noStrike" kern="1200" cap="none" spc="0" normalizeH="0" baseline="0" noProof="0" dirty="0">
                <a:ln>
                  <a:noFill/>
                </a:ln>
                <a:solidFill>
                  <a:srgbClr val="000000">
                    <a:lumMod val="65000"/>
                    <a:lumOff val="3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rPr>
              <a:t>流程</a:t>
            </a:r>
            <a:r>
              <a:rPr kumimoji="0" lang="en-US" altLang="zh-CN" sz="1400" b="0" i="0" u="none" strike="noStrike" kern="1200" cap="none" spc="0" normalizeH="0" baseline="0" noProof="0" dirty="0">
                <a:ln>
                  <a:noFill/>
                </a:ln>
                <a:solidFill>
                  <a:srgbClr val="000000">
                    <a:lumMod val="65000"/>
                    <a:lumOff val="3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rPr>
              <a:t>/</a:t>
            </a:r>
            <a:r>
              <a:rPr kumimoji="0" lang="zh-CN" altLang="en-US" sz="1400" b="0" i="0" u="none" strike="noStrike" kern="1200" cap="none" spc="0" normalizeH="0" baseline="0" noProof="0" dirty="0">
                <a:ln>
                  <a:noFill/>
                </a:ln>
                <a:solidFill>
                  <a:srgbClr val="000000">
                    <a:lumMod val="65000"/>
                    <a:lumOff val="3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rPr>
              <a:t>层级等多种逻辑关系，帮助有效梳理页面内容</a:t>
            </a:r>
          </a:p>
        </p:txBody>
      </p:sp>
      <p:sp>
        <p:nvSpPr>
          <p:cNvPr id="158" name="gaoding-28">
            <a:extLst>
              <a:ext uri="{FF2B5EF4-FFF2-40B4-BE49-F238E27FC236}">
                <a16:creationId xmlns:a16="http://schemas.microsoft.com/office/drawing/2014/main" id="{9F101BA2-3340-E1B1-AFA6-5140098A4AE4}"/>
              </a:ext>
            </a:extLst>
          </p:cNvPr>
          <p:cNvSpPr/>
          <p:nvPr/>
        </p:nvSpPr>
        <p:spPr>
          <a:xfrm>
            <a:off x="3570053" y="3493916"/>
            <a:ext cx="597664" cy="574212"/>
          </a:xfrm>
          <a:custGeom>
            <a:avLst/>
            <a:gdLst>
              <a:gd name="connsiteX0" fmla="*/ 180022 w 465963"/>
              <a:gd name="connsiteY0" fmla="*/ 223654 h 447682"/>
              <a:gd name="connsiteX1" fmla="*/ 195071 w 465963"/>
              <a:gd name="connsiteY1" fmla="*/ 223654 h 447682"/>
              <a:gd name="connsiteX2" fmla="*/ 225456 w 465963"/>
              <a:gd name="connsiteY2" fmla="*/ 250610 h 447682"/>
              <a:gd name="connsiteX3" fmla="*/ 202786 w 465963"/>
              <a:gd name="connsiteY3" fmla="*/ 279566 h 447682"/>
              <a:gd name="connsiteX4" fmla="*/ 180022 w 465963"/>
              <a:gd name="connsiteY4" fmla="*/ 279566 h 447682"/>
              <a:gd name="connsiteX5" fmla="*/ 123444 w 465963"/>
              <a:gd name="connsiteY5" fmla="*/ 183554 h 447682"/>
              <a:gd name="connsiteX6" fmla="*/ 123444 w 465963"/>
              <a:gd name="connsiteY6" fmla="*/ 384245 h 447682"/>
              <a:gd name="connsiteX7" fmla="*/ 180023 w 465963"/>
              <a:gd name="connsiteY7" fmla="*/ 384245 h 447682"/>
              <a:gd name="connsiteX8" fmla="*/ 180023 w 465963"/>
              <a:gd name="connsiteY8" fmla="*/ 319856 h 447682"/>
              <a:gd name="connsiteX9" fmla="*/ 208122 w 465963"/>
              <a:gd name="connsiteY9" fmla="*/ 319856 h 447682"/>
              <a:gd name="connsiteX10" fmla="*/ 246222 w 465963"/>
              <a:gd name="connsiteY10" fmla="*/ 310331 h 447682"/>
              <a:gd name="connsiteX11" fmla="*/ 270987 w 465963"/>
              <a:gd name="connsiteY11" fmla="*/ 285090 h 447682"/>
              <a:gd name="connsiteX12" fmla="*/ 279178 w 465963"/>
              <a:gd name="connsiteY12" fmla="*/ 252229 h 447682"/>
              <a:gd name="connsiteX13" fmla="*/ 270606 w 465963"/>
              <a:gd name="connsiteY13" fmla="*/ 218606 h 447682"/>
              <a:gd name="connsiteX14" fmla="*/ 245840 w 465963"/>
              <a:gd name="connsiteY14" fmla="*/ 193460 h 447682"/>
              <a:gd name="connsiteX15" fmla="*/ 245840 w 465963"/>
              <a:gd name="connsiteY15" fmla="*/ 193555 h 447682"/>
              <a:gd name="connsiteX16" fmla="*/ 205645 w 465963"/>
              <a:gd name="connsiteY16" fmla="*/ 183554 h 447682"/>
              <a:gd name="connsiteX17" fmla="*/ 0 w 465963"/>
              <a:gd name="connsiteY17" fmla="*/ 76207 h 447682"/>
              <a:gd name="connsiteX18" fmla="*/ 194024 w 465963"/>
              <a:gd name="connsiteY18" fmla="*/ 76207 h 447682"/>
              <a:gd name="connsiteX19" fmla="*/ 204692 w 465963"/>
              <a:gd name="connsiteY19" fmla="*/ 120022 h 447682"/>
              <a:gd name="connsiteX20" fmla="*/ 366617 w 465963"/>
              <a:gd name="connsiteY20" fmla="*/ 120022 h 447682"/>
              <a:gd name="connsiteX21" fmla="*/ 366617 w 465963"/>
              <a:gd name="connsiteY21" fmla="*/ 447682 h 447682"/>
              <a:gd name="connsiteX22" fmla="*/ 0 w 465963"/>
              <a:gd name="connsiteY22" fmla="*/ 447682 h 447682"/>
              <a:gd name="connsiteX23" fmla="*/ 108013 w 465963"/>
              <a:gd name="connsiteY23" fmla="*/ 0 h 447682"/>
              <a:gd name="connsiteX24" fmla="*/ 465963 w 465963"/>
              <a:gd name="connsiteY24" fmla="*/ 80010 h 447682"/>
              <a:gd name="connsiteX25" fmla="*/ 396335 w 465963"/>
              <a:gd name="connsiteY25" fmla="*/ 400050 h 447682"/>
              <a:gd name="connsiteX26" fmla="*/ 383476 w 465963"/>
              <a:gd name="connsiteY26" fmla="*/ 397193 h 447682"/>
              <a:gd name="connsiteX27" fmla="*/ 383476 w 465963"/>
              <a:gd name="connsiteY27" fmla="*/ 101727 h 447682"/>
              <a:gd name="connsiteX28" fmla="*/ 221170 w 465963"/>
              <a:gd name="connsiteY28" fmla="*/ 101727 h 447682"/>
              <a:gd name="connsiteX29" fmla="*/ 210978 w 465963"/>
              <a:gd name="connsiteY29" fmla="*/ 58007 h 447682"/>
              <a:gd name="connsiteX30" fmla="*/ 95345 w 465963"/>
              <a:gd name="connsiteY30" fmla="*/ 58007 h 4476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465963" h="447682">
                <a:moveTo>
                  <a:pt x="180022" y="223654"/>
                </a:moveTo>
                <a:lnTo>
                  <a:pt x="195071" y="223654"/>
                </a:lnTo>
                <a:cubicBezTo>
                  <a:pt x="214503" y="224225"/>
                  <a:pt x="224694" y="233179"/>
                  <a:pt x="225456" y="250610"/>
                </a:cubicBezTo>
                <a:cubicBezTo>
                  <a:pt x="225361" y="268898"/>
                  <a:pt x="217741" y="278613"/>
                  <a:pt x="202786" y="279566"/>
                </a:cubicBezTo>
                <a:lnTo>
                  <a:pt x="180022" y="279566"/>
                </a:lnTo>
                <a:close/>
                <a:moveTo>
                  <a:pt x="123444" y="183554"/>
                </a:moveTo>
                <a:lnTo>
                  <a:pt x="123444" y="384245"/>
                </a:lnTo>
                <a:lnTo>
                  <a:pt x="180023" y="384245"/>
                </a:lnTo>
                <a:lnTo>
                  <a:pt x="180023" y="319856"/>
                </a:lnTo>
                <a:lnTo>
                  <a:pt x="208122" y="319856"/>
                </a:lnTo>
                <a:cubicBezTo>
                  <a:pt x="221437" y="320066"/>
                  <a:pt x="234572" y="316780"/>
                  <a:pt x="246222" y="310331"/>
                </a:cubicBezTo>
                <a:cubicBezTo>
                  <a:pt x="256718" y="304455"/>
                  <a:pt x="265310" y="295692"/>
                  <a:pt x="270987" y="285090"/>
                </a:cubicBezTo>
                <a:cubicBezTo>
                  <a:pt x="276435" y="274994"/>
                  <a:pt x="279254" y="263697"/>
                  <a:pt x="279178" y="252229"/>
                </a:cubicBezTo>
                <a:cubicBezTo>
                  <a:pt x="279245" y="240475"/>
                  <a:pt x="276292" y="228893"/>
                  <a:pt x="270606" y="218606"/>
                </a:cubicBezTo>
                <a:cubicBezTo>
                  <a:pt x="264786" y="208128"/>
                  <a:pt x="256223" y="199441"/>
                  <a:pt x="245840" y="193460"/>
                </a:cubicBezTo>
                <a:lnTo>
                  <a:pt x="245840" y="193555"/>
                </a:lnTo>
                <a:cubicBezTo>
                  <a:pt x="233534" y="186792"/>
                  <a:pt x="219685" y="183344"/>
                  <a:pt x="205645" y="183554"/>
                </a:cubicBezTo>
                <a:close/>
                <a:moveTo>
                  <a:pt x="0" y="76207"/>
                </a:moveTo>
                <a:lnTo>
                  <a:pt x="194024" y="76207"/>
                </a:lnTo>
                <a:lnTo>
                  <a:pt x="204692" y="120022"/>
                </a:lnTo>
                <a:lnTo>
                  <a:pt x="366617" y="120022"/>
                </a:lnTo>
                <a:lnTo>
                  <a:pt x="366617" y="447682"/>
                </a:lnTo>
                <a:lnTo>
                  <a:pt x="0" y="447682"/>
                </a:lnTo>
                <a:close/>
                <a:moveTo>
                  <a:pt x="108013" y="0"/>
                </a:moveTo>
                <a:lnTo>
                  <a:pt x="465963" y="80010"/>
                </a:lnTo>
                <a:lnTo>
                  <a:pt x="396335" y="400050"/>
                </a:lnTo>
                <a:lnTo>
                  <a:pt x="383476" y="397193"/>
                </a:lnTo>
                <a:lnTo>
                  <a:pt x="383476" y="101727"/>
                </a:lnTo>
                <a:lnTo>
                  <a:pt x="221170" y="101727"/>
                </a:lnTo>
                <a:lnTo>
                  <a:pt x="210978" y="58007"/>
                </a:lnTo>
                <a:lnTo>
                  <a:pt x="95345" y="58007"/>
                </a:lnTo>
                <a:close/>
              </a:path>
            </a:pathLst>
          </a:custGeom>
          <a:solidFill>
            <a:schemeClr val="accent1"/>
          </a:solidFill>
          <a:ln w="781"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panose="020F0502020204030204"/>
              <a:ea typeface="微软雅黑"/>
              <a:cs typeface="+mn-cs"/>
            </a:endParaRPr>
          </a:p>
        </p:txBody>
      </p:sp>
      <p:sp>
        <p:nvSpPr>
          <p:cNvPr id="175" name="gaoding-29">
            <a:extLst>
              <a:ext uri="{FF2B5EF4-FFF2-40B4-BE49-F238E27FC236}">
                <a16:creationId xmlns:a16="http://schemas.microsoft.com/office/drawing/2014/main" id="{FCB4922D-DF73-7055-07BB-ADAE87EECD0C}"/>
              </a:ext>
            </a:extLst>
          </p:cNvPr>
          <p:cNvSpPr/>
          <p:nvPr/>
        </p:nvSpPr>
        <p:spPr>
          <a:xfrm>
            <a:off x="2759370" y="2671508"/>
            <a:ext cx="2219030" cy="2219028"/>
          </a:xfrm>
          <a:custGeom>
            <a:avLst/>
            <a:gdLst>
              <a:gd name="connsiteX0" fmla="*/ 2351135 w 2351134"/>
              <a:gd name="connsiteY0" fmla="*/ 1175567 h 2351134"/>
              <a:gd name="connsiteX1" fmla="*/ 1175568 w 2351134"/>
              <a:gd name="connsiteY1" fmla="*/ 2351135 h 2351134"/>
              <a:gd name="connsiteX2" fmla="*/ 0 w 2351134"/>
              <a:gd name="connsiteY2" fmla="*/ 1175567 h 2351134"/>
              <a:gd name="connsiteX3" fmla="*/ 1175568 w 2351134"/>
              <a:gd name="connsiteY3" fmla="*/ 0 h 2351134"/>
              <a:gd name="connsiteX4" fmla="*/ 2351135 w 2351134"/>
              <a:gd name="connsiteY4" fmla="*/ 1175567 h 23511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51134" h="2351134">
                <a:moveTo>
                  <a:pt x="2351135" y="1175567"/>
                </a:moveTo>
                <a:cubicBezTo>
                  <a:pt x="2351135" y="1824815"/>
                  <a:pt x="1824816" y="2351135"/>
                  <a:pt x="1175568" y="2351135"/>
                </a:cubicBezTo>
                <a:cubicBezTo>
                  <a:pt x="526320" y="2351135"/>
                  <a:pt x="0" y="1824815"/>
                  <a:pt x="0" y="1175567"/>
                </a:cubicBezTo>
                <a:cubicBezTo>
                  <a:pt x="0" y="526319"/>
                  <a:pt x="526320" y="0"/>
                  <a:pt x="1175568" y="0"/>
                </a:cubicBezTo>
                <a:cubicBezTo>
                  <a:pt x="1824816" y="0"/>
                  <a:pt x="2351135" y="526319"/>
                  <a:pt x="2351135" y="1175567"/>
                </a:cubicBezTo>
                <a:close/>
              </a:path>
            </a:pathLst>
          </a:custGeom>
          <a:noFill/>
          <a:ln w="31750" cap="flat">
            <a:solidFill>
              <a:schemeClr val="accent1">
                <a:alpha val="90000"/>
              </a:schemeClr>
            </a:solidFill>
            <a:prstDash val="solid"/>
            <a:miter/>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OPPOSans R" panose="00020600040101010101" pitchFamily="18" charset="-122"/>
              <a:ea typeface="微软雅黑"/>
              <a:cs typeface="+mn-cs"/>
            </a:endParaRPr>
          </a:p>
        </p:txBody>
      </p:sp>
    </p:spTree>
    <p:custDataLst>
      <p:tags r:id="rId2"/>
    </p:custDataLst>
    <p:extLst>
      <p:ext uri="{BB962C8B-B14F-4D97-AF65-F5344CB8AC3E}">
        <p14:creationId xmlns:p14="http://schemas.microsoft.com/office/powerpoint/2010/main" val="482157380"/>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7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20" name="gaoding-1"/>
          <p:cNvSpPr/>
          <p:nvPr/>
        </p:nvSpPr>
        <p:spPr>
          <a:xfrm>
            <a:off x="7471013" y="1581565"/>
            <a:ext cx="586934" cy="0"/>
          </a:xfrm>
          <a:prstGeom prst="line">
            <a:avLst/>
          </a:prstGeom>
          <a:noFill/>
          <a:ln w="25400" cap="flat">
            <a:solidFill>
              <a:schemeClr val="accent6">
                <a:lumMod val="40000"/>
                <a:lumOff val="60000"/>
              </a:schemeClr>
            </a:solidFill>
            <a:prstDash val="solid"/>
            <a:miter lim="400000"/>
          </a:ln>
          <a:effectLst/>
        </p:spPr>
        <p:txBody>
          <a:bodyPr wrap="square" lIns="0" tIns="0" rIns="0" bIns="0" numCol="1"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1600" b="0" i="0" u="none" strike="noStrike" kern="1200" cap="none" spc="0" normalizeH="0" baseline="0" noProof="0" dirty="0">
              <a:ln>
                <a:noFill/>
              </a:ln>
              <a:solidFill>
                <a:srgbClr val="FFFFFF"/>
              </a:solidFill>
              <a:effectLst/>
              <a:uLnTx/>
              <a:uFillTx/>
              <a:latin typeface="OPPOSans R" panose="00020600040101010101" pitchFamily="18" charset="-122"/>
              <a:ea typeface="微软雅黑"/>
              <a:cs typeface="+mn-cs"/>
              <a:sym typeface="Helvetica Neue Medium"/>
            </a:endParaRPr>
          </a:p>
        </p:txBody>
      </p:sp>
      <p:sp>
        <p:nvSpPr>
          <p:cNvPr id="3421" name="gaoding-2"/>
          <p:cNvSpPr/>
          <p:nvPr/>
        </p:nvSpPr>
        <p:spPr>
          <a:xfrm>
            <a:off x="7471013" y="2989301"/>
            <a:ext cx="586934" cy="0"/>
          </a:xfrm>
          <a:prstGeom prst="line">
            <a:avLst/>
          </a:prstGeom>
          <a:noFill/>
          <a:ln w="25400" cap="flat">
            <a:solidFill>
              <a:schemeClr val="accent6">
                <a:lumMod val="40000"/>
                <a:lumOff val="60000"/>
              </a:schemeClr>
            </a:solidFill>
            <a:prstDash val="solid"/>
            <a:miter lim="400000"/>
          </a:ln>
          <a:effectLst/>
        </p:spPr>
        <p:txBody>
          <a:bodyPr wrap="square" lIns="0" tIns="0" rIns="0" bIns="0" numCol="1"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1600" b="0" i="0" u="none" strike="noStrike" kern="1200" cap="none" spc="0" normalizeH="0" baseline="0" noProof="0" dirty="0">
              <a:ln>
                <a:noFill/>
              </a:ln>
              <a:solidFill>
                <a:srgbClr val="FFFFFF"/>
              </a:solidFill>
              <a:effectLst/>
              <a:uLnTx/>
              <a:uFillTx/>
              <a:latin typeface="OPPOSans R" panose="00020600040101010101" pitchFamily="18" charset="-122"/>
              <a:ea typeface="微软雅黑"/>
              <a:cs typeface="+mn-cs"/>
              <a:sym typeface="Helvetica Neue Medium"/>
            </a:endParaRPr>
          </a:p>
        </p:txBody>
      </p:sp>
      <p:sp>
        <p:nvSpPr>
          <p:cNvPr id="3422" name="gaoding-3"/>
          <p:cNvSpPr/>
          <p:nvPr/>
        </p:nvSpPr>
        <p:spPr>
          <a:xfrm>
            <a:off x="7471013" y="4382253"/>
            <a:ext cx="586934" cy="0"/>
          </a:xfrm>
          <a:prstGeom prst="line">
            <a:avLst/>
          </a:prstGeom>
          <a:noFill/>
          <a:ln w="25400" cap="flat">
            <a:solidFill>
              <a:schemeClr val="accent6">
                <a:lumMod val="40000"/>
                <a:lumOff val="60000"/>
              </a:schemeClr>
            </a:solidFill>
            <a:prstDash val="solid"/>
            <a:miter lim="400000"/>
          </a:ln>
          <a:effectLst/>
        </p:spPr>
        <p:txBody>
          <a:bodyPr wrap="square" lIns="0" tIns="0" rIns="0" bIns="0" numCol="1"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1600" b="0" i="0" u="none" strike="noStrike" kern="1200" cap="none" spc="0" normalizeH="0" baseline="0" noProof="0" dirty="0">
              <a:ln>
                <a:noFill/>
              </a:ln>
              <a:solidFill>
                <a:srgbClr val="FFFFFF"/>
              </a:solidFill>
              <a:effectLst/>
              <a:uLnTx/>
              <a:uFillTx/>
              <a:latin typeface="OPPOSans R" panose="00020600040101010101" pitchFamily="18" charset="-122"/>
              <a:ea typeface="微软雅黑"/>
              <a:cs typeface="+mn-cs"/>
              <a:sym typeface="Helvetica Neue Medium"/>
            </a:endParaRPr>
          </a:p>
        </p:txBody>
      </p:sp>
      <p:sp>
        <p:nvSpPr>
          <p:cNvPr id="3423" name="gaoding-4"/>
          <p:cNvSpPr/>
          <p:nvPr/>
        </p:nvSpPr>
        <p:spPr>
          <a:xfrm>
            <a:off x="7471013" y="5796125"/>
            <a:ext cx="586934" cy="0"/>
          </a:xfrm>
          <a:prstGeom prst="line">
            <a:avLst/>
          </a:prstGeom>
          <a:noFill/>
          <a:ln w="25400" cap="flat">
            <a:solidFill>
              <a:schemeClr val="accent6">
                <a:lumMod val="40000"/>
                <a:lumOff val="60000"/>
              </a:schemeClr>
            </a:solidFill>
            <a:prstDash val="solid"/>
            <a:miter lim="400000"/>
          </a:ln>
          <a:effectLst/>
        </p:spPr>
        <p:txBody>
          <a:bodyPr wrap="square" lIns="0" tIns="0" rIns="0" bIns="0" numCol="1"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1600" b="0" i="0" u="none" strike="noStrike" kern="1200" cap="none" spc="0" normalizeH="0" baseline="0" noProof="0" dirty="0">
              <a:ln>
                <a:noFill/>
              </a:ln>
              <a:solidFill>
                <a:srgbClr val="FFFFFF"/>
              </a:solidFill>
              <a:effectLst/>
              <a:uLnTx/>
              <a:uFillTx/>
              <a:latin typeface="OPPOSans R" panose="00020600040101010101" pitchFamily="18" charset="-122"/>
              <a:ea typeface="微软雅黑"/>
              <a:cs typeface="+mn-cs"/>
              <a:sym typeface="Helvetica Neue Medium"/>
            </a:endParaRPr>
          </a:p>
        </p:txBody>
      </p:sp>
      <p:sp>
        <p:nvSpPr>
          <p:cNvPr id="3424" name="gaoding-5"/>
          <p:cNvSpPr/>
          <p:nvPr/>
        </p:nvSpPr>
        <p:spPr>
          <a:xfrm>
            <a:off x="3514045" y="3697501"/>
            <a:ext cx="562658" cy="0"/>
          </a:xfrm>
          <a:prstGeom prst="line">
            <a:avLst/>
          </a:prstGeom>
          <a:noFill/>
          <a:ln w="25400" cap="flat">
            <a:solidFill>
              <a:srgbClr val="D6D7DA"/>
            </a:solidFill>
            <a:prstDash val="solid"/>
            <a:miter lim="400000"/>
          </a:ln>
          <a:effectLst/>
        </p:spPr>
        <p:txBody>
          <a:bodyPr wrap="square" lIns="0" tIns="0" rIns="0" bIns="0" numCol="1"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1600" b="0" i="0" u="none" strike="noStrike" kern="1200" cap="none" spc="0" normalizeH="0" baseline="0" noProof="0" dirty="0">
              <a:ln>
                <a:noFill/>
              </a:ln>
              <a:solidFill>
                <a:srgbClr val="FFFFFF"/>
              </a:solidFill>
              <a:effectLst/>
              <a:uLnTx/>
              <a:uFillTx/>
              <a:latin typeface="OPPOSans R" panose="00020600040101010101" pitchFamily="18" charset="-122"/>
              <a:ea typeface="微软雅黑"/>
              <a:cs typeface="+mn-cs"/>
              <a:sym typeface="Helvetica Neue Medium"/>
            </a:endParaRPr>
          </a:p>
        </p:txBody>
      </p:sp>
      <p:sp>
        <p:nvSpPr>
          <p:cNvPr id="3425" name="gaoding-6"/>
          <p:cNvSpPr/>
          <p:nvPr/>
        </p:nvSpPr>
        <p:spPr>
          <a:xfrm rot="16200000">
            <a:off x="2306597" y="3348068"/>
            <a:ext cx="4216178" cy="673467"/>
          </a:xfrm>
          <a:custGeom>
            <a:avLst/>
            <a:gdLst/>
            <a:ahLst/>
            <a:cxnLst>
              <a:cxn ang="0">
                <a:pos x="wd2" y="hd2"/>
              </a:cxn>
              <a:cxn ang="5400000">
                <a:pos x="wd2" y="hd2"/>
              </a:cxn>
              <a:cxn ang="10800000">
                <a:pos x="wd2" y="hd2"/>
              </a:cxn>
              <a:cxn ang="16200000">
                <a:pos x="wd2" y="hd2"/>
              </a:cxn>
            </a:cxnLst>
            <a:rect l="0" t="0" r="r" b="b"/>
            <a:pathLst>
              <a:path w="21600" h="21521" extrusionOk="0">
                <a:moveTo>
                  <a:pt x="0" y="21410"/>
                </a:moveTo>
                <a:lnTo>
                  <a:pt x="0" y="4159"/>
                </a:lnTo>
                <a:cubicBezTo>
                  <a:pt x="1" y="3036"/>
                  <a:pt x="75" y="1963"/>
                  <a:pt x="204" y="1182"/>
                </a:cubicBezTo>
                <a:cubicBezTo>
                  <a:pt x="342" y="347"/>
                  <a:pt x="531" y="-79"/>
                  <a:pt x="723" y="12"/>
                </a:cubicBezTo>
                <a:lnTo>
                  <a:pt x="20948" y="12"/>
                </a:lnTo>
                <a:cubicBezTo>
                  <a:pt x="21140" y="27"/>
                  <a:pt x="21321" y="560"/>
                  <a:pt x="21445" y="1474"/>
                </a:cubicBezTo>
                <a:cubicBezTo>
                  <a:pt x="21544" y="2202"/>
                  <a:pt x="21599" y="3121"/>
                  <a:pt x="21600" y="4074"/>
                </a:cubicBezTo>
                <a:lnTo>
                  <a:pt x="21600" y="21521"/>
                </a:lnTo>
              </a:path>
            </a:pathLst>
          </a:custGeom>
          <a:noFill/>
          <a:ln w="25400" cap="flat">
            <a:solidFill>
              <a:schemeClr val="accent6">
                <a:lumMod val="40000"/>
                <a:lumOff val="60000"/>
              </a:schemeClr>
            </a:solidFill>
            <a:prstDash val="solid"/>
            <a:miter lim="400000"/>
          </a:ln>
          <a:effectLst/>
        </p:spPr>
        <p:txBody>
          <a:bodyPr wrap="square" lIns="0" tIns="0" rIns="0" bIns="0" numCol="1"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1600" b="0" i="0" u="none" strike="noStrike" kern="1200" cap="none" spc="0" normalizeH="0" baseline="0" noProof="0" dirty="0">
              <a:ln>
                <a:noFill/>
              </a:ln>
              <a:solidFill>
                <a:srgbClr val="FFFFFF"/>
              </a:solidFill>
              <a:effectLst/>
              <a:uLnTx/>
              <a:uFillTx/>
              <a:latin typeface="OPPOSans R" panose="00020600040101010101" pitchFamily="18" charset="-122"/>
              <a:ea typeface="微软雅黑"/>
              <a:cs typeface="+mn-cs"/>
              <a:sym typeface="Helvetica Neue Medium"/>
            </a:endParaRPr>
          </a:p>
        </p:txBody>
      </p:sp>
      <p:sp>
        <p:nvSpPr>
          <p:cNvPr id="3430" name="gaoding-7"/>
          <p:cNvSpPr/>
          <p:nvPr/>
        </p:nvSpPr>
        <p:spPr>
          <a:xfrm>
            <a:off x="4081312" y="2982067"/>
            <a:ext cx="679132" cy="0"/>
          </a:xfrm>
          <a:prstGeom prst="line">
            <a:avLst/>
          </a:prstGeom>
          <a:noFill/>
          <a:ln w="25400" cap="flat">
            <a:solidFill>
              <a:schemeClr val="accent6">
                <a:lumMod val="40000"/>
                <a:lumOff val="60000"/>
              </a:schemeClr>
            </a:solidFill>
            <a:prstDash val="solid"/>
            <a:miter lim="400000"/>
          </a:ln>
          <a:effectLst/>
        </p:spPr>
        <p:txBody>
          <a:bodyPr wrap="square" lIns="0" tIns="0" rIns="0" bIns="0" numCol="1"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1600" b="0" i="0" u="none" strike="noStrike" kern="1200" cap="none" spc="0" normalizeH="0" baseline="0" noProof="0" dirty="0">
              <a:ln>
                <a:noFill/>
              </a:ln>
              <a:solidFill>
                <a:srgbClr val="FFFFFF"/>
              </a:solidFill>
              <a:effectLst/>
              <a:uLnTx/>
              <a:uFillTx/>
              <a:latin typeface="OPPOSans R" panose="00020600040101010101" pitchFamily="18" charset="-122"/>
              <a:ea typeface="微软雅黑"/>
              <a:cs typeface="+mn-cs"/>
              <a:sym typeface="Helvetica Neue Medium"/>
            </a:endParaRPr>
          </a:p>
        </p:txBody>
      </p:sp>
      <p:sp>
        <p:nvSpPr>
          <p:cNvPr id="3431" name="gaoding-8"/>
          <p:cNvSpPr/>
          <p:nvPr/>
        </p:nvSpPr>
        <p:spPr>
          <a:xfrm>
            <a:off x="4079195" y="4374835"/>
            <a:ext cx="679132" cy="0"/>
          </a:xfrm>
          <a:prstGeom prst="line">
            <a:avLst/>
          </a:prstGeom>
          <a:noFill/>
          <a:ln w="25400" cap="flat">
            <a:solidFill>
              <a:schemeClr val="accent6">
                <a:lumMod val="40000"/>
                <a:lumOff val="60000"/>
              </a:schemeClr>
            </a:solidFill>
            <a:prstDash val="solid"/>
            <a:miter lim="400000"/>
          </a:ln>
          <a:effectLst/>
        </p:spPr>
        <p:txBody>
          <a:bodyPr wrap="square" lIns="0" tIns="0" rIns="0" bIns="0" numCol="1"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1600" b="0" i="0" u="none" strike="noStrike" kern="1200" cap="none" spc="0" normalizeH="0" baseline="0" noProof="0" dirty="0">
              <a:ln>
                <a:noFill/>
              </a:ln>
              <a:solidFill>
                <a:srgbClr val="FFFFFF"/>
              </a:solidFill>
              <a:effectLst/>
              <a:uLnTx/>
              <a:uFillTx/>
              <a:latin typeface="OPPOSans R" panose="00020600040101010101" pitchFamily="18" charset="-122"/>
              <a:ea typeface="微软雅黑"/>
              <a:cs typeface="+mn-cs"/>
              <a:sym typeface="Helvetica Neue Medium"/>
            </a:endParaRPr>
          </a:p>
        </p:txBody>
      </p:sp>
      <p:sp>
        <p:nvSpPr>
          <p:cNvPr id="3432" name="gaoding-9"/>
          <p:cNvSpPr/>
          <p:nvPr/>
        </p:nvSpPr>
        <p:spPr>
          <a:xfrm>
            <a:off x="4698792" y="1277139"/>
            <a:ext cx="2789236" cy="615488"/>
          </a:xfrm>
          <a:custGeom>
            <a:avLst/>
            <a:gdLst/>
            <a:ahLst/>
            <a:cxnLst>
              <a:cxn ang="0">
                <a:pos x="wd2" y="hd2"/>
              </a:cxn>
              <a:cxn ang="5400000">
                <a:pos x="wd2" y="hd2"/>
              </a:cxn>
              <a:cxn ang="10800000">
                <a:pos x="wd2" y="hd2"/>
              </a:cxn>
              <a:cxn ang="16200000">
                <a:pos x="wd2" y="hd2"/>
              </a:cxn>
            </a:cxnLst>
            <a:rect l="0" t="0" r="r" b="b"/>
            <a:pathLst>
              <a:path w="21600" h="21600" extrusionOk="0">
                <a:moveTo>
                  <a:pt x="917" y="0"/>
                </a:moveTo>
                <a:lnTo>
                  <a:pt x="20683" y="0"/>
                </a:lnTo>
                <a:cubicBezTo>
                  <a:pt x="20815" y="0"/>
                  <a:pt x="20914" y="0"/>
                  <a:pt x="20998" y="25"/>
                </a:cubicBezTo>
                <a:cubicBezTo>
                  <a:pt x="21082" y="51"/>
                  <a:pt x="21150" y="102"/>
                  <a:pt x="21221" y="204"/>
                </a:cubicBezTo>
                <a:cubicBezTo>
                  <a:pt x="21299" y="332"/>
                  <a:pt x="21368" y="534"/>
                  <a:pt x="21425" y="792"/>
                </a:cubicBezTo>
                <a:cubicBezTo>
                  <a:pt x="21482" y="1051"/>
                  <a:pt x="21527" y="1365"/>
                  <a:pt x="21555" y="1716"/>
                </a:cubicBezTo>
                <a:cubicBezTo>
                  <a:pt x="21578" y="2037"/>
                  <a:pt x="21589" y="2349"/>
                  <a:pt x="21594" y="2732"/>
                </a:cubicBezTo>
                <a:cubicBezTo>
                  <a:pt x="21600" y="3115"/>
                  <a:pt x="21600" y="3568"/>
                  <a:pt x="21600" y="4173"/>
                </a:cubicBezTo>
                <a:lnTo>
                  <a:pt x="21600" y="17445"/>
                </a:lnTo>
                <a:cubicBezTo>
                  <a:pt x="21600" y="18041"/>
                  <a:pt x="21600" y="18490"/>
                  <a:pt x="21594" y="18870"/>
                </a:cubicBezTo>
                <a:cubicBezTo>
                  <a:pt x="21589" y="19251"/>
                  <a:pt x="21578" y="19563"/>
                  <a:pt x="21555" y="19884"/>
                </a:cubicBezTo>
                <a:cubicBezTo>
                  <a:pt x="21527" y="20235"/>
                  <a:pt x="21482" y="20549"/>
                  <a:pt x="21425" y="20808"/>
                </a:cubicBezTo>
                <a:cubicBezTo>
                  <a:pt x="21368" y="21066"/>
                  <a:pt x="21299" y="21268"/>
                  <a:pt x="21221" y="21396"/>
                </a:cubicBezTo>
                <a:cubicBezTo>
                  <a:pt x="21150" y="21498"/>
                  <a:pt x="21082" y="21549"/>
                  <a:pt x="20997" y="21575"/>
                </a:cubicBezTo>
                <a:cubicBezTo>
                  <a:pt x="20913" y="21600"/>
                  <a:pt x="20813" y="21600"/>
                  <a:pt x="20679" y="21600"/>
                </a:cubicBezTo>
                <a:lnTo>
                  <a:pt x="917" y="21600"/>
                </a:lnTo>
                <a:cubicBezTo>
                  <a:pt x="785" y="21600"/>
                  <a:pt x="686" y="21600"/>
                  <a:pt x="602" y="21575"/>
                </a:cubicBezTo>
                <a:cubicBezTo>
                  <a:pt x="518" y="21549"/>
                  <a:pt x="450" y="21498"/>
                  <a:pt x="379" y="21396"/>
                </a:cubicBezTo>
                <a:cubicBezTo>
                  <a:pt x="301" y="21268"/>
                  <a:pt x="232" y="21066"/>
                  <a:pt x="175" y="20808"/>
                </a:cubicBezTo>
                <a:cubicBezTo>
                  <a:pt x="118" y="20549"/>
                  <a:pt x="73" y="20235"/>
                  <a:pt x="45" y="19884"/>
                </a:cubicBezTo>
                <a:cubicBezTo>
                  <a:pt x="22" y="19563"/>
                  <a:pt x="11" y="19251"/>
                  <a:pt x="6" y="18868"/>
                </a:cubicBezTo>
                <a:cubicBezTo>
                  <a:pt x="0" y="18485"/>
                  <a:pt x="0" y="18032"/>
                  <a:pt x="0" y="17427"/>
                </a:cubicBezTo>
                <a:lnTo>
                  <a:pt x="0" y="4155"/>
                </a:lnTo>
                <a:cubicBezTo>
                  <a:pt x="0" y="3559"/>
                  <a:pt x="0" y="3110"/>
                  <a:pt x="6" y="2730"/>
                </a:cubicBezTo>
                <a:cubicBezTo>
                  <a:pt x="11" y="2349"/>
                  <a:pt x="22" y="2037"/>
                  <a:pt x="45" y="1716"/>
                </a:cubicBezTo>
                <a:cubicBezTo>
                  <a:pt x="73" y="1365"/>
                  <a:pt x="118" y="1051"/>
                  <a:pt x="175" y="792"/>
                </a:cubicBezTo>
                <a:cubicBezTo>
                  <a:pt x="232" y="534"/>
                  <a:pt x="301" y="332"/>
                  <a:pt x="379" y="204"/>
                </a:cubicBezTo>
                <a:cubicBezTo>
                  <a:pt x="450" y="102"/>
                  <a:pt x="518" y="51"/>
                  <a:pt x="603" y="25"/>
                </a:cubicBezTo>
                <a:cubicBezTo>
                  <a:pt x="687" y="0"/>
                  <a:pt x="787" y="0"/>
                  <a:pt x="921" y="0"/>
                </a:cubicBezTo>
                <a:lnTo>
                  <a:pt x="917" y="0"/>
                </a:lnTo>
                <a:close/>
              </a:path>
            </a:pathLst>
          </a:custGeom>
          <a:gradFill flip="none" rotWithShape="1">
            <a:gsLst>
              <a:gs pos="1000">
                <a:schemeClr val="accent1"/>
              </a:gs>
              <a:gs pos="100000">
                <a:schemeClr val="accent1">
                  <a:lumMod val="60000"/>
                  <a:lumOff val="40000"/>
                </a:schemeClr>
              </a:gs>
            </a:gsLst>
            <a:lin ang="27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5720" tIns="22860" rIns="45720" bIns="228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FFFFFF"/>
              </a:solidFill>
              <a:effectLst/>
              <a:uLnTx/>
              <a:uFillTx/>
              <a:latin typeface="OPPOSans R" panose="00020600040101010101" pitchFamily="18" charset="-122"/>
              <a:ea typeface="微软雅黑"/>
              <a:cs typeface="+mn-cs"/>
            </a:endParaRPr>
          </a:p>
        </p:txBody>
      </p:sp>
      <p:sp>
        <p:nvSpPr>
          <p:cNvPr id="3433" name="gaoding-10"/>
          <p:cNvSpPr txBox="1"/>
          <p:nvPr/>
        </p:nvSpPr>
        <p:spPr>
          <a:xfrm>
            <a:off x="5847974" y="1424862"/>
            <a:ext cx="1493452" cy="328295"/>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25400" tIns="25400" rIns="25400" bIns="25400" numCol="1" anchor="t">
            <a:spAutoFit/>
          </a:bodyPr>
          <a:lstStyle>
            <a:lvl1pPr algn="l">
              <a:defRPr sz="2800" b="0">
                <a:solidFill>
                  <a:srgbClr val="FFFFFF"/>
                </a:solidFill>
                <a:latin typeface="Barlow Bold"/>
                <a:ea typeface="Barlow Bold"/>
                <a:cs typeface="Barlow Bold"/>
                <a:sym typeface="Barlow Bold"/>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800" b="1" i="0" u="none" strike="noStrike" kern="1200" cap="none" spc="0" normalizeH="0" baseline="0" noProof="0" dirty="0">
                <a:ln>
                  <a:noFill/>
                </a:ln>
                <a:solidFill>
                  <a:srgbClr val="FFFFFF"/>
                </a:solidFill>
                <a:effectLst/>
                <a:uLnTx/>
                <a:uFillTx/>
                <a:latin typeface="OPPOSans R" panose="00020600040101010101" pitchFamily="18" charset="-122"/>
                <a:ea typeface="OPPOSans R" panose="00020600040101010101" pitchFamily="18" charset="-122"/>
                <a:cs typeface="OPPOSans R" panose="00020600040101010101" pitchFamily="18" charset="-122"/>
                <a:sym typeface="Barlow Bold"/>
              </a:rPr>
              <a:t>更快更轻松</a:t>
            </a:r>
            <a:endParaRPr kumimoji="0" sz="1800" b="1" i="0" u="none" strike="noStrike" kern="1200" cap="none" spc="0" normalizeH="0" baseline="0" noProof="0" dirty="0">
              <a:ln>
                <a:noFill/>
              </a:ln>
              <a:solidFill>
                <a:srgbClr val="FFFFFF"/>
              </a:solidFill>
              <a:effectLst/>
              <a:uLnTx/>
              <a:uFillTx/>
              <a:latin typeface="OPPOSans R" panose="00020600040101010101" pitchFamily="18" charset="-122"/>
              <a:ea typeface="OPPOSans R" panose="00020600040101010101" pitchFamily="18" charset="-122"/>
              <a:cs typeface="OPPOSans R" panose="00020600040101010101" pitchFamily="18" charset="-122"/>
              <a:sym typeface="Barlow Bold"/>
            </a:endParaRPr>
          </a:p>
        </p:txBody>
      </p:sp>
      <p:sp>
        <p:nvSpPr>
          <p:cNvPr id="3434" name="gaoding-11"/>
          <p:cNvSpPr/>
          <p:nvPr/>
        </p:nvSpPr>
        <p:spPr>
          <a:xfrm>
            <a:off x="4883572" y="1148469"/>
            <a:ext cx="860128" cy="860128"/>
          </a:xfrm>
          <a:prstGeom prst="ellipse">
            <a:avLst/>
          </a:prstGeom>
          <a:solidFill>
            <a:schemeClr val="bg1"/>
          </a:solidFill>
          <a:ln w="12700" cap="flat">
            <a:noFill/>
            <a:miter lim="400000"/>
          </a:ln>
          <a:effectLst>
            <a:outerShdw blurRad="190500" sx="103000" sy="103000" algn="ctr" rotWithShape="0">
              <a:schemeClr val="accent1">
                <a:lumMod val="50000"/>
                <a:alpha val="20000"/>
              </a:schemeClr>
            </a:outerShdw>
          </a:effectLst>
        </p:spPr>
        <p:txBody>
          <a:bodyPr wrap="square" lIns="0" tIns="0" rIns="0" bIns="0" numCol="1"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600" b="0" i="0" u="none" strike="noStrike" kern="1200" cap="none" spc="0" normalizeH="0" baseline="0" noProof="0" dirty="0">
              <a:ln>
                <a:noFill/>
              </a:ln>
              <a:solidFill>
                <a:srgbClr val="FFFFFF"/>
              </a:solidFill>
              <a:effectLst/>
              <a:uLnTx/>
              <a:uFillTx/>
              <a:latin typeface="OPPOSans R" panose="00020600040101010101" pitchFamily="18" charset="-122"/>
              <a:ea typeface="微软雅黑"/>
              <a:cs typeface="+mn-cs"/>
            </a:endParaRPr>
          </a:p>
        </p:txBody>
      </p:sp>
      <p:sp>
        <p:nvSpPr>
          <p:cNvPr id="3436" name="gaoding-12"/>
          <p:cNvSpPr/>
          <p:nvPr/>
        </p:nvSpPr>
        <p:spPr>
          <a:xfrm>
            <a:off x="4698792" y="4083963"/>
            <a:ext cx="2789236" cy="615488"/>
          </a:xfrm>
          <a:custGeom>
            <a:avLst/>
            <a:gdLst/>
            <a:ahLst/>
            <a:cxnLst>
              <a:cxn ang="0">
                <a:pos x="wd2" y="hd2"/>
              </a:cxn>
              <a:cxn ang="5400000">
                <a:pos x="wd2" y="hd2"/>
              </a:cxn>
              <a:cxn ang="10800000">
                <a:pos x="wd2" y="hd2"/>
              </a:cxn>
              <a:cxn ang="16200000">
                <a:pos x="wd2" y="hd2"/>
              </a:cxn>
            </a:cxnLst>
            <a:rect l="0" t="0" r="r" b="b"/>
            <a:pathLst>
              <a:path w="21600" h="21600" extrusionOk="0">
                <a:moveTo>
                  <a:pt x="917" y="0"/>
                </a:moveTo>
                <a:lnTo>
                  <a:pt x="20683" y="0"/>
                </a:lnTo>
                <a:cubicBezTo>
                  <a:pt x="20815" y="0"/>
                  <a:pt x="20914" y="0"/>
                  <a:pt x="20998" y="25"/>
                </a:cubicBezTo>
                <a:cubicBezTo>
                  <a:pt x="21082" y="51"/>
                  <a:pt x="21150" y="102"/>
                  <a:pt x="21221" y="204"/>
                </a:cubicBezTo>
                <a:cubicBezTo>
                  <a:pt x="21299" y="332"/>
                  <a:pt x="21368" y="534"/>
                  <a:pt x="21425" y="792"/>
                </a:cubicBezTo>
                <a:cubicBezTo>
                  <a:pt x="21482" y="1051"/>
                  <a:pt x="21527" y="1365"/>
                  <a:pt x="21555" y="1716"/>
                </a:cubicBezTo>
                <a:cubicBezTo>
                  <a:pt x="21578" y="2037"/>
                  <a:pt x="21589" y="2349"/>
                  <a:pt x="21594" y="2732"/>
                </a:cubicBezTo>
                <a:cubicBezTo>
                  <a:pt x="21600" y="3115"/>
                  <a:pt x="21600" y="3568"/>
                  <a:pt x="21600" y="4173"/>
                </a:cubicBezTo>
                <a:lnTo>
                  <a:pt x="21600" y="17445"/>
                </a:lnTo>
                <a:cubicBezTo>
                  <a:pt x="21600" y="18041"/>
                  <a:pt x="21600" y="18490"/>
                  <a:pt x="21594" y="18870"/>
                </a:cubicBezTo>
                <a:cubicBezTo>
                  <a:pt x="21589" y="19251"/>
                  <a:pt x="21578" y="19563"/>
                  <a:pt x="21555" y="19884"/>
                </a:cubicBezTo>
                <a:cubicBezTo>
                  <a:pt x="21527" y="20235"/>
                  <a:pt x="21482" y="20549"/>
                  <a:pt x="21425" y="20808"/>
                </a:cubicBezTo>
                <a:cubicBezTo>
                  <a:pt x="21368" y="21066"/>
                  <a:pt x="21299" y="21268"/>
                  <a:pt x="21221" y="21396"/>
                </a:cubicBezTo>
                <a:cubicBezTo>
                  <a:pt x="21150" y="21498"/>
                  <a:pt x="21082" y="21549"/>
                  <a:pt x="20997" y="21575"/>
                </a:cubicBezTo>
                <a:cubicBezTo>
                  <a:pt x="20913" y="21600"/>
                  <a:pt x="20813" y="21600"/>
                  <a:pt x="20679" y="21600"/>
                </a:cubicBezTo>
                <a:lnTo>
                  <a:pt x="917" y="21600"/>
                </a:lnTo>
                <a:cubicBezTo>
                  <a:pt x="785" y="21600"/>
                  <a:pt x="686" y="21600"/>
                  <a:pt x="602" y="21575"/>
                </a:cubicBezTo>
                <a:cubicBezTo>
                  <a:pt x="518" y="21549"/>
                  <a:pt x="450" y="21498"/>
                  <a:pt x="379" y="21396"/>
                </a:cubicBezTo>
                <a:cubicBezTo>
                  <a:pt x="301" y="21268"/>
                  <a:pt x="232" y="21066"/>
                  <a:pt x="175" y="20808"/>
                </a:cubicBezTo>
                <a:cubicBezTo>
                  <a:pt x="118" y="20549"/>
                  <a:pt x="73" y="20235"/>
                  <a:pt x="45" y="19884"/>
                </a:cubicBezTo>
                <a:cubicBezTo>
                  <a:pt x="22" y="19563"/>
                  <a:pt x="11" y="19251"/>
                  <a:pt x="6" y="18868"/>
                </a:cubicBezTo>
                <a:cubicBezTo>
                  <a:pt x="0" y="18485"/>
                  <a:pt x="0" y="18032"/>
                  <a:pt x="0" y="17427"/>
                </a:cubicBezTo>
                <a:lnTo>
                  <a:pt x="0" y="4155"/>
                </a:lnTo>
                <a:cubicBezTo>
                  <a:pt x="0" y="3559"/>
                  <a:pt x="0" y="3110"/>
                  <a:pt x="6" y="2730"/>
                </a:cubicBezTo>
                <a:cubicBezTo>
                  <a:pt x="11" y="2349"/>
                  <a:pt x="22" y="2037"/>
                  <a:pt x="45" y="1716"/>
                </a:cubicBezTo>
                <a:cubicBezTo>
                  <a:pt x="73" y="1365"/>
                  <a:pt x="118" y="1051"/>
                  <a:pt x="175" y="792"/>
                </a:cubicBezTo>
                <a:cubicBezTo>
                  <a:pt x="232" y="534"/>
                  <a:pt x="301" y="332"/>
                  <a:pt x="379" y="204"/>
                </a:cubicBezTo>
                <a:cubicBezTo>
                  <a:pt x="450" y="102"/>
                  <a:pt x="518" y="51"/>
                  <a:pt x="603" y="25"/>
                </a:cubicBezTo>
                <a:cubicBezTo>
                  <a:pt x="687" y="0"/>
                  <a:pt x="787" y="0"/>
                  <a:pt x="921" y="0"/>
                </a:cubicBezTo>
                <a:lnTo>
                  <a:pt x="917" y="0"/>
                </a:lnTo>
                <a:close/>
              </a:path>
            </a:pathLst>
          </a:custGeom>
          <a:gradFill flip="none" rotWithShape="1">
            <a:gsLst>
              <a:gs pos="1000">
                <a:schemeClr val="accent3"/>
              </a:gs>
              <a:gs pos="100000">
                <a:schemeClr val="accent3">
                  <a:lumMod val="60000"/>
                  <a:lumOff val="40000"/>
                </a:schemeClr>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5720" tIns="22860" rIns="45720" bIns="228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FFFFFF"/>
              </a:solidFill>
              <a:effectLst/>
              <a:uLnTx/>
              <a:uFillTx/>
              <a:latin typeface="OPPOSans R" panose="00020600040101010101" pitchFamily="18" charset="-122"/>
              <a:ea typeface="微软雅黑"/>
              <a:cs typeface="+mn-cs"/>
            </a:endParaRPr>
          </a:p>
        </p:txBody>
      </p:sp>
      <p:sp>
        <p:nvSpPr>
          <p:cNvPr id="3437" name="gaoding-13"/>
          <p:cNvSpPr txBox="1"/>
          <p:nvPr/>
        </p:nvSpPr>
        <p:spPr>
          <a:xfrm>
            <a:off x="5847974" y="4231686"/>
            <a:ext cx="1493452" cy="328295"/>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25400" tIns="25400" rIns="25400" bIns="25400" numCol="1" anchor="t">
            <a:spAutoFit/>
          </a:bodyPr>
          <a:lstStyle>
            <a:lvl1pPr algn="l">
              <a:defRPr sz="2800" b="0">
                <a:solidFill>
                  <a:srgbClr val="FFFFFF"/>
                </a:solidFill>
                <a:latin typeface="Barlow Bold"/>
                <a:ea typeface="Barlow Bold"/>
                <a:cs typeface="Barlow Bold"/>
                <a:sym typeface="Barlow Bold"/>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800" b="1" i="0" u="none" strike="noStrike" kern="1200" cap="none" spc="0" normalizeH="0" baseline="0" noProof="0" dirty="0">
                <a:ln>
                  <a:noFill/>
                </a:ln>
                <a:solidFill>
                  <a:srgbClr val="FFFFFF"/>
                </a:solidFill>
                <a:effectLst/>
                <a:uLnTx/>
                <a:uFillTx/>
                <a:latin typeface="OPPOSans R" panose="00020600040101010101" pitchFamily="18" charset="-122"/>
                <a:ea typeface="OPPOSans R" panose="00020600040101010101" pitchFamily="18" charset="-122"/>
                <a:cs typeface="OPPOSans R" panose="00020600040101010101" pitchFamily="18" charset="-122"/>
                <a:sym typeface="Barlow Bold"/>
              </a:rPr>
              <a:t>千余款模板</a:t>
            </a:r>
            <a:endParaRPr kumimoji="0" sz="1800" b="1" i="0" u="none" strike="noStrike" kern="1200" cap="none" spc="0" normalizeH="0" baseline="0" noProof="0" dirty="0">
              <a:ln>
                <a:noFill/>
              </a:ln>
              <a:solidFill>
                <a:srgbClr val="FFFFFF"/>
              </a:solidFill>
              <a:effectLst/>
              <a:uLnTx/>
              <a:uFillTx/>
              <a:latin typeface="OPPOSans R" panose="00020600040101010101" pitchFamily="18" charset="-122"/>
              <a:ea typeface="OPPOSans R" panose="00020600040101010101" pitchFamily="18" charset="-122"/>
              <a:cs typeface="OPPOSans R" panose="00020600040101010101" pitchFamily="18" charset="-122"/>
              <a:sym typeface="Barlow Bold"/>
            </a:endParaRPr>
          </a:p>
        </p:txBody>
      </p:sp>
      <p:sp>
        <p:nvSpPr>
          <p:cNvPr id="3438" name="gaoding-14"/>
          <p:cNvSpPr/>
          <p:nvPr/>
        </p:nvSpPr>
        <p:spPr>
          <a:xfrm>
            <a:off x="4883572" y="3955293"/>
            <a:ext cx="860128" cy="860128"/>
          </a:xfrm>
          <a:prstGeom prst="ellipse">
            <a:avLst/>
          </a:prstGeom>
          <a:solidFill>
            <a:schemeClr val="bg1"/>
          </a:solidFill>
          <a:ln w="12700" cap="flat">
            <a:noFill/>
            <a:miter lim="400000"/>
          </a:ln>
          <a:effectLst>
            <a:outerShdw blurRad="190500" sx="103000" sy="103000" algn="ctr" rotWithShape="0">
              <a:schemeClr val="accent3">
                <a:lumMod val="50000"/>
                <a:alpha val="20000"/>
              </a:schemeClr>
            </a:outerShdw>
          </a:effectLst>
        </p:spPr>
        <p:txBody>
          <a:bodyPr wrap="square" lIns="0" tIns="0" rIns="0" bIns="0" numCol="1"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600" b="0" i="0" u="none" strike="noStrike" kern="1200" cap="none" spc="0" normalizeH="0" baseline="0" noProof="0" dirty="0">
              <a:ln>
                <a:noFill/>
              </a:ln>
              <a:solidFill>
                <a:srgbClr val="FFFFFF"/>
              </a:solidFill>
              <a:effectLst/>
              <a:uLnTx/>
              <a:uFillTx/>
              <a:latin typeface="OPPOSans R" panose="00020600040101010101" pitchFamily="18" charset="-122"/>
              <a:ea typeface="微软雅黑"/>
              <a:cs typeface="+mn-cs"/>
            </a:endParaRPr>
          </a:p>
        </p:txBody>
      </p:sp>
      <p:sp>
        <p:nvSpPr>
          <p:cNvPr id="3440" name="gaoding-15"/>
          <p:cNvSpPr/>
          <p:nvPr/>
        </p:nvSpPr>
        <p:spPr>
          <a:xfrm>
            <a:off x="4698792" y="2680550"/>
            <a:ext cx="2789236" cy="615488"/>
          </a:xfrm>
          <a:custGeom>
            <a:avLst/>
            <a:gdLst/>
            <a:ahLst/>
            <a:cxnLst>
              <a:cxn ang="0">
                <a:pos x="wd2" y="hd2"/>
              </a:cxn>
              <a:cxn ang="5400000">
                <a:pos x="wd2" y="hd2"/>
              </a:cxn>
              <a:cxn ang="10800000">
                <a:pos x="wd2" y="hd2"/>
              </a:cxn>
              <a:cxn ang="16200000">
                <a:pos x="wd2" y="hd2"/>
              </a:cxn>
            </a:cxnLst>
            <a:rect l="0" t="0" r="r" b="b"/>
            <a:pathLst>
              <a:path w="21600" h="21600" extrusionOk="0">
                <a:moveTo>
                  <a:pt x="917" y="0"/>
                </a:moveTo>
                <a:lnTo>
                  <a:pt x="20683" y="0"/>
                </a:lnTo>
                <a:cubicBezTo>
                  <a:pt x="20815" y="0"/>
                  <a:pt x="20914" y="0"/>
                  <a:pt x="20998" y="25"/>
                </a:cubicBezTo>
                <a:cubicBezTo>
                  <a:pt x="21082" y="51"/>
                  <a:pt x="21150" y="102"/>
                  <a:pt x="21221" y="204"/>
                </a:cubicBezTo>
                <a:cubicBezTo>
                  <a:pt x="21299" y="332"/>
                  <a:pt x="21368" y="534"/>
                  <a:pt x="21425" y="792"/>
                </a:cubicBezTo>
                <a:cubicBezTo>
                  <a:pt x="21482" y="1051"/>
                  <a:pt x="21527" y="1365"/>
                  <a:pt x="21555" y="1716"/>
                </a:cubicBezTo>
                <a:cubicBezTo>
                  <a:pt x="21578" y="2037"/>
                  <a:pt x="21589" y="2349"/>
                  <a:pt x="21594" y="2732"/>
                </a:cubicBezTo>
                <a:cubicBezTo>
                  <a:pt x="21600" y="3115"/>
                  <a:pt x="21600" y="3568"/>
                  <a:pt x="21600" y="4173"/>
                </a:cubicBezTo>
                <a:lnTo>
                  <a:pt x="21600" y="17445"/>
                </a:lnTo>
                <a:cubicBezTo>
                  <a:pt x="21600" y="18041"/>
                  <a:pt x="21600" y="18490"/>
                  <a:pt x="21594" y="18870"/>
                </a:cubicBezTo>
                <a:cubicBezTo>
                  <a:pt x="21589" y="19251"/>
                  <a:pt x="21578" y="19563"/>
                  <a:pt x="21555" y="19884"/>
                </a:cubicBezTo>
                <a:cubicBezTo>
                  <a:pt x="21527" y="20235"/>
                  <a:pt x="21482" y="20549"/>
                  <a:pt x="21425" y="20808"/>
                </a:cubicBezTo>
                <a:cubicBezTo>
                  <a:pt x="21368" y="21066"/>
                  <a:pt x="21299" y="21268"/>
                  <a:pt x="21221" y="21396"/>
                </a:cubicBezTo>
                <a:cubicBezTo>
                  <a:pt x="21150" y="21498"/>
                  <a:pt x="21082" y="21549"/>
                  <a:pt x="20997" y="21575"/>
                </a:cubicBezTo>
                <a:cubicBezTo>
                  <a:pt x="20913" y="21600"/>
                  <a:pt x="20813" y="21600"/>
                  <a:pt x="20679" y="21600"/>
                </a:cubicBezTo>
                <a:lnTo>
                  <a:pt x="917" y="21600"/>
                </a:lnTo>
                <a:cubicBezTo>
                  <a:pt x="785" y="21600"/>
                  <a:pt x="686" y="21600"/>
                  <a:pt x="602" y="21575"/>
                </a:cubicBezTo>
                <a:cubicBezTo>
                  <a:pt x="518" y="21549"/>
                  <a:pt x="450" y="21498"/>
                  <a:pt x="379" y="21396"/>
                </a:cubicBezTo>
                <a:cubicBezTo>
                  <a:pt x="301" y="21268"/>
                  <a:pt x="232" y="21066"/>
                  <a:pt x="175" y="20808"/>
                </a:cubicBezTo>
                <a:cubicBezTo>
                  <a:pt x="118" y="20549"/>
                  <a:pt x="73" y="20235"/>
                  <a:pt x="45" y="19884"/>
                </a:cubicBezTo>
                <a:cubicBezTo>
                  <a:pt x="22" y="19563"/>
                  <a:pt x="11" y="19251"/>
                  <a:pt x="6" y="18868"/>
                </a:cubicBezTo>
                <a:cubicBezTo>
                  <a:pt x="0" y="18485"/>
                  <a:pt x="0" y="18032"/>
                  <a:pt x="0" y="17427"/>
                </a:cubicBezTo>
                <a:lnTo>
                  <a:pt x="0" y="4155"/>
                </a:lnTo>
                <a:cubicBezTo>
                  <a:pt x="0" y="3559"/>
                  <a:pt x="0" y="3110"/>
                  <a:pt x="6" y="2730"/>
                </a:cubicBezTo>
                <a:cubicBezTo>
                  <a:pt x="11" y="2349"/>
                  <a:pt x="22" y="2037"/>
                  <a:pt x="45" y="1716"/>
                </a:cubicBezTo>
                <a:cubicBezTo>
                  <a:pt x="73" y="1365"/>
                  <a:pt x="118" y="1051"/>
                  <a:pt x="175" y="792"/>
                </a:cubicBezTo>
                <a:cubicBezTo>
                  <a:pt x="232" y="534"/>
                  <a:pt x="301" y="332"/>
                  <a:pt x="379" y="204"/>
                </a:cubicBezTo>
                <a:cubicBezTo>
                  <a:pt x="450" y="102"/>
                  <a:pt x="518" y="51"/>
                  <a:pt x="603" y="25"/>
                </a:cubicBezTo>
                <a:cubicBezTo>
                  <a:pt x="687" y="0"/>
                  <a:pt x="787" y="0"/>
                  <a:pt x="921" y="0"/>
                </a:cubicBezTo>
                <a:lnTo>
                  <a:pt x="917" y="0"/>
                </a:lnTo>
                <a:close/>
              </a:path>
            </a:pathLst>
          </a:custGeom>
          <a:gradFill flip="none" rotWithShape="1">
            <a:gsLst>
              <a:gs pos="1000">
                <a:schemeClr val="accent2"/>
              </a:gs>
              <a:gs pos="100000">
                <a:schemeClr val="accent2">
                  <a:lumMod val="60000"/>
                  <a:lumOff val="40000"/>
                </a:schemeClr>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5720" tIns="22860" rIns="45720" bIns="228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FFFFFF"/>
              </a:solidFill>
              <a:effectLst/>
              <a:uLnTx/>
              <a:uFillTx/>
              <a:latin typeface="OPPOSans R" panose="00020600040101010101" pitchFamily="18" charset="-122"/>
              <a:ea typeface="微软雅黑"/>
              <a:cs typeface="+mn-cs"/>
            </a:endParaRPr>
          </a:p>
        </p:txBody>
      </p:sp>
      <p:sp>
        <p:nvSpPr>
          <p:cNvPr id="3441" name="gaoding-16"/>
          <p:cNvSpPr txBox="1"/>
          <p:nvPr/>
        </p:nvSpPr>
        <p:spPr>
          <a:xfrm>
            <a:off x="5847974" y="2828274"/>
            <a:ext cx="1493452" cy="328295"/>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25400" tIns="25400" rIns="25400" bIns="25400" numCol="1" anchor="t">
            <a:spAutoFit/>
          </a:bodyPr>
          <a:lstStyle>
            <a:lvl1pPr algn="l">
              <a:defRPr sz="2800" b="0">
                <a:solidFill>
                  <a:srgbClr val="FFFFFF"/>
                </a:solidFill>
                <a:latin typeface="Barlow Bold"/>
                <a:ea typeface="Barlow Bold"/>
                <a:cs typeface="Barlow Bold"/>
                <a:sym typeface="Barlow Bold"/>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800" b="1" i="0" u="none" strike="noStrike" kern="1200" cap="none" spc="0" normalizeH="0" baseline="0" noProof="0" dirty="0">
                <a:ln>
                  <a:noFill/>
                </a:ln>
                <a:solidFill>
                  <a:srgbClr val="FFFFFF"/>
                </a:solidFill>
                <a:effectLst/>
                <a:uLnTx/>
                <a:uFillTx/>
                <a:latin typeface="OPPOSans R" panose="00020600040101010101" pitchFamily="18" charset="-122"/>
                <a:ea typeface="OPPOSans R" panose="00020600040101010101" pitchFamily="18" charset="-122"/>
                <a:cs typeface="OPPOSans R" panose="00020600040101010101" pitchFamily="18" charset="-122"/>
                <a:sym typeface="Barlow Bold"/>
              </a:rPr>
              <a:t>强大表现力</a:t>
            </a:r>
            <a:endParaRPr kumimoji="0" sz="1800" b="1" i="0" u="none" strike="noStrike" kern="1200" cap="none" spc="0" normalizeH="0" baseline="0" noProof="0" dirty="0">
              <a:ln>
                <a:noFill/>
              </a:ln>
              <a:solidFill>
                <a:srgbClr val="FFFFFF"/>
              </a:solidFill>
              <a:effectLst/>
              <a:uLnTx/>
              <a:uFillTx/>
              <a:latin typeface="OPPOSans R" panose="00020600040101010101" pitchFamily="18" charset="-122"/>
              <a:ea typeface="OPPOSans R" panose="00020600040101010101" pitchFamily="18" charset="-122"/>
              <a:cs typeface="OPPOSans R" panose="00020600040101010101" pitchFamily="18" charset="-122"/>
              <a:sym typeface="Barlow Bold"/>
            </a:endParaRPr>
          </a:p>
        </p:txBody>
      </p:sp>
      <p:sp>
        <p:nvSpPr>
          <p:cNvPr id="3442" name="gaoding-17"/>
          <p:cNvSpPr/>
          <p:nvPr/>
        </p:nvSpPr>
        <p:spPr>
          <a:xfrm>
            <a:off x="4883572" y="2551880"/>
            <a:ext cx="860128" cy="860128"/>
          </a:xfrm>
          <a:prstGeom prst="ellipse">
            <a:avLst/>
          </a:prstGeom>
          <a:solidFill>
            <a:schemeClr val="bg1"/>
          </a:solidFill>
          <a:ln w="12700" cap="flat">
            <a:noFill/>
            <a:miter lim="400000"/>
          </a:ln>
          <a:effectLst>
            <a:outerShdw blurRad="190500" sx="103000" sy="103000" algn="ctr" rotWithShape="0">
              <a:schemeClr val="accent2">
                <a:lumMod val="50000"/>
                <a:alpha val="20000"/>
              </a:schemeClr>
            </a:outerShdw>
          </a:effectLst>
        </p:spPr>
        <p:txBody>
          <a:bodyPr wrap="square" lIns="0" tIns="0" rIns="0" bIns="0" numCol="1"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600" b="0" i="0" u="none" strike="noStrike" kern="1200" cap="none" spc="0" normalizeH="0" baseline="0" noProof="0" dirty="0">
              <a:ln>
                <a:noFill/>
              </a:ln>
              <a:solidFill>
                <a:srgbClr val="FFFFFF"/>
              </a:solidFill>
              <a:effectLst/>
              <a:uLnTx/>
              <a:uFillTx/>
              <a:latin typeface="OPPOSans R" panose="00020600040101010101" pitchFamily="18" charset="-122"/>
              <a:ea typeface="微软雅黑"/>
              <a:cs typeface="+mn-cs"/>
            </a:endParaRPr>
          </a:p>
        </p:txBody>
      </p:sp>
      <p:sp>
        <p:nvSpPr>
          <p:cNvPr id="3444" name="gaoding-18"/>
          <p:cNvSpPr/>
          <p:nvPr/>
        </p:nvSpPr>
        <p:spPr>
          <a:xfrm>
            <a:off x="4698792" y="5487375"/>
            <a:ext cx="2789236" cy="615488"/>
          </a:xfrm>
          <a:custGeom>
            <a:avLst/>
            <a:gdLst/>
            <a:ahLst/>
            <a:cxnLst>
              <a:cxn ang="0">
                <a:pos x="wd2" y="hd2"/>
              </a:cxn>
              <a:cxn ang="5400000">
                <a:pos x="wd2" y="hd2"/>
              </a:cxn>
              <a:cxn ang="10800000">
                <a:pos x="wd2" y="hd2"/>
              </a:cxn>
              <a:cxn ang="16200000">
                <a:pos x="wd2" y="hd2"/>
              </a:cxn>
            </a:cxnLst>
            <a:rect l="0" t="0" r="r" b="b"/>
            <a:pathLst>
              <a:path w="21600" h="21600" extrusionOk="0">
                <a:moveTo>
                  <a:pt x="917" y="0"/>
                </a:moveTo>
                <a:lnTo>
                  <a:pt x="20683" y="0"/>
                </a:lnTo>
                <a:cubicBezTo>
                  <a:pt x="20815" y="0"/>
                  <a:pt x="20914" y="0"/>
                  <a:pt x="20998" y="25"/>
                </a:cubicBezTo>
                <a:cubicBezTo>
                  <a:pt x="21082" y="51"/>
                  <a:pt x="21150" y="102"/>
                  <a:pt x="21221" y="204"/>
                </a:cubicBezTo>
                <a:cubicBezTo>
                  <a:pt x="21299" y="332"/>
                  <a:pt x="21368" y="534"/>
                  <a:pt x="21425" y="792"/>
                </a:cubicBezTo>
                <a:cubicBezTo>
                  <a:pt x="21482" y="1051"/>
                  <a:pt x="21527" y="1365"/>
                  <a:pt x="21555" y="1716"/>
                </a:cubicBezTo>
                <a:cubicBezTo>
                  <a:pt x="21578" y="2037"/>
                  <a:pt x="21589" y="2349"/>
                  <a:pt x="21594" y="2732"/>
                </a:cubicBezTo>
                <a:cubicBezTo>
                  <a:pt x="21600" y="3115"/>
                  <a:pt x="21600" y="3568"/>
                  <a:pt x="21600" y="4173"/>
                </a:cubicBezTo>
                <a:lnTo>
                  <a:pt x="21600" y="17445"/>
                </a:lnTo>
                <a:cubicBezTo>
                  <a:pt x="21600" y="18041"/>
                  <a:pt x="21600" y="18490"/>
                  <a:pt x="21594" y="18870"/>
                </a:cubicBezTo>
                <a:cubicBezTo>
                  <a:pt x="21589" y="19251"/>
                  <a:pt x="21578" y="19563"/>
                  <a:pt x="21555" y="19884"/>
                </a:cubicBezTo>
                <a:cubicBezTo>
                  <a:pt x="21527" y="20235"/>
                  <a:pt x="21482" y="20549"/>
                  <a:pt x="21425" y="20808"/>
                </a:cubicBezTo>
                <a:cubicBezTo>
                  <a:pt x="21368" y="21066"/>
                  <a:pt x="21299" y="21268"/>
                  <a:pt x="21221" y="21396"/>
                </a:cubicBezTo>
                <a:cubicBezTo>
                  <a:pt x="21150" y="21498"/>
                  <a:pt x="21082" y="21549"/>
                  <a:pt x="20997" y="21575"/>
                </a:cubicBezTo>
                <a:cubicBezTo>
                  <a:pt x="20913" y="21600"/>
                  <a:pt x="20813" y="21600"/>
                  <a:pt x="20679" y="21600"/>
                </a:cubicBezTo>
                <a:lnTo>
                  <a:pt x="917" y="21600"/>
                </a:lnTo>
                <a:cubicBezTo>
                  <a:pt x="785" y="21600"/>
                  <a:pt x="686" y="21600"/>
                  <a:pt x="602" y="21575"/>
                </a:cubicBezTo>
                <a:cubicBezTo>
                  <a:pt x="518" y="21549"/>
                  <a:pt x="450" y="21498"/>
                  <a:pt x="379" y="21396"/>
                </a:cubicBezTo>
                <a:cubicBezTo>
                  <a:pt x="301" y="21268"/>
                  <a:pt x="232" y="21066"/>
                  <a:pt x="175" y="20808"/>
                </a:cubicBezTo>
                <a:cubicBezTo>
                  <a:pt x="118" y="20549"/>
                  <a:pt x="73" y="20235"/>
                  <a:pt x="45" y="19884"/>
                </a:cubicBezTo>
                <a:cubicBezTo>
                  <a:pt x="22" y="19563"/>
                  <a:pt x="11" y="19251"/>
                  <a:pt x="6" y="18868"/>
                </a:cubicBezTo>
                <a:cubicBezTo>
                  <a:pt x="0" y="18485"/>
                  <a:pt x="0" y="18032"/>
                  <a:pt x="0" y="17427"/>
                </a:cubicBezTo>
                <a:lnTo>
                  <a:pt x="0" y="4155"/>
                </a:lnTo>
                <a:cubicBezTo>
                  <a:pt x="0" y="3559"/>
                  <a:pt x="0" y="3110"/>
                  <a:pt x="6" y="2730"/>
                </a:cubicBezTo>
                <a:cubicBezTo>
                  <a:pt x="11" y="2349"/>
                  <a:pt x="22" y="2037"/>
                  <a:pt x="45" y="1716"/>
                </a:cubicBezTo>
                <a:cubicBezTo>
                  <a:pt x="73" y="1365"/>
                  <a:pt x="118" y="1051"/>
                  <a:pt x="175" y="792"/>
                </a:cubicBezTo>
                <a:cubicBezTo>
                  <a:pt x="232" y="534"/>
                  <a:pt x="301" y="332"/>
                  <a:pt x="379" y="204"/>
                </a:cubicBezTo>
                <a:cubicBezTo>
                  <a:pt x="450" y="102"/>
                  <a:pt x="518" y="51"/>
                  <a:pt x="603" y="25"/>
                </a:cubicBezTo>
                <a:cubicBezTo>
                  <a:pt x="687" y="0"/>
                  <a:pt x="787" y="0"/>
                  <a:pt x="921" y="0"/>
                </a:cubicBezTo>
                <a:lnTo>
                  <a:pt x="917" y="0"/>
                </a:lnTo>
                <a:close/>
              </a:path>
            </a:pathLst>
          </a:custGeom>
          <a:gradFill flip="none" rotWithShape="1">
            <a:gsLst>
              <a:gs pos="1000">
                <a:schemeClr val="tx1">
                  <a:lumMod val="50000"/>
                  <a:lumOff val="50000"/>
                </a:schemeClr>
              </a:gs>
              <a:gs pos="100000">
                <a:schemeClr val="bg2">
                  <a:lumMod val="75000"/>
                </a:schemeClr>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5720" tIns="22860" rIns="45720" bIns="228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FFFFFF"/>
              </a:solidFill>
              <a:effectLst/>
              <a:uLnTx/>
              <a:uFillTx/>
              <a:latin typeface="OPPOSans R" panose="00020600040101010101" pitchFamily="18" charset="-122"/>
              <a:ea typeface="微软雅黑"/>
              <a:cs typeface="+mn-cs"/>
            </a:endParaRPr>
          </a:p>
        </p:txBody>
      </p:sp>
      <p:sp>
        <p:nvSpPr>
          <p:cNvPr id="3445" name="gaoding-19"/>
          <p:cNvSpPr txBox="1"/>
          <p:nvPr/>
        </p:nvSpPr>
        <p:spPr>
          <a:xfrm>
            <a:off x="5847974" y="5635098"/>
            <a:ext cx="1493452" cy="328295"/>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25400" tIns="25400" rIns="25400" bIns="25400" numCol="1" anchor="t">
            <a:spAutoFit/>
          </a:bodyPr>
          <a:lstStyle>
            <a:lvl1pPr algn="l">
              <a:defRPr sz="2800" b="0">
                <a:solidFill>
                  <a:srgbClr val="FFFFFF"/>
                </a:solidFill>
                <a:latin typeface="Barlow Bold"/>
                <a:ea typeface="Barlow Bold"/>
                <a:cs typeface="Barlow Bold"/>
                <a:sym typeface="Barlow Bold"/>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800" b="1" i="0" u="none" strike="noStrike" kern="1200" cap="none" spc="0" normalizeH="0" baseline="0" noProof="0" dirty="0">
                <a:ln>
                  <a:noFill/>
                </a:ln>
                <a:solidFill>
                  <a:srgbClr val="FFFFFF"/>
                </a:solidFill>
                <a:effectLst/>
                <a:uLnTx/>
                <a:uFillTx/>
                <a:latin typeface="OPPOSans R" panose="00020600040101010101" pitchFamily="18" charset="-122"/>
                <a:ea typeface="OPPOSans R" panose="00020600040101010101" pitchFamily="18" charset="-122"/>
                <a:cs typeface="OPPOSans R" panose="00020600040101010101" pitchFamily="18" charset="-122"/>
                <a:sym typeface="Barlow Bold"/>
              </a:rPr>
              <a:t>多用途场景</a:t>
            </a:r>
            <a:endParaRPr kumimoji="0" sz="1800" b="1" i="0" u="none" strike="noStrike" kern="1200" cap="none" spc="0" normalizeH="0" baseline="0" noProof="0" dirty="0">
              <a:ln>
                <a:noFill/>
              </a:ln>
              <a:solidFill>
                <a:srgbClr val="FFFFFF"/>
              </a:solidFill>
              <a:effectLst/>
              <a:uLnTx/>
              <a:uFillTx/>
              <a:latin typeface="OPPOSans R" panose="00020600040101010101" pitchFamily="18" charset="-122"/>
              <a:ea typeface="OPPOSans R" panose="00020600040101010101" pitchFamily="18" charset="-122"/>
              <a:cs typeface="OPPOSans R" panose="00020600040101010101" pitchFamily="18" charset="-122"/>
              <a:sym typeface="Barlow Bold"/>
            </a:endParaRPr>
          </a:p>
        </p:txBody>
      </p:sp>
      <p:sp>
        <p:nvSpPr>
          <p:cNvPr id="3446" name="gaoding-20"/>
          <p:cNvSpPr/>
          <p:nvPr/>
        </p:nvSpPr>
        <p:spPr>
          <a:xfrm>
            <a:off x="4883572" y="5358704"/>
            <a:ext cx="860128" cy="860128"/>
          </a:xfrm>
          <a:prstGeom prst="ellipse">
            <a:avLst/>
          </a:prstGeom>
          <a:solidFill>
            <a:schemeClr val="bg1"/>
          </a:solidFill>
          <a:ln w="12700" cap="flat">
            <a:noFill/>
            <a:miter lim="400000"/>
          </a:ln>
          <a:effectLst>
            <a:outerShdw blurRad="190500" sx="103000" sy="103000" algn="ctr" rotWithShape="0">
              <a:schemeClr val="accent6">
                <a:lumMod val="50000"/>
                <a:alpha val="20000"/>
              </a:schemeClr>
            </a:outerShdw>
          </a:effectLst>
        </p:spPr>
        <p:txBody>
          <a:bodyPr wrap="square" lIns="0" tIns="0" rIns="0" bIns="0" numCol="1"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600" b="0" i="0" u="none" strike="noStrike" kern="1200" cap="none" spc="0" normalizeH="0" baseline="0" noProof="0" dirty="0">
              <a:ln>
                <a:noFill/>
              </a:ln>
              <a:solidFill>
                <a:srgbClr val="FFFFFF"/>
              </a:solidFill>
              <a:effectLst/>
              <a:uLnTx/>
              <a:uFillTx/>
              <a:latin typeface="OPPOSans R" panose="00020600040101010101" pitchFamily="18" charset="-122"/>
              <a:ea typeface="微软雅黑"/>
              <a:cs typeface="+mn-cs"/>
            </a:endParaRPr>
          </a:p>
        </p:txBody>
      </p:sp>
      <p:sp>
        <p:nvSpPr>
          <p:cNvPr id="3448" name="gaoding-21"/>
          <p:cNvSpPr/>
          <p:nvPr/>
        </p:nvSpPr>
        <p:spPr>
          <a:xfrm>
            <a:off x="8030426" y="1286522"/>
            <a:ext cx="3329184" cy="615488"/>
          </a:xfrm>
          <a:custGeom>
            <a:avLst/>
            <a:gdLst/>
            <a:ahLst/>
            <a:cxnLst>
              <a:cxn ang="0">
                <a:pos x="wd2" y="hd2"/>
              </a:cxn>
              <a:cxn ang="5400000">
                <a:pos x="wd2" y="hd2"/>
              </a:cxn>
              <a:cxn ang="10800000">
                <a:pos x="wd2" y="hd2"/>
              </a:cxn>
              <a:cxn ang="16200000">
                <a:pos x="wd2" y="hd2"/>
              </a:cxn>
            </a:cxnLst>
            <a:rect l="0" t="0" r="r" b="b"/>
            <a:pathLst>
              <a:path w="21600" h="21600" extrusionOk="0">
                <a:moveTo>
                  <a:pt x="768" y="0"/>
                </a:moveTo>
                <a:lnTo>
                  <a:pt x="20832" y="0"/>
                </a:lnTo>
                <a:cubicBezTo>
                  <a:pt x="20942" y="0"/>
                  <a:pt x="21025" y="0"/>
                  <a:pt x="21095" y="25"/>
                </a:cubicBezTo>
                <a:cubicBezTo>
                  <a:pt x="21166" y="51"/>
                  <a:pt x="21223" y="102"/>
                  <a:pt x="21283" y="204"/>
                </a:cubicBezTo>
                <a:cubicBezTo>
                  <a:pt x="21348" y="332"/>
                  <a:pt x="21406" y="534"/>
                  <a:pt x="21454" y="792"/>
                </a:cubicBezTo>
                <a:cubicBezTo>
                  <a:pt x="21501" y="1051"/>
                  <a:pt x="21539" y="1365"/>
                  <a:pt x="21562" y="1716"/>
                </a:cubicBezTo>
                <a:cubicBezTo>
                  <a:pt x="21581" y="2037"/>
                  <a:pt x="21591" y="2349"/>
                  <a:pt x="21595" y="2732"/>
                </a:cubicBezTo>
                <a:cubicBezTo>
                  <a:pt x="21600" y="3115"/>
                  <a:pt x="21600" y="3568"/>
                  <a:pt x="21600" y="4173"/>
                </a:cubicBezTo>
                <a:lnTo>
                  <a:pt x="21600" y="17445"/>
                </a:lnTo>
                <a:cubicBezTo>
                  <a:pt x="21600" y="18041"/>
                  <a:pt x="21600" y="18490"/>
                  <a:pt x="21595" y="18870"/>
                </a:cubicBezTo>
                <a:cubicBezTo>
                  <a:pt x="21591" y="19251"/>
                  <a:pt x="21581" y="19563"/>
                  <a:pt x="21562" y="19884"/>
                </a:cubicBezTo>
                <a:cubicBezTo>
                  <a:pt x="21539" y="20235"/>
                  <a:pt x="21501" y="20549"/>
                  <a:pt x="21454" y="20808"/>
                </a:cubicBezTo>
                <a:cubicBezTo>
                  <a:pt x="21406" y="21066"/>
                  <a:pt x="21348" y="21268"/>
                  <a:pt x="21283" y="21396"/>
                </a:cubicBezTo>
                <a:cubicBezTo>
                  <a:pt x="21223" y="21498"/>
                  <a:pt x="21166" y="21549"/>
                  <a:pt x="21095" y="21575"/>
                </a:cubicBezTo>
                <a:cubicBezTo>
                  <a:pt x="21024" y="21600"/>
                  <a:pt x="20940" y="21600"/>
                  <a:pt x="20828" y="21600"/>
                </a:cubicBezTo>
                <a:lnTo>
                  <a:pt x="768" y="21600"/>
                </a:lnTo>
                <a:cubicBezTo>
                  <a:pt x="658" y="21600"/>
                  <a:pt x="575" y="21600"/>
                  <a:pt x="505" y="21575"/>
                </a:cubicBezTo>
                <a:cubicBezTo>
                  <a:pt x="434" y="21549"/>
                  <a:pt x="377" y="21498"/>
                  <a:pt x="317" y="21396"/>
                </a:cubicBezTo>
                <a:cubicBezTo>
                  <a:pt x="252" y="21268"/>
                  <a:pt x="194" y="21066"/>
                  <a:pt x="146" y="20808"/>
                </a:cubicBezTo>
                <a:cubicBezTo>
                  <a:pt x="99" y="20549"/>
                  <a:pt x="61" y="20235"/>
                  <a:pt x="38" y="19884"/>
                </a:cubicBezTo>
                <a:cubicBezTo>
                  <a:pt x="19" y="19563"/>
                  <a:pt x="9" y="19251"/>
                  <a:pt x="5" y="18868"/>
                </a:cubicBezTo>
                <a:cubicBezTo>
                  <a:pt x="0" y="18485"/>
                  <a:pt x="0" y="18032"/>
                  <a:pt x="0" y="17427"/>
                </a:cubicBezTo>
                <a:lnTo>
                  <a:pt x="0" y="4155"/>
                </a:lnTo>
                <a:cubicBezTo>
                  <a:pt x="0" y="3559"/>
                  <a:pt x="0" y="3110"/>
                  <a:pt x="5" y="2730"/>
                </a:cubicBezTo>
                <a:cubicBezTo>
                  <a:pt x="9" y="2349"/>
                  <a:pt x="19" y="2037"/>
                  <a:pt x="38" y="1716"/>
                </a:cubicBezTo>
                <a:cubicBezTo>
                  <a:pt x="61" y="1365"/>
                  <a:pt x="99" y="1051"/>
                  <a:pt x="146" y="792"/>
                </a:cubicBezTo>
                <a:cubicBezTo>
                  <a:pt x="194" y="534"/>
                  <a:pt x="252" y="332"/>
                  <a:pt x="317" y="204"/>
                </a:cubicBezTo>
                <a:cubicBezTo>
                  <a:pt x="377" y="102"/>
                  <a:pt x="434" y="51"/>
                  <a:pt x="505" y="25"/>
                </a:cubicBezTo>
                <a:cubicBezTo>
                  <a:pt x="576" y="0"/>
                  <a:pt x="660" y="0"/>
                  <a:pt x="772" y="0"/>
                </a:cubicBezTo>
                <a:lnTo>
                  <a:pt x="768" y="0"/>
                </a:lnTo>
                <a:close/>
              </a:path>
            </a:pathLst>
          </a:custGeom>
          <a:solidFill>
            <a:srgbClr val="F4F4F5"/>
          </a:solidFill>
          <a:ln w="12700" cap="flat">
            <a:noFill/>
            <a:miter lim="400000"/>
          </a:ln>
          <a:effectLst/>
        </p:spPr>
        <p:txBody>
          <a:bodyPr wrap="square" lIns="0" tIns="0" rIns="0" bIns="0" numCol="1"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1600" b="0" i="0" u="none" strike="noStrike" kern="1200" cap="none" spc="0" normalizeH="0" baseline="0" noProof="0" dirty="0">
              <a:ln>
                <a:noFill/>
              </a:ln>
              <a:solidFill>
                <a:srgbClr val="FFFFFF"/>
              </a:solidFill>
              <a:effectLst/>
              <a:uLnTx/>
              <a:uFillTx/>
              <a:latin typeface="OPPOSans R" panose="00020600040101010101" pitchFamily="18" charset="-122"/>
              <a:ea typeface="微软雅黑"/>
              <a:cs typeface="+mn-cs"/>
              <a:sym typeface="Helvetica Neue Medium"/>
            </a:endParaRPr>
          </a:p>
        </p:txBody>
      </p:sp>
      <p:sp>
        <p:nvSpPr>
          <p:cNvPr id="3450" name="gaoding-22"/>
          <p:cNvSpPr/>
          <p:nvPr/>
        </p:nvSpPr>
        <p:spPr>
          <a:xfrm>
            <a:off x="8030426" y="2680550"/>
            <a:ext cx="3329184" cy="615488"/>
          </a:xfrm>
          <a:custGeom>
            <a:avLst/>
            <a:gdLst/>
            <a:ahLst/>
            <a:cxnLst>
              <a:cxn ang="0">
                <a:pos x="wd2" y="hd2"/>
              </a:cxn>
              <a:cxn ang="5400000">
                <a:pos x="wd2" y="hd2"/>
              </a:cxn>
              <a:cxn ang="10800000">
                <a:pos x="wd2" y="hd2"/>
              </a:cxn>
              <a:cxn ang="16200000">
                <a:pos x="wd2" y="hd2"/>
              </a:cxn>
            </a:cxnLst>
            <a:rect l="0" t="0" r="r" b="b"/>
            <a:pathLst>
              <a:path w="21600" h="21600" extrusionOk="0">
                <a:moveTo>
                  <a:pt x="768" y="0"/>
                </a:moveTo>
                <a:lnTo>
                  <a:pt x="20832" y="0"/>
                </a:lnTo>
                <a:cubicBezTo>
                  <a:pt x="20942" y="0"/>
                  <a:pt x="21025" y="0"/>
                  <a:pt x="21095" y="25"/>
                </a:cubicBezTo>
                <a:cubicBezTo>
                  <a:pt x="21166" y="51"/>
                  <a:pt x="21223" y="102"/>
                  <a:pt x="21283" y="204"/>
                </a:cubicBezTo>
                <a:cubicBezTo>
                  <a:pt x="21348" y="332"/>
                  <a:pt x="21406" y="534"/>
                  <a:pt x="21454" y="792"/>
                </a:cubicBezTo>
                <a:cubicBezTo>
                  <a:pt x="21501" y="1051"/>
                  <a:pt x="21539" y="1365"/>
                  <a:pt x="21562" y="1716"/>
                </a:cubicBezTo>
                <a:cubicBezTo>
                  <a:pt x="21581" y="2037"/>
                  <a:pt x="21591" y="2349"/>
                  <a:pt x="21595" y="2732"/>
                </a:cubicBezTo>
                <a:cubicBezTo>
                  <a:pt x="21600" y="3115"/>
                  <a:pt x="21600" y="3568"/>
                  <a:pt x="21600" y="4173"/>
                </a:cubicBezTo>
                <a:lnTo>
                  <a:pt x="21600" y="17445"/>
                </a:lnTo>
                <a:cubicBezTo>
                  <a:pt x="21600" y="18041"/>
                  <a:pt x="21600" y="18490"/>
                  <a:pt x="21595" y="18870"/>
                </a:cubicBezTo>
                <a:cubicBezTo>
                  <a:pt x="21591" y="19251"/>
                  <a:pt x="21581" y="19563"/>
                  <a:pt x="21562" y="19884"/>
                </a:cubicBezTo>
                <a:cubicBezTo>
                  <a:pt x="21539" y="20235"/>
                  <a:pt x="21501" y="20549"/>
                  <a:pt x="21454" y="20808"/>
                </a:cubicBezTo>
                <a:cubicBezTo>
                  <a:pt x="21406" y="21066"/>
                  <a:pt x="21348" y="21268"/>
                  <a:pt x="21283" y="21396"/>
                </a:cubicBezTo>
                <a:cubicBezTo>
                  <a:pt x="21223" y="21498"/>
                  <a:pt x="21166" y="21549"/>
                  <a:pt x="21095" y="21575"/>
                </a:cubicBezTo>
                <a:cubicBezTo>
                  <a:pt x="21024" y="21600"/>
                  <a:pt x="20940" y="21600"/>
                  <a:pt x="20828" y="21600"/>
                </a:cubicBezTo>
                <a:lnTo>
                  <a:pt x="768" y="21600"/>
                </a:lnTo>
                <a:cubicBezTo>
                  <a:pt x="658" y="21600"/>
                  <a:pt x="575" y="21600"/>
                  <a:pt x="505" y="21575"/>
                </a:cubicBezTo>
                <a:cubicBezTo>
                  <a:pt x="434" y="21549"/>
                  <a:pt x="377" y="21498"/>
                  <a:pt x="317" y="21396"/>
                </a:cubicBezTo>
                <a:cubicBezTo>
                  <a:pt x="252" y="21268"/>
                  <a:pt x="194" y="21066"/>
                  <a:pt x="146" y="20808"/>
                </a:cubicBezTo>
                <a:cubicBezTo>
                  <a:pt x="99" y="20549"/>
                  <a:pt x="61" y="20235"/>
                  <a:pt x="38" y="19884"/>
                </a:cubicBezTo>
                <a:cubicBezTo>
                  <a:pt x="19" y="19563"/>
                  <a:pt x="9" y="19251"/>
                  <a:pt x="5" y="18868"/>
                </a:cubicBezTo>
                <a:cubicBezTo>
                  <a:pt x="0" y="18485"/>
                  <a:pt x="0" y="18032"/>
                  <a:pt x="0" y="17427"/>
                </a:cubicBezTo>
                <a:lnTo>
                  <a:pt x="0" y="4155"/>
                </a:lnTo>
                <a:cubicBezTo>
                  <a:pt x="0" y="3559"/>
                  <a:pt x="0" y="3110"/>
                  <a:pt x="5" y="2730"/>
                </a:cubicBezTo>
                <a:cubicBezTo>
                  <a:pt x="9" y="2349"/>
                  <a:pt x="19" y="2037"/>
                  <a:pt x="38" y="1716"/>
                </a:cubicBezTo>
                <a:cubicBezTo>
                  <a:pt x="61" y="1365"/>
                  <a:pt x="99" y="1051"/>
                  <a:pt x="146" y="792"/>
                </a:cubicBezTo>
                <a:cubicBezTo>
                  <a:pt x="194" y="534"/>
                  <a:pt x="252" y="332"/>
                  <a:pt x="317" y="204"/>
                </a:cubicBezTo>
                <a:cubicBezTo>
                  <a:pt x="377" y="102"/>
                  <a:pt x="434" y="51"/>
                  <a:pt x="505" y="25"/>
                </a:cubicBezTo>
                <a:cubicBezTo>
                  <a:pt x="576" y="0"/>
                  <a:pt x="660" y="0"/>
                  <a:pt x="772" y="0"/>
                </a:cubicBezTo>
                <a:lnTo>
                  <a:pt x="768" y="0"/>
                </a:lnTo>
                <a:close/>
              </a:path>
            </a:pathLst>
          </a:custGeom>
          <a:solidFill>
            <a:srgbClr val="F4F4F5"/>
          </a:solidFill>
          <a:ln w="12700" cap="flat">
            <a:noFill/>
            <a:miter lim="400000"/>
          </a:ln>
          <a:effectLst/>
        </p:spPr>
        <p:txBody>
          <a:bodyPr wrap="square" lIns="0" tIns="0" rIns="0" bIns="0" numCol="1"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1600" b="0" i="0" u="none" strike="noStrike" kern="1200" cap="none" spc="0" normalizeH="0" baseline="0" noProof="0" dirty="0">
              <a:ln>
                <a:noFill/>
              </a:ln>
              <a:solidFill>
                <a:srgbClr val="FFFFFF"/>
              </a:solidFill>
              <a:effectLst/>
              <a:uLnTx/>
              <a:uFillTx/>
              <a:latin typeface="OPPOSans R" panose="00020600040101010101" pitchFamily="18" charset="-122"/>
              <a:ea typeface="微软雅黑"/>
              <a:cs typeface="+mn-cs"/>
              <a:sym typeface="Helvetica Neue Medium"/>
            </a:endParaRPr>
          </a:p>
        </p:txBody>
      </p:sp>
      <p:sp>
        <p:nvSpPr>
          <p:cNvPr id="3452" name="gaoding-23"/>
          <p:cNvSpPr/>
          <p:nvPr/>
        </p:nvSpPr>
        <p:spPr>
          <a:xfrm>
            <a:off x="8030426" y="4087210"/>
            <a:ext cx="3329184" cy="615488"/>
          </a:xfrm>
          <a:custGeom>
            <a:avLst/>
            <a:gdLst/>
            <a:ahLst/>
            <a:cxnLst>
              <a:cxn ang="0">
                <a:pos x="wd2" y="hd2"/>
              </a:cxn>
              <a:cxn ang="5400000">
                <a:pos x="wd2" y="hd2"/>
              </a:cxn>
              <a:cxn ang="10800000">
                <a:pos x="wd2" y="hd2"/>
              </a:cxn>
              <a:cxn ang="16200000">
                <a:pos x="wd2" y="hd2"/>
              </a:cxn>
            </a:cxnLst>
            <a:rect l="0" t="0" r="r" b="b"/>
            <a:pathLst>
              <a:path w="21600" h="21600" extrusionOk="0">
                <a:moveTo>
                  <a:pt x="768" y="0"/>
                </a:moveTo>
                <a:lnTo>
                  <a:pt x="20832" y="0"/>
                </a:lnTo>
                <a:cubicBezTo>
                  <a:pt x="20942" y="0"/>
                  <a:pt x="21025" y="0"/>
                  <a:pt x="21095" y="25"/>
                </a:cubicBezTo>
                <a:cubicBezTo>
                  <a:pt x="21166" y="51"/>
                  <a:pt x="21223" y="102"/>
                  <a:pt x="21283" y="204"/>
                </a:cubicBezTo>
                <a:cubicBezTo>
                  <a:pt x="21348" y="332"/>
                  <a:pt x="21406" y="534"/>
                  <a:pt x="21454" y="792"/>
                </a:cubicBezTo>
                <a:cubicBezTo>
                  <a:pt x="21501" y="1051"/>
                  <a:pt x="21539" y="1365"/>
                  <a:pt x="21562" y="1716"/>
                </a:cubicBezTo>
                <a:cubicBezTo>
                  <a:pt x="21581" y="2037"/>
                  <a:pt x="21591" y="2349"/>
                  <a:pt x="21595" y="2732"/>
                </a:cubicBezTo>
                <a:cubicBezTo>
                  <a:pt x="21600" y="3115"/>
                  <a:pt x="21600" y="3568"/>
                  <a:pt x="21600" y="4173"/>
                </a:cubicBezTo>
                <a:lnTo>
                  <a:pt x="21600" y="17445"/>
                </a:lnTo>
                <a:cubicBezTo>
                  <a:pt x="21600" y="18041"/>
                  <a:pt x="21600" y="18490"/>
                  <a:pt x="21595" y="18870"/>
                </a:cubicBezTo>
                <a:cubicBezTo>
                  <a:pt x="21591" y="19251"/>
                  <a:pt x="21581" y="19563"/>
                  <a:pt x="21562" y="19884"/>
                </a:cubicBezTo>
                <a:cubicBezTo>
                  <a:pt x="21539" y="20235"/>
                  <a:pt x="21501" y="20549"/>
                  <a:pt x="21454" y="20808"/>
                </a:cubicBezTo>
                <a:cubicBezTo>
                  <a:pt x="21406" y="21066"/>
                  <a:pt x="21348" y="21268"/>
                  <a:pt x="21283" y="21396"/>
                </a:cubicBezTo>
                <a:cubicBezTo>
                  <a:pt x="21223" y="21498"/>
                  <a:pt x="21166" y="21549"/>
                  <a:pt x="21095" y="21575"/>
                </a:cubicBezTo>
                <a:cubicBezTo>
                  <a:pt x="21024" y="21600"/>
                  <a:pt x="20940" y="21600"/>
                  <a:pt x="20828" y="21600"/>
                </a:cubicBezTo>
                <a:lnTo>
                  <a:pt x="768" y="21600"/>
                </a:lnTo>
                <a:cubicBezTo>
                  <a:pt x="658" y="21600"/>
                  <a:pt x="575" y="21600"/>
                  <a:pt x="505" y="21575"/>
                </a:cubicBezTo>
                <a:cubicBezTo>
                  <a:pt x="434" y="21549"/>
                  <a:pt x="377" y="21498"/>
                  <a:pt x="317" y="21396"/>
                </a:cubicBezTo>
                <a:cubicBezTo>
                  <a:pt x="252" y="21268"/>
                  <a:pt x="194" y="21066"/>
                  <a:pt x="146" y="20808"/>
                </a:cubicBezTo>
                <a:cubicBezTo>
                  <a:pt x="99" y="20549"/>
                  <a:pt x="61" y="20235"/>
                  <a:pt x="38" y="19884"/>
                </a:cubicBezTo>
                <a:cubicBezTo>
                  <a:pt x="19" y="19563"/>
                  <a:pt x="9" y="19251"/>
                  <a:pt x="5" y="18868"/>
                </a:cubicBezTo>
                <a:cubicBezTo>
                  <a:pt x="0" y="18485"/>
                  <a:pt x="0" y="18032"/>
                  <a:pt x="0" y="17427"/>
                </a:cubicBezTo>
                <a:lnTo>
                  <a:pt x="0" y="4155"/>
                </a:lnTo>
                <a:cubicBezTo>
                  <a:pt x="0" y="3559"/>
                  <a:pt x="0" y="3110"/>
                  <a:pt x="5" y="2730"/>
                </a:cubicBezTo>
                <a:cubicBezTo>
                  <a:pt x="9" y="2349"/>
                  <a:pt x="19" y="2037"/>
                  <a:pt x="38" y="1716"/>
                </a:cubicBezTo>
                <a:cubicBezTo>
                  <a:pt x="61" y="1365"/>
                  <a:pt x="99" y="1051"/>
                  <a:pt x="146" y="792"/>
                </a:cubicBezTo>
                <a:cubicBezTo>
                  <a:pt x="194" y="534"/>
                  <a:pt x="252" y="332"/>
                  <a:pt x="317" y="204"/>
                </a:cubicBezTo>
                <a:cubicBezTo>
                  <a:pt x="377" y="102"/>
                  <a:pt x="434" y="51"/>
                  <a:pt x="505" y="25"/>
                </a:cubicBezTo>
                <a:cubicBezTo>
                  <a:pt x="576" y="0"/>
                  <a:pt x="660" y="0"/>
                  <a:pt x="772" y="0"/>
                </a:cubicBezTo>
                <a:lnTo>
                  <a:pt x="768" y="0"/>
                </a:lnTo>
                <a:close/>
              </a:path>
            </a:pathLst>
          </a:custGeom>
          <a:solidFill>
            <a:srgbClr val="F4F4F5"/>
          </a:solidFill>
          <a:ln w="12700" cap="flat">
            <a:noFill/>
            <a:miter lim="400000"/>
          </a:ln>
          <a:effectLst/>
        </p:spPr>
        <p:txBody>
          <a:bodyPr wrap="square" lIns="0" tIns="0" rIns="0" bIns="0" numCol="1"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1600" b="0" i="0" u="none" strike="noStrike" kern="1200" cap="none" spc="0" normalizeH="0" baseline="0" noProof="0" dirty="0">
              <a:ln>
                <a:noFill/>
              </a:ln>
              <a:solidFill>
                <a:srgbClr val="FFFFFF"/>
              </a:solidFill>
              <a:effectLst/>
              <a:uLnTx/>
              <a:uFillTx/>
              <a:latin typeface="OPPOSans R" panose="00020600040101010101" pitchFamily="18" charset="-122"/>
              <a:ea typeface="微软雅黑"/>
              <a:cs typeface="+mn-cs"/>
              <a:sym typeface="Helvetica Neue Medium"/>
            </a:endParaRPr>
          </a:p>
        </p:txBody>
      </p:sp>
      <p:sp>
        <p:nvSpPr>
          <p:cNvPr id="3454" name="gaoding-24"/>
          <p:cNvSpPr/>
          <p:nvPr/>
        </p:nvSpPr>
        <p:spPr>
          <a:xfrm>
            <a:off x="8030426" y="5488382"/>
            <a:ext cx="3329184" cy="615488"/>
          </a:xfrm>
          <a:custGeom>
            <a:avLst/>
            <a:gdLst/>
            <a:ahLst/>
            <a:cxnLst>
              <a:cxn ang="0">
                <a:pos x="wd2" y="hd2"/>
              </a:cxn>
              <a:cxn ang="5400000">
                <a:pos x="wd2" y="hd2"/>
              </a:cxn>
              <a:cxn ang="10800000">
                <a:pos x="wd2" y="hd2"/>
              </a:cxn>
              <a:cxn ang="16200000">
                <a:pos x="wd2" y="hd2"/>
              </a:cxn>
            </a:cxnLst>
            <a:rect l="0" t="0" r="r" b="b"/>
            <a:pathLst>
              <a:path w="21600" h="21600" extrusionOk="0">
                <a:moveTo>
                  <a:pt x="768" y="0"/>
                </a:moveTo>
                <a:lnTo>
                  <a:pt x="20832" y="0"/>
                </a:lnTo>
                <a:cubicBezTo>
                  <a:pt x="20942" y="0"/>
                  <a:pt x="21025" y="0"/>
                  <a:pt x="21095" y="25"/>
                </a:cubicBezTo>
                <a:cubicBezTo>
                  <a:pt x="21166" y="51"/>
                  <a:pt x="21223" y="102"/>
                  <a:pt x="21283" y="204"/>
                </a:cubicBezTo>
                <a:cubicBezTo>
                  <a:pt x="21348" y="332"/>
                  <a:pt x="21406" y="534"/>
                  <a:pt x="21454" y="792"/>
                </a:cubicBezTo>
                <a:cubicBezTo>
                  <a:pt x="21501" y="1051"/>
                  <a:pt x="21539" y="1365"/>
                  <a:pt x="21562" y="1716"/>
                </a:cubicBezTo>
                <a:cubicBezTo>
                  <a:pt x="21581" y="2037"/>
                  <a:pt x="21591" y="2349"/>
                  <a:pt x="21595" y="2732"/>
                </a:cubicBezTo>
                <a:cubicBezTo>
                  <a:pt x="21600" y="3115"/>
                  <a:pt x="21600" y="3568"/>
                  <a:pt x="21600" y="4173"/>
                </a:cubicBezTo>
                <a:lnTo>
                  <a:pt x="21600" y="17445"/>
                </a:lnTo>
                <a:cubicBezTo>
                  <a:pt x="21600" y="18041"/>
                  <a:pt x="21600" y="18490"/>
                  <a:pt x="21595" y="18870"/>
                </a:cubicBezTo>
                <a:cubicBezTo>
                  <a:pt x="21591" y="19251"/>
                  <a:pt x="21581" y="19563"/>
                  <a:pt x="21562" y="19884"/>
                </a:cubicBezTo>
                <a:cubicBezTo>
                  <a:pt x="21539" y="20235"/>
                  <a:pt x="21501" y="20549"/>
                  <a:pt x="21454" y="20808"/>
                </a:cubicBezTo>
                <a:cubicBezTo>
                  <a:pt x="21406" y="21066"/>
                  <a:pt x="21348" y="21268"/>
                  <a:pt x="21283" y="21396"/>
                </a:cubicBezTo>
                <a:cubicBezTo>
                  <a:pt x="21223" y="21498"/>
                  <a:pt x="21166" y="21549"/>
                  <a:pt x="21095" y="21575"/>
                </a:cubicBezTo>
                <a:cubicBezTo>
                  <a:pt x="21024" y="21600"/>
                  <a:pt x="20940" y="21600"/>
                  <a:pt x="20828" y="21600"/>
                </a:cubicBezTo>
                <a:lnTo>
                  <a:pt x="768" y="21600"/>
                </a:lnTo>
                <a:cubicBezTo>
                  <a:pt x="658" y="21600"/>
                  <a:pt x="575" y="21600"/>
                  <a:pt x="505" y="21575"/>
                </a:cubicBezTo>
                <a:cubicBezTo>
                  <a:pt x="434" y="21549"/>
                  <a:pt x="377" y="21498"/>
                  <a:pt x="317" y="21396"/>
                </a:cubicBezTo>
                <a:cubicBezTo>
                  <a:pt x="252" y="21268"/>
                  <a:pt x="194" y="21066"/>
                  <a:pt x="146" y="20808"/>
                </a:cubicBezTo>
                <a:cubicBezTo>
                  <a:pt x="99" y="20549"/>
                  <a:pt x="61" y="20235"/>
                  <a:pt x="38" y="19884"/>
                </a:cubicBezTo>
                <a:cubicBezTo>
                  <a:pt x="19" y="19563"/>
                  <a:pt x="9" y="19251"/>
                  <a:pt x="5" y="18868"/>
                </a:cubicBezTo>
                <a:cubicBezTo>
                  <a:pt x="0" y="18485"/>
                  <a:pt x="0" y="18032"/>
                  <a:pt x="0" y="17427"/>
                </a:cubicBezTo>
                <a:lnTo>
                  <a:pt x="0" y="4155"/>
                </a:lnTo>
                <a:cubicBezTo>
                  <a:pt x="0" y="3559"/>
                  <a:pt x="0" y="3110"/>
                  <a:pt x="5" y="2730"/>
                </a:cubicBezTo>
                <a:cubicBezTo>
                  <a:pt x="9" y="2349"/>
                  <a:pt x="19" y="2037"/>
                  <a:pt x="38" y="1716"/>
                </a:cubicBezTo>
                <a:cubicBezTo>
                  <a:pt x="61" y="1365"/>
                  <a:pt x="99" y="1051"/>
                  <a:pt x="146" y="792"/>
                </a:cubicBezTo>
                <a:cubicBezTo>
                  <a:pt x="194" y="534"/>
                  <a:pt x="252" y="332"/>
                  <a:pt x="317" y="204"/>
                </a:cubicBezTo>
                <a:cubicBezTo>
                  <a:pt x="377" y="102"/>
                  <a:pt x="434" y="51"/>
                  <a:pt x="505" y="25"/>
                </a:cubicBezTo>
                <a:cubicBezTo>
                  <a:pt x="576" y="0"/>
                  <a:pt x="660" y="0"/>
                  <a:pt x="772" y="0"/>
                </a:cubicBezTo>
                <a:lnTo>
                  <a:pt x="768" y="0"/>
                </a:lnTo>
                <a:close/>
              </a:path>
            </a:pathLst>
          </a:custGeom>
          <a:solidFill>
            <a:srgbClr val="F4F4F5"/>
          </a:solidFill>
          <a:ln w="12700" cap="flat">
            <a:noFill/>
            <a:miter lim="400000"/>
          </a:ln>
          <a:effectLst/>
        </p:spPr>
        <p:txBody>
          <a:bodyPr wrap="square" lIns="0" tIns="0" rIns="0" bIns="0" numCol="1"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1600" b="0" i="0" u="none" strike="noStrike" kern="1200" cap="none" spc="0" normalizeH="0" baseline="0" noProof="0" dirty="0">
              <a:ln>
                <a:noFill/>
              </a:ln>
              <a:solidFill>
                <a:srgbClr val="FFFFFF"/>
              </a:solidFill>
              <a:effectLst/>
              <a:uLnTx/>
              <a:uFillTx/>
              <a:latin typeface="OPPOSans R" panose="00020600040101010101" pitchFamily="18" charset="-122"/>
              <a:ea typeface="微软雅黑"/>
              <a:cs typeface="+mn-cs"/>
              <a:sym typeface="Helvetica Neue Medium"/>
            </a:endParaRPr>
          </a:p>
        </p:txBody>
      </p:sp>
      <p:sp>
        <p:nvSpPr>
          <p:cNvPr id="39" name="gaoding-25">
            <a:extLst>
              <a:ext uri="{FF2B5EF4-FFF2-40B4-BE49-F238E27FC236}">
                <a16:creationId xmlns:a16="http://schemas.microsoft.com/office/drawing/2014/main" id="{43FEA62F-46F4-4B25-8CEE-3C113FA8B2CB}"/>
              </a:ext>
            </a:extLst>
          </p:cNvPr>
          <p:cNvSpPr/>
          <p:nvPr/>
        </p:nvSpPr>
        <p:spPr>
          <a:xfrm>
            <a:off x="5015715" y="2668299"/>
            <a:ext cx="599588" cy="599588"/>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srgbClr val="FFFFFF"/>
              </a:solidFill>
              <a:effectLst/>
              <a:uLnTx/>
              <a:uFillTx/>
              <a:latin typeface="OPPOSans R" panose="00020600040101010101" pitchFamily="18" charset="-122"/>
              <a:ea typeface="微软雅黑"/>
              <a:cs typeface="+mn-cs"/>
            </a:endParaRPr>
          </a:p>
        </p:txBody>
      </p:sp>
      <p:sp>
        <p:nvSpPr>
          <p:cNvPr id="40" name="gaoding-26">
            <a:extLst>
              <a:ext uri="{FF2B5EF4-FFF2-40B4-BE49-F238E27FC236}">
                <a16:creationId xmlns:a16="http://schemas.microsoft.com/office/drawing/2014/main" id="{02292406-3C78-4CA6-9AAC-A5D6DADFDA36}"/>
              </a:ext>
            </a:extLst>
          </p:cNvPr>
          <p:cNvSpPr/>
          <p:nvPr/>
        </p:nvSpPr>
        <p:spPr>
          <a:xfrm>
            <a:off x="5016376" y="1266316"/>
            <a:ext cx="599588" cy="59958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srgbClr val="FFFFFF"/>
              </a:solidFill>
              <a:effectLst/>
              <a:uLnTx/>
              <a:uFillTx/>
              <a:latin typeface="OPPOSans R" panose="00020600040101010101" pitchFamily="18" charset="-122"/>
              <a:ea typeface="微软雅黑"/>
              <a:cs typeface="+mn-cs"/>
            </a:endParaRPr>
          </a:p>
        </p:txBody>
      </p:sp>
      <p:sp>
        <p:nvSpPr>
          <p:cNvPr id="41" name="gaoding-27">
            <a:extLst>
              <a:ext uri="{FF2B5EF4-FFF2-40B4-BE49-F238E27FC236}">
                <a16:creationId xmlns:a16="http://schemas.microsoft.com/office/drawing/2014/main" id="{F25009F1-E995-4E0C-B1A9-8E79CA14A32E}"/>
              </a:ext>
            </a:extLst>
          </p:cNvPr>
          <p:cNvSpPr/>
          <p:nvPr/>
        </p:nvSpPr>
        <p:spPr>
          <a:xfrm>
            <a:off x="5016035" y="5485944"/>
            <a:ext cx="599588" cy="599588"/>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srgbClr val="FFFFFF"/>
              </a:solidFill>
              <a:effectLst/>
              <a:uLnTx/>
              <a:uFillTx/>
              <a:latin typeface="OPPOSans R" panose="00020600040101010101" pitchFamily="18" charset="-122"/>
              <a:ea typeface="微软雅黑"/>
              <a:cs typeface="+mn-cs"/>
            </a:endParaRPr>
          </a:p>
        </p:txBody>
      </p:sp>
      <p:sp>
        <p:nvSpPr>
          <p:cNvPr id="42" name="gaoding-28">
            <a:extLst>
              <a:ext uri="{FF2B5EF4-FFF2-40B4-BE49-F238E27FC236}">
                <a16:creationId xmlns:a16="http://schemas.microsoft.com/office/drawing/2014/main" id="{54EA79D0-9DBE-4698-9D7A-C1507A2FB992}"/>
              </a:ext>
            </a:extLst>
          </p:cNvPr>
          <p:cNvSpPr/>
          <p:nvPr/>
        </p:nvSpPr>
        <p:spPr>
          <a:xfrm>
            <a:off x="5016696" y="4083961"/>
            <a:ext cx="599588" cy="599588"/>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srgbClr val="FFFFFF"/>
              </a:solidFill>
              <a:effectLst/>
              <a:uLnTx/>
              <a:uFillTx/>
              <a:latin typeface="OPPOSans R" panose="00020600040101010101" pitchFamily="18" charset="-122"/>
              <a:ea typeface="微软雅黑"/>
              <a:cs typeface="+mn-cs"/>
            </a:endParaRPr>
          </a:p>
        </p:txBody>
      </p:sp>
      <p:sp>
        <p:nvSpPr>
          <p:cNvPr id="48" name="gaoding-29">
            <a:extLst>
              <a:ext uri="{FF2B5EF4-FFF2-40B4-BE49-F238E27FC236}">
                <a16:creationId xmlns:a16="http://schemas.microsoft.com/office/drawing/2014/main" id="{1C889F82-A184-4C6B-8726-6C130C2D6053}"/>
              </a:ext>
            </a:extLst>
          </p:cNvPr>
          <p:cNvSpPr/>
          <p:nvPr/>
        </p:nvSpPr>
        <p:spPr>
          <a:xfrm>
            <a:off x="5174421" y="1430585"/>
            <a:ext cx="278430" cy="271050"/>
          </a:xfrm>
          <a:custGeom>
            <a:avLst/>
            <a:gdLst>
              <a:gd name="connsiteX0" fmla="*/ 136113 w 459868"/>
              <a:gd name="connsiteY0" fmla="*/ 364244 h 447683"/>
              <a:gd name="connsiteX1" fmla="*/ 126588 w 459868"/>
              <a:gd name="connsiteY1" fmla="*/ 373578 h 447683"/>
              <a:gd name="connsiteX2" fmla="*/ 126588 w 459868"/>
              <a:gd name="connsiteY2" fmla="*/ 380341 h 447683"/>
              <a:gd name="connsiteX3" fmla="*/ 136113 w 459868"/>
              <a:gd name="connsiteY3" fmla="*/ 389866 h 447683"/>
              <a:gd name="connsiteX4" fmla="*/ 244889 w 459868"/>
              <a:gd name="connsiteY4" fmla="*/ 389866 h 447683"/>
              <a:gd name="connsiteX5" fmla="*/ 254414 w 459868"/>
              <a:gd name="connsiteY5" fmla="*/ 380341 h 447683"/>
              <a:gd name="connsiteX6" fmla="*/ 254414 w 459868"/>
              <a:gd name="connsiteY6" fmla="*/ 373769 h 447683"/>
              <a:gd name="connsiteX7" fmla="*/ 244889 w 459868"/>
              <a:gd name="connsiteY7" fmla="*/ 364244 h 447683"/>
              <a:gd name="connsiteX8" fmla="*/ 136113 w 459868"/>
              <a:gd name="connsiteY8" fmla="*/ 301664 h 447683"/>
              <a:gd name="connsiteX9" fmla="*/ 126588 w 459868"/>
              <a:gd name="connsiteY9" fmla="*/ 310808 h 447683"/>
              <a:gd name="connsiteX10" fmla="*/ 126588 w 459868"/>
              <a:gd name="connsiteY10" fmla="*/ 317952 h 447683"/>
              <a:gd name="connsiteX11" fmla="*/ 136113 w 459868"/>
              <a:gd name="connsiteY11" fmla="*/ 327477 h 447683"/>
              <a:gd name="connsiteX12" fmla="*/ 321089 w 459868"/>
              <a:gd name="connsiteY12" fmla="*/ 327477 h 447683"/>
              <a:gd name="connsiteX13" fmla="*/ 330614 w 459868"/>
              <a:gd name="connsiteY13" fmla="*/ 317952 h 447683"/>
              <a:gd name="connsiteX14" fmla="*/ 330614 w 459868"/>
              <a:gd name="connsiteY14" fmla="*/ 311189 h 447683"/>
              <a:gd name="connsiteX15" fmla="*/ 321089 w 459868"/>
              <a:gd name="connsiteY15" fmla="*/ 301664 h 447683"/>
              <a:gd name="connsiteX16" fmla="*/ 98013 w 459868"/>
              <a:gd name="connsiteY16" fmla="*/ 242895 h 447683"/>
              <a:gd name="connsiteX17" fmla="*/ 359189 w 459868"/>
              <a:gd name="connsiteY17" fmla="*/ 242895 h 447683"/>
              <a:gd name="connsiteX18" fmla="*/ 368714 w 459868"/>
              <a:gd name="connsiteY18" fmla="*/ 252420 h 447683"/>
              <a:gd name="connsiteX19" fmla="*/ 368714 w 459868"/>
              <a:gd name="connsiteY19" fmla="*/ 438158 h 447683"/>
              <a:gd name="connsiteX20" fmla="*/ 359189 w 459868"/>
              <a:gd name="connsiteY20" fmla="*/ 447683 h 447683"/>
              <a:gd name="connsiteX21" fmla="*/ 98013 w 459868"/>
              <a:gd name="connsiteY21" fmla="*/ 447683 h 447683"/>
              <a:gd name="connsiteX22" fmla="*/ 88488 w 459868"/>
              <a:gd name="connsiteY22" fmla="*/ 438539 h 447683"/>
              <a:gd name="connsiteX23" fmla="*/ 88488 w 459868"/>
              <a:gd name="connsiteY23" fmla="*/ 252420 h 447683"/>
              <a:gd name="connsiteX24" fmla="*/ 98013 w 459868"/>
              <a:gd name="connsiteY24" fmla="*/ 242895 h 447683"/>
              <a:gd name="connsiteX25" fmla="*/ 38101 w 459868"/>
              <a:gd name="connsiteY25" fmla="*/ 96876 h 447683"/>
              <a:gd name="connsiteX26" fmla="*/ 28576 w 459868"/>
              <a:gd name="connsiteY26" fmla="*/ 106401 h 447683"/>
              <a:gd name="connsiteX27" fmla="*/ 28576 w 459868"/>
              <a:gd name="connsiteY27" fmla="*/ 107258 h 447683"/>
              <a:gd name="connsiteX28" fmla="*/ 38101 w 459868"/>
              <a:gd name="connsiteY28" fmla="*/ 116783 h 447683"/>
              <a:gd name="connsiteX29" fmla="*/ 47626 w 459868"/>
              <a:gd name="connsiteY29" fmla="*/ 107639 h 447683"/>
              <a:gd name="connsiteX30" fmla="*/ 47626 w 459868"/>
              <a:gd name="connsiteY30" fmla="*/ 106401 h 447683"/>
              <a:gd name="connsiteX31" fmla="*/ 38101 w 459868"/>
              <a:gd name="connsiteY31" fmla="*/ 96876 h 447683"/>
              <a:gd name="connsiteX32" fmla="*/ 11431 w 459868"/>
              <a:gd name="connsiteY32" fmla="*/ 67730 h 447683"/>
              <a:gd name="connsiteX33" fmla="*/ 450343 w 459868"/>
              <a:gd name="connsiteY33" fmla="*/ 67730 h 447683"/>
              <a:gd name="connsiteX34" fmla="*/ 459868 w 459868"/>
              <a:gd name="connsiteY34" fmla="*/ 77255 h 447683"/>
              <a:gd name="connsiteX35" fmla="*/ 459868 w 459868"/>
              <a:gd name="connsiteY35" fmla="*/ 302235 h 447683"/>
              <a:gd name="connsiteX36" fmla="*/ 450343 w 459868"/>
              <a:gd name="connsiteY36" fmla="*/ 311760 h 447683"/>
              <a:gd name="connsiteX37" fmla="*/ 396622 w 459868"/>
              <a:gd name="connsiteY37" fmla="*/ 311760 h 447683"/>
              <a:gd name="connsiteX38" fmla="*/ 387097 w 459868"/>
              <a:gd name="connsiteY38" fmla="*/ 302235 h 447683"/>
              <a:gd name="connsiteX39" fmla="*/ 387097 w 459868"/>
              <a:gd name="connsiteY39" fmla="*/ 223178 h 447683"/>
              <a:gd name="connsiteX40" fmla="*/ 377572 w 459868"/>
              <a:gd name="connsiteY40" fmla="*/ 213653 h 447683"/>
              <a:gd name="connsiteX41" fmla="*/ 82297 w 459868"/>
              <a:gd name="connsiteY41" fmla="*/ 213653 h 447683"/>
              <a:gd name="connsiteX42" fmla="*/ 72772 w 459868"/>
              <a:gd name="connsiteY42" fmla="*/ 223178 h 447683"/>
              <a:gd name="connsiteX43" fmla="*/ 72772 w 459868"/>
              <a:gd name="connsiteY43" fmla="*/ 302235 h 447683"/>
              <a:gd name="connsiteX44" fmla="*/ 63247 w 459868"/>
              <a:gd name="connsiteY44" fmla="*/ 311760 h 447683"/>
              <a:gd name="connsiteX45" fmla="*/ 9526 w 459868"/>
              <a:gd name="connsiteY45" fmla="*/ 311760 h 447683"/>
              <a:gd name="connsiteX46" fmla="*/ 1 w 459868"/>
              <a:gd name="connsiteY46" fmla="*/ 302235 h 447683"/>
              <a:gd name="connsiteX47" fmla="*/ 1 w 459868"/>
              <a:gd name="connsiteY47" fmla="*/ 77255 h 447683"/>
              <a:gd name="connsiteX48" fmla="*/ 192 w 459868"/>
              <a:gd name="connsiteY48" fmla="*/ 75155 h 447683"/>
              <a:gd name="connsiteX49" fmla="*/ 11431 w 459868"/>
              <a:gd name="connsiteY49" fmla="*/ 67730 h 447683"/>
              <a:gd name="connsiteX50" fmla="*/ 83535 w 459868"/>
              <a:gd name="connsiteY50" fmla="*/ 0 h 447683"/>
              <a:gd name="connsiteX51" fmla="*/ 92679 w 459868"/>
              <a:gd name="connsiteY51" fmla="*/ 0 h 447683"/>
              <a:gd name="connsiteX52" fmla="*/ 362236 w 459868"/>
              <a:gd name="connsiteY52" fmla="*/ 0 h 447683"/>
              <a:gd name="connsiteX53" fmla="*/ 371380 w 459868"/>
              <a:gd name="connsiteY53" fmla="*/ 0 h 447683"/>
              <a:gd name="connsiteX54" fmla="*/ 371380 w 459868"/>
              <a:gd name="connsiteY54" fmla="*/ 48673 h 447683"/>
              <a:gd name="connsiteX55" fmla="*/ 362236 w 459868"/>
              <a:gd name="connsiteY55" fmla="*/ 48673 h 447683"/>
              <a:gd name="connsiteX56" fmla="*/ 92679 w 459868"/>
              <a:gd name="connsiteY56" fmla="*/ 48673 h 447683"/>
              <a:gd name="connsiteX57" fmla="*/ 83535 w 459868"/>
              <a:gd name="connsiteY57" fmla="*/ 48673 h 4476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459868" h="447683">
                <a:moveTo>
                  <a:pt x="136113" y="364244"/>
                </a:moveTo>
                <a:cubicBezTo>
                  <a:pt x="130922" y="364243"/>
                  <a:pt x="126693" y="368392"/>
                  <a:pt x="126588" y="373578"/>
                </a:cubicBezTo>
                <a:lnTo>
                  <a:pt x="126588" y="380341"/>
                </a:lnTo>
                <a:cubicBezTo>
                  <a:pt x="126588" y="385601"/>
                  <a:pt x="130855" y="389866"/>
                  <a:pt x="136113" y="389866"/>
                </a:cubicBezTo>
                <a:lnTo>
                  <a:pt x="244889" y="389866"/>
                </a:lnTo>
                <a:cubicBezTo>
                  <a:pt x="250147" y="389866"/>
                  <a:pt x="254414" y="385601"/>
                  <a:pt x="254414" y="380341"/>
                </a:cubicBezTo>
                <a:lnTo>
                  <a:pt x="254414" y="373769"/>
                </a:lnTo>
                <a:cubicBezTo>
                  <a:pt x="254414" y="368508"/>
                  <a:pt x="250147" y="364244"/>
                  <a:pt x="244889" y="364244"/>
                </a:cubicBezTo>
                <a:close/>
                <a:moveTo>
                  <a:pt x="136113" y="301664"/>
                </a:moveTo>
                <a:cubicBezTo>
                  <a:pt x="130998" y="301660"/>
                  <a:pt x="126788" y="305697"/>
                  <a:pt x="126588" y="310808"/>
                </a:cubicBezTo>
                <a:lnTo>
                  <a:pt x="126588" y="317952"/>
                </a:lnTo>
                <a:cubicBezTo>
                  <a:pt x="126588" y="323213"/>
                  <a:pt x="130855" y="327477"/>
                  <a:pt x="136113" y="327477"/>
                </a:cubicBezTo>
                <a:lnTo>
                  <a:pt x="321089" y="327477"/>
                </a:lnTo>
                <a:cubicBezTo>
                  <a:pt x="326347" y="327477"/>
                  <a:pt x="330614" y="323213"/>
                  <a:pt x="330614" y="317952"/>
                </a:cubicBezTo>
                <a:lnTo>
                  <a:pt x="330614" y="311189"/>
                </a:lnTo>
                <a:cubicBezTo>
                  <a:pt x="330614" y="305929"/>
                  <a:pt x="326347" y="301664"/>
                  <a:pt x="321089" y="301664"/>
                </a:cubicBezTo>
                <a:close/>
                <a:moveTo>
                  <a:pt x="98013" y="242895"/>
                </a:moveTo>
                <a:lnTo>
                  <a:pt x="359189" y="242895"/>
                </a:lnTo>
                <a:cubicBezTo>
                  <a:pt x="364447" y="242895"/>
                  <a:pt x="368714" y="247159"/>
                  <a:pt x="368714" y="252420"/>
                </a:cubicBezTo>
                <a:lnTo>
                  <a:pt x="368714" y="438158"/>
                </a:lnTo>
                <a:cubicBezTo>
                  <a:pt x="368714" y="443418"/>
                  <a:pt x="364447" y="447683"/>
                  <a:pt x="359189" y="447683"/>
                </a:cubicBezTo>
                <a:lnTo>
                  <a:pt x="98013" y="447683"/>
                </a:lnTo>
                <a:cubicBezTo>
                  <a:pt x="92898" y="447686"/>
                  <a:pt x="88688" y="443650"/>
                  <a:pt x="88488" y="438539"/>
                </a:cubicBezTo>
                <a:lnTo>
                  <a:pt x="88488" y="252420"/>
                </a:lnTo>
                <a:cubicBezTo>
                  <a:pt x="88488" y="247159"/>
                  <a:pt x="92755" y="242895"/>
                  <a:pt x="98013" y="242895"/>
                </a:cubicBezTo>
                <a:close/>
                <a:moveTo>
                  <a:pt x="38101" y="96876"/>
                </a:moveTo>
                <a:cubicBezTo>
                  <a:pt x="32843" y="96876"/>
                  <a:pt x="28576" y="101141"/>
                  <a:pt x="28576" y="106401"/>
                </a:cubicBezTo>
                <a:lnTo>
                  <a:pt x="28576" y="107258"/>
                </a:lnTo>
                <a:cubicBezTo>
                  <a:pt x="28576" y="112519"/>
                  <a:pt x="32843" y="116783"/>
                  <a:pt x="38101" y="116783"/>
                </a:cubicBezTo>
                <a:cubicBezTo>
                  <a:pt x="43216" y="116788"/>
                  <a:pt x="47426" y="112751"/>
                  <a:pt x="47626" y="107639"/>
                </a:cubicBezTo>
                <a:lnTo>
                  <a:pt x="47626" y="106401"/>
                </a:lnTo>
                <a:cubicBezTo>
                  <a:pt x="47626" y="101141"/>
                  <a:pt x="43359" y="96876"/>
                  <a:pt x="38101" y="96876"/>
                </a:cubicBezTo>
                <a:close/>
                <a:moveTo>
                  <a:pt x="11431" y="67730"/>
                </a:moveTo>
                <a:lnTo>
                  <a:pt x="450343" y="67730"/>
                </a:lnTo>
                <a:cubicBezTo>
                  <a:pt x="455601" y="67730"/>
                  <a:pt x="459868" y="71994"/>
                  <a:pt x="459868" y="77255"/>
                </a:cubicBezTo>
                <a:lnTo>
                  <a:pt x="459868" y="302235"/>
                </a:lnTo>
                <a:cubicBezTo>
                  <a:pt x="459868" y="307496"/>
                  <a:pt x="455601" y="311760"/>
                  <a:pt x="450343" y="311760"/>
                </a:cubicBezTo>
                <a:lnTo>
                  <a:pt x="396622" y="311760"/>
                </a:lnTo>
                <a:cubicBezTo>
                  <a:pt x="391364" y="311760"/>
                  <a:pt x="387097" y="307496"/>
                  <a:pt x="387097" y="302235"/>
                </a:cubicBezTo>
                <a:lnTo>
                  <a:pt x="387097" y="223178"/>
                </a:lnTo>
                <a:cubicBezTo>
                  <a:pt x="387097" y="217917"/>
                  <a:pt x="382830" y="213653"/>
                  <a:pt x="377572" y="213653"/>
                </a:cubicBezTo>
                <a:lnTo>
                  <a:pt x="82297" y="213653"/>
                </a:lnTo>
                <a:cubicBezTo>
                  <a:pt x="77039" y="213653"/>
                  <a:pt x="72772" y="217917"/>
                  <a:pt x="72772" y="223178"/>
                </a:cubicBezTo>
                <a:lnTo>
                  <a:pt x="72772" y="302235"/>
                </a:lnTo>
                <a:cubicBezTo>
                  <a:pt x="72772" y="307496"/>
                  <a:pt x="68505" y="311760"/>
                  <a:pt x="63247" y="311760"/>
                </a:cubicBezTo>
                <a:lnTo>
                  <a:pt x="9526" y="311760"/>
                </a:lnTo>
                <a:cubicBezTo>
                  <a:pt x="4268" y="311760"/>
                  <a:pt x="1" y="307496"/>
                  <a:pt x="1" y="302235"/>
                </a:cubicBezTo>
                <a:lnTo>
                  <a:pt x="1" y="77255"/>
                </a:lnTo>
                <a:cubicBezTo>
                  <a:pt x="-8" y="76550"/>
                  <a:pt x="49" y="75846"/>
                  <a:pt x="192" y="75155"/>
                </a:cubicBezTo>
                <a:cubicBezTo>
                  <a:pt x="1249" y="70001"/>
                  <a:pt x="6278" y="66677"/>
                  <a:pt x="11431" y="67730"/>
                </a:cubicBezTo>
                <a:close/>
                <a:moveTo>
                  <a:pt x="83535" y="0"/>
                </a:moveTo>
                <a:cubicBezTo>
                  <a:pt x="83535" y="0"/>
                  <a:pt x="87629" y="0"/>
                  <a:pt x="92679" y="0"/>
                </a:cubicBezTo>
                <a:lnTo>
                  <a:pt x="362236" y="0"/>
                </a:lnTo>
                <a:cubicBezTo>
                  <a:pt x="367286" y="0"/>
                  <a:pt x="371380" y="0"/>
                  <a:pt x="371380" y="0"/>
                </a:cubicBezTo>
                <a:lnTo>
                  <a:pt x="371380" y="48673"/>
                </a:lnTo>
                <a:cubicBezTo>
                  <a:pt x="371380" y="48673"/>
                  <a:pt x="367286" y="48673"/>
                  <a:pt x="362236" y="48673"/>
                </a:cubicBezTo>
                <a:lnTo>
                  <a:pt x="92679" y="48673"/>
                </a:lnTo>
                <a:cubicBezTo>
                  <a:pt x="87629" y="48673"/>
                  <a:pt x="83535" y="48673"/>
                  <a:pt x="83535" y="48673"/>
                </a:cubicBezTo>
                <a:close/>
              </a:path>
            </a:pathLst>
          </a:custGeom>
          <a:solidFill>
            <a:schemeClr val="bg1"/>
          </a:solidFill>
          <a:ln w="9525" cap="flat">
            <a:noFill/>
            <a:prstDash val="solid"/>
            <a:miter/>
          </a:ln>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srgbClr val="000000"/>
              </a:solidFill>
              <a:effectLst/>
              <a:uLnTx/>
              <a:uFillTx/>
              <a:latin typeface="OPPOSans R" panose="00020600040101010101" pitchFamily="18" charset="-122"/>
              <a:ea typeface="微软雅黑"/>
              <a:cs typeface="+mn-cs"/>
            </a:endParaRPr>
          </a:p>
        </p:txBody>
      </p:sp>
      <p:sp>
        <p:nvSpPr>
          <p:cNvPr id="49" name="gaoding-30">
            <a:extLst>
              <a:ext uri="{FF2B5EF4-FFF2-40B4-BE49-F238E27FC236}">
                <a16:creationId xmlns:a16="http://schemas.microsoft.com/office/drawing/2014/main" id="{7EEF03D6-85DB-459A-9834-372F6DF7DF46}"/>
              </a:ext>
            </a:extLst>
          </p:cNvPr>
          <p:cNvSpPr/>
          <p:nvPr/>
        </p:nvSpPr>
        <p:spPr>
          <a:xfrm>
            <a:off x="5180746" y="2845520"/>
            <a:ext cx="278430" cy="245145"/>
          </a:xfrm>
          <a:custGeom>
            <a:avLst/>
            <a:gdLst>
              <a:gd name="connsiteX0" fmla="*/ 398255 w 505374"/>
              <a:gd name="connsiteY0" fmla="*/ 230617 h 444961"/>
              <a:gd name="connsiteX1" fmla="*/ 420410 w 505374"/>
              <a:gd name="connsiteY1" fmla="*/ 253223 h 444961"/>
              <a:gd name="connsiteX2" fmla="*/ 420410 w 505374"/>
              <a:gd name="connsiteY2" fmla="*/ 422482 h 444961"/>
              <a:gd name="connsiteX3" fmla="*/ 398027 w 505374"/>
              <a:gd name="connsiteY3" fmla="*/ 444961 h 444961"/>
              <a:gd name="connsiteX4" fmla="*/ 90369 w 505374"/>
              <a:gd name="connsiteY4" fmla="*/ 444961 h 444961"/>
              <a:gd name="connsiteX5" fmla="*/ 67985 w 505374"/>
              <a:gd name="connsiteY5" fmla="*/ 422482 h 444961"/>
              <a:gd name="connsiteX6" fmla="*/ 67985 w 505374"/>
              <a:gd name="connsiteY6" fmla="*/ 253223 h 444961"/>
              <a:gd name="connsiteX7" fmla="*/ 69938 w 505374"/>
              <a:gd name="connsiteY7" fmla="*/ 244031 h 444961"/>
              <a:gd name="connsiteX8" fmla="*/ 99513 w 505374"/>
              <a:gd name="connsiteY8" fmla="*/ 232744 h 444961"/>
              <a:gd name="connsiteX9" fmla="*/ 235054 w 505374"/>
              <a:gd name="connsiteY9" fmla="*/ 293228 h 444961"/>
              <a:gd name="connsiteX10" fmla="*/ 253342 w 505374"/>
              <a:gd name="connsiteY10" fmla="*/ 293228 h 444961"/>
              <a:gd name="connsiteX11" fmla="*/ 388502 w 505374"/>
              <a:gd name="connsiteY11" fmla="*/ 232744 h 444961"/>
              <a:gd name="connsiteX12" fmla="*/ 398255 w 505374"/>
              <a:gd name="connsiteY12" fmla="*/ 230617 h 444961"/>
              <a:gd name="connsiteX13" fmla="*/ 475294 w 505374"/>
              <a:gd name="connsiteY13" fmla="*/ 200147 h 444961"/>
              <a:gd name="connsiteX14" fmla="*/ 495372 w 505374"/>
              <a:gd name="connsiteY14" fmla="*/ 220076 h 444961"/>
              <a:gd name="connsiteX15" fmla="*/ 495372 w 505374"/>
              <a:gd name="connsiteY15" fmla="*/ 334376 h 444961"/>
              <a:gd name="connsiteX16" fmla="*/ 505374 w 505374"/>
              <a:gd name="connsiteY16" fmla="*/ 351521 h 444961"/>
              <a:gd name="connsiteX17" fmla="*/ 505374 w 505374"/>
              <a:gd name="connsiteY17" fmla="*/ 394098 h 444961"/>
              <a:gd name="connsiteX18" fmla="*/ 485371 w 505374"/>
              <a:gd name="connsiteY18" fmla="*/ 414005 h 444961"/>
              <a:gd name="connsiteX19" fmla="*/ 465464 w 505374"/>
              <a:gd name="connsiteY19" fmla="*/ 414005 h 444961"/>
              <a:gd name="connsiteX20" fmla="*/ 445461 w 505374"/>
              <a:gd name="connsiteY20" fmla="*/ 394098 h 444961"/>
              <a:gd name="connsiteX21" fmla="*/ 445461 w 505374"/>
              <a:gd name="connsiteY21" fmla="*/ 351521 h 444961"/>
              <a:gd name="connsiteX22" fmla="*/ 455462 w 505374"/>
              <a:gd name="connsiteY22" fmla="*/ 334376 h 444961"/>
              <a:gd name="connsiteX23" fmla="*/ 455462 w 505374"/>
              <a:gd name="connsiteY23" fmla="*/ 220076 h 444961"/>
              <a:gd name="connsiteX24" fmla="*/ 466226 w 505374"/>
              <a:gd name="connsiteY24" fmla="*/ 202360 h 444961"/>
              <a:gd name="connsiteX25" fmla="*/ 475294 w 505374"/>
              <a:gd name="connsiteY25" fmla="*/ 200147 h 444961"/>
              <a:gd name="connsiteX26" fmla="*/ 233053 w 505374"/>
              <a:gd name="connsiteY26" fmla="*/ 2430 h 444961"/>
              <a:gd name="connsiteX27" fmla="*/ 254580 w 505374"/>
              <a:gd name="connsiteY27" fmla="*/ 2430 h 444961"/>
              <a:gd name="connsiteX28" fmla="*/ 473655 w 505374"/>
              <a:gd name="connsiteY28" fmla="*/ 107777 h 444961"/>
              <a:gd name="connsiteX29" fmla="*/ 485151 w 505374"/>
              <a:gd name="connsiteY29" fmla="*/ 119270 h 444961"/>
              <a:gd name="connsiteX30" fmla="*/ 473655 w 505374"/>
              <a:gd name="connsiteY30" fmla="*/ 152354 h 444961"/>
              <a:gd name="connsiteX31" fmla="*/ 254580 w 505374"/>
              <a:gd name="connsiteY31" fmla="*/ 257700 h 444961"/>
              <a:gd name="connsiteX32" fmla="*/ 233053 w 505374"/>
              <a:gd name="connsiteY32" fmla="*/ 257700 h 444961"/>
              <a:gd name="connsiteX33" fmla="*/ 13978 w 505374"/>
              <a:gd name="connsiteY33" fmla="*/ 152354 h 444961"/>
              <a:gd name="connsiteX34" fmla="*/ 2482 w 505374"/>
              <a:gd name="connsiteY34" fmla="*/ 140860 h 444961"/>
              <a:gd name="connsiteX35" fmla="*/ 13978 w 505374"/>
              <a:gd name="connsiteY35" fmla="*/ 107777 h 4449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505374" h="444961">
                <a:moveTo>
                  <a:pt x="398255" y="230617"/>
                </a:moveTo>
                <a:cubicBezTo>
                  <a:pt x="410609" y="230740"/>
                  <a:pt x="420534" y="240861"/>
                  <a:pt x="420410" y="253223"/>
                </a:cubicBezTo>
                <a:lnTo>
                  <a:pt x="420410" y="422482"/>
                </a:lnTo>
                <a:cubicBezTo>
                  <a:pt x="420410" y="434860"/>
                  <a:pt x="410409" y="444909"/>
                  <a:pt x="398027" y="444961"/>
                </a:cubicBezTo>
                <a:lnTo>
                  <a:pt x="90369" y="444961"/>
                </a:lnTo>
                <a:cubicBezTo>
                  <a:pt x="77996" y="444909"/>
                  <a:pt x="67985" y="434860"/>
                  <a:pt x="67985" y="422482"/>
                </a:cubicBezTo>
                <a:lnTo>
                  <a:pt x="67985" y="253223"/>
                </a:lnTo>
                <a:cubicBezTo>
                  <a:pt x="67976" y="250055"/>
                  <a:pt x="68643" y="246922"/>
                  <a:pt x="69938" y="244031"/>
                </a:cubicBezTo>
                <a:cubicBezTo>
                  <a:pt x="74987" y="232747"/>
                  <a:pt x="88226" y="227694"/>
                  <a:pt x="99513" y="232744"/>
                </a:cubicBezTo>
                <a:lnTo>
                  <a:pt x="235054" y="293228"/>
                </a:lnTo>
                <a:cubicBezTo>
                  <a:pt x="240855" y="295894"/>
                  <a:pt x="247541" y="295894"/>
                  <a:pt x="253342" y="293228"/>
                </a:cubicBezTo>
                <a:lnTo>
                  <a:pt x="388502" y="232744"/>
                </a:lnTo>
                <a:cubicBezTo>
                  <a:pt x="391550" y="231311"/>
                  <a:pt x="394883" y="230584"/>
                  <a:pt x="398255" y="230617"/>
                </a:cubicBezTo>
                <a:close/>
                <a:moveTo>
                  <a:pt x="475294" y="200147"/>
                </a:moveTo>
                <a:cubicBezTo>
                  <a:pt x="486342" y="200107"/>
                  <a:pt x="495334" y="209029"/>
                  <a:pt x="495372" y="220076"/>
                </a:cubicBezTo>
                <a:lnTo>
                  <a:pt x="495372" y="334376"/>
                </a:lnTo>
                <a:cubicBezTo>
                  <a:pt x="501526" y="337903"/>
                  <a:pt x="505326" y="344434"/>
                  <a:pt x="505374" y="351521"/>
                </a:cubicBezTo>
                <a:lnTo>
                  <a:pt x="505374" y="394098"/>
                </a:lnTo>
                <a:cubicBezTo>
                  <a:pt x="505316" y="405108"/>
                  <a:pt x="496382" y="414005"/>
                  <a:pt x="485371" y="414005"/>
                </a:cubicBezTo>
                <a:lnTo>
                  <a:pt x="465464" y="414005"/>
                </a:lnTo>
                <a:cubicBezTo>
                  <a:pt x="454453" y="414005"/>
                  <a:pt x="445509" y="405108"/>
                  <a:pt x="445461" y="394098"/>
                </a:cubicBezTo>
                <a:lnTo>
                  <a:pt x="445461" y="351521"/>
                </a:lnTo>
                <a:cubicBezTo>
                  <a:pt x="445509" y="344434"/>
                  <a:pt x="449309" y="337903"/>
                  <a:pt x="455462" y="334376"/>
                </a:cubicBezTo>
                <a:lnTo>
                  <a:pt x="455462" y="220076"/>
                </a:lnTo>
                <a:cubicBezTo>
                  <a:pt x="455491" y="212633"/>
                  <a:pt x="459635" y="205816"/>
                  <a:pt x="466226" y="202360"/>
                </a:cubicBezTo>
                <a:cubicBezTo>
                  <a:pt x="469036" y="200917"/>
                  <a:pt x="472141" y="200159"/>
                  <a:pt x="475294" y="200147"/>
                </a:cubicBezTo>
                <a:close/>
                <a:moveTo>
                  <a:pt x="233053" y="2430"/>
                </a:moveTo>
                <a:cubicBezTo>
                  <a:pt x="239864" y="-810"/>
                  <a:pt x="247769" y="-810"/>
                  <a:pt x="254580" y="2430"/>
                </a:cubicBezTo>
                <a:lnTo>
                  <a:pt x="473655" y="107777"/>
                </a:lnTo>
                <a:cubicBezTo>
                  <a:pt x="478665" y="110206"/>
                  <a:pt x="482722" y="114255"/>
                  <a:pt x="485151" y="119270"/>
                </a:cubicBezTo>
                <a:cubicBezTo>
                  <a:pt x="491114" y="131580"/>
                  <a:pt x="485961" y="146392"/>
                  <a:pt x="473655" y="152354"/>
                </a:cubicBezTo>
                <a:lnTo>
                  <a:pt x="254580" y="257700"/>
                </a:lnTo>
                <a:cubicBezTo>
                  <a:pt x="247788" y="261039"/>
                  <a:pt x="239845" y="261039"/>
                  <a:pt x="233053" y="257700"/>
                </a:cubicBezTo>
                <a:lnTo>
                  <a:pt x="13978" y="152354"/>
                </a:lnTo>
                <a:cubicBezTo>
                  <a:pt x="8968" y="149925"/>
                  <a:pt x="4911" y="145875"/>
                  <a:pt x="2482" y="140860"/>
                </a:cubicBezTo>
                <a:cubicBezTo>
                  <a:pt x="-3481" y="128550"/>
                  <a:pt x="1672" y="113738"/>
                  <a:pt x="13978" y="107777"/>
                </a:cubicBezTo>
                <a:close/>
              </a:path>
            </a:pathLst>
          </a:custGeom>
          <a:solidFill>
            <a:schemeClr val="bg1"/>
          </a:solidFill>
          <a:ln w="9525" cap="flat">
            <a:noFill/>
            <a:prstDash val="solid"/>
            <a:miter/>
          </a:ln>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srgbClr val="000000"/>
              </a:solidFill>
              <a:effectLst/>
              <a:uLnTx/>
              <a:uFillTx/>
              <a:latin typeface="OPPOSans R" panose="00020600040101010101" pitchFamily="18" charset="-122"/>
              <a:ea typeface="微软雅黑"/>
              <a:cs typeface="+mn-cs"/>
            </a:endParaRPr>
          </a:p>
        </p:txBody>
      </p:sp>
      <p:sp>
        <p:nvSpPr>
          <p:cNvPr id="50" name="gaoding-31">
            <a:extLst>
              <a:ext uri="{FF2B5EF4-FFF2-40B4-BE49-F238E27FC236}">
                <a16:creationId xmlns:a16="http://schemas.microsoft.com/office/drawing/2014/main" id="{D7F88167-BED6-4438-97A2-BFB054561F99}"/>
              </a:ext>
            </a:extLst>
          </p:cNvPr>
          <p:cNvSpPr/>
          <p:nvPr/>
        </p:nvSpPr>
        <p:spPr>
          <a:xfrm>
            <a:off x="5168096" y="4252785"/>
            <a:ext cx="278430" cy="268041"/>
          </a:xfrm>
          <a:custGeom>
            <a:avLst/>
            <a:gdLst>
              <a:gd name="connsiteX0" fmla="*/ 194024 w 465677"/>
              <a:gd name="connsiteY0" fmla="*/ 157258 h 448304"/>
              <a:gd name="connsiteX1" fmla="*/ 196023 w 465677"/>
              <a:gd name="connsiteY1" fmla="*/ 157258 h 448304"/>
              <a:gd name="connsiteX2" fmla="*/ 238410 w 465677"/>
              <a:gd name="connsiteY2" fmla="*/ 198691 h 448304"/>
              <a:gd name="connsiteX3" fmla="*/ 238410 w 465677"/>
              <a:gd name="connsiteY3" fmla="*/ 198791 h 448304"/>
              <a:gd name="connsiteX4" fmla="*/ 196023 w 465677"/>
              <a:gd name="connsiteY4" fmla="*/ 240220 h 448304"/>
              <a:gd name="connsiteX5" fmla="*/ 194024 w 465677"/>
              <a:gd name="connsiteY5" fmla="*/ 240220 h 448304"/>
              <a:gd name="connsiteX6" fmla="*/ 151733 w 465677"/>
              <a:gd name="connsiteY6" fmla="*/ 198691 h 448304"/>
              <a:gd name="connsiteX7" fmla="*/ 194024 w 465677"/>
              <a:gd name="connsiteY7" fmla="*/ 157258 h 448304"/>
              <a:gd name="connsiteX8" fmla="*/ 195263 w 465677"/>
              <a:gd name="connsiteY8" fmla="*/ 123824 h 448304"/>
              <a:gd name="connsiteX9" fmla="*/ 179737 w 465677"/>
              <a:gd name="connsiteY9" fmla="*/ 125062 h 448304"/>
              <a:gd name="connsiteX10" fmla="*/ 119729 w 465677"/>
              <a:gd name="connsiteY10" fmla="*/ 179831 h 448304"/>
              <a:gd name="connsiteX11" fmla="*/ 151734 w 465677"/>
              <a:gd name="connsiteY11" fmla="*/ 261937 h 448304"/>
              <a:gd name="connsiteX12" fmla="*/ 88488 w 465677"/>
              <a:gd name="connsiteY12" fmla="*/ 309562 h 448304"/>
              <a:gd name="connsiteX13" fmla="*/ 86582 w 465677"/>
              <a:gd name="connsiteY13" fmla="*/ 313303 h 448304"/>
              <a:gd name="connsiteX14" fmla="*/ 96107 w 465677"/>
              <a:gd name="connsiteY14" fmla="*/ 333374 h 448304"/>
              <a:gd name="connsiteX15" fmla="*/ 98298 w 465677"/>
              <a:gd name="connsiteY15" fmla="*/ 334231 h 448304"/>
              <a:gd name="connsiteX16" fmla="*/ 117348 w 465677"/>
              <a:gd name="connsiteY16" fmla="*/ 328135 h 448304"/>
              <a:gd name="connsiteX17" fmla="*/ 195167 w 465677"/>
              <a:gd name="connsiteY17" fmla="*/ 288892 h 448304"/>
              <a:gd name="connsiteX18" fmla="*/ 272987 w 465677"/>
              <a:gd name="connsiteY18" fmla="*/ 328135 h 448304"/>
              <a:gd name="connsiteX19" fmla="*/ 292037 w 465677"/>
              <a:gd name="connsiteY19" fmla="*/ 334231 h 448304"/>
              <a:gd name="connsiteX20" fmla="*/ 294228 w 465677"/>
              <a:gd name="connsiteY20" fmla="*/ 333374 h 448304"/>
              <a:gd name="connsiteX21" fmla="*/ 298038 w 465677"/>
              <a:gd name="connsiteY21" fmla="*/ 331430 h 448304"/>
              <a:gd name="connsiteX22" fmla="*/ 302038 w 465677"/>
              <a:gd name="connsiteY22" fmla="*/ 309562 h 448304"/>
              <a:gd name="connsiteX23" fmla="*/ 238791 w 465677"/>
              <a:gd name="connsiteY23" fmla="*/ 261937 h 448304"/>
              <a:gd name="connsiteX24" fmla="*/ 270796 w 465677"/>
              <a:gd name="connsiteY24" fmla="*/ 179831 h 448304"/>
              <a:gd name="connsiteX25" fmla="*/ 210788 w 465677"/>
              <a:gd name="connsiteY25" fmla="*/ 125062 h 448304"/>
              <a:gd name="connsiteX26" fmla="*/ 195263 w 465677"/>
              <a:gd name="connsiteY26" fmla="*/ 123824 h 448304"/>
              <a:gd name="connsiteX27" fmla="*/ 369285 w 465677"/>
              <a:gd name="connsiteY27" fmla="*/ 69717 h 448304"/>
              <a:gd name="connsiteX28" fmla="*/ 392811 w 465677"/>
              <a:gd name="connsiteY28" fmla="*/ 92677 h 448304"/>
              <a:gd name="connsiteX29" fmla="*/ 392811 w 465677"/>
              <a:gd name="connsiteY29" fmla="*/ 370903 h 448304"/>
              <a:gd name="connsiteX30" fmla="*/ 392811 w 465677"/>
              <a:gd name="connsiteY30" fmla="*/ 370906 h 448304"/>
              <a:gd name="connsiteX31" fmla="*/ 369380 w 465677"/>
              <a:gd name="connsiteY31" fmla="*/ 393763 h 448304"/>
              <a:gd name="connsiteX32" fmla="*/ 277559 w 465677"/>
              <a:gd name="connsiteY32" fmla="*/ 393763 h 448304"/>
              <a:gd name="connsiteX33" fmla="*/ 261461 w 465677"/>
              <a:gd name="connsiteY33" fmla="*/ 400049 h 448304"/>
              <a:gd name="connsiteX34" fmla="*/ 216217 w 465677"/>
              <a:gd name="connsiteY34" fmla="*/ 442054 h 448304"/>
              <a:gd name="connsiteX35" fmla="*/ 183356 w 465677"/>
              <a:gd name="connsiteY35" fmla="*/ 441388 h 448304"/>
              <a:gd name="connsiteX36" fmla="*/ 142684 w 465677"/>
              <a:gd name="connsiteY36" fmla="*/ 400621 h 448304"/>
              <a:gd name="connsiteX37" fmla="*/ 125920 w 465677"/>
              <a:gd name="connsiteY37" fmla="*/ 393763 h 448304"/>
              <a:gd name="connsiteX38" fmla="*/ 23336 w 465677"/>
              <a:gd name="connsiteY38" fmla="*/ 393763 h 448304"/>
              <a:gd name="connsiteX39" fmla="*/ 0 w 465677"/>
              <a:gd name="connsiteY39" fmla="*/ 370903 h 448304"/>
              <a:gd name="connsiteX40" fmla="*/ 0 w 465677"/>
              <a:gd name="connsiteY40" fmla="*/ 92677 h 448304"/>
              <a:gd name="connsiteX41" fmla="*/ 22956 w 465677"/>
              <a:gd name="connsiteY41" fmla="*/ 69722 h 448304"/>
              <a:gd name="connsiteX42" fmla="*/ 368999 w 465677"/>
              <a:gd name="connsiteY42" fmla="*/ 69722 h 448304"/>
              <a:gd name="connsiteX43" fmla="*/ 369285 w 465677"/>
              <a:gd name="connsiteY43" fmla="*/ 69717 h 448304"/>
              <a:gd name="connsiteX44" fmla="*/ 123825 w 465677"/>
              <a:gd name="connsiteY44" fmla="*/ 0 h 448304"/>
              <a:gd name="connsiteX45" fmla="*/ 445484 w 465677"/>
              <a:gd name="connsiteY45" fmla="*/ 0 h 448304"/>
              <a:gd name="connsiteX46" fmla="*/ 465677 w 465677"/>
              <a:gd name="connsiteY46" fmla="*/ 19810 h 448304"/>
              <a:gd name="connsiteX47" fmla="*/ 465677 w 465677"/>
              <a:gd name="connsiteY47" fmla="*/ 19812 h 448304"/>
              <a:gd name="connsiteX48" fmla="*/ 465677 w 465677"/>
              <a:gd name="connsiteY48" fmla="*/ 307753 h 448304"/>
              <a:gd name="connsiteX49" fmla="*/ 445866 w 465677"/>
              <a:gd name="connsiteY49" fmla="*/ 327565 h 448304"/>
              <a:gd name="connsiteX50" fmla="*/ 411384 w 465677"/>
              <a:gd name="connsiteY50" fmla="*/ 327565 h 448304"/>
              <a:gd name="connsiteX51" fmla="*/ 411384 w 465677"/>
              <a:gd name="connsiteY51" fmla="*/ 288512 h 448304"/>
              <a:gd name="connsiteX52" fmla="*/ 426244 w 465677"/>
              <a:gd name="connsiteY52" fmla="*/ 274037 h 448304"/>
              <a:gd name="connsiteX53" fmla="*/ 426244 w 465677"/>
              <a:gd name="connsiteY53" fmla="*/ 274034 h 448304"/>
              <a:gd name="connsiteX54" fmla="*/ 426244 w 465677"/>
              <a:gd name="connsiteY54" fmla="*/ 53626 h 448304"/>
              <a:gd name="connsiteX55" fmla="*/ 411479 w 465677"/>
              <a:gd name="connsiteY55" fmla="*/ 39051 h 448304"/>
              <a:gd name="connsiteX56" fmla="*/ 411384 w 465677"/>
              <a:gd name="connsiteY56" fmla="*/ 39052 h 448304"/>
              <a:gd name="connsiteX57" fmla="*/ 158782 w 465677"/>
              <a:gd name="connsiteY57" fmla="*/ 39052 h 448304"/>
              <a:gd name="connsiteX58" fmla="*/ 143922 w 465677"/>
              <a:gd name="connsiteY58" fmla="*/ 53529 h 448304"/>
              <a:gd name="connsiteX59" fmla="*/ 143922 w 465677"/>
              <a:gd name="connsiteY59" fmla="*/ 53626 h 448304"/>
              <a:gd name="connsiteX60" fmla="*/ 143922 w 465677"/>
              <a:gd name="connsiteY60" fmla="*/ 58007 h 448304"/>
              <a:gd name="connsiteX61" fmla="*/ 104013 w 465677"/>
              <a:gd name="connsiteY61" fmla="*/ 58007 h 448304"/>
              <a:gd name="connsiteX62" fmla="*/ 104013 w 465677"/>
              <a:gd name="connsiteY62" fmla="*/ 19907 h 448304"/>
              <a:gd name="connsiteX63" fmla="*/ 123825 w 465677"/>
              <a:gd name="connsiteY63" fmla="*/ 0 h 448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465677" h="448304">
                <a:moveTo>
                  <a:pt x="194024" y="157258"/>
                </a:moveTo>
                <a:lnTo>
                  <a:pt x="196023" y="157258"/>
                </a:lnTo>
                <a:cubicBezTo>
                  <a:pt x="219170" y="156996"/>
                  <a:pt x="238124" y="175547"/>
                  <a:pt x="238410" y="198691"/>
                </a:cubicBezTo>
                <a:cubicBezTo>
                  <a:pt x="238410" y="198725"/>
                  <a:pt x="238410" y="198758"/>
                  <a:pt x="238410" y="198791"/>
                </a:cubicBezTo>
                <a:cubicBezTo>
                  <a:pt x="238124" y="221936"/>
                  <a:pt x="219170" y="240484"/>
                  <a:pt x="196023" y="240220"/>
                </a:cubicBezTo>
                <a:lnTo>
                  <a:pt x="194024" y="240220"/>
                </a:lnTo>
                <a:cubicBezTo>
                  <a:pt x="170877" y="240430"/>
                  <a:pt x="151923" y="221837"/>
                  <a:pt x="151733" y="198691"/>
                </a:cubicBezTo>
                <a:cubicBezTo>
                  <a:pt x="152018" y="175582"/>
                  <a:pt x="170877" y="157046"/>
                  <a:pt x="194024" y="157258"/>
                </a:cubicBezTo>
                <a:close/>
                <a:moveTo>
                  <a:pt x="195263" y="123824"/>
                </a:moveTo>
                <a:cubicBezTo>
                  <a:pt x="190023" y="123723"/>
                  <a:pt x="184881" y="124138"/>
                  <a:pt x="179737" y="125062"/>
                </a:cubicBezTo>
                <a:cubicBezTo>
                  <a:pt x="150685" y="129889"/>
                  <a:pt x="127159" y="151339"/>
                  <a:pt x="119729" y="179831"/>
                </a:cubicBezTo>
                <a:cubicBezTo>
                  <a:pt x="111442" y="211245"/>
                  <a:pt x="124397" y="244410"/>
                  <a:pt x="151734" y="261937"/>
                </a:cubicBezTo>
                <a:cubicBezTo>
                  <a:pt x="126111" y="270647"/>
                  <a:pt x="103918" y="287337"/>
                  <a:pt x="88488" y="309562"/>
                </a:cubicBezTo>
                <a:cubicBezTo>
                  <a:pt x="87725" y="310717"/>
                  <a:pt x="87059" y="311975"/>
                  <a:pt x="86582" y="313303"/>
                </a:cubicBezTo>
                <a:cubicBezTo>
                  <a:pt x="83630" y="321482"/>
                  <a:pt x="87916" y="330468"/>
                  <a:pt x="96107" y="333374"/>
                </a:cubicBezTo>
                <a:lnTo>
                  <a:pt x="98298" y="334231"/>
                </a:lnTo>
                <a:cubicBezTo>
                  <a:pt x="105252" y="336658"/>
                  <a:pt x="113062" y="334175"/>
                  <a:pt x="117348" y="328135"/>
                </a:cubicBezTo>
                <a:cubicBezTo>
                  <a:pt x="135255" y="303068"/>
                  <a:pt x="164402" y="288401"/>
                  <a:pt x="195167" y="288892"/>
                </a:cubicBezTo>
                <a:cubicBezTo>
                  <a:pt x="225933" y="288401"/>
                  <a:pt x="255080" y="303068"/>
                  <a:pt x="272987" y="328135"/>
                </a:cubicBezTo>
                <a:cubicBezTo>
                  <a:pt x="277273" y="334175"/>
                  <a:pt x="285084" y="336658"/>
                  <a:pt x="292037" y="334231"/>
                </a:cubicBezTo>
                <a:lnTo>
                  <a:pt x="294228" y="333374"/>
                </a:lnTo>
                <a:cubicBezTo>
                  <a:pt x="295561" y="332906"/>
                  <a:pt x="296895" y="332251"/>
                  <a:pt x="298038" y="331430"/>
                </a:cubicBezTo>
                <a:cubicBezTo>
                  <a:pt x="305182" y="326488"/>
                  <a:pt x="306991" y="316697"/>
                  <a:pt x="302038" y="309562"/>
                </a:cubicBezTo>
                <a:cubicBezTo>
                  <a:pt x="286607" y="287337"/>
                  <a:pt x="264414" y="270647"/>
                  <a:pt x="238791" y="261937"/>
                </a:cubicBezTo>
                <a:cubicBezTo>
                  <a:pt x="266128" y="244410"/>
                  <a:pt x="279083" y="211245"/>
                  <a:pt x="270796" y="179831"/>
                </a:cubicBezTo>
                <a:cubicBezTo>
                  <a:pt x="263367" y="151339"/>
                  <a:pt x="239840" y="129889"/>
                  <a:pt x="210788" y="125062"/>
                </a:cubicBezTo>
                <a:cubicBezTo>
                  <a:pt x="205645" y="124138"/>
                  <a:pt x="200502" y="123723"/>
                  <a:pt x="195263" y="123824"/>
                </a:cubicBezTo>
                <a:close/>
                <a:moveTo>
                  <a:pt x="369285" y="69717"/>
                </a:moveTo>
                <a:cubicBezTo>
                  <a:pt x="382143" y="69563"/>
                  <a:pt x="392620" y="79843"/>
                  <a:pt x="392811" y="92677"/>
                </a:cubicBezTo>
                <a:lnTo>
                  <a:pt x="392811" y="370903"/>
                </a:lnTo>
                <a:cubicBezTo>
                  <a:pt x="392811" y="370904"/>
                  <a:pt x="392811" y="370905"/>
                  <a:pt x="392811" y="370906"/>
                </a:cubicBezTo>
                <a:cubicBezTo>
                  <a:pt x="392620" y="383688"/>
                  <a:pt x="382143" y="393922"/>
                  <a:pt x="369380" y="393763"/>
                </a:cubicBezTo>
                <a:lnTo>
                  <a:pt x="277559" y="393763"/>
                </a:lnTo>
                <a:cubicBezTo>
                  <a:pt x="271558" y="393778"/>
                  <a:pt x="265843" y="396020"/>
                  <a:pt x="261461" y="400049"/>
                </a:cubicBezTo>
                <a:lnTo>
                  <a:pt x="216217" y="442054"/>
                </a:lnTo>
                <a:cubicBezTo>
                  <a:pt x="206883" y="450639"/>
                  <a:pt x="192405" y="450346"/>
                  <a:pt x="183356" y="441388"/>
                </a:cubicBezTo>
                <a:lnTo>
                  <a:pt x="142684" y="400621"/>
                </a:lnTo>
                <a:cubicBezTo>
                  <a:pt x="138208" y="396215"/>
                  <a:pt x="132207" y="393751"/>
                  <a:pt x="125920" y="393763"/>
                </a:cubicBezTo>
                <a:lnTo>
                  <a:pt x="23336" y="393763"/>
                </a:lnTo>
                <a:cubicBezTo>
                  <a:pt x="10573" y="393868"/>
                  <a:pt x="191" y="383648"/>
                  <a:pt x="0" y="370903"/>
                </a:cubicBezTo>
                <a:lnTo>
                  <a:pt x="0" y="92677"/>
                </a:lnTo>
                <a:cubicBezTo>
                  <a:pt x="96" y="80043"/>
                  <a:pt x="10287" y="69826"/>
                  <a:pt x="22956" y="69722"/>
                </a:cubicBezTo>
                <a:lnTo>
                  <a:pt x="368999" y="69722"/>
                </a:lnTo>
                <a:cubicBezTo>
                  <a:pt x="369094" y="69720"/>
                  <a:pt x="369189" y="69718"/>
                  <a:pt x="369285" y="69717"/>
                </a:cubicBezTo>
                <a:close/>
                <a:moveTo>
                  <a:pt x="123825" y="0"/>
                </a:moveTo>
                <a:lnTo>
                  <a:pt x="445484" y="0"/>
                </a:lnTo>
                <a:cubicBezTo>
                  <a:pt x="456534" y="-106"/>
                  <a:pt x="465582" y="8764"/>
                  <a:pt x="465677" y="19810"/>
                </a:cubicBezTo>
                <a:cubicBezTo>
                  <a:pt x="465677" y="19811"/>
                  <a:pt x="465677" y="19811"/>
                  <a:pt x="465677" y="19812"/>
                </a:cubicBezTo>
                <a:lnTo>
                  <a:pt x="465677" y="307753"/>
                </a:lnTo>
                <a:cubicBezTo>
                  <a:pt x="465582" y="318651"/>
                  <a:pt x="456723" y="327462"/>
                  <a:pt x="445866" y="327565"/>
                </a:cubicBezTo>
                <a:lnTo>
                  <a:pt x="411384" y="327565"/>
                </a:lnTo>
                <a:lnTo>
                  <a:pt x="411384" y="288512"/>
                </a:lnTo>
                <a:cubicBezTo>
                  <a:pt x="419481" y="288618"/>
                  <a:pt x="426148" y="282137"/>
                  <a:pt x="426244" y="274037"/>
                </a:cubicBezTo>
                <a:cubicBezTo>
                  <a:pt x="426244" y="274036"/>
                  <a:pt x="426244" y="274035"/>
                  <a:pt x="426244" y="274034"/>
                </a:cubicBezTo>
                <a:lnTo>
                  <a:pt x="426244" y="53626"/>
                </a:lnTo>
                <a:cubicBezTo>
                  <a:pt x="426148" y="45525"/>
                  <a:pt x="419576" y="39000"/>
                  <a:pt x="411479" y="39051"/>
                </a:cubicBezTo>
                <a:cubicBezTo>
                  <a:pt x="411479" y="39052"/>
                  <a:pt x="411384" y="39052"/>
                  <a:pt x="411384" y="39052"/>
                </a:cubicBezTo>
                <a:lnTo>
                  <a:pt x="158782" y="39052"/>
                </a:lnTo>
                <a:cubicBezTo>
                  <a:pt x="150685" y="38947"/>
                  <a:pt x="144018" y="45428"/>
                  <a:pt x="143922" y="53529"/>
                </a:cubicBezTo>
                <a:cubicBezTo>
                  <a:pt x="143922" y="53561"/>
                  <a:pt x="143922" y="53593"/>
                  <a:pt x="143922" y="53626"/>
                </a:cubicBezTo>
                <a:lnTo>
                  <a:pt x="143922" y="58007"/>
                </a:lnTo>
                <a:lnTo>
                  <a:pt x="104013" y="58007"/>
                </a:lnTo>
                <a:lnTo>
                  <a:pt x="104013" y="19907"/>
                </a:lnTo>
                <a:cubicBezTo>
                  <a:pt x="104109" y="8971"/>
                  <a:pt x="112871" y="104"/>
                  <a:pt x="123825" y="0"/>
                </a:cubicBezTo>
                <a:close/>
              </a:path>
            </a:pathLst>
          </a:custGeom>
          <a:solidFill>
            <a:schemeClr val="bg1"/>
          </a:solidFill>
          <a:ln w="9525" cap="flat">
            <a:noFill/>
            <a:prstDash val="solid"/>
            <a:miter/>
          </a:ln>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srgbClr val="000000"/>
              </a:solidFill>
              <a:effectLst/>
              <a:uLnTx/>
              <a:uFillTx/>
              <a:latin typeface="OPPOSans R" panose="00020600040101010101" pitchFamily="18" charset="-122"/>
              <a:ea typeface="微软雅黑"/>
              <a:cs typeface="+mn-cs"/>
            </a:endParaRPr>
          </a:p>
        </p:txBody>
      </p:sp>
      <p:sp>
        <p:nvSpPr>
          <p:cNvPr id="51" name="gaoding-32">
            <a:extLst>
              <a:ext uri="{FF2B5EF4-FFF2-40B4-BE49-F238E27FC236}">
                <a16:creationId xmlns:a16="http://schemas.microsoft.com/office/drawing/2014/main" id="{B0C7EB74-FBDB-49D2-8810-32F64B0422C8}"/>
              </a:ext>
            </a:extLst>
          </p:cNvPr>
          <p:cNvSpPr/>
          <p:nvPr/>
        </p:nvSpPr>
        <p:spPr>
          <a:xfrm>
            <a:off x="5174421" y="5658280"/>
            <a:ext cx="278430" cy="261016"/>
          </a:xfrm>
          <a:custGeom>
            <a:avLst/>
            <a:gdLst>
              <a:gd name="connsiteX0" fmla="*/ 466630 w 466894"/>
              <a:gd name="connsiteY0" fmla="*/ 198045 h 437694"/>
              <a:gd name="connsiteX1" fmla="*/ 453962 w 466894"/>
              <a:gd name="connsiteY1" fmla="*/ 282627 h 437694"/>
              <a:gd name="connsiteX2" fmla="*/ 453867 w 466894"/>
              <a:gd name="connsiteY2" fmla="*/ 282922 h 437694"/>
              <a:gd name="connsiteX3" fmla="*/ 438055 w 466894"/>
              <a:gd name="connsiteY3" fmla="*/ 290152 h 437694"/>
              <a:gd name="connsiteX4" fmla="*/ 299276 w 466894"/>
              <a:gd name="connsiteY4" fmla="*/ 177281 h 437694"/>
              <a:gd name="connsiteX5" fmla="*/ 288608 w 466894"/>
              <a:gd name="connsiteY5" fmla="*/ 211095 h 437694"/>
              <a:gd name="connsiteX6" fmla="*/ 285559 w 466894"/>
              <a:gd name="connsiteY6" fmla="*/ 208944 h 437694"/>
              <a:gd name="connsiteX7" fmla="*/ 285368 w 466894"/>
              <a:gd name="connsiteY7" fmla="*/ 191569 h 437694"/>
              <a:gd name="connsiteX8" fmla="*/ 455581 w 466894"/>
              <a:gd name="connsiteY8" fmla="*/ 143181 h 437694"/>
              <a:gd name="connsiteX9" fmla="*/ 464725 w 466894"/>
              <a:gd name="connsiteY9" fmla="*/ 181948 h 437694"/>
              <a:gd name="connsiteX10" fmla="*/ 431673 w 466894"/>
              <a:gd name="connsiteY10" fmla="*/ 287199 h 437694"/>
              <a:gd name="connsiteX11" fmla="*/ 413290 w 466894"/>
              <a:gd name="connsiteY11" fmla="*/ 277674 h 437694"/>
              <a:gd name="connsiteX12" fmla="*/ 339471 w 466894"/>
              <a:gd name="connsiteY12" fmla="*/ 135363 h 437694"/>
              <a:gd name="connsiteX13" fmla="*/ 311562 w 466894"/>
              <a:gd name="connsiteY13" fmla="*/ 223850 h 437694"/>
              <a:gd name="connsiteX14" fmla="*/ 302228 w 466894"/>
              <a:gd name="connsiteY14" fmla="*/ 218897 h 437694"/>
              <a:gd name="connsiteX15" fmla="*/ 293179 w 466894"/>
              <a:gd name="connsiteY15" fmla="*/ 214135 h 437694"/>
              <a:gd name="connsiteX16" fmla="*/ 307848 w 466894"/>
              <a:gd name="connsiteY16" fmla="*/ 167748 h 437694"/>
              <a:gd name="connsiteX17" fmla="*/ 439197 w 466894"/>
              <a:gd name="connsiteY17" fmla="*/ 107081 h 437694"/>
              <a:gd name="connsiteX18" fmla="*/ 452151 w 466894"/>
              <a:gd name="connsiteY18" fmla="*/ 133846 h 437694"/>
              <a:gd name="connsiteX19" fmla="*/ 407860 w 466894"/>
              <a:gd name="connsiteY19" fmla="*/ 274721 h 437694"/>
              <a:gd name="connsiteX20" fmla="*/ 402812 w 466894"/>
              <a:gd name="connsiteY20" fmla="*/ 272054 h 437694"/>
              <a:gd name="connsiteX21" fmla="*/ 389477 w 466894"/>
              <a:gd name="connsiteY21" fmla="*/ 264910 h 437694"/>
              <a:gd name="connsiteX22" fmla="*/ 380429 w 466894"/>
              <a:gd name="connsiteY22" fmla="*/ 93263 h 437694"/>
              <a:gd name="connsiteX23" fmla="*/ 335375 w 466894"/>
              <a:gd name="connsiteY23" fmla="*/ 236614 h 437694"/>
              <a:gd name="connsiteX24" fmla="*/ 327374 w 466894"/>
              <a:gd name="connsiteY24" fmla="*/ 232328 h 437694"/>
              <a:gd name="connsiteX25" fmla="*/ 316992 w 466894"/>
              <a:gd name="connsiteY25" fmla="*/ 226803 h 437694"/>
              <a:gd name="connsiteX26" fmla="*/ 348806 w 466894"/>
              <a:gd name="connsiteY26" fmla="*/ 125743 h 437694"/>
              <a:gd name="connsiteX27" fmla="*/ 354425 w 466894"/>
              <a:gd name="connsiteY27" fmla="*/ 120028 h 437694"/>
              <a:gd name="connsiteX28" fmla="*/ 420434 w 466894"/>
              <a:gd name="connsiteY28" fmla="*/ 79745 h 437694"/>
              <a:gd name="connsiteX29" fmla="*/ 428148 w 466894"/>
              <a:gd name="connsiteY29" fmla="*/ 89270 h 437694"/>
              <a:gd name="connsiteX30" fmla="*/ 428148 w 466894"/>
              <a:gd name="connsiteY30" fmla="*/ 89937 h 437694"/>
              <a:gd name="connsiteX31" fmla="*/ 433197 w 466894"/>
              <a:gd name="connsiteY31" fmla="*/ 97271 h 437694"/>
              <a:gd name="connsiteX32" fmla="*/ 435007 w 466894"/>
              <a:gd name="connsiteY32" fmla="*/ 100128 h 437694"/>
              <a:gd name="connsiteX33" fmla="*/ 384048 w 466894"/>
              <a:gd name="connsiteY33" fmla="*/ 262054 h 437694"/>
              <a:gd name="connsiteX34" fmla="*/ 366045 w 466894"/>
              <a:gd name="connsiteY34" fmla="*/ 252433 h 437694"/>
              <a:gd name="connsiteX35" fmla="*/ 415290 w 466894"/>
              <a:gd name="connsiteY35" fmla="*/ 74506 h 437694"/>
              <a:gd name="connsiteX36" fmla="*/ 360235 w 466894"/>
              <a:gd name="connsiteY36" fmla="*/ 249289 h 437694"/>
              <a:gd name="connsiteX37" fmla="*/ 349758 w 466894"/>
              <a:gd name="connsiteY37" fmla="*/ 243670 h 437694"/>
              <a:gd name="connsiteX38" fmla="*/ 341948 w 466894"/>
              <a:gd name="connsiteY38" fmla="*/ 239479 h 437694"/>
              <a:gd name="connsiteX39" fmla="*/ 390907 w 466894"/>
              <a:gd name="connsiteY39" fmla="*/ 83745 h 437694"/>
              <a:gd name="connsiteX40" fmla="*/ 399003 w 466894"/>
              <a:gd name="connsiteY40" fmla="*/ 75363 h 437694"/>
              <a:gd name="connsiteX41" fmla="*/ 415290 w 466894"/>
              <a:gd name="connsiteY41" fmla="*/ 74506 h 437694"/>
              <a:gd name="connsiteX42" fmla="*/ 256223 w 466894"/>
              <a:gd name="connsiteY42" fmla="*/ 1449 h 437694"/>
              <a:gd name="connsiteX43" fmla="*/ 352902 w 466894"/>
              <a:gd name="connsiteY43" fmla="*/ 38597 h 437694"/>
              <a:gd name="connsiteX44" fmla="*/ 353854 w 466894"/>
              <a:gd name="connsiteY44" fmla="*/ 39400 h 437694"/>
              <a:gd name="connsiteX45" fmla="*/ 354139 w 466894"/>
              <a:gd name="connsiteY45" fmla="*/ 56504 h 437694"/>
              <a:gd name="connsiteX46" fmla="*/ 262794 w 466894"/>
              <a:gd name="connsiteY46" fmla="*/ 150230 h 437694"/>
              <a:gd name="connsiteX47" fmla="*/ 254222 w 466894"/>
              <a:gd name="connsiteY47" fmla="*/ 153832 h 437694"/>
              <a:gd name="connsiteX48" fmla="*/ 242220 w 466894"/>
              <a:gd name="connsiteY48" fmla="*/ 141848 h 437694"/>
              <a:gd name="connsiteX49" fmla="*/ 243078 w 466894"/>
              <a:gd name="connsiteY49" fmla="*/ 13260 h 437694"/>
              <a:gd name="connsiteX50" fmla="*/ 243174 w 466894"/>
              <a:gd name="connsiteY50" fmla="*/ 12253 h 437694"/>
              <a:gd name="connsiteX51" fmla="*/ 256223 w 466894"/>
              <a:gd name="connsiteY51" fmla="*/ 1449 h 437694"/>
              <a:gd name="connsiteX52" fmla="*/ 203645 w 466894"/>
              <a:gd name="connsiteY52" fmla="*/ 2 h 437694"/>
              <a:gd name="connsiteX53" fmla="*/ 215360 w 466894"/>
              <a:gd name="connsiteY53" fmla="*/ 11355 h 437694"/>
              <a:gd name="connsiteX54" fmla="*/ 215360 w 466894"/>
              <a:gd name="connsiteY54" fmla="*/ 200236 h 437694"/>
              <a:gd name="connsiteX55" fmla="*/ 231648 w 466894"/>
              <a:gd name="connsiteY55" fmla="*/ 227192 h 437694"/>
              <a:gd name="connsiteX56" fmla="*/ 397669 w 466894"/>
              <a:gd name="connsiteY56" fmla="*/ 314822 h 437694"/>
              <a:gd name="connsiteX57" fmla="*/ 398335 w 466894"/>
              <a:gd name="connsiteY57" fmla="*/ 315165 h 437694"/>
              <a:gd name="connsiteX58" fmla="*/ 404717 w 466894"/>
              <a:gd name="connsiteY58" fmla="*/ 338825 h 437694"/>
              <a:gd name="connsiteX59" fmla="*/ 219646 w 466894"/>
              <a:gd name="connsiteY59" fmla="*/ 437694 h 437694"/>
              <a:gd name="connsiteX60" fmla="*/ 219075 w 466894"/>
              <a:gd name="connsiteY60" fmla="*/ 437694 h 437694"/>
              <a:gd name="connsiteX61" fmla="*/ 0 w 466894"/>
              <a:gd name="connsiteY61" fmla="*/ 218619 h 437694"/>
              <a:gd name="connsiteX62" fmla="*/ 130588 w 466894"/>
              <a:gd name="connsiteY62" fmla="*/ 15165 h 437694"/>
              <a:gd name="connsiteX63" fmla="*/ 203168 w 466894"/>
              <a:gd name="connsiteY63" fmla="*/ 20 h 437694"/>
              <a:gd name="connsiteX64" fmla="*/ 203645 w 466894"/>
              <a:gd name="connsiteY64" fmla="*/ 2 h 4376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466894" h="437694">
                <a:moveTo>
                  <a:pt x="466630" y="198045"/>
                </a:moveTo>
                <a:cubicBezTo>
                  <a:pt x="468059" y="226798"/>
                  <a:pt x="463677" y="255545"/>
                  <a:pt x="453962" y="282627"/>
                </a:cubicBezTo>
                <a:cubicBezTo>
                  <a:pt x="453962" y="282726"/>
                  <a:pt x="453867" y="282824"/>
                  <a:pt x="453867" y="282922"/>
                </a:cubicBezTo>
                <a:cubicBezTo>
                  <a:pt x="451486" y="289282"/>
                  <a:pt x="444437" y="292519"/>
                  <a:pt x="438055" y="290152"/>
                </a:cubicBezTo>
                <a:close/>
                <a:moveTo>
                  <a:pt x="299276" y="177281"/>
                </a:moveTo>
                <a:lnTo>
                  <a:pt x="288608" y="211095"/>
                </a:lnTo>
                <a:cubicBezTo>
                  <a:pt x="287463" y="210534"/>
                  <a:pt x="286511" y="209808"/>
                  <a:pt x="285559" y="208944"/>
                </a:cubicBezTo>
                <a:cubicBezTo>
                  <a:pt x="280701" y="204210"/>
                  <a:pt x="280606" y="196431"/>
                  <a:pt x="285368" y="191569"/>
                </a:cubicBezTo>
                <a:close/>
                <a:moveTo>
                  <a:pt x="455581" y="143181"/>
                </a:moveTo>
                <a:cubicBezTo>
                  <a:pt x="459963" y="155755"/>
                  <a:pt x="463010" y="168746"/>
                  <a:pt x="464725" y="181948"/>
                </a:cubicBezTo>
                <a:lnTo>
                  <a:pt x="431673" y="287199"/>
                </a:lnTo>
                <a:lnTo>
                  <a:pt x="413290" y="277674"/>
                </a:lnTo>
                <a:close/>
                <a:moveTo>
                  <a:pt x="339471" y="135363"/>
                </a:moveTo>
                <a:lnTo>
                  <a:pt x="311562" y="223850"/>
                </a:lnTo>
                <a:lnTo>
                  <a:pt x="302228" y="218897"/>
                </a:lnTo>
                <a:lnTo>
                  <a:pt x="293179" y="214135"/>
                </a:lnTo>
                <a:lnTo>
                  <a:pt x="307848" y="167748"/>
                </a:lnTo>
                <a:close/>
                <a:moveTo>
                  <a:pt x="439197" y="107081"/>
                </a:moveTo>
                <a:cubicBezTo>
                  <a:pt x="444055" y="115710"/>
                  <a:pt x="448436" y="124651"/>
                  <a:pt x="452151" y="133846"/>
                </a:cubicBezTo>
                <a:lnTo>
                  <a:pt x="407860" y="274721"/>
                </a:lnTo>
                <a:lnTo>
                  <a:pt x="402812" y="272054"/>
                </a:lnTo>
                <a:lnTo>
                  <a:pt x="389477" y="264910"/>
                </a:lnTo>
                <a:close/>
                <a:moveTo>
                  <a:pt x="380429" y="93263"/>
                </a:moveTo>
                <a:lnTo>
                  <a:pt x="335375" y="236614"/>
                </a:lnTo>
                <a:lnTo>
                  <a:pt x="327374" y="232328"/>
                </a:lnTo>
                <a:lnTo>
                  <a:pt x="316992" y="226803"/>
                </a:lnTo>
                <a:lnTo>
                  <a:pt x="348806" y="125743"/>
                </a:lnTo>
                <a:lnTo>
                  <a:pt x="354425" y="120028"/>
                </a:lnTo>
                <a:close/>
                <a:moveTo>
                  <a:pt x="420434" y="79745"/>
                </a:moveTo>
                <a:cubicBezTo>
                  <a:pt x="423101" y="82602"/>
                  <a:pt x="425672" y="85936"/>
                  <a:pt x="428148" y="89270"/>
                </a:cubicBezTo>
                <a:lnTo>
                  <a:pt x="428148" y="89937"/>
                </a:lnTo>
                <a:cubicBezTo>
                  <a:pt x="429863" y="92318"/>
                  <a:pt x="431577" y="94794"/>
                  <a:pt x="433197" y="97271"/>
                </a:cubicBezTo>
                <a:cubicBezTo>
                  <a:pt x="433769" y="98128"/>
                  <a:pt x="434340" y="99176"/>
                  <a:pt x="435007" y="100128"/>
                </a:cubicBezTo>
                <a:lnTo>
                  <a:pt x="384048" y="262054"/>
                </a:lnTo>
                <a:lnTo>
                  <a:pt x="366045" y="252433"/>
                </a:lnTo>
                <a:close/>
                <a:moveTo>
                  <a:pt x="415290" y="74506"/>
                </a:moveTo>
                <a:lnTo>
                  <a:pt x="360235" y="249289"/>
                </a:lnTo>
                <a:lnTo>
                  <a:pt x="349758" y="243670"/>
                </a:lnTo>
                <a:lnTo>
                  <a:pt x="341948" y="239479"/>
                </a:lnTo>
                <a:lnTo>
                  <a:pt x="390907" y="83745"/>
                </a:lnTo>
                <a:lnTo>
                  <a:pt x="399003" y="75363"/>
                </a:lnTo>
                <a:cubicBezTo>
                  <a:pt x="403384" y="70996"/>
                  <a:pt x="410432" y="70627"/>
                  <a:pt x="415290" y="74506"/>
                </a:cubicBezTo>
                <a:close/>
                <a:moveTo>
                  <a:pt x="256223" y="1449"/>
                </a:moveTo>
                <a:cubicBezTo>
                  <a:pt x="291274" y="4487"/>
                  <a:pt x="324802" y="17363"/>
                  <a:pt x="352902" y="38597"/>
                </a:cubicBezTo>
                <a:cubicBezTo>
                  <a:pt x="353187" y="38848"/>
                  <a:pt x="353568" y="39117"/>
                  <a:pt x="353854" y="39400"/>
                </a:cubicBezTo>
                <a:cubicBezTo>
                  <a:pt x="358617" y="44036"/>
                  <a:pt x="358807" y="51693"/>
                  <a:pt x="354139" y="56504"/>
                </a:cubicBezTo>
                <a:lnTo>
                  <a:pt x="262794" y="150230"/>
                </a:lnTo>
                <a:cubicBezTo>
                  <a:pt x="260509" y="152529"/>
                  <a:pt x="257461" y="153828"/>
                  <a:pt x="254222" y="153832"/>
                </a:cubicBezTo>
                <a:cubicBezTo>
                  <a:pt x="247650" y="153842"/>
                  <a:pt x="242220" y="148476"/>
                  <a:pt x="242220" y="141848"/>
                </a:cubicBezTo>
                <a:cubicBezTo>
                  <a:pt x="242506" y="104034"/>
                  <a:pt x="243078" y="40216"/>
                  <a:pt x="243078" y="13260"/>
                </a:cubicBezTo>
                <a:cubicBezTo>
                  <a:pt x="243078" y="12924"/>
                  <a:pt x="243078" y="12588"/>
                  <a:pt x="243174" y="12253"/>
                </a:cubicBezTo>
                <a:cubicBezTo>
                  <a:pt x="243744" y="5655"/>
                  <a:pt x="249650" y="818"/>
                  <a:pt x="256223" y="1449"/>
                </a:cubicBezTo>
                <a:close/>
                <a:moveTo>
                  <a:pt x="203645" y="2"/>
                </a:moveTo>
                <a:cubicBezTo>
                  <a:pt x="210027" y="-92"/>
                  <a:pt x="215265" y="4991"/>
                  <a:pt x="215360" y="11355"/>
                </a:cubicBezTo>
                <a:lnTo>
                  <a:pt x="215360" y="200236"/>
                </a:lnTo>
                <a:cubicBezTo>
                  <a:pt x="215360" y="211553"/>
                  <a:pt x="221647" y="221940"/>
                  <a:pt x="231648" y="227192"/>
                </a:cubicBezTo>
                <a:lnTo>
                  <a:pt x="397669" y="314822"/>
                </a:lnTo>
                <a:cubicBezTo>
                  <a:pt x="397860" y="314931"/>
                  <a:pt x="398050" y="315046"/>
                  <a:pt x="398335" y="315165"/>
                </a:cubicBezTo>
                <a:cubicBezTo>
                  <a:pt x="406622" y="319925"/>
                  <a:pt x="409480" y="330518"/>
                  <a:pt x="404717" y="338825"/>
                </a:cubicBezTo>
                <a:cubicBezTo>
                  <a:pt x="370618" y="395594"/>
                  <a:pt x="297656" y="437694"/>
                  <a:pt x="219646" y="437694"/>
                </a:cubicBezTo>
                <a:cubicBezTo>
                  <a:pt x="219457" y="437694"/>
                  <a:pt x="219266" y="437694"/>
                  <a:pt x="219075" y="437694"/>
                </a:cubicBezTo>
                <a:cubicBezTo>
                  <a:pt x="98108" y="437694"/>
                  <a:pt x="0" y="339611"/>
                  <a:pt x="0" y="218619"/>
                </a:cubicBezTo>
                <a:cubicBezTo>
                  <a:pt x="0" y="126417"/>
                  <a:pt x="52102" y="47455"/>
                  <a:pt x="130588" y="15165"/>
                </a:cubicBezTo>
                <a:cubicBezTo>
                  <a:pt x="153829" y="6276"/>
                  <a:pt x="178308" y="1163"/>
                  <a:pt x="203168" y="20"/>
                </a:cubicBezTo>
                <a:cubicBezTo>
                  <a:pt x="203359" y="11"/>
                  <a:pt x="203454" y="5"/>
                  <a:pt x="203645" y="2"/>
                </a:cubicBezTo>
                <a:close/>
              </a:path>
            </a:pathLst>
          </a:custGeom>
          <a:solidFill>
            <a:schemeClr val="bg1"/>
          </a:solidFill>
          <a:ln w="9525" cap="flat">
            <a:noFill/>
            <a:prstDash val="solid"/>
            <a:miter/>
          </a:ln>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srgbClr val="000000"/>
              </a:solidFill>
              <a:effectLst/>
              <a:uLnTx/>
              <a:uFillTx/>
              <a:latin typeface="OPPOSans R" panose="00020600040101010101" pitchFamily="18" charset="-122"/>
              <a:ea typeface="微软雅黑"/>
              <a:cs typeface="+mn-cs"/>
            </a:endParaRPr>
          </a:p>
        </p:txBody>
      </p:sp>
      <p:sp>
        <p:nvSpPr>
          <p:cNvPr id="52" name="gaoding-33">
            <a:extLst>
              <a:ext uri="{FF2B5EF4-FFF2-40B4-BE49-F238E27FC236}">
                <a16:creationId xmlns:a16="http://schemas.microsoft.com/office/drawing/2014/main" id="{0841E56E-CDAA-47DD-8C65-B93743D4676F}"/>
              </a:ext>
            </a:extLst>
          </p:cNvPr>
          <p:cNvSpPr txBox="1"/>
          <p:nvPr/>
        </p:nvSpPr>
        <p:spPr>
          <a:xfrm>
            <a:off x="8187534" y="1310919"/>
            <a:ext cx="3018946" cy="542200"/>
          </a:xfrm>
          <a:prstGeom prst="rect">
            <a:avLst/>
          </a:prstGeom>
          <a:noFill/>
        </p:spPr>
        <p:txBody>
          <a:bodyPr wrap="square" lIns="0" tIns="0" rIns="0" bIns="0" rtlCol="0">
            <a:spAutoFit/>
          </a:bodyPr>
          <a:lstStyle/>
          <a:p>
            <a:pPr marL="0" marR="0" lvl="0" indent="0" algn="l" defTabSz="914400" rtl="0" eaLnBrk="1" fontAlgn="auto" latinLnBrk="0" hangingPunct="1">
              <a:lnSpc>
                <a:spcPct val="130000"/>
              </a:lnSpc>
              <a:spcBef>
                <a:spcPts val="0"/>
              </a:spcBef>
              <a:spcAft>
                <a:spcPts val="0"/>
              </a:spcAft>
              <a:buClrTx/>
              <a:buSzTx/>
              <a:buFontTx/>
              <a:buNone/>
              <a:tabLst/>
              <a:defRPr/>
            </a:pPr>
            <a:r>
              <a:rPr kumimoji="0" lang="zh-CN" altLang="en-US" sz="1400" b="0" i="0" u="none" strike="noStrike" kern="1200" cap="none" spc="0" normalizeH="0" baseline="0" noProof="0" dirty="0">
                <a:ln>
                  <a:noFill/>
                </a:ln>
                <a:solidFill>
                  <a:srgbClr val="000000">
                    <a:lumMod val="75000"/>
                    <a:lumOff val="2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rPr>
              <a:t>秋叶</a:t>
            </a:r>
            <a:r>
              <a:rPr kumimoji="0" lang="en-US" altLang="zh-CN" sz="1400" b="0" i="0" u="none" strike="noStrike" kern="1200" cap="none" spc="0" normalizeH="0" baseline="0" noProof="0" dirty="0">
                <a:ln>
                  <a:noFill/>
                </a:ln>
                <a:solidFill>
                  <a:srgbClr val="000000">
                    <a:lumMod val="75000"/>
                    <a:lumOff val="2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rPr>
              <a:t>PPT</a:t>
            </a:r>
            <a:r>
              <a:rPr kumimoji="0" lang="zh-CN" altLang="en-US" sz="1400" b="0" i="0" u="none" strike="noStrike" kern="1200" cap="none" spc="0" normalizeH="0" baseline="0" noProof="0" dirty="0">
                <a:ln>
                  <a:noFill/>
                </a:ln>
                <a:solidFill>
                  <a:srgbClr val="000000">
                    <a:lumMod val="75000"/>
                    <a:lumOff val="2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rPr>
              <a:t>拥有千余款模板线上到插件同步上新</a:t>
            </a:r>
          </a:p>
        </p:txBody>
      </p:sp>
      <p:sp>
        <p:nvSpPr>
          <p:cNvPr id="53" name="gaoding-34">
            <a:extLst>
              <a:ext uri="{FF2B5EF4-FFF2-40B4-BE49-F238E27FC236}">
                <a16:creationId xmlns:a16="http://schemas.microsoft.com/office/drawing/2014/main" id="{DD5DC074-BA83-4F1A-9CB5-4CE373CB961D}"/>
              </a:ext>
            </a:extLst>
          </p:cNvPr>
          <p:cNvSpPr txBox="1"/>
          <p:nvPr/>
        </p:nvSpPr>
        <p:spPr>
          <a:xfrm>
            <a:off x="8187534" y="2691853"/>
            <a:ext cx="3100226" cy="542200"/>
          </a:xfrm>
          <a:prstGeom prst="rect">
            <a:avLst/>
          </a:prstGeom>
          <a:noFill/>
        </p:spPr>
        <p:txBody>
          <a:bodyPr wrap="square" lIns="0" tIns="0" rIns="0" bIns="0" rtlCol="0">
            <a:spAutoFit/>
          </a:bodyPr>
          <a:lstStyle/>
          <a:p>
            <a:pPr marL="0" marR="0" lvl="0" indent="0" algn="l" defTabSz="914400" rtl="0" eaLnBrk="1" fontAlgn="auto" latinLnBrk="0" hangingPunct="1">
              <a:lnSpc>
                <a:spcPct val="130000"/>
              </a:lnSpc>
              <a:spcBef>
                <a:spcPts val="0"/>
              </a:spcBef>
              <a:spcAft>
                <a:spcPts val="0"/>
              </a:spcAft>
              <a:buClrTx/>
              <a:buSzTx/>
              <a:buFontTx/>
              <a:buNone/>
              <a:tabLst/>
              <a:defRPr/>
            </a:pPr>
            <a:r>
              <a:rPr kumimoji="0" lang="zh-CN" altLang="en-US" sz="1400" b="0" i="0" u="none" strike="noStrike" kern="1200" cap="none" spc="0" normalizeH="0" baseline="0" noProof="0" dirty="0">
                <a:ln>
                  <a:noFill/>
                </a:ln>
                <a:solidFill>
                  <a:srgbClr val="000000">
                    <a:lumMod val="75000"/>
                    <a:lumOff val="2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rPr>
              <a:t>秋叶</a:t>
            </a:r>
            <a:r>
              <a:rPr kumimoji="0" lang="en-US" altLang="zh-CN" sz="1400" b="0" i="0" u="none" strike="noStrike" kern="1200" cap="none" spc="0" normalizeH="0" baseline="0" noProof="0" dirty="0">
                <a:ln>
                  <a:noFill/>
                </a:ln>
                <a:solidFill>
                  <a:srgbClr val="000000">
                    <a:lumMod val="75000"/>
                    <a:lumOff val="2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rPr>
              <a:t>PPT</a:t>
            </a:r>
            <a:r>
              <a:rPr kumimoji="0" lang="zh-CN" altLang="en-US" sz="1400" b="0" i="0" u="none" strike="noStrike" kern="1200" cap="none" spc="0" normalizeH="0" baseline="0" noProof="0" dirty="0">
                <a:ln>
                  <a:noFill/>
                </a:ln>
                <a:solidFill>
                  <a:srgbClr val="000000">
                    <a:lumMod val="75000"/>
                    <a:lumOff val="2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rPr>
              <a:t>丰富的信息图表覆盖多种逻辑关系，帮助梳理内容</a:t>
            </a:r>
          </a:p>
        </p:txBody>
      </p:sp>
      <p:sp>
        <p:nvSpPr>
          <p:cNvPr id="54" name="gaoding-35">
            <a:extLst>
              <a:ext uri="{FF2B5EF4-FFF2-40B4-BE49-F238E27FC236}">
                <a16:creationId xmlns:a16="http://schemas.microsoft.com/office/drawing/2014/main" id="{9D70433D-4F5F-4022-B487-56686235AC81}"/>
              </a:ext>
            </a:extLst>
          </p:cNvPr>
          <p:cNvSpPr txBox="1"/>
          <p:nvPr/>
        </p:nvSpPr>
        <p:spPr>
          <a:xfrm>
            <a:off x="8187534" y="4117768"/>
            <a:ext cx="3003934" cy="542200"/>
          </a:xfrm>
          <a:prstGeom prst="rect">
            <a:avLst/>
          </a:prstGeom>
          <a:noFill/>
        </p:spPr>
        <p:txBody>
          <a:bodyPr wrap="square" lIns="0" tIns="0" rIns="0" bIns="0" rtlCol="0">
            <a:spAutoFit/>
          </a:bodyPr>
          <a:lstStyle/>
          <a:p>
            <a:pPr marL="0" marR="0" lvl="0" indent="0" algn="l" defTabSz="914400" rtl="0" eaLnBrk="1" fontAlgn="auto" latinLnBrk="0" hangingPunct="1">
              <a:lnSpc>
                <a:spcPct val="130000"/>
              </a:lnSpc>
              <a:spcBef>
                <a:spcPts val="0"/>
              </a:spcBef>
              <a:spcAft>
                <a:spcPts val="0"/>
              </a:spcAft>
              <a:buClrTx/>
              <a:buSzTx/>
              <a:buFontTx/>
              <a:buNone/>
              <a:tabLst/>
              <a:defRPr/>
            </a:pPr>
            <a:r>
              <a:rPr kumimoji="0" lang="zh-CN" altLang="en-US" sz="1400" b="0" i="0" u="none" strike="noStrike" kern="1200" cap="none" spc="0" normalizeH="0" baseline="0" noProof="0" dirty="0">
                <a:ln>
                  <a:noFill/>
                </a:ln>
                <a:solidFill>
                  <a:srgbClr val="000000">
                    <a:lumMod val="75000"/>
                    <a:lumOff val="2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rPr>
              <a:t>借助秋叶</a:t>
            </a:r>
            <a:r>
              <a:rPr kumimoji="0" lang="en-US" altLang="zh-CN" sz="1400" b="0" i="0" u="none" strike="noStrike" kern="1200" cap="none" spc="0" normalizeH="0" baseline="0" noProof="0" dirty="0">
                <a:ln>
                  <a:noFill/>
                </a:ln>
                <a:solidFill>
                  <a:srgbClr val="000000">
                    <a:lumMod val="75000"/>
                    <a:lumOff val="2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rPr>
              <a:t>PPT</a:t>
            </a:r>
            <a:r>
              <a:rPr kumimoji="0" lang="zh-CN" altLang="en-US" sz="1400" b="0" i="0" u="none" strike="noStrike" kern="1200" cap="none" spc="0" normalizeH="0" baseline="0" noProof="0" dirty="0">
                <a:ln>
                  <a:noFill/>
                </a:ln>
                <a:solidFill>
                  <a:srgbClr val="000000">
                    <a:lumMod val="75000"/>
                    <a:lumOff val="2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rPr>
              <a:t>插件，用强大视觉表现力打动听众</a:t>
            </a:r>
          </a:p>
        </p:txBody>
      </p:sp>
      <p:sp>
        <p:nvSpPr>
          <p:cNvPr id="55" name="gaoding-36">
            <a:extLst>
              <a:ext uri="{FF2B5EF4-FFF2-40B4-BE49-F238E27FC236}">
                <a16:creationId xmlns:a16="http://schemas.microsoft.com/office/drawing/2014/main" id="{8E7C0E7B-A97A-4DEC-95F4-8FE0F2A124A0}"/>
              </a:ext>
            </a:extLst>
          </p:cNvPr>
          <p:cNvSpPr txBox="1"/>
          <p:nvPr/>
        </p:nvSpPr>
        <p:spPr>
          <a:xfrm>
            <a:off x="8187534" y="5515364"/>
            <a:ext cx="3100226" cy="542200"/>
          </a:xfrm>
          <a:prstGeom prst="rect">
            <a:avLst/>
          </a:prstGeom>
          <a:noFill/>
        </p:spPr>
        <p:txBody>
          <a:bodyPr wrap="square" lIns="0" tIns="0" rIns="0" bIns="0" rtlCol="0">
            <a:spAutoFit/>
          </a:bodyPr>
          <a:lstStyle/>
          <a:p>
            <a:pPr marL="0" marR="0" lvl="0" indent="0" algn="l" defTabSz="914400" rtl="0" eaLnBrk="1" fontAlgn="auto" latinLnBrk="0" hangingPunct="1">
              <a:lnSpc>
                <a:spcPct val="130000"/>
              </a:lnSpc>
              <a:spcBef>
                <a:spcPts val="0"/>
              </a:spcBef>
              <a:spcAft>
                <a:spcPts val="0"/>
              </a:spcAft>
              <a:buClrTx/>
              <a:buSzTx/>
              <a:buFontTx/>
              <a:buNone/>
              <a:tabLst/>
              <a:defRPr/>
            </a:pPr>
            <a:r>
              <a:rPr kumimoji="0" lang="zh-CN" altLang="en-US" sz="1400" b="0" i="0" u="none" strike="noStrike" kern="1200" cap="none" spc="0" normalizeH="0" baseline="0" noProof="0" dirty="0">
                <a:ln>
                  <a:noFill/>
                </a:ln>
                <a:solidFill>
                  <a:srgbClr val="000000">
                    <a:lumMod val="75000"/>
                    <a:lumOff val="2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rPr>
              <a:t>秋叶</a:t>
            </a:r>
            <a:r>
              <a:rPr kumimoji="0" lang="en-US" altLang="zh-CN" sz="1400" b="0" i="0" u="none" strike="noStrike" kern="1200" cap="none" spc="0" normalizeH="0" baseline="0" noProof="0" dirty="0">
                <a:ln>
                  <a:noFill/>
                </a:ln>
                <a:solidFill>
                  <a:srgbClr val="000000">
                    <a:lumMod val="75000"/>
                    <a:lumOff val="2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rPr>
              <a:t>PPT</a:t>
            </a:r>
            <a:r>
              <a:rPr kumimoji="0" lang="zh-CN" altLang="en-US" sz="1400" b="0" i="0" u="none" strike="noStrike" kern="1200" cap="none" spc="0" normalizeH="0" baseline="0" noProof="0" dirty="0">
                <a:ln>
                  <a:noFill/>
                </a:ln>
                <a:solidFill>
                  <a:srgbClr val="000000">
                    <a:lumMod val="75000"/>
                    <a:lumOff val="2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rPr>
              <a:t>，科技为创作赋能，更多时间留给演示创作</a:t>
            </a:r>
          </a:p>
        </p:txBody>
      </p:sp>
      <p:grpSp>
        <p:nvGrpSpPr>
          <p:cNvPr id="56" name="gaoding-37">
            <a:extLst>
              <a:ext uri="{FF2B5EF4-FFF2-40B4-BE49-F238E27FC236}">
                <a16:creationId xmlns:a16="http://schemas.microsoft.com/office/drawing/2014/main" id="{62280E97-64D1-4CA6-8B11-C0945F7C16EE}"/>
              </a:ext>
            </a:extLst>
          </p:cNvPr>
          <p:cNvGrpSpPr/>
          <p:nvPr/>
        </p:nvGrpSpPr>
        <p:grpSpPr>
          <a:xfrm>
            <a:off x="891548" y="519423"/>
            <a:ext cx="2954655" cy="786117"/>
            <a:chOff x="891548" y="488943"/>
            <a:chExt cx="2954655" cy="786117"/>
          </a:xfrm>
        </p:grpSpPr>
        <p:sp>
          <p:nvSpPr>
            <p:cNvPr id="57" name="gaoding-37-1">
              <a:extLst>
                <a:ext uri="{FF2B5EF4-FFF2-40B4-BE49-F238E27FC236}">
                  <a16:creationId xmlns:a16="http://schemas.microsoft.com/office/drawing/2014/main" id="{ADC74335-2D0E-4750-8A0B-BDDC0F7BCC98}"/>
                </a:ext>
              </a:extLst>
            </p:cNvPr>
            <p:cNvSpPr txBox="1"/>
            <p:nvPr/>
          </p:nvSpPr>
          <p:spPr>
            <a:xfrm>
              <a:off x="891548" y="488943"/>
              <a:ext cx="2954655"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2400" b="1" i="0" u="none" strike="noStrike" kern="1200" cap="none" spc="0" normalizeH="0" baseline="0" noProof="0" dirty="0">
                  <a:ln>
                    <a:noFill/>
                  </a:ln>
                  <a:solidFill>
                    <a:srgbClr val="000000">
                      <a:lumMod val="85000"/>
                      <a:lumOff val="15000"/>
                    </a:srgbClr>
                  </a:solidFill>
                  <a:effectLst/>
                  <a:uLnTx/>
                  <a:uFillTx/>
                  <a:latin typeface="OPPOSans B" panose="00020600040101010101" pitchFamily="18" charset="-122"/>
                  <a:ea typeface="OPPOSans B" panose="00020600040101010101" pitchFamily="18" charset="-122"/>
                  <a:cs typeface="OPPOSans B" panose="00020600040101010101" pitchFamily="18" charset="-122"/>
                  <a:sym typeface="+mn-lt"/>
                </a:rPr>
                <a:t>秋叶</a:t>
              </a:r>
              <a:r>
                <a:rPr kumimoji="0" lang="en-US" altLang="zh-CN" sz="2400" b="1" i="0" u="none" strike="noStrike" kern="1200" cap="none" spc="0" normalizeH="0" baseline="0" noProof="0" dirty="0">
                  <a:ln>
                    <a:noFill/>
                  </a:ln>
                  <a:solidFill>
                    <a:srgbClr val="000000">
                      <a:lumMod val="85000"/>
                      <a:lumOff val="15000"/>
                    </a:srgbClr>
                  </a:solidFill>
                  <a:effectLst/>
                  <a:uLnTx/>
                  <a:uFillTx/>
                  <a:latin typeface="OPPOSans B" panose="00020600040101010101" pitchFamily="18" charset="-122"/>
                  <a:ea typeface="OPPOSans B" panose="00020600040101010101" pitchFamily="18" charset="-122"/>
                  <a:cs typeface="OPPOSans B" panose="00020600040101010101" pitchFamily="18" charset="-122"/>
                  <a:sym typeface="+mn-lt"/>
                </a:rPr>
                <a:t>PPT</a:t>
              </a:r>
              <a:r>
                <a:rPr kumimoji="0" lang="zh-CN" altLang="en-US" sz="2400" b="1" i="0" u="none" strike="noStrike" kern="1200" cap="none" spc="0" normalizeH="0" baseline="0" noProof="0" dirty="0">
                  <a:ln>
                    <a:noFill/>
                  </a:ln>
                  <a:solidFill>
                    <a:srgbClr val="000000">
                      <a:lumMod val="85000"/>
                      <a:lumOff val="15000"/>
                    </a:srgbClr>
                  </a:solidFill>
                  <a:effectLst/>
                  <a:uLnTx/>
                  <a:uFillTx/>
                  <a:latin typeface="OPPOSans B" panose="00020600040101010101" pitchFamily="18" charset="-122"/>
                  <a:ea typeface="OPPOSans B" panose="00020600040101010101" pitchFamily="18" charset="-122"/>
                  <a:cs typeface="OPPOSans B" panose="00020600040101010101" pitchFamily="18" charset="-122"/>
                  <a:sym typeface="+mn-lt"/>
                </a:rPr>
                <a:t>更快更轻松</a:t>
              </a:r>
            </a:p>
          </p:txBody>
        </p:sp>
        <p:sp>
          <p:nvSpPr>
            <p:cNvPr id="58" name="gaoding-37-2">
              <a:extLst>
                <a:ext uri="{FF2B5EF4-FFF2-40B4-BE49-F238E27FC236}">
                  <a16:creationId xmlns:a16="http://schemas.microsoft.com/office/drawing/2014/main" id="{60A16CEA-0904-4DD5-8D0A-82AFD7CFAB6D}"/>
                </a:ext>
              </a:extLst>
            </p:cNvPr>
            <p:cNvSpPr txBox="1"/>
            <p:nvPr/>
          </p:nvSpPr>
          <p:spPr>
            <a:xfrm>
              <a:off x="917798" y="895464"/>
              <a:ext cx="1202573"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100" b="0" i="0" u="none" strike="noStrike" kern="1200" cap="none" spc="0" normalizeH="0" baseline="0" noProof="0" dirty="0">
                  <a:ln>
                    <a:noFill/>
                  </a:ln>
                  <a:solidFill>
                    <a:srgbClr val="000000">
                      <a:lumMod val="85000"/>
                      <a:lumOff val="1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sym typeface="+mn-lt"/>
                </a:rPr>
                <a:t>Add </a:t>
              </a:r>
              <a:r>
                <a:rPr kumimoji="0" lang="zh-CN" altLang="en-US" sz="1100" b="0" i="0" u="none" strike="noStrike" kern="1200" cap="none" spc="0" normalizeH="0" baseline="0" noProof="0" dirty="0">
                  <a:ln>
                    <a:noFill/>
                  </a:ln>
                  <a:solidFill>
                    <a:srgbClr val="000000">
                      <a:lumMod val="85000"/>
                      <a:lumOff val="1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sym typeface="+mn-lt"/>
                </a:rPr>
                <a:t>关键词标题</a:t>
              </a:r>
              <a:endParaRPr kumimoji="0" lang="en-US" altLang="zh-CN" sz="1100" b="0" i="0" u="none" strike="noStrike" kern="1200" cap="none" spc="0" normalizeH="0" baseline="0" noProof="0" dirty="0">
                <a:ln>
                  <a:noFill/>
                </a:ln>
                <a:solidFill>
                  <a:srgbClr val="000000">
                    <a:lumMod val="85000"/>
                    <a:lumOff val="1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sym typeface="+mn-lt"/>
              </a:endParaRPr>
            </a:p>
          </p:txBody>
        </p:sp>
        <p:sp>
          <p:nvSpPr>
            <p:cNvPr id="59" name="gaoding-37-3">
              <a:extLst>
                <a:ext uri="{FF2B5EF4-FFF2-40B4-BE49-F238E27FC236}">
                  <a16:creationId xmlns:a16="http://schemas.microsoft.com/office/drawing/2014/main" id="{68876D4E-35BF-42C9-9CC7-2030BD035C07}"/>
                </a:ext>
              </a:extLst>
            </p:cNvPr>
            <p:cNvSpPr/>
            <p:nvPr/>
          </p:nvSpPr>
          <p:spPr>
            <a:xfrm>
              <a:off x="1014806" y="1195562"/>
              <a:ext cx="811658" cy="79498"/>
            </a:xfrm>
            <a:prstGeom prst="rect">
              <a:avLst/>
            </a:prstGeom>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srgbClr val="FFFFFF"/>
                </a:solidFill>
                <a:effectLst/>
                <a:uLnTx/>
                <a:uFillTx/>
                <a:latin typeface="OPPOSans R" panose="00020600040101010101" pitchFamily="18" charset="-122"/>
                <a:ea typeface="微软雅黑"/>
                <a:cs typeface="+mn-ea"/>
                <a:sym typeface="+mn-lt"/>
              </a:endParaRPr>
            </a:p>
          </p:txBody>
        </p:sp>
      </p:grpSp>
      <p:sp>
        <p:nvSpPr>
          <p:cNvPr id="47" name="gaoding-38">
            <a:extLst>
              <a:ext uri="{FF2B5EF4-FFF2-40B4-BE49-F238E27FC236}">
                <a16:creationId xmlns:a16="http://schemas.microsoft.com/office/drawing/2014/main" id="{2F8D22E0-67DA-454F-9508-B5DA12380456}"/>
              </a:ext>
            </a:extLst>
          </p:cNvPr>
          <p:cNvSpPr/>
          <p:nvPr/>
        </p:nvSpPr>
        <p:spPr>
          <a:xfrm>
            <a:off x="815753" y="3399121"/>
            <a:ext cx="2789236" cy="615488"/>
          </a:xfrm>
          <a:custGeom>
            <a:avLst/>
            <a:gdLst/>
            <a:ahLst/>
            <a:cxnLst>
              <a:cxn ang="0">
                <a:pos x="wd2" y="hd2"/>
              </a:cxn>
              <a:cxn ang="5400000">
                <a:pos x="wd2" y="hd2"/>
              </a:cxn>
              <a:cxn ang="10800000">
                <a:pos x="wd2" y="hd2"/>
              </a:cxn>
              <a:cxn ang="16200000">
                <a:pos x="wd2" y="hd2"/>
              </a:cxn>
            </a:cxnLst>
            <a:rect l="0" t="0" r="r" b="b"/>
            <a:pathLst>
              <a:path w="21600" h="21600" extrusionOk="0">
                <a:moveTo>
                  <a:pt x="917" y="0"/>
                </a:moveTo>
                <a:lnTo>
                  <a:pt x="20683" y="0"/>
                </a:lnTo>
                <a:cubicBezTo>
                  <a:pt x="20815" y="0"/>
                  <a:pt x="20914" y="0"/>
                  <a:pt x="20998" y="25"/>
                </a:cubicBezTo>
                <a:cubicBezTo>
                  <a:pt x="21082" y="51"/>
                  <a:pt x="21150" y="102"/>
                  <a:pt x="21221" y="204"/>
                </a:cubicBezTo>
                <a:cubicBezTo>
                  <a:pt x="21299" y="332"/>
                  <a:pt x="21368" y="534"/>
                  <a:pt x="21425" y="792"/>
                </a:cubicBezTo>
                <a:cubicBezTo>
                  <a:pt x="21482" y="1051"/>
                  <a:pt x="21527" y="1365"/>
                  <a:pt x="21555" y="1716"/>
                </a:cubicBezTo>
                <a:cubicBezTo>
                  <a:pt x="21578" y="2037"/>
                  <a:pt x="21589" y="2349"/>
                  <a:pt x="21594" y="2732"/>
                </a:cubicBezTo>
                <a:cubicBezTo>
                  <a:pt x="21600" y="3115"/>
                  <a:pt x="21600" y="3568"/>
                  <a:pt x="21600" y="4173"/>
                </a:cubicBezTo>
                <a:lnTo>
                  <a:pt x="21600" y="17445"/>
                </a:lnTo>
                <a:cubicBezTo>
                  <a:pt x="21600" y="18041"/>
                  <a:pt x="21600" y="18490"/>
                  <a:pt x="21594" y="18870"/>
                </a:cubicBezTo>
                <a:cubicBezTo>
                  <a:pt x="21589" y="19251"/>
                  <a:pt x="21578" y="19563"/>
                  <a:pt x="21555" y="19884"/>
                </a:cubicBezTo>
                <a:cubicBezTo>
                  <a:pt x="21527" y="20235"/>
                  <a:pt x="21482" y="20549"/>
                  <a:pt x="21425" y="20808"/>
                </a:cubicBezTo>
                <a:cubicBezTo>
                  <a:pt x="21368" y="21066"/>
                  <a:pt x="21299" y="21268"/>
                  <a:pt x="21221" y="21396"/>
                </a:cubicBezTo>
                <a:cubicBezTo>
                  <a:pt x="21150" y="21498"/>
                  <a:pt x="21082" y="21549"/>
                  <a:pt x="20997" y="21575"/>
                </a:cubicBezTo>
                <a:cubicBezTo>
                  <a:pt x="20913" y="21600"/>
                  <a:pt x="20813" y="21600"/>
                  <a:pt x="20679" y="21600"/>
                </a:cubicBezTo>
                <a:lnTo>
                  <a:pt x="917" y="21600"/>
                </a:lnTo>
                <a:cubicBezTo>
                  <a:pt x="785" y="21600"/>
                  <a:pt x="686" y="21600"/>
                  <a:pt x="602" y="21575"/>
                </a:cubicBezTo>
                <a:cubicBezTo>
                  <a:pt x="518" y="21549"/>
                  <a:pt x="450" y="21498"/>
                  <a:pt x="379" y="21396"/>
                </a:cubicBezTo>
                <a:cubicBezTo>
                  <a:pt x="301" y="21268"/>
                  <a:pt x="232" y="21066"/>
                  <a:pt x="175" y="20808"/>
                </a:cubicBezTo>
                <a:cubicBezTo>
                  <a:pt x="118" y="20549"/>
                  <a:pt x="73" y="20235"/>
                  <a:pt x="45" y="19884"/>
                </a:cubicBezTo>
                <a:cubicBezTo>
                  <a:pt x="22" y="19563"/>
                  <a:pt x="11" y="19251"/>
                  <a:pt x="6" y="18868"/>
                </a:cubicBezTo>
                <a:cubicBezTo>
                  <a:pt x="0" y="18485"/>
                  <a:pt x="0" y="18032"/>
                  <a:pt x="0" y="17427"/>
                </a:cubicBezTo>
                <a:lnTo>
                  <a:pt x="0" y="4155"/>
                </a:lnTo>
                <a:cubicBezTo>
                  <a:pt x="0" y="3559"/>
                  <a:pt x="0" y="3110"/>
                  <a:pt x="6" y="2730"/>
                </a:cubicBezTo>
                <a:cubicBezTo>
                  <a:pt x="11" y="2349"/>
                  <a:pt x="22" y="2037"/>
                  <a:pt x="45" y="1716"/>
                </a:cubicBezTo>
                <a:cubicBezTo>
                  <a:pt x="73" y="1365"/>
                  <a:pt x="118" y="1051"/>
                  <a:pt x="175" y="792"/>
                </a:cubicBezTo>
                <a:cubicBezTo>
                  <a:pt x="232" y="534"/>
                  <a:pt x="301" y="332"/>
                  <a:pt x="379" y="204"/>
                </a:cubicBezTo>
                <a:cubicBezTo>
                  <a:pt x="450" y="102"/>
                  <a:pt x="518" y="51"/>
                  <a:pt x="603" y="25"/>
                </a:cubicBezTo>
                <a:cubicBezTo>
                  <a:pt x="687" y="0"/>
                  <a:pt x="787" y="0"/>
                  <a:pt x="921" y="0"/>
                </a:cubicBezTo>
                <a:lnTo>
                  <a:pt x="917" y="0"/>
                </a:lnTo>
                <a:close/>
              </a:path>
            </a:pathLst>
          </a:custGeom>
          <a:gradFill flip="none" rotWithShape="1">
            <a:gsLst>
              <a:gs pos="1000">
                <a:schemeClr val="accent1"/>
              </a:gs>
              <a:gs pos="100000">
                <a:schemeClr val="accent1">
                  <a:lumMod val="60000"/>
                  <a:lumOff val="40000"/>
                </a:schemeClr>
              </a:gs>
            </a:gsLst>
            <a:lin ang="27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5720" tIns="22860" rIns="45720" bIns="228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FFFFFF"/>
              </a:solidFill>
              <a:effectLst/>
              <a:uLnTx/>
              <a:uFillTx/>
              <a:latin typeface="OPPOSans R" panose="00020600040101010101" pitchFamily="18" charset="-122"/>
              <a:ea typeface="微软雅黑"/>
              <a:cs typeface="+mn-cs"/>
            </a:endParaRPr>
          </a:p>
        </p:txBody>
      </p:sp>
      <p:sp>
        <p:nvSpPr>
          <p:cNvPr id="60" name="gaoding-39">
            <a:extLst>
              <a:ext uri="{FF2B5EF4-FFF2-40B4-BE49-F238E27FC236}">
                <a16:creationId xmlns:a16="http://schemas.microsoft.com/office/drawing/2014/main" id="{E0EC3A76-3953-443F-A9AD-E0606CFBA375}"/>
              </a:ext>
            </a:extLst>
          </p:cNvPr>
          <p:cNvSpPr txBox="1"/>
          <p:nvPr/>
        </p:nvSpPr>
        <p:spPr>
          <a:xfrm>
            <a:off x="1837150" y="3515028"/>
            <a:ext cx="1493452" cy="389850"/>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25400" tIns="25400" rIns="25400" bIns="25400" numCol="1" anchor="t">
            <a:spAutoFit/>
          </a:bodyPr>
          <a:lstStyle>
            <a:lvl1pPr algn="l">
              <a:defRPr sz="2800" b="0">
                <a:solidFill>
                  <a:srgbClr val="FFFFFF"/>
                </a:solidFill>
                <a:latin typeface="Barlow Bold"/>
                <a:ea typeface="Barlow Bold"/>
                <a:cs typeface="Barlow Bold"/>
                <a:sym typeface="Barlow Bold"/>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2200" b="0" i="0" u="none" strike="noStrike" kern="1200" cap="none" spc="0" normalizeH="0" baseline="0" noProof="0" dirty="0">
                <a:ln>
                  <a:noFill/>
                </a:ln>
                <a:solidFill>
                  <a:srgbClr val="FFFFFF"/>
                </a:solidFill>
                <a:effectLst/>
                <a:uLnTx/>
                <a:uFillTx/>
                <a:latin typeface="OPPOSans B" panose="00020600040101010101" pitchFamily="18" charset="-122"/>
                <a:ea typeface="OPPOSans B" panose="00020600040101010101" pitchFamily="18" charset="-122"/>
                <a:cs typeface="OPPOSans B" panose="00020600040101010101" pitchFamily="18" charset="-122"/>
                <a:sym typeface="Arial" panose="020B0604020202020204" pitchFamily="34" charset="0"/>
              </a:rPr>
              <a:t>秋叶</a:t>
            </a:r>
            <a:r>
              <a:rPr kumimoji="0" lang="en-US" altLang="zh-CN" sz="2200" b="0" i="0" u="none" strike="noStrike" kern="1200" cap="none" spc="0" normalizeH="0" baseline="0" noProof="0" dirty="0">
                <a:ln>
                  <a:noFill/>
                </a:ln>
                <a:solidFill>
                  <a:srgbClr val="FFFFFF"/>
                </a:solidFill>
                <a:effectLst/>
                <a:uLnTx/>
                <a:uFillTx/>
                <a:latin typeface="OPPOSans B" panose="00020600040101010101" pitchFamily="18" charset="-122"/>
                <a:ea typeface="OPPOSans B" panose="00020600040101010101" pitchFamily="18" charset="-122"/>
                <a:cs typeface="OPPOSans B" panose="00020600040101010101" pitchFamily="18" charset="-122"/>
                <a:sym typeface="Arial" panose="020B0604020202020204" pitchFamily="34" charset="0"/>
              </a:rPr>
              <a:t>PPT</a:t>
            </a:r>
            <a:endParaRPr kumimoji="0" lang="zh-CN" altLang="zh-CN" sz="2200" b="0" i="0" u="none" strike="noStrike" kern="1200" cap="none" spc="0" normalizeH="0" baseline="0" noProof="0" dirty="0">
              <a:ln>
                <a:noFill/>
              </a:ln>
              <a:solidFill>
                <a:srgbClr val="FFFFFF"/>
              </a:solidFill>
              <a:effectLst/>
              <a:uLnTx/>
              <a:uFillTx/>
              <a:latin typeface="OPPOSans B" panose="00020600040101010101" pitchFamily="18" charset="-122"/>
              <a:ea typeface="OPPOSans B" panose="00020600040101010101" pitchFamily="18" charset="-122"/>
              <a:cs typeface="OPPOSans B" panose="00020600040101010101" pitchFamily="18" charset="-122"/>
              <a:sym typeface="Arial" panose="020B0604020202020204" pitchFamily="34" charset="0"/>
            </a:endParaRPr>
          </a:p>
        </p:txBody>
      </p:sp>
      <p:sp>
        <p:nvSpPr>
          <p:cNvPr id="61" name="gaoding-40">
            <a:extLst>
              <a:ext uri="{FF2B5EF4-FFF2-40B4-BE49-F238E27FC236}">
                <a16:creationId xmlns:a16="http://schemas.microsoft.com/office/drawing/2014/main" id="{45D6AAB4-615F-455E-B214-B374F39593F2}"/>
              </a:ext>
            </a:extLst>
          </p:cNvPr>
          <p:cNvSpPr/>
          <p:nvPr/>
        </p:nvSpPr>
        <p:spPr>
          <a:xfrm>
            <a:off x="1000532" y="3270450"/>
            <a:ext cx="860128" cy="860128"/>
          </a:xfrm>
          <a:prstGeom prst="ellipse">
            <a:avLst/>
          </a:prstGeom>
          <a:solidFill>
            <a:schemeClr val="bg1"/>
          </a:solidFill>
          <a:ln w="12700" cap="flat">
            <a:noFill/>
            <a:miter lim="400000"/>
          </a:ln>
          <a:effectLst>
            <a:outerShdw blurRad="190500" sx="103000" sy="103000" algn="ctr" rotWithShape="0">
              <a:schemeClr val="accent1">
                <a:lumMod val="50000"/>
                <a:alpha val="20000"/>
              </a:schemeClr>
            </a:outerShdw>
          </a:effectLst>
        </p:spPr>
        <p:txBody>
          <a:bodyPr wrap="square" lIns="0" tIns="0" rIns="0" bIns="0" numCol="1"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1600" b="0" i="0" u="none" strike="noStrike" kern="1200" cap="none" spc="0" normalizeH="0" baseline="0" noProof="0" dirty="0">
              <a:ln>
                <a:noFill/>
              </a:ln>
              <a:solidFill>
                <a:srgbClr val="FFFFFF"/>
              </a:solidFill>
              <a:effectLst/>
              <a:uLnTx/>
              <a:uFillTx/>
              <a:latin typeface="OPPOSans R" panose="00020600040101010101" pitchFamily="18" charset="-122"/>
              <a:ea typeface="微软雅黑"/>
              <a:cs typeface="+mn-cs"/>
              <a:sym typeface="Helvetica Neue Medium"/>
            </a:endParaRPr>
          </a:p>
        </p:txBody>
      </p:sp>
      <p:sp>
        <p:nvSpPr>
          <p:cNvPr id="62" name="gaoding-41">
            <a:extLst>
              <a:ext uri="{FF2B5EF4-FFF2-40B4-BE49-F238E27FC236}">
                <a16:creationId xmlns:a16="http://schemas.microsoft.com/office/drawing/2014/main" id="{93D40113-A90D-434C-ACCC-BC27F03FFF56}"/>
              </a:ext>
            </a:extLst>
          </p:cNvPr>
          <p:cNvSpPr/>
          <p:nvPr/>
        </p:nvSpPr>
        <p:spPr>
          <a:xfrm>
            <a:off x="1128866" y="3407071"/>
            <a:ext cx="599588" cy="59958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srgbClr val="FFFFFF"/>
              </a:solidFill>
              <a:effectLst/>
              <a:uLnTx/>
              <a:uFillTx/>
              <a:latin typeface="OPPOSans R" panose="00020600040101010101" pitchFamily="18" charset="-122"/>
              <a:ea typeface="微软雅黑"/>
              <a:cs typeface="+mn-cs"/>
            </a:endParaRPr>
          </a:p>
        </p:txBody>
      </p:sp>
      <p:sp>
        <p:nvSpPr>
          <p:cNvPr id="63" name="gaoding-42">
            <a:extLst>
              <a:ext uri="{FF2B5EF4-FFF2-40B4-BE49-F238E27FC236}">
                <a16:creationId xmlns:a16="http://schemas.microsoft.com/office/drawing/2014/main" id="{D3FD055F-45C5-45EC-8A3C-71D0B98E98F9}"/>
              </a:ext>
            </a:extLst>
          </p:cNvPr>
          <p:cNvSpPr/>
          <p:nvPr/>
        </p:nvSpPr>
        <p:spPr>
          <a:xfrm>
            <a:off x="1290450" y="3553293"/>
            <a:ext cx="278430" cy="266740"/>
          </a:xfrm>
          <a:custGeom>
            <a:avLst/>
            <a:gdLst>
              <a:gd name="connsiteX0" fmla="*/ 196501 w 467362"/>
              <a:gd name="connsiteY0" fmla="*/ 222283 h 447740"/>
              <a:gd name="connsiteX1" fmla="*/ 227171 w 467362"/>
              <a:gd name="connsiteY1" fmla="*/ 249334 h 447740"/>
              <a:gd name="connsiteX2" fmla="*/ 204216 w 467362"/>
              <a:gd name="connsiteY2" fmla="*/ 278671 h 447740"/>
              <a:gd name="connsiteX3" fmla="*/ 196501 w 467362"/>
              <a:gd name="connsiteY3" fmla="*/ 278671 h 447740"/>
              <a:gd name="connsiteX4" fmla="*/ 181356 w 467362"/>
              <a:gd name="connsiteY4" fmla="*/ 263526 h 447740"/>
              <a:gd name="connsiteX5" fmla="*/ 181356 w 467362"/>
              <a:gd name="connsiteY5" fmla="*/ 237523 h 447740"/>
              <a:gd name="connsiteX6" fmla="*/ 181356 w 467362"/>
              <a:gd name="connsiteY6" fmla="*/ 237428 h 447740"/>
              <a:gd name="connsiteX7" fmla="*/ 196501 w 467362"/>
              <a:gd name="connsiteY7" fmla="*/ 222283 h 447740"/>
              <a:gd name="connsiteX8" fmla="*/ 139827 w 467362"/>
              <a:gd name="connsiteY8" fmla="*/ 182183 h 447740"/>
              <a:gd name="connsiteX9" fmla="*/ 124777 w 467362"/>
              <a:gd name="connsiteY9" fmla="*/ 197233 h 447740"/>
              <a:gd name="connsiteX10" fmla="*/ 124777 w 467362"/>
              <a:gd name="connsiteY10" fmla="*/ 368683 h 447740"/>
              <a:gd name="connsiteX11" fmla="*/ 124777 w 467362"/>
              <a:gd name="connsiteY11" fmla="*/ 368686 h 447740"/>
              <a:gd name="connsiteX12" fmla="*/ 139636 w 467362"/>
              <a:gd name="connsiteY12" fmla="*/ 383923 h 447740"/>
              <a:gd name="connsiteX13" fmla="*/ 166497 w 467362"/>
              <a:gd name="connsiteY13" fmla="*/ 383923 h 447740"/>
              <a:gd name="connsiteX14" fmla="*/ 181547 w 467362"/>
              <a:gd name="connsiteY14" fmla="*/ 368873 h 447740"/>
              <a:gd name="connsiteX15" fmla="*/ 181547 w 467362"/>
              <a:gd name="connsiteY15" fmla="*/ 334202 h 447740"/>
              <a:gd name="connsiteX16" fmla="*/ 196691 w 467362"/>
              <a:gd name="connsiteY16" fmla="*/ 319058 h 447740"/>
              <a:gd name="connsiteX17" fmla="*/ 209836 w 467362"/>
              <a:gd name="connsiteY17" fmla="*/ 319058 h 447740"/>
              <a:gd name="connsiteX18" fmla="*/ 247936 w 467362"/>
              <a:gd name="connsiteY18" fmla="*/ 309533 h 447740"/>
              <a:gd name="connsiteX19" fmla="*/ 272986 w 467362"/>
              <a:gd name="connsiteY19" fmla="*/ 284101 h 447740"/>
              <a:gd name="connsiteX20" fmla="*/ 281273 w 467362"/>
              <a:gd name="connsiteY20" fmla="*/ 251049 h 447740"/>
              <a:gd name="connsiteX21" fmla="*/ 272606 w 467362"/>
              <a:gd name="connsiteY21" fmla="*/ 217235 h 447740"/>
              <a:gd name="connsiteX22" fmla="*/ 247650 w 467362"/>
              <a:gd name="connsiteY22" fmla="*/ 191899 h 447740"/>
              <a:gd name="connsiteX23" fmla="*/ 207550 w 467362"/>
              <a:gd name="connsiteY23" fmla="*/ 182183 h 447740"/>
              <a:gd name="connsiteX24" fmla="*/ 15049 w 467362"/>
              <a:gd name="connsiteY24" fmla="*/ 73884 h 447740"/>
              <a:gd name="connsiteX25" fmla="*/ 183451 w 467362"/>
              <a:gd name="connsiteY25" fmla="*/ 73884 h 447740"/>
              <a:gd name="connsiteX26" fmla="*/ 198215 w 467362"/>
              <a:gd name="connsiteY26" fmla="*/ 85314 h 447740"/>
              <a:gd name="connsiteX27" fmla="*/ 202978 w 467362"/>
              <a:gd name="connsiteY27" fmla="*/ 105983 h 447740"/>
              <a:gd name="connsiteX28" fmla="*/ 217742 w 467362"/>
              <a:gd name="connsiteY28" fmla="*/ 117699 h 447740"/>
              <a:gd name="connsiteX29" fmla="*/ 354140 w 467362"/>
              <a:gd name="connsiteY29" fmla="*/ 117699 h 447740"/>
              <a:gd name="connsiteX30" fmla="*/ 354235 w 467362"/>
              <a:gd name="connsiteY30" fmla="*/ 117699 h 447740"/>
              <a:gd name="connsiteX31" fmla="*/ 369284 w 467362"/>
              <a:gd name="connsiteY31" fmla="*/ 132749 h 447740"/>
              <a:gd name="connsiteX32" fmla="*/ 369284 w 467362"/>
              <a:gd name="connsiteY32" fmla="*/ 432596 h 447740"/>
              <a:gd name="connsiteX33" fmla="*/ 354140 w 467362"/>
              <a:gd name="connsiteY33" fmla="*/ 447740 h 447740"/>
              <a:gd name="connsiteX34" fmla="*/ 15049 w 467362"/>
              <a:gd name="connsiteY34" fmla="*/ 447740 h 447740"/>
              <a:gd name="connsiteX35" fmla="*/ 0 w 467362"/>
              <a:gd name="connsiteY35" fmla="*/ 432596 h 447740"/>
              <a:gd name="connsiteX36" fmla="*/ 0 w 467362"/>
              <a:gd name="connsiteY36" fmla="*/ 88934 h 447740"/>
              <a:gd name="connsiteX37" fmla="*/ 15049 w 467362"/>
              <a:gd name="connsiteY37" fmla="*/ 73884 h 447740"/>
              <a:gd name="connsiteX38" fmla="*/ 124778 w 467362"/>
              <a:gd name="connsiteY38" fmla="*/ 351 h 447740"/>
              <a:gd name="connsiteX39" fmla="*/ 455581 w 467362"/>
              <a:gd name="connsiteY39" fmla="*/ 74075 h 447740"/>
              <a:gd name="connsiteX40" fmla="*/ 467011 w 467362"/>
              <a:gd name="connsiteY40" fmla="*/ 91982 h 447740"/>
              <a:gd name="connsiteX41" fmla="*/ 400336 w 467362"/>
              <a:gd name="connsiteY41" fmla="*/ 399449 h 447740"/>
              <a:gd name="connsiteX42" fmla="*/ 399193 w 467362"/>
              <a:gd name="connsiteY42" fmla="*/ 399449 h 447740"/>
              <a:gd name="connsiteX43" fmla="*/ 387573 w 467362"/>
              <a:gd name="connsiteY43" fmla="*/ 384780 h 447740"/>
              <a:gd name="connsiteX44" fmla="*/ 387573 w 467362"/>
              <a:gd name="connsiteY44" fmla="*/ 114556 h 447740"/>
              <a:gd name="connsiteX45" fmla="*/ 372428 w 467362"/>
              <a:gd name="connsiteY45" fmla="*/ 99411 h 447740"/>
              <a:gd name="connsiteX46" fmla="*/ 235839 w 467362"/>
              <a:gd name="connsiteY46" fmla="*/ 99411 h 447740"/>
              <a:gd name="connsiteX47" fmla="*/ 221171 w 467362"/>
              <a:gd name="connsiteY47" fmla="*/ 87791 h 447740"/>
              <a:gd name="connsiteX48" fmla="*/ 216408 w 467362"/>
              <a:gd name="connsiteY48" fmla="*/ 67121 h 447740"/>
              <a:gd name="connsiteX49" fmla="*/ 201645 w 467362"/>
              <a:gd name="connsiteY49" fmla="*/ 55501 h 447740"/>
              <a:gd name="connsiteX50" fmla="*/ 115920 w 467362"/>
              <a:gd name="connsiteY50" fmla="*/ 55501 h 447740"/>
              <a:gd name="connsiteX51" fmla="*/ 112872 w 467362"/>
              <a:gd name="connsiteY51" fmla="*/ 55171 h 447740"/>
              <a:gd name="connsiteX52" fmla="*/ 101156 w 467362"/>
              <a:gd name="connsiteY52" fmla="*/ 37213 h 447740"/>
              <a:gd name="connsiteX53" fmla="*/ 106680 w 467362"/>
              <a:gd name="connsiteY53" fmla="*/ 11876 h 447740"/>
              <a:gd name="connsiteX54" fmla="*/ 124778 w 467362"/>
              <a:gd name="connsiteY54" fmla="*/ 351 h 447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467362" h="447740">
                <a:moveTo>
                  <a:pt x="196501" y="222283"/>
                </a:moveTo>
                <a:cubicBezTo>
                  <a:pt x="216123" y="222791"/>
                  <a:pt x="226343" y="231808"/>
                  <a:pt x="227171" y="249334"/>
                </a:cubicBezTo>
                <a:cubicBezTo>
                  <a:pt x="226981" y="267813"/>
                  <a:pt x="219361" y="277528"/>
                  <a:pt x="204216" y="278671"/>
                </a:cubicBezTo>
                <a:lnTo>
                  <a:pt x="196501" y="278671"/>
                </a:lnTo>
                <a:cubicBezTo>
                  <a:pt x="188138" y="278671"/>
                  <a:pt x="181356" y="271890"/>
                  <a:pt x="181356" y="263526"/>
                </a:cubicBezTo>
                <a:lnTo>
                  <a:pt x="181356" y="237523"/>
                </a:lnTo>
                <a:cubicBezTo>
                  <a:pt x="181356" y="237492"/>
                  <a:pt x="181356" y="237459"/>
                  <a:pt x="181356" y="237428"/>
                </a:cubicBezTo>
                <a:cubicBezTo>
                  <a:pt x="181356" y="229063"/>
                  <a:pt x="188138" y="222283"/>
                  <a:pt x="196501" y="222283"/>
                </a:cubicBezTo>
                <a:close/>
                <a:moveTo>
                  <a:pt x="139827" y="182183"/>
                </a:moveTo>
                <a:cubicBezTo>
                  <a:pt x="131511" y="182183"/>
                  <a:pt x="124777" y="188921"/>
                  <a:pt x="124777" y="197233"/>
                </a:cubicBezTo>
                <a:lnTo>
                  <a:pt x="124777" y="368683"/>
                </a:lnTo>
                <a:cubicBezTo>
                  <a:pt x="124777" y="368684"/>
                  <a:pt x="124777" y="368685"/>
                  <a:pt x="124777" y="368686"/>
                </a:cubicBezTo>
                <a:cubicBezTo>
                  <a:pt x="124673" y="376996"/>
                  <a:pt x="131321" y="383818"/>
                  <a:pt x="139636" y="383923"/>
                </a:cubicBezTo>
                <a:lnTo>
                  <a:pt x="166497" y="383923"/>
                </a:lnTo>
                <a:cubicBezTo>
                  <a:pt x="174812" y="383923"/>
                  <a:pt x="181547" y="377185"/>
                  <a:pt x="181547" y="368873"/>
                </a:cubicBezTo>
                <a:lnTo>
                  <a:pt x="181547" y="334202"/>
                </a:lnTo>
                <a:cubicBezTo>
                  <a:pt x="181547" y="325838"/>
                  <a:pt x="188328" y="319058"/>
                  <a:pt x="196691" y="319058"/>
                </a:cubicBezTo>
                <a:lnTo>
                  <a:pt x="209836" y="319058"/>
                </a:lnTo>
                <a:cubicBezTo>
                  <a:pt x="223152" y="319298"/>
                  <a:pt x="236296" y="316011"/>
                  <a:pt x="247936" y="309533"/>
                </a:cubicBezTo>
                <a:cubicBezTo>
                  <a:pt x="258584" y="303672"/>
                  <a:pt x="267290" y="294834"/>
                  <a:pt x="272986" y="284101"/>
                </a:cubicBezTo>
                <a:cubicBezTo>
                  <a:pt x="278501" y="273963"/>
                  <a:pt x="281359" y="262590"/>
                  <a:pt x="281273" y="251049"/>
                </a:cubicBezTo>
                <a:cubicBezTo>
                  <a:pt x="281321" y="239223"/>
                  <a:pt x="278340" y="227581"/>
                  <a:pt x="272606" y="217235"/>
                </a:cubicBezTo>
                <a:cubicBezTo>
                  <a:pt x="266738" y="206686"/>
                  <a:pt x="258108" y="197929"/>
                  <a:pt x="247650" y="191899"/>
                </a:cubicBezTo>
                <a:cubicBezTo>
                  <a:pt x="235325" y="185300"/>
                  <a:pt x="221523" y="181956"/>
                  <a:pt x="207550" y="182183"/>
                </a:cubicBezTo>
                <a:close/>
                <a:moveTo>
                  <a:pt x="15049" y="73884"/>
                </a:moveTo>
                <a:lnTo>
                  <a:pt x="183451" y="73884"/>
                </a:lnTo>
                <a:cubicBezTo>
                  <a:pt x="190405" y="73880"/>
                  <a:pt x="196482" y="78582"/>
                  <a:pt x="198215" y="85314"/>
                </a:cubicBezTo>
                <a:lnTo>
                  <a:pt x="202978" y="105983"/>
                </a:lnTo>
                <a:cubicBezTo>
                  <a:pt x="204578" y="112848"/>
                  <a:pt x="210693" y="117705"/>
                  <a:pt x="217742" y="117699"/>
                </a:cubicBezTo>
                <a:lnTo>
                  <a:pt x="354140" y="117699"/>
                </a:lnTo>
                <a:cubicBezTo>
                  <a:pt x="354168" y="117699"/>
                  <a:pt x="354206" y="117699"/>
                  <a:pt x="354235" y="117699"/>
                </a:cubicBezTo>
                <a:cubicBezTo>
                  <a:pt x="362550" y="117699"/>
                  <a:pt x="369284" y="124437"/>
                  <a:pt x="369284" y="132749"/>
                </a:cubicBezTo>
                <a:lnTo>
                  <a:pt x="369284" y="432596"/>
                </a:lnTo>
                <a:cubicBezTo>
                  <a:pt x="369284" y="440959"/>
                  <a:pt x="362502" y="447740"/>
                  <a:pt x="354140" y="447740"/>
                </a:cubicBezTo>
                <a:lnTo>
                  <a:pt x="15049" y="447740"/>
                </a:lnTo>
                <a:cubicBezTo>
                  <a:pt x="6763" y="447688"/>
                  <a:pt x="0" y="440922"/>
                  <a:pt x="0" y="432596"/>
                </a:cubicBezTo>
                <a:lnTo>
                  <a:pt x="0" y="88934"/>
                </a:lnTo>
                <a:cubicBezTo>
                  <a:pt x="0" y="80622"/>
                  <a:pt x="6763" y="73884"/>
                  <a:pt x="15049" y="73884"/>
                </a:cubicBezTo>
                <a:close/>
                <a:moveTo>
                  <a:pt x="124778" y="351"/>
                </a:moveTo>
                <a:lnTo>
                  <a:pt x="455581" y="74075"/>
                </a:lnTo>
                <a:cubicBezTo>
                  <a:pt x="463678" y="75877"/>
                  <a:pt x="468783" y="83883"/>
                  <a:pt x="467011" y="91982"/>
                </a:cubicBezTo>
                <a:lnTo>
                  <a:pt x="400336" y="399449"/>
                </a:lnTo>
                <a:lnTo>
                  <a:pt x="399193" y="399449"/>
                </a:lnTo>
                <a:cubicBezTo>
                  <a:pt x="392364" y="397887"/>
                  <a:pt x="387535" y="391789"/>
                  <a:pt x="387573" y="384780"/>
                </a:cubicBezTo>
                <a:lnTo>
                  <a:pt x="387573" y="114556"/>
                </a:lnTo>
                <a:cubicBezTo>
                  <a:pt x="387573" y="106192"/>
                  <a:pt x="380791" y="99411"/>
                  <a:pt x="372428" y="99411"/>
                </a:cubicBezTo>
                <a:lnTo>
                  <a:pt x="235839" y="99411"/>
                </a:lnTo>
                <a:cubicBezTo>
                  <a:pt x="228838" y="99418"/>
                  <a:pt x="222762" y="94603"/>
                  <a:pt x="221171" y="87791"/>
                </a:cubicBezTo>
                <a:lnTo>
                  <a:pt x="216408" y="67121"/>
                </a:lnTo>
                <a:cubicBezTo>
                  <a:pt x="214742" y="60314"/>
                  <a:pt x="208655" y="55519"/>
                  <a:pt x="201645" y="55501"/>
                </a:cubicBezTo>
                <a:lnTo>
                  <a:pt x="115920" y="55501"/>
                </a:lnTo>
                <a:cubicBezTo>
                  <a:pt x="114872" y="55497"/>
                  <a:pt x="113824" y="55387"/>
                  <a:pt x="112872" y="55171"/>
                </a:cubicBezTo>
                <a:cubicBezTo>
                  <a:pt x="104680" y="53435"/>
                  <a:pt x="99442" y="45395"/>
                  <a:pt x="101156" y="37213"/>
                </a:cubicBezTo>
                <a:lnTo>
                  <a:pt x="106680" y="11876"/>
                </a:lnTo>
                <a:cubicBezTo>
                  <a:pt x="108490" y="3720"/>
                  <a:pt x="116606" y="-1424"/>
                  <a:pt x="124778" y="351"/>
                </a:cubicBezTo>
                <a:close/>
              </a:path>
            </a:pathLst>
          </a:custGeom>
          <a:solidFill>
            <a:schemeClr val="bg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srgbClr val="000000"/>
              </a:solidFill>
              <a:effectLst/>
              <a:uLnTx/>
              <a:uFillTx/>
              <a:latin typeface="OPPOSans R" panose="00020600040101010101" pitchFamily="18" charset="-122"/>
              <a:ea typeface="微软雅黑"/>
              <a:cs typeface="+mn-cs"/>
            </a:endParaRPr>
          </a:p>
        </p:txBody>
      </p:sp>
    </p:spTree>
    <p:custDataLst>
      <p:tags r:id="rId2"/>
    </p:custDataLst>
    <p:extLst>
      <p:ext uri="{BB962C8B-B14F-4D97-AF65-F5344CB8AC3E}">
        <p14:creationId xmlns:p14="http://schemas.microsoft.com/office/powerpoint/2010/main" val="3186217962"/>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7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弧形 4">
            <a:extLst>
              <a:ext uri="{FF2B5EF4-FFF2-40B4-BE49-F238E27FC236}">
                <a16:creationId xmlns:a16="http://schemas.microsoft.com/office/drawing/2014/main" id="{49D9F094-EEB6-496C-B0DB-FF4A6693A475}"/>
              </a:ext>
            </a:extLst>
          </p:cNvPr>
          <p:cNvSpPr/>
          <p:nvPr/>
        </p:nvSpPr>
        <p:spPr>
          <a:xfrm rot="5400000">
            <a:off x="3764707" y="560230"/>
            <a:ext cx="4716792" cy="5137904"/>
          </a:xfrm>
          <a:prstGeom prst="arc">
            <a:avLst>
              <a:gd name="adj1" fmla="val 16200000"/>
              <a:gd name="adj2" fmla="val 5407996"/>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panose="020F0502020204030204"/>
              <a:ea typeface="微软雅黑"/>
              <a:cs typeface="+mn-cs"/>
            </a:endParaRPr>
          </a:p>
        </p:txBody>
      </p:sp>
      <p:cxnSp>
        <p:nvCxnSpPr>
          <p:cNvPr id="11" name="直接连接符 10">
            <a:extLst>
              <a:ext uri="{FF2B5EF4-FFF2-40B4-BE49-F238E27FC236}">
                <a16:creationId xmlns:a16="http://schemas.microsoft.com/office/drawing/2014/main" id="{BAC0A187-B090-44BD-8211-B794E84D8DB3}"/>
              </a:ext>
            </a:extLst>
          </p:cNvPr>
          <p:cNvCxnSpPr>
            <a:cxnSpLocks/>
          </p:cNvCxnSpPr>
          <p:nvPr/>
        </p:nvCxnSpPr>
        <p:spPr>
          <a:xfrm>
            <a:off x="6678150" y="3802009"/>
            <a:ext cx="508961" cy="781614"/>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00" name="直接连接符 99">
            <a:extLst>
              <a:ext uri="{FF2B5EF4-FFF2-40B4-BE49-F238E27FC236}">
                <a16:creationId xmlns:a16="http://schemas.microsoft.com/office/drawing/2014/main" id="{3B2990CE-C2BE-446A-B25C-50C7E8600B81}"/>
              </a:ext>
            </a:extLst>
          </p:cNvPr>
          <p:cNvCxnSpPr>
            <a:cxnSpLocks/>
          </p:cNvCxnSpPr>
          <p:nvPr/>
        </p:nvCxnSpPr>
        <p:spPr>
          <a:xfrm flipH="1">
            <a:off x="5044674" y="3802009"/>
            <a:ext cx="508961" cy="781614"/>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23" name="组合 22">
            <a:extLst>
              <a:ext uri="{FF2B5EF4-FFF2-40B4-BE49-F238E27FC236}">
                <a16:creationId xmlns:a16="http://schemas.microsoft.com/office/drawing/2014/main" id="{00D17851-BD2A-4C6D-83CF-0EF0D69500F2}"/>
              </a:ext>
            </a:extLst>
          </p:cNvPr>
          <p:cNvGrpSpPr/>
          <p:nvPr/>
        </p:nvGrpSpPr>
        <p:grpSpPr>
          <a:xfrm>
            <a:off x="2072302" y="2514606"/>
            <a:ext cx="8047396" cy="678031"/>
            <a:chOff x="2553516" y="1513549"/>
            <a:chExt cx="7653247" cy="678031"/>
          </a:xfrm>
        </p:grpSpPr>
        <p:grpSp>
          <p:nvGrpSpPr>
            <p:cNvPr id="18" name="组合 17">
              <a:extLst>
                <a:ext uri="{FF2B5EF4-FFF2-40B4-BE49-F238E27FC236}">
                  <a16:creationId xmlns:a16="http://schemas.microsoft.com/office/drawing/2014/main" id="{3E86F136-2626-4935-AA91-B96B6ADFA283}"/>
                </a:ext>
              </a:extLst>
            </p:cNvPr>
            <p:cNvGrpSpPr/>
            <p:nvPr/>
          </p:nvGrpSpPr>
          <p:grpSpPr>
            <a:xfrm>
              <a:off x="2553516" y="1513549"/>
              <a:ext cx="7653247" cy="678031"/>
              <a:chOff x="2553516" y="1513549"/>
              <a:chExt cx="7653247" cy="678031"/>
            </a:xfrm>
          </p:grpSpPr>
          <p:cxnSp>
            <p:nvCxnSpPr>
              <p:cNvPr id="9" name="直接连接符 8">
                <a:extLst>
                  <a:ext uri="{FF2B5EF4-FFF2-40B4-BE49-F238E27FC236}">
                    <a16:creationId xmlns:a16="http://schemas.microsoft.com/office/drawing/2014/main" id="{483DAC44-6FCC-4D6B-8945-2E77C9FB5077}"/>
                  </a:ext>
                </a:extLst>
              </p:cNvPr>
              <p:cNvCxnSpPr>
                <a:cxnSpLocks/>
              </p:cNvCxnSpPr>
              <p:nvPr/>
            </p:nvCxnSpPr>
            <p:spPr>
              <a:xfrm>
                <a:off x="2906278" y="1852565"/>
                <a:ext cx="7300485"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6" name="直接连接符 15">
                <a:extLst>
                  <a:ext uri="{FF2B5EF4-FFF2-40B4-BE49-F238E27FC236}">
                    <a16:creationId xmlns:a16="http://schemas.microsoft.com/office/drawing/2014/main" id="{CD75B24B-D5FC-4F99-805C-633C31EF1290}"/>
                  </a:ext>
                </a:extLst>
              </p:cNvPr>
              <p:cNvCxnSpPr>
                <a:cxnSpLocks/>
              </p:cNvCxnSpPr>
              <p:nvPr/>
            </p:nvCxnSpPr>
            <p:spPr>
              <a:xfrm>
                <a:off x="9835628" y="1513549"/>
                <a:ext cx="371135"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10" name="直接连接符 109">
                <a:extLst>
                  <a:ext uri="{FF2B5EF4-FFF2-40B4-BE49-F238E27FC236}">
                    <a16:creationId xmlns:a16="http://schemas.microsoft.com/office/drawing/2014/main" id="{B16B1C24-5F1C-4469-8C62-73A11FCF7E09}"/>
                  </a:ext>
                </a:extLst>
              </p:cNvPr>
              <p:cNvCxnSpPr>
                <a:cxnSpLocks/>
              </p:cNvCxnSpPr>
              <p:nvPr/>
            </p:nvCxnSpPr>
            <p:spPr>
              <a:xfrm>
                <a:off x="9835628" y="2191580"/>
                <a:ext cx="371135"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11" name="直接连接符 110">
                <a:extLst>
                  <a:ext uri="{FF2B5EF4-FFF2-40B4-BE49-F238E27FC236}">
                    <a16:creationId xmlns:a16="http://schemas.microsoft.com/office/drawing/2014/main" id="{D8B092FF-1A89-48A2-A156-7E3DEB4B5D07}"/>
                  </a:ext>
                </a:extLst>
              </p:cNvPr>
              <p:cNvCxnSpPr>
                <a:cxnSpLocks/>
              </p:cNvCxnSpPr>
              <p:nvPr/>
            </p:nvCxnSpPr>
            <p:spPr>
              <a:xfrm>
                <a:off x="2553516" y="1513549"/>
                <a:ext cx="371135"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12" name="直接连接符 111">
                <a:extLst>
                  <a:ext uri="{FF2B5EF4-FFF2-40B4-BE49-F238E27FC236}">
                    <a16:creationId xmlns:a16="http://schemas.microsoft.com/office/drawing/2014/main" id="{7C944780-0AE1-4AC2-9E18-B617B5519818}"/>
                  </a:ext>
                </a:extLst>
              </p:cNvPr>
              <p:cNvCxnSpPr>
                <a:cxnSpLocks/>
              </p:cNvCxnSpPr>
              <p:nvPr/>
            </p:nvCxnSpPr>
            <p:spPr>
              <a:xfrm>
                <a:off x="2553516" y="2191580"/>
                <a:ext cx="371135"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cxnSp>
          <p:nvCxnSpPr>
            <p:cNvPr id="22" name="直接连接符 21">
              <a:extLst>
                <a:ext uri="{FF2B5EF4-FFF2-40B4-BE49-F238E27FC236}">
                  <a16:creationId xmlns:a16="http://schemas.microsoft.com/office/drawing/2014/main" id="{FB51D0F2-3F12-4D22-BEF9-2D4818BCA122}"/>
                </a:ext>
              </a:extLst>
            </p:cNvPr>
            <p:cNvCxnSpPr>
              <a:cxnSpLocks/>
            </p:cNvCxnSpPr>
            <p:nvPr/>
          </p:nvCxnSpPr>
          <p:spPr>
            <a:xfrm>
              <a:off x="9835628" y="1513549"/>
              <a:ext cx="0" cy="678031"/>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13" name="直接连接符 112">
              <a:extLst>
                <a:ext uri="{FF2B5EF4-FFF2-40B4-BE49-F238E27FC236}">
                  <a16:creationId xmlns:a16="http://schemas.microsoft.com/office/drawing/2014/main" id="{7AA08564-00B4-4E5B-A94D-830B8A23B3A8}"/>
                </a:ext>
              </a:extLst>
            </p:cNvPr>
            <p:cNvCxnSpPr>
              <a:cxnSpLocks/>
            </p:cNvCxnSpPr>
            <p:nvPr/>
          </p:nvCxnSpPr>
          <p:spPr>
            <a:xfrm>
              <a:off x="2912521" y="1513549"/>
              <a:ext cx="0" cy="678031"/>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26" name="组合 25">
            <a:extLst>
              <a:ext uri="{FF2B5EF4-FFF2-40B4-BE49-F238E27FC236}">
                <a16:creationId xmlns:a16="http://schemas.microsoft.com/office/drawing/2014/main" id="{BFFC23B0-FE7E-4D69-BC85-7C6876C25066}"/>
              </a:ext>
            </a:extLst>
          </p:cNvPr>
          <p:cNvGrpSpPr/>
          <p:nvPr/>
        </p:nvGrpSpPr>
        <p:grpSpPr>
          <a:xfrm>
            <a:off x="7975044" y="4809888"/>
            <a:ext cx="890244" cy="678031"/>
            <a:chOff x="8413554" y="7089316"/>
            <a:chExt cx="890244" cy="678031"/>
          </a:xfrm>
        </p:grpSpPr>
        <p:grpSp>
          <p:nvGrpSpPr>
            <p:cNvPr id="115" name="组合 114">
              <a:extLst>
                <a:ext uri="{FF2B5EF4-FFF2-40B4-BE49-F238E27FC236}">
                  <a16:creationId xmlns:a16="http://schemas.microsoft.com/office/drawing/2014/main" id="{3DCC917A-A00F-4F23-9980-2296A676D8FF}"/>
                </a:ext>
              </a:extLst>
            </p:cNvPr>
            <p:cNvGrpSpPr/>
            <p:nvPr/>
          </p:nvGrpSpPr>
          <p:grpSpPr>
            <a:xfrm>
              <a:off x="8413554" y="7089316"/>
              <a:ext cx="890244" cy="678031"/>
              <a:chOff x="9316519" y="1513549"/>
              <a:chExt cx="890244" cy="678031"/>
            </a:xfrm>
          </p:grpSpPr>
          <p:cxnSp>
            <p:nvCxnSpPr>
              <p:cNvPr id="118" name="直接连接符 117">
                <a:extLst>
                  <a:ext uri="{FF2B5EF4-FFF2-40B4-BE49-F238E27FC236}">
                    <a16:creationId xmlns:a16="http://schemas.microsoft.com/office/drawing/2014/main" id="{B08C0234-6EAD-4512-B20A-1855C2475F5D}"/>
                  </a:ext>
                </a:extLst>
              </p:cNvPr>
              <p:cNvCxnSpPr>
                <a:cxnSpLocks/>
              </p:cNvCxnSpPr>
              <p:nvPr/>
            </p:nvCxnSpPr>
            <p:spPr>
              <a:xfrm>
                <a:off x="9316519" y="1852565"/>
                <a:ext cx="890244"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19" name="直接连接符 118">
                <a:extLst>
                  <a:ext uri="{FF2B5EF4-FFF2-40B4-BE49-F238E27FC236}">
                    <a16:creationId xmlns:a16="http://schemas.microsoft.com/office/drawing/2014/main" id="{381227D8-D5AF-4D4B-A15B-1FFADD1AAF0C}"/>
                  </a:ext>
                </a:extLst>
              </p:cNvPr>
              <p:cNvCxnSpPr>
                <a:cxnSpLocks/>
              </p:cNvCxnSpPr>
              <p:nvPr/>
            </p:nvCxnSpPr>
            <p:spPr>
              <a:xfrm>
                <a:off x="9835628" y="1513549"/>
                <a:ext cx="371135"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20" name="直接连接符 119">
                <a:extLst>
                  <a:ext uri="{FF2B5EF4-FFF2-40B4-BE49-F238E27FC236}">
                    <a16:creationId xmlns:a16="http://schemas.microsoft.com/office/drawing/2014/main" id="{DE935163-599A-4D91-BA36-1863D82F9D00}"/>
                  </a:ext>
                </a:extLst>
              </p:cNvPr>
              <p:cNvCxnSpPr>
                <a:cxnSpLocks/>
              </p:cNvCxnSpPr>
              <p:nvPr/>
            </p:nvCxnSpPr>
            <p:spPr>
              <a:xfrm>
                <a:off x="9835628" y="2191580"/>
                <a:ext cx="371135"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cxnSp>
          <p:nvCxnSpPr>
            <p:cNvPr id="116" name="直接连接符 115">
              <a:extLst>
                <a:ext uri="{FF2B5EF4-FFF2-40B4-BE49-F238E27FC236}">
                  <a16:creationId xmlns:a16="http://schemas.microsoft.com/office/drawing/2014/main" id="{C643EED1-D8A3-4670-84AA-E34A8B8F2D64}"/>
                </a:ext>
              </a:extLst>
            </p:cNvPr>
            <p:cNvCxnSpPr>
              <a:cxnSpLocks/>
            </p:cNvCxnSpPr>
            <p:nvPr/>
          </p:nvCxnSpPr>
          <p:spPr>
            <a:xfrm>
              <a:off x="8932663" y="7089316"/>
              <a:ext cx="0" cy="678031"/>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27" name="组合 26">
            <a:extLst>
              <a:ext uri="{FF2B5EF4-FFF2-40B4-BE49-F238E27FC236}">
                <a16:creationId xmlns:a16="http://schemas.microsoft.com/office/drawing/2014/main" id="{C4332CB4-E62E-4149-8DE7-2225C08EE12E}"/>
              </a:ext>
            </a:extLst>
          </p:cNvPr>
          <p:cNvGrpSpPr/>
          <p:nvPr/>
        </p:nvGrpSpPr>
        <p:grpSpPr>
          <a:xfrm>
            <a:off x="3399163" y="4392544"/>
            <a:ext cx="890244" cy="1484542"/>
            <a:chOff x="3684331" y="6883002"/>
            <a:chExt cx="890244" cy="1356063"/>
          </a:xfrm>
        </p:grpSpPr>
        <p:cxnSp>
          <p:nvCxnSpPr>
            <p:cNvPr id="129" name="直接连接符 128">
              <a:extLst>
                <a:ext uri="{FF2B5EF4-FFF2-40B4-BE49-F238E27FC236}">
                  <a16:creationId xmlns:a16="http://schemas.microsoft.com/office/drawing/2014/main" id="{C78B6186-8398-48A7-9ECF-231C41CE46C1}"/>
                </a:ext>
              </a:extLst>
            </p:cNvPr>
            <p:cNvCxnSpPr>
              <a:cxnSpLocks/>
            </p:cNvCxnSpPr>
            <p:nvPr/>
          </p:nvCxnSpPr>
          <p:spPr>
            <a:xfrm flipH="1">
              <a:off x="3684331" y="7561034"/>
              <a:ext cx="890244"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30" name="直接连接符 129">
              <a:extLst>
                <a:ext uri="{FF2B5EF4-FFF2-40B4-BE49-F238E27FC236}">
                  <a16:creationId xmlns:a16="http://schemas.microsoft.com/office/drawing/2014/main" id="{000818C9-E619-4D7D-810C-73168F31CED7}"/>
                </a:ext>
              </a:extLst>
            </p:cNvPr>
            <p:cNvCxnSpPr>
              <a:cxnSpLocks/>
            </p:cNvCxnSpPr>
            <p:nvPr/>
          </p:nvCxnSpPr>
          <p:spPr>
            <a:xfrm flipH="1">
              <a:off x="3684331" y="7222018"/>
              <a:ext cx="371135"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31" name="直接连接符 130">
              <a:extLst>
                <a:ext uri="{FF2B5EF4-FFF2-40B4-BE49-F238E27FC236}">
                  <a16:creationId xmlns:a16="http://schemas.microsoft.com/office/drawing/2014/main" id="{445C8918-8436-40B0-B33E-0FB33C02AC62}"/>
                </a:ext>
              </a:extLst>
            </p:cNvPr>
            <p:cNvCxnSpPr>
              <a:cxnSpLocks/>
            </p:cNvCxnSpPr>
            <p:nvPr/>
          </p:nvCxnSpPr>
          <p:spPr>
            <a:xfrm flipH="1">
              <a:off x="3684331" y="7900049"/>
              <a:ext cx="371135"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28" name="直接连接符 127">
              <a:extLst>
                <a:ext uri="{FF2B5EF4-FFF2-40B4-BE49-F238E27FC236}">
                  <a16:creationId xmlns:a16="http://schemas.microsoft.com/office/drawing/2014/main" id="{C4C6D7AE-563F-4225-88D1-2B3F5BD271E8}"/>
                </a:ext>
              </a:extLst>
            </p:cNvPr>
            <p:cNvCxnSpPr>
              <a:cxnSpLocks/>
            </p:cNvCxnSpPr>
            <p:nvPr/>
          </p:nvCxnSpPr>
          <p:spPr>
            <a:xfrm flipH="1">
              <a:off x="4055466" y="7222018"/>
              <a:ext cx="0" cy="678031"/>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33" name="直接连接符 132">
              <a:extLst>
                <a:ext uri="{FF2B5EF4-FFF2-40B4-BE49-F238E27FC236}">
                  <a16:creationId xmlns:a16="http://schemas.microsoft.com/office/drawing/2014/main" id="{E4D2F8AE-069E-4673-A626-A303A0A6E552}"/>
                </a:ext>
              </a:extLst>
            </p:cNvPr>
            <p:cNvCxnSpPr>
              <a:cxnSpLocks/>
            </p:cNvCxnSpPr>
            <p:nvPr/>
          </p:nvCxnSpPr>
          <p:spPr>
            <a:xfrm flipH="1">
              <a:off x="3684331" y="8239065"/>
              <a:ext cx="371135"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34" name="直接连接符 133">
              <a:extLst>
                <a:ext uri="{FF2B5EF4-FFF2-40B4-BE49-F238E27FC236}">
                  <a16:creationId xmlns:a16="http://schemas.microsoft.com/office/drawing/2014/main" id="{1897C1B1-8AA4-4210-BB7D-A58E688767A5}"/>
                </a:ext>
              </a:extLst>
            </p:cNvPr>
            <p:cNvCxnSpPr>
              <a:cxnSpLocks/>
            </p:cNvCxnSpPr>
            <p:nvPr/>
          </p:nvCxnSpPr>
          <p:spPr>
            <a:xfrm flipH="1">
              <a:off x="4055466" y="7561034"/>
              <a:ext cx="0" cy="678031"/>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35" name="直接连接符 134">
              <a:extLst>
                <a:ext uri="{FF2B5EF4-FFF2-40B4-BE49-F238E27FC236}">
                  <a16:creationId xmlns:a16="http://schemas.microsoft.com/office/drawing/2014/main" id="{9F574F31-1372-4D0E-A001-67BEC2610680}"/>
                </a:ext>
              </a:extLst>
            </p:cNvPr>
            <p:cNvCxnSpPr>
              <a:cxnSpLocks/>
            </p:cNvCxnSpPr>
            <p:nvPr/>
          </p:nvCxnSpPr>
          <p:spPr>
            <a:xfrm flipH="1">
              <a:off x="3684331" y="6883002"/>
              <a:ext cx="371135"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37" name="直接连接符 136">
              <a:extLst>
                <a:ext uri="{FF2B5EF4-FFF2-40B4-BE49-F238E27FC236}">
                  <a16:creationId xmlns:a16="http://schemas.microsoft.com/office/drawing/2014/main" id="{556B4D6F-BDAA-4AAE-A0B5-65C2E94AC802}"/>
                </a:ext>
              </a:extLst>
            </p:cNvPr>
            <p:cNvCxnSpPr>
              <a:cxnSpLocks/>
            </p:cNvCxnSpPr>
            <p:nvPr/>
          </p:nvCxnSpPr>
          <p:spPr>
            <a:xfrm flipH="1">
              <a:off x="4055466" y="6883002"/>
              <a:ext cx="0" cy="678031"/>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sp>
        <p:nvSpPr>
          <p:cNvPr id="107" name="Object 107"/>
          <p:cNvSpPr txBox="1"/>
          <p:nvPr/>
        </p:nvSpPr>
        <p:spPr>
          <a:xfrm>
            <a:off x="5045608" y="612375"/>
            <a:ext cx="2303984" cy="527050"/>
          </a:xfrm>
          <a:prstGeom prst="rect">
            <a:avLst/>
          </a:prstGeom>
        </p:spPr>
        <p:txBody>
          <a:bodyPr vert="horz" rtlCol="0" anchor="t"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3455" b="0" i="0" u="none" strike="noStrike" kern="1200" cap="none" spc="35" normalizeH="0" baseline="0" noProof="0" dirty="0">
                <a:ln>
                  <a:noFill/>
                </a:ln>
                <a:solidFill>
                  <a:srgbClr val="333333"/>
                </a:solidFill>
                <a:effectLst/>
                <a:uLnTx/>
                <a:uFillTx/>
                <a:latin typeface="OPPOSans R" panose="00020600040101010101" pitchFamily="18" charset="-122"/>
                <a:ea typeface="OPPOSans B" panose="00020600040101010101" pitchFamily="18" charset="-122"/>
                <a:cs typeface="OPPOSans B" panose="00020600040101010101" pitchFamily="18" charset="-122"/>
                <a:sym typeface="OPPOSans R" panose="00020600040101010101" pitchFamily="18" charset="-122"/>
              </a:rPr>
              <a:t>秋叶设计</a:t>
            </a:r>
            <a:endParaRPr kumimoji="0" lang="zh-CN" altLang="en-US" sz="900" b="0" i="0" u="none" strike="noStrike" kern="1200" cap="none" spc="0" normalizeH="0" baseline="0" noProof="0" dirty="0">
              <a:ln>
                <a:noFill/>
              </a:ln>
              <a:solidFill>
                <a:srgbClr val="000000"/>
              </a:solidFill>
              <a:effectLst/>
              <a:uLnTx/>
              <a:uFillTx/>
              <a:latin typeface="OPPOSans R" panose="00020600040101010101" pitchFamily="18" charset="-122"/>
              <a:ea typeface="OPPOSans B" panose="00020600040101010101" pitchFamily="18" charset="-122"/>
              <a:cs typeface="OPPOSans B" panose="00020600040101010101" pitchFamily="18" charset="-122"/>
              <a:sym typeface="OPPOSans R" panose="00020600040101010101" pitchFamily="18" charset="-122"/>
            </a:endParaRPr>
          </a:p>
        </p:txBody>
      </p:sp>
      <p:sp>
        <p:nvSpPr>
          <p:cNvPr id="1019" name="Object 1019"/>
          <p:cNvSpPr txBox="1"/>
          <p:nvPr/>
        </p:nvSpPr>
        <p:spPr>
          <a:xfrm>
            <a:off x="759023" y="2366225"/>
            <a:ext cx="1280321" cy="247650"/>
          </a:xfrm>
          <a:prstGeom prst="rect">
            <a:avLst/>
          </a:prstGeom>
        </p:spPr>
        <p:txBody>
          <a:bodyPr vert="horz" rtlCol="0" anchor="t"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zh-CN" altLang="en-US" sz="1635" b="0" i="0" u="none" strike="noStrike" kern="1200" cap="none" spc="16" normalizeH="0" baseline="0" noProof="0" dirty="0">
                <a:ln>
                  <a:noFill/>
                </a:ln>
                <a:solidFill>
                  <a:srgbClr val="2254F4"/>
                </a:solidFill>
                <a:effectLst/>
                <a:uLnTx/>
                <a:uFillTx/>
                <a:latin typeface="OPPOSans R" panose="00020600040101010101" pitchFamily="18" charset="-122"/>
                <a:ea typeface="OPPOSans B" panose="00020600040101010101" pitchFamily="18" charset="-122"/>
                <a:cs typeface="OPPOSans B" panose="00020600040101010101" pitchFamily="18" charset="-122"/>
                <a:sym typeface="OPPOSans R" panose="00020600040101010101" pitchFamily="18" charset="-122"/>
              </a:rPr>
              <a:t>产品经理</a:t>
            </a:r>
            <a:endParaRPr kumimoji="0" lang="zh-CN" altLang="en-US" sz="900" b="0" i="0" u="none" strike="noStrike" kern="1200" cap="none" spc="0" normalizeH="0" baseline="0" noProof="0" dirty="0">
              <a:ln>
                <a:noFill/>
              </a:ln>
              <a:solidFill>
                <a:srgbClr val="2254F4"/>
              </a:solidFill>
              <a:effectLst/>
              <a:uLnTx/>
              <a:uFillTx/>
              <a:latin typeface="OPPOSans R" panose="00020600040101010101" pitchFamily="18" charset="-122"/>
              <a:ea typeface="OPPOSans B" panose="00020600040101010101" pitchFamily="18" charset="-122"/>
              <a:cs typeface="OPPOSans B" panose="00020600040101010101" pitchFamily="18" charset="-122"/>
              <a:sym typeface="OPPOSans R" panose="00020600040101010101" pitchFamily="18" charset="-122"/>
            </a:endParaRPr>
          </a:p>
        </p:txBody>
      </p:sp>
      <p:sp>
        <p:nvSpPr>
          <p:cNvPr id="1020" name="Object 1020"/>
          <p:cNvSpPr txBox="1"/>
          <p:nvPr/>
        </p:nvSpPr>
        <p:spPr>
          <a:xfrm>
            <a:off x="992319" y="3036431"/>
            <a:ext cx="1047020" cy="247650"/>
          </a:xfrm>
          <a:prstGeom prst="rect">
            <a:avLst/>
          </a:prstGeom>
        </p:spPr>
        <p:txBody>
          <a:bodyPr vert="horz" rtlCol="0" anchor="t"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zh-CN" altLang="en-US" sz="1635" b="0" i="0" u="none" strike="noStrike" kern="1200" cap="none" spc="16" normalizeH="0" baseline="0" noProof="0" dirty="0">
                <a:ln>
                  <a:noFill/>
                </a:ln>
                <a:solidFill>
                  <a:srgbClr val="2254F4"/>
                </a:solidFill>
                <a:effectLst/>
                <a:uLnTx/>
                <a:uFillTx/>
                <a:latin typeface="OPPOSans R" panose="00020600040101010101" pitchFamily="18" charset="-122"/>
                <a:ea typeface="OPPOSans B" panose="00020600040101010101" pitchFamily="18" charset="-122"/>
                <a:cs typeface="OPPOSans B" panose="00020600040101010101" pitchFamily="18" charset="-122"/>
                <a:sym typeface="OPPOSans R" panose="00020600040101010101" pitchFamily="18" charset="-122"/>
              </a:rPr>
              <a:t>设计师</a:t>
            </a:r>
            <a:endParaRPr kumimoji="0" lang="zh-CN" altLang="en-US" sz="900" b="0" i="0" u="none" strike="noStrike" kern="1200" cap="none" spc="0" normalizeH="0" baseline="0" noProof="0" dirty="0">
              <a:ln>
                <a:noFill/>
              </a:ln>
              <a:solidFill>
                <a:srgbClr val="2254F4"/>
              </a:solidFill>
              <a:effectLst/>
              <a:uLnTx/>
              <a:uFillTx/>
              <a:latin typeface="OPPOSans R" panose="00020600040101010101" pitchFamily="18" charset="-122"/>
              <a:ea typeface="OPPOSans B" panose="00020600040101010101" pitchFamily="18" charset="-122"/>
              <a:cs typeface="OPPOSans B" panose="00020600040101010101" pitchFamily="18" charset="-122"/>
              <a:sym typeface="OPPOSans R" panose="00020600040101010101" pitchFamily="18" charset="-122"/>
            </a:endParaRPr>
          </a:p>
        </p:txBody>
      </p:sp>
      <p:sp>
        <p:nvSpPr>
          <p:cNvPr id="1039" name="Object 1039"/>
          <p:cNvSpPr txBox="1"/>
          <p:nvPr/>
        </p:nvSpPr>
        <p:spPr>
          <a:xfrm>
            <a:off x="1526025" y="4230357"/>
            <a:ext cx="1747070" cy="247650"/>
          </a:xfrm>
          <a:prstGeom prst="rect">
            <a:avLst/>
          </a:prstGeom>
        </p:spPr>
        <p:txBody>
          <a:bodyPr vert="horz" rtlCol="0" anchor="t"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zh-CN" altLang="en-US" sz="1635" b="0" i="0" u="none" strike="noStrike" kern="1200" cap="none" spc="16" normalizeH="0" baseline="0" noProof="0" dirty="0">
                <a:ln>
                  <a:noFill/>
                </a:ln>
                <a:solidFill>
                  <a:srgbClr val="50C9A8"/>
                </a:solidFill>
                <a:effectLst/>
                <a:uLnTx/>
                <a:uFillTx/>
                <a:latin typeface="OPPOSans R" panose="00020600040101010101" pitchFamily="18" charset="-122"/>
                <a:ea typeface="OPPOSans B" panose="00020600040101010101" pitchFamily="18" charset="-122"/>
                <a:cs typeface="OPPOSans B" panose="00020600040101010101" pitchFamily="18" charset="-122"/>
                <a:sym typeface="OPPOSans R" panose="00020600040101010101" pitchFamily="18" charset="-122"/>
              </a:rPr>
              <a:t>构架师</a:t>
            </a:r>
            <a:endParaRPr kumimoji="0" lang="zh-CN" altLang="en-US" sz="900" b="0" i="0" u="none" strike="noStrike" kern="1200" cap="none" spc="0" normalizeH="0" baseline="0" noProof="0" dirty="0">
              <a:ln>
                <a:noFill/>
              </a:ln>
              <a:solidFill>
                <a:srgbClr val="50C9A8"/>
              </a:solidFill>
              <a:effectLst/>
              <a:uLnTx/>
              <a:uFillTx/>
              <a:latin typeface="OPPOSans R" panose="00020600040101010101" pitchFamily="18" charset="-122"/>
              <a:ea typeface="OPPOSans B" panose="00020600040101010101" pitchFamily="18" charset="-122"/>
              <a:cs typeface="OPPOSans B" panose="00020600040101010101" pitchFamily="18" charset="-122"/>
              <a:sym typeface="OPPOSans R" panose="00020600040101010101" pitchFamily="18" charset="-122"/>
            </a:endParaRPr>
          </a:p>
        </p:txBody>
      </p:sp>
      <p:sp>
        <p:nvSpPr>
          <p:cNvPr id="1040" name="Object 1040"/>
          <p:cNvSpPr txBox="1"/>
          <p:nvPr/>
        </p:nvSpPr>
        <p:spPr>
          <a:xfrm>
            <a:off x="1710608" y="4595262"/>
            <a:ext cx="1562487" cy="247650"/>
          </a:xfrm>
          <a:prstGeom prst="rect">
            <a:avLst/>
          </a:prstGeom>
        </p:spPr>
        <p:txBody>
          <a:bodyPr vert="horz" rtlCol="0" anchor="t"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zh-CN" altLang="en-US" sz="1635" b="0" i="0" u="none" strike="noStrike" kern="1200" cap="none" spc="16" normalizeH="0" baseline="0" noProof="0" dirty="0">
                <a:ln>
                  <a:noFill/>
                </a:ln>
                <a:solidFill>
                  <a:srgbClr val="50C9A8"/>
                </a:solidFill>
                <a:effectLst/>
                <a:uLnTx/>
                <a:uFillTx/>
                <a:latin typeface="OPPOSans R" panose="00020600040101010101" pitchFamily="18" charset="-122"/>
                <a:ea typeface="OPPOSans B" panose="00020600040101010101" pitchFamily="18" charset="-122"/>
                <a:cs typeface="OPPOSans B" panose="00020600040101010101" pitchFamily="18" charset="-122"/>
                <a:sym typeface="OPPOSans R" panose="00020600040101010101" pitchFamily="18" charset="-122"/>
              </a:rPr>
              <a:t>前端工程师</a:t>
            </a:r>
            <a:endParaRPr kumimoji="0" lang="zh-CN" altLang="en-US" sz="900" b="0" i="0" u="none" strike="noStrike" kern="1200" cap="none" spc="0" normalizeH="0" baseline="0" noProof="0">
              <a:ln>
                <a:noFill/>
              </a:ln>
              <a:solidFill>
                <a:srgbClr val="50C9A8"/>
              </a:solidFill>
              <a:effectLst/>
              <a:uLnTx/>
              <a:uFillTx/>
              <a:latin typeface="OPPOSans R" panose="00020600040101010101" pitchFamily="18" charset="-122"/>
              <a:ea typeface="OPPOSans B" panose="00020600040101010101" pitchFamily="18" charset="-122"/>
              <a:cs typeface="OPPOSans B" panose="00020600040101010101" pitchFamily="18" charset="-122"/>
              <a:sym typeface="OPPOSans R" panose="00020600040101010101" pitchFamily="18" charset="-122"/>
            </a:endParaRPr>
          </a:p>
        </p:txBody>
      </p:sp>
      <p:sp>
        <p:nvSpPr>
          <p:cNvPr id="1041" name="Object 1041"/>
          <p:cNvSpPr txBox="1"/>
          <p:nvPr/>
        </p:nvSpPr>
        <p:spPr>
          <a:xfrm>
            <a:off x="1710608" y="4960167"/>
            <a:ext cx="1561979" cy="247650"/>
          </a:xfrm>
          <a:prstGeom prst="rect">
            <a:avLst/>
          </a:prstGeom>
        </p:spPr>
        <p:txBody>
          <a:bodyPr vert="horz" rtlCol="0" anchor="t"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zh-CN" altLang="en-US" sz="1635" b="0" i="0" u="none" strike="noStrike" kern="1200" cap="none" spc="16" normalizeH="0" baseline="0" noProof="0" dirty="0">
                <a:ln>
                  <a:noFill/>
                </a:ln>
                <a:solidFill>
                  <a:srgbClr val="50C9A8"/>
                </a:solidFill>
                <a:effectLst/>
                <a:uLnTx/>
                <a:uFillTx/>
                <a:latin typeface="OPPOSans R" panose="00020600040101010101" pitchFamily="18" charset="-122"/>
                <a:ea typeface="OPPOSans B" panose="00020600040101010101" pitchFamily="18" charset="-122"/>
                <a:cs typeface="OPPOSans B" panose="00020600040101010101" pitchFamily="18" charset="-122"/>
                <a:sym typeface="OPPOSans R" panose="00020600040101010101" pitchFamily="18" charset="-122"/>
              </a:rPr>
              <a:t>开发工程师</a:t>
            </a:r>
            <a:endParaRPr kumimoji="0" lang="zh-CN" altLang="en-US" sz="900" b="0" i="0" u="none" strike="noStrike" kern="1200" cap="none" spc="0" normalizeH="0" baseline="0" noProof="0">
              <a:ln>
                <a:noFill/>
              </a:ln>
              <a:solidFill>
                <a:srgbClr val="50C9A8"/>
              </a:solidFill>
              <a:effectLst/>
              <a:uLnTx/>
              <a:uFillTx/>
              <a:latin typeface="OPPOSans R" panose="00020600040101010101" pitchFamily="18" charset="-122"/>
              <a:ea typeface="OPPOSans B" panose="00020600040101010101" pitchFamily="18" charset="-122"/>
              <a:cs typeface="OPPOSans B" panose="00020600040101010101" pitchFamily="18" charset="-122"/>
              <a:sym typeface="OPPOSans R" panose="00020600040101010101" pitchFamily="18" charset="-122"/>
            </a:endParaRPr>
          </a:p>
        </p:txBody>
      </p:sp>
      <p:sp>
        <p:nvSpPr>
          <p:cNvPr id="1042" name="Object 1042"/>
          <p:cNvSpPr txBox="1"/>
          <p:nvPr/>
        </p:nvSpPr>
        <p:spPr>
          <a:xfrm>
            <a:off x="1714708" y="5325072"/>
            <a:ext cx="1557879" cy="247650"/>
          </a:xfrm>
          <a:prstGeom prst="rect">
            <a:avLst/>
          </a:prstGeom>
        </p:spPr>
        <p:txBody>
          <a:bodyPr vert="horz" rtlCol="0" anchor="t"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zh-CN" altLang="en-US" sz="1635" b="0" i="0" u="none" strike="noStrike" kern="1200" cap="none" spc="16" normalizeH="0" baseline="0" noProof="0" dirty="0">
                <a:ln>
                  <a:noFill/>
                </a:ln>
                <a:solidFill>
                  <a:srgbClr val="50C9A8"/>
                </a:solidFill>
                <a:effectLst/>
                <a:uLnTx/>
                <a:uFillTx/>
                <a:latin typeface="OPPOSans R" panose="00020600040101010101" pitchFamily="18" charset="-122"/>
                <a:ea typeface="OPPOSans B" panose="00020600040101010101" pitchFamily="18" charset="-122"/>
                <a:cs typeface="OPPOSans B" panose="00020600040101010101" pitchFamily="18" charset="-122"/>
                <a:sym typeface="OPPOSans R" panose="00020600040101010101" pitchFamily="18" charset="-122"/>
              </a:rPr>
              <a:t>测试工程师</a:t>
            </a:r>
            <a:endParaRPr kumimoji="0" lang="zh-CN" altLang="en-US" sz="900" b="0" i="0" u="none" strike="noStrike" kern="1200" cap="none" spc="0" normalizeH="0" baseline="0" noProof="0">
              <a:ln>
                <a:noFill/>
              </a:ln>
              <a:solidFill>
                <a:srgbClr val="50C9A8"/>
              </a:solidFill>
              <a:effectLst/>
              <a:uLnTx/>
              <a:uFillTx/>
              <a:latin typeface="OPPOSans R" panose="00020600040101010101" pitchFamily="18" charset="-122"/>
              <a:ea typeface="OPPOSans B" panose="00020600040101010101" pitchFamily="18" charset="-122"/>
              <a:cs typeface="OPPOSans B" panose="00020600040101010101" pitchFamily="18" charset="-122"/>
              <a:sym typeface="OPPOSans R" panose="00020600040101010101" pitchFamily="18" charset="-122"/>
            </a:endParaRPr>
          </a:p>
        </p:txBody>
      </p:sp>
      <p:sp>
        <p:nvSpPr>
          <p:cNvPr id="1043" name="Object 1043"/>
          <p:cNvSpPr txBox="1"/>
          <p:nvPr/>
        </p:nvSpPr>
        <p:spPr>
          <a:xfrm>
            <a:off x="1712586" y="5689976"/>
            <a:ext cx="1559995" cy="247650"/>
          </a:xfrm>
          <a:prstGeom prst="rect">
            <a:avLst/>
          </a:prstGeom>
        </p:spPr>
        <p:txBody>
          <a:bodyPr vert="horz" rtlCol="0" anchor="t"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zh-CN" altLang="en-US" sz="1615" b="0" i="0" u="none" strike="noStrike" kern="1200" cap="none" spc="16" normalizeH="0" baseline="0" noProof="0" dirty="0">
                <a:ln>
                  <a:noFill/>
                </a:ln>
                <a:solidFill>
                  <a:srgbClr val="50C9A8"/>
                </a:solidFill>
                <a:effectLst/>
                <a:uLnTx/>
                <a:uFillTx/>
                <a:latin typeface="OPPOSans R" panose="00020600040101010101" pitchFamily="18" charset="-122"/>
                <a:ea typeface="OPPOSans B" panose="00020600040101010101" pitchFamily="18" charset="-122"/>
                <a:cs typeface="OPPOSans B" panose="00020600040101010101" pitchFamily="18" charset="-122"/>
                <a:sym typeface="OPPOSans R" panose="00020600040101010101" pitchFamily="18" charset="-122"/>
              </a:rPr>
              <a:t>运维工程师</a:t>
            </a:r>
            <a:endParaRPr kumimoji="0" lang="zh-CN" altLang="en-US" sz="900" b="0" i="0" u="none" strike="noStrike" kern="1200" cap="none" spc="0" normalizeH="0" baseline="0" noProof="0" dirty="0">
              <a:ln>
                <a:noFill/>
              </a:ln>
              <a:solidFill>
                <a:srgbClr val="50C9A8"/>
              </a:solidFill>
              <a:effectLst/>
              <a:uLnTx/>
              <a:uFillTx/>
              <a:latin typeface="OPPOSans R" panose="00020600040101010101" pitchFamily="18" charset="-122"/>
              <a:ea typeface="OPPOSans B" panose="00020600040101010101" pitchFamily="18" charset="-122"/>
              <a:cs typeface="OPPOSans B" panose="00020600040101010101" pitchFamily="18" charset="-122"/>
              <a:sym typeface="OPPOSans R" panose="00020600040101010101" pitchFamily="18" charset="-122"/>
            </a:endParaRPr>
          </a:p>
        </p:txBody>
      </p:sp>
      <p:sp>
        <p:nvSpPr>
          <p:cNvPr id="1072" name="Object 1072"/>
          <p:cNvSpPr txBox="1"/>
          <p:nvPr/>
        </p:nvSpPr>
        <p:spPr>
          <a:xfrm>
            <a:off x="10255866" y="2314604"/>
            <a:ext cx="904515" cy="247650"/>
          </a:xfrm>
          <a:prstGeom prst="rect">
            <a:avLst/>
          </a:prstGeom>
        </p:spPr>
        <p:txBody>
          <a:bodyPr vert="horz"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635" b="0" i="0" u="none" strike="noStrike" kern="1200" cap="none" spc="16" normalizeH="0" baseline="0" noProof="0" dirty="0">
                <a:ln>
                  <a:noFill/>
                </a:ln>
                <a:solidFill>
                  <a:srgbClr val="F77272"/>
                </a:solidFill>
                <a:effectLst/>
                <a:uLnTx/>
                <a:uFillTx/>
                <a:latin typeface="OPPOSans R" panose="00020600040101010101" pitchFamily="18" charset="-122"/>
                <a:ea typeface="OPPOSans B" panose="00020600040101010101" pitchFamily="18" charset="-122"/>
                <a:cs typeface="OPPOSans B" panose="00020600040101010101" pitchFamily="18" charset="-122"/>
                <a:sym typeface="OPPOSans R" panose="00020600040101010101" pitchFamily="18" charset="-122"/>
              </a:rPr>
              <a:t>拉新</a:t>
            </a:r>
            <a:endParaRPr kumimoji="0" lang="zh-CN" altLang="en-US" sz="900" b="0" i="0" u="none" strike="noStrike" kern="1200" cap="none" spc="0" normalizeH="0" baseline="0" noProof="0" dirty="0">
              <a:ln>
                <a:noFill/>
              </a:ln>
              <a:solidFill>
                <a:srgbClr val="F77272"/>
              </a:solidFill>
              <a:effectLst/>
              <a:uLnTx/>
              <a:uFillTx/>
              <a:latin typeface="OPPOSans R" panose="00020600040101010101" pitchFamily="18" charset="-122"/>
              <a:ea typeface="OPPOSans B" panose="00020600040101010101" pitchFamily="18" charset="-122"/>
              <a:cs typeface="OPPOSans B" panose="00020600040101010101" pitchFamily="18" charset="-122"/>
              <a:sym typeface="OPPOSans R" panose="00020600040101010101" pitchFamily="18" charset="-122"/>
            </a:endParaRPr>
          </a:p>
        </p:txBody>
      </p:sp>
      <p:sp>
        <p:nvSpPr>
          <p:cNvPr id="1073" name="Object 1073"/>
          <p:cNvSpPr txBox="1"/>
          <p:nvPr/>
        </p:nvSpPr>
        <p:spPr>
          <a:xfrm>
            <a:off x="10251769" y="2710608"/>
            <a:ext cx="908612" cy="247650"/>
          </a:xfrm>
          <a:prstGeom prst="rect">
            <a:avLst/>
          </a:prstGeom>
        </p:spPr>
        <p:txBody>
          <a:bodyPr vert="horz"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635" b="0" i="0" u="none" strike="noStrike" kern="1200" cap="none" spc="16" normalizeH="0" baseline="0" noProof="0" dirty="0">
                <a:ln>
                  <a:noFill/>
                </a:ln>
                <a:solidFill>
                  <a:srgbClr val="F77272"/>
                </a:solidFill>
                <a:effectLst/>
                <a:uLnTx/>
                <a:uFillTx/>
                <a:latin typeface="OPPOSans R" panose="00020600040101010101" pitchFamily="18" charset="-122"/>
                <a:ea typeface="OPPOSans B" panose="00020600040101010101" pitchFamily="18" charset="-122"/>
                <a:cs typeface="OPPOSans B" panose="00020600040101010101" pitchFamily="18" charset="-122"/>
                <a:sym typeface="OPPOSans R" panose="00020600040101010101" pitchFamily="18" charset="-122"/>
              </a:rPr>
              <a:t>留存</a:t>
            </a:r>
            <a:endParaRPr kumimoji="0" lang="zh-CN" altLang="en-US" sz="900" b="0" i="0" u="none" strike="noStrike" kern="1200" cap="none" spc="0" normalizeH="0" baseline="0" noProof="0" dirty="0">
              <a:ln>
                <a:noFill/>
              </a:ln>
              <a:solidFill>
                <a:srgbClr val="F77272"/>
              </a:solidFill>
              <a:effectLst/>
              <a:uLnTx/>
              <a:uFillTx/>
              <a:latin typeface="OPPOSans R" panose="00020600040101010101" pitchFamily="18" charset="-122"/>
              <a:ea typeface="OPPOSans B" panose="00020600040101010101" pitchFamily="18" charset="-122"/>
              <a:cs typeface="OPPOSans B" panose="00020600040101010101" pitchFamily="18" charset="-122"/>
              <a:sym typeface="OPPOSans R" panose="00020600040101010101" pitchFamily="18" charset="-122"/>
            </a:endParaRPr>
          </a:p>
        </p:txBody>
      </p:sp>
      <p:sp>
        <p:nvSpPr>
          <p:cNvPr id="1074" name="Object 1074"/>
          <p:cNvSpPr txBox="1"/>
          <p:nvPr/>
        </p:nvSpPr>
        <p:spPr>
          <a:xfrm>
            <a:off x="10242705" y="3112252"/>
            <a:ext cx="917673" cy="247650"/>
          </a:xfrm>
          <a:prstGeom prst="rect">
            <a:avLst/>
          </a:prstGeom>
        </p:spPr>
        <p:txBody>
          <a:bodyPr vert="horz"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635" b="0" i="0" u="none" strike="noStrike" kern="1200" cap="none" spc="16" normalizeH="0" baseline="0" noProof="0" dirty="0">
                <a:ln>
                  <a:noFill/>
                </a:ln>
                <a:solidFill>
                  <a:srgbClr val="F77272"/>
                </a:solidFill>
                <a:effectLst/>
                <a:uLnTx/>
                <a:uFillTx/>
                <a:latin typeface="OPPOSans R" panose="00020600040101010101" pitchFamily="18" charset="-122"/>
                <a:ea typeface="OPPOSans B" panose="00020600040101010101" pitchFamily="18" charset="-122"/>
                <a:cs typeface="OPPOSans B" panose="00020600040101010101" pitchFamily="18" charset="-122"/>
                <a:sym typeface="OPPOSans R" panose="00020600040101010101" pitchFamily="18" charset="-122"/>
              </a:rPr>
              <a:t>促活</a:t>
            </a:r>
            <a:endParaRPr kumimoji="0" lang="zh-CN" altLang="en-US" sz="900" b="0" i="0" u="none" strike="noStrike" kern="1200" cap="none" spc="0" normalizeH="0" baseline="0" noProof="0">
              <a:ln>
                <a:noFill/>
              </a:ln>
              <a:solidFill>
                <a:srgbClr val="F77272"/>
              </a:solidFill>
              <a:effectLst/>
              <a:uLnTx/>
              <a:uFillTx/>
              <a:latin typeface="OPPOSans R" panose="00020600040101010101" pitchFamily="18" charset="-122"/>
              <a:ea typeface="OPPOSans B" panose="00020600040101010101" pitchFamily="18" charset="-122"/>
              <a:cs typeface="OPPOSans B" panose="00020600040101010101" pitchFamily="18" charset="-122"/>
              <a:sym typeface="OPPOSans R" panose="00020600040101010101" pitchFamily="18" charset="-122"/>
            </a:endParaRPr>
          </a:p>
        </p:txBody>
      </p:sp>
      <p:grpSp>
        <p:nvGrpSpPr>
          <p:cNvPr id="30" name="组合 29">
            <a:extLst>
              <a:ext uri="{FF2B5EF4-FFF2-40B4-BE49-F238E27FC236}">
                <a16:creationId xmlns:a16="http://schemas.microsoft.com/office/drawing/2014/main" id="{FB19E671-2359-4837-B886-3C41E0A4992C}"/>
              </a:ext>
            </a:extLst>
          </p:cNvPr>
          <p:cNvGrpSpPr/>
          <p:nvPr/>
        </p:nvGrpSpPr>
        <p:grpSpPr>
          <a:xfrm>
            <a:off x="4912744" y="1680653"/>
            <a:ext cx="2366512" cy="2366512"/>
            <a:chOff x="4966443" y="1611203"/>
            <a:chExt cx="2366512" cy="2366512"/>
          </a:xfrm>
        </p:grpSpPr>
        <p:sp>
          <p:nvSpPr>
            <p:cNvPr id="81" name="Oval 3_1_1">
              <a:extLst>
                <a:ext uri="{FF2B5EF4-FFF2-40B4-BE49-F238E27FC236}">
                  <a16:creationId xmlns:a16="http://schemas.microsoft.com/office/drawing/2014/main" id="{08B1424A-C523-43E3-A972-6FC11BA40356}"/>
                </a:ext>
              </a:extLst>
            </p:cNvPr>
            <p:cNvSpPr/>
            <p:nvPr/>
          </p:nvSpPr>
          <p:spPr>
            <a:xfrm>
              <a:off x="4966443" y="1611203"/>
              <a:ext cx="2366512" cy="2366512"/>
            </a:xfrm>
            <a:prstGeom prst="ellipse">
              <a:avLst/>
            </a:prstGeom>
            <a:solidFill>
              <a:schemeClr val="bg1"/>
            </a:solidFill>
            <a:ln w="19050">
              <a:solidFill>
                <a:schemeClr val="bg1">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5720" tIns="22860" rIns="45720" bIns="228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OPPOSans R" panose="00020600040101010101" pitchFamily="18" charset="-122"/>
                <a:ea typeface="OPPOSans B" panose="00020600040101010101" pitchFamily="18" charset="-122"/>
                <a:cs typeface="OPPOSans B" panose="00020600040101010101" pitchFamily="18" charset="-122"/>
              </a:endParaRPr>
            </a:p>
          </p:txBody>
        </p:sp>
        <p:sp>
          <p:nvSpPr>
            <p:cNvPr id="80" name="Oval 3_1">
              <a:extLst>
                <a:ext uri="{FF2B5EF4-FFF2-40B4-BE49-F238E27FC236}">
                  <a16:creationId xmlns:a16="http://schemas.microsoft.com/office/drawing/2014/main" id="{6D6525D6-8869-479E-8873-45E5B971CC51}"/>
                </a:ext>
              </a:extLst>
            </p:cNvPr>
            <p:cNvSpPr/>
            <p:nvPr/>
          </p:nvSpPr>
          <p:spPr>
            <a:xfrm>
              <a:off x="5170629" y="1815389"/>
              <a:ext cx="1958140" cy="1958140"/>
            </a:xfrm>
            <a:prstGeom prst="ellipse">
              <a:avLst/>
            </a:prstGeom>
            <a:solidFill>
              <a:schemeClr val="bg1">
                <a:lumMod val="95000"/>
              </a:schemeClr>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5720" tIns="22860" rIns="45720" bIns="228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OPPOSans R" panose="00020600040101010101" pitchFamily="18" charset="-122"/>
                <a:ea typeface="OPPOSans B" panose="00020600040101010101" pitchFamily="18" charset="-122"/>
                <a:cs typeface="OPPOSans B" panose="00020600040101010101" pitchFamily="18" charset="-122"/>
              </a:endParaRPr>
            </a:p>
          </p:txBody>
        </p:sp>
        <p:sp>
          <p:nvSpPr>
            <p:cNvPr id="4" name="椭圆 3">
              <a:extLst>
                <a:ext uri="{FF2B5EF4-FFF2-40B4-BE49-F238E27FC236}">
                  <a16:creationId xmlns:a16="http://schemas.microsoft.com/office/drawing/2014/main" id="{399E915E-9CA9-4D22-A110-78B4BAFFA493}"/>
                </a:ext>
              </a:extLst>
            </p:cNvPr>
            <p:cNvSpPr/>
            <p:nvPr/>
          </p:nvSpPr>
          <p:spPr>
            <a:xfrm>
              <a:off x="5326587" y="1971347"/>
              <a:ext cx="1646224" cy="1646224"/>
            </a:xfrm>
            <a:prstGeom prst="ellipse">
              <a:avLst/>
            </a:prstGeom>
            <a:gradFill flip="none" rotWithShape="1">
              <a:gsLst>
                <a:gs pos="0">
                  <a:schemeClr val="accent6"/>
                </a:gs>
                <a:gs pos="100000">
                  <a:schemeClr val="accent6">
                    <a:lumMod val="60000"/>
                    <a:lumOff val="40000"/>
                  </a:schemeClr>
                </a:gs>
              </a:gsLst>
              <a:lin ang="162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5720" tIns="22860" rIns="45720" bIns="228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OPPOSans R" panose="00020600040101010101" pitchFamily="18" charset="-122"/>
                <a:ea typeface="OPPOSans B" panose="00020600040101010101" pitchFamily="18" charset="-122"/>
                <a:cs typeface="OPPOSans B" panose="00020600040101010101" pitchFamily="18" charset="-122"/>
              </a:endParaRPr>
            </a:p>
          </p:txBody>
        </p:sp>
      </p:grpSp>
      <p:grpSp>
        <p:nvGrpSpPr>
          <p:cNvPr id="31" name="组合 30">
            <a:extLst>
              <a:ext uri="{FF2B5EF4-FFF2-40B4-BE49-F238E27FC236}">
                <a16:creationId xmlns:a16="http://schemas.microsoft.com/office/drawing/2014/main" id="{DD2B62C6-4FBF-4D19-BD4B-320361448112}"/>
              </a:ext>
            </a:extLst>
          </p:cNvPr>
          <p:cNvGrpSpPr/>
          <p:nvPr/>
        </p:nvGrpSpPr>
        <p:grpSpPr>
          <a:xfrm>
            <a:off x="2810816" y="2158870"/>
            <a:ext cx="6570368" cy="1410078"/>
            <a:chOff x="2860081" y="2089420"/>
            <a:chExt cx="6570368" cy="1410078"/>
          </a:xfrm>
        </p:grpSpPr>
        <p:sp>
          <p:nvSpPr>
            <p:cNvPr id="82" name="Oval 3_1">
              <a:extLst>
                <a:ext uri="{FF2B5EF4-FFF2-40B4-BE49-F238E27FC236}">
                  <a16:creationId xmlns:a16="http://schemas.microsoft.com/office/drawing/2014/main" id="{D8097638-FB31-4DB1-A9BC-B24B1A76A25F}"/>
                </a:ext>
              </a:extLst>
            </p:cNvPr>
            <p:cNvSpPr/>
            <p:nvPr/>
          </p:nvSpPr>
          <p:spPr>
            <a:xfrm>
              <a:off x="2860081" y="2089420"/>
              <a:ext cx="1410078" cy="1410078"/>
            </a:xfrm>
            <a:prstGeom prst="ellipse">
              <a:avLst/>
            </a:prstGeom>
            <a:solidFill>
              <a:schemeClr val="bg1"/>
            </a:solidFill>
            <a:ln w="19050">
              <a:solidFill>
                <a:schemeClr val="bg1">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5720" tIns="22860" rIns="45720" bIns="228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OPPOSans R" panose="00020600040101010101" pitchFamily="18" charset="-122"/>
                <a:ea typeface="OPPOSans B" panose="00020600040101010101" pitchFamily="18" charset="-122"/>
                <a:cs typeface="OPPOSans B" panose="00020600040101010101" pitchFamily="18" charset="-122"/>
              </a:endParaRPr>
            </a:p>
          </p:txBody>
        </p:sp>
        <p:sp>
          <p:nvSpPr>
            <p:cNvPr id="83" name="Oval 3_1">
              <a:extLst>
                <a:ext uri="{FF2B5EF4-FFF2-40B4-BE49-F238E27FC236}">
                  <a16:creationId xmlns:a16="http://schemas.microsoft.com/office/drawing/2014/main" id="{163EFB5E-F072-4206-B016-A8CFED2BFA1C}"/>
                </a:ext>
              </a:extLst>
            </p:cNvPr>
            <p:cNvSpPr/>
            <p:nvPr/>
          </p:nvSpPr>
          <p:spPr>
            <a:xfrm>
              <a:off x="8020371" y="2089420"/>
              <a:ext cx="1410078" cy="1410078"/>
            </a:xfrm>
            <a:prstGeom prst="ellipse">
              <a:avLst/>
            </a:prstGeom>
            <a:solidFill>
              <a:schemeClr val="bg1"/>
            </a:solidFill>
            <a:ln w="19050">
              <a:solidFill>
                <a:schemeClr val="bg1">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5720" tIns="22860" rIns="45720" bIns="228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OPPOSans R" panose="00020600040101010101" pitchFamily="18" charset="-122"/>
                <a:ea typeface="OPPOSans B" panose="00020600040101010101" pitchFamily="18" charset="-122"/>
                <a:cs typeface="OPPOSans B" panose="00020600040101010101" pitchFamily="18" charset="-122"/>
              </a:endParaRPr>
            </a:p>
          </p:txBody>
        </p:sp>
        <p:sp>
          <p:nvSpPr>
            <p:cNvPr id="84" name="Oval 3_1_2">
              <a:extLst>
                <a:ext uri="{FF2B5EF4-FFF2-40B4-BE49-F238E27FC236}">
                  <a16:creationId xmlns:a16="http://schemas.microsoft.com/office/drawing/2014/main" id="{1DB0886C-DFCD-4132-BB78-A8964936609E}"/>
                </a:ext>
              </a:extLst>
            </p:cNvPr>
            <p:cNvSpPr/>
            <p:nvPr/>
          </p:nvSpPr>
          <p:spPr>
            <a:xfrm>
              <a:off x="2986732" y="2216071"/>
              <a:ext cx="1156776" cy="1156776"/>
            </a:xfrm>
            <a:prstGeom prst="ellipse">
              <a:avLst/>
            </a:prstGeom>
            <a:gradFill flip="none" rotWithShape="1">
              <a:gsLst>
                <a:gs pos="0">
                  <a:schemeClr val="accent1"/>
                </a:gs>
                <a:gs pos="100000">
                  <a:schemeClr val="accent1">
                    <a:lumMod val="60000"/>
                    <a:lumOff val="40000"/>
                  </a:schemeClr>
                </a:gs>
              </a:gsLst>
              <a:lin ang="162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5720" tIns="22860" rIns="45720" bIns="228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OPPOSans R" panose="00020600040101010101" pitchFamily="18" charset="-122"/>
                <a:ea typeface="OPPOSans B" panose="00020600040101010101" pitchFamily="18" charset="-122"/>
                <a:cs typeface="OPPOSans B" panose="00020600040101010101" pitchFamily="18" charset="-122"/>
              </a:endParaRPr>
            </a:p>
          </p:txBody>
        </p:sp>
        <p:sp>
          <p:nvSpPr>
            <p:cNvPr id="85" name="Oval 3_1_3">
              <a:extLst>
                <a:ext uri="{FF2B5EF4-FFF2-40B4-BE49-F238E27FC236}">
                  <a16:creationId xmlns:a16="http://schemas.microsoft.com/office/drawing/2014/main" id="{C133E712-A092-4039-BF04-C5B97A5199B5}"/>
                </a:ext>
              </a:extLst>
            </p:cNvPr>
            <p:cNvSpPr/>
            <p:nvPr/>
          </p:nvSpPr>
          <p:spPr>
            <a:xfrm>
              <a:off x="8147022" y="2216071"/>
              <a:ext cx="1156776" cy="1156776"/>
            </a:xfrm>
            <a:prstGeom prst="ellipse">
              <a:avLst/>
            </a:prstGeom>
            <a:gradFill flip="none" rotWithShape="1">
              <a:gsLst>
                <a:gs pos="0">
                  <a:schemeClr val="accent4">
                    <a:lumMod val="75000"/>
                  </a:schemeClr>
                </a:gs>
                <a:gs pos="100000">
                  <a:schemeClr val="accent4"/>
                </a:gs>
              </a:gsLst>
              <a:lin ang="162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5720" tIns="22860" rIns="45720" bIns="228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Arial" panose="020F0502020204030204"/>
                <a:ea typeface="微软雅黑"/>
                <a:cs typeface="+mn-cs"/>
              </a:endParaRPr>
            </a:p>
          </p:txBody>
        </p:sp>
      </p:grpSp>
      <p:grpSp>
        <p:nvGrpSpPr>
          <p:cNvPr id="32" name="组合 31">
            <a:extLst>
              <a:ext uri="{FF2B5EF4-FFF2-40B4-BE49-F238E27FC236}">
                <a16:creationId xmlns:a16="http://schemas.microsoft.com/office/drawing/2014/main" id="{02E81119-FBB0-4088-8C0E-C388A8BEC3AA}"/>
              </a:ext>
            </a:extLst>
          </p:cNvPr>
          <p:cNvGrpSpPr/>
          <p:nvPr/>
        </p:nvGrpSpPr>
        <p:grpSpPr>
          <a:xfrm>
            <a:off x="4188254" y="4459173"/>
            <a:ext cx="3815493" cy="1410078"/>
            <a:chOff x="4230860" y="4389723"/>
            <a:chExt cx="3815493" cy="1410078"/>
          </a:xfrm>
        </p:grpSpPr>
        <p:sp>
          <p:nvSpPr>
            <p:cNvPr id="86" name="Oval 3_1">
              <a:extLst>
                <a:ext uri="{FF2B5EF4-FFF2-40B4-BE49-F238E27FC236}">
                  <a16:creationId xmlns:a16="http://schemas.microsoft.com/office/drawing/2014/main" id="{71D7D866-2C55-4E0D-8643-8C3C545D54A6}"/>
                </a:ext>
              </a:extLst>
            </p:cNvPr>
            <p:cNvSpPr/>
            <p:nvPr/>
          </p:nvSpPr>
          <p:spPr>
            <a:xfrm>
              <a:off x="6636275" y="4389723"/>
              <a:ext cx="1410078" cy="1410078"/>
            </a:xfrm>
            <a:prstGeom prst="ellipse">
              <a:avLst/>
            </a:prstGeom>
            <a:solidFill>
              <a:schemeClr val="bg1"/>
            </a:solidFill>
            <a:ln w="19050">
              <a:solidFill>
                <a:schemeClr val="bg1">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5720" tIns="22860" rIns="45720" bIns="228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OPPOSans R" panose="00020600040101010101" pitchFamily="18" charset="-122"/>
                <a:ea typeface="OPPOSans B" panose="00020600040101010101" pitchFamily="18" charset="-122"/>
                <a:cs typeface="OPPOSans B" panose="00020600040101010101" pitchFamily="18" charset="-122"/>
              </a:endParaRPr>
            </a:p>
          </p:txBody>
        </p:sp>
        <p:sp>
          <p:nvSpPr>
            <p:cNvPr id="87" name="Oval 3_1_3">
              <a:extLst>
                <a:ext uri="{FF2B5EF4-FFF2-40B4-BE49-F238E27FC236}">
                  <a16:creationId xmlns:a16="http://schemas.microsoft.com/office/drawing/2014/main" id="{AB6F60D7-B78F-441A-8682-E7592974991B}"/>
                </a:ext>
              </a:extLst>
            </p:cNvPr>
            <p:cNvSpPr/>
            <p:nvPr/>
          </p:nvSpPr>
          <p:spPr>
            <a:xfrm>
              <a:off x="6762926" y="4516374"/>
              <a:ext cx="1156776" cy="1156776"/>
            </a:xfrm>
            <a:prstGeom prst="ellipse">
              <a:avLst/>
            </a:prstGeom>
            <a:gradFill flip="none" rotWithShape="1">
              <a:gsLst>
                <a:gs pos="0">
                  <a:schemeClr val="accent2"/>
                </a:gs>
                <a:gs pos="100000">
                  <a:schemeClr val="accent2">
                    <a:lumMod val="60000"/>
                    <a:lumOff val="40000"/>
                  </a:schemeClr>
                </a:gs>
              </a:gsLst>
              <a:lin ang="162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5720" tIns="22860" rIns="45720" bIns="228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OPPOSans R" panose="00020600040101010101" pitchFamily="18" charset="-122"/>
                <a:ea typeface="OPPOSans B" panose="00020600040101010101" pitchFamily="18" charset="-122"/>
                <a:cs typeface="OPPOSans B" panose="00020600040101010101" pitchFamily="18" charset="-122"/>
              </a:endParaRPr>
            </a:p>
          </p:txBody>
        </p:sp>
        <p:sp>
          <p:nvSpPr>
            <p:cNvPr id="88" name="Oval 3_1">
              <a:extLst>
                <a:ext uri="{FF2B5EF4-FFF2-40B4-BE49-F238E27FC236}">
                  <a16:creationId xmlns:a16="http://schemas.microsoft.com/office/drawing/2014/main" id="{4C8AB235-D1C0-428B-A1BF-800796D64FE0}"/>
                </a:ext>
              </a:extLst>
            </p:cNvPr>
            <p:cNvSpPr/>
            <p:nvPr/>
          </p:nvSpPr>
          <p:spPr>
            <a:xfrm>
              <a:off x="4230860" y="4389723"/>
              <a:ext cx="1410078" cy="1410078"/>
            </a:xfrm>
            <a:prstGeom prst="ellipse">
              <a:avLst/>
            </a:prstGeom>
            <a:solidFill>
              <a:schemeClr val="bg1"/>
            </a:solidFill>
            <a:ln w="19050">
              <a:solidFill>
                <a:schemeClr val="bg1">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5720" tIns="22860" rIns="45720" bIns="228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OPPOSans R" panose="00020600040101010101" pitchFamily="18" charset="-122"/>
                <a:ea typeface="OPPOSans B" panose="00020600040101010101" pitchFamily="18" charset="-122"/>
                <a:cs typeface="OPPOSans B" panose="00020600040101010101" pitchFamily="18" charset="-122"/>
              </a:endParaRPr>
            </a:p>
          </p:txBody>
        </p:sp>
        <p:sp>
          <p:nvSpPr>
            <p:cNvPr id="89" name="Oval 3_1_3">
              <a:extLst>
                <a:ext uri="{FF2B5EF4-FFF2-40B4-BE49-F238E27FC236}">
                  <a16:creationId xmlns:a16="http://schemas.microsoft.com/office/drawing/2014/main" id="{D779CF60-E479-4032-861A-A2A9E47F1D4E}"/>
                </a:ext>
              </a:extLst>
            </p:cNvPr>
            <p:cNvSpPr/>
            <p:nvPr/>
          </p:nvSpPr>
          <p:spPr>
            <a:xfrm>
              <a:off x="4357511" y="4516374"/>
              <a:ext cx="1156776" cy="1156776"/>
            </a:xfrm>
            <a:prstGeom prst="ellipse">
              <a:avLst/>
            </a:prstGeom>
            <a:gradFill flip="none" rotWithShape="1">
              <a:gsLst>
                <a:gs pos="0">
                  <a:schemeClr val="accent3"/>
                </a:gs>
                <a:gs pos="100000">
                  <a:schemeClr val="accent3">
                    <a:lumMod val="60000"/>
                    <a:lumOff val="40000"/>
                  </a:schemeClr>
                </a:gs>
              </a:gsLst>
              <a:lin ang="162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5720" tIns="22860" rIns="45720" bIns="228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OPPOSans R" panose="00020600040101010101" pitchFamily="18" charset="-122"/>
                <a:ea typeface="OPPOSans B" panose="00020600040101010101" pitchFamily="18" charset="-122"/>
                <a:cs typeface="OPPOSans B" panose="00020600040101010101" pitchFamily="18" charset="-122"/>
              </a:endParaRPr>
            </a:p>
          </p:txBody>
        </p:sp>
      </p:grpSp>
      <p:sp>
        <p:nvSpPr>
          <p:cNvPr id="150" name="Object 1057">
            <a:extLst>
              <a:ext uri="{FF2B5EF4-FFF2-40B4-BE49-F238E27FC236}">
                <a16:creationId xmlns:a16="http://schemas.microsoft.com/office/drawing/2014/main" id="{F2F262C1-FDA3-4D16-AC4C-711E41841D62}"/>
              </a:ext>
            </a:extLst>
          </p:cNvPr>
          <p:cNvSpPr txBox="1"/>
          <p:nvPr/>
        </p:nvSpPr>
        <p:spPr>
          <a:xfrm>
            <a:off x="8884128" y="4619709"/>
            <a:ext cx="1167341" cy="247650"/>
          </a:xfrm>
          <a:prstGeom prst="rect">
            <a:avLst/>
          </a:prstGeom>
        </p:spPr>
        <p:txBody>
          <a:bodyPr vert="horz"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635" b="0" i="0" u="none" strike="noStrike" kern="1200" cap="none" spc="16" normalizeH="0" baseline="0" noProof="0" dirty="0">
                <a:ln>
                  <a:noFill/>
                </a:ln>
                <a:solidFill>
                  <a:srgbClr val="795FE5"/>
                </a:solidFill>
                <a:effectLst/>
                <a:uLnTx/>
                <a:uFillTx/>
                <a:latin typeface="OPPOSans R" panose="00020600040101010101" pitchFamily="18" charset="-122"/>
                <a:ea typeface="OPPOSans B" panose="00020600040101010101" pitchFamily="18" charset="-122"/>
                <a:cs typeface="OPPOSans B" panose="00020600040101010101" pitchFamily="18" charset="-122"/>
                <a:sym typeface="OPPOSans R" panose="00020600040101010101" pitchFamily="18" charset="-122"/>
              </a:rPr>
              <a:t>商务</a:t>
            </a:r>
            <a:r>
              <a:rPr kumimoji="0" lang="en-US" altLang="zh-CN" sz="1635" b="0" i="0" u="none" strike="noStrike" kern="1200" cap="none" spc="16" normalizeH="0" baseline="0" noProof="0" dirty="0">
                <a:ln>
                  <a:noFill/>
                </a:ln>
                <a:solidFill>
                  <a:srgbClr val="795FE5"/>
                </a:solidFill>
                <a:effectLst/>
                <a:uLnTx/>
                <a:uFillTx/>
                <a:latin typeface="OPPOSans R" panose="00020600040101010101" pitchFamily="18" charset="-122"/>
                <a:ea typeface="OPPOSans B" panose="00020600040101010101" pitchFamily="18" charset="-122"/>
                <a:cs typeface="OPPOSans B" panose="00020600040101010101" pitchFamily="18" charset="-122"/>
                <a:sym typeface="OPPOSans R" panose="00020600040101010101" pitchFamily="18" charset="-122"/>
              </a:rPr>
              <a:t>BD</a:t>
            </a:r>
            <a:endParaRPr kumimoji="0" lang="zh-CN" altLang="en-US" sz="900" b="0" i="0" u="none" strike="noStrike" kern="1200" cap="none" spc="0" normalizeH="0" baseline="0" noProof="0" dirty="0">
              <a:ln>
                <a:noFill/>
              </a:ln>
              <a:solidFill>
                <a:srgbClr val="795FE5"/>
              </a:solidFill>
              <a:effectLst/>
              <a:uLnTx/>
              <a:uFillTx/>
              <a:latin typeface="OPPOSans R" panose="00020600040101010101" pitchFamily="18" charset="-122"/>
              <a:ea typeface="OPPOSans B" panose="00020600040101010101" pitchFamily="18" charset="-122"/>
              <a:cs typeface="OPPOSans B" panose="00020600040101010101" pitchFamily="18" charset="-122"/>
              <a:sym typeface="OPPOSans R" panose="00020600040101010101" pitchFamily="18" charset="-122"/>
            </a:endParaRPr>
          </a:p>
        </p:txBody>
      </p:sp>
      <p:sp>
        <p:nvSpPr>
          <p:cNvPr id="151" name="Object 1058">
            <a:extLst>
              <a:ext uri="{FF2B5EF4-FFF2-40B4-BE49-F238E27FC236}">
                <a16:creationId xmlns:a16="http://schemas.microsoft.com/office/drawing/2014/main" id="{1F9858DE-6260-4629-9DE7-D1C60D35E5CA}"/>
              </a:ext>
            </a:extLst>
          </p:cNvPr>
          <p:cNvSpPr txBox="1"/>
          <p:nvPr/>
        </p:nvSpPr>
        <p:spPr>
          <a:xfrm>
            <a:off x="8876946" y="5002211"/>
            <a:ext cx="1174521" cy="247650"/>
          </a:xfrm>
          <a:prstGeom prst="rect">
            <a:avLst/>
          </a:prstGeom>
        </p:spPr>
        <p:txBody>
          <a:bodyPr vert="horz"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635" b="0" i="0" u="none" strike="noStrike" kern="1200" cap="none" spc="16" normalizeH="0" baseline="0" noProof="0" dirty="0">
                <a:ln>
                  <a:noFill/>
                </a:ln>
                <a:solidFill>
                  <a:srgbClr val="795FE5"/>
                </a:solidFill>
                <a:effectLst/>
                <a:uLnTx/>
                <a:uFillTx/>
                <a:latin typeface="OPPOSans R" panose="00020600040101010101" pitchFamily="18" charset="-122"/>
                <a:ea typeface="OPPOSans B" panose="00020600040101010101" pitchFamily="18" charset="-122"/>
                <a:cs typeface="OPPOSans B" panose="00020600040101010101" pitchFamily="18" charset="-122"/>
                <a:sym typeface="OPPOSans R" panose="00020600040101010101" pitchFamily="18" charset="-122"/>
              </a:rPr>
              <a:t>销售</a:t>
            </a:r>
            <a:endParaRPr kumimoji="0" lang="zh-CN" altLang="en-US" sz="900" b="0" i="0" u="none" strike="noStrike" kern="1200" cap="none" spc="0" normalizeH="0" baseline="0" noProof="0" dirty="0">
              <a:ln>
                <a:noFill/>
              </a:ln>
              <a:solidFill>
                <a:srgbClr val="795FE5"/>
              </a:solidFill>
              <a:effectLst/>
              <a:uLnTx/>
              <a:uFillTx/>
              <a:latin typeface="OPPOSans R" panose="00020600040101010101" pitchFamily="18" charset="-122"/>
              <a:ea typeface="OPPOSans B" panose="00020600040101010101" pitchFamily="18" charset="-122"/>
              <a:cs typeface="OPPOSans B" panose="00020600040101010101" pitchFamily="18" charset="-122"/>
              <a:sym typeface="OPPOSans R" panose="00020600040101010101" pitchFamily="18" charset="-122"/>
            </a:endParaRPr>
          </a:p>
        </p:txBody>
      </p:sp>
      <p:sp>
        <p:nvSpPr>
          <p:cNvPr id="152" name="Object 1059">
            <a:extLst>
              <a:ext uri="{FF2B5EF4-FFF2-40B4-BE49-F238E27FC236}">
                <a16:creationId xmlns:a16="http://schemas.microsoft.com/office/drawing/2014/main" id="{E0A2479C-77F8-4D41-890F-94867513FCD0}"/>
              </a:ext>
            </a:extLst>
          </p:cNvPr>
          <p:cNvSpPr txBox="1"/>
          <p:nvPr/>
        </p:nvSpPr>
        <p:spPr>
          <a:xfrm>
            <a:off x="8873187" y="5399923"/>
            <a:ext cx="1288515" cy="247650"/>
          </a:xfrm>
          <a:prstGeom prst="rect">
            <a:avLst/>
          </a:prstGeom>
        </p:spPr>
        <p:txBody>
          <a:bodyPr vert="horz"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635" b="0" i="0" u="none" strike="noStrike" kern="1200" cap="none" spc="16" normalizeH="0" baseline="0" noProof="0" dirty="0">
                <a:ln>
                  <a:noFill/>
                </a:ln>
                <a:solidFill>
                  <a:srgbClr val="795FE5"/>
                </a:solidFill>
                <a:effectLst/>
                <a:uLnTx/>
                <a:uFillTx/>
                <a:latin typeface="OPPOSans R" panose="00020600040101010101" pitchFamily="18" charset="-122"/>
                <a:ea typeface="OPPOSans B" panose="00020600040101010101" pitchFamily="18" charset="-122"/>
                <a:cs typeface="OPPOSans B" panose="00020600040101010101" pitchFamily="18" charset="-122"/>
                <a:sym typeface="OPPOSans R" panose="00020600040101010101" pitchFamily="18" charset="-122"/>
              </a:rPr>
              <a:t>渠道</a:t>
            </a:r>
            <a:endParaRPr kumimoji="0" lang="zh-CN" altLang="en-US" sz="900" b="0" i="0" u="none" strike="noStrike" kern="1200" cap="none" spc="0" normalizeH="0" baseline="0" noProof="0">
              <a:ln>
                <a:noFill/>
              </a:ln>
              <a:solidFill>
                <a:srgbClr val="795FE5"/>
              </a:solidFill>
              <a:effectLst/>
              <a:uLnTx/>
              <a:uFillTx/>
              <a:latin typeface="OPPOSans R" panose="00020600040101010101" pitchFamily="18" charset="-122"/>
              <a:ea typeface="OPPOSans B" panose="00020600040101010101" pitchFamily="18" charset="-122"/>
              <a:cs typeface="OPPOSans B" panose="00020600040101010101" pitchFamily="18" charset="-122"/>
              <a:sym typeface="OPPOSans R" panose="00020600040101010101" pitchFamily="18" charset="-122"/>
            </a:endParaRPr>
          </a:p>
        </p:txBody>
      </p:sp>
      <p:sp>
        <p:nvSpPr>
          <p:cNvPr id="33" name="椭圆 32">
            <a:extLst>
              <a:ext uri="{FF2B5EF4-FFF2-40B4-BE49-F238E27FC236}">
                <a16:creationId xmlns:a16="http://schemas.microsoft.com/office/drawing/2014/main" id="{A8D47B77-2CEE-4D55-B494-0A4DB7867876}"/>
              </a:ext>
            </a:extLst>
          </p:cNvPr>
          <p:cNvSpPr/>
          <p:nvPr/>
        </p:nvSpPr>
        <p:spPr>
          <a:xfrm>
            <a:off x="6653212" y="3806566"/>
            <a:ext cx="138483" cy="138483"/>
          </a:xfrm>
          <a:prstGeom prst="ellipse">
            <a:avLst/>
          </a:prstGeom>
          <a:solidFill>
            <a:schemeClr val="bg1"/>
          </a:solidFill>
          <a:ln w="19050">
            <a:solidFill>
              <a:schemeClr val="bg1">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5720" tIns="22860" rIns="45720" bIns="228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OPPOSans R" panose="00020600040101010101" pitchFamily="18" charset="-122"/>
              <a:ea typeface="OPPOSans B" panose="00020600040101010101" pitchFamily="18" charset="-122"/>
              <a:cs typeface="OPPOSans B" panose="00020600040101010101" pitchFamily="18" charset="-122"/>
            </a:endParaRPr>
          </a:p>
        </p:txBody>
      </p:sp>
      <p:sp>
        <p:nvSpPr>
          <p:cNvPr id="154" name="椭圆 153">
            <a:extLst>
              <a:ext uri="{FF2B5EF4-FFF2-40B4-BE49-F238E27FC236}">
                <a16:creationId xmlns:a16="http://schemas.microsoft.com/office/drawing/2014/main" id="{4415247C-775F-4B92-8640-EF1DDA4C4269}"/>
              </a:ext>
            </a:extLst>
          </p:cNvPr>
          <p:cNvSpPr/>
          <p:nvPr/>
        </p:nvSpPr>
        <p:spPr>
          <a:xfrm>
            <a:off x="5438871" y="3806566"/>
            <a:ext cx="138483" cy="138483"/>
          </a:xfrm>
          <a:prstGeom prst="ellipse">
            <a:avLst/>
          </a:prstGeom>
          <a:solidFill>
            <a:schemeClr val="bg1"/>
          </a:solidFill>
          <a:ln w="19050">
            <a:solidFill>
              <a:schemeClr val="bg1">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5720" tIns="22860" rIns="45720" bIns="228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OPPOSans R" panose="00020600040101010101" pitchFamily="18" charset="-122"/>
              <a:ea typeface="OPPOSans B" panose="00020600040101010101" pitchFamily="18" charset="-122"/>
              <a:cs typeface="OPPOSans B" panose="00020600040101010101" pitchFamily="18" charset="-122"/>
            </a:endParaRPr>
          </a:p>
        </p:txBody>
      </p:sp>
      <p:sp>
        <p:nvSpPr>
          <p:cNvPr id="155" name="椭圆 154">
            <a:extLst>
              <a:ext uri="{FF2B5EF4-FFF2-40B4-BE49-F238E27FC236}">
                <a16:creationId xmlns:a16="http://schemas.microsoft.com/office/drawing/2014/main" id="{AB81914F-9B15-4205-B95E-806EDBEE892F}"/>
              </a:ext>
            </a:extLst>
          </p:cNvPr>
          <p:cNvSpPr/>
          <p:nvPr/>
        </p:nvSpPr>
        <p:spPr>
          <a:xfrm>
            <a:off x="7051426" y="4428391"/>
            <a:ext cx="138483" cy="138483"/>
          </a:xfrm>
          <a:prstGeom prst="ellipse">
            <a:avLst/>
          </a:prstGeom>
          <a:solidFill>
            <a:schemeClr val="bg1"/>
          </a:solidFill>
          <a:ln w="19050">
            <a:solidFill>
              <a:schemeClr val="bg1">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5720" tIns="22860" rIns="45720" bIns="228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OPPOSans R" panose="00020600040101010101" pitchFamily="18" charset="-122"/>
              <a:ea typeface="OPPOSans B" panose="00020600040101010101" pitchFamily="18" charset="-122"/>
              <a:cs typeface="OPPOSans B" panose="00020600040101010101" pitchFamily="18" charset="-122"/>
            </a:endParaRPr>
          </a:p>
        </p:txBody>
      </p:sp>
      <p:sp>
        <p:nvSpPr>
          <p:cNvPr id="156" name="椭圆 155">
            <a:extLst>
              <a:ext uri="{FF2B5EF4-FFF2-40B4-BE49-F238E27FC236}">
                <a16:creationId xmlns:a16="http://schemas.microsoft.com/office/drawing/2014/main" id="{C286B872-5A29-49B1-B995-B530687C2392}"/>
              </a:ext>
            </a:extLst>
          </p:cNvPr>
          <p:cNvSpPr/>
          <p:nvPr/>
        </p:nvSpPr>
        <p:spPr>
          <a:xfrm>
            <a:off x="5030391" y="4428391"/>
            <a:ext cx="138483" cy="138483"/>
          </a:xfrm>
          <a:prstGeom prst="ellipse">
            <a:avLst/>
          </a:prstGeom>
          <a:solidFill>
            <a:schemeClr val="bg1"/>
          </a:solidFill>
          <a:ln w="19050">
            <a:solidFill>
              <a:schemeClr val="bg1">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5720" tIns="22860" rIns="45720" bIns="228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OPPOSans R" panose="00020600040101010101" pitchFamily="18" charset="-122"/>
              <a:ea typeface="OPPOSans B" panose="00020600040101010101" pitchFamily="18" charset="-122"/>
              <a:cs typeface="OPPOSans B" panose="00020600040101010101" pitchFamily="18" charset="-122"/>
            </a:endParaRPr>
          </a:p>
        </p:txBody>
      </p:sp>
      <p:sp>
        <p:nvSpPr>
          <p:cNvPr id="157" name="椭圆 156">
            <a:extLst>
              <a:ext uri="{FF2B5EF4-FFF2-40B4-BE49-F238E27FC236}">
                <a16:creationId xmlns:a16="http://schemas.microsoft.com/office/drawing/2014/main" id="{D2493562-880A-4EE5-BB0A-3B39415D9D6D}"/>
              </a:ext>
            </a:extLst>
          </p:cNvPr>
          <p:cNvSpPr/>
          <p:nvPr/>
        </p:nvSpPr>
        <p:spPr>
          <a:xfrm>
            <a:off x="7196623" y="2782180"/>
            <a:ext cx="138483" cy="138483"/>
          </a:xfrm>
          <a:prstGeom prst="ellipse">
            <a:avLst/>
          </a:prstGeom>
          <a:solidFill>
            <a:schemeClr val="bg1"/>
          </a:solidFill>
          <a:ln w="19050">
            <a:solidFill>
              <a:schemeClr val="bg1">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5720" tIns="22860" rIns="45720" bIns="228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OPPOSans R" panose="00020600040101010101" pitchFamily="18" charset="-122"/>
              <a:ea typeface="OPPOSans B" panose="00020600040101010101" pitchFamily="18" charset="-122"/>
              <a:cs typeface="OPPOSans B" panose="00020600040101010101" pitchFamily="18" charset="-122"/>
            </a:endParaRPr>
          </a:p>
        </p:txBody>
      </p:sp>
      <p:sp>
        <p:nvSpPr>
          <p:cNvPr id="158" name="椭圆 157">
            <a:extLst>
              <a:ext uri="{FF2B5EF4-FFF2-40B4-BE49-F238E27FC236}">
                <a16:creationId xmlns:a16="http://schemas.microsoft.com/office/drawing/2014/main" id="{9B298068-10F4-4905-95CB-2239DF8870B4}"/>
              </a:ext>
            </a:extLst>
          </p:cNvPr>
          <p:cNvSpPr/>
          <p:nvPr/>
        </p:nvSpPr>
        <p:spPr>
          <a:xfrm>
            <a:off x="7895940" y="2782180"/>
            <a:ext cx="138483" cy="138483"/>
          </a:xfrm>
          <a:prstGeom prst="ellipse">
            <a:avLst/>
          </a:prstGeom>
          <a:solidFill>
            <a:schemeClr val="bg1"/>
          </a:solidFill>
          <a:ln w="19050">
            <a:solidFill>
              <a:schemeClr val="bg1">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5720" tIns="22860" rIns="45720" bIns="228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OPPOSans R" panose="00020600040101010101" pitchFamily="18" charset="-122"/>
              <a:ea typeface="OPPOSans B" panose="00020600040101010101" pitchFamily="18" charset="-122"/>
              <a:cs typeface="OPPOSans B" panose="00020600040101010101" pitchFamily="18" charset="-122"/>
            </a:endParaRPr>
          </a:p>
        </p:txBody>
      </p:sp>
      <p:sp>
        <p:nvSpPr>
          <p:cNvPr id="159" name="椭圆 158">
            <a:extLst>
              <a:ext uri="{FF2B5EF4-FFF2-40B4-BE49-F238E27FC236}">
                <a16:creationId xmlns:a16="http://schemas.microsoft.com/office/drawing/2014/main" id="{AFD83749-9B33-4E5F-8740-BD6FEC7DAC70}"/>
              </a:ext>
            </a:extLst>
          </p:cNvPr>
          <p:cNvSpPr/>
          <p:nvPr/>
        </p:nvSpPr>
        <p:spPr>
          <a:xfrm>
            <a:off x="10059973" y="2443372"/>
            <a:ext cx="138483" cy="138483"/>
          </a:xfrm>
          <a:prstGeom prst="ellipse">
            <a:avLst/>
          </a:prstGeom>
          <a:solidFill>
            <a:schemeClr val="accent4"/>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5720" tIns="22860" rIns="45720" bIns="228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OPPOSans R" panose="00020600040101010101" pitchFamily="18" charset="-122"/>
              <a:ea typeface="OPPOSans B" panose="00020600040101010101" pitchFamily="18" charset="-122"/>
              <a:cs typeface="OPPOSans B" panose="00020600040101010101" pitchFamily="18" charset="-122"/>
            </a:endParaRPr>
          </a:p>
        </p:txBody>
      </p:sp>
      <p:sp>
        <p:nvSpPr>
          <p:cNvPr id="160" name="椭圆 159">
            <a:extLst>
              <a:ext uri="{FF2B5EF4-FFF2-40B4-BE49-F238E27FC236}">
                <a16:creationId xmlns:a16="http://schemas.microsoft.com/office/drawing/2014/main" id="{6151325E-31C1-4A4D-91BA-F63B94695154}"/>
              </a:ext>
            </a:extLst>
          </p:cNvPr>
          <p:cNvSpPr/>
          <p:nvPr/>
        </p:nvSpPr>
        <p:spPr>
          <a:xfrm>
            <a:off x="10059973" y="2794485"/>
            <a:ext cx="138483" cy="138483"/>
          </a:xfrm>
          <a:prstGeom prst="ellipse">
            <a:avLst/>
          </a:prstGeom>
          <a:solidFill>
            <a:schemeClr val="accent4"/>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5720" tIns="22860" rIns="45720" bIns="228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77272"/>
              </a:solidFill>
              <a:effectLst/>
              <a:uLnTx/>
              <a:uFillTx/>
              <a:latin typeface="OPPOSans R" panose="00020600040101010101" pitchFamily="18" charset="-122"/>
              <a:ea typeface="OPPOSans B" panose="00020600040101010101" pitchFamily="18" charset="-122"/>
              <a:cs typeface="OPPOSans B" panose="00020600040101010101" pitchFamily="18" charset="-122"/>
            </a:endParaRPr>
          </a:p>
        </p:txBody>
      </p:sp>
      <p:sp>
        <p:nvSpPr>
          <p:cNvPr id="161" name="椭圆 160">
            <a:extLst>
              <a:ext uri="{FF2B5EF4-FFF2-40B4-BE49-F238E27FC236}">
                <a16:creationId xmlns:a16="http://schemas.microsoft.com/office/drawing/2014/main" id="{9B9C6452-5A9D-4E9B-9D72-33F026DFC542}"/>
              </a:ext>
            </a:extLst>
          </p:cNvPr>
          <p:cNvSpPr/>
          <p:nvPr/>
        </p:nvSpPr>
        <p:spPr>
          <a:xfrm>
            <a:off x="10059973" y="3145598"/>
            <a:ext cx="138483" cy="138483"/>
          </a:xfrm>
          <a:prstGeom prst="ellipse">
            <a:avLst/>
          </a:prstGeom>
          <a:solidFill>
            <a:schemeClr val="accent4"/>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5720" tIns="22860" rIns="45720" bIns="228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OPPOSans R" panose="00020600040101010101" pitchFamily="18" charset="-122"/>
              <a:ea typeface="OPPOSans B" panose="00020600040101010101" pitchFamily="18" charset="-122"/>
              <a:cs typeface="OPPOSans B" panose="00020600040101010101" pitchFamily="18" charset="-122"/>
            </a:endParaRPr>
          </a:p>
        </p:txBody>
      </p:sp>
      <p:sp>
        <p:nvSpPr>
          <p:cNvPr id="162" name="椭圆 161">
            <a:extLst>
              <a:ext uri="{FF2B5EF4-FFF2-40B4-BE49-F238E27FC236}">
                <a16:creationId xmlns:a16="http://schemas.microsoft.com/office/drawing/2014/main" id="{54D7C5D3-A1AB-48DF-BD4B-568156C099BF}"/>
              </a:ext>
            </a:extLst>
          </p:cNvPr>
          <p:cNvSpPr/>
          <p:nvPr/>
        </p:nvSpPr>
        <p:spPr>
          <a:xfrm>
            <a:off x="9321501" y="2782180"/>
            <a:ext cx="138483" cy="138483"/>
          </a:xfrm>
          <a:prstGeom prst="ellipse">
            <a:avLst/>
          </a:prstGeom>
          <a:solidFill>
            <a:schemeClr val="bg1"/>
          </a:solidFill>
          <a:ln w="19050">
            <a:solidFill>
              <a:schemeClr val="bg1">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5720" tIns="22860" rIns="45720" bIns="228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OPPOSans R" panose="00020600040101010101" pitchFamily="18" charset="-122"/>
              <a:ea typeface="OPPOSans B" panose="00020600040101010101" pitchFamily="18" charset="-122"/>
              <a:cs typeface="OPPOSans B" panose="00020600040101010101" pitchFamily="18" charset="-122"/>
            </a:endParaRPr>
          </a:p>
        </p:txBody>
      </p:sp>
      <p:sp>
        <p:nvSpPr>
          <p:cNvPr id="163" name="椭圆 162">
            <a:extLst>
              <a:ext uri="{FF2B5EF4-FFF2-40B4-BE49-F238E27FC236}">
                <a16:creationId xmlns:a16="http://schemas.microsoft.com/office/drawing/2014/main" id="{7FD0B8B7-D290-4716-8AE5-FB5CD9196D24}"/>
              </a:ext>
            </a:extLst>
          </p:cNvPr>
          <p:cNvSpPr/>
          <p:nvPr/>
        </p:nvSpPr>
        <p:spPr>
          <a:xfrm>
            <a:off x="4155615" y="2782180"/>
            <a:ext cx="138483" cy="138483"/>
          </a:xfrm>
          <a:prstGeom prst="ellipse">
            <a:avLst/>
          </a:prstGeom>
          <a:solidFill>
            <a:schemeClr val="bg1"/>
          </a:solidFill>
          <a:ln w="19050">
            <a:solidFill>
              <a:schemeClr val="bg1">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5720" tIns="22860" rIns="45720" bIns="228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OPPOSans R" panose="00020600040101010101" pitchFamily="18" charset="-122"/>
              <a:ea typeface="OPPOSans B" panose="00020600040101010101" pitchFamily="18" charset="-122"/>
              <a:cs typeface="OPPOSans B" panose="00020600040101010101" pitchFamily="18" charset="-122"/>
            </a:endParaRPr>
          </a:p>
        </p:txBody>
      </p:sp>
      <p:sp>
        <p:nvSpPr>
          <p:cNvPr id="164" name="椭圆 163">
            <a:extLst>
              <a:ext uri="{FF2B5EF4-FFF2-40B4-BE49-F238E27FC236}">
                <a16:creationId xmlns:a16="http://schemas.microsoft.com/office/drawing/2014/main" id="{4EBABCC9-70FD-443A-932B-BD3CA85F29FC}"/>
              </a:ext>
            </a:extLst>
          </p:cNvPr>
          <p:cNvSpPr/>
          <p:nvPr/>
        </p:nvSpPr>
        <p:spPr>
          <a:xfrm>
            <a:off x="4847465" y="2782180"/>
            <a:ext cx="138483" cy="138483"/>
          </a:xfrm>
          <a:prstGeom prst="ellipse">
            <a:avLst/>
          </a:prstGeom>
          <a:solidFill>
            <a:schemeClr val="bg1"/>
          </a:solidFill>
          <a:ln w="19050">
            <a:solidFill>
              <a:schemeClr val="bg1">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5720" tIns="22860" rIns="45720" bIns="228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OPPOSans R" panose="00020600040101010101" pitchFamily="18" charset="-122"/>
              <a:ea typeface="OPPOSans B" panose="00020600040101010101" pitchFamily="18" charset="-122"/>
              <a:cs typeface="OPPOSans B" panose="00020600040101010101" pitchFamily="18" charset="-122"/>
            </a:endParaRPr>
          </a:p>
        </p:txBody>
      </p:sp>
      <p:sp>
        <p:nvSpPr>
          <p:cNvPr id="165" name="椭圆 164">
            <a:extLst>
              <a:ext uri="{FF2B5EF4-FFF2-40B4-BE49-F238E27FC236}">
                <a16:creationId xmlns:a16="http://schemas.microsoft.com/office/drawing/2014/main" id="{3E264160-7475-43C1-89AE-9CDF1E8C3C45}"/>
              </a:ext>
            </a:extLst>
          </p:cNvPr>
          <p:cNvSpPr/>
          <p:nvPr/>
        </p:nvSpPr>
        <p:spPr>
          <a:xfrm>
            <a:off x="2748654" y="2782180"/>
            <a:ext cx="138483" cy="138483"/>
          </a:xfrm>
          <a:prstGeom prst="ellipse">
            <a:avLst/>
          </a:prstGeom>
          <a:solidFill>
            <a:schemeClr val="bg1"/>
          </a:solidFill>
          <a:ln w="19050">
            <a:solidFill>
              <a:schemeClr val="bg1">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5720" tIns="22860" rIns="45720" bIns="228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OPPOSans R" panose="00020600040101010101" pitchFamily="18" charset="-122"/>
              <a:ea typeface="OPPOSans B" panose="00020600040101010101" pitchFamily="18" charset="-122"/>
              <a:cs typeface="OPPOSans B" panose="00020600040101010101" pitchFamily="18" charset="-122"/>
            </a:endParaRPr>
          </a:p>
        </p:txBody>
      </p:sp>
      <p:sp>
        <p:nvSpPr>
          <p:cNvPr id="166" name="椭圆 165">
            <a:extLst>
              <a:ext uri="{FF2B5EF4-FFF2-40B4-BE49-F238E27FC236}">
                <a16:creationId xmlns:a16="http://schemas.microsoft.com/office/drawing/2014/main" id="{EE9DDEF3-E568-4C68-99E2-2CBA610B6582}"/>
              </a:ext>
            </a:extLst>
          </p:cNvPr>
          <p:cNvSpPr/>
          <p:nvPr/>
        </p:nvSpPr>
        <p:spPr>
          <a:xfrm>
            <a:off x="4112690" y="5068189"/>
            <a:ext cx="138483" cy="138483"/>
          </a:xfrm>
          <a:prstGeom prst="ellipse">
            <a:avLst/>
          </a:prstGeom>
          <a:solidFill>
            <a:schemeClr val="bg1"/>
          </a:solidFill>
          <a:ln w="19050">
            <a:solidFill>
              <a:schemeClr val="bg1">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5720" tIns="22860" rIns="45720" bIns="228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OPPOSans R" panose="00020600040101010101" pitchFamily="18" charset="-122"/>
              <a:ea typeface="OPPOSans B" panose="00020600040101010101" pitchFamily="18" charset="-122"/>
              <a:cs typeface="OPPOSans B" panose="00020600040101010101" pitchFamily="18" charset="-122"/>
            </a:endParaRPr>
          </a:p>
        </p:txBody>
      </p:sp>
      <p:sp>
        <p:nvSpPr>
          <p:cNvPr id="167" name="椭圆 166">
            <a:extLst>
              <a:ext uri="{FF2B5EF4-FFF2-40B4-BE49-F238E27FC236}">
                <a16:creationId xmlns:a16="http://schemas.microsoft.com/office/drawing/2014/main" id="{83B01884-E7EC-428E-91C7-BCF1334DF79B}"/>
              </a:ext>
            </a:extLst>
          </p:cNvPr>
          <p:cNvSpPr/>
          <p:nvPr/>
        </p:nvSpPr>
        <p:spPr>
          <a:xfrm>
            <a:off x="7946163" y="5068189"/>
            <a:ext cx="138483" cy="138483"/>
          </a:xfrm>
          <a:prstGeom prst="ellipse">
            <a:avLst/>
          </a:prstGeom>
          <a:solidFill>
            <a:schemeClr val="bg1"/>
          </a:solidFill>
          <a:ln w="19050">
            <a:solidFill>
              <a:schemeClr val="bg1">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5720" tIns="22860" rIns="45720" bIns="228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OPPOSans R" panose="00020600040101010101" pitchFamily="18" charset="-122"/>
              <a:ea typeface="OPPOSans B" panose="00020600040101010101" pitchFamily="18" charset="-122"/>
              <a:cs typeface="OPPOSans B" panose="00020600040101010101" pitchFamily="18" charset="-122"/>
            </a:endParaRPr>
          </a:p>
        </p:txBody>
      </p:sp>
      <p:sp>
        <p:nvSpPr>
          <p:cNvPr id="168" name="椭圆 167">
            <a:extLst>
              <a:ext uri="{FF2B5EF4-FFF2-40B4-BE49-F238E27FC236}">
                <a16:creationId xmlns:a16="http://schemas.microsoft.com/office/drawing/2014/main" id="{2B85ECDB-84CA-4325-BEBB-F00CB491B422}"/>
              </a:ext>
            </a:extLst>
          </p:cNvPr>
          <p:cNvSpPr/>
          <p:nvPr/>
        </p:nvSpPr>
        <p:spPr>
          <a:xfrm>
            <a:off x="8788940" y="4714587"/>
            <a:ext cx="138483" cy="138483"/>
          </a:xfrm>
          <a:prstGeom prst="ellipse">
            <a:avLst/>
          </a:prstGeom>
          <a:solidFill>
            <a:schemeClr val="accent2"/>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5720" tIns="22860" rIns="45720" bIns="228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OPPOSans R" panose="00020600040101010101" pitchFamily="18" charset="-122"/>
              <a:ea typeface="OPPOSans B" panose="00020600040101010101" pitchFamily="18" charset="-122"/>
              <a:cs typeface="OPPOSans B" panose="00020600040101010101" pitchFamily="18" charset="-122"/>
            </a:endParaRPr>
          </a:p>
        </p:txBody>
      </p:sp>
      <p:sp>
        <p:nvSpPr>
          <p:cNvPr id="169" name="椭圆 168">
            <a:extLst>
              <a:ext uri="{FF2B5EF4-FFF2-40B4-BE49-F238E27FC236}">
                <a16:creationId xmlns:a16="http://schemas.microsoft.com/office/drawing/2014/main" id="{06920BC5-8DB7-452A-8B0F-6FAE05B2F7B6}"/>
              </a:ext>
            </a:extLst>
          </p:cNvPr>
          <p:cNvSpPr/>
          <p:nvPr/>
        </p:nvSpPr>
        <p:spPr>
          <a:xfrm>
            <a:off x="8788940" y="5065700"/>
            <a:ext cx="138483" cy="138483"/>
          </a:xfrm>
          <a:prstGeom prst="ellipse">
            <a:avLst/>
          </a:prstGeom>
          <a:solidFill>
            <a:schemeClr val="accent2"/>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5720" tIns="22860" rIns="45720" bIns="228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OPPOSans R" panose="00020600040101010101" pitchFamily="18" charset="-122"/>
              <a:ea typeface="OPPOSans B" panose="00020600040101010101" pitchFamily="18" charset="-122"/>
              <a:cs typeface="OPPOSans B" panose="00020600040101010101" pitchFamily="18" charset="-122"/>
            </a:endParaRPr>
          </a:p>
        </p:txBody>
      </p:sp>
      <p:sp>
        <p:nvSpPr>
          <p:cNvPr id="170" name="椭圆 169">
            <a:extLst>
              <a:ext uri="{FF2B5EF4-FFF2-40B4-BE49-F238E27FC236}">
                <a16:creationId xmlns:a16="http://schemas.microsoft.com/office/drawing/2014/main" id="{D9E73EC0-D940-4C7E-991C-11412945278F}"/>
              </a:ext>
            </a:extLst>
          </p:cNvPr>
          <p:cNvSpPr/>
          <p:nvPr/>
        </p:nvSpPr>
        <p:spPr>
          <a:xfrm>
            <a:off x="8788940" y="5416813"/>
            <a:ext cx="138483" cy="138483"/>
          </a:xfrm>
          <a:prstGeom prst="ellipse">
            <a:avLst/>
          </a:prstGeom>
          <a:solidFill>
            <a:schemeClr val="accent2"/>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5720" tIns="22860" rIns="45720" bIns="228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OPPOSans R" panose="00020600040101010101" pitchFamily="18" charset="-122"/>
              <a:ea typeface="OPPOSans B" panose="00020600040101010101" pitchFamily="18" charset="-122"/>
              <a:cs typeface="OPPOSans B" panose="00020600040101010101" pitchFamily="18" charset="-122"/>
            </a:endParaRPr>
          </a:p>
        </p:txBody>
      </p:sp>
      <p:sp>
        <p:nvSpPr>
          <p:cNvPr id="171" name="椭圆 170">
            <a:extLst>
              <a:ext uri="{FF2B5EF4-FFF2-40B4-BE49-F238E27FC236}">
                <a16:creationId xmlns:a16="http://schemas.microsoft.com/office/drawing/2014/main" id="{26C57DE6-40D0-4207-BC5C-846C32E14935}"/>
              </a:ext>
            </a:extLst>
          </p:cNvPr>
          <p:cNvSpPr/>
          <p:nvPr/>
        </p:nvSpPr>
        <p:spPr>
          <a:xfrm>
            <a:off x="3343589" y="4330652"/>
            <a:ext cx="138483" cy="138483"/>
          </a:xfrm>
          <a:prstGeom prst="ellipse">
            <a:avLst/>
          </a:prstGeom>
          <a:solidFill>
            <a:schemeClr val="accent3"/>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5720" tIns="22860" rIns="45720" bIns="228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OPPOSans R" panose="00020600040101010101" pitchFamily="18" charset="-122"/>
              <a:ea typeface="OPPOSans B" panose="00020600040101010101" pitchFamily="18" charset="-122"/>
              <a:cs typeface="OPPOSans B" panose="00020600040101010101" pitchFamily="18" charset="-122"/>
            </a:endParaRPr>
          </a:p>
        </p:txBody>
      </p:sp>
      <p:sp>
        <p:nvSpPr>
          <p:cNvPr id="172" name="椭圆 171">
            <a:extLst>
              <a:ext uri="{FF2B5EF4-FFF2-40B4-BE49-F238E27FC236}">
                <a16:creationId xmlns:a16="http://schemas.microsoft.com/office/drawing/2014/main" id="{90C716EA-8BA1-4012-88B1-05B35D4F1A59}"/>
              </a:ext>
            </a:extLst>
          </p:cNvPr>
          <p:cNvSpPr/>
          <p:nvPr/>
        </p:nvSpPr>
        <p:spPr>
          <a:xfrm>
            <a:off x="3343589" y="4692608"/>
            <a:ext cx="138483" cy="138483"/>
          </a:xfrm>
          <a:prstGeom prst="ellipse">
            <a:avLst/>
          </a:prstGeom>
          <a:solidFill>
            <a:schemeClr val="accent3"/>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5720" tIns="22860" rIns="45720" bIns="228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OPPOSans R" panose="00020600040101010101" pitchFamily="18" charset="-122"/>
              <a:ea typeface="OPPOSans B" panose="00020600040101010101" pitchFamily="18" charset="-122"/>
              <a:cs typeface="OPPOSans B" panose="00020600040101010101" pitchFamily="18" charset="-122"/>
            </a:endParaRPr>
          </a:p>
        </p:txBody>
      </p:sp>
      <p:sp>
        <p:nvSpPr>
          <p:cNvPr id="173" name="椭圆 172">
            <a:extLst>
              <a:ext uri="{FF2B5EF4-FFF2-40B4-BE49-F238E27FC236}">
                <a16:creationId xmlns:a16="http://schemas.microsoft.com/office/drawing/2014/main" id="{26F0928D-BD77-4F0D-BCF7-7910FDAFA035}"/>
              </a:ext>
            </a:extLst>
          </p:cNvPr>
          <p:cNvSpPr/>
          <p:nvPr/>
        </p:nvSpPr>
        <p:spPr>
          <a:xfrm>
            <a:off x="3343589" y="5054564"/>
            <a:ext cx="138483" cy="138483"/>
          </a:xfrm>
          <a:prstGeom prst="ellipse">
            <a:avLst/>
          </a:prstGeom>
          <a:solidFill>
            <a:schemeClr val="accent3"/>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5720" tIns="22860" rIns="45720" bIns="228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OPPOSans R" panose="00020600040101010101" pitchFamily="18" charset="-122"/>
              <a:ea typeface="OPPOSans B" panose="00020600040101010101" pitchFamily="18" charset="-122"/>
              <a:cs typeface="OPPOSans B" panose="00020600040101010101" pitchFamily="18" charset="-122"/>
            </a:endParaRPr>
          </a:p>
        </p:txBody>
      </p:sp>
      <p:sp>
        <p:nvSpPr>
          <p:cNvPr id="174" name="椭圆 173">
            <a:extLst>
              <a:ext uri="{FF2B5EF4-FFF2-40B4-BE49-F238E27FC236}">
                <a16:creationId xmlns:a16="http://schemas.microsoft.com/office/drawing/2014/main" id="{1B1A7C0E-2BAF-40EC-B2C0-D3ED5089F098}"/>
              </a:ext>
            </a:extLst>
          </p:cNvPr>
          <p:cNvSpPr/>
          <p:nvPr/>
        </p:nvSpPr>
        <p:spPr>
          <a:xfrm>
            <a:off x="3343589" y="5416520"/>
            <a:ext cx="138483" cy="138483"/>
          </a:xfrm>
          <a:prstGeom prst="ellipse">
            <a:avLst/>
          </a:prstGeom>
          <a:solidFill>
            <a:schemeClr val="accent3"/>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5720" tIns="22860" rIns="45720" bIns="228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OPPOSans R" panose="00020600040101010101" pitchFamily="18" charset="-122"/>
              <a:ea typeface="OPPOSans B" panose="00020600040101010101" pitchFamily="18" charset="-122"/>
              <a:cs typeface="OPPOSans B" panose="00020600040101010101" pitchFamily="18" charset="-122"/>
            </a:endParaRPr>
          </a:p>
        </p:txBody>
      </p:sp>
      <p:sp>
        <p:nvSpPr>
          <p:cNvPr id="175" name="椭圆 174">
            <a:extLst>
              <a:ext uri="{FF2B5EF4-FFF2-40B4-BE49-F238E27FC236}">
                <a16:creationId xmlns:a16="http://schemas.microsoft.com/office/drawing/2014/main" id="{C222B603-7C8B-401B-A651-E35A67417537}"/>
              </a:ext>
            </a:extLst>
          </p:cNvPr>
          <p:cNvSpPr/>
          <p:nvPr/>
        </p:nvSpPr>
        <p:spPr>
          <a:xfrm>
            <a:off x="3343589" y="5778476"/>
            <a:ext cx="138483" cy="138483"/>
          </a:xfrm>
          <a:prstGeom prst="ellipse">
            <a:avLst/>
          </a:prstGeom>
          <a:solidFill>
            <a:schemeClr val="accent3"/>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5720" tIns="22860" rIns="45720" bIns="228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OPPOSans R" panose="00020600040101010101" pitchFamily="18" charset="-122"/>
              <a:ea typeface="OPPOSans B" panose="00020600040101010101" pitchFamily="18" charset="-122"/>
              <a:cs typeface="OPPOSans B" panose="00020600040101010101" pitchFamily="18" charset="-122"/>
            </a:endParaRPr>
          </a:p>
        </p:txBody>
      </p:sp>
      <p:sp>
        <p:nvSpPr>
          <p:cNvPr id="176" name="椭圆 175">
            <a:extLst>
              <a:ext uri="{FF2B5EF4-FFF2-40B4-BE49-F238E27FC236}">
                <a16:creationId xmlns:a16="http://schemas.microsoft.com/office/drawing/2014/main" id="{9CBDA070-D9E5-4BE6-9740-C4746437906E}"/>
              </a:ext>
            </a:extLst>
          </p:cNvPr>
          <p:cNvSpPr/>
          <p:nvPr/>
        </p:nvSpPr>
        <p:spPr>
          <a:xfrm>
            <a:off x="2032289" y="2455019"/>
            <a:ext cx="138483" cy="138483"/>
          </a:xfrm>
          <a:prstGeom prst="ellipse">
            <a:avLst/>
          </a:prstGeom>
          <a:solidFill>
            <a:schemeClr val="accent1"/>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5720" tIns="22860" rIns="45720" bIns="228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OPPOSans R" panose="00020600040101010101" pitchFamily="18" charset="-122"/>
              <a:ea typeface="OPPOSans B" panose="00020600040101010101" pitchFamily="18" charset="-122"/>
              <a:cs typeface="OPPOSans B" panose="00020600040101010101" pitchFamily="18" charset="-122"/>
            </a:endParaRPr>
          </a:p>
        </p:txBody>
      </p:sp>
      <p:sp>
        <p:nvSpPr>
          <p:cNvPr id="177" name="椭圆 176">
            <a:extLst>
              <a:ext uri="{FF2B5EF4-FFF2-40B4-BE49-F238E27FC236}">
                <a16:creationId xmlns:a16="http://schemas.microsoft.com/office/drawing/2014/main" id="{2FECA04D-A933-48B6-B62C-98C267CDB35A}"/>
              </a:ext>
            </a:extLst>
          </p:cNvPr>
          <p:cNvSpPr/>
          <p:nvPr/>
        </p:nvSpPr>
        <p:spPr>
          <a:xfrm>
            <a:off x="2032289" y="3115058"/>
            <a:ext cx="138483" cy="138483"/>
          </a:xfrm>
          <a:prstGeom prst="ellipse">
            <a:avLst/>
          </a:prstGeom>
          <a:solidFill>
            <a:schemeClr val="accent1"/>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5720" tIns="22860" rIns="45720" bIns="228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OPPOSans R" panose="00020600040101010101" pitchFamily="18" charset="-122"/>
              <a:ea typeface="OPPOSans B" panose="00020600040101010101" pitchFamily="18" charset="-122"/>
              <a:cs typeface="OPPOSans B" panose="00020600040101010101" pitchFamily="18" charset="-122"/>
            </a:endParaRPr>
          </a:p>
        </p:txBody>
      </p:sp>
      <p:sp>
        <p:nvSpPr>
          <p:cNvPr id="106" name="Object 106"/>
          <p:cNvSpPr txBox="1"/>
          <p:nvPr/>
        </p:nvSpPr>
        <p:spPr>
          <a:xfrm>
            <a:off x="5218411" y="2400986"/>
            <a:ext cx="1777916" cy="831850"/>
          </a:xfrm>
          <a:prstGeom prst="rect">
            <a:avLst/>
          </a:prstGeom>
        </p:spPr>
        <p:txBody>
          <a:bodyPr vert="horz" rtlCol="0" anchor="t"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2750" b="0" i="0" u="none" strike="noStrike" kern="1200" cap="none" spc="28" normalizeH="0" baseline="0" noProof="0" dirty="0">
                <a:ln>
                  <a:noFill/>
                </a:ln>
                <a:solidFill>
                  <a:srgbClr val="FFFFFF"/>
                </a:solidFill>
                <a:effectLst/>
                <a:uLnTx/>
                <a:uFillTx/>
                <a:latin typeface="OPPOSans R" panose="00020600040101010101" pitchFamily="18" charset="-122"/>
                <a:ea typeface="OPPOSans B" panose="00020600040101010101" pitchFamily="18" charset="-122"/>
                <a:cs typeface="OPPOSans B" panose="00020600040101010101" pitchFamily="18" charset="-122"/>
                <a:sym typeface="OPPOSans R" panose="00020600040101010101" pitchFamily="18" charset="-122"/>
              </a:rPr>
              <a:t>秋叶</a:t>
            </a:r>
            <a:endParaRPr kumimoji="0" lang="zh-CN" altLang="en-US" sz="2750" b="0" i="0" u="none" strike="noStrike" kern="1200" cap="none" spc="0" normalizeH="0" baseline="0" noProof="0" dirty="0">
              <a:ln>
                <a:noFill/>
              </a:ln>
              <a:solidFill>
                <a:srgbClr val="000000"/>
              </a:solidFill>
              <a:effectLst/>
              <a:uLnTx/>
              <a:uFillTx/>
              <a:latin typeface="OPPOSans R" panose="00020600040101010101" pitchFamily="18" charset="-122"/>
              <a:ea typeface="OPPOSans B" panose="00020600040101010101" pitchFamily="18" charset="-122"/>
              <a:cs typeface="OPPOSans B" panose="00020600040101010101" pitchFamily="18" charset="-122"/>
              <a:sym typeface="OPPOSans R" panose="00020600040101010101" pitchFamily="18" charset="-122"/>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2750" b="0" i="0" u="none" strike="noStrike" kern="1200" cap="none" spc="28" normalizeH="0" baseline="0" noProof="0" dirty="0">
                <a:ln>
                  <a:noFill/>
                </a:ln>
                <a:solidFill>
                  <a:srgbClr val="FFFFFF"/>
                </a:solidFill>
                <a:effectLst/>
                <a:uLnTx/>
                <a:uFillTx/>
                <a:latin typeface="OPPOSans R" panose="00020600040101010101" pitchFamily="18" charset="-122"/>
                <a:ea typeface="OPPOSans B" panose="00020600040101010101" pitchFamily="18" charset="-122"/>
                <a:cs typeface="OPPOSans B" panose="00020600040101010101" pitchFamily="18" charset="-122"/>
                <a:sym typeface="OPPOSans R" panose="00020600040101010101" pitchFamily="18" charset="-122"/>
              </a:rPr>
              <a:t>设计</a:t>
            </a:r>
            <a:endParaRPr kumimoji="0" lang="zh-CN" altLang="en-US" sz="900" b="0" i="0" u="none" strike="noStrike" kern="1200" cap="none" spc="0" normalizeH="0" baseline="0" noProof="0" dirty="0">
              <a:ln>
                <a:noFill/>
              </a:ln>
              <a:solidFill>
                <a:srgbClr val="000000"/>
              </a:solidFill>
              <a:effectLst/>
              <a:uLnTx/>
              <a:uFillTx/>
              <a:latin typeface="OPPOSans R" panose="00020600040101010101" pitchFamily="18" charset="-122"/>
              <a:ea typeface="OPPOSans B" panose="00020600040101010101" pitchFamily="18" charset="-122"/>
              <a:cs typeface="OPPOSans B" panose="00020600040101010101" pitchFamily="18" charset="-122"/>
              <a:sym typeface="OPPOSans R" panose="00020600040101010101" pitchFamily="18" charset="-122"/>
            </a:endParaRPr>
          </a:p>
        </p:txBody>
      </p:sp>
      <p:sp>
        <p:nvSpPr>
          <p:cNvPr id="1021" name="Object 1021"/>
          <p:cNvSpPr txBox="1"/>
          <p:nvPr/>
        </p:nvSpPr>
        <p:spPr>
          <a:xfrm>
            <a:off x="2998998" y="2714022"/>
            <a:ext cx="1057590" cy="266700"/>
          </a:xfrm>
          <a:prstGeom prst="rect">
            <a:avLst/>
          </a:prstGeom>
        </p:spPr>
        <p:txBody>
          <a:bodyPr vert="horz" rtlCol="0" anchor="t"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780" b="0" i="0" u="none" strike="noStrike" kern="1200" cap="none" spc="18" normalizeH="0" baseline="0" noProof="0" dirty="0">
                <a:ln>
                  <a:noFill/>
                </a:ln>
                <a:solidFill>
                  <a:srgbClr val="F8F8F8"/>
                </a:solidFill>
                <a:effectLst/>
                <a:uLnTx/>
                <a:uFillTx/>
                <a:latin typeface="OPPOSans R" panose="00020600040101010101" pitchFamily="18" charset="-122"/>
                <a:ea typeface="OPPOSans B" panose="00020600040101010101" pitchFamily="18" charset="-122"/>
                <a:cs typeface="OPPOSans B" panose="00020600040101010101" pitchFamily="18" charset="-122"/>
                <a:sym typeface="OPPOSans R" panose="00020600040101010101" pitchFamily="18" charset="-122"/>
              </a:rPr>
              <a:t>产品部</a:t>
            </a:r>
            <a:endParaRPr kumimoji="0" lang="zh-CN" altLang="en-US" sz="900" b="0" i="0" u="none" strike="noStrike" kern="1200" cap="none" spc="0" normalizeH="0" baseline="0" noProof="0">
              <a:ln>
                <a:noFill/>
              </a:ln>
              <a:solidFill>
                <a:srgbClr val="000000"/>
              </a:solidFill>
              <a:effectLst/>
              <a:uLnTx/>
              <a:uFillTx/>
              <a:latin typeface="OPPOSans R" panose="00020600040101010101" pitchFamily="18" charset="-122"/>
              <a:ea typeface="OPPOSans B" panose="00020600040101010101" pitchFamily="18" charset="-122"/>
              <a:cs typeface="OPPOSans B" panose="00020600040101010101" pitchFamily="18" charset="-122"/>
              <a:sym typeface="OPPOSans R" panose="00020600040101010101" pitchFamily="18" charset="-122"/>
            </a:endParaRPr>
          </a:p>
        </p:txBody>
      </p:sp>
      <p:sp>
        <p:nvSpPr>
          <p:cNvPr id="1044" name="Object 1044"/>
          <p:cNvSpPr txBox="1"/>
          <p:nvPr/>
        </p:nvSpPr>
        <p:spPr>
          <a:xfrm>
            <a:off x="4398653" y="4995955"/>
            <a:ext cx="945889" cy="266700"/>
          </a:xfrm>
          <a:prstGeom prst="rect">
            <a:avLst/>
          </a:prstGeom>
        </p:spPr>
        <p:txBody>
          <a:bodyPr vert="horz" rtlCol="0" anchor="t"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780" b="0" i="0" u="none" strike="noStrike" kern="1200" cap="none" spc="18" normalizeH="0" baseline="0" noProof="0" dirty="0">
                <a:ln>
                  <a:noFill/>
                </a:ln>
                <a:solidFill>
                  <a:srgbClr val="F8F8F8"/>
                </a:solidFill>
                <a:effectLst/>
                <a:uLnTx/>
                <a:uFillTx/>
                <a:latin typeface="OPPOSans R" panose="00020600040101010101" pitchFamily="18" charset="-122"/>
                <a:ea typeface="OPPOSans B" panose="00020600040101010101" pitchFamily="18" charset="-122"/>
                <a:cs typeface="OPPOSans B" panose="00020600040101010101" pitchFamily="18" charset="-122"/>
                <a:sym typeface="OPPOSans R" panose="00020600040101010101" pitchFamily="18" charset="-122"/>
              </a:rPr>
              <a:t>技术部</a:t>
            </a:r>
            <a:endParaRPr kumimoji="0" lang="zh-CN" altLang="en-US" sz="900" b="0" i="0" u="none" strike="noStrike" kern="1200" cap="none" spc="0" normalizeH="0" baseline="0" noProof="0" dirty="0">
              <a:ln>
                <a:noFill/>
              </a:ln>
              <a:solidFill>
                <a:srgbClr val="000000"/>
              </a:solidFill>
              <a:effectLst/>
              <a:uLnTx/>
              <a:uFillTx/>
              <a:latin typeface="OPPOSans R" panose="00020600040101010101" pitchFamily="18" charset="-122"/>
              <a:ea typeface="OPPOSans B" panose="00020600040101010101" pitchFamily="18" charset="-122"/>
              <a:cs typeface="OPPOSans B" panose="00020600040101010101" pitchFamily="18" charset="-122"/>
              <a:sym typeface="OPPOSans R" panose="00020600040101010101" pitchFamily="18" charset="-122"/>
            </a:endParaRPr>
          </a:p>
        </p:txBody>
      </p:sp>
      <p:sp>
        <p:nvSpPr>
          <p:cNvPr id="1060" name="Object 1060"/>
          <p:cNvSpPr txBox="1"/>
          <p:nvPr/>
        </p:nvSpPr>
        <p:spPr>
          <a:xfrm>
            <a:off x="6812167" y="4995955"/>
            <a:ext cx="954649" cy="266700"/>
          </a:xfrm>
          <a:prstGeom prst="rect">
            <a:avLst/>
          </a:prstGeom>
        </p:spPr>
        <p:txBody>
          <a:bodyPr vert="horz" rtlCol="0" anchor="t"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780" b="0" i="0" u="none" strike="noStrike" kern="1200" cap="none" spc="18" normalizeH="0" baseline="0" noProof="0" dirty="0">
                <a:ln>
                  <a:noFill/>
                </a:ln>
                <a:solidFill>
                  <a:srgbClr val="F8F8F8"/>
                </a:solidFill>
                <a:effectLst/>
                <a:uLnTx/>
                <a:uFillTx/>
                <a:latin typeface="OPPOSans R" panose="00020600040101010101" pitchFamily="18" charset="-122"/>
                <a:ea typeface="OPPOSans B" panose="00020600040101010101" pitchFamily="18" charset="-122"/>
                <a:cs typeface="OPPOSans B" panose="00020600040101010101" pitchFamily="18" charset="-122"/>
                <a:sym typeface="OPPOSans R" panose="00020600040101010101" pitchFamily="18" charset="-122"/>
              </a:rPr>
              <a:t>市场部</a:t>
            </a:r>
            <a:endParaRPr kumimoji="0" lang="zh-CN" altLang="en-US" sz="900" b="0" i="0" u="none" strike="noStrike" kern="1200" cap="none" spc="0" normalizeH="0" baseline="0" noProof="0">
              <a:ln>
                <a:noFill/>
              </a:ln>
              <a:solidFill>
                <a:srgbClr val="000000"/>
              </a:solidFill>
              <a:effectLst/>
              <a:uLnTx/>
              <a:uFillTx/>
              <a:latin typeface="OPPOSans R" panose="00020600040101010101" pitchFamily="18" charset="-122"/>
              <a:ea typeface="OPPOSans B" panose="00020600040101010101" pitchFamily="18" charset="-122"/>
              <a:cs typeface="OPPOSans B" panose="00020600040101010101" pitchFamily="18" charset="-122"/>
              <a:sym typeface="OPPOSans R" panose="00020600040101010101" pitchFamily="18" charset="-122"/>
            </a:endParaRPr>
          </a:p>
        </p:txBody>
      </p:sp>
      <p:sp>
        <p:nvSpPr>
          <p:cNvPr id="1075" name="Object 1075"/>
          <p:cNvSpPr txBox="1"/>
          <p:nvPr/>
        </p:nvSpPr>
        <p:spPr>
          <a:xfrm>
            <a:off x="8216540" y="2714022"/>
            <a:ext cx="940810" cy="266700"/>
          </a:xfrm>
          <a:prstGeom prst="rect">
            <a:avLst/>
          </a:prstGeom>
        </p:spPr>
        <p:txBody>
          <a:bodyPr vert="horz" rtlCol="0" anchor="t"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780" b="0" i="0" u="none" strike="noStrike" kern="1200" cap="none" spc="18" normalizeH="0" baseline="0" noProof="0" dirty="0">
                <a:ln>
                  <a:noFill/>
                </a:ln>
                <a:solidFill>
                  <a:srgbClr val="F8F8F8"/>
                </a:solidFill>
                <a:effectLst/>
                <a:uLnTx/>
                <a:uFillTx/>
                <a:latin typeface="OPPOSans R" panose="00020600040101010101" pitchFamily="18" charset="-122"/>
                <a:ea typeface="OPPOSans B" panose="00020600040101010101" pitchFamily="18" charset="-122"/>
                <a:cs typeface="OPPOSans B" panose="00020600040101010101" pitchFamily="18" charset="-122"/>
                <a:sym typeface="OPPOSans R" panose="00020600040101010101" pitchFamily="18" charset="-122"/>
              </a:rPr>
              <a:t>运营部</a:t>
            </a:r>
            <a:endParaRPr kumimoji="0" lang="zh-CN" altLang="en-US" sz="900" b="0" i="0" u="none" strike="noStrike" kern="1200" cap="none" spc="0" normalizeH="0" baseline="0" noProof="0">
              <a:ln>
                <a:noFill/>
              </a:ln>
              <a:solidFill>
                <a:srgbClr val="000000"/>
              </a:solidFill>
              <a:effectLst/>
              <a:uLnTx/>
              <a:uFillTx/>
              <a:latin typeface="OPPOSans R" panose="00020600040101010101" pitchFamily="18" charset="-122"/>
              <a:ea typeface="OPPOSans B" panose="00020600040101010101" pitchFamily="18" charset="-122"/>
              <a:cs typeface="OPPOSans B" panose="00020600040101010101" pitchFamily="18" charset="-122"/>
              <a:sym typeface="OPPOSans R" panose="00020600040101010101" pitchFamily="18" charset="-122"/>
            </a:endParaRPr>
          </a:p>
        </p:txBody>
      </p:sp>
    </p:spTree>
    <p:extLst>
      <p:ext uri="{BB962C8B-B14F-4D97-AF65-F5344CB8AC3E}">
        <p14:creationId xmlns:p14="http://schemas.microsoft.com/office/powerpoint/2010/main" val="287292803"/>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7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48" name="gaoding-1"/>
          <p:cNvSpPr/>
          <p:nvPr/>
        </p:nvSpPr>
        <p:spPr>
          <a:xfrm flipV="1">
            <a:off x="6084391" y="3479402"/>
            <a:ext cx="0" cy="1957817"/>
          </a:xfrm>
          <a:prstGeom prst="line">
            <a:avLst/>
          </a:prstGeom>
          <a:noFill/>
          <a:ln w="25400" cap="flat">
            <a:solidFill>
              <a:schemeClr val="bg1">
                <a:lumMod val="85000"/>
              </a:schemeClr>
            </a:solidFill>
            <a:prstDash val="solid"/>
            <a:miter lim="400000"/>
          </a:ln>
          <a:effectLst/>
        </p:spPr>
        <p:txBody>
          <a:bodyPr wrap="square" lIns="0" tIns="0" rIns="0" bIns="0" numCol="1"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1600" b="0" i="0" u="none" strike="noStrike" kern="1200" cap="none" spc="0" normalizeH="0" baseline="0" noProof="0" dirty="0">
              <a:ln>
                <a:noFill/>
              </a:ln>
              <a:solidFill>
                <a:srgbClr val="FFFFFF"/>
              </a:solidFill>
              <a:effectLst/>
              <a:uLnTx/>
              <a:uFillTx/>
              <a:latin typeface="OPPOSans R" panose="00020600040101010101" pitchFamily="18" charset="-122"/>
              <a:ea typeface="微软雅黑"/>
              <a:cs typeface="+mn-cs"/>
              <a:sym typeface="Helvetica Neue Medium"/>
            </a:endParaRPr>
          </a:p>
        </p:txBody>
      </p:sp>
      <p:sp>
        <p:nvSpPr>
          <p:cNvPr id="2663" name="gaoding-2"/>
          <p:cNvSpPr/>
          <p:nvPr/>
        </p:nvSpPr>
        <p:spPr>
          <a:xfrm flipV="1">
            <a:off x="8258935" y="3479402"/>
            <a:ext cx="0" cy="1957817"/>
          </a:xfrm>
          <a:prstGeom prst="line">
            <a:avLst/>
          </a:prstGeom>
          <a:noFill/>
          <a:ln w="25400" cap="flat">
            <a:solidFill>
              <a:schemeClr val="bg1">
                <a:lumMod val="85000"/>
              </a:schemeClr>
            </a:solidFill>
            <a:prstDash val="solid"/>
            <a:miter lim="400000"/>
          </a:ln>
          <a:effectLst/>
        </p:spPr>
        <p:txBody>
          <a:bodyPr wrap="square" lIns="0" tIns="0" rIns="0" bIns="0" numCol="1"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1600" b="0" i="0" u="none" strike="noStrike" kern="1200" cap="none" spc="0" normalizeH="0" baseline="0" noProof="0" dirty="0">
              <a:ln>
                <a:noFill/>
              </a:ln>
              <a:solidFill>
                <a:srgbClr val="FFFFFF"/>
              </a:solidFill>
              <a:effectLst/>
              <a:uLnTx/>
              <a:uFillTx/>
              <a:latin typeface="OPPOSans R" panose="00020600040101010101" pitchFamily="18" charset="-122"/>
              <a:ea typeface="微软雅黑"/>
              <a:cs typeface="+mn-cs"/>
              <a:sym typeface="Helvetica Neue Medium"/>
            </a:endParaRPr>
          </a:p>
        </p:txBody>
      </p:sp>
      <p:sp>
        <p:nvSpPr>
          <p:cNvPr id="2679" name="gaoding-3"/>
          <p:cNvSpPr/>
          <p:nvPr/>
        </p:nvSpPr>
        <p:spPr>
          <a:xfrm flipV="1">
            <a:off x="3909847" y="3479402"/>
            <a:ext cx="0" cy="1957817"/>
          </a:xfrm>
          <a:prstGeom prst="line">
            <a:avLst/>
          </a:prstGeom>
          <a:noFill/>
          <a:ln w="25400" cap="flat">
            <a:solidFill>
              <a:schemeClr val="bg1">
                <a:lumMod val="85000"/>
              </a:schemeClr>
            </a:solidFill>
            <a:prstDash val="solid"/>
            <a:miter lim="400000"/>
          </a:ln>
          <a:effectLst/>
        </p:spPr>
        <p:txBody>
          <a:bodyPr wrap="square" lIns="0" tIns="0" rIns="0" bIns="0" numCol="1"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1600" b="0" i="0" u="none" strike="noStrike" kern="1200" cap="none" spc="0" normalizeH="0" baseline="0" noProof="0" dirty="0">
              <a:ln>
                <a:noFill/>
              </a:ln>
              <a:solidFill>
                <a:srgbClr val="FFFFFF"/>
              </a:solidFill>
              <a:effectLst/>
              <a:uLnTx/>
              <a:uFillTx/>
              <a:latin typeface="OPPOSans R" panose="00020600040101010101" pitchFamily="18" charset="-122"/>
              <a:ea typeface="微软雅黑"/>
              <a:cs typeface="+mn-cs"/>
              <a:sym typeface="Helvetica Neue Medium"/>
            </a:endParaRPr>
          </a:p>
        </p:txBody>
      </p:sp>
      <p:sp>
        <p:nvSpPr>
          <p:cNvPr id="2693" name="gaoding-4"/>
          <p:cNvSpPr/>
          <p:nvPr/>
        </p:nvSpPr>
        <p:spPr>
          <a:xfrm flipV="1">
            <a:off x="1735303" y="3479402"/>
            <a:ext cx="0" cy="1957817"/>
          </a:xfrm>
          <a:prstGeom prst="line">
            <a:avLst/>
          </a:prstGeom>
          <a:noFill/>
          <a:ln w="25400" cap="flat">
            <a:solidFill>
              <a:schemeClr val="bg1">
                <a:lumMod val="85000"/>
              </a:schemeClr>
            </a:solidFill>
            <a:prstDash val="solid"/>
            <a:miter lim="400000"/>
          </a:ln>
          <a:effectLst/>
        </p:spPr>
        <p:txBody>
          <a:bodyPr wrap="square" lIns="0" tIns="0" rIns="0" bIns="0" numCol="1"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1600" b="0" i="0" u="none" strike="noStrike" kern="1200" cap="none" spc="0" normalizeH="0" baseline="0" noProof="0" dirty="0">
              <a:ln>
                <a:noFill/>
              </a:ln>
              <a:solidFill>
                <a:srgbClr val="FFFFFF"/>
              </a:solidFill>
              <a:effectLst/>
              <a:uLnTx/>
              <a:uFillTx/>
              <a:latin typeface="OPPOSans R" panose="00020600040101010101" pitchFamily="18" charset="-122"/>
              <a:ea typeface="微软雅黑"/>
              <a:cs typeface="+mn-cs"/>
              <a:sym typeface="Helvetica Neue Medium"/>
            </a:endParaRPr>
          </a:p>
        </p:txBody>
      </p:sp>
      <p:sp>
        <p:nvSpPr>
          <p:cNvPr id="2708" name="gaoding-5"/>
          <p:cNvSpPr/>
          <p:nvPr/>
        </p:nvSpPr>
        <p:spPr>
          <a:xfrm flipV="1">
            <a:off x="10433479" y="3479402"/>
            <a:ext cx="0" cy="1957817"/>
          </a:xfrm>
          <a:prstGeom prst="line">
            <a:avLst/>
          </a:prstGeom>
          <a:noFill/>
          <a:ln w="25400" cap="flat">
            <a:solidFill>
              <a:schemeClr val="bg1">
                <a:lumMod val="85000"/>
              </a:schemeClr>
            </a:solidFill>
            <a:prstDash val="solid"/>
            <a:miter lim="400000"/>
          </a:ln>
          <a:effectLst/>
        </p:spPr>
        <p:txBody>
          <a:bodyPr wrap="square" lIns="0" tIns="0" rIns="0" bIns="0" numCol="1"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1600" b="0" i="0" u="none" strike="noStrike" kern="1200" cap="none" spc="0" normalizeH="0" baseline="0" noProof="0" dirty="0">
              <a:ln>
                <a:noFill/>
              </a:ln>
              <a:solidFill>
                <a:srgbClr val="FFFFFF"/>
              </a:solidFill>
              <a:effectLst/>
              <a:uLnTx/>
              <a:uFillTx/>
              <a:latin typeface="OPPOSans R" panose="00020600040101010101" pitchFamily="18" charset="-122"/>
              <a:ea typeface="微软雅黑"/>
              <a:cs typeface="+mn-cs"/>
              <a:sym typeface="Helvetica Neue Medium"/>
            </a:endParaRPr>
          </a:p>
        </p:txBody>
      </p:sp>
      <p:sp>
        <p:nvSpPr>
          <p:cNvPr id="2641" name="gaoding-6"/>
          <p:cNvSpPr/>
          <p:nvPr/>
        </p:nvSpPr>
        <p:spPr>
          <a:xfrm flipV="1">
            <a:off x="3909570" y="2739608"/>
            <a:ext cx="0" cy="504344"/>
          </a:xfrm>
          <a:prstGeom prst="line">
            <a:avLst/>
          </a:prstGeom>
          <a:noFill/>
          <a:ln w="25400" cap="flat">
            <a:solidFill>
              <a:schemeClr val="bg1">
                <a:lumMod val="85000"/>
              </a:schemeClr>
            </a:solidFill>
            <a:prstDash val="solid"/>
            <a:miter lim="400000"/>
          </a:ln>
          <a:effectLst/>
        </p:spPr>
        <p:txBody>
          <a:bodyPr wrap="square" lIns="0" tIns="0" rIns="0" bIns="0" numCol="1"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1600" b="0" i="0" u="none" strike="noStrike" kern="1200" cap="none" spc="0" normalizeH="0" baseline="0" noProof="0" dirty="0">
              <a:ln>
                <a:noFill/>
              </a:ln>
              <a:solidFill>
                <a:srgbClr val="FFFFFF"/>
              </a:solidFill>
              <a:effectLst/>
              <a:uLnTx/>
              <a:uFillTx/>
              <a:latin typeface="OPPOSans R" panose="00020600040101010101" pitchFamily="18" charset="-122"/>
              <a:ea typeface="微软雅黑"/>
              <a:cs typeface="+mn-cs"/>
              <a:sym typeface="Helvetica Neue Medium"/>
            </a:endParaRPr>
          </a:p>
        </p:txBody>
      </p:sp>
      <p:sp>
        <p:nvSpPr>
          <p:cNvPr id="2642" name="gaoding-7"/>
          <p:cNvSpPr/>
          <p:nvPr/>
        </p:nvSpPr>
        <p:spPr>
          <a:xfrm flipV="1">
            <a:off x="8266745" y="2739608"/>
            <a:ext cx="0" cy="504344"/>
          </a:xfrm>
          <a:prstGeom prst="line">
            <a:avLst/>
          </a:prstGeom>
          <a:noFill/>
          <a:ln w="25400" cap="flat">
            <a:solidFill>
              <a:schemeClr val="bg1">
                <a:lumMod val="85000"/>
              </a:schemeClr>
            </a:solidFill>
            <a:prstDash val="solid"/>
            <a:miter lim="400000"/>
          </a:ln>
          <a:effectLst/>
        </p:spPr>
        <p:txBody>
          <a:bodyPr wrap="square" lIns="0" tIns="0" rIns="0" bIns="0" numCol="1"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1600" b="0" i="0" u="none" strike="noStrike" kern="1200" cap="none" spc="0" normalizeH="0" baseline="0" noProof="0" dirty="0">
              <a:ln>
                <a:noFill/>
              </a:ln>
              <a:solidFill>
                <a:srgbClr val="FFFFFF"/>
              </a:solidFill>
              <a:effectLst/>
              <a:uLnTx/>
              <a:uFillTx/>
              <a:latin typeface="OPPOSans R" panose="00020600040101010101" pitchFamily="18" charset="-122"/>
              <a:ea typeface="微软雅黑"/>
              <a:cs typeface="+mn-cs"/>
              <a:sym typeface="Helvetica Neue Medium"/>
            </a:endParaRPr>
          </a:p>
        </p:txBody>
      </p:sp>
      <p:sp>
        <p:nvSpPr>
          <p:cNvPr id="2643" name="gaoding-8"/>
          <p:cNvSpPr/>
          <p:nvPr/>
        </p:nvSpPr>
        <p:spPr>
          <a:xfrm flipV="1">
            <a:off x="6082036" y="2255368"/>
            <a:ext cx="0" cy="955503"/>
          </a:xfrm>
          <a:prstGeom prst="line">
            <a:avLst/>
          </a:prstGeom>
          <a:noFill/>
          <a:ln w="25400" cap="flat">
            <a:solidFill>
              <a:srgbClr val="D6D7DA"/>
            </a:solidFill>
            <a:prstDash val="solid"/>
            <a:miter lim="400000"/>
          </a:ln>
          <a:effectLst/>
        </p:spPr>
        <p:txBody>
          <a:bodyPr wrap="square" lIns="0" tIns="0" rIns="0" bIns="0" numCol="1"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1600" b="0" i="0" u="none" strike="noStrike" kern="1200" cap="none" spc="0" normalizeH="0" baseline="0" noProof="0" dirty="0">
              <a:ln>
                <a:noFill/>
              </a:ln>
              <a:solidFill>
                <a:srgbClr val="FFFFFF"/>
              </a:solidFill>
              <a:effectLst/>
              <a:uLnTx/>
              <a:uFillTx/>
              <a:latin typeface="OPPOSans R" panose="00020600040101010101" pitchFamily="18" charset="-122"/>
              <a:ea typeface="微软雅黑"/>
              <a:cs typeface="+mn-cs"/>
              <a:sym typeface="Helvetica Neue Medium"/>
            </a:endParaRPr>
          </a:p>
        </p:txBody>
      </p:sp>
      <p:sp>
        <p:nvSpPr>
          <p:cNvPr id="2644" name="gaoding-9"/>
          <p:cNvSpPr/>
          <p:nvPr/>
        </p:nvSpPr>
        <p:spPr>
          <a:xfrm>
            <a:off x="1741921" y="2741233"/>
            <a:ext cx="8692930" cy="419467"/>
          </a:xfrm>
          <a:custGeom>
            <a:avLst/>
            <a:gdLst/>
            <a:ahLst/>
            <a:cxnLst>
              <a:cxn ang="0">
                <a:pos x="wd2" y="hd2"/>
              </a:cxn>
              <a:cxn ang="5400000">
                <a:pos x="wd2" y="hd2"/>
              </a:cxn>
              <a:cxn ang="10800000">
                <a:pos x="wd2" y="hd2"/>
              </a:cxn>
              <a:cxn ang="16200000">
                <a:pos x="wd2" y="hd2"/>
              </a:cxn>
            </a:cxnLst>
            <a:rect l="0" t="0" r="r" b="b"/>
            <a:pathLst>
              <a:path w="21600" h="21473" extrusionOk="0">
                <a:moveTo>
                  <a:pt x="0" y="21295"/>
                </a:moveTo>
                <a:lnTo>
                  <a:pt x="0" y="6662"/>
                </a:lnTo>
                <a:cubicBezTo>
                  <a:pt x="1" y="4864"/>
                  <a:pt x="36" y="3145"/>
                  <a:pt x="99" y="1893"/>
                </a:cubicBezTo>
                <a:cubicBezTo>
                  <a:pt x="166" y="555"/>
                  <a:pt x="258" y="-127"/>
                  <a:pt x="351" y="20"/>
                </a:cubicBezTo>
                <a:lnTo>
                  <a:pt x="21284" y="20"/>
                </a:lnTo>
                <a:cubicBezTo>
                  <a:pt x="21377" y="43"/>
                  <a:pt x="21465" y="897"/>
                  <a:pt x="21525" y="2361"/>
                </a:cubicBezTo>
                <a:cubicBezTo>
                  <a:pt x="21573" y="3526"/>
                  <a:pt x="21599" y="5000"/>
                  <a:pt x="21600" y="6527"/>
                </a:cubicBezTo>
                <a:lnTo>
                  <a:pt x="21600" y="21473"/>
                </a:lnTo>
              </a:path>
            </a:pathLst>
          </a:custGeom>
          <a:noFill/>
          <a:ln w="25400" cap="flat">
            <a:solidFill>
              <a:schemeClr val="bg1">
                <a:lumMod val="85000"/>
              </a:schemeClr>
            </a:solidFill>
            <a:prstDash val="solid"/>
            <a:miter lim="400000"/>
          </a:ln>
          <a:effectLst/>
        </p:spPr>
        <p:txBody>
          <a:bodyPr wrap="square" lIns="0" tIns="0" rIns="0" bIns="0" numCol="1"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1600" b="0" i="0" u="none" strike="noStrike" kern="1200" cap="none" spc="0" normalizeH="0" baseline="0" noProof="0" dirty="0">
              <a:ln>
                <a:noFill/>
              </a:ln>
              <a:solidFill>
                <a:srgbClr val="FFFFFF"/>
              </a:solidFill>
              <a:effectLst/>
              <a:uLnTx/>
              <a:uFillTx/>
              <a:latin typeface="OPPOSans R" panose="00020600040101010101" pitchFamily="18" charset="-122"/>
              <a:ea typeface="微软雅黑"/>
              <a:cs typeface="+mn-cs"/>
              <a:sym typeface="Helvetica Neue Medium"/>
            </a:endParaRPr>
          </a:p>
        </p:txBody>
      </p:sp>
      <p:sp>
        <p:nvSpPr>
          <p:cNvPr id="2645" name="gaoding-10"/>
          <p:cNvSpPr/>
          <p:nvPr/>
        </p:nvSpPr>
        <p:spPr>
          <a:xfrm>
            <a:off x="4912518" y="1700226"/>
            <a:ext cx="2352121" cy="588765"/>
          </a:xfrm>
          <a:custGeom>
            <a:avLst/>
            <a:gdLst/>
            <a:ahLst/>
            <a:cxnLst>
              <a:cxn ang="0">
                <a:pos x="wd2" y="hd2"/>
              </a:cxn>
              <a:cxn ang="5400000">
                <a:pos x="wd2" y="hd2"/>
              </a:cxn>
              <a:cxn ang="10800000">
                <a:pos x="wd2" y="hd2"/>
              </a:cxn>
              <a:cxn ang="16200000">
                <a:pos x="wd2" y="hd2"/>
              </a:cxn>
            </a:cxnLst>
            <a:rect l="0" t="0" r="r" b="b"/>
            <a:pathLst>
              <a:path w="21600" h="21600" extrusionOk="0">
                <a:moveTo>
                  <a:pt x="1087" y="0"/>
                </a:moveTo>
                <a:lnTo>
                  <a:pt x="20513" y="0"/>
                </a:lnTo>
                <a:cubicBezTo>
                  <a:pt x="20669" y="0"/>
                  <a:pt x="20786" y="0"/>
                  <a:pt x="20886" y="27"/>
                </a:cubicBezTo>
                <a:cubicBezTo>
                  <a:pt x="20985" y="53"/>
                  <a:pt x="21067" y="106"/>
                  <a:pt x="21151" y="213"/>
                </a:cubicBezTo>
                <a:cubicBezTo>
                  <a:pt x="21243" y="347"/>
                  <a:pt x="21325" y="558"/>
                  <a:pt x="21393" y="828"/>
                </a:cubicBezTo>
                <a:cubicBezTo>
                  <a:pt x="21460" y="1098"/>
                  <a:pt x="21513" y="1427"/>
                  <a:pt x="21547" y="1794"/>
                </a:cubicBezTo>
                <a:cubicBezTo>
                  <a:pt x="21573" y="2130"/>
                  <a:pt x="21587" y="2456"/>
                  <a:pt x="21593" y="2856"/>
                </a:cubicBezTo>
                <a:cubicBezTo>
                  <a:pt x="21600" y="3256"/>
                  <a:pt x="21600" y="3730"/>
                  <a:pt x="21600" y="4362"/>
                </a:cubicBezTo>
                <a:lnTo>
                  <a:pt x="21600" y="17257"/>
                </a:lnTo>
                <a:cubicBezTo>
                  <a:pt x="21600" y="17879"/>
                  <a:pt x="21600" y="18349"/>
                  <a:pt x="21593" y="18746"/>
                </a:cubicBezTo>
                <a:cubicBezTo>
                  <a:pt x="21587" y="19144"/>
                  <a:pt x="21573" y="19470"/>
                  <a:pt x="21547" y="19806"/>
                </a:cubicBezTo>
                <a:cubicBezTo>
                  <a:pt x="21513" y="20173"/>
                  <a:pt x="21460" y="20502"/>
                  <a:pt x="21393" y="20772"/>
                </a:cubicBezTo>
                <a:cubicBezTo>
                  <a:pt x="21325" y="21042"/>
                  <a:pt x="21243" y="21253"/>
                  <a:pt x="21151" y="21387"/>
                </a:cubicBezTo>
                <a:cubicBezTo>
                  <a:pt x="21067" y="21494"/>
                  <a:pt x="20985" y="21547"/>
                  <a:pt x="20885" y="21573"/>
                </a:cubicBezTo>
                <a:cubicBezTo>
                  <a:pt x="20785" y="21600"/>
                  <a:pt x="20666" y="21600"/>
                  <a:pt x="20508" y="21600"/>
                </a:cubicBezTo>
                <a:lnTo>
                  <a:pt x="1087" y="21600"/>
                </a:lnTo>
                <a:cubicBezTo>
                  <a:pt x="931" y="21600"/>
                  <a:pt x="814" y="21600"/>
                  <a:pt x="714" y="21573"/>
                </a:cubicBezTo>
                <a:cubicBezTo>
                  <a:pt x="615" y="21547"/>
                  <a:pt x="533" y="21494"/>
                  <a:pt x="449" y="21387"/>
                </a:cubicBezTo>
                <a:cubicBezTo>
                  <a:pt x="357" y="21253"/>
                  <a:pt x="275" y="21042"/>
                  <a:pt x="207" y="20772"/>
                </a:cubicBezTo>
                <a:cubicBezTo>
                  <a:pt x="140" y="20502"/>
                  <a:pt x="87" y="20173"/>
                  <a:pt x="53" y="19806"/>
                </a:cubicBezTo>
                <a:cubicBezTo>
                  <a:pt x="27" y="19470"/>
                  <a:pt x="13" y="19144"/>
                  <a:pt x="7" y="18744"/>
                </a:cubicBezTo>
                <a:cubicBezTo>
                  <a:pt x="0" y="18344"/>
                  <a:pt x="0" y="17870"/>
                  <a:pt x="0" y="17238"/>
                </a:cubicBezTo>
                <a:lnTo>
                  <a:pt x="0" y="4343"/>
                </a:lnTo>
                <a:cubicBezTo>
                  <a:pt x="0" y="3721"/>
                  <a:pt x="0" y="3251"/>
                  <a:pt x="7" y="2854"/>
                </a:cubicBezTo>
                <a:cubicBezTo>
                  <a:pt x="13" y="2456"/>
                  <a:pt x="27" y="2130"/>
                  <a:pt x="53" y="1794"/>
                </a:cubicBezTo>
                <a:cubicBezTo>
                  <a:pt x="87" y="1427"/>
                  <a:pt x="140" y="1098"/>
                  <a:pt x="207" y="828"/>
                </a:cubicBezTo>
                <a:cubicBezTo>
                  <a:pt x="275" y="558"/>
                  <a:pt x="357" y="347"/>
                  <a:pt x="449" y="213"/>
                </a:cubicBezTo>
                <a:cubicBezTo>
                  <a:pt x="533" y="106"/>
                  <a:pt x="615" y="53"/>
                  <a:pt x="715" y="27"/>
                </a:cubicBezTo>
                <a:cubicBezTo>
                  <a:pt x="815" y="0"/>
                  <a:pt x="934" y="0"/>
                  <a:pt x="1092" y="0"/>
                </a:cubicBezTo>
                <a:lnTo>
                  <a:pt x="1087" y="0"/>
                </a:lnTo>
                <a:close/>
              </a:path>
            </a:pathLst>
          </a:custGeom>
          <a:solidFill>
            <a:schemeClr val="accent6">
              <a:lumMod val="20000"/>
              <a:lumOff val="80000"/>
            </a:schemeClr>
          </a:solidFill>
          <a:ln w="12700" cap="flat">
            <a:noFill/>
            <a:miter lim="400000"/>
          </a:ln>
          <a:effectLst/>
        </p:spPr>
        <p:txBody>
          <a:bodyPr wrap="square" lIns="0" tIns="0" rIns="0" bIns="0" numCol="1"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1600" b="0" i="0" u="none" strike="noStrike" kern="1200" cap="none" spc="0" normalizeH="0" baseline="0" noProof="0" dirty="0">
              <a:ln>
                <a:noFill/>
              </a:ln>
              <a:solidFill>
                <a:srgbClr val="FFFFFF"/>
              </a:solidFill>
              <a:effectLst/>
              <a:uLnTx/>
              <a:uFillTx/>
              <a:latin typeface="OPPOSans R" panose="00020600040101010101" pitchFamily="18" charset="-122"/>
              <a:ea typeface="微软雅黑"/>
              <a:cs typeface="+mn-cs"/>
              <a:sym typeface="Helvetica Neue Medium"/>
            </a:endParaRPr>
          </a:p>
        </p:txBody>
      </p:sp>
      <p:sp>
        <p:nvSpPr>
          <p:cNvPr id="2649" name="gaoding-11"/>
          <p:cNvSpPr/>
          <p:nvPr/>
        </p:nvSpPr>
        <p:spPr>
          <a:xfrm>
            <a:off x="5161096" y="4026498"/>
            <a:ext cx="1846037" cy="1763122"/>
          </a:xfrm>
          <a:custGeom>
            <a:avLst/>
            <a:gdLst/>
            <a:ahLst/>
            <a:cxnLst>
              <a:cxn ang="0">
                <a:pos x="wd2" y="hd2"/>
              </a:cxn>
              <a:cxn ang="5400000">
                <a:pos x="wd2" y="hd2"/>
              </a:cxn>
              <a:cxn ang="10800000">
                <a:pos x="wd2" y="hd2"/>
              </a:cxn>
              <a:cxn ang="16200000">
                <a:pos x="wd2" y="hd2"/>
              </a:cxn>
            </a:cxnLst>
            <a:rect l="0" t="0" r="r" b="b"/>
            <a:pathLst>
              <a:path w="21600" h="21600" extrusionOk="0">
                <a:moveTo>
                  <a:pt x="2355" y="0"/>
                </a:moveTo>
                <a:lnTo>
                  <a:pt x="19245" y="0"/>
                </a:lnTo>
                <a:cubicBezTo>
                  <a:pt x="19583" y="0"/>
                  <a:pt x="19837" y="0"/>
                  <a:pt x="20053" y="13"/>
                </a:cubicBezTo>
                <a:cubicBezTo>
                  <a:pt x="20268" y="26"/>
                  <a:pt x="20445" y="52"/>
                  <a:pt x="20627" y="104"/>
                </a:cubicBezTo>
                <a:cubicBezTo>
                  <a:pt x="20826" y="170"/>
                  <a:pt x="21004" y="274"/>
                  <a:pt x="21151" y="406"/>
                </a:cubicBezTo>
                <a:cubicBezTo>
                  <a:pt x="21297" y="539"/>
                  <a:pt x="21412" y="700"/>
                  <a:pt x="21485" y="880"/>
                </a:cubicBezTo>
                <a:cubicBezTo>
                  <a:pt x="21542" y="1045"/>
                  <a:pt x="21571" y="1204"/>
                  <a:pt x="21586" y="1401"/>
                </a:cubicBezTo>
                <a:cubicBezTo>
                  <a:pt x="21600" y="1597"/>
                  <a:pt x="21600" y="1829"/>
                  <a:pt x="21600" y="2139"/>
                </a:cubicBezTo>
                <a:lnTo>
                  <a:pt x="21600" y="19470"/>
                </a:lnTo>
                <a:cubicBezTo>
                  <a:pt x="21600" y="19775"/>
                  <a:pt x="21600" y="20006"/>
                  <a:pt x="21586" y="20201"/>
                </a:cubicBezTo>
                <a:cubicBezTo>
                  <a:pt x="21571" y="20396"/>
                  <a:pt x="21542" y="20555"/>
                  <a:pt x="21485" y="20720"/>
                </a:cubicBezTo>
                <a:cubicBezTo>
                  <a:pt x="21412" y="20900"/>
                  <a:pt x="21297" y="21061"/>
                  <a:pt x="21151" y="21194"/>
                </a:cubicBezTo>
                <a:cubicBezTo>
                  <a:pt x="21004" y="21326"/>
                  <a:pt x="20826" y="21430"/>
                  <a:pt x="20627" y="21496"/>
                </a:cubicBezTo>
                <a:cubicBezTo>
                  <a:pt x="20445" y="21548"/>
                  <a:pt x="20268" y="21574"/>
                  <a:pt x="20051" y="21587"/>
                </a:cubicBezTo>
                <a:cubicBezTo>
                  <a:pt x="19834" y="21600"/>
                  <a:pt x="19577" y="21600"/>
                  <a:pt x="19235" y="21600"/>
                </a:cubicBezTo>
                <a:lnTo>
                  <a:pt x="2355" y="21600"/>
                </a:lnTo>
                <a:cubicBezTo>
                  <a:pt x="2017" y="21600"/>
                  <a:pt x="1763" y="21600"/>
                  <a:pt x="1547" y="21587"/>
                </a:cubicBezTo>
                <a:cubicBezTo>
                  <a:pt x="1332" y="21574"/>
                  <a:pt x="1155" y="21548"/>
                  <a:pt x="973" y="21496"/>
                </a:cubicBezTo>
                <a:cubicBezTo>
                  <a:pt x="774" y="21430"/>
                  <a:pt x="596" y="21326"/>
                  <a:pt x="449" y="21194"/>
                </a:cubicBezTo>
                <a:cubicBezTo>
                  <a:pt x="303" y="21061"/>
                  <a:pt x="188" y="20900"/>
                  <a:pt x="115" y="20720"/>
                </a:cubicBezTo>
                <a:cubicBezTo>
                  <a:pt x="58" y="20555"/>
                  <a:pt x="29" y="20396"/>
                  <a:pt x="14" y="20199"/>
                </a:cubicBezTo>
                <a:cubicBezTo>
                  <a:pt x="0" y="20003"/>
                  <a:pt x="0" y="19771"/>
                  <a:pt x="0" y="19461"/>
                </a:cubicBezTo>
                <a:lnTo>
                  <a:pt x="0" y="2130"/>
                </a:lnTo>
                <a:cubicBezTo>
                  <a:pt x="0" y="1825"/>
                  <a:pt x="0" y="1594"/>
                  <a:pt x="14" y="1399"/>
                </a:cubicBezTo>
                <a:cubicBezTo>
                  <a:pt x="29" y="1204"/>
                  <a:pt x="58" y="1045"/>
                  <a:pt x="115" y="880"/>
                </a:cubicBezTo>
                <a:cubicBezTo>
                  <a:pt x="188" y="700"/>
                  <a:pt x="303" y="539"/>
                  <a:pt x="449" y="406"/>
                </a:cubicBezTo>
                <a:cubicBezTo>
                  <a:pt x="596" y="274"/>
                  <a:pt x="774" y="170"/>
                  <a:pt x="973" y="104"/>
                </a:cubicBezTo>
                <a:cubicBezTo>
                  <a:pt x="1155" y="52"/>
                  <a:pt x="1332" y="26"/>
                  <a:pt x="1549" y="13"/>
                </a:cubicBezTo>
                <a:cubicBezTo>
                  <a:pt x="1766" y="0"/>
                  <a:pt x="2023" y="0"/>
                  <a:pt x="2365" y="0"/>
                </a:cubicBezTo>
                <a:lnTo>
                  <a:pt x="2355" y="0"/>
                </a:lnTo>
                <a:close/>
              </a:path>
            </a:pathLst>
          </a:custGeom>
          <a:solidFill>
            <a:schemeClr val="bg1"/>
          </a:solidFill>
          <a:ln w="25400" cap="flat">
            <a:solidFill>
              <a:schemeClr val="bg1">
                <a:lumMod val="85000"/>
              </a:schemeClr>
            </a:solidFill>
            <a:custDash>
              <a:ds d="200000" sp="200000"/>
            </a:custDash>
            <a:miter lim="400000"/>
          </a:ln>
          <a:effectLst/>
        </p:spPr>
        <p:txBody>
          <a:bodyPr wrap="square" lIns="0" tIns="0" rIns="0" bIns="0" numCol="1"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sz="3200" b="0">
                <a:solidFill>
                  <a:srgbClr val="F3F4F5"/>
                </a:solidFill>
                <a:latin typeface="+mn-lt"/>
                <a:ea typeface="+mn-ea"/>
                <a:cs typeface="+mn-cs"/>
                <a:sym typeface="Helvetica Neue Medium"/>
              </a:defRPr>
            </a:pPr>
            <a:endParaRPr kumimoji="0" sz="1600" b="0" i="0" u="none" strike="noStrike" kern="1200" cap="none" spc="0" normalizeH="0" baseline="0" noProof="0" dirty="0">
              <a:ln>
                <a:noFill/>
              </a:ln>
              <a:solidFill>
                <a:srgbClr val="F3F4F5"/>
              </a:solidFill>
              <a:effectLst/>
              <a:uLnTx/>
              <a:uFillTx/>
              <a:latin typeface="OPPOSans R" panose="00020600040101010101" pitchFamily="18" charset="-122"/>
              <a:ea typeface="微软雅黑"/>
              <a:cs typeface="+mn-cs"/>
              <a:sym typeface="Helvetica Neue Medium"/>
            </a:endParaRPr>
          </a:p>
        </p:txBody>
      </p:sp>
      <p:sp>
        <p:nvSpPr>
          <p:cNvPr id="2650" name="gaoding-12"/>
          <p:cNvSpPr/>
          <p:nvPr/>
        </p:nvSpPr>
        <p:spPr>
          <a:xfrm>
            <a:off x="5253854" y="4155043"/>
            <a:ext cx="1670624" cy="425818"/>
          </a:xfrm>
          <a:custGeom>
            <a:avLst/>
            <a:gdLst/>
            <a:ahLst/>
            <a:cxnLst>
              <a:cxn ang="0">
                <a:pos x="wd2" y="hd2"/>
              </a:cxn>
              <a:cxn ang="5400000">
                <a:pos x="wd2" y="hd2"/>
              </a:cxn>
              <a:cxn ang="10800000">
                <a:pos x="wd2" y="hd2"/>
              </a:cxn>
              <a:cxn ang="16200000">
                <a:pos x="wd2" y="hd2"/>
              </a:cxn>
            </a:cxnLst>
            <a:rect l="0" t="0" r="r" b="b"/>
            <a:pathLst>
              <a:path w="21600" h="21600" extrusionOk="0">
                <a:moveTo>
                  <a:pt x="1569" y="0"/>
                </a:moveTo>
                <a:lnTo>
                  <a:pt x="20031" y="0"/>
                </a:lnTo>
                <a:cubicBezTo>
                  <a:pt x="20256" y="0"/>
                  <a:pt x="20426" y="0"/>
                  <a:pt x="20569" y="38"/>
                </a:cubicBezTo>
                <a:cubicBezTo>
                  <a:pt x="20713" y="75"/>
                  <a:pt x="20831" y="151"/>
                  <a:pt x="20952" y="302"/>
                </a:cubicBezTo>
                <a:cubicBezTo>
                  <a:pt x="21085" y="491"/>
                  <a:pt x="21203" y="791"/>
                  <a:pt x="21301" y="1174"/>
                </a:cubicBezTo>
                <a:cubicBezTo>
                  <a:pt x="21398" y="1556"/>
                  <a:pt x="21475" y="2022"/>
                  <a:pt x="21523" y="2543"/>
                </a:cubicBezTo>
                <a:cubicBezTo>
                  <a:pt x="21562" y="3019"/>
                  <a:pt x="21581" y="3480"/>
                  <a:pt x="21590" y="4047"/>
                </a:cubicBezTo>
                <a:cubicBezTo>
                  <a:pt x="21600" y="4614"/>
                  <a:pt x="21600" y="5286"/>
                  <a:pt x="21600" y="6182"/>
                </a:cubicBezTo>
                <a:lnTo>
                  <a:pt x="21600" y="15445"/>
                </a:lnTo>
                <a:cubicBezTo>
                  <a:pt x="21600" y="16327"/>
                  <a:pt x="21600" y="16992"/>
                  <a:pt x="21590" y="17556"/>
                </a:cubicBezTo>
                <a:cubicBezTo>
                  <a:pt x="21581" y="18120"/>
                  <a:pt x="21562" y="18581"/>
                  <a:pt x="21523" y="19057"/>
                </a:cubicBezTo>
                <a:cubicBezTo>
                  <a:pt x="21475" y="19578"/>
                  <a:pt x="21398" y="20044"/>
                  <a:pt x="21301" y="20426"/>
                </a:cubicBezTo>
                <a:cubicBezTo>
                  <a:pt x="21203" y="20809"/>
                  <a:pt x="21085" y="21109"/>
                  <a:pt x="20952" y="21298"/>
                </a:cubicBezTo>
                <a:cubicBezTo>
                  <a:pt x="20831" y="21449"/>
                  <a:pt x="20713" y="21525"/>
                  <a:pt x="20568" y="21562"/>
                </a:cubicBezTo>
                <a:cubicBezTo>
                  <a:pt x="20424" y="21600"/>
                  <a:pt x="20253" y="21600"/>
                  <a:pt x="20024" y="21600"/>
                </a:cubicBezTo>
                <a:lnTo>
                  <a:pt x="1569" y="21600"/>
                </a:lnTo>
                <a:cubicBezTo>
                  <a:pt x="1344" y="21600"/>
                  <a:pt x="1174" y="21600"/>
                  <a:pt x="1031" y="21562"/>
                </a:cubicBezTo>
                <a:cubicBezTo>
                  <a:pt x="887" y="21525"/>
                  <a:pt x="769" y="21449"/>
                  <a:pt x="648" y="21298"/>
                </a:cubicBezTo>
                <a:cubicBezTo>
                  <a:pt x="515" y="21109"/>
                  <a:pt x="397" y="20809"/>
                  <a:pt x="299" y="20426"/>
                </a:cubicBezTo>
                <a:cubicBezTo>
                  <a:pt x="202" y="20044"/>
                  <a:pt x="125" y="19578"/>
                  <a:pt x="77" y="19057"/>
                </a:cubicBezTo>
                <a:cubicBezTo>
                  <a:pt x="38" y="18581"/>
                  <a:pt x="19" y="18120"/>
                  <a:pt x="10" y="17553"/>
                </a:cubicBezTo>
                <a:cubicBezTo>
                  <a:pt x="0" y="16986"/>
                  <a:pt x="0" y="16314"/>
                  <a:pt x="0" y="15418"/>
                </a:cubicBezTo>
                <a:lnTo>
                  <a:pt x="0" y="6155"/>
                </a:lnTo>
                <a:cubicBezTo>
                  <a:pt x="0" y="5273"/>
                  <a:pt x="0" y="4608"/>
                  <a:pt x="10" y="4044"/>
                </a:cubicBezTo>
                <a:cubicBezTo>
                  <a:pt x="19" y="3480"/>
                  <a:pt x="38" y="3019"/>
                  <a:pt x="77" y="2543"/>
                </a:cubicBezTo>
                <a:cubicBezTo>
                  <a:pt x="125" y="2022"/>
                  <a:pt x="202" y="1556"/>
                  <a:pt x="299" y="1174"/>
                </a:cubicBezTo>
                <a:cubicBezTo>
                  <a:pt x="397" y="791"/>
                  <a:pt x="515" y="491"/>
                  <a:pt x="648" y="302"/>
                </a:cubicBezTo>
                <a:cubicBezTo>
                  <a:pt x="769" y="151"/>
                  <a:pt x="887" y="75"/>
                  <a:pt x="1032" y="38"/>
                </a:cubicBezTo>
                <a:cubicBezTo>
                  <a:pt x="1176" y="0"/>
                  <a:pt x="1347" y="0"/>
                  <a:pt x="1576" y="0"/>
                </a:cubicBezTo>
                <a:lnTo>
                  <a:pt x="1569" y="0"/>
                </a:lnTo>
                <a:close/>
              </a:path>
            </a:pathLst>
          </a:custGeom>
          <a:solidFill>
            <a:srgbClr val="F5F4F5"/>
          </a:solidFill>
          <a:ln w="12700" cap="flat">
            <a:noFill/>
            <a:miter lim="400000"/>
          </a:ln>
          <a:effectLst/>
        </p:spPr>
        <p:txBody>
          <a:bodyPr wrap="square" lIns="0" tIns="0" rIns="0" bIns="0" numCol="1"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sz="3200" b="0">
                <a:solidFill>
                  <a:srgbClr val="F3F4F5"/>
                </a:solidFill>
                <a:latin typeface="+mn-lt"/>
                <a:ea typeface="+mn-ea"/>
                <a:cs typeface="+mn-cs"/>
                <a:sym typeface="Helvetica Neue Medium"/>
              </a:defRPr>
            </a:pPr>
            <a:endParaRPr kumimoji="0" sz="1600" b="0" i="0" u="none" strike="noStrike" kern="1200" cap="none" spc="0" normalizeH="0" baseline="0" noProof="0" dirty="0">
              <a:ln>
                <a:noFill/>
              </a:ln>
              <a:solidFill>
                <a:srgbClr val="F3F4F5"/>
              </a:solidFill>
              <a:effectLst/>
              <a:uLnTx/>
              <a:uFillTx/>
              <a:latin typeface="OPPOSans R" panose="00020600040101010101" pitchFamily="18" charset="-122"/>
              <a:ea typeface="微软雅黑"/>
              <a:cs typeface="+mn-cs"/>
              <a:sym typeface="Helvetica Neue Medium"/>
            </a:endParaRPr>
          </a:p>
        </p:txBody>
      </p:sp>
      <p:sp>
        <p:nvSpPr>
          <p:cNvPr id="2653" name="gaoding-13"/>
          <p:cNvSpPr/>
          <p:nvPr/>
        </p:nvSpPr>
        <p:spPr>
          <a:xfrm>
            <a:off x="5253854" y="4709825"/>
            <a:ext cx="1670624" cy="425818"/>
          </a:xfrm>
          <a:custGeom>
            <a:avLst/>
            <a:gdLst/>
            <a:ahLst/>
            <a:cxnLst>
              <a:cxn ang="0">
                <a:pos x="wd2" y="hd2"/>
              </a:cxn>
              <a:cxn ang="5400000">
                <a:pos x="wd2" y="hd2"/>
              </a:cxn>
              <a:cxn ang="10800000">
                <a:pos x="wd2" y="hd2"/>
              </a:cxn>
              <a:cxn ang="16200000">
                <a:pos x="wd2" y="hd2"/>
              </a:cxn>
            </a:cxnLst>
            <a:rect l="0" t="0" r="r" b="b"/>
            <a:pathLst>
              <a:path w="21600" h="21600" extrusionOk="0">
                <a:moveTo>
                  <a:pt x="1569" y="0"/>
                </a:moveTo>
                <a:lnTo>
                  <a:pt x="20031" y="0"/>
                </a:lnTo>
                <a:cubicBezTo>
                  <a:pt x="20256" y="0"/>
                  <a:pt x="20426" y="0"/>
                  <a:pt x="20569" y="38"/>
                </a:cubicBezTo>
                <a:cubicBezTo>
                  <a:pt x="20713" y="75"/>
                  <a:pt x="20831" y="151"/>
                  <a:pt x="20952" y="302"/>
                </a:cubicBezTo>
                <a:cubicBezTo>
                  <a:pt x="21085" y="491"/>
                  <a:pt x="21203" y="791"/>
                  <a:pt x="21301" y="1174"/>
                </a:cubicBezTo>
                <a:cubicBezTo>
                  <a:pt x="21398" y="1556"/>
                  <a:pt x="21475" y="2022"/>
                  <a:pt x="21523" y="2543"/>
                </a:cubicBezTo>
                <a:cubicBezTo>
                  <a:pt x="21562" y="3019"/>
                  <a:pt x="21581" y="3480"/>
                  <a:pt x="21590" y="4047"/>
                </a:cubicBezTo>
                <a:cubicBezTo>
                  <a:pt x="21600" y="4614"/>
                  <a:pt x="21600" y="5286"/>
                  <a:pt x="21600" y="6182"/>
                </a:cubicBezTo>
                <a:lnTo>
                  <a:pt x="21600" y="15445"/>
                </a:lnTo>
                <a:cubicBezTo>
                  <a:pt x="21600" y="16327"/>
                  <a:pt x="21600" y="16992"/>
                  <a:pt x="21590" y="17556"/>
                </a:cubicBezTo>
                <a:cubicBezTo>
                  <a:pt x="21581" y="18120"/>
                  <a:pt x="21562" y="18581"/>
                  <a:pt x="21523" y="19057"/>
                </a:cubicBezTo>
                <a:cubicBezTo>
                  <a:pt x="21475" y="19578"/>
                  <a:pt x="21398" y="20044"/>
                  <a:pt x="21301" y="20426"/>
                </a:cubicBezTo>
                <a:cubicBezTo>
                  <a:pt x="21203" y="20809"/>
                  <a:pt x="21085" y="21109"/>
                  <a:pt x="20952" y="21298"/>
                </a:cubicBezTo>
                <a:cubicBezTo>
                  <a:pt x="20831" y="21449"/>
                  <a:pt x="20713" y="21525"/>
                  <a:pt x="20568" y="21562"/>
                </a:cubicBezTo>
                <a:cubicBezTo>
                  <a:pt x="20424" y="21600"/>
                  <a:pt x="20253" y="21600"/>
                  <a:pt x="20024" y="21600"/>
                </a:cubicBezTo>
                <a:lnTo>
                  <a:pt x="1569" y="21600"/>
                </a:lnTo>
                <a:cubicBezTo>
                  <a:pt x="1344" y="21600"/>
                  <a:pt x="1174" y="21600"/>
                  <a:pt x="1031" y="21562"/>
                </a:cubicBezTo>
                <a:cubicBezTo>
                  <a:pt x="887" y="21525"/>
                  <a:pt x="769" y="21449"/>
                  <a:pt x="648" y="21298"/>
                </a:cubicBezTo>
                <a:cubicBezTo>
                  <a:pt x="515" y="21109"/>
                  <a:pt x="397" y="20809"/>
                  <a:pt x="299" y="20426"/>
                </a:cubicBezTo>
                <a:cubicBezTo>
                  <a:pt x="202" y="20044"/>
                  <a:pt x="125" y="19578"/>
                  <a:pt x="77" y="19057"/>
                </a:cubicBezTo>
                <a:cubicBezTo>
                  <a:pt x="38" y="18581"/>
                  <a:pt x="19" y="18120"/>
                  <a:pt x="10" y="17553"/>
                </a:cubicBezTo>
                <a:cubicBezTo>
                  <a:pt x="0" y="16986"/>
                  <a:pt x="0" y="16314"/>
                  <a:pt x="0" y="15418"/>
                </a:cubicBezTo>
                <a:lnTo>
                  <a:pt x="0" y="6155"/>
                </a:lnTo>
                <a:cubicBezTo>
                  <a:pt x="0" y="5273"/>
                  <a:pt x="0" y="4608"/>
                  <a:pt x="10" y="4044"/>
                </a:cubicBezTo>
                <a:cubicBezTo>
                  <a:pt x="19" y="3480"/>
                  <a:pt x="38" y="3019"/>
                  <a:pt x="77" y="2543"/>
                </a:cubicBezTo>
                <a:cubicBezTo>
                  <a:pt x="125" y="2022"/>
                  <a:pt x="202" y="1556"/>
                  <a:pt x="299" y="1174"/>
                </a:cubicBezTo>
                <a:cubicBezTo>
                  <a:pt x="397" y="791"/>
                  <a:pt x="515" y="491"/>
                  <a:pt x="648" y="302"/>
                </a:cubicBezTo>
                <a:cubicBezTo>
                  <a:pt x="769" y="151"/>
                  <a:pt x="887" y="75"/>
                  <a:pt x="1032" y="38"/>
                </a:cubicBezTo>
                <a:cubicBezTo>
                  <a:pt x="1176" y="0"/>
                  <a:pt x="1347" y="0"/>
                  <a:pt x="1576" y="0"/>
                </a:cubicBezTo>
                <a:lnTo>
                  <a:pt x="1569" y="0"/>
                </a:lnTo>
                <a:close/>
              </a:path>
            </a:pathLst>
          </a:custGeom>
          <a:solidFill>
            <a:srgbClr val="F5F4F5"/>
          </a:solidFill>
          <a:ln w="12700" cap="flat">
            <a:noFill/>
            <a:miter lim="400000"/>
          </a:ln>
          <a:effectLst/>
        </p:spPr>
        <p:txBody>
          <a:bodyPr wrap="square" lIns="0" tIns="0" rIns="0" bIns="0" numCol="1"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sz="3200" b="0">
                <a:solidFill>
                  <a:srgbClr val="F3F4F5"/>
                </a:solidFill>
                <a:latin typeface="+mn-lt"/>
                <a:ea typeface="+mn-ea"/>
                <a:cs typeface="+mn-cs"/>
                <a:sym typeface="Helvetica Neue Medium"/>
              </a:defRPr>
            </a:pPr>
            <a:endParaRPr kumimoji="0" sz="1600" b="0" i="0" u="none" strike="noStrike" kern="1200" cap="none" spc="0" normalizeH="0" baseline="0" noProof="0" dirty="0">
              <a:ln>
                <a:noFill/>
              </a:ln>
              <a:solidFill>
                <a:srgbClr val="F3F4F5"/>
              </a:solidFill>
              <a:effectLst/>
              <a:uLnTx/>
              <a:uFillTx/>
              <a:latin typeface="OPPOSans R" panose="00020600040101010101" pitchFamily="18" charset="-122"/>
              <a:ea typeface="微软雅黑"/>
              <a:cs typeface="+mn-cs"/>
              <a:sym typeface="Helvetica Neue Medium"/>
            </a:endParaRPr>
          </a:p>
        </p:txBody>
      </p:sp>
      <p:sp>
        <p:nvSpPr>
          <p:cNvPr id="2656" name="gaoding-14"/>
          <p:cNvSpPr/>
          <p:nvPr/>
        </p:nvSpPr>
        <p:spPr>
          <a:xfrm>
            <a:off x="5253854" y="5264608"/>
            <a:ext cx="1670624" cy="425818"/>
          </a:xfrm>
          <a:custGeom>
            <a:avLst/>
            <a:gdLst/>
            <a:ahLst/>
            <a:cxnLst>
              <a:cxn ang="0">
                <a:pos x="wd2" y="hd2"/>
              </a:cxn>
              <a:cxn ang="5400000">
                <a:pos x="wd2" y="hd2"/>
              </a:cxn>
              <a:cxn ang="10800000">
                <a:pos x="wd2" y="hd2"/>
              </a:cxn>
              <a:cxn ang="16200000">
                <a:pos x="wd2" y="hd2"/>
              </a:cxn>
            </a:cxnLst>
            <a:rect l="0" t="0" r="r" b="b"/>
            <a:pathLst>
              <a:path w="21600" h="21600" extrusionOk="0">
                <a:moveTo>
                  <a:pt x="1569" y="0"/>
                </a:moveTo>
                <a:lnTo>
                  <a:pt x="20031" y="0"/>
                </a:lnTo>
                <a:cubicBezTo>
                  <a:pt x="20256" y="0"/>
                  <a:pt x="20426" y="0"/>
                  <a:pt x="20569" y="38"/>
                </a:cubicBezTo>
                <a:cubicBezTo>
                  <a:pt x="20713" y="75"/>
                  <a:pt x="20831" y="151"/>
                  <a:pt x="20952" y="302"/>
                </a:cubicBezTo>
                <a:cubicBezTo>
                  <a:pt x="21085" y="491"/>
                  <a:pt x="21203" y="791"/>
                  <a:pt x="21301" y="1174"/>
                </a:cubicBezTo>
                <a:cubicBezTo>
                  <a:pt x="21398" y="1556"/>
                  <a:pt x="21475" y="2022"/>
                  <a:pt x="21523" y="2543"/>
                </a:cubicBezTo>
                <a:cubicBezTo>
                  <a:pt x="21562" y="3019"/>
                  <a:pt x="21581" y="3480"/>
                  <a:pt x="21590" y="4047"/>
                </a:cubicBezTo>
                <a:cubicBezTo>
                  <a:pt x="21600" y="4614"/>
                  <a:pt x="21600" y="5286"/>
                  <a:pt x="21600" y="6182"/>
                </a:cubicBezTo>
                <a:lnTo>
                  <a:pt x="21600" y="15445"/>
                </a:lnTo>
                <a:cubicBezTo>
                  <a:pt x="21600" y="16327"/>
                  <a:pt x="21600" y="16992"/>
                  <a:pt x="21590" y="17556"/>
                </a:cubicBezTo>
                <a:cubicBezTo>
                  <a:pt x="21581" y="18120"/>
                  <a:pt x="21562" y="18581"/>
                  <a:pt x="21523" y="19057"/>
                </a:cubicBezTo>
                <a:cubicBezTo>
                  <a:pt x="21475" y="19578"/>
                  <a:pt x="21398" y="20044"/>
                  <a:pt x="21301" y="20426"/>
                </a:cubicBezTo>
                <a:cubicBezTo>
                  <a:pt x="21203" y="20809"/>
                  <a:pt x="21085" y="21109"/>
                  <a:pt x="20952" y="21298"/>
                </a:cubicBezTo>
                <a:cubicBezTo>
                  <a:pt x="20831" y="21449"/>
                  <a:pt x="20713" y="21525"/>
                  <a:pt x="20568" y="21562"/>
                </a:cubicBezTo>
                <a:cubicBezTo>
                  <a:pt x="20424" y="21600"/>
                  <a:pt x="20253" y="21600"/>
                  <a:pt x="20024" y="21600"/>
                </a:cubicBezTo>
                <a:lnTo>
                  <a:pt x="1569" y="21600"/>
                </a:lnTo>
                <a:cubicBezTo>
                  <a:pt x="1344" y="21600"/>
                  <a:pt x="1174" y="21600"/>
                  <a:pt x="1031" y="21562"/>
                </a:cubicBezTo>
                <a:cubicBezTo>
                  <a:pt x="887" y="21525"/>
                  <a:pt x="769" y="21449"/>
                  <a:pt x="648" y="21298"/>
                </a:cubicBezTo>
                <a:cubicBezTo>
                  <a:pt x="515" y="21109"/>
                  <a:pt x="397" y="20809"/>
                  <a:pt x="299" y="20426"/>
                </a:cubicBezTo>
                <a:cubicBezTo>
                  <a:pt x="202" y="20044"/>
                  <a:pt x="125" y="19578"/>
                  <a:pt x="77" y="19057"/>
                </a:cubicBezTo>
                <a:cubicBezTo>
                  <a:pt x="38" y="18581"/>
                  <a:pt x="19" y="18120"/>
                  <a:pt x="10" y="17553"/>
                </a:cubicBezTo>
                <a:cubicBezTo>
                  <a:pt x="0" y="16986"/>
                  <a:pt x="0" y="16314"/>
                  <a:pt x="0" y="15418"/>
                </a:cubicBezTo>
                <a:lnTo>
                  <a:pt x="0" y="6155"/>
                </a:lnTo>
                <a:cubicBezTo>
                  <a:pt x="0" y="5273"/>
                  <a:pt x="0" y="4608"/>
                  <a:pt x="10" y="4044"/>
                </a:cubicBezTo>
                <a:cubicBezTo>
                  <a:pt x="19" y="3480"/>
                  <a:pt x="38" y="3019"/>
                  <a:pt x="77" y="2543"/>
                </a:cubicBezTo>
                <a:cubicBezTo>
                  <a:pt x="125" y="2022"/>
                  <a:pt x="202" y="1556"/>
                  <a:pt x="299" y="1174"/>
                </a:cubicBezTo>
                <a:cubicBezTo>
                  <a:pt x="397" y="791"/>
                  <a:pt x="515" y="491"/>
                  <a:pt x="648" y="302"/>
                </a:cubicBezTo>
                <a:cubicBezTo>
                  <a:pt x="769" y="151"/>
                  <a:pt x="887" y="75"/>
                  <a:pt x="1032" y="38"/>
                </a:cubicBezTo>
                <a:cubicBezTo>
                  <a:pt x="1176" y="0"/>
                  <a:pt x="1347" y="0"/>
                  <a:pt x="1576" y="0"/>
                </a:cubicBezTo>
                <a:lnTo>
                  <a:pt x="1569" y="0"/>
                </a:lnTo>
                <a:close/>
              </a:path>
            </a:pathLst>
          </a:custGeom>
          <a:solidFill>
            <a:srgbClr val="F5F4F5"/>
          </a:solidFill>
          <a:ln w="12700" cap="flat">
            <a:noFill/>
            <a:miter lim="400000"/>
          </a:ln>
          <a:effectLst/>
        </p:spPr>
        <p:txBody>
          <a:bodyPr wrap="square" lIns="0" tIns="0" rIns="0" bIns="0" numCol="1"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sz="3200" b="0">
                <a:solidFill>
                  <a:srgbClr val="F3F4F5"/>
                </a:solidFill>
                <a:latin typeface="+mn-lt"/>
                <a:ea typeface="+mn-ea"/>
                <a:cs typeface="+mn-cs"/>
                <a:sym typeface="Helvetica Neue Medium"/>
              </a:defRPr>
            </a:pPr>
            <a:endParaRPr kumimoji="0" sz="1600" b="0" i="0" u="none" strike="noStrike" kern="1200" cap="none" spc="0" normalizeH="0" baseline="0" noProof="0" dirty="0">
              <a:ln>
                <a:noFill/>
              </a:ln>
              <a:solidFill>
                <a:srgbClr val="F3F4F5"/>
              </a:solidFill>
              <a:effectLst/>
              <a:uLnTx/>
              <a:uFillTx/>
              <a:latin typeface="OPPOSans R" panose="00020600040101010101" pitchFamily="18" charset="-122"/>
              <a:ea typeface="微软雅黑"/>
              <a:cs typeface="+mn-cs"/>
              <a:sym typeface="Helvetica Neue Medium"/>
            </a:endParaRPr>
          </a:p>
        </p:txBody>
      </p:sp>
      <p:sp>
        <p:nvSpPr>
          <p:cNvPr id="2660" name="gaoding-15"/>
          <p:cNvSpPr/>
          <p:nvPr/>
        </p:nvSpPr>
        <p:spPr>
          <a:xfrm>
            <a:off x="5253854" y="3140600"/>
            <a:ext cx="1670624" cy="425818"/>
          </a:xfrm>
          <a:custGeom>
            <a:avLst/>
            <a:gdLst/>
            <a:ahLst/>
            <a:cxnLst>
              <a:cxn ang="0">
                <a:pos x="wd2" y="hd2"/>
              </a:cxn>
              <a:cxn ang="5400000">
                <a:pos x="wd2" y="hd2"/>
              </a:cxn>
              <a:cxn ang="10800000">
                <a:pos x="wd2" y="hd2"/>
              </a:cxn>
              <a:cxn ang="16200000">
                <a:pos x="wd2" y="hd2"/>
              </a:cxn>
            </a:cxnLst>
            <a:rect l="0" t="0" r="r" b="b"/>
            <a:pathLst>
              <a:path w="21600" h="21600" extrusionOk="0">
                <a:moveTo>
                  <a:pt x="1569" y="0"/>
                </a:moveTo>
                <a:lnTo>
                  <a:pt x="20031" y="0"/>
                </a:lnTo>
                <a:cubicBezTo>
                  <a:pt x="20256" y="0"/>
                  <a:pt x="20426" y="0"/>
                  <a:pt x="20569" y="38"/>
                </a:cubicBezTo>
                <a:cubicBezTo>
                  <a:pt x="20713" y="75"/>
                  <a:pt x="20831" y="151"/>
                  <a:pt x="20952" y="302"/>
                </a:cubicBezTo>
                <a:cubicBezTo>
                  <a:pt x="21085" y="491"/>
                  <a:pt x="21203" y="791"/>
                  <a:pt x="21301" y="1174"/>
                </a:cubicBezTo>
                <a:cubicBezTo>
                  <a:pt x="21398" y="1556"/>
                  <a:pt x="21475" y="2022"/>
                  <a:pt x="21523" y="2543"/>
                </a:cubicBezTo>
                <a:cubicBezTo>
                  <a:pt x="21562" y="3019"/>
                  <a:pt x="21581" y="3480"/>
                  <a:pt x="21590" y="4047"/>
                </a:cubicBezTo>
                <a:cubicBezTo>
                  <a:pt x="21600" y="4614"/>
                  <a:pt x="21600" y="5286"/>
                  <a:pt x="21600" y="6182"/>
                </a:cubicBezTo>
                <a:lnTo>
                  <a:pt x="21600" y="15445"/>
                </a:lnTo>
                <a:cubicBezTo>
                  <a:pt x="21600" y="16327"/>
                  <a:pt x="21600" y="16992"/>
                  <a:pt x="21590" y="17556"/>
                </a:cubicBezTo>
                <a:cubicBezTo>
                  <a:pt x="21581" y="18120"/>
                  <a:pt x="21562" y="18581"/>
                  <a:pt x="21523" y="19057"/>
                </a:cubicBezTo>
                <a:cubicBezTo>
                  <a:pt x="21475" y="19578"/>
                  <a:pt x="21398" y="20044"/>
                  <a:pt x="21301" y="20426"/>
                </a:cubicBezTo>
                <a:cubicBezTo>
                  <a:pt x="21203" y="20809"/>
                  <a:pt x="21085" y="21109"/>
                  <a:pt x="20952" y="21298"/>
                </a:cubicBezTo>
                <a:cubicBezTo>
                  <a:pt x="20831" y="21449"/>
                  <a:pt x="20713" y="21525"/>
                  <a:pt x="20568" y="21562"/>
                </a:cubicBezTo>
                <a:cubicBezTo>
                  <a:pt x="20424" y="21600"/>
                  <a:pt x="20253" y="21600"/>
                  <a:pt x="20024" y="21600"/>
                </a:cubicBezTo>
                <a:lnTo>
                  <a:pt x="1569" y="21600"/>
                </a:lnTo>
                <a:cubicBezTo>
                  <a:pt x="1344" y="21600"/>
                  <a:pt x="1174" y="21600"/>
                  <a:pt x="1031" y="21562"/>
                </a:cubicBezTo>
                <a:cubicBezTo>
                  <a:pt x="887" y="21525"/>
                  <a:pt x="769" y="21449"/>
                  <a:pt x="648" y="21298"/>
                </a:cubicBezTo>
                <a:cubicBezTo>
                  <a:pt x="515" y="21109"/>
                  <a:pt x="397" y="20809"/>
                  <a:pt x="299" y="20426"/>
                </a:cubicBezTo>
                <a:cubicBezTo>
                  <a:pt x="202" y="20044"/>
                  <a:pt x="125" y="19578"/>
                  <a:pt x="77" y="19057"/>
                </a:cubicBezTo>
                <a:cubicBezTo>
                  <a:pt x="38" y="18581"/>
                  <a:pt x="19" y="18120"/>
                  <a:pt x="10" y="17553"/>
                </a:cubicBezTo>
                <a:cubicBezTo>
                  <a:pt x="0" y="16986"/>
                  <a:pt x="0" y="16314"/>
                  <a:pt x="0" y="15418"/>
                </a:cubicBezTo>
                <a:lnTo>
                  <a:pt x="0" y="6155"/>
                </a:lnTo>
                <a:cubicBezTo>
                  <a:pt x="0" y="5273"/>
                  <a:pt x="0" y="4608"/>
                  <a:pt x="10" y="4044"/>
                </a:cubicBezTo>
                <a:cubicBezTo>
                  <a:pt x="19" y="3480"/>
                  <a:pt x="38" y="3019"/>
                  <a:pt x="77" y="2543"/>
                </a:cubicBezTo>
                <a:cubicBezTo>
                  <a:pt x="125" y="2022"/>
                  <a:pt x="202" y="1556"/>
                  <a:pt x="299" y="1174"/>
                </a:cubicBezTo>
                <a:cubicBezTo>
                  <a:pt x="397" y="791"/>
                  <a:pt x="515" y="491"/>
                  <a:pt x="648" y="302"/>
                </a:cubicBezTo>
                <a:cubicBezTo>
                  <a:pt x="769" y="151"/>
                  <a:pt x="887" y="75"/>
                  <a:pt x="1032" y="38"/>
                </a:cubicBezTo>
                <a:cubicBezTo>
                  <a:pt x="1176" y="0"/>
                  <a:pt x="1347" y="0"/>
                  <a:pt x="1576" y="0"/>
                </a:cubicBezTo>
                <a:lnTo>
                  <a:pt x="1569" y="0"/>
                </a:lnTo>
                <a:close/>
              </a:path>
            </a:pathLst>
          </a:custGeom>
          <a:gradFill flip="none" rotWithShape="1">
            <a:gsLst>
              <a:gs pos="1000">
                <a:schemeClr val="accent3"/>
              </a:gs>
              <a:gs pos="100000">
                <a:schemeClr val="accent3">
                  <a:lumMod val="70000"/>
                  <a:lumOff val="30000"/>
                </a:schemeClr>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5720" tIns="22860" rIns="45720" bIns="228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FFFFFF"/>
              </a:solidFill>
              <a:effectLst/>
              <a:uLnTx/>
              <a:uFillTx/>
              <a:latin typeface="OPPOSans R" panose="00020600040101010101" pitchFamily="18" charset="-122"/>
              <a:ea typeface="微软雅黑"/>
              <a:cs typeface="+mn-cs"/>
            </a:endParaRPr>
          </a:p>
        </p:txBody>
      </p:sp>
      <p:sp>
        <p:nvSpPr>
          <p:cNvPr id="101" name="gaoding-16">
            <a:extLst>
              <a:ext uri="{FF2B5EF4-FFF2-40B4-BE49-F238E27FC236}">
                <a16:creationId xmlns:a16="http://schemas.microsoft.com/office/drawing/2014/main" id="{E67510B0-5900-4935-82A4-A98DD10C5697}"/>
              </a:ext>
            </a:extLst>
          </p:cNvPr>
          <p:cNvSpPr/>
          <p:nvPr/>
        </p:nvSpPr>
        <p:spPr>
          <a:xfrm>
            <a:off x="5410145" y="3270519"/>
            <a:ext cx="166612" cy="153280"/>
          </a:xfrm>
          <a:custGeom>
            <a:avLst/>
            <a:gdLst>
              <a:gd name="connsiteX0" fmla="*/ 341095 w 461968"/>
              <a:gd name="connsiteY0" fmla="*/ 172695 h 425005"/>
              <a:gd name="connsiteX1" fmla="*/ 171074 w 461968"/>
              <a:gd name="connsiteY1" fmla="*/ 7 h 425005"/>
              <a:gd name="connsiteX2" fmla="*/ 1148 w 461968"/>
              <a:gd name="connsiteY2" fmla="*/ 172695 h 425005"/>
              <a:gd name="connsiteX3" fmla="*/ 32009 w 461968"/>
              <a:gd name="connsiteY3" fmla="*/ 272041 h 425005"/>
              <a:gd name="connsiteX4" fmla="*/ 25818 w 461968"/>
              <a:gd name="connsiteY4" fmla="*/ 297378 h 425005"/>
              <a:gd name="connsiteX5" fmla="*/ 38124 w 461968"/>
              <a:gd name="connsiteY5" fmla="*/ 317956 h 425005"/>
              <a:gd name="connsiteX6" fmla="*/ 43439 w 461968"/>
              <a:gd name="connsiteY6" fmla="*/ 318428 h 425005"/>
              <a:gd name="connsiteX7" fmla="*/ 76300 w 461968"/>
              <a:gd name="connsiteY7" fmla="*/ 316237 h 425005"/>
              <a:gd name="connsiteX8" fmla="*/ 171550 w 461968"/>
              <a:gd name="connsiteY8" fmla="*/ 345574 h 425005"/>
              <a:gd name="connsiteX9" fmla="*/ 341095 w 461968"/>
              <a:gd name="connsiteY9" fmla="*/ 172695 h 425005"/>
              <a:gd name="connsiteX10" fmla="*/ 249560 w 461968"/>
              <a:gd name="connsiteY10" fmla="*/ 150502 h 425005"/>
              <a:gd name="connsiteX11" fmla="*/ 271372 w 461968"/>
              <a:gd name="connsiteY11" fmla="*/ 172693 h 425005"/>
              <a:gd name="connsiteX12" fmla="*/ 271372 w 461968"/>
              <a:gd name="connsiteY12" fmla="*/ 172695 h 425005"/>
              <a:gd name="connsiteX13" fmla="*/ 249560 w 461968"/>
              <a:gd name="connsiteY13" fmla="*/ 194793 h 425005"/>
              <a:gd name="connsiteX14" fmla="*/ 227367 w 461968"/>
              <a:gd name="connsiteY14" fmla="*/ 172982 h 425005"/>
              <a:gd name="connsiteX15" fmla="*/ 227367 w 461968"/>
              <a:gd name="connsiteY15" fmla="*/ 172695 h 425005"/>
              <a:gd name="connsiteX16" fmla="*/ 249179 w 461968"/>
              <a:gd name="connsiteY16" fmla="*/ 150502 h 425005"/>
              <a:gd name="connsiteX17" fmla="*/ 249560 w 461968"/>
              <a:gd name="connsiteY17" fmla="*/ 150502 h 425005"/>
              <a:gd name="connsiteX18" fmla="*/ 92683 w 461968"/>
              <a:gd name="connsiteY18" fmla="*/ 194793 h 425005"/>
              <a:gd name="connsiteX19" fmla="*/ 70871 w 461968"/>
              <a:gd name="connsiteY19" fmla="*/ 172791 h 425005"/>
              <a:gd name="connsiteX20" fmla="*/ 70871 w 461968"/>
              <a:gd name="connsiteY20" fmla="*/ 172695 h 425005"/>
              <a:gd name="connsiteX21" fmla="*/ 92493 w 461968"/>
              <a:gd name="connsiteY21" fmla="*/ 150504 h 425005"/>
              <a:gd name="connsiteX22" fmla="*/ 92683 w 461968"/>
              <a:gd name="connsiteY22" fmla="*/ 150502 h 425005"/>
              <a:gd name="connsiteX23" fmla="*/ 114496 w 461968"/>
              <a:gd name="connsiteY23" fmla="*/ 172693 h 425005"/>
              <a:gd name="connsiteX24" fmla="*/ 114496 w 461968"/>
              <a:gd name="connsiteY24" fmla="*/ 172695 h 425005"/>
              <a:gd name="connsiteX25" fmla="*/ 92683 w 461968"/>
              <a:gd name="connsiteY25" fmla="*/ 194793 h 425005"/>
              <a:gd name="connsiteX26" fmla="*/ 149357 w 461968"/>
              <a:gd name="connsiteY26" fmla="*/ 172695 h 425005"/>
              <a:gd name="connsiteX27" fmla="*/ 170979 w 461968"/>
              <a:gd name="connsiteY27" fmla="*/ 150503 h 425005"/>
              <a:gd name="connsiteX28" fmla="*/ 171074 w 461968"/>
              <a:gd name="connsiteY28" fmla="*/ 150502 h 425005"/>
              <a:gd name="connsiteX29" fmla="*/ 192886 w 461968"/>
              <a:gd name="connsiteY29" fmla="*/ 172503 h 425005"/>
              <a:gd name="connsiteX30" fmla="*/ 192886 w 461968"/>
              <a:gd name="connsiteY30" fmla="*/ 172695 h 425005"/>
              <a:gd name="connsiteX31" fmla="*/ 171169 w 461968"/>
              <a:gd name="connsiteY31" fmla="*/ 194792 h 425005"/>
              <a:gd name="connsiteX32" fmla="*/ 171074 w 461968"/>
              <a:gd name="connsiteY32" fmla="*/ 194793 h 425005"/>
              <a:gd name="connsiteX33" fmla="*/ 149357 w 461968"/>
              <a:gd name="connsiteY33" fmla="*/ 172697 h 425005"/>
              <a:gd name="connsiteX34" fmla="*/ 149357 w 461968"/>
              <a:gd name="connsiteY34" fmla="*/ 172695 h 425005"/>
              <a:gd name="connsiteX35" fmla="*/ 463110 w 461968"/>
              <a:gd name="connsiteY35" fmla="*/ 252324 h 425005"/>
              <a:gd name="connsiteX36" fmla="*/ 349382 w 461968"/>
              <a:gd name="connsiteY36" fmla="*/ 89542 h 425005"/>
              <a:gd name="connsiteX37" fmla="*/ 367193 w 461968"/>
              <a:gd name="connsiteY37" fmla="*/ 172695 h 425005"/>
              <a:gd name="connsiteX38" fmla="*/ 171083 w 461968"/>
              <a:gd name="connsiteY38" fmla="*/ 371863 h 425005"/>
              <a:gd name="connsiteX39" fmla="*/ 171074 w 461968"/>
              <a:gd name="connsiteY39" fmla="*/ 371863 h 425005"/>
              <a:gd name="connsiteX40" fmla="*/ 171074 w 461968"/>
              <a:gd name="connsiteY40" fmla="*/ 371863 h 425005"/>
              <a:gd name="connsiteX41" fmla="*/ 293565 w 461968"/>
              <a:gd name="connsiteY41" fmla="*/ 425013 h 425005"/>
              <a:gd name="connsiteX42" fmla="*/ 386053 w 461968"/>
              <a:gd name="connsiteY42" fmla="*/ 397104 h 425005"/>
              <a:gd name="connsiteX43" fmla="*/ 417486 w 461968"/>
              <a:gd name="connsiteY43" fmla="*/ 401962 h 425005"/>
              <a:gd name="connsiteX44" fmla="*/ 434916 w 461968"/>
              <a:gd name="connsiteY44" fmla="*/ 389065 h 425005"/>
              <a:gd name="connsiteX45" fmla="*/ 434726 w 461968"/>
              <a:gd name="connsiteY45" fmla="*/ 383483 h 425005"/>
              <a:gd name="connsiteX46" fmla="*/ 428725 w 461968"/>
              <a:gd name="connsiteY46" fmla="*/ 356718 h 425005"/>
              <a:gd name="connsiteX47" fmla="*/ 463110 w 461968"/>
              <a:gd name="connsiteY47" fmla="*/ 252324 h 4250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461968" h="425005">
                <a:moveTo>
                  <a:pt x="341095" y="172695"/>
                </a:moveTo>
                <a:cubicBezTo>
                  <a:pt x="341781" y="78079"/>
                  <a:pt x="265686" y="793"/>
                  <a:pt x="171074" y="7"/>
                </a:cubicBezTo>
                <a:cubicBezTo>
                  <a:pt x="76500" y="845"/>
                  <a:pt x="462" y="78116"/>
                  <a:pt x="1148" y="172695"/>
                </a:cubicBezTo>
                <a:cubicBezTo>
                  <a:pt x="1081" y="208181"/>
                  <a:pt x="11844" y="242842"/>
                  <a:pt x="32009" y="272041"/>
                </a:cubicBezTo>
                <a:lnTo>
                  <a:pt x="25818" y="297378"/>
                </a:lnTo>
                <a:cubicBezTo>
                  <a:pt x="23531" y="306459"/>
                  <a:pt x="29047" y="315672"/>
                  <a:pt x="38124" y="317956"/>
                </a:cubicBezTo>
                <a:cubicBezTo>
                  <a:pt x="39858" y="318394"/>
                  <a:pt x="41658" y="318553"/>
                  <a:pt x="43439" y="318428"/>
                </a:cubicBezTo>
                <a:lnTo>
                  <a:pt x="76300" y="316237"/>
                </a:lnTo>
                <a:cubicBezTo>
                  <a:pt x="104322" y="335490"/>
                  <a:pt x="137555" y="345725"/>
                  <a:pt x="171550" y="345574"/>
                </a:cubicBezTo>
                <a:cubicBezTo>
                  <a:pt x="266057" y="344527"/>
                  <a:pt x="341886" y="267201"/>
                  <a:pt x="341095" y="172695"/>
                </a:cubicBezTo>
                <a:close/>
                <a:moveTo>
                  <a:pt x="249560" y="150502"/>
                </a:moveTo>
                <a:cubicBezTo>
                  <a:pt x="261714" y="150607"/>
                  <a:pt x="271477" y="160542"/>
                  <a:pt x="271372" y="172693"/>
                </a:cubicBezTo>
                <a:cubicBezTo>
                  <a:pt x="271372" y="172694"/>
                  <a:pt x="271372" y="172694"/>
                  <a:pt x="271372" y="172695"/>
                </a:cubicBezTo>
                <a:cubicBezTo>
                  <a:pt x="271429" y="184810"/>
                  <a:pt x="261675" y="194688"/>
                  <a:pt x="249560" y="194793"/>
                </a:cubicBezTo>
                <a:cubicBezTo>
                  <a:pt x="237406" y="194899"/>
                  <a:pt x="227471" y="185133"/>
                  <a:pt x="227367" y="172982"/>
                </a:cubicBezTo>
                <a:cubicBezTo>
                  <a:pt x="227367" y="172887"/>
                  <a:pt x="227367" y="172791"/>
                  <a:pt x="227367" y="172695"/>
                </a:cubicBezTo>
                <a:cubicBezTo>
                  <a:pt x="227262" y="160544"/>
                  <a:pt x="237025" y="150608"/>
                  <a:pt x="249179" y="150502"/>
                </a:cubicBezTo>
                <a:cubicBezTo>
                  <a:pt x="249302" y="150501"/>
                  <a:pt x="249436" y="150501"/>
                  <a:pt x="249560" y="150502"/>
                </a:cubicBezTo>
                <a:close/>
                <a:moveTo>
                  <a:pt x="92683" y="194793"/>
                </a:moveTo>
                <a:cubicBezTo>
                  <a:pt x="80587" y="194741"/>
                  <a:pt x="70814" y="184890"/>
                  <a:pt x="70871" y="172791"/>
                </a:cubicBezTo>
                <a:cubicBezTo>
                  <a:pt x="70871" y="172759"/>
                  <a:pt x="70871" y="172728"/>
                  <a:pt x="70871" y="172695"/>
                </a:cubicBezTo>
                <a:cubicBezTo>
                  <a:pt x="70709" y="160598"/>
                  <a:pt x="80396" y="150662"/>
                  <a:pt x="92493" y="150504"/>
                </a:cubicBezTo>
                <a:cubicBezTo>
                  <a:pt x="92550" y="150503"/>
                  <a:pt x="92617" y="150502"/>
                  <a:pt x="92683" y="150502"/>
                </a:cubicBezTo>
                <a:cubicBezTo>
                  <a:pt x="104837" y="150607"/>
                  <a:pt x="114600" y="160542"/>
                  <a:pt x="114496" y="172693"/>
                </a:cubicBezTo>
                <a:cubicBezTo>
                  <a:pt x="114496" y="172694"/>
                  <a:pt x="114496" y="172694"/>
                  <a:pt x="114496" y="172695"/>
                </a:cubicBezTo>
                <a:cubicBezTo>
                  <a:pt x="114552" y="184810"/>
                  <a:pt x="104799" y="194688"/>
                  <a:pt x="92683" y="194793"/>
                </a:cubicBezTo>
                <a:close/>
                <a:moveTo>
                  <a:pt x="149357" y="172695"/>
                </a:moveTo>
                <a:cubicBezTo>
                  <a:pt x="149195" y="160598"/>
                  <a:pt x="158882" y="150661"/>
                  <a:pt x="170979" y="150503"/>
                </a:cubicBezTo>
                <a:cubicBezTo>
                  <a:pt x="171007" y="150503"/>
                  <a:pt x="171045" y="150502"/>
                  <a:pt x="171074" y="150502"/>
                </a:cubicBezTo>
                <a:cubicBezTo>
                  <a:pt x="183170" y="150553"/>
                  <a:pt x="192943" y="160403"/>
                  <a:pt x="192886" y="172503"/>
                </a:cubicBezTo>
                <a:cubicBezTo>
                  <a:pt x="192886" y="172567"/>
                  <a:pt x="192886" y="172631"/>
                  <a:pt x="192886" y="172695"/>
                </a:cubicBezTo>
                <a:cubicBezTo>
                  <a:pt x="192991" y="184794"/>
                  <a:pt x="183266" y="194688"/>
                  <a:pt x="171169" y="194792"/>
                </a:cubicBezTo>
                <a:cubicBezTo>
                  <a:pt x="171140" y="194793"/>
                  <a:pt x="171103" y="194793"/>
                  <a:pt x="171074" y="194793"/>
                </a:cubicBezTo>
                <a:cubicBezTo>
                  <a:pt x="158977" y="194688"/>
                  <a:pt x="149252" y="184796"/>
                  <a:pt x="149357" y="172697"/>
                </a:cubicBezTo>
                <a:cubicBezTo>
                  <a:pt x="149357" y="172696"/>
                  <a:pt x="149357" y="172696"/>
                  <a:pt x="149357" y="172695"/>
                </a:cubicBezTo>
                <a:close/>
                <a:moveTo>
                  <a:pt x="463110" y="252324"/>
                </a:moveTo>
                <a:cubicBezTo>
                  <a:pt x="463367" y="179496"/>
                  <a:pt x="417857" y="114354"/>
                  <a:pt x="349382" y="89542"/>
                </a:cubicBezTo>
                <a:cubicBezTo>
                  <a:pt x="361164" y="115678"/>
                  <a:pt x="367241" y="144026"/>
                  <a:pt x="367193" y="172695"/>
                </a:cubicBezTo>
                <a:cubicBezTo>
                  <a:pt x="368041" y="281848"/>
                  <a:pt x="280240" y="371018"/>
                  <a:pt x="171083" y="371863"/>
                </a:cubicBezTo>
                <a:cubicBezTo>
                  <a:pt x="171083" y="371863"/>
                  <a:pt x="171074" y="371863"/>
                  <a:pt x="171074" y="371863"/>
                </a:cubicBezTo>
                <a:lnTo>
                  <a:pt x="171074" y="371863"/>
                </a:lnTo>
                <a:cubicBezTo>
                  <a:pt x="202792" y="405772"/>
                  <a:pt x="247140" y="425013"/>
                  <a:pt x="293565" y="425013"/>
                </a:cubicBezTo>
                <a:cubicBezTo>
                  <a:pt x="326465" y="425013"/>
                  <a:pt x="358640" y="415307"/>
                  <a:pt x="386053" y="397104"/>
                </a:cubicBezTo>
                <a:lnTo>
                  <a:pt x="417486" y="401962"/>
                </a:lnTo>
                <a:cubicBezTo>
                  <a:pt x="425858" y="403210"/>
                  <a:pt x="433668" y="397438"/>
                  <a:pt x="434916" y="389065"/>
                </a:cubicBezTo>
                <a:cubicBezTo>
                  <a:pt x="435192" y="387208"/>
                  <a:pt x="435135" y="385312"/>
                  <a:pt x="434726" y="383483"/>
                </a:cubicBezTo>
                <a:lnTo>
                  <a:pt x="428725" y="356718"/>
                </a:lnTo>
                <a:cubicBezTo>
                  <a:pt x="451204" y="326571"/>
                  <a:pt x="463272" y="289931"/>
                  <a:pt x="463110" y="252324"/>
                </a:cubicBezTo>
                <a:close/>
              </a:path>
            </a:pathLst>
          </a:custGeom>
          <a:solidFill>
            <a:srgbClr val="FFFFFF"/>
          </a:solidFill>
          <a:ln w="12700" cap="flat">
            <a:noFill/>
            <a:miter lim="400000"/>
          </a:ln>
          <a:effectLst/>
        </p:spPr>
        <p:txBody>
          <a:bodyPr wrap="square" lIns="22860" tIns="22860" rIns="22860" bIns="22860" numCol="1" anchor="ctr">
            <a:no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sz="1800" b="0">
                <a:latin typeface="Calibri"/>
                <a:ea typeface="Calibri"/>
                <a:cs typeface="Calibri"/>
                <a:sym typeface="Calibri"/>
              </a:defRPr>
            </a:pPr>
            <a:endParaRPr kumimoji="0" sz="900" b="0" i="0" u="none" strike="noStrike" kern="1200" cap="none" spc="0" normalizeH="0" baseline="0" noProof="0">
              <a:ln>
                <a:noFill/>
              </a:ln>
              <a:solidFill>
                <a:srgbClr val="000000"/>
              </a:solidFill>
              <a:effectLst/>
              <a:uLnTx/>
              <a:uFillTx/>
              <a:latin typeface="Calibri"/>
              <a:cs typeface="Calibri"/>
              <a:sym typeface="Calibri"/>
            </a:endParaRPr>
          </a:p>
        </p:txBody>
      </p:sp>
      <p:sp>
        <p:nvSpPr>
          <p:cNvPr id="2664" name="gaoding-17"/>
          <p:cNvSpPr/>
          <p:nvPr/>
        </p:nvSpPr>
        <p:spPr>
          <a:xfrm>
            <a:off x="7335640" y="4026498"/>
            <a:ext cx="1846037" cy="1763122"/>
          </a:xfrm>
          <a:custGeom>
            <a:avLst/>
            <a:gdLst/>
            <a:ahLst/>
            <a:cxnLst>
              <a:cxn ang="0">
                <a:pos x="wd2" y="hd2"/>
              </a:cxn>
              <a:cxn ang="5400000">
                <a:pos x="wd2" y="hd2"/>
              </a:cxn>
              <a:cxn ang="10800000">
                <a:pos x="wd2" y="hd2"/>
              </a:cxn>
              <a:cxn ang="16200000">
                <a:pos x="wd2" y="hd2"/>
              </a:cxn>
            </a:cxnLst>
            <a:rect l="0" t="0" r="r" b="b"/>
            <a:pathLst>
              <a:path w="21600" h="21600" extrusionOk="0">
                <a:moveTo>
                  <a:pt x="2355" y="0"/>
                </a:moveTo>
                <a:lnTo>
                  <a:pt x="19245" y="0"/>
                </a:lnTo>
                <a:cubicBezTo>
                  <a:pt x="19583" y="0"/>
                  <a:pt x="19837" y="0"/>
                  <a:pt x="20053" y="13"/>
                </a:cubicBezTo>
                <a:cubicBezTo>
                  <a:pt x="20268" y="26"/>
                  <a:pt x="20445" y="52"/>
                  <a:pt x="20627" y="104"/>
                </a:cubicBezTo>
                <a:cubicBezTo>
                  <a:pt x="20826" y="170"/>
                  <a:pt x="21004" y="274"/>
                  <a:pt x="21151" y="406"/>
                </a:cubicBezTo>
                <a:cubicBezTo>
                  <a:pt x="21297" y="539"/>
                  <a:pt x="21412" y="700"/>
                  <a:pt x="21485" y="880"/>
                </a:cubicBezTo>
                <a:cubicBezTo>
                  <a:pt x="21542" y="1045"/>
                  <a:pt x="21571" y="1204"/>
                  <a:pt x="21586" y="1401"/>
                </a:cubicBezTo>
                <a:cubicBezTo>
                  <a:pt x="21600" y="1597"/>
                  <a:pt x="21600" y="1829"/>
                  <a:pt x="21600" y="2139"/>
                </a:cubicBezTo>
                <a:lnTo>
                  <a:pt x="21600" y="19470"/>
                </a:lnTo>
                <a:cubicBezTo>
                  <a:pt x="21600" y="19775"/>
                  <a:pt x="21600" y="20006"/>
                  <a:pt x="21586" y="20201"/>
                </a:cubicBezTo>
                <a:cubicBezTo>
                  <a:pt x="21571" y="20396"/>
                  <a:pt x="21542" y="20555"/>
                  <a:pt x="21485" y="20720"/>
                </a:cubicBezTo>
                <a:cubicBezTo>
                  <a:pt x="21412" y="20900"/>
                  <a:pt x="21297" y="21061"/>
                  <a:pt x="21151" y="21194"/>
                </a:cubicBezTo>
                <a:cubicBezTo>
                  <a:pt x="21004" y="21326"/>
                  <a:pt x="20826" y="21430"/>
                  <a:pt x="20627" y="21496"/>
                </a:cubicBezTo>
                <a:cubicBezTo>
                  <a:pt x="20445" y="21548"/>
                  <a:pt x="20268" y="21574"/>
                  <a:pt x="20051" y="21587"/>
                </a:cubicBezTo>
                <a:cubicBezTo>
                  <a:pt x="19834" y="21600"/>
                  <a:pt x="19577" y="21600"/>
                  <a:pt x="19235" y="21600"/>
                </a:cubicBezTo>
                <a:lnTo>
                  <a:pt x="2355" y="21600"/>
                </a:lnTo>
                <a:cubicBezTo>
                  <a:pt x="2017" y="21600"/>
                  <a:pt x="1763" y="21600"/>
                  <a:pt x="1547" y="21587"/>
                </a:cubicBezTo>
                <a:cubicBezTo>
                  <a:pt x="1332" y="21574"/>
                  <a:pt x="1155" y="21548"/>
                  <a:pt x="973" y="21496"/>
                </a:cubicBezTo>
                <a:cubicBezTo>
                  <a:pt x="774" y="21430"/>
                  <a:pt x="596" y="21326"/>
                  <a:pt x="449" y="21194"/>
                </a:cubicBezTo>
                <a:cubicBezTo>
                  <a:pt x="303" y="21061"/>
                  <a:pt x="188" y="20900"/>
                  <a:pt x="115" y="20720"/>
                </a:cubicBezTo>
                <a:cubicBezTo>
                  <a:pt x="58" y="20555"/>
                  <a:pt x="29" y="20396"/>
                  <a:pt x="14" y="20199"/>
                </a:cubicBezTo>
                <a:cubicBezTo>
                  <a:pt x="0" y="20003"/>
                  <a:pt x="0" y="19771"/>
                  <a:pt x="0" y="19461"/>
                </a:cubicBezTo>
                <a:lnTo>
                  <a:pt x="0" y="2130"/>
                </a:lnTo>
                <a:cubicBezTo>
                  <a:pt x="0" y="1825"/>
                  <a:pt x="0" y="1594"/>
                  <a:pt x="14" y="1399"/>
                </a:cubicBezTo>
                <a:cubicBezTo>
                  <a:pt x="29" y="1204"/>
                  <a:pt x="58" y="1045"/>
                  <a:pt x="115" y="880"/>
                </a:cubicBezTo>
                <a:cubicBezTo>
                  <a:pt x="188" y="700"/>
                  <a:pt x="303" y="539"/>
                  <a:pt x="449" y="406"/>
                </a:cubicBezTo>
                <a:cubicBezTo>
                  <a:pt x="596" y="274"/>
                  <a:pt x="774" y="170"/>
                  <a:pt x="973" y="104"/>
                </a:cubicBezTo>
                <a:cubicBezTo>
                  <a:pt x="1155" y="52"/>
                  <a:pt x="1332" y="26"/>
                  <a:pt x="1549" y="13"/>
                </a:cubicBezTo>
                <a:cubicBezTo>
                  <a:pt x="1766" y="0"/>
                  <a:pt x="2023" y="0"/>
                  <a:pt x="2365" y="0"/>
                </a:cubicBezTo>
                <a:lnTo>
                  <a:pt x="2355" y="0"/>
                </a:lnTo>
                <a:close/>
              </a:path>
            </a:pathLst>
          </a:custGeom>
          <a:solidFill>
            <a:schemeClr val="bg1"/>
          </a:solidFill>
          <a:ln w="25400" cap="flat">
            <a:solidFill>
              <a:schemeClr val="bg1">
                <a:lumMod val="85000"/>
              </a:schemeClr>
            </a:solidFill>
            <a:custDash>
              <a:ds d="200000" sp="200000"/>
            </a:custDash>
            <a:miter lim="400000"/>
          </a:ln>
          <a:effectLst/>
        </p:spPr>
        <p:txBody>
          <a:bodyPr wrap="square" lIns="0" tIns="0" rIns="0" bIns="0" numCol="1"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sz="3200" b="0">
                <a:solidFill>
                  <a:srgbClr val="F3F4F5"/>
                </a:solidFill>
                <a:latin typeface="+mn-lt"/>
                <a:ea typeface="+mn-ea"/>
                <a:cs typeface="+mn-cs"/>
                <a:sym typeface="Helvetica Neue Medium"/>
              </a:defRPr>
            </a:pPr>
            <a:endParaRPr kumimoji="0" sz="1600" b="0" i="0" u="none" strike="noStrike" kern="1200" cap="none" spc="0" normalizeH="0" baseline="0" noProof="0" dirty="0">
              <a:ln>
                <a:noFill/>
              </a:ln>
              <a:solidFill>
                <a:srgbClr val="F3F4F5"/>
              </a:solidFill>
              <a:effectLst/>
              <a:uLnTx/>
              <a:uFillTx/>
              <a:latin typeface="OPPOSans R" panose="00020600040101010101" pitchFamily="18" charset="-122"/>
              <a:ea typeface="微软雅黑"/>
              <a:cs typeface="+mn-cs"/>
              <a:sym typeface="Helvetica Neue Medium"/>
            </a:endParaRPr>
          </a:p>
        </p:txBody>
      </p:sp>
      <p:sp>
        <p:nvSpPr>
          <p:cNvPr id="2665" name="gaoding-18"/>
          <p:cNvSpPr/>
          <p:nvPr/>
        </p:nvSpPr>
        <p:spPr>
          <a:xfrm>
            <a:off x="7428398" y="4155043"/>
            <a:ext cx="1670624" cy="425818"/>
          </a:xfrm>
          <a:custGeom>
            <a:avLst/>
            <a:gdLst/>
            <a:ahLst/>
            <a:cxnLst>
              <a:cxn ang="0">
                <a:pos x="wd2" y="hd2"/>
              </a:cxn>
              <a:cxn ang="5400000">
                <a:pos x="wd2" y="hd2"/>
              </a:cxn>
              <a:cxn ang="10800000">
                <a:pos x="wd2" y="hd2"/>
              </a:cxn>
              <a:cxn ang="16200000">
                <a:pos x="wd2" y="hd2"/>
              </a:cxn>
            </a:cxnLst>
            <a:rect l="0" t="0" r="r" b="b"/>
            <a:pathLst>
              <a:path w="21600" h="21600" extrusionOk="0">
                <a:moveTo>
                  <a:pt x="1569" y="0"/>
                </a:moveTo>
                <a:lnTo>
                  <a:pt x="20031" y="0"/>
                </a:lnTo>
                <a:cubicBezTo>
                  <a:pt x="20256" y="0"/>
                  <a:pt x="20426" y="0"/>
                  <a:pt x="20569" y="38"/>
                </a:cubicBezTo>
                <a:cubicBezTo>
                  <a:pt x="20713" y="75"/>
                  <a:pt x="20831" y="151"/>
                  <a:pt x="20952" y="302"/>
                </a:cubicBezTo>
                <a:cubicBezTo>
                  <a:pt x="21085" y="491"/>
                  <a:pt x="21203" y="791"/>
                  <a:pt x="21301" y="1174"/>
                </a:cubicBezTo>
                <a:cubicBezTo>
                  <a:pt x="21398" y="1556"/>
                  <a:pt x="21475" y="2022"/>
                  <a:pt x="21523" y="2543"/>
                </a:cubicBezTo>
                <a:cubicBezTo>
                  <a:pt x="21562" y="3019"/>
                  <a:pt x="21581" y="3480"/>
                  <a:pt x="21590" y="4047"/>
                </a:cubicBezTo>
                <a:cubicBezTo>
                  <a:pt x="21600" y="4614"/>
                  <a:pt x="21600" y="5286"/>
                  <a:pt x="21600" y="6182"/>
                </a:cubicBezTo>
                <a:lnTo>
                  <a:pt x="21600" y="15445"/>
                </a:lnTo>
                <a:cubicBezTo>
                  <a:pt x="21600" y="16327"/>
                  <a:pt x="21600" y="16992"/>
                  <a:pt x="21590" y="17556"/>
                </a:cubicBezTo>
                <a:cubicBezTo>
                  <a:pt x="21581" y="18120"/>
                  <a:pt x="21562" y="18581"/>
                  <a:pt x="21523" y="19057"/>
                </a:cubicBezTo>
                <a:cubicBezTo>
                  <a:pt x="21475" y="19578"/>
                  <a:pt x="21398" y="20044"/>
                  <a:pt x="21301" y="20426"/>
                </a:cubicBezTo>
                <a:cubicBezTo>
                  <a:pt x="21203" y="20809"/>
                  <a:pt x="21085" y="21109"/>
                  <a:pt x="20952" y="21298"/>
                </a:cubicBezTo>
                <a:cubicBezTo>
                  <a:pt x="20831" y="21449"/>
                  <a:pt x="20713" y="21525"/>
                  <a:pt x="20568" y="21562"/>
                </a:cubicBezTo>
                <a:cubicBezTo>
                  <a:pt x="20424" y="21600"/>
                  <a:pt x="20253" y="21600"/>
                  <a:pt x="20024" y="21600"/>
                </a:cubicBezTo>
                <a:lnTo>
                  <a:pt x="1569" y="21600"/>
                </a:lnTo>
                <a:cubicBezTo>
                  <a:pt x="1344" y="21600"/>
                  <a:pt x="1174" y="21600"/>
                  <a:pt x="1031" y="21562"/>
                </a:cubicBezTo>
                <a:cubicBezTo>
                  <a:pt x="887" y="21525"/>
                  <a:pt x="769" y="21449"/>
                  <a:pt x="648" y="21298"/>
                </a:cubicBezTo>
                <a:cubicBezTo>
                  <a:pt x="515" y="21109"/>
                  <a:pt x="397" y="20809"/>
                  <a:pt x="299" y="20426"/>
                </a:cubicBezTo>
                <a:cubicBezTo>
                  <a:pt x="202" y="20044"/>
                  <a:pt x="125" y="19578"/>
                  <a:pt x="77" y="19057"/>
                </a:cubicBezTo>
                <a:cubicBezTo>
                  <a:pt x="38" y="18581"/>
                  <a:pt x="19" y="18120"/>
                  <a:pt x="10" y="17553"/>
                </a:cubicBezTo>
                <a:cubicBezTo>
                  <a:pt x="0" y="16986"/>
                  <a:pt x="0" y="16314"/>
                  <a:pt x="0" y="15418"/>
                </a:cubicBezTo>
                <a:lnTo>
                  <a:pt x="0" y="6155"/>
                </a:lnTo>
                <a:cubicBezTo>
                  <a:pt x="0" y="5273"/>
                  <a:pt x="0" y="4608"/>
                  <a:pt x="10" y="4044"/>
                </a:cubicBezTo>
                <a:cubicBezTo>
                  <a:pt x="19" y="3480"/>
                  <a:pt x="38" y="3019"/>
                  <a:pt x="77" y="2543"/>
                </a:cubicBezTo>
                <a:cubicBezTo>
                  <a:pt x="125" y="2022"/>
                  <a:pt x="202" y="1556"/>
                  <a:pt x="299" y="1174"/>
                </a:cubicBezTo>
                <a:cubicBezTo>
                  <a:pt x="397" y="791"/>
                  <a:pt x="515" y="491"/>
                  <a:pt x="648" y="302"/>
                </a:cubicBezTo>
                <a:cubicBezTo>
                  <a:pt x="769" y="151"/>
                  <a:pt x="887" y="75"/>
                  <a:pt x="1032" y="38"/>
                </a:cubicBezTo>
                <a:cubicBezTo>
                  <a:pt x="1176" y="0"/>
                  <a:pt x="1347" y="0"/>
                  <a:pt x="1576" y="0"/>
                </a:cubicBezTo>
                <a:lnTo>
                  <a:pt x="1569" y="0"/>
                </a:lnTo>
                <a:close/>
              </a:path>
            </a:pathLst>
          </a:custGeom>
          <a:solidFill>
            <a:srgbClr val="F5F4F5"/>
          </a:solidFill>
          <a:ln w="12700" cap="flat">
            <a:noFill/>
            <a:miter lim="400000"/>
          </a:ln>
          <a:effectLst/>
        </p:spPr>
        <p:txBody>
          <a:bodyPr wrap="square" lIns="0" tIns="0" rIns="0" bIns="0" numCol="1"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sz="3200" b="0">
                <a:solidFill>
                  <a:srgbClr val="F3F4F5"/>
                </a:solidFill>
                <a:latin typeface="+mn-lt"/>
                <a:ea typeface="+mn-ea"/>
                <a:cs typeface="+mn-cs"/>
                <a:sym typeface="Helvetica Neue Medium"/>
              </a:defRPr>
            </a:pPr>
            <a:endParaRPr kumimoji="0" sz="1600" b="0" i="0" u="none" strike="noStrike" kern="1200" cap="none" spc="0" normalizeH="0" baseline="0" noProof="0" dirty="0">
              <a:ln>
                <a:noFill/>
              </a:ln>
              <a:solidFill>
                <a:srgbClr val="F3F4F5"/>
              </a:solidFill>
              <a:effectLst/>
              <a:uLnTx/>
              <a:uFillTx/>
              <a:latin typeface="OPPOSans R" panose="00020600040101010101" pitchFamily="18" charset="-122"/>
              <a:ea typeface="微软雅黑"/>
              <a:cs typeface="+mn-cs"/>
              <a:sym typeface="Helvetica Neue Medium"/>
            </a:endParaRPr>
          </a:p>
        </p:txBody>
      </p:sp>
      <p:sp>
        <p:nvSpPr>
          <p:cNvPr id="2668" name="gaoding-19"/>
          <p:cNvSpPr/>
          <p:nvPr/>
        </p:nvSpPr>
        <p:spPr>
          <a:xfrm>
            <a:off x="7428398" y="4709825"/>
            <a:ext cx="1670624" cy="425818"/>
          </a:xfrm>
          <a:custGeom>
            <a:avLst/>
            <a:gdLst/>
            <a:ahLst/>
            <a:cxnLst>
              <a:cxn ang="0">
                <a:pos x="wd2" y="hd2"/>
              </a:cxn>
              <a:cxn ang="5400000">
                <a:pos x="wd2" y="hd2"/>
              </a:cxn>
              <a:cxn ang="10800000">
                <a:pos x="wd2" y="hd2"/>
              </a:cxn>
              <a:cxn ang="16200000">
                <a:pos x="wd2" y="hd2"/>
              </a:cxn>
            </a:cxnLst>
            <a:rect l="0" t="0" r="r" b="b"/>
            <a:pathLst>
              <a:path w="21600" h="21600" extrusionOk="0">
                <a:moveTo>
                  <a:pt x="1569" y="0"/>
                </a:moveTo>
                <a:lnTo>
                  <a:pt x="20031" y="0"/>
                </a:lnTo>
                <a:cubicBezTo>
                  <a:pt x="20256" y="0"/>
                  <a:pt x="20426" y="0"/>
                  <a:pt x="20569" y="38"/>
                </a:cubicBezTo>
                <a:cubicBezTo>
                  <a:pt x="20713" y="75"/>
                  <a:pt x="20831" y="151"/>
                  <a:pt x="20952" y="302"/>
                </a:cubicBezTo>
                <a:cubicBezTo>
                  <a:pt x="21085" y="491"/>
                  <a:pt x="21203" y="791"/>
                  <a:pt x="21301" y="1174"/>
                </a:cubicBezTo>
                <a:cubicBezTo>
                  <a:pt x="21398" y="1556"/>
                  <a:pt x="21475" y="2022"/>
                  <a:pt x="21523" y="2543"/>
                </a:cubicBezTo>
                <a:cubicBezTo>
                  <a:pt x="21562" y="3019"/>
                  <a:pt x="21581" y="3480"/>
                  <a:pt x="21590" y="4047"/>
                </a:cubicBezTo>
                <a:cubicBezTo>
                  <a:pt x="21600" y="4614"/>
                  <a:pt x="21600" y="5286"/>
                  <a:pt x="21600" y="6182"/>
                </a:cubicBezTo>
                <a:lnTo>
                  <a:pt x="21600" y="15445"/>
                </a:lnTo>
                <a:cubicBezTo>
                  <a:pt x="21600" y="16327"/>
                  <a:pt x="21600" y="16992"/>
                  <a:pt x="21590" y="17556"/>
                </a:cubicBezTo>
                <a:cubicBezTo>
                  <a:pt x="21581" y="18120"/>
                  <a:pt x="21562" y="18581"/>
                  <a:pt x="21523" y="19057"/>
                </a:cubicBezTo>
                <a:cubicBezTo>
                  <a:pt x="21475" y="19578"/>
                  <a:pt x="21398" y="20044"/>
                  <a:pt x="21301" y="20426"/>
                </a:cubicBezTo>
                <a:cubicBezTo>
                  <a:pt x="21203" y="20809"/>
                  <a:pt x="21085" y="21109"/>
                  <a:pt x="20952" y="21298"/>
                </a:cubicBezTo>
                <a:cubicBezTo>
                  <a:pt x="20831" y="21449"/>
                  <a:pt x="20713" y="21525"/>
                  <a:pt x="20568" y="21562"/>
                </a:cubicBezTo>
                <a:cubicBezTo>
                  <a:pt x="20424" y="21600"/>
                  <a:pt x="20253" y="21600"/>
                  <a:pt x="20024" y="21600"/>
                </a:cubicBezTo>
                <a:lnTo>
                  <a:pt x="1569" y="21600"/>
                </a:lnTo>
                <a:cubicBezTo>
                  <a:pt x="1344" y="21600"/>
                  <a:pt x="1174" y="21600"/>
                  <a:pt x="1031" y="21562"/>
                </a:cubicBezTo>
                <a:cubicBezTo>
                  <a:pt x="887" y="21525"/>
                  <a:pt x="769" y="21449"/>
                  <a:pt x="648" y="21298"/>
                </a:cubicBezTo>
                <a:cubicBezTo>
                  <a:pt x="515" y="21109"/>
                  <a:pt x="397" y="20809"/>
                  <a:pt x="299" y="20426"/>
                </a:cubicBezTo>
                <a:cubicBezTo>
                  <a:pt x="202" y="20044"/>
                  <a:pt x="125" y="19578"/>
                  <a:pt x="77" y="19057"/>
                </a:cubicBezTo>
                <a:cubicBezTo>
                  <a:pt x="38" y="18581"/>
                  <a:pt x="19" y="18120"/>
                  <a:pt x="10" y="17553"/>
                </a:cubicBezTo>
                <a:cubicBezTo>
                  <a:pt x="0" y="16986"/>
                  <a:pt x="0" y="16314"/>
                  <a:pt x="0" y="15418"/>
                </a:cubicBezTo>
                <a:lnTo>
                  <a:pt x="0" y="6155"/>
                </a:lnTo>
                <a:cubicBezTo>
                  <a:pt x="0" y="5273"/>
                  <a:pt x="0" y="4608"/>
                  <a:pt x="10" y="4044"/>
                </a:cubicBezTo>
                <a:cubicBezTo>
                  <a:pt x="19" y="3480"/>
                  <a:pt x="38" y="3019"/>
                  <a:pt x="77" y="2543"/>
                </a:cubicBezTo>
                <a:cubicBezTo>
                  <a:pt x="125" y="2022"/>
                  <a:pt x="202" y="1556"/>
                  <a:pt x="299" y="1174"/>
                </a:cubicBezTo>
                <a:cubicBezTo>
                  <a:pt x="397" y="791"/>
                  <a:pt x="515" y="491"/>
                  <a:pt x="648" y="302"/>
                </a:cubicBezTo>
                <a:cubicBezTo>
                  <a:pt x="769" y="151"/>
                  <a:pt x="887" y="75"/>
                  <a:pt x="1032" y="38"/>
                </a:cubicBezTo>
                <a:cubicBezTo>
                  <a:pt x="1176" y="0"/>
                  <a:pt x="1347" y="0"/>
                  <a:pt x="1576" y="0"/>
                </a:cubicBezTo>
                <a:lnTo>
                  <a:pt x="1569" y="0"/>
                </a:lnTo>
                <a:close/>
              </a:path>
            </a:pathLst>
          </a:custGeom>
          <a:solidFill>
            <a:srgbClr val="F5F4F5"/>
          </a:solidFill>
          <a:ln w="12700" cap="flat">
            <a:noFill/>
            <a:miter lim="400000"/>
          </a:ln>
          <a:effectLst/>
        </p:spPr>
        <p:txBody>
          <a:bodyPr wrap="square" lIns="0" tIns="0" rIns="0" bIns="0" numCol="1"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sz="3200" b="0">
                <a:solidFill>
                  <a:srgbClr val="F3F4F5"/>
                </a:solidFill>
                <a:latin typeface="+mn-lt"/>
                <a:ea typeface="+mn-ea"/>
                <a:cs typeface="+mn-cs"/>
                <a:sym typeface="Helvetica Neue Medium"/>
              </a:defRPr>
            </a:pPr>
            <a:endParaRPr kumimoji="0" sz="1600" b="0" i="0" u="none" strike="noStrike" kern="1200" cap="none" spc="0" normalizeH="0" baseline="0" noProof="0" dirty="0">
              <a:ln>
                <a:noFill/>
              </a:ln>
              <a:solidFill>
                <a:srgbClr val="F3F4F5"/>
              </a:solidFill>
              <a:effectLst/>
              <a:uLnTx/>
              <a:uFillTx/>
              <a:latin typeface="OPPOSans R" panose="00020600040101010101" pitchFamily="18" charset="-122"/>
              <a:ea typeface="微软雅黑"/>
              <a:cs typeface="+mn-cs"/>
              <a:sym typeface="Helvetica Neue Medium"/>
            </a:endParaRPr>
          </a:p>
        </p:txBody>
      </p:sp>
      <p:sp>
        <p:nvSpPr>
          <p:cNvPr id="2671" name="gaoding-20"/>
          <p:cNvSpPr/>
          <p:nvPr/>
        </p:nvSpPr>
        <p:spPr>
          <a:xfrm>
            <a:off x="7428398" y="5264608"/>
            <a:ext cx="1670624" cy="425818"/>
          </a:xfrm>
          <a:custGeom>
            <a:avLst/>
            <a:gdLst/>
            <a:ahLst/>
            <a:cxnLst>
              <a:cxn ang="0">
                <a:pos x="wd2" y="hd2"/>
              </a:cxn>
              <a:cxn ang="5400000">
                <a:pos x="wd2" y="hd2"/>
              </a:cxn>
              <a:cxn ang="10800000">
                <a:pos x="wd2" y="hd2"/>
              </a:cxn>
              <a:cxn ang="16200000">
                <a:pos x="wd2" y="hd2"/>
              </a:cxn>
            </a:cxnLst>
            <a:rect l="0" t="0" r="r" b="b"/>
            <a:pathLst>
              <a:path w="21600" h="21600" extrusionOk="0">
                <a:moveTo>
                  <a:pt x="1569" y="0"/>
                </a:moveTo>
                <a:lnTo>
                  <a:pt x="20031" y="0"/>
                </a:lnTo>
                <a:cubicBezTo>
                  <a:pt x="20256" y="0"/>
                  <a:pt x="20426" y="0"/>
                  <a:pt x="20569" y="38"/>
                </a:cubicBezTo>
                <a:cubicBezTo>
                  <a:pt x="20713" y="75"/>
                  <a:pt x="20831" y="151"/>
                  <a:pt x="20952" y="302"/>
                </a:cubicBezTo>
                <a:cubicBezTo>
                  <a:pt x="21085" y="491"/>
                  <a:pt x="21203" y="791"/>
                  <a:pt x="21301" y="1174"/>
                </a:cubicBezTo>
                <a:cubicBezTo>
                  <a:pt x="21398" y="1556"/>
                  <a:pt x="21475" y="2022"/>
                  <a:pt x="21523" y="2543"/>
                </a:cubicBezTo>
                <a:cubicBezTo>
                  <a:pt x="21562" y="3019"/>
                  <a:pt x="21581" y="3480"/>
                  <a:pt x="21590" y="4047"/>
                </a:cubicBezTo>
                <a:cubicBezTo>
                  <a:pt x="21600" y="4614"/>
                  <a:pt x="21600" y="5286"/>
                  <a:pt x="21600" y="6182"/>
                </a:cubicBezTo>
                <a:lnTo>
                  <a:pt x="21600" y="15445"/>
                </a:lnTo>
                <a:cubicBezTo>
                  <a:pt x="21600" y="16327"/>
                  <a:pt x="21600" y="16992"/>
                  <a:pt x="21590" y="17556"/>
                </a:cubicBezTo>
                <a:cubicBezTo>
                  <a:pt x="21581" y="18120"/>
                  <a:pt x="21562" y="18581"/>
                  <a:pt x="21523" y="19057"/>
                </a:cubicBezTo>
                <a:cubicBezTo>
                  <a:pt x="21475" y="19578"/>
                  <a:pt x="21398" y="20044"/>
                  <a:pt x="21301" y="20426"/>
                </a:cubicBezTo>
                <a:cubicBezTo>
                  <a:pt x="21203" y="20809"/>
                  <a:pt x="21085" y="21109"/>
                  <a:pt x="20952" y="21298"/>
                </a:cubicBezTo>
                <a:cubicBezTo>
                  <a:pt x="20831" y="21449"/>
                  <a:pt x="20713" y="21525"/>
                  <a:pt x="20568" y="21562"/>
                </a:cubicBezTo>
                <a:cubicBezTo>
                  <a:pt x="20424" y="21600"/>
                  <a:pt x="20253" y="21600"/>
                  <a:pt x="20024" y="21600"/>
                </a:cubicBezTo>
                <a:lnTo>
                  <a:pt x="1569" y="21600"/>
                </a:lnTo>
                <a:cubicBezTo>
                  <a:pt x="1344" y="21600"/>
                  <a:pt x="1174" y="21600"/>
                  <a:pt x="1031" y="21562"/>
                </a:cubicBezTo>
                <a:cubicBezTo>
                  <a:pt x="887" y="21525"/>
                  <a:pt x="769" y="21449"/>
                  <a:pt x="648" y="21298"/>
                </a:cubicBezTo>
                <a:cubicBezTo>
                  <a:pt x="515" y="21109"/>
                  <a:pt x="397" y="20809"/>
                  <a:pt x="299" y="20426"/>
                </a:cubicBezTo>
                <a:cubicBezTo>
                  <a:pt x="202" y="20044"/>
                  <a:pt x="125" y="19578"/>
                  <a:pt x="77" y="19057"/>
                </a:cubicBezTo>
                <a:cubicBezTo>
                  <a:pt x="38" y="18581"/>
                  <a:pt x="19" y="18120"/>
                  <a:pt x="10" y="17553"/>
                </a:cubicBezTo>
                <a:cubicBezTo>
                  <a:pt x="0" y="16986"/>
                  <a:pt x="0" y="16314"/>
                  <a:pt x="0" y="15418"/>
                </a:cubicBezTo>
                <a:lnTo>
                  <a:pt x="0" y="6155"/>
                </a:lnTo>
                <a:cubicBezTo>
                  <a:pt x="0" y="5273"/>
                  <a:pt x="0" y="4608"/>
                  <a:pt x="10" y="4044"/>
                </a:cubicBezTo>
                <a:cubicBezTo>
                  <a:pt x="19" y="3480"/>
                  <a:pt x="38" y="3019"/>
                  <a:pt x="77" y="2543"/>
                </a:cubicBezTo>
                <a:cubicBezTo>
                  <a:pt x="125" y="2022"/>
                  <a:pt x="202" y="1556"/>
                  <a:pt x="299" y="1174"/>
                </a:cubicBezTo>
                <a:cubicBezTo>
                  <a:pt x="397" y="791"/>
                  <a:pt x="515" y="491"/>
                  <a:pt x="648" y="302"/>
                </a:cubicBezTo>
                <a:cubicBezTo>
                  <a:pt x="769" y="151"/>
                  <a:pt x="887" y="75"/>
                  <a:pt x="1032" y="38"/>
                </a:cubicBezTo>
                <a:cubicBezTo>
                  <a:pt x="1176" y="0"/>
                  <a:pt x="1347" y="0"/>
                  <a:pt x="1576" y="0"/>
                </a:cubicBezTo>
                <a:lnTo>
                  <a:pt x="1569" y="0"/>
                </a:lnTo>
                <a:close/>
              </a:path>
            </a:pathLst>
          </a:custGeom>
          <a:solidFill>
            <a:srgbClr val="F5F4F5"/>
          </a:solidFill>
          <a:ln w="12700" cap="flat">
            <a:noFill/>
            <a:miter lim="400000"/>
          </a:ln>
          <a:effectLst/>
        </p:spPr>
        <p:txBody>
          <a:bodyPr wrap="square" lIns="0" tIns="0" rIns="0" bIns="0" numCol="1"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sz="3200" b="0">
                <a:solidFill>
                  <a:srgbClr val="F3F4F5"/>
                </a:solidFill>
                <a:latin typeface="+mn-lt"/>
                <a:ea typeface="+mn-ea"/>
                <a:cs typeface="+mn-cs"/>
                <a:sym typeface="Helvetica Neue Medium"/>
              </a:defRPr>
            </a:pPr>
            <a:endParaRPr kumimoji="0" sz="1600" b="0" i="0" u="none" strike="noStrike" kern="1200" cap="none" spc="0" normalizeH="0" baseline="0" noProof="0" dirty="0">
              <a:ln>
                <a:noFill/>
              </a:ln>
              <a:solidFill>
                <a:srgbClr val="F3F4F5"/>
              </a:solidFill>
              <a:effectLst/>
              <a:uLnTx/>
              <a:uFillTx/>
              <a:latin typeface="OPPOSans R" panose="00020600040101010101" pitchFamily="18" charset="-122"/>
              <a:ea typeface="微软雅黑"/>
              <a:cs typeface="+mn-cs"/>
              <a:sym typeface="Helvetica Neue Medium"/>
            </a:endParaRPr>
          </a:p>
        </p:txBody>
      </p:sp>
      <p:sp>
        <p:nvSpPr>
          <p:cNvPr id="2675" name="gaoding-21"/>
          <p:cNvSpPr/>
          <p:nvPr/>
        </p:nvSpPr>
        <p:spPr>
          <a:xfrm>
            <a:off x="7428398" y="3140600"/>
            <a:ext cx="1670624" cy="425818"/>
          </a:xfrm>
          <a:custGeom>
            <a:avLst/>
            <a:gdLst/>
            <a:ahLst/>
            <a:cxnLst>
              <a:cxn ang="0">
                <a:pos x="wd2" y="hd2"/>
              </a:cxn>
              <a:cxn ang="5400000">
                <a:pos x="wd2" y="hd2"/>
              </a:cxn>
              <a:cxn ang="10800000">
                <a:pos x="wd2" y="hd2"/>
              </a:cxn>
              <a:cxn ang="16200000">
                <a:pos x="wd2" y="hd2"/>
              </a:cxn>
            </a:cxnLst>
            <a:rect l="0" t="0" r="r" b="b"/>
            <a:pathLst>
              <a:path w="21600" h="21600" extrusionOk="0">
                <a:moveTo>
                  <a:pt x="1569" y="0"/>
                </a:moveTo>
                <a:lnTo>
                  <a:pt x="20031" y="0"/>
                </a:lnTo>
                <a:cubicBezTo>
                  <a:pt x="20256" y="0"/>
                  <a:pt x="20426" y="0"/>
                  <a:pt x="20569" y="38"/>
                </a:cubicBezTo>
                <a:cubicBezTo>
                  <a:pt x="20713" y="75"/>
                  <a:pt x="20831" y="151"/>
                  <a:pt x="20952" y="302"/>
                </a:cubicBezTo>
                <a:cubicBezTo>
                  <a:pt x="21085" y="491"/>
                  <a:pt x="21203" y="791"/>
                  <a:pt x="21301" y="1174"/>
                </a:cubicBezTo>
                <a:cubicBezTo>
                  <a:pt x="21398" y="1556"/>
                  <a:pt x="21475" y="2022"/>
                  <a:pt x="21523" y="2543"/>
                </a:cubicBezTo>
                <a:cubicBezTo>
                  <a:pt x="21562" y="3019"/>
                  <a:pt x="21581" y="3480"/>
                  <a:pt x="21590" y="4047"/>
                </a:cubicBezTo>
                <a:cubicBezTo>
                  <a:pt x="21600" y="4614"/>
                  <a:pt x="21600" y="5286"/>
                  <a:pt x="21600" y="6182"/>
                </a:cubicBezTo>
                <a:lnTo>
                  <a:pt x="21600" y="15445"/>
                </a:lnTo>
                <a:cubicBezTo>
                  <a:pt x="21600" y="16327"/>
                  <a:pt x="21600" y="16992"/>
                  <a:pt x="21590" y="17556"/>
                </a:cubicBezTo>
                <a:cubicBezTo>
                  <a:pt x="21581" y="18120"/>
                  <a:pt x="21562" y="18581"/>
                  <a:pt x="21523" y="19057"/>
                </a:cubicBezTo>
                <a:cubicBezTo>
                  <a:pt x="21475" y="19578"/>
                  <a:pt x="21398" y="20044"/>
                  <a:pt x="21301" y="20426"/>
                </a:cubicBezTo>
                <a:cubicBezTo>
                  <a:pt x="21203" y="20809"/>
                  <a:pt x="21085" y="21109"/>
                  <a:pt x="20952" y="21298"/>
                </a:cubicBezTo>
                <a:cubicBezTo>
                  <a:pt x="20831" y="21449"/>
                  <a:pt x="20713" y="21525"/>
                  <a:pt x="20568" y="21562"/>
                </a:cubicBezTo>
                <a:cubicBezTo>
                  <a:pt x="20424" y="21600"/>
                  <a:pt x="20253" y="21600"/>
                  <a:pt x="20024" y="21600"/>
                </a:cubicBezTo>
                <a:lnTo>
                  <a:pt x="1569" y="21600"/>
                </a:lnTo>
                <a:cubicBezTo>
                  <a:pt x="1344" y="21600"/>
                  <a:pt x="1174" y="21600"/>
                  <a:pt x="1031" y="21562"/>
                </a:cubicBezTo>
                <a:cubicBezTo>
                  <a:pt x="887" y="21525"/>
                  <a:pt x="769" y="21449"/>
                  <a:pt x="648" y="21298"/>
                </a:cubicBezTo>
                <a:cubicBezTo>
                  <a:pt x="515" y="21109"/>
                  <a:pt x="397" y="20809"/>
                  <a:pt x="299" y="20426"/>
                </a:cubicBezTo>
                <a:cubicBezTo>
                  <a:pt x="202" y="20044"/>
                  <a:pt x="125" y="19578"/>
                  <a:pt x="77" y="19057"/>
                </a:cubicBezTo>
                <a:cubicBezTo>
                  <a:pt x="38" y="18581"/>
                  <a:pt x="19" y="18120"/>
                  <a:pt x="10" y="17553"/>
                </a:cubicBezTo>
                <a:cubicBezTo>
                  <a:pt x="0" y="16986"/>
                  <a:pt x="0" y="16314"/>
                  <a:pt x="0" y="15418"/>
                </a:cubicBezTo>
                <a:lnTo>
                  <a:pt x="0" y="6155"/>
                </a:lnTo>
                <a:cubicBezTo>
                  <a:pt x="0" y="5273"/>
                  <a:pt x="0" y="4608"/>
                  <a:pt x="10" y="4044"/>
                </a:cubicBezTo>
                <a:cubicBezTo>
                  <a:pt x="19" y="3480"/>
                  <a:pt x="38" y="3019"/>
                  <a:pt x="77" y="2543"/>
                </a:cubicBezTo>
                <a:cubicBezTo>
                  <a:pt x="125" y="2022"/>
                  <a:pt x="202" y="1556"/>
                  <a:pt x="299" y="1174"/>
                </a:cubicBezTo>
                <a:cubicBezTo>
                  <a:pt x="397" y="791"/>
                  <a:pt x="515" y="491"/>
                  <a:pt x="648" y="302"/>
                </a:cubicBezTo>
                <a:cubicBezTo>
                  <a:pt x="769" y="151"/>
                  <a:pt x="887" y="75"/>
                  <a:pt x="1032" y="38"/>
                </a:cubicBezTo>
                <a:cubicBezTo>
                  <a:pt x="1176" y="0"/>
                  <a:pt x="1347" y="0"/>
                  <a:pt x="1576" y="0"/>
                </a:cubicBezTo>
                <a:lnTo>
                  <a:pt x="1569" y="0"/>
                </a:lnTo>
                <a:close/>
              </a:path>
            </a:pathLst>
          </a:custGeom>
          <a:gradFill flip="none" rotWithShape="1">
            <a:gsLst>
              <a:gs pos="1000">
                <a:schemeClr val="accent5"/>
              </a:gs>
              <a:gs pos="100000">
                <a:schemeClr val="accent5">
                  <a:lumMod val="70000"/>
                  <a:lumOff val="30000"/>
                </a:schemeClr>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5720" tIns="22860" rIns="45720" bIns="228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FFFFFF"/>
              </a:solidFill>
              <a:effectLst/>
              <a:uLnTx/>
              <a:uFillTx/>
              <a:latin typeface="OPPOSans R" panose="00020600040101010101" pitchFamily="18" charset="-122"/>
              <a:ea typeface="微软雅黑"/>
              <a:cs typeface="+mn-cs"/>
            </a:endParaRPr>
          </a:p>
        </p:txBody>
      </p:sp>
      <p:sp>
        <p:nvSpPr>
          <p:cNvPr id="102" name="gaoding-22">
            <a:extLst>
              <a:ext uri="{FF2B5EF4-FFF2-40B4-BE49-F238E27FC236}">
                <a16:creationId xmlns:a16="http://schemas.microsoft.com/office/drawing/2014/main" id="{72FD7F55-0CC5-49F8-AE3E-9BDEE3494EAA}"/>
              </a:ext>
            </a:extLst>
          </p:cNvPr>
          <p:cNvSpPr/>
          <p:nvPr/>
        </p:nvSpPr>
        <p:spPr>
          <a:xfrm>
            <a:off x="7584689" y="3274137"/>
            <a:ext cx="166612" cy="146044"/>
          </a:xfrm>
          <a:custGeom>
            <a:avLst/>
            <a:gdLst>
              <a:gd name="connsiteX0" fmla="*/ 229933 w 457200"/>
              <a:gd name="connsiteY0" fmla="*/ 133357 h 390524"/>
              <a:gd name="connsiteX1" fmla="*/ 148970 w 457200"/>
              <a:gd name="connsiteY1" fmla="*/ 214319 h 390524"/>
              <a:gd name="connsiteX2" fmla="*/ 229933 w 457200"/>
              <a:gd name="connsiteY2" fmla="*/ 295282 h 390524"/>
              <a:gd name="connsiteX3" fmla="*/ 310895 w 457200"/>
              <a:gd name="connsiteY3" fmla="*/ 214510 h 390524"/>
              <a:gd name="connsiteX4" fmla="*/ 310895 w 457200"/>
              <a:gd name="connsiteY4" fmla="*/ 214319 h 390524"/>
              <a:gd name="connsiteX5" fmla="*/ 229933 w 457200"/>
              <a:gd name="connsiteY5" fmla="*/ 133357 h 390524"/>
              <a:gd name="connsiteX6" fmla="*/ 44195 w 457200"/>
              <a:gd name="connsiteY6" fmla="*/ 47632 h 390524"/>
              <a:gd name="connsiteX7" fmla="*/ 93440 w 457200"/>
              <a:gd name="connsiteY7" fmla="*/ 47632 h 390524"/>
              <a:gd name="connsiteX8" fmla="*/ 102965 w 457200"/>
              <a:gd name="connsiteY8" fmla="*/ 38107 h 390524"/>
              <a:gd name="connsiteX9" fmla="*/ 93440 w 457200"/>
              <a:gd name="connsiteY9" fmla="*/ 28582 h 390524"/>
              <a:gd name="connsiteX10" fmla="*/ 44195 w 457200"/>
              <a:gd name="connsiteY10" fmla="*/ 28582 h 390524"/>
              <a:gd name="connsiteX11" fmla="*/ 34670 w 457200"/>
              <a:gd name="connsiteY11" fmla="*/ 38107 h 390524"/>
              <a:gd name="connsiteX12" fmla="*/ 44195 w 457200"/>
              <a:gd name="connsiteY12" fmla="*/ 47632 h 390524"/>
              <a:gd name="connsiteX13" fmla="*/ 430148 w 457200"/>
              <a:gd name="connsiteY13" fmla="*/ 57157 h 390524"/>
              <a:gd name="connsiteX14" fmla="*/ 356806 w 457200"/>
              <a:gd name="connsiteY14" fmla="*/ 57157 h 390524"/>
              <a:gd name="connsiteX15" fmla="*/ 330231 w 457200"/>
              <a:gd name="connsiteY15" fmla="*/ 38774 h 390524"/>
              <a:gd name="connsiteX16" fmla="*/ 322612 w 457200"/>
              <a:gd name="connsiteY16" fmla="*/ 18390 h 390524"/>
              <a:gd name="connsiteX17" fmla="*/ 296037 w 457200"/>
              <a:gd name="connsiteY17" fmla="*/ 7 h 390524"/>
              <a:gd name="connsiteX18" fmla="*/ 163925 w 457200"/>
              <a:gd name="connsiteY18" fmla="*/ 7 h 390524"/>
              <a:gd name="connsiteX19" fmla="*/ 137350 w 457200"/>
              <a:gd name="connsiteY19" fmla="*/ 18390 h 390524"/>
              <a:gd name="connsiteX20" fmla="*/ 129731 w 457200"/>
              <a:gd name="connsiteY20" fmla="*/ 38774 h 390524"/>
              <a:gd name="connsiteX21" fmla="*/ 103156 w 457200"/>
              <a:gd name="connsiteY21" fmla="*/ 57157 h 390524"/>
              <a:gd name="connsiteX22" fmla="*/ 29718 w 457200"/>
              <a:gd name="connsiteY22" fmla="*/ 57157 h 390524"/>
              <a:gd name="connsiteX23" fmla="*/ 1143 w 457200"/>
              <a:gd name="connsiteY23" fmla="*/ 85732 h 390524"/>
              <a:gd name="connsiteX24" fmla="*/ 1143 w 457200"/>
              <a:gd name="connsiteY24" fmla="*/ 361957 h 390524"/>
              <a:gd name="connsiteX25" fmla="*/ 29718 w 457200"/>
              <a:gd name="connsiteY25" fmla="*/ 390532 h 390524"/>
              <a:gd name="connsiteX26" fmla="*/ 429768 w 457200"/>
              <a:gd name="connsiteY26" fmla="*/ 390532 h 390524"/>
              <a:gd name="connsiteX27" fmla="*/ 458343 w 457200"/>
              <a:gd name="connsiteY27" fmla="*/ 361957 h 390524"/>
              <a:gd name="connsiteX28" fmla="*/ 458343 w 457200"/>
              <a:gd name="connsiteY28" fmla="*/ 85160 h 390524"/>
              <a:gd name="connsiteX29" fmla="*/ 430148 w 457200"/>
              <a:gd name="connsiteY29" fmla="*/ 57157 h 390524"/>
              <a:gd name="connsiteX30" fmla="*/ 230123 w 457200"/>
              <a:gd name="connsiteY30" fmla="*/ 323857 h 390524"/>
              <a:gd name="connsiteX31" fmla="*/ 122872 w 457200"/>
              <a:gd name="connsiteY31" fmla="*/ 214332 h 390524"/>
              <a:gd name="connsiteX32" fmla="*/ 122872 w 457200"/>
              <a:gd name="connsiteY32" fmla="*/ 214319 h 390524"/>
              <a:gd name="connsiteX33" fmla="*/ 230123 w 457200"/>
              <a:gd name="connsiteY33" fmla="*/ 104782 h 390524"/>
              <a:gd name="connsiteX34" fmla="*/ 230123 w 457200"/>
              <a:gd name="connsiteY34" fmla="*/ 104782 h 390524"/>
              <a:gd name="connsiteX35" fmla="*/ 337470 w 457200"/>
              <a:gd name="connsiteY35" fmla="*/ 214213 h 390524"/>
              <a:gd name="connsiteX36" fmla="*/ 337470 w 457200"/>
              <a:gd name="connsiteY36" fmla="*/ 214319 h 390524"/>
              <a:gd name="connsiteX37" fmla="*/ 230219 w 457200"/>
              <a:gd name="connsiteY37" fmla="*/ 323854 h 390524"/>
              <a:gd name="connsiteX38" fmla="*/ 229933 w 457200"/>
              <a:gd name="connsiteY38" fmla="*/ 323857 h 390524"/>
              <a:gd name="connsiteX39" fmla="*/ 427006 w 457200"/>
              <a:gd name="connsiteY39" fmla="*/ 108878 h 390524"/>
              <a:gd name="connsiteX40" fmla="*/ 417481 w 457200"/>
              <a:gd name="connsiteY40" fmla="*/ 118403 h 390524"/>
              <a:gd name="connsiteX41" fmla="*/ 407956 w 457200"/>
              <a:gd name="connsiteY41" fmla="*/ 108878 h 390524"/>
              <a:gd name="connsiteX42" fmla="*/ 407956 w 457200"/>
              <a:gd name="connsiteY42" fmla="*/ 108878 h 390524"/>
              <a:gd name="connsiteX43" fmla="*/ 417481 w 457200"/>
              <a:gd name="connsiteY43" fmla="*/ 99353 h 390524"/>
              <a:gd name="connsiteX44" fmla="*/ 427006 w 457200"/>
              <a:gd name="connsiteY44" fmla="*/ 108878 h 3905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457200" h="390524">
                <a:moveTo>
                  <a:pt x="229933" y="133357"/>
                </a:moveTo>
                <a:cubicBezTo>
                  <a:pt x="185261" y="133409"/>
                  <a:pt x="149066" y="169627"/>
                  <a:pt x="148970" y="214319"/>
                </a:cubicBezTo>
                <a:cubicBezTo>
                  <a:pt x="148970" y="259034"/>
                  <a:pt x="185261" y="295282"/>
                  <a:pt x="229933" y="295282"/>
                </a:cubicBezTo>
                <a:cubicBezTo>
                  <a:pt x="274606" y="295334"/>
                  <a:pt x="310801" y="259172"/>
                  <a:pt x="310895" y="214510"/>
                </a:cubicBezTo>
                <a:cubicBezTo>
                  <a:pt x="310895" y="214446"/>
                  <a:pt x="310895" y="214383"/>
                  <a:pt x="310895" y="214319"/>
                </a:cubicBezTo>
                <a:cubicBezTo>
                  <a:pt x="310895" y="169605"/>
                  <a:pt x="274606" y="133357"/>
                  <a:pt x="229933" y="133357"/>
                </a:cubicBezTo>
                <a:close/>
                <a:moveTo>
                  <a:pt x="44195" y="47632"/>
                </a:moveTo>
                <a:lnTo>
                  <a:pt x="93440" y="47632"/>
                </a:lnTo>
                <a:cubicBezTo>
                  <a:pt x="98679" y="47632"/>
                  <a:pt x="102965" y="43368"/>
                  <a:pt x="102965" y="38107"/>
                </a:cubicBezTo>
                <a:cubicBezTo>
                  <a:pt x="102965" y="32846"/>
                  <a:pt x="98679" y="28582"/>
                  <a:pt x="93440" y="28582"/>
                </a:cubicBezTo>
                <a:lnTo>
                  <a:pt x="44195" y="28582"/>
                </a:lnTo>
                <a:cubicBezTo>
                  <a:pt x="38957" y="28582"/>
                  <a:pt x="34670" y="32846"/>
                  <a:pt x="34670" y="38107"/>
                </a:cubicBezTo>
                <a:cubicBezTo>
                  <a:pt x="34670" y="43368"/>
                  <a:pt x="38957" y="47632"/>
                  <a:pt x="44195" y="47632"/>
                </a:cubicBezTo>
                <a:close/>
                <a:moveTo>
                  <a:pt x="430148" y="57157"/>
                </a:moveTo>
                <a:lnTo>
                  <a:pt x="356806" y="57157"/>
                </a:lnTo>
                <a:cubicBezTo>
                  <a:pt x="344995" y="57107"/>
                  <a:pt x="334423" y="49803"/>
                  <a:pt x="330231" y="38774"/>
                </a:cubicBezTo>
                <a:lnTo>
                  <a:pt x="322612" y="18390"/>
                </a:lnTo>
                <a:cubicBezTo>
                  <a:pt x="318420" y="7361"/>
                  <a:pt x="307848" y="57"/>
                  <a:pt x="296037" y="7"/>
                </a:cubicBezTo>
                <a:lnTo>
                  <a:pt x="163925" y="7"/>
                </a:lnTo>
                <a:cubicBezTo>
                  <a:pt x="152114" y="57"/>
                  <a:pt x="141542" y="7361"/>
                  <a:pt x="137350" y="18390"/>
                </a:cubicBezTo>
                <a:lnTo>
                  <a:pt x="129731" y="38774"/>
                </a:lnTo>
                <a:cubicBezTo>
                  <a:pt x="125539" y="49803"/>
                  <a:pt x="114966" y="57107"/>
                  <a:pt x="103156" y="57157"/>
                </a:cubicBezTo>
                <a:lnTo>
                  <a:pt x="29718" y="57157"/>
                </a:lnTo>
                <a:cubicBezTo>
                  <a:pt x="13906" y="57157"/>
                  <a:pt x="1143" y="69950"/>
                  <a:pt x="1143" y="85732"/>
                </a:cubicBezTo>
                <a:lnTo>
                  <a:pt x="1143" y="361957"/>
                </a:lnTo>
                <a:cubicBezTo>
                  <a:pt x="1143" y="377740"/>
                  <a:pt x="13906" y="390532"/>
                  <a:pt x="29718" y="390532"/>
                </a:cubicBezTo>
                <a:lnTo>
                  <a:pt x="429768" y="390532"/>
                </a:lnTo>
                <a:cubicBezTo>
                  <a:pt x="445579" y="390532"/>
                  <a:pt x="458343" y="377740"/>
                  <a:pt x="458343" y="361957"/>
                </a:cubicBezTo>
                <a:lnTo>
                  <a:pt x="458343" y="85160"/>
                </a:lnTo>
                <a:cubicBezTo>
                  <a:pt x="458057" y="69750"/>
                  <a:pt x="445579" y="57360"/>
                  <a:pt x="430148" y="57157"/>
                </a:cubicBezTo>
                <a:close/>
                <a:moveTo>
                  <a:pt x="230123" y="323857"/>
                </a:moveTo>
                <a:cubicBezTo>
                  <a:pt x="170307" y="323229"/>
                  <a:pt x="122206" y="274193"/>
                  <a:pt x="122872" y="214332"/>
                </a:cubicBezTo>
                <a:cubicBezTo>
                  <a:pt x="122872" y="214327"/>
                  <a:pt x="122872" y="214323"/>
                  <a:pt x="122872" y="214319"/>
                </a:cubicBezTo>
                <a:cubicBezTo>
                  <a:pt x="122206" y="154459"/>
                  <a:pt x="170212" y="105416"/>
                  <a:pt x="230123" y="104782"/>
                </a:cubicBezTo>
                <a:cubicBezTo>
                  <a:pt x="230123" y="104782"/>
                  <a:pt x="230123" y="104782"/>
                  <a:pt x="230123" y="104782"/>
                </a:cubicBezTo>
                <a:cubicBezTo>
                  <a:pt x="289941" y="105357"/>
                  <a:pt x="338042" y="154351"/>
                  <a:pt x="337470" y="214213"/>
                </a:cubicBezTo>
                <a:cubicBezTo>
                  <a:pt x="337470" y="214249"/>
                  <a:pt x="337470" y="214284"/>
                  <a:pt x="337470" y="214319"/>
                </a:cubicBezTo>
                <a:cubicBezTo>
                  <a:pt x="338138" y="274181"/>
                  <a:pt x="290131" y="323221"/>
                  <a:pt x="230219" y="323854"/>
                </a:cubicBezTo>
                <a:cubicBezTo>
                  <a:pt x="230123" y="323855"/>
                  <a:pt x="230028" y="323856"/>
                  <a:pt x="229933" y="323857"/>
                </a:cubicBezTo>
                <a:close/>
                <a:moveTo>
                  <a:pt x="427006" y="108878"/>
                </a:moveTo>
                <a:cubicBezTo>
                  <a:pt x="427006" y="114138"/>
                  <a:pt x="422720" y="118403"/>
                  <a:pt x="417481" y="118403"/>
                </a:cubicBezTo>
                <a:cubicBezTo>
                  <a:pt x="412241" y="118403"/>
                  <a:pt x="407956" y="114138"/>
                  <a:pt x="407956" y="108878"/>
                </a:cubicBezTo>
                <a:lnTo>
                  <a:pt x="407956" y="108878"/>
                </a:lnTo>
                <a:cubicBezTo>
                  <a:pt x="407956" y="103617"/>
                  <a:pt x="412241" y="99353"/>
                  <a:pt x="417481" y="99353"/>
                </a:cubicBezTo>
                <a:cubicBezTo>
                  <a:pt x="422720" y="99353"/>
                  <a:pt x="427006" y="103617"/>
                  <a:pt x="427006" y="108878"/>
                </a:cubicBezTo>
                <a:close/>
              </a:path>
            </a:pathLst>
          </a:custGeom>
          <a:solidFill>
            <a:srgbClr val="FFFFFF"/>
          </a:solidFill>
          <a:ln w="12700" cap="flat">
            <a:noFill/>
            <a:miter lim="400000"/>
          </a:ln>
          <a:effectLst/>
        </p:spPr>
        <p:txBody>
          <a:bodyPr wrap="square" lIns="22860" tIns="22860" rIns="22860" bIns="22860" numCol="1" anchor="ctr">
            <a:no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sz="1800" b="0">
                <a:latin typeface="Calibri"/>
                <a:ea typeface="Calibri"/>
                <a:cs typeface="Calibri"/>
                <a:sym typeface="Calibri"/>
              </a:defRPr>
            </a:pPr>
            <a:endParaRPr kumimoji="0" sz="900" b="0" i="0" u="none" strike="noStrike" kern="1200" cap="none" spc="0" normalizeH="0" baseline="0" noProof="0">
              <a:ln>
                <a:noFill/>
              </a:ln>
              <a:solidFill>
                <a:srgbClr val="000000"/>
              </a:solidFill>
              <a:effectLst/>
              <a:uLnTx/>
              <a:uFillTx/>
              <a:latin typeface="Calibri"/>
              <a:cs typeface="Calibri"/>
              <a:sym typeface="Calibri"/>
            </a:endParaRPr>
          </a:p>
        </p:txBody>
      </p:sp>
      <p:sp>
        <p:nvSpPr>
          <p:cNvPr id="2680" name="gaoding-23"/>
          <p:cNvSpPr/>
          <p:nvPr/>
        </p:nvSpPr>
        <p:spPr>
          <a:xfrm>
            <a:off x="2986552" y="4026498"/>
            <a:ext cx="1846036" cy="1763122"/>
          </a:xfrm>
          <a:custGeom>
            <a:avLst/>
            <a:gdLst/>
            <a:ahLst/>
            <a:cxnLst>
              <a:cxn ang="0">
                <a:pos x="wd2" y="hd2"/>
              </a:cxn>
              <a:cxn ang="5400000">
                <a:pos x="wd2" y="hd2"/>
              </a:cxn>
              <a:cxn ang="10800000">
                <a:pos x="wd2" y="hd2"/>
              </a:cxn>
              <a:cxn ang="16200000">
                <a:pos x="wd2" y="hd2"/>
              </a:cxn>
            </a:cxnLst>
            <a:rect l="0" t="0" r="r" b="b"/>
            <a:pathLst>
              <a:path w="21600" h="21600" extrusionOk="0">
                <a:moveTo>
                  <a:pt x="2355" y="0"/>
                </a:moveTo>
                <a:lnTo>
                  <a:pt x="19245" y="0"/>
                </a:lnTo>
                <a:cubicBezTo>
                  <a:pt x="19583" y="0"/>
                  <a:pt x="19837" y="0"/>
                  <a:pt x="20053" y="13"/>
                </a:cubicBezTo>
                <a:cubicBezTo>
                  <a:pt x="20268" y="26"/>
                  <a:pt x="20445" y="52"/>
                  <a:pt x="20627" y="104"/>
                </a:cubicBezTo>
                <a:cubicBezTo>
                  <a:pt x="20826" y="170"/>
                  <a:pt x="21004" y="274"/>
                  <a:pt x="21151" y="406"/>
                </a:cubicBezTo>
                <a:cubicBezTo>
                  <a:pt x="21297" y="539"/>
                  <a:pt x="21412" y="700"/>
                  <a:pt x="21485" y="880"/>
                </a:cubicBezTo>
                <a:cubicBezTo>
                  <a:pt x="21542" y="1045"/>
                  <a:pt x="21571" y="1204"/>
                  <a:pt x="21586" y="1401"/>
                </a:cubicBezTo>
                <a:cubicBezTo>
                  <a:pt x="21600" y="1597"/>
                  <a:pt x="21600" y="1829"/>
                  <a:pt x="21600" y="2139"/>
                </a:cubicBezTo>
                <a:lnTo>
                  <a:pt x="21600" y="19470"/>
                </a:lnTo>
                <a:cubicBezTo>
                  <a:pt x="21600" y="19775"/>
                  <a:pt x="21600" y="20006"/>
                  <a:pt x="21586" y="20201"/>
                </a:cubicBezTo>
                <a:cubicBezTo>
                  <a:pt x="21571" y="20396"/>
                  <a:pt x="21542" y="20555"/>
                  <a:pt x="21485" y="20720"/>
                </a:cubicBezTo>
                <a:cubicBezTo>
                  <a:pt x="21412" y="20900"/>
                  <a:pt x="21297" y="21061"/>
                  <a:pt x="21151" y="21194"/>
                </a:cubicBezTo>
                <a:cubicBezTo>
                  <a:pt x="21004" y="21326"/>
                  <a:pt x="20826" y="21430"/>
                  <a:pt x="20627" y="21496"/>
                </a:cubicBezTo>
                <a:cubicBezTo>
                  <a:pt x="20445" y="21548"/>
                  <a:pt x="20268" y="21574"/>
                  <a:pt x="20051" y="21587"/>
                </a:cubicBezTo>
                <a:cubicBezTo>
                  <a:pt x="19834" y="21600"/>
                  <a:pt x="19577" y="21600"/>
                  <a:pt x="19235" y="21600"/>
                </a:cubicBezTo>
                <a:lnTo>
                  <a:pt x="2355" y="21600"/>
                </a:lnTo>
                <a:cubicBezTo>
                  <a:pt x="2017" y="21600"/>
                  <a:pt x="1763" y="21600"/>
                  <a:pt x="1547" y="21587"/>
                </a:cubicBezTo>
                <a:cubicBezTo>
                  <a:pt x="1332" y="21574"/>
                  <a:pt x="1155" y="21548"/>
                  <a:pt x="973" y="21496"/>
                </a:cubicBezTo>
                <a:cubicBezTo>
                  <a:pt x="774" y="21430"/>
                  <a:pt x="596" y="21326"/>
                  <a:pt x="449" y="21194"/>
                </a:cubicBezTo>
                <a:cubicBezTo>
                  <a:pt x="303" y="21061"/>
                  <a:pt x="188" y="20900"/>
                  <a:pt x="115" y="20720"/>
                </a:cubicBezTo>
                <a:cubicBezTo>
                  <a:pt x="58" y="20555"/>
                  <a:pt x="29" y="20396"/>
                  <a:pt x="14" y="20199"/>
                </a:cubicBezTo>
                <a:cubicBezTo>
                  <a:pt x="0" y="20003"/>
                  <a:pt x="0" y="19771"/>
                  <a:pt x="0" y="19461"/>
                </a:cubicBezTo>
                <a:lnTo>
                  <a:pt x="0" y="2130"/>
                </a:lnTo>
                <a:cubicBezTo>
                  <a:pt x="0" y="1825"/>
                  <a:pt x="0" y="1594"/>
                  <a:pt x="14" y="1399"/>
                </a:cubicBezTo>
                <a:cubicBezTo>
                  <a:pt x="29" y="1204"/>
                  <a:pt x="58" y="1045"/>
                  <a:pt x="115" y="880"/>
                </a:cubicBezTo>
                <a:cubicBezTo>
                  <a:pt x="188" y="700"/>
                  <a:pt x="303" y="539"/>
                  <a:pt x="449" y="406"/>
                </a:cubicBezTo>
                <a:cubicBezTo>
                  <a:pt x="596" y="274"/>
                  <a:pt x="774" y="170"/>
                  <a:pt x="973" y="104"/>
                </a:cubicBezTo>
                <a:cubicBezTo>
                  <a:pt x="1155" y="52"/>
                  <a:pt x="1332" y="26"/>
                  <a:pt x="1549" y="13"/>
                </a:cubicBezTo>
                <a:cubicBezTo>
                  <a:pt x="1766" y="0"/>
                  <a:pt x="2023" y="0"/>
                  <a:pt x="2365" y="0"/>
                </a:cubicBezTo>
                <a:lnTo>
                  <a:pt x="2355" y="0"/>
                </a:lnTo>
                <a:close/>
              </a:path>
            </a:pathLst>
          </a:custGeom>
          <a:solidFill>
            <a:schemeClr val="bg1"/>
          </a:solidFill>
          <a:ln w="25400" cap="flat">
            <a:solidFill>
              <a:schemeClr val="bg1">
                <a:lumMod val="85000"/>
              </a:schemeClr>
            </a:solidFill>
            <a:custDash>
              <a:ds d="200000" sp="200000"/>
            </a:custDash>
            <a:miter lim="400000"/>
          </a:ln>
          <a:effectLst/>
        </p:spPr>
        <p:txBody>
          <a:bodyPr wrap="square" lIns="0" tIns="0" rIns="0" bIns="0" numCol="1"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sz="3200" b="0">
                <a:solidFill>
                  <a:srgbClr val="F3F4F5"/>
                </a:solidFill>
                <a:latin typeface="+mn-lt"/>
                <a:ea typeface="+mn-ea"/>
                <a:cs typeface="+mn-cs"/>
                <a:sym typeface="Helvetica Neue Medium"/>
              </a:defRPr>
            </a:pPr>
            <a:endParaRPr kumimoji="0" sz="1600" b="0" i="0" u="none" strike="noStrike" kern="1200" cap="none" spc="0" normalizeH="0" baseline="0" noProof="0" dirty="0">
              <a:ln>
                <a:noFill/>
              </a:ln>
              <a:solidFill>
                <a:srgbClr val="F3F4F5"/>
              </a:solidFill>
              <a:effectLst/>
              <a:uLnTx/>
              <a:uFillTx/>
              <a:latin typeface="OPPOSans R" panose="00020600040101010101" pitchFamily="18" charset="-122"/>
              <a:ea typeface="微软雅黑"/>
              <a:cs typeface="+mn-cs"/>
              <a:sym typeface="Helvetica Neue Medium"/>
            </a:endParaRPr>
          </a:p>
        </p:txBody>
      </p:sp>
      <p:sp>
        <p:nvSpPr>
          <p:cNvPr id="2681" name="gaoding-24"/>
          <p:cNvSpPr/>
          <p:nvPr/>
        </p:nvSpPr>
        <p:spPr>
          <a:xfrm>
            <a:off x="3079309" y="4155043"/>
            <a:ext cx="1670623" cy="425818"/>
          </a:xfrm>
          <a:custGeom>
            <a:avLst/>
            <a:gdLst/>
            <a:ahLst/>
            <a:cxnLst>
              <a:cxn ang="0">
                <a:pos x="wd2" y="hd2"/>
              </a:cxn>
              <a:cxn ang="5400000">
                <a:pos x="wd2" y="hd2"/>
              </a:cxn>
              <a:cxn ang="10800000">
                <a:pos x="wd2" y="hd2"/>
              </a:cxn>
              <a:cxn ang="16200000">
                <a:pos x="wd2" y="hd2"/>
              </a:cxn>
            </a:cxnLst>
            <a:rect l="0" t="0" r="r" b="b"/>
            <a:pathLst>
              <a:path w="21600" h="21600" extrusionOk="0">
                <a:moveTo>
                  <a:pt x="1569" y="0"/>
                </a:moveTo>
                <a:lnTo>
                  <a:pt x="20031" y="0"/>
                </a:lnTo>
                <a:cubicBezTo>
                  <a:pt x="20256" y="0"/>
                  <a:pt x="20426" y="0"/>
                  <a:pt x="20569" y="38"/>
                </a:cubicBezTo>
                <a:cubicBezTo>
                  <a:pt x="20713" y="75"/>
                  <a:pt x="20831" y="151"/>
                  <a:pt x="20952" y="302"/>
                </a:cubicBezTo>
                <a:cubicBezTo>
                  <a:pt x="21085" y="491"/>
                  <a:pt x="21203" y="791"/>
                  <a:pt x="21301" y="1174"/>
                </a:cubicBezTo>
                <a:cubicBezTo>
                  <a:pt x="21398" y="1556"/>
                  <a:pt x="21475" y="2022"/>
                  <a:pt x="21523" y="2543"/>
                </a:cubicBezTo>
                <a:cubicBezTo>
                  <a:pt x="21562" y="3019"/>
                  <a:pt x="21581" y="3480"/>
                  <a:pt x="21590" y="4047"/>
                </a:cubicBezTo>
                <a:cubicBezTo>
                  <a:pt x="21600" y="4614"/>
                  <a:pt x="21600" y="5286"/>
                  <a:pt x="21600" y="6182"/>
                </a:cubicBezTo>
                <a:lnTo>
                  <a:pt x="21600" y="15445"/>
                </a:lnTo>
                <a:cubicBezTo>
                  <a:pt x="21600" y="16327"/>
                  <a:pt x="21600" y="16992"/>
                  <a:pt x="21590" y="17556"/>
                </a:cubicBezTo>
                <a:cubicBezTo>
                  <a:pt x="21581" y="18120"/>
                  <a:pt x="21562" y="18581"/>
                  <a:pt x="21523" y="19057"/>
                </a:cubicBezTo>
                <a:cubicBezTo>
                  <a:pt x="21475" y="19578"/>
                  <a:pt x="21398" y="20044"/>
                  <a:pt x="21301" y="20426"/>
                </a:cubicBezTo>
                <a:cubicBezTo>
                  <a:pt x="21203" y="20809"/>
                  <a:pt x="21085" y="21109"/>
                  <a:pt x="20952" y="21298"/>
                </a:cubicBezTo>
                <a:cubicBezTo>
                  <a:pt x="20831" y="21449"/>
                  <a:pt x="20713" y="21525"/>
                  <a:pt x="20568" y="21562"/>
                </a:cubicBezTo>
                <a:cubicBezTo>
                  <a:pt x="20424" y="21600"/>
                  <a:pt x="20253" y="21600"/>
                  <a:pt x="20024" y="21600"/>
                </a:cubicBezTo>
                <a:lnTo>
                  <a:pt x="1569" y="21600"/>
                </a:lnTo>
                <a:cubicBezTo>
                  <a:pt x="1344" y="21600"/>
                  <a:pt x="1174" y="21600"/>
                  <a:pt x="1031" y="21562"/>
                </a:cubicBezTo>
                <a:cubicBezTo>
                  <a:pt x="887" y="21525"/>
                  <a:pt x="769" y="21449"/>
                  <a:pt x="648" y="21298"/>
                </a:cubicBezTo>
                <a:cubicBezTo>
                  <a:pt x="515" y="21109"/>
                  <a:pt x="397" y="20809"/>
                  <a:pt x="299" y="20426"/>
                </a:cubicBezTo>
                <a:cubicBezTo>
                  <a:pt x="202" y="20044"/>
                  <a:pt x="125" y="19578"/>
                  <a:pt x="77" y="19057"/>
                </a:cubicBezTo>
                <a:cubicBezTo>
                  <a:pt x="38" y="18581"/>
                  <a:pt x="19" y="18120"/>
                  <a:pt x="10" y="17553"/>
                </a:cubicBezTo>
                <a:cubicBezTo>
                  <a:pt x="0" y="16986"/>
                  <a:pt x="0" y="16314"/>
                  <a:pt x="0" y="15418"/>
                </a:cubicBezTo>
                <a:lnTo>
                  <a:pt x="0" y="6155"/>
                </a:lnTo>
                <a:cubicBezTo>
                  <a:pt x="0" y="5273"/>
                  <a:pt x="0" y="4608"/>
                  <a:pt x="10" y="4044"/>
                </a:cubicBezTo>
                <a:cubicBezTo>
                  <a:pt x="19" y="3480"/>
                  <a:pt x="38" y="3019"/>
                  <a:pt x="77" y="2543"/>
                </a:cubicBezTo>
                <a:cubicBezTo>
                  <a:pt x="125" y="2022"/>
                  <a:pt x="202" y="1556"/>
                  <a:pt x="299" y="1174"/>
                </a:cubicBezTo>
                <a:cubicBezTo>
                  <a:pt x="397" y="791"/>
                  <a:pt x="515" y="491"/>
                  <a:pt x="648" y="302"/>
                </a:cubicBezTo>
                <a:cubicBezTo>
                  <a:pt x="769" y="151"/>
                  <a:pt x="887" y="75"/>
                  <a:pt x="1032" y="38"/>
                </a:cubicBezTo>
                <a:cubicBezTo>
                  <a:pt x="1176" y="0"/>
                  <a:pt x="1347" y="0"/>
                  <a:pt x="1576" y="0"/>
                </a:cubicBezTo>
                <a:lnTo>
                  <a:pt x="1569" y="0"/>
                </a:lnTo>
                <a:close/>
              </a:path>
            </a:pathLst>
          </a:custGeom>
          <a:solidFill>
            <a:srgbClr val="F5F4F5"/>
          </a:solidFill>
          <a:ln w="12700" cap="flat">
            <a:noFill/>
            <a:miter lim="400000"/>
          </a:ln>
          <a:effectLst/>
        </p:spPr>
        <p:txBody>
          <a:bodyPr wrap="square" lIns="0" tIns="0" rIns="0" bIns="0" numCol="1"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sz="3200" b="0">
                <a:solidFill>
                  <a:srgbClr val="F3F4F5"/>
                </a:solidFill>
                <a:latin typeface="+mn-lt"/>
                <a:ea typeface="+mn-ea"/>
                <a:cs typeface="+mn-cs"/>
                <a:sym typeface="Helvetica Neue Medium"/>
              </a:defRPr>
            </a:pPr>
            <a:endParaRPr kumimoji="0" sz="1600" b="0" i="0" u="none" strike="noStrike" kern="1200" cap="none" spc="0" normalizeH="0" baseline="0" noProof="0" dirty="0">
              <a:ln>
                <a:noFill/>
              </a:ln>
              <a:solidFill>
                <a:srgbClr val="F3F4F5"/>
              </a:solidFill>
              <a:effectLst/>
              <a:uLnTx/>
              <a:uFillTx/>
              <a:latin typeface="OPPOSans R" panose="00020600040101010101" pitchFamily="18" charset="-122"/>
              <a:ea typeface="微软雅黑"/>
              <a:cs typeface="+mn-cs"/>
              <a:sym typeface="Helvetica Neue Medium"/>
            </a:endParaRPr>
          </a:p>
        </p:txBody>
      </p:sp>
      <p:sp>
        <p:nvSpPr>
          <p:cNvPr id="2684" name="gaoding-25"/>
          <p:cNvSpPr/>
          <p:nvPr/>
        </p:nvSpPr>
        <p:spPr>
          <a:xfrm>
            <a:off x="3079309" y="4709825"/>
            <a:ext cx="1670623" cy="425818"/>
          </a:xfrm>
          <a:custGeom>
            <a:avLst/>
            <a:gdLst/>
            <a:ahLst/>
            <a:cxnLst>
              <a:cxn ang="0">
                <a:pos x="wd2" y="hd2"/>
              </a:cxn>
              <a:cxn ang="5400000">
                <a:pos x="wd2" y="hd2"/>
              </a:cxn>
              <a:cxn ang="10800000">
                <a:pos x="wd2" y="hd2"/>
              </a:cxn>
              <a:cxn ang="16200000">
                <a:pos x="wd2" y="hd2"/>
              </a:cxn>
            </a:cxnLst>
            <a:rect l="0" t="0" r="r" b="b"/>
            <a:pathLst>
              <a:path w="21600" h="21600" extrusionOk="0">
                <a:moveTo>
                  <a:pt x="1569" y="0"/>
                </a:moveTo>
                <a:lnTo>
                  <a:pt x="20031" y="0"/>
                </a:lnTo>
                <a:cubicBezTo>
                  <a:pt x="20256" y="0"/>
                  <a:pt x="20426" y="0"/>
                  <a:pt x="20569" y="38"/>
                </a:cubicBezTo>
                <a:cubicBezTo>
                  <a:pt x="20713" y="75"/>
                  <a:pt x="20831" y="151"/>
                  <a:pt x="20952" y="302"/>
                </a:cubicBezTo>
                <a:cubicBezTo>
                  <a:pt x="21085" y="491"/>
                  <a:pt x="21203" y="791"/>
                  <a:pt x="21301" y="1174"/>
                </a:cubicBezTo>
                <a:cubicBezTo>
                  <a:pt x="21398" y="1556"/>
                  <a:pt x="21475" y="2022"/>
                  <a:pt x="21523" y="2543"/>
                </a:cubicBezTo>
                <a:cubicBezTo>
                  <a:pt x="21562" y="3019"/>
                  <a:pt x="21581" y="3480"/>
                  <a:pt x="21590" y="4047"/>
                </a:cubicBezTo>
                <a:cubicBezTo>
                  <a:pt x="21600" y="4614"/>
                  <a:pt x="21600" y="5286"/>
                  <a:pt x="21600" y="6182"/>
                </a:cubicBezTo>
                <a:lnTo>
                  <a:pt x="21600" y="15445"/>
                </a:lnTo>
                <a:cubicBezTo>
                  <a:pt x="21600" y="16327"/>
                  <a:pt x="21600" y="16992"/>
                  <a:pt x="21590" y="17556"/>
                </a:cubicBezTo>
                <a:cubicBezTo>
                  <a:pt x="21581" y="18120"/>
                  <a:pt x="21562" y="18581"/>
                  <a:pt x="21523" y="19057"/>
                </a:cubicBezTo>
                <a:cubicBezTo>
                  <a:pt x="21475" y="19578"/>
                  <a:pt x="21398" y="20044"/>
                  <a:pt x="21301" y="20426"/>
                </a:cubicBezTo>
                <a:cubicBezTo>
                  <a:pt x="21203" y="20809"/>
                  <a:pt x="21085" y="21109"/>
                  <a:pt x="20952" y="21298"/>
                </a:cubicBezTo>
                <a:cubicBezTo>
                  <a:pt x="20831" y="21449"/>
                  <a:pt x="20713" y="21525"/>
                  <a:pt x="20568" y="21562"/>
                </a:cubicBezTo>
                <a:cubicBezTo>
                  <a:pt x="20424" y="21600"/>
                  <a:pt x="20253" y="21600"/>
                  <a:pt x="20024" y="21600"/>
                </a:cubicBezTo>
                <a:lnTo>
                  <a:pt x="1569" y="21600"/>
                </a:lnTo>
                <a:cubicBezTo>
                  <a:pt x="1344" y="21600"/>
                  <a:pt x="1174" y="21600"/>
                  <a:pt x="1031" y="21562"/>
                </a:cubicBezTo>
                <a:cubicBezTo>
                  <a:pt x="887" y="21525"/>
                  <a:pt x="769" y="21449"/>
                  <a:pt x="648" y="21298"/>
                </a:cubicBezTo>
                <a:cubicBezTo>
                  <a:pt x="515" y="21109"/>
                  <a:pt x="397" y="20809"/>
                  <a:pt x="299" y="20426"/>
                </a:cubicBezTo>
                <a:cubicBezTo>
                  <a:pt x="202" y="20044"/>
                  <a:pt x="125" y="19578"/>
                  <a:pt x="77" y="19057"/>
                </a:cubicBezTo>
                <a:cubicBezTo>
                  <a:pt x="38" y="18581"/>
                  <a:pt x="19" y="18120"/>
                  <a:pt x="10" y="17553"/>
                </a:cubicBezTo>
                <a:cubicBezTo>
                  <a:pt x="0" y="16986"/>
                  <a:pt x="0" y="16314"/>
                  <a:pt x="0" y="15418"/>
                </a:cubicBezTo>
                <a:lnTo>
                  <a:pt x="0" y="6155"/>
                </a:lnTo>
                <a:cubicBezTo>
                  <a:pt x="0" y="5273"/>
                  <a:pt x="0" y="4608"/>
                  <a:pt x="10" y="4044"/>
                </a:cubicBezTo>
                <a:cubicBezTo>
                  <a:pt x="19" y="3480"/>
                  <a:pt x="38" y="3019"/>
                  <a:pt x="77" y="2543"/>
                </a:cubicBezTo>
                <a:cubicBezTo>
                  <a:pt x="125" y="2022"/>
                  <a:pt x="202" y="1556"/>
                  <a:pt x="299" y="1174"/>
                </a:cubicBezTo>
                <a:cubicBezTo>
                  <a:pt x="397" y="791"/>
                  <a:pt x="515" y="491"/>
                  <a:pt x="648" y="302"/>
                </a:cubicBezTo>
                <a:cubicBezTo>
                  <a:pt x="769" y="151"/>
                  <a:pt x="887" y="75"/>
                  <a:pt x="1032" y="38"/>
                </a:cubicBezTo>
                <a:cubicBezTo>
                  <a:pt x="1176" y="0"/>
                  <a:pt x="1347" y="0"/>
                  <a:pt x="1576" y="0"/>
                </a:cubicBezTo>
                <a:lnTo>
                  <a:pt x="1569" y="0"/>
                </a:lnTo>
                <a:close/>
              </a:path>
            </a:pathLst>
          </a:custGeom>
          <a:solidFill>
            <a:srgbClr val="F5F4F5"/>
          </a:solidFill>
          <a:ln w="12700" cap="flat">
            <a:noFill/>
            <a:miter lim="400000"/>
          </a:ln>
          <a:effectLst/>
        </p:spPr>
        <p:txBody>
          <a:bodyPr wrap="square" lIns="0" tIns="0" rIns="0" bIns="0" numCol="1"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sz="3200" b="0">
                <a:solidFill>
                  <a:srgbClr val="F3F4F5"/>
                </a:solidFill>
                <a:latin typeface="+mn-lt"/>
                <a:ea typeface="+mn-ea"/>
                <a:cs typeface="+mn-cs"/>
                <a:sym typeface="Helvetica Neue Medium"/>
              </a:defRPr>
            </a:pPr>
            <a:endParaRPr kumimoji="0" sz="1600" b="0" i="0" u="none" strike="noStrike" kern="1200" cap="none" spc="0" normalizeH="0" baseline="0" noProof="0" dirty="0">
              <a:ln>
                <a:noFill/>
              </a:ln>
              <a:solidFill>
                <a:srgbClr val="F3F4F5"/>
              </a:solidFill>
              <a:effectLst/>
              <a:uLnTx/>
              <a:uFillTx/>
              <a:latin typeface="OPPOSans R" panose="00020600040101010101" pitchFamily="18" charset="-122"/>
              <a:ea typeface="微软雅黑"/>
              <a:cs typeface="+mn-cs"/>
              <a:sym typeface="Helvetica Neue Medium"/>
            </a:endParaRPr>
          </a:p>
        </p:txBody>
      </p:sp>
      <p:sp>
        <p:nvSpPr>
          <p:cNvPr id="2687" name="gaoding-26"/>
          <p:cNvSpPr/>
          <p:nvPr/>
        </p:nvSpPr>
        <p:spPr>
          <a:xfrm>
            <a:off x="3079309" y="5264608"/>
            <a:ext cx="1670623" cy="425818"/>
          </a:xfrm>
          <a:custGeom>
            <a:avLst/>
            <a:gdLst/>
            <a:ahLst/>
            <a:cxnLst>
              <a:cxn ang="0">
                <a:pos x="wd2" y="hd2"/>
              </a:cxn>
              <a:cxn ang="5400000">
                <a:pos x="wd2" y="hd2"/>
              </a:cxn>
              <a:cxn ang="10800000">
                <a:pos x="wd2" y="hd2"/>
              </a:cxn>
              <a:cxn ang="16200000">
                <a:pos x="wd2" y="hd2"/>
              </a:cxn>
            </a:cxnLst>
            <a:rect l="0" t="0" r="r" b="b"/>
            <a:pathLst>
              <a:path w="21600" h="21600" extrusionOk="0">
                <a:moveTo>
                  <a:pt x="1569" y="0"/>
                </a:moveTo>
                <a:lnTo>
                  <a:pt x="20031" y="0"/>
                </a:lnTo>
                <a:cubicBezTo>
                  <a:pt x="20256" y="0"/>
                  <a:pt x="20426" y="0"/>
                  <a:pt x="20569" y="38"/>
                </a:cubicBezTo>
                <a:cubicBezTo>
                  <a:pt x="20713" y="75"/>
                  <a:pt x="20831" y="151"/>
                  <a:pt x="20952" y="302"/>
                </a:cubicBezTo>
                <a:cubicBezTo>
                  <a:pt x="21085" y="491"/>
                  <a:pt x="21203" y="791"/>
                  <a:pt x="21301" y="1174"/>
                </a:cubicBezTo>
                <a:cubicBezTo>
                  <a:pt x="21398" y="1556"/>
                  <a:pt x="21475" y="2022"/>
                  <a:pt x="21523" y="2543"/>
                </a:cubicBezTo>
                <a:cubicBezTo>
                  <a:pt x="21562" y="3019"/>
                  <a:pt x="21581" y="3480"/>
                  <a:pt x="21590" y="4047"/>
                </a:cubicBezTo>
                <a:cubicBezTo>
                  <a:pt x="21600" y="4614"/>
                  <a:pt x="21600" y="5286"/>
                  <a:pt x="21600" y="6182"/>
                </a:cubicBezTo>
                <a:lnTo>
                  <a:pt x="21600" y="15445"/>
                </a:lnTo>
                <a:cubicBezTo>
                  <a:pt x="21600" y="16327"/>
                  <a:pt x="21600" y="16992"/>
                  <a:pt x="21590" y="17556"/>
                </a:cubicBezTo>
                <a:cubicBezTo>
                  <a:pt x="21581" y="18120"/>
                  <a:pt x="21562" y="18581"/>
                  <a:pt x="21523" y="19057"/>
                </a:cubicBezTo>
                <a:cubicBezTo>
                  <a:pt x="21475" y="19578"/>
                  <a:pt x="21398" y="20044"/>
                  <a:pt x="21301" y="20426"/>
                </a:cubicBezTo>
                <a:cubicBezTo>
                  <a:pt x="21203" y="20809"/>
                  <a:pt x="21085" y="21109"/>
                  <a:pt x="20952" y="21298"/>
                </a:cubicBezTo>
                <a:cubicBezTo>
                  <a:pt x="20831" y="21449"/>
                  <a:pt x="20713" y="21525"/>
                  <a:pt x="20568" y="21562"/>
                </a:cubicBezTo>
                <a:cubicBezTo>
                  <a:pt x="20424" y="21600"/>
                  <a:pt x="20253" y="21600"/>
                  <a:pt x="20024" y="21600"/>
                </a:cubicBezTo>
                <a:lnTo>
                  <a:pt x="1569" y="21600"/>
                </a:lnTo>
                <a:cubicBezTo>
                  <a:pt x="1344" y="21600"/>
                  <a:pt x="1174" y="21600"/>
                  <a:pt x="1031" y="21562"/>
                </a:cubicBezTo>
                <a:cubicBezTo>
                  <a:pt x="887" y="21525"/>
                  <a:pt x="769" y="21449"/>
                  <a:pt x="648" y="21298"/>
                </a:cubicBezTo>
                <a:cubicBezTo>
                  <a:pt x="515" y="21109"/>
                  <a:pt x="397" y="20809"/>
                  <a:pt x="299" y="20426"/>
                </a:cubicBezTo>
                <a:cubicBezTo>
                  <a:pt x="202" y="20044"/>
                  <a:pt x="125" y="19578"/>
                  <a:pt x="77" y="19057"/>
                </a:cubicBezTo>
                <a:cubicBezTo>
                  <a:pt x="38" y="18581"/>
                  <a:pt x="19" y="18120"/>
                  <a:pt x="10" y="17553"/>
                </a:cubicBezTo>
                <a:cubicBezTo>
                  <a:pt x="0" y="16986"/>
                  <a:pt x="0" y="16314"/>
                  <a:pt x="0" y="15418"/>
                </a:cubicBezTo>
                <a:lnTo>
                  <a:pt x="0" y="6155"/>
                </a:lnTo>
                <a:cubicBezTo>
                  <a:pt x="0" y="5273"/>
                  <a:pt x="0" y="4608"/>
                  <a:pt x="10" y="4044"/>
                </a:cubicBezTo>
                <a:cubicBezTo>
                  <a:pt x="19" y="3480"/>
                  <a:pt x="38" y="3019"/>
                  <a:pt x="77" y="2543"/>
                </a:cubicBezTo>
                <a:cubicBezTo>
                  <a:pt x="125" y="2022"/>
                  <a:pt x="202" y="1556"/>
                  <a:pt x="299" y="1174"/>
                </a:cubicBezTo>
                <a:cubicBezTo>
                  <a:pt x="397" y="791"/>
                  <a:pt x="515" y="491"/>
                  <a:pt x="648" y="302"/>
                </a:cubicBezTo>
                <a:cubicBezTo>
                  <a:pt x="769" y="151"/>
                  <a:pt x="887" y="75"/>
                  <a:pt x="1032" y="38"/>
                </a:cubicBezTo>
                <a:cubicBezTo>
                  <a:pt x="1176" y="0"/>
                  <a:pt x="1347" y="0"/>
                  <a:pt x="1576" y="0"/>
                </a:cubicBezTo>
                <a:lnTo>
                  <a:pt x="1569" y="0"/>
                </a:lnTo>
                <a:close/>
              </a:path>
            </a:pathLst>
          </a:custGeom>
          <a:solidFill>
            <a:srgbClr val="F5F4F5"/>
          </a:solidFill>
          <a:ln w="12700" cap="flat">
            <a:noFill/>
            <a:miter lim="400000"/>
          </a:ln>
          <a:effectLst/>
        </p:spPr>
        <p:txBody>
          <a:bodyPr wrap="square" lIns="0" tIns="0" rIns="0" bIns="0" numCol="1"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sz="3200" b="0">
                <a:solidFill>
                  <a:srgbClr val="F3F4F5"/>
                </a:solidFill>
                <a:latin typeface="+mn-lt"/>
                <a:ea typeface="+mn-ea"/>
                <a:cs typeface="+mn-cs"/>
                <a:sym typeface="Helvetica Neue Medium"/>
              </a:defRPr>
            </a:pPr>
            <a:endParaRPr kumimoji="0" sz="1600" b="0" i="0" u="none" strike="noStrike" kern="1200" cap="none" spc="0" normalizeH="0" baseline="0" noProof="0" dirty="0">
              <a:ln>
                <a:noFill/>
              </a:ln>
              <a:solidFill>
                <a:srgbClr val="F3F4F5"/>
              </a:solidFill>
              <a:effectLst/>
              <a:uLnTx/>
              <a:uFillTx/>
              <a:latin typeface="OPPOSans R" panose="00020600040101010101" pitchFamily="18" charset="-122"/>
              <a:ea typeface="微软雅黑"/>
              <a:cs typeface="+mn-cs"/>
              <a:sym typeface="Helvetica Neue Medium"/>
            </a:endParaRPr>
          </a:p>
        </p:txBody>
      </p:sp>
      <p:sp>
        <p:nvSpPr>
          <p:cNvPr id="2690" name="gaoding-27"/>
          <p:cNvSpPr/>
          <p:nvPr/>
        </p:nvSpPr>
        <p:spPr>
          <a:xfrm>
            <a:off x="3079309" y="3140600"/>
            <a:ext cx="1670623" cy="425818"/>
          </a:xfrm>
          <a:custGeom>
            <a:avLst/>
            <a:gdLst/>
            <a:ahLst/>
            <a:cxnLst>
              <a:cxn ang="0">
                <a:pos x="wd2" y="hd2"/>
              </a:cxn>
              <a:cxn ang="5400000">
                <a:pos x="wd2" y="hd2"/>
              </a:cxn>
              <a:cxn ang="10800000">
                <a:pos x="wd2" y="hd2"/>
              </a:cxn>
              <a:cxn ang="16200000">
                <a:pos x="wd2" y="hd2"/>
              </a:cxn>
            </a:cxnLst>
            <a:rect l="0" t="0" r="r" b="b"/>
            <a:pathLst>
              <a:path w="21600" h="21600" extrusionOk="0">
                <a:moveTo>
                  <a:pt x="1569" y="0"/>
                </a:moveTo>
                <a:lnTo>
                  <a:pt x="20031" y="0"/>
                </a:lnTo>
                <a:cubicBezTo>
                  <a:pt x="20256" y="0"/>
                  <a:pt x="20426" y="0"/>
                  <a:pt x="20569" y="38"/>
                </a:cubicBezTo>
                <a:cubicBezTo>
                  <a:pt x="20713" y="75"/>
                  <a:pt x="20831" y="151"/>
                  <a:pt x="20952" y="302"/>
                </a:cubicBezTo>
                <a:cubicBezTo>
                  <a:pt x="21085" y="491"/>
                  <a:pt x="21203" y="791"/>
                  <a:pt x="21301" y="1174"/>
                </a:cubicBezTo>
                <a:cubicBezTo>
                  <a:pt x="21398" y="1556"/>
                  <a:pt x="21475" y="2022"/>
                  <a:pt x="21523" y="2543"/>
                </a:cubicBezTo>
                <a:cubicBezTo>
                  <a:pt x="21562" y="3019"/>
                  <a:pt x="21581" y="3480"/>
                  <a:pt x="21590" y="4047"/>
                </a:cubicBezTo>
                <a:cubicBezTo>
                  <a:pt x="21600" y="4614"/>
                  <a:pt x="21600" y="5286"/>
                  <a:pt x="21600" y="6182"/>
                </a:cubicBezTo>
                <a:lnTo>
                  <a:pt x="21600" y="15445"/>
                </a:lnTo>
                <a:cubicBezTo>
                  <a:pt x="21600" y="16327"/>
                  <a:pt x="21600" y="16992"/>
                  <a:pt x="21590" y="17556"/>
                </a:cubicBezTo>
                <a:cubicBezTo>
                  <a:pt x="21581" y="18120"/>
                  <a:pt x="21562" y="18581"/>
                  <a:pt x="21523" y="19057"/>
                </a:cubicBezTo>
                <a:cubicBezTo>
                  <a:pt x="21475" y="19578"/>
                  <a:pt x="21398" y="20044"/>
                  <a:pt x="21301" y="20426"/>
                </a:cubicBezTo>
                <a:cubicBezTo>
                  <a:pt x="21203" y="20809"/>
                  <a:pt x="21085" y="21109"/>
                  <a:pt x="20952" y="21298"/>
                </a:cubicBezTo>
                <a:cubicBezTo>
                  <a:pt x="20831" y="21449"/>
                  <a:pt x="20713" y="21525"/>
                  <a:pt x="20568" y="21562"/>
                </a:cubicBezTo>
                <a:cubicBezTo>
                  <a:pt x="20424" y="21600"/>
                  <a:pt x="20253" y="21600"/>
                  <a:pt x="20024" y="21600"/>
                </a:cubicBezTo>
                <a:lnTo>
                  <a:pt x="1569" y="21600"/>
                </a:lnTo>
                <a:cubicBezTo>
                  <a:pt x="1344" y="21600"/>
                  <a:pt x="1174" y="21600"/>
                  <a:pt x="1031" y="21562"/>
                </a:cubicBezTo>
                <a:cubicBezTo>
                  <a:pt x="887" y="21525"/>
                  <a:pt x="769" y="21449"/>
                  <a:pt x="648" y="21298"/>
                </a:cubicBezTo>
                <a:cubicBezTo>
                  <a:pt x="515" y="21109"/>
                  <a:pt x="397" y="20809"/>
                  <a:pt x="299" y="20426"/>
                </a:cubicBezTo>
                <a:cubicBezTo>
                  <a:pt x="202" y="20044"/>
                  <a:pt x="125" y="19578"/>
                  <a:pt x="77" y="19057"/>
                </a:cubicBezTo>
                <a:cubicBezTo>
                  <a:pt x="38" y="18581"/>
                  <a:pt x="19" y="18120"/>
                  <a:pt x="10" y="17553"/>
                </a:cubicBezTo>
                <a:cubicBezTo>
                  <a:pt x="0" y="16986"/>
                  <a:pt x="0" y="16314"/>
                  <a:pt x="0" y="15418"/>
                </a:cubicBezTo>
                <a:lnTo>
                  <a:pt x="0" y="6155"/>
                </a:lnTo>
                <a:cubicBezTo>
                  <a:pt x="0" y="5273"/>
                  <a:pt x="0" y="4608"/>
                  <a:pt x="10" y="4044"/>
                </a:cubicBezTo>
                <a:cubicBezTo>
                  <a:pt x="19" y="3480"/>
                  <a:pt x="38" y="3019"/>
                  <a:pt x="77" y="2543"/>
                </a:cubicBezTo>
                <a:cubicBezTo>
                  <a:pt x="125" y="2022"/>
                  <a:pt x="202" y="1556"/>
                  <a:pt x="299" y="1174"/>
                </a:cubicBezTo>
                <a:cubicBezTo>
                  <a:pt x="397" y="791"/>
                  <a:pt x="515" y="491"/>
                  <a:pt x="648" y="302"/>
                </a:cubicBezTo>
                <a:cubicBezTo>
                  <a:pt x="769" y="151"/>
                  <a:pt x="887" y="75"/>
                  <a:pt x="1032" y="38"/>
                </a:cubicBezTo>
                <a:cubicBezTo>
                  <a:pt x="1176" y="0"/>
                  <a:pt x="1347" y="0"/>
                  <a:pt x="1576" y="0"/>
                </a:cubicBezTo>
                <a:lnTo>
                  <a:pt x="1569" y="0"/>
                </a:lnTo>
                <a:close/>
              </a:path>
            </a:pathLst>
          </a:custGeom>
          <a:gradFill flip="none" rotWithShape="1">
            <a:gsLst>
              <a:gs pos="1000">
                <a:schemeClr val="accent2"/>
              </a:gs>
              <a:gs pos="100000">
                <a:schemeClr val="accent2">
                  <a:lumMod val="60000"/>
                  <a:lumOff val="40000"/>
                </a:schemeClr>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5720" tIns="22860" rIns="45720" bIns="228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FFFFFF"/>
              </a:solidFill>
              <a:effectLst/>
              <a:uLnTx/>
              <a:uFillTx/>
              <a:latin typeface="OPPOSans R" panose="00020600040101010101" pitchFamily="18" charset="-122"/>
              <a:ea typeface="微软雅黑"/>
              <a:cs typeface="+mn-cs"/>
            </a:endParaRPr>
          </a:p>
        </p:txBody>
      </p:sp>
      <p:sp>
        <p:nvSpPr>
          <p:cNvPr id="99" name="gaoding-28">
            <a:extLst>
              <a:ext uri="{FF2B5EF4-FFF2-40B4-BE49-F238E27FC236}">
                <a16:creationId xmlns:a16="http://schemas.microsoft.com/office/drawing/2014/main" id="{E3EE086E-8CC6-4AE4-B367-278F91E90BC9}"/>
              </a:ext>
            </a:extLst>
          </p:cNvPr>
          <p:cNvSpPr/>
          <p:nvPr/>
        </p:nvSpPr>
        <p:spPr>
          <a:xfrm>
            <a:off x="3237644" y="3263853"/>
            <a:ext cx="162523" cy="166612"/>
          </a:xfrm>
          <a:custGeom>
            <a:avLst/>
            <a:gdLst>
              <a:gd name="connsiteX0" fmla="*/ 218992 w 447009"/>
              <a:gd name="connsiteY0" fmla="*/ 143247 h 458255"/>
              <a:gd name="connsiteX1" fmla="*/ 205549 w 447009"/>
              <a:gd name="connsiteY1" fmla="*/ 148882 h 458255"/>
              <a:gd name="connsiteX2" fmla="*/ 138874 w 447009"/>
              <a:gd name="connsiteY2" fmla="*/ 216700 h 458255"/>
              <a:gd name="connsiteX3" fmla="*/ 125254 w 447009"/>
              <a:gd name="connsiteY3" fmla="*/ 222415 h 458255"/>
              <a:gd name="connsiteX4" fmla="*/ 81058 w 447009"/>
              <a:gd name="connsiteY4" fmla="*/ 222415 h 458255"/>
              <a:gd name="connsiteX5" fmla="*/ 62008 w 447009"/>
              <a:gd name="connsiteY5" fmla="*/ 241465 h 458255"/>
              <a:gd name="connsiteX6" fmla="*/ 81058 w 447009"/>
              <a:gd name="connsiteY6" fmla="*/ 260515 h 458255"/>
              <a:gd name="connsiteX7" fmla="*/ 141255 w 447009"/>
              <a:gd name="connsiteY7" fmla="*/ 260515 h 458255"/>
              <a:gd name="connsiteX8" fmla="*/ 154877 w 447009"/>
              <a:gd name="connsiteY8" fmla="*/ 254800 h 458255"/>
              <a:gd name="connsiteX9" fmla="*/ 205740 w 447009"/>
              <a:gd name="connsiteY9" fmla="*/ 202984 h 458255"/>
              <a:gd name="connsiteX10" fmla="*/ 205835 w 447009"/>
              <a:gd name="connsiteY10" fmla="*/ 202873 h 458255"/>
              <a:gd name="connsiteX11" fmla="*/ 232791 w 447009"/>
              <a:gd name="connsiteY11" fmla="*/ 202984 h 458255"/>
              <a:gd name="connsiteX12" fmla="*/ 281369 w 447009"/>
              <a:gd name="connsiteY12" fmla="*/ 251561 h 458255"/>
              <a:gd name="connsiteX13" fmla="*/ 294894 w 447009"/>
              <a:gd name="connsiteY13" fmla="*/ 257181 h 458255"/>
              <a:gd name="connsiteX14" fmla="*/ 366331 w 447009"/>
              <a:gd name="connsiteY14" fmla="*/ 257181 h 458255"/>
              <a:gd name="connsiteX15" fmla="*/ 366427 w 447009"/>
              <a:gd name="connsiteY15" fmla="*/ 257181 h 458255"/>
              <a:gd name="connsiteX16" fmla="*/ 385477 w 447009"/>
              <a:gd name="connsiteY16" fmla="*/ 238131 h 458255"/>
              <a:gd name="connsiteX17" fmla="*/ 366427 w 447009"/>
              <a:gd name="connsiteY17" fmla="*/ 219081 h 458255"/>
              <a:gd name="connsiteX18" fmla="*/ 310801 w 447009"/>
              <a:gd name="connsiteY18" fmla="*/ 219081 h 458255"/>
              <a:gd name="connsiteX19" fmla="*/ 297275 w 447009"/>
              <a:gd name="connsiteY19" fmla="*/ 213461 h 458255"/>
              <a:gd name="connsiteX20" fmla="*/ 232601 w 447009"/>
              <a:gd name="connsiteY20" fmla="*/ 148882 h 458255"/>
              <a:gd name="connsiteX21" fmla="*/ 232506 w 447009"/>
              <a:gd name="connsiteY21" fmla="*/ 148771 h 458255"/>
              <a:gd name="connsiteX22" fmla="*/ 218992 w 447009"/>
              <a:gd name="connsiteY22" fmla="*/ 143247 h 458255"/>
              <a:gd name="connsiteX23" fmla="*/ 22479 w 447009"/>
              <a:gd name="connsiteY23" fmla="*/ 44488 h 458255"/>
              <a:gd name="connsiteX24" fmla="*/ 425006 w 447009"/>
              <a:gd name="connsiteY24" fmla="*/ 44488 h 458255"/>
              <a:gd name="connsiteX25" fmla="*/ 447009 w 447009"/>
              <a:gd name="connsiteY25" fmla="*/ 66109 h 458255"/>
              <a:gd name="connsiteX26" fmla="*/ 447009 w 447009"/>
              <a:gd name="connsiteY26" fmla="*/ 353193 h 458255"/>
              <a:gd name="connsiteX27" fmla="*/ 447009 w 447009"/>
              <a:gd name="connsiteY27" fmla="*/ 353197 h 458255"/>
              <a:gd name="connsiteX28" fmla="*/ 424815 w 447009"/>
              <a:gd name="connsiteY28" fmla="*/ 374815 h 458255"/>
              <a:gd name="connsiteX29" fmla="*/ 339090 w 447009"/>
              <a:gd name="connsiteY29" fmla="*/ 374815 h 458255"/>
              <a:gd name="connsiteX30" fmla="*/ 364903 w 447009"/>
              <a:gd name="connsiteY30" fmla="*/ 418344 h 458255"/>
              <a:gd name="connsiteX31" fmla="*/ 359855 w 447009"/>
              <a:gd name="connsiteY31" fmla="*/ 446443 h 458255"/>
              <a:gd name="connsiteX32" fmla="*/ 349187 w 447009"/>
              <a:gd name="connsiteY32" fmla="*/ 454444 h 458255"/>
              <a:gd name="connsiteX33" fmla="*/ 346806 w 447009"/>
              <a:gd name="connsiteY33" fmla="*/ 455920 h 458255"/>
              <a:gd name="connsiteX34" fmla="*/ 324232 w 447009"/>
              <a:gd name="connsiteY34" fmla="*/ 448824 h 458255"/>
              <a:gd name="connsiteX35" fmla="*/ 283178 w 447009"/>
              <a:gd name="connsiteY35" fmla="*/ 379577 h 458255"/>
              <a:gd name="connsiteX36" fmla="*/ 281178 w 447009"/>
              <a:gd name="connsiteY36" fmla="*/ 374815 h 458255"/>
              <a:gd name="connsiteX37" fmla="*/ 249270 w 447009"/>
              <a:gd name="connsiteY37" fmla="*/ 374815 h 458255"/>
              <a:gd name="connsiteX38" fmla="*/ 250127 w 447009"/>
              <a:gd name="connsiteY38" fmla="*/ 379863 h 458255"/>
              <a:gd name="connsiteX39" fmla="*/ 250127 w 447009"/>
              <a:gd name="connsiteY39" fmla="*/ 434346 h 458255"/>
              <a:gd name="connsiteX40" fmla="*/ 232124 w 447009"/>
              <a:gd name="connsiteY40" fmla="*/ 451872 h 458255"/>
              <a:gd name="connsiteX41" fmla="*/ 219266 w 447009"/>
              <a:gd name="connsiteY41" fmla="*/ 451872 h 458255"/>
              <a:gd name="connsiteX42" fmla="*/ 201263 w 447009"/>
              <a:gd name="connsiteY42" fmla="*/ 434346 h 458255"/>
              <a:gd name="connsiteX43" fmla="*/ 201263 w 447009"/>
              <a:gd name="connsiteY43" fmla="*/ 380339 h 458255"/>
              <a:gd name="connsiteX44" fmla="*/ 202120 w 447009"/>
              <a:gd name="connsiteY44" fmla="*/ 375291 h 458255"/>
              <a:gd name="connsiteX45" fmla="*/ 170212 w 447009"/>
              <a:gd name="connsiteY45" fmla="*/ 375291 h 458255"/>
              <a:gd name="connsiteX46" fmla="*/ 168212 w 447009"/>
              <a:gd name="connsiteY46" fmla="*/ 379958 h 458255"/>
              <a:gd name="connsiteX47" fmla="*/ 127159 w 447009"/>
              <a:gd name="connsiteY47" fmla="*/ 449300 h 458255"/>
              <a:gd name="connsiteX48" fmla="*/ 125825 w 447009"/>
              <a:gd name="connsiteY48" fmla="*/ 451460 h 458255"/>
              <a:gd name="connsiteX49" fmla="*/ 102203 w 447009"/>
              <a:gd name="connsiteY49" fmla="*/ 454920 h 458255"/>
              <a:gd name="connsiteX50" fmla="*/ 91535 w 447009"/>
              <a:gd name="connsiteY50" fmla="*/ 446824 h 458255"/>
              <a:gd name="connsiteX51" fmla="*/ 86487 w 447009"/>
              <a:gd name="connsiteY51" fmla="*/ 418249 h 458255"/>
              <a:gd name="connsiteX52" fmla="*/ 112300 w 447009"/>
              <a:gd name="connsiteY52" fmla="*/ 374815 h 458255"/>
              <a:gd name="connsiteX53" fmla="*/ 22193 w 447009"/>
              <a:gd name="connsiteY53" fmla="*/ 374815 h 458255"/>
              <a:gd name="connsiteX54" fmla="*/ 0 w 447009"/>
              <a:gd name="connsiteY54" fmla="*/ 353193 h 458255"/>
              <a:gd name="connsiteX55" fmla="*/ 0 w 447009"/>
              <a:gd name="connsiteY55" fmla="*/ 66109 h 458255"/>
              <a:gd name="connsiteX56" fmla="*/ 0 w 447009"/>
              <a:gd name="connsiteY56" fmla="*/ 65814 h 458255"/>
              <a:gd name="connsiteX57" fmla="*/ 22479 w 447009"/>
              <a:gd name="connsiteY57" fmla="*/ 44488 h 458255"/>
              <a:gd name="connsiteX58" fmla="*/ 328708 w 447009"/>
              <a:gd name="connsiteY58" fmla="*/ 0 h 458255"/>
              <a:gd name="connsiteX59" fmla="*/ 346329 w 447009"/>
              <a:gd name="connsiteY59" fmla="*/ 17246 h 458255"/>
              <a:gd name="connsiteX60" fmla="*/ 346329 w 447009"/>
              <a:gd name="connsiteY60" fmla="*/ 17344 h 458255"/>
              <a:gd name="connsiteX61" fmla="*/ 328612 w 447009"/>
              <a:gd name="connsiteY61" fmla="*/ 34486 h 458255"/>
              <a:gd name="connsiteX62" fmla="*/ 119062 w 447009"/>
              <a:gd name="connsiteY62" fmla="*/ 34486 h 458255"/>
              <a:gd name="connsiteX63" fmla="*/ 118776 w 447009"/>
              <a:gd name="connsiteY63" fmla="*/ 34492 h 458255"/>
              <a:gd name="connsiteX64" fmla="*/ 101155 w 447009"/>
              <a:gd name="connsiteY64" fmla="*/ 17246 h 458255"/>
              <a:gd name="connsiteX65" fmla="*/ 101155 w 447009"/>
              <a:gd name="connsiteY65" fmla="*/ 17147 h 458255"/>
              <a:gd name="connsiteX66" fmla="*/ 118872 w 447009"/>
              <a:gd name="connsiteY66" fmla="*/ 6 h 458255"/>
              <a:gd name="connsiteX67" fmla="*/ 328422 w 447009"/>
              <a:gd name="connsiteY67" fmla="*/ 6 h 458255"/>
              <a:gd name="connsiteX68" fmla="*/ 328708 w 447009"/>
              <a:gd name="connsiteY68" fmla="*/ 0 h 458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447009" h="458255">
                <a:moveTo>
                  <a:pt x="218992" y="143247"/>
                </a:moveTo>
                <a:cubicBezTo>
                  <a:pt x="214122" y="143267"/>
                  <a:pt x="209264" y="145147"/>
                  <a:pt x="205549" y="148882"/>
                </a:cubicBezTo>
                <a:lnTo>
                  <a:pt x="138874" y="216700"/>
                </a:lnTo>
                <a:cubicBezTo>
                  <a:pt x="135255" y="220359"/>
                  <a:pt x="130397" y="222419"/>
                  <a:pt x="125254" y="222415"/>
                </a:cubicBezTo>
                <a:lnTo>
                  <a:pt x="81058" y="222415"/>
                </a:lnTo>
                <a:cubicBezTo>
                  <a:pt x="70581" y="222415"/>
                  <a:pt x="62008" y="230943"/>
                  <a:pt x="62008" y="241465"/>
                </a:cubicBezTo>
                <a:cubicBezTo>
                  <a:pt x="62008" y="251986"/>
                  <a:pt x="70581" y="260515"/>
                  <a:pt x="81058" y="260515"/>
                </a:cubicBezTo>
                <a:lnTo>
                  <a:pt x="141255" y="260515"/>
                </a:lnTo>
                <a:cubicBezTo>
                  <a:pt x="146399" y="260519"/>
                  <a:pt x="151257" y="258459"/>
                  <a:pt x="154877" y="254800"/>
                </a:cubicBezTo>
                <a:lnTo>
                  <a:pt x="205740" y="202984"/>
                </a:lnTo>
                <a:cubicBezTo>
                  <a:pt x="205740" y="202947"/>
                  <a:pt x="205835" y="202910"/>
                  <a:pt x="205835" y="202873"/>
                </a:cubicBezTo>
                <a:cubicBezTo>
                  <a:pt x="213360" y="195465"/>
                  <a:pt x="225362" y="195514"/>
                  <a:pt x="232791" y="202984"/>
                </a:cubicBezTo>
                <a:lnTo>
                  <a:pt x="281369" y="251561"/>
                </a:lnTo>
                <a:cubicBezTo>
                  <a:pt x="284989" y="255162"/>
                  <a:pt x="289846" y="257185"/>
                  <a:pt x="294894" y="257181"/>
                </a:cubicBezTo>
                <a:lnTo>
                  <a:pt x="366331" y="257181"/>
                </a:lnTo>
                <a:cubicBezTo>
                  <a:pt x="366331" y="257181"/>
                  <a:pt x="366427" y="257181"/>
                  <a:pt x="366427" y="257181"/>
                </a:cubicBezTo>
                <a:cubicBezTo>
                  <a:pt x="376904" y="257181"/>
                  <a:pt x="385477" y="248652"/>
                  <a:pt x="385477" y="238131"/>
                </a:cubicBezTo>
                <a:cubicBezTo>
                  <a:pt x="385477" y="227610"/>
                  <a:pt x="376904" y="219081"/>
                  <a:pt x="366427" y="219081"/>
                </a:cubicBezTo>
                <a:lnTo>
                  <a:pt x="310801" y="219081"/>
                </a:lnTo>
                <a:cubicBezTo>
                  <a:pt x="305752" y="219085"/>
                  <a:pt x="300895" y="217062"/>
                  <a:pt x="297275" y="213461"/>
                </a:cubicBezTo>
                <a:lnTo>
                  <a:pt x="232601" y="148882"/>
                </a:lnTo>
                <a:cubicBezTo>
                  <a:pt x="232601" y="148845"/>
                  <a:pt x="232506" y="148808"/>
                  <a:pt x="232506" y="148771"/>
                </a:cubicBezTo>
                <a:cubicBezTo>
                  <a:pt x="228744" y="145067"/>
                  <a:pt x="223862" y="143227"/>
                  <a:pt x="218992" y="143247"/>
                </a:cubicBezTo>
                <a:close/>
                <a:moveTo>
                  <a:pt x="22479" y="44488"/>
                </a:moveTo>
                <a:lnTo>
                  <a:pt x="425006" y="44488"/>
                </a:lnTo>
                <a:cubicBezTo>
                  <a:pt x="437007" y="44434"/>
                  <a:pt x="446818" y="54085"/>
                  <a:pt x="447009" y="66109"/>
                </a:cubicBezTo>
                <a:lnTo>
                  <a:pt x="447009" y="353193"/>
                </a:lnTo>
                <a:cubicBezTo>
                  <a:pt x="447009" y="353194"/>
                  <a:pt x="447009" y="353196"/>
                  <a:pt x="447009" y="353197"/>
                </a:cubicBezTo>
                <a:cubicBezTo>
                  <a:pt x="446818" y="365294"/>
                  <a:pt x="436912" y="374974"/>
                  <a:pt x="424815" y="374815"/>
                </a:cubicBezTo>
                <a:lnTo>
                  <a:pt x="339090" y="374815"/>
                </a:lnTo>
                <a:lnTo>
                  <a:pt x="364903" y="418344"/>
                </a:lnTo>
                <a:cubicBezTo>
                  <a:pt x="370428" y="427672"/>
                  <a:pt x="368237" y="439609"/>
                  <a:pt x="359855" y="446443"/>
                </a:cubicBezTo>
                <a:lnTo>
                  <a:pt x="349187" y="454444"/>
                </a:lnTo>
                <a:cubicBezTo>
                  <a:pt x="348424" y="454999"/>
                  <a:pt x="347663" y="455493"/>
                  <a:pt x="346806" y="455920"/>
                </a:cubicBezTo>
                <a:cubicBezTo>
                  <a:pt x="338614" y="460207"/>
                  <a:pt x="328517" y="457030"/>
                  <a:pt x="324232" y="448824"/>
                </a:cubicBezTo>
                <a:lnTo>
                  <a:pt x="283178" y="379577"/>
                </a:lnTo>
                <a:cubicBezTo>
                  <a:pt x="282321" y="378070"/>
                  <a:pt x="281654" y="376472"/>
                  <a:pt x="281178" y="374815"/>
                </a:cubicBezTo>
                <a:lnTo>
                  <a:pt x="249270" y="374815"/>
                </a:lnTo>
                <a:cubicBezTo>
                  <a:pt x="249745" y="376448"/>
                  <a:pt x="250127" y="378148"/>
                  <a:pt x="250127" y="379863"/>
                </a:cubicBezTo>
                <a:lnTo>
                  <a:pt x="250127" y="434346"/>
                </a:lnTo>
                <a:cubicBezTo>
                  <a:pt x="249936" y="444146"/>
                  <a:pt x="241935" y="451978"/>
                  <a:pt x="232124" y="451872"/>
                </a:cubicBezTo>
                <a:lnTo>
                  <a:pt x="219266" y="451872"/>
                </a:lnTo>
                <a:cubicBezTo>
                  <a:pt x="209455" y="451978"/>
                  <a:pt x="201454" y="444146"/>
                  <a:pt x="201263" y="434346"/>
                </a:cubicBezTo>
                <a:lnTo>
                  <a:pt x="201263" y="380339"/>
                </a:lnTo>
                <a:cubicBezTo>
                  <a:pt x="201263" y="378625"/>
                  <a:pt x="201645" y="376924"/>
                  <a:pt x="202120" y="375291"/>
                </a:cubicBezTo>
                <a:lnTo>
                  <a:pt x="170212" y="375291"/>
                </a:lnTo>
                <a:cubicBezTo>
                  <a:pt x="169735" y="376924"/>
                  <a:pt x="169069" y="378492"/>
                  <a:pt x="168212" y="379958"/>
                </a:cubicBezTo>
                <a:lnTo>
                  <a:pt x="127159" y="449300"/>
                </a:lnTo>
                <a:cubicBezTo>
                  <a:pt x="126778" y="450054"/>
                  <a:pt x="126302" y="450776"/>
                  <a:pt x="125825" y="451460"/>
                </a:cubicBezTo>
                <a:cubicBezTo>
                  <a:pt x="120206" y="458929"/>
                  <a:pt x="109633" y="460479"/>
                  <a:pt x="102203" y="454920"/>
                </a:cubicBezTo>
                <a:lnTo>
                  <a:pt x="91535" y="446824"/>
                </a:lnTo>
                <a:cubicBezTo>
                  <a:pt x="82867" y="439962"/>
                  <a:pt x="80677" y="427674"/>
                  <a:pt x="86487" y="418249"/>
                </a:cubicBezTo>
                <a:lnTo>
                  <a:pt x="112300" y="374815"/>
                </a:lnTo>
                <a:lnTo>
                  <a:pt x="22193" y="374815"/>
                </a:lnTo>
                <a:cubicBezTo>
                  <a:pt x="10097" y="374972"/>
                  <a:pt x="191" y="365291"/>
                  <a:pt x="0" y="353193"/>
                </a:cubicBezTo>
                <a:lnTo>
                  <a:pt x="0" y="66109"/>
                </a:lnTo>
                <a:cubicBezTo>
                  <a:pt x="0" y="66011"/>
                  <a:pt x="0" y="65913"/>
                  <a:pt x="0" y="65814"/>
                </a:cubicBezTo>
                <a:cubicBezTo>
                  <a:pt x="286" y="53719"/>
                  <a:pt x="10382" y="44171"/>
                  <a:pt x="22479" y="44488"/>
                </a:cubicBezTo>
                <a:close/>
                <a:moveTo>
                  <a:pt x="328708" y="0"/>
                </a:moveTo>
                <a:cubicBezTo>
                  <a:pt x="338328" y="-102"/>
                  <a:pt x="346233" y="7620"/>
                  <a:pt x="346329" y="17246"/>
                </a:cubicBezTo>
                <a:cubicBezTo>
                  <a:pt x="346329" y="17279"/>
                  <a:pt x="346329" y="17311"/>
                  <a:pt x="346329" y="17344"/>
                </a:cubicBezTo>
                <a:cubicBezTo>
                  <a:pt x="346138" y="26970"/>
                  <a:pt x="338233" y="34644"/>
                  <a:pt x="328612" y="34486"/>
                </a:cubicBezTo>
                <a:lnTo>
                  <a:pt x="119062" y="34486"/>
                </a:lnTo>
                <a:cubicBezTo>
                  <a:pt x="118967" y="34489"/>
                  <a:pt x="118872" y="34491"/>
                  <a:pt x="118776" y="34492"/>
                </a:cubicBezTo>
                <a:cubicBezTo>
                  <a:pt x="109156" y="34593"/>
                  <a:pt x="101251" y="26872"/>
                  <a:pt x="101155" y="17246"/>
                </a:cubicBezTo>
                <a:cubicBezTo>
                  <a:pt x="101155" y="17213"/>
                  <a:pt x="101155" y="17180"/>
                  <a:pt x="101155" y="17147"/>
                </a:cubicBezTo>
                <a:cubicBezTo>
                  <a:pt x="101346" y="7522"/>
                  <a:pt x="109251" y="-153"/>
                  <a:pt x="118872" y="6"/>
                </a:cubicBezTo>
                <a:lnTo>
                  <a:pt x="328422" y="6"/>
                </a:lnTo>
                <a:cubicBezTo>
                  <a:pt x="328517" y="3"/>
                  <a:pt x="328612" y="1"/>
                  <a:pt x="328708" y="0"/>
                </a:cubicBezTo>
                <a:close/>
              </a:path>
            </a:pathLst>
          </a:custGeom>
          <a:solidFill>
            <a:srgbClr val="FFFFFF"/>
          </a:solidFill>
          <a:ln w="12700" cap="flat">
            <a:noFill/>
            <a:miter lim="400000"/>
          </a:ln>
          <a:effectLst/>
        </p:spPr>
        <p:txBody>
          <a:bodyPr wrap="square" lIns="22860" tIns="22860" rIns="22860" bIns="22860" numCol="1" anchor="ctr">
            <a:no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sz="1800" b="0">
                <a:latin typeface="Calibri"/>
                <a:ea typeface="Calibri"/>
                <a:cs typeface="Calibri"/>
                <a:sym typeface="Calibri"/>
              </a:defRPr>
            </a:pPr>
            <a:endParaRPr kumimoji="0" sz="900" b="0" i="0" u="none" strike="noStrike" kern="1200" cap="none" spc="0" normalizeH="0" baseline="0" noProof="0">
              <a:ln>
                <a:noFill/>
              </a:ln>
              <a:solidFill>
                <a:srgbClr val="000000"/>
              </a:solidFill>
              <a:effectLst/>
              <a:uLnTx/>
              <a:uFillTx/>
              <a:latin typeface="Calibri"/>
              <a:cs typeface="Calibri"/>
              <a:sym typeface="Calibri"/>
            </a:endParaRPr>
          </a:p>
        </p:txBody>
      </p:sp>
      <p:sp>
        <p:nvSpPr>
          <p:cNvPr id="2694" name="gaoding-29"/>
          <p:cNvSpPr/>
          <p:nvPr/>
        </p:nvSpPr>
        <p:spPr>
          <a:xfrm>
            <a:off x="812008" y="4026498"/>
            <a:ext cx="1846036" cy="1763122"/>
          </a:xfrm>
          <a:custGeom>
            <a:avLst/>
            <a:gdLst/>
            <a:ahLst/>
            <a:cxnLst>
              <a:cxn ang="0">
                <a:pos x="wd2" y="hd2"/>
              </a:cxn>
              <a:cxn ang="5400000">
                <a:pos x="wd2" y="hd2"/>
              </a:cxn>
              <a:cxn ang="10800000">
                <a:pos x="wd2" y="hd2"/>
              </a:cxn>
              <a:cxn ang="16200000">
                <a:pos x="wd2" y="hd2"/>
              </a:cxn>
            </a:cxnLst>
            <a:rect l="0" t="0" r="r" b="b"/>
            <a:pathLst>
              <a:path w="21600" h="21600" extrusionOk="0">
                <a:moveTo>
                  <a:pt x="2355" y="0"/>
                </a:moveTo>
                <a:lnTo>
                  <a:pt x="19245" y="0"/>
                </a:lnTo>
                <a:cubicBezTo>
                  <a:pt x="19583" y="0"/>
                  <a:pt x="19837" y="0"/>
                  <a:pt x="20053" y="13"/>
                </a:cubicBezTo>
                <a:cubicBezTo>
                  <a:pt x="20268" y="26"/>
                  <a:pt x="20445" y="52"/>
                  <a:pt x="20627" y="104"/>
                </a:cubicBezTo>
                <a:cubicBezTo>
                  <a:pt x="20826" y="170"/>
                  <a:pt x="21004" y="274"/>
                  <a:pt x="21151" y="406"/>
                </a:cubicBezTo>
                <a:cubicBezTo>
                  <a:pt x="21297" y="539"/>
                  <a:pt x="21412" y="700"/>
                  <a:pt x="21485" y="880"/>
                </a:cubicBezTo>
                <a:cubicBezTo>
                  <a:pt x="21542" y="1045"/>
                  <a:pt x="21571" y="1204"/>
                  <a:pt x="21586" y="1401"/>
                </a:cubicBezTo>
                <a:cubicBezTo>
                  <a:pt x="21600" y="1597"/>
                  <a:pt x="21600" y="1829"/>
                  <a:pt x="21600" y="2139"/>
                </a:cubicBezTo>
                <a:lnTo>
                  <a:pt x="21600" y="19470"/>
                </a:lnTo>
                <a:cubicBezTo>
                  <a:pt x="21600" y="19775"/>
                  <a:pt x="21600" y="20006"/>
                  <a:pt x="21586" y="20201"/>
                </a:cubicBezTo>
                <a:cubicBezTo>
                  <a:pt x="21571" y="20396"/>
                  <a:pt x="21542" y="20555"/>
                  <a:pt x="21485" y="20720"/>
                </a:cubicBezTo>
                <a:cubicBezTo>
                  <a:pt x="21412" y="20900"/>
                  <a:pt x="21297" y="21061"/>
                  <a:pt x="21151" y="21194"/>
                </a:cubicBezTo>
                <a:cubicBezTo>
                  <a:pt x="21004" y="21326"/>
                  <a:pt x="20826" y="21430"/>
                  <a:pt x="20627" y="21496"/>
                </a:cubicBezTo>
                <a:cubicBezTo>
                  <a:pt x="20445" y="21548"/>
                  <a:pt x="20268" y="21574"/>
                  <a:pt x="20051" y="21587"/>
                </a:cubicBezTo>
                <a:cubicBezTo>
                  <a:pt x="19834" y="21600"/>
                  <a:pt x="19577" y="21600"/>
                  <a:pt x="19235" y="21600"/>
                </a:cubicBezTo>
                <a:lnTo>
                  <a:pt x="2355" y="21600"/>
                </a:lnTo>
                <a:cubicBezTo>
                  <a:pt x="2017" y="21600"/>
                  <a:pt x="1763" y="21600"/>
                  <a:pt x="1547" y="21587"/>
                </a:cubicBezTo>
                <a:cubicBezTo>
                  <a:pt x="1332" y="21574"/>
                  <a:pt x="1155" y="21548"/>
                  <a:pt x="973" y="21496"/>
                </a:cubicBezTo>
                <a:cubicBezTo>
                  <a:pt x="774" y="21430"/>
                  <a:pt x="596" y="21326"/>
                  <a:pt x="449" y="21194"/>
                </a:cubicBezTo>
                <a:cubicBezTo>
                  <a:pt x="303" y="21061"/>
                  <a:pt x="188" y="20900"/>
                  <a:pt x="115" y="20720"/>
                </a:cubicBezTo>
                <a:cubicBezTo>
                  <a:pt x="58" y="20555"/>
                  <a:pt x="29" y="20396"/>
                  <a:pt x="14" y="20199"/>
                </a:cubicBezTo>
                <a:cubicBezTo>
                  <a:pt x="0" y="20003"/>
                  <a:pt x="0" y="19771"/>
                  <a:pt x="0" y="19461"/>
                </a:cubicBezTo>
                <a:lnTo>
                  <a:pt x="0" y="2130"/>
                </a:lnTo>
                <a:cubicBezTo>
                  <a:pt x="0" y="1825"/>
                  <a:pt x="0" y="1594"/>
                  <a:pt x="14" y="1399"/>
                </a:cubicBezTo>
                <a:cubicBezTo>
                  <a:pt x="29" y="1204"/>
                  <a:pt x="58" y="1045"/>
                  <a:pt x="115" y="880"/>
                </a:cubicBezTo>
                <a:cubicBezTo>
                  <a:pt x="188" y="700"/>
                  <a:pt x="303" y="539"/>
                  <a:pt x="449" y="406"/>
                </a:cubicBezTo>
                <a:cubicBezTo>
                  <a:pt x="596" y="274"/>
                  <a:pt x="774" y="170"/>
                  <a:pt x="973" y="104"/>
                </a:cubicBezTo>
                <a:cubicBezTo>
                  <a:pt x="1155" y="52"/>
                  <a:pt x="1332" y="26"/>
                  <a:pt x="1549" y="13"/>
                </a:cubicBezTo>
                <a:cubicBezTo>
                  <a:pt x="1766" y="0"/>
                  <a:pt x="2023" y="0"/>
                  <a:pt x="2365" y="0"/>
                </a:cubicBezTo>
                <a:lnTo>
                  <a:pt x="2355" y="0"/>
                </a:lnTo>
                <a:close/>
              </a:path>
            </a:pathLst>
          </a:custGeom>
          <a:solidFill>
            <a:schemeClr val="bg1"/>
          </a:solidFill>
          <a:ln w="25400" cap="flat">
            <a:solidFill>
              <a:schemeClr val="bg1">
                <a:lumMod val="85000"/>
              </a:schemeClr>
            </a:solidFill>
            <a:custDash>
              <a:ds d="200000" sp="200000"/>
            </a:custDash>
            <a:miter lim="400000"/>
          </a:ln>
          <a:effectLst/>
        </p:spPr>
        <p:txBody>
          <a:bodyPr wrap="square" lIns="0" tIns="0" rIns="0" bIns="0" numCol="1"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sz="3200" b="0">
                <a:solidFill>
                  <a:srgbClr val="F3F4F5"/>
                </a:solidFill>
                <a:latin typeface="+mn-lt"/>
                <a:ea typeface="+mn-ea"/>
                <a:cs typeface="+mn-cs"/>
                <a:sym typeface="Helvetica Neue Medium"/>
              </a:defRPr>
            </a:pPr>
            <a:endParaRPr kumimoji="0" sz="1600" b="0" i="0" u="none" strike="noStrike" kern="1200" cap="none" spc="0" normalizeH="0" baseline="0" noProof="0" dirty="0">
              <a:ln>
                <a:noFill/>
              </a:ln>
              <a:solidFill>
                <a:srgbClr val="F3F4F5"/>
              </a:solidFill>
              <a:effectLst/>
              <a:uLnTx/>
              <a:uFillTx/>
              <a:latin typeface="OPPOSans R" panose="00020600040101010101" pitchFamily="18" charset="-122"/>
              <a:ea typeface="微软雅黑"/>
              <a:cs typeface="+mn-cs"/>
              <a:sym typeface="Helvetica Neue Medium"/>
            </a:endParaRPr>
          </a:p>
        </p:txBody>
      </p:sp>
      <p:sp>
        <p:nvSpPr>
          <p:cNvPr id="2695" name="gaoding-30"/>
          <p:cNvSpPr/>
          <p:nvPr/>
        </p:nvSpPr>
        <p:spPr>
          <a:xfrm>
            <a:off x="904765" y="4155043"/>
            <a:ext cx="1670624" cy="425818"/>
          </a:xfrm>
          <a:custGeom>
            <a:avLst/>
            <a:gdLst/>
            <a:ahLst/>
            <a:cxnLst>
              <a:cxn ang="0">
                <a:pos x="wd2" y="hd2"/>
              </a:cxn>
              <a:cxn ang="5400000">
                <a:pos x="wd2" y="hd2"/>
              </a:cxn>
              <a:cxn ang="10800000">
                <a:pos x="wd2" y="hd2"/>
              </a:cxn>
              <a:cxn ang="16200000">
                <a:pos x="wd2" y="hd2"/>
              </a:cxn>
            </a:cxnLst>
            <a:rect l="0" t="0" r="r" b="b"/>
            <a:pathLst>
              <a:path w="21600" h="21600" extrusionOk="0">
                <a:moveTo>
                  <a:pt x="1569" y="0"/>
                </a:moveTo>
                <a:lnTo>
                  <a:pt x="20031" y="0"/>
                </a:lnTo>
                <a:cubicBezTo>
                  <a:pt x="20256" y="0"/>
                  <a:pt x="20426" y="0"/>
                  <a:pt x="20569" y="38"/>
                </a:cubicBezTo>
                <a:cubicBezTo>
                  <a:pt x="20713" y="75"/>
                  <a:pt x="20831" y="151"/>
                  <a:pt x="20952" y="302"/>
                </a:cubicBezTo>
                <a:cubicBezTo>
                  <a:pt x="21085" y="491"/>
                  <a:pt x="21203" y="791"/>
                  <a:pt x="21301" y="1174"/>
                </a:cubicBezTo>
                <a:cubicBezTo>
                  <a:pt x="21398" y="1556"/>
                  <a:pt x="21475" y="2022"/>
                  <a:pt x="21523" y="2543"/>
                </a:cubicBezTo>
                <a:cubicBezTo>
                  <a:pt x="21562" y="3019"/>
                  <a:pt x="21581" y="3480"/>
                  <a:pt x="21590" y="4047"/>
                </a:cubicBezTo>
                <a:cubicBezTo>
                  <a:pt x="21600" y="4614"/>
                  <a:pt x="21600" y="5286"/>
                  <a:pt x="21600" y="6182"/>
                </a:cubicBezTo>
                <a:lnTo>
                  <a:pt x="21600" y="15445"/>
                </a:lnTo>
                <a:cubicBezTo>
                  <a:pt x="21600" y="16327"/>
                  <a:pt x="21600" y="16992"/>
                  <a:pt x="21590" y="17556"/>
                </a:cubicBezTo>
                <a:cubicBezTo>
                  <a:pt x="21581" y="18120"/>
                  <a:pt x="21562" y="18581"/>
                  <a:pt x="21523" y="19057"/>
                </a:cubicBezTo>
                <a:cubicBezTo>
                  <a:pt x="21475" y="19578"/>
                  <a:pt x="21398" y="20044"/>
                  <a:pt x="21301" y="20426"/>
                </a:cubicBezTo>
                <a:cubicBezTo>
                  <a:pt x="21203" y="20809"/>
                  <a:pt x="21085" y="21109"/>
                  <a:pt x="20952" y="21298"/>
                </a:cubicBezTo>
                <a:cubicBezTo>
                  <a:pt x="20831" y="21449"/>
                  <a:pt x="20713" y="21525"/>
                  <a:pt x="20568" y="21562"/>
                </a:cubicBezTo>
                <a:cubicBezTo>
                  <a:pt x="20424" y="21600"/>
                  <a:pt x="20253" y="21600"/>
                  <a:pt x="20024" y="21600"/>
                </a:cubicBezTo>
                <a:lnTo>
                  <a:pt x="1569" y="21600"/>
                </a:lnTo>
                <a:cubicBezTo>
                  <a:pt x="1344" y="21600"/>
                  <a:pt x="1174" y="21600"/>
                  <a:pt x="1031" y="21562"/>
                </a:cubicBezTo>
                <a:cubicBezTo>
                  <a:pt x="887" y="21525"/>
                  <a:pt x="769" y="21449"/>
                  <a:pt x="648" y="21298"/>
                </a:cubicBezTo>
                <a:cubicBezTo>
                  <a:pt x="515" y="21109"/>
                  <a:pt x="397" y="20809"/>
                  <a:pt x="299" y="20426"/>
                </a:cubicBezTo>
                <a:cubicBezTo>
                  <a:pt x="202" y="20044"/>
                  <a:pt x="125" y="19578"/>
                  <a:pt x="77" y="19057"/>
                </a:cubicBezTo>
                <a:cubicBezTo>
                  <a:pt x="38" y="18581"/>
                  <a:pt x="19" y="18120"/>
                  <a:pt x="10" y="17553"/>
                </a:cubicBezTo>
                <a:cubicBezTo>
                  <a:pt x="0" y="16986"/>
                  <a:pt x="0" y="16314"/>
                  <a:pt x="0" y="15418"/>
                </a:cubicBezTo>
                <a:lnTo>
                  <a:pt x="0" y="6155"/>
                </a:lnTo>
                <a:cubicBezTo>
                  <a:pt x="0" y="5273"/>
                  <a:pt x="0" y="4608"/>
                  <a:pt x="10" y="4044"/>
                </a:cubicBezTo>
                <a:cubicBezTo>
                  <a:pt x="19" y="3480"/>
                  <a:pt x="38" y="3019"/>
                  <a:pt x="77" y="2543"/>
                </a:cubicBezTo>
                <a:cubicBezTo>
                  <a:pt x="125" y="2022"/>
                  <a:pt x="202" y="1556"/>
                  <a:pt x="299" y="1174"/>
                </a:cubicBezTo>
                <a:cubicBezTo>
                  <a:pt x="397" y="791"/>
                  <a:pt x="515" y="491"/>
                  <a:pt x="648" y="302"/>
                </a:cubicBezTo>
                <a:cubicBezTo>
                  <a:pt x="769" y="151"/>
                  <a:pt x="887" y="75"/>
                  <a:pt x="1032" y="38"/>
                </a:cubicBezTo>
                <a:cubicBezTo>
                  <a:pt x="1176" y="0"/>
                  <a:pt x="1347" y="0"/>
                  <a:pt x="1576" y="0"/>
                </a:cubicBezTo>
                <a:lnTo>
                  <a:pt x="1569" y="0"/>
                </a:lnTo>
                <a:close/>
              </a:path>
            </a:pathLst>
          </a:custGeom>
          <a:solidFill>
            <a:srgbClr val="F5F4F5"/>
          </a:solidFill>
          <a:ln w="12700" cap="flat">
            <a:noFill/>
            <a:miter lim="400000"/>
          </a:ln>
          <a:effectLst/>
        </p:spPr>
        <p:txBody>
          <a:bodyPr wrap="square" lIns="0" tIns="0" rIns="0" bIns="0" numCol="1"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sz="3200" b="0">
                <a:solidFill>
                  <a:srgbClr val="F3F4F5"/>
                </a:solidFill>
                <a:latin typeface="+mn-lt"/>
                <a:ea typeface="+mn-ea"/>
                <a:cs typeface="+mn-cs"/>
                <a:sym typeface="Helvetica Neue Medium"/>
              </a:defRPr>
            </a:pPr>
            <a:endParaRPr kumimoji="0" sz="1600" b="0" i="0" u="none" strike="noStrike" kern="1200" cap="none" spc="0" normalizeH="0" baseline="0" noProof="0" dirty="0">
              <a:ln>
                <a:noFill/>
              </a:ln>
              <a:solidFill>
                <a:srgbClr val="F3F4F5"/>
              </a:solidFill>
              <a:effectLst/>
              <a:uLnTx/>
              <a:uFillTx/>
              <a:latin typeface="OPPOSans R" panose="00020600040101010101" pitchFamily="18" charset="-122"/>
              <a:ea typeface="微软雅黑"/>
              <a:cs typeface="+mn-cs"/>
              <a:sym typeface="Helvetica Neue Medium"/>
            </a:endParaRPr>
          </a:p>
        </p:txBody>
      </p:sp>
      <p:sp>
        <p:nvSpPr>
          <p:cNvPr id="2698" name="gaoding-31"/>
          <p:cNvSpPr/>
          <p:nvPr/>
        </p:nvSpPr>
        <p:spPr>
          <a:xfrm>
            <a:off x="904765" y="4709825"/>
            <a:ext cx="1670624" cy="425818"/>
          </a:xfrm>
          <a:custGeom>
            <a:avLst/>
            <a:gdLst/>
            <a:ahLst/>
            <a:cxnLst>
              <a:cxn ang="0">
                <a:pos x="wd2" y="hd2"/>
              </a:cxn>
              <a:cxn ang="5400000">
                <a:pos x="wd2" y="hd2"/>
              </a:cxn>
              <a:cxn ang="10800000">
                <a:pos x="wd2" y="hd2"/>
              </a:cxn>
              <a:cxn ang="16200000">
                <a:pos x="wd2" y="hd2"/>
              </a:cxn>
            </a:cxnLst>
            <a:rect l="0" t="0" r="r" b="b"/>
            <a:pathLst>
              <a:path w="21600" h="21600" extrusionOk="0">
                <a:moveTo>
                  <a:pt x="1569" y="0"/>
                </a:moveTo>
                <a:lnTo>
                  <a:pt x="20031" y="0"/>
                </a:lnTo>
                <a:cubicBezTo>
                  <a:pt x="20256" y="0"/>
                  <a:pt x="20426" y="0"/>
                  <a:pt x="20569" y="38"/>
                </a:cubicBezTo>
                <a:cubicBezTo>
                  <a:pt x="20713" y="75"/>
                  <a:pt x="20831" y="151"/>
                  <a:pt x="20952" y="302"/>
                </a:cubicBezTo>
                <a:cubicBezTo>
                  <a:pt x="21085" y="491"/>
                  <a:pt x="21203" y="791"/>
                  <a:pt x="21301" y="1174"/>
                </a:cubicBezTo>
                <a:cubicBezTo>
                  <a:pt x="21398" y="1556"/>
                  <a:pt x="21475" y="2022"/>
                  <a:pt x="21523" y="2543"/>
                </a:cubicBezTo>
                <a:cubicBezTo>
                  <a:pt x="21562" y="3019"/>
                  <a:pt x="21581" y="3480"/>
                  <a:pt x="21590" y="4047"/>
                </a:cubicBezTo>
                <a:cubicBezTo>
                  <a:pt x="21600" y="4614"/>
                  <a:pt x="21600" y="5286"/>
                  <a:pt x="21600" y="6182"/>
                </a:cubicBezTo>
                <a:lnTo>
                  <a:pt x="21600" y="15445"/>
                </a:lnTo>
                <a:cubicBezTo>
                  <a:pt x="21600" y="16327"/>
                  <a:pt x="21600" y="16992"/>
                  <a:pt x="21590" y="17556"/>
                </a:cubicBezTo>
                <a:cubicBezTo>
                  <a:pt x="21581" y="18120"/>
                  <a:pt x="21562" y="18581"/>
                  <a:pt x="21523" y="19057"/>
                </a:cubicBezTo>
                <a:cubicBezTo>
                  <a:pt x="21475" y="19578"/>
                  <a:pt x="21398" y="20044"/>
                  <a:pt x="21301" y="20426"/>
                </a:cubicBezTo>
                <a:cubicBezTo>
                  <a:pt x="21203" y="20809"/>
                  <a:pt x="21085" y="21109"/>
                  <a:pt x="20952" y="21298"/>
                </a:cubicBezTo>
                <a:cubicBezTo>
                  <a:pt x="20831" y="21449"/>
                  <a:pt x="20713" y="21525"/>
                  <a:pt x="20568" y="21562"/>
                </a:cubicBezTo>
                <a:cubicBezTo>
                  <a:pt x="20424" y="21600"/>
                  <a:pt x="20253" y="21600"/>
                  <a:pt x="20024" y="21600"/>
                </a:cubicBezTo>
                <a:lnTo>
                  <a:pt x="1569" y="21600"/>
                </a:lnTo>
                <a:cubicBezTo>
                  <a:pt x="1344" y="21600"/>
                  <a:pt x="1174" y="21600"/>
                  <a:pt x="1031" y="21562"/>
                </a:cubicBezTo>
                <a:cubicBezTo>
                  <a:pt x="887" y="21525"/>
                  <a:pt x="769" y="21449"/>
                  <a:pt x="648" y="21298"/>
                </a:cubicBezTo>
                <a:cubicBezTo>
                  <a:pt x="515" y="21109"/>
                  <a:pt x="397" y="20809"/>
                  <a:pt x="299" y="20426"/>
                </a:cubicBezTo>
                <a:cubicBezTo>
                  <a:pt x="202" y="20044"/>
                  <a:pt x="125" y="19578"/>
                  <a:pt x="77" y="19057"/>
                </a:cubicBezTo>
                <a:cubicBezTo>
                  <a:pt x="38" y="18581"/>
                  <a:pt x="19" y="18120"/>
                  <a:pt x="10" y="17553"/>
                </a:cubicBezTo>
                <a:cubicBezTo>
                  <a:pt x="0" y="16986"/>
                  <a:pt x="0" y="16314"/>
                  <a:pt x="0" y="15418"/>
                </a:cubicBezTo>
                <a:lnTo>
                  <a:pt x="0" y="6155"/>
                </a:lnTo>
                <a:cubicBezTo>
                  <a:pt x="0" y="5273"/>
                  <a:pt x="0" y="4608"/>
                  <a:pt x="10" y="4044"/>
                </a:cubicBezTo>
                <a:cubicBezTo>
                  <a:pt x="19" y="3480"/>
                  <a:pt x="38" y="3019"/>
                  <a:pt x="77" y="2543"/>
                </a:cubicBezTo>
                <a:cubicBezTo>
                  <a:pt x="125" y="2022"/>
                  <a:pt x="202" y="1556"/>
                  <a:pt x="299" y="1174"/>
                </a:cubicBezTo>
                <a:cubicBezTo>
                  <a:pt x="397" y="791"/>
                  <a:pt x="515" y="491"/>
                  <a:pt x="648" y="302"/>
                </a:cubicBezTo>
                <a:cubicBezTo>
                  <a:pt x="769" y="151"/>
                  <a:pt x="887" y="75"/>
                  <a:pt x="1032" y="38"/>
                </a:cubicBezTo>
                <a:cubicBezTo>
                  <a:pt x="1176" y="0"/>
                  <a:pt x="1347" y="0"/>
                  <a:pt x="1576" y="0"/>
                </a:cubicBezTo>
                <a:lnTo>
                  <a:pt x="1569" y="0"/>
                </a:lnTo>
                <a:close/>
              </a:path>
            </a:pathLst>
          </a:custGeom>
          <a:solidFill>
            <a:srgbClr val="F5F4F5"/>
          </a:solidFill>
          <a:ln w="12700" cap="flat">
            <a:noFill/>
            <a:miter lim="400000"/>
          </a:ln>
          <a:effectLst/>
        </p:spPr>
        <p:txBody>
          <a:bodyPr wrap="square" lIns="0" tIns="0" rIns="0" bIns="0" numCol="1"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sz="3200" b="0">
                <a:solidFill>
                  <a:srgbClr val="F3F4F5"/>
                </a:solidFill>
                <a:latin typeface="+mn-lt"/>
                <a:ea typeface="+mn-ea"/>
                <a:cs typeface="+mn-cs"/>
                <a:sym typeface="Helvetica Neue Medium"/>
              </a:defRPr>
            </a:pPr>
            <a:endParaRPr kumimoji="0" sz="1600" b="0" i="0" u="none" strike="noStrike" kern="1200" cap="none" spc="0" normalizeH="0" baseline="0" noProof="0" dirty="0">
              <a:ln>
                <a:noFill/>
              </a:ln>
              <a:solidFill>
                <a:srgbClr val="F3F4F5"/>
              </a:solidFill>
              <a:effectLst/>
              <a:uLnTx/>
              <a:uFillTx/>
              <a:latin typeface="OPPOSans R" panose="00020600040101010101" pitchFamily="18" charset="-122"/>
              <a:ea typeface="微软雅黑"/>
              <a:cs typeface="+mn-cs"/>
              <a:sym typeface="Helvetica Neue Medium"/>
            </a:endParaRPr>
          </a:p>
        </p:txBody>
      </p:sp>
      <p:sp>
        <p:nvSpPr>
          <p:cNvPr id="2701" name="gaoding-32"/>
          <p:cNvSpPr/>
          <p:nvPr/>
        </p:nvSpPr>
        <p:spPr>
          <a:xfrm>
            <a:off x="904765" y="5264608"/>
            <a:ext cx="1670624" cy="425818"/>
          </a:xfrm>
          <a:custGeom>
            <a:avLst/>
            <a:gdLst/>
            <a:ahLst/>
            <a:cxnLst>
              <a:cxn ang="0">
                <a:pos x="wd2" y="hd2"/>
              </a:cxn>
              <a:cxn ang="5400000">
                <a:pos x="wd2" y="hd2"/>
              </a:cxn>
              <a:cxn ang="10800000">
                <a:pos x="wd2" y="hd2"/>
              </a:cxn>
              <a:cxn ang="16200000">
                <a:pos x="wd2" y="hd2"/>
              </a:cxn>
            </a:cxnLst>
            <a:rect l="0" t="0" r="r" b="b"/>
            <a:pathLst>
              <a:path w="21600" h="21600" extrusionOk="0">
                <a:moveTo>
                  <a:pt x="1569" y="0"/>
                </a:moveTo>
                <a:lnTo>
                  <a:pt x="20031" y="0"/>
                </a:lnTo>
                <a:cubicBezTo>
                  <a:pt x="20256" y="0"/>
                  <a:pt x="20426" y="0"/>
                  <a:pt x="20569" y="38"/>
                </a:cubicBezTo>
                <a:cubicBezTo>
                  <a:pt x="20713" y="75"/>
                  <a:pt x="20831" y="151"/>
                  <a:pt x="20952" y="302"/>
                </a:cubicBezTo>
                <a:cubicBezTo>
                  <a:pt x="21085" y="491"/>
                  <a:pt x="21203" y="791"/>
                  <a:pt x="21301" y="1174"/>
                </a:cubicBezTo>
                <a:cubicBezTo>
                  <a:pt x="21398" y="1556"/>
                  <a:pt x="21475" y="2022"/>
                  <a:pt x="21523" y="2543"/>
                </a:cubicBezTo>
                <a:cubicBezTo>
                  <a:pt x="21562" y="3019"/>
                  <a:pt x="21581" y="3480"/>
                  <a:pt x="21590" y="4047"/>
                </a:cubicBezTo>
                <a:cubicBezTo>
                  <a:pt x="21600" y="4614"/>
                  <a:pt x="21600" y="5286"/>
                  <a:pt x="21600" y="6182"/>
                </a:cubicBezTo>
                <a:lnTo>
                  <a:pt x="21600" y="15445"/>
                </a:lnTo>
                <a:cubicBezTo>
                  <a:pt x="21600" y="16327"/>
                  <a:pt x="21600" y="16992"/>
                  <a:pt x="21590" y="17556"/>
                </a:cubicBezTo>
                <a:cubicBezTo>
                  <a:pt x="21581" y="18120"/>
                  <a:pt x="21562" y="18581"/>
                  <a:pt x="21523" y="19057"/>
                </a:cubicBezTo>
                <a:cubicBezTo>
                  <a:pt x="21475" y="19578"/>
                  <a:pt x="21398" y="20044"/>
                  <a:pt x="21301" y="20426"/>
                </a:cubicBezTo>
                <a:cubicBezTo>
                  <a:pt x="21203" y="20809"/>
                  <a:pt x="21085" y="21109"/>
                  <a:pt x="20952" y="21298"/>
                </a:cubicBezTo>
                <a:cubicBezTo>
                  <a:pt x="20831" y="21449"/>
                  <a:pt x="20713" y="21525"/>
                  <a:pt x="20568" y="21562"/>
                </a:cubicBezTo>
                <a:cubicBezTo>
                  <a:pt x="20424" y="21600"/>
                  <a:pt x="20253" y="21600"/>
                  <a:pt x="20024" y="21600"/>
                </a:cubicBezTo>
                <a:lnTo>
                  <a:pt x="1569" y="21600"/>
                </a:lnTo>
                <a:cubicBezTo>
                  <a:pt x="1344" y="21600"/>
                  <a:pt x="1174" y="21600"/>
                  <a:pt x="1031" y="21562"/>
                </a:cubicBezTo>
                <a:cubicBezTo>
                  <a:pt x="887" y="21525"/>
                  <a:pt x="769" y="21449"/>
                  <a:pt x="648" y="21298"/>
                </a:cubicBezTo>
                <a:cubicBezTo>
                  <a:pt x="515" y="21109"/>
                  <a:pt x="397" y="20809"/>
                  <a:pt x="299" y="20426"/>
                </a:cubicBezTo>
                <a:cubicBezTo>
                  <a:pt x="202" y="20044"/>
                  <a:pt x="125" y="19578"/>
                  <a:pt x="77" y="19057"/>
                </a:cubicBezTo>
                <a:cubicBezTo>
                  <a:pt x="38" y="18581"/>
                  <a:pt x="19" y="18120"/>
                  <a:pt x="10" y="17553"/>
                </a:cubicBezTo>
                <a:cubicBezTo>
                  <a:pt x="0" y="16986"/>
                  <a:pt x="0" y="16314"/>
                  <a:pt x="0" y="15418"/>
                </a:cubicBezTo>
                <a:lnTo>
                  <a:pt x="0" y="6155"/>
                </a:lnTo>
                <a:cubicBezTo>
                  <a:pt x="0" y="5273"/>
                  <a:pt x="0" y="4608"/>
                  <a:pt x="10" y="4044"/>
                </a:cubicBezTo>
                <a:cubicBezTo>
                  <a:pt x="19" y="3480"/>
                  <a:pt x="38" y="3019"/>
                  <a:pt x="77" y="2543"/>
                </a:cubicBezTo>
                <a:cubicBezTo>
                  <a:pt x="125" y="2022"/>
                  <a:pt x="202" y="1556"/>
                  <a:pt x="299" y="1174"/>
                </a:cubicBezTo>
                <a:cubicBezTo>
                  <a:pt x="397" y="791"/>
                  <a:pt x="515" y="491"/>
                  <a:pt x="648" y="302"/>
                </a:cubicBezTo>
                <a:cubicBezTo>
                  <a:pt x="769" y="151"/>
                  <a:pt x="887" y="75"/>
                  <a:pt x="1032" y="38"/>
                </a:cubicBezTo>
                <a:cubicBezTo>
                  <a:pt x="1176" y="0"/>
                  <a:pt x="1347" y="0"/>
                  <a:pt x="1576" y="0"/>
                </a:cubicBezTo>
                <a:lnTo>
                  <a:pt x="1569" y="0"/>
                </a:lnTo>
                <a:close/>
              </a:path>
            </a:pathLst>
          </a:custGeom>
          <a:solidFill>
            <a:srgbClr val="F5F4F5"/>
          </a:solidFill>
          <a:ln w="12700" cap="flat">
            <a:noFill/>
            <a:miter lim="400000"/>
          </a:ln>
          <a:effectLst/>
        </p:spPr>
        <p:txBody>
          <a:bodyPr wrap="square" lIns="0" tIns="0" rIns="0" bIns="0" numCol="1"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sz="3200" b="0">
                <a:solidFill>
                  <a:srgbClr val="F3F4F5"/>
                </a:solidFill>
                <a:latin typeface="+mn-lt"/>
                <a:ea typeface="+mn-ea"/>
                <a:cs typeface="+mn-cs"/>
                <a:sym typeface="Helvetica Neue Medium"/>
              </a:defRPr>
            </a:pPr>
            <a:endParaRPr kumimoji="0" sz="1600" b="0" i="0" u="none" strike="noStrike" kern="1200" cap="none" spc="0" normalizeH="0" baseline="0" noProof="0" dirty="0">
              <a:ln>
                <a:noFill/>
              </a:ln>
              <a:solidFill>
                <a:srgbClr val="F3F4F5"/>
              </a:solidFill>
              <a:effectLst/>
              <a:uLnTx/>
              <a:uFillTx/>
              <a:latin typeface="OPPOSans R" panose="00020600040101010101" pitchFamily="18" charset="-122"/>
              <a:ea typeface="微软雅黑"/>
              <a:cs typeface="+mn-cs"/>
              <a:sym typeface="Helvetica Neue Medium"/>
            </a:endParaRPr>
          </a:p>
        </p:txBody>
      </p:sp>
      <p:sp>
        <p:nvSpPr>
          <p:cNvPr id="2705" name="gaoding-33"/>
          <p:cNvSpPr/>
          <p:nvPr/>
        </p:nvSpPr>
        <p:spPr>
          <a:xfrm>
            <a:off x="904765" y="3140600"/>
            <a:ext cx="1670624" cy="425818"/>
          </a:xfrm>
          <a:custGeom>
            <a:avLst/>
            <a:gdLst/>
            <a:ahLst/>
            <a:cxnLst>
              <a:cxn ang="0">
                <a:pos x="wd2" y="hd2"/>
              </a:cxn>
              <a:cxn ang="5400000">
                <a:pos x="wd2" y="hd2"/>
              </a:cxn>
              <a:cxn ang="10800000">
                <a:pos x="wd2" y="hd2"/>
              </a:cxn>
              <a:cxn ang="16200000">
                <a:pos x="wd2" y="hd2"/>
              </a:cxn>
            </a:cxnLst>
            <a:rect l="0" t="0" r="r" b="b"/>
            <a:pathLst>
              <a:path w="21600" h="21600" extrusionOk="0">
                <a:moveTo>
                  <a:pt x="1569" y="0"/>
                </a:moveTo>
                <a:lnTo>
                  <a:pt x="20031" y="0"/>
                </a:lnTo>
                <a:cubicBezTo>
                  <a:pt x="20256" y="0"/>
                  <a:pt x="20426" y="0"/>
                  <a:pt x="20569" y="38"/>
                </a:cubicBezTo>
                <a:cubicBezTo>
                  <a:pt x="20713" y="75"/>
                  <a:pt x="20831" y="151"/>
                  <a:pt x="20952" y="302"/>
                </a:cubicBezTo>
                <a:cubicBezTo>
                  <a:pt x="21085" y="491"/>
                  <a:pt x="21203" y="791"/>
                  <a:pt x="21301" y="1174"/>
                </a:cubicBezTo>
                <a:cubicBezTo>
                  <a:pt x="21398" y="1556"/>
                  <a:pt x="21475" y="2022"/>
                  <a:pt x="21523" y="2543"/>
                </a:cubicBezTo>
                <a:cubicBezTo>
                  <a:pt x="21562" y="3019"/>
                  <a:pt x="21581" y="3480"/>
                  <a:pt x="21590" y="4047"/>
                </a:cubicBezTo>
                <a:cubicBezTo>
                  <a:pt x="21600" y="4614"/>
                  <a:pt x="21600" y="5286"/>
                  <a:pt x="21600" y="6182"/>
                </a:cubicBezTo>
                <a:lnTo>
                  <a:pt x="21600" y="15445"/>
                </a:lnTo>
                <a:cubicBezTo>
                  <a:pt x="21600" y="16327"/>
                  <a:pt x="21600" y="16992"/>
                  <a:pt x="21590" y="17556"/>
                </a:cubicBezTo>
                <a:cubicBezTo>
                  <a:pt x="21581" y="18120"/>
                  <a:pt x="21562" y="18581"/>
                  <a:pt x="21523" y="19057"/>
                </a:cubicBezTo>
                <a:cubicBezTo>
                  <a:pt x="21475" y="19578"/>
                  <a:pt x="21398" y="20044"/>
                  <a:pt x="21301" y="20426"/>
                </a:cubicBezTo>
                <a:cubicBezTo>
                  <a:pt x="21203" y="20809"/>
                  <a:pt x="21085" y="21109"/>
                  <a:pt x="20952" y="21298"/>
                </a:cubicBezTo>
                <a:cubicBezTo>
                  <a:pt x="20831" y="21449"/>
                  <a:pt x="20713" y="21525"/>
                  <a:pt x="20568" y="21562"/>
                </a:cubicBezTo>
                <a:cubicBezTo>
                  <a:pt x="20424" y="21600"/>
                  <a:pt x="20253" y="21600"/>
                  <a:pt x="20024" y="21600"/>
                </a:cubicBezTo>
                <a:lnTo>
                  <a:pt x="1569" y="21600"/>
                </a:lnTo>
                <a:cubicBezTo>
                  <a:pt x="1344" y="21600"/>
                  <a:pt x="1174" y="21600"/>
                  <a:pt x="1031" y="21562"/>
                </a:cubicBezTo>
                <a:cubicBezTo>
                  <a:pt x="887" y="21525"/>
                  <a:pt x="769" y="21449"/>
                  <a:pt x="648" y="21298"/>
                </a:cubicBezTo>
                <a:cubicBezTo>
                  <a:pt x="515" y="21109"/>
                  <a:pt x="397" y="20809"/>
                  <a:pt x="299" y="20426"/>
                </a:cubicBezTo>
                <a:cubicBezTo>
                  <a:pt x="202" y="20044"/>
                  <a:pt x="125" y="19578"/>
                  <a:pt x="77" y="19057"/>
                </a:cubicBezTo>
                <a:cubicBezTo>
                  <a:pt x="38" y="18581"/>
                  <a:pt x="19" y="18120"/>
                  <a:pt x="10" y="17553"/>
                </a:cubicBezTo>
                <a:cubicBezTo>
                  <a:pt x="0" y="16986"/>
                  <a:pt x="0" y="16314"/>
                  <a:pt x="0" y="15418"/>
                </a:cubicBezTo>
                <a:lnTo>
                  <a:pt x="0" y="6155"/>
                </a:lnTo>
                <a:cubicBezTo>
                  <a:pt x="0" y="5273"/>
                  <a:pt x="0" y="4608"/>
                  <a:pt x="10" y="4044"/>
                </a:cubicBezTo>
                <a:cubicBezTo>
                  <a:pt x="19" y="3480"/>
                  <a:pt x="38" y="3019"/>
                  <a:pt x="77" y="2543"/>
                </a:cubicBezTo>
                <a:cubicBezTo>
                  <a:pt x="125" y="2022"/>
                  <a:pt x="202" y="1556"/>
                  <a:pt x="299" y="1174"/>
                </a:cubicBezTo>
                <a:cubicBezTo>
                  <a:pt x="397" y="791"/>
                  <a:pt x="515" y="491"/>
                  <a:pt x="648" y="302"/>
                </a:cubicBezTo>
                <a:cubicBezTo>
                  <a:pt x="769" y="151"/>
                  <a:pt x="887" y="75"/>
                  <a:pt x="1032" y="38"/>
                </a:cubicBezTo>
                <a:cubicBezTo>
                  <a:pt x="1176" y="0"/>
                  <a:pt x="1347" y="0"/>
                  <a:pt x="1576" y="0"/>
                </a:cubicBezTo>
                <a:lnTo>
                  <a:pt x="1569" y="0"/>
                </a:lnTo>
                <a:close/>
              </a:path>
            </a:pathLst>
          </a:custGeom>
          <a:gradFill flip="none" rotWithShape="1">
            <a:gsLst>
              <a:gs pos="1000">
                <a:schemeClr val="accent1"/>
              </a:gs>
              <a:gs pos="100000">
                <a:schemeClr val="accent1">
                  <a:lumMod val="60000"/>
                  <a:lumOff val="40000"/>
                </a:schemeClr>
              </a:gs>
            </a:gsLst>
            <a:lin ang="27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5720" tIns="22860" rIns="45720" bIns="228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FFFFFF"/>
              </a:solidFill>
              <a:effectLst/>
              <a:uLnTx/>
              <a:uFillTx/>
              <a:latin typeface="OPPOSans R" panose="00020600040101010101" pitchFamily="18" charset="-122"/>
              <a:ea typeface="微软雅黑"/>
              <a:cs typeface="+mn-cs"/>
            </a:endParaRPr>
          </a:p>
        </p:txBody>
      </p:sp>
      <p:sp>
        <p:nvSpPr>
          <p:cNvPr id="98" name="gaoding-34">
            <a:extLst>
              <a:ext uri="{FF2B5EF4-FFF2-40B4-BE49-F238E27FC236}">
                <a16:creationId xmlns:a16="http://schemas.microsoft.com/office/drawing/2014/main" id="{32868A57-E337-4ED2-BE15-493996654640}"/>
              </a:ext>
            </a:extLst>
          </p:cNvPr>
          <p:cNvSpPr/>
          <p:nvPr/>
        </p:nvSpPr>
        <p:spPr>
          <a:xfrm>
            <a:off x="1061057" y="3266962"/>
            <a:ext cx="166612" cy="160395"/>
          </a:xfrm>
          <a:custGeom>
            <a:avLst/>
            <a:gdLst>
              <a:gd name="connsiteX0" fmla="*/ 194024 w 465677"/>
              <a:gd name="connsiteY0" fmla="*/ 157258 h 448304"/>
              <a:gd name="connsiteX1" fmla="*/ 196023 w 465677"/>
              <a:gd name="connsiteY1" fmla="*/ 157258 h 448304"/>
              <a:gd name="connsiteX2" fmla="*/ 238410 w 465677"/>
              <a:gd name="connsiteY2" fmla="*/ 198691 h 448304"/>
              <a:gd name="connsiteX3" fmla="*/ 238410 w 465677"/>
              <a:gd name="connsiteY3" fmla="*/ 198791 h 448304"/>
              <a:gd name="connsiteX4" fmla="*/ 196023 w 465677"/>
              <a:gd name="connsiteY4" fmla="*/ 240220 h 448304"/>
              <a:gd name="connsiteX5" fmla="*/ 194024 w 465677"/>
              <a:gd name="connsiteY5" fmla="*/ 240220 h 448304"/>
              <a:gd name="connsiteX6" fmla="*/ 151733 w 465677"/>
              <a:gd name="connsiteY6" fmla="*/ 198691 h 448304"/>
              <a:gd name="connsiteX7" fmla="*/ 194024 w 465677"/>
              <a:gd name="connsiteY7" fmla="*/ 157258 h 448304"/>
              <a:gd name="connsiteX8" fmla="*/ 195263 w 465677"/>
              <a:gd name="connsiteY8" fmla="*/ 123824 h 448304"/>
              <a:gd name="connsiteX9" fmla="*/ 179737 w 465677"/>
              <a:gd name="connsiteY9" fmla="*/ 125062 h 448304"/>
              <a:gd name="connsiteX10" fmla="*/ 119729 w 465677"/>
              <a:gd name="connsiteY10" fmla="*/ 179831 h 448304"/>
              <a:gd name="connsiteX11" fmla="*/ 151734 w 465677"/>
              <a:gd name="connsiteY11" fmla="*/ 261937 h 448304"/>
              <a:gd name="connsiteX12" fmla="*/ 88488 w 465677"/>
              <a:gd name="connsiteY12" fmla="*/ 309562 h 448304"/>
              <a:gd name="connsiteX13" fmla="*/ 86582 w 465677"/>
              <a:gd name="connsiteY13" fmla="*/ 313303 h 448304"/>
              <a:gd name="connsiteX14" fmla="*/ 96107 w 465677"/>
              <a:gd name="connsiteY14" fmla="*/ 333374 h 448304"/>
              <a:gd name="connsiteX15" fmla="*/ 98298 w 465677"/>
              <a:gd name="connsiteY15" fmla="*/ 334231 h 448304"/>
              <a:gd name="connsiteX16" fmla="*/ 117348 w 465677"/>
              <a:gd name="connsiteY16" fmla="*/ 328135 h 448304"/>
              <a:gd name="connsiteX17" fmla="*/ 195167 w 465677"/>
              <a:gd name="connsiteY17" fmla="*/ 288892 h 448304"/>
              <a:gd name="connsiteX18" fmla="*/ 272987 w 465677"/>
              <a:gd name="connsiteY18" fmla="*/ 328135 h 448304"/>
              <a:gd name="connsiteX19" fmla="*/ 292037 w 465677"/>
              <a:gd name="connsiteY19" fmla="*/ 334231 h 448304"/>
              <a:gd name="connsiteX20" fmla="*/ 294228 w 465677"/>
              <a:gd name="connsiteY20" fmla="*/ 333374 h 448304"/>
              <a:gd name="connsiteX21" fmla="*/ 298038 w 465677"/>
              <a:gd name="connsiteY21" fmla="*/ 331430 h 448304"/>
              <a:gd name="connsiteX22" fmla="*/ 302038 w 465677"/>
              <a:gd name="connsiteY22" fmla="*/ 309562 h 448304"/>
              <a:gd name="connsiteX23" fmla="*/ 238791 w 465677"/>
              <a:gd name="connsiteY23" fmla="*/ 261937 h 448304"/>
              <a:gd name="connsiteX24" fmla="*/ 270796 w 465677"/>
              <a:gd name="connsiteY24" fmla="*/ 179831 h 448304"/>
              <a:gd name="connsiteX25" fmla="*/ 210788 w 465677"/>
              <a:gd name="connsiteY25" fmla="*/ 125062 h 448304"/>
              <a:gd name="connsiteX26" fmla="*/ 195263 w 465677"/>
              <a:gd name="connsiteY26" fmla="*/ 123824 h 448304"/>
              <a:gd name="connsiteX27" fmla="*/ 369285 w 465677"/>
              <a:gd name="connsiteY27" fmla="*/ 69717 h 448304"/>
              <a:gd name="connsiteX28" fmla="*/ 392811 w 465677"/>
              <a:gd name="connsiteY28" fmla="*/ 92677 h 448304"/>
              <a:gd name="connsiteX29" fmla="*/ 392811 w 465677"/>
              <a:gd name="connsiteY29" fmla="*/ 370903 h 448304"/>
              <a:gd name="connsiteX30" fmla="*/ 392811 w 465677"/>
              <a:gd name="connsiteY30" fmla="*/ 370906 h 448304"/>
              <a:gd name="connsiteX31" fmla="*/ 369380 w 465677"/>
              <a:gd name="connsiteY31" fmla="*/ 393763 h 448304"/>
              <a:gd name="connsiteX32" fmla="*/ 277559 w 465677"/>
              <a:gd name="connsiteY32" fmla="*/ 393763 h 448304"/>
              <a:gd name="connsiteX33" fmla="*/ 261461 w 465677"/>
              <a:gd name="connsiteY33" fmla="*/ 400049 h 448304"/>
              <a:gd name="connsiteX34" fmla="*/ 216217 w 465677"/>
              <a:gd name="connsiteY34" fmla="*/ 442054 h 448304"/>
              <a:gd name="connsiteX35" fmla="*/ 183356 w 465677"/>
              <a:gd name="connsiteY35" fmla="*/ 441388 h 448304"/>
              <a:gd name="connsiteX36" fmla="*/ 142684 w 465677"/>
              <a:gd name="connsiteY36" fmla="*/ 400621 h 448304"/>
              <a:gd name="connsiteX37" fmla="*/ 125920 w 465677"/>
              <a:gd name="connsiteY37" fmla="*/ 393763 h 448304"/>
              <a:gd name="connsiteX38" fmla="*/ 23336 w 465677"/>
              <a:gd name="connsiteY38" fmla="*/ 393763 h 448304"/>
              <a:gd name="connsiteX39" fmla="*/ 0 w 465677"/>
              <a:gd name="connsiteY39" fmla="*/ 370903 h 448304"/>
              <a:gd name="connsiteX40" fmla="*/ 0 w 465677"/>
              <a:gd name="connsiteY40" fmla="*/ 92677 h 448304"/>
              <a:gd name="connsiteX41" fmla="*/ 22956 w 465677"/>
              <a:gd name="connsiteY41" fmla="*/ 69722 h 448304"/>
              <a:gd name="connsiteX42" fmla="*/ 368999 w 465677"/>
              <a:gd name="connsiteY42" fmla="*/ 69722 h 448304"/>
              <a:gd name="connsiteX43" fmla="*/ 369285 w 465677"/>
              <a:gd name="connsiteY43" fmla="*/ 69717 h 448304"/>
              <a:gd name="connsiteX44" fmla="*/ 123825 w 465677"/>
              <a:gd name="connsiteY44" fmla="*/ 0 h 448304"/>
              <a:gd name="connsiteX45" fmla="*/ 445484 w 465677"/>
              <a:gd name="connsiteY45" fmla="*/ 0 h 448304"/>
              <a:gd name="connsiteX46" fmla="*/ 465677 w 465677"/>
              <a:gd name="connsiteY46" fmla="*/ 19810 h 448304"/>
              <a:gd name="connsiteX47" fmla="*/ 465677 w 465677"/>
              <a:gd name="connsiteY47" fmla="*/ 19812 h 448304"/>
              <a:gd name="connsiteX48" fmla="*/ 465677 w 465677"/>
              <a:gd name="connsiteY48" fmla="*/ 307753 h 448304"/>
              <a:gd name="connsiteX49" fmla="*/ 445866 w 465677"/>
              <a:gd name="connsiteY49" fmla="*/ 327565 h 448304"/>
              <a:gd name="connsiteX50" fmla="*/ 411384 w 465677"/>
              <a:gd name="connsiteY50" fmla="*/ 327565 h 448304"/>
              <a:gd name="connsiteX51" fmla="*/ 411384 w 465677"/>
              <a:gd name="connsiteY51" fmla="*/ 288512 h 448304"/>
              <a:gd name="connsiteX52" fmla="*/ 426244 w 465677"/>
              <a:gd name="connsiteY52" fmla="*/ 274037 h 448304"/>
              <a:gd name="connsiteX53" fmla="*/ 426244 w 465677"/>
              <a:gd name="connsiteY53" fmla="*/ 274034 h 448304"/>
              <a:gd name="connsiteX54" fmla="*/ 426244 w 465677"/>
              <a:gd name="connsiteY54" fmla="*/ 53626 h 448304"/>
              <a:gd name="connsiteX55" fmla="*/ 411479 w 465677"/>
              <a:gd name="connsiteY55" fmla="*/ 39051 h 448304"/>
              <a:gd name="connsiteX56" fmla="*/ 411384 w 465677"/>
              <a:gd name="connsiteY56" fmla="*/ 39052 h 448304"/>
              <a:gd name="connsiteX57" fmla="*/ 158782 w 465677"/>
              <a:gd name="connsiteY57" fmla="*/ 39052 h 448304"/>
              <a:gd name="connsiteX58" fmla="*/ 143922 w 465677"/>
              <a:gd name="connsiteY58" fmla="*/ 53529 h 448304"/>
              <a:gd name="connsiteX59" fmla="*/ 143922 w 465677"/>
              <a:gd name="connsiteY59" fmla="*/ 53626 h 448304"/>
              <a:gd name="connsiteX60" fmla="*/ 143922 w 465677"/>
              <a:gd name="connsiteY60" fmla="*/ 58007 h 448304"/>
              <a:gd name="connsiteX61" fmla="*/ 104013 w 465677"/>
              <a:gd name="connsiteY61" fmla="*/ 58007 h 448304"/>
              <a:gd name="connsiteX62" fmla="*/ 104013 w 465677"/>
              <a:gd name="connsiteY62" fmla="*/ 19907 h 448304"/>
              <a:gd name="connsiteX63" fmla="*/ 123825 w 465677"/>
              <a:gd name="connsiteY63" fmla="*/ 0 h 448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465677" h="448304">
                <a:moveTo>
                  <a:pt x="194024" y="157258"/>
                </a:moveTo>
                <a:lnTo>
                  <a:pt x="196023" y="157258"/>
                </a:lnTo>
                <a:cubicBezTo>
                  <a:pt x="219170" y="156996"/>
                  <a:pt x="238124" y="175547"/>
                  <a:pt x="238410" y="198691"/>
                </a:cubicBezTo>
                <a:cubicBezTo>
                  <a:pt x="238410" y="198725"/>
                  <a:pt x="238410" y="198758"/>
                  <a:pt x="238410" y="198791"/>
                </a:cubicBezTo>
                <a:cubicBezTo>
                  <a:pt x="238124" y="221936"/>
                  <a:pt x="219170" y="240484"/>
                  <a:pt x="196023" y="240220"/>
                </a:cubicBezTo>
                <a:lnTo>
                  <a:pt x="194024" y="240220"/>
                </a:lnTo>
                <a:cubicBezTo>
                  <a:pt x="170877" y="240430"/>
                  <a:pt x="151923" y="221837"/>
                  <a:pt x="151733" y="198691"/>
                </a:cubicBezTo>
                <a:cubicBezTo>
                  <a:pt x="152018" y="175582"/>
                  <a:pt x="170877" y="157046"/>
                  <a:pt x="194024" y="157258"/>
                </a:cubicBezTo>
                <a:close/>
                <a:moveTo>
                  <a:pt x="195263" y="123824"/>
                </a:moveTo>
                <a:cubicBezTo>
                  <a:pt x="190023" y="123723"/>
                  <a:pt x="184881" y="124138"/>
                  <a:pt x="179737" y="125062"/>
                </a:cubicBezTo>
                <a:cubicBezTo>
                  <a:pt x="150685" y="129889"/>
                  <a:pt x="127159" y="151339"/>
                  <a:pt x="119729" y="179831"/>
                </a:cubicBezTo>
                <a:cubicBezTo>
                  <a:pt x="111442" y="211245"/>
                  <a:pt x="124397" y="244410"/>
                  <a:pt x="151734" y="261937"/>
                </a:cubicBezTo>
                <a:cubicBezTo>
                  <a:pt x="126111" y="270647"/>
                  <a:pt x="103918" y="287337"/>
                  <a:pt x="88488" y="309562"/>
                </a:cubicBezTo>
                <a:cubicBezTo>
                  <a:pt x="87725" y="310717"/>
                  <a:pt x="87059" y="311975"/>
                  <a:pt x="86582" y="313303"/>
                </a:cubicBezTo>
                <a:cubicBezTo>
                  <a:pt x="83630" y="321482"/>
                  <a:pt x="87916" y="330468"/>
                  <a:pt x="96107" y="333374"/>
                </a:cubicBezTo>
                <a:lnTo>
                  <a:pt x="98298" y="334231"/>
                </a:lnTo>
                <a:cubicBezTo>
                  <a:pt x="105252" y="336658"/>
                  <a:pt x="113062" y="334175"/>
                  <a:pt x="117348" y="328135"/>
                </a:cubicBezTo>
                <a:cubicBezTo>
                  <a:pt x="135255" y="303068"/>
                  <a:pt x="164402" y="288401"/>
                  <a:pt x="195167" y="288892"/>
                </a:cubicBezTo>
                <a:cubicBezTo>
                  <a:pt x="225933" y="288401"/>
                  <a:pt x="255080" y="303068"/>
                  <a:pt x="272987" y="328135"/>
                </a:cubicBezTo>
                <a:cubicBezTo>
                  <a:pt x="277273" y="334175"/>
                  <a:pt x="285084" y="336658"/>
                  <a:pt x="292037" y="334231"/>
                </a:cubicBezTo>
                <a:lnTo>
                  <a:pt x="294228" y="333374"/>
                </a:lnTo>
                <a:cubicBezTo>
                  <a:pt x="295561" y="332906"/>
                  <a:pt x="296895" y="332251"/>
                  <a:pt x="298038" y="331430"/>
                </a:cubicBezTo>
                <a:cubicBezTo>
                  <a:pt x="305182" y="326488"/>
                  <a:pt x="306991" y="316697"/>
                  <a:pt x="302038" y="309562"/>
                </a:cubicBezTo>
                <a:cubicBezTo>
                  <a:pt x="286607" y="287337"/>
                  <a:pt x="264414" y="270647"/>
                  <a:pt x="238791" y="261937"/>
                </a:cubicBezTo>
                <a:cubicBezTo>
                  <a:pt x="266128" y="244410"/>
                  <a:pt x="279083" y="211245"/>
                  <a:pt x="270796" y="179831"/>
                </a:cubicBezTo>
                <a:cubicBezTo>
                  <a:pt x="263367" y="151339"/>
                  <a:pt x="239840" y="129889"/>
                  <a:pt x="210788" y="125062"/>
                </a:cubicBezTo>
                <a:cubicBezTo>
                  <a:pt x="205645" y="124138"/>
                  <a:pt x="200502" y="123723"/>
                  <a:pt x="195263" y="123824"/>
                </a:cubicBezTo>
                <a:close/>
                <a:moveTo>
                  <a:pt x="369285" y="69717"/>
                </a:moveTo>
                <a:cubicBezTo>
                  <a:pt x="382143" y="69563"/>
                  <a:pt x="392620" y="79843"/>
                  <a:pt x="392811" y="92677"/>
                </a:cubicBezTo>
                <a:lnTo>
                  <a:pt x="392811" y="370903"/>
                </a:lnTo>
                <a:cubicBezTo>
                  <a:pt x="392811" y="370904"/>
                  <a:pt x="392811" y="370905"/>
                  <a:pt x="392811" y="370906"/>
                </a:cubicBezTo>
                <a:cubicBezTo>
                  <a:pt x="392620" y="383688"/>
                  <a:pt x="382143" y="393922"/>
                  <a:pt x="369380" y="393763"/>
                </a:cubicBezTo>
                <a:lnTo>
                  <a:pt x="277559" y="393763"/>
                </a:lnTo>
                <a:cubicBezTo>
                  <a:pt x="271558" y="393778"/>
                  <a:pt x="265843" y="396020"/>
                  <a:pt x="261461" y="400049"/>
                </a:cubicBezTo>
                <a:lnTo>
                  <a:pt x="216217" y="442054"/>
                </a:lnTo>
                <a:cubicBezTo>
                  <a:pt x="206883" y="450639"/>
                  <a:pt x="192405" y="450346"/>
                  <a:pt x="183356" y="441388"/>
                </a:cubicBezTo>
                <a:lnTo>
                  <a:pt x="142684" y="400621"/>
                </a:lnTo>
                <a:cubicBezTo>
                  <a:pt x="138208" y="396215"/>
                  <a:pt x="132207" y="393751"/>
                  <a:pt x="125920" y="393763"/>
                </a:cubicBezTo>
                <a:lnTo>
                  <a:pt x="23336" y="393763"/>
                </a:lnTo>
                <a:cubicBezTo>
                  <a:pt x="10573" y="393868"/>
                  <a:pt x="191" y="383648"/>
                  <a:pt x="0" y="370903"/>
                </a:cubicBezTo>
                <a:lnTo>
                  <a:pt x="0" y="92677"/>
                </a:lnTo>
                <a:cubicBezTo>
                  <a:pt x="96" y="80043"/>
                  <a:pt x="10287" y="69826"/>
                  <a:pt x="22956" y="69722"/>
                </a:cubicBezTo>
                <a:lnTo>
                  <a:pt x="368999" y="69722"/>
                </a:lnTo>
                <a:cubicBezTo>
                  <a:pt x="369094" y="69720"/>
                  <a:pt x="369189" y="69718"/>
                  <a:pt x="369285" y="69717"/>
                </a:cubicBezTo>
                <a:close/>
                <a:moveTo>
                  <a:pt x="123825" y="0"/>
                </a:moveTo>
                <a:lnTo>
                  <a:pt x="445484" y="0"/>
                </a:lnTo>
                <a:cubicBezTo>
                  <a:pt x="456534" y="-106"/>
                  <a:pt x="465582" y="8764"/>
                  <a:pt x="465677" y="19810"/>
                </a:cubicBezTo>
                <a:cubicBezTo>
                  <a:pt x="465677" y="19811"/>
                  <a:pt x="465677" y="19811"/>
                  <a:pt x="465677" y="19812"/>
                </a:cubicBezTo>
                <a:lnTo>
                  <a:pt x="465677" y="307753"/>
                </a:lnTo>
                <a:cubicBezTo>
                  <a:pt x="465582" y="318651"/>
                  <a:pt x="456723" y="327462"/>
                  <a:pt x="445866" y="327565"/>
                </a:cubicBezTo>
                <a:lnTo>
                  <a:pt x="411384" y="327565"/>
                </a:lnTo>
                <a:lnTo>
                  <a:pt x="411384" y="288512"/>
                </a:lnTo>
                <a:cubicBezTo>
                  <a:pt x="419481" y="288618"/>
                  <a:pt x="426148" y="282137"/>
                  <a:pt x="426244" y="274037"/>
                </a:cubicBezTo>
                <a:cubicBezTo>
                  <a:pt x="426244" y="274036"/>
                  <a:pt x="426244" y="274035"/>
                  <a:pt x="426244" y="274034"/>
                </a:cubicBezTo>
                <a:lnTo>
                  <a:pt x="426244" y="53626"/>
                </a:lnTo>
                <a:cubicBezTo>
                  <a:pt x="426148" y="45525"/>
                  <a:pt x="419576" y="39000"/>
                  <a:pt x="411479" y="39051"/>
                </a:cubicBezTo>
                <a:cubicBezTo>
                  <a:pt x="411479" y="39052"/>
                  <a:pt x="411384" y="39052"/>
                  <a:pt x="411384" y="39052"/>
                </a:cubicBezTo>
                <a:lnTo>
                  <a:pt x="158782" y="39052"/>
                </a:lnTo>
                <a:cubicBezTo>
                  <a:pt x="150685" y="38947"/>
                  <a:pt x="144018" y="45428"/>
                  <a:pt x="143922" y="53529"/>
                </a:cubicBezTo>
                <a:cubicBezTo>
                  <a:pt x="143922" y="53561"/>
                  <a:pt x="143922" y="53593"/>
                  <a:pt x="143922" y="53626"/>
                </a:cubicBezTo>
                <a:lnTo>
                  <a:pt x="143922" y="58007"/>
                </a:lnTo>
                <a:lnTo>
                  <a:pt x="104013" y="58007"/>
                </a:lnTo>
                <a:lnTo>
                  <a:pt x="104013" y="19907"/>
                </a:lnTo>
                <a:cubicBezTo>
                  <a:pt x="104109" y="8971"/>
                  <a:pt x="112871" y="104"/>
                  <a:pt x="123825" y="0"/>
                </a:cubicBezTo>
                <a:close/>
              </a:path>
            </a:pathLst>
          </a:custGeom>
          <a:solidFill>
            <a:srgbClr val="FFFFFF"/>
          </a:solidFill>
          <a:ln w="12700" cap="flat">
            <a:noFill/>
            <a:miter lim="400000"/>
          </a:ln>
          <a:effectLst/>
        </p:spPr>
        <p:txBody>
          <a:bodyPr wrap="square" lIns="22860" tIns="22860" rIns="22860" bIns="22860" numCol="1" anchor="ctr">
            <a:no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sz="1800" b="0">
                <a:latin typeface="Calibri"/>
                <a:ea typeface="Calibri"/>
                <a:cs typeface="Calibri"/>
                <a:sym typeface="Calibri"/>
              </a:defRPr>
            </a:pPr>
            <a:endParaRPr kumimoji="0" sz="900" b="0" i="0" u="none" strike="noStrike" kern="1200" cap="none" spc="0" normalizeH="0" baseline="0" noProof="0">
              <a:ln>
                <a:noFill/>
              </a:ln>
              <a:solidFill>
                <a:srgbClr val="000000"/>
              </a:solidFill>
              <a:effectLst/>
              <a:uLnTx/>
              <a:uFillTx/>
              <a:latin typeface="Calibri"/>
              <a:cs typeface="Calibri"/>
              <a:sym typeface="Calibri"/>
            </a:endParaRPr>
          </a:p>
        </p:txBody>
      </p:sp>
      <p:sp>
        <p:nvSpPr>
          <p:cNvPr id="2709" name="gaoding-35"/>
          <p:cNvSpPr/>
          <p:nvPr/>
        </p:nvSpPr>
        <p:spPr>
          <a:xfrm>
            <a:off x="9510184" y="4026498"/>
            <a:ext cx="1846036" cy="1763122"/>
          </a:xfrm>
          <a:custGeom>
            <a:avLst/>
            <a:gdLst/>
            <a:ahLst/>
            <a:cxnLst>
              <a:cxn ang="0">
                <a:pos x="wd2" y="hd2"/>
              </a:cxn>
              <a:cxn ang="5400000">
                <a:pos x="wd2" y="hd2"/>
              </a:cxn>
              <a:cxn ang="10800000">
                <a:pos x="wd2" y="hd2"/>
              </a:cxn>
              <a:cxn ang="16200000">
                <a:pos x="wd2" y="hd2"/>
              </a:cxn>
            </a:cxnLst>
            <a:rect l="0" t="0" r="r" b="b"/>
            <a:pathLst>
              <a:path w="21600" h="21600" extrusionOk="0">
                <a:moveTo>
                  <a:pt x="2355" y="0"/>
                </a:moveTo>
                <a:lnTo>
                  <a:pt x="19245" y="0"/>
                </a:lnTo>
                <a:cubicBezTo>
                  <a:pt x="19583" y="0"/>
                  <a:pt x="19837" y="0"/>
                  <a:pt x="20053" y="13"/>
                </a:cubicBezTo>
                <a:cubicBezTo>
                  <a:pt x="20268" y="26"/>
                  <a:pt x="20445" y="52"/>
                  <a:pt x="20627" y="104"/>
                </a:cubicBezTo>
                <a:cubicBezTo>
                  <a:pt x="20826" y="170"/>
                  <a:pt x="21004" y="274"/>
                  <a:pt x="21151" y="406"/>
                </a:cubicBezTo>
                <a:cubicBezTo>
                  <a:pt x="21297" y="539"/>
                  <a:pt x="21412" y="700"/>
                  <a:pt x="21485" y="880"/>
                </a:cubicBezTo>
                <a:cubicBezTo>
                  <a:pt x="21542" y="1045"/>
                  <a:pt x="21571" y="1204"/>
                  <a:pt x="21586" y="1401"/>
                </a:cubicBezTo>
                <a:cubicBezTo>
                  <a:pt x="21600" y="1597"/>
                  <a:pt x="21600" y="1829"/>
                  <a:pt x="21600" y="2139"/>
                </a:cubicBezTo>
                <a:lnTo>
                  <a:pt x="21600" y="19470"/>
                </a:lnTo>
                <a:cubicBezTo>
                  <a:pt x="21600" y="19775"/>
                  <a:pt x="21600" y="20006"/>
                  <a:pt x="21586" y="20201"/>
                </a:cubicBezTo>
                <a:cubicBezTo>
                  <a:pt x="21571" y="20396"/>
                  <a:pt x="21542" y="20555"/>
                  <a:pt x="21485" y="20720"/>
                </a:cubicBezTo>
                <a:cubicBezTo>
                  <a:pt x="21412" y="20900"/>
                  <a:pt x="21297" y="21061"/>
                  <a:pt x="21151" y="21194"/>
                </a:cubicBezTo>
                <a:cubicBezTo>
                  <a:pt x="21004" y="21326"/>
                  <a:pt x="20826" y="21430"/>
                  <a:pt x="20627" y="21496"/>
                </a:cubicBezTo>
                <a:cubicBezTo>
                  <a:pt x="20445" y="21548"/>
                  <a:pt x="20268" y="21574"/>
                  <a:pt x="20051" y="21587"/>
                </a:cubicBezTo>
                <a:cubicBezTo>
                  <a:pt x="19834" y="21600"/>
                  <a:pt x="19577" y="21600"/>
                  <a:pt x="19235" y="21600"/>
                </a:cubicBezTo>
                <a:lnTo>
                  <a:pt x="2355" y="21600"/>
                </a:lnTo>
                <a:cubicBezTo>
                  <a:pt x="2017" y="21600"/>
                  <a:pt x="1763" y="21600"/>
                  <a:pt x="1547" y="21587"/>
                </a:cubicBezTo>
                <a:cubicBezTo>
                  <a:pt x="1332" y="21574"/>
                  <a:pt x="1155" y="21548"/>
                  <a:pt x="973" y="21496"/>
                </a:cubicBezTo>
                <a:cubicBezTo>
                  <a:pt x="774" y="21430"/>
                  <a:pt x="596" y="21326"/>
                  <a:pt x="449" y="21194"/>
                </a:cubicBezTo>
                <a:cubicBezTo>
                  <a:pt x="303" y="21061"/>
                  <a:pt x="188" y="20900"/>
                  <a:pt x="115" y="20720"/>
                </a:cubicBezTo>
                <a:cubicBezTo>
                  <a:pt x="58" y="20555"/>
                  <a:pt x="29" y="20396"/>
                  <a:pt x="14" y="20199"/>
                </a:cubicBezTo>
                <a:cubicBezTo>
                  <a:pt x="0" y="20003"/>
                  <a:pt x="0" y="19771"/>
                  <a:pt x="0" y="19461"/>
                </a:cubicBezTo>
                <a:lnTo>
                  <a:pt x="0" y="2130"/>
                </a:lnTo>
                <a:cubicBezTo>
                  <a:pt x="0" y="1825"/>
                  <a:pt x="0" y="1594"/>
                  <a:pt x="14" y="1399"/>
                </a:cubicBezTo>
                <a:cubicBezTo>
                  <a:pt x="29" y="1204"/>
                  <a:pt x="58" y="1045"/>
                  <a:pt x="115" y="880"/>
                </a:cubicBezTo>
                <a:cubicBezTo>
                  <a:pt x="188" y="700"/>
                  <a:pt x="303" y="539"/>
                  <a:pt x="449" y="406"/>
                </a:cubicBezTo>
                <a:cubicBezTo>
                  <a:pt x="596" y="274"/>
                  <a:pt x="774" y="170"/>
                  <a:pt x="973" y="104"/>
                </a:cubicBezTo>
                <a:cubicBezTo>
                  <a:pt x="1155" y="52"/>
                  <a:pt x="1332" y="26"/>
                  <a:pt x="1549" y="13"/>
                </a:cubicBezTo>
                <a:cubicBezTo>
                  <a:pt x="1766" y="0"/>
                  <a:pt x="2023" y="0"/>
                  <a:pt x="2365" y="0"/>
                </a:cubicBezTo>
                <a:lnTo>
                  <a:pt x="2355" y="0"/>
                </a:lnTo>
                <a:close/>
              </a:path>
            </a:pathLst>
          </a:custGeom>
          <a:solidFill>
            <a:schemeClr val="bg1"/>
          </a:solidFill>
          <a:ln w="25400" cap="flat">
            <a:solidFill>
              <a:schemeClr val="bg1">
                <a:lumMod val="85000"/>
              </a:schemeClr>
            </a:solidFill>
            <a:custDash>
              <a:ds d="200000" sp="200000"/>
            </a:custDash>
            <a:miter lim="400000"/>
          </a:ln>
          <a:effectLst/>
        </p:spPr>
        <p:txBody>
          <a:bodyPr wrap="square" lIns="0" tIns="0" rIns="0" bIns="0" numCol="1"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sz="3200" b="0">
                <a:solidFill>
                  <a:srgbClr val="F3F4F5"/>
                </a:solidFill>
                <a:latin typeface="+mn-lt"/>
                <a:ea typeface="+mn-ea"/>
                <a:cs typeface="+mn-cs"/>
                <a:sym typeface="Helvetica Neue Medium"/>
              </a:defRPr>
            </a:pPr>
            <a:endParaRPr kumimoji="0" sz="1600" b="0" i="0" u="none" strike="noStrike" kern="1200" cap="none" spc="0" normalizeH="0" baseline="0" noProof="0" dirty="0">
              <a:ln>
                <a:noFill/>
              </a:ln>
              <a:solidFill>
                <a:srgbClr val="F3F4F5"/>
              </a:solidFill>
              <a:effectLst/>
              <a:uLnTx/>
              <a:uFillTx/>
              <a:latin typeface="OPPOSans R" panose="00020600040101010101" pitchFamily="18" charset="-122"/>
              <a:ea typeface="微软雅黑"/>
              <a:cs typeface="+mn-cs"/>
              <a:sym typeface="Helvetica Neue Medium"/>
            </a:endParaRPr>
          </a:p>
        </p:txBody>
      </p:sp>
      <p:sp>
        <p:nvSpPr>
          <p:cNvPr id="2710" name="gaoding-36"/>
          <p:cNvSpPr/>
          <p:nvPr/>
        </p:nvSpPr>
        <p:spPr>
          <a:xfrm>
            <a:off x="9602941" y="4155043"/>
            <a:ext cx="1670624" cy="425818"/>
          </a:xfrm>
          <a:custGeom>
            <a:avLst/>
            <a:gdLst/>
            <a:ahLst/>
            <a:cxnLst>
              <a:cxn ang="0">
                <a:pos x="wd2" y="hd2"/>
              </a:cxn>
              <a:cxn ang="5400000">
                <a:pos x="wd2" y="hd2"/>
              </a:cxn>
              <a:cxn ang="10800000">
                <a:pos x="wd2" y="hd2"/>
              </a:cxn>
              <a:cxn ang="16200000">
                <a:pos x="wd2" y="hd2"/>
              </a:cxn>
            </a:cxnLst>
            <a:rect l="0" t="0" r="r" b="b"/>
            <a:pathLst>
              <a:path w="21600" h="21600" extrusionOk="0">
                <a:moveTo>
                  <a:pt x="1569" y="0"/>
                </a:moveTo>
                <a:lnTo>
                  <a:pt x="20031" y="0"/>
                </a:lnTo>
                <a:cubicBezTo>
                  <a:pt x="20256" y="0"/>
                  <a:pt x="20426" y="0"/>
                  <a:pt x="20569" y="38"/>
                </a:cubicBezTo>
                <a:cubicBezTo>
                  <a:pt x="20713" y="75"/>
                  <a:pt x="20831" y="151"/>
                  <a:pt x="20952" y="302"/>
                </a:cubicBezTo>
                <a:cubicBezTo>
                  <a:pt x="21085" y="491"/>
                  <a:pt x="21203" y="791"/>
                  <a:pt x="21301" y="1174"/>
                </a:cubicBezTo>
                <a:cubicBezTo>
                  <a:pt x="21398" y="1556"/>
                  <a:pt x="21475" y="2022"/>
                  <a:pt x="21523" y="2543"/>
                </a:cubicBezTo>
                <a:cubicBezTo>
                  <a:pt x="21562" y="3019"/>
                  <a:pt x="21581" y="3480"/>
                  <a:pt x="21590" y="4047"/>
                </a:cubicBezTo>
                <a:cubicBezTo>
                  <a:pt x="21600" y="4614"/>
                  <a:pt x="21600" y="5286"/>
                  <a:pt x="21600" y="6182"/>
                </a:cubicBezTo>
                <a:lnTo>
                  <a:pt x="21600" y="15445"/>
                </a:lnTo>
                <a:cubicBezTo>
                  <a:pt x="21600" y="16327"/>
                  <a:pt x="21600" y="16992"/>
                  <a:pt x="21590" y="17556"/>
                </a:cubicBezTo>
                <a:cubicBezTo>
                  <a:pt x="21581" y="18120"/>
                  <a:pt x="21562" y="18581"/>
                  <a:pt x="21523" y="19057"/>
                </a:cubicBezTo>
                <a:cubicBezTo>
                  <a:pt x="21475" y="19578"/>
                  <a:pt x="21398" y="20044"/>
                  <a:pt x="21301" y="20426"/>
                </a:cubicBezTo>
                <a:cubicBezTo>
                  <a:pt x="21203" y="20809"/>
                  <a:pt x="21085" y="21109"/>
                  <a:pt x="20952" y="21298"/>
                </a:cubicBezTo>
                <a:cubicBezTo>
                  <a:pt x="20831" y="21449"/>
                  <a:pt x="20713" y="21525"/>
                  <a:pt x="20568" y="21562"/>
                </a:cubicBezTo>
                <a:cubicBezTo>
                  <a:pt x="20424" y="21600"/>
                  <a:pt x="20253" y="21600"/>
                  <a:pt x="20024" y="21600"/>
                </a:cubicBezTo>
                <a:lnTo>
                  <a:pt x="1569" y="21600"/>
                </a:lnTo>
                <a:cubicBezTo>
                  <a:pt x="1344" y="21600"/>
                  <a:pt x="1174" y="21600"/>
                  <a:pt x="1031" y="21562"/>
                </a:cubicBezTo>
                <a:cubicBezTo>
                  <a:pt x="887" y="21525"/>
                  <a:pt x="769" y="21449"/>
                  <a:pt x="648" y="21298"/>
                </a:cubicBezTo>
                <a:cubicBezTo>
                  <a:pt x="515" y="21109"/>
                  <a:pt x="397" y="20809"/>
                  <a:pt x="299" y="20426"/>
                </a:cubicBezTo>
                <a:cubicBezTo>
                  <a:pt x="202" y="20044"/>
                  <a:pt x="125" y="19578"/>
                  <a:pt x="77" y="19057"/>
                </a:cubicBezTo>
                <a:cubicBezTo>
                  <a:pt x="38" y="18581"/>
                  <a:pt x="19" y="18120"/>
                  <a:pt x="10" y="17553"/>
                </a:cubicBezTo>
                <a:cubicBezTo>
                  <a:pt x="0" y="16986"/>
                  <a:pt x="0" y="16314"/>
                  <a:pt x="0" y="15418"/>
                </a:cubicBezTo>
                <a:lnTo>
                  <a:pt x="0" y="6155"/>
                </a:lnTo>
                <a:cubicBezTo>
                  <a:pt x="0" y="5273"/>
                  <a:pt x="0" y="4608"/>
                  <a:pt x="10" y="4044"/>
                </a:cubicBezTo>
                <a:cubicBezTo>
                  <a:pt x="19" y="3480"/>
                  <a:pt x="38" y="3019"/>
                  <a:pt x="77" y="2543"/>
                </a:cubicBezTo>
                <a:cubicBezTo>
                  <a:pt x="125" y="2022"/>
                  <a:pt x="202" y="1556"/>
                  <a:pt x="299" y="1174"/>
                </a:cubicBezTo>
                <a:cubicBezTo>
                  <a:pt x="397" y="791"/>
                  <a:pt x="515" y="491"/>
                  <a:pt x="648" y="302"/>
                </a:cubicBezTo>
                <a:cubicBezTo>
                  <a:pt x="769" y="151"/>
                  <a:pt x="887" y="75"/>
                  <a:pt x="1032" y="38"/>
                </a:cubicBezTo>
                <a:cubicBezTo>
                  <a:pt x="1176" y="0"/>
                  <a:pt x="1347" y="0"/>
                  <a:pt x="1576" y="0"/>
                </a:cubicBezTo>
                <a:lnTo>
                  <a:pt x="1569" y="0"/>
                </a:lnTo>
                <a:close/>
              </a:path>
            </a:pathLst>
          </a:custGeom>
          <a:solidFill>
            <a:srgbClr val="F5F4F5"/>
          </a:solidFill>
          <a:ln w="12700" cap="flat">
            <a:noFill/>
            <a:miter lim="400000"/>
          </a:ln>
          <a:effectLst/>
        </p:spPr>
        <p:txBody>
          <a:bodyPr wrap="square" lIns="0" tIns="0" rIns="0" bIns="0" numCol="1"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sz="3200" b="0">
                <a:solidFill>
                  <a:srgbClr val="F3F4F5"/>
                </a:solidFill>
                <a:latin typeface="+mn-lt"/>
                <a:ea typeface="+mn-ea"/>
                <a:cs typeface="+mn-cs"/>
                <a:sym typeface="Helvetica Neue Medium"/>
              </a:defRPr>
            </a:pPr>
            <a:endParaRPr kumimoji="0" sz="1600" b="0" i="0" u="none" strike="noStrike" kern="1200" cap="none" spc="0" normalizeH="0" baseline="0" noProof="0" dirty="0">
              <a:ln>
                <a:noFill/>
              </a:ln>
              <a:solidFill>
                <a:srgbClr val="F3F4F5"/>
              </a:solidFill>
              <a:effectLst/>
              <a:uLnTx/>
              <a:uFillTx/>
              <a:latin typeface="OPPOSans R" panose="00020600040101010101" pitchFamily="18" charset="-122"/>
              <a:ea typeface="微软雅黑"/>
              <a:cs typeface="+mn-cs"/>
              <a:sym typeface="Helvetica Neue Medium"/>
            </a:endParaRPr>
          </a:p>
        </p:txBody>
      </p:sp>
      <p:sp>
        <p:nvSpPr>
          <p:cNvPr id="2713" name="gaoding-37"/>
          <p:cNvSpPr/>
          <p:nvPr/>
        </p:nvSpPr>
        <p:spPr>
          <a:xfrm>
            <a:off x="9602941" y="4709825"/>
            <a:ext cx="1670624" cy="425818"/>
          </a:xfrm>
          <a:custGeom>
            <a:avLst/>
            <a:gdLst/>
            <a:ahLst/>
            <a:cxnLst>
              <a:cxn ang="0">
                <a:pos x="wd2" y="hd2"/>
              </a:cxn>
              <a:cxn ang="5400000">
                <a:pos x="wd2" y="hd2"/>
              </a:cxn>
              <a:cxn ang="10800000">
                <a:pos x="wd2" y="hd2"/>
              </a:cxn>
              <a:cxn ang="16200000">
                <a:pos x="wd2" y="hd2"/>
              </a:cxn>
            </a:cxnLst>
            <a:rect l="0" t="0" r="r" b="b"/>
            <a:pathLst>
              <a:path w="21600" h="21600" extrusionOk="0">
                <a:moveTo>
                  <a:pt x="1569" y="0"/>
                </a:moveTo>
                <a:lnTo>
                  <a:pt x="20031" y="0"/>
                </a:lnTo>
                <a:cubicBezTo>
                  <a:pt x="20256" y="0"/>
                  <a:pt x="20426" y="0"/>
                  <a:pt x="20569" y="38"/>
                </a:cubicBezTo>
                <a:cubicBezTo>
                  <a:pt x="20713" y="75"/>
                  <a:pt x="20831" y="151"/>
                  <a:pt x="20952" y="302"/>
                </a:cubicBezTo>
                <a:cubicBezTo>
                  <a:pt x="21085" y="491"/>
                  <a:pt x="21203" y="791"/>
                  <a:pt x="21301" y="1174"/>
                </a:cubicBezTo>
                <a:cubicBezTo>
                  <a:pt x="21398" y="1556"/>
                  <a:pt x="21475" y="2022"/>
                  <a:pt x="21523" y="2543"/>
                </a:cubicBezTo>
                <a:cubicBezTo>
                  <a:pt x="21562" y="3019"/>
                  <a:pt x="21581" y="3480"/>
                  <a:pt x="21590" y="4047"/>
                </a:cubicBezTo>
                <a:cubicBezTo>
                  <a:pt x="21600" y="4614"/>
                  <a:pt x="21600" y="5286"/>
                  <a:pt x="21600" y="6182"/>
                </a:cubicBezTo>
                <a:lnTo>
                  <a:pt x="21600" y="15445"/>
                </a:lnTo>
                <a:cubicBezTo>
                  <a:pt x="21600" y="16327"/>
                  <a:pt x="21600" y="16992"/>
                  <a:pt x="21590" y="17556"/>
                </a:cubicBezTo>
                <a:cubicBezTo>
                  <a:pt x="21581" y="18120"/>
                  <a:pt x="21562" y="18581"/>
                  <a:pt x="21523" y="19057"/>
                </a:cubicBezTo>
                <a:cubicBezTo>
                  <a:pt x="21475" y="19578"/>
                  <a:pt x="21398" y="20044"/>
                  <a:pt x="21301" y="20426"/>
                </a:cubicBezTo>
                <a:cubicBezTo>
                  <a:pt x="21203" y="20809"/>
                  <a:pt x="21085" y="21109"/>
                  <a:pt x="20952" y="21298"/>
                </a:cubicBezTo>
                <a:cubicBezTo>
                  <a:pt x="20831" y="21449"/>
                  <a:pt x="20713" y="21525"/>
                  <a:pt x="20568" y="21562"/>
                </a:cubicBezTo>
                <a:cubicBezTo>
                  <a:pt x="20424" y="21600"/>
                  <a:pt x="20253" y="21600"/>
                  <a:pt x="20024" y="21600"/>
                </a:cubicBezTo>
                <a:lnTo>
                  <a:pt x="1569" y="21600"/>
                </a:lnTo>
                <a:cubicBezTo>
                  <a:pt x="1344" y="21600"/>
                  <a:pt x="1174" y="21600"/>
                  <a:pt x="1031" y="21562"/>
                </a:cubicBezTo>
                <a:cubicBezTo>
                  <a:pt x="887" y="21525"/>
                  <a:pt x="769" y="21449"/>
                  <a:pt x="648" y="21298"/>
                </a:cubicBezTo>
                <a:cubicBezTo>
                  <a:pt x="515" y="21109"/>
                  <a:pt x="397" y="20809"/>
                  <a:pt x="299" y="20426"/>
                </a:cubicBezTo>
                <a:cubicBezTo>
                  <a:pt x="202" y="20044"/>
                  <a:pt x="125" y="19578"/>
                  <a:pt x="77" y="19057"/>
                </a:cubicBezTo>
                <a:cubicBezTo>
                  <a:pt x="38" y="18581"/>
                  <a:pt x="19" y="18120"/>
                  <a:pt x="10" y="17553"/>
                </a:cubicBezTo>
                <a:cubicBezTo>
                  <a:pt x="0" y="16986"/>
                  <a:pt x="0" y="16314"/>
                  <a:pt x="0" y="15418"/>
                </a:cubicBezTo>
                <a:lnTo>
                  <a:pt x="0" y="6155"/>
                </a:lnTo>
                <a:cubicBezTo>
                  <a:pt x="0" y="5273"/>
                  <a:pt x="0" y="4608"/>
                  <a:pt x="10" y="4044"/>
                </a:cubicBezTo>
                <a:cubicBezTo>
                  <a:pt x="19" y="3480"/>
                  <a:pt x="38" y="3019"/>
                  <a:pt x="77" y="2543"/>
                </a:cubicBezTo>
                <a:cubicBezTo>
                  <a:pt x="125" y="2022"/>
                  <a:pt x="202" y="1556"/>
                  <a:pt x="299" y="1174"/>
                </a:cubicBezTo>
                <a:cubicBezTo>
                  <a:pt x="397" y="791"/>
                  <a:pt x="515" y="491"/>
                  <a:pt x="648" y="302"/>
                </a:cubicBezTo>
                <a:cubicBezTo>
                  <a:pt x="769" y="151"/>
                  <a:pt x="887" y="75"/>
                  <a:pt x="1032" y="38"/>
                </a:cubicBezTo>
                <a:cubicBezTo>
                  <a:pt x="1176" y="0"/>
                  <a:pt x="1347" y="0"/>
                  <a:pt x="1576" y="0"/>
                </a:cubicBezTo>
                <a:lnTo>
                  <a:pt x="1569" y="0"/>
                </a:lnTo>
                <a:close/>
              </a:path>
            </a:pathLst>
          </a:custGeom>
          <a:solidFill>
            <a:srgbClr val="F5F4F5"/>
          </a:solidFill>
          <a:ln w="12700" cap="flat">
            <a:noFill/>
            <a:miter lim="400000"/>
          </a:ln>
          <a:effectLst/>
        </p:spPr>
        <p:txBody>
          <a:bodyPr wrap="square" lIns="0" tIns="0" rIns="0" bIns="0" numCol="1"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sz="3200" b="0">
                <a:solidFill>
                  <a:srgbClr val="F3F4F5"/>
                </a:solidFill>
                <a:latin typeface="+mn-lt"/>
                <a:ea typeface="+mn-ea"/>
                <a:cs typeface="+mn-cs"/>
                <a:sym typeface="Helvetica Neue Medium"/>
              </a:defRPr>
            </a:pPr>
            <a:endParaRPr kumimoji="0" sz="1600" b="0" i="0" u="none" strike="noStrike" kern="1200" cap="none" spc="0" normalizeH="0" baseline="0" noProof="0" dirty="0">
              <a:ln>
                <a:noFill/>
              </a:ln>
              <a:solidFill>
                <a:srgbClr val="F3F4F5"/>
              </a:solidFill>
              <a:effectLst/>
              <a:uLnTx/>
              <a:uFillTx/>
              <a:latin typeface="OPPOSans R" panose="00020600040101010101" pitchFamily="18" charset="-122"/>
              <a:ea typeface="微软雅黑"/>
              <a:cs typeface="+mn-cs"/>
              <a:sym typeface="Helvetica Neue Medium"/>
            </a:endParaRPr>
          </a:p>
        </p:txBody>
      </p:sp>
      <p:sp>
        <p:nvSpPr>
          <p:cNvPr id="2716" name="gaoding-38"/>
          <p:cNvSpPr/>
          <p:nvPr/>
        </p:nvSpPr>
        <p:spPr>
          <a:xfrm>
            <a:off x="9602941" y="5264608"/>
            <a:ext cx="1670624" cy="425818"/>
          </a:xfrm>
          <a:custGeom>
            <a:avLst/>
            <a:gdLst/>
            <a:ahLst/>
            <a:cxnLst>
              <a:cxn ang="0">
                <a:pos x="wd2" y="hd2"/>
              </a:cxn>
              <a:cxn ang="5400000">
                <a:pos x="wd2" y="hd2"/>
              </a:cxn>
              <a:cxn ang="10800000">
                <a:pos x="wd2" y="hd2"/>
              </a:cxn>
              <a:cxn ang="16200000">
                <a:pos x="wd2" y="hd2"/>
              </a:cxn>
            </a:cxnLst>
            <a:rect l="0" t="0" r="r" b="b"/>
            <a:pathLst>
              <a:path w="21600" h="21600" extrusionOk="0">
                <a:moveTo>
                  <a:pt x="1569" y="0"/>
                </a:moveTo>
                <a:lnTo>
                  <a:pt x="20031" y="0"/>
                </a:lnTo>
                <a:cubicBezTo>
                  <a:pt x="20256" y="0"/>
                  <a:pt x="20426" y="0"/>
                  <a:pt x="20569" y="38"/>
                </a:cubicBezTo>
                <a:cubicBezTo>
                  <a:pt x="20713" y="75"/>
                  <a:pt x="20831" y="151"/>
                  <a:pt x="20952" y="302"/>
                </a:cubicBezTo>
                <a:cubicBezTo>
                  <a:pt x="21085" y="491"/>
                  <a:pt x="21203" y="791"/>
                  <a:pt x="21301" y="1174"/>
                </a:cubicBezTo>
                <a:cubicBezTo>
                  <a:pt x="21398" y="1556"/>
                  <a:pt x="21475" y="2022"/>
                  <a:pt x="21523" y="2543"/>
                </a:cubicBezTo>
                <a:cubicBezTo>
                  <a:pt x="21562" y="3019"/>
                  <a:pt x="21581" y="3480"/>
                  <a:pt x="21590" y="4047"/>
                </a:cubicBezTo>
                <a:cubicBezTo>
                  <a:pt x="21600" y="4614"/>
                  <a:pt x="21600" y="5286"/>
                  <a:pt x="21600" y="6182"/>
                </a:cubicBezTo>
                <a:lnTo>
                  <a:pt x="21600" y="15445"/>
                </a:lnTo>
                <a:cubicBezTo>
                  <a:pt x="21600" y="16327"/>
                  <a:pt x="21600" y="16992"/>
                  <a:pt x="21590" y="17556"/>
                </a:cubicBezTo>
                <a:cubicBezTo>
                  <a:pt x="21581" y="18120"/>
                  <a:pt x="21562" y="18581"/>
                  <a:pt x="21523" y="19057"/>
                </a:cubicBezTo>
                <a:cubicBezTo>
                  <a:pt x="21475" y="19578"/>
                  <a:pt x="21398" y="20044"/>
                  <a:pt x="21301" y="20426"/>
                </a:cubicBezTo>
                <a:cubicBezTo>
                  <a:pt x="21203" y="20809"/>
                  <a:pt x="21085" y="21109"/>
                  <a:pt x="20952" y="21298"/>
                </a:cubicBezTo>
                <a:cubicBezTo>
                  <a:pt x="20831" y="21449"/>
                  <a:pt x="20713" y="21525"/>
                  <a:pt x="20568" y="21562"/>
                </a:cubicBezTo>
                <a:cubicBezTo>
                  <a:pt x="20424" y="21600"/>
                  <a:pt x="20253" y="21600"/>
                  <a:pt x="20024" y="21600"/>
                </a:cubicBezTo>
                <a:lnTo>
                  <a:pt x="1569" y="21600"/>
                </a:lnTo>
                <a:cubicBezTo>
                  <a:pt x="1344" y="21600"/>
                  <a:pt x="1174" y="21600"/>
                  <a:pt x="1031" y="21562"/>
                </a:cubicBezTo>
                <a:cubicBezTo>
                  <a:pt x="887" y="21525"/>
                  <a:pt x="769" y="21449"/>
                  <a:pt x="648" y="21298"/>
                </a:cubicBezTo>
                <a:cubicBezTo>
                  <a:pt x="515" y="21109"/>
                  <a:pt x="397" y="20809"/>
                  <a:pt x="299" y="20426"/>
                </a:cubicBezTo>
                <a:cubicBezTo>
                  <a:pt x="202" y="20044"/>
                  <a:pt x="125" y="19578"/>
                  <a:pt x="77" y="19057"/>
                </a:cubicBezTo>
                <a:cubicBezTo>
                  <a:pt x="38" y="18581"/>
                  <a:pt x="19" y="18120"/>
                  <a:pt x="10" y="17553"/>
                </a:cubicBezTo>
                <a:cubicBezTo>
                  <a:pt x="0" y="16986"/>
                  <a:pt x="0" y="16314"/>
                  <a:pt x="0" y="15418"/>
                </a:cubicBezTo>
                <a:lnTo>
                  <a:pt x="0" y="6155"/>
                </a:lnTo>
                <a:cubicBezTo>
                  <a:pt x="0" y="5273"/>
                  <a:pt x="0" y="4608"/>
                  <a:pt x="10" y="4044"/>
                </a:cubicBezTo>
                <a:cubicBezTo>
                  <a:pt x="19" y="3480"/>
                  <a:pt x="38" y="3019"/>
                  <a:pt x="77" y="2543"/>
                </a:cubicBezTo>
                <a:cubicBezTo>
                  <a:pt x="125" y="2022"/>
                  <a:pt x="202" y="1556"/>
                  <a:pt x="299" y="1174"/>
                </a:cubicBezTo>
                <a:cubicBezTo>
                  <a:pt x="397" y="791"/>
                  <a:pt x="515" y="491"/>
                  <a:pt x="648" y="302"/>
                </a:cubicBezTo>
                <a:cubicBezTo>
                  <a:pt x="769" y="151"/>
                  <a:pt x="887" y="75"/>
                  <a:pt x="1032" y="38"/>
                </a:cubicBezTo>
                <a:cubicBezTo>
                  <a:pt x="1176" y="0"/>
                  <a:pt x="1347" y="0"/>
                  <a:pt x="1576" y="0"/>
                </a:cubicBezTo>
                <a:lnTo>
                  <a:pt x="1569" y="0"/>
                </a:lnTo>
                <a:close/>
              </a:path>
            </a:pathLst>
          </a:custGeom>
          <a:solidFill>
            <a:srgbClr val="F5F4F5"/>
          </a:solidFill>
          <a:ln w="12700" cap="flat">
            <a:noFill/>
            <a:miter lim="400000"/>
          </a:ln>
          <a:effectLst/>
        </p:spPr>
        <p:txBody>
          <a:bodyPr wrap="square" lIns="0" tIns="0" rIns="0" bIns="0" numCol="1"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sz="3200" b="0">
                <a:solidFill>
                  <a:srgbClr val="F3F4F5"/>
                </a:solidFill>
                <a:latin typeface="+mn-lt"/>
                <a:ea typeface="+mn-ea"/>
                <a:cs typeface="+mn-cs"/>
                <a:sym typeface="Helvetica Neue Medium"/>
              </a:defRPr>
            </a:pPr>
            <a:endParaRPr kumimoji="0" sz="1600" b="0" i="0" u="none" strike="noStrike" kern="1200" cap="none" spc="0" normalizeH="0" baseline="0" noProof="0" dirty="0">
              <a:ln>
                <a:noFill/>
              </a:ln>
              <a:solidFill>
                <a:srgbClr val="F3F4F5"/>
              </a:solidFill>
              <a:effectLst/>
              <a:uLnTx/>
              <a:uFillTx/>
              <a:latin typeface="OPPOSans R" panose="00020600040101010101" pitchFamily="18" charset="-122"/>
              <a:ea typeface="微软雅黑"/>
              <a:cs typeface="+mn-cs"/>
              <a:sym typeface="Helvetica Neue Medium"/>
            </a:endParaRPr>
          </a:p>
        </p:txBody>
      </p:sp>
      <p:sp>
        <p:nvSpPr>
          <p:cNvPr id="2720" name="gaoding-39"/>
          <p:cNvSpPr/>
          <p:nvPr/>
        </p:nvSpPr>
        <p:spPr>
          <a:xfrm>
            <a:off x="9602941" y="3140600"/>
            <a:ext cx="1670624" cy="425818"/>
          </a:xfrm>
          <a:custGeom>
            <a:avLst/>
            <a:gdLst/>
            <a:ahLst/>
            <a:cxnLst>
              <a:cxn ang="0">
                <a:pos x="wd2" y="hd2"/>
              </a:cxn>
              <a:cxn ang="5400000">
                <a:pos x="wd2" y="hd2"/>
              </a:cxn>
              <a:cxn ang="10800000">
                <a:pos x="wd2" y="hd2"/>
              </a:cxn>
              <a:cxn ang="16200000">
                <a:pos x="wd2" y="hd2"/>
              </a:cxn>
            </a:cxnLst>
            <a:rect l="0" t="0" r="r" b="b"/>
            <a:pathLst>
              <a:path w="21600" h="21600" extrusionOk="0">
                <a:moveTo>
                  <a:pt x="1569" y="0"/>
                </a:moveTo>
                <a:lnTo>
                  <a:pt x="20031" y="0"/>
                </a:lnTo>
                <a:cubicBezTo>
                  <a:pt x="20256" y="0"/>
                  <a:pt x="20426" y="0"/>
                  <a:pt x="20569" y="38"/>
                </a:cubicBezTo>
                <a:cubicBezTo>
                  <a:pt x="20713" y="75"/>
                  <a:pt x="20831" y="151"/>
                  <a:pt x="20952" y="302"/>
                </a:cubicBezTo>
                <a:cubicBezTo>
                  <a:pt x="21085" y="491"/>
                  <a:pt x="21203" y="791"/>
                  <a:pt x="21301" y="1174"/>
                </a:cubicBezTo>
                <a:cubicBezTo>
                  <a:pt x="21398" y="1556"/>
                  <a:pt x="21475" y="2022"/>
                  <a:pt x="21523" y="2543"/>
                </a:cubicBezTo>
                <a:cubicBezTo>
                  <a:pt x="21562" y="3019"/>
                  <a:pt x="21581" y="3480"/>
                  <a:pt x="21590" y="4047"/>
                </a:cubicBezTo>
                <a:cubicBezTo>
                  <a:pt x="21600" y="4614"/>
                  <a:pt x="21600" y="5286"/>
                  <a:pt x="21600" y="6182"/>
                </a:cubicBezTo>
                <a:lnTo>
                  <a:pt x="21600" y="15445"/>
                </a:lnTo>
                <a:cubicBezTo>
                  <a:pt x="21600" y="16327"/>
                  <a:pt x="21600" y="16992"/>
                  <a:pt x="21590" y="17556"/>
                </a:cubicBezTo>
                <a:cubicBezTo>
                  <a:pt x="21581" y="18120"/>
                  <a:pt x="21562" y="18581"/>
                  <a:pt x="21523" y="19057"/>
                </a:cubicBezTo>
                <a:cubicBezTo>
                  <a:pt x="21475" y="19578"/>
                  <a:pt x="21398" y="20044"/>
                  <a:pt x="21301" y="20426"/>
                </a:cubicBezTo>
                <a:cubicBezTo>
                  <a:pt x="21203" y="20809"/>
                  <a:pt x="21085" y="21109"/>
                  <a:pt x="20952" y="21298"/>
                </a:cubicBezTo>
                <a:cubicBezTo>
                  <a:pt x="20831" y="21449"/>
                  <a:pt x="20713" y="21525"/>
                  <a:pt x="20568" y="21562"/>
                </a:cubicBezTo>
                <a:cubicBezTo>
                  <a:pt x="20424" y="21600"/>
                  <a:pt x="20253" y="21600"/>
                  <a:pt x="20024" y="21600"/>
                </a:cubicBezTo>
                <a:lnTo>
                  <a:pt x="1569" y="21600"/>
                </a:lnTo>
                <a:cubicBezTo>
                  <a:pt x="1344" y="21600"/>
                  <a:pt x="1174" y="21600"/>
                  <a:pt x="1031" y="21562"/>
                </a:cubicBezTo>
                <a:cubicBezTo>
                  <a:pt x="887" y="21525"/>
                  <a:pt x="769" y="21449"/>
                  <a:pt x="648" y="21298"/>
                </a:cubicBezTo>
                <a:cubicBezTo>
                  <a:pt x="515" y="21109"/>
                  <a:pt x="397" y="20809"/>
                  <a:pt x="299" y="20426"/>
                </a:cubicBezTo>
                <a:cubicBezTo>
                  <a:pt x="202" y="20044"/>
                  <a:pt x="125" y="19578"/>
                  <a:pt x="77" y="19057"/>
                </a:cubicBezTo>
                <a:cubicBezTo>
                  <a:pt x="38" y="18581"/>
                  <a:pt x="19" y="18120"/>
                  <a:pt x="10" y="17553"/>
                </a:cubicBezTo>
                <a:cubicBezTo>
                  <a:pt x="0" y="16986"/>
                  <a:pt x="0" y="16314"/>
                  <a:pt x="0" y="15418"/>
                </a:cubicBezTo>
                <a:lnTo>
                  <a:pt x="0" y="6155"/>
                </a:lnTo>
                <a:cubicBezTo>
                  <a:pt x="0" y="5273"/>
                  <a:pt x="0" y="4608"/>
                  <a:pt x="10" y="4044"/>
                </a:cubicBezTo>
                <a:cubicBezTo>
                  <a:pt x="19" y="3480"/>
                  <a:pt x="38" y="3019"/>
                  <a:pt x="77" y="2543"/>
                </a:cubicBezTo>
                <a:cubicBezTo>
                  <a:pt x="125" y="2022"/>
                  <a:pt x="202" y="1556"/>
                  <a:pt x="299" y="1174"/>
                </a:cubicBezTo>
                <a:cubicBezTo>
                  <a:pt x="397" y="791"/>
                  <a:pt x="515" y="491"/>
                  <a:pt x="648" y="302"/>
                </a:cubicBezTo>
                <a:cubicBezTo>
                  <a:pt x="769" y="151"/>
                  <a:pt x="887" y="75"/>
                  <a:pt x="1032" y="38"/>
                </a:cubicBezTo>
                <a:cubicBezTo>
                  <a:pt x="1176" y="0"/>
                  <a:pt x="1347" y="0"/>
                  <a:pt x="1576" y="0"/>
                </a:cubicBezTo>
                <a:lnTo>
                  <a:pt x="1569" y="0"/>
                </a:lnTo>
                <a:close/>
              </a:path>
            </a:pathLst>
          </a:custGeom>
          <a:gradFill flip="none" rotWithShape="1">
            <a:gsLst>
              <a:gs pos="1000">
                <a:schemeClr val="tx1">
                  <a:lumMod val="50000"/>
                  <a:lumOff val="50000"/>
                </a:schemeClr>
              </a:gs>
              <a:gs pos="100000">
                <a:schemeClr val="bg2">
                  <a:lumMod val="75000"/>
                </a:schemeClr>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5720" tIns="22860" rIns="45720" bIns="228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FFFFFF"/>
              </a:solidFill>
              <a:effectLst/>
              <a:uLnTx/>
              <a:uFillTx/>
              <a:latin typeface="OPPOSans R" panose="00020600040101010101" pitchFamily="18" charset="-122"/>
              <a:ea typeface="微软雅黑"/>
              <a:cs typeface="+mn-cs"/>
            </a:endParaRPr>
          </a:p>
        </p:txBody>
      </p:sp>
      <p:sp>
        <p:nvSpPr>
          <p:cNvPr id="103" name="gaoding-40">
            <a:extLst>
              <a:ext uri="{FF2B5EF4-FFF2-40B4-BE49-F238E27FC236}">
                <a16:creationId xmlns:a16="http://schemas.microsoft.com/office/drawing/2014/main" id="{83F4A11F-CBD0-42BD-9116-4AEBFCC6EE99}"/>
              </a:ext>
            </a:extLst>
          </p:cNvPr>
          <p:cNvSpPr/>
          <p:nvPr/>
        </p:nvSpPr>
        <p:spPr>
          <a:xfrm>
            <a:off x="9759234" y="3269338"/>
            <a:ext cx="166612" cy="155643"/>
          </a:xfrm>
          <a:custGeom>
            <a:avLst/>
            <a:gdLst>
              <a:gd name="connsiteX0" fmla="*/ 27242 w 457201"/>
              <a:gd name="connsiteY0" fmla="*/ 411106 h 427101"/>
              <a:gd name="connsiteX1" fmla="*/ 25337 w 457201"/>
              <a:gd name="connsiteY1" fmla="*/ 423489 h 427101"/>
              <a:gd name="connsiteX2" fmla="*/ 32481 w 457201"/>
              <a:gd name="connsiteY2" fmla="*/ 427108 h 427101"/>
              <a:gd name="connsiteX3" fmla="*/ 426911 w 457201"/>
              <a:gd name="connsiteY3" fmla="*/ 427108 h 427101"/>
              <a:gd name="connsiteX4" fmla="*/ 435770 w 457201"/>
              <a:gd name="connsiteY4" fmla="*/ 418250 h 427101"/>
              <a:gd name="connsiteX5" fmla="*/ 432150 w 457201"/>
              <a:gd name="connsiteY5" fmla="*/ 411106 h 427101"/>
              <a:gd name="connsiteX6" fmla="*/ 234982 w 457201"/>
              <a:gd name="connsiteY6" fmla="*/ 265755 h 427101"/>
              <a:gd name="connsiteX7" fmla="*/ 224505 w 457201"/>
              <a:gd name="connsiteY7" fmla="*/ 265755 h 427101"/>
              <a:gd name="connsiteX8" fmla="*/ 314517 w 457201"/>
              <a:gd name="connsiteY8" fmla="*/ 47251 h 427101"/>
              <a:gd name="connsiteX9" fmla="*/ 256509 w 457201"/>
              <a:gd name="connsiteY9" fmla="*/ 9151 h 427101"/>
              <a:gd name="connsiteX10" fmla="*/ 194025 w 457201"/>
              <a:gd name="connsiteY10" fmla="*/ 9723 h 427101"/>
              <a:gd name="connsiteX11" fmla="*/ 5049 w 457201"/>
              <a:gd name="connsiteY11" fmla="*/ 138024 h 427101"/>
              <a:gd name="connsiteX12" fmla="*/ 1144 w 457201"/>
              <a:gd name="connsiteY12" fmla="*/ 145359 h 427101"/>
              <a:gd name="connsiteX13" fmla="*/ 1144 w 457201"/>
              <a:gd name="connsiteY13" fmla="*/ 380626 h 427101"/>
              <a:gd name="connsiteX14" fmla="*/ 9812 w 457201"/>
              <a:gd name="connsiteY14" fmla="*/ 389484 h 427101"/>
              <a:gd name="connsiteX15" fmla="*/ 15241 w 457201"/>
              <a:gd name="connsiteY15" fmla="*/ 387675 h 427101"/>
              <a:gd name="connsiteX16" fmla="*/ 202502 w 457201"/>
              <a:gd name="connsiteY16" fmla="*/ 249753 h 427101"/>
              <a:gd name="connsiteX17" fmla="*/ 204274 w 457201"/>
              <a:gd name="connsiteY17" fmla="*/ 237215 h 427101"/>
              <a:gd name="connsiteX18" fmla="*/ 201836 w 457201"/>
              <a:gd name="connsiteY18" fmla="*/ 234989 h 427101"/>
              <a:gd name="connsiteX19" fmla="*/ 74296 w 457201"/>
              <a:gd name="connsiteY19" fmla="*/ 157074 h 427101"/>
              <a:gd name="connsiteX20" fmla="*/ 71448 w 457201"/>
              <a:gd name="connsiteY20" fmla="*/ 144876 h 427101"/>
              <a:gd name="connsiteX21" fmla="*/ 78868 w 457201"/>
              <a:gd name="connsiteY21" fmla="*/ 140691 h 427101"/>
              <a:gd name="connsiteX22" fmla="*/ 384334 w 457201"/>
              <a:gd name="connsiteY22" fmla="*/ 140691 h 427101"/>
              <a:gd name="connsiteX23" fmla="*/ 393155 w 457201"/>
              <a:gd name="connsiteY23" fmla="*/ 149590 h 427101"/>
              <a:gd name="connsiteX24" fmla="*/ 388811 w 457201"/>
              <a:gd name="connsiteY24" fmla="*/ 157170 h 427101"/>
              <a:gd name="connsiteX25" fmla="*/ 257080 w 457201"/>
              <a:gd name="connsiteY25" fmla="*/ 234417 h 427101"/>
              <a:gd name="connsiteX26" fmla="*/ 253937 w 457201"/>
              <a:gd name="connsiteY26" fmla="*/ 246546 h 427101"/>
              <a:gd name="connsiteX27" fmla="*/ 256318 w 457201"/>
              <a:gd name="connsiteY27" fmla="*/ 249181 h 427101"/>
              <a:gd name="connsiteX28" fmla="*/ 444247 w 457201"/>
              <a:gd name="connsiteY28" fmla="*/ 388437 h 427101"/>
              <a:gd name="connsiteX29" fmla="*/ 456534 w 457201"/>
              <a:gd name="connsiteY29" fmla="*/ 386817 h 427101"/>
              <a:gd name="connsiteX30" fmla="*/ 458344 w 457201"/>
              <a:gd name="connsiteY30" fmla="*/ 381388 h 427101"/>
              <a:gd name="connsiteX31" fmla="*/ 458344 w 457201"/>
              <a:gd name="connsiteY31" fmla="*/ 145740 h 427101"/>
              <a:gd name="connsiteX32" fmla="*/ 454343 w 457201"/>
              <a:gd name="connsiteY32" fmla="*/ 138405 h 4271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457201" h="427101">
                <a:moveTo>
                  <a:pt x="27242" y="411106"/>
                </a:moveTo>
                <a:cubicBezTo>
                  <a:pt x="23299" y="414002"/>
                  <a:pt x="22442" y="419545"/>
                  <a:pt x="25337" y="423489"/>
                </a:cubicBezTo>
                <a:cubicBezTo>
                  <a:pt x="27004" y="425765"/>
                  <a:pt x="29662" y="427108"/>
                  <a:pt x="32481" y="427108"/>
                </a:cubicBezTo>
                <a:lnTo>
                  <a:pt x="426911" y="427108"/>
                </a:lnTo>
                <a:cubicBezTo>
                  <a:pt x="431807" y="427108"/>
                  <a:pt x="435770" y="423146"/>
                  <a:pt x="435770" y="418250"/>
                </a:cubicBezTo>
                <a:cubicBezTo>
                  <a:pt x="435770" y="415431"/>
                  <a:pt x="434427" y="412773"/>
                  <a:pt x="432150" y="411106"/>
                </a:cubicBezTo>
                <a:lnTo>
                  <a:pt x="234982" y="265755"/>
                </a:lnTo>
                <a:cubicBezTo>
                  <a:pt x="231868" y="263468"/>
                  <a:pt x="227619" y="263468"/>
                  <a:pt x="224505" y="265755"/>
                </a:cubicBezTo>
                <a:close/>
                <a:moveTo>
                  <a:pt x="314517" y="47251"/>
                </a:moveTo>
                <a:lnTo>
                  <a:pt x="256509" y="9151"/>
                </a:lnTo>
                <a:cubicBezTo>
                  <a:pt x="237459" y="-3246"/>
                  <a:pt x="212837" y="-3021"/>
                  <a:pt x="194025" y="9723"/>
                </a:cubicBezTo>
                <a:lnTo>
                  <a:pt x="5049" y="138024"/>
                </a:lnTo>
                <a:cubicBezTo>
                  <a:pt x="2611" y="139669"/>
                  <a:pt x="1144" y="142417"/>
                  <a:pt x="1144" y="145359"/>
                </a:cubicBezTo>
                <a:lnTo>
                  <a:pt x="1144" y="380626"/>
                </a:lnTo>
                <a:cubicBezTo>
                  <a:pt x="1087" y="385465"/>
                  <a:pt x="4973" y="389427"/>
                  <a:pt x="9812" y="389484"/>
                </a:cubicBezTo>
                <a:cubicBezTo>
                  <a:pt x="11774" y="389504"/>
                  <a:pt x="13688" y="388865"/>
                  <a:pt x="15241" y="387675"/>
                </a:cubicBezTo>
                <a:lnTo>
                  <a:pt x="202502" y="249753"/>
                </a:lnTo>
                <a:cubicBezTo>
                  <a:pt x="206455" y="246779"/>
                  <a:pt x="207246" y="241166"/>
                  <a:pt x="204274" y="237215"/>
                </a:cubicBezTo>
                <a:cubicBezTo>
                  <a:pt x="203607" y="236328"/>
                  <a:pt x="202779" y="235574"/>
                  <a:pt x="201836" y="234989"/>
                </a:cubicBezTo>
                <a:lnTo>
                  <a:pt x="74296" y="157074"/>
                </a:lnTo>
                <a:cubicBezTo>
                  <a:pt x="70143" y="154493"/>
                  <a:pt x="68866" y="149033"/>
                  <a:pt x="71448" y="144876"/>
                </a:cubicBezTo>
                <a:cubicBezTo>
                  <a:pt x="73039" y="142304"/>
                  <a:pt x="75839" y="140726"/>
                  <a:pt x="78868" y="140691"/>
                </a:cubicBezTo>
                <a:lnTo>
                  <a:pt x="384334" y="140691"/>
                </a:lnTo>
                <a:cubicBezTo>
                  <a:pt x="389231" y="140713"/>
                  <a:pt x="393174" y="144698"/>
                  <a:pt x="393155" y="149590"/>
                </a:cubicBezTo>
                <a:cubicBezTo>
                  <a:pt x="393136" y="152703"/>
                  <a:pt x="391488" y="155582"/>
                  <a:pt x="388811" y="157170"/>
                </a:cubicBezTo>
                <a:lnTo>
                  <a:pt x="257080" y="234417"/>
                </a:lnTo>
                <a:cubicBezTo>
                  <a:pt x="252861" y="236900"/>
                  <a:pt x="251461" y="242329"/>
                  <a:pt x="253937" y="246546"/>
                </a:cubicBezTo>
                <a:cubicBezTo>
                  <a:pt x="254547" y="247575"/>
                  <a:pt x="255357" y="248472"/>
                  <a:pt x="256318" y="249181"/>
                </a:cubicBezTo>
                <a:lnTo>
                  <a:pt x="444247" y="388437"/>
                </a:lnTo>
                <a:cubicBezTo>
                  <a:pt x="448086" y="391380"/>
                  <a:pt x="453591" y="390656"/>
                  <a:pt x="456534" y="386817"/>
                </a:cubicBezTo>
                <a:cubicBezTo>
                  <a:pt x="457725" y="385265"/>
                  <a:pt x="458363" y="383350"/>
                  <a:pt x="458344" y="381388"/>
                </a:cubicBezTo>
                <a:lnTo>
                  <a:pt x="458344" y="145740"/>
                </a:lnTo>
                <a:cubicBezTo>
                  <a:pt x="458334" y="142776"/>
                  <a:pt x="456829" y="140016"/>
                  <a:pt x="454343" y="138405"/>
                </a:cubicBezTo>
                <a:close/>
              </a:path>
            </a:pathLst>
          </a:custGeom>
          <a:solidFill>
            <a:srgbClr val="FFFFFF"/>
          </a:solidFill>
          <a:ln w="12700" cap="flat">
            <a:noFill/>
            <a:miter lim="400000"/>
          </a:ln>
          <a:effectLst/>
        </p:spPr>
        <p:txBody>
          <a:bodyPr wrap="square" lIns="22860" tIns="22860" rIns="22860" bIns="22860" numCol="1" anchor="ctr">
            <a:no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sz="1800" b="0">
                <a:latin typeface="Calibri"/>
                <a:ea typeface="Calibri"/>
                <a:cs typeface="Calibri"/>
                <a:sym typeface="Calibri"/>
              </a:defRPr>
            </a:pPr>
            <a:endParaRPr kumimoji="0" sz="900" b="0" i="0" u="none" strike="noStrike" kern="1200" cap="none" spc="0" normalizeH="0" baseline="0" noProof="0">
              <a:ln>
                <a:noFill/>
              </a:ln>
              <a:solidFill>
                <a:srgbClr val="000000"/>
              </a:solidFill>
              <a:effectLst/>
              <a:uLnTx/>
              <a:uFillTx/>
              <a:latin typeface="Calibri"/>
              <a:cs typeface="Calibri"/>
              <a:sym typeface="Calibri"/>
            </a:endParaRPr>
          </a:p>
        </p:txBody>
      </p:sp>
      <p:grpSp>
        <p:nvGrpSpPr>
          <p:cNvPr id="92" name="gaoding-41">
            <a:extLst>
              <a:ext uri="{FF2B5EF4-FFF2-40B4-BE49-F238E27FC236}">
                <a16:creationId xmlns:a16="http://schemas.microsoft.com/office/drawing/2014/main" id="{0D885C30-A39B-4989-9F8E-B0D1F6BBA8E5}"/>
              </a:ext>
            </a:extLst>
          </p:cNvPr>
          <p:cNvGrpSpPr/>
          <p:nvPr/>
        </p:nvGrpSpPr>
        <p:grpSpPr>
          <a:xfrm>
            <a:off x="891548" y="519423"/>
            <a:ext cx="2954655" cy="786117"/>
            <a:chOff x="891548" y="488943"/>
            <a:chExt cx="2954655" cy="786117"/>
          </a:xfrm>
        </p:grpSpPr>
        <p:sp>
          <p:nvSpPr>
            <p:cNvPr id="93" name="gaoding-41-1">
              <a:extLst>
                <a:ext uri="{FF2B5EF4-FFF2-40B4-BE49-F238E27FC236}">
                  <a16:creationId xmlns:a16="http://schemas.microsoft.com/office/drawing/2014/main" id="{EC0D8146-0C25-4B3A-872D-92724F79B5CE}"/>
                </a:ext>
              </a:extLst>
            </p:cNvPr>
            <p:cNvSpPr txBox="1"/>
            <p:nvPr/>
          </p:nvSpPr>
          <p:spPr>
            <a:xfrm>
              <a:off x="891548" y="488943"/>
              <a:ext cx="2954655"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2400" b="1" i="0" u="none" strike="noStrike" kern="1200" cap="none" spc="0" normalizeH="0" baseline="0" noProof="0" dirty="0">
                  <a:ln>
                    <a:noFill/>
                  </a:ln>
                  <a:solidFill>
                    <a:srgbClr val="000000">
                      <a:lumMod val="85000"/>
                      <a:lumOff val="15000"/>
                    </a:srgbClr>
                  </a:solidFill>
                  <a:effectLst/>
                  <a:uLnTx/>
                  <a:uFillTx/>
                  <a:latin typeface="OPPOSans B" panose="00020600040101010101" pitchFamily="18" charset="-122"/>
                  <a:ea typeface="OPPOSans B" panose="00020600040101010101" pitchFamily="18" charset="-122"/>
                  <a:cs typeface="OPPOSans B" panose="00020600040101010101" pitchFamily="18" charset="-122"/>
                  <a:sym typeface="+mn-lt"/>
                </a:rPr>
                <a:t>秋叶</a:t>
              </a:r>
              <a:r>
                <a:rPr kumimoji="0" lang="en-US" altLang="zh-CN" sz="2400" b="1" i="0" u="none" strike="noStrike" kern="1200" cap="none" spc="0" normalizeH="0" baseline="0" noProof="0" dirty="0">
                  <a:ln>
                    <a:noFill/>
                  </a:ln>
                  <a:solidFill>
                    <a:srgbClr val="000000">
                      <a:lumMod val="85000"/>
                      <a:lumOff val="15000"/>
                    </a:srgbClr>
                  </a:solidFill>
                  <a:effectLst/>
                  <a:uLnTx/>
                  <a:uFillTx/>
                  <a:latin typeface="OPPOSans B" panose="00020600040101010101" pitchFamily="18" charset="-122"/>
                  <a:ea typeface="OPPOSans B" panose="00020600040101010101" pitchFamily="18" charset="-122"/>
                  <a:cs typeface="OPPOSans B" panose="00020600040101010101" pitchFamily="18" charset="-122"/>
                  <a:sym typeface="+mn-lt"/>
                </a:rPr>
                <a:t>PPT</a:t>
              </a:r>
              <a:r>
                <a:rPr kumimoji="0" lang="zh-CN" altLang="en-US" sz="2400" b="1" i="0" u="none" strike="noStrike" kern="1200" cap="none" spc="0" normalizeH="0" baseline="0" noProof="0" dirty="0">
                  <a:ln>
                    <a:noFill/>
                  </a:ln>
                  <a:solidFill>
                    <a:srgbClr val="000000">
                      <a:lumMod val="85000"/>
                      <a:lumOff val="15000"/>
                    </a:srgbClr>
                  </a:solidFill>
                  <a:effectLst/>
                  <a:uLnTx/>
                  <a:uFillTx/>
                  <a:latin typeface="OPPOSans B" panose="00020600040101010101" pitchFamily="18" charset="-122"/>
                  <a:ea typeface="OPPOSans B" panose="00020600040101010101" pitchFamily="18" charset="-122"/>
                  <a:cs typeface="OPPOSans B" panose="00020600040101010101" pitchFamily="18" charset="-122"/>
                  <a:sym typeface="+mn-lt"/>
                </a:rPr>
                <a:t>更快更轻松</a:t>
              </a:r>
            </a:p>
          </p:txBody>
        </p:sp>
        <p:sp>
          <p:nvSpPr>
            <p:cNvPr id="94" name="gaoding-41-2">
              <a:extLst>
                <a:ext uri="{FF2B5EF4-FFF2-40B4-BE49-F238E27FC236}">
                  <a16:creationId xmlns:a16="http://schemas.microsoft.com/office/drawing/2014/main" id="{CF1C1A40-8245-42A3-879D-91FCD6237EC5}"/>
                </a:ext>
              </a:extLst>
            </p:cNvPr>
            <p:cNvSpPr txBox="1"/>
            <p:nvPr/>
          </p:nvSpPr>
          <p:spPr>
            <a:xfrm>
              <a:off x="917798" y="895464"/>
              <a:ext cx="1202573"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100" b="0" i="0" u="none" strike="noStrike" kern="1200" cap="none" spc="0" normalizeH="0" baseline="0" noProof="0" dirty="0">
                  <a:ln>
                    <a:noFill/>
                  </a:ln>
                  <a:solidFill>
                    <a:srgbClr val="000000">
                      <a:lumMod val="85000"/>
                      <a:lumOff val="1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sym typeface="+mn-lt"/>
                </a:rPr>
                <a:t>Add </a:t>
              </a:r>
              <a:r>
                <a:rPr kumimoji="0" lang="zh-CN" altLang="en-US" sz="1100" b="0" i="0" u="none" strike="noStrike" kern="1200" cap="none" spc="0" normalizeH="0" baseline="0" noProof="0" dirty="0">
                  <a:ln>
                    <a:noFill/>
                  </a:ln>
                  <a:solidFill>
                    <a:srgbClr val="000000">
                      <a:lumMod val="85000"/>
                      <a:lumOff val="1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sym typeface="+mn-lt"/>
                </a:rPr>
                <a:t>关键词标题</a:t>
              </a:r>
              <a:endParaRPr kumimoji="0" lang="en-US" altLang="zh-CN" sz="1100" b="0" i="0" u="none" strike="noStrike" kern="1200" cap="none" spc="0" normalizeH="0" baseline="0" noProof="0" dirty="0">
                <a:ln>
                  <a:noFill/>
                </a:ln>
                <a:solidFill>
                  <a:srgbClr val="000000">
                    <a:lumMod val="85000"/>
                    <a:lumOff val="1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sym typeface="+mn-lt"/>
              </a:endParaRPr>
            </a:p>
          </p:txBody>
        </p:sp>
        <p:sp>
          <p:nvSpPr>
            <p:cNvPr id="95" name="gaoding-41-3">
              <a:extLst>
                <a:ext uri="{FF2B5EF4-FFF2-40B4-BE49-F238E27FC236}">
                  <a16:creationId xmlns:a16="http://schemas.microsoft.com/office/drawing/2014/main" id="{C19548CD-A89A-4CE8-99EC-D7A6D6CCF424}"/>
                </a:ext>
              </a:extLst>
            </p:cNvPr>
            <p:cNvSpPr/>
            <p:nvPr/>
          </p:nvSpPr>
          <p:spPr>
            <a:xfrm>
              <a:off x="1014806" y="1195562"/>
              <a:ext cx="811658" cy="79498"/>
            </a:xfrm>
            <a:prstGeom prst="rect">
              <a:avLst/>
            </a:prstGeom>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srgbClr val="FFFFFF"/>
                </a:solidFill>
                <a:effectLst/>
                <a:uLnTx/>
                <a:uFillTx/>
                <a:latin typeface="OPPOSans R" panose="00020600040101010101" pitchFamily="18" charset="-122"/>
                <a:ea typeface="微软雅黑"/>
                <a:cs typeface="+mn-ea"/>
                <a:sym typeface="+mn-lt"/>
              </a:endParaRPr>
            </a:p>
          </p:txBody>
        </p:sp>
      </p:grpSp>
      <p:sp>
        <p:nvSpPr>
          <p:cNvPr id="97" name="gaoding-42">
            <a:extLst>
              <a:ext uri="{FF2B5EF4-FFF2-40B4-BE49-F238E27FC236}">
                <a16:creationId xmlns:a16="http://schemas.microsoft.com/office/drawing/2014/main" id="{3F7D7477-15A1-4BFC-AD00-D589F3EF7567}"/>
              </a:ext>
            </a:extLst>
          </p:cNvPr>
          <p:cNvSpPr txBox="1"/>
          <p:nvPr/>
        </p:nvSpPr>
        <p:spPr>
          <a:xfrm>
            <a:off x="5335310" y="1795942"/>
            <a:ext cx="1493452" cy="420628"/>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25400" tIns="25400" rIns="25400" bIns="25400" numCol="1" anchor="t">
            <a:spAutoFit/>
          </a:bodyPr>
          <a:lstStyle>
            <a:lvl1pPr algn="l">
              <a:defRPr sz="2800" b="0">
                <a:solidFill>
                  <a:srgbClr val="FFFFFF"/>
                </a:solidFill>
                <a:latin typeface="Barlow Bold"/>
                <a:ea typeface="Barlow Bold"/>
                <a:cs typeface="Barlow Bold"/>
                <a:sym typeface="Barlow Bold"/>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2400" b="1" i="0" u="none" strike="noStrike" kern="1200" cap="none" spc="0" normalizeH="0" baseline="0" noProof="0" dirty="0">
                <a:ln>
                  <a:noFill/>
                </a:ln>
                <a:solidFill>
                  <a:srgbClr val="000000">
                    <a:lumMod val="75000"/>
                    <a:lumOff val="25000"/>
                  </a:srgbClr>
                </a:solidFill>
                <a:effectLst/>
                <a:uLnTx/>
                <a:uFillTx/>
                <a:latin typeface="OPPOSans B" panose="00020600040101010101" pitchFamily="18" charset="-122"/>
                <a:ea typeface="OPPOSans B" panose="00020600040101010101" pitchFamily="18" charset="-122"/>
                <a:cs typeface="OPPOSans B" panose="00020600040101010101" pitchFamily="18" charset="-122"/>
                <a:sym typeface="Arial" panose="020B0604020202020204" pitchFamily="34" charset="0"/>
              </a:rPr>
              <a:t>秋叶</a:t>
            </a:r>
            <a:r>
              <a:rPr kumimoji="0" lang="en-US" altLang="zh-CN" sz="2400" b="1" i="0" u="none" strike="noStrike" kern="1200" cap="none" spc="0" normalizeH="0" baseline="0" noProof="0" dirty="0">
                <a:ln>
                  <a:noFill/>
                </a:ln>
                <a:solidFill>
                  <a:srgbClr val="000000">
                    <a:lumMod val="75000"/>
                    <a:lumOff val="25000"/>
                  </a:srgbClr>
                </a:solidFill>
                <a:effectLst/>
                <a:uLnTx/>
                <a:uFillTx/>
                <a:latin typeface="OPPOSans B" panose="00020600040101010101" pitchFamily="18" charset="-122"/>
                <a:ea typeface="OPPOSans B" panose="00020600040101010101" pitchFamily="18" charset="-122"/>
                <a:cs typeface="OPPOSans B" panose="00020600040101010101" pitchFamily="18" charset="-122"/>
                <a:sym typeface="Arial" panose="020B0604020202020204" pitchFamily="34" charset="0"/>
              </a:rPr>
              <a:t>PPT</a:t>
            </a:r>
            <a:endParaRPr kumimoji="0" lang="zh-CN" altLang="zh-CN" sz="2400" b="1" i="0" u="none" strike="noStrike" kern="1200" cap="none" spc="0" normalizeH="0" baseline="0" noProof="0" dirty="0">
              <a:ln>
                <a:noFill/>
              </a:ln>
              <a:solidFill>
                <a:srgbClr val="000000">
                  <a:lumMod val="75000"/>
                  <a:lumOff val="25000"/>
                </a:srgbClr>
              </a:solidFill>
              <a:effectLst/>
              <a:uLnTx/>
              <a:uFillTx/>
              <a:latin typeface="OPPOSans B" panose="00020600040101010101" pitchFamily="18" charset="-122"/>
              <a:ea typeface="OPPOSans B" panose="00020600040101010101" pitchFamily="18" charset="-122"/>
              <a:cs typeface="OPPOSans B" panose="00020600040101010101" pitchFamily="18" charset="-122"/>
              <a:sym typeface="Arial" panose="020B0604020202020204" pitchFamily="34" charset="0"/>
            </a:endParaRPr>
          </a:p>
        </p:txBody>
      </p:sp>
      <p:sp>
        <p:nvSpPr>
          <p:cNvPr id="104" name="gaoding-43">
            <a:extLst>
              <a:ext uri="{FF2B5EF4-FFF2-40B4-BE49-F238E27FC236}">
                <a16:creationId xmlns:a16="http://schemas.microsoft.com/office/drawing/2014/main" id="{E592C866-CDB9-49B0-B4B2-D96B2DC19210}"/>
              </a:ext>
            </a:extLst>
          </p:cNvPr>
          <p:cNvSpPr txBox="1"/>
          <p:nvPr/>
        </p:nvSpPr>
        <p:spPr>
          <a:xfrm>
            <a:off x="1317404" y="3209684"/>
            <a:ext cx="1493452" cy="297517"/>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25400" tIns="25400" rIns="25400" bIns="25400" numCol="1" anchor="t">
            <a:spAutoFit/>
          </a:bodyPr>
          <a:lstStyle>
            <a:lvl1pPr algn="l">
              <a:defRPr sz="2800" b="0">
                <a:solidFill>
                  <a:srgbClr val="FFFFFF"/>
                </a:solidFill>
                <a:latin typeface="Barlow Bold"/>
                <a:ea typeface="Barlow Bold"/>
                <a:cs typeface="Barlow Bold"/>
                <a:sym typeface="Barlow Bold"/>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600" b="1" i="0" u="none" strike="noStrike" kern="1200" cap="none" spc="0" normalizeH="0" baseline="0" noProof="0" dirty="0">
                <a:ln>
                  <a:noFill/>
                </a:ln>
                <a:solidFill>
                  <a:srgbClr val="FFFFFF"/>
                </a:solidFill>
                <a:effectLst/>
                <a:uLnTx/>
                <a:uFillTx/>
                <a:latin typeface="OPPOSans R" panose="00020600040101010101" pitchFamily="18" charset="-122"/>
                <a:ea typeface="OPPOSans R" panose="00020600040101010101" pitchFamily="18" charset="-122"/>
                <a:cs typeface="OPPOSans R" panose="00020600040101010101" pitchFamily="18" charset="-122"/>
                <a:sym typeface="Barlow Bold"/>
              </a:rPr>
              <a:t>更快更轻松</a:t>
            </a:r>
            <a:endParaRPr kumimoji="0" sz="1600" b="1" i="0" u="none" strike="noStrike" kern="1200" cap="none" spc="0" normalizeH="0" baseline="0" noProof="0" dirty="0">
              <a:ln>
                <a:noFill/>
              </a:ln>
              <a:solidFill>
                <a:srgbClr val="FFFFFF"/>
              </a:solidFill>
              <a:effectLst/>
              <a:uLnTx/>
              <a:uFillTx/>
              <a:latin typeface="OPPOSans R" panose="00020600040101010101" pitchFamily="18" charset="-122"/>
              <a:ea typeface="OPPOSans R" panose="00020600040101010101" pitchFamily="18" charset="-122"/>
              <a:cs typeface="OPPOSans R" panose="00020600040101010101" pitchFamily="18" charset="-122"/>
              <a:sym typeface="Barlow Bold"/>
            </a:endParaRPr>
          </a:p>
        </p:txBody>
      </p:sp>
      <p:sp>
        <p:nvSpPr>
          <p:cNvPr id="105" name="gaoding-44">
            <a:extLst>
              <a:ext uri="{FF2B5EF4-FFF2-40B4-BE49-F238E27FC236}">
                <a16:creationId xmlns:a16="http://schemas.microsoft.com/office/drawing/2014/main" id="{CDC403E0-2D7C-4155-91B1-734295B31C21}"/>
              </a:ext>
            </a:extLst>
          </p:cNvPr>
          <p:cNvSpPr txBox="1"/>
          <p:nvPr/>
        </p:nvSpPr>
        <p:spPr>
          <a:xfrm>
            <a:off x="5671642" y="3209684"/>
            <a:ext cx="1493452" cy="297517"/>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25400" tIns="25400" rIns="25400" bIns="25400" numCol="1" anchor="t">
            <a:spAutoFit/>
          </a:bodyPr>
          <a:lstStyle>
            <a:lvl1pPr algn="l">
              <a:defRPr sz="2800" b="0">
                <a:solidFill>
                  <a:srgbClr val="FFFFFF"/>
                </a:solidFill>
                <a:latin typeface="Barlow Bold"/>
                <a:ea typeface="Barlow Bold"/>
                <a:cs typeface="Barlow Bold"/>
                <a:sym typeface="Barlow Bold"/>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600" b="1" i="0" u="none" strike="noStrike" kern="1200" cap="none" spc="0" normalizeH="0" baseline="0" noProof="0" dirty="0">
                <a:ln>
                  <a:noFill/>
                </a:ln>
                <a:solidFill>
                  <a:srgbClr val="FFFFFF"/>
                </a:solidFill>
                <a:effectLst/>
                <a:uLnTx/>
                <a:uFillTx/>
                <a:latin typeface="OPPOSans R" panose="00020600040101010101" pitchFamily="18" charset="-122"/>
                <a:ea typeface="OPPOSans R" panose="00020600040101010101" pitchFamily="18" charset="-122"/>
                <a:cs typeface="OPPOSans R" panose="00020600040101010101" pitchFamily="18" charset="-122"/>
                <a:sym typeface="Barlow Bold"/>
              </a:rPr>
              <a:t>千余款模板</a:t>
            </a:r>
            <a:endParaRPr kumimoji="0" sz="1600" b="1" i="0" u="none" strike="noStrike" kern="1200" cap="none" spc="0" normalizeH="0" baseline="0" noProof="0" dirty="0">
              <a:ln>
                <a:noFill/>
              </a:ln>
              <a:solidFill>
                <a:srgbClr val="FFFFFF"/>
              </a:solidFill>
              <a:effectLst/>
              <a:uLnTx/>
              <a:uFillTx/>
              <a:latin typeface="OPPOSans R" panose="00020600040101010101" pitchFamily="18" charset="-122"/>
              <a:ea typeface="OPPOSans R" panose="00020600040101010101" pitchFamily="18" charset="-122"/>
              <a:cs typeface="OPPOSans R" panose="00020600040101010101" pitchFamily="18" charset="-122"/>
              <a:sym typeface="Barlow Bold"/>
            </a:endParaRPr>
          </a:p>
        </p:txBody>
      </p:sp>
      <p:sp>
        <p:nvSpPr>
          <p:cNvPr id="106" name="gaoding-45">
            <a:extLst>
              <a:ext uri="{FF2B5EF4-FFF2-40B4-BE49-F238E27FC236}">
                <a16:creationId xmlns:a16="http://schemas.microsoft.com/office/drawing/2014/main" id="{22C9F7EF-6784-47B3-A43D-4C9B484397F8}"/>
              </a:ext>
            </a:extLst>
          </p:cNvPr>
          <p:cNvSpPr txBox="1"/>
          <p:nvPr/>
        </p:nvSpPr>
        <p:spPr>
          <a:xfrm>
            <a:off x="3517419" y="3209684"/>
            <a:ext cx="1493452" cy="297517"/>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25400" tIns="25400" rIns="25400" bIns="25400" numCol="1" anchor="t">
            <a:spAutoFit/>
          </a:bodyPr>
          <a:lstStyle>
            <a:lvl1pPr algn="l">
              <a:defRPr sz="2800" b="0">
                <a:solidFill>
                  <a:srgbClr val="FFFFFF"/>
                </a:solidFill>
                <a:latin typeface="Barlow Bold"/>
                <a:ea typeface="Barlow Bold"/>
                <a:cs typeface="Barlow Bold"/>
                <a:sym typeface="Barlow Bold"/>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600" b="1" i="0" u="none" strike="noStrike" kern="1200" cap="none" spc="0" normalizeH="0" baseline="0" noProof="0" dirty="0">
                <a:ln>
                  <a:noFill/>
                </a:ln>
                <a:solidFill>
                  <a:srgbClr val="FFFFFF"/>
                </a:solidFill>
                <a:effectLst/>
                <a:uLnTx/>
                <a:uFillTx/>
                <a:latin typeface="OPPOSans R" panose="00020600040101010101" pitchFamily="18" charset="-122"/>
                <a:ea typeface="OPPOSans R" panose="00020600040101010101" pitchFamily="18" charset="-122"/>
                <a:cs typeface="OPPOSans R" panose="00020600040101010101" pitchFamily="18" charset="-122"/>
                <a:sym typeface="Barlow Bold"/>
              </a:rPr>
              <a:t>强大表现力</a:t>
            </a:r>
            <a:endParaRPr kumimoji="0" sz="1600" b="1" i="0" u="none" strike="noStrike" kern="1200" cap="none" spc="0" normalizeH="0" baseline="0" noProof="0" dirty="0">
              <a:ln>
                <a:noFill/>
              </a:ln>
              <a:solidFill>
                <a:srgbClr val="FFFFFF"/>
              </a:solidFill>
              <a:effectLst/>
              <a:uLnTx/>
              <a:uFillTx/>
              <a:latin typeface="OPPOSans R" panose="00020600040101010101" pitchFamily="18" charset="-122"/>
              <a:ea typeface="OPPOSans R" panose="00020600040101010101" pitchFamily="18" charset="-122"/>
              <a:cs typeface="OPPOSans R" panose="00020600040101010101" pitchFamily="18" charset="-122"/>
              <a:sym typeface="Barlow Bold"/>
            </a:endParaRPr>
          </a:p>
        </p:txBody>
      </p:sp>
      <p:sp>
        <p:nvSpPr>
          <p:cNvPr id="107" name="gaoding-46">
            <a:extLst>
              <a:ext uri="{FF2B5EF4-FFF2-40B4-BE49-F238E27FC236}">
                <a16:creationId xmlns:a16="http://schemas.microsoft.com/office/drawing/2014/main" id="{6A90ACD0-E5D1-4699-A5EE-618B7EBBED56}"/>
              </a:ext>
            </a:extLst>
          </p:cNvPr>
          <p:cNvSpPr txBox="1"/>
          <p:nvPr/>
        </p:nvSpPr>
        <p:spPr>
          <a:xfrm>
            <a:off x="7864191" y="3209684"/>
            <a:ext cx="1493452" cy="297517"/>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25400" tIns="25400" rIns="25400" bIns="25400" numCol="1" anchor="t">
            <a:spAutoFit/>
          </a:bodyPr>
          <a:lstStyle>
            <a:lvl1pPr algn="l">
              <a:defRPr sz="2800" b="0">
                <a:solidFill>
                  <a:srgbClr val="FFFFFF"/>
                </a:solidFill>
                <a:latin typeface="Barlow Bold"/>
                <a:ea typeface="Barlow Bold"/>
                <a:cs typeface="Barlow Bold"/>
                <a:sym typeface="Barlow Bold"/>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600" b="1" i="0" u="none" strike="noStrike" kern="1200" cap="none" spc="0" normalizeH="0" baseline="0" noProof="0" dirty="0">
                <a:ln>
                  <a:noFill/>
                </a:ln>
                <a:solidFill>
                  <a:srgbClr val="FFFFFF"/>
                </a:solidFill>
                <a:effectLst/>
                <a:uLnTx/>
                <a:uFillTx/>
                <a:latin typeface="OPPOSans R" panose="00020600040101010101" pitchFamily="18" charset="-122"/>
                <a:ea typeface="OPPOSans R" panose="00020600040101010101" pitchFamily="18" charset="-122"/>
                <a:cs typeface="OPPOSans R" panose="00020600040101010101" pitchFamily="18" charset="-122"/>
                <a:sym typeface="Barlow Bold"/>
              </a:rPr>
              <a:t>多用途场景</a:t>
            </a:r>
            <a:endParaRPr kumimoji="0" sz="1600" b="1" i="0" u="none" strike="noStrike" kern="1200" cap="none" spc="0" normalizeH="0" baseline="0" noProof="0" dirty="0">
              <a:ln>
                <a:noFill/>
              </a:ln>
              <a:solidFill>
                <a:srgbClr val="FFFFFF"/>
              </a:solidFill>
              <a:effectLst/>
              <a:uLnTx/>
              <a:uFillTx/>
              <a:latin typeface="OPPOSans R" panose="00020600040101010101" pitchFamily="18" charset="-122"/>
              <a:ea typeface="OPPOSans R" panose="00020600040101010101" pitchFamily="18" charset="-122"/>
              <a:cs typeface="OPPOSans R" panose="00020600040101010101" pitchFamily="18" charset="-122"/>
              <a:sym typeface="Barlow Bold"/>
            </a:endParaRPr>
          </a:p>
        </p:txBody>
      </p:sp>
      <p:sp>
        <p:nvSpPr>
          <p:cNvPr id="108" name="gaoding-47">
            <a:extLst>
              <a:ext uri="{FF2B5EF4-FFF2-40B4-BE49-F238E27FC236}">
                <a16:creationId xmlns:a16="http://schemas.microsoft.com/office/drawing/2014/main" id="{91D5CA1A-6390-44BD-9180-D9DECA65AA33}"/>
              </a:ext>
            </a:extLst>
          </p:cNvPr>
          <p:cNvSpPr txBox="1"/>
          <p:nvPr/>
        </p:nvSpPr>
        <p:spPr>
          <a:xfrm>
            <a:off x="10038739" y="3209684"/>
            <a:ext cx="1493452" cy="297517"/>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25400" tIns="25400" rIns="25400" bIns="25400" numCol="1" anchor="t">
            <a:spAutoFit/>
          </a:bodyPr>
          <a:lstStyle>
            <a:lvl1pPr algn="l">
              <a:defRPr sz="2800" b="0">
                <a:solidFill>
                  <a:srgbClr val="FFFFFF"/>
                </a:solidFill>
                <a:latin typeface="Barlow Bold"/>
                <a:ea typeface="Barlow Bold"/>
                <a:cs typeface="Barlow Bold"/>
                <a:sym typeface="Barlow Bold"/>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600" b="1" i="0" u="none" strike="noStrike" kern="1200" cap="none" spc="0" normalizeH="0" baseline="0" noProof="0" dirty="0">
                <a:ln>
                  <a:noFill/>
                </a:ln>
                <a:solidFill>
                  <a:srgbClr val="FFFFFF"/>
                </a:solidFill>
                <a:effectLst/>
                <a:uLnTx/>
                <a:uFillTx/>
                <a:latin typeface="OPPOSans R" panose="00020600040101010101" pitchFamily="18" charset="-122"/>
                <a:ea typeface="OPPOSans R" panose="00020600040101010101" pitchFamily="18" charset="-122"/>
                <a:cs typeface="OPPOSans R" panose="00020600040101010101" pitchFamily="18" charset="-122"/>
                <a:sym typeface="Barlow Bold"/>
              </a:rPr>
              <a:t>更快更轻松</a:t>
            </a:r>
            <a:endParaRPr kumimoji="0" sz="1600" b="1" i="0" u="none" strike="noStrike" kern="1200" cap="none" spc="0" normalizeH="0" baseline="0" noProof="0" dirty="0">
              <a:ln>
                <a:noFill/>
              </a:ln>
              <a:solidFill>
                <a:srgbClr val="FFFFFF"/>
              </a:solidFill>
              <a:effectLst/>
              <a:uLnTx/>
              <a:uFillTx/>
              <a:latin typeface="OPPOSans R" panose="00020600040101010101" pitchFamily="18" charset="-122"/>
              <a:ea typeface="OPPOSans R" panose="00020600040101010101" pitchFamily="18" charset="-122"/>
              <a:cs typeface="OPPOSans R" panose="00020600040101010101" pitchFamily="18" charset="-122"/>
              <a:sym typeface="Barlow Bold"/>
            </a:endParaRPr>
          </a:p>
        </p:txBody>
      </p:sp>
      <p:sp>
        <p:nvSpPr>
          <p:cNvPr id="4" name="gaoding-48">
            <a:extLst>
              <a:ext uri="{FF2B5EF4-FFF2-40B4-BE49-F238E27FC236}">
                <a16:creationId xmlns:a16="http://schemas.microsoft.com/office/drawing/2014/main" id="{6EB2441D-F7F2-4CAF-8714-125F362F25F4}"/>
              </a:ext>
            </a:extLst>
          </p:cNvPr>
          <p:cNvSpPr txBox="1"/>
          <p:nvPr/>
        </p:nvSpPr>
        <p:spPr>
          <a:xfrm>
            <a:off x="1388400" y="4260230"/>
            <a:ext cx="1002103" cy="21544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400" b="0" i="0" u="none" strike="noStrike" kern="1200" cap="none" spc="0" normalizeH="0" baseline="0" noProof="0" dirty="0">
                <a:ln>
                  <a:noFill/>
                </a:ln>
                <a:solidFill>
                  <a:srgbClr val="000000">
                    <a:lumMod val="75000"/>
                    <a:lumOff val="2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rPr>
              <a:t>秋叶</a:t>
            </a:r>
            <a:r>
              <a:rPr kumimoji="0" lang="en-US" altLang="zh-CN" sz="1400" b="0" i="0" u="none" strike="noStrike" kern="1200" cap="none" spc="0" normalizeH="0" baseline="0" noProof="0" dirty="0">
                <a:ln>
                  <a:noFill/>
                </a:ln>
                <a:solidFill>
                  <a:srgbClr val="000000">
                    <a:lumMod val="75000"/>
                    <a:lumOff val="2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rPr>
              <a:t>PPT</a:t>
            </a:r>
            <a:endParaRPr kumimoji="0" lang="zh-CN" altLang="en-US" sz="1400" b="0" i="0" u="none" strike="noStrike" kern="1200" cap="none" spc="0" normalizeH="0" baseline="0" noProof="0" dirty="0">
              <a:ln>
                <a:noFill/>
              </a:ln>
              <a:solidFill>
                <a:srgbClr val="000000">
                  <a:lumMod val="75000"/>
                  <a:lumOff val="2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p:txBody>
      </p:sp>
      <p:sp>
        <p:nvSpPr>
          <p:cNvPr id="110" name="gaoding-49">
            <a:extLst>
              <a:ext uri="{FF2B5EF4-FFF2-40B4-BE49-F238E27FC236}">
                <a16:creationId xmlns:a16="http://schemas.microsoft.com/office/drawing/2014/main" id="{302EE0D3-FAFF-4AA6-85FB-A02BC60E216B}"/>
              </a:ext>
            </a:extLst>
          </p:cNvPr>
          <p:cNvSpPr txBox="1"/>
          <p:nvPr/>
        </p:nvSpPr>
        <p:spPr>
          <a:xfrm>
            <a:off x="1388399" y="4819608"/>
            <a:ext cx="1002103" cy="21544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400" b="0" i="0" u="none" strike="noStrike" kern="1200" cap="none" spc="0" normalizeH="0" baseline="0" noProof="0" dirty="0">
                <a:ln>
                  <a:noFill/>
                </a:ln>
                <a:solidFill>
                  <a:srgbClr val="000000">
                    <a:lumMod val="75000"/>
                    <a:lumOff val="2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rPr>
              <a:t>千款模板</a:t>
            </a:r>
          </a:p>
        </p:txBody>
      </p:sp>
      <p:sp>
        <p:nvSpPr>
          <p:cNvPr id="111" name="gaoding-50">
            <a:extLst>
              <a:ext uri="{FF2B5EF4-FFF2-40B4-BE49-F238E27FC236}">
                <a16:creationId xmlns:a16="http://schemas.microsoft.com/office/drawing/2014/main" id="{701C1577-CBE9-42D4-B290-8032C9FB0B02}"/>
              </a:ext>
            </a:extLst>
          </p:cNvPr>
          <p:cNvSpPr txBox="1"/>
          <p:nvPr/>
        </p:nvSpPr>
        <p:spPr>
          <a:xfrm>
            <a:off x="1388399" y="5380279"/>
            <a:ext cx="1002103" cy="21544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400" b="0" i="0" u="none" strike="noStrike" kern="1200" cap="none" spc="0" normalizeH="0" baseline="0" noProof="0" dirty="0">
                <a:ln>
                  <a:noFill/>
                </a:ln>
                <a:solidFill>
                  <a:srgbClr val="000000">
                    <a:lumMod val="75000"/>
                    <a:lumOff val="2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rPr>
              <a:t>海量库存</a:t>
            </a:r>
          </a:p>
        </p:txBody>
      </p:sp>
      <p:sp>
        <p:nvSpPr>
          <p:cNvPr id="112" name="gaoding-51">
            <a:extLst>
              <a:ext uri="{FF2B5EF4-FFF2-40B4-BE49-F238E27FC236}">
                <a16:creationId xmlns:a16="http://schemas.microsoft.com/office/drawing/2014/main" id="{E1FE6752-0C1A-4112-9986-B5618ECF0804}"/>
              </a:ext>
            </a:extLst>
          </p:cNvPr>
          <p:cNvSpPr txBox="1"/>
          <p:nvPr/>
        </p:nvSpPr>
        <p:spPr>
          <a:xfrm>
            <a:off x="3562942" y="4256358"/>
            <a:ext cx="1002103" cy="21544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400" b="0" i="0" u="none" strike="noStrike" kern="1200" cap="none" spc="0" normalizeH="0" baseline="0" noProof="0" dirty="0">
                <a:ln>
                  <a:noFill/>
                </a:ln>
                <a:solidFill>
                  <a:srgbClr val="000000">
                    <a:lumMod val="75000"/>
                    <a:lumOff val="2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rPr>
              <a:t>秋叶</a:t>
            </a:r>
            <a:r>
              <a:rPr kumimoji="0" lang="en-US" altLang="zh-CN" sz="1400" b="0" i="0" u="none" strike="noStrike" kern="1200" cap="none" spc="0" normalizeH="0" baseline="0" noProof="0" dirty="0">
                <a:ln>
                  <a:noFill/>
                </a:ln>
                <a:solidFill>
                  <a:srgbClr val="000000">
                    <a:lumMod val="75000"/>
                    <a:lumOff val="2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rPr>
              <a:t>PPT</a:t>
            </a:r>
            <a:endParaRPr kumimoji="0" lang="zh-CN" altLang="en-US" sz="1400" b="0" i="0" u="none" strike="noStrike" kern="1200" cap="none" spc="0" normalizeH="0" baseline="0" noProof="0" dirty="0">
              <a:ln>
                <a:noFill/>
              </a:ln>
              <a:solidFill>
                <a:srgbClr val="000000">
                  <a:lumMod val="75000"/>
                  <a:lumOff val="2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p:txBody>
      </p:sp>
      <p:sp>
        <p:nvSpPr>
          <p:cNvPr id="113" name="gaoding-52">
            <a:extLst>
              <a:ext uri="{FF2B5EF4-FFF2-40B4-BE49-F238E27FC236}">
                <a16:creationId xmlns:a16="http://schemas.microsoft.com/office/drawing/2014/main" id="{458FF3EE-9427-4B8C-99CC-0EFC70D6A6BF}"/>
              </a:ext>
            </a:extLst>
          </p:cNvPr>
          <p:cNvSpPr txBox="1"/>
          <p:nvPr/>
        </p:nvSpPr>
        <p:spPr>
          <a:xfrm>
            <a:off x="3562941" y="4815736"/>
            <a:ext cx="1002103" cy="21544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400" b="0" i="0" u="none" strike="noStrike" kern="1200" cap="none" spc="0" normalizeH="0" baseline="0" noProof="0" dirty="0">
                <a:ln>
                  <a:noFill/>
                </a:ln>
                <a:solidFill>
                  <a:srgbClr val="000000">
                    <a:lumMod val="75000"/>
                    <a:lumOff val="2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rPr>
              <a:t>千款模板</a:t>
            </a:r>
          </a:p>
        </p:txBody>
      </p:sp>
      <p:sp>
        <p:nvSpPr>
          <p:cNvPr id="114" name="gaoding-53">
            <a:extLst>
              <a:ext uri="{FF2B5EF4-FFF2-40B4-BE49-F238E27FC236}">
                <a16:creationId xmlns:a16="http://schemas.microsoft.com/office/drawing/2014/main" id="{DECB6691-F796-424A-99C9-B58862CD1B3C}"/>
              </a:ext>
            </a:extLst>
          </p:cNvPr>
          <p:cNvSpPr txBox="1"/>
          <p:nvPr/>
        </p:nvSpPr>
        <p:spPr>
          <a:xfrm>
            <a:off x="3562941" y="5376407"/>
            <a:ext cx="1002103" cy="21544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400" b="0" i="0" u="none" strike="noStrike" kern="1200" cap="none" spc="0" normalizeH="0" baseline="0" noProof="0" dirty="0">
                <a:ln>
                  <a:noFill/>
                </a:ln>
                <a:solidFill>
                  <a:srgbClr val="000000">
                    <a:lumMod val="75000"/>
                    <a:lumOff val="2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rPr>
              <a:t>海量库存</a:t>
            </a:r>
          </a:p>
        </p:txBody>
      </p:sp>
      <p:sp>
        <p:nvSpPr>
          <p:cNvPr id="115" name="gaoding-54">
            <a:extLst>
              <a:ext uri="{FF2B5EF4-FFF2-40B4-BE49-F238E27FC236}">
                <a16:creationId xmlns:a16="http://schemas.microsoft.com/office/drawing/2014/main" id="{B3113AFD-2518-4D87-A089-580C47A16959}"/>
              </a:ext>
            </a:extLst>
          </p:cNvPr>
          <p:cNvSpPr txBox="1"/>
          <p:nvPr/>
        </p:nvSpPr>
        <p:spPr>
          <a:xfrm>
            <a:off x="5756121" y="4261036"/>
            <a:ext cx="1002103" cy="21544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400" b="0" i="0" u="none" strike="noStrike" kern="1200" cap="none" spc="0" normalizeH="0" baseline="0" noProof="0" dirty="0">
                <a:ln>
                  <a:noFill/>
                </a:ln>
                <a:solidFill>
                  <a:srgbClr val="000000">
                    <a:lumMod val="75000"/>
                    <a:lumOff val="2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rPr>
              <a:t>秋叶</a:t>
            </a:r>
            <a:r>
              <a:rPr kumimoji="0" lang="en-US" altLang="zh-CN" sz="1400" b="0" i="0" u="none" strike="noStrike" kern="1200" cap="none" spc="0" normalizeH="0" baseline="0" noProof="0" dirty="0">
                <a:ln>
                  <a:noFill/>
                </a:ln>
                <a:solidFill>
                  <a:srgbClr val="000000">
                    <a:lumMod val="75000"/>
                    <a:lumOff val="2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rPr>
              <a:t>PPT</a:t>
            </a:r>
            <a:endParaRPr kumimoji="0" lang="zh-CN" altLang="en-US" sz="1400" b="0" i="0" u="none" strike="noStrike" kern="1200" cap="none" spc="0" normalizeH="0" baseline="0" noProof="0" dirty="0">
              <a:ln>
                <a:noFill/>
              </a:ln>
              <a:solidFill>
                <a:srgbClr val="000000">
                  <a:lumMod val="75000"/>
                  <a:lumOff val="2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p:txBody>
      </p:sp>
      <p:sp>
        <p:nvSpPr>
          <p:cNvPr id="116" name="gaoding-55">
            <a:extLst>
              <a:ext uri="{FF2B5EF4-FFF2-40B4-BE49-F238E27FC236}">
                <a16:creationId xmlns:a16="http://schemas.microsoft.com/office/drawing/2014/main" id="{E3DA4C73-58A4-438A-9816-A3D47D45366D}"/>
              </a:ext>
            </a:extLst>
          </p:cNvPr>
          <p:cNvSpPr txBox="1"/>
          <p:nvPr/>
        </p:nvSpPr>
        <p:spPr>
          <a:xfrm>
            <a:off x="5756120" y="4820414"/>
            <a:ext cx="1002103" cy="21544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400" b="0" i="0" u="none" strike="noStrike" kern="1200" cap="none" spc="0" normalizeH="0" baseline="0" noProof="0" dirty="0">
                <a:ln>
                  <a:noFill/>
                </a:ln>
                <a:solidFill>
                  <a:srgbClr val="000000">
                    <a:lumMod val="75000"/>
                    <a:lumOff val="2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rPr>
              <a:t>千款模板</a:t>
            </a:r>
          </a:p>
        </p:txBody>
      </p:sp>
      <p:sp>
        <p:nvSpPr>
          <p:cNvPr id="117" name="gaoding-56">
            <a:extLst>
              <a:ext uri="{FF2B5EF4-FFF2-40B4-BE49-F238E27FC236}">
                <a16:creationId xmlns:a16="http://schemas.microsoft.com/office/drawing/2014/main" id="{892B3253-C8D3-4485-BCCA-903F53FCBE60}"/>
              </a:ext>
            </a:extLst>
          </p:cNvPr>
          <p:cNvSpPr txBox="1"/>
          <p:nvPr/>
        </p:nvSpPr>
        <p:spPr>
          <a:xfrm>
            <a:off x="5756120" y="5381085"/>
            <a:ext cx="1002103" cy="21544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400" b="0" i="0" u="none" strike="noStrike" kern="1200" cap="none" spc="0" normalizeH="0" baseline="0" noProof="0" dirty="0">
                <a:ln>
                  <a:noFill/>
                </a:ln>
                <a:solidFill>
                  <a:srgbClr val="000000">
                    <a:lumMod val="75000"/>
                    <a:lumOff val="2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rPr>
              <a:t>海量库存</a:t>
            </a:r>
          </a:p>
        </p:txBody>
      </p:sp>
      <p:sp>
        <p:nvSpPr>
          <p:cNvPr id="118" name="gaoding-57">
            <a:extLst>
              <a:ext uri="{FF2B5EF4-FFF2-40B4-BE49-F238E27FC236}">
                <a16:creationId xmlns:a16="http://schemas.microsoft.com/office/drawing/2014/main" id="{977EDB70-2148-4894-9856-69B18AE9136D}"/>
              </a:ext>
            </a:extLst>
          </p:cNvPr>
          <p:cNvSpPr txBox="1"/>
          <p:nvPr/>
        </p:nvSpPr>
        <p:spPr>
          <a:xfrm>
            <a:off x="7930663" y="4257164"/>
            <a:ext cx="1002103" cy="21544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400" b="0" i="0" u="none" strike="noStrike" kern="1200" cap="none" spc="0" normalizeH="0" baseline="0" noProof="0" dirty="0">
                <a:ln>
                  <a:noFill/>
                </a:ln>
                <a:solidFill>
                  <a:srgbClr val="000000">
                    <a:lumMod val="75000"/>
                    <a:lumOff val="2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rPr>
              <a:t>秋叶</a:t>
            </a:r>
            <a:r>
              <a:rPr kumimoji="0" lang="en-US" altLang="zh-CN" sz="1400" b="0" i="0" u="none" strike="noStrike" kern="1200" cap="none" spc="0" normalizeH="0" baseline="0" noProof="0" dirty="0">
                <a:ln>
                  <a:noFill/>
                </a:ln>
                <a:solidFill>
                  <a:srgbClr val="000000">
                    <a:lumMod val="75000"/>
                    <a:lumOff val="2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rPr>
              <a:t>PPT</a:t>
            </a:r>
            <a:endParaRPr kumimoji="0" lang="zh-CN" altLang="en-US" sz="1400" b="0" i="0" u="none" strike="noStrike" kern="1200" cap="none" spc="0" normalizeH="0" baseline="0" noProof="0" dirty="0">
              <a:ln>
                <a:noFill/>
              </a:ln>
              <a:solidFill>
                <a:srgbClr val="000000">
                  <a:lumMod val="75000"/>
                  <a:lumOff val="2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p:txBody>
      </p:sp>
      <p:sp>
        <p:nvSpPr>
          <p:cNvPr id="119" name="gaoding-58">
            <a:extLst>
              <a:ext uri="{FF2B5EF4-FFF2-40B4-BE49-F238E27FC236}">
                <a16:creationId xmlns:a16="http://schemas.microsoft.com/office/drawing/2014/main" id="{BC73AD97-6B2D-4729-A1C7-3D3E237537DF}"/>
              </a:ext>
            </a:extLst>
          </p:cNvPr>
          <p:cNvSpPr txBox="1"/>
          <p:nvPr/>
        </p:nvSpPr>
        <p:spPr>
          <a:xfrm>
            <a:off x="7930662" y="4816542"/>
            <a:ext cx="1002103" cy="21544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400" b="0" i="0" u="none" strike="noStrike" kern="1200" cap="none" spc="0" normalizeH="0" baseline="0" noProof="0" dirty="0">
                <a:ln>
                  <a:noFill/>
                </a:ln>
                <a:solidFill>
                  <a:srgbClr val="000000">
                    <a:lumMod val="75000"/>
                    <a:lumOff val="2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rPr>
              <a:t>千款模板</a:t>
            </a:r>
          </a:p>
        </p:txBody>
      </p:sp>
      <p:sp>
        <p:nvSpPr>
          <p:cNvPr id="120" name="gaoding-59">
            <a:extLst>
              <a:ext uri="{FF2B5EF4-FFF2-40B4-BE49-F238E27FC236}">
                <a16:creationId xmlns:a16="http://schemas.microsoft.com/office/drawing/2014/main" id="{3255DE84-6C4A-49BD-89BF-274C7C14E4D2}"/>
              </a:ext>
            </a:extLst>
          </p:cNvPr>
          <p:cNvSpPr txBox="1"/>
          <p:nvPr/>
        </p:nvSpPr>
        <p:spPr>
          <a:xfrm>
            <a:off x="7930662" y="5377213"/>
            <a:ext cx="1002103" cy="21544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400" b="0" i="0" u="none" strike="noStrike" kern="1200" cap="none" spc="0" normalizeH="0" baseline="0" noProof="0" dirty="0">
                <a:ln>
                  <a:noFill/>
                </a:ln>
                <a:solidFill>
                  <a:srgbClr val="000000">
                    <a:lumMod val="75000"/>
                    <a:lumOff val="2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rPr>
              <a:t>海量库存</a:t>
            </a:r>
          </a:p>
        </p:txBody>
      </p:sp>
      <p:sp>
        <p:nvSpPr>
          <p:cNvPr id="121" name="gaoding-60">
            <a:extLst>
              <a:ext uri="{FF2B5EF4-FFF2-40B4-BE49-F238E27FC236}">
                <a16:creationId xmlns:a16="http://schemas.microsoft.com/office/drawing/2014/main" id="{235D024A-4A83-4EE0-B64E-32912064CFC3}"/>
              </a:ext>
            </a:extLst>
          </p:cNvPr>
          <p:cNvSpPr txBox="1"/>
          <p:nvPr/>
        </p:nvSpPr>
        <p:spPr>
          <a:xfrm>
            <a:off x="10144723" y="4259100"/>
            <a:ext cx="1002103" cy="21544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400" b="0" i="0" u="none" strike="noStrike" kern="1200" cap="none" spc="0" normalizeH="0" baseline="0" noProof="0" dirty="0">
                <a:ln>
                  <a:noFill/>
                </a:ln>
                <a:solidFill>
                  <a:srgbClr val="000000">
                    <a:lumMod val="75000"/>
                    <a:lumOff val="2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rPr>
              <a:t>秋叶</a:t>
            </a:r>
            <a:r>
              <a:rPr kumimoji="0" lang="en-US" altLang="zh-CN" sz="1400" b="0" i="0" u="none" strike="noStrike" kern="1200" cap="none" spc="0" normalizeH="0" baseline="0" noProof="0" dirty="0">
                <a:ln>
                  <a:noFill/>
                </a:ln>
                <a:solidFill>
                  <a:srgbClr val="000000">
                    <a:lumMod val="75000"/>
                    <a:lumOff val="2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rPr>
              <a:t>PPT</a:t>
            </a:r>
            <a:endParaRPr kumimoji="0" lang="zh-CN" altLang="en-US" sz="1400" b="0" i="0" u="none" strike="noStrike" kern="1200" cap="none" spc="0" normalizeH="0" baseline="0" noProof="0" dirty="0">
              <a:ln>
                <a:noFill/>
              </a:ln>
              <a:solidFill>
                <a:srgbClr val="000000">
                  <a:lumMod val="75000"/>
                  <a:lumOff val="2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p:txBody>
      </p:sp>
      <p:sp>
        <p:nvSpPr>
          <p:cNvPr id="122" name="gaoding-61">
            <a:extLst>
              <a:ext uri="{FF2B5EF4-FFF2-40B4-BE49-F238E27FC236}">
                <a16:creationId xmlns:a16="http://schemas.microsoft.com/office/drawing/2014/main" id="{8EE4F3DF-234A-43A9-803C-2B8FDB23265B}"/>
              </a:ext>
            </a:extLst>
          </p:cNvPr>
          <p:cNvSpPr txBox="1"/>
          <p:nvPr/>
        </p:nvSpPr>
        <p:spPr>
          <a:xfrm>
            <a:off x="10144722" y="4818478"/>
            <a:ext cx="1002103" cy="21544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400" b="0" i="0" u="none" strike="noStrike" kern="1200" cap="none" spc="0" normalizeH="0" baseline="0" noProof="0" dirty="0">
                <a:ln>
                  <a:noFill/>
                </a:ln>
                <a:solidFill>
                  <a:srgbClr val="000000">
                    <a:lumMod val="75000"/>
                    <a:lumOff val="2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rPr>
              <a:t>千款模板</a:t>
            </a:r>
          </a:p>
        </p:txBody>
      </p:sp>
      <p:sp>
        <p:nvSpPr>
          <p:cNvPr id="123" name="gaoding-62">
            <a:extLst>
              <a:ext uri="{FF2B5EF4-FFF2-40B4-BE49-F238E27FC236}">
                <a16:creationId xmlns:a16="http://schemas.microsoft.com/office/drawing/2014/main" id="{EC0D6984-54F9-49B3-A416-139E67108FC5}"/>
              </a:ext>
            </a:extLst>
          </p:cNvPr>
          <p:cNvSpPr txBox="1"/>
          <p:nvPr/>
        </p:nvSpPr>
        <p:spPr>
          <a:xfrm>
            <a:off x="10144722" y="5379149"/>
            <a:ext cx="1002103" cy="21544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400" b="0" i="0" u="none" strike="noStrike" kern="1200" cap="none" spc="0" normalizeH="0" baseline="0" noProof="0" dirty="0">
                <a:ln>
                  <a:noFill/>
                </a:ln>
                <a:solidFill>
                  <a:srgbClr val="000000">
                    <a:lumMod val="75000"/>
                    <a:lumOff val="2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rPr>
              <a:t>海量库存</a:t>
            </a:r>
          </a:p>
        </p:txBody>
      </p:sp>
    </p:spTree>
    <p:custDataLst>
      <p:tags r:id="rId2"/>
    </p:custDataLst>
    <p:extLst>
      <p:ext uri="{BB962C8B-B14F-4D97-AF65-F5344CB8AC3E}">
        <p14:creationId xmlns:p14="http://schemas.microsoft.com/office/powerpoint/2010/main" val="2629732226"/>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7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85" name="gaoding-1"/>
          <p:cNvSpPr/>
          <p:nvPr/>
        </p:nvSpPr>
        <p:spPr>
          <a:xfrm>
            <a:off x="2224521" y="2151267"/>
            <a:ext cx="7753128" cy="3403969"/>
          </a:xfrm>
          <a:custGeom>
            <a:avLst/>
            <a:gdLst/>
            <a:ahLst/>
            <a:cxnLst>
              <a:cxn ang="0">
                <a:pos x="wd2" y="hd2"/>
              </a:cxn>
              <a:cxn ang="5400000">
                <a:pos x="wd2" y="hd2"/>
              </a:cxn>
              <a:cxn ang="10800000">
                <a:pos x="wd2" y="hd2"/>
              </a:cxn>
              <a:cxn ang="16200000">
                <a:pos x="wd2" y="hd2"/>
              </a:cxn>
            </a:cxnLst>
            <a:rect l="0" t="0" r="r" b="b"/>
            <a:pathLst>
              <a:path w="21600" h="21584" extrusionOk="0">
                <a:moveTo>
                  <a:pt x="0" y="21562"/>
                </a:moveTo>
                <a:lnTo>
                  <a:pt x="0" y="825"/>
                </a:lnTo>
                <a:cubicBezTo>
                  <a:pt x="1" y="602"/>
                  <a:pt x="41" y="389"/>
                  <a:pt x="111" y="234"/>
                </a:cubicBezTo>
                <a:cubicBezTo>
                  <a:pt x="186" y="68"/>
                  <a:pt x="289" y="-16"/>
                  <a:pt x="393" y="2"/>
                </a:cubicBezTo>
                <a:lnTo>
                  <a:pt x="21245" y="2"/>
                </a:lnTo>
                <a:cubicBezTo>
                  <a:pt x="21350" y="5"/>
                  <a:pt x="21448" y="111"/>
                  <a:pt x="21516" y="292"/>
                </a:cubicBezTo>
                <a:cubicBezTo>
                  <a:pt x="21570" y="437"/>
                  <a:pt x="21599" y="619"/>
                  <a:pt x="21600" y="808"/>
                </a:cubicBezTo>
                <a:lnTo>
                  <a:pt x="21600" y="21584"/>
                </a:lnTo>
              </a:path>
            </a:pathLst>
          </a:custGeom>
          <a:noFill/>
          <a:ln w="25400" cap="flat">
            <a:solidFill>
              <a:schemeClr val="accent6">
                <a:lumMod val="40000"/>
                <a:lumOff val="60000"/>
              </a:schemeClr>
            </a:solidFill>
            <a:prstDash val="solid"/>
            <a:miter lim="400000"/>
          </a:ln>
          <a:effectLst/>
        </p:spPr>
        <p:txBody>
          <a:bodyPr wrap="square" lIns="0" tIns="0" rIns="0" bIns="0" numCol="1"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1600" b="0" i="0" u="none" strike="noStrike" kern="1200" cap="none" spc="0" normalizeH="0" baseline="0" noProof="0" dirty="0">
              <a:ln>
                <a:noFill/>
              </a:ln>
              <a:solidFill>
                <a:srgbClr val="FFFFFF"/>
              </a:solidFill>
              <a:effectLst/>
              <a:uLnTx/>
              <a:uFillTx/>
              <a:latin typeface="OPPOSans R" panose="00020600040101010101" pitchFamily="18" charset="-122"/>
              <a:ea typeface="微软雅黑"/>
              <a:cs typeface="+mn-cs"/>
              <a:sym typeface="Helvetica Neue Medium"/>
            </a:endParaRPr>
          </a:p>
        </p:txBody>
      </p:sp>
      <p:sp>
        <p:nvSpPr>
          <p:cNvPr id="2" name="gaoding-2">
            <a:extLst>
              <a:ext uri="{FF2B5EF4-FFF2-40B4-BE49-F238E27FC236}">
                <a16:creationId xmlns:a16="http://schemas.microsoft.com/office/drawing/2014/main" id="{00C1E294-94B3-4F0A-8633-E9C5B5698C93}"/>
              </a:ext>
            </a:extLst>
          </p:cNvPr>
          <p:cNvSpPr/>
          <p:nvPr/>
        </p:nvSpPr>
        <p:spPr>
          <a:xfrm>
            <a:off x="815869" y="3474002"/>
            <a:ext cx="11081491" cy="263554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srgbClr val="FFFFFF"/>
              </a:solidFill>
              <a:effectLst/>
              <a:uLnTx/>
              <a:uFillTx/>
              <a:latin typeface="OPPOSans R" panose="00020600040101010101" pitchFamily="18" charset="-122"/>
              <a:ea typeface="微软雅黑"/>
              <a:cs typeface="+mn-cs"/>
            </a:endParaRPr>
          </a:p>
        </p:txBody>
      </p:sp>
      <p:sp>
        <p:nvSpPr>
          <p:cNvPr id="3084" name="gaoding-3"/>
          <p:cNvSpPr/>
          <p:nvPr/>
        </p:nvSpPr>
        <p:spPr>
          <a:xfrm flipV="1">
            <a:off x="6084401" y="1706635"/>
            <a:ext cx="23036" cy="1762666"/>
          </a:xfrm>
          <a:prstGeom prst="line">
            <a:avLst/>
          </a:prstGeom>
          <a:noFill/>
          <a:ln w="25400" cap="flat">
            <a:solidFill>
              <a:schemeClr val="accent6">
                <a:lumMod val="40000"/>
                <a:lumOff val="60000"/>
              </a:schemeClr>
            </a:solidFill>
            <a:prstDash val="solid"/>
            <a:miter lim="400000"/>
          </a:ln>
          <a:effectLst/>
        </p:spPr>
        <p:txBody>
          <a:bodyPr wrap="square" lIns="0" tIns="0" rIns="0" bIns="0" numCol="1"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1600" b="0" i="0" u="none" strike="noStrike" kern="1200" cap="none" spc="0" normalizeH="0" baseline="0" noProof="0" dirty="0">
              <a:ln>
                <a:noFill/>
              </a:ln>
              <a:solidFill>
                <a:srgbClr val="FFFFFF"/>
              </a:solidFill>
              <a:effectLst/>
              <a:uLnTx/>
              <a:uFillTx/>
              <a:latin typeface="OPPOSans R" panose="00020600040101010101" pitchFamily="18" charset="-122"/>
              <a:ea typeface="微软雅黑"/>
              <a:cs typeface="+mn-cs"/>
              <a:sym typeface="Helvetica Neue Medium"/>
            </a:endParaRPr>
          </a:p>
        </p:txBody>
      </p:sp>
      <p:sp>
        <p:nvSpPr>
          <p:cNvPr id="3086" name="gaoding-4"/>
          <p:cNvSpPr/>
          <p:nvPr/>
        </p:nvSpPr>
        <p:spPr>
          <a:xfrm>
            <a:off x="4713010" y="1147698"/>
            <a:ext cx="2789235" cy="615488"/>
          </a:xfrm>
          <a:custGeom>
            <a:avLst/>
            <a:gdLst/>
            <a:ahLst/>
            <a:cxnLst>
              <a:cxn ang="0">
                <a:pos x="wd2" y="hd2"/>
              </a:cxn>
              <a:cxn ang="5400000">
                <a:pos x="wd2" y="hd2"/>
              </a:cxn>
              <a:cxn ang="10800000">
                <a:pos x="wd2" y="hd2"/>
              </a:cxn>
              <a:cxn ang="16200000">
                <a:pos x="wd2" y="hd2"/>
              </a:cxn>
            </a:cxnLst>
            <a:rect l="0" t="0" r="r" b="b"/>
            <a:pathLst>
              <a:path w="21600" h="21600" extrusionOk="0">
                <a:moveTo>
                  <a:pt x="917" y="0"/>
                </a:moveTo>
                <a:lnTo>
                  <a:pt x="20683" y="0"/>
                </a:lnTo>
                <a:cubicBezTo>
                  <a:pt x="20815" y="0"/>
                  <a:pt x="20914" y="0"/>
                  <a:pt x="20998" y="25"/>
                </a:cubicBezTo>
                <a:cubicBezTo>
                  <a:pt x="21082" y="51"/>
                  <a:pt x="21150" y="102"/>
                  <a:pt x="21221" y="204"/>
                </a:cubicBezTo>
                <a:cubicBezTo>
                  <a:pt x="21299" y="332"/>
                  <a:pt x="21368" y="534"/>
                  <a:pt x="21425" y="792"/>
                </a:cubicBezTo>
                <a:cubicBezTo>
                  <a:pt x="21482" y="1051"/>
                  <a:pt x="21527" y="1365"/>
                  <a:pt x="21555" y="1716"/>
                </a:cubicBezTo>
                <a:cubicBezTo>
                  <a:pt x="21578" y="2037"/>
                  <a:pt x="21589" y="2349"/>
                  <a:pt x="21594" y="2732"/>
                </a:cubicBezTo>
                <a:cubicBezTo>
                  <a:pt x="21600" y="3115"/>
                  <a:pt x="21600" y="3568"/>
                  <a:pt x="21600" y="4173"/>
                </a:cubicBezTo>
                <a:lnTo>
                  <a:pt x="21600" y="17445"/>
                </a:lnTo>
                <a:cubicBezTo>
                  <a:pt x="21600" y="18041"/>
                  <a:pt x="21600" y="18490"/>
                  <a:pt x="21594" y="18870"/>
                </a:cubicBezTo>
                <a:cubicBezTo>
                  <a:pt x="21589" y="19251"/>
                  <a:pt x="21578" y="19563"/>
                  <a:pt x="21555" y="19884"/>
                </a:cubicBezTo>
                <a:cubicBezTo>
                  <a:pt x="21527" y="20235"/>
                  <a:pt x="21482" y="20549"/>
                  <a:pt x="21425" y="20808"/>
                </a:cubicBezTo>
                <a:cubicBezTo>
                  <a:pt x="21368" y="21066"/>
                  <a:pt x="21299" y="21268"/>
                  <a:pt x="21221" y="21396"/>
                </a:cubicBezTo>
                <a:cubicBezTo>
                  <a:pt x="21150" y="21498"/>
                  <a:pt x="21082" y="21549"/>
                  <a:pt x="20997" y="21575"/>
                </a:cubicBezTo>
                <a:cubicBezTo>
                  <a:pt x="20913" y="21600"/>
                  <a:pt x="20813" y="21600"/>
                  <a:pt x="20679" y="21600"/>
                </a:cubicBezTo>
                <a:lnTo>
                  <a:pt x="917" y="21600"/>
                </a:lnTo>
                <a:cubicBezTo>
                  <a:pt x="785" y="21600"/>
                  <a:pt x="686" y="21600"/>
                  <a:pt x="602" y="21575"/>
                </a:cubicBezTo>
                <a:cubicBezTo>
                  <a:pt x="518" y="21549"/>
                  <a:pt x="450" y="21498"/>
                  <a:pt x="379" y="21396"/>
                </a:cubicBezTo>
                <a:cubicBezTo>
                  <a:pt x="301" y="21268"/>
                  <a:pt x="232" y="21066"/>
                  <a:pt x="175" y="20808"/>
                </a:cubicBezTo>
                <a:cubicBezTo>
                  <a:pt x="118" y="20549"/>
                  <a:pt x="73" y="20235"/>
                  <a:pt x="45" y="19884"/>
                </a:cubicBezTo>
                <a:cubicBezTo>
                  <a:pt x="22" y="19563"/>
                  <a:pt x="11" y="19251"/>
                  <a:pt x="6" y="18868"/>
                </a:cubicBezTo>
                <a:cubicBezTo>
                  <a:pt x="0" y="18485"/>
                  <a:pt x="0" y="18032"/>
                  <a:pt x="0" y="17427"/>
                </a:cubicBezTo>
                <a:lnTo>
                  <a:pt x="0" y="4155"/>
                </a:lnTo>
                <a:cubicBezTo>
                  <a:pt x="0" y="3559"/>
                  <a:pt x="0" y="3110"/>
                  <a:pt x="6" y="2730"/>
                </a:cubicBezTo>
                <a:cubicBezTo>
                  <a:pt x="11" y="2349"/>
                  <a:pt x="22" y="2037"/>
                  <a:pt x="45" y="1716"/>
                </a:cubicBezTo>
                <a:cubicBezTo>
                  <a:pt x="73" y="1365"/>
                  <a:pt x="118" y="1051"/>
                  <a:pt x="175" y="792"/>
                </a:cubicBezTo>
                <a:cubicBezTo>
                  <a:pt x="232" y="534"/>
                  <a:pt x="301" y="332"/>
                  <a:pt x="379" y="204"/>
                </a:cubicBezTo>
                <a:cubicBezTo>
                  <a:pt x="450" y="102"/>
                  <a:pt x="518" y="51"/>
                  <a:pt x="603" y="25"/>
                </a:cubicBezTo>
                <a:cubicBezTo>
                  <a:pt x="687" y="0"/>
                  <a:pt x="787" y="0"/>
                  <a:pt x="921" y="0"/>
                </a:cubicBezTo>
                <a:lnTo>
                  <a:pt x="917" y="0"/>
                </a:lnTo>
                <a:close/>
              </a:path>
            </a:pathLst>
          </a:custGeom>
          <a:gradFill flip="none" rotWithShape="1">
            <a:gsLst>
              <a:gs pos="1000">
                <a:schemeClr val="accent1"/>
              </a:gs>
              <a:gs pos="100000">
                <a:schemeClr val="accent1">
                  <a:lumMod val="60000"/>
                  <a:lumOff val="40000"/>
                </a:schemeClr>
              </a:gs>
            </a:gsLst>
            <a:lin ang="27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5720" tIns="22860" rIns="45720" bIns="228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FFFFFF"/>
              </a:solidFill>
              <a:effectLst/>
              <a:uLnTx/>
              <a:uFillTx/>
              <a:latin typeface="OPPOSans R" panose="00020600040101010101" pitchFamily="18" charset="-122"/>
              <a:ea typeface="微软雅黑"/>
              <a:cs typeface="+mn-cs"/>
            </a:endParaRPr>
          </a:p>
        </p:txBody>
      </p:sp>
      <p:sp>
        <p:nvSpPr>
          <p:cNvPr id="3088" name="gaoding-5"/>
          <p:cNvSpPr/>
          <p:nvPr/>
        </p:nvSpPr>
        <p:spPr>
          <a:xfrm>
            <a:off x="4897790" y="1019028"/>
            <a:ext cx="860128" cy="860128"/>
          </a:xfrm>
          <a:prstGeom prst="ellipse">
            <a:avLst/>
          </a:prstGeom>
          <a:solidFill>
            <a:schemeClr val="bg1"/>
          </a:solidFill>
          <a:ln w="12700" cap="flat">
            <a:noFill/>
            <a:miter lim="400000"/>
          </a:ln>
          <a:effectLst>
            <a:outerShdw blurRad="190500" dist="38100" dir="5400000" sx="103000" sy="103000" algn="ctr" rotWithShape="0">
              <a:schemeClr val="accent1">
                <a:lumMod val="50000"/>
                <a:alpha val="20000"/>
              </a:schemeClr>
            </a:outerShdw>
          </a:effectLst>
        </p:spPr>
        <p:txBody>
          <a:bodyPr wrap="square" lIns="0" tIns="0" rIns="0" bIns="0" numCol="1"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600" b="0" i="0" u="none" strike="noStrike" kern="1200" cap="none" spc="0" normalizeH="0" baseline="0" noProof="0" dirty="0">
              <a:ln>
                <a:noFill/>
              </a:ln>
              <a:solidFill>
                <a:srgbClr val="FFFFFF"/>
              </a:solidFill>
              <a:effectLst/>
              <a:uLnTx/>
              <a:uFillTx/>
              <a:latin typeface="OPPOSans R" panose="00020600040101010101" pitchFamily="18" charset="-122"/>
              <a:ea typeface="微软雅黑"/>
              <a:cs typeface="+mn-cs"/>
            </a:endParaRPr>
          </a:p>
        </p:txBody>
      </p:sp>
      <p:sp>
        <p:nvSpPr>
          <p:cNvPr id="3090" name="gaoding-6"/>
          <p:cNvSpPr/>
          <p:nvPr/>
        </p:nvSpPr>
        <p:spPr>
          <a:xfrm>
            <a:off x="826517" y="2488753"/>
            <a:ext cx="2789235" cy="615488"/>
          </a:xfrm>
          <a:custGeom>
            <a:avLst/>
            <a:gdLst/>
            <a:ahLst/>
            <a:cxnLst>
              <a:cxn ang="0">
                <a:pos x="wd2" y="hd2"/>
              </a:cxn>
              <a:cxn ang="5400000">
                <a:pos x="wd2" y="hd2"/>
              </a:cxn>
              <a:cxn ang="10800000">
                <a:pos x="wd2" y="hd2"/>
              </a:cxn>
              <a:cxn ang="16200000">
                <a:pos x="wd2" y="hd2"/>
              </a:cxn>
            </a:cxnLst>
            <a:rect l="0" t="0" r="r" b="b"/>
            <a:pathLst>
              <a:path w="21600" h="21600" extrusionOk="0">
                <a:moveTo>
                  <a:pt x="917" y="0"/>
                </a:moveTo>
                <a:lnTo>
                  <a:pt x="20683" y="0"/>
                </a:lnTo>
                <a:cubicBezTo>
                  <a:pt x="20815" y="0"/>
                  <a:pt x="20914" y="0"/>
                  <a:pt x="20998" y="25"/>
                </a:cubicBezTo>
                <a:cubicBezTo>
                  <a:pt x="21082" y="51"/>
                  <a:pt x="21150" y="102"/>
                  <a:pt x="21221" y="204"/>
                </a:cubicBezTo>
                <a:cubicBezTo>
                  <a:pt x="21299" y="332"/>
                  <a:pt x="21368" y="534"/>
                  <a:pt x="21425" y="792"/>
                </a:cubicBezTo>
                <a:cubicBezTo>
                  <a:pt x="21482" y="1051"/>
                  <a:pt x="21527" y="1365"/>
                  <a:pt x="21555" y="1716"/>
                </a:cubicBezTo>
                <a:cubicBezTo>
                  <a:pt x="21578" y="2037"/>
                  <a:pt x="21589" y="2349"/>
                  <a:pt x="21594" y="2732"/>
                </a:cubicBezTo>
                <a:cubicBezTo>
                  <a:pt x="21600" y="3115"/>
                  <a:pt x="21600" y="3568"/>
                  <a:pt x="21600" y="4173"/>
                </a:cubicBezTo>
                <a:lnTo>
                  <a:pt x="21600" y="17445"/>
                </a:lnTo>
                <a:cubicBezTo>
                  <a:pt x="21600" y="18041"/>
                  <a:pt x="21600" y="18490"/>
                  <a:pt x="21594" y="18870"/>
                </a:cubicBezTo>
                <a:cubicBezTo>
                  <a:pt x="21589" y="19251"/>
                  <a:pt x="21578" y="19563"/>
                  <a:pt x="21555" y="19884"/>
                </a:cubicBezTo>
                <a:cubicBezTo>
                  <a:pt x="21527" y="20235"/>
                  <a:pt x="21482" y="20549"/>
                  <a:pt x="21425" y="20808"/>
                </a:cubicBezTo>
                <a:cubicBezTo>
                  <a:pt x="21368" y="21066"/>
                  <a:pt x="21299" y="21268"/>
                  <a:pt x="21221" y="21396"/>
                </a:cubicBezTo>
                <a:cubicBezTo>
                  <a:pt x="21150" y="21498"/>
                  <a:pt x="21082" y="21549"/>
                  <a:pt x="20997" y="21575"/>
                </a:cubicBezTo>
                <a:cubicBezTo>
                  <a:pt x="20913" y="21600"/>
                  <a:pt x="20813" y="21600"/>
                  <a:pt x="20679" y="21600"/>
                </a:cubicBezTo>
                <a:lnTo>
                  <a:pt x="917" y="21600"/>
                </a:lnTo>
                <a:cubicBezTo>
                  <a:pt x="785" y="21600"/>
                  <a:pt x="686" y="21600"/>
                  <a:pt x="602" y="21575"/>
                </a:cubicBezTo>
                <a:cubicBezTo>
                  <a:pt x="518" y="21549"/>
                  <a:pt x="450" y="21498"/>
                  <a:pt x="379" y="21396"/>
                </a:cubicBezTo>
                <a:cubicBezTo>
                  <a:pt x="301" y="21268"/>
                  <a:pt x="232" y="21066"/>
                  <a:pt x="175" y="20808"/>
                </a:cubicBezTo>
                <a:cubicBezTo>
                  <a:pt x="118" y="20549"/>
                  <a:pt x="73" y="20235"/>
                  <a:pt x="45" y="19884"/>
                </a:cubicBezTo>
                <a:cubicBezTo>
                  <a:pt x="22" y="19563"/>
                  <a:pt x="11" y="19251"/>
                  <a:pt x="6" y="18868"/>
                </a:cubicBezTo>
                <a:cubicBezTo>
                  <a:pt x="0" y="18485"/>
                  <a:pt x="0" y="18032"/>
                  <a:pt x="0" y="17427"/>
                </a:cubicBezTo>
                <a:lnTo>
                  <a:pt x="0" y="4155"/>
                </a:lnTo>
                <a:cubicBezTo>
                  <a:pt x="0" y="3559"/>
                  <a:pt x="0" y="3110"/>
                  <a:pt x="6" y="2730"/>
                </a:cubicBezTo>
                <a:cubicBezTo>
                  <a:pt x="11" y="2349"/>
                  <a:pt x="22" y="2037"/>
                  <a:pt x="45" y="1716"/>
                </a:cubicBezTo>
                <a:cubicBezTo>
                  <a:pt x="73" y="1365"/>
                  <a:pt x="118" y="1051"/>
                  <a:pt x="175" y="792"/>
                </a:cubicBezTo>
                <a:cubicBezTo>
                  <a:pt x="232" y="534"/>
                  <a:pt x="301" y="332"/>
                  <a:pt x="379" y="204"/>
                </a:cubicBezTo>
                <a:cubicBezTo>
                  <a:pt x="450" y="102"/>
                  <a:pt x="518" y="51"/>
                  <a:pt x="603" y="25"/>
                </a:cubicBezTo>
                <a:cubicBezTo>
                  <a:pt x="687" y="0"/>
                  <a:pt x="787" y="0"/>
                  <a:pt x="921" y="0"/>
                </a:cubicBezTo>
                <a:lnTo>
                  <a:pt x="917" y="0"/>
                </a:lnTo>
                <a:close/>
              </a:path>
            </a:pathLst>
          </a:custGeom>
          <a:gradFill flip="none" rotWithShape="1">
            <a:gsLst>
              <a:gs pos="1000">
                <a:schemeClr val="accent2"/>
              </a:gs>
              <a:gs pos="100000">
                <a:schemeClr val="accent2">
                  <a:lumMod val="60000"/>
                  <a:lumOff val="40000"/>
                </a:schemeClr>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5720" tIns="22860" rIns="45720" bIns="228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FFFFFF"/>
              </a:solidFill>
              <a:effectLst/>
              <a:uLnTx/>
              <a:uFillTx/>
              <a:latin typeface="OPPOSans R" panose="00020600040101010101" pitchFamily="18" charset="-122"/>
              <a:ea typeface="微软雅黑"/>
              <a:cs typeface="+mn-cs"/>
            </a:endParaRPr>
          </a:p>
        </p:txBody>
      </p:sp>
      <p:sp>
        <p:nvSpPr>
          <p:cNvPr id="3092" name="gaoding-7"/>
          <p:cNvSpPr/>
          <p:nvPr/>
        </p:nvSpPr>
        <p:spPr>
          <a:xfrm>
            <a:off x="1011296" y="2360082"/>
            <a:ext cx="860128" cy="860129"/>
          </a:xfrm>
          <a:prstGeom prst="ellipse">
            <a:avLst/>
          </a:prstGeom>
          <a:solidFill>
            <a:schemeClr val="bg1"/>
          </a:solidFill>
          <a:ln w="12700" cap="flat">
            <a:solidFill>
              <a:schemeClr val="bg1">
                <a:lumMod val="85000"/>
              </a:schemeClr>
            </a:solidFill>
            <a:miter lim="400000"/>
          </a:ln>
          <a:effectLst>
            <a:outerShdw blurRad="190500" dist="38100" dir="5400000" sx="103000" sy="103000" algn="ctr" rotWithShape="0">
              <a:schemeClr val="accent2">
                <a:lumMod val="50000"/>
                <a:alpha val="20000"/>
              </a:schemeClr>
            </a:outerShdw>
          </a:effectLst>
        </p:spPr>
        <p:txBody>
          <a:bodyPr wrap="square" lIns="0" tIns="0" rIns="0" bIns="0" numCol="1"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1600" b="0" i="0" u="none" strike="noStrike" kern="1200" cap="none" spc="0" normalizeH="0" baseline="0" noProof="0" dirty="0">
              <a:ln>
                <a:noFill/>
              </a:ln>
              <a:solidFill>
                <a:srgbClr val="FFFFFF"/>
              </a:solidFill>
              <a:effectLst/>
              <a:uLnTx/>
              <a:uFillTx/>
              <a:latin typeface="OPPOSans R" panose="00020600040101010101" pitchFamily="18" charset="-122"/>
              <a:ea typeface="微软雅黑"/>
              <a:cs typeface="+mn-cs"/>
              <a:sym typeface="Helvetica Neue Medium"/>
            </a:endParaRPr>
          </a:p>
        </p:txBody>
      </p:sp>
      <p:sp>
        <p:nvSpPr>
          <p:cNvPr id="3094" name="gaoding-8"/>
          <p:cNvSpPr/>
          <p:nvPr/>
        </p:nvSpPr>
        <p:spPr>
          <a:xfrm>
            <a:off x="4712818" y="2488753"/>
            <a:ext cx="2789235" cy="615488"/>
          </a:xfrm>
          <a:custGeom>
            <a:avLst/>
            <a:gdLst/>
            <a:ahLst/>
            <a:cxnLst>
              <a:cxn ang="0">
                <a:pos x="wd2" y="hd2"/>
              </a:cxn>
              <a:cxn ang="5400000">
                <a:pos x="wd2" y="hd2"/>
              </a:cxn>
              <a:cxn ang="10800000">
                <a:pos x="wd2" y="hd2"/>
              </a:cxn>
              <a:cxn ang="16200000">
                <a:pos x="wd2" y="hd2"/>
              </a:cxn>
            </a:cxnLst>
            <a:rect l="0" t="0" r="r" b="b"/>
            <a:pathLst>
              <a:path w="21600" h="21600" extrusionOk="0">
                <a:moveTo>
                  <a:pt x="917" y="0"/>
                </a:moveTo>
                <a:lnTo>
                  <a:pt x="20683" y="0"/>
                </a:lnTo>
                <a:cubicBezTo>
                  <a:pt x="20815" y="0"/>
                  <a:pt x="20914" y="0"/>
                  <a:pt x="20998" y="25"/>
                </a:cubicBezTo>
                <a:cubicBezTo>
                  <a:pt x="21082" y="51"/>
                  <a:pt x="21150" y="102"/>
                  <a:pt x="21221" y="204"/>
                </a:cubicBezTo>
                <a:cubicBezTo>
                  <a:pt x="21299" y="332"/>
                  <a:pt x="21368" y="534"/>
                  <a:pt x="21425" y="792"/>
                </a:cubicBezTo>
                <a:cubicBezTo>
                  <a:pt x="21482" y="1051"/>
                  <a:pt x="21527" y="1365"/>
                  <a:pt x="21555" y="1716"/>
                </a:cubicBezTo>
                <a:cubicBezTo>
                  <a:pt x="21578" y="2037"/>
                  <a:pt x="21589" y="2349"/>
                  <a:pt x="21594" y="2732"/>
                </a:cubicBezTo>
                <a:cubicBezTo>
                  <a:pt x="21600" y="3115"/>
                  <a:pt x="21600" y="3568"/>
                  <a:pt x="21600" y="4173"/>
                </a:cubicBezTo>
                <a:lnTo>
                  <a:pt x="21600" y="17445"/>
                </a:lnTo>
                <a:cubicBezTo>
                  <a:pt x="21600" y="18041"/>
                  <a:pt x="21600" y="18490"/>
                  <a:pt x="21594" y="18870"/>
                </a:cubicBezTo>
                <a:cubicBezTo>
                  <a:pt x="21589" y="19251"/>
                  <a:pt x="21578" y="19563"/>
                  <a:pt x="21555" y="19884"/>
                </a:cubicBezTo>
                <a:cubicBezTo>
                  <a:pt x="21527" y="20235"/>
                  <a:pt x="21482" y="20549"/>
                  <a:pt x="21425" y="20808"/>
                </a:cubicBezTo>
                <a:cubicBezTo>
                  <a:pt x="21368" y="21066"/>
                  <a:pt x="21299" y="21268"/>
                  <a:pt x="21221" y="21396"/>
                </a:cubicBezTo>
                <a:cubicBezTo>
                  <a:pt x="21150" y="21498"/>
                  <a:pt x="21082" y="21549"/>
                  <a:pt x="20997" y="21575"/>
                </a:cubicBezTo>
                <a:cubicBezTo>
                  <a:pt x="20913" y="21600"/>
                  <a:pt x="20813" y="21600"/>
                  <a:pt x="20679" y="21600"/>
                </a:cubicBezTo>
                <a:lnTo>
                  <a:pt x="917" y="21600"/>
                </a:lnTo>
                <a:cubicBezTo>
                  <a:pt x="785" y="21600"/>
                  <a:pt x="686" y="21600"/>
                  <a:pt x="602" y="21575"/>
                </a:cubicBezTo>
                <a:cubicBezTo>
                  <a:pt x="518" y="21549"/>
                  <a:pt x="450" y="21498"/>
                  <a:pt x="379" y="21396"/>
                </a:cubicBezTo>
                <a:cubicBezTo>
                  <a:pt x="301" y="21268"/>
                  <a:pt x="232" y="21066"/>
                  <a:pt x="175" y="20808"/>
                </a:cubicBezTo>
                <a:cubicBezTo>
                  <a:pt x="118" y="20549"/>
                  <a:pt x="73" y="20235"/>
                  <a:pt x="45" y="19884"/>
                </a:cubicBezTo>
                <a:cubicBezTo>
                  <a:pt x="22" y="19563"/>
                  <a:pt x="11" y="19251"/>
                  <a:pt x="6" y="18868"/>
                </a:cubicBezTo>
                <a:cubicBezTo>
                  <a:pt x="0" y="18485"/>
                  <a:pt x="0" y="18032"/>
                  <a:pt x="0" y="17427"/>
                </a:cubicBezTo>
                <a:lnTo>
                  <a:pt x="0" y="4155"/>
                </a:lnTo>
                <a:cubicBezTo>
                  <a:pt x="0" y="3559"/>
                  <a:pt x="0" y="3110"/>
                  <a:pt x="6" y="2730"/>
                </a:cubicBezTo>
                <a:cubicBezTo>
                  <a:pt x="11" y="2349"/>
                  <a:pt x="22" y="2037"/>
                  <a:pt x="45" y="1716"/>
                </a:cubicBezTo>
                <a:cubicBezTo>
                  <a:pt x="73" y="1365"/>
                  <a:pt x="118" y="1051"/>
                  <a:pt x="175" y="792"/>
                </a:cubicBezTo>
                <a:cubicBezTo>
                  <a:pt x="232" y="534"/>
                  <a:pt x="301" y="332"/>
                  <a:pt x="379" y="204"/>
                </a:cubicBezTo>
                <a:cubicBezTo>
                  <a:pt x="450" y="102"/>
                  <a:pt x="518" y="51"/>
                  <a:pt x="603" y="25"/>
                </a:cubicBezTo>
                <a:cubicBezTo>
                  <a:pt x="687" y="0"/>
                  <a:pt x="787" y="0"/>
                  <a:pt x="921" y="0"/>
                </a:cubicBezTo>
                <a:lnTo>
                  <a:pt x="917" y="0"/>
                </a:lnTo>
                <a:close/>
              </a:path>
            </a:pathLst>
          </a:custGeom>
          <a:gradFill flip="none" rotWithShape="1">
            <a:gsLst>
              <a:gs pos="1000">
                <a:schemeClr val="accent3"/>
              </a:gs>
              <a:gs pos="100000">
                <a:schemeClr val="accent3">
                  <a:lumMod val="60000"/>
                  <a:lumOff val="40000"/>
                </a:schemeClr>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5720" tIns="22860" rIns="45720" bIns="228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FFFFFF"/>
              </a:solidFill>
              <a:effectLst/>
              <a:uLnTx/>
              <a:uFillTx/>
              <a:latin typeface="OPPOSans R" panose="00020600040101010101" pitchFamily="18" charset="-122"/>
              <a:ea typeface="微软雅黑"/>
              <a:cs typeface="+mn-cs"/>
            </a:endParaRPr>
          </a:p>
        </p:txBody>
      </p:sp>
      <p:sp>
        <p:nvSpPr>
          <p:cNvPr id="3096" name="gaoding-9"/>
          <p:cNvSpPr/>
          <p:nvPr/>
        </p:nvSpPr>
        <p:spPr>
          <a:xfrm>
            <a:off x="4897597" y="2360082"/>
            <a:ext cx="860128" cy="860129"/>
          </a:xfrm>
          <a:prstGeom prst="ellipse">
            <a:avLst/>
          </a:prstGeom>
          <a:solidFill>
            <a:schemeClr val="bg1"/>
          </a:solidFill>
          <a:ln w="12700" cap="flat">
            <a:noFill/>
            <a:miter lim="400000"/>
          </a:ln>
          <a:effectLst>
            <a:outerShdw blurRad="190500" dist="38100" dir="5400000" sx="103000" sy="103000" algn="ctr" rotWithShape="0">
              <a:schemeClr val="accent3">
                <a:lumMod val="50000"/>
                <a:alpha val="20000"/>
              </a:schemeClr>
            </a:outerShdw>
          </a:effectLst>
        </p:spPr>
        <p:txBody>
          <a:bodyPr wrap="square" lIns="0" tIns="0" rIns="0" bIns="0" numCol="1"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600" b="0" i="0" u="none" strike="noStrike" kern="1200" cap="none" spc="0" normalizeH="0" baseline="0" noProof="0" dirty="0">
              <a:ln>
                <a:noFill/>
              </a:ln>
              <a:solidFill>
                <a:srgbClr val="FFFFFF"/>
              </a:solidFill>
              <a:effectLst/>
              <a:uLnTx/>
              <a:uFillTx/>
              <a:latin typeface="OPPOSans R" panose="00020600040101010101" pitchFamily="18" charset="-122"/>
              <a:ea typeface="微软雅黑"/>
              <a:cs typeface="+mn-cs"/>
            </a:endParaRPr>
          </a:p>
        </p:txBody>
      </p:sp>
      <p:sp>
        <p:nvSpPr>
          <p:cNvPr id="3098" name="gaoding-10"/>
          <p:cNvSpPr/>
          <p:nvPr/>
        </p:nvSpPr>
        <p:spPr>
          <a:xfrm>
            <a:off x="8577852" y="2488753"/>
            <a:ext cx="2789235" cy="615488"/>
          </a:xfrm>
          <a:custGeom>
            <a:avLst/>
            <a:gdLst/>
            <a:ahLst/>
            <a:cxnLst>
              <a:cxn ang="0">
                <a:pos x="wd2" y="hd2"/>
              </a:cxn>
              <a:cxn ang="5400000">
                <a:pos x="wd2" y="hd2"/>
              </a:cxn>
              <a:cxn ang="10800000">
                <a:pos x="wd2" y="hd2"/>
              </a:cxn>
              <a:cxn ang="16200000">
                <a:pos x="wd2" y="hd2"/>
              </a:cxn>
            </a:cxnLst>
            <a:rect l="0" t="0" r="r" b="b"/>
            <a:pathLst>
              <a:path w="21600" h="21600" extrusionOk="0">
                <a:moveTo>
                  <a:pt x="917" y="0"/>
                </a:moveTo>
                <a:lnTo>
                  <a:pt x="20683" y="0"/>
                </a:lnTo>
                <a:cubicBezTo>
                  <a:pt x="20815" y="0"/>
                  <a:pt x="20914" y="0"/>
                  <a:pt x="20998" y="25"/>
                </a:cubicBezTo>
                <a:cubicBezTo>
                  <a:pt x="21082" y="51"/>
                  <a:pt x="21150" y="102"/>
                  <a:pt x="21221" y="204"/>
                </a:cubicBezTo>
                <a:cubicBezTo>
                  <a:pt x="21299" y="332"/>
                  <a:pt x="21368" y="534"/>
                  <a:pt x="21425" y="792"/>
                </a:cubicBezTo>
                <a:cubicBezTo>
                  <a:pt x="21482" y="1051"/>
                  <a:pt x="21527" y="1365"/>
                  <a:pt x="21555" y="1716"/>
                </a:cubicBezTo>
                <a:cubicBezTo>
                  <a:pt x="21578" y="2037"/>
                  <a:pt x="21589" y="2349"/>
                  <a:pt x="21594" y="2732"/>
                </a:cubicBezTo>
                <a:cubicBezTo>
                  <a:pt x="21600" y="3115"/>
                  <a:pt x="21600" y="3568"/>
                  <a:pt x="21600" y="4173"/>
                </a:cubicBezTo>
                <a:lnTo>
                  <a:pt x="21600" y="17445"/>
                </a:lnTo>
                <a:cubicBezTo>
                  <a:pt x="21600" y="18041"/>
                  <a:pt x="21600" y="18490"/>
                  <a:pt x="21594" y="18870"/>
                </a:cubicBezTo>
                <a:cubicBezTo>
                  <a:pt x="21589" y="19251"/>
                  <a:pt x="21578" y="19563"/>
                  <a:pt x="21555" y="19884"/>
                </a:cubicBezTo>
                <a:cubicBezTo>
                  <a:pt x="21527" y="20235"/>
                  <a:pt x="21482" y="20549"/>
                  <a:pt x="21425" y="20808"/>
                </a:cubicBezTo>
                <a:cubicBezTo>
                  <a:pt x="21368" y="21066"/>
                  <a:pt x="21299" y="21268"/>
                  <a:pt x="21221" y="21396"/>
                </a:cubicBezTo>
                <a:cubicBezTo>
                  <a:pt x="21150" y="21498"/>
                  <a:pt x="21082" y="21549"/>
                  <a:pt x="20997" y="21575"/>
                </a:cubicBezTo>
                <a:cubicBezTo>
                  <a:pt x="20913" y="21600"/>
                  <a:pt x="20813" y="21600"/>
                  <a:pt x="20679" y="21600"/>
                </a:cubicBezTo>
                <a:lnTo>
                  <a:pt x="917" y="21600"/>
                </a:lnTo>
                <a:cubicBezTo>
                  <a:pt x="785" y="21600"/>
                  <a:pt x="686" y="21600"/>
                  <a:pt x="602" y="21575"/>
                </a:cubicBezTo>
                <a:cubicBezTo>
                  <a:pt x="518" y="21549"/>
                  <a:pt x="450" y="21498"/>
                  <a:pt x="379" y="21396"/>
                </a:cubicBezTo>
                <a:cubicBezTo>
                  <a:pt x="301" y="21268"/>
                  <a:pt x="232" y="21066"/>
                  <a:pt x="175" y="20808"/>
                </a:cubicBezTo>
                <a:cubicBezTo>
                  <a:pt x="118" y="20549"/>
                  <a:pt x="73" y="20235"/>
                  <a:pt x="45" y="19884"/>
                </a:cubicBezTo>
                <a:cubicBezTo>
                  <a:pt x="22" y="19563"/>
                  <a:pt x="11" y="19251"/>
                  <a:pt x="6" y="18868"/>
                </a:cubicBezTo>
                <a:cubicBezTo>
                  <a:pt x="0" y="18485"/>
                  <a:pt x="0" y="18032"/>
                  <a:pt x="0" y="17427"/>
                </a:cubicBezTo>
                <a:lnTo>
                  <a:pt x="0" y="4155"/>
                </a:lnTo>
                <a:cubicBezTo>
                  <a:pt x="0" y="3559"/>
                  <a:pt x="0" y="3110"/>
                  <a:pt x="6" y="2730"/>
                </a:cubicBezTo>
                <a:cubicBezTo>
                  <a:pt x="11" y="2349"/>
                  <a:pt x="22" y="2037"/>
                  <a:pt x="45" y="1716"/>
                </a:cubicBezTo>
                <a:cubicBezTo>
                  <a:pt x="73" y="1365"/>
                  <a:pt x="118" y="1051"/>
                  <a:pt x="175" y="792"/>
                </a:cubicBezTo>
                <a:cubicBezTo>
                  <a:pt x="232" y="534"/>
                  <a:pt x="301" y="332"/>
                  <a:pt x="379" y="204"/>
                </a:cubicBezTo>
                <a:cubicBezTo>
                  <a:pt x="450" y="102"/>
                  <a:pt x="518" y="51"/>
                  <a:pt x="603" y="25"/>
                </a:cubicBezTo>
                <a:cubicBezTo>
                  <a:pt x="687" y="0"/>
                  <a:pt x="787" y="0"/>
                  <a:pt x="921" y="0"/>
                </a:cubicBezTo>
                <a:lnTo>
                  <a:pt x="917" y="0"/>
                </a:lnTo>
                <a:close/>
              </a:path>
            </a:pathLst>
          </a:custGeom>
          <a:gradFill flip="none" rotWithShape="1">
            <a:gsLst>
              <a:gs pos="1000">
                <a:schemeClr val="tx1">
                  <a:lumMod val="50000"/>
                  <a:lumOff val="50000"/>
                </a:schemeClr>
              </a:gs>
              <a:gs pos="100000">
                <a:schemeClr val="bg2">
                  <a:lumMod val="75000"/>
                </a:schemeClr>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5720" tIns="22860" rIns="45720" bIns="228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FFFFFF"/>
              </a:solidFill>
              <a:effectLst/>
              <a:uLnTx/>
              <a:uFillTx/>
              <a:latin typeface="OPPOSans R" panose="00020600040101010101" pitchFamily="18" charset="-122"/>
              <a:ea typeface="微软雅黑"/>
              <a:cs typeface="+mn-cs"/>
            </a:endParaRPr>
          </a:p>
        </p:txBody>
      </p:sp>
      <p:sp>
        <p:nvSpPr>
          <p:cNvPr id="3100" name="gaoding-11"/>
          <p:cNvSpPr/>
          <p:nvPr/>
        </p:nvSpPr>
        <p:spPr>
          <a:xfrm>
            <a:off x="8762631" y="2360083"/>
            <a:ext cx="860128" cy="860129"/>
          </a:xfrm>
          <a:prstGeom prst="ellipse">
            <a:avLst/>
          </a:prstGeom>
          <a:solidFill>
            <a:schemeClr val="bg1"/>
          </a:solidFill>
          <a:ln w="12700" cap="flat">
            <a:noFill/>
            <a:miter lim="400000"/>
          </a:ln>
          <a:effectLst>
            <a:outerShdw blurRad="190500" dist="38100" dir="5400000" sx="103000" sy="103000" algn="ctr" rotWithShape="0">
              <a:schemeClr val="accent6">
                <a:lumMod val="50000"/>
                <a:alpha val="20000"/>
              </a:schemeClr>
            </a:outerShdw>
          </a:effectLst>
        </p:spPr>
        <p:txBody>
          <a:bodyPr wrap="square" lIns="0" tIns="0" rIns="0" bIns="0" numCol="1"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600" b="0" i="0" u="none" strike="noStrike" kern="1200" cap="none" spc="0" normalizeH="0" baseline="0" noProof="0" dirty="0">
              <a:ln>
                <a:noFill/>
              </a:ln>
              <a:solidFill>
                <a:srgbClr val="FFFFFF"/>
              </a:solidFill>
              <a:effectLst/>
              <a:uLnTx/>
              <a:uFillTx/>
              <a:latin typeface="OPPOSans R" panose="00020600040101010101" pitchFamily="18" charset="-122"/>
              <a:ea typeface="微软雅黑"/>
              <a:cs typeface="+mn-cs"/>
            </a:endParaRPr>
          </a:p>
        </p:txBody>
      </p:sp>
      <p:sp>
        <p:nvSpPr>
          <p:cNvPr id="3102" name="gaoding-12"/>
          <p:cNvSpPr/>
          <p:nvPr/>
        </p:nvSpPr>
        <p:spPr>
          <a:xfrm>
            <a:off x="953517" y="3709604"/>
            <a:ext cx="2535235" cy="425817"/>
          </a:xfrm>
          <a:custGeom>
            <a:avLst/>
            <a:gdLst/>
            <a:ahLst/>
            <a:cxnLst>
              <a:cxn ang="0">
                <a:pos x="wd2" y="hd2"/>
              </a:cxn>
              <a:cxn ang="5400000">
                <a:pos x="wd2" y="hd2"/>
              </a:cxn>
              <a:cxn ang="10800000">
                <a:pos x="wd2" y="hd2"/>
              </a:cxn>
              <a:cxn ang="16200000">
                <a:pos x="wd2" y="hd2"/>
              </a:cxn>
            </a:cxnLst>
            <a:rect l="0" t="0" r="r" b="b"/>
            <a:pathLst>
              <a:path w="21600" h="21600" extrusionOk="0">
                <a:moveTo>
                  <a:pt x="1034" y="0"/>
                </a:moveTo>
                <a:lnTo>
                  <a:pt x="20566" y="0"/>
                </a:lnTo>
                <a:cubicBezTo>
                  <a:pt x="20714" y="0"/>
                  <a:pt x="20826" y="0"/>
                  <a:pt x="20921" y="38"/>
                </a:cubicBezTo>
                <a:cubicBezTo>
                  <a:pt x="21015" y="75"/>
                  <a:pt x="21093" y="151"/>
                  <a:pt x="21173" y="302"/>
                </a:cubicBezTo>
                <a:cubicBezTo>
                  <a:pt x="21260" y="491"/>
                  <a:pt x="21339" y="791"/>
                  <a:pt x="21403" y="1174"/>
                </a:cubicBezTo>
                <a:cubicBezTo>
                  <a:pt x="21467" y="1556"/>
                  <a:pt x="21518" y="2022"/>
                  <a:pt x="21549" y="2543"/>
                </a:cubicBezTo>
                <a:cubicBezTo>
                  <a:pt x="21575" y="3019"/>
                  <a:pt x="21587" y="3480"/>
                  <a:pt x="21594" y="4047"/>
                </a:cubicBezTo>
                <a:cubicBezTo>
                  <a:pt x="21600" y="4614"/>
                  <a:pt x="21600" y="5286"/>
                  <a:pt x="21600" y="6182"/>
                </a:cubicBezTo>
                <a:lnTo>
                  <a:pt x="21600" y="15445"/>
                </a:lnTo>
                <a:cubicBezTo>
                  <a:pt x="21600" y="16327"/>
                  <a:pt x="21600" y="16992"/>
                  <a:pt x="21594" y="17556"/>
                </a:cubicBezTo>
                <a:cubicBezTo>
                  <a:pt x="21587" y="18120"/>
                  <a:pt x="21575" y="18581"/>
                  <a:pt x="21549" y="19057"/>
                </a:cubicBezTo>
                <a:cubicBezTo>
                  <a:pt x="21518" y="19578"/>
                  <a:pt x="21467" y="20044"/>
                  <a:pt x="21403" y="20426"/>
                </a:cubicBezTo>
                <a:cubicBezTo>
                  <a:pt x="21339" y="20809"/>
                  <a:pt x="21260" y="21109"/>
                  <a:pt x="21173" y="21298"/>
                </a:cubicBezTo>
                <a:cubicBezTo>
                  <a:pt x="21093" y="21449"/>
                  <a:pt x="21015" y="21525"/>
                  <a:pt x="20920" y="21562"/>
                </a:cubicBezTo>
                <a:cubicBezTo>
                  <a:pt x="20825" y="21600"/>
                  <a:pt x="20712" y="21600"/>
                  <a:pt x="20562" y="21600"/>
                </a:cubicBezTo>
                <a:lnTo>
                  <a:pt x="1034" y="21600"/>
                </a:lnTo>
                <a:cubicBezTo>
                  <a:pt x="886" y="21600"/>
                  <a:pt x="774" y="21600"/>
                  <a:pt x="679" y="21562"/>
                </a:cubicBezTo>
                <a:cubicBezTo>
                  <a:pt x="585" y="21525"/>
                  <a:pt x="507" y="21449"/>
                  <a:pt x="427" y="21298"/>
                </a:cubicBezTo>
                <a:cubicBezTo>
                  <a:pt x="340" y="21109"/>
                  <a:pt x="261" y="20809"/>
                  <a:pt x="197" y="20426"/>
                </a:cubicBezTo>
                <a:cubicBezTo>
                  <a:pt x="133" y="20044"/>
                  <a:pt x="82" y="19578"/>
                  <a:pt x="51" y="19057"/>
                </a:cubicBezTo>
                <a:cubicBezTo>
                  <a:pt x="25" y="18581"/>
                  <a:pt x="13" y="18120"/>
                  <a:pt x="6" y="17553"/>
                </a:cubicBezTo>
                <a:cubicBezTo>
                  <a:pt x="0" y="16986"/>
                  <a:pt x="0" y="16314"/>
                  <a:pt x="0" y="15418"/>
                </a:cubicBezTo>
                <a:lnTo>
                  <a:pt x="0" y="6155"/>
                </a:lnTo>
                <a:cubicBezTo>
                  <a:pt x="0" y="5273"/>
                  <a:pt x="0" y="4608"/>
                  <a:pt x="6" y="4044"/>
                </a:cubicBezTo>
                <a:cubicBezTo>
                  <a:pt x="13" y="3480"/>
                  <a:pt x="25" y="3019"/>
                  <a:pt x="51" y="2543"/>
                </a:cubicBezTo>
                <a:cubicBezTo>
                  <a:pt x="82" y="2022"/>
                  <a:pt x="133" y="1556"/>
                  <a:pt x="197" y="1174"/>
                </a:cubicBezTo>
                <a:cubicBezTo>
                  <a:pt x="261" y="791"/>
                  <a:pt x="340" y="491"/>
                  <a:pt x="427" y="302"/>
                </a:cubicBezTo>
                <a:cubicBezTo>
                  <a:pt x="507" y="151"/>
                  <a:pt x="585" y="75"/>
                  <a:pt x="680" y="38"/>
                </a:cubicBezTo>
                <a:cubicBezTo>
                  <a:pt x="775" y="0"/>
                  <a:pt x="888" y="0"/>
                  <a:pt x="1038" y="0"/>
                </a:cubicBezTo>
                <a:lnTo>
                  <a:pt x="1034" y="0"/>
                </a:lnTo>
                <a:close/>
              </a:path>
            </a:pathLst>
          </a:custGeom>
          <a:solidFill>
            <a:schemeClr val="accent2">
              <a:lumMod val="20000"/>
              <a:lumOff val="80000"/>
            </a:schemeClr>
          </a:solidFill>
          <a:ln w="12700" cap="flat">
            <a:noFill/>
            <a:miter lim="400000"/>
          </a:ln>
          <a:effectLst/>
        </p:spPr>
        <p:txBody>
          <a:bodyPr wrap="square" lIns="0" tIns="0" rIns="0" bIns="0" numCol="1"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sz="3200" b="0">
                <a:solidFill>
                  <a:srgbClr val="F3F4F5"/>
                </a:solidFill>
                <a:latin typeface="+mn-lt"/>
                <a:ea typeface="+mn-ea"/>
                <a:cs typeface="+mn-cs"/>
                <a:sym typeface="Helvetica Neue Medium"/>
              </a:defRPr>
            </a:pPr>
            <a:endParaRPr kumimoji="0" sz="1600" b="0" i="0" u="none" strike="noStrike" kern="1200" cap="none" spc="0" normalizeH="0" baseline="0" noProof="0" dirty="0">
              <a:ln>
                <a:noFill/>
              </a:ln>
              <a:solidFill>
                <a:srgbClr val="F3F4F5"/>
              </a:solidFill>
              <a:effectLst/>
              <a:uLnTx/>
              <a:uFillTx/>
              <a:latin typeface="OPPOSans R" panose="00020600040101010101" pitchFamily="18" charset="-122"/>
              <a:ea typeface="微软雅黑"/>
              <a:cs typeface="+mn-cs"/>
              <a:sym typeface="Helvetica Neue Medium"/>
            </a:endParaRPr>
          </a:p>
        </p:txBody>
      </p:sp>
      <p:sp>
        <p:nvSpPr>
          <p:cNvPr id="3104" name="gaoding-13"/>
          <p:cNvSpPr/>
          <p:nvPr/>
        </p:nvSpPr>
        <p:spPr>
          <a:xfrm>
            <a:off x="1252291" y="3599736"/>
            <a:ext cx="645555" cy="645555"/>
          </a:xfrm>
          <a:prstGeom prst="ellipse">
            <a:avLst/>
          </a:prstGeom>
          <a:solidFill>
            <a:schemeClr val="accent2">
              <a:lumMod val="20000"/>
              <a:lumOff val="80000"/>
            </a:schemeClr>
          </a:solidFill>
          <a:ln w="12700" cap="flat">
            <a:noFill/>
            <a:miter lim="400000"/>
          </a:ln>
          <a:effectLst/>
        </p:spPr>
        <p:txBody>
          <a:bodyPr wrap="square" lIns="0" tIns="0" rIns="0" bIns="0" numCol="1"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1600" b="0" i="0" u="none" strike="noStrike" kern="1200" cap="none" spc="0" normalizeH="0" baseline="0" noProof="0" dirty="0">
              <a:ln>
                <a:noFill/>
              </a:ln>
              <a:solidFill>
                <a:srgbClr val="FFFFFF"/>
              </a:solidFill>
              <a:effectLst/>
              <a:uLnTx/>
              <a:uFillTx/>
              <a:latin typeface="OPPOSans R" panose="00020600040101010101" pitchFamily="18" charset="-122"/>
              <a:ea typeface="微软雅黑"/>
              <a:cs typeface="+mn-cs"/>
              <a:sym typeface="Helvetica Neue Medium"/>
            </a:endParaRPr>
          </a:p>
        </p:txBody>
      </p:sp>
      <p:sp>
        <p:nvSpPr>
          <p:cNvPr id="3107" name="gaoding-14"/>
          <p:cNvSpPr/>
          <p:nvPr/>
        </p:nvSpPr>
        <p:spPr>
          <a:xfrm>
            <a:off x="953517" y="4576516"/>
            <a:ext cx="2535235" cy="425818"/>
          </a:xfrm>
          <a:custGeom>
            <a:avLst/>
            <a:gdLst/>
            <a:ahLst/>
            <a:cxnLst>
              <a:cxn ang="0">
                <a:pos x="wd2" y="hd2"/>
              </a:cxn>
              <a:cxn ang="5400000">
                <a:pos x="wd2" y="hd2"/>
              </a:cxn>
              <a:cxn ang="10800000">
                <a:pos x="wd2" y="hd2"/>
              </a:cxn>
              <a:cxn ang="16200000">
                <a:pos x="wd2" y="hd2"/>
              </a:cxn>
            </a:cxnLst>
            <a:rect l="0" t="0" r="r" b="b"/>
            <a:pathLst>
              <a:path w="21600" h="21600" extrusionOk="0">
                <a:moveTo>
                  <a:pt x="1034" y="0"/>
                </a:moveTo>
                <a:lnTo>
                  <a:pt x="20566" y="0"/>
                </a:lnTo>
                <a:cubicBezTo>
                  <a:pt x="20714" y="0"/>
                  <a:pt x="20826" y="0"/>
                  <a:pt x="20921" y="38"/>
                </a:cubicBezTo>
                <a:cubicBezTo>
                  <a:pt x="21015" y="75"/>
                  <a:pt x="21093" y="151"/>
                  <a:pt x="21173" y="302"/>
                </a:cubicBezTo>
                <a:cubicBezTo>
                  <a:pt x="21260" y="491"/>
                  <a:pt x="21339" y="791"/>
                  <a:pt x="21403" y="1174"/>
                </a:cubicBezTo>
                <a:cubicBezTo>
                  <a:pt x="21467" y="1556"/>
                  <a:pt x="21518" y="2022"/>
                  <a:pt x="21549" y="2543"/>
                </a:cubicBezTo>
                <a:cubicBezTo>
                  <a:pt x="21575" y="3019"/>
                  <a:pt x="21587" y="3480"/>
                  <a:pt x="21594" y="4047"/>
                </a:cubicBezTo>
                <a:cubicBezTo>
                  <a:pt x="21600" y="4614"/>
                  <a:pt x="21600" y="5286"/>
                  <a:pt x="21600" y="6182"/>
                </a:cubicBezTo>
                <a:lnTo>
                  <a:pt x="21600" y="15445"/>
                </a:lnTo>
                <a:cubicBezTo>
                  <a:pt x="21600" y="16327"/>
                  <a:pt x="21600" y="16992"/>
                  <a:pt x="21594" y="17556"/>
                </a:cubicBezTo>
                <a:cubicBezTo>
                  <a:pt x="21587" y="18120"/>
                  <a:pt x="21575" y="18581"/>
                  <a:pt x="21549" y="19057"/>
                </a:cubicBezTo>
                <a:cubicBezTo>
                  <a:pt x="21518" y="19578"/>
                  <a:pt x="21467" y="20044"/>
                  <a:pt x="21403" y="20426"/>
                </a:cubicBezTo>
                <a:cubicBezTo>
                  <a:pt x="21339" y="20809"/>
                  <a:pt x="21260" y="21109"/>
                  <a:pt x="21173" y="21298"/>
                </a:cubicBezTo>
                <a:cubicBezTo>
                  <a:pt x="21093" y="21449"/>
                  <a:pt x="21015" y="21525"/>
                  <a:pt x="20920" y="21562"/>
                </a:cubicBezTo>
                <a:cubicBezTo>
                  <a:pt x="20825" y="21600"/>
                  <a:pt x="20712" y="21600"/>
                  <a:pt x="20562" y="21600"/>
                </a:cubicBezTo>
                <a:lnTo>
                  <a:pt x="1034" y="21600"/>
                </a:lnTo>
                <a:cubicBezTo>
                  <a:pt x="886" y="21600"/>
                  <a:pt x="774" y="21600"/>
                  <a:pt x="679" y="21562"/>
                </a:cubicBezTo>
                <a:cubicBezTo>
                  <a:pt x="585" y="21525"/>
                  <a:pt x="507" y="21449"/>
                  <a:pt x="427" y="21298"/>
                </a:cubicBezTo>
                <a:cubicBezTo>
                  <a:pt x="340" y="21109"/>
                  <a:pt x="261" y="20809"/>
                  <a:pt x="197" y="20426"/>
                </a:cubicBezTo>
                <a:cubicBezTo>
                  <a:pt x="133" y="20044"/>
                  <a:pt x="82" y="19578"/>
                  <a:pt x="51" y="19057"/>
                </a:cubicBezTo>
                <a:cubicBezTo>
                  <a:pt x="25" y="18581"/>
                  <a:pt x="13" y="18120"/>
                  <a:pt x="6" y="17553"/>
                </a:cubicBezTo>
                <a:cubicBezTo>
                  <a:pt x="0" y="16986"/>
                  <a:pt x="0" y="16314"/>
                  <a:pt x="0" y="15418"/>
                </a:cubicBezTo>
                <a:lnTo>
                  <a:pt x="0" y="6155"/>
                </a:lnTo>
                <a:cubicBezTo>
                  <a:pt x="0" y="5273"/>
                  <a:pt x="0" y="4608"/>
                  <a:pt x="6" y="4044"/>
                </a:cubicBezTo>
                <a:cubicBezTo>
                  <a:pt x="13" y="3480"/>
                  <a:pt x="25" y="3019"/>
                  <a:pt x="51" y="2543"/>
                </a:cubicBezTo>
                <a:cubicBezTo>
                  <a:pt x="82" y="2022"/>
                  <a:pt x="133" y="1556"/>
                  <a:pt x="197" y="1174"/>
                </a:cubicBezTo>
                <a:cubicBezTo>
                  <a:pt x="261" y="791"/>
                  <a:pt x="340" y="491"/>
                  <a:pt x="427" y="302"/>
                </a:cubicBezTo>
                <a:cubicBezTo>
                  <a:pt x="507" y="151"/>
                  <a:pt x="585" y="75"/>
                  <a:pt x="680" y="38"/>
                </a:cubicBezTo>
                <a:cubicBezTo>
                  <a:pt x="775" y="0"/>
                  <a:pt x="888" y="0"/>
                  <a:pt x="1038" y="0"/>
                </a:cubicBezTo>
                <a:lnTo>
                  <a:pt x="1034" y="0"/>
                </a:lnTo>
                <a:close/>
              </a:path>
            </a:pathLst>
          </a:custGeom>
          <a:solidFill>
            <a:schemeClr val="accent2">
              <a:lumMod val="20000"/>
              <a:lumOff val="80000"/>
            </a:schemeClr>
          </a:solidFill>
          <a:ln w="12700" cap="flat">
            <a:noFill/>
            <a:miter lim="400000"/>
          </a:ln>
          <a:effectLst/>
        </p:spPr>
        <p:txBody>
          <a:bodyPr wrap="square" lIns="0" tIns="0" rIns="0" bIns="0" numCol="1"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sz="3200" b="0">
                <a:solidFill>
                  <a:srgbClr val="F3F4F5"/>
                </a:solidFill>
                <a:latin typeface="+mn-lt"/>
                <a:ea typeface="+mn-ea"/>
                <a:cs typeface="+mn-cs"/>
                <a:sym typeface="Helvetica Neue Medium"/>
              </a:defRPr>
            </a:pPr>
            <a:endParaRPr kumimoji="0" sz="1600" b="0" i="0" u="none" strike="noStrike" kern="1200" cap="none" spc="0" normalizeH="0" baseline="0" noProof="0" dirty="0">
              <a:ln>
                <a:noFill/>
              </a:ln>
              <a:solidFill>
                <a:srgbClr val="F3F4F5"/>
              </a:solidFill>
              <a:effectLst/>
              <a:uLnTx/>
              <a:uFillTx/>
              <a:latin typeface="OPPOSans R" panose="00020600040101010101" pitchFamily="18" charset="-122"/>
              <a:ea typeface="微软雅黑"/>
              <a:cs typeface="+mn-cs"/>
              <a:sym typeface="Helvetica Neue Medium"/>
            </a:endParaRPr>
          </a:p>
        </p:txBody>
      </p:sp>
      <p:sp>
        <p:nvSpPr>
          <p:cNvPr id="3109" name="gaoding-15"/>
          <p:cNvSpPr/>
          <p:nvPr/>
        </p:nvSpPr>
        <p:spPr>
          <a:xfrm>
            <a:off x="1252291" y="4466647"/>
            <a:ext cx="645555" cy="645555"/>
          </a:xfrm>
          <a:prstGeom prst="ellipse">
            <a:avLst/>
          </a:prstGeom>
          <a:solidFill>
            <a:schemeClr val="accent2">
              <a:lumMod val="20000"/>
              <a:lumOff val="80000"/>
            </a:schemeClr>
          </a:solidFill>
          <a:ln w="12700" cap="flat">
            <a:noFill/>
            <a:miter lim="400000"/>
          </a:ln>
          <a:effectLst/>
        </p:spPr>
        <p:txBody>
          <a:bodyPr wrap="square" lIns="0" tIns="0" rIns="0" bIns="0" numCol="1"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1600" b="0" i="0" u="none" strike="noStrike" kern="1200" cap="none" spc="0" normalizeH="0" baseline="0" noProof="0" dirty="0">
              <a:ln>
                <a:noFill/>
              </a:ln>
              <a:solidFill>
                <a:srgbClr val="FFFFFF"/>
              </a:solidFill>
              <a:effectLst/>
              <a:uLnTx/>
              <a:uFillTx/>
              <a:latin typeface="OPPOSans R" panose="00020600040101010101" pitchFamily="18" charset="-122"/>
              <a:ea typeface="微软雅黑"/>
              <a:cs typeface="+mn-cs"/>
              <a:sym typeface="Helvetica Neue Medium"/>
            </a:endParaRPr>
          </a:p>
        </p:txBody>
      </p:sp>
      <p:sp>
        <p:nvSpPr>
          <p:cNvPr id="3112" name="gaoding-16"/>
          <p:cNvSpPr/>
          <p:nvPr/>
        </p:nvSpPr>
        <p:spPr>
          <a:xfrm>
            <a:off x="953517" y="5443427"/>
            <a:ext cx="2535235" cy="425818"/>
          </a:xfrm>
          <a:custGeom>
            <a:avLst/>
            <a:gdLst/>
            <a:ahLst/>
            <a:cxnLst>
              <a:cxn ang="0">
                <a:pos x="wd2" y="hd2"/>
              </a:cxn>
              <a:cxn ang="5400000">
                <a:pos x="wd2" y="hd2"/>
              </a:cxn>
              <a:cxn ang="10800000">
                <a:pos x="wd2" y="hd2"/>
              </a:cxn>
              <a:cxn ang="16200000">
                <a:pos x="wd2" y="hd2"/>
              </a:cxn>
            </a:cxnLst>
            <a:rect l="0" t="0" r="r" b="b"/>
            <a:pathLst>
              <a:path w="21600" h="21600" extrusionOk="0">
                <a:moveTo>
                  <a:pt x="1034" y="0"/>
                </a:moveTo>
                <a:lnTo>
                  <a:pt x="20566" y="0"/>
                </a:lnTo>
                <a:cubicBezTo>
                  <a:pt x="20714" y="0"/>
                  <a:pt x="20826" y="0"/>
                  <a:pt x="20921" y="38"/>
                </a:cubicBezTo>
                <a:cubicBezTo>
                  <a:pt x="21015" y="75"/>
                  <a:pt x="21093" y="151"/>
                  <a:pt x="21173" y="302"/>
                </a:cubicBezTo>
                <a:cubicBezTo>
                  <a:pt x="21260" y="491"/>
                  <a:pt x="21339" y="791"/>
                  <a:pt x="21403" y="1174"/>
                </a:cubicBezTo>
                <a:cubicBezTo>
                  <a:pt x="21467" y="1556"/>
                  <a:pt x="21518" y="2022"/>
                  <a:pt x="21549" y="2543"/>
                </a:cubicBezTo>
                <a:cubicBezTo>
                  <a:pt x="21575" y="3019"/>
                  <a:pt x="21587" y="3480"/>
                  <a:pt x="21594" y="4047"/>
                </a:cubicBezTo>
                <a:cubicBezTo>
                  <a:pt x="21600" y="4614"/>
                  <a:pt x="21600" y="5286"/>
                  <a:pt x="21600" y="6182"/>
                </a:cubicBezTo>
                <a:lnTo>
                  <a:pt x="21600" y="15445"/>
                </a:lnTo>
                <a:cubicBezTo>
                  <a:pt x="21600" y="16327"/>
                  <a:pt x="21600" y="16992"/>
                  <a:pt x="21594" y="17556"/>
                </a:cubicBezTo>
                <a:cubicBezTo>
                  <a:pt x="21587" y="18120"/>
                  <a:pt x="21575" y="18581"/>
                  <a:pt x="21549" y="19057"/>
                </a:cubicBezTo>
                <a:cubicBezTo>
                  <a:pt x="21518" y="19578"/>
                  <a:pt x="21467" y="20044"/>
                  <a:pt x="21403" y="20426"/>
                </a:cubicBezTo>
                <a:cubicBezTo>
                  <a:pt x="21339" y="20809"/>
                  <a:pt x="21260" y="21109"/>
                  <a:pt x="21173" y="21298"/>
                </a:cubicBezTo>
                <a:cubicBezTo>
                  <a:pt x="21093" y="21449"/>
                  <a:pt x="21015" y="21525"/>
                  <a:pt x="20920" y="21562"/>
                </a:cubicBezTo>
                <a:cubicBezTo>
                  <a:pt x="20825" y="21600"/>
                  <a:pt x="20712" y="21600"/>
                  <a:pt x="20562" y="21600"/>
                </a:cubicBezTo>
                <a:lnTo>
                  <a:pt x="1034" y="21600"/>
                </a:lnTo>
                <a:cubicBezTo>
                  <a:pt x="886" y="21600"/>
                  <a:pt x="774" y="21600"/>
                  <a:pt x="679" y="21562"/>
                </a:cubicBezTo>
                <a:cubicBezTo>
                  <a:pt x="585" y="21525"/>
                  <a:pt x="507" y="21449"/>
                  <a:pt x="427" y="21298"/>
                </a:cubicBezTo>
                <a:cubicBezTo>
                  <a:pt x="340" y="21109"/>
                  <a:pt x="261" y="20809"/>
                  <a:pt x="197" y="20426"/>
                </a:cubicBezTo>
                <a:cubicBezTo>
                  <a:pt x="133" y="20044"/>
                  <a:pt x="82" y="19578"/>
                  <a:pt x="51" y="19057"/>
                </a:cubicBezTo>
                <a:cubicBezTo>
                  <a:pt x="25" y="18581"/>
                  <a:pt x="13" y="18120"/>
                  <a:pt x="6" y="17553"/>
                </a:cubicBezTo>
                <a:cubicBezTo>
                  <a:pt x="0" y="16986"/>
                  <a:pt x="0" y="16314"/>
                  <a:pt x="0" y="15418"/>
                </a:cubicBezTo>
                <a:lnTo>
                  <a:pt x="0" y="6155"/>
                </a:lnTo>
                <a:cubicBezTo>
                  <a:pt x="0" y="5273"/>
                  <a:pt x="0" y="4608"/>
                  <a:pt x="6" y="4044"/>
                </a:cubicBezTo>
                <a:cubicBezTo>
                  <a:pt x="13" y="3480"/>
                  <a:pt x="25" y="3019"/>
                  <a:pt x="51" y="2543"/>
                </a:cubicBezTo>
                <a:cubicBezTo>
                  <a:pt x="82" y="2022"/>
                  <a:pt x="133" y="1556"/>
                  <a:pt x="197" y="1174"/>
                </a:cubicBezTo>
                <a:cubicBezTo>
                  <a:pt x="261" y="791"/>
                  <a:pt x="340" y="491"/>
                  <a:pt x="427" y="302"/>
                </a:cubicBezTo>
                <a:cubicBezTo>
                  <a:pt x="507" y="151"/>
                  <a:pt x="585" y="75"/>
                  <a:pt x="680" y="38"/>
                </a:cubicBezTo>
                <a:cubicBezTo>
                  <a:pt x="775" y="0"/>
                  <a:pt x="888" y="0"/>
                  <a:pt x="1038" y="0"/>
                </a:cubicBezTo>
                <a:lnTo>
                  <a:pt x="1034" y="0"/>
                </a:lnTo>
                <a:close/>
              </a:path>
            </a:pathLst>
          </a:custGeom>
          <a:solidFill>
            <a:schemeClr val="accent2">
              <a:lumMod val="20000"/>
              <a:lumOff val="80000"/>
            </a:schemeClr>
          </a:solidFill>
          <a:ln w="12700" cap="flat">
            <a:noFill/>
            <a:miter lim="400000"/>
          </a:ln>
          <a:effectLst/>
        </p:spPr>
        <p:txBody>
          <a:bodyPr wrap="square" lIns="0" tIns="0" rIns="0" bIns="0" numCol="1"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sz="3200" b="0">
                <a:solidFill>
                  <a:srgbClr val="F3F4F5"/>
                </a:solidFill>
                <a:latin typeface="+mn-lt"/>
                <a:ea typeface="+mn-ea"/>
                <a:cs typeface="+mn-cs"/>
                <a:sym typeface="Helvetica Neue Medium"/>
              </a:defRPr>
            </a:pPr>
            <a:endParaRPr kumimoji="0" sz="1600" b="0" i="0" u="none" strike="noStrike" kern="1200" cap="none" spc="0" normalizeH="0" baseline="0" noProof="0" dirty="0">
              <a:ln>
                <a:noFill/>
              </a:ln>
              <a:solidFill>
                <a:srgbClr val="F3F4F5"/>
              </a:solidFill>
              <a:effectLst/>
              <a:uLnTx/>
              <a:uFillTx/>
              <a:latin typeface="OPPOSans R" panose="00020600040101010101" pitchFamily="18" charset="-122"/>
              <a:ea typeface="微软雅黑"/>
              <a:cs typeface="+mn-cs"/>
              <a:sym typeface="Helvetica Neue Medium"/>
            </a:endParaRPr>
          </a:p>
        </p:txBody>
      </p:sp>
      <p:sp>
        <p:nvSpPr>
          <p:cNvPr id="3114" name="gaoding-17"/>
          <p:cNvSpPr/>
          <p:nvPr/>
        </p:nvSpPr>
        <p:spPr>
          <a:xfrm>
            <a:off x="1252291" y="5333558"/>
            <a:ext cx="645555" cy="645555"/>
          </a:xfrm>
          <a:prstGeom prst="ellipse">
            <a:avLst/>
          </a:prstGeom>
          <a:solidFill>
            <a:schemeClr val="accent2">
              <a:lumMod val="20000"/>
              <a:lumOff val="80000"/>
            </a:schemeClr>
          </a:solidFill>
          <a:ln w="12700" cap="flat">
            <a:noFill/>
            <a:miter lim="400000"/>
          </a:ln>
          <a:effectLst/>
        </p:spPr>
        <p:txBody>
          <a:bodyPr wrap="square" lIns="0" tIns="0" rIns="0" bIns="0" numCol="1"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1600" b="0" i="0" u="none" strike="noStrike" kern="1200" cap="none" spc="0" normalizeH="0" baseline="0" noProof="0" dirty="0">
              <a:ln>
                <a:noFill/>
              </a:ln>
              <a:solidFill>
                <a:srgbClr val="FFFFFF"/>
              </a:solidFill>
              <a:effectLst/>
              <a:uLnTx/>
              <a:uFillTx/>
              <a:latin typeface="OPPOSans R" panose="00020600040101010101" pitchFamily="18" charset="-122"/>
              <a:ea typeface="微软雅黑"/>
              <a:cs typeface="+mn-cs"/>
              <a:sym typeface="Helvetica Neue Medium"/>
            </a:endParaRPr>
          </a:p>
        </p:txBody>
      </p:sp>
      <p:sp>
        <p:nvSpPr>
          <p:cNvPr id="3118" name="gaoding-18"/>
          <p:cNvSpPr/>
          <p:nvPr/>
        </p:nvSpPr>
        <p:spPr>
          <a:xfrm>
            <a:off x="815869" y="3469301"/>
            <a:ext cx="2789235" cy="2640246"/>
          </a:xfrm>
          <a:custGeom>
            <a:avLst/>
            <a:gdLst/>
            <a:ahLst/>
            <a:cxnLst>
              <a:cxn ang="0">
                <a:pos x="wd2" y="hd2"/>
              </a:cxn>
              <a:cxn ang="5400000">
                <a:pos x="wd2" y="hd2"/>
              </a:cxn>
              <a:cxn ang="10800000">
                <a:pos x="wd2" y="hd2"/>
              </a:cxn>
              <a:cxn ang="16200000">
                <a:pos x="wd2" y="hd2"/>
              </a:cxn>
            </a:cxnLst>
            <a:rect l="0" t="0" r="r" b="b"/>
            <a:pathLst>
              <a:path w="21600" h="21600" extrusionOk="0">
                <a:moveTo>
                  <a:pt x="1559" y="0"/>
                </a:moveTo>
                <a:lnTo>
                  <a:pt x="20041" y="0"/>
                </a:lnTo>
                <a:cubicBezTo>
                  <a:pt x="20265" y="0"/>
                  <a:pt x="20433" y="0"/>
                  <a:pt x="20576" y="10"/>
                </a:cubicBezTo>
                <a:cubicBezTo>
                  <a:pt x="20719" y="20"/>
                  <a:pt x="20836" y="40"/>
                  <a:pt x="20956" y="81"/>
                </a:cubicBezTo>
                <a:cubicBezTo>
                  <a:pt x="21088" y="131"/>
                  <a:pt x="21206" y="212"/>
                  <a:pt x="21303" y="314"/>
                </a:cubicBezTo>
                <a:cubicBezTo>
                  <a:pt x="21400" y="416"/>
                  <a:pt x="21476" y="541"/>
                  <a:pt x="21524" y="680"/>
                </a:cubicBezTo>
                <a:cubicBezTo>
                  <a:pt x="21562" y="808"/>
                  <a:pt x="21581" y="931"/>
                  <a:pt x="21590" y="1083"/>
                </a:cubicBezTo>
                <a:cubicBezTo>
                  <a:pt x="21600" y="1234"/>
                  <a:pt x="21600" y="1414"/>
                  <a:pt x="21600" y="1654"/>
                </a:cubicBezTo>
                <a:lnTo>
                  <a:pt x="21600" y="19953"/>
                </a:lnTo>
                <a:cubicBezTo>
                  <a:pt x="21600" y="20189"/>
                  <a:pt x="21600" y="20367"/>
                  <a:pt x="21590" y="20518"/>
                </a:cubicBezTo>
                <a:cubicBezTo>
                  <a:pt x="21581" y="20669"/>
                  <a:pt x="21562" y="20792"/>
                  <a:pt x="21524" y="20920"/>
                </a:cubicBezTo>
                <a:cubicBezTo>
                  <a:pt x="21476" y="21059"/>
                  <a:pt x="21400" y="21184"/>
                  <a:pt x="21303" y="21286"/>
                </a:cubicBezTo>
                <a:cubicBezTo>
                  <a:pt x="21206" y="21388"/>
                  <a:pt x="21088" y="21469"/>
                  <a:pt x="20956" y="21519"/>
                </a:cubicBezTo>
                <a:cubicBezTo>
                  <a:pt x="20836" y="21560"/>
                  <a:pt x="20719" y="21580"/>
                  <a:pt x="20575" y="21590"/>
                </a:cubicBezTo>
                <a:cubicBezTo>
                  <a:pt x="20431" y="21600"/>
                  <a:pt x="20261" y="21600"/>
                  <a:pt x="20034" y="21600"/>
                </a:cubicBezTo>
                <a:lnTo>
                  <a:pt x="1559" y="21600"/>
                </a:lnTo>
                <a:cubicBezTo>
                  <a:pt x="1335" y="21600"/>
                  <a:pt x="1167" y="21600"/>
                  <a:pt x="1024" y="21590"/>
                </a:cubicBezTo>
                <a:cubicBezTo>
                  <a:pt x="881" y="21580"/>
                  <a:pt x="764" y="21560"/>
                  <a:pt x="644" y="21519"/>
                </a:cubicBezTo>
                <a:cubicBezTo>
                  <a:pt x="512" y="21469"/>
                  <a:pt x="394" y="21388"/>
                  <a:pt x="297" y="21286"/>
                </a:cubicBezTo>
                <a:cubicBezTo>
                  <a:pt x="200" y="21184"/>
                  <a:pt x="124" y="21059"/>
                  <a:pt x="76" y="20920"/>
                </a:cubicBezTo>
                <a:cubicBezTo>
                  <a:pt x="38" y="20792"/>
                  <a:pt x="19" y="20669"/>
                  <a:pt x="10" y="20517"/>
                </a:cubicBezTo>
                <a:cubicBezTo>
                  <a:pt x="0" y="20366"/>
                  <a:pt x="0" y="20186"/>
                  <a:pt x="0" y="19946"/>
                </a:cubicBezTo>
                <a:lnTo>
                  <a:pt x="0" y="1647"/>
                </a:lnTo>
                <a:cubicBezTo>
                  <a:pt x="0" y="1411"/>
                  <a:pt x="0" y="1233"/>
                  <a:pt x="10" y="1082"/>
                </a:cubicBezTo>
                <a:cubicBezTo>
                  <a:pt x="19" y="931"/>
                  <a:pt x="38" y="808"/>
                  <a:pt x="76" y="680"/>
                </a:cubicBezTo>
                <a:cubicBezTo>
                  <a:pt x="124" y="541"/>
                  <a:pt x="200" y="416"/>
                  <a:pt x="297" y="314"/>
                </a:cubicBezTo>
                <a:cubicBezTo>
                  <a:pt x="394" y="212"/>
                  <a:pt x="512" y="131"/>
                  <a:pt x="644" y="81"/>
                </a:cubicBezTo>
                <a:cubicBezTo>
                  <a:pt x="764" y="40"/>
                  <a:pt x="881" y="20"/>
                  <a:pt x="1025" y="10"/>
                </a:cubicBezTo>
                <a:cubicBezTo>
                  <a:pt x="1169" y="0"/>
                  <a:pt x="1339" y="0"/>
                  <a:pt x="1566" y="0"/>
                </a:cubicBezTo>
                <a:lnTo>
                  <a:pt x="1559" y="0"/>
                </a:lnTo>
                <a:close/>
              </a:path>
            </a:pathLst>
          </a:custGeom>
          <a:noFill/>
          <a:ln w="25400" cap="flat">
            <a:solidFill>
              <a:schemeClr val="accent2">
                <a:lumMod val="60000"/>
                <a:lumOff val="40000"/>
              </a:schemeClr>
            </a:solidFill>
            <a:custDash>
              <a:ds d="200000" sp="200000"/>
            </a:custDash>
            <a:miter lim="400000"/>
          </a:ln>
          <a:effectLst/>
        </p:spPr>
        <p:txBody>
          <a:bodyPr wrap="square" lIns="0" tIns="0" rIns="0" bIns="0" numCol="1"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sz="3200" b="0">
                <a:solidFill>
                  <a:srgbClr val="F3F4F5"/>
                </a:solidFill>
                <a:latin typeface="+mn-lt"/>
                <a:ea typeface="+mn-ea"/>
                <a:cs typeface="+mn-cs"/>
                <a:sym typeface="Helvetica Neue Medium"/>
              </a:defRPr>
            </a:pPr>
            <a:endParaRPr kumimoji="0" sz="1600" b="0" i="0" u="none" strike="noStrike" kern="1200" cap="none" spc="0" normalizeH="0" baseline="0" noProof="0" dirty="0">
              <a:ln>
                <a:noFill/>
              </a:ln>
              <a:solidFill>
                <a:srgbClr val="F3F4F5"/>
              </a:solidFill>
              <a:effectLst/>
              <a:uLnTx/>
              <a:uFillTx/>
              <a:latin typeface="OPPOSans R" panose="00020600040101010101" pitchFamily="18" charset="-122"/>
              <a:ea typeface="微软雅黑"/>
              <a:cs typeface="+mn-cs"/>
              <a:sym typeface="Helvetica Neue Medium"/>
            </a:endParaRPr>
          </a:p>
        </p:txBody>
      </p:sp>
      <p:sp>
        <p:nvSpPr>
          <p:cNvPr id="3119" name="gaoding-19"/>
          <p:cNvSpPr/>
          <p:nvPr/>
        </p:nvSpPr>
        <p:spPr>
          <a:xfrm>
            <a:off x="4822416" y="3709604"/>
            <a:ext cx="2535235" cy="425817"/>
          </a:xfrm>
          <a:custGeom>
            <a:avLst/>
            <a:gdLst/>
            <a:ahLst/>
            <a:cxnLst>
              <a:cxn ang="0">
                <a:pos x="wd2" y="hd2"/>
              </a:cxn>
              <a:cxn ang="5400000">
                <a:pos x="wd2" y="hd2"/>
              </a:cxn>
              <a:cxn ang="10800000">
                <a:pos x="wd2" y="hd2"/>
              </a:cxn>
              <a:cxn ang="16200000">
                <a:pos x="wd2" y="hd2"/>
              </a:cxn>
            </a:cxnLst>
            <a:rect l="0" t="0" r="r" b="b"/>
            <a:pathLst>
              <a:path w="21600" h="21600" extrusionOk="0">
                <a:moveTo>
                  <a:pt x="1034" y="0"/>
                </a:moveTo>
                <a:lnTo>
                  <a:pt x="20566" y="0"/>
                </a:lnTo>
                <a:cubicBezTo>
                  <a:pt x="20714" y="0"/>
                  <a:pt x="20826" y="0"/>
                  <a:pt x="20921" y="38"/>
                </a:cubicBezTo>
                <a:cubicBezTo>
                  <a:pt x="21015" y="75"/>
                  <a:pt x="21093" y="151"/>
                  <a:pt x="21173" y="302"/>
                </a:cubicBezTo>
                <a:cubicBezTo>
                  <a:pt x="21260" y="491"/>
                  <a:pt x="21339" y="791"/>
                  <a:pt x="21403" y="1174"/>
                </a:cubicBezTo>
                <a:cubicBezTo>
                  <a:pt x="21467" y="1556"/>
                  <a:pt x="21518" y="2022"/>
                  <a:pt x="21549" y="2543"/>
                </a:cubicBezTo>
                <a:cubicBezTo>
                  <a:pt x="21575" y="3019"/>
                  <a:pt x="21587" y="3480"/>
                  <a:pt x="21594" y="4047"/>
                </a:cubicBezTo>
                <a:cubicBezTo>
                  <a:pt x="21600" y="4614"/>
                  <a:pt x="21600" y="5286"/>
                  <a:pt x="21600" y="6182"/>
                </a:cubicBezTo>
                <a:lnTo>
                  <a:pt x="21600" y="15445"/>
                </a:lnTo>
                <a:cubicBezTo>
                  <a:pt x="21600" y="16327"/>
                  <a:pt x="21600" y="16992"/>
                  <a:pt x="21594" y="17556"/>
                </a:cubicBezTo>
                <a:cubicBezTo>
                  <a:pt x="21587" y="18120"/>
                  <a:pt x="21575" y="18581"/>
                  <a:pt x="21549" y="19057"/>
                </a:cubicBezTo>
                <a:cubicBezTo>
                  <a:pt x="21518" y="19578"/>
                  <a:pt x="21467" y="20044"/>
                  <a:pt x="21403" y="20426"/>
                </a:cubicBezTo>
                <a:cubicBezTo>
                  <a:pt x="21339" y="20809"/>
                  <a:pt x="21260" y="21109"/>
                  <a:pt x="21173" y="21298"/>
                </a:cubicBezTo>
                <a:cubicBezTo>
                  <a:pt x="21093" y="21449"/>
                  <a:pt x="21015" y="21525"/>
                  <a:pt x="20920" y="21562"/>
                </a:cubicBezTo>
                <a:cubicBezTo>
                  <a:pt x="20825" y="21600"/>
                  <a:pt x="20712" y="21600"/>
                  <a:pt x="20562" y="21600"/>
                </a:cubicBezTo>
                <a:lnTo>
                  <a:pt x="1034" y="21600"/>
                </a:lnTo>
                <a:cubicBezTo>
                  <a:pt x="886" y="21600"/>
                  <a:pt x="774" y="21600"/>
                  <a:pt x="679" y="21562"/>
                </a:cubicBezTo>
                <a:cubicBezTo>
                  <a:pt x="585" y="21525"/>
                  <a:pt x="507" y="21449"/>
                  <a:pt x="427" y="21298"/>
                </a:cubicBezTo>
                <a:cubicBezTo>
                  <a:pt x="340" y="21109"/>
                  <a:pt x="261" y="20809"/>
                  <a:pt x="197" y="20426"/>
                </a:cubicBezTo>
                <a:cubicBezTo>
                  <a:pt x="133" y="20044"/>
                  <a:pt x="82" y="19578"/>
                  <a:pt x="51" y="19057"/>
                </a:cubicBezTo>
                <a:cubicBezTo>
                  <a:pt x="25" y="18581"/>
                  <a:pt x="13" y="18120"/>
                  <a:pt x="6" y="17553"/>
                </a:cubicBezTo>
                <a:cubicBezTo>
                  <a:pt x="0" y="16986"/>
                  <a:pt x="0" y="16314"/>
                  <a:pt x="0" y="15418"/>
                </a:cubicBezTo>
                <a:lnTo>
                  <a:pt x="0" y="6155"/>
                </a:lnTo>
                <a:cubicBezTo>
                  <a:pt x="0" y="5273"/>
                  <a:pt x="0" y="4608"/>
                  <a:pt x="6" y="4044"/>
                </a:cubicBezTo>
                <a:cubicBezTo>
                  <a:pt x="13" y="3480"/>
                  <a:pt x="25" y="3019"/>
                  <a:pt x="51" y="2543"/>
                </a:cubicBezTo>
                <a:cubicBezTo>
                  <a:pt x="82" y="2022"/>
                  <a:pt x="133" y="1556"/>
                  <a:pt x="197" y="1174"/>
                </a:cubicBezTo>
                <a:cubicBezTo>
                  <a:pt x="261" y="791"/>
                  <a:pt x="340" y="491"/>
                  <a:pt x="427" y="302"/>
                </a:cubicBezTo>
                <a:cubicBezTo>
                  <a:pt x="507" y="151"/>
                  <a:pt x="585" y="75"/>
                  <a:pt x="680" y="38"/>
                </a:cubicBezTo>
                <a:cubicBezTo>
                  <a:pt x="775" y="0"/>
                  <a:pt x="888" y="0"/>
                  <a:pt x="1038" y="0"/>
                </a:cubicBezTo>
                <a:lnTo>
                  <a:pt x="1034" y="0"/>
                </a:lnTo>
                <a:close/>
              </a:path>
            </a:pathLst>
          </a:custGeom>
          <a:solidFill>
            <a:schemeClr val="accent3">
              <a:lumMod val="20000"/>
              <a:lumOff val="80000"/>
            </a:schemeClr>
          </a:solidFill>
          <a:ln w="12700" cap="flat">
            <a:noFill/>
            <a:miter lim="400000"/>
          </a:ln>
          <a:effectLst/>
        </p:spPr>
        <p:txBody>
          <a:bodyPr wrap="square" lIns="0" tIns="0" rIns="0" bIns="0" numCol="1"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sz="3200" b="0">
                <a:solidFill>
                  <a:srgbClr val="F3F4F5"/>
                </a:solidFill>
                <a:latin typeface="+mn-lt"/>
                <a:ea typeface="+mn-ea"/>
                <a:cs typeface="+mn-cs"/>
                <a:sym typeface="Helvetica Neue Medium"/>
              </a:defRPr>
            </a:pPr>
            <a:endParaRPr kumimoji="0" sz="1600" b="0" i="0" u="none" strike="noStrike" kern="1200" cap="none" spc="0" normalizeH="0" baseline="0" noProof="0" dirty="0">
              <a:ln>
                <a:noFill/>
              </a:ln>
              <a:solidFill>
                <a:srgbClr val="F3F4F5"/>
              </a:solidFill>
              <a:effectLst/>
              <a:uLnTx/>
              <a:uFillTx/>
              <a:latin typeface="OPPOSans R" panose="00020600040101010101" pitchFamily="18" charset="-122"/>
              <a:ea typeface="微软雅黑"/>
              <a:cs typeface="+mn-cs"/>
              <a:sym typeface="Helvetica Neue Medium"/>
            </a:endParaRPr>
          </a:p>
        </p:txBody>
      </p:sp>
      <p:sp>
        <p:nvSpPr>
          <p:cNvPr id="3121" name="gaoding-20"/>
          <p:cNvSpPr/>
          <p:nvPr/>
        </p:nvSpPr>
        <p:spPr>
          <a:xfrm>
            <a:off x="5121190" y="3599736"/>
            <a:ext cx="645555" cy="645555"/>
          </a:xfrm>
          <a:prstGeom prst="ellipse">
            <a:avLst/>
          </a:prstGeom>
          <a:solidFill>
            <a:schemeClr val="accent3">
              <a:lumMod val="20000"/>
              <a:lumOff val="80000"/>
            </a:schemeClr>
          </a:solidFill>
          <a:ln w="12700" cap="flat">
            <a:noFill/>
            <a:miter lim="400000"/>
          </a:ln>
          <a:effectLst/>
        </p:spPr>
        <p:txBody>
          <a:bodyPr wrap="square" lIns="0" tIns="0" rIns="0" bIns="0" numCol="1"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1600" b="0" i="0" u="none" strike="noStrike" kern="1200" cap="none" spc="0" normalizeH="0" baseline="0" noProof="0" dirty="0">
              <a:ln>
                <a:noFill/>
              </a:ln>
              <a:solidFill>
                <a:srgbClr val="FFFFFF"/>
              </a:solidFill>
              <a:effectLst/>
              <a:uLnTx/>
              <a:uFillTx/>
              <a:latin typeface="OPPOSans R" panose="00020600040101010101" pitchFamily="18" charset="-122"/>
              <a:ea typeface="微软雅黑"/>
              <a:cs typeface="+mn-cs"/>
              <a:sym typeface="Helvetica Neue Medium"/>
            </a:endParaRPr>
          </a:p>
        </p:txBody>
      </p:sp>
      <p:sp>
        <p:nvSpPr>
          <p:cNvPr id="3124" name="gaoding-21"/>
          <p:cNvSpPr/>
          <p:nvPr/>
        </p:nvSpPr>
        <p:spPr>
          <a:xfrm>
            <a:off x="4822416" y="4576516"/>
            <a:ext cx="2535235" cy="425818"/>
          </a:xfrm>
          <a:custGeom>
            <a:avLst/>
            <a:gdLst/>
            <a:ahLst/>
            <a:cxnLst>
              <a:cxn ang="0">
                <a:pos x="wd2" y="hd2"/>
              </a:cxn>
              <a:cxn ang="5400000">
                <a:pos x="wd2" y="hd2"/>
              </a:cxn>
              <a:cxn ang="10800000">
                <a:pos x="wd2" y="hd2"/>
              </a:cxn>
              <a:cxn ang="16200000">
                <a:pos x="wd2" y="hd2"/>
              </a:cxn>
            </a:cxnLst>
            <a:rect l="0" t="0" r="r" b="b"/>
            <a:pathLst>
              <a:path w="21600" h="21600" extrusionOk="0">
                <a:moveTo>
                  <a:pt x="1034" y="0"/>
                </a:moveTo>
                <a:lnTo>
                  <a:pt x="20566" y="0"/>
                </a:lnTo>
                <a:cubicBezTo>
                  <a:pt x="20714" y="0"/>
                  <a:pt x="20826" y="0"/>
                  <a:pt x="20921" y="38"/>
                </a:cubicBezTo>
                <a:cubicBezTo>
                  <a:pt x="21015" y="75"/>
                  <a:pt x="21093" y="151"/>
                  <a:pt x="21173" y="302"/>
                </a:cubicBezTo>
                <a:cubicBezTo>
                  <a:pt x="21260" y="491"/>
                  <a:pt x="21339" y="791"/>
                  <a:pt x="21403" y="1174"/>
                </a:cubicBezTo>
                <a:cubicBezTo>
                  <a:pt x="21467" y="1556"/>
                  <a:pt x="21518" y="2022"/>
                  <a:pt x="21549" y="2543"/>
                </a:cubicBezTo>
                <a:cubicBezTo>
                  <a:pt x="21575" y="3019"/>
                  <a:pt x="21587" y="3480"/>
                  <a:pt x="21594" y="4047"/>
                </a:cubicBezTo>
                <a:cubicBezTo>
                  <a:pt x="21600" y="4614"/>
                  <a:pt x="21600" y="5286"/>
                  <a:pt x="21600" y="6182"/>
                </a:cubicBezTo>
                <a:lnTo>
                  <a:pt x="21600" y="15445"/>
                </a:lnTo>
                <a:cubicBezTo>
                  <a:pt x="21600" y="16327"/>
                  <a:pt x="21600" y="16992"/>
                  <a:pt x="21594" y="17556"/>
                </a:cubicBezTo>
                <a:cubicBezTo>
                  <a:pt x="21587" y="18120"/>
                  <a:pt x="21575" y="18581"/>
                  <a:pt x="21549" y="19057"/>
                </a:cubicBezTo>
                <a:cubicBezTo>
                  <a:pt x="21518" y="19578"/>
                  <a:pt x="21467" y="20044"/>
                  <a:pt x="21403" y="20426"/>
                </a:cubicBezTo>
                <a:cubicBezTo>
                  <a:pt x="21339" y="20809"/>
                  <a:pt x="21260" y="21109"/>
                  <a:pt x="21173" y="21298"/>
                </a:cubicBezTo>
                <a:cubicBezTo>
                  <a:pt x="21093" y="21449"/>
                  <a:pt x="21015" y="21525"/>
                  <a:pt x="20920" y="21562"/>
                </a:cubicBezTo>
                <a:cubicBezTo>
                  <a:pt x="20825" y="21600"/>
                  <a:pt x="20712" y="21600"/>
                  <a:pt x="20562" y="21600"/>
                </a:cubicBezTo>
                <a:lnTo>
                  <a:pt x="1034" y="21600"/>
                </a:lnTo>
                <a:cubicBezTo>
                  <a:pt x="886" y="21600"/>
                  <a:pt x="774" y="21600"/>
                  <a:pt x="679" y="21562"/>
                </a:cubicBezTo>
                <a:cubicBezTo>
                  <a:pt x="585" y="21525"/>
                  <a:pt x="507" y="21449"/>
                  <a:pt x="427" y="21298"/>
                </a:cubicBezTo>
                <a:cubicBezTo>
                  <a:pt x="340" y="21109"/>
                  <a:pt x="261" y="20809"/>
                  <a:pt x="197" y="20426"/>
                </a:cubicBezTo>
                <a:cubicBezTo>
                  <a:pt x="133" y="20044"/>
                  <a:pt x="82" y="19578"/>
                  <a:pt x="51" y="19057"/>
                </a:cubicBezTo>
                <a:cubicBezTo>
                  <a:pt x="25" y="18581"/>
                  <a:pt x="13" y="18120"/>
                  <a:pt x="6" y="17553"/>
                </a:cubicBezTo>
                <a:cubicBezTo>
                  <a:pt x="0" y="16986"/>
                  <a:pt x="0" y="16314"/>
                  <a:pt x="0" y="15418"/>
                </a:cubicBezTo>
                <a:lnTo>
                  <a:pt x="0" y="6155"/>
                </a:lnTo>
                <a:cubicBezTo>
                  <a:pt x="0" y="5273"/>
                  <a:pt x="0" y="4608"/>
                  <a:pt x="6" y="4044"/>
                </a:cubicBezTo>
                <a:cubicBezTo>
                  <a:pt x="13" y="3480"/>
                  <a:pt x="25" y="3019"/>
                  <a:pt x="51" y="2543"/>
                </a:cubicBezTo>
                <a:cubicBezTo>
                  <a:pt x="82" y="2022"/>
                  <a:pt x="133" y="1556"/>
                  <a:pt x="197" y="1174"/>
                </a:cubicBezTo>
                <a:cubicBezTo>
                  <a:pt x="261" y="791"/>
                  <a:pt x="340" y="491"/>
                  <a:pt x="427" y="302"/>
                </a:cubicBezTo>
                <a:cubicBezTo>
                  <a:pt x="507" y="151"/>
                  <a:pt x="585" y="75"/>
                  <a:pt x="680" y="38"/>
                </a:cubicBezTo>
                <a:cubicBezTo>
                  <a:pt x="775" y="0"/>
                  <a:pt x="888" y="0"/>
                  <a:pt x="1038" y="0"/>
                </a:cubicBezTo>
                <a:lnTo>
                  <a:pt x="1034" y="0"/>
                </a:lnTo>
                <a:close/>
              </a:path>
            </a:pathLst>
          </a:custGeom>
          <a:solidFill>
            <a:schemeClr val="accent3">
              <a:lumMod val="20000"/>
              <a:lumOff val="80000"/>
            </a:schemeClr>
          </a:solidFill>
          <a:ln w="12700" cap="flat">
            <a:noFill/>
            <a:miter lim="400000"/>
          </a:ln>
          <a:effectLst/>
        </p:spPr>
        <p:txBody>
          <a:bodyPr wrap="square" lIns="0" tIns="0" rIns="0" bIns="0" numCol="1"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sz="3200" b="0">
                <a:solidFill>
                  <a:srgbClr val="F3F4F5"/>
                </a:solidFill>
                <a:latin typeface="+mn-lt"/>
                <a:ea typeface="+mn-ea"/>
                <a:cs typeface="+mn-cs"/>
                <a:sym typeface="Helvetica Neue Medium"/>
              </a:defRPr>
            </a:pPr>
            <a:endParaRPr kumimoji="0" sz="1600" b="0" i="0" u="none" strike="noStrike" kern="1200" cap="none" spc="0" normalizeH="0" baseline="0" noProof="0" dirty="0">
              <a:ln>
                <a:noFill/>
              </a:ln>
              <a:solidFill>
                <a:srgbClr val="F3F4F5"/>
              </a:solidFill>
              <a:effectLst/>
              <a:uLnTx/>
              <a:uFillTx/>
              <a:latin typeface="OPPOSans R" panose="00020600040101010101" pitchFamily="18" charset="-122"/>
              <a:ea typeface="微软雅黑"/>
              <a:cs typeface="+mn-cs"/>
              <a:sym typeface="Helvetica Neue Medium"/>
            </a:endParaRPr>
          </a:p>
        </p:txBody>
      </p:sp>
      <p:sp>
        <p:nvSpPr>
          <p:cNvPr id="3126" name="gaoding-22"/>
          <p:cNvSpPr/>
          <p:nvPr/>
        </p:nvSpPr>
        <p:spPr>
          <a:xfrm>
            <a:off x="5121190" y="4466647"/>
            <a:ext cx="645555" cy="645555"/>
          </a:xfrm>
          <a:prstGeom prst="ellipse">
            <a:avLst/>
          </a:prstGeom>
          <a:solidFill>
            <a:schemeClr val="accent3">
              <a:lumMod val="20000"/>
              <a:lumOff val="80000"/>
            </a:schemeClr>
          </a:solidFill>
          <a:ln w="12700" cap="flat">
            <a:noFill/>
            <a:miter lim="400000"/>
          </a:ln>
          <a:effectLst/>
        </p:spPr>
        <p:txBody>
          <a:bodyPr wrap="square" lIns="0" tIns="0" rIns="0" bIns="0" numCol="1"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1600" b="0" i="0" u="none" strike="noStrike" kern="1200" cap="none" spc="0" normalizeH="0" baseline="0" noProof="0" dirty="0">
              <a:ln>
                <a:noFill/>
              </a:ln>
              <a:solidFill>
                <a:srgbClr val="FFFFFF"/>
              </a:solidFill>
              <a:effectLst/>
              <a:uLnTx/>
              <a:uFillTx/>
              <a:latin typeface="OPPOSans R" panose="00020600040101010101" pitchFamily="18" charset="-122"/>
              <a:ea typeface="微软雅黑"/>
              <a:cs typeface="+mn-cs"/>
              <a:sym typeface="Helvetica Neue Medium"/>
            </a:endParaRPr>
          </a:p>
        </p:txBody>
      </p:sp>
      <p:sp>
        <p:nvSpPr>
          <p:cNvPr id="3129" name="gaoding-23"/>
          <p:cNvSpPr/>
          <p:nvPr/>
        </p:nvSpPr>
        <p:spPr>
          <a:xfrm>
            <a:off x="4822416" y="5443427"/>
            <a:ext cx="2535235" cy="425818"/>
          </a:xfrm>
          <a:custGeom>
            <a:avLst/>
            <a:gdLst/>
            <a:ahLst/>
            <a:cxnLst>
              <a:cxn ang="0">
                <a:pos x="wd2" y="hd2"/>
              </a:cxn>
              <a:cxn ang="5400000">
                <a:pos x="wd2" y="hd2"/>
              </a:cxn>
              <a:cxn ang="10800000">
                <a:pos x="wd2" y="hd2"/>
              </a:cxn>
              <a:cxn ang="16200000">
                <a:pos x="wd2" y="hd2"/>
              </a:cxn>
            </a:cxnLst>
            <a:rect l="0" t="0" r="r" b="b"/>
            <a:pathLst>
              <a:path w="21600" h="21600" extrusionOk="0">
                <a:moveTo>
                  <a:pt x="1034" y="0"/>
                </a:moveTo>
                <a:lnTo>
                  <a:pt x="20566" y="0"/>
                </a:lnTo>
                <a:cubicBezTo>
                  <a:pt x="20714" y="0"/>
                  <a:pt x="20826" y="0"/>
                  <a:pt x="20921" y="38"/>
                </a:cubicBezTo>
                <a:cubicBezTo>
                  <a:pt x="21015" y="75"/>
                  <a:pt x="21093" y="151"/>
                  <a:pt x="21173" y="302"/>
                </a:cubicBezTo>
                <a:cubicBezTo>
                  <a:pt x="21260" y="491"/>
                  <a:pt x="21339" y="791"/>
                  <a:pt x="21403" y="1174"/>
                </a:cubicBezTo>
                <a:cubicBezTo>
                  <a:pt x="21467" y="1556"/>
                  <a:pt x="21518" y="2022"/>
                  <a:pt x="21549" y="2543"/>
                </a:cubicBezTo>
                <a:cubicBezTo>
                  <a:pt x="21575" y="3019"/>
                  <a:pt x="21587" y="3480"/>
                  <a:pt x="21594" y="4047"/>
                </a:cubicBezTo>
                <a:cubicBezTo>
                  <a:pt x="21600" y="4614"/>
                  <a:pt x="21600" y="5286"/>
                  <a:pt x="21600" y="6182"/>
                </a:cubicBezTo>
                <a:lnTo>
                  <a:pt x="21600" y="15445"/>
                </a:lnTo>
                <a:cubicBezTo>
                  <a:pt x="21600" y="16327"/>
                  <a:pt x="21600" y="16992"/>
                  <a:pt x="21594" y="17556"/>
                </a:cubicBezTo>
                <a:cubicBezTo>
                  <a:pt x="21587" y="18120"/>
                  <a:pt x="21575" y="18581"/>
                  <a:pt x="21549" y="19057"/>
                </a:cubicBezTo>
                <a:cubicBezTo>
                  <a:pt x="21518" y="19578"/>
                  <a:pt x="21467" y="20044"/>
                  <a:pt x="21403" y="20426"/>
                </a:cubicBezTo>
                <a:cubicBezTo>
                  <a:pt x="21339" y="20809"/>
                  <a:pt x="21260" y="21109"/>
                  <a:pt x="21173" y="21298"/>
                </a:cubicBezTo>
                <a:cubicBezTo>
                  <a:pt x="21093" y="21449"/>
                  <a:pt x="21015" y="21525"/>
                  <a:pt x="20920" y="21562"/>
                </a:cubicBezTo>
                <a:cubicBezTo>
                  <a:pt x="20825" y="21600"/>
                  <a:pt x="20712" y="21600"/>
                  <a:pt x="20562" y="21600"/>
                </a:cubicBezTo>
                <a:lnTo>
                  <a:pt x="1034" y="21600"/>
                </a:lnTo>
                <a:cubicBezTo>
                  <a:pt x="886" y="21600"/>
                  <a:pt x="774" y="21600"/>
                  <a:pt x="679" y="21562"/>
                </a:cubicBezTo>
                <a:cubicBezTo>
                  <a:pt x="585" y="21525"/>
                  <a:pt x="507" y="21449"/>
                  <a:pt x="427" y="21298"/>
                </a:cubicBezTo>
                <a:cubicBezTo>
                  <a:pt x="340" y="21109"/>
                  <a:pt x="261" y="20809"/>
                  <a:pt x="197" y="20426"/>
                </a:cubicBezTo>
                <a:cubicBezTo>
                  <a:pt x="133" y="20044"/>
                  <a:pt x="82" y="19578"/>
                  <a:pt x="51" y="19057"/>
                </a:cubicBezTo>
                <a:cubicBezTo>
                  <a:pt x="25" y="18581"/>
                  <a:pt x="13" y="18120"/>
                  <a:pt x="6" y="17553"/>
                </a:cubicBezTo>
                <a:cubicBezTo>
                  <a:pt x="0" y="16986"/>
                  <a:pt x="0" y="16314"/>
                  <a:pt x="0" y="15418"/>
                </a:cubicBezTo>
                <a:lnTo>
                  <a:pt x="0" y="6155"/>
                </a:lnTo>
                <a:cubicBezTo>
                  <a:pt x="0" y="5273"/>
                  <a:pt x="0" y="4608"/>
                  <a:pt x="6" y="4044"/>
                </a:cubicBezTo>
                <a:cubicBezTo>
                  <a:pt x="13" y="3480"/>
                  <a:pt x="25" y="3019"/>
                  <a:pt x="51" y="2543"/>
                </a:cubicBezTo>
                <a:cubicBezTo>
                  <a:pt x="82" y="2022"/>
                  <a:pt x="133" y="1556"/>
                  <a:pt x="197" y="1174"/>
                </a:cubicBezTo>
                <a:cubicBezTo>
                  <a:pt x="261" y="791"/>
                  <a:pt x="340" y="491"/>
                  <a:pt x="427" y="302"/>
                </a:cubicBezTo>
                <a:cubicBezTo>
                  <a:pt x="507" y="151"/>
                  <a:pt x="585" y="75"/>
                  <a:pt x="680" y="38"/>
                </a:cubicBezTo>
                <a:cubicBezTo>
                  <a:pt x="775" y="0"/>
                  <a:pt x="888" y="0"/>
                  <a:pt x="1038" y="0"/>
                </a:cubicBezTo>
                <a:lnTo>
                  <a:pt x="1034" y="0"/>
                </a:lnTo>
                <a:close/>
              </a:path>
            </a:pathLst>
          </a:custGeom>
          <a:solidFill>
            <a:schemeClr val="accent3">
              <a:lumMod val="20000"/>
              <a:lumOff val="80000"/>
            </a:schemeClr>
          </a:solidFill>
          <a:ln w="12700" cap="flat">
            <a:noFill/>
            <a:miter lim="400000"/>
          </a:ln>
          <a:effectLst/>
        </p:spPr>
        <p:txBody>
          <a:bodyPr wrap="square" lIns="0" tIns="0" rIns="0" bIns="0" numCol="1"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sz="3200" b="0">
                <a:solidFill>
                  <a:srgbClr val="F3F4F5"/>
                </a:solidFill>
                <a:latin typeface="+mn-lt"/>
                <a:ea typeface="+mn-ea"/>
                <a:cs typeface="+mn-cs"/>
                <a:sym typeface="Helvetica Neue Medium"/>
              </a:defRPr>
            </a:pPr>
            <a:endParaRPr kumimoji="0" sz="1600" b="0" i="0" u="none" strike="noStrike" kern="1200" cap="none" spc="0" normalizeH="0" baseline="0" noProof="0" dirty="0">
              <a:ln>
                <a:noFill/>
              </a:ln>
              <a:solidFill>
                <a:srgbClr val="F3F4F5"/>
              </a:solidFill>
              <a:effectLst/>
              <a:uLnTx/>
              <a:uFillTx/>
              <a:latin typeface="OPPOSans R" panose="00020600040101010101" pitchFamily="18" charset="-122"/>
              <a:ea typeface="微软雅黑"/>
              <a:cs typeface="+mn-cs"/>
              <a:sym typeface="Helvetica Neue Medium"/>
            </a:endParaRPr>
          </a:p>
        </p:txBody>
      </p:sp>
      <p:sp>
        <p:nvSpPr>
          <p:cNvPr id="3131" name="gaoding-24"/>
          <p:cNvSpPr/>
          <p:nvPr/>
        </p:nvSpPr>
        <p:spPr>
          <a:xfrm>
            <a:off x="5121190" y="5333558"/>
            <a:ext cx="645555" cy="645555"/>
          </a:xfrm>
          <a:prstGeom prst="ellipse">
            <a:avLst/>
          </a:prstGeom>
          <a:solidFill>
            <a:schemeClr val="accent3">
              <a:lumMod val="20000"/>
              <a:lumOff val="80000"/>
            </a:schemeClr>
          </a:solidFill>
          <a:ln w="12700" cap="flat">
            <a:noFill/>
            <a:miter lim="400000"/>
          </a:ln>
          <a:effectLst/>
        </p:spPr>
        <p:txBody>
          <a:bodyPr wrap="square" lIns="0" tIns="0" rIns="0" bIns="0" numCol="1"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1600" b="0" i="0" u="none" strike="noStrike" kern="1200" cap="none" spc="0" normalizeH="0" baseline="0" noProof="0" dirty="0">
              <a:ln>
                <a:noFill/>
              </a:ln>
              <a:solidFill>
                <a:srgbClr val="FFFFFF"/>
              </a:solidFill>
              <a:effectLst/>
              <a:uLnTx/>
              <a:uFillTx/>
              <a:latin typeface="OPPOSans R" panose="00020600040101010101" pitchFamily="18" charset="-122"/>
              <a:ea typeface="微软雅黑"/>
              <a:cs typeface="+mn-cs"/>
              <a:sym typeface="Helvetica Neue Medium"/>
            </a:endParaRPr>
          </a:p>
        </p:txBody>
      </p:sp>
      <p:sp>
        <p:nvSpPr>
          <p:cNvPr id="3135" name="gaoding-25"/>
          <p:cNvSpPr/>
          <p:nvPr/>
        </p:nvSpPr>
        <p:spPr>
          <a:xfrm>
            <a:off x="4684768" y="3469301"/>
            <a:ext cx="2789235" cy="2640246"/>
          </a:xfrm>
          <a:custGeom>
            <a:avLst/>
            <a:gdLst/>
            <a:ahLst/>
            <a:cxnLst>
              <a:cxn ang="0">
                <a:pos x="wd2" y="hd2"/>
              </a:cxn>
              <a:cxn ang="5400000">
                <a:pos x="wd2" y="hd2"/>
              </a:cxn>
              <a:cxn ang="10800000">
                <a:pos x="wd2" y="hd2"/>
              </a:cxn>
              <a:cxn ang="16200000">
                <a:pos x="wd2" y="hd2"/>
              </a:cxn>
            </a:cxnLst>
            <a:rect l="0" t="0" r="r" b="b"/>
            <a:pathLst>
              <a:path w="21600" h="21600" extrusionOk="0">
                <a:moveTo>
                  <a:pt x="1559" y="0"/>
                </a:moveTo>
                <a:lnTo>
                  <a:pt x="20041" y="0"/>
                </a:lnTo>
                <a:cubicBezTo>
                  <a:pt x="20265" y="0"/>
                  <a:pt x="20433" y="0"/>
                  <a:pt x="20576" y="10"/>
                </a:cubicBezTo>
                <a:cubicBezTo>
                  <a:pt x="20719" y="20"/>
                  <a:pt x="20836" y="40"/>
                  <a:pt x="20956" y="81"/>
                </a:cubicBezTo>
                <a:cubicBezTo>
                  <a:pt x="21088" y="131"/>
                  <a:pt x="21206" y="212"/>
                  <a:pt x="21303" y="314"/>
                </a:cubicBezTo>
                <a:cubicBezTo>
                  <a:pt x="21400" y="416"/>
                  <a:pt x="21476" y="541"/>
                  <a:pt x="21524" y="680"/>
                </a:cubicBezTo>
                <a:cubicBezTo>
                  <a:pt x="21562" y="808"/>
                  <a:pt x="21581" y="931"/>
                  <a:pt x="21590" y="1083"/>
                </a:cubicBezTo>
                <a:cubicBezTo>
                  <a:pt x="21600" y="1234"/>
                  <a:pt x="21600" y="1414"/>
                  <a:pt x="21600" y="1654"/>
                </a:cubicBezTo>
                <a:lnTo>
                  <a:pt x="21600" y="19953"/>
                </a:lnTo>
                <a:cubicBezTo>
                  <a:pt x="21600" y="20189"/>
                  <a:pt x="21600" y="20367"/>
                  <a:pt x="21590" y="20518"/>
                </a:cubicBezTo>
                <a:cubicBezTo>
                  <a:pt x="21581" y="20669"/>
                  <a:pt x="21562" y="20792"/>
                  <a:pt x="21524" y="20920"/>
                </a:cubicBezTo>
                <a:cubicBezTo>
                  <a:pt x="21476" y="21059"/>
                  <a:pt x="21400" y="21184"/>
                  <a:pt x="21303" y="21286"/>
                </a:cubicBezTo>
                <a:cubicBezTo>
                  <a:pt x="21206" y="21388"/>
                  <a:pt x="21088" y="21469"/>
                  <a:pt x="20956" y="21519"/>
                </a:cubicBezTo>
                <a:cubicBezTo>
                  <a:pt x="20836" y="21560"/>
                  <a:pt x="20719" y="21580"/>
                  <a:pt x="20575" y="21590"/>
                </a:cubicBezTo>
                <a:cubicBezTo>
                  <a:pt x="20431" y="21600"/>
                  <a:pt x="20261" y="21600"/>
                  <a:pt x="20034" y="21600"/>
                </a:cubicBezTo>
                <a:lnTo>
                  <a:pt x="1559" y="21600"/>
                </a:lnTo>
                <a:cubicBezTo>
                  <a:pt x="1335" y="21600"/>
                  <a:pt x="1167" y="21600"/>
                  <a:pt x="1024" y="21590"/>
                </a:cubicBezTo>
                <a:cubicBezTo>
                  <a:pt x="881" y="21580"/>
                  <a:pt x="764" y="21560"/>
                  <a:pt x="644" y="21519"/>
                </a:cubicBezTo>
                <a:cubicBezTo>
                  <a:pt x="512" y="21469"/>
                  <a:pt x="394" y="21388"/>
                  <a:pt x="297" y="21286"/>
                </a:cubicBezTo>
                <a:cubicBezTo>
                  <a:pt x="200" y="21184"/>
                  <a:pt x="124" y="21059"/>
                  <a:pt x="76" y="20920"/>
                </a:cubicBezTo>
                <a:cubicBezTo>
                  <a:pt x="38" y="20792"/>
                  <a:pt x="19" y="20669"/>
                  <a:pt x="10" y="20517"/>
                </a:cubicBezTo>
                <a:cubicBezTo>
                  <a:pt x="0" y="20366"/>
                  <a:pt x="0" y="20186"/>
                  <a:pt x="0" y="19946"/>
                </a:cubicBezTo>
                <a:lnTo>
                  <a:pt x="0" y="1647"/>
                </a:lnTo>
                <a:cubicBezTo>
                  <a:pt x="0" y="1411"/>
                  <a:pt x="0" y="1233"/>
                  <a:pt x="10" y="1082"/>
                </a:cubicBezTo>
                <a:cubicBezTo>
                  <a:pt x="19" y="931"/>
                  <a:pt x="38" y="808"/>
                  <a:pt x="76" y="680"/>
                </a:cubicBezTo>
                <a:cubicBezTo>
                  <a:pt x="124" y="541"/>
                  <a:pt x="200" y="416"/>
                  <a:pt x="297" y="314"/>
                </a:cubicBezTo>
                <a:cubicBezTo>
                  <a:pt x="394" y="212"/>
                  <a:pt x="512" y="131"/>
                  <a:pt x="644" y="81"/>
                </a:cubicBezTo>
                <a:cubicBezTo>
                  <a:pt x="764" y="40"/>
                  <a:pt x="881" y="20"/>
                  <a:pt x="1025" y="10"/>
                </a:cubicBezTo>
                <a:cubicBezTo>
                  <a:pt x="1169" y="0"/>
                  <a:pt x="1339" y="0"/>
                  <a:pt x="1566" y="0"/>
                </a:cubicBezTo>
                <a:lnTo>
                  <a:pt x="1559" y="0"/>
                </a:lnTo>
                <a:close/>
              </a:path>
            </a:pathLst>
          </a:custGeom>
          <a:noFill/>
          <a:ln w="25400" cap="flat">
            <a:solidFill>
              <a:schemeClr val="accent3">
                <a:lumMod val="60000"/>
                <a:lumOff val="40000"/>
              </a:schemeClr>
            </a:solidFill>
            <a:custDash>
              <a:ds d="200000" sp="200000"/>
            </a:custDash>
            <a:miter lim="400000"/>
          </a:ln>
          <a:effectLst/>
        </p:spPr>
        <p:txBody>
          <a:bodyPr wrap="square" lIns="0" tIns="0" rIns="0" bIns="0" numCol="1"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sz="3200" b="0">
                <a:solidFill>
                  <a:srgbClr val="F3F4F5"/>
                </a:solidFill>
                <a:latin typeface="+mn-lt"/>
                <a:ea typeface="+mn-ea"/>
                <a:cs typeface="+mn-cs"/>
                <a:sym typeface="Helvetica Neue Medium"/>
              </a:defRPr>
            </a:pPr>
            <a:endParaRPr kumimoji="0" sz="1600" b="0" i="0" u="none" strike="noStrike" kern="1200" cap="none" spc="0" normalizeH="0" baseline="0" noProof="0" dirty="0">
              <a:ln>
                <a:noFill/>
              </a:ln>
              <a:solidFill>
                <a:srgbClr val="F3F4F5"/>
              </a:solidFill>
              <a:effectLst/>
              <a:uLnTx/>
              <a:uFillTx/>
              <a:latin typeface="OPPOSans R" panose="00020600040101010101" pitchFamily="18" charset="-122"/>
              <a:ea typeface="微软雅黑"/>
              <a:cs typeface="+mn-cs"/>
              <a:sym typeface="Helvetica Neue Medium"/>
            </a:endParaRPr>
          </a:p>
        </p:txBody>
      </p:sp>
      <p:sp>
        <p:nvSpPr>
          <p:cNvPr id="3136" name="gaoding-26"/>
          <p:cNvSpPr/>
          <p:nvPr/>
        </p:nvSpPr>
        <p:spPr>
          <a:xfrm>
            <a:off x="8698884" y="3709604"/>
            <a:ext cx="2535236" cy="425817"/>
          </a:xfrm>
          <a:custGeom>
            <a:avLst/>
            <a:gdLst/>
            <a:ahLst/>
            <a:cxnLst>
              <a:cxn ang="0">
                <a:pos x="wd2" y="hd2"/>
              </a:cxn>
              <a:cxn ang="5400000">
                <a:pos x="wd2" y="hd2"/>
              </a:cxn>
              <a:cxn ang="10800000">
                <a:pos x="wd2" y="hd2"/>
              </a:cxn>
              <a:cxn ang="16200000">
                <a:pos x="wd2" y="hd2"/>
              </a:cxn>
            </a:cxnLst>
            <a:rect l="0" t="0" r="r" b="b"/>
            <a:pathLst>
              <a:path w="21600" h="21600" extrusionOk="0">
                <a:moveTo>
                  <a:pt x="1034" y="0"/>
                </a:moveTo>
                <a:lnTo>
                  <a:pt x="20566" y="0"/>
                </a:lnTo>
                <a:cubicBezTo>
                  <a:pt x="20714" y="0"/>
                  <a:pt x="20826" y="0"/>
                  <a:pt x="20921" y="38"/>
                </a:cubicBezTo>
                <a:cubicBezTo>
                  <a:pt x="21015" y="75"/>
                  <a:pt x="21093" y="151"/>
                  <a:pt x="21173" y="302"/>
                </a:cubicBezTo>
                <a:cubicBezTo>
                  <a:pt x="21260" y="491"/>
                  <a:pt x="21339" y="791"/>
                  <a:pt x="21403" y="1174"/>
                </a:cubicBezTo>
                <a:cubicBezTo>
                  <a:pt x="21467" y="1556"/>
                  <a:pt x="21518" y="2022"/>
                  <a:pt x="21549" y="2543"/>
                </a:cubicBezTo>
                <a:cubicBezTo>
                  <a:pt x="21575" y="3019"/>
                  <a:pt x="21587" y="3480"/>
                  <a:pt x="21594" y="4047"/>
                </a:cubicBezTo>
                <a:cubicBezTo>
                  <a:pt x="21600" y="4614"/>
                  <a:pt x="21600" y="5286"/>
                  <a:pt x="21600" y="6182"/>
                </a:cubicBezTo>
                <a:lnTo>
                  <a:pt x="21600" y="15445"/>
                </a:lnTo>
                <a:cubicBezTo>
                  <a:pt x="21600" y="16327"/>
                  <a:pt x="21600" y="16992"/>
                  <a:pt x="21594" y="17556"/>
                </a:cubicBezTo>
                <a:cubicBezTo>
                  <a:pt x="21587" y="18120"/>
                  <a:pt x="21575" y="18581"/>
                  <a:pt x="21549" y="19057"/>
                </a:cubicBezTo>
                <a:cubicBezTo>
                  <a:pt x="21518" y="19578"/>
                  <a:pt x="21467" y="20044"/>
                  <a:pt x="21403" y="20426"/>
                </a:cubicBezTo>
                <a:cubicBezTo>
                  <a:pt x="21339" y="20809"/>
                  <a:pt x="21260" y="21109"/>
                  <a:pt x="21173" y="21298"/>
                </a:cubicBezTo>
                <a:cubicBezTo>
                  <a:pt x="21093" y="21449"/>
                  <a:pt x="21015" y="21525"/>
                  <a:pt x="20920" y="21562"/>
                </a:cubicBezTo>
                <a:cubicBezTo>
                  <a:pt x="20825" y="21600"/>
                  <a:pt x="20712" y="21600"/>
                  <a:pt x="20562" y="21600"/>
                </a:cubicBezTo>
                <a:lnTo>
                  <a:pt x="1034" y="21600"/>
                </a:lnTo>
                <a:cubicBezTo>
                  <a:pt x="886" y="21600"/>
                  <a:pt x="774" y="21600"/>
                  <a:pt x="679" y="21562"/>
                </a:cubicBezTo>
                <a:cubicBezTo>
                  <a:pt x="585" y="21525"/>
                  <a:pt x="507" y="21449"/>
                  <a:pt x="427" y="21298"/>
                </a:cubicBezTo>
                <a:cubicBezTo>
                  <a:pt x="340" y="21109"/>
                  <a:pt x="261" y="20809"/>
                  <a:pt x="197" y="20426"/>
                </a:cubicBezTo>
                <a:cubicBezTo>
                  <a:pt x="133" y="20044"/>
                  <a:pt x="82" y="19578"/>
                  <a:pt x="51" y="19057"/>
                </a:cubicBezTo>
                <a:cubicBezTo>
                  <a:pt x="25" y="18581"/>
                  <a:pt x="13" y="18120"/>
                  <a:pt x="6" y="17553"/>
                </a:cubicBezTo>
                <a:cubicBezTo>
                  <a:pt x="0" y="16986"/>
                  <a:pt x="0" y="16314"/>
                  <a:pt x="0" y="15418"/>
                </a:cubicBezTo>
                <a:lnTo>
                  <a:pt x="0" y="6155"/>
                </a:lnTo>
                <a:cubicBezTo>
                  <a:pt x="0" y="5273"/>
                  <a:pt x="0" y="4608"/>
                  <a:pt x="6" y="4044"/>
                </a:cubicBezTo>
                <a:cubicBezTo>
                  <a:pt x="13" y="3480"/>
                  <a:pt x="25" y="3019"/>
                  <a:pt x="51" y="2543"/>
                </a:cubicBezTo>
                <a:cubicBezTo>
                  <a:pt x="82" y="2022"/>
                  <a:pt x="133" y="1556"/>
                  <a:pt x="197" y="1174"/>
                </a:cubicBezTo>
                <a:cubicBezTo>
                  <a:pt x="261" y="791"/>
                  <a:pt x="340" y="491"/>
                  <a:pt x="427" y="302"/>
                </a:cubicBezTo>
                <a:cubicBezTo>
                  <a:pt x="507" y="151"/>
                  <a:pt x="585" y="75"/>
                  <a:pt x="680" y="38"/>
                </a:cubicBezTo>
                <a:cubicBezTo>
                  <a:pt x="775" y="0"/>
                  <a:pt x="888" y="0"/>
                  <a:pt x="1038" y="0"/>
                </a:cubicBezTo>
                <a:lnTo>
                  <a:pt x="1034" y="0"/>
                </a:lnTo>
                <a:close/>
              </a:path>
            </a:pathLst>
          </a:custGeom>
          <a:solidFill>
            <a:schemeClr val="accent6">
              <a:lumMod val="20000"/>
              <a:lumOff val="80000"/>
            </a:schemeClr>
          </a:solidFill>
          <a:ln w="12700" cap="flat">
            <a:noFill/>
            <a:miter lim="400000"/>
          </a:ln>
          <a:effectLst/>
        </p:spPr>
        <p:txBody>
          <a:bodyPr wrap="square" lIns="0" tIns="0" rIns="0" bIns="0" numCol="1"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sz="3200" b="0">
                <a:solidFill>
                  <a:srgbClr val="F3F4F5"/>
                </a:solidFill>
                <a:latin typeface="+mn-lt"/>
                <a:ea typeface="+mn-ea"/>
                <a:cs typeface="+mn-cs"/>
                <a:sym typeface="Helvetica Neue Medium"/>
              </a:defRPr>
            </a:pPr>
            <a:endParaRPr kumimoji="0" sz="1600" b="0" i="0" u="none" strike="noStrike" kern="1200" cap="none" spc="0" normalizeH="0" baseline="0" noProof="0" dirty="0">
              <a:ln>
                <a:noFill/>
              </a:ln>
              <a:solidFill>
                <a:srgbClr val="F3F4F5"/>
              </a:solidFill>
              <a:effectLst/>
              <a:uLnTx/>
              <a:uFillTx/>
              <a:latin typeface="OPPOSans R" panose="00020600040101010101" pitchFamily="18" charset="-122"/>
              <a:ea typeface="微软雅黑"/>
              <a:cs typeface="+mn-cs"/>
              <a:sym typeface="Helvetica Neue Medium"/>
            </a:endParaRPr>
          </a:p>
        </p:txBody>
      </p:sp>
      <p:sp>
        <p:nvSpPr>
          <p:cNvPr id="3138" name="gaoding-27"/>
          <p:cNvSpPr/>
          <p:nvPr/>
        </p:nvSpPr>
        <p:spPr>
          <a:xfrm>
            <a:off x="8997658" y="3599736"/>
            <a:ext cx="645555" cy="645555"/>
          </a:xfrm>
          <a:prstGeom prst="ellipse">
            <a:avLst/>
          </a:prstGeom>
          <a:solidFill>
            <a:schemeClr val="accent6">
              <a:lumMod val="20000"/>
              <a:lumOff val="80000"/>
            </a:schemeClr>
          </a:solidFill>
          <a:ln w="12700" cap="flat">
            <a:noFill/>
            <a:miter lim="400000"/>
          </a:ln>
          <a:effectLst/>
        </p:spPr>
        <p:txBody>
          <a:bodyPr wrap="square" lIns="0" tIns="0" rIns="0" bIns="0" numCol="1"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1600" b="0" i="0" u="none" strike="noStrike" kern="1200" cap="none" spc="0" normalizeH="0" baseline="0" noProof="0" dirty="0">
              <a:ln>
                <a:noFill/>
              </a:ln>
              <a:solidFill>
                <a:srgbClr val="FFFFFF"/>
              </a:solidFill>
              <a:effectLst/>
              <a:uLnTx/>
              <a:uFillTx/>
              <a:latin typeface="OPPOSans R" panose="00020600040101010101" pitchFamily="18" charset="-122"/>
              <a:ea typeface="微软雅黑"/>
              <a:cs typeface="+mn-cs"/>
              <a:sym typeface="Helvetica Neue Medium"/>
            </a:endParaRPr>
          </a:p>
        </p:txBody>
      </p:sp>
      <p:sp>
        <p:nvSpPr>
          <p:cNvPr id="3141" name="gaoding-28"/>
          <p:cNvSpPr/>
          <p:nvPr/>
        </p:nvSpPr>
        <p:spPr>
          <a:xfrm>
            <a:off x="8698884" y="4576516"/>
            <a:ext cx="2535236" cy="425818"/>
          </a:xfrm>
          <a:custGeom>
            <a:avLst/>
            <a:gdLst/>
            <a:ahLst/>
            <a:cxnLst>
              <a:cxn ang="0">
                <a:pos x="wd2" y="hd2"/>
              </a:cxn>
              <a:cxn ang="5400000">
                <a:pos x="wd2" y="hd2"/>
              </a:cxn>
              <a:cxn ang="10800000">
                <a:pos x="wd2" y="hd2"/>
              </a:cxn>
              <a:cxn ang="16200000">
                <a:pos x="wd2" y="hd2"/>
              </a:cxn>
            </a:cxnLst>
            <a:rect l="0" t="0" r="r" b="b"/>
            <a:pathLst>
              <a:path w="21600" h="21600" extrusionOk="0">
                <a:moveTo>
                  <a:pt x="1034" y="0"/>
                </a:moveTo>
                <a:lnTo>
                  <a:pt x="20566" y="0"/>
                </a:lnTo>
                <a:cubicBezTo>
                  <a:pt x="20714" y="0"/>
                  <a:pt x="20826" y="0"/>
                  <a:pt x="20921" y="38"/>
                </a:cubicBezTo>
                <a:cubicBezTo>
                  <a:pt x="21015" y="75"/>
                  <a:pt x="21093" y="151"/>
                  <a:pt x="21173" y="302"/>
                </a:cubicBezTo>
                <a:cubicBezTo>
                  <a:pt x="21260" y="491"/>
                  <a:pt x="21339" y="791"/>
                  <a:pt x="21403" y="1174"/>
                </a:cubicBezTo>
                <a:cubicBezTo>
                  <a:pt x="21467" y="1556"/>
                  <a:pt x="21518" y="2022"/>
                  <a:pt x="21549" y="2543"/>
                </a:cubicBezTo>
                <a:cubicBezTo>
                  <a:pt x="21575" y="3019"/>
                  <a:pt x="21587" y="3480"/>
                  <a:pt x="21594" y="4047"/>
                </a:cubicBezTo>
                <a:cubicBezTo>
                  <a:pt x="21600" y="4614"/>
                  <a:pt x="21600" y="5286"/>
                  <a:pt x="21600" y="6182"/>
                </a:cubicBezTo>
                <a:lnTo>
                  <a:pt x="21600" y="15445"/>
                </a:lnTo>
                <a:cubicBezTo>
                  <a:pt x="21600" y="16327"/>
                  <a:pt x="21600" y="16992"/>
                  <a:pt x="21594" y="17556"/>
                </a:cubicBezTo>
                <a:cubicBezTo>
                  <a:pt x="21587" y="18120"/>
                  <a:pt x="21575" y="18581"/>
                  <a:pt x="21549" y="19057"/>
                </a:cubicBezTo>
                <a:cubicBezTo>
                  <a:pt x="21518" y="19578"/>
                  <a:pt x="21467" y="20044"/>
                  <a:pt x="21403" y="20426"/>
                </a:cubicBezTo>
                <a:cubicBezTo>
                  <a:pt x="21339" y="20809"/>
                  <a:pt x="21260" y="21109"/>
                  <a:pt x="21173" y="21298"/>
                </a:cubicBezTo>
                <a:cubicBezTo>
                  <a:pt x="21093" y="21449"/>
                  <a:pt x="21015" y="21525"/>
                  <a:pt x="20920" y="21562"/>
                </a:cubicBezTo>
                <a:cubicBezTo>
                  <a:pt x="20825" y="21600"/>
                  <a:pt x="20712" y="21600"/>
                  <a:pt x="20562" y="21600"/>
                </a:cubicBezTo>
                <a:lnTo>
                  <a:pt x="1034" y="21600"/>
                </a:lnTo>
                <a:cubicBezTo>
                  <a:pt x="886" y="21600"/>
                  <a:pt x="774" y="21600"/>
                  <a:pt x="679" y="21562"/>
                </a:cubicBezTo>
                <a:cubicBezTo>
                  <a:pt x="585" y="21525"/>
                  <a:pt x="507" y="21449"/>
                  <a:pt x="427" y="21298"/>
                </a:cubicBezTo>
                <a:cubicBezTo>
                  <a:pt x="340" y="21109"/>
                  <a:pt x="261" y="20809"/>
                  <a:pt x="197" y="20426"/>
                </a:cubicBezTo>
                <a:cubicBezTo>
                  <a:pt x="133" y="20044"/>
                  <a:pt x="82" y="19578"/>
                  <a:pt x="51" y="19057"/>
                </a:cubicBezTo>
                <a:cubicBezTo>
                  <a:pt x="25" y="18581"/>
                  <a:pt x="13" y="18120"/>
                  <a:pt x="6" y="17553"/>
                </a:cubicBezTo>
                <a:cubicBezTo>
                  <a:pt x="0" y="16986"/>
                  <a:pt x="0" y="16314"/>
                  <a:pt x="0" y="15418"/>
                </a:cubicBezTo>
                <a:lnTo>
                  <a:pt x="0" y="6155"/>
                </a:lnTo>
                <a:cubicBezTo>
                  <a:pt x="0" y="5273"/>
                  <a:pt x="0" y="4608"/>
                  <a:pt x="6" y="4044"/>
                </a:cubicBezTo>
                <a:cubicBezTo>
                  <a:pt x="13" y="3480"/>
                  <a:pt x="25" y="3019"/>
                  <a:pt x="51" y="2543"/>
                </a:cubicBezTo>
                <a:cubicBezTo>
                  <a:pt x="82" y="2022"/>
                  <a:pt x="133" y="1556"/>
                  <a:pt x="197" y="1174"/>
                </a:cubicBezTo>
                <a:cubicBezTo>
                  <a:pt x="261" y="791"/>
                  <a:pt x="340" y="491"/>
                  <a:pt x="427" y="302"/>
                </a:cubicBezTo>
                <a:cubicBezTo>
                  <a:pt x="507" y="151"/>
                  <a:pt x="585" y="75"/>
                  <a:pt x="680" y="38"/>
                </a:cubicBezTo>
                <a:cubicBezTo>
                  <a:pt x="775" y="0"/>
                  <a:pt x="888" y="0"/>
                  <a:pt x="1038" y="0"/>
                </a:cubicBezTo>
                <a:lnTo>
                  <a:pt x="1034" y="0"/>
                </a:lnTo>
                <a:close/>
              </a:path>
            </a:pathLst>
          </a:custGeom>
          <a:solidFill>
            <a:schemeClr val="accent6">
              <a:lumMod val="20000"/>
              <a:lumOff val="80000"/>
            </a:schemeClr>
          </a:solidFill>
          <a:ln w="12700" cap="flat">
            <a:noFill/>
            <a:miter lim="400000"/>
          </a:ln>
          <a:effectLst/>
        </p:spPr>
        <p:txBody>
          <a:bodyPr wrap="square" lIns="0" tIns="0" rIns="0" bIns="0" numCol="1"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sz="3200" b="0">
                <a:solidFill>
                  <a:srgbClr val="F3F4F5"/>
                </a:solidFill>
                <a:latin typeface="+mn-lt"/>
                <a:ea typeface="+mn-ea"/>
                <a:cs typeface="+mn-cs"/>
                <a:sym typeface="Helvetica Neue Medium"/>
              </a:defRPr>
            </a:pPr>
            <a:endParaRPr kumimoji="0" sz="1600" b="0" i="0" u="none" strike="noStrike" kern="1200" cap="none" spc="0" normalizeH="0" baseline="0" noProof="0" dirty="0">
              <a:ln>
                <a:noFill/>
              </a:ln>
              <a:solidFill>
                <a:srgbClr val="F3F4F5"/>
              </a:solidFill>
              <a:effectLst/>
              <a:uLnTx/>
              <a:uFillTx/>
              <a:latin typeface="OPPOSans R" panose="00020600040101010101" pitchFamily="18" charset="-122"/>
              <a:ea typeface="微软雅黑"/>
              <a:cs typeface="+mn-cs"/>
              <a:sym typeface="Helvetica Neue Medium"/>
            </a:endParaRPr>
          </a:p>
        </p:txBody>
      </p:sp>
      <p:sp>
        <p:nvSpPr>
          <p:cNvPr id="3143" name="gaoding-29"/>
          <p:cNvSpPr/>
          <p:nvPr/>
        </p:nvSpPr>
        <p:spPr>
          <a:xfrm>
            <a:off x="8997658" y="4466647"/>
            <a:ext cx="645555" cy="645555"/>
          </a:xfrm>
          <a:prstGeom prst="ellipse">
            <a:avLst/>
          </a:prstGeom>
          <a:solidFill>
            <a:schemeClr val="accent6">
              <a:lumMod val="20000"/>
              <a:lumOff val="80000"/>
            </a:schemeClr>
          </a:solidFill>
          <a:ln w="12700" cap="flat">
            <a:noFill/>
            <a:miter lim="400000"/>
          </a:ln>
          <a:effectLst/>
        </p:spPr>
        <p:txBody>
          <a:bodyPr wrap="square" lIns="0" tIns="0" rIns="0" bIns="0" numCol="1"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1600" b="0" i="0" u="none" strike="noStrike" kern="1200" cap="none" spc="0" normalizeH="0" baseline="0" noProof="0" dirty="0">
              <a:ln>
                <a:noFill/>
              </a:ln>
              <a:solidFill>
                <a:srgbClr val="FFFFFF"/>
              </a:solidFill>
              <a:effectLst/>
              <a:uLnTx/>
              <a:uFillTx/>
              <a:latin typeface="OPPOSans R" panose="00020600040101010101" pitchFamily="18" charset="-122"/>
              <a:ea typeface="微软雅黑"/>
              <a:cs typeface="+mn-cs"/>
              <a:sym typeface="Helvetica Neue Medium"/>
            </a:endParaRPr>
          </a:p>
        </p:txBody>
      </p:sp>
      <p:sp>
        <p:nvSpPr>
          <p:cNvPr id="3146" name="gaoding-30"/>
          <p:cNvSpPr/>
          <p:nvPr/>
        </p:nvSpPr>
        <p:spPr>
          <a:xfrm>
            <a:off x="8698884" y="5443427"/>
            <a:ext cx="2535236" cy="425818"/>
          </a:xfrm>
          <a:custGeom>
            <a:avLst/>
            <a:gdLst/>
            <a:ahLst/>
            <a:cxnLst>
              <a:cxn ang="0">
                <a:pos x="wd2" y="hd2"/>
              </a:cxn>
              <a:cxn ang="5400000">
                <a:pos x="wd2" y="hd2"/>
              </a:cxn>
              <a:cxn ang="10800000">
                <a:pos x="wd2" y="hd2"/>
              </a:cxn>
              <a:cxn ang="16200000">
                <a:pos x="wd2" y="hd2"/>
              </a:cxn>
            </a:cxnLst>
            <a:rect l="0" t="0" r="r" b="b"/>
            <a:pathLst>
              <a:path w="21600" h="21600" extrusionOk="0">
                <a:moveTo>
                  <a:pt x="1034" y="0"/>
                </a:moveTo>
                <a:lnTo>
                  <a:pt x="20566" y="0"/>
                </a:lnTo>
                <a:cubicBezTo>
                  <a:pt x="20714" y="0"/>
                  <a:pt x="20826" y="0"/>
                  <a:pt x="20921" y="38"/>
                </a:cubicBezTo>
                <a:cubicBezTo>
                  <a:pt x="21015" y="75"/>
                  <a:pt x="21093" y="151"/>
                  <a:pt x="21173" y="302"/>
                </a:cubicBezTo>
                <a:cubicBezTo>
                  <a:pt x="21260" y="491"/>
                  <a:pt x="21339" y="791"/>
                  <a:pt x="21403" y="1174"/>
                </a:cubicBezTo>
                <a:cubicBezTo>
                  <a:pt x="21467" y="1556"/>
                  <a:pt x="21518" y="2022"/>
                  <a:pt x="21549" y="2543"/>
                </a:cubicBezTo>
                <a:cubicBezTo>
                  <a:pt x="21575" y="3019"/>
                  <a:pt x="21587" y="3480"/>
                  <a:pt x="21594" y="4047"/>
                </a:cubicBezTo>
                <a:cubicBezTo>
                  <a:pt x="21600" y="4614"/>
                  <a:pt x="21600" y="5286"/>
                  <a:pt x="21600" y="6182"/>
                </a:cubicBezTo>
                <a:lnTo>
                  <a:pt x="21600" y="15445"/>
                </a:lnTo>
                <a:cubicBezTo>
                  <a:pt x="21600" y="16327"/>
                  <a:pt x="21600" y="16992"/>
                  <a:pt x="21594" y="17556"/>
                </a:cubicBezTo>
                <a:cubicBezTo>
                  <a:pt x="21587" y="18120"/>
                  <a:pt x="21575" y="18581"/>
                  <a:pt x="21549" y="19057"/>
                </a:cubicBezTo>
                <a:cubicBezTo>
                  <a:pt x="21518" y="19578"/>
                  <a:pt x="21467" y="20044"/>
                  <a:pt x="21403" y="20426"/>
                </a:cubicBezTo>
                <a:cubicBezTo>
                  <a:pt x="21339" y="20809"/>
                  <a:pt x="21260" y="21109"/>
                  <a:pt x="21173" y="21298"/>
                </a:cubicBezTo>
                <a:cubicBezTo>
                  <a:pt x="21093" y="21449"/>
                  <a:pt x="21015" y="21525"/>
                  <a:pt x="20920" y="21562"/>
                </a:cubicBezTo>
                <a:cubicBezTo>
                  <a:pt x="20825" y="21600"/>
                  <a:pt x="20712" y="21600"/>
                  <a:pt x="20562" y="21600"/>
                </a:cubicBezTo>
                <a:lnTo>
                  <a:pt x="1034" y="21600"/>
                </a:lnTo>
                <a:cubicBezTo>
                  <a:pt x="886" y="21600"/>
                  <a:pt x="774" y="21600"/>
                  <a:pt x="679" y="21562"/>
                </a:cubicBezTo>
                <a:cubicBezTo>
                  <a:pt x="585" y="21525"/>
                  <a:pt x="507" y="21449"/>
                  <a:pt x="427" y="21298"/>
                </a:cubicBezTo>
                <a:cubicBezTo>
                  <a:pt x="340" y="21109"/>
                  <a:pt x="261" y="20809"/>
                  <a:pt x="197" y="20426"/>
                </a:cubicBezTo>
                <a:cubicBezTo>
                  <a:pt x="133" y="20044"/>
                  <a:pt x="82" y="19578"/>
                  <a:pt x="51" y="19057"/>
                </a:cubicBezTo>
                <a:cubicBezTo>
                  <a:pt x="25" y="18581"/>
                  <a:pt x="13" y="18120"/>
                  <a:pt x="6" y="17553"/>
                </a:cubicBezTo>
                <a:cubicBezTo>
                  <a:pt x="0" y="16986"/>
                  <a:pt x="0" y="16314"/>
                  <a:pt x="0" y="15418"/>
                </a:cubicBezTo>
                <a:lnTo>
                  <a:pt x="0" y="6155"/>
                </a:lnTo>
                <a:cubicBezTo>
                  <a:pt x="0" y="5273"/>
                  <a:pt x="0" y="4608"/>
                  <a:pt x="6" y="4044"/>
                </a:cubicBezTo>
                <a:cubicBezTo>
                  <a:pt x="13" y="3480"/>
                  <a:pt x="25" y="3019"/>
                  <a:pt x="51" y="2543"/>
                </a:cubicBezTo>
                <a:cubicBezTo>
                  <a:pt x="82" y="2022"/>
                  <a:pt x="133" y="1556"/>
                  <a:pt x="197" y="1174"/>
                </a:cubicBezTo>
                <a:cubicBezTo>
                  <a:pt x="261" y="791"/>
                  <a:pt x="340" y="491"/>
                  <a:pt x="427" y="302"/>
                </a:cubicBezTo>
                <a:cubicBezTo>
                  <a:pt x="507" y="151"/>
                  <a:pt x="585" y="75"/>
                  <a:pt x="680" y="38"/>
                </a:cubicBezTo>
                <a:cubicBezTo>
                  <a:pt x="775" y="0"/>
                  <a:pt x="888" y="0"/>
                  <a:pt x="1038" y="0"/>
                </a:cubicBezTo>
                <a:lnTo>
                  <a:pt x="1034" y="0"/>
                </a:lnTo>
                <a:close/>
              </a:path>
            </a:pathLst>
          </a:custGeom>
          <a:solidFill>
            <a:schemeClr val="accent6">
              <a:lumMod val="20000"/>
              <a:lumOff val="80000"/>
            </a:schemeClr>
          </a:solidFill>
          <a:ln w="12700" cap="flat">
            <a:noFill/>
            <a:miter lim="400000"/>
          </a:ln>
          <a:effectLst/>
        </p:spPr>
        <p:txBody>
          <a:bodyPr wrap="square" lIns="0" tIns="0" rIns="0" bIns="0" numCol="1"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sz="3200" b="0">
                <a:solidFill>
                  <a:srgbClr val="F3F4F5"/>
                </a:solidFill>
                <a:latin typeface="+mn-lt"/>
                <a:ea typeface="+mn-ea"/>
                <a:cs typeface="+mn-cs"/>
                <a:sym typeface="Helvetica Neue Medium"/>
              </a:defRPr>
            </a:pPr>
            <a:endParaRPr kumimoji="0" sz="1600" b="0" i="0" u="none" strike="noStrike" kern="1200" cap="none" spc="0" normalizeH="0" baseline="0" noProof="0" dirty="0">
              <a:ln>
                <a:noFill/>
              </a:ln>
              <a:solidFill>
                <a:srgbClr val="F3F4F5"/>
              </a:solidFill>
              <a:effectLst/>
              <a:uLnTx/>
              <a:uFillTx/>
              <a:latin typeface="OPPOSans R" panose="00020600040101010101" pitchFamily="18" charset="-122"/>
              <a:ea typeface="微软雅黑"/>
              <a:cs typeface="+mn-cs"/>
              <a:sym typeface="Helvetica Neue Medium"/>
            </a:endParaRPr>
          </a:p>
        </p:txBody>
      </p:sp>
      <p:sp>
        <p:nvSpPr>
          <p:cNvPr id="3148" name="gaoding-31"/>
          <p:cNvSpPr/>
          <p:nvPr/>
        </p:nvSpPr>
        <p:spPr>
          <a:xfrm>
            <a:off x="8997658" y="5333558"/>
            <a:ext cx="645555" cy="645555"/>
          </a:xfrm>
          <a:prstGeom prst="ellipse">
            <a:avLst/>
          </a:prstGeom>
          <a:solidFill>
            <a:schemeClr val="accent6">
              <a:lumMod val="20000"/>
              <a:lumOff val="80000"/>
            </a:schemeClr>
          </a:solidFill>
          <a:ln w="12700" cap="flat">
            <a:noFill/>
            <a:miter lim="400000"/>
          </a:ln>
          <a:effectLst/>
        </p:spPr>
        <p:txBody>
          <a:bodyPr wrap="square" lIns="0" tIns="0" rIns="0" bIns="0" numCol="1"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1600" b="0" i="0" u="none" strike="noStrike" kern="1200" cap="none" spc="0" normalizeH="0" baseline="0" noProof="0" dirty="0">
              <a:ln>
                <a:noFill/>
              </a:ln>
              <a:solidFill>
                <a:srgbClr val="FFFFFF"/>
              </a:solidFill>
              <a:effectLst/>
              <a:uLnTx/>
              <a:uFillTx/>
              <a:latin typeface="OPPOSans R" panose="00020600040101010101" pitchFamily="18" charset="-122"/>
              <a:ea typeface="微软雅黑"/>
              <a:cs typeface="+mn-cs"/>
              <a:sym typeface="Helvetica Neue Medium"/>
            </a:endParaRPr>
          </a:p>
        </p:txBody>
      </p:sp>
      <p:sp>
        <p:nvSpPr>
          <p:cNvPr id="3152" name="gaoding-32"/>
          <p:cNvSpPr/>
          <p:nvPr/>
        </p:nvSpPr>
        <p:spPr>
          <a:xfrm>
            <a:off x="8561237" y="3469301"/>
            <a:ext cx="2789235" cy="2640246"/>
          </a:xfrm>
          <a:custGeom>
            <a:avLst/>
            <a:gdLst/>
            <a:ahLst/>
            <a:cxnLst>
              <a:cxn ang="0">
                <a:pos x="wd2" y="hd2"/>
              </a:cxn>
              <a:cxn ang="5400000">
                <a:pos x="wd2" y="hd2"/>
              </a:cxn>
              <a:cxn ang="10800000">
                <a:pos x="wd2" y="hd2"/>
              </a:cxn>
              <a:cxn ang="16200000">
                <a:pos x="wd2" y="hd2"/>
              </a:cxn>
            </a:cxnLst>
            <a:rect l="0" t="0" r="r" b="b"/>
            <a:pathLst>
              <a:path w="21600" h="21600" extrusionOk="0">
                <a:moveTo>
                  <a:pt x="1559" y="0"/>
                </a:moveTo>
                <a:lnTo>
                  <a:pt x="20041" y="0"/>
                </a:lnTo>
                <a:cubicBezTo>
                  <a:pt x="20265" y="0"/>
                  <a:pt x="20433" y="0"/>
                  <a:pt x="20576" y="10"/>
                </a:cubicBezTo>
                <a:cubicBezTo>
                  <a:pt x="20719" y="20"/>
                  <a:pt x="20836" y="40"/>
                  <a:pt x="20956" y="81"/>
                </a:cubicBezTo>
                <a:cubicBezTo>
                  <a:pt x="21088" y="131"/>
                  <a:pt x="21206" y="212"/>
                  <a:pt x="21303" y="314"/>
                </a:cubicBezTo>
                <a:cubicBezTo>
                  <a:pt x="21400" y="416"/>
                  <a:pt x="21476" y="541"/>
                  <a:pt x="21524" y="680"/>
                </a:cubicBezTo>
                <a:cubicBezTo>
                  <a:pt x="21562" y="808"/>
                  <a:pt x="21581" y="931"/>
                  <a:pt x="21590" y="1083"/>
                </a:cubicBezTo>
                <a:cubicBezTo>
                  <a:pt x="21600" y="1234"/>
                  <a:pt x="21600" y="1414"/>
                  <a:pt x="21600" y="1654"/>
                </a:cubicBezTo>
                <a:lnTo>
                  <a:pt x="21600" y="19953"/>
                </a:lnTo>
                <a:cubicBezTo>
                  <a:pt x="21600" y="20189"/>
                  <a:pt x="21600" y="20367"/>
                  <a:pt x="21590" y="20518"/>
                </a:cubicBezTo>
                <a:cubicBezTo>
                  <a:pt x="21581" y="20669"/>
                  <a:pt x="21562" y="20792"/>
                  <a:pt x="21524" y="20920"/>
                </a:cubicBezTo>
                <a:cubicBezTo>
                  <a:pt x="21476" y="21059"/>
                  <a:pt x="21400" y="21184"/>
                  <a:pt x="21303" y="21286"/>
                </a:cubicBezTo>
                <a:cubicBezTo>
                  <a:pt x="21206" y="21388"/>
                  <a:pt x="21088" y="21469"/>
                  <a:pt x="20956" y="21519"/>
                </a:cubicBezTo>
                <a:cubicBezTo>
                  <a:pt x="20836" y="21560"/>
                  <a:pt x="20719" y="21580"/>
                  <a:pt x="20575" y="21590"/>
                </a:cubicBezTo>
                <a:cubicBezTo>
                  <a:pt x="20431" y="21600"/>
                  <a:pt x="20261" y="21600"/>
                  <a:pt x="20034" y="21600"/>
                </a:cubicBezTo>
                <a:lnTo>
                  <a:pt x="1559" y="21600"/>
                </a:lnTo>
                <a:cubicBezTo>
                  <a:pt x="1335" y="21600"/>
                  <a:pt x="1167" y="21600"/>
                  <a:pt x="1024" y="21590"/>
                </a:cubicBezTo>
                <a:cubicBezTo>
                  <a:pt x="881" y="21580"/>
                  <a:pt x="764" y="21560"/>
                  <a:pt x="644" y="21519"/>
                </a:cubicBezTo>
                <a:cubicBezTo>
                  <a:pt x="512" y="21469"/>
                  <a:pt x="394" y="21388"/>
                  <a:pt x="297" y="21286"/>
                </a:cubicBezTo>
                <a:cubicBezTo>
                  <a:pt x="200" y="21184"/>
                  <a:pt x="124" y="21059"/>
                  <a:pt x="76" y="20920"/>
                </a:cubicBezTo>
                <a:cubicBezTo>
                  <a:pt x="38" y="20792"/>
                  <a:pt x="19" y="20669"/>
                  <a:pt x="10" y="20517"/>
                </a:cubicBezTo>
                <a:cubicBezTo>
                  <a:pt x="0" y="20366"/>
                  <a:pt x="0" y="20186"/>
                  <a:pt x="0" y="19946"/>
                </a:cubicBezTo>
                <a:lnTo>
                  <a:pt x="0" y="1647"/>
                </a:lnTo>
                <a:cubicBezTo>
                  <a:pt x="0" y="1411"/>
                  <a:pt x="0" y="1233"/>
                  <a:pt x="10" y="1082"/>
                </a:cubicBezTo>
                <a:cubicBezTo>
                  <a:pt x="19" y="931"/>
                  <a:pt x="38" y="808"/>
                  <a:pt x="76" y="680"/>
                </a:cubicBezTo>
                <a:cubicBezTo>
                  <a:pt x="124" y="541"/>
                  <a:pt x="200" y="416"/>
                  <a:pt x="297" y="314"/>
                </a:cubicBezTo>
                <a:cubicBezTo>
                  <a:pt x="394" y="212"/>
                  <a:pt x="512" y="131"/>
                  <a:pt x="644" y="81"/>
                </a:cubicBezTo>
                <a:cubicBezTo>
                  <a:pt x="764" y="40"/>
                  <a:pt x="881" y="20"/>
                  <a:pt x="1025" y="10"/>
                </a:cubicBezTo>
                <a:cubicBezTo>
                  <a:pt x="1169" y="0"/>
                  <a:pt x="1339" y="0"/>
                  <a:pt x="1566" y="0"/>
                </a:cubicBezTo>
                <a:lnTo>
                  <a:pt x="1559" y="0"/>
                </a:lnTo>
                <a:close/>
              </a:path>
            </a:pathLst>
          </a:custGeom>
          <a:noFill/>
          <a:ln w="25400" cap="flat">
            <a:solidFill>
              <a:schemeClr val="accent6">
                <a:lumMod val="60000"/>
                <a:lumOff val="40000"/>
              </a:schemeClr>
            </a:solidFill>
            <a:custDash>
              <a:ds d="200000" sp="200000"/>
            </a:custDash>
            <a:miter lim="400000"/>
          </a:ln>
          <a:effectLst/>
        </p:spPr>
        <p:txBody>
          <a:bodyPr wrap="square" lIns="0" tIns="0" rIns="0" bIns="0" numCol="1"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sz="3200" b="0">
                <a:solidFill>
                  <a:srgbClr val="F3F4F5"/>
                </a:solidFill>
                <a:latin typeface="+mn-lt"/>
                <a:ea typeface="+mn-ea"/>
                <a:cs typeface="+mn-cs"/>
                <a:sym typeface="Helvetica Neue Medium"/>
              </a:defRPr>
            </a:pPr>
            <a:endParaRPr kumimoji="0" sz="1600" b="0" i="0" u="none" strike="noStrike" kern="1200" cap="none" spc="0" normalizeH="0" baseline="0" noProof="0" dirty="0">
              <a:ln>
                <a:noFill/>
              </a:ln>
              <a:solidFill>
                <a:srgbClr val="F3F4F5"/>
              </a:solidFill>
              <a:effectLst/>
              <a:uLnTx/>
              <a:uFillTx/>
              <a:latin typeface="OPPOSans R" panose="00020600040101010101" pitchFamily="18" charset="-122"/>
              <a:ea typeface="微软雅黑"/>
              <a:cs typeface="+mn-cs"/>
              <a:sym typeface="Helvetica Neue Medium"/>
            </a:endParaRPr>
          </a:p>
        </p:txBody>
      </p:sp>
      <p:sp>
        <p:nvSpPr>
          <p:cNvPr id="74" name="gaoding-33">
            <a:extLst>
              <a:ext uri="{FF2B5EF4-FFF2-40B4-BE49-F238E27FC236}">
                <a16:creationId xmlns:a16="http://schemas.microsoft.com/office/drawing/2014/main" id="{C089976F-FCB1-4F11-8F27-86EA6FDF4D7B}"/>
              </a:ext>
            </a:extLst>
          </p:cNvPr>
          <p:cNvSpPr/>
          <p:nvPr/>
        </p:nvSpPr>
        <p:spPr>
          <a:xfrm>
            <a:off x="5025027" y="1142469"/>
            <a:ext cx="599588" cy="59958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srgbClr val="FFFFFF"/>
              </a:solidFill>
              <a:effectLst/>
              <a:uLnTx/>
              <a:uFillTx/>
              <a:latin typeface="OPPOSans R" panose="00020600040101010101" pitchFamily="18" charset="-122"/>
              <a:ea typeface="微软雅黑"/>
              <a:cs typeface="+mn-cs"/>
            </a:endParaRPr>
          </a:p>
        </p:txBody>
      </p:sp>
      <p:sp>
        <p:nvSpPr>
          <p:cNvPr id="75" name="gaoding-34">
            <a:extLst>
              <a:ext uri="{FF2B5EF4-FFF2-40B4-BE49-F238E27FC236}">
                <a16:creationId xmlns:a16="http://schemas.microsoft.com/office/drawing/2014/main" id="{D96066AA-3186-4111-9F24-B90188ABFD7C}"/>
              </a:ext>
            </a:extLst>
          </p:cNvPr>
          <p:cNvSpPr/>
          <p:nvPr/>
        </p:nvSpPr>
        <p:spPr>
          <a:xfrm>
            <a:off x="1138006" y="2486234"/>
            <a:ext cx="599588" cy="599588"/>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srgbClr val="FFFFFF"/>
              </a:solidFill>
              <a:effectLst/>
              <a:uLnTx/>
              <a:uFillTx/>
              <a:latin typeface="OPPOSans R" panose="00020600040101010101" pitchFamily="18" charset="-122"/>
              <a:ea typeface="微软雅黑"/>
              <a:cs typeface="+mn-cs"/>
            </a:endParaRPr>
          </a:p>
        </p:txBody>
      </p:sp>
      <p:sp>
        <p:nvSpPr>
          <p:cNvPr id="76" name="gaoding-35">
            <a:extLst>
              <a:ext uri="{FF2B5EF4-FFF2-40B4-BE49-F238E27FC236}">
                <a16:creationId xmlns:a16="http://schemas.microsoft.com/office/drawing/2014/main" id="{13419D87-4466-43A3-BDDB-A2AEDF33CC13}"/>
              </a:ext>
            </a:extLst>
          </p:cNvPr>
          <p:cNvSpPr/>
          <p:nvPr/>
        </p:nvSpPr>
        <p:spPr>
          <a:xfrm>
            <a:off x="5026545" y="2486234"/>
            <a:ext cx="599588" cy="599588"/>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srgbClr val="FFFFFF"/>
              </a:solidFill>
              <a:effectLst/>
              <a:uLnTx/>
              <a:uFillTx/>
              <a:latin typeface="OPPOSans R" panose="00020600040101010101" pitchFamily="18" charset="-122"/>
              <a:ea typeface="微软雅黑"/>
              <a:cs typeface="+mn-cs"/>
            </a:endParaRPr>
          </a:p>
        </p:txBody>
      </p:sp>
      <p:sp>
        <p:nvSpPr>
          <p:cNvPr id="77" name="gaoding-36">
            <a:extLst>
              <a:ext uri="{FF2B5EF4-FFF2-40B4-BE49-F238E27FC236}">
                <a16:creationId xmlns:a16="http://schemas.microsoft.com/office/drawing/2014/main" id="{20311C23-6603-42B5-B090-3024AF8308C1}"/>
              </a:ext>
            </a:extLst>
          </p:cNvPr>
          <p:cNvSpPr/>
          <p:nvPr/>
        </p:nvSpPr>
        <p:spPr>
          <a:xfrm>
            <a:off x="8887054" y="2486234"/>
            <a:ext cx="599588" cy="599588"/>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srgbClr val="FFFFFF"/>
              </a:solidFill>
              <a:effectLst/>
              <a:uLnTx/>
              <a:uFillTx/>
              <a:latin typeface="OPPOSans R" panose="00020600040101010101" pitchFamily="18" charset="-122"/>
              <a:ea typeface="微软雅黑"/>
              <a:cs typeface="+mn-cs"/>
            </a:endParaRPr>
          </a:p>
        </p:txBody>
      </p:sp>
      <p:sp>
        <p:nvSpPr>
          <p:cNvPr id="78" name="gaoding-37">
            <a:extLst>
              <a:ext uri="{FF2B5EF4-FFF2-40B4-BE49-F238E27FC236}">
                <a16:creationId xmlns:a16="http://schemas.microsoft.com/office/drawing/2014/main" id="{12141FFE-96EF-4DFD-8E54-92D8DE6101C7}"/>
              </a:ext>
            </a:extLst>
          </p:cNvPr>
          <p:cNvSpPr txBox="1"/>
          <p:nvPr/>
        </p:nvSpPr>
        <p:spPr>
          <a:xfrm>
            <a:off x="5751852" y="1268357"/>
            <a:ext cx="1493452" cy="359073"/>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25400" tIns="25400" rIns="25400" bIns="25400" numCol="1" anchor="t">
            <a:spAutoFit/>
          </a:bodyPr>
          <a:lstStyle>
            <a:lvl1pPr algn="l">
              <a:defRPr sz="2800" b="0">
                <a:solidFill>
                  <a:srgbClr val="FFFFFF"/>
                </a:solidFill>
                <a:latin typeface="Barlow Bold"/>
                <a:ea typeface="Barlow Bold"/>
                <a:cs typeface="Barlow Bold"/>
                <a:sym typeface="Barlow Bold"/>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2000" b="0" i="0" u="none" strike="noStrike" kern="1200" cap="none" spc="0" normalizeH="0" baseline="0" noProof="0" dirty="0">
                <a:ln>
                  <a:noFill/>
                </a:ln>
                <a:solidFill>
                  <a:srgbClr val="FFFFFF"/>
                </a:solidFill>
                <a:effectLst/>
                <a:uLnTx/>
                <a:uFillTx/>
                <a:latin typeface="OPPOSans B" panose="00020600040101010101" pitchFamily="18" charset="-122"/>
                <a:ea typeface="OPPOSans B" panose="00020600040101010101" pitchFamily="18" charset="-122"/>
                <a:cs typeface="OPPOSans B" panose="00020600040101010101" pitchFamily="18" charset="-122"/>
                <a:sym typeface="Arial" panose="020B0604020202020204" pitchFamily="34" charset="0"/>
              </a:rPr>
              <a:t>秋叶</a:t>
            </a:r>
            <a:r>
              <a:rPr kumimoji="0" lang="en-US" altLang="zh-CN" sz="2000" b="0" i="0" u="none" strike="noStrike" kern="1200" cap="none" spc="0" normalizeH="0" baseline="0" noProof="0" dirty="0">
                <a:ln>
                  <a:noFill/>
                </a:ln>
                <a:solidFill>
                  <a:srgbClr val="FFFFFF"/>
                </a:solidFill>
                <a:effectLst/>
                <a:uLnTx/>
                <a:uFillTx/>
                <a:latin typeface="OPPOSans B" panose="00020600040101010101" pitchFamily="18" charset="-122"/>
                <a:ea typeface="OPPOSans B" panose="00020600040101010101" pitchFamily="18" charset="-122"/>
                <a:cs typeface="OPPOSans B" panose="00020600040101010101" pitchFamily="18" charset="-122"/>
                <a:sym typeface="Arial" panose="020B0604020202020204" pitchFamily="34" charset="0"/>
              </a:rPr>
              <a:t>PPT</a:t>
            </a:r>
            <a:endParaRPr kumimoji="0" lang="zh-CN" altLang="zh-CN" sz="2000" b="0" i="0" u="none" strike="noStrike" kern="1200" cap="none" spc="0" normalizeH="0" baseline="0" noProof="0" dirty="0">
              <a:ln>
                <a:noFill/>
              </a:ln>
              <a:solidFill>
                <a:srgbClr val="FFFFFF"/>
              </a:solidFill>
              <a:effectLst/>
              <a:uLnTx/>
              <a:uFillTx/>
              <a:latin typeface="OPPOSans B" panose="00020600040101010101" pitchFamily="18" charset="-122"/>
              <a:ea typeface="OPPOSans B" panose="00020600040101010101" pitchFamily="18" charset="-122"/>
              <a:cs typeface="OPPOSans B" panose="00020600040101010101" pitchFamily="18" charset="-122"/>
              <a:sym typeface="Arial" panose="020B0604020202020204" pitchFamily="34" charset="0"/>
            </a:endParaRPr>
          </a:p>
        </p:txBody>
      </p:sp>
      <p:sp>
        <p:nvSpPr>
          <p:cNvPr id="82" name="gaoding-38">
            <a:extLst>
              <a:ext uri="{FF2B5EF4-FFF2-40B4-BE49-F238E27FC236}">
                <a16:creationId xmlns:a16="http://schemas.microsoft.com/office/drawing/2014/main" id="{64646B25-BDE2-4DAB-ACB8-3107AE8E833F}"/>
              </a:ext>
            </a:extLst>
          </p:cNvPr>
          <p:cNvSpPr/>
          <p:nvPr/>
        </p:nvSpPr>
        <p:spPr>
          <a:xfrm>
            <a:off x="5185606" y="1313824"/>
            <a:ext cx="278430" cy="266740"/>
          </a:xfrm>
          <a:custGeom>
            <a:avLst/>
            <a:gdLst>
              <a:gd name="connsiteX0" fmla="*/ 196501 w 467362"/>
              <a:gd name="connsiteY0" fmla="*/ 222283 h 447740"/>
              <a:gd name="connsiteX1" fmla="*/ 227171 w 467362"/>
              <a:gd name="connsiteY1" fmla="*/ 249334 h 447740"/>
              <a:gd name="connsiteX2" fmla="*/ 204216 w 467362"/>
              <a:gd name="connsiteY2" fmla="*/ 278671 h 447740"/>
              <a:gd name="connsiteX3" fmla="*/ 196501 w 467362"/>
              <a:gd name="connsiteY3" fmla="*/ 278671 h 447740"/>
              <a:gd name="connsiteX4" fmla="*/ 181356 w 467362"/>
              <a:gd name="connsiteY4" fmla="*/ 263526 h 447740"/>
              <a:gd name="connsiteX5" fmla="*/ 181356 w 467362"/>
              <a:gd name="connsiteY5" fmla="*/ 237523 h 447740"/>
              <a:gd name="connsiteX6" fmla="*/ 181356 w 467362"/>
              <a:gd name="connsiteY6" fmla="*/ 237428 h 447740"/>
              <a:gd name="connsiteX7" fmla="*/ 196501 w 467362"/>
              <a:gd name="connsiteY7" fmla="*/ 222283 h 447740"/>
              <a:gd name="connsiteX8" fmla="*/ 139827 w 467362"/>
              <a:gd name="connsiteY8" fmla="*/ 182183 h 447740"/>
              <a:gd name="connsiteX9" fmla="*/ 124777 w 467362"/>
              <a:gd name="connsiteY9" fmla="*/ 197233 h 447740"/>
              <a:gd name="connsiteX10" fmla="*/ 124777 w 467362"/>
              <a:gd name="connsiteY10" fmla="*/ 368683 h 447740"/>
              <a:gd name="connsiteX11" fmla="*/ 124777 w 467362"/>
              <a:gd name="connsiteY11" fmla="*/ 368686 h 447740"/>
              <a:gd name="connsiteX12" fmla="*/ 139636 w 467362"/>
              <a:gd name="connsiteY12" fmla="*/ 383923 h 447740"/>
              <a:gd name="connsiteX13" fmla="*/ 166497 w 467362"/>
              <a:gd name="connsiteY13" fmla="*/ 383923 h 447740"/>
              <a:gd name="connsiteX14" fmla="*/ 181547 w 467362"/>
              <a:gd name="connsiteY14" fmla="*/ 368873 h 447740"/>
              <a:gd name="connsiteX15" fmla="*/ 181547 w 467362"/>
              <a:gd name="connsiteY15" fmla="*/ 334202 h 447740"/>
              <a:gd name="connsiteX16" fmla="*/ 196691 w 467362"/>
              <a:gd name="connsiteY16" fmla="*/ 319058 h 447740"/>
              <a:gd name="connsiteX17" fmla="*/ 209836 w 467362"/>
              <a:gd name="connsiteY17" fmla="*/ 319058 h 447740"/>
              <a:gd name="connsiteX18" fmla="*/ 247936 w 467362"/>
              <a:gd name="connsiteY18" fmla="*/ 309533 h 447740"/>
              <a:gd name="connsiteX19" fmla="*/ 272986 w 467362"/>
              <a:gd name="connsiteY19" fmla="*/ 284101 h 447740"/>
              <a:gd name="connsiteX20" fmla="*/ 281273 w 467362"/>
              <a:gd name="connsiteY20" fmla="*/ 251049 h 447740"/>
              <a:gd name="connsiteX21" fmla="*/ 272606 w 467362"/>
              <a:gd name="connsiteY21" fmla="*/ 217235 h 447740"/>
              <a:gd name="connsiteX22" fmla="*/ 247650 w 467362"/>
              <a:gd name="connsiteY22" fmla="*/ 191899 h 447740"/>
              <a:gd name="connsiteX23" fmla="*/ 207550 w 467362"/>
              <a:gd name="connsiteY23" fmla="*/ 182183 h 447740"/>
              <a:gd name="connsiteX24" fmla="*/ 15049 w 467362"/>
              <a:gd name="connsiteY24" fmla="*/ 73884 h 447740"/>
              <a:gd name="connsiteX25" fmla="*/ 183451 w 467362"/>
              <a:gd name="connsiteY25" fmla="*/ 73884 h 447740"/>
              <a:gd name="connsiteX26" fmla="*/ 198215 w 467362"/>
              <a:gd name="connsiteY26" fmla="*/ 85314 h 447740"/>
              <a:gd name="connsiteX27" fmla="*/ 202978 w 467362"/>
              <a:gd name="connsiteY27" fmla="*/ 105983 h 447740"/>
              <a:gd name="connsiteX28" fmla="*/ 217742 w 467362"/>
              <a:gd name="connsiteY28" fmla="*/ 117699 h 447740"/>
              <a:gd name="connsiteX29" fmla="*/ 354140 w 467362"/>
              <a:gd name="connsiteY29" fmla="*/ 117699 h 447740"/>
              <a:gd name="connsiteX30" fmla="*/ 354235 w 467362"/>
              <a:gd name="connsiteY30" fmla="*/ 117699 h 447740"/>
              <a:gd name="connsiteX31" fmla="*/ 369284 w 467362"/>
              <a:gd name="connsiteY31" fmla="*/ 132749 h 447740"/>
              <a:gd name="connsiteX32" fmla="*/ 369284 w 467362"/>
              <a:gd name="connsiteY32" fmla="*/ 432596 h 447740"/>
              <a:gd name="connsiteX33" fmla="*/ 354140 w 467362"/>
              <a:gd name="connsiteY33" fmla="*/ 447740 h 447740"/>
              <a:gd name="connsiteX34" fmla="*/ 15049 w 467362"/>
              <a:gd name="connsiteY34" fmla="*/ 447740 h 447740"/>
              <a:gd name="connsiteX35" fmla="*/ 0 w 467362"/>
              <a:gd name="connsiteY35" fmla="*/ 432596 h 447740"/>
              <a:gd name="connsiteX36" fmla="*/ 0 w 467362"/>
              <a:gd name="connsiteY36" fmla="*/ 88934 h 447740"/>
              <a:gd name="connsiteX37" fmla="*/ 15049 w 467362"/>
              <a:gd name="connsiteY37" fmla="*/ 73884 h 447740"/>
              <a:gd name="connsiteX38" fmla="*/ 124778 w 467362"/>
              <a:gd name="connsiteY38" fmla="*/ 351 h 447740"/>
              <a:gd name="connsiteX39" fmla="*/ 455581 w 467362"/>
              <a:gd name="connsiteY39" fmla="*/ 74075 h 447740"/>
              <a:gd name="connsiteX40" fmla="*/ 467011 w 467362"/>
              <a:gd name="connsiteY40" fmla="*/ 91982 h 447740"/>
              <a:gd name="connsiteX41" fmla="*/ 400336 w 467362"/>
              <a:gd name="connsiteY41" fmla="*/ 399449 h 447740"/>
              <a:gd name="connsiteX42" fmla="*/ 399193 w 467362"/>
              <a:gd name="connsiteY42" fmla="*/ 399449 h 447740"/>
              <a:gd name="connsiteX43" fmla="*/ 387573 w 467362"/>
              <a:gd name="connsiteY43" fmla="*/ 384780 h 447740"/>
              <a:gd name="connsiteX44" fmla="*/ 387573 w 467362"/>
              <a:gd name="connsiteY44" fmla="*/ 114556 h 447740"/>
              <a:gd name="connsiteX45" fmla="*/ 372428 w 467362"/>
              <a:gd name="connsiteY45" fmla="*/ 99411 h 447740"/>
              <a:gd name="connsiteX46" fmla="*/ 235839 w 467362"/>
              <a:gd name="connsiteY46" fmla="*/ 99411 h 447740"/>
              <a:gd name="connsiteX47" fmla="*/ 221171 w 467362"/>
              <a:gd name="connsiteY47" fmla="*/ 87791 h 447740"/>
              <a:gd name="connsiteX48" fmla="*/ 216408 w 467362"/>
              <a:gd name="connsiteY48" fmla="*/ 67121 h 447740"/>
              <a:gd name="connsiteX49" fmla="*/ 201645 w 467362"/>
              <a:gd name="connsiteY49" fmla="*/ 55501 h 447740"/>
              <a:gd name="connsiteX50" fmla="*/ 115920 w 467362"/>
              <a:gd name="connsiteY50" fmla="*/ 55501 h 447740"/>
              <a:gd name="connsiteX51" fmla="*/ 112872 w 467362"/>
              <a:gd name="connsiteY51" fmla="*/ 55171 h 447740"/>
              <a:gd name="connsiteX52" fmla="*/ 101156 w 467362"/>
              <a:gd name="connsiteY52" fmla="*/ 37213 h 447740"/>
              <a:gd name="connsiteX53" fmla="*/ 106680 w 467362"/>
              <a:gd name="connsiteY53" fmla="*/ 11876 h 447740"/>
              <a:gd name="connsiteX54" fmla="*/ 124778 w 467362"/>
              <a:gd name="connsiteY54" fmla="*/ 351 h 447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467362" h="447740">
                <a:moveTo>
                  <a:pt x="196501" y="222283"/>
                </a:moveTo>
                <a:cubicBezTo>
                  <a:pt x="216123" y="222791"/>
                  <a:pt x="226343" y="231808"/>
                  <a:pt x="227171" y="249334"/>
                </a:cubicBezTo>
                <a:cubicBezTo>
                  <a:pt x="226981" y="267813"/>
                  <a:pt x="219361" y="277528"/>
                  <a:pt x="204216" y="278671"/>
                </a:cubicBezTo>
                <a:lnTo>
                  <a:pt x="196501" y="278671"/>
                </a:lnTo>
                <a:cubicBezTo>
                  <a:pt x="188138" y="278671"/>
                  <a:pt x="181356" y="271890"/>
                  <a:pt x="181356" y="263526"/>
                </a:cubicBezTo>
                <a:lnTo>
                  <a:pt x="181356" y="237523"/>
                </a:lnTo>
                <a:cubicBezTo>
                  <a:pt x="181356" y="237492"/>
                  <a:pt x="181356" y="237459"/>
                  <a:pt x="181356" y="237428"/>
                </a:cubicBezTo>
                <a:cubicBezTo>
                  <a:pt x="181356" y="229063"/>
                  <a:pt x="188138" y="222283"/>
                  <a:pt x="196501" y="222283"/>
                </a:cubicBezTo>
                <a:close/>
                <a:moveTo>
                  <a:pt x="139827" y="182183"/>
                </a:moveTo>
                <a:cubicBezTo>
                  <a:pt x="131511" y="182183"/>
                  <a:pt x="124777" y="188921"/>
                  <a:pt x="124777" y="197233"/>
                </a:cubicBezTo>
                <a:lnTo>
                  <a:pt x="124777" y="368683"/>
                </a:lnTo>
                <a:cubicBezTo>
                  <a:pt x="124777" y="368684"/>
                  <a:pt x="124777" y="368685"/>
                  <a:pt x="124777" y="368686"/>
                </a:cubicBezTo>
                <a:cubicBezTo>
                  <a:pt x="124673" y="376996"/>
                  <a:pt x="131321" y="383818"/>
                  <a:pt x="139636" y="383923"/>
                </a:cubicBezTo>
                <a:lnTo>
                  <a:pt x="166497" y="383923"/>
                </a:lnTo>
                <a:cubicBezTo>
                  <a:pt x="174812" y="383923"/>
                  <a:pt x="181547" y="377185"/>
                  <a:pt x="181547" y="368873"/>
                </a:cubicBezTo>
                <a:lnTo>
                  <a:pt x="181547" y="334202"/>
                </a:lnTo>
                <a:cubicBezTo>
                  <a:pt x="181547" y="325838"/>
                  <a:pt x="188328" y="319058"/>
                  <a:pt x="196691" y="319058"/>
                </a:cubicBezTo>
                <a:lnTo>
                  <a:pt x="209836" y="319058"/>
                </a:lnTo>
                <a:cubicBezTo>
                  <a:pt x="223152" y="319298"/>
                  <a:pt x="236296" y="316011"/>
                  <a:pt x="247936" y="309533"/>
                </a:cubicBezTo>
                <a:cubicBezTo>
                  <a:pt x="258584" y="303672"/>
                  <a:pt x="267290" y="294834"/>
                  <a:pt x="272986" y="284101"/>
                </a:cubicBezTo>
                <a:cubicBezTo>
                  <a:pt x="278501" y="273963"/>
                  <a:pt x="281359" y="262590"/>
                  <a:pt x="281273" y="251049"/>
                </a:cubicBezTo>
                <a:cubicBezTo>
                  <a:pt x="281321" y="239223"/>
                  <a:pt x="278340" y="227581"/>
                  <a:pt x="272606" y="217235"/>
                </a:cubicBezTo>
                <a:cubicBezTo>
                  <a:pt x="266738" y="206686"/>
                  <a:pt x="258108" y="197929"/>
                  <a:pt x="247650" y="191899"/>
                </a:cubicBezTo>
                <a:cubicBezTo>
                  <a:pt x="235325" y="185300"/>
                  <a:pt x="221523" y="181956"/>
                  <a:pt x="207550" y="182183"/>
                </a:cubicBezTo>
                <a:close/>
                <a:moveTo>
                  <a:pt x="15049" y="73884"/>
                </a:moveTo>
                <a:lnTo>
                  <a:pt x="183451" y="73884"/>
                </a:lnTo>
                <a:cubicBezTo>
                  <a:pt x="190405" y="73880"/>
                  <a:pt x="196482" y="78582"/>
                  <a:pt x="198215" y="85314"/>
                </a:cubicBezTo>
                <a:lnTo>
                  <a:pt x="202978" y="105983"/>
                </a:lnTo>
                <a:cubicBezTo>
                  <a:pt x="204578" y="112848"/>
                  <a:pt x="210693" y="117705"/>
                  <a:pt x="217742" y="117699"/>
                </a:cubicBezTo>
                <a:lnTo>
                  <a:pt x="354140" y="117699"/>
                </a:lnTo>
                <a:cubicBezTo>
                  <a:pt x="354168" y="117699"/>
                  <a:pt x="354206" y="117699"/>
                  <a:pt x="354235" y="117699"/>
                </a:cubicBezTo>
                <a:cubicBezTo>
                  <a:pt x="362550" y="117699"/>
                  <a:pt x="369284" y="124437"/>
                  <a:pt x="369284" y="132749"/>
                </a:cubicBezTo>
                <a:lnTo>
                  <a:pt x="369284" y="432596"/>
                </a:lnTo>
                <a:cubicBezTo>
                  <a:pt x="369284" y="440959"/>
                  <a:pt x="362502" y="447740"/>
                  <a:pt x="354140" y="447740"/>
                </a:cubicBezTo>
                <a:lnTo>
                  <a:pt x="15049" y="447740"/>
                </a:lnTo>
                <a:cubicBezTo>
                  <a:pt x="6763" y="447688"/>
                  <a:pt x="0" y="440922"/>
                  <a:pt x="0" y="432596"/>
                </a:cubicBezTo>
                <a:lnTo>
                  <a:pt x="0" y="88934"/>
                </a:lnTo>
                <a:cubicBezTo>
                  <a:pt x="0" y="80622"/>
                  <a:pt x="6763" y="73884"/>
                  <a:pt x="15049" y="73884"/>
                </a:cubicBezTo>
                <a:close/>
                <a:moveTo>
                  <a:pt x="124778" y="351"/>
                </a:moveTo>
                <a:lnTo>
                  <a:pt x="455581" y="74075"/>
                </a:lnTo>
                <a:cubicBezTo>
                  <a:pt x="463678" y="75877"/>
                  <a:pt x="468783" y="83883"/>
                  <a:pt x="467011" y="91982"/>
                </a:cubicBezTo>
                <a:lnTo>
                  <a:pt x="400336" y="399449"/>
                </a:lnTo>
                <a:lnTo>
                  <a:pt x="399193" y="399449"/>
                </a:lnTo>
                <a:cubicBezTo>
                  <a:pt x="392364" y="397887"/>
                  <a:pt x="387535" y="391789"/>
                  <a:pt x="387573" y="384780"/>
                </a:cubicBezTo>
                <a:lnTo>
                  <a:pt x="387573" y="114556"/>
                </a:lnTo>
                <a:cubicBezTo>
                  <a:pt x="387573" y="106192"/>
                  <a:pt x="380791" y="99411"/>
                  <a:pt x="372428" y="99411"/>
                </a:cubicBezTo>
                <a:lnTo>
                  <a:pt x="235839" y="99411"/>
                </a:lnTo>
                <a:cubicBezTo>
                  <a:pt x="228838" y="99418"/>
                  <a:pt x="222762" y="94603"/>
                  <a:pt x="221171" y="87791"/>
                </a:cubicBezTo>
                <a:lnTo>
                  <a:pt x="216408" y="67121"/>
                </a:lnTo>
                <a:cubicBezTo>
                  <a:pt x="214742" y="60314"/>
                  <a:pt x="208655" y="55519"/>
                  <a:pt x="201645" y="55501"/>
                </a:cubicBezTo>
                <a:lnTo>
                  <a:pt x="115920" y="55501"/>
                </a:lnTo>
                <a:cubicBezTo>
                  <a:pt x="114872" y="55497"/>
                  <a:pt x="113824" y="55387"/>
                  <a:pt x="112872" y="55171"/>
                </a:cubicBezTo>
                <a:cubicBezTo>
                  <a:pt x="104680" y="53435"/>
                  <a:pt x="99442" y="45395"/>
                  <a:pt x="101156" y="37213"/>
                </a:cubicBezTo>
                <a:lnTo>
                  <a:pt x="106680" y="11876"/>
                </a:lnTo>
                <a:cubicBezTo>
                  <a:pt x="108490" y="3720"/>
                  <a:pt x="116606" y="-1424"/>
                  <a:pt x="124778" y="351"/>
                </a:cubicBezTo>
                <a:close/>
              </a:path>
            </a:pathLst>
          </a:custGeom>
          <a:solidFill>
            <a:schemeClr val="bg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srgbClr val="000000"/>
              </a:solidFill>
              <a:effectLst/>
              <a:uLnTx/>
              <a:uFillTx/>
              <a:latin typeface="OPPOSans R" panose="00020600040101010101" pitchFamily="18" charset="-122"/>
              <a:ea typeface="微软雅黑"/>
              <a:cs typeface="+mn-cs"/>
            </a:endParaRPr>
          </a:p>
        </p:txBody>
      </p:sp>
      <p:sp>
        <p:nvSpPr>
          <p:cNvPr id="83" name="gaoding-39">
            <a:extLst>
              <a:ext uri="{FF2B5EF4-FFF2-40B4-BE49-F238E27FC236}">
                <a16:creationId xmlns:a16="http://schemas.microsoft.com/office/drawing/2014/main" id="{A277BF5E-E614-41CA-BD97-957AAAA3268F}"/>
              </a:ext>
            </a:extLst>
          </p:cNvPr>
          <p:cNvSpPr/>
          <p:nvPr/>
        </p:nvSpPr>
        <p:spPr>
          <a:xfrm>
            <a:off x="1306627" y="2663455"/>
            <a:ext cx="278430" cy="245145"/>
          </a:xfrm>
          <a:custGeom>
            <a:avLst/>
            <a:gdLst>
              <a:gd name="connsiteX0" fmla="*/ 398255 w 505374"/>
              <a:gd name="connsiteY0" fmla="*/ 230617 h 444961"/>
              <a:gd name="connsiteX1" fmla="*/ 420410 w 505374"/>
              <a:gd name="connsiteY1" fmla="*/ 253223 h 444961"/>
              <a:gd name="connsiteX2" fmla="*/ 420410 w 505374"/>
              <a:gd name="connsiteY2" fmla="*/ 422482 h 444961"/>
              <a:gd name="connsiteX3" fmla="*/ 398027 w 505374"/>
              <a:gd name="connsiteY3" fmla="*/ 444961 h 444961"/>
              <a:gd name="connsiteX4" fmla="*/ 90369 w 505374"/>
              <a:gd name="connsiteY4" fmla="*/ 444961 h 444961"/>
              <a:gd name="connsiteX5" fmla="*/ 67985 w 505374"/>
              <a:gd name="connsiteY5" fmla="*/ 422482 h 444961"/>
              <a:gd name="connsiteX6" fmla="*/ 67985 w 505374"/>
              <a:gd name="connsiteY6" fmla="*/ 253223 h 444961"/>
              <a:gd name="connsiteX7" fmla="*/ 69938 w 505374"/>
              <a:gd name="connsiteY7" fmla="*/ 244031 h 444961"/>
              <a:gd name="connsiteX8" fmla="*/ 99513 w 505374"/>
              <a:gd name="connsiteY8" fmla="*/ 232744 h 444961"/>
              <a:gd name="connsiteX9" fmla="*/ 235054 w 505374"/>
              <a:gd name="connsiteY9" fmla="*/ 293228 h 444961"/>
              <a:gd name="connsiteX10" fmla="*/ 253342 w 505374"/>
              <a:gd name="connsiteY10" fmla="*/ 293228 h 444961"/>
              <a:gd name="connsiteX11" fmla="*/ 388502 w 505374"/>
              <a:gd name="connsiteY11" fmla="*/ 232744 h 444961"/>
              <a:gd name="connsiteX12" fmla="*/ 398255 w 505374"/>
              <a:gd name="connsiteY12" fmla="*/ 230617 h 444961"/>
              <a:gd name="connsiteX13" fmla="*/ 475294 w 505374"/>
              <a:gd name="connsiteY13" fmla="*/ 200147 h 444961"/>
              <a:gd name="connsiteX14" fmla="*/ 495372 w 505374"/>
              <a:gd name="connsiteY14" fmla="*/ 220076 h 444961"/>
              <a:gd name="connsiteX15" fmla="*/ 495372 w 505374"/>
              <a:gd name="connsiteY15" fmla="*/ 334376 h 444961"/>
              <a:gd name="connsiteX16" fmla="*/ 505374 w 505374"/>
              <a:gd name="connsiteY16" fmla="*/ 351521 h 444961"/>
              <a:gd name="connsiteX17" fmla="*/ 505374 w 505374"/>
              <a:gd name="connsiteY17" fmla="*/ 394098 h 444961"/>
              <a:gd name="connsiteX18" fmla="*/ 485371 w 505374"/>
              <a:gd name="connsiteY18" fmla="*/ 414005 h 444961"/>
              <a:gd name="connsiteX19" fmla="*/ 465464 w 505374"/>
              <a:gd name="connsiteY19" fmla="*/ 414005 h 444961"/>
              <a:gd name="connsiteX20" fmla="*/ 445461 w 505374"/>
              <a:gd name="connsiteY20" fmla="*/ 394098 h 444961"/>
              <a:gd name="connsiteX21" fmla="*/ 445461 w 505374"/>
              <a:gd name="connsiteY21" fmla="*/ 351521 h 444961"/>
              <a:gd name="connsiteX22" fmla="*/ 455462 w 505374"/>
              <a:gd name="connsiteY22" fmla="*/ 334376 h 444961"/>
              <a:gd name="connsiteX23" fmla="*/ 455462 w 505374"/>
              <a:gd name="connsiteY23" fmla="*/ 220076 h 444961"/>
              <a:gd name="connsiteX24" fmla="*/ 466226 w 505374"/>
              <a:gd name="connsiteY24" fmla="*/ 202360 h 444961"/>
              <a:gd name="connsiteX25" fmla="*/ 475294 w 505374"/>
              <a:gd name="connsiteY25" fmla="*/ 200147 h 444961"/>
              <a:gd name="connsiteX26" fmla="*/ 233053 w 505374"/>
              <a:gd name="connsiteY26" fmla="*/ 2430 h 444961"/>
              <a:gd name="connsiteX27" fmla="*/ 254580 w 505374"/>
              <a:gd name="connsiteY27" fmla="*/ 2430 h 444961"/>
              <a:gd name="connsiteX28" fmla="*/ 473655 w 505374"/>
              <a:gd name="connsiteY28" fmla="*/ 107777 h 444961"/>
              <a:gd name="connsiteX29" fmla="*/ 485151 w 505374"/>
              <a:gd name="connsiteY29" fmla="*/ 119270 h 444961"/>
              <a:gd name="connsiteX30" fmla="*/ 473655 w 505374"/>
              <a:gd name="connsiteY30" fmla="*/ 152354 h 444961"/>
              <a:gd name="connsiteX31" fmla="*/ 254580 w 505374"/>
              <a:gd name="connsiteY31" fmla="*/ 257700 h 444961"/>
              <a:gd name="connsiteX32" fmla="*/ 233053 w 505374"/>
              <a:gd name="connsiteY32" fmla="*/ 257700 h 444961"/>
              <a:gd name="connsiteX33" fmla="*/ 13978 w 505374"/>
              <a:gd name="connsiteY33" fmla="*/ 152354 h 444961"/>
              <a:gd name="connsiteX34" fmla="*/ 2482 w 505374"/>
              <a:gd name="connsiteY34" fmla="*/ 140860 h 444961"/>
              <a:gd name="connsiteX35" fmla="*/ 13978 w 505374"/>
              <a:gd name="connsiteY35" fmla="*/ 107777 h 4449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505374" h="444961">
                <a:moveTo>
                  <a:pt x="398255" y="230617"/>
                </a:moveTo>
                <a:cubicBezTo>
                  <a:pt x="410609" y="230740"/>
                  <a:pt x="420534" y="240861"/>
                  <a:pt x="420410" y="253223"/>
                </a:cubicBezTo>
                <a:lnTo>
                  <a:pt x="420410" y="422482"/>
                </a:lnTo>
                <a:cubicBezTo>
                  <a:pt x="420410" y="434860"/>
                  <a:pt x="410409" y="444909"/>
                  <a:pt x="398027" y="444961"/>
                </a:cubicBezTo>
                <a:lnTo>
                  <a:pt x="90369" y="444961"/>
                </a:lnTo>
                <a:cubicBezTo>
                  <a:pt x="77996" y="444909"/>
                  <a:pt x="67985" y="434860"/>
                  <a:pt x="67985" y="422482"/>
                </a:cubicBezTo>
                <a:lnTo>
                  <a:pt x="67985" y="253223"/>
                </a:lnTo>
                <a:cubicBezTo>
                  <a:pt x="67976" y="250055"/>
                  <a:pt x="68643" y="246922"/>
                  <a:pt x="69938" y="244031"/>
                </a:cubicBezTo>
                <a:cubicBezTo>
                  <a:pt x="74987" y="232747"/>
                  <a:pt x="88226" y="227694"/>
                  <a:pt x="99513" y="232744"/>
                </a:cubicBezTo>
                <a:lnTo>
                  <a:pt x="235054" y="293228"/>
                </a:lnTo>
                <a:cubicBezTo>
                  <a:pt x="240855" y="295894"/>
                  <a:pt x="247541" y="295894"/>
                  <a:pt x="253342" y="293228"/>
                </a:cubicBezTo>
                <a:lnTo>
                  <a:pt x="388502" y="232744"/>
                </a:lnTo>
                <a:cubicBezTo>
                  <a:pt x="391550" y="231311"/>
                  <a:pt x="394883" y="230584"/>
                  <a:pt x="398255" y="230617"/>
                </a:cubicBezTo>
                <a:close/>
                <a:moveTo>
                  <a:pt x="475294" y="200147"/>
                </a:moveTo>
                <a:cubicBezTo>
                  <a:pt x="486342" y="200107"/>
                  <a:pt x="495334" y="209029"/>
                  <a:pt x="495372" y="220076"/>
                </a:cubicBezTo>
                <a:lnTo>
                  <a:pt x="495372" y="334376"/>
                </a:lnTo>
                <a:cubicBezTo>
                  <a:pt x="501526" y="337903"/>
                  <a:pt x="505326" y="344434"/>
                  <a:pt x="505374" y="351521"/>
                </a:cubicBezTo>
                <a:lnTo>
                  <a:pt x="505374" y="394098"/>
                </a:lnTo>
                <a:cubicBezTo>
                  <a:pt x="505316" y="405108"/>
                  <a:pt x="496382" y="414005"/>
                  <a:pt x="485371" y="414005"/>
                </a:cubicBezTo>
                <a:lnTo>
                  <a:pt x="465464" y="414005"/>
                </a:lnTo>
                <a:cubicBezTo>
                  <a:pt x="454453" y="414005"/>
                  <a:pt x="445509" y="405108"/>
                  <a:pt x="445461" y="394098"/>
                </a:cubicBezTo>
                <a:lnTo>
                  <a:pt x="445461" y="351521"/>
                </a:lnTo>
                <a:cubicBezTo>
                  <a:pt x="445509" y="344434"/>
                  <a:pt x="449309" y="337903"/>
                  <a:pt x="455462" y="334376"/>
                </a:cubicBezTo>
                <a:lnTo>
                  <a:pt x="455462" y="220076"/>
                </a:lnTo>
                <a:cubicBezTo>
                  <a:pt x="455491" y="212633"/>
                  <a:pt x="459635" y="205816"/>
                  <a:pt x="466226" y="202360"/>
                </a:cubicBezTo>
                <a:cubicBezTo>
                  <a:pt x="469036" y="200917"/>
                  <a:pt x="472141" y="200159"/>
                  <a:pt x="475294" y="200147"/>
                </a:cubicBezTo>
                <a:close/>
                <a:moveTo>
                  <a:pt x="233053" y="2430"/>
                </a:moveTo>
                <a:cubicBezTo>
                  <a:pt x="239864" y="-810"/>
                  <a:pt x="247769" y="-810"/>
                  <a:pt x="254580" y="2430"/>
                </a:cubicBezTo>
                <a:lnTo>
                  <a:pt x="473655" y="107777"/>
                </a:lnTo>
                <a:cubicBezTo>
                  <a:pt x="478665" y="110206"/>
                  <a:pt x="482722" y="114255"/>
                  <a:pt x="485151" y="119270"/>
                </a:cubicBezTo>
                <a:cubicBezTo>
                  <a:pt x="491114" y="131580"/>
                  <a:pt x="485961" y="146392"/>
                  <a:pt x="473655" y="152354"/>
                </a:cubicBezTo>
                <a:lnTo>
                  <a:pt x="254580" y="257700"/>
                </a:lnTo>
                <a:cubicBezTo>
                  <a:pt x="247788" y="261039"/>
                  <a:pt x="239845" y="261039"/>
                  <a:pt x="233053" y="257700"/>
                </a:cubicBezTo>
                <a:lnTo>
                  <a:pt x="13978" y="152354"/>
                </a:lnTo>
                <a:cubicBezTo>
                  <a:pt x="8968" y="149925"/>
                  <a:pt x="4911" y="145875"/>
                  <a:pt x="2482" y="140860"/>
                </a:cubicBezTo>
                <a:cubicBezTo>
                  <a:pt x="-3481" y="128550"/>
                  <a:pt x="1672" y="113738"/>
                  <a:pt x="13978" y="107777"/>
                </a:cubicBezTo>
                <a:close/>
              </a:path>
            </a:pathLst>
          </a:custGeom>
          <a:solidFill>
            <a:schemeClr val="bg1"/>
          </a:solidFill>
          <a:ln w="9525" cap="flat">
            <a:noFill/>
            <a:prstDash val="solid"/>
            <a:miter/>
          </a:ln>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srgbClr val="000000"/>
              </a:solidFill>
              <a:effectLst/>
              <a:uLnTx/>
              <a:uFillTx/>
              <a:latin typeface="OPPOSans R" panose="00020600040101010101" pitchFamily="18" charset="-122"/>
              <a:ea typeface="微软雅黑"/>
              <a:cs typeface="+mn-cs"/>
            </a:endParaRPr>
          </a:p>
        </p:txBody>
      </p:sp>
      <p:sp>
        <p:nvSpPr>
          <p:cNvPr id="84" name="gaoding-40">
            <a:extLst>
              <a:ext uri="{FF2B5EF4-FFF2-40B4-BE49-F238E27FC236}">
                <a16:creationId xmlns:a16="http://schemas.microsoft.com/office/drawing/2014/main" id="{922B8D5F-15B2-4BC4-8592-08D3373DB5A7}"/>
              </a:ext>
            </a:extLst>
          </p:cNvPr>
          <p:cNvSpPr/>
          <p:nvPr/>
        </p:nvSpPr>
        <p:spPr>
          <a:xfrm>
            <a:off x="5183286" y="2652006"/>
            <a:ext cx="278430" cy="268041"/>
          </a:xfrm>
          <a:custGeom>
            <a:avLst/>
            <a:gdLst>
              <a:gd name="connsiteX0" fmla="*/ 194024 w 465677"/>
              <a:gd name="connsiteY0" fmla="*/ 157258 h 448304"/>
              <a:gd name="connsiteX1" fmla="*/ 196023 w 465677"/>
              <a:gd name="connsiteY1" fmla="*/ 157258 h 448304"/>
              <a:gd name="connsiteX2" fmla="*/ 238410 w 465677"/>
              <a:gd name="connsiteY2" fmla="*/ 198691 h 448304"/>
              <a:gd name="connsiteX3" fmla="*/ 238410 w 465677"/>
              <a:gd name="connsiteY3" fmla="*/ 198791 h 448304"/>
              <a:gd name="connsiteX4" fmla="*/ 196023 w 465677"/>
              <a:gd name="connsiteY4" fmla="*/ 240220 h 448304"/>
              <a:gd name="connsiteX5" fmla="*/ 194024 w 465677"/>
              <a:gd name="connsiteY5" fmla="*/ 240220 h 448304"/>
              <a:gd name="connsiteX6" fmla="*/ 151733 w 465677"/>
              <a:gd name="connsiteY6" fmla="*/ 198691 h 448304"/>
              <a:gd name="connsiteX7" fmla="*/ 194024 w 465677"/>
              <a:gd name="connsiteY7" fmla="*/ 157258 h 448304"/>
              <a:gd name="connsiteX8" fmla="*/ 195263 w 465677"/>
              <a:gd name="connsiteY8" fmla="*/ 123824 h 448304"/>
              <a:gd name="connsiteX9" fmla="*/ 179737 w 465677"/>
              <a:gd name="connsiteY9" fmla="*/ 125062 h 448304"/>
              <a:gd name="connsiteX10" fmla="*/ 119729 w 465677"/>
              <a:gd name="connsiteY10" fmla="*/ 179831 h 448304"/>
              <a:gd name="connsiteX11" fmla="*/ 151734 w 465677"/>
              <a:gd name="connsiteY11" fmla="*/ 261937 h 448304"/>
              <a:gd name="connsiteX12" fmla="*/ 88488 w 465677"/>
              <a:gd name="connsiteY12" fmla="*/ 309562 h 448304"/>
              <a:gd name="connsiteX13" fmla="*/ 86582 w 465677"/>
              <a:gd name="connsiteY13" fmla="*/ 313303 h 448304"/>
              <a:gd name="connsiteX14" fmla="*/ 96107 w 465677"/>
              <a:gd name="connsiteY14" fmla="*/ 333374 h 448304"/>
              <a:gd name="connsiteX15" fmla="*/ 98298 w 465677"/>
              <a:gd name="connsiteY15" fmla="*/ 334231 h 448304"/>
              <a:gd name="connsiteX16" fmla="*/ 117348 w 465677"/>
              <a:gd name="connsiteY16" fmla="*/ 328135 h 448304"/>
              <a:gd name="connsiteX17" fmla="*/ 195167 w 465677"/>
              <a:gd name="connsiteY17" fmla="*/ 288892 h 448304"/>
              <a:gd name="connsiteX18" fmla="*/ 272987 w 465677"/>
              <a:gd name="connsiteY18" fmla="*/ 328135 h 448304"/>
              <a:gd name="connsiteX19" fmla="*/ 292037 w 465677"/>
              <a:gd name="connsiteY19" fmla="*/ 334231 h 448304"/>
              <a:gd name="connsiteX20" fmla="*/ 294228 w 465677"/>
              <a:gd name="connsiteY20" fmla="*/ 333374 h 448304"/>
              <a:gd name="connsiteX21" fmla="*/ 298038 w 465677"/>
              <a:gd name="connsiteY21" fmla="*/ 331430 h 448304"/>
              <a:gd name="connsiteX22" fmla="*/ 302038 w 465677"/>
              <a:gd name="connsiteY22" fmla="*/ 309562 h 448304"/>
              <a:gd name="connsiteX23" fmla="*/ 238791 w 465677"/>
              <a:gd name="connsiteY23" fmla="*/ 261937 h 448304"/>
              <a:gd name="connsiteX24" fmla="*/ 270796 w 465677"/>
              <a:gd name="connsiteY24" fmla="*/ 179831 h 448304"/>
              <a:gd name="connsiteX25" fmla="*/ 210788 w 465677"/>
              <a:gd name="connsiteY25" fmla="*/ 125062 h 448304"/>
              <a:gd name="connsiteX26" fmla="*/ 195263 w 465677"/>
              <a:gd name="connsiteY26" fmla="*/ 123824 h 448304"/>
              <a:gd name="connsiteX27" fmla="*/ 369285 w 465677"/>
              <a:gd name="connsiteY27" fmla="*/ 69717 h 448304"/>
              <a:gd name="connsiteX28" fmla="*/ 392811 w 465677"/>
              <a:gd name="connsiteY28" fmla="*/ 92677 h 448304"/>
              <a:gd name="connsiteX29" fmla="*/ 392811 w 465677"/>
              <a:gd name="connsiteY29" fmla="*/ 370903 h 448304"/>
              <a:gd name="connsiteX30" fmla="*/ 392811 w 465677"/>
              <a:gd name="connsiteY30" fmla="*/ 370906 h 448304"/>
              <a:gd name="connsiteX31" fmla="*/ 369380 w 465677"/>
              <a:gd name="connsiteY31" fmla="*/ 393763 h 448304"/>
              <a:gd name="connsiteX32" fmla="*/ 277559 w 465677"/>
              <a:gd name="connsiteY32" fmla="*/ 393763 h 448304"/>
              <a:gd name="connsiteX33" fmla="*/ 261461 w 465677"/>
              <a:gd name="connsiteY33" fmla="*/ 400049 h 448304"/>
              <a:gd name="connsiteX34" fmla="*/ 216217 w 465677"/>
              <a:gd name="connsiteY34" fmla="*/ 442054 h 448304"/>
              <a:gd name="connsiteX35" fmla="*/ 183356 w 465677"/>
              <a:gd name="connsiteY35" fmla="*/ 441388 h 448304"/>
              <a:gd name="connsiteX36" fmla="*/ 142684 w 465677"/>
              <a:gd name="connsiteY36" fmla="*/ 400621 h 448304"/>
              <a:gd name="connsiteX37" fmla="*/ 125920 w 465677"/>
              <a:gd name="connsiteY37" fmla="*/ 393763 h 448304"/>
              <a:gd name="connsiteX38" fmla="*/ 23336 w 465677"/>
              <a:gd name="connsiteY38" fmla="*/ 393763 h 448304"/>
              <a:gd name="connsiteX39" fmla="*/ 0 w 465677"/>
              <a:gd name="connsiteY39" fmla="*/ 370903 h 448304"/>
              <a:gd name="connsiteX40" fmla="*/ 0 w 465677"/>
              <a:gd name="connsiteY40" fmla="*/ 92677 h 448304"/>
              <a:gd name="connsiteX41" fmla="*/ 22956 w 465677"/>
              <a:gd name="connsiteY41" fmla="*/ 69722 h 448304"/>
              <a:gd name="connsiteX42" fmla="*/ 368999 w 465677"/>
              <a:gd name="connsiteY42" fmla="*/ 69722 h 448304"/>
              <a:gd name="connsiteX43" fmla="*/ 369285 w 465677"/>
              <a:gd name="connsiteY43" fmla="*/ 69717 h 448304"/>
              <a:gd name="connsiteX44" fmla="*/ 123825 w 465677"/>
              <a:gd name="connsiteY44" fmla="*/ 0 h 448304"/>
              <a:gd name="connsiteX45" fmla="*/ 445484 w 465677"/>
              <a:gd name="connsiteY45" fmla="*/ 0 h 448304"/>
              <a:gd name="connsiteX46" fmla="*/ 465677 w 465677"/>
              <a:gd name="connsiteY46" fmla="*/ 19810 h 448304"/>
              <a:gd name="connsiteX47" fmla="*/ 465677 w 465677"/>
              <a:gd name="connsiteY47" fmla="*/ 19812 h 448304"/>
              <a:gd name="connsiteX48" fmla="*/ 465677 w 465677"/>
              <a:gd name="connsiteY48" fmla="*/ 307753 h 448304"/>
              <a:gd name="connsiteX49" fmla="*/ 445866 w 465677"/>
              <a:gd name="connsiteY49" fmla="*/ 327565 h 448304"/>
              <a:gd name="connsiteX50" fmla="*/ 411384 w 465677"/>
              <a:gd name="connsiteY50" fmla="*/ 327565 h 448304"/>
              <a:gd name="connsiteX51" fmla="*/ 411384 w 465677"/>
              <a:gd name="connsiteY51" fmla="*/ 288512 h 448304"/>
              <a:gd name="connsiteX52" fmla="*/ 426244 w 465677"/>
              <a:gd name="connsiteY52" fmla="*/ 274037 h 448304"/>
              <a:gd name="connsiteX53" fmla="*/ 426244 w 465677"/>
              <a:gd name="connsiteY53" fmla="*/ 274034 h 448304"/>
              <a:gd name="connsiteX54" fmla="*/ 426244 w 465677"/>
              <a:gd name="connsiteY54" fmla="*/ 53626 h 448304"/>
              <a:gd name="connsiteX55" fmla="*/ 411479 w 465677"/>
              <a:gd name="connsiteY55" fmla="*/ 39051 h 448304"/>
              <a:gd name="connsiteX56" fmla="*/ 411384 w 465677"/>
              <a:gd name="connsiteY56" fmla="*/ 39052 h 448304"/>
              <a:gd name="connsiteX57" fmla="*/ 158782 w 465677"/>
              <a:gd name="connsiteY57" fmla="*/ 39052 h 448304"/>
              <a:gd name="connsiteX58" fmla="*/ 143922 w 465677"/>
              <a:gd name="connsiteY58" fmla="*/ 53529 h 448304"/>
              <a:gd name="connsiteX59" fmla="*/ 143922 w 465677"/>
              <a:gd name="connsiteY59" fmla="*/ 53626 h 448304"/>
              <a:gd name="connsiteX60" fmla="*/ 143922 w 465677"/>
              <a:gd name="connsiteY60" fmla="*/ 58007 h 448304"/>
              <a:gd name="connsiteX61" fmla="*/ 104013 w 465677"/>
              <a:gd name="connsiteY61" fmla="*/ 58007 h 448304"/>
              <a:gd name="connsiteX62" fmla="*/ 104013 w 465677"/>
              <a:gd name="connsiteY62" fmla="*/ 19907 h 448304"/>
              <a:gd name="connsiteX63" fmla="*/ 123825 w 465677"/>
              <a:gd name="connsiteY63" fmla="*/ 0 h 448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465677" h="448304">
                <a:moveTo>
                  <a:pt x="194024" y="157258"/>
                </a:moveTo>
                <a:lnTo>
                  <a:pt x="196023" y="157258"/>
                </a:lnTo>
                <a:cubicBezTo>
                  <a:pt x="219170" y="156996"/>
                  <a:pt x="238124" y="175547"/>
                  <a:pt x="238410" y="198691"/>
                </a:cubicBezTo>
                <a:cubicBezTo>
                  <a:pt x="238410" y="198725"/>
                  <a:pt x="238410" y="198758"/>
                  <a:pt x="238410" y="198791"/>
                </a:cubicBezTo>
                <a:cubicBezTo>
                  <a:pt x="238124" y="221936"/>
                  <a:pt x="219170" y="240484"/>
                  <a:pt x="196023" y="240220"/>
                </a:cubicBezTo>
                <a:lnTo>
                  <a:pt x="194024" y="240220"/>
                </a:lnTo>
                <a:cubicBezTo>
                  <a:pt x="170877" y="240430"/>
                  <a:pt x="151923" y="221837"/>
                  <a:pt x="151733" y="198691"/>
                </a:cubicBezTo>
                <a:cubicBezTo>
                  <a:pt x="152018" y="175582"/>
                  <a:pt x="170877" y="157046"/>
                  <a:pt x="194024" y="157258"/>
                </a:cubicBezTo>
                <a:close/>
                <a:moveTo>
                  <a:pt x="195263" y="123824"/>
                </a:moveTo>
                <a:cubicBezTo>
                  <a:pt x="190023" y="123723"/>
                  <a:pt x="184881" y="124138"/>
                  <a:pt x="179737" y="125062"/>
                </a:cubicBezTo>
                <a:cubicBezTo>
                  <a:pt x="150685" y="129889"/>
                  <a:pt x="127159" y="151339"/>
                  <a:pt x="119729" y="179831"/>
                </a:cubicBezTo>
                <a:cubicBezTo>
                  <a:pt x="111442" y="211245"/>
                  <a:pt x="124397" y="244410"/>
                  <a:pt x="151734" y="261937"/>
                </a:cubicBezTo>
                <a:cubicBezTo>
                  <a:pt x="126111" y="270647"/>
                  <a:pt x="103918" y="287337"/>
                  <a:pt x="88488" y="309562"/>
                </a:cubicBezTo>
                <a:cubicBezTo>
                  <a:pt x="87725" y="310717"/>
                  <a:pt x="87059" y="311975"/>
                  <a:pt x="86582" y="313303"/>
                </a:cubicBezTo>
                <a:cubicBezTo>
                  <a:pt x="83630" y="321482"/>
                  <a:pt x="87916" y="330468"/>
                  <a:pt x="96107" y="333374"/>
                </a:cubicBezTo>
                <a:lnTo>
                  <a:pt x="98298" y="334231"/>
                </a:lnTo>
                <a:cubicBezTo>
                  <a:pt x="105252" y="336658"/>
                  <a:pt x="113062" y="334175"/>
                  <a:pt x="117348" y="328135"/>
                </a:cubicBezTo>
                <a:cubicBezTo>
                  <a:pt x="135255" y="303068"/>
                  <a:pt x="164402" y="288401"/>
                  <a:pt x="195167" y="288892"/>
                </a:cubicBezTo>
                <a:cubicBezTo>
                  <a:pt x="225933" y="288401"/>
                  <a:pt x="255080" y="303068"/>
                  <a:pt x="272987" y="328135"/>
                </a:cubicBezTo>
                <a:cubicBezTo>
                  <a:pt x="277273" y="334175"/>
                  <a:pt x="285084" y="336658"/>
                  <a:pt x="292037" y="334231"/>
                </a:cubicBezTo>
                <a:lnTo>
                  <a:pt x="294228" y="333374"/>
                </a:lnTo>
                <a:cubicBezTo>
                  <a:pt x="295561" y="332906"/>
                  <a:pt x="296895" y="332251"/>
                  <a:pt x="298038" y="331430"/>
                </a:cubicBezTo>
                <a:cubicBezTo>
                  <a:pt x="305182" y="326488"/>
                  <a:pt x="306991" y="316697"/>
                  <a:pt x="302038" y="309562"/>
                </a:cubicBezTo>
                <a:cubicBezTo>
                  <a:pt x="286607" y="287337"/>
                  <a:pt x="264414" y="270647"/>
                  <a:pt x="238791" y="261937"/>
                </a:cubicBezTo>
                <a:cubicBezTo>
                  <a:pt x="266128" y="244410"/>
                  <a:pt x="279083" y="211245"/>
                  <a:pt x="270796" y="179831"/>
                </a:cubicBezTo>
                <a:cubicBezTo>
                  <a:pt x="263367" y="151339"/>
                  <a:pt x="239840" y="129889"/>
                  <a:pt x="210788" y="125062"/>
                </a:cubicBezTo>
                <a:cubicBezTo>
                  <a:pt x="205645" y="124138"/>
                  <a:pt x="200502" y="123723"/>
                  <a:pt x="195263" y="123824"/>
                </a:cubicBezTo>
                <a:close/>
                <a:moveTo>
                  <a:pt x="369285" y="69717"/>
                </a:moveTo>
                <a:cubicBezTo>
                  <a:pt x="382143" y="69563"/>
                  <a:pt x="392620" y="79843"/>
                  <a:pt x="392811" y="92677"/>
                </a:cubicBezTo>
                <a:lnTo>
                  <a:pt x="392811" y="370903"/>
                </a:lnTo>
                <a:cubicBezTo>
                  <a:pt x="392811" y="370904"/>
                  <a:pt x="392811" y="370905"/>
                  <a:pt x="392811" y="370906"/>
                </a:cubicBezTo>
                <a:cubicBezTo>
                  <a:pt x="392620" y="383688"/>
                  <a:pt x="382143" y="393922"/>
                  <a:pt x="369380" y="393763"/>
                </a:cubicBezTo>
                <a:lnTo>
                  <a:pt x="277559" y="393763"/>
                </a:lnTo>
                <a:cubicBezTo>
                  <a:pt x="271558" y="393778"/>
                  <a:pt x="265843" y="396020"/>
                  <a:pt x="261461" y="400049"/>
                </a:cubicBezTo>
                <a:lnTo>
                  <a:pt x="216217" y="442054"/>
                </a:lnTo>
                <a:cubicBezTo>
                  <a:pt x="206883" y="450639"/>
                  <a:pt x="192405" y="450346"/>
                  <a:pt x="183356" y="441388"/>
                </a:cubicBezTo>
                <a:lnTo>
                  <a:pt x="142684" y="400621"/>
                </a:lnTo>
                <a:cubicBezTo>
                  <a:pt x="138208" y="396215"/>
                  <a:pt x="132207" y="393751"/>
                  <a:pt x="125920" y="393763"/>
                </a:cubicBezTo>
                <a:lnTo>
                  <a:pt x="23336" y="393763"/>
                </a:lnTo>
                <a:cubicBezTo>
                  <a:pt x="10573" y="393868"/>
                  <a:pt x="191" y="383648"/>
                  <a:pt x="0" y="370903"/>
                </a:cubicBezTo>
                <a:lnTo>
                  <a:pt x="0" y="92677"/>
                </a:lnTo>
                <a:cubicBezTo>
                  <a:pt x="96" y="80043"/>
                  <a:pt x="10287" y="69826"/>
                  <a:pt x="22956" y="69722"/>
                </a:cubicBezTo>
                <a:lnTo>
                  <a:pt x="368999" y="69722"/>
                </a:lnTo>
                <a:cubicBezTo>
                  <a:pt x="369094" y="69720"/>
                  <a:pt x="369189" y="69718"/>
                  <a:pt x="369285" y="69717"/>
                </a:cubicBezTo>
                <a:close/>
                <a:moveTo>
                  <a:pt x="123825" y="0"/>
                </a:moveTo>
                <a:lnTo>
                  <a:pt x="445484" y="0"/>
                </a:lnTo>
                <a:cubicBezTo>
                  <a:pt x="456534" y="-106"/>
                  <a:pt x="465582" y="8764"/>
                  <a:pt x="465677" y="19810"/>
                </a:cubicBezTo>
                <a:cubicBezTo>
                  <a:pt x="465677" y="19811"/>
                  <a:pt x="465677" y="19811"/>
                  <a:pt x="465677" y="19812"/>
                </a:cubicBezTo>
                <a:lnTo>
                  <a:pt x="465677" y="307753"/>
                </a:lnTo>
                <a:cubicBezTo>
                  <a:pt x="465582" y="318651"/>
                  <a:pt x="456723" y="327462"/>
                  <a:pt x="445866" y="327565"/>
                </a:cubicBezTo>
                <a:lnTo>
                  <a:pt x="411384" y="327565"/>
                </a:lnTo>
                <a:lnTo>
                  <a:pt x="411384" y="288512"/>
                </a:lnTo>
                <a:cubicBezTo>
                  <a:pt x="419481" y="288618"/>
                  <a:pt x="426148" y="282137"/>
                  <a:pt x="426244" y="274037"/>
                </a:cubicBezTo>
                <a:cubicBezTo>
                  <a:pt x="426244" y="274036"/>
                  <a:pt x="426244" y="274035"/>
                  <a:pt x="426244" y="274034"/>
                </a:cubicBezTo>
                <a:lnTo>
                  <a:pt x="426244" y="53626"/>
                </a:lnTo>
                <a:cubicBezTo>
                  <a:pt x="426148" y="45525"/>
                  <a:pt x="419576" y="39000"/>
                  <a:pt x="411479" y="39051"/>
                </a:cubicBezTo>
                <a:cubicBezTo>
                  <a:pt x="411479" y="39052"/>
                  <a:pt x="411384" y="39052"/>
                  <a:pt x="411384" y="39052"/>
                </a:cubicBezTo>
                <a:lnTo>
                  <a:pt x="158782" y="39052"/>
                </a:lnTo>
                <a:cubicBezTo>
                  <a:pt x="150685" y="38947"/>
                  <a:pt x="144018" y="45428"/>
                  <a:pt x="143922" y="53529"/>
                </a:cubicBezTo>
                <a:cubicBezTo>
                  <a:pt x="143922" y="53561"/>
                  <a:pt x="143922" y="53593"/>
                  <a:pt x="143922" y="53626"/>
                </a:cubicBezTo>
                <a:lnTo>
                  <a:pt x="143922" y="58007"/>
                </a:lnTo>
                <a:lnTo>
                  <a:pt x="104013" y="58007"/>
                </a:lnTo>
                <a:lnTo>
                  <a:pt x="104013" y="19907"/>
                </a:lnTo>
                <a:cubicBezTo>
                  <a:pt x="104109" y="8971"/>
                  <a:pt x="112871" y="104"/>
                  <a:pt x="123825" y="0"/>
                </a:cubicBezTo>
                <a:close/>
              </a:path>
            </a:pathLst>
          </a:custGeom>
          <a:solidFill>
            <a:schemeClr val="bg1"/>
          </a:solidFill>
          <a:ln w="9525" cap="flat">
            <a:noFill/>
            <a:prstDash val="solid"/>
            <a:miter/>
          </a:ln>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srgbClr val="000000"/>
              </a:solidFill>
              <a:effectLst/>
              <a:uLnTx/>
              <a:uFillTx/>
              <a:latin typeface="OPPOSans R" panose="00020600040101010101" pitchFamily="18" charset="-122"/>
              <a:ea typeface="微软雅黑"/>
              <a:cs typeface="+mn-cs"/>
            </a:endParaRPr>
          </a:p>
        </p:txBody>
      </p:sp>
      <p:sp>
        <p:nvSpPr>
          <p:cNvPr id="85" name="gaoding-41">
            <a:extLst>
              <a:ext uri="{FF2B5EF4-FFF2-40B4-BE49-F238E27FC236}">
                <a16:creationId xmlns:a16="http://schemas.microsoft.com/office/drawing/2014/main" id="{3633DE2B-FBA7-43A1-965A-C9C37CB80313}"/>
              </a:ext>
            </a:extLst>
          </p:cNvPr>
          <p:cNvSpPr/>
          <p:nvPr/>
        </p:nvSpPr>
        <p:spPr>
          <a:xfrm>
            <a:off x="9059083" y="2647584"/>
            <a:ext cx="278430" cy="261016"/>
          </a:xfrm>
          <a:custGeom>
            <a:avLst/>
            <a:gdLst>
              <a:gd name="connsiteX0" fmla="*/ 466630 w 466894"/>
              <a:gd name="connsiteY0" fmla="*/ 198045 h 437694"/>
              <a:gd name="connsiteX1" fmla="*/ 453962 w 466894"/>
              <a:gd name="connsiteY1" fmla="*/ 282627 h 437694"/>
              <a:gd name="connsiteX2" fmla="*/ 453867 w 466894"/>
              <a:gd name="connsiteY2" fmla="*/ 282922 h 437694"/>
              <a:gd name="connsiteX3" fmla="*/ 438055 w 466894"/>
              <a:gd name="connsiteY3" fmla="*/ 290152 h 437694"/>
              <a:gd name="connsiteX4" fmla="*/ 299276 w 466894"/>
              <a:gd name="connsiteY4" fmla="*/ 177281 h 437694"/>
              <a:gd name="connsiteX5" fmla="*/ 288608 w 466894"/>
              <a:gd name="connsiteY5" fmla="*/ 211095 h 437694"/>
              <a:gd name="connsiteX6" fmla="*/ 285559 w 466894"/>
              <a:gd name="connsiteY6" fmla="*/ 208944 h 437694"/>
              <a:gd name="connsiteX7" fmla="*/ 285368 w 466894"/>
              <a:gd name="connsiteY7" fmla="*/ 191569 h 437694"/>
              <a:gd name="connsiteX8" fmla="*/ 455581 w 466894"/>
              <a:gd name="connsiteY8" fmla="*/ 143181 h 437694"/>
              <a:gd name="connsiteX9" fmla="*/ 464725 w 466894"/>
              <a:gd name="connsiteY9" fmla="*/ 181948 h 437694"/>
              <a:gd name="connsiteX10" fmla="*/ 431673 w 466894"/>
              <a:gd name="connsiteY10" fmla="*/ 287199 h 437694"/>
              <a:gd name="connsiteX11" fmla="*/ 413290 w 466894"/>
              <a:gd name="connsiteY11" fmla="*/ 277674 h 437694"/>
              <a:gd name="connsiteX12" fmla="*/ 339471 w 466894"/>
              <a:gd name="connsiteY12" fmla="*/ 135363 h 437694"/>
              <a:gd name="connsiteX13" fmla="*/ 311562 w 466894"/>
              <a:gd name="connsiteY13" fmla="*/ 223850 h 437694"/>
              <a:gd name="connsiteX14" fmla="*/ 302228 w 466894"/>
              <a:gd name="connsiteY14" fmla="*/ 218897 h 437694"/>
              <a:gd name="connsiteX15" fmla="*/ 293179 w 466894"/>
              <a:gd name="connsiteY15" fmla="*/ 214135 h 437694"/>
              <a:gd name="connsiteX16" fmla="*/ 307848 w 466894"/>
              <a:gd name="connsiteY16" fmla="*/ 167748 h 437694"/>
              <a:gd name="connsiteX17" fmla="*/ 439197 w 466894"/>
              <a:gd name="connsiteY17" fmla="*/ 107081 h 437694"/>
              <a:gd name="connsiteX18" fmla="*/ 452151 w 466894"/>
              <a:gd name="connsiteY18" fmla="*/ 133846 h 437694"/>
              <a:gd name="connsiteX19" fmla="*/ 407860 w 466894"/>
              <a:gd name="connsiteY19" fmla="*/ 274721 h 437694"/>
              <a:gd name="connsiteX20" fmla="*/ 402812 w 466894"/>
              <a:gd name="connsiteY20" fmla="*/ 272054 h 437694"/>
              <a:gd name="connsiteX21" fmla="*/ 389477 w 466894"/>
              <a:gd name="connsiteY21" fmla="*/ 264910 h 437694"/>
              <a:gd name="connsiteX22" fmla="*/ 380429 w 466894"/>
              <a:gd name="connsiteY22" fmla="*/ 93263 h 437694"/>
              <a:gd name="connsiteX23" fmla="*/ 335375 w 466894"/>
              <a:gd name="connsiteY23" fmla="*/ 236614 h 437694"/>
              <a:gd name="connsiteX24" fmla="*/ 327374 w 466894"/>
              <a:gd name="connsiteY24" fmla="*/ 232328 h 437694"/>
              <a:gd name="connsiteX25" fmla="*/ 316992 w 466894"/>
              <a:gd name="connsiteY25" fmla="*/ 226803 h 437694"/>
              <a:gd name="connsiteX26" fmla="*/ 348806 w 466894"/>
              <a:gd name="connsiteY26" fmla="*/ 125743 h 437694"/>
              <a:gd name="connsiteX27" fmla="*/ 354425 w 466894"/>
              <a:gd name="connsiteY27" fmla="*/ 120028 h 437694"/>
              <a:gd name="connsiteX28" fmla="*/ 420434 w 466894"/>
              <a:gd name="connsiteY28" fmla="*/ 79745 h 437694"/>
              <a:gd name="connsiteX29" fmla="*/ 428148 w 466894"/>
              <a:gd name="connsiteY29" fmla="*/ 89270 h 437694"/>
              <a:gd name="connsiteX30" fmla="*/ 428148 w 466894"/>
              <a:gd name="connsiteY30" fmla="*/ 89937 h 437694"/>
              <a:gd name="connsiteX31" fmla="*/ 433197 w 466894"/>
              <a:gd name="connsiteY31" fmla="*/ 97271 h 437694"/>
              <a:gd name="connsiteX32" fmla="*/ 435007 w 466894"/>
              <a:gd name="connsiteY32" fmla="*/ 100128 h 437694"/>
              <a:gd name="connsiteX33" fmla="*/ 384048 w 466894"/>
              <a:gd name="connsiteY33" fmla="*/ 262054 h 437694"/>
              <a:gd name="connsiteX34" fmla="*/ 366045 w 466894"/>
              <a:gd name="connsiteY34" fmla="*/ 252433 h 437694"/>
              <a:gd name="connsiteX35" fmla="*/ 415290 w 466894"/>
              <a:gd name="connsiteY35" fmla="*/ 74506 h 437694"/>
              <a:gd name="connsiteX36" fmla="*/ 360235 w 466894"/>
              <a:gd name="connsiteY36" fmla="*/ 249289 h 437694"/>
              <a:gd name="connsiteX37" fmla="*/ 349758 w 466894"/>
              <a:gd name="connsiteY37" fmla="*/ 243670 h 437694"/>
              <a:gd name="connsiteX38" fmla="*/ 341948 w 466894"/>
              <a:gd name="connsiteY38" fmla="*/ 239479 h 437694"/>
              <a:gd name="connsiteX39" fmla="*/ 390907 w 466894"/>
              <a:gd name="connsiteY39" fmla="*/ 83745 h 437694"/>
              <a:gd name="connsiteX40" fmla="*/ 399003 w 466894"/>
              <a:gd name="connsiteY40" fmla="*/ 75363 h 437694"/>
              <a:gd name="connsiteX41" fmla="*/ 415290 w 466894"/>
              <a:gd name="connsiteY41" fmla="*/ 74506 h 437694"/>
              <a:gd name="connsiteX42" fmla="*/ 256223 w 466894"/>
              <a:gd name="connsiteY42" fmla="*/ 1449 h 437694"/>
              <a:gd name="connsiteX43" fmla="*/ 352902 w 466894"/>
              <a:gd name="connsiteY43" fmla="*/ 38597 h 437694"/>
              <a:gd name="connsiteX44" fmla="*/ 353854 w 466894"/>
              <a:gd name="connsiteY44" fmla="*/ 39400 h 437694"/>
              <a:gd name="connsiteX45" fmla="*/ 354139 w 466894"/>
              <a:gd name="connsiteY45" fmla="*/ 56504 h 437694"/>
              <a:gd name="connsiteX46" fmla="*/ 262794 w 466894"/>
              <a:gd name="connsiteY46" fmla="*/ 150230 h 437694"/>
              <a:gd name="connsiteX47" fmla="*/ 254222 w 466894"/>
              <a:gd name="connsiteY47" fmla="*/ 153832 h 437694"/>
              <a:gd name="connsiteX48" fmla="*/ 242220 w 466894"/>
              <a:gd name="connsiteY48" fmla="*/ 141848 h 437694"/>
              <a:gd name="connsiteX49" fmla="*/ 243078 w 466894"/>
              <a:gd name="connsiteY49" fmla="*/ 13260 h 437694"/>
              <a:gd name="connsiteX50" fmla="*/ 243174 w 466894"/>
              <a:gd name="connsiteY50" fmla="*/ 12253 h 437694"/>
              <a:gd name="connsiteX51" fmla="*/ 256223 w 466894"/>
              <a:gd name="connsiteY51" fmla="*/ 1449 h 437694"/>
              <a:gd name="connsiteX52" fmla="*/ 203645 w 466894"/>
              <a:gd name="connsiteY52" fmla="*/ 2 h 437694"/>
              <a:gd name="connsiteX53" fmla="*/ 215360 w 466894"/>
              <a:gd name="connsiteY53" fmla="*/ 11355 h 437694"/>
              <a:gd name="connsiteX54" fmla="*/ 215360 w 466894"/>
              <a:gd name="connsiteY54" fmla="*/ 200236 h 437694"/>
              <a:gd name="connsiteX55" fmla="*/ 231648 w 466894"/>
              <a:gd name="connsiteY55" fmla="*/ 227192 h 437694"/>
              <a:gd name="connsiteX56" fmla="*/ 397669 w 466894"/>
              <a:gd name="connsiteY56" fmla="*/ 314822 h 437694"/>
              <a:gd name="connsiteX57" fmla="*/ 398335 w 466894"/>
              <a:gd name="connsiteY57" fmla="*/ 315165 h 437694"/>
              <a:gd name="connsiteX58" fmla="*/ 404717 w 466894"/>
              <a:gd name="connsiteY58" fmla="*/ 338825 h 437694"/>
              <a:gd name="connsiteX59" fmla="*/ 219646 w 466894"/>
              <a:gd name="connsiteY59" fmla="*/ 437694 h 437694"/>
              <a:gd name="connsiteX60" fmla="*/ 219075 w 466894"/>
              <a:gd name="connsiteY60" fmla="*/ 437694 h 437694"/>
              <a:gd name="connsiteX61" fmla="*/ 0 w 466894"/>
              <a:gd name="connsiteY61" fmla="*/ 218619 h 437694"/>
              <a:gd name="connsiteX62" fmla="*/ 130588 w 466894"/>
              <a:gd name="connsiteY62" fmla="*/ 15165 h 437694"/>
              <a:gd name="connsiteX63" fmla="*/ 203168 w 466894"/>
              <a:gd name="connsiteY63" fmla="*/ 20 h 437694"/>
              <a:gd name="connsiteX64" fmla="*/ 203645 w 466894"/>
              <a:gd name="connsiteY64" fmla="*/ 2 h 4376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466894" h="437694">
                <a:moveTo>
                  <a:pt x="466630" y="198045"/>
                </a:moveTo>
                <a:cubicBezTo>
                  <a:pt x="468059" y="226798"/>
                  <a:pt x="463677" y="255545"/>
                  <a:pt x="453962" y="282627"/>
                </a:cubicBezTo>
                <a:cubicBezTo>
                  <a:pt x="453962" y="282726"/>
                  <a:pt x="453867" y="282824"/>
                  <a:pt x="453867" y="282922"/>
                </a:cubicBezTo>
                <a:cubicBezTo>
                  <a:pt x="451486" y="289282"/>
                  <a:pt x="444437" y="292519"/>
                  <a:pt x="438055" y="290152"/>
                </a:cubicBezTo>
                <a:close/>
                <a:moveTo>
                  <a:pt x="299276" y="177281"/>
                </a:moveTo>
                <a:lnTo>
                  <a:pt x="288608" y="211095"/>
                </a:lnTo>
                <a:cubicBezTo>
                  <a:pt x="287463" y="210534"/>
                  <a:pt x="286511" y="209808"/>
                  <a:pt x="285559" y="208944"/>
                </a:cubicBezTo>
                <a:cubicBezTo>
                  <a:pt x="280701" y="204210"/>
                  <a:pt x="280606" y="196431"/>
                  <a:pt x="285368" y="191569"/>
                </a:cubicBezTo>
                <a:close/>
                <a:moveTo>
                  <a:pt x="455581" y="143181"/>
                </a:moveTo>
                <a:cubicBezTo>
                  <a:pt x="459963" y="155755"/>
                  <a:pt x="463010" y="168746"/>
                  <a:pt x="464725" y="181948"/>
                </a:cubicBezTo>
                <a:lnTo>
                  <a:pt x="431673" y="287199"/>
                </a:lnTo>
                <a:lnTo>
                  <a:pt x="413290" y="277674"/>
                </a:lnTo>
                <a:close/>
                <a:moveTo>
                  <a:pt x="339471" y="135363"/>
                </a:moveTo>
                <a:lnTo>
                  <a:pt x="311562" y="223850"/>
                </a:lnTo>
                <a:lnTo>
                  <a:pt x="302228" y="218897"/>
                </a:lnTo>
                <a:lnTo>
                  <a:pt x="293179" y="214135"/>
                </a:lnTo>
                <a:lnTo>
                  <a:pt x="307848" y="167748"/>
                </a:lnTo>
                <a:close/>
                <a:moveTo>
                  <a:pt x="439197" y="107081"/>
                </a:moveTo>
                <a:cubicBezTo>
                  <a:pt x="444055" y="115710"/>
                  <a:pt x="448436" y="124651"/>
                  <a:pt x="452151" y="133846"/>
                </a:cubicBezTo>
                <a:lnTo>
                  <a:pt x="407860" y="274721"/>
                </a:lnTo>
                <a:lnTo>
                  <a:pt x="402812" y="272054"/>
                </a:lnTo>
                <a:lnTo>
                  <a:pt x="389477" y="264910"/>
                </a:lnTo>
                <a:close/>
                <a:moveTo>
                  <a:pt x="380429" y="93263"/>
                </a:moveTo>
                <a:lnTo>
                  <a:pt x="335375" y="236614"/>
                </a:lnTo>
                <a:lnTo>
                  <a:pt x="327374" y="232328"/>
                </a:lnTo>
                <a:lnTo>
                  <a:pt x="316992" y="226803"/>
                </a:lnTo>
                <a:lnTo>
                  <a:pt x="348806" y="125743"/>
                </a:lnTo>
                <a:lnTo>
                  <a:pt x="354425" y="120028"/>
                </a:lnTo>
                <a:close/>
                <a:moveTo>
                  <a:pt x="420434" y="79745"/>
                </a:moveTo>
                <a:cubicBezTo>
                  <a:pt x="423101" y="82602"/>
                  <a:pt x="425672" y="85936"/>
                  <a:pt x="428148" y="89270"/>
                </a:cubicBezTo>
                <a:lnTo>
                  <a:pt x="428148" y="89937"/>
                </a:lnTo>
                <a:cubicBezTo>
                  <a:pt x="429863" y="92318"/>
                  <a:pt x="431577" y="94794"/>
                  <a:pt x="433197" y="97271"/>
                </a:cubicBezTo>
                <a:cubicBezTo>
                  <a:pt x="433769" y="98128"/>
                  <a:pt x="434340" y="99176"/>
                  <a:pt x="435007" y="100128"/>
                </a:cubicBezTo>
                <a:lnTo>
                  <a:pt x="384048" y="262054"/>
                </a:lnTo>
                <a:lnTo>
                  <a:pt x="366045" y="252433"/>
                </a:lnTo>
                <a:close/>
                <a:moveTo>
                  <a:pt x="415290" y="74506"/>
                </a:moveTo>
                <a:lnTo>
                  <a:pt x="360235" y="249289"/>
                </a:lnTo>
                <a:lnTo>
                  <a:pt x="349758" y="243670"/>
                </a:lnTo>
                <a:lnTo>
                  <a:pt x="341948" y="239479"/>
                </a:lnTo>
                <a:lnTo>
                  <a:pt x="390907" y="83745"/>
                </a:lnTo>
                <a:lnTo>
                  <a:pt x="399003" y="75363"/>
                </a:lnTo>
                <a:cubicBezTo>
                  <a:pt x="403384" y="70996"/>
                  <a:pt x="410432" y="70627"/>
                  <a:pt x="415290" y="74506"/>
                </a:cubicBezTo>
                <a:close/>
                <a:moveTo>
                  <a:pt x="256223" y="1449"/>
                </a:moveTo>
                <a:cubicBezTo>
                  <a:pt x="291274" y="4487"/>
                  <a:pt x="324802" y="17363"/>
                  <a:pt x="352902" y="38597"/>
                </a:cubicBezTo>
                <a:cubicBezTo>
                  <a:pt x="353187" y="38848"/>
                  <a:pt x="353568" y="39117"/>
                  <a:pt x="353854" y="39400"/>
                </a:cubicBezTo>
                <a:cubicBezTo>
                  <a:pt x="358617" y="44036"/>
                  <a:pt x="358807" y="51693"/>
                  <a:pt x="354139" y="56504"/>
                </a:cubicBezTo>
                <a:lnTo>
                  <a:pt x="262794" y="150230"/>
                </a:lnTo>
                <a:cubicBezTo>
                  <a:pt x="260509" y="152529"/>
                  <a:pt x="257461" y="153828"/>
                  <a:pt x="254222" y="153832"/>
                </a:cubicBezTo>
                <a:cubicBezTo>
                  <a:pt x="247650" y="153842"/>
                  <a:pt x="242220" y="148476"/>
                  <a:pt x="242220" y="141848"/>
                </a:cubicBezTo>
                <a:cubicBezTo>
                  <a:pt x="242506" y="104034"/>
                  <a:pt x="243078" y="40216"/>
                  <a:pt x="243078" y="13260"/>
                </a:cubicBezTo>
                <a:cubicBezTo>
                  <a:pt x="243078" y="12924"/>
                  <a:pt x="243078" y="12588"/>
                  <a:pt x="243174" y="12253"/>
                </a:cubicBezTo>
                <a:cubicBezTo>
                  <a:pt x="243744" y="5655"/>
                  <a:pt x="249650" y="818"/>
                  <a:pt x="256223" y="1449"/>
                </a:cubicBezTo>
                <a:close/>
                <a:moveTo>
                  <a:pt x="203645" y="2"/>
                </a:moveTo>
                <a:cubicBezTo>
                  <a:pt x="210027" y="-92"/>
                  <a:pt x="215265" y="4991"/>
                  <a:pt x="215360" y="11355"/>
                </a:cubicBezTo>
                <a:lnTo>
                  <a:pt x="215360" y="200236"/>
                </a:lnTo>
                <a:cubicBezTo>
                  <a:pt x="215360" y="211553"/>
                  <a:pt x="221647" y="221940"/>
                  <a:pt x="231648" y="227192"/>
                </a:cubicBezTo>
                <a:lnTo>
                  <a:pt x="397669" y="314822"/>
                </a:lnTo>
                <a:cubicBezTo>
                  <a:pt x="397860" y="314931"/>
                  <a:pt x="398050" y="315046"/>
                  <a:pt x="398335" y="315165"/>
                </a:cubicBezTo>
                <a:cubicBezTo>
                  <a:pt x="406622" y="319925"/>
                  <a:pt x="409480" y="330518"/>
                  <a:pt x="404717" y="338825"/>
                </a:cubicBezTo>
                <a:cubicBezTo>
                  <a:pt x="370618" y="395594"/>
                  <a:pt x="297656" y="437694"/>
                  <a:pt x="219646" y="437694"/>
                </a:cubicBezTo>
                <a:cubicBezTo>
                  <a:pt x="219457" y="437694"/>
                  <a:pt x="219266" y="437694"/>
                  <a:pt x="219075" y="437694"/>
                </a:cubicBezTo>
                <a:cubicBezTo>
                  <a:pt x="98108" y="437694"/>
                  <a:pt x="0" y="339611"/>
                  <a:pt x="0" y="218619"/>
                </a:cubicBezTo>
                <a:cubicBezTo>
                  <a:pt x="0" y="126417"/>
                  <a:pt x="52102" y="47455"/>
                  <a:pt x="130588" y="15165"/>
                </a:cubicBezTo>
                <a:cubicBezTo>
                  <a:pt x="153829" y="6276"/>
                  <a:pt x="178308" y="1163"/>
                  <a:pt x="203168" y="20"/>
                </a:cubicBezTo>
                <a:cubicBezTo>
                  <a:pt x="203359" y="11"/>
                  <a:pt x="203454" y="5"/>
                  <a:pt x="203645" y="2"/>
                </a:cubicBezTo>
                <a:close/>
              </a:path>
            </a:pathLst>
          </a:custGeom>
          <a:solidFill>
            <a:schemeClr val="bg1"/>
          </a:solidFill>
          <a:ln w="9525" cap="flat">
            <a:noFill/>
            <a:prstDash val="solid"/>
            <a:miter/>
          </a:ln>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srgbClr val="000000"/>
              </a:solidFill>
              <a:effectLst/>
              <a:uLnTx/>
              <a:uFillTx/>
              <a:latin typeface="OPPOSans R" panose="00020600040101010101" pitchFamily="18" charset="-122"/>
              <a:ea typeface="微软雅黑"/>
              <a:cs typeface="+mn-cs"/>
            </a:endParaRPr>
          </a:p>
        </p:txBody>
      </p:sp>
      <p:sp>
        <p:nvSpPr>
          <p:cNvPr id="86" name="gaoding-42">
            <a:extLst>
              <a:ext uri="{FF2B5EF4-FFF2-40B4-BE49-F238E27FC236}">
                <a16:creationId xmlns:a16="http://schemas.microsoft.com/office/drawing/2014/main" id="{99A27886-CA6D-4EA1-93EF-C6A18A4142BE}"/>
              </a:ext>
            </a:extLst>
          </p:cNvPr>
          <p:cNvSpPr txBox="1"/>
          <p:nvPr/>
        </p:nvSpPr>
        <p:spPr>
          <a:xfrm>
            <a:off x="2010452" y="2627224"/>
            <a:ext cx="1493452" cy="359073"/>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25400" tIns="25400" rIns="25400" bIns="25400" numCol="1" anchor="t">
            <a:spAutoFit/>
          </a:bodyPr>
          <a:lstStyle>
            <a:lvl1pPr algn="l">
              <a:defRPr sz="2800" b="0">
                <a:solidFill>
                  <a:srgbClr val="FFFFFF"/>
                </a:solidFill>
                <a:latin typeface="Barlow Bold"/>
                <a:ea typeface="Barlow Bold"/>
                <a:cs typeface="Barlow Bold"/>
                <a:sym typeface="Barlow Bold"/>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2000" b="1" i="0" u="none" strike="noStrike" kern="1200" cap="none" spc="0" normalizeH="0" baseline="0" noProof="0" dirty="0">
                <a:ln>
                  <a:noFill/>
                </a:ln>
                <a:solidFill>
                  <a:srgbClr val="FFFFFF"/>
                </a:solidFill>
                <a:effectLst/>
                <a:uLnTx/>
                <a:uFillTx/>
                <a:latin typeface="OPPOSans R" panose="00020600040101010101" pitchFamily="18" charset="-122"/>
                <a:ea typeface="OPPOSans R" panose="00020600040101010101" pitchFamily="18" charset="-122"/>
                <a:cs typeface="OPPOSans R" panose="00020600040101010101" pitchFamily="18" charset="-122"/>
                <a:sym typeface="Barlow Bold"/>
              </a:rPr>
              <a:t>更快更轻松</a:t>
            </a:r>
            <a:endParaRPr kumimoji="0" sz="2000" b="1" i="0" u="none" strike="noStrike" kern="1200" cap="none" spc="0" normalizeH="0" baseline="0" noProof="0" dirty="0">
              <a:ln>
                <a:noFill/>
              </a:ln>
              <a:solidFill>
                <a:srgbClr val="FFFFFF"/>
              </a:solidFill>
              <a:effectLst/>
              <a:uLnTx/>
              <a:uFillTx/>
              <a:latin typeface="OPPOSans R" panose="00020600040101010101" pitchFamily="18" charset="-122"/>
              <a:ea typeface="OPPOSans R" panose="00020600040101010101" pitchFamily="18" charset="-122"/>
              <a:cs typeface="OPPOSans R" panose="00020600040101010101" pitchFamily="18" charset="-122"/>
              <a:sym typeface="Barlow Bold"/>
            </a:endParaRPr>
          </a:p>
        </p:txBody>
      </p:sp>
      <p:sp>
        <p:nvSpPr>
          <p:cNvPr id="87" name="gaoding-43">
            <a:extLst>
              <a:ext uri="{FF2B5EF4-FFF2-40B4-BE49-F238E27FC236}">
                <a16:creationId xmlns:a16="http://schemas.microsoft.com/office/drawing/2014/main" id="{79623033-3785-40B5-9357-51B12741308C}"/>
              </a:ext>
            </a:extLst>
          </p:cNvPr>
          <p:cNvSpPr txBox="1"/>
          <p:nvPr/>
        </p:nvSpPr>
        <p:spPr>
          <a:xfrm>
            <a:off x="9787847" y="2627224"/>
            <a:ext cx="1493452" cy="359073"/>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25400" tIns="25400" rIns="25400" bIns="25400" numCol="1" anchor="t">
            <a:spAutoFit/>
          </a:bodyPr>
          <a:lstStyle>
            <a:lvl1pPr algn="l">
              <a:defRPr sz="2800" b="0">
                <a:solidFill>
                  <a:srgbClr val="FFFFFF"/>
                </a:solidFill>
                <a:latin typeface="Barlow Bold"/>
                <a:ea typeface="Barlow Bold"/>
                <a:cs typeface="Barlow Bold"/>
                <a:sym typeface="Barlow Bold"/>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2000" b="1" i="0" u="none" strike="noStrike" kern="1200" cap="none" spc="0" normalizeH="0" baseline="0" noProof="0" dirty="0">
                <a:ln>
                  <a:noFill/>
                </a:ln>
                <a:solidFill>
                  <a:srgbClr val="FFFFFF"/>
                </a:solidFill>
                <a:effectLst/>
                <a:uLnTx/>
                <a:uFillTx/>
                <a:latin typeface="OPPOSans R" panose="00020600040101010101" pitchFamily="18" charset="-122"/>
                <a:ea typeface="OPPOSans R" panose="00020600040101010101" pitchFamily="18" charset="-122"/>
                <a:cs typeface="OPPOSans R" panose="00020600040101010101" pitchFamily="18" charset="-122"/>
                <a:sym typeface="Barlow Bold"/>
              </a:rPr>
              <a:t>千余款模板</a:t>
            </a:r>
            <a:endParaRPr kumimoji="0" sz="2000" b="1" i="0" u="none" strike="noStrike" kern="1200" cap="none" spc="0" normalizeH="0" baseline="0" noProof="0" dirty="0">
              <a:ln>
                <a:noFill/>
              </a:ln>
              <a:solidFill>
                <a:srgbClr val="FFFFFF"/>
              </a:solidFill>
              <a:effectLst/>
              <a:uLnTx/>
              <a:uFillTx/>
              <a:latin typeface="OPPOSans R" panose="00020600040101010101" pitchFamily="18" charset="-122"/>
              <a:ea typeface="OPPOSans R" panose="00020600040101010101" pitchFamily="18" charset="-122"/>
              <a:cs typeface="OPPOSans R" panose="00020600040101010101" pitchFamily="18" charset="-122"/>
              <a:sym typeface="Barlow Bold"/>
            </a:endParaRPr>
          </a:p>
        </p:txBody>
      </p:sp>
      <p:sp>
        <p:nvSpPr>
          <p:cNvPr id="88" name="gaoding-44">
            <a:extLst>
              <a:ext uri="{FF2B5EF4-FFF2-40B4-BE49-F238E27FC236}">
                <a16:creationId xmlns:a16="http://schemas.microsoft.com/office/drawing/2014/main" id="{85AE6084-01D0-439E-8D08-7D1F13BB99AC}"/>
              </a:ext>
            </a:extLst>
          </p:cNvPr>
          <p:cNvSpPr txBox="1"/>
          <p:nvPr/>
        </p:nvSpPr>
        <p:spPr>
          <a:xfrm>
            <a:off x="5923624" y="2627224"/>
            <a:ext cx="1493452" cy="359073"/>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25400" tIns="25400" rIns="25400" bIns="25400" numCol="1" anchor="t">
            <a:spAutoFit/>
          </a:bodyPr>
          <a:lstStyle>
            <a:lvl1pPr algn="l">
              <a:defRPr sz="2800" b="0">
                <a:solidFill>
                  <a:srgbClr val="FFFFFF"/>
                </a:solidFill>
                <a:latin typeface="Barlow Bold"/>
                <a:ea typeface="Barlow Bold"/>
                <a:cs typeface="Barlow Bold"/>
                <a:sym typeface="Barlow Bold"/>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2000" b="1" i="0" u="none" strike="noStrike" kern="1200" cap="none" spc="0" normalizeH="0" baseline="0" noProof="0" dirty="0">
                <a:ln>
                  <a:noFill/>
                </a:ln>
                <a:solidFill>
                  <a:srgbClr val="FFFFFF"/>
                </a:solidFill>
                <a:effectLst/>
                <a:uLnTx/>
                <a:uFillTx/>
                <a:latin typeface="OPPOSans R" panose="00020600040101010101" pitchFamily="18" charset="-122"/>
                <a:ea typeface="OPPOSans R" panose="00020600040101010101" pitchFamily="18" charset="-122"/>
                <a:cs typeface="OPPOSans R" panose="00020600040101010101" pitchFamily="18" charset="-122"/>
                <a:sym typeface="Barlow Bold"/>
              </a:rPr>
              <a:t>强大表现力</a:t>
            </a:r>
            <a:endParaRPr kumimoji="0" sz="2000" b="1" i="0" u="none" strike="noStrike" kern="1200" cap="none" spc="0" normalizeH="0" baseline="0" noProof="0" dirty="0">
              <a:ln>
                <a:noFill/>
              </a:ln>
              <a:solidFill>
                <a:srgbClr val="FFFFFF"/>
              </a:solidFill>
              <a:effectLst/>
              <a:uLnTx/>
              <a:uFillTx/>
              <a:latin typeface="OPPOSans R" panose="00020600040101010101" pitchFamily="18" charset="-122"/>
              <a:ea typeface="OPPOSans R" panose="00020600040101010101" pitchFamily="18" charset="-122"/>
              <a:cs typeface="OPPOSans R" panose="00020600040101010101" pitchFamily="18" charset="-122"/>
              <a:sym typeface="Barlow Bold"/>
            </a:endParaRPr>
          </a:p>
        </p:txBody>
      </p:sp>
      <p:sp>
        <p:nvSpPr>
          <p:cNvPr id="90" name="gaoding-45">
            <a:extLst>
              <a:ext uri="{FF2B5EF4-FFF2-40B4-BE49-F238E27FC236}">
                <a16:creationId xmlns:a16="http://schemas.microsoft.com/office/drawing/2014/main" id="{5AED6569-3F36-46D6-AB09-D667C8DA4D55}"/>
              </a:ext>
            </a:extLst>
          </p:cNvPr>
          <p:cNvSpPr txBox="1"/>
          <p:nvPr/>
        </p:nvSpPr>
        <p:spPr>
          <a:xfrm>
            <a:off x="891548" y="519423"/>
            <a:ext cx="2954655"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2400" b="1" i="0" u="none" strike="noStrike" kern="1200" cap="none" spc="0" normalizeH="0" baseline="0" noProof="0" dirty="0">
                <a:ln>
                  <a:noFill/>
                </a:ln>
                <a:solidFill>
                  <a:srgbClr val="000000">
                    <a:lumMod val="85000"/>
                    <a:lumOff val="15000"/>
                  </a:srgbClr>
                </a:solidFill>
                <a:effectLst/>
                <a:uLnTx/>
                <a:uFillTx/>
                <a:latin typeface="OPPOSans B" panose="00020600040101010101" pitchFamily="18" charset="-122"/>
                <a:ea typeface="OPPOSans B" panose="00020600040101010101" pitchFamily="18" charset="-122"/>
                <a:cs typeface="OPPOSans B" panose="00020600040101010101" pitchFamily="18" charset="-122"/>
                <a:sym typeface="+mn-lt"/>
              </a:rPr>
              <a:t>秋叶</a:t>
            </a:r>
            <a:r>
              <a:rPr kumimoji="0" lang="en-US" altLang="zh-CN" sz="2400" b="1" i="0" u="none" strike="noStrike" kern="1200" cap="none" spc="0" normalizeH="0" baseline="0" noProof="0" dirty="0">
                <a:ln>
                  <a:noFill/>
                </a:ln>
                <a:solidFill>
                  <a:srgbClr val="000000">
                    <a:lumMod val="85000"/>
                    <a:lumOff val="15000"/>
                  </a:srgbClr>
                </a:solidFill>
                <a:effectLst/>
                <a:uLnTx/>
                <a:uFillTx/>
                <a:latin typeface="OPPOSans B" panose="00020600040101010101" pitchFamily="18" charset="-122"/>
                <a:ea typeface="OPPOSans B" panose="00020600040101010101" pitchFamily="18" charset="-122"/>
                <a:cs typeface="OPPOSans B" panose="00020600040101010101" pitchFamily="18" charset="-122"/>
                <a:sym typeface="+mn-lt"/>
              </a:rPr>
              <a:t>PPT</a:t>
            </a:r>
            <a:r>
              <a:rPr kumimoji="0" lang="zh-CN" altLang="en-US" sz="2400" b="1" i="0" u="none" strike="noStrike" kern="1200" cap="none" spc="0" normalizeH="0" baseline="0" noProof="0" dirty="0">
                <a:ln>
                  <a:noFill/>
                </a:ln>
                <a:solidFill>
                  <a:srgbClr val="000000">
                    <a:lumMod val="85000"/>
                    <a:lumOff val="15000"/>
                  </a:srgbClr>
                </a:solidFill>
                <a:effectLst/>
                <a:uLnTx/>
                <a:uFillTx/>
                <a:latin typeface="OPPOSans B" panose="00020600040101010101" pitchFamily="18" charset="-122"/>
                <a:ea typeface="OPPOSans B" panose="00020600040101010101" pitchFamily="18" charset="-122"/>
                <a:cs typeface="OPPOSans B" panose="00020600040101010101" pitchFamily="18" charset="-122"/>
                <a:sym typeface="+mn-lt"/>
              </a:rPr>
              <a:t>更快更轻松</a:t>
            </a:r>
          </a:p>
        </p:txBody>
      </p:sp>
      <p:sp>
        <p:nvSpPr>
          <p:cNvPr id="91" name="gaoding-46">
            <a:extLst>
              <a:ext uri="{FF2B5EF4-FFF2-40B4-BE49-F238E27FC236}">
                <a16:creationId xmlns:a16="http://schemas.microsoft.com/office/drawing/2014/main" id="{9AD57DB6-31C3-4D42-AEFD-2D392363C944}"/>
              </a:ext>
            </a:extLst>
          </p:cNvPr>
          <p:cNvSpPr txBox="1"/>
          <p:nvPr/>
        </p:nvSpPr>
        <p:spPr>
          <a:xfrm>
            <a:off x="917798" y="925944"/>
            <a:ext cx="1202573"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100" b="0" i="0" u="none" strike="noStrike" kern="1200" cap="none" spc="0" normalizeH="0" baseline="0" noProof="0" dirty="0">
                <a:ln>
                  <a:noFill/>
                </a:ln>
                <a:solidFill>
                  <a:srgbClr val="000000">
                    <a:lumMod val="85000"/>
                    <a:lumOff val="1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sym typeface="+mn-lt"/>
              </a:rPr>
              <a:t>Add </a:t>
            </a:r>
            <a:r>
              <a:rPr kumimoji="0" lang="zh-CN" altLang="en-US" sz="1100" b="0" i="0" u="none" strike="noStrike" kern="1200" cap="none" spc="0" normalizeH="0" baseline="0" noProof="0" dirty="0">
                <a:ln>
                  <a:noFill/>
                </a:ln>
                <a:solidFill>
                  <a:srgbClr val="000000">
                    <a:lumMod val="85000"/>
                    <a:lumOff val="1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sym typeface="+mn-lt"/>
              </a:rPr>
              <a:t>关键词标题</a:t>
            </a:r>
            <a:endParaRPr kumimoji="0" lang="en-US" altLang="zh-CN" sz="1100" b="0" i="0" u="none" strike="noStrike" kern="1200" cap="none" spc="0" normalizeH="0" baseline="0" noProof="0" dirty="0">
              <a:ln>
                <a:noFill/>
              </a:ln>
              <a:solidFill>
                <a:srgbClr val="000000">
                  <a:lumMod val="85000"/>
                  <a:lumOff val="1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sym typeface="+mn-lt"/>
            </a:endParaRPr>
          </a:p>
        </p:txBody>
      </p:sp>
      <p:sp>
        <p:nvSpPr>
          <p:cNvPr id="92" name="gaoding-47">
            <a:extLst>
              <a:ext uri="{FF2B5EF4-FFF2-40B4-BE49-F238E27FC236}">
                <a16:creationId xmlns:a16="http://schemas.microsoft.com/office/drawing/2014/main" id="{8172EDE9-9EF7-48EE-99B3-CC4346D21C16}"/>
              </a:ext>
            </a:extLst>
          </p:cNvPr>
          <p:cNvSpPr/>
          <p:nvPr/>
        </p:nvSpPr>
        <p:spPr>
          <a:xfrm>
            <a:off x="1014806" y="1226042"/>
            <a:ext cx="811658" cy="79498"/>
          </a:xfrm>
          <a:prstGeom prst="rect">
            <a:avLst/>
          </a:prstGeom>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srgbClr val="FFFFFF"/>
              </a:solidFill>
              <a:effectLst/>
              <a:uLnTx/>
              <a:uFillTx/>
              <a:latin typeface="OPPOSans R" panose="00020600040101010101" pitchFamily="18" charset="-122"/>
              <a:ea typeface="微软雅黑"/>
              <a:cs typeface="+mn-ea"/>
              <a:sym typeface="+mn-lt"/>
            </a:endParaRPr>
          </a:p>
        </p:txBody>
      </p:sp>
      <p:sp>
        <p:nvSpPr>
          <p:cNvPr id="59" name="gaoding-48">
            <a:extLst>
              <a:ext uri="{FF2B5EF4-FFF2-40B4-BE49-F238E27FC236}">
                <a16:creationId xmlns:a16="http://schemas.microsoft.com/office/drawing/2014/main" id="{36C4FE60-2B9E-401B-8E7E-ABC3E33B6BFF}"/>
              </a:ext>
            </a:extLst>
          </p:cNvPr>
          <p:cNvSpPr txBox="1"/>
          <p:nvPr/>
        </p:nvSpPr>
        <p:spPr>
          <a:xfrm>
            <a:off x="2179877" y="3797083"/>
            <a:ext cx="1002103" cy="24622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600" b="0" i="0" u="none" strike="noStrike" kern="1200" cap="none" spc="0" normalizeH="0" baseline="0" noProof="0" dirty="0">
                <a:ln>
                  <a:noFill/>
                </a:ln>
                <a:solidFill>
                  <a:srgbClr val="000000">
                    <a:lumMod val="75000"/>
                    <a:lumOff val="2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rPr>
              <a:t>秋叶</a:t>
            </a:r>
            <a:r>
              <a:rPr kumimoji="0" lang="en-US" altLang="zh-CN" sz="1600" b="0" i="0" u="none" strike="noStrike" kern="1200" cap="none" spc="0" normalizeH="0" baseline="0" noProof="0" dirty="0">
                <a:ln>
                  <a:noFill/>
                </a:ln>
                <a:solidFill>
                  <a:srgbClr val="000000">
                    <a:lumMod val="75000"/>
                    <a:lumOff val="2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rPr>
              <a:t>PPT</a:t>
            </a:r>
            <a:endParaRPr kumimoji="0" lang="zh-CN" altLang="en-US" sz="1600" b="0" i="0" u="none" strike="noStrike" kern="1200" cap="none" spc="0" normalizeH="0" baseline="0" noProof="0" dirty="0">
              <a:ln>
                <a:noFill/>
              </a:ln>
              <a:solidFill>
                <a:srgbClr val="000000">
                  <a:lumMod val="75000"/>
                  <a:lumOff val="2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p:txBody>
      </p:sp>
      <p:sp>
        <p:nvSpPr>
          <p:cNvPr id="60" name="gaoding-49">
            <a:extLst>
              <a:ext uri="{FF2B5EF4-FFF2-40B4-BE49-F238E27FC236}">
                <a16:creationId xmlns:a16="http://schemas.microsoft.com/office/drawing/2014/main" id="{2740EC74-E755-4F8D-A91B-65B7F4A161EA}"/>
              </a:ext>
            </a:extLst>
          </p:cNvPr>
          <p:cNvSpPr txBox="1"/>
          <p:nvPr/>
        </p:nvSpPr>
        <p:spPr>
          <a:xfrm>
            <a:off x="2179877" y="4660797"/>
            <a:ext cx="1002103" cy="24622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600" b="0" i="0" u="none" strike="noStrike" kern="1200" cap="none" spc="0" normalizeH="0" baseline="0" noProof="0" dirty="0">
                <a:ln>
                  <a:noFill/>
                </a:ln>
                <a:solidFill>
                  <a:srgbClr val="000000">
                    <a:lumMod val="75000"/>
                    <a:lumOff val="2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rPr>
              <a:t>千款模板</a:t>
            </a:r>
          </a:p>
        </p:txBody>
      </p:sp>
      <p:sp>
        <p:nvSpPr>
          <p:cNvPr id="61" name="gaoding-50">
            <a:extLst>
              <a:ext uri="{FF2B5EF4-FFF2-40B4-BE49-F238E27FC236}">
                <a16:creationId xmlns:a16="http://schemas.microsoft.com/office/drawing/2014/main" id="{D9BF7276-3A53-46D3-B183-6C5A0BDC4A09}"/>
              </a:ext>
            </a:extLst>
          </p:cNvPr>
          <p:cNvSpPr txBox="1"/>
          <p:nvPr/>
        </p:nvSpPr>
        <p:spPr>
          <a:xfrm>
            <a:off x="2179877" y="5527295"/>
            <a:ext cx="1002103" cy="24622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600" b="0" i="0" u="none" strike="noStrike" kern="1200" cap="none" spc="0" normalizeH="0" baseline="0" noProof="0" dirty="0">
                <a:ln>
                  <a:noFill/>
                </a:ln>
                <a:solidFill>
                  <a:srgbClr val="000000">
                    <a:lumMod val="75000"/>
                    <a:lumOff val="2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rPr>
              <a:t>海量库存</a:t>
            </a:r>
          </a:p>
        </p:txBody>
      </p:sp>
      <p:sp>
        <p:nvSpPr>
          <p:cNvPr id="62" name="gaoding-51">
            <a:extLst>
              <a:ext uri="{FF2B5EF4-FFF2-40B4-BE49-F238E27FC236}">
                <a16:creationId xmlns:a16="http://schemas.microsoft.com/office/drawing/2014/main" id="{739644FF-ABA2-4BB4-B7CA-40B5FBE614F4}"/>
              </a:ext>
            </a:extLst>
          </p:cNvPr>
          <p:cNvSpPr txBox="1"/>
          <p:nvPr/>
        </p:nvSpPr>
        <p:spPr>
          <a:xfrm>
            <a:off x="6061146" y="3785293"/>
            <a:ext cx="1002103" cy="24622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600" b="0" i="0" u="none" strike="noStrike" kern="1200" cap="none" spc="0" normalizeH="0" baseline="0" noProof="0" dirty="0">
                <a:ln>
                  <a:noFill/>
                </a:ln>
                <a:solidFill>
                  <a:srgbClr val="000000">
                    <a:lumMod val="75000"/>
                    <a:lumOff val="2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rPr>
              <a:t>秋叶</a:t>
            </a:r>
            <a:r>
              <a:rPr kumimoji="0" lang="en-US" altLang="zh-CN" sz="1600" b="0" i="0" u="none" strike="noStrike" kern="1200" cap="none" spc="0" normalizeH="0" baseline="0" noProof="0" dirty="0">
                <a:ln>
                  <a:noFill/>
                </a:ln>
                <a:solidFill>
                  <a:srgbClr val="000000">
                    <a:lumMod val="75000"/>
                    <a:lumOff val="2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rPr>
              <a:t>PPT</a:t>
            </a:r>
            <a:endParaRPr kumimoji="0" lang="zh-CN" altLang="en-US" sz="1600" b="0" i="0" u="none" strike="noStrike" kern="1200" cap="none" spc="0" normalizeH="0" baseline="0" noProof="0" dirty="0">
              <a:ln>
                <a:noFill/>
              </a:ln>
              <a:solidFill>
                <a:srgbClr val="000000">
                  <a:lumMod val="75000"/>
                  <a:lumOff val="2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p:txBody>
      </p:sp>
      <p:sp>
        <p:nvSpPr>
          <p:cNvPr id="63" name="gaoding-52">
            <a:extLst>
              <a:ext uri="{FF2B5EF4-FFF2-40B4-BE49-F238E27FC236}">
                <a16:creationId xmlns:a16="http://schemas.microsoft.com/office/drawing/2014/main" id="{C28DD9EC-7177-4D41-A0B1-086C704D8BDE}"/>
              </a:ext>
            </a:extLst>
          </p:cNvPr>
          <p:cNvSpPr txBox="1"/>
          <p:nvPr/>
        </p:nvSpPr>
        <p:spPr>
          <a:xfrm>
            <a:off x="6061146" y="4649007"/>
            <a:ext cx="1002103" cy="24622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600" b="0" i="0" u="none" strike="noStrike" kern="1200" cap="none" spc="0" normalizeH="0" baseline="0" noProof="0" dirty="0">
                <a:ln>
                  <a:noFill/>
                </a:ln>
                <a:solidFill>
                  <a:srgbClr val="000000">
                    <a:lumMod val="75000"/>
                    <a:lumOff val="2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rPr>
              <a:t>千款模板</a:t>
            </a:r>
          </a:p>
        </p:txBody>
      </p:sp>
      <p:sp>
        <p:nvSpPr>
          <p:cNvPr id="64" name="gaoding-53">
            <a:extLst>
              <a:ext uri="{FF2B5EF4-FFF2-40B4-BE49-F238E27FC236}">
                <a16:creationId xmlns:a16="http://schemas.microsoft.com/office/drawing/2014/main" id="{3244D61A-244F-4720-890A-F0F97946906A}"/>
              </a:ext>
            </a:extLst>
          </p:cNvPr>
          <p:cNvSpPr txBox="1"/>
          <p:nvPr/>
        </p:nvSpPr>
        <p:spPr>
          <a:xfrm>
            <a:off x="6061146" y="5515505"/>
            <a:ext cx="1002103" cy="24622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600" b="0" i="0" u="none" strike="noStrike" kern="1200" cap="none" spc="0" normalizeH="0" baseline="0" noProof="0" dirty="0">
                <a:ln>
                  <a:noFill/>
                </a:ln>
                <a:solidFill>
                  <a:srgbClr val="000000">
                    <a:lumMod val="75000"/>
                    <a:lumOff val="2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rPr>
              <a:t>海量库存</a:t>
            </a:r>
          </a:p>
        </p:txBody>
      </p:sp>
      <p:sp>
        <p:nvSpPr>
          <p:cNvPr id="65" name="gaoding-54">
            <a:extLst>
              <a:ext uri="{FF2B5EF4-FFF2-40B4-BE49-F238E27FC236}">
                <a16:creationId xmlns:a16="http://schemas.microsoft.com/office/drawing/2014/main" id="{54342624-2E55-4546-B3F1-A7543A438A27}"/>
              </a:ext>
            </a:extLst>
          </p:cNvPr>
          <p:cNvSpPr txBox="1"/>
          <p:nvPr/>
        </p:nvSpPr>
        <p:spPr>
          <a:xfrm>
            <a:off x="9932699" y="3796907"/>
            <a:ext cx="1002103" cy="24622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600" b="0" i="0" u="none" strike="noStrike" kern="1200" cap="none" spc="0" normalizeH="0" baseline="0" noProof="0" dirty="0">
                <a:ln>
                  <a:noFill/>
                </a:ln>
                <a:solidFill>
                  <a:srgbClr val="000000">
                    <a:lumMod val="75000"/>
                    <a:lumOff val="2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rPr>
              <a:t>秋叶</a:t>
            </a:r>
            <a:r>
              <a:rPr kumimoji="0" lang="en-US" altLang="zh-CN" sz="1600" b="0" i="0" u="none" strike="noStrike" kern="1200" cap="none" spc="0" normalizeH="0" baseline="0" noProof="0" dirty="0">
                <a:ln>
                  <a:noFill/>
                </a:ln>
                <a:solidFill>
                  <a:srgbClr val="000000">
                    <a:lumMod val="75000"/>
                    <a:lumOff val="2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rPr>
              <a:t>PPT</a:t>
            </a:r>
            <a:endParaRPr kumimoji="0" lang="zh-CN" altLang="en-US" sz="1600" b="0" i="0" u="none" strike="noStrike" kern="1200" cap="none" spc="0" normalizeH="0" baseline="0" noProof="0" dirty="0">
              <a:ln>
                <a:noFill/>
              </a:ln>
              <a:solidFill>
                <a:srgbClr val="000000">
                  <a:lumMod val="75000"/>
                  <a:lumOff val="2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p:txBody>
      </p:sp>
      <p:sp>
        <p:nvSpPr>
          <p:cNvPr id="66" name="gaoding-55">
            <a:extLst>
              <a:ext uri="{FF2B5EF4-FFF2-40B4-BE49-F238E27FC236}">
                <a16:creationId xmlns:a16="http://schemas.microsoft.com/office/drawing/2014/main" id="{04286E3D-C519-4024-B6FE-AF8E010AEEEB}"/>
              </a:ext>
            </a:extLst>
          </p:cNvPr>
          <p:cNvSpPr txBox="1"/>
          <p:nvPr/>
        </p:nvSpPr>
        <p:spPr>
          <a:xfrm>
            <a:off x="9932699" y="4660621"/>
            <a:ext cx="1002103" cy="24622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600" b="0" i="0" u="none" strike="noStrike" kern="1200" cap="none" spc="0" normalizeH="0" baseline="0" noProof="0" dirty="0">
                <a:ln>
                  <a:noFill/>
                </a:ln>
                <a:solidFill>
                  <a:srgbClr val="000000">
                    <a:lumMod val="75000"/>
                    <a:lumOff val="2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rPr>
              <a:t>千款模板</a:t>
            </a:r>
          </a:p>
        </p:txBody>
      </p:sp>
      <p:sp>
        <p:nvSpPr>
          <p:cNvPr id="67" name="gaoding-56">
            <a:extLst>
              <a:ext uri="{FF2B5EF4-FFF2-40B4-BE49-F238E27FC236}">
                <a16:creationId xmlns:a16="http://schemas.microsoft.com/office/drawing/2014/main" id="{F40F83D7-89AE-485D-B03C-1A8DCFD6FDAD}"/>
              </a:ext>
            </a:extLst>
          </p:cNvPr>
          <p:cNvSpPr txBox="1"/>
          <p:nvPr/>
        </p:nvSpPr>
        <p:spPr>
          <a:xfrm>
            <a:off x="9932699" y="5527119"/>
            <a:ext cx="1002103" cy="24622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600" b="0" i="0" u="none" strike="noStrike" kern="1200" cap="none" spc="0" normalizeH="0" baseline="0" noProof="0" dirty="0">
                <a:ln>
                  <a:noFill/>
                </a:ln>
                <a:solidFill>
                  <a:srgbClr val="000000">
                    <a:lumMod val="75000"/>
                    <a:lumOff val="2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rPr>
              <a:t>海量库存</a:t>
            </a:r>
          </a:p>
        </p:txBody>
      </p:sp>
      <p:sp>
        <p:nvSpPr>
          <p:cNvPr id="3" name="gaoding-57">
            <a:extLst>
              <a:ext uri="{FF2B5EF4-FFF2-40B4-BE49-F238E27FC236}">
                <a16:creationId xmlns:a16="http://schemas.microsoft.com/office/drawing/2014/main" id="{2954AABD-545E-4F5B-8AA3-7294ABC81ADE}"/>
              </a:ext>
            </a:extLst>
          </p:cNvPr>
          <p:cNvSpPr/>
          <p:nvPr/>
        </p:nvSpPr>
        <p:spPr>
          <a:xfrm>
            <a:off x="1336062" y="3679168"/>
            <a:ext cx="481697" cy="48169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800" b="1" i="0" u="none" strike="noStrike" kern="1200" cap="none" spc="0" normalizeH="0" baseline="0" noProof="0" dirty="0">
                <a:ln>
                  <a:noFill/>
                </a:ln>
                <a:solidFill>
                  <a:srgbClr val="000000">
                    <a:lumMod val="75000"/>
                    <a:lumOff val="2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rPr>
              <a:t>01</a:t>
            </a:r>
            <a:endParaRPr kumimoji="0" lang="zh-CN" altLang="en-US" sz="1800" b="1" i="0" u="none" strike="noStrike" kern="1200" cap="none" spc="0" normalizeH="0" baseline="0" noProof="0" dirty="0">
              <a:ln>
                <a:noFill/>
              </a:ln>
              <a:solidFill>
                <a:srgbClr val="000000">
                  <a:lumMod val="75000"/>
                  <a:lumOff val="2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p:txBody>
      </p:sp>
      <p:sp>
        <p:nvSpPr>
          <p:cNvPr id="69" name="gaoding-58">
            <a:extLst>
              <a:ext uri="{FF2B5EF4-FFF2-40B4-BE49-F238E27FC236}">
                <a16:creationId xmlns:a16="http://schemas.microsoft.com/office/drawing/2014/main" id="{DB256579-EF1B-4B2A-BBFD-BC14BC674DD5}"/>
              </a:ext>
            </a:extLst>
          </p:cNvPr>
          <p:cNvSpPr/>
          <p:nvPr/>
        </p:nvSpPr>
        <p:spPr>
          <a:xfrm>
            <a:off x="1334196" y="4551417"/>
            <a:ext cx="481697" cy="48169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800" b="1" i="0" u="none" strike="noStrike" kern="1200" cap="none" spc="0" normalizeH="0" baseline="0" noProof="0" dirty="0">
                <a:ln>
                  <a:noFill/>
                </a:ln>
                <a:solidFill>
                  <a:srgbClr val="000000">
                    <a:lumMod val="75000"/>
                    <a:lumOff val="2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rPr>
              <a:t>02</a:t>
            </a:r>
            <a:endParaRPr kumimoji="0" lang="zh-CN" altLang="en-US" sz="1800" b="1" i="0" u="none" strike="noStrike" kern="1200" cap="none" spc="0" normalizeH="0" baseline="0" noProof="0" dirty="0">
              <a:ln>
                <a:noFill/>
              </a:ln>
              <a:solidFill>
                <a:srgbClr val="000000">
                  <a:lumMod val="75000"/>
                  <a:lumOff val="2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p:txBody>
      </p:sp>
      <p:sp>
        <p:nvSpPr>
          <p:cNvPr id="70" name="gaoding-59">
            <a:extLst>
              <a:ext uri="{FF2B5EF4-FFF2-40B4-BE49-F238E27FC236}">
                <a16:creationId xmlns:a16="http://schemas.microsoft.com/office/drawing/2014/main" id="{0ED4CA41-AFE8-4057-85E2-FAD30B2FD3BE}"/>
              </a:ext>
            </a:extLst>
          </p:cNvPr>
          <p:cNvSpPr/>
          <p:nvPr/>
        </p:nvSpPr>
        <p:spPr>
          <a:xfrm>
            <a:off x="1334196" y="5422070"/>
            <a:ext cx="481697" cy="48169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800" b="1" i="0" u="none" strike="noStrike" kern="1200" cap="none" spc="0" normalizeH="0" baseline="0" noProof="0" dirty="0">
                <a:ln>
                  <a:noFill/>
                </a:ln>
                <a:solidFill>
                  <a:srgbClr val="000000">
                    <a:lumMod val="75000"/>
                    <a:lumOff val="2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rPr>
              <a:t>03</a:t>
            </a:r>
            <a:endParaRPr kumimoji="0" lang="zh-CN" altLang="en-US" sz="1800" b="1" i="0" u="none" strike="noStrike" kern="1200" cap="none" spc="0" normalizeH="0" baseline="0" noProof="0" dirty="0">
              <a:ln>
                <a:noFill/>
              </a:ln>
              <a:solidFill>
                <a:srgbClr val="000000">
                  <a:lumMod val="75000"/>
                  <a:lumOff val="2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p:txBody>
      </p:sp>
      <p:sp>
        <p:nvSpPr>
          <p:cNvPr id="71" name="gaoding-60">
            <a:extLst>
              <a:ext uri="{FF2B5EF4-FFF2-40B4-BE49-F238E27FC236}">
                <a16:creationId xmlns:a16="http://schemas.microsoft.com/office/drawing/2014/main" id="{8326A3EF-562B-4B19-89E0-7CD607359ABC}"/>
              </a:ext>
            </a:extLst>
          </p:cNvPr>
          <p:cNvSpPr/>
          <p:nvPr/>
        </p:nvSpPr>
        <p:spPr>
          <a:xfrm>
            <a:off x="5205999" y="3673933"/>
            <a:ext cx="481697" cy="48169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800" b="1" i="0" u="none" strike="noStrike" kern="1200" cap="none" spc="0" normalizeH="0" baseline="0" noProof="0" dirty="0">
                <a:ln>
                  <a:noFill/>
                </a:ln>
                <a:solidFill>
                  <a:srgbClr val="000000">
                    <a:lumMod val="75000"/>
                    <a:lumOff val="2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rPr>
              <a:t>04</a:t>
            </a:r>
            <a:endParaRPr kumimoji="0" lang="zh-CN" altLang="en-US" sz="1800" b="1" i="0" u="none" strike="noStrike" kern="1200" cap="none" spc="0" normalizeH="0" baseline="0" noProof="0" dirty="0">
              <a:ln>
                <a:noFill/>
              </a:ln>
              <a:solidFill>
                <a:srgbClr val="000000">
                  <a:lumMod val="75000"/>
                  <a:lumOff val="2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p:txBody>
      </p:sp>
      <p:sp>
        <p:nvSpPr>
          <p:cNvPr id="72" name="gaoding-61">
            <a:extLst>
              <a:ext uri="{FF2B5EF4-FFF2-40B4-BE49-F238E27FC236}">
                <a16:creationId xmlns:a16="http://schemas.microsoft.com/office/drawing/2014/main" id="{A0B0CFAC-ECE3-49BD-B53B-FABD0DB39563}"/>
              </a:ext>
            </a:extLst>
          </p:cNvPr>
          <p:cNvSpPr/>
          <p:nvPr/>
        </p:nvSpPr>
        <p:spPr>
          <a:xfrm>
            <a:off x="5204133" y="4546182"/>
            <a:ext cx="481697" cy="48169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800" b="1" i="0" u="none" strike="noStrike" kern="1200" cap="none" spc="0" normalizeH="0" baseline="0" noProof="0" dirty="0">
                <a:ln>
                  <a:noFill/>
                </a:ln>
                <a:solidFill>
                  <a:srgbClr val="000000">
                    <a:lumMod val="75000"/>
                    <a:lumOff val="2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rPr>
              <a:t>05</a:t>
            </a:r>
            <a:endParaRPr kumimoji="0" lang="zh-CN" altLang="en-US" sz="1800" b="1" i="0" u="none" strike="noStrike" kern="1200" cap="none" spc="0" normalizeH="0" baseline="0" noProof="0" dirty="0">
              <a:ln>
                <a:noFill/>
              </a:ln>
              <a:solidFill>
                <a:srgbClr val="000000">
                  <a:lumMod val="75000"/>
                  <a:lumOff val="2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p:txBody>
      </p:sp>
      <p:sp>
        <p:nvSpPr>
          <p:cNvPr id="73" name="gaoding-62">
            <a:extLst>
              <a:ext uri="{FF2B5EF4-FFF2-40B4-BE49-F238E27FC236}">
                <a16:creationId xmlns:a16="http://schemas.microsoft.com/office/drawing/2014/main" id="{8706DB42-964F-4F65-A272-BBBDAC4197BE}"/>
              </a:ext>
            </a:extLst>
          </p:cNvPr>
          <p:cNvSpPr/>
          <p:nvPr/>
        </p:nvSpPr>
        <p:spPr>
          <a:xfrm>
            <a:off x="5204133" y="5416835"/>
            <a:ext cx="481697" cy="48169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800" b="1" i="0" u="none" strike="noStrike" kern="1200" cap="none" spc="0" normalizeH="0" baseline="0" noProof="0" dirty="0">
                <a:ln>
                  <a:noFill/>
                </a:ln>
                <a:solidFill>
                  <a:srgbClr val="000000">
                    <a:lumMod val="75000"/>
                    <a:lumOff val="2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rPr>
              <a:t>06</a:t>
            </a:r>
            <a:endParaRPr kumimoji="0" lang="zh-CN" altLang="en-US" sz="1800" b="1" i="0" u="none" strike="noStrike" kern="1200" cap="none" spc="0" normalizeH="0" baseline="0" noProof="0" dirty="0">
              <a:ln>
                <a:noFill/>
              </a:ln>
              <a:solidFill>
                <a:srgbClr val="000000">
                  <a:lumMod val="75000"/>
                  <a:lumOff val="2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p:txBody>
      </p:sp>
      <p:sp>
        <p:nvSpPr>
          <p:cNvPr id="79" name="gaoding-63">
            <a:extLst>
              <a:ext uri="{FF2B5EF4-FFF2-40B4-BE49-F238E27FC236}">
                <a16:creationId xmlns:a16="http://schemas.microsoft.com/office/drawing/2014/main" id="{E4035A16-2717-4A4C-A61A-C0D7EDB074EE}"/>
              </a:ext>
            </a:extLst>
          </p:cNvPr>
          <p:cNvSpPr/>
          <p:nvPr/>
        </p:nvSpPr>
        <p:spPr>
          <a:xfrm>
            <a:off x="9086953" y="3673933"/>
            <a:ext cx="481697" cy="48169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800" b="1" i="0" u="none" strike="noStrike" kern="1200" cap="none" spc="0" normalizeH="0" baseline="0" noProof="0" dirty="0">
                <a:ln>
                  <a:noFill/>
                </a:ln>
                <a:solidFill>
                  <a:srgbClr val="000000">
                    <a:lumMod val="75000"/>
                    <a:lumOff val="2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rPr>
              <a:t>07</a:t>
            </a:r>
            <a:endParaRPr kumimoji="0" lang="zh-CN" altLang="en-US" sz="1800" b="1" i="0" u="none" strike="noStrike" kern="1200" cap="none" spc="0" normalizeH="0" baseline="0" noProof="0" dirty="0">
              <a:ln>
                <a:noFill/>
              </a:ln>
              <a:solidFill>
                <a:srgbClr val="000000">
                  <a:lumMod val="75000"/>
                  <a:lumOff val="2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p:txBody>
      </p:sp>
      <p:sp>
        <p:nvSpPr>
          <p:cNvPr id="80" name="gaoding-64">
            <a:extLst>
              <a:ext uri="{FF2B5EF4-FFF2-40B4-BE49-F238E27FC236}">
                <a16:creationId xmlns:a16="http://schemas.microsoft.com/office/drawing/2014/main" id="{3E8FE2E4-C09F-4094-93B5-EED927DC81C1}"/>
              </a:ext>
            </a:extLst>
          </p:cNvPr>
          <p:cNvSpPr/>
          <p:nvPr/>
        </p:nvSpPr>
        <p:spPr>
          <a:xfrm>
            <a:off x="9085087" y="4546182"/>
            <a:ext cx="481697" cy="48169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800" b="1" i="0" u="none" strike="noStrike" kern="1200" cap="none" spc="0" normalizeH="0" baseline="0" noProof="0" dirty="0">
                <a:ln>
                  <a:noFill/>
                </a:ln>
                <a:solidFill>
                  <a:srgbClr val="000000">
                    <a:lumMod val="75000"/>
                    <a:lumOff val="2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rPr>
              <a:t>08</a:t>
            </a:r>
            <a:endParaRPr kumimoji="0" lang="zh-CN" altLang="en-US" sz="1800" b="1" i="0" u="none" strike="noStrike" kern="1200" cap="none" spc="0" normalizeH="0" baseline="0" noProof="0" dirty="0">
              <a:ln>
                <a:noFill/>
              </a:ln>
              <a:solidFill>
                <a:srgbClr val="000000">
                  <a:lumMod val="75000"/>
                  <a:lumOff val="2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p:txBody>
      </p:sp>
      <p:sp>
        <p:nvSpPr>
          <p:cNvPr id="81" name="gaoding-65">
            <a:extLst>
              <a:ext uri="{FF2B5EF4-FFF2-40B4-BE49-F238E27FC236}">
                <a16:creationId xmlns:a16="http://schemas.microsoft.com/office/drawing/2014/main" id="{FA9231D0-B75B-41FC-AA3A-4474E81367CB}"/>
              </a:ext>
            </a:extLst>
          </p:cNvPr>
          <p:cNvSpPr/>
          <p:nvPr/>
        </p:nvSpPr>
        <p:spPr>
          <a:xfrm>
            <a:off x="9085087" y="5416835"/>
            <a:ext cx="481697" cy="48169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800" b="1" i="0" u="none" strike="noStrike" kern="1200" cap="none" spc="0" normalizeH="0" baseline="0" noProof="0" dirty="0">
                <a:ln>
                  <a:noFill/>
                </a:ln>
                <a:solidFill>
                  <a:srgbClr val="000000">
                    <a:lumMod val="75000"/>
                    <a:lumOff val="2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rPr>
              <a:t>09</a:t>
            </a:r>
            <a:endParaRPr kumimoji="0" lang="zh-CN" altLang="en-US" sz="1800" b="1" i="0" u="none" strike="noStrike" kern="1200" cap="none" spc="0" normalizeH="0" baseline="0" noProof="0" dirty="0">
              <a:ln>
                <a:noFill/>
              </a:ln>
              <a:solidFill>
                <a:srgbClr val="000000">
                  <a:lumMod val="75000"/>
                  <a:lumOff val="2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p:txBody>
      </p:sp>
    </p:spTree>
    <p:extLst>
      <p:ext uri="{BB962C8B-B14F-4D97-AF65-F5344CB8AC3E}">
        <p14:creationId xmlns:p14="http://schemas.microsoft.com/office/powerpoint/2010/main" val="1513445067"/>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7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 name="椭圆 85">
            <a:extLst>
              <a:ext uri="{FF2B5EF4-FFF2-40B4-BE49-F238E27FC236}">
                <a16:creationId xmlns:a16="http://schemas.microsoft.com/office/drawing/2014/main" id="{3DEF1CDB-AEB2-43EB-83C2-640EF273D4B5}"/>
              </a:ext>
            </a:extLst>
          </p:cNvPr>
          <p:cNvSpPr/>
          <p:nvPr/>
        </p:nvSpPr>
        <p:spPr>
          <a:xfrm>
            <a:off x="5693400" y="1218520"/>
            <a:ext cx="901702" cy="901702"/>
          </a:xfrm>
          <a:prstGeom prst="ellipse">
            <a:avLst/>
          </a:prstGeom>
          <a:gradFill flip="none" rotWithShape="1">
            <a:gsLst>
              <a:gs pos="3000">
                <a:schemeClr val="accent1"/>
              </a:gs>
              <a:gs pos="100000">
                <a:schemeClr val="accent1">
                  <a:lumMod val="60000"/>
                  <a:lumOff val="40000"/>
                </a:schemeClr>
              </a:gs>
            </a:gsLst>
            <a:lin ang="2700000" scaled="0"/>
            <a:tileRect/>
          </a:gradFill>
          <a:ln>
            <a:noFill/>
          </a:ln>
          <a:effectLst>
            <a:outerShdw blurRad="330200" dist="381000" dir="5400000" sx="90000" sy="90000" algn="t" rotWithShape="0">
              <a:schemeClr val="accent1">
                <a:lumMod val="75000"/>
                <a:alpha val="2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5720" tIns="22860" rIns="45720" bIns="228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3200" b="0" i="0" u="none" strike="noStrike" kern="1200" cap="none" spc="0" normalizeH="0" baseline="0" noProof="0">
              <a:ln>
                <a:noFill/>
              </a:ln>
              <a:solidFill>
                <a:srgbClr val="FFFFFF"/>
              </a:solidFill>
              <a:effectLst/>
              <a:uLnTx/>
              <a:uFillTx/>
              <a:latin typeface="Arial" panose="020F0502020204030204"/>
              <a:ea typeface="微软雅黑"/>
              <a:cs typeface="+mn-cs"/>
            </a:endParaRPr>
          </a:p>
        </p:txBody>
      </p:sp>
      <p:sp>
        <p:nvSpPr>
          <p:cNvPr id="85" name="矩形 84">
            <a:extLst>
              <a:ext uri="{FF2B5EF4-FFF2-40B4-BE49-F238E27FC236}">
                <a16:creationId xmlns:a16="http://schemas.microsoft.com/office/drawing/2014/main" id="{2A933CB9-A0BE-4FFB-BFCB-DDAD3466524E}"/>
              </a:ext>
            </a:extLst>
          </p:cNvPr>
          <p:cNvSpPr/>
          <p:nvPr/>
        </p:nvSpPr>
        <p:spPr>
          <a:xfrm>
            <a:off x="5508115" y="3084597"/>
            <a:ext cx="1272272" cy="30374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Arial" panose="020F0502020204030204"/>
              <a:ea typeface="微软雅黑"/>
              <a:cs typeface="+mn-cs"/>
            </a:endParaRPr>
          </a:p>
        </p:txBody>
      </p:sp>
      <p:sp>
        <p:nvSpPr>
          <p:cNvPr id="74" name="矩形 73">
            <a:extLst>
              <a:ext uri="{FF2B5EF4-FFF2-40B4-BE49-F238E27FC236}">
                <a16:creationId xmlns:a16="http://schemas.microsoft.com/office/drawing/2014/main" id="{6FE4737A-ECD2-43E9-83BF-A0C114BF9B14}"/>
              </a:ext>
            </a:extLst>
          </p:cNvPr>
          <p:cNvSpPr/>
          <p:nvPr/>
        </p:nvSpPr>
        <p:spPr>
          <a:xfrm>
            <a:off x="5508115" y="2514972"/>
            <a:ext cx="1272272" cy="30374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Arial" panose="020F0502020204030204"/>
              <a:ea typeface="微软雅黑"/>
              <a:cs typeface="+mn-cs"/>
            </a:endParaRPr>
          </a:p>
        </p:txBody>
      </p:sp>
      <p:sp>
        <p:nvSpPr>
          <p:cNvPr id="49" name="任意多边形: 形状 48">
            <a:extLst>
              <a:ext uri="{FF2B5EF4-FFF2-40B4-BE49-F238E27FC236}">
                <a16:creationId xmlns:a16="http://schemas.microsoft.com/office/drawing/2014/main" id="{F8A7BF7F-005C-4CB4-9DB8-9242C908BE35}"/>
              </a:ext>
            </a:extLst>
          </p:cNvPr>
          <p:cNvSpPr/>
          <p:nvPr/>
        </p:nvSpPr>
        <p:spPr>
          <a:xfrm>
            <a:off x="-124455" y="-67375"/>
            <a:ext cx="12440910" cy="3848676"/>
          </a:xfrm>
          <a:custGeom>
            <a:avLst/>
            <a:gdLst>
              <a:gd name="connsiteX0" fmla="*/ 0 w 12192000"/>
              <a:gd name="connsiteY0" fmla="*/ 0 h 3771675"/>
              <a:gd name="connsiteX1" fmla="*/ 12192000 w 12192000"/>
              <a:gd name="connsiteY1" fmla="*/ 0 h 3771675"/>
              <a:gd name="connsiteX2" fmla="*/ 12192000 w 12192000"/>
              <a:gd name="connsiteY2" fmla="*/ 1273010 h 3771675"/>
              <a:gd name="connsiteX3" fmla="*/ 12044385 w 12192000"/>
              <a:gd name="connsiteY3" fmla="*/ 1461111 h 3771675"/>
              <a:gd name="connsiteX4" fmla="*/ 6096001 w 12192000"/>
              <a:gd name="connsiteY4" fmla="*/ 3771675 h 3771675"/>
              <a:gd name="connsiteX5" fmla="*/ 147617 w 12192000"/>
              <a:gd name="connsiteY5" fmla="*/ 1461111 h 3771675"/>
              <a:gd name="connsiteX6" fmla="*/ 0 w 12192000"/>
              <a:gd name="connsiteY6" fmla="*/ 1273008 h 3771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3771675">
                <a:moveTo>
                  <a:pt x="0" y="0"/>
                </a:moveTo>
                <a:lnTo>
                  <a:pt x="12192000" y="0"/>
                </a:lnTo>
                <a:lnTo>
                  <a:pt x="12192000" y="1273010"/>
                </a:lnTo>
                <a:lnTo>
                  <a:pt x="12044385" y="1461111"/>
                </a:lnTo>
                <a:cubicBezTo>
                  <a:pt x="10898827" y="2837387"/>
                  <a:pt x="8664592" y="3771675"/>
                  <a:pt x="6096001" y="3771675"/>
                </a:cubicBezTo>
                <a:cubicBezTo>
                  <a:pt x="3527410" y="3771675"/>
                  <a:pt x="1293175" y="2837387"/>
                  <a:pt x="147617" y="1461111"/>
                </a:cubicBezTo>
                <a:lnTo>
                  <a:pt x="0" y="1273008"/>
                </a:lnTo>
                <a:close/>
              </a:path>
            </a:pathLst>
          </a:cu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Arial" panose="020F0502020204030204"/>
              <a:ea typeface="微软雅黑"/>
              <a:cs typeface="+mn-cs"/>
            </a:endParaRPr>
          </a:p>
        </p:txBody>
      </p:sp>
      <p:sp>
        <p:nvSpPr>
          <p:cNvPr id="1025" name="Object 1025"/>
          <p:cNvSpPr txBox="1"/>
          <p:nvPr/>
        </p:nvSpPr>
        <p:spPr>
          <a:xfrm>
            <a:off x="3744827" y="516834"/>
            <a:ext cx="4702346" cy="523220"/>
          </a:xfrm>
          <a:prstGeom prst="rect">
            <a:avLst/>
          </a:prstGeom>
        </p:spPr>
        <p:txBody>
          <a:bodyPr vert="horz" rtlCol="0" anchor="t"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2800" b="1" i="0" u="none" strike="noStrike" kern="1200" cap="none" spc="0" normalizeH="0" baseline="0" noProof="0" dirty="0">
                <a:ln>
                  <a:noFill/>
                </a:ln>
                <a:solidFill>
                  <a:srgbClr val="000000">
                    <a:lumMod val="85000"/>
                    <a:lumOff val="15000"/>
                  </a:srgbClr>
                </a:solidFill>
                <a:effectLst/>
                <a:uLnTx/>
                <a:uFillTx/>
                <a:latin typeface="OPPOSans B" panose="00020600040101010101" pitchFamily="18" charset="-122"/>
                <a:ea typeface="OPPOSans B" panose="00020600040101010101" pitchFamily="18" charset="-122"/>
                <a:cs typeface="OPPOSans B" panose="00020600040101010101" pitchFamily="18" charset="-122"/>
              </a:rPr>
              <a:t>组织架构模板</a:t>
            </a:r>
          </a:p>
        </p:txBody>
      </p:sp>
      <p:sp>
        <p:nvSpPr>
          <p:cNvPr id="1026" name="Object 1026"/>
          <p:cNvSpPr txBox="1"/>
          <p:nvPr/>
        </p:nvSpPr>
        <p:spPr>
          <a:xfrm>
            <a:off x="5541381" y="1460564"/>
            <a:ext cx="1205740" cy="417615"/>
          </a:xfrm>
          <a:prstGeom prst="rect">
            <a:avLst/>
          </a:prstGeom>
        </p:spPr>
        <p:txBody>
          <a:bodyPr vert="horz" rtlCol="0" anchor="t" anchorCtr="0">
            <a:spAutoFit/>
          </a:bodyPr>
          <a:lstStyle/>
          <a:p>
            <a:pPr marL="0" marR="0" lvl="0" indent="0" algn="ctr" defTabSz="914400" rtl="0" eaLnBrk="1" fontAlgn="auto" latinLnBrk="0" hangingPunct="1">
              <a:lnSpc>
                <a:spcPct val="92500"/>
              </a:lnSpc>
              <a:spcBef>
                <a:spcPts val="0"/>
              </a:spcBef>
              <a:spcAft>
                <a:spcPts val="0"/>
              </a:spcAft>
              <a:buClrTx/>
              <a:buSzTx/>
              <a:buFontTx/>
              <a:buNone/>
              <a:tabLst/>
              <a:defRPr/>
            </a:pPr>
            <a:r>
              <a:rPr kumimoji="0" lang="zh-CN" altLang="en-US" sz="2250" b="0" i="0" u="none" strike="noStrike" kern="1200" cap="none" spc="0" normalizeH="0" baseline="0" noProof="0" dirty="0">
                <a:ln>
                  <a:noFill/>
                </a:ln>
                <a:solidFill>
                  <a:srgbClr val="FFFFFF"/>
                </a:solidFill>
                <a:effectLst/>
                <a:uLnTx/>
                <a:uFillTx/>
                <a:latin typeface="OPPOSans R" panose="00020600040101010101" pitchFamily="18" charset="-122"/>
                <a:ea typeface="OPPOSans R" panose="00020600040101010101" pitchFamily="18" charset="-122"/>
                <a:cs typeface="OPPOSans R" panose="00020600040101010101" pitchFamily="18" charset="-122"/>
              </a:rPr>
              <a:t>董事会</a:t>
            </a:r>
            <a:endParaRPr kumimoji="0" lang="zh-CN" altLang="en-US" sz="900" b="0" i="0" u="none" strike="noStrike" kern="1200" cap="none" spc="0" normalizeH="0" baseline="0" noProof="0" dirty="0">
              <a:ln>
                <a:noFill/>
              </a:ln>
              <a:solidFill>
                <a:srgbClr val="000000"/>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p:txBody>
      </p:sp>
      <p:sp>
        <p:nvSpPr>
          <p:cNvPr id="1027" name="Object 1027"/>
          <p:cNvSpPr txBox="1"/>
          <p:nvPr/>
        </p:nvSpPr>
        <p:spPr>
          <a:xfrm>
            <a:off x="3226930" y="2524497"/>
            <a:ext cx="1225550" cy="361637"/>
          </a:xfrm>
          <a:prstGeom prst="rect">
            <a:avLst/>
          </a:prstGeom>
        </p:spPr>
        <p:txBody>
          <a:bodyPr vert="horz" rtlCol="0" anchor="t"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zh-CN" altLang="en-US" sz="1750" b="0" i="0" u="none" strike="noStrike" kern="1200" cap="none" spc="0" normalizeH="0" baseline="0" noProof="0" dirty="0">
                <a:ln>
                  <a:noFill/>
                </a:ln>
                <a:solidFill>
                  <a:srgbClr val="333333"/>
                </a:solidFill>
                <a:effectLst/>
                <a:uLnTx/>
                <a:uFillTx/>
                <a:latin typeface="OPPOSans R" panose="00020600040101010101" pitchFamily="18" charset="-122"/>
                <a:ea typeface="OPPOSans R" panose="00020600040101010101" pitchFamily="18" charset="-122"/>
                <a:cs typeface="OPPOSans R" panose="00020600040101010101" pitchFamily="18" charset="-122"/>
              </a:rPr>
              <a:t>总裁办</a:t>
            </a:r>
            <a:endParaRPr kumimoji="0" lang="zh-CN" altLang="en-US" sz="900" b="0" i="0" u="none" strike="noStrike" kern="1200" cap="none" spc="0" normalizeH="0" baseline="0" noProof="0">
              <a:ln>
                <a:noFill/>
              </a:ln>
              <a:solidFill>
                <a:srgbClr val="000000"/>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p:txBody>
      </p:sp>
      <p:sp>
        <p:nvSpPr>
          <p:cNvPr id="1028" name="Object 1028"/>
          <p:cNvSpPr txBox="1"/>
          <p:nvPr/>
        </p:nvSpPr>
        <p:spPr>
          <a:xfrm>
            <a:off x="858564" y="2870200"/>
            <a:ext cx="1534071" cy="544765"/>
          </a:xfrm>
          <a:prstGeom prst="rect">
            <a:avLst/>
          </a:prstGeom>
        </p:spPr>
        <p:txBody>
          <a:bodyPr vert="horz" rtlCol="0" anchor="t" anchorCtr="0">
            <a:spAutoFit/>
          </a:bodyPr>
          <a:lstStyle/>
          <a:p>
            <a:pPr marL="0" marR="0" lvl="0" indent="0" algn="ctr" defTabSz="914400" rtl="0" eaLnBrk="1" fontAlgn="auto" latinLnBrk="0" hangingPunct="1">
              <a:lnSpc>
                <a:spcPct val="97500"/>
              </a:lnSpc>
              <a:spcBef>
                <a:spcPts val="0"/>
              </a:spcBef>
              <a:spcAft>
                <a:spcPts val="0"/>
              </a:spcAft>
              <a:buClrTx/>
              <a:buSzTx/>
              <a:buFontTx/>
              <a:buNone/>
              <a:tabLst/>
              <a:defRPr/>
            </a:pPr>
            <a:r>
              <a:rPr kumimoji="0" lang="zh-CN" altLang="en-US" sz="1500" b="0" i="0" u="none" strike="noStrike" kern="1200" cap="none" spc="0" normalizeH="0" baseline="0" noProof="0" dirty="0">
                <a:ln>
                  <a:noFill/>
                </a:ln>
                <a:solidFill>
                  <a:srgbClr val="333333"/>
                </a:solidFill>
                <a:effectLst/>
                <a:uLnTx/>
                <a:uFillTx/>
                <a:latin typeface="OPPOSans R" panose="00020600040101010101" pitchFamily="18" charset="-122"/>
                <a:ea typeface="OPPOSans R" panose="00020600040101010101" pitchFamily="18" charset="-122"/>
                <a:cs typeface="OPPOSans R" panose="00020600040101010101" pitchFamily="18" charset="-122"/>
              </a:rPr>
              <a:t>仓储物流</a:t>
            </a:r>
            <a:endParaRPr kumimoji="0" lang="zh-CN" altLang="en-US" sz="1500" b="0" i="0" u="none" strike="noStrike" kern="1200" cap="none" spc="0" normalizeH="0" baseline="0" noProof="0">
              <a:ln>
                <a:noFill/>
              </a:ln>
              <a:solidFill>
                <a:srgbClr val="000000"/>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a:p>
            <a:pPr marL="0" marR="0" lvl="0" indent="0" algn="ctr" defTabSz="914400" rtl="0" eaLnBrk="1" fontAlgn="auto" latinLnBrk="0" hangingPunct="1">
              <a:lnSpc>
                <a:spcPct val="97500"/>
              </a:lnSpc>
              <a:spcBef>
                <a:spcPts val="0"/>
              </a:spcBef>
              <a:spcAft>
                <a:spcPts val="0"/>
              </a:spcAft>
              <a:buClrTx/>
              <a:buSzTx/>
              <a:buFontTx/>
              <a:buNone/>
              <a:tabLst/>
              <a:defRPr/>
            </a:pPr>
            <a:r>
              <a:rPr kumimoji="0" lang="zh-CN" altLang="en-US" sz="1500" b="0" i="0" u="none" strike="noStrike" kern="1200" cap="none" spc="0" normalizeH="0" baseline="0" noProof="0" dirty="0">
                <a:ln>
                  <a:noFill/>
                </a:ln>
                <a:solidFill>
                  <a:srgbClr val="333333"/>
                </a:solidFill>
                <a:effectLst/>
                <a:uLnTx/>
                <a:uFillTx/>
                <a:latin typeface="OPPOSans R" panose="00020600040101010101" pitchFamily="18" charset="-122"/>
                <a:ea typeface="OPPOSans R" panose="00020600040101010101" pitchFamily="18" charset="-122"/>
                <a:cs typeface="OPPOSans R" panose="00020600040101010101" pitchFamily="18" charset="-122"/>
              </a:rPr>
              <a:t>中心</a:t>
            </a:r>
            <a:endParaRPr kumimoji="0" lang="zh-CN" altLang="en-US" sz="900" b="0" i="0" u="none" strike="noStrike" kern="1200" cap="none" spc="0" normalizeH="0" baseline="0" noProof="0">
              <a:ln>
                <a:noFill/>
              </a:ln>
              <a:solidFill>
                <a:srgbClr val="000000"/>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p:txBody>
      </p:sp>
      <p:sp>
        <p:nvSpPr>
          <p:cNvPr id="1029" name="Object 1029"/>
          <p:cNvSpPr txBox="1"/>
          <p:nvPr/>
        </p:nvSpPr>
        <p:spPr>
          <a:xfrm>
            <a:off x="1146802" y="4102100"/>
            <a:ext cx="957595" cy="536494"/>
          </a:xfrm>
          <a:prstGeom prst="rect">
            <a:avLst/>
          </a:prstGeom>
        </p:spPr>
        <p:txBody>
          <a:bodyPr vert="horz" rtlCol="0" anchor="t" anchorCtr="0">
            <a:spAutoFit/>
          </a:bodyPr>
          <a:lstStyle/>
          <a:p>
            <a:pPr marL="0" marR="0" lvl="0" indent="0" algn="ctr" defTabSz="914400" rtl="0" eaLnBrk="1" fontAlgn="auto" latinLnBrk="0" hangingPunct="1">
              <a:lnSpc>
                <a:spcPct val="104166"/>
              </a:lnSpc>
              <a:spcBef>
                <a:spcPts val="0"/>
              </a:spcBef>
              <a:spcAft>
                <a:spcPts val="0"/>
              </a:spcAft>
              <a:buClrTx/>
              <a:buSzTx/>
              <a:buFontTx/>
              <a:buNone/>
              <a:tabLst/>
              <a:defRPr/>
            </a:pPr>
            <a:r>
              <a:rPr kumimoji="0" lang="zh-CN" altLang="en-US" sz="1400" b="0" i="0" u="none" strike="noStrike" kern="1200" cap="none" spc="0" normalizeH="0" baseline="0" noProof="0" dirty="0">
                <a:ln>
                  <a:noFill/>
                </a:ln>
                <a:solidFill>
                  <a:srgbClr val="333333"/>
                </a:solidFill>
                <a:effectLst/>
                <a:uLnTx/>
                <a:uFillTx/>
                <a:latin typeface="OPPOSans R" panose="00020600040101010101" pitchFamily="18" charset="-122"/>
                <a:ea typeface="OPPOSans R" panose="00020600040101010101" pitchFamily="18" charset="-122"/>
                <a:cs typeface="OPPOSans R" panose="00020600040101010101" pitchFamily="18" charset="-122"/>
              </a:rPr>
              <a:t>物流部</a:t>
            </a:r>
            <a:endParaRPr kumimoji="0" lang="zh-CN" altLang="en-US" sz="1400" b="0" i="0" u="none" strike="noStrike" kern="1200" cap="none" spc="0" normalizeH="0" baseline="0" noProof="0">
              <a:ln>
                <a:noFill/>
              </a:ln>
              <a:solidFill>
                <a:srgbClr val="000000"/>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a:p>
            <a:pPr marL="0" marR="0" lvl="0" indent="0" algn="ctr" defTabSz="914400" rtl="0" eaLnBrk="1" fontAlgn="auto" latinLnBrk="0" hangingPunct="1">
              <a:lnSpc>
                <a:spcPct val="104166"/>
              </a:lnSpc>
              <a:spcBef>
                <a:spcPts val="0"/>
              </a:spcBef>
              <a:spcAft>
                <a:spcPts val="0"/>
              </a:spcAft>
              <a:buClrTx/>
              <a:buSzTx/>
              <a:buFontTx/>
              <a:buNone/>
              <a:tabLst/>
              <a:defRPr/>
            </a:pPr>
            <a:r>
              <a:rPr kumimoji="0" lang="zh-CN" altLang="en-US" sz="1400" b="0" i="0" u="none" strike="noStrike" kern="1200" cap="none" spc="0" normalizeH="0" baseline="0" noProof="0" dirty="0">
                <a:ln>
                  <a:noFill/>
                </a:ln>
                <a:solidFill>
                  <a:srgbClr val="333333"/>
                </a:solidFill>
                <a:effectLst/>
                <a:uLnTx/>
                <a:uFillTx/>
                <a:latin typeface="OPPOSans R" panose="00020600040101010101" pitchFamily="18" charset="-122"/>
                <a:ea typeface="OPPOSans R" panose="00020600040101010101" pitchFamily="18" charset="-122"/>
                <a:cs typeface="OPPOSans R" panose="00020600040101010101" pitchFamily="18" charset="-122"/>
              </a:rPr>
              <a:t>仓储部</a:t>
            </a:r>
            <a:endParaRPr kumimoji="0" lang="zh-CN" altLang="en-US" sz="900" b="0" i="0" u="none" strike="noStrike" kern="1200" cap="none" spc="0" normalizeH="0" baseline="0" noProof="0">
              <a:ln>
                <a:noFill/>
              </a:ln>
              <a:solidFill>
                <a:srgbClr val="000000"/>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p:txBody>
      </p:sp>
      <p:sp>
        <p:nvSpPr>
          <p:cNvPr id="1030" name="Object 1030"/>
          <p:cNvSpPr txBox="1"/>
          <p:nvPr/>
        </p:nvSpPr>
        <p:spPr>
          <a:xfrm>
            <a:off x="10001710" y="4102100"/>
            <a:ext cx="1230979" cy="984565"/>
          </a:xfrm>
          <a:prstGeom prst="rect">
            <a:avLst/>
          </a:prstGeom>
        </p:spPr>
        <p:txBody>
          <a:bodyPr vert="horz" rtlCol="0" anchor="t" anchorCtr="0">
            <a:spAutoFit/>
          </a:bodyPr>
          <a:lstStyle/>
          <a:p>
            <a:pPr marL="0" marR="0" lvl="0" indent="0" algn="ctr" defTabSz="914400" rtl="0" eaLnBrk="1" fontAlgn="auto" latinLnBrk="0" hangingPunct="1">
              <a:lnSpc>
                <a:spcPct val="104166"/>
              </a:lnSpc>
              <a:spcBef>
                <a:spcPts val="0"/>
              </a:spcBef>
              <a:spcAft>
                <a:spcPts val="0"/>
              </a:spcAft>
              <a:buClrTx/>
              <a:buSzTx/>
              <a:buFontTx/>
              <a:buNone/>
              <a:tabLst/>
              <a:defRPr/>
            </a:pPr>
            <a:r>
              <a:rPr kumimoji="0" lang="zh-CN" altLang="en-US" sz="1400" b="0" i="0" u="none" strike="noStrike" kern="1200" cap="none" spc="0" normalizeH="0" baseline="0" noProof="0" dirty="0">
                <a:ln>
                  <a:noFill/>
                </a:ln>
                <a:solidFill>
                  <a:srgbClr val="333333"/>
                </a:solidFill>
                <a:effectLst/>
                <a:uLnTx/>
                <a:uFillTx/>
                <a:latin typeface="OPPOSans R" panose="00020600040101010101" pitchFamily="18" charset="-122"/>
                <a:ea typeface="OPPOSans R" panose="00020600040101010101" pitchFamily="18" charset="-122"/>
                <a:cs typeface="OPPOSans R" panose="00020600040101010101" pitchFamily="18" charset="-122"/>
              </a:rPr>
              <a:t>饲料公司</a:t>
            </a:r>
            <a:endParaRPr kumimoji="0" lang="zh-CN" altLang="en-US" sz="1400" b="0" i="0" u="none" strike="noStrike" kern="1200" cap="none" spc="0" normalizeH="0" baseline="0" noProof="0">
              <a:ln>
                <a:noFill/>
              </a:ln>
              <a:solidFill>
                <a:srgbClr val="000000"/>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a:p>
            <a:pPr marL="0" marR="0" lvl="0" indent="0" algn="ctr" defTabSz="914400" rtl="0" eaLnBrk="1" fontAlgn="auto" latinLnBrk="0" hangingPunct="1">
              <a:lnSpc>
                <a:spcPct val="104166"/>
              </a:lnSpc>
              <a:spcBef>
                <a:spcPts val="0"/>
              </a:spcBef>
              <a:spcAft>
                <a:spcPts val="0"/>
              </a:spcAft>
              <a:buClrTx/>
              <a:buSzTx/>
              <a:buFontTx/>
              <a:buNone/>
              <a:tabLst/>
              <a:defRPr/>
            </a:pPr>
            <a:r>
              <a:rPr kumimoji="0" lang="zh-CN" altLang="en-US" sz="1400" b="0" i="0" u="none" strike="noStrike" kern="1200" cap="none" spc="0" normalizeH="0" baseline="0" noProof="0" dirty="0">
                <a:ln>
                  <a:noFill/>
                </a:ln>
                <a:solidFill>
                  <a:srgbClr val="333333"/>
                </a:solidFill>
                <a:effectLst/>
                <a:uLnTx/>
                <a:uFillTx/>
                <a:latin typeface="OPPOSans R" panose="00020600040101010101" pitchFamily="18" charset="-122"/>
                <a:ea typeface="OPPOSans R" panose="00020600040101010101" pitchFamily="18" charset="-122"/>
                <a:cs typeface="OPPOSans R" panose="00020600040101010101" pitchFamily="18" charset="-122"/>
              </a:rPr>
              <a:t>养殖场</a:t>
            </a:r>
            <a:endParaRPr kumimoji="0" lang="zh-CN" altLang="en-US" sz="1400" b="0" i="0" u="none" strike="noStrike" kern="1200" cap="none" spc="0" normalizeH="0" baseline="0" noProof="0">
              <a:ln>
                <a:noFill/>
              </a:ln>
              <a:solidFill>
                <a:srgbClr val="000000"/>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a:p>
            <a:pPr marL="0" marR="0" lvl="0" indent="0" algn="ctr" defTabSz="914400" rtl="0" eaLnBrk="1" fontAlgn="auto" latinLnBrk="0" hangingPunct="1">
              <a:lnSpc>
                <a:spcPct val="104166"/>
              </a:lnSpc>
              <a:spcBef>
                <a:spcPts val="0"/>
              </a:spcBef>
              <a:spcAft>
                <a:spcPts val="0"/>
              </a:spcAft>
              <a:buClrTx/>
              <a:buSzTx/>
              <a:buFontTx/>
              <a:buNone/>
              <a:tabLst/>
              <a:defRPr/>
            </a:pPr>
            <a:r>
              <a:rPr kumimoji="0" lang="zh-CN" altLang="en-US" sz="1400" b="0" i="0" u="none" strike="noStrike" kern="1200" cap="none" spc="0" normalizeH="0" baseline="0" noProof="0" dirty="0">
                <a:ln>
                  <a:noFill/>
                </a:ln>
                <a:solidFill>
                  <a:srgbClr val="333333"/>
                </a:solidFill>
                <a:effectLst/>
                <a:uLnTx/>
                <a:uFillTx/>
                <a:latin typeface="OPPOSans R" panose="00020600040101010101" pitchFamily="18" charset="-122"/>
                <a:ea typeface="OPPOSans R" panose="00020600040101010101" pitchFamily="18" charset="-122"/>
                <a:cs typeface="OPPOSans R" panose="00020600040101010101" pitchFamily="18" charset="-122"/>
              </a:rPr>
              <a:t>食品公司</a:t>
            </a:r>
            <a:endParaRPr kumimoji="0" lang="zh-CN" altLang="en-US" sz="1400" b="0" i="0" u="none" strike="noStrike" kern="1200" cap="none" spc="0" normalizeH="0" baseline="0" noProof="0">
              <a:ln>
                <a:noFill/>
              </a:ln>
              <a:solidFill>
                <a:srgbClr val="000000"/>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a:p>
            <a:pPr marL="0" marR="0" lvl="0" indent="0" algn="ctr" defTabSz="914400" rtl="0" eaLnBrk="1" fontAlgn="auto" latinLnBrk="0" hangingPunct="1">
              <a:lnSpc>
                <a:spcPct val="104166"/>
              </a:lnSpc>
              <a:spcBef>
                <a:spcPts val="0"/>
              </a:spcBef>
              <a:spcAft>
                <a:spcPts val="0"/>
              </a:spcAft>
              <a:buClrTx/>
              <a:buSzTx/>
              <a:buFontTx/>
              <a:buNone/>
              <a:tabLst/>
              <a:defRPr/>
            </a:pPr>
            <a:r>
              <a:rPr kumimoji="0" lang="zh-CN" altLang="en-US" sz="1400" b="0" i="0" u="none" strike="noStrike" kern="1200" cap="none" spc="0" normalizeH="0" baseline="0" noProof="0" dirty="0">
                <a:ln>
                  <a:noFill/>
                </a:ln>
                <a:solidFill>
                  <a:srgbClr val="333333"/>
                </a:solidFill>
                <a:effectLst/>
                <a:uLnTx/>
                <a:uFillTx/>
                <a:latin typeface="OPPOSans R" panose="00020600040101010101" pitchFamily="18" charset="-122"/>
                <a:ea typeface="OPPOSans R" panose="00020600040101010101" pitchFamily="18" charset="-122"/>
                <a:cs typeface="OPPOSans R" panose="00020600040101010101" pitchFamily="18" charset="-122"/>
              </a:rPr>
              <a:t>贸易公司</a:t>
            </a:r>
            <a:endParaRPr kumimoji="0" lang="zh-CN" altLang="en-US" sz="900" b="0" i="0" u="none" strike="noStrike" kern="1200" cap="none" spc="0" normalizeH="0" baseline="0" noProof="0">
              <a:ln>
                <a:noFill/>
              </a:ln>
              <a:solidFill>
                <a:srgbClr val="000000"/>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p:txBody>
      </p:sp>
      <p:sp>
        <p:nvSpPr>
          <p:cNvPr id="1031" name="Object 1031"/>
          <p:cNvSpPr txBox="1"/>
          <p:nvPr/>
        </p:nvSpPr>
        <p:spPr>
          <a:xfrm>
            <a:off x="2305696" y="4775426"/>
            <a:ext cx="1103607" cy="307777"/>
          </a:xfrm>
          <a:prstGeom prst="rect">
            <a:avLst/>
          </a:prstGeom>
        </p:spPr>
        <p:txBody>
          <a:bodyPr vert="horz" rtlCol="0" anchor="t"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400" b="0" i="0" u="none" strike="noStrike" kern="1200" cap="none" spc="0" normalizeH="0" baseline="0" noProof="0" dirty="0">
                <a:ln>
                  <a:noFill/>
                </a:ln>
                <a:solidFill>
                  <a:srgbClr val="333333"/>
                </a:solidFill>
                <a:effectLst/>
                <a:uLnTx/>
                <a:uFillTx/>
                <a:latin typeface="OPPOSans R" panose="00020600040101010101" pitchFamily="18" charset="-122"/>
                <a:ea typeface="OPPOSans R" panose="00020600040101010101" pitchFamily="18" charset="-122"/>
                <a:cs typeface="OPPOSans R" panose="00020600040101010101" pitchFamily="18" charset="-122"/>
              </a:rPr>
              <a:t>研发部</a:t>
            </a:r>
            <a:endParaRPr kumimoji="0" lang="zh-CN" altLang="en-US" sz="900" b="0" i="0" u="none" strike="noStrike" kern="1200" cap="none" spc="0" normalizeH="0" baseline="0" noProof="0">
              <a:ln>
                <a:noFill/>
              </a:ln>
              <a:solidFill>
                <a:srgbClr val="000000"/>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p:txBody>
      </p:sp>
      <p:sp>
        <p:nvSpPr>
          <p:cNvPr id="1032" name="Object 1032"/>
          <p:cNvSpPr txBox="1"/>
          <p:nvPr/>
        </p:nvSpPr>
        <p:spPr>
          <a:xfrm>
            <a:off x="8821105" y="4764265"/>
            <a:ext cx="1141089" cy="760529"/>
          </a:xfrm>
          <a:prstGeom prst="rect">
            <a:avLst/>
          </a:prstGeom>
        </p:spPr>
        <p:txBody>
          <a:bodyPr vert="horz" rtlCol="0" anchor="t" anchorCtr="0">
            <a:spAutoFit/>
          </a:bodyPr>
          <a:lstStyle/>
          <a:p>
            <a:pPr marL="0" marR="0" lvl="0" indent="0" algn="ctr" defTabSz="914400" rtl="0" eaLnBrk="1" fontAlgn="auto" latinLnBrk="0" hangingPunct="1">
              <a:lnSpc>
                <a:spcPct val="104166"/>
              </a:lnSpc>
              <a:spcBef>
                <a:spcPts val="0"/>
              </a:spcBef>
              <a:spcAft>
                <a:spcPts val="0"/>
              </a:spcAft>
              <a:buClrTx/>
              <a:buSzTx/>
              <a:buFontTx/>
              <a:buNone/>
              <a:tabLst/>
              <a:defRPr/>
            </a:pPr>
            <a:r>
              <a:rPr kumimoji="0" lang="zh-CN" altLang="en-US" sz="1400" b="0" i="0" u="none" strike="noStrike" kern="1200" cap="none" spc="0" normalizeH="0" baseline="0" noProof="0" dirty="0">
                <a:ln>
                  <a:noFill/>
                </a:ln>
                <a:solidFill>
                  <a:srgbClr val="333333"/>
                </a:solidFill>
                <a:effectLst/>
                <a:uLnTx/>
                <a:uFillTx/>
                <a:latin typeface="OPPOSans R" panose="00020600040101010101" pitchFamily="18" charset="-122"/>
                <a:ea typeface="OPPOSans R" panose="00020600040101010101" pitchFamily="18" charset="-122"/>
                <a:cs typeface="OPPOSans R" panose="00020600040101010101" pitchFamily="18" charset="-122"/>
              </a:rPr>
              <a:t>财务部</a:t>
            </a:r>
            <a:endParaRPr kumimoji="0" lang="zh-CN" altLang="en-US" sz="1400" b="0" i="0" u="none" strike="noStrike" kern="1200" cap="none" spc="0" normalizeH="0" baseline="0" noProof="0">
              <a:ln>
                <a:noFill/>
              </a:ln>
              <a:solidFill>
                <a:srgbClr val="000000"/>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a:p>
            <a:pPr marL="0" marR="0" lvl="0" indent="0" algn="ctr" defTabSz="914400" rtl="0" eaLnBrk="1" fontAlgn="auto" latinLnBrk="0" hangingPunct="1">
              <a:lnSpc>
                <a:spcPct val="104166"/>
              </a:lnSpc>
              <a:spcBef>
                <a:spcPts val="0"/>
              </a:spcBef>
              <a:spcAft>
                <a:spcPts val="0"/>
              </a:spcAft>
              <a:buClrTx/>
              <a:buSzTx/>
              <a:buFontTx/>
              <a:buNone/>
              <a:tabLst/>
              <a:defRPr/>
            </a:pPr>
            <a:r>
              <a:rPr kumimoji="0" lang="zh-CN" altLang="en-US" sz="1400" b="0" i="0" u="none" strike="noStrike" kern="1200" cap="none" spc="0" normalizeH="0" baseline="0" noProof="0" dirty="0">
                <a:ln>
                  <a:noFill/>
                </a:ln>
                <a:solidFill>
                  <a:srgbClr val="333333"/>
                </a:solidFill>
                <a:effectLst/>
                <a:uLnTx/>
                <a:uFillTx/>
                <a:latin typeface="OPPOSans R" panose="00020600040101010101" pitchFamily="18" charset="-122"/>
                <a:ea typeface="OPPOSans R" panose="00020600040101010101" pitchFamily="18" charset="-122"/>
                <a:cs typeface="OPPOSans R" panose="00020600040101010101" pitchFamily="18" charset="-122"/>
              </a:rPr>
              <a:t>审计部</a:t>
            </a:r>
            <a:endParaRPr kumimoji="0" lang="zh-CN" altLang="en-US" sz="1400" b="0" i="0" u="none" strike="noStrike" kern="1200" cap="none" spc="0" normalizeH="0" baseline="0" noProof="0">
              <a:ln>
                <a:noFill/>
              </a:ln>
              <a:solidFill>
                <a:srgbClr val="000000"/>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a:p>
            <a:pPr marL="0" marR="0" lvl="0" indent="0" algn="ctr" defTabSz="914400" rtl="0" eaLnBrk="1" fontAlgn="auto" latinLnBrk="0" hangingPunct="1">
              <a:lnSpc>
                <a:spcPct val="104166"/>
              </a:lnSpc>
              <a:spcBef>
                <a:spcPts val="0"/>
              </a:spcBef>
              <a:spcAft>
                <a:spcPts val="0"/>
              </a:spcAft>
              <a:buClrTx/>
              <a:buSzTx/>
              <a:buFontTx/>
              <a:buNone/>
              <a:tabLst/>
              <a:defRPr/>
            </a:pPr>
            <a:r>
              <a:rPr kumimoji="0" lang="zh-CN" altLang="en-US" sz="1400" b="0" i="0" u="none" strike="noStrike" kern="1200" cap="none" spc="0" normalizeH="0" baseline="0" noProof="0" dirty="0">
                <a:ln>
                  <a:noFill/>
                </a:ln>
                <a:solidFill>
                  <a:srgbClr val="333333"/>
                </a:solidFill>
                <a:effectLst/>
                <a:uLnTx/>
                <a:uFillTx/>
                <a:latin typeface="OPPOSans R" panose="00020600040101010101" pitchFamily="18" charset="-122"/>
                <a:ea typeface="OPPOSans R" panose="00020600040101010101" pitchFamily="18" charset="-122"/>
                <a:cs typeface="OPPOSans R" panose="00020600040101010101" pitchFamily="18" charset="-122"/>
              </a:rPr>
              <a:t>资金部</a:t>
            </a:r>
            <a:endParaRPr kumimoji="0" lang="zh-CN" altLang="en-US" sz="900" b="0" i="0" u="none" strike="noStrike" kern="1200" cap="none" spc="0" normalizeH="0" baseline="0" noProof="0">
              <a:ln>
                <a:noFill/>
              </a:ln>
              <a:solidFill>
                <a:srgbClr val="000000"/>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p:txBody>
      </p:sp>
      <p:sp>
        <p:nvSpPr>
          <p:cNvPr id="1033" name="Object 1033"/>
          <p:cNvSpPr txBox="1"/>
          <p:nvPr/>
        </p:nvSpPr>
        <p:spPr>
          <a:xfrm>
            <a:off x="3422217" y="5132565"/>
            <a:ext cx="1791564" cy="1208601"/>
          </a:xfrm>
          <a:prstGeom prst="rect">
            <a:avLst/>
          </a:prstGeom>
        </p:spPr>
        <p:txBody>
          <a:bodyPr vert="horz" rtlCol="0" anchor="t" anchorCtr="0">
            <a:spAutoFit/>
          </a:bodyPr>
          <a:lstStyle/>
          <a:p>
            <a:pPr marL="0" marR="0" lvl="0" indent="0" algn="ctr" defTabSz="914400" rtl="0" eaLnBrk="1" fontAlgn="auto" latinLnBrk="0" hangingPunct="1">
              <a:lnSpc>
                <a:spcPct val="104166"/>
              </a:lnSpc>
              <a:spcBef>
                <a:spcPts val="0"/>
              </a:spcBef>
              <a:spcAft>
                <a:spcPts val="0"/>
              </a:spcAft>
              <a:buClrTx/>
              <a:buSzTx/>
              <a:buFontTx/>
              <a:buNone/>
              <a:tabLst/>
              <a:defRPr/>
            </a:pPr>
            <a:r>
              <a:rPr kumimoji="0" lang="zh-CN" altLang="en-US" sz="1400" b="0" i="0" u="none" strike="noStrike" kern="1200" cap="none" spc="0" normalizeH="0" baseline="0" noProof="0" dirty="0">
                <a:ln>
                  <a:noFill/>
                </a:ln>
                <a:solidFill>
                  <a:srgbClr val="333333"/>
                </a:solidFill>
                <a:effectLst/>
                <a:uLnTx/>
                <a:uFillTx/>
                <a:latin typeface="OPPOSans R" panose="00020600040101010101" pitchFamily="18" charset="-122"/>
                <a:ea typeface="OPPOSans R" panose="00020600040101010101" pitchFamily="18" charset="-122"/>
                <a:cs typeface="OPPOSans R" panose="00020600040101010101" pitchFamily="18" charset="-122"/>
              </a:rPr>
              <a:t>市场部</a:t>
            </a:r>
            <a:endParaRPr kumimoji="0" lang="zh-CN" altLang="en-US" sz="1400" b="0" i="0" u="none" strike="noStrike" kern="1200" cap="none" spc="0" normalizeH="0" baseline="0" noProof="0">
              <a:ln>
                <a:noFill/>
              </a:ln>
              <a:solidFill>
                <a:srgbClr val="000000"/>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a:p>
            <a:pPr marL="0" marR="0" lvl="0" indent="0" algn="ctr" defTabSz="914400" rtl="0" eaLnBrk="1" fontAlgn="auto" latinLnBrk="0" hangingPunct="1">
              <a:lnSpc>
                <a:spcPct val="104166"/>
              </a:lnSpc>
              <a:spcBef>
                <a:spcPts val="0"/>
              </a:spcBef>
              <a:spcAft>
                <a:spcPts val="0"/>
              </a:spcAft>
              <a:buClrTx/>
              <a:buSzTx/>
              <a:buFontTx/>
              <a:buNone/>
              <a:tabLst/>
              <a:defRPr/>
            </a:pPr>
            <a:r>
              <a:rPr kumimoji="0" lang="zh-CN" altLang="en-US" sz="1400" b="0" i="0" u="none" strike="noStrike" kern="1200" cap="none" spc="0" normalizeH="0" baseline="0" noProof="0" dirty="0">
                <a:ln>
                  <a:noFill/>
                </a:ln>
                <a:solidFill>
                  <a:srgbClr val="333333"/>
                </a:solidFill>
                <a:effectLst/>
                <a:uLnTx/>
                <a:uFillTx/>
                <a:latin typeface="OPPOSans R" panose="00020600040101010101" pitchFamily="18" charset="-122"/>
                <a:ea typeface="OPPOSans R" panose="00020600040101010101" pitchFamily="18" charset="-122"/>
                <a:cs typeface="OPPOSans R" panose="00020600040101010101" pitchFamily="18" charset="-122"/>
              </a:rPr>
              <a:t>销售部</a:t>
            </a:r>
            <a:endParaRPr kumimoji="0" lang="zh-CN" altLang="en-US" sz="1400" b="0" i="0" u="none" strike="noStrike" kern="1200" cap="none" spc="0" normalizeH="0" baseline="0" noProof="0">
              <a:ln>
                <a:noFill/>
              </a:ln>
              <a:solidFill>
                <a:srgbClr val="000000"/>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a:p>
            <a:pPr marL="0" marR="0" lvl="0" indent="0" algn="ctr" defTabSz="914400" rtl="0" eaLnBrk="1" fontAlgn="auto" latinLnBrk="0" hangingPunct="1">
              <a:lnSpc>
                <a:spcPct val="104166"/>
              </a:lnSpc>
              <a:spcBef>
                <a:spcPts val="0"/>
              </a:spcBef>
              <a:spcAft>
                <a:spcPts val="0"/>
              </a:spcAft>
              <a:buClrTx/>
              <a:buSzTx/>
              <a:buFontTx/>
              <a:buNone/>
              <a:tabLst/>
              <a:defRPr/>
            </a:pPr>
            <a:r>
              <a:rPr kumimoji="0" lang="zh-CN" altLang="en-US" sz="1400" b="0" i="0" u="none" strike="noStrike" kern="1200" cap="none" spc="0" normalizeH="0" baseline="0" noProof="0" dirty="0">
                <a:ln>
                  <a:noFill/>
                </a:ln>
                <a:solidFill>
                  <a:srgbClr val="333333"/>
                </a:solidFill>
                <a:effectLst/>
                <a:uLnTx/>
                <a:uFillTx/>
                <a:latin typeface="OPPOSans R" panose="00020600040101010101" pitchFamily="18" charset="-122"/>
                <a:ea typeface="OPPOSans R" panose="00020600040101010101" pitchFamily="18" charset="-122"/>
                <a:cs typeface="OPPOSans R" panose="00020600040101010101" pitchFamily="18" charset="-122"/>
              </a:rPr>
              <a:t>企划部</a:t>
            </a:r>
            <a:endParaRPr kumimoji="0" lang="zh-CN" altLang="en-US" sz="1400" b="0" i="0" u="none" strike="noStrike" kern="1200" cap="none" spc="0" normalizeH="0" baseline="0" noProof="0">
              <a:ln>
                <a:noFill/>
              </a:ln>
              <a:solidFill>
                <a:srgbClr val="000000"/>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a:p>
            <a:pPr marL="0" marR="0" lvl="0" indent="0" algn="ctr" defTabSz="914400" rtl="0" eaLnBrk="1" fontAlgn="auto" latinLnBrk="0" hangingPunct="1">
              <a:lnSpc>
                <a:spcPct val="104166"/>
              </a:lnSpc>
              <a:spcBef>
                <a:spcPts val="0"/>
              </a:spcBef>
              <a:spcAft>
                <a:spcPts val="0"/>
              </a:spcAft>
              <a:buClrTx/>
              <a:buSzTx/>
              <a:buFontTx/>
              <a:buNone/>
              <a:tabLst/>
              <a:defRPr/>
            </a:pPr>
            <a:r>
              <a:rPr kumimoji="0" lang="zh-CN" altLang="en-US" sz="1400" b="0" i="0" u="none" strike="noStrike" kern="1200" cap="none" spc="0" normalizeH="0" baseline="0" noProof="0" dirty="0">
                <a:ln>
                  <a:noFill/>
                </a:ln>
                <a:solidFill>
                  <a:srgbClr val="333333"/>
                </a:solidFill>
                <a:effectLst/>
                <a:uLnTx/>
                <a:uFillTx/>
                <a:latin typeface="OPPOSans R" panose="00020600040101010101" pitchFamily="18" charset="-122"/>
                <a:ea typeface="OPPOSans R" panose="00020600040101010101" pitchFamily="18" charset="-122"/>
                <a:cs typeface="OPPOSans R" panose="00020600040101010101" pitchFamily="18" charset="-122"/>
              </a:rPr>
              <a:t>信息部</a:t>
            </a:r>
            <a:endParaRPr kumimoji="0" lang="zh-CN" altLang="en-US" sz="1400" b="0" i="0" u="none" strike="noStrike" kern="1200" cap="none" spc="0" normalizeH="0" baseline="0" noProof="0">
              <a:ln>
                <a:noFill/>
              </a:ln>
              <a:solidFill>
                <a:srgbClr val="000000"/>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a:p>
            <a:pPr marL="0" marR="0" lvl="0" indent="0" algn="ctr" defTabSz="914400" rtl="0" eaLnBrk="1" fontAlgn="auto" latinLnBrk="0" hangingPunct="1">
              <a:lnSpc>
                <a:spcPct val="104166"/>
              </a:lnSpc>
              <a:spcBef>
                <a:spcPts val="0"/>
              </a:spcBef>
              <a:spcAft>
                <a:spcPts val="0"/>
              </a:spcAft>
              <a:buClrTx/>
              <a:buSzTx/>
              <a:buFontTx/>
              <a:buNone/>
              <a:tabLst/>
              <a:defRPr/>
            </a:pPr>
            <a:r>
              <a:rPr kumimoji="0" lang="zh-CN" altLang="en-US" sz="1400" b="0" i="0" u="none" strike="noStrike" kern="1200" cap="none" spc="0" normalizeH="0" baseline="0" noProof="0" dirty="0">
                <a:ln>
                  <a:noFill/>
                </a:ln>
                <a:solidFill>
                  <a:srgbClr val="333333"/>
                </a:solidFill>
                <a:effectLst/>
                <a:uLnTx/>
                <a:uFillTx/>
                <a:latin typeface="OPPOSans R" panose="00020600040101010101" pitchFamily="18" charset="-122"/>
                <a:ea typeface="OPPOSans R" panose="00020600040101010101" pitchFamily="18" charset="-122"/>
                <a:cs typeface="OPPOSans R" panose="00020600040101010101" pitchFamily="18" charset="-122"/>
              </a:rPr>
              <a:t>直营连锁开发部</a:t>
            </a:r>
            <a:endParaRPr kumimoji="0" lang="zh-CN" altLang="en-US" sz="900" b="0" i="0" u="none" strike="noStrike" kern="1200" cap="none" spc="0" normalizeH="0" baseline="0" noProof="0">
              <a:ln>
                <a:noFill/>
              </a:ln>
              <a:solidFill>
                <a:srgbClr val="000000"/>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p:txBody>
      </p:sp>
      <p:sp>
        <p:nvSpPr>
          <p:cNvPr id="1034" name="Object 1034"/>
          <p:cNvSpPr txBox="1"/>
          <p:nvPr/>
        </p:nvSpPr>
        <p:spPr>
          <a:xfrm>
            <a:off x="5369780" y="5305425"/>
            <a:ext cx="1439739" cy="1432636"/>
          </a:xfrm>
          <a:prstGeom prst="rect">
            <a:avLst/>
          </a:prstGeom>
        </p:spPr>
        <p:txBody>
          <a:bodyPr vert="horz" rtlCol="0" anchor="t" anchorCtr="0">
            <a:spAutoFit/>
          </a:bodyPr>
          <a:lstStyle/>
          <a:p>
            <a:pPr marL="0" marR="0" lvl="0" indent="0" algn="ctr" defTabSz="914400" rtl="0" eaLnBrk="1" fontAlgn="auto" latinLnBrk="0" hangingPunct="1">
              <a:lnSpc>
                <a:spcPct val="104166"/>
              </a:lnSpc>
              <a:spcBef>
                <a:spcPts val="0"/>
              </a:spcBef>
              <a:spcAft>
                <a:spcPts val="0"/>
              </a:spcAft>
              <a:buClrTx/>
              <a:buSzTx/>
              <a:buFontTx/>
              <a:buNone/>
              <a:tabLst/>
              <a:defRPr/>
            </a:pPr>
            <a:r>
              <a:rPr kumimoji="0" lang="zh-CN" altLang="en-US" sz="1400" b="0" i="0" u="none" strike="noStrike" kern="1200" cap="none" spc="0" normalizeH="0" baseline="0" noProof="0" dirty="0">
                <a:ln>
                  <a:noFill/>
                </a:ln>
                <a:solidFill>
                  <a:srgbClr val="333333"/>
                </a:solidFill>
                <a:effectLst/>
                <a:uLnTx/>
                <a:uFillTx/>
                <a:latin typeface="OPPOSans R" panose="00020600040101010101" pitchFamily="18" charset="-122"/>
                <a:ea typeface="OPPOSans R" panose="00020600040101010101" pitchFamily="18" charset="-122"/>
                <a:cs typeface="OPPOSans R" panose="00020600040101010101" pitchFamily="18" charset="-122"/>
              </a:rPr>
              <a:t>企管部</a:t>
            </a:r>
            <a:endParaRPr kumimoji="0" lang="zh-CN" altLang="en-US" sz="1400" b="0" i="0" u="none" strike="noStrike" kern="1200" cap="none" spc="0" normalizeH="0" baseline="0" noProof="0">
              <a:ln>
                <a:noFill/>
              </a:ln>
              <a:solidFill>
                <a:srgbClr val="000000"/>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a:p>
            <a:pPr marL="0" marR="0" lvl="0" indent="0" algn="ctr" defTabSz="914400" rtl="0" eaLnBrk="1" fontAlgn="auto" latinLnBrk="0" hangingPunct="1">
              <a:lnSpc>
                <a:spcPct val="104166"/>
              </a:lnSpc>
              <a:spcBef>
                <a:spcPts val="0"/>
              </a:spcBef>
              <a:spcAft>
                <a:spcPts val="0"/>
              </a:spcAft>
              <a:buClrTx/>
              <a:buSzTx/>
              <a:buFontTx/>
              <a:buNone/>
              <a:tabLst/>
              <a:defRPr/>
            </a:pPr>
            <a:r>
              <a:rPr kumimoji="0" lang="zh-CN" altLang="en-US" sz="1400" b="0" i="0" u="none" strike="noStrike" kern="1200" cap="none" spc="0" normalizeH="0" baseline="0" noProof="0" dirty="0">
                <a:ln>
                  <a:noFill/>
                </a:ln>
                <a:solidFill>
                  <a:srgbClr val="333333"/>
                </a:solidFill>
                <a:effectLst/>
                <a:uLnTx/>
                <a:uFillTx/>
                <a:latin typeface="OPPOSans R" panose="00020600040101010101" pitchFamily="18" charset="-122"/>
                <a:ea typeface="OPPOSans R" panose="00020600040101010101" pitchFamily="18" charset="-122"/>
                <a:cs typeface="OPPOSans R" panose="00020600040101010101" pitchFamily="18" charset="-122"/>
              </a:rPr>
              <a:t>行政部</a:t>
            </a:r>
            <a:endParaRPr kumimoji="0" lang="zh-CN" altLang="en-US" sz="1400" b="0" i="0" u="none" strike="noStrike" kern="1200" cap="none" spc="0" normalizeH="0" baseline="0" noProof="0">
              <a:ln>
                <a:noFill/>
              </a:ln>
              <a:solidFill>
                <a:srgbClr val="000000"/>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a:p>
            <a:pPr marL="0" marR="0" lvl="0" indent="0" algn="ctr" defTabSz="914400" rtl="0" eaLnBrk="1" fontAlgn="auto" latinLnBrk="0" hangingPunct="1">
              <a:lnSpc>
                <a:spcPct val="104166"/>
              </a:lnSpc>
              <a:spcBef>
                <a:spcPts val="0"/>
              </a:spcBef>
              <a:spcAft>
                <a:spcPts val="0"/>
              </a:spcAft>
              <a:buClrTx/>
              <a:buSzTx/>
              <a:buFontTx/>
              <a:buNone/>
              <a:tabLst/>
              <a:defRPr/>
            </a:pPr>
            <a:r>
              <a:rPr kumimoji="0" lang="zh-CN" altLang="en-US" sz="1400" b="0" i="0" u="none" strike="noStrike" kern="1200" cap="none" spc="0" normalizeH="0" baseline="0" noProof="0" dirty="0">
                <a:ln>
                  <a:noFill/>
                </a:ln>
                <a:solidFill>
                  <a:srgbClr val="333333"/>
                </a:solidFill>
                <a:effectLst/>
                <a:uLnTx/>
                <a:uFillTx/>
                <a:latin typeface="OPPOSans R" panose="00020600040101010101" pitchFamily="18" charset="-122"/>
                <a:ea typeface="OPPOSans R" panose="00020600040101010101" pitchFamily="18" charset="-122"/>
                <a:cs typeface="OPPOSans R" panose="00020600040101010101" pitchFamily="18" charset="-122"/>
              </a:rPr>
              <a:t>人力资源部</a:t>
            </a:r>
            <a:endParaRPr kumimoji="0" lang="zh-CN" altLang="en-US" sz="1400" b="0" i="0" u="none" strike="noStrike" kern="1200" cap="none" spc="0" normalizeH="0" baseline="0" noProof="0">
              <a:ln>
                <a:noFill/>
              </a:ln>
              <a:solidFill>
                <a:srgbClr val="000000"/>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a:p>
            <a:pPr marL="0" marR="0" lvl="0" indent="0" algn="ctr" defTabSz="914400" rtl="0" eaLnBrk="1" fontAlgn="auto" latinLnBrk="0" hangingPunct="1">
              <a:lnSpc>
                <a:spcPct val="104166"/>
              </a:lnSpc>
              <a:spcBef>
                <a:spcPts val="0"/>
              </a:spcBef>
              <a:spcAft>
                <a:spcPts val="0"/>
              </a:spcAft>
              <a:buClrTx/>
              <a:buSzTx/>
              <a:buFontTx/>
              <a:buNone/>
              <a:tabLst/>
              <a:defRPr/>
            </a:pPr>
            <a:r>
              <a:rPr kumimoji="0" lang="zh-CN" altLang="en-US" sz="1400" b="0" i="0" u="none" strike="noStrike" kern="1200" cap="none" spc="0" normalizeH="0" baseline="0" noProof="0" dirty="0">
                <a:ln>
                  <a:noFill/>
                </a:ln>
                <a:solidFill>
                  <a:srgbClr val="333333"/>
                </a:solidFill>
                <a:effectLst/>
                <a:uLnTx/>
                <a:uFillTx/>
                <a:latin typeface="OPPOSans R" panose="00020600040101010101" pitchFamily="18" charset="-122"/>
                <a:ea typeface="OPPOSans R" panose="00020600040101010101" pitchFamily="18" charset="-122"/>
                <a:cs typeface="OPPOSans R" panose="00020600040101010101" pitchFamily="18" charset="-122"/>
              </a:rPr>
              <a:t>规划发展部</a:t>
            </a:r>
            <a:endParaRPr kumimoji="0" lang="zh-CN" altLang="en-US" sz="1400" b="0" i="0" u="none" strike="noStrike" kern="1200" cap="none" spc="0" normalizeH="0" baseline="0" noProof="0">
              <a:ln>
                <a:noFill/>
              </a:ln>
              <a:solidFill>
                <a:srgbClr val="000000"/>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a:p>
            <a:pPr marL="0" marR="0" lvl="0" indent="0" algn="ctr" defTabSz="914400" rtl="0" eaLnBrk="1" fontAlgn="auto" latinLnBrk="0" hangingPunct="1">
              <a:lnSpc>
                <a:spcPct val="104166"/>
              </a:lnSpc>
              <a:spcBef>
                <a:spcPts val="0"/>
              </a:spcBef>
              <a:spcAft>
                <a:spcPts val="0"/>
              </a:spcAft>
              <a:buClrTx/>
              <a:buSzTx/>
              <a:buFontTx/>
              <a:buNone/>
              <a:tabLst/>
              <a:defRPr/>
            </a:pPr>
            <a:r>
              <a:rPr kumimoji="0" lang="zh-CN" altLang="en-US" sz="1400" b="0" i="0" u="none" strike="noStrike" kern="1200" cap="none" spc="0" normalizeH="0" baseline="0" noProof="0" dirty="0">
                <a:ln>
                  <a:noFill/>
                </a:ln>
                <a:solidFill>
                  <a:srgbClr val="333333"/>
                </a:solidFill>
                <a:effectLst/>
                <a:uLnTx/>
                <a:uFillTx/>
                <a:latin typeface="OPPOSans R" panose="00020600040101010101" pitchFamily="18" charset="-122"/>
                <a:ea typeface="OPPOSans R" panose="00020600040101010101" pitchFamily="18" charset="-122"/>
                <a:cs typeface="OPPOSans R" panose="00020600040101010101" pitchFamily="18" charset="-122"/>
              </a:rPr>
              <a:t>网络部</a:t>
            </a:r>
            <a:endParaRPr kumimoji="0" lang="zh-CN" altLang="en-US" sz="1400" b="0" i="0" u="none" strike="noStrike" kern="1200" cap="none" spc="0" normalizeH="0" baseline="0" noProof="0">
              <a:ln>
                <a:noFill/>
              </a:ln>
              <a:solidFill>
                <a:srgbClr val="000000"/>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a:p>
            <a:pPr marL="0" marR="0" lvl="0" indent="0" algn="ctr" defTabSz="914400" rtl="0" eaLnBrk="1" fontAlgn="auto" latinLnBrk="0" hangingPunct="1">
              <a:lnSpc>
                <a:spcPct val="104166"/>
              </a:lnSpc>
              <a:spcBef>
                <a:spcPts val="0"/>
              </a:spcBef>
              <a:spcAft>
                <a:spcPts val="0"/>
              </a:spcAft>
              <a:buClrTx/>
              <a:buSzTx/>
              <a:buFontTx/>
              <a:buNone/>
              <a:tabLst/>
              <a:defRPr/>
            </a:pPr>
            <a:r>
              <a:rPr kumimoji="0" lang="zh-CN" altLang="en-US" sz="1400" b="0" i="0" u="none" strike="noStrike" kern="1200" cap="none" spc="0" normalizeH="0" baseline="0" noProof="0" dirty="0">
                <a:ln>
                  <a:noFill/>
                </a:ln>
                <a:solidFill>
                  <a:srgbClr val="333333"/>
                </a:solidFill>
                <a:effectLst/>
                <a:uLnTx/>
                <a:uFillTx/>
                <a:latin typeface="OPPOSans R" panose="00020600040101010101" pitchFamily="18" charset="-122"/>
                <a:ea typeface="OPPOSans R" panose="00020600040101010101" pitchFamily="18" charset="-122"/>
                <a:cs typeface="OPPOSans R" panose="00020600040101010101" pitchFamily="18" charset="-122"/>
              </a:rPr>
              <a:t>法务部</a:t>
            </a:r>
            <a:endParaRPr kumimoji="0" lang="zh-CN" altLang="en-US" sz="900" b="0" i="0" u="none" strike="noStrike" kern="1200" cap="none" spc="0" normalizeH="0" baseline="0" noProof="0">
              <a:ln>
                <a:noFill/>
              </a:ln>
              <a:solidFill>
                <a:srgbClr val="000000"/>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p:txBody>
      </p:sp>
      <p:sp>
        <p:nvSpPr>
          <p:cNvPr id="1035" name="Object 1035"/>
          <p:cNvSpPr txBox="1"/>
          <p:nvPr/>
        </p:nvSpPr>
        <p:spPr>
          <a:xfrm>
            <a:off x="7342752" y="5132565"/>
            <a:ext cx="1202195" cy="1208601"/>
          </a:xfrm>
          <a:prstGeom prst="rect">
            <a:avLst/>
          </a:prstGeom>
        </p:spPr>
        <p:txBody>
          <a:bodyPr vert="horz" rtlCol="0" anchor="t" anchorCtr="0">
            <a:spAutoFit/>
          </a:bodyPr>
          <a:lstStyle/>
          <a:p>
            <a:pPr marL="0" marR="0" lvl="0" indent="0" algn="ctr" defTabSz="914400" rtl="0" eaLnBrk="1" fontAlgn="auto" latinLnBrk="0" hangingPunct="1">
              <a:lnSpc>
                <a:spcPct val="104166"/>
              </a:lnSpc>
              <a:spcBef>
                <a:spcPts val="0"/>
              </a:spcBef>
              <a:spcAft>
                <a:spcPts val="0"/>
              </a:spcAft>
              <a:buClrTx/>
              <a:buSzTx/>
              <a:buFontTx/>
              <a:buNone/>
              <a:tabLst/>
              <a:defRPr/>
            </a:pPr>
            <a:r>
              <a:rPr kumimoji="0" lang="zh-CN" altLang="en-US" sz="1400" b="0" i="0" u="none" strike="noStrike" kern="1200" cap="none" spc="0" normalizeH="0" baseline="0" noProof="0" dirty="0">
                <a:ln>
                  <a:noFill/>
                </a:ln>
                <a:solidFill>
                  <a:srgbClr val="333333"/>
                </a:solidFill>
                <a:effectLst/>
                <a:uLnTx/>
                <a:uFillTx/>
                <a:latin typeface="OPPOSans R" panose="00020600040101010101" pitchFamily="18" charset="-122"/>
                <a:ea typeface="OPPOSans R" panose="00020600040101010101" pitchFamily="18" charset="-122"/>
                <a:cs typeface="OPPOSans R" panose="00020600040101010101" pitchFamily="18" charset="-122"/>
              </a:rPr>
              <a:t>生产部</a:t>
            </a:r>
            <a:endParaRPr kumimoji="0" lang="zh-CN" altLang="en-US" sz="1400" b="0" i="0" u="none" strike="noStrike" kern="1200" cap="none" spc="0" normalizeH="0" baseline="0" noProof="0">
              <a:ln>
                <a:noFill/>
              </a:ln>
              <a:solidFill>
                <a:srgbClr val="000000"/>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a:p>
            <a:pPr marL="0" marR="0" lvl="0" indent="0" algn="ctr" defTabSz="914400" rtl="0" eaLnBrk="1" fontAlgn="auto" latinLnBrk="0" hangingPunct="1">
              <a:lnSpc>
                <a:spcPct val="104166"/>
              </a:lnSpc>
              <a:spcBef>
                <a:spcPts val="0"/>
              </a:spcBef>
              <a:spcAft>
                <a:spcPts val="0"/>
              </a:spcAft>
              <a:buClrTx/>
              <a:buSzTx/>
              <a:buFontTx/>
              <a:buNone/>
              <a:tabLst/>
              <a:defRPr/>
            </a:pPr>
            <a:r>
              <a:rPr kumimoji="0" lang="zh-CN" altLang="en-US" sz="1400" b="0" i="0" u="none" strike="noStrike" kern="1200" cap="none" spc="0" normalizeH="0" baseline="0" noProof="0" dirty="0">
                <a:ln>
                  <a:noFill/>
                </a:ln>
                <a:solidFill>
                  <a:srgbClr val="333333"/>
                </a:solidFill>
                <a:effectLst/>
                <a:uLnTx/>
                <a:uFillTx/>
                <a:latin typeface="OPPOSans R" panose="00020600040101010101" pitchFamily="18" charset="-122"/>
                <a:ea typeface="OPPOSans R" panose="00020600040101010101" pitchFamily="18" charset="-122"/>
                <a:cs typeface="OPPOSans R" panose="00020600040101010101" pitchFamily="18" charset="-122"/>
              </a:rPr>
              <a:t>采购部</a:t>
            </a:r>
            <a:endParaRPr kumimoji="0" lang="zh-CN" altLang="en-US" sz="1400" b="0" i="0" u="none" strike="noStrike" kern="1200" cap="none" spc="0" normalizeH="0" baseline="0" noProof="0">
              <a:ln>
                <a:noFill/>
              </a:ln>
              <a:solidFill>
                <a:srgbClr val="000000"/>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a:p>
            <a:pPr marL="0" marR="0" lvl="0" indent="0" algn="ctr" defTabSz="914400" rtl="0" eaLnBrk="1" fontAlgn="auto" latinLnBrk="0" hangingPunct="1">
              <a:lnSpc>
                <a:spcPct val="104166"/>
              </a:lnSpc>
              <a:spcBef>
                <a:spcPts val="0"/>
              </a:spcBef>
              <a:spcAft>
                <a:spcPts val="0"/>
              </a:spcAft>
              <a:buClrTx/>
              <a:buSzTx/>
              <a:buFontTx/>
              <a:buNone/>
              <a:tabLst/>
              <a:defRPr/>
            </a:pPr>
            <a:r>
              <a:rPr kumimoji="0" lang="zh-CN" altLang="en-US" sz="1400" b="0" i="0" u="none" strike="noStrike" kern="1200" cap="none" spc="0" normalizeH="0" baseline="0" noProof="0" dirty="0">
                <a:ln>
                  <a:noFill/>
                </a:ln>
                <a:solidFill>
                  <a:srgbClr val="333333"/>
                </a:solidFill>
                <a:effectLst/>
                <a:uLnTx/>
                <a:uFillTx/>
                <a:latin typeface="OPPOSans R" panose="00020600040101010101" pitchFamily="18" charset="-122"/>
                <a:ea typeface="OPPOSans R" panose="00020600040101010101" pitchFamily="18" charset="-122"/>
                <a:cs typeface="OPPOSans R" panose="00020600040101010101" pitchFamily="18" charset="-122"/>
              </a:rPr>
              <a:t>项目部</a:t>
            </a:r>
            <a:endParaRPr kumimoji="0" lang="zh-CN" altLang="en-US" sz="1400" b="0" i="0" u="none" strike="noStrike" kern="1200" cap="none" spc="0" normalizeH="0" baseline="0" noProof="0">
              <a:ln>
                <a:noFill/>
              </a:ln>
              <a:solidFill>
                <a:srgbClr val="000000"/>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a:p>
            <a:pPr marL="0" marR="0" lvl="0" indent="0" algn="ctr" defTabSz="914400" rtl="0" eaLnBrk="1" fontAlgn="auto" latinLnBrk="0" hangingPunct="1">
              <a:lnSpc>
                <a:spcPct val="104166"/>
              </a:lnSpc>
              <a:spcBef>
                <a:spcPts val="0"/>
              </a:spcBef>
              <a:spcAft>
                <a:spcPts val="0"/>
              </a:spcAft>
              <a:buClrTx/>
              <a:buSzTx/>
              <a:buFontTx/>
              <a:buNone/>
              <a:tabLst/>
              <a:defRPr/>
            </a:pPr>
            <a:r>
              <a:rPr kumimoji="0" lang="zh-CN" altLang="en-US" sz="1400" b="0" i="0" u="none" strike="noStrike" kern="1200" cap="none" spc="0" normalizeH="0" baseline="0" noProof="0" dirty="0">
                <a:ln>
                  <a:noFill/>
                </a:ln>
                <a:solidFill>
                  <a:srgbClr val="333333"/>
                </a:solidFill>
                <a:effectLst/>
                <a:uLnTx/>
                <a:uFillTx/>
                <a:latin typeface="OPPOSans R" panose="00020600040101010101" pitchFamily="18" charset="-122"/>
                <a:ea typeface="OPPOSans R" panose="00020600040101010101" pitchFamily="18" charset="-122"/>
                <a:cs typeface="OPPOSans R" panose="00020600040101010101" pitchFamily="18" charset="-122"/>
              </a:rPr>
              <a:t>质量部</a:t>
            </a:r>
            <a:endParaRPr kumimoji="0" lang="zh-CN" altLang="en-US" sz="1400" b="0" i="0" u="none" strike="noStrike" kern="1200" cap="none" spc="0" normalizeH="0" baseline="0" noProof="0">
              <a:ln>
                <a:noFill/>
              </a:ln>
              <a:solidFill>
                <a:srgbClr val="000000"/>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a:p>
            <a:pPr marL="0" marR="0" lvl="0" indent="0" algn="ctr" defTabSz="914400" rtl="0" eaLnBrk="1" fontAlgn="auto" latinLnBrk="0" hangingPunct="1">
              <a:lnSpc>
                <a:spcPct val="104166"/>
              </a:lnSpc>
              <a:spcBef>
                <a:spcPts val="0"/>
              </a:spcBef>
              <a:spcAft>
                <a:spcPts val="0"/>
              </a:spcAft>
              <a:buClrTx/>
              <a:buSzTx/>
              <a:buFontTx/>
              <a:buNone/>
              <a:tabLst/>
              <a:defRPr/>
            </a:pPr>
            <a:r>
              <a:rPr kumimoji="0" lang="zh-CN" altLang="en-US" sz="1400" b="0" i="0" u="none" strike="noStrike" kern="1200" cap="none" spc="0" normalizeH="0" baseline="0" noProof="0" dirty="0">
                <a:ln>
                  <a:noFill/>
                </a:ln>
                <a:solidFill>
                  <a:srgbClr val="333333"/>
                </a:solidFill>
                <a:effectLst/>
                <a:uLnTx/>
                <a:uFillTx/>
                <a:latin typeface="OPPOSans R" panose="00020600040101010101" pitchFamily="18" charset="-122"/>
                <a:ea typeface="OPPOSans R" panose="00020600040101010101" pitchFamily="18" charset="-122"/>
                <a:cs typeface="OPPOSans R" panose="00020600040101010101" pitchFamily="18" charset="-122"/>
              </a:rPr>
              <a:t>检修部</a:t>
            </a:r>
            <a:endParaRPr kumimoji="0" lang="zh-CN" altLang="en-US" sz="900" b="0" i="0" u="none" strike="noStrike" kern="1200" cap="none" spc="0" normalizeH="0" baseline="0" noProof="0">
              <a:ln>
                <a:noFill/>
              </a:ln>
              <a:solidFill>
                <a:srgbClr val="000000"/>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p:txBody>
      </p:sp>
      <p:sp>
        <p:nvSpPr>
          <p:cNvPr id="1036" name="Object 1036"/>
          <p:cNvSpPr txBox="1"/>
          <p:nvPr/>
        </p:nvSpPr>
        <p:spPr>
          <a:xfrm>
            <a:off x="9803487" y="2870200"/>
            <a:ext cx="1627425" cy="544765"/>
          </a:xfrm>
          <a:prstGeom prst="rect">
            <a:avLst/>
          </a:prstGeom>
        </p:spPr>
        <p:txBody>
          <a:bodyPr vert="horz" rtlCol="0" anchor="t" anchorCtr="0">
            <a:spAutoFit/>
          </a:bodyPr>
          <a:lstStyle/>
          <a:p>
            <a:pPr marL="0" marR="0" lvl="0" indent="0" algn="ctr" defTabSz="914400" rtl="0" eaLnBrk="1" fontAlgn="auto" latinLnBrk="0" hangingPunct="1">
              <a:lnSpc>
                <a:spcPct val="97500"/>
              </a:lnSpc>
              <a:spcBef>
                <a:spcPts val="0"/>
              </a:spcBef>
              <a:spcAft>
                <a:spcPts val="0"/>
              </a:spcAft>
              <a:buClrTx/>
              <a:buSzTx/>
              <a:buFontTx/>
              <a:buNone/>
              <a:tabLst/>
              <a:defRPr/>
            </a:pPr>
            <a:r>
              <a:rPr kumimoji="0" lang="zh-CN" altLang="en-US" sz="1500" b="0" i="0" u="none" strike="noStrike" kern="1200" cap="none" spc="0" normalizeH="0" baseline="0" noProof="0" dirty="0">
                <a:ln>
                  <a:noFill/>
                </a:ln>
                <a:solidFill>
                  <a:srgbClr val="333333"/>
                </a:solidFill>
                <a:effectLst/>
                <a:uLnTx/>
                <a:uFillTx/>
                <a:latin typeface="OPPOSans R" panose="00020600040101010101" pitchFamily="18" charset="-122"/>
                <a:ea typeface="OPPOSans R" panose="00020600040101010101" pitchFamily="18" charset="-122"/>
                <a:cs typeface="OPPOSans R" panose="00020600040101010101" pitchFamily="18" charset="-122"/>
              </a:rPr>
              <a:t>集团下属</a:t>
            </a:r>
            <a:endParaRPr kumimoji="0" lang="zh-CN" altLang="en-US" sz="1500" b="0" i="0" u="none" strike="noStrike" kern="1200" cap="none" spc="0" normalizeH="0" baseline="0" noProof="0" dirty="0">
              <a:ln>
                <a:noFill/>
              </a:ln>
              <a:solidFill>
                <a:srgbClr val="000000"/>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a:p>
            <a:pPr marL="0" marR="0" lvl="0" indent="0" algn="ctr" defTabSz="914400" rtl="0" eaLnBrk="1" fontAlgn="auto" latinLnBrk="0" hangingPunct="1">
              <a:lnSpc>
                <a:spcPct val="97500"/>
              </a:lnSpc>
              <a:spcBef>
                <a:spcPts val="0"/>
              </a:spcBef>
              <a:spcAft>
                <a:spcPts val="0"/>
              </a:spcAft>
              <a:buClrTx/>
              <a:buSzTx/>
              <a:buFontTx/>
              <a:buNone/>
              <a:tabLst/>
              <a:defRPr/>
            </a:pPr>
            <a:r>
              <a:rPr kumimoji="0" lang="zh-CN" altLang="en-US" sz="1500" b="0" i="0" u="none" strike="noStrike" kern="1200" cap="none" spc="0" normalizeH="0" baseline="0" noProof="0" dirty="0">
                <a:ln>
                  <a:noFill/>
                </a:ln>
                <a:solidFill>
                  <a:srgbClr val="333333"/>
                </a:solidFill>
                <a:effectLst/>
                <a:uLnTx/>
                <a:uFillTx/>
                <a:latin typeface="OPPOSans R" panose="00020600040101010101" pitchFamily="18" charset="-122"/>
                <a:ea typeface="OPPOSans R" panose="00020600040101010101" pitchFamily="18" charset="-122"/>
                <a:cs typeface="OPPOSans R" panose="00020600040101010101" pitchFamily="18" charset="-122"/>
              </a:rPr>
              <a:t>公司</a:t>
            </a:r>
            <a:endParaRPr kumimoji="0" lang="zh-CN" altLang="en-US" sz="900" b="0" i="0" u="none" strike="noStrike" kern="1200" cap="none" spc="0" normalizeH="0" baseline="0" noProof="0" dirty="0">
              <a:ln>
                <a:noFill/>
              </a:ln>
              <a:solidFill>
                <a:srgbClr val="000000"/>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p:txBody>
      </p:sp>
      <p:sp>
        <p:nvSpPr>
          <p:cNvPr id="1037" name="Object 1037"/>
          <p:cNvSpPr txBox="1"/>
          <p:nvPr/>
        </p:nvSpPr>
        <p:spPr>
          <a:xfrm>
            <a:off x="2042010" y="3511324"/>
            <a:ext cx="1630978" cy="544765"/>
          </a:xfrm>
          <a:prstGeom prst="rect">
            <a:avLst/>
          </a:prstGeom>
        </p:spPr>
        <p:txBody>
          <a:bodyPr vert="horz" rtlCol="0" anchor="t" anchorCtr="0">
            <a:spAutoFit/>
          </a:bodyPr>
          <a:lstStyle/>
          <a:p>
            <a:pPr marL="0" marR="0" lvl="0" indent="0" algn="ctr" defTabSz="914400" rtl="0" eaLnBrk="1" fontAlgn="auto" latinLnBrk="0" hangingPunct="1">
              <a:lnSpc>
                <a:spcPct val="97500"/>
              </a:lnSpc>
              <a:spcBef>
                <a:spcPts val="0"/>
              </a:spcBef>
              <a:spcAft>
                <a:spcPts val="0"/>
              </a:spcAft>
              <a:buClrTx/>
              <a:buSzTx/>
              <a:buFontTx/>
              <a:buNone/>
              <a:tabLst/>
              <a:defRPr/>
            </a:pPr>
            <a:r>
              <a:rPr kumimoji="0" lang="zh-CN" altLang="en-US" sz="1500" b="0" i="0" u="none" strike="noStrike" kern="1200" cap="none" spc="0" normalizeH="0" baseline="0" noProof="0" dirty="0">
                <a:ln>
                  <a:noFill/>
                </a:ln>
                <a:solidFill>
                  <a:srgbClr val="333333"/>
                </a:solidFill>
                <a:effectLst/>
                <a:uLnTx/>
                <a:uFillTx/>
                <a:latin typeface="OPPOSans R" panose="00020600040101010101" pitchFamily="18" charset="-122"/>
                <a:ea typeface="OPPOSans R" panose="00020600040101010101" pitchFamily="18" charset="-122"/>
                <a:cs typeface="OPPOSans R" panose="00020600040101010101" pitchFamily="18" charset="-122"/>
              </a:rPr>
              <a:t>研发管理</a:t>
            </a:r>
            <a:endParaRPr kumimoji="0" lang="zh-CN" altLang="en-US" sz="1500" b="0" i="0" u="none" strike="noStrike" kern="1200" cap="none" spc="0" normalizeH="0" baseline="0" noProof="0">
              <a:ln>
                <a:noFill/>
              </a:ln>
              <a:solidFill>
                <a:srgbClr val="000000"/>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a:p>
            <a:pPr marL="0" marR="0" lvl="0" indent="0" algn="ctr" defTabSz="914400" rtl="0" eaLnBrk="1" fontAlgn="auto" latinLnBrk="0" hangingPunct="1">
              <a:lnSpc>
                <a:spcPct val="97500"/>
              </a:lnSpc>
              <a:spcBef>
                <a:spcPts val="0"/>
              </a:spcBef>
              <a:spcAft>
                <a:spcPts val="0"/>
              </a:spcAft>
              <a:buClrTx/>
              <a:buSzTx/>
              <a:buFontTx/>
              <a:buNone/>
              <a:tabLst/>
              <a:defRPr/>
            </a:pPr>
            <a:r>
              <a:rPr kumimoji="0" lang="zh-CN" altLang="en-US" sz="1500" b="0" i="0" u="none" strike="noStrike" kern="1200" cap="none" spc="0" normalizeH="0" baseline="0" noProof="0" dirty="0">
                <a:ln>
                  <a:noFill/>
                </a:ln>
                <a:solidFill>
                  <a:srgbClr val="333333"/>
                </a:solidFill>
                <a:effectLst/>
                <a:uLnTx/>
                <a:uFillTx/>
                <a:latin typeface="OPPOSans R" panose="00020600040101010101" pitchFamily="18" charset="-122"/>
                <a:ea typeface="OPPOSans R" panose="00020600040101010101" pitchFamily="18" charset="-122"/>
                <a:cs typeface="OPPOSans R" panose="00020600040101010101" pitchFamily="18" charset="-122"/>
              </a:rPr>
              <a:t>中心</a:t>
            </a:r>
            <a:endParaRPr kumimoji="0" lang="zh-CN" altLang="en-US" sz="900" b="0" i="0" u="none" strike="noStrike" kern="1200" cap="none" spc="0" normalizeH="0" baseline="0" noProof="0">
              <a:ln>
                <a:noFill/>
              </a:ln>
              <a:solidFill>
                <a:srgbClr val="000000"/>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p:txBody>
      </p:sp>
      <p:sp>
        <p:nvSpPr>
          <p:cNvPr id="1038" name="Object 1038"/>
          <p:cNvSpPr txBox="1"/>
          <p:nvPr/>
        </p:nvSpPr>
        <p:spPr>
          <a:xfrm>
            <a:off x="3467722" y="3852365"/>
            <a:ext cx="1700555" cy="544765"/>
          </a:xfrm>
          <a:prstGeom prst="rect">
            <a:avLst/>
          </a:prstGeom>
        </p:spPr>
        <p:txBody>
          <a:bodyPr vert="horz" rtlCol="0" anchor="t" anchorCtr="0">
            <a:spAutoFit/>
          </a:bodyPr>
          <a:lstStyle/>
          <a:p>
            <a:pPr marL="0" marR="0" lvl="0" indent="0" algn="ctr" defTabSz="914400" rtl="0" eaLnBrk="1" fontAlgn="auto" latinLnBrk="0" hangingPunct="1">
              <a:lnSpc>
                <a:spcPct val="97500"/>
              </a:lnSpc>
              <a:spcBef>
                <a:spcPts val="0"/>
              </a:spcBef>
              <a:spcAft>
                <a:spcPts val="0"/>
              </a:spcAft>
              <a:buClrTx/>
              <a:buSzTx/>
              <a:buFontTx/>
              <a:buNone/>
              <a:tabLst/>
              <a:defRPr/>
            </a:pPr>
            <a:r>
              <a:rPr kumimoji="0" lang="zh-CN" altLang="en-US" sz="1500" b="0" i="0" u="none" strike="noStrike" kern="1200" cap="none" spc="0" normalizeH="0" baseline="0" noProof="0" dirty="0">
                <a:ln>
                  <a:noFill/>
                </a:ln>
                <a:solidFill>
                  <a:srgbClr val="333333"/>
                </a:solidFill>
                <a:effectLst/>
                <a:uLnTx/>
                <a:uFillTx/>
                <a:latin typeface="OPPOSans R" panose="00020600040101010101" pitchFamily="18" charset="-122"/>
                <a:ea typeface="OPPOSans R" panose="00020600040101010101" pitchFamily="18" charset="-122"/>
                <a:cs typeface="OPPOSans R" panose="00020600040101010101" pitchFamily="18" charset="-122"/>
              </a:rPr>
              <a:t>营销策划</a:t>
            </a:r>
            <a:endParaRPr kumimoji="0" lang="zh-CN" altLang="en-US" sz="1500" b="0" i="0" u="none" strike="noStrike" kern="1200" cap="none" spc="0" normalizeH="0" baseline="0" noProof="0" dirty="0">
              <a:ln>
                <a:noFill/>
              </a:ln>
              <a:solidFill>
                <a:srgbClr val="000000"/>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a:p>
            <a:pPr marL="0" marR="0" lvl="0" indent="0" algn="ctr" defTabSz="914400" rtl="0" eaLnBrk="1" fontAlgn="auto" latinLnBrk="0" hangingPunct="1">
              <a:lnSpc>
                <a:spcPct val="97500"/>
              </a:lnSpc>
              <a:spcBef>
                <a:spcPts val="0"/>
              </a:spcBef>
              <a:spcAft>
                <a:spcPts val="0"/>
              </a:spcAft>
              <a:buClrTx/>
              <a:buSzTx/>
              <a:buFontTx/>
              <a:buNone/>
              <a:tabLst/>
              <a:defRPr/>
            </a:pPr>
            <a:r>
              <a:rPr kumimoji="0" lang="zh-CN" altLang="en-US" sz="1500" b="0" i="0" u="none" strike="noStrike" kern="1200" cap="none" spc="0" normalizeH="0" baseline="0" noProof="0" dirty="0">
                <a:ln>
                  <a:noFill/>
                </a:ln>
                <a:solidFill>
                  <a:srgbClr val="333333"/>
                </a:solidFill>
                <a:effectLst/>
                <a:uLnTx/>
                <a:uFillTx/>
                <a:latin typeface="OPPOSans R" panose="00020600040101010101" pitchFamily="18" charset="-122"/>
                <a:ea typeface="OPPOSans R" panose="00020600040101010101" pitchFamily="18" charset="-122"/>
                <a:cs typeface="OPPOSans R" panose="00020600040101010101" pitchFamily="18" charset="-122"/>
              </a:rPr>
              <a:t>中心</a:t>
            </a:r>
            <a:endParaRPr kumimoji="0" lang="zh-CN" altLang="en-US" sz="900" b="0" i="0" u="none" strike="noStrike" kern="1200" cap="none" spc="0" normalizeH="0" baseline="0" noProof="0" dirty="0">
              <a:ln>
                <a:noFill/>
              </a:ln>
              <a:solidFill>
                <a:srgbClr val="000000"/>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p:txBody>
      </p:sp>
      <p:sp>
        <p:nvSpPr>
          <p:cNvPr id="1039" name="Object 1039"/>
          <p:cNvSpPr txBox="1"/>
          <p:nvPr/>
        </p:nvSpPr>
        <p:spPr>
          <a:xfrm>
            <a:off x="5417963" y="4014552"/>
            <a:ext cx="1362424" cy="544765"/>
          </a:xfrm>
          <a:prstGeom prst="rect">
            <a:avLst/>
          </a:prstGeom>
        </p:spPr>
        <p:txBody>
          <a:bodyPr vert="horz" rtlCol="0" anchor="t" anchorCtr="0">
            <a:spAutoFit/>
          </a:bodyPr>
          <a:lstStyle/>
          <a:p>
            <a:pPr marL="0" marR="0" lvl="0" indent="0" algn="ctr" defTabSz="914400" rtl="0" eaLnBrk="1" fontAlgn="auto" latinLnBrk="0" hangingPunct="1">
              <a:lnSpc>
                <a:spcPct val="97500"/>
              </a:lnSpc>
              <a:spcBef>
                <a:spcPts val="0"/>
              </a:spcBef>
              <a:spcAft>
                <a:spcPts val="0"/>
              </a:spcAft>
              <a:buClrTx/>
              <a:buSzTx/>
              <a:buFontTx/>
              <a:buNone/>
              <a:tabLst/>
              <a:defRPr/>
            </a:pPr>
            <a:r>
              <a:rPr kumimoji="0" lang="zh-CN" altLang="en-US" sz="1500" b="0" i="0" u="none" strike="noStrike" kern="1200" cap="none" spc="0" normalizeH="0" baseline="0" noProof="0" dirty="0">
                <a:ln>
                  <a:noFill/>
                </a:ln>
                <a:solidFill>
                  <a:srgbClr val="333333"/>
                </a:solidFill>
                <a:effectLst/>
                <a:uLnTx/>
                <a:uFillTx/>
                <a:latin typeface="OPPOSans R" panose="00020600040101010101" pitchFamily="18" charset="-122"/>
                <a:ea typeface="OPPOSans R" panose="00020600040101010101" pitchFamily="18" charset="-122"/>
                <a:cs typeface="OPPOSans R" panose="00020600040101010101" pitchFamily="18" charset="-122"/>
              </a:rPr>
              <a:t>企业管理</a:t>
            </a:r>
            <a:endParaRPr kumimoji="0" lang="zh-CN" altLang="en-US" sz="1500" b="0" i="0" u="none" strike="noStrike" kern="1200" cap="none" spc="0" normalizeH="0" baseline="0" noProof="0" dirty="0">
              <a:ln>
                <a:noFill/>
              </a:ln>
              <a:solidFill>
                <a:srgbClr val="000000"/>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a:p>
            <a:pPr marL="0" marR="0" lvl="0" indent="0" algn="ctr" defTabSz="914400" rtl="0" eaLnBrk="1" fontAlgn="auto" latinLnBrk="0" hangingPunct="1">
              <a:lnSpc>
                <a:spcPct val="97500"/>
              </a:lnSpc>
              <a:spcBef>
                <a:spcPts val="0"/>
              </a:spcBef>
              <a:spcAft>
                <a:spcPts val="0"/>
              </a:spcAft>
              <a:buClrTx/>
              <a:buSzTx/>
              <a:buFontTx/>
              <a:buNone/>
              <a:tabLst/>
              <a:defRPr/>
            </a:pPr>
            <a:r>
              <a:rPr kumimoji="0" lang="zh-CN" altLang="en-US" sz="1500" b="0" i="0" u="none" strike="noStrike" kern="1200" cap="none" spc="0" normalizeH="0" baseline="0" noProof="0" dirty="0">
                <a:ln>
                  <a:noFill/>
                </a:ln>
                <a:solidFill>
                  <a:srgbClr val="333333"/>
                </a:solidFill>
                <a:effectLst/>
                <a:uLnTx/>
                <a:uFillTx/>
                <a:latin typeface="OPPOSans R" panose="00020600040101010101" pitchFamily="18" charset="-122"/>
                <a:ea typeface="OPPOSans R" panose="00020600040101010101" pitchFamily="18" charset="-122"/>
                <a:cs typeface="OPPOSans R" panose="00020600040101010101" pitchFamily="18" charset="-122"/>
              </a:rPr>
              <a:t>中心</a:t>
            </a:r>
            <a:endParaRPr kumimoji="0" lang="zh-CN" altLang="en-US" sz="900" b="0" i="0" u="none" strike="noStrike" kern="1200" cap="none" spc="0" normalizeH="0" baseline="0" noProof="0" dirty="0">
              <a:ln>
                <a:noFill/>
              </a:ln>
              <a:solidFill>
                <a:srgbClr val="000000"/>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p:txBody>
      </p:sp>
      <p:sp>
        <p:nvSpPr>
          <p:cNvPr id="1040" name="Object 1040"/>
          <p:cNvSpPr txBox="1"/>
          <p:nvPr/>
        </p:nvSpPr>
        <p:spPr>
          <a:xfrm>
            <a:off x="7102760" y="3764817"/>
            <a:ext cx="1682180" cy="544765"/>
          </a:xfrm>
          <a:prstGeom prst="rect">
            <a:avLst/>
          </a:prstGeom>
        </p:spPr>
        <p:txBody>
          <a:bodyPr vert="horz" rtlCol="0" anchor="t" anchorCtr="0">
            <a:spAutoFit/>
          </a:bodyPr>
          <a:lstStyle/>
          <a:p>
            <a:pPr marL="0" marR="0" lvl="0" indent="0" algn="ctr" defTabSz="914400" rtl="0" eaLnBrk="1" fontAlgn="auto" latinLnBrk="0" hangingPunct="1">
              <a:lnSpc>
                <a:spcPct val="97500"/>
              </a:lnSpc>
              <a:spcBef>
                <a:spcPts val="0"/>
              </a:spcBef>
              <a:spcAft>
                <a:spcPts val="0"/>
              </a:spcAft>
              <a:buClrTx/>
              <a:buSzTx/>
              <a:buFontTx/>
              <a:buNone/>
              <a:tabLst/>
              <a:defRPr/>
            </a:pPr>
            <a:r>
              <a:rPr kumimoji="0" lang="zh-CN" altLang="en-US" sz="1500" b="0" i="0" u="none" strike="noStrike" kern="1200" cap="none" spc="0" normalizeH="0" baseline="0" noProof="0" dirty="0">
                <a:ln>
                  <a:noFill/>
                </a:ln>
                <a:solidFill>
                  <a:srgbClr val="333333"/>
                </a:solidFill>
                <a:effectLst/>
                <a:uLnTx/>
                <a:uFillTx/>
                <a:latin typeface="OPPOSans R" panose="00020600040101010101" pitchFamily="18" charset="-122"/>
                <a:ea typeface="OPPOSans R" panose="00020600040101010101" pitchFamily="18" charset="-122"/>
                <a:cs typeface="OPPOSans R" panose="00020600040101010101" pitchFamily="18" charset="-122"/>
              </a:rPr>
              <a:t>生产管理</a:t>
            </a:r>
            <a:endParaRPr kumimoji="0" lang="zh-CN" altLang="en-US" sz="1500" b="0" i="0" u="none" strike="noStrike" kern="1200" cap="none" spc="0" normalizeH="0" baseline="0" noProof="0" dirty="0">
              <a:ln>
                <a:noFill/>
              </a:ln>
              <a:solidFill>
                <a:srgbClr val="000000"/>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a:p>
            <a:pPr marL="0" marR="0" lvl="0" indent="0" algn="ctr" defTabSz="914400" rtl="0" eaLnBrk="1" fontAlgn="auto" latinLnBrk="0" hangingPunct="1">
              <a:lnSpc>
                <a:spcPct val="97500"/>
              </a:lnSpc>
              <a:spcBef>
                <a:spcPts val="0"/>
              </a:spcBef>
              <a:spcAft>
                <a:spcPts val="0"/>
              </a:spcAft>
              <a:buClrTx/>
              <a:buSzTx/>
              <a:buFontTx/>
              <a:buNone/>
              <a:tabLst/>
              <a:defRPr/>
            </a:pPr>
            <a:r>
              <a:rPr kumimoji="0" lang="zh-CN" altLang="en-US" sz="1500" b="0" i="0" u="none" strike="noStrike" kern="1200" cap="none" spc="0" normalizeH="0" baseline="0" noProof="0" dirty="0">
                <a:ln>
                  <a:noFill/>
                </a:ln>
                <a:solidFill>
                  <a:srgbClr val="333333"/>
                </a:solidFill>
                <a:effectLst/>
                <a:uLnTx/>
                <a:uFillTx/>
                <a:latin typeface="OPPOSans R" panose="00020600040101010101" pitchFamily="18" charset="-122"/>
                <a:ea typeface="OPPOSans R" panose="00020600040101010101" pitchFamily="18" charset="-122"/>
                <a:cs typeface="OPPOSans R" panose="00020600040101010101" pitchFamily="18" charset="-122"/>
              </a:rPr>
              <a:t>中心</a:t>
            </a:r>
            <a:endParaRPr kumimoji="0" lang="zh-CN" altLang="en-US" sz="900" b="0" i="0" u="none" strike="noStrike" kern="1200" cap="none" spc="0" normalizeH="0" baseline="0" noProof="0" dirty="0">
              <a:ln>
                <a:noFill/>
              </a:ln>
              <a:solidFill>
                <a:srgbClr val="000000"/>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p:txBody>
      </p:sp>
      <p:sp>
        <p:nvSpPr>
          <p:cNvPr id="1041" name="Object 1041"/>
          <p:cNvSpPr txBox="1"/>
          <p:nvPr/>
        </p:nvSpPr>
        <p:spPr>
          <a:xfrm>
            <a:off x="8692009" y="3423776"/>
            <a:ext cx="1399281" cy="544765"/>
          </a:xfrm>
          <a:prstGeom prst="rect">
            <a:avLst/>
          </a:prstGeom>
        </p:spPr>
        <p:txBody>
          <a:bodyPr vert="horz" rtlCol="0" anchor="t" anchorCtr="0">
            <a:spAutoFit/>
          </a:bodyPr>
          <a:lstStyle/>
          <a:p>
            <a:pPr marL="0" marR="0" lvl="0" indent="0" algn="ctr" defTabSz="914400" rtl="0" eaLnBrk="1" fontAlgn="auto" latinLnBrk="0" hangingPunct="1">
              <a:lnSpc>
                <a:spcPct val="97500"/>
              </a:lnSpc>
              <a:spcBef>
                <a:spcPts val="0"/>
              </a:spcBef>
              <a:spcAft>
                <a:spcPts val="0"/>
              </a:spcAft>
              <a:buClrTx/>
              <a:buSzTx/>
              <a:buFontTx/>
              <a:buNone/>
              <a:tabLst/>
              <a:defRPr/>
            </a:pPr>
            <a:r>
              <a:rPr kumimoji="0" lang="zh-CN" altLang="en-US" sz="1500" b="0" i="0" u="none" strike="noStrike" kern="1200" cap="none" spc="0" normalizeH="0" baseline="0" noProof="0" dirty="0">
                <a:ln>
                  <a:noFill/>
                </a:ln>
                <a:solidFill>
                  <a:srgbClr val="333333"/>
                </a:solidFill>
                <a:effectLst/>
                <a:uLnTx/>
                <a:uFillTx/>
                <a:latin typeface="OPPOSans R" panose="00020600040101010101" pitchFamily="18" charset="-122"/>
                <a:ea typeface="OPPOSans R" panose="00020600040101010101" pitchFamily="18" charset="-122"/>
                <a:cs typeface="OPPOSans R" panose="00020600040101010101" pitchFamily="18" charset="-122"/>
              </a:rPr>
              <a:t>财务管理</a:t>
            </a:r>
            <a:endParaRPr kumimoji="0" lang="zh-CN" altLang="en-US" sz="1500" b="0" i="0" u="none" strike="noStrike" kern="1200" cap="none" spc="0" normalizeH="0" baseline="0" noProof="0" dirty="0">
              <a:ln>
                <a:noFill/>
              </a:ln>
              <a:solidFill>
                <a:srgbClr val="000000"/>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a:p>
            <a:pPr marL="0" marR="0" lvl="0" indent="0" algn="ctr" defTabSz="914400" rtl="0" eaLnBrk="1" fontAlgn="auto" latinLnBrk="0" hangingPunct="1">
              <a:lnSpc>
                <a:spcPct val="97500"/>
              </a:lnSpc>
              <a:spcBef>
                <a:spcPts val="0"/>
              </a:spcBef>
              <a:spcAft>
                <a:spcPts val="0"/>
              </a:spcAft>
              <a:buClrTx/>
              <a:buSzTx/>
              <a:buFontTx/>
              <a:buNone/>
              <a:tabLst/>
              <a:defRPr/>
            </a:pPr>
            <a:r>
              <a:rPr kumimoji="0" lang="zh-CN" altLang="en-US" sz="1500" b="0" i="0" u="none" strike="noStrike" kern="1200" cap="none" spc="0" normalizeH="0" baseline="0" noProof="0" dirty="0">
                <a:ln>
                  <a:noFill/>
                </a:ln>
                <a:solidFill>
                  <a:srgbClr val="333333"/>
                </a:solidFill>
                <a:effectLst/>
                <a:uLnTx/>
                <a:uFillTx/>
                <a:latin typeface="OPPOSans R" panose="00020600040101010101" pitchFamily="18" charset="-122"/>
                <a:ea typeface="OPPOSans R" panose="00020600040101010101" pitchFamily="18" charset="-122"/>
                <a:cs typeface="OPPOSans R" panose="00020600040101010101" pitchFamily="18" charset="-122"/>
              </a:rPr>
              <a:t>中心</a:t>
            </a:r>
            <a:endParaRPr kumimoji="0" lang="zh-CN" altLang="en-US" sz="900" b="0" i="0" u="none" strike="noStrike" kern="1200" cap="none" spc="0" normalizeH="0" baseline="0" noProof="0" dirty="0">
              <a:ln>
                <a:noFill/>
              </a:ln>
              <a:solidFill>
                <a:srgbClr val="000000"/>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p:txBody>
      </p:sp>
      <p:sp>
        <p:nvSpPr>
          <p:cNvPr id="1042" name="Object 1042"/>
          <p:cNvSpPr txBox="1"/>
          <p:nvPr/>
        </p:nvSpPr>
        <p:spPr>
          <a:xfrm>
            <a:off x="5578797" y="2449708"/>
            <a:ext cx="1130908" cy="385170"/>
          </a:xfrm>
          <a:prstGeom prst="rect">
            <a:avLst/>
          </a:prstGeom>
        </p:spPr>
        <p:txBody>
          <a:bodyPr vert="horz" rtlCol="0" anchor="t" anchorCtr="0">
            <a:spAutoFit/>
          </a:bodyPr>
          <a:lstStyle/>
          <a:p>
            <a:pPr marL="0" marR="0" lvl="0" indent="0" algn="ctr" defTabSz="914400" rtl="0" eaLnBrk="1" fontAlgn="auto" latinLnBrk="0" hangingPunct="1">
              <a:lnSpc>
                <a:spcPct val="149166"/>
              </a:lnSpc>
              <a:spcBef>
                <a:spcPts val="0"/>
              </a:spcBef>
              <a:spcAft>
                <a:spcPts val="0"/>
              </a:spcAft>
              <a:buClrTx/>
              <a:buSzTx/>
              <a:buFontTx/>
              <a:buNone/>
              <a:tabLst/>
              <a:defRPr/>
            </a:pPr>
            <a:r>
              <a:rPr kumimoji="0" lang="zh-CN" altLang="en-US" sz="1400" b="0" i="0" u="none" strike="noStrike" kern="1200" cap="none" spc="0" normalizeH="0" baseline="0" noProof="0" dirty="0">
                <a:ln>
                  <a:noFill/>
                </a:ln>
                <a:solidFill>
                  <a:srgbClr val="FFFFFF"/>
                </a:solidFill>
                <a:effectLst/>
                <a:uLnTx/>
                <a:uFillTx/>
                <a:latin typeface="OPPOSans R" panose="00020600040101010101" pitchFamily="18" charset="-122"/>
                <a:ea typeface="OPPOSans R" panose="00020600040101010101" pitchFamily="18" charset="-122"/>
                <a:cs typeface="OPPOSans R" panose="00020600040101010101" pitchFamily="18" charset="-122"/>
              </a:rPr>
              <a:t>总裁</a:t>
            </a:r>
            <a:endParaRPr kumimoji="0" lang="zh-CN" altLang="en-US" sz="900" b="0" i="0" u="none" strike="noStrike" kern="1200" cap="none" spc="0" normalizeH="0" baseline="0" noProof="0" dirty="0">
              <a:ln>
                <a:noFill/>
              </a:ln>
              <a:solidFill>
                <a:srgbClr val="000000"/>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p:txBody>
      </p:sp>
      <p:sp>
        <p:nvSpPr>
          <p:cNvPr id="1044" name="Object 1044"/>
          <p:cNvSpPr txBox="1"/>
          <p:nvPr/>
        </p:nvSpPr>
        <p:spPr>
          <a:xfrm>
            <a:off x="7461249" y="1474275"/>
            <a:ext cx="965200" cy="397866"/>
          </a:xfrm>
          <a:prstGeom prst="rect">
            <a:avLst/>
          </a:prstGeom>
        </p:spPr>
        <p:txBody>
          <a:bodyPr vert="horz" rtlCol="0" anchor="t" anchorCtr="0">
            <a:spAutoFit/>
          </a:bodyPr>
          <a:lstStyle/>
          <a:p>
            <a:pPr marL="0" marR="0" lvl="0" indent="0" algn="l" defTabSz="914400" rtl="0" eaLnBrk="1" fontAlgn="auto" latinLnBrk="0" hangingPunct="1">
              <a:lnSpc>
                <a:spcPct val="119166"/>
              </a:lnSpc>
              <a:spcBef>
                <a:spcPts val="0"/>
              </a:spcBef>
              <a:spcAft>
                <a:spcPts val="0"/>
              </a:spcAft>
              <a:buClrTx/>
              <a:buSzTx/>
              <a:buFontTx/>
              <a:buNone/>
              <a:tabLst/>
              <a:defRPr/>
            </a:pPr>
            <a:r>
              <a:rPr kumimoji="0" lang="zh-CN" altLang="en-US" sz="1750" b="0" i="0" u="none" strike="noStrike" kern="1200" cap="none" spc="0" normalizeH="0" baseline="0" noProof="0" dirty="0">
                <a:ln>
                  <a:noFill/>
                </a:ln>
                <a:solidFill>
                  <a:srgbClr val="333333"/>
                </a:solidFill>
                <a:effectLst/>
                <a:uLnTx/>
                <a:uFillTx/>
                <a:latin typeface="OPPOSans R" panose="00020600040101010101" pitchFamily="18" charset="-122"/>
                <a:ea typeface="OPPOSans R" panose="00020600040101010101" pitchFamily="18" charset="-122"/>
                <a:cs typeface="OPPOSans R" panose="00020600040101010101" pitchFamily="18" charset="-122"/>
              </a:rPr>
              <a:t>监事会</a:t>
            </a:r>
            <a:endParaRPr kumimoji="0" lang="zh-CN" altLang="en-US" sz="900" b="0" i="0" u="none" strike="noStrike" kern="1200" cap="none" spc="0" normalizeH="0" baseline="0" noProof="0">
              <a:ln>
                <a:noFill/>
              </a:ln>
              <a:solidFill>
                <a:srgbClr val="000000"/>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p:txBody>
      </p:sp>
      <p:sp>
        <p:nvSpPr>
          <p:cNvPr id="75" name="Object 1043">
            <a:extLst>
              <a:ext uri="{FF2B5EF4-FFF2-40B4-BE49-F238E27FC236}">
                <a16:creationId xmlns:a16="http://schemas.microsoft.com/office/drawing/2014/main" id="{2D90F18E-7380-422C-9172-B3ECC31239CA}"/>
              </a:ext>
            </a:extLst>
          </p:cNvPr>
          <p:cNvSpPr txBox="1"/>
          <p:nvPr/>
        </p:nvSpPr>
        <p:spPr>
          <a:xfrm>
            <a:off x="5420339" y="3013074"/>
            <a:ext cx="1447825" cy="385170"/>
          </a:xfrm>
          <a:prstGeom prst="rect">
            <a:avLst/>
          </a:prstGeom>
        </p:spPr>
        <p:txBody>
          <a:bodyPr vert="horz" rtlCol="0" anchor="t" anchorCtr="0">
            <a:spAutoFit/>
          </a:bodyPr>
          <a:lstStyle/>
          <a:p>
            <a:pPr marL="0" marR="0" lvl="0" indent="0" algn="ctr" defTabSz="914400" rtl="0" eaLnBrk="1" fontAlgn="auto" latinLnBrk="0" hangingPunct="1">
              <a:lnSpc>
                <a:spcPct val="149166"/>
              </a:lnSpc>
              <a:spcBef>
                <a:spcPts val="0"/>
              </a:spcBef>
              <a:spcAft>
                <a:spcPts val="0"/>
              </a:spcAft>
              <a:buClrTx/>
              <a:buSzTx/>
              <a:buFontTx/>
              <a:buNone/>
              <a:tabLst/>
              <a:defRPr/>
            </a:pPr>
            <a:r>
              <a:rPr kumimoji="0" lang="zh-CN" altLang="en-US" sz="1400" b="0" i="0" u="none" strike="noStrike" kern="1200" cap="none" spc="0" normalizeH="0" baseline="0" noProof="0" dirty="0">
                <a:ln>
                  <a:noFill/>
                </a:ln>
                <a:solidFill>
                  <a:srgbClr val="FFFFFF"/>
                </a:solidFill>
                <a:effectLst/>
                <a:uLnTx/>
                <a:uFillTx/>
                <a:latin typeface="OPPOSans R" panose="00020600040101010101" pitchFamily="18" charset="-122"/>
                <a:ea typeface="OPPOSans R" panose="00020600040101010101" pitchFamily="18" charset="-122"/>
                <a:cs typeface="OPPOSans R" panose="00020600040101010101" pitchFamily="18" charset="-122"/>
              </a:rPr>
              <a:t>常务副总裁</a:t>
            </a:r>
            <a:endParaRPr kumimoji="0" lang="zh-CN" altLang="en-US" sz="900" b="0" i="0" u="none" strike="noStrike" kern="1200" cap="none" spc="0" normalizeH="0" baseline="0" noProof="0" dirty="0">
              <a:ln>
                <a:noFill/>
              </a:ln>
              <a:solidFill>
                <a:srgbClr val="000000"/>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p:txBody>
      </p:sp>
      <p:cxnSp>
        <p:nvCxnSpPr>
          <p:cNvPr id="7" name="直接箭头连接符 6">
            <a:extLst>
              <a:ext uri="{FF2B5EF4-FFF2-40B4-BE49-F238E27FC236}">
                <a16:creationId xmlns:a16="http://schemas.microsoft.com/office/drawing/2014/main" id="{AD718EB6-38D3-40EF-B0DC-68945D838F2F}"/>
              </a:ext>
            </a:extLst>
          </p:cNvPr>
          <p:cNvCxnSpPr>
            <a:cxnSpLocks/>
          </p:cNvCxnSpPr>
          <p:nvPr/>
        </p:nvCxnSpPr>
        <p:spPr>
          <a:xfrm>
            <a:off x="6144251" y="2203450"/>
            <a:ext cx="0" cy="234950"/>
          </a:xfrm>
          <a:prstGeom prst="straightConnector1">
            <a:avLst/>
          </a:prstGeom>
          <a:ln w="9525">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79" name="直接箭头连接符 78">
            <a:extLst>
              <a:ext uri="{FF2B5EF4-FFF2-40B4-BE49-F238E27FC236}">
                <a16:creationId xmlns:a16="http://schemas.microsoft.com/office/drawing/2014/main" id="{266FBE44-E28E-4F7B-B92B-01BA3D719651}"/>
              </a:ext>
            </a:extLst>
          </p:cNvPr>
          <p:cNvCxnSpPr>
            <a:cxnSpLocks/>
          </p:cNvCxnSpPr>
          <p:nvPr/>
        </p:nvCxnSpPr>
        <p:spPr>
          <a:xfrm>
            <a:off x="6144251" y="2849647"/>
            <a:ext cx="0" cy="234950"/>
          </a:xfrm>
          <a:prstGeom prst="straightConnector1">
            <a:avLst/>
          </a:prstGeom>
          <a:ln w="9525">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81" name="直接箭头连接符 80">
            <a:extLst>
              <a:ext uri="{FF2B5EF4-FFF2-40B4-BE49-F238E27FC236}">
                <a16:creationId xmlns:a16="http://schemas.microsoft.com/office/drawing/2014/main" id="{1205CFB9-1985-4E78-8E77-AFA6FE5EA2E6}"/>
              </a:ext>
            </a:extLst>
          </p:cNvPr>
          <p:cNvCxnSpPr>
            <a:cxnSpLocks/>
          </p:cNvCxnSpPr>
          <p:nvPr/>
        </p:nvCxnSpPr>
        <p:spPr>
          <a:xfrm>
            <a:off x="6667500" y="1669371"/>
            <a:ext cx="355600" cy="0"/>
          </a:xfrm>
          <a:prstGeom prst="straightConnector1">
            <a:avLst/>
          </a:prstGeom>
          <a:ln w="9525">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84" name="直接箭头连接符 83">
            <a:extLst>
              <a:ext uri="{FF2B5EF4-FFF2-40B4-BE49-F238E27FC236}">
                <a16:creationId xmlns:a16="http://schemas.microsoft.com/office/drawing/2014/main" id="{60B8BD78-43E1-49B7-856D-2B8A58760ED9}"/>
              </a:ext>
            </a:extLst>
          </p:cNvPr>
          <p:cNvCxnSpPr>
            <a:cxnSpLocks/>
          </p:cNvCxnSpPr>
          <p:nvPr/>
        </p:nvCxnSpPr>
        <p:spPr>
          <a:xfrm flipH="1">
            <a:off x="4990477" y="2666846"/>
            <a:ext cx="355600" cy="0"/>
          </a:xfrm>
          <a:prstGeom prst="straightConnector1">
            <a:avLst/>
          </a:prstGeom>
          <a:ln w="9525">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87" name="椭圆 86">
            <a:extLst>
              <a:ext uri="{FF2B5EF4-FFF2-40B4-BE49-F238E27FC236}">
                <a16:creationId xmlns:a16="http://schemas.microsoft.com/office/drawing/2014/main" id="{B9ECA1A3-1AA7-49FE-9192-D349B55D9D95}"/>
              </a:ext>
            </a:extLst>
          </p:cNvPr>
          <p:cNvSpPr/>
          <p:nvPr/>
        </p:nvSpPr>
        <p:spPr>
          <a:xfrm>
            <a:off x="7115093" y="1488396"/>
            <a:ext cx="361950" cy="36195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Arial" panose="020F0502020204030204"/>
              <a:ea typeface="微软雅黑"/>
              <a:cs typeface="+mn-cs"/>
            </a:endParaRPr>
          </a:p>
        </p:txBody>
      </p:sp>
      <p:sp>
        <p:nvSpPr>
          <p:cNvPr id="88" name="椭圆 87">
            <a:extLst>
              <a:ext uri="{FF2B5EF4-FFF2-40B4-BE49-F238E27FC236}">
                <a16:creationId xmlns:a16="http://schemas.microsoft.com/office/drawing/2014/main" id="{E8C0FDB5-0C97-4C9F-B8B9-0C1ED56FF8E0}"/>
              </a:ext>
            </a:extLst>
          </p:cNvPr>
          <p:cNvSpPr/>
          <p:nvPr/>
        </p:nvSpPr>
        <p:spPr>
          <a:xfrm>
            <a:off x="4492935" y="2472928"/>
            <a:ext cx="361950" cy="36195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Arial" panose="020F0502020204030204"/>
              <a:ea typeface="微软雅黑"/>
              <a:cs typeface="+mn-cs"/>
            </a:endParaRPr>
          </a:p>
        </p:txBody>
      </p:sp>
      <p:sp>
        <p:nvSpPr>
          <p:cNvPr id="89" name="椭圆 88">
            <a:extLst>
              <a:ext uri="{FF2B5EF4-FFF2-40B4-BE49-F238E27FC236}">
                <a16:creationId xmlns:a16="http://schemas.microsoft.com/office/drawing/2014/main" id="{3059AEA3-619B-43BD-BB04-90C0FC93FD47}"/>
              </a:ext>
            </a:extLst>
          </p:cNvPr>
          <p:cNvSpPr/>
          <p:nvPr/>
        </p:nvSpPr>
        <p:spPr>
          <a:xfrm>
            <a:off x="1444625" y="2480733"/>
            <a:ext cx="361950" cy="361950"/>
          </a:xfrm>
          <a:prstGeom prst="ellipse">
            <a:avLst/>
          </a:prstGeom>
          <a:gradFill flip="none" rotWithShape="1">
            <a:gsLst>
              <a:gs pos="3000">
                <a:schemeClr val="accent1"/>
              </a:gs>
              <a:gs pos="100000">
                <a:schemeClr val="accent1">
                  <a:lumMod val="60000"/>
                  <a:lumOff val="40000"/>
                </a:schemeClr>
              </a:gs>
            </a:gsLst>
            <a:lin ang="2700000" scaled="0"/>
            <a:tileRect/>
          </a:gradFill>
          <a:ln>
            <a:noFill/>
          </a:ln>
          <a:effectLst>
            <a:outerShdw blurRad="330200" dist="381000" dir="5400000" sx="90000" sy="90000" algn="t" rotWithShape="0">
              <a:schemeClr val="accent1">
                <a:lumMod val="75000"/>
                <a:alpha val="2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5720" tIns="22860" rIns="45720" bIns="228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3200" b="0" i="0" u="none" strike="noStrike" kern="1200" cap="none" spc="0" normalizeH="0" baseline="0" noProof="0">
              <a:ln>
                <a:noFill/>
              </a:ln>
              <a:solidFill>
                <a:srgbClr val="FFFFFF"/>
              </a:solidFill>
              <a:effectLst/>
              <a:uLnTx/>
              <a:uFillTx/>
              <a:latin typeface="Arial" panose="020F0502020204030204"/>
              <a:ea typeface="微软雅黑"/>
              <a:cs typeface="+mn-cs"/>
            </a:endParaRPr>
          </a:p>
        </p:txBody>
      </p:sp>
      <p:sp>
        <p:nvSpPr>
          <p:cNvPr id="90" name="椭圆 89">
            <a:extLst>
              <a:ext uri="{FF2B5EF4-FFF2-40B4-BE49-F238E27FC236}">
                <a16:creationId xmlns:a16="http://schemas.microsoft.com/office/drawing/2014/main" id="{1AB5AC3A-13F2-4E28-AD2E-B4AAD4DCDC7F}"/>
              </a:ext>
            </a:extLst>
          </p:cNvPr>
          <p:cNvSpPr/>
          <p:nvPr/>
        </p:nvSpPr>
        <p:spPr>
          <a:xfrm>
            <a:off x="10436224" y="2480733"/>
            <a:ext cx="361950" cy="361950"/>
          </a:xfrm>
          <a:prstGeom prst="ellipse">
            <a:avLst/>
          </a:prstGeom>
          <a:gradFill flip="none" rotWithShape="1">
            <a:gsLst>
              <a:gs pos="3000">
                <a:schemeClr val="accent1"/>
              </a:gs>
              <a:gs pos="100000">
                <a:schemeClr val="accent1">
                  <a:lumMod val="60000"/>
                  <a:lumOff val="40000"/>
                </a:schemeClr>
              </a:gs>
            </a:gsLst>
            <a:lin ang="2700000" scaled="0"/>
            <a:tileRect/>
          </a:gradFill>
          <a:ln>
            <a:noFill/>
          </a:ln>
          <a:effectLst>
            <a:outerShdw blurRad="330200" dist="381000" dir="5400000" sx="90000" sy="90000" algn="t" rotWithShape="0">
              <a:schemeClr val="accent1">
                <a:lumMod val="75000"/>
                <a:alpha val="2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5720" tIns="22860" rIns="45720" bIns="228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3200" b="0" i="0" u="none" strike="noStrike" kern="1200" cap="none" spc="0" normalizeH="0" baseline="0" noProof="0">
              <a:ln>
                <a:noFill/>
              </a:ln>
              <a:solidFill>
                <a:srgbClr val="FFFFFF"/>
              </a:solidFill>
              <a:effectLst/>
              <a:uLnTx/>
              <a:uFillTx/>
              <a:latin typeface="Arial" panose="020F0502020204030204"/>
              <a:ea typeface="微软雅黑"/>
              <a:cs typeface="+mn-cs"/>
            </a:endParaRPr>
          </a:p>
        </p:txBody>
      </p:sp>
      <p:sp>
        <p:nvSpPr>
          <p:cNvPr id="91" name="椭圆 90">
            <a:extLst>
              <a:ext uri="{FF2B5EF4-FFF2-40B4-BE49-F238E27FC236}">
                <a16:creationId xmlns:a16="http://schemas.microsoft.com/office/drawing/2014/main" id="{D3DEDB05-36CA-4BF6-8FE8-CB91FC4FCE28}"/>
              </a:ext>
            </a:extLst>
          </p:cNvPr>
          <p:cNvSpPr/>
          <p:nvPr/>
        </p:nvSpPr>
        <p:spPr>
          <a:xfrm>
            <a:off x="2676524" y="3053228"/>
            <a:ext cx="361950" cy="361950"/>
          </a:xfrm>
          <a:prstGeom prst="ellipse">
            <a:avLst/>
          </a:prstGeom>
          <a:gradFill flip="none" rotWithShape="1">
            <a:gsLst>
              <a:gs pos="3000">
                <a:schemeClr val="accent1"/>
              </a:gs>
              <a:gs pos="100000">
                <a:schemeClr val="accent1">
                  <a:lumMod val="60000"/>
                  <a:lumOff val="40000"/>
                </a:schemeClr>
              </a:gs>
            </a:gsLst>
            <a:lin ang="2700000" scaled="0"/>
            <a:tileRect/>
          </a:gradFill>
          <a:ln>
            <a:noFill/>
          </a:ln>
          <a:effectLst>
            <a:outerShdw blurRad="330200" dist="381000" dir="5400000" sx="90000" sy="90000" algn="t" rotWithShape="0">
              <a:schemeClr val="accent1">
                <a:lumMod val="75000"/>
                <a:alpha val="2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5720" tIns="22860" rIns="45720" bIns="228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3200" b="0" i="0" u="none" strike="noStrike" kern="1200" cap="none" spc="0" normalizeH="0" baseline="0" noProof="0">
              <a:ln>
                <a:noFill/>
              </a:ln>
              <a:solidFill>
                <a:srgbClr val="FFFFFF"/>
              </a:solidFill>
              <a:effectLst/>
              <a:uLnTx/>
              <a:uFillTx/>
              <a:latin typeface="Arial" panose="020F0502020204030204"/>
              <a:ea typeface="微软雅黑"/>
              <a:cs typeface="+mn-cs"/>
            </a:endParaRPr>
          </a:p>
        </p:txBody>
      </p:sp>
      <p:sp>
        <p:nvSpPr>
          <p:cNvPr id="92" name="椭圆 91">
            <a:extLst>
              <a:ext uri="{FF2B5EF4-FFF2-40B4-BE49-F238E27FC236}">
                <a16:creationId xmlns:a16="http://schemas.microsoft.com/office/drawing/2014/main" id="{52963B08-E69B-49E3-9C3B-0CF0A3248B1E}"/>
              </a:ext>
            </a:extLst>
          </p:cNvPr>
          <p:cNvSpPr/>
          <p:nvPr/>
        </p:nvSpPr>
        <p:spPr>
          <a:xfrm>
            <a:off x="4137024" y="3484793"/>
            <a:ext cx="361950" cy="361950"/>
          </a:xfrm>
          <a:prstGeom prst="ellipse">
            <a:avLst/>
          </a:prstGeom>
          <a:gradFill flip="none" rotWithShape="1">
            <a:gsLst>
              <a:gs pos="3000">
                <a:schemeClr val="accent1"/>
              </a:gs>
              <a:gs pos="100000">
                <a:schemeClr val="accent1">
                  <a:lumMod val="60000"/>
                  <a:lumOff val="40000"/>
                </a:schemeClr>
              </a:gs>
            </a:gsLst>
            <a:lin ang="2700000" scaled="0"/>
            <a:tileRect/>
          </a:gradFill>
          <a:ln>
            <a:noFill/>
          </a:ln>
          <a:effectLst>
            <a:outerShdw blurRad="330200" dist="381000" dir="5400000" sx="90000" sy="90000" algn="t" rotWithShape="0">
              <a:schemeClr val="accent1">
                <a:lumMod val="75000"/>
                <a:alpha val="2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5720" tIns="22860" rIns="45720" bIns="228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3200" b="0" i="0" u="none" strike="noStrike" kern="1200" cap="none" spc="0" normalizeH="0" baseline="0" noProof="0">
              <a:ln>
                <a:noFill/>
              </a:ln>
              <a:solidFill>
                <a:srgbClr val="FFFFFF"/>
              </a:solidFill>
              <a:effectLst/>
              <a:uLnTx/>
              <a:uFillTx/>
              <a:latin typeface="Arial" panose="020F0502020204030204"/>
              <a:ea typeface="微软雅黑"/>
              <a:cs typeface="+mn-cs"/>
            </a:endParaRPr>
          </a:p>
        </p:txBody>
      </p:sp>
      <p:sp>
        <p:nvSpPr>
          <p:cNvPr id="93" name="椭圆 92">
            <a:extLst>
              <a:ext uri="{FF2B5EF4-FFF2-40B4-BE49-F238E27FC236}">
                <a16:creationId xmlns:a16="http://schemas.microsoft.com/office/drawing/2014/main" id="{C8FFE6F5-3005-4CE7-B90B-7A6FDEE38854}"/>
              </a:ext>
            </a:extLst>
          </p:cNvPr>
          <p:cNvSpPr/>
          <p:nvPr/>
        </p:nvSpPr>
        <p:spPr>
          <a:xfrm>
            <a:off x="5918200" y="3599078"/>
            <a:ext cx="361950" cy="361950"/>
          </a:xfrm>
          <a:prstGeom prst="ellipse">
            <a:avLst/>
          </a:prstGeom>
          <a:gradFill flip="none" rotWithShape="1">
            <a:gsLst>
              <a:gs pos="3000">
                <a:schemeClr val="accent1"/>
              </a:gs>
              <a:gs pos="100000">
                <a:schemeClr val="accent1">
                  <a:lumMod val="60000"/>
                  <a:lumOff val="40000"/>
                </a:schemeClr>
              </a:gs>
            </a:gsLst>
            <a:lin ang="2700000" scaled="0"/>
            <a:tileRect/>
          </a:gradFill>
          <a:ln>
            <a:noFill/>
          </a:ln>
          <a:effectLst>
            <a:outerShdw blurRad="330200" dist="381000" dir="5400000" sx="90000" sy="90000" algn="t" rotWithShape="0">
              <a:schemeClr val="accent1">
                <a:lumMod val="75000"/>
                <a:alpha val="2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5720" tIns="22860" rIns="45720" bIns="228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3200" b="0" i="0" u="none" strike="noStrike" kern="1200" cap="none" spc="0" normalizeH="0" baseline="0" noProof="0">
              <a:ln>
                <a:noFill/>
              </a:ln>
              <a:solidFill>
                <a:srgbClr val="FFFFFF"/>
              </a:solidFill>
              <a:effectLst/>
              <a:uLnTx/>
              <a:uFillTx/>
              <a:latin typeface="Arial" panose="020F0502020204030204"/>
              <a:ea typeface="微软雅黑"/>
              <a:cs typeface="+mn-cs"/>
            </a:endParaRPr>
          </a:p>
        </p:txBody>
      </p:sp>
      <p:sp>
        <p:nvSpPr>
          <p:cNvPr id="94" name="椭圆 93">
            <a:extLst>
              <a:ext uri="{FF2B5EF4-FFF2-40B4-BE49-F238E27FC236}">
                <a16:creationId xmlns:a16="http://schemas.microsoft.com/office/drawing/2014/main" id="{C8FDC727-CDBF-417F-BF9D-8B5AD2D11BA4}"/>
              </a:ext>
            </a:extLst>
          </p:cNvPr>
          <p:cNvSpPr/>
          <p:nvPr/>
        </p:nvSpPr>
        <p:spPr>
          <a:xfrm>
            <a:off x="7762875" y="3352209"/>
            <a:ext cx="361950" cy="361950"/>
          </a:xfrm>
          <a:prstGeom prst="ellipse">
            <a:avLst/>
          </a:prstGeom>
          <a:gradFill flip="none" rotWithShape="1">
            <a:gsLst>
              <a:gs pos="3000">
                <a:schemeClr val="accent1"/>
              </a:gs>
              <a:gs pos="100000">
                <a:schemeClr val="accent1">
                  <a:lumMod val="60000"/>
                  <a:lumOff val="40000"/>
                </a:schemeClr>
              </a:gs>
            </a:gsLst>
            <a:lin ang="2700000" scaled="0"/>
            <a:tileRect/>
          </a:gradFill>
          <a:ln>
            <a:noFill/>
          </a:ln>
          <a:effectLst>
            <a:outerShdw blurRad="330200" dist="381000" dir="5400000" sx="90000" sy="90000" algn="t" rotWithShape="0">
              <a:schemeClr val="accent1">
                <a:lumMod val="75000"/>
                <a:alpha val="2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5720" tIns="22860" rIns="45720" bIns="228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3200" b="0" i="0" u="none" strike="noStrike" kern="1200" cap="none" spc="0" normalizeH="0" baseline="0" noProof="0">
              <a:ln>
                <a:noFill/>
              </a:ln>
              <a:solidFill>
                <a:srgbClr val="FFFFFF"/>
              </a:solidFill>
              <a:effectLst/>
              <a:uLnTx/>
              <a:uFillTx/>
              <a:latin typeface="Arial" panose="020F0502020204030204"/>
              <a:ea typeface="微软雅黑"/>
              <a:cs typeface="+mn-cs"/>
            </a:endParaRPr>
          </a:p>
        </p:txBody>
      </p:sp>
      <p:sp>
        <p:nvSpPr>
          <p:cNvPr id="95" name="椭圆 94">
            <a:extLst>
              <a:ext uri="{FF2B5EF4-FFF2-40B4-BE49-F238E27FC236}">
                <a16:creationId xmlns:a16="http://schemas.microsoft.com/office/drawing/2014/main" id="{4361927F-CB89-4870-A0CA-9770425BB855}"/>
              </a:ext>
            </a:extLst>
          </p:cNvPr>
          <p:cNvSpPr/>
          <p:nvPr/>
        </p:nvSpPr>
        <p:spPr>
          <a:xfrm>
            <a:off x="9210674" y="3030008"/>
            <a:ext cx="361950" cy="361950"/>
          </a:xfrm>
          <a:prstGeom prst="ellipse">
            <a:avLst/>
          </a:prstGeom>
          <a:gradFill flip="none" rotWithShape="1">
            <a:gsLst>
              <a:gs pos="3000">
                <a:schemeClr val="accent1"/>
              </a:gs>
              <a:gs pos="100000">
                <a:schemeClr val="accent1">
                  <a:lumMod val="60000"/>
                  <a:lumOff val="40000"/>
                </a:schemeClr>
              </a:gs>
            </a:gsLst>
            <a:lin ang="2700000" scaled="0"/>
            <a:tileRect/>
          </a:gradFill>
          <a:ln>
            <a:noFill/>
          </a:ln>
          <a:effectLst>
            <a:outerShdw blurRad="330200" dist="381000" dir="5400000" sx="90000" sy="90000" algn="t" rotWithShape="0">
              <a:schemeClr val="accent1">
                <a:lumMod val="75000"/>
                <a:alpha val="2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5720" tIns="22860" rIns="45720" bIns="228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3200" b="0" i="0" u="none" strike="noStrike" kern="1200" cap="none" spc="0" normalizeH="0" baseline="0" noProof="0">
              <a:ln>
                <a:noFill/>
              </a:ln>
              <a:solidFill>
                <a:srgbClr val="FFFFFF"/>
              </a:solidFill>
              <a:effectLst/>
              <a:uLnTx/>
              <a:uFillTx/>
              <a:latin typeface="Arial" panose="020F0502020204030204"/>
              <a:ea typeface="微软雅黑"/>
              <a:cs typeface="+mn-cs"/>
            </a:endParaRPr>
          </a:p>
        </p:txBody>
      </p:sp>
      <p:sp>
        <p:nvSpPr>
          <p:cNvPr id="96" name="椭圆 95">
            <a:extLst>
              <a:ext uri="{FF2B5EF4-FFF2-40B4-BE49-F238E27FC236}">
                <a16:creationId xmlns:a16="http://schemas.microsoft.com/office/drawing/2014/main" id="{56B346C9-EE9D-4901-90E8-ABA6C45347F8}"/>
              </a:ext>
            </a:extLst>
          </p:cNvPr>
          <p:cNvSpPr/>
          <p:nvPr/>
        </p:nvSpPr>
        <p:spPr>
          <a:xfrm>
            <a:off x="1444625" y="3606591"/>
            <a:ext cx="361950" cy="36195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Arial" panose="020F0502020204030204"/>
              <a:ea typeface="微软雅黑"/>
              <a:cs typeface="+mn-cs"/>
            </a:endParaRPr>
          </a:p>
        </p:txBody>
      </p:sp>
      <p:sp>
        <p:nvSpPr>
          <p:cNvPr id="97" name="椭圆 96">
            <a:extLst>
              <a:ext uri="{FF2B5EF4-FFF2-40B4-BE49-F238E27FC236}">
                <a16:creationId xmlns:a16="http://schemas.microsoft.com/office/drawing/2014/main" id="{6D50A13D-D63A-40F6-B31E-A480F504B951}"/>
              </a:ext>
            </a:extLst>
          </p:cNvPr>
          <p:cNvSpPr/>
          <p:nvPr/>
        </p:nvSpPr>
        <p:spPr>
          <a:xfrm>
            <a:off x="2676524" y="4232377"/>
            <a:ext cx="361950" cy="36195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Arial" panose="020F0502020204030204"/>
              <a:ea typeface="微软雅黑"/>
              <a:cs typeface="+mn-cs"/>
            </a:endParaRPr>
          </a:p>
        </p:txBody>
      </p:sp>
      <p:sp>
        <p:nvSpPr>
          <p:cNvPr id="98" name="椭圆 97">
            <a:extLst>
              <a:ext uri="{FF2B5EF4-FFF2-40B4-BE49-F238E27FC236}">
                <a16:creationId xmlns:a16="http://schemas.microsoft.com/office/drawing/2014/main" id="{A193A16E-AF70-426B-8FED-A4CA96F5B83D}"/>
              </a:ext>
            </a:extLst>
          </p:cNvPr>
          <p:cNvSpPr/>
          <p:nvPr/>
        </p:nvSpPr>
        <p:spPr>
          <a:xfrm>
            <a:off x="4137024" y="4673600"/>
            <a:ext cx="361950" cy="36195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Arial" panose="020F0502020204030204"/>
              <a:ea typeface="微软雅黑"/>
              <a:cs typeface="+mn-cs"/>
            </a:endParaRPr>
          </a:p>
        </p:txBody>
      </p:sp>
      <p:sp>
        <p:nvSpPr>
          <p:cNvPr id="99" name="椭圆 98">
            <a:extLst>
              <a:ext uri="{FF2B5EF4-FFF2-40B4-BE49-F238E27FC236}">
                <a16:creationId xmlns:a16="http://schemas.microsoft.com/office/drawing/2014/main" id="{AB24865C-7FB8-4E1D-815D-5829183588DF}"/>
              </a:ext>
            </a:extLst>
          </p:cNvPr>
          <p:cNvSpPr/>
          <p:nvPr/>
        </p:nvSpPr>
        <p:spPr>
          <a:xfrm>
            <a:off x="5908674" y="4870450"/>
            <a:ext cx="361950" cy="36195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Arial" panose="020F0502020204030204"/>
              <a:ea typeface="微软雅黑"/>
              <a:cs typeface="+mn-cs"/>
            </a:endParaRPr>
          </a:p>
        </p:txBody>
      </p:sp>
      <p:sp>
        <p:nvSpPr>
          <p:cNvPr id="100" name="椭圆 99">
            <a:extLst>
              <a:ext uri="{FF2B5EF4-FFF2-40B4-BE49-F238E27FC236}">
                <a16:creationId xmlns:a16="http://schemas.microsoft.com/office/drawing/2014/main" id="{8F5D8B23-032C-4246-BFB6-5E6B485A38C9}"/>
              </a:ext>
            </a:extLst>
          </p:cNvPr>
          <p:cNvSpPr/>
          <p:nvPr/>
        </p:nvSpPr>
        <p:spPr>
          <a:xfrm>
            <a:off x="7762874" y="4673600"/>
            <a:ext cx="361950" cy="36195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Arial" panose="020F0502020204030204"/>
              <a:ea typeface="微软雅黑"/>
              <a:cs typeface="+mn-cs"/>
            </a:endParaRPr>
          </a:p>
        </p:txBody>
      </p:sp>
      <p:sp>
        <p:nvSpPr>
          <p:cNvPr id="110" name="椭圆 109">
            <a:extLst>
              <a:ext uri="{FF2B5EF4-FFF2-40B4-BE49-F238E27FC236}">
                <a16:creationId xmlns:a16="http://schemas.microsoft.com/office/drawing/2014/main" id="{2AB222A4-D476-4B2F-9AEF-CCE7AB04E927}"/>
              </a:ext>
            </a:extLst>
          </p:cNvPr>
          <p:cNvSpPr/>
          <p:nvPr/>
        </p:nvSpPr>
        <p:spPr>
          <a:xfrm>
            <a:off x="9210674" y="4222750"/>
            <a:ext cx="361950" cy="36195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Arial" panose="020F0502020204030204"/>
              <a:ea typeface="微软雅黑"/>
              <a:cs typeface="+mn-cs"/>
            </a:endParaRPr>
          </a:p>
        </p:txBody>
      </p:sp>
      <p:sp>
        <p:nvSpPr>
          <p:cNvPr id="111" name="椭圆 110">
            <a:extLst>
              <a:ext uri="{FF2B5EF4-FFF2-40B4-BE49-F238E27FC236}">
                <a16:creationId xmlns:a16="http://schemas.microsoft.com/office/drawing/2014/main" id="{29AD0C73-5D3A-4648-B4DB-F5457D468D57}"/>
              </a:ext>
            </a:extLst>
          </p:cNvPr>
          <p:cNvSpPr/>
          <p:nvPr/>
        </p:nvSpPr>
        <p:spPr>
          <a:xfrm>
            <a:off x="10436224" y="3613149"/>
            <a:ext cx="361950" cy="36195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Arial" panose="020F0502020204030204"/>
              <a:ea typeface="微软雅黑"/>
              <a:cs typeface="+mn-cs"/>
            </a:endParaRPr>
          </a:p>
        </p:txBody>
      </p:sp>
    </p:spTree>
    <p:extLst>
      <p:ext uri="{BB962C8B-B14F-4D97-AF65-F5344CB8AC3E}">
        <p14:creationId xmlns:p14="http://schemas.microsoft.com/office/powerpoint/2010/main" val="3960736030"/>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7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 name="image 102"/>
          <p:cNvPicPr>
            <a:picLocks noChangeAspect="1"/>
          </p:cNvPicPr>
          <p:nvPr/>
        </p:nvPicPr>
        <p:blipFill>
          <a:blip r:embed="rId5"/>
          <a:srcRect/>
          <a:stretch>
            <a:fillRect/>
          </a:stretch>
        </p:blipFill>
        <p:spPr>
          <a:xfrm>
            <a:off x="5851337" y="5258956"/>
            <a:ext cx="175260" cy="10160"/>
          </a:xfrm>
          <a:prstGeom prst="rect">
            <a:avLst/>
          </a:prstGeom>
        </p:spPr>
      </p:pic>
      <p:pic>
        <p:nvPicPr>
          <p:cNvPr id="103" name="image 103"/>
          <p:cNvPicPr>
            <a:picLocks noChangeAspect="1"/>
          </p:cNvPicPr>
          <p:nvPr/>
        </p:nvPicPr>
        <p:blipFill>
          <a:blip r:embed="rId5"/>
          <a:srcRect/>
          <a:stretch>
            <a:fillRect/>
          </a:stretch>
        </p:blipFill>
        <p:spPr>
          <a:xfrm>
            <a:off x="5857687" y="4444987"/>
            <a:ext cx="175260" cy="10160"/>
          </a:xfrm>
          <a:prstGeom prst="rect">
            <a:avLst/>
          </a:prstGeom>
        </p:spPr>
      </p:pic>
      <p:cxnSp>
        <p:nvCxnSpPr>
          <p:cNvPr id="210" name="直接连接符 209">
            <a:extLst>
              <a:ext uri="{FF2B5EF4-FFF2-40B4-BE49-F238E27FC236}">
                <a16:creationId xmlns:a16="http://schemas.microsoft.com/office/drawing/2014/main" id="{DB9DB219-4CB1-45FE-963A-E368F091A803}"/>
              </a:ext>
            </a:extLst>
          </p:cNvPr>
          <p:cNvCxnSpPr>
            <a:cxnSpLocks/>
          </p:cNvCxnSpPr>
          <p:nvPr/>
        </p:nvCxnSpPr>
        <p:spPr>
          <a:xfrm>
            <a:off x="5831499" y="4444987"/>
            <a:ext cx="234545" cy="0"/>
          </a:xfrm>
          <a:prstGeom prst="line">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pic>
        <p:nvPicPr>
          <p:cNvPr id="211" name="image 108">
            <a:extLst>
              <a:ext uri="{FF2B5EF4-FFF2-40B4-BE49-F238E27FC236}">
                <a16:creationId xmlns:a16="http://schemas.microsoft.com/office/drawing/2014/main" id="{B285F46A-A66D-4FD7-9E8D-87E6864A367F}"/>
              </a:ext>
            </a:extLst>
          </p:cNvPr>
          <p:cNvPicPr>
            <a:picLocks noChangeAspect="1"/>
          </p:cNvPicPr>
          <p:nvPr/>
        </p:nvPicPr>
        <p:blipFill>
          <a:blip r:embed="rId6"/>
          <a:srcRect/>
          <a:stretch>
            <a:fillRect/>
          </a:stretch>
        </p:blipFill>
        <p:spPr>
          <a:xfrm>
            <a:off x="5831499" y="5258956"/>
            <a:ext cx="118111" cy="10160"/>
          </a:xfrm>
          <a:prstGeom prst="rect">
            <a:avLst/>
          </a:prstGeom>
        </p:spPr>
      </p:pic>
      <p:pic>
        <p:nvPicPr>
          <p:cNvPr id="212" name="image 109">
            <a:extLst>
              <a:ext uri="{FF2B5EF4-FFF2-40B4-BE49-F238E27FC236}">
                <a16:creationId xmlns:a16="http://schemas.microsoft.com/office/drawing/2014/main" id="{F3BD671F-AF58-47F8-99BF-324A90E11742}"/>
              </a:ext>
            </a:extLst>
          </p:cNvPr>
          <p:cNvPicPr>
            <a:picLocks noChangeAspect="1"/>
          </p:cNvPicPr>
          <p:nvPr/>
        </p:nvPicPr>
        <p:blipFill>
          <a:blip r:embed="rId7"/>
          <a:srcRect/>
          <a:stretch>
            <a:fillRect/>
          </a:stretch>
        </p:blipFill>
        <p:spPr>
          <a:xfrm>
            <a:off x="5844199" y="4444987"/>
            <a:ext cx="111759" cy="10160"/>
          </a:xfrm>
          <a:prstGeom prst="rect">
            <a:avLst/>
          </a:prstGeom>
        </p:spPr>
      </p:pic>
      <p:cxnSp>
        <p:nvCxnSpPr>
          <p:cNvPr id="213" name="直接连接符 212">
            <a:extLst>
              <a:ext uri="{FF2B5EF4-FFF2-40B4-BE49-F238E27FC236}">
                <a16:creationId xmlns:a16="http://schemas.microsoft.com/office/drawing/2014/main" id="{75E9FC86-F123-460B-AD02-A4BD56BA8FD5}"/>
              </a:ext>
            </a:extLst>
          </p:cNvPr>
          <p:cNvCxnSpPr>
            <a:cxnSpLocks/>
          </p:cNvCxnSpPr>
          <p:nvPr/>
        </p:nvCxnSpPr>
        <p:spPr>
          <a:xfrm>
            <a:off x="5831499" y="5274183"/>
            <a:ext cx="234545" cy="0"/>
          </a:xfrm>
          <a:prstGeom prst="line">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214" name="直接连接符 213">
            <a:extLst>
              <a:ext uri="{FF2B5EF4-FFF2-40B4-BE49-F238E27FC236}">
                <a16:creationId xmlns:a16="http://schemas.microsoft.com/office/drawing/2014/main" id="{244FBF39-9D5C-4A1B-9C15-2D2B9016C309}"/>
              </a:ext>
            </a:extLst>
          </p:cNvPr>
          <p:cNvCxnSpPr>
            <a:cxnSpLocks/>
          </p:cNvCxnSpPr>
          <p:nvPr/>
        </p:nvCxnSpPr>
        <p:spPr>
          <a:xfrm>
            <a:off x="5831499" y="6103379"/>
            <a:ext cx="234545" cy="0"/>
          </a:xfrm>
          <a:prstGeom prst="line">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pic>
        <p:nvPicPr>
          <p:cNvPr id="1011" name="image 1011"/>
          <p:cNvPicPr>
            <a:picLocks noChangeAspect="1"/>
          </p:cNvPicPr>
          <p:nvPr/>
        </p:nvPicPr>
        <p:blipFill>
          <a:blip r:embed="rId8"/>
          <a:srcRect/>
          <a:stretch>
            <a:fillRect/>
          </a:stretch>
        </p:blipFill>
        <p:spPr>
          <a:xfrm>
            <a:off x="7533833" y="4444987"/>
            <a:ext cx="238760" cy="10160"/>
          </a:xfrm>
          <a:prstGeom prst="rect">
            <a:avLst/>
          </a:prstGeom>
        </p:spPr>
      </p:pic>
      <p:cxnSp>
        <p:nvCxnSpPr>
          <p:cNvPr id="215" name="直接连接符 214">
            <a:extLst>
              <a:ext uri="{FF2B5EF4-FFF2-40B4-BE49-F238E27FC236}">
                <a16:creationId xmlns:a16="http://schemas.microsoft.com/office/drawing/2014/main" id="{02CED08F-8BDE-415B-87EB-F20DCB1225D5}"/>
              </a:ext>
            </a:extLst>
          </p:cNvPr>
          <p:cNvCxnSpPr>
            <a:cxnSpLocks/>
          </p:cNvCxnSpPr>
          <p:nvPr/>
        </p:nvCxnSpPr>
        <p:spPr>
          <a:xfrm>
            <a:off x="7513601" y="4444987"/>
            <a:ext cx="234545" cy="0"/>
          </a:xfrm>
          <a:prstGeom prst="line">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pic>
        <p:nvPicPr>
          <p:cNvPr id="216" name="image 108">
            <a:extLst>
              <a:ext uri="{FF2B5EF4-FFF2-40B4-BE49-F238E27FC236}">
                <a16:creationId xmlns:a16="http://schemas.microsoft.com/office/drawing/2014/main" id="{BEADB5C2-FE15-4D31-9173-CF99E8CF13A3}"/>
              </a:ext>
            </a:extLst>
          </p:cNvPr>
          <p:cNvPicPr>
            <a:picLocks noChangeAspect="1"/>
          </p:cNvPicPr>
          <p:nvPr/>
        </p:nvPicPr>
        <p:blipFill>
          <a:blip r:embed="rId6"/>
          <a:srcRect/>
          <a:stretch>
            <a:fillRect/>
          </a:stretch>
        </p:blipFill>
        <p:spPr>
          <a:xfrm>
            <a:off x="7513601" y="5258956"/>
            <a:ext cx="118111" cy="10160"/>
          </a:xfrm>
          <a:prstGeom prst="rect">
            <a:avLst/>
          </a:prstGeom>
        </p:spPr>
      </p:pic>
      <p:pic>
        <p:nvPicPr>
          <p:cNvPr id="217" name="image 109">
            <a:extLst>
              <a:ext uri="{FF2B5EF4-FFF2-40B4-BE49-F238E27FC236}">
                <a16:creationId xmlns:a16="http://schemas.microsoft.com/office/drawing/2014/main" id="{F6FB4D5E-5577-4131-BAA2-4B10B5D57954}"/>
              </a:ext>
            </a:extLst>
          </p:cNvPr>
          <p:cNvPicPr>
            <a:picLocks noChangeAspect="1"/>
          </p:cNvPicPr>
          <p:nvPr/>
        </p:nvPicPr>
        <p:blipFill>
          <a:blip r:embed="rId7"/>
          <a:srcRect/>
          <a:stretch>
            <a:fillRect/>
          </a:stretch>
        </p:blipFill>
        <p:spPr>
          <a:xfrm>
            <a:off x="7526301" y="4444987"/>
            <a:ext cx="111759" cy="10160"/>
          </a:xfrm>
          <a:prstGeom prst="rect">
            <a:avLst/>
          </a:prstGeom>
        </p:spPr>
      </p:pic>
      <p:cxnSp>
        <p:nvCxnSpPr>
          <p:cNvPr id="218" name="直接连接符 217">
            <a:extLst>
              <a:ext uri="{FF2B5EF4-FFF2-40B4-BE49-F238E27FC236}">
                <a16:creationId xmlns:a16="http://schemas.microsoft.com/office/drawing/2014/main" id="{DDEAC098-D44C-47CB-84D3-B37A7A3FDD0D}"/>
              </a:ext>
            </a:extLst>
          </p:cNvPr>
          <p:cNvCxnSpPr>
            <a:cxnSpLocks/>
          </p:cNvCxnSpPr>
          <p:nvPr/>
        </p:nvCxnSpPr>
        <p:spPr>
          <a:xfrm>
            <a:off x="7513601" y="5274183"/>
            <a:ext cx="234545" cy="0"/>
          </a:xfrm>
          <a:prstGeom prst="line">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pic>
        <p:nvPicPr>
          <p:cNvPr id="1013" name="image 1013"/>
          <p:cNvPicPr>
            <a:picLocks noChangeAspect="1"/>
          </p:cNvPicPr>
          <p:nvPr/>
        </p:nvPicPr>
        <p:blipFill>
          <a:blip r:embed="rId9"/>
          <a:srcRect/>
          <a:stretch>
            <a:fillRect/>
          </a:stretch>
        </p:blipFill>
        <p:spPr>
          <a:xfrm>
            <a:off x="9197533" y="5258956"/>
            <a:ext cx="162559" cy="10160"/>
          </a:xfrm>
          <a:prstGeom prst="rect">
            <a:avLst/>
          </a:prstGeom>
        </p:spPr>
      </p:pic>
      <p:pic>
        <p:nvPicPr>
          <p:cNvPr id="1014" name="image 1014"/>
          <p:cNvPicPr>
            <a:picLocks noChangeAspect="1"/>
          </p:cNvPicPr>
          <p:nvPr/>
        </p:nvPicPr>
        <p:blipFill>
          <a:blip r:embed="rId10"/>
          <a:srcRect/>
          <a:stretch>
            <a:fillRect/>
          </a:stretch>
        </p:blipFill>
        <p:spPr>
          <a:xfrm>
            <a:off x="9197533" y="4444987"/>
            <a:ext cx="156210" cy="10160"/>
          </a:xfrm>
          <a:prstGeom prst="rect">
            <a:avLst/>
          </a:prstGeom>
        </p:spPr>
      </p:pic>
      <p:cxnSp>
        <p:nvCxnSpPr>
          <p:cNvPr id="220" name="直接连接符 219">
            <a:extLst>
              <a:ext uri="{FF2B5EF4-FFF2-40B4-BE49-F238E27FC236}">
                <a16:creationId xmlns:a16="http://schemas.microsoft.com/office/drawing/2014/main" id="{C03F3AD5-EC45-407B-9700-2C931E6A7C9D}"/>
              </a:ext>
            </a:extLst>
          </p:cNvPr>
          <p:cNvCxnSpPr>
            <a:cxnSpLocks/>
          </p:cNvCxnSpPr>
          <p:nvPr/>
        </p:nvCxnSpPr>
        <p:spPr>
          <a:xfrm>
            <a:off x="9189607" y="4444987"/>
            <a:ext cx="234545" cy="0"/>
          </a:xfrm>
          <a:prstGeom prst="line">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pic>
        <p:nvPicPr>
          <p:cNvPr id="221" name="image 108">
            <a:extLst>
              <a:ext uri="{FF2B5EF4-FFF2-40B4-BE49-F238E27FC236}">
                <a16:creationId xmlns:a16="http://schemas.microsoft.com/office/drawing/2014/main" id="{00A2E744-D567-4E57-AFB2-0E518790A1E6}"/>
              </a:ext>
            </a:extLst>
          </p:cNvPr>
          <p:cNvPicPr>
            <a:picLocks noChangeAspect="1"/>
          </p:cNvPicPr>
          <p:nvPr/>
        </p:nvPicPr>
        <p:blipFill>
          <a:blip r:embed="rId6"/>
          <a:srcRect/>
          <a:stretch>
            <a:fillRect/>
          </a:stretch>
        </p:blipFill>
        <p:spPr>
          <a:xfrm>
            <a:off x="9189607" y="5258956"/>
            <a:ext cx="118111" cy="10160"/>
          </a:xfrm>
          <a:prstGeom prst="rect">
            <a:avLst/>
          </a:prstGeom>
        </p:spPr>
      </p:pic>
      <p:pic>
        <p:nvPicPr>
          <p:cNvPr id="222" name="image 109">
            <a:extLst>
              <a:ext uri="{FF2B5EF4-FFF2-40B4-BE49-F238E27FC236}">
                <a16:creationId xmlns:a16="http://schemas.microsoft.com/office/drawing/2014/main" id="{2C149024-6E05-4A42-921C-39B813FD1A2B}"/>
              </a:ext>
            </a:extLst>
          </p:cNvPr>
          <p:cNvPicPr>
            <a:picLocks noChangeAspect="1"/>
          </p:cNvPicPr>
          <p:nvPr/>
        </p:nvPicPr>
        <p:blipFill>
          <a:blip r:embed="rId7"/>
          <a:srcRect/>
          <a:stretch>
            <a:fillRect/>
          </a:stretch>
        </p:blipFill>
        <p:spPr>
          <a:xfrm>
            <a:off x="9202307" y="4444987"/>
            <a:ext cx="111759" cy="10160"/>
          </a:xfrm>
          <a:prstGeom prst="rect">
            <a:avLst/>
          </a:prstGeom>
        </p:spPr>
      </p:pic>
      <p:cxnSp>
        <p:nvCxnSpPr>
          <p:cNvPr id="223" name="直接连接符 222">
            <a:extLst>
              <a:ext uri="{FF2B5EF4-FFF2-40B4-BE49-F238E27FC236}">
                <a16:creationId xmlns:a16="http://schemas.microsoft.com/office/drawing/2014/main" id="{00EEF6FB-3C69-41FB-9B23-2E1B61CAE7D6}"/>
              </a:ext>
            </a:extLst>
          </p:cNvPr>
          <p:cNvCxnSpPr>
            <a:cxnSpLocks/>
          </p:cNvCxnSpPr>
          <p:nvPr/>
        </p:nvCxnSpPr>
        <p:spPr>
          <a:xfrm>
            <a:off x="9189607" y="5274183"/>
            <a:ext cx="234545" cy="0"/>
          </a:xfrm>
          <a:prstGeom prst="line">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224" name="直接连接符 223">
            <a:extLst>
              <a:ext uri="{FF2B5EF4-FFF2-40B4-BE49-F238E27FC236}">
                <a16:creationId xmlns:a16="http://schemas.microsoft.com/office/drawing/2014/main" id="{EA2F2AFE-4685-449A-8B3C-59E2C8E75E33}"/>
              </a:ext>
            </a:extLst>
          </p:cNvPr>
          <p:cNvCxnSpPr>
            <a:cxnSpLocks/>
          </p:cNvCxnSpPr>
          <p:nvPr/>
        </p:nvCxnSpPr>
        <p:spPr>
          <a:xfrm>
            <a:off x="9189607" y="6103379"/>
            <a:ext cx="234545" cy="0"/>
          </a:xfrm>
          <a:prstGeom prst="line">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201" name="直接连接符 200">
            <a:extLst>
              <a:ext uri="{FF2B5EF4-FFF2-40B4-BE49-F238E27FC236}">
                <a16:creationId xmlns:a16="http://schemas.microsoft.com/office/drawing/2014/main" id="{44C8CE91-15D1-478F-BE45-96335BF71E90}"/>
              </a:ext>
            </a:extLst>
          </p:cNvPr>
          <p:cNvCxnSpPr>
            <a:cxnSpLocks/>
          </p:cNvCxnSpPr>
          <p:nvPr/>
        </p:nvCxnSpPr>
        <p:spPr>
          <a:xfrm>
            <a:off x="2473391" y="4444987"/>
            <a:ext cx="234545" cy="0"/>
          </a:xfrm>
          <a:prstGeom prst="line">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46" name="矩形: 圆角 145">
            <a:extLst>
              <a:ext uri="{FF2B5EF4-FFF2-40B4-BE49-F238E27FC236}">
                <a16:creationId xmlns:a16="http://schemas.microsoft.com/office/drawing/2014/main" id="{E7717244-20D5-409D-AC25-BE69B4C5A738}"/>
              </a:ext>
            </a:extLst>
          </p:cNvPr>
          <p:cNvSpPr/>
          <p:nvPr/>
        </p:nvSpPr>
        <p:spPr>
          <a:xfrm>
            <a:off x="5451819" y="1277619"/>
            <a:ext cx="813759" cy="1215199"/>
          </a:xfrm>
          <a:prstGeom prst="roundRect">
            <a:avLst/>
          </a:prstGeom>
          <a:gradFill flip="none" rotWithShape="1">
            <a:gsLst>
              <a:gs pos="3000">
                <a:schemeClr val="accent1"/>
              </a:gs>
              <a:gs pos="100000">
                <a:schemeClr val="accent1">
                  <a:lumMod val="60000"/>
                  <a:lumOff val="40000"/>
                </a:schemeClr>
              </a:gs>
            </a:gsLst>
            <a:lin ang="2700000" scaled="0"/>
            <a:tileRect/>
          </a:gradFill>
          <a:ln>
            <a:noFill/>
          </a:ln>
          <a:effectLst>
            <a:outerShdw blurRad="330200" dist="381000" dir="5400000" sx="90000" sy="90000" algn="t" rotWithShape="0">
              <a:schemeClr val="accent1">
                <a:lumMod val="75000"/>
                <a:alpha val="2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5720" tIns="22860" rIns="45720" bIns="228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3200" b="0" i="0" u="none" strike="noStrike" kern="1200" cap="none" spc="0" normalizeH="0" baseline="0" noProof="0">
              <a:ln>
                <a:noFill/>
              </a:ln>
              <a:solidFill>
                <a:srgbClr val="FFFFFF"/>
              </a:solidFill>
              <a:effectLst/>
              <a:uLnTx/>
              <a:uFillTx/>
              <a:latin typeface="Arial" panose="020F0502020204030204"/>
              <a:ea typeface="微软雅黑"/>
              <a:cs typeface="+mn-cs"/>
            </a:endParaRPr>
          </a:p>
        </p:txBody>
      </p:sp>
      <p:sp>
        <p:nvSpPr>
          <p:cNvPr id="128" name="矩形: 圆角 127">
            <a:extLst>
              <a:ext uri="{FF2B5EF4-FFF2-40B4-BE49-F238E27FC236}">
                <a16:creationId xmlns:a16="http://schemas.microsoft.com/office/drawing/2014/main" id="{DA545CBD-E410-4B23-87F3-185DC9647E62}"/>
              </a:ext>
            </a:extLst>
          </p:cNvPr>
          <p:cNvSpPr/>
          <p:nvPr/>
        </p:nvSpPr>
        <p:spPr>
          <a:xfrm>
            <a:off x="2586101" y="4240160"/>
            <a:ext cx="1220403" cy="419815"/>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Arial" panose="020F0502020204030204"/>
              <a:ea typeface="微软雅黑"/>
              <a:cs typeface="+mn-cs"/>
            </a:endParaRPr>
          </a:p>
        </p:txBody>
      </p:sp>
      <p:sp>
        <p:nvSpPr>
          <p:cNvPr id="129" name="矩形: 圆角 128">
            <a:extLst>
              <a:ext uri="{FF2B5EF4-FFF2-40B4-BE49-F238E27FC236}">
                <a16:creationId xmlns:a16="http://schemas.microsoft.com/office/drawing/2014/main" id="{26127445-DF6E-4742-AAE7-601751CE4CBA}"/>
              </a:ext>
            </a:extLst>
          </p:cNvPr>
          <p:cNvSpPr/>
          <p:nvPr/>
        </p:nvSpPr>
        <p:spPr>
          <a:xfrm>
            <a:off x="4313322" y="4240160"/>
            <a:ext cx="1220403" cy="419815"/>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Arial" panose="020F0502020204030204"/>
              <a:ea typeface="微软雅黑"/>
              <a:cs typeface="+mn-cs"/>
            </a:endParaRPr>
          </a:p>
        </p:txBody>
      </p:sp>
      <p:sp>
        <p:nvSpPr>
          <p:cNvPr id="130" name="矩形: 圆角 129">
            <a:extLst>
              <a:ext uri="{FF2B5EF4-FFF2-40B4-BE49-F238E27FC236}">
                <a16:creationId xmlns:a16="http://schemas.microsoft.com/office/drawing/2014/main" id="{039E4C3A-7871-4539-AFFF-750526BA4634}"/>
              </a:ext>
            </a:extLst>
          </p:cNvPr>
          <p:cNvSpPr/>
          <p:nvPr/>
        </p:nvSpPr>
        <p:spPr>
          <a:xfrm>
            <a:off x="2586101" y="5054129"/>
            <a:ext cx="1220403" cy="419815"/>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Arial" panose="020F0502020204030204"/>
              <a:ea typeface="微软雅黑"/>
              <a:cs typeface="+mn-cs"/>
            </a:endParaRPr>
          </a:p>
        </p:txBody>
      </p:sp>
      <p:sp>
        <p:nvSpPr>
          <p:cNvPr id="131" name="矩形: 圆角 130">
            <a:extLst>
              <a:ext uri="{FF2B5EF4-FFF2-40B4-BE49-F238E27FC236}">
                <a16:creationId xmlns:a16="http://schemas.microsoft.com/office/drawing/2014/main" id="{1D27E9BF-3CA8-47F1-A0A0-B679F0DFDB58}"/>
              </a:ext>
            </a:extLst>
          </p:cNvPr>
          <p:cNvSpPr/>
          <p:nvPr/>
        </p:nvSpPr>
        <p:spPr>
          <a:xfrm>
            <a:off x="4313322" y="5054129"/>
            <a:ext cx="1220403" cy="419815"/>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Arial" panose="020F0502020204030204"/>
              <a:ea typeface="微软雅黑"/>
              <a:cs typeface="+mn-cs"/>
            </a:endParaRPr>
          </a:p>
        </p:txBody>
      </p:sp>
      <p:sp>
        <p:nvSpPr>
          <p:cNvPr id="132" name="矩形: 圆角 131">
            <a:extLst>
              <a:ext uri="{FF2B5EF4-FFF2-40B4-BE49-F238E27FC236}">
                <a16:creationId xmlns:a16="http://schemas.microsoft.com/office/drawing/2014/main" id="{9223E1AD-49D2-451C-BD20-486835C6B925}"/>
              </a:ext>
            </a:extLst>
          </p:cNvPr>
          <p:cNvSpPr/>
          <p:nvPr/>
        </p:nvSpPr>
        <p:spPr>
          <a:xfrm>
            <a:off x="2586101" y="5859977"/>
            <a:ext cx="1220403" cy="419815"/>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Arial" panose="020F0502020204030204"/>
              <a:ea typeface="微软雅黑"/>
              <a:cs typeface="+mn-cs"/>
            </a:endParaRPr>
          </a:p>
        </p:txBody>
      </p:sp>
      <p:sp>
        <p:nvSpPr>
          <p:cNvPr id="133" name="矩形: 圆角 132">
            <a:extLst>
              <a:ext uri="{FF2B5EF4-FFF2-40B4-BE49-F238E27FC236}">
                <a16:creationId xmlns:a16="http://schemas.microsoft.com/office/drawing/2014/main" id="{CF989BF3-D640-4723-B25C-61BA79C727BE}"/>
              </a:ext>
            </a:extLst>
          </p:cNvPr>
          <p:cNvSpPr/>
          <p:nvPr/>
        </p:nvSpPr>
        <p:spPr>
          <a:xfrm>
            <a:off x="5986202" y="4240160"/>
            <a:ext cx="1220403" cy="419815"/>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Arial" panose="020F0502020204030204"/>
              <a:ea typeface="微软雅黑"/>
              <a:cs typeface="+mn-cs"/>
            </a:endParaRPr>
          </a:p>
        </p:txBody>
      </p:sp>
      <p:sp>
        <p:nvSpPr>
          <p:cNvPr id="134" name="矩形: 圆角 133">
            <a:extLst>
              <a:ext uri="{FF2B5EF4-FFF2-40B4-BE49-F238E27FC236}">
                <a16:creationId xmlns:a16="http://schemas.microsoft.com/office/drawing/2014/main" id="{1E79327E-5989-42B7-BD80-D355F9D8B81F}"/>
              </a:ext>
            </a:extLst>
          </p:cNvPr>
          <p:cNvSpPr/>
          <p:nvPr/>
        </p:nvSpPr>
        <p:spPr>
          <a:xfrm>
            <a:off x="7713423" y="4240160"/>
            <a:ext cx="1220403" cy="419815"/>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Arial" panose="020F0502020204030204"/>
              <a:ea typeface="微软雅黑"/>
              <a:cs typeface="+mn-cs"/>
            </a:endParaRPr>
          </a:p>
        </p:txBody>
      </p:sp>
      <p:sp>
        <p:nvSpPr>
          <p:cNvPr id="135" name="矩形: 圆角 134">
            <a:extLst>
              <a:ext uri="{FF2B5EF4-FFF2-40B4-BE49-F238E27FC236}">
                <a16:creationId xmlns:a16="http://schemas.microsoft.com/office/drawing/2014/main" id="{FE52045D-D568-451C-8048-9B63A3ADD6FD}"/>
              </a:ext>
            </a:extLst>
          </p:cNvPr>
          <p:cNvSpPr/>
          <p:nvPr/>
        </p:nvSpPr>
        <p:spPr>
          <a:xfrm>
            <a:off x="5986202" y="5054129"/>
            <a:ext cx="1220403" cy="419815"/>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Arial" panose="020F0502020204030204"/>
              <a:ea typeface="微软雅黑"/>
              <a:cs typeface="+mn-cs"/>
            </a:endParaRPr>
          </a:p>
        </p:txBody>
      </p:sp>
      <p:sp>
        <p:nvSpPr>
          <p:cNvPr id="136" name="矩形: 圆角 135">
            <a:extLst>
              <a:ext uri="{FF2B5EF4-FFF2-40B4-BE49-F238E27FC236}">
                <a16:creationId xmlns:a16="http://schemas.microsoft.com/office/drawing/2014/main" id="{9863B8EC-CF73-4070-9F72-654203C7748F}"/>
              </a:ext>
            </a:extLst>
          </p:cNvPr>
          <p:cNvSpPr/>
          <p:nvPr/>
        </p:nvSpPr>
        <p:spPr>
          <a:xfrm>
            <a:off x="7713423" y="5054129"/>
            <a:ext cx="1220403" cy="419815"/>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Arial" panose="020F0502020204030204"/>
              <a:ea typeface="微软雅黑"/>
              <a:cs typeface="+mn-cs"/>
            </a:endParaRPr>
          </a:p>
        </p:txBody>
      </p:sp>
      <p:sp>
        <p:nvSpPr>
          <p:cNvPr id="137" name="矩形: 圆角 136">
            <a:extLst>
              <a:ext uri="{FF2B5EF4-FFF2-40B4-BE49-F238E27FC236}">
                <a16:creationId xmlns:a16="http://schemas.microsoft.com/office/drawing/2014/main" id="{554D279D-31B9-4A6D-95B9-EC96291D4A25}"/>
              </a:ext>
            </a:extLst>
          </p:cNvPr>
          <p:cNvSpPr/>
          <p:nvPr/>
        </p:nvSpPr>
        <p:spPr>
          <a:xfrm>
            <a:off x="5986202" y="5859977"/>
            <a:ext cx="1220403" cy="419815"/>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Arial" panose="020F0502020204030204"/>
              <a:ea typeface="微软雅黑"/>
              <a:cs typeface="+mn-cs"/>
            </a:endParaRPr>
          </a:p>
        </p:txBody>
      </p:sp>
      <p:sp>
        <p:nvSpPr>
          <p:cNvPr id="138" name="矩形: 圆角 137">
            <a:extLst>
              <a:ext uri="{FF2B5EF4-FFF2-40B4-BE49-F238E27FC236}">
                <a16:creationId xmlns:a16="http://schemas.microsoft.com/office/drawing/2014/main" id="{87DD8A6D-1CFE-4077-839D-73F0AA29B4AF}"/>
              </a:ext>
            </a:extLst>
          </p:cNvPr>
          <p:cNvSpPr/>
          <p:nvPr/>
        </p:nvSpPr>
        <p:spPr>
          <a:xfrm>
            <a:off x="9312468" y="4240160"/>
            <a:ext cx="1220403" cy="419815"/>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Arial" panose="020F0502020204030204"/>
              <a:ea typeface="微软雅黑"/>
              <a:cs typeface="+mn-cs"/>
            </a:endParaRPr>
          </a:p>
        </p:txBody>
      </p:sp>
      <p:sp>
        <p:nvSpPr>
          <p:cNvPr id="139" name="矩形: 圆角 138">
            <a:extLst>
              <a:ext uri="{FF2B5EF4-FFF2-40B4-BE49-F238E27FC236}">
                <a16:creationId xmlns:a16="http://schemas.microsoft.com/office/drawing/2014/main" id="{B8551A7A-D725-47D1-957F-28958E2D7F1C}"/>
              </a:ext>
            </a:extLst>
          </p:cNvPr>
          <p:cNvSpPr/>
          <p:nvPr/>
        </p:nvSpPr>
        <p:spPr>
          <a:xfrm>
            <a:off x="9312468" y="5054129"/>
            <a:ext cx="1220403" cy="419815"/>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Arial" panose="020F0502020204030204"/>
              <a:ea typeface="微软雅黑"/>
              <a:cs typeface="+mn-cs"/>
            </a:endParaRPr>
          </a:p>
        </p:txBody>
      </p:sp>
      <p:sp>
        <p:nvSpPr>
          <p:cNvPr id="140" name="矩形: 圆角 139">
            <a:extLst>
              <a:ext uri="{FF2B5EF4-FFF2-40B4-BE49-F238E27FC236}">
                <a16:creationId xmlns:a16="http://schemas.microsoft.com/office/drawing/2014/main" id="{65622A31-2172-4F23-8F61-CD9A3D2E1C84}"/>
              </a:ext>
            </a:extLst>
          </p:cNvPr>
          <p:cNvSpPr/>
          <p:nvPr/>
        </p:nvSpPr>
        <p:spPr>
          <a:xfrm>
            <a:off x="9312468" y="5859977"/>
            <a:ext cx="1220403" cy="419815"/>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Arial" panose="020F0502020204030204"/>
              <a:ea typeface="微软雅黑"/>
              <a:cs typeface="+mn-cs"/>
            </a:endParaRPr>
          </a:p>
        </p:txBody>
      </p:sp>
      <p:pic>
        <p:nvPicPr>
          <p:cNvPr id="106" name="image 106"/>
          <p:cNvPicPr>
            <a:picLocks noChangeAspect="1"/>
          </p:cNvPicPr>
          <p:nvPr/>
        </p:nvPicPr>
        <p:blipFill>
          <a:blip r:embed="rId11"/>
          <a:srcRect/>
          <a:stretch>
            <a:fillRect/>
          </a:stretch>
        </p:blipFill>
        <p:spPr>
          <a:xfrm>
            <a:off x="4162490" y="4444987"/>
            <a:ext cx="137160" cy="10160"/>
          </a:xfrm>
          <a:prstGeom prst="rect">
            <a:avLst/>
          </a:prstGeom>
        </p:spPr>
      </p:pic>
      <p:pic>
        <p:nvPicPr>
          <p:cNvPr id="108" name="image 108"/>
          <p:cNvPicPr>
            <a:picLocks noChangeAspect="1"/>
          </p:cNvPicPr>
          <p:nvPr/>
        </p:nvPicPr>
        <p:blipFill>
          <a:blip r:embed="rId6"/>
          <a:srcRect/>
          <a:stretch>
            <a:fillRect/>
          </a:stretch>
        </p:blipFill>
        <p:spPr>
          <a:xfrm>
            <a:off x="2473391" y="5258956"/>
            <a:ext cx="118111" cy="10160"/>
          </a:xfrm>
          <a:prstGeom prst="rect">
            <a:avLst/>
          </a:prstGeom>
        </p:spPr>
      </p:pic>
      <p:pic>
        <p:nvPicPr>
          <p:cNvPr id="109" name="image 109"/>
          <p:cNvPicPr>
            <a:picLocks noChangeAspect="1"/>
          </p:cNvPicPr>
          <p:nvPr/>
        </p:nvPicPr>
        <p:blipFill>
          <a:blip r:embed="rId7"/>
          <a:srcRect/>
          <a:stretch>
            <a:fillRect/>
          </a:stretch>
        </p:blipFill>
        <p:spPr>
          <a:xfrm>
            <a:off x="2486091" y="4444987"/>
            <a:ext cx="111759" cy="10160"/>
          </a:xfrm>
          <a:prstGeom prst="rect">
            <a:avLst/>
          </a:prstGeom>
        </p:spPr>
      </p:pic>
      <p:sp>
        <p:nvSpPr>
          <p:cNvPr id="1038" name="Object 1038"/>
          <p:cNvSpPr txBox="1"/>
          <p:nvPr/>
        </p:nvSpPr>
        <p:spPr>
          <a:xfrm>
            <a:off x="5478152" y="1943952"/>
            <a:ext cx="850900" cy="266700"/>
          </a:xfrm>
          <a:prstGeom prst="rect">
            <a:avLst/>
          </a:prstGeom>
        </p:spPr>
        <p:txBody>
          <a:bodyPr vert="horz" rtlCol="0" anchor="ctr" anchorCtr="0">
            <a:no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zh-CN" altLang="en-US" sz="1600" b="0" i="0" u="none" strike="noStrike" kern="1200" cap="none" spc="0" normalizeH="0" baseline="0" noProof="0" dirty="0">
                <a:ln>
                  <a:noFill/>
                </a:ln>
                <a:solidFill>
                  <a:srgbClr val="FFFFFF"/>
                </a:solidFill>
                <a:effectLst/>
                <a:uLnTx/>
                <a:uFillTx/>
                <a:latin typeface="OPPOSans M" panose="00020600040101010101" pitchFamily="18" charset="-122"/>
                <a:ea typeface="OPPOSans M" panose="00020600040101010101" pitchFamily="18" charset="-122"/>
                <a:cs typeface="+mn-cs"/>
              </a:rPr>
              <a:t>董事长</a:t>
            </a:r>
            <a:endParaRPr kumimoji="0" lang="zh-CN" altLang="en-US" sz="800" b="0" i="0" u="none" strike="noStrike" kern="1200" cap="none" spc="0" normalizeH="0" baseline="0" noProof="0" dirty="0">
              <a:ln>
                <a:noFill/>
              </a:ln>
              <a:solidFill>
                <a:srgbClr val="000000"/>
              </a:solidFill>
              <a:effectLst/>
              <a:uLnTx/>
              <a:uFillTx/>
              <a:latin typeface="Arial" panose="020F0502020204030204"/>
              <a:ea typeface="微软雅黑"/>
              <a:cs typeface="+mn-cs"/>
            </a:endParaRPr>
          </a:p>
        </p:txBody>
      </p:sp>
      <p:sp>
        <p:nvSpPr>
          <p:cNvPr id="1039" name="Object 1039"/>
          <p:cNvSpPr txBox="1"/>
          <p:nvPr/>
        </p:nvSpPr>
        <p:spPr>
          <a:xfrm>
            <a:off x="2896481" y="4338942"/>
            <a:ext cx="971550" cy="222250"/>
          </a:xfrm>
          <a:prstGeom prst="rect">
            <a:avLst/>
          </a:prstGeom>
        </p:spPr>
        <p:txBody>
          <a:bodyPr vert="horz" rtlCol="0" anchor="ctr" anchorCtr="0">
            <a:noAutofit/>
          </a:bodyPr>
          <a:lstStyle/>
          <a:p>
            <a:pPr marL="0" marR="0" lvl="0" indent="0" algn="l" defTabSz="914400" rtl="0" eaLnBrk="1" fontAlgn="auto" latinLnBrk="0" hangingPunct="1">
              <a:lnSpc>
                <a:spcPct val="104166"/>
              </a:lnSpc>
              <a:spcBef>
                <a:spcPts val="0"/>
              </a:spcBef>
              <a:spcAft>
                <a:spcPts val="0"/>
              </a:spcAft>
              <a:buClrTx/>
              <a:buSzTx/>
              <a:buFontTx/>
              <a:buNone/>
              <a:tabLst/>
              <a:defRPr/>
            </a:pPr>
            <a:r>
              <a:rPr kumimoji="0" lang="zh-CN" altLang="en-US" sz="1400" b="0" i="0" u="none" strike="noStrike" kern="1200" cap="none" spc="0" normalizeH="0" baseline="0" noProof="0" dirty="0">
                <a:ln>
                  <a:noFill/>
                </a:ln>
                <a:solidFill>
                  <a:srgbClr val="333333"/>
                </a:solidFill>
                <a:effectLst/>
                <a:uLnTx/>
                <a:uFillTx/>
                <a:latin typeface="OPPOSans L" panose="00020600040101010101" pitchFamily="18" charset="-122"/>
                <a:ea typeface="OPPOSans L" panose="00020600040101010101" pitchFamily="18" charset="-122"/>
                <a:cs typeface="+mn-cs"/>
              </a:rPr>
              <a:t>部门名称</a:t>
            </a:r>
            <a:endParaRPr kumimoji="0" lang="zh-CN" altLang="en-US" sz="900" b="0" i="0" u="none" strike="noStrike" kern="1200" cap="none" spc="0" normalizeH="0" baseline="0" noProof="0" dirty="0">
              <a:ln>
                <a:noFill/>
              </a:ln>
              <a:solidFill>
                <a:srgbClr val="000000"/>
              </a:solidFill>
              <a:effectLst/>
              <a:uLnTx/>
              <a:uFillTx/>
              <a:latin typeface="Arial" panose="020F0502020204030204"/>
              <a:ea typeface="微软雅黑"/>
              <a:cs typeface="+mn-cs"/>
            </a:endParaRPr>
          </a:p>
        </p:txBody>
      </p:sp>
      <p:sp>
        <p:nvSpPr>
          <p:cNvPr id="1044" name="Object 1044"/>
          <p:cNvSpPr txBox="1"/>
          <p:nvPr/>
        </p:nvSpPr>
        <p:spPr>
          <a:xfrm>
            <a:off x="2896481" y="5152911"/>
            <a:ext cx="971550" cy="222250"/>
          </a:xfrm>
          <a:prstGeom prst="rect">
            <a:avLst/>
          </a:prstGeom>
        </p:spPr>
        <p:txBody>
          <a:bodyPr vert="horz" rtlCol="0" anchor="ctr" anchorCtr="0">
            <a:noAutofit/>
          </a:bodyPr>
          <a:lstStyle/>
          <a:p>
            <a:pPr marL="0" marR="0" lvl="0" indent="0" algn="l" defTabSz="914400" rtl="0" eaLnBrk="1" fontAlgn="auto" latinLnBrk="0" hangingPunct="1">
              <a:lnSpc>
                <a:spcPct val="104166"/>
              </a:lnSpc>
              <a:spcBef>
                <a:spcPts val="0"/>
              </a:spcBef>
              <a:spcAft>
                <a:spcPts val="0"/>
              </a:spcAft>
              <a:buClrTx/>
              <a:buSzTx/>
              <a:buFontTx/>
              <a:buNone/>
              <a:tabLst/>
              <a:defRPr/>
            </a:pPr>
            <a:r>
              <a:rPr kumimoji="0" lang="zh-CN" altLang="en-US" sz="1400" b="0" i="0" u="none" strike="noStrike" kern="1200" cap="none" spc="0" normalizeH="0" baseline="0" noProof="0" dirty="0">
                <a:ln>
                  <a:noFill/>
                </a:ln>
                <a:solidFill>
                  <a:srgbClr val="333333"/>
                </a:solidFill>
                <a:effectLst/>
                <a:uLnTx/>
                <a:uFillTx/>
                <a:latin typeface="OPPOSans L" panose="00020600040101010101" pitchFamily="18" charset="-122"/>
                <a:ea typeface="OPPOSans L" panose="00020600040101010101" pitchFamily="18" charset="-122"/>
                <a:cs typeface="+mn-cs"/>
              </a:rPr>
              <a:t>部门名称</a:t>
            </a:r>
            <a:endParaRPr kumimoji="0" lang="zh-CN" altLang="en-US" sz="900" b="0" i="0" u="none" strike="noStrike" kern="1200" cap="none" spc="0" normalizeH="0" baseline="0" noProof="0" dirty="0">
              <a:ln>
                <a:noFill/>
              </a:ln>
              <a:solidFill>
                <a:srgbClr val="000000"/>
              </a:solidFill>
              <a:effectLst/>
              <a:uLnTx/>
              <a:uFillTx/>
              <a:latin typeface="Arial" panose="020F0502020204030204"/>
              <a:ea typeface="微软雅黑"/>
              <a:cs typeface="+mn-cs"/>
            </a:endParaRPr>
          </a:p>
        </p:txBody>
      </p:sp>
      <p:sp>
        <p:nvSpPr>
          <p:cNvPr id="1049" name="Object 1049"/>
          <p:cNvSpPr txBox="1"/>
          <p:nvPr/>
        </p:nvSpPr>
        <p:spPr>
          <a:xfrm>
            <a:off x="4610981" y="4338942"/>
            <a:ext cx="971550" cy="222250"/>
          </a:xfrm>
          <a:prstGeom prst="rect">
            <a:avLst/>
          </a:prstGeom>
        </p:spPr>
        <p:txBody>
          <a:bodyPr vert="horz" rtlCol="0" anchor="ctr" anchorCtr="0">
            <a:noAutofit/>
          </a:bodyPr>
          <a:lstStyle/>
          <a:p>
            <a:pPr marL="0" marR="0" lvl="0" indent="0" algn="l" defTabSz="914400" rtl="0" eaLnBrk="1" fontAlgn="auto" latinLnBrk="0" hangingPunct="1">
              <a:lnSpc>
                <a:spcPct val="104166"/>
              </a:lnSpc>
              <a:spcBef>
                <a:spcPts val="0"/>
              </a:spcBef>
              <a:spcAft>
                <a:spcPts val="0"/>
              </a:spcAft>
              <a:buClrTx/>
              <a:buSzTx/>
              <a:buFontTx/>
              <a:buNone/>
              <a:tabLst/>
              <a:defRPr/>
            </a:pPr>
            <a:r>
              <a:rPr kumimoji="0" lang="zh-CN" altLang="en-US" sz="1400" b="0" i="0" u="none" strike="noStrike" kern="1200" cap="none" spc="0" normalizeH="0" baseline="0" noProof="0" dirty="0">
                <a:ln>
                  <a:noFill/>
                </a:ln>
                <a:solidFill>
                  <a:srgbClr val="333333"/>
                </a:solidFill>
                <a:effectLst/>
                <a:uLnTx/>
                <a:uFillTx/>
                <a:latin typeface="OPPOSans L" panose="00020600040101010101" pitchFamily="18" charset="-122"/>
                <a:ea typeface="OPPOSans L" panose="00020600040101010101" pitchFamily="18" charset="-122"/>
                <a:cs typeface="+mn-cs"/>
              </a:rPr>
              <a:t>部门名称</a:t>
            </a:r>
            <a:endParaRPr kumimoji="0" lang="zh-CN" altLang="en-US" sz="900" b="0" i="0" u="none" strike="noStrike" kern="1200" cap="none" spc="0" normalizeH="0" baseline="0" noProof="0" dirty="0">
              <a:ln>
                <a:noFill/>
              </a:ln>
              <a:solidFill>
                <a:srgbClr val="000000"/>
              </a:solidFill>
              <a:effectLst/>
              <a:uLnTx/>
              <a:uFillTx/>
              <a:latin typeface="Arial" panose="020F0502020204030204"/>
              <a:ea typeface="微软雅黑"/>
              <a:cs typeface="+mn-cs"/>
            </a:endParaRPr>
          </a:p>
        </p:txBody>
      </p:sp>
      <p:sp>
        <p:nvSpPr>
          <p:cNvPr id="1054" name="Object 1054"/>
          <p:cNvSpPr txBox="1"/>
          <p:nvPr/>
        </p:nvSpPr>
        <p:spPr>
          <a:xfrm>
            <a:off x="4610981" y="5152911"/>
            <a:ext cx="971550" cy="222250"/>
          </a:xfrm>
          <a:prstGeom prst="rect">
            <a:avLst/>
          </a:prstGeom>
        </p:spPr>
        <p:txBody>
          <a:bodyPr vert="horz" rtlCol="0" anchor="ctr" anchorCtr="0">
            <a:noAutofit/>
          </a:bodyPr>
          <a:lstStyle/>
          <a:p>
            <a:pPr marL="0" marR="0" lvl="0" indent="0" algn="l" defTabSz="914400" rtl="0" eaLnBrk="1" fontAlgn="auto" latinLnBrk="0" hangingPunct="1">
              <a:lnSpc>
                <a:spcPct val="104166"/>
              </a:lnSpc>
              <a:spcBef>
                <a:spcPts val="0"/>
              </a:spcBef>
              <a:spcAft>
                <a:spcPts val="0"/>
              </a:spcAft>
              <a:buClrTx/>
              <a:buSzTx/>
              <a:buFontTx/>
              <a:buNone/>
              <a:tabLst/>
              <a:defRPr/>
            </a:pPr>
            <a:r>
              <a:rPr kumimoji="0" lang="zh-CN" altLang="en-US" sz="1400" b="0" i="0" u="none" strike="noStrike" kern="1200" cap="none" spc="0" normalizeH="0" baseline="0" noProof="0" dirty="0">
                <a:ln>
                  <a:noFill/>
                </a:ln>
                <a:solidFill>
                  <a:srgbClr val="333333"/>
                </a:solidFill>
                <a:effectLst/>
                <a:uLnTx/>
                <a:uFillTx/>
                <a:latin typeface="OPPOSans L" panose="00020600040101010101" pitchFamily="18" charset="-122"/>
                <a:ea typeface="OPPOSans L" panose="00020600040101010101" pitchFamily="18" charset="-122"/>
                <a:cs typeface="+mn-cs"/>
              </a:rPr>
              <a:t>部门名称</a:t>
            </a:r>
            <a:endParaRPr kumimoji="0" lang="zh-CN" altLang="en-US" sz="900" b="0" i="0" u="none" strike="noStrike" kern="1200" cap="none" spc="0" normalizeH="0" baseline="0" noProof="0" dirty="0">
              <a:ln>
                <a:noFill/>
              </a:ln>
              <a:solidFill>
                <a:srgbClr val="000000"/>
              </a:solidFill>
              <a:effectLst/>
              <a:uLnTx/>
              <a:uFillTx/>
              <a:latin typeface="Arial" panose="020F0502020204030204"/>
              <a:ea typeface="微软雅黑"/>
              <a:cs typeface="+mn-cs"/>
            </a:endParaRPr>
          </a:p>
        </p:txBody>
      </p:sp>
      <p:sp>
        <p:nvSpPr>
          <p:cNvPr id="1059" name="Object 1059"/>
          <p:cNvSpPr txBox="1"/>
          <p:nvPr/>
        </p:nvSpPr>
        <p:spPr>
          <a:xfrm>
            <a:off x="7989180" y="4338942"/>
            <a:ext cx="971550" cy="222250"/>
          </a:xfrm>
          <a:prstGeom prst="rect">
            <a:avLst/>
          </a:prstGeom>
        </p:spPr>
        <p:txBody>
          <a:bodyPr vert="horz" rtlCol="0" anchor="ctr" anchorCtr="0">
            <a:noAutofit/>
          </a:bodyPr>
          <a:lstStyle/>
          <a:p>
            <a:pPr marL="0" marR="0" lvl="0" indent="0" algn="l" defTabSz="914400" rtl="0" eaLnBrk="1" fontAlgn="auto" latinLnBrk="0" hangingPunct="1">
              <a:lnSpc>
                <a:spcPct val="104166"/>
              </a:lnSpc>
              <a:spcBef>
                <a:spcPts val="0"/>
              </a:spcBef>
              <a:spcAft>
                <a:spcPts val="0"/>
              </a:spcAft>
              <a:buClrTx/>
              <a:buSzTx/>
              <a:buFontTx/>
              <a:buNone/>
              <a:tabLst/>
              <a:defRPr/>
            </a:pPr>
            <a:r>
              <a:rPr kumimoji="0" lang="zh-CN" altLang="en-US" sz="1400" b="0" i="0" u="none" strike="noStrike" kern="1200" cap="none" spc="0" normalizeH="0" baseline="0" noProof="0" dirty="0">
                <a:ln>
                  <a:noFill/>
                </a:ln>
                <a:solidFill>
                  <a:srgbClr val="333333"/>
                </a:solidFill>
                <a:effectLst/>
                <a:uLnTx/>
                <a:uFillTx/>
                <a:latin typeface="OPPOSans L" panose="00020600040101010101" pitchFamily="18" charset="-122"/>
                <a:ea typeface="OPPOSans L" panose="00020600040101010101" pitchFamily="18" charset="-122"/>
                <a:cs typeface="+mn-cs"/>
              </a:rPr>
              <a:t>部门名称</a:t>
            </a:r>
            <a:endParaRPr kumimoji="0" lang="zh-CN" altLang="en-US" sz="900" b="0" i="0" u="none" strike="noStrike" kern="1200" cap="none" spc="0" normalizeH="0" baseline="0" noProof="0" dirty="0">
              <a:ln>
                <a:noFill/>
              </a:ln>
              <a:solidFill>
                <a:srgbClr val="000000"/>
              </a:solidFill>
              <a:effectLst/>
              <a:uLnTx/>
              <a:uFillTx/>
              <a:latin typeface="Arial" panose="020F0502020204030204"/>
              <a:ea typeface="微软雅黑"/>
              <a:cs typeface="+mn-cs"/>
            </a:endParaRPr>
          </a:p>
        </p:txBody>
      </p:sp>
      <p:sp>
        <p:nvSpPr>
          <p:cNvPr id="1064" name="Object 1064"/>
          <p:cNvSpPr txBox="1"/>
          <p:nvPr/>
        </p:nvSpPr>
        <p:spPr>
          <a:xfrm>
            <a:off x="7976481" y="5152911"/>
            <a:ext cx="971550" cy="222250"/>
          </a:xfrm>
          <a:prstGeom prst="rect">
            <a:avLst/>
          </a:prstGeom>
        </p:spPr>
        <p:txBody>
          <a:bodyPr vert="horz" rtlCol="0" anchor="ctr" anchorCtr="0">
            <a:noAutofit/>
          </a:bodyPr>
          <a:lstStyle/>
          <a:p>
            <a:pPr marL="0" marR="0" lvl="0" indent="0" algn="l" defTabSz="914400" rtl="0" eaLnBrk="1" fontAlgn="auto" latinLnBrk="0" hangingPunct="1">
              <a:lnSpc>
                <a:spcPct val="104166"/>
              </a:lnSpc>
              <a:spcBef>
                <a:spcPts val="0"/>
              </a:spcBef>
              <a:spcAft>
                <a:spcPts val="0"/>
              </a:spcAft>
              <a:buClrTx/>
              <a:buSzTx/>
              <a:buFontTx/>
              <a:buNone/>
              <a:tabLst/>
              <a:defRPr/>
            </a:pPr>
            <a:r>
              <a:rPr kumimoji="0" lang="zh-CN" altLang="en-US" sz="1400" b="0" i="0" u="none" strike="noStrike" kern="1200" cap="none" spc="0" normalizeH="0" baseline="0" noProof="0" dirty="0">
                <a:ln>
                  <a:noFill/>
                </a:ln>
                <a:solidFill>
                  <a:srgbClr val="333333"/>
                </a:solidFill>
                <a:effectLst/>
                <a:uLnTx/>
                <a:uFillTx/>
                <a:latin typeface="OPPOSans L" panose="00020600040101010101" pitchFamily="18" charset="-122"/>
                <a:ea typeface="OPPOSans L" panose="00020600040101010101" pitchFamily="18" charset="-122"/>
                <a:cs typeface="+mn-cs"/>
              </a:rPr>
              <a:t>部门名称</a:t>
            </a:r>
            <a:endParaRPr kumimoji="0" lang="zh-CN" altLang="en-US" sz="900" b="0" i="0" u="none" strike="noStrike" kern="1200" cap="none" spc="0" normalizeH="0" baseline="0" noProof="0" dirty="0">
              <a:ln>
                <a:noFill/>
              </a:ln>
              <a:solidFill>
                <a:srgbClr val="000000"/>
              </a:solidFill>
              <a:effectLst/>
              <a:uLnTx/>
              <a:uFillTx/>
              <a:latin typeface="Arial" panose="020F0502020204030204"/>
              <a:ea typeface="微软雅黑"/>
              <a:cs typeface="+mn-cs"/>
            </a:endParaRPr>
          </a:p>
        </p:txBody>
      </p:sp>
      <p:sp>
        <p:nvSpPr>
          <p:cNvPr id="1069" name="Object 1069"/>
          <p:cNvSpPr txBox="1"/>
          <p:nvPr/>
        </p:nvSpPr>
        <p:spPr>
          <a:xfrm>
            <a:off x="2896481" y="5958759"/>
            <a:ext cx="971550" cy="222250"/>
          </a:xfrm>
          <a:prstGeom prst="rect">
            <a:avLst/>
          </a:prstGeom>
        </p:spPr>
        <p:txBody>
          <a:bodyPr vert="horz" rtlCol="0" anchor="ctr" anchorCtr="0">
            <a:noAutofit/>
          </a:bodyPr>
          <a:lstStyle/>
          <a:p>
            <a:pPr marL="0" marR="0" lvl="0" indent="0" algn="l" defTabSz="914400" rtl="0" eaLnBrk="1" fontAlgn="auto" latinLnBrk="0" hangingPunct="1">
              <a:lnSpc>
                <a:spcPct val="104166"/>
              </a:lnSpc>
              <a:spcBef>
                <a:spcPts val="0"/>
              </a:spcBef>
              <a:spcAft>
                <a:spcPts val="0"/>
              </a:spcAft>
              <a:buClrTx/>
              <a:buSzTx/>
              <a:buFontTx/>
              <a:buNone/>
              <a:tabLst/>
              <a:defRPr/>
            </a:pPr>
            <a:r>
              <a:rPr kumimoji="0" lang="zh-CN" altLang="en-US" sz="1400" b="0" i="0" u="none" strike="noStrike" kern="1200" cap="none" spc="0" normalizeH="0" baseline="0" noProof="0" dirty="0">
                <a:ln>
                  <a:noFill/>
                </a:ln>
                <a:solidFill>
                  <a:srgbClr val="333333"/>
                </a:solidFill>
                <a:effectLst/>
                <a:uLnTx/>
                <a:uFillTx/>
                <a:latin typeface="OPPOSans L" panose="00020600040101010101" pitchFamily="18" charset="-122"/>
                <a:ea typeface="OPPOSans L" panose="00020600040101010101" pitchFamily="18" charset="-122"/>
                <a:cs typeface="+mn-cs"/>
              </a:rPr>
              <a:t>部门名称</a:t>
            </a:r>
            <a:endParaRPr kumimoji="0" lang="zh-CN" altLang="en-US" sz="900" b="0" i="0" u="none" strike="noStrike" kern="1200" cap="none" spc="0" normalizeH="0" baseline="0" noProof="0" dirty="0">
              <a:ln>
                <a:noFill/>
              </a:ln>
              <a:solidFill>
                <a:srgbClr val="000000"/>
              </a:solidFill>
              <a:effectLst/>
              <a:uLnTx/>
              <a:uFillTx/>
              <a:latin typeface="Arial" panose="020F0502020204030204"/>
              <a:ea typeface="微软雅黑"/>
              <a:cs typeface="+mn-cs"/>
            </a:endParaRPr>
          </a:p>
        </p:txBody>
      </p:sp>
      <p:sp>
        <p:nvSpPr>
          <p:cNvPr id="1074" name="Object 1074"/>
          <p:cNvSpPr txBox="1"/>
          <p:nvPr/>
        </p:nvSpPr>
        <p:spPr>
          <a:xfrm>
            <a:off x="6306431" y="4338942"/>
            <a:ext cx="971550" cy="222250"/>
          </a:xfrm>
          <a:prstGeom prst="rect">
            <a:avLst/>
          </a:prstGeom>
        </p:spPr>
        <p:txBody>
          <a:bodyPr vert="horz" rtlCol="0" anchor="ctr" anchorCtr="0">
            <a:noAutofit/>
          </a:bodyPr>
          <a:lstStyle/>
          <a:p>
            <a:pPr marL="0" marR="0" lvl="0" indent="0" algn="l" defTabSz="914400" rtl="0" eaLnBrk="1" fontAlgn="auto" latinLnBrk="0" hangingPunct="1">
              <a:lnSpc>
                <a:spcPct val="104166"/>
              </a:lnSpc>
              <a:spcBef>
                <a:spcPts val="0"/>
              </a:spcBef>
              <a:spcAft>
                <a:spcPts val="0"/>
              </a:spcAft>
              <a:buClrTx/>
              <a:buSzTx/>
              <a:buFontTx/>
              <a:buNone/>
              <a:tabLst/>
              <a:defRPr/>
            </a:pPr>
            <a:r>
              <a:rPr kumimoji="0" lang="zh-CN" altLang="en-US" sz="1400" b="0" i="0" u="none" strike="noStrike" kern="1200" cap="none" spc="0" normalizeH="0" baseline="0" noProof="0" dirty="0">
                <a:ln>
                  <a:noFill/>
                </a:ln>
                <a:solidFill>
                  <a:srgbClr val="333333"/>
                </a:solidFill>
                <a:effectLst/>
                <a:uLnTx/>
                <a:uFillTx/>
                <a:latin typeface="OPPOSans L" panose="00020600040101010101" pitchFamily="18" charset="-122"/>
                <a:ea typeface="OPPOSans L" panose="00020600040101010101" pitchFamily="18" charset="-122"/>
                <a:cs typeface="+mn-cs"/>
              </a:rPr>
              <a:t>部门名称</a:t>
            </a:r>
            <a:endParaRPr kumimoji="0" lang="zh-CN" altLang="en-US" sz="900" b="0" i="0" u="none" strike="noStrike" kern="1200" cap="none" spc="0" normalizeH="0" baseline="0" noProof="0" dirty="0">
              <a:ln>
                <a:noFill/>
              </a:ln>
              <a:solidFill>
                <a:srgbClr val="000000"/>
              </a:solidFill>
              <a:effectLst/>
              <a:uLnTx/>
              <a:uFillTx/>
              <a:latin typeface="Arial" panose="020F0502020204030204"/>
              <a:ea typeface="微软雅黑"/>
              <a:cs typeface="+mn-cs"/>
            </a:endParaRPr>
          </a:p>
        </p:txBody>
      </p:sp>
      <p:sp>
        <p:nvSpPr>
          <p:cNvPr id="1079" name="Object 1079"/>
          <p:cNvSpPr txBox="1"/>
          <p:nvPr/>
        </p:nvSpPr>
        <p:spPr>
          <a:xfrm>
            <a:off x="6300081" y="5152911"/>
            <a:ext cx="971550" cy="222250"/>
          </a:xfrm>
          <a:prstGeom prst="rect">
            <a:avLst/>
          </a:prstGeom>
        </p:spPr>
        <p:txBody>
          <a:bodyPr vert="horz" rtlCol="0" anchor="ctr" anchorCtr="0">
            <a:noAutofit/>
          </a:bodyPr>
          <a:lstStyle/>
          <a:p>
            <a:pPr marL="0" marR="0" lvl="0" indent="0" algn="l" defTabSz="914400" rtl="0" eaLnBrk="1" fontAlgn="auto" latinLnBrk="0" hangingPunct="1">
              <a:lnSpc>
                <a:spcPct val="104166"/>
              </a:lnSpc>
              <a:spcBef>
                <a:spcPts val="0"/>
              </a:spcBef>
              <a:spcAft>
                <a:spcPts val="0"/>
              </a:spcAft>
              <a:buClrTx/>
              <a:buSzTx/>
              <a:buFontTx/>
              <a:buNone/>
              <a:tabLst/>
              <a:defRPr/>
            </a:pPr>
            <a:r>
              <a:rPr kumimoji="0" lang="zh-CN" altLang="en-US" sz="1400" b="0" i="0" u="none" strike="noStrike" kern="1200" cap="none" spc="0" normalizeH="0" baseline="0" noProof="0" dirty="0">
                <a:ln>
                  <a:noFill/>
                </a:ln>
                <a:solidFill>
                  <a:srgbClr val="333333"/>
                </a:solidFill>
                <a:effectLst/>
                <a:uLnTx/>
                <a:uFillTx/>
                <a:latin typeface="OPPOSans L" panose="00020600040101010101" pitchFamily="18" charset="-122"/>
                <a:ea typeface="OPPOSans L" panose="00020600040101010101" pitchFamily="18" charset="-122"/>
                <a:cs typeface="+mn-cs"/>
              </a:rPr>
              <a:t>部门名称</a:t>
            </a:r>
            <a:endParaRPr kumimoji="0" lang="zh-CN" altLang="en-US" sz="900" b="0" i="0" u="none" strike="noStrike" kern="1200" cap="none" spc="0" normalizeH="0" baseline="0" noProof="0" dirty="0">
              <a:ln>
                <a:noFill/>
              </a:ln>
              <a:solidFill>
                <a:srgbClr val="000000"/>
              </a:solidFill>
              <a:effectLst/>
              <a:uLnTx/>
              <a:uFillTx/>
              <a:latin typeface="Arial" panose="020F0502020204030204"/>
              <a:ea typeface="微软雅黑"/>
              <a:cs typeface="+mn-cs"/>
            </a:endParaRPr>
          </a:p>
        </p:txBody>
      </p:sp>
      <p:sp>
        <p:nvSpPr>
          <p:cNvPr id="1084" name="Object 1084"/>
          <p:cNvSpPr txBox="1"/>
          <p:nvPr/>
        </p:nvSpPr>
        <p:spPr>
          <a:xfrm>
            <a:off x="6300081" y="5958759"/>
            <a:ext cx="971550" cy="222250"/>
          </a:xfrm>
          <a:prstGeom prst="rect">
            <a:avLst/>
          </a:prstGeom>
        </p:spPr>
        <p:txBody>
          <a:bodyPr vert="horz" rtlCol="0" anchor="ctr" anchorCtr="0">
            <a:noAutofit/>
          </a:bodyPr>
          <a:lstStyle/>
          <a:p>
            <a:pPr marL="0" marR="0" lvl="0" indent="0" algn="l" defTabSz="914400" rtl="0" eaLnBrk="1" fontAlgn="auto" latinLnBrk="0" hangingPunct="1">
              <a:lnSpc>
                <a:spcPct val="104166"/>
              </a:lnSpc>
              <a:spcBef>
                <a:spcPts val="0"/>
              </a:spcBef>
              <a:spcAft>
                <a:spcPts val="0"/>
              </a:spcAft>
              <a:buClrTx/>
              <a:buSzTx/>
              <a:buFontTx/>
              <a:buNone/>
              <a:tabLst/>
              <a:defRPr/>
            </a:pPr>
            <a:r>
              <a:rPr kumimoji="0" lang="zh-CN" altLang="en-US" sz="1400" b="0" i="0" u="none" strike="noStrike" kern="1200" cap="none" spc="0" normalizeH="0" baseline="0" noProof="0" dirty="0">
                <a:ln>
                  <a:noFill/>
                </a:ln>
                <a:solidFill>
                  <a:srgbClr val="333333"/>
                </a:solidFill>
                <a:effectLst/>
                <a:uLnTx/>
                <a:uFillTx/>
                <a:latin typeface="OPPOSans L" panose="00020600040101010101" pitchFamily="18" charset="-122"/>
                <a:ea typeface="OPPOSans L" panose="00020600040101010101" pitchFamily="18" charset="-122"/>
                <a:cs typeface="+mn-cs"/>
              </a:rPr>
              <a:t>部门名称</a:t>
            </a:r>
            <a:endParaRPr kumimoji="0" lang="zh-CN" altLang="en-US" sz="900" b="0" i="0" u="none" strike="noStrike" kern="1200" cap="none" spc="0" normalizeH="0" baseline="0" noProof="0" dirty="0">
              <a:ln>
                <a:noFill/>
              </a:ln>
              <a:solidFill>
                <a:srgbClr val="000000"/>
              </a:solidFill>
              <a:effectLst/>
              <a:uLnTx/>
              <a:uFillTx/>
              <a:latin typeface="Arial" panose="020F0502020204030204"/>
              <a:ea typeface="微软雅黑"/>
              <a:cs typeface="+mn-cs"/>
            </a:endParaRPr>
          </a:p>
        </p:txBody>
      </p:sp>
      <p:sp>
        <p:nvSpPr>
          <p:cNvPr id="1089" name="Object 1089"/>
          <p:cNvSpPr txBox="1"/>
          <p:nvPr/>
        </p:nvSpPr>
        <p:spPr>
          <a:xfrm>
            <a:off x="9633831" y="4338942"/>
            <a:ext cx="971550" cy="222250"/>
          </a:xfrm>
          <a:prstGeom prst="rect">
            <a:avLst/>
          </a:prstGeom>
        </p:spPr>
        <p:txBody>
          <a:bodyPr vert="horz" rtlCol="0" anchor="ctr" anchorCtr="0">
            <a:noAutofit/>
          </a:bodyPr>
          <a:lstStyle/>
          <a:p>
            <a:pPr marL="0" marR="0" lvl="0" indent="0" algn="l" defTabSz="914400" rtl="0" eaLnBrk="1" fontAlgn="auto" latinLnBrk="0" hangingPunct="1">
              <a:lnSpc>
                <a:spcPct val="104166"/>
              </a:lnSpc>
              <a:spcBef>
                <a:spcPts val="0"/>
              </a:spcBef>
              <a:spcAft>
                <a:spcPts val="0"/>
              </a:spcAft>
              <a:buClrTx/>
              <a:buSzTx/>
              <a:buFontTx/>
              <a:buNone/>
              <a:tabLst/>
              <a:defRPr/>
            </a:pPr>
            <a:r>
              <a:rPr kumimoji="0" lang="zh-CN" altLang="en-US" sz="1400" b="0" i="0" u="none" strike="noStrike" kern="1200" cap="none" spc="0" normalizeH="0" baseline="0" noProof="0" dirty="0">
                <a:ln>
                  <a:noFill/>
                </a:ln>
                <a:solidFill>
                  <a:srgbClr val="333333"/>
                </a:solidFill>
                <a:effectLst/>
                <a:uLnTx/>
                <a:uFillTx/>
                <a:latin typeface="OPPOSans L" panose="00020600040101010101" pitchFamily="18" charset="-122"/>
                <a:ea typeface="OPPOSans L" panose="00020600040101010101" pitchFamily="18" charset="-122"/>
                <a:cs typeface="+mn-cs"/>
              </a:rPr>
              <a:t>部门名称</a:t>
            </a:r>
            <a:endParaRPr kumimoji="0" lang="zh-CN" altLang="en-US" sz="900" b="0" i="0" u="none" strike="noStrike" kern="1200" cap="none" spc="0" normalizeH="0" baseline="0" noProof="0" dirty="0">
              <a:ln>
                <a:noFill/>
              </a:ln>
              <a:solidFill>
                <a:srgbClr val="000000"/>
              </a:solidFill>
              <a:effectLst/>
              <a:uLnTx/>
              <a:uFillTx/>
              <a:latin typeface="Arial" panose="020F0502020204030204"/>
              <a:ea typeface="微软雅黑"/>
              <a:cs typeface="+mn-cs"/>
            </a:endParaRPr>
          </a:p>
        </p:txBody>
      </p:sp>
      <p:sp>
        <p:nvSpPr>
          <p:cNvPr id="1094" name="Object 1094"/>
          <p:cNvSpPr txBox="1"/>
          <p:nvPr/>
        </p:nvSpPr>
        <p:spPr>
          <a:xfrm>
            <a:off x="9640181" y="5152911"/>
            <a:ext cx="971550" cy="222250"/>
          </a:xfrm>
          <a:prstGeom prst="rect">
            <a:avLst/>
          </a:prstGeom>
        </p:spPr>
        <p:txBody>
          <a:bodyPr vert="horz" rtlCol="0" anchor="ctr" anchorCtr="0">
            <a:noAutofit/>
          </a:bodyPr>
          <a:lstStyle/>
          <a:p>
            <a:pPr marL="0" marR="0" lvl="0" indent="0" algn="l" defTabSz="914400" rtl="0" eaLnBrk="1" fontAlgn="auto" latinLnBrk="0" hangingPunct="1">
              <a:lnSpc>
                <a:spcPct val="104166"/>
              </a:lnSpc>
              <a:spcBef>
                <a:spcPts val="0"/>
              </a:spcBef>
              <a:spcAft>
                <a:spcPts val="0"/>
              </a:spcAft>
              <a:buClrTx/>
              <a:buSzTx/>
              <a:buFontTx/>
              <a:buNone/>
              <a:tabLst/>
              <a:defRPr/>
            </a:pPr>
            <a:r>
              <a:rPr kumimoji="0" lang="zh-CN" altLang="en-US" sz="1400" b="0" i="0" u="none" strike="noStrike" kern="1200" cap="none" spc="0" normalizeH="0" baseline="0" noProof="0" dirty="0">
                <a:ln>
                  <a:noFill/>
                </a:ln>
                <a:solidFill>
                  <a:srgbClr val="333333"/>
                </a:solidFill>
                <a:effectLst/>
                <a:uLnTx/>
                <a:uFillTx/>
                <a:latin typeface="OPPOSans L" panose="00020600040101010101" pitchFamily="18" charset="-122"/>
                <a:ea typeface="OPPOSans L" panose="00020600040101010101" pitchFamily="18" charset="-122"/>
                <a:cs typeface="+mn-cs"/>
              </a:rPr>
              <a:t>部门名称</a:t>
            </a:r>
            <a:endParaRPr kumimoji="0" lang="zh-CN" altLang="en-US" sz="900" b="0" i="0" u="none" strike="noStrike" kern="1200" cap="none" spc="0" normalizeH="0" baseline="0" noProof="0" dirty="0">
              <a:ln>
                <a:noFill/>
              </a:ln>
              <a:solidFill>
                <a:srgbClr val="000000"/>
              </a:solidFill>
              <a:effectLst/>
              <a:uLnTx/>
              <a:uFillTx/>
              <a:latin typeface="Arial" panose="020F0502020204030204"/>
              <a:ea typeface="微软雅黑"/>
              <a:cs typeface="+mn-cs"/>
            </a:endParaRPr>
          </a:p>
        </p:txBody>
      </p:sp>
      <p:sp>
        <p:nvSpPr>
          <p:cNvPr id="1099" name="Object 1099"/>
          <p:cNvSpPr txBox="1"/>
          <p:nvPr/>
        </p:nvSpPr>
        <p:spPr>
          <a:xfrm>
            <a:off x="9640181" y="5958759"/>
            <a:ext cx="971550" cy="222250"/>
          </a:xfrm>
          <a:prstGeom prst="rect">
            <a:avLst/>
          </a:prstGeom>
        </p:spPr>
        <p:txBody>
          <a:bodyPr vert="horz" rtlCol="0" anchor="ctr" anchorCtr="0">
            <a:noAutofit/>
          </a:bodyPr>
          <a:lstStyle/>
          <a:p>
            <a:pPr marL="0" marR="0" lvl="0" indent="0" algn="l" defTabSz="914400" rtl="0" eaLnBrk="1" fontAlgn="auto" latinLnBrk="0" hangingPunct="1">
              <a:lnSpc>
                <a:spcPct val="104166"/>
              </a:lnSpc>
              <a:spcBef>
                <a:spcPts val="0"/>
              </a:spcBef>
              <a:spcAft>
                <a:spcPts val="0"/>
              </a:spcAft>
              <a:buClrTx/>
              <a:buSzTx/>
              <a:buFontTx/>
              <a:buNone/>
              <a:tabLst/>
              <a:defRPr/>
            </a:pPr>
            <a:r>
              <a:rPr kumimoji="0" lang="zh-CN" altLang="en-US" sz="1400" b="0" i="0" u="none" strike="noStrike" kern="1200" cap="none" spc="0" normalizeH="0" baseline="0" noProof="0" dirty="0">
                <a:ln>
                  <a:noFill/>
                </a:ln>
                <a:solidFill>
                  <a:srgbClr val="333333"/>
                </a:solidFill>
                <a:effectLst/>
                <a:uLnTx/>
                <a:uFillTx/>
                <a:latin typeface="OPPOSans L" panose="00020600040101010101" pitchFamily="18" charset="-122"/>
                <a:ea typeface="OPPOSans L" panose="00020600040101010101" pitchFamily="18" charset="-122"/>
                <a:cs typeface="+mn-cs"/>
              </a:rPr>
              <a:t>部门名称</a:t>
            </a:r>
            <a:endParaRPr kumimoji="0" lang="zh-CN" altLang="en-US" sz="900" b="0" i="0" u="none" strike="noStrike" kern="1200" cap="none" spc="0" normalizeH="0" baseline="0" noProof="0" dirty="0">
              <a:ln>
                <a:noFill/>
              </a:ln>
              <a:solidFill>
                <a:srgbClr val="000000"/>
              </a:solidFill>
              <a:effectLst/>
              <a:uLnTx/>
              <a:uFillTx/>
              <a:latin typeface="Arial" panose="020F0502020204030204"/>
              <a:ea typeface="微软雅黑"/>
              <a:cs typeface="+mn-cs"/>
            </a:endParaRPr>
          </a:p>
        </p:txBody>
      </p:sp>
      <p:sp>
        <p:nvSpPr>
          <p:cNvPr id="171" name="Oval 2">
            <a:extLst>
              <a:ext uri="{FF2B5EF4-FFF2-40B4-BE49-F238E27FC236}">
                <a16:creationId xmlns:a16="http://schemas.microsoft.com/office/drawing/2014/main" id="{43BF9C7B-6219-4DC7-A7BD-C54F026639DB}"/>
              </a:ext>
            </a:extLst>
          </p:cNvPr>
          <p:cNvSpPr/>
          <p:nvPr/>
        </p:nvSpPr>
        <p:spPr>
          <a:xfrm>
            <a:off x="5664122" y="1531062"/>
            <a:ext cx="389154" cy="374122"/>
          </a:xfrm>
          <a:custGeom>
            <a:avLst/>
            <a:gdLst>
              <a:gd name="connsiteX0" fmla="*/ 152925 w 359004"/>
              <a:gd name="connsiteY0" fmla="*/ 125701 h 345141"/>
              <a:gd name="connsiteX1" fmla="*/ 128863 w 359004"/>
              <a:gd name="connsiteY1" fmla="*/ 149836 h 345141"/>
              <a:gd name="connsiteX2" fmla="*/ 153572 w 359004"/>
              <a:gd name="connsiteY2" fmla="*/ 173971 h 345141"/>
              <a:gd name="connsiteX3" fmla="*/ 155655 w 359004"/>
              <a:gd name="connsiteY3" fmla="*/ 173971 h 345141"/>
              <a:gd name="connsiteX4" fmla="*/ 155871 w 359004"/>
              <a:gd name="connsiteY4" fmla="*/ 173971 h 345141"/>
              <a:gd name="connsiteX5" fmla="*/ 179861 w 359004"/>
              <a:gd name="connsiteY5" fmla="*/ 149764 h 345141"/>
              <a:gd name="connsiteX6" fmla="*/ 155511 w 359004"/>
              <a:gd name="connsiteY6" fmla="*/ 125701 h 345141"/>
              <a:gd name="connsiteX7" fmla="*/ 153931 w 359004"/>
              <a:gd name="connsiteY7" fmla="*/ 125701 h 345141"/>
              <a:gd name="connsiteX8" fmla="*/ 153572 w 359004"/>
              <a:gd name="connsiteY8" fmla="*/ 111407 h 345141"/>
              <a:gd name="connsiteX9" fmla="*/ 155081 w 359004"/>
              <a:gd name="connsiteY9" fmla="*/ 111407 h 345141"/>
              <a:gd name="connsiteX10" fmla="*/ 194227 w 359004"/>
              <a:gd name="connsiteY10" fmla="*/ 149836 h 345141"/>
              <a:gd name="connsiteX11" fmla="*/ 155081 w 359004"/>
              <a:gd name="connsiteY11" fmla="*/ 188337 h 345141"/>
              <a:gd name="connsiteX12" fmla="*/ 153572 w 359004"/>
              <a:gd name="connsiteY12" fmla="*/ 188337 h 345141"/>
              <a:gd name="connsiteX13" fmla="*/ 114497 w 359004"/>
              <a:gd name="connsiteY13" fmla="*/ 149836 h 345141"/>
              <a:gd name="connsiteX14" fmla="*/ 153572 w 359004"/>
              <a:gd name="connsiteY14" fmla="*/ 111407 h 345141"/>
              <a:gd name="connsiteX15" fmla="*/ 154505 w 359004"/>
              <a:gd name="connsiteY15" fmla="*/ 100345 h 345141"/>
              <a:gd name="connsiteX16" fmla="*/ 144808 w 359004"/>
              <a:gd name="connsiteY16" fmla="*/ 101135 h 345141"/>
              <a:gd name="connsiteX17" fmla="*/ 105230 w 359004"/>
              <a:gd name="connsiteY17" fmla="*/ 137050 h 345141"/>
              <a:gd name="connsiteX18" fmla="*/ 126348 w 359004"/>
              <a:gd name="connsiteY18" fmla="*/ 191209 h 345141"/>
              <a:gd name="connsiteX19" fmla="*/ 138702 w 359004"/>
              <a:gd name="connsiteY19" fmla="*/ 199254 h 345141"/>
              <a:gd name="connsiteX20" fmla="*/ 124337 w 359004"/>
              <a:gd name="connsiteY20" fmla="*/ 203995 h 345141"/>
              <a:gd name="connsiteX21" fmla="*/ 80233 w 359004"/>
              <a:gd name="connsiteY21" fmla="*/ 237253 h 345141"/>
              <a:gd name="connsiteX22" fmla="*/ 79587 w 359004"/>
              <a:gd name="connsiteY22" fmla="*/ 241275 h 345141"/>
              <a:gd name="connsiteX23" fmla="*/ 82531 w 359004"/>
              <a:gd name="connsiteY23" fmla="*/ 244292 h 345141"/>
              <a:gd name="connsiteX24" fmla="*/ 84255 w 359004"/>
              <a:gd name="connsiteY24" fmla="*/ 244938 h 345141"/>
              <a:gd name="connsiteX25" fmla="*/ 90289 w 359004"/>
              <a:gd name="connsiteY25" fmla="*/ 242927 h 345141"/>
              <a:gd name="connsiteX26" fmla="*/ 154146 w 359004"/>
              <a:gd name="connsiteY26" fmla="*/ 210316 h 345141"/>
              <a:gd name="connsiteX27" fmla="*/ 155726 w 359004"/>
              <a:gd name="connsiteY27" fmla="*/ 210316 h 345141"/>
              <a:gd name="connsiteX28" fmla="*/ 219439 w 359004"/>
              <a:gd name="connsiteY28" fmla="*/ 242927 h 345141"/>
              <a:gd name="connsiteX29" fmla="*/ 225472 w 359004"/>
              <a:gd name="connsiteY29" fmla="*/ 244938 h 345141"/>
              <a:gd name="connsiteX30" fmla="*/ 227196 w 359004"/>
              <a:gd name="connsiteY30" fmla="*/ 244292 h 345141"/>
              <a:gd name="connsiteX31" fmla="*/ 230141 w 359004"/>
              <a:gd name="connsiteY31" fmla="*/ 241275 h 345141"/>
              <a:gd name="connsiteX32" fmla="*/ 229854 w 359004"/>
              <a:gd name="connsiteY32" fmla="*/ 237253 h 345141"/>
              <a:gd name="connsiteX33" fmla="*/ 185679 w 359004"/>
              <a:gd name="connsiteY33" fmla="*/ 203995 h 345141"/>
              <a:gd name="connsiteX34" fmla="*/ 171744 w 359004"/>
              <a:gd name="connsiteY34" fmla="*/ 199254 h 345141"/>
              <a:gd name="connsiteX35" fmla="*/ 184098 w 359004"/>
              <a:gd name="connsiteY35" fmla="*/ 191209 h 345141"/>
              <a:gd name="connsiteX36" fmla="*/ 205217 w 359004"/>
              <a:gd name="connsiteY36" fmla="*/ 137050 h 345141"/>
              <a:gd name="connsiteX37" fmla="*/ 165639 w 359004"/>
              <a:gd name="connsiteY37" fmla="*/ 101135 h 345141"/>
              <a:gd name="connsiteX38" fmla="*/ 155295 w 359004"/>
              <a:gd name="connsiteY38" fmla="*/ 100345 h 345141"/>
              <a:gd name="connsiteX39" fmla="*/ 154648 w 359004"/>
              <a:gd name="connsiteY39" fmla="*/ 85907 h 345141"/>
              <a:gd name="connsiteX40" fmla="*/ 167578 w 359004"/>
              <a:gd name="connsiteY40" fmla="*/ 86913 h 345141"/>
              <a:gd name="connsiteX41" fmla="*/ 218505 w 359004"/>
              <a:gd name="connsiteY41" fmla="*/ 133531 h 345141"/>
              <a:gd name="connsiteX42" fmla="*/ 201410 w 359004"/>
              <a:gd name="connsiteY42" fmla="*/ 195232 h 345141"/>
              <a:gd name="connsiteX43" fmla="*/ 240988 w 359004"/>
              <a:gd name="connsiteY43" fmla="*/ 228992 h 345141"/>
              <a:gd name="connsiteX44" fmla="*/ 243574 w 359004"/>
              <a:gd name="connsiteY44" fmla="*/ 245585 h 345141"/>
              <a:gd name="connsiteX45" fmla="*/ 231865 w 359004"/>
              <a:gd name="connsiteY45" fmla="*/ 257796 h 345141"/>
              <a:gd name="connsiteX46" fmla="*/ 230141 w 359004"/>
              <a:gd name="connsiteY46" fmla="*/ 258442 h 345141"/>
              <a:gd name="connsiteX47" fmla="*/ 207443 w 359004"/>
              <a:gd name="connsiteY47" fmla="*/ 251259 h 345141"/>
              <a:gd name="connsiteX48" fmla="*/ 154648 w 359004"/>
              <a:gd name="connsiteY48" fmla="*/ 224682 h 345141"/>
              <a:gd name="connsiteX49" fmla="*/ 101710 w 359004"/>
              <a:gd name="connsiteY49" fmla="*/ 251259 h 345141"/>
              <a:gd name="connsiteX50" fmla="*/ 85620 w 359004"/>
              <a:gd name="connsiteY50" fmla="*/ 259591 h 345141"/>
              <a:gd name="connsiteX51" fmla="*/ 79012 w 359004"/>
              <a:gd name="connsiteY51" fmla="*/ 258442 h 345141"/>
              <a:gd name="connsiteX52" fmla="*/ 77288 w 359004"/>
              <a:gd name="connsiteY52" fmla="*/ 257796 h 345141"/>
              <a:gd name="connsiteX53" fmla="*/ 65580 w 359004"/>
              <a:gd name="connsiteY53" fmla="*/ 245585 h 345141"/>
              <a:gd name="connsiteX54" fmla="*/ 68165 w 359004"/>
              <a:gd name="connsiteY54" fmla="*/ 228992 h 345141"/>
              <a:gd name="connsiteX55" fmla="*/ 107743 w 359004"/>
              <a:gd name="connsiteY55" fmla="*/ 195232 h 345141"/>
              <a:gd name="connsiteX56" fmla="*/ 90648 w 359004"/>
              <a:gd name="connsiteY56" fmla="*/ 133531 h 345141"/>
              <a:gd name="connsiteX57" fmla="*/ 141576 w 359004"/>
              <a:gd name="connsiteY57" fmla="*/ 86913 h 345141"/>
              <a:gd name="connsiteX58" fmla="*/ 154648 w 359004"/>
              <a:gd name="connsiteY58" fmla="*/ 85907 h 345141"/>
              <a:gd name="connsiteX59" fmla="*/ 24781 w 359004"/>
              <a:gd name="connsiteY59" fmla="*/ 59762 h 345141"/>
              <a:gd name="connsiteX60" fmla="*/ 14366 w 359004"/>
              <a:gd name="connsiteY60" fmla="*/ 69890 h 345141"/>
              <a:gd name="connsiteX61" fmla="*/ 14366 w 359004"/>
              <a:gd name="connsiteY61" fmla="*/ 280063 h 345141"/>
              <a:gd name="connsiteX62" fmla="*/ 24781 w 359004"/>
              <a:gd name="connsiteY62" fmla="*/ 290120 h 345141"/>
              <a:gd name="connsiteX63" fmla="*/ 102142 w 359004"/>
              <a:gd name="connsiteY63" fmla="*/ 290120 h 345141"/>
              <a:gd name="connsiteX64" fmla="*/ 119884 w 359004"/>
              <a:gd name="connsiteY64" fmla="*/ 297303 h 345141"/>
              <a:gd name="connsiteX65" fmla="*/ 150555 w 359004"/>
              <a:gd name="connsiteY65" fmla="*/ 328046 h 345141"/>
              <a:gd name="connsiteX66" fmla="*/ 165352 w 359004"/>
              <a:gd name="connsiteY66" fmla="*/ 328046 h 345141"/>
              <a:gd name="connsiteX67" fmla="*/ 199471 w 359004"/>
              <a:gd name="connsiteY67" fmla="*/ 296441 h 345141"/>
              <a:gd name="connsiteX68" fmla="*/ 216494 w 359004"/>
              <a:gd name="connsiteY68" fmla="*/ 289761 h 345141"/>
              <a:gd name="connsiteX69" fmla="*/ 285738 w 359004"/>
              <a:gd name="connsiteY69" fmla="*/ 289761 h 345141"/>
              <a:gd name="connsiteX70" fmla="*/ 296225 w 359004"/>
              <a:gd name="connsiteY70" fmla="*/ 279704 h 345141"/>
              <a:gd name="connsiteX71" fmla="*/ 296225 w 359004"/>
              <a:gd name="connsiteY71" fmla="*/ 69890 h 345141"/>
              <a:gd name="connsiteX72" fmla="*/ 285738 w 359004"/>
              <a:gd name="connsiteY72" fmla="*/ 59762 h 345141"/>
              <a:gd name="connsiteX73" fmla="*/ 102070 w 359004"/>
              <a:gd name="connsiteY73" fmla="*/ 14366 h 345141"/>
              <a:gd name="connsiteX74" fmla="*/ 79300 w 359004"/>
              <a:gd name="connsiteY74" fmla="*/ 37136 h 345141"/>
              <a:gd name="connsiteX75" fmla="*/ 79300 w 359004"/>
              <a:gd name="connsiteY75" fmla="*/ 45396 h 345141"/>
              <a:gd name="connsiteX76" fmla="*/ 285738 w 359004"/>
              <a:gd name="connsiteY76" fmla="*/ 45396 h 345141"/>
              <a:gd name="connsiteX77" fmla="*/ 310591 w 359004"/>
              <a:gd name="connsiteY77" fmla="*/ 69890 h 345141"/>
              <a:gd name="connsiteX78" fmla="*/ 310591 w 359004"/>
              <a:gd name="connsiteY78" fmla="*/ 258586 h 345141"/>
              <a:gd name="connsiteX79" fmla="*/ 322299 w 359004"/>
              <a:gd name="connsiteY79" fmla="*/ 258586 h 345141"/>
              <a:gd name="connsiteX80" fmla="*/ 345069 w 359004"/>
              <a:gd name="connsiteY80" fmla="*/ 235817 h 345141"/>
              <a:gd name="connsiteX81" fmla="*/ 345069 w 359004"/>
              <a:gd name="connsiteY81" fmla="*/ 37136 h 345141"/>
              <a:gd name="connsiteX82" fmla="*/ 322299 w 359004"/>
              <a:gd name="connsiteY82" fmla="*/ 14366 h 345141"/>
              <a:gd name="connsiteX83" fmla="*/ 102070 w 359004"/>
              <a:gd name="connsiteY83" fmla="*/ 0 h 345141"/>
              <a:gd name="connsiteX84" fmla="*/ 322299 w 359004"/>
              <a:gd name="connsiteY84" fmla="*/ 0 h 345141"/>
              <a:gd name="connsiteX85" fmla="*/ 359004 w 359004"/>
              <a:gd name="connsiteY85" fmla="*/ 37136 h 345141"/>
              <a:gd name="connsiteX86" fmla="*/ 359004 w 359004"/>
              <a:gd name="connsiteY86" fmla="*/ 235817 h 345141"/>
              <a:gd name="connsiteX87" fmla="*/ 321869 w 359004"/>
              <a:gd name="connsiteY87" fmla="*/ 272952 h 345141"/>
              <a:gd name="connsiteX88" fmla="*/ 310160 w 359004"/>
              <a:gd name="connsiteY88" fmla="*/ 272952 h 345141"/>
              <a:gd name="connsiteX89" fmla="*/ 310160 w 359004"/>
              <a:gd name="connsiteY89" fmla="*/ 279632 h 345141"/>
              <a:gd name="connsiteX90" fmla="*/ 285308 w 359004"/>
              <a:gd name="connsiteY90" fmla="*/ 304055 h 345141"/>
              <a:gd name="connsiteX91" fmla="*/ 216064 w 359004"/>
              <a:gd name="connsiteY91" fmla="*/ 304055 h 345141"/>
              <a:gd name="connsiteX92" fmla="*/ 208881 w 359004"/>
              <a:gd name="connsiteY92" fmla="*/ 306856 h 345141"/>
              <a:gd name="connsiteX93" fmla="*/ 174762 w 359004"/>
              <a:gd name="connsiteY93" fmla="*/ 338533 h 345141"/>
              <a:gd name="connsiteX94" fmla="*/ 157738 w 359004"/>
              <a:gd name="connsiteY94" fmla="*/ 345141 h 345141"/>
              <a:gd name="connsiteX95" fmla="*/ 140067 w 359004"/>
              <a:gd name="connsiteY95" fmla="*/ 337958 h 345141"/>
              <a:gd name="connsiteX96" fmla="*/ 109325 w 359004"/>
              <a:gd name="connsiteY96" fmla="*/ 307215 h 345141"/>
              <a:gd name="connsiteX97" fmla="*/ 102142 w 359004"/>
              <a:gd name="connsiteY97" fmla="*/ 304127 h 345141"/>
              <a:gd name="connsiteX98" fmla="*/ 24781 w 359004"/>
              <a:gd name="connsiteY98" fmla="*/ 304127 h 345141"/>
              <a:gd name="connsiteX99" fmla="*/ 0 w 359004"/>
              <a:gd name="connsiteY99" fmla="*/ 279704 h 345141"/>
              <a:gd name="connsiteX100" fmla="*/ 0 w 359004"/>
              <a:gd name="connsiteY100" fmla="*/ 69890 h 345141"/>
              <a:gd name="connsiteX101" fmla="*/ 24781 w 359004"/>
              <a:gd name="connsiteY101" fmla="*/ 45396 h 345141"/>
              <a:gd name="connsiteX102" fmla="*/ 64934 w 359004"/>
              <a:gd name="connsiteY102" fmla="*/ 45396 h 345141"/>
              <a:gd name="connsiteX103" fmla="*/ 64934 w 359004"/>
              <a:gd name="connsiteY103" fmla="*/ 37136 h 345141"/>
              <a:gd name="connsiteX104" fmla="*/ 102070 w 359004"/>
              <a:gd name="connsiteY104" fmla="*/ 0 h 3451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59004" h="345141">
                <a:moveTo>
                  <a:pt x="152925" y="125701"/>
                </a:moveTo>
                <a:cubicBezTo>
                  <a:pt x="139709" y="125859"/>
                  <a:pt x="129006" y="136584"/>
                  <a:pt x="128863" y="149836"/>
                </a:cubicBezTo>
                <a:cubicBezTo>
                  <a:pt x="129006" y="163326"/>
                  <a:pt x="140068" y="174129"/>
                  <a:pt x="153572" y="173971"/>
                </a:cubicBezTo>
                <a:lnTo>
                  <a:pt x="155655" y="173971"/>
                </a:lnTo>
                <a:lnTo>
                  <a:pt x="155871" y="173971"/>
                </a:lnTo>
                <a:cubicBezTo>
                  <a:pt x="169087" y="173741"/>
                  <a:pt x="179718" y="163003"/>
                  <a:pt x="179861" y="149764"/>
                </a:cubicBezTo>
                <a:cubicBezTo>
                  <a:pt x="179646" y="136447"/>
                  <a:pt x="168799" y="125737"/>
                  <a:pt x="155511" y="125701"/>
                </a:cubicBezTo>
                <a:lnTo>
                  <a:pt x="153931" y="125701"/>
                </a:lnTo>
                <a:close/>
                <a:moveTo>
                  <a:pt x="153572" y="111407"/>
                </a:moveTo>
                <a:lnTo>
                  <a:pt x="155081" y="111407"/>
                </a:lnTo>
                <a:cubicBezTo>
                  <a:pt x="176486" y="111206"/>
                  <a:pt x="194012" y="128417"/>
                  <a:pt x="194227" y="149836"/>
                </a:cubicBezTo>
                <a:cubicBezTo>
                  <a:pt x="194012" y="171270"/>
                  <a:pt x="176486" y="188495"/>
                  <a:pt x="155081" y="188337"/>
                </a:cubicBezTo>
                <a:lnTo>
                  <a:pt x="153572" y="188337"/>
                </a:lnTo>
                <a:cubicBezTo>
                  <a:pt x="132166" y="188495"/>
                  <a:pt x="114640" y="171256"/>
                  <a:pt x="114497" y="149836"/>
                </a:cubicBezTo>
                <a:cubicBezTo>
                  <a:pt x="114712" y="128446"/>
                  <a:pt x="132166" y="111249"/>
                  <a:pt x="153572" y="111407"/>
                </a:cubicBezTo>
                <a:close/>
                <a:moveTo>
                  <a:pt x="154505" y="100345"/>
                </a:moveTo>
                <a:cubicBezTo>
                  <a:pt x="151273" y="100331"/>
                  <a:pt x="148040" y="100596"/>
                  <a:pt x="144808" y="101135"/>
                </a:cubicBezTo>
                <a:cubicBezTo>
                  <a:pt x="125701" y="104238"/>
                  <a:pt x="110186" y="118310"/>
                  <a:pt x="105230" y="137050"/>
                </a:cubicBezTo>
                <a:cubicBezTo>
                  <a:pt x="99699" y="157773"/>
                  <a:pt x="108247" y="179688"/>
                  <a:pt x="126348" y="191209"/>
                </a:cubicBezTo>
                <a:lnTo>
                  <a:pt x="138702" y="199254"/>
                </a:lnTo>
                <a:lnTo>
                  <a:pt x="124337" y="203995"/>
                </a:lnTo>
                <a:cubicBezTo>
                  <a:pt x="106451" y="210086"/>
                  <a:pt x="91008" y="221744"/>
                  <a:pt x="80233" y="237253"/>
                </a:cubicBezTo>
                <a:cubicBezTo>
                  <a:pt x="79371" y="238409"/>
                  <a:pt x="79155" y="239910"/>
                  <a:pt x="79587" y="241275"/>
                </a:cubicBezTo>
                <a:cubicBezTo>
                  <a:pt x="80017" y="242683"/>
                  <a:pt x="81167" y="243803"/>
                  <a:pt x="82531" y="244292"/>
                </a:cubicBezTo>
                <a:lnTo>
                  <a:pt x="84255" y="244938"/>
                </a:lnTo>
                <a:cubicBezTo>
                  <a:pt x="86482" y="245678"/>
                  <a:pt x="88924" y="244859"/>
                  <a:pt x="90289" y="242927"/>
                </a:cubicBezTo>
                <a:cubicBezTo>
                  <a:pt x="105014" y="222355"/>
                  <a:pt x="128862" y="210201"/>
                  <a:pt x="154146" y="210316"/>
                </a:cubicBezTo>
                <a:lnTo>
                  <a:pt x="155726" y="210316"/>
                </a:lnTo>
                <a:cubicBezTo>
                  <a:pt x="181010" y="210252"/>
                  <a:pt x="204713" y="222398"/>
                  <a:pt x="219439" y="242927"/>
                </a:cubicBezTo>
                <a:cubicBezTo>
                  <a:pt x="220803" y="244859"/>
                  <a:pt x="223246" y="245678"/>
                  <a:pt x="225472" y="244938"/>
                </a:cubicBezTo>
                <a:lnTo>
                  <a:pt x="227196" y="244292"/>
                </a:lnTo>
                <a:cubicBezTo>
                  <a:pt x="228561" y="243803"/>
                  <a:pt x="229710" y="242683"/>
                  <a:pt x="230141" y="241275"/>
                </a:cubicBezTo>
                <a:cubicBezTo>
                  <a:pt x="230644" y="239960"/>
                  <a:pt x="230573" y="238481"/>
                  <a:pt x="229854" y="237253"/>
                </a:cubicBezTo>
                <a:cubicBezTo>
                  <a:pt x="219079" y="221723"/>
                  <a:pt x="203565" y="210065"/>
                  <a:pt x="185679" y="203995"/>
                </a:cubicBezTo>
                <a:lnTo>
                  <a:pt x="171744" y="199254"/>
                </a:lnTo>
                <a:lnTo>
                  <a:pt x="184098" y="191209"/>
                </a:lnTo>
                <a:cubicBezTo>
                  <a:pt x="202200" y="179674"/>
                  <a:pt x="210676" y="157773"/>
                  <a:pt x="205217" y="137050"/>
                </a:cubicBezTo>
                <a:cubicBezTo>
                  <a:pt x="200260" y="118310"/>
                  <a:pt x="184746" y="104238"/>
                  <a:pt x="165639" y="101135"/>
                </a:cubicBezTo>
                <a:cubicBezTo>
                  <a:pt x="162191" y="100568"/>
                  <a:pt x="158743" y="100302"/>
                  <a:pt x="155295" y="100345"/>
                </a:cubicBezTo>
                <a:close/>
                <a:moveTo>
                  <a:pt x="154648" y="85907"/>
                </a:moveTo>
                <a:cubicBezTo>
                  <a:pt x="158958" y="85871"/>
                  <a:pt x="163340" y="86209"/>
                  <a:pt x="167578" y="86913"/>
                </a:cubicBezTo>
                <a:cubicBezTo>
                  <a:pt x="192287" y="91007"/>
                  <a:pt x="212256" y="109281"/>
                  <a:pt x="218505" y="133531"/>
                </a:cubicBezTo>
                <a:cubicBezTo>
                  <a:pt x="224395" y="155675"/>
                  <a:pt x="217859" y="179264"/>
                  <a:pt x="201410" y="195232"/>
                </a:cubicBezTo>
                <a:cubicBezTo>
                  <a:pt x="217284" y="202882"/>
                  <a:pt x="230931" y="214511"/>
                  <a:pt x="240988" y="228992"/>
                </a:cubicBezTo>
                <a:cubicBezTo>
                  <a:pt x="244364" y="233833"/>
                  <a:pt x="245297" y="239953"/>
                  <a:pt x="243574" y="245585"/>
                </a:cubicBezTo>
                <a:cubicBezTo>
                  <a:pt x="241778" y="251252"/>
                  <a:pt x="237468" y="255763"/>
                  <a:pt x="231865" y="257796"/>
                </a:cubicBezTo>
                <a:lnTo>
                  <a:pt x="230141" y="258442"/>
                </a:lnTo>
                <a:cubicBezTo>
                  <a:pt x="221809" y="261416"/>
                  <a:pt x="212544" y="258478"/>
                  <a:pt x="207443" y="251259"/>
                </a:cubicBezTo>
                <a:cubicBezTo>
                  <a:pt x="195232" y="234300"/>
                  <a:pt x="175551" y="224373"/>
                  <a:pt x="154648" y="224682"/>
                </a:cubicBezTo>
                <a:cubicBezTo>
                  <a:pt x="133674" y="224251"/>
                  <a:pt x="113850" y="234199"/>
                  <a:pt x="101710" y="251259"/>
                </a:cubicBezTo>
                <a:cubicBezTo>
                  <a:pt x="97975" y="256459"/>
                  <a:pt x="92013" y="259555"/>
                  <a:pt x="85620" y="259591"/>
                </a:cubicBezTo>
                <a:cubicBezTo>
                  <a:pt x="83393" y="259598"/>
                  <a:pt x="81095" y="259210"/>
                  <a:pt x="79012" y="258442"/>
                </a:cubicBezTo>
                <a:lnTo>
                  <a:pt x="77288" y="257796"/>
                </a:lnTo>
                <a:cubicBezTo>
                  <a:pt x="71685" y="255763"/>
                  <a:pt x="67375" y="251252"/>
                  <a:pt x="65580" y="245585"/>
                </a:cubicBezTo>
                <a:cubicBezTo>
                  <a:pt x="63784" y="239953"/>
                  <a:pt x="64718" y="233804"/>
                  <a:pt x="68165" y="228992"/>
                </a:cubicBezTo>
                <a:cubicBezTo>
                  <a:pt x="78222" y="214511"/>
                  <a:pt x="91869" y="202875"/>
                  <a:pt x="107743" y="195232"/>
                </a:cubicBezTo>
                <a:cubicBezTo>
                  <a:pt x="91295" y="179264"/>
                  <a:pt x="84758" y="155675"/>
                  <a:pt x="90648" y="133531"/>
                </a:cubicBezTo>
                <a:cubicBezTo>
                  <a:pt x="96897" y="109274"/>
                  <a:pt x="116866" y="90993"/>
                  <a:pt x="141576" y="86913"/>
                </a:cubicBezTo>
                <a:cubicBezTo>
                  <a:pt x="145885" y="86202"/>
                  <a:pt x="150267" y="85864"/>
                  <a:pt x="154648" y="85907"/>
                </a:cubicBezTo>
                <a:close/>
                <a:moveTo>
                  <a:pt x="24781" y="59762"/>
                </a:moveTo>
                <a:cubicBezTo>
                  <a:pt x="19107" y="59719"/>
                  <a:pt x="14509" y="64237"/>
                  <a:pt x="14366" y="69890"/>
                </a:cubicBezTo>
                <a:lnTo>
                  <a:pt x="14366" y="280063"/>
                </a:lnTo>
                <a:cubicBezTo>
                  <a:pt x="14509" y="285709"/>
                  <a:pt x="19107" y="290199"/>
                  <a:pt x="24781" y="290120"/>
                </a:cubicBezTo>
                <a:lnTo>
                  <a:pt x="102142" y="290120"/>
                </a:lnTo>
                <a:cubicBezTo>
                  <a:pt x="108750" y="290091"/>
                  <a:pt x="115143" y="292670"/>
                  <a:pt x="119884" y="297303"/>
                </a:cubicBezTo>
                <a:lnTo>
                  <a:pt x="150555" y="328046"/>
                </a:lnTo>
                <a:cubicBezTo>
                  <a:pt x="154721" y="331968"/>
                  <a:pt x="161186" y="331968"/>
                  <a:pt x="165352" y="328046"/>
                </a:cubicBezTo>
                <a:lnTo>
                  <a:pt x="199471" y="296441"/>
                </a:lnTo>
                <a:cubicBezTo>
                  <a:pt x="204068" y="292145"/>
                  <a:pt x="210173" y="289761"/>
                  <a:pt x="216494" y="289761"/>
                </a:cubicBezTo>
                <a:lnTo>
                  <a:pt x="285738" y="289761"/>
                </a:lnTo>
                <a:cubicBezTo>
                  <a:pt x="291413" y="289840"/>
                  <a:pt x="296082" y="285357"/>
                  <a:pt x="296225" y="279704"/>
                </a:cubicBezTo>
                <a:lnTo>
                  <a:pt x="296225" y="69890"/>
                </a:lnTo>
                <a:cubicBezTo>
                  <a:pt x="296082" y="64222"/>
                  <a:pt x="291413" y="59719"/>
                  <a:pt x="285738" y="59762"/>
                </a:cubicBezTo>
                <a:close/>
                <a:moveTo>
                  <a:pt x="102070" y="14366"/>
                </a:moveTo>
                <a:cubicBezTo>
                  <a:pt x="89500" y="14366"/>
                  <a:pt x="79300" y="24558"/>
                  <a:pt x="79300" y="37136"/>
                </a:cubicBezTo>
                <a:lnTo>
                  <a:pt x="79300" y="45396"/>
                </a:lnTo>
                <a:lnTo>
                  <a:pt x="285738" y="45396"/>
                </a:lnTo>
                <a:cubicBezTo>
                  <a:pt x="299386" y="45317"/>
                  <a:pt x="310448" y="56271"/>
                  <a:pt x="310591" y="69890"/>
                </a:cubicBezTo>
                <a:lnTo>
                  <a:pt x="310591" y="258586"/>
                </a:lnTo>
                <a:lnTo>
                  <a:pt x="322299" y="258586"/>
                </a:lnTo>
                <a:cubicBezTo>
                  <a:pt x="334869" y="258586"/>
                  <a:pt x="345069" y="248394"/>
                  <a:pt x="345069" y="235817"/>
                </a:cubicBezTo>
                <a:lnTo>
                  <a:pt x="345069" y="37136"/>
                </a:lnTo>
                <a:cubicBezTo>
                  <a:pt x="345069" y="24558"/>
                  <a:pt x="334869" y="14366"/>
                  <a:pt x="322299" y="14366"/>
                </a:cubicBezTo>
                <a:close/>
                <a:moveTo>
                  <a:pt x="102070" y="0"/>
                </a:moveTo>
                <a:lnTo>
                  <a:pt x="322299" y="0"/>
                </a:lnTo>
                <a:cubicBezTo>
                  <a:pt x="342628" y="273"/>
                  <a:pt x="358933" y="16808"/>
                  <a:pt x="359004" y="37136"/>
                </a:cubicBezTo>
                <a:lnTo>
                  <a:pt x="359004" y="235817"/>
                </a:lnTo>
                <a:cubicBezTo>
                  <a:pt x="358933" y="256309"/>
                  <a:pt x="342340" y="272916"/>
                  <a:pt x="321869" y="272952"/>
                </a:cubicBezTo>
                <a:lnTo>
                  <a:pt x="310160" y="272952"/>
                </a:lnTo>
                <a:lnTo>
                  <a:pt x="310160" y="279632"/>
                </a:lnTo>
                <a:cubicBezTo>
                  <a:pt x="310017" y="293223"/>
                  <a:pt x="298883" y="304134"/>
                  <a:pt x="285308" y="304055"/>
                </a:cubicBezTo>
                <a:lnTo>
                  <a:pt x="216064" y="304055"/>
                </a:lnTo>
                <a:cubicBezTo>
                  <a:pt x="213406" y="304069"/>
                  <a:pt x="210820" y="305067"/>
                  <a:pt x="208881" y="306856"/>
                </a:cubicBezTo>
                <a:lnTo>
                  <a:pt x="174762" y="338533"/>
                </a:lnTo>
                <a:cubicBezTo>
                  <a:pt x="170093" y="342792"/>
                  <a:pt x="164059" y="345148"/>
                  <a:pt x="157738" y="345141"/>
                </a:cubicBezTo>
                <a:cubicBezTo>
                  <a:pt x="151129" y="345184"/>
                  <a:pt x="144737" y="342598"/>
                  <a:pt x="140067" y="337958"/>
                </a:cubicBezTo>
                <a:lnTo>
                  <a:pt x="109325" y="307215"/>
                </a:lnTo>
                <a:cubicBezTo>
                  <a:pt x="107385" y="305319"/>
                  <a:pt x="104872" y="304213"/>
                  <a:pt x="102142" y="304127"/>
                </a:cubicBezTo>
                <a:lnTo>
                  <a:pt x="24781" y="304127"/>
                </a:lnTo>
                <a:cubicBezTo>
                  <a:pt x="11206" y="304206"/>
                  <a:pt x="143" y="293280"/>
                  <a:pt x="0" y="279704"/>
                </a:cubicBezTo>
                <a:lnTo>
                  <a:pt x="0" y="69890"/>
                </a:lnTo>
                <a:cubicBezTo>
                  <a:pt x="143" y="56300"/>
                  <a:pt x="11206" y="45353"/>
                  <a:pt x="24781" y="45396"/>
                </a:cubicBezTo>
                <a:lnTo>
                  <a:pt x="64934" y="45396"/>
                </a:lnTo>
                <a:lnTo>
                  <a:pt x="64934" y="37136"/>
                </a:lnTo>
                <a:cubicBezTo>
                  <a:pt x="65006" y="16643"/>
                  <a:pt x="81598" y="36"/>
                  <a:pt x="102070" y="0"/>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Arial" panose="020F0502020204030204"/>
              <a:ea typeface="微软雅黑"/>
              <a:cs typeface="+mn-cs"/>
            </a:endParaRPr>
          </a:p>
        </p:txBody>
      </p:sp>
      <p:sp>
        <p:nvSpPr>
          <p:cNvPr id="177" name="Oval 157">
            <a:extLst>
              <a:ext uri="{FF2B5EF4-FFF2-40B4-BE49-F238E27FC236}">
                <a16:creationId xmlns:a16="http://schemas.microsoft.com/office/drawing/2014/main" id="{00405CA6-B3FC-4C04-A671-B0C87CEC8EB9}"/>
              </a:ext>
            </a:extLst>
          </p:cNvPr>
          <p:cNvSpPr/>
          <p:nvPr/>
        </p:nvSpPr>
        <p:spPr>
          <a:xfrm>
            <a:off x="2707936" y="4339966"/>
            <a:ext cx="229050" cy="220202"/>
          </a:xfrm>
          <a:custGeom>
            <a:avLst/>
            <a:gdLst>
              <a:gd name="connsiteX0" fmla="*/ 152925 w 359004"/>
              <a:gd name="connsiteY0" fmla="*/ 125701 h 345141"/>
              <a:gd name="connsiteX1" fmla="*/ 128863 w 359004"/>
              <a:gd name="connsiteY1" fmla="*/ 149836 h 345141"/>
              <a:gd name="connsiteX2" fmla="*/ 153572 w 359004"/>
              <a:gd name="connsiteY2" fmla="*/ 173971 h 345141"/>
              <a:gd name="connsiteX3" fmla="*/ 155655 w 359004"/>
              <a:gd name="connsiteY3" fmla="*/ 173971 h 345141"/>
              <a:gd name="connsiteX4" fmla="*/ 155871 w 359004"/>
              <a:gd name="connsiteY4" fmla="*/ 173971 h 345141"/>
              <a:gd name="connsiteX5" fmla="*/ 179861 w 359004"/>
              <a:gd name="connsiteY5" fmla="*/ 149764 h 345141"/>
              <a:gd name="connsiteX6" fmla="*/ 155511 w 359004"/>
              <a:gd name="connsiteY6" fmla="*/ 125701 h 345141"/>
              <a:gd name="connsiteX7" fmla="*/ 153931 w 359004"/>
              <a:gd name="connsiteY7" fmla="*/ 125701 h 345141"/>
              <a:gd name="connsiteX8" fmla="*/ 153572 w 359004"/>
              <a:gd name="connsiteY8" fmla="*/ 111407 h 345141"/>
              <a:gd name="connsiteX9" fmla="*/ 155081 w 359004"/>
              <a:gd name="connsiteY9" fmla="*/ 111407 h 345141"/>
              <a:gd name="connsiteX10" fmla="*/ 194227 w 359004"/>
              <a:gd name="connsiteY10" fmla="*/ 149836 h 345141"/>
              <a:gd name="connsiteX11" fmla="*/ 155081 w 359004"/>
              <a:gd name="connsiteY11" fmla="*/ 188337 h 345141"/>
              <a:gd name="connsiteX12" fmla="*/ 153572 w 359004"/>
              <a:gd name="connsiteY12" fmla="*/ 188337 h 345141"/>
              <a:gd name="connsiteX13" fmla="*/ 114497 w 359004"/>
              <a:gd name="connsiteY13" fmla="*/ 149836 h 345141"/>
              <a:gd name="connsiteX14" fmla="*/ 153572 w 359004"/>
              <a:gd name="connsiteY14" fmla="*/ 111407 h 345141"/>
              <a:gd name="connsiteX15" fmla="*/ 154505 w 359004"/>
              <a:gd name="connsiteY15" fmla="*/ 100345 h 345141"/>
              <a:gd name="connsiteX16" fmla="*/ 144808 w 359004"/>
              <a:gd name="connsiteY16" fmla="*/ 101135 h 345141"/>
              <a:gd name="connsiteX17" fmla="*/ 105230 w 359004"/>
              <a:gd name="connsiteY17" fmla="*/ 137050 h 345141"/>
              <a:gd name="connsiteX18" fmla="*/ 126348 w 359004"/>
              <a:gd name="connsiteY18" fmla="*/ 191209 h 345141"/>
              <a:gd name="connsiteX19" fmla="*/ 138702 w 359004"/>
              <a:gd name="connsiteY19" fmla="*/ 199254 h 345141"/>
              <a:gd name="connsiteX20" fmla="*/ 124337 w 359004"/>
              <a:gd name="connsiteY20" fmla="*/ 203995 h 345141"/>
              <a:gd name="connsiteX21" fmla="*/ 80233 w 359004"/>
              <a:gd name="connsiteY21" fmla="*/ 237253 h 345141"/>
              <a:gd name="connsiteX22" fmla="*/ 79587 w 359004"/>
              <a:gd name="connsiteY22" fmla="*/ 241275 h 345141"/>
              <a:gd name="connsiteX23" fmla="*/ 82531 w 359004"/>
              <a:gd name="connsiteY23" fmla="*/ 244292 h 345141"/>
              <a:gd name="connsiteX24" fmla="*/ 84255 w 359004"/>
              <a:gd name="connsiteY24" fmla="*/ 244938 h 345141"/>
              <a:gd name="connsiteX25" fmla="*/ 90289 w 359004"/>
              <a:gd name="connsiteY25" fmla="*/ 242927 h 345141"/>
              <a:gd name="connsiteX26" fmla="*/ 154146 w 359004"/>
              <a:gd name="connsiteY26" fmla="*/ 210316 h 345141"/>
              <a:gd name="connsiteX27" fmla="*/ 155726 w 359004"/>
              <a:gd name="connsiteY27" fmla="*/ 210316 h 345141"/>
              <a:gd name="connsiteX28" fmla="*/ 219439 w 359004"/>
              <a:gd name="connsiteY28" fmla="*/ 242927 h 345141"/>
              <a:gd name="connsiteX29" fmla="*/ 225472 w 359004"/>
              <a:gd name="connsiteY29" fmla="*/ 244938 h 345141"/>
              <a:gd name="connsiteX30" fmla="*/ 227196 w 359004"/>
              <a:gd name="connsiteY30" fmla="*/ 244292 h 345141"/>
              <a:gd name="connsiteX31" fmla="*/ 230141 w 359004"/>
              <a:gd name="connsiteY31" fmla="*/ 241275 h 345141"/>
              <a:gd name="connsiteX32" fmla="*/ 229854 w 359004"/>
              <a:gd name="connsiteY32" fmla="*/ 237253 h 345141"/>
              <a:gd name="connsiteX33" fmla="*/ 185679 w 359004"/>
              <a:gd name="connsiteY33" fmla="*/ 203995 h 345141"/>
              <a:gd name="connsiteX34" fmla="*/ 171744 w 359004"/>
              <a:gd name="connsiteY34" fmla="*/ 199254 h 345141"/>
              <a:gd name="connsiteX35" fmla="*/ 184098 w 359004"/>
              <a:gd name="connsiteY35" fmla="*/ 191209 h 345141"/>
              <a:gd name="connsiteX36" fmla="*/ 205217 w 359004"/>
              <a:gd name="connsiteY36" fmla="*/ 137050 h 345141"/>
              <a:gd name="connsiteX37" fmla="*/ 165639 w 359004"/>
              <a:gd name="connsiteY37" fmla="*/ 101135 h 345141"/>
              <a:gd name="connsiteX38" fmla="*/ 155295 w 359004"/>
              <a:gd name="connsiteY38" fmla="*/ 100345 h 345141"/>
              <a:gd name="connsiteX39" fmla="*/ 154648 w 359004"/>
              <a:gd name="connsiteY39" fmla="*/ 85907 h 345141"/>
              <a:gd name="connsiteX40" fmla="*/ 167578 w 359004"/>
              <a:gd name="connsiteY40" fmla="*/ 86913 h 345141"/>
              <a:gd name="connsiteX41" fmla="*/ 218505 w 359004"/>
              <a:gd name="connsiteY41" fmla="*/ 133531 h 345141"/>
              <a:gd name="connsiteX42" fmla="*/ 201410 w 359004"/>
              <a:gd name="connsiteY42" fmla="*/ 195232 h 345141"/>
              <a:gd name="connsiteX43" fmla="*/ 240988 w 359004"/>
              <a:gd name="connsiteY43" fmla="*/ 228992 h 345141"/>
              <a:gd name="connsiteX44" fmla="*/ 243574 w 359004"/>
              <a:gd name="connsiteY44" fmla="*/ 245585 h 345141"/>
              <a:gd name="connsiteX45" fmla="*/ 231865 w 359004"/>
              <a:gd name="connsiteY45" fmla="*/ 257796 h 345141"/>
              <a:gd name="connsiteX46" fmla="*/ 230141 w 359004"/>
              <a:gd name="connsiteY46" fmla="*/ 258442 h 345141"/>
              <a:gd name="connsiteX47" fmla="*/ 207443 w 359004"/>
              <a:gd name="connsiteY47" fmla="*/ 251259 h 345141"/>
              <a:gd name="connsiteX48" fmla="*/ 154648 w 359004"/>
              <a:gd name="connsiteY48" fmla="*/ 224682 h 345141"/>
              <a:gd name="connsiteX49" fmla="*/ 101710 w 359004"/>
              <a:gd name="connsiteY49" fmla="*/ 251259 h 345141"/>
              <a:gd name="connsiteX50" fmla="*/ 85620 w 359004"/>
              <a:gd name="connsiteY50" fmla="*/ 259591 h 345141"/>
              <a:gd name="connsiteX51" fmla="*/ 79012 w 359004"/>
              <a:gd name="connsiteY51" fmla="*/ 258442 h 345141"/>
              <a:gd name="connsiteX52" fmla="*/ 77288 w 359004"/>
              <a:gd name="connsiteY52" fmla="*/ 257796 h 345141"/>
              <a:gd name="connsiteX53" fmla="*/ 65580 w 359004"/>
              <a:gd name="connsiteY53" fmla="*/ 245585 h 345141"/>
              <a:gd name="connsiteX54" fmla="*/ 68165 w 359004"/>
              <a:gd name="connsiteY54" fmla="*/ 228992 h 345141"/>
              <a:gd name="connsiteX55" fmla="*/ 107743 w 359004"/>
              <a:gd name="connsiteY55" fmla="*/ 195232 h 345141"/>
              <a:gd name="connsiteX56" fmla="*/ 90648 w 359004"/>
              <a:gd name="connsiteY56" fmla="*/ 133531 h 345141"/>
              <a:gd name="connsiteX57" fmla="*/ 141576 w 359004"/>
              <a:gd name="connsiteY57" fmla="*/ 86913 h 345141"/>
              <a:gd name="connsiteX58" fmla="*/ 154648 w 359004"/>
              <a:gd name="connsiteY58" fmla="*/ 85907 h 345141"/>
              <a:gd name="connsiteX59" fmla="*/ 24781 w 359004"/>
              <a:gd name="connsiteY59" fmla="*/ 59762 h 345141"/>
              <a:gd name="connsiteX60" fmla="*/ 14366 w 359004"/>
              <a:gd name="connsiteY60" fmla="*/ 69890 h 345141"/>
              <a:gd name="connsiteX61" fmla="*/ 14366 w 359004"/>
              <a:gd name="connsiteY61" fmla="*/ 280063 h 345141"/>
              <a:gd name="connsiteX62" fmla="*/ 24781 w 359004"/>
              <a:gd name="connsiteY62" fmla="*/ 290120 h 345141"/>
              <a:gd name="connsiteX63" fmla="*/ 102142 w 359004"/>
              <a:gd name="connsiteY63" fmla="*/ 290120 h 345141"/>
              <a:gd name="connsiteX64" fmla="*/ 119884 w 359004"/>
              <a:gd name="connsiteY64" fmla="*/ 297303 h 345141"/>
              <a:gd name="connsiteX65" fmla="*/ 150555 w 359004"/>
              <a:gd name="connsiteY65" fmla="*/ 328046 h 345141"/>
              <a:gd name="connsiteX66" fmla="*/ 165352 w 359004"/>
              <a:gd name="connsiteY66" fmla="*/ 328046 h 345141"/>
              <a:gd name="connsiteX67" fmla="*/ 199471 w 359004"/>
              <a:gd name="connsiteY67" fmla="*/ 296441 h 345141"/>
              <a:gd name="connsiteX68" fmla="*/ 216494 w 359004"/>
              <a:gd name="connsiteY68" fmla="*/ 289761 h 345141"/>
              <a:gd name="connsiteX69" fmla="*/ 285738 w 359004"/>
              <a:gd name="connsiteY69" fmla="*/ 289761 h 345141"/>
              <a:gd name="connsiteX70" fmla="*/ 296225 w 359004"/>
              <a:gd name="connsiteY70" fmla="*/ 279704 h 345141"/>
              <a:gd name="connsiteX71" fmla="*/ 296225 w 359004"/>
              <a:gd name="connsiteY71" fmla="*/ 69890 h 345141"/>
              <a:gd name="connsiteX72" fmla="*/ 285738 w 359004"/>
              <a:gd name="connsiteY72" fmla="*/ 59762 h 345141"/>
              <a:gd name="connsiteX73" fmla="*/ 102070 w 359004"/>
              <a:gd name="connsiteY73" fmla="*/ 14366 h 345141"/>
              <a:gd name="connsiteX74" fmla="*/ 79300 w 359004"/>
              <a:gd name="connsiteY74" fmla="*/ 37136 h 345141"/>
              <a:gd name="connsiteX75" fmla="*/ 79300 w 359004"/>
              <a:gd name="connsiteY75" fmla="*/ 45396 h 345141"/>
              <a:gd name="connsiteX76" fmla="*/ 285738 w 359004"/>
              <a:gd name="connsiteY76" fmla="*/ 45396 h 345141"/>
              <a:gd name="connsiteX77" fmla="*/ 310591 w 359004"/>
              <a:gd name="connsiteY77" fmla="*/ 69890 h 345141"/>
              <a:gd name="connsiteX78" fmla="*/ 310591 w 359004"/>
              <a:gd name="connsiteY78" fmla="*/ 258586 h 345141"/>
              <a:gd name="connsiteX79" fmla="*/ 322299 w 359004"/>
              <a:gd name="connsiteY79" fmla="*/ 258586 h 345141"/>
              <a:gd name="connsiteX80" fmla="*/ 345069 w 359004"/>
              <a:gd name="connsiteY80" fmla="*/ 235817 h 345141"/>
              <a:gd name="connsiteX81" fmla="*/ 345069 w 359004"/>
              <a:gd name="connsiteY81" fmla="*/ 37136 h 345141"/>
              <a:gd name="connsiteX82" fmla="*/ 322299 w 359004"/>
              <a:gd name="connsiteY82" fmla="*/ 14366 h 345141"/>
              <a:gd name="connsiteX83" fmla="*/ 102070 w 359004"/>
              <a:gd name="connsiteY83" fmla="*/ 0 h 345141"/>
              <a:gd name="connsiteX84" fmla="*/ 322299 w 359004"/>
              <a:gd name="connsiteY84" fmla="*/ 0 h 345141"/>
              <a:gd name="connsiteX85" fmla="*/ 359004 w 359004"/>
              <a:gd name="connsiteY85" fmla="*/ 37136 h 345141"/>
              <a:gd name="connsiteX86" fmla="*/ 359004 w 359004"/>
              <a:gd name="connsiteY86" fmla="*/ 235817 h 345141"/>
              <a:gd name="connsiteX87" fmla="*/ 321869 w 359004"/>
              <a:gd name="connsiteY87" fmla="*/ 272952 h 345141"/>
              <a:gd name="connsiteX88" fmla="*/ 310160 w 359004"/>
              <a:gd name="connsiteY88" fmla="*/ 272952 h 345141"/>
              <a:gd name="connsiteX89" fmla="*/ 310160 w 359004"/>
              <a:gd name="connsiteY89" fmla="*/ 279632 h 345141"/>
              <a:gd name="connsiteX90" fmla="*/ 285308 w 359004"/>
              <a:gd name="connsiteY90" fmla="*/ 304055 h 345141"/>
              <a:gd name="connsiteX91" fmla="*/ 216064 w 359004"/>
              <a:gd name="connsiteY91" fmla="*/ 304055 h 345141"/>
              <a:gd name="connsiteX92" fmla="*/ 208881 w 359004"/>
              <a:gd name="connsiteY92" fmla="*/ 306856 h 345141"/>
              <a:gd name="connsiteX93" fmla="*/ 174762 w 359004"/>
              <a:gd name="connsiteY93" fmla="*/ 338533 h 345141"/>
              <a:gd name="connsiteX94" fmla="*/ 157738 w 359004"/>
              <a:gd name="connsiteY94" fmla="*/ 345141 h 345141"/>
              <a:gd name="connsiteX95" fmla="*/ 140067 w 359004"/>
              <a:gd name="connsiteY95" fmla="*/ 337958 h 345141"/>
              <a:gd name="connsiteX96" fmla="*/ 109325 w 359004"/>
              <a:gd name="connsiteY96" fmla="*/ 307215 h 345141"/>
              <a:gd name="connsiteX97" fmla="*/ 102142 w 359004"/>
              <a:gd name="connsiteY97" fmla="*/ 304127 h 345141"/>
              <a:gd name="connsiteX98" fmla="*/ 24781 w 359004"/>
              <a:gd name="connsiteY98" fmla="*/ 304127 h 345141"/>
              <a:gd name="connsiteX99" fmla="*/ 0 w 359004"/>
              <a:gd name="connsiteY99" fmla="*/ 279704 h 345141"/>
              <a:gd name="connsiteX100" fmla="*/ 0 w 359004"/>
              <a:gd name="connsiteY100" fmla="*/ 69890 h 345141"/>
              <a:gd name="connsiteX101" fmla="*/ 24781 w 359004"/>
              <a:gd name="connsiteY101" fmla="*/ 45396 h 345141"/>
              <a:gd name="connsiteX102" fmla="*/ 64934 w 359004"/>
              <a:gd name="connsiteY102" fmla="*/ 45396 h 345141"/>
              <a:gd name="connsiteX103" fmla="*/ 64934 w 359004"/>
              <a:gd name="connsiteY103" fmla="*/ 37136 h 345141"/>
              <a:gd name="connsiteX104" fmla="*/ 102070 w 359004"/>
              <a:gd name="connsiteY104" fmla="*/ 0 h 3451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59004" h="345141">
                <a:moveTo>
                  <a:pt x="152925" y="125701"/>
                </a:moveTo>
                <a:cubicBezTo>
                  <a:pt x="139709" y="125859"/>
                  <a:pt x="129006" y="136584"/>
                  <a:pt x="128863" y="149836"/>
                </a:cubicBezTo>
                <a:cubicBezTo>
                  <a:pt x="129006" y="163326"/>
                  <a:pt x="140068" y="174129"/>
                  <a:pt x="153572" y="173971"/>
                </a:cubicBezTo>
                <a:lnTo>
                  <a:pt x="155655" y="173971"/>
                </a:lnTo>
                <a:lnTo>
                  <a:pt x="155871" y="173971"/>
                </a:lnTo>
                <a:cubicBezTo>
                  <a:pt x="169087" y="173741"/>
                  <a:pt x="179718" y="163003"/>
                  <a:pt x="179861" y="149764"/>
                </a:cubicBezTo>
                <a:cubicBezTo>
                  <a:pt x="179646" y="136447"/>
                  <a:pt x="168799" y="125737"/>
                  <a:pt x="155511" y="125701"/>
                </a:cubicBezTo>
                <a:lnTo>
                  <a:pt x="153931" y="125701"/>
                </a:lnTo>
                <a:close/>
                <a:moveTo>
                  <a:pt x="153572" y="111407"/>
                </a:moveTo>
                <a:lnTo>
                  <a:pt x="155081" y="111407"/>
                </a:lnTo>
                <a:cubicBezTo>
                  <a:pt x="176486" y="111206"/>
                  <a:pt x="194012" y="128417"/>
                  <a:pt x="194227" y="149836"/>
                </a:cubicBezTo>
                <a:cubicBezTo>
                  <a:pt x="194012" y="171270"/>
                  <a:pt x="176486" y="188495"/>
                  <a:pt x="155081" y="188337"/>
                </a:cubicBezTo>
                <a:lnTo>
                  <a:pt x="153572" y="188337"/>
                </a:lnTo>
                <a:cubicBezTo>
                  <a:pt x="132166" y="188495"/>
                  <a:pt x="114640" y="171256"/>
                  <a:pt x="114497" y="149836"/>
                </a:cubicBezTo>
                <a:cubicBezTo>
                  <a:pt x="114712" y="128446"/>
                  <a:pt x="132166" y="111249"/>
                  <a:pt x="153572" y="111407"/>
                </a:cubicBezTo>
                <a:close/>
                <a:moveTo>
                  <a:pt x="154505" y="100345"/>
                </a:moveTo>
                <a:cubicBezTo>
                  <a:pt x="151273" y="100331"/>
                  <a:pt x="148040" y="100596"/>
                  <a:pt x="144808" y="101135"/>
                </a:cubicBezTo>
                <a:cubicBezTo>
                  <a:pt x="125701" y="104238"/>
                  <a:pt x="110186" y="118310"/>
                  <a:pt x="105230" y="137050"/>
                </a:cubicBezTo>
                <a:cubicBezTo>
                  <a:pt x="99699" y="157773"/>
                  <a:pt x="108247" y="179688"/>
                  <a:pt x="126348" y="191209"/>
                </a:cubicBezTo>
                <a:lnTo>
                  <a:pt x="138702" y="199254"/>
                </a:lnTo>
                <a:lnTo>
                  <a:pt x="124337" y="203995"/>
                </a:lnTo>
                <a:cubicBezTo>
                  <a:pt x="106451" y="210086"/>
                  <a:pt x="91008" y="221744"/>
                  <a:pt x="80233" y="237253"/>
                </a:cubicBezTo>
                <a:cubicBezTo>
                  <a:pt x="79371" y="238409"/>
                  <a:pt x="79155" y="239910"/>
                  <a:pt x="79587" y="241275"/>
                </a:cubicBezTo>
                <a:cubicBezTo>
                  <a:pt x="80017" y="242683"/>
                  <a:pt x="81167" y="243803"/>
                  <a:pt x="82531" y="244292"/>
                </a:cubicBezTo>
                <a:lnTo>
                  <a:pt x="84255" y="244938"/>
                </a:lnTo>
                <a:cubicBezTo>
                  <a:pt x="86482" y="245678"/>
                  <a:pt x="88924" y="244859"/>
                  <a:pt x="90289" y="242927"/>
                </a:cubicBezTo>
                <a:cubicBezTo>
                  <a:pt x="105014" y="222355"/>
                  <a:pt x="128862" y="210201"/>
                  <a:pt x="154146" y="210316"/>
                </a:cubicBezTo>
                <a:lnTo>
                  <a:pt x="155726" y="210316"/>
                </a:lnTo>
                <a:cubicBezTo>
                  <a:pt x="181010" y="210252"/>
                  <a:pt x="204713" y="222398"/>
                  <a:pt x="219439" y="242927"/>
                </a:cubicBezTo>
                <a:cubicBezTo>
                  <a:pt x="220803" y="244859"/>
                  <a:pt x="223246" y="245678"/>
                  <a:pt x="225472" y="244938"/>
                </a:cubicBezTo>
                <a:lnTo>
                  <a:pt x="227196" y="244292"/>
                </a:lnTo>
                <a:cubicBezTo>
                  <a:pt x="228561" y="243803"/>
                  <a:pt x="229710" y="242683"/>
                  <a:pt x="230141" y="241275"/>
                </a:cubicBezTo>
                <a:cubicBezTo>
                  <a:pt x="230644" y="239960"/>
                  <a:pt x="230573" y="238481"/>
                  <a:pt x="229854" y="237253"/>
                </a:cubicBezTo>
                <a:cubicBezTo>
                  <a:pt x="219079" y="221723"/>
                  <a:pt x="203565" y="210065"/>
                  <a:pt x="185679" y="203995"/>
                </a:cubicBezTo>
                <a:lnTo>
                  <a:pt x="171744" y="199254"/>
                </a:lnTo>
                <a:lnTo>
                  <a:pt x="184098" y="191209"/>
                </a:lnTo>
                <a:cubicBezTo>
                  <a:pt x="202200" y="179674"/>
                  <a:pt x="210676" y="157773"/>
                  <a:pt x="205217" y="137050"/>
                </a:cubicBezTo>
                <a:cubicBezTo>
                  <a:pt x="200260" y="118310"/>
                  <a:pt x="184746" y="104238"/>
                  <a:pt x="165639" y="101135"/>
                </a:cubicBezTo>
                <a:cubicBezTo>
                  <a:pt x="162191" y="100568"/>
                  <a:pt x="158743" y="100302"/>
                  <a:pt x="155295" y="100345"/>
                </a:cubicBezTo>
                <a:close/>
                <a:moveTo>
                  <a:pt x="154648" y="85907"/>
                </a:moveTo>
                <a:cubicBezTo>
                  <a:pt x="158958" y="85871"/>
                  <a:pt x="163340" y="86209"/>
                  <a:pt x="167578" y="86913"/>
                </a:cubicBezTo>
                <a:cubicBezTo>
                  <a:pt x="192287" y="91007"/>
                  <a:pt x="212256" y="109281"/>
                  <a:pt x="218505" y="133531"/>
                </a:cubicBezTo>
                <a:cubicBezTo>
                  <a:pt x="224395" y="155675"/>
                  <a:pt x="217859" y="179264"/>
                  <a:pt x="201410" y="195232"/>
                </a:cubicBezTo>
                <a:cubicBezTo>
                  <a:pt x="217284" y="202882"/>
                  <a:pt x="230931" y="214511"/>
                  <a:pt x="240988" y="228992"/>
                </a:cubicBezTo>
                <a:cubicBezTo>
                  <a:pt x="244364" y="233833"/>
                  <a:pt x="245297" y="239953"/>
                  <a:pt x="243574" y="245585"/>
                </a:cubicBezTo>
                <a:cubicBezTo>
                  <a:pt x="241778" y="251252"/>
                  <a:pt x="237468" y="255763"/>
                  <a:pt x="231865" y="257796"/>
                </a:cubicBezTo>
                <a:lnTo>
                  <a:pt x="230141" y="258442"/>
                </a:lnTo>
                <a:cubicBezTo>
                  <a:pt x="221809" y="261416"/>
                  <a:pt x="212544" y="258478"/>
                  <a:pt x="207443" y="251259"/>
                </a:cubicBezTo>
                <a:cubicBezTo>
                  <a:pt x="195232" y="234300"/>
                  <a:pt x="175551" y="224373"/>
                  <a:pt x="154648" y="224682"/>
                </a:cubicBezTo>
                <a:cubicBezTo>
                  <a:pt x="133674" y="224251"/>
                  <a:pt x="113850" y="234199"/>
                  <a:pt x="101710" y="251259"/>
                </a:cubicBezTo>
                <a:cubicBezTo>
                  <a:pt x="97975" y="256459"/>
                  <a:pt x="92013" y="259555"/>
                  <a:pt x="85620" y="259591"/>
                </a:cubicBezTo>
                <a:cubicBezTo>
                  <a:pt x="83393" y="259598"/>
                  <a:pt x="81095" y="259210"/>
                  <a:pt x="79012" y="258442"/>
                </a:cubicBezTo>
                <a:lnTo>
                  <a:pt x="77288" y="257796"/>
                </a:lnTo>
                <a:cubicBezTo>
                  <a:pt x="71685" y="255763"/>
                  <a:pt x="67375" y="251252"/>
                  <a:pt x="65580" y="245585"/>
                </a:cubicBezTo>
                <a:cubicBezTo>
                  <a:pt x="63784" y="239953"/>
                  <a:pt x="64718" y="233804"/>
                  <a:pt x="68165" y="228992"/>
                </a:cubicBezTo>
                <a:cubicBezTo>
                  <a:pt x="78222" y="214511"/>
                  <a:pt x="91869" y="202875"/>
                  <a:pt x="107743" y="195232"/>
                </a:cubicBezTo>
                <a:cubicBezTo>
                  <a:pt x="91295" y="179264"/>
                  <a:pt x="84758" y="155675"/>
                  <a:pt x="90648" y="133531"/>
                </a:cubicBezTo>
                <a:cubicBezTo>
                  <a:pt x="96897" y="109274"/>
                  <a:pt x="116866" y="90993"/>
                  <a:pt x="141576" y="86913"/>
                </a:cubicBezTo>
                <a:cubicBezTo>
                  <a:pt x="145885" y="86202"/>
                  <a:pt x="150267" y="85864"/>
                  <a:pt x="154648" y="85907"/>
                </a:cubicBezTo>
                <a:close/>
                <a:moveTo>
                  <a:pt x="24781" y="59762"/>
                </a:moveTo>
                <a:cubicBezTo>
                  <a:pt x="19107" y="59719"/>
                  <a:pt x="14509" y="64237"/>
                  <a:pt x="14366" y="69890"/>
                </a:cubicBezTo>
                <a:lnTo>
                  <a:pt x="14366" y="280063"/>
                </a:lnTo>
                <a:cubicBezTo>
                  <a:pt x="14509" y="285709"/>
                  <a:pt x="19107" y="290199"/>
                  <a:pt x="24781" y="290120"/>
                </a:cubicBezTo>
                <a:lnTo>
                  <a:pt x="102142" y="290120"/>
                </a:lnTo>
                <a:cubicBezTo>
                  <a:pt x="108750" y="290091"/>
                  <a:pt x="115143" y="292670"/>
                  <a:pt x="119884" y="297303"/>
                </a:cubicBezTo>
                <a:lnTo>
                  <a:pt x="150555" y="328046"/>
                </a:lnTo>
                <a:cubicBezTo>
                  <a:pt x="154721" y="331968"/>
                  <a:pt x="161186" y="331968"/>
                  <a:pt x="165352" y="328046"/>
                </a:cubicBezTo>
                <a:lnTo>
                  <a:pt x="199471" y="296441"/>
                </a:lnTo>
                <a:cubicBezTo>
                  <a:pt x="204068" y="292145"/>
                  <a:pt x="210173" y="289761"/>
                  <a:pt x="216494" y="289761"/>
                </a:cubicBezTo>
                <a:lnTo>
                  <a:pt x="285738" y="289761"/>
                </a:lnTo>
                <a:cubicBezTo>
                  <a:pt x="291413" y="289840"/>
                  <a:pt x="296082" y="285357"/>
                  <a:pt x="296225" y="279704"/>
                </a:cubicBezTo>
                <a:lnTo>
                  <a:pt x="296225" y="69890"/>
                </a:lnTo>
                <a:cubicBezTo>
                  <a:pt x="296082" y="64222"/>
                  <a:pt x="291413" y="59719"/>
                  <a:pt x="285738" y="59762"/>
                </a:cubicBezTo>
                <a:close/>
                <a:moveTo>
                  <a:pt x="102070" y="14366"/>
                </a:moveTo>
                <a:cubicBezTo>
                  <a:pt x="89500" y="14366"/>
                  <a:pt x="79300" y="24558"/>
                  <a:pt x="79300" y="37136"/>
                </a:cubicBezTo>
                <a:lnTo>
                  <a:pt x="79300" y="45396"/>
                </a:lnTo>
                <a:lnTo>
                  <a:pt x="285738" y="45396"/>
                </a:lnTo>
                <a:cubicBezTo>
                  <a:pt x="299386" y="45317"/>
                  <a:pt x="310448" y="56271"/>
                  <a:pt x="310591" y="69890"/>
                </a:cubicBezTo>
                <a:lnTo>
                  <a:pt x="310591" y="258586"/>
                </a:lnTo>
                <a:lnTo>
                  <a:pt x="322299" y="258586"/>
                </a:lnTo>
                <a:cubicBezTo>
                  <a:pt x="334869" y="258586"/>
                  <a:pt x="345069" y="248394"/>
                  <a:pt x="345069" y="235817"/>
                </a:cubicBezTo>
                <a:lnTo>
                  <a:pt x="345069" y="37136"/>
                </a:lnTo>
                <a:cubicBezTo>
                  <a:pt x="345069" y="24558"/>
                  <a:pt x="334869" y="14366"/>
                  <a:pt x="322299" y="14366"/>
                </a:cubicBezTo>
                <a:close/>
                <a:moveTo>
                  <a:pt x="102070" y="0"/>
                </a:moveTo>
                <a:lnTo>
                  <a:pt x="322299" y="0"/>
                </a:lnTo>
                <a:cubicBezTo>
                  <a:pt x="342628" y="273"/>
                  <a:pt x="358933" y="16808"/>
                  <a:pt x="359004" y="37136"/>
                </a:cubicBezTo>
                <a:lnTo>
                  <a:pt x="359004" y="235817"/>
                </a:lnTo>
                <a:cubicBezTo>
                  <a:pt x="358933" y="256309"/>
                  <a:pt x="342340" y="272916"/>
                  <a:pt x="321869" y="272952"/>
                </a:cubicBezTo>
                <a:lnTo>
                  <a:pt x="310160" y="272952"/>
                </a:lnTo>
                <a:lnTo>
                  <a:pt x="310160" y="279632"/>
                </a:lnTo>
                <a:cubicBezTo>
                  <a:pt x="310017" y="293223"/>
                  <a:pt x="298883" y="304134"/>
                  <a:pt x="285308" y="304055"/>
                </a:cubicBezTo>
                <a:lnTo>
                  <a:pt x="216064" y="304055"/>
                </a:lnTo>
                <a:cubicBezTo>
                  <a:pt x="213406" y="304069"/>
                  <a:pt x="210820" y="305067"/>
                  <a:pt x="208881" y="306856"/>
                </a:cubicBezTo>
                <a:lnTo>
                  <a:pt x="174762" y="338533"/>
                </a:lnTo>
                <a:cubicBezTo>
                  <a:pt x="170093" y="342792"/>
                  <a:pt x="164059" y="345148"/>
                  <a:pt x="157738" y="345141"/>
                </a:cubicBezTo>
                <a:cubicBezTo>
                  <a:pt x="151129" y="345184"/>
                  <a:pt x="144737" y="342598"/>
                  <a:pt x="140067" y="337958"/>
                </a:cubicBezTo>
                <a:lnTo>
                  <a:pt x="109325" y="307215"/>
                </a:lnTo>
                <a:cubicBezTo>
                  <a:pt x="107385" y="305319"/>
                  <a:pt x="104872" y="304213"/>
                  <a:pt x="102142" y="304127"/>
                </a:cubicBezTo>
                <a:lnTo>
                  <a:pt x="24781" y="304127"/>
                </a:lnTo>
                <a:cubicBezTo>
                  <a:pt x="11206" y="304206"/>
                  <a:pt x="143" y="293280"/>
                  <a:pt x="0" y="279704"/>
                </a:cubicBezTo>
                <a:lnTo>
                  <a:pt x="0" y="69890"/>
                </a:lnTo>
                <a:cubicBezTo>
                  <a:pt x="143" y="56300"/>
                  <a:pt x="11206" y="45353"/>
                  <a:pt x="24781" y="45396"/>
                </a:cubicBezTo>
                <a:lnTo>
                  <a:pt x="64934" y="45396"/>
                </a:lnTo>
                <a:lnTo>
                  <a:pt x="64934" y="37136"/>
                </a:lnTo>
                <a:cubicBezTo>
                  <a:pt x="65006" y="16643"/>
                  <a:pt x="81598" y="36"/>
                  <a:pt x="102070"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Arial" panose="020F0502020204030204"/>
              <a:ea typeface="微软雅黑"/>
              <a:cs typeface="+mn-cs"/>
            </a:endParaRPr>
          </a:p>
        </p:txBody>
      </p:sp>
      <p:sp>
        <p:nvSpPr>
          <p:cNvPr id="178" name="Oval 158">
            <a:extLst>
              <a:ext uri="{FF2B5EF4-FFF2-40B4-BE49-F238E27FC236}">
                <a16:creationId xmlns:a16="http://schemas.microsoft.com/office/drawing/2014/main" id="{E36481E3-2A5A-4362-898A-99E30E9E1946}"/>
              </a:ext>
            </a:extLst>
          </p:cNvPr>
          <p:cNvSpPr/>
          <p:nvPr/>
        </p:nvSpPr>
        <p:spPr>
          <a:xfrm>
            <a:off x="2707936" y="5153935"/>
            <a:ext cx="229050" cy="220202"/>
          </a:xfrm>
          <a:custGeom>
            <a:avLst/>
            <a:gdLst>
              <a:gd name="connsiteX0" fmla="*/ 152925 w 359004"/>
              <a:gd name="connsiteY0" fmla="*/ 125701 h 345141"/>
              <a:gd name="connsiteX1" fmla="*/ 128863 w 359004"/>
              <a:gd name="connsiteY1" fmla="*/ 149836 h 345141"/>
              <a:gd name="connsiteX2" fmla="*/ 153572 w 359004"/>
              <a:gd name="connsiteY2" fmla="*/ 173971 h 345141"/>
              <a:gd name="connsiteX3" fmla="*/ 155655 w 359004"/>
              <a:gd name="connsiteY3" fmla="*/ 173971 h 345141"/>
              <a:gd name="connsiteX4" fmla="*/ 155871 w 359004"/>
              <a:gd name="connsiteY4" fmla="*/ 173971 h 345141"/>
              <a:gd name="connsiteX5" fmla="*/ 179861 w 359004"/>
              <a:gd name="connsiteY5" fmla="*/ 149764 h 345141"/>
              <a:gd name="connsiteX6" fmla="*/ 155511 w 359004"/>
              <a:gd name="connsiteY6" fmla="*/ 125701 h 345141"/>
              <a:gd name="connsiteX7" fmla="*/ 153931 w 359004"/>
              <a:gd name="connsiteY7" fmla="*/ 125701 h 345141"/>
              <a:gd name="connsiteX8" fmla="*/ 153572 w 359004"/>
              <a:gd name="connsiteY8" fmla="*/ 111407 h 345141"/>
              <a:gd name="connsiteX9" fmla="*/ 155081 w 359004"/>
              <a:gd name="connsiteY9" fmla="*/ 111407 h 345141"/>
              <a:gd name="connsiteX10" fmla="*/ 194227 w 359004"/>
              <a:gd name="connsiteY10" fmla="*/ 149836 h 345141"/>
              <a:gd name="connsiteX11" fmla="*/ 155081 w 359004"/>
              <a:gd name="connsiteY11" fmla="*/ 188337 h 345141"/>
              <a:gd name="connsiteX12" fmla="*/ 153572 w 359004"/>
              <a:gd name="connsiteY12" fmla="*/ 188337 h 345141"/>
              <a:gd name="connsiteX13" fmla="*/ 114497 w 359004"/>
              <a:gd name="connsiteY13" fmla="*/ 149836 h 345141"/>
              <a:gd name="connsiteX14" fmla="*/ 153572 w 359004"/>
              <a:gd name="connsiteY14" fmla="*/ 111407 h 345141"/>
              <a:gd name="connsiteX15" fmla="*/ 154505 w 359004"/>
              <a:gd name="connsiteY15" fmla="*/ 100345 h 345141"/>
              <a:gd name="connsiteX16" fmla="*/ 144808 w 359004"/>
              <a:gd name="connsiteY16" fmla="*/ 101135 h 345141"/>
              <a:gd name="connsiteX17" fmla="*/ 105230 w 359004"/>
              <a:gd name="connsiteY17" fmla="*/ 137050 h 345141"/>
              <a:gd name="connsiteX18" fmla="*/ 126348 w 359004"/>
              <a:gd name="connsiteY18" fmla="*/ 191209 h 345141"/>
              <a:gd name="connsiteX19" fmla="*/ 138702 w 359004"/>
              <a:gd name="connsiteY19" fmla="*/ 199254 h 345141"/>
              <a:gd name="connsiteX20" fmla="*/ 124337 w 359004"/>
              <a:gd name="connsiteY20" fmla="*/ 203995 h 345141"/>
              <a:gd name="connsiteX21" fmla="*/ 80233 w 359004"/>
              <a:gd name="connsiteY21" fmla="*/ 237253 h 345141"/>
              <a:gd name="connsiteX22" fmla="*/ 79587 w 359004"/>
              <a:gd name="connsiteY22" fmla="*/ 241275 h 345141"/>
              <a:gd name="connsiteX23" fmla="*/ 82531 w 359004"/>
              <a:gd name="connsiteY23" fmla="*/ 244292 h 345141"/>
              <a:gd name="connsiteX24" fmla="*/ 84255 w 359004"/>
              <a:gd name="connsiteY24" fmla="*/ 244938 h 345141"/>
              <a:gd name="connsiteX25" fmla="*/ 90289 w 359004"/>
              <a:gd name="connsiteY25" fmla="*/ 242927 h 345141"/>
              <a:gd name="connsiteX26" fmla="*/ 154146 w 359004"/>
              <a:gd name="connsiteY26" fmla="*/ 210316 h 345141"/>
              <a:gd name="connsiteX27" fmla="*/ 155726 w 359004"/>
              <a:gd name="connsiteY27" fmla="*/ 210316 h 345141"/>
              <a:gd name="connsiteX28" fmla="*/ 219439 w 359004"/>
              <a:gd name="connsiteY28" fmla="*/ 242927 h 345141"/>
              <a:gd name="connsiteX29" fmla="*/ 225472 w 359004"/>
              <a:gd name="connsiteY29" fmla="*/ 244938 h 345141"/>
              <a:gd name="connsiteX30" fmla="*/ 227196 w 359004"/>
              <a:gd name="connsiteY30" fmla="*/ 244292 h 345141"/>
              <a:gd name="connsiteX31" fmla="*/ 230141 w 359004"/>
              <a:gd name="connsiteY31" fmla="*/ 241275 h 345141"/>
              <a:gd name="connsiteX32" fmla="*/ 229854 w 359004"/>
              <a:gd name="connsiteY32" fmla="*/ 237253 h 345141"/>
              <a:gd name="connsiteX33" fmla="*/ 185679 w 359004"/>
              <a:gd name="connsiteY33" fmla="*/ 203995 h 345141"/>
              <a:gd name="connsiteX34" fmla="*/ 171744 w 359004"/>
              <a:gd name="connsiteY34" fmla="*/ 199254 h 345141"/>
              <a:gd name="connsiteX35" fmla="*/ 184098 w 359004"/>
              <a:gd name="connsiteY35" fmla="*/ 191209 h 345141"/>
              <a:gd name="connsiteX36" fmla="*/ 205217 w 359004"/>
              <a:gd name="connsiteY36" fmla="*/ 137050 h 345141"/>
              <a:gd name="connsiteX37" fmla="*/ 165639 w 359004"/>
              <a:gd name="connsiteY37" fmla="*/ 101135 h 345141"/>
              <a:gd name="connsiteX38" fmla="*/ 155295 w 359004"/>
              <a:gd name="connsiteY38" fmla="*/ 100345 h 345141"/>
              <a:gd name="connsiteX39" fmla="*/ 154648 w 359004"/>
              <a:gd name="connsiteY39" fmla="*/ 85907 h 345141"/>
              <a:gd name="connsiteX40" fmla="*/ 167578 w 359004"/>
              <a:gd name="connsiteY40" fmla="*/ 86913 h 345141"/>
              <a:gd name="connsiteX41" fmla="*/ 218505 w 359004"/>
              <a:gd name="connsiteY41" fmla="*/ 133531 h 345141"/>
              <a:gd name="connsiteX42" fmla="*/ 201410 w 359004"/>
              <a:gd name="connsiteY42" fmla="*/ 195232 h 345141"/>
              <a:gd name="connsiteX43" fmla="*/ 240988 w 359004"/>
              <a:gd name="connsiteY43" fmla="*/ 228992 h 345141"/>
              <a:gd name="connsiteX44" fmla="*/ 243574 w 359004"/>
              <a:gd name="connsiteY44" fmla="*/ 245585 h 345141"/>
              <a:gd name="connsiteX45" fmla="*/ 231865 w 359004"/>
              <a:gd name="connsiteY45" fmla="*/ 257796 h 345141"/>
              <a:gd name="connsiteX46" fmla="*/ 230141 w 359004"/>
              <a:gd name="connsiteY46" fmla="*/ 258442 h 345141"/>
              <a:gd name="connsiteX47" fmla="*/ 207443 w 359004"/>
              <a:gd name="connsiteY47" fmla="*/ 251259 h 345141"/>
              <a:gd name="connsiteX48" fmla="*/ 154648 w 359004"/>
              <a:gd name="connsiteY48" fmla="*/ 224682 h 345141"/>
              <a:gd name="connsiteX49" fmla="*/ 101710 w 359004"/>
              <a:gd name="connsiteY49" fmla="*/ 251259 h 345141"/>
              <a:gd name="connsiteX50" fmla="*/ 85620 w 359004"/>
              <a:gd name="connsiteY50" fmla="*/ 259591 h 345141"/>
              <a:gd name="connsiteX51" fmla="*/ 79012 w 359004"/>
              <a:gd name="connsiteY51" fmla="*/ 258442 h 345141"/>
              <a:gd name="connsiteX52" fmla="*/ 77288 w 359004"/>
              <a:gd name="connsiteY52" fmla="*/ 257796 h 345141"/>
              <a:gd name="connsiteX53" fmla="*/ 65580 w 359004"/>
              <a:gd name="connsiteY53" fmla="*/ 245585 h 345141"/>
              <a:gd name="connsiteX54" fmla="*/ 68165 w 359004"/>
              <a:gd name="connsiteY54" fmla="*/ 228992 h 345141"/>
              <a:gd name="connsiteX55" fmla="*/ 107743 w 359004"/>
              <a:gd name="connsiteY55" fmla="*/ 195232 h 345141"/>
              <a:gd name="connsiteX56" fmla="*/ 90648 w 359004"/>
              <a:gd name="connsiteY56" fmla="*/ 133531 h 345141"/>
              <a:gd name="connsiteX57" fmla="*/ 141576 w 359004"/>
              <a:gd name="connsiteY57" fmla="*/ 86913 h 345141"/>
              <a:gd name="connsiteX58" fmla="*/ 154648 w 359004"/>
              <a:gd name="connsiteY58" fmla="*/ 85907 h 345141"/>
              <a:gd name="connsiteX59" fmla="*/ 24781 w 359004"/>
              <a:gd name="connsiteY59" fmla="*/ 59762 h 345141"/>
              <a:gd name="connsiteX60" fmla="*/ 14366 w 359004"/>
              <a:gd name="connsiteY60" fmla="*/ 69890 h 345141"/>
              <a:gd name="connsiteX61" fmla="*/ 14366 w 359004"/>
              <a:gd name="connsiteY61" fmla="*/ 280063 h 345141"/>
              <a:gd name="connsiteX62" fmla="*/ 24781 w 359004"/>
              <a:gd name="connsiteY62" fmla="*/ 290120 h 345141"/>
              <a:gd name="connsiteX63" fmla="*/ 102142 w 359004"/>
              <a:gd name="connsiteY63" fmla="*/ 290120 h 345141"/>
              <a:gd name="connsiteX64" fmla="*/ 119884 w 359004"/>
              <a:gd name="connsiteY64" fmla="*/ 297303 h 345141"/>
              <a:gd name="connsiteX65" fmla="*/ 150555 w 359004"/>
              <a:gd name="connsiteY65" fmla="*/ 328046 h 345141"/>
              <a:gd name="connsiteX66" fmla="*/ 165352 w 359004"/>
              <a:gd name="connsiteY66" fmla="*/ 328046 h 345141"/>
              <a:gd name="connsiteX67" fmla="*/ 199471 w 359004"/>
              <a:gd name="connsiteY67" fmla="*/ 296441 h 345141"/>
              <a:gd name="connsiteX68" fmla="*/ 216494 w 359004"/>
              <a:gd name="connsiteY68" fmla="*/ 289761 h 345141"/>
              <a:gd name="connsiteX69" fmla="*/ 285738 w 359004"/>
              <a:gd name="connsiteY69" fmla="*/ 289761 h 345141"/>
              <a:gd name="connsiteX70" fmla="*/ 296225 w 359004"/>
              <a:gd name="connsiteY70" fmla="*/ 279704 h 345141"/>
              <a:gd name="connsiteX71" fmla="*/ 296225 w 359004"/>
              <a:gd name="connsiteY71" fmla="*/ 69890 h 345141"/>
              <a:gd name="connsiteX72" fmla="*/ 285738 w 359004"/>
              <a:gd name="connsiteY72" fmla="*/ 59762 h 345141"/>
              <a:gd name="connsiteX73" fmla="*/ 102070 w 359004"/>
              <a:gd name="connsiteY73" fmla="*/ 14366 h 345141"/>
              <a:gd name="connsiteX74" fmla="*/ 79300 w 359004"/>
              <a:gd name="connsiteY74" fmla="*/ 37136 h 345141"/>
              <a:gd name="connsiteX75" fmla="*/ 79300 w 359004"/>
              <a:gd name="connsiteY75" fmla="*/ 45396 h 345141"/>
              <a:gd name="connsiteX76" fmla="*/ 285738 w 359004"/>
              <a:gd name="connsiteY76" fmla="*/ 45396 h 345141"/>
              <a:gd name="connsiteX77" fmla="*/ 310591 w 359004"/>
              <a:gd name="connsiteY77" fmla="*/ 69890 h 345141"/>
              <a:gd name="connsiteX78" fmla="*/ 310591 w 359004"/>
              <a:gd name="connsiteY78" fmla="*/ 258586 h 345141"/>
              <a:gd name="connsiteX79" fmla="*/ 322299 w 359004"/>
              <a:gd name="connsiteY79" fmla="*/ 258586 h 345141"/>
              <a:gd name="connsiteX80" fmla="*/ 345069 w 359004"/>
              <a:gd name="connsiteY80" fmla="*/ 235817 h 345141"/>
              <a:gd name="connsiteX81" fmla="*/ 345069 w 359004"/>
              <a:gd name="connsiteY81" fmla="*/ 37136 h 345141"/>
              <a:gd name="connsiteX82" fmla="*/ 322299 w 359004"/>
              <a:gd name="connsiteY82" fmla="*/ 14366 h 345141"/>
              <a:gd name="connsiteX83" fmla="*/ 102070 w 359004"/>
              <a:gd name="connsiteY83" fmla="*/ 0 h 345141"/>
              <a:gd name="connsiteX84" fmla="*/ 322299 w 359004"/>
              <a:gd name="connsiteY84" fmla="*/ 0 h 345141"/>
              <a:gd name="connsiteX85" fmla="*/ 359004 w 359004"/>
              <a:gd name="connsiteY85" fmla="*/ 37136 h 345141"/>
              <a:gd name="connsiteX86" fmla="*/ 359004 w 359004"/>
              <a:gd name="connsiteY86" fmla="*/ 235817 h 345141"/>
              <a:gd name="connsiteX87" fmla="*/ 321869 w 359004"/>
              <a:gd name="connsiteY87" fmla="*/ 272952 h 345141"/>
              <a:gd name="connsiteX88" fmla="*/ 310160 w 359004"/>
              <a:gd name="connsiteY88" fmla="*/ 272952 h 345141"/>
              <a:gd name="connsiteX89" fmla="*/ 310160 w 359004"/>
              <a:gd name="connsiteY89" fmla="*/ 279632 h 345141"/>
              <a:gd name="connsiteX90" fmla="*/ 285308 w 359004"/>
              <a:gd name="connsiteY90" fmla="*/ 304055 h 345141"/>
              <a:gd name="connsiteX91" fmla="*/ 216064 w 359004"/>
              <a:gd name="connsiteY91" fmla="*/ 304055 h 345141"/>
              <a:gd name="connsiteX92" fmla="*/ 208881 w 359004"/>
              <a:gd name="connsiteY92" fmla="*/ 306856 h 345141"/>
              <a:gd name="connsiteX93" fmla="*/ 174762 w 359004"/>
              <a:gd name="connsiteY93" fmla="*/ 338533 h 345141"/>
              <a:gd name="connsiteX94" fmla="*/ 157738 w 359004"/>
              <a:gd name="connsiteY94" fmla="*/ 345141 h 345141"/>
              <a:gd name="connsiteX95" fmla="*/ 140067 w 359004"/>
              <a:gd name="connsiteY95" fmla="*/ 337958 h 345141"/>
              <a:gd name="connsiteX96" fmla="*/ 109325 w 359004"/>
              <a:gd name="connsiteY96" fmla="*/ 307215 h 345141"/>
              <a:gd name="connsiteX97" fmla="*/ 102142 w 359004"/>
              <a:gd name="connsiteY97" fmla="*/ 304127 h 345141"/>
              <a:gd name="connsiteX98" fmla="*/ 24781 w 359004"/>
              <a:gd name="connsiteY98" fmla="*/ 304127 h 345141"/>
              <a:gd name="connsiteX99" fmla="*/ 0 w 359004"/>
              <a:gd name="connsiteY99" fmla="*/ 279704 h 345141"/>
              <a:gd name="connsiteX100" fmla="*/ 0 w 359004"/>
              <a:gd name="connsiteY100" fmla="*/ 69890 h 345141"/>
              <a:gd name="connsiteX101" fmla="*/ 24781 w 359004"/>
              <a:gd name="connsiteY101" fmla="*/ 45396 h 345141"/>
              <a:gd name="connsiteX102" fmla="*/ 64934 w 359004"/>
              <a:gd name="connsiteY102" fmla="*/ 45396 h 345141"/>
              <a:gd name="connsiteX103" fmla="*/ 64934 w 359004"/>
              <a:gd name="connsiteY103" fmla="*/ 37136 h 345141"/>
              <a:gd name="connsiteX104" fmla="*/ 102070 w 359004"/>
              <a:gd name="connsiteY104" fmla="*/ 0 h 3451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59004" h="345141">
                <a:moveTo>
                  <a:pt x="152925" y="125701"/>
                </a:moveTo>
                <a:cubicBezTo>
                  <a:pt x="139709" y="125859"/>
                  <a:pt x="129006" y="136584"/>
                  <a:pt x="128863" y="149836"/>
                </a:cubicBezTo>
                <a:cubicBezTo>
                  <a:pt x="129006" y="163326"/>
                  <a:pt x="140068" y="174129"/>
                  <a:pt x="153572" y="173971"/>
                </a:cubicBezTo>
                <a:lnTo>
                  <a:pt x="155655" y="173971"/>
                </a:lnTo>
                <a:lnTo>
                  <a:pt x="155871" y="173971"/>
                </a:lnTo>
                <a:cubicBezTo>
                  <a:pt x="169087" y="173741"/>
                  <a:pt x="179718" y="163003"/>
                  <a:pt x="179861" y="149764"/>
                </a:cubicBezTo>
                <a:cubicBezTo>
                  <a:pt x="179646" y="136447"/>
                  <a:pt x="168799" y="125737"/>
                  <a:pt x="155511" y="125701"/>
                </a:cubicBezTo>
                <a:lnTo>
                  <a:pt x="153931" y="125701"/>
                </a:lnTo>
                <a:close/>
                <a:moveTo>
                  <a:pt x="153572" y="111407"/>
                </a:moveTo>
                <a:lnTo>
                  <a:pt x="155081" y="111407"/>
                </a:lnTo>
                <a:cubicBezTo>
                  <a:pt x="176486" y="111206"/>
                  <a:pt x="194012" y="128417"/>
                  <a:pt x="194227" y="149836"/>
                </a:cubicBezTo>
                <a:cubicBezTo>
                  <a:pt x="194012" y="171270"/>
                  <a:pt x="176486" y="188495"/>
                  <a:pt x="155081" y="188337"/>
                </a:cubicBezTo>
                <a:lnTo>
                  <a:pt x="153572" y="188337"/>
                </a:lnTo>
                <a:cubicBezTo>
                  <a:pt x="132166" y="188495"/>
                  <a:pt x="114640" y="171256"/>
                  <a:pt x="114497" y="149836"/>
                </a:cubicBezTo>
                <a:cubicBezTo>
                  <a:pt x="114712" y="128446"/>
                  <a:pt x="132166" y="111249"/>
                  <a:pt x="153572" y="111407"/>
                </a:cubicBezTo>
                <a:close/>
                <a:moveTo>
                  <a:pt x="154505" y="100345"/>
                </a:moveTo>
                <a:cubicBezTo>
                  <a:pt x="151273" y="100331"/>
                  <a:pt x="148040" y="100596"/>
                  <a:pt x="144808" y="101135"/>
                </a:cubicBezTo>
                <a:cubicBezTo>
                  <a:pt x="125701" y="104238"/>
                  <a:pt x="110186" y="118310"/>
                  <a:pt x="105230" y="137050"/>
                </a:cubicBezTo>
                <a:cubicBezTo>
                  <a:pt x="99699" y="157773"/>
                  <a:pt x="108247" y="179688"/>
                  <a:pt x="126348" y="191209"/>
                </a:cubicBezTo>
                <a:lnTo>
                  <a:pt x="138702" y="199254"/>
                </a:lnTo>
                <a:lnTo>
                  <a:pt x="124337" y="203995"/>
                </a:lnTo>
                <a:cubicBezTo>
                  <a:pt x="106451" y="210086"/>
                  <a:pt x="91008" y="221744"/>
                  <a:pt x="80233" y="237253"/>
                </a:cubicBezTo>
                <a:cubicBezTo>
                  <a:pt x="79371" y="238409"/>
                  <a:pt x="79155" y="239910"/>
                  <a:pt x="79587" y="241275"/>
                </a:cubicBezTo>
                <a:cubicBezTo>
                  <a:pt x="80017" y="242683"/>
                  <a:pt x="81167" y="243803"/>
                  <a:pt x="82531" y="244292"/>
                </a:cubicBezTo>
                <a:lnTo>
                  <a:pt x="84255" y="244938"/>
                </a:lnTo>
                <a:cubicBezTo>
                  <a:pt x="86482" y="245678"/>
                  <a:pt x="88924" y="244859"/>
                  <a:pt x="90289" y="242927"/>
                </a:cubicBezTo>
                <a:cubicBezTo>
                  <a:pt x="105014" y="222355"/>
                  <a:pt x="128862" y="210201"/>
                  <a:pt x="154146" y="210316"/>
                </a:cubicBezTo>
                <a:lnTo>
                  <a:pt x="155726" y="210316"/>
                </a:lnTo>
                <a:cubicBezTo>
                  <a:pt x="181010" y="210252"/>
                  <a:pt x="204713" y="222398"/>
                  <a:pt x="219439" y="242927"/>
                </a:cubicBezTo>
                <a:cubicBezTo>
                  <a:pt x="220803" y="244859"/>
                  <a:pt x="223246" y="245678"/>
                  <a:pt x="225472" y="244938"/>
                </a:cubicBezTo>
                <a:lnTo>
                  <a:pt x="227196" y="244292"/>
                </a:lnTo>
                <a:cubicBezTo>
                  <a:pt x="228561" y="243803"/>
                  <a:pt x="229710" y="242683"/>
                  <a:pt x="230141" y="241275"/>
                </a:cubicBezTo>
                <a:cubicBezTo>
                  <a:pt x="230644" y="239960"/>
                  <a:pt x="230573" y="238481"/>
                  <a:pt x="229854" y="237253"/>
                </a:cubicBezTo>
                <a:cubicBezTo>
                  <a:pt x="219079" y="221723"/>
                  <a:pt x="203565" y="210065"/>
                  <a:pt x="185679" y="203995"/>
                </a:cubicBezTo>
                <a:lnTo>
                  <a:pt x="171744" y="199254"/>
                </a:lnTo>
                <a:lnTo>
                  <a:pt x="184098" y="191209"/>
                </a:lnTo>
                <a:cubicBezTo>
                  <a:pt x="202200" y="179674"/>
                  <a:pt x="210676" y="157773"/>
                  <a:pt x="205217" y="137050"/>
                </a:cubicBezTo>
                <a:cubicBezTo>
                  <a:pt x="200260" y="118310"/>
                  <a:pt x="184746" y="104238"/>
                  <a:pt x="165639" y="101135"/>
                </a:cubicBezTo>
                <a:cubicBezTo>
                  <a:pt x="162191" y="100568"/>
                  <a:pt x="158743" y="100302"/>
                  <a:pt x="155295" y="100345"/>
                </a:cubicBezTo>
                <a:close/>
                <a:moveTo>
                  <a:pt x="154648" y="85907"/>
                </a:moveTo>
                <a:cubicBezTo>
                  <a:pt x="158958" y="85871"/>
                  <a:pt x="163340" y="86209"/>
                  <a:pt x="167578" y="86913"/>
                </a:cubicBezTo>
                <a:cubicBezTo>
                  <a:pt x="192287" y="91007"/>
                  <a:pt x="212256" y="109281"/>
                  <a:pt x="218505" y="133531"/>
                </a:cubicBezTo>
                <a:cubicBezTo>
                  <a:pt x="224395" y="155675"/>
                  <a:pt x="217859" y="179264"/>
                  <a:pt x="201410" y="195232"/>
                </a:cubicBezTo>
                <a:cubicBezTo>
                  <a:pt x="217284" y="202882"/>
                  <a:pt x="230931" y="214511"/>
                  <a:pt x="240988" y="228992"/>
                </a:cubicBezTo>
                <a:cubicBezTo>
                  <a:pt x="244364" y="233833"/>
                  <a:pt x="245297" y="239953"/>
                  <a:pt x="243574" y="245585"/>
                </a:cubicBezTo>
                <a:cubicBezTo>
                  <a:pt x="241778" y="251252"/>
                  <a:pt x="237468" y="255763"/>
                  <a:pt x="231865" y="257796"/>
                </a:cubicBezTo>
                <a:lnTo>
                  <a:pt x="230141" y="258442"/>
                </a:lnTo>
                <a:cubicBezTo>
                  <a:pt x="221809" y="261416"/>
                  <a:pt x="212544" y="258478"/>
                  <a:pt x="207443" y="251259"/>
                </a:cubicBezTo>
                <a:cubicBezTo>
                  <a:pt x="195232" y="234300"/>
                  <a:pt x="175551" y="224373"/>
                  <a:pt x="154648" y="224682"/>
                </a:cubicBezTo>
                <a:cubicBezTo>
                  <a:pt x="133674" y="224251"/>
                  <a:pt x="113850" y="234199"/>
                  <a:pt x="101710" y="251259"/>
                </a:cubicBezTo>
                <a:cubicBezTo>
                  <a:pt x="97975" y="256459"/>
                  <a:pt x="92013" y="259555"/>
                  <a:pt x="85620" y="259591"/>
                </a:cubicBezTo>
                <a:cubicBezTo>
                  <a:pt x="83393" y="259598"/>
                  <a:pt x="81095" y="259210"/>
                  <a:pt x="79012" y="258442"/>
                </a:cubicBezTo>
                <a:lnTo>
                  <a:pt x="77288" y="257796"/>
                </a:lnTo>
                <a:cubicBezTo>
                  <a:pt x="71685" y="255763"/>
                  <a:pt x="67375" y="251252"/>
                  <a:pt x="65580" y="245585"/>
                </a:cubicBezTo>
                <a:cubicBezTo>
                  <a:pt x="63784" y="239953"/>
                  <a:pt x="64718" y="233804"/>
                  <a:pt x="68165" y="228992"/>
                </a:cubicBezTo>
                <a:cubicBezTo>
                  <a:pt x="78222" y="214511"/>
                  <a:pt x="91869" y="202875"/>
                  <a:pt x="107743" y="195232"/>
                </a:cubicBezTo>
                <a:cubicBezTo>
                  <a:pt x="91295" y="179264"/>
                  <a:pt x="84758" y="155675"/>
                  <a:pt x="90648" y="133531"/>
                </a:cubicBezTo>
                <a:cubicBezTo>
                  <a:pt x="96897" y="109274"/>
                  <a:pt x="116866" y="90993"/>
                  <a:pt x="141576" y="86913"/>
                </a:cubicBezTo>
                <a:cubicBezTo>
                  <a:pt x="145885" y="86202"/>
                  <a:pt x="150267" y="85864"/>
                  <a:pt x="154648" y="85907"/>
                </a:cubicBezTo>
                <a:close/>
                <a:moveTo>
                  <a:pt x="24781" y="59762"/>
                </a:moveTo>
                <a:cubicBezTo>
                  <a:pt x="19107" y="59719"/>
                  <a:pt x="14509" y="64237"/>
                  <a:pt x="14366" y="69890"/>
                </a:cubicBezTo>
                <a:lnTo>
                  <a:pt x="14366" y="280063"/>
                </a:lnTo>
                <a:cubicBezTo>
                  <a:pt x="14509" y="285709"/>
                  <a:pt x="19107" y="290199"/>
                  <a:pt x="24781" y="290120"/>
                </a:cubicBezTo>
                <a:lnTo>
                  <a:pt x="102142" y="290120"/>
                </a:lnTo>
                <a:cubicBezTo>
                  <a:pt x="108750" y="290091"/>
                  <a:pt x="115143" y="292670"/>
                  <a:pt x="119884" y="297303"/>
                </a:cubicBezTo>
                <a:lnTo>
                  <a:pt x="150555" y="328046"/>
                </a:lnTo>
                <a:cubicBezTo>
                  <a:pt x="154721" y="331968"/>
                  <a:pt x="161186" y="331968"/>
                  <a:pt x="165352" y="328046"/>
                </a:cubicBezTo>
                <a:lnTo>
                  <a:pt x="199471" y="296441"/>
                </a:lnTo>
                <a:cubicBezTo>
                  <a:pt x="204068" y="292145"/>
                  <a:pt x="210173" y="289761"/>
                  <a:pt x="216494" y="289761"/>
                </a:cubicBezTo>
                <a:lnTo>
                  <a:pt x="285738" y="289761"/>
                </a:lnTo>
                <a:cubicBezTo>
                  <a:pt x="291413" y="289840"/>
                  <a:pt x="296082" y="285357"/>
                  <a:pt x="296225" y="279704"/>
                </a:cubicBezTo>
                <a:lnTo>
                  <a:pt x="296225" y="69890"/>
                </a:lnTo>
                <a:cubicBezTo>
                  <a:pt x="296082" y="64222"/>
                  <a:pt x="291413" y="59719"/>
                  <a:pt x="285738" y="59762"/>
                </a:cubicBezTo>
                <a:close/>
                <a:moveTo>
                  <a:pt x="102070" y="14366"/>
                </a:moveTo>
                <a:cubicBezTo>
                  <a:pt x="89500" y="14366"/>
                  <a:pt x="79300" y="24558"/>
                  <a:pt x="79300" y="37136"/>
                </a:cubicBezTo>
                <a:lnTo>
                  <a:pt x="79300" y="45396"/>
                </a:lnTo>
                <a:lnTo>
                  <a:pt x="285738" y="45396"/>
                </a:lnTo>
                <a:cubicBezTo>
                  <a:pt x="299386" y="45317"/>
                  <a:pt x="310448" y="56271"/>
                  <a:pt x="310591" y="69890"/>
                </a:cubicBezTo>
                <a:lnTo>
                  <a:pt x="310591" y="258586"/>
                </a:lnTo>
                <a:lnTo>
                  <a:pt x="322299" y="258586"/>
                </a:lnTo>
                <a:cubicBezTo>
                  <a:pt x="334869" y="258586"/>
                  <a:pt x="345069" y="248394"/>
                  <a:pt x="345069" y="235817"/>
                </a:cubicBezTo>
                <a:lnTo>
                  <a:pt x="345069" y="37136"/>
                </a:lnTo>
                <a:cubicBezTo>
                  <a:pt x="345069" y="24558"/>
                  <a:pt x="334869" y="14366"/>
                  <a:pt x="322299" y="14366"/>
                </a:cubicBezTo>
                <a:close/>
                <a:moveTo>
                  <a:pt x="102070" y="0"/>
                </a:moveTo>
                <a:lnTo>
                  <a:pt x="322299" y="0"/>
                </a:lnTo>
                <a:cubicBezTo>
                  <a:pt x="342628" y="273"/>
                  <a:pt x="358933" y="16808"/>
                  <a:pt x="359004" y="37136"/>
                </a:cubicBezTo>
                <a:lnTo>
                  <a:pt x="359004" y="235817"/>
                </a:lnTo>
                <a:cubicBezTo>
                  <a:pt x="358933" y="256309"/>
                  <a:pt x="342340" y="272916"/>
                  <a:pt x="321869" y="272952"/>
                </a:cubicBezTo>
                <a:lnTo>
                  <a:pt x="310160" y="272952"/>
                </a:lnTo>
                <a:lnTo>
                  <a:pt x="310160" y="279632"/>
                </a:lnTo>
                <a:cubicBezTo>
                  <a:pt x="310017" y="293223"/>
                  <a:pt x="298883" y="304134"/>
                  <a:pt x="285308" y="304055"/>
                </a:cubicBezTo>
                <a:lnTo>
                  <a:pt x="216064" y="304055"/>
                </a:lnTo>
                <a:cubicBezTo>
                  <a:pt x="213406" y="304069"/>
                  <a:pt x="210820" y="305067"/>
                  <a:pt x="208881" y="306856"/>
                </a:cubicBezTo>
                <a:lnTo>
                  <a:pt x="174762" y="338533"/>
                </a:lnTo>
                <a:cubicBezTo>
                  <a:pt x="170093" y="342792"/>
                  <a:pt x="164059" y="345148"/>
                  <a:pt x="157738" y="345141"/>
                </a:cubicBezTo>
                <a:cubicBezTo>
                  <a:pt x="151129" y="345184"/>
                  <a:pt x="144737" y="342598"/>
                  <a:pt x="140067" y="337958"/>
                </a:cubicBezTo>
                <a:lnTo>
                  <a:pt x="109325" y="307215"/>
                </a:lnTo>
                <a:cubicBezTo>
                  <a:pt x="107385" y="305319"/>
                  <a:pt x="104872" y="304213"/>
                  <a:pt x="102142" y="304127"/>
                </a:cubicBezTo>
                <a:lnTo>
                  <a:pt x="24781" y="304127"/>
                </a:lnTo>
                <a:cubicBezTo>
                  <a:pt x="11206" y="304206"/>
                  <a:pt x="143" y="293280"/>
                  <a:pt x="0" y="279704"/>
                </a:cubicBezTo>
                <a:lnTo>
                  <a:pt x="0" y="69890"/>
                </a:lnTo>
                <a:cubicBezTo>
                  <a:pt x="143" y="56300"/>
                  <a:pt x="11206" y="45353"/>
                  <a:pt x="24781" y="45396"/>
                </a:cubicBezTo>
                <a:lnTo>
                  <a:pt x="64934" y="45396"/>
                </a:lnTo>
                <a:lnTo>
                  <a:pt x="64934" y="37136"/>
                </a:lnTo>
                <a:cubicBezTo>
                  <a:pt x="65006" y="16643"/>
                  <a:pt x="81598" y="36"/>
                  <a:pt x="102070"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Arial" panose="020F0502020204030204"/>
              <a:ea typeface="微软雅黑"/>
              <a:cs typeface="+mn-cs"/>
            </a:endParaRPr>
          </a:p>
        </p:txBody>
      </p:sp>
      <p:sp>
        <p:nvSpPr>
          <p:cNvPr id="179" name="Oval 159">
            <a:extLst>
              <a:ext uri="{FF2B5EF4-FFF2-40B4-BE49-F238E27FC236}">
                <a16:creationId xmlns:a16="http://schemas.microsoft.com/office/drawing/2014/main" id="{13714CFB-0D74-4237-9F96-DE9C8705AE08}"/>
              </a:ext>
            </a:extLst>
          </p:cNvPr>
          <p:cNvSpPr/>
          <p:nvPr/>
        </p:nvSpPr>
        <p:spPr>
          <a:xfrm>
            <a:off x="2707936" y="5959783"/>
            <a:ext cx="229050" cy="220202"/>
          </a:xfrm>
          <a:custGeom>
            <a:avLst/>
            <a:gdLst>
              <a:gd name="connsiteX0" fmla="*/ 152925 w 359004"/>
              <a:gd name="connsiteY0" fmla="*/ 125701 h 345141"/>
              <a:gd name="connsiteX1" fmla="*/ 128863 w 359004"/>
              <a:gd name="connsiteY1" fmla="*/ 149836 h 345141"/>
              <a:gd name="connsiteX2" fmla="*/ 153572 w 359004"/>
              <a:gd name="connsiteY2" fmla="*/ 173971 h 345141"/>
              <a:gd name="connsiteX3" fmla="*/ 155655 w 359004"/>
              <a:gd name="connsiteY3" fmla="*/ 173971 h 345141"/>
              <a:gd name="connsiteX4" fmla="*/ 155871 w 359004"/>
              <a:gd name="connsiteY4" fmla="*/ 173971 h 345141"/>
              <a:gd name="connsiteX5" fmla="*/ 179861 w 359004"/>
              <a:gd name="connsiteY5" fmla="*/ 149764 h 345141"/>
              <a:gd name="connsiteX6" fmla="*/ 155511 w 359004"/>
              <a:gd name="connsiteY6" fmla="*/ 125701 h 345141"/>
              <a:gd name="connsiteX7" fmla="*/ 153931 w 359004"/>
              <a:gd name="connsiteY7" fmla="*/ 125701 h 345141"/>
              <a:gd name="connsiteX8" fmla="*/ 153572 w 359004"/>
              <a:gd name="connsiteY8" fmla="*/ 111407 h 345141"/>
              <a:gd name="connsiteX9" fmla="*/ 155081 w 359004"/>
              <a:gd name="connsiteY9" fmla="*/ 111407 h 345141"/>
              <a:gd name="connsiteX10" fmla="*/ 194227 w 359004"/>
              <a:gd name="connsiteY10" fmla="*/ 149836 h 345141"/>
              <a:gd name="connsiteX11" fmla="*/ 155081 w 359004"/>
              <a:gd name="connsiteY11" fmla="*/ 188337 h 345141"/>
              <a:gd name="connsiteX12" fmla="*/ 153572 w 359004"/>
              <a:gd name="connsiteY12" fmla="*/ 188337 h 345141"/>
              <a:gd name="connsiteX13" fmla="*/ 114497 w 359004"/>
              <a:gd name="connsiteY13" fmla="*/ 149836 h 345141"/>
              <a:gd name="connsiteX14" fmla="*/ 153572 w 359004"/>
              <a:gd name="connsiteY14" fmla="*/ 111407 h 345141"/>
              <a:gd name="connsiteX15" fmla="*/ 154505 w 359004"/>
              <a:gd name="connsiteY15" fmla="*/ 100345 h 345141"/>
              <a:gd name="connsiteX16" fmla="*/ 144808 w 359004"/>
              <a:gd name="connsiteY16" fmla="*/ 101135 h 345141"/>
              <a:gd name="connsiteX17" fmla="*/ 105230 w 359004"/>
              <a:gd name="connsiteY17" fmla="*/ 137050 h 345141"/>
              <a:gd name="connsiteX18" fmla="*/ 126348 w 359004"/>
              <a:gd name="connsiteY18" fmla="*/ 191209 h 345141"/>
              <a:gd name="connsiteX19" fmla="*/ 138702 w 359004"/>
              <a:gd name="connsiteY19" fmla="*/ 199254 h 345141"/>
              <a:gd name="connsiteX20" fmla="*/ 124337 w 359004"/>
              <a:gd name="connsiteY20" fmla="*/ 203995 h 345141"/>
              <a:gd name="connsiteX21" fmla="*/ 80233 w 359004"/>
              <a:gd name="connsiteY21" fmla="*/ 237253 h 345141"/>
              <a:gd name="connsiteX22" fmla="*/ 79587 w 359004"/>
              <a:gd name="connsiteY22" fmla="*/ 241275 h 345141"/>
              <a:gd name="connsiteX23" fmla="*/ 82531 w 359004"/>
              <a:gd name="connsiteY23" fmla="*/ 244292 h 345141"/>
              <a:gd name="connsiteX24" fmla="*/ 84255 w 359004"/>
              <a:gd name="connsiteY24" fmla="*/ 244938 h 345141"/>
              <a:gd name="connsiteX25" fmla="*/ 90289 w 359004"/>
              <a:gd name="connsiteY25" fmla="*/ 242927 h 345141"/>
              <a:gd name="connsiteX26" fmla="*/ 154146 w 359004"/>
              <a:gd name="connsiteY26" fmla="*/ 210316 h 345141"/>
              <a:gd name="connsiteX27" fmla="*/ 155726 w 359004"/>
              <a:gd name="connsiteY27" fmla="*/ 210316 h 345141"/>
              <a:gd name="connsiteX28" fmla="*/ 219439 w 359004"/>
              <a:gd name="connsiteY28" fmla="*/ 242927 h 345141"/>
              <a:gd name="connsiteX29" fmla="*/ 225472 w 359004"/>
              <a:gd name="connsiteY29" fmla="*/ 244938 h 345141"/>
              <a:gd name="connsiteX30" fmla="*/ 227196 w 359004"/>
              <a:gd name="connsiteY30" fmla="*/ 244292 h 345141"/>
              <a:gd name="connsiteX31" fmla="*/ 230141 w 359004"/>
              <a:gd name="connsiteY31" fmla="*/ 241275 h 345141"/>
              <a:gd name="connsiteX32" fmla="*/ 229854 w 359004"/>
              <a:gd name="connsiteY32" fmla="*/ 237253 h 345141"/>
              <a:gd name="connsiteX33" fmla="*/ 185679 w 359004"/>
              <a:gd name="connsiteY33" fmla="*/ 203995 h 345141"/>
              <a:gd name="connsiteX34" fmla="*/ 171744 w 359004"/>
              <a:gd name="connsiteY34" fmla="*/ 199254 h 345141"/>
              <a:gd name="connsiteX35" fmla="*/ 184098 w 359004"/>
              <a:gd name="connsiteY35" fmla="*/ 191209 h 345141"/>
              <a:gd name="connsiteX36" fmla="*/ 205217 w 359004"/>
              <a:gd name="connsiteY36" fmla="*/ 137050 h 345141"/>
              <a:gd name="connsiteX37" fmla="*/ 165639 w 359004"/>
              <a:gd name="connsiteY37" fmla="*/ 101135 h 345141"/>
              <a:gd name="connsiteX38" fmla="*/ 155295 w 359004"/>
              <a:gd name="connsiteY38" fmla="*/ 100345 h 345141"/>
              <a:gd name="connsiteX39" fmla="*/ 154648 w 359004"/>
              <a:gd name="connsiteY39" fmla="*/ 85907 h 345141"/>
              <a:gd name="connsiteX40" fmla="*/ 167578 w 359004"/>
              <a:gd name="connsiteY40" fmla="*/ 86913 h 345141"/>
              <a:gd name="connsiteX41" fmla="*/ 218505 w 359004"/>
              <a:gd name="connsiteY41" fmla="*/ 133531 h 345141"/>
              <a:gd name="connsiteX42" fmla="*/ 201410 w 359004"/>
              <a:gd name="connsiteY42" fmla="*/ 195232 h 345141"/>
              <a:gd name="connsiteX43" fmla="*/ 240988 w 359004"/>
              <a:gd name="connsiteY43" fmla="*/ 228992 h 345141"/>
              <a:gd name="connsiteX44" fmla="*/ 243574 w 359004"/>
              <a:gd name="connsiteY44" fmla="*/ 245585 h 345141"/>
              <a:gd name="connsiteX45" fmla="*/ 231865 w 359004"/>
              <a:gd name="connsiteY45" fmla="*/ 257796 h 345141"/>
              <a:gd name="connsiteX46" fmla="*/ 230141 w 359004"/>
              <a:gd name="connsiteY46" fmla="*/ 258442 h 345141"/>
              <a:gd name="connsiteX47" fmla="*/ 207443 w 359004"/>
              <a:gd name="connsiteY47" fmla="*/ 251259 h 345141"/>
              <a:gd name="connsiteX48" fmla="*/ 154648 w 359004"/>
              <a:gd name="connsiteY48" fmla="*/ 224682 h 345141"/>
              <a:gd name="connsiteX49" fmla="*/ 101710 w 359004"/>
              <a:gd name="connsiteY49" fmla="*/ 251259 h 345141"/>
              <a:gd name="connsiteX50" fmla="*/ 85620 w 359004"/>
              <a:gd name="connsiteY50" fmla="*/ 259591 h 345141"/>
              <a:gd name="connsiteX51" fmla="*/ 79012 w 359004"/>
              <a:gd name="connsiteY51" fmla="*/ 258442 h 345141"/>
              <a:gd name="connsiteX52" fmla="*/ 77288 w 359004"/>
              <a:gd name="connsiteY52" fmla="*/ 257796 h 345141"/>
              <a:gd name="connsiteX53" fmla="*/ 65580 w 359004"/>
              <a:gd name="connsiteY53" fmla="*/ 245585 h 345141"/>
              <a:gd name="connsiteX54" fmla="*/ 68165 w 359004"/>
              <a:gd name="connsiteY54" fmla="*/ 228992 h 345141"/>
              <a:gd name="connsiteX55" fmla="*/ 107743 w 359004"/>
              <a:gd name="connsiteY55" fmla="*/ 195232 h 345141"/>
              <a:gd name="connsiteX56" fmla="*/ 90648 w 359004"/>
              <a:gd name="connsiteY56" fmla="*/ 133531 h 345141"/>
              <a:gd name="connsiteX57" fmla="*/ 141576 w 359004"/>
              <a:gd name="connsiteY57" fmla="*/ 86913 h 345141"/>
              <a:gd name="connsiteX58" fmla="*/ 154648 w 359004"/>
              <a:gd name="connsiteY58" fmla="*/ 85907 h 345141"/>
              <a:gd name="connsiteX59" fmla="*/ 24781 w 359004"/>
              <a:gd name="connsiteY59" fmla="*/ 59762 h 345141"/>
              <a:gd name="connsiteX60" fmla="*/ 14366 w 359004"/>
              <a:gd name="connsiteY60" fmla="*/ 69890 h 345141"/>
              <a:gd name="connsiteX61" fmla="*/ 14366 w 359004"/>
              <a:gd name="connsiteY61" fmla="*/ 280063 h 345141"/>
              <a:gd name="connsiteX62" fmla="*/ 24781 w 359004"/>
              <a:gd name="connsiteY62" fmla="*/ 290120 h 345141"/>
              <a:gd name="connsiteX63" fmla="*/ 102142 w 359004"/>
              <a:gd name="connsiteY63" fmla="*/ 290120 h 345141"/>
              <a:gd name="connsiteX64" fmla="*/ 119884 w 359004"/>
              <a:gd name="connsiteY64" fmla="*/ 297303 h 345141"/>
              <a:gd name="connsiteX65" fmla="*/ 150555 w 359004"/>
              <a:gd name="connsiteY65" fmla="*/ 328046 h 345141"/>
              <a:gd name="connsiteX66" fmla="*/ 165352 w 359004"/>
              <a:gd name="connsiteY66" fmla="*/ 328046 h 345141"/>
              <a:gd name="connsiteX67" fmla="*/ 199471 w 359004"/>
              <a:gd name="connsiteY67" fmla="*/ 296441 h 345141"/>
              <a:gd name="connsiteX68" fmla="*/ 216494 w 359004"/>
              <a:gd name="connsiteY68" fmla="*/ 289761 h 345141"/>
              <a:gd name="connsiteX69" fmla="*/ 285738 w 359004"/>
              <a:gd name="connsiteY69" fmla="*/ 289761 h 345141"/>
              <a:gd name="connsiteX70" fmla="*/ 296225 w 359004"/>
              <a:gd name="connsiteY70" fmla="*/ 279704 h 345141"/>
              <a:gd name="connsiteX71" fmla="*/ 296225 w 359004"/>
              <a:gd name="connsiteY71" fmla="*/ 69890 h 345141"/>
              <a:gd name="connsiteX72" fmla="*/ 285738 w 359004"/>
              <a:gd name="connsiteY72" fmla="*/ 59762 h 345141"/>
              <a:gd name="connsiteX73" fmla="*/ 102070 w 359004"/>
              <a:gd name="connsiteY73" fmla="*/ 14366 h 345141"/>
              <a:gd name="connsiteX74" fmla="*/ 79300 w 359004"/>
              <a:gd name="connsiteY74" fmla="*/ 37136 h 345141"/>
              <a:gd name="connsiteX75" fmla="*/ 79300 w 359004"/>
              <a:gd name="connsiteY75" fmla="*/ 45396 h 345141"/>
              <a:gd name="connsiteX76" fmla="*/ 285738 w 359004"/>
              <a:gd name="connsiteY76" fmla="*/ 45396 h 345141"/>
              <a:gd name="connsiteX77" fmla="*/ 310591 w 359004"/>
              <a:gd name="connsiteY77" fmla="*/ 69890 h 345141"/>
              <a:gd name="connsiteX78" fmla="*/ 310591 w 359004"/>
              <a:gd name="connsiteY78" fmla="*/ 258586 h 345141"/>
              <a:gd name="connsiteX79" fmla="*/ 322299 w 359004"/>
              <a:gd name="connsiteY79" fmla="*/ 258586 h 345141"/>
              <a:gd name="connsiteX80" fmla="*/ 345069 w 359004"/>
              <a:gd name="connsiteY80" fmla="*/ 235817 h 345141"/>
              <a:gd name="connsiteX81" fmla="*/ 345069 w 359004"/>
              <a:gd name="connsiteY81" fmla="*/ 37136 h 345141"/>
              <a:gd name="connsiteX82" fmla="*/ 322299 w 359004"/>
              <a:gd name="connsiteY82" fmla="*/ 14366 h 345141"/>
              <a:gd name="connsiteX83" fmla="*/ 102070 w 359004"/>
              <a:gd name="connsiteY83" fmla="*/ 0 h 345141"/>
              <a:gd name="connsiteX84" fmla="*/ 322299 w 359004"/>
              <a:gd name="connsiteY84" fmla="*/ 0 h 345141"/>
              <a:gd name="connsiteX85" fmla="*/ 359004 w 359004"/>
              <a:gd name="connsiteY85" fmla="*/ 37136 h 345141"/>
              <a:gd name="connsiteX86" fmla="*/ 359004 w 359004"/>
              <a:gd name="connsiteY86" fmla="*/ 235817 h 345141"/>
              <a:gd name="connsiteX87" fmla="*/ 321869 w 359004"/>
              <a:gd name="connsiteY87" fmla="*/ 272952 h 345141"/>
              <a:gd name="connsiteX88" fmla="*/ 310160 w 359004"/>
              <a:gd name="connsiteY88" fmla="*/ 272952 h 345141"/>
              <a:gd name="connsiteX89" fmla="*/ 310160 w 359004"/>
              <a:gd name="connsiteY89" fmla="*/ 279632 h 345141"/>
              <a:gd name="connsiteX90" fmla="*/ 285308 w 359004"/>
              <a:gd name="connsiteY90" fmla="*/ 304055 h 345141"/>
              <a:gd name="connsiteX91" fmla="*/ 216064 w 359004"/>
              <a:gd name="connsiteY91" fmla="*/ 304055 h 345141"/>
              <a:gd name="connsiteX92" fmla="*/ 208881 w 359004"/>
              <a:gd name="connsiteY92" fmla="*/ 306856 h 345141"/>
              <a:gd name="connsiteX93" fmla="*/ 174762 w 359004"/>
              <a:gd name="connsiteY93" fmla="*/ 338533 h 345141"/>
              <a:gd name="connsiteX94" fmla="*/ 157738 w 359004"/>
              <a:gd name="connsiteY94" fmla="*/ 345141 h 345141"/>
              <a:gd name="connsiteX95" fmla="*/ 140067 w 359004"/>
              <a:gd name="connsiteY95" fmla="*/ 337958 h 345141"/>
              <a:gd name="connsiteX96" fmla="*/ 109325 w 359004"/>
              <a:gd name="connsiteY96" fmla="*/ 307215 h 345141"/>
              <a:gd name="connsiteX97" fmla="*/ 102142 w 359004"/>
              <a:gd name="connsiteY97" fmla="*/ 304127 h 345141"/>
              <a:gd name="connsiteX98" fmla="*/ 24781 w 359004"/>
              <a:gd name="connsiteY98" fmla="*/ 304127 h 345141"/>
              <a:gd name="connsiteX99" fmla="*/ 0 w 359004"/>
              <a:gd name="connsiteY99" fmla="*/ 279704 h 345141"/>
              <a:gd name="connsiteX100" fmla="*/ 0 w 359004"/>
              <a:gd name="connsiteY100" fmla="*/ 69890 h 345141"/>
              <a:gd name="connsiteX101" fmla="*/ 24781 w 359004"/>
              <a:gd name="connsiteY101" fmla="*/ 45396 h 345141"/>
              <a:gd name="connsiteX102" fmla="*/ 64934 w 359004"/>
              <a:gd name="connsiteY102" fmla="*/ 45396 h 345141"/>
              <a:gd name="connsiteX103" fmla="*/ 64934 w 359004"/>
              <a:gd name="connsiteY103" fmla="*/ 37136 h 345141"/>
              <a:gd name="connsiteX104" fmla="*/ 102070 w 359004"/>
              <a:gd name="connsiteY104" fmla="*/ 0 h 3451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59004" h="345141">
                <a:moveTo>
                  <a:pt x="152925" y="125701"/>
                </a:moveTo>
                <a:cubicBezTo>
                  <a:pt x="139709" y="125859"/>
                  <a:pt x="129006" y="136584"/>
                  <a:pt x="128863" y="149836"/>
                </a:cubicBezTo>
                <a:cubicBezTo>
                  <a:pt x="129006" y="163326"/>
                  <a:pt x="140068" y="174129"/>
                  <a:pt x="153572" y="173971"/>
                </a:cubicBezTo>
                <a:lnTo>
                  <a:pt x="155655" y="173971"/>
                </a:lnTo>
                <a:lnTo>
                  <a:pt x="155871" y="173971"/>
                </a:lnTo>
                <a:cubicBezTo>
                  <a:pt x="169087" y="173741"/>
                  <a:pt x="179718" y="163003"/>
                  <a:pt x="179861" y="149764"/>
                </a:cubicBezTo>
                <a:cubicBezTo>
                  <a:pt x="179646" y="136447"/>
                  <a:pt x="168799" y="125737"/>
                  <a:pt x="155511" y="125701"/>
                </a:cubicBezTo>
                <a:lnTo>
                  <a:pt x="153931" y="125701"/>
                </a:lnTo>
                <a:close/>
                <a:moveTo>
                  <a:pt x="153572" y="111407"/>
                </a:moveTo>
                <a:lnTo>
                  <a:pt x="155081" y="111407"/>
                </a:lnTo>
                <a:cubicBezTo>
                  <a:pt x="176486" y="111206"/>
                  <a:pt x="194012" y="128417"/>
                  <a:pt x="194227" y="149836"/>
                </a:cubicBezTo>
                <a:cubicBezTo>
                  <a:pt x="194012" y="171270"/>
                  <a:pt x="176486" y="188495"/>
                  <a:pt x="155081" y="188337"/>
                </a:cubicBezTo>
                <a:lnTo>
                  <a:pt x="153572" y="188337"/>
                </a:lnTo>
                <a:cubicBezTo>
                  <a:pt x="132166" y="188495"/>
                  <a:pt x="114640" y="171256"/>
                  <a:pt x="114497" y="149836"/>
                </a:cubicBezTo>
                <a:cubicBezTo>
                  <a:pt x="114712" y="128446"/>
                  <a:pt x="132166" y="111249"/>
                  <a:pt x="153572" y="111407"/>
                </a:cubicBezTo>
                <a:close/>
                <a:moveTo>
                  <a:pt x="154505" y="100345"/>
                </a:moveTo>
                <a:cubicBezTo>
                  <a:pt x="151273" y="100331"/>
                  <a:pt x="148040" y="100596"/>
                  <a:pt x="144808" y="101135"/>
                </a:cubicBezTo>
                <a:cubicBezTo>
                  <a:pt x="125701" y="104238"/>
                  <a:pt x="110186" y="118310"/>
                  <a:pt x="105230" y="137050"/>
                </a:cubicBezTo>
                <a:cubicBezTo>
                  <a:pt x="99699" y="157773"/>
                  <a:pt x="108247" y="179688"/>
                  <a:pt x="126348" y="191209"/>
                </a:cubicBezTo>
                <a:lnTo>
                  <a:pt x="138702" y="199254"/>
                </a:lnTo>
                <a:lnTo>
                  <a:pt x="124337" y="203995"/>
                </a:lnTo>
                <a:cubicBezTo>
                  <a:pt x="106451" y="210086"/>
                  <a:pt x="91008" y="221744"/>
                  <a:pt x="80233" y="237253"/>
                </a:cubicBezTo>
                <a:cubicBezTo>
                  <a:pt x="79371" y="238409"/>
                  <a:pt x="79155" y="239910"/>
                  <a:pt x="79587" y="241275"/>
                </a:cubicBezTo>
                <a:cubicBezTo>
                  <a:pt x="80017" y="242683"/>
                  <a:pt x="81167" y="243803"/>
                  <a:pt x="82531" y="244292"/>
                </a:cubicBezTo>
                <a:lnTo>
                  <a:pt x="84255" y="244938"/>
                </a:lnTo>
                <a:cubicBezTo>
                  <a:pt x="86482" y="245678"/>
                  <a:pt x="88924" y="244859"/>
                  <a:pt x="90289" y="242927"/>
                </a:cubicBezTo>
                <a:cubicBezTo>
                  <a:pt x="105014" y="222355"/>
                  <a:pt x="128862" y="210201"/>
                  <a:pt x="154146" y="210316"/>
                </a:cubicBezTo>
                <a:lnTo>
                  <a:pt x="155726" y="210316"/>
                </a:lnTo>
                <a:cubicBezTo>
                  <a:pt x="181010" y="210252"/>
                  <a:pt x="204713" y="222398"/>
                  <a:pt x="219439" y="242927"/>
                </a:cubicBezTo>
                <a:cubicBezTo>
                  <a:pt x="220803" y="244859"/>
                  <a:pt x="223246" y="245678"/>
                  <a:pt x="225472" y="244938"/>
                </a:cubicBezTo>
                <a:lnTo>
                  <a:pt x="227196" y="244292"/>
                </a:lnTo>
                <a:cubicBezTo>
                  <a:pt x="228561" y="243803"/>
                  <a:pt x="229710" y="242683"/>
                  <a:pt x="230141" y="241275"/>
                </a:cubicBezTo>
                <a:cubicBezTo>
                  <a:pt x="230644" y="239960"/>
                  <a:pt x="230573" y="238481"/>
                  <a:pt x="229854" y="237253"/>
                </a:cubicBezTo>
                <a:cubicBezTo>
                  <a:pt x="219079" y="221723"/>
                  <a:pt x="203565" y="210065"/>
                  <a:pt x="185679" y="203995"/>
                </a:cubicBezTo>
                <a:lnTo>
                  <a:pt x="171744" y="199254"/>
                </a:lnTo>
                <a:lnTo>
                  <a:pt x="184098" y="191209"/>
                </a:lnTo>
                <a:cubicBezTo>
                  <a:pt x="202200" y="179674"/>
                  <a:pt x="210676" y="157773"/>
                  <a:pt x="205217" y="137050"/>
                </a:cubicBezTo>
                <a:cubicBezTo>
                  <a:pt x="200260" y="118310"/>
                  <a:pt x="184746" y="104238"/>
                  <a:pt x="165639" y="101135"/>
                </a:cubicBezTo>
                <a:cubicBezTo>
                  <a:pt x="162191" y="100568"/>
                  <a:pt x="158743" y="100302"/>
                  <a:pt x="155295" y="100345"/>
                </a:cubicBezTo>
                <a:close/>
                <a:moveTo>
                  <a:pt x="154648" y="85907"/>
                </a:moveTo>
                <a:cubicBezTo>
                  <a:pt x="158958" y="85871"/>
                  <a:pt x="163340" y="86209"/>
                  <a:pt x="167578" y="86913"/>
                </a:cubicBezTo>
                <a:cubicBezTo>
                  <a:pt x="192287" y="91007"/>
                  <a:pt x="212256" y="109281"/>
                  <a:pt x="218505" y="133531"/>
                </a:cubicBezTo>
                <a:cubicBezTo>
                  <a:pt x="224395" y="155675"/>
                  <a:pt x="217859" y="179264"/>
                  <a:pt x="201410" y="195232"/>
                </a:cubicBezTo>
                <a:cubicBezTo>
                  <a:pt x="217284" y="202882"/>
                  <a:pt x="230931" y="214511"/>
                  <a:pt x="240988" y="228992"/>
                </a:cubicBezTo>
                <a:cubicBezTo>
                  <a:pt x="244364" y="233833"/>
                  <a:pt x="245297" y="239953"/>
                  <a:pt x="243574" y="245585"/>
                </a:cubicBezTo>
                <a:cubicBezTo>
                  <a:pt x="241778" y="251252"/>
                  <a:pt x="237468" y="255763"/>
                  <a:pt x="231865" y="257796"/>
                </a:cubicBezTo>
                <a:lnTo>
                  <a:pt x="230141" y="258442"/>
                </a:lnTo>
                <a:cubicBezTo>
                  <a:pt x="221809" y="261416"/>
                  <a:pt x="212544" y="258478"/>
                  <a:pt x="207443" y="251259"/>
                </a:cubicBezTo>
                <a:cubicBezTo>
                  <a:pt x="195232" y="234300"/>
                  <a:pt x="175551" y="224373"/>
                  <a:pt x="154648" y="224682"/>
                </a:cubicBezTo>
                <a:cubicBezTo>
                  <a:pt x="133674" y="224251"/>
                  <a:pt x="113850" y="234199"/>
                  <a:pt x="101710" y="251259"/>
                </a:cubicBezTo>
                <a:cubicBezTo>
                  <a:pt x="97975" y="256459"/>
                  <a:pt x="92013" y="259555"/>
                  <a:pt x="85620" y="259591"/>
                </a:cubicBezTo>
                <a:cubicBezTo>
                  <a:pt x="83393" y="259598"/>
                  <a:pt x="81095" y="259210"/>
                  <a:pt x="79012" y="258442"/>
                </a:cubicBezTo>
                <a:lnTo>
                  <a:pt x="77288" y="257796"/>
                </a:lnTo>
                <a:cubicBezTo>
                  <a:pt x="71685" y="255763"/>
                  <a:pt x="67375" y="251252"/>
                  <a:pt x="65580" y="245585"/>
                </a:cubicBezTo>
                <a:cubicBezTo>
                  <a:pt x="63784" y="239953"/>
                  <a:pt x="64718" y="233804"/>
                  <a:pt x="68165" y="228992"/>
                </a:cubicBezTo>
                <a:cubicBezTo>
                  <a:pt x="78222" y="214511"/>
                  <a:pt x="91869" y="202875"/>
                  <a:pt x="107743" y="195232"/>
                </a:cubicBezTo>
                <a:cubicBezTo>
                  <a:pt x="91295" y="179264"/>
                  <a:pt x="84758" y="155675"/>
                  <a:pt x="90648" y="133531"/>
                </a:cubicBezTo>
                <a:cubicBezTo>
                  <a:pt x="96897" y="109274"/>
                  <a:pt x="116866" y="90993"/>
                  <a:pt x="141576" y="86913"/>
                </a:cubicBezTo>
                <a:cubicBezTo>
                  <a:pt x="145885" y="86202"/>
                  <a:pt x="150267" y="85864"/>
                  <a:pt x="154648" y="85907"/>
                </a:cubicBezTo>
                <a:close/>
                <a:moveTo>
                  <a:pt x="24781" y="59762"/>
                </a:moveTo>
                <a:cubicBezTo>
                  <a:pt x="19107" y="59719"/>
                  <a:pt x="14509" y="64237"/>
                  <a:pt x="14366" y="69890"/>
                </a:cubicBezTo>
                <a:lnTo>
                  <a:pt x="14366" y="280063"/>
                </a:lnTo>
                <a:cubicBezTo>
                  <a:pt x="14509" y="285709"/>
                  <a:pt x="19107" y="290199"/>
                  <a:pt x="24781" y="290120"/>
                </a:cubicBezTo>
                <a:lnTo>
                  <a:pt x="102142" y="290120"/>
                </a:lnTo>
                <a:cubicBezTo>
                  <a:pt x="108750" y="290091"/>
                  <a:pt x="115143" y="292670"/>
                  <a:pt x="119884" y="297303"/>
                </a:cubicBezTo>
                <a:lnTo>
                  <a:pt x="150555" y="328046"/>
                </a:lnTo>
                <a:cubicBezTo>
                  <a:pt x="154721" y="331968"/>
                  <a:pt x="161186" y="331968"/>
                  <a:pt x="165352" y="328046"/>
                </a:cubicBezTo>
                <a:lnTo>
                  <a:pt x="199471" y="296441"/>
                </a:lnTo>
                <a:cubicBezTo>
                  <a:pt x="204068" y="292145"/>
                  <a:pt x="210173" y="289761"/>
                  <a:pt x="216494" y="289761"/>
                </a:cubicBezTo>
                <a:lnTo>
                  <a:pt x="285738" y="289761"/>
                </a:lnTo>
                <a:cubicBezTo>
                  <a:pt x="291413" y="289840"/>
                  <a:pt x="296082" y="285357"/>
                  <a:pt x="296225" y="279704"/>
                </a:cubicBezTo>
                <a:lnTo>
                  <a:pt x="296225" y="69890"/>
                </a:lnTo>
                <a:cubicBezTo>
                  <a:pt x="296082" y="64222"/>
                  <a:pt x="291413" y="59719"/>
                  <a:pt x="285738" y="59762"/>
                </a:cubicBezTo>
                <a:close/>
                <a:moveTo>
                  <a:pt x="102070" y="14366"/>
                </a:moveTo>
                <a:cubicBezTo>
                  <a:pt x="89500" y="14366"/>
                  <a:pt x="79300" y="24558"/>
                  <a:pt x="79300" y="37136"/>
                </a:cubicBezTo>
                <a:lnTo>
                  <a:pt x="79300" y="45396"/>
                </a:lnTo>
                <a:lnTo>
                  <a:pt x="285738" y="45396"/>
                </a:lnTo>
                <a:cubicBezTo>
                  <a:pt x="299386" y="45317"/>
                  <a:pt x="310448" y="56271"/>
                  <a:pt x="310591" y="69890"/>
                </a:cubicBezTo>
                <a:lnTo>
                  <a:pt x="310591" y="258586"/>
                </a:lnTo>
                <a:lnTo>
                  <a:pt x="322299" y="258586"/>
                </a:lnTo>
                <a:cubicBezTo>
                  <a:pt x="334869" y="258586"/>
                  <a:pt x="345069" y="248394"/>
                  <a:pt x="345069" y="235817"/>
                </a:cubicBezTo>
                <a:lnTo>
                  <a:pt x="345069" y="37136"/>
                </a:lnTo>
                <a:cubicBezTo>
                  <a:pt x="345069" y="24558"/>
                  <a:pt x="334869" y="14366"/>
                  <a:pt x="322299" y="14366"/>
                </a:cubicBezTo>
                <a:close/>
                <a:moveTo>
                  <a:pt x="102070" y="0"/>
                </a:moveTo>
                <a:lnTo>
                  <a:pt x="322299" y="0"/>
                </a:lnTo>
                <a:cubicBezTo>
                  <a:pt x="342628" y="273"/>
                  <a:pt x="358933" y="16808"/>
                  <a:pt x="359004" y="37136"/>
                </a:cubicBezTo>
                <a:lnTo>
                  <a:pt x="359004" y="235817"/>
                </a:lnTo>
                <a:cubicBezTo>
                  <a:pt x="358933" y="256309"/>
                  <a:pt x="342340" y="272916"/>
                  <a:pt x="321869" y="272952"/>
                </a:cubicBezTo>
                <a:lnTo>
                  <a:pt x="310160" y="272952"/>
                </a:lnTo>
                <a:lnTo>
                  <a:pt x="310160" y="279632"/>
                </a:lnTo>
                <a:cubicBezTo>
                  <a:pt x="310017" y="293223"/>
                  <a:pt x="298883" y="304134"/>
                  <a:pt x="285308" y="304055"/>
                </a:cubicBezTo>
                <a:lnTo>
                  <a:pt x="216064" y="304055"/>
                </a:lnTo>
                <a:cubicBezTo>
                  <a:pt x="213406" y="304069"/>
                  <a:pt x="210820" y="305067"/>
                  <a:pt x="208881" y="306856"/>
                </a:cubicBezTo>
                <a:lnTo>
                  <a:pt x="174762" y="338533"/>
                </a:lnTo>
                <a:cubicBezTo>
                  <a:pt x="170093" y="342792"/>
                  <a:pt x="164059" y="345148"/>
                  <a:pt x="157738" y="345141"/>
                </a:cubicBezTo>
                <a:cubicBezTo>
                  <a:pt x="151129" y="345184"/>
                  <a:pt x="144737" y="342598"/>
                  <a:pt x="140067" y="337958"/>
                </a:cubicBezTo>
                <a:lnTo>
                  <a:pt x="109325" y="307215"/>
                </a:lnTo>
                <a:cubicBezTo>
                  <a:pt x="107385" y="305319"/>
                  <a:pt x="104872" y="304213"/>
                  <a:pt x="102142" y="304127"/>
                </a:cubicBezTo>
                <a:lnTo>
                  <a:pt x="24781" y="304127"/>
                </a:lnTo>
                <a:cubicBezTo>
                  <a:pt x="11206" y="304206"/>
                  <a:pt x="143" y="293280"/>
                  <a:pt x="0" y="279704"/>
                </a:cubicBezTo>
                <a:lnTo>
                  <a:pt x="0" y="69890"/>
                </a:lnTo>
                <a:cubicBezTo>
                  <a:pt x="143" y="56300"/>
                  <a:pt x="11206" y="45353"/>
                  <a:pt x="24781" y="45396"/>
                </a:cubicBezTo>
                <a:lnTo>
                  <a:pt x="64934" y="45396"/>
                </a:lnTo>
                <a:lnTo>
                  <a:pt x="64934" y="37136"/>
                </a:lnTo>
                <a:cubicBezTo>
                  <a:pt x="65006" y="16643"/>
                  <a:pt x="81598" y="36"/>
                  <a:pt x="102070"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Arial" panose="020F0502020204030204"/>
              <a:ea typeface="微软雅黑"/>
              <a:cs typeface="+mn-cs"/>
            </a:endParaRPr>
          </a:p>
        </p:txBody>
      </p:sp>
      <p:sp>
        <p:nvSpPr>
          <p:cNvPr id="180" name="Oval 160">
            <a:extLst>
              <a:ext uri="{FF2B5EF4-FFF2-40B4-BE49-F238E27FC236}">
                <a16:creationId xmlns:a16="http://schemas.microsoft.com/office/drawing/2014/main" id="{67596016-66BD-46D4-9EED-EE7D7027F7D4}"/>
              </a:ext>
            </a:extLst>
          </p:cNvPr>
          <p:cNvSpPr/>
          <p:nvPr/>
        </p:nvSpPr>
        <p:spPr>
          <a:xfrm>
            <a:off x="4430339" y="4339966"/>
            <a:ext cx="229050" cy="220202"/>
          </a:xfrm>
          <a:custGeom>
            <a:avLst/>
            <a:gdLst>
              <a:gd name="connsiteX0" fmla="*/ 152925 w 359004"/>
              <a:gd name="connsiteY0" fmla="*/ 125701 h 345141"/>
              <a:gd name="connsiteX1" fmla="*/ 128863 w 359004"/>
              <a:gd name="connsiteY1" fmla="*/ 149836 h 345141"/>
              <a:gd name="connsiteX2" fmla="*/ 153572 w 359004"/>
              <a:gd name="connsiteY2" fmla="*/ 173971 h 345141"/>
              <a:gd name="connsiteX3" fmla="*/ 155655 w 359004"/>
              <a:gd name="connsiteY3" fmla="*/ 173971 h 345141"/>
              <a:gd name="connsiteX4" fmla="*/ 155871 w 359004"/>
              <a:gd name="connsiteY4" fmla="*/ 173971 h 345141"/>
              <a:gd name="connsiteX5" fmla="*/ 179861 w 359004"/>
              <a:gd name="connsiteY5" fmla="*/ 149764 h 345141"/>
              <a:gd name="connsiteX6" fmla="*/ 155511 w 359004"/>
              <a:gd name="connsiteY6" fmla="*/ 125701 h 345141"/>
              <a:gd name="connsiteX7" fmla="*/ 153931 w 359004"/>
              <a:gd name="connsiteY7" fmla="*/ 125701 h 345141"/>
              <a:gd name="connsiteX8" fmla="*/ 153572 w 359004"/>
              <a:gd name="connsiteY8" fmla="*/ 111407 h 345141"/>
              <a:gd name="connsiteX9" fmla="*/ 155081 w 359004"/>
              <a:gd name="connsiteY9" fmla="*/ 111407 h 345141"/>
              <a:gd name="connsiteX10" fmla="*/ 194227 w 359004"/>
              <a:gd name="connsiteY10" fmla="*/ 149836 h 345141"/>
              <a:gd name="connsiteX11" fmla="*/ 155081 w 359004"/>
              <a:gd name="connsiteY11" fmla="*/ 188337 h 345141"/>
              <a:gd name="connsiteX12" fmla="*/ 153572 w 359004"/>
              <a:gd name="connsiteY12" fmla="*/ 188337 h 345141"/>
              <a:gd name="connsiteX13" fmla="*/ 114497 w 359004"/>
              <a:gd name="connsiteY13" fmla="*/ 149836 h 345141"/>
              <a:gd name="connsiteX14" fmla="*/ 153572 w 359004"/>
              <a:gd name="connsiteY14" fmla="*/ 111407 h 345141"/>
              <a:gd name="connsiteX15" fmla="*/ 154505 w 359004"/>
              <a:gd name="connsiteY15" fmla="*/ 100345 h 345141"/>
              <a:gd name="connsiteX16" fmla="*/ 144808 w 359004"/>
              <a:gd name="connsiteY16" fmla="*/ 101135 h 345141"/>
              <a:gd name="connsiteX17" fmla="*/ 105230 w 359004"/>
              <a:gd name="connsiteY17" fmla="*/ 137050 h 345141"/>
              <a:gd name="connsiteX18" fmla="*/ 126348 w 359004"/>
              <a:gd name="connsiteY18" fmla="*/ 191209 h 345141"/>
              <a:gd name="connsiteX19" fmla="*/ 138702 w 359004"/>
              <a:gd name="connsiteY19" fmla="*/ 199254 h 345141"/>
              <a:gd name="connsiteX20" fmla="*/ 124337 w 359004"/>
              <a:gd name="connsiteY20" fmla="*/ 203995 h 345141"/>
              <a:gd name="connsiteX21" fmla="*/ 80233 w 359004"/>
              <a:gd name="connsiteY21" fmla="*/ 237253 h 345141"/>
              <a:gd name="connsiteX22" fmla="*/ 79587 w 359004"/>
              <a:gd name="connsiteY22" fmla="*/ 241275 h 345141"/>
              <a:gd name="connsiteX23" fmla="*/ 82531 w 359004"/>
              <a:gd name="connsiteY23" fmla="*/ 244292 h 345141"/>
              <a:gd name="connsiteX24" fmla="*/ 84255 w 359004"/>
              <a:gd name="connsiteY24" fmla="*/ 244938 h 345141"/>
              <a:gd name="connsiteX25" fmla="*/ 90289 w 359004"/>
              <a:gd name="connsiteY25" fmla="*/ 242927 h 345141"/>
              <a:gd name="connsiteX26" fmla="*/ 154146 w 359004"/>
              <a:gd name="connsiteY26" fmla="*/ 210316 h 345141"/>
              <a:gd name="connsiteX27" fmla="*/ 155726 w 359004"/>
              <a:gd name="connsiteY27" fmla="*/ 210316 h 345141"/>
              <a:gd name="connsiteX28" fmla="*/ 219439 w 359004"/>
              <a:gd name="connsiteY28" fmla="*/ 242927 h 345141"/>
              <a:gd name="connsiteX29" fmla="*/ 225472 w 359004"/>
              <a:gd name="connsiteY29" fmla="*/ 244938 h 345141"/>
              <a:gd name="connsiteX30" fmla="*/ 227196 w 359004"/>
              <a:gd name="connsiteY30" fmla="*/ 244292 h 345141"/>
              <a:gd name="connsiteX31" fmla="*/ 230141 w 359004"/>
              <a:gd name="connsiteY31" fmla="*/ 241275 h 345141"/>
              <a:gd name="connsiteX32" fmla="*/ 229854 w 359004"/>
              <a:gd name="connsiteY32" fmla="*/ 237253 h 345141"/>
              <a:gd name="connsiteX33" fmla="*/ 185679 w 359004"/>
              <a:gd name="connsiteY33" fmla="*/ 203995 h 345141"/>
              <a:gd name="connsiteX34" fmla="*/ 171744 w 359004"/>
              <a:gd name="connsiteY34" fmla="*/ 199254 h 345141"/>
              <a:gd name="connsiteX35" fmla="*/ 184098 w 359004"/>
              <a:gd name="connsiteY35" fmla="*/ 191209 h 345141"/>
              <a:gd name="connsiteX36" fmla="*/ 205217 w 359004"/>
              <a:gd name="connsiteY36" fmla="*/ 137050 h 345141"/>
              <a:gd name="connsiteX37" fmla="*/ 165639 w 359004"/>
              <a:gd name="connsiteY37" fmla="*/ 101135 h 345141"/>
              <a:gd name="connsiteX38" fmla="*/ 155295 w 359004"/>
              <a:gd name="connsiteY38" fmla="*/ 100345 h 345141"/>
              <a:gd name="connsiteX39" fmla="*/ 154648 w 359004"/>
              <a:gd name="connsiteY39" fmla="*/ 85907 h 345141"/>
              <a:gd name="connsiteX40" fmla="*/ 167578 w 359004"/>
              <a:gd name="connsiteY40" fmla="*/ 86913 h 345141"/>
              <a:gd name="connsiteX41" fmla="*/ 218505 w 359004"/>
              <a:gd name="connsiteY41" fmla="*/ 133531 h 345141"/>
              <a:gd name="connsiteX42" fmla="*/ 201410 w 359004"/>
              <a:gd name="connsiteY42" fmla="*/ 195232 h 345141"/>
              <a:gd name="connsiteX43" fmla="*/ 240988 w 359004"/>
              <a:gd name="connsiteY43" fmla="*/ 228992 h 345141"/>
              <a:gd name="connsiteX44" fmla="*/ 243574 w 359004"/>
              <a:gd name="connsiteY44" fmla="*/ 245585 h 345141"/>
              <a:gd name="connsiteX45" fmla="*/ 231865 w 359004"/>
              <a:gd name="connsiteY45" fmla="*/ 257796 h 345141"/>
              <a:gd name="connsiteX46" fmla="*/ 230141 w 359004"/>
              <a:gd name="connsiteY46" fmla="*/ 258442 h 345141"/>
              <a:gd name="connsiteX47" fmla="*/ 207443 w 359004"/>
              <a:gd name="connsiteY47" fmla="*/ 251259 h 345141"/>
              <a:gd name="connsiteX48" fmla="*/ 154648 w 359004"/>
              <a:gd name="connsiteY48" fmla="*/ 224682 h 345141"/>
              <a:gd name="connsiteX49" fmla="*/ 101710 w 359004"/>
              <a:gd name="connsiteY49" fmla="*/ 251259 h 345141"/>
              <a:gd name="connsiteX50" fmla="*/ 85620 w 359004"/>
              <a:gd name="connsiteY50" fmla="*/ 259591 h 345141"/>
              <a:gd name="connsiteX51" fmla="*/ 79012 w 359004"/>
              <a:gd name="connsiteY51" fmla="*/ 258442 h 345141"/>
              <a:gd name="connsiteX52" fmla="*/ 77288 w 359004"/>
              <a:gd name="connsiteY52" fmla="*/ 257796 h 345141"/>
              <a:gd name="connsiteX53" fmla="*/ 65580 w 359004"/>
              <a:gd name="connsiteY53" fmla="*/ 245585 h 345141"/>
              <a:gd name="connsiteX54" fmla="*/ 68165 w 359004"/>
              <a:gd name="connsiteY54" fmla="*/ 228992 h 345141"/>
              <a:gd name="connsiteX55" fmla="*/ 107743 w 359004"/>
              <a:gd name="connsiteY55" fmla="*/ 195232 h 345141"/>
              <a:gd name="connsiteX56" fmla="*/ 90648 w 359004"/>
              <a:gd name="connsiteY56" fmla="*/ 133531 h 345141"/>
              <a:gd name="connsiteX57" fmla="*/ 141576 w 359004"/>
              <a:gd name="connsiteY57" fmla="*/ 86913 h 345141"/>
              <a:gd name="connsiteX58" fmla="*/ 154648 w 359004"/>
              <a:gd name="connsiteY58" fmla="*/ 85907 h 345141"/>
              <a:gd name="connsiteX59" fmla="*/ 24781 w 359004"/>
              <a:gd name="connsiteY59" fmla="*/ 59762 h 345141"/>
              <a:gd name="connsiteX60" fmla="*/ 14366 w 359004"/>
              <a:gd name="connsiteY60" fmla="*/ 69890 h 345141"/>
              <a:gd name="connsiteX61" fmla="*/ 14366 w 359004"/>
              <a:gd name="connsiteY61" fmla="*/ 280063 h 345141"/>
              <a:gd name="connsiteX62" fmla="*/ 24781 w 359004"/>
              <a:gd name="connsiteY62" fmla="*/ 290120 h 345141"/>
              <a:gd name="connsiteX63" fmla="*/ 102142 w 359004"/>
              <a:gd name="connsiteY63" fmla="*/ 290120 h 345141"/>
              <a:gd name="connsiteX64" fmla="*/ 119884 w 359004"/>
              <a:gd name="connsiteY64" fmla="*/ 297303 h 345141"/>
              <a:gd name="connsiteX65" fmla="*/ 150555 w 359004"/>
              <a:gd name="connsiteY65" fmla="*/ 328046 h 345141"/>
              <a:gd name="connsiteX66" fmla="*/ 165352 w 359004"/>
              <a:gd name="connsiteY66" fmla="*/ 328046 h 345141"/>
              <a:gd name="connsiteX67" fmla="*/ 199471 w 359004"/>
              <a:gd name="connsiteY67" fmla="*/ 296441 h 345141"/>
              <a:gd name="connsiteX68" fmla="*/ 216494 w 359004"/>
              <a:gd name="connsiteY68" fmla="*/ 289761 h 345141"/>
              <a:gd name="connsiteX69" fmla="*/ 285738 w 359004"/>
              <a:gd name="connsiteY69" fmla="*/ 289761 h 345141"/>
              <a:gd name="connsiteX70" fmla="*/ 296225 w 359004"/>
              <a:gd name="connsiteY70" fmla="*/ 279704 h 345141"/>
              <a:gd name="connsiteX71" fmla="*/ 296225 w 359004"/>
              <a:gd name="connsiteY71" fmla="*/ 69890 h 345141"/>
              <a:gd name="connsiteX72" fmla="*/ 285738 w 359004"/>
              <a:gd name="connsiteY72" fmla="*/ 59762 h 345141"/>
              <a:gd name="connsiteX73" fmla="*/ 102070 w 359004"/>
              <a:gd name="connsiteY73" fmla="*/ 14366 h 345141"/>
              <a:gd name="connsiteX74" fmla="*/ 79300 w 359004"/>
              <a:gd name="connsiteY74" fmla="*/ 37136 h 345141"/>
              <a:gd name="connsiteX75" fmla="*/ 79300 w 359004"/>
              <a:gd name="connsiteY75" fmla="*/ 45396 h 345141"/>
              <a:gd name="connsiteX76" fmla="*/ 285738 w 359004"/>
              <a:gd name="connsiteY76" fmla="*/ 45396 h 345141"/>
              <a:gd name="connsiteX77" fmla="*/ 310591 w 359004"/>
              <a:gd name="connsiteY77" fmla="*/ 69890 h 345141"/>
              <a:gd name="connsiteX78" fmla="*/ 310591 w 359004"/>
              <a:gd name="connsiteY78" fmla="*/ 258586 h 345141"/>
              <a:gd name="connsiteX79" fmla="*/ 322299 w 359004"/>
              <a:gd name="connsiteY79" fmla="*/ 258586 h 345141"/>
              <a:gd name="connsiteX80" fmla="*/ 345069 w 359004"/>
              <a:gd name="connsiteY80" fmla="*/ 235817 h 345141"/>
              <a:gd name="connsiteX81" fmla="*/ 345069 w 359004"/>
              <a:gd name="connsiteY81" fmla="*/ 37136 h 345141"/>
              <a:gd name="connsiteX82" fmla="*/ 322299 w 359004"/>
              <a:gd name="connsiteY82" fmla="*/ 14366 h 345141"/>
              <a:gd name="connsiteX83" fmla="*/ 102070 w 359004"/>
              <a:gd name="connsiteY83" fmla="*/ 0 h 345141"/>
              <a:gd name="connsiteX84" fmla="*/ 322299 w 359004"/>
              <a:gd name="connsiteY84" fmla="*/ 0 h 345141"/>
              <a:gd name="connsiteX85" fmla="*/ 359004 w 359004"/>
              <a:gd name="connsiteY85" fmla="*/ 37136 h 345141"/>
              <a:gd name="connsiteX86" fmla="*/ 359004 w 359004"/>
              <a:gd name="connsiteY86" fmla="*/ 235817 h 345141"/>
              <a:gd name="connsiteX87" fmla="*/ 321869 w 359004"/>
              <a:gd name="connsiteY87" fmla="*/ 272952 h 345141"/>
              <a:gd name="connsiteX88" fmla="*/ 310160 w 359004"/>
              <a:gd name="connsiteY88" fmla="*/ 272952 h 345141"/>
              <a:gd name="connsiteX89" fmla="*/ 310160 w 359004"/>
              <a:gd name="connsiteY89" fmla="*/ 279632 h 345141"/>
              <a:gd name="connsiteX90" fmla="*/ 285308 w 359004"/>
              <a:gd name="connsiteY90" fmla="*/ 304055 h 345141"/>
              <a:gd name="connsiteX91" fmla="*/ 216064 w 359004"/>
              <a:gd name="connsiteY91" fmla="*/ 304055 h 345141"/>
              <a:gd name="connsiteX92" fmla="*/ 208881 w 359004"/>
              <a:gd name="connsiteY92" fmla="*/ 306856 h 345141"/>
              <a:gd name="connsiteX93" fmla="*/ 174762 w 359004"/>
              <a:gd name="connsiteY93" fmla="*/ 338533 h 345141"/>
              <a:gd name="connsiteX94" fmla="*/ 157738 w 359004"/>
              <a:gd name="connsiteY94" fmla="*/ 345141 h 345141"/>
              <a:gd name="connsiteX95" fmla="*/ 140067 w 359004"/>
              <a:gd name="connsiteY95" fmla="*/ 337958 h 345141"/>
              <a:gd name="connsiteX96" fmla="*/ 109325 w 359004"/>
              <a:gd name="connsiteY96" fmla="*/ 307215 h 345141"/>
              <a:gd name="connsiteX97" fmla="*/ 102142 w 359004"/>
              <a:gd name="connsiteY97" fmla="*/ 304127 h 345141"/>
              <a:gd name="connsiteX98" fmla="*/ 24781 w 359004"/>
              <a:gd name="connsiteY98" fmla="*/ 304127 h 345141"/>
              <a:gd name="connsiteX99" fmla="*/ 0 w 359004"/>
              <a:gd name="connsiteY99" fmla="*/ 279704 h 345141"/>
              <a:gd name="connsiteX100" fmla="*/ 0 w 359004"/>
              <a:gd name="connsiteY100" fmla="*/ 69890 h 345141"/>
              <a:gd name="connsiteX101" fmla="*/ 24781 w 359004"/>
              <a:gd name="connsiteY101" fmla="*/ 45396 h 345141"/>
              <a:gd name="connsiteX102" fmla="*/ 64934 w 359004"/>
              <a:gd name="connsiteY102" fmla="*/ 45396 h 345141"/>
              <a:gd name="connsiteX103" fmla="*/ 64934 w 359004"/>
              <a:gd name="connsiteY103" fmla="*/ 37136 h 345141"/>
              <a:gd name="connsiteX104" fmla="*/ 102070 w 359004"/>
              <a:gd name="connsiteY104" fmla="*/ 0 h 3451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59004" h="345141">
                <a:moveTo>
                  <a:pt x="152925" y="125701"/>
                </a:moveTo>
                <a:cubicBezTo>
                  <a:pt x="139709" y="125859"/>
                  <a:pt x="129006" y="136584"/>
                  <a:pt x="128863" y="149836"/>
                </a:cubicBezTo>
                <a:cubicBezTo>
                  <a:pt x="129006" y="163326"/>
                  <a:pt x="140068" y="174129"/>
                  <a:pt x="153572" y="173971"/>
                </a:cubicBezTo>
                <a:lnTo>
                  <a:pt x="155655" y="173971"/>
                </a:lnTo>
                <a:lnTo>
                  <a:pt x="155871" y="173971"/>
                </a:lnTo>
                <a:cubicBezTo>
                  <a:pt x="169087" y="173741"/>
                  <a:pt x="179718" y="163003"/>
                  <a:pt x="179861" y="149764"/>
                </a:cubicBezTo>
                <a:cubicBezTo>
                  <a:pt x="179646" y="136447"/>
                  <a:pt x="168799" y="125737"/>
                  <a:pt x="155511" y="125701"/>
                </a:cubicBezTo>
                <a:lnTo>
                  <a:pt x="153931" y="125701"/>
                </a:lnTo>
                <a:close/>
                <a:moveTo>
                  <a:pt x="153572" y="111407"/>
                </a:moveTo>
                <a:lnTo>
                  <a:pt x="155081" y="111407"/>
                </a:lnTo>
                <a:cubicBezTo>
                  <a:pt x="176486" y="111206"/>
                  <a:pt x="194012" y="128417"/>
                  <a:pt x="194227" y="149836"/>
                </a:cubicBezTo>
                <a:cubicBezTo>
                  <a:pt x="194012" y="171270"/>
                  <a:pt x="176486" y="188495"/>
                  <a:pt x="155081" y="188337"/>
                </a:cubicBezTo>
                <a:lnTo>
                  <a:pt x="153572" y="188337"/>
                </a:lnTo>
                <a:cubicBezTo>
                  <a:pt x="132166" y="188495"/>
                  <a:pt x="114640" y="171256"/>
                  <a:pt x="114497" y="149836"/>
                </a:cubicBezTo>
                <a:cubicBezTo>
                  <a:pt x="114712" y="128446"/>
                  <a:pt x="132166" y="111249"/>
                  <a:pt x="153572" y="111407"/>
                </a:cubicBezTo>
                <a:close/>
                <a:moveTo>
                  <a:pt x="154505" y="100345"/>
                </a:moveTo>
                <a:cubicBezTo>
                  <a:pt x="151273" y="100331"/>
                  <a:pt x="148040" y="100596"/>
                  <a:pt x="144808" y="101135"/>
                </a:cubicBezTo>
                <a:cubicBezTo>
                  <a:pt x="125701" y="104238"/>
                  <a:pt x="110186" y="118310"/>
                  <a:pt x="105230" y="137050"/>
                </a:cubicBezTo>
                <a:cubicBezTo>
                  <a:pt x="99699" y="157773"/>
                  <a:pt x="108247" y="179688"/>
                  <a:pt x="126348" y="191209"/>
                </a:cubicBezTo>
                <a:lnTo>
                  <a:pt x="138702" y="199254"/>
                </a:lnTo>
                <a:lnTo>
                  <a:pt x="124337" y="203995"/>
                </a:lnTo>
                <a:cubicBezTo>
                  <a:pt x="106451" y="210086"/>
                  <a:pt x="91008" y="221744"/>
                  <a:pt x="80233" y="237253"/>
                </a:cubicBezTo>
                <a:cubicBezTo>
                  <a:pt x="79371" y="238409"/>
                  <a:pt x="79155" y="239910"/>
                  <a:pt x="79587" y="241275"/>
                </a:cubicBezTo>
                <a:cubicBezTo>
                  <a:pt x="80017" y="242683"/>
                  <a:pt x="81167" y="243803"/>
                  <a:pt x="82531" y="244292"/>
                </a:cubicBezTo>
                <a:lnTo>
                  <a:pt x="84255" y="244938"/>
                </a:lnTo>
                <a:cubicBezTo>
                  <a:pt x="86482" y="245678"/>
                  <a:pt x="88924" y="244859"/>
                  <a:pt x="90289" y="242927"/>
                </a:cubicBezTo>
                <a:cubicBezTo>
                  <a:pt x="105014" y="222355"/>
                  <a:pt x="128862" y="210201"/>
                  <a:pt x="154146" y="210316"/>
                </a:cubicBezTo>
                <a:lnTo>
                  <a:pt x="155726" y="210316"/>
                </a:lnTo>
                <a:cubicBezTo>
                  <a:pt x="181010" y="210252"/>
                  <a:pt x="204713" y="222398"/>
                  <a:pt x="219439" y="242927"/>
                </a:cubicBezTo>
                <a:cubicBezTo>
                  <a:pt x="220803" y="244859"/>
                  <a:pt x="223246" y="245678"/>
                  <a:pt x="225472" y="244938"/>
                </a:cubicBezTo>
                <a:lnTo>
                  <a:pt x="227196" y="244292"/>
                </a:lnTo>
                <a:cubicBezTo>
                  <a:pt x="228561" y="243803"/>
                  <a:pt x="229710" y="242683"/>
                  <a:pt x="230141" y="241275"/>
                </a:cubicBezTo>
                <a:cubicBezTo>
                  <a:pt x="230644" y="239960"/>
                  <a:pt x="230573" y="238481"/>
                  <a:pt x="229854" y="237253"/>
                </a:cubicBezTo>
                <a:cubicBezTo>
                  <a:pt x="219079" y="221723"/>
                  <a:pt x="203565" y="210065"/>
                  <a:pt x="185679" y="203995"/>
                </a:cubicBezTo>
                <a:lnTo>
                  <a:pt x="171744" y="199254"/>
                </a:lnTo>
                <a:lnTo>
                  <a:pt x="184098" y="191209"/>
                </a:lnTo>
                <a:cubicBezTo>
                  <a:pt x="202200" y="179674"/>
                  <a:pt x="210676" y="157773"/>
                  <a:pt x="205217" y="137050"/>
                </a:cubicBezTo>
                <a:cubicBezTo>
                  <a:pt x="200260" y="118310"/>
                  <a:pt x="184746" y="104238"/>
                  <a:pt x="165639" y="101135"/>
                </a:cubicBezTo>
                <a:cubicBezTo>
                  <a:pt x="162191" y="100568"/>
                  <a:pt x="158743" y="100302"/>
                  <a:pt x="155295" y="100345"/>
                </a:cubicBezTo>
                <a:close/>
                <a:moveTo>
                  <a:pt x="154648" y="85907"/>
                </a:moveTo>
                <a:cubicBezTo>
                  <a:pt x="158958" y="85871"/>
                  <a:pt x="163340" y="86209"/>
                  <a:pt x="167578" y="86913"/>
                </a:cubicBezTo>
                <a:cubicBezTo>
                  <a:pt x="192287" y="91007"/>
                  <a:pt x="212256" y="109281"/>
                  <a:pt x="218505" y="133531"/>
                </a:cubicBezTo>
                <a:cubicBezTo>
                  <a:pt x="224395" y="155675"/>
                  <a:pt x="217859" y="179264"/>
                  <a:pt x="201410" y="195232"/>
                </a:cubicBezTo>
                <a:cubicBezTo>
                  <a:pt x="217284" y="202882"/>
                  <a:pt x="230931" y="214511"/>
                  <a:pt x="240988" y="228992"/>
                </a:cubicBezTo>
                <a:cubicBezTo>
                  <a:pt x="244364" y="233833"/>
                  <a:pt x="245297" y="239953"/>
                  <a:pt x="243574" y="245585"/>
                </a:cubicBezTo>
                <a:cubicBezTo>
                  <a:pt x="241778" y="251252"/>
                  <a:pt x="237468" y="255763"/>
                  <a:pt x="231865" y="257796"/>
                </a:cubicBezTo>
                <a:lnTo>
                  <a:pt x="230141" y="258442"/>
                </a:lnTo>
                <a:cubicBezTo>
                  <a:pt x="221809" y="261416"/>
                  <a:pt x="212544" y="258478"/>
                  <a:pt x="207443" y="251259"/>
                </a:cubicBezTo>
                <a:cubicBezTo>
                  <a:pt x="195232" y="234300"/>
                  <a:pt x="175551" y="224373"/>
                  <a:pt x="154648" y="224682"/>
                </a:cubicBezTo>
                <a:cubicBezTo>
                  <a:pt x="133674" y="224251"/>
                  <a:pt x="113850" y="234199"/>
                  <a:pt x="101710" y="251259"/>
                </a:cubicBezTo>
                <a:cubicBezTo>
                  <a:pt x="97975" y="256459"/>
                  <a:pt x="92013" y="259555"/>
                  <a:pt x="85620" y="259591"/>
                </a:cubicBezTo>
                <a:cubicBezTo>
                  <a:pt x="83393" y="259598"/>
                  <a:pt x="81095" y="259210"/>
                  <a:pt x="79012" y="258442"/>
                </a:cubicBezTo>
                <a:lnTo>
                  <a:pt x="77288" y="257796"/>
                </a:lnTo>
                <a:cubicBezTo>
                  <a:pt x="71685" y="255763"/>
                  <a:pt x="67375" y="251252"/>
                  <a:pt x="65580" y="245585"/>
                </a:cubicBezTo>
                <a:cubicBezTo>
                  <a:pt x="63784" y="239953"/>
                  <a:pt x="64718" y="233804"/>
                  <a:pt x="68165" y="228992"/>
                </a:cubicBezTo>
                <a:cubicBezTo>
                  <a:pt x="78222" y="214511"/>
                  <a:pt x="91869" y="202875"/>
                  <a:pt x="107743" y="195232"/>
                </a:cubicBezTo>
                <a:cubicBezTo>
                  <a:pt x="91295" y="179264"/>
                  <a:pt x="84758" y="155675"/>
                  <a:pt x="90648" y="133531"/>
                </a:cubicBezTo>
                <a:cubicBezTo>
                  <a:pt x="96897" y="109274"/>
                  <a:pt x="116866" y="90993"/>
                  <a:pt x="141576" y="86913"/>
                </a:cubicBezTo>
                <a:cubicBezTo>
                  <a:pt x="145885" y="86202"/>
                  <a:pt x="150267" y="85864"/>
                  <a:pt x="154648" y="85907"/>
                </a:cubicBezTo>
                <a:close/>
                <a:moveTo>
                  <a:pt x="24781" y="59762"/>
                </a:moveTo>
                <a:cubicBezTo>
                  <a:pt x="19107" y="59719"/>
                  <a:pt x="14509" y="64237"/>
                  <a:pt x="14366" y="69890"/>
                </a:cubicBezTo>
                <a:lnTo>
                  <a:pt x="14366" y="280063"/>
                </a:lnTo>
                <a:cubicBezTo>
                  <a:pt x="14509" y="285709"/>
                  <a:pt x="19107" y="290199"/>
                  <a:pt x="24781" y="290120"/>
                </a:cubicBezTo>
                <a:lnTo>
                  <a:pt x="102142" y="290120"/>
                </a:lnTo>
                <a:cubicBezTo>
                  <a:pt x="108750" y="290091"/>
                  <a:pt x="115143" y="292670"/>
                  <a:pt x="119884" y="297303"/>
                </a:cubicBezTo>
                <a:lnTo>
                  <a:pt x="150555" y="328046"/>
                </a:lnTo>
                <a:cubicBezTo>
                  <a:pt x="154721" y="331968"/>
                  <a:pt x="161186" y="331968"/>
                  <a:pt x="165352" y="328046"/>
                </a:cubicBezTo>
                <a:lnTo>
                  <a:pt x="199471" y="296441"/>
                </a:lnTo>
                <a:cubicBezTo>
                  <a:pt x="204068" y="292145"/>
                  <a:pt x="210173" y="289761"/>
                  <a:pt x="216494" y="289761"/>
                </a:cubicBezTo>
                <a:lnTo>
                  <a:pt x="285738" y="289761"/>
                </a:lnTo>
                <a:cubicBezTo>
                  <a:pt x="291413" y="289840"/>
                  <a:pt x="296082" y="285357"/>
                  <a:pt x="296225" y="279704"/>
                </a:cubicBezTo>
                <a:lnTo>
                  <a:pt x="296225" y="69890"/>
                </a:lnTo>
                <a:cubicBezTo>
                  <a:pt x="296082" y="64222"/>
                  <a:pt x="291413" y="59719"/>
                  <a:pt x="285738" y="59762"/>
                </a:cubicBezTo>
                <a:close/>
                <a:moveTo>
                  <a:pt x="102070" y="14366"/>
                </a:moveTo>
                <a:cubicBezTo>
                  <a:pt x="89500" y="14366"/>
                  <a:pt x="79300" y="24558"/>
                  <a:pt x="79300" y="37136"/>
                </a:cubicBezTo>
                <a:lnTo>
                  <a:pt x="79300" y="45396"/>
                </a:lnTo>
                <a:lnTo>
                  <a:pt x="285738" y="45396"/>
                </a:lnTo>
                <a:cubicBezTo>
                  <a:pt x="299386" y="45317"/>
                  <a:pt x="310448" y="56271"/>
                  <a:pt x="310591" y="69890"/>
                </a:cubicBezTo>
                <a:lnTo>
                  <a:pt x="310591" y="258586"/>
                </a:lnTo>
                <a:lnTo>
                  <a:pt x="322299" y="258586"/>
                </a:lnTo>
                <a:cubicBezTo>
                  <a:pt x="334869" y="258586"/>
                  <a:pt x="345069" y="248394"/>
                  <a:pt x="345069" y="235817"/>
                </a:cubicBezTo>
                <a:lnTo>
                  <a:pt x="345069" y="37136"/>
                </a:lnTo>
                <a:cubicBezTo>
                  <a:pt x="345069" y="24558"/>
                  <a:pt x="334869" y="14366"/>
                  <a:pt x="322299" y="14366"/>
                </a:cubicBezTo>
                <a:close/>
                <a:moveTo>
                  <a:pt x="102070" y="0"/>
                </a:moveTo>
                <a:lnTo>
                  <a:pt x="322299" y="0"/>
                </a:lnTo>
                <a:cubicBezTo>
                  <a:pt x="342628" y="273"/>
                  <a:pt x="358933" y="16808"/>
                  <a:pt x="359004" y="37136"/>
                </a:cubicBezTo>
                <a:lnTo>
                  <a:pt x="359004" y="235817"/>
                </a:lnTo>
                <a:cubicBezTo>
                  <a:pt x="358933" y="256309"/>
                  <a:pt x="342340" y="272916"/>
                  <a:pt x="321869" y="272952"/>
                </a:cubicBezTo>
                <a:lnTo>
                  <a:pt x="310160" y="272952"/>
                </a:lnTo>
                <a:lnTo>
                  <a:pt x="310160" y="279632"/>
                </a:lnTo>
                <a:cubicBezTo>
                  <a:pt x="310017" y="293223"/>
                  <a:pt x="298883" y="304134"/>
                  <a:pt x="285308" y="304055"/>
                </a:cubicBezTo>
                <a:lnTo>
                  <a:pt x="216064" y="304055"/>
                </a:lnTo>
                <a:cubicBezTo>
                  <a:pt x="213406" y="304069"/>
                  <a:pt x="210820" y="305067"/>
                  <a:pt x="208881" y="306856"/>
                </a:cubicBezTo>
                <a:lnTo>
                  <a:pt x="174762" y="338533"/>
                </a:lnTo>
                <a:cubicBezTo>
                  <a:pt x="170093" y="342792"/>
                  <a:pt x="164059" y="345148"/>
                  <a:pt x="157738" y="345141"/>
                </a:cubicBezTo>
                <a:cubicBezTo>
                  <a:pt x="151129" y="345184"/>
                  <a:pt x="144737" y="342598"/>
                  <a:pt x="140067" y="337958"/>
                </a:cubicBezTo>
                <a:lnTo>
                  <a:pt x="109325" y="307215"/>
                </a:lnTo>
                <a:cubicBezTo>
                  <a:pt x="107385" y="305319"/>
                  <a:pt x="104872" y="304213"/>
                  <a:pt x="102142" y="304127"/>
                </a:cubicBezTo>
                <a:lnTo>
                  <a:pt x="24781" y="304127"/>
                </a:lnTo>
                <a:cubicBezTo>
                  <a:pt x="11206" y="304206"/>
                  <a:pt x="143" y="293280"/>
                  <a:pt x="0" y="279704"/>
                </a:cubicBezTo>
                <a:lnTo>
                  <a:pt x="0" y="69890"/>
                </a:lnTo>
                <a:cubicBezTo>
                  <a:pt x="143" y="56300"/>
                  <a:pt x="11206" y="45353"/>
                  <a:pt x="24781" y="45396"/>
                </a:cubicBezTo>
                <a:lnTo>
                  <a:pt x="64934" y="45396"/>
                </a:lnTo>
                <a:lnTo>
                  <a:pt x="64934" y="37136"/>
                </a:lnTo>
                <a:cubicBezTo>
                  <a:pt x="65006" y="16643"/>
                  <a:pt x="81598" y="36"/>
                  <a:pt x="102070"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Arial" panose="020F0502020204030204"/>
              <a:ea typeface="微软雅黑"/>
              <a:cs typeface="+mn-cs"/>
            </a:endParaRPr>
          </a:p>
        </p:txBody>
      </p:sp>
      <p:sp>
        <p:nvSpPr>
          <p:cNvPr id="181" name="Oval 161">
            <a:extLst>
              <a:ext uri="{FF2B5EF4-FFF2-40B4-BE49-F238E27FC236}">
                <a16:creationId xmlns:a16="http://schemas.microsoft.com/office/drawing/2014/main" id="{FCAEC954-A9E9-4934-B38C-5A7032F5C08A}"/>
              </a:ext>
            </a:extLst>
          </p:cNvPr>
          <p:cNvSpPr/>
          <p:nvPr/>
        </p:nvSpPr>
        <p:spPr>
          <a:xfrm>
            <a:off x="4430339" y="5153935"/>
            <a:ext cx="229050" cy="220202"/>
          </a:xfrm>
          <a:custGeom>
            <a:avLst/>
            <a:gdLst>
              <a:gd name="connsiteX0" fmla="*/ 152925 w 359004"/>
              <a:gd name="connsiteY0" fmla="*/ 125701 h 345141"/>
              <a:gd name="connsiteX1" fmla="*/ 128863 w 359004"/>
              <a:gd name="connsiteY1" fmla="*/ 149836 h 345141"/>
              <a:gd name="connsiteX2" fmla="*/ 153572 w 359004"/>
              <a:gd name="connsiteY2" fmla="*/ 173971 h 345141"/>
              <a:gd name="connsiteX3" fmla="*/ 155655 w 359004"/>
              <a:gd name="connsiteY3" fmla="*/ 173971 h 345141"/>
              <a:gd name="connsiteX4" fmla="*/ 155871 w 359004"/>
              <a:gd name="connsiteY4" fmla="*/ 173971 h 345141"/>
              <a:gd name="connsiteX5" fmla="*/ 179861 w 359004"/>
              <a:gd name="connsiteY5" fmla="*/ 149764 h 345141"/>
              <a:gd name="connsiteX6" fmla="*/ 155511 w 359004"/>
              <a:gd name="connsiteY6" fmla="*/ 125701 h 345141"/>
              <a:gd name="connsiteX7" fmla="*/ 153931 w 359004"/>
              <a:gd name="connsiteY7" fmla="*/ 125701 h 345141"/>
              <a:gd name="connsiteX8" fmla="*/ 153572 w 359004"/>
              <a:gd name="connsiteY8" fmla="*/ 111407 h 345141"/>
              <a:gd name="connsiteX9" fmla="*/ 155081 w 359004"/>
              <a:gd name="connsiteY9" fmla="*/ 111407 h 345141"/>
              <a:gd name="connsiteX10" fmla="*/ 194227 w 359004"/>
              <a:gd name="connsiteY10" fmla="*/ 149836 h 345141"/>
              <a:gd name="connsiteX11" fmla="*/ 155081 w 359004"/>
              <a:gd name="connsiteY11" fmla="*/ 188337 h 345141"/>
              <a:gd name="connsiteX12" fmla="*/ 153572 w 359004"/>
              <a:gd name="connsiteY12" fmla="*/ 188337 h 345141"/>
              <a:gd name="connsiteX13" fmla="*/ 114497 w 359004"/>
              <a:gd name="connsiteY13" fmla="*/ 149836 h 345141"/>
              <a:gd name="connsiteX14" fmla="*/ 153572 w 359004"/>
              <a:gd name="connsiteY14" fmla="*/ 111407 h 345141"/>
              <a:gd name="connsiteX15" fmla="*/ 154505 w 359004"/>
              <a:gd name="connsiteY15" fmla="*/ 100345 h 345141"/>
              <a:gd name="connsiteX16" fmla="*/ 144808 w 359004"/>
              <a:gd name="connsiteY16" fmla="*/ 101135 h 345141"/>
              <a:gd name="connsiteX17" fmla="*/ 105230 w 359004"/>
              <a:gd name="connsiteY17" fmla="*/ 137050 h 345141"/>
              <a:gd name="connsiteX18" fmla="*/ 126348 w 359004"/>
              <a:gd name="connsiteY18" fmla="*/ 191209 h 345141"/>
              <a:gd name="connsiteX19" fmla="*/ 138702 w 359004"/>
              <a:gd name="connsiteY19" fmla="*/ 199254 h 345141"/>
              <a:gd name="connsiteX20" fmla="*/ 124337 w 359004"/>
              <a:gd name="connsiteY20" fmla="*/ 203995 h 345141"/>
              <a:gd name="connsiteX21" fmla="*/ 80233 w 359004"/>
              <a:gd name="connsiteY21" fmla="*/ 237253 h 345141"/>
              <a:gd name="connsiteX22" fmla="*/ 79587 w 359004"/>
              <a:gd name="connsiteY22" fmla="*/ 241275 h 345141"/>
              <a:gd name="connsiteX23" fmla="*/ 82531 w 359004"/>
              <a:gd name="connsiteY23" fmla="*/ 244292 h 345141"/>
              <a:gd name="connsiteX24" fmla="*/ 84255 w 359004"/>
              <a:gd name="connsiteY24" fmla="*/ 244938 h 345141"/>
              <a:gd name="connsiteX25" fmla="*/ 90289 w 359004"/>
              <a:gd name="connsiteY25" fmla="*/ 242927 h 345141"/>
              <a:gd name="connsiteX26" fmla="*/ 154146 w 359004"/>
              <a:gd name="connsiteY26" fmla="*/ 210316 h 345141"/>
              <a:gd name="connsiteX27" fmla="*/ 155726 w 359004"/>
              <a:gd name="connsiteY27" fmla="*/ 210316 h 345141"/>
              <a:gd name="connsiteX28" fmla="*/ 219439 w 359004"/>
              <a:gd name="connsiteY28" fmla="*/ 242927 h 345141"/>
              <a:gd name="connsiteX29" fmla="*/ 225472 w 359004"/>
              <a:gd name="connsiteY29" fmla="*/ 244938 h 345141"/>
              <a:gd name="connsiteX30" fmla="*/ 227196 w 359004"/>
              <a:gd name="connsiteY30" fmla="*/ 244292 h 345141"/>
              <a:gd name="connsiteX31" fmla="*/ 230141 w 359004"/>
              <a:gd name="connsiteY31" fmla="*/ 241275 h 345141"/>
              <a:gd name="connsiteX32" fmla="*/ 229854 w 359004"/>
              <a:gd name="connsiteY32" fmla="*/ 237253 h 345141"/>
              <a:gd name="connsiteX33" fmla="*/ 185679 w 359004"/>
              <a:gd name="connsiteY33" fmla="*/ 203995 h 345141"/>
              <a:gd name="connsiteX34" fmla="*/ 171744 w 359004"/>
              <a:gd name="connsiteY34" fmla="*/ 199254 h 345141"/>
              <a:gd name="connsiteX35" fmla="*/ 184098 w 359004"/>
              <a:gd name="connsiteY35" fmla="*/ 191209 h 345141"/>
              <a:gd name="connsiteX36" fmla="*/ 205217 w 359004"/>
              <a:gd name="connsiteY36" fmla="*/ 137050 h 345141"/>
              <a:gd name="connsiteX37" fmla="*/ 165639 w 359004"/>
              <a:gd name="connsiteY37" fmla="*/ 101135 h 345141"/>
              <a:gd name="connsiteX38" fmla="*/ 155295 w 359004"/>
              <a:gd name="connsiteY38" fmla="*/ 100345 h 345141"/>
              <a:gd name="connsiteX39" fmla="*/ 154648 w 359004"/>
              <a:gd name="connsiteY39" fmla="*/ 85907 h 345141"/>
              <a:gd name="connsiteX40" fmla="*/ 167578 w 359004"/>
              <a:gd name="connsiteY40" fmla="*/ 86913 h 345141"/>
              <a:gd name="connsiteX41" fmla="*/ 218505 w 359004"/>
              <a:gd name="connsiteY41" fmla="*/ 133531 h 345141"/>
              <a:gd name="connsiteX42" fmla="*/ 201410 w 359004"/>
              <a:gd name="connsiteY42" fmla="*/ 195232 h 345141"/>
              <a:gd name="connsiteX43" fmla="*/ 240988 w 359004"/>
              <a:gd name="connsiteY43" fmla="*/ 228992 h 345141"/>
              <a:gd name="connsiteX44" fmla="*/ 243574 w 359004"/>
              <a:gd name="connsiteY44" fmla="*/ 245585 h 345141"/>
              <a:gd name="connsiteX45" fmla="*/ 231865 w 359004"/>
              <a:gd name="connsiteY45" fmla="*/ 257796 h 345141"/>
              <a:gd name="connsiteX46" fmla="*/ 230141 w 359004"/>
              <a:gd name="connsiteY46" fmla="*/ 258442 h 345141"/>
              <a:gd name="connsiteX47" fmla="*/ 207443 w 359004"/>
              <a:gd name="connsiteY47" fmla="*/ 251259 h 345141"/>
              <a:gd name="connsiteX48" fmla="*/ 154648 w 359004"/>
              <a:gd name="connsiteY48" fmla="*/ 224682 h 345141"/>
              <a:gd name="connsiteX49" fmla="*/ 101710 w 359004"/>
              <a:gd name="connsiteY49" fmla="*/ 251259 h 345141"/>
              <a:gd name="connsiteX50" fmla="*/ 85620 w 359004"/>
              <a:gd name="connsiteY50" fmla="*/ 259591 h 345141"/>
              <a:gd name="connsiteX51" fmla="*/ 79012 w 359004"/>
              <a:gd name="connsiteY51" fmla="*/ 258442 h 345141"/>
              <a:gd name="connsiteX52" fmla="*/ 77288 w 359004"/>
              <a:gd name="connsiteY52" fmla="*/ 257796 h 345141"/>
              <a:gd name="connsiteX53" fmla="*/ 65580 w 359004"/>
              <a:gd name="connsiteY53" fmla="*/ 245585 h 345141"/>
              <a:gd name="connsiteX54" fmla="*/ 68165 w 359004"/>
              <a:gd name="connsiteY54" fmla="*/ 228992 h 345141"/>
              <a:gd name="connsiteX55" fmla="*/ 107743 w 359004"/>
              <a:gd name="connsiteY55" fmla="*/ 195232 h 345141"/>
              <a:gd name="connsiteX56" fmla="*/ 90648 w 359004"/>
              <a:gd name="connsiteY56" fmla="*/ 133531 h 345141"/>
              <a:gd name="connsiteX57" fmla="*/ 141576 w 359004"/>
              <a:gd name="connsiteY57" fmla="*/ 86913 h 345141"/>
              <a:gd name="connsiteX58" fmla="*/ 154648 w 359004"/>
              <a:gd name="connsiteY58" fmla="*/ 85907 h 345141"/>
              <a:gd name="connsiteX59" fmla="*/ 24781 w 359004"/>
              <a:gd name="connsiteY59" fmla="*/ 59762 h 345141"/>
              <a:gd name="connsiteX60" fmla="*/ 14366 w 359004"/>
              <a:gd name="connsiteY60" fmla="*/ 69890 h 345141"/>
              <a:gd name="connsiteX61" fmla="*/ 14366 w 359004"/>
              <a:gd name="connsiteY61" fmla="*/ 280063 h 345141"/>
              <a:gd name="connsiteX62" fmla="*/ 24781 w 359004"/>
              <a:gd name="connsiteY62" fmla="*/ 290120 h 345141"/>
              <a:gd name="connsiteX63" fmla="*/ 102142 w 359004"/>
              <a:gd name="connsiteY63" fmla="*/ 290120 h 345141"/>
              <a:gd name="connsiteX64" fmla="*/ 119884 w 359004"/>
              <a:gd name="connsiteY64" fmla="*/ 297303 h 345141"/>
              <a:gd name="connsiteX65" fmla="*/ 150555 w 359004"/>
              <a:gd name="connsiteY65" fmla="*/ 328046 h 345141"/>
              <a:gd name="connsiteX66" fmla="*/ 165352 w 359004"/>
              <a:gd name="connsiteY66" fmla="*/ 328046 h 345141"/>
              <a:gd name="connsiteX67" fmla="*/ 199471 w 359004"/>
              <a:gd name="connsiteY67" fmla="*/ 296441 h 345141"/>
              <a:gd name="connsiteX68" fmla="*/ 216494 w 359004"/>
              <a:gd name="connsiteY68" fmla="*/ 289761 h 345141"/>
              <a:gd name="connsiteX69" fmla="*/ 285738 w 359004"/>
              <a:gd name="connsiteY69" fmla="*/ 289761 h 345141"/>
              <a:gd name="connsiteX70" fmla="*/ 296225 w 359004"/>
              <a:gd name="connsiteY70" fmla="*/ 279704 h 345141"/>
              <a:gd name="connsiteX71" fmla="*/ 296225 w 359004"/>
              <a:gd name="connsiteY71" fmla="*/ 69890 h 345141"/>
              <a:gd name="connsiteX72" fmla="*/ 285738 w 359004"/>
              <a:gd name="connsiteY72" fmla="*/ 59762 h 345141"/>
              <a:gd name="connsiteX73" fmla="*/ 102070 w 359004"/>
              <a:gd name="connsiteY73" fmla="*/ 14366 h 345141"/>
              <a:gd name="connsiteX74" fmla="*/ 79300 w 359004"/>
              <a:gd name="connsiteY74" fmla="*/ 37136 h 345141"/>
              <a:gd name="connsiteX75" fmla="*/ 79300 w 359004"/>
              <a:gd name="connsiteY75" fmla="*/ 45396 h 345141"/>
              <a:gd name="connsiteX76" fmla="*/ 285738 w 359004"/>
              <a:gd name="connsiteY76" fmla="*/ 45396 h 345141"/>
              <a:gd name="connsiteX77" fmla="*/ 310591 w 359004"/>
              <a:gd name="connsiteY77" fmla="*/ 69890 h 345141"/>
              <a:gd name="connsiteX78" fmla="*/ 310591 w 359004"/>
              <a:gd name="connsiteY78" fmla="*/ 258586 h 345141"/>
              <a:gd name="connsiteX79" fmla="*/ 322299 w 359004"/>
              <a:gd name="connsiteY79" fmla="*/ 258586 h 345141"/>
              <a:gd name="connsiteX80" fmla="*/ 345069 w 359004"/>
              <a:gd name="connsiteY80" fmla="*/ 235817 h 345141"/>
              <a:gd name="connsiteX81" fmla="*/ 345069 w 359004"/>
              <a:gd name="connsiteY81" fmla="*/ 37136 h 345141"/>
              <a:gd name="connsiteX82" fmla="*/ 322299 w 359004"/>
              <a:gd name="connsiteY82" fmla="*/ 14366 h 345141"/>
              <a:gd name="connsiteX83" fmla="*/ 102070 w 359004"/>
              <a:gd name="connsiteY83" fmla="*/ 0 h 345141"/>
              <a:gd name="connsiteX84" fmla="*/ 322299 w 359004"/>
              <a:gd name="connsiteY84" fmla="*/ 0 h 345141"/>
              <a:gd name="connsiteX85" fmla="*/ 359004 w 359004"/>
              <a:gd name="connsiteY85" fmla="*/ 37136 h 345141"/>
              <a:gd name="connsiteX86" fmla="*/ 359004 w 359004"/>
              <a:gd name="connsiteY86" fmla="*/ 235817 h 345141"/>
              <a:gd name="connsiteX87" fmla="*/ 321869 w 359004"/>
              <a:gd name="connsiteY87" fmla="*/ 272952 h 345141"/>
              <a:gd name="connsiteX88" fmla="*/ 310160 w 359004"/>
              <a:gd name="connsiteY88" fmla="*/ 272952 h 345141"/>
              <a:gd name="connsiteX89" fmla="*/ 310160 w 359004"/>
              <a:gd name="connsiteY89" fmla="*/ 279632 h 345141"/>
              <a:gd name="connsiteX90" fmla="*/ 285308 w 359004"/>
              <a:gd name="connsiteY90" fmla="*/ 304055 h 345141"/>
              <a:gd name="connsiteX91" fmla="*/ 216064 w 359004"/>
              <a:gd name="connsiteY91" fmla="*/ 304055 h 345141"/>
              <a:gd name="connsiteX92" fmla="*/ 208881 w 359004"/>
              <a:gd name="connsiteY92" fmla="*/ 306856 h 345141"/>
              <a:gd name="connsiteX93" fmla="*/ 174762 w 359004"/>
              <a:gd name="connsiteY93" fmla="*/ 338533 h 345141"/>
              <a:gd name="connsiteX94" fmla="*/ 157738 w 359004"/>
              <a:gd name="connsiteY94" fmla="*/ 345141 h 345141"/>
              <a:gd name="connsiteX95" fmla="*/ 140067 w 359004"/>
              <a:gd name="connsiteY95" fmla="*/ 337958 h 345141"/>
              <a:gd name="connsiteX96" fmla="*/ 109325 w 359004"/>
              <a:gd name="connsiteY96" fmla="*/ 307215 h 345141"/>
              <a:gd name="connsiteX97" fmla="*/ 102142 w 359004"/>
              <a:gd name="connsiteY97" fmla="*/ 304127 h 345141"/>
              <a:gd name="connsiteX98" fmla="*/ 24781 w 359004"/>
              <a:gd name="connsiteY98" fmla="*/ 304127 h 345141"/>
              <a:gd name="connsiteX99" fmla="*/ 0 w 359004"/>
              <a:gd name="connsiteY99" fmla="*/ 279704 h 345141"/>
              <a:gd name="connsiteX100" fmla="*/ 0 w 359004"/>
              <a:gd name="connsiteY100" fmla="*/ 69890 h 345141"/>
              <a:gd name="connsiteX101" fmla="*/ 24781 w 359004"/>
              <a:gd name="connsiteY101" fmla="*/ 45396 h 345141"/>
              <a:gd name="connsiteX102" fmla="*/ 64934 w 359004"/>
              <a:gd name="connsiteY102" fmla="*/ 45396 h 345141"/>
              <a:gd name="connsiteX103" fmla="*/ 64934 w 359004"/>
              <a:gd name="connsiteY103" fmla="*/ 37136 h 345141"/>
              <a:gd name="connsiteX104" fmla="*/ 102070 w 359004"/>
              <a:gd name="connsiteY104" fmla="*/ 0 h 3451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59004" h="345141">
                <a:moveTo>
                  <a:pt x="152925" y="125701"/>
                </a:moveTo>
                <a:cubicBezTo>
                  <a:pt x="139709" y="125859"/>
                  <a:pt x="129006" y="136584"/>
                  <a:pt x="128863" y="149836"/>
                </a:cubicBezTo>
                <a:cubicBezTo>
                  <a:pt x="129006" y="163326"/>
                  <a:pt x="140068" y="174129"/>
                  <a:pt x="153572" y="173971"/>
                </a:cubicBezTo>
                <a:lnTo>
                  <a:pt x="155655" y="173971"/>
                </a:lnTo>
                <a:lnTo>
                  <a:pt x="155871" y="173971"/>
                </a:lnTo>
                <a:cubicBezTo>
                  <a:pt x="169087" y="173741"/>
                  <a:pt x="179718" y="163003"/>
                  <a:pt x="179861" y="149764"/>
                </a:cubicBezTo>
                <a:cubicBezTo>
                  <a:pt x="179646" y="136447"/>
                  <a:pt x="168799" y="125737"/>
                  <a:pt x="155511" y="125701"/>
                </a:cubicBezTo>
                <a:lnTo>
                  <a:pt x="153931" y="125701"/>
                </a:lnTo>
                <a:close/>
                <a:moveTo>
                  <a:pt x="153572" y="111407"/>
                </a:moveTo>
                <a:lnTo>
                  <a:pt x="155081" y="111407"/>
                </a:lnTo>
                <a:cubicBezTo>
                  <a:pt x="176486" y="111206"/>
                  <a:pt x="194012" y="128417"/>
                  <a:pt x="194227" y="149836"/>
                </a:cubicBezTo>
                <a:cubicBezTo>
                  <a:pt x="194012" y="171270"/>
                  <a:pt x="176486" y="188495"/>
                  <a:pt x="155081" y="188337"/>
                </a:cubicBezTo>
                <a:lnTo>
                  <a:pt x="153572" y="188337"/>
                </a:lnTo>
                <a:cubicBezTo>
                  <a:pt x="132166" y="188495"/>
                  <a:pt x="114640" y="171256"/>
                  <a:pt x="114497" y="149836"/>
                </a:cubicBezTo>
                <a:cubicBezTo>
                  <a:pt x="114712" y="128446"/>
                  <a:pt x="132166" y="111249"/>
                  <a:pt x="153572" y="111407"/>
                </a:cubicBezTo>
                <a:close/>
                <a:moveTo>
                  <a:pt x="154505" y="100345"/>
                </a:moveTo>
                <a:cubicBezTo>
                  <a:pt x="151273" y="100331"/>
                  <a:pt x="148040" y="100596"/>
                  <a:pt x="144808" y="101135"/>
                </a:cubicBezTo>
                <a:cubicBezTo>
                  <a:pt x="125701" y="104238"/>
                  <a:pt x="110186" y="118310"/>
                  <a:pt x="105230" y="137050"/>
                </a:cubicBezTo>
                <a:cubicBezTo>
                  <a:pt x="99699" y="157773"/>
                  <a:pt x="108247" y="179688"/>
                  <a:pt x="126348" y="191209"/>
                </a:cubicBezTo>
                <a:lnTo>
                  <a:pt x="138702" y="199254"/>
                </a:lnTo>
                <a:lnTo>
                  <a:pt x="124337" y="203995"/>
                </a:lnTo>
                <a:cubicBezTo>
                  <a:pt x="106451" y="210086"/>
                  <a:pt x="91008" y="221744"/>
                  <a:pt x="80233" y="237253"/>
                </a:cubicBezTo>
                <a:cubicBezTo>
                  <a:pt x="79371" y="238409"/>
                  <a:pt x="79155" y="239910"/>
                  <a:pt x="79587" y="241275"/>
                </a:cubicBezTo>
                <a:cubicBezTo>
                  <a:pt x="80017" y="242683"/>
                  <a:pt x="81167" y="243803"/>
                  <a:pt x="82531" y="244292"/>
                </a:cubicBezTo>
                <a:lnTo>
                  <a:pt x="84255" y="244938"/>
                </a:lnTo>
                <a:cubicBezTo>
                  <a:pt x="86482" y="245678"/>
                  <a:pt x="88924" y="244859"/>
                  <a:pt x="90289" y="242927"/>
                </a:cubicBezTo>
                <a:cubicBezTo>
                  <a:pt x="105014" y="222355"/>
                  <a:pt x="128862" y="210201"/>
                  <a:pt x="154146" y="210316"/>
                </a:cubicBezTo>
                <a:lnTo>
                  <a:pt x="155726" y="210316"/>
                </a:lnTo>
                <a:cubicBezTo>
                  <a:pt x="181010" y="210252"/>
                  <a:pt x="204713" y="222398"/>
                  <a:pt x="219439" y="242927"/>
                </a:cubicBezTo>
                <a:cubicBezTo>
                  <a:pt x="220803" y="244859"/>
                  <a:pt x="223246" y="245678"/>
                  <a:pt x="225472" y="244938"/>
                </a:cubicBezTo>
                <a:lnTo>
                  <a:pt x="227196" y="244292"/>
                </a:lnTo>
                <a:cubicBezTo>
                  <a:pt x="228561" y="243803"/>
                  <a:pt x="229710" y="242683"/>
                  <a:pt x="230141" y="241275"/>
                </a:cubicBezTo>
                <a:cubicBezTo>
                  <a:pt x="230644" y="239960"/>
                  <a:pt x="230573" y="238481"/>
                  <a:pt x="229854" y="237253"/>
                </a:cubicBezTo>
                <a:cubicBezTo>
                  <a:pt x="219079" y="221723"/>
                  <a:pt x="203565" y="210065"/>
                  <a:pt x="185679" y="203995"/>
                </a:cubicBezTo>
                <a:lnTo>
                  <a:pt x="171744" y="199254"/>
                </a:lnTo>
                <a:lnTo>
                  <a:pt x="184098" y="191209"/>
                </a:lnTo>
                <a:cubicBezTo>
                  <a:pt x="202200" y="179674"/>
                  <a:pt x="210676" y="157773"/>
                  <a:pt x="205217" y="137050"/>
                </a:cubicBezTo>
                <a:cubicBezTo>
                  <a:pt x="200260" y="118310"/>
                  <a:pt x="184746" y="104238"/>
                  <a:pt x="165639" y="101135"/>
                </a:cubicBezTo>
                <a:cubicBezTo>
                  <a:pt x="162191" y="100568"/>
                  <a:pt x="158743" y="100302"/>
                  <a:pt x="155295" y="100345"/>
                </a:cubicBezTo>
                <a:close/>
                <a:moveTo>
                  <a:pt x="154648" y="85907"/>
                </a:moveTo>
                <a:cubicBezTo>
                  <a:pt x="158958" y="85871"/>
                  <a:pt x="163340" y="86209"/>
                  <a:pt x="167578" y="86913"/>
                </a:cubicBezTo>
                <a:cubicBezTo>
                  <a:pt x="192287" y="91007"/>
                  <a:pt x="212256" y="109281"/>
                  <a:pt x="218505" y="133531"/>
                </a:cubicBezTo>
                <a:cubicBezTo>
                  <a:pt x="224395" y="155675"/>
                  <a:pt x="217859" y="179264"/>
                  <a:pt x="201410" y="195232"/>
                </a:cubicBezTo>
                <a:cubicBezTo>
                  <a:pt x="217284" y="202882"/>
                  <a:pt x="230931" y="214511"/>
                  <a:pt x="240988" y="228992"/>
                </a:cubicBezTo>
                <a:cubicBezTo>
                  <a:pt x="244364" y="233833"/>
                  <a:pt x="245297" y="239953"/>
                  <a:pt x="243574" y="245585"/>
                </a:cubicBezTo>
                <a:cubicBezTo>
                  <a:pt x="241778" y="251252"/>
                  <a:pt x="237468" y="255763"/>
                  <a:pt x="231865" y="257796"/>
                </a:cubicBezTo>
                <a:lnTo>
                  <a:pt x="230141" y="258442"/>
                </a:lnTo>
                <a:cubicBezTo>
                  <a:pt x="221809" y="261416"/>
                  <a:pt x="212544" y="258478"/>
                  <a:pt x="207443" y="251259"/>
                </a:cubicBezTo>
                <a:cubicBezTo>
                  <a:pt x="195232" y="234300"/>
                  <a:pt x="175551" y="224373"/>
                  <a:pt x="154648" y="224682"/>
                </a:cubicBezTo>
                <a:cubicBezTo>
                  <a:pt x="133674" y="224251"/>
                  <a:pt x="113850" y="234199"/>
                  <a:pt x="101710" y="251259"/>
                </a:cubicBezTo>
                <a:cubicBezTo>
                  <a:pt x="97975" y="256459"/>
                  <a:pt x="92013" y="259555"/>
                  <a:pt x="85620" y="259591"/>
                </a:cubicBezTo>
                <a:cubicBezTo>
                  <a:pt x="83393" y="259598"/>
                  <a:pt x="81095" y="259210"/>
                  <a:pt x="79012" y="258442"/>
                </a:cubicBezTo>
                <a:lnTo>
                  <a:pt x="77288" y="257796"/>
                </a:lnTo>
                <a:cubicBezTo>
                  <a:pt x="71685" y="255763"/>
                  <a:pt x="67375" y="251252"/>
                  <a:pt x="65580" y="245585"/>
                </a:cubicBezTo>
                <a:cubicBezTo>
                  <a:pt x="63784" y="239953"/>
                  <a:pt x="64718" y="233804"/>
                  <a:pt x="68165" y="228992"/>
                </a:cubicBezTo>
                <a:cubicBezTo>
                  <a:pt x="78222" y="214511"/>
                  <a:pt x="91869" y="202875"/>
                  <a:pt x="107743" y="195232"/>
                </a:cubicBezTo>
                <a:cubicBezTo>
                  <a:pt x="91295" y="179264"/>
                  <a:pt x="84758" y="155675"/>
                  <a:pt x="90648" y="133531"/>
                </a:cubicBezTo>
                <a:cubicBezTo>
                  <a:pt x="96897" y="109274"/>
                  <a:pt x="116866" y="90993"/>
                  <a:pt x="141576" y="86913"/>
                </a:cubicBezTo>
                <a:cubicBezTo>
                  <a:pt x="145885" y="86202"/>
                  <a:pt x="150267" y="85864"/>
                  <a:pt x="154648" y="85907"/>
                </a:cubicBezTo>
                <a:close/>
                <a:moveTo>
                  <a:pt x="24781" y="59762"/>
                </a:moveTo>
                <a:cubicBezTo>
                  <a:pt x="19107" y="59719"/>
                  <a:pt x="14509" y="64237"/>
                  <a:pt x="14366" y="69890"/>
                </a:cubicBezTo>
                <a:lnTo>
                  <a:pt x="14366" y="280063"/>
                </a:lnTo>
                <a:cubicBezTo>
                  <a:pt x="14509" y="285709"/>
                  <a:pt x="19107" y="290199"/>
                  <a:pt x="24781" y="290120"/>
                </a:cubicBezTo>
                <a:lnTo>
                  <a:pt x="102142" y="290120"/>
                </a:lnTo>
                <a:cubicBezTo>
                  <a:pt x="108750" y="290091"/>
                  <a:pt x="115143" y="292670"/>
                  <a:pt x="119884" y="297303"/>
                </a:cubicBezTo>
                <a:lnTo>
                  <a:pt x="150555" y="328046"/>
                </a:lnTo>
                <a:cubicBezTo>
                  <a:pt x="154721" y="331968"/>
                  <a:pt x="161186" y="331968"/>
                  <a:pt x="165352" y="328046"/>
                </a:cubicBezTo>
                <a:lnTo>
                  <a:pt x="199471" y="296441"/>
                </a:lnTo>
                <a:cubicBezTo>
                  <a:pt x="204068" y="292145"/>
                  <a:pt x="210173" y="289761"/>
                  <a:pt x="216494" y="289761"/>
                </a:cubicBezTo>
                <a:lnTo>
                  <a:pt x="285738" y="289761"/>
                </a:lnTo>
                <a:cubicBezTo>
                  <a:pt x="291413" y="289840"/>
                  <a:pt x="296082" y="285357"/>
                  <a:pt x="296225" y="279704"/>
                </a:cubicBezTo>
                <a:lnTo>
                  <a:pt x="296225" y="69890"/>
                </a:lnTo>
                <a:cubicBezTo>
                  <a:pt x="296082" y="64222"/>
                  <a:pt x="291413" y="59719"/>
                  <a:pt x="285738" y="59762"/>
                </a:cubicBezTo>
                <a:close/>
                <a:moveTo>
                  <a:pt x="102070" y="14366"/>
                </a:moveTo>
                <a:cubicBezTo>
                  <a:pt x="89500" y="14366"/>
                  <a:pt x="79300" y="24558"/>
                  <a:pt x="79300" y="37136"/>
                </a:cubicBezTo>
                <a:lnTo>
                  <a:pt x="79300" y="45396"/>
                </a:lnTo>
                <a:lnTo>
                  <a:pt x="285738" y="45396"/>
                </a:lnTo>
                <a:cubicBezTo>
                  <a:pt x="299386" y="45317"/>
                  <a:pt x="310448" y="56271"/>
                  <a:pt x="310591" y="69890"/>
                </a:cubicBezTo>
                <a:lnTo>
                  <a:pt x="310591" y="258586"/>
                </a:lnTo>
                <a:lnTo>
                  <a:pt x="322299" y="258586"/>
                </a:lnTo>
                <a:cubicBezTo>
                  <a:pt x="334869" y="258586"/>
                  <a:pt x="345069" y="248394"/>
                  <a:pt x="345069" y="235817"/>
                </a:cubicBezTo>
                <a:lnTo>
                  <a:pt x="345069" y="37136"/>
                </a:lnTo>
                <a:cubicBezTo>
                  <a:pt x="345069" y="24558"/>
                  <a:pt x="334869" y="14366"/>
                  <a:pt x="322299" y="14366"/>
                </a:cubicBezTo>
                <a:close/>
                <a:moveTo>
                  <a:pt x="102070" y="0"/>
                </a:moveTo>
                <a:lnTo>
                  <a:pt x="322299" y="0"/>
                </a:lnTo>
                <a:cubicBezTo>
                  <a:pt x="342628" y="273"/>
                  <a:pt x="358933" y="16808"/>
                  <a:pt x="359004" y="37136"/>
                </a:cubicBezTo>
                <a:lnTo>
                  <a:pt x="359004" y="235817"/>
                </a:lnTo>
                <a:cubicBezTo>
                  <a:pt x="358933" y="256309"/>
                  <a:pt x="342340" y="272916"/>
                  <a:pt x="321869" y="272952"/>
                </a:cubicBezTo>
                <a:lnTo>
                  <a:pt x="310160" y="272952"/>
                </a:lnTo>
                <a:lnTo>
                  <a:pt x="310160" y="279632"/>
                </a:lnTo>
                <a:cubicBezTo>
                  <a:pt x="310017" y="293223"/>
                  <a:pt x="298883" y="304134"/>
                  <a:pt x="285308" y="304055"/>
                </a:cubicBezTo>
                <a:lnTo>
                  <a:pt x="216064" y="304055"/>
                </a:lnTo>
                <a:cubicBezTo>
                  <a:pt x="213406" y="304069"/>
                  <a:pt x="210820" y="305067"/>
                  <a:pt x="208881" y="306856"/>
                </a:cubicBezTo>
                <a:lnTo>
                  <a:pt x="174762" y="338533"/>
                </a:lnTo>
                <a:cubicBezTo>
                  <a:pt x="170093" y="342792"/>
                  <a:pt x="164059" y="345148"/>
                  <a:pt x="157738" y="345141"/>
                </a:cubicBezTo>
                <a:cubicBezTo>
                  <a:pt x="151129" y="345184"/>
                  <a:pt x="144737" y="342598"/>
                  <a:pt x="140067" y="337958"/>
                </a:cubicBezTo>
                <a:lnTo>
                  <a:pt x="109325" y="307215"/>
                </a:lnTo>
                <a:cubicBezTo>
                  <a:pt x="107385" y="305319"/>
                  <a:pt x="104872" y="304213"/>
                  <a:pt x="102142" y="304127"/>
                </a:cubicBezTo>
                <a:lnTo>
                  <a:pt x="24781" y="304127"/>
                </a:lnTo>
                <a:cubicBezTo>
                  <a:pt x="11206" y="304206"/>
                  <a:pt x="143" y="293280"/>
                  <a:pt x="0" y="279704"/>
                </a:cubicBezTo>
                <a:lnTo>
                  <a:pt x="0" y="69890"/>
                </a:lnTo>
                <a:cubicBezTo>
                  <a:pt x="143" y="56300"/>
                  <a:pt x="11206" y="45353"/>
                  <a:pt x="24781" y="45396"/>
                </a:cubicBezTo>
                <a:lnTo>
                  <a:pt x="64934" y="45396"/>
                </a:lnTo>
                <a:lnTo>
                  <a:pt x="64934" y="37136"/>
                </a:lnTo>
                <a:cubicBezTo>
                  <a:pt x="65006" y="16643"/>
                  <a:pt x="81598" y="36"/>
                  <a:pt x="102070"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Arial" panose="020F0502020204030204"/>
              <a:ea typeface="微软雅黑"/>
              <a:cs typeface="+mn-cs"/>
            </a:endParaRPr>
          </a:p>
        </p:txBody>
      </p:sp>
      <p:sp>
        <p:nvSpPr>
          <p:cNvPr id="182" name="Oval 162">
            <a:extLst>
              <a:ext uri="{FF2B5EF4-FFF2-40B4-BE49-F238E27FC236}">
                <a16:creationId xmlns:a16="http://schemas.microsoft.com/office/drawing/2014/main" id="{F6863F5D-3325-4348-8BD8-5AF25243E328}"/>
              </a:ext>
            </a:extLst>
          </p:cNvPr>
          <p:cNvSpPr/>
          <p:nvPr/>
        </p:nvSpPr>
        <p:spPr>
          <a:xfrm>
            <a:off x="6079742" y="4339966"/>
            <a:ext cx="229050" cy="220202"/>
          </a:xfrm>
          <a:custGeom>
            <a:avLst/>
            <a:gdLst>
              <a:gd name="connsiteX0" fmla="*/ 152925 w 359004"/>
              <a:gd name="connsiteY0" fmla="*/ 125701 h 345141"/>
              <a:gd name="connsiteX1" fmla="*/ 128863 w 359004"/>
              <a:gd name="connsiteY1" fmla="*/ 149836 h 345141"/>
              <a:gd name="connsiteX2" fmla="*/ 153572 w 359004"/>
              <a:gd name="connsiteY2" fmla="*/ 173971 h 345141"/>
              <a:gd name="connsiteX3" fmla="*/ 155655 w 359004"/>
              <a:gd name="connsiteY3" fmla="*/ 173971 h 345141"/>
              <a:gd name="connsiteX4" fmla="*/ 155871 w 359004"/>
              <a:gd name="connsiteY4" fmla="*/ 173971 h 345141"/>
              <a:gd name="connsiteX5" fmla="*/ 179861 w 359004"/>
              <a:gd name="connsiteY5" fmla="*/ 149764 h 345141"/>
              <a:gd name="connsiteX6" fmla="*/ 155511 w 359004"/>
              <a:gd name="connsiteY6" fmla="*/ 125701 h 345141"/>
              <a:gd name="connsiteX7" fmla="*/ 153931 w 359004"/>
              <a:gd name="connsiteY7" fmla="*/ 125701 h 345141"/>
              <a:gd name="connsiteX8" fmla="*/ 153572 w 359004"/>
              <a:gd name="connsiteY8" fmla="*/ 111407 h 345141"/>
              <a:gd name="connsiteX9" fmla="*/ 155081 w 359004"/>
              <a:gd name="connsiteY9" fmla="*/ 111407 h 345141"/>
              <a:gd name="connsiteX10" fmla="*/ 194227 w 359004"/>
              <a:gd name="connsiteY10" fmla="*/ 149836 h 345141"/>
              <a:gd name="connsiteX11" fmla="*/ 155081 w 359004"/>
              <a:gd name="connsiteY11" fmla="*/ 188337 h 345141"/>
              <a:gd name="connsiteX12" fmla="*/ 153572 w 359004"/>
              <a:gd name="connsiteY12" fmla="*/ 188337 h 345141"/>
              <a:gd name="connsiteX13" fmla="*/ 114497 w 359004"/>
              <a:gd name="connsiteY13" fmla="*/ 149836 h 345141"/>
              <a:gd name="connsiteX14" fmla="*/ 153572 w 359004"/>
              <a:gd name="connsiteY14" fmla="*/ 111407 h 345141"/>
              <a:gd name="connsiteX15" fmla="*/ 154505 w 359004"/>
              <a:gd name="connsiteY15" fmla="*/ 100345 h 345141"/>
              <a:gd name="connsiteX16" fmla="*/ 144808 w 359004"/>
              <a:gd name="connsiteY16" fmla="*/ 101135 h 345141"/>
              <a:gd name="connsiteX17" fmla="*/ 105230 w 359004"/>
              <a:gd name="connsiteY17" fmla="*/ 137050 h 345141"/>
              <a:gd name="connsiteX18" fmla="*/ 126348 w 359004"/>
              <a:gd name="connsiteY18" fmla="*/ 191209 h 345141"/>
              <a:gd name="connsiteX19" fmla="*/ 138702 w 359004"/>
              <a:gd name="connsiteY19" fmla="*/ 199254 h 345141"/>
              <a:gd name="connsiteX20" fmla="*/ 124337 w 359004"/>
              <a:gd name="connsiteY20" fmla="*/ 203995 h 345141"/>
              <a:gd name="connsiteX21" fmla="*/ 80233 w 359004"/>
              <a:gd name="connsiteY21" fmla="*/ 237253 h 345141"/>
              <a:gd name="connsiteX22" fmla="*/ 79587 w 359004"/>
              <a:gd name="connsiteY22" fmla="*/ 241275 h 345141"/>
              <a:gd name="connsiteX23" fmla="*/ 82531 w 359004"/>
              <a:gd name="connsiteY23" fmla="*/ 244292 h 345141"/>
              <a:gd name="connsiteX24" fmla="*/ 84255 w 359004"/>
              <a:gd name="connsiteY24" fmla="*/ 244938 h 345141"/>
              <a:gd name="connsiteX25" fmla="*/ 90289 w 359004"/>
              <a:gd name="connsiteY25" fmla="*/ 242927 h 345141"/>
              <a:gd name="connsiteX26" fmla="*/ 154146 w 359004"/>
              <a:gd name="connsiteY26" fmla="*/ 210316 h 345141"/>
              <a:gd name="connsiteX27" fmla="*/ 155726 w 359004"/>
              <a:gd name="connsiteY27" fmla="*/ 210316 h 345141"/>
              <a:gd name="connsiteX28" fmla="*/ 219439 w 359004"/>
              <a:gd name="connsiteY28" fmla="*/ 242927 h 345141"/>
              <a:gd name="connsiteX29" fmla="*/ 225472 w 359004"/>
              <a:gd name="connsiteY29" fmla="*/ 244938 h 345141"/>
              <a:gd name="connsiteX30" fmla="*/ 227196 w 359004"/>
              <a:gd name="connsiteY30" fmla="*/ 244292 h 345141"/>
              <a:gd name="connsiteX31" fmla="*/ 230141 w 359004"/>
              <a:gd name="connsiteY31" fmla="*/ 241275 h 345141"/>
              <a:gd name="connsiteX32" fmla="*/ 229854 w 359004"/>
              <a:gd name="connsiteY32" fmla="*/ 237253 h 345141"/>
              <a:gd name="connsiteX33" fmla="*/ 185679 w 359004"/>
              <a:gd name="connsiteY33" fmla="*/ 203995 h 345141"/>
              <a:gd name="connsiteX34" fmla="*/ 171744 w 359004"/>
              <a:gd name="connsiteY34" fmla="*/ 199254 h 345141"/>
              <a:gd name="connsiteX35" fmla="*/ 184098 w 359004"/>
              <a:gd name="connsiteY35" fmla="*/ 191209 h 345141"/>
              <a:gd name="connsiteX36" fmla="*/ 205217 w 359004"/>
              <a:gd name="connsiteY36" fmla="*/ 137050 h 345141"/>
              <a:gd name="connsiteX37" fmla="*/ 165639 w 359004"/>
              <a:gd name="connsiteY37" fmla="*/ 101135 h 345141"/>
              <a:gd name="connsiteX38" fmla="*/ 155295 w 359004"/>
              <a:gd name="connsiteY38" fmla="*/ 100345 h 345141"/>
              <a:gd name="connsiteX39" fmla="*/ 154648 w 359004"/>
              <a:gd name="connsiteY39" fmla="*/ 85907 h 345141"/>
              <a:gd name="connsiteX40" fmla="*/ 167578 w 359004"/>
              <a:gd name="connsiteY40" fmla="*/ 86913 h 345141"/>
              <a:gd name="connsiteX41" fmla="*/ 218505 w 359004"/>
              <a:gd name="connsiteY41" fmla="*/ 133531 h 345141"/>
              <a:gd name="connsiteX42" fmla="*/ 201410 w 359004"/>
              <a:gd name="connsiteY42" fmla="*/ 195232 h 345141"/>
              <a:gd name="connsiteX43" fmla="*/ 240988 w 359004"/>
              <a:gd name="connsiteY43" fmla="*/ 228992 h 345141"/>
              <a:gd name="connsiteX44" fmla="*/ 243574 w 359004"/>
              <a:gd name="connsiteY44" fmla="*/ 245585 h 345141"/>
              <a:gd name="connsiteX45" fmla="*/ 231865 w 359004"/>
              <a:gd name="connsiteY45" fmla="*/ 257796 h 345141"/>
              <a:gd name="connsiteX46" fmla="*/ 230141 w 359004"/>
              <a:gd name="connsiteY46" fmla="*/ 258442 h 345141"/>
              <a:gd name="connsiteX47" fmla="*/ 207443 w 359004"/>
              <a:gd name="connsiteY47" fmla="*/ 251259 h 345141"/>
              <a:gd name="connsiteX48" fmla="*/ 154648 w 359004"/>
              <a:gd name="connsiteY48" fmla="*/ 224682 h 345141"/>
              <a:gd name="connsiteX49" fmla="*/ 101710 w 359004"/>
              <a:gd name="connsiteY49" fmla="*/ 251259 h 345141"/>
              <a:gd name="connsiteX50" fmla="*/ 85620 w 359004"/>
              <a:gd name="connsiteY50" fmla="*/ 259591 h 345141"/>
              <a:gd name="connsiteX51" fmla="*/ 79012 w 359004"/>
              <a:gd name="connsiteY51" fmla="*/ 258442 h 345141"/>
              <a:gd name="connsiteX52" fmla="*/ 77288 w 359004"/>
              <a:gd name="connsiteY52" fmla="*/ 257796 h 345141"/>
              <a:gd name="connsiteX53" fmla="*/ 65580 w 359004"/>
              <a:gd name="connsiteY53" fmla="*/ 245585 h 345141"/>
              <a:gd name="connsiteX54" fmla="*/ 68165 w 359004"/>
              <a:gd name="connsiteY54" fmla="*/ 228992 h 345141"/>
              <a:gd name="connsiteX55" fmla="*/ 107743 w 359004"/>
              <a:gd name="connsiteY55" fmla="*/ 195232 h 345141"/>
              <a:gd name="connsiteX56" fmla="*/ 90648 w 359004"/>
              <a:gd name="connsiteY56" fmla="*/ 133531 h 345141"/>
              <a:gd name="connsiteX57" fmla="*/ 141576 w 359004"/>
              <a:gd name="connsiteY57" fmla="*/ 86913 h 345141"/>
              <a:gd name="connsiteX58" fmla="*/ 154648 w 359004"/>
              <a:gd name="connsiteY58" fmla="*/ 85907 h 345141"/>
              <a:gd name="connsiteX59" fmla="*/ 24781 w 359004"/>
              <a:gd name="connsiteY59" fmla="*/ 59762 h 345141"/>
              <a:gd name="connsiteX60" fmla="*/ 14366 w 359004"/>
              <a:gd name="connsiteY60" fmla="*/ 69890 h 345141"/>
              <a:gd name="connsiteX61" fmla="*/ 14366 w 359004"/>
              <a:gd name="connsiteY61" fmla="*/ 280063 h 345141"/>
              <a:gd name="connsiteX62" fmla="*/ 24781 w 359004"/>
              <a:gd name="connsiteY62" fmla="*/ 290120 h 345141"/>
              <a:gd name="connsiteX63" fmla="*/ 102142 w 359004"/>
              <a:gd name="connsiteY63" fmla="*/ 290120 h 345141"/>
              <a:gd name="connsiteX64" fmla="*/ 119884 w 359004"/>
              <a:gd name="connsiteY64" fmla="*/ 297303 h 345141"/>
              <a:gd name="connsiteX65" fmla="*/ 150555 w 359004"/>
              <a:gd name="connsiteY65" fmla="*/ 328046 h 345141"/>
              <a:gd name="connsiteX66" fmla="*/ 165352 w 359004"/>
              <a:gd name="connsiteY66" fmla="*/ 328046 h 345141"/>
              <a:gd name="connsiteX67" fmla="*/ 199471 w 359004"/>
              <a:gd name="connsiteY67" fmla="*/ 296441 h 345141"/>
              <a:gd name="connsiteX68" fmla="*/ 216494 w 359004"/>
              <a:gd name="connsiteY68" fmla="*/ 289761 h 345141"/>
              <a:gd name="connsiteX69" fmla="*/ 285738 w 359004"/>
              <a:gd name="connsiteY69" fmla="*/ 289761 h 345141"/>
              <a:gd name="connsiteX70" fmla="*/ 296225 w 359004"/>
              <a:gd name="connsiteY70" fmla="*/ 279704 h 345141"/>
              <a:gd name="connsiteX71" fmla="*/ 296225 w 359004"/>
              <a:gd name="connsiteY71" fmla="*/ 69890 h 345141"/>
              <a:gd name="connsiteX72" fmla="*/ 285738 w 359004"/>
              <a:gd name="connsiteY72" fmla="*/ 59762 h 345141"/>
              <a:gd name="connsiteX73" fmla="*/ 102070 w 359004"/>
              <a:gd name="connsiteY73" fmla="*/ 14366 h 345141"/>
              <a:gd name="connsiteX74" fmla="*/ 79300 w 359004"/>
              <a:gd name="connsiteY74" fmla="*/ 37136 h 345141"/>
              <a:gd name="connsiteX75" fmla="*/ 79300 w 359004"/>
              <a:gd name="connsiteY75" fmla="*/ 45396 h 345141"/>
              <a:gd name="connsiteX76" fmla="*/ 285738 w 359004"/>
              <a:gd name="connsiteY76" fmla="*/ 45396 h 345141"/>
              <a:gd name="connsiteX77" fmla="*/ 310591 w 359004"/>
              <a:gd name="connsiteY77" fmla="*/ 69890 h 345141"/>
              <a:gd name="connsiteX78" fmla="*/ 310591 w 359004"/>
              <a:gd name="connsiteY78" fmla="*/ 258586 h 345141"/>
              <a:gd name="connsiteX79" fmla="*/ 322299 w 359004"/>
              <a:gd name="connsiteY79" fmla="*/ 258586 h 345141"/>
              <a:gd name="connsiteX80" fmla="*/ 345069 w 359004"/>
              <a:gd name="connsiteY80" fmla="*/ 235817 h 345141"/>
              <a:gd name="connsiteX81" fmla="*/ 345069 w 359004"/>
              <a:gd name="connsiteY81" fmla="*/ 37136 h 345141"/>
              <a:gd name="connsiteX82" fmla="*/ 322299 w 359004"/>
              <a:gd name="connsiteY82" fmla="*/ 14366 h 345141"/>
              <a:gd name="connsiteX83" fmla="*/ 102070 w 359004"/>
              <a:gd name="connsiteY83" fmla="*/ 0 h 345141"/>
              <a:gd name="connsiteX84" fmla="*/ 322299 w 359004"/>
              <a:gd name="connsiteY84" fmla="*/ 0 h 345141"/>
              <a:gd name="connsiteX85" fmla="*/ 359004 w 359004"/>
              <a:gd name="connsiteY85" fmla="*/ 37136 h 345141"/>
              <a:gd name="connsiteX86" fmla="*/ 359004 w 359004"/>
              <a:gd name="connsiteY86" fmla="*/ 235817 h 345141"/>
              <a:gd name="connsiteX87" fmla="*/ 321869 w 359004"/>
              <a:gd name="connsiteY87" fmla="*/ 272952 h 345141"/>
              <a:gd name="connsiteX88" fmla="*/ 310160 w 359004"/>
              <a:gd name="connsiteY88" fmla="*/ 272952 h 345141"/>
              <a:gd name="connsiteX89" fmla="*/ 310160 w 359004"/>
              <a:gd name="connsiteY89" fmla="*/ 279632 h 345141"/>
              <a:gd name="connsiteX90" fmla="*/ 285308 w 359004"/>
              <a:gd name="connsiteY90" fmla="*/ 304055 h 345141"/>
              <a:gd name="connsiteX91" fmla="*/ 216064 w 359004"/>
              <a:gd name="connsiteY91" fmla="*/ 304055 h 345141"/>
              <a:gd name="connsiteX92" fmla="*/ 208881 w 359004"/>
              <a:gd name="connsiteY92" fmla="*/ 306856 h 345141"/>
              <a:gd name="connsiteX93" fmla="*/ 174762 w 359004"/>
              <a:gd name="connsiteY93" fmla="*/ 338533 h 345141"/>
              <a:gd name="connsiteX94" fmla="*/ 157738 w 359004"/>
              <a:gd name="connsiteY94" fmla="*/ 345141 h 345141"/>
              <a:gd name="connsiteX95" fmla="*/ 140067 w 359004"/>
              <a:gd name="connsiteY95" fmla="*/ 337958 h 345141"/>
              <a:gd name="connsiteX96" fmla="*/ 109325 w 359004"/>
              <a:gd name="connsiteY96" fmla="*/ 307215 h 345141"/>
              <a:gd name="connsiteX97" fmla="*/ 102142 w 359004"/>
              <a:gd name="connsiteY97" fmla="*/ 304127 h 345141"/>
              <a:gd name="connsiteX98" fmla="*/ 24781 w 359004"/>
              <a:gd name="connsiteY98" fmla="*/ 304127 h 345141"/>
              <a:gd name="connsiteX99" fmla="*/ 0 w 359004"/>
              <a:gd name="connsiteY99" fmla="*/ 279704 h 345141"/>
              <a:gd name="connsiteX100" fmla="*/ 0 w 359004"/>
              <a:gd name="connsiteY100" fmla="*/ 69890 h 345141"/>
              <a:gd name="connsiteX101" fmla="*/ 24781 w 359004"/>
              <a:gd name="connsiteY101" fmla="*/ 45396 h 345141"/>
              <a:gd name="connsiteX102" fmla="*/ 64934 w 359004"/>
              <a:gd name="connsiteY102" fmla="*/ 45396 h 345141"/>
              <a:gd name="connsiteX103" fmla="*/ 64934 w 359004"/>
              <a:gd name="connsiteY103" fmla="*/ 37136 h 345141"/>
              <a:gd name="connsiteX104" fmla="*/ 102070 w 359004"/>
              <a:gd name="connsiteY104" fmla="*/ 0 h 3451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59004" h="345141">
                <a:moveTo>
                  <a:pt x="152925" y="125701"/>
                </a:moveTo>
                <a:cubicBezTo>
                  <a:pt x="139709" y="125859"/>
                  <a:pt x="129006" y="136584"/>
                  <a:pt x="128863" y="149836"/>
                </a:cubicBezTo>
                <a:cubicBezTo>
                  <a:pt x="129006" y="163326"/>
                  <a:pt x="140068" y="174129"/>
                  <a:pt x="153572" y="173971"/>
                </a:cubicBezTo>
                <a:lnTo>
                  <a:pt x="155655" y="173971"/>
                </a:lnTo>
                <a:lnTo>
                  <a:pt x="155871" y="173971"/>
                </a:lnTo>
                <a:cubicBezTo>
                  <a:pt x="169087" y="173741"/>
                  <a:pt x="179718" y="163003"/>
                  <a:pt x="179861" y="149764"/>
                </a:cubicBezTo>
                <a:cubicBezTo>
                  <a:pt x="179646" y="136447"/>
                  <a:pt x="168799" y="125737"/>
                  <a:pt x="155511" y="125701"/>
                </a:cubicBezTo>
                <a:lnTo>
                  <a:pt x="153931" y="125701"/>
                </a:lnTo>
                <a:close/>
                <a:moveTo>
                  <a:pt x="153572" y="111407"/>
                </a:moveTo>
                <a:lnTo>
                  <a:pt x="155081" y="111407"/>
                </a:lnTo>
                <a:cubicBezTo>
                  <a:pt x="176486" y="111206"/>
                  <a:pt x="194012" y="128417"/>
                  <a:pt x="194227" y="149836"/>
                </a:cubicBezTo>
                <a:cubicBezTo>
                  <a:pt x="194012" y="171270"/>
                  <a:pt x="176486" y="188495"/>
                  <a:pt x="155081" y="188337"/>
                </a:cubicBezTo>
                <a:lnTo>
                  <a:pt x="153572" y="188337"/>
                </a:lnTo>
                <a:cubicBezTo>
                  <a:pt x="132166" y="188495"/>
                  <a:pt x="114640" y="171256"/>
                  <a:pt x="114497" y="149836"/>
                </a:cubicBezTo>
                <a:cubicBezTo>
                  <a:pt x="114712" y="128446"/>
                  <a:pt x="132166" y="111249"/>
                  <a:pt x="153572" y="111407"/>
                </a:cubicBezTo>
                <a:close/>
                <a:moveTo>
                  <a:pt x="154505" y="100345"/>
                </a:moveTo>
                <a:cubicBezTo>
                  <a:pt x="151273" y="100331"/>
                  <a:pt x="148040" y="100596"/>
                  <a:pt x="144808" y="101135"/>
                </a:cubicBezTo>
                <a:cubicBezTo>
                  <a:pt x="125701" y="104238"/>
                  <a:pt x="110186" y="118310"/>
                  <a:pt x="105230" y="137050"/>
                </a:cubicBezTo>
                <a:cubicBezTo>
                  <a:pt x="99699" y="157773"/>
                  <a:pt x="108247" y="179688"/>
                  <a:pt x="126348" y="191209"/>
                </a:cubicBezTo>
                <a:lnTo>
                  <a:pt x="138702" y="199254"/>
                </a:lnTo>
                <a:lnTo>
                  <a:pt x="124337" y="203995"/>
                </a:lnTo>
                <a:cubicBezTo>
                  <a:pt x="106451" y="210086"/>
                  <a:pt x="91008" y="221744"/>
                  <a:pt x="80233" y="237253"/>
                </a:cubicBezTo>
                <a:cubicBezTo>
                  <a:pt x="79371" y="238409"/>
                  <a:pt x="79155" y="239910"/>
                  <a:pt x="79587" y="241275"/>
                </a:cubicBezTo>
                <a:cubicBezTo>
                  <a:pt x="80017" y="242683"/>
                  <a:pt x="81167" y="243803"/>
                  <a:pt x="82531" y="244292"/>
                </a:cubicBezTo>
                <a:lnTo>
                  <a:pt x="84255" y="244938"/>
                </a:lnTo>
                <a:cubicBezTo>
                  <a:pt x="86482" y="245678"/>
                  <a:pt x="88924" y="244859"/>
                  <a:pt x="90289" y="242927"/>
                </a:cubicBezTo>
                <a:cubicBezTo>
                  <a:pt x="105014" y="222355"/>
                  <a:pt x="128862" y="210201"/>
                  <a:pt x="154146" y="210316"/>
                </a:cubicBezTo>
                <a:lnTo>
                  <a:pt x="155726" y="210316"/>
                </a:lnTo>
                <a:cubicBezTo>
                  <a:pt x="181010" y="210252"/>
                  <a:pt x="204713" y="222398"/>
                  <a:pt x="219439" y="242927"/>
                </a:cubicBezTo>
                <a:cubicBezTo>
                  <a:pt x="220803" y="244859"/>
                  <a:pt x="223246" y="245678"/>
                  <a:pt x="225472" y="244938"/>
                </a:cubicBezTo>
                <a:lnTo>
                  <a:pt x="227196" y="244292"/>
                </a:lnTo>
                <a:cubicBezTo>
                  <a:pt x="228561" y="243803"/>
                  <a:pt x="229710" y="242683"/>
                  <a:pt x="230141" y="241275"/>
                </a:cubicBezTo>
                <a:cubicBezTo>
                  <a:pt x="230644" y="239960"/>
                  <a:pt x="230573" y="238481"/>
                  <a:pt x="229854" y="237253"/>
                </a:cubicBezTo>
                <a:cubicBezTo>
                  <a:pt x="219079" y="221723"/>
                  <a:pt x="203565" y="210065"/>
                  <a:pt x="185679" y="203995"/>
                </a:cubicBezTo>
                <a:lnTo>
                  <a:pt x="171744" y="199254"/>
                </a:lnTo>
                <a:lnTo>
                  <a:pt x="184098" y="191209"/>
                </a:lnTo>
                <a:cubicBezTo>
                  <a:pt x="202200" y="179674"/>
                  <a:pt x="210676" y="157773"/>
                  <a:pt x="205217" y="137050"/>
                </a:cubicBezTo>
                <a:cubicBezTo>
                  <a:pt x="200260" y="118310"/>
                  <a:pt x="184746" y="104238"/>
                  <a:pt x="165639" y="101135"/>
                </a:cubicBezTo>
                <a:cubicBezTo>
                  <a:pt x="162191" y="100568"/>
                  <a:pt x="158743" y="100302"/>
                  <a:pt x="155295" y="100345"/>
                </a:cubicBezTo>
                <a:close/>
                <a:moveTo>
                  <a:pt x="154648" y="85907"/>
                </a:moveTo>
                <a:cubicBezTo>
                  <a:pt x="158958" y="85871"/>
                  <a:pt x="163340" y="86209"/>
                  <a:pt x="167578" y="86913"/>
                </a:cubicBezTo>
                <a:cubicBezTo>
                  <a:pt x="192287" y="91007"/>
                  <a:pt x="212256" y="109281"/>
                  <a:pt x="218505" y="133531"/>
                </a:cubicBezTo>
                <a:cubicBezTo>
                  <a:pt x="224395" y="155675"/>
                  <a:pt x="217859" y="179264"/>
                  <a:pt x="201410" y="195232"/>
                </a:cubicBezTo>
                <a:cubicBezTo>
                  <a:pt x="217284" y="202882"/>
                  <a:pt x="230931" y="214511"/>
                  <a:pt x="240988" y="228992"/>
                </a:cubicBezTo>
                <a:cubicBezTo>
                  <a:pt x="244364" y="233833"/>
                  <a:pt x="245297" y="239953"/>
                  <a:pt x="243574" y="245585"/>
                </a:cubicBezTo>
                <a:cubicBezTo>
                  <a:pt x="241778" y="251252"/>
                  <a:pt x="237468" y="255763"/>
                  <a:pt x="231865" y="257796"/>
                </a:cubicBezTo>
                <a:lnTo>
                  <a:pt x="230141" y="258442"/>
                </a:lnTo>
                <a:cubicBezTo>
                  <a:pt x="221809" y="261416"/>
                  <a:pt x="212544" y="258478"/>
                  <a:pt x="207443" y="251259"/>
                </a:cubicBezTo>
                <a:cubicBezTo>
                  <a:pt x="195232" y="234300"/>
                  <a:pt x="175551" y="224373"/>
                  <a:pt x="154648" y="224682"/>
                </a:cubicBezTo>
                <a:cubicBezTo>
                  <a:pt x="133674" y="224251"/>
                  <a:pt x="113850" y="234199"/>
                  <a:pt x="101710" y="251259"/>
                </a:cubicBezTo>
                <a:cubicBezTo>
                  <a:pt x="97975" y="256459"/>
                  <a:pt x="92013" y="259555"/>
                  <a:pt x="85620" y="259591"/>
                </a:cubicBezTo>
                <a:cubicBezTo>
                  <a:pt x="83393" y="259598"/>
                  <a:pt x="81095" y="259210"/>
                  <a:pt x="79012" y="258442"/>
                </a:cubicBezTo>
                <a:lnTo>
                  <a:pt x="77288" y="257796"/>
                </a:lnTo>
                <a:cubicBezTo>
                  <a:pt x="71685" y="255763"/>
                  <a:pt x="67375" y="251252"/>
                  <a:pt x="65580" y="245585"/>
                </a:cubicBezTo>
                <a:cubicBezTo>
                  <a:pt x="63784" y="239953"/>
                  <a:pt x="64718" y="233804"/>
                  <a:pt x="68165" y="228992"/>
                </a:cubicBezTo>
                <a:cubicBezTo>
                  <a:pt x="78222" y="214511"/>
                  <a:pt x="91869" y="202875"/>
                  <a:pt x="107743" y="195232"/>
                </a:cubicBezTo>
                <a:cubicBezTo>
                  <a:pt x="91295" y="179264"/>
                  <a:pt x="84758" y="155675"/>
                  <a:pt x="90648" y="133531"/>
                </a:cubicBezTo>
                <a:cubicBezTo>
                  <a:pt x="96897" y="109274"/>
                  <a:pt x="116866" y="90993"/>
                  <a:pt x="141576" y="86913"/>
                </a:cubicBezTo>
                <a:cubicBezTo>
                  <a:pt x="145885" y="86202"/>
                  <a:pt x="150267" y="85864"/>
                  <a:pt x="154648" y="85907"/>
                </a:cubicBezTo>
                <a:close/>
                <a:moveTo>
                  <a:pt x="24781" y="59762"/>
                </a:moveTo>
                <a:cubicBezTo>
                  <a:pt x="19107" y="59719"/>
                  <a:pt x="14509" y="64237"/>
                  <a:pt x="14366" y="69890"/>
                </a:cubicBezTo>
                <a:lnTo>
                  <a:pt x="14366" y="280063"/>
                </a:lnTo>
                <a:cubicBezTo>
                  <a:pt x="14509" y="285709"/>
                  <a:pt x="19107" y="290199"/>
                  <a:pt x="24781" y="290120"/>
                </a:cubicBezTo>
                <a:lnTo>
                  <a:pt x="102142" y="290120"/>
                </a:lnTo>
                <a:cubicBezTo>
                  <a:pt x="108750" y="290091"/>
                  <a:pt x="115143" y="292670"/>
                  <a:pt x="119884" y="297303"/>
                </a:cubicBezTo>
                <a:lnTo>
                  <a:pt x="150555" y="328046"/>
                </a:lnTo>
                <a:cubicBezTo>
                  <a:pt x="154721" y="331968"/>
                  <a:pt x="161186" y="331968"/>
                  <a:pt x="165352" y="328046"/>
                </a:cubicBezTo>
                <a:lnTo>
                  <a:pt x="199471" y="296441"/>
                </a:lnTo>
                <a:cubicBezTo>
                  <a:pt x="204068" y="292145"/>
                  <a:pt x="210173" y="289761"/>
                  <a:pt x="216494" y="289761"/>
                </a:cubicBezTo>
                <a:lnTo>
                  <a:pt x="285738" y="289761"/>
                </a:lnTo>
                <a:cubicBezTo>
                  <a:pt x="291413" y="289840"/>
                  <a:pt x="296082" y="285357"/>
                  <a:pt x="296225" y="279704"/>
                </a:cubicBezTo>
                <a:lnTo>
                  <a:pt x="296225" y="69890"/>
                </a:lnTo>
                <a:cubicBezTo>
                  <a:pt x="296082" y="64222"/>
                  <a:pt x="291413" y="59719"/>
                  <a:pt x="285738" y="59762"/>
                </a:cubicBezTo>
                <a:close/>
                <a:moveTo>
                  <a:pt x="102070" y="14366"/>
                </a:moveTo>
                <a:cubicBezTo>
                  <a:pt x="89500" y="14366"/>
                  <a:pt x="79300" y="24558"/>
                  <a:pt x="79300" y="37136"/>
                </a:cubicBezTo>
                <a:lnTo>
                  <a:pt x="79300" y="45396"/>
                </a:lnTo>
                <a:lnTo>
                  <a:pt x="285738" y="45396"/>
                </a:lnTo>
                <a:cubicBezTo>
                  <a:pt x="299386" y="45317"/>
                  <a:pt x="310448" y="56271"/>
                  <a:pt x="310591" y="69890"/>
                </a:cubicBezTo>
                <a:lnTo>
                  <a:pt x="310591" y="258586"/>
                </a:lnTo>
                <a:lnTo>
                  <a:pt x="322299" y="258586"/>
                </a:lnTo>
                <a:cubicBezTo>
                  <a:pt x="334869" y="258586"/>
                  <a:pt x="345069" y="248394"/>
                  <a:pt x="345069" y="235817"/>
                </a:cubicBezTo>
                <a:lnTo>
                  <a:pt x="345069" y="37136"/>
                </a:lnTo>
                <a:cubicBezTo>
                  <a:pt x="345069" y="24558"/>
                  <a:pt x="334869" y="14366"/>
                  <a:pt x="322299" y="14366"/>
                </a:cubicBezTo>
                <a:close/>
                <a:moveTo>
                  <a:pt x="102070" y="0"/>
                </a:moveTo>
                <a:lnTo>
                  <a:pt x="322299" y="0"/>
                </a:lnTo>
                <a:cubicBezTo>
                  <a:pt x="342628" y="273"/>
                  <a:pt x="358933" y="16808"/>
                  <a:pt x="359004" y="37136"/>
                </a:cubicBezTo>
                <a:lnTo>
                  <a:pt x="359004" y="235817"/>
                </a:lnTo>
                <a:cubicBezTo>
                  <a:pt x="358933" y="256309"/>
                  <a:pt x="342340" y="272916"/>
                  <a:pt x="321869" y="272952"/>
                </a:cubicBezTo>
                <a:lnTo>
                  <a:pt x="310160" y="272952"/>
                </a:lnTo>
                <a:lnTo>
                  <a:pt x="310160" y="279632"/>
                </a:lnTo>
                <a:cubicBezTo>
                  <a:pt x="310017" y="293223"/>
                  <a:pt x="298883" y="304134"/>
                  <a:pt x="285308" y="304055"/>
                </a:cubicBezTo>
                <a:lnTo>
                  <a:pt x="216064" y="304055"/>
                </a:lnTo>
                <a:cubicBezTo>
                  <a:pt x="213406" y="304069"/>
                  <a:pt x="210820" y="305067"/>
                  <a:pt x="208881" y="306856"/>
                </a:cubicBezTo>
                <a:lnTo>
                  <a:pt x="174762" y="338533"/>
                </a:lnTo>
                <a:cubicBezTo>
                  <a:pt x="170093" y="342792"/>
                  <a:pt x="164059" y="345148"/>
                  <a:pt x="157738" y="345141"/>
                </a:cubicBezTo>
                <a:cubicBezTo>
                  <a:pt x="151129" y="345184"/>
                  <a:pt x="144737" y="342598"/>
                  <a:pt x="140067" y="337958"/>
                </a:cubicBezTo>
                <a:lnTo>
                  <a:pt x="109325" y="307215"/>
                </a:lnTo>
                <a:cubicBezTo>
                  <a:pt x="107385" y="305319"/>
                  <a:pt x="104872" y="304213"/>
                  <a:pt x="102142" y="304127"/>
                </a:cubicBezTo>
                <a:lnTo>
                  <a:pt x="24781" y="304127"/>
                </a:lnTo>
                <a:cubicBezTo>
                  <a:pt x="11206" y="304206"/>
                  <a:pt x="143" y="293280"/>
                  <a:pt x="0" y="279704"/>
                </a:cubicBezTo>
                <a:lnTo>
                  <a:pt x="0" y="69890"/>
                </a:lnTo>
                <a:cubicBezTo>
                  <a:pt x="143" y="56300"/>
                  <a:pt x="11206" y="45353"/>
                  <a:pt x="24781" y="45396"/>
                </a:cubicBezTo>
                <a:lnTo>
                  <a:pt x="64934" y="45396"/>
                </a:lnTo>
                <a:lnTo>
                  <a:pt x="64934" y="37136"/>
                </a:lnTo>
                <a:cubicBezTo>
                  <a:pt x="65006" y="16643"/>
                  <a:pt x="81598" y="36"/>
                  <a:pt x="102070"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Arial" panose="020F0502020204030204"/>
              <a:ea typeface="微软雅黑"/>
              <a:cs typeface="+mn-cs"/>
            </a:endParaRPr>
          </a:p>
        </p:txBody>
      </p:sp>
      <p:sp>
        <p:nvSpPr>
          <p:cNvPr id="183" name="Oval 163">
            <a:extLst>
              <a:ext uri="{FF2B5EF4-FFF2-40B4-BE49-F238E27FC236}">
                <a16:creationId xmlns:a16="http://schemas.microsoft.com/office/drawing/2014/main" id="{A08993D0-D05A-4F27-877B-DFC3F2E000D8}"/>
              </a:ext>
            </a:extLst>
          </p:cNvPr>
          <p:cNvSpPr/>
          <p:nvPr/>
        </p:nvSpPr>
        <p:spPr>
          <a:xfrm>
            <a:off x="6079742" y="5153935"/>
            <a:ext cx="229050" cy="220202"/>
          </a:xfrm>
          <a:custGeom>
            <a:avLst/>
            <a:gdLst>
              <a:gd name="connsiteX0" fmla="*/ 152925 w 359004"/>
              <a:gd name="connsiteY0" fmla="*/ 125701 h 345141"/>
              <a:gd name="connsiteX1" fmla="*/ 128863 w 359004"/>
              <a:gd name="connsiteY1" fmla="*/ 149836 h 345141"/>
              <a:gd name="connsiteX2" fmla="*/ 153572 w 359004"/>
              <a:gd name="connsiteY2" fmla="*/ 173971 h 345141"/>
              <a:gd name="connsiteX3" fmla="*/ 155655 w 359004"/>
              <a:gd name="connsiteY3" fmla="*/ 173971 h 345141"/>
              <a:gd name="connsiteX4" fmla="*/ 155871 w 359004"/>
              <a:gd name="connsiteY4" fmla="*/ 173971 h 345141"/>
              <a:gd name="connsiteX5" fmla="*/ 179861 w 359004"/>
              <a:gd name="connsiteY5" fmla="*/ 149764 h 345141"/>
              <a:gd name="connsiteX6" fmla="*/ 155511 w 359004"/>
              <a:gd name="connsiteY6" fmla="*/ 125701 h 345141"/>
              <a:gd name="connsiteX7" fmla="*/ 153931 w 359004"/>
              <a:gd name="connsiteY7" fmla="*/ 125701 h 345141"/>
              <a:gd name="connsiteX8" fmla="*/ 153572 w 359004"/>
              <a:gd name="connsiteY8" fmla="*/ 111407 h 345141"/>
              <a:gd name="connsiteX9" fmla="*/ 155081 w 359004"/>
              <a:gd name="connsiteY9" fmla="*/ 111407 h 345141"/>
              <a:gd name="connsiteX10" fmla="*/ 194227 w 359004"/>
              <a:gd name="connsiteY10" fmla="*/ 149836 h 345141"/>
              <a:gd name="connsiteX11" fmla="*/ 155081 w 359004"/>
              <a:gd name="connsiteY11" fmla="*/ 188337 h 345141"/>
              <a:gd name="connsiteX12" fmla="*/ 153572 w 359004"/>
              <a:gd name="connsiteY12" fmla="*/ 188337 h 345141"/>
              <a:gd name="connsiteX13" fmla="*/ 114497 w 359004"/>
              <a:gd name="connsiteY13" fmla="*/ 149836 h 345141"/>
              <a:gd name="connsiteX14" fmla="*/ 153572 w 359004"/>
              <a:gd name="connsiteY14" fmla="*/ 111407 h 345141"/>
              <a:gd name="connsiteX15" fmla="*/ 154505 w 359004"/>
              <a:gd name="connsiteY15" fmla="*/ 100345 h 345141"/>
              <a:gd name="connsiteX16" fmla="*/ 144808 w 359004"/>
              <a:gd name="connsiteY16" fmla="*/ 101135 h 345141"/>
              <a:gd name="connsiteX17" fmla="*/ 105230 w 359004"/>
              <a:gd name="connsiteY17" fmla="*/ 137050 h 345141"/>
              <a:gd name="connsiteX18" fmla="*/ 126348 w 359004"/>
              <a:gd name="connsiteY18" fmla="*/ 191209 h 345141"/>
              <a:gd name="connsiteX19" fmla="*/ 138702 w 359004"/>
              <a:gd name="connsiteY19" fmla="*/ 199254 h 345141"/>
              <a:gd name="connsiteX20" fmla="*/ 124337 w 359004"/>
              <a:gd name="connsiteY20" fmla="*/ 203995 h 345141"/>
              <a:gd name="connsiteX21" fmla="*/ 80233 w 359004"/>
              <a:gd name="connsiteY21" fmla="*/ 237253 h 345141"/>
              <a:gd name="connsiteX22" fmla="*/ 79587 w 359004"/>
              <a:gd name="connsiteY22" fmla="*/ 241275 h 345141"/>
              <a:gd name="connsiteX23" fmla="*/ 82531 w 359004"/>
              <a:gd name="connsiteY23" fmla="*/ 244292 h 345141"/>
              <a:gd name="connsiteX24" fmla="*/ 84255 w 359004"/>
              <a:gd name="connsiteY24" fmla="*/ 244938 h 345141"/>
              <a:gd name="connsiteX25" fmla="*/ 90289 w 359004"/>
              <a:gd name="connsiteY25" fmla="*/ 242927 h 345141"/>
              <a:gd name="connsiteX26" fmla="*/ 154146 w 359004"/>
              <a:gd name="connsiteY26" fmla="*/ 210316 h 345141"/>
              <a:gd name="connsiteX27" fmla="*/ 155726 w 359004"/>
              <a:gd name="connsiteY27" fmla="*/ 210316 h 345141"/>
              <a:gd name="connsiteX28" fmla="*/ 219439 w 359004"/>
              <a:gd name="connsiteY28" fmla="*/ 242927 h 345141"/>
              <a:gd name="connsiteX29" fmla="*/ 225472 w 359004"/>
              <a:gd name="connsiteY29" fmla="*/ 244938 h 345141"/>
              <a:gd name="connsiteX30" fmla="*/ 227196 w 359004"/>
              <a:gd name="connsiteY30" fmla="*/ 244292 h 345141"/>
              <a:gd name="connsiteX31" fmla="*/ 230141 w 359004"/>
              <a:gd name="connsiteY31" fmla="*/ 241275 h 345141"/>
              <a:gd name="connsiteX32" fmla="*/ 229854 w 359004"/>
              <a:gd name="connsiteY32" fmla="*/ 237253 h 345141"/>
              <a:gd name="connsiteX33" fmla="*/ 185679 w 359004"/>
              <a:gd name="connsiteY33" fmla="*/ 203995 h 345141"/>
              <a:gd name="connsiteX34" fmla="*/ 171744 w 359004"/>
              <a:gd name="connsiteY34" fmla="*/ 199254 h 345141"/>
              <a:gd name="connsiteX35" fmla="*/ 184098 w 359004"/>
              <a:gd name="connsiteY35" fmla="*/ 191209 h 345141"/>
              <a:gd name="connsiteX36" fmla="*/ 205217 w 359004"/>
              <a:gd name="connsiteY36" fmla="*/ 137050 h 345141"/>
              <a:gd name="connsiteX37" fmla="*/ 165639 w 359004"/>
              <a:gd name="connsiteY37" fmla="*/ 101135 h 345141"/>
              <a:gd name="connsiteX38" fmla="*/ 155295 w 359004"/>
              <a:gd name="connsiteY38" fmla="*/ 100345 h 345141"/>
              <a:gd name="connsiteX39" fmla="*/ 154648 w 359004"/>
              <a:gd name="connsiteY39" fmla="*/ 85907 h 345141"/>
              <a:gd name="connsiteX40" fmla="*/ 167578 w 359004"/>
              <a:gd name="connsiteY40" fmla="*/ 86913 h 345141"/>
              <a:gd name="connsiteX41" fmla="*/ 218505 w 359004"/>
              <a:gd name="connsiteY41" fmla="*/ 133531 h 345141"/>
              <a:gd name="connsiteX42" fmla="*/ 201410 w 359004"/>
              <a:gd name="connsiteY42" fmla="*/ 195232 h 345141"/>
              <a:gd name="connsiteX43" fmla="*/ 240988 w 359004"/>
              <a:gd name="connsiteY43" fmla="*/ 228992 h 345141"/>
              <a:gd name="connsiteX44" fmla="*/ 243574 w 359004"/>
              <a:gd name="connsiteY44" fmla="*/ 245585 h 345141"/>
              <a:gd name="connsiteX45" fmla="*/ 231865 w 359004"/>
              <a:gd name="connsiteY45" fmla="*/ 257796 h 345141"/>
              <a:gd name="connsiteX46" fmla="*/ 230141 w 359004"/>
              <a:gd name="connsiteY46" fmla="*/ 258442 h 345141"/>
              <a:gd name="connsiteX47" fmla="*/ 207443 w 359004"/>
              <a:gd name="connsiteY47" fmla="*/ 251259 h 345141"/>
              <a:gd name="connsiteX48" fmla="*/ 154648 w 359004"/>
              <a:gd name="connsiteY48" fmla="*/ 224682 h 345141"/>
              <a:gd name="connsiteX49" fmla="*/ 101710 w 359004"/>
              <a:gd name="connsiteY49" fmla="*/ 251259 h 345141"/>
              <a:gd name="connsiteX50" fmla="*/ 85620 w 359004"/>
              <a:gd name="connsiteY50" fmla="*/ 259591 h 345141"/>
              <a:gd name="connsiteX51" fmla="*/ 79012 w 359004"/>
              <a:gd name="connsiteY51" fmla="*/ 258442 h 345141"/>
              <a:gd name="connsiteX52" fmla="*/ 77288 w 359004"/>
              <a:gd name="connsiteY52" fmla="*/ 257796 h 345141"/>
              <a:gd name="connsiteX53" fmla="*/ 65580 w 359004"/>
              <a:gd name="connsiteY53" fmla="*/ 245585 h 345141"/>
              <a:gd name="connsiteX54" fmla="*/ 68165 w 359004"/>
              <a:gd name="connsiteY54" fmla="*/ 228992 h 345141"/>
              <a:gd name="connsiteX55" fmla="*/ 107743 w 359004"/>
              <a:gd name="connsiteY55" fmla="*/ 195232 h 345141"/>
              <a:gd name="connsiteX56" fmla="*/ 90648 w 359004"/>
              <a:gd name="connsiteY56" fmla="*/ 133531 h 345141"/>
              <a:gd name="connsiteX57" fmla="*/ 141576 w 359004"/>
              <a:gd name="connsiteY57" fmla="*/ 86913 h 345141"/>
              <a:gd name="connsiteX58" fmla="*/ 154648 w 359004"/>
              <a:gd name="connsiteY58" fmla="*/ 85907 h 345141"/>
              <a:gd name="connsiteX59" fmla="*/ 24781 w 359004"/>
              <a:gd name="connsiteY59" fmla="*/ 59762 h 345141"/>
              <a:gd name="connsiteX60" fmla="*/ 14366 w 359004"/>
              <a:gd name="connsiteY60" fmla="*/ 69890 h 345141"/>
              <a:gd name="connsiteX61" fmla="*/ 14366 w 359004"/>
              <a:gd name="connsiteY61" fmla="*/ 280063 h 345141"/>
              <a:gd name="connsiteX62" fmla="*/ 24781 w 359004"/>
              <a:gd name="connsiteY62" fmla="*/ 290120 h 345141"/>
              <a:gd name="connsiteX63" fmla="*/ 102142 w 359004"/>
              <a:gd name="connsiteY63" fmla="*/ 290120 h 345141"/>
              <a:gd name="connsiteX64" fmla="*/ 119884 w 359004"/>
              <a:gd name="connsiteY64" fmla="*/ 297303 h 345141"/>
              <a:gd name="connsiteX65" fmla="*/ 150555 w 359004"/>
              <a:gd name="connsiteY65" fmla="*/ 328046 h 345141"/>
              <a:gd name="connsiteX66" fmla="*/ 165352 w 359004"/>
              <a:gd name="connsiteY66" fmla="*/ 328046 h 345141"/>
              <a:gd name="connsiteX67" fmla="*/ 199471 w 359004"/>
              <a:gd name="connsiteY67" fmla="*/ 296441 h 345141"/>
              <a:gd name="connsiteX68" fmla="*/ 216494 w 359004"/>
              <a:gd name="connsiteY68" fmla="*/ 289761 h 345141"/>
              <a:gd name="connsiteX69" fmla="*/ 285738 w 359004"/>
              <a:gd name="connsiteY69" fmla="*/ 289761 h 345141"/>
              <a:gd name="connsiteX70" fmla="*/ 296225 w 359004"/>
              <a:gd name="connsiteY70" fmla="*/ 279704 h 345141"/>
              <a:gd name="connsiteX71" fmla="*/ 296225 w 359004"/>
              <a:gd name="connsiteY71" fmla="*/ 69890 h 345141"/>
              <a:gd name="connsiteX72" fmla="*/ 285738 w 359004"/>
              <a:gd name="connsiteY72" fmla="*/ 59762 h 345141"/>
              <a:gd name="connsiteX73" fmla="*/ 102070 w 359004"/>
              <a:gd name="connsiteY73" fmla="*/ 14366 h 345141"/>
              <a:gd name="connsiteX74" fmla="*/ 79300 w 359004"/>
              <a:gd name="connsiteY74" fmla="*/ 37136 h 345141"/>
              <a:gd name="connsiteX75" fmla="*/ 79300 w 359004"/>
              <a:gd name="connsiteY75" fmla="*/ 45396 h 345141"/>
              <a:gd name="connsiteX76" fmla="*/ 285738 w 359004"/>
              <a:gd name="connsiteY76" fmla="*/ 45396 h 345141"/>
              <a:gd name="connsiteX77" fmla="*/ 310591 w 359004"/>
              <a:gd name="connsiteY77" fmla="*/ 69890 h 345141"/>
              <a:gd name="connsiteX78" fmla="*/ 310591 w 359004"/>
              <a:gd name="connsiteY78" fmla="*/ 258586 h 345141"/>
              <a:gd name="connsiteX79" fmla="*/ 322299 w 359004"/>
              <a:gd name="connsiteY79" fmla="*/ 258586 h 345141"/>
              <a:gd name="connsiteX80" fmla="*/ 345069 w 359004"/>
              <a:gd name="connsiteY80" fmla="*/ 235817 h 345141"/>
              <a:gd name="connsiteX81" fmla="*/ 345069 w 359004"/>
              <a:gd name="connsiteY81" fmla="*/ 37136 h 345141"/>
              <a:gd name="connsiteX82" fmla="*/ 322299 w 359004"/>
              <a:gd name="connsiteY82" fmla="*/ 14366 h 345141"/>
              <a:gd name="connsiteX83" fmla="*/ 102070 w 359004"/>
              <a:gd name="connsiteY83" fmla="*/ 0 h 345141"/>
              <a:gd name="connsiteX84" fmla="*/ 322299 w 359004"/>
              <a:gd name="connsiteY84" fmla="*/ 0 h 345141"/>
              <a:gd name="connsiteX85" fmla="*/ 359004 w 359004"/>
              <a:gd name="connsiteY85" fmla="*/ 37136 h 345141"/>
              <a:gd name="connsiteX86" fmla="*/ 359004 w 359004"/>
              <a:gd name="connsiteY86" fmla="*/ 235817 h 345141"/>
              <a:gd name="connsiteX87" fmla="*/ 321869 w 359004"/>
              <a:gd name="connsiteY87" fmla="*/ 272952 h 345141"/>
              <a:gd name="connsiteX88" fmla="*/ 310160 w 359004"/>
              <a:gd name="connsiteY88" fmla="*/ 272952 h 345141"/>
              <a:gd name="connsiteX89" fmla="*/ 310160 w 359004"/>
              <a:gd name="connsiteY89" fmla="*/ 279632 h 345141"/>
              <a:gd name="connsiteX90" fmla="*/ 285308 w 359004"/>
              <a:gd name="connsiteY90" fmla="*/ 304055 h 345141"/>
              <a:gd name="connsiteX91" fmla="*/ 216064 w 359004"/>
              <a:gd name="connsiteY91" fmla="*/ 304055 h 345141"/>
              <a:gd name="connsiteX92" fmla="*/ 208881 w 359004"/>
              <a:gd name="connsiteY92" fmla="*/ 306856 h 345141"/>
              <a:gd name="connsiteX93" fmla="*/ 174762 w 359004"/>
              <a:gd name="connsiteY93" fmla="*/ 338533 h 345141"/>
              <a:gd name="connsiteX94" fmla="*/ 157738 w 359004"/>
              <a:gd name="connsiteY94" fmla="*/ 345141 h 345141"/>
              <a:gd name="connsiteX95" fmla="*/ 140067 w 359004"/>
              <a:gd name="connsiteY95" fmla="*/ 337958 h 345141"/>
              <a:gd name="connsiteX96" fmla="*/ 109325 w 359004"/>
              <a:gd name="connsiteY96" fmla="*/ 307215 h 345141"/>
              <a:gd name="connsiteX97" fmla="*/ 102142 w 359004"/>
              <a:gd name="connsiteY97" fmla="*/ 304127 h 345141"/>
              <a:gd name="connsiteX98" fmla="*/ 24781 w 359004"/>
              <a:gd name="connsiteY98" fmla="*/ 304127 h 345141"/>
              <a:gd name="connsiteX99" fmla="*/ 0 w 359004"/>
              <a:gd name="connsiteY99" fmla="*/ 279704 h 345141"/>
              <a:gd name="connsiteX100" fmla="*/ 0 w 359004"/>
              <a:gd name="connsiteY100" fmla="*/ 69890 h 345141"/>
              <a:gd name="connsiteX101" fmla="*/ 24781 w 359004"/>
              <a:gd name="connsiteY101" fmla="*/ 45396 h 345141"/>
              <a:gd name="connsiteX102" fmla="*/ 64934 w 359004"/>
              <a:gd name="connsiteY102" fmla="*/ 45396 h 345141"/>
              <a:gd name="connsiteX103" fmla="*/ 64934 w 359004"/>
              <a:gd name="connsiteY103" fmla="*/ 37136 h 345141"/>
              <a:gd name="connsiteX104" fmla="*/ 102070 w 359004"/>
              <a:gd name="connsiteY104" fmla="*/ 0 h 3451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59004" h="345141">
                <a:moveTo>
                  <a:pt x="152925" y="125701"/>
                </a:moveTo>
                <a:cubicBezTo>
                  <a:pt x="139709" y="125859"/>
                  <a:pt x="129006" y="136584"/>
                  <a:pt x="128863" y="149836"/>
                </a:cubicBezTo>
                <a:cubicBezTo>
                  <a:pt x="129006" y="163326"/>
                  <a:pt x="140068" y="174129"/>
                  <a:pt x="153572" y="173971"/>
                </a:cubicBezTo>
                <a:lnTo>
                  <a:pt x="155655" y="173971"/>
                </a:lnTo>
                <a:lnTo>
                  <a:pt x="155871" y="173971"/>
                </a:lnTo>
                <a:cubicBezTo>
                  <a:pt x="169087" y="173741"/>
                  <a:pt x="179718" y="163003"/>
                  <a:pt x="179861" y="149764"/>
                </a:cubicBezTo>
                <a:cubicBezTo>
                  <a:pt x="179646" y="136447"/>
                  <a:pt x="168799" y="125737"/>
                  <a:pt x="155511" y="125701"/>
                </a:cubicBezTo>
                <a:lnTo>
                  <a:pt x="153931" y="125701"/>
                </a:lnTo>
                <a:close/>
                <a:moveTo>
                  <a:pt x="153572" y="111407"/>
                </a:moveTo>
                <a:lnTo>
                  <a:pt x="155081" y="111407"/>
                </a:lnTo>
                <a:cubicBezTo>
                  <a:pt x="176486" y="111206"/>
                  <a:pt x="194012" y="128417"/>
                  <a:pt x="194227" y="149836"/>
                </a:cubicBezTo>
                <a:cubicBezTo>
                  <a:pt x="194012" y="171270"/>
                  <a:pt x="176486" y="188495"/>
                  <a:pt x="155081" y="188337"/>
                </a:cubicBezTo>
                <a:lnTo>
                  <a:pt x="153572" y="188337"/>
                </a:lnTo>
                <a:cubicBezTo>
                  <a:pt x="132166" y="188495"/>
                  <a:pt x="114640" y="171256"/>
                  <a:pt x="114497" y="149836"/>
                </a:cubicBezTo>
                <a:cubicBezTo>
                  <a:pt x="114712" y="128446"/>
                  <a:pt x="132166" y="111249"/>
                  <a:pt x="153572" y="111407"/>
                </a:cubicBezTo>
                <a:close/>
                <a:moveTo>
                  <a:pt x="154505" y="100345"/>
                </a:moveTo>
                <a:cubicBezTo>
                  <a:pt x="151273" y="100331"/>
                  <a:pt x="148040" y="100596"/>
                  <a:pt x="144808" y="101135"/>
                </a:cubicBezTo>
                <a:cubicBezTo>
                  <a:pt x="125701" y="104238"/>
                  <a:pt x="110186" y="118310"/>
                  <a:pt x="105230" y="137050"/>
                </a:cubicBezTo>
                <a:cubicBezTo>
                  <a:pt x="99699" y="157773"/>
                  <a:pt x="108247" y="179688"/>
                  <a:pt x="126348" y="191209"/>
                </a:cubicBezTo>
                <a:lnTo>
                  <a:pt x="138702" y="199254"/>
                </a:lnTo>
                <a:lnTo>
                  <a:pt x="124337" y="203995"/>
                </a:lnTo>
                <a:cubicBezTo>
                  <a:pt x="106451" y="210086"/>
                  <a:pt x="91008" y="221744"/>
                  <a:pt x="80233" y="237253"/>
                </a:cubicBezTo>
                <a:cubicBezTo>
                  <a:pt x="79371" y="238409"/>
                  <a:pt x="79155" y="239910"/>
                  <a:pt x="79587" y="241275"/>
                </a:cubicBezTo>
                <a:cubicBezTo>
                  <a:pt x="80017" y="242683"/>
                  <a:pt x="81167" y="243803"/>
                  <a:pt x="82531" y="244292"/>
                </a:cubicBezTo>
                <a:lnTo>
                  <a:pt x="84255" y="244938"/>
                </a:lnTo>
                <a:cubicBezTo>
                  <a:pt x="86482" y="245678"/>
                  <a:pt x="88924" y="244859"/>
                  <a:pt x="90289" y="242927"/>
                </a:cubicBezTo>
                <a:cubicBezTo>
                  <a:pt x="105014" y="222355"/>
                  <a:pt x="128862" y="210201"/>
                  <a:pt x="154146" y="210316"/>
                </a:cubicBezTo>
                <a:lnTo>
                  <a:pt x="155726" y="210316"/>
                </a:lnTo>
                <a:cubicBezTo>
                  <a:pt x="181010" y="210252"/>
                  <a:pt x="204713" y="222398"/>
                  <a:pt x="219439" y="242927"/>
                </a:cubicBezTo>
                <a:cubicBezTo>
                  <a:pt x="220803" y="244859"/>
                  <a:pt x="223246" y="245678"/>
                  <a:pt x="225472" y="244938"/>
                </a:cubicBezTo>
                <a:lnTo>
                  <a:pt x="227196" y="244292"/>
                </a:lnTo>
                <a:cubicBezTo>
                  <a:pt x="228561" y="243803"/>
                  <a:pt x="229710" y="242683"/>
                  <a:pt x="230141" y="241275"/>
                </a:cubicBezTo>
                <a:cubicBezTo>
                  <a:pt x="230644" y="239960"/>
                  <a:pt x="230573" y="238481"/>
                  <a:pt x="229854" y="237253"/>
                </a:cubicBezTo>
                <a:cubicBezTo>
                  <a:pt x="219079" y="221723"/>
                  <a:pt x="203565" y="210065"/>
                  <a:pt x="185679" y="203995"/>
                </a:cubicBezTo>
                <a:lnTo>
                  <a:pt x="171744" y="199254"/>
                </a:lnTo>
                <a:lnTo>
                  <a:pt x="184098" y="191209"/>
                </a:lnTo>
                <a:cubicBezTo>
                  <a:pt x="202200" y="179674"/>
                  <a:pt x="210676" y="157773"/>
                  <a:pt x="205217" y="137050"/>
                </a:cubicBezTo>
                <a:cubicBezTo>
                  <a:pt x="200260" y="118310"/>
                  <a:pt x="184746" y="104238"/>
                  <a:pt x="165639" y="101135"/>
                </a:cubicBezTo>
                <a:cubicBezTo>
                  <a:pt x="162191" y="100568"/>
                  <a:pt x="158743" y="100302"/>
                  <a:pt x="155295" y="100345"/>
                </a:cubicBezTo>
                <a:close/>
                <a:moveTo>
                  <a:pt x="154648" y="85907"/>
                </a:moveTo>
                <a:cubicBezTo>
                  <a:pt x="158958" y="85871"/>
                  <a:pt x="163340" y="86209"/>
                  <a:pt x="167578" y="86913"/>
                </a:cubicBezTo>
                <a:cubicBezTo>
                  <a:pt x="192287" y="91007"/>
                  <a:pt x="212256" y="109281"/>
                  <a:pt x="218505" y="133531"/>
                </a:cubicBezTo>
                <a:cubicBezTo>
                  <a:pt x="224395" y="155675"/>
                  <a:pt x="217859" y="179264"/>
                  <a:pt x="201410" y="195232"/>
                </a:cubicBezTo>
                <a:cubicBezTo>
                  <a:pt x="217284" y="202882"/>
                  <a:pt x="230931" y="214511"/>
                  <a:pt x="240988" y="228992"/>
                </a:cubicBezTo>
                <a:cubicBezTo>
                  <a:pt x="244364" y="233833"/>
                  <a:pt x="245297" y="239953"/>
                  <a:pt x="243574" y="245585"/>
                </a:cubicBezTo>
                <a:cubicBezTo>
                  <a:pt x="241778" y="251252"/>
                  <a:pt x="237468" y="255763"/>
                  <a:pt x="231865" y="257796"/>
                </a:cubicBezTo>
                <a:lnTo>
                  <a:pt x="230141" y="258442"/>
                </a:lnTo>
                <a:cubicBezTo>
                  <a:pt x="221809" y="261416"/>
                  <a:pt x="212544" y="258478"/>
                  <a:pt x="207443" y="251259"/>
                </a:cubicBezTo>
                <a:cubicBezTo>
                  <a:pt x="195232" y="234300"/>
                  <a:pt x="175551" y="224373"/>
                  <a:pt x="154648" y="224682"/>
                </a:cubicBezTo>
                <a:cubicBezTo>
                  <a:pt x="133674" y="224251"/>
                  <a:pt x="113850" y="234199"/>
                  <a:pt x="101710" y="251259"/>
                </a:cubicBezTo>
                <a:cubicBezTo>
                  <a:pt x="97975" y="256459"/>
                  <a:pt x="92013" y="259555"/>
                  <a:pt x="85620" y="259591"/>
                </a:cubicBezTo>
                <a:cubicBezTo>
                  <a:pt x="83393" y="259598"/>
                  <a:pt x="81095" y="259210"/>
                  <a:pt x="79012" y="258442"/>
                </a:cubicBezTo>
                <a:lnTo>
                  <a:pt x="77288" y="257796"/>
                </a:lnTo>
                <a:cubicBezTo>
                  <a:pt x="71685" y="255763"/>
                  <a:pt x="67375" y="251252"/>
                  <a:pt x="65580" y="245585"/>
                </a:cubicBezTo>
                <a:cubicBezTo>
                  <a:pt x="63784" y="239953"/>
                  <a:pt x="64718" y="233804"/>
                  <a:pt x="68165" y="228992"/>
                </a:cubicBezTo>
                <a:cubicBezTo>
                  <a:pt x="78222" y="214511"/>
                  <a:pt x="91869" y="202875"/>
                  <a:pt x="107743" y="195232"/>
                </a:cubicBezTo>
                <a:cubicBezTo>
                  <a:pt x="91295" y="179264"/>
                  <a:pt x="84758" y="155675"/>
                  <a:pt x="90648" y="133531"/>
                </a:cubicBezTo>
                <a:cubicBezTo>
                  <a:pt x="96897" y="109274"/>
                  <a:pt x="116866" y="90993"/>
                  <a:pt x="141576" y="86913"/>
                </a:cubicBezTo>
                <a:cubicBezTo>
                  <a:pt x="145885" y="86202"/>
                  <a:pt x="150267" y="85864"/>
                  <a:pt x="154648" y="85907"/>
                </a:cubicBezTo>
                <a:close/>
                <a:moveTo>
                  <a:pt x="24781" y="59762"/>
                </a:moveTo>
                <a:cubicBezTo>
                  <a:pt x="19107" y="59719"/>
                  <a:pt x="14509" y="64237"/>
                  <a:pt x="14366" y="69890"/>
                </a:cubicBezTo>
                <a:lnTo>
                  <a:pt x="14366" y="280063"/>
                </a:lnTo>
                <a:cubicBezTo>
                  <a:pt x="14509" y="285709"/>
                  <a:pt x="19107" y="290199"/>
                  <a:pt x="24781" y="290120"/>
                </a:cubicBezTo>
                <a:lnTo>
                  <a:pt x="102142" y="290120"/>
                </a:lnTo>
                <a:cubicBezTo>
                  <a:pt x="108750" y="290091"/>
                  <a:pt x="115143" y="292670"/>
                  <a:pt x="119884" y="297303"/>
                </a:cubicBezTo>
                <a:lnTo>
                  <a:pt x="150555" y="328046"/>
                </a:lnTo>
                <a:cubicBezTo>
                  <a:pt x="154721" y="331968"/>
                  <a:pt x="161186" y="331968"/>
                  <a:pt x="165352" y="328046"/>
                </a:cubicBezTo>
                <a:lnTo>
                  <a:pt x="199471" y="296441"/>
                </a:lnTo>
                <a:cubicBezTo>
                  <a:pt x="204068" y="292145"/>
                  <a:pt x="210173" y="289761"/>
                  <a:pt x="216494" y="289761"/>
                </a:cubicBezTo>
                <a:lnTo>
                  <a:pt x="285738" y="289761"/>
                </a:lnTo>
                <a:cubicBezTo>
                  <a:pt x="291413" y="289840"/>
                  <a:pt x="296082" y="285357"/>
                  <a:pt x="296225" y="279704"/>
                </a:cubicBezTo>
                <a:lnTo>
                  <a:pt x="296225" y="69890"/>
                </a:lnTo>
                <a:cubicBezTo>
                  <a:pt x="296082" y="64222"/>
                  <a:pt x="291413" y="59719"/>
                  <a:pt x="285738" y="59762"/>
                </a:cubicBezTo>
                <a:close/>
                <a:moveTo>
                  <a:pt x="102070" y="14366"/>
                </a:moveTo>
                <a:cubicBezTo>
                  <a:pt x="89500" y="14366"/>
                  <a:pt x="79300" y="24558"/>
                  <a:pt x="79300" y="37136"/>
                </a:cubicBezTo>
                <a:lnTo>
                  <a:pt x="79300" y="45396"/>
                </a:lnTo>
                <a:lnTo>
                  <a:pt x="285738" y="45396"/>
                </a:lnTo>
                <a:cubicBezTo>
                  <a:pt x="299386" y="45317"/>
                  <a:pt x="310448" y="56271"/>
                  <a:pt x="310591" y="69890"/>
                </a:cubicBezTo>
                <a:lnTo>
                  <a:pt x="310591" y="258586"/>
                </a:lnTo>
                <a:lnTo>
                  <a:pt x="322299" y="258586"/>
                </a:lnTo>
                <a:cubicBezTo>
                  <a:pt x="334869" y="258586"/>
                  <a:pt x="345069" y="248394"/>
                  <a:pt x="345069" y="235817"/>
                </a:cubicBezTo>
                <a:lnTo>
                  <a:pt x="345069" y="37136"/>
                </a:lnTo>
                <a:cubicBezTo>
                  <a:pt x="345069" y="24558"/>
                  <a:pt x="334869" y="14366"/>
                  <a:pt x="322299" y="14366"/>
                </a:cubicBezTo>
                <a:close/>
                <a:moveTo>
                  <a:pt x="102070" y="0"/>
                </a:moveTo>
                <a:lnTo>
                  <a:pt x="322299" y="0"/>
                </a:lnTo>
                <a:cubicBezTo>
                  <a:pt x="342628" y="273"/>
                  <a:pt x="358933" y="16808"/>
                  <a:pt x="359004" y="37136"/>
                </a:cubicBezTo>
                <a:lnTo>
                  <a:pt x="359004" y="235817"/>
                </a:lnTo>
                <a:cubicBezTo>
                  <a:pt x="358933" y="256309"/>
                  <a:pt x="342340" y="272916"/>
                  <a:pt x="321869" y="272952"/>
                </a:cubicBezTo>
                <a:lnTo>
                  <a:pt x="310160" y="272952"/>
                </a:lnTo>
                <a:lnTo>
                  <a:pt x="310160" y="279632"/>
                </a:lnTo>
                <a:cubicBezTo>
                  <a:pt x="310017" y="293223"/>
                  <a:pt x="298883" y="304134"/>
                  <a:pt x="285308" y="304055"/>
                </a:cubicBezTo>
                <a:lnTo>
                  <a:pt x="216064" y="304055"/>
                </a:lnTo>
                <a:cubicBezTo>
                  <a:pt x="213406" y="304069"/>
                  <a:pt x="210820" y="305067"/>
                  <a:pt x="208881" y="306856"/>
                </a:cubicBezTo>
                <a:lnTo>
                  <a:pt x="174762" y="338533"/>
                </a:lnTo>
                <a:cubicBezTo>
                  <a:pt x="170093" y="342792"/>
                  <a:pt x="164059" y="345148"/>
                  <a:pt x="157738" y="345141"/>
                </a:cubicBezTo>
                <a:cubicBezTo>
                  <a:pt x="151129" y="345184"/>
                  <a:pt x="144737" y="342598"/>
                  <a:pt x="140067" y="337958"/>
                </a:cubicBezTo>
                <a:lnTo>
                  <a:pt x="109325" y="307215"/>
                </a:lnTo>
                <a:cubicBezTo>
                  <a:pt x="107385" y="305319"/>
                  <a:pt x="104872" y="304213"/>
                  <a:pt x="102142" y="304127"/>
                </a:cubicBezTo>
                <a:lnTo>
                  <a:pt x="24781" y="304127"/>
                </a:lnTo>
                <a:cubicBezTo>
                  <a:pt x="11206" y="304206"/>
                  <a:pt x="143" y="293280"/>
                  <a:pt x="0" y="279704"/>
                </a:cubicBezTo>
                <a:lnTo>
                  <a:pt x="0" y="69890"/>
                </a:lnTo>
                <a:cubicBezTo>
                  <a:pt x="143" y="56300"/>
                  <a:pt x="11206" y="45353"/>
                  <a:pt x="24781" y="45396"/>
                </a:cubicBezTo>
                <a:lnTo>
                  <a:pt x="64934" y="45396"/>
                </a:lnTo>
                <a:lnTo>
                  <a:pt x="64934" y="37136"/>
                </a:lnTo>
                <a:cubicBezTo>
                  <a:pt x="65006" y="16643"/>
                  <a:pt x="81598" y="36"/>
                  <a:pt x="102070"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Arial" panose="020F0502020204030204"/>
              <a:ea typeface="微软雅黑"/>
              <a:cs typeface="+mn-cs"/>
            </a:endParaRPr>
          </a:p>
        </p:txBody>
      </p:sp>
      <p:sp>
        <p:nvSpPr>
          <p:cNvPr id="184" name="Oval 164">
            <a:extLst>
              <a:ext uri="{FF2B5EF4-FFF2-40B4-BE49-F238E27FC236}">
                <a16:creationId xmlns:a16="http://schemas.microsoft.com/office/drawing/2014/main" id="{BF786A49-92B6-4814-9082-88B90201CC76}"/>
              </a:ext>
            </a:extLst>
          </p:cNvPr>
          <p:cNvSpPr/>
          <p:nvPr/>
        </p:nvSpPr>
        <p:spPr>
          <a:xfrm>
            <a:off x="6079742" y="5959783"/>
            <a:ext cx="229050" cy="220202"/>
          </a:xfrm>
          <a:custGeom>
            <a:avLst/>
            <a:gdLst>
              <a:gd name="connsiteX0" fmla="*/ 152925 w 359004"/>
              <a:gd name="connsiteY0" fmla="*/ 125701 h 345141"/>
              <a:gd name="connsiteX1" fmla="*/ 128863 w 359004"/>
              <a:gd name="connsiteY1" fmla="*/ 149836 h 345141"/>
              <a:gd name="connsiteX2" fmla="*/ 153572 w 359004"/>
              <a:gd name="connsiteY2" fmla="*/ 173971 h 345141"/>
              <a:gd name="connsiteX3" fmla="*/ 155655 w 359004"/>
              <a:gd name="connsiteY3" fmla="*/ 173971 h 345141"/>
              <a:gd name="connsiteX4" fmla="*/ 155871 w 359004"/>
              <a:gd name="connsiteY4" fmla="*/ 173971 h 345141"/>
              <a:gd name="connsiteX5" fmla="*/ 179861 w 359004"/>
              <a:gd name="connsiteY5" fmla="*/ 149764 h 345141"/>
              <a:gd name="connsiteX6" fmla="*/ 155511 w 359004"/>
              <a:gd name="connsiteY6" fmla="*/ 125701 h 345141"/>
              <a:gd name="connsiteX7" fmla="*/ 153931 w 359004"/>
              <a:gd name="connsiteY7" fmla="*/ 125701 h 345141"/>
              <a:gd name="connsiteX8" fmla="*/ 153572 w 359004"/>
              <a:gd name="connsiteY8" fmla="*/ 111407 h 345141"/>
              <a:gd name="connsiteX9" fmla="*/ 155081 w 359004"/>
              <a:gd name="connsiteY9" fmla="*/ 111407 h 345141"/>
              <a:gd name="connsiteX10" fmla="*/ 194227 w 359004"/>
              <a:gd name="connsiteY10" fmla="*/ 149836 h 345141"/>
              <a:gd name="connsiteX11" fmla="*/ 155081 w 359004"/>
              <a:gd name="connsiteY11" fmla="*/ 188337 h 345141"/>
              <a:gd name="connsiteX12" fmla="*/ 153572 w 359004"/>
              <a:gd name="connsiteY12" fmla="*/ 188337 h 345141"/>
              <a:gd name="connsiteX13" fmla="*/ 114497 w 359004"/>
              <a:gd name="connsiteY13" fmla="*/ 149836 h 345141"/>
              <a:gd name="connsiteX14" fmla="*/ 153572 w 359004"/>
              <a:gd name="connsiteY14" fmla="*/ 111407 h 345141"/>
              <a:gd name="connsiteX15" fmla="*/ 154505 w 359004"/>
              <a:gd name="connsiteY15" fmla="*/ 100345 h 345141"/>
              <a:gd name="connsiteX16" fmla="*/ 144808 w 359004"/>
              <a:gd name="connsiteY16" fmla="*/ 101135 h 345141"/>
              <a:gd name="connsiteX17" fmla="*/ 105230 w 359004"/>
              <a:gd name="connsiteY17" fmla="*/ 137050 h 345141"/>
              <a:gd name="connsiteX18" fmla="*/ 126348 w 359004"/>
              <a:gd name="connsiteY18" fmla="*/ 191209 h 345141"/>
              <a:gd name="connsiteX19" fmla="*/ 138702 w 359004"/>
              <a:gd name="connsiteY19" fmla="*/ 199254 h 345141"/>
              <a:gd name="connsiteX20" fmla="*/ 124337 w 359004"/>
              <a:gd name="connsiteY20" fmla="*/ 203995 h 345141"/>
              <a:gd name="connsiteX21" fmla="*/ 80233 w 359004"/>
              <a:gd name="connsiteY21" fmla="*/ 237253 h 345141"/>
              <a:gd name="connsiteX22" fmla="*/ 79587 w 359004"/>
              <a:gd name="connsiteY22" fmla="*/ 241275 h 345141"/>
              <a:gd name="connsiteX23" fmla="*/ 82531 w 359004"/>
              <a:gd name="connsiteY23" fmla="*/ 244292 h 345141"/>
              <a:gd name="connsiteX24" fmla="*/ 84255 w 359004"/>
              <a:gd name="connsiteY24" fmla="*/ 244938 h 345141"/>
              <a:gd name="connsiteX25" fmla="*/ 90289 w 359004"/>
              <a:gd name="connsiteY25" fmla="*/ 242927 h 345141"/>
              <a:gd name="connsiteX26" fmla="*/ 154146 w 359004"/>
              <a:gd name="connsiteY26" fmla="*/ 210316 h 345141"/>
              <a:gd name="connsiteX27" fmla="*/ 155726 w 359004"/>
              <a:gd name="connsiteY27" fmla="*/ 210316 h 345141"/>
              <a:gd name="connsiteX28" fmla="*/ 219439 w 359004"/>
              <a:gd name="connsiteY28" fmla="*/ 242927 h 345141"/>
              <a:gd name="connsiteX29" fmla="*/ 225472 w 359004"/>
              <a:gd name="connsiteY29" fmla="*/ 244938 h 345141"/>
              <a:gd name="connsiteX30" fmla="*/ 227196 w 359004"/>
              <a:gd name="connsiteY30" fmla="*/ 244292 h 345141"/>
              <a:gd name="connsiteX31" fmla="*/ 230141 w 359004"/>
              <a:gd name="connsiteY31" fmla="*/ 241275 h 345141"/>
              <a:gd name="connsiteX32" fmla="*/ 229854 w 359004"/>
              <a:gd name="connsiteY32" fmla="*/ 237253 h 345141"/>
              <a:gd name="connsiteX33" fmla="*/ 185679 w 359004"/>
              <a:gd name="connsiteY33" fmla="*/ 203995 h 345141"/>
              <a:gd name="connsiteX34" fmla="*/ 171744 w 359004"/>
              <a:gd name="connsiteY34" fmla="*/ 199254 h 345141"/>
              <a:gd name="connsiteX35" fmla="*/ 184098 w 359004"/>
              <a:gd name="connsiteY35" fmla="*/ 191209 h 345141"/>
              <a:gd name="connsiteX36" fmla="*/ 205217 w 359004"/>
              <a:gd name="connsiteY36" fmla="*/ 137050 h 345141"/>
              <a:gd name="connsiteX37" fmla="*/ 165639 w 359004"/>
              <a:gd name="connsiteY37" fmla="*/ 101135 h 345141"/>
              <a:gd name="connsiteX38" fmla="*/ 155295 w 359004"/>
              <a:gd name="connsiteY38" fmla="*/ 100345 h 345141"/>
              <a:gd name="connsiteX39" fmla="*/ 154648 w 359004"/>
              <a:gd name="connsiteY39" fmla="*/ 85907 h 345141"/>
              <a:gd name="connsiteX40" fmla="*/ 167578 w 359004"/>
              <a:gd name="connsiteY40" fmla="*/ 86913 h 345141"/>
              <a:gd name="connsiteX41" fmla="*/ 218505 w 359004"/>
              <a:gd name="connsiteY41" fmla="*/ 133531 h 345141"/>
              <a:gd name="connsiteX42" fmla="*/ 201410 w 359004"/>
              <a:gd name="connsiteY42" fmla="*/ 195232 h 345141"/>
              <a:gd name="connsiteX43" fmla="*/ 240988 w 359004"/>
              <a:gd name="connsiteY43" fmla="*/ 228992 h 345141"/>
              <a:gd name="connsiteX44" fmla="*/ 243574 w 359004"/>
              <a:gd name="connsiteY44" fmla="*/ 245585 h 345141"/>
              <a:gd name="connsiteX45" fmla="*/ 231865 w 359004"/>
              <a:gd name="connsiteY45" fmla="*/ 257796 h 345141"/>
              <a:gd name="connsiteX46" fmla="*/ 230141 w 359004"/>
              <a:gd name="connsiteY46" fmla="*/ 258442 h 345141"/>
              <a:gd name="connsiteX47" fmla="*/ 207443 w 359004"/>
              <a:gd name="connsiteY47" fmla="*/ 251259 h 345141"/>
              <a:gd name="connsiteX48" fmla="*/ 154648 w 359004"/>
              <a:gd name="connsiteY48" fmla="*/ 224682 h 345141"/>
              <a:gd name="connsiteX49" fmla="*/ 101710 w 359004"/>
              <a:gd name="connsiteY49" fmla="*/ 251259 h 345141"/>
              <a:gd name="connsiteX50" fmla="*/ 85620 w 359004"/>
              <a:gd name="connsiteY50" fmla="*/ 259591 h 345141"/>
              <a:gd name="connsiteX51" fmla="*/ 79012 w 359004"/>
              <a:gd name="connsiteY51" fmla="*/ 258442 h 345141"/>
              <a:gd name="connsiteX52" fmla="*/ 77288 w 359004"/>
              <a:gd name="connsiteY52" fmla="*/ 257796 h 345141"/>
              <a:gd name="connsiteX53" fmla="*/ 65580 w 359004"/>
              <a:gd name="connsiteY53" fmla="*/ 245585 h 345141"/>
              <a:gd name="connsiteX54" fmla="*/ 68165 w 359004"/>
              <a:gd name="connsiteY54" fmla="*/ 228992 h 345141"/>
              <a:gd name="connsiteX55" fmla="*/ 107743 w 359004"/>
              <a:gd name="connsiteY55" fmla="*/ 195232 h 345141"/>
              <a:gd name="connsiteX56" fmla="*/ 90648 w 359004"/>
              <a:gd name="connsiteY56" fmla="*/ 133531 h 345141"/>
              <a:gd name="connsiteX57" fmla="*/ 141576 w 359004"/>
              <a:gd name="connsiteY57" fmla="*/ 86913 h 345141"/>
              <a:gd name="connsiteX58" fmla="*/ 154648 w 359004"/>
              <a:gd name="connsiteY58" fmla="*/ 85907 h 345141"/>
              <a:gd name="connsiteX59" fmla="*/ 24781 w 359004"/>
              <a:gd name="connsiteY59" fmla="*/ 59762 h 345141"/>
              <a:gd name="connsiteX60" fmla="*/ 14366 w 359004"/>
              <a:gd name="connsiteY60" fmla="*/ 69890 h 345141"/>
              <a:gd name="connsiteX61" fmla="*/ 14366 w 359004"/>
              <a:gd name="connsiteY61" fmla="*/ 280063 h 345141"/>
              <a:gd name="connsiteX62" fmla="*/ 24781 w 359004"/>
              <a:gd name="connsiteY62" fmla="*/ 290120 h 345141"/>
              <a:gd name="connsiteX63" fmla="*/ 102142 w 359004"/>
              <a:gd name="connsiteY63" fmla="*/ 290120 h 345141"/>
              <a:gd name="connsiteX64" fmla="*/ 119884 w 359004"/>
              <a:gd name="connsiteY64" fmla="*/ 297303 h 345141"/>
              <a:gd name="connsiteX65" fmla="*/ 150555 w 359004"/>
              <a:gd name="connsiteY65" fmla="*/ 328046 h 345141"/>
              <a:gd name="connsiteX66" fmla="*/ 165352 w 359004"/>
              <a:gd name="connsiteY66" fmla="*/ 328046 h 345141"/>
              <a:gd name="connsiteX67" fmla="*/ 199471 w 359004"/>
              <a:gd name="connsiteY67" fmla="*/ 296441 h 345141"/>
              <a:gd name="connsiteX68" fmla="*/ 216494 w 359004"/>
              <a:gd name="connsiteY68" fmla="*/ 289761 h 345141"/>
              <a:gd name="connsiteX69" fmla="*/ 285738 w 359004"/>
              <a:gd name="connsiteY69" fmla="*/ 289761 h 345141"/>
              <a:gd name="connsiteX70" fmla="*/ 296225 w 359004"/>
              <a:gd name="connsiteY70" fmla="*/ 279704 h 345141"/>
              <a:gd name="connsiteX71" fmla="*/ 296225 w 359004"/>
              <a:gd name="connsiteY71" fmla="*/ 69890 h 345141"/>
              <a:gd name="connsiteX72" fmla="*/ 285738 w 359004"/>
              <a:gd name="connsiteY72" fmla="*/ 59762 h 345141"/>
              <a:gd name="connsiteX73" fmla="*/ 102070 w 359004"/>
              <a:gd name="connsiteY73" fmla="*/ 14366 h 345141"/>
              <a:gd name="connsiteX74" fmla="*/ 79300 w 359004"/>
              <a:gd name="connsiteY74" fmla="*/ 37136 h 345141"/>
              <a:gd name="connsiteX75" fmla="*/ 79300 w 359004"/>
              <a:gd name="connsiteY75" fmla="*/ 45396 h 345141"/>
              <a:gd name="connsiteX76" fmla="*/ 285738 w 359004"/>
              <a:gd name="connsiteY76" fmla="*/ 45396 h 345141"/>
              <a:gd name="connsiteX77" fmla="*/ 310591 w 359004"/>
              <a:gd name="connsiteY77" fmla="*/ 69890 h 345141"/>
              <a:gd name="connsiteX78" fmla="*/ 310591 w 359004"/>
              <a:gd name="connsiteY78" fmla="*/ 258586 h 345141"/>
              <a:gd name="connsiteX79" fmla="*/ 322299 w 359004"/>
              <a:gd name="connsiteY79" fmla="*/ 258586 h 345141"/>
              <a:gd name="connsiteX80" fmla="*/ 345069 w 359004"/>
              <a:gd name="connsiteY80" fmla="*/ 235817 h 345141"/>
              <a:gd name="connsiteX81" fmla="*/ 345069 w 359004"/>
              <a:gd name="connsiteY81" fmla="*/ 37136 h 345141"/>
              <a:gd name="connsiteX82" fmla="*/ 322299 w 359004"/>
              <a:gd name="connsiteY82" fmla="*/ 14366 h 345141"/>
              <a:gd name="connsiteX83" fmla="*/ 102070 w 359004"/>
              <a:gd name="connsiteY83" fmla="*/ 0 h 345141"/>
              <a:gd name="connsiteX84" fmla="*/ 322299 w 359004"/>
              <a:gd name="connsiteY84" fmla="*/ 0 h 345141"/>
              <a:gd name="connsiteX85" fmla="*/ 359004 w 359004"/>
              <a:gd name="connsiteY85" fmla="*/ 37136 h 345141"/>
              <a:gd name="connsiteX86" fmla="*/ 359004 w 359004"/>
              <a:gd name="connsiteY86" fmla="*/ 235817 h 345141"/>
              <a:gd name="connsiteX87" fmla="*/ 321869 w 359004"/>
              <a:gd name="connsiteY87" fmla="*/ 272952 h 345141"/>
              <a:gd name="connsiteX88" fmla="*/ 310160 w 359004"/>
              <a:gd name="connsiteY88" fmla="*/ 272952 h 345141"/>
              <a:gd name="connsiteX89" fmla="*/ 310160 w 359004"/>
              <a:gd name="connsiteY89" fmla="*/ 279632 h 345141"/>
              <a:gd name="connsiteX90" fmla="*/ 285308 w 359004"/>
              <a:gd name="connsiteY90" fmla="*/ 304055 h 345141"/>
              <a:gd name="connsiteX91" fmla="*/ 216064 w 359004"/>
              <a:gd name="connsiteY91" fmla="*/ 304055 h 345141"/>
              <a:gd name="connsiteX92" fmla="*/ 208881 w 359004"/>
              <a:gd name="connsiteY92" fmla="*/ 306856 h 345141"/>
              <a:gd name="connsiteX93" fmla="*/ 174762 w 359004"/>
              <a:gd name="connsiteY93" fmla="*/ 338533 h 345141"/>
              <a:gd name="connsiteX94" fmla="*/ 157738 w 359004"/>
              <a:gd name="connsiteY94" fmla="*/ 345141 h 345141"/>
              <a:gd name="connsiteX95" fmla="*/ 140067 w 359004"/>
              <a:gd name="connsiteY95" fmla="*/ 337958 h 345141"/>
              <a:gd name="connsiteX96" fmla="*/ 109325 w 359004"/>
              <a:gd name="connsiteY96" fmla="*/ 307215 h 345141"/>
              <a:gd name="connsiteX97" fmla="*/ 102142 w 359004"/>
              <a:gd name="connsiteY97" fmla="*/ 304127 h 345141"/>
              <a:gd name="connsiteX98" fmla="*/ 24781 w 359004"/>
              <a:gd name="connsiteY98" fmla="*/ 304127 h 345141"/>
              <a:gd name="connsiteX99" fmla="*/ 0 w 359004"/>
              <a:gd name="connsiteY99" fmla="*/ 279704 h 345141"/>
              <a:gd name="connsiteX100" fmla="*/ 0 w 359004"/>
              <a:gd name="connsiteY100" fmla="*/ 69890 h 345141"/>
              <a:gd name="connsiteX101" fmla="*/ 24781 w 359004"/>
              <a:gd name="connsiteY101" fmla="*/ 45396 h 345141"/>
              <a:gd name="connsiteX102" fmla="*/ 64934 w 359004"/>
              <a:gd name="connsiteY102" fmla="*/ 45396 h 345141"/>
              <a:gd name="connsiteX103" fmla="*/ 64934 w 359004"/>
              <a:gd name="connsiteY103" fmla="*/ 37136 h 345141"/>
              <a:gd name="connsiteX104" fmla="*/ 102070 w 359004"/>
              <a:gd name="connsiteY104" fmla="*/ 0 h 3451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59004" h="345141">
                <a:moveTo>
                  <a:pt x="152925" y="125701"/>
                </a:moveTo>
                <a:cubicBezTo>
                  <a:pt x="139709" y="125859"/>
                  <a:pt x="129006" y="136584"/>
                  <a:pt x="128863" y="149836"/>
                </a:cubicBezTo>
                <a:cubicBezTo>
                  <a:pt x="129006" y="163326"/>
                  <a:pt x="140068" y="174129"/>
                  <a:pt x="153572" y="173971"/>
                </a:cubicBezTo>
                <a:lnTo>
                  <a:pt x="155655" y="173971"/>
                </a:lnTo>
                <a:lnTo>
                  <a:pt x="155871" y="173971"/>
                </a:lnTo>
                <a:cubicBezTo>
                  <a:pt x="169087" y="173741"/>
                  <a:pt x="179718" y="163003"/>
                  <a:pt x="179861" y="149764"/>
                </a:cubicBezTo>
                <a:cubicBezTo>
                  <a:pt x="179646" y="136447"/>
                  <a:pt x="168799" y="125737"/>
                  <a:pt x="155511" y="125701"/>
                </a:cubicBezTo>
                <a:lnTo>
                  <a:pt x="153931" y="125701"/>
                </a:lnTo>
                <a:close/>
                <a:moveTo>
                  <a:pt x="153572" y="111407"/>
                </a:moveTo>
                <a:lnTo>
                  <a:pt x="155081" y="111407"/>
                </a:lnTo>
                <a:cubicBezTo>
                  <a:pt x="176486" y="111206"/>
                  <a:pt x="194012" y="128417"/>
                  <a:pt x="194227" y="149836"/>
                </a:cubicBezTo>
                <a:cubicBezTo>
                  <a:pt x="194012" y="171270"/>
                  <a:pt x="176486" y="188495"/>
                  <a:pt x="155081" y="188337"/>
                </a:cubicBezTo>
                <a:lnTo>
                  <a:pt x="153572" y="188337"/>
                </a:lnTo>
                <a:cubicBezTo>
                  <a:pt x="132166" y="188495"/>
                  <a:pt x="114640" y="171256"/>
                  <a:pt x="114497" y="149836"/>
                </a:cubicBezTo>
                <a:cubicBezTo>
                  <a:pt x="114712" y="128446"/>
                  <a:pt x="132166" y="111249"/>
                  <a:pt x="153572" y="111407"/>
                </a:cubicBezTo>
                <a:close/>
                <a:moveTo>
                  <a:pt x="154505" y="100345"/>
                </a:moveTo>
                <a:cubicBezTo>
                  <a:pt x="151273" y="100331"/>
                  <a:pt x="148040" y="100596"/>
                  <a:pt x="144808" y="101135"/>
                </a:cubicBezTo>
                <a:cubicBezTo>
                  <a:pt x="125701" y="104238"/>
                  <a:pt x="110186" y="118310"/>
                  <a:pt x="105230" y="137050"/>
                </a:cubicBezTo>
                <a:cubicBezTo>
                  <a:pt x="99699" y="157773"/>
                  <a:pt x="108247" y="179688"/>
                  <a:pt x="126348" y="191209"/>
                </a:cubicBezTo>
                <a:lnTo>
                  <a:pt x="138702" y="199254"/>
                </a:lnTo>
                <a:lnTo>
                  <a:pt x="124337" y="203995"/>
                </a:lnTo>
                <a:cubicBezTo>
                  <a:pt x="106451" y="210086"/>
                  <a:pt x="91008" y="221744"/>
                  <a:pt x="80233" y="237253"/>
                </a:cubicBezTo>
                <a:cubicBezTo>
                  <a:pt x="79371" y="238409"/>
                  <a:pt x="79155" y="239910"/>
                  <a:pt x="79587" y="241275"/>
                </a:cubicBezTo>
                <a:cubicBezTo>
                  <a:pt x="80017" y="242683"/>
                  <a:pt x="81167" y="243803"/>
                  <a:pt x="82531" y="244292"/>
                </a:cubicBezTo>
                <a:lnTo>
                  <a:pt x="84255" y="244938"/>
                </a:lnTo>
                <a:cubicBezTo>
                  <a:pt x="86482" y="245678"/>
                  <a:pt x="88924" y="244859"/>
                  <a:pt x="90289" y="242927"/>
                </a:cubicBezTo>
                <a:cubicBezTo>
                  <a:pt x="105014" y="222355"/>
                  <a:pt x="128862" y="210201"/>
                  <a:pt x="154146" y="210316"/>
                </a:cubicBezTo>
                <a:lnTo>
                  <a:pt x="155726" y="210316"/>
                </a:lnTo>
                <a:cubicBezTo>
                  <a:pt x="181010" y="210252"/>
                  <a:pt x="204713" y="222398"/>
                  <a:pt x="219439" y="242927"/>
                </a:cubicBezTo>
                <a:cubicBezTo>
                  <a:pt x="220803" y="244859"/>
                  <a:pt x="223246" y="245678"/>
                  <a:pt x="225472" y="244938"/>
                </a:cubicBezTo>
                <a:lnTo>
                  <a:pt x="227196" y="244292"/>
                </a:lnTo>
                <a:cubicBezTo>
                  <a:pt x="228561" y="243803"/>
                  <a:pt x="229710" y="242683"/>
                  <a:pt x="230141" y="241275"/>
                </a:cubicBezTo>
                <a:cubicBezTo>
                  <a:pt x="230644" y="239960"/>
                  <a:pt x="230573" y="238481"/>
                  <a:pt x="229854" y="237253"/>
                </a:cubicBezTo>
                <a:cubicBezTo>
                  <a:pt x="219079" y="221723"/>
                  <a:pt x="203565" y="210065"/>
                  <a:pt x="185679" y="203995"/>
                </a:cubicBezTo>
                <a:lnTo>
                  <a:pt x="171744" y="199254"/>
                </a:lnTo>
                <a:lnTo>
                  <a:pt x="184098" y="191209"/>
                </a:lnTo>
                <a:cubicBezTo>
                  <a:pt x="202200" y="179674"/>
                  <a:pt x="210676" y="157773"/>
                  <a:pt x="205217" y="137050"/>
                </a:cubicBezTo>
                <a:cubicBezTo>
                  <a:pt x="200260" y="118310"/>
                  <a:pt x="184746" y="104238"/>
                  <a:pt x="165639" y="101135"/>
                </a:cubicBezTo>
                <a:cubicBezTo>
                  <a:pt x="162191" y="100568"/>
                  <a:pt x="158743" y="100302"/>
                  <a:pt x="155295" y="100345"/>
                </a:cubicBezTo>
                <a:close/>
                <a:moveTo>
                  <a:pt x="154648" y="85907"/>
                </a:moveTo>
                <a:cubicBezTo>
                  <a:pt x="158958" y="85871"/>
                  <a:pt x="163340" y="86209"/>
                  <a:pt x="167578" y="86913"/>
                </a:cubicBezTo>
                <a:cubicBezTo>
                  <a:pt x="192287" y="91007"/>
                  <a:pt x="212256" y="109281"/>
                  <a:pt x="218505" y="133531"/>
                </a:cubicBezTo>
                <a:cubicBezTo>
                  <a:pt x="224395" y="155675"/>
                  <a:pt x="217859" y="179264"/>
                  <a:pt x="201410" y="195232"/>
                </a:cubicBezTo>
                <a:cubicBezTo>
                  <a:pt x="217284" y="202882"/>
                  <a:pt x="230931" y="214511"/>
                  <a:pt x="240988" y="228992"/>
                </a:cubicBezTo>
                <a:cubicBezTo>
                  <a:pt x="244364" y="233833"/>
                  <a:pt x="245297" y="239953"/>
                  <a:pt x="243574" y="245585"/>
                </a:cubicBezTo>
                <a:cubicBezTo>
                  <a:pt x="241778" y="251252"/>
                  <a:pt x="237468" y="255763"/>
                  <a:pt x="231865" y="257796"/>
                </a:cubicBezTo>
                <a:lnTo>
                  <a:pt x="230141" y="258442"/>
                </a:lnTo>
                <a:cubicBezTo>
                  <a:pt x="221809" y="261416"/>
                  <a:pt x="212544" y="258478"/>
                  <a:pt x="207443" y="251259"/>
                </a:cubicBezTo>
                <a:cubicBezTo>
                  <a:pt x="195232" y="234300"/>
                  <a:pt x="175551" y="224373"/>
                  <a:pt x="154648" y="224682"/>
                </a:cubicBezTo>
                <a:cubicBezTo>
                  <a:pt x="133674" y="224251"/>
                  <a:pt x="113850" y="234199"/>
                  <a:pt x="101710" y="251259"/>
                </a:cubicBezTo>
                <a:cubicBezTo>
                  <a:pt x="97975" y="256459"/>
                  <a:pt x="92013" y="259555"/>
                  <a:pt x="85620" y="259591"/>
                </a:cubicBezTo>
                <a:cubicBezTo>
                  <a:pt x="83393" y="259598"/>
                  <a:pt x="81095" y="259210"/>
                  <a:pt x="79012" y="258442"/>
                </a:cubicBezTo>
                <a:lnTo>
                  <a:pt x="77288" y="257796"/>
                </a:lnTo>
                <a:cubicBezTo>
                  <a:pt x="71685" y="255763"/>
                  <a:pt x="67375" y="251252"/>
                  <a:pt x="65580" y="245585"/>
                </a:cubicBezTo>
                <a:cubicBezTo>
                  <a:pt x="63784" y="239953"/>
                  <a:pt x="64718" y="233804"/>
                  <a:pt x="68165" y="228992"/>
                </a:cubicBezTo>
                <a:cubicBezTo>
                  <a:pt x="78222" y="214511"/>
                  <a:pt x="91869" y="202875"/>
                  <a:pt x="107743" y="195232"/>
                </a:cubicBezTo>
                <a:cubicBezTo>
                  <a:pt x="91295" y="179264"/>
                  <a:pt x="84758" y="155675"/>
                  <a:pt x="90648" y="133531"/>
                </a:cubicBezTo>
                <a:cubicBezTo>
                  <a:pt x="96897" y="109274"/>
                  <a:pt x="116866" y="90993"/>
                  <a:pt x="141576" y="86913"/>
                </a:cubicBezTo>
                <a:cubicBezTo>
                  <a:pt x="145885" y="86202"/>
                  <a:pt x="150267" y="85864"/>
                  <a:pt x="154648" y="85907"/>
                </a:cubicBezTo>
                <a:close/>
                <a:moveTo>
                  <a:pt x="24781" y="59762"/>
                </a:moveTo>
                <a:cubicBezTo>
                  <a:pt x="19107" y="59719"/>
                  <a:pt x="14509" y="64237"/>
                  <a:pt x="14366" y="69890"/>
                </a:cubicBezTo>
                <a:lnTo>
                  <a:pt x="14366" y="280063"/>
                </a:lnTo>
                <a:cubicBezTo>
                  <a:pt x="14509" y="285709"/>
                  <a:pt x="19107" y="290199"/>
                  <a:pt x="24781" y="290120"/>
                </a:cubicBezTo>
                <a:lnTo>
                  <a:pt x="102142" y="290120"/>
                </a:lnTo>
                <a:cubicBezTo>
                  <a:pt x="108750" y="290091"/>
                  <a:pt x="115143" y="292670"/>
                  <a:pt x="119884" y="297303"/>
                </a:cubicBezTo>
                <a:lnTo>
                  <a:pt x="150555" y="328046"/>
                </a:lnTo>
                <a:cubicBezTo>
                  <a:pt x="154721" y="331968"/>
                  <a:pt x="161186" y="331968"/>
                  <a:pt x="165352" y="328046"/>
                </a:cubicBezTo>
                <a:lnTo>
                  <a:pt x="199471" y="296441"/>
                </a:lnTo>
                <a:cubicBezTo>
                  <a:pt x="204068" y="292145"/>
                  <a:pt x="210173" y="289761"/>
                  <a:pt x="216494" y="289761"/>
                </a:cubicBezTo>
                <a:lnTo>
                  <a:pt x="285738" y="289761"/>
                </a:lnTo>
                <a:cubicBezTo>
                  <a:pt x="291413" y="289840"/>
                  <a:pt x="296082" y="285357"/>
                  <a:pt x="296225" y="279704"/>
                </a:cubicBezTo>
                <a:lnTo>
                  <a:pt x="296225" y="69890"/>
                </a:lnTo>
                <a:cubicBezTo>
                  <a:pt x="296082" y="64222"/>
                  <a:pt x="291413" y="59719"/>
                  <a:pt x="285738" y="59762"/>
                </a:cubicBezTo>
                <a:close/>
                <a:moveTo>
                  <a:pt x="102070" y="14366"/>
                </a:moveTo>
                <a:cubicBezTo>
                  <a:pt x="89500" y="14366"/>
                  <a:pt x="79300" y="24558"/>
                  <a:pt x="79300" y="37136"/>
                </a:cubicBezTo>
                <a:lnTo>
                  <a:pt x="79300" y="45396"/>
                </a:lnTo>
                <a:lnTo>
                  <a:pt x="285738" y="45396"/>
                </a:lnTo>
                <a:cubicBezTo>
                  <a:pt x="299386" y="45317"/>
                  <a:pt x="310448" y="56271"/>
                  <a:pt x="310591" y="69890"/>
                </a:cubicBezTo>
                <a:lnTo>
                  <a:pt x="310591" y="258586"/>
                </a:lnTo>
                <a:lnTo>
                  <a:pt x="322299" y="258586"/>
                </a:lnTo>
                <a:cubicBezTo>
                  <a:pt x="334869" y="258586"/>
                  <a:pt x="345069" y="248394"/>
                  <a:pt x="345069" y="235817"/>
                </a:cubicBezTo>
                <a:lnTo>
                  <a:pt x="345069" y="37136"/>
                </a:lnTo>
                <a:cubicBezTo>
                  <a:pt x="345069" y="24558"/>
                  <a:pt x="334869" y="14366"/>
                  <a:pt x="322299" y="14366"/>
                </a:cubicBezTo>
                <a:close/>
                <a:moveTo>
                  <a:pt x="102070" y="0"/>
                </a:moveTo>
                <a:lnTo>
                  <a:pt x="322299" y="0"/>
                </a:lnTo>
                <a:cubicBezTo>
                  <a:pt x="342628" y="273"/>
                  <a:pt x="358933" y="16808"/>
                  <a:pt x="359004" y="37136"/>
                </a:cubicBezTo>
                <a:lnTo>
                  <a:pt x="359004" y="235817"/>
                </a:lnTo>
                <a:cubicBezTo>
                  <a:pt x="358933" y="256309"/>
                  <a:pt x="342340" y="272916"/>
                  <a:pt x="321869" y="272952"/>
                </a:cubicBezTo>
                <a:lnTo>
                  <a:pt x="310160" y="272952"/>
                </a:lnTo>
                <a:lnTo>
                  <a:pt x="310160" y="279632"/>
                </a:lnTo>
                <a:cubicBezTo>
                  <a:pt x="310017" y="293223"/>
                  <a:pt x="298883" y="304134"/>
                  <a:pt x="285308" y="304055"/>
                </a:cubicBezTo>
                <a:lnTo>
                  <a:pt x="216064" y="304055"/>
                </a:lnTo>
                <a:cubicBezTo>
                  <a:pt x="213406" y="304069"/>
                  <a:pt x="210820" y="305067"/>
                  <a:pt x="208881" y="306856"/>
                </a:cubicBezTo>
                <a:lnTo>
                  <a:pt x="174762" y="338533"/>
                </a:lnTo>
                <a:cubicBezTo>
                  <a:pt x="170093" y="342792"/>
                  <a:pt x="164059" y="345148"/>
                  <a:pt x="157738" y="345141"/>
                </a:cubicBezTo>
                <a:cubicBezTo>
                  <a:pt x="151129" y="345184"/>
                  <a:pt x="144737" y="342598"/>
                  <a:pt x="140067" y="337958"/>
                </a:cubicBezTo>
                <a:lnTo>
                  <a:pt x="109325" y="307215"/>
                </a:lnTo>
                <a:cubicBezTo>
                  <a:pt x="107385" y="305319"/>
                  <a:pt x="104872" y="304213"/>
                  <a:pt x="102142" y="304127"/>
                </a:cubicBezTo>
                <a:lnTo>
                  <a:pt x="24781" y="304127"/>
                </a:lnTo>
                <a:cubicBezTo>
                  <a:pt x="11206" y="304206"/>
                  <a:pt x="143" y="293280"/>
                  <a:pt x="0" y="279704"/>
                </a:cubicBezTo>
                <a:lnTo>
                  <a:pt x="0" y="69890"/>
                </a:lnTo>
                <a:cubicBezTo>
                  <a:pt x="143" y="56300"/>
                  <a:pt x="11206" y="45353"/>
                  <a:pt x="24781" y="45396"/>
                </a:cubicBezTo>
                <a:lnTo>
                  <a:pt x="64934" y="45396"/>
                </a:lnTo>
                <a:lnTo>
                  <a:pt x="64934" y="37136"/>
                </a:lnTo>
                <a:cubicBezTo>
                  <a:pt x="65006" y="16643"/>
                  <a:pt x="81598" y="36"/>
                  <a:pt x="102070"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Arial" panose="020F0502020204030204"/>
              <a:ea typeface="微软雅黑"/>
              <a:cs typeface="+mn-cs"/>
            </a:endParaRPr>
          </a:p>
        </p:txBody>
      </p:sp>
      <p:sp>
        <p:nvSpPr>
          <p:cNvPr id="185" name="Oval 165">
            <a:extLst>
              <a:ext uri="{FF2B5EF4-FFF2-40B4-BE49-F238E27FC236}">
                <a16:creationId xmlns:a16="http://schemas.microsoft.com/office/drawing/2014/main" id="{D1653A4E-6C15-4037-A57E-84A55DD2DD8B}"/>
              </a:ext>
            </a:extLst>
          </p:cNvPr>
          <p:cNvSpPr/>
          <p:nvPr/>
        </p:nvSpPr>
        <p:spPr>
          <a:xfrm>
            <a:off x="7802145" y="4339966"/>
            <a:ext cx="229050" cy="220202"/>
          </a:xfrm>
          <a:custGeom>
            <a:avLst/>
            <a:gdLst>
              <a:gd name="connsiteX0" fmla="*/ 152925 w 359004"/>
              <a:gd name="connsiteY0" fmla="*/ 125701 h 345141"/>
              <a:gd name="connsiteX1" fmla="*/ 128863 w 359004"/>
              <a:gd name="connsiteY1" fmla="*/ 149836 h 345141"/>
              <a:gd name="connsiteX2" fmla="*/ 153572 w 359004"/>
              <a:gd name="connsiteY2" fmla="*/ 173971 h 345141"/>
              <a:gd name="connsiteX3" fmla="*/ 155655 w 359004"/>
              <a:gd name="connsiteY3" fmla="*/ 173971 h 345141"/>
              <a:gd name="connsiteX4" fmla="*/ 155871 w 359004"/>
              <a:gd name="connsiteY4" fmla="*/ 173971 h 345141"/>
              <a:gd name="connsiteX5" fmla="*/ 179861 w 359004"/>
              <a:gd name="connsiteY5" fmla="*/ 149764 h 345141"/>
              <a:gd name="connsiteX6" fmla="*/ 155511 w 359004"/>
              <a:gd name="connsiteY6" fmla="*/ 125701 h 345141"/>
              <a:gd name="connsiteX7" fmla="*/ 153931 w 359004"/>
              <a:gd name="connsiteY7" fmla="*/ 125701 h 345141"/>
              <a:gd name="connsiteX8" fmla="*/ 153572 w 359004"/>
              <a:gd name="connsiteY8" fmla="*/ 111407 h 345141"/>
              <a:gd name="connsiteX9" fmla="*/ 155081 w 359004"/>
              <a:gd name="connsiteY9" fmla="*/ 111407 h 345141"/>
              <a:gd name="connsiteX10" fmla="*/ 194227 w 359004"/>
              <a:gd name="connsiteY10" fmla="*/ 149836 h 345141"/>
              <a:gd name="connsiteX11" fmla="*/ 155081 w 359004"/>
              <a:gd name="connsiteY11" fmla="*/ 188337 h 345141"/>
              <a:gd name="connsiteX12" fmla="*/ 153572 w 359004"/>
              <a:gd name="connsiteY12" fmla="*/ 188337 h 345141"/>
              <a:gd name="connsiteX13" fmla="*/ 114497 w 359004"/>
              <a:gd name="connsiteY13" fmla="*/ 149836 h 345141"/>
              <a:gd name="connsiteX14" fmla="*/ 153572 w 359004"/>
              <a:gd name="connsiteY14" fmla="*/ 111407 h 345141"/>
              <a:gd name="connsiteX15" fmla="*/ 154505 w 359004"/>
              <a:gd name="connsiteY15" fmla="*/ 100345 h 345141"/>
              <a:gd name="connsiteX16" fmla="*/ 144808 w 359004"/>
              <a:gd name="connsiteY16" fmla="*/ 101135 h 345141"/>
              <a:gd name="connsiteX17" fmla="*/ 105230 w 359004"/>
              <a:gd name="connsiteY17" fmla="*/ 137050 h 345141"/>
              <a:gd name="connsiteX18" fmla="*/ 126348 w 359004"/>
              <a:gd name="connsiteY18" fmla="*/ 191209 h 345141"/>
              <a:gd name="connsiteX19" fmla="*/ 138702 w 359004"/>
              <a:gd name="connsiteY19" fmla="*/ 199254 h 345141"/>
              <a:gd name="connsiteX20" fmla="*/ 124337 w 359004"/>
              <a:gd name="connsiteY20" fmla="*/ 203995 h 345141"/>
              <a:gd name="connsiteX21" fmla="*/ 80233 w 359004"/>
              <a:gd name="connsiteY21" fmla="*/ 237253 h 345141"/>
              <a:gd name="connsiteX22" fmla="*/ 79587 w 359004"/>
              <a:gd name="connsiteY22" fmla="*/ 241275 h 345141"/>
              <a:gd name="connsiteX23" fmla="*/ 82531 w 359004"/>
              <a:gd name="connsiteY23" fmla="*/ 244292 h 345141"/>
              <a:gd name="connsiteX24" fmla="*/ 84255 w 359004"/>
              <a:gd name="connsiteY24" fmla="*/ 244938 h 345141"/>
              <a:gd name="connsiteX25" fmla="*/ 90289 w 359004"/>
              <a:gd name="connsiteY25" fmla="*/ 242927 h 345141"/>
              <a:gd name="connsiteX26" fmla="*/ 154146 w 359004"/>
              <a:gd name="connsiteY26" fmla="*/ 210316 h 345141"/>
              <a:gd name="connsiteX27" fmla="*/ 155726 w 359004"/>
              <a:gd name="connsiteY27" fmla="*/ 210316 h 345141"/>
              <a:gd name="connsiteX28" fmla="*/ 219439 w 359004"/>
              <a:gd name="connsiteY28" fmla="*/ 242927 h 345141"/>
              <a:gd name="connsiteX29" fmla="*/ 225472 w 359004"/>
              <a:gd name="connsiteY29" fmla="*/ 244938 h 345141"/>
              <a:gd name="connsiteX30" fmla="*/ 227196 w 359004"/>
              <a:gd name="connsiteY30" fmla="*/ 244292 h 345141"/>
              <a:gd name="connsiteX31" fmla="*/ 230141 w 359004"/>
              <a:gd name="connsiteY31" fmla="*/ 241275 h 345141"/>
              <a:gd name="connsiteX32" fmla="*/ 229854 w 359004"/>
              <a:gd name="connsiteY32" fmla="*/ 237253 h 345141"/>
              <a:gd name="connsiteX33" fmla="*/ 185679 w 359004"/>
              <a:gd name="connsiteY33" fmla="*/ 203995 h 345141"/>
              <a:gd name="connsiteX34" fmla="*/ 171744 w 359004"/>
              <a:gd name="connsiteY34" fmla="*/ 199254 h 345141"/>
              <a:gd name="connsiteX35" fmla="*/ 184098 w 359004"/>
              <a:gd name="connsiteY35" fmla="*/ 191209 h 345141"/>
              <a:gd name="connsiteX36" fmla="*/ 205217 w 359004"/>
              <a:gd name="connsiteY36" fmla="*/ 137050 h 345141"/>
              <a:gd name="connsiteX37" fmla="*/ 165639 w 359004"/>
              <a:gd name="connsiteY37" fmla="*/ 101135 h 345141"/>
              <a:gd name="connsiteX38" fmla="*/ 155295 w 359004"/>
              <a:gd name="connsiteY38" fmla="*/ 100345 h 345141"/>
              <a:gd name="connsiteX39" fmla="*/ 154648 w 359004"/>
              <a:gd name="connsiteY39" fmla="*/ 85907 h 345141"/>
              <a:gd name="connsiteX40" fmla="*/ 167578 w 359004"/>
              <a:gd name="connsiteY40" fmla="*/ 86913 h 345141"/>
              <a:gd name="connsiteX41" fmla="*/ 218505 w 359004"/>
              <a:gd name="connsiteY41" fmla="*/ 133531 h 345141"/>
              <a:gd name="connsiteX42" fmla="*/ 201410 w 359004"/>
              <a:gd name="connsiteY42" fmla="*/ 195232 h 345141"/>
              <a:gd name="connsiteX43" fmla="*/ 240988 w 359004"/>
              <a:gd name="connsiteY43" fmla="*/ 228992 h 345141"/>
              <a:gd name="connsiteX44" fmla="*/ 243574 w 359004"/>
              <a:gd name="connsiteY44" fmla="*/ 245585 h 345141"/>
              <a:gd name="connsiteX45" fmla="*/ 231865 w 359004"/>
              <a:gd name="connsiteY45" fmla="*/ 257796 h 345141"/>
              <a:gd name="connsiteX46" fmla="*/ 230141 w 359004"/>
              <a:gd name="connsiteY46" fmla="*/ 258442 h 345141"/>
              <a:gd name="connsiteX47" fmla="*/ 207443 w 359004"/>
              <a:gd name="connsiteY47" fmla="*/ 251259 h 345141"/>
              <a:gd name="connsiteX48" fmla="*/ 154648 w 359004"/>
              <a:gd name="connsiteY48" fmla="*/ 224682 h 345141"/>
              <a:gd name="connsiteX49" fmla="*/ 101710 w 359004"/>
              <a:gd name="connsiteY49" fmla="*/ 251259 h 345141"/>
              <a:gd name="connsiteX50" fmla="*/ 85620 w 359004"/>
              <a:gd name="connsiteY50" fmla="*/ 259591 h 345141"/>
              <a:gd name="connsiteX51" fmla="*/ 79012 w 359004"/>
              <a:gd name="connsiteY51" fmla="*/ 258442 h 345141"/>
              <a:gd name="connsiteX52" fmla="*/ 77288 w 359004"/>
              <a:gd name="connsiteY52" fmla="*/ 257796 h 345141"/>
              <a:gd name="connsiteX53" fmla="*/ 65580 w 359004"/>
              <a:gd name="connsiteY53" fmla="*/ 245585 h 345141"/>
              <a:gd name="connsiteX54" fmla="*/ 68165 w 359004"/>
              <a:gd name="connsiteY54" fmla="*/ 228992 h 345141"/>
              <a:gd name="connsiteX55" fmla="*/ 107743 w 359004"/>
              <a:gd name="connsiteY55" fmla="*/ 195232 h 345141"/>
              <a:gd name="connsiteX56" fmla="*/ 90648 w 359004"/>
              <a:gd name="connsiteY56" fmla="*/ 133531 h 345141"/>
              <a:gd name="connsiteX57" fmla="*/ 141576 w 359004"/>
              <a:gd name="connsiteY57" fmla="*/ 86913 h 345141"/>
              <a:gd name="connsiteX58" fmla="*/ 154648 w 359004"/>
              <a:gd name="connsiteY58" fmla="*/ 85907 h 345141"/>
              <a:gd name="connsiteX59" fmla="*/ 24781 w 359004"/>
              <a:gd name="connsiteY59" fmla="*/ 59762 h 345141"/>
              <a:gd name="connsiteX60" fmla="*/ 14366 w 359004"/>
              <a:gd name="connsiteY60" fmla="*/ 69890 h 345141"/>
              <a:gd name="connsiteX61" fmla="*/ 14366 w 359004"/>
              <a:gd name="connsiteY61" fmla="*/ 280063 h 345141"/>
              <a:gd name="connsiteX62" fmla="*/ 24781 w 359004"/>
              <a:gd name="connsiteY62" fmla="*/ 290120 h 345141"/>
              <a:gd name="connsiteX63" fmla="*/ 102142 w 359004"/>
              <a:gd name="connsiteY63" fmla="*/ 290120 h 345141"/>
              <a:gd name="connsiteX64" fmla="*/ 119884 w 359004"/>
              <a:gd name="connsiteY64" fmla="*/ 297303 h 345141"/>
              <a:gd name="connsiteX65" fmla="*/ 150555 w 359004"/>
              <a:gd name="connsiteY65" fmla="*/ 328046 h 345141"/>
              <a:gd name="connsiteX66" fmla="*/ 165352 w 359004"/>
              <a:gd name="connsiteY66" fmla="*/ 328046 h 345141"/>
              <a:gd name="connsiteX67" fmla="*/ 199471 w 359004"/>
              <a:gd name="connsiteY67" fmla="*/ 296441 h 345141"/>
              <a:gd name="connsiteX68" fmla="*/ 216494 w 359004"/>
              <a:gd name="connsiteY68" fmla="*/ 289761 h 345141"/>
              <a:gd name="connsiteX69" fmla="*/ 285738 w 359004"/>
              <a:gd name="connsiteY69" fmla="*/ 289761 h 345141"/>
              <a:gd name="connsiteX70" fmla="*/ 296225 w 359004"/>
              <a:gd name="connsiteY70" fmla="*/ 279704 h 345141"/>
              <a:gd name="connsiteX71" fmla="*/ 296225 w 359004"/>
              <a:gd name="connsiteY71" fmla="*/ 69890 h 345141"/>
              <a:gd name="connsiteX72" fmla="*/ 285738 w 359004"/>
              <a:gd name="connsiteY72" fmla="*/ 59762 h 345141"/>
              <a:gd name="connsiteX73" fmla="*/ 102070 w 359004"/>
              <a:gd name="connsiteY73" fmla="*/ 14366 h 345141"/>
              <a:gd name="connsiteX74" fmla="*/ 79300 w 359004"/>
              <a:gd name="connsiteY74" fmla="*/ 37136 h 345141"/>
              <a:gd name="connsiteX75" fmla="*/ 79300 w 359004"/>
              <a:gd name="connsiteY75" fmla="*/ 45396 h 345141"/>
              <a:gd name="connsiteX76" fmla="*/ 285738 w 359004"/>
              <a:gd name="connsiteY76" fmla="*/ 45396 h 345141"/>
              <a:gd name="connsiteX77" fmla="*/ 310591 w 359004"/>
              <a:gd name="connsiteY77" fmla="*/ 69890 h 345141"/>
              <a:gd name="connsiteX78" fmla="*/ 310591 w 359004"/>
              <a:gd name="connsiteY78" fmla="*/ 258586 h 345141"/>
              <a:gd name="connsiteX79" fmla="*/ 322299 w 359004"/>
              <a:gd name="connsiteY79" fmla="*/ 258586 h 345141"/>
              <a:gd name="connsiteX80" fmla="*/ 345069 w 359004"/>
              <a:gd name="connsiteY80" fmla="*/ 235817 h 345141"/>
              <a:gd name="connsiteX81" fmla="*/ 345069 w 359004"/>
              <a:gd name="connsiteY81" fmla="*/ 37136 h 345141"/>
              <a:gd name="connsiteX82" fmla="*/ 322299 w 359004"/>
              <a:gd name="connsiteY82" fmla="*/ 14366 h 345141"/>
              <a:gd name="connsiteX83" fmla="*/ 102070 w 359004"/>
              <a:gd name="connsiteY83" fmla="*/ 0 h 345141"/>
              <a:gd name="connsiteX84" fmla="*/ 322299 w 359004"/>
              <a:gd name="connsiteY84" fmla="*/ 0 h 345141"/>
              <a:gd name="connsiteX85" fmla="*/ 359004 w 359004"/>
              <a:gd name="connsiteY85" fmla="*/ 37136 h 345141"/>
              <a:gd name="connsiteX86" fmla="*/ 359004 w 359004"/>
              <a:gd name="connsiteY86" fmla="*/ 235817 h 345141"/>
              <a:gd name="connsiteX87" fmla="*/ 321869 w 359004"/>
              <a:gd name="connsiteY87" fmla="*/ 272952 h 345141"/>
              <a:gd name="connsiteX88" fmla="*/ 310160 w 359004"/>
              <a:gd name="connsiteY88" fmla="*/ 272952 h 345141"/>
              <a:gd name="connsiteX89" fmla="*/ 310160 w 359004"/>
              <a:gd name="connsiteY89" fmla="*/ 279632 h 345141"/>
              <a:gd name="connsiteX90" fmla="*/ 285308 w 359004"/>
              <a:gd name="connsiteY90" fmla="*/ 304055 h 345141"/>
              <a:gd name="connsiteX91" fmla="*/ 216064 w 359004"/>
              <a:gd name="connsiteY91" fmla="*/ 304055 h 345141"/>
              <a:gd name="connsiteX92" fmla="*/ 208881 w 359004"/>
              <a:gd name="connsiteY92" fmla="*/ 306856 h 345141"/>
              <a:gd name="connsiteX93" fmla="*/ 174762 w 359004"/>
              <a:gd name="connsiteY93" fmla="*/ 338533 h 345141"/>
              <a:gd name="connsiteX94" fmla="*/ 157738 w 359004"/>
              <a:gd name="connsiteY94" fmla="*/ 345141 h 345141"/>
              <a:gd name="connsiteX95" fmla="*/ 140067 w 359004"/>
              <a:gd name="connsiteY95" fmla="*/ 337958 h 345141"/>
              <a:gd name="connsiteX96" fmla="*/ 109325 w 359004"/>
              <a:gd name="connsiteY96" fmla="*/ 307215 h 345141"/>
              <a:gd name="connsiteX97" fmla="*/ 102142 w 359004"/>
              <a:gd name="connsiteY97" fmla="*/ 304127 h 345141"/>
              <a:gd name="connsiteX98" fmla="*/ 24781 w 359004"/>
              <a:gd name="connsiteY98" fmla="*/ 304127 h 345141"/>
              <a:gd name="connsiteX99" fmla="*/ 0 w 359004"/>
              <a:gd name="connsiteY99" fmla="*/ 279704 h 345141"/>
              <a:gd name="connsiteX100" fmla="*/ 0 w 359004"/>
              <a:gd name="connsiteY100" fmla="*/ 69890 h 345141"/>
              <a:gd name="connsiteX101" fmla="*/ 24781 w 359004"/>
              <a:gd name="connsiteY101" fmla="*/ 45396 h 345141"/>
              <a:gd name="connsiteX102" fmla="*/ 64934 w 359004"/>
              <a:gd name="connsiteY102" fmla="*/ 45396 h 345141"/>
              <a:gd name="connsiteX103" fmla="*/ 64934 w 359004"/>
              <a:gd name="connsiteY103" fmla="*/ 37136 h 345141"/>
              <a:gd name="connsiteX104" fmla="*/ 102070 w 359004"/>
              <a:gd name="connsiteY104" fmla="*/ 0 h 3451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59004" h="345141">
                <a:moveTo>
                  <a:pt x="152925" y="125701"/>
                </a:moveTo>
                <a:cubicBezTo>
                  <a:pt x="139709" y="125859"/>
                  <a:pt x="129006" y="136584"/>
                  <a:pt x="128863" y="149836"/>
                </a:cubicBezTo>
                <a:cubicBezTo>
                  <a:pt x="129006" y="163326"/>
                  <a:pt x="140068" y="174129"/>
                  <a:pt x="153572" y="173971"/>
                </a:cubicBezTo>
                <a:lnTo>
                  <a:pt x="155655" y="173971"/>
                </a:lnTo>
                <a:lnTo>
                  <a:pt x="155871" y="173971"/>
                </a:lnTo>
                <a:cubicBezTo>
                  <a:pt x="169087" y="173741"/>
                  <a:pt x="179718" y="163003"/>
                  <a:pt x="179861" y="149764"/>
                </a:cubicBezTo>
                <a:cubicBezTo>
                  <a:pt x="179646" y="136447"/>
                  <a:pt x="168799" y="125737"/>
                  <a:pt x="155511" y="125701"/>
                </a:cubicBezTo>
                <a:lnTo>
                  <a:pt x="153931" y="125701"/>
                </a:lnTo>
                <a:close/>
                <a:moveTo>
                  <a:pt x="153572" y="111407"/>
                </a:moveTo>
                <a:lnTo>
                  <a:pt x="155081" y="111407"/>
                </a:lnTo>
                <a:cubicBezTo>
                  <a:pt x="176486" y="111206"/>
                  <a:pt x="194012" y="128417"/>
                  <a:pt x="194227" y="149836"/>
                </a:cubicBezTo>
                <a:cubicBezTo>
                  <a:pt x="194012" y="171270"/>
                  <a:pt x="176486" y="188495"/>
                  <a:pt x="155081" y="188337"/>
                </a:cubicBezTo>
                <a:lnTo>
                  <a:pt x="153572" y="188337"/>
                </a:lnTo>
                <a:cubicBezTo>
                  <a:pt x="132166" y="188495"/>
                  <a:pt x="114640" y="171256"/>
                  <a:pt x="114497" y="149836"/>
                </a:cubicBezTo>
                <a:cubicBezTo>
                  <a:pt x="114712" y="128446"/>
                  <a:pt x="132166" y="111249"/>
                  <a:pt x="153572" y="111407"/>
                </a:cubicBezTo>
                <a:close/>
                <a:moveTo>
                  <a:pt x="154505" y="100345"/>
                </a:moveTo>
                <a:cubicBezTo>
                  <a:pt x="151273" y="100331"/>
                  <a:pt x="148040" y="100596"/>
                  <a:pt x="144808" y="101135"/>
                </a:cubicBezTo>
                <a:cubicBezTo>
                  <a:pt x="125701" y="104238"/>
                  <a:pt x="110186" y="118310"/>
                  <a:pt x="105230" y="137050"/>
                </a:cubicBezTo>
                <a:cubicBezTo>
                  <a:pt x="99699" y="157773"/>
                  <a:pt x="108247" y="179688"/>
                  <a:pt x="126348" y="191209"/>
                </a:cubicBezTo>
                <a:lnTo>
                  <a:pt x="138702" y="199254"/>
                </a:lnTo>
                <a:lnTo>
                  <a:pt x="124337" y="203995"/>
                </a:lnTo>
                <a:cubicBezTo>
                  <a:pt x="106451" y="210086"/>
                  <a:pt x="91008" y="221744"/>
                  <a:pt x="80233" y="237253"/>
                </a:cubicBezTo>
                <a:cubicBezTo>
                  <a:pt x="79371" y="238409"/>
                  <a:pt x="79155" y="239910"/>
                  <a:pt x="79587" y="241275"/>
                </a:cubicBezTo>
                <a:cubicBezTo>
                  <a:pt x="80017" y="242683"/>
                  <a:pt x="81167" y="243803"/>
                  <a:pt x="82531" y="244292"/>
                </a:cubicBezTo>
                <a:lnTo>
                  <a:pt x="84255" y="244938"/>
                </a:lnTo>
                <a:cubicBezTo>
                  <a:pt x="86482" y="245678"/>
                  <a:pt x="88924" y="244859"/>
                  <a:pt x="90289" y="242927"/>
                </a:cubicBezTo>
                <a:cubicBezTo>
                  <a:pt x="105014" y="222355"/>
                  <a:pt x="128862" y="210201"/>
                  <a:pt x="154146" y="210316"/>
                </a:cubicBezTo>
                <a:lnTo>
                  <a:pt x="155726" y="210316"/>
                </a:lnTo>
                <a:cubicBezTo>
                  <a:pt x="181010" y="210252"/>
                  <a:pt x="204713" y="222398"/>
                  <a:pt x="219439" y="242927"/>
                </a:cubicBezTo>
                <a:cubicBezTo>
                  <a:pt x="220803" y="244859"/>
                  <a:pt x="223246" y="245678"/>
                  <a:pt x="225472" y="244938"/>
                </a:cubicBezTo>
                <a:lnTo>
                  <a:pt x="227196" y="244292"/>
                </a:lnTo>
                <a:cubicBezTo>
                  <a:pt x="228561" y="243803"/>
                  <a:pt x="229710" y="242683"/>
                  <a:pt x="230141" y="241275"/>
                </a:cubicBezTo>
                <a:cubicBezTo>
                  <a:pt x="230644" y="239960"/>
                  <a:pt x="230573" y="238481"/>
                  <a:pt x="229854" y="237253"/>
                </a:cubicBezTo>
                <a:cubicBezTo>
                  <a:pt x="219079" y="221723"/>
                  <a:pt x="203565" y="210065"/>
                  <a:pt x="185679" y="203995"/>
                </a:cubicBezTo>
                <a:lnTo>
                  <a:pt x="171744" y="199254"/>
                </a:lnTo>
                <a:lnTo>
                  <a:pt x="184098" y="191209"/>
                </a:lnTo>
                <a:cubicBezTo>
                  <a:pt x="202200" y="179674"/>
                  <a:pt x="210676" y="157773"/>
                  <a:pt x="205217" y="137050"/>
                </a:cubicBezTo>
                <a:cubicBezTo>
                  <a:pt x="200260" y="118310"/>
                  <a:pt x="184746" y="104238"/>
                  <a:pt x="165639" y="101135"/>
                </a:cubicBezTo>
                <a:cubicBezTo>
                  <a:pt x="162191" y="100568"/>
                  <a:pt x="158743" y="100302"/>
                  <a:pt x="155295" y="100345"/>
                </a:cubicBezTo>
                <a:close/>
                <a:moveTo>
                  <a:pt x="154648" y="85907"/>
                </a:moveTo>
                <a:cubicBezTo>
                  <a:pt x="158958" y="85871"/>
                  <a:pt x="163340" y="86209"/>
                  <a:pt x="167578" y="86913"/>
                </a:cubicBezTo>
                <a:cubicBezTo>
                  <a:pt x="192287" y="91007"/>
                  <a:pt x="212256" y="109281"/>
                  <a:pt x="218505" y="133531"/>
                </a:cubicBezTo>
                <a:cubicBezTo>
                  <a:pt x="224395" y="155675"/>
                  <a:pt x="217859" y="179264"/>
                  <a:pt x="201410" y="195232"/>
                </a:cubicBezTo>
                <a:cubicBezTo>
                  <a:pt x="217284" y="202882"/>
                  <a:pt x="230931" y="214511"/>
                  <a:pt x="240988" y="228992"/>
                </a:cubicBezTo>
                <a:cubicBezTo>
                  <a:pt x="244364" y="233833"/>
                  <a:pt x="245297" y="239953"/>
                  <a:pt x="243574" y="245585"/>
                </a:cubicBezTo>
                <a:cubicBezTo>
                  <a:pt x="241778" y="251252"/>
                  <a:pt x="237468" y="255763"/>
                  <a:pt x="231865" y="257796"/>
                </a:cubicBezTo>
                <a:lnTo>
                  <a:pt x="230141" y="258442"/>
                </a:lnTo>
                <a:cubicBezTo>
                  <a:pt x="221809" y="261416"/>
                  <a:pt x="212544" y="258478"/>
                  <a:pt x="207443" y="251259"/>
                </a:cubicBezTo>
                <a:cubicBezTo>
                  <a:pt x="195232" y="234300"/>
                  <a:pt x="175551" y="224373"/>
                  <a:pt x="154648" y="224682"/>
                </a:cubicBezTo>
                <a:cubicBezTo>
                  <a:pt x="133674" y="224251"/>
                  <a:pt x="113850" y="234199"/>
                  <a:pt x="101710" y="251259"/>
                </a:cubicBezTo>
                <a:cubicBezTo>
                  <a:pt x="97975" y="256459"/>
                  <a:pt x="92013" y="259555"/>
                  <a:pt x="85620" y="259591"/>
                </a:cubicBezTo>
                <a:cubicBezTo>
                  <a:pt x="83393" y="259598"/>
                  <a:pt x="81095" y="259210"/>
                  <a:pt x="79012" y="258442"/>
                </a:cubicBezTo>
                <a:lnTo>
                  <a:pt x="77288" y="257796"/>
                </a:lnTo>
                <a:cubicBezTo>
                  <a:pt x="71685" y="255763"/>
                  <a:pt x="67375" y="251252"/>
                  <a:pt x="65580" y="245585"/>
                </a:cubicBezTo>
                <a:cubicBezTo>
                  <a:pt x="63784" y="239953"/>
                  <a:pt x="64718" y="233804"/>
                  <a:pt x="68165" y="228992"/>
                </a:cubicBezTo>
                <a:cubicBezTo>
                  <a:pt x="78222" y="214511"/>
                  <a:pt x="91869" y="202875"/>
                  <a:pt x="107743" y="195232"/>
                </a:cubicBezTo>
                <a:cubicBezTo>
                  <a:pt x="91295" y="179264"/>
                  <a:pt x="84758" y="155675"/>
                  <a:pt x="90648" y="133531"/>
                </a:cubicBezTo>
                <a:cubicBezTo>
                  <a:pt x="96897" y="109274"/>
                  <a:pt x="116866" y="90993"/>
                  <a:pt x="141576" y="86913"/>
                </a:cubicBezTo>
                <a:cubicBezTo>
                  <a:pt x="145885" y="86202"/>
                  <a:pt x="150267" y="85864"/>
                  <a:pt x="154648" y="85907"/>
                </a:cubicBezTo>
                <a:close/>
                <a:moveTo>
                  <a:pt x="24781" y="59762"/>
                </a:moveTo>
                <a:cubicBezTo>
                  <a:pt x="19107" y="59719"/>
                  <a:pt x="14509" y="64237"/>
                  <a:pt x="14366" y="69890"/>
                </a:cubicBezTo>
                <a:lnTo>
                  <a:pt x="14366" y="280063"/>
                </a:lnTo>
                <a:cubicBezTo>
                  <a:pt x="14509" y="285709"/>
                  <a:pt x="19107" y="290199"/>
                  <a:pt x="24781" y="290120"/>
                </a:cubicBezTo>
                <a:lnTo>
                  <a:pt x="102142" y="290120"/>
                </a:lnTo>
                <a:cubicBezTo>
                  <a:pt x="108750" y="290091"/>
                  <a:pt x="115143" y="292670"/>
                  <a:pt x="119884" y="297303"/>
                </a:cubicBezTo>
                <a:lnTo>
                  <a:pt x="150555" y="328046"/>
                </a:lnTo>
                <a:cubicBezTo>
                  <a:pt x="154721" y="331968"/>
                  <a:pt x="161186" y="331968"/>
                  <a:pt x="165352" y="328046"/>
                </a:cubicBezTo>
                <a:lnTo>
                  <a:pt x="199471" y="296441"/>
                </a:lnTo>
                <a:cubicBezTo>
                  <a:pt x="204068" y="292145"/>
                  <a:pt x="210173" y="289761"/>
                  <a:pt x="216494" y="289761"/>
                </a:cubicBezTo>
                <a:lnTo>
                  <a:pt x="285738" y="289761"/>
                </a:lnTo>
                <a:cubicBezTo>
                  <a:pt x="291413" y="289840"/>
                  <a:pt x="296082" y="285357"/>
                  <a:pt x="296225" y="279704"/>
                </a:cubicBezTo>
                <a:lnTo>
                  <a:pt x="296225" y="69890"/>
                </a:lnTo>
                <a:cubicBezTo>
                  <a:pt x="296082" y="64222"/>
                  <a:pt x="291413" y="59719"/>
                  <a:pt x="285738" y="59762"/>
                </a:cubicBezTo>
                <a:close/>
                <a:moveTo>
                  <a:pt x="102070" y="14366"/>
                </a:moveTo>
                <a:cubicBezTo>
                  <a:pt x="89500" y="14366"/>
                  <a:pt x="79300" y="24558"/>
                  <a:pt x="79300" y="37136"/>
                </a:cubicBezTo>
                <a:lnTo>
                  <a:pt x="79300" y="45396"/>
                </a:lnTo>
                <a:lnTo>
                  <a:pt x="285738" y="45396"/>
                </a:lnTo>
                <a:cubicBezTo>
                  <a:pt x="299386" y="45317"/>
                  <a:pt x="310448" y="56271"/>
                  <a:pt x="310591" y="69890"/>
                </a:cubicBezTo>
                <a:lnTo>
                  <a:pt x="310591" y="258586"/>
                </a:lnTo>
                <a:lnTo>
                  <a:pt x="322299" y="258586"/>
                </a:lnTo>
                <a:cubicBezTo>
                  <a:pt x="334869" y="258586"/>
                  <a:pt x="345069" y="248394"/>
                  <a:pt x="345069" y="235817"/>
                </a:cubicBezTo>
                <a:lnTo>
                  <a:pt x="345069" y="37136"/>
                </a:lnTo>
                <a:cubicBezTo>
                  <a:pt x="345069" y="24558"/>
                  <a:pt x="334869" y="14366"/>
                  <a:pt x="322299" y="14366"/>
                </a:cubicBezTo>
                <a:close/>
                <a:moveTo>
                  <a:pt x="102070" y="0"/>
                </a:moveTo>
                <a:lnTo>
                  <a:pt x="322299" y="0"/>
                </a:lnTo>
                <a:cubicBezTo>
                  <a:pt x="342628" y="273"/>
                  <a:pt x="358933" y="16808"/>
                  <a:pt x="359004" y="37136"/>
                </a:cubicBezTo>
                <a:lnTo>
                  <a:pt x="359004" y="235817"/>
                </a:lnTo>
                <a:cubicBezTo>
                  <a:pt x="358933" y="256309"/>
                  <a:pt x="342340" y="272916"/>
                  <a:pt x="321869" y="272952"/>
                </a:cubicBezTo>
                <a:lnTo>
                  <a:pt x="310160" y="272952"/>
                </a:lnTo>
                <a:lnTo>
                  <a:pt x="310160" y="279632"/>
                </a:lnTo>
                <a:cubicBezTo>
                  <a:pt x="310017" y="293223"/>
                  <a:pt x="298883" y="304134"/>
                  <a:pt x="285308" y="304055"/>
                </a:cubicBezTo>
                <a:lnTo>
                  <a:pt x="216064" y="304055"/>
                </a:lnTo>
                <a:cubicBezTo>
                  <a:pt x="213406" y="304069"/>
                  <a:pt x="210820" y="305067"/>
                  <a:pt x="208881" y="306856"/>
                </a:cubicBezTo>
                <a:lnTo>
                  <a:pt x="174762" y="338533"/>
                </a:lnTo>
                <a:cubicBezTo>
                  <a:pt x="170093" y="342792"/>
                  <a:pt x="164059" y="345148"/>
                  <a:pt x="157738" y="345141"/>
                </a:cubicBezTo>
                <a:cubicBezTo>
                  <a:pt x="151129" y="345184"/>
                  <a:pt x="144737" y="342598"/>
                  <a:pt x="140067" y="337958"/>
                </a:cubicBezTo>
                <a:lnTo>
                  <a:pt x="109325" y="307215"/>
                </a:lnTo>
                <a:cubicBezTo>
                  <a:pt x="107385" y="305319"/>
                  <a:pt x="104872" y="304213"/>
                  <a:pt x="102142" y="304127"/>
                </a:cubicBezTo>
                <a:lnTo>
                  <a:pt x="24781" y="304127"/>
                </a:lnTo>
                <a:cubicBezTo>
                  <a:pt x="11206" y="304206"/>
                  <a:pt x="143" y="293280"/>
                  <a:pt x="0" y="279704"/>
                </a:cubicBezTo>
                <a:lnTo>
                  <a:pt x="0" y="69890"/>
                </a:lnTo>
                <a:cubicBezTo>
                  <a:pt x="143" y="56300"/>
                  <a:pt x="11206" y="45353"/>
                  <a:pt x="24781" y="45396"/>
                </a:cubicBezTo>
                <a:lnTo>
                  <a:pt x="64934" y="45396"/>
                </a:lnTo>
                <a:lnTo>
                  <a:pt x="64934" y="37136"/>
                </a:lnTo>
                <a:cubicBezTo>
                  <a:pt x="65006" y="16643"/>
                  <a:pt x="81598" y="36"/>
                  <a:pt x="102070"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Arial" panose="020F0502020204030204"/>
              <a:ea typeface="微软雅黑"/>
              <a:cs typeface="+mn-cs"/>
            </a:endParaRPr>
          </a:p>
        </p:txBody>
      </p:sp>
      <p:sp>
        <p:nvSpPr>
          <p:cNvPr id="186" name="Oval 166">
            <a:extLst>
              <a:ext uri="{FF2B5EF4-FFF2-40B4-BE49-F238E27FC236}">
                <a16:creationId xmlns:a16="http://schemas.microsoft.com/office/drawing/2014/main" id="{114F0DC3-2748-425E-A027-9B3D8D86666E}"/>
              </a:ext>
            </a:extLst>
          </p:cNvPr>
          <p:cNvSpPr/>
          <p:nvPr/>
        </p:nvSpPr>
        <p:spPr>
          <a:xfrm>
            <a:off x="7802145" y="5153935"/>
            <a:ext cx="229050" cy="220202"/>
          </a:xfrm>
          <a:custGeom>
            <a:avLst/>
            <a:gdLst>
              <a:gd name="connsiteX0" fmla="*/ 152925 w 359004"/>
              <a:gd name="connsiteY0" fmla="*/ 125701 h 345141"/>
              <a:gd name="connsiteX1" fmla="*/ 128863 w 359004"/>
              <a:gd name="connsiteY1" fmla="*/ 149836 h 345141"/>
              <a:gd name="connsiteX2" fmla="*/ 153572 w 359004"/>
              <a:gd name="connsiteY2" fmla="*/ 173971 h 345141"/>
              <a:gd name="connsiteX3" fmla="*/ 155655 w 359004"/>
              <a:gd name="connsiteY3" fmla="*/ 173971 h 345141"/>
              <a:gd name="connsiteX4" fmla="*/ 155871 w 359004"/>
              <a:gd name="connsiteY4" fmla="*/ 173971 h 345141"/>
              <a:gd name="connsiteX5" fmla="*/ 179861 w 359004"/>
              <a:gd name="connsiteY5" fmla="*/ 149764 h 345141"/>
              <a:gd name="connsiteX6" fmla="*/ 155511 w 359004"/>
              <a:gd name="connsiteY6" fmla="*/ 125701 h 345141"/>
              <a:gd name="connsiteX7" fmla="*/ 153931 w 359004"/>
              <a:gd name="connsiteY7" fmla="*/ 125701 h 345141"/>
              <a:gd name="connsiteX8" fmla="*/ 153572 w 359004"/>
              <a:gd name="connsiteY8" fmla="*/ 111407 h 345141"/>
              <a:gd name="connsiteX9" fmla="*/ 155081 w 359004"/>
              <a:gd name="connsiteY9" fmla="*/ 111407 h 345141"/>
              <a:gd name="connsiteX10" fmla="*/ 194227 w 359004"/>
              <a:gd name="connsiteY10" fmla="*/ 149836 h 345141"/>
              <a:gd name="connsiteX11" fmla="*/ 155081 w 359004"/>
              <a:gd name="connsiteY11" fmla="*/ 188337 h 345141"/>
              <a:gd name="connsiteX12" fmla="*/ 153572 w 359004"/>
              <a:gd name="connsiteY12" fmla="*/ 188337 h 345141"/>
              <a:gd name="connsiteX13" fmla="*/ 114497 w 359004"/>
              <a:gd name="connsiteY13" fmla="*/ 149836 h 345141"/>
              <a:gd name="connsiteX14" fmla="*/ 153572 w 359004"/>
              <a:gd name="connsiteY14" fmla="*/ 111407 h 345141"/>
              <a:gd name="connsiteX15" fmla="*/ 154505 w 359004"/>
              <a:gd name="connsiteY15" fmla="*/ 100345 h 345141"/>
              <a:gd name="connsiteX16" fmla="*/ 144808 w 359004"/>
              <a:gd name="connsiteY16" fmla="*/ 101135 h 345141"/>
              <a:gd name="connsiteX17" fmla="*/ 105230 w 359004"/>
              <a:gd name="connsiteY17" fmla="*/ 137050 h 345141"/>
              <a:gd name="connsiteX18" fmla="*/ 126348 w 359004"/>
              <a:gd name="connsiteY18" fmla="*/ 191209 h 345141"/>
              <a:gd name="connsiteX19" fmla="*/ 138702 w 359004"/>
              <a:gd name="connsiteY19" fmla="*/ 199254 h 345141"/>
              <a:gd name="connsiteX20" fmla="*/ 124337 w 359004"/>
              <a:gd name="connsiteY20" fmla="*/ 203995 h 345141"/>
              <a:gd name="connsiteX21" fmla="*/ 80233 w 359004"/>
              <a:gd name="connsiteY21" fmla="*/ 237253 h 345141"/>
              <a:gd name="connsiteX22" fmla="*/ 79587 w 359004"/>
              <a:gd name="connsiteY22" fmla="*/ 241275 h 345141"/>
              <a:gd name="connsiteX23" fmla="*/ 82531 w 359004"/>
              <a:gd name="connsiteY23" fmla="*/ 244292 h 345141"/>
              <a:gd name="connsiteX24" fmla="*/ 84255 w 359004"/>
              <a:gd name="connsiteY24" fmla="*/ 244938 h 345141"/>
              <a:gd name="connsiteX25" fmla="*/ 90289 w 359004"/>
              <a:gd name="connsiteY25" fmla="*/ 242927 h 345141"/>
              <a:gd name="connsiteX26" fmla="*/ 154146 w 359004"/>
              <a:gd name="connsiteY26" fmla="*/ 210316 h 345141"/>
              <a:gd name="connsiteX27" fmla="*/ 155726 w 359004"/>
              <a:gd name="connsiteY27" fmla="*/ 210316 h 345141"/>
              <a:gd name="connsiteX28" fmla="*/ 219439 w 359004"/>
              <a:gd name="connsiteY28" fmla="*/ 242927 h 345141"/>
              <a:gd name="connsiteX29" fmla="*/ 225472 w 359004"/>
              <a:gd name="connsiteY29" fmla="*/ 244938 h 345141"/>
              <a:gd name="connsiteX30" fmla="*/ 227196 w 359004"/>
              <a:gd name="connsiteY30" fmla="*/ 244292 h 345141"/>
              <a:gd name="connsiteX31" fmla="*/ 230141 w 359004"/>
              <a:gd name="connsiteY31" fmla="*/ 241275 h 345141"/>
              <a:gd name="connsiteX32" fmla="*/ 229854 w 359004"/>
              <a:gd name="connsiteY32" fmla="*/ 237253 h 345141"/>
              <a:gd name="connsiteX33" fmla="*/ 185679 w 359004"/>
              <a:gd name="connsiteY33" fmla="*/ 203995 h 345141"/>
              <a:gd name="connsiteX34" fmla="*/ 171744 w 359004"/>
              <a:gd name="connsiteY34" fmla="*/ 199254 h 345141"/>
              <a:gd name="connsiteX35" fmla="*/ 184098 w 359004"/>
              <a:gd name="connsiteY35" fmla="*/ 191209 h 345141"/>
              <a:gd name="connsiteX36" fmla="*/ 205217 w 359004"/>
              <a:gd name="connsiteY36" fmla="*/ 137050 h 345141"/>
              <a:gd name="connsiteX37" fmla="*/ 165639 w 359004"/>
              <a:gd name="connsiteY37" fmla="*/ 101135 h 345141"/>
              <a:gd name="connsiteX38" fmla="*/ 155295 w 359004"/>
              <a:gd name="connsiteY38" fmla="*/ 100345 h 345141"/>
              <a:gd name="connsiteX39" fmla="*/ 154648 w 359004"/>
              <a:gd name="connsiteY39" fmla="*/ 85907 h 345141"/>
              <a:gd name="connsiteX40" fmla="*/ 167578 w 359004"/>
              <a:gd name="connsiteY40" fmla="*/ 86913 h 345141"/>
              <a:gd name="connsiteX41" fmla="*/ 218505 w 359004"/>
              <a:gd name="connsiteY41" fmla="*/ 133531 h 345141"/>
              <a:gd name="connsiteX42" fmla="*/ 201410 w 359004"/>
              <a:gd name="connsiteY42" fmla="*/ 195232 h 345141"/>
              <a:gd name="connsiteX43" fmla="*/ 240988 w 359004"/>
              <a:gd name="connsiteY43" fmla="*/ 228992 h 345141"/>
              <a:gd name="connsiteX44" fmla="*/ 243574 w 359004"/>
              <a:gd name="connsiteY44" fmla="*/ 245585 h 345141"/>
              <a:gd name="connsiteX45" fmla="*/ 231865 w 359004"/>
              <a:gd name="connsiteY45" fmla="*/ 257796 h 345141"/>
              <a:gd name="connsiteX46" fmla="*/ 230141 w 359004"/>
              <a:gd name="connsiteY46" fmla="*/ 258442 h 345141"/>
              <a:gd name="connsiteX47" fmla="*/ 207443 w 359004"/>
              <a:gd name="connsiteY47" fmla="*/ 251259 h 345141"/>
              <a:gd name="connsiteX48" fmla="*/ 154648 w 359004"/>
              <a:gd name="connsiteY48" fmla="*/ 224682 h 345141"/>
              <a:gd name="connsiteX49" fmla="*/ 101710 w 359004"/>
              <a:gd name="connsiteY49" fmla="*/ 251259 h 345141"/>
              <a:gd name="connsiteX50" fmla="*/ 85620 w 359004"/>
              <a:gd name="connsiteY50" fmla="*/ 259591 h 345141"/>
              <a:gd name="connsiteX51" fmla="*/ 79012 w 359004"/>
              <a:gd name="connsiteY51" fmla="*/ 258442 h 345141"/>
              <a:gd name="connsiteX52" fmla="*/ 77288 w 359004"/>
              <a:gd name="connsiteY52" fmla="*/ 257796 h 345141"/>
              <a:gd name="connsiteX53" fmla="*/ 65580 w 359004"/>
              <a:gd name="connsiteY53" fmla="*/ 245585 h 345141"/>
              <a:gd name="connsiteX54" fmla="*/ 68165 w 359004"/>
              <a:gd name="connsiteY54" fmla="*/ 228992 h 345141"/>
              <a:gd name="connsiteX55" fmla="*/ 107743 w 359004"/>
              <a:gd name="connsiteY55" fmla="*/ 195232 h 345141"/>
              <a:gd name="connsiteX56" fmla="*/ 90648 w 359004"/>
              <a:gd name="connsiteY56" fmla="*/ 133531 h 345141"/>
              <a:gd name="connsiteX57" fmla="*/ 141576 w 359004"/>
              <a:gd name="connsiteY57" fmla="*/ 86913 h 345141"/>
              <a:gd name="connsiteX58" fmla="*/ 154648 w 359004"/>
              <a:gd name="connsiteY58" fmla="*/ 85907 h 345141"/>
              <a:gd name="connsiteX59" fmla="*/ 24781 w 359004"/>
              <a:gd name="connsiteY59" fmla="*/ 59762 h 345141"/>
              <a:gd name="connsiteX60" fmla="*/ 14366 w 359004"/>
              <a:gd name="connsiteY60" fmla="*/ 69890 h 345141"/>
              <a:gd name="connsiteX61" fmla="*/ 14366 w 359004"/>
              <a:gd name="connsiteY61" fmla="*/ 280063 h 345141"/>
              <a:gd name="connsiteX62" fmla="*/ 24781 w 359004"/>
              <a:gd name="connsiteY62" fmla="*/ 290120 h 345141"/>
              <a:gd name="connsiteX63" fmla="*/ 102142 w 359004"/>
              <a:gd name="connsiteY63" fmla="*/ 290120 h 345141"/>
              <a:gd name="connsiteX64" fmla="*/ 119884 w 359004"/>
              <a:gd name="connsiteY64" fmla="*/ 297303 h 345141"/>
              <a:gd name="connsiteX65" fmla="*/ 150555 w 359004"/>
              <a:gd name="connsiteY65" fmla="*/ 328046 h 345141"/>
              <a:gd name="connsiteX66" fmla="*/ 165352 w 359004"/>
              <a:gd name="connsiteY66" fmla="*/ 328046 h 345141"/>
              <a:gd name="connsiteX67" fmla="*/ 199471 w 359004"/>
              <a:gd name="connsiteY67" fmla="*/ 296441 h 345141"/>
              <a:gd name="connsiteX68" fmla="*/ 216494 w 359004"/>
              <a:gd name="connsiteY68" fmla="*/ 289761 h 345141"/>
              <a:gd name="connsiteX69" fmla="*/ 285738 w 359004"/>
              <a:gd name="connsiteY69" fmla="*/ 289761 h 345141"/>
              <a:gd name="connsiteX70" fmla="*/ 296225 w 359004"/>
              <a:gd name="connsiteY70" fmla="*/ 279704 h 345141"/>
              <a:gd name="connsiteX71" fmla="*/ 296225 w 359004"/>
              <a:gd name="connsiteY71" fmla="*/ 69890 h 345141"/>
              <a:gd name="connsiteX72" fmla="*/ 285738 w 359004"/>
              <a:gd name="connsiteY72" fmla="*/ 59762 h 345141"/>
              <a:gd name="connsiteX73" fmla="*/ 102070 w 359004"/>
              <a:gd name="connsiteY73" fmla="*/ 14366 h 345141"/>
              <a:gd name="connsiteX74" fmla="*/ 79300 w 359004"/>
              <a:gd name="connsiteY74" fmla="*/ 37136 h 345141"/>
              <a:gd name="connsiteX75" fmla="*/ 79300 w 359004"/>
              <a:gd name="connsiteY75" fmla="*/ 45396 h 345141"/>
              <a:gd name="connsiteX76" fmla="*/ 285738 w 359004"/>
              <a:gd name="connsiteY76" fmla="*/ 45396 h 345141"/>
              <a:gd name="connsiteX77" fmla="*/ 310591 w 359004"/>
              <a:gd name="connsiteY77" fmla="*/ 69890 h 345141"/>
              <a:gd name="connsiteX78" fmla="*/ 310591 w 359004"/>
              <a:gd name="connsiteY78" fmla="*/ 258586 h 345141"/>
              <a:gd name="connsiteX79" fmla="*/ 322299 w 359004"/>
              <a:gd name="connsiteY79" fmla="*/ 258586 h 345141"/>
              <a:gd name="connsiteX80" fmla="*/ 345069 w 359004"/>
              <a:gd name="connsiteY80" fmla="*/ 235817 h 345141"/>
              <a:gd name="connsiteX81" fmla="*/ 345069 w 359004"/>
              <a:gd name="connsiteY81" fmla="*/ 37136 h 345141"/>
              <a:gd name="connsiteX82" fmla="*/ 322299 w 359004"/>
              <a:gd name="connsiteY82" fmla="*/ 14366 h 345141"/>
              <a:gd name="connsiteX83" fmla="*/ 102070 w 359004"/>
              <a:gd name="connsiteY83" fmla="*/ 0 h 345141"/>
              <a:gd name="connsiteX84" fmla="*/ 322299 w 359004"/>
              <a:gd name="connsiteY84" fmla="*/ 0 h 345141"/>
              <a:gd name="connsiteX85" fmla="*/ 359004 w 359004"/>
              <a:gd name="connsiteY85" fmla="*/ 37136 h 345141"/>
              <a:gd name="connsiteX86" fmla="*/ 359004 w 359004"/>
              <a:gd name="connsiteY86" fmla="*/ 235817 h 345141"/>
              <a:gd name="connsiteX87" fmla="*/ 321869 w 359004"/>
              <a:gd name="connsiteY87" fmla="*/ 272952 h 345141"/>
              <a:gd name="connsiteX88" fmla="*/ 310160 w 359004"/>
              <a:gd name="connsiteY88" fmla="*/ 272952 h 345141"/>
              <a:gd name="connsiteX89" fmla="*/ 310160 w 359004"/>
              <a:gd name="connsiteY89" fmla="*/ 279632 h 345141"/>
              <a:gd name="connsiteX90" fmla="*/ 285308 w 359004"/>
              <a:gd name="connsiteY90" fmla="*/ 304055 h 345141"/>
              <a:gd name="connsiteX91" fmla="*/ 216064 w 359004"/>
              <a:gd name="connsiteY91" fmla="*/ 304055 h 345141"/>
              <a:gd name="connsiteX92" fmla="*/ 208881 w 359004"/>
              <a:gd name="connsiteY92" fmla="*/ 306856 h 345141"/>
              <a:gd name="connsiteX93" fmla="*/ 174762 w 359004"/>
              <a:gd name="connsiteY93" fmla="*/ 338533 h 345141"/>
              <a:gd name="connsiteX94" fmla="*/ 157738 w 359004"/>
              <a:gd name="connsiteY94" fmla="*/ 345141 h 345141"/>
              <a:gd name="connsiteX95" fmla="*/ 140067 w 359004"/>
              <a:gd name="connsiteY95" fmla="*/ 337958 h 345141"/>
              <a:gd name="connsiteX96" fmla="*/ 109325 w 359004"/>
              <a:gd name="connsiteY96" fmla="*/ 307215 h 345141"/>
              <a:gd name="connsiteX97" fmla="*/ 102142 w 359004"/>
              <a:gd name="connsiteY97" fmla="*/ 304127 h 345141"/>
              <a:gd name="connsiteX98" fmla="*/ 24781 w 359004"/>
              <a:gd name="connsiteY98" fmla="*/ 304127 h 345141"/>
              <a:gd name="connsiteX99" fmla="*/ 0 w 359004"/>
              <a:gd name="connsiteY99" fmla="*/ 279704 h 345141"/>
              <a:gd name="connsiteX100" fmla="*/ 0 w 359004"/>
              <a:gd name="connsiteY100" fmla="*/ 69890 h 345141"/>
              <a:gd name="connsiteX101" fmla="*/ 24781 w 359004"/>
              <a:gd name="connsiteY101" fmla="*/ 45396 h 345141"/>
              <a:gd name="connsiteX102" fmla="*/ 64934 w 359004"/>
              <a:gd name="connsiteY102" fmla="*/ 45396 h 345141"/>
              <a:gd name="connsiteX103" fmla="*/ 64934 w 359004"/>
              <a:gd name="connsiteY103" fmla="*/ 37136 h 345141"/>
              <a:gd name="connsiteX104" fmla="*/ 102070 w 359004"/>
              <a:gd name="connsiteY104" fmla="*/ 0 h 3451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59004" h="345141">
                <a:moveTo>
                  <a:pt x="152925" y="125701"/>
                </a:moveTo>
                <a:cubicBezTo>
                  <a:pt x="139709" y="125859"/>
                  <a:pt x="129006" y="136584"/>
                  <a:pt x="128863" y="149836"/>
                </a:cubicBezTo>
                <a:cubicBezTo>
                  <a:pt x="129006" y="163326"/>
                  <a:pt x="140068" y="174129"/>
                  <a:pt x="153572" y="173971"/>
                </a:cubicBezTo>
                <a:lnTo>
                  <a:pt x="155655" y="173971"/>
                </a:lnTo>
                <a:lnTo>
                  <a:pt x="155871" y="173971"/>
                </a:lnTo>
                <a:cubicBezTo>
                  <a:pt x="169087" y="173741"/>
                  <a:pt x="179718" y="163003"/>
                  <a:pt x="179861" y="149764"/>
                </a:cubicBezTo>
                <a:cubicBezTo>
                  <a:pt x="179646" y="136447"/>
                  <a:pt x="168799" y="125737"/>
                  <a:pt x="155511" y="125701"/>
                </a:cubicBezTo>
                <a:lnTo>
                  <a:pt x="153931" y="125701"/>
                </a:lnTo>
                <a:close/>
                <a:moveTo>
                  <a:pt x="153572" y="111407"/>
                </a:moveTo>
                <a:lnTo>
                  <a:pt x="155081" y="111407"/>
                </a:lnTo>
                <a:cubicBezTo>
                  <a:pt x="176486" y="111206"/>
                  <a:pt x="194012" y="128417"/>
                  <a:pt x="194227" y="149836"/>
                </a:cubicBezTo>
                <a:cubicBezTo>
                  <a:pt x="194012" y="171270"/>
                  <a:pt x="176486" y="188495"/>
                  <a:pt x="155081" y="188337"/>
                </a:cubicBezTo>
                <a:lnTo>
                  <a:pt x="153572" y="188337"/>
                </a:lnTo>
                <a:cubicBezTo>
                  <a:pt x="132166" y="188495"/>
                  <a:pt x="114640" y="171256"/>
                  <a:pt x="114497" y="149836"/>
                </a:cubicBezTo>
                <a:cubicBezTo>
                  <a:pt x="114712" y="128446"/>
                  <a:pt x="132166" y="111249"/>
                  <a:pt x="153572" y="111407"/>
                </a:cubicBezTo>
                <a:close/>
                <a:moveTo>
                  <a:pt x="154505" y="100345"/>
                </a:moveTo>
                <a:cubicBezTo>
                  <a:pt x="151273" y="100331"/>
                  <a:pt x="148040" y="100596"/>
                  <a:pt x="144808" y="101135"/>
                </a:cubicBezTo>
                <a:cubicBezTo>
                  <a:pt x="125701" y="104238"/>
                  <a:pt x="110186" y="118310"/>
                  <a:pt x="105230" y="137050"/>
                </a:cubicBezTo>
                <a:cubicBezTo>
                  <a:pt x="99699" y="157773"/>
                  <a:pt x="108247" y="179688"/>
                  <a:pt x="126348" y="191209"/>
                </a:cubicBezTo>
                <a:lnTo>
                  <a:pt x="138702" y="199254"/>
                </a:lnTo>
                <a:lnTo>
                  <a:pt x="124337" y="203995"/>
                </a:lnTo>
                <a:cubicBezTo>
                  <a:pt x="106451" y="210086"/>
                  <a:pt x="91008" y="221744"/>
                  <a:pt x="80233" y="237253"/>
                </a:cubicBezTo>
                <a:cubicBezTo>
                  <a:pt x="79371" y="238409"/>
                  <a:pt x="79155" y="239910"/>
                  <a:pt x="79587" y="241275"/>
                </a:cubicBezTo>
                <a:cubicBezTo>
                  <a:pt x="80017" y="242683"/>
                  <a:pt x="81167" y="243803"/>
                  <a:pt x="82531" y="244292"/>
                </a:cubicBezTo>
                <a:lnTo>
                  <a:pt x="84255" y="244938"/>
                </a:lnTo>
                <a:cubicBezTo>
                  <a:pt x="86482" y="245678"/>
                  <a:pt x="88924" y="244859"/>
                  <a:pt x="90289" y="242927"/>
                </a:cubicBezTo>
                <a:cubicBezTo>
                  <a:pt x="105014" y="222355"/>
                  <a:pt x="128862" y="210201"/>
                  <a:pt x="154146" y="210316"/>
                </a:cubicBezTo>
                <a:lnTo>
                  <a:pt x="155726" y="210316"/>
                </a:lnTo>
                <a:cubicBezTo>
                  <a:pt x="181010" y="210252"/>
                  <a:pt x="204713" y="222398"/>
                  <a:pt x="219439" y="242927"/>
                </a:cubicBezTo>
                <a:cubicBezTo>
                  <a:pt x="220803" y="244859"/>
                  <a:pt x="223246" y="245678"/>
                  <a:pt x="225472" y="244938"/>
                </a:cubicBezTo>
                <a:lnTo>
                  <a:pt x="227196" y="244292"/>
                </a:lnTo>
                <a:cubicBezTo>
                  <a:pt x="228561" y="243803"/>
                  <a:pt x="229710" y="242683"/>
                  <a:pt x="230141" y="241275"/>
                </a:cubicBezTo>
                <a:cubicBezTo>
                  <a:pt x="230644" y="239960"/>
                  <a:pt x="230573" y="238481"/>
                  <a:pt x="229854" y="237253"/>
                </a:cubicBezTo>
                <a:cubicBezTo>
                  <a:pt x="219079" y="221723"/>
                  <a:pt x="203565" y="210065"/>
                  <a:pt x="185679" y="203995"/>
                </a:cubicBezTo>
                <a:lnTo>
                  <a:pt x="171744" y="199254"/>
                </a:lnTo>
                <a:lnTo>
                  <a:pt x="184098" y="191209"/>
                </a:lnTo>
                <a:cubicBezTo>
                  <a:pt x="202200" y="179674"/>
                  <a:pt x="210676" y="157773"/>
                  <a:pt x="205217" y="137050"/>
                </a:cubicBezTo>
                <a:cubicBezTo>
                  <a:pt x="200260" y="118310"/>
                  <a:pt x="184746" y="104238"/>
                  <a:pt x="165639" y="101135"/>
                </a:cubicBezTo>
                <a:cubicBezTo>
                  <a:pt x="162191" y="100568"/>
                  <a:pt x="158743" y="100302"/>
                  <a:pt x="155295" y="100345"/>
                </a:cubicBezTo>
                <a:close/>
                <a:moveTo>
                  <a:pt x="154648" y="85907"/>
                </a:moveTo>
                <a:cubicBezTo>
                  <a:pt x="158958" y="85871"/>
                  <a:pt x="163340" y="86209"/>
                  <a:pt x="167578" y="86913"/>
                </a:cubicBezTo>
                <a:cubicBezTo>
                  <a:pt x="192287" y="91007"/>
                  <a:pt x="212256" y="109281"/>
                  <a:pt x="218505" y="133531"/>
                </a:cubicBezTo>
                <a:cubicBezTo>
                  <a:pt x="224395" y="155675"/>
                  <a:pt x="217859" y="179264"/>
                  <a:pt x="201410" y="195232"/>
                </a:cubicBezTo>
                <a:cubicBezTo>
                  <a:pt x="217284" y="202882"/>
                  <a:pt x="230931" y="214511"/>
                  <a:pt x="240988" y="228992"/>
                </a:cubicBezTo>
                <a:cubicBezTo>
                  <a:pt x="244364" y="233833"/>
                  <a:pt x="245297" y="239953"/>
                  <a:pt x="243574" y="245585"/>
                </a:cubicBezTo>
                <a:cubicBezTo>
                  <a:pt x="241778" y="251252"/>
                  <a:pt x="237468" y="255763"/>
                  <a:pt x="231865" y="257796"/>
                </a:cubicBezTo>
                <a:lnTo>
                  <a:pt x="230141" y="258442"/>
                </a:lnTo>
                <a:cubicBezTo>
                  <a:pt x="221809" y="261416"/>
                  <a:pt x="212544" y="258478"/>
                  <a:pt x="207443" y="251259"/>
                </a:cubicBezTo>
                <a:cubicBezTo>
                  <a:pt x="195232" y="234300"/>
                  <a:pt x="175551" y="224373"/>
                  <a:pt x="154648" y="224682"/>
                </a:cubicBezTo>
                <a:cubicBezTo>
                  <a:pt x="133674" y="224251"/>
                  <a:pt x="113850" y="234199"/>
                  <a:pt x="101710" y="251259"/>
                </a:cubicBezTo>
                <a:cubicBezTo>
                  <a:pt x="97975" y="256459"/>
                  <a:pt x="92013" y="259555"/>
                  <a:pt x="85620" y="259591"/>
                </a:cubicBezTo>
                <a:cubicBezTo>
                  <a:pt x="83393" y="259598"/>
                  <a:pt x="81095" y="259210"/>
                  <a:pt x="79012" y="258442"/>
                </a:cubicBezTo>
                <a:lnTo>
                  <a:pt x="77288" y="257796"/>
                </a:lnTo>
                <a:cubicBezTo>
                  <a:pt x="71685" y="255763"/>
                  <a:pt x="67375" y="251252"/>
                  <a:pt x="65580" y="245585"/>
                </a:cubicBezTo>
                <a:cubicBezTo>
                  <a:pt x="63784" y="239953"/>
                  <a:pt x="64718" y="233804"/>
                  <a:pt x="68165" y="228992"/>
                </a:cubicBezTo>
                <a:cubicBezTo>
                  <a:pt x="78222" y="214511"/>
                  <a:pt x="91869" y="202875"/>
                  <a:pt x="107743" y="195232"/>
                </a:cubicBezTo>
                <a:cubicBezTo>
                  <a:pt x="91295" y="179264"/>
                  <a:pt x="84758" y="155675"/>
                  <a:pt x="90648" y="133531"/>
                </a:cubicBezTo>
                <a:cubicBezTo>
                  <a:pt x="96897" y="109274"/>
                  <a:pt x="116866" y="90993"/>
                  <a:pt x="141576" y="86913"/>
                </a:cubicBezTo>
                <a:cubicBezTo>
                  <a:pt x="145885" y="86202"/>
                  <a:pt x="150267" y="85864"/>
                  <a:pt x="154648" y="85907"/>
                </a:cubicBezTo>
                <a:close/>
                <a:moveTo>
                  <a:pt x="24781" y="59762"/>
                </a:moveTo>
                <a:cubicBezTo>
                  <a:pt x="19107" y="59719"/>
                  <a:pt x="14509" y="64237"/>
                  <a:pt x="14366" y="69890"/>
                </a:cubicBezTo>
                <a:lnTo>
                  <a:pt x="14366" y="280063"/>
                </a:lnTo>
                <a:cubicBezTo>
                  <a:pt x="14509" y="285709"/>
                  <a:pt x="19107" y="290199"/>
                  <a:pt x="24781" y="290120"/>
                </a:cubicBezTo>
                <a:lnTo>
                  <a:pt x="102142" y="290120"/>
                </a:lnTo>
                <a:cubicBezTo>
                  <a:pt x="108750" y="290091"/>
                  <a:pt x="115143" y="292670"/>
                  <a:pt x="119884" y="297303"/>
                </a:cubicBezTo>
                <a:lnTo>
                  <a:pt x="150555" y="328046"/>
                </a:lnTo>
                <a:cubicBezTo>
                  <a:pt x="154721" y="331968"/>
                  <a:pt x="161186" y="331968"/>
                  <a:pt x="165352" y="328046"/>
                </a:cubicBezTo>
                <a:lnTo>
                  <a:pt x="199471" y="296441"/>
                </a:lnTo>
                <a:cubicBezTo>
                  <a:pt x="204068" y="292145"/>
                  <a:pt x="210173" y="289761"/>
                  <a:pt x="216494" y="289761"/>
                </a:cubicBezTo>
                <a:lnTo>
                  <a:pt x="285738" y="289761"/>
                </a:lnTo>
                <a:cubicBezTo>
                  <a:pt x="291413" y="289840"/>
                  <a:pt x="296082" y="285357"/>
                  <a:pt x="296225" y="279704"/>
                </a:cubicBezTo>
                <a:lnTo>
                  <a:pt x="296225" y="69890"/>
                </a:lnTo>
                <a:cubicBezTo>
                  <a:pt x="296082" y="64222"/>
                  <a:pt x="291413" y="59719"/>
                  <a:pt x="285738" y="59762"/>
                </a:cubicBezTo>
                <a:close/>
                <a:moveTo>
                  <a:pt x="102070" y="14366"/>
                </a:moveTo>
                <a:cubicBezTo>
                  <a:pt x="89500" y="14366"/>
                  <a:pt x="79300" y="24558"/>
                  <a:pt x="79300" y="37136"/>
                </a:cubicBezTo>
                <a:lnTo>
                  <a:pt x="79300" y="45396"/>
                </a:lnTo>
                <a:lnTo>
                  <a:pt x="285738" y="45396"/>
                </a:lnTo>
                <a:cubicBezTo>
                  <a:pt x="299386" y="45317"/>
                  <a:pt x="310448" y="56271"/>
                  <a:pt x="310591" y="69890"/>
                </a:cubicBezTo>
                <a:lnTo>
                  <a:pt x="310591" y="258586"/>
                </a:lnTo>
                <a:lnTo>
                  <a:pt x="322299" y="258586"/>
                </a:lnTo>
                <a:cubicBezTo>
                  <a:pt x="334869" y="258586"/>
                  <a:pt x="345069" y="248394"/>
                  <a:pt x="345069" y="235817"/>
                </a:cubicBezTo>
                <a:lnTo>
                  <a:pt x="345069" y="37136"/>
                </a:lnTo>
                <a:cubicBezTo>
                  <a:pt x="345069" y="24558"/>
                  <a:pt x="334869" y="14366"/>
                  <a:pt x="322299" y="14366"/>
                </a:cubicBezTo>
                <a:close/>
                <a:moveTo>
                  <a:pt x="102070" y="0"/>
                </a:moveTo>
                <a:lnTo>
                  <a:pt x="322299" y="0"/>
                </a:lnTo>
                <a:cubicBezTo>
                  <a:pt x="342628" y="273"/>
                  <a:pt x="358933" y="16808"/>
                  <a:pt x="359004" y="37136"/>
                </a:cubicBezTo>
                <a:lnTo>
                  <a:pt x="359004" y="235817"/>
                </a:lnTo>
                <a:cubicBezTo>
                  <a:pt x="358933" y="256309"/>
                  <a:pt x="342340" y="272916"/>
                  <a:pt x="321869" y="272952"/>
                </a:cubicBezTo>
                <a:lnTo>
                  <a:pt x="310160" y="272952"/>
                </a:lnTo>
                <a:lnTo>
                  <a:pt x="310160" y="279632"/>
                </a:lnTo>
                <a:cubicBezTo>
                  <a:pt x="310017" y="293223"/>
                  <a:pt x="298883" y="304134"/>
                  <a:pt x="285308" y="304055"/>
                </a:cubicBezTo>
                <a:lnTo>
                  <a:pt x="216064" y="304055"/>
                </a:lnTo>
                <a:cubicBezTo>
                  <a:pt x="213406" y="304069"/>
                  <a:pt x="210820" y="305067"/>
                  <a:pt x="208881" y="306856"/>
                </a:cubicBezTo>
                <a:lnTo>
                  <a:pt x="174762" y="338533"/>
                </a:lnTo>
                <a:cubicBezTo>
                  <a:pt x="170093" y="342792"/>
                  <a:pt x="164059" y="345148"/>
                  <a:pt x="157738" y="345141"/>
                </a:cubicBezTo>
                <a:cubicBezTo>
                  <a:pt x="151129" y="345184"/>
                  <a:pt x="144737" y="342598"/>
                  <a:pt x="140067" y="337958"/>
                </a:cubicBezTo>
                <a:lnTo>
                  <a:pt x="109325" y="307215"/>
                </a:lnTo>
                <a:cubicBezTo>
                  <a:pt x="107385" y="305319"/>
                  <a:pt x="104872" y="304213"/>
                  <a:pt x="102142" y="304127"/>
                </a:cubicBezTo>
                <a:lnTo>
                  <a:pt x="24781" y="304127"/>
                </a:lnTo>
                <a:cubicBezTo>
                  <a:pt x="11206" y="304206"/>
                  <a:pt x="143" y="293280"/>
                  <a:pt x="0" y="279704"/>
                </a:cubicBezTo>
                <a:lnTo>
                  <a:pt x="0" y="69890"/>
                </a:lnTo>
                <a:cubicBezTo>
                  <a:pt x="143" y="56300"/>
                  <a:pt x="11206" y="45353"/>
                  <a:pt x="24781" y="45396"/>
                </a:cubicBezTo>
                <a:lnTo>
                  <a:pt x="64934" y="45396"/>
                </a:lnTo>
                <a:lnTo>
                  <a:pt x="64934" y="37136"/>
                </a:lnTo>
                <a:cubicBezTo>
                  <a:pt x="65006" y="16643"/>
                  <a:pt x="81598" y="36"/>
                  <a:pt x="102070"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Arial" panose="020F0502020204030204"/>
              <a:ea typeface="微软雅黑"/>
              <a:cs typeface="+mn-cs"/>
            </a:endParaRPr>
          </a:p>
        </p:txBody>
      </p:sp>
      <p:sp>
        <p:nvSpPr>
          <p:cNvPr id="187" name="Oval 167">
            <a:extLst>
              <a:ext uri="{FF2B5EF4-FFF2-40B4-BE49-F238E27FC236}">
                <a16:creationId xmlns:a16="http://schemas.microsoft.com/office/drawing/2014/main" id="{5F3B9E74-DB5D-4737-A8A6-C54DD12DA0D3}"/>
              </a:ext>
            </a:extLst>
          </p:cNvPr>
          <p:cNvSpPr/>
          <p:nvPr/>
        </p:nvSpPr>
        <p:spPr>
          <a:xfrm>
            <a:off x="9379515" y="4339966"/>
            <a:ext cx="229050" cy="220202"/>
          </a:xfrm>
          <a:custGeom>
            <a:avLst/>
            <a:gdLst>
              <a:gd name="connsiteX0" fmla="*/ 152925 w 359004"/>
              <a:gd name="connsiteY0" fmla="*/ 125701 h 345141"/>
              <a:gd name="connsiteX1" fmla="*/ 128863 w 359004"/>
              <a:gd name="connsiteY1" fmla="*/ 149836 h 345141"/>
              <a:gd name="connsiteX2" fmla="*/ 153572 w 359004"/>
              <a:gd name="connsiteY2" fmla="*/ 173971 h 345141"/>
              <a:gd name="connsiteX3" fmla="*/ 155655 w 359004"/>
              <a:gd name="connsiteY3" fmla="*/ 173971 h 345141"/>
              <a:gd name="connsiteX4" fmla="*/ 155871 w 359004"/>
              <a:gd name="connsiteY4" fmla="*/ 173971 h 345141"/>
              <a:gd name="connsiteX5" fmla="*/ 179861 w 359004"/>
              <a:gd name="connsiteY5" fmla="*/ 149764 h 345141"/>
              <a:gd name="connsiteX6" fmla="*/ 155511 w 359004"/>
              <a:gd name="connsiteY6" fmla="*/ 125701 h 345141"/>
              <a:gd name="connsiteX7" fmla="*/ 153931 w 359004"/>
              <a:gd name="connsiteY7" fmla="*/ 125701 h 345141"/>
              <a:gd name="connsiteX8" fmla="*/ 153572 w 359004"/>
              <a:gd name="connsiteY8" fmla="*/ 111407 h 345141"/>
              <a:gd name="connsiteX9" fmla="*/ 155081 w 359004"/>
              <a:gd name="connsiteY9" fmla="*/ 111407 h 345141"/>
              <a:gd name="connsiteX10" fmla="*/ 194227 w 359004"/>
              <a:gd name="connsiteY10" fmla="*/ 149836 h 345141"/>
              <a:gd name="connsiteX11" fmla="*/ 155081 w 359004"/>
              <a:gd name="connsiteY11" fmla="*/ 188337 h 345141"/>
              <a:gd name="connsiteX12" fmla="*/ 153572 w 359004"/>
              <a:gd name="connsiteY12" fmla="*/ 188337 h 345141"/>
              <a:gd name="connsiteX13" fmla="*/ 114497 w 359004"/>
              <a:gd name="connsiteY13" fmla="*/ 149836 h 345141"/>
              <a:gd name="connsiteX14" fmla="*/ 153572 w 359004"/>
              <a:gd name="connsiteY14" fmla="*/ 111407 h 345141"/>
              <a:gd name="connsiteX15" fmla="*/ 154505 w 359004"/>
              <a:gd name="connsiteY15" fmla="*/ 100345 h 345141"/>
              <a:gd name="connsiteX16" fmla="*/ 144808 w 359004"/>
              <a:gd name="connsiteY16" fmla="*/ 101135 h 345141"/>
              <a:gd name="connsiteX17" fmla="*/ 105230 w 359004"/>
              <a:gd name="connsiteY17" fmla="*/ 137050 h 345141"/>
              <a:gd name="connsiteX18" fmla="*/ 126348 w 359004"/>
              <a:gd name="connsiteY18" fmla="*/ 191209 h 345141"/>
              <a:gd name="connsiteX19" fmla="*/ 138702 w 359004"/>
              <a:gd name="connsiteY19" fmla="*/ 199254 h 345141"/>
              <a:gd name="connsiteX20" fmla="*/ 124337 w 359004"/>
              <a:gd name="connsiteY20" fmla="*/ 203995 h 345141"/>
              <a:gd name="connsiteX21" fmla="*/ 80233 w 359004"/>
              <a:gd name="connsiteY21" fmla="*/ 237253 h 345141"/>
              <a:gd name="connsiteX22" fmla="*/ 79587 w 359004"/>
              <a:gd name="connsiteY22" fmla="*/ 241275 h 345141"/>
              <a:gd name="connsiteX23" fmla="*/ 82531 w 359004"/>
              <a:gd name="connsiteY23" fmla="*/ 244292 h 345141"/>
              <a:gd name="connsiteX24" fmla="*/ 84255 w 359004"/>
              <a:gd name="connsiteY24" fmla="*/ 244938 h 345141"/>
              <a:gd name="connsiteX25" fmla="*/ 90289 w 359004"/>
              <a:gd name="connsiteY25" fmla="*/ 242927 h 345141"/>
              <a:gd name="connsiteX26" fmla="*/ 154146 w 359004"/>
              <a:gd name="connsiteY26" fmla="*/ 210316 h 345141"/>
              <a:gd name="connsiteX27" fmla="*/ 155726 w 359004"/>
              <a:gd name="connsiteY27" fmla="*/ 210316 h 345141"/>
              <a:gd name="connsiteX28" fmla="*/ 219439 w 359004"/>
              <a:gd name="connsiteY28" fmla="*/ 242927 h 345141"/>
              <a:gd name="connsiteX29" fmla="*/ 225472 w 359004"/>
              <a:gd name="connsiteY29" fmla="*/ 244938 h 345141"/>
              <a:gd name="connsiteX30" fmla="*/ 227196 w 359004"/>
              <a:gd name="connsiteY30" fmla="*/ 244292 h 345141"/>
              <a:gd name="connsiteX31" fmla="*/ 230141 w 359004"/>
              <a:gd name="connsiteY31" fmla="*/ 241275 h 345141"/>
              <a:gd name="connsiteX32" fmla="*/ 229854 w 359004"/>
              <a:gd name="connsiteY32" fmla="*/ 237253 h 345141"/>
              <a:gd name="connsiteX33" fmla="*/ 185679 w 359004"/>
              <a:gd name="connsiteY33" fmla="*/ 203995 h 345141"/>
              <a:gd name="connsiteX34" fmla="*/ 171744 w 359004"/>
              <a:gd name="connsiteY34" fmla="*/ 199254 h 345141"/>
              <a:gd name="connsiteX35" fmla="*/ 184098 w 359004"/>
              <a:gd name="connsiteY35" fmla="*/ 191209 h 345141"/>
              <a:gd name="connsiteX36" fmla="*/ 205217 w 359004"/>
              <a:gd name="connsiteY36" fmla="*/ 137050 h 345141"/>
              <a:gd name="connsiteX37" fmla="*/ 165639 w 359004"/>
              <a:gd name="connsiteY37" fmla="*/ 101135 h 345141"/>
              <a:gd name="connsiteX38" fmla="*/ 155295 w 359004"/>
              <a:gd name="connsiteY38" fmla="*/ 100345 h 345141"/>
              <a:gd name="connsiteX39" fmla="*/ 154648 w 359004"/>
              <a:gd name="connsiteY39" fmla="*/ 85907 h 345141"/>
              <a:gd name="connsiteX40" fmla="*/ 167578 w 359004"/>
              <a:gd name="connsiteY40" fmla="*/ 86913 h 345141"/>
              <a:gd name="connsiteX41" fmla="*/ 218505 w 359004"/>
              <a:gd name="connsiteY41" fmla="*/ 133531 h 345141"/>
              <a:gd name="connsiteX42" fmla="*/ 201410 w 359004"/>
              <a:gd name="connsiteY42" fmla="*/ 195232 h 345141"/>
              <a:gd name="connsiteX43" fmla="*/ 240988 w 359004"/>
              <a:gd name="connsiteY43" fmla="*/ 228992 h 345141"/>
              <a:gd name="connsiteX44" fmla="*/ 243574 w 359004"/>
              <a:gd name="connsiteY44" fmla="*/ 245585 h 345141"/>
              <a:gd name="connsiteX45" fmla="*/ 231865 w 359004"/>
              <a:gd name="connsiteY45" fmla="*/ 257796 h 345141"/>
              <a:gd name="connsiteX46" fmla="*/ 230141 w 359004"/>
              <a:gd name="connsiteY46" fmla="*/ 258442 h 345141"/>
              <a:gd name="connsiteX47" fmla="*/ 207443 w 359004"/>
              <a:gd name="connsiteY47" fmla="*/ 251259 h 345141"/>
              <a:gd name="connsiteX48" fmla="*/ 154648 w 359004"/>
              <a:gd name="connsiteY48" fmla="*/ 224682 h 345141"/>
              <a:gd name="connsiteX49" fmla="*/ 101710 w 359004"/>
              <a:gd name="connsiteY49" fmla="*/ 251259 h 345141"/>
              <a:gd name="connsiteX50" fmla="*/ 85620 w 359004"/>
              <a:gd name="connsiteY50" fmla="*/ 259591 h 345141"/>
              <a:gd name="connsiteX51" fmla="*/ 79012 w 359004"/>
              <a:gd name="connsiteY51" fmla="*/ 258442 h 345141"/>
              <a:gd name="connsiteX52" fmla="*/ 77288 w 359004"/>
              <a:gd name="connsiteY52" fmla="*/ 257796 h 345141"/>
              <a:gd name="connsiteX53" fmla="*/ 65580 w 359004"/>
              <a:gd name="connsiteY53" fmla="*/ 245585 h 345141"/>
              <a:gd name="connsiteX54" fmla="*/ 68165 w 359004"/>
              <a:gd name="connsiteY54" fmla="*/ 228992 h 345141"/>
              <a:gd name="connsiteX55" fmla="*/ 107743 w 359004"/>
              <a:gd name="connsiteY55" fmla="*/ 195232 h 345141"/>
              <a:gd name="connsiteX56" fmla="*/ 90648 w 359004"/>
              <a:gd name="connsiteY56" fmla="*/ 133531 h 345141"/>
              <a:gd name="connsiteX57" fmla="*/ 141576 w 359004"/>
              <a:gd name="connsiteY57" fmla="*/ 86913 h 345141"/>
              <a:gd name="connsiteX58" fmla="*/ 154648 w 359004"/>
              <a:gd name="connsiteY58" fmla="*/ 85907 h 345141"/>
              <a:gd name="connsiteX59" fmla="*/ 24781 w 359004"/>
              <a:gd name="connsiteY59" fmla="*/ 59762 h 345141"/>
              <a:gd name="connsiteX60" fmla="*/ 14366 w 359004"/>
              <a:gd name="connsiteY60" fmla="*/ 69890 h 345141"/>
              <a:gd name="connsiteX61" fmla="*/ 14366 w 359004"/>
              <a:gd name="connsiteY61" fmla="*/ 280063 h 345141"/>
              <a:gd name="connsiteX62" fmla="*/ 24781 w 359004"/>
              <a:gd name="connsiteY62" fmla="*/ 290120 h 345141"/>
              <a:gd name="connsiteX63" fmla="*/ 102142 w 359004"/>
              <a:gd name="connsiteY63" fmla="*/ 290120 h 345141"/>
              <a:gd name="connsiteX64" fmla="*/ 119884 w 359004"/>
              <a:gd name="connsiteY64" fmla="*/ 297303 h 345141"/>
              <a:gd name="connsiteX65" fmla="*/ 150555 w 359004"/>
              <a:gd name="connsiteY65" fmla="*/ 328046 h 345141"/>
              <a:gd name="connsiteX66" fmla="*/ 165352 w 359004"/>
              <a:gd name="connsiteY66" fmla="*/ 328046 h 345141"/>
              <a:gd name="connsiteX67" fmla="*/ 199471 w 359004"/>
              <a:gd name="connsiteY67" fmla="*/ 296441 h 345141"/>
              <a:gd name="connsiteX68" fmla="*/ 216494 w 359004"/>
              <a:gd name="connsiteY68" fmla="*/ 289761 h 345141"/>
              <a:gd name="connsiteX69" fmla="*/ 285738 w 359004"/>
              <a:gd name="connsiteY69" fmla="*/ 289761 h 345141"/>
              <a:gd name="connsiteX70" fmla="*/ 296225 w 359004"/>
              <a:gd name="connsiteY70" fmla="*/ 279704 h 345141"/>
              <a:gd name="connsiteX71" fmla="*/ 296225 w 359004"/>
              <a:gd name="connsiteY71" fmla="*/ 69890 h 345141"/>
              <a:gd name="connsiteX72" fmla="*/ 285738 w 359004"/>
              <a:gd name="connsiteY72" fmla="*/ 59762 h 345141"/>
              <a:gd name="connsiteX73" fmla="*/ 102070 w 359004"/>
              <a:gd name="connsiteY73" fmla="*/ 14366 h 345141"/>
              <a:gd name="connsiteX74" fmla="*/ 79300 w 359004"/>
              <a:gd name="connsiteY74" fmla="*/ 37136 h 345141"/>
              <a:gd name="connsiteX75" fmla="*/ 79300 w 359004"/>
              <a:gd name="connsiteY75" fmla="*/ 45396 h 345141"/>
              <a:gd name="connsiteX76" fmla="*/ 285738 w 359004"/>
              <a:gd name="connsiteY76" fmla="*/ 45396 h 345141"/>
              <a:gd name="connsiteX77" fmla="*/ 310591 w 359004"/>
              <a:gd name="connsiteY77" fmla="*/ 69890 h 345141"/>
              <a:gd name="connsiteX78" fmla="*/ 310591 w 359004"/>
              <a:gd name="connsiteY78" fmla="*/ 258586 h 345141"/>
              <a:gd name="connsiteX79" fmla="*/ 322299 w 359004"/>
              <a:gd name="connsiteY79" fmla="*/ 258586 h 345141"/>
              <a:gd name="connsiteX80" fmla="*/ 345069 w 359004"/>
              <a:gd name="connsiteY80" fmla="*/ 235817 h 345141"/>
              <a:gd name="connsiteX81" fmla="*/ 345069 w 359004"/>
              <a:gd name="connsiteY81" fmla="*/ 37136 h 345141"/>
              <a:gd name="connsiteX82" fmla="*/ 322299 w 359004"/>
              <a:gd name="connsiteY82" fmla="*/ 14366 h 345141"/>
              <a:gd name="connsiteX83" fmla="*/ 102070 w 359004"/>
              <a:gd name="connsiteY83" fmla="*/ 0 h 345141"/>
              <a:gd name="connsiteX84" fmla="*/ 322299 w 359004"/>
              <a:gd name="connsiteY84" fmla="*/ 0 h 345141"/>
              <a:gd name="connsiteX85" fmla="*/ 359004 w 359004"/>
              <a:gd name="connsiteY85" fmla="*/ 37136 h 345141"/>
              <a:gd name="connsiteX86" fmla="*/ 359004 w 359004"/>
              <a:gd name="connsiteY86" fmla="*/ 235817 h 345141"/>
              <a:gd name="connsiteX87" fmla="*/ 321869 w 359004"/>
              <a:gd name="connsiteY87" fmla="*/ 272952 h 345141"/>
              <a:gd name="connsiteX88" fmla="*/ 310160 w 359004"/>
              <a:gd name="connsiteY88" fmla="*/ 272952 h 345141"/>
              <a:gd name="connsiteX89" fmla="*/ 310160 w 359004"/>
              <a:gd name="connsiteY89" fmla="*/ 279632 h 345141"/>
              <a:gd name="connsiteX90" fmla="*/ 285308 w 359004"/>
              <a:gd name="connsiteY90" fmla="*/ 304055 h 345141"/>
              <a:gd name="connsiteX91" fmla="*/ 216064 w 359004"/>
              <a:gd name="connsiteY91" fmla="*/ 304055 h 345141"/>
              <a:gd name="connsiteX92" fmla="*/ 208881 w 359004"/>
              <a:gd name="connsiteY92" fmla="*/ 306856 h 345141"/>
              <a:gd name="connsiteX93" fmla="*/ 174762 w 359004"/>
              <a:gd name="connsiteY93" fmla="*/ 338533 h 345141"/>
              <a:gd name="connsiteX94" fmla="*/ 157738 w 359004"/>
              <a:gd name="connsiteY94" fmla="*/ 345141 h 345141"/>
              <a:gd name="connsiteX95" fmla="*/ 140067 w 359004"/>
              <a:gd name="connsiteY95" fmla="*/ 337958 h 345141"/>
              <a:gd name="connsiteX96" fmla="*/ 109325 w 359004"/>
              <a:gd name="connsiteY96" fmla="*/ 307215 h 345141"/>
              <a:gd name="connsiteX97" fmla="*/ 102142 w 359004"/>
              <a:gd name="connsiteY97" fmla="*/ 304127 h 345141"/>
              <a:gd name="connsiteX98" fmla="*/ 24781 w 359004"/>
              <a:gd name="connsiteY98" fmla="*/ 304127 h 345141"/>
              <a:gd name="connsiteX99" fmla="*/ 0 w 359004"/>
              <a:gd name="connsiteY99" fmla="*/ 279704 h 345141"/>
              <a:gd name="connsiteX100" fmla="*/ 0 w 359004"/>
              <a:gd name="connsiteY100" fmla="*/ 69890 h 345141"/>
              <a:gd name="connsiteX101" fmla="*/ 24781 w 359004"/>
              <a:gd name="connsiteY101" fmla="*/ 45396 h 345141"/>
              <a:gd name="connsiteX102" fmla="*/ 64934 w 359004"/>
              <a:gd name="connsiteY102" fmla="*/ 45396 h 345141"/>
              <a:gd name="connsiteX103" fmla="*/ 64934 w 359004"/>
              <a:gd name="connsiteY103" fmla="*/ 37136 h 345141"/>
              <a:gd name="connsiteX104" fmla="*/ 102070 w 359004"/>
              <a:gd name="connsiteY104" fmla="*/ 0 h 3451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59004" h="345141">
                <a:moveTo>
                  <a:pt x="152925" y="125701"/>
                </a:moveTo>
                <a:cubicBezTo>
                  <a:pt x="139709" y="125859"/>
                  <a:pt x="129006" y="136584"/>
                  <a:pt x="128863" y="149836"/>
                </a:cubicBezTo>
                <a:cubicBezTo>
                  <a:pt x="129006" y="163326"/>
                  <a:pt x="140068" y="174129"/>
                  <a:pt x="153572" y="173971"/>
                </a:cubicBezTo>
                <a:lnTo>
                  <a:pt x="155655" y="173971"/>
                </a:lnTo>
                <a:lnTo>
                  <a:pt x="155871" y="173971"/>
                </a:lnTo>
                <a:cubicBezTo>
                  <a:pt x="169087" y="173741"/>
                  <a:pt x="179718" y="163003"/>
                  <a:pt x="179861" y="149764"/>
                </a:cubicBezTo>
                <a:cubicBezTo>
                  <a:pt x="179646" y="136447"/>
                  <a:pt x="168799" y="125737"/>
                  <a:pt x="155511" y="125701"/>
                </a:cubicBezTo>
                <a:lnTo>
                  <a:pt x="153931" y="125701"/>
                </a:lnTo>
                <a:close/>
                <a:moveTo>
                  <a:pt x="153572" y="111407"/>
                </a:moveTo>
                <a:lnTo>
                  <a:pt x="155081" y="111407"/>
                </a:lnTo>
                <a:cubicBezTo>
                  <a:pt x="176486" y="111206"/>
                  <a:pt x="194012" y="128417"/>
                  <a:pt x="194227" y="149836"/>
                </a:cubicBezTo>
                <a:cubicBezTo>
                  <a:pt x="194012" y="171270"/>
                  <a:pt x="176486" y="188495"/>
                  <a:pt x="155081" y="188337"/>
                </a:cubicBezTo>
                <a:lnTo>
                  <a:pt x="153572" y="188337"/>
                </a:lnTo>
                <a:cubicBezTo>
                  <a:pt x="132166" y="188495"/>
                  <a:pt x="114640" y="171256"/>
                  <a:pt x="114497" y="149836"/>
                </a:cubicBezTo>
                <a:cubicBezTo>
                  <a:pt x="114712" y="128446"/>
                  <a:pt x="132166" y="111249"/>
                  <a:pt x="153572" y="111407"/>
                </a:cubicBezTo>
                <a:close/>
                <a:moveTo>
                  <a:pt x="154505" y="100345"/>
                </a:moveTo>
                <a:cubicBezTo>
                  <a:pt x="151273" y="100331"/>
                  <a:pt x="148040" y="100596"/>
                  <a:pt x="144808" y="101135"/>
                </a:cubicBezTo>
                <a:cubicBezTo>
                  <a:pt x="125701" y="104238"/>
                  <a:pt x="110186" y="118310"/>
                  <a:pt x="105230" y="137050"/>
                </a:cubicBezTo>
                <a:cubicBezTo>
                  <a:pt x="99699" y="157773"/>
                  <a:pt x="108247" y="179688"/>
                  <a:pt x="126348" y="191209"/>
                </a:cubicBezTo>
                <a:lnTo>
                  <a:pt x="138702" y="199254"/>
                </a:lnTo>
                <a:lnTo>
                  <a:pt x="124337" y="203995"/>
                </a:lnTo>
                <a:cubicBezTo>
                  <a:pt x="106451" y="210086"/>
                  <a:pt x="91008" y="221744"/>
                  <a:pt x="80233" y="237253"/>
                </a:cubicBezTo>
                <a:cubicBezTo>
                  <a:pt x="79371" y="238409"/>
                  <a:pt x="79155" y="239910"/>
                  <a:pt x="79587" y="241275"/>
                </a:cubicBezTo>
                <a:cubicBezTo>
                  <a:pt x="80017" y="242683"/>
                  <a:pt x="81167" y="243803"/>
                  <a:pt x="82531" y="244292"/>
                </a:cubicBezTo>
                <a:lnTo>
                  <a:pt x="84255" y="244938"/>
                </a:lnTo>
                <a:cubicBezTo>
                  <a:pt x="86482" y="245678"/>
                  <a:pt x="88924" y="244859"/>
                  <a:pt x="90289" y="242927"/>
                </a:cubicBezTo>
                <a:cubicBezTo>
                  <a:pt x="105014" y="222355"/>
                  <a:pt x="128862" y="210201"/>
                  <a:pt x="154146" y="210316"/>
                </a:cubicBezTo>
                <a:lnTo>
                  <a:pt x="155726" y="210316"/>
                </a:lnTo>
                <a:cubicBezTo>
                  <a:pt x="181010" y="210252"/>
                  <a:pt x="204713" y="222398"/>
                  <a:pt x="219439" y="242927"/>
                </a:cubicBezTo>
                <a:cubicBezTo>
                  <a:pt x="220803" y="244859"/>
                  <a:pt x="223246" y="245678"/>
                  <a:pt x="225472" y="244938"/>
                </a:cubicBezTo>
                <a:lnTo>
                  <a:pt x="227196" y="244292"/>
                </a:lnTo>
                <a:cubicBezTo>
                  <a:pt x="228561" y="243803"/>
                  <a:pt x="229710" y="242683"/>
                  <a:pt x="230141" y="241275"/>
                </a:cubicBezTo>
                <a:cubicBezTo>
                  <a:pt x="230644" y="239960"/>
                  <a:pt x="230573" y="238481"/>
                  <a:pt x="229854" y="237253"/>
                </a:cubicBezTo>
                <a:cubicBezTo>
                  <a:pt x="219079" y="221723"/>
                  <a:pt x="203565" y="210065"/>
                  <a:pt x="185679" y="203995"/>
                </a:cubicBezTo>
                <a:lnTo>
                  <a:pt x="171744" y="199254"/>
                </a:lnTo>
                <a:lnTo>
                  <a:pt x="184098" y="191209"/>
                </a:lnTo>
                <a:cubicBezTo>
                  <a:pt x="202200" y="179674"/>
                  <a:pt x="210676" y="157773"/>
                  <a:pt x="205217" y="137050"/>
                </a:cubicBezTo>
                <a:cubicBezTo>
                  <a:pt x="200260" y="118310"/>
                  <a:pt x="184746" y="104238"/>
                  <a:pt x="165639" y="101135"/>
                </a:cubicBezTo>
                <a:cubicBezTo>
                  <a:pt x="162191" y="100568"/>
                  <a:pt x="158743" y="100302"/>
                  <a:pt x="155295" y="100345"/>
                </a:cubicBezTo>
                <a:close/>
                <a:moveTo>
                  <a:pt x="154648" y="85907"/>
                </a:moveTo>
                <a:cubicBezTo>
                  <a:pt x="158958" y="85871"/>
                  <a:pt x="163340" y="86209"/>
                  <a:pt x="167578" y="86913"/>
                </a:cubicBezTo>
                <a:cubicBezTo>
                  <a:pt x="192287" y="91007"/>
                  <a:pt x="212256" y="109281"/>
                  <a:pt x="218505" y="133531"/>
                </a:cubicBezTo>
                <a:cubicBezTo>
                  <a:pt x="224395" y="155675"/>
                  <a:pt x="217859" y="179264"/>
                  <a:pt x="201410" y="195232"/>
                </a:cubicBezTo>
                <a:cubicBezTo>
                  <a:pt x="217284" y="202882"/>
                  <a:pt x="230931" y="214511"/>
                  <a:pt x="240988" y="228992"/>
                </a:cubicBezTo>
                <a:cubicBezTo>
                  <a:pt x="244364" y="233833"/>
                  <a:pt x="245297" y="239953"/>
                  <a:pt x="243574" y="245585"/>
                </a:cubicBezTo>
                <a:cubicBezTo>
                  <a:pt x="241778" y="251252"/>
                  <a:pt x="237468" y="255763"/>
                  <a:pt x="231865" y="257796"/>
                </a:cubicBezTo>
                <a:lnTo>
                  <a:pt x="230141" y="258442"/>
                </a:lnTo>
                <a:cubicBezTo>
                  <a:pt x="221809" y="261416"/>
                  <a:pt x="212544" y="258478"/>
                  <a:pt x="207443" y="251259"/>
                </a:cubicBezTo>
                <a:cubicBezTo>
                  <a:pt x="195232" y="234300"/>
                  <a:pt x="175551" y="224373"/>
                  <a:pt x="154648" y="224682"/>
                </a:cubicBezTo>
                <a:cubicBezTo>
                  <a:pt x="133674" y="224251"/>
                  <a:pt x="113850" y="234199"/>
                  <a:pt x="101710" y="251259"/>
                </a:cubicBezTo>
                <a:cubicBezTo>
                  <a:pt x="97975" y="256459"/>
                  <a:pt x="92013" y="259555"/>
                  <a:pt x="85620" y="259591"/>
                </a:cubicBezTo>
                <a:cubicBezTo>
                  <a:pt x="83393" y="259598"/>
                  <a:pt x="81095" y="259210"/>
                  <a:pt x="79012" y="258442"/>
                </a:cubicBezTo>
                <a:lnTo>
                  <a:pt x="77288" y="257796"/>
                </a:lnTo>
                <a:cubicBezTo>
                  <a:pt x="71685" y="255763"/>
                  <a:pt x="67375" y="251252"/>
                  <a:pt x="65580" y="245585"/>
                </a:cubicBezTo>
                <a:cubicBezTo>
                  <a:pt x="63784" y="239953"/>
                  <a:pt x="64718" y="233804"/>
                  <a:pt x="68165" y="228992"/>
                </a:cubicBezTo>
                <a:cubicBezTo>
                  <a:pt x="78222" y="214511"/>
                  <a:pt x="91869" y="202875"/>
                  <a:pt x="107743" y="195232"/>
                </a:cubicBezTo>
                <a:cubicBezTo>
                  <a:pt x="91295" y="179264"/>
                  <a:pt x="84758" y="155675"/>
                  <a:pt x="90648" y="133531"/>
                </a:cubicBezTo>
                <a:cubicBezTo>
                  <a:pt x="96897" y="109274"/>
                  <a:pt x="116866" y="90993"/>
                  <a:pt x="141576" y="86913"/>
                </a:cubicBezTo>
                <a:cubicBezTo>
                  <a:pt x="145885" y="86202"/>
                  <a:pt x="150267" y="85864"/>
                  <a:pt x="154648" y="85907"/>
                </a:cubicBezTo>
                <a:close/>
                <a:moveTo>
                  <a:pt x="24781" y="59762"/>
                </a:moveTo>
                <a:cubicBezTo>
                  <a:pt x="19107" y="59719"/>
                  <a:pt x="14509" y="64237"/>
                  <a:pt x="14366" y="69890"/>
                </a:cubicBezTo>
                <a:lnTo>
                  <a:pt x="14366" y="280063"/>
                </a:lnTo>
                <a:cubicBezTo>
                  <a:pt x="14509" y="285709"/>
                  <a:pt x="19107" y="290199"/>
                  <a:pt x="24781" y="290120"/>
                </a:cubicBezTo>
                <a:lnTo>
                  <a:pt x="102142" y="290120"/>
                </a:lnTo>
                <a:cubicBezTo>
                  <a:pt x="108750" y="290091"/>
                  <a:pt x="115143" y="292670"/>
                  <a:pt x="119884" y="297303"/>
                </a:cubicBezTo>
                <a:lnTo>
                  <a:pt x="150555" y="328046"/>
                </a:lnTo>
                <a:cubicBezTo>
                  <a:pt x="154721" y="331968"/>
                  <a:pt x="161186" y="331968"/>
                  <a:pt x="165352" y="328046"/>
                </a:cubicBezTo>
                <a:lnTo>
                  <a:pt x="199471" y="296441"/>
                </a:lnTo>
                <a:cubicBezTo>
                  <a:pt x="204068" y="292145"/>
                  <a:pt x="210173" y="289761"/>
                  <a:pt x="216494" y="289761"/>
                </a:cubicBezTo>
                <a:lnTo>
                  <a:pt x="285738" y="289761"/>
                </a:lnTo>
                <a:cubicBezTo>
                  <a:pt x="291413" y="289840"/>
                  <a:pt x="296082" y="285357"/>
                  <a:pt x="296225" y="279704"/>
                </a:cubicBezTo>
                <a:lnTo>
                  <a:pt x="296225" y="69890"/>
                </a:lnTo>
                <a:cubicBezTo>
                  <a:pt x="296082" y="64222"/>
                  <a:pt x="291413" y="59719"/>
                  <a:pt x="285738" y="59762"/>
                </a:cubicBezTo>
                <a:close/>
                <a:moveTo>
                  <a:pt x="102070" y="14366"/>
                </a:moveTo>
                <a:cubicBezTo>
                  <a:pt x="89500" y="14366"/>
                  <a:pt x="79300" y="24558"/>
                  <a:pt x="79300" y="37136"/>
                </a:cubicBezTo>
                <a:lnTo>
                  <a:pt x="79300" y="45396"/>
                </a:lnTo>
                <a:lnTo>
                  <a:pt x="285738" y="45396"/>
                </a:lnTo>
                <a:cubicBezTo>
                  <a:pt x="299386" y="45317"/>
                  <a:pt x="310448" y="56271"/>
                  <a:pt x="310591" y="69890"/>
                </a:cubicBezTo>
                <a:lnTo>
                  <a:pt x="310591" y="258586"/>
                </a:lnTo>
                <a:lnTo>
                  <a:pt x="322299" y="258586"/>
                </a:lnTo>
                <a:cubicBezTo>
                  <a:pt x="334869" y="258586"/>
                  <a:pt x="345069" y="248394"/>
                  <a:pt x="345069" y="235817"/>
                </a:cubicBezTo>
                <a:lnTo>
                  <a:pt x="345069" y="37136"/>
                </a:lnTo>
                <a:cubicBezTo>
                  <a:pt x="345069" y="24558"/>
                  <a:pt x="334869" y="14366"/>
                  <a:pt x="322299" y="14366"/>
                </a:cubicBezTo>
                <a:close/>
                <a:moveTo>
                  <a:pt x="102070" y="0"/>
                </a:moveTo>
                <a:lnTo>
                  <a:pt x="322299" y="0"/>
                </a:lnTo>
                <a:cubicBezTo>
                  <a:pt x="342628" y="273"/>
                  <a:pt x="358933" y="16808"/>
                  <a:pt x="359004" y="37136"/>
                </a:cubicBezTo>
                <a:lnTo>
                  <a:pt x="359004" y="235817"/>
                </a:lnTo>
                <a:cubicBezTo>
                  <a:pt x="358933" y="256309"/>
                  <a:pt x="342340" y="272916"/>
                  <a:pt x="321869" y="272952"/>
                </a:cubicBezTo>
                <a:lnTo>
                  <a:pt x="310160" y="272952"/>
                </a:lnTo>
                <a:lnTo>
                  <a:pt x="310160" y="279632"/>
                </a:lnTo>
                <a:cubicBezTo>
                  <a:pt x="310017" y="293223"/>
                  <a:pt x="298883" y="304134"/>
                  <a:pt x="285308" y="304055"/>
                </a:cubicBezTo>
                <a:lnTo>
                  <a:pt x="216064" y="304055"/>
                </a:lnTo>
                <a:cubicBezTo>
                  <a:pt x="213406" y="304069"/>
                  <a:pt x="210820" y="305067"/>
                  <a:pt x="208881" y="306856"/>
                </a:cubicBezTo>
                <a:lnTo>
                  <a:pt x="174762" y="338533"/>
                </a:lnTo>
                <a:cubicBezTo>
                  <a:pt x="170093" y="342792"/>
                  <a:pt x="164059" y="345148"/>
                  <a:pt x="157738" y="345141"/>
                </a:cubicBezTo>
                <a:cubicBezTo>
                  <a:pt x="151129" y="345184"/>
                  <a:pt x="144737" y="342598"/>
                  <a:pt x="140067" y="337958"/>
                </a:cubicBezTo>
                <a:lnTo>
                  <a:pt x="109325" y="307215"/>
                </a:lnTo>
                <a:cubicBezTo>
                  <a:pt x="107385" y="305319"/>
                  <a:pt x="104872" y="304213"/>
                  <a:pt x="102142" y="304127"/>
                </a:cubicBezTo>
                <a:lnTo>
                  <a:pt x="24781" y="304127"/>
                </a:lnTo>
                <a:cubicBezTo>
                  <a:pt x="11206" y="304206"/>
                  <a:pt x="143" y="293280"/>
                  <a:pt x="0" y="279704"/>
                </a:cubicBezTo>
                <a:lnTo>
                  <a:pt x="0" y="69890"/>
                </a:lnTo>
                <a:cubicBezTo>
                  <a:pt x="143" y="56300"/>
                  <a:pt x="11206" y="45353"/>
                  <a:pt x="24781" y="45396"/>
                </a:cubicBezTo>
                <a:lnTo>
                  <a:pt x="64934" y="45396"/>
                </a:lnTo>
                <a:lnTo>
                  <a:pt x="64934" y="37136"/>
                </a:lnTo>
                <a:cubicBezTo>
                  <a:pt x="65006" y="16643"/>
                  <a:pt x="81598" y="36"/>
                  <a:pt x="102070"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Arial" panose="020F0502020204030204"/>
              <a:ea typeface="微软雅黑"/>
              <a:cs typeface="+mn-cs"/>
            </a:endParaRPr>
          </a:p>
        </p:txBody>
      </p:sp>
      <p:sp>
        <p:nvSpPr>
          <p:cNvPr id="188" name="Oval 168">
            <a:extLst>
              <a:ext uri="{FF2B5EF4-FFF2-40B4-BE49-F238E27FC236}">
                <a16:creationId xmlns:a16="http://schemas.microsoft.com/office/drawing/2014/main" id="{276E2B98-B2CD-44D4-A481-1C03907FD5B2}"/>
              </a:ext>
            </a:extLst>
          </p:cNvPr>
          <p:cNvSpPr/>
          <p:nvPr/>
        </p:nvSpPr>
        <p:spPr>
          <a:xfrm>
            <a:off x="9379515" y="5153935"/>
            <a:ext cx="229050" cy="220202"/>
          </a:xfrm>
          <a:custGeom>
            <a:avLst/>
            <a:gdLst>
              <a:gd name="connsiteX0" fmla="*/ 152925 w 359004"/>
              <a:gd name="connsiteY0" fmla="*/ 125701 h 345141"/>
              <a:gd name="connsiteX1" fmla="*/ 128863 w 359004"/>
              <a:gd name="connsiteY1" fmla="*/ 149836 h 345141"/>
              <a:gd name="connsiteX2" fmla="*/ 153572 w 359004"/>
              <a:gd name="connsiteY2" fmla="*/ 173971 h 345141"/>
              <a:gd name="connsiteX3" fmla="*/ 155655 w 359004"/>
              <a:gd name="connsiteY3" fmla="*/ 173971 h 345141"/>
              <a:gd name="connsiteX4" fmla="*/ 155871 w 359004"/>
              <a:gd name="connsiteY4" fmla="*/ 173971 h 345141"/>
              <a:gd name="connsiteX5" fmla="*/ 179861 w 359004"/>
              <a:gd name="connsiteY5" fmla="*/ 149764 h 345141"/>
              <a:gd name="connsiteX6" fmla="*/ 155511 w 359004"/>
              <a:gd name="connsiteY6" fmla="*/ 125701 h 345141"/>
              <a:gd name="connsiteX7" fmla="*/ 153931 w 359004"/>
              <a:gd name="connsiteY7" fmla="*/ 125701 h 345141"/>
              <a:gd name="connsiteX8" fmla="*/ 153572 w 359004"/>
              <a:gd name="connsiteY8" fmla="*/ 111407 h 345141"/>
              <a:gd name="connsiteX9" fmla="*/ 155081 w 359004"/>
              <a:gd name="connsiteY9" fmla="*/ 111407 h 345141"/>
              <a:gd name="connsiteX10" fmla="*/ 194227 w 359004"/>
              <a:gd name="connsiteY10" fmla="*/ 149836 h 345141"/>
              <a:gd name="connsiteX11" fmla="*/ 155081 w 359004"/>
              <a:gd name="connsiteY11" fmla="*/ 188337 h 345141"/>
              <a:gd name="connsiteX12" fmla="*/ 153572 w 359004"/>
              <a:gd name="connsiteY12" fmla="*/ 188337 h 345141"/>
              <a:gd name="connsiteX13" fmla="*/ 114497 w 359004"/>
              <a:gd name="connsiteY13" fmla="*/ 149836 h 345141"/>
              <a:gd name="connsiteX14" fmla="*/ 153572 w 359004"/>
              <a:gd name="connsiteY14" fmla="*/ 111407 h 345141"/>
              <a:gd name="connsiteX15" fmla="*/ 154505 w 359004"/>
              <a:gd name="connsiteY15" fmla="*/ 100345 h 345141"/>
              <a:gd name="connsiteX16" fmla="*/ 144808 w 359004"/>
              <a:gd name="connsiteY16" fmla="*/ 101135 h 345141"/>
              <a:gd name="connsiteX17" fmla="*/ 105230 w 359004"/>
              <a:gd name="connsiteY17" fmla="*/ 137050 h 345141"/>
              <a:gd name="connsiteX18" fmla="*/ 126348 w 359004"/>
              <a:gd name="connsiteY18" fmla="*/ 191209 h 345141"/>
              <a:gd name="connsiteX19" fmla="*/ 138702 w 359004"/>
              <a:gd name="connsiteY19" fmla="*/ 199254 h 345141"/>
              <a:gd name="connsiteX20" fmla="*/ 124337 w 359004"/>
              <a:gd name="connsiteY20" fmla="*/ 203995 h 345141"/>
              <a:gd name="connsiteX21" fmla="*/ 80233 w 359004"/>
              <a:gd name="connsiteY21" fmla="*/ 237253 h 345141"/>
              <a:gd name="connsiteX22" fmla="*/ 79587 w 359004"/>
              <a:gd name="connsiteY22" fmla="*/ 241275 h 345141"/>
              <a:gd name="connsiteX23" fmla="*/ 82531 w 359004"/>
              <a:gd name="connsiteY23" fmla="*/ 244292 h 345141"/>
              <a:gd name="connsiteX24" fmla="*/ 84255 w 359004"/>
              <a:gd name="connsiteY24" fmla="*/ 244938 h 345141"/>
              <a:gd name="connsiteX25" fmla="*/ 90289 w 359004"/>
              <a:gd name="connsiteY25" fmla="*/ 242927 h 345141"/>
              <a:gd name="connsiteX26" fmla="*/ 154146 w 359004"/>
              <a:gd name="connsiteY26" fmla="*/ 210316 h 345141"/>
              <a:gd name="connsiteX27" fmla="*/ 155726 w 359004"/>
              <a:gd name="connsiteY27" fmla="*/ 210316 h 345141"/>
              <a:gd name="connsiteX28" fmla="*/ 219439 w 359004"/>
              <a:gd name="connsiteY28" fmla="*/ 242927 h 345141"/>
              <a:gd name="connsiteX29" fmla="*/ 225472 w 359004"/>
              <a:gd name="connsiteY29" fmla="*/ 244938 h 345141"/>
              <a:gd name="connsiteX30" fmla="*/ 227196 w 359004"/>
              <a:gd name="connsiteY30" fmla="*/ 244292 h 345141"/>
              <a:gd name="connsiteX31" fmla="*/ 230141 w 359004"/>
              <a:gd name="connsiteY31" fmla="*/ 241275 h 345141"/>
              <a:gd name="connsiteX32" fmla="*/ 229854 w 359004"/>
              <a:gd name="connsiteY32" fmla="*/ 237253 h 345141"/>
              <a:gd name="connsiteX33" fmla="*/ 185679 w 359004"/>
              <a:gd name="connsiteY33" fmla="*/ 203995 h 345141"/>
              <a:gd name="connsiteX34" fmla="*/ 171744 w 359004"/>
              <a:gd name="connsiteY34" fmla="*/ 199254 h 345141"/>
              <a:gd name="connsiteX35" fmla="*/ 184098 w 359004"/>
              <a:gd name="connsiteY35" fmla="*/ 191209 h 345141"/>
              <a:gd name="connsiteX36" fmla="*/ 205217 w 359004"/>
              <a:gd name="connsiteY36" fmla="*/ 137050 h 345141"/>
              <a:gd name="connsiteX37" fmla="*/ 165639 w 359004"/>
              <a:gd name="connsiteY37" fmla="*/ 101135 h 345141"/>
              <a:gd name="connsiteX38" fmla="*/ 155295 w 359004"/>
              <a:gd name="connsiteY38" fmla="*/ 100345 h 345141"/>
              <a:gd name="connsiteX39" fmla="*/ 154648 w 359004"/>
              <a:gd name="connsiteY39" fmla="*/ 85907 h 345141"/>
              <a:gd name="connsiteX40" fmla="*/ 167578 w 359004"/>
              <a:gd name="connsiteY40" fmla="*/ 86913 h 345141"/>
              <a:gd name="connsiteX41" fmla="*/ 218505 w 359004"/>
              <a:gd name="connsiteY41" fmla="*/ 133531 h 345141"/>
              <a:gd name="connsiteX42" fmla="*/ 201410 w 359004"/>
              <a:gd name="connsiteY42" fmla="*/ 195232 h 345141"/>
              <a:gd name="connsiteX43" fmla="*/ 240988 w 359004"/>
              <a:gd name="connsiteY43" fmla="*/ 228992 h 345141"/>
              <a:gd name="connsiteX44" fmla="*/ 243574 w 359004"/>
              <a:gd name="connsiteY44" fmla="*/ 245585 h 345141"/>
              <a:gd name="connsiteX45" fmla="*/ 231865 w 359004"/>
              <a:gd name="connsiteY45" fmla="*/ 257796 h 345141"/>
              <a:gd name="connsiteX46" fmla="*/ 230141 w 359004"/>
              <a:gd name="connsiteY46" fmla="*/ 258442 h 345141"/>
              <a:gd name="connsiteX47" fmla="*/ 207443 w 359004"/>
              <a:gd name="connsiteY47" fmla="*/ 251259 h 345141"/>
              <a:gd name="connsiteX48" fmla="*/ 154648 w 359004"/>
              <a:gd name="connsiteY48" fmla="*/ 224682 h 345141"/>
              <a:gd name="connsiteX49" fmla="*/ 101710 w 359004"/>
              <a:gd name="connsiteY49" fmla="*/ 251259 h 345141"/>
              <a:gd name="connsiteX50" fmla="*/ 85620 w 359004"/>
              <a:gd name="connsiteY50" fmla="*/ 259591 h 345141"/>
              <a:gd name="connsiteX51" fmla="*/ 79012 w 359004"/>
              <a:gd name="connsiteY51" fmla="*/ 258442 h 345141"/>
              <a:gd name="connsiteX52" fmla="*/ 77288 w 359004"/>
              <a:gd name="connsiteY52" fmla="*/ 257796 h 345141"/>
              <a:gd name="connsiteX53" fmla="*/ 65580 w 359004"/>
              <a:gd name="connsiteY53" fmla="*/ 245585 h 345141"/>
              <a:gd name="connsiteX54" fmla="*/ 68165 w 359004"/>
              <a:gd name="connsiteY54" fmla="*/ 228992 h 345141"/>
              <a:gd name="connsiteX55" fmla="*/ 107743 w 359004"/>
              <a:gd name="connsiteY55" fmla="*/ 195232 h 345141"/>
              <a:gd name="connsiteX56" fmla="*/ 90648 w 359004"/>
              <a:gd name="connsiteY56" fmla="*/ 133531 h 345141"/>
              <a:gd name="connsiteX57" fmla="*/ 141576 w 359004"/>
              <a:gd name="connsiteY57" fmla="*/ 86913 h 345141"/>
              <a:gd name="connsiteX58" fmla="*/ 154648 w 359004"/>
              <a:gd name="connsiteY58" fmla="*/ 85907 h 345141"/>
              <a:gd name="connsiteX59" fmla="*/ 24781 w 359004"/>
              <a:gd name="connsiteY59" fmla="*/ 59762 h 345141"/>
              <a:gd name="connsiteX60" fmla="*/ 14366 w 359004"/>
              <a:gd name="connsiteY60" fmla="*/ 69890 h 345141"/>
              <a:gd name="connsiteX61" fmla="*/ 14366 w 359004"/>
              <a:gd name="connsiteY61" fmla="*/ 280063 h 345141"/>
              <a:gd name="connsiteX62" fmla="*/ 24781 w 359004"/>
              <a:gd name="connsiteY62" fmla="*/ 290120 h 345141"/>
              <a:gd name="connsiteX63" fmla="*/ 102142 w 359004"/>
              <a:gd name="connsiteY63" fmla="*/ 290120 h 345141"/>
              <a:gd name="connsiteX64" fmla="*/ 119884 w 359004"/>
              <a:gd name="connsiteY64" fmla="*/ 297303 h 345141"/>
              <a:gd name="connsiteX65" fmla="*/ 150555 w 359004"/>
              <a:gd name="connsiteY65" fmla="*/ 328046 h 345141"/>
              <a:gd name="connsiteX66" fmla="*/ 165352 w 359004"/>
              <a:gd name="connsiteY66" fmla="*/ 328046 h 345141"/>
              <a:gd name="connsiteX67" fmla="*/ 199471 w 359004"/>
              <a:gd name="connsiteY67" fmla="*/ 296441 h 345141"/>
              <a:gd name="connsiteX68" fmla="*/ 216494 w 359004"/>
              <a:gd name="connsiteY68" fmla="*/ 289761 h 345141"/>
              <a:gd name="connsiteX69" fmla="*/ 285738 w 359004"/>
              <a:gd name="connsiteY69" fmla="*/ 289761 h 345141"/>
              <a:gd name="connsiteX70" fmla="*/ 296225 w 359004"/>
              <a:gd name="connsiteY70" fmla="*/ 279704 h 345141"/>
              <a:gd name="connsiteX71" fmla="*/ 296225 w 359004"/>
              <a:gd name="connsiteY71" fmla="*/ 69890 h 345141"/>
              <a:gd name="connsiteX72" fmla="*/ 285738 w 359004"/>
              <a:gd name="connsiteY72" fmla="*/ 59762 h 345141"/>
              <a:gd name="connsiteX73" fmla="*/ 102070 w 359004"/>
              <a:gd name="connsiteY73" fmla="*/ 14366 h 345141"/>
              <a:gd name="connsiteX74" fmla="*/ 79300 w 359004"/>
              <a:gd name="connsiteY74" fmla="*/ 37136 h 345141"/>
              <a:gd name="connsiteX75" fmla="*/ 79300 w 359004"/>
              <a:gd name="connsiteY75" fmla="*/ 45396 h 345141"/>
              <a:gd name="connsiteX76" fmla="*/ 285738 w 359004"/>
              <a:gd name="connsiteY76" fmla="*/ 45396 h 345141"/>
              <a:gd name="connsiteX77" fmla="*/ 310591 w 359004"/>
              <a:gd name="connsiteY77" fmla="*/ 69890 h 345141"/>
              <a:gd name="connsiteX78" fmla="*/ 310591 w 359004"/>
              <a:gd name="connsiteY78" fmla="*/ 258586 h 345141"/>
              <a:gd name="connsiteX79" fmla="*/ 322299 w 359004"/>
              <a:gd name="connsiteY79" fmla="*/ 258586 h 345141"/>
              <a:gd name="connsiteX80" fmla="*/ 345069 w 359004"/>
              <a:gd name="connsiteY80" fmla="*/ 235817 h 345141"/>
              <a:gd name="connsiteX81" fmla="*/ 345069 w 359004"/>
              <a:gd name="connsiteY81" fmla="*/ 37136 h 345141"/>
              <a:gd name="connsiteX82" fmla="*/ 322299 w 359004"/>
              <a:gd name="connsiteY82" fmla="*/ 14366 h 345141"/>
              <a:gd name="connsiteX83" fmla="*/ 102070 w 359004"/>
              <a:gd name="connsiteY83" fmla="*/ 0 h 345141"/>
              <a:gd name="connsiteX84" fmla="*/ 322299 w 359004"/>
              <a:gd name="connsiteY84" fmla="*/ 0 h 345141"/>
              <a:gd name="connsiteX85" fmla="*/ 359004 w 359004"/>
              <a:gd name="connsiteY85" fmla="*/ 37136 h 345141"/>
              <a:gd name="connsiteX86" fmla="*/ 359004 w 359004"/>
              <a:gd name="connsiteY86" fmla="*/ 235817 h 345141"/>
              <a:gd name="connsiteX87" fmla="*/ 321869 w 359004"/>
              <a:gd name="connsiteY87" fmla="*/ 272952 h 345141"/>
              <a:gd name="connsiteX88" fmla="*/ 310160 w 359004"/>
              <a:gd name="connsiteY88" fmla="*/ 272952 h 345141"/>
              <a:gd name="connsiteX89" fmla="*/ 310160 w 359004"/>
              <a:gd name="connsiteY89" fmla="*/ 279632 h 345141"/>
              <a:gd name="connsiteX90" fmla="*/ 285308 w 359004"/>
              <a:gd name="connsiteY90" fmla="*/ 304055 h 345141"/>
              <a:gd name="connsiteX91" fmla="*/ 216064 w 359004"/>
              <a:gd name="connsiteY91" fmla="*/ 304055 h 345141"/>
              <a:gd name="connsiteX92" fmla="*/ 208881 w 359004"/>
              <a:gd name="connsiteY92" fmla="*/ 306856 h 345141"/>
              <a:gd name="connsiteX93" fmla="*/ 174762 w 359004"/>
              <a:gd name="connsiteY93" fmla="*/ 338533 h 345141"/>
              <a:gd name="connsiteX94" fmla="*/ 157738 w 359004"/>
              <a:gd name="connsiteY94" fmla="*/ 345141 h 345141"/>
              <a:gd name="connsiteX95" fmla="*/ 140067 w 359004"/>
              <a:gd name="connsiteY95" fmla="*/ 337958 h 345141"/>
              <a:gd name="connsiteX96" fmla="*/ 109325 w 359004"/>
              <a:gd name="connsiteY96" fmla="*/ 307215 h 345141"/>
              <a:gd name="connsiteX97" fmla="*/ 102142 w 359004"/>
              <a:gd name="connsiteY97" fmla="*/ 304127 h 345141"/>
              <a:gd name="connsiteX98" fmla="*/ 24781 w 359004"/>
              <a:gd name="connsiteY98" fmla="*/ 304127 h 345141"/>
              <a:gd name="connsiteX99" fmla="*/ 0 w 359004"/>
              <a:gd name="connsiteY99" fmla="*/ 279704 h 345141"/>
              <a:gd name="connsiteX100" fmla="*/ 0 w 359004"/>
              <a:gd name="connsiteY100" fmla="*/ 69890 h 345141"/>
              <a:gd name="connsiteX101" fmla="*/ 24781 w 359004"/>
              <a:gd name="connsiteY101" fmla="*/ 45396 h 345141"/>
              <a:gd name="connsiteX102" fmla="*/ 64934 w 359004"/>
              <a:gd name="connsiteY102" fmla="*/ 45396 h 345141"/>
              <a:gd name="connsiteX103" fmla="*/ 64934 w 359004"/>
              <a:gd name="connsiteY103" fmla="*/ 37136 h 345141"/>
              <a:gd name="connsiteX104" fmla="*/ 102070 w 359004"/>
              <a:gd name="connsiteY104" fmla="*/ 0 h 3451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59004" h="345141">
                <a:moveTo>
                  <a:pt x="152925" y="125701"/>
                </a:moveTo>
                <a:cubicBezTo>
                  <a:pt x="139709" y="125859"/>
                  <a:pt x="129006" y="136584"/>
                  <a:pt x="128863" y="149836"/>
                </a:cubicBezTo>
                <a:cubicBezTo>
                  <a:pt x="129006" y="163326"/>
                  <a:pt x="140068" y="174129"/>
                  <a:pt x="153572" y="173971"/>
                </a:cubicBezTo>
                <a:lnTo>
                  <a:pt x="155655" y="173971"/>
                </a:lnTo>
                <a:lnTo>
                  <a:pt x="155871" y="173971"/>
                </a:lnTo>
                <a:cubicBezTo>
                  <a:pt x="169087" y="173741"/>
                  <a:pt x="179718" y="163003"/>
                  <a:pt x="179861" y="149764"/>
                </a:cubicBezTo>
                <a:cubicBezTo>
                  <a:pt x="179646" y="136447"/>
                  <a:pt x="168799" y="125737"/>
                  <a:pt x="155511" y="125701"/>
                </a:cubicBezTo>
                <a:lnTo>
                  <a:pt x="153931" y="125701"/>
                </a:lnTo>
                <a:close/>
                <a:moveTo>
                  <a:pt x="153572" y="111407"/>
                </a:moveTo>
                <a:lnTo>
                  <a:pt x="155081" y="111407"/>
                </a:lnTo>
                <a:cubicBezTo>
                  <a:pt x="176486" y="111206"/>
                  <a:pt x="194012" y="128417"/>
                  <a:pt x="194227" y="149836"/>
                </a:cubicBezTo>
                <a:cubicBezTo>
                  <a:pt x="194012" y="171270"/>
                  <a:pt x="176486" y="188495"/>
                  <a:pt x="155081" y="188337"/>
                </a:cubicBezTo>
                <a:lnTo>
                  <a:pt x="153572" y="188337"/>
                </a:lnTo>
                <a:cubicBezTo>
                  <a:pt x="132166" y="188495"/>
                  <a:pt x="114640" y="171256"/>
                  <a:pt x="114497" y="149836"/>
                </a:cubicBezTo>
                <a:cubicBezTo>
                  <a:pt x="114712" y="128446"/>
                  <a:pt x="132166" y="111249"/>
                  <a:pt x="153572" y="111407"/>
                </a:cubicBezTo>
                <a:close/>
                <a:moveTo>
                  <a:pt x="154505" y="100345"/>
                </a:moveTo>
                <a:cubicBezTo>
                  <a:pt x="151273" y="100331"/>
                  <a:pt x="148040" y="100596"/>
                  <a:pt x="144808" y="101135"/>
                </a:cubicBezTo>
                <a:cubicBezTo>
                  <a:pt x="125701" y="104238"/>
                  <a:pt x="110186" y="118310"/>
                  <a:pt x="105230" y="137050"/>
                </a:cubicBezTo>
                <a:cubicBezTo>
                  <a:pt x="99699" y="157773"/>
                  <a:pt x="108247" y="179688"/>
                  <a:pt x="126348" y="191209"/>
                </a:cubicBezTo>
                <a:lnTo>
                  <a:pt x="138702" y="199254"/>
                </a:lnTo>
                <a:lnTo>
                  <a:pt x="124337" y="203995"/>
                </a:lnTo>
                <a:cubicBezTo>
                  <a:pt x="106451" y="210086"/>
                  <a:pt x="91008" y="221744"/>
                  <a:pt x="80233" y="237253"/>
                </a:cubicBezTo>
                <a:cubicBezTo>
                  <a:pt x="79371" y="238409"/>
                  <a:pt x="79155" y="239910"/>
                  <a:pt x="79587" y="241275"/>
                </a:cubicBezTo>
                <a:cubicBezTo>
                  <a:pt x="80017" y="242683"/>
                  <a:pt x="81167" y="243803"/>
                  <a:pt x="82531" y="244292"/>
                </a:cubicBezTo>
                <a:lnTo>
                  <a:pt x="84255" y="244938"/>
                </a:lnTo>
                <a:cubicBezTo>
                  <a:pt x="86482" y="245678"/>
                  <a:pt x="88924" y="244859"/>
                  <a:pt x="90289" y="242927"/>
                </a:cubicBezTo>
                <a:cubicBezTo>
                  <a:pt x="105014" y="222355"/>
                  <a:pt x="128862" y="210201"/>
                  <a:pt x="154146" y="210316"/>
                </a:cubicBezTo>
                <a:lnTo>
                  <a:pt x="155726" y="210316"/>
                </a:lnTo>
                <a:cubicBezTo>
                  <a:pt x="181010" y="210252"/>
                  <a:pt x="204713" y="222398"/>
                  <a:pt x="219439" y="242927"/>
                </a:cubicBezTo>
                <a:cubicBezTo>
                  <a:pt x="220803" y="244859"/>
                  <a:pt x="223246" y="245678"/>
                  <a:pt x="225472" y="244938"/>
                </a:cubicBezTo>
                <a:lnTo>
                  <a:pt x="227196" y="244292"/>
                </a:lnTo>
                <a:cubicBezTo>
                  <a:pt x="228561" y="243803"/>
                  <a:pt x="229710" y="242683"/>
                  <a:pt x="230141" y="241275"/>
                </a:cubicBezTo>
                <a:cubicBezTo>
                  <a:pt x="230644" y="239960"/>
                  <a:pt x="230573" y="238481"/>
                  <a:pt x="229854" y="237253"/>
                </a:cubicBezTo>
                <a:cubicBezTo>
                  <a:pt x="219079" y="221723"/>
                  <a:pt x="203565" y="210065"/>
                  <a:pt x="185679" y="203995"/>
                </a:cubicBezTo>
                <a:lnTo>
                  <a:pt x="171744" y="199254"/>
                </a:lnTo>
                <a:lnTo>
                  <a:pt x="184098" y="191209"/>
                </a:lnTo>
                <a:cubicBezTo>
                  <a:pt x="202200" y="179674"/>
                  <a:pt x="210676" y="157773"/>
                  <a:pt x="205217" y="137050"/>
                </a:cubicBezTo>
                <a:cubicBezTo>
                  <a:pt x="200260" y="118310"/>
                  <a:pt x="184746" y="104238"/>
                  <a:pt x="165639" y="101135"/>
                </a:cubicBezTo>
                <a:cubicBezTo>
                  <a:pt x="162191" y="100568"/>
                  <a:pt x="158743" y="100302"/>
                  <a:pt x="155295" y="100345"/>
                </a:cubicBezTo>
                <a:close/>
                <a:moveTo>
                  <a:pt x="154648" y="85907"/>
                </a:moveTo>
                <a:cubicBezTo>
                  <a:pt x="158958" y="85871"/>
                  <a:pt x="163340" y="86209"/>
                  <a:pt x="167578" y="86913"/>
                </a:cubicBezTo>
                <a:cubicBezTo>
                  <a:pt x="192287" y="91007"/>
                  <a:pt x="212256" y="109281"/>
                  <a:pt x="218505" y="133531"/>
                </a:cubicBezTo>
                <a:cubicBezTo>
                  <a:pt x="224395" y="155675"/>
                  <a:pt x="217859" y="179264"/>
                  <a:pt x="201410" y="195232"/>
                </a:cubicBezTo>
                <a:cubicBezTo>
                  <a:pt x="217284" y="202882"/>
                  <a:pt x="230931" y="214511"/>
                  <a:pt x="240988" y="228992"/>
                </a:cubicBezTo>
                <a:cubicBezTo>
                  <a:pt x="244364" y="233833"/>
                  <a:pt x="245297" y="239953"/>
                  <a:pt x="243574" y="245585"/>
                </a:cubicBezTo>
                <a:cubicBezTo>
                  <a:pt x="241778" y="251252"/>
                  <a:pt x="237468" y="255763"/>
                  <a:pt x="231865" y="257796"/>
                </a:cubicBezTo>
                <a:lnTo>
                  <a:pt x="230141" y="258442"/>
                </a:lnTo>
                <a:cubicBezTo>
                  <a:pt x="221809" y="261416"/>
                  <a:pt x="212544" y="258478"/>
                  <a:pt x="207443" y="251259"/>
                </a:cubicBezTo>
                <a:cubicBezTo>
                  <a:pt x="195232" y="234300"/>
                  <a:pt x="175551" y="224373"/>
                  <a:pt x="154648" y="224682"/>
                </a:cubicBezTo>
                <a:cubicBezTo>
                  <a:pt x="133674" y="224251"/>
                  <a:pt x="113850" y="234199"/>
                  <a:pt x="101710" y="251259"/>
                </a:cubicBezTo>
                <a:cubicBezTo>
                  <a:pt x="97975" y="256459"/>
                  <a:pt x="92013" y="259555"/>
                  <a:pt x="85620" y="259591"/>
                </a:cubicBezTo>
                <a:cubicBezTo>
                  <a:pt x="83393" y="259598"/>
                  <a:pt x="81095" y="259210"/>
                  <a:pt x="79012" y="258442"/>
                </a:cubicBezTo>
                <a:lnTo>
                  <a:pt x="77288" y="257796"/>
                </a:lnTo>
                <a:cubicBezTo>
                  <a:pt x="71685" y="255763"/>
                  <a:pt x="67375" y="251252"/>
                  <a:pt x="65580" y="245585"/>
                </a:cubicBezTo>
                <a:cubicBezTo>
                  <a:pt x="63784" y="239953"/>
                  <a:pt x="64718" y="233804"/>
                  <a:pt x="68165" y="228992"/>
                </a:cubicBezTo>
                <a:cubicBezTo>
                  <a:pt x="78222" y="214511"/>
                  <a:pt x="91869" y="202875"/>
                  <a:pt x="107743" y="195232"/>
                </a:cubicBezTo>
                <a:cubicBezTo>
                  <a:pt x="91295" y="179264"/>
                  <a:pt x="84758" y="155675"/>
                  <a:pt x="90648" y="133531"/>
                </a:cubicBezTo>
                <a:cubicBezTo>
                  <a:pt x="96897" y="109274"/>
                  <a:pt x="116866" y="90993"/>
                  <a:pt x="141576" y="86913"/>
                </a:cubicBezTo>
                <a:cubicBezTo>
                  <a:pt x="145885" y="86202"/>
                  <a:pt x="150267" y="85864"/>
                  <a:pt x="154648" y="85907"/>
                </a:cubicBezTo>
                <a:close/>
                <a:moveTo>
                  <a:pt x="24781" y="59762"/>
                </a:moveTo>
                <a:cubicBezTo>
                  <a:pt x="19107" y="59719"/>
                  <a:pt x="14509" y="64237"/>
                  <a:pt x="14366" y="69890"/>
                </a:cubicBezTo>
                <a:lnTo>
                  <a:pt x="14366" y="280063"/>
                </a:lnTo>
                <a:cubicBezTo>
                  <a:pt x="14509" y="285709"/>
                  <a:pt x="19107" y="290199"/>
                  <a:pt x="24781" y="290120"/>
                </a:cubicBezTo>
                <a:lnTo>
                  <a:pt x="102142" y="290120"/>
                </a:lnTo>
                <a:cubicBezTo>
                  <a:pt x="108750" y="290091"/>
                  <a:pt x="115143" y="292670"/>
                  <a:pt x="119884" y="297303"/>
                </a:cubicBezTo>
                <a:lnTo>
                  <a:pt x="150555" y="328046"/>
                </a:lnTo>
                <a:cubicBezTo>
                  <a:pt x="154721" y="331968"/>
                  <a:pt x="161186" y="331968"/>
                  <a:pt x="165352" y="328046"/>
                </a:cubicBezTo>
                <a:lnTo>
                  <a:pt x="199471" y="296441"/>
                </a:lnTo>
                <a:cubicBezTo>
                  <a:pt x="204068" y="292145"/>
                  <a:pt x="210173" y="289761"/>
                  <a:pt x="216494" y="289761"/>
                </a:cubicBezTo>
                <a:lnTo>
                  <a:pt x="285738" y="289761"/>
                </a:lnTo>
                <a:cubicBezTo>
                  <a:pt x="291413" y="289840"/>
                  <a:pt x="296082" y="285357"/>
                  <a:pt x="296225" y="279704"/>
                </a:cubicBezTo>
                <a:lnTo>
                  <a:pt x="296225" y="69890"/>
                </a:lnTo>
                <a:cubicBezTo>
                  <a:pt x="296082" y="64222"/>
                  <a:pt x="291413" y="59719"/>
                  <a:pt x="285738" y="59762"/>
                </a:cubicBezTo>
                <a:close/>
                <a:moveTo>
                  <a:pt x="102070" y="14366"/>
                </a:moveTo>
                <a:cubicBezTo>
                  <a:pt x="89500" y="14366"/>
                  <a:pt x="79300" y="24558"/>
                  <a:pt x="79300" y="37136"/>
                </a:cubicBezTo>
                <a:lnTo>
                  <a:pt x="79300" y="45396"/>
                </a:lnTo>
                <a:lnTo>
                  <a:pt x="285738" y="45396"/>
                </a:lnTo>
                <a:cubicBezTo>
                  <a:pt x="299386" y="45317"/>
                  <a:pt x="310448" y="56271"/>
                  <a:pt x="310591" y="69890"/>
                </a:cubicBezTo>
                <a:lnTo>
                  <a:pt x="310591" y="258586"/>
                </a:lnTo>
                <a:lnTo>
                  <a:pt x="322299" y="258586"/>
                </a:lnTo>
                <a:cubicBezTo>
                  <a:pt x="334869" y="258586"/>
                  <a:pt x="345069" y="248394"/>
                  <a:pt x="345069" y="235817"/>
                </a:cubicBezTo>
                <a:lnTo>
                  <a:pt x="345069" y="37136"/>
                </a:lnTo>
                <a:cubicBezTo>
                  <a:pt x="345069" y="24558"/>
                  <a:pt x="334869" y="14366"/>
                  <a:pt x="322299" y="14366"/>
                </a:cubicBezTo>
                <a:close/>
                <a:moveTo>
                  <a:pt x="102070" y="0"/>
                </a:moveTo>
                <a:lnTo>
                  <a:pt x="322299" y="0"/>
                </a:lnTo>
                <a:cubicBezTo>
                  <a:pt x="342628" y="273"/>
                  <a:pt x="358933" y="16808"/>
                  <a:pt x="359004" y="37136"/>
                </a:cubicBezTo>
                <a:lnTo>
                  <a:pt x="359004" y="235817"/>
                </a:lnTo>
                <a:cubicBezTo>
                  <a:pt x="358933" y="256309"/>
                  <a:pt x="342340" y="272916"/>
                  <a:pt x="321869" y="272952"/>
                </a:cubicBezTo>
                <a:lnTo>
                  <a:pt x="310160" y="272952"/>
                </a:lnTo>
                <a:lnTo>
                  <a:pt x="310160" y="279632"/>
                </a:lnTo>
                <a:cubicBezTo>
                  <a:pt x="310017" y="293223"/>
                  <a:pt x="298883" y="304134"/>
                  <a:pt x="285308" y="304055"/>
                </a:cubicBezTo>
                <a:lnTo>
                  <a:pt x="216064" y="304055"/>
                </a:lnTo>
                <a:cubicBezTo>
                  <a:pt x="213406" y="304069"/>
                  <a:pt x="210820" y="305067"/>
                  <a:pt x="208881" y="306856"/>
                </a:cubicBezTo>
                <a:lnTo>
                  <a:pt x="174762" y="338533"/>
                </a:lnTo>
                <a:cubicBezTo>
                  <a:pt x="170093" y="342792"/>
                  <a:pt x="164059" y="345148"/>
                  <a:pt x="157738" y="345141"/>
                </a:cubicBezTo>
                <a:cubicBezTo>
                  <a:pt x="151129" y="345184"/>
                  <a:pt x="144737" y="342598"/>
                  <a:pt x="140067" y="337958"/>
                </a:cubicBezTo>
                <a:lnTo>
                  <a:pt x="109325" y="307215"/>
                </a:lnTo>
                <a:cubicBezTo>
                  <a:pt x="107385" y="305319"/>
                  <a:pt x="104872" y="304213"/>
                  <a:pt x="102142" y="304127"/>
                </a:cubicBezTo>
                <a:lnTo>
                  <a:pt x="24781" y="304127"/>
                </a:lnTo>
                <a:cubicBezTo>
                  <a:pt x="11206" y="304206"/>
                  <a:pt x="143" y="293280"/>
                  <a:pt x="0" y="279704"/>
                </a:cubicBezTo>
                <a:lnTo>
                  <a:pt x="0" y="69890"/>
                </a:lnTo>
                <a:cubicBezTo>
                  <a:pt x="143" y="56300"/>
                  <a:pt x="11206" y="45353"/>
                  <a:pt x="24781" y="45396"/>
                </a:cubicBezTo>
                <a:lnTo>
                  <a:pt x="64934" y="45396"/>
                </a:lnTo>
                <a:lnTo>
                  <a:pt x="64934" y="37136"/>
                </a:lnTo>
                <a:cubicBezTo>
                  <a:pt x="65006" y="16643"/>
                  <a:pt x="81598" y="36"/>
                  <a:pt x="102070"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Arial" panose="020F0502020204030204"/>
              <a:ea typeface="微软雅黑"/>
              <a:cs typeface="+mn-cs"/>
            </a:endParaRPr>
          </a:p>
        </p:txBody>
      </p:sp>
      <p:sp>
        <p:nvSpPr>
          <p:cNvPr id="189" name="Oval 169">
            <a:extLst>
              <a:ext uri="{FF2B5EF4-FFF2-40B4-BE49-F238E27FC236}">
                <a16:creationId xmlns:a16="http://schemas.microsoft.com/office/drawing/2014/main" id="{9307821B-DED7-46A5-B88E-126AF13B2E2A}"/>
              </a:ext>
            </a:extLst>
          </p:cNvPr>
          <p:cNvSpPr/>
          <p:nvPr/>
        </p:nvSpPr>
        <p:spPr>
          <a:xfrm>
            <a:off x="9379515" y="5959783"/>
            <a:ext cx="229050" cy="220202"/>
          </a:xfrm>
          <a:custGeom>
            <a:avLst/>
            <a:gdLst>
              <a:gd name="connsiteX0" fmla="*/ 152925 w 359004"/>
              <a:gd name="connsiteY0" fmla="*/ 125701 h 345141"/>
              <a:gd name="connsiteX1" fmla="*/ 128863 w 359004"/>
              <a:gd name="connsiteY1" fmla="*/ 149836 h 345141"/>
              <a:gd name="connsiteX2" fmla="*/ 153572 w 359004"/>
              <a:gd name="connsiteY2" fmla="*/ 173971 h 345141"/>
              <a:gd name="connsiteX3" fmla="*/ 155655 w 359004"/>
              <a:gd name="connsiteY3" fmla="*/ 173971 h 345141"/>
              <a:gd name="connsiteX4" fmla="*/ 155871 w 359004"/>
              <a:gd name="connsiteY4" fmla="*/ 173971 h 345141"/>
              <a:gd name="connsiteX5" fmla="*/ 179861 w 359004"/>
              <a:gd name="connsiteY5" fmla="*/ 149764 h 345141"/>
              <a:gd name="connsiteX6" fmla="*/ 155511 w 359004"/>
              <a:gd name="connsiteY6" fmla="*/ 125701 h 345141"/>
              <a:gd name="connsiteX7" fmla="*/ 153931 w 359004"/>
              <a:gd name="connsiteY7" fmla="*/ 125701 h 345141"/>
              <a:gd name="connsiteX8" fmla="*/ 153572 w 359004"/>
              <a:gd name="connsiteY8" fmla="*/ 111407 h 345141"/>
              <a:gd name="connsiteX9" fmla="*/ 155081 w 359004"/>
              <a:gd name="connsiteY9" fmla="*/ 111407 h 345141"/>
              <a:gd name="connsiteX10" fmla="*/ 194227 w 359004"/>
              <a:gd name="connsiteY10" fmla="*/ 149836 h 345141"/>
              <a:gd name="connsiteX11" fmla="*/ 155081 w 359004"/>
              <a:gd name="connsiteY11" fmla="*/ 188337 h 345141"/>
              <a:gd name="connsiteX12" fmla="*/ 153572 w 359004"/>
              <a:gd name="connsiteY12" fmla="*/ 188337 h 345141"/>
              <a:gd name="connsiteX13" fmla="*/ 114497 w 359004"/>
              <a:gd name="connsiteY13" fmla="*/ 149836 h 345141"/>
              <a:gd name="connsiteX14" fmla="*/ 153572 w 359004"/>
              <a:gd name="connsiteY14" fmla="*/ 111407 h 345141"/>
              <a:gd name="connsiteX15" fmla="*/ 154505 w 359004"/>
              <a:gd name="connsiteY15" fmla="*/ 100345 h 345141"/>
              <a:gd name="connsiteX16" fmla="*/ 144808 w 359004"/>
              <a:gd name="connsiteY16" fmla="*/ 101135 h 345141"/>
              <a:gd name="connsiteX17" fmla="*/ 105230 w 359004"/>
              <a:gd name="connsiteY17" fmla="*/ 137050 h 345141"/>
              <a:gd name="connsiteX18" fmla="*/ 126348 w 359004"/>
              <a:gd name="connsiteY18" fmla="*/ 191209 h 345141"/>
              <a:gd name="connsiteX19" fmla="*/ 138702 w 359004"/>
              <a:gd name="connsiteY19" fmla="*/ 199254 h 345141"/>
              <a:gd name="connsiteX20" fmla="*/ 124337 w 359004"/>
              <a:gd name="connsiteY20" fmla="*/ 203995 h 345141"/>
              <a:gd name="connsiteX21" fmla="*/ 80233 w 359004"/>
              <a:gd name="connsiteY21" fmla="*/ 237253 h 345141"/>
              <a:gd name="connsiteX22" fmla="*/ 79587 w 359004"/>
              <a:gd name="connsiteY22" fmla="*/ 241275 h 345141"/>
              <a:gd name="connsiteX23" fmla="*/ 82531 w 359004"/>
              <a:gd name="connsiteY23" fmla="*/ 244292 h 345141"/>
              <a:gd name="connsiteX24" fmla="*/ 84255 w 359004"/>
              <a:gd name="connsiteY24" fmla="*/ 244938 h 345141"/>
              <a:gd name="connsiteX25" fmla="*/ 90289 w 359004"/>
              <a:gd name="connsiteY25" fmla="*/ 242927 h 345141"/>
              <a:gd name="connsiteX26" fmla="*/ 154146 w 359004"/>
              <a:gd name="connsiteY26" fmla="*/ 210316 h 345141"/>
              <a:gd name="connsiteX27" fmla="*/ 155726 w 359004"/>
              <a:gd name="connsiteY27" fmla="*/ 210316 h 345141"/>
              <a:gd name="connsiteX28" fmla="*/ 219439 w 359004"/>
              <a:gd name="connsiteY28" fmla="*/ 242927 h 345141"/>
              <a:gd name="connsiteX29" fmla="*/ 225472 w 359004"/>
              <a:gd name="connsiteY29" fmla="*/ 244938 h 345141"/>
              <a:gd name="connsiteX30" fmla="*/ 227196 w 359004"/>
              <a:gd name="connsiteY30" fmla="*/ 244292 h 345141"/>
              <a:gd name="connsiteX31" fmla="*/ 230141 w 359004"/>
              <a:gd name="connsiteY31" fmla="*/ 241275 h 345141"/>
              <a:gd name="connsiteX32" fmla="*/ 229854 w 359004"/>
              <a:gd name="connsiteY32" fmla="*/ 237253 h 345141"/>
              <a:gd name="connsiteX33" fmla="*/ 185679 w 359004"/>
              <a:gd name="connsiteY33" fmla="*/ 203995 h 345141"/>
              <a:gd name="connsiteX34" fmla="*/ 171744 w 359004"/>
              <a:gd name="connsiteY34" fmla="*/ 199254 h 345141"/>
              <a:gd name="connsiteX35" fmla="*/ 184098 w 359004"/>
              <a:gd name="connsiteY35" fmla="*/ 191209 h 345141"/>
              <a:gd name="connsiteX36" fmla="*/ 205217 w 359004"/>
              <a:gd name="connsiteY36" fmla="*/ 137050 h 345141"/>
              <a:gd name="connsiteX37" fmla="*/ 165639 w 359004"/>
              <a:gd name="connsiteY37" fmla="*/ 101135 h 345141"/>
              <a:gd name="connsiteX38" fmla="*/ 155295 w 359004"/>
              <a:gd name="connsiteY38" fmla="*/ 100345 h 345141"/>
              <a:gd name="connsiteX39" fmla="*/ 154648 w 359004"/>
              <a:gd name="connsiteY39" fmla="*/ 85907 h 345141"/>
              <a:gd name="connsiteX40" fmla="*/ 167578 w 359004"/>
              <a:gd name="connsiteY40" fmla="*/ 86913 h 345141"/>
              <a:gd name="connsiteX41" fmla="*/ 218505 w 359004"/>
              <a:gd name="connsiteY41" fmla="*/ 133531 h 345141"/>
              <a:gd name="connsiteX42" fmla="*/ 201410 w 359004"/>
              <a:gd name="connsiteY42" fmla="*/ 195232 h 345141"/>
              <a:gd name="connsiteX43" fmla="*/ 240988 w 359004"/>
              <a:gd name="connsiteY43" fmla="*/ 228992 h 345141"/>
              <a:gd name="connsiteX44" fmla="*/ 243574 w 359004"/>
              <a:gd name="connsiteY44" fmla="*/ 245585 h 345141"/>
              <a:gd name="connsiteX45" fmla="*/ 231865 w 359004"/>
              <a:gd name="connsiteY45" fmla="*/ 257796 h 345141"/>
              <a:gd name="connsiteX46" fmla="*/ 230141 w 359004"/>
              <a:gd name="connsiteY46" fmla="*/ 258442 h 345141"/>
              <a:gd name="connsiteX47" fmla="*/ 207443 w 359004"/>
              <a:gd name="connsiteY47" fmla="*/ 251259 h 345141"/>
              <a:gd name="connsiteX48" fmla="*/ 154648 w 359004"/>
              <a:gd name="connsiteY48" fmla="*/ 224682 h 345141"/>
              <a:gd name="connsiteX49" fmla="*/ 101710 w 359004"/>
              <a:gd name="connsiteY49" fmla="*/ 251259 h 345141"/>
              <a:gd name="connsiteX50" fmla="*/ 85620 w 359004"/>
              <a:gd name="connsiteY50" fmla="*/ 259591 h 345141"/>
              <a:gd name="connsiteX51" fmla="*/ 79012 w 359004"/>
              <a:gd name="connsiteY51" fmla="*/ 258442 h 345141"/>
              <a:gd name="connsiteX52" fmla="*/ 77288 w 359004"/>
              <a:gd name="connsiteY52" fmla="*/ 257796 h 345141"/>
              <a:gd name="connsiteX53" fmla="*/ 65580 w 359004"/>
              <a:gd name="connsiteY53" fmla="*/ 245585 h 345141"/>
              <a:gd name="connsiteX54" fmla="*/ 68165 w 359004"/>
              <a:gd name="connsiteY54" fmla="*/ 228992 h 345141"/>
              <a:gd name="connsiteX55" fmla="*/ 107743 w 359004"/>
              <a:gd name="connsiteY55" fmla="*/ 195232 h 345141"/>
              <a:gd name="connsiteX56" fmla="*/ 90648 w 359004"/>
              <a:gd name="connsiteY56" fmla="*/ 133531 h 345141"/>
              <a:gd name="connsiteX57" fmla="*/ 141576 w 359004"/>
              <a:gd name="connsiteY57" fmla="*/ 86913 h 345141"/>
              <a:gd name="connsiteX58" fmla="*/ 154648 w 359004"/>
              <a:gd name="connsiteY58" fmla="*/ 85907 h 345141"/>
              <a:gd name="connsiteX59" fmla="*/ 24781 w 359004"/>
              <a:gd name="connsiteY59" fmla="*/ 59762 h 345141"/>
              <a:gd name="connsiteX60" fmla="*/ 14366 w 359004"/>
              <a:gd name="connsiteY60" fmla="*/ 69890 h 345141"/>
              <a:gd name="connsiteX61" fmla="*/ 14366 w 359004"/>
              <a:gd name="connsiteY61" fmla="*/ 280063 h 345141"/>
              <a:gd name="connsiteX62" fmla="*/ 24781 w 359004"/>
              <a:gd name="connsiteY62" fmla="*/ 290120 h 345141"/>
              <a:gd name="connsiteX63" fmla="*/ 102142 w 359004"/>
              <a:gd name="connsiteY63" fmla="*/ 290120 h 345141"/>
              <a:gd name="connsiteX64" fmla="*/ 119884 w 359004"/>
              <a:gd name="connsiteY64" fmla="*/ 297303 h 345141"/>
              <a:gd name="connsiteX65" fmla="*/ 150555 w 359004"/>
              <a:gd name="connsiteY65" fmla="*/ 328046 h 345141"/>
              <a:gd name="connsiteX66" fmla="*/ 165352 w 359004"/>
              <a:gd name="connsiteY66" fmla="*/ 328046 h 345141"/>
              <a:gd name="connsiteX67" fmla="*/ 199471 w 359004"/>
              <a:gd name="connsiteY67" fmla="*/ 296441 h 345141"/>
              <a:gd name="connsiteX68" fmla="*/ 216494 w 359004"/>
              <a:gd name="connsiteY68" fmla="*/ 289761 h 345141"/>
              <a:gd name="connsiteX69" fmla="*/ 285738 w 359004"/>
              <a:gd name="connsiteY69" fmla="*/ 289761 h 345141"/>
              <a:gd name="connsiteX70" fmla="*/ 296225 w 359004"/>
              <a:gd name="connsiteY70" fmla="*/ 279704 h 345141"/>
              <a:gd name="connsiteX71" fmla="*/ 296225 w 359004"/>
              <a:gd name="connsiteY71" fmla="*/ 69890 h 345141"/>
              <a:gd name="connsiteX72" fmla="*/ 285738 w 359004"/>
              <a:gd name="connsiteY72" fmla="*/ 59762 h 345141"/>
              <a:gd name="connsiteX73" fmla="*/ 102070 w 359004"/>
              <a:gd name="connsiteY73" fmla="*/ 14366 h 345141"/>
              <a:gd name="connsiteX74" fmla="*/ 79300 w 359004"/>
              <a:gd name="connsiteY74" fmla="*/ 37136 h 345141"/>
              <a:gd name="connsiteX75" fmla="*/ 79300 w 359004"/>
              <a:gd name="connsiteY75" fmla="*/ 45396 h 345141"/>
              <a:gd name="connsiteX76" fmla="*/ 285738 w 359004"/>
              <a:gd name="connsiteY76" fmla="*/ 45396 h 345141"/>
              <a:gd name="connsiteX77" fmla="*/ 310591 w 359004"/>
              <a:gd name="connsiteY77" fmla="*/ 69890 h 345141"/>
              <a:gd name="connsiteX78" fmla="*/ 310591 w 359004"/>
              <a:gd name="connsiteY78" fmla="*/ 258586 h 345141"/>
              <a:gd name="connsiteX79" fmla="*/ 322299 w 359004"/>
              <a:gd name="connsiteY79" fmla="*/ 258586 h 345141"/>
              <a:gd name="connsiteX80" fmla="*/ 345069 w 359004"/>
              <a:gd name="connsiteY80" fmla="*/ 235817 h 345141"/>
              <a:gd name="connsiteX81" fmla="*/ 345069 w 359004"/>
              <a:gd name="connsiteY81" fmla="*/ 37136 h 345141"/>
              <a:gd name="connsiteX82" fmla="*/ 322299 w 359004"/>
              <a:gd name="connsiteY82" fmla="*/ 14366 h 345141"/>
              <a:gd name="connsiteX83" fmla="*/ 102070 w 359004"/>
              <a:gd name="connsiteY83" fmla="*/ 0 h 345141"/>
              <a:gd name="connsiteX84" fmla="*/ 322299 w 359004"/>
              <a:gd name="connsiteY84" fmla="*/ 0 h 345141"/>
              <a:gd name="connsiteX85" fmla="*/ 359004 w 359004"/>
              <a:gd name="connsiteY85" fmla="*/ 37136 h 345141"/>
              <a:gd name="connsiteX86" fmla="*/ 359004 w 359004"/>
              <a:gd name="connsiteY86" fmla="*/ 235817 h 345141"/>
              <a:gd name="connsiteX87" fmla="*/ 321869 w 359004"/>
              <a:gd name="connsiteY87" fmla="*/ 272952 h 345141"/>
              <a:gd name="connsiteX88" fmla="*/ 310160 w 359004"/>
              <a:gd name="connsiteY88" fmla="*/ 272952 h 345141"/>
              <a:gd name="connsiteX89" fmla="*/ 310160 w 359004"/>
              <a:gd name="connsiteY89" fmla="*/ 279632 h 345141"/>
              <a:gd name="connsiteX90" fmla="*/ 285308 w 359004"/>
              <a:gd name="connsiteY90" fmla="*/ 304055 h 345141"/>
              <a:gd name="connsiteX91" fmla="*/ 216064 w 359004"/>
              <a:gd name="connsiteY91" fmla="*/ 304055 h 345141"/>
              <a:gd name="connsiteX92" fmla="*/ 208881 w 359004"/>
              <a:gd name="connsiteY92" fmla="*/ 306856 h 345141"/>
              <a:gd name="connsiteX93" fmla="*/ 174762 w 359004"/>
              <a:gd name="connsiteY93" fmla="*/ 338533 h 345141"/>
              <a:gd name="connsiteX94" fmla="*/ 157738 w 359004"/>
              <a:gd name="connsiteY94" fmla="*/ 345141 h 345141"/>
              <a:gd name="connsiteX95" fmla="*/ 140067 w 359004"/>
              <a:gd name="connsiteY95" fmla="*/ 337958 h 345141"/>
              <a:gd name="connsiteX96" fmla="*/ 109325 w 359004"/>
              <a:gd name="connsiteY96" fmla="*/ 307215 h 345141"/>
              <a:gd name="connsiteX97" fmla="*/ 102142 w 359004"/>
              <a:gd name="connsiteY97" fmla="*/ 304127 h 345141"/>
              <a:gd name="connsiteX98" fmla="*/ 24781 w 359004"/>
              <a:gd name="connsiteY98" fmla="*/ 304127 h 345141"/>
              <a:gd name="connsiteX99" fmla="*/ 0 w 359004"/>
              <a:gd name="connsiteY99" fmla="*/ 279704 h 345141"/>
              <a:gd name="connsiteX100" fmla="*/ 0 w 359004"/>
              <a:gd name="connsiteY100" fmla="*/ 69890 h 345141"/>
              <a:gd name="connsiteX101" fmla="*/ 24781 w 359004"/>
              <a:gd name="connsiteY101" fmla="*/ 45396 h 345141"/>
              <a:gd name="connsiteX102" fmla="*/ 64934 w 359004"/>
              <a:gd name="connsiteY102" fmla="*/ 45396 h 345141"/>
              <a:gd name="connsiteX103" fmla="*/ 64934 w 359004"/>
              <a:gd name="connsiteY103" fmla="*/ 37136 h 345141"/>
              <a:gd name="connsiteX104" fmla="*/ 102070 w 359004"/>
              <a:gd name="connsiteY104" fmla="*/ 0 h 3451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59004" h="345141">
                <a:moveTo>
                  <a:pt x="152925" y="125701"/>
                </a:moveTo>
                <a:cubicBezTo>
                  <a:pt x="139709" y="125859"/>
                  <a:pt x="129006" y="136584"/>
                  <a:pt x="128863" y="149836"/>
                </a:cubicBezTo>
                <a:cubicBezTo>
                  <a:pt x="129006" y="163326"/>
                  <a:pt x="140068" y="174129"/>
                  <a:pt x="153572" y="173971"/>
                </a:cubicBezTo>
                <a:lnTo>
                  <a:pt x="155655" y="173971"/>
                </a:lnTo>
                <a:lnTo>
                  <a:pt x="155871" y="173971"/>
                </a:lnTo>
                <a:cubicBezTo>
                  <a:pt x="169087" y="173741"/>
                  <a:pt x="179718" y="163003"/>
                  <a:pt x="179861" y="149764"/>
                </a:cubicBezTo>
                <a:cubicBezTo>
                  <a:pt x="179646" y="136447"/>
                  <a:pt x="168799" y="125737"/>
                  <a:pt x="155511" y="125701"/>
                </a:cubicBezTo>
                <a:lnTo>
                  <a:pt x="153931" y="125701"/>
                </a:lnTo>
                <a:close/>
                <a:moveTo>
                  <a:pt x="153572" y="111407"/>
                </a:moveTo>
                <a:lnTo>
                  <a:pt x="155081" y="111407"/>
                </a:lnTo>
                <a:cubicBezTo>
                  <a:pt x="176486" y="111206"/>
                  <a:pt x="194012" y="128417"/>
                  <a:pt x="194227" y="149836"/>
                </a:cubicBezTo>
                <a:cubicBezTo>
                  <a:pt x="194012" y="171270"/>
                  <a:pt x="176486" y="188495"/>
                  <a:pt x="155081" y="188337"/>
                </a:cubicBezTo>
                <a:lnTo>
                  <a:pt x="153572" y="188337"/>
                </a:lnTo>
                <a:cubicBezTo>
                  <a:pt x="132166" y="188495"/>
                  <a:pt x="114640" y="171256"/>
                  <a:pt x="114497" y="149836"/>
                </a:cubicBezTo>
                <a:cubicBezTo>
                  <a:pt x="114712" y="128446"/>
                  <a:pt x="132166" y="111249"/>
                  <a:pt x="153572" y="111407"/>
                </a:cubicBezTo>
                <a:close/>
                <a:moveTo>
                  <a:pt x="154505" y="100345"/>
                </a:moveTo>
                <a:cubicBezTo>
                  <a:pt x="151273" y="100331"/>
                  <a:pt x="148040" y="100596"/>
                  <a:pt x="144808" y="101135"/>
                </a:cubicBezTo>
                <a:cubicBezTo>
                  <a:pt x="125701" y="104238"/>
                  <a:pt x="110186" y="118310"/>
                  <a:pt x="105230" y="137050"/>
                </a:cubicBezTo>
                <a:cubicBezTo>
                  <a:pt x="99699" y="157773"/>
                  <a:pt x="108247" y="179688"/>
                  <a:pt x="126348" y="191209"/>
                </a:cubicBezTo>
                <a:lnTo>
                  <a:pt x="138702" y="199254"/>
                </a:lnTo>
                <a:lnTo>
                  <a:pt x="124337" y="203995"/>
                </a:lnTo>
                <a:cubicBezTo>
                  <a:pt x="106451" y="210086"/>
                  <a:pt x="91008" y="221744"/>
                  <a:pt x="80233" y="237253"/>
                </a:cubicBezTo>
                <a:cubicBezTo>
                  <a:pt x="79371" y="238409"/>
                  <a:pt x="79155" y="239910"/>
                  <a:pt x="79587" y="241275"/>
                </a:cubicBezTo>
                <a:cubicBezTo>
                  <a:pt x="80017" y="242683"/>
                  <a:pt x="81167" y="243803"/>
                  <a:pt x="82531" y="244292"/>
                </a:cubicBezTo>
                <a:lnTo>
                  <a:pt x="84255" y="244938"/>
                </a:lnTo>
                <a:cubicBezTo>
                  <a:pt x="86482" y="245678"/>
                  <a:pt x="88924" y="244859"/>
                  <a:pt x="90289" y="242927"/>
                </a:cubicBezTo>
                <a:cubicBezTo>
                  <a:pt x="105014" y="222355"/>
                  <a:pt x="128862" y="210201"/>
                  <a:pt x="154146" y="210316"/>
                </a:cubicBezTo>
                <a:lnTo>
                  <a:pt x="155726" y="210316"/>
                </a:lnTo>
                <a:cubicBezTo>
                  <a:pt x="181010" y="210252"/>
                  <a:pt x="204713" y="222398"/>
                  <a:pt x="219439" y="242927"/>
                </a:cubicBezTo>
                <a:cubicBezTo>
                  <a:pt x="220803" y="244859"/>
                  <a:pt x="223246" y="245678"/>
                  <a:pt x="225472" y="244938"/>
                </a:cubicBezTo>
                <a:lnTo>
                  <a:pt x="227196" y="244292"/>
                </a:lnTo>
                <a:cubicBezTo>
                  <a:pt x="228561" y="243803"/>
                  <a:pt x="229710" y="242683"/>
                  <a:pt x="230141" y="241275"/>
                </a:cubicBezTo>
                <a:cubicBezTo>
                  <a:pt x="230644" y="239960"/>
                  <a:pt x="230573" y="238481"/>
                  <a:pt x="229854" y="237253"/>
                </a:cubicBezTo>
                <a:cubicBezTo>
                  <a:pt x="219079" y="221723"/>
                  <a:pt x="203565" y="210065"/>
                  <a:pt x="185679" y="203995"/>
                </a:cubicBezTo>
                <a:lnTo>
                  <a:pt x="171744" y="199254"/>
                </a:lnTo>
                <a:lnTo>
                  <a:pt x="184098" y="191209"/>
                </a:lnTo>
                <a:cubicBezTo>
                  <a:pt x="202200" y="179674"/>
                  <a:pt x="210676" y="157773"/>
                  <a:pt x="205217" y="137050"/>
                </a:cubicBezTo>
                <a:cubicBezTo>
                  <a:pt x="200260" y="118310"/>
                  <a:pt x="184746" y="104238"/>
                  <a:pt x="165639" y="101135"/>
                </a:cubicBezTo>
                <a:cubicBezTo>
                  <a:pt x="162191" y="100568"/>
                  <a:pt x="158743" y="100302"/>
                  <a:pt x="155295" y="100345"/>
                </a:cubicBezTo>
                <a:close/>
                <a:moveTo>
                  <a:pt x="154648" y="85907"/>
                </a:moveTo>
                <a:cubicBezTo>
                  <a:pt x="158958" y="85871"/>
                  <a:pt x="163340" y="86209"/>
                  <a:pt x="167578" y="86913"/>
                </a:cubicBezTo>
                <a:cubicBezTo>
                  <a:pt x="192287" y="91007"/>
                  <a:pt x="212256" y="109281"/>
                  <a:pt x="218505" y="133531"/>
                </a:cubicBezTo>
                <a:cubicBezTo>
                  <a:pt x="224395" y="155675"/>
                  <a:pt x="217859" y="179264"/>
                  <a:pt x="201410" y="195232"/>
                </a:cubicBezTo>
                <a:cubicBezTo>
                  <a:pt x="217284" y="202882"/>
                  <a:pt x="230931" y="214511"/>
                  <a:pt x="240988" y="228992"/>
                </a:cubicBezTo>
                <a:cubicBezTo>
                  <a:pt x="244364" y="233833"/>
                  <a:pt x="245297" y="239953"/>
                  <a:pt x="243574" y="245585"/>
                </a:cubicBezTo>
                <a:cubicBezTo>
                  <a:pt x="241778" y="251252"/>
                  <a:pt x="237468" y="255763"/>
                  <a:pt x="231865" y="257796"/>
                </a:cubicBezTo>
                <a:lnTo>
                  <a:pt x="230141" y="258442"/>
                </a:lnTo>
                <a:cubicBezTo>
                  <a:pt x="221809" y="261416"/>
                  <a:pt x="212544" y="258478"/>
                  <a:pt x="207443" y="251259"/>
                </a:cubicBezTo>
                <a:cubicBezTo>
                  <a:pt x="195232" y="234300"/>
                  <a:pt x="175551" y="224373"/>
                  <a:pt x="154648" y="224682"/>
                </a:cubicBezTo>
                <a:cubicBezTo>
                  <a:pt x="133674" y="224251"/>
                  <a:pt x="113850" y="234199"/>
                  <a:pt x="101710" y="251259"/>
                </a:cubicBezTo>
                <a:cubicBezTo>
                  <a:pt x="97975" y="256459"/>
                  <a:pt x="92013" y="259555"/>
                  <a:pt x="85620" y="259591"/>
                </a:cubicBezTo>
                <a:cubicBezTo>
                  <a:pt x="83393" y="259598"/>
                  <a:pt x="81095" y="259210"/>
                  <a:pt x="79012" y="258442"/>
                </a:cubicBezTo>
                <a:lnTo>
                  <a:pt x="77288" y="257796"/>
                </a:lnTo>
                <a:cubicBezTo>
                  <a:pt x="71685" y="255763"/>
                  <a:pt x="67375" y="251252"/>
                  <a:pt x="65580" y="245585"/>
                </a:cubicBezTo>
                <a:cubicBezTo>
                  <a:pt x="63784" y="239953"/>
                  <a:pt x="64718" y="233804"/>
                  <a:pt x="68165" y="228992"/>
                </a:cubicBezTo>
                <a:cubicBezTo>
                  <a:pt x="78222" y="214511"/>
                  <a:pt x="91869" y="202875"/>
                  <a:pt x="107743" y="195232"/>
                </a:cubicBezTo>
                <a:cubicBezTo>
                  <a:pt x="91295" y="179264"/>
                  <a:pt x="84758" y="155675"/>
                  <a:pt x="90648" y="133531"/>
                </a:cubicBezTo>
                <a:cubicBezTo>
                  <a:pt x="96897" y="109274"/>
                  <a:pt x="116866" y="90993"/>
                  <a:pt x="141576" y="86913"/>
                </a:cubicBezTo>
                <a:cubicBezTo>
                  <a:pt x="145885" y="86202"/>
                  <a:pt x="150267" y="85864"/>
                  <a:pt x="154648" y="85907"/>
                </a:cubicBezTo>
                <a:close/>
                <a:moveTo>
                  <a:pt x="24781" y="59762"/>
                </a:moveTo>
                <a:cubicBezTo>
                  <a:pt x="19107" y="59719"/>
                  <a:pt x="14509" y="64237"/>
                  <a:pt x="14366" y="69890"/>
                </a:cubicBezTo>
                <a:lnTo>
                  <a:pt x="14366" y="280063"/>
                </a:lnTo>
                <a:cubicBezTo>
                  <a:pt x="14509" y="285709"/>
                  <a:pt x="19107" y="290199"/>
                  <a:pt x="24781" y="290120"/>
                </a:cubicBezTo>
                <a:lnTo>
                  <a:pt x="102142" y="290120"/>
                </a:lnTo>
                <a:cubicBezTo>
                  <a:pt x="108750" y="290091"/>
                  <a:pt x="115143" y="292670"/>
                  <a:pt x="119884" y="297303"/>
                </a:cubicBezTo>
                <a:lnTo>
                  <a:pt x="150555" y="328046"/>
                </a:lnTo>
                <a:cubicBezTo>
                  <a:pt x="154721" y="331968"/>
                  <a:pt x="161186" y="331968"/>
                  <a:pt x="165352" y="328046"/>
                </a:cubicBezTo>
                <a:lnTo>
                  <a:pt x="199471" y="296441"/>
                </a:lnTo>
                <a:cubicBezTo>
                  <a:pt x="204068" y="292145"/>
                  <a:pt x="210173" y="289761"/>
                  <a:pt x="216494" y="289761"/>
                </a:cubicBezTo>
                <a:lnTo>
                  <a:pt x="285738" y="289761"/>
                </a:lnTo>
                <a:cubicBezTo>
                  <a:pt x="291413" y="289840"/>
                  <a:pt x="296082" y="285357"/>
                  <a:pt x="296225" y="279704"/>
                </a:cubicBezTo>
                <a:lnTo>
                  <a:pt x="296225" y="69890"/>
                </a:lnTo>
                <a:cubicBezTo>
                  <a:pt x="296082" y="64222"/>
                  <a:pt x="291413" y="59719"/>
                  <a:pt x="285738" y="59762"/>
                </a:cubicBezTo>
                <a:close/>
                <a:moveTo>
                  <a:pt x="102070" y="14366"/>
                </a:moveTo>
                <a:cubicBezTo>
                  <a:pt x="89500" y="14366"/>
                  <a:pt x="79300" y="24558"/>
                  <a:pt x="79300" y="37136"/>
                </a:cubicBezTo>
                <a:lnTo>
                  <a:pt x="79300" y="45396"/>
                </a:lnTo>
                <a:lnTo>
                  <a:pt x="285738" y="45396"/>
                </a:lnTo>
                <a:cubicBezTo>
                  <a:pt x="299386" y="45317"/>
                  <a:pt x="310448" y="56271"/>
                  <a:pt x="310591" y="69890"/>
                </a:cubicBezTo>
                <a:lnTo>
                  <a:pt x="310591" y="258586"/>
                </a:lnTo>
                <a:lnTo>
                  <a:pt x="322299" y="258586"/>
                </a:lnTo>
                <a:cubicBezTo>
                  <a:pt x="334869" y="258586"/>
                  <a:pt x="345069" y="248394"/>
                  <a:pt x="345069" y="235817"/>
                </a:cubicBezTo>
                <a:lnTo>
                  <a:pt x="345069" y="37136"/>
                </a:lnTo>
                <a:cubicBezTo>
                  <a:pt x="345069" y="24558"/>
                  <a:pt x="334869" y="14366"/>
                  <a:pt x="322299" y="14366"/>
                </a:cubicBezTo>
                <a:close/>
                <a:moveTo>
                  <a:pt x="102070" y="0"/>
                </a:moveTo>
                <a:lnTo>
                  <a:pt x="322299" y="0"/>
                </a:lnTo>
                <a:cubicBezTo>
                  <a:pt x="342628" y="273"/>
                  <a:pt x="358933" y="16808"/>
                  <a:pt x="359004" y="37136"/>
                </a:cubicBezTo>
                <a:lnTo>
                  <a:pt x="359004" y="235817"/>
                </a:lnTo>
                <a:cubicBezTo>
                  <a:pt x="358933" y="256309"/>
                  <a:pt x="342340" y="272916"/>
                  <a:pt x="321869" y="272952"/>
                </a:cubicBezTo>
                <a:lnTo>
                  <a:pt x="310160" y="272952"/>
                </a:lnTo>
                <a:lnTo>
                  <a:pt x="310160" y="279632"/>
                </a:lnTo>
                <a:cubicBezTo>
                  <a:pt x="310017" y="293223"/>
                  <a:pt x="298883" y="304134"/>
                  <a:pt x="285308" y="304055"/>
                </a:cubicBezTo>
                <a:lnTo>
                  <a:pt x="216064" y="304055"/>
                </a:lnTo>
                <a:cubicBezTo>
                  <a:pt x="213406" y="304069"/>
                  <a:pt x="210820" y="305067"/>
                  <a:pt x="208881" y="306856"/>
                </a:cubicBezTo>
                <a:lnTo>
                  <a:pt x="174762" y="338533"/>
                </a:lnTo>
                <a:cubicBezTo>
                  <a:pt x="170093" y="342792"/>
                  <a:pt x="164059" y="345148"/>
                  <a:pt x="157738" y="345141"/>
                </a:cubicBezTo>
                <a:cubicBezTo>
                  <a:pt x="151129" y="345184"/>
                  <a:pt x="144737" y="342598"/>
                  <a:pt x="140067" y="337958"/>
                </a:cubicBezTo>
                <a:lnTo>
                  <a:pt x="109325" y="307215"/>
                </a:lnTo>
                <a:cubicBezTo>
                  <a:pt x="107385" y="305319"/>
                  <a:pt x="104872" y="304213"/>
                  <a:pt x="102142" y="304127"/>
                </a:cubicBezTo>
                <a:lnTo>
                  <a:pt x="24781" y="304127"/>
                </a:lnTo>
                <a:cubicBezTo>
                  <a:pt x="11206" y="304206"/>
                  <a:pt x="143" y="293280"/>
                  <a:pt x="0" y="279704"/>
                </a:cubicBezTo>
                <a:lnTo>
                  <a:pt x="0" y="69890"/>
                </a:lnTo>
                <a:cubicBezTo>
                  <a:pt x="143" y="56300"/>
                  <a:pt x="11206" y="45353"/>
                  <a:pt x="24781" y="45396"/>
                </a:cubicBezTo>
                <a:lnTo>
                  <a:pt x="64934" y="45396"/>
                </a:lnTo>
                <a:lnTo>
                  <a:pt x="64934" y="37136"/>
                </a:lnTo>
                <a:cubicBezTo>
                  <a:pt x="65006" y="16643"/>
                  <a:pt x="81598" y="36"/>
                  <a:pt x="102070"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Arial" panose="020F0502020204030204"/>
              <a:ea typeface="微软雅黑"/>
              <a:cs typeface="+mn-cs"/>
            </a:endParaRPr>
          </a:p>
        </p:txBody>
      </p:sp>
      <p:cxnSp>
        <p:nvCxnSpPr>
          <p:cNvPr id="192" name="直接连接符 191">
            <a:extLst>
              <a:ext uri="{FF2B5EF4-FFF2-40B4-BE49-F238E27FC236}">
                <a16:creationId xmlns:a16="http://schemas.microsoft.com/office/drawing/2014/main" id="{5AFA727C-2159-43DC-8344-01197D25D09B}"/>
              </a:ext>
            </a:extLst>
          </p:cNvPr>
          <p:cNvCxnSpPr>
            <a:cxnSpLocks/>
          </p:cNvCxnSpPr>
          <p:nvPr/>
        </p:nvCxnSpPr>
        <p:spPr>
          <a:xfrm>
            <a:off x="2473391" y="2615264"/>
            <a:ext cx="6718300" cy="0"/>
          </a:xfrm>
          <a:prstGeom prst="line">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193" name="直接连接符 192">
            <a:extLst>
              <a:ext uri="{FF2B5EF4-FFF2-40B4-BE49-F238E27FC236}">
                <a16:creationId xmlns:a16="http://schemas.microsoft.com/office/drawing/2014/main" id="{0A5FB77D-4D1C-429B-A9A0-22446EB6D721}"/>
              </a:ext>
            </a:extLst>
          </p:cNvPr>
          <p:cNvCxnSpPr>
            <a:cxnSpLocks/>
          </p:cNvCxnSpPr>
          <p:nvPr/>
        </p:nvCxnSpPr>
        <p:spPr>
          <a:xfrm rot="16200000">
            <a:off x="726359" y="4356584"/>
            <a:ext cx="3494065" cy="0"/>
          </a:xfrm>
          <a:prstGeom prst="line">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195" name="直接连接符 194">
            <a:extLst>
              <a:ext uri="{FF2B5EF4-FFF2-40B4-BE49-F238E27FC236}">
                <a16:creationId xmlns:a16="http://schemas.microsoft.com/office/drawing/2014/main" id="{597DB1B2-2663-4503-965A-B7BC80F989F3}"/>
              </a:ext>
            </a:extLst>
          </p:cNvPr>
          <p:cNvCxnSpPr>
            <a:cxnSpLocks/>
            <a:stCxn id="206" idx="1"/>
          </p:cNvCxnSpPr>
          <p:nvPr/>
        </p:nvCxnSpPr>
        <p:spPr>
          <a:xfrm flipV="1">
            <a:off x="4149397" y="2609552"/>
            <a:ext cx="3570" cy="2654484"/>
          </a:xfrm>
          <a:prstGeom prst="line">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196" name="直接连接符 195">
            <a:extLst>
              <a:ext uri="{FF2B5EF4-FFF2-40B4-BE49-F238E27FC236}">
                <a16:creationId xmlns:a16="http://schemas.microsoft.com/office/drawing/2014/main" id="{FE1C299F-23EF-432F-9959-8E9BBDC2BD66}"/>
              </a:ext>
            </a:extLst>
          </p:cNvPr>
          <p:cNvCxnSpPr>
            <a:cxnSpLocks/>
          </p:cNvCxnSpPr>
          <p:nvPr/>
        </p:nvCxnSpPr>
        <p:spPr>
          <a:xfrm flipH="1" flipV="1">
            <a:off x="5832541" y="2492818"/>
            <a:ext cx="1" cy="3610799"/>
          </a:xfrm>
          <a:prstGeom prst="line">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197" name="直接连接符 196">
            <a:extLst>
              <a:ext uri="{FF2B5EF4-FFF2-40B4-BE49-F238E27FC236}">
                <a16:creationId xmlns:a16="http://schemas.microsoft.com/office/drawing/2014/main" id="{795AE31D-0D05-4EBA-9A87-2E90D503471D}"/>
              </a:ext>
            </a:extLst>
          </p:cNvPr>
          <p:cNvCxnSpPr>
            <a:cxnSpLocks/>
            <a:stCxn id="216" idx="1"/>
          </p:cNvCxnSpPr>
          <p:nvPr/>
        </p:nvCxnSpPr>
        <p:spPr>
          <a:xfrm flipH="1" flipV="1">
            <a:off x="7512117" y="2609552"/>
            <a:ext cx="1484" cy="2654484"/>
          </a:xfrm>
          <a:prstGeom prst="line">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198" name="直接连接符 197">
            <a:extLst>
              <a:ext uri="{FF2B5EF4-FFF2-40B4-BE49-F238E27FC236}">
                <a16:creationId xmlns:a16="http://schemas.microsoft.com/office/drawing/2014/main" id="{42EC5CB9-82CB-418D-9A2A-377EF889EDC0}"/>
              </a:ext>
            </a:extLst>
          </p:cNvPr>
          <p:cNvCxnSpPr>
            <a:cxnSpLocks/>
          </p:cNvCxnSpPr>
          <p:nvPr/>
        </p:nvCxnSpPr>
        <p:spPr>
          <a:xfrm rot="16200000">
            <a:off x="7444658" y="4356590"/>
            <a:ext cx="3494065" cy="0"/>
          </a:xfrm>
          <a:prstGeom prst="line">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41" name="矩形: 圆角 140">
            <a:extLst>
              <a:ext uri="{FF2B5EF4-FFF2-40B4-BE49-F238E27FC236}">
                <a16:creationId xmlns:a16="http://schemas.microsoft.com/office/drawing/2014/main" id="{89210385-39BC-4CC6-A99B-14A6276148DB}"/>
              </a:ext>
            </a:extLst>
          </p:cNvPr>
          <p:cNvSpPr/>
          <p:nvPr/>
        </p:nvSpPr>
        <p:spPr>
          <a:xfrm>
            <a:off x="2084770" y="2758439"/>
            <a:ext cx="813759" cy="1215199"/>
          </a:xfrm>
          <a:prstGeom prst="roundRect">
            <a:avLst/>
          </a:prstGeom>
          <a:gradFill flip="none" rotWithShape="1">
            <a:gsLst>
              <a:gs pos="1000">
                <a:schemeClr val="accent1"/>
              </a:gs>
              <a:gs pos="100000">
                <a:schemeClr val="accent1">
                  <a:lumMod val="60000"/>
                  <a:lumOff val="40000"/>
                </a:schemeClr>
              </a:gs>
            </a:gsLst>
            <a:lin ang="2700000" scaled="0"/>
            <a:tileRect/>
          </a:gradFill>
          <a:ln>
            <a:noFill/>
          </a:ln>
          <a:effectLst>
            <a:outerShdw blurRad="330200" dist="381000" dir="5400000" sx="90000" sy="90000" algn="t" rotWithShape="0">
              <a:schemeClr val="accent1">
                <a:lumMod val="75000"/>
                <a:alpha val="2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5720" tIns="22860" rIns="45720" bIns="228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Arial" panose="020F0502020204030204"/>
              <a:ea typeface="微软雅黑"/>
              <a:cs typeface="+mn-cs"/>
            </a:endParaRPr>
          </a:p>
        </p:txBody>
      </p:sp>
      <p:sp>
        <p:nvSpPr>
          <p:cNvPr id="142" name="矩形: 圆角 141">
            <a:extLst>
              <a:ext uri="{FF2B5EF4-FFF2-40B4-BE49-F238E27FC236}">
                <a16:creationId xmlns:a16="http://schemas.microsoft.com/office/drawing/2014/main" id="{A2518C90-9CB0-4CDB-937B-B273F4FF7159}"/>
              </a:ext>
            </a:extLst>
          </p:cNvPr>
          <p:cNvSpPr/>
          <p:nvPr/>
        </p:nvSpPr>
        <p:spPr>
          <a:xfrm>
            <a:off x="3768595" y="2758439"/>
            <a:ext cx="813759" cy="1215199"/>
          </a:xfrm>
          <a:prstGeom prst="roundRect">
            <a:avLst/>
          </a:prstGeom>
          <a:gradFill flip="none" rotWithShape="1">
            <a:gsLst>
              <a:gs pos="1000">
                <a:schemeClr val="accent2"/>
              </a:gs>
              <a:gs pos="100000">
                <a:schemeClr val="accent2">
                  <a:lumMod val="60000"/>
                  <a:lumOff val="40000"/>
                </a:schemeClr>
              </a:gs>
            </a:gsLst>
            <a:lin ang="2700000" scaled="0"/>
            <a:tileRect/>
          </a:gradFill>
          <a:ln>
            <a:noFill/>
          </a:ln>
          <a:effectLst>
            <a:outerShdw blurRad="330200" dist="381000" dir="5400000" sx="90000" sy="90000" algn="t" rotWithShape="0">
              <a:schemeClr val="accent2">
                <a:lumMod val="75000"/>
                <a:alpha val="2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5720" tIns="22860" rIns="45720" bIns="228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Arial" panose="020F0502020204030204"/>
              <a:ea typeface="微软雅黑"/>
              <a:cs typeface="+mn-cs"/>
            </a:endParaRPr>
          </a:p>
        </p:txBody>
      </p:sp>
      <p:sp>
        <p:nvSpPr>
          <p:cNvPr id="143" name="矩形: 圆角 142">
            <a:extLst>
              <a:ext uri="{FF2B5EF4-FFF2-40B4-BE49-F238E27FC236}">
                <a16:creationId xmlns:a16="http://schemas.microsoft.com/office/drawing/2014/main" id="{90778861-BED8-4FE5-ADAA-3B032B139AF7}"/>
              </a:ext>
            </a:extLst>
          </p:cNvPr>
          <p:cNvSpPr/>
          <p:nvPr/>
        </p:nvSpPr>
        <p:spPr>
          <a:xfrm>
            <a:off x="5452420" y="2758439"/>
            <a:ext cx="813759" cy="1215199"/>
          </a:xfrm>
          <a:prstGeom prst="roundRect">
            <a:avLst/>
          </a:prstGeom>
          <a:gradFill flip="none" rotWithShape="1">
            <a:gsLst>
              <a:gs pos="1000">
                <a:schemeClr val="accent5">
                  <a:lumMod val="75000"/>
                </a:schemeClr>
              </a:gs>
              <a:gs pos="100000">
                <a:schemeClr val="accent5"/>
              </a:gs>
            </a:gsLst>
            <a:lin ang="2700000" scaled="0"/>
            <a:tileRect/>
          </a:gradFill>
          <a:ln>
            <a:noFill/>
          </a:ln>
          <a:effectLst>
            <a:outerShdw blurRad="330200" dist="381000" dir="5400000" sx="90000" sy="90000" algn="t" rotWithShape="0">
              <a:schemeClr val="accent5">
                <a:lumMod val="50000"/>
                <a:alpha val="2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5720" tIns="22860" rIns="45720" bIns="228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Arial" panose="020F0502020204030204"/>
              <a:ea typeface="微软雅黑"/>
              <a:cs typeface="+mn-cs"/>
            </a:endParaRPr>
          </a:p>
        </p:txBody>
      </p:sp>
      <p:sp>
        <p:nvSpPr>
          <p:cNvPr id="144" name="矩形: 圆角 143">
            <a:extLst>
              <a:ext uri="{FF2B5EF4-FFF2-40B4-BE49-F238E27FC236}">
                <a16:creationId xmlns:a16="http://schemas.microsoft.com/office/drawing/2014/main" id="{B61B095A-79B5-48FB-97CD-16931B0A0E46}"/>
              </a:ext>
            </a:extLst>
          </p:cNvPr>
          <p:cNvSpPr/>
          <p:nvPr/>
        </p:nvSpPr>
        <p:spPr>
          <a:xfrm>
            <a:off x="7136245" y="2758439"/>
            <a:ext cx="813759" cy="1215199"/>
          </a:xfrm>
          <a:prstGeom prst="roundRect">
            <a:avLst/>
          </a:prstGeom>
          <a:gradFill flip="none" rotWithShape="1">
            <a:gsLst>
              <a:gs pos="1000">
                <a:schemeClr val="accent3"/>
              </a:gs>
              <a:gs pos="100000">
                <a:schemeClr val="accent3">
                  <a:lumMod val="60000"/>
                  <a:lumOff val="40000"/>
                </a:schemeClr>
              </a:gs>
            </a:gsLst>
            <a:lin ang="2700000" scaled="0"/>
            <a:tileRect/>
          </a:gradFill>
          <a:ln>
            <a:noFill/>
          </a:ln>
          <a:effectLst>
            <a:outerShdw blurRad="330200" dist="381000" dir="5400000" sx="90000" sy="90000" algn="t" rotWithShape="0">
              <a:schemeClr val="accent3">
                <a:lumMod val="50000"/>
                <a:alpha val="2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5720" tIns="22860" rIns="45720" bIns="228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Arial" panose="020F0502020204030204"/>
              <a:ea typeface="微软雅黑"/>
              <a:cs typeface="+mn-cs"/>
            </a:endParaRPr>
          </a:p>
        </p:txBody>
      </p:sp>
      <p:sp>
        <p:nvSpPr>
          <p:cNvPr id="145" name="矩形: 圆角 144">
            <a:extLst>
              <a:ext uri="{FF2B5EF4-FFF2-40B4-BE49-F238E27FC236}">
                <a16:creationId xmlns:a16="http://schemas.microsoft.com/office/drawing/2014/main" id="{2E7D6C68-4C8F-4CEB-B1C1-B46BC9C2CC3A}"/>
              </a:ext>
            </a:extLst>
          </p:cNvPr>
          <p:cNvSpPr/>
          <p:nvPr/>
        </p:nvSpPr>
        <p:spPr>
          <a:xfrm>
            <a:off x="8820072" y="2758439"/>
            <a:ext cx="813759" cy="1215199"/>
          </a:xfrm>
          <a:prstGeom prst="roundRect">
            <a:avLst/>
          </a:prstGeom>
          <a:gradFill flip="none" rotWithShape="1">
            <a:gsLst>
              <a:gs pos="1000">
                <a:schemeClr val="accent1"/>
              </a:gs>
              <a:gs pos="100000">
                <a:schemeClr val="accent1">
                  <a:lumMod val="60000"/>
                  <a:lumOff val="40000"/>
                </a:schemeClr>
              </a:gs>
            </a:gsLst>
            <a:lin ang="2700000" scaled="0"/>
            <a:tileRect/>
          </a:gradFill>
          <a:ln>
            <a:noFill/>
          </a:ln>
          <a:effectLst>
            <a:outerShdw blurRad="330200" dist="381000" dir="5400000" sx="90000" sy="90000" algn="t" rotWithShape="0">
              <a:schemeClr val="accent1">
                <a:lumMod val="75000"/>
                <a:alpha val="2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5720" tIns="22860" rIns="45720" bIns="228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Arial" panose="020F0502020204030204"/>
              <a:ea typeface="微软雅黑"/>
              <a:cs typeface="+mn-cs"/>
            </a:endParaRPr>
          </a:p>
        </p:txBody>
      </p:sp>
      <p:sp>
        <p:nvSpPr>
          <p:cNvPr id="10100" name="Object 10100"/>
          <p:cNvSpPr txBox="1"/>
          <p:nvPr/>
        </p:nvSpPr>
        <p:spPr>
          <a:xfrm>
            <a:off x="2047630" y="3277571"/>
            <a:ext cx="915982" cy="495300"/>
          </a:xfrm>
          <a:prstGeom prst="rect">
            <a:avLst/>
          </a:prstGeom>
        </p:spPr>
        <p:txBody>
          <a:bodyPr vert="horz" rtlCol="0" anchor="ctr" anchorCtr="0">
            <a:noAutofit/>
          </a:body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0" lang="zh-CN" altLang="en-US" sz="1600" b="0" i="0" u="none" strike="noStrike" kern="1200" cap="none" spc="0" normalizeH="0" baseline="0" noProof="0" dirty="0">
                <a:ln>
                  <a:noFill/>
                </a:ln>
                <a:solidFill>
                  <a:srgbClr val="FFFFFF"/>
                </a:solidFill>
                <a:effectLst/>
                <a:uLnTx/>
                <a:uFillTx/>
                <a:latin typeface="OPPOSans M" panose="00020600040101010101" pitchFamily="18" charset="-122"/>
                <a:ea typeface="OPPOSans M" panose="00020600040101010101" pitchFamily="18" charset="-122"/>
                <a:cs typeface="+mn-cs"/>
              </a:rPr>
              <a:t>投资</a:t>
            </a:r>
            <a:endParaRPr kumimoji="0" lang="zh-CN" altLang="en-US" sz="1600" b="0" i="0" u="none" strike="noStrike" kern="1200" cap="none" spc="0" normalizeH="0" baseline="0" noProof="0" dirty="0">
              <a:ln>
                <a:noFill/>
              </a:ln>
              <a:solidFill>
                <a:srgbClr val="000000"/>
              </a:solidFill>
              <a:effectLst/>
              <a:uLnTx/>
              <a:uFillTx/>
              <a:latin typeface="Arial" panose="020F0502020204030204"/>
              <a:ea typeface="微软雅黑"/>
              <a:cs typeface="+mn-cs"/>
            </a:endParaRPr>
          </a:p>
          <a:p>
            <a:pPr marL="0" marR="0" lvl="0" indent="0" algn="ctr" defTabSz="914400" rtl="0" eaLnBrk="1" fontAlgn="auto" latinLnBrk="0" hangingPunct="1">
              <a:lnSpc>
                <a:spcPct val="120000"/>
              </a:lnSpc>
              <a:spcBef>
                <a:spcPts val="0"/>
              </a:spcBef>
              <a:spcAft>
                <a:spcPts val="0"/>
              </a:spcAft>
              <a:buClrTx/>
              <a:buSzTx/>
              <a:buFontTx/>
              <a:buNone/>
              <a:tabLst/>
              <a:defRPr/>
            </a:pPr>
            <a:r>
              <a:rPr kumimoji="0" lang="zh-CN" altLang="en-US" sz="1600" b="0" i="0" u="none" strike="noStrike" kern="1200" cap="none" spc="0" normalizeH="0" baseline="0" noProof="0" dirty="0">
                <a:ln>
                  <a:noFill/>
                </a:ln>
                <a:solidFill>
                  <a:srgbClr val="FFFFFF"/>
                </a:solidFill>
                <a:effectLst/>
                <a:uLnTx/>
                <a:uFillTx/>
                <a:latin typeface="OPPOSans M" panose="00020600040101010101" pitchFamily="18" charset="-122"/>
                <a:ea typeface="OPPOSans M" panose="00020600040101010101" pitchFamily="18" charset="-122"/>
                <a:cs typeface="+mn-cs"/>
              </a:rPr>
              <a:t>发展部</a:t>
            </a:r>
            <a:endParaRPr kumimoji="0" lang="zh-CN" altLang="en-US" sz="800" b="0" i="0" u="none" strike="noStrike" kern="1200" cap="none" spc="0" normalizeH="0" baseline="0" noProof="0" dirty="0">
              <a:ln>
                <a:noFill/>
              </a:ln>
              <a:solidFill>
                <a:srgbClr val="000000"/>
              </a:solidFill>
              <a:effectLst/>
              <a:uLnTx/>
              <a:uFillTx/>
              <a:latin typeface="Arial" panose="020F0502020204030204"/>
              <a:ea typeface="微软雅黑"/>
              <a:cs typeface="+mn-cs"/>
            </a:endParaRPr>
          </a:p>
        </p:txBody>
      </p:sp>
      <p:sp>
        <p:nvSpPr>
          <p:cNvPr id="10101" name="Object 10101"/>
          <p:cNvSpPr txBox="1"/>
          <p:nvPr/>
        </p:nvSpPr>
        <p:spPr>
          <a:xfrm>
            <a:off x="3717484" y="3274892"/>
            <a:ext cx="915982" cy="495300"/>
          </a:xfrm>
          <a:prstGeom prst="rect">
            <a:avLst/>
          </a:prstGeom>
        </p:spPr>
        <p:txBody>
          <a:bodyPr vert="horz" rtlCol="0" anchor="ctr" anchorCtr="0">
            <a:noAutofit/>
          </a:body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0" lang="zh-CN" altLang="en-US" sz="1600" b="0" i="0" u="none" strike="noStrike" kern="1200" cap="none" spc="0" normalizeH="0" baseline="0" noProof="0" dirty="0">
                <a:ln>
                  <a:noFill/>
                </a:ln>
                <a:solidFill>
                  <a:srgbClr val="FFFFFF"/>
                </a:solidFill>
                <a:effectLst/>
                <a:uLnTx/>
                <a:uFillTx/>
                <a:latin typeface="OPPOSans M" panose="00020600040101010101" pitchFamily="18" charset="-122"/>
                <a:ea typeface="OPPOSans M" panose="00020600040101010101" pitchFamily="18" charset="-122"/>
                <a:cs typeface="+mn-cs"/>
              </a:rPr>
              <a:t>计划</a:t>
            </a:r>
            <a:endParaRPr kumimoji="0" lang="zh-CN" altLang="en-US" sz="1600" b="0" i="0" u="none" strike="noStrike" kern="1200" cap="none" spc="0" normalizeH="0" baseline="0" noProof="0" dirty="0">
              <a:ln>
                <a:noFill/>
              </a:ln>
              <a:solidFill>
                <a:srgbClr val="000000"/>
              </a:solidFill>
              <a:effectLst/>
              <a:uLnTx/>
              <a:uFillTx/>
              <a:latin typeface="Arial" panose="020F0502020204030204"/>
              <a:ea typeface="微软雅黑"/>
              <a:cs typeface="+mn-cs"/>
            </a:endParaRPr>
          </a:p>
          <a:p>
            <a:pPr marL="0" marR="0" lvl="0" indent="0" algn="ctr" defTabSz="914400" rtl="0" eaLnBrk="1" fontAlgn="auto" latinLnBrk="0" hangingPunct="1">
              <a:lnSpc>
                <a:spcPct val="120000"/>
              </a:lnSpc>
              <a:spcBef>
                <a:spcPts val="0"/>
              </a:spcBef>
              <a:spcAft>
                <a:spcPts val="0"/>
              </a:spcAft>
              <a:buClrTx/>
              <a:buSzTx/>
              <a:buFontTx/>
              <a:buNone/>
              <a:tabLst/>
              <a:defRPr/>
            </a:pPr>
            <a:r>
              <a:rPr kumimoji="0" lang="zh-CN" altLang="en-US" sz="1600" b="0" i="0" u="none" strike="noStrike" kern="1200" cap="none" spc="0" normalizeH="0" baseline="0" noProof="0" dirty="0">
                <a:ln>
                  <a:noFill/>
                </a:ln>
                <a:solidFill>
                  <a:srgbClr val="FFFFFF"/>
                </a:solidFill>
                <a:effectLst/>
                <a:uLnTx/>
                <a:uFillTx/>
                <a:latin typeface="OPPOSans M" panose="00020600040101010101" pitchFamily="18" charset="-122"/>
                <a:ea typeface="OPPOSans M" panose="00020600040101010101" pitchFamily="18" charset="-122"/>
                <a:cs typeface="+mn-cs"/>
              </a:rPr>
              <a:t>财务部</a:t>
            </a:r>
            <a:endParaRPr kumimoji="0" lang="zh-CN" altLang="en-US" sz="800" b="0" i="0" u="none" strike="noStrike" kern="1200" cap="none" spc="0" normalizeH="0" baseline="0" noProof="0" dirty="0">
              <a:ln>
                <a:noFill/>
              </a:ln>
              <a:solidFill>
                <a:srgbClr val="000000"/>
              </a:solidFill>
              <a:effectLst/>
              <a:uLnTx/>
              <a:uFillTx/>
              <a:latin typeface="Arial" panose="020F0502020204030204"/>
              <a:ea typeface="微软雅黑"/>
              <a:cs typeface="+mn-cs"/>
            </a:endParaRPr>
          </a:p>
        </p:txBody>
      </p:sp>
      <p:sp>
        <p:nvSpPr>
          <p:cNvPr id="10102" name="Object 10102"/>
          <p:cNvSpPr txBox="1"/>
          <p:nvPr/>
        </p:nvSpPr>
        <p:spPr>
          <a:xfrm>
            <a:off x="5401309" y="3274892"/>
            <a:ext cx="915982" cy="495300"/>
          </a:xfrm>
          <a:prstGeom prst="rect">
            <a:avLst/>
          </a:prstGeom>
        </p:spPr>
        <p:txBody>
          <a:bodyPr vert="horz" rtlCol="0" anchor="ctr" anchorCtr="0">
            <a:noAutofit/>
          </a:body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0" lang="zh-CN" altLang="en-US" sz="1600" b="0" i="0" u="none" strike="noStrike" kern="1200" cap="none" spc="0" normalizeH="0" baseline="0" noProof="0" dirty="0">
                <a:ln>
                  <a:noFill/>
                </a:ln>
                <a:solidFill>
                  <a:srgbClr val="FFFFFF"/>
                </a:solidFill>
                <a:effectLst/>
                <a:uLnTx/>
                <a:uFillTx/>
                <a:latin typeface="OPPOSans M" panose="00020600040101010101" pitchFamily="18" charset="-122"/>
                <a:ea typeface="OPPOSans M" panose="00020600040101010101" pitchFamily="18" charset="-122"/>
                <a:cs typeface="+mn-cs"/>
              </a:rPr>
              <a:t>人力</a:t>
            </a:r>
            <a:endParaRPr kumimoji="0" lang="zh-CN" altLang="en-US" sz="1600" b="0" i="0" u="none" strike="noStrike" kern="1200" cap="none" spc="0" normalizeH="0" baseline="0" noProof="0" dirty="0">
              <a:ln>
                <a:noFill/>
              </a:ln>
              <a:solidFill>
                <a:srgbClr val="000000"/>
              </a:solidFill>
              <a:effectLst/>
              <a:uLnTx/>
              <a:uFillTx/>
              <a:latin typeface="Arial" panose="020F0502020204030204"/>
              <a:ea typeface="微软雅黑"/>
              <a:cs typeface="+mn-cs"/>
            </a:endParaRPr>
          </a:p>
          <a:p>
            <a:pPr marL="0" marR="0" lvl="0" indent="0" algn="ctr" defTabSz="914400" rtl="0" eaLnBrk="1" fontAlgn="auto" latinLnBrk="0" hangingPunct="1">
              <a:lnSpc>
                <a:spcPct val="120000"/>
              </a:lnSpc>
              <a:spcBef>
                <a:spcPts val="0"/>
              </a:spcBef>
              <a:spcAft>
                <a:spcPts val="0"/>
              </a:spcAft>
              <a:buClrTx/>
              <a:buSzTx/>
              <a:buFontTx/>
              <a:buNone/>
              <a:tabLst/>
              <a:defRPr/>
            </a:pPr>
            <a:r>
              <a:rPr kumimoji="0" lang="zh-CN" altLang="en-US" sz="1600" b="0" i="0" u="none" strike="noStrike" kern="1200" cap="none" spc="0" normalizeH="0" baseline="0" noProof="0" dirty="0">
                <a:ln>
                  <a:noFill/>
                </a:ln>
                <a:solidFill>
                  <a:srgbClr val="FFFFFF"/>
                </a:solidFill>
                <a:effectLst/>
                <a:uLnTx/>
                <a:uFillTx/>
                <a:latin typeface="OPPOSans M" panose="00020600040101010101" pitchFamily="18" charset="-122"/>
                <a:ea typeface="OPPOSans M" panose="00020600040101010101" pitchFamily="18" charset="-122"/>
                <a:cs typeface="+mn-cs"/>
              </a:rPr>
              <a:t>资源部</a:t>
            </a:r>
            <a:endParaRPr kumimoji="0" lang="zh-CN" altLang="en-US" sz="800" b="0" i="0" u="none" strike="noStrike" kern="1200" cap="none" spc="0" normalizeH="0" baseline="0" noProof="0" dirty="0">
              <a:ln>
                <a:noFill/>
              </a:ln>
              <a:solidFill>
                <a:srgbClr val="000000"/>
              </a:solidFill>
              <a:effectLst/>
              <a:uLnTx/>
              <a:uFillTx/>
              <a:latin typeface="Arial" panose="020F0502020204030204"/>
              <a:ea typeface="微软雅黑"/>
              <a:cs typeface="+mn-cs"/>
            </a:endParaRPr>
          </a:p>
        </p:txBody>
      </p:sp>
      <p:sp>
        <p:nvSpPr>
          <p:cNvPr id="10103" name="Object 10103"/>
          <p:cNvSpPr txBox="1"/>
          <p:nvPr/>
        </p:nvSpPr>
        <p:spPr>
          <a:xfrm>
            <a:off x="7085134" y="3277571"/>
            <a:ext cx="915982" cy="495300"/>
          </a:xfrm>
          <a:prstGeom prst="rect">
            <a:avLst/>
          </a:prstGeom>
        </p:spPr>
        <p:txBody>
          <a:bodyPr vert="horz" rtlCol="0" anchor="ctr" anchorCtr="0">
            <a:noAutofit/>
          </a:body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0" lang="zh-CN" altLang="en-US" sz="1600" b="0" i="0" u="none" strike="noStrike" kern="1200" cap="none" spc="0" normalizeH="0" baseline="0" noProof="0" dirty="0">
                <a:ln>
                  <a:noFill/>
                </a:ln>
                <a:solidFill>
                  <a:srgbClr val="FFFFFF"/>
                </a:solidFill>
                <a:effectLst/>
                <a:uLnTx/>
                <a:uFillTx/>
                <a:latin typeface="OPPOSans M" panose="00020600040101010101" pitchFamily="18" charset="-122"/>
                <a:ea typeface="OPPOSans M" panose="00020600040101010101" pitchFamily="18" charset="-122"/>
                <a:cs typeface="+mn-cs"/>
              </a:rPr>
              <a:t>品牌</a:t>
            </a:r>
            <a:endParaRPr kumimoji="0" lang="zh-CN" altLang="en-US" sz="1600" b="0" i="0" u="none" strike="noStrike" kern="1200" cap="none" spc="0" normalizeH="0" baseline="0" noProof="0" dirty="0">
              <a:ln>
                <a:noFill/>
              </a:ln>
              <a:solidFill>
                <a:srgbClr val="000000"/>
              </a:solidFill>
              <a:effectLst/>
              <a:uLnTx/>
              <a:uFillTx/>
              <a:latin typeface="Arial" panose="020F0502020204030204"/>
              <a:ea typeface="微软雅黑"/>
              <a:cs typeface="+mn-cs"/>
            </a:endParaRPr>
          </a:p>
          <a:p>
            <a:pPr marL="0" marR="0" lvl="0" indent="0" algn="ctr" defTabSz="914400" rtl="0" eaLnBrk="1" fontAlgn="auto" latinLnBrk="0" hangingPunct="1">
              <a:lnSpc>
                <a:spcPct val="120000"/>
              </a:lnSpc>
              <a:spcBef>
                <a:spcPts val="0"/>
              </a:spcBef>
              <a:spcAft>
                <a:spcPts val="0"/>
              </a:spcAft>
              <a:buClrTx/>
              <a:buSzTx/>
              <a:buFontTx/>
              <a:buNone/>
              <a:tabLst/>
              <a:defRPr/>
            </a:pPr>
            <a:r>
              <a:rPr kumimoji="0" lang="zh-CN" altLang="en-US" sz="1600" b="0" i="0" u="none" strike="noStrike" kern="1200" cap="none" spc="0" normalizeH="0" baseline="0" noProof="0" dirty="0">
                <a:ln>
                  <a:noFill/>
                </a:ln>
                <a:solidFill>
                  <a:srgbClr val="FFFFFF"/>
                </a:solidFill>
                <a:effectLst/>
                <a:uLnTx/>
                <a:uFillTx/>
                <a:latin typeface="OPPOSans M" panose="00020600040101010101" pitchFamily="18" charset="-122"/>
                <a:ea typeface="OPPOSans M" panose="00020600040101010101" pitchFamily="18" charset="-122"/>
                <a:cs typeface="+mn-cs"/>
              </a:rPr>
              <a:t>管理部</a:t>
            </a:r>
            <a:endParaRPr kumimoji="0" lang="zh-CN" altLang="en-US" sz="800" b="0" i="0" u="none" strike="noStrike" kern="1200" cap="none" spc="0" normalizeH="0" baseline="0" noProof="0" dirty="0">
              <a:ln>
                <a:noFill/>
              </a:ln>
              <a:solidFill>
                <a:srgbClr val="000000"/>
              </a:solidFill>
              <a:effectLst/>
              <a:uLnTx/>
              <a:uFillTx/>
              <a:latin typeface="Arial" panose="020F0502020204030204"/>
              <a:ea typeface="微软雅黑"/>
              <a:cs typeface="+mn-cs"/>
            </a:endParaRPr>
          </a:p>
        </p:txBody>
      </p:sp>
      <p:sp>
        <p:nvSpPr>
          <p:cNvPr id="10104" name="Object 10104"/>
          <p:cNvSpPr txBox="1"/>
          <p:nvPr/>
        </p:nvSpPr>
        <p:spPr>
          <a:xfrm>
            <a:off x="8780713" y="3275587"/>
            <a:ext cx="915982" cy="495300"/>
          </a:xfrm>
          <a:prstGeom prst="rect">
            <a:avLst/>
          </a:prstGeom>
        </p:spPr>
        <p:txBody>
          <a:bodyPr vert="horz" rtlCol="0" anchor="ctr" anchorCtr="0">
            <a:noAutofit/>
          </a:body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0" lang="zh-CN" altLang="en-US" sz="1600" b="0" i="0" u="none" strike="noStrike" kern="1200" cap="none" spc="0" normalizeH="0" baseline="0" noProof="0" dirty="0">
                <a:ln>
                  <a:noFill/>
                </a:ln>
                <a:solidFill>
                  <a:srgbClr val="FFFFFF"/>
                </a:solidFill>
                <a:effectLst/>
                <a:uLnTx/>
                <a:uFillTx/>
                <a:latin typeface="OPPOSans M" panose="00020600040101010101" pitchFamily="18" charset="-122"/>
                <a:ea typeface="OPPOSans M" panose="00020600040101010101" pitchFamily="18" charset="-122"/>
                <a:cs typeface="+mn-cs"/>
              </a:rPr>
              <a:t>技术</a:t>
            </a:r>
            <a:endParaRPr kumimoji="0" lang="zh-CN" altLang="en-US" sz="1600" b="0" i="0" u="none" strike="noStrike" kern="1200" cap="none" spc="0" normalizeH="0" baseline="0" noProof="0" dirty="0">
              <a:ln>
                <a:noFill/>
              </a:ln>
              <a:solidFill>
                <a:srgbClr val="000000"/>
              </a:solidFill>
              <a:effectLst/>
              <a:uLnTx/>
              <a:uFillTx/>
              <a:latin typeface="Arial" panose="020F0502020204030204"/>
              <a:ea typeface="微软雅黑"/>
              <a:cs typeface="+mn-cs"/>
            </a:endParaRPr>
          </a:p>
          <a:p>
            <a:pPr marL="0" marR="0" lvl="0" indent="0" algn="ctr" defTabSz="914400" rtl="0" eaLnBrk="1" fontAlgn="auto" latinLnBrk="0" hangingPunct="1">
              <a:lnSpc>
                <a:spcPct val="120000"/>
              </a:lnSpc>
              <a:spcBef>
                <a:spcPts val="0"/>
              </a:spcBef>
              <a:spcAft>
                <a:spcPts val="0"/>
              </a:spcAft>
              <a:buClrTx/>
              <a:buSzTx/>
              <a:buFontTx/>
              <a:buNone/>
              <a:tabLst/>
              <a:defRPr/>
            </a:pPr>
            <a:r>
              <a:rPr kumimoji="0" lang="zh-CN" altLang="en-US" sz="1600" b="0" i="0" u="none" strike="noStrike" kern="1200" cap="none" spc="0" normalizeH="0" baseline="0" noProof="0" dirty="0">
                <a:ln>
                  <a:noFill/>
                </a:ln>
                <a:solidFill>
                  <a:srgbClr val="FFFFFF"/>
                </a:solidFill>
                <a:effectLst/>
                <a:uLnTx/>
                <a:uFillTx/>
                <a:latin typeface="OPPOSans M" panose="00020600040101010101" pitchFamily="18" charset="-122"/>
                <a:ea typeface="OPPOSans M" panose="00020600040101010101" pitchFamily="18" charset="-122"/>
                <a:cs typeface="+mn-cs"/>
              </a:rPr>
              <a:t>中心</a:t>
            </a:r>
            <a:endParaRPr kumimoji="0" lang="zh-CN" altLang="en-US" sz="800" b="0" i="0" u="none" strike="noStrike" kern="1200" cap="none" spc="0" normalizeH="0" baseline="0" noProof="0" dirty="0">
              <a:ln>
                <a:noFill/>
              </a:ln>
              <a:solidFill>
                <a:srgbClr val="000000"/>
              </a:solidFill>
              <a:effectLst/>
              <a:uLnTx/>
              <a:uFillTx/>
              <a:latin typeface="Arial" panose="020F0502020204030204"/>
              <a:ea typeface="微软雅黑"/>
              <a:cs typeface="+mn-cs"/>
            </a:endParaRPr>
          </a:p>
        </p:txBody>
      </p:sp>
      <p:sp>
        <p:nvSpPr>
          <p:cNvPr id="172" name="Oval 152">
            <a:extLst>
              <a:ext uri="{FF2B5EF4-FFF2-40B4-BE49-F238E27FC236}">
                <a16:creationId xmlns:a16="http://schemas.microsoft.com/office/drawing/2014/main" id="{9A6AEF1D-02F6-43D3-B3B1-0C2268963B63}"/>
              </a:ext>
            </a:extLst>
          </p:cNvPr>
          <p:cNvSpPr/>
          <p:nvPr/>
        </p:nvSpPr>
        <p:spPr>
          <a:xfrm>
            <a:off x="2331913" y="2867062"/>
            <a:ext cx="319474" cy="307134"/>
          </a:xfrm>
          <a:custGeom>
            <a:avLst/>
            <a:gdLst>
              <a:gd name="connsiteX0" fmla="*/ 152925 w 359004"/>
              <a:gd name="connsiteY0" fmla="*/ 125701 h 345141"/>
              <a:gd name="connsiteX1" fmla="*/ 128863 w 359004"/>
              <a:gd name="connsiteY1" fmla="*/ 149836 h 345141"/>
              <a:gd name="connsiteX2" fmla="*/ 153572 w 359004"/>
              <a:gd name="connsiteY2" fmla="*/ 173971 h 345141"/>
              <a:gd name="connsiteX3" fmla="*/ 155655 w 359004"/>
              <a:gd name="connsiteY3" fmla="*/ 173971 h 345141"/>
              <a:gd name="connsiteX4" fmla="*/ 155871 w 359004"/>
              <a:gd name="connsiteY4" fmla="*/ 173971 h 345141"/>
              <a:gd name="connsiteX5" fmla="*/ 179861 w 359004"/>
              <a:gd name="connsiteY5" fmla="*/ 149764 h 345141"/>
              <a:gd name="connsiteX6" fmla="*/ 155511 w 359004"/>
              <a:gd name="connsiteY6" fmla="*/ 125701 h 345141"/>
              <a:gd name="connsiteX7" fmla="*/ 153931 w 359004"/>
              <a:gd name="connsiteY7" fmla="*/ 125701 h 345141"/>
              <a:gd name="connsiteX8" fmla="*/ 153572 w 359004"/>
              <a:gd name="connsiteY8" fmla="*/ 111407 h 345141"/>
              <a:gd name="connsiteX9" fmla="*/ 155081 w 359004"/>
              <a:gd name="connsiteY9" fmla="*/ 111407 h 345141"/>
              <a:gd name="connsiteX10" fmla="*/ 194227 w 359004"/>
              <a:gd name="connsiteY10" fmla="*/ 149836 h 345141"/>
              <a:gd name="connsiteX11" fmla="*/ 155081 w 359004"/>
              <a:gd name="connsiteY11" fmla="*/ 188337 h 345141"/>
              <a:gd name="connsiteX12" fmla="*/ 153572 w 359004"/>
              <a:gd name="connsiteY12" fmla="*/ 188337 h 345141"/>
              <a:gd name="connsiteX13" fmla="*/ 114497 w 359004"/>
              <a:gd name="connsiteY13" fmla="*/ 149836 h 345141"/>
              <a:gd name="connsiteX14" fmla="*/ 153572 w 359004"/>
              <a:gd name="connsiteY14" fmla="*/ 111407 h 345141"/>
              <a:gd name="connsiteX15" fmla="*/ 154505 w 359004"/>
              <a:gd name="connsiteY15" fmla="*/ 100345 h 345141"/>
              <a:gd name="connsiteX16" fmla="*/ 144808 w 359004"/>
              <a:gd name="connsiteY16" fmla="*/ 101135 h 345141"/>
              <a:gd name="connsiteX17" fmla="*/ 105230 w 359004"/>
              <a:gd name="connsiteY17" fmla="*/ 137050 h 345141"/>
              <a:gd name="connsiteX18" fmla="*/ 126348 w 359004"/>
              <a:gd name="connsiteY18" fmla="*/ 191209 h 345141"/>
              <a:gd name="connsiteX19" fmla="*/ 138702 w 359004"/>
              <a:gd name="connsiteY19" fmla="*/ 199254 h 345141"/>
              <a:gd name="connsiteX20" fmla="*/ 124337 w 359004"/>
              <a:gd name="connsiteY20" fmla="*/ 203995 h 345141"/>
              <a:gd name="connsiteX21" fmla="*/ 80233 w 359004"/>
              <a:gd name="connsiteY21" fmla="*/ 237253 h 345141"/>
              <a:gd name="connsiteX22" fmla="*/ 79587 w 359004"/>
              <a:gd name="connsiteY22" fmla="*/ 241275 h 345141"/>
              <a:gd name="connsiteX23" fmla="*/ 82531 w 359004"/>
              <a:gd name="connsiteY23" fmla="*/ 244292 h 345141"/>
              <a:gd name="connsiteX24" fmla="*/ 84255 w 359004"/>
              <a:gd name="connsiteY24" fmla="*/ 244938 h 345141"/>
              <a:gd name="connsiteX25" fmla="*/ 90289 w 359004"/>
              <a:gd name="connsiteY25" fmla="*/ 242927 h 345141"/>
              <a:gd name="connsiteX26" fmla="*/ 154146 w 359004"/>
              <a:gd name="connsiteY26" fmla="*/ 210316 h 345141"/>
              <a:gd name="connsiteX27" fmla="*/ 155726 w 359004"/>
              <a:gd name="connsiteY27" fmla="*/ 210316 h 345141"/>
              <a:gd name="connsiteX28" fmla="*/ 219439 w 359004"/>
              <a:gd name="connsiteY28" fmla="*/ 242927 h 345141"/>
              <a:gd name="connsiteX29" fmla="*/ 225472 w 359004"/>
              <a:gd name="connsiteY29" fmla="*/ 244938 h 345141"/>
              <a:gd name="connsiteX30" fmla="*/ 227196 w 359004"/>
              <a:gd name="connsiteY30" fmla="*/ 244292 h 345141"/>
              <a:gd name="connsiteX31" fmla="*/ 230141 w 359004"/>
              <a:gd name="connsiteY31" fmla="*/ 241275 h 345141"/>
              <a:gd name="connsiteX32" fmla="*/ 229854 w 359004"/>
              <a:gd name="connsiteY32" fmla="*/ 237253 h 345141"/>
              <a:gd name="connsiteX33" fmla="*/ 185679 w 359004"/>
              <a:gd name="connsiteY33" fmla="*/ 203995 h 345141"/>
              <a:gd name="connsiteX34" fmla="*/ 171744 w 359004"/>
              <a:gd name="connsiteY34" fmla="*/ 199254 h 345141"/>
              <a:gd name="connsiteX35" fmla="*/ 184098 w 359004"/>
              <a:gd name="connsiteY35" fmla="*/ 191209 h 345141"/>
              <a:gd name="connsiteX36" fmla="*/ 205217 w 359004"/>
              <a:gd name="connsiteY36" fmla="*/ 137050 h 345141"/>
              <a:gd name="connsiteX37" fmla="*/ 165639 w 359004"/>
              <a:gd name="connsiteY37" fmla="*/ 101135 h 345141"/>
              <a:gd name="connsiteX38" fmla="*/ 155295 w 359004"/>
              <a:gd name="connsiteY38" fmla="*/ 100345 h 345141"/>
              <a:gd name="connsiteX39" fmla="*/ 154648 w 359004"/>
              <a:gd name="connsiteY39" fmla="*/ 85907 h 345141"/>
              <a:gd name="connsiteX40" fmla="*/ 167578 w 359004"/>
              <a:gd name="connsiteY40" fmla="*/ 86913 h 345141"/>
              <a:gd name="connsiteX41" fmla="*/ 218505 w 359004"/>
              <a:gd name="connsiteY41" fmla="*/ 133531 h 345141"/>
              <a:gd name="connsiteX42" fmla="*/ 201410 w 359004"/>
              <a:gd name="connsiteY42" fmla="*/ 195232 h 345141"/>
              <a:gd name="connsiteX43" fmla="*/ 240988 w 359004"/>
              <a:gd name="connsiteY43" fmla="*/ 228992 h 345141"/>
              <a:gd name="connsiteX44" fmla="*/ 243574 w 359004"/>
              <a:gd name="connsiteY44" fmla="*/ 245585 h 345141"/>
              <a:gd name="connsiteX45" fmla="*/ 231865 w 359004"/>
              <a:gd name="connsiteY45" fmla="*/ 257796 h 345141"/>
              <a:gd name="connsiteX46" fmla="*/ 230141 w 359004"/>
              <a:gd name="connsiteY46" fmla="*/ 258442 h 345141"/>
              <a:gd name="connsiteX47" fmla="*/ 207443 w 359004"/>
              <a:gd name="connsiteY47" fmla="*/ 251259 h 345141"/>
              <a:gd name="connsiteX48" fmla="*/ 154648 w 359004"/>
              <a:gd name="connsiteY48" fmla="*/ 224682 h 345141"/>
              <a:gd name="connsiteX49" fmla="*/ 101710 w 359004"/>
              <a:gd name="connsiteY49" fmla="*/ 251259 h 345141"/>
              <a:gd name="connsiteX50" fmla="*/ 85620 w 359004"/>
              <a:gd name="connsiteY50" fmla="*/ 259591 h 345141"/>
              <a:gd name="connsiteX51" fmla="*/ 79012 w 359004"/>
              <a:gd name="connsiteY51" fmla="*/ 258442 h 345141"/>
              <a:gd name="connsiteX52" fmla="*/ 77288 w 359004"/>
              <a:gd name="connsiteY52" fmla="*/ 257796 h 345141"/>
              <a:gd name="connsiteX53" fmla="*/ 65580 w 359004"/>
              <a:gd name="connsiteY53" fmla="*/ 245585 h 345141"/>
              <a:gd name="connsiteX54" fmla="*/ 68165 w 359004"/>
              <a:gd name="connsiteY54" fmla="*/ 228992 h 345141"/>
              <a:gd name="connsiteX55" fmla="*/ 107743 w 359004"/>
              <a:gd name="connsiteY55" fmla="*/ 195232 h 345141"/>
              <a:gd name="connsiteX56" fmla="*/ 90648 w 359004"/>
              <a:gd name="connsiteY56" fmla="*/ 133531 h 345141"/>
              <a:gd name="connsiteX57" fmla="*/ 141576 w 359004"/>
              <a:gd name="connsiteY57" fmla="*/ 86913 h 345141"/>
              <a:gd name="connsiteX58" fmla="*/ 154648 w 359004"/>
              <a:gd name="connsiteY58" fmla="*/ 85907 h 345141"/>
              <a:gd name="connsiteX59" fmla="*/ 24781 w 359004"/>
              <a:gd name="connsiteY59" fmla="*/ 59762 h 345141"/>
              <a:gd name="connsiteX60" fmla="*/ 14366 w 359004"/>
              <a:gd name="connsiteY60" fmla="*/ 69890 h 345141"/>
              <a:gd name="connsiteX61" fmla="*/ 14366 w 359004"/>
              <a:gd name="connsiteY61" fmla="*/ 280063 h 345141"/>
              <a:gd name="connsiteX62" fmla="*/ 24781 w 359004"/>
              <a:gd name="connsiteY62" fmla="*/ 290120 h 345141"/>
              <a:gd name="connsiteX63" fmla="*/ 102142 w 359004"/>
              <a:gd name="connsiteY63" fmla="*/ 290120 h 345141"/>
              <a:gd name="connsiteX64" fmla="*/ 119884 w 359004"/>
              <a:gd name="connsiteY64" fmla="*/ 297303 h 345141"/>
              <a:gd name="connsiteX65" fmla="*/ 150555 w 359004"/>
              <a:gd name="connsiteY65" fmla="*/ 328046 h 345141"/>
              <a:gd name="connsiteX66" fmla="*/ 165352 w 359004"/>
              <a:gd name="connsiteY66" fmla="*/ 328046 h 345141"/>
              <a:gd name="connsiteX67" fmla="*/ 199471 w 359004"/>
              <a:gd name="connsiteY67" fmla="*/ 296441 h 345141"/>
              <a:gd name="connsiteX68" fmla="*/ 216494 w 359004"/>
              <a:gd name="connsiteY68" fmla="*/ 289761 h 345141"/>
              <a:gd name="connsiteX69" fmla="*/ 285738 w 359004"/>
              <a:gd name="connsiteY69" fmla="*/ 289761 h 345141"/>
              <a:gd name="connsiteX70" fmla="*/ 296225 w 359004"/>
              <a:gd name="connsiteY70" fmla="*/ 279704 h 345141"/>
              <a:gd name="connsiteX71" fmla="*/ 296225 w 359004"/>
              <a:gd name="connsiteY71" fmla="*/ 69890 h 345141"/>
              <a:gd name="connsiteX72" fmla="*/ 285738 w 359004"/>
              <a:gd name="connsiteY72" fmla="*/ 59762 h 345141"/>
              <a:gd name="connsiteX73" fmla="*/ 102070 w 359004"/>
              <a:gd name="connsiteY73" fmla="*/ 14366 h 345141"/>
              <a:gd name="connsiteX74" fmla="*/ 79300 w 359004"/>
              <a:gd name="connsiteY74" fmla="*/ 37136 h 345141"/>
              <a:gd name="connsiteX75" fmla="*/ 79300 w 359004"/>
              <a:gd name="connsiteY75" fmla="*/ 45396 h 345141"/>
              <a:gd name="connsiteX76" fmla="*/ 285738 w 359004"/>
              <a:gd name="connsiteY76" fmla="*/ 45396 h 345141"/>
              <a:gd name="connsiteX77" fmla="*/ 310591 w 359004"/>
              <a:gd name="connsiteY77" fmla="*/ 69890 h 345141"/>
              <a:gd name="connsiteX78" fmla="*/ 310591 w 359004"/>
              <a:gd name="connsiteY78" fmla="*/ 258586 h 345141"/>
              <a:gd name="connsiteX79" fmla="*/ 322299 w 359004"/>
              <a:gd name="connsiteY79" fmla="*/ 258586 h 345141"/>
              <a:gd name="connsiteX80" fmla="*/ 345069 w 359004"/>
              <a:gd name="connsiteY80" fmla="*/ 235817 h 345141"/>
              <a:gd name="connsiteX81" fmla="*/ 345069 w 359004"/>
              <a:gd name="connsiteY81" fmla="*/ 37136 h 345141"/>
              <a:gd name="connsiteX82" fmla="*/ 322299 w 359004"/>
              <a:gd name="connsiteY82" fmla="*/ 14366 h 345141"/>
              <a:gd name="connsiteX83" fmla="*/ 102070 w 359004"/>
              <a:gd name="connsiteY83" fmla="*/ 0 h 345141"/>
              <a:gd name="connsiteX84" fmla="*/ 322299 w 359004"/>
              <a:gd name="connsiteY84" fmla="*/ 0 h 345141"/>
              <a:gd name="connsiteX85" fmla="*/ 359004 w 359004"/>
              <a:gd name="connsiteY85" fmla="*/ 37136 h 345141"/>
              <a:gd name="connsiteX86" fmla="*/ 359004 w 359004"/>
              <a:gd name="connsiteY86" fmla="*/ 235817 h 345141"/>
              <a:gd name="connsiteX87" fmla="*/ 321869 w 359004"/>
              <a:gd name="connsiteY87" fmla="*/ 272952 h 345141"/>
              <a:gd name="connsiteX88" fmla="*/ 310160 w 359004"/>
              <a:gd name="connsiteY88" fmla="*/ 272952 h 345141"/>
              <a:gd name="connsiteX89" fmla="*/ 310160 w 359004"/>
              <a:gd name="connsiteY89" fmla="*/ 279632 h 345141"/>
              <a:gd name="connsiteX90" fmla="*/ 285308 w 359004"/>
              <a:gd name="connsiteY90" fmla="*/ 304055 h 345141"/>
              <a:gd name="connsiteX91" fmla="*/ 216064 w 359004"/>
              <a:gd name="connsiteY91" fmla="*/ 304055 h 345141"/>
              <a:gd name="connsiteX92" fmla="*/ 208881 w 359004"/>
              <a:gd name="connsiteY92" fmla="*/ 306856 h 345141"/>
              <a:gd name="connsiteX93" fmla="*/ 174762 w 359004"/>
              <a:gd name="connsiteY93" fmla="*/ 338533 h 345141"/>
              <a:gd name="connsiteX94" fmla="*/ 157738 w 359004"/>
              <a:gd name="connsiteY94" fmla="*/ 345141 h 345141"/>
              <a:gd name="connsiteX95" fmla="*/ 140067 w 359004"/>
              <a:gd name="connsiteY95" fmla="*/ 337958 h 345141"/>
              <a:gd name="connsiteX96" fmla="*/ 109325 w 359004"/>
              <a:gd name="connsiteY96" fmla="*/ 307215 h 345141"/>
              <a:gd name="connsiteX97" fmla="*/ 102142 w 359004"/>
              <a:gd name="connsiteY97" fmla="*/ 304127 h 345141"/>
              <a:gd name="connsiteX98" fmla="*/ 24781 w 359004"/>
              <a:gd name="connsiteY98" fmla="*/ 304127 h 345141"/>
              <a:gd name="connsiteX99" fmla="*/ 0 w 359004"/>
              <a:gd name="connsiteY99" fmla="*/ 279704 h 345141"/>
              <a:gd name="connsiteX100" fmla="*/ 0 w 359004"/>
              <a:gd name="connsiteY100" fmla="*/ 69890 h 345141"/>
              <a:gd name="connsiteX101" fmla="*/ 24781 w 359004"/>
              <a:gd name="connsiteY101" fmla="*/ 45396 h 345141"/>
              <a:gd name="connsiteX102" fmla="*/ 64934 w 359004"/>
              <a:gd name="connsiteY102" fmla="*/ 45396 h 345141"/>
              <a:gd name="connsiteX103" fmla="*/ 64934 w 359004"/>
              <a:gd name="connsiteY103" fmla="*/ 37136 h 345141"/>
              <a:gd name="connsiteX104" fmla="*/ 102070 w 359004"/>
              <a:gd name="connsiteY104" fmla="*/ 0 h 3451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59004" h="345141">
                <a:moveTo>
                  <a:pt x="152925" y="125701"/>
                </a:moveTo>
                <a:cubicBezTo>
                  <a:pt x="139709" y="125859"/>
                  <a:pt x="129006" y="136584"/>
                  <a:pt x="128863" y="149836"/>
                </a:cubicBezTo>
                <a:cubicBezTo>
                  <a:pt x="129006" y="163326"/>
                  <a:pt x="140068" y="174129"/>
                  <a:pt x="153572" y="173971"/>
                </a:cubicBezTo>
                <a:lnTo>
                  <a:pt x="155655" y="173971"/>
                </a:lnTo>
                <a:lnTo>
                  <a:pt x="155871" y="173971"/>
                </a:lnTo>
                <a:cubicBezTo>
                  <a:pt x="169087" y="173741"/>
                  <a:pt x="179718" y="163003"/>
                  <a:pt x="179861" y="149764"/>
                </a:cubicBezTo>
                <a:cubicBezTo>
                  <a:pt x="179646" y="136447"/>
                  <a:pt x="168799" y="125737"/>
                  <a:pt x="155511" y="125701"/>
                </a:cubicBezTo>
                <a:lnTo>
                  <a:pt x="153931" y="125701"/>
                </a:lnTo>
                <a:close/>
                <a:moveTo>
                  <a:pt x="153572" y="111407"/>
                </a:moveTo>
                <a:lnTo>
                  <a:pt x="155081" y="111407"/>
                </a:lnTo>
                <a:cubicBezTo>
                  <a:pt x="176486" y="111206"/>
                  <a:pt x="194012" y="128417"/>
                  <a:pt x="194227" y="149836"/>
                </a:cubicBezTo>
                <a:cubicBezTo>
                  <a:pt x="194012" y="171270"/>
                  <a:pt x="176486" y="188495"/>
                  <a:pt x="155081" y="188337"/>
                </a:cubicBezTo>
                <a:lnTo>
                  <a:pt x="153572" y="188337"/>
                </a:lnTo>
                <a:cubicBezTo>
                  <a:pt x="132166" y="188495"/>
                  <a:pt x="114640" y="171256"/>
                  <a:pt x="114497" y="149836"/>
                </a:cubicBezTo>
                <a:cubicBezTo>
                  <a:pt x="114712" y="128446"/>
                  <a:pt x="132166" y="111249"/>
                  <a:pt x="153572" y="111407"/>
                </a:cubicBezTo>
                <a:close/>
                <a:moveTo>
                  <a:pt x="154505" y="100345"/>
                </a:moveTo>
                <a:cubicBezTo>
                  <a:pt x="151273" y="100331"/>
                  <a:pt x="148040" y="100596"/>
                  <a:pt x="144808" y="101135"/>
                </a:cubicBezTo>
                <a:cubicBezTo>
                  <a:pt x="125701" y="104238"/>
                  <a:pt x="110186" y="118310"/>
                  <a:pt x="105230" y="137050"/>
                </a:cubicBezTo>
                <a:cubicBezTo>
                  <a:pt x="99699" y="157773"/>
                  <a:pt x="108247" y="179688"/>
                  <a:pt x="126348" y="191209"/>
                </a:cubicBezTo>
                <a:lnTo>
                  <a:pt x="138702" y="199254"/>
                </a:lnTo>
                <a:lnTo>
                  <a:pt x="124337" y="203995"/>
                </a:lnTo>
                <a:cubicBezTo>
                  <a:pt x="106451" y="210086"/>
                  <a:pt x="91008" y="221744"/>
                  <a:pt x="80233" y="237253"/>
                </a:cubicBezTo>
                <a:cubicBezTo>
                  <a:pt x="79371" y="238409"/>
                  <a:pt x="79155" y="239910"/>
                  <a:pt x="79587" y="241275"/>
                </a:cubicBezTo>
                <a:cubicBezTo>
                  <a:pt x="80017" y="242683"/>
                  <a:pt x="81167" y="243803"/>
                  <a:pt x="82531" y="244292"/>
                </a:cubicBezTo>
                <a:lnTo>
                  <a:pt x="84255" y="244938"/>
                </a:lnTo>
                <a:cubicBezTo>
                  <a:pt x="86482" y="245678"/>
                  <a:pt x="88924" y="244859"/>
                  <a:pt x="90289" y="242927"/>
                </a:cubicBezTo>
                <a:cubicBezTo>
                  <a:pt x="105014" y="222355"/>
                  <a:pt x="128862" y="210201"/>
                  <a:pt x="154146" y="210316"/>
                </a:cubicBezTo>
                <a:lnTo>
                  <a:pt x="155726" y="210316"/>
                </a:lnTo>
                <a:cubicBezTo>
                  <a:pt x="181010" y="210252"/>
                  <a:pt x="204713" y="222398"/>
                  <a:pt x="219439" y="242927"/>
                </a:cubicBezTo>
                <a:cubicBezTo>
                  <a:pt x="220803" y="244859"/>
                  <a:pt x="223246" y="245678"/>
                  <a:pt x="225472" y="244938"/>
                </a:cubicBezTo>
                <a:lnTo>
                  <a:pt x="227196" y="244292"/>
                </a:lnTo>
                <a:cubicBezTo>
                  <a:pt x="228561" y="243803"/>
                  <a:pt x="229710" y="242683"/>
                  <a:pt x="230141" y="241275"/>
                </a:cubicBezTo>
                <a:cubicBezTo>
                  <a:pt x="230644" y="239960"/>
                  <a:pt x="230573" y="238481"/>
                  <a:pt x="229854" y="237253"/>
                </a:cubicBezTo>
                <a:cubicBezTo>
                  <a:pt x="219079" y="221723"/>
                  <a:pt x="203565" y="210065"/>
                  <a:pt x="185679" y="203995"/>
                </a:cubicBezTo>
                <a:lnTo>
                  <a:pt x="171744" y="199254"/>
                </a:lnTo>
                <a:lnTo>
                  <a:pt x="184098" y="191209"/>
                </a:lnTo>
                <a:cubicBezTo>
                  <a:pt x="202200" y="179674"/>
                  <a:pt x="210676" y="157773"/>
                  <a:pt x="205217" y="137050"/>
                </a:cubicBezTo>
                <a:cubicBezTo>
                  <a:pt x="200260" y="118310"/>
                  <a:pt x="184746" y="104238"/>
                  <a:pt x="165639" y="101135"/>
                </a:cubicBezTo>
                <a:cubicBezTo>
                  <a:pt x="162191" y="100568"/>
                  <a:pt x="158743" y="100302"/>
                  <a:pt x="155295" y="100345"/>
                </a:cubicBezTo>
                <a:close/>
                <a:moveTo>
                  <a:pt x="154648" y="85907"/>
                </a:moveTo>
                <a:cubicBezTo>
                  <a:pt x="158958" y="85871"/>
                  <a:pt x="163340" y="86209"/>
                  <a:pt x="167578" y="86913"/>
                </a:cubicBezTo>
                <a:cubicBezTo>
                  <a:pt x="192287" y="91007"/>
                  <a:pt x="212256" y="109281"/>
                  <a:pt x="218505" y="133531"/>
                </a:cubicBezTo>
                <a:cubicBezTo>
                  <a:pt x="224395" y="155675"/>
                  <a:pt x="217859" y="179264"/>
                  <a:pt x="201410" y="195232"/>
                </a:cubicBezTo>
                <a:cubicBezTo>
                  <a:pt x="217284" y="202882"/>
                  <a:pt x="230931" y="214511"/>
                  <a:pt x="240988" y="228992"/>
                </a:cubicBezTo>
                <a:cubicBezTo>
                  <a:pt x="244364" y="233833"/>
                  <a:pt x="245297" y="239953"/>
                  <a:pt x="243574" y="245585"/>
                </a:cubicBezTo>
                <a:cubicBezTo>
                  <a:pt x="241778" y="251252"/>
                  <a:pt x="237468" y="255763"/>
                  <a:pt x="231865" y="257796"/>
                </a:cubicBezTo>
                <a:lnTo>
                  <a:pt x="230141" y="258442"/>
                </a:lnTo>
                <a:cubicBezTo>
                  <a:pt x="221809" y="261416"/>
                  <a:pt x="212544" y="258478"/>
                  <a:pt x="207443" y="251259"/>
                </a:cubicBezTo>
                <a:cubicBezTo>
                  <a:pt x="195232" y="234300"/>
                  <a:pt x="175551" y="224373"/>
                  <a:pt x="154648" y="224682"/>
                </a:cubicBezTo>
                <a:cubicBezTo>
                  <a:pt x="133674" y="224251"/>
                  <a:pt x="113850" y="234199"/>
                  <a:pt x="101710" y="251259"/>
                </a:cubicBezTo>
                <a:cubicBezTo>
                  <a:pt x="97975" y="256459"/>
                  <a:pt x="92013" y="259555"/>
                  <a:pt x="85620" y="259591"/>
                </a:cubicBezTo>
                <a:cubicBezTo>
                  <a:pt x="83393" y="259598"/>
                  <a:pt x="81095" y="259210"/>
                  <a:pt x="79012" y="258442"/>
                </a:cubicBezTo>
                <a:lnTo>
                  <a:pt x="77288" y="257796"/>
                </a:lnTo>
                <a:cubicBezTo>
                  <a:pt x="71685" y="255763"/>
                  <a:pt x="67375" y="251252"/>
                  <a:pt x="65580" y="245585"/>
                </a:cubicBezTo>
                <a:cubicBezTo>
                  <a:pt x="63784" y="239953"/>
                  <a:pt x="64718" y="233804"/>
                  <a:pt x="68165" y="228992"/>
                </a:cubicBezTo>
                <a:cubicBezTo>
                  <a:pt x="78222" y="214511"/>
                  <a:pt x="91869" y="202875"/>
                  <a:pt x="107743" y="195232"/>
                </a:cubicBezTo>
                <a:cubicBezTo>
                  <a:pt x="91295" y="179264"/>
                  <a:pt x="84758" y="155675"/>
                  <a:pt x="90648" y="133531"/>
                </a:cubicBezTo>
                <a:cubicBezTo>
                  <a:pt x="96897" y="109274"/>
                  <a:pt x="116866" y="90993"/>
                  <a:pt x="141576" y="86913"/>
                </a:cubicBezTo>
                <a:cubicBezTo>
                  <a:pt x="145885" y="86202"/>
                  <a:pt x="150267" y="85864"/>
                  <a:pt x="154648" y="85907"/>
                </a:cubicBezTo>
                <a:close/>
                <a:moveTo>
                  <a:pt x="24781" y="59762"/>
                </a:moveTo>
                <a:cubicBezTo>
                  <a:pt x="19107" y="59719"/>
                  <a:pt x="14509" y="64237"/>
                  <a:pt x="14366" y="69890"/>
                </a:cubicBezTo>
                <a:lnTo>
                  <a:pt x="14366" y="280063"/>
                </a:lnTo>
                <a:cubicBezTo>
                  <a:pt x="14509" y="285709"/>
                  <a:pt x="19107" y="290199"/>
                  <a:pt x="24781" y="290120"/>
                </a:cubicBezTo>
                <a:lnTo>
                  <a:pt x="102142" y="290120"/>
                </a:lnTo>
                <a:cubicBezTo>
                  <a:pt x="108750" y="290091"/>
                  <a:pt x="115143" y="292670"/>
                  <a:pt x="119884" y="297303"/>
                </a:cubicBezTo>
                <a:lnTo>
                  <a:pt x="150555" y="328046"/>
                </a:lnTo>
                <a:cubicBezTo>
                  <a:pt x="154721" y="331968"/>
                  <a:pt x="161186" y="331968"/>
                  <a:pt x="165352" y="328046"/>
                </a:cubicBezTo>
                <a:lnTo>
                  <a:pt x="199471" y="296441"/>
                </a:lnTo>
                <a:cubicBezTo>
                  <a:pt x="204068" y="292145"/>
                  <a:pt x="210173" y="289761"/>
                  <a:pt x="216494" y="289761"/>
                </a:cubicBezTo>
                <a:lnTo>
                  <a:pt x="285738" y="289761"/>
                </a:lnTo>
                <a:cubicBezTo>
                  <a:pt x="291413" y="289840"/>
                  <a:pt x="296082" y="285357"/>
                  <a:pt x="296225" y="279704"/>
                </a:cubicBezTo>
                <a:lnTo>
                  <a:pt x="296225" y="69890"/>
                </a:lnTo>
                <a:cubicBezTo>
                  <a:pt x="296082" y="64222"/>
                  <a:pt x="291413" y="59719"/>
                  <a:pt x="285738" y="59762"/>
                </a:cubicBezTo>
                <a:close/>
                <a:moveTo>
                  <a:pt x="102070" y="14366"/>
                </a:moveTo>
                <a:cubicBezTo>
                  <a:pt x="89500" y="14366"/>
                  <a:pt x="79300" y="24558"/>
                  <a:pt x="79300" y="37136"/>
                </a:cubicBezTo>
                <a:lnTo>
                  <a:pt x="79300" y="45396"/>
                </a:lnTo>
                <a:lnTo>
                  <a:pt x="285738" y="45396"/>
                </a:lnTo>
                <a:cubicBezTo>
                  <a:pt x="299386" y="45317"/>
                  <a:pt x="310448" y="56271"/>
                  <a:pt x="310591" y="69890"/>
                </a:cubicBezTo>
                <a:lnTo>
                  <a:pt x="310591" y="258586"/>
                </a:lnTo>
                <a:lnTo>
                  <a:pt x="322299" y="258586"/>
                </a:lnTo>
                <a:cubicBezTo>
                  <a:pt x="334869" y="258586"/>
                  <a:pt x="345069" y="248394"/>
                  <a:pt x="345069" y="235817"/>
                </a:cubicBezTo>
                <a:lnTo>
                  <a:pt x="345069" y="37136"/>
                </a:lnTo>
                <a:cubicBezTo>
                  <a:pt x="345069" y="24558"/>
                  <a:pt x="334869" y="14366"/>
                  <a:pt x="322299" y="14366"/>
                </a:cubicBezTo>
                <a:close/>
                <a:moveTo>
                  <a:pt x="102070" y="0"/>
                </a:moveTo>
                <a:lnTo>
                  <a:pt x="322299" y="0"/>
                </a:lnTo>
                <a:cubicBezTo>
                  <a:pt x="342628" y="273"/>
                  <a:pt x="358933" y="16808"/>
                  <a:pt x="359004" y="37136"/>
                </a:cubicBezTo>
                <a:lnTo>
                  <a:pt x="359004" y="235817"/>
                </a:lnTo>
                <a:cubicBezTo>
                  <a:pt x="358933" y="256309"/>
                  <a:pt x="342340" y="272916"/>
                  <a:pt x="321869" y="272952"/>
                </a:cubicBezTo>
                <a:lnTo>
                  <a:pt x="310160" y="272952"/>
                </a:lnTo>
                <a:lnTo>
                  <a:pt x="310160" y="279632"/>
                </a:lnTo>
                <a:cubicBezTo>
                  <a:pt x="310017" y="293223"/>
                  <a:pt x="298883" y="304134"/>
                  <a:pt x="285308" y="304055"/>
                </a:cubicBezTo>
                <a:lnTo>
                  <a:pt x="216064" y="304055"/>
                </a:lnTo>
                <a:cubicBezTo>
                  <a:pt x="213406" y="304069"/>
                  <a:pt x="210820" y="305067"/>
                  <a:pt x="208881" y="306856"/>
                </a:cubicBezTo>
                <a:lnTo>
                  <a:pt x="174762" y="338533"/>
                </a:lnTo>
                <a:cubicBezTo>
                  <a:pt x="170093" y="342792"/>
                  <a:pt x="164059" y="345148"/>
                  <a:pt x="157738" y="345141"/>
                </a:cubicBezTo>
                <a:cubicBezTo>
                  <a:pt x="151129" y="345184"/>
                  <a:pt x="144737" y="342598"/>
                  <a:pt x="140067" y="337958"/>
                </a:cubicBezTo>
                <a:lnTo>
                  <a:pt x="109325" y="307215"/>
                </a:lnTo>
                <a:cubicBezTo>
                  <a:pt x="107385" y="305319"/>
                  <a:pt x="104872" y="304213"/>
                  <a:pt x="102142" y="304127"/>
                </a:cubicBezTo>
                <a:lnTo>
                  <a:pt x="24781" y="304127"/>
                </a:lnTo>
                <a:cubicBezTo>
                  <a:pt x="11206" y="304206"/>
                  <a:pt x="143" y="293280"/>
                  <a:pt x="0" y="279704"/>
                </a:cubicBezTo>
                <a:lnTo>
                  <a:pt x="0" y="69890"/>
                </a:lnTo>
                <a:cubicBezTo>
                  <a:pt x="143" y="56300"/>
                  <a:pt x="11206" y="45353"/>
                  <a:pt x="24781" y="45396"/>
                </a:cubicBezTo>
                <a:lnTo>
                  <a:pt x="64934" y="45396"/>
                </a:lnTo>
                <a:lnTo>
                  <a:pt x="64934" y="37136"/>
                </a:lnTo>
                <a:cubicBezTo>
                  <a:pt x="65006" y="16643"/>
                  <a:pt x="81598" y="36"/>
                  <a:pt x="102070" y="0"/>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Arial" panose="020F0502020204030204"/>
              <a:ea typeface="微软雅黑"/>
              <a:cs typeface="+mn-cs"/>
            </a:endParaRPr>
          </a:p>
        </p:txBody>
      </p:sp>
      <p:sp>
        <p:nvSpPr>
          <p:cNvPr id="173" name="Oval 153">
            <a:extLst>
              <a:ext uri="{FF2B5EF4-FFF2-40B4-BE49-F238E27FC236}">
                <a16:creationId xmlns:a16="http://schemas.microsoft.com/office/drawing/2014/main" id="{E3CAC2F6-EE93-46B2-B4C6-A26C95253A87}"/>
              </a:ext>
            </a:extLst>
          </p:cNvPr>
          <p:cNvSpPr/>
          <p:nvPr/>
        </p:nvSpPr>
        <p:spPr>
          <a:xfrm>
            <a:off x="4015739" y="2867062"/>
            <a:ext cx="319474" cy="307134"/>
          </a:xfrm>
          <a:custGeom>
            <a:avLst/>
            <a:gdLst>
              <a:gd name="connsiteX0" fmla="*/ 152925 w 359004"/>
              <a:gd name="connsiteY0" fmla="*/ 125701 h 345141"/>
              <a:gd name="connsiteX1" fmla="*/ 128863 w 359004"/>
              <a:gd name="connsiteY1" fmla="*/ 149836 h 345141"/>
              <a:gd name="connsiteX2" fmla="*/ 153572 w 359004"/>
              <a:gd name="connsiteY2" fmla="*/ 173971 h 345141"/>
              <a:gd name="connsiteX3" fmla="*/ 155655 w 359004"/>
              <a:gd name="connsiteY3" fmla="*/ 173971 h 345141"/>
              <a:gd name="connsiteX4" fmla="*/ 155871 w 359004"/>
              <a:gd name="connsiteY4" fmla="*/ 173971 h 345141"/>
              <a:gd name="connsiteX5" fmla="*/ 179861 w 359004"/>
              <a:gd name="connsiteY5" fmla="*/ 149764 h 345141"/>
              <a:gd name="connsiteX6" fmla="*/ 155511 w 359004"/>
              <a:gd name="connsiteY6" fmla="*/ 125701 h 345141"/>
              <a:gd name="connsiteX7" fmla="*/ 153931 w 359004"/>
              <a:gd name="connsiteY7" fmla="*/ 125701 h 345141"/>
              <a:gd name="connsiteX8" fmla="*/ 153572 w 359004"/>
              <a:gd name="connsiteY8" fmla="*/ 111407 h 345141"/>
              <a:gd name="connsiteX9" fmla="*/ 155081 w 359004"/>
              <a:gd name="connsiteY9" fmla="*/ 111407 h 345141"/>
              <a:gd name="connsiteX10" fmla="*/ 194227 w 359004"/>
              <a:gd name="connsiteY10" fmla="*/ 149836 h 345141"/>
              <a:gd name="connsiteX11" fmla="*/ 155081 w 359004"/>
              <a:gd name="connsiteY11" fmla="*/ 188337 h 345141"/>
              <a:gd name="connsiteX12" fmla="*/ 153572 w 359004"/>
              <a:gd name="connsiteY12" fmla="*/ 188337 h 345141"/>
              <a:gd name="connsiteX13" fmla="*/ 114497 w 359004"/>
              <a:gd name="connsiteY13" fmla="*/ 149836 h 345141"/>
              <a:gd name="connsiteX14" fmla="*/ 153572 w 359004"/>
              <a:gd name="connsiteY14" fmla="*/ 111407 h 345141"/>
              <a:gd name="connsiteX15" fmla="*/ 154505 w 359004"/>
              <a:gd name="connsiteY15" fmla="*/ 100345 h 345141"/>
              <a:gd name="connsiteX16" fmla="*/ 144808 w 359004"/>
              <a:gd name="connsiteY16" fmla="*/ 101135 h 345141"/>
              <a:gd name="connsiteX17" fmla="*/ 105230 w 359004"/>
              <a:gd name="connsiteY17" fmla="*/ 137050 h 345141"/>
              <a:gd name="connsiteX18" fmla="*/ 126348 w 359004"/>
              <a:gd name="connsiteY18" fmla="*/ 191209 h 345141"/>
              <a:gd name="connsiteX19" fmla="*/ 138702 w 359004"/>
              <a:gd name="connsiteY19" fmla="*/ 199254 h 345141"/>
              <a:gd name="connsiteX20" fmla="*/ 124337 w 359004"/>
              <a:gd name="connsiteY20" fmla="*/ 203995 h 345141"/>
              <a:gd name="connsiteX21" fmla="*/ 80233 w 359004"/>
              <a:gd name="connsiteY21" fmla="*/ 237253 h 345141"/>
              <a:gd name="connsiteX22" fmla="*/ 79587 w 359004"/>
              <a:gd name="connsiteY22" fmla="*/ 241275 h 345141"/>
              <a:gd name="connsiteX23" fmla="*/ 82531 w 359004"/>
              <a:gd name="connsiteY23" fmla="*/ 244292 h 345141"/>
              <a:gd name="connsiteX24" fmla="*/ 84255 w 359004"/>
              <a:gd name="connsiteY24" fmla="*/ 244938 h 345141"/>
              <a:gd name="connsiteX25" fmla="*/ 90289 w 359004"/>
              <a:gd name="connsiteY25" fmla="*/ 242927 h 345141"/>
              <a:gd name="connsiteX26" fmla="*/ 154146 w 359004"/>
              <a:gd name="connsiteY26" fmla="*/ 210316 h 345141"/>
              <a:gd name="connsiteX27" fmla="*/ 155726 w 359004"/>
              <a:gd name="connsiteY27" fmla="*/ 210316 h 345141"/>
              <a:gd name="connsiteX28" fmla="*/ 219439 w 359004"/>
              <a:gd name="connsiteY28" fmla="*/ 242927 h 345141"/>
              <a:gd name="connsiteX29" fmla="*/ 225472 w 359004"/>
              <a:gd name="connsiteY29" fmla="*/ 244938 h 345141"/>
              <a:gd name="connsiteX30" fmla="*/ 227196 w 359004"/>
              <a:gd name="connsiteY30" fmla="*/ 244292 h 345141"/>
              <a:gd name="connsiteX31" fmla="*/ 230141 w 359004"/>
              <a:gd name="connsiteY31" fmla="*/ 241275 h 345141"/>
              <a:gd name="connsiteX32" fmla="*/ 229854 w 359004"/>
              <a:gd name="connsiteY32" fmla="*/ 237253 h 345141"/>
              <a:gd name="connsiteX33" fmla="*/ 185679 w 359004"/>
              <a:gd name="connsiteY33" fmla="*/ 203995 h 345141"/>
              <a:gd name="connsiteX34" fmla="*/ 171744 w 359004"/>
              <a:gd name="connsiteY34" fmla="*/ 199254 h 345141"/>
              <a:gd name="connsiteX35" fmla="*/ 184098 w 359004"/>
              <a:gd name="connsiteY35" fmla="*/ 191209 h 345141"/>
              <a:gd name="connsiteX36" fmla="*/ 205217 w 359004"/>
              <a:gd name="connsiteY36" fmla="*/ 137050 h 345141"/>
              <a:gd name="connsiteX37" fmla="*/ 165639 w 359004"/>
              <a:gd name="connsiteY37" fmla="*/ 101135 h 345141"/>
              <a:gd name="connsiteX38" fmla="*/ 155295 w 359004"/>
              <a:gd name="connsiteY38" fmla="*/ 100345 h 345141"/>
              <a:gd name="connsiteX39" fmla="*/ 154648 w 359004"/>
              <a:gd name="connsiteY39" fmla="*/ 85907 h 345141"/>
              <a:gd name="connsiteX40" fmla="*/ 167578 w 359004"/>
              <a:gd name="connsiteY40" fmla="*/ 86913 h 345141"/>
              <a:gd name="connsiteX41" fmla="*/ 218505 w 359004"/>
              <a:gd name="connsiteY41" fmla="*/ 133531 h 345141"/>
              <a:gd name="connsiteX42" fmla="*/ 201410 w 359004"/>
              <a:gd name="connsiteY42" fmla="*/ 195232 h 345141"/>
              <a:gd name="connsiteX43" fmla="*/ 240988 w 359004"/>
              <a:gd name="connsiteY43" fmla="*/ 228992 h 345141"/>
              <a:gd name="connsiteX44" fmla="*/ 243574 w 359004"/>
              <a:gd name="connsiteY44" fmla="*/ 245585 h 345141"/>
              <a:gd name="connsiteX45" fmla="*/ 231865 w 359004"/>
              <a:gd name="connsiteY45" fmla="*/ 257796 h 345141"/>
              <a:gd name="connsiteX46" fmla="*/ 230141 w 359004"/>
              <a:gd name="connsiteY46" fmla="*/ 258442 h 345141"/>
              <a:gd name="connsiteX47" fmla="*/ 207443 w 359004"/>
              <a:gd name="connsiteY47" fmla="*/ 251259 h 345141"/>
              <a:gd name="connsiteX48" fmla="*/ 154648 w 359004"/>
              <a:gd name="connsiteY48" fmla="*/ 224682 h 345141"/>
              <a:gd name="connsiteX49" fmla="*/ 101710 w 359004"/>
              <a:gd name="connsiteY49" fmla="*/ 251259 h 345141"/>
              <a:gd name="connsiteX50" fmla="*/ 85620 w 359004"/>
              <a:gd name="connsiteY50" fmla="*/ 259591 h 345141"/>
              <a:gd name="connsiteX51" fmla="*/ 79012 w 359004"/>
              <a:gd name="connsiteY51" fmla="*/ 258442 h 345141"/>
              <a:gd name="connsiteX52" fmla="*/ 77288 w 359004"/>
              <a:gd name="connsiteY52" fmla="*/ 257796 h 345141"/>
              <a:gd name="connsiteX53" fmla="*/ 65580 w 359004"/>
              <a:gd name="connsiteY53" fmla="*/ 245585 h 345141"/>
              <a:gd name="connsiteX54" fmla="*/ 68165 w 359004"/>
              <a:gd name="connsiteY54" fmla="*/ 228992 h 345141"/>
              <a:gd name="connsiteX55" fmla="*/ 107743 w 359004"/>
              <a:gd name="connsiteY55" fmla="*/ 195232 h 345141"/>
              <a:gd name="connsiteX56" fmla="*/ 90648 w 359004"/>
              <a:gd name="connsiteY56" fmla="*/ 133531 h 345141"/>
              <a:gd name="connsiteX57" fmla="*/ 141576 w 359004"/>
              <a:gd name="connsiteY57" fmla="*/ 86913 h 345141"/>
              <a:gd name="connsiteX58" fmla="*/ 154648 w 359004"/>
              <a:gd name="connsiteY58" fmla="*/ 85907 h 345141"/>
              <a:gd name="connsiteX59" fmla="*/ 24781 w 359004"/>
              <a:gd name="connsiteY59" fmla="*/ 59762 h 345141"/>
              <a:gd name="connsiteX60" fmla="*/ 14366 w 359004"/>
              <a:gd name="connsiteY60" fmla="*/ 69890 h 345141"/>
              <a:gd name="connsiteX61" fmla="*/ 14366 w 359004"/>
              <a:gd name="connsiteY61" fmla="*/ 280063 h 345141"/>
              <a:gd name="connsiteX62" fmla="*/ 24781 w 359004"/>
              <a:gd name="connsiteY62" fmla="*/ 290120 h 345141"/>
              <a:gd name="connsiteX63" fmla="*/ 102142 w 359004"/>
              <a:gd name="connsiteY63" fmla="*/ 290120 h 345141"/>
              <a:gd name="connsiteX64" fmla="*/ 119884 w 359004"/>
              <a:gd name="connsiteY64" fmla="*/ 297303 h 345141"/>
              <a:gd name="connsiteX65" fmla="*/ 150555 w 359004"/>
              <a:gd name="connsiteY65" fmla="*/ 328046 h 345141"/>
              <a:gd name="connsiteX66" fmla="*/ 165352 w 359004"/>
              <a:gd name="connsiteY66" fmla="*/ 328046 h 345141"/>
              <a:gd name="connsiteX67" fmla="*/ 199471 w 359004"/>
              <a:gd name="connsiteY67" fmla="*/ 296441 h 345141"/>
              <a:gd name="connsiteX68" fmla="*/ 216494 w 359004"/>
              <a:gd name="connsiteY68" fmla="*/ 289761 h 345141"/>
              <a:gd name="connsiteX69" fmla="*/ 285738 w 359004"/>
              <a:gd name="connsiteY69" fmla="*/ 289761 h 345141"/>
              <a:gd name="connsiteX70" fmla="*/ 296225 w 359004"/>
              <a:gd name="connsiteY70" fmla="*/ 279704 h 345141"/>
              <a:gd name="connsiteX71" fmla="*/ 296225 w 359004"/>
              <a:gd name="connsiteY71" fmla="*/ 69890 h 345141"/>
              <a:gd name="connsiteX72" fmla="*/ 285738 w 359004"/>
              <a:gd name="connsiteY72" fmla="*/ 59762 h 345141"/>
              <a:gd name="connsiteX73" fmla="*/ 102070 w 359004"/>
              <a:gd name="connsiteY73" fmla="*/ 14366 h 345141"/>
              <a:gd name="connsiteX74" fmla="*/ 79300 w 359004"/>
              <a:gd name="connsiteY74" fmla="*/ 37136 h 345141"/>
              <a:gd name="connsiteX75" fmla="*/ 79300 w 359004"/>
              <a:gd name="connsiteY75" fmla="*/ 45396 h 345141"/>
              <a:gd name="connsiteX76" fmla="*/ 285738 w 359004"/>
              <a:gd name="connsiteY76" fmla="*/ 45396 h 345141"/>
              <a:gd name="connsiteX77" fmla="*/ 310591 w 359004"/>
              <a:gd name="connsiteY77" fmla="*/ 69890 h 345141"/>
              <a:gd name="connsiteX78" fmla="*/ 310591 w 359004"/>
              <a:gd name="connsiteY78" fmla="*/ 258586 h 345141"/>
              <a:gd name="connsiteX79" fmla="*/ 322299 w 359004"/>
              <a:gd name="connsiteY79" fmla="*/ 258586 h 345141"/>
              <a:gd name="connsiteX80" fmla="*/ 345069 w 359004"/>
              <a:gd name="connsiteY80" fmla="*/ 235817 h 345141"/>
              <a:gd name="connsiteX81" fmla="*/ 345069 w 359004"/>
              <a:gd name="connsiteY81" fmla="*/ 37136 h 345141"/>
              <a:gd name="connsiteX82" fmla="*/ 322299 w 359004"/>
              <a:gd name="connsiteY82" fmla="*/ 14366 h 345141"/>
              <a:gd name="connsiteX83" fmla="*/ 102070 w 359004"/>
              <a:gd name="connsiteY83" fmla="*/ 0 h 345141"/>
              <a:gd name="connsiteX84" fmla="*/ 322299 w 359004"/>
              <a:gd name="connsiteY84" fmla="*/ 0 h 345141"/>
              <a:gd name="connsiteX85" fmla="*/ 359004 w 359004"/>
              <a:gd name="connsiteY85" fmla="*/ 37136 h 345141"/>
              <a:gd name="connsiteX86" fmla="*/ 359004 w 359004"/>
              <a:gd name="connsiteY86" fmla="*/ 235817 h 345141"/>
              <a:gd name="connsiteX87" fmla="*/ 321869 w 359004"/>
              <a:gd name="connsiteY87" fmla="*/ 272952 h 345141"/>
              <a:gd name="connsiteX88" fmla="*/ 310160 w 359004"/>
              <a:gd name="connsiteY88" fmla="*/ 272952 h 345141"/>
              <a:gd name="connsiteX89" fmla="*/ 310160 w 359004"/>
              <a:gd name="connsiteY89" fmla="*/ 279632 h 345141"/>
              <a:gd name="connsiteX90" fmla="*/ 285308 w 359004"/>
              <a:gd name="connsiteY90" fmla="*/ 304055 h 345141"/>
              <a:gd name="connsiteX91" fmla="*/ 216064 w 359004"/>
              <a:gd name="connsiteY91" fmla="*/ 304055 h 345141"/>
              <a:gd name="connsiteX92" fmla="*/ 208881 w 359004"/>
              <a:gd name="connsiteY92" fmla="*/ 306856 h 345141"/>
              <a:gd name="connsiteX93" fmla="*/ 174762 w 359004"/>
              <a:gd name="connsiteY93" fmla="*/ 338533 h 345141"/>
              <a:gd name="connsiteX94" fmla="*/ 157738 w 359004"/>
              <a:gd name="connsiteY94" fmla="*/ 345141 h 345141"/>
              <a:gd name="connsiteX95" fmla="*/ 140067 w 359004"/>
              <a:gd name="connsiteY95" fmla="*/ 337958 h 345141"/>
              <a:gd name="connsiteX96" fmla="*/ 109325 w 359004"/>
              <a:gd name="connsiteY96" fmla="*/ 307215 h 345141"/>
              <a:gd name="connsiteX97" fmla="*/ 102142 w 359004"/>
              <a:gd name="connsiteY97" fmla="*/ 304127 h 345141"/>
              <a:gd name="connsiteX98" fmla="*/ 24781 w 359004"/>
              <a:gd name="connsiteY98" fmla="*/ 304127 h 345141"/>
              <a:gd name="connsiteX99" fmla="*/ 0 w 359004"/>
              <a:gd name="connsiteY99" fmla="*/ 279704 h 345141"/>
              <a:gd name="connsiteX100" fmla="*/ 0 w 359004"/>
              <a:gd name="connsiteY100" fmla="*/ 69890 h 345141"/>
              <a:gd name="connsiteX101" fmla="*/ 24781 w 359004"/>
              <a:gd name="connsiteY101" fmla="*/ 45396 h 345141"/>
              <a:gd name="connsiteX102" fmla="*/ 64934 w 359004"/>
              <a:gd name="connsiteY102" fmla="*/ 45396 h 345141"/>
              <a:gd name="connsiteX103" fmla="*/ 64934 w 359004"/>
              <a:gd name="connsiteY103" fmla="*/ 37136 h 345141"/>
              <a:gd name="connsiteX104" fmla="*/ 102070 w 359004"/>
              <a:gd name="connsiteY104" fmla="*/ 0 h 3451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59004" h="345141">
                <a:moveTo>
                  <a:pt x="152925" y="125701"/>
                </a:moveTo>
                <a:cubicBezTo>
                  <a:pt x="139709" y="125859"/>
                  <a:pt x="129006" y="136584"/>
                  <a:pt x="128863" y="149836"/>
                </a:cubicBezTo>
                <a:cubicBezTo>
                  <a:pt x="129006" y="163326"/>
                  <a:pt x="140068" y="174129"/>
                  <a:pt x="153572" y="173971"/>
                </a:cubicBezTo>
                <a:lnTo>
                  <a:pt x="155655" y="173971"/>
                </a:lnTo>
                <a:lnTo>
                  <a:pt x="155871" y="173971"/>
                </a:lnTo>
                <a:cubicBezTo>
                  <a:pt x="169087" y="173741"/>
                  <a:pt x="179718" y="163003"/>
                  <a:pt x="179861" y="149764"/>
                </a:cubicBezTo>
                <a:cubicBezTo>
                  <a:pt x="179646" y="136447"/>
                  <a:pt x="168799" y="125737"/>
                  <a:pt x="155511" y="125701"/>
                </a:cubicBezTo>
                <a:lnTo>
                  <a:pt x="153931" y="125701"/>
                </a:lnTo>
                <a:close/>
                <a:moveTo>
                  <a:pt x="153572" y="111407"/>
                </a:moveTo>
                <a:lnTo>
                  <a:pt x="155081" y="111407"/>
                </a:lnTo>
                <a:cubicBezTo>
                  <a:pt x="176486" y="111206"/>
                  <a:pt x="194012" y="128417"/>
                  <a:pt x="194227" y="149836"/>
                </a:cubicBezTo>
                <a:cubicBezTo>
                  <a:pt x="194012" y="171270"/>
                  <a:pt x="176486" y="188495"/>
                  <a:pt x="155081" y="188337"/>
                </a:cubicBezTo>
                <a:lnTo>
                  <a:pt x="153572" y="188337"/>
                </a:lnTo>
                <a:cubicBezTo>
                  <a:pt x="132166" y="188495"/>
                  <a:pt x="114640" y="171256"/>
                  <a:pt x="114497" y="149836"/>
                </a:cubicBezTo>
                <a:cubicBezTo>
                  <a:pt x="114712" y="128446"/>
                  <a:pt x="132166" y="111249"/>
                  <a:pt x="153572" y="111407"/>
                </a:cubicBezTo>
                <a:close/>
                <a:moveTo>
                  <a:pt x="154505" y="100345"/>
                </a:moveTo>
                <a:cubicBezTo>
                  <a:pt x="151273" y="100331"/>
                  <a:pt x="148040" y="100596"/>
                  <a:pt x="144808" y="101135"/>
                </a:cubicBezTo>
                <a:cubicBezTo>
                  <a:pt x="125701" y="104238"/>
                  <a:pt x="110186" y="118310"/>
                  <a:pt x="105230" y="137050"/>
                </a:cubicBezTo>
                <a:cubicBezTo>
                  <a:pt x="99699" y="157773"/>
                  <a:pt x="108247" y="179688"/>
                  <a:pt x="126348" y="191209"/>
                </a:cubicBezTo>
                <a:lnTo>
                  <a:pt x="138702" y="199254"/>
                </a:lnTo>
                <a:lnTo>
                  <a:pt x="124337" y="203995"/>
                </a:lnTo>
                <a:cubicBezTo>
                  <a:pt x="106451" y="210086"/>
                  <a:pt x="91008" y="221744"/>
                  <a:pt x="80233" y="237253"/>
                </a:cubicBezTo>
                <a:cubicBezTo>
                  <a:pt x="79371" y="238409"/>
                  <a:pt x="79155" y="239910"/>
                  <a:pt x="79587" y="241275"/>
                </a:cubicBezTo>
                <a:cubicBezTo>
                  <a:pt x="80017" y="242683"/>
                  <a:pt x="81167" y="243803"/>
                  <a:pt x="82531" y="244292"/>
                </a:cubicBezTo>
                <a:lnTo>
                  <a:pt x="84255" y="244938"/>
                </a:lnTo>
                <a:cubicBezTo>
                  <a:pt x="86482" y="245678"/>
                  <a:pt x="88924" y="244859"/>
                  <a:pt x="90289" y="242927"/>
                </a:cubicBezTo>
                <a:cubicBezTo>
                  <a:pt x="105014" y="222355"/>
                  <a:pt x="128862" y="210201"/>
                  <a:pt x="154146" y="210316"/>
                </a:cubicBezTo>
                <a:lnTo>
                  <a:pt x="155726" y="210316"/>
                </a:lnTo>
                <a:cubicBezTo>
                  <a:pt x="181010" y="210252"/>
                  <a:pt x="204713" y="222398"/>
                  <a:pt x="219439" y="242927"/>
                </a:cubicBezTo>
                <a:cubicBezTo>
                  <a:pt x="220803" y="244859"/>
                  <a:pt x="223246" y="245678"/>
                  <a:pt x="225472" y="244938"/>
                </a:cubicBezTo>
                <a:lnTo>
                  <a:pt x="227196" y="244292"/>
                </a:lnTo>
                <a:cubicBezTo>
                  <a:pt x="228561" y="243803"/>
                  <a:pt x="229710" y="242683"/>
                  <a:pt x="230141" y="241275"/>
                </a:cubicBezTo>
                <a:cubicBezTo>
                  <a:pt x="230644" y="239960"/>
                  <a:pt x="230573" y="238481"/>
                  <a:pt x="229854" y="237253"/>
                </a:cubicBezTo>
                <a:cubicBezTo>
                  <a:pt x="219079" y="221723"/>
                  <a:pt x="203565" y="210065"/>
                  <a:pt x="185679" y="203995"/>
                </a:cubicBezTo>
                <a:lnTo>
                  <a:pt x="171744" y="199254"/>
                </a:lnTo>
                <a:lnTo>
                  <a:pt x="184098" y="191209"/>
                </a:lnTo>
                <a:cubicBezTo>
                  <a:pt x="202200" y="179674"/>
                  <a:pt x="210676" y="157773"/>
                  <a:pt x="205217" y="137050"/>
                </a:cubicBezTo>
                <a:cubicBezTo>
                  <a:pt x="200260" y="118310"/>
                  <a:pt x="184746" y="104238"/>
                  <a:pt x="165639" y="101135"/>
                </a:cubicBezTo>
                <a:cubicBezTo>
                  <a:pt x="162191" y="100568"/>
                  <a:pt x="158743" y="100302"/>
                  <a:pt x="155295" y="100345"/>
                </a:cubicBezTo>
                <a:close/>
                <a:moveTo>
                  <a:pt x="154648" y="85907"/>
                </a:moveTo>
                <a:cubicBezTo>
                  <a:pt x="158958" y="85871"/>
                  <a:pt x="163340" y="86209"/>
                  <a:pt x="167578" y="86913"/>
                </a:cubicBezTo>
                <a:cubicBezTo>
                  <a:pt x="192287" y="91007"/>
                  <a:pt x="212256" y="109281"/>
                  <a:pt x="218505" y="133531"/>
                </a:cubicBezTo>
                <a:cubicBezTo>
                  <a:pt x="224395" y="155675"/>
                  <a:pt x="217859" y="179264"/>
                  <a:pt x="201410" y="195232"/>
                </a:cubicBezTo>
                <a:cubicBezTo>
                  <a:pt x="217284" y="202882"/>
                  <a:pt x="230931" y="214511"/>
                  <a:pt x="240988" y="228992"/>
                </a:cubicBezTo>
                <a:cubicBezTo>
                  <a:pt x="244364" y="233833"/>
                  <a:pt x="245297" y="239953"/>
                  <a:pt x="243574" y="245585"/>
                </a:cubicBezTo>
                <a:cubicBezTo>
                  <a:pt x="241778" y="251252"/>
                  <a:pt x="237468" y="255763"/>
                  <a:pt x="231865" y="257796"/>
                </a:cubicBezTo>
                <a:lnTo>
                  <a:pt x="230141" y="258442"/>
                </a:lnTo>
                <a:cubicBezTo>
                  <a:pt x="221809" y="261416"/>
                  <a:pt x="212544" y="258478"/>
                  <a:pt x="207443" y="251259"/>
                </a:cubicBezTo>
                <a:cubicBezTo>
                  <a:pt x="195232" y="234300"/>
                  <a:pt x="175551" y="224373"/>
                  <a:pt x="154648" y="224682"/>
                </a:cubicBezTo>
                <a:cubicBezTo>
                  <a:pt x="133674" y="224251"/>
                  <a:pt x="113850" y="234199"/>
                  <a:pt x="101710" y="251259"/>
                </a:cubicBezTo>
                <a:cubicBezTo>
                  <a:pt x="97975" y="256459"/>
                  <a:pt x="92013" y="259555"/>
                  <a:pt x="85620" y="259591"/>
                </a:cubicBezTo>
                <a:cubicBezTo>
                  <a:pt x="83393" y="259598"/>
                  <a:pt x="81095" y="259210"/>
                  <a:pt x="79012" y="258442"/>
                </a:cubicBezTo>
                <a:lnTo>
                  <a:pt x="77288" y="257796"/>
                </a:lnTo>
                <a:cubicBezTo>
                  <a:pt x="71685" y="255763"/>
                  <a:pt x="67375" y="251252"/>
                  <a:pt x="65580" y="245585"/>
                </a:cubicBezTo>
                <a:cubicBezTo>
                  <a:pt x="63784" y="239953"/>
                  <a:pt x="64718" y="233804"/>
                  <a:pt x="68165" y="228992"/>
                </a:cubicBezTo>
                <a:cubicBezTo>
                  <a:pt x="78222" y="214511"/>
                  <a:pt x="91869" y="202875"/>
                  <a:pt x="107743" y="195232"/>
                </a:cubicBezTo>
                <a:cubicBezTo>
                  <a:pt x="91295" y="179264"/>
                  <a:pt x="84758" y="155675"/>
                  <a:pt x="90648" y="133531"/>
                </a:cubicBezTo>
                <a:cubicBezTo>
                  <a:pt x="96897" y="109274"/>
                  <a:pt x="116866" y="90993"/>
                  <a:pt x="141576" y="86913"/>
                </a:cubicBezTo>
                <a:cubicBezTo>
                  <a:pt x="145885" y="86202"/>
                  <a:pt x="150267" y="85864"/>
                  <a:pt x="154648" y="85907"/>
                </a:cubicBezTo>
                <a:close/>
                <a:moveTo>
                  <a:pt x="24781" y="59762"/>
                </a:moveTo>
                <a:cubicBezTo>
                  <a:pt x="19107" y="59719"/>
                  <a:pt x="14509" y="64237"/>
                  <a:pt x="14366" y="69890"/>
                </a:cubicBezTo>
                <a:lnTo>
                  <a:pt x="14366" y="280063"/>
                </a:lnTo>
                <a:cubicBezTo>
                  <a:pt x="14509" y="285709"/>
                  <a:pt x="19107" y="290199"/>
                  <a:pt x="24781" y="290120"/>
                </a:cubicBezTo>
                <a:lnTo>
                  <a:pt x="102142" y="290120"/>
                </a:lnTo>
                <a:cubicBezTo>
                  <a:pt x="108750" y="290091"/>
                  <a:pt x="115143" y="292670"/>
                  <a:pt x="119884" y="297303"/>
                </a:cubicBezTo>
                <a:lnTo>
                  <a:pt x="150555" y="328046"/>
                </a:lnTo>
                <a:cubicBezTo>
                  <a:pt x="154721" y="331968"/>
                  <a:pt x="161186" y="331968"/>
                  <a:pt x="165352" y="328046"/>
                </a:cubicBezTo>
                <a:lnTo>
                  <a:pt x="199471" y="296441"/>
                </a:lnTo>
                <a:cubicBezTo>
                  <a:pt x="204068" y="292145"/>
                  <a:pt x="210173" y="289761"/>
                  <a:pt x="216494" y="289761"/>
                </a:cubicBezTo>
                <a:lnTo>
                  <a:pt x="285738" y="289761"/>
                </a:lnTo>
                <a:cubicBezTo>
                  <a:pt x="291413" y="289840"/>
                  <a:pt x="296082" y="285357"/>
                  <a:pt x="296225" y="279704"/>
                </a:cubicBezTo>
                <a:lnTo>
                  <a:pt x="296225" y="69890"/>
                </a:lnTo>
                <a:cubicBezTo>
                  <a:pt x="296082" y="64222"/>
                  <a:pt x="291413" y="59719"/>
                  <a:pt x="285738" y="59762"/>
                </a:cubicBezTo>
                <a:close/>
                <a:moveTo>
                  <a:pt x="102070" y="14366"/>
                </a:moveTo>
                <a:cubicBezTo>
                  <a:pt x="89500" y="14366"/>
                  <a:pt x="79300" y="24558"/>
                  <a:pt x="79300" y="37136"/>
                </a:cubicBezTo>
                <a:lnTo>
                  <a:pt x="79300" y="45396"/>
                </a:lnTo>
                <a:lnTo>
                  <a:pt x="285738" y="45396"/>
                </a:lnTo>
                <a:cubicBezTo>
                  <a:pt x="299386" y="45317"/>
                  <a:pt x="310448" y="56271"/>
                  <a:pt x="310591" y="69890"/>
                </a:cubicBezTo>
                <a:lnTo>
                  <a:pt x="310591" y="258586"/>
                </a:lnTo>
                <a:lnTo>
                  <a:pt x="322299" y="258586"/>
                </a:lnTo>
                <a:cubicBezTo>
                  <a:pt x="334869" y="258586"/>
                  <a:pt x="345069" y="248394"/>
                  <a:pt x="345069" y="235817"/>
                </a:cubicBezTo>
                <a:lnTo>
                  <a:pt x="345069" y="37136"/>
                </a:lnTo>
                <a:cubicBezTo>
                  <a:pt x="345069" y="24558"/>
                  <a:pt x="334869" y="14366"/>
                  <a:pt x="322299" y="14366"/>
                </a:cubicBezTo>
                <a:close/>
                <a:moveTo>
                  <a:pt x="102070" y="0"/>
                </a:moveTo>
                <a:lnTo>
                  <a:pt x="322299" y="0"/>
                </a:lnTo>
                <a:cubicBezTo>
                  <a:pt x="342628" y="273"/>
                  <a:pt x="358933" y="16808"/>
                  <a:pt x="359004" y="37136"/>
                </a:cubicBezTo>
                <a:lnTo>
                  <a:pt x="359004" y="235817"/>
                </a:lnTo>
                <a:cubicBezTo>
                  <a:pt x="358933" y="256309"/>
                  <a:pt x="342340" y="272916"/>
                  <a:pt x="321869" y="272952"/>
                </a:cubicBezTo>
                <a:lnTo>
                  <a:pt x="310160" y="272952"/>
                </a:lnTo>
                <a:lnTo>
                  <a:pt x="310160" y="279632"/>
                </a:lnTo>
                <a:cubicBezTo>
                  <a:pt x="310017" y="293223"/>
                  <a:pt x="298883" y="304134"/>
                  <a:pt x="285308" y="304055"/>
                </a:cubicBezTo>
                <a:lnTo>
                  <a:pt x="216064" y="304055"/>
                </a:lnTo>
                <a:cubicBezTo>
                  <a:pt x="213406" y="304069"/>
                  <a:pt x="210820" y="305067"/>
                  <a:pt x="208881" y="306856"/>
                </a:cubicBezTo>
                <a:lnTo>
                  <a:pt x="174762" y="338533"/>
                </a:lnTo>
                <a:cubicBezTo>
                  <a:pt x="170093" y="342792"/>
                  <a:pt x="164059" y="345148"/>
                  <a:pt x="157738" y="345141"/>
                </a:cubicBezTo>
                <a:cubicBezTo>
                  <a:pt x="151129" y="345184"/>
                  <a:pt x="144737" y="342598"/>
                  <a:pt x="140067" y="337958"/>
                </a:cubicBezTo>
                <a:lnTo>
                  <a:pt x="109325" y="307215"/>
                </a:lnTo>
                <a:cubicBezTo>
                  <a:pt x="107385" y="305319"/>
                  <a:pt x="104872" y="304213"/>
                  <a:pt x="102142" y="304127"/>
                </a:cubicBezTo>
                <a:lnTo>
                  <a:pt x="24781" y="304127"/>
                </a:lnTo>
                <a:cubicBezTo>
                  <a:pt x="11206" y="304206"/>
                  <a:pt x="143" y="293280"/>
                  <a:pt x="0" y="279704"/>
                </a:cubicBezTo>
                <a:lnTo>
                  <a:pt x="0" y="69890"/>
                </a:lnTo>
                <a:cubicBezTo>
                  <a:pt x="143" y="56300"/>
                  <a:pt x="11206" y="45353"/>
                  <a:pt x="24781" y="45396"/>
                </a:cubicBezTo>
                <a:lnTo>
                  <a:pt x="64934" y="45396"/>
                </a:lnTo>
                <a:lnTo>
                  <a:pt x="64934" y="37136"/>
                </a:lnTo>
                <a:cubicBezTo>
                  <a:pt x="65006" y="16643"/>
                  <a:pt x="81598" y="36"/>
                  <a:pt x="102070" y="0"/>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Arial" panose="020F0502020204030204"/>
              <a:ea typeface="微软雅黑"/>
              <a:cs typeface="+mn-cs"/>
            </a:endParaRPr>
          </a:p>
        </p:txBody>
      </p:sp>
      <p:sp>
        <p:nvSpPr>
          <p:cNvPr id="174" name="Oval 154">
            <a:extLst>
              <a:ext uri="{FF2B5EF4-FFF2-40B4-BE49-F238E27FC236}">
                <a16:creationId xmlns:a16="http://schemas.microsoft.com/office/drawing/2014/main" id="{AEE614C2-37D4-4DEC-98A4-DD54FC829F40}"/>
              </a:ext>
            </a:extLst>
          </p:cNvPr>
          <p:cNvSpPr/>
          <p:nvPr/>
        </p:nvSpPr>
        <p:spPr>
          <a:xfrm>
            <a:off x="5699565" y="2867062"/>
            <a:ext cx="319474" cy="307134"/>
          </a:xfrm>
          <a:custGeom>
            <a:avLst/>
            <a:gdLst>
              <a:gd name="connsiteX0" fmla="*/ 152925 w 359004"/>
              <a:gd name="connsiteY0" fmla="*/ 125701 h 345141"/>
              <a:gd name="connsiteX1" fmla="*/ 128863 w 359004"/>
              <a:gd name="connsiteY1" fmla="*/ 149836 h 345141"/>
              <a:gd name="connsiteX2" fmla="*/ 153572 w 359004"/>
              <a:gd name="connsiteY2" fmla="*/ 173971 h 345141"/>
              <a:gd name="connsiteX3" fmla="*/ 155655 w 359004"/>
              <a:gd name="connsiteY3" fmla="*/ 173971 h 345141"/>
              <a:gd name="connsiteX4" fmla="*/ 155871 w 359004"/>
              <a:gd name="connsiteY4" fmla="*/ 173971 h 345141"/>
              <a:gd name="connsiteX5" fmla="*/ 179861 w 359004"/>
              <a:gd name="connsiteY5" fmla="*/ 149764 h 345141"/>
              <a:gd name="connsiteX6" fmla="*/ 155511 w 359004"/>
              <a:gd name="connsiteY6" fmla="*/ 125701 h 345141"/>
              <a:gd name="connsiteX7" fmla="*/ 153931 w 359004"/>
              <a:gd name="connsiteY7" fmla="*/ 125701 h 345141"/>
              <a:gd name="connsiteX8" fmla="*/ 153572 w 359004"/>
              <a:gd name="connsiteY8" fmla="*/ 111407 h 345141"/>
              <a:gd name="connsiteX9" fmla="*/ 155081 w 359004"/>
              <a:gd name="connsiteY9" fmla="*/ 111407 h 345141"/>
              <a:gd name="connsiteX10" fmla="*/ 194227 w 359004"/>
              <a:gd name="connsiteY10" fmla="*/ 149836 h 345141"/>
              <a:gd name="connsiteX11" fmla="*/ 155081 w 359004"/>
              <a:gd name="connsiteY11" fmla="*/ 188337 h 345141"/>
              <a:gd name="connsiteX12" fmla="*/ 153572 w 359004"/>
              <a:gd name="connsiteY12" fmla="*/ 188337 h 345141"/>
              <a:gd name="connsiteX13" fmla="*/ 114497 w 359004"/>
              <a:gd name="connsiteY13" fmla="*/ 149836 h 345141"/>
              <a:gd name="connsiteX14" fmla="*/ 153572 w 359004"/>
              <a:gd name="connsiteY14" fmla="*/ 111407 h 345141"/>
              <a:gd name="connsiteX15" fmla="*/ 154505 w 359004"/>
              <a:gd name="connsiteY15" fmla="*/ 100345 h 345141"/>
              <a:gd name="connsiteX16" fmla="*/ 144808 w 359004"/>
              <a:gd name="connsiteY16" fmla="*/ 101135 h 345141"/>
              <a:gd name="connsiteX17" fmla="*/ 105230 w 359004"/>
              <a:gd name="connsiteY17" fmla="*/ 137050 h 345141"/>
              <a:gd name="connsiteX18" fmla="*/ 126348 w 359004"/>
              <a:gd name="connsiteY18" fmla="*/ 191209 h 345141"/>
              <a:gd name="connsiteX19" fmla="*/ 138702 w 359004"/>
              <a:gd name="connsiteY19" fmla="*/ 199254 h 345141"/>
              <a:gd name="connsiteX20" fmla="*/ 124337 w 359004"/>
              <a:gd name="connsiteY20" fmla="*/ 203995 h 345141"/>
              <a:gd name="connsiteX21" fmla="*/ 80233 w 359004"/>
              <a:gd name="connsiteY21" fmla="*/ 237253 h 345141"/>
              <a:gd name="connsiteX22" fmla="*/ 79587 w 359004"/>
              <a:gd name="connsiteY22" fmla="*/ 241275 h 345141"/>
              <a:gd name="connsiteX23" fmla="*/ 82531 w 359004"/>
              <a:gd name="connsiteY23" fmla="*/ 244292 h 345141"/>
              <a:gd name="connsiteX24" fmla="*/ 84255 w 359004"/>
              <a:gd name="connsiteY24" fmla="*/ 244938 h 345141"/>
              <a:gd name="connsiteX25" fmla="*/ 90289 w 359004"/>
              <a:gd name="connsiteY25" fmla="*/ 242927 h 345141"/>
              <a:gd name="connsiteX26" fmla="*/ 154146 w 359004"/>
              <a:gd name="connsiteY26" fmla="*/ 210316 h 345141"/>
              <a:gd name="connsiteX27" fmla="*/ 155726 w 359004"/>
              <a:gd name="connsiteY27" fmla="*/ 210316 h 345141"/>
              <a:gd name="connsiteX28" fmla="*/ 219439 w 359004"/>
              <a:gd name="connsiteY28" fmla="*/ 242927 h 345141"/>
              <a:gd name="connsiteX29" fmla="*/ 225472 w 359004"/>
              <a:gd name="connsiteY29" fmla="*/ 244938 h 345141"/>
              <a:gd name="connsiteX30" fmla="*/ 227196 w 359004"/>
              <a:gd name="connsiteY30" fmla="*/ 244292 h 345141"/>
              <a:gd name="connsiteX31" fmla="*/ 230141 w 359004"/>
              <a:gd name="connsiteY31" fmla="*/ 241275 h 345141"/>
              <a:gd name="connsiteX32" fmla="*/ 229854 w 359004"/>
              <a:gd name="connsiteY32" fmla="*/ 237253 h 345141"/>
              <a:gd name="connsiteX33" fmla="*/ 185679 w 359004"/>
              <a:gd name="connsiteY33" fmla="*/ 203995 h 345141"/>
              <a:gd name="connsiteX34" fmla="*/ 171744 w 359004"/>
              <a:gd name="connsiteY34" fmla="*/ 199254 h 345141"/>
              <a:gd name="connsiteX35" fmla="*/ 184098 w 359004"/>
              <a:gd name="connsiteY35" fmla="*/ 191209 h 345141"/>
              <a:gd name="connsiteX36" fmla="*/ 205217 w 359004"/>
              <a:gd name="connsiteY36" fmla="*/ 137050 h 345141"/>
              <a:gd name="connsiteX37" fmla="*/ 165639 w 359004"/>
              <a:gd name="connsiteY37" fmla="*/ 101135 h 345141"/>
              <a:gd name="connsiteX38" fmla="*/ 155295 w 359004"/>
              <a:gd name="connsiteY38" fmla="*/ 100345 h 345141"/>
              <a:gd name="connsiteX39" fmla="*/ 154648 w 359004"/>
              <a:gd name="connsiteY39" fmla="*/ 85907 h 345141"/>
              <a:gd name="connsiteX40" fmla="*/ 167578 w 359004"/>
              <a:gd name="connsiteY40" fmla="*/ 86913 h 345141"/>
              <a:gd name="connsiteX41" fmla="*/ 218505 w 359004"/>
              <a:gd name="connsiteY41" fmla="*/ 133531 h 345141"/>
              <a:gd name="connsiteX42" fmla="*/ 201410 w 359004"/>
              <a:gd name="connsiteY42" fmla="*/ 195232 h 345141"/>
              <a:gd name="connsiteX43" fmla="*/ 240988 w 359004"/>
              <a:gd name="connsiteY43" fmla="*/ 228992 h 345141"/>
              <a:gd name="connsiteX44" fmla="*/ 243574 w 359004"/>
              <a:gd name="connsiteY44" fmla="*/ 245585 h 345141"/>
              <a:gd name="connsiteX45" fmla="*/ 231865 w 359004"/>
              <a:gd name="connsiteY45" fmla="*/ 257796 h 345141"/>
              <a:gd name="connsiteX46" fmla="*/ 230141 w 359004"/>
              <a:gd name="connsiteY46" fmla="*/ 258442 h 345141"/>
              <a:gd name="connsiteX47" fmla="*/ 207443 w 359004"/>
              <a:gd name="connsiteY47" fmla="*/ 251259 h 345141"/>
              <a:gd name="connsiteX48" fmla="*/ 154648 w 359004"/>
              <a:gd name="connsiteY48" fmla="*/ 224682 h 345141"/>
              <a:gd name="connsiteX49" fmla="*/ 101710 w 359004"/>
              <a:gd name="connsiteY49" fmla="*/ 251259 h 345141"/>
              <a:gd name="connsiteX50" fmla="*/ 85620 w 359004"/>
              <a:gd name="connsiteY50" fmla="*/ 259591 h 345141"/>
              <a:gd name="connsiteX51" fmla="*/ 79012 w 359004"/>
              <a:gd name="connsiteY51" fmla="*/ 258442 h 345141"/>
              <a:gd name="connsiteX52" fmla="*/ 77288 w 359004"/>
              <a:gd name="connsiteY52" fmla="*/ 257796 h 345141"/>
              <a:gd name="connsiteX53" fmla="*/ 65580 w 359004"/>
              <a:gd name="connsiteY53" fmla="*/ 245585 h 345141"/>
              <a:gd name="connsiteX54" fmla="*/ 68165 w 359004"/>
              <a:gd name="connsiteY54" fmla="*/ 228992 h 345141"/>
              <a:gd name="connsiteX55" fmla="*/ 107743 w 359004"/>
              <a:gd name="connsiteY55" fmla="*/ 195232 h 345141"/>
              <a:gd name="connsiteX56" fmla="*/ 90648 w 359004"/>
              <a:gd name="connsiteY56" fmla="*/ 133531 h 345141"/>
              <a:gd name="connsiteX57" fmla="*/ 141576 w 359004"/>
              <a:gd name="connsiteY57" fmla="*/ 86913 h 345141"/>
              <a:gd name="connsiteX58" fmla="*/ 154648 w 359004"/>
              <a:gd name="connsiteY58" fmla="*/ 85907 h 345141"/>
              <a:gd name="connsiteX59" fmla="*/ 24781 w 359004"/>
              <a:gd name="connsiteY59" fmla="*/ 59762 h 345141"/>
              <a:gd name="connsiteX60" fmla="*/ 14366 w 359004"/>
              <a:gd name="connsiteY60" fmla="*/ 69890 h 345141"/>
              <a:gd name="connsiteX61" fmla="*/ 14366 w 359004"/>
              <a:gd name="connsiteY61" fmla="*/ 280063 h 345141"/>
              <a:gd name="connsiteX62" fmla="*/ 24781 w 359004"/>
              <a:gd name="connsiteY62" fmla="*/ 290120 h 345141"/>
              <a:gd name="connsiteX63" fmla="*/ 102142 w 359004"/>
              <a:gd name="connsiteY63" fmla="*/ 290120 h 345141"/>
              <a:gd name="connsiteX64" fmla="*/ 119884 w 359004"/>
              <a:gd name="connsiteY64" fmla="*/ 297303 h 345141"/>
              <a:gd name="connsiteX65" fmla="*/ 150555 w 359004"/>
              <a:gd name="connsiteY65" fmla="*/ 328046 h 345141"/>
              <a:gd name="connsiteX66" fmla="*/ 165352 w 359004"/>
              <a:gd name="connsiteY66" fmla="*/ 328046 h 345141"/>
              <a:gd name="connsiteX67" fmla="*/ 199471 w 359004"/>
              <a:gd name="connsiteY67" fmla="*/ 296441 h 345141"/>
              <a:gd name="connsiteX68" fmla="*/ 216494 w 359004"/>
              <a:gd name="connsiteY68" fmla="*/ 289761 h 345141"/>
              <a:gd name="connsiteX69" fmla="*/ 285738 w 359004"/>
              <a:gd name="connsiteY69" fmla="*/ 289761 h 345141"/>
              <a:gd name="connsiteX70" fmla="*/ 296225 w 359004"/>
              <a:gd name="connsiteY70" fmla="*/ 279704 h 345141"/>
              <a:gd name="connsiteX71" fmla="*/ 296225 w 359004"/>
              <a:gd name="connsiteY71" fmla="*/ 69890 h 345141"/>
              <a:gd name="connsiteX72" fmla="*/ 285738 w 359004"/>
              <a:gd name="connsiteY72" fmla="*/ 59762 h 345141"/>
              <a:gd name="connsiteX73" fmla="*/ 102070 w 359004"/>
              <a:gd name="connsiteY73" fmla="*/ 14366 h 345141"/>
              <a:gd name="connsiteX74" fmla="*/ 79300 w 359004"/>
              <a:gd name="connsiteY74" fmla="*/ 37136 h 345141"/>
              <a:gd name="connsiteX75" fmla="*/ 79300 w 359004"/>
              <a:gd name="connsiteY75" fmla="*/ 45396 h 345141"/>
              <a:gd name="connsiteX76" fmla="*/ 285738 w 359004"/>
              <a:gd name="connsiteY76" fmla="*/ 45396 h 345141"/>
              <a:gd name="connsiteX77" fmla="*/ 310591 w 359004"/>
              <a:gd name="connsiteY77" fmla="*/ 69890 h 345141"/>
              <a:gd name="connsiteX78" fmla="*/ 310591 w 359004"/>
              <a:gd name="connsiteY78" fmla="*/ 258586 h 345141"/>
              <a:gd name="connsiteX79" fmla="*/ 322299 w 359004"/>
              <a:gd name="connsiteY79" fmla="*/ 258586 h 345141"/>
              <a:gd name="connsiteX80" fmla="*/ 345069 w 359004"/>
              <a:gd name="connsiteY80" fmla="*/ 235817 h 345141"/>
              <a:gd name="connsiteX81" fmla="*/ 345069 w 359004"/>
              <a:gd name="connsiteY81" fmla="*/ 37136 h 345141"/>
              <a:gd name="connsiteX82" fmla="*/ 322299 w 359004"/>
              <a:gd name="connsiteY82" fmla="*/ 14366 h 345141"/>
              <a:gd name="connsiteX83" fmla="*/ 102070 w 359004"/>
              <a:gd name="connsiteY83" fmla="*/ 0 h 345141"/>
              <a:gd name="connsiteX84" fmla="*/ 322299 w 359004"/>
              <a:gd name="connsiteY84" fmla="*/ 0 h 345141"/>
              <a:gd name="connsiteX85" fmla="*/ 359004 w 359004"/>
              <a:gd name="connsiteY85" fmla="*/ 37136 h 345141"/>
              <a:gd name="connsiteX86" fmla="*/ 359004 w 359004"/>
              <a:gd name="connsiteY86" fmla="*/ 235817 h 345141"/>
              <a:gd name="connsiteX87" fmla="*/ 321869 w 359004"/>
              <a:gd name="connsiteY87" fmla="*/ 272952 h 345141"/>
              <a:gd name="connsiteX88" fmla="*/ 310160 w 359004"/>
              <a:gd name="connsiteY88" fmla="*/ 272952 h 345141"/>
              <a:gd name="connsiteX89" fmla="*/ 310160 w 359004"/>
              <a:gd name="connsiteY89" fmla="*/ 279632 h 345141"/>
              <a:gd name="connsiteX90" fmla="*/ 285308 w 359004"/>
              <a:gd name="connsiteY90" fmla="*/ 304055 h 345141"/>
              <a:gd name="connsiteX91" fmla="*/ 216064 w 359004"/>
              <a:gd name="connsiteY91" fmla="*/ 304055 h 345141"/>
              <a:gd name="connsiteX92" fmla="*/ 208881 w 359004"/>
              <a:gd name="connsiteY92" fmla="*/ 306856 h 345141"/>
              <a:gd name="connsiteX93" fmla="*/ 174762 w 359004"/>
              <a:gd name="connsiteY93" fmla="*/ 338533 h 345141"/>
              <a:gd name="connsiteX94" fmla="*/ 157738 w 359004"/>
              <a:gd name="connsiteY94" fmla="*/ 345141 h 345141"/>
              <a:gd name="connsiteX95" fmla="*/ 140067 w 359004"/>
              <a:gd name="connsiteY95" fmla="*/ 337958 h 345141"/>
              <a:gd name="connsiteX96" fmla="*/ 109325 w 359004"/>
              <a:gd name="connsiteY96" fmla="*/ 307215 h 345141"/>
              <a:gd name="connsiteX97" fmla="*/ 102142 w 359004"/>
              <a:gd name="connsiteY97" fmla="*/ 304127 h 345141"/>
              <a:gd name="connsiteX98" fmla="*/ 24781 w 359004"/>
              <a:gd name="connsiteY98" fmla="*/ 304127 h 345141"/>
              <a:gd name="connsiteX99" fmla="*/ 0 w 359004"/>
              <a:gd name="connsiteY99" fmla="*/ 279704 h 345141"/>
              <a:gd name="connsiteX100" fmla="*/ 0 w 359004"/>
              <a:gd name="connsiteY100" fmla="*/ 69890 h 345141"/>
              <a:gd name="connsiteX101" fmla="*/ 24781 w 359004"/>
              <a:gd name="connsiteY101" fmla="*/ 45396 h 345141"/>
              <a:gd name="connsiteX102" fmla="*/ 64934 w 359004"/>
              <a:gd name="connsiteY102" fmla="*/ 45396 h 345141"/>
              <a:gd name="connsiteX103" fmla="*/ 64934 w 359004"/>
              <a:gd name="connsiteY103" fmla="*/ 37136 h 345141"/>
              <a:gd name="connsiteX104" fmla="*/ 102070 w 359004"/>
              <a:gd name="connsiteY104" fmla="*/ 0 h 3451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59004" h="345141">
                <a:moveTo>
                  <a:pt x="152925" y="125701"/>
                </a:moveTo>
                <a:cubicBezTo>
                  <a:pt x="139709" y="125859"/>
                  <a:pt x="129006" y="136584"/>
                  <a:pt x="128863" y="149836"/>
                </a:cubicBezTo>
                <a:cubicBezTo>
                  <a:pt x="129006" y="163326"/>
                  <a:pt x="140068" y="174129"/>
                  <a:pt x="153572" y="173971"/>
                </a:cubicBezTo>
                <a:lnTo>
                  <a:pt x="155655" y="173971"/>
                </a:lnTo>
                <a:lnTo>
                  <a:pt x="155871" y="173971"/>
                </a:lnTo>
                <a:cubicBezTo>
                  <a:pt x="169087" y="173741"/>
                  <a:pt x="179718" y="163003"/>
                  <a:pt x="179861" y="149764"/>
                </a:cubicBezTo>
                <a:cubicBezTo>
                  <a:pt x="179646" y="136447"/>
                  <a:pt x="168799" y="125737"/>
                  <a:pt x="155511" y="125701"/>
                </a:cubicBezTo>
                <a:lnTo>
                  <a:pt x="153931" y="125701"/>
                </a:lnTo>
                <a:close/>
                <a:moveTo>
                  <a:pt x="153572" y="111407"/>
                </a:moveTo>
                <a:lnTo>
                  <a:pt x="155081" y="111407"/>
                </a:lnTo>
                <a:cubicBezTo>
                  <a:pt x="176486" y="111206"/>
                  <a:pt x="194012" y="128417"/>
                  <a:pt x="194227" y="149836"/>
                </a:cubicBezTo>
                <a:cubicBezTo>
                  <a:pt x="194012" y="171270"/>
                  <a:pt x="176486" y="188495"/>
                  <a:pt x="155081" y="188337"/>
                </a:cubicBezTo>
                <a:lnTo>
                  <a:pt x="153572" y="188337"/>
                </a:lnTo>
                <a:cubicBezTo>
                  <a:pt x="132166" y="188495"/>
                  <a:pt x="114640" y="171256"/>
                  <a:pt x="114497" y="149836"/>
                </a:cubicBezTo>
                <a:cubicBezTo>
                  <a:pt x="114712" y="128446"/>
                  <a:pt x="132166" y="111249"/>
                  <a:pt x="153572" y="111407"/>
                </a:cubicBezTo>
                <a:close/>
                <a:moveTo>
                  <a:pt x="154505" y="100345"/>
                </a:moveTo>
                <a:cubicBezTo>
                  <a:pt x="151273" y="100331"/>
                  <a:pt x="148040" y="100596"/>
                  <a:pt x="144808" y="101135"/>
                </a:cubicBezTo>
                <a:cubicBezTo>
                  <a:pt x="125701" y="104238"/>
                  <a:pt x="110186" y="118310"/>
                  <a:pt x="105230" y="137050"/>
                </a:cubicBezTo>
                <a:cubicBezTo>
                  <a:pt x="99699" y="157773"/>
                  <a:pt x="108247" y="179688"/>
                  <a:pt x="126348" y="191209"/>
                </a:cubicBezTo>
                <a:lnTo>
                  <a:pt x="138702" y="199254"/>
                </a:lnTo>
                <a:lnTo>
                  <a:pt x="124337" y="203995"/>
                </a:lnTo>
                <a:cubicBezTo>
                  <a:pt x="106451" y="210086"/>
                  <a:pt x="91008" y="221744"/>
                  <a:pt x="80233" y="237253"/>
                </a:cubicBezTo>
                <a:cubicBezTo>
                  <a:pt x="79371" y="238409"/>
                  <a:pt x="79155" y="239910"/>
                  <a:pt x="79587" y="241275"/>
                </a:cubicBezTo>
                <a:cubicBezTo>
                  <a:pt x="80017" y="242683"/>
                  <a:pt x="81167" y="243803"/>
                  <a:pt x="82531" y="244292"/>
                </a:cubicBezTo>
                <a:lnTo>
                  <a:pt x="84255" y="244938"/>
                </a:lnTo>
                <a:cubicBezTo>
                  <a:pt x="86482" y="245678"/>
                  <a:pt x="88924" y="244859"/>
                  <a:pt x="90289" y="242927"/>
                </a:cubicBezTo>
                <a:cubicBezTo>
                  <a:pt x="105014" y="222355"/>
                  <a:pt x="128862" y="210201"/>
                  <a:pt x="154146" y="210316"/>
                </a:cubicBezTo>
                <a:lnTo>
                  <a:pt x="155726" y="210316"/>
                </a:lnTo>
                <a:cubicBezTo>
                  <a:pt x="181010" y="210252"/>
                  <a:pt x="204713" y="222398"/>
                  <a:pt x="219439" y="242927"/>
                </a:cubicBezTo>
                <a:cubicBezTo>
                  <a:pt x="220803" y="244859"/>
                  <a:pt x="223246" y="245678"/>
                  <a:pt x="225472" y="244938"/>
                </a:cubicBezTo>
                <a:lnTo>
                  <a:pt x="227196" y="244292"/>
                </a:lnTo>
                <a:cubicBezTo>
                  <a:pt x="228561" y="243803"/>
                  <a:pt x="229710" y="242683"/>
                  <a:pt x="230141" y="241275"/>
                </a:cubicBezTo>
                <a:cubicBezTo>
                  <a:pt x="230644" y="239960"/>
                  <a:pt x="230573" y="238481"/>
                  <a:pt x="229854" y="237253"/>
                </a:cubicBezTo>
                <a:cubicBezTo>
                  <a:pt x="219079" y="221723"/>
                  <a:pt x="203565" y="210065"/>
                  <a:pt x="185679" y="203995"/>
                </a:cubicBezTo>
                <a:lnTo>
                  <a:pt x="171744" y="199254"/>
                </a:lnTo>
                <a:lnTo>
                  <a:pt x="184098" y="191209"/>
                </a:lnTo>
                <a:cubicBezTo>
                  <a:pt x="202200" y="179674"/>
                  <a:pt x="210676" y="157773"/>
                  <a:pt x="205217" y="137050"/>
                </a:cubicBezTo>
                <a:cubicBezTo>
                  <a:pt x="200260" y="118310"/>
                  <a:pt x="184746" y="104238"/>
                  <a:pt x="165639" y="101135"/>
                </a:cubicBezTo>
                <a:cubicBezTo>
                  <a:pt x="162191" y="100568"/>
                  <a:pt x="158743" y="100302"/>
                  <a:pt x="155295" y="100345"/>
                </a:cubicBezTo>
                <a:close/>
                <a:moveTo>
                  <a:pt x="154648" y="85907"/>
                </a:moveTo>
                <a:cubicBezTo>
                  <a:pt x="158958" y="85871"/>
                  <a:pt x="163340" y="86209"/>
                  <a:pt x="167578" y="86913"/>
                </a:cubicBezTo>
                <a:cubicBezTo>
                  <a:pt x="192287" y="91007"/>
                  <a:pt x="212256" y="109281"/>
                  <a:pt x="218505" y="133531"/>
                </a:cubicBezTo>
                <a:cubicBezTo>
                  <a:pt x="224395" y="155675"/>
                  <a:pt x="217859" y="179264"/>
                  <a:pt x="201410" y="195232"/>
                </a:cubicBezTo>
                <a:cubicBezTo>
                  <a:pt x="217284" y="202882"/>
                  <a:pt x="230931" y="214511"/>
                  <a:pt x="240988" y="228992"/>
                </a:cubicBezTo>
                <a:cubicBezTo>
                  <a:pt x="244364" y="233833"/>
                  <a:pt x="245297" y="239953"/>
                  <a:pt x="243574" y="245585"/>
                </a:cubicBezTo>
                <a:cubicBezTo>
                  <a:pt x="241778" y="251252"/>
                  <a:pt x="237468" y="255763"/>
                  <a:pt x="231865" y="257796"/>
                </a:cubicBezTo>
                <a:lnTo>
                  <a:pt x="230141" y="258442"/>
                </a:lnTo>
                <a:cubicBezTo>
                  <a:pt x="221809" y="261416"/>
                  <a:pt x="212544" y="258478"/>
                  <a:pt x="207443" y="251259"/>
                </a:cubicBezTo>
                <a:cubicBezTo>
                  <a:pt x="195232" y="234300"/>
                  <a:pt x="175551" y="224373"/>
                  <a:pt x="154648" y="224682"/>
                </a:cubicBezTo>
                <a:cubicBezTo>
                  <a:pt x="133674" y="224251"/>
                  <a:pt x="113850" y="234199"/>
                  <a:pt x="101710" y="251259"/>
                </a:cubicBezTo>
                <a:cubicBezTo>
                  <a:pt x="97975" y="256459"/>
                  <a:pt x="92013" y="259555"/>
                  <a:pt x="85620" y="259591"/>
                </a:cubicBezTo>
                <a:cubicBezTo>
                  <a:pt x="83393" y="259598"/>
                  <a:pt x="81095" y="259210"/>
                  <a:pt x="79012" y="258442"/>
                </a:cubicBezTo>
                <a:lnTo>
                  <a:pt x="77288" y="257796"/>
                </a:lnTo>
                <a:cubicBezTo>
                  <a:pt x="71685" y="255763"/>
                  <a:pt x="67375" y="251252"/>
                  <a:pt x="65580" y="245585"/>
                </a:cubicBezTo>
                <a:cubicBezTo>
                  <a:pt x="63784" y="239953"/>
                  <a:pt x="64718" y="233804"/>
                  <a:pt x="68165" y="228992"/>
                </a:cubicBezTo>
                <a:cubicBezTo>
                  <a:pt x="78222" y="214511"/>
                  <a:pt x="91869" y="202875"/>
                  <a:pt x="107743" y="195232"/>
                </a:cubicBezTo>
                <a:cubicBezTo>
                  <a:pt x="91295" y="179264"/>
                  <a:pt x="84758" y="155675"/>
                  <a:pt x="90648" y="133531"/>
                </a:cubicBezTo>
                <a:cubicBezTo>
                  <a:pt x="96897" y="109274"/>
                  <a:pt x="116866" y="90993"/>
                  <a:pt x="141576" y="86913"/>
                </a:cubicBezTo>
                <a:cubicBezTo>
                  <a:pt x="145885" y="86202"/>
                  <a:pt x="150267" y="85864"/>
                  <a:pt x="154648" y="85907"/>
                </a:cubicBezTo>
                <a:close/>
                <a:moveTo>
                  <a:pt x="24781" y="59762"/>
                </a:moveTo>
                <a:cubicBezTo>
                  <a:pt x="19107" y="59719"/>
                  <a:pt x="14509" y="64237"/>
                  <a:pt x="14366" y="69890"/>
                </a:cubicBezTo>
                <a:lnTo>
                  <a:pt x="14366" y="280063"/>
                </a:lnTo>
                <a:cubicBezTo>
                  <a:pt x="14509" y="285709"/>
                  <a:pt x="19107" y="290199"/>
                  <a:pt x="24781" y="290120"/>
                </a:cubicBezTo>
                <a:lnTo>
                  <a:pt x="102142" y="290120"/>
                </a:lnTo>
                <a:cubicBezTo>
                  <a:pt x="108750" y="290091"/>
                  <a:pt x="115143" y="292670"/>
                  <a:pt x="119884" y="297303"/>
                </a:cubicBezTo>
                <a:lnTo>
                  <a:pt x="150555" y="328046"/>
                </a:lnTo>
                <a:cubicBezTo>
                  <a:pt x="154721" y="331968"/>
                  <a:pt x="161186" y="331968"/>
                  <a:pt x="165352" y="328046"/>
                </a:cubicBezTo>
                <a:lnTo>
                  <a:pt x="199471" y="296441"/>
                </a:lnTo>
                <a:cubicBezTo>
                  <a:pt x="204068" y="292145"/>
                  <a:pt x="210173" y="289761"/>
                  <a:pt x="216494" y="289761"/>
                </a:cubicBezTo>
                <a:lnTo>
                  <a:pt x="285738" y="289761"/>
                </a:lnTo>
                <a:cubicBezTo>
                  <a:pt x="291413" y="289840"/>
                  <a:pt x="296082" y="285357"/>
                  <a:pt x="296225" y="279704"/>
                </a:cubicBezTo>
                <a:lnTo>
                  <a:pt x="296225" y="69890"/>
                </a:lnTo>
                <a:cubicBezTo>
                  <a:pt x="296082" y="64222"/>
                  <a:pt x="291413" y="59719"/>
                  <a:pt x="285738" y="59762"/>
                </a:cubicBezTo>
                <a:close/>
                <a:moveTo>
                  <a:pt x="102070" y="14366"/>
                </a:moveTo>
                <a:cubicBezTo>
                  <a:pt x="89500" y="14366"/>
                  <a:pt x="79300" y="24558"/>
                  <a:pt x="79300" y="37136"/>
                </a:cubicBezTo>
                <a:lnTo>
                  <a:pt x="79300" y="45396"/>
                </a:lnTo>
                <a:lnTo>
                  <a:pt x="285738" y="45396"/>
                </a:lnTo>
                <a:cubicBezTo>
                  <a:pt x="299386" y="45317"/>
                  <a:pt x="310448" y="56271"/>
                  <a:pt x="310591" y="69890"/>
                </a:cubicBezTo>
                <a:lnTo>
                  <a:pt x="310591" y="258586"/>
                </a:lnTo>
                <a:lnTo>
                  <a:pt x="322299" y="258586"/>
                </a:lnTo>
                <a:cubicBezTo>
                  <a:pt x="334869" y="258586"/>
                  <a:pt x="345069" y="248394"/>
                  <a:pt x="345069" y="235817"/>
                </a:cubicBezTo>
                <a:lnTo>
                  <a:pt x="345069" y="37136"/>
                </a:lnTo>
                <a:cubicBezTo>
                  <a:pt x="345069" y="24558"/>
                  <a:pt x="334869" y="14366"/>
                  <a:pt x="322299" y="14366"/>
                </a:cubicBezTo>
                <a:close/>
                <a:moveTo>
                  <a:pt x="102070" y="0"/>
                </a:moveTo>
                <a:lnTo>
                  <a:pt x="322299" y="0"/>
                </a:lnTo>
                <a:cubicBezTo>
                  <a:pt x="342628" y="273"/>
                  <a:pt x="358933" y="16808"/>
                  <a:pt x="359004" y="37136"/>
                </a:cubicBezTo>
                <a:lnTo>
                  <a:pt x="359004" y="235817"/>
                </a:lnTo>
                <a:cubicBezTo>
                  <a:pt x="358933" y="256309"/>
                  <a:pt x="342340" y="272916"/>
                  <a:pt x="321869" y="272952"/>
                </a:cubicBezTo>
                <a:lnTo>
                  <a:pt x="310160" y="272952"/>
                </a:lnTo>
                <a:lnTo>
                  <a:pt x="310160" y="279632"/>
                </a:lnTo>
                <a:cubicBezTo>
                  <a:pt x="310017" y="293223"/>
                  <a:pt x="298883" y="304134"/>
                  <a:pt x="285308" y="304055"/>
                </a:cubicBezTo>
                <a:lnTo>
                  <a:pt x="216064" y="304055"/>
                </a:lnTo>
                <a:cubicBezTo>
                  <a:pt x="213406" y="304069"/>
                  <a:pt x="210820" y="305067"/>
                  <a:pt x="208881" y="306856"/>
                </a:cubicBezTo>
                <a:lnTo>
                  <a:pt x="174762" y="338533"/>
                </a:lnTo>
                <a:cubicBezTo>
                  <a:pt x="170093" y="342792"/>
                  <a:pt x="164059" y="345148"/>
                  <a:pt x="157738" y="345141"/>
                </a:cubicBezTo>
                <a:cubicBezTo>
                  <a:pt x="151129" y="345184"/>
                  <a:pt x="144737" y="342598"/>
                  <a:pt x="140067" y="337958"/>
                </a:cubicBezTo>
                <a:lnTo>
                  <a:pt x="109325" y="307215"/>
                </a:lnTo>
                <a:cubicBezTo>
                  <a:pt x="107385" y="305319"/>
                  <a:pt x="104872" y="304213"/>
                  <a:pt x="102142" y="304127"/>
                </a:cubicBezTo>
                <a:lnTo>
                  <a:pt x="24781" y="304127"/>
                </a:lnTo>
                <a:cubicBezTo>
                  <a:pt x="11206" y="304206"/>
                  <a:pt x="143" y="293280"/>
                  <a:pt x="0" y="279704"/>
                </a:cubicBezTo>
                <a:lnTo>
                  <a:pt x="0" y="69890"/>
                </a:lnTo>
                <a:cubicBezTo>
                  <a:pt x="143" y="56300"/>
                  <a:pt x="11206" y="45353"/>
                  <a:pt x="24781" y="45396"/>
                </a:cubicBezTo>
                <a:lnTo>
                  <a:pt x="64934" y="45396"/>
                </a:lnTo>
                <a:lnTo>
                  <a:pt x="64934" y="37136"/>
                </a:lnTo>
                <a:cubicBezTo>
                  <a:pt x="65006" y="16643"/>
                  <a:pt x="81598" y="36"/>
                  <a:pt x="102070" y="0"/>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Arial" panose="020F0502020204030204"/>
              <a:ea typeface="微软雅黑"/>
              <a:cs typeface="+mn-cs"/>
            </a:endParaRPr>
          </a:p>
        </p:txBody>
      </p:sp>
      <p:sp>
        <p:nvSpPr>
          <p:cNvPr id="175" name="Oval 155">
            <a:extLst>
              <a:ext uri="{FF2B5EF4-FFF2-40B4-BE49-F238E27FC236}">
                <a16:creationId xmlns:a16="http://schemas.microsoft.com/office/drawing/2014/main" id="{C28CDEB6-1CC6-4D75-99EC-3E253B33011E}"/>
              </a:ext>
            </a:extLst>
          </p:cNvPr>
          <p:cNvSpPr/>
          <p:nvPr/>
        </p:nvSpPr>
        <p:spPr>
          <a:xfrm>
            <a:off x="7383391" y="2867062"/>
            <a:ext cx="319474" cy="307134"/>
          </a:xfrm>
          <a:custGeom>
            <a:avLst/>
            <a:gdLst>
              <a:gd name="connsiteX0" fmla="*/ 152925 w 359004"/>
              <a:gd name="connsiteY0" fmla="*/ 125701 h 345141"/>
              <a:gd name="connsiteX1" fmla="*/ 128863 w 359004"/>
              <a:gd name="connsiteY1" fmla="*/ 149836 h 345141"/>
              <a:gd name="connsiteX2" fmla="*/ 153572 w 359004"/>
              <a:gd name="connsiteY2" fmla="*/ 173971 h 345141"/>
              <a:gd name="connsiteX3" fmla="*/ 155655 w 359004"/>
              <a:gd name="connsiteY3" fmla="*/ 173971 h 345141"/>
              <a:gd name="connsiteX4" fmla="*/ 155871 w 359004"/>
              <a:gd name="connsiteY4" fmla="*/ 173971 h 345141"/>
              <a:gd name="connsiteX5" fmla="*/ 179861 w 359004"/>
              <a:gd name="connsiteY5" fmla="*/ 149764 h 345141"/>
              <a:gd name="connsiteX6" fmla="*/ 155511 w 359004"/>
              <a:gd name="connsiteY6" fmla="*/ 125701 h 345141"/>
              <a:gd name="connsiteX7" fmla="*/ 153931 w 359004"/>
              <a:gd name="connsiteY7" fmla="*/ 125701 h 345141"/>
              <a:gd name="connsiteX8" fmla="*/ 153572 w 359004"/>
              <a:gd name="connsiteY8" fmla="*/ 111407 h 345141"/>
              <a:gd name="connsiteX9" fmla="*/ 155081 w 359004"/>
              <a:gd name="connsiteY9" fmla="*/ 111407 h 345141"/>
              <a:gd name="connsiteX10" fmla="*/ 194227 w 359004"/>
              <a:gd name="connsiteY10" fmla="*/ 149836 h 345141"/>
              <a:gd name="connsiteX11" fmla="*/ 155081 w 359004"/>
              <a:gd name="connsiteY11" fmla="*/ 188337 h 345141"/>
              <a:gd name="connsiteX12" fmla="*/ 153572 w 359004"/>
              <a:gd name="connsiteY12" fmla="*/ 188337 h 345141"/>
              <a:gd name="connsiteX13" fmla="*/ 114497 w 359004"/>
              <a:gd name="connsiteY13" fmla="*/ 149836 h 345141"/>
              <a:gd name="connsiteX14" fmla="*/ 153572 w 359004"/>
              <a:gd name="connsiteY14" fmla="*/ 111407 h 345141"/>
              <a:gd name="connsiteX15" fmla="*/ 154505 w 359004"/>
              <a:gd name="connsiteY15" fmla="*/ 100345 h 345141"/>
              <a:gd name="connsiteX16" fmla="*/ 144808 w 359004"/>
              <a:gd name="connsiteY16" fmla="*/ 101135 h 345141"/>
              <a:gd name="connsiteX17" fmla="*/ 105230 w 359004"/>
              <a:gd name="connsiteY17" fmla="*/ 137050 h 345141"/>
              <a:gd name="connsiteX18" fmla="*/ 126348 w 359004"/>
              <a:gd name="connsiteY18" fmla="*/ 191209 h 345141"/>
              <a:gd name="connsiteX19" fmla="*/ 138702 w 359004"/>
              <a:gd name="connsiteY19" fmla="*/ 199254 h 345141"/>
              <a:gd name="connsiteX20" fmla="*/ 124337 w 359004"/>
              <a:gd name="connsiteY20" fmla="*/ 203995 h 345141"/>
              <a:gd name="connsiteX21" fmla="*/ 80233 w 359004"/>
              <a:gd name="connsiteY21" fmla="*/ 237253 h 345141"/>
              <a:gd name="connsiteX22" fmla="*/ 79587 w 359004"/>
              <a:gd name="connsiteY22" fmla="*/ 241275 h 345141"/>
              <a:gd name="connsiteX23" fmla="*/ 82531 w 359004"/>
              <a:gd name="connsiteY23" fmla="*/ 244292 h 345141"/>
              <a:gd name="connsiteX24" fmla="*/ 84255 w 359004"/>
              <a:gd name="connsiteY24" fmla="*/ 244938 h 345141"/>
              <a:gd name="connsiteX25" fmla="*/ 90289 w 359004"/>
              <a:gd name="connsiteY25" fmla="*/ 242927 h 345141"/>
              <a:gd name="connsiteX26" fmla="*/ 154146 w 359004"/>
              <a:gd name="connsiteY26" fmla="*/ 210316 h 345141"/>
              <a:gd name="connsiteX27" fmla="*/ 155726 w 359004"/>
              <a:gd name="connsiteY27" fmla="*/ 210316 h 345141"/>
              <a:gd name="connsiteX28" fmla="*/ 219439 w 359004"/>
              <a:gd name="connsiteY28" fmla="*/ 242927 h 345141"/>
              <a:gd name="connsiteX29" fmla="*/ 225472 w 359004"/>
              <a:gd name="connsiteY29" fmla="*/ 244938 h 345141"/>
              <a:gd name="connsiteX30" fmla="*/ 227196 w 359004"/>
              <a:gd name="connsiteY30" fmla="*/ 244292 h 345141"/>
              <a:gd name="connsiteX31" fmla="*/ 230141 w 359004"/>
              <a:gd name="connsiteY31" fmla="*/ 241275 h 345141"/>
              <a:gd name="connsiteX32" fmla="*/ 229854 w 359004"/>
              <a:gd name="connsiteY32" fmla="*/ 237253 h 345141"/>
              <a:gd name="connsiteX33" fmla="*/ 185679 w 359004"/>
              <a:gd name="connsiteY33" fmla="*/ 203995 h 345141"/>
              <a:gd name="connsiteX34" fmla="*/ 171744 w 359004"/>
              <a:gd name="connsiteY34" fmla="*/ 199254 h 345141"/>
              <a:gd name="connsiteX35" fmla="*/ 184098 w 359004"/>
              <a:gd name="connsiteY35" fmla="*/ 191209 h 345141"/>
              <a:gd name="connsiteX36" fmla="*/ 205217 w 359004"/>
              <a:gd name="connsiteY36" fmla="*/ 137050 h 345141"/>
              <a:gd name="connsiteX37" fmla="*/ 165639 w 359004"/>
              <a:gd name="connsiteY37" fmla="*/ 101135 h 345141"/>
              <a:gd name="connsiteX38" fmla="*/ 155295 w 359004"/>
              <a:gd name="connsiteY38" fmla="*/ 100345 h 345141"/>
              <a:gd name="connsiteX39" fmla="*/ 154648 w 359004"/>
              <a:gd name="connsiteY39" fmla="*/ 85907 h 345141"/>
              <a:gd name="connsiteX40" fmla="*/ 167578 w 359004"/>
              <a:gd name="connsiteY40" fmla="*/ 86913 h 345141"/>
              <a:gd name="connsiteX41" fmla="*/ 218505 w 359004"/>
              <a:gd name="connsiteY41" fmla="*/ 133531 h 345141"/>
              <a:gd name="connsiteX42" fmla="*/ 201410 w 359004"/>
              <a:gd name="connsiteY42" fmla="*/ 195232 h 345141"/>
              <a:gd name="connsiteX43" fmla="*/ 240988 w 359004"/>
              <a:gd name="connsiteY43" fmla="*/ 228992 h 345141"/>
              <a:gd name="connsiteX44" fmla="*/ 243574 w 359004"/>
              <a:gd name="connsiteY44" fmla="*/ 245585 h 345141"/>
              <a:gd name="connsiteX45" fmla="*/ 231865 w 359004"/>
              <a:gd name="connsiteY45" fmla="*/ 257796 h 345141"/>
              <a:gd name="connsiteX46" fmla="*/ 230141 w 359004"/>
              <a:gd name="connsiteY46" fmla="*/ 258442 h 345141"/>
              <a:gd name="connsiteX47" fmla="*/ 207443 w 359004"/>
              <a:gd name="connsiteY47" fmla="*/ 251259 h 345141"/>
              <a:gd name="connsiteX48" fmla="*/ 154648 w 359004"/>
              <a:gd name="connsiteY48" fmla="*/ 224682 h 345141"/>
              <a:gd name="connsiteX49" fmla="*/ 101710 w 359004"/>
              <a:gd name="connsiteY49" fmla="*/ 251259 h 345141"/>
              <a:gd name="connsiteX50" fmla="*/ 85620 w 359004"/>
              <a:gd name="connsiteY50" fmla="*/ 259591 h 345141"/>
              <a:gd name="connsiteX51" fmla="*/ 79012 w 359004"/>
              <a:gd name="connsiteY51" fmla="*/ 258442 h 345141"/>
              <a:gd name="connsiteX52" fmla="*/ 77288 w 359004"/>
              <a:gd name="connsiteY52" fmla="*/ 257796 h 345141"/>
              <a:gd name="connsiteX53" fmla="*/ 65580 w 359004"/>
              <a:gd name="connsiteY53" fmla="*/ 245585 h 345141"/>
              <a:gd name="connsiteX54" fmla="*/ 68165 w 359004"/>
              <a:gd name="connsiteY54" fmla="*/ 228992 h 345141"/>
              <a:gd name="connsiteX55" fmla="*/ 107743 w 359004"/>
              <a:gd name="connsiteY55" fmla="*/ 195232 h 345141"/>
              <a:gd name="connsiteX56" fmla="*/ 90648 w 359004"/>
              <a:gd name="connsiteY56" fmla="*/ 133531 h 345141"/>
              <a:gd name="connsiteX57" fmla="*/ 141576 w 359004"/>
              <a:gd name="connsiteY57" fmla="*/ 86913 h 345141"/>
              <a:gd name="connsiteX58" fmla="*/ 154648 w 359004"/>
              <a:gd name="connsiteY58" fmla="*/ 85907 h 345141"/>
              <a:gd name="connsiteX59" fmla="*/ 24781 w 359004"/>
              <a:gd name="connsiteY59" fmla="*/ 59762 h 345141"/>
              <a:gd name="connsiteX60" fmla="*/ 14366 w 359004"/>
              <a:gd name="connsiteY60" fmla="*/ 69890 h 345141"/>
              <a:gd name="connsiteX61" fmla="*/ 14366 w 359004"/>
              <a:gd name="connsiteY61" fmla="*/ 280063 h 345141"/>
              <a:gd name="connsiteX62" fmla="*/ 24781 w 359004"/>
              <a:gd name="connsiteY62" fmla="*/ 290120 h 345141"/>
              <a:gd name="connsiteX63" fmla="*/ 102142 w 359004"/>
              <a:gd name="connsiteY63" fmla="*/ 290120 h 345141"/>
              <a:gd name="connsiteX64" fmla="*/ 119884 w 359004"/>
              <a:gd name="connsiteY64" fmla="*/ 297303 h 345141"/>
              <a:gd name="connsiteX65" fmla="*/ 150555 w 359004"/>
              <a:gd name="connsiteY65" fmla="*/ 328046 h 345141"/>
              <a:gd name="connsiteX66" fmla="*/ 165352 w 359004"/>
              <a:gd name="connsiteY66" fmla="*/ 328046 h 345141"/>
              <a:gd name="connsiteX67" fmla="*/ 199471 w 359004"/>
              <a:gd name="connsiteY67" fmla="*/ 296441 h 345141"/>
              <a:gd name="connsiteX68" fmla="*/ 216494 w 359004"/>
              <a:gd name="connsiteY68" fmla="*/ 289761 h 345141"/>
              <a:gd name="connsiteX69" fmla="*/ 285738 w 359004"/>
              <a:gd name="connsiteY69" fmla="*/ 289761 h 345141"/>
              <a:gd name="connsiteX70" fmla="*/ 296225 w 359004"/>
              <a:gd name="connsiteY70" fmla="*/ 279704 h 345141"/>
              <a:gd name="connsiteX71" fmla="*/ 296225 w 359004"/>
              <a:gd name="connsiteY71" fmla="*/ 69890 h 345141"/>
              <a:gd name="connsiteX72" fmla="*/ 285738 w 359004"/>
              <a:gd name="connsiteY72" fmla="*/ 59762 h 345141"/>
              <a:gd name="connsiteX73" fmla="*/ 102070 w 359004"/>
              <a:gd name="connsiteY73" fmla="*/ 14366 h 345141"/>
              <a:gd name="connsiteX74" fmla="*/ 79300 w 359004"/>
              <a:gd name="connsiteY74" fmla="*/ 37136 h 345141"/>
              <a:gd name="connsiteX75" fmla="*/ 79300 w 359004"/>
              <a:gd name="connsiteY75" fmla="*/ 45396 h 345141"/>
              <a:gd name="connsiteX76" fmla="*/ 285738 w 359004"/>
              <a:gd name="connsiteY76" fmla="*/ 45396 h 345141"/>
              <a:gd name="connsiteX77" fmla="*/ 310591 w 359004"/>
              <a:gd name="connsiteY77" fmla="*/ 69890 h 345141"/>
              <a:gd name="connsiteX78" fmla="*/ 310591 w 359004"/>
              <a:gd name="connsiteY78" fmla="*/ 258586 h 345141"/>
              <a:gd name="connsiteX79" fmla="*/ 322299 w 359004"/>
              <a:gd name="connsiteY79" fmla="*/ 258586 h 345141"/>
              <a:gd name="connsiteX80" fmla="*/ 345069 w 359004"/>
              <a:gd name="connsiteY80" fmla="*/ 235817 h 345141"/>
              <a:gd name="connsiteX81" fmla="*/ 345069 w 359004"/>
              <a:gd name="connsiteY81" fmla="*/ 37136 h 345141"/>
              <a:gd name="connsiteX82" fmla="*/ 322299 w 359004"/>
              <a:gd name="connsiteY82" fmla="*/ 14366 h 345141"/>
              <a:gd name="connsiteX83" fmla="*/ 102070 w 359004"/>
              <a:gd name="connsiteY83" fmla="*/ 0 h 345141"/>
              <a:gd name="connsiteX84" fmla="*/ 322299 w 359004"/>
              <a:gd name="connsiteY84" fmla="*/ 0 h 345141"/>
              <a:gd name="connsiteX85" fmla="*/ 359004 w 359004"/>
              <a:gd name="connsiteY85" fmla="*/ 37136 h 345141"/>
              <a:gd name="connsiteX86" fmla="*/ 359004 w 359004"/>
              <a:gd name="connsiteY86" fmla="*/ 235817 h 345141"/>
              <a:gd name="connsiteX87" fmla="*/ 321869 w 359004"/>
              <a:gd name="connsiteY87" fmla="*/ 272952 h 345141"/>
              <a:gd name="connsiteX88" fmla="*/ 310160 w 359004"/>
              <a:gd name="connsiteY88" fmla="*/ 272952 h 345141"/>
              <a:gd name="connsiteX89" fmla="*/ 310160 w 359004"/>
              <a:gd name="connsiteY89" fmla="*/ 279632 h 345141"/>
              <a:gd name="connsiteX90" fmla="*/ 285308 w 359004"/>
              <a:gd name="connsiteY90" fmla="*/ 304055 h 345141"/>
              <a:gd name="connsiteX91" fmla="*/ 216064 w 359004"/>
              <a:gd name="connsiteY91" fmla="*/ 304055 h 345141"/>
              <a:gd name="connsiteX92" fmla="*/ 208881 w 359004"/>
              <a:gd name="connsiteY92" fmla="*/ 306856 h 345141"/>
              <a:gd name="connsiteX93" fmla="*/ 174762 w 359004"/>
              <a:gd name="connsiteY93" fmla="*/ 338533 h 345141"/>
              <a:gd name="connsiteX94" fmla="*/ 157738 w 359004"/>
              <a:gd name="connsiteY94" fmla="*/ 345141 h 345141"/>
              <a:gd name="connsiteX95" fmla="*/ 140067 w 359004"/>
              <a:gd name="connsiteY95" fmla="*/ 337958 h 345141"/>
              <a:gd name="connsiteX96" fmla="*/ 109325 w 359004"/>
              <a:gd name="connsiteY96" fmla="*/ 307215 h 345141"/>
              <a:gd name="connsiteX97" fmla="*/ 102142 w 359004"/>
              <a:gd name="connsiteY97" fmla="*/ 304127 h 345141"/>
              <a:gd name="connsiteX98" fmla="*/ 24781 w 359004"/>
              <a:gd name="connsiteY98" fmla="*/ 304127 h 345141"/>
              <a:gd name="connsiteX99" fmla="*/ 0 w 359004"/>
              <a:gd name="connsiteY99" fmla="*/ 279704 h 345141"/>
              <a:gd name="connsiteX100" fmla="*/ 0 w 359004"/>
              <a:gd name="connsiteY100" fmla="*/ 69890 h 345141"/>
              <a:gd name="connsiteX101" fmla="*/ 24781 w 359004"/>
              <a:gd name="connsiteY101" fmla="*/ 45396 h 345141"/>
              <a:gd name="connsiteX102" fmla="*/ 64934 w 359004"/>
              <a:gd name="connsiteY102" fmla="*/ 45396 h 345141"/>
              <a:gd name="connsiteX103" fmla="*/ 64934 w 359004"/>
              <a:gd name="connsiteY103" fmla="*/ 37136 h 345141"/>
              <a:gd name="connsiteX104" fmla="*/ 102070 w 359004"/>
              <a:gd name="connsiteY104" fmla="*/ 0 h 3451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59004" h="345141">
                <a:moveTo>
                  <a:pt x="152925" y="125701"/>
                </a:moveTo>
                <a:cubicBezTo>
                  <a:pt x="139709" y="125859"/>
                  <a:pt x="129006" y="136584"/>
                  <a:pt x="128863" y="149836"/>
                </a:cubicBezTo>
                <a:cubicBezTo>
                  <a:pt x="129006" y="163326"/>
                  <a:pt x="140068" y="174129"/>
                  <a:pt x="153572" y="173971"/>
                </a:cubicBezTo>
                <a:lnTo>
                  <a:pt x="155655" y="173971"/>
                </a:lnTo>
                <a:lnTo>
                  <a:pt x="155871" y="173971"/>
                </a:lnTo>
                <a:cubicBezTo>
                  <a:pt x="169087" y="173741"/>
                  <a:pt x="179718" y="163003"/>
                  <a:pt x="179861" y="149764"/>
                </a:cubicBezTo>
                <a:cubicBezTo>
                  <a:pt x="179646" y="136447"/>
                  <a:pt x="168799" y="125737"/>
                  <a:pt x="155511" y="125701"/>
                </a:cubicBezTo>
                <a:lnTo>
                  <a:pt x="153931" y="125701"/>
                </a:lnTo>
                <a:close/>
                <a:moveTo>
                  <a:pt x="153572" y="111407"/>
                </a:moveTo>
                <a:lnTo>
                  <a:pt x="155081" y="111407"/>
                </a:lnTo>
                <a:cubicBezTo>
                  <a:pt x="176486" y="111206"/>
                  <a:pt x="194012" y="128417"/>
                  <a:pt x="194227" y="149836"/>
                </a:cubicBezTo>
                <a:cubicBezTo>
                  <a:pt x="194012" y="171270"/>
                  <a:pt x="176486" y="188495"/>
                  <a:pt x="155081" y="188337"/>
                </a:cubicBezTo>
                <a:lnTo>
                  <a:pt x="153572" y="188337"/>
                </a:lnTo>
                <a:cubicBezTo>
                  <a:pt x="132166" y="188495"/>
                  <a:pt x="114640" y="171256"/>
                  <a:pt x="114497" y="149836"/>
                </a:cubicBezTo>
                <a:cubicBezTo>
                  <a:pt x="114712" y="128446"/>
                  <a:pt x="132166" y="111249"/>
                  <a:pt x="153572" y="111407"/>
                </a:cubicBezTo>
                <a:close/>
                <a:moveTo>
                  <a:pt x="154505" y="100345"/>
                </a:moveTo>
                <a:cubicBezTo>
                  <a:pt x="151273" y="100331"/>
                  <a:pt x="148040" y="100596"/>
                  <a:pt x="144808" y="101135"/>
                </a:cubicBezTo>
                <a:cubicBezTo>
                  <a:pt x="125701" y="104238"/>
                  <a:pt x="110186" y="118310"/>
                  <a:pt x="105230" y="137050"/>
                </a:cubicBezTo>
                <a:cubicBezTo>
                  <a:pt x="99699" y="157773"/>
                  <a:pt x="108247" y="179688"/>
                  <a:pt x="126348" y="191209"/>
                </a:cubicBezTo>
                <a:lnTo>
                  <a:pt x="138702" y="199254"/>
                </a:lnTo>
                <a:lnTo>
                  <a:pt x="124337" y="203995"/>
                </a:lnTo>
                <a:cubicBezTo>
                  <a:pt x="106451" y="210086"/>
                  <a:pt x="91008" y="221744"/>
                  <a:pt x="80233" y="237253"/>
                </a:cubicBezTo>
                <a:cubicBezTo>
                  <a:pt x="79371" y="238409"/>
                  <a:pt x="79155" y="239910"/>
                  <a:pt x="79587" y="241275"/>
                </a:cubicBezTo>
                <a:cubicBezTo>
                  <a:pt x="80017" y="242683"/>
                  <a:pt x="81167" y="243803"/>
                  <a:pt x="82531" y="244292"/>
                </a:cubicBezTo>
                <a:lnTo>
                  <a:pt x="84255" y="244938"/>
                </a:lnTo>
                <a:cubicBezTo>
                  <a:pt x="86482" y="245678"/>
                  <a:pt x="88924" y="244859"/>
                  <a:pt x="90289" y="242927"/>
                </a:cubicBezTo>
                <a:cubicBezTo>
                  <a:pt x="105014" y="222355"/>
                  <a:pt x="128862" y="210201"/>
                  <a:pt x="154146" y="210316"/>
                </a:cubicBezTo>
                <a:lnTo>
                  <a:pt x="155726" y="210316"/>
                </a:lnTo>
                <a:cubicBezTo>
                  <a:pt x="181010" y="210252"/>
                  <a:pt x="204713" y="222398"/>
                  <a:pt x="219439" y="242927"/>
                </a:cubicBezTo>
                <a:cubicBezTo>
                  <a:pt x="220803" y="244859"/>
                  <a:pt x="223246" y="245678"/>
                  <a:pt x="225472" y="244938"/>
                </a:cubicBezTo>
                <a:lnTo>
                  <a:pt x="227196" y="244292"/>
                </a:lnTo>
                <a:cubicBezTo>
                  <a:pt x="228561" y="243803"/>
                  <a:pt x="229710" y="242683"/>
                  <a:pt x="230141" y="241275"/>
                </a:cubicBezTo>
                <a:cubicBezTo>
                  <a:pt x="230644" y="239960"/>
                  <a:pt x="230573" y="238481"/>
                  <a:pt x="229854" y="237253"/>
                </a:cubicBezTo>
                <a:cubicBezTo>
                  <a:pt x="219079" y="221723"/>
                  <a:pt x="203565" y="210065"/>
                  <a:pt x="185679" y="203995"/>
                </a:cubicBezTo>
                <a:lnTo>
                  <a:pt x="171744" y="199254"/>
                </a:lnTo>
                <a:lnTo>
                  <a:pt x="184098" y="191209"/>
                </a:lnTo>
                <a:cubicBezTo>
                  <a:pt x="202200" y="179674"/>
                  <a:pt x="210676" y="157773"/>
                  <a:pt x="205217" y="137050"/>
                </a:cubicBezTo>
                <a:cubicBezTo>
                  <a:pt x="200260" y="118310"/>
                  <a:pt x="184746" y="104238"/>
                  <a:pt x="165639" y="101135"/>
                </a:cubicBezTo>
                <a:cubicBezTo>
                  <a:pt x="162191" y="100568"/>
                  <a:pt x="158743" y="100302"/>
                  <a:pt x="155295" y="100345"/>
                </a:cubicBezTo>
                <a:close/>
                <a:moveTo>
                  <a:pt x="154648" y="85907"/>
                </a:moveTo>
                <a:cubicBezTo>
                  <a:pt x="158958" y="85871"/>
                  <a:pt x="163340" y="86209"/>
                  <a:pt x="167578" y="86913"/>
                </a:cubicBezTo>
                <a:cubicBezTo>
                  <a:pt x="192287" y="91007"/>
                  <a:pt x="212256" y="109281"/>
                  <a:pt x="218505" y="133531"/>
                </a:cubicBezTo>
                <a:cubicBezTo>
                  <a:pt x="224395" y="155675"/>
                  <a:pt x="217859" y="179264"/>
                  <a:pt x="201410" y="195232"/>
                </a:cubicBezTo>
                <a:cubicBezTo>
                  <a:pt x="217284" y="202882"/>
                  <a:pt x="230931" y="214511"/>
                  <a:pt x="240988" y="228992"/>
                </a:cubicBezTo>
                <a:cubicBezTo>
                  <a:pt x="244364" y="233833"/>
                  <a:pt x="245297" y="239953"/>
                  <a:pt x="243574" y="245585"/>
                </a:cubicBezTo>
                <a:cubicBezTo>
                  <a:pt x="241778" y="251252"/>
                  <a:pt x="237468" y="255763"/>
                  <a:pt x="231865" y="257796"/>
                </a:cubicBezTo>
                <a:lnTo>
                  <a:pt x="230141" y="258442"/>
                </a:lnTo>
                <a:cubicBezTo>
                  <a:pt x="221809" y="261416"/>
                  <a:pt x="212544" y="258478"/>
                  <a:pt x="207443" y="251259"/>
                </a:cubicBezTo>
                <a:cubicBezTo>
                  <a:pt x="195232" y="234300"/>
                  <a:pt x="175551" y="224373"/>
                  <a:pt x="154648" y="224682"/>
                </a:cubicBezTo>
                <a:cubicBezTo>
                  <a:pt x="133674" y="224251"/>
                  <a:pt x="113850" y="234199"/>
                  <a:pt x="101710" y="251259"/>
                </a:cubicBezTo>
                <a:cubicBezTo>
                  <a:pt x="97975" y="256459"/>
                  <a:pt x="92013" y="259555"/>
                  <a:pt x="85620" y="259591"/>
                </a:cubicBezTo>
                <a:cubicBezTo>
                  <a:pt x="83393" y="259598"/>
                  <a:pt x="81095" y="259210"/>
                  <a:pt x="79012" y="258442"/>
                </a:cubicBezTo>
                <a:lnTo>
                  <a:pt x="77288" y="257796"/>
                </a:lnTo>
                <a:cubicBezTo>
                  <a:pt x="71685" y="255763"/>
                  <a:pt x="67375" y="251252"/>
                  <a:pt x="65580" y="245585"/>
                </a:cubicBezTo>
                <a:cubicBezTo>
                  <a:pt x="63784" y="239953"/>
                  <a:pt x="64718" y="233804"/>
                  <a:pt x="68165" y="228992"/>
                </a:cubicBezTo>
                <a:cubicBezTo>
                  <a:pt x="78222" y="214511"/>
                  <a:pt x="91869" y="202875"/>
                  <a:pt x="107743" y="195232"/>
                </a:cubicBezTo>
                <a:cubicBezTo>
                  <a:pt x="91295" y="179264"/>
                  <a:pt x="84758" y="155675"/>
                  <a:pt x="90648" y="133531"/>
                </a:cubicBezTo>
                <a:cubicBezTo>
                  <a:pt x="96897" y="109274"/>
                  <a:pt x="116866" y="90993"/>
                  <a:pt x="141576" y="86913"/>
                </a:cubicBezTo>
                <a:cubicBezTo>
                  <a:pt x="145885" y="86202"/>
                  <a:pt x="150267" y="85864"/>
                  <a:pt x="154648" y="85907"/>
                </a:cubicBezTo>
                <a:close/>
                <a:moveTo>
                  <a:pt x="24781" y="59762"/>
                </a:moveTo>
                <a:cubicBezTo>
                  <a:pt x="19107" y="59719"/>
                  <a:pt x="14509" y="64237"/>
                  <a:pt x="14366" y="69890"/>
                </a:cubicBezTo>
                <a:lnTo>
                  <a:pt x="14366" y="280063"/>
                </a:lnTo>
                <a:cubicBezTo>
                  <a:pt x="14509" y="285709"/>
                  <a:pt x="19107" y="290199"/>
                  <a:pt x="24781" y="290120"/>
                </a:cubicBezTo>
                <a:lnTo>
                  <a:pt x="102142" y="290120"/>
                </a:lnTo>
                <a:cubicBezTo>
                  <a:pt x="108750" y="290091"/>
                  <a:pt x="115143" y="292670"/>
                  <a:pt x="119884" y="297303"/>
                </a:cubicBezTo>
                <a:lnTo>
                  <a:pt x="150555" y="328046"/>
                </a:lnTo>
                <a:cubicBezTo>
                  <a:pt x="154721" y="331968"/>
                  <a:pt x="161186" y="331968"/>
                  <a:pt x="165352" y="328046"/>
                </a:cubicBezTo>
                <a:lnTo>
                  <a:pt x="199471" y="296441"/>
                </a:lnTo>
                <a:cubicBezTo>
                  <a:pt x="204068" y="292145"/>
                  <a:pt x="210173" y="289761"/>
                  <a:pt x="216494" y="289761"/>
                </a:cubicBezTo>
                <a:lnTo>
                  <a:pt x="285738" y="289761"/>
                </a:lnTo>
                <a:cubicBezTo>
                  <a:pt x="291413" y="289840"/>
                  <a:pt x="296082" y="285357"/>
                  <a:pt x="296225" y="279704"/>
                </a:cubicBezTo>
                <a:lnTo>
                  <a:pt x="296225" y="69890"/>
                </a:lnTo>
                <a:cubicBezTo>
                  <a:pt x="296082" y="64222"/>
                  <a:pt x="291413" y="59719"/>
                  <a:pt x="285738" y="59762"/>
                </a:cubicBezTo>
                <a:close/>
                <a:moveTo>
                  <a:pt x="102070" y="14366"/>
                </a:moveTo>
                <a:cubicBezTo>
                  <a:pt x="89500" y="14366"/>
                  <a:pt x="79300" y="24558"/>
                  <a:pt x="79300" y="37136"/>
                </a:cubicBezTo>
                <a:lnTo>
                  <a:pt x="79300" y="45396"/>
                </a:lnTo>
                <a:lnTo>
                  <a:pt x="285738" y="45396"/>
                </a:lnTo>
                <a:cubicBezTo>
                  <a:pt x="299386" y="45317"/>
                  <a:pt x="310448" y="56271"/>
                  <a:pt x="310591" y="69890"/>
                </a:cubicBezTo>
                <a:lnTo>
                  <a:pt x="310591" y="258586"/>
                </a:lnTo>
                <a:lnTo>
                  <a:pt x="322299" y="258586"/>
                </a:lnTo>
                <a:cubicBezTo>
                  <a:pt x="334869" y="258586"/>
                  <a:pt x="345069" y="248394"/>
                  <a:pt x="345069" y="235817"/>
                </a:cubicBezTo>
                <a:lnTo>
                  <a:pt x="345069" y="37136"/>
                </a:lnTo>
                <a:cubicBezTo>
                  <a:pt x="345069" y="24558"/>
                  <a:pt x="334869" y="14366"/>
                  <a:pt x="322299" y="14366"/>
                </a:cubicBezTo>
                <a:close/>
                <a:moveTo>
                  <a:pt x="102070" y="0"/>
                </a:moveTo>
                <a:lnTo>
                  <a:pt x="322299" y="0"/>
                </a:lnTo>
                <a:cubicBezTo>
                  <a:pt x="342628" y="273"/>
                  <a:pt x="358933" y="16808"/>
                  <a:pt x="359004" y="37136"/>
                </a:cubicBezTo>
                <a:lnTo>
                  <a:pt x="359004" y="235817"/>
                </a:lnTo>
                <a:cubicBezTo>
                  <a:pt x="358933" y="256309"/>
                  <a:pt x="342340" y="272916"/>
                  <a:pt x="321869" y="272952"/>
                </a:cubicBezTo>
                <a:lnTo>
                  <a:pt x="310160" y="272952"/>
                </a:lnTo>
                <a:lnTo>
                  <a:pt x="310160" y="279632"/>
                </a:lnTo>
                <a:cubicBezTo>
                  <a:pt x="310017" y="293223"/>
                  <a:pt x="298883" y="304134"/>
                  <a:pt x="285308" y="304055"/>
                </a:cubicBezTo>
                <a:lnTo>
                  <a:pt x="216064" y="304055"/>
                </a:lnTo>
                <a:cubicBezTo>
                  <a:pt x="213406" y="304069"/>
                  <a:pt x="210820" y="305067"/>
                  <a:pt x="208881" y="306856"/>
                </a:cubicBezTo>
                <a:lnTo>
                  <a:pt x="174762" y="338533"/>
                </a:lnTo>
                <a:cubicBezTo>
                  <a:pt x="170093" y="342792"/>
                  <a:pt x="164059" y="345148"/>
                  <a:pt x="157738" y="345141"/>
                </a:cubicBezTo>
                <a:cubicBezTo>
                  <a:pt x="151129" y="345184"/>
                  <a:pt x="144737" y="342598"/>
                  <a:pt x="140067" y="337958"/>
                </a:cubicBezTo>
                <a:lnTo>
                  <a:pt x="109325" y="307215"/>
                </a:lnTo>
                <a:cubicBezTo>
                  <a:pt x="107385" y="305319"/>
                  <a:pt x="104872" y="304213"/>
                  <a:pt x="102142" y="304127"/>
                </a:cubicBezTo>
                <a:lnTo>
                  <a:pt x="24781" y="304127"/>
                </a:lnTo>
                <a:cubicBezTo>
                  <a:pt x="11206" y="304206"/>
                  <a:pt x="143" y="293280"/>
                  <a:pt x="0" y="279704"/>
                </a:cubicBezTo>
                <a:lnTo>
                  <a:pt x="0" y="69890"/>
                </a:lnTo>
                <a:cubicBezTo>
                  <a:pt x="143" y="56300"/>
                  <a:pt x="11206" y="45353"/>
                  <a:pt x="24781" y="45396"/>
                </a:cubicBezTo>
                <a:lnTo>
                  <a:pt x="64934" y="45396"/>
                </a:lnTo>
                <a:lnTo>
                  <a:pt x="64934" y="37136"/>
                </a:lnTo>
                <a:cubicBezTo>
                  <a:pt x="65006" y="16643"/>
                  <a:pt x="81598" y="36"/>
                  <a:pt x="102070" y="0"/>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Arial" panose="020F0502020204030204"/>
              <a:ea typeface="微软雅黑"/>
              <a:cs typeface="+mn-cs"/>
            </a:endParaRPr>
          </a:p>
        </p:txBody>
      </p:sp>
      <p:sp>
        <p:nvSpPr>
          <p:cNvPr id="176" name="Oval 156">
            <a:extLst>
              <a:ext uri="{FF2B5EF4-FFF2-40B4-BE49-F238E27FC236}">
                <a16:creationId xmlns:a16="http://schemas.microsoft.com/office/drawing/2014/main" id="{8AAF599C-DF6F-411C-9535-B349707F3C1D}"/>
              </a:ext>
            </a:extLst>
          </p:cNvPr>
          <p:cNvSpPr/>
          <p:nvPr/>
        </p:nvSpPr>
        <p:spPr>
          <a:xfrm>
            <a:off x="9067215" y="2867062"/>
            <a:ext cx="319474" cy="307134"/>
          </a:xfrm>
          <a:custGeom>
            <a:avLst/>
            <a:gdLst>
              <a:gd name="connsiteX0" fmla="*/ 152925 w 359004"/>
              <a:gd name="connsiteY0" fmla="*/ 125701 h 345141"/>
              <a:gd name="connsiteX1" fmla="*/ 128863 w 359004"/>
              <a:gd name="connsiteY1" fmla="*/ 149836 h 345141"/>
              <a:gd name="connsiteX2" fmla="*/ 153572 w 359004"/>
              <a:gd name="connsiteY2" fmla="*/ 173971 h 345141"/>
              <a:gd name="connsiteX3" fmla="*/ 155655 w 359004"/>
              <a:gd name="connsiteY3" fmla="*/ 173971 h 345141"/>
              <a:gd name="connsiteX4" fmla="*/ 155871 w 359004"/>
              <a:gd name="connsiteY4" fmla="*/ 173971 h 345141"/>
              <a:gd name="connsiteX5" fmla="*/ 179861 w 359004"/>
              <a:gd name="connsiteY5" fmla="*/ 149764 h 345141"/>
              <a:gd name="connsiteX6" fmla="*/ 155511 w 359004"/>
              <a:gd name="connsiteY6" fmla="*/ 125701 h 345141"/>
              <a:gd name="connsiteX7" fmla="*/ 153931 w 359004"/>
              <a:gd name="connsiteY7" fmla="*/ 125701 h 345141"/>
              <a:gd name="connsiteX8" fmla="*/ 153572 w 359004"/>
              <a:gd name="connsiteY8" fmla="*/ 111407 h 345141"/>
              <a:gd name="connsiteX9" fmla="*/ 155081 w 359004"/>
              <a:gd name="connsiteY9" fmla="*/ 111407 h 345141"/>
              <a:gd name="connsiteX10" fmla="*/ 194227 w 359004"/>
              <a:gd name="connsiteY10" fmla="*/ 149836 h 345141"/>
              <a:gd name="connsiteX11" fmla="*/ 155081 w 359004"/>
              <a:gd name="connsiteY11" fmla="*/ 188337 h 345141"/>
              <a:gd name="connsiteX12" fmla="*/ 153572 w 359004"/>
              <a:gd name="connsiteY12" fmla="*/ 188337 h 345141"/>
              <a:gd name="connsiteX13" fmla="*/ 114497 w 359004"/>
              <a:gd name="connsiteY13" fmla="*/ 149836 h 345141"/>
              <a:gd name="connsiteX14" fmla="*/ 153572 w 359004"/>
              <a:gd name="connsiteY14" fmla="*/ 111407 h 345141"/>
              <a:gd name="connsiteX15" fmla="*/ 154505 w 359004"/>
              <a:gd name="connsiteY15" fmla="*/ 100345 h 345141"/>
              <a:gd name="connsiteX16" fmla="*/ 144808 w 359004"/>
              <a:gd name="connsiteY16" fmla="*/ 101135 h 345141"/>
              <a:gd name="connsiteX17" fmla="*/ 105230 w 359004"/>
              <a:gd name="connsiteY17" fmla="*/ 137050 h 345141"/>
              <a:gd name="connsiteX18" fmla="*/ 126348 w 359004"/>
              <a:gd name="connsiteY18" fmla="*/ 191209 h 345141"/>
              <a:gd name="connsiteX19" fmla="*/ 138702 w 359004"/>
              <a:gd name="connsiteY19" fmla="*/ 199254 h 345141"/>
              <a:gd name="connsiteX20" fmla="*/ 124337 w 359004"/>
              <a:gd name="connsiteY20" fmla="*/ 203995 h 345141"/>
              <a:gd name="connsiteX21" fmla="*/ 80233 w 359004"/>
              <a:gd name="connsiteY21" fmla="*/ 237253 h 345141"/>
              <a:gd name="connsiteX22" fmla="*/ 79587 w 359004"/>
              <a:gd name="connsiteY22" fmla="*/ 241275 h 345141"/>
              <a:gd name="connsiteX23" fmla="*/ 82531 w 359004"/>
              <a:gd name="connsiteY23" fmla="*/ 244292 h 345141"/>
              <a:gd name="connsiteX24" fmla="*/ 84255 w 359004"/>
              <a:gd name="connsiteY24" fmla="*/ 244938 h 345141"/>
              <a:gd name="connsiteX25" fmla="*/ 90289 w 359004"/>
              <a:gd name="connsiteY25" fmla="*/ 242927 h 345141"/>
              <a:gd name="connsiteX26" fmla="*/ 154146 w 359004"/>
              <a:gd name="connsiteY26" fmla="*/ 210316 h 345141"/>
              <a:gd name="connsiteX27" fmla="*/ 155726 w 359004"/>
              <a:gd name="connsiteY27" fmla="*/ 210316 h 345141"/>
              <a:gd name="connsiteX28" fmla="*/ 219439 w 359004"/>
              <a:gd name="connsiteY28" fmla="*/ 242927 h 345141"/>
              <a:gd name="connsiteX29" fmla="*/ 225472 w 359004"/>
              <a:gd name="connsiteY29" fmla="*/ 244938 h 345141"/>
              <a:gd name="connsiteX30" fmla="*/ 227196 w 359004"/>
              <a:gd name="connsiteY30" fmla="*/ 244292 h 345141"/>
              <a:gd name="connsiteX31" fmla="*/ 230141 w 359004"/>
              <a:gd name="connsiteY31" fmla="*/ 241275 h 345141"/>
              <a:gd name="connsiteX32" fmla="*/ 229854 w 359004"/>
              <a:gd name="connsiteY32" fmla="*/ 237253 h 345141"/>
              <a:gd name="connsiteX33" fmla="*/ 185679 w 359004"/>
              <a:gd name="connsiteY33" fmla="*/ 203995 h 345141"/>
              <a:gd name="connsiteX34" fmla="*/ 171744 w 359004"/>
              <a:gd name="connsiteY34" fmla="*/ 199254 h 345141"/>
              <a:gd name="connsiteX35" fmla="*/ 184098 w 359004"/>
              <a:gd name="connsiteY35" fmla="*/ 191209 h 345141"/>
              <a:gd name="connsiteX36" fmla="*/ 205217 w 359004"/>
              <a:gd name="connsiteY36" fmla="*/ 137050 h 345141"/>
              <a:gd name="connsiteX37" fmla="*/ 165639 w 359004"/>
              <a:gd name="connsiteY37" fmla="*/ 101135 h 345141"/>
              <a:gd name="connsiteX38" fmla="*/ 155295 w 359004"/>
              <a:gd name="connsiteY38" fmla="*/ 100345 h 345141"/>
              <a:gd name="connsiteX39" fmla="*/ 154648 w 359004"/>
              <a:gd name="connsiteY39" fmla="*/ 85907 h 345141"/>
              <a:gd name="connsiteX40" fmla="*/ 167578 w 359004"/>
              <a:gd name="connsiteY40" fmla="*/ 86913 h 345141"/>
              <a:gd name="connsiteX41" fmla="*/ 218505 w 359004"/>
              <a:gd name="connsiteY41" fmla="*/ 133531 h 345141"/>
              <a:gd name="connsiteX42" fmla="*/ 201410 w 359004"/>
              <a:gd name="connsiteY42" fmla="*/ 195232 h 345141"/>
              <a:gd name="connsiteX43" fmla="*/ 240988 w 359004"/>
              <a:gd name="connsiteY43" fmla="*/ 228992 h 345141"/>
              <a:gd name="connsiteX44" fmla="*/ 243574 w 359004"/>
              <a:gd name="connsiteY44" fmla="*/ 245585 h 345141"/>
              <a:gd name="connsiteX45" fmla="*/ 231865 w 359004"/>
              <a:gd name="connsiteY45" fmla="*/ 257796 h 345141"/>
              <a:gd name="connsiteX46" fmla="*/ 230141 w 359004"/>
              <a:gd name="connsiteY46" fmla="*/ 258442 h 345141"/>
              <a:gd name="connsiteX47" fmla="*/ 207443 w 359004"/>
              <a:gd name="connsiteY47" fmla="*/ 251259 h 345141"/>
              <a:gd name="connsiteX48" fmla="*/ 154648 w 359004"/>
              <a:gd name="connsiteY48" fmla="*/ 224682 h 345141"/>
              <a:gd name="connsiteX49" fmla="*/ 101710 w 359004"/>
              <a:gd name="connsiteY49" fmla="*/ 251259 h 345141"/>
              <a:gd name="connsiteX50" fmla="*/ 85620 w 359004"/>
              <a:gd name="connsiteY50" fmla="*/ 259591 h 345141"/>
              <a:gd name="connsiteX51" fmla="*/ 79012 w 359004"/>
              <a:gd name="connsiteY51" fmla="*/ 258442 h 345141"/>
              <a:gd name="connsiteX52" fmla="*/ 77288 w 359004"/>
              <a:gd name="connsiteY52" fmla="*/ 257796 h 345141"/>
              <a:gd name="connsiteX53" fmla="*/ 65580 w 359004"/>
              <a:gd name="connsiteY53" fmla="*/ 245585 h 345141"/>
              <a:gd name="connsiteX54" fmla="*/ 68165 w 359004"/>
              <a:gd name="connsiteY54" fmla="*/ 228992 h 345141"/>
              <a:gd name="connsiteX55" fmla="*/ 107743 w 359004"/>
              <a:gd name="connsiteY55" fmla="*/ 195232 h 345141"/>
              <a:gd name="connsiteX56" fmla="*/ 90648 w 359004"/>
              <a:gd name="connsiteY56" fmla="*/ 133531 h 345141"/>
              <a:gd name="connsiteX57" fmla="*/ 141576 w 359004"/>
              <a:gd name="connsiteY57" fmla="*/ 86913 h 345141"/>
              <a:gd name="connsiteX58" fmla="*/ 154648 w 359004"/>
              <a:gd name="connsiteY58" fmla="*/ 85907 h 345141"/>
              <a:gd name="connsiteX59" fmla="*/ 24781 w 359004"/>
              <a:gd name="connsiteY59" fmla="*/ 59762 h 345141"/>
              <a:gd name="connsiteX60" fmla="*/ 14366 w 359004"/>
              <a:gd name="connsiteY60" fmla="*/ 69890 h 345141"/>
              <a:gd name="connsiteX61" fmla="*/ 14366 w 359004"/>
              <a:gd name="connsiteY61" fmla="*/ 280063 h 345141"/>
              <a:gd name="connsiteX62" fmla="*/ 24781 w 359004"/>
              <a:gd name="connsiteY62" fmla="*/ 290120 h 345141"/>
              <a:gd name="connsiteX63" fmla="*/ 102142 w 359004"/>
              <a:gd name="connsiteY63" fmla="*/ 290120 h 345141"/>
              <a:gd name="connsiteX64" fmla="*/ 119884 w 359004"/>
              <a:gd name="connsiteY64" fmla="*/ 297303 h 345141"/>
              <a:gd name="connsiteX65" fmla="*/ 150555 w 359004"/>
              <a:gd name="connsiteY65" fmla="*/ 328046 h 345141"/>
              <a:gd name="connsiteX66" fmla="*/ 165352 w 359004"/>
              <a:gd name="connsiteY66" fmla="*/ 328046 h 345141"/>
              <a:gd name="connsiteX67" fmla="*/ 199471 w 359004"/>
              <a:gd name="connsiteY67" fmla="*/ 296441 h 345141"/>
              <a:gd name="connsiteX68" fmla="*/ 216494 w 359004"/>
              <a:gd name="connsiteY68" fmla="*/ 289761 h 345141"/>
              <a:gd name="connsiteX69" fmla="*/ 285738 w 359004"/>
              <a:gd name="connsiteY69" fmla="*/ 289761 h 345141"/>
              <a:gd name="connsiteX70" fmla="*/ 296225 w 359004"/>
              <a:gd name="connsiteY70" fmla="*/ 279704 h 345141"/>
              <a:gd name="connsiteX71" fmla="*/ 296225 w 359004"/>
              <a:gd name="connsiteY71" fmla="*/ 69890 h 345141"/>
              <a:gd name="connsiteX72" fmla="*/ 285738 w 359004"/>
              <a:gd name="connsiteY72" fmla="*/ 59762 h 345141"/>
              <a:gd name="connsiteX73" fmla="*/ 102070 w 359004"/>
              <a:gd name="connsiteY73" fmla="*/ 14366 h 345141"/>
              <a:gd name="connsiteX74" fmla="*/ 79300 w 359004"/>
              <a:gd name="connsiteY74" fmla="*/ 37136 h 345141"/>
              <a:gd name="connsiteX75" fmla="*/ 79300 w 359004"/>
              <a:gd name="connsiteY75" fmla="*/ 45396 h 345141"/>
              <a:gd name="connsiteX76" fmla="*/ 285738 w 359004"/>
              <a:gd name="connsiteY76" fmla="*/ 45396 h 345141"/>
              <a:gd name="connsiteX77" fmla="*/ 310591 w 359004"/>
              <a:gd name="connsiteY77" fmla="*/ 69890 h 345141"/>
              <a:gd name="connsiteX78" fmla="*/ 310591 w 359004"/>
              <a:gd name="connsiteY78" fmla="*/ 258586 h 345141"/>
              <a:gd name="connsiteX79" fmla="*/ 322299 w 359004"/>
              <a:gd name="connsiteY79" fmla="*/ 258586 h 345141"/>
              <a:gd name="connsiteX80" fmla="*/ 345069 w 359004"/>
              <a:gd name="connsiteY80" fmla="*/ 235817 h 345141"/>
              <a:gd name="connsiteX81" fmla="*/ 345069 w 359004"/>
              <a:gd name="connsiteY81" fmla="*/ 37136 h 345141"/>
              <a:gd name="connsiteX82" fmla="*/ 322299 w 359004"/>
              <a:gd name="connsiteY82" fmla="*/ 14366 h 345141"/>
              <a:gd name="connsiteX83" fmla="*/ 102070 w 359004"/>
              <a:gd name="connsiteY83" fmla="*/ 0 h 345141"/>
              <a:gd name="connsiteX84" fmla="*/ 322299 w 359004"/>
              <a:gd name="connsiteY84" fmla="*/ 0 h 345141"/>
              <a:gd name="connsiteX85" fmla="*/ 359004 w 359004"/>
              <a:gd name="connsiteY85" fmla="*/ 37136 h 345141"/>
              <a:gd name="connsiteX86" fmla="*/ 359004 w 359004"/>
              <a:gd name="connsiteY86" fmla="*/ 235817 h 345141"/>
              <a:gd name="connsiteX87" fmla="*/ 321869 w 359004"/>
              <a:gd name="connsiteY87" fmla="*/ 272952 h 345141"/>
              <a:gd name="connsiteX88" fmla="*/ 310160 w 359004"/>
              <a:gd name="connsiteY88" fmla="*/ 272952 h 345141"/>
              <a:gd name="connsiteX89" fmla="*/ 310160 w 359004"/>
              <a:gd name="connsiteY89" fmla="*/ 279632 h 345141"/>
              <a:gd name="connsiteX90" fmla="*/ 285308 w 359004"/>
              <a:gd name="connsiteY90" fmla="*/ 304055 h 345141"/>
              <a:gd name="connsiteX91" fmla="*/ 216064 w 359004"/>
              <a:gd name="connsiteY91" fmla="*/ 304055 h 345141"/>
              <a:gd name="connsiteX92" fmla="*/ 208881 w 359004"/>
              <a:gd name="connsiteY92" fmla="*/ 306856 h 345141"/>
              <a:gd name="connsiteX93" fmla="*/ 174762 w 359004"/>
              <a:gd name="connsiteY93" fmla="*/ 338533 h 345141"/>
              <a:gd name="connsiteX94" fmla="*/ 157738 w 359004"/>
              <a:gd name="connsiteY94" fmla="*/ 345141 h 345141"/>
              <a:gd name="connsiteX95" fmla="*/ 140067 w 359004"/>
              <a:gd name="connsiteY95" fmla="*/ 337958 h 345141"/>
              <a:gd name="connsiteX96" fmla="*/ 109325 w 359004"/>
              <a:gd name="connsiteY96" fmla="*/ 307215 h 345141"/>
              <a:gd name="connsiteX97" fmla="*/ 102142 w 359004"/>
              <a:gd name="connsiteY97" fmla="*/ 304127 h 345141"/>
              <a:gd name="connsiteX98" fmla="*/ 24781 w 359004"/>
              <a:gd name="connsiteY98" fmla="*/ 304127 h 345141"/>
              <a:gd name="connsiteX99" fmla="*/ 0 w 359004"/>
              <a:gd name="connsiteY99" fmla="*/ 279704 h 345141"/>
              <a:gd name="connsiteX100" fmla="*/ 0 w 359004"/>
              <a:gd name="connsiteY100" fmla="*/ 69890 h 345141"/>
              <a:gd name="connsiteX101" fmla="*/ 24781 w 359004"/>
              <a:gd name="connsiteY101" fmla="*/ 45396 h 345141"/>
              <a:gd name="connsiteX102" fmla="*/ 64934 w 359004"/>
              <a:gd name="connsiteY102" fmla="*/ 45396 h 345141"/>
              <a:gd name="connsiteX103" fmla="*/ 64934 w 359004"/>
              <a:gd name="connsiteY103" fmla="*/ 37136 h 345141"/>
              <a:gd name="connsiteX104" fmla="*/ 102070 w 359004"/>
              <a:gd name="connsiteY104" fmla="*/ 0 h 3451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59004" h="345141">
                <a:moveTo>
                  <a:pt x="152925" y="125701"/>
                </a:moveTo>
                <a:cubicBezTo>
                  <a:pt x="139709" y="125859"/>
                  <a:pt x="129006" y="136584"/>
                  <a:pt x="128863" y="149836"/>
                </a:cubicBezTo>
                <a:cubicBezTo>
                  <a:pt x="129006" y="163326"/>
                  <a:pt x="140068" y="174129"/>
                  <a:pt x="153572" y="173971"/>
                </a:cubicBezTo>
                <a:lnTo>
                  <a:pt x="155655" y="173971"/>
                </a:lnTo>
                <a:lnTo>
                  <a:pt x="155871" y="173971"/>
                </a:lnTo>
                <a:cubicBezTo>
                  <a:pt x="169087" y="173741"/>
                  <a:pt x="179718" y="163003"/>
                  <a:pt x="179861" y="149764"/>
                </a:cubicBezTo>
                <a:cubicBezTo>
                  <a:pt x="179646" y="136447"/>
                  <a:pt x="168799" y="125737"/>
                  <a:pt x="155511" y="125701"/>
                </a:cubicBezTo>
                <a:lnTo>
                  <a:pt x="153931" y="125701"/>
                </a:lnTo>
                <a:close/>
                <a:moveTo>
                  <a:pt x="153572" y="111407"/>
                </a:moveTo>
                <a:lnTo>
                  <a:pt x="155081" y="111407"/>
                </a:lnTo>
                <a:cubicBezTo>
                  <a:pt x="176486" y="111206"/>
                  <a:pt x="194012" y="128417"/>
                  <a:pt x="194227" y="149836"/>
                </a:cubicBezTo>
                <a:cubicBezTo>
                  <a:pt x="194012" y="171270"/>
                  <a:pt x="176486" y="188495"/>
                  <a:pt x="155081" y="188337"/>
                </a:cubicBezTo>
                <a:lnTo>
                  <a:pt x="153572" y="188337"/>
                </a:lnTo>
                <a:cubicBezTo>
                  <a:pt x="132166" y="188495"/>
                  <a:pt x="114640" y="171256"/>
                  <a:pt x="114497" y="149836"/>
                </a:cubicBezTo>
                <a:cubicBezTo>
                  <a:pt x="114712" y="128446"/>
                  <a:pt x="132166" y="111249"/>
                  <a:pt x="153572" y="111407"/>
                </a:cubicBezTo>
                <a:close/>
                <a:moveTo>
                  <a:pt x="154505" y="100345"/>
                </a:moveTo>
                <a:cubicBezTo>
                  <a:pt x="151273" y="100331"/>
                  <a:pt x="148040" y="100596"/>
                  <a:pt x="144808" y="101135"/>
                </a:cubicBezTo>
                <a:cubicBezTo>
                  <a:pt x="125701" y="104238"/>
                  <a:pt x="110186" y="118310"/>
                  <a:pt x="105230" y="137050"/>
                </a:cubicBezTo>
                <a:cubicBezTo>
                  <a:pt x="99699" y="157773"/>
                  <a:pt x="108247" y="179688"/>
                  <a:pt x="126348" y="191209"/>
                </a:cubicBezTo>
                <a:lnTo>
                  <a:pt x="138702" y="199254"/>
                </a:lnTo>
                <a:lnTo>
                  <a:pt x="124337" y="203995"/>
                </a:lnTo>
                <a:cubicBezTo>
                  <a:pt x="106451" y="210086"/>
                  <a:pt x="91008" y="221744"/>
                  <a:pt x="80233" y="237253"/>
                </a:cubicBezTo>
                <a:cubicBezTo>
                  <a:pt x="79371" y="238409"/>
                  <a:pt x="79155" y="239910"/>
                  <a:pt x="79587" y="241275"/>
                </a:cubicBezTo>
                <a:cubicBezTo>
                  <a:pt x="80017" y="242683"/>
                  <a:pt x="81167" y="243803"/>
                  <a:pt x="82531" y="244292"/>
                </a:cubicBezTo>
                <a:lnTo>
                  <a:pt x="84255" y="244938"/>
                </a:lnTo>
                <a:cubicBezTo>
                  <a:pt x="86482" y="245678"/>
                  <a:pt x="88924" y="244859"/>
                  <a:pt x="90289" y="242927"/>
                </a:cubicBezTo>
                <a:cubicBezTo>
                  <a:pt x="105014" y="222355"/>
                  <a:pt x="128862" y="210201"/>
                  <a:pt x="154146" y="210316"/>
                </a:cubicBezTo>
                <a:lnTo>
                  <a:pt x="155726" y="210316"/>
                </a:lnTo>
                <a:cubicBezTo>
                  <a:pt x="181010" y="210252"/>
                  <a:pt x="204713" y="222398"/>
                  <a:pt x="219439" y="242927"/>
                </a:cubicBezTo>
                <a:cubicBezTo>
                  <a:pt x="220803" y="244859"/>
                  <a:pt x="223246" y="245678"/>
                  <a:pt x="225472" y="244938"/>
                </a:cubicBezTo>
                <a:lnTo>
                  <a:pt x="227196" y="244292"/>
                </a:lnTo>
                <a:cubicBezTo>
                  <a:pt x="228561" y="243803"/>
                  <a:pt x="229710" y="242683"/>
                  <a:pt x="230141" y="241275"/>
                </a:cubicBezTo>
                <a:cubicBezTo>
                  <a:pt x="230644" y="239960"/>
                  <a:pt x="230573" y="238481"/>
                  <a:pt x="229854" y="237253"/>
                </a:cubicBezTo>
                <a:cubicBezTo>
                  <a:pt x="219079" y="221723"/>
                  <a:pt x="203565" y="210065"/>
                  <a:pt x="185679" y="203995"/>
                </a:cubicBezTo>
                <a:lnTo>
                  <a:pt x="171744" y="199254"/>
                </a:lnTo>
                <a:lnTo>
                  <a:pt x="184098" y="191209"/>
                </a:lnTo>
                <a:cubicBezTo>
                  <a:pt x="202200" y="179674"/>
                  <a:pt x="210676" y="157773"/>
                  <a:pt x="205217" y="137050"/>
                </a:cubicBezTo>
                <a:cubicBezTo>
                  <a:pt x="200260" y="118310"/>
                  <a:pt x="184746" y="104238"/>
                  <a:pt x="165639" y="101135"/>
                </a:cubicBezTo>
                <a:cubicBezTo>
                  <a:pt x="162191" y="100568"/>
                  <a:pt x="158743" y="100302"/>
                  <a:pt x="155295" y="100345"/>
                </a:cubicBezTo>
                <a:close/>
                <a:moveTo>
                  <a:pt x="154648" y="85907"/>
                </a:moveTo>
                <a:cubicBezTo>
                  <a:pt x="158958" y="85871"/>
                  <a:pt x="163340" y="86209"/>
                  <a:pt x="167578" y="86913"/>
                </a:cubicBezTo>
                <a:cubicBezTo>
                  <a:pt x="192287" y="91007"/>
                  <a:pt x="212256" y="109281"/>
                  <a:pt x="218505" y="133531"/>
                </a:cubicBezTo>
                <a:cubicBezTo>
                  <a:pt x="224395" y="155675"/>
                  <a:pt x="217859" y="179264"/>
                  <a:pt x="201410" y="195232"/>
                </a:cubicBezTo>
                <a:cubicBezTo>
                  <a:pt x="217284" y="202882"/>
                  <a:pt x="230931" y="214511"/>
                  <a:pt x="240988" y="228992"/>
                </a:cubicBezTo>
                <a:cubicBezTo>
                  <a:pt x="244364" y="233833"/>
                  <a:pt x="245297" y="239953"/>
                  <a:pt x="243574" y="245585"/>
                </a:cubicBezTo>
                <a:cubicBezTo>
                  <a:pt x="241778" y="251252"/>
                  <a:pt x="237468" y="255763"/>
                  <a:pt x="231865" y="257796"/>
                </a:cubicBezTo>
                <a:lnTo>
                  <a:pt x="230141" y="258442"/>
                </a:lnTo>
                <a:cubicBezTo>
                  <a:pt x="221809" y="261416"/>
                  <a:pt x="212544" y="258478"/>
                  <a:pt x="207443" y="251259"/>
                </a:cubicBezTo>
                <a:cubicBezTo>
                  <a:pt x="195232" y="234300"/>
                  <a:pt x="175551" y="224373"/>
                  <a:pt x="154648" y="224682"/>
                </a:cubicBezTo>
                <a:cubicBezTo>
                  <a:pt x="133674" y="224251"/>
                  <a:pt x="113850" y="234199"/>
                  <a:pt x="101710" y="251259"/>
                </a:cubicBezTo>
                <a:cubicBezTo>
                  <a:pt x="97975" y="256459"/>
                  <a:pt x="92013" y="259555"/>
                  <a:pt x="85620" y="259591"/>
                </a:cubicBezTo>
                <a:cubicBezTo>
                  <a:pt x="83393" y="259598"/>
                  <a:pt x="81095" y="259210"/>
                  <a:pt x="79012" y="258442"/>
                </a:cubicBezTo>
                <a:lnTo>
                  <a:pt x="77288" y="257796"/>
                </a:lnTo>
                <a:cubicBezTo>
                  <a:pt x="71685" y="255763"/>
                  <a:pt x="67375" y="251252"/>
                  <a:pt x="65580" y="245585"/>
                </a:cubicBezTo>
                <a:cubicBezTo>
                  <a:pt x="63784" y="239953"/>
                  <a:pt x="64718" y="233804"/>
                  <a:pt x="68165" y="228992"/>
                </a:cubicBezTo>
                <a:cubicBezTo>
                  <a:pt x="78222" y="214511"/>
                  <a:pt x="91869" y="202875"/>
                  <a:pt x="107743" y="195232"/>
                </a:cubicBezTo>
                <a:cubicBezTo>
                  <a:pt x="91295" y="179264"/>
                  <a:pt x="84758" y="155675"/>
                  <a:pt x="90648" y="133531"/>
                </a:cubicBezTo>
                <a:cubicBezTo>
                  <a:pt x="96897" y="109274"/>
                  <a:pt x="116866" y="90993"/>
                  <a:pt x="141576" y="86913"/>
                </a:cubicBezTo>
                <a:cubicBezTo>
                  <a:pt x="145885" y="86202"/>
                  <a:pt x="150267" y="85864"/>
                  <a:pt x="154648" y="85907"/>
                </a:cubicBezTo>
                <a:close/>
                <a:moveTo>
                  <a:pt x="24781" y="59762"/>
                </a:moveTo>
                <a:cubicBezTo>
                  <a:pt x="19107" y="59719"/>
                  <a:pt x="14509" y="64237"/>
                  <a:pt x="14366" y="69890"/>
                </a:cubicBezTo>
                <a:lnTo>
                  <a:pt x="14366" y="280063"/>
                </a:lnTo>
                <a:cubicBezTo>
                  <a:pt x="14509" y="285709"/>
                  <a:pt x="19107" y="290199"/>
                  <a:pt x="24781" y="290120"/>
                </a:cubicBezTo>
                <a:lnTo>
                  <a:pt x="102142" y="290120"/>
                </a:lnTo>
                <a:cubicBezTo>
                  <a:pt x="108750" y="290091"/>
                  <a:pt x="115143" y="292670"/>
                  <a:pt x="119884" y="297303"/>
                </a:cubicBezTo>
                <a:lnTo>
                  <a:pt x="150555" y="328046"/>
                </a:lnTo>
                <a:cubicBezTo>
                  <a:pt x="154721" y="331968"/>
                  <a:pt x="161186" y="331968"/>
                  <a:pt x="165352" y="328046"/>
                </a:cubicBezTo>
                <a:lnTo>
                  <a:pt x="199471" y="296441"/>
                </a:lnTo>
                <a:cubicBezTo>
                  <a:pt x="204068" y="292145"/>
                  <a:pt x="210173" y="289761"/>
                  <a:pt x="216494" y="289761"/>
                </a:cubicBezTo>
                <a:lnTo>
                  <a:pt x="285738" y="289761"/>
                </a:lnTo>
                <a:cubicBezTo>
                  <a:pt x="291413" y="289840"/>
                  <a:pt x="296082" y="285357"/>
                  <a:pt x="296225" y="279704"/>
                </a:cubicBezTo>
                <a:lnTo>
                  <a:pt x="296225" y="69890"/>
                </a:lnTo>
                <a:cubicBezTo>
                  <a:pt x="296082" y="64222"/>
                  <a:pt x="291413" y="59719"/>
                  <a:pt x="285738" y="59762"/>
                </a:cubicBezTo>
                <a:close/>
                <a:moveTo>
                  <a:pt x="102070" y="14366"/>
                </a:moveTo>
                <a:cubicBezTo>
                  <a:pt x="89500" y="14366"/>
                  <a:pt x="79300" y="24558"/>
                  <a:pt x="79300" y="37136"/>
                </a:cubicBezTo>
                <a:lnTo>
                  <a:pt x="79300" y="45396"/>
                </a:lnTo>
                <a:lnTo>
                  <a:pt x="285738" y="45396"/>
                </a:lnTo>
                <a:cubicBezTo>
                  <a:pt x="299386" y="45317"/>
                  <a:pt x="310448" y="56271"/>
                  <a:pt x="310591" y="69890"/>
                </a:cubicBezTo>
                <a:lnTo>
                  <a:pt x="310591" y="258586"/>
                </a:lnTo>
                <a:lnTo>
                  <a:pt x="322299" y="258586"/>
                </a:lnTo>
                <a:cubicBezTo>
                  <a:pt x="334869" y="258586"/>
                  <a:pt x="345069" y="248394"/>
                  <a:pt x="345069" y="235817"/>
                </a:cubicBezTo>
                <a:lnTo>
                  <a:pt x="345069" y="37136"/>
                </a:lnTo>
                <a:cubicBezTo>
                  <a:pt x="345069" y="24558"/>
                  <a:pt x="334869" y="14366"/>
                  <a:pt x="322299" y="14366"/>
                </a:cubicBezTo>
                <a:close/>
                <a:moveTo>
                  <a:pt x="102070" y="0"/>
                </a:moveTo>
                <a:lnTo>
                  <a:pt x="322299" y="0"/>
                </a:lnTo>
                <a:cubicBezTo>
                  <a:pt x="342628" y="273"/>
                  <a:pt x="358933" y="16808"/>
                  <a:pt x="359004" y="37136"/>
                </a:cubicBezTo>
                <a:lnTo>
                  <a:pt x="359004" y="235817"/>
                </a:lnTo>
                <a:cubicBezTo>
                  <a:pt x="358933" y="256309"/>
                  <a:pt x="342340" y="272916"/>
                  <a:pt x="321869" y="272952"/>
                </a:cubicBezTo>
                <a:lnTo>
                  <a:pt x="310160" y="272952"/>
                </a:lnTo>
                <a:lnTo>
                  <a:pt x="310160" y="279632"/>
                </a:lnTo>
                <a:cubicBezTo>
                  <a:pt x="310017" y="293223"/>
                  <a:pt x="298883" y="304134"/>
                  <a:pt x="285308" y="304055"/>
                </a:cubicBezTo>
                <a:lnTo>
                  <a:pt x="216064" y="304055"/>
                </a:lnTo>
                <a:cubicBezTo>
                  <a:pt x="213406" y="304069"/>
                  <a:pt x="210820" y="305067"/>
                  <a:pt x="208881" y="306856"/>
                </a:cubicBezTo>
                <a:lnTo>
                  <a:pt x="174762" y="338533"/>
                </a:lnTo>
                <a:cubicBezTo>
                  <a:pt x="170093" y="342792"/>
                  <a:pt x="164059" y="345148"/>
                  <a:pt x="157738" y="345141"/>
                </a:cubicBezTo>
                <a:cubicBezTo>
                  <a:pt x="151129" y="345184"/>
                  <a:pt x="144737" y="342598"/>
                  <a:pt x="140067" y="337958"/>
                </a:cubicBezTo>
                <a:lnTo>
                  <a:pt x="109325" y="307215"/>
                </a:lnTo>
                <a:cubicBezTo>
                  <a:pt x="107385" y="305319"/>
                  <a:pt x="104872" y="304213"/>
                  <a:pt x="102142" y="304127"/>
                </a:cubicBezTo>
                <a:lnTo>
                  <a:pt x="24781" y="304127"/>
                </a:lnTo>
                <a:cubicBezTo>
                  <a:pt x="11206" y="304206"/>
                  <a:pt x="143" y="293280"/>
                  <a:pt x="0" y="279704"/>
                </a:cubicBezTo>
                <a:lnTo>
                  <a:pt x="0" y="69890"/>
                </a:lnTo>
                <a:cubicBezTo>
                  <a:pt x="143" y="56300"/>
                  <a:pt x="11206" y="45353"/>
                  <a:pt x="24781" y="45396"/>
                </a:cubicBezTo>
                <a:lnTo>
                  <a:pt x="64934" y="45396"/>
                </a:lnTo>
                <a:lnTo>
                  <a:pt x="64934" y="37136"/>
                </a:lnTo>
                <a:cubicBezTo>
                  <a:pt x="65006" y="16643"/>
                  <a:pt x="81598" y="36"/>
                  <a:pt x="102070" y="0"/>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Arial" panose="020F0502020204030204"/>
              <a:ea typeface="微软雅黑"/>
              <a:cs typeface="+mn-cs"/>
            </a:endParaRPr>
          </a:p>
        </p:txBody>
      </p:sp>
      <p:cxnSp>
        <p:nvCxnSpPr>
          <p:cNvPr id="203" name="直接连接符 202">
            <a:extLst>
              <a:ext uri="{FF2B5EF4-FFF2-40B4-BE49-F238E27FC236}">
                <a16:creationId xmlns:a16="http://schemas.microsoft.com/office/drawing/2014/main" id="{7F541ED4-B3F4-453C-8A71-ABC73DC88D8D}"/>
              </a:ext>
            </a:extLst>
          </p:cNvPr>
          <p:cNvCxnSpPr>
            <a:cxnSpLocks/>
          </p:cNvCxnSpPr>
          <p:nvPr/>
        </p:nvCxnSpPr>
        <p:spPr>
          <a:xfrm>
            <a:off x="2473391" y="5274183"/>
            <a:ext cx="234545" cy="0"/>
          </a:xfrm>
          <a:prstGeom prst="line">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204" name="直接连接符 203">
            <a:extLst>
              <a:ext uri="{FF2B5EF4-FFF2-40B4-BE49-F238E27FC236}">
                <a16:creationId xmlns:a16="http://schemas.microsoft.com/office/drawing/2014/main" id="{5B7D15C5-51AA-4CCC-B397-3E73EA612F36}"/>
              </a:ext>
            </a:extLst>
          </p:cNvPr>
          <p:cNvCxnSpPr>
            <a:cxnSpLocks/>
          </p:cNvCxnSpPr>
          <p:nvPr/>
        </p:nvCxnSpPr>
        <p:spPr>
          <a:xfrm>
            <a:off x="2473391" y="6103379"/>
            <a:ext cx="234545" cy="0"/>
          </a:xfrm>
          <a:prstGeom prst="line">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205" name="直接连接符 204">
            <a:extLst>
              <a:ext uri="{FF2B5EF4-FFF2-40B4-BE49-F238E27FC236}">
                <a16:creationId xmlns:a16="http://schemas.microsoft.com/office/drawing/2014/main" id="{85C3AF73-2297-437F-91F9-981C4C2AD961}"/>
              </a:ext>
            </a:extLst>
          </p:cNvPr>
          <p:cNvCxnSpPr>
            <a:cxnSpLocks/>
          </p:cNvCxnSpPr>
          <p:nvPr/>
        </p:nvCxnSpPr>
        <p:spPr>
          <a:xfrm>
            <a:off x="4149397" y="4444987"/>
            <a:ext cx="234545" cy="0"/>
          </a:xfrm>
          <a:prstGeom prst="line">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pic>
        <p:nvPicPr>
          <p:cNvPr id="206" name="image 108">
            <a:extLst>
              <a:ext uri="{FF2B5EF4-FFF2-40B4-BE49-F238E27FC236}">
                <a16:creationId xmlns:a16="http://schemas.microsoft.com/office/drawing/2014/main" id="{1764072D-1429-4919-9FF5-CD7F812ACCCF}"/>
              </a:ext>
            </a:extLst>
          </p:cNvPr>
          <p:cNvPicPr>
            <a:picLocks noChangeAspect="1"/>
          </p:cNvPicPr>
          <p:nvPr/>
        </p:nvPicPr>
        <p:blipFill>
          <a:blip r:embed="rId6"/>
          <a:srcRect/>
          <a:stretch>
            <a:fillRect/>
          </a:stretch>
        </p:blipFill>
        <p:spPr>
          <a:xfrm>
            <a:off x="4149397" y="5258956"/>
            <a:ext cx="118111" cy="10160"/>
          </a:xfrm>
          <a:prstGeom prst="rect">
            <a:avLst/>
          </a:prstGeom>
        </p:spPr>
      </p:pic>
      <p:pic>
        <p:nvPicPr>
          <p:cNvPr id="207" name="image 109">
            <a:extLst>
              <a:ext uri="{FF2B5EF4-FFF2-40B4-BE49-F238E27FC236}">
                <a16:creationId xmlns:a16="http://schemas.microsoft.com/office/drawing/2014/main" id="{83AE9F47-8291-41AA-89FC-C4A9F62A07D9}"/>
              </a:ext>
            </a:extLst>
          </p:cNvPr>
          <p:cNvPicPr>
            <a:picLocks noChangeAspect="1"/>
          </p:cNvPicPr>
          <p:nvPr/>
        </p:nvPicPr>
        <p:blipFill>
          <a:blip r:embed="rId7"/>
          <a:srcRect/>
          <a:stretch>
            <a:fillRect/>
          </a:stretch>
        </p:blipFill>
        <p:spPr>
          <a:xfrm>
            <a:off x="4162097" y="4444987"/>
            <a:ext cx="111759" cy="10160"/>
          </a:xfrm>
          <a:prstGeom prst="rect">
            <a:avLst/>
          </a:prstGeom>
        </p:spPr>
      </p:pic>
      <p:cxnSp>
        <p:nvCxnSpPr>
          <p:cNvPr id="208" name="直接连接符 207">
            <a:extLst>
              <a:ext uri="{FF2B5EF4-FFF2-40B4-BE49-F238E27FC236}">
                <a16:creationId xmlns:a16="http://schemas.microsoft.com/office/drawing/2014/main" id="{80EEED1C-F672-464A-9023-4CA2AC22E88B}"/>
              </a:ext>
            </a:extLst>
          </p:cNvPr>
          <p:cNvCxnSpPr>
            <a:cxnSpLocks/>
          </p:cNvCxnSpPr>
          <p:nvPr/>
        </p:nvCxnSpPr>
        <p:spPr>
          <a:xfrm>
            <a:off x="4149397" y="5274183"/>
            <a:ext cx="234545" cy="0"/>
          </a:xfrm>
          <a:prstGeom prst="line">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227" name="Object 1039">
            <a:extLst>
              <a:ext uri="{FF2B5EF4-FFF2-40B4-BE49-F238E27FC236}">
                <a16:creationId xmlns:a16="http://schemas.microsoft.com/office/drawing/2014/main" id="{C0A33F08-8B50-4348-8329-5B712343828D}"/>
              </a:ext>
            </a:extLst>
          </p:cNvPr>
          <p:cNvSpPr txBox="1"/>
          <p:nvPr/>
        </p:nvSpPr>
        <p:spPr>
          <a:xfrm>
            <a:off x="3959563" y="521621"/>
            <a:ext cx="3881029" cy="457200"/>
          </a:xfrm>
          <a:prstGeom prst="rect">
            <a:avLst/>
          </a:prstGeom>
        </p:spPr>
        <p:txBody>
          <a:bodyPr vert="horz" rtlCol="0" anchor="t"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2800" b="1" i="0" u="none" strike="noStrike" kern="1200" cap="none" spc="0" normalizeH="0" baseline="0" noProof="0" dirty="0">
                <a:ln>
                  <a:noFill/>
                </a:ln>
                <a:solidFill>
                  <a:srgbClr val="000000">
                    <a:lumMod val="85000"/>
                    <a:lumOff val="15000"/>
                  </a:srgbClr>
                </a:solidFill>
                <a:effectLst/>
                <a:uLnTx/>
                <a:uFillTx/>
                <a:latin typeface="OPPOSans B" panose="00020600040101010101" pitchFamily="18" charset="-122"/>
                <a:ea typeface="OPPOSans B" panose="00020600040101010101" pitchFamily="18" charset="-122"/>
                <a:cs typeface="OPPOSans B" panose="00020600040101010101" pitchFamily="18" charset="-122"/>
              </a:rPr>
              <a:t>组织架构模板</a:t>
            </a:r>
          </a:p>
        </p:txBody>
      </p:sp>
    </p:spTree>
    <p:custDataLst>
      <p:tags r:id="rId2"/>
    </p:custDataLst>
    <p:extLst>
      <p:ext uri="{BB962C8B-B14F-4D97-AF65-F5344CB8AC3E}">
        <p14:creationId xmlns:p14="http://schemas.microsoft.com/office/powerpoint/2010/main" val="2132609923"/>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7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Object 105">
            <a:extLst>
              <a:ext uri="{FF2B5EF4-FFF2-40B4-BE49-F238E27FC236}">
                <a16:creationId xmlns:a16="http://schemas.microsoft.com/office/drawing/2014/main" id="{91BBC20A-FA83-44FD-8731-A3FDFA200FCC}"/>
              </a:ext>
            </a:extLst>
          </p:cNvPr>
          <p:cNvSpPr txBox="1"/>
          <p:nvPr/>
        </p:nvSpPr>
        <p:spPr>
          <a:xfrm>
            <a:off x="679450" y="1028412"/>
            <a:ext cx="5434720" cy="260555"/>
          </a:xfrm>
          <a:prstGeom prst="rect">
            <a:avLst/>
          </a:prstGeom>
        </p:spPr>
        <p:txBody>
          <a:bodyPr vert="horz" lIns="90000" tIns="46800" rIns="90000" bIns="46800"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200" b="0" i="0" u="none" strike="noStrike" kern="1200" cap="none" spc="0" normalizeH="0" baseline="0" noProof="0" dirty="0">
                <a:ln>
                  <a:noFill/>
                </a:ln>
                <a:solidFill>
                  <a:srgbClr val="000000">
                    <a:lumMod val="75000"/>
                    <a:lumOff val="2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rPr>
              <a:t>HR outsourcing service product introduction</a:t>
            </a:r>
            <a:endParaRPr kumimoji="0" lang="zh-CN" altLang="en-US" sz="800" b="0" i="0" u="none" strike="noStrike" kern="1200" cap="none" spc="0" normalizeH="0" baseline="0" noProof="0" dirty="0">
              <a:ln>
                <a:noFill/>
              </a:ln>
              <a:solidFill>
                <a:srgbClr val="000000">
                  <a:lumMod val="75000"/>
                  <a:lumOff val="2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p:txBody>
      </p:sp>
      <p:sp>
        <p:nvSpPr>
          <p:cNvPr id="7" name="Object 106">
            <a:extLst>
              <a:ext uri="{FF2B5EF4-FFF2-40B4-BE49-F238E27FC236}">
                <a16:creationId xmlns:a16="http://schemas.microsoft.com/office/drawing/2014/main" id="{AEF7F68A-2B9B-4FFC-BBE7-32153BE72D5A}"/>
              </a:ext>
            </a:extLst>
          </p:cNvPr>
          <p:cNvSpPr txBox="1"/>
          <p:nvPr/>
        </p:nvSpPr>
        <p:spPr>
          <a:xfrm>
            <a:off x="660400" y="618393"/>
            <a:ext cx="5453785" cy="411570"/>
          </a:xfrm>
          <a:prstGeom prst="rect">
            <a:avLst/>
          </a:prstGeom>
        </p:spPr>
        <p:txBody>
          <a:bodyPr vert="horz" lIns="90000" tIns="46800" rIns="90000" bIns="46800"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2400" b="0" i="0" u="none" strike="noStrike" kern="1200" cap="none" spc="0" normalizeH="0" baseline="0" noProof="0" dirty="0">
                <a:ln>
                  <a:noFill/>
                </a:ln>
                <a:solidFill>
                  <a:srgbClr val="000000">
                    <a:lumMod val="75000"/>
                    <a:lumOff val="25000"/>
                  </a:srgbClr>
                </a:solidFill>
                <a:effectLst/>
                <a:uLnTx/>
                <a:uFillTx/>
                <a:latin typeface="OPPOSans B" panose="00020600040101010101" pitchFamily="18" charset="-122"/>
                <a:ea typeface="OPPOSans B" panose="00020600040101010101" pitchFamily="18" charset="-122"/>
                <a:cs typeface="OPPOSans B" panose="00020600040101010101" pitchFamily="18" charset="-122"/>
              </a:rPr>
              <a:t>HR</a:t>
            </a:r>
            <a:r>
              <a:rPr kumimoji="0" lang="zh-CN" altLang="en-US" sz="2400" b="0" i="0" u="none" strike="noStrike" kern="1200" cap="none" spc="0" normalizeH="0" baseline="0" noProof="0" dirty="0">
                <a:ln>
                  <a:noFill/>
                </a:ln>
                <a:solidFill>
                  <a:srgbClr val="000000">
                    <a:lumMod val="75000"/>
                    <a:lumOff val="25000"/>
                  </a:srgbClr>
                </a:solidFill>
                <a:effectLst/>
                <a:uLnTx/>
                <a:uFillTx/>
                <a:latin typeface="OPPOSans B" panose="00020600040101010101" pitchFamily="18" charset="-122"/>
                <a:ea typeface="OPPOSans B" panose="00020600040101010101" pitchFamily="18" charset="-122"/>
                <a:cs typeface="OPPOSans B" panose="00020600040101010101" pitchFamily="18" charset="-122"/>
              </a:rPr>
              <a:t>外包服务产品介绍</a:t>
            </a:r>
            <a:endParaRPr kumimoji="0" lang="zh-CN" altLang="en-US" sz="800" b="0" i="0" u="none" strike="noStrike" kern="1200" cap="none" spc="0" normalizeH="0" baseline="0" noProof="0" dirty="0">
              <a:ln>
                <a:noFill/>
              </a:ln>
              <a:solidFill>
                <a:srgbClr val="000000">
                  <a:lumMod val="75000"/>
                  <a:lumOff val="25000"/>
                </a:srgbClr>
              </a:solidFill>
              <a:effectLst/>
              <a:uLnTx/>
              <a:uFillTx/>
              <a:latin typeface="OPPOSans B" panose="00020600040101010101" pitchFamily="18" charset="-122"/>
              <a:ea typeface="OPPOSans B" panose="00020600040101010101" pitchFamily="18" charset="-122"/>
              <a:cs typeface="OPPOSans B" panose="00020600040101010101" pitchFamily="18" charset="-122"/>
            </a:endParaRPr>
          </a:p>
        </p:txBody>
      </p:sp>
      <p:sp>
        <p:nvSpPr>
          <p:cNvPr id="8" name="Object 107">
            <a:extLst>
              <a:ext uri="{FF2B5EF4-FFF2-40B4-BE49-F238E27FC236}">
                <a16:creationId xmlns:a16="http://schemas.microsoft.com/office/drawing/2014/main" id="{A30EBFC0-7D7C-4745-9B69-7D4F94F27CD0}"/>
              </a:ext>
            </a:extLst>
          </p:cNvPr>
          <p:cNvSpPr txBox="1"/>
          <p:nvPr/>
        </p:nvSpPr>
        <p:spPr>
          <a:xfrm>
            <a:off x="2010324" y="4227456"/>
            <a:ext cx="2268735" cy="508400"/>
          </a:xfrm>
          <a:prstGeom prst="rect">
            <a:avLst/>
          </a:prstGeom>
        </p:spPr>
        <p:txBody>
          <a:bodyPr vert="horz" lIns="0" tIns="0" rIns="0" bIns="0" rtlCol="0" anchor="t" anchorCtr="0">
            <a:noAutofit/>
          </a:bodyPr>
          <a:lstStyle/>
          <a:p>
            <a:pPr marL="0" marR="0" lvl="0" indent="0" algn="ctr" defTabSz="914400" rtl="0" eaLnBrk="1" fontAlgn="auto" latinLnBrk="0" hangingPunct="1">
              <a:lnSpc>
                <a:spcPct val="130000"/>
              </a:lnSpc>
              <a:spcBef>
                <a:spcPts val="0"/>
              </a:spcBef>
              <a:spcAft>
                <a:spcPts val="0"/>
              </a:spcAft>
              <a:buClrTx/>
              <a:buSzTx/>
              <a:buFontTx/>
              <a:buNone/>
              <a:tabLst/>
              <a:defRPr/>
            </a:pPr>
            <a:r>
              <a:rPr kumimoji="0" lang="zh-CN" altLang="en-US" sz="1200" b="0" i="0" u="none" strike="noStrike" kern="1200" cap="none" spc="28" normalizeH="0" baseline="0" noProof="0" dirty="0">
                <a:ln>
                  <a:noFill/>
                </a:ln>
                <a:solidFill>
                  <a:srgbClr val="000000">
                    <a:lumMod val="75000"/>
                    <a:lumOff val="2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rPr>
              <a:t>通过人事系统实现</a:t>
            </a:r>
            <a:endParaRPr kumimoji="0" lang="zh-CN" altLang="en-US" sz="1200" b="0" i="0" u="none" strike="noStrike" kern="1200" cap="none" spc="0" normalizeH="0" baseline="0" noProof="0" dirty="0">
              <a:ln>
                <a:noFill/>
              </a:ln>
              <a:solidFill>
                <a:srgbClr val="000000">
                  <a:lumMod val="75000"/>
                  <a:lumOff val="2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a:p>
            <a:pPr marL="0" marR="0" lvl="0" indent="0" algn="ctr" defTabSz="914400" rtl="0" eaLnBrk="1" fontAlgn="auto" latinLnBrk="0" hangingPunct="1">
              <a:lnSpc>
                <a:spcPct val="130000"/>
              </a:lnSpc>
              <a:spcBef>
                <a:spcPts val="0"/>
              </a:spcBef>
              <a:spcAft>
                <a:spcPts val="0"/>
              </a:spcAft>
              <a:buClrTx/>
              <a:buSzTx/>
              <a:buFontTx/>
              <a:buNone/>
              <a:tabLst/>
              <a:defRPr/>
            </a:pPr>
            <a:r>
              <a:rPr kumimoji="0" lang="zh-CN" altLang="en-US" sz="1200" b="0" i="0" u="none" strike="noStrike" kern="1200" cap="none" spc="28" normalizeH="0" baseline="0" noProof="0" dirty="0">
                <a:ln>
                  <a:noFill/>
                </a:ln>
                <a:solidFill>
                  <a:srgbClr val="000000">
                    <a:lumMod val="75000"/>
                    <a:lumOff val="2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rPr>
              <a:t>考勤等员工管理，高效便捷</a:t>
            </a:r>
            <a:endParaRPr kumimoji="0" lang="zh-CN" altLang="en-US" sz="1000" b="0" i="0" u="none" strike="noStrike" kern="1200" cap="none" spc="0" normalizeH="0" baseline="0" noProof="0" dirty="0">
              <a:ln>
                <a:noFill/>
              </a:ln>
              <a:solidFill>
                <a:srgbClr val="000000">
                  <a:lumMod val="75000"/>
                  <a:lumOff val="2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p:txBody>
      </p:sp>
      <p:sp>
        <p:nvSpPr>
          <p:cNvPr id="9" name="Object 108">
            <a:extLst>
              <a:ext uri="{FF2B5EF4-FFF2-40B4-BE49-F238E27FC236}">
                <a16:creationId xmlns:a16="http://schemas.microsoft.com/office/drawing/2014/main" id="{1F7E5792-95BD-47D6-A374-59AFB7B5E924}"/>
              </a:ext>
            </a:extLst>
          </p:cNvPr>
          <p:cNvSpPr txBox="1"/>
          <p:nvPr/>
        </p:nvSpPr>
        <p:spPr>
          <a:xfrm>
            <a:off x="7917414" y="4131766"/>
            <a:ext cx="2268735" cy="762600"/>
          </a:xfrm>
          <a:prstGeom prst="rect">
            <a:avLst/>
          </a:prstGeom>
        </p:spPr>
        <p:txBody>
          <a:bodyPr vert="horz" lIns="0" tIns="0" rIns="0" bIns="0" rtlCol="0" anchor="t" anchorCtr="0">
            <a:noAutofit/>
          </a:bodyPr>
          <a:lstStyle>
            <a:defPPr>
              <a:defRPr lang="zh-CN"/>
            </a:defPPr>
            <a:lvl1pPr algn="ctr">
              <a:lnSpc>
                <a:spcPct val="130000"/>
              </a:lnSpc>
              <a:defRPr sz="1200" b="0" i="0" spc="28">
                <a:solidFill>
                  <a:srgbClr val="313131"/>
                </a:solidFill>
                <a:latin typeface="OPPOSans R" panose="00020600040101010101" pitchFamily="18" charset="-122"/>
                <a:ea typeface="OPPOSans R" panose="00020600040101010101" pitchFamily="18" charset="-122"/>
                <a:cs typeface="OPPOSans R" panose="00020600040101010101" pitchFamily="18" charset="-122"/>
              </a:defRPr>
            </a:lvl1pPr>
          </a:lstStyle>
          <a:p>
            <a:pPr marL="0" marR="0" lvl="0" indent="0" algn="ctr" defTabSz="914400" rtl="0" eaLnBrk="1" fontAlgn="auto" latinLnBrk="0" hangingPunct="1">
              <a:lnSpc>
                <a:spcPct val="130000"/>
              </a:lnSpc>
              <a:spcBef>
                <a:spcPts val="0"/>
              </a:spcBef>
              <a:spcAft>
                <a:spcPts val="0"/>
              </a:spcAft>
              <a:buClrTx/>
              <a:buSzTx/>
              <a:buFontTx/>
              <a:buNone/>
              <a:tabLst/>
              <a:defRPr/>
            </a:pPr>
            <a:r>
              <a:rPr kumimoji="0" lang="zh-CN" altLang="en-US" sz="1200" b="0" i="0" u="none" strike="noStrike" kern="1200" cap="none" spc="28" normalizeH="0" baseline="0" noProof="0" dirty="0">
                <a:ln>
                  <a:noFill/>
                </a:ln>
                <a:solidFill>
                  <a:srgbClr val="000000">
                    <a:lumMod val="75000"/>
                    <a:lumOff val="2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rPr>
              <a:t>外包可以帮助</a:t>
            </a:r>
          </a:p>
          <a:p>
            <a:pPr marL="0" marR="0" lvl="0" indent="0" algn="ctr" defTabSz="914400" rtl="0" eaLnBrk="1" fontAlgn="auto" latinLnBrk="0" hangingPunct="1">
              <a:lnSpc>
                <a:spcPct val="130000"/>
              </a:lnSpc>
              <a:spcBef>
                <a:spcPts val="0"/>
              </a:spcBef>
              <a:spcAft>
                <a:spcPts val="0"/>
              </a:spcAft>
              <a:buClrTx/>
              <a:buSzTx/>
              <a:buFontTx/>
              <a:buNone/>
              <a:tabLst/>
              <a:defRPr/>
            </a:pPr>
            <a:r>
              <a:rPr kumimoji="0" lang="zh-CN" altLang="en-US" sz="1200" b="0" i="0" u="none" strike="noStrike" kern="1200" cap="none" spc="28" normalizeH="0" baseline="0" noProof="0" dirty="0">
                <a:ln>
                  <a:noFill/>
                </a:ln>
                <a:solidFill>
                  <a:srgbClr val="000000">
                    <a:lumMod val="75000"/>
                    <a:lumOff val="2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rPr>
              <a:t>企业</a:t>
            </a:r>
            <a:r>
              <a:rPr kumimoji="0" lang="en-US" altLang="zh-CN" sz="1200" b="0" i="0" u="none" strike="noStrike" kern="1200" cap="none" spc="28" normalizeH="0" baseline="0" noProof="0" dirty="0">
                <a:ln>
                  <a:noFill/>
                </a:ln>
                <a:solidFill>
                  <a:srgbClr val="000000">
                    <a:lumMod val="75000"/>
                    <a:lumOff val="2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rPr>
              <a:t>HR</a:t>
            </a:r>
            <a:r>
              <a:rPr kumimoji="0" lang="zh-CN" altLang="en-US" sz="1200" b="0" i="0" u="none" strike="noStrike" kern="1200" cap="none" spc="28" normalizeH="0" baseline="0" noProof="0" dirty="0">
                <a:ln>
                  <a:noFill/>
                </a:ln>
                <a:solidFill>
                  <a:srgbClr val="000000">
                    <a:lumMod val="75000"/>
                    <a:lumOff val="2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rPr>
              <a:t>省去繁琐的工作环节达到高效办公的目的</a:t>
            </a:r>
          </a:p>
        </p:txBody>
      </p:sp>
      <p:grpSp>
        <p:nvGrpSpPr>
          <p:cNvPr id="148" name="组合 147">
            <a:extLst>
              <a:ext uri="{FF2B5EF4-FFF2-40B4-BE49-F238E27FC236}">
                <a16:creationId xmlns:a16="http://schemas.microsoft.com/office/drawing/2014/main" id="{9621B838-249A-4C92-910C-5408DAF4911C}"/>
              </a:ext>
            </a:extLst>
          </p:cNvPr>
          <p:cNvGrpSpPr/>
          <p:nvPr/>
        </p:nvGrpSpPr>
        <p:grpSpPr>
          <a:xfrm>
            <a:off x="1054100" y="4940300"/>
            <a:ext cx="1327150" cy="1327150"/>
            <a:chOff x="1054100" y="4940300"/>
            <a:chExt cx="1327150" cy="1327150"/>
          </a:xfrm>
          <a:effectLst>
            <a:outerShdw blurRad="330200" dist="330200" dir="5400000" sx="90000" sy="90000" algn="t" rotWithShape="0">
              <a:schemeClr val="accent3">
                <a:lumMod val="50000"/>
                <a:alpha val="25000"/>
              </a:schemeClr>
            </a:outerShdw>
          </a:effectLst>
        </p:grpSpPr>
        <p:sp>
          <p:nvSpPr>
            <p:cNvPr id="75" name="Oval 56_1">
              <a:extLst>
                <a:ext uri="{FF2B5EF4-FFF2-40B4-BE49-F238E27FC236}">
                  <a16:creationId xmlns:a16="http://schemas.microsoft.com/office/drawing/2014/main" id="{8709BDD4-B021-4483-9050-C5323B77C9E0}"/>
                </a:ext>
              </a:extLst>
            </p:cNvPr>
            <p:cNvSpPr>
              <a:spLocks/>
            </p:cNvSpPr>
            <p:nvPr/>
          </p:nvSpPr>
          <p:spPr>
            <a:xfrm>
              <a:off x="1054100" y="4940300"/>
              <a:ext cx="1327150" cy="1327150"/>
            </a:xfrm>
            <a:prstGeom prst="ellipse">
              <a:avLst/>
            </a:prstGeom>
            <a:gradFill flip="none" rotWithShape="1">
              <a:gsLst>
                <a:gs pos="0">
                  <a:schemeClr val="accent3">
                    <a:alpha val="20000"/>
                  </a:schemeClr>
                </a:gs>
                <a:gs pos="100000">
                  <a:schemeClr val="accent3">
                    <a:lumMod val="60000"/>
                    <a:lumOff val="40000"/>
                    <a:alpha val="75000"/>
                  </a:schemeClr>
                </a:gs>
              </a:gsLst>
              <a:lin ang="540000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panose="020F0502020204030204"/>
                <a:ea typeface="微软雅黑"/>
                <a:cs typeface="+mn-cs"/>
              </a:endParaRPr>
            </a:p>
          </p:txBody>
        </p:sp>
        <p:sp>
          <p:nvSpPr>
            <p:cNvPr id="76" name="椭圆 75">
              <a:extLst>
                <a:ext uri="{FF2B5EF4-FFF2-40B4-BE49-F238E27FC236}">
                  <a16:creationId xmlns:a16="http://schemas.microsoft.com/office/drawing/2014/main" id="{91131DC3-C33D-4ED0-AB3D-21A722A12716}"/>
                </a:ext>
              </a:extLst>
            </p:cNvPr>
            <p:cNvSpPr>
              <a:spLocks/>
            </p:cNvSpPr>
            <p:nvPr/>
          </p:nvSpPr>
          <p:spPr>
            <a:xfrm>
              <a:off x="1110437" y="4996637"/>
              <a:ext cx="1214477" cy="1214477"/>
            </a:xfrm>
            <a:prstGeom prst="ellipse">
              <a:avLst/>
            </a:prstGeom>
            <a:gradFill>
              <a:gsLst>
                <a:gs pos="0">
                  <a:schemeClr val="accent3"/>
                </a:gs>
                <a:gs pos="100000">
                  <a:schemeClr val="accent3">
                    <a:lumMod val="60000"/>
                    <a:lumOff val="40000"/>
                  </a:schemeClr>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Arial" panose="020F0502020204030204"/>
                <a:ea typeface="微软雅黑"/>
                <a:cs typeface="+mn-cs"/>
              </a:endParaRPr>
            </a:p>
          </p:txBody>
        </p:sp>
      </p:grpSp>
      <p:grpSp>
        <p:nvGrpSpPr>
          <p:cNvPr id="149" name="组合 148">
            <a:extLst>
              <a:ext uri="{FF2B5EF4-FFF2-40B4-BE49-F238E27FC236}">
                <a16:creationId xmlns:a16="http://schemas.microsoft.com/office/drawing/2014/main" id="{3B31BCEE-26F2-4529-8E7E-4364828E5C37}"/>
              </a:ext>
            </a:extLst>
          </p:cNvPr>
          <p:cNvGrpSpPr/>
          <p:nvPr/>
        </p:nvGrpSpPr>
        <p:grpSpPr>
          <a:xfrm>
            <a:off x="2476500" y="4940300"/>
            <a:ext cx="1327150" cy="1327150"/>
            <a:chOff x="2476500" y="4940300"/>
            <a:chExt cx="1327150" cy="1327150"/>
          </a:xfrm>
          <a:effectLst>
            <a:outerShdw blurRad="330200" dist="330200" dir="5400000" sx="90000" sy="90000" algn="t" rotWithShape="0">
              <a:schemeClr val="accent3">
                <a:lumMod val="50000"/>
                <a:alpha val="25000"/>
              </a:schemeClr>
            </a:outerShdw>
          </a:effectLst>
        </p:grpSpPr>
        <p:sp>
          <p:nvSpPr>
            <p:cNvPr id="78" name="Oval 56_1">
              <a:extLst>
                <a:ext uri="{FF2B5EF4-FFF2-40B4-BE49-F238E27FC236}">
                  <a16:creationId xmlns:a16="http://schemas.microsoft.com/office/drawing/2014/main" id="{D29ABD52-E9CE-451D-9DE3-2A7F7418E681}"/>
                </a:ext>
              </a:extLst>
            </p:cNvPr>
            <p:cNvSpPr>
              <a:spLocks/>
            </p:cNvSpPr>
            <p:nvPr/>
          </p:nvSpPr>
          <p:spPr>
            <a:xfrm>
              <a:off x="2476500" y="4940300"/>
              <a:ext cx="1327150" cy="1327150"/>
            </a:xfrm>
            <a:prstGeom prst="ellipse">
              <a:avLst/>
            </a:prstGeom>
            <a:gradFill flip="none" rotWithShape="1">
              <a:gsLst>
                <a:gs pos="0">
                  <a:schemeClr val="accent3">
                    <a:alpha val="20000"/>
                  </a:schemeClr>
                </a:gs>
                <a:gs pos="100000">
                  <a:schemeClr val="accent3">
                    <a:lumMod val="60000"/>
                    <a:lumOff val="40000"/>
                    <a:alpha val="75000"/>
                  </a:schemeClr>
                </a:gs>
              </a:gsLst>
              <a:lin ang="540000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panose="020F0502020204030204"/>
                <a:ea typeface="微软雅黑"/>
                <a:cs typeface="+mn-cs"/>
              </a:endParaRPr>
            </a:p>
          </p:txBody>
        </p:sp>
        <p:sp>
          <p:nvSpPr>
            <p:cNvPr id="79" name="椭圆 78">
              <a:extLst>
                <a:ext uri="{FF2B5EF4-FFF2-40B4-BE49-F238E27FC236}">
                  <a16:creationId xmlns:a16="http://schemas.microsoft.com/office/drawing/2014/main" id="{F2C69EA6-FE98-4837-B5DB-BC1FE0580660}"/>
                </a:ext>
              </a:extLst>
            </p:cNvPr>
            <p:cNvSpPr>
              <a:spLocks/>
            </p:cNvSpPr>
            <p:nvPr/>
          </p:nvSpPr>
          <p:spPr>
            <a:xfrm>
              <a:off x="2532837" y="4996637"/>
              <a:ext cx="1214477" cy="1214477"/>
            </a:xfrm>
            <a:prstGeom prst="ellipse">
              <a:avLst/>
            </a:prstGeom>
            <a:gradFill>
              <a:gsLst>
                <a:gs pos="0">
                  <a:schemeClr val="accent3"/>
                </a:gs>
                <a:gs pos="100000">
                  <a:schemeClr val="accent3">
                    <a:lumMod val="60000"/>
                    <a:lumOff val="40000"/>
                  </a:schemeClr>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Arial" panose="020F0502020204030204"/>
                <a:ea typeface="微软雅黑"/>
                <a:cs typeface="+mn-cs"/>
              </a:endParaRPr>
            </a:p>
          </p:txBody>
        </p:sp>
      </p:grpSp>
      <p:grpSp>
        <p:nvGrpSpPr>
          <p:cNvPr id="147" name="组合 146">
            <a:extLst>
              <a:ext uri="{FF2B5EF4-FFF2-40B4-BE49-F238E27FC236}">
                <a16:creationId xmlns:a16="http://schemas.microsoft.com/office/drawing/2014/main" id="{F6C5545F-82CF-4BF5-A05C-F7D3C2CC0C8D}"/>
              </a:ext>
            </a:extLst>
          </p:cNvPr>
          <p:cNvGrpSpPr/>
          <p:nvPr/>
        </p:nvGrpSpPr>
        <p:grpSpPr>
          <a:xfrm>
            <a:off x="3898900" y="4940300"/>
            <a:ext cx="1327150" cy="1327150"/>
            <a:chOff x="3898900" y="4940300"/>
            <a:chExt cx="1327150" cy="1327150"/>
          </a:xfrm>
          <a:effectLst>
            <a:outerShdw blurRad="330200" dist="330200" dir="5400000" sx="90000" sy="90000" algn="t" rotWithShape="0">
              <a:schemeClr val="accent3">
                <a:lumMod val="50000"/>
                <a:alpha val="25000"/>
              </a:schemeClr>
            </a:outerShdw>
          </a:effectLst>
        </p:grpSpPr>
        <p:sp>
          <p:nvSpPr>
            <p:cNvPr id="81" name="Oval 56_1">
              <a:extLst>
                <a:ext uri="{FF2B5EF4-FFF2-40B4-BE49-F238E27FC236}">
                  <a16:creationId xmlns:a16="http://schemas.microsoft.com/office/drawing/2014/main" id="{8205CE45-EF22-464F-97B3-B9B51C41E26B}"/>
                </a:ext>
              </a:extLst>
            </p:cNvPr>
            <p:cNvSpPr>
              <a:spLocks/>
            </p:cNvSpPr>
            <p:nvPr/>
          </p:nvSpPr>
          <p:spPr>
            <a:xfrm>
              <a:off x="3898900" y="4940300"/>
              <a:ext cx="1327150" cy="1327150"/>
            </a:xfrm>
            <a:prstGeom prst="ellipse">
              <a:avLst/>
            </a:prstGeom>
            <a:gradFill flip="none" rotWithShape="1">
              <a:gsLst>
                <a:gs pos="0">
                  <a:schemeClr val="accent3">
                    <a:alpha val="20000"/>
                  </a:schemeClr>
                </a:gs>
                <a:gs pos="100000">
                  <a:schemeClr val="accent3">
                    <a:lumMod val="60000"/>
                    <a:lumOff val="40000"/>
                    <a:alpha val="75000"/>
                  </a:schemeClr>
                </a:gs>
              </a:gsLst>
              <a:lin ang="540000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panose="020F0502020204030204"/>
                <a:ea typeface="微软雅黑"/>
                <a:cs typeface="+mn-cs"/>
              </a:endParaRPr>
            </a:p>
          </p:txBody>
        </p:sp>
        <p:sp>
          <p:nvSpPr>
            <p:cNvPr id="82" name="椭圆 81">
              <a:extLst>
                <a:ext uri="{FF2B5EF4-FFF2-40B4-BE49-F238E27FC236}">
                  <a16:creationId xmlns:a16="http://schemas.microsoft.com/office/drawing/2014/main" id="{7F337BFD-56B8-45EF-998A-AB85056F6E7E}"/>
                </a:ext>
              </a:extLst>
            </p:cNvPr>
            <p:cNvSpPr>
              <a:spLocks/>
            </p:cNvSpPr>
            <p:nvPr/>
          </p:nvSpPr>
          <p:spPr>
            <a:xfrm>
              <a:off x="3955237" y="4996637"/>
              <a:ext cx="1214477" cy="1214477"/>
            </a:xfrm>
            <a:prstGeom prst="ellipse">
              <a:avLst/>
            </a:prstGeom>
            <a:gradFill>
              <a:gsLst>
                <a:gs pos="0">
                  <a:schemeClr val="accent3"/>
                </a:gs>
                <a:gs pos="100000">
                  <a:schemeClr val="accent3">
                    <a:lumMod val="60000"/>
                    <a:lumOff val="40000"/>
                  </a:schemeClr>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Arial" panose="020F0502020204030204"/>
                <a:ea typeface="微软雅黑"/>
                <a:cs typeface="+mn-cs"/>
              </a:endParaRPr>
            </a:p>
          </p:txBody>
        </p:sp>
      </p:grpSp>
      <p:grpSp>
        <p:nvGrpSpPr>
          <p:cNvPr id="144" name="组合 143">
            <a:extLst>
              <a:ext uri="{FF2B5EF4-FFF2-40B4-BE49-F238E27FC236}">
                <a16:creationId xmlns:a16="http://schemas.microsoft.com/office/drawing/2014/main" id="{D3C389E0-F274-4781-B835-AEE0E7E08E25}"/>
              </a:ext>
            </a:extLst>
          </p:cNvPr>
          <p:cNvGrpSpPr/>
          <p:nvPr/>
        </p:nvGrpSpPr>
        <p:grpSpPr>
          <a:xfrm>
            <a:off x="6959600" y="4940300"/>
            <a:ext cx="1327150" cy="1327150"/>
            <a:chOff x="6959600" y="4940300"/>
            <a:chExt cx="1327150" cy="1327150"/>
          </a:xfrm>
          <a:effectLst>
            <a:outerShdw blurRad="330200" dist="330200" dir="5400000" sx="90000" sy="90000" algn="t" rotWithShape="0">
              <a:schemeClr val="accent3">
                <a:lumMod val="50000"/>
                <a:alpha val="25000"/>
              </a:schemeClr>
            </a:outerShdw>
          </a:effectLst>
        </p:grpSpPr>
        <p:sp>
          <p:nvSpPr>
            <p:cNvPr id="84" name="Oval 56_1">
              <a:extLst>
                <a:ext uri="{FF2B5EF4-FFF2-40B4-BE49-F238E27FC236}">
                  <a16:creationId xmlns:a16="http://schemas.microsoft.com/office/drawing/2014/main" id="{7CC0D1B0-71CF-445A-B0BF-9E55CDF99779}"/>
                </a:ext>
              </a:extLst>
            </p:cNvPr>
            <p:cNvSpPr>
              <a:spLocks/>
            </p:cNvSpPr>
            <p:nvPr/>
          </p:nvSpPr>
          <p:spPr>
            <a:xfrm>
              <a:off x="6959600" y="4940300"/>
              <a:ext cx="1327150" cy="1327150"/>
            </a:xfrm>
            <a:prstGeom prst="ellipse">
              <a:avLst/>
            </a:prstGeom>
            <a:gradFill flip="none" rotWithShape="1">
              <a:gsLst>
                <a:gs pos="0">
                  <a:schemeClr val="accent3">
                    <a:alpha val="20000"/>
                  </a:schemeClr>
                </a:gs>
                <a:gs pos="100000">
                  <a:schemeClr val="accent3">
                    <a:lumMod val="60000"/>
                    <a:lumOff val="40000"/>
                    <a:alpha val="75000"/>
                  </a:schemeClr>
                </a:gs>
              </a:gsLst>
              <a:lin ang="540000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panose="020F0502020204030204"/>
                <a:ea typeface="微软雅黑"/>
                <a:cs typeface="+mn-cs"/>
              </a:endParaRPr>
            </a:p>
          </p:txBody>
        </p:sp>
        <p:sp>
          <p:nvSpPr>
            <p:cNvPr id="85" name="椭圆 84">
              <a:extLst>
                <a:ext uri="{FF2B5EF4-FFF2-40B4-BE49-F238E27FC236}">
                  <a16:creationId xmlns:a16="http://schemas.microsoft.com/office/drawing/2014/main" id="{87D92CA0-3F9A-4EC2-B08D-A9AC395FC439}"/>
                </a:ext>
              </a:extLst>
            </p:cNvPr>
            <p:cNvSpPr>
              <a:spLocks/>
            </p:cNvSpPr>
            <p:nvPr/>
          </p:nvSpPr>
          <p:spPr>
            <a:xfrm>
              <a:off x="7015937" y="4996637"/>
              <a:ext cx="1214477" cy="1214477"/>
            </a:xfrm>
            <a:prstGeom prst="ellipse">
              <a:avLst/>
            </a:prstGeom>
            <a:gradFill>
              <a:gsLst>
                <a:gs pos="0">
                  <a:schemeClr val="accent3"/>
                </a:gs>
                <a:gs pos="100000">
                  <a:schemeClr val="accent3">
                    <a:lumMod val="60000"/>
                    <a:lumOff val="40000"/>
                  </a:schemeClr>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Arial" panose="020F0502020204030204"/>
                <a:ea typeface="微软雅黑"/>
                <a:cs typeface="+mn-cs"/>
              </a:endParaRPr>
            </a:p>
          </p:txBody>
        </p:sp>
      </p:grpSp>
      <p:grpSp>
        <p:nvGrpSpPr>
          <p:cNvPr id="145" name="组合 144">
            <a:extLst>
              <a:ext uri="{FF2B5EF4-FFF2-40B4-BE49-F238E27FC236}">
                <a16:creationId xmlns:a16="http://schemas.microsoft.com/office/drawing/2014/main" id="{A9FFA454-932A-4D3E-B11D-D7A354A95A81}"/>
              </a:ext>
            </a:extLst>
          </p:cNvPr>
          <p:cNvGrpSpPr/>
          <p:nvPr/>
        </p:nvGrpSpPr>
        <p:grpSpPr>
          <a:xfrm>
            <a:off x="8382000" y="4940300"/>
            <a:ext cx="1327150" cy="1327150"/>
            <a:chOff x="8382000" y="4940300"/>
            <a:chExt cx="1327150" cy="1327150"/>
          </a:xfrm>
          <a:effectLst>
            <a:outerShdw blurRad="330200" dist="330200" dir="5400000" sx="90000" sy="90000" algn="t" rotWithShape="0">
              <a:schemeClr val="accent3">
                <a:lumMod val="50000"/>
                <a:alpha val="25000"/>
              </a:schemeClr>
            </a:outerShdw>
          </a:effectLst>
        </p:grpSpPr>
        <p:sp>
          <p:nvSpPr>
            <p:cNvPr id="87" name="Oval 56_1">
              <a:extLst>
                <a:ext uri="{FF2B5EF4-FFF2-40B4-BE49-F238E27FC236}">
                  <a16:creationId xmlns:a16="http://schemas.microsoft.com/office/drawing/2014/main" id="{9CEEAFF7-0C34-4941-A3B3-B081B38E524E}"/>
                </a:ext>
              </a:extLst>
            </p:cNvPr>
            <p:cNvSpPr>
              <a:spLocks/>
            </p:cNvSpPr>
            <p:nvPr/>
          </p:nvSpPr>
          <p:spPr>
            <a:xfrm>
              <a:off x="8382000" y="4940300"/>
              <a:ext cx="1327150" cy="1327150"/>
            </a:xfrm>
            <a:prstGeom prst="ellipse">
              <a:avLst/>
            </a:prstGeom>
            <a:gradFill flip="none" rotWithShape="1">
              <a:gsLst>
                <a:gs pos="0">
                  <a:schemeClr val="accent3">
                    <a:alpha val="20000"/>
                  </a:schemeClr>
                </a:gs>
                <a:gs pos="100000">
                  <a:schemeClr val="accent3">
                    <a:lumMod val="60000"/>
                    <a:lumOff val="40000"/>
                    <a:alpha val="75000"/>
                  </a:schemeClr>
                </a:gs>
              </a:gsLst>
              <a:lin ang="540000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panose="020F0502020204030204"/>
                <a:ea typeface="微软雅黑"/>
                <a:cs typeface="+mn-cs"/>
              </a:endParaRPr>
            </a:p>
          </p:txBody>
        </p:sp>
        <p:sp>
          <p:nvSpPr>
            <p:cNvPr id="88" name="椭圆 87">
              <a:extLst>
                <a:ext uri="{FF2B5EF4-FFF2-40B4-BE49-F238E27FC236}">
                  <a16:creationId xmlns:a16="http://schemas.microsoft.com/office/drawing/2014/main" id="{A59892F2-0F38-4D02-81EB-6CECBAB229E7}"/>
                </a:ext>
              </a:extLst>
            </p:cNvPr>
            <p:cNvSpPr>
              <a:spLocks/>
            </p:cNvSpPr>
            <p:nvPr/>
          </p:nvSpPr>
          <p:spPr>
            <a:xfrm>
              <a:off x="8438337" y="4996637"/>
              <a:ext cx="1214477" cy="1214477"/>
            </a:xfrm>
            <a:prstGeom prst="ellipse">
              <a:avLst/>
            </a:prstGeom>
            <a:gradFill>
              <a:gsLst>
                <a:gs pos="0">
                  <a:schemeClr val="accent3"/>
                </a:gs>
                <a:gs pos="100000">
                  <a:schemeClr val="accent3">
                    <a:lumMod val="60000"/>
                    <a:lumOff val="40000"/>
                  </a:schemeClr>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Arial" panose="020F0502020204030204"/>
                <a:ea typeface="微软雅黑"/>
                <a:cs typeface="+mn-cs"/>
              </a:endParaRPr>
            </a:p>
          </p:txBody>
        </p:sp>
      </p:grpSp>
      <p:grpSp>
        <p:nvGrpSpPr>
          <p:cNvPr id="146" name="组合 145">
            <a:extLst>
              <a:ext uri="{FF2B5EF4-FFF2-40B4-BE49-F238E27FC236}">
                <a16:creationId xmlns:a16="http://schemas.microsoft.com/office/drawing/2014/main" id="{B50279D4-5191-4557-ADE2-2CCD191B944D}"/>
              </a:ext>
            </a:extLst>
          </p:cNvPr>
          <p:cNvGrpSpPr/>
          <p:nvPr/>
        </p:nvGrpSpPr>
        <p:grpSpPr>
          <a:xfrm>
            <a:off x="9804400" y="4940300"/>
            <a:ext cx="1327150" cy="1327150"/>
            <a:chOff x="9804400" y="4940300"/>
            <a:chExt cx="1327150" cy="1327150"/>
          </a:xfrm>
          <a:effectLst>
            <a:outerShdw blurRad="330200" dist="330200" dir="5400000" sx="90000" sy="90000" algn="t" rotWithShape="0">
              <a:schemeClr val="accent3">
                <a:lumMod val="50000"/>
                <a:alpha val="25000"/>
              </a:schemeClr>
            </a:outerShdw>
          </a:effectLst>
        </p:grpSpPr>
        <p:sp>
          <p:nvSpPr>
            <p:cNvPr id="90" name="Oval 56_1">
              <a:extLst>
                <a:ext uri="{FF2B5EF4-FFF2-40B4-BE49-F238E27FC236}">
                  <a16:creationId xmlns:a16="http://schemas.microsoft.com/office/drawing/2014/main" id="{EECD1A93-54C7-4A50-ACE2-45467C8860EE}"/>
                </a:ext>
              </a:extLst>
            </p:cNvPr>
            <p:cNvSpPr>
              <a:spLocks/>
            </p:cNvSpPr>
            <p:nvPr/>
          </p:nvSpPr>
          <p:spPr>
            <a:xfrm>
              <a:off x="9804400" y="4940300"/>
              <a:ext cx="1327150" cy="1327150"/>
            </a:xfrm>
            <a:prstGeom prst="ellipse">
              <a:avLst/>
            </a:prstGeom>
            <a:gradFill flip="none" rotWithShape="1">
              <a:gsLst>
                <a:gs pos="0">
                  <a:schemeClr val="accent3">
                    <a:alpha val="20000"/>
                  </a:schemeClr>
                </a:gs>
                <a:gs pos="100000">
                  <a:schemeClr val="accent3">
                    <a:lumMod val="60000"/>
                    <a:lumOff val="40000"/>
                    <a:alpha val="75000"/>
                  </a:schemeClr>
                </a:gs>
              </a:gsLst>
              <a:lin ang="540000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panose="020F0502020204030204"/>
                <a:ea typeface="微软雅黑"/>
                <a:cs typeface="+mn-cs"/>
              </a:endParaRPr>
            </a:p>
          </p:txBody>
        </p:sp>
        <p:sp>
          <p:nvSpPr>
            <p:cNvPr id="91" name="椭圆 90">
              <a:extLst>
                <a:ext uri="{FF2B5EF4-FFF2-40B4-BE49-F238E27FC236}">
                  <a16:creationId xmlns:a16="http://schemas.microsoft.com/office/drawing/2014/main" id="{B3E4794E-8DC2-49FA-94F5-9A5CD344546E}"/>
                </a:ext>
              </a:extLst>
            </p:cNvPr>
            <p:cNvSpPr>
              <a:spLocks/>
            </p:cNvSpPr>
            <p:nvPr/>
          </p:nvSpPr>
          <p:spPr>
            <a:xfrm>
              <a:off x="9860737" y="4996637"/>
              <a:ext cx="1214477" cy="1214477"/>
            </a:xfrm>
            <a:prstGeom prst="ellipse">
              <a:avLst/>
            </a:prstGeom>
            <a:gradFill>
              <a:gsLst>
                <a:gs pos="0">
                  <a:schemeClr val="accent3"/>
                </a:gs>
                <a:gs pos="100000">
                  <a:schemeClr val="accent3">
                    <a:lumMod val="60000"/>
                    <a:lumOff val="40000"/>
                  </a:schemeClr>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Arial" panose="020F0502020204030204"/>
                <a:ea typeface="微软雅黑"/>
                <a:cs typeface="+mn-cs"/>
              </a:endParaRPr>
            </a:p>
          </p:txBody>
        </p:sp>
      </p:grpSp>
      <p:grpSp>
        <p:nvGrpSpPr>
          <p:cNvPr id="136" name="组合 135">
            <a:extLst>
              <a:ext uri="{FF2B5EF4-FFF2-40B4-BE49-F238E27FC236}">
                <a16:creationId xmlns:a16="http://schemas.microsoft.com/office/drawing/2014/main" id="{DDE20CF8-DED9-4A03-8550-C6D4FBB2DA50}"/>
              </a:ext>
            </a:extLst>
          </p:cNvPr>
          <p:cNvGrpSpPr/>
          <p:nvPr/>
        </p:nvGrpSpPr>
        <p:grpSpPr>
          <a:xfrm rot="16200000" flipH="1">
            <a:off x="2864358" y="3736247"/>
            <a:ext cx="551435" cy="237164"/>
            <a:chOff x="2870724" y="-1593487"/>
            <a:chExt cx="723048" cy="310972"/>
          </a:xfrm>
          <a:gradFill flip="none" rotWithShape="1">
            <a:gsLst>
              <a:gs pos="0">
                <a:schemeClr val="accent2">
                  <a:lumMod val="20000"/>
                  <a:lumOff val="80000"/>
                  <a:alpha val="15000"/>
                </a:schemeClr>
              </a:gs>
              <a:gs pos="100000">
                <a:schemeClr val="accent2">
                  <a:lumMod val="60000"/>
                  <a:lumOff val="40000"/>
                  <a:alpha val="75000"/>
                </a:schemeClr>
              </a:gs>
            </a:gsLst>
            <a:lin ang="0" scaled="1"/>
            <a:tileRect/>
          </a:gradFill>
        </p:grpSpPr>
        <p:sp>
          <p:nvSpPr>
            <p:cNvPr id="137" name="箭头: V 形 136">
              <a:extLst>
                <a:ext uri="{FF2B5EF4-FFF2-40B4-BE49-F238E27FC236}">
                  <a16:creationId xmlns:a16="http://schemas.microsoft.com/office/drawing/2014/main" id="{CE0C2A0D-6D0E-434B-902D-D0E64AB00660}"/>
                </a:ext>
              </a:extLst>
            </p:cNvPr>
            <p:cNvSpPr/>
            <p:nvPr/>
          </p:nvSpPr>
          <p:spPr>
            <a:xfrm>
              <a:off x="2870724" y="-1593487"/>
              <a:ext cx="303584" cy="310972"/>
            </a:xfrm>
            <a:prstGeom prst="chevron">
              <a:avLst/>
            </a:prstGeom>
            <a:grp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panose="020F0502020204030204"/>
                <a:ea typeface="微软雅黑"/>
                <a:cs typeface="+mn-cs"/>
              </a:endParaRPr>
            </a:p>
          </p:txBody>
        </p:sp>
        <p:sp>
          <p:nvSpPr>
            <p:cNvPr id="138" name="箭头: V 形 137">
              <a:extLst>
                <a:ext uri="{FF2B5EF4-FFF2-40B4-BE49-F238E27FC236}">
                  <a16:creationId xmlns:a16="http://schemas.microsoft.com/office/drawing/2014/main" id="{F85C5A87-8E89-44DD-9231-DDC19D004C46}"/>
                </a:ext>
              </a:extLst>
            </p:cNvPr>
            <p:cNvSpPr/>
            <p:nvPr/>
          </p:nvSpPr>
          <p:spPr>
            <a:xfrm>
              <a:off x="3080455" y="-1593487"/>
              <a:ext cx="303584" cy="310972"/>
            </a:xfrm>
            <a:prstGeom prst="chevron">
              <a:avLst/>
            </a:prstGeom>
            <a:grp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panose="020F0502020204030204"/>
                <a:ea typeface="微软雅黑"/>
                <a:cs typeface="+mn-cs"/>
              </a:endParaRPr>
            </a:p>
          </p:txBody>
        </p:sp>
        <p:sp>
          <p:nvSpPr>
            <p:cNvPr id="139" name="箭头: V 形 138">
              <a:extLst>
                <a:ext uri="{FF2B5EF4-FFF2-40B4-BE49-F238E27FC236}">
                  <a16:creationId xmlns:a16="http://schemas.microsoft.com/office/drawing/2014/main" id="{0840F17F-F295-495F-B14A-0D35F70C1BBB}"/>
                </a:ext>
              </a:extLst>
            </p:cNvPr>
            <p:cNvSpPr/>
            <p:nvPr/>
          </p:nvSpPr>
          <p:spPr>
            <a:xfrm>
              <a:off x="3290188" y="-1593487"/>
              <a:ext cx="303584" cy="310972"/>
            </a:xfrm>
            <a:prstGeom prst="chevron">
              <a:avLst/>
            </a:prstGeom>
            <a:grp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panose="020F0502020204030204"/>
                <a:ea typeface="微软雅黑"/>
                <a:cs typeface="+mn-cs"/>
              </a:endParaRPr>
            </a:p>
          </p:txBody>
        </p:sp>
      </p:grpSp>
      <p:grpSp>
        <p:nvGrpSpPr>
          <p:cNvPr id="140" name="组合 139">
            <a:extLst>
              <a:ext uri="{FF2B5EF4-FFF2-40B4-BE49-F238E27FC236}">
                <a16:creationId xmlns:a16="http://schemas.microsoft.com/office/drawing/2014/main" id="{0C376B06-627C-4EBD-AFBB-3CA795C2878E}"/>
              </a:ext>
            </a:extLst>
          </p:cNvPr>
          <p:cNvGrpSpPr/>
          <p:nvPr/>
        </p:nvGrpSpPr>
        <p:grpSpPr>
          <a:xfrm rot="5400000">
            <a:off x="8769858" y="3736246"/>
            <a:ext cx="551435" cy="237164"/>
            <a:chOff x="2870724" y="-1593487"/>
            <a:chExt cx="723048" cy="310972"/>
          </a:xfrm>
          <a:gradFill flip="none" rotWithShape="1">
            <a:gsLst>
              <a:gs pos="3000">
                <a:schemeClr val="accent2">
                  <a:lumMod val="20000"/>
                  <a:lumOff val="80000"/>
                  <a:alpha val="15000"/>
                </a:schemeClr>
              </a:gs>
              <a:gs pos="100000">
                <a:schemeClr val="accent2">
                  <a:lumMod val="60000"/>
                  <a:lumOff val="40000"/>
                  <a:alpha val="75000"/>
                </a:schemeClr>
              </a:gs>
            </a:gsLst>
            <a:lin ang="0" scaled="1"/>
            <a:tileRect/>
          </a:gradFill>
        </p:grpSpPr>
        <p:sp>
          <p:nvSpPr>
            <p:cNvPr id="141" name="箭头: V 形 140">
              <a:extLst>
                <a:ext uri="{FF2B5EF4-FFF2-40B4-BE49-F238E27FC236}">
                  <a16:creationId xmlns:a16="http://schemas.microsoft.com/office/drawing/2014/main" id="{F6A051B7-0973-458D-A282-4C79742DF6C5}"/>
                </a:ext>
              </a:extLst>
            </p:cNvPr>
            <p:cNvSpPr/>
            <p:nvPr/>
          </p:nvSpPr>
          <p:spPr>
            <a:xfrm>
              <a:off x="2870724" y="-1593487"/>
              <a:ext cx="303584" cy="310972"/>
            </a:xfrm>
            <a:prstGeom prst="chevron">
              <a:avLst/>
            </a:prstGeom>
            <a:grp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panose="020F0502020204030204"/>
                <a:ea typeface="微软雅黑"/>
                <a:cs typeface="+mn-cs"/>
              </a:endParaRPr>
            </a:p>
          </p:txBody>
        </p:sp>
        <p:sp>
          <p:nvSpPr>
            <p:cNvPr id="142" name="箭头: V 形 141">
              <a:extLst>
                <a:ext uri="{FF2B5EF4-FFF2-40B4-BE49-F238E27FC236}">
                  <a16:creationId xmlns:a16="http://schemas.microsoft.com/office/drawing/2014/main" id="{85580380-7A88-46C6-BE6E-CD85BCA2A898}"/>
                </a:ext>
              </a:extLst>
            </p:cNvPr>
            <p:cNvSpPr/>
            <p:nvPr/>
          </p:nvSpPr>
          <p:spPr>
            <a:xfrm>
              <a:off x="3080455" y="-1593487"/>
              <a:ext cx="303584" cy="310972"/>
            </a:xfrm>
            <a:prstGeom prst="chevron">
              <a:avLst/>
            </a:prstGeom>
            <a:grp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panose="020F0502020204030204"/>
                <a:ea typeface="微软雅黑"/>
                <a:cs typeface="+mn-cs"/>
              </a:endParaRPr>
            </a:p>
          </p:txBody>
        </p:sp>
        <p:sp>
          <p:nvSpPr>
            <p:cNvPr id="143" name="箭头: V 形 142">
              <a:extLst>
                <a:ext uri="{FF2B5EF4-FFF2-40B4-BE49-F238E27FC236}">
                  <a16:creationId xmlns:a16="http://schemas.microsoft.com/office/drawing/2014/main" id="{09F407BF-2EEF-448F-808F-DA829E4E85C7}"/>
                </a:ext>
              </a:extLst>
            </p:cNvPr>
            <p:cNvSpPr/>
            <p:nvPr/>
          </p:nvSpPr>
          <p:spPr>
            <a:xfrm>
              <a:off x="3290188" y="-1593487"/>
              <a:ext cx="303584" cy="310972"/>
            </a:xfrm>
            <a:prstGeom prst="chevron">
              <a:avLst/>
            </a:prstGeom>
            <a:grp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panose="020F0502020204030204"/>
                <a:ea typeface="微软雅黑"/>
                <a:cs typeface="+mn-cs"/>
              </a:endParaRPr>
            </a:p>
          </p:txBody>
        </p:sp>
      </p:grpSp>
      <p:grpSp>
        <p:nvGrpSpPr>
          <p:cNvPr id="67" name="组合 66">
            <a:extLst>
              <a:ext uri="{FF2B5EF4-FFF2-40B4-BE49-F238E27FC236}">
                <a16:creationId xmlns:a16="http://schemas.microsoft.com/office/drawing/2014/main" id="{E9C5DFFD-022D-457C-A54A-21F4DE347D39}"/>
              </a:ext>
            </a:extLst>
          </p:cNvPr>
          <p:cNvGrpSpPr/>
          <p:nvPr/>
        </p:nvGrpSpPr>
        <p:grpSpPr>
          <a:xfrm>
            <a:off x="4884535" y="1412240"/>
            <a:ext cx="2458720" cy="2458720"/>
            <a:chOff x="4884535" y="1412240"/>
            <a:chExt cx="2458720" cy="2458720"/>
          </a:xfrm>
          <a:effectLst>
            <a:outerShdw blurRad="330200" dist="457200" dir="5400000" sx="90000" sy="90000" algn="t" rotWithShape="0">
              <a:schemeClr val="accent1">
                <a:lumMod val="50000"/>
                <a:alpha val="25000"/>
              </a:schemeClr>
            </a:outerShdw>
          </a:effectLst>
        </p:grpSpPr>
        <p:sp>
          <p:nvSpPr>
            <p:cNvPr id="64" name="Oval 56_1">
              <a:extLst>
                <a:ext uri="{FF2B5EF4-FFF2-40B4-BE49-F238E27FC236}">
                  <a16:creationId xmlns:a16="http://schemas.microsoft.com/office/drawing/2014/main" id="{82D464D9-8599-47EF-8091-815DFCAB084D}"/>
                </a:ext>
              </a:extLst>
            </p:cNvPr>
            <p:cNvSpPr>
              <a:spLocks/>
            </p:cNvSpPr>
            <p:nvPr/>
          </p:nvSpPr>
          <p:spPr>
            <a:xfrm>
              <a:off x="4884535" y="1412240"/>
              <a:ext cx="2458720" cy="2458720"/>
            </a:xfrm>
            <a:prstGeom prst="ellipse">
              <a:avLst/>
            </a:prstGeom>
            <a:gradFill flip="none" rotWithShape="1">
              <a:gsLst>
                <a:gs pos="0">
                  <a:schemeClr val="accent1">
                    <a:alpha val="20000"/>
                  </a:schemeClr>
                </a:gs>
                <a:gs pos="100000">
                  <a:schemeClr val="accent1">
                    <a:lumMod val="60000"/>
                    <a:lumOff val="40000"/>
                    <a:alpha val="75000"/>
                  </a:schemeClr>
                </a:gs>
              </a:gsLst>
              <a:lin ang="540000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panose="020F0502020204030204"/>
                <a:ea typeface="微软雅黑"/>
                <a:cs typeface="+mn-cs"/>
              </a:endParaRPr>
            </a:p>
          </p:txBody>
        </p:sp>
        <p:sp>
          <p:nvSpPr>
            <p:cNvPr id="57" name="椭圆 56">
              <a:extLst>
                <a:ext uri="{FF2B5EF4-FFF2-40B4-BE49-F238E27FC236}">
                  <a16:creationId xmlns:a16="http://schemas.microsoft.com/office/drawing/2014/main" id="{7303C62F-FE78-4C79-9AAF-AADAD4CF791E}"/>
                </a:ext>
              </a:extLst>
            </p:cNvPr>
            <p:cNvSpPr>
              <a:spLocks/>
            </p:cNvSpPr>
            <p:nvPr/>
          </p:nvSpPr>
          <p:spPr>
            <a:xfrm>
              <a:off x="4988906" y="1516611"/>
              <a:ext cx="2249978" cy="2249978"/>
            </a:xfrm>
            <a:prstGeom prst="ellipse">
              <a:avLst/>
            </a:prstGeom>
            <a:gradFill>
              <a:gsLst>
                <a:gs pos="0">
                  <a:schemeClr val="accent1"/>
                </a:gs>
                <a:gs pos="100000">
                  <a:schemeClr val="accent1">
                    <a:lumMod val="60000"/>
                    <a:lumOff val="40000"/>
                  </a:schemeClr>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Arial" panose="020F0502020204030204"/>
                <a:ea typeface="微软雅黑"/>
                <a:cs typeface="+mn-cs"/>
              </a:endParaRPr>
            </a:p>
          </p:txBody>
        </p:sp>
      </p:grpSp>
      <p:sp>
        <p:nvSpPr>
          <p:cNvPr id="14" name="Object 1013">
            <a:extLst>
              <a:ext uri="{FF2B5EF4-FFF2-40B4-BE49-F238E27FC236}">
                <a16:creationId xmlns:a16="http://schemas.microsoft.com/office/drawing/2014/main" id="{295E0B3B-7D44-45E7-9424-1F24A44215D8}"/>
              </a:ext>
            </a:extLst>
          </p:cNvPr>
          <p:cNvSpPr txBox="1"/>
          <p:nvPr/>
        </p:nvSpPr>
        <p:spPr>
          <a:xfrm>
            <a:off x="5071675" y="2698505"/>
            <a:ext cx="2084440" cy="394010"/>
          </a:xfrm>
          <a:prstGeom prst="rect">
            <a:avLst/>
          </a:prstGeom>
        </p:spPr>
        <p:txBody>
          <a:bodyPr vert="horz" lIns="0" tIns="0" rIns="0" bIns="0" rtlCol="0" anchor="t"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2800" b="0" i="0" u="none" strike="noStrike" kern="1200" cap="none" spc="52" normalizeH="0" baseline="0" noProof="0" dirty="0">
                <a:ln>
                  <a:noFill/>
                </a:ln>
                <a:solidFill>
                  <a:srgbClr val="FFFFFF"/>
                </a:solidFill>
                <a:effectLst>
                  <a:outerShdw blurRad="152400" dist="38100" dir="5400000" algn="t" rotWithShape="0">
                    <a:srgbClr val="000000">
                      <a:alpha val="25000"/>
                    </a:srgbClr>
                  </a:outerShdw>
                </a:effectLst>
                <a:uLnTx/>
                <a:uFillTx/>
                <a:latin typeface="OPPOSans B" panose="00020600040101010101" pitchFamily="18" charset="-122"/>
                <a:ea typeface="OPPOSans B" panose="00020600040101010101" pitchFamily="18" charset="-122"/>
                <a:cs typeface="OPPOSans B" panose="00020600040101010101" pitchFamily="18" charset="-122"/>
              </a:rPr>
              <a:t>HR</a:t>
            </a:r>
            <a:r>
              <a:rPr kumimoji="0" lang="zh-CN" altLang="en-US" sz="2800" b="0" i="0" u="none" strike="noStrike" kern="1200" cap="none" spc="52" normalizeH="0" baseline="0" noProof="0" dirty="0">
                <a:ln>
                  <a:noFill/>
                </a:ln>
                <a:solidFill>
                  <a:srgbClr val="FFFFFF"/>
                </a:solidFill>
                <a:effectLst>
                  <a:outerShdw blurRad="152400" dist="38100" dir="5400000" algn="t" rotWithShape="0">
                    <a:srgbClr val="000000">
                      <a:alpha val="25000"/>
                    </a:srgbClr>
                  </a:outerShdw>
                </a:effectLst>
                <a:uLnTx/>
                <a:uFillTx/>
                <a:latin typeface="OPPOSans B" panose="00020600040101010101" pitchFamily="18" charset="-122"/>
                <a:ea typeface="OPPOSans B" panose="00020600040101010101" pitchFamily="18" charset="-122"/>
                <a:cs typeface="OPPOSans B" panose="00020600040101010101" pitchFamily="18" charset="-122"/>
              </a:rPr>
              <a:t>外包服务</a:t>
            </a:r>
            <a:endParaRPr kumimoji="0" lang="zh-CN" altLang="en-US" sz="1000" b="0" i="0" u="none" strike="noStrike" kern="1200" cap="none" spc="0" normalizeH="0" baseline="0" noProof="0" dirty="0">
              <a:ln>
                <a:noFill/>
              </a:ln>
              <a:solidFill>
                <a:srgbClr val="000000"/>
              </a:solidFill>
              <a:effectLst>
                <a:outerShdw blurRad="152400" dist="38100" dir="5400000" algn="t" rotWithShape="0">
                  <a:srgbClr val="000000">
                    <a:alpha val="25000"/>
                  </a:srgbClr>
                </a:outerShdw>
              </a:effectLst>
              <a:uLnTx/>
              <a:uFillTx/>
              <a:latin typeface="OPPOSans B" panose="00020600040101010101" pitchFamily="18" charset="-122"/>
              <a:ea typeface="OPPOSans B" panose="00020600040101010101" pitchFamily="18" charset="-122"/>
              <a:cs typeface="OPPOSans B" panose="00020600040101010101" pitchFamily="18" charset="-122"/>
            </a:endParaRPr>
          </a:p>
        </p:txBody>
      </p:sp>
      <p:grpSp>
        <p:nvGrpSpPr>
          <p:cNvPr id="71" name="组合 70">
            <a:extLst>
              <a:ext uri="{FF2B5EF4-FFF2-40B4-BE49-F238E27FC236}">
                <a16:creationId xmlns:a16="http://schemas.microsoft.com/office/drawing/2014/main" id="{FF966861-7C43-4B9A-9DCB-AE1F33DD918F}"/>
              </a:ext>
            </a:extLst>
          </p:cNvPr>
          <p:cNvGrpSpPr>
            <a:grpSpLocks/>
          </p:cNvGrpSpPr>
          <p:nvPr/>
        </p:nvGrpSpPr>
        <p:grpSpPr>
          <a:xfrm>
            <a:off x="8204200" y="1816100"/>
            <a:ext cx="1682750" cy="1676400"/>
            <a:chOff x="4884535" y="1412240"/>
            <a:chExt cx="2458720" cy="2458720"/>
          </a:xfrm>
          <a:effectLst>
            <a:outerShdw blurRad="330200" dist="406400" dir="5400000" sx="90000" sy="90000" algn="t" rotWithShape="0">
              <a:schemeClr val="accent2">
                <a:lumMod val="50000"/>
                <a:alpha val="25000"/>
              </a:schemeClr>
            </a:outerShdw>
          </a:effectLst>
        </p:grpSpPr>
        <p:sp>
          <p:nvSpPr>
            <p:cNvPr id="72" name="Oval 56_1">
              <a:extLst>
                <a:ext uri="{FF2B5EF4-FFF2-40B4-BE49-F238E27FC236}">
                  <a16:creationId xmlns:a16="http://schemas.microsoft.com/office/drawing/2014/main" id="{8E1FADBB-C3D3-4897-9573-2A9760A4B64B}"/>
                </a:ext>
              </a:extLst>
            </p:cNvPr>
            <p:cNvSpPr>
              <a:spLocks/>
            </p:cNvSpPr>
            <p:nvPr/>
          </p:nvSpPr>
          <p:spPr>
            <a:xfrm>
              <a:off x="4884535" y="1412240"/>
              <a:ext cx="2458720" cy="2458720"/>
            </a:xfrm>
            <a:prstGeom prst="ellipse">
              <a:avLst/>
            </a:prstGeom>
            <a:gradFill flip="none" rotWithShape="1">
              <a:gsLst>
                <a:gs pos="0">
                  <a:schemeClr val="accent2">
                    <a:alpha val="20000"/>
                  </a:schemeClr>
                </a:gs>
                <a:gs pos="100000">
                  <a:schemeClr val="accent2">
                    <a:lumMod val="60000"/>
                    <a:lumOff val="40000"/>
                    <a:alpha val="75000"/>
                  </a:schemeClr>
                </a:gs>
              </a:gsLst>
              <a:lin ang="540000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panose="020F0502020204030204"/>
                <a:ea typeface="微软雅黑"/>
                <a:cs typeface="+mn-cs"/>
              </a:endParaRPr>
            </a:p>
          </p:txBody>
        </p:sp>
        <p:sp>
          <p:nvSpPr>
            <p:cNvPr id="73" name="椭圆 72">
              <a:extLst>
                <a:ext uri="{FF2B5EF4-FFF2-40B4-BE49-F238E27FC236}">
                  <a16:creationId xmlns:a16="http://schemas.microsoft.com/office/drawing/2014/main" id="{6C0063F7-143C-4491-8520-688236355633}"/>
                </a:ext>
              </a:extLst>
            </p:cNvPr>
            <p:cNvSpPr>
              <a:spLocks/>
            </p:cNvSpPr>
            <p:nvPr/>
          </p:nvSpPr>
          <p:spPr>
            <a:xfrm>
              <a:off x="4988906" y="1516611"/>
              <a:ext cx="2249978" cy="2249978"/>
            </a:xfrm>
            <a:prstGeom prst="ellipse">
              <a:avLst/>
            </a:prstGeom>
            <a:gradFill flip="none" rotWithShape="1">
              <a:gsLst>
                <a:gs pos="0">
                  <a:schemeClr val="accent2"/>
                </a:gs>
                <a:gs pos="100000">
                  <a:schemeClr val="accent2">
                    <a:lumMod val="60000"/>
                    <a:lumOff val="40000"/>
                  </a:schemeClr>
                </a:gs>
              </a:gsLst>
              <a:lin ang="2700000" scaled="1"/>
              <a:tileRect/>
            </a:gradFill>
            <a:ln>
              <a:noFill/>
            </a:ln>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panose="020F0502020204030204"/>
                <a:ea typeface="微软雅黑"/>
                <a:cs typeface="+mn-cs"/>
              </a:endParaRPr>
            </a:p>
          </p:txBody>
        </p:sp>
      </p:grpSp>
      <p:sp>
        <p:nvSpPr>
          <p:cNvPr id="19" name="Object 1018">
            <a:extLst>
              <a:ext uri="{FF2B5EF4-FFF2-40B4-BE49-F238E27FC236}">
                <a16:creationId xmlns:a16="http://schemas.microsoft.com/office/drawing/2014/main" id="{6E1F85D5-B75C-47E6-B606-4826C6A04DB9}"/>
              </a:ext>
            </a:extLst>
          </p:cNvPr>
          <p:cNvSpPr txBox="1"/>
          <p:nvPr/>
        </p:nvSpPr>
        <p:spPr>
          <a:xfrm>
            <a:off x="8357530" y="2736635"/>
            <a:ext cx="1410810" cy="317750"/>
          </a:xfrm>
          <a:prstGeom prst="rect">
            <a:avLst/>
          </a:prstGeom>
        </p:spPr>
        <p:txBody>
          <a:bodyPr vert="horz" lIns="0" tIns="0" rIns="0" bIns="0" rtlCol="0" anchor="t"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2000" b="0" i="0" u="none" strike="noStrike" kern="1200" cap="none" spc="42" normalizeH="0" baseline="0" noProof="0" dirty="0">
                <a:ln>
                  <a:noFill/>
                </a:ln>
                <a:solidFill>
                  <a:srgbClr val="FFFFFF"/>
                </a:solidFill>
                <a:effectLst>
                  <a:outerShdw blurRad="152400" dist="38100" dir="5400000" algn="t" rotWithShape="0">
                    <a:srgbClr val="000000">
                      <a:alpha val="25000"/>
                    </a:srgbClr>
                  </a:outerShdw>
                </a:effectLst>
                <a:uLnTx/>
                <a:uFillTx/>
                <a:latin typeface="OPPOSans B" panose="00020600040101010101" pitchFamily="18" charset="-122"/>
                <a:ea typeface="OPPOSans B" panose="00020600040101010101" pitchFamily="18" charset="-122"/>
                <a:cs typeface="OPPOSans B" panose="00020600040101010101" pitchFamily="18" charset="-122"/>
              </a:rPr>
              <a:t>人事外包</a:t>
            </a:r>
            <a:endParaRPr kumimoji="0" lang="zh-CN" altLang="en-US" sz="1000" b="0" i="0" u="none" strike="noStrike" kern="1200" cap="none" spc="0" normalizeH="0" baseline="0" noProof="0">
              <a:ln>
                <a:noFill/>
              </a:ln>
              <a:solidFill>
                <a:srgbClr val="000000"/>
              </a:solidFill>
              <a:effectLst>
                <a:outerShdw blurRad="152400" dist="38100" dir="5400000" algn="t" rotWithShape="0">
                  <a:srgbClr val="000000">
                    <a:alpha val="25000"/>
                  </a:srgbClr>
                </a:outerShdw>
              </a:effectLst>
              <a:uLnTx/>
              <a:uFillTx/>
              <a:latin typeface="OPPOSans B" panose="00020600040101010101" pitchFamily="18" charset="-122"/>
              <a:ea typeface="OPPOSans B" panose="00020600040101010101" pitchFamily="18" charset="-122"/>
              <a:cs typeface="OPPOSans B" panose="00020600040101010101" pitchFamily="18" charset="-122"/>
            </a:endParaRPr>
          </a:p>
        </p:txBody>
      </p:sp>
      <p:grpSp>
        <p:nvGrpSpPr>
          <p:cNvPr id="68" name="组合 67">
            <a:extLst>
              <a:ext uri="{FF2B5EF4-FFF2-40B4-BE49-F238E27FC236}">
                <a16:creationId xmlns:a16="http://schemas.microsoft.com/office/drawing/2014/main" id="{49E2E389-0F30-4B8A-BE9E-5C9776901C13}"/>
              </a:ext>
            </a:extLst>
          </p:cNvPr>
          <p:cNvGrpSpPr>
            <a:grpSpLocks/>
          </p:cNvGrpSpPr>
          <p:nvPr/>
        </p:nvGrpSpPr>
        <p:grpSpPr>
          <a:xfrm>
            <a:off x="2298700" y="1816100"/>
            <a:ext cx="1682750" cy="1676400"/>
            <a:chOff x="4884535" y="1412240"/>
            <a:chExt cx="2458720" cy="2458720"/>
          </a:xfrm>
          <a:effectLst>
            <a:outerShdw blurRad="330200" dist="406400" dir="5400000" sx="90000" sy="90000" algn="t" rotWithShape="0">
              <a:schemeClr val="accent2">
                <a:lumMod val="50000"/>
                <a:alpha val="25000"/>
              </a:schemeClr>
            </a:outerShdw>
          </a:effectLst>
        </p:grpSpPr>
        <p:sp>
          <p:nvSpPr>
            <p:cNvPr id="69" name="Oval 56_1">
              <a:extLst>
                <a:ext uri="{FF2B5EF4-FFF2-40B4-BE49-F238E27FC236}">
                  <a16:creationId xmlns:a16="http://schemas.microsoft.com/office/drawing/2014/main" id="{F91FF924-BCF7-4114-99C6-C25E2FF7AFFB}"/>
                </a:ext>
              </a:extLst>
            </p:cNvPr>
            <p:cNvSpPr>
              <a:spLocks/>
            </p:cNvSpPr>
            <p:nvPr/>
          </p:nvSpPr>
          <p:spPr>
            <a:xfrm>
              <a:off x="4884535" y="1412240"/>
              <a:ext cx="2458720" cy="2458720"/>
            </a:xfrm>
            <a:prstGeom prst="ellipse">
              <a:avLst/>
            </a:prstGeom>
            <a:gradFill flip="none" rotWithShape="1">
              <a:gsLst>
                <a:gs pos="0">
                  <a:schemeClr val="accent2">
                    <a:alpha val="20000"/>
                  </a:schemeClr>
                </a:gs>
                <a:gs pos="100000">
                  <a:schemeClr val="accent2">
                    <a:lumMod val="60000"/>
                    <a:lumOff val="40000"/>
                    <a:alpha val="75000"/>
                  </a:schemeClr>
                </a:gs>
              </a:gsLst>
              <a:lin ang="540000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srgbClr val="000000"/>
                </a:solidFill>
                <a:effectLst/>
                <a:uLnTx/>
                <a:uFillTx/>
                <a:latin typeface="Arial" panose="020F0502020204030204"/>
                <a:ea typeface="微软雅黑"/>
                <a:cs typeface="+mn-cs"/>
              </a:endParaRPr>
            </a:p>
          </p:txBody>
        </p:sp>
        <p:sp>
          <p:nvSpPr>
            <p:cNvPr id="70" name="椭圆 69">
              <a:extLst>
                <a:ext uri="{FF2B5EF4-FFF2-40B4-BE49-F238E27FC236}">
                  <a16:creationId xmlns:a16="http://schemas.microsoft.com/office/drawing/2014/main" id="{350951AA-EC94-4C45-8516-B2621E3C6FBC}"/>
                </a:ext>
              </a:extLst>
            </p:cNvPr>
            <p:cNvSpPr>
              <a:spLocks/>
            </p:cNvSpPr>
            <p:nvPr/>
          </p:nvSpPr>
          <p:spPr>
            <a:xfrm>
              <a:off x="4988906" y="1516611"/>
              <a:ext cx="2249978" cy="2249978"/>
            </a:xfrm>
            <a:prstGeom prst="ellipse">
              <a:avLst/>
            </a:prstGeom>
            <a:gradFill flip="none" rotWithShape="1">
              <a:gsLst>
                <a:gs pos="0">
                  <a:schemeClr val="accent2"/>
                </a:gs>
                <a:gs pos="100000">
                  <a:schemeClr val="accent2">
                    <a:lumMod val="60000"/>
                    <a:lumOff val="40000"/>
                  </a:schemeClr>
                </a:gs>
              </a:gsLst>
              <a:lin ang="2700000" scaled="1"/>
              <a:tileRect/>
            </a:gradFill>
            <a:ln>
              <a:noFill/>
            </a:ln>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panose="020F0502020204030204"/>
                <a:ea typeface="微软雅黑"/>
                <a:cs typeface="+mn-cs"/>
              </a:endParaRPr>
            </a:p>
          </p:txBody>
        </p:sp>
      </p:grpSp>
      <p:sp>
        <p:nvSpPr>
          <p:cNvPr id="24" name="Object 1023">
            <a:extLst>
              <a:ext uri="{FF2B5EF4-FFF2-40B4-BE49-F238E27FC236}">
                <a16:creationId xmlns:a16="http://schemas.microsoft.com/office/drawing/2014/main" id="{9B99EADA-E87B-4054-839F-367C7681CCAE}"/>
              </a:ext>
            </a:extLst>
          </p:cNvPr>
          <p:cNvSpPr txBox="1"/>
          <p:nvPr/>
        </p:nvSpPr>
        <p:spPr>
          <a:xfrm>
            <a:off x="2452030" y="2736635"/>
            <a:ext cx="1410810" cy="317750"/>
          </a:xfrm>
          <a:prstGeom prst="rect">
            <a:avLst/>
          </a:prstGeom>
        </p:spPr>
        <p:txBody>
          <a:bodyPr vert="horz" lIns="0" tIns="0" rIns="0" bIns="0" rtlCol="0" anchor="t"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2000" b="0" i="0" u="none" strike="noStrike" kern="1200" cap="none" spc="42" normalizeH="0" baseline="0" noProof="0" dirty="0">
                <a:ln>
                  <a:noFill/>
                </a:ln>
                <a:solidFill>
                  <a:srgbClr val="FFFFFF"/>
                </a:solidFill>
                <a:effectLst>
                  <a:outerShdw blurRad="152400" dist="38100" dir="5400000" algn="t" rotWithShape="0">
                    <a:srgbClr val="000000">
                      <a:alpha val="25000"/>
                    </a:srgbClr>
                  </a:outerShdw>
                </a:effectLst>
                <a:uLnTx/>
                <a:uFillTx/>
                <a:latin typeface="OPPOSans B" panose="00020600040101010101" pitchFamily="18" charset="-122"/>
                <a:ea typeface="OPPOSans B" panose="00020600040101010101" pitchFamily="18" charset="-122"/>
                <a:cs typeface="OPPOSans B" panose="00020600040101010101" pitchFamily="18" charset="-122"/>
              </a:rPr>
              <a:t>人事系统</a:t>
            </a:r>
            <a:endParaRPr kumimoji="0" lang="zh-CN" altLang="en-US" sz="1000" b="0" i="0" u="none" strike="noStrike" kern="1200" cap="none" spc="0" normalizeH="0" baseline="0" noProof="0" dirty="0">
              <a:ln>
                <a:noFill/>
              </a:ln>
              <a:solidFill>
                <a:srgbClr val="000000"/>
              </a:solidFill>
              <a:effectLst>
                <a:outerShdw blurRad="152400" dist="38100" dir="5400000" algn="t" rotWithShape="0">
                  <a:srgbClr val="000000">
                    <a:alpha val="25000"/>
                  </a:srgbClr>
                </a:outerShdw>
              </a:effectLst>
              <a:uLnTx/>
              <a:uFillTx/>
              <a:latin typeface="OPPOSans B" panose="00020600040101010101" pitchFamily="18" charset="-122"/>
              <a:ea typeface="OPPOSans B" panose="00020600040101010101" pitchFamily="18" charset="-122"/>
              <a:cs typeface="OPPOSans B" panose="00020600040101010101" pitchFamily="18" charset="-122"/>
            </a:endParaRPr>
          </a:p>
        </p:txBody>
      </p:sp>
      <p:grpSp>
        <p:nvGrpSpPr>
          <p:cNvPr id="127" name="组合 126">
            <a:extLst>
              <a:ext uri="{FF2B5EF4-FFF2-40B4-BE49-F238E27FC236}">
                <a16:creationId xmlns:a16="http://schemas.microsoft.com/office/drawing/2014/main" id="{B40DC86F-E6F3-4EF5-B70F-9412603CC7DD}"/>
              </a:ext>
            </a:extLst>
          </p:cNvPr>
          <p:cNvGrpSpPr/>
          <p:nvPr/>
        </p:nvGrpSpPr>
        <p:grpSpPr>
          <a:xfrm flipH="1">
            <a:off x="4147831" y="2535718"/>
            <a:ext cx="551435" cy="237164"/>
            <a:chOff x="2870724" y="-1593487"/>
            <a:chExt cx="723048" cy="310972"/>
          </a:xfrm>
          <a:gradFill flip="none" rotWithShape="1">
            <a:gsLst>
              <a:gs pos="0">
                <a:schemeClr val="accent1">
                  <a:lumMod val="20000"/>
                  <a:lumOff val="80000"/>
                  <a:alpha val="15000"/>
                </a:schemeClr>
              </a:gs>
              <a:gs pos="100000">
                <a:schemeClr val="accent1">
                  <a:lumMod val="60000"/>
                  <a:lumOff val="40000"/>
                  <a:alpha val="75000"/>
                </a:schemeClr>
              </a:gs>
            </a:gsLst>
            <a:lin ang="0" scaled="1"/>
            <a:tileRect/>
          </a:gradFill>
        </p:grpSpPr>
        <p:sp>
          <p:nvSpPr>
            <p:cNvPr id="114" name="箭头: V 形 113">
              <a:extLst>
                <a:ext uri="{FF2B5EF4-FFF2-40B4-BE49-F238E27FC236}">
                  <a16:creationId xmlns:a16="http://schemas.microsoft.com/office/drawing/2014/main" id="{2523C224-DD9E-448F-A91D-EB1AC68B9BB7}"/>
                </a:ext>
              </a:extLst>
            </p:cNvPr>
            <p:cNvSpPr/>
            <p:nvPr/>
          </p:nvSpPr>
          <p:spPr>
            <a:xfrm>
              <a:off x="2870724" y="-1593487"/>
              <a:ext cx="303584" cy="310972"/>
            </a:xfrm>
            <a:prstGeom prst="chevron">
              <a:avLst/>
            </a:prstGeom>
            <a:grp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panose="020F0502020204030204"/>
                <a:ea typeface="微软雅黑"/>
                <a:cs typeface="+mn-cs"/>
              </a:endParaRPr>
            </a:p>
          </p:txBody>
        </p:sp>
        <p:sp>
          <p:nvSpPr>
            <p:cNvPr id="115" name="箭头: V 形 114">
              <a:extLst>
                <a:ext uri="{FF2B5EF4-FFF2-40B4-BE49-F238E27FC236}">
                  <a16:creationId xmlns:a16="http://schemas.microsoft.com/office/drawing/2014/main" id="{287DC5CC-3054-4CA0-81B9-AB5C422DFABB}"/>
                </a:ext>
              </a:extLst>
            </p:cNvPr>
            <p:cNvSpPr/>
            <p:nvPr/>
          </p:nvSpPr>
          <p:spPr>
            <a:xfrm>
              <a:off x="3080455" y="-1593487"/>
              <a:ext cx="303584" cy="310972"/>
            </a:xfrm>
            <a:prstGeom prst="chevron">
              <a:avLst/>
            </a:prstGeom>
            <a:grp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panose="020F0502020204030204"/>
                <a:ea typeface="微软雅黑"/>
                <a:cs typeface="+mn-cs"/>
              </a:endParaRPr>
            </a:p>
          </p:txBody>
        </p:sp>
        <p:sp>
          <p:nvSpPr>
            <p:cNvPr id="116" name="箭头: V 形 115">
              <a:extLst>
                <a:ext uri="{FF2B5EF4-FFF2-40B4-BE49-F238E27FC236}">
                  <a16:creationId xmlns:a16="http://schemas.microsoft.com/office/drawing/2014/main" id="{EA78BEEF-F6C9-42B8-8EA3-BDA451E18220}"/>
                </a:ext>
              </a:extLst>
            </p:cNvPr>
            <p:cNvSpPr/>
            <p:nvPr/>
          </p:nvSpPr>
          <p:spPr>
            <a:xfrm>
              <a:off x="3290188" y="-1593487"/>
              <a:ext cx="303584" cy="310972"/>
            </a:xfrm>
            <a:prstGeom prst="chevron">
              <a:avLst/>
            </a:prstGeom>
            <a:grp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panose="020F0502020204030204"/>
                <a:ea typeface="微软雅黑"/>
                <a:cs typeface="+mn-cs"/>
              </a:endParaRPr>
            </a:p>
          </p:txBody>
        </p:sp>
      </p:grpSp>
      <p:grpSp>
        <p:nvGrpSpPr>
          <p:cNvPr id="132" name="组合 131">
            <a:extLst>
              <a:ext uri="{FF2B5EF4-FFF2-40B4-BE49-F238E27FC236}">
                <a16:creationId xmlns:a16="http://schemas.microsoft.com/office/drawing/2014/main" id="{D274FB4D-5557-48DD-A6EF-7A448286D465}"/>
              </a:ext>
            </a:extLst>
          </p:cNvPr>
          <p:cNvGrpSpPr/>
          <p:nvPr/>
        </p:nvGrpSpPr>
        <p:grpSpPr>
          <a:xfrm>
            <a:off x="7510080" y="2535718"/>
            <a:ext cx="551435" cy="237164"/>
            <a:chOff x="2870724" y="-1593487"/>
            <a:chExt cx="723048" cy="310972"/>
          </a:xfrm>
          <a:gradFill flip="none" rotWithShape="1">
            <a:gsLst>
              <a:gs pos="3000">
                <a:schemeClr val="accent1">
                  <a:lumMod val="20000"/>
                  <a:lumOff val="80000"/>
                  <a:alpha val="15000"/>
                </a:schemeClr>
              </a:gs>
              <a:gs pos="100000">
                <a:schemeClr val="accent1">
                  <a:lumMod val="60000"/>
                  <a:lumOff val="40000"/>
                  <a:alpha val="75000"/>
                </a:schemeClr>
              </a:gs>
            </a:gsLst>
            <a:lin ang="0" scaled="1"/>
            <a:tileRect/>
          </a:gradFill>
        </p:grpSpPr>
        <p:sp>
          <p:nvSpPr>
            <p:cNvPr id="133" name="箭头: V 形 132">
              <a:extLst>
                <a:ext uri="{FF2B5EF4-FFF2-40B4-BE49-F238E27FC236}">
                  <a16:creationId xmlns:a16="http://schemas.microsoft.com/office/drawing/2014/main" id="{D4387B77-1BAA-4322-9B79-C85E98F9FA5D}"/>
                </a:ext>
              </a:extLst>
            </p:cNvPr>
            <p:cNvSpPr/>
            <p:nvPr/>
          </p:nvSpPr>
          <p:spPr>
            <a:xfrm>
              <a:off x="2870724" y="-1593487"/>
              <a:ext cx="303584" cy="310972"/>
            </a:xfrm>
            <a:prstGeom prst="chevron">
              <a:avLst/>
            </a:prstGeom>
            <a:grp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panose="020F0502020204030204"/>
                <a:ea typeface="微软雅黑"/>
                <a:cs typeface="+mn-cs"/>
              </a:endParaRPr>
            </a:p>
          </p:txBody>
        </p:sp>
        <p:sp>
          <p:nvSpPr>
            <p:cNvPr id="134" name="箭头: V 形 133">
              <a:extLst>
                <a:ext uri="{FF2B5EF4-FFF2-40B4-BE49-F238E27FC236}">
                  <a16:creationId xmlns:a16="http://schemas.microsoft.com/office/drawing/2014/main" id="{BC39C07A-AE21-43E4-A78B-123AAF820DA3}"/>
                </a:ext>
              </a:extLst>
            </p:cNvPr>
            <p:cNvSpPr/>
            <p:nvPr/>
          </p:nvSpPr>
          <p:spPr>
            <a:xfrm>
              <a:off x="3080455" y="-1593487"/>
              <a:ext cx="303584" cy="310972"/>
            </a:xfrm>
            <a:prstGeom prst="chevron">
              <a:avLst/>
            </a:prstGeom>
            <a:grp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panose="020F0502020204030204"/>
                <a:ea typeface="微软雅黑"/>
                <a:cs typeface="+mn-cs"/>
              </a:endParaRPr>
            </a:p>
          </p:txBody>
        </p:sp>
        <p:sp>
          <p:nvSpPr>
            <p:cNvPr id="135" name="箭头: V 形 134">
              <a:extLst>
                <a:ext uri="{FF2B5EF4-FFF2-40B4-BE49-F238E27FC236}">
                  <a16:creationId xmlns:a16="http://schemas.microsoft.com/office/drawing/2014/main" id="{4DEC28FD-DBEC-4091-BF4B-27E64B9661CF}"/>
                </a:ext>
              </a:extLst>
            </p:cNvPr>
            <p:cNvSpPr/>
            <p:nvPr/>
          </p:nvSpPr>
          <p:spPr>
            <a:xfrm>
              <a:off x="3290188" y="-1593487"/>
              <a:ext cx="303584" cy="310972"/>
            </a:xfrm>
            <a:prstGeom prst="chevron">
              <a:avLst/>
            </a:prstGeom>
            <a:grp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panose="020F0502020204030204"/>
                <a:ea typeface="微软雅黑"/>
                <a:cs typeface="+mn-cs"/>
              </a:endParaRPr>
            </a:p>
          </p:txBody>
        </p:sp>
      </p:grpSp>
      <p:sp>
        <p:nvSpPr>
          <p:cNvPr id="182" name="任意多边形: 形状 181">
            <a:extLst>
              <a:ext uri="{FF2B5EF4-FFF2-40B4-BE49-F238E27FC236}">
                <a16:creationId xmlns:a16="http://schemas.microsoft.com/office/drawing/2014/main" id="{9E9EFDBF-37C1-4409-943D-9CFFBD6107C3}"/>
              </a:ext>
            </a:extLst>
          </p:cNvPr>
          <p:cNvSpPr/>
          <p:nvPr/>
        </p:nvSpPr>
        <p:spPr>
          <a:xfrm>
            <a:off x="7387004" y="5318836"/>
            <a:ext cx="472342" cy="442820"/>
          </a:xfrm>
          <a:custGeom>
            <a:avLst/>
            <a:gdLst>
              <a:gd name="connsiteX0" fmla="*/ 248081 w 304800"/>
              <a:gd name="connsiteY0" fmla="*/ 190651 h 285750"/>
              <a:gd name="connsiteX1" fmla="*/ 267131 w 304800"/>
              <a:gd name="connsiteY1" fmla="*/ 190651 h 285750"/>
              <a:gd name="connsiteX2" fmla="*/ 267131 w 304800"/>
              <a:gd name="connsiteY2" fmla="*/ 209701 h 285750"/>
              <a:gd name="connsiteX3" fmla="*/ 248081 w 304800"/>
              <a:gd name="connsiteY3" fmla="*/ 209701 h 285750"/>
              <a:gd name="connsiteX4" fmla="*/ 38531 w 304800"/>
              <a:gd name="connsiteY4" fmla="*/ 190651 h 285750"/>
              <a:gd name="connsiteX5" fmla="*/ 57581 w 304800"/>
              <a:gd name="connsiteY5" fmla="*/ 190651 h 285750"/>
              <a:gd name="connsiteX6" fmla="*/ 57581 w 304800"/>
              <a:gd name="connsiteY6" fmla="*/ 209701 h 285750"/>
              <a:gd name="connsiteX7" fmla="*/ 38531 w 304800"/>
              <a:gd name="connsiteY7" fmla="*/ 209701 h 285750"/>
              <a:gd name="connsiteX8" fmla="*/ 152305 w 304800"/>
              <a:gd name="connsiteY8" fmla="*/ 142875 h 285750"/>
              <a:gd name="connsiteX9" fmla="*/ 161830 w 304800"/>
              <a:gd name="connsiteY9" fmla="*/ 152400 h 285750"/>
              <a:gd name="connsiteX10" fmla="*/ 161830 w 304800"/>
              <a:gd name="connsiteY10" fmla="*/ 153829 h 285750"/>
              <a:gd name="connsiteX11" fmla="*/ 180308 w 304800"/>
              <a:gd name="connsiteY11" fmla="*/ 170879 h 285750"/>
              <a:gd name="connsiteX12" fmla="*/ 174783 w 304800"/>
              <a:gd name="connsiteY12" fmla="*/ 183166 h 285750"/>
              <a:gd name="connsiteX13" fmla="*/ 162496 w 304800"/>
              <a:gd name="connsiteY13" fmla="*/ 177641 h 285750"/>
              <a:gd name="connsiteX14" fmla="*/ 161430 w 304800"/>
              <a:gd name="connsiteY14" fmla="*/ 176032 h 285750"/>
              <a:gd name="connsiteX15" fmla="*/ 145637 w 304800"/>
              <a:gd name="connsiteY15" fmla="*/ 174212 h 285750"/>
              <a:gd name="connsiteX16" fmla="*/ 142780 w 304800"/>
              <a:gd name="connsiteY16" fmla="*/ 180308 h 285750"/>
              <a:gd name="connsiteX17" fmla="*/ 155829 w 304800"/>
              <a:gd name="connsiteY17" fmla="*/ 191262 h 285750"/>
              <a:gd name="connsiteX18" fmla="*/ 180880 w 304800"/>
              <a:gd name="connsiteY18" fmla="*/ 219837 h 285750"/>
              <a:gd name="connsiteX19" fmla="*/ 171355 w 304800"/>
              <a:gd name="connsiteY19" fmla="*/ 240030 h 285750"/>
              <a:gd name="connsiteX20" fmla="*/ 161830 w 304800"/>
              <a:gd name="connsiteY20" fmla="*/ 245840 h 285750"/>
              <a:gd name="connsiteX21" fmla="*/ 161830 w 304800"/>
              <a:gd name="connsiteY21" fmla="*/ 247650 h 285750"/>
              <a:gd name="connsiteX22" fmla="*/ 152305 w 304800"/>
              <a:gd name="connsiteY22" fmla="*/ 257175 h 285750"/>
              <a:gd name="connsiteX23" fmla="*/ 142780 w 304800"/>
              <a:gd name="connsiteY23" fmla="*/ 247650 h 285750"/>
              <a:gd name="connsiteX24" fmla="*/ 142780 w 304800"/>
              <a:gd name="connsiteY24" fmla="*/ 246317 h 285750"/>
              <a:gd name="connsiteX25" fmla="*/ 124396 w 304800"/>
              <a:gd name="connsiteY25" fmla="*/ 229267 h 285750"/>
              <a:gd name="connsiteX26" fmla="*/ 129921 w 304800"/>
              <a:gd name="connsiteY26" fmla="*/ 216979 h 285750"/>
              <a:gd name="connsiteX27" fmla="*/ 142208 w 304800"/>
              <a:gd name="connsiteY27" fmla="*/ 222504 h 285750"/>
              <a:gd name="connsiteX28" fmla="*/ 143275 w 304800"/>
              <a:gd name="connsiteY28" fmla="*/ 224114 h 285750"/>
              <a:gd name="connsiteX29" fmla="*/ 159068 w 304800"/>
              <a:gd name="connsiteY29" fmla="*/ 225933 h 285750"/>
              <a:gd name="connsiteX30" fmla="*/ 161830 w 304800"/>
              <a:gd name="connsiteY30" fmla="*/ 219837 h 285750"/>
              <a:gd name="connsiteX31" fmla="*/ 148876 w 304800"/>
              <a:gd name="connsiteY31" fmla="*/ 208883 h 285750"/>
              <a:gd name="connsiteX32" fmla="*/ 123730 w 304800"/>
              <a:gd name="connsiteY32" fmla="*/ 180213 h 285750"/>
              <a:gd name="connsiteX33" fmla="*/ 133255 w 304800"/>
              <a:gd name="connsiteY33" fmla="*/ 160020 h 285750"/>
              <a:gd name="connsiteX34" fmla="*/ 142780 w 304800"/>
              <a:gd name="connsiteY34" fmla="*/ 154210 h 285750"/>
              <a:gd name="connsiteX35" fmla="*/ 142780 w 304800"/>
              <a:gd name="connsiteY35" fmla="*/ 152400 h 285750"/>
              <a:gd name="connsiteX36" fmla="*/ 152305 w 304800"/>
              <a:gd name="connsiteY36" fmla="*/ 142875 h 285750"/>
              <a:gd name="connsiteX37" fmla="*/ 152400 w 304800"/>
              <a:gd name="connsiteY37" fmla="*/ 133350 h 285750"/>
              <a:gd name="connsiteX38" fmla="*/ 95250 w 304800"/>
              <a:gd name="connsiteY38" fmla="*/ 200025 h 285750"/>
              <a:gd name="connsiteX39" fmla="*/ 152400 w 304800"/>
              <a:gd name="connsiteY39" fmla="*/ 266700 h 285750"/>
              <a:gd name="connsiteX40" fmla="*/ 209550 w 304800"/>
              <a:gd name="connsiteY40" fmla="*/ 200025 h 285750"/>
              <a:gd name="connsiteX41" fmla="*/ 152400 w 304800"/>
              <a:gd name="connsiteY41" fmla="*/ 133350 h 285750"/>
              <a:gd name="connsiteX42" fmla="*/ 9525 w 304800"/>
              <a:gd name="connsiteY42" fmla="*/ 114300 h 285750"/>
              <a:gd name="connsiteX43" fmla="*/ 295275 w 304800"/>
              <a:gd name="connsiteY43" fmla="*/ 114300 h 285750"/>
              <a:gd name="connsiteX44" fmla="*/ 304800 w 304800"/>
              <a:gd name="connsiteY44" fmla="*/ 123825 h 285750"/>
              <a:gd name="connsiteX45" fmla="*/ 304800 w 304800"/>
              <a:gd name="connsiteY45" fmla="*/ 276225 h 285750"/>
              <a:gd name="connsiteX46" fmla="*/ 295275 w 304800"/>
              <a:gd name="connsiteY46" fmla="*/ 285750 h 285750"/>
              <a:gd name="connsiteX47" fmla="*/ 238125 w 304800"/>
              <a:gd name="connsiteY47" fmla="*/ 285750 h 285750"/>
              <a:gd name="connsiteX48" fmla="*/ 228600 w 304800"/>
              <a:gd name="connsiteY48" fmla="*/ 276225 h 285750"/>
              <a:gd name="connsiteX49" fmla="*/ 238125 w 304800"/>
              <a:gd name="connsiteY49" fmla="*/ 266700 h 285750"/>
              <a:gd name="connsiteX50" fmla="*/ 285750 w 304800"/>
              <a:gd name="connsiteY50" fmla="*/ 266700 h 285750"/>
              <a:gd name="connsiteX51" fmla="*/ 285750 w 304800"/>
              <a:gd name="connsiteY51" fmla="*/ 133350 h 285750"/>
              <a:gd name="connsiteX52" fmla="*/ 200025 w 304800"/>
              <a:gd name="connsiteY52" fmla="*/ 133350 h 285750"/>
              <a:gd name="connsiteX53" fmla="*/ 228600 w 304800"/>
              <a:gd name="connsiteY53" fmla="*/ 200025 h 285750"/>
              <a:gd name="connsiteX54" fmla="*/ 152400 w 304800"/>
              <a:gd name="connsiteY54" fmla="*/ 285750 h 285750"/>
              <a:gd name="connsiteX55" fmla="*/ 76200 w 304800"/>
              <a:gd name="connsiteY55" fmla="*/ 200025 h 285750"/>
              <a:gd name="connsiteX56" fmla="*/ 104775 w 304800"/>
              <a:gd name="connsiteY56" fmla="*/ 133350 h 285750"/>
              <a:gd name="connsiteX57" fmla="*/ 19050 w 304800"/>
              <a:gd name="connsiteY57" fmla="*/ 133350 h 285750"/>
              <a:gd name="connsiteX58" fmla="*/ 19050 w 304800"/>
              <a:gd name="connsiteY58" fmla="*/ 266700 h 285750"/>
              <a:gd name="connsiteX59" fmla="*/ 66675 w 304800"/>
              <a:gd name="connsiteY59" fmla="*/ 266700 h 285750"/>
              <a:gd name="connsiteX60" fmla="*/ 76200 w 304800"/>
              <a:gd name="connsiteY60" fmla="*/ 276225 h 285750"/>
              <a:gd name="connsiteX61" fmla="*/ 66675 w 304800"/>
              <a:gd name="connsiteY61" fmla="*/ 285750 h 285750"/>
              <a:gd name="connsiteX62" fmla="*/ 9525 w 304800"/>
              <a:gd name="connsiteY62" fmla="*/ 285750 h 285750"/>
              <a:gd name="connsiteX63" fmla="*/ 0 w 304800"/>
              <a:gd name="connsiteY63" fmla="*/ 276225 h 285750"/>
              <a:gd name="connsiteX64" fmla="*/ 0 w 304800"/>
              <a:gd name="connsiteY64" fmla="*/ 123825 h 285750"/>
              <a:gd name="connsiteX65" fmla="*/ 9525 w 304800"/>
              <a:gd name="connsiteY65" fmla="*/ 114300 h 285750"/>
              <a:gd name="connsiteX66" fmla="*/ 9525 w 304800"/>
              <a:gd name="connsiteY66" fmla="*/ 57150 h 285750"/>
              <a:gd name="connsiteX67" fmla="*/ 295275 w 304800"/>
              <a:gd name="connsiteY67" fmla="*/ 57150 h 285750"/>
              <a:gd name="connsiteX68" fmla="*/ 304800 w 304800"/>
              <a:gd name="connsiteY68" fmla="*/ 66675 h 285750"/>
              <a:gd name="connsiteX69" fmla="*/ 304800 w 304800"/>
              <a:gd name="connsiteY69" fmla="*/ 95250 h 285750"/>
              <a:gd name="connsiteX70" fmla="*/ 295275 w 304800"/>
              <a:gd name="connsiteY70" fmla="*/ 104775 h 285750"/>
              <a:gd name="connsiteX71" fmla="*/ 285750 w 304800"/>
              <a:gd name="connsiteY71" fmla="*/ 95250 h 285750"/>
              <a:gd name="connsiteX72" fmla="*/ 285750 w 304800"/>
              <a:gd name="connsiteY72" fmla="*/ 76200 h 285750"/>
              <a:gd name="connsiteX73" fmla="*/ 200596 w 304800"/>
              <a:gd name="connsiteY73" fmla="*/ 76200 h 285750"/>
              <a:gd name="connsiteX74" fmla="*/ 212598 w 304800"/>
              <a:gd name="connsiteY74" fmla="*/ 89725 h 285750"/>
              <a:gd name="connsiteX75" fmla="*/ 212645 w 304800"/>
              <a:gd name="connsiteY75" fmla="*/ 89792 h 285750"/>
              <a:gd name="connsiteX76" fmla="*/ 210312 w 304800"/>
              <a:gd name="connsiteY76" fmla="*/ 103061 h 285750"/>
              <a:gd name="connsiteX77" fmla="*/ 204787 w 304800"/>
              <a:gd name="connsiteY77" fmla="*/ 104775 h 285750"/>
              <a:gd name="connsiteX78" fmla="*/ 197072 w 304800"/>
              <a:gd name="connsiteY78" fmla="*/ 100775 h 285750"/>
              <a:gd name="connsiteX79" fmla="*/ 180612 w 304800"/>
              <a:gd name="connsiteY79" fmla="*/ 84315 h 285750"/>
              <a:gd name="connsiteX80" fmla="*/ 107823 w 304800"/>
              <a:gd name="connsiteY80" fmla="*/ 100775 h 285750"/>
              <a:gd name="connsiteX81" fmla="*/ 94535 w 304800"/>
              <a:gd name="connsiteY81" fmla="*/ 103013 h 285750"/>
              <a:gd name="connsiteX82" fmla="*/ 92297 w 304800"/>
              <a:gd name="connsiteY82" fmla="*/ 89725 h 285750"/>
              <a:gd name="connsiteX83" fmla="*/ 104203 w 304800"/>
              <a:gd name="connsiteY83" fmla="*/ 76200 h 285750"/>
              <a:gd name="connsiteX84" fmla="*/ 19050 w 304800"/>
              <a:gd name="connsiteY84" fmla="*/ 76200 h 285750"/>
              <a:gd name="connsiteX85" fmla="*/ 19050 w 304800"/>
              <a:gd name="connsiteY85" fmla="*/ 95250 h 285750"/>
              <a:gd name="connsiteX86" fmla="*/ 9525 w 304800"/>
              <a:gd name="connsiteY86" fmla="*/ 104775 h 285750"/>
              <a:gd name="connsiteX87" fmla="*/ 0 w 304800"/>
              <a:gd name="connsiteY87" fmla="*/ 95250 h 285750"/>
              <a:gd name="connsiteX88" fmla="*/ 0 w 304800"/>
              <a:gd name="connsiteY88" fmla="*/ 66675 h 285750"/>
              <a:gd name="connsiteX89" fmla="*/ 9525 w 304800"/>
              <a:gd name="connsiteY89" fmla="*/ 57150 h 285750"/>
              <a:gd name="connsiteX90" fmla="*/ 9525 w 304800"/>
              <a:gd name="connsiteY90" fmla="*/ 0 h 285750"/>
              <a:gd name="connsiteX91" fmla="*/ 295275 w 304800"/>
              <a:gd name="connsiteY91" fmla="*/ 0 h 285750"/>
              <a:gd name="connsiteX92" fmla="*/ 304800 w 304800"/>
              <a:gd name="connsiteY92" fmla="*/ 9525 h 285750"/>
              <a:gd name="connsiteX93" fmla="*/ 304800 w 304800"/>
              <a:gd name="connsiteY93" fmla="*/ 38100 h 285750"/>
              <a:gd name="connsiteX94" fmla="*/ 295275 w 304800"/>
              <a:gd name="connsiteY94" fmla="*/ 47625 h 285750"/>
              <a:gd name="connsiteX95" fmla="*/ 285750 w 304800"/>
              <a:gd name="connsiteY95" fmla="*/ 38100 h 285750"/>
              <a:gd name="connsiteX96" fmla="*/ 285750 w 304800"/>
              <a:gd name="connsiteY96" fmla="*/ 19050 h 285750"/>
              <a:gd name="connsiteX97" fmla="*/ 200596 w 304800"/>
              <a:gd name="connsiteY97" fmla="*/ 19050 h 285750"/>
              <a:gd name="connsiteX98" fmla="*/ 212598 w 304800"/>
              <a:gd name="connsiteY98" fmla="*/ 32575 h 285750"/>
              <a:gd name="connsiteX99" fmla="*/ 212645 w 304800"/>
              <a:gd name="connsiteY99" fmla="*/ 32642 h 285750"/>
              <a:gd name="connsiteX100" fmla="*/ 210312 w 304800"/>
              <a:gd name="connsiteY100" fmla="*/ 45911 h 285750"/>
              <a:gd name="connsiteX101" fmla="*/ 204787 w 304800"/>
              <a:gd name="connsiteY101" fmla="*/ 47625 h 285750"/>
              <a:gd name="connsiteX102" fmla="*/ 197072 w 304800"/>
              <a:gd name="connsiteY102" fmla="*/ 43625 h 285750"/>
              <a:gd name="connsiteX103" fmla="*/ 180612 w 304800"/>
              <a:gd name="connsiteY103" fmla="*/ 27165 h 285750"/>
              <a:gd name="connsiteX104" fmla="*/ 107823 w 304800"/>
              <a:gd name="connsiteY104" fmla="*/ 43625 h 285750"/>
              <a:gd name="connsiteX105" fmla="*/ 107775 w 304800"/>
              <a:gd name="connsiteY105" fmla="*/ 43691 h 285750"/>
              <a:gd name="connsiteX106" fmla="*/ 94487 w 304800"/>
              <a:gd name="connsiteY106" fmla="*/ 45911 h 285750"/>
              <a:gd name="connsiteX107" fmla="*/ 94440 w 304800"/>
              <a:gd name="connsiteY107" fmla="*/ 45872 h 285750"/>
              <a:gd name="connsiteX108" fmla="*/ 92297 w 304800"/>
              <a:gd name="connsiteY108" fmla="*/ 32575 h 285750"/>
              <a:gd name="connsiteX109" fmla="*/ 104203 w 304800"/>
              <a:gd name="connsiteY109" fmla="*/ 19050 h 285750"/>
              <a:gd name="connsiteX110" fmla="*/ 19050 w 304800"/>
              <a:gd name="connsiteY110" fmla="*/ 19050 h 285750"/>
              <a:gd name="connsiteX111" fmla="*/ 19050 w 304800"/>
              <a:gd name="connsiteY111" fmla="*/ 38100 h 285750"/>
              <a:gd name="connsiteX112" fmla="*/ 9525 w 304800"/>
              <a:gd name="connsiteY112" fmla="*/ 47625 h 285750"/>
              <a:gd name="connsiteX113" fmla="*/ 0 w 304800"/>
              <a:gd name="connsiteY113" fmla="*/ 38100 h 285750"/>
              <a:gd name="connsiteX114" fmla="*/ 0 w 304800"/>
              <a:gd name="connsiteY114" fmla="*/ 9525 h 285750"/>
              <a:gd name="connsiteX115" fmla="*/ 9525 w 304800"/>
              <a:gd name="connsiteY115" fmla="*/ 0 h 28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Lst>
            <a:rect l="l" t="t" r="r" b="b"/>
            <a:pathLst>
              <a:path w="304800" h="285750">
                <a:moveTo>
                  <a:pt x="248081" y="190651"/>
                </a:moveTo>
                <a:lnTo>
                  <a:pt x="267131" y="190651"/>
                </a:lnTo>
                <a:lnTo>
                  <a:pt x="267131" y="209701"/>
                </a:lnTo>
                <a:lnTo>
                  <a:pt x="248081" y="209701"/>
                </a:lnTo>
                <a:close/>
                <a:moveTo>
                  <a:pt x="38531" y="190651"/>
                </a:moveTo>
                <a:lnTo>
                  <a:pt x="57581" y="190651"/>
                </a:lnTo>
                <a:lnTo>
                  <a:pt x="57581" y="209701"/>
                </a:lnTo>
                <a:lnTo>
                  <a:pt x="38531" y="209701"/>
                </a:lnTo>
                <a:close/>
                <a:moveTo>
                  <a:pt x="152305" y="142875"/>
                </a:moveTo>
                <a:cubicBezTo>
                  <a:pt x="157562" y="142875"/>
                  <a:pt x="161830" y="147142"/>
                  <a:pt x="161830" y="152400"/>
                </a:cubicBezTo>
                <a:lnTo>
                  <a:pt x="161830" y="153829"/>
                </a:lnTo>
                <a:cubicBezTo>
                  <a:pt x="170250" y="156429"/>
                  <a:pt x="177041" y="162696"/>
                  <a:pt x="180308" y="170879"/>
                </a:cubicBezTo>
                <a:cubicBezTo>
                  <a:pt x="182175" y="175793"/>
                  <a:pt x="179699" y="181299"/>
                  <a:pt x="174783" y="183166"/>
                </a:cubicBezTo>
                <a:cubicBezTo>
                  <a:pt x="169869" y="185033"/>
                  <a:pt x="164363" y="182556"/>
                  <a:pt x="162496" y="177641"/>
                </a:cubicBezTo>
                <a:cubicBezTo>
                  <a:pt x="162192" y="177070"/>
                  <a:pt x="161830" y="176536"/>
                  <a:pt x="161430" y="176032"/>
                </a:cubicBezTo>
                <a:cubicBezTo>
                  <a:pt x="157572" y="171164"/>
                  <a:pt x="150495" y="170355"/>
                  <a:pt x="145637" y="174212"/>
                </a:cubicBezTo>
                <a:cubicBezTo>
                  <a:pt x="143866" y="175746"/>
                  <a:pt x="142827" y="177965"/>
                  <a:pt x="142780" y="180308"/>
                </a:cubicBezTo>
                <a:cubicBezTo>
                  <a:pt x="142780" y="185738"/>
                  <a:pt x="152781" y="190024"/>
                  <a:pt x="155829" y="191262"/>
                </a:cubicBezTo>
                <a:cubicBezTo>
                  <a:pt x="177641" y="199739"/>
                  <a:pt x="180880" y="212788"/>
                  <a:pt x="180880" y="219837"/>
                </a:cubicBezTo>
                <a:cubicBezTo>
                  <a:pt x="180747" y="227619"/>
                  <a:pt x="177279" y="234972"/>
                  <a:pt x="171355" y="240030"/>
                </a:cubicBezTo>
                <a:cubicBezTo>
                  <a:pt x="168573" y="242545"/>
                  <a:pt x="165345" y="244516"/>
                  <a:pt x="161830" y="245840"/>
                </a:cubicBezTo>
                <a:lnTo>
                  <a:pt x="161830" y="247650"/>
                </a:lnTo>
                <a:cubicBezTo>
                  <a:pt x="161830" y="252908"/>
                  <a:pt x="157562" y="257175"/>
                  <a:pt x="152305" y="257175"/>
                </a:cubicBezTo>
                <a:cubicBezTo>
                  <a:pt x="147047" y="257175"/>
                  <a:pt x="142780" y="252908"/>
                  <a:pt x="142780" y="247650"/>
                </a:cubicBezTo>
                <a:lnTo>
                  <a:pt x="142780" y="246317"/>
                </a:lnTo>
                <a:cubicBezTo>
                  <a:pt x="134350" y="243764"/>
                  <a:pt x="127568" y="237477"/>
                  <a:pt x="124396" y="229267"/>
                </a:cubicBezTo>
                <a:cubicBezTo>
                  <a:pt x="122530" y="224342"/>
                  <a:pt x="125006" y="218846"/>
                  <a:pt x="129921" y="216979"/>
                </a:cubicBezTo>
                <a:cubicBezTo>
                  <a:pt x="134845" y="215113"/>
                  <a:pt x="140341" y="217589"/>
                  <a:pt x="142208" y="222504"/>
                </a:cubicBezTo>
                <a:cubicBezTo>
                  <a:pt x="142513" y="223075"/>
                  <a:pt x="142875" y="223609"/>
                  <a:pt x="143275" y="224114"/>
                </a:cubicBezTo>
                <a:cubicBezTo>
                  <a:pt x="147133" y="228981"/>
                  <a:pt x="154210" y="229791"/>
                  <a:pt x="159068" y="225933"/>
                </a:cubicBezTo>
                <a:cubicBezTo>
                  <a:pt x="160773" y="224361"/>
                  <a:pt x="161773" y="222161"/>
                  <a:pt x="161830" y="219837"/>
                </a:cubicBezTo>
                <a:cubicBezTo>
                  <a:pt x="161830" y="214408"/>
                  <a:pt x="151924" y="210121"/>
                  <a:pt x="148876" y="208883"/>
                </a:cubicBezTo>
                <a:cubicBezTo>
                  <a:pt x="127064" y="200025"/>
                  <a:pt x="123825" y="187262"/>
                  <a:pt x="123730" y="180213"/>
                </a:cubicBezTo>
                <a:cubicBezTo>
                  <a:pt x="123863" y="172431"/>
                  <a:pt x="127330" y="165078"/>
                  <a:pt x="133255" y="160020"/>
                </a:cubicBezTo>
                <a:cubicBezTo>
                  <a:pt x="136036" y="157505"/>
                  <a:pt x="139265" y="155534"/>
                  <a:pt x="142780" y="154210"/>
                </a:cubicBezTo>
                <a:lnTo>
                  <a:pt x="142780" y="152400"/>
                </a:lnTo>
                <a:cubicBezTo>
                  <a:pt x="142780" y="147142"/>
                  <a:pt x="147047" y="142875"/>
                  <a:pt x="152305" y="142875"/>
                </a:cubicBezTo>
                <a:close/>
                <a:moveTo>
                  <a:pt x="152400" y="133350"/>
                </a:moveTo>
                <a:cubicBezTo>
                  <a:pt x="120872" y="133350"/>
                  <a:pt x="95250" y="163258"/>
                  <a:pt x="95250" y="200025"/>
                </a:cubicBezTo>
                <a:cubicBezTo>
                  <a:pt x="95250" y="236792"/>
                  <a:pt x="120872" y="266700"/>
                  <a:pt x="152400" y="266700"/>
                </a:cubicBezTo>
                <a:cubicBezTo>
                  <a:pt x="183927" y="266700"/>
                  <a:pt x="209550" y="236792"/>
                  <a:pt x="209550" y="200025"/>
                </a:cubicBezTo>
                <a:cubicBezTo>
                  <a:pt x="209550" y="163258"/>
                  <a:pt x="183927" y="133350"/>
                  <a:pt x="152400" y="133350"/>
                </a:cubicBezTo>
                <a:close/>
                <a:moveTo>
                  <a:pt x="9525" y="114300"/>
                </a:moveTo>
                <a:lnTo>
                  <a:pt x="295275" y="114300"/>
                </a:lnTo>
                <a:cubicBezTo>
                  <a:pt x="300532" y="114300"/>
                  <a:pt x="304800" y="118567"/>
                  <a:pt x="304800" y="123825"/>
                </a:cubicBezTo>
                <a:lnTo>
                  <a:pt x="304800" y="276225"/>
                </a:lnTo>
                <a:cubicBezTo>
                  <a:pt x="304800" y="281483"/>
                  <a:pt x="300532" y="285750"/>
                  <a:pt x="295275" y="285750"/>
                </a:cubicBezTo>
                <a:lnTo>
                  <a:pt x="238125" y="285750"/>
                </a:lnTo>
                <a:cubicBezTo>
                  <a:pt x="232867" y="285750"/>
                  <a:pt x="228600" y="281483"/>
                  <a:pt x="228600" y="276225"/>
                </a:cubicBezTo>
                <a:cubicBezTo>
                  <a:pt x="228600" y="270967"/>
                  <a:pt x="232867" y="266700"/>
                  <a:pt x="238125" y="266700"/>
                </a:cubicBezTo>
                <a:lnTo>
                  <a:pt x="285750" y="266700"/>
                </a:lnTo>
                <a:lnTo>
                  <a:pt x="285750" y="133350"/>
                </a:lnTo>
                <a:lnTo>
                  <a:pt x="200025" y="133350"/>
                </a:lnTo>
                <a:cubicBezTo>
                  <a:pt x="218512" y="150562"/>
                  <a:pt x="228886" y="174765"/>
                  <a:pt x="228600" y="200025"/>
                </a:cubicBezTo>
                <a:cubicBezTo>
                  <a:pt x="228600" y="247650"/>
                  <a:pt x="194405" y="285750"/>
                  <a:pt x="152400" y="285750"/>
                </a:cubicBezTo>
                <a:cubicBezTo>
                  <a:pt x="110395" y="285750"/>
                  <a:pt x="76200" y="247650"/>
                  <a:pt x="76200" y="200025"/>
                </a:cubicBezTo>
                <a:cubicBezTo>
                  <a:pt x="75961" y="174774"/>
                  <a:pt x="86325" y="150590"/>
                  <a:pt x="104775" y="133350"/>
                </a:cubicBezTo>
                <a:lnTo>
                  <a:pt x="19050" y="133350"/>
                </a:lnTo>
                <a:lnTo>
                  <a:pt x="19050" y="266700"/>
                </a:lnTo>
                <a:lnTo>
                  <a:pt x="66675" y="266700"/>
                </a:lnTo>
                <a:cubicBezTo>
                  <a:pt x="71932" y="266700"/>
                  <a:pt x="76200" y="270967"/>
                  <a:pt x="76200" y="276225"/>
                </a:cubicBezTo>
                <a:cubicBezTo>
                  <a:pt x="76200" y="281483"/>
                  <a:pt x="71932" y="285750"/>
                  <a:pt x="66675" y="285750"/>
                </a:cubicBezTo>
                <a:lnTo>
                  <a:pt x="9525" y="285750"/>
                </a:lnTo>
                <a:cubicBezTo>
                  <a:pt x="4267" y="285750"/>
                  <a:pt x="0" y="281483"/>
                  <a:pt x="0" y="276225"/>
                </a:cubicBezTo>
                <a:lnTo>
                  <a:pt x="0" y="123825"/>
                </a:lnTo>
                <a:cubicBezTo>
                  <a:pt x="0" y="118567"/>
                  <a:pt x="4267" y="114300"/>
                  <a:pt x="9525" y="114300"/>
                </a:cubicBezTo>
                <a:close/>
                <a:moveTo>
                  <a:pt x="9525" y="57150"/>
                </a:moveTo>
                <a:lnTo>
                  <a:pt x="295275" y="57150"/>
                </a:lnTo>
                <a:cubicBezTo>
                  <a:pt x="300532" y="57150"/>
                  <a:pt x="304800" y="61417"/>
                  <a:pt x="304800" y="66675"/>
                </a:cubicBezTo>
                <a:lnTo>
                  <a:pt x="304800" y="95250"/>
                </a:lnTo>
                <a:cubicBezTo>
                  <a:pt x="304800" y="100508"/>
                  <a:pt x="300532" y="104775"/>
                  <a:pt x="295275" y="104775"/>
                </a:cubicBezTo>
                <a:cubicBezTo>
                  <a:pt x="290017" y="104775"/>
                  <a:pt x="285750" y="100508"/>
                  <a:pt x="285750" y="95250"/>
                </a:cubicBezTo>
                <a:lnTo>
                  <a:pt x="285750" y="76200"/>
                </a:lnTo>
                <a:lnTo>
                  <a:pt x="200596" y="76200"/>
                </a:lnTo>
                <a:cubicBezTo>
                  <a:pt x="205054" y="80277"/>
                  <a:pt x="209083" y="84811"/>
                  <a:pt x="212598" y="89725"/>
                </a:cubicBezTo>
                <a:cubicBezTo>
                  <a:pt x="212617" y="89745"/>
                  <a:pt x="212626" y="89773"/>
                  <a:pt x="212645" y="89792"/>
                </a:cubicBezTo>
                <a:cubicBezTo>
                  <a:pt x="215665" y="94097"/>
                  <a:pt x="214617" y="100041"/>
                  <a:pt x="210312" y="103061"/>
                </a:cubicBezTo>
                <a:cubicBezTo>
                  <a:pt x="208693" y="104194"/>
                  <a:pt x="206759" y="104794"/>
                  <a:pt x="204787" y="104775"/>
                </a:cubicBezTo>
                <a:cubicBezTo>
                  <a:pt x="201720" y="104765"/>
                  <a:pt x="198853" y="103270"/>
                  <a:pt x="197072" y="100775"/>
                </a:cubicBezTo>
                <a:cubicBezTo>
                  <a:pt x="192881" y="94126"/>
                  <a:pt x="187252" y="88506"/>
                  <a:pt x="180612" y="84315"/>
                </a:cubicBezTo>
                <a:cubicBezTo>
                  <a:pt x="155962" y="68761"/>
                  <a:pt x="123377" y="76133"/>
                  <a:pt x="107823" y="100775"/>
                </a:cubicBezTo>
                <a:cubicBezTo>
                  <a:pt x="104775" y="105061"/>
                  <a:pt x="98822" y="106061"/>
                  <a:pt x="94535" y="103013"/>
                </a:cubicBezTo>
                <a:cubicBezTo>
                  <a:pt x="90249" y="99965"/>
                  <a:pt x="89249" y="94012"/>
                  <a:pt x="92297" y="89725"/>
                </a:cubicBezTo>
                <a:cubicBezTo>
                  <a:pt x="95754" y="84791"/>
                  <a:pt x="99745" y="80258"/>
                  <a:pt x="104203" y="76200"/>
                </a:cubicBezTo>
                <a:lnTo>
                  <a:pt x="19050" y="76200"/>
                </a:lnTo>
                <a:lnTo>
                  <a:pt x="19050" y="95250"/>
                </a:lnTo>
                <a:cubicBezTo>
                  <a:pt x="19050" y="100508"/>
                  <a:pt x="14782" y="104775"/>
                  <a:pt x="9525" y="104775"/>
                </a:cubicBezTo>
                <a:cubicBezTo>
                  <a:pt x="4267" y="104775"/>
                  <a:pt x="0" y="100508"/>
                  <a:pt x="0" y="95250"/>
                </a:cubicBezTo>
                <a:lnTo>
                  <a:pt x="0" y="66675"/>
                </a:lnTo>
                <a:cubicBezTo>
                  <a:pt x="0" y="61417"/>
                  <a:pt x="4267" y="57150"/>
                  <a:pt x="9525" y="57150"/>
                </a:cubicBezTo>
                <a:close/>
                <a:moveTo>
                  <a:pt x="9525" y="0"/>
                </a:moveTo>
                <a:lnTo>
                  <a:pt x="295275" y="0"/>
                </a:lnTo>
                <a:cubicBezTo>
                  <a:pt x="300532" y="0"/>
                  <a:pt x="304800" y="4267"/>
                  <a:pt x="304800" y="9525"/>
                </a:cubicBezTo>
                <a:lnTo>
                  <a:pt x="304800" y="38100"/>
                </a:lnTo>
                <a:cubicBezTo>
                  <a:pt x="304800" y="43358"/>
                  <a:pt x="300532" y="47625"/>
                  <a:pt x="295275" y="47625"/>
                </a:cubicBezTo>
                <a:cubicBezTo>
                  <a:pt x="290017" y="47625"/>
                  <a:pt x="285750" y="43358"/>
                  <a:pt x="285750" y="38100"/>
                </a:cubicBezTo>
                <a:lnTo>
                  <a:pt x="285750" y="19050"/>
                </a:lnTo>
                <a:lnTo>
                  <a:pt x="200596" y="19050"/>
                </a:lnTo>
                <a:cubicBezTo>
                  <a:pt x="205054" y="23127"/>
                  <a:pt x="209083" y="27661"/>
                  <a:pt x="212598" y="32575"/>
                </a:cubicBezTo>
                <a:cubicBezTo>
                  <a:pt x="212617" y="32595"/>
                  <a:pt x="212626" y="32623"/>
                  <a:pt x="212645" y="32642"/>
                </a:cubicBezTo>
                <a:cubicBezTo>
                  <a:pt x="215665" y="36947"/>
                  <a:pt x="214617" y="42891"/>
                  <a:pt x="210312" y="45911"/>
                </a:cubicBezTo>
                <a:cubicBezTo>
                  <a:pt x="208693" y="47044"/>
                  <a:pt x="206759" y="47644"/>
                  <a:pt x="204787" y="47625"/>
                </a:cubicBezTo>
                <a:cubicBezTo>
                  <a:pt x="201720" y="47615"/>
                  <a:pt x="198853" y="46120"/>
                  <a:pt x="197072" y="43625"/>
                </a:cubicBezTo>
                <a:cubicBezTo>
                  <a:pt x="192881" y="36976"/>
                  <a:pt x="187252" y="31356"/>
                  <a:pt x="180612" y="27165"/>
                </a:cubicBezTo>
                <a:cubicBezTo>
                  <a:pt x="155962" y="11611"/>
                  <a:pt x="123377" y="18983"/>
                  <a:pt x="107823" y="43625"/>
                </a:cubicBezTo>
                <a:cubicBezTo>
                  <a:pt x="107804" y="43644"/>
                  <a:pt x="107794" y="43672"/>
                  <a:pt x="107775" y="43691"/>
                </a:cubicBezTo>
                <a:cubicBezTo>
                  <a:pt x="104718" y="47977"/>
                  <a:pt x="98765" y="48968"/>
                  <a:pt x="94487" y="45911"/>
                </a:cubicBezTo>
                <a:cubicBezTo>
                  <a:pt x="94469" y="45901"/>
                  <a:pt x="94450" y="45891"/>
                  <a:pt x="94440" y="45872"/>
                </a:cubicBezTo>
                <a:cubicBezTo>
                  <a:pt x="90173" y="42796"/>
                  <a:pt x="89220" y="36843"/>
                  <a:pt x="92297" y="32575"/>
                </a:cubicBezTo>
                <a:cubicBezTo>
                  <a:pt x="95754" y="27641"/>
                  <a:pt x="99745" y="23108"/>
                  <a:pt x="104203" y="19050"/>
                </a:cubicBezTo>
                <a:lnTo>
                  <a:pt x="19050" y="19050"/>
                </a:lnTo>
                <a:lnTo>
                  <a:pt x="19050" y="38100"/>
                </a:lnTo>
                <a:cubicBezTo>
                  <a:pt x="19050" y="43358"/>
                  <a:pt x="14782" y="47625"/>
                  <a:pt x="9525" y="47625"/>
                </a:cubicBezTo>
                <a:cubicBezTo>
                  <a:pt x="4267" y="47625"/>
                  <a:pt x="0" y="43358"/>
                  <a:pt x="0" y="38100"/>
                </a:cubicBezTo>
                <a:lnTo>
                  <a:pt x="0" y="9525"/>
                </a:lnTo>
                <a:cubicBezTo>
                  <a:pt x="0" y="4267"/>
                  <a:pt x="4267" y="0"/>
                  <a:pt x="9525" y="0"/>
                </a:cubicBezTo>
                <a:close/>
              </a:path>
            </a:pathLst>
          </a:custGeom>
          <a:gradFill flip="none" rotWithShape="1">
            <a:gsLst>
              <a:gs pos="100000">
                <a:schemeClr val="bg1">
                  <a:alpha val="30000"/>
                </a:schemeClr>
              </a:gs>
              <a:gs pos="18000">
                <a:schemeClr val="bg1">
                  <a:alpha val="10000"/>
                </a:schemeClr>
              </a:gs>
            </a:gsLst>
            <a:lin ang="16200000" scaled="1"/>
            <a:tileRect/>
          </a:gradFill>
          <a:ln w="952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panose="020F0502020204030204"/>
              <a:ea typeface="微软雅黑"/>
              <a:cs typeface="+mn-cs"/>
            </a:endParaRPr>
          </a:p>
        </p:txBody>
      </p:sp>
      <p:sp>
        <p:nvSpPr>
          <p:cNvPr id="185" name="任意多边形: 形状 184">
            <a:extLst>
              <a:ext uri="{FF2B5EF4-FFF2-40B4-BE49-F238E27FC236}">
                <a16:creationId xmlns:a16="http://schemas.microsoft.com/office/drawing/2014/main" id="{6143BFC5-0809-416B-8CDF-38B7CB6C5E8C}"/>
              </a:ext>
            </a:extLst>
          </p:cNvPr>
          <p:cNvSpPr/>
          <p:nvPr/>
        </p:nvSpPr>
        <p:spPr>
          <a:xfrm>
            <a:off x="8838925" y="5304075"/>
            <a:ext cx="413300" cy="472342"/>
          </a:xfrm>
          <a:custGeom>
            <a:avLst/>
            <a:gdLst>
              <a:gd name="connsiteX0" fmla="*/ 190500 w 266700"/>
              <a:gd name="connsiteY0" fmla="*/ 209550 h 304800"/>
              <a:gd name="connsiteX1" fmla="*/ 219075 w 266700"/>
              <a:gd name="connsiteY1" fmla="*/ 209550 h 304800"/>
              <a:gd name="connsiteX2" fmla="*/ 228600 w 266700"/>
              <a:gd name="connsiteY2" fmla="*/ 219075 h 304800"/>
              <a:gd name="connsiteX3" fmla="*/ 219075 w 266700"/>
              <a:gd name="connsiteY3" fmla="*/ 228600 h 304800"/>
              <a:gd name="connsiteX4" fmla="*/ 190500 w 266700"/>
              <a:gd name="connsiteY4" fmla="*/ 228600 h 304800"/>
              <a:gd name="connsiteX5" fmla="*/ 180975 w 266700"/>
              <a:gd name="connsiteY5" fmla="*/ 219075 h 304800"/>
              <a:gd name="connsiteX6" fmla="*/ 190500 w 266700"/>
              <a:gd name="connsiteY6" fmla="*/ 209550 h 304800"/>
              <a:gd name="connsiteX7" fmla="*/ 95250 w 266700"/>
              <a:gd name="connsiteY7" fmla="*/ 209550 h 304800"/>
              <a:gd name="connsiteX8" fmla="*/ 152400 w 266700"/>
              <a:gd name="connsiteY8" fmla="*/ 209550 h 304800"/>
              <a:gd name="connsiteX9" fmla="*/ 161925 w 266700"/>
              <a:gd name="connsiteY9" fmla="*/ 219075 h 304800"/>
              <a:gd name="connsiteX10" fmla="*/ 152400 w 266700"/>
              <a:gd name="connsiteY10" fmla="*/ 228600 h 304800"/>
              <a:gd name="connsiteX11" fmla="*/ 95250 w 266700"/>
              <a:gd name="connsiteY11" fmla="*/ 228600 h 304800"/>
              <a:gd name="connsiteX12" fmla="*/ 85725 w 266700"/>
              <a:gd name="connsiteY12" fmla="*/ 219075 h 304800"/>
              <a:gd name="connsiteX13" fmla="*/ 95250 w 266700"/>
              <a:gd name="connsiteY13" fmla="*/ 209550 h 304800"/>
              <a:gd name="connsiteX14" fmla="*/ 47625 w 266700"/>
              <a:gd name="connsiteY14" fmla="*/ 171450 h 304800"/>
              <a:gd name="connsiteX15" fmla="*/ 219075 w 266700"/>
              <a:gd name="connsiteY15" fmla="*/ 171450 h 304800"/>
              <a:gd name="connsiteX16" fmla="*/ 228600 w 266700"/>
              <a:gd name="connsiteY16" fmla="*/ 180975 h 304800"/>
              <a:gd name="connsiteX17" fmla="*/ 219075 w 266700"/>
              <a:gd name="connsiteY17" fmla="*/ 190500 h 304800"/>
              <a:gd name="connsiteX18" fmla="*/ 47625 w 266700"/>
              <a:gd name="connsiteY18" fmla="*/ 190500 h 304800"/>
              <a:gd name="connsiteX19" fmla="*/ 38100 w 266700"/>
              <a:gd name="connsiteY19" fmla="*/ 180975 h 304800"/>
              <a:gd name="connsiteX20" fmla="*/ 47625 w 266700"/>
              <a:gd name="connsiteY20" fmla="*/ 171450 h 304800"/>
              <a:gd name="connsiteX21" fmla="*/ 104775 w 266700"/>
              <a:gd name="connsiteY21" fmla="*/ 123825 h 304800"/>
              <a:gd name="connsiteX22" fmla="*/ 142875 w 266700"/>
              <a:gd name="connsiteY22" fmla="*/ 123825 h 304800"/>
              <a:gd name="connsiteX23" fmla="*/ 152400 w 266700"/>
              <a:gd name="connsiteY23" fmla="*/ 133350 h 304800"/>
              <a:gd name="connsiteX24" fmla="*/ 142875 w 266700"/>
              <a:gd name="connsiteY24" fmla="*/ 142875 h 304800"/>
              <a:gd name="connsiteX25" fmla="*/ 104775 w 266700"/>
              <a:gd name="connsiteY25" fmla="*/ 142875 h 304800"/>
              <a:gd name="connsiteX26" fmla="*/ 95250 w 266700"/>
              <a:gd name="connsiteY26" fmla="*/ 133350 h 304800"/>
              <a:gd name="connsiteX27" fmla="*/ 104775 w 266700"/>
              <a:gd name="connsiteY27" fmla="*/ 123825 h 304800"/>
              <a:gd name="connsiteX28" fmla="*/ 47625 w 266700"/>
              <a:gd name="connsiteY28" fmla="*/ 123825 h 304800"/>
              <a:gd name="connsiteX29" fmla="*/ 66675 w 266700"/>
              <a:gd name="connsiteY29" fmla="*/ 123825 h 304800"/>
              <a:gd name="connsiteX30" fmla="*/ 76200 w 266700"/>
              <a:gd name="connsiteY30" fmla="*/ 133350 h 304800"/>
              <a:gd name="connsiteX31" fmla="*/ 66675 w 266700"/>
              <a:gd name="connsiteY31" fmla="*/ 142875 h 304800"/>
              <a:gd name="connsiteX32" fmla="*/ 47625 w 266700"/>
              <a:gd name="connsiteY32" fmla="*/ 142875 h 304800"/>
              <a:gd name="connsiteX33" fmla="*/ 38100 w 266700"/>
              <a:gd name="connsiteY33" fmla="*/ 133350 h 304800"/>
              <a:gd name="connsiteX34" fmla="*/ 47625 w 266700"/>
              <a:gd name="connsiteY34" fmla="*/ 123825 h 304800"/>
              <a:gd name="connsiteX35" fmla="*/ 104775 w 266700"/>
              <a:gd name="connsiteY35" fmla="*/ 85725 h 304800"/>
              <a:gd name="connsiteX36" fmla="*/ 142875 w 266700"/>
              <a:gd name="connsiteY36" fmla="*/ 85725 h 304800"/>
              <a:gd name="connsiteX37" fmla="*/ 152400 w 266700"/>
              <a:gd name="connsiteY37" fmla="*/ 95250 h 304800"/>
              <a:gd name="connsiteX38" fmla="*/ 142875 w 266700"/>
              <a:gd name="connsiteY38" fmla="*/ 104775 h 304800"/>
              <a:gd name="connsiteX39" fmla="*/ 104775 w 266700"/>
              <a:gd name="connsiteY39" fmla="*/ 104775 h 304800"/>
              <a:gd name="connsiteX40" fmla="*/ 95250 w 266700"/>
              <a:gd name="connsiteY40" fmla="*/ 95250 h 304800"/>
              <a:gd name="connsiteX41" fmla="*/ 104775 w 266700"/>
              <a:gd name="connsiteY41" fmla="*/ 85725 h 304800"/>
              <a:gd name="connsiteX42" fmla="*/ 47625 w 266700"/>
              <a:gd name="connsiteY42" fmla="*/ 85725 h 304800"/>
              <a:gd name="connsiteX43" fmla="*/ 66675 w 266700"/>
              <a:gd name="connsiteY43" fmla="*/ 85725 h 304800"/>
              <a:gd name="connsiteX44" fmla="*/ 76200 w 266700"/>
              <a:gd name="connsiteY44" fmla="*/ 95250 h 304800"/>
              <a:gd name="connsiteX45" fmla="*/ 66675 w 266700"/>
              <a:gd name="connsiteY45" fmla="*/ 104775 h 304800"/>
              <a:gd name="connsiteX46" fmla="*/ 47625 w 266700"/>
              <a:gd name="connsiteY46" fmla="*/ 104775 h 304800"/>
              <a:gd name="connsiteX47" fmla="*/ 38100 w 266700"/>
              <a:gd name="connsiteY47" fmla="*/ 95250 h 304800"/>
              <a:gd name="connsiteX48" fmla="*/ 47625 w 266700"/>
              <a:gd name="connsiteY48" fmla="*/ 85725 h 304800"/>
              <a:gd name="connsiteX49" fmla="*/ 104775 w 266700"/>
              <a:gd name="connsiteY49" fmla="*/ 47625 h 304800"/>
              <a:gd name="connsiteX50" fmla="*/ 142875 w 266700"/>
              <a:gd name="connsiteY50" fmla="*/ 47625 h 304800"/>
              <a:gd name="connsiteX51" fmla="*/ 152400 w 266700"/>
              <a:gd name="connsiteY51" fmla="*/ 57150 h 304800"/>
              <a:gd name="connsiteX52" fmla="*/ 142875 w 266700"/>
              <a:gd name="connsiteY52" fmla="*/ 66675 h 304800"/>
              <a:gd name="connsiteX53" fmla="*/ 104775 w 266700"/>
              <a:gd name="connsiteY53" fmla="*/ 66675 h 304800"/>
              <a:gd name="connsiteX54" fmla="*/ 95250 w 266700"/>
              <a:gd name="connsiteY54" fmla="*/ 57150 h 304800"/>
              <a:gd name="connsiteX55" fmla="*/ 104775 w 266700"/>
              <a:gd name="connsiteY55" fmla="*/ 47625 h 304800"/>
              <a:gd name="connsiteX56" fmla="*/ 47625 w 266700"/>
              <a:gd name="connsiteY56" fmla="*/ 47625 h 304800"/>
              <a:gd name="connsiteX57" fmla="*/ 66675 w 266700"/>
              <a:gd name="connsiteY57" fmla="*/ 47625 h 304800"/>
              <a:gd name="connsiteX58" fmla="*/ 76200 w 266700"/>
              <a:gd name="connsiteY58" fmla="*/ 57150 h 304800"/>
              <a:gd name="connsiteX59" fmla="*/ 66675 w 266700"/>
              <a:gd name="connsiteY59" fmla="*/ 66675 h 304800"/>
              <a:gd name="connsiteX60" fmla="*/ 47625 w 266700"/>
              <a:gd name="connsiteY60" fmla="*/ 66675 h 304800"/>
              <a:gd name="connsiteX61" fmla="*/ 38100 w 266700"/>
              <a:gd name="connsiteY61" fmla="*/ 57150 h 304800"/>
              <a:gd name="connsiteX62" fmla="*/ 47625 w 266700"/>
              <a:gd name="connsiteY62" fmla="*/ 47625 h 304800"/>
              <a:gd name="connsiteX63" fmla="*/ 199930 w 266700"/>
              <a:gd name="connsiteY63" fmla="*/ 38100 h 304800"/>
              <a:gd name="connsiteX64" fmla="*/ 209455 w 266700"/>
              <a:gd name="connsiteY64" fmla="*/ 47625 h 304800"/>
              <a:gd name="connsiteX65" fmla="*/ 209455 w 266700"/>
              <a:gd name="connsiteY65" fmla="*/ 49054 h 304800"/>
              <a:gd name="connsiteX66" fmla="*/ 227933 w 266700"/>
              <a:gd name="connsiteY66" fmla="*/ 66104 h 304800"/>
              <a:gd name="connsiteX67" fmla="*/ 222409 w 266700"/>
              <a:gd name="connsiteY67" fmla="*/ 78391 h 304800"/>
              <a:gd name="connsiteX68" fmla="*/ 210121 w 266700"/>
              <a:gd name="connsiteY68" fmla="*/ 72866 h 304800"/>
              <a:gd name="connsiteX69" fmla="*/ 209055 w 266700"/>
              <a:gd name="connsiteY69" fmla="*/ 71257 h 304800"/>
              <a:gd name="connsiteX70" fmla="*/ 193262 w 266700"/>
              <a:gd name="connsiteY70" fmla="*/ 69437 h 304800"/>
              <a:gd name="connsiteX71" fmla="*/ 190405 w 266700"/>
              <a:gd name="connsiteY71" fmla="*/ 75533 h 304800"/>
              <a:gd name="connsiteX72" fmla="*/ 203454 w 266700"/>
              <a:gd name="connsiteY72" fmla="*/ 86487 h 304800"/>
              <a:gd name="connsiteX73" fmla="*/ 228505 w 266700"/>
              <a:gd name="connsiteY73" fmla="*/ 115062 h 304800"/>
              <a:gd name="connsiteX74" fmla="*/ 219456 w 266700"/>
              <a:gd name="connsiteY74" fmla="*/ 135255 h 304800"/>
              <a:gd name="connsiteX75" fmla="*/ 209455 w 266700"/>
              <a:gd name="connsiteY75" fmla="*/ 141065 h 304800"/>
              <a:gd name="connsiteX76" fmla="*/ 209455 w 266700"/>
              <a:gd name="connsiteY76" fmla="*/ 142875 h 304800"/>
              <a:gd name="connsiteX77" fmla="*/ 199930 w 266700"/>
              <a:gd name="connsiteY77" fmla="*/ 152400 h 304800"/>
              <a:gd name="connsiteX78" fmla="*/ 190405 w 266700"/>
              <a:gd name="connsiteY78" fmla="*/ 142875 h 304800"/>
              <a:gd name="connsiteX79" fmla="*/ 190405 w 266700"/>
              <a:gd name="connsiteY79" fmla="*/ 141542 h 304800"/>
              <a:gd name="connsiteX80" fmla="*/ 172021 w 266700"/>
              <a:gd name="connsiteY80" fmla="*/ 124492 h 304800"/>
              <a:gd name="connsiteX81" fmla="*/ 177546 w 266700"/>
              <a:gd name="connsiteY81" fmla="*/ 112204 h 304800"/>
              <a:gd name="connsiteX82" fmla="*/ 189833 w 266700"/>
              <a:gd name="connsiteY82" fmla="*/ 117729 h 304800"/>
              <a:gd name="connsiteX83" fmla="*/ 190900 w 266700"/>
              <a:gd name="connsiteY83" fmla="*/ 119339 h 304800"/>
              <a:gd name="connsiteX84" fmla="*/ 206693 w 266700"/>
              <a:gd name="connsiteY84" fmla="*/ 121158 h 304800"/>
              <a:gd name="connsiteX85" fmla="*/ 209455 w 266700"/>
              <a:gd name="connsiteY85" fmla="*/ 115062 h 304800"/>
              <a:gd name="connsiteX86" fmla="*/ 196501 w 266700"/>
              <a:gd name="connsiteY86" fmla="*/ 104108 h 304800"/>
              <a:gd name="connsiteX87" fmla="*/ 171355 w 266700"/>
              <a:gd name="connsiteY87" fmla="*/ 75438 h 304800"/>
              <a:gd name="connsiteX88" fmla="*/ 180403 w 266700"/>
              <a:gd name="connsiteY88" fmla="*/ 55245 h 304800"/>
              <a:gd name="connsiteX89" fmla="*/ 190405 w 266700"/>
              <a:gd name="connsiteY89" fmla="*/ 49435 h 304800"/>
              <a:gd name="connsiteX90" fmla="*/ 190405 w 266700"/>
              <a:gd name="connsiteY90" fmla="*/ 47625 h 304800"/>
              <a:gd name="connsiteX91" fmla="*/ 199930 w 266700"/>
              <a:gd name="connsiteY91" fmla="*/ 38100 h 304800"/>
              <a:gd name="connsiteX92" fmla="*/ 19050 w 266700"/>
              <a:gd name="connsiteY92" fmla="*/ 19050 h 304800"/>
              <a:gd name="connsiteX93" fmla="*/ 19050 w 266700"/>
              <a:gd name="connsiteY93" fmla="*/ 272320 h 304800"/>
              <a:gd name="connsiteX94" fmla="*/ 40957 w 266700"/>
              <a:gd name="connsiteY94" fmla="*/ 250412 h 304800"/>
              <a:gd name="connsiteX95" fmla="*/ 42015 w 266700"/>
              <a:gd name="connsiteY95" fmla="*/ 249498 h 304800"/>
              <a:gd name="connsiteX96" fmla="*/ 55340 w 266700"/>
              <a:gd name="connsiteY96" fmla="*/ 251460 h 304800"/>
              <a:gd name="connsiteX97" fmla="*/ 76200 w 266700"/>
              <a:gd name="connsiteY97" fmla="*/ 279368 h 304800"/>
              <a:gd name="connsiteX98" fmla="*/ 97155 w 266700"/>
              <a:gd name="connsiteY98" fmla="*/ 251460 h 304800"/>
              <a:gd name="connsiteX99" fmla="*/ 99060 w 266700"/>
              <a:gd name="connsiteY99" fmla="*/ 249555 h 304800"/>
              <a:gd name="connsiteX100" fmla="*/ 112395 w 266700"/>
              <a:gd name="connsiteY100" fmla="*/ 251460 h 304800"/>
              <a:gd name="connsiteX101" fmla="*/ 133350 w 266700"/>
              <a:gd name="connsiteY101" fmla="*/ 279368 h 304800"/>
              <a:gd name="connsiteX102" fmla="*/ 154305 w 266700"/>
              <a:gd name="connsiteY102" fmla="*/ 251460 h 304800"/>
              <a:gd name="connsiteX103" fmla="*/ 156210 w 266700"/>
              <a:gd name="connsiteY103" fmla="*/ 249555 h 304800"/>
              <a:gd name="connsiteX104" fmla="*/ 169545 w 266700"/>
              <a:gd name="connsiteY104" fmla="*/ 251460 h 304800"/>
              <a:gd name="connsiteX105" fmla="*/ 190500 w 266700"/>
              <a:gd name="connsiteY105" fmla="*/ 279368 h 304800"/>
              <a:gd name="connsiteX106" fmla="*/ 211455 w 266700"/>
              <a:gd name="connsiteY106" fmla="*/ 251460 h 304800"/>
              <a:gd name="connsiteX107" fmla="*/ 212274 w 266700"/>
              <a:gd name="connsiteY107" fmla="*/ 250517 h 304800"/>
              <a:gd name="connsiteX108" fmla="*/ 225742 w 266700"/>
              <a:gd name="connsiteY108" fmla="*/ 250412 h 304800"/>
              <a:gd name="connsiteX109" fmla="*/ 247650 w 266700"/>
              <a:gd name="connsiteY109" fmla="*/ 272320 h 304800"/>
              <a:gd name="connsiteX110" fmla="*/ 247650 w 266700"/>
              <a:gd name="connsiteY110" fmla="*/ 19050 h 304800"/>
              <a:gd name="connsiteX111" fmla="*/ 9525 w 266700"/>
              <a:gd name="connsiteY111" fmla="*/ 0 h 304800"/>
              <a:gd name="connsiteX112" fmla="*/ 257175 w 266700"/>
              <a:gd name="connsiteY112" fmla="*/ 0 h 304800"/>
              <a:gd name="connsiteX113" fmla="*/ 266700 w 266700"/>
              <a:gd name="connsiteY113" fmla="*/ 9525 h 304800"/>
              <a:gd name="connsiteX114" fmla="*/ 266700 w 266700"/>
              <a:gd name="connsiteY114" fmla="*/ 295275 h 304800"/>
              <a:gd name="connsiteX115" fmla="*/ 257175 w 266700"/>
              <a:gd name="connsiteY115" fmla="*/ 304800 h 304800"/>
              <a:gd name="connsiteX116" fmla="*/ 250412 w 266700"/>
              <a:gd name="connsiteY116" fmla="*/ 302038 h 304800"/>
              <a:gd name="connsiteX117" fmla="*/ 220123 w 266700"/>
              <a:gd name="connsiteY117" fmla="*/ 271653 h 304800"/>
              <a:gd name="connsiteX118" fmla="*/ 198120 w 266700"/>
              <a:gd name="connsiteY118" fmla="*/ 300990 h 304800"/>
              <a:gd name="connsiteX119" fmla="*/ 190500 w 266700"/>
              <a:gd name="connsiteY119" fmla="*/ 304800 h 304800"/>
              <a:gd name="connsiteX120" fmla="*/ 182880 w 266700"/>
              <a:gd name="connsiteY120" fmla="*/ 300990 h 304800"/>
              <a:gd name="connsiteX121" fmla="*/ 161925 w 266700"/>
              <a:gd name="connsiteY121" fmla="*/ 273082 h 304800"/>
              <a:gd name="connsiteX122" fmla="*/ 140970 w 266700"/>
              <a:gd name="connsiteY122" fmla="*/ 300990 h 304800"/>
              <a:gd name="connsiteX123" fmla="*/ 133350 w 266700"/>
              <a:gd name="connsiteY123" fmla="*/ 304800 h 304800"/>
              <a:gd name="connsiteX124" fmla="*/ 125730 w 266700"/>
              <a:gd name="connsiteY124" fmla="*/ 300990 h 304800"/>
              <a:gd name="connsiteX125" fmla="*/ 104775 w 266700"/>
              <a:gd name="connsiteY125" fmla="*/ 273082 h 304800"/>
              <a:gd name="connsiteX126" fmla="*/ 83820 w 266700"/>
              <a:gd name="connsiteY126" fmla="*/ 300990 h 304800"/>
              <a:gd name="connsiteX127" fmla="*/ 76200 w 266700"/>
              <a:gd name="connsiteY127" fmla="*/ 304800 h 304800"/>
              <a:gd name="connsiteX128" fmla="*/ 68580 w 266700"/>
              <a:gd name="connsiteY128" fmla="*/ 300990 h 304800"/>
              <a:gd name="connsiteX129" fmla="*/ 46672 w 266700"/>
              <a:gd name="connsiteY129" fmla="*/ 271653 h 304800"/>
              <a:gd name="connsiteX130" fmla="*/ 16287 w 266700"/>
              <a:gd name="connsiteY130" fmla="*/ 302038 h 304800"/>
              <a:gd name="connsiteX131" fmla="*/ 5905 w 266700"/>
              <a:gd name="connsiteY131" fmla="*/ 304038 h 304800"/>
              <a:gd name="connsiteX132" fmla="*/ 0 w 266700"/>
              <a:gd name="connsiteY132" fmla="*/ 295275 h 304800"/>
              <a:gd name="connsiteX133" fmla="*/ 0 w 266700"/>
              <a:gd name="connsiteY133" fmla="*/ 9525 h 304800"/>
              <a:gd name="connsiteX134" fmla="*/ 9525 w 266700"/>
              <a:gd name="connsiteY134" fmla="*/ 0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Lst>
            <a:rect l="l" t="t" r="r" b="b"/>
            <a:pathLst>
              <a:path w="266700" h="304800">
                <a:moveTo>
                  <a:pt x="190500" y="209550"/>
                </a:moveTo>
                <a:lnTo>
                  <a:pt x="219075" y="209550"/>
                </a:lnTo>
                <a:cubicBezTo>
                  <a:pt x="224332" y="209550"/>
                  <a:pt x="228600" y="213817"/>
                  <a:pt x="228600" y="219075"/>
                </a:cubicBezTo>
                <a:cubicBezTo>
                  <a:pt x="228600" y="224333"/>
                  <a:pt x="224332" y="228600"/>
                  <a:pt x="219075" y="228600"/>
                </a:cubicBezTo>
                <a:lnTo>
                  <a:pt x="190500" y="228600"/>
                </a:lnTo>
                <a:cubicBezTo>
                  <a:pt x="185242" y="228600"/>
                  <a:pt x="180975" y="224333"/>
                  <a:pt x="180975" y="219075"/>
                </a:cubicBezTo>
                <a:cubicBezTo>
                  <a:pt x="180975" y="213817"/>
                  <a:pt x="185242" y="209550"/>
                  <a:pt x="190500" y="209550"/>
                </a:cubicBezTo>
                <a:close/>
                <a:moveTo>
                  <a:pt x="95250" y="209550"/>
                </a:moveTo>
                <a:lnTo>
                  <a:pt x="152400" y="209550"/>
                </a:lnTo>
                <a:cubicBezTo>
                  <a:pt x="157657" y="209550"/>
                  <a:pt x="161925" y="213817"/>
                  <a:pt x="161925" y="219075"/>
                </a:cubicBezTo>
                <a:cubicBezTo>
                  <a:pt x="161925" y="224333"/>
                  <a:pt x="157657" y="228600"/>
                  <a:pt x="152400" y="228600"/>
                </a:cubicBezTo>
                <a:lnTo>
                  <a:pt x="95250" y="228600"/>
                </a:lnTo>
                <a:cubicBezTo>
                  <a:pt x="89992" y="228600"/>
                  <a:pt x="85725" y="224333"/>
                  <a:pt x="85725" y="219075"/>
                </a:cubicBezTo>
                <a:cubicBezTo>
                  <a:pt x="85725" y="213817"/>
                  <a:pt x="89992" y="209550"/>
                  <a:pt x="95250" y="209550"/>
                </a:cubicBezTo>
                <a:close/>
                <a:moveTo>
                  <a:pt x="47625" y="171450"/>
                </a:moveTo>
                <a:lnTo>
                  <a:pt x="219075" y="171450"/>
                </a:lnTo>
                <a:cubicBezTo>
                  <a:pt x="224332" y="171450"/>
                  <a:pt x="228600" y="175717"/>
                  <a:pt x="228600" y="180975"/>
                </a:cubicBezTo>
                <a:cubicBezTo>
                  <a:pt x="228600" y="186233"/>
                  <a:pt x="224332" y="190500"/>
                  <a:pt x="219075" y="190500"/>
                </a:cubicBezTo>
                <a:lnTo>
                  <a:pt x="47625" y="190500"/>
                </a:lnTo>
                <a:cubicBezTo>
                  <a:pt x="42367" y="190500"/>
                  <a:pt x="38100" y="186233"/>
                  <a:pt x="38100" y="180975"/>
                </a:cubicBezTo>
                <a:cubicBezTo>
                  <a:pt x="38100" y="175717"/>
                  <a:pt x="42367" y="171450"/>
                  <a:pt x="47625" y="171450"/>
                </a:cubicBezTo>
                <a:close/>
                <a:moveTo>
                  <a:pt x="104775" y="123825"/>
                </a:moveTo>
                <a:lnTo>
                  <a:pt x="142875" y="123825"/>
                </a:lnTo>
                <a:cubicBezTo>
                  <a:pt x="148132" y="123825"/>
                  <a:pt x="152400" y="128092"/>
                  <a:pt x="152400" y="133350"/>
                </a:cubicBezTo>
                <a:cubicBezTo>
                  <a:pt x="152400" y="138608"/>
                  <a:pt x="148132" y="142875"/>
                  <a:pt x="142875" y="142875"/>
                </a:cubicBezTo>
                <a:lnTo>
                  <a:pt x="104775" y="142875"/>
                </a:lnTo>
                <a:cubicBezTo>
                  <a:pt x="99517" y="142875"/>
                  <a:pt x="95250" y="138608"/>
                  <a:pt x="95250" y="133350"/>
                </a:cubicBezTo>
                <a:cubicBezTo>
                  <a:pt x="95250" y="128092"/>
                  <a:pt x="99517" y="123825"/>
                  <a:pt x="104775" y="123825"/>
                </a:cubicBezTo>
                <a:close/>
                <a:moveTo>
                  <a:pt x="47625" y="123825"/>
                </a:moveTo>
                <a:lnTo>
                  <a:pt x="66675" y="123825"/>
                </a:lnTo>
                <a:cubicBezTo>
                  <a:pt x="71932" y="123825"/>
                  <a:pt x="76200" y="128092"/>
                  <a:pt x="76200" y="133350"/>
                </a:cubicBezTo>
                <a:cubicBezTo>
                  <a:pt x="76200" y="138608"/>
                  <a:pt x="71932" y="142875"/>
                  <a:pt x="66675" y="142875"/>
                </a:cubicBezTo>
                <a:lnTo>
                  <a:pt x="47625" y="142875"/>
                </a:lnTo>
                <a:cubicBezTo>
                  <a:pt x="42367" y="142875"/>
                  <a:pt x="38100" y="138608"/>
                  <a:pt x="38100" y="133350"/>
                </a:cubicBezTo>
                <a:cubicBezTo>
                  <a:pt x="38100" y="128092"/>
                  <a:pt x="42367" y="123825"/>
                  <a:pt x="47625" y="123825"/>
                </a:cubicBezTo>
                <a:close/>
                <a:moveTo>
                  <a:pt x="104775" y="85725"/>
                </a:moveTo>
                <a:lnTo>
                  <a:pt x="142875" y="85725"/>
                </a:lnTo>
                <a:cubicBezTo>
                  <a:pt x="148132" y="85725"/>
                  <a:pt x="152400" y="89992"/>
                  <a:pt x="152400" y="95250"/>
                </a:cubicBezTo>
                <a:cubicBezTo>
                  <a:pt x="152400" y="100508"/>
                  <a:pt x="148132" y="104775"/>
                  <a:pt x="142875" y="104775"/>
                </a:cubicBezTo>
                <a:lnTo>
                  <a:pt x="104775" y="104775"/>
                </a:lnTo>
                <a:cubicBezTo>
                  <a:pt x="99517" y="104775"/>
                  <a:pt x="95250" y="100508"/>
                  <a:pt x="95250" y="95250"/>
                </a:cubicBezTo>
                <a:cubicBezTo>
                  <a:pt x="95250" y="89992"/>
                  <a:pt x="99517" y="85725"/>
                  <a:pt x="104775" y="85725"/>
                </a:cubicBezTo>
                <a:close/>
                <a:moveTo>
                  <a:pt x="47625" y="85725"/>
                </a:moveTo>
                <a:lnTo>
                  <a:pt x="66675" y="85725"/>
                </a:lnTo>
                <a:cubicBezTo>
                  <a:pt x="71932" y="85725"/>
                  <a:pt x="76200" y="89992"/>
                  <a:pt x="76200" y="95250"/>
                </a:cubicBezTo>
                <a:cubicBezTo>
                  <a:pt x="76200" y="100508"/>
                  <a:pt x="71932" y="104775"/>
                  <a:pt x="66675" y="104775"/>
                </a:cubicBezTo>
                <a:lnTo>
                  <a:pt x="47625" y="104775"/>
                </a:lnTo>
                <a:cubicBezTo>
                  <a:pt x="42367" y="104775"/>
                  <a:pt x="38100" y="100508"/>
                  <a:pt x="38100" y="95250"/>
                </a:cubicBezTo>
                <a:cubicBezTo>
                  <a:pt x="38100" y="89992"/>
                  <a:pt x="42367" y="85725"/>
                  <a:pt x="47625" y="85725"/>
                </a:cubicBezTo>
                <a:close/>
                <a:moveTo>
                  <a:pt x="104775" y="47625"/>
                </a:moveTo>
                <a:lnTo>
                  <a:pt x="142875" y="47625"/>
                </a:lnTo>
                <a:cubicBezTo>
                  <a:pt x="148132" y="47625"/>
                  <a:pt x="152400" y="51892"/>
                  <a:pt x="152400" y="57150"/>
                </a:cubicBezTo>
                <a:cubicBezTo>
                  <a:pt x="152400" y="62408"/>
                  <a:pt x="148132" y="66675"/>
                  <a:pt x="142875" y="66675"/>
                </a:cubicBezTo>
                <a:lnTo>
                  <a:pt x="104775" y="66675"/>
                </a:lnTo>
                <a:cubicBezTo>
                  <a:pt x="99517" y="66675"/>
                  <a:pt x="95250" y="62408"/>
                  <a:pt x="95250" y="57150"/>
                </a:cubicBezTo>
                <a:cubicBezTo>
                  <a:pt x="95250" y="51892"/>
                  <a:pt x="99517" y="47625"/>
                  <a:pt x="104775" y="47625"/>
                </a:cubicBezTo>
                <a:close/>
                <a:moveTo>
                  <a:pt x="47625" y="47625"/>
                </a:moveTo>
                <a:lnTo>
                  <a:pt x="66675" y="47625"/>
                </a:lnTo>
                <a:cubicBezTo>
                  <a:pt x="71932" y="47625"/>
                  <a:pt x="76200" y="51892"/>
                  <a:pt x="76200" y="57150"/>
                </a:cubicBezTo>
                <a:cubicBezTo>
                  <a:pt x="76200" y="62408"/>
                  <a:pt x="71932" y="66675"/>
                  <a:pt x="66675" y="66675"/>
                </a:cubicBezTo>
                <a:lnTo>
                  <a:pt x="47625" y="66675"/>
                </a:lnTo>
                <a:cubicBezTo>
                  <a:pt x="42367" y="66675"/>
                  <a:pt x="38100" y="62408"/>
                  <a:pt x="38100" y="57150"/>
                </a:cubicBezTo>
                <a:cubicBezTo>
                  <a:pt x="38100" y="51892"/>
                  <a:pt x="42367" y="47625"/>
                  <a:pt x="47625" y="47625"/>
                </a:cubicBezTo>
                <a:close/>
                <a:moveTo>
                  <a:pt x="199930" y="38100"/>
                </a:moveTo>
                <a:cubicBezTo>
                  <a:pt x="205187" y="38100"/>
                  <a:pt x="209455" y="42367"/>
                  <a:pt x="209455" y="47625"/>
                </a:cubicBezTo>
                <a:lnTo>
                  <a:pt x="209455" y="49054"/>
                </a:lnTo>
                <a:cubicBezTo>
                  <a:pt x="217875" y="51654"/>
                  <a:pt x="224666" y="57921"/>
                  <a:pt x="227933" y="66104"/>
                </a:cubicBezTo>
                <a:cubicBezTo>
                  <a:pt x="229800" y="71018"/>
                  <a:pt x="227324" y="76524"/>
                  <a:pt x="222409" y="78391"/>
                </a:cubicBezTo>
                <a:cubicBezTo>
                  <a:pt x="217494" y="80258"/>
                  <a:pt x="211988" y="77781"/>
                  <a:pt x="210121" y="72866"/>
                </a:cubicBezTo>
                <a:cubicBezTo>
                  <a:pt x="209817" y="72295"/>
                  <a:pt x="209455" y="71761"/>
                  <a:pt x="209055" y="71257"/>
                </a:cubicBezTo>
                <a:cubicBezTo>
                  <a:pt x="205197" y="66389"/>
                  <a:pt x="198120" y="65580"/>
                  <a:pt x="193262" y="69437"/>
                </a:cubicBezTo>
                <a:cubicBezTo>
                  <a:pt x="191491" y="70971"/>
                  <a:pt x="190452" y="73190"/>
                  <a:pt x="190405" y="75533"/>
                </a:cubicBezTo>
                <a:cubicBezTo>
                  <a:pt x="190405" y="80963"/>
                  <a:pt x="200406" y="85249"/>
                  <a:pt x="203454" y="86487"/>
                </a:cubicBezTo>
                <a:cubicBezTo>
                  <a:pt x="225266" y="94964"/>
                  <a:pt x="228505" y="108013"/>
                  <a:pt x="228505" y="115062"/>
                </a:cubicBezTo>
                <a:cubicBezTo>
                  <a:pt x="228495" y="122777"/>
                  <a:pt x="225200" y="130112"/>
                  <a:pt x="219456" y="135255"/>
                </a:cubicBezTo>
                <a:cubicBezTo>
                  <a:pt x="216532" y="137827"/>
                  <a:pt x="213131" y="139798"/>
                  <a:pt x="209455" y="141065"/>
                </a:cubicBezTo>
                <a:lnTo>
                  <a:pt x="209455" y="142875"/>
                </a:lnTo>
                <a:cubicBezTo>
                  <a:pt x="209455" y="148133"/>
                  <a:pt x="205187" y="152400"/>
                  <a:pt x="199930" y="152400"/>
                </a:cubicBezTo>
                <a:cubicBezTo>
                  <a:pt x="194672" y="152400"/>
                  <a:pt x="190405" y="148133"/>
                  <a:pt x="190405" y="142875"/>
                </a:cubicBezTo>
                <a:lnTo>
                  <a:pt x="190405" y="141542"/>
                </a:lnTo>
                <a:cubicBezTo>
                  <a:pt x="181975" y="138989"/>
                  <a:pt x="175193" y="132702"/>
                  <a:pt x="172021" y="124492"/>
                </a:cubicBezTo>
                <a:cubicBezTo>
                  <a:pt x="170155" y="119567"/>
                  <a:pt x="172631" y="114071"/>
                  <a:pt x="177546" y="112204"/>
                </a:cubicBezTo>
                <a:cubicBezTo>
                  <a:pt x="182471" y="110338"/>
                  <a:pt x="187966" y="112814"/>
                  <a:pt x="189833" y="117729"/>
                </a:cubicBezTo>
                <a:cubicBezTo>
                  <a:pt x="190138" y="118300"/>
                  <a:pt x="190500" y="118834"/>
                  <a:pt x="190900" y="119339"/>
                </a:cubicBezTo>
                <a:cubicBezTo>
                  <a:pt x="194758" y="124206"/>
                  <a:pt x="201835" y="125016"/>
                  <a:pt x="206693" y="121158"/>
                </a:cubicBezTo>
                <a:cubicBezTo>
                  <a:pt x="208397" y="119586"/>
                  <a:pt x="209398" y="117386"/>
                  <a:pt x="209455" y="115062"/>
                </a:cubicBezTo>
                <a:cubicBezTo>
                  <a:pt x="209455" y="109633"/>
                  <a:pt x="199549" y="105346"/>
                  <a:pt x="196501" y="104108"/>
                </a:cubicBezTo>
                <a:cubicBezTo>
                  <a:pt x="174688" y="95250"/>
                  <a:pt x="171450" y="82487"/>
                  <a:pt x="171355" y="75438"/>
                </a:cubicBezTo>
                <a:cubicBezTo>
                  <a:pt x="171364" y="67723"/>
                  <a:pt x="174660" y="60388"/>
                  <a:pt x="180403" y="55245"/>
                </a:cubicBezTo>
                <a:cubicBezTo>
                  <a:pt x="183328" y="52673"/>
                  <a:pt x="186728" y="50702"/>
                  <a:pt x="190405" y="49435"/>
                </a:cubicBezTo>
                <a:lnTo>
                  <a:pt x="190405" y="47625"/>
                </a:lnTo>
                <a:cubicBezTo>
                  <a:pt x="190405" y="42367"/>
                  <a:pt x="194672" y="38100"/>
                  <a:pt x="199930" y="38100"/>
                </a:cubicBezTo>
                <a:close/>
                <a:moveTo>
                  <a:pt x="19050" y="19050"/>
                </a:moveTo>
                <a:lnTo>
                  <a:pt x="19050" y="272320"/>
                </a:lnTo>
                <a:lnTo>
                  <a:pt x="40957" y="250412"/>
                </a:lnTo>
                <a:cubicBezTo>
                  <a:pt x="41290" y="250079"/>
                  <a:pt x="41643" y="249774"/>
                  <a:pt x="42015" y="249498"/>
                </a:cubicBezTo>
                <a:cubicBezTo>
                  <a:pt x="46234" y="246364"/>
                  <a:pt x="52197" y="247240"/>
                  <a:pt x="55340" y="251460"/>
                </a:cubicBezTo>
                <a:lnTo>
                  <a:pt x="76200" y="279368"/>
                </a:lnTo>
                <a:lnTo>
                  <a:pt x="97155" y="251460"/>
                </a:lnTo>
                <a:cubicBezTo>
                  <a:pt x="97698" y="250736"/>
                  <a:pt x="98336" y="250098"/>
                  <a:pt x="99060" y="249555"/>
                </a:cubicBezTo>
                <a:cubicBezTo>
                  <a:pt x="103270" y="246402"/>
                  <a:pt x="109242" y="247250"/>
                  <a:pt x="112395" y="251460"/>
                </a:cubicBezTo>
                <a:lnTo>
                  <a:pt x="133350" y="279368"/>
                </a:lnTo>
                <a:lnTo>
                  <a:pt x="154305" y="251460"/>
                </a:lnTo>
                <a:cubicBezTo>
                  <a:pt x="154848" y="250736"/>
                  <a:pt x="155486" y="250098"/>
                  <a:pt x="156210" y="249555"/>
                </a:cubicBezTo>
                <a:cubicBezTo>
                  <a:pt x="160420" y="246402"/>
                  <a:pt x="166392" y="247250"/>
                  <a:pt x="169545" y="251460"/>
                </a:cubicBezTo>
                <a:lnTo>
                  <a:pt x="190500" y="279368"/>
                </a:lnTo>
                <a:lnTo>
                  <a:pt x="211455" y="251460"/>
                </a:lnTo>
                <a:cubicBezTo>
                  <a:pt x="211702" y="251127"/>
                  <a:pt x="211979" y="250812"/>
                  <a:pt x="212274" y="250517"/>
                </a:cubicBezTo>
                <a:cubicBezTo>
                  <a:pt x="215960" y="246764"/>
                  <a:pt x="221999" y="246716"/>
                  <a:pt x="225742" y="250412"/>
                </a:cubicBezTo>
                <a:lnTo>
                  <a:pt x="247650" y="272320"/>
                </a:lnTo>
                <a:lnTo>
                  <a:pt x="247650" y="19050"/>
                </a:lnTo>
                <a:close/>
                <a:moveTo>
                  <a:pt x="9525" y="0"/>
                </a:moveTo>
                <a:lnTo>
                  <a:pt x="257175" y="0"/>
                </a:lnTo>
                <a:cubicBezTo>
                  <a:pt x="262432" y="0"/>
                  <a:pt x="266700" y="4267"/>
                  <a:pt x="266700" y="9525"/>
                </a:cubicBezTo>
                <a:lnTo>
                  <a:pt x="266700" y="295275"/>
                </a:lnTo>
                <a:cubicBezTo>
                  <a:pt x="266700" y="300533"/>
                  <a:pt x="262432" y="304800"/>
                  <a:pt x="257175" y="304800"/>
                </a:cubicBezTo>
                <a:cubicBezTo>
                  <a:pt x="254641" y="304819"/>
                  <a:pt x="252212" y="303819"/>
                  <a:pt x="250412" y="302038"/>
                </a:cubicBezTo>
                <a:lnTo>
                  <a:pt x="220123" y="271653"/>
                </a:lnTo>
                <a:lnTo>
                  <a:pt x="198120" y="300990"/>
                </a:lnTo>
                <a:cubicBezTo>
                  <a:pt x="196319" y="303390"/>
                  <a:pt x="193500" y="304800"/>
                  <a:pt x="190500" y="304800"/>
                </a:cubicBezTo>
                <a:cubicBezTo>
                  <a:pt x="187499" y="304800"/>
                  <a:pt x="184680" y="303390"/>
                  <a:pt x="182880" y="300990"/>
                </a:cubicBezTo>
                <a:lnTo>
                  <a:pt x="161925" y="273082"/>
                </a:lnTo>
                <a:lnTo>
                  <a:pt x="140970" y="300990"/>
                </a:lnTo>
                <a:cubicBezTo>
                  <a:pt x="139169" y="303390"/>
                  <a:pt x="136350" y="304800"/>
                  <a:pt x="133350" y="304800"/>
                </a:cubicBezTo>
                <a:cubicBezTo>
                  <a:pt x="130349" y="304800"/>
                  <a:pt x="127530" y="303390"/>
                  <a:pt x="125730" y="300990"/>
                </a:cubicBezTo>
                <a:lnTo>
                  <a:pt x="104775" y="273082"/>
                </a:lnTo>
                <a:lnTo>
                  <a:pt x="83820" y="300990"/>
                </a:lnTo>
                <a:cubicBezTo>
                  <a:pt x="82019" y="303390"/>
                  <a:pt x="79200" y="304800"/>
                  <a:pt x="76200" y="304800"/>
                </a:cubicBezTo>
                <a:cubicBezTo>
                  <a:pt x="73199" y="304800"/>
                  <a:pt x="70380" y="303390"/>
                  <a:pt x="68580" y="300990"/>
                </a:cubicBezTo>
                <a:lnTo>
                  <a:pt x="46672" y="271653"/>
                </a:lnTo>
                <a:lnTo>
                  <a:pt x="16287" y="302038"/>
                </a:lnTo>
                <a:cubicBezTo>
                  <a:pt x="13544" y="304743"/>
                  <a:pt x="9448" y="305533"/>
                  <a:pt x="5905" y="304038"/>
                </a:cubicBezTo>
                <a:cubicBezTo>
                  <a:pt x="2352" y="302581"/>
                  <a:pt x="19" y="299123"/>
                  <a:pt x="0" y="295275"/>
                </a:cubicBezTo>
                <a:lnTo>
                  <a:pt x="0" y="9525"/>
                </a:lnTo>
                <a:cubicBezTo>
                  <a:pt x="0" y="4267"/>
                  <a:pt x="4267" y="0"/>
                  <a:pt x="9525" y="0"/>
                </a:cubicBezTo>
                <a:close/>
              </a:path>
            </a:pathLst>
          </a:custGeom>
          <a:gradFill flip="none" rotWithShape="1">
            <a:gsLst>
              <a:gs pos="100000">
                <a:schemeClr val="bg1">
                  <a:alpha val="30000"/>
                </a:schemeClr>
              </a:gs>
              <a:gs pos="18000">
                <a:schemeClr val="bg1">
                  <a:alpha val="10000"/>
                </a:schemeClr>
              </a:gs>
            </a:gsLst>
            <a:lin ang="16200000" scaled="1"/>
            <a:tileRect/>
          </a:gradFill>
          <a:ln w="952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panose="020F0502020204030204"/>
              <a:ea typeface="微软雅黑"/>
              <a:cs typeface="+mn-cs"/>
            </a:endParaRPr>
          </a:p>
        </p:txBody>
      </p:sp>
      <p:sp>
        <p:nvSpPr>
          <p:cNvPr id="183" name="任意多边形: 形状 182">
            <a:extLst>
              <a:ext uri="{FF2B5EF4-FFF2-40B4-BE49-F238E27FC236}">
                <a16:creationId xmlns:a16="http://schemas.microsoft.com/office/drawing/2014/main" id="{0A58705A-CDAA-4167-A331-809F52DF1EE6}"/>
              </a:ext>
            </a:extLst>
          </p:cNvPr>
          <p:cNvSpPr/>
          <p:nvPr/>
        </p:nvSpPr>
        <p:spPr>
          <a:xfrm>
            <a:off x="1481504" y="5311456"/>
            <a:ext cx="472342" cy="457580"/>
          </a:xfrm>
          <a:custGeom>
            <a:avLst/>
            <a:gdLst>
              <a:gd name="connsiteX0" fmla="*/ 238125 w 304800"/>
              <a:gd name="connsiteY0" fmla="*/ 209550 h 295275"/>
              <a:gd name="connsiteX1" fmla="*/ 228600 w 304800"/>
              <a:gd name="connsiteY1" fmla="*/ 219075 h 295275"/>
              <a:gd name="connsiteX2" fmla="*/ 238125 w 304800"/>
              <a:gd name="connsiteY2" fmla="*/ 228600 h 295275"/>
              <a:gd name="connsiteX3" fmla="*/ 247650 w 304800"/>
              <a:gd name="connsiteY3" fmla="*/ 219075 h 295275"/>
              <a:gd name="connsiteX4" fmla="*/ 238125 w 304800"/>
              <a:gd name="connsiteY4" fmla="*/ 209550 h 295275"/>
              <a:gd name="connsiteX5" fmla="*/ 228600 w 304800"/>
              <a:gd name="connsiteY5" fmla="*/ 192052 h 295275"/>
              <a:gd name="connsiteX6" fmla="*/ 265062 w 304800"/>
              <a:gd name="connsiteY6" fmla="*/ 209474 h 295275"/>
              <a:gd name="connsiteX7" fmla="*/ 247650 w 304800"/>
              <a:gd name="connsiteY7" fmla="*/ 245935 h 295275"/>
              <a:gd name="connsiteX8" fmla="*/ 247650 w 304800"/>
              <a:gd name="connsiteY8" fmla="*/ 257175 h 295275"/>
              <a:gd name="connsiteX9" fmla="*/ 238125 w 304800"/>
              <a:gd name="connsiteY9" fmla="*/ 266700 h 295275"/>
              <a:gd name="connsiteX10" fmla="*/ 228600 w 304800"/>
              <a:gd name="connsiteY10" fmla="*/ 257175 h 295275"/>
              <a:gd name="connsiteX11" fmla="*/ 228600 w 304800"/>
              <a:gd name="connsiteY11" fmla="*/ 245935 h 295275"/>
              <a:gd name="connsiteX12" fmla="*/ 211189 w 304800"/>
              <a:gd name="connsiteY12" fmla="*/ 228524 h 295275"/>
              <a:gd name="connsiteX13" fmla="*/ 228600 w 304800"/>
              <a:gd name="connsiteY13" fmla="*/ 192052 h 295275"/>
              <a:gd name="connsiteX14" fmla="*/ 190500 w 304800"/>
              <a:gd name="connsiteY14" fmla="*/ 180975 h 295275"/>
              <a:gd name="connsiteX15" fmla="*/ 190500 w 304800"/>
              <a:gd name="connsiteY15" fmla="*/ 228600 h 295275"/>
              <a:gd name="connsiteX16" fmla="*/ 238125 w 304800"/>
              <a:gd name="connsiteY16" fmla="*/ 276225 h 295275"/>
              <a:gd name="connsiteX17" fmla="*/ 285750 w 304800"/>
              <a:gd name="connsiteY17" fmla="*/ 228600 h 295275"/>
              <a:gd name="connsiteX18" fmla="*/ 285750 w 304800"/>
              <a:gd name="connsiteY18" fmla="*/ 180975 h 295275"/>
              <a:gd name="connsiteX19" fmla="*/ 114300 w 304800"/>
              <a:gd name="connsiteY19" fmla="*/ 152400 h 295275"/>
              <a:gd name="connsiteX20" fmla="*/ 142875 w 304800"/>
              <a:gd name="connsiteY20" fmla="*/ 152400 h 295275"/>
              <a:gd name="connsiteX21" fmla="*/ 152400 w 304800"/>
              <a:gd name="connsiteY21" fmla="*/ 161925 h 295275"/>
              <a:gd name="connsiteX22" fmla="*/ 142875 w 304800"/>
              <a:gd name="connsiteY22" fmla="*/ 171450 h 295275"/>
              <a:gd name="connsiteX23" fmla="*/ 114300 w 304800"/>
              <a:gd name="connsiteY23" fmla="*/ 171450 h 295275"/>
              <a:gd name="connsiteX24" fmla="*/ 104775 w 304800"/>
              <a:gd name="connsiteY24" fmla="*/ 161925 h 295275"/>
              <a:gd name="connsiteX25" fmla="*/ 114300 w 304800"/>
              <a:gd name="connsiteY25" fmla="*/ 152400 h 295275"/>
              <a:gd name="connsiteX26" fmla="*/ 47625 w 304800"/>
              <a:gd name="connsiteY26" fmla="*/ 152400 h 295275"/>
              <a:gd name="connsiteX27" fmla="*/ 76200 w 304800"/>
              <a:gd name="connsiteY27" fmla="*/ 152400 h 295275"/>
              <a:gd name="connsiteX28" fmla="*/ 85725 w 304800"/>
              <a:gd name="connsiteY28" fmla="*/ 161925 h 295275"/>
              <a:gd name="connsiteX29" fmla="*/ 76200 w 304800"/>
              <a:gd name="connsiteY29" fmla="*/ 171450 h 295275"/>
              <a:gd name="connsiteX30" fmla="*/ 47625 w 304800"/>
              <a:gd name="connsiteY30" fmla="*/ 171450 h 295275"/>
              <a:gd name="connsiteX31" fmla="*/ 38100 w 304800"/>
              <a:gd name="connsiteY31" fmla="*/ 161925 h 295275"/>
              <a:gd name="connsiteX32" fmla="*/ 47625 w 304800"/>
              <a:gd name="connsiteY32" fmla="*/ 152400 h 295275"/>
              <a:gd name="connsiteX33" fmla="*/ 238125 w 304800"/>
              <a:gd name="connsiteY33" fmla="*/ 133350 h 295275"/>
              <a:gd name="connsiteX34" fmla="*/ 219075 w 304800"/>
              <a:gd name="connsiteY34" fmla="*/ 152400 h 295275"/>
              <a:gd name="connsiteX35" fmla="*/ 219075 w 304800"/>
              <a:gd name="connsiteY35" fmla="*/ 161925 h 295275"/>
              <a:gd name="connsiteX36" fmla="*/ 257175 w 304800"/>
              <a:gd name="connsiteY36" fmla="*/ 161925 h 295275"/>
              <a:gd name="connsiteX37" fmla="*/ 257175 w 304800"/>
              <a:gd name="connsiteY37" fmla="*/ 152400 h 295275"/>
              <a:gd name="connsiteX38" fmla="*/ 238125 w 304800"/>
              <a:gd name="connsiteY38" fmla="*/ 133350 h 295275"/>
              <a:gd name="connsiteX39" fmla="*/ 238125 w 304800"/>
              <a:gd name="connsiteY39" fmla="*/ 114300 h 295275"/>
              <a:gd name="connsiteX40" fmla="*/ 276225 w 304800"/>
              <a:gd name="connsiteY40" fmla="*/ 152400 h 295275"/>
              <a:gd name="connsiteX41" fmla="*/ 276225 w 304800"/>
              <a:gd name="connsiteY41" fmla="*/ 161925 h 295275"/>
              <a:gd name="connsiteX42" fmla="*/ 295275 w 304800"/>
              <a:gd name="connsiteY42" fmla="*/ 161925 h 295275"/>
              <a:gd name="connsiteX43" fmla="*/ 304800 w 304800"/>
              <a:gd name="connsiteY43" fmla="*/ 171450 h 295275"/>
              <a:gd name="connsiteX44" fmla="*/ 304800 w 304800"/>
              <a:gd name="connsiteY44" fmla="*/ 228600 h 295275"/>
              <a:gd name="connsiteX45" fmla="*/ 238125 w 304800"/>
              <a:gd name="connsiteY45" fmla="*/ 295275 h 295275"/>
              <a:gd name="connsiteX46" fmla="*/ 171450 w 304800"/>
              <a:gd name="connsiteY46" fmla="*/ 228600 h 295275"/>
              <a:gd name="connsiteX47" fmla="*/ 171450 w 304800"/>
              <a:gd name="connsiteY47" fmla="*/ 171450 h 295275"/>
              <a:gd name="connsiteX48" fmla="*/ 180975 w 304800"/>
              <a:gd name="connsiteY48" fmla="*/ 161925 h 295275"/>
              <a:gd name="connsiteX49" fmla="*/ 200025 w 304800"/>
              <a:gd name="connsiteY49" fmla="*/ 161925 h 295275"/>
              <a:gd name="connsiteX50" fmla="*/ 200025 w 304800"/>
              <a:gd name="connsiteY50" fmla="*/ 152400 h 295275"/>
              <a:gd name="connsiteX51" fmla="*/ 238125 w 304800"/>
              <a:gd name="connsiteY51" fmla="*/ 114300 h 295275"/>
              <a:gd name="connsiteX52" fmla="*/ 209550 w 304800"/>
              <a:gd name="connsiteY52" fmla="*/ 57150 h 295275"/>
              <a:gd name="connsiteX53" fmla="*/ 209550 w 304800"/>
              <a:gd name="connsiteY53" fmla="*/ 76200 h 295275"/>
              <a:gd name="connsiteX54" fmla="*/ 247650 w 304800"/>
              <a:gd name="connsiteY54" fmla="*/ 76200 h 295275"/>
              <a:gd name="connsiteX55" fmla="*/ 247650 w 304800"/>
              <a:gd name="connsiteY55" fmla="*/ 57150 h 295275"/>
              <a:gd name="connsiteX56" fmla="*/ 119062 w 304800"/>
              <a:gd name="connsiteY56" fmla="*/ 57150 h 295275"/>
              <a:gd name="connsiteX57" fmla="*/ 104775 w 304800"/>
              <a:gd name="connsiteY57" fmla="*/ 71438 h 295275"/>
              <a:gd name="connsiteX58" fmla="*/ 119062 w 304800"/>
              <a:gd name="connsiteY58" fmla="*/ 85725 h 295275"/>
              <a:gd name="connsiteX59" fmla="*/ 133350 w 304800"/>
              <a:gd name="connsiteY59" fmla="*/ 71438 h 295275"/>
              <a:gd name="connsiteX60" fmla="*/ 119062 w 304800"/>
              <a:gd name="connsiteY60" fmla="*/ 57150 h 295275"/>
              <a:gd name="connsiteX61" fmla="*/ 200025 w 304800"/>
              <a:gd name="connsiteY61" fmla="*/ 38100 h 295275"/>
              <a:gd name="connsiteX62" fmla="*/ 257175 w 304800"/>
              <a:gd name="connsiteY62" fmla="*/ 38100 h 295275"/>
              <a:gd name="connsiteX63" fmla="*/ 266700 w 304800"/>
              <a:gd name="connsiteY63" fmla="*/ 47625 h 295275"/>
              <a:gd name="connsiteX64" fmla="*/ 266700 w 304800"/>
              <a:gd name="connsiteY64" fmla="*/ 85725 h 295275"/>
              <a:gd name="connsiteX65" fmla="*/ 257175 w 304800"/>
              <a:gd name="connsiteY65" fmla="*/ 95250 h 295275"/>
              <a:gd name="connsiteX66" fmla="*/ 200025 w 304800"/>
              <a:gd name="connsiteY66" fmla="*/ 95250 h 295275"/>
              <a:gd name="connsiteX67" fmla="*/ 190500 w 304800"/>
              <a:gd name="connsiteY67" fmla="*/ 85725 h 295275"/>
              <a:gd name="connsiteX68" fmla="*/ 190500 w 304800"/>
              <a:gd name="connsiteY68" fmla="*/ 47625 h 295275"/>
              <a:gd name="connsiteX69" fmla="*/ 200025 w 304800"/>
              <a:gd name="connsiteY69" fmla="*/ 38100 h 295275"/>
              <a:gd name="connsiteX70" fmla="*/ 119062 w 304800"/>
              <a:gd name="connsiteY70" fmla="*/ 38100 h 295275"/>
              <a:gd name="connsiteX71" fmla="*/ 152400 w 304800"/>
              <a:gd name="connsiteY71" fmla="*/ 71438 h 295275"/>
              <a:gd name="connsiteX72" fmla="*/ 119062 w 304800"/>
              <a:gd name="connsiteY72" fmla="*/ 104775 h 295275"/>
              <a:gd name="connsiteX73" fmla="*/ 85725 w 304800"/>
              <a:gd name="connsiteY73" fmla="*/ 71438 h 295275"/>
              <a:gd name="connsiteX74" fmla="*/ 119062 w 304800"/>
              <a:gd name="connsiteY74" fmla="*/ 38100 h 295275"/>
              <a:gd name="connsiteX75" fmla="*/ 71437 w 304800"/>
              <a:gd name="connsiteY75" fmla="*/ 38100 h 295275"/>
              <a:gd name="connsiteX76" fmla="*/ 80962 w 304800"/>
              <a:gd name="connsiteY76" fmla="*/ 47625 h 295275"/>
              <a:gd name="connsiteX77" fmla="*/ 71437 w 304800"/>
              <a:gd name="connsiteY77" fmla="*/ 57150 h 295275"/>
              <a:gd name="connsiteX78" fmla="*/ 57150 w 304800"/>
              <a:gd name="connsiteY78" fmla="*/ 71438 h 295275"/>
              <a:gd name="connsiteX79" fmla="*/ 71437 w 304800"/>
              <a:gd name="connsiteY79" fmla="*/ 85725 h 295275"/>
              <a:gd name="connsiteX80" fmla="*/ 80962 w 304800"/>
              <a:gd name="connsiteY80" fmla="*/ 95250 h 295275"/>
              <a:gd name="connsiteX81" fmla="*/ 71437 w 304800"/>
              <a:gd name="connsiteY81" fmla="*/ 104775 h 295275"/>
              <a:gd name="connsiteX82" fmla="*/ 38100 w 304800"/>
              <a:gd name="connsiteY82" fmla="*/ 71438 h 295275"/>
              <a:gd name="connsiteX83" fmla="*/ 71437 w 304800"/>
              <a:gd name="connsiteY83" fmla="*/ 38100 h 295275"/>
              <a:gd name="connsiteX84" fmla="*/ 19050 w 304800"/>
              <a:gd name="connsiteY84" fmla="*/ 0 h 295275"/>
              <a:gd name="connsiteX85" fmla="*/ 285750 w 304800"/>
              <a:gd name="connsiteY85" fmla="*/ 0 h 295275"/>
              <a:gd name="connsiteX86" fmla="*/ 304800 w 304800"/>
              <a:gd name="connsiteY86" fmla="*/ 19050 h 295275"/>
              <a:gd name="connsiteX87" fmla="*/ 304800 w 304800"/>
              <a:gd name="connsiteY87" fmla="*/ 133350 h 295275"/>
              <a:gd name="connsiteX88" fmla="*/ 295275 w 304800"/>
              <a:gd name="connsiteY88" fmla="*/ 142875 h 295275"/>
              <a:gd name="connsiteX89" fmla="*/ 285750 w 304800"/>
              <a:gd name="connsiteY89" fmla="*/ 133350 h 295275"/>
              <a:gd name="connsiteX90" fmla="*/ 285750 w 304800"/>
              <a:gd name="connsiteY90" fmla="*/ 19050 h 295275"/>
              <a:gd name="connsiteX91" fmla="*/ 19050 w 304800"/>
              <a:gd name="connsiteY91" fmla="*/ 19050 h 295275"/>
              <a:gd name="connsiteX92" fmla="*/ 19050 w 304800"/>
              <a:gd name="connsiteY92" fmla="*/ 190500 h 295275"/>
              <a:gd name="connsiteX93" fmla="*/ 142875 w 304800"/>
              <a:gd name="connsiteY93" fmla="*/ 190500 h 295275"/>
              <a:gd name="connsiteX94" fmla="*/ 152400 w 304800"/>
              <a:gd name="connsiteY94" fmla="*/ 200025 h 295275"/>
              <a:gd name="connsiteX95" fmla="*/ 142875 w 304800"/>
              <a:gd name="connsiteY95" fmla="*/ 209550 h 295275"/>
              <a:gd name="connsiteX96" fmla="*/ 19050 w 304800"/>
              <a:gd name="connsiteY96" fmla="*/ 209550 h 295275"/>
              <a:gd name="connsiteX97" fmla="*/ 0 w 304800"/>
              <a:gd name="connsiteY97" fmla="*/ 190500 h 295275"/>
              <a:gd name="connsiteX98" fmla="*/ 0 w 304800"/>
              <a:gd name="connsiteY98" fmla="*/ 19050 h 295275"/>
              <a:gd name="connsiteX99" fmla="*/ 19050 w 304800"/>
              <a:gd name="connsiteY99"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Lst>
            <a:rect l="l" t="t" r="r" b="b"/>
            <a:pathLst>
              <a:path w="304800" h="295275">
                <a:moveTo>
                  <a:pt x="238125" y="209550"/>
                </a:moveTo>
                <a:cubicBezTo>
                  <a:pt x="232868" y="209550"/>
                  <a:pt x="228600" y="213817"/>
                  <a:pt x="228600" y="219075"/>
                </a:cubicBezTo>
                <a:cubicBezTo>
                  <a:pt x="228600" y="224333"/>
                  <a:pt x="232868" y="228600"/>
                  <a:pt x="238125" y="228600"/>
                </a:cubicBezTo>
                <a:cubicBezTo>
                  <a:pt x="243383" y="228600"/>
                  <a:pt x="247650" y="224333"/>
                  <a:pt x="247650" y="219075"/>
                </a:cubicBezTo>
                <a:cubicBezTo>
                  <a:pt x="247650" y="213817"/>
                  <a:pt x="243383" y="209550"/>
                  <a:pt x="238125" y="209550"/>
                </a:cubicBezTo>
                <a:close/>
                <a:moveTo>
                  <a:pt x="228600" y="192052"/>
                </a:moveTo>
                <a:cubicBezTo>
                  <a:pt x="243479" y="186794"/>
                  <a:pt x="259804" y="194586"/>
                  <a:pt x="265062" y="209474"/>
                </a:cubicBezTo>
                <a:cubicBezTo>
                  <a:pt x="270329" y="224351"/>
                  <a:pt x="262529" y="240677"/>
                  <a:pt x="247650" y="245935"/>
                </a:cubicBezTo>
                <a:lnTo>
                  <a:pt x="247650" y="257175"/>
                </a:lnTo>
                <a:cubicBezTo>
                  <a:pt x="247650" y="262433"/>
                  <a:pt x="243383" y="266700"/>
                  <a:pt x="238125" y="266700"/>
                </a:cubicBezTo>
                <a:cubicBezTo>
                  <a:pt x="232868" y="266700"/>
                  <a:pt x="228600" y="262433"/>
                  <a:pt x="228600" y="257175"/>
                </a:cubicBezTo>
                <a:lnTo>
                  <a:pt x="228600" y="245935"/>
                </a:lnTo>
                <a:cubicBezTo>
                  <a:pt x="220466" y="243059"/>
                  <a:pt x="214065" y="236658"/>
                  <a:pt x="211189" y="228524"/>
                </a:cubicBezTo>
                <a:cubicBezTo>
                  <a:pt x="205922" y="213636"/>
                  <a:pt x="213722" y="197310"/>
                  <a:pt x="228600" y="192052"/>
                </a:cubicBezTo>
                <a:close/>
                <a:moveTo>
                  <a:pt x="190500" y="180975"/>
                </a:moveTo>
                <a:lnTo>
                  <a:pt x="190500" y="228600"/>
                </a:lnTo>
                <a:cubicBezTo>
                  <a:pt x="190500" y="254898"/>
                  <a:pt x="211826" y="276225"/>
                  <a:pt x="238125" y="276225"/>
                </a:cubicBezTo>
                <a:cubicBezTo>
                  <a:pt x="264423" y="276225"/>
                  <a:pt x="285750" y="254898"/>
                  <a:pt x="285750" y="228600"/>
                </a:cubicBezTo>
                <a:lnTo>
                  <a:pt x="285750" y="180975"/>
                </a:lnTo>
                <a:close/>
                <a:moveTo>
                  <a:pt x="114300" y="152400"/>
                </a:moveTo>
                <a:lnTo>
                  <a:pt x="142875" y="152400"/>
                </a:lnTo>
                <a:cubicBezTo>
                  <a:pt x="148132" y="152400"/>
                  <a:pt x="152400" y="156667"/>
                  <a:pt x="152400" y="161925"/>
                </a:cubicBezTo>
                <a:cubicBezTo>
                  <a:pt x="152400" y="167183"/>
                  <a:pt x="148132" y="171450"/>
                  <a:pt x="142875" y="171450"/>
                </a:cubicBezTo>
                <a:lnTo>
                  <a:pt x="114300" y="171450"/>
                </a:lnTo>
                <a:cubicBezTo>
                  <a:pt x="109042" y="171450"/>
                  <a:pt x="104775" y="167183"/>
                  <a:pt x="104775" y="161925"/>
                </a:cubicBezTo>
                <a:cubicBezTo>
                  <a:pt x="104775" y="156667"/>
                  <a:pt x="109042" y="152400"/>
                  <a:pt x="114300" y="152400"/>
                </a:cubicBezTo>
                <a:close/>
                <a:moveTo>
                  <a:pt x="47625" y="152400"/>
                </a:moveTo>
                <a:lnTo>
                  <a:pt x="76200" y="152400"/>
                </a:lnTo>
                <a:cubicBezTo>
                  <a:pt x="81457" y="152400"/>
                  <a:pt x="85725" y="156667"/>
                  <a:pt x="85725" y="161925"/>
                </a:cubicBezTo>
                <a:cubicBezTo>
                  <a:pt x="85725" y="167183"/>
                  <a:pt x="81457" y="171450"/>
                  <a:pt x="76200" y="171450"/>
                </a:cubicBezTo>
                <a:lnTo>
                  <a:pt x="47625" y="171450"/>
                </a:lnTo>
                <a:cubicBezTo>
                  <a:pt x="42367" y="171450"/>
                  <a:pt x="38100" y="167183"/>
                  <a:pt x="38100" y="161925"/>
                </a:cubicBezTo>
                <a:cubicBezTo>
                  <a:pt x="38100" y="156667"/>
                  <a:pt x="42367" y="152400"/>
                  <a:pt x="47625" y="152400"/>
                </a:cubicBezTo>
                <a:close/>
                <a:moveTo>
                  <a:pt x="238125" y="133350"/>
                </a:moveTo>
                <a:cubicBezTo>
                  <a:pt x="227600" y="133350"/>
                  <a:pt x="219075" y="141875"/>
                  <a:pt x="219075" y="152400"/>
                </a:cubicBezTo>
                <a:lnTo>
                  <a:pt x="219075" y="161925"/>
                </a:lnTo>
                <a:lnTo>
                  <a:pt x="257175" y="161925"/>
                </a:lnTo>
                <a:lnTo>
                  <a:pt x="257175" y="152400"/>
                </a:lnTo>
                <a:cubicBezTo>
                  <a:pt x="257175" y="141875"/>
                  <a:pt x="248650" y="133350"/>
                  <a:pt x="238125" y="133350"/>
                </a:cubicBezTo>
                <a:close/>
                <a:moveTo>
                  <a:pt x="238125" y="114300"/>
                </a:moveTo>
                <a:cubicBezTo>
                  <a:pt x="259165" y="114300"/>
                  <a:pt x="276225" y="131359"/>
                  <a:pt x="276225" y="152400"/>
                </a:cubicBezTo>
                <a:lnTo>
                  <a:pt x="276225" y="161925"/>
                </a:lnTo>
                <a:lnTo>
                  <a:pt x="295275" y="161925"/>
                </a:lnTo>
                <a:cubicBezTo>
                  <a:pt x="300532" y="161925"/>
                  <a:pt x="304800" y="166192"/>
                  <a:pt x="304800" y="171450"/>
                </a:cubicBezTo>
                <a:lnTo>
                  <a:pt x="304800" y="228600"/>
                </a:lnTo>
                <a:cubicBezTo>
                  <a:pt x="304800" y="265424"/>
                  <a:pt x="274949" y="295275"/>
                  <a:pt x="238125" y="295275"/>
                </a:cubicBezTo>
                <a:cubicBezTo>
                  <a:pt x="201301" y="295275"/>
                  <a:pt x="171450" y="265424"/>
                  <a:pt x="171450" y="228600"/>
                </a:cubicBezTo>
                <a:lnTo>
                  <a:pt x="171450" y="171450"/>
                </a:lnTo>
                <a:cubicBezTo>
                  <a:pt x="171450" y="166192"/>
                  <a:pt x="175717" y="161925"/>
                  <a:pt x="180975" y="161925"/>
                </a:cubicBezTo>
                <a:lnTo>
                  <a:pt x="200025" y="161925"/>
                </a:lnTo>
                <a:lnTo>
                  <a:pt x="200025" y="152400"/>
                </a:lnTo>
                <a:cubicBezTo>
                  <a:pt x="200025" y="131359"/>
                  <a:pt x="217084" y="114300"/>
                  <a:pt x="238125" y="114300"/>
                </a:cubicBezTo>
                <a:close/>
                <a:moveTo>
                  <a:pt x="209550" y="57150"/>
                </a:moveTo>
                <a:lnTo>
                  <a:pt x="209550" y="76200"/>
                </a:lnTo>
                <a:lnTo>
                  <a:pt x="247650" y="76200"/>
                </a:lnTo>
                <a:lnTo>
                  <a:pt x="247650" y="57150"/>
                </a:lnTo>
                <a:close/>
                <a:moveTo>
                  <a:pt x="119062" y="57150"/>
                </a:moveTo>
                <a:cubicBezTo>
                  <a:pt x="111175" y="57150"/>
                  <a:pt x="104775" y="63551"/>
                  <a:pt x="104775" y="71438"/>
                </a:cubicBezTo>
                <a:cubicBezTo>
                  <a:pt x="104775" y="79324"/>
                  <a:pt x="111175" y="85725"/>
                  <a:pt x="119062" y="85725"/>
                </a:cubicBezTo>
                <a:cubicBezTo>
                  <a:pt x="126949" y="85725"/>
                  <a:pt x="133350" y="79324"/>
                  <a:pt x="133350" y="71438"/>
                </a:cubicBezTo>
                <a:cubicBezTo>
                  <a:pt x="133350" y="63551"/>
                  <a:pt x="126949" y="57150"/>
                  <a:pt x="119062" y="57150"/>
                </a:cubicBezTo>
                <a:close/>
                <a:moveTo>
                  <a:pt x="200025" y="38100"/>
                </a:moveTo>
                <a:lnTo>
                  <a:pt x="257175" y="38100"/>
                </a:lnTo>
                <a:cubicBezTo>
                  <a:pt x="262432" y="38100"/>
                  <a:pt x="266700" y="42367"/>
                  <a:pt x="266700" y="47625"/>
                </a:cubicBezTo>
                <a:lnTo>
                  <a:pt x="266700" y="85725"/>
                </a:lnTo>
                <a:cubicBezTo>
                  <a:pt x="266700" y="90983"/>
                  <a:pt x="262432" y="95250"/>
                  <a:pt x="257175" y="95250"/>
                </a:cubicBezTo>
                <a:lnTo>
                  <a:pt x="200025" y="95250"/>
                </a:lnTo>
                <a:cubicBezTo>
                  <a:pt x="194767" y="95250"/>
                  <a:pt x="190500" y="90983"/>
                  <a:pt x="190500" y="85725"/>
                </a:cubicBezTo>
                <a:lnTo>
                  <a:pt x="190500" y="47625"/>
                </a:lnTo>
                <a:cubicBezTo>
                  <a:pt x="190500" y="42367"/>
                  <a:pt x="194767" y="38100"/>
                  <a:pt x="200025" y="38100"/>
                </a:cubicBezTo>
                <a:close/>
                <a:moveTo>
                  <a:pt x="119062" y="38100"/>
                </a:moveTo>
                <a:cubicBezTo>
                  <a:pt x="137474" y="38100"/>
                  <a:pt x="152400" y="53026"/>
                  <a:pt x="152400" y="71438"/>
                </a:cubicBezTo>
                <a:cubicBezTo>
                  <a:pt x="152400" y="89849"/>
                  <a:pt x="137474" y="104775"/>
                  <a:pt x="119062" y="104775"/>
                </a:cubicBezTo>
                <a:cubicBezTo>
                  <a:pt x="100650" y="104775"/>
                  <a:pt x="85725" y="89849"/>
                  <a:pt x="85725" y="71438"/>
                </a:cubicBezTo>
                <a:cubicBezTo>
                  <a:pt x="85725" y="53026"/>
                  <a:pt x="100650" y="38100"/>
                  <a:pt x="119062" y="38100"/>
                </a:cubicBezTo>
                <a:close/>
                <a:moveTo>
                  <a:pt x="71437" y="38100"/>
                </a:moveTo>
                <a:cubicBezTo>
                  <a:pt x="76695" y="38100"/>
                  <a:pt x="80962" y="42367"/>
                  <a:pt x="80962" y="47625"/>
                </a:cubicBezTo>
                <a:cubicBezTo>
                  <a:pt x="80962" y="52883"/>
                  <a:pt x="76695" y="57150"/>
                  <a:pt x="71437" y="57150"/>
                </a:cubicBezTo>
                <a:cubicBezTo>
                  <a:pt x="63550" y="57150"/>
                  <a:pt x="57150" y="63551"/>
                  <a:pt x="57150" y="71438"/>
                </a:cubicBezTo>
                <a:cubicBezTo>
                  <a:pt x="57150" y="79324"/>
                  <a:pt x="63550" y="85725"/>
                  <a:pt x="71437" y="85725"/>
                </a:cubicBezTo>
                <a:cubicBezTo>
                  <a:pt x="76695" y="85725"/>
                  <a:pt x="80962" y="89992"/>
                  <a:pt x="80962" y="95250"/>
                </a:cubicBezTo>
                <a:cubicBezTo>
                  <a:pt x="80962" y="100508"/>
                  <a:pt x="76695" y="104775"/>
                  <a:pt x="71437" y="104775"/>
                </a:cubicBezTo>
                <a:cubicBezTo>
                  <a:pt x="53025" y="104775"/>
                  <a:pt x="38100" y="89849"/>
                  <a:pt x="38100" y="71438"/>
                </a:cubicBezTo>
                <a:cubicBezTo>
                  <a:pt x="38100" y="53026"/>
                  <a:pt x="53025" y="38100"/>
                  <a:pt x="71437" y="38100"/>
                </a:cubicBezTo>
                <a:close/>
                <a:moveTo>
                  <a:pt x="19050" y="0"/>
                </a:moveTo>
                <a:lnTo>
                  <a:pt x="285750" y="0"/>
                </a:lnTo>
                <a:cubicBezTo>
                  <a:pt x="296275" y="0"/>
                  <a:pt x="304800" y="8525"/>
                  <a:pt x="304800" y="19050"/>
                </a:cubicBezTo>
                <a:lnTo>
                  <a:pt x="304800" y="133350"/>
                </a:lnTo>
                <a:cubicBezTo>
                  <a:pt x="304800" y="138608"/>
                  <a:pt x="300532" y="142875"/>
                  <a:pt x="295275" y="142875"/>
                </a:cubicBezTo>
                <a:cubicBezTo>
                  <a:pt x="290017" y="142875"/>
                  <a:pt x="285750" y="138608"/>
                  <a:pt x="285750" y="133350"/>
                </a:cubicBezTo>
                <a:lnTo>
                  <a:pt x="285750" y="19050"/>
                </a:lnTo>
                <a:lnTo>
                  <a:pt x="19050" y="19050"/>
                </a:lnTo>
                <a:lnTo>
                  <a:pt x="19050" y="190500"/>
                </a:lnTo>
                <a:lnTo>
                  <a:pt x="142875" y="190500"/>
                </a:lnTo>
                <a:cubicBezTo>
                  <a:pt x="148132" y="190500"/>
                  <a:pt x="152400" y="194767"/>
                  <a:pt x="152400" y="200025"/>
                </a:cubicBezTo>
                <a:cubicBezTo>
                  <a:pt x="152400" y="205283"/>
                  <a:pt x="148132" y="209550"/>
                  <a:pt x="142875" y="209550"/>
                </a:cubicBezTo>
                <a:lnTo>
                  <a:pt x="19050" y="209550"/>
                </a:lnTo>
                <a:cubicBezTo>
                  <a:pt x="8525" y="209550"/>
                  <a:pt x="0" y="201025"/>
                  <a:pt x="0" y="190500"/>
                </a:cubicBezTo>
                <a:lnTo>
                  <a:pt x="0" y="19050"/>
                </a:lnTo>
                <a:cubicBezTo>
                  <a:pt x="0" y="8525"/>
                  <a:pt x="8525" y="0"/>
                  <a:pt x="19050" y="0"/>
                </a:cubicBezTo>
                <a:close/>
              </a:path>
            </a:pathLst>
          </a:custGeom>
          <a:gradFill flip="none" rotWithShape="1">
            <a:gsLst>
              <a:gs pos="100000">
                <a:schemeClr val="bg1">
                  <a:alpha val="30000"/>
                </a:schemeClr>
              </a:gs>
              <a:gs pos="18000">
                <a:schemeClr val="bg1">
                  <a:alpha val="10000"/>
                </a:schemeClr>
              </a:gs>
            </a:gsLst>
            <a:lin ang="16200000" scaled="1"/>
            <a:tileRect/>
          </a:gradFill>
          <a:ln w="952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panose="020F0502020204030204"/>
              <a:ea typeface="微软雅黑"/>
              <a:cs typeface="+mn-cs"/>
            </a:endParaRPr>
          </a:p>
        </p:txBody>
      </p:sp>
      <p:sp>
        <p:nvSpPr>
          <p:cNvPr id="184" name="任意多边形: 形状 183">
            <a:extLst>
              <a:ext uri="{FF2B5EF4-FFF2-40B4-BE49-F238E27FC236}">
                <a16:creationId xmlns:a16="http://schemas.microsoft.com/office/drawing/2014/main" id="{74BF96A2-A645-4BDA-8C7D-4C10DA71586F}"/>
              </a:ext>
            </a:extLst>
          </p:cNvPr>
          <p:cNvSpPr/>
          <p:nvPr/>
        </p:nvSpPr>
        <p:spPr>
          <a:xfrm>
            <a:off x="2903904" y="5304075"/>
            <a:ext cx="472342" cy="472342"/>
          </a:xfrm>
          <a:custGeom>
            <a:avLst/>
            <a:gdLst>
              <a:gd name="connsiteX0" fmla="*/ 123825 w 304800"/>
              <a:gd name="connsiteY0" fmla="*/ 247650 h 304800"/>
              <a:gd name="connsiteX1" fmla="*/ 116205 w 304800"/>
              <a:gd name="connsiteY1" fmla="*/ 285750 h 304800"/>
              <a:gd name="connsiteX2" fmla="*/ 188595 w 304800"/>
              <a:gd name="connsiteY2" fmla="*/ 285750 h 304800"/>
              <a:gd name="connsiteX3" fmla="*/ 180975 w 304800"/>
              <a:gd name="connsiteY3" fmla="*/ 247650 h 304800"/>
              <a:gd name="connsiteX4" fmla="*/ 143306 w 304800"/>
              <a:gd name="connsiteY4" fmla="*/ 200176 h 304800"/>
              <a:gd name="connsiteX5" fmla="*/ 162356 w 304800"/>
              <a:gd name="connsiteY5" fmla="*/ 200176 h 304800"/>
              <a:gd name="connsiteX6" fmla="*/ 162356 w 304800"/>
              <a:gd name="connsiteY6" fmla="*/ 219226 h 304800"/>
              <a:gd name="connsiteX7" fmla="*/ 143306 w 304800"/>
              <a:gd name="connsiteY7" fmla="*/ 219226 h 304800"/>
              <a:gd name="connsiteX8" fmla="*/ 174689 w 304800"/>
              <a:gd name="connsiteY8" fmla="*/ 107918 h 304800"/>
              <a:gd name="connsiteX9" fmla="*/ 186690 w 304800"/>
              <a:gd name="connsiteY9" fmla="*/ 160210 h 304800"/>
              <a:gd name="connsiteX10" fmla="*/ 193930 w 304800"/>
              <a:gd name="connsiteY10" fmla="*/ 152971 h 304800"/>
              <a:gd name="connsiteX11" fmla="*/ 200597 w 304800"/>
              <a:gd name="connsiteY11" fmla="*/ 150209 h 304800"/>
              <a:gd name="connsiteX12" fmla="*/ 207360 w 304800"/>
              <a:gd name="connsiteY12" fmla="*/ 152971 h 304800"/>
              <a:gd name="connsiteX13" fmla="*/ 240888 w 304800"/>
              <a:gd name="connsiteY13" fmla="*/ 186594 h 304800"/>
              <a:gd name="connsiteX14" fmla="*/ 253270 w 304800"/>
              <a:gd name="connsiteY14" fmla="*/ 174212 h 304800"/>
              <a:gd name="connsiteX15" fmla="*/ 219647 w 304800"/>
              <a:gd name="connsiteY15" fmla="*/ 140684 h 304800"/>
              <a:gd name="connsiteX16" fmla="*/ 219590 w 304800"/>
              <a:gd name="connsiteY16" fmla="*/ 140627 h 304800"/>
              <a:gd name="connsiteX17" fmla="*/ 219647 w 304800"/>
              <a:gd name="connsiteY17" fmla="*/ 127158 h 304800"/>
              <a:gd name="connsiteX18" fmla="*/ 226886 w 304800"/>
              <a:gd name="connsiteY18" fmla="*/ 120014 h 304800"/>
              <a:gd name="connsiteX19" fmla="*/ 164116 w 304800"/>
              <a:gd name="connsiteY19" fmla="*/ 86296 h 304800"/>
              <a:gd name="connsiteX20" fmla="*/ 247936 w 304800"/>
              <a:gd name="connsiteY20" fmla="*/ 105346 h 304800"/>
              <a:gd name="connsiteX21" fmla="*/ 252489 w 304800"/>
              <a:gd name="connsiteY21" fmla="*/ 107880 h 304800"/>
              <a:gd name="connsiteX22" fmla="*/ 252508 w 304800"/>
              <a:gd name="connsiteY22" fmla="*/ 121348 h 304800"/>
              <a:gd name="connsiteX23" fmla="*/ 239935 w 304800"/>
              <a:gd name="connsiteY23" fmla="*/ 133921 h 304800"/>
              <a:gd name="connsiteX24" fmla="*/ 273368 w 304800"/>
              <a:gd name="connsiteY24" fmla="*/ 167735 h 304800"/>
              <a:gd name="connsiteX25" fmla="*/ 273425 w 304800"/>
              <a:gd name="connsiteY25" fmla="*/ 167792 h 304800"/>
              <a:gd name="connsiteX26" fmla="*/ 273368 w 304800"/>
              <a:gd name="connsiteY26" fmla="*/ 181260 h 304800"/>
              <a:gd name="connsiteX27" fmla="*/ 247555 w 304800"/>
              <a:gd name="connsiteY27" fmla="*/ 207073 h 304800"/>
              <a:gd name="connsiteX28" fmla="*/ 234125 w 304800"/>
              <a:gd name="connsiteY28" fmla="*/ 207073 h 304800"/>
              <a:gd name="connsiteX29" fmla="*/ 200502 w 304800"/>
              <a:gd name="connsiteY29" fmla="*/ 173450 h 304800"/>
              <a:gd name="connsiteX30" fmla="*/ 187929 w 304800"/>
              <a:gd name="connsiteY30" fmla="*/ 186118 h 304800"/>
              <a:gd name="connsiteX31" fmla="*/ 178404 w 304800"/>
              <a:gd name="connsiteY31" fmla="*/ 188499 h 304800"/>
              <a:gd name="connsiteX32" fmla="*/ 171736 w 304800"/>
              <a:gd name="connsiteY32" fmla="*/ 181451 h 304800"/>
              <a:gd name="connsiteX33" fmla="*/ 152686 w 304800"/>
              <a:gd name="connsiteY33" fmla="*/ 97631 h 304800"/>
              <a:gd name="connsiteX34" fmla="*/ 155163 w 304800"/>
              <a:gd name="connsiteY34" fmla="*/ 88772 h 304800"/>
              <a:gd name="connsiteX35" fmla="*/ 164116 w 304800"/>
              <a:gd name="connsiteY35" fmla="*/ 86296 h 304800"/>
              <a:gd name="connsiteX36" fmla="*/ 114396 w 304800"/>
              <a:gd name="connsiteY36" fmla="*/ 47625 h 304800"/>
              <a:gd name="connsiteX37" fmla="*/ 191548 w 304800"/>
              <a:gd name="connsiteY37" fmla="*/ 47625 h 304800"/>
              <a:gd name="connsiteX38" fmla="*/ 220123 w 304800"/>
              <a:gd name="connsiteY38" fmla="*/ 60198 h 304800"/>
              <a:gd name="connsiteX39" fmla="*/ 227743 w 304800"/>
              <a:gd name="connsiteY39" fmla="*/ 73057 h 304800"/>
              <a:gd name="connsiteX40" fmla="*/ 228153 w 304800"/>
              <a:gd name="connsiteY40" fmla="*/ 74219 h 304800"/>
              <a:gd name="connsiteX41" fmla="*/ 221609 w 304800"/>
              <a:gd name="connsiteY41" fmla="*/ 85992 h 304800"/>
              <a:gd name="connsiteX42" fmla="*/ 209836 w 304800"/>
              <a:gd name="connsiteY42" fmla="*/ 79438 h 304800"/>
              <a:gd name="connsiteX43" fmla="*/ 206026 w 304800"/>
              <a:gd name="connsiteY43" fmla="*/ 73057 h 304800"/>
              <a:gd name="connsiteX44" fmla="*/ 191548 w 304800"/>
              <a:gd name="connsiteY44" fmla="*/ 66675 h 304800"/>
              <a:gd name="connsiteX45" fmla="*/ 114396 w 304800"/>
              <a:gd name="connsiteY45" fmla="*/ 66675 h 304800"/>
              <a:gd name="connsiteX46" fmla="*/ 95346 w 304800"/>
              <a:gd name="connsiteY46" fmla="*/ 85725 h 304800"/>
              <a:gd name="connsiteX47" fmla="*/ 114396 w 304800"/>
              <a:gd name="connsiteY47" fmla="*/ 104775 h 304800"/>
              <a:gd name="connsiteX48" fmla="*/ 123921 w 304800"/>
              <a:gd name="connsiteY48" fmla="*/ 104775 h 304800"/>
              <a:gd name="connsiteX49" fmla="*/ 133446 w 304800"/>
              <a:gd name="connsiteY49" fmla="*/ 114300 h 304800"/>
              <a:gd name="connsiteX50" fmla="*/ 123921 w 304800"/>
              <a:gd name="connsiteY50" fmla="*/ 123825 h 304800"/>
              <a:gd name="connsiteX51" fmla="*/ 114396 w 304800"/>
              <a:gd name="connsiteY51" fmla="*/ 123825 h 304800"/>
              <a:gd name="connsiteX52" fmla="*/ 76296 w 304800"/>
              <a:gd name="connsiteY52" fmla="*/ 85725 h 304800"/>
              <a:gd name="connsiteX53" fmla="*/ 114396 w 304800"/>
              <a:gd name="connsiteY53" fmla="*/ 47625 h 304800"/>
              <a:gd name="connsiteX54" fmla="*/ 26003 w 304800"/>
              <a:gd name="connsiteY54" fmla="*/ 19050 h 304800"/>
              <a:gd name="connsiteX55" fmla="*/ 19050 w 304800"/>
              <a:gd name="connsiteY55" fmla="*/ 26003 h 304800"/>
              <a:gd name="connsiteX56" fmla="*/ 19050 w 304800"/>
              <a:gd name="connsiteY56" fmla="*/ 171450 h 304800"/>
              <a:gd name="connsiteX57" fmla="*/ 133350 w 304800"/>
              <a:gd name="connsiteY57" fmla="*/ 171450 h 304800"/>
              <a:gd name="connsiteX58" fmla="*/ 142875 w 304800"/>
              <a:gd name="connsiteY58" fmla="*/ 180975 h 304800"/>
              <a:gd name="connsiteX59" fmla="*/ 133350 w 304800"/>
              <a:gd name="connsiteY59" fmla="*/ 190500 h 304800"/>
              <a:gd name="connsiteX60" fmla="*/ 19050 w 304800"/>
              <a:gd name="connsiteY60" fmla="*/ 190500 h 304800"/>
              <a:gd name="connsiteX61" fmla="*/ 19050 w 304800"/>
              <a:gd name="connsiteY61" fmla="*/ 221647 h 304800"/>
              <a:gd name="connsiteX62" fmla="*/ 26003 w 304800"/>
              <a:gd name="connsiteY62" fmla="*/ 228600 h 304800"/>
              <a:gd name="connsiteX63" fmla="*/ 278797 w 304800"/>
              <a:gd name="connsiteY63" fmla="*/ 228600 h 304800"/>
              <a:gd name="connsiteX64" fmla="*/ 285750 w 304800"/>
              <a:gd name="connsiteY64" fmla="*/ 221647 h 304800"/>
              <a:gd name="connsiteX65" fmla="*/ 285750 w 304800"/>
              <a:gd name="connsiteY65" fmla="*/ 26003 h 304800"/>
              <a:gd name="connsiteX66" fmla="*/ 278797 w 304800"/>
              <a:gd name="connsiteY66" fmla="*/ 19050 h 304800"/>
              <a:gd name="connsiteX67" fmla="*/ 26003 w 304800"/>
              <a:gd name="connsiteY67" fmla="*/ 0 h 304800"/>
              <a:gd name="connsiteX68" fmla="*/ 278797 w 304800"/>
              <a:gd name="connsiteY68" fmla="*/ 0 h 304800"/>
              <a:gd name="connsiteX69" fmla="*/ 304800 w 304800"/>
              <a:gd name="connsiteY69" fmla="*/ 26003 h 304800"/>
              <a:gd name="connsiteX70" fmla="*/ 304800 w 304800"/>
              <a:gd name="connsiteY70" fmla="*/ 221647 h 304800"/>
              <a:gd name="connsiteX71" fmla="*/ 278797 w 304800"/>
              <a:gd name="connsiteY71" fmla="*/ 247650 h 304800"/>
              <a:gd name="connsiteX72" fmla="*/ 200025 w 304800"/>
              <a:gd name="connsiteY72" fmla="*/ 247650 h 304800"/>
              <a:gd name="connsiteX73" fmla="*/ 212122 w 304800"/>
              <a:gd name="connsiteY73" fmla="*/ 285750 h 304800"/>
              <a:gd name="connsiteX74" fmla="*/ 228600 w 304800"/>
              <a:gd name="connsiteY74" fmla="*/ 285750 h 304800"/>
              <a:gd name="connsiteX75" fmla="*/ 238125 w 304800"/>
              <a:gd name="connsiteY75" fmla="*/ 295275 h 304800"/>
              <a:gd name="connsiteX76" fmla="*/ 228600 w 304800"/>
              <a:gd name="connsiteY76" fmla="*/ 304800 h 304800"/>
              <a:gd name="connsiteX77" fmla="*/ 76200 w 304800"/>
              <a:gd name="connsiteY77" fmla="*/ 304800 h 304800"/>
              <a:gd name="connsiteX78" fmla="*/ 66675 w 304800"/>
              <a:gd name="connsiteY78" fmla="*/ 295275 h 304800"/>
              <a:gd name="connsiteX79" fmla="*/ 76200 w 304800"/>
              <a:gd name="connsiteY79" fmla="*/ 285750 h 304800"/>
              <a:gd name="connsiteX80" fmla="*/ 92583 w 304800"/>
              <a:gd name="connsiteY80" fmla="*/ 285750 h 304800"/>
              <a:gd name="connsiteX81" fmla="*/ 104775 w 304800"/>
              <a:gd name="connsiteY81" fmla="*/ 247650 h 304800"/>
              <a:gd name="connsiteX82" fmla="*/ 26003 w 304800"/>
              <a:gd name="connsiteY82" fmla="*/ 247650 h 304800"/>
              <a:gd name="connsiteX83" fmla="*/ 0 w 304800"/>
              <a:gd name="connsiteY83" fmla="*/ 221647 h 304800"/>
              <a:gd name="connsiteX84" fmla="*/ 0 w 304800"/>
              <a:gd name="connsiteY84" fmla="*/ 26003 h 304800"/>
              <a:gd name="connsiteX85" fmla="*/ 26003 w 304800"/>
              <a:gd name="connsiteY85" fmla="*/ 0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Lst>
            <a:rect l="l" t="t" r="r" b="b"/>
            <a:pathLst>
              <a:path w="304800" h="304800">
                <a:moveTo>
                  <a:pt x="123825" y="247650"/>
                </a:moveTo>
                <a:cubicBezTo>
                  <a:pt x="124310" y="260776"/>
                  <a:pt x="121701" y="273825"/>
                  <a:pt x="116205" y="285750"/>
                </a:cubicBezTo>
                <a:lnTo>
                  <a:pt x="188595" y="285750"/>
                </a:lnTo>
                <a:cubicBezTo>
                  <a:pt x="183099" y="273825"/>
                  <a:pt x="180489" y="260776"/>
                  <a:pt x="180975" y="247650"/>
                </a:cubicBezTo>
                <a:close/>
                <a:moveTo>
                  <a:pt x="143306" y="200176"/>
                </a:moveTo>
                <a:lnTo>
                  <a:pt x="162356" y="200176"/>
                </a:lnTo>
                <a:lnTo>
                  <a:pt x="162356" y="219226"/>
                </a:lnTo>
                <a:lnTo>
                  <a:pt x="143306" y="219226"/>
                </a:lnTo>
                <a:close/>
                <a:moveTo>
                  <a:pt x="174689" y="107918"/>
                </a:moveTo>
                <a:lnTo>
                  <a:pt x="186690" y="160210"/>
                </a:lnTo>
                <a:lnTo>
                  <a:pt x="193930" y="152971"/>
                </a:lnTo>
                <a:cubicBezTo>
                  <a:pt x="195701" y="151209"/>
                  <a:pt x="198101" y="150218"/>
                  <a:pt x="200597" y="150209"/>
                </a:cubicBezTo>
                <a:cubicBezTo>
                  <a:pt x="203131" y="150190"/>
                  <a:pt x="205559" y="151190"/>
                  <a:pt x="207360" y="152971"/>
                </a:cubicBezTo>
                <a:lnTo>
                  <a:pt x="240888" y="186594"/>
                </a:lnTo>
                <a:lnTo>
                  <a:pt x="253270" y="174212"/>
                </a:lnTo>
                <a:lnTo>
                  <a:pt x="219647" y="140684"/>
                </a:lnTo>
                <a:cubicBezTo>
                  <a:pt x="219628" y="140665"/>
                  <a:pt x="219609" y="140646"/>
                  <a:pt x="219590" y="140627"/>
                </a:cubicBezTo>
                <a:cubicBezTo>
                  <a:pt x="215885" y="136893"/>
                  <a:pt x="215913" y="130863"/>
                  <a:pt x="219647" y="127158"/>
                </a:cubicBezTo>
                <a:lnTo>
                  <a:pt x="226886" y="120014"/>
                </a:lnTo>
                <a:close/>
                <a:moveTo>
                  <a:pt x="164116" y="86296"/>
                </a:moveTo>
                <a:lnTo>
                  <a:pt x="247936" y="105346"/>
                </a:lnTo>
                <a:cubicBezTo>
                  <a:pt x="249660" y="105746"/>
                  <a:pt x="251241" y="106622"/>
                  <a:pt x="252489" y="107880"/>
                </a:cubicBezTo>
                <a:cubicBezTo>
                  <a:pt x="256213" y="111594"/>
                  <a:pt x="256223" y="117624"/>
                  <a:pt x="252508" y="121348"/>
                </a:cubicBezTo>
                <a:lnTo>
                  <a:pt x="239935" y="133921"/>
                </a:lnTo>
                <a:lnTo>
                  <a:pt x="273368" y="167735"/>
                </a:lnTo>
                <a:cubicBezTo>
                  <a:pt x="273387" y="167754"/>
                  <a:pt x="273406" y="167773"/>
                  <a:pt x="273425" y="167792"/>
                </a:cubicBezTo>
                <a:cubicBezTo>
                  <a:pt x="277131" y="171525"/>
                  <a:pt x="277102" y="177555"/>
                  <a:pt x="273368" y="181260"/>
                </a:cubicBezTo>
                <a:lnTo>
                  <a:pt x="247555" y="207073"/>
                </a:lnTo>
                <a:cubicBezTo>
                  <a:pt x="243840" y="210769"/>
                  <a:pt x="237840" y="210769"/>
                  <a:pt x="234125" y="207073"/>
                </a:cubicBezTo>
                <a:lnTo>
                  <a:pt x="200502" y="173450"/>
                </a:lnTo>
                <a:lnTo>
                  <a:pt x="187929" y="186118"/>
                </a:lnTo>
                <a:cubicBezTo>
                  <a:pt x="185443" y="188613"/>
                  <a:pt x="181776" y="189528"/>
                  <a:pt x="178404" y="188499"/>
                </a:cubicBezTo>
                <a:cubicBezTo>
                  <a:pt x="175060" y="187547"/>
                  <a:pt x="172508" y="184842"/>
                  <a:pt x="171736" y="181451"/>
                </a:cubicBezTo>
                <a:lnTo>
                  <a:pt x="152686" y="97631"/>
                </a:lnTo>
                <a:cubicBezTo>
                  <a:pt x="151934" y="94449"/>
                  <a:pt x="152867" y="91106"/>
                  <a:pt x="155163" y="88772"/>
                </a:cubicBezTo>
                <a:cubicBezTo>
                  <a:pt x="157515" y="86448"/>
                  <a:pt x="160906" y="85515"/>
                  <a:pt x="164116" y="86296"/>
                </a:cubicBezTo>
                <a:close/>
                <a:moveTo>
                  <a:pt x="114396" y="47625"/>
                </a:moveTo>
                <a:lnTo>
                  <a:pt x="191548" y="47625"/>
                </a:lnTo>
                <a:cubicBezTo>
                  <a:pt x="202416" y="47625"/>
                  <a:pt x="212779" y="52188"/>
                  <a:pt x="220123" y="60198"/>
                </a:cubicBezTo>
                <a:cubicBezTo>
                  <a:pt x="223514" y="63922"/>
                  <a:pt x="226105" y="68294"/>
                  <a:pt x="227743" y="73057"/>
                </a:cubicBezTo>
                <a:cubicBezTo>
                  <a:pt x="227905" y="73438"/>
                  <a:pt x="228048" y="73819"/>
                  <a:pt x="228153" y="74219"/>
                </a:cubicBezTo>
                <a:cubicBezTo>
                  <a:pt x="229601" y="79277"/>
                  <a:pt x="226667" y="84544"/>
                  <a:pt x="221609" y="85992"/>
                </a:cubicBezTo>
                <a:cubicBezTo>
                  <a:pt x="216551" y="87430"/>
                  <a:pt x="211274" y="84496"/>
                  <a:pt x="209836" y="79438"/>
                </a:cubicBezTo>
                <a:cubicBezTo>
                  <a:pt x="208998" y="77086"/>
                  <a:pt x="207702" y="74914"/>
                  <a:pt x="206026" y="73057"/>
                </a:cubicBezTo>
                <a:cubicBezTo>
                  <a:pt x="202350" y="68932"/>
                  <a:pt x="197073" y="66599"/>
                  <a:pt x="191548" y="66675"/>
                </a:cubicBezTo>
                <a:lnTo>
                  <a:pt x="114396" y="66675"/>
                </a:lnTo>
                <a:cubicBezTo>
                  <a:pt x="103870" y="66675"/>
                  <a:pt x="95346" y="75200"/>
                  <a:pt x="95346" y="85725"/>
                </a:cubicBezTo>
                <a:cubicBezTo>
                  <a:pt x="95346" y="96250"/>
                  <a:pt x="103870" y="104775"/>
                  <a:pt x="114396" y="104775"/>
                </a:cubicBezTo>
                <a:lnTo>
                  <a:pt x="123921" y="104775"/>
                </a:lnTo>
                <a:cubicBezTo>
                  <a:pt x="129178" y="104775"/>
                  <a:pt x="133446" y="109042"/>
                  <a:pt x="133446" y="114300"/>
                </a:cubicBezTo>
                <a:cubicBezTo>
                  <a:pt x="133446" y="119558"/>
                  <a:pt x="129178" y="123825"/>
                  <a:pt x="123921" y="123825"/>
                </a:cubicBezTo>
                <a:lnTo>
                  <a:pt x="114396" y="123825"/>
                </a:lnTo>
                <a:cubicBezTo>
                  <a:pt x="93355" y="123825"/>
                  <a:pt x="76296" y="106766"/>
                  <a:pt x="76296" y="85725"/>
                </a:cubicBezTo>
                <a:cubicBezTo>
                  <a:pt x="76296" y="64684"/>
                  <a:pt x="93355" y="47625"/>
                  <a:pt x="114396" y="47625"/>
                </a:cubicBezTo>
                <a:close/>
                <a:moveTo>
                  <a:pt x="26003" y="19050"/>
                </a:moveTo>
                <a:cubicBezTo>
                  <a:pt x="22164" y="19050"/>
                  <a:pt x="19050" y="22165"/>
                  <a:pt x="19050" y="26003"/>
                </a:cubicBezTo>
                <a:lnTo>
                  <a:pt x="19050" y="171450"/>
                </a:lnTo>
                <a:lnTo>
                  <a:pt x="133350" y="171450"/>
                </a:lnTo>
                <a:cubicBezTo>
                  <a:pt x="138607" y="171450"/>
                  <a:pt x="142875" y="175717"/>
                  <a:pt x="142875" y="180975"/>
                </a:cubicBezTo>
                <a:cubicBezTo>
                  <a:pt x="142875" y="186233"/>
                  <a:pt x="138607" y="190500"/>
                  <a:pt x="133350" y="190500"/>
                </a:cubicBezTo>
                <a:lnTo>
                  <a:pt x="19050" y="190500"/>
                </a:lnTo>
                <a:lnTo>
                  <a:pt x="19050" y="221647"/>
                </a:lnTo>
                <a:cubicBezTo>
                  <a:pt x="19050" y="225485"/>
                  <a:pt x="22164" y="228600"/>
                  <a:pt x="26003" y="228600"/>
                </a:cubicBezTo>
                <a:lnTo>
                  <a:pt x="278797" y="228600"/>
                </a:lnTo>
                <a:cubicBezTo>
                  <a:pt x="282635" y="228600"/>
                  <a:pt x="285750" y="225485"/>
                  <a:pt x="285750" y="221647"/>
                </a:cubicBezTo>
                <a:lnTo>
                  <a:pt x="285750" y="26003"/>
                </a:lnTo>
                <a:cubicBezTo>
                  <a:pt x="285750" y="22165"/>
                  <a:pt x="282635" y="19050"/>
                  <a:pt x="278797" y="19050"/>
                </a:cubicBezTo>
                <a:close/>
                <a:moveTo>
                  <a:pt x="26003" y="0"/>
                </a:moveTo>
                <a:lnTo>
                  <a:pt x="278797" y="0"/>
                </a:lnTo>
                <a:cubicBezTo>
                  <a:pt x="293160" y="0"/>
                  <a:pt x="304800" y="11640"/>
                  <a:pt x="304800" y="26003"/>
                </a:cubicBezTo>
                <a:lnTo>
                  <a:pt x="304800" y="221647"/>
                </a:lnTo>
                <a:cubicBezTo>
                  <a:pt x="304800" y="236010"/>
                  <a:pt x="293160" y="247650"/>
                  <a:pt x="278797" y="247650"/>
                </a:cubicBezTo>
                <a:lnTo>
                  <a:pt x="200025" y="247650"/>
                </a:lnTo>
                <a:cubicBezTo>
                  <a:pt x="200025" y="274034"/>
                  <a:pt x="209074" y="283369"/>
                  <a:pt x="212122" y="285750"/>
                </a:cubicBezTo>
                <a:lnTo>
                  <a:pt x="228600" y="285750"/>
                </a:lnTo>
                <a:cubicBezTo>
                  <a:pt x="233857" y="285750"/>
                  <a:pt x="238125" y="290017"/>
                  <a:pt x="238125" y="295275"/>
                </a:cubicBezTo>
                <a:cubicBezTo>
                  <a:pt x="238125" y="300533"/>
                  <a:pt x="233857" y="304800"/>
                  <a:pt x="228600" y="304800"/>
                </a:cubicBezTo>
                <a:lnTo>
                  <a:pt x="76200" y="304800"/>
                </a:lnTo>
                <a:cubicBezTo>
                  <a:pt x="70942" y="304800"/>
                  <a:pt x="66675" y="300533"/>
                  <a:pt x="66675" y="295275"/>
                </a:cubicBezTo>
                <a:cubicBezTo>
                  <a:pt x="66675" y="290017"/>
                  <a:pt x="70942" y="285750"/>
                  <a:pt x="76200" y="285750"/>
                </a:cubicBezTo>
                <a:lnTo>
                  <a:pt x="92583" y="285750"/>
                </a:lnTo>
                <a:cubicBezTo>
                  <a:pt x="95821" y="283178"/>
                  <a:pt x="104775" y="273844"/>
                  <a:pt x="104775" y="247650"/>
                </a:cubicBezTo>
                <a:lnTo>
                  <a:pt x="26003" y="247650"/>
                </a:lnTo>
                <a:cubicBezTo>
                  <a:pt x="11639" y="247650"/>
                  <a:pt x="0" y="236010"/>
                  <a:pt x="0" y="221647"/>
                </a:cubicBezTo>
                <a:lnTo>
                  <a:pt x="0" y="26003"/>
                </a:lnTo>
                <a:cubicBezTo>
                  <a:pt x="0" y="11640"/>
                  <a:pt x="11639" y="0"/>
                  <a:pt x="26003" y="0"/>
                </a:cubicBezTo>
                <a:close/>
              </a:path>
            </a:pathLst>
          </a:custGeom>
          <a:gradFill flip="none" rotWithShape="1">
            <a:gsLst>
              <a:gs pos="100000">
                <a:schemeClr val="bg1">
                  <a:alpha val="30000"/>
                </a:schemeClr>
              </a:gs>
              <a:gs pos="18000">
                <a:schemeClr val="bg1">
                  <a:alpha val="10000"/>
                </a:schemeClr>
              </a:gs>
            </a:gsLst>
            <a:lin ang="16200000" scaled="1"/>
            <a:tileRect/>
          </a:gradFill>
          <a:ln w="952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panose="020F0502020204030204"/>
              <a:ea typeface="微软雅黑"/>
              <a:cs typeface="+mn-cs"/>
            </a:endParaRPr>
          </a:p>
        </p:txBody>
      </p:sp>
      <p:sp>
        <p:nvSpPr>
          <p:cNvPr id="201" name="任意多边形: 形状 200">
            <a:extLst>
              <a:ext uri="{FF2B5EF4-FFF2-40B4-BE49-F238E27FC236}">
                <a16:creationId xmlns:a16="http://schemas.microsoft.com/office/drawing/2014/main" id="{6FE6A629-8BC7-4F0B-9B92-C00E9DB0EA06}"/>
              </a:ext>
            </a:extLst>
          </p:cNvPr>
          <p:cNvSpPr>
            <a:spLocks/>
          </p:cNvSpPr>
          <p:nvPr/>
        </p:nvSpPr>
        <p:spPr>
          <a:xfrm>
            <a:off x="2872642" y="2238016"/>
            <a:ext cx="534866" cy="534866"/>
          </a:xfrm>
          <a:custGeom>
            <a:avLst/>
            <a:gdLst>
              <a:gd name="connsiteX0" fmla="*/ 241402 w 304800"/>
              <a:gd name="connsiteY0" fmla="*/ 116090 h 304800"/>
              <a:gd name="connsiteX1" fmla="*/ 254794 w 304800"/>
              <a:gd name="connsiteY1" fmla="*/ 117538 h 304800"/>
              <a:gd name="connsiteX2" fmla="*/ 268414 w 304800"/>
              <a:gd name="connsiteY2" fmla="*/ 122110 h 304800"/>
              <a:gd name="connsiteX3" fmla="*/ 272224 w 304800"/>
              <a:gd name="connsiteY3" fmla="*/ 122110 h 304800"/>
              <a:gd name="connsiteX4" fmla="*/ 286512 w 304800"/>
              <a:gd name="connsiteY4" fmla="*/ 128397 h 304800"/>
              <a:gd name="connsiteX5" fmla="*/ 304800 w 304800"/>
              <a:gd name="connsiteY5" fmla="*/ 218979 h 304800"/>
              <a:gd name="connsiteX6" fmla="*/ 295275 w 304800"/>
              <a:gd name="connsiteY6" fmla="*/ 228504 h 304800"/>
              <a:gd name="connsiteX7" fmla="*/ 203073 w 304800"/>
              <a:gd name="connsiteY7" fmla="*/ 228504 h 304800"/>
              <a:gd name="connsiteX8" fmla="*/ 209550 w 304800"/>
              <a:gd name="connsiteY8" fmla="*/ 290417 h 304800"/>
              <a:gd name="connsiteX9" fmla="*/ 209550 w 304800"/>
              <a:gd name="connsiteY9" fmla="*/ 295275 h 304800"/>
              <a:gd name="connsiteX10" fmla="*/ 200025 w 304800"/>
              <a:gd name="connsiteY10" fmla="*/ 304800 h 304800"/>
              <a:gd name="connsiteX11" fmla="*/ 9525 w 304800"/>
              <a:gd name="connsiteY11" fmla="*/ 304800 h 304800"/>
              <a:gd name="connsiteX12" fmla="*/ 0 w 304800"/>
              <a:gd name="connsiteY12" fmla="*/ 295275 h 304800"/>
              <a:gd name="connsiteX13" fmla="*/ 21431 w 304800"/>
              <a:gd name="connsiteY13" fmla="*/ 197739 h 304800"/>
              <a:gd name="connsiteX14" fmla="*/ 37909 w 304800"/>
              <a:gd name="connsiteY14" fmla="*/ 190500 h 304800"/>
              <a:gd name="connsiteX15" fmla="*/ 40767 w 304800"/>
              <a:gd name="connsiteY15" fmla="*/ 190500 h 304800"/>
              <a:gd name="connsiteX16" fmla="*/ 59817 w 304800"/>
              <a:gd name="connsiteY16" fmla="*/ 184308 h 304800"/>
              <a:gd name="connsiteX17" fmla="*/ 73247 w 304800"/>
              <a:gd name="connsiteY17" fmla="*/ 183261 h 304800"/>
              <a:gd name="connsiteX18" fmla="*/ 74295 w 304800"/>
              <a:gd name="connsiteY18" fmla="*/ 196691 h 304800"/>
              <a:gd name="connsiteX19" fmla="*/ 40291 w 304800"/>
              <a:gd name="connsiteY19" fmla="*/ 209550 h 304800"/>
              <a:gd name="connsiteX20" fmla="*/ 37529 w 304800"/>
              <a:gd name="connsiteY20" fmla="*/ 209550 h 304800"/>
              <a:gd name="connsiteX21" fmla="*/ 34576 w 304800"/>
              <a:gd name="connsiteY21" fmla="*/ 211169 h 304800"/>
              <a:gd name="connsiteX22" fmla="*/ 19526 w 304800"/>
              <a:gd name="connsiteY22" fmla="*/ 285750 h 304800"/>
              <a:gd name="connsiteX23" fmla="*/ 48101 w 304800"/>
              <a:gd name="connsiteY23" fmla="*/ 285750 h 304800"/>
              <a:gd name="connsiteX24" fmla="*/ 48101 w 304800"/>
              <a:gd name="connsiteY24" fmla="*/ 247650 h 304800"/>
              <a:gd name="connsiteX25" fmla="*/ 57626 w 304800"/>
              <a:gd name="connsiteY25" fmla="*/ 238125 h 304800"/>
              <a:gd name="connsiteX26" fmla="*/ 67151 w 304800"/>
              <a:gd name="connsiteY26" fmla="*/ 247650 h 304800"/>
              <a:gd name="connsiteX27" fmla="*/ 67151 w 304800"/>
              <a:gd name="connsiteY27" fmla="*/ 285750 h 304800"/>
              <a:gd name="connsiteX28" fmla="*/ 143351 w 304800"/>
              <a:gd name="connsiteY28" fmla="*/ 285750 h 304800"/>
              <a:gd name="connsiteX29" fmla="*/ 143351 w 304800"/>
              <a:gd name="connsiteY29" fmla="*/ 247650 h 304800"/>
              <a:gd name="connsiteX30" fmla="*/ 152876 w 304800"/>
              <a:gd name="connsiteY30" fmla="*/ 238125 h 304800"/>
              <a:gd name="connsiteX31" fmla="*/ 162401 w 304800"/>
              <a:gd name="connsiteY31" fmla="*/ 247650 h 304800"/>
              <a:gd name="connsiteX32" fmla="*/ 162401 w 304800"/>
              <a:gd name="connsiteY32" fmla="*/ 285750 h 304800"/>
              <a:gd name="connsiteX33" fmla="*/ 190976 w 304800"/>
              <a:gd name="connsiteY33" fmla="*/ 285750 h 304800"/>
              <a:gd name="connsiteX34" fmla="*/ 175927 w 304800"/>
              <a:gd name="connsiteY34" fmla="*/ 211169 h 304800"/>
              <a:gd name="connsiteX35" fmla="*/ 172974 w 304800"/>
              <a:gd name="connsiteY35" fmla="*/ 209550 h 304800"/>
              <a:gd name="connsiteX36" fmla="*/ 170212 w 304800"/>
              <a:gd name="connsiteY36" fmla="*/ 209550 h 304800"/>
              <a:gd name="connsiteX37" fmla="*/ 136208 w 304800"/>
              <a:gd name="connsiteY37" fmla="*/ 196691 h 304800"/>
              <a:gd name="connsiteX38" fmla="*/ 137255 w 304800"/>
              <a:gd name="connsiteY38" fmla="*/ 183261 h 304800"/>
              <a:gd name="connsiteX39" fmla="*/ 150686 w 304800"/>
              <a:gd name="connsiteY39" fmla="*/ 184308 h 304800"/>
              <a:gd name="connsiteX40" fmla="*/ 169736 w 304800"/>
              <a:gd name="connsiteY40" fmla="*/ 190500 h 304800"/>
              <a:gd name="connsiteX41" fmla="*/ 172593 w 304800"/>
              <a:gd name="connsiteY41" fmla="*/ 190500 h 304800"/>
              <a:gd name="connsiteX42" fmla="*/ 189071 w 304800"/>
              <a:gd name="connsiteY42" fmla="*/ 197739 h 304800"/>
              <a:gd name="connsiteX43" fmla="*/ 196882 w 304800"/>
              <a:gd name="connsiteY43" fmla="*/ 209550 h 304800"/>
              <a:gd name="connsiteX44" fmla="*/ 238315 w 304800"/>
              <a:gd name="connsiteY44" fmla="*/ 209550 h 304800"/>
              <a:gd name="connsiteX45" fmla="*/ 238315 w 304800"/>
              <a:gd name="connsiteY45" fmla="*/ 171450 h 304800"/>
              <a:gd name="connsiteX46" fmla="*/ 247840 w 304800"/>
              <a:gd name="connsiteY46" fmla="*/ 161925 h 304800"/>
              <a:gd name="connsiteX47" fmla="*/ 257365 w 304800"/>
              <a:gd name="connsiteY47" fmla="*/ 171450 h 304800"/>
              <a:gd name="connsiteX48" fmla="*/ 257365 w 304800"/>
              <a:gd name="connsiteY48" fmla="*/ 209550 h 304800"/>
              <a:gd name="connsiteX49" fmla="*/ 285940 w 304800"/>
              <a:gd name="connsiteY49" fmla="*/ 209550 h 304800"/>
              <a:gd name="connsiteX50" fmla="*/ 272415 w 304800"/>
              <a:gd name="connsiteY50" fmla="*/ 141160 h 304800"/>
              <a:gd name="connsiteX51" fmla="*/ 269081 w 304800"/>
              <a:gd name="connsiteY51" fmla="*/ 141160 h 304800"/>
              <a:gd name="connsiteX52" fmla="*/ 240506 w 304800"/>
              <a:gd name="connsiteY52" fmla="*/ 130111 h 304800"/>
              <a:gd name="connsiteX53" fmla="*/ 239954 w 304800"/>
              <a:gd name="connsiteY53" fmla="*/ 129492 h 304800"/>
              <a:gd name="connsiteX54" fmla="*/ 241402 w 304800"/>
              <a:gd name="connsiteY54" fmla="*/ 116090 h 304800"/>
              <a:gd name="connsiteX55" fmla="*/ 104775 w 304800"/>
              <a:gd name="connsiteY55" fmla="*/ 66675 h 304800"/>
              <a:gd name="connsiteX56" fmla="*/ 76200 w 304800"/>
              <a:gd name="connsiteY56" fmla="*/ 102013 h 304800"/>
              <a:gd name="connsiteX57" fmla="*/ 104775 w 304800"/>
              <a:gd name="connsiteY57" fmla="*/ 152400 h 304800"/>
              <a:gd name="connsiteX58" fmla="*/ 133350 w 304800"/>
              <a:gd name="connsiteY58" fmla="*/ 102013 h 304800"/>
              <a:gd name="connsiteX59" fmla="*/ 104775 w 304800"/>
              <a:gd name="connsiteY59" fmla="*/ 66675 h 304800"/>
              <a:gd name="connsiteX60" fmla="*/ 104775 w 304800"/>
              <a:gd name="connsiteY60" fmla="*/ 47625 h 304800"/>
              <a:gd name="connsiteX61" fmla="*/ 152400 w 304800"/>
              <a:gd name="connsiteY61" fmla="*/ 102013 h 304800"/>
              <a:gd name="connsiteX62" fmla="*/ 104775 w 304800"/>
              <a:gd name="connsiteY62" fmla="*/ 171450 h 304800"/>
              <a:gd name="connsiteX63" fmla="*/ 57150 w 304800"/>
              <a:gd name="connsiteY63" fmla="*/ 102013 h 304800"/>
              <a:gd name="connsiteX64" fmla="*/ 104775 w 304800"/>
              <a:gd name="connsiteY64" fmla="*/ 47625 h 304800"/>
              <a:gd name="connsiteX65" fmla="*/ 214313 w 304800"/>
              <a:gd name="connsiteY65" fmla="*/ 19050 h 304800"/>
              <a:gd name="connsiteX66" fmla="*/ 190500 w 304800"/>
              <a:gd name="connsiteY66" fmla="*/ 46291 h 304800"/>
              <a:gd name="connsiteX67" fmla="*/ 214313 w 304800"/>
              <a:gd name="connsiteY67" fmla="*/ 85725 h 304800"/>
              <a:gd name="connsiteX68" fmla="*/ 238125 w 304800"/>
              <a:gd name="connsiteY68" fmla="*/ 46291 h 304800"/>
              <a:gd name="connsiteX69" fmla="*/ 214313 w 304800"/>
              <a:gd name="connsiteY69" fmla="*/ 19050 h 304800"/>
              <a:gd name="connsiteX70" fmla="*/ 214313 w 304800"/>
              <a:gd name="connsiteY70" fmla="*/ 0 h 304800"/>
              <a:gd name="connsiteX71" fmla="*/ 257175 w 304800"/>
              <a:gd name="connsiteY71" fmla="*/ 46291 h 304800"/>
              <a:gd name="connsiteX72" fmla="*/ 214313 w 304800"/>
              <a:gd name="connsiteY72" fmla="*/ 104775 h 304800"/>
              <a:gd name="connsiteX73" fmla="*/ 171450 w 304800"/>
              <a:gd name="connsiteY73" fmla="*/ 46291 h 304800"/>
              <a:gd name="connsiteX74" fmla="*/ 214313 w 304800"/>
              <a:gd name="connsiteY74" fmla="*/ 0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Lst>
            <a:rect l="l" t="t" r="r" b="b"/>
            <a:pathLst>
              <a:path w="304800" h="304800">
                <a:moveTo>
                  <a:pt x="241402" y="116090"/>
                </a:moveTo>
                <a:cubicBezTo>
                  <a:pt x="245497" y="112795"/>
                  <a:pt x="251498" y="113442"/>
                  <a:pt x="254794" y="117538"/>
                </a:cubicBezTo>
                <a:cubicBezTo>
                  <a:pt x="258889" y="122110"/>
                  <a:pt x="260604" y="122110"/>
                  <a:pt x="268414" y="122110"/>
                </a:cubicBezTo>
                <a:lnTo>
                  <a:pt x="272224" y="122110"/>
                </a:lnTo>
                <a:cubicBezTo>
                  <a:pt x="277654" y="122129"/>
                  <a:pt x="282826" y="124406"/>
                  <a:pt x="286512" y="128397"/>
                </a:cubicBezTo>
                <a:cubicBezTo>
                  <a:pt x="304800" y="146590"/>
                  <a:pt x="304800" y="207168"/>
                  <a:pt x="304800" y="218979"/>
                </a:cubicBezTo>
                <a:cubicBezTo>
                  <a:pt x="304800" y="224237"/>
                  <a:pt x="300533" y="228504"/>
                  <a:pt x="295275" y="228504"/>
                </a:cubicBezTo>
                <a:lnTo>
                  <a:pt x="203073" y="228504"/>
                </a:lnTo>
                <a:cubicBezTo>
                  <a:pt x="207416" y="248850"/>
                  <a:pt x="209588" y="269605"/>
                  <a:pt x="209550" y="290417"/>
                </a:cubicBezTo>
                <a:lnTo>
                  <a:pt x="209550" y="295275"/>
                </a:lnTo>
                <a:cubicBezTo>
                  <a:pt x="209550" y="300532"/>
                  <a:pt x="205283" y="304800"/>
                  <a:pt x="200025" y="304800"/>
                </a:cubicBezTo>
                <a:lnTo>
                  <a:pt x="9525" y="304800"/>
                </a:lnTo>
                <a:cubicBezTo>
                  <a:pt x="4267" y="304800"/>
                  <a:pt x="0" y="300532"/>
                  <a:pt x="0" y="295275"/>
                </a:cubicBezTo>
                <a:cubicBezTo>
                  <a:pt x="0" y="282702"/>
                  <a:pt x="0" y="218313"/>
                  <a:pt x="21431" y="197739"/>
                </a:cubicBezTo>
                <a:cubicBezTo>
                  <a:pt x="25698" y="193167"/>
                  <a:pt x="31652" y="190547"/>
                  <a:pt x="37909" y="190500"/>
                </a:cubicBezTo>
                <a:lnTo>
                  <a:pt x="40767" y="190500"/>
                </a:lnTo>
                <a:cubicBezTo>
                  <a:pt x="50863" y="190595"/>
                  <a:pt x="54483" y="190595"/>
                  <a:pt x="59817" y="184308"/>
                </a:cubicBezTo>
                <a:cubicBezTo>
                  <a:pt x="63237" y="180308"/>
                  <a:pt x="69247" y="179841"/>
                  <a:pt x="73247" y="183261"/>
                </a:cubicBezTo>
                <a:cubicBezTo>
                  <a:pt x="77248" y="186680"/>
                  <a:pt x="77714" y="192691"/>
                  <a:pt x="74295" y="196691"/>
                </a:cubicBezTo>
                <a:cubicBezTo>
                  <a:pt x="65932" y="206549"/>
                  <a:pt x="53083" y="211407"/>
                  <a:pt x="40291" y="209550"/>
                </a:cubicBezTo>
                <a:lnTo>
                  <a:pt x="37529" y="209550"/>
                </a:lnTo>
                <a:cubicBezTo>
                  <a:pt x="37147" y="209550"/>
                  <a:pt x="36195" y="209550"/>
                  <a:pt x="34576" y="211169"/>
                </a:cubicBezTo>
                <a:cubicBezTo>
                  <a:pt x="24860" y="221075"/>
                  <a:pt x="20193" y="257841"/>
                  <a:pt x="19526" y="285750"/>
                </a:cubicBezTo>
                <a:lnTo>
                  <a:pt x="48101" y="285750"/>
                </a:lnTo>
                <a:lnTo>
                  <a:pt x="48101" y="247650"/>
                </a:lnTo>
                <a:cubicBezTo>
                  <a:pt x="48101" y="242392"/>
                  <a:pt x="52368" y="238125"/>
                  <a:pt x="57626" y="238125"/>
                </a:cubicBezTo>
                <a:cubicBezTo>
                  <a:pt x="62884" y="238125"/>
                  <a:pt x="67151" y="242392"/>
                  <a:pt x="67151" y="247650"/>
                </a:cubicBezTo>
                <a:lnTo>
                  <a:pt x="67151" y="285750"/>
                </a:lnTo>
                <a:lnTo>
                  <a:pt x="143351" y="285750"/>
                </a:lnTo>
                <a:lnTo>
                  <a:pt x="143351" y="247650"/>
                </a:lnTo>
                <a:cubicBezTo>
                  <a:pt x="143351" y="242392"/>
                  <a:pt x="147618" y="238125"/>
                  <a:pt x="152876" y="238125"/>
                </a:cubicBezTo>
                <a:cubicBezTo>
                  <a:pt x="158134" y="238125"/>
                  <a:pt x="162401" y="242392"/>
                  <a:pt x="162401" y="247650"/>
                </a:cubicBezTo>
                <a:lnTo>
                  <a:pt x="162401" y="285750"/>
                </a:lnTo>
                <a:lnTo>
                  <a:pt x="190976" y="285750"/>
                </a:lnTo>
                <a:cubicBezTo>
                  <a:pt x="190405" y="258794"/>
                  <a:pt x="186214" y="221456"/>
                  <a:pt x="175927" y="211169"/>
                </a:cubicBezTo>
                <a:cubicBezTo>
                  <a:pt x="174308" y="209550"/>
                  <a:pt x="172974" y="209550"/>
                  <a:pt x="172974" y="209550"/>
                </a:cubicBezTo>
                <a:lnTo>
                  <a:pt x="170212" y="209550"/>
                </a:lnTo>
                <a:cubicBezTo>
                  <a:pt x="157410" y="211464"/>
                  <a:pt x="144542" y="206597"/>
                  <a:pt x="136208" y="196691"/>
                </a:cubicBezTo>
                <a:cubicBezTo>
                  <a:pt x="132788" y="192691"/>
                  <a:pt x="133255" y="186680"/>
                  <a:pt x="137255" y="183261"/>
                </a:cubicBezTo>
                <a:cubicBezTo>
                  <a:pt x="141256" y="179841"/>
                  <a:pt x="147266" y="180308"/>
                  <a:pt x="150686" y="184308"/>
                </a:cubicBezTo>
                <a:cubicBezTo>
                  <a:pt x="155734" y="190500"/>
                  <a:pt x="159163" y="190500"/>
                  <a:pt x="169736" y="190500"/>
                </a:cubicBezTo>
                <a:lnTo>
                  <a:pt x="172593" y="190500"/>
                </a:lnTo>
                <a:cubicBezTo>
                  <a:pt x="178851" y="190547"/>
                  <a:pt x="184804" y="193167"/>
                  <a:pt x="189071" y="197739"/>
                </a:cubicBezTo>
                <a:cubicBezTo>
                  <a:pt x="192300" y="201225"/>
                  <a:pt x="194939" y="205216"/>
                  <a:pt x="196882" y="209550"/>
                </a:cubicBezTo>
                <a:lnTo>
                  <a:pt x="238315" y="209550"/>
                </a:lnTo>
                <a:lnTo>
                  <a:pt x="238315" y="171450"/>
                </a:lnTo>
                <a:cubicBezTo>
                  <a:pt x="238315" y="166192"/>
                  <a:pt x="242583" y="161925"/>
                  <a:pt x="247840" y="161925"/>
                </a:cubicBezTo>
                <a:cubicBezTo>
                  <a:pt x="253098" y="161925"/>
                  <a:pt x="257365" y="166192"/>
                  <a:pt x="257365" y="171450"/>
                </a:cubicBezTo>
                <a:lnTo>
                  <a:pt x="257365" y="209550"/>
                </a:lnTo>
                <a:lnTo>
                  <a:pt x="285940" y="209550"/>
                </a:lnTo>
                <a:cubicBezTo>
                  <a:pt x="285274" y="172783"/>
                  <a:pt x="278511" y="143256"/>
                  <a:pt x="272415" y="141160"/>
                </a:cubicBezTo>
                <a:lnTo>
                  <a:pt x="269081" y="141160"/>
                </a:lnTo>
                <a:cubicBezTo>
                  <a:pt x="258270" y="142779"/>
                  <a:pt x="247412" y="138579"/>
                  <a:pt x="240506" y="130111"/>
                </a:cubicBezTo>
                <a:cubicBezTo>
                  <a:pt x="240316" y="129911"/>
                  <a:pt x="240135" y="129702"/>
                  <a:pt x="239954" y="129492"/>
                </a:cubicBezTo>
                <a:cubicBezTo>
                  <a:pt x="236658" y="125387"/>
                  <a:pt x="237306" y="119396"/>
                  <a:pt x="241402" y="116090"/>
                </a:cubicBezTo>
                <a:close/>
                <a:moveTo>
                  <a:pt x="104775" y="66675"/>
                </a:moveTo>
                <a:cubicBezTo>
                  <a:pt x="85725" y="66675"/>
                  <a:pt x="76200" y="78200"/>
                  <a:pt x="76200" y="102013"/>
                </a:cubicBezTo>
                <a:cubicBezTo>
                  <a:pt x="76200" y="129349"/>
                  <a:pt x="89249" y="152400"/>
                  <a:pt x="104775" y="152400"/>
                </a:cubicBezTo>
                <a:cubicBezTo>
                  <a:pt x="120301" y="152400"/>
                  <a:pt x="133350" y="129349"/>
                  <a:pt x="133350" y="102013"/>
                </a:cubicBezTo>
                <a:cubicBezTo>
                  <a:pt x="133350" y="78200"/>
                  <a:pt x="123825" y="66675"/>
                  <a:pt x="104775" y="66675"/>
                </a:cubicBezTo>
                <a:close/>
                <a:moveTo>
                  <a:pt x="104775" y="47625"/>
                </a:moveTo>
                <a:cubicBezTo>
                  <a:pt x="134588" y="47625"/>
                  <a:pt x="152400" y="68009"/>
                  <a:pt x="152400" y="102013"/>
                </a:cubicBezTo>
                <a:cubicBezTo>
                  <a:pt x="152400" y="140970"/>
                  <a:pt x="131445" y="171450"/>
                  <a:pt x="104775" y="171450"/>
                </a:cubicBezTo>
                <a:cubicBezTo>
                  <a:pt x="78105" y="171450"/>
                  <a:pt x="57150" y="140970"/>
                  <a:pt x="57150" y="102013"/>
                </a:cubicBezTo>
                <a:cubicBezTo>
                  <a:pt x="57150" y="68009"/>
                  <a:pt x="74962" y="47625"/>
                  <a:pt x="104775" y="47625"/>
                </a:cubicBezTo>
                <a:close/>
                <a:moveTo>
                  <a:pt x="214313" y="19050"/>
                </a:moveTo>
                <a:cubicBezTo>
                  <a:pt x="198025" y="19050"/>
                  <a:pt x="190500" y="27718"/>
                  <a:pt x="190500" y="46291"/>
                </a:cubicBezTo>
                <a:cubicBezTo>
                  <a:pt x="190500" y="67628"/>
                  <a:pt x="201358" y="85725"/>
                  <a:pt x="214313" y="85725"/>
                </a:cubicBezTo>
                <a:cubicBezTo>
                  <a:pt x="227267" y="85725"/>
                  <a:pt x="238125" y="67628"/>
                  <a:pt x="238125" y="46291"/>
                </a:cubicBezTo>
                <a:cubicBezTo>
                  <a:pt x="238125" y="27718"/>
                  <a:pt x="230600" y="19050"/>
                  <a:pt x="214313" y="19050"/>
                </a:cubicBezTo>
                <a:close/>
                <a:moveTo>
                  <a:pt x="214313" y="0"/>
                </a:moveTo>
                <a:cubicBezTo>
                  <a:pt x="241173" y="0"/>
                  <a:pt x="257175" y="17716"/>
                  <a:pt x="257175" y="46291"/>
                </a:cubicBezTo>
                <a:cubicBezTo>
                  <a:pt x="257175" y="79057"/>
                  <a:pt x="238315" y="104775"/>
                  <a:pt x="214313" y="104775"/>
                </a:cubicBezTo>
                <a:cubicBezTo>
                  <a:pt x="190500" y="104775"/>
                  <a:pt x="171450" y="79057"/>
                  <a:pt x="171450" y="46291"/>
                </a:cubicBezTo>
                <a:cubicBezTo>
                  <a:pt x="171450" y="17336"/>
                  <a:pt x="187452" y="0"/>
                  <a:pt x="214313" y="0"/>
                </a:cubicBezTo>
                <a:close/>
              </a:path>
            </a:pathLst>
          </a:custGeom>
          <a:gradFill flip="none" rotWithShape="1">
            <a:gsLst>
              <a:gs pos="100000">
                <a:schemeClr val="bg1">
                  <a:alpha val="30000"/>
                </a:schemeClr>
              </a:gs>
              <a:gs pos="18000">
                <a:schemeClr val="bg1">
                  <a:alpha val="10000"/>
                </a:schemeClr>
              </a:gs>
            </a:gsLst>
            <a:lin ang="16200000" scaled="1"/>
            <a:tileRect/>
          </a:gra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panose="020F0502020204030204"/>
              <a:ea typeface="微软雅黑"/>
              <a:cs typeface="+mn-cs"/>
            </a:endParaRPr>
          </a:p>
        </p:txBody>
      </p:sp>
      <p:sp>
        <p:nvSpPr>
          <p:cNvPr id="200" name="任意多边形: 形状 199">
            <a:extLst>
              <a:ext uri="{FF2B5EF4-FFF2-40B4-BE49-F238E27FC236}">
                <a16:creationId xmlns:a16="http://schemas.microsoft.com/office/drawing/2014/main" id="{0F681D6F-FED4-43C8-8D7D-131FC3CF6AEA}"/>
              </a:ext>
            </a:extLst>
          </p:cNvPr>
          <p:cNvSpPr/>
          <p:nvPr/>
        </p:nvSpPr>
        <p:spPr>
          <a:xfrm>
            <a:off x="10231804" y="5304075"/>
            <a:ext cx="472342" cy="472342"/>
          </a:xfrm>
          <a:custGeom>
            <a:avLst/>
            <a:gdLst>
              <a:gd name="connsiteX0" fmla="*/ 142875 w 304800"/>
              <a:gd name="connsiteY0" fmla="*/ 228600 h 304800"/>
              <a:gd name="connsiteX1" fmla="*/ 161925 w 304800"/>
              <a:gd name="connsiteY1" fmla="*/ 228600 h 304800"/>
              <a:gd name="connsiteX2" fmla="*/ 171450 w 304800"/>
              <a:gd name="connsiteY2" fmla="*/ 238125 h 304800"/>
              <a:gd name="connsiteX3" fmla="*/ 161925 w 304800"/>
              <a:gd name="connsiteY3" fmla="*/ 247650 h 304800"/>
              <a:gd name="connsiteX4" fmla="*/ 142875 w 304800"/>
              <a:gd name="connsiteY4" fmla="*/ 247650 h 304800"/>
              <a:gd name="connsiteX5" fmla="*/ 133350 w 304800"/>
              <a:gd name="connsiteY5" fmla="*/ 238125 h 304800"/>
              <a:gd name="connsiteX6" fmla="*/ 142875 w 304800"/>
              <a:gd name="connsiteY6" fmla="*/ 228600 h 304800"/>
              <a:gd name="connsiteX7" fmla="*/ 71438 w 304800"/>
              <a:gd name="connsiteY7" fmla="*/ 219075 h 304800"/>
              <a:gd name="connsiteX8" fmla="*/ 57150 w 304800"/>
              <a:gd name="connsiteY8" fmla="*/ 233363 h 304800"/>
              <a:gd name="connsiteX9" fmla="*/ 71438 w 304800"/>
              <a:gd name="connsiteY9" fmla="*/ 247650 h 304800"/>
              <a:gd name="connsiteX10" fmla="*/ 85725 w 304800"/>
              <a:gd name="connsiteY10" fmla="*/ 233363 h 304800"/>
              <a:gd name="connsiteX11" fmla="*/ 71438 w 304800"/>
              <a:gd name="connsiteY11" fmla="*/ 219075 h 304800"/>
              <a:gd name="connsiteX12" fmla="*/ 71438 w 304800"/>
              <a:gd name="connsiteY12" fmla="*/ 200025 h 304800"/>
              <a:gd name="connsiteX13" fmla="*/ 104775 w 304800"/>
              <a:gd name="connsiteY13" fmla="*/ 233363 h 304800"/>
              <a:gd name="connsiteX14" fmla="*/ 71438 w 304800"/>
              <a:gd name="connsiteY14" fmla="*/ 266700 h 304800"/>
              <a:gd name="connsiteX15" fmla="*/ 38100 w 304800"/>
              <a:gd name="connsiteY15" fmla="*/ 233363 h 304800"/>
              <a:gd name="connsiteX16" fmla="*/ 71438 w 304800"/>
              <a:gd name="connsiteY16" fmla="*/ 200025 h 304800"/>
              <a:gd name="connsiteX17" fmla="*/ 57150 w 304800"/>
              <a:gd name="connsiteY17" fmla="*/ 161925 h 304800"/>
              <a:gd name="connsiteX18" fmla="*/ 161925 w 304800"/>
              <a:gd name="connsiteY18" fmla="*/ 161925 h 304800"/>
              <a:gd name="connsiteX19" fmla="*/ 171450 w 304800"/>
              <a:gd name="connsiteY19" fmla="*/ 171450 h 304800"/>
              <a:gd name="connsiteX20" fmla="*/ 161925 w 304800"/>
              <a:gd name="connsiteY20" fmla="*/ 180975 h 304800"/>
              <a:gd name="connsiteX21" fmla="*/ 57150 w 304800"/>
              <a:gd name="connsiteY21" fmla="*/ 180975 h 304800"/>
              <a:gd name="connsiteX22" fmla="*/ 47625 w 304800"/>
              <a:gd name="connsiteY22" fmla="*/ 171450 h 304800"/>
              <a:gd name="connsiteX23" fmla="*/ 57150 w 304800"/>
              <a:gd name="connsiteY23" fmla="*/ 161925 h 304800"/>
              <a:gd name="connsiteX24" fmla="*/ 57150 w 304800"/>
              <a:gd name="connsiteY24" fmla="*/ 123825 h 304800"/>
              <a:gd name="connsiteX25" fmla="*/ 161925 w 304800"/>
              <a:gd name="connsiteY25" fmla="*/ 123825 h 304800"/>
              <a:gd name="connsiteX26" fmla="*/ 171450 w 304800"/>
              <a:gd name="connsiteY26" fmla="*/ 133350 h 304800"/>
              <a:gd name="connsiteX27" fmla="*/ 161925 w 304800"/>
              <a:gd name="connsiteY27" fmla="*/ 142875 h 304800"/>
              <a:gd name="connsiteX28" fmla="*/ 57150 w 304800"/>
              <a:gd name="connsiteY28" fmla="*/ 142875 h 304800"/>
              <a:gd name="connsiteX29" fmla="*/ 47625 w 304800"/>
              <a:gd name="connsiteY29" fmla="*/ 133350 h 304800"/>
              <a:gd name="connsiteX30" fmla="*/ 57150 w 304800"/>
              <a:gd name="connsiteY30" fmla="*/ 123825 h 304800"/>
              <a:gd name="connsiteX31" fmla="*/ 57150 w 304800"/>
              <a:gd name="connsiteY31" fmla="*/ 85725 h 304800"/>
              <a:gd name="connsiteX32" fmla="*/ 161925 w 304800"/>
              <a:gd name="connsiteY32" fmla="*/ 85725 h 304800"/>
              <a:gd name="connsiteX33" fmla="*/ 171450 w 304800"/>
              <a:gd name="connsiteY33" fmla="*/ 95250 h 304800"/>
              <a:gd name="connsiteX34" fmla="*/ 161925 w 304800"/>
              <a:gd name="connsiteY34" fmla="*/ 104775 h 304800"/>
              <a:gd name="connsiteX35" fmla="*/ 57150 w 304800"/>
              <a:gd name="connsiteY35" fmla="*/ 104775 h 304800"/>
              <a:gd name="connsiteX36" fmla="*/ 47625 w 304800"/>
              <a:gd name="connsiteY36" fmla="*/ 95250 h 304800"/>
              <a:gd name="connsiteX37" fmla="*/ 57150 w 304800"/>
              <a:gd name="connsiteY37" fmla="*/ 85725 h 304800"/>
              <a:gd name="connsiteX38" fmla="*/ 266700 w 304800"/>
              <a:gd name="connsiteY38" fmla="*/ 47625 h 304800"/>
              <a:gd name="connsiteX39" fmla="*/ 266700 w 304800"/>
              <a:gd name="connsiteY39" fmla="*/ 228600 h 304800"/>
              <a:gd name="connsiteX40" fmla="*/ 285750 w 304800"/>
              <a:gd name="connsiteY40" fmla="*/ 228600 h 304800"/>
              <a:gd name="connsiteX41" fmla="*/ 285750 w 304800"/>
              <a:gd name="connsiteY41" fmla="*/ 47625 h 304800"/>
              <a:gd name="connsiteX42" fmla="*/ 85725 w 304800"/>
              <a:gd name="connsiteY42" fmla="*/ 47625 h 304800"/>
              <a:gd name="connsiteX43" fmla="*/ 133350 w 304800"/>
              <a:gd name="connsiteY43" fmla="*/ 47625 h 304800"/>
              <a:gd name="connsiteX44" fmla="*/ 142875 w 304800"/>
              <a:gd name="connsiteY44" fmla="*/ 57150 h 304800"/>
              <a:gd name="connsiteX45" fmla="*/ 133350 w 304800"/>
              <a:gd name="connsiteY45" fmla="*/ 66675 h 304800"/>
              <a:gd name="connsiteX46" fmla="*/ 85725 w 304800"/>
              <a:gd name="connsiteY46" fmla="*/ 66675 h 304800"/>
              <a:gd name="connsiteX47" fmla="*/ 76200 w 304800"/>
              <a:gd name="connsiteY47" fmla="*/ 57150 h 304800"/>
              <a:gd name="connsiteX48" fmla="*/ 85725 w 304800"/>
              <a:gd name="connsiteY48" fmla="*/ 47625 h 304800"/>
              <a:gd name="connsiteX49" fmla="*/ 19050 w 304800"/>
              <a:gd name="connsiteY49" fmla="*/ 19050 h 304800"/>
              <a:gd name="connsiteX50" fmla="*/ 19050 w 304800"/>
              <a:gd name="connsiteY50" fmla="*/ 285750 h 304800"/>
              <a:gd name="connsiteX51" fmla="*/ 200025 w 304800"/>
              <a:gd name="connsiteY51" fmla="*/ 285750 h 304800"/>
              <a:gd name="connsiteX52" fmla="*/ 200025 w 304800"/>
              <a:gd name="connsiteY52" fmla="*/ 19050 h 304800"/>
              <a:gd name="connsiteX53" fmla="*/ 266700 w 304800"/>
              <a:gd name="connsiteY53" fmla="*/ 0 h 304800"/>
              <a:gd name="connsiteX54" fmla="*/ 285750 w 304800"/>
              <a:gd name="connsiteY54" fmla="*/ 0 h 304800"/>
              <a:gd name="connsiteX55" fmla="*/ 295275 w 304800"/>
              <a:gd name="connsiteY55" fmla="*/ 9525 h 304800"/>
              <a:gd name="connsiteX56" fmla="*/ 295275 w 304800"/>
              <a:gd name="connsiteY56" fmla="*/ 28575 h 304800"/>
              <a:gd name="connsiteX57" fmla="*/ 304800 w 304800"/>
              <a:gd name="connsiteY57" fmla="*/ 38100 h 304800"/>
              <a:gd name="connsiteX58" fmla="*/ 304800 w 304800"/>
              <a:gd name="connsiteY58" fmla="*/ 238125 h 304800"/>
              <a:gd name="connsiteX59" fmla="*/ 295275 w 304800"/>
              <a:gd name="connsiteY59" fmla="*/ 247650 h 304800"/>
              <a:gd name="connsiteX60" fmla="*/ 295275 w 304800"/>
              <a:gd name="connsiteY60" fmla="*/ 266700 h 304800"/>
              <a:gd name="connsiteX61" fmla="*/ 285750 w 304800"/>
              <a:gd name="connsiteY61" fmla="*/ 276225 h 304800"/>
              <a:gd name="connsiteX62" fmla="*/ 285750 w 304800"/>
              <a:gd name="connsiteY62" fmla="*/ 295275 h 304800"/>
              <a:gd name="connsiteX63" fmla="*/ 276225 w 304800"/>
              <a:gd name="connsiteY63" fmla="*/ 304800 h 304800"/>
              <a:gd name="connsiteX64" fmla="*/ 266700 w 304800"/>
              <a:gd name="connsiteY64" fmla="*/ 295275 h 304800"/>
              <a:gd name="connsiteX65" fmla="*/ 266700 w 304800"/>
              <a:gd name="connsiteY65" fmla="*/ 276225 h 304800"/>
              <a:gd name="connsiteX66" fmla="*/ 257175 w 304800"/>
              <a:gd name="connsiteY66" fmla="*/ 266700 h 304800"/>
              <a:gd name="connsiteX67" fmla="*/ 257175 w 304800"/>
              <a:gd name="connsiteY67" fmla="*/ 247650 h 304800"/>
              <a:gd name="connsiteX68" fmla="*/ 247650 w 304800"/>
              <a:gd name="connsiteY68" fmla="*/ 238125 h 304800"/>
              <a:gd name="connsiteX69" fmla="*/ 247650 w 304800"/>
              <a:gd name="connsiteY69" fmla="*/ 38100 h 304800"/>
              <a:gd name="connsiteX70" fmla="*/ 257175 w 304800"/>
              <a:gd name="connsiteY70" fmla="*/ 28575 h 304800"/>
              <a:gd name="connsiteX71" fmla="*/ 257175 w 304800"/>
              <a:gd name="connsiteY71" fmla="*/ 9525 h 304800"/>
              <a:gd name="connsiteX72" fmla="*/ 266700 w 304800"/>
              <a:gd name="connsiteY72" fmla="*/ 0 h 304800"/>
              <a:gd name="connsiteX73" fmla="*/ 19050 w 304800"/>
              <a:gd name="connsiteY73" fmla="*/ 0 h 304800"/>
              <a:gd name="connsiteX74" fmla="*/ 200025 w 304800"/>
              <a:gd name="connsiteY74" fmla="*/ 0 h 304800"/>
              <a:gd name="connsiteX75" fmla="*/ 219075 w 304800"/>
              <a:gd name="connsiteY75" fmla="*/ 19050 h 304800"/>
              <a:gd name="connsiteX76" fmla="*/ 219075 w 304800"/>
              <a:gd name="connsiteY76" fmla="*/ 285750 h 304800"/>
              <a:gd name="connsiteX77" fmla="*/ 200025 w 304800"/>
              <a:gd name="connsiteY77" fmla="*/ 304800 h 304800"/>
              <a:gd name="connsiteX78" fmla="*/ 19050 w 304800"/>
              <a:gd name="connsiteY78" fmla="*/ 304800 h 304800"/>
              <a:gd name="connsiteX79" fmla="*/ 0 w 304800"/>
              <a:gd name="connsiteY79" fmla="*/ 285750 h 304800"/>
              <a:gd name="connsiteX80" fmla="*/ 0 w 304800"/>
              <a:gd name="connsiteY80" fmla="*/ 19050 h 304800"/>
              <a:gd name="connsiteX81" fmla="*/ 19050 w 304800"/>
              <a:gd name="connsiteY81" fmla="*/ 0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Lst>
            <a:rect l="l" t="t" r="r" b="b"/>
            <a:pathLst>
              <a:path w="304800" h="304800">
                <a:moveTo>
                  <a:pt x="142875" y="228600"/>
                </a:moveTo>
                <a:lnTo>
                  <a:pt x="161925" y="228600"/>
                </a:lnTo>
                <a:cubicBezTo>
                  <a:pt x="167183" y="228600"/>
                  <a:pt x="171450" y="232867"/>
                  <a:pt x="171450" y="238125"/>
                </a:cubicBezTo>
                <a:cubicBezTo>
                  <a:pt x="171450" y="243383"/>
                  <a:pt x="167183" y="247650"/>
                  <a:pt x="161925" y="247650"/>
                </a:cubicBezTo>
                <a:lnTo>
                  <a:pt x="142875" y="247650"/>
                </a:lnTo>
                <a:cubicBezTo>
                  <a:pt x="137617" y="247650"/>
                  <a:pt x="133350" y="243383"/>
                  <a:pt x="133350" y="238125"/>
                </a:cubicBezTo>
                <a:cubicBezTo>
                  <a:pt x="133350" y="232867"/>
                  <a:pt x="137617" y="228600"/>
                  <a:pt x="142875" y="228600"/>
                </a:cubicBezTo>
                <a:close/>
                <a:moveTo>
                  <a:pt x="71438" y="219075"/>
                </a:moveTo>
                <a:cubicBezTo>
                  <a:pt x="63551" y="219075"/>
                  <a:pt x="57150" y="225476"/>
                  <a:pt x="57150" y="233363"/>
                </a:cubicBezTo>
                <a:cubicBezTo>
                  <a:pt x="57150" y="241249"/>
                  <a:pt x="63551" y="247650"/>
                  <a:pt x="71438" y="247650"/>
                </a:cubicBezTo>
                <a:cubicBezTo>
                  <a:pt x="79324" y="247650"/>
                  <a:pt x="85725" y="241249"/>
                  <a:pt x="85725" y="233363"/>
                </a:cubicBezTo>
                <a:cubicBezTo>
                  <a:pt x="85725" y="225476"/>
                  <a:pt x="79324" y="219075"/>
                  <a:pt x="71438" y="219075"/>
                </a:cubicBezTo>
                <a:close/>
                <a:moveTo>
                  <a:pt x="71438" y="200025"/>
                </a:moveTo>
                <a:cubicBezTo>
                  <a:pt x="89849" y="200025"/>
                  <a:pt x="104775" y="214951"/>
                  <a:pt x="104775" y="233363"/>
                </a:cubicBezTo>
                <a:cubicBezTo>
                  <a:pt x="104775" y="251774"/>
                  <a:pt x="89849" y="266700"/>
                  <a:pt x="71438" y="266700"/>
                </a:cubicBezTo>
                <a:cubicBezTo>
                  <a:pt x="53026" y="266700"/>
                  <a:pt x="38100" y="251774"/>
                  <a:pt x="38100" y="233363"/>
                </a:cubicBezTo>
                <a:cubicBezTo>
                  <a:pt x="38100" y="214951"/>
                  <a:pt x="53026" y="200025"/>
                  <a:pt x="71438" y="200025"/>
                </a:cubicBezTo>
                <a:close/>
                <a:moveTo>
                  <a:pt x="57150" y="161925"/>
                </a:moveTo>
                <a:lnTo>
                  <a:pt x="161925" y="161925"/>
                </a:lnTo>
                <a:cubicBezTo>
                  <a:pt x="167183" y="161925"/>
                  <a:pt x="171450" y="166192"/>
                  <a:pt x="171450" y="171450"/>
                </a:cubicBezTo>
                <a:cubicBezTo>
                  <a:pt x="171450" y="176708"/>
                  <a:pt x="167183" y="180975"/>
                  <a:pt x="161925" y="180975"/>
                </a:cubicBezTo>
                <a:lnTo>
                  <a:pt x="57150" y="180975"/>
                </a:lnTo>
                <a:cubicBezTo>
                  <a:pt x="51892" y="180975"/>
                  <a:pt x="47625" y="176708"/>
                  <a:pt x="47625" y="171450"/>
                </a:cubicBezTo>
                <a:cubicBezTo>
                  <a:pt x="47625" y="166192"/>
                  <a:pt x="51892" y="161925"/>
                  <a:pt x="57150" y="161925"/>
                </a:cubicBezTo>
                <a:close/>
                <a:moveTo>
                  <a:pt x="57150" y="123825"/>
                </a:moveTo>
                <a:lnTo>
                  <a:pt x="161925" y="123825"/>
                </a:lnTo>
                <a:cubicBezTo>
                  <a:pt x="167183" y="123825"/>
                  <a:pt x="171450" y="128092"/>
                  <a:pt x="171450" y="133350"/>
                </a:cubicBezTo>
                <a:cubicBezTo>
                  <a:pt x="171450" y="138608"/>
                  <a:pt x="167183" y="142875"/>
                  <a:pt x="161925" y="142875"/>
                </a:cubicBezTo>
                <a:lnTo>
                  <a:pt x="57150" y="142875"/>
                </a:lnTo>
                <a:cubicBezTo>
                  <a:pt x="51892" y="142875"/>
                  <a:pt x="47625" y="138608"/>
                  <a:pt x="47625" y="133350"/>
                </a:cubicBezTo>
                <a:cubicBezTo>
                  <a:pt x="47625" y="128092"/>
                  <a:pt x="51892" y="123825"/>
                  <a:pt x="57150" y="123825"/>
                </a:cubicBezTo>
                <a:close/>
                <a:moveTo>
                  <a:pt x="57150" y="85725"/>
                </a:moveTo>
                <a:lnTo>
                  <a:pt x="161925" y="85725"/>
                </a:lnTo>
                <a:cubicBezTo>
                  <a:pt x="167183" y="85725"/>
                  <a:pt x="171450" y="89992"/>
                  <a:pt x="171450" y="95250"/>
                </a:cubicBezTo>
                <a:cubicBezTo>
                  <a:pt x="171450" y="100508"/>
                  <a:pt x="167183" y="104775"/>
                  <a:pt x="161925" y="104775"/>
                </a:cubicBezTo>
                <a:lnTo>
                  <a:pt x="57150" y="104775"/>
                </a:lnTo>
                <a:cubicBezTo>
                  <a:pt x="51892" y="104775"/>
                  <a:pt x="47625" y="100508"/>
                  <a:pt x="47625" y="95250"/>
                </a:cubicBezTo>
                <a:cubicBezTo>
                  <a:pt x="47625" y="89992"/>
                  <a:pt x="51892" y="85725"/>
                  <a:pt x="57150" y="85725"/>
                </a:cubicBezTo>
                <a:close/>
                <a:moveTo>
                  <a:pt x="266700" y="47625"/>
                </a:moveTo>
                <a:lnTo>
                  <a:pt x="266700" y="228600"/>
                </a:lnTo>
                <a:lnTo>
                  <a:pt x="285750" y="228600"/>
                </a:lnTo>
                <a:lnTo>
                  <a:pt x="285750" y="47625"/>
                </a:lnTo>
                <a:close/>
                <a:moveTo>
                  <a:pt x="85725" y="47625"/>
                </a:moveTo>
                <a:lnTo>
                  <a:pt x="133350" y="47625"/>
                </a:lnTo>
                <a:cubicBezTo>
                  <a:pt x="138608" y="47625"/>
                  <a:pt x="142875" y="51892"/>
                  <a:pt x="142875" y="57150"/>
                </a:cubicBezTo>
                <a:cubicBezTo>
                  <a:pt x="142875" y="62408"/>
                  <a:pt x="138608" y="66675"/>
                  <a:pt x="133350" y="66675"/>
                </a:cubicBezTo>
                <a:lnTo>
                  <a:pt x="85725" y="66675"/>
                </a:lnTo>
                <a:cubicBezTo>
                  <a:pt x="80467" y="66675"/>
                  <a:pt x="76200" y="62408"/>
                  <a:pt x="76200" y="57150"/>
                </a:cubicBezTo>
                <a:cubicBezTo>
                  <a:pt x="76200" y="51892"/>
                  <a:pt x="80467" y="47625"/>
                  <a:pt x="85725" y="47625"/>
                </a:cubicBezTo>
                <a:close/>
                <a:moveTo>
                  <a:pt x="19050" y="19050"/>
                </a:moveTo>
                <a:lnTo>
                  <a:pt x="19050" y="285750"/>
                </a:lnTo>
                <a:lnTo>
                  <a:pt x="200025" y="285750"/>
                </a:lnTo>
                <a:lnTo>
                  <a:pt x="200025" y="19050"/>
                </a:lnTo>
                <a:close/>
                <a:moveTo>
                  <a:pt x="266700" y="0"/>
                </a:moveTo>
                <a:lnTo>
                  <a:pt x="285750" y="0"/>
                </a:lnTo>
                <a:cubicBezTo>
                  <a:pt x="291008" y="0"/>
                  <a:pt x="295275" y="4267"/>
                  <a:pt x="295275" y="9525"/>
                </a:cubicBezTo>
                <a:lnTo>
                  <a:pt x="295275" y="28575"/>
                </a:lnTo>
                <a:cubicBezTo>
                  <a:pt x="300533" y="28575"/>
                  <a:pt x="304800" y="32842"/>
                  <a:pt x="304800" y="38100"/>
                </a:cubicBezTo>
                <a:lnTo>
                  <a:pt x="304800" y="238125"/>
                </a:lnTo>
                <a:cubicBezTo>
                  <a:pt x="304800" y="243383"/>
                  <a:pt x="300533" y="247650"/>
                  <a:pt x="295275" y="247650"/>
                </a:cubicBezTo>
                <a:lnTo>
                  <a:pt x="295275" y="266700"/>
                </a:lnTo>
                <a:cubicBezTo>
                  <a:pt x="295275" y="271958"/>
                  <a:pt x="291008" y="276225"/>
                  <a:pt x="285750" y="276225"/>
                </a:cubicBezTo>
                <a:lnTo>
                  <a:pt x="285750" y="295275"/>
                </a:lnTo>
                <a:cubicBezTo>
                  <a:pt x="285750" y="300533"/>
                  <a:pt x="281483" y="304800"/>
                  <a:pt x="276225" y="304800"/>
                </a:cubicBezTo>
                <a:cubicBezTo>
                  <a:pt x="270967" y="304800"/>
                  <a:pt x="266700" y="300533"/>
                  <a:pt x="266700" y="295275"/>
                </a:cubicBezTo>
                <a:lnTo>
                  <a:pt x="266700" y="276225"/>
                </a:lnTo>
                <a:cubicBezTo>
                  <a:pt x="261442" y="276225"/>
                  <a:pt x="257175" y="271958"/>
                  <a:pt x="257175" y="266700"/>
                </a:cubicBezTo>
                <a:lnTo>
                  <a:pt x="257175" y="247650"/>
                </a:lnTo>
                <a:cubicBezTo>
                  <a:pt x="251917" y="247650"/>
                  <a:pt x="247650" y="243383"/>
                  <a:pt x="247650" y="238125"/>
                </a:cubicBezTo>
                <a:lnTo>
                  <a:pt x="247650" y="38100"/>
                </a:lnTo>
                <a:cubicBezTo>
                  <a:pt x="247650" y="32842"/>
                  <a:pt x="251917" y="28575"/>
                  <a:pt x="257175" y="28575"/>
                </a:cubicBezTo>
                <a:lnTo>
                  <a:pt x="257175" y="9525"/>
                </a:lnTo>
                <a:cubicBezTo>
                  <a:pt x="257175" y="4267"/>
                  <a:pt x="261442" y="0"/>
                  <a:pt x="266700" y="0"/>
                </a:cubicBezTo>
                <a:close/>
                <a:moveTo>
                  <a:pt x="19050" y="0"/>
                </a:moveTo>
                <a:lnTo>
                  <a:pt x="200025" y="0"/>
                </a:lnTo>
                <a:cubicBezTo>
                  <a:pt x="210550" y="0"/>
                  <a:pt x="219075" y="8525"/>
                  <a:pt x="219075" y="19050"/>
                </a:cubicBezTo>
                <a:lnTo>
                  <a:pt x="219075" y="285750"/>
                </a:lnTo>
                <a:cubicBezTo>
                  <a:pt x="219075" y="296275"/>
                  <a:pt x="210550" y="304800"/>
                  <a:pt x="200025" y="304800"/>
                </a:cubicBezTo>
                <a:lnTo>
                  <a:pt x="19050" y="304800"/>
                </a:lnTo>
                <a:cubicBezTo>
                  <a:pt x="8525" y="304800"/>
                  <a:pt x="0" y="296275"/>
                  <a:pt x="0" y="285750"/>
                </a:cubicBezTo>
                <a:lnTo>
                  <a:pt x="0" y="19050"/>
                </a:lnTo>
                <a:cubicBezTo>
                  <a:pt x="0" y="8525"/>
                  <a:pt x="8525" y="0"/>
                  <a:pt x="19050" y="0"/>
                </a:cubicBezTo>
                <a:close/>
              </a:path>
            </a:pathLst>
          </a:custGeom>
          <a:gradFill flip="none" rotWithShape="1">
            <a:gsLst>
              <a:gs pos="100000">
                <a:schemeClr val="bg1">
                  <a:alpha val="30000"/>
                </a:schemeClr>
              </a:gs>
              <a:gs pos="18000">
                <a:schemeClr val="bg1">
                  <a:alpha val="10000"/>
                </a:schemeClr>
              </a:gs>
            </a:gsLst>
            <a:lin ang="16200000" scaled="1"/>
            <a:tileRect/>
          </a:gradFill>
          <a:ln w="952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panose="020F0502020204030204"/>
              <a:ea typeface="微软雅黑"/>
              <a:cs typeface="+mn-cs"/>
            </a:endParaRPr>
          </a:p>
        </p:txBody>
      </p:sp>
      <p:sp>
        <p:nvSpPr>
          <p:cNvPr id="209" name="Freeform 5">
            <a:extLst>
              <a:ext uri="{FF2B5EF4-FFF2-40B4-BE49-F238E27FC236}">
                <a16:creationId xmlns:a16="http://schemas.microsoft.com/office/drawing/2014/main" id="{9D7B8141-2B79-433E-9B4E-2A2260D44202}"/>
              </a:ext>
            </a:extLst>
          </p:cNvPr>
          <p:cNvSpPr>
            <a:spLocks noEditPoints="1"/>
          </p:cNvSpPr>
          <p:nvPr/>
        </p:nvSpPr>
        <p:spPr bwMode="auto">
          <a:xfrm>
            <a:off x="5673396" y="1957890"/>
            <a:ext cx="1058364" cy="1082634"/>
          </a:xfrm>
          <a:custGeom>
            <a:avLst/>
            <a:gdLst>
              <a:gd name="T0" fmla="*/ 61 w 89"/>
              <a:gd name="T1" fmla="*/ 91 h 91"/>
              <a:gd name="T2" fmla="*/ 55 w 89"/>
              <a:gd name="T3" fmla="*/ 82 h 91"/>
              <a:gd name="T4" fmla="*/ 37 w 89"/>
              <a:gd name="T5" fmla="*/ 87 h 91"/>
              <a:gd name="T6" fmla="*/ 20 w 89"/>
              <a:gd name="T7" fmla="*/ 82 h 91"/>
              <a:gd name="T8" fmla="*/ 14 w 89"/>
              <a:gd name="T9" fmla="*/ 91 h 91"/>
              <a:gd name="T10" fmla="*/ 13 w 89"/>
              <a:gd name="T11" fmla="*/ 89 h 91"/>
              <a:gd name="T12" fmla="*/ 16 w 89"/>
              <a:gd name="T13" fmla="*/ 80 h 91"/>
              <a:gd name="T14" fmla="*/ 37 w 89"/>
              <a:gd name="T15" fmla="*/ 13 h 91"/>
              <a:gd name="T16" fmla="*/ 62 w 89"/>
              <a:gd name="T17" fmla="*/ 23 h 91"/>
              <a:gd name="T18" fmla="*/ 63 w 89"/>
              <a:gd name="T19" fmla="*/ 13 h 91"/>
              <a:gd name="T20" fmla="*/ 74 w 89"/>
              <a:gd name="T21" fmla="*/ 1 h 91"/>
              <a:gd name="T22" fmla="*/ 78 w 89"/>
              <a:gd name="T23" fmla="*/ 8 h 91"/>
              <a:gd name="T24" fmla="*/ 82 w 89"/>
              <a:gd name="T25" fmla="*/ 7 h 91"/>
              <a:gd name="T26" fmla="*/ 81 w 89"/>
              <a:gd name="T27" fmla="*/ 10 h 91"/>
              <a:gd name="T28" fmla="*/ 88 w 89"/>
              <a:gd name="T29" fmla="*/ 14 h 91"/>
              <a:gd name="T30" fmla="*/ 76 w 89"/>
              <a:gd name="T31" fmla="*/ 26 h 91"/>
              <a:gd name="T32" fmla="*/ 66 w 89"/>
              <a:gd name="T33" fmla="*/ 24 h 91"/>
              <a:gd name="T34" fmla="*/ 65 w 89"/>
              <a:gd name="T35" fmla="*/ 26 h 91"/>
              <a:gd name="T36" fmla="*/ 74 w 89"/>
              <a:gd name="T37" fmla="*/ 50 h 91"/>
              <a:gd name="T38" fmla="*/ 58 w 89"/>
              <a:gd name="T39" fmla="*/ 80 h 91"/>
              <a:gd name="T40" fmla="*/ 62 w 89"/>
              <a:gd name="T41" fmla="*/ 91 h 91"/>
              <a:gd name="T42" fmla="*/ 37 w 89"/>
              <a:gd name="T43" fmla="*/ 84 h 91"/>
              <a:gd name="T44" fmla="*/ 63 w 89"/>
              <a:gd name="T45" fmla="*/ 28 h 91"/>
              <a:gd name="T46" fmla="*/ 59 w 89"/>
              <a:gd name="T47" fmla="*/ 31 h 91"/>
              <a:gd name="T48" fmla="*/ 66 w 89"/>
              <a:gd name="T49" fmla="*/ 50 h 91"/>
              <a:gd name="T50" fmla="*/ 8 w 89"/>
              <a:gd name="T51" fmla="*/ 50 h 91"/>
              <a:gd name="T52" fmla="*/ 55 w 89"/>
              <a:gd name="T53" fmla="*/ 28 h 91"/>
              <a:gd name="T54" fmla="*/ 60 w 89"/>
              <a:gd name="T55" fmla="*/ 25 h 91"/>
              <a:gd name="T56" fmla="*/ 37 w 89"/>
              <a:gd name="T57" fmla="*/ 16 h 91"/>
              <a:gd name="T58" fmla="*/ 37 w 89"/>
              <a:gd name="T59" fmla="*/ 84 h 91"/>
              <a:gd name="T60" fmla="*/ 63 w 89"/>
              <a:gd name="T61" fmla="*/ 50 h 91"/>
              <a:gd name="T62" fmla="*/ 56 w 89"/>
              <a:gd name="T63" fmla="*/ 33 h 91"/>
              <a:gd name="T64" fmla="*/ 53 w 89"/>
              <a:gd name="T65" fmla="*/ 37 h 91"/>
              <a:gd name="T66" fmla="*/ 37 w 89"/>
              <a:gd name="T67" fmla="*/ 71 h 91"/>
              <a:gd name="T68" fmla="*/ 37 w 89"/>
              <a:gd name="T69" fmla="*/ 29 h 91"/>
              <a:gd name="T70" fmla="*/ 51 w 89"/>
              <a:gd name="T71" fmla="*/ 34 h 91"/>
              <a:gd name="T72" fmla="*/ 53 w 89"/>
              <a:gd name="T73" fmla="*/ 30 h 91"/>
              <a:gd name="T74" fmla="*/ 11 w 89"/>
              <a:gd name="T75" fmla="*/ 50 h 91"/>
              <a:gd name="T76" fmla="*/ 37 w 89"/>
              <a:gd name="T77" fmla="*/ 68 h 91"/>
              <a:gd name="T78" fmla="*/ 52 w 89"/>
              <a:gd name="T79" fmla="*/ 40 h 91"/>
              <a:gd name="T80" fmla="*/ 46 w 89"/>
              <a:gd name="T81" fmla="*/ 43 h 91"/>
              <a:gd name="T82" fmla="*/ 49 w 89"/>
              <a:gd name="T83" fmla="*/ 50 h 91"/>
              <a:gd name="T84" fmla="*/ 25 w 89"/>
              <a:gd name="T85" fmla="*/ 50 h 91"/>
              <a:gd name="T86" fmla="*/ 44 w 89"/>
              <a:gd name="T87" fmla="*/ 40 h 91"/>
              <a:gd name="T88" fmla="*/ 48 w 89"/>
              <a:gd name="T89" fmla="*/ 36 h 91"/>
              <a:gd name="T90" fmla="*/ 37 w 89"/>
              <a:gd name="T91" fmla="*/ 32 h 91"/>
              <a:gd name="T92" fmla="*/ 37 w 89"/>
              <a:gd name="T93" fmla="*/ 68 h 91"/>
              <a:gd name="T94" fmla="*/ 46 w 89"/>
              <a:gd name="T95" fmla="*/ 50 h 91"/>
              <a:gd name="T96" fmla="*/ 44 w 89"/>
              <a:gd name="T97" fmla="*/ 45 h 91"/>
              <a:gd name="T98" fmla="*/ 40 w 89"/>
              <a:gd name="T99" fmla="*/ 48 h 91"/>
              <a:gd name="T100" fmla="*/ 37 w 89"/>
              <a:gd name="T101" fmla="*/ 54 h 91"/>
              <a:gd name="T102" fmla="*/ 37 w 89"/>
              <a:gd name="T103" fmla="*/ 46 h 91"/>
              <a:gd name="T104" fmla="*/ 38 w 89"/>
              <a:gd name="T105" fmla="*/ 46 h 91"/>
              <a:gd name="T106" fmla="*/ 42 w 89"/>
              <a:gd name="T107" fmla="*/ 43 h 91"/>
              <a:gd name="T108" fmla="*/ 28 w 89"/>
              <a:gd name="T109" fmla="*/ 50 h 91"/>
              <a:gd name="T110" fmla="*/ 76 w 89"/>
              <a:gd name="T111" fmla="*/ 23 h 91"/>
              <a:gd name="T112" fmla="*/ 78 w 89"/>
              <a:gd name="T113" fmla="*/ 13 h 91"/>
              <a:gd name="T114" fmla="*/ 69 w 89"/>
              <a:gd name="T115" fmla="*/ 22 h 91"/>
              <a:gd name="T116" fmla="*/ 67 w 89"/>
              <a:gd name="T117" fmla="*/ 19 h 91"/>
              <a:gd name="T118" fmla="*/ 76 w 89"/>
              <a:gd name="T119" fmla="*/ 11 h 91"/>
              <a:gd name="T120" fmla="*/ 66 w 89"/>
              <a:gd name="T121" fmla="*/ 13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9" h="91">
                <a:moveTo>
                  <a:pt x="61" y="91"/>
                </a:moveTo>
                <a:cubicBezTo>
                  <a:pt x="61" y="91"/>
                  <a:pt x="61" y="91"/>
                  <a:pt x="61" y="91"/>
                </a:cubicBezTo>
                <a:cubicBezTo>
                  <a:pt x="61" y="91"/>
                  <a:pt x="60" y="91"/>
                  <a:pt x="60" y="91"/>
                </a:cubicBezTo>
                <a:cubicBezTo>
                  <a:pt x="55" y="82"/>
                  <a:pt x="55" y="82"/>
                  <a:pt x="55" y="82"/>
                </a:cubicBezTo>
                <a:cubicBezTo>
                  <a:pt x="55" y="82"/>
                  <a:pt x="55" y="82"/>
                  <a:pt x="55" y="82"/>
                </a:cubicBezTo>
                <a:cubicBezTo>
                  <a:pt x="49" y="85"/>
                  <a:pt x="43" y="87"/>
                  <a:pt x="37" y="87"/>
                </a:cubicBezTo>
                <a:cubicBezTo>
                  <a:pt x="31" y="87"/>
                  <a:pt x="26" y="85"/>
                  <a:pt x="21" y="83"/>
                </a:cubicBezTo>
                <a:cubicBezTo>
                  <a:pt x="20" y="82"/>
                  <a:pt x="20" y="82"/>
                  <a:pt x="20" y="82"/>
                </a:cubicBezTo>
                <a:cubicBezTo>
                  <a:pt x="15" y="91"/>
                  <a:pt x="15" y="91"/>
                  <a:pt x="15" y="91"/>
                </a:cubicBezTo>
                <a:cubicBezTo>
                  <a:pt x="15" y="91"/>
                  <a:pt x="15" y="91"/>
                  <a:pt x="14" y="91"/>
                </a:cubicBezTo>
                <a:cubicBezTo>
                  <a:pt x="14" y="91"/>
                  <a:pt x="14" y="91"/>
                  <a:pt x="13" y="91"/>
                </a:cubicBezTo>
                <a:cubicBezTo>
                  <a:pt x="13" y="91"/>
                  <a:pt x="12" y="90"/>
                  <a:pt x="13" y="89"/>
                </a:cubicBezTo>
                <a:cubicBezTo>
                  <a:pt x="17" y="81"/>
                  <a:pt x="17" y="81"/>
                  <a:pt x="17" y="81"/>
                </a:cubicBezTo>
                <a:cubicBezTo>
                  <a:pt x="16" y="80"/>
                  <a:pt x="16" y="80"/>
                  <a:pt x="16" y="80"/>
                </a:cubicBezTo>
                <a:cubicBezTo>
                  <a:pt x="7" y="74"/>
                  <a:pt x="0" y="63"/>
                  <a:pt x="0" y="50"/>
                </a:cubicBezTo>
                <a:cubicBezTo>
                  <a:pt x="0" y="30"/>
                  <a:pt x="17" y="13"/>
                  <a:pt x="37" y="13"/>
                </a:cubicBezTo>
                <a:cubicBezTo>
                  <a:pt x="46" y="13"/>
                  <a:pt x="54" y="16"/>
                  <a:pt x="60" y="22"/>
                </a:cubicBezTo>
                <a:cubicBezTo>
                  <a:pt x="62" y="23"/>
                  <a:pt x="62" y="23"/>
                  <a:pt x="62" y="23"/>
                </a:cubicBezTo>
                <a:cubicBezTo>
                  <a:pt x="64" y="22"/>
                  <a:pt x="64" y="22"/>
                  <a:pt x="64" y="22"/>
                </a:cubicBezTo>
                <a:cubicBezTo>
                  <a:pt x="63" y="13"/>
                  <a:pt x="63" y="13"/>
                  <a:pt x="63" y="13"/>
                </a:cubicBezTo>
                <a:cubicBezTo>
                  <a:pt x="63" y="12"/>
                  <a:pt x="63" y="12"/>
                  <a:pt x="63" y="11"/>
                </a:cubicBezTo>
                <a:cubicBezTo>
                  <a:pt x="74" y="1"/>
                  <a:pt x="74" y="1"/>
                  <a:pt x="74" y="1"/>
                </a:cubicBezTo>
                <a:cubicBezTo>
                  <a:pt x="75" y="0"/>
                  <a:pt x="77" y="0"/>
                  <a:pt x="77" y="1"/>
                </a:cubicBezTo>
                <a:cubicBezTo>
                  <a:pt x="78" y="8"/>
                  <a:pt x="78" y="8"/>
                  <a:pt x="78" y="8"/>
                </a:cubicBezTo>
                <a:cubicBezTo>
                  <a:pt x="80" y="7"/>
                  <a:pt x="80" y="7"/>
                  <a:pt x="80" y="7"/>
                </a:cubicBezTo>
                <a:cubicBezTo>
                  <a:pt x="81" y="6"/>
                  <a:pt x="82" y="6"/>
                  <a:pt x="82" y="7"/>
                </a:cubicBezTo>
                <a:cubicBezTo>
                  <a:pt x="83" y="7"/>
                  <a:pt x="83" y="8"/>
                  <a:pt x="82" y="9"/>
                </a:cubicBezTo>
                <a:cubicBezTo>
                  <a:pt x="81" y="10"/>
                  <a:pt x="81" y="10"/>
                  <a:pt x="81" y="10"/>
                </a:cubicBezTo>
                <a:cubicBezTo>
                  <a:pt x="87" y="12"/>
                  <a:pt x="87" y="12"/>
                  <a:pt x="87" y="12"/>
                </a:cubicBezTo>
                <a:cubicBezTo>
                  <a:pt x="88" y="12"/>
                  <a:pt x="89" y="13"/>
                  <a:pt x="88" y="14"/>
                </a:cubicBezTo>
                <a:cubicBezTo>
                  <a:pt x="77" y="25"/>
                  <a:pt x="77" y="25"/>
                  <a:pt x="77" y="25"/>
                </a:cubicBezTo>
                <a:cubicBezTo>
                  <a:pt x="77" y="26"/>
                  <a:pt x="77" y="26"/>
                  <a:pt x="76" y="26"/>
                </a:cubicBezTo>
                <a:cubicBezTo>
                  <a:pt x="76" y="26"/>
                  <a:pt x="76" y="26"/>
                  <a:pt x="76" y="26"/>
                </a:cubicBezTo>
                <a:cubicBezTo>
                  <a:pt x="66" y="24"/>
                  <a:pt x="66" y="24"/>
                  <a:pt x="66" y="24"/>
                </a:cubicBezTo>
                <a:cubicBezTo>
                  <a:pt x="66" y="24"/>
                  <a:pt x="66" y="24"/>
                  <a:pt x="66" y="24"/>
                </a:cubicBezTo>
                <a:cubicBezTo>
                  <a:pt x="65" y="26"/>
                  <a:pt x="65" y="26"/>
                  <a:pt x="65" y="26"/>
                </a:cubicBezTo>
                <a:cubicBezTo>
                  <a:pt x="65" y="27"/>
                  <a:pt x="65" y="27"/>
                  <a:pt x="65" y="27"/>
                </a:cubicBezTo>
                <a:cubicBezTo>
                  <a:pt x="71" y="33"/>
                  <a:pt x="74" y="41"/>
                  <a:pt x="74" y="50"/>
                </a:cubicBezTo>
                <a:cubicBezTo>
                  <a:pt x="74" y="61"/>
                  <a:pt x="69" y="72"/>
                  <a:pt x="60" y="78"/>
                </a:cubicBezTo>
                <a:cubicBezTo>
                  <a:pt x="58" y="80"/>
                  <a:pt x="58" y="80"/>
                  <a:pt x="58" y="80"/>
                </a:cubicBezTo>
                <a:cubicBezTo>
                  <a:pt x="62" y="89"/>
                  <a:pt x="62" y="89"/>
                  <a:pt x="62" y="89"/>
                </a:cubicBezTo>
                <a:cubicBezTo>
                  <a:pt x="63" y="90"/>
                  <a:pt x="63" y="91"/>
                  <a:pt x="62" y="91"/>
                </a:cubicBezTo>
                <a:cubicBezTo>
                  <a:pt x="62" y="91"/>
                  <a:pt x="61" y="91"/>
                  <a:pt x="61" y="91"/>
                </a:cubicBezTo>
                <a:close/>
                <a:moveTo>
                  <a:pt x="37" y="84"/>
                </a:moveTo>
                <a:cubicBezTo>
                  <a:pt x="56" y="84"/>
                  <a:pt x="71" y="68"/>
                  <a:pt x="71" y="50"/>
                </a:cubicBezTo>
                <a:cubicBezTo>
                  <a:pt x="71" y="42"/>
                  <a:pt x="68" y="34"/>
                  <a:pt x="63" y="28"/>
                </a:cubicBezTo>
                <a:cubicBezTo>
                  <a:pt x="62" y="28"/>
                  <a:pt x="62" y="28"/>
                  <a:pt x="62" y="28"/>
                </a:cubicBezTo>
                <a:cubicBezTo>
                  <a:pt x="59" y="31"/>
                  <a:pt x="59" y="31"/>
                  <a:pt x="59" y="31"/>
                </a:cubicBezTo>
                <a:cubicBezTo>
                  <a:pt x="59" y="32"/>
                  <a:pt x="59" y="32"/>
                  <a:pt x="59" y="32"/>
                </a:cubicBezTo>
                <a:cubicBezTo>
                  <a:pt x="63" y="37"/>
                  <a:pt x="66" y="43"/>
                  <a:pt x="66" y="50"/>
                </a:cubicBezTo>
                <a:cubicBezTo>
                  <a:pt x="66" y="66"/>
                  <a:pt x="53" y="79"/>
                  <a:pt x="37" y="79"/>
                </a:cubicBezTo>
                <a:cubicBezTo>
                  <a:pt x="21" y="79"/>
                  <a:pt x="8" y="66"/>
                  <a:pt x="8" y="50"/>
                </a:cubicBezTo>
                <a:cubicBezTo>
                  <a:pt x="8" y="34"/>
                  <a:pt x="21" y="21"/>
                  <a:pt x="37" y="21"/>
                </a:cubicBezTo>
                <a:cubicBezTo>
                  <a:pt x="44" y="21"/>
                  <a:pt x="50" y="24"/>
                  <a:pt x="55" y="28"/>
                </a:cubicBezTo>
                <a:cubicBezTo>
                  <a:pt x="56" y="29"/>
                  <a:pt x="56" y="29"/>
                  <a:pt x="56" y="29"/>
                </a:cubicBezTo>
                <a:cubicBezTo>
                  <a:pt x="60" y="25"/>
                  <a:pt x="60" y="25"/>
                  <a:pt x="60" y="25"/>
                </a:cubicBezTo>
                <a:cubicBezTo>
                  <a:pt x="58" y="24"/>
                  <a:pt x="58" y="24"/>
                  <a:pt x="58" y="24"/>
                </a:cubicBezTo>
                <a:cubicBezTo>
                  <a:pt x="53" y="19"/>
                  <a:pt x="45" y="16"/>
                  <a:pt x="37" y="16"/>
                </a:cubicBezTo>
                <a:cubicBezTo>
                  <a:pt x="18" y="16"/>
                  <a:pt x="3" y="31"/>
                  <a:pt x="3" y="50"/>
                </a:cubicBezTo>
                <a:cubicBezTo>
                  <a:pt x="3" y="68"/>
                  <a:pt x="18" y="84"/>
                  <a:pt x="37" y="84"/>
                </a:cubicBezTo>
                <a:close/>
                <a:moveTo>
                  <a:pt x="37" y="75"/>
                </a:moveTo>
                <a:cubicBezTo>
                  <a:pt x="51" y="75"/>
                  <a:pt x="63" y="64"/>
                  <a:pt x="63" y="50"/>
                </a:cubicBezTo>
                <a:cubicBezTo>
                  <a:pt x="63" y="44"/>
                  <a:pt x="60" y="38"/>
                  <a:pt x="57" y="34"/>
                </a:cubicBezTo>
                <a:cubicBezTo>
                  <a:pt x="56" y="33"/>
                  <a:pt x="56" y="33"/>
                  <a:pt x="56" y="33"/>
                </a:cubicBezTo>
                <a:cubicBezTo>
                  <a:pt x="53" y="37"/>
                  <a:pt x="53" y="37"/>
                  <a:pt x="53" y="37"/>
                </a:cubicBezTo>
                <a:cubicBezTo>
                  <a:pt x="53" y="37"/>
                  <a:pt x="53" y="37"/>
                  <a:pt x="53" y="37"/>
                </a:cubicBezTo>
                <a:cubicBezTo>
                  <a:pt x="56" y="40"/>
                  <a:pt x="58" y="45"/>
                  <a:pt x="58" y="50"/>
                </a:cubicBezTo>
                <a:cubicBezTo>
                  <a:pt x="58" y="61"/>
                  <a:pt x="48" y="71"/>
                  <a:pt x="37" y="71"/>
                </a:cubicBezTo>
                <a:cubicBezTo>
                  <a:pt x="26" y="71"/>
                  <a:pt x="16" y="61"/>
                  <a:pt x="16" y="50"/>
                </a:cubicBezTo>
                <a:cubicBezTo>
                  <a:pt x="16" y="38"/>
                  <a:pt x="26" y="29"/>
                  <a:pt x="37" y="29"/>
                </a:cubicBezTo>
                <a:cubicBezTo>
                  <a:pt x="42" y="29"/>
                  <a:pt x="47" y="31"/>
                  <a:pt x="50" y="34"/>
                </a:cubicBezTo>
                <a:cubicBezTo>
                  <a:pt x="51" y="34"/>
                  <a:pt x="51" y="34"/>
                  <a:pt x="51" y="34"/>
                </a:cubicBezTo>
                <a:cubicBezTo>
                  <a:pt x="54" y="31"/>
                  <a:pt x="54" y="31"/>
                  <a:pt x="54" y="31"/>
                </a:cubicBezTo>
                <a:cubicBezTo>
                  <a:pt x="53" y="30"/>
                  <a:pt x="53" y="30"/>
                  <a:pt x="53" y="30"/>
                </a:cubicBezTo>
                <a:cubicBezTo>
                  <a:pt x="49" y="26"/>
                  <a:pt x="43" y="24"/>
                  <a:pt x="37" y="24"/>
                </a:cubicBezTo>
                <a:cubicBezTo>
                  <a:pt x="23" y="24"/>
                  <a:pt x="11" y="36"/>
                  <a:pt x="11" y="50"/>
                </a:cubicBezTo>
                <a:cubicBezTo>
                  <a:pt x="11" y="64"/>
                  <a:pt x="23" y="75"/>
                  <a:pt x="37" y="75"/>
                </a:cubicBezTo>
                <a:close/>
                <a:moveTo>
                  <a:pt x="37" y="68"/>
                </a:moveTo>
                <a:cubicBezTo>
                  <a:pt x="47" y="68"/>
                  <a:pt x="55" y="60"/>
                  <a:pt x="55" y="50"/>
                </a:cubicBezTo>
                <a:cubicBezTo>
                  <a:pt x="55" y="46"/>
                  <a:pt x="54" y="43"/>
                  <a:pt x="52" y="40"/>
                </a:cubicBezTo>
                <a:cubicBezTo>
                  <a:pt x="51" y="39"/>
                  <a:pt x="51" y="39"/>
                  <a:pt x="51" y="39"/>
                </a:cubicBezTo>
                <a:cubicBezTo>
                  <a:pt x="46" y="43"/>
                  <a:pt x="46" y="43"/>
                  <a:pt x="46" y="43"/>
                </a:cubicBezTo>
                <a:cubicBezTo>
                  <a:pt x="47" y="43"/>
                  <a:pt x="47" y="43"/>
                  <a:pt x="47" y="43"/>
                </a:cubicBezTo>
                <a:cubicBezTo>
                  <a:pt x="48" y="45"/>
                  <a:pt x="49" y="47"/>
                  <a:pt x="49" y="50"/>
                </a:cubicBezTo>
                <a:cubicBezTo>
                  <a:pt x="49" y="57"/>
                  <a:pt x="44" y="62"/>
                  <a:pt x="37" y="62"/>
                </a:cubicBezTo>
                <a:cubicBezTo>
                  <a:pt x="30" y="62"/>
                  <a:pt x="25" y="57"/>
                  <a:pt x="25" y="50"/>
                </a:cubicBezTo>
                <a:cubicBezTo>
                  <a:pt x="25" y="43"/>
                  <a:pt x="30" y="38"/>
                  <a:pt x="37" y="38"/>
                </a:cubicBezTo>
                <a:cubicBezTo>
                  <a:pt x="40" y="38"/>
                  <a:pt x="42" y="39"/>
                  <a:pt x="44" y="40"/>
                </a:cubicBezTo>
                <a:cubicBezTo>
                  <a:pt x="44" y="40"/>
                  <a:pt x="44" y="40"/>
                  <a:pt x="44" y="40"/>
                </a:cubicBezTo>
                <a:cubicBezTo>
                  <a:pt x="48" y="36"/>
                  <a:pt x="48" y="36"/>
                  <a:pt x="48" y="36"/>
                </a:cubicBezTo>
                <a:cubicBezTo>
                  <a:pt x="47" y="35"/>
                  <a:pt x="47" y="35"/>
                  <a:pt x="47" y="35"/>
                </a:cubicBezTo>
                <a:cubicBezTo>
                  <a:pt x="44" y="33"/>
                  <a:pt x="41" y="32"/>
                  <a:pt x="37" y="32"/>
                </a:cubicBezTo>
                <a:cubicBezTo>
                  <a:pt x="27" y="32"/>
                  <a:pt x="19" y="40"/>
                  <a:pt x="19" y="50"/>
                </a:cubicBezTo>
                <a:cubicBezTo>
                  <a:pt x="19" y="60"/>
                  <a:pt x="27" y="68"/>
                  <a:pt x="37" y="68"/>
                </a:cubicBezTo>
                <a:close/>
                <a:moveTo>
                  <a:pt x="37" y="59"/>
                </a:moveTo>
                <a:cubicBezTo>
                  <a:pt x="42" y="59"/>
                  <a:pt x="46" y="55"/>
                  <a:pt x="46" y="50"/>
                </a:cubicBezTo>
                <a:cubicBezTo>
                  <a:pt x="46" y="48"/>
                  <a:pt x="45" y="46"/>
                  <a:pt x="44" y="45"/>
                </a:cubicBezTo>
                <a:cubicBezTo>
                  <a:pt x="44" y="45"/>
                  <a:pt x="44" y="45"/>
                  <a:pt x="44" y="45"/>
                </a:cubicBezTo>
                <a:cubicBezTo>
                  <a:pt x="40" y="48"/>
                  <a:pt x="40" y="48"/>
                  <a:pt x="40" y="48"/>
                </a:cubicBezTo>
                <a:cubicBezTo>
                  <a:pt x="40" y="48"/>
                  <a:pt x="40" y="48"/>
                  <a:pt x="40" y="48"/>
                </a:cubicBezTo>
                <a:cubicBezTo>
                  <a:pt x="41" y="49"/>
                  <a:pt x="41" y="49"/>
                  <a:pt x="41" y="50"/>
                </a:cubicBezTo>
                <a:cubicBezTo>
                  <a:pt x="41" y="52"/>
                  <a:pt x="39" y="54"/>
                  <a:pt x="37" y="54"/>
                </a:cubicBezTo>
                <a:cubicBezTo>
                  <a:pt x="35" y="54"/>
                  <a:pt x="33" y="52"/>
                  <a:pt x="33" y="50"/>
                </a:cubicBezTo>
                <a:cubicBezTo>
                  <a:pt x="33" y="48"/>
                  <a:pt x="35" y="46"/>
                  <a:pt x="37" y="46"/>
                </a:cubicBezTo>
                <a:cubicBezTo>
                  <a:pt x="37" y="46"/>
                  <a:pt x="37" y="46"/>
                  <a:pt x="38" y="46"/>
                </a:cubicBezTo>
                <a:cubicBezTo>
                  <a:pt x="38" y="46"/>
                  <a:pt x="38" y="46"/>
                  <a:pt x="38" y="46"/>
                </a:cubicBezTo>
                <a:cubicBezTo>
                  <a:pt x="42" y="43"/>
                  <a:pt x="42" y="43"/>
                  <a:pt x="42" y="43"/>
                </a:cubicBezTo>
                <a:cubicBezTo>
                  <a:pt x="42" y="43"/>
                  <a:pt x="42" y="43"/>
                  <a:pt x="42" y="43"/>
                </a:cubicBezTo>
                <a:cubicBezTo>
                  <a:pt x="41" y="42"/>
                  <a:pt x="39" y="41"/>
                  <a:pt x="37" y="41"/>
                </a:cubicBezTo>
                <a:cubicBezTo>
                  <a:pt x="32" y="41"/>
                  <a:pt x="28" y="45"/>
                  <a:pt x="28" y="50"/>
                </a:cubicBezTo>
                <a:cubicBezTo>
                  <a:pt x="28" y="55"/>
                  <a:pt x="32" y="59"/>
                  <a:pt x="37" y="59"/>
                </a:cubicBezTo>
                <a:close/>
                <a:moveTo>
                  <a:pt x="76" y="23"/>
                </a:moveTo>
                <a:cubicBezTo>
                  <a:pt x="84" y="14"/>
                  <a:pt x="84" y="14"/>
                  <a:pt x="84" y="14"/>
                </a:cubicBezTo>
                <a:cubicBezTo>
                  <a:pt x="78" y="13"/>
                  <a:pt x="78" y="13"/>
                  <a:pt x="78" y="13"/>
                </a:cubicBezTo>
                <a:cubicBezTo>
                  <a:pt x="70" y="20"/>
                  <a:pt x="70" y="20"/>
                  <a:pt x="70" y="20"/>
                </a:cubicBezTo>
                <a:cubicBezTo>
                  <a:pt x="69" y="22"/>
                  <a:pt x="69" y="22"/>
                  <a:pt x="69" y="22"/>
                </a:cubicBezTo>
                <a:lnTo>
                  <a:pt x="76" y="23"/>
                </a:lnTo>
                <a:close/>
                <a:moveTo>
                  <a:pt x="67" y="19"/>
                </a:moveTo>
                <a:cubicBezTo>
                  <a:pt x="68" y="18"/>
                  <a:pt x="68" y="18"/>
                  <a:pt x="68" y="18"/>
                </a:cubicBezTo>
                <a:cubicBezTo>
                  <a:pt x="76" y="11"/>
                  <a:pt x="76" y="11"/>
                  <a:pt x="76" y="11"/>
                </a:cubicBezTo>
                <a:cubicBezTo>
                  <a:pt x="74" y="5"/>
                  <a:pt x="74" y="5"/>
                  <a:pt x="74" y="5"/>
                </a:cubicBezTo>
                <a:cubicBezTo>
                  <a:pt x="66" y="13"/>
                  <a:pt x="66" y="13"/>
                  <a:pt x="66" y="13"/>
                </a:cubicBezTo>
                <a:lnTo>
                  <a:pt x="67" y="19"/>
                </a:lnTo>
                <a:close/>
              </a:path>
            </a:pathLst>
          </a:custGeom>
          <a:gradFill flip="none" rotWithShape="1">
            <a:gsLst>
              <a:gs pos="100000">
                <a:schemeClr val="bg1">
                  <a:alpha val="30000"/>
                </a:schemeClr>
              </a:gs>
              <a:gs pos="18000">
                <a:schemeClr val="bg1">
                  <a:alpha val="0"/>
                </a:schemeClr>
              </a:gs>
            </a:gsLst>
            <a:lin ang="16200000" scaled="1"/>
            <a:tileRect/>
          </a:gra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panose="020F0502020204030204"/>
              <a:ea typeface="微软雅黑"/>
              <a:cs typeface="+mn-cs"/>
            </a:endParaRPr>
          </a:p>
        </p:txBody>
      </p:sp>
      <p:sp>
        <p:nvSpPr>
          <p:cNvPr id="224" name="任意多边形: 形状 223">
            <a:extLst>
              <a:ext uri="{FF2B5EF4-FFF2-40B4-BE49-F238E27FC236}">
                <a16:creationId xmlns:a16="http://schemas.microsoft.com/office/drawing/2014/main" id="{52713597-1C1D-42CC-A39B-C512EC711E47}"/>
              </a:ext>
            </a:extLst>
          </p:cNvPr>
          <p:cNvSpPr/>
          <p:nvPr/>
        </p:nvSpPr>
        <p:spPr>
          <a:xfrm>
            <a:off x="4326256" y="5304001"/>
            <a:ext cx="472438" cy="472490"/>
          </a:xfrm>
          <a:custGeom>
            <a:avLst/>
            <a:gdLst>
              <a:gd name="connsiteX0" fmla="*/ 57213 w 304862"/>
              <a:gd name="connsiteY0" fmla="*/ 219076 h 304896"/>
              <a:gd name="connsiteX1" fmla="*/ 57213 w 304862"/>
              <a:gd name="connsiteY1" fmla="*/ 247651 h 304896"/>
              <a:gd name="connsiteX2" fmla="*/ 85788 w 304862"/>
              <a:gd name="connsiteY2" fmla="*/ 247651 h 304896"/>
              <a:gd name="connsiteX3" fmla="*/ 85788 w 304862"/>
              <a:gd name="connsiteY3" fmla="*/ 219076 h 304896"/>
              <a:gd name="connsiteX4" fmla="*/ 203231 w 304862"/>
              <a:gd name="connsiteY4" fmla="*/ 203169 h 304896"/>
              <a:gd name="connsiteX5" fmla="*/ 215328 w 304862"/>
              <a:gd name="connsiteY5" fmla="*/ 255461 h 304896"/>
              <a:gd name="connsiteX6" fmla="*/ 222472 w 304862"/>
              <a:gd name="connsiteY6" fmla="*/ 248222 h 304896"/>
              <a:gd name="connsiteX7" fmla="*/ 229234 w 304862"/>
              <a:gd name="connsiteY7" fmla="*/ 245460 h 304896"/>
              <a:gd name="connsiteX8" fmla="*/ 235997 w 304862"/>
              <a:gd name="connsiteY8" fmla="*/ 248222 h 304896"/>
              <a:gd name="connsiteX9" fmla="*/ 269525 w 304862"/>
              <a:gd name="connsiteY9" fmla="*/ 281845 h 304896"/>
              <a:gd name="connsiteX10" fmla="*/ 281907 w 304862"/>
              <a:gd name="connsiteY10" fmla="*/ 269463 h 304896"/>
              <a:gd name="connsiteX11" fmla="*/ 248284 w 304862"/>
              <a:gd name="connsiteY11" fmla="*/ 235935 h 304896"/>
              <a:gd name="connsiteX12" fmla="*/ 248227 w 304862"/>
              <a:gd name="connsiteY12" fmla="*/ 235877 h 304896"/>
              <a:gd name="connsiteX13" fmla="*/ 248284 w 304862"/>
              <a:gd name="connsiteY13" fmla="*/ 222409 h 304896"/>
              <a:gd name="connsiteX14" fmla="*/ 255523 w 304862"/>
              <a:gd name="connsiteY14" fmla="*/ 215265 h 304896"/>
              <a:gd name="connsiteX15" fmla="*/ 133413 w 304862"/>
              <a:gd name="connsiteY15" fmla="*/ 200026 h 304896"/>
              <a:gd name="connsiteX16" fmla="*/ 161988 w 304862"/>
              <a:gd name="connsiteY16" fmla="*/ 200026 h 304896"/>
              <a:gd name="connsiteX17" fmla="*/ 171513 w 304862"/>
              <a:gd name="connsiteY17" fmla="*/ 209551 h 304896"/>
              <a:gd name="connsiteX18" fmla="*/ 161988 w 304862"/>
              <a:gd name="connsiteY18" fmla="*/ 219076 h 304896"/>
              <a:gd name="connsiteX19" fmla="*/ 142938 w 304862"/>
              <a:gd name="connsiteY19" fmla="*/ 219076 h 304896"/>
              <a:gd name="connsiteX20" fmla="*/ 142938 w 304862"/>
              <a:gd name="connsiteY20" fmla="*/ 247651 h 304896"/>
              <a:gd name="connsiteX21" fmla="*/ 171513 w 304862"/>
              <a:gd name="connsiteY21" fmla="*/ 247651 h 304896"/>
              <a:gd name="connsiteX22" fmla="*/ 181038 w 304862"/>
              <a:gd name="connsiteY22" fmla="*/ 257176 h 304896"/>
              <a:gd name="connsiteX23" fmla="*/ 171513 w 304862"/>
              <a:gd name="connsiteY23" fmla="*/ 266701 h 304896"/>
              <a:gd name="connsiteX24" fmla="*/ 133413 w 304862"/>
              <a:gd name="connsiteY24" fmla="*/ 266701 h 304896"/>
              <a:gd name="connsiteX25" fmla="*/ 123888 w 304862"/>
              <a:gd name="connsiteY25" fmla="*/ 257176 h 304896"/>
              <a:gd name="connsiteX26" fmla="*/ 123888 w 304862"/>
              <a:gd name="connsiteY26" fmla="*/ 209551 h 304896"/>
              <a:gd name="connsiteX27" fmla="*/ 133413 w 304862"/>
              <a:gd name="connsiteY27" fmla="*/ 200026 h 304896"/>
              <a:gd name="connsiteX28" fmla="*/ 47688 w 304862"/>
              <a:gd name="connsiteY28" fmla="*/ 200026 h 304896"/>
              <a:gd name="connsiteX29" fmla="*/ 95313 w 304862"/>
              <a:gd name="connsiteY29" fmla="*/ 200026 h 304896"/>
              <a:gd name="connsiteX30" fmla="*/ 104838 w 304862"/>
              <a:gd name="connsiteY30" fmla="*/ 209551 h 304896"/>
              <a:gd name="connsiteX31" fmla="*/ 104838 w 304862"/>
              <a:gd name="connsiteY31" fmla="*/ 257176 h 304896"/>
              <a:gd name="connsiteX32" fmla="*/ 95313 w 304862"/>
              <a:gd name="connsiteY32" fmla="*/ 266701 h 304896"/>
              <a:gd name="connsiteX33" fmla="*/ 47688 w 304862"/>
              <a:gd name="connsiteY33" fmla="*/ 266701 h 304896"/>
              <a:gd name="connsiteX34" fmla="*/ 38163 w 304862"/>
              <a:gd name="connsiteY34" fmla="*/ 257176 h 304896"/>
              <a:gd name="connsiteX35" fmla="*/ 38163 w 304862"/>
              <a:gd name="connsiteY35" fmla="*/ 209551 h 304896"/>
              <a:gd name="connsiteX36" fmla="*/ 47688 w 304862"/>
              <a:gd name="connsiteY36" fmla="*/ 200026 h 304896"/>
              <a:gd name="connsiteX37" fmla="*/ 192658 w 304862"/>
              <a:gd name="connsiteY37" fmla="*/ 181356 h 304896"/>
              <a:gd name="connsiteX38" fmla="*/ 276478 w 304862"/>
              <a:gd name="connsiteY38" fmla="*/ 200406 h 304896"/>
              <a:gd name="connsiteX39" fmla="*/ 283527 w 304862"/>
              <a:gd name="connsiteY39" fmla="*/ 207074 h 304896"/>
              <a:gd name="connsiteX40" fmla="*/ 281145 w 304862"/>
              <a:gd name="connsiteY40" fmla="*/ 216599 h 304896"/>
              <a:gd name="connsiteX41" fmla="*/ 268477 w 304862"/>
              <a:gd name="connsiteY41" fmla="*/ 229172 h 304896"/>
              <a:gd name="connsiteX42" fmla="*/ 301910 w 304862"/>
              <a:gd name="connsiteY42" fmla="*/ 262890 h 304896"/>
              <a:gd name="connsiteX43" fmla="*/ 301910 w 304862"/>
              <a:gd name="connsiteY43" fmla="*/ 276321 h 304896"/>
              <a:gd name="connsiteX44" fmla="*/ 276097 w 304862"/>
              <a:gd name="connsiteY44" fmla="*/ 302133 h 304896"/>
              <a:gd name="connsiteX45" fmla="*/ 269335 w 304862"/>
              <a:gd name="connsiteY45" fmla="*/ 304896 h 304896"/>
              <a:gd name="connsiteX46" fmla="*/ 262572 w 304862"/>
              <a:gd name="connsiteY46" fmla="*/ 302133 h 304896"/>
              <a:gd name="connsiteX47" fmla="*/ 229044 w 304862"/>
              <a:gd name="connsiteY47" fmla="*/ 268510 h 304896"/>
              <a:gd name="connsiteX48" fmla="*/ 216471 w 304862"/>
              <a:gd name="connsiteY48" fmla="*/ 281178 h 304896"/>
              <a:gd name="connsiteX49" fmla="*/ 206946 w 304862"/>
              <a:gd name="connsiteY49" fmla="*/ 283560 h 304896"/>
              <a:gd name="connsiteX50" fmla="*/ 200373 w 304862"/>
              <a:gd name="connsiteY50" fmla="*/ 276511 h 304896"/>
              <a:gd name="connsiteX51" fmla="*/ 181323 w 304862"/>
              <a:gd name="connsiteY51" fmla="*/ 192691 h 304896"/>
              <a:gd name="connsiteX52" fmla="*/ 181323 w 304862"/>
              <a:gd name="connsiteY52" fmla="*/ 188633 h 304896"/>
              <a:gd name="connsiteX53" fmla="*/ 192658 w 304862"/>
              <a:gd name="connsiteY53" fmla="*/ 181356 h 304896"/>
              <a:gd name="connsiteX54" fmla="*/ 219138 w 304862"/>
              <a:gd name="connsiteY54" fmla="*/ 152401 h 304896"/>
              <a:gd name="connsiteX55" fmla="*/ 257238 w 304862"/>
              <a:gd name="connsiteY55" fmla="*/ 152401 h 304896"/>
              <a:gd name="connsiteX56" fmla="*/ 266763 w 304862"/>
              <a:gd name="connsiteY56" fmla="*/ 161926 h 304896"/>
              <a:gd name="connsiteX57" fmla="*/ 257238 w 304862"/>
              <a:gd name="connsiteY57" fmla="*/ 171451 h 304896"/>
              <a:gd name="connsiteX58" fmla="*/ 219138 w 304862"/>
              <a:gd name="connsiteY58" fmla="*/ 171451 h 304896"/>
              <a:gd name="connsiteX59" fmla="*/ 209613 w 304862"/>
              <a:gd name="connsiteY59" fmla="*/ 161926 h 304896"/>
              <a:gd name="connsiteX60" fmla="*/ 219138 w 304862"/>
              <a:gd name="connsiteY60" fmla="*/ 152401 h 304896"/>
              <a:gd name="connsiteX61" fmla="*/ 142938 w 304862"/>
              <a:gd name="connsiteY61" fmla="*/ 133351 h 304896"/>
              <a:gd name="connsiteX62" fmla="*/ 142938 w 304862"/>
              <a:gd name="connsiteY62" fmla="*/ 161926 h 304896"/>
              <a:gd name="connsiteX63" fmla="*/ 171513 w 304862"/>
              <a:gd name="connsiteY63" fmla="*/ 161926 h 304896"/>
              <a:gd name="connsiteX64" fmla="*/ 171513 w 304862"/>
              <a:gd name="connsiteY64" fmla="*/ 133351 h 304896"/>
              <a:gd name="connsiteX65" fmla="*/ 57213 w 304862"/>
              <a:gd name="connsiteY65" fmla="*/ 133351 h 304896"/>
              <a:gd name="connsiteX66" fmla="*/ 57213 w 304862"/>
              <a:gd name="connsiteY66" fmla="*/ 161926 h 304896"/>
              <a:gd name="connsiteX67" fmla="*/ 85788 w 304862"/>
              <a:gd name="connsiteY67" fmla="*/ 161926 h 304896"/>
              <a:gd name="connsiteX68" fmla="*/ 85788 w 304862"/>
              <a:gd name="connsiteY68" fmla="*/ 133351 h 304896"/>
              <a:gd name="connsiteX69" fmla="*/ 219138 w 304862"/>
              <a:gd name="connsiteY69" fmla="*/ 114301 h 304896"/>
              <a:gd name="connsiteX70" fmla="*/ 257238 w 304862"/>
              <a:gd name="connsiteY70" fmla="*/ 114301 h 304896"/>
              <a:gd name="connsiteX71" fmla="*/ 266763 w 304862"/>
              <a:gd name="connsiteY71" fmla="*/ 123826 h 304896"/>
              <a:gd name="connsiteX72" fmla="*/ 257238 w 304862"/>
              <a:gd name="connsiteY72" fmla="*/ 133351 h 304896"/>
              <a:gd name="connsiteX73" fmla="*/ 219138 w 304862"/>
              <a:gd name="connsiteY73" fmla="*/ 133351 h 304896"/>
              <a:gd name="connsiteX74" fmla="*/ 209613 w 304862"/>
              <a:gd name="connsiteY74" fmla="*/ 123826 h 304896"/>
              <a:gd name="connsiteX75" fmla="*/ 219138 w 304862"/>
              <a:gd name="connsiteY75" fmla="*/ 114301 h 304896"/>
              <a:gd name="connsiteX76" fmla="*/ 133413 w 304862"/>
              <a:gd name="connsiteY76" fmla="*/ 114301 h 304896"/>
              <a:gd name="connsiteX77" fmla="*/ 181038 w 304862"/>
              <a:gd name="connsiteY77" fmla="*/ 114301 h 304896"/>
              <a:gd name="connsiteX78" fmla="*/ 190563 w 304862"/>
              <a:gd name="connsiteY78" fmla="*/ 123826 h 304896"/>
              <a:gd name="connsiteX79" fmla="*/ 190563 w 304862"/>
              <a:gd name="connsiteY79" fmla="*/ 171451 h 304896"/>
              <a:gd name="connsiteX80" fmla="*/ 181038 w 304862"/>
              <a:gd name="connsiteY80" fmla="*/ 180976 h 304896"/>
              <a:gd name="connsiteX81" fmla="*/ 133413 w 304862"/>
              <a:gd name="connsiteY81" fmla="*/ 180976 h 304896"/>
              <a:gd name="connsiteX82" fmla="*/ 123888 w 304862"/>
              <a:gd name="connsiteY82" fmla="*/ 171451 h 304896"/>
              <a:gd name="connsiteX83" fmla="*/ 123888 w 304862"/>
              <a:gd name="connsiteY83" fmla="*/ 123826 h 304896"/>
              <a:gd name="connsiteX84" fmla="*/ 133413 w 304862"/>
              <a:gd name="connsiteY84" fmla="*/ 114301 h 304896"/>
              <a:gd name="connsiteX85" fmla="*/ 47688 w 304862"/>
              <a:gd name="connsiteY85" fmla="*/ 114301 h 304896"/>
              <a:gd name="connsiteX86" fmla="*/ 95313 w 304862"/>
              <a:gd name="connsiteY86" fmla="*/ 114301 h 304896"/>
              <a:gd name="connsiteX87" fmla="*/ 104838 w 304862"/>
              <a:gd name="connsiteY87" fmla="*/ 123826 h 304896"/>
              <a:gd name="connsiteX88" fmla="*/ 104838 w 304862"/>
              <a:gd name="connsiteY88" fmla="*/ 171451 h 304896"/>
              <a:gd name="connsiteX89" fmla="*/ 95313 w 304862"/>
              <a:gd name="connsiteY89" fmla="*/ 180976 h 304896"/>
              <a:gd name="connsiteX90" fmla="*/ 47688 w 304862"/>
              <a:gd name="connsiteY90" fmla="*/ 180976 h 304896"/>
              <a:gd name="connsiteX91" fmla="*/ 38163 w 304862"/>
              <a:gd name="connsiteY91" fmla="*/ 171451 h 304896"/>
              <a:gd name="connsiteX92" fmla="*/ 38163 w 304862"/>
              <a:gd name="connsiteY92" fmla="*/ 123826 h 304896"/>
              <a:gd name="connsiteX93" fmla="*/ 47688 w 304862"/>
              <a:gd name="connsiteY93" fmla="*/ 114301 h 304896"/>
              <a:gd name="connsiteX94" fmla="*/ 114537 w 304862"/>
              <a:gd name="connsiteY94" fmla="*/ 38193 h 304896"/>
              <a:gd name="connsiteX95" fmla="*/ 133587 w 304862"/>
              <a:gd name="connsiteY95" fmla="*/ 38193 h 304896"/>
              <a:gd name="connsiteX96" fmla="*/ 133587 w 304862"/>
              <a:gd name="connsiteY96" fmla="*/ 57243 h 304896"/>
              <a:gd name="connsiteX97" fmla="*/ 114537 w 304862"/>
              <a:gd name="connsiteY97" fmla="*/ 57243 h 304896"/>
              <a:gd name="connsiteX98" fmla="*/ 76437 w 304862"/>
              <a:gd name="connsiteY98" fmla="*/ 38193 h 304896"/>
              <a:gd name="connsiteX99" fmla="*/ 95487 w 304862"/>
              <a:gd name="connsiteY99" fmla="*/ 38193 h 304896"/>
              <a:gd name="connsiteX100" fmla="*/ 95487 w 304862"/>
              <a:gd name="connsiteY100" fmla="*/ 57243 h 304896"/>
              <a:gd name="connsiteX101" fmla="*/ 76437 w 304862"/>
              <a:gd name="connsiteY101" fmla="*/ 57243 h 304896"/>
              <a:gd name="connsiteX102" fmla="*/ 38337 w 304862"/>
              <a:gd name="connsiteY102" fmla="*/ 38193 h 304896"/>
              <a:gd name="connsiteX103" fmla="*/ 57387 w 304862"/>
              <a:gd name="connsiteY103" fmla="*/ 38193 h 304896"/>
              <a:gd name="connsiteX104" fmla="*/ 57387 w 304862"/>
              <a:gd name="connsiteY104" fmla="*/ 57243 h 304896"/>
              <a:gd name="connsiteX105" fmla="*/ 38337 w 304862"/>
              <a:gd name="connsiteY105" fmla="*/ 57243 h 304896"/>
              <a:gd name="connsiteX106" fmla="*/ 26066 w 304862"/>
              <a:gd name="connsiteY106" fmla="*/ 19051 h 304896"/>
              <a:gd name="connsiteX107" fmla="*/ 19112 w 304862"/>
              <a:gd name="connsiteY107" fmla="*/ 23528 h 304896"/>
              <a:gd name="connsiteX108" fmla="*/ 19112 w 304862"/>
              <a:gd name="connsiteY108" fmla="*/ 76201 h 304896"/>
              <a:gd name="connsiteX109" fmla="*/ 285812 w 304862"/>
              <a:gd name="connsiteY109" fmla="*/ 76201 h 304896"/>
              <a:gd name="connsiteX110" fmla="*/ 285812 w 304862"/>
              <a:gd name="connsiteY110" fmla="*/ 23432 h 304896"/>
              <a:gd name="connsiteX111" fmla="*/ 278859 w 304862"/>
              <a:gd name="connsiteY111" fmla="*/ 19051 h 304896"/>
              <a:gd name="connsiteX112" fmla="*/ 26066 w 304862"/>
              <a:gd name="connsiteY112" fmla="*/ 1 h 304896"/>
              <a:gd name="connsiteX113" fmla="*/ 278859 w 304862"/>
              <a:gd name="connsiteY113" fmla="*/ 1 h 304896"/>
              <a:gd name="connsiteX114" fmla="*/ 304862 w 304862"/>
              <a:gd name="connsiteY114" fmla="*/ 23432 h 304896"/>
              <a:gd name="connsiteX115" fmla="*/ 304862 w 304862"/>
              <a:gd name="connsiteY115" fmla="*/ 180976 h 304896"/>
              <a:gd name="connsiteX116" fmla="*/ 295337 w 304862"/>
              <a:gd name="connsiteY116" fmla="*/ 190501 h 304896"/>
              <a:gd name="connsiteX117" fmla="*/ 285812 w 304862"/>
              <a:gd name="connsiteY117" fmla="*/ 180976 h 304896"/>
              <a:gd name="connsiteX118" fmla="*/ 285812 w 304862"/>
              <a:gd name="connsiteY118" fmla="*/ 95251 h 304896"/>
              <a:gd name="connsiteX119" fmla="*/ 19112 w 304862"/>
              <a:gd name="connsiteY119" fmla="*/ 95251 h 304896"/>
              <a:gd name="connsiteX120" fmla="*/ 19112 w 304862"/>
              <a:gd name="connsiteY120" fmla="*/ 276226 h 304896"/>
              <a:gd name="connsiteX121" fmla="*/ 26066 w 304862"/>
              <a:gd name="connsiteY121" fmla="*/ 285751 h 304896"/>
              <a:gd name="connsiteX122" fmla="*/ 181037 w 304862"/>
              <a:gd name="connsiteY122" fmla="*/ 285751 h 304896"/>
              <a:gd name="connsiteX123" fmla="*/ 190562 w 304862"/>
              <a:gd name="connsiteY123" fmla="*/ 295276 h 304896"/>
              <a:gd name="connsiteX124" fmla="*/ 181037 w 304862"/>
              <a:gd name="connsiteY124" fmla="*/ 304801 h 304896"/>
              <a:gd name="connsiteX125" fmla="*/ 26066 w 304862"/>
              <a:gd name="connsiteY125" fmla="*/ 304801 h 304896"/>
              <a:gd name="connsiteX126" fmla="*/ 24951 w 304862"/>
              <a:gd name="connsiteY126" fmla="*/ 304744 h 304896"/>
              <a:gd name="connsiteX127" fmla="*/ 62 w 304862"/>
              <a:gd name="connsiteY127" fmla="*/ 276226 h 304896"/>
              <a:gd name="connsiteX128" fmla="*/ 62 w 304862"/>
              <a:gd name="connsiteY128" fmla="*/ 23432 h 304896"/>
              <a:gd name="connsiteX129" fmla="*/ 26066 w 304862"/>
              <a:gd name="connsiteY129" fmla="*/ 1 h 304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Lst>
            <a:rect l="l" t="t" r="r" b="b"/>
            <a:pathLst>
              <a:path w="304862" h="304896">
                <a:moveTo>
                  <a:pt x="57213" y="219076"/>
                </a:moveTo>
                <a:lnTo>
                  <a:pt x="57213" y="247651"/>
                </a:lnTo>
                <a:lnTo>
                  <a:pt x="85788" y="247651"/>
                </a:lnTo>
                <a:lnTo>
                  <a:pt x="85788" y="219076"/>
                </a:lnTo>
                <a:close/>
                <a:moveTo>
                  <a:pt x="203231" y="203169"/>
                </a:moveTo>
                <a:lnTo>
                  <a:pt x="215328" y="255461"/>
                </a:lnTo>
                <a:lnTo>
                  <a:pt x="222472" y="248222"/>
                </a:lnTo>
                <a:cubicBezTo>
                  <a:pt x="224272" y="246441"/>
                  <a:pt x="226701" y="245441"/>
                  <a:pt x="229234" y="245460"/>
                </a:cubicBezTo>
                <a:cubicBezTo>
                  <a:pt x="231768" y="245441"/>
                  <a:pt x="234197" y="246441"/>
                  <a:pt x="235997" y="248222"/>
                </a:cubicBezTo>
                <a:lnTo>
                  <a:pt x="269525" y="281845"/>
                </a:lnTo>
                <a:lnTo>
                  <a:pt x="281907" y="269463"/>
                </a:lnTo>
                <a:lnTo>
                  <a:pt x="248284" y="235935"/>
                </a:lnTo>
                <a:cubicBezTo>
                  <a:pt x="248265" y="235916"/>
                  <a:pt x="248246" y="235897"/>
                  <a:pt x="248227" y="235877"/>
                </a:cubicBezTo>
                <a:cubicBezTo>
                  <a:pt x="244522" y="232144"/>
                  <a:pt x="244550" y="226114"/>
                  <a:pt x="248284" y="222409"/>
                </a:cubicBezTo>
                <a:lnTo>
                  <a:pt x="255523" y="215265"/>
                </a:lnTo>
                <a:close/>
                <a:moveTo>
                  <a:pt x="133413" y="200026"/>
                </a:moveTo>
                <a:lnTo>
                  <a:pt x="161988" y="200026"/>
                </a:lnTo>
                <a:cubicBezTo>
                  <a:pt x="167246" y="200026"/>
                  <a:pt x="171513" y="204293"/>
                  <a:pt x="171513" y="209551"/>
                </a:cubicBezTo>
                <a:cubicBezTo>
                  <a:pt x="171513" y="214809"/>
                  <a:pt x="167246" y="219076"/>
                  <a:pt x="161988" y="219076"/>
                </a:cubicBezTo>
                <a:lnTo>
                  <a:pt x="142938" y="219076"/>
                </a:lnTo>
                <a:lnTo>
                  <a:pt x="142938" y="247651"/>
                </a:lnTo>
                <a:lnTo>
                  <a:pt x="171513" y="247651"/>
                </a:lnTo>
                <a:cubicBezTo>
                  <a:pt x="176771" y="247651"/>
                  <a:pt x="181038" y="251918"/>
                  <a:pt x="181038" y="257176"/>
                </a:cubicBezTo>
                <a:cubicBezTo>
                  <a:pt x="181038" y="262434"/>
                  <a:pt x="176771" y="266701"/>
                  <a:pt x="171513" y="266701"/>
                </a:cubicBezTo>
                <a:lnTo>
                  <a:pt x="133413" y="266701"/>
                </a:lnTo>
                <a:cubicBezTo>
                  <a:pt x="128155" y="266701"/>
                  <a:pt x="123888" y="262434"/>
                  <a:pt x="123888" y="257176"/>
                </a:cubicBezTo>
                <a:lnTo>
                  <a:pt x="123888" y="209551"/>
                </a:lnTo>
                <a:cubicBezTo>
                  <a:pt x="123888" y="204293"/>
                  <a:pt x="128155" y="200026"/>
                  <a:pt x="133413" y="200026"/>
                </a:cubicBezTo>
                <a:close/>
                <a:moveTo>
                  <a:pt x="47688" y="200026"/>
                </a:moveTo>
                <a:lnTo>
                  <a:pt x="95313" y="200026"/>
                </a:lnTo>
                <a:cubicBezTo>
                  <a:pt x="100571" y="200026"/>
                  <a:pt x="104838" y="204293"/>
                  <a:pt x="104838" y="209551"/>
                </a:cubicBezTo>
                <a:lnTo>
                  <a:pt x="104838" y="257176"/>
                </a:lnTo>
                <a:cubicBezTo>
                  <a:pt x="104838" y="262434"/>
                  <a:pt x="100571" y="266701"/>
                  <a:pt x="95313" y="266701"/>
                </a:cubicBezTo>
                <a:lnTo>
                  <a:pt x="47688" y="266701"/>
                </a:lnTo>
                <a:cubicBezTo>
                  <a:pt x="42430" y="266701"/>
                  <a:pt x="38163" y="262434"/>
                  <a:pt x="38163" y="257176"/>
                </a:cubicBezTo>
                <a:lnTo>
                  <a:pt x="38163" y="209551"/>
                </a:lnTo>
                <a:cubicBezTo>
                  <a:pt x="38163" y="204293"/>
                  <a:pt x="42430" y="200026"/>
                  <a:pt x="47688" y="200026"/>
                </a:cubicBezTo>
                <a:close/>
                <a:moveTo>
                  <a:pt x="192658" y="181356"/>
                </a:moveTo>
                <a:lnTo>
                  <a:pt x="276478" y="200406"/>
                </a:lnTo>
                <a:cubicBezTo>
                  <a:pt x="279869" y="201178"/>
                  <a:pt x="282574" y="203731"/>
                  <a:pt x="283527" y="207074"/>
                </a:cubicBezTo>
                <a:cubicBezTo>
                  <a:pt x="284555" y="210446"/>
                  <a:pt x="283641" y="214113"/>
                  <a:pt x="281145" y="216599"/>
                </a:cubicBezTo>
                <a:lnTo>
                  <a:pt x="268477" y="229172"/>
                </a:lnTo>
                <a:lnTo>
                  <a:pt x="301910" y="262890"/>
                </a:lnTo>
                <a:cubicBezTo>
                  <a:pt x="305606" y="266605"/>
                  <a:pt x="305606" y="272606"/>
                  <a:pt x="301910" y="276321"/>
                </a:cubicBezTo>
                <a:lnTo>
                  <a:pt x="276097" y="302133"/>
                </a:lnTo>
                <a:cubicBezTo>
                  <a:pt x="274297" y="303915"/>
                  <a:pt x="271868" y="304915"/>
                  <a:pt x="269335" y="304896"/>
                </a:cubicBezTo>
                <a:cubicBezTo>
                  <a:pt x="266801" y="304915"/>
                  <a:pt x="264372" y="303915"/>
                  <a:pt x="262572" y="302133"/>
                </a:cubicBezTo>
                <a:lnTo>
                  <a:pt x="229044" y="268510"/>
                </a:lnTo>
                <a:lnTo>
                  <a:pt x="216471" y="281178"/>
                </a:lnTo>
                <a:cubicBezTo>
                  <a:pt x="213985" y="283674"/>
                  <a:pt x="210318" y="284588"/>
                  <a:pt x="206946" y="283560"/>
                </a:cubicBezTo>
                <a:cubicBezTo>
                  <a:pt x="203641" y="282569"/>
                  <a:pt x="201126" y="279873"/>
                  <a:pt x="200373" y="276511"/>
                </a:cubicBezTo>
                <a:lnTo>
                  <a:pt x="181323" y="192691"/>
                </a:lnTo>
                <a:cubicBezTo>
                  <a:pt x="181028" y="191358"/>
                  <a:pt x="181028" y="189967"/>
                  <a:pt x="181323" y="188633"/>
                </a:cubicBezTo>
                <a:cubicBezTo>
                  <a:pt x="182447" y="183499"/>
                  <a:pt x="187515" y="180232"/>
                  <a:pt x="192658" y="181356"/>
                </a:cubicBezTo>
                <a:close/>
                <a:moveTo>
                  <a:pt x="219138" y="152401"/>
                </a:moveTo>
                <a:lnTo>
                  <a:pt x="257238" y="152401"/>
                </a:lnTo>
                <a:cubicBezTo>
                  <a:pt x="262496" y="152401"/>
                  <a:pt x="266763" y="156668"/>
                  <a:pt x="266763" y="161926"/>
                </a:cubicBezTo>
                <a:cubicBezTo>
                  <a:pt x="266763" y="167184"/>
                  <a:pt x="262496" y="171451"/>
                  <a:pt x="257238" y="171451"/>
                </a:cubicBezTo>
                <a:lnTo>
                  <a:pt x="219138" y="171451"/>
                </a:lnTo>
                <a:cubicBezTo>
                  <a:pt x="213880" y="171451"/>
                  <a:pt x="209613" y="167184"/>
                  <a:pt x="209613" y="161926"/>
                </a:cubicBezTo>
                <a:cubicBezTo>
                  <a:pt x="209613" y="156668"/>
                  <a:pt x="213880" y="152401"/>
                  <a:pt x="219138" y="152401"/>
                </a:cubicBezTo>
                <a:close/>
                <a:moveTo>
                  <a:pt x="142938" y="133351"/>
                </a:moveTo>
                <a:lnTo>
                  <a:pt x="142938" y="161926"/>
                </a:lnTo>
                <a:lnTo>
                  <a:pt x="171513" y="161926"/>
                </a:lnTo>
                <a:lnTo>
                  <a:pt x="171513" y="133351"/>
                </a:lnTo>
                <a:close/>
                <a:moveTo>
                  <a:pt x="57213" y="133351"/>
                </a:moveTo>
                <a:lnTo>
                  <a:pt x="57213" y="161926"/>
                </a:lnTo>
                <a:lnTo>
                  <a:pt x="85788" y="161926"/>
                </a:lnTo>
                <a:lnTo>
                  <a:pt x="85788" y="133351"/>
                </a:lnTo>
                <a:close/>
                <a:moveTo>
                  <a:pt x="219138" y="114301"/>
                </a:moveTo>
                <a:lnTo>
                  <a:pt x="257238" y="114301"/>
                </a:lnTo>
                <a:cubicBezTo>
                  <a:pt x="262496" y="114301"/>
                  <a:pt x="266763" y="118568"/>
                  <a:pt x="266763" y="123826"/>
                </a:cubicBezTo>
                <a:cubicBezTo>
                  <a:pt x="266763" y="129084"/>
                  <a:pt x="262496" y="133351"/>
                  <a:pt x="257238" y="133351"/>
                </a:cubicBezTo>
                <a:lnTo>
                  <a:pt x="219138" y="133351"/>
                </a:lnTo>
                <a:cubicBezTo>
                  <a:pt x="213880" y="133351"/>
                  <a:pt x="209613" y="129084"/>
                  <a:pt x="209613" y="123826"/>
                </a:cubicBezTo>
                <a:cubicBezTo>
                  <a:pt x="209613" y="118568"/>
                  <a:pt x="213880" y="114301"/>
                  <a:pt x="219138" y="114301"/>
                </a:cubicBezTo>
                <a:close/>
                <a:moveTo>
                  <a:pt x="133413" y="114301"/>
                </a:moveTo>
                <a:lnTo>
                  <a:pt x="181038" y="114301"/>
                </a:lnTo>
                <a:cubicBezTo>
                  <a:pt x="186296" y="114301"/>
                  <a:pt x="190563" y="118568"/>
                  <a:pt x="190563" y="123826"/>
                </a:cubicBezTo>
                <a:lnTo>
                  <a:pt x="190563" y="171451"/>
                </a:lnTo>
                <a:cubicBezTo>
                  <a:pt x="190563" y="176709"/>
                  <a:pt x="186296" y="180976"/>
                  <a:pt x="181038" y="180976"/>
                </a:cubicBezTo>
                <a:lnTo>
                  <a:pt x="133413" y="180976"/>
                </a:lnTo>
                <a:cubicBezTo>
                  <a:pt x="128155" y="180976"/>
                  <a:pt x="123888" y="176709"/>
                  <a:pt x="123888" y="171451"/>
                </a:cubicBezTo>
                <a:lnTo>
                  <a:pt x="123888" y="123826"/>
                </a:lnTo>
                <a:cubicBezTo>
                  <a:pt x="123888" y="118568"/>
                  <a:pt x="128155" y="114301"/>
                  <a:pt x="133413" y="114301"/>
                </a:cubicBezTo>
                <a:close/>
                <a:moveTo>
                  <a:pt x="47688" y="114301"/>
                </a:moveTo>
                <a:lnTo>
                  <a:pt x="95313" y="114301"/>
                </a:lnTo>
                <a:cubicBezTo>
                  <a:pt x="100571" y="114301"/>
                  <a:pt x="104838" y="118568"/>
                  <a:pt x="104838" y="123826"/>
                </a:cubicBezTo>
                <a:lnTo>
                  <a:pt x="104838" y="171451"/>
                </a:lnTo>
                <a:cubicBezTo>
                  <a:pt x="104838" y="176709"/>
                  <a:pt x="100571" y="180976"/>
                  <a:pt x="95313" y="180976"/>
                </a:cubicBezTo>
                <a:lnTo>
                  <a:pt x="47688" y="180976"/>
                </a:lnTo>
                <a:cubicBezTo>
                  <a:pt x="42430" y="180976"/>
                  <a:pt x="38163" y="176709"/>
                  <a:pt x="38163" y="171451"/>
                </a:cubicBezTo>
                <a:lnTo>
                  <a:pt x="38163" y="123826"/>
                </a:lnTo>
                <a:cubicBezTo>
                  <a:pt x="38163" y="118568"/>
                  <a:pt x="42430" y="114301"/>
                  <a:pt x="47688" y="114301"/>
                </a:cubicBezTo>
                <a:close/>
                <a:moveTo>
                  <a:pt x="114537" y="38193"/>
                </a:moveTo>
                <a:lnTo>
                  <a:pt x="133587" y="38193"/>
                </a:lnTo>
                <a:lnTo>
                  <a:pt x="133587" y="57243"/>
                </a:lnTo>
                <a:lnTo>
                  <a:pt x="114537" y="57243"/>
                </a:lnTo>
                <a:close/>
                <a:moveTo>
                  <a:pt x="76437" y="38193"/>
                </a:moveTo>
                <a:lnTo>
                  <a:pt x="95487" y="38193"/>
                </a:lnTo>
                <a:lnTo>
                  <a:pt x="95487" y="57243"/>
                </a:lnTo>
                <a:lnTo>
                  <a:pt x="76437" y="57243"/>
                </a:lnTo>
                <a:close/>
                <a:moveTo>
                  <a:pt x="38337" y="38193"/>
                </a:moveTo>
                <a:lnTo>
                  <a:pt x="57387" y="38193"/>
                </a:lnTo>
                <a:lnTo>
                  <a:pt x="57387" y="57243"/>
                </a:lnTo>
                <a:lnTo>
                  <a:pt x="38337" y="57243"/>
                </a:lnTo>
                <a:close/>
                <a:moveTo>
                  <a:pt x="26066" y="19051"/>
                </a:moveTo>
                <a:cubicBezTo>
                  <a:pt x="23065" y="19046"/>
                  <a:pt x="20351" y="20798"/>
                  <a:pt x="19112" y="23528"/>
                </a:cubicBezTo>
                <a:lnTo>
                  <a:pt x="19112" y="76201"/>
                </a:lnTo>
                <a:lnTo>
                  <a:pt x="285812" y="76201"/>
                </a:lnTo>
                <a:lnTo>
                  <a:pt x="285812" y="23432"/>
                </a:lnTo>
                <a:cubicBezTo>
                  <a:pt x="284527" y="20756"/>
                  <a:pt x="281831" y="19053"/>
                  <a:pt x="278859" y="19051"/>
                </a:cubicBezTo>
                <a:close/>
                <a:moveTo>
                  <a:pt x="26066" y="1"/>
                </a:moveTo>
                <a:lnTo>
                  <a:pt x="278859" y="1"/>
                </a:lnTo>
                <a:cubicBezTo>
                  <a:pt x="292309" y="-155"/>
                  <a:pt x="303624" y="10040"/>
                  <a:pt x="304862" y="23432"/>
                </a:cubicBezTo>
                <a:lnTo>
                  <a:pt x="304862" y="180976"/>
                </a:lnTo>
                <a:cubicBezTo>
                  <a:pt x="304862" y="186234"/>
                  <a:pt x="300595" y="190501"/>
                  <a:pt x="295337" y="190501"/>
                </a:cubicBezTo>
                <a:cubicBezTo>
                  <a:pt x="290080" y="190501"/>
                  <a:pt x="285812" y="186234"/>
                  <a:pt x="285812" y="180976"/>
                </a:cubicBezTo>
                <a:lnTo>
                  <a:pt x="285812" y="95251"/>
                </a:lnTo>
                <a:lnTo>
                  <a:pt x="19112" y="95251"/>
                </a:lnTo>
                <a:lnTo>
                  <a:pt x="19112" y="276226"/>
                </a:lnTo>
                <a:cubicBezTo>
                  <a:pt x="19112" y="281941"/>
                  <a:pt x="21875" y="285751"/>
                  <a:pt x="26066" y="285751"/>
                </a:cubicBezTo>
                <a:lnTo>
                  <a:pt x="181037" y="285751"/>
                </a:lnTo>
                <a:cubicBezTo>
                  <a:pt x="186295" y="285751"/>
                  <a:pt x="190562" y="290018"/>
                  <a:pt x="190562" y="295276"/>
                </a:cubicBezTo>
                <a:cubicBezTo>
                  <a:pt x="190562" y="300534"/>
                  <a:pt x="186295" y="304801"/>
                  <a:pt x="181037" y="304801"/>
                </a:cubicBezTo>
                <a:lnTo>
                  <a:pt x="26066" y="304801"/>
                </a:lnTo>
                <a:cubicBezTo>
                  <a:pt x="25694" y="304791"/>
                  <a:pt x="25323" y="304772"/>
                  <a:pt x="24951" y="304744"/>
                </a:cubicBezTo>
                <a:cubicBezTo>
                  <a:pt x="10197" y="303744"/>
                  <a:pt x="-938" y="290970"/>
                  <a:pt x="62" y="276226"/>
                </a:cubicBezTo>
                <a:lnTo>
                  <a:pt x="62" y="23432"/>
                </a:lnTo>
                <a:cubicBezTo>
                  <a:pt x="1301" y="10040"/>
                  <a:pt x="12616" y="-155"/>
                  <a:pt x="26066" y="1"/>
                </a:cubicBezTo>
                <a:close/>
              </a:path>
            </a:pathLst>
          </a:custGeom>
          <a:gradFill flip="none" rotWithShape="1">
            <a:gsLst>
              <a:gs pos="100000">
                <a:schemeClr val="bg1">
                  <a:alpha val="30000"/>
                </a:schemeClr>
              </a:gs>
              <a:gs pos="18000">
                <a:schemeClr val="bg1">
                  <a:alpha val="10000"/>
                </a:schemeClr>
              </a:gs>
            </a:gsLst>
            <a:lin ang="16200000" scaled="1"/>
            <a:tileRect/>
          </a:gradFill>
          <a:ln w="952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panose="020F0502020204030204"/>
              <a:ea typeface="微软雅黑"/>
              <a:cs typeface="+mn-cs"/>
            </a:endParaRPr>
          </a:p>
        </p:txBody>
      </p:sp>
      <p:sp>
        <p:nvSpPr>
          <p:cNvPr id="235" name="任意多边形: 形状 234">
            <a:extLst>
              <a:ext uri="{FF2B5EF4-FFF2-40B4-BE49-F238E27FC236}">
                <a16:creationId xmlns:a16="http://schemas.microsoft.com/office/drawing/2014/main" id="{8CD1724A-FE4F-45E1-9D0D-535434CA0CCB}"/>
              </a:ext>
            </a:extLst>
          </p:cNvPr>
          <p:cNvSpPr>
            <a:spLocks/>
          </p:cNvSpPr>
          <p:nvPr/>
        </p:nvSpPr>
        <p:spPr>
          <a:xfrm>
            <a:off x="8793060" y="2268285"/>
            <a:ext cx="534866" cy="534866"/>
          </a:xfrm>
          <a:custGeom>
            <a:avLst/>
            <a:gdLst>
              <a:gd name="connsiteX0" fmla="*/ 9525 w 305296"/>
              <a:gd name="connsiteY0" fmla="*/ 257175 h 276225"/>
              <a:gd name="connsiteX1" fmla="*/ 295275 w 305296"/>
              <a:gd name="connsiteY1" fmla="*/ 257175 h 276225"/>
              <a:gd name="connsiteX2" fmla="*/ 304800 w 305296"/>
              <a:gd name="connsiteY2" fmla="*/ 266700 h 276225"/>
              <a:gd name="connsiteX3" fmla="*/ 295275 w 305296"/>
              <a:gd name="connsiteY3" fmla="*/ 276225 h 276225"/>
              <a:gd name="connsiteX4" fmla="*/ 9525 w 305296"/>
              <a:gd name="connsiteY4" fmla="*/ 276225 h 276225"/>
              <a:gd name="connsiteX5" fmla="*/ 0 w 305296"/>
              <a:gd name="connsiteY5" fmla="*/ 266700 h 276225"/>
              <a:gd name="connsiteX6" fmla="*/ 9525 w 305296"/>
              <a:gd name="connsiteY6" fmla="*/ 257175 h 276225"/>
              <a:gd name="connsiteX7" fmla="*/ 118967 w 305296"/>
              <a:gd name="connsiteY7" fmla="*/ 173069 h 276225"/>
              <a:gd name="connsiteX8" fmla="*/ 131425 w 305296"/>
              <a:gd name="connsiteY8" fmla="*/ 175545 h 276225"/>
              <a:gd name="connsiteX9" fmla="*/ 129539 w 305296"/>
              <a:gd name="connsiteY9" fmla="*/ 188880 h 276225"/>
              <a:gd name="connsiteX10" fmla="*/ 114299 w 305296"/>
              <a:gd name="connsiteY10" fmla="*/ 219075 h 276225"/>
              <a:gd name="connsiteX11" fmla="*/ 190499 w 305296"/>
              <a:gd name="connsiteY11" fmla="*/ 219075 h 276225"/>
              <a:gd name="connsiteX12" fmla="*/ 175926 w 305296"/>
              <a:gd name="connsiteY12" fmla="*/ 188880 h 276225"/>
              <a:gd name="connsiteX13" fmla="*/ 173450 w 305296"/>
              <a:gd name="connsiteY13" fmla="*/ 176422 h 276225"/>
              <a:gd name="connsiteX14" fmla="*/ 186499 w 305296"/>
              <a:gd name="connsiteY14" fmla="*/ 173069 h 276225"/>
              <a:gd name="connsiteX15" fmla="*/ 209549 w 305296"/>
              <a:gd name="connsiteY15" fmla="*/ 230219 h 276225"/>
              <a:gd name="connsiteX16" fmla="*/ 200024 w 305296"/>
              <a:gd name="connsiteY16" fmla="*/ 238315 h 276225"/>
              <a:gd name="connsiteX17" fmla="*/ 105251 w 305296"/>
              <a:gd name="connsiteY17" fmla="*/ 238315 h 276225"/>
              <a:gd name="connsiteX18" fmla="*/ 95726 w 305296"/>
              <a:gd name="connsiteY18" fmla="*/ 230219 h 276225"/>
              <a:gd name="connsiteX19" fmla="*/ 118967 w 305296"/>
              <a:gd name="connsiteY19" fmla="*/ 173069 h 276225"/>
              <a:gd name="connsiteX20" fmla="*/ 61389 w 305296"/>
              <a:gd name="connsiteY20" fmla="*/ 115299 h 276225"/>
              <a:gd name="connsiteX21" fmla="*/ 65627 w 305296"/>
              <a:gd name="connsiteY21" fmla="*/ 128111 h 276225"/>
              <a:gd name="connsiteX22" fmla="*/ 32766 w 305296"/>
              <a:gd name="connsiteY22" fmla="*/ 147161 h 276225"/>
              <a:gd name="connsiteX23" fmla="*/ 30480 w 305296"/>
              <a:gd name="connsiteY23" fmla="*/ 147161 h 276225"/>
              <a:gd name="connsiteX24" fmla="*/ 19526 w 305296"/>
              <a:gd name="connsiteY24" fmla="*/ 219074 h 276225"/>
              <a:gd name="connsiteX25" fmla="*/ 38576 w 305296"/>
              <a:gd name="connsiteY25" fmla="*/ 219074 h 276225"/>
              <a:gd name="connsiteX26" fmla="*/ 38576 w 305296"/>
              <a:gd name="connsiteY26" fmla="*/ 190499 h 276225"/>
              <a:gd name="connsiteX27" fmla="*/ 48101 w 305296"/>
              <a:gd name="connsiteY27" fmla="*/ 180974 h 276225"/>
              <a:gd name="connsiteX28" fmla="*/ 57626 w 305296"/>
              <a:gd name="connsiteY28" fmla="*/ 190499 h 276225"/>
              <a:gd name="connsiteX29" fmla="*/ 57626 w 305296"/>
              <a:gd name="connsiteY29" fmla="*/ 219074 h 276225"/>
              <a:gd name="connsiteX30" fmla="*/ 67151 w 305296"/>
              <a:gd name="connsiteY30" fmla="*/ 219074 h 276225"/>
              <a:gd name="connsiteX31" fmla="*/ 76676 w 305296"/>
              <a:gd name="connsiteY31" fmla="*/ 228599 h 276225"/>
              <a:gd name="connsiteX32" fmla="*/ 67151 w 305296"/>
              <a:gd name="connsiteY32" fmla="*/ 238124 h 276225"/>
              <a:gd name="connsiteX33" fmla="*/ 10001 w 305296"/>
              <a:gd name="connsiteY33" fmla="*/ 238124 h 276225"/>
              <a:gd name="connsiteX34" fmla="*/ 857 w 305296"/>
              <a:gd name="connsiteY34" fmla="*/ 229171 h 276225"/>
              <a:gd name="connsiteX35" fmla="*/ 15716 w 305296"/>
              <a:gd name="connsiteY35" fmla="*/ 134873 h 276225"/>
              <a:gd name="connsiteX36" fmla="*/ 30480 w 305296"/>
              <a:gd name="connsiteY36" fmla="*/ 128206 h 276225"/>
              <a:gd name="connsiteX37" fmla="*/ 32956 w 305296"/>
              <a:gd name="connsiteY37" fmla="*/ 128206 h 276225"/>
              <a:gd name="connsiteX38" fmla="*/ 48577 w 305296"/>
              <a:gd name="connsiteY38" fmla="*/ 119538 h 276225"/>
              <a:gd name="connsiteX39" fmla="*/ 61389 w 305296"/>
              <a:gd name="connsiteY39" fmla="*/ 115299 h 276225"/>
              <a:gd name="connsiteX40" fmla="*/ 244334 w 305296"/>
              <a:gd name="connsiteY40" fmla="*/ 115090 h 276225"/>
              <a:gd name="connsiteX41" fmla="*/ 257079 w 305296"/>
              <a:gd name="connsiteY41" fmla="*/ 119443 h 276225"/>
              <a:gd name="connsiteX42" fmla="*/ 272700 w 305296"/>
              <a:gd name="connsiteY42" fmla="*/ 128110 h 276225"/>
              <a:gd name="connsiteX43" fmla="*/ 275176 w 305296"/>
              <a:gd name="connsiteY43" fmla="*/ 128110 h 276225"/>
              <a:gd name="connsiteX44" fmla="*/ 289940 w 305296"/>
              <a:gd name="connsiteY44" fmla="*/ 134778 h 276225"/>
              <a:gd name="connsiteX45" fmla="*/ 304799 w 305296"/>
              <a:gd name="connsiteY45" fmla="*/ 229076 h 276225"/>
              <a:gd name="connsiteX46" fmla="*/ 295274 w 305296"/>
              <a:gd name="connsiteY46" fmla="*/ 238124 h 276225"/>
              <a:gd name="connsiteX47" fmla="*/ 238029 w 305296"/>
              <a:gd name="connsiteY47" fmla="*/ 238124 h 276225"/>
              <a:gd name="connsiteX48" fmla="*/ 228504 w 305296"/>
              <a:gd name="connsiteY48" fmla="*/ 228599 h 276225"/>
              <a:gd name="connsiteX49" fmla="*/ 238029 w 305296"/>
              <a:gd name="connsiteY49" fmla="*/ 219074 h 276225"/>
              <a:gd name="connsiteX50" fmla="*/ 247554 w 305296"/>
              <a:gd name="connsiteY50" fmla="*/ 219074 h 276225"/>
              <a:gd name="connsiteX51" fmla="*/ 247554 w 305296"/>
              <a:gd name="connsiteY51" fmla="*/ 190499 h 276225"/>
              <a:gd name="connsiteX52" fmla="*/ 257079 w 305296"/>
              <a:gd name="connsiteY52" fmla="*/ 180974 h 276225"/>
              <a:gd name="connsiteX53" fmla="*/ 266604 w 305296"/>
              <a:gd name="connsiteY53" fmla="*/ 190499 h 276225"/>
              <a:gd name="connsiteX54" fmla="*/ 266604 w 305296"/>
              <a:gd name="connsiteY54" fmla="*/ 219074 h 276225"/>
              <a:gd name="connsiteX55" fmla="*/ 285654 w 305296"/>
              <a:gd name="connsiteY55" fmla="*/ 219074 h 276225"/>
              <a:gd name="connsiteX56" fmla="*/ 274796 w 305296"/>
              <a:gd name="connsiteY56" fmla="*/ 147160 h 276225"/>
              <a:gd name="connsiteX57" fmla="*/ 272414 w 305296"/>
              <a:gd name="connsiteY57" fmla="*/ 147160 h 276225"/>
              <a:gd name="connsiteX58" fmla="*/ 239553 w 305296"/>
              <a:gd name="connsiteY58" fmla="*/ 128110 h 276225"/>
              <a:gd name="connsiteX59" fmla="*/ 243839 w 305296"/>
              <a:gd name="connsiteY59" fmla="*/ 115347 h 276225"/>
              <a:gd name="connsiteX60" fmla="*/ 244334 w 305296"/>
              <a:gd name="connsiteY60" fmla="*/ 115090 h 276225"/>
              <a:gd name="connsiteX61" fmla="*/ 152400 w 305296"/>
              <a:gd name="connsiteY61" fmla="*/ 114300 h 276225"/>
              <a:gd name="connsiteX62" fmla="*/ 142875 w 305296"/>
              <a:gd name="connsiteY62" fmla="*/ 129254 h 276225"/>
              <a:gd name="connsiteX63" fmla="*/ 152400 w 305296"/>
              <a:gd name="connsiteY63" fmla="*/ 152400 h 276225"/>
              <a:gd name="connsiteX64" fmla="*/ 161925 w 305296"/>
              <a:gd name="connsiteY64" fmla="*/ 129254 h 276225"/>
              <a:gd name="connsiteX65" fmla="*/ 152400 w 305296"/>
              <a:gd name="connsiteY65" fmla="*/ 114300 h 276225"/>
              <a:gd name="connsiteX66" fmla="*/ 152400 w 305296"/>
              <a:gd name="connsiteY66" fmla="*/ 95250 h 276225"/>
              <a:gd name="connsiteX67" fmla="*/ 180975 w 305296"/>
              <a:gd name="connsiteY67" fmla="*/ 129254 h 276225"/>
              <a:gd name="connsiteX68" fmla="*/ 152400 w 305296"/>
              <a:gd name="connsiteY68" fmla="*/ 171450 h 276225"/>
              <a:gd name="connsiteX69" fmla="*/ 123825 w 305296"/>
              <a:gd name="connsiteY69" fmla="*/ 129254 h 276225"/>
              <a:gd name="connsiteX70" fmla="*/ 152400 w 305296"/>
              <a:gd name="connsiteY70" fmla="*/ 95250 h 276225"/>
              <a:gd name="connsiteX71" fmla="*/ 214313 w 305296"/>
              <a:gd name="connsiteY71" fmla="*/ 19050 h 276225"/>
              <a:gd name="connsiteX72" fmla="*/ 190500 w 305296"/>
              <a:gd name="connsiteY72" fmla="*/ 50387 h 276225"/>
              <a:gd name="connsiteX73" fmla="*/ 214313 w 305296"/>
              <a:gd name="connsiteY73" fmla="*/ 95250 h 276225"/>
              <a:gd name="connsiteX74" fmla="*/ 238125 w 305296"/>
              <a:gd name="connsiteY74" fmla="*/ 50387 h 276225"/>
              <a:gd name="connsiteX75" fmla="*/ 214313 w 305296"/>
              <a:gd name="connsiteY75" fmla="*/ 19050 h 276225"/>
              <a:gd name="connsiteX76" fmla="*/ 90488 w 305296"/>
              <a:gd name="connsiteY76" fmla="*/ 19050 h 276225"/>
              <a:gd name="connsiteX77" fmla="*/ 66675 w 305296"/>
              <a:gd name="connsiteY77" fmla="*/ 50387 h 276225"/>
              <a:gd name="connsiteX78" fmla="*/ 90488 w 305296"/>
              <a:gd name="connsiteY78" fmla="*/ 95250 h 276225"/>
              <a:gd name="connsiteX79" fmla="*/ 114300 w 305296"/>
              <a:gd name="connsiteY79" fmla="*/ 50387 h 276225"/>
              <a:gd name="connsiteX80" fmla="*/ 90488 w 305296"/>
              <a:gd name="connsiteY80" fmla="*/ 19050 h 276225"/>
              <a:gd name="connsiteX81" fmla="*/ 214313 w 305296"/>
              <a:gd name="connsiteY81" fmla="*/ 0 h 276225"/>
              <a:gd name="connsiteX82" fmla="*/ 257175 w 305296"/>
              <a:gd name="connsiteY82" fmla="*/ 50387 h 276225"/>
              <a:gd name="connsiteX83" fmla="*/ 214313 w 305296"/>
              <a:gd name="connsiteY83" fmla="*/ 114300 h 276225"/>
              <a:gd name="connsiteX84" fmla="*/ 171450 w 305296"/>
              <a:gd name="connsiteY84" fmla="*/ 50387 h 276225"/>
              <a:gd name="connsiteX85" fmla="*/ 214313 w 305296"/>
              <a:gd name="connsiteY85" fmla="*/ 0 h 276225"/>
              <a:gd name="connsiteX86" fmla="*/ 90488 w 305296"/>
              <a:gd name="connsiteY86" fmla="*/ 0 h 276225"/>
              <a:gd name="connsiteX87" fmla="*/ 133350 w 305296"/>
              <a:gd name="connsiteY87" fmla="*/ 50387 h 276225"/>
              <a:gd name="connsiteX88" fmla="*/ 90488 w 305296"/>
              <a:gd name="connsiteY88" fmla="*/ 114300 h 276225"/>
              <a:gd name="connsiteX89" fmla="*/ 47625 w 305296"/>
              <a:gd name="connsiteY89" fmla="*/ 50387 h 276225"/>
              <a:gd name="connsiteX90" fmla="*/ 90488 w 305296"/>
              <a:gd name="connsiteY90" fmla="*/ 0 h 276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305296" h="276225">
                <a:moveTo>
                  <a:pt x="9525" y="257175"/>
                </a:moveTo>
                <a:lnTo>
                  <a:pt x="295275" y="257175"/>
                </a:lnTo>
                <a:cubicBezTo>
                  <a:pt x="300533" y="257175"/>
                  <a:pt x="304800" y="261442"/>
                  <a:pt x="304800" y="266700"/>
                </a:cubicBezTo>
                <a:cubicBezTo>
                  <a:pt x="304800" y="271958"/>
                  <a:pt x="300533" y="276225"/>
                  <a:pt x="295275" y="276225"/>
                </a:cubicBezTo>
                <a:lnTo>
                  <a:pt x="9525" y="276225"/>
                </a:lnTo>
                <a:cubicBezTo>
                  <a:pt x="4267" y="276225"/>
                  <a:pt x="0" y="271958"/>
                  <a:pt x="0" y="266700"/>
                </a:cubicBezTo>
                <a:cubicBezTo>
                  <a:pt x="0" y="261442"/>
                  <a:pt x="4267" y="257175"/>
                  <a:pt x="9525" y="257175"/>
                </a:cubicBezTo>
                <a:close/>
                <a:moveTo>
                  <a:pt x="118967" y="173069"/>
                </a:moveTo>
                <a:cubicBezTo>
                  <a:pt x="123148" y="170602"/>
                  <a:pt x="128511" y="171669"/>
                  <a:pt x="131425" y="175545"/>
                </a:cubicBezTo>
                <a:cubicBezTo>
                  <a:pt x="134588" y="179746"/>
                  <a:pt x="133740" y="185718"/>
                  <a:pt x="129539" y="188880"/>
                </a:cubicBezTo>
                <a:cubicBezTo>
                  <a:pt x="119938" y="195948"/>
                  <a:pt x="114280" y="207159"/>
                  <a:pt x="114299" y="219075"/>
                </a:cubicBezTo>
                <a:lnTo>
                  <a:pt x="190499" y="219075"/>
                </a:lnTo>
                <a:cubicBezTo>
                  <a:pt x="190566" y="207302"/>
                  <a:pt x="185194" y="196148"/>
                  <a:pt x="175926" y="188880"/>
                </a:cubicBezTo>
                <a:cubicBezTo>
                  <a:pt x="172049" y="185966"/>
                  <a:pt x="170983" y="180594"/>
                  <a:pt x="173450" y="176422"/>
                </a:cubicBezTo>
                <a:cubicBezTo>
                  <a:pt x="176126" y="171888"/>
                  <a:pt x="181974" y="170392"/>
                  <a:pt x="186499" y="173069"/>
                </a:cubicBezTo>
                <a:cubicBezTo>
                  <a:pt x="214788" y="192119"/>
                  <a:pt x="209549" y="228695"/>
                  <a:pt x="209549" y="230219"/>
                </a:cubicBezTo>
                <a:cubicBezTo>
                  <a:pt x="208835" y="234915"/>
                  <a:pt x="204777" y="238372"/>
                  <a:pt x="200024" y="238315"/>
                </a:cubicBezTo>
                <a:lnTo>
                  <a:pt x="105251" y="238315"/>
                </a:lnTo>
                <a:cubicBezTo>
                  <a:pt x="100498" y="238372"/>
                  <a:pt x="96440" y="234915"/>
                  <a:pt x="95726" y="230219"/>
                </a:cubicBezTo>
                <a:cubicBezTo>
                  <a:pt x="95535" y="228504"/>
                  <a:pt x="90392" y="192119"/>
                  <a:pt x="118967" y="173069"/>
                </a:cubicBezTo>
                <a:close/>
                <a:moveTo>
                  <a:pt x="61389" y="115299"/>
                </a:moveTo>
                <a:cubicBezTo>
                  <a:pt x="66094" y="117671"/>
                  <a:pt x="67999" y="123405"/>
                  <a:pt x="65627" y="128111"/>
                </a:cubicBezTo>
                <a:cubicBezTo>
                  <a:pt x="60398" y="141293"/>
                  <a:pt x="46806" y="149170"/>
                  <a:pt x="32766" y="147161"/>
                </a:cubicBezTo>
                <a:lnTo>
                  <a:pt x="30480" y="147161"/>
                </a:lnTo>
                <a:cubicBezTo>
                  <a:pt x="24194" y="148780"/>
                  <a:pt x="18479" y="180307"/>
                  <a:pt x="19526" y="219074"/>
                </a:cubicBezTo>
                <a:lnTo>
                  <a:pt x="38576" y="219074"/>
                </a:lnTo>
                <a:lnTo>
                  <a:pt x="38576" y="190499"/>
                </a:lnTo>
                <a:cubicBezTo>
                  <a:pt x="38576" y="185241"/>
                  <a:pt x="42843" y="180974"/>
                  <a:pt x="48101" y="180974"/>
                </a:cubicBezTo>
                <a:cubicBezTo>
                  <a:pt x="53359" y="180974"/>
                  <a:pt x="57626" y="185241"/>
                  <a:pt x="57626" y="190499"/>
                </a:cubicBezTo>
                <a:lnTo>
                  <a:pt x="57626" y="219074"/>
                </a:lnTo>
                <a:lnTo>
                  <a:pt x="67151" y="219074"/>
                </a:lnTo>
                <a:cubicBezTo>
                  <a:pt x="72409" y="219074"/>
                  <a:pt x="76676" y="223341"/>
                  <a:pt x="76676" y="228599"/>
                </a:cubicBezTo>
                <a:cubicBezTo>
                  <a:pt x="76676" y="233857"/>
                  <a:pt x="72409" y="238124"/>
                  <a:pt x="67151" y="238124"/>
                </a:cubicBezTo>
                <a:lnTo>
                  <a:pt x="10001" y="238124"/>
                </a:lnTo>
                <a:cubicBezTo>
                  <a:pt x="5105" y="237934"/>
                  <a:pt x="1143" y="234067"/>
                  <a:pt x="857" y="229171"/>
                </a:cubicBezTo>
                <a:cubicBezTo>
                  <a:pt x="190" y="216788"/>
                  <a:pt x="-2286" y="153923"/>
                  <a:pt x="15716" y="134873"/>
                </a:cubicBezTo>
                <a:cubicBezTo>
                  <a:pt x="19469" y="130654"/>
                  <a:pt x="24832" y="128234"/>
                  <a:pt x="30480" y="128206"/>
                </a:cubicBezTo>
                <a:lnTo>
                  <a:pt x="32956" y="128206"/>
                </a:lnTo>
                <a:cubicBezTo>
                  <a:pt x="42100" y="128111"/>
                  <a:pt x="44196" y="128206"/>
                  <a:pt x="48577" y="119538"/>
                </a:cubicBezTo>
                <a:cubicBezTo>
                  <a:pt x="50949" y="114833"/>
                  <a:pt x="56683" y="112928"/>
                  <a:pt x="61389" y="115299"/>
                </a:cubicBezTo>
                <a:close/>
                <a:moveTo>
                  <a:pt x="244334" y="115090"/>
                </a:moveTo>
                <a:cubicBezTo>
                  <a:pt x="249059" y="112766"/>
                  <a:pt x="254764" y="114718"/>
                  <a:pt x="257079" y="119443"/>
                </a:cubicBezTo>
                <a:cubicBezTo>
                  <a:pt x="261460" y="128110"/>
                  <a:pt x="263175" y="128110"/>
                  <a:pt x="272700" y="128110"/>
                </a:cubicBezTo>
                <a:lnTo>
                  <a:pt x="275176" y="128110"/>
                </a:lnTo>
                <a:cubicBezTo>
                  <a:pt x="280806" y="128187"/>
                  <a:pt x="286159" y="130606"/>
                  <a:pt x="289940" y="134778"/>
                </a:cubicBezTo>
                <a:cubicBezTo>
                  <a:pt x="307942" y="153828"/>
                  <a:pt x="305466" y="216693"/>
                  <a:pt x="304799" y="229076"/>
                </a:cubicBezTo>
                <a:cubicBezTo>
                  <a:pt x="304542" y="234152"/>
                  <a:pt x="300351" y="238134"/>
                  <a:pt x="295274" y="238124"/>
                </a:cubicBezTo>
                <a:lnTo>
                  <a:pt x="238029" y="238124"/>
                </a:lnTo>
                <a:cubicBezTo>
                  <a:pt x="232771" y="238124"/>
                  <a:pt x="228504" y="233857"/>
                  <a:pt x="228504" y="228599"/>
                </a:cubicBezTo>
                <a:cubicBezTo>
                  <a:pt x="228504" y="223341"/>
                  <a:pt x="232771" y="219074"/>
                  <a:pt x="238029" y="219074"/>
                </a:cubicBezTo>
                <a:lnTo>
                  <a:pt x="247554" y="219074"/>
                </a:lnTo>
                <a:lnTo>
                  <a:pt x="247554" y="190499"/>
                </a:lnTo>
                <a:cubicBezTo>
                  <a:pt x="247554" y="185241"/>
                  <a:pt x="251821" y="180974"/>
                  <a:pt x="257079" y="180974"/>
                </a:cubicBezTo>
                <a:cubicBezTo>
                  <a:pt x="262337" y="180974"/>
                  <a:pt x="266604" y="185241"/>
                  <a:pt x="266604" y="190499"/>
                </a:cubicBezTo>
                <a:lnTo>
                  <a:pt x="266604" y="219074"/>
                </a:lnTo>
                <a:lnTo>
                  <a:pt x="285654" y="219074"/>
                </a:lnTo>
                <a:cubicBezTo>
                  <a:pt x="286702" y="180403"/>
                  <a:pt x="280987" y="148780"/>
                  <a:pt x="274796" y="147160"/>
                </a:cubicBezTo>
                <a:lnTo>
                  <a:pt x="272414" y="147160"/>
                </a:lnTo>
                <a:cubicBezTo>
                  <a:pt x="258384" y="149142"/>
                  <a:pt x="244811" y="141274"/>
                  <a:pt x="239553" y="128110"/>
                </a:cubicBezTo>
                <a:cubicBezTo>
                  <a:pt x="237219" y="123405"/>
                  <a:pt x="239134" y="117690"/>
                  <a:pt x="243839" y="115347"/>
                </a:cubicBezTo>
                <a:cubicBezTo>
                  <a:pt x="244001" y="115252"/>
                  <a:pt x="244163" y="115166"/>
                  <a:pt x="244334" y="115090"/>
                </a:cubicBezTo>
                <a:close/>
                <a:moveTo>
                  <a:pt x="152400" y="114300"/>
                </a:moveTo>
                <a:cubicBezTo>
                  <a:pt x="149352" y="114300"/>
                  <a:pt x="142875" y="115157"/>
                  <a:pt x="142875" y="129254"/>
                </a:cubicBezTo>
                <a:cubicBezTo>
                  <a:pt x="142875" y="143351"/>
                  <a:pt x="149162" y="152400"/>
                  <a:pt x="152400" y="152400"/>
                </a:cubicBezTo>
                <a:cubicBezTo>
                  <a:pt x="155638" y="152400"/>
                  <a:pt x="161925" y="144208"/>
                  <a:pt x="161925" y="129254"/>
                </a:cubicBezTo>
                <a:cubicBezTo>
                  <a:pt x="161925" y="114300"/>
                  <a:pt x="155448" y="114300"/>
                  <a:pt x="152400" y="114300"/>
                </a:cubicBezTo>
                <a:close/>
                <a:moveTo>
                  <a:pt x="152400" y="95250"/>
                </a:moveTo>
                <a:cubicBezTo>
                  <a:pt x="166211" y="95250"/>
                  <a:pt x="180975" y="105156"/>
                  <a:pt x="180975" y="129254"/>
                </a:cubicBezTo>
                <a:cubicBezTo>
                  <a:pt x="180975" y="153353"/>
                  <a:pt x="168688" y="171450"/>
                  <a:pt x="152400" y="171450"/>
                </a:cubicBezTo>
                <a:cubicBezTo>
                  <a:pt x="136112" y="171450"/>
                  <a:pt x="123825" y="153353"/>
                  <a:pt x="123825" y="129254"/>
                </a:cubicBezTo>
                <a:cubicBezTo>
                  <a:pt x="123825" y="104204"/>
                  <a:pt x="138589" y="95250"/>
                  <a:pt x="152400" y="95250"/>
                </a:cubicBezTo>
                <a:close/>
                <a:moveTo>
                  <a:pt x="214313" y="19050"/>
                </a:moveTo>
                <a:cubicBezTo>
                  <a:pt x="208407" y="19050"/>
                  <a:pt x="190500" y="19050"/>
                  <a:pt x="190500" y="50387"/>
                </a:cubicBezTo>
                <a:cubicBezTo>
                  <a:pt x="190500" y="76771"/>
                  <a:pt x="203073" y="95250"/>
                  <a:pt x="214313" y="95250"/>
                </a:cubicBezTo>
                <a:cubicBezTo>
                  <a:pt x="225552" y="95250"/>
                  <a:pt x="238125" y="76771"/>
                  <a:pt x="238125" y="50387"/>
                </a:cubicBezTo>
                <a:cubicBezTo>
                  <a:pt x="238125" y="19050"/>
                  <a:pt x="220218" y="19050"/>
                  <a:pt x="214313" y="19050"/>
                </a:cubicBezTo>
                <a:close/>
                <a:moveTo>
                  <a:pt x="90488" y="19050"/>
                </a:moveTo>
                <a:cubicBezTo>
                  <a:pt x="84582" y="19050"/>
                  <a:pt x="66675" y="19050"/>
                  <a:pt x="66675" y="50387"/>
                </a:cubicBezTo>
                <a:cubicBezTo>
                  <a:pt x="66675" y="76771"/>
                  <a:pt x="79248" y="95250"/>
                  <a:pt x="90488" y="95250"/>
                </a:cubicBezTo>
                <a:cubicBezTo>
                  <a:pt x="101727" y="95250"/>
                  <a:pt x="114300" y="76771"/>
                  <a:pt x="114300" y="50387"/>
                </a:cubicBezTo>
                <a:cubicBezTo>
                  <a:pt x="114300" y="19050"/>
                  <a:pt x="96393" y="19050"/>
                  <a:pt x="90488" y="19050"/>
                </a:cubicBezTo>
                <a:close/>
                <a:moveTo>
                  <a:pt x="214313" y="0"/>
                </a:moveTo>
                <a:cubicBezTo>
                  <a:pt x="241173" y="0"/>
                  <a:pt x="257175" y="18859"/>
                  <a:pt x="257175" y="50387"/>
                </a:cubicBezTo>
                <a:cubicBezTo>
                  <a:pt x="257175" y="86201"/>
                  <a:pt x="238316" y="114300"/>
                  <a:pt x="214313" y="114300"/>
                </a:cubicBezTo>
                <a:cubicBezTo>
                  <a:pt x="190500" y="114300"/>
                  <a:pt x="171450" y="86201"/>
                  <a:pt x="171450" y="50387"/>
                </a:cubicBezTo>
                <a:cubicBezTo>
                  <a:pt x="171450" y="19050"/>
                  <a:pt x="187452" y="0"/>
                  <a:pt x="214313" y="0"/>
                </a:cubicBezTo>
                <a:close/>
                <a:moveTo>
                  <a:pt x="90488" y="0"/>
                </a:moveTo>
                <a:cubicBezTo>
                  <a:pt x="117348" y="0"/>
                  <a:pt x="133350" y="18859"/>
                  <a:pt x="133350" y="50387"/>
                </a:cubicBezTo>
                <a:cubicBezTo>
                  <a:pt x="133350" y="86201"/>
                  <a:pt x="114491" y="114300"/>
                  <a:pt x="90488" y="114300"/>
                </a:cubicBezTo>
                <a:cubicBezTo>
                  <a:pt x="66675" y="114300"/>
                  <a:pt x="47625" y="86201"/>
                  <a:pt x="47625" y="50387"/>
                </a:cubicBezTo>
                <a:cubicBezTo>
                  <a:pt x="47625" y="19050"/>
                  <a:pt x="63627" y="0"/>
                  <a:pt x="90488" y="0"/>
                </a:cubicBezTo>
                <a:close/>
              </a:path>
            </a:pathLst>
          </a:custGeom>
          <a:gradFill flip="none" rotWithShape="1">
            <a:gsLst>
              <a:gs pos="100000">
                <a:schemeClr val="bg1">
                  <a:alpha val="30000"/>
                </a:schemeClr>
              </a:gs>
              <a:gs pos="18000">
                <a:schemeClr val="bg1">
                  <a:alpha val="10000"/>
                </a:schemeClr>
              </a:gs>
            </a:gsLst>
            <a:lin ang="16200000" scaled="1"/>
            <a:tileRect/>
          </a:gradFill>
          <a:ln w="952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panose="020F0502020204030204"/>
              <a:ea typeface="微软雅黑"/>
              <a:cs typeface="+mn-cs"/>
            </a:endParaRPr>
          </a:p>
        </p:txBody>
      </p:sp>
      <p:sp>
        <p:nvSpPr>
          <p:cNvPr id="29" name="Object 1028">
            <a:extLst>
              <a:ext uri="{FF2B5EF4-FFF2-40B4-BE49-F238E27FC236}">
                <a16:creationId xmlns:a16="http://schemas.microsoft.com/office/drawing/2014/main" id="{DE8A12EE-4B6F-4268-8FF7-84BC70B1DFB2}"/>
              </a:ext>
            </a:extLst>
          </p:cNvPr>
          <p:cNvSpPr txBox="1"/>
          <p:nvPr/>
        </p:nvSpPr>
        <p:spPr>
          <a:xfrm>
            <a:off x="1161613" y="5708843"/>
            <a:ext cx="1112125" cy="241490"/>
          </a:xfrm>
          <a:prstGeom prst="rect">
            <a:avLst/>
          </a:prstGeom>
        </p:spPr>
        <p:txBody>
          <a:bodyPr vert="horz" lIns="0" tIns="0" rIns="0" bIns="0" rtlCol="0" anchor="t"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400" b="0" i="0" u="none" strike="noStrike" kern="1200" cap="none" spc="32" normalizeH="0" baseline="0" noProof="0" dirty="0">
                <a:ln>
                  <a:noFill/>
                </a:ln>
                <a:solidFill>
                  <a:srgbClr val="FFFFFF"/>
                </a:solidFill>
                <a:effectLst>
                  <a:outerShdw blurRad="228600" dist="38100" dir="5400000" algn="t" rotWithShape="0">
                    <a:srgbClr val="000000">
                      <a:alpha val="15000"/>
                    </a:srgbClr>
                  </a:outerShdw>
                </a:effectLst>
                <a:uLnTx/>
                <a:uFillTx/>
                <a:latin typeface="OPPOSans B" panose="00020600040101010101" pitchFamily="18" charset="-122"/>
                <a:ea typeface="OPPOSans B" panose="00020600040101010101" pitchFamily="18" charset="-122"/>
                <a:cs typeface="OPPOSans B" panose="00020600040101010101" pitchFamily="18" charset="-122"/>
              </a:rPr>
              <a:t>员工管理</a:t>
            </a:r>
            <a:endParaRPr kumimoji="0" lang="zh-CN" altLang="en-US" sz="1000" b="0" i="0" u="none" strike="noStrike" kern="1200" cap="none" spc="0" normalizeH="0" baseline="0" noProof="0" dirty="0">
              <a:ln>
                <a:noFill/>
              </a:ln>
              <a:solidFill>
                <a:srgbClr val="000000"/>
              </a:solidFill>
              <a:effectLst>
                <a:outerShdw blurRad="228600" dist="38100" dir="5400000" algn="t" rotWithShape="0">
                  <a:srgbClr val="000000">
                    <a:alpha val="15000"/>
                  </a:srgbClr>
                </a:outerShdw>
              </a:effectLst>
              <a:uLnTx/>
              <a:uFillTx/>
              <a:latin typeface="OPPOSans B" panose="00020600040101010101" pitchFamily="18" charset="-122"/>
              <a:ea typeface="OPPOSans B" panose="00020600040101010101" pitchFamily="18" charset="-122"/>
              <a:cs typeface="OPPOSans B" panose="00020600040101010101" pitchFamily="18" charset="-122"/>
            </a:endParaRPr>
          </a:p>
        </p:txBody>
      </p:sp>
      <p:sp>
        <p:nvSpPr>
          <p:cNvPr id="34" name="Object 1033">
            <a:extLst>
              <a:ext uri="{FF2B5EF4-FFF2-40B4-BE49-F238E27FC236}">
                <a16:creationId xmlns:a16="http://schemas.microsoft.com/office/drawing/2014/main" id="{C22270A1-A8CD-4F74-9BAD-4FFF5DC05813}"/>
              </a:ext>
            </a:extLst>
          </p:cNvPr>
          <p:cNvSpPr txBox="1"/>
          <p:nvPr/>
        </p:nvSpPr>
        <p:spPr>
          <a:xfrm>
            <a:off x="2584013" y="5708843"/>
            <a:ext cx="1112125" cy="241490"/>
          </a:xfrm>
          <a:prstGeom prst="rect">
            <a:avLst/>
          </a:prstGeom>
        </p:spPr>
        <p:txBody>
          <a:bodyPr vert="horz" lIns="0" tIns="0" rIns="0" bIns="0" rtlCol="0" anchor="t"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400" b="0" i="0" u="none" strike="noStrike" kern="1200" cap="none" spc="32" normalizeH="0" baseline="0" noProof="0" dirty="0">
                <a:ln>
                  <a:noFill/>
                </a:ln>
                <a:solidFill>
                  <a:srgbClr val="FFFFFF"/>
                </a:solidFill>
                <a:effectLst>
                  <a:outerShdw blurRad="228600" dist="38100" dir="5400000" algn="t" rotWithShape="0">
                    <a:srgbClr val="000000">
                      <a:alpha val="15000"/>
                    </a:srgbClr>
                  </a:outerShdw>
                </a:effectLst>
                <a:uLnTx/>
                <a:uFillTx/>
                <a:latin typeface="OPPOSans B" panose="00020600040101010101" pitchFamily="18" charset="-122"/>
                <a:ea typeface="OPPOSans B" panose="00020600040101010101" pitchFamily="18" charset="-122"/>
                <a:cs typeface="OPPOSans B" panose="00020600040101010101" pitchFamily="18" charset="-122"/>
              </a:rPr>
              <a:t>考勤管理</a:t>
            </a:r>
            <a:endParaRPr kumimoji="0" lang="zh-CN" altLang="en-US" sz="1000" b="0" i="0" u="none" strike="noStrike" kern="1200" cap="none" spc="0" normalizeH="0" baseline="0" noProof="0">
              <a:ln>
                <a:noFill/>
              </a:ln>
              <a:solidFill>
                <a:srgbClr val="000000"/>
              </a:solidFill>
              <a:effectLst>
                <a:outerShdw blurRad="228600" dist="38100" dir="5400000" algn="t" rotWithShape="0">
                  <a:srgbClr val="000000">
                    <a:alpha val="15000"/>
                  </a:srgbClr>
                </a:outerShdw>
              </a:effectLst>
              <a:uLnTx/>
              <a:uFillTx/>
              <a:latin typeface="OPPOSans B" panose="00020600040101010101" pitchFamily="18" charset="-122"/>
              <a:ea typeface="OPPOSans B" panose="00020600040101010101" pitchFamily="18" charset="-122"/>
              <a:cs typeface="OPPOSans B" panose="00020600040101010101" pitchFamily="18" charset="-122"/>
            </a:endParaRPr>
          </a:p>
        </p:txBody>
      </p:sp>
      <p:sp>
        <p:nvSpPr>
          <p:cNvPr id="39" name="Object 1038">
            <a:extLst>
              <a:ext uri="{FF2B5EF4-FFF2-40B4-BE49-F238E27FC236}">
                <a16:creationId xmlns:a16="http://schemas.microsoft.com/office/drawing/2014/main" id="{A33F6678-7B77-4F3B-BAB9-C8C21BDBD68C}"/>
              </a:ext>
            </a:extLst>
          </p:cNvPr>
          <p:cNvSpPr txBox="1"/>
          <p:nvPr/>
        </p:nvSpPr>
        <p:spPr>
          <a:xfrm>
            <a:off x="4006413" y="5708843"/>
            <a:ext cx="1112125" cy="241490"/>
          </a:xfrm>
          <a:prstGeom prst="rect">
            <a:avLst/>
          </a:prstGeom>
        </p:spPr>
        <p:txBody>
          <a:bodyPr vert="horz" lIns="0" tIns="0" rIns="0" bIns="0" rtlCol="0" anchor="t"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400" b="0" i="0" u="none" strike="noStrike" kern="1200" cap="none" spc="32" normalizeH="0" baseline="0" noProof="0" dirty="0">
                <a:ln>
                  <a:noFill/>
                </a:ln>
                <a:solidFill>
                  <a:srgbClr val="FFFFFF"/>
                </a:solidFill>
                <a:effectLst>
                  <a:outerShdw blurRad="228600" dist="38100" dir="5400000" algn="t" rotWithShape="0">
                    <a:srgbClr val="000000">
                      <a:alpha val="15000"/>
                    </a:srgbClr>
                  </a:outerShdw>
                </a:effectLst>
                <a:uLnTx/>
                <a:uFillTx/>
                <a:latin typeface="OPPOSans B" panose="00020600040101010101" pitchFamily="18" charset="-122"/>
                <a:ea typeface="OPPOSans B" panose="00020600040101010101" pitchFamily="18" charset="-122"/>
                <a:cs typeface="OPPOSans B" panose="00020600040101010101" pitchFamily="18" charset="-122"/>
              </a:rPr>
              <a:t>薪酬福利</a:t>
            </a:r>
            <a:endParaRPr kumimoji="0" lang="zh-CN" altLang="en-US" sz="1000" b="0" i="0" u="none" strike="noStrike" kern="1200" cap="none" spc="0" normalizeH="0" baseline="0" noProof="0">
              <a:ln>
                <a:noFill/>
              </a:ln>
              <a:solidFill>
                <a:srgbClr val="000000"/>
              </a:solidFill>
              <a:effectLst>
                <a:outerShdw blurRad="228600" dist="38100" dir="5400000" algn="t" rotWithShape="0">
                  <a:srgbClr val="000000">
                    <a:alpha val="15000"/>
                  </a:srgbClr>
                </a:outerShdw>
              </a:effectLst>
              <a:uLnTx/>
              <a:uFillTx/>
              <a:latin typeface="OPPOSans B" panose="00020600040101010101" pitchFamily="18" charset="-122"/>
              <a:ea typeface="OPPOSans B" panose="00020600040101010101" pitchFamily="18" charset="-122"/>
              <a:cs typeface="OPPOSans B" panose="00020600040101010101" pitchFamily="18" charset="-122"/>
            </a:endParaRPr>
          </a:p>
        </p:txBody>
      </p:sp>
      <p:sp>
        <p:nvSpPr>
          <p:cNvPr id="44" name="Object 1043">
            <a:extLst>
              <a:ext uri="{FF2B5EF4-FFF2-40B4-BE49-F238E27FC236}">
                <a16:creationId xmlns:a16="http://schemas.microsoft.com/office/drawing/2014/main" id="{5C571D99-88E1-4E57-AF6B-874FA584BF00}"/>
              </a:ext>
            </a:extLst>
          </p:cNvPr>
          <p:cNvSpPr txBox="1"/>
          <p:nvPr/>
        </p:nvSpPr>
        <p:spPr>
          <a:xfrm>
            <a:off x="7067113" y="5708843"/>
            <a:ext cx="1112125" cy="241490"/>
          </a:xfrm>
          <a:prstGeom prst="rect">
            <a:avLst/>
          </a:prstGeom>
        </p:spPr>
        <p:txBody>
          <a:bodyPr vert="horz" lIns="0" tIns="0" rIns="0" bIns="0" rtlCol="0" anchor="t"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400" b="0" i="0" u="none" strike="noStrike" kern="1200" cap="none" spc="32" normalizeH="0" baseline="0" noProof="0" dirty="0">
                <a:ln>
                  <a:noFill/>
                </a:ln>
                <a:solidFill>
                  <a:srgbClr val="FFFFFF"/>
                </a:solidFill>
                <a:effectLst>
                  <a:outerShdw blurRad="228600" dist="38100" dir="5400000" algn="t" rotWithShape="0">
                    <a:srgbClr val="000000">
                      <a:alpha val="15000"/>
                    </a:srgbClr>
                  </a:outerShdw>
                </a:effectLst>
                <a:uLnTx/>
                <a:uFillTx/>
                <a:latin typeface="OPPOSans B" panose="00020600040101010101" pitchFamily="18" charset="-122"/>
                <a:ea typeface="OPPOSans B" panose="00020600040101010101" pitchFamily="18" charset="-122"/>
                <a:cs typeface="OPPOSans B" panose="00020600040101010101" pitchFamily="18" charset="-122"/>
              </a:rPr>
              <a:t>代发工资</a:t>
            </a:r>
            <a:endParaRPr kumimoji="0" lang="zh-CN" altLang="en-US" sz="1000" b="0" i="0" u="none" strike="noStrike" kern="1200" cap="none" spc="0" normalizeH="0" baseline="0" noProof="0">
              <a:ln>
                <a:noFill/>
              </a:ln>
              <a:solidFill>
                <a:srgbClr val="000000"/>
              </a:solidFill>
              <a:effectLst>
                <a:outerShdw blurRad="228600" dist="38100" dir="5400000" algn="t" rotWithShape="0">
                  <a:srgbClr val="000000">
                    <a:alpha val="15000"/>
                  </a:srgbClr>
                </a:outerShdw>
              </a:effectLst>
              <a:uLnTx/>
              <a:uFillTx/>
              <a:latin typeface="OPPOSans B" panose="00020600040101010101" pitchFamily="18" charset="-122"/>
              <a:ea typeface="OPPOSans B" panose="00020600040101010101" pitchFamily="18" charset="-122"/>
              <a:cs typeface="OPPOSans B" panose="00020600040101010101" pitchFamily="18" charset="-122"/>
            </a:endParaRPr>
          </a:p>
        </p:txBody>
      </p:sp>
      <p:sp>
        <p:nvSpPr>
          <p:cNvPr id="49" name="Object 1048">
            <a:extLst>
              <a:ext uri="{FF2B5EF4-FFF2-40B4-BE49-F238E27FC236}">
                <a16:creationId xmlns:a16="http://schemas.microsoft.com/office/drawing/2014/main" id="{C08E7875-9C0A-4F27-B7EE-7541F45B52DA}"/>
              </a:ext>
            </a:extLst>
          </p:cNvPr>
          <p:cNvSpPr txBox="1"/>
          <p:nvPr/>
        </p:nvSpPr>
        <p:spPr>
          <a:xfrm>
            <a:off x="8489513" y="5708843"/>
            <a:ext cx="1112125" cy="241490"/>
          </a:xfrm>
          <a:prstGeom prst="rect">
            <a:avLst/>
          </a:prstGeom>
        </p:spPr>
        <p:txBody>
          <a:bodyPr vert="horz" lIns="0" tIns="0" rIns="0" bIns="0" rtlCol="0" anchor="t"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400" b="0" i="0" u="none" strike="noStrike" kern="1200" cap="none" spc="32" normalizeH="0" baseline="0" noProof="0" dirty="0">
                <a:ln>
                  <a:noFill/>
                </a:ln>
                <a:solidFill>
                  <a:srgbClr val="FFFFFF"/>
                </a:solidFill>
                <a:effectLst>
                  <a:outerShdw blurRad="228600" dist="38100" dir="5400000" algn="t" rotWithShape="0">
                    <a:srgbClr val="000000">
                      <a:alpha val="15000"/>
                    </a:srgbClr>
                  </a:outerShdw>
                </a:effectLst>
                <a:uLnTx/>
                <a:uFillTx/>
                <a:latin typeface="OPPOSans B" panose="00020600040101010101" pitchFamily="18" charset="-122"/>
                <a:ea typeface="OPPOSans B" panose="00020600040101010101" pitchFamily="18" charset="-122"/>
                <a:cs typeface="OPPOSans B" panose="00020600040101010101" pitchFamily="18" charset="-122"/>
              </a:rPr>
              <a:t>代缴社保</a:t>
            </a:r>
            <a:endParaRPr kumimoji="0" lang="zh-CN" altLang="en-US" sz="1000" b="0" i="0" u="none" strike="noStrike" kern="1200" cap="none" spc="0" normalizeH="0" baseline="0" noProof="0" dirty="0">
              <a:ln>
                <a:noFill/>
              </a:ln>
              <a:solidFill>
                <a:srgbClr val="000000"/>
              </a:solidFill>
              <a:effectLst>
                <a:outerShdw blurRad="228600" dist="38100" dir="5400000" algn="t" rotWithShape="0">
                  <a:srgbClr val="000000">
                    <a:alpha val="15000"/>
                  </a:srgbClr>
                </a:outerShdw>
              </a:effectLst>
              <a:uLnTx/>
              <a:uFillTx/>
              <a:latin typeface="OPPOSans B" panose="00020600040101010101" pitchFamily="18" charset="-122"/>
              <a:ea typeface="OPPOSans B" panose="00020600040101010101" pitchFamily="18" charset="-122"/>
              <a:cs typeface="OPPOSans B" panose="00020600040101010101" pitchFamily="18" charset="-122"/>
            </a:endParaRPr>
          </a:p>
        </p:txBody>
      </p:sp>
      <p:sp>
        <p:nvSpPr>
          <p:cNvPr id="54" name="Object 1053">
            <a:extLst>
              <a:ext uri="{FF2B5EF4-FFF2-40B4-BE49-F238E27FC236}">
                <a16:creationId xmlns:a16="http://schemas.microsoft.com/office/drawing/2014/main" id="{FC46B35E-2F3E-49B6-96AB-20A01EAB0F72}"/>
              </a:ext>
            </a:extLst>
          </p:cNvPr>
          <p:cNvSpPr txBox="1"/>
          <p:nvPr/>
        </p:nvSpPr>
        <p:spPr>
          <a:xfrm>
            <a:off x="9911913" y="5708843"/>
            <a:ext cx="1112125" cy="241490"/>
          </a:xfrm>
          <a:prstGeom prst="rect">
            <a:avLst/>
          </a:prstGeom>
        </p:spPr>
        <p:txBody>
          <a:bodyPr vert="horz" lIns="0" tIns="0" rIns="0" bIns="0" rtlCol="0" anchor="t"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400" b="0" i="0" u="none" strike="noStrike" kern="1200" cap="none" spc="32" normalizeH="0" baseline="0" noProof="0" dirty="0">
                <a:ln>
                  <a:noFill/>
                </a:ln>
                <a:solidFill>
                  <a:srgbClr val="FFFFFF"/>
                </a:solidFill>
                <a:effectLst>
                  <a:outerShdw blurRad="228600" dist="38100" dir="5400000" algn="t" rotWithShape="0">
                    <a:srgbClr val="000000">
                      <a:alpha val="15000"/>
                    </a:srgbClr>
                  </a:outerShdw>
                </a:effectLst>
                <a:uLnTx/>
                <a:uFillTx/>
                <a:latin typeface="OPPOSans B" panose="00020600040101010101" pitchFamily="18" charset="-122"/>
                <a:ea typeface="OPPOSans B" panose="00020600040101010101" pitchFamily="18" charset="-122"/>
                <a:cs typeface="OPPOSans B" panose="00020600040101010101" pitchFamily="18" charset="-122"/>
              </a:rPr>
              <a:t>个税申报</a:t>
            </a:r>
            <a:endParaRPr kumimoji="0" lang="zh-CN" altLang="en-US" sz="1000" b="0" i="0" u="none" strike="noStrike" kern="1200" cap="none" spc="0" normalizeH="0" baseline="0" noProof="0">
              <a:ln>
                <a:noFill/>
              </a:ln>
              <a:solidFill>
                <a:srgbClr val="000000"/>
              </a:solidFill>
              <a:effectLst>
                <a:outerShdw blurRad="228600" dist="38100" dir="5400000" algn="t" rotWithShape="0">
                  <a:srgbClr val="000000">
                    <a:alpha val="15000"/>
                  </a:srgbClr>
                </a:outerShdw>
              </a:effectLst>
              <a:uLnTx/>
              <a:uFillTx/>
              <a:latin typeface="OPPOSans B" panose="00020600040101010101" pitchFamily="18" charset="-122"/>
              <a:ea typeface="OPPOSans B" panose="00020600040101010101" pitchFamily="18" charset="-122"/>
              <a:cs typeface="OPPOSans B" panose="00020600040101010101" pitchFamily="18" charset="-122"/>
            </a:endParaRPr>
          </a:p>
        </p:txBody>
      </p:sp>
    </p:spTree>
    <p:extLst>
      <p:ext uri="{BB962C8B-B14F-4D97-AF65-F5344CB8AC3E}">
        <p14:creationId xmlns:p14="http://schemas.microsoft.com/office/powerpoint/2010/main" val="1119291887"/>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a:extLst>
              <a:ext uri="{FF2B5EF4-FFF2-40B4-BE49-F238E27FC236}">
                <a16:creationId xmlns:a16="http://schemas.microsoft.com/office/drawing/2014/main" id="{1CD6BD65-694C-4869-8D64-74B8637EE0FE}"/>
              </a:ext>
            </a:extLst>
          </p:cNvPr>
          <p:cNvSpPr txBox="1"/>
          <p:nvPr/>
        </p:nvSpPr>
        <p:spPr>
          <a:xfrm>
            <a:off x="4759151" y="629884"/>
            <a:ext cx="2673698" cy="1354217"/>
          </a:xfrm>
          <a:prstGeom prst="rect">
            <a:avLst/>
          </a:prstGeom>
          <a:noFill/>
        </p:spPr>
        <p:txBody>
          <a:bodyPr wrap="square" lIns="0" tIns="0" rIns="0" bIns="0" rtlCol="0" anchor="t">
            <a:spAutoFit/>
          </a:bodyPr>
          <a:lstStyle/>
          <a:p>
            <a:pPr algn="dist"/>
            <a:r>
              <a:rPr lang="zh-CN" altLang="en-US" sz="8800" dirty="0">
                <a:solidFill>
                  <a:schemeClr val="accent1"/>
                </a:solidFill>
                <a:latin typeface="+mj-ea"/>
                <a:ea typeface="+mj-ea"/>
              </a:rPr>
              <a:t>目录</a:t>
            </a:r>
          </a:p>
        </p:txBody>
      </p:sp>
      <p:sp>
        <p:nvSpPr>
          <p:cNvPr id="3" name="文本框 2">
            <a:extLst>
              <a:ext uri="{FF2B5EF4-FFF2-40B4-BE49-F238E27FC236}">
                <a16:creationId xmlns:a16="http://schemas.microsoft.com/office/drawing/2014/main" id="{AAABD7AD-2C82-4715-80BC-BB7FAC22B263}"/>
              </a:ext>
            </a:extLst>
          </p:cNvPr>
          <p:cNvSpPr txBox="1"/>
          <p:nvPr/>
        </p:nvSpPr>
        <p:spPr>
          <a:xfrm>
            <a:off x="4830281" y="1984101"/>
            <a:ext cx="2531437" cy="276999"/>
          </a:xfrm>
          <a:prstGeom prst="rect">
            <a:avLst/>
          </a:prstGeom>
          <a:noFill/>
        </p:spPr>
        <p:txBody>
          <a:bodyPr wrap="square" lIns="0" tIns="0" rIns="0" bIns="0" rtlCol="0" anchor="t">
            <a:spAutoFit/>
          </a:bodyPr>
          <a:lstStyle/>
          <a:p>
            <a:pPr algn="dist"/>
            <a:r>
              <a:rPr lang="en-US" altLang="zh-CN" dirty="0">
                <a:solidFill>
                  <a:schemeClr val="accent1"/>
                </a:solidFill>
              </a:rPr>
              <a:t>CONTENTS</a:t>
            </a:r>
            <a:endParaRPr lang="zh-CN" altLang="en-US" dirty="0">
              <a:solidFill>
                <a:schemeClr val="accent1"/>
              </a:solidFill>
            </a:endParaRPr>
          </a:p>
        </p:txBody>
      </p:sp>
      <p:sp>
        <p:nvSpPr>
          <p:cNvPr id="24" name="任意多边形: 形状 23">
            <a:extLst>
              <a:ext uri="{FF2B5EF4-FFF2-40B4-BE49-F238E27FC236}">
                <a16:creationId xmlns:a16="http://schemas.microsoft.com/office/drawing/2014/main" id="{412A715A-BE71-43D0-B8C9-5E9F39570B63}"/>
              </a:ext>
            </a:extLst>
          </p:cNvPr>
          <p:cNvSpPr/>
          <p:nvPr/>
        </p:nvSpPr>
        <p:spPr>
          <a:xfrm>
            <a:off x="644273" y="2781299"/>
            <a:ext cx="2362200" cy="2740025"/>
          </a:xfrm>
          <a:custGeom>
            <a:avLst/>
            <a:gdLst>
              <a:gd name="connsiteX0" fmla="*/ 215905 w 2362200"/>
              <a:gd name="connsiteY0" fmla="*/ 0 h 2740025"/>
              <a:gd name="connsiteX1" fmla="*/ 2146295 w 2362200"/>
              <a:gd name="connsiteY1" fmla="*/ 0 h 2740025"/>
              <a:gd name="connsiteX2" fmla="*/ 2362200 w 2362200"/>
              <a:gd name="connsiteY2" fmla="*/ 215905 h 2740025"/>
              <a:gd name="connsiteX3" fmla="*/ 2362200 w 2362200"/>
              <a:gd name="connsiteY3" fmla="*/ 1863853 h 2740025"/>
              <a:gd name="connsiteX4" fmla="*/ 2252472 w 2362200"/>
              <a:gd name="connsiteY4" fmla="*/ 1973581 h 2740025"/>
              <a:gd name="connsiteX5" fmla="*/ 2362200 w 2362200"/>
              <a:gd name="connsiteY5" fmla="*/ 2083309 h 2740025"/>
              <a:gd name="connsiteX6" fmla="*/ 2362200 w 2362200"/>
              <a:gd name="connsiteY6" fmla="*/ 2524120 h 2740025"/>
              <a:gd name="connsiteX7" fmla="*/ 2146295 w 2362200"/>
              <a:gd name="connsiteY7" fmla="*/ 2740025 h 2740025"/>
              <a:gd name="connsiteX8" fmla="*/ 215905 w 2362200"/>
              <a:gd name="connsiteY8" fmla="*/ 2740025 h 2740025"/>
              <a:gd name="connsiteX9" fmla="*/ 0 w 2362200"/>
              <a:gd name="connsiteY9" fmla="*/ 2524120 h 2740025"/>
              <a:gd name="connsiteX10" fmla="*/ 0 w 2362200"/>
              <a:gd name="connsiteY10" fmla="*/ 2083309 h 2740025"/>
              <a:gd name="connsiteX11" fmla="*/ 109728 w 2362200"/>
              <a:gd name="connsiteY11" fmla="*/ 1973581 h 2740025"/>
              <a:gd name="connsiteX12" fmla="*/ 0 w 2362200"/>
              <a:gd name="connsiteY12" fmla="*/ 1863853 h 2740025"/>
              <a:gd name="connsiteX13" fmla="*/ 0 w 2362200"/>
              <a:gd name="connsiteY13" fmla="*/ 215905 h 2740025"/>
              <a:gd name="connsiteX14" fmla="*/ 215905 w 2362200"/>
              <a:gd name="connsiteY14" fmla="*/ 0 h 2740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362200" h="2740025">
                <a:moveTo>
                  <a:pt x="215905" y="0"/>
                </a:moveTo>
                <a:lnTo>
                  <a:pt x="2146295" y="0"/>
                </a:lnTo>
                <a:cubicBezTo>
                  <a:pt x="2265536" y="0"/>
                  <a:pt x="2362200" y="96664"/>
                  <a:pt x="2362200" y="215905"/>
                </a:cubicBezTo>
                <a:lnTo>
                  <a:pt x="2362200" y="1863853"/>
                </a:lnTo>
                <a:cubicBezTo>
                  <a:pt x="2301599" y="1863853"/>
                  <a:pt x="2252472" y="1912980"/>
                  <a:pt x="2252472" y="1973581"/>
                </a:cubicBezTo>
                <a:cubicBezTo>
                  <a:pt x="2252472" y="2034182"/>
                  <a:pt x="2301599" y="2083309"/>
                  <a:pt x="2362200" y="2083309"/>
                </a:cubicBezTo>
                <a:lnTo>
                  <a:pt x="2362200" y="2524120"/>
                </a:lnTo>
                <a:cubicBezTo>
                  <a:pt x="2362200" y="2643361"/>
                  <a:pt x="2265536" y="2740025"/>
                  <a:pt x="2146295" y="2740025"/>
                </a:cubicBezTo>
                <a:lnTo>
                  <a:pt x="215905" y="2740025"/>
                </a:lnTo>
                <a:cubicBezTo>
                  <a:pt x="96664" y="2740025"/>
                  <a:pt x="0" y="2643361"/>
                  <a:pt x="0" y="2524120"/>
                </a:cubicBezTo>
                <a:lnTo>
                  <a:pt x="0" y="2083309"/>
                </a:lnTo>
                <a:cubicBezTo>
                  <a:pt x="60601" y="2083309"/>
                  <a:pt x="109728" y="2034182"/>
                  <a:pt x="109728" y="1973581"/>
                </a:cubicBezTo>
                <a:cubicBezTo>
                  <a:pt x="109728" y="1912980"/>
                  <a:pt x="60601" y="1863853"/>
                  <a:pt x="0" y="1863853"/>
                </a:cubicBezTo>
                <a:lnTo>
                  <a:pt x="0" y="215905"/>
                </a:lnTo>
                <a:cubicBezTo>
                  <a:pt x="0" y="96664"/>
                  <a:pt x="96664" y="0"/>
                  <a:pt x="215905" y="0"/>
                </a:cubicBezTo>
                <a:close/>
              </a:path>
            </a:pathLst>
          </a:cu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6000" dirty="0"/>
          </a:p>
        </p:txBody>
      </p:sp>
      <p:sp>
        <p:nvSpPr>
          <p:cNvPr id="6" name="文本框 5">
            <a:extLst>
              <a:ext uri="{FF2B5EF4-FFF2-40B4-BE49-F238E27FC236}">
                <a16:creationId xmlns:a16="http://schemas.microsoft.com/office/drawing/2014/main" id="{7E501974-00D7-4E17-A1B3-251EC317459F}"/>
              </a:ext>
            </a:extLst>
          </p:cNvPr>
          <p:cNvSpPr txBox="1"/>
          <p:nvPr/>
        </p:nvSpPr>
        <p:spPr>
          <a:xfrm>
            <a:off x="919110" y="3809055"/>
            <a:ext cx="1846659" cy="369332"/>
          </a:xfrm>
          <a:prstGeom prst="rect">
            <a:avLst/>
          </a:prstGeom>
          <a:noFill/>
        </p:spPr>
        <p:txBody>
          <a:bodyPr wrap="none" lIns="0" tIns="0" rIns="0" bIns="0" rtlCol="0" anchor="t">
            <a:spAutoFit/>
          </a:bodyPr>
          <a:lstStyle/>
          <a:p>
            <a:pPr algn="ctr"/>
            <a:r>
              <a:rPr lang="zh-CN" altLang="en-US" sz="2400" dirty="0">
                <a:solidFill>
                  <a:schemeClr val="bg1"/>
                </a:solidFill>
                <a:latin typeface="+mj-ea"/>
                <a:ea typeface="+mj-ea"/>
              </a:rPr>
              <a:t>输入目录标题</a:t>
            </a:r>
          </a:p>
        </p:txBody>
      </p:sp>
      <p:sp>
        <p:nvSpPr>
          <p:cNvPr id="7" name="文本框 6">
            <a:extLst>
              <a:ext uri="{FF2B5EF4-FFF2-40B4-BE49-F238E27FC236}">
                <a16:creationId xmlns:a16="http://schemas.microsoft.com/office/drawing/2014/main" id="{758D3E61-59D2-4264-9098-C8952664757E}"/>
              </a:ext>
            </a:extLst>
          </p:cNvPr>
          <p:cNvSpPr txBox="1"/>
          <p:nvPr/>
        </p:nvSpPr>
        <p:spPr>
          <a:xfrm>
            <a:off x="919109" y="4270237"/>
            <a:ext cx="1846660" cy="215444"/>
          </a:xfrm>
          <a:prstGeom prst="rect">
            <a:avLst/>
          </a:prstGeom>
          <a:noFill/>
        </p:spPr>
        <p:txBody>
          <a:bodyPr wrap="square" lIns="0" tIns="0" rIns="0" bIns="0" rtlCol="0" anchor="t">
            <a:spAutoFit/>
          </a:bodyPr>
          <a:lstStyle/>
          <a:p>
            <a:pPr algn="dist"/>
            <a:r>
              <a:rPr lang="en-US" altLang="zh-CN" sz="1400" dirty="0">
                <a:solidFill>
                  <a:schemeClr val="bg1"/>
                </a:solidFill>
              </a:rPr>
              <a:t>Contents Title Here</a:t>
            </a:r>
            <a:endParaRPr lang="zh-CN" altLang="en-US" sz="1400" dirty="0">
              <a:solidFill>
                <a:schemeClr val="bg1"/>
              </a:solidFill>
            </a:endParaRPr>
          </a:p>
        </p:txBody>
      </p:sp>
      <p:sp>
        <p:nvSpPr>
          <p:cNvPr id="28" name="任意多边形: 形状 27">
            <a:extLst>
              <a:ext uri="{FF2B5EF4-FFF2-40B4-BE49-F238E27FC236}">
                <a16:creationId xmlns:a16="http://schemas.microsoft.com/office/drawing/2014/main" id="{146CF566-3DE7-4BD2-9AAE-1DD66C71023B}"/>
              </a:ext>
            </a:extLst>
          </p:cNvPr>
          <p:cNvSpPr/>
          <p:nvPr/>
        </p:nvSpPr>
        <p:spPr>
          <a:xfrm>
            <a:off x="644273" y="4743450"/>
            <a:ext cx="2362200" cy="777874"/>
          </a:xfrm>
          <a:custGeom>
            <a:avLst/>
            <a:gdLst>
              <a:gd name="connsiteX0" fmla="*/ 107421 w 2362200"/>
              <a:gd name="connsiteY0" fmla="*/ 0 h 777874"/>
              <a:gd name="connsiteX1" fmla="*/ 2254780 w 2362200"/>
              <a:gd name="connsiteY1" fmla="*/ 0 h 777874"/>
              <a:gd name="connsiteX2" fmla="*/ 2252472 w 2362200"/>
              <a:gd name="connsiteY2" fmla="*/ 11430 h 777874"/>
              <a:gd name="connsiteX3" fmla="*/ 2362200 w 2362200"/>
              <a:gd name="connsiteY3" fmla="*/ 121158 h 777874"/>
              <a:gd name="connsiteX4" fmla="*/ 2362200 w 2362200"/>
              <a:gd name="connsiteY4" fmla="*/ 561969 h 777874"/>
              <a:gd name="connsiteX5" fmla="*/ 2146295 w 2362200"/>
              <a:gd name="connsiteY5" fmla="*/ 777874 h 777874"/>
              <a:gd name="connsiteX6" fmla="*/ 215905 w 2362200"/>
              <a:gd name="connsiteY6" fmla="*/ 777874 h 777874"/>
              <a:gd name="connsiteX7" fmla="*/ 0 w 2362200"/>
              <a:gd name="connsiteY7" fmla="*/ 561969 h 777874"/>
              <a:gd name="connsiteX8" fmla="*/ 0 w 2362200"/>
              <a:gd name="connsiteY8" fmla="*/ 121158 h 777874"/>
              <a:gd name="connsiteX9" fmla="*/ 109728 w 2362200"/>
              <a:gd name="connsiteY9" fmla="*/ 11430 h 777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62200" h="777874">
                <a:moveTo>
                  <a:pt x="107421" y="0"/>
                </a:moveTo>
                <a:lnTo>
                  <a:pt x="2254780" y="0"/>
                </a:lnTo>
                <a:lnTo>
                  <a:pt x="2252472" y="11430"/>
                </a:lnTo>
                <a:cubicBezTo>
                  <a:pt x="2252472" y="72031"/>
                  <a:pt x="2301599" y="121158"/>
                  <a:pt x="2362200" y="121158"/>
                </a:cubicBezTo>
                <a:lnTo>
                  <a:pt x="2362200" y="561969"/>
                </a:lnTo>
                <a:cubicBezTo>
                  <a:pt x="2362200" y="681210"/>
                  <a:pt x="2265536" y="777874"/>
                  <a:pt x="2146295" y="777874"/>
                </a:cubicBezTo>
                <a:lnTo>
                  <a:pt x="215905" y="777874"/>
                </a:lnTo>
                <a:cubicBezTo>
                  <a:pt x="96664" y="777874"/>
                  <a:pt x="0" y="681210"/>
                  <a:pt x="0" y="561969"/>
                </a:cubicBezTo>
                <a:lnTo>
                  <a:pt x="0" y="121158"/>
                </a:lnTo>
                <a:cubicBezTo>
                  <a:pt x="60601" y="121158"/>
                  <a:pt x="109728" y="72031"/>
                  <a:pt x="109728" y="11430"/>
                </a:cubicBezTo>
                <a:close/>
              </a:path>
            </a:pathLst>
          </a:custGeom>
          <a:solidFill>
            <a:schemeClr val="accent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l"/>
            <a:endParaRPr lang="zh-CN" altLang="en-US" sz="1600">
              <a:solidFill>
                <a:schemeClr val="bg1"/>
              </a:solidFill>
              <a:latin typeface="+mj-ea"/>
              <a:ea typeface="+mj-ea"/>
            </a:endParaRPr>
          </a:p>
        </p:txBody>
      </p:sp>
      <p:sp>
        <p:nvSpPr>
          <p:cNvPr id="29" name="文本框 28">
            <a:extLst>
              <a:ext uri="{FF2B5EF4-FFF2-40B4-BE49-F238E27FC236}">
                <a16:creationId xmlns:a16="http://schemas.microsoft.com/office/drawing/2014/main" id="{C47D163B-15D4-4A81-9F9D-37124F68D9A9}"/>
              </a:ext>
            </a:extLst>
          </p:cNvPr>
          <p:cNvSpPr txBox="1"/>
          <p:nvPr/>
        </p:nvSpPr>
        <p:spPr>
          <a:xfrm>
            <a:off x="1024106" y="4947721"/>
            <a:ext cx="1636666" cy="369332"/>
          </a:xfrm>
          <a:prstGeom prst="rect">
            <a:avLst/>
          </a:prstGeom>
          <a:noFill/>
        </p:spPr>
        <p:txBody>
          <a:bodyPr wrap="none" lIns="0" tIns="0" rIns="0" bIns="0" rtlCol="0" anchor="t">
            <a:spAutoFit/>
          </a:bodyPr>
          <a:lstStyle/>
          <a:p>
            <a:pPr algn="ctr"/>
            <a:r>
              <a:rPr lang="en-US" altLang="zh-CN" sz="2400" dirty="0">
                <a:solidFill>
                  <a:schemeClr val="bg1"/>
                </a:solidFill>
                <a:latin typeface="+mj-ea"/>
                <a:ea typeface="+mj-ea"/>
              </a:rPr>
              <a:t>PART ONE</a:t>
            </a:r>
            <a:endParaRPr lang="zh-CN" altLang="en-US" sz="2400" dirty="0">
              <a:solidFill>
                <a:schemeClr val="bg1"/>
              </a:solidFill>
              <a:latin typeface="+mj-ea"/>
              <a:ea typeface="+mj-ea"/>
            </a:endParaRPr>
          </a:p>
        </p:txBody>
      </p:sp>
      <p:sp>
        <p:nvSpPr>
          <p:cNvPr id="30" name="椭圆 29">
            <a:extLst>
              <a:ext uri="{FF2B5EF4-FFF2-40B4-BE49-F238E27FC236}">
                <a16:creationId xmlns:a16="http://schemas.microsoft.com/office/drawing/2014/main" id="{5E1FFB12-6228-4C74-BC73-6FAA02AB8E3A}"/>
              </a:ext>
            </a:extLst>
          </p:cNvPr>
          <p:cNvSpPr/>
          <p:nvPr/>
        </p:nvSpPr>
        <p:spPr>
          <a:xfrm>
            <a:off x="1517494" y="2970232"/>
            <a:ext cx="649890" cy="649890"/>
          </a:xfrm>
          <a:prstGeom prst="ellipse">
            <a:avLst/>
          </a:prstGeom>
          <a:solidFill>
            <a:schemeClr val="accent1">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zh-CN" altLang="en-US" sz="1050" dirty="0">
                <a:solidFill>
                  <a:schemeClr val="bg1"/>
                </a:solidFill>
                <a:latin typeface="+mn-ea"/>
              </a:rPr>
              <a:t>图标</a:t>
            </a:r>
          </a:p>
        </p:txBody>
      </p:sp>
      <p:sp>
        <p:nvSpPr>
          <p:cNvPr id="40" name="任意多边形: 形状 39">
            <a:extLst>
              <a:ext uri="{FF2B5EF4-FFF2-40B4-BE49-F238E27FC236}">
                <a16:creationId xmlns:a16="http://schemas.microsoft.com/office/drawing/2014/main" id="{57AE9926-86BB-42D2-BFF2-7AF4DA9E4F6B}"/>
              </a:ext>
            </a:extLst>
          </p:cNvPr>
          <p:cNvSpPr/>
          <p:nvPr/>
        </p:nvSpPr>
        <p:spPr>
          <a:xfrm>
            <a:off x="3491358" y="2781299"/>
            <a:ext cx="2362200" cy="2740025"/>
          </a:xfrm>
          <a:custGeom>
            <a:avLst/>
            <a:gdLst>
              <a:gd name="connsiteX0" fmla="*/ 215905 w 2362200"/>
              <a:gd name="connsiteY0" fmla="*/ 0 h 2740025"/>
              <a:gd name="connsiteX1" fmla="*/ 2146295 w 2362200"/>
              <a:gd name="connsiteY1" fmla="*/ 0 h 2740025"/>
              <a:gd name="connsiteX2" fmla="*/ 2362200 w 2362200"/>
              <a:gd name="connsiteY2" fmla="*/ 215905 h 2740025"/>
              <a:gd name="connsiteX3" fmla="*/ 2362200 w 2362200"/>
              <a:gd name="connsiteY3" fmla="*/ 1863853 h 2740025"/>
              <a:gd name="connsiteX4" fmla="*/ 2252472 w 2362200"/>
              <a:gd name="connsiteY4" fmla="*/ 1973581 h 2740025"/>
              <a:gd name="connsiteX5" fmla="*/ 2362200 w 2362200"/>
              <a:gd name="connsiteY5" fmla="*/ 2083309 h 2740025"/>
              <a:gd name="connsiteX6" fmla="*/ 2362200 w 2362200"/>
              <a:gd name="connsiteY6" fmla="*/ 2524120 h 2740025"/>
              <a:gd name="connsiteX7" fmla="*/ 2146295 w 2362200"/>
              <a:gd name="connsiteY7" fmla="*/ 2740025 h 2740025"/>
              <a:gd name="connsiteX8" fmla="*/ 215905 w 2362200"/>
              <a:gd name="connsiteY8" fmla="*/ 2740025 h 2740025"/>
              <a:gd name="connsiteX9" fmla="*/ 0 w 2362200"/>
              <a:gd name="connsiteY9" fmla="*/ 2524120 h 2740025"/>
              <a:gd name="connsiteX10" fmla="*/ 0 w 2362200"/>
              <a:gd name="connsiteY10" fmla="*/ 2083309 h 2740025"/>
              <a:gd name="connsiteX11" fmla="*/ 109728 w 2362200"/>
              <a:gd name="connsiteY11" fmla="*/ 1973581 h 2740025"/>
              <a:gd name="connsiteX12" fmla="*/ 0 w 2362200"/>
              <a:gd name="connsiteY12" fmla="*/ 1863853 h 2740025"/>
              <a:gd name="connsiteX13" fmla="*/ 0 w 2362200"/>
              <a:gd name="connsiteY13" fmla="*/ 215905 h 2740025"/>
              <a:gd name="connsiteX14" fmla="*/ 215905 w 2362200"/>
              <a:gd name="connsiteY14" fmla="*/ 0 h 2740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362200" h="2740025">
                <a:moveTo>
                  <a:pt x="215905" y="0"/>
                </a:moveTo>
                <a:lnTo>
                  <a:pt x="2146295" y="0"/>
                </a:lnTo>
                <a:cubicBezTo>
                  <a:pt x="2265536" y="0"/>
                  <a:pt x="2362200" y="96664"/>
                  <a:pt x="2362200" y="215905"/>
                </a:cubicBezTo>
                <a:lnTo>
                  <a:pt x="2362200" y="1863853"/>
                </a:lnTo>
                <a:cubicBezTo>
                  <a:pt x="2301599" y="1863853"/>
                  <a:pt x="2252472" y="1912980"/>
                  <a:pt x="2252472" y="1973581"/>
                </a:cubicBezTo>
                <a:cubicBezTo>
                  <a:pt x="2252472" y="2034182"/>
                  <a:pt x="2301599" y="2083309"/>
                  <a:pt x="2362200" y="2083309"/>
                </a:cubicBezTo>
                <a:lnTo>
                  <a:pt x="2362200" y="2524120"/>
                </a:lnTo>
                <a:cubicBezTo>
                  <a:pt x="2362200" y="2643361"/>
                  <a:pt x="2265536" y="2740025"/>
                  <a:pt x="2146295" y="2740025"/>
                </a:cubicBezTo>
                <a:lnTo>
                  <a:pt x="215905" y="2740025"/>
                </a:lnTo>
                <a:cubicBezTo>
                  <a:pt x="96664" y="2740025"/>
                  <a:pt x="0" y="2643361"/>
                  <a:pt x="0" y="2524120"/>
                </a:cubicBezTo>
                <a:lnTo>
                  <a:pt x="0" y="2083309"/>
                </a:lnTo>
                <a:cubicBezTo>
                  <a:pt x="60601" y="2083309"/>
                  <a:pt x="109728" y="2034182"/>
                  <a:pt x="109728" y="1973581"/>
                </a:cubicBezTo>
                <a:cubicBezTo>
                  <a:pt x="109728" y="1912980"/>
                  <a:pt x="60601" y="1863853"/>
                  <a:pt x="0" y="1863853"/>
                </a:cubicBezTo>
                <a:lnTo>
                  <a:pt x="0" y="215905"/>
                </a:lnTo>
                <a:cubicBezTo>
                  <a:pt x="0" y="96664"/>
                  <a:pt x="96664" y="0"/>
                  <a:pt x="215905" y="0"/>
                </a:cubicBezTo>
                <a:close/>
              </a:path>
            </a:pathLst>
          </a:cu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6000" dirty="0"/>
          </a:p>
        </p:txBody>
      </p:sp>
      <p:sp>
        <p:nvSpPr>
          <p:cNvPr id="41" name="文本框 40">
            <a:extLst>
              <a:ext uri="{FF2B5EF4-FFF2-40B4-BE49-F238E27FC236}">
                <a16:creationId xmlns:a16="http://schemas.microsoft.com/office/drawing/2014/main" id="{934BCB7F-F180-4BCF-ADEE-BAF994DF2200}"/>
              </a:ext>
            </a:extLst>
          </p:cNvPr>
          <p:cNvSpPr txBox="1"/>
          <p:nvPr/>
        </p:nvSpPr>
        <p:spPr>
          <a:xfrm>
            <a:off x="3766195" y="3809055"/>
            <a:ext cx="1846659" cy="369332"/>
          </a:xfrm>
          <a:prstGeom prst="rect">
            <a:avLst/>
          </a:prstGeom>
          <a:noFill/>
        </p:spPr>
        <p:txBody>
          <a:bodyPr wrap="none" lIns="0" tIns="0" rIns="0" bIns="0" rtlCol="0" anchor="t">
            <a:spAutoFit/>
          </a:bodyPr>
          <a:lstStyle/>
          <a:p>
            <a:pPr algn="ctr"/>
            <a:r>
              <a:rPr lang="zh-CN" altLang="en-US" sz="2400" dirty="0">
                <a:solidFill>
                  <a:schemeClr val="bg1"/>
                </a:solidFill>
                <a:latin typeface="+mj-ea"/>
                <a:ea typeface="+mj-ea"/>
              </a:rPr>
              <a:t>输入目录标题</a:t>
            </a:r>
          </a:p>
        </p:txBody>
      </p:sp>
      <p:sp>
        <p:nvSpPr>
          <p:cNvPr id="42" name="文本框 41">
            <a:extLst>
              <a:ext uri="{FF2B5EF4-FFF2-40B4-BE49-F238E27FC236}">
                <a16:creationId xmlns:a16="http://schemas.microsoft.com/office/drawing/2014/main" id="{9BDF9A7A-9F00-4C21-B2B6-BD39E5FBBE98}"/>
              </a:ext>
            </a:extLst>
          </p:cNvPr>
          <p:cNvSpPr txBox="1"/>
          <p:nvPr/>
        </p:nvSpPr>
        <p:spPr>
          <a:xfrm>
            <a:off x="3766194" y="4270237"/>
            <a:ext cx="1846660" cy="215444"/>
          </a:xfrm>
          <a:prstGeom prst="rect">
            <a:avLst/>
          </a:prstGeom>
          <a:noFill/>
        </p:spPr>
        <p:txBody>
          <a:bodyPr wrap="square" lIns="0" tIns="0" rIns="0" bIns="0" rtlCol="0" anchor="t">
            <a:spAutoFit/>
          </a:bodyPr>
          <a:lstStyle/>
          <a:p>
            <a:pPr algn="dist"/>
            <a:r>
              <a:rPr lang="en-US" altLang="zh-CN" sz="1400" dirty="0">
                <a:solidFill>
                  <a:schemeClr val="bg1"/>
                </a:solidFill>
              </a:rPr>
              <a:t>Contents Title Here</a:t>
            </a:r>
            <a:endParaRPr lang="zh-CN" altLang="en-US" sz="1400" dirty="0">
              <a:solidFill>
                <a:schemeClr val="bg1"/>
              </a:solidFill>
            </a:endParaRPr>
          </a:p>
        </p:txBody>
      </p:sp>
      <p:sp>
        <p:nvSpPr>
          <p:cNvPr id="43" name="任意多边形: 形状 42">
            <a:extLst>
              <a:ext uri="{FF2B5EF4-FFF2-40B4-BE49-F238E27FC236}">
                <a16:creationId xmlns:a16="http://schemas.microsoft.com/office/drawing/2014/main" id="{1AC96319-1A87-44FD-957B-3545DA7436BB}"/>
              </a:ext>
            </a:extLst>
          </p:cNvPr>
          <p:cNvSpPr/>
          <p:nvPr/>
        </p:nvSpPr>
        <p:spPr>
          <a:xfrm>
            <a:off x="3491358" y="4743450"/>
            <a:ext cx="2362200" cy="777874"/>
          </a:xfrm>
          <a:custGeom>
            <a:avLst/>
            <a:gdLst>
              <a:gd name="connsiteX0" fmla="*/ 107421 w 2362200"/>
              <a:gd name="connsiteY0" fmla="*/ 0 h 777874"/>
              <a:gd name="connsiteX1" fmla="*/ 2254780 w 2362200"/>
              <a:gd name="connsiteY1" fmla="*/ 0 h 777874"/>
              <a:gd name="connsiteX2" fmla="*/ 2252472 w 2362200"/>
              <a:gd name="connsiteY2" fmla="*/ 11430 h 777874"/>
              <a:gd name="connsiteX3" fmla="*/ 2362200 w 2362200"/>
              <a:gd name="connsiteY3" fmla="*/ 121158 h 777874"/>
              <a:gd name="connsiteX4" fmla="*/ 2362200 w 2362200"/>
              <a:gd name="connsiteY4" fmla="*/ 561969 h 777874"/>
              <a:gd name="connsiteX5" fmla="*/ 2146295 w 2362200"/>
              <a:gd name="connsiteY5" fmla="*/ 777874 h 777874"/>
              <a:gd name="connsiteX6" fmla="*/ 215905 w 2362200"/>
              <a:gd name="connsiteY6" fmla="*/ 777874 h 777874"/>
              <a:gd name="connsiteX7" fmla="*/ 0 w 2362200"/>
              <a:gd name="connsiteY7" fmla="*/ 561969 h 777874"/>
              <a:gd name="connsiteX8" fmla="*/ 0 w 2362200"/>
              <a:gd name="connsiteY8" fmla="*/ 121158 h 777874"/>
              <a:gd name="connsiteX9" fmla="*/ 109728 w 2362200"/>
              <a:gd name="connsiteY9" fmla="*/ 11430 h 777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62200" h="777874">
                <a:moveTo>
                  <a:pt x="107421" y="0"/>
                </a:moveTo>
                <a:lnTo>
                  <a:pt x="2254780" y="0"/>
                </a:lnTo>
                <a:lnTo>
                  <a:pt x="2252472" y="11430"/>
                </a:lnTo>
                <a:cubicBezTo>
                  <a:pt x="2252472" y="72031"/>
                  <a:pt x="2301599" y="121158"/>
                  <a:pt x="2362200" y="121158"/>
                </a:cubicBezTo>
                <a:lnTo>
                  <a:pt x="2362200" y="561969"/>
                </a:lnTo>
                <a:cubicBezTo>
                  <a:pt x="2362200" y="681210"/>
                  <a:pt x="2265536" y="777874"/>
                  <a:pt x="2146295" y="777874"/>
                </a:cubicBezTo>
                <a:lnTo>
                  <a:pt x="215905" y="777874"/>
                </a:lnTo>
                <a:cubicBezTo>
                  <a:pt x="96664" y="777874"/>
                  <a:pt x="0" y="681210"/>
                  <a:pt x="0" y="561969"/>
                </a:cubicBezTo>
                <a:lnTo>
                  <a:pt x="0" y="121158"/>
                </a:lnTo>
                <a:cubicBezTo>
                  <a:pt x="60601" y="121158"/>
                  <a:pt x="109728" y="72031"/>
                  <a:pt x="109728" y="11430"/>
                </a:cubicBezTo>
                <a:close/>
              </a:path>
            </a:pathLst>
          </a:custGeom>
          <a:solidFill>
            <a:schemeClr val="accent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l"/>
            <a:endParaRPr lang="zh-CN" altLang="en-US" sz="1600">
              <a:solidFill>
                <a:schemeClr val="bg1"/>
              </a:solidFill>
              <a:latin typeface="+mj-ea"/>
              <a:ea typeface="+mj-ea"/>
            </a:endParaRPr>
          </a:p>
        </p:txBody>
      </p:sp>
      <p:sp>
        <p:nvSpPr>
          <p:cNvPr id="44" name="文本框 43">
            <a:extLst>
              <a:ext uri="{FF2B5EF4-FFF2-40B4-BE49-F238E27FC236}">
                <a16:creationId xmlns:a16="http://schemas.microsoft.com/office/drawing/2014/main" id="{F167D422-FE0B-4DD7-BEDD-B47558F29594}"/>
              </a:ext>
            </a:extLst>
          </p:cNvPr>
          <p:cNvSpPr txBox="1"/>
          <p:nvPr/>
        </p:nvSpPr>
        <p:spPr>
          <a:xfrm>
            <a:off x="3823903" y="4947721"/>
            <a:ext cx="1731243" cy="369332"/>
          </a:xfrm>
          <a:prstGeom prst="rect">
            <a:avLst/>
          </a:prstGeom>
          <a:noFill/>
        </p:spPr>
        <p:txBody>
          <a:bodyPr wrap="none" lIns="0" tIns="0" rIns="0" bIns="0" rtlCol="0" anchor="t">
            <a:spAutoFit/>
          </a:bodyPr>
          <a:lstStyle/>
          <a:p>
            <a:pPr algn="ctr"/>
            <a:r>
              <a:rPr lang="en-US" altLang="zh-CN" sz="2400" dirty="0">
                <a:solidFill>
                  <a:schemeClr val="bg1"/>
                </a:solidFill>
                <a:latin typeface="+mj-ea"/>
                <a:ea typeface="+mj-ea"/>
              </a:rPr>
              <a:t>PART TWO</a:t>
            </a:r>
            <a:endParaRPr lang="zh-CN" altLang="en-US" sz="2400" dirty="0">
              <a:solidFill>
                <a:schemeClr val="bg1"/>
              </a:solidFill>
              <a:latin typeface="+mj-ea"/>
              <a:ea typeface="+mj-ea"/>
            </a:endParaRPr>
          </a:p>
        </p:txBody>
      </p:sp>
      <p:sp>
        <p:nvSpPr>
          <p:cNvPr id="45" name="椭圆 44">
            <a:extLst>
              <a:ext uri="{FF2B5EF4-FFF2-40B4-BE49-F238E27FC236}">
                <a16:creationId xmlns:a16="http://schemas.microsoft.com/office/drawing/2014/main" id="{62CD9423-0B82-4DE5-A443-63379C04762A}"/>
              </a:ext>
            </a:extLst>
          </p:cNvPr>
          <p:cNvSpPr/>
          <p:nvPr/>
        </p:nvSpPr>
        <p:spPr>
          <a:xfrm>
            <a:off x="4364579" y="2970232"/>
            <a:ext cx="649890" cy="649890"/>
          </a:xfrm>
          <a:prstGeom prst="ellipse">
            <a:avLst/>
          </a:prstGeom>
          <a:solidFill>
            <a:schemeClr val="accent1">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zh-CN" altLang="en-US" sz="1050" dirty="0">
                <a:solidFill>
                  <a:schemeClr val="bg1"/>
                </a:solidFill>
                <a:latin typeface="+mn-ea"/>
              </a:rPr>
              <a:t>图标</a:t>
            </a:r>
          </a:p>
        </p:txBody>
      </p:sp>
      <p:sp>
        <p:nvSpPr>
          <p:cNvPr id="47" name="任意多边形: 形状 46">
            <a:extLst>
              <a:ext uri="{FF2B5EF4-FFF2-40B4-BE49-F238E27FC236}">
                <a16:creationId xmlns:a16="http://schemas.microsoft.com/office/drawing/2014/main" id="{76DA3DAE-054A-44F8-93FA-6B252FD371D7}"/>
              </a:ext>
            </a:extLst>
          </p:cNvPr>
          <p:cNvSpPr/>
          <p:nvPr/>
        </p:nvSpPr>
        <p:spPr>
          <a:xfrm>
            <a:off x="6338443" y="2781299"/>
            <a:ext cx="2362200" cy="2740025"/>
          </a:xfrm>
          <a:custGeom>
            <a:avLst/>
            <a:gdLst>
              <a:gd name="connsiteX0" fmla="*/ 215905 w 2362200"/>
              <a:gd name="connsiteY0" fmla="*/ 0 h 2740025"/>
              <a:gd name="connsiteX1" fmla="*/ 2146295 w 2362200"/>
              <a:gd name="connsiteY1" fmla="*/ 0 h 2740025"/>
              <a:gd name="connsiteX2" fmla="*/ 2362200 w 2362200"/>
              <a:gd name="connsiteY2" fmla="*/ 215905 h 2740025"/>
              <a:gd name="connsiteX3" fmla="*/ 2362200 w 2362200"/>
              <a:gd name="connsiteY3" fmla="*/ 1863853 h 2740025"/>
              <a:gd name="connsiteX4" fmla="*/ 2252472 w 2362200"/>
              <a:gd name="connsiteY4" fmla="*/ 1973581 h 2740025"/>
              <a:gd name="connsiteX5" fmla="*/ 2362200 w 2362200"/>
              <a:gd name="connsiteY5" fmla="*/ 2083309 h 2740025"/>
              <a:gd name="connsiteX6" fmla="*/ 2362200 w 2362200"/>
              <a:gd name="connsiteY6" fmla="*/ 2524120 h 2740025"/>
              <a:gd name="connsiteX7" fmla="*/ 2146295 w 2362200"/>
              <a:gd name="connsiteY7" fmla="*/ 2740025 h 2740025"/>
              <a:gd name="connsiteX8" fmla="*/ 215905 w 2362200"/>
              <a:gd name="connsiteY8" fmla="*/ 2740025 h 2740025"/>
              <a:gd name="connsiteX9" fmla="*/ 0 w 2362200"/>
              <a:gd name="connsiteY9" fmla="*/ 2524120 h 2740025"/>
              <a:gd name="connsiteX10" fmla="*/ 0 w 2362200"/>
              <a:gd name="connsiteY10" fmla="*/ 2083309 h 2740025"/>
              <a:gd name="connsiteX11" fmla="*/ 109728 w 2362200"/>
              <a:gd name="connsiteY11" fmla="*/ 1973581 h 2740025"/>
              <a:gd name="connsiteX12" fmla="*/ 0 w 2362200"/>
              <a:gd name="connsiteY12" fmla="*/ 1863853 h 2740025"/>
              <a:gd name="connsiteX13" fmla="*/ 0 w 2362200"/>
              <a:gd name="connsiteY13" fmla="*/ 215905 h 2740025"/>
              <a:gd name="connsiteX14" fmla="*/ 215905 w 2362200"/>
              <a:gd name="connsiteY14" fmla="*/ 0 h 2740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362200" h="2740025">
                <a:moveTo>
                  <a:pt x="215905" y="0"/>
                </a:moveTo>
                <a:lnTo>
                  <a:pt x="2146295" y="0"/>
                </a:lnTo>
                <a:cubicBezTo>
                  <a:pt x="2265536" y="0"/>
                  <a:pt x="2362200" y="96664"/>
                  <a:pt x="2362200" y="215905"/>
                </a:cubicBezTo>
                <a:lnTo>
                  <a:pt x="2362200" y="1863853"/>
                </a:lnTo>
                <a:cubicBezTo>
                  <a:pt x="2301599" y="1863853"/>
                  <a:pt x="2252472" y="1912980"/>
                  <a:pt x="2252472" y="1973581"/>
                </a:cubicBezTo>
                <a:cubicBezTo>
                  <a:pt x="2252472" y="2034182"/>
                  <a:pt x="2301599" y="2083309"/>
                  <a:pt x="2362200" y="2083309"/>
                </a:cubicBezTo>
                <a:lnTo>
                  <a:pt x="2362200" y="2524120"/>
                </a:lnTo>
                <a:cubicBezTo>
                  <a:pt x="2362200" y="2643361"/>
                  <a:pt x="2265536" y="2740025"/>
                  <a:pt x="2146295" y="2740025"/>
                </a:cubicBezTo>
                <a:lnTo>
                  <a:pt x="215905" y="2740025"/>
                </a:lnTo>
                <a:cubicBezTo>
                  <a:pt x="96664" y="2740025"/>
                  <a:pt x="0" y="2643361"/>
                  <a:pt x="0" y="2524120"/>
                </a:cubicBezTo>
                <a:lnTo>
                  <a:pt x="0" y="2083309"/>
                </a:lnTo>
                <a:cubicBezTo>
                  <a:pt x="60601" y="2083309"/>
                  <a:pt x="109728" y="2034182"/>
                  <a:pt x="109728" y="1973581"/>
                </a:cubicBezTo>
                <a:cubicBezTo>
                  <a:pt x="109728" y="1912980"/>
                  <a:pt x="60601" y="1863853"/>
                  <a:pt x="0" y="1863853"/>
                </a:cubicBezTo>
                <a:lnTo>
                  <a:pt x="0" y="215905"/>
                </a:lnTo>
                <a:cubicBezTo>
                  <a:pt x="0" y="96664"/>
                  <a:pt x="96664" y="0"/>
                  <a:pt x="215905" y="0"/>
                </a:cubicBezTo>
                <a:close/>
              </a:path>
            </a:pathLst>
          </a:cu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6000" dirty="0"/>
          </a:p>
        </p:txBody>
      </p:sp>
      <p:sp>
        <p:nvSpPr>
          <p:cNvPr id="48" name="文本框 47">
            <a:extLst>
              <a:ext uri="{FF2B5EF4-FFF2-40B4-BE49-F238E27FC236}">
                <a16:creationId xmlns:a16="http://schemas.microsoft.com/office/drawing/2014/main" id="{7475EACB-6B14-4F81-9405-299CF2C3CEDE}"/>
              </a:ext>
            </a:extLst>
          </p:cNvPr>
          <p:cNvSpPr txBox="1"/>
          <p:nvPr/>
        </p:nvSpPr>
        <p:spPr>
          <a:xfrm>
            <a:off x="6613280" y="3809055"/>
            <a:ext cx="1846659" cy="369332"/>
          </a:xfrm>
          <a:prstGeom prst="rect">
            <a:avLst/>
          </a:prstGeom>
          <a:noFill/>
        </p:spPr>
        <p:txBody>
          <a:bodyPr wrap="none" lIns="0" tIns="0" rIns="0" bIns="0" rtlCol="0" anchor="t">
            <a:spAutoFit/>
          </a:bodyPr>
          <a:lstStyle/>
          <a:p>
            <a:pPr algn="ctr"/>
            <a:r>
              <a:rPr lang="zh-CN" altLang="en-US" sz="2400" dirty="0">
                <a:solidFill>
                  <a:schemeClr val="bg1"/>
                </a:solidFill>
                <a:latin typeface="+mj-ea"/>
                <a:ea typeface="+mj-ea"/>
              </a:rPr>
              <a:t>输入目录标题</a:t>
            </a:r>
          </a:p>
        </p:txBody>
      </p:sp>
      <p:sp>
        <p:nvSpPr>
          <p:cNvPr id="49" name="文本框 48">
            <a:extLst>
              <a:ext uri="{FF2B5EF4-FFF2-40B4-BE49-F238E27FC236}">
                <a16:creationId xmlns:a16="http://schemas.microsoft.com/office/drawing/2014/main" id="{5A058B8E-482E-4F72-9ADC-27789F7AA283}"/>
              </a:ext>
            </a:extLst>
          </p:cNvPr>
          <p:cNvSpPr txBox="1"/>
          <p:nvPr/>
        </p:nvSpPr>
        <p:spPr>
          <a:xfrm>
            <a:off x="6613279" y="4270237"/>
            <a:ext cx="1846660" cy="215444"/>
          </a:xfrm>
          <a:prstGeom prst="rect">
            <a:avLst/>
          </a:prstGeom>
          <a:noFill/>
        </p:spPr>
        <p:txBody>
          <a:bodyPr wrap="square" lIns="0" tIns="0" rIns="0" bIns="0" rtlCol="0" anchor="t">
            <a:spAutoFit/>
          </a:bodyPr>
          <a:lstStyle/>
          <a:p>
            <a:pPr algn="dist"/>
            <a:r>
              <a:rPr lang="en-US" altLang="zh-CN" sz="1400" dirty="0">
                <a:solidFill>
                  <a:schemeClr val="bg1"/>
                </a:solidFill>
              </a:rPr>
              <a:t>Contents Title Here</a:t>
            </a:r>
            <a:endParaRPr lang="zh-CN" altLang="en-US" sz="1400" dirty="0">
              <a:solidFill>
                <a:schemeClr val="bg1"/>
              </a:solidFill>
            </a:endParaRPr>
          </a:p>
        </p:txBody>
      </p:sp>
      <p:sp>
        <p:nvSpPr>
          <p:cNvPr id="50" name="任意多边形: 形状 49">
            <a:extLst>
              <a:ext uri="{FF2B5EF4-FFF2-40B4-BE49-F238E27FC236}">
                <a16:creationId xmlns:a16="http://schemas.microsoft.com/office/drawing/2014/main" id="{6FB16E19-B00B-42FB-8B24-3734F36F989F}"/>
              </a:ext>
            </a:extLst>
          </p:cNvPr>
          <p:cNvSpPr/>
          <p:nvPr/>
        </p:nvSpPr>
        <p:spPr>
          <a:xfrm>
            <a:off x="6338443" y="4743450"/>
            <a:ext cx="2362200" cy="777874"/>
          </a:xfrm>
          <a:custGeom>
            <a:avLst/>
            <a:gdLst>
              <a:gd name="connsiteX0" fmla="*/ 107421 w 2362200"/>
              <a:gd name="connsiteY0" fmla="*/ 0 h 777874"/>
              <a:gd name="connsiteX1" fmla="*/ 2254780 w 2362200"/>
              <a:gd name="connsiteY1" fmla="*/ 0 h 777874"/>
              <a:gd name="connsiteX2" fmla="*/ 2252472 w 2362200"/>
              <a:gd name="connsiteY2" fmla="*/ 11430 h 777874"/>
              <a:gd name="connsiteX3" fmla="*/ 2362200 w 2362200"/>
              <a:gd name="connsiteY3" fmla="*/ 121158 h 777874"/>
              <a:gd name="connsiteX4" fmla="*/ 2362200 w 2362200"/>
              <a:gd name="connsiteY4" fmla="*/ 561969 h 777874"/>
              <a:gd name="connsiteX5" fmla="*/ 2146295 w 2362200"/>
              <a:gd name="connsiteY5" fmla="*/ 777874 h 777874"/>
              <a:gd name="connsiteX6" fmla="*/ 215905 w 2362200"/>
              <a:gd name="connsiteY6" fmla="*/ 777874 h 777874"/>
              <a:gd name="connsiteX7" fmla="*/ 0 w 2362200"/>
              <a:gd name="connsiteY7" fmla="*/ 561969 h 777874"/>
              <a:gd name="connsiteX8" fmla="*/ 0 w 2362200"/>
              <a:gd name="connsiteY8" fmla="*/ 121158 h 777874"/>
              <a:gd name="connsiteX9" fmla="*/ 109728 w 2362200"/>
              <a:gd name="connsiteY9" fmla="*/ 11430 h 777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62200" h="777874">
                <a:moveTo>
                  <a:pt x="107421" y="0"/>
                </a:moveTo>
                <a:lnTo>
                  <a:pt x="2254780" y="0"/>
                </a:lnTo>
                <a:lnTo>
                  <a:pt x="2252472" y="11430"/>
                </a:lnTo>
                <a:cubicBezTo>
                  <a:pt x="2252472" y="72031"/>
                  <a:pt x="2301599" y="121158"/>
                  <a:pt x="2362200" y="121158"/>
                </a:cubicBezTo>
                <a:lnTo>
                  <a:pt x="2362200" y="561969"/>
                </a:lnTo>
                <a:cubicBezTo>
                  <a:pt x="2362200" y="681210"/>
                  <a:pt x="2265536" y="777874"/>
                  <a:pt x="2146295" y="777874"/>
                </a:cubicBezTo>
                <a:lnTo>
                  <a:pt x="215905" y="777874"/>
                </a:lnTo>
                <a:cubicBezTo>
                  <a:pt x="96664" y="777874"/>
                  <a:pt x="0" y="681210"/>
                  <a:pt x="0" y="561969"/>
                </a:cubicBezTo>
                <a:lnTo>
                  <a:pt x="0" y="121158"/>
                </a:lnTo>
                <a:cubicBezTo>
                  <a:pt x="60601" y="121158"/>
                  <a:pt x="109728" y="72031"/>
                  <a:pt x="109728" y="11430"/>
                </a:cubicBezTo>
                <a:close/>
              </a:path>
            </a:pathLst>
          </a:custGeom>
          <a:solidFill>
            <a:schemeClr val="accent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l"/>
            <a:endParaRPr lang="zh-CN" altLang="en-US" sz="1600">
              <a:solidFill>
                <a:schemeClr val="bg1"/>
              </a:solidFill>
              <a:latin typeface="+mj-ea"/>
              <a:ea typeface="+mj-ea"/>
            </a:endParaRPr>
          </a:p>
        </p:txBody>
      </p:sp>
      <p:sp>
        <p:nvSpPr>
          <p:cNvPr id="51" name="文本框 50">
            <a:extLst>
              <a:ext uri="{FF2B5EF4-FFF2-40B4-BE49-F238E27FC236}">
                <a16:creationId xmlns:a16="http://schemas.microsoft.com/office/drawing/2014/main" id="{D0885EA9-276C-42B2-A711-47600BEC6FC4}"/>
              </a:ext>
            </a:extLst>
          </p:cNvPr>
          <p:cNvSpPr txBox="1"/>
          <p:nvPr/>
        </p:nvSpPr>
        <p:spPr>
          <a:xfrm>
            <a:off x="6541946" y="4947721"/>
            <a:ext cx="1989327" cy="369332"/>
          </a:xfrm>
          <a:prstGeom prst="rect">
            <a:avLst/>
          </a:prstGeom>
          <a:noFill/>
        </p:spPr>
        <p:txBody>
          <a:bodyPr wrap="none" lIns="0" tIns="0" rIns="0" bIns="0" rtlCol="0" anchor="t">
            <a:spAutoFit/>
          </a:bodyPr>
          <a:lstStyle/>
          <a:p>
            <a:pPr algn="ctr"/>
            <a:r>
              <a:rPr lang="en-US" altLang="zh-CN" sz="2400" dirty="0">
                <a:solidFill>
                  <a:schemeClr val="bg1"/>
                </a:solidFill>
                <a:latin typeface="+mj-ea"/>
                <a:ea typeface="+mj-ea"/>
              </a:rPr>
              <a:t>PART THREE</a:t>
            </a:r>
            <a:endParaRPr lang="zh-CN" altLang="en-US" sz="2400" dirty="0">
              <a:solidFill>
                <a:schemeClr val="bg1"/>
              </a:solidFill>
              <a:latin typeface="+mj-ea"/>
              <a:ea typeface="+mj-ea"/>
            </a:endParaRPr>
          </a:p>
        </p:txBody>
      </p:sp>
      <p:sp>
        <p:nvSpPr>
          <p:cNvPr id="52" name="椭圆 51">
            <a:extLst>
              <a:ext uri="{FF2B5EF4-FFF2-40B4-BE49-F238E27FC236}">
                <a16:creationId xmlns:a16="http://schemas.microsoft.com/office/drawing/2014/main" id="{EE0F3740-DF97-452A-A988-44257DB4C1A1}"/>
              </a:ext>
            </a:extLst>
          </p:cNvPr>
          <p:cNvSpPr/>
          <p:nvPr/>
        </p:nvSpPr>
        <p:spPr>
          <a:xfrm>
            <a:off x="7211664" y="2970232"/>
            <a:ext cx="649890" cy="649890"/>
          </a:xfrm>
          <a:prstGeom prst="ellipse">
            <a:avLst/>
          </a:prstGeom>
          <a:solidFill>
            <a:schemeClr val="accent1">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zh-CN" altLang="en-US" sz="1050" dirty="0">
                <a:solidFill>
                  <a:schemeClr val="bg1"/>
                </a:solidFill>
                <a:latin typeface="+mn-ea"/>
              </a:rPr>
              <a:t>图标</a:t>
            </a:r>
          </a:p>
        </p:txBody>
      </p:sp>
      <p:sp>
        <p:nvSpPr>
          <p:cNvPr id="54" name="任意多边形: 形状 53">
            <a:extLst>
              <a:ext uri="{FF2B5EF4-FFF2-40B4-BE49-F238E27FC236}">
                <a16:creationId xmlns:a16="http://schemas.microsoft.com/office/drawing/2014/main" id="{808A8CEA-EC3A-4955-ADCE-384E9482D130}"/>
              </a:ext>
            </a:extLst>
          </p:cNvPr>
          <p:cNvSpPr/>
          <p:nvPr/>
        </p:nvSpPr>
        <p:spPr>
          <a:xfrm>
            <a:off x="9185528" y="2781299"/>
            <a:ext cx="2362200" cy="2740025"/>
          </a:xfrm>
          <a:custGeom>
            <a:avLst/>
            <a:gdLst>
              <a:gd name="connsiteX0" fmla="*/ 215905 w 2362200"/>
              <a:gd name="connsiteY0" fmla="*/ 0 h 2740025"/>
              <a:gd name="connsiteX1" fmla="*/ 2146295 w 2362200"/>
              <a:gd name="connsiteY1" fmla="*/ 0 h 2740025"/>
              <a:gd name="connsiteX2" fmla="*/ 2362200 w 2362200"/>
              <a:gd name="connsiteY2" fmla="*/ 215905 h 2740025"/>
              <a:gd name="connsiteX3" fmla="*/ 2362200 w 2362200"/>
              <a:gd name="connsiteY3" fmla="*/ 1863853 h 2740025"/>
              <a:gd name="connsiteX4" fmla="*/ 2252472 w 2362200"/>
              <a:gd name="connsiteY4" fmla="*/ 1973581 h 2740025"/>
              <a:gd name="connsiteX5" fmla="*/ 2362200 w 2362200"/>
              <a:gd name="connsiteY5" fmla="*/ 2083309 h 2740025"/>
              <a:gd name="connsiteX6" fmla="*/ 2362200 w 2362200"/>
              <a:gd name="connsiteY6" fmla="*/ 2524120 h 2740025"/>
              <a:gd name="connsiteX7" fmla="*/ 2146295 w 2362200"/>
              <a:gd name="connsiteY7" fmla="*/ 2740025 h 2740025"/>
              <a:gd name="connsiteX8" fmla="*/ 215905 w 2362200"/>
              <a:gd name="connsiteY8" fmla="*/ 2740025 h 2740025"/>
              <a:gd name="connsiteX9" fmla="*/ 0 w 2362200"/>
              <a:gd name="connsiteY9" fmla="*/ 2524120 h 2740025"/>
              <a:gd name="connsiteX10" fmla="*/ 0 w 2362200"/>
              <a:gd name="connsiteY10" fmla="*/ 2083309 h 2740025"/>
              <a:gd name="connsiteX11" fmla="*/ 109728 w 2362200"/>
              <a:gd name="connsiteY11" fmla="*/ 1973581 h 2740025"/>
              <a:gd name="connsiteX12" fmla="*/ 0 w 2362200"/>
              <a:gd name="connsiteY12" fmla="*/ 1863853 h 2740025"/>
              <a:gd name="connsiteX13" fmla="*/ 0 w 2362200"/>
              <a:gd name="connsiteY13" fmla="*/ 215905 h 2740025"/>
              <a:gd name="connsiteX14" fmla="*/ 215905 w 2362200"/>
              <a:gd name="connsiteY14" fmla="*/ 0 h 2740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362200" h="2740025">
                <a:moveTo>
                  <a:pt x="215905" y="0"/>
                </a:moveTo>
                <a:lnTo>
                  <a:pt x="2146295" y="0"/>
                </a:lnTo>
                <a:cubicBezTo>
                  <a:pt x="2265536" y="0"/>
                  <a:pt x="2362200" y="96664"/>
                  <a:pt x="2362200" y="215905"/>
                </a:cubicBezTo>
                <a:lnTo>
                  <a:pt x="2362200" y="1863853"/>
                </a:lnTo>
                <a:cubicBezTo>
                  <a:pt x="2301599" y="1863853"/>
                  <a:pt x="2252472" y="1912980"/>
                  <a:pt x="2252472" y="1973581"/>
                </a:cubicBezTo>
                <a:cubicBezTo>
                  <a:pt x="2252472" y="2034182"/>
                  <a:pt x="2301599" y="2083309"/>
                  <a:pt x="2362200" y="2083309"/>
                </a:cubicBezTo>
                <a:lnTo>
                  <a:pt x="2362200" y="2524120"/>
                </a:lnTo>
                <a:cubicBezTo>
                  <a:pt x="2362200" y="2643361"/>
                  <a:pt x="2265536" y="2740025"/>
                  <a:pt x="2146295" y="2740025"/>
                </a:cubicBezTo>
                <a:lnTo>
                  <a:pt x="215905" y="2740025"/>
                </a:lnTo>
                <a:cubicBezTo>
                  <a:pt x="96664" y="2740025"/>
                  <a:pt x="0" y="2643361"/>
                  <a:pt x="0" y="2524120"/>
                </a:cubicBezTo>
                <a:lnTo>
                  <a:pt x="0" y="2083309"/>
                </a:lnTo>
                <a:cubicBezTo>
                  <a:pt x="60601" y="2083309"/>
                  <a:pt x="109728" y="2034182"/>
                  <a:pt x="109728" y="1973581"/>
                </a:cubicBezTo>
                <a:cubicBezTo>
                  <a:pt x="109728" y="1912980"/>
                  <a:pt x="60601" y="1863853"/>
                  <a:pt x="0" y="1863853"/>
                </a:cubicBezTo>
                <a:lnTo>
                  <a:pt x="0" y="215905"/>
                </a:lnTo>
                <a:cubicBezTo>
                  <a:pt x="0" y="96664"/>
                  <a:pt x="96664" y="0"/>
                  <a:pt x="215905" y="0"/>
                </a:cubicBezTo>
                <a:close/>
              </a:path>
            </a:pathLst>
          </a:cu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6000" dirty="0"/>
          </a:p>
        </p:txBody>
      </p:sp>
      <p:sp>
        <p:nvSpPr>
          <p:cNvPr id="55" name="文本框 54">
            <a:extLst>
              <a:ext uri="{FF2B5EF4-FFF2-40B4-BE49-F238E27FC236}">
                <a16:creationId xmlns:a16="http://schemas.microsoft.com/office/drawing/2014/main" id="{A0EFADFF-4FE7-4E5A-A922-52BB0AB3CFB6}"/>
              </a:ext>
            </a:extLst>
          </p:cNvPr>
          <p:cNvSpPr txBox="1"/>
          <p:nvPr/>
        </p:nvSpPr>
        <p:spPr>
          <a:xfrm>
            <a:off x="9460365" y="3809055"/>
            <a:ext cx="1846659" cy="369332"/>
          </a:xfrm>
          <a:prstGeom prst="rect">
            <a:avLst/>
          </a:prstGeom>
          <a:noFill/>
        </p:spPr>
        <p:txBody>
          <a:bodyPr wrap="none" lIns="0" tIns="0" rIns="0" bIns="0" rtlCol="0" anchor="t">
            <a:spAutoFit/>
          </a:bodyPr>
          <a:lstStyle/>
          <a:p>
            <a:pPr algn="ctr"/>
            <a:r>
              <a:rPr lang="zh-CN" altLang="en-US" sz="2400" dirty="0">
                <a:solidFill>
                  <a:schemeClr val="bg1"/>
                </a:solidFill>
                <a:latin typeface="+mj-ea"/>
                <a:ea typeface="+mj-ea"/>
              </a:rPr>
              <a:t>输入目录标题</a:t>
            </a:r>
          </a:p>
        </p:txBody>
      </p:sp>
      <p:sp>
        <p:nvSpPr>
          <p:cNvPr id="56" name="文本框 55">
            <a:extLst>
              <a:ext uri="{FF2B5EF4-FFF2-40B4-BE49-F238E27FC236}">
                <a16:creationId xmlns:a16="http://schemas.microsoft.com/office/drawing/2014/main" id="{EF0D1430-C933-4801-BB7A-A15D98229621}"/>
              </a:ext>
            </a:extLst>
          </p:cNvPr>
          <p:cNvSpPr txBox="1"/>
          <p:nvPr/>
        </p:nvSpPr>
        <p:spPr>
          <a:xfrm>
            <a:off x="9460364" y="4270237"/>
            <a:ext cx="1846660" cy="215444"/>
          </a:xfrm>
          <a:prstGeom prst="rect">
            <a:avLst/>
          </a:prstGeom>
          <a:noFill/>
        </p:spPr>
        <p:txBody>
          <a:bodyPr wrap="square" lIns="0" tIns="0" rIns="0" bIns="0" rtlCol="0" anchor="t">
            <a:spAutoFit/>
          </a:bodyPr>
          <a:lstStyle/>
          <a:p>
            <a:pPr algn="dist"/>
            <a:r>
              <a:rPr lang="en-US" altLang="zh-CN" sz="1400" dirty="0">
                <a:solidFill>
                  <a:schemeClr val="bg1"/>
                </a:solidFill>
              </a:rPr>
              <a:t>Contents Title Here</a:t>
            </a:r>
            <a:endParaRPr lang="zh-CN" altLang="en-US" sz="1400" dirty="0">
              <a:solidFill>
                <a:schemeClr val="bg1"/>
              </a:solidFill>
            </a:endParaRPr>
          </a:p>
        </p:txBody>
      </p:sp>
      <p:sp>
        <p:nvSpPr>
          <p:cNvPr id="57" name="任意多边形: 形状 56">
            <a:extLst>
              <a:ext uri="{FF2B5EF4-FFF2-40B4-BE49-F238E27FC236}">
                <a16:creationId xmlns:a16="http://schemas.microsoft.com/office/drawing/2014/main" id="{7C39B60D-131F-4684-9D84-458D221C3294}"/>
              </a:ext>
            </a:extLst>
          </p:cNvPr>
          <p:cNvSpPr/>
          <p:nvPr/>
        </p:nvSpPr>
        <p:spPr>
          <a:xfrm>
            <a:off x="9185528" y="4743450"/>
            <a:ext cx="2362200" cy="777874"/>
          </a:xfrm>
          <a:custGeom>
            <a:avLst/>
            <a:gdLst>
              <a:gd name="connsiteX0" fmla="*/ 107421 w 2362200"/>
              <a:gd name="connsiteY0" fmla="*/ 0 h 777874"/>
              <a:gd name="connsiteX1" fmla="*/ 2254780 w 2362200"/>
              <a:gd name="connsiteY1" fmla="*/ 0 h 777874"/>
              <a:gd name="connsiteX2" fmla="*/ 2252472 w 2362200"/>
              <a:gd name="connsiteY2" fmla="*/ 11430 h 777874"/>
              <a:gd name="connsiteX3" fmla="*/ 2362200 w 2362200"/>
              <a:gd name="connsiteY3" fmla="*/ 121158 h 777874"/>
              <a:gd name="connsiteX4" fmla="*/ 2362200 w 2362200"/>
              <a:gd name="connsiteY4" fmla="*/ 561969 h 777874"/>
              <a:gd name="connsiteX5" fmla="*/ 2146295 w 2362200"/>
              <a:gd name="connsiteY5" fmla="*/ 777874 h 777874"/>
              <a:gd name="connsiteX6" fmla="*/ 215905 w 2362200"/>
              <a:gd name="connsiteY6" fmla="*/ 777874 h 777874"/>
              <a:gd name="connsiteX7" fmla="*/ 0 w 2362200"/>
              <a:gd name="connsiteY7" fmla="*/ 561969 h 777874"/>
              <a:gd name="connsiteX8" fmla="*/ 0 w 2362200"/>
              <a:gd name="connsiteY8" fmla="*/ 121158 h 777874"/>
              <a:gd name="connsiteX9" fmla="*/ 109728 w 2362200"/>
              <a:gd name="connsiteY9" fmla="*/ 11430 h 777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62200" h="777874">
                <a:moveTo>
                  <a:pt x="107421" y="0"/>
                </a:moveTo>
                <a:lnTo>
                  <a:pt x="2254780" y="0"/>
                </a:lnTo>
                <a:lnTo>
                  <a:pt x="2252472" y="11430"/>
                </a:lnTo>
                <a:cubicBezTo>
                  <a:pt x="2252472" y="72031"/>
                  <a:pt x="2301599" y="121158"/>
                  <a:pt x="2362200" y="121158"/>
                </a:cubicBezTo>
                <a:lnTo>
                  <a:pt x="2362200" y="561969"/>
                </a:lnTo>
                <a:cubicBezTo>
                  <a:pt x="2362200" y="681210"/>
                  <a:pt x="2265536" y="777874"/>
                  <a:pt x="2146295" y="777874"/>
                </a:cubicBezTo>
                <a:lnTo>
                  <a:pt x="215905" y="777874"/>
                </a:lnTo>
                <a:cubicBezTo>
                  <a:pt x="96664" y="777874"/>
                  <a:pt x="0" y="681210"/>
                  <a:pt x="0" y="561969"/>
                </a:cubicBezTo>
                <a:lnTo>
                  <a:pt x="0" y="121158"/>
                </a:lnTo>
                <a:cubicBezTo>
                  <a:pt x="60601" y="121158"/>
                  <a:pt x="109728" y="72031"/>
                  <a:pt x="109728" y="11430"/>
                </a:cubicBezTo>
                <a:close/>
              </a:path>
            </a:pathLst>
          </a:custGeom>
          <a:solidFill>
            <a:schemeClr val="accent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l"/>
            <a:endParaRPr lang="zh-CN" altLang="en-US" sz="1600">
              <a:solidFill>
                <a:schemeClr val="bg1"/>
              </a:solidFill>
              <a:latin typeface="+mj-ea"/>
              <a:ea typeface="+mj-ea"/>
            </a:endParaRPr>
          </a:p>
        </p:txBody>
      </p:sp>
      <p:sp>
        <p:nvSpPr>
          <p:cNvPr id="58" name="文本框 57">
            <a:extLst>
              <a:ext uri="{FF2B5EF4-FFF2-40B4-BE49-F238E27FC236}">
                <a16:creationId xmlns:a16="http://schemas.microsoft.com/office/drawing/2014/main" id="{1C5F8ABA-964D-45DB-87E2-0720E21C6FB1}"/>
              </a:ext>
            </a:extLst>
          </p:cNvPr>
          <p:cNvSpPr txBox="1"/>
          <p:nvPr/>
        </p:nvSpPr>
        <p:spPr>
          <a:xfrm>
            <a:off x="9365787" y="4947721"/>
            <a:ext cx="2035815" cy="369332"/>
          </a:xfrm>
          <a:prstGeom prst="rect">
            <a:avLst/>
          </a:prstGeom>
          <a:noFill/>
        </p:spPr>
        <p:txBody>
          <a:bodyPr wrap="none" lIns="0" tIns="0" rIns="0" bIns="0" rtlCol="0" anchor="t">
            <a:spAutoFit/>
          </a:bodyPr>
          <a:lstStyle/>
          <a:p>
            <a:pPr algn="ctr"/>
            <a:r>
              <a:rPr lang="en-US" altLang="zh-CN" sz="2400" dirty="0">
                <a:solidFill>
                  <a:schemeClr val="bg1"/>
                </a:solidFill>
                <a:latin typeface="+mj-ea"/>
                <a:ea typeface="+mj-ea"/>
              </a:rPr>
              <a:t>PART FOURE</a:t>
            </a:r>
            <a:endParaRPr lang="zh-CN" altLang="en-US" sz="2400" dirty="0">
              <a:solidFill>
                <a:schemeClr val="bg1"/>
              </a:solidFill>
              <a:latin typeface="+mj-ea"/>
              <a:ea typeface="+mj-ea"/>
            </a:endParaRPr>
          </a:p>
        </p:txBody>
      </p:sp>
      <p:sp>
        <p:nvSpPr>
          <p:cNvPr id="59" name="椭圆 58">
            <a:extLst>
              <a:ext uri="{FF2B5EF4-FFF2-40B4-BE49-F238E27FC236}">
                <a16:creationId xmlns:a16="http://schemas.microsoft.com/office/drawing/2014/main" id="{9C9BB067-AE5C-4AAD-8EFE-7DB6F1CA4075}"/>
              </a:ext>
            </a:extLst>
          </p:cNvPr>
          <p:cNvSpPr/>
          <p:nvPr/>
        </p:nvSpPr>
        <p:spPr>
          <a:xfrm>
            <a:off x="10058749" y="2970232"/>
            <a:ext cx="649890" cy="649890"/>
          </a:xfrm>
          <a:prstGeom prst="ellipse">
            <a:avLst/>
          </a:prstGeom>
          <a:solidFill>
            <a:schemeClr val="accent1">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zh-CN" altLang="en-US" sz="1050" dirty="0">
                <a:solidFill>
                  <a:schemeClr val="bg1"/>
                </a:solidFill>
                <a:latin typeface="+mn-ea"/>
              </a:rPr>
              <a:t>图标</a:t>
            </a:r>
          </a:p>
        </p:txBody>
      </p:sp>
    </p:spTree>
    <p:extLst>
      <p:ext uri="{BB962C8B-B14F-4D97-AF65-F5344CB8AC3E}">
        <p14:creationId xmlns:p14="http://schemas.microsoft.com/office/powerpoint/2010/main" val="3094284599"/>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7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矩形: 圆角 52">
            <a:extLst>
              <a:ext uri="{FF2B5EF4-FFF2-40B4-BE49-F238E27FC236}">
                <a16:creationId xmlns:a16="http://schemas.microsoft.com/office/drawing/2014/main" id="{9F4BE1D6-FAB5-4913-9BF3-2637CD97A744}"/>
              </a:ext>
            </a:extLst>
          </p:cNvPr>
          <p:cNvSpPr/>
          <p:nvPr/>
        </p:nvSpPr>
        <p:spPr>
          <a:xfrm>
            <a:off x="4262878" y="4803392"/>
            <a:ext cx="1455420" cy="383822"/>
          </a:xfrm>
          <a:prstGeom prst="roundRect">
            <a:avLst/>
          </a:prstGeom>
          <a:gradFill flip="none" rotWithShape="1">
            <a:gsLst>
              <a:gs pos="0">
                <a:schemeClr val="accent3"/>
              </a:gs>
              <a:gs pos="100000">
                <a:schemeClr val="accent3">
                  <a:lumMod val="60000"/>
                  <a:lumOff val="40000"/>
                </a:schemeClr>
              </a:gs>
            </a:gsLst>
            <a:lin ang="16200000" scaled="1"/>
            <a:tileRect/>
          </a:gradFill>
          <a:ln>
            <a:noFill/>
          </a:ln>
          <a:effectLst>
            <a:outerShdw blurRad="330200" dist="25400" dir="5400000" sx="90000" sy="90000" algn="t" rotWithShape="0">
              <a:schemeClr val="accent3">
                <a:lumMod val="50000"/>
                <a:alpha val="2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22860" tIns="11430" rIns="22860" bIns="1143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zh-CN" altLang="en-US" sz="450" b="0" i="0" u="none" strike="noStrike" kern="1200" cap="none" spc="0" normalizeH="0" baseline="0" noProof="0">
              <a:ln>
                <a:noFill/>
              </a:ln>
              <a:solidFill>
                <a:srgbClr val="FFFFFF"/>
              </a:solidFill>
              <a:effectLst/>
              <a:uLnTx/>
              <a:uFillTx/>
              <a:latin typeface="Arial"/>
              <a:ea typeface="微软雅黑 Light"/>
              <a:cs typeface="+mn-cs"/>
            </a:endParaRPr>
          </a:p>
        </p:txBody>
      </p:sp>
      <p:sp>
        <p:nvSpPr>
          <p:cNvPr id="54" name="矩形: 圆角 53">
            <a:extLst>
              <a:ext uri="{FF2B5EF4-FFF2-40B4-BE49-F238E27FC236}">
                <a16:creationId xmlns:a16="http://schemas.microsoft.com/office/drawing/2014/main" id="{B8FBAC81-368B-4AA2-93D4-DA13EBCCCEDE}"/>
              </a:ext>
            </a:extLst>
          </p:cNvPr>
          <p:cNvSpPr/>
          <p:nvPr/>
        </p:nvSpPr>
        <p:spPr>
          <a:xfrm>
            <a:off x="6503414" y="4803392"/>
            <a:ext cx="1455420" cy="383822"/>
          </a:xfrm>
          <a:prstGeom prst="roundRect">
            <a:avLst/>
          </a:prstGeom>
          <a:gradFill flip="none" rotWithShape="1">
            <a:gsLst>
              <a:gs pos="0">
                <a:schemeClr val="accent2"/>
              </a:gs>
              <a:gs pos="100000">
                <a:schemeClr val="accent2">
                  <a:lumMod val="60000"/>
                  <a:lumOff val="40000"/>
                </a:schemeClr>
              </a:gs>
            </a:gsLst>
            <a:lin ang="16200000" scaled="1"/>
            <a:tileRect/>
          </a:gradFill>
          <a:ln>
            <a:noFill/>
          </a:ln>
          <a:effectLst>
            <a:outerShdw blurRad="330200" dist="25400" dir="5400000" sx="90000" sy="90000" algn="t" rotWithShape="0">
              <a:schemeClr val="accent2">
                <a:lumMod val="75000"/>
                <a:alpha val="2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22860" tIns="11430" rIns="22860" bIns="1143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zh-CN" altLang="en-US" sz="450" b="0" i="0" u="none" strike="noStrike" kern="1200" cap="none" spc="0" normalizeH="0" baseline="0" noProof="0">
              <a:ln>
                <a:noFill/>
              </a:ln>
              <a:solidFill>
                <a:srgbClr val="FFFFFF"/>
              </a:solidFill>
              <a:effectLst/>
              <a:uLnTx/>
              <a:uFillTx/>
              <a:latin typeface="Arial"/>
              <a:ea typeface="微软雅黑 Light"/>
              <a:cs typeface="+mn-cs"/>
            </a:endParaRPr>
          </a:p>
        </p:txBody>
      </p:sp>
      <p:sp>
        <p:nvSpPr>
          <p:cNvPr id="55" name="矩形: 圆角 54">
            <a:extLst>
              <a:ext uri="{FF2B5EF4-FFF2-40B4-BE49-F238E27FC236}">
                <a16:creationId xmlns:a16="http://schemas.microsoft.com/office/drawing/2014/main" id="{DDFC91C9-0463-44A1-A008-154C5D8D0C5B}"/>
              </a:ext>
            </a:extLst>
          </p:cNvPr>
          <p:cNvSpPr/>
          <p:nvPr/>
        </p:nvSpPr>
        <p:spPr>
          <a:xfrm>
            <a:off x="8743949" y="4803392"/>
            <a:ext cx="1455420" cy="383822"/>
          </a:xfrm>
          <a:prstGeom prst="roundRect">
            <a:avLst/>
          </a:prstGeom>
          <a:gradFill flip="none" rotWithShape="1">
            <a:gsLst>
              <a:gs pos="0">
                <a:schemeClr val="accent3"/>
              </a:gs>
              <a:gs pos="100000">
                <a:schemeClr val="accent3">
                  <a:lumMod val="60000"/>
                  <a:lumOff val="40000"/>
                </a:schemeClr>
              </a:gs>
            </a:gsLst>
            <a:lin ang="16200000" scaled="1"/>
            <a:tileRect/>
          </a:gradFill>
          <a:ln>
            <a:noFill/>
          </a:ln>
          <a:effectLst>
            <a:outerShdw blurRad="330200" dist="25400" dir="5400000" sx="90000" sy="90000" algn="t" rotWithShape="0">
              <a:schemeClr val="accent3">
                <a:lumMod val="50000"/>
                <a:alpha val="2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22860" tIns="11430" rIns="22860" bIns="1143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zh-CN" altLang="en-US" sz="450" b="0" i="0" u="none" strike="noStrike" kern="1200" cap="none" spc="0" normalizeH="0" baseline="0" noProof="0">
              <a:ln>
                <a:noFill/>
              </a:ln>
              <a:solidFill>
                <a:srgbClr val="FFFFFF"/>
              </a:solidFill>
              <a:effectLst/>
              <a:uLnTx/>
              <a:uFillTx/>
              <a:latin typeface="Arial"/>
              <a:ea typeface="微软雅黑 Light"/>
              <a:cs typeface="+mn-cs"/>
            </a:endParaRPr>
          </a:p>
        </p:txBody>
      </p:sp>
      <p:sp>
        <p:nvSpPr>
          <p:cNvPr id="50" name="矩形: 圆角 49">
            <a:extLst>
              <a:ext uri="{FF2B5EF4-FFF2-40B4-BE49-F238E27FC236}">
                <a16:creationId xmlns:a16="http://schemas.microsoft.com/office/drawing/2014/main" id="{0AFE067A-9E8A-443E-B89B-FC3B17A10A94}"/>
              </a:ext>
            </a:extLst>
          </p:cNvPr>
          <p:cNvSpPr/>
          <p:nvPr/>
        </p:nvSpPr>
        <p:spPr>
          <a:xfrm>
            <a:off x="2022343" y="4803392"/>
            <a:ext cx="1455420" cy="383822"/>
          </a:xfrm>
          <a:prstGeom prst="roundRect">
            <a:avLst/>
          </a:prstGeom>
          <a:gradFill flip="none" rotWithShape="1">
            <a:gsLst>
              <a:gs pos="0">
                <a:schemeClr val="accent2"/>
              </a:gs>
              <a:gs pos="100000">
                <a:schemeClr val="accent2">
                  <a:lumMod val="60000"/>
                  <a:lumOff val="40000"/>
                </a:schemeClr>
              </a:gs>
            </a:gsLst>
            <a:lin ang="16200000" scaled="1"/>
            <a:tileRect/>
          </a:gradFill>
          <a:ln>
            <a:noFill/>
          </a:ln>
          <a:effectLst>
            <a:outerShdw blurRad="330200" dist="25400" dir="5400000" sx="90000" sy="90000" algn="t" rotWithShape="0">
              <a:schemeClr val="accent2">
                <a:lumMod val="75000"/>
                <a:alpha val="2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22860" tIns="11430" rIns="22860" bIns="1143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zh-CN" altLang="en-US" sz="450" b="0" i="0" u="none" strike="noStrike" kern="1200" cap="none" spc="0" normalizeH="0" baseline="0" noProof="0">
              <a:ln>
                <a:noFill/>
              </a:ln>
              <a:solidFill>
                <a:srgbClr val="FFFFFF"/>
              </a:solidFill>
              <a:effectLst/>
              <a:uLnTx/>
              <a:uFillTx/>
              <a:latin typeface="Arial"/>
              <a:ea typeface="微软雅黑 Light"/>
              <a:cs typeface="+mn-cs"/>
            </a:endParaRPr>
          </a:p>
        </p:txBody>
      </p:sp>
      <p:sp>
        <p:nvSpPr>
          <p:cNvPr id="35" name="矩形: 圆角 34">
            <a:extLst>
              <a:ext uri="{FF2B5EF4-FFF2-40B4-BE49-F238E27FC236}">
                <a16:creationId xmlns:a16="http://schemas.microsoft.com/office/drawing/2014/main" id="{2034723E-860D-4AD1-BE00-A4EC2E126AFA}"/>
              </a:ext>
            </a:extLst>
          </p:cNvPr>
          <p:cNvSpPr/>
          <p:nvPr/>
        </p:nvSpPr>
        <p:spPr>
          <a:xfrm>
            <a:off x="5340080" y="2379324"/>
            <a:ext cx="1455420" cy="476250"/>
          </a:xfrm>
          <a:prstGeom prst="roundRect">
            <a:avLst/>
          </a:prstGeom>
          <a:gradFill flip="none" rotWithShape="1">
            <a:gsLst>
              <a:gs pos="0">
                <a:schemeClr val="accent1"/>
              </a:gs>
              <a:gs pos="100000">
                <a:schemeClr val="accent1">
                  <a:lumMod val="60000"/>
                  <a:lumOff val="40000"/>
                </a:schemeClr>
              </a:gs>
            </a:gsLst>
            <a:lin ang="16200000" scaled="1"/>
            <a:tileRect/>
          </a:gradFill>
          <a:ln>
            <a:noFill/>
          </a:ln>
          <a:effectLst>
            <a:outerShdw blurRad="330200" dist="25400" dir="5400000" sx="90000" sy="90000" algn="t" rotWithShape="0">
              <a:schemeClr val="accent1">
                <a:lumMod val="75000"/>
                <a:alpha val="2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22860" tIns="11430" rIns="22860" bIns="1143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zh-CN" altLang="en-US" sz="450" b="0" i="0" u="none" strike="noStrike" kern="1200" cap="none" spc="0" normalizeH="0" baseline="0" noProof="0">
              <a:ln>
                <a:noFill/>
              </a:ln>
              <a:solidFill>
                <a:srgbClr val="FFFFFF"/>
              </a:solidFill>
              <a:effectLst/>
              <a:uLnTx/>
              <a:uFillTx/>
              <a:latin typeface="Arial"/>
              <a:ea typeface="微软雅黑 Light"/>
              <a:cs typeface="+mn-cs"/>
            </a:endParaRPr>
          </a:p>
        </p:txBody>
      </p:sp>
      <p:grpSp>
        <p:nvGrpSpPr>
          <p:cNvPr id="49" name="组合 48">
            <a:extLst>
              <a:ext uri="{FF2B5EF4-FFF2-40B4-BE49-F238E27FC236}">
                <a16:creationId xmlns:a16="http://schemas.microsoft.com/office/drawing/2014/main" id="{FC689AF3-F9A7-4772-B500-C7007F97A78B}"/>
              </a:ext>
            </a:extLst>
          </p:cNvPr>
          <p:cNvGrpSpPr/>
          <p:nvPr/>
        </p:nvGrpSpPr>
        <p:grpSpPr>
          <a:xfrm>
            <a:off x="2750053" y="2888834"/>
            <a:ext cx="6721607" cy="1113579"/>
            <a:chOff x="5938540" y="5440680"/>
            <a:chExt cx="12566346" cy="2039690"/>
          </a:xfrm>
        </p:grpSpPr>
        <p:sp>
          <p:nvSpPr>
            <p:cNvPr id="4" name="gaoding-2-2">
              <a:extLst>
                <a:ext uri="{FF2B5EF4-FFF2-40B4-BE49-F238E27FC236}">
                  <a16:creationId xmlns:a16="http://schemas.microsoft.com/office/drawing/2014/main" id="{DF514EA7-7C51-4ABA-87BF-4FF8503C906D}"/>
                </a:ext>
              </a:extLst>
            </p:cNvPr>
            <p:cNvSpPr/>
            <p:nvPr/>
          </p:nvSpPr>
          <p:spPr>
            <a:xfrm rot="16200000">
              <a:off x="11811259" y="786744"/>
              <a:ext cx="820907" cy="12566346"/>
            </a:xfrm>
            <a:custGeom>
              <a:avLst/>
              <a:gdLst>
                <a:gd name="connsiteX0" fmla="*/ 0 w 1320800"/>
                <a:gd name="connsiteY0" fmla="*/ 0 h 3236640"/>
                <a:gd name="connsiteX1" fmla="*/ 1320800 w 1320800"/>
                <a:gd name="connsiteY1" fmla="*/ 0 h 3236640"/>
                <a:gd name="connsiteX2" fmla="*/ 1320800 w 1320800"/>
                <a:gd name="connsiteY2" fmla="*/ 3236640 h 3236640"/>
                <a:gd name="connsiteX3" fmla="*/ 0 w 1320800"/>
                <a:gd name="connsiteY3" fmla="*/ 3236640 h 3236640"/>
                <a:gd name="connsiteX4" fmla="*/ 0 w 1320800"/>
                <a:gd name="connsiteY4" fmla="*/ 0 h 3236640"/>
                <a:gd name="connsiteX0" fmla="*/ 7256 w 1328056"/>
                <a:gd name="connsiteY0" fmla="*/ 0 h 3236640"/>
                <a:gd name="connsiteX1" fmla="*/ 1328056 w 1328056"/>
                <a:gd name="connsiteY1" fmla="*/ 0 h 3236640"/>
                <a:gd name="connsiteX2" fmla="*/ 1328056 w 1328056"/>
                <a:gd name="connsiteY2" fmla="*/ 3236640 h 3236640"/>
                <a:gd name="connsiteX3" fmla="*/ 7256 w 1328056"/>
                <a:gd name="connsiteY3" fmla="*/ 3236640 h 3236640"/>
                <a:gd name="connsiteX4" fmla="*/ 0 w 1328056"/>
                <a:gd name="connsiteY4" fmla="*/ 1640115 h 3236640"/>
                <a:gd name="connsiteX5" fmla="*/ 7256 w 1328056"/>
                <a:gd name="connsiteY5" fmla="*/ 0 h 3236640"/>
                <a:gd name="connsiteX0" fmla="*/ 0 w 1328056"/>
                <a:gd name="connsiteY0" fmla="*/ 1640115 h 3236640"/>
                <a:gd name="connsiteX1" fmla="*/ 7256 w 1328056"/>
                <a:gd name="connsiteY1" fmla="*/ 0 h 3236640"/>
                <a:gd name="connsiteX2" fmla="*/ 1328056 w 1328056"/>
                <a:gd name="connsiteY2" fmla="*/ 0 h 3236640"/>
                <a:gd name="connsiteX3" fmla="*/ 1328056 w 1328056"/>
                <a:gd name="connsiteY3" fmla="*/ 3236640 h 3236640"/>
                <a:gd name="connsiteX4" fmla="*/ 7256 w 1328056"/>
                <a:gd name="connsiteY4" fmla="*/ 3236640 h 3236640"/>
                <a:gd name="connsiteX5" fmla="*/ 91440 w 1328056"/>
                <a:gd name="connsiteY5" fmla="*/ 1731555 h 3236640"/>
                <a:gd name="connsiteX0" fmla="*/ 0 w 1328056"/>
                <a:gd name="connsiteY0" fmla="*/ 1640115 h 3236640"/>
                <a:gd name="connsiteX1" fmla="*/ 7256 w 1328056"/>
                <a:gd name="connsiteY1" fmla="*/ 0 h 3236640"/>
                <a:gd name="connsiteX2" fmla="*/ 1328056 w 1328056"/>
                <a:gd name="connsiteY2" fmla="*/ 0 h 3236640"/>
                <a:gd name="connsiteX3" fmla="*/ 1328056 w 1328056"/>
                <a:gd name="connsiteY3" fmla="*/ 3236640 h 3236640"/>
                <a:gd name="connsiteX4" fmla="*/ 7256 w 1328056"/>
                <a:gd name="connsiteY4" fmla="*/ 3236640 h 3236640"/>
                <a:gd name="connsiteX0" fmla="*/ 0 w 1320800"/>
                <a:gd name="connsiteY0" fmla="*/ 0 h 3236640"/>
                <a:gd name="connsiteX1" fmla="*/ 1320800 w 1320800"/>
                <a:gd name="connsiteY1" fmla="*/ 0 h 3236640"/>
                <a:gd name="connsiteX2" fmla="*/ 1320800 w 1320800"/>
                <a:gd name="connsiteY2" fmla="*/ 3236640 h 3236640"/>
                <a:gd name="connsiteX3" fmla="*/ 0 w 1320800"/>
                <a:gd name="connsiteY3" fmla="*/ 3236640 h 3236640"/>
              </a:gdLst>
              <a:ahLst/>
              <a:cxnLst>
                <a:cxn ang="0">
                  <a:pos x="connsiteX0" y="connsiteY0"/>
                </a:cxn>
                <a:cxn ang="0">
                  <a:pos x="connsiteX1" y="connsiteY1"/>
                </a:cxn>
                <a:cxn ang="0">
                  <a:pos x="connsiteX2" y="connsiteY2"/>
                </a:cxn>
                <a:cxn ang="0">
                  <a:pos x="connsiteX3" y="connsiteY3"/>
                </a:cxn>
              </a:cxnLst>
              <a:rect l="l" t="t" r="r" b="b"/>
              <a:pathLst>
                <a:path w="1320800" h="3236640">
                  <a:moveTo>
                    <a:pt x="0" y="0"/>
                  </a:moveTo>
                  <a:lnTo>
                    <a:pt x="1320800" y="0"/>
                  </a:lnTo>
                  <a:lnTo>
                    <a:pt x="1320800" y="3236640"/>
                  </a:lnTo>
                  <a:lnTo>
                    <a:pt x="0" y="3236640"/>
                  </a:lnTo>
                </a:path>
              </a:pathLst>
            </a:custGeom>
            <a:noFill/>
            <a:ln w="28575">
              <a:solidFill>
                <a:schemeClr val="accent1">
                  <a:alpha val="50000"/>
                </a:schemeClr>
              </a:solidFill>
              <a:prstDash val="sysDot"/>
              <a:headEnd type="triangle" w="sm" len="sm"/>
              <a:tailEnd type="triangle" w="sm" len="sm"/>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Arial" panose="020B0604020202020204" pitchFamily="34" charset="0"/>
                <a:ea typeface="OPPOSans R" panose="00020600040101010101" pitchFamily="18" charset="-122"/>
                <a:cs typeface="OPPOSans R" panose="00020600040101010101" pitchFamily="18" charset="-122"/>
                <a:sym typeface="Arial" panose="020B0604020202020204" pitchFamily="34" charset="0"/>
              </a:endParaRPr>
            </a:p>
          </p:txBody>
        </p:sp>
        <p:cxnSp>
          <p:nvCxnSpPr>
            <p:cNvPr id="11" name="直接箭头连接符 10">
              <a:extLst>
                <a:ext uri="{FF2B5EF4-FFF2-40B4-BE49-F238E27FC236}">
                  <a16:creationId xmlns:a16="http://schemas.microsoft.com/office/drawing/2014/main" id="{99DFF975-86B5-4ABE-A228-10ABB7305C71}"/>
                </a:ext>
              </a:extLst>
            </p:cNvPr>
            <p:cNvCxnSpPr>
              <a:cxnSpLocks/>
            </p:cNvCxnSpPr>
            <p:nvPr/>
          </p:nvCxnSpPr>
          <p:spPr>
            <a:xfrm flipV="1">
              <a:off x="12135580" y="5440680"/>
              <a:ext cx="0" cy="1218783"/>
            </a:xfrm>
            <a:prstGeom prst="straightConnector1">
              <a:avLst/>
            </a:prstGeom>
            <a:noFill/>
            <a:ln w="28575">
              <a:solidFill>
                <a:schemeClr val="accent1">
                  <a:alpha val="50000"/>
                </a:schemeClr>
              </a:solidFill>
              <a:prstDash val="sysDot"/>
              <a:headEnd type="none" w="sm" len="sm"/>
              <a:tailEnd type="none" w="sm" len="sm"/>
            </a:ln>
            <a:effectLst/>
          </p:spPr>
          <p:style>
            <a:lnRef idx="2">
              <a:schemeClr val="accent1">
                <a:shade val="50000"/>
              </a:schemeClr>
            </a:lnRef>
            <a:fillRef idx="1">
              <a:schemeClr val="accent1"/>
            </a:fillRef>
            <a:effectRef idx="0">
              <a:schemeClr val="accent1"/>
            </a:effectRef>
            <a:fontRef idx="minor">
              <a:schemeClr val="lt1"/>
            </a:fontRef>
          </p:style>
        </p:cxnSp>
        <p:cxnSp>
          <p:nvCxnSpPr>
            <p:cNvPr id="15" name="直接箭头连接符 14">
              <a:extLst>
                <a:ext uri="{FF2B5EF4-FFF2-40B4-BE49-F238E27FC236}">
                  <a16:creationId xmlns:a16="http://schemas.microsoft.com/office/drawing/2014/main" id="{D978A1A5-F2E3-4D10-A938-4C48F543096A}"/>
                </a:ext>
              </a:extLst>
            </p:cNvPr>
            <p:cNvCxnSpPr>
              <a:cxnSpLocks/>
            </p:cNvCxnSpPr>
            <p:nvPr/>
          </p:nvCxnSpPr>
          <p:spPr>
            <a:xfrm flipV="1">
              <a:off x="10127321" y="6659463"/>
              <a:ext cx="0" cy="777240"/>
            </a:xfrm>
            <a:prstGeom prst="straightConnector1">
              <a:avLst/>
            </a:prstGeom>
            <a:noFill/>
            <a:ln w="28575">
              <a:solidFill>
                <a:schemeClr val="accent1">
                  <a:alpha val="50000"/>
                </a:schemeClr>
              </a:solidFill>
              <a:prstDash val="sysDot"/>
              <a:headEnd type="triangle" w="sm" len="sm"/>
              <a:tailEnd type="none" w="sm" len="sm"/>
            </a:ln>
            <a:effectLst/>
          </p:spPr>
          <p:style>
            <a:lnRef idx="2">
              <a:schemeClr val="accent1">
                <a:shade val="50000"/>
              </a:schemeClr>
            </a:lnRef>
            <a:fillRef idx="1">
              <a:schemeClr val="accent1"/>
            </a:fillRef>
            <a:effectRef idx="0">
              <a:schemeClr val="accent1"/>
            </a:effectRef>
            <a:fontRef idx="minor">
              <a:schemeClr val="lt1"/>
            </a:fontRef>
          </p:style>
        </p:cxnSp>
        <p:cxnSp>
          <p:nvCxnSpPr>
            <p:cNvPr id="17" name="直接箭头连接符 16">
              <a:extLst>
                <a:ext uri="{FF2B5EF4-FFF2-40B4-BE49-F238E27FC236}">
                  <a16:creationId xmlns:a16="http://schemas.microsoft.com/office/drawing/2014/main" id="{9B51303B-BA44-4B4A-8741-96A0A20FF502}"/>
                </a:ext>
              </a:extLst>
            </p:cNvPr>
            <p:cNvCxnSpPr>
              <a:cxnSpLocks/>
            </p:cNvCxnSpPr>
            <p:nvPr/>
          </p:nvCxnSpPr>
          <p:spPr>
            <a:xfrm flipV="1">
              <a:off x="14316103" y="6659463"/>
              <a:ext cx="0" cy="777240"/>
            </a:xfrm>
            <a:prstGeom prst="straightConnector1">
              <a:avLst/>
            </a:prstGeom>
            <a:noFill/>
            <a:ln w="28575">
              <a:solidFill>
                <a:schemeClr val="accent1">
                  <a:alpha val="50000"/>
                </a:schemeClr>
              </a:solidFill>
              <a:prstDash val="sysDot"/>
              <a:headEnd type="triangle" w="sm" len="sm"/>
              <a:tailEnd type="none" w="sm" len="sm"/>
            </a:ln>
            <a:effectLst/>
          </p:spPr>
          <p:style>
            <a:lnRef idx="2">
              <a:schemeClr val="accent1">
                <a:shade val="50000"/>
              </a:schemeClr>
            </a:lnRef>
            <a:fillRef idx="1">
              <a:schemeClr val="accent1"/>
            </a:fillRef>
            <a:effectRef idx="0">
              <a:schemeClr val="accent1"/>
            </a:effectRef>
            <a:fontRef idx="minor">
              <a:schemeClr val="lt1"/>
            </a:fontRef>
          </p:style>
        </p:cxnSp>
      </p:grpSp>
      <p:sp>
        <p:nvSpPr>
          <p:cNvPr id="23" name="Object 102">
            <a:extLst>
              <a:ext uri="{FF2B5EF4-FFF2-40B4-BE49-F238E27FC236}">
                <a16:creationId xmlns:a16="http://schemas.microsoft.com/office/drawing/2014/main" id="{D8856F28-F22D-405F-B68D-1E9887EC4488}"/>
              </a:ext>
            </a:extLst>
          </p:cNvPr>
          <p:cNvSpPr txBox="1"/>
          <p:nvPr/>
        </p:nvSpPr>
        <p:spPr>
          <a:xfrm>
            <a:off x="5482625" y="2478850"/>
            <a:ext cx="1171252" cy="241490"/>
          </a:xfrm>
          <a:prstGeom prst="rect">
            <a:avLst/>
          </a:prstGeom>
        </p:spPr>
        <p:txBody>
          <a:bodyPr vert="horz" lIns="0" tIns="0" rIns="0" bIns="0" rtlCol="0" anchor="t" anchorCtr="0">
            <a:noAutofit/>
          </a:bodyPr>
          <a:lstStyle>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600" b="1" i="0" u="none" strike="noStrike" kern="1200" cap="none" spc="0" normalizeH="0" baseline="0" noProof="0" dirty="0">
                <a:ln>
                  <a:noFill/>
                </a:ln>
                <a:solidFill>
                  <a:srgbClr val="FFFFFF"/>
                </a:solidFill>
                <a:effectLst/>
                <a:uLnTx/>
                <a:uFillTx/>
                <a:latin typeface="OPPOSans B" panose="00020600040101010101" pitchFamily="18" charset="-122"/>
                <a:ea typeface="OPPOSans B" panose="00020600040101010101" pitchFamily="18" charset="-122"/>
                <a:cs typeface="OPPOSans B" panose="00020600040101010101" pitchFamily="18" charset="-122"/>
              </a:rPr>
              <a:t>总指挥</a:t>
            </a:r>
            <a:endParaRPr kumimoji="0" lang="zh-CN" altLang="en-US" sz="900" b="0" i="0" u="none" strike="noStrike" kern="1200" cap="none" spc="0" normalizeH="0" baseline="0" noProof="0" dirty="0">
              <a:ln>
                <a:noFill/>
              </a:ln>
              <a:solidFill>
                <a:srgbClr val="000000"/>
              </a:solidFill>
              <a:effectLst/>
              <a:uLnTx/>
              <a:uFillTx/>
              <a:latin typeface="OPPOSans B" panose="00020600040101010101" pitchFamily="18" charset="-122"/>
              <a:ea typeface="OPPOSans B" panose="00020600040101010101" pitchFamily="18" charset="-122"/>
              <a:cs typeface="OPPOSans B" panose="00020600040101010101" pitchFamily="18" charset="-122"/>
            </a:endParaRPr>
          </a:p>
        </p:txBody>
      </p:sp>
      <p:sp>
        <p:nvSpPr>
          <p:cNvPr id="37" name="Object 108">
            <a:extLst>
              <a:ext uri="{FF2B5EF4-FFF2-40B4-BE49-F238E27FC236}">
                <a16:creationId xmlns:a16="http://schemas.microsoft.com/office/drawing/2014/main" id="{81022CE7-C5FD-40A8-A9E5-8C50F04550C6}"/>
              </a:ext>
            </a:extLst>
          </p:cNvPr>
          <p:cNvSpPr txBox="1"/>
          <p:nvPr/>
        </p:nvSpPr>
        <p:spPr>
          <a:xfrm>
            <a:off x="1952137" y="5387343"/>
            <a:ext cx="1579942" cy="184295"/>
          </a:xfrm>
          <a:prstGeom prst="rect">
            <a:avLst/>
          </a:prstGeom>
        </p:spPr>
        <p:txBody>
          <a:bodyPr vert="horz" lIns="0" tIns="0" rIns="0" bIns="0" rtlCol="0" anchor="t" anchorCtr="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zh-CN" altLang="en-US" sz="1200" b="0" i="0" u="none" strike="noStrike" kern="1200" cap="none" spc="0" normalizeH="0" baseline="0" noProof="0" dirty="0">
                <a:ln>
                  <a:noFill/>
                </a:ln>
                <a:solidFill>
                  <a:srgbClr val="000000">
                    <a:lumMod val="50000"/>
                    <a:lumOff val="50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rPr>
              <a:t>礼仪</a:t>
            </a:r>
            <a:r>
              <a:rPr kumimoji="0" lang="en-US" altLang="zh-CN" sz="1200" b="0" i="0" u="none" strike="noStrike" kern="1200" cap="none" spc="0" normalizeH="0" baseline="0" noProof="0" dirty="0">
                <a:ln>
                  <a:noFill/>
                </a:ln>
                <a:solidFill>
                  <a:srgbClr val="000000">
                    <a:lumMod val="50000"/>
                    <a:lumOff val="50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rPr>
              <a:t>/</a:t>
            </a:r>
            <a:r>
              <a:rPr kumimoji="0" lang="zh-CN" altLang="en-US" sz="1200" b="0" i="0" u="none" strike="noStrike" kern="1200" cap="none" spc="0" normalizeH="0" baseline="0" noProof="0" dirty="0">
                <a:ln>
                  <a:noFill/>
                </a:ln>
                <a:solidFill>
                  <a:srgbClr val="000000">
                    <a:lumMod val="50000"/>
                    <a:lumOff val="50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rPr>
              <a:t>主持</a:t>
            </a:r>
            <a:r>
              <a:rPr kumimoji="0" lang="en-US" altLang="zh-CN" sz="1200" b="0" i="0" u="none" strike="noStrike" kern="1200" cap="none" spc="0" normalizeH="0" baseline="0" noProof="0" dirty="0">
                <a:ln>
                  <a:noFill/>
                </a:ln>
                <a:solidFill>
                  <a:srgbClr val="000000">
                    <a:lumMod val="50000"/>
                    <a:lumOff val="50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rPr>
              <a:t>/</a:t>
            </a:r>
            <a:r>
              <a:rPr kumimoji="0" lang="zh-CN" altLang="en-US" sz="1200" b="0" i="0" u="none" strike="noStrike" kern="1200" cap="none" spc="0" normalizeH="0" baseline="0" noProof="0" dirty="0">
                <a:ln>
                  <a:noFill/>
                </a:ln>
                <a:solidFill>
                  <a:srgbClr val="000000">
                    <a:lumMod val="50000"/>
                    <a:lumOff val="50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rPr>
              <a:t>演出人员</a:t>
            </a:r>
            <a:endParaRPr kumimoji="0" lang="zh-CN" altLang="en-US" sz="450" b="0" i="0" u="none" strike="noStrike" kern="1200" cap="none" spc="0" normalizeH="0" baseline="0" noProof="0">
              <a:ln>
                <a:noFill/>
              </a:ln>
              <a:solidFill>
                <a:srgbClr val="000000">
                  <a:lumMod val="50000"/>
                  <a:lumOff val="50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p:txBody>
      </p:sp>
      <p:sp>
        <p:nvSpPr>
          <p:cNvPr id="38" name="Object 109">
            <a:extLst>
              <a:ext uri="{FF2B5EF4-FFF2-40B4-BE49-F238E27FC236}">
                <a16:creationId xmlns:a16="http://schemas.microsoft.com/office/drawing/2014/main" id="{BEE928FB-3774-4998-B300-376F8FD4321F}"/>
              </a:ext>
            </a:extLst>
          </p:cNvPr>
          <p:cNvSpPr txBox="1"/>
          <p:nvPr/>
        </p:nvSpPr>
        <p:spPr>
          <a:xfrm>
            <a:off x="4127374" y="5387343"/>
            <a:ext cx="1712673" cy="184295"/>
          </a:xfrm>
          <a:prstGeom prst="rect">
            <a:avLst/>
          </a:prstGeom>
        </p:spPr>
        <p:txBody>
          <a:bodyPr vert="horz" lIns="0" tIns="0" rIns="0" bIns="0" rtlCol="0" anchor="t" anchorCtr="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zh-CN" altLang="en-US" sz="1200" b="0" i="0" u="none" strike="noStrike" kern="1200" cap="none" spc="0" normalizeH="0" baseline="0" noProof="0" dirty="0">
                <a:ln>
                  <a:noFill/>
                </a:ln>
                <a:solidFill>
                  <a:srgbClr val="000000">
                    <a:lumMod val="50000"/>
                    <a:lumOff val="50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rPr>
              <a:t>餐饮</a:t>
            </a:r>
            <a:r>
              <a:rPr kumimoji="0" lang="en-US" altLang="zh-CN" sz="1200" b="0" i="0" u="none" strike="noStrike" kern="1200" cap="none" spc="0" normalizeH="0" baseline="0" noProof="0" dirty="0">
                <a:ln>
                  <a:noFill/>
                </a:ln>
                <a:solidFill>
                  <a:srgbClr val="000000">
                    <a:lumMod val="50000"/>
                    <a:lumOff val="50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rPr>
              <a:t>/</a:t>
            </a:r>
            <a:r>
              <a:rPr kumimoji="0" lang="zh-CN" altLang="en-US" sz="1200" b="0" i="0" u="none" strike="noStrike" kern="1200" cap="none" spc="0" normalizeH="0" baseline="0" noProof="0" dirty="0">
                <a:ln>
                  <a:noFill/>
                </a:ln>
                <a:solidFill>
                  <a:srgbClr val="000000">
                    <a:lumMod val="50000"/>
                    <a:lumOff val="50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rPr>
              <a:t>酒水</a:t>
            </a:r>
            <a:r>
              <a:rPr kumimoji="0" lang="en-US" altLang="zh-CN" sz="1200" b="0" i="0" u="none" strike="noStrike" kern="1200" cap="none" spc="0" normalizeH="0" baseline="0" noProof="0" dirty="0">
                <a:ln>
                  <a:noFill/>
                </a:ln>
                <a:solidFill>
                  <a:srgbClr val="000000">
                    <a:lumMod val="50000"/>
                    <a:lumOff val="50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rPr>
              <a:t>/</a:t>
            </a:r>
            <a:r>
              <a:rPr kumimoji="0" lang="zh-CN" altLang="en-US" sz="1200" b="0" i="0" u="none" strike="noStrike" kern="1200" cap="none" spc="0" normalizeH="0" baseline="0" noProof="0" dirty="0">
                <a:ln>
                  <a:noFill/>
                </a:ln>
                <a:solidFill>
                  <a:srgbClr val="000000">
                    <a:lumMod val="50000"/>
                    <a:lumOff val="50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rPr>
              <a:t>安保</a:t>
            </a:r>
            <a:r>
              <a:rPr kumimoji="0" lang="en-US" altLang="zh-CN" sz="1200" b="0" i="0" u="none" strike="noStrike" kern="1200" cap="none" spc="0" normalizeH="0" baseline="0" noProof="0" dirty="0">
                <a:ln>
                  <a:noFill/>
                </a:ln>
                <a:solidFill>
                  <a:srgbClr val="000000">
                    <a:lumMod val="50000"/>
                    <a:lumOff val="50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rPr>
              <a:t>/</a:t>
            </a:r>
            <a:r>
              <a:rPr kumimoji="0" lang="zh-CN" altLang="en-US" sz="1200" b="0" i="0" u="none" strike="noStrike" kern="1200" cap="none" spc="0" normalizeH="0" baseline="0" noProof="0" dirty="0">
                <a:ln>
                  <a:noFill/>
                </a:ln>
                <a:solidFill>
                  <a:srgbClr val="000000">
                    <a:lumMod val="50000"/>
                    <a:lumOff val="50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rPr>
              <a:t>物料</a:t>
            </a:r>
            <a:endParaRPr kumimoji="0" lang="zh-CN" altLang="en-US" sz="450" b="0" i="0" u="none" strike="noStrike" kern="1200" cap="none" spc="0" normalizeH="0" baseline="0" noProof="0" dirty="0">
              <a:ln>
                <a:noFill/>
              </a:ln>
              <a:solidFill>
                <a:srgbClr val="000000">
                  <a:lumMod val="50000"/>
                  <a:lumOff val="50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p:txBody>
      </p:sp>
      <p:sp>
        <p:nvSpPr>
          <p:cNvPr id="39" name="Object 1010">
            <a:extLst>
              <a:ext uri="{FF2B5EF4-FFF2-40B4-BE49-F238E27FC236}">
                <a16:creationId xmlns:a16="http://schemas.microsoft.com/office/drawing/2014/main" id="{D240F372-9D89-45BA-91B2-C3195F7022C4}"/>
              </a:ext>
            </a:extLst>
          </p:cNvPr>
          <p:cNvSpPr txBox="1"/>
          <p:nvPr/>
        </p:nvSpPr>
        <p:spPr>
          <a:xfrm>
            <a:off x="6543187" y="5392821"/>
            <a:ext cx="1370227" cy="184295"/>
          </a:xfrm>
          <a:prstGeom prst="rect">
            <a:avLst/>
          </a:prstGeom>
        </p:spPr>
        <p:txBody>
          <a:bodyPr vert="horz" lIns="0" tIns="0" rIns="0" bIns="0" rtlCol="0" anchor="t" anchorCtr="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zh-CN" altLang="en-US" sz="1200" b="0" i="0" u="none" strike="noStrike" kern="1200" cap="none" spc="0" normalizeH="0" baseline="0" noProof="0" dirty="0">
                <a:ln>
                  <a:noFill/>
                </a:ln>
                <a:solidFill>
                  <a:srgbClr val="000000">
                    <a:lumMod val="50000"/>
                    <a:lumOff val="50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rPr>
              <a:t>引导签到</a:t>
            </a:r>
            <a:r>
              <a:rPr kumimoji="0" lang="en-US" altLang="zh-CN" sz="1200" b="0" i="0" u="none" strike="noStrike" kern="1200" cap="none" spc="0" normalizeH="0" baseline="0" noProof="0" dirty="0">
                <a:ln>
                  <a:noFill/>
                </a:ln>
                <a:solidFill>
                  <a:srgbClr val="000000">
                    <a:lumMod val="50000"/>
                    <a:lumOff val="50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rPr>
              <a:t>/</a:t>
            </a:r>
            <a:r>
              <a:rPr kumimoji="0" lang="zh-CN" altLang="en-US" sz="1200" b="0" i="0" u="none" strike="noStrike" kern="1200" cap="none" spc="0" normalizeH="0" baseline="0" noProof="0" dirty="0">
                <a:ln>
                  <a:noFill/>
                </a:ln>
                <a:solidFill>
                  <a:srgbClr val="000000">
                    <a:lumMod val="50000"/>
                    <a:lumOff val="50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rPr>
              <a:t>机动组</a:t>
            </a:r>
            <a:endParaRPr kumimoji="0" lang="zh-CN" altLang="en-US" sz="450" b="0" i="0" u="none" strike="noStrike" kern="1200" cap="none" spc="0" normalizeH="0" baseline="0" noProof="0">
              <a:ln>
                <a:noFill/>
              </a:ln>
              <a:solidFill>
                <a:srgbClr val="000000">
                  <a:lumMod val="50000"/>
                  <a:lumOff val="50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p:txBody>
      </p:sp>
      <p:sp>
        <p:nvSpPr>
          <p:cNvPr id="40" name="Object 1011">
            <a:extLst>
              <a:ext uri="{FF2B5EF4-FFF2-40B4-BE49-F238E27FC236}">
                <a16:creationId xmlns:a16="http://schemas.microsoft.com/office/drawing/2014/main" id="{048CE097-EB12-46B7-9753-1BDF788E4092}"/>
              </a:ext>
            </a:extLst>
          </p:cNvPr>
          <p:cNvSpPr txBox="1"/>
          <p:nvPr/>
        </p:nvSpPr>
        <p:spPr>
          <a:xfrm>
            <a:off x="8705109" y="5392821"/>
            <a:ext cx="1535963" cy="368590"/>
          </a:xfrm>
          <a:prstGeom prst="rect">
            <a:avLst/>
          </a:prstGeom>
        </p:spPr>
        <p:txBody>
          <a:bodyPr vert="horz" lIns="0" tIns="0" rIns="0" bIns="0" rtlCol="0" anchor="t" anchorCtr="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zh-CN" altLang="en-US" sz="1200" b="0" i="0" u="none" strike="noStrike" kern="1200" cap="none" spc="0" normalizeH="0" baseline="0" noProof="0" dirty="0">
                <a:ln>
                  <a:noFill/>
                </a:ln>
                <a:solidFill>
                  <a:srgbClr val="000000">
                    <a:lumMod val="50000"/>
                    <a:lumOff val="50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rPr>
              <a:t>灯光</a:t>
            </a:r>
            <a:r>
              <a:rPr kumimoji="0" lang="en-US" altLang="zh-CN" sz="1200" b="0" i="0" u="none" strike="noStrike" kern="1200" cap="none" spc="0" normalizeH="0" baseline="0" noProof="0" dirty="0">
                <a:ln>
                  <a:noFill/>
                </a:ln>
                <a:solidFill>
                  <a:srgbClr val="000000">
                    <a:lumMod val="50000"/>
                    <a:lumOff val="50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rPr>
              <a:t>/</a:t>
            </a:r>
            <a:r>
              <a:rPr kumimoji="0" lang="zh-CN" altLang="en-US" sz="1200" b="0" i="0" u="none" strike="noStrike" kern="1200" cap="none" spc="0" normalizeH="0" baseline="0" noProof="0" dirty="0">
                <a:ln>
                  <a:noFill/>
                </a:ln>
                <a:solidFill>
                  <a:srgbClr val="000000">
                    <a:lumMod val="50000"/>
                    <a:lumOff val="50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rPr>
              <a:t>视频</a:t>
            </a:r>
            <a:r>
              <a:rPr kumimoji="0" lang="en-US" altLang="zh-CN" sz="1200" b="0" i="0" u="none" strike="noStrike" kern="1200" cap="none" spc="0" normalizeH="0" baseline="0" noProof="0" dirty="0">
                <a:ln>
                  <a:noFill/>
                </a:ln>
                <a:solidFill>
                  <a:srgbClr val="000000">
                    <a:lumMod val="50000"/>
                    <a:lumOff val="50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rPr>
              <a:t>/</a:t>
            </a:r>
            <a:r>
              <a:rPr kumimoji="0" lang="zh-CN" altLang="en-US" sz="1200" b="0" i="0" u="none" strike="noStrike" kern="1200" cap="none" spc="0" normalizeH="0" baseline="0" noProof="0" dirty="0">
                <a:ln>
                  <a:noFill/>
                </a:ln>
                <a:solidFill>
                  <a:srgbClr val="000000">
                    <a:lumMod val="50000"/>
                    <a:lumOff val="50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rPr>
              <a:t>特效</a:t>
            </a:r>
            <a:r>
              <a:rPr kumimoji="0" lang="en-US" altLang="zh-CN" sz="1200" b="0" i="0" u="none" strike="noStrike" kern="1200" cap="none" spc="0" normalizeH="0" baseline="0" noProof="0" dirty="0">
                <a:ln>
                  <a:noFill/>
                </a:ln>
                <a:solidFill>
                  <a:srgbClr val="000000">
                    <a:lumMod val="50000"/>
                    <a:lumOff val="50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rPr>
              <a:t>/</a:t>
            </a:r>
            <a:r>
              <a:rPr kumimoji="0" lang="zh-CN" altLang="en-US" sz="1200" b="0" i="0" u="none" strike="noStrike" kern="1200" cap="none" spc="0" normalizeH="0" baseline="0" noProof="0" dirty="0">
                <a:ln>
                  <a:noFill/>
                </a:ln>
                <a:solidFill>
                  <a:srgbClr val="000000">
                    <a:lumMod val="50000"/>
                    <a:lumOff val="50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rPr>
              <a:t>摄影</a:t>
            </a:r>
            <a:r>
              <a:rPr kumimoji="0" lang="en-US" altLang="zh-CN" sz="1200" b="0" i="0" u="none" strike="noStrike" kern="1200" cap="none" spc="0" normalizeH="0" baseline="0" noProof="0" dirty="0">
                <a:ln>
                  <a:noFill/>
                </a:ln>
                <a:solidFill>
                  <a:srgbClr val="000000">
                    <a:lumMod val="50000"/>
                    <a:lumOff val="50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rPr>
              <a:t>/</a:t>
            </a:r>
            <a:r>
              <a:rPr kumimoji="0" lang="zh-CN" altLang="en-US" sz="1200" b="0" i="0" u="none" strike="noStrike" kern="1200" cap="none" spc="0" normalizeH="0" baseline="0" noProof="0" dirty="0">
                <a:ln>
                  <a:noFill/>
                </a:ln>
                <a:solidFill>
                  <a:srgbClr val="000000">
                    <a:lumMod val="50000"/>
                    <a:lumOff val="50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rPr>
              <a:t>道具</a:t>
            </a:r>
            <a:endParaRPr kumimoji="0" lang="zh-CN" altLang="en-US" sz="450" b="0" i="0" u="none" strike="noStrike" kern="1200" cap="none" spc="0" normalizeH="0" baseline="0" noProof="0">
              <a:ln>
                <a:noFill/>
              </a:ln>
              <a:solidFill>
                <a:srgbClr val="000000">
                  <a:lumMod val="50000"/>
                  <a:lumOff val="50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p:txBody>
      </p:sp>
      <p:sp>
        <p:nvSpPr>
          <p:cNvPr id="42" name="Object 1015">
            <a:extLst>
              <a:ext uri="{FF2B5EF4-FFF2-40B4-BE49-F238E27FC236}">
                <a16:creationId xmlns:a16="http://schemas.microsoft.com/office/drawing/2014/main" id="{A401BCBF-5098-49ED-8733-5FE4B413CF73}"/>
              </a:ext>
            </a:extLst>
          </p:cNvPr>
          <p:cNvSpPr txBox="1"/>
          <p:nvPr/>
        </p:nvSpPr>
        <p:spPr>
          <a:xfrm>
            <a:off x="2179511" y="4887321"/>
            <a:ext cx="1174448" cy="228780"/>
          </a:xfrm>
          <a:prstGeom prst="rect">
            <a:avLst/>
          </a:prstGeom>
        </p:spPr>
        <p:txBody>
          <a:bodyPr vert="horz" lIns="0" tIns="0" rIns="0" bIns="0" rtlCol="0" anchor="t" anchorCtr="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zh-CN" altLang="en-US" sz="1500" b="1" i="0" u="none" strike="noStrike" kern="1200" cap="none" spc="0" normalizeH="0" baseline="0" noProof="0" dirty="0">
                <a:ln>
                  <a:noFill/>
                </a:ln>
                <a:solidFill>
                  <a:srgbClr val="FFFFFF"/>
                </a:solidFill>
                <a:effectLst/>
                <a:uLnTx/>
                <a:uFillTx/>
                <a:latin typeface="OPPOSans B" panose="00020600040101010101" pitchFamily="18" charset="-122"/>
                <a:ea typeface="OPPOSans B" panose="00020600040101010101" pitchFamily="18" charset="-122"/>
                <a:cs typeface="OPPOSans B" panose="00020600040101010101" pitchFamily="18" charset="-122"/>
              </a:rPr>
              <a:t>演艺管理</a:t>
            </a:r>
            <a:endParaRPr kumimoji="0" lang="zh-CN" altLang="en-US" sz="450" b="0" i="0" u="none" strike="noStrike" kern="1200" cap="none" spc="0" normalizeH="0" baseline="0" noProof="0" dirty="0">
              <a:ln>
                <a:noFill/>
              </a:ln>
              <a:solidFill>
                <a:srgbClr val="000000"/>
              </a:solidFill>
              <a:effectLst/>
              <a:uLnTx/>
              <a:uFillTx/>
              <a:latin typeface="OPPOSans B" panose="00020600040101010101" pitchFamily="18" charset="-122"/>
              <a:ea typeface="OPPOSans B" panose="00020600040101010101" pitchFamily="18" charset="-122"/>
              <a:cs typeface="OPPOSans B" panose="00020600040101010101" pitchFamily="18" charset="-122"/>
            </a:endParaRPr>
          </a:p>
        </p:txBody>
      </p:sp>
      <p:sp>
        <p:nvSpPr>
          <p:cNvPr id="44" name="Object 1024">
            <a:extLst>
              <a:ext uri="{FF2B5EF4-FFF2-40B4-BE49-F238E27FC236}">
                <a16:creationId xmlns:a16="http://schemas.microsoft.com/office/drawing/2014/main" id="{3330F055-0F2E-4DE8-8B51-40F3B22DD33B}"/>
              </a:ext>
            </a:extLst>
          </p:cNvPr>
          <p:cNvSpPr txBox="1"/>
          <p:nvPr/>
        </p:nvSpPr>
        <p:spPr>
          <a:xfrm>
            <a:off x="4495559" y="4887321"/>
            <a:ext cx="975721" cy="228780"/>
          </a:xfrm>
          <a:prstGeom prst="rect">
            <a:avLst/>
          </a:prstGeom>
        </p:spPr>
        <p:txBody>
          <a:bodyPr vert="horz" lIns="0" tIns="0" rIns="0" bIns="0" rtlCol="0" anchor="t" anchorCtr="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zh-CN" altLang="en-US" sz="1500" b="1" i="0" u="none" strike="noStrike" kern="1200" cap="none" spc="0" normalizeH="0" baseline="0" noProof="0" dirty="0">
                <a:ln>
                  <a:noFill/>
                </a:ln>
                <a:solidFill>
                  <a:srgbClr val="FFFFFF"/>
                </a:solidFill>
                <a:effectLst/>
                <a:uLnTx/>
                <a:uFillTx/>
                <a:latin typeface="OPPOSans B" panose="00020600040101010101" pitchFamily="18" charset="-122"/>
                <a:ea typeface="OPPOSans B" panose="00020600040101010101" pitchFamily="18" charset="-122"/>
                <a:cs typeface="OPPOSans B" panose="00020600040101010101" pitchFamily="18" charset="-122"/>
              </a:rPr>
              <a:t>后勤组</a:t>
            </a:r>
            <a:endParaRPr kumimoji="0" lang="zh-CN" altLang="en-US" sz="450" b="0" i="0" u="none" strike="noStrike" kern="1200" cap="none" spc="0" normalizeH="0" baseline="0" noProof="0">
              <a:ln>
                <a:noFill/>
              </a:ln>
              <a:solidFill>
                <a:srgbClr val="000000"/>
              </a:solidFill>
              <a:effectLst/>
              <a:uLnTx/>
              <a:uFillTx/>
              <a:latin typeface="OPPOSans B" panose="00020600040101010101" pitchFamily="18" charset="-122"/>
              <a:ea typeface="OPPOSans B" panose="00020600040101010101" pitchFamily="18" charset="-122"/>
              <a:cs typeface="OPPOSans B" panose="00020600040101010101" pitchFamily="18" charset="-122"/>
            </a:endParaRPr>
          </a:p>
        </p:txBody>
      </p:sp>
      <p:sp>
        <p:nvSpPr>
          <p:cNvPr id="46" name="Object 1035">
            <a:extLst>
              <a:ext uri="{FF2B5EF4-FFF2-40B4-BE49-F238E27FC236}">
                <a16:creationId xmlns:a16="http://schemas.microsoft.com/office/drawing/2014/main" id="{58450F0E-D22B-4B5C-BB2D-FC86E3CD3ED0}"/>
              </a:ext>
            </a:extLst>
          </p:cNvPr>
          <p:cNvSpPr txBox="1"/>
          <p:nvPr/>
        </p:nvSpPr>
        <p:spPr>
          <a:xfrm>
            <a:off x="6703651" y="4887321"/>
            <a:ext cx="1049045" cy="228780"/>
          </a:xfrm>
          <a:prstGeom prst="rect">
            <a:avLst/>
          </a:prstGeom>
        </p:spPr>
        <p:txBody>
          <a:bodyPr vert="horz" lIns="0" tIns="0" rIns="0" bIns="0" rtlCol="0" anchor="t" anchorCtr="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zh-CN" altLang="en-US" sz="1500" b="1" i="0" u="none" strike="noStrike" kern="1200" cap="none" spc="0" normalizeH="0" baseline="0" noProof="0" dirty="0">
                <a:ln>
                  <a:noFill/>
                </a:ln>
                <a:solidFill>
                  <a:srgbClr val="FFFFFF"/>
                </a:solidFill>
                <a:effectLst/>
                <a:uLnTx/>
                <a:uFillTx/>
                <a:latin typeface="OPPOSans B" panose="00020600040101010101" pitchFamily="18" charset="-122"/>
                <a:ea typeface="OPPOSans B" panose="00020600040101010101" pitchFamily="18" charset="-122"/>
                <a:cs typeface="OPPOSans B" panose="00020600040101010101" pitchFamily="18" charset="-122"/>
              </a:rPr>
              <a:t>互动组</a:t>
            </a:r>
            <a:endParaRPr kumimoji="0" lang="zh-CN" altLang="en-US" sz="450" b="0" i="0" u="none" strike="noStrike" kern="1200" cap="none" spc="0" normalizeH="0" baseline="0" noProof="0">
              <a:ln>
                <a:noFill/>
              </a:ln>
              <a:solidFill>
                <a:srgbClr val="000000"/>
              </a:solidFill>
              <a:effectLst/>
              <a:uLnTx/>
              <a:uFillTx/>
              <a:latin typeface="OPPOSans B" panose="00020600040101010101" pitchFamily="18" charset="-122"/>
              <a:ea typeface="OPPOSans B" panose="00020600040101010101" pitchFamily="18" charset="-122"/>
              <a:cs typeface="OPPOSans B" panose="00020600040101010101" pitchFamily="18" charset="-122"/>
            </a:endParaRPr>
          </a:p>
        </p:txBody>
      </p:sp>
      <p:sp>
        <p:nvSpPr>
          <p:cNvPr id="48" name="Object 1046">
            <a:extLst>
              <a:ext uri="{FF2B5EF4-FFF2-40B4-BE49-F238E27FC236}">
                <a16:creationId xmlns:a16="http://schemas.microsoft.com/office/drawing/2014/main" id="{1451B512-2F8A-43ED-A043-DB73F2FC4832}"/>
              </a:ext>
            </a:extLst>
          </p:cNvPr>
          <p:cNvSpPr txBox="1"/>
          <p:nvPr/>
        </p:nvSpPr>
        <p:spPr>
          <a:xfrm>
            <a:off x="8991115" y="4887321"/>
            <a:ext cx="963501" cy="228780"/>
          </a:xfrm>
          <a:prstGeom prst="rect">
            <a:avLst/>
          </a:prstGeom>
        </p:spPr>
        <p:txBody>
          <a:bodyPr vert="horz" lIns="0" tIns="0" rIns="0" bIns="0" rtlCol="0" anchor="t" anchorCtr="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zh-CN" altLang="en-US" sz="1500" b="1" i="0" u="none" strike="noStrike" kern="1200" cap="none" spc="0" normalizeH="0" baseline="0" noProof="0" dirty="0">
                <a:ln>
                  <a:noFill/>
                </a:ln>
                <a:solidFill>
                  <a:srgbClr val="FFFFFF"/>
                </a:solidFill>
                <a:effectLst/>
                <a:uLnTx/>
                <a:uFillTx/>
                <a:latin typeface="OPPOSans B" panose="00020600040101010101" pitchFamily="18" charset="-122"/>
                <a:ea typeface="OPPOSans B" panose="00020600040101010101" pitchFamily="18" charset="-122"/>
                <a:cs typeface="OPPOSans B" panose="00020600040101010101" pitchFamily="18" charset="-122"/>
              </a:rPr>
              <a:t>音频组</a:t>
            </a:r>
            <a:endParaRPr kumimoji="0" lang="zh-CN" altLang="en-US" sz="450" b="0" i="0" u="none" strike="noStrike" kern="1200" cap="none" spc="0" normalizeH="0" baseline="0" noProof="0" dirty="0">
              <a:ln>
                <a:noFill/>
              </a:ln>
              <a:solidFill>
                <a:srgbClr val="000000"/>
              </a:solidFill>
              <a:effectLst/>
              <a:uLnTx/>
              <a:uFillTx/>
              <a:latin typeface="OPPOSans B" panose="00020600040101010101" pitchFamily="18" charset="-122"/>
              <a:ea typeface="OPPOSans B" panose="00020600040101010101" pitchFamily="18" charset="-122"/>
              <a:cs typeface="OPPOSans B" panose="00020600040101010101" pitchFamily="18" charset="-122"/>
            </a:endParaRPr>
          </a:p>
        </p:txBody>
      </p:sp>
      <p:sp>
        <p:nvSpPr>
          <p:cNvPr id="60" name="gaoding-6">
            <a:extLst>
              <a:ext uri="{FF2B5EF4-FFF2-40B4-BE49-F238E27FC236}">
                <a16:creationId xmlns:a16="http://schemas.microsoft.com/office/drawing/2014/main" id="{FFEBC605-9A0A-4B64-AF45-69FEEEC7E00F}"/>
              </a:ext>
            </a:extLst>
          </p:cNvPr>
          <p:cNvSpPr txBox="1"/>
          <p:nvPr/>
        </p:nvSpPr>
        <p:spPr>
          <a:xfrm>
            <a:off x="684563" y="739533"/>
            <a:ext cx="5586400" cy="492443"/>
          </a:xfrm>
          <a:prstGeom prst="rect">
            <a:avLst/>
          </a:prstGeom>
          <a:noFill/>
          <a:ln>
            <a:noFill/>
          </a:ln>
        </p:spPr>
        <p:txBody>
          <a:bodyPr wrap="square" lIns="0" tIns="0" rIns="0" bIns="0">
            <a:spAutoFit/>
          </a:bodyPr>
          <a:lstStyle/>
          <a:p>
            <a:pPr marL="0" marR="0" lvl="0" indent="0" algn="l" defTabSz="1827530" rtl="0" eaLnBrk="1" fontAlgn="auto" latinLnBrk="0" hangingPunct="1">
              <a:lnSpc>
                <a:spcPct val="100000"/>
              </a:lnSpc>
              <a:spcBef>
                <a:spcPts val="0"/>
              </a:spcBef>
              <a:spcAft>
                <a:spcPts val="0"/>
              </a:spcAft>
              <a:buClrTx/>
              <a:buSzPct val="25000"/>
              <a:buFontTx/>
              <a:buNone/>
              <a:tabLst/>
              <a:defRPr/>
            </a:pPr>
            <a:r>
              <a:rPr kumimoji="0" lang="zh-CN" altLang="en-US" sz="3200" b="1" i="0" u="none" strike="noStrike" kern="1200" cap="none" spc="0" normalizeH="0" baseline="0" noProof="0" dirty="0">
                <a:ln>
                  <a:noFill/>
                </a:ln>
                <a:solidFill>
                  <a:srgbClr val="000000"/>
                </a:solidFill>
                <a:effectLst/>
                <a:uLnTx/>
                <a:uFillTx/>
                <a:latin typeface="OPPOSans B" panose="00020600040101010101" pitchFamily="18" charset="-122"/>
                <a:ea typeface="OPPOSans B" panose="00020600040101010101" pitchFamily="18" charset="-122"/>
                <a:cs typeface="OPPOSans B" panose="00020600040101010101" pitchFamily="18" charset="-122"/>
                <a:sym typeface="Arial" panose="020B0604020202020204" pitchFamily="34" charset="0"/>
              </a:rPr>
              <a:t>秋叶</a:t>
            </a:r>
            <a:r>
              <a:rPr kumimoji="0" lang="en-US" altLang="zh-CN" sz="3200" b="1" i="0" u="none" strike="noStrike" kern="1200" cap="none" spc="0" normalizeH="0" baseline="0" noProof="0" dirty="0">
                <a:ln>
                  <a:noFill/>
                </a:ln>
                <a:solidFill>
                  <a:srgbClr val="000000"/>
                </a:solidFill>
                <a:effectLst/>
                <a:uLnTx/>
                <a:uFillTx/>
                <a:latin typeface="OPPOSans B" panose="00020600040101010101" pitchFamily="18" charset="-122"/>
                <a:ea typeface="OPPOSans B" panose="00020600040101010101" pitchFamily="18" charset="-122"/>
                <a:cs typeface="OPPOSans B" panose="00020600040101010101" pitchFamily="18" charset="-122"/>
                <a:sym typeface="Arial" panose="020B0604020202020204" pitchFamily="34" charset="0"/>
              </a:rPr>
              <a:t>PPT</a:t>
            </a:r>
            <a:r>
              <a:rPr kumimoji="0" lang="zh-CN" altLang="en-US" sz="3200" b="1" i="0" u="none" strike="noStrike" kern="1200" cap="none" spc="0" normalizeH="0" baseline="0" noProof="0" dirty="0">
                <a:ln>
                  <a:noFill/>
                </a:ln>
                <a:solidFill>
                  <a:srgbClr val="000000"/>
                </a:solidFill>
                <a:effectLst/>
                <a:uLnTx/>
                <a:uFillTx/>
                <a:latin typeface="OPPOSans B" panose="00020600040101010101" pitchFamily="18" charset="-122"/>
                <a:ea typeface="OPPOSans B" panose="00020600040101010101" pitchFamily="18" charset="-122"/>
                <a:cs typeface="OPPOSans B" panose="00020600040101010101" pitchFamily="18" charset="-122"/>
                <a:sym typeface="Arial" panose="020B0604020202020204" pitchFamily="34" charset="0"/>
              </a:rPr>
              <a:t>更快更轻松</a:t>
            </a:r>
          </a:p>
        </p:txBody>
      </p:sp>
      <p:sp>
        <p:nvSpPr>
          <p:cNvPr id="61" name="gaoding-7">
            <a:extLst>
              <a:ext uri="{FF2B5EF4-FFF2-40B4-BE49-F238E27FC236}">
                <a16:creationId xmlns:a16="http://schemas.microsoft.com/office/drawing/2014/main" id="{C4C04DD2-EC0F-406C-A235-C58776E5FDA8}"/>
              </a:ext>
            </a:extLst>
          </p:cNvPr>
          <p:cNvSpPr txBox="1"/>
          <p:nvPr/>
        </p:nvSpPr>
        <p:spPr>
          <a:xfrm>
            <a:off x="578068" y="1261203"/>
            <a:ext cx="5263443" cy="141012"/>
          </a:xfrm>
          <a:prstGeom prst="rect">
            <a:avLst/>
          </a:prstGeom>
          <a:noFill/>
        </p:spPr>
        <p:txBody>
          <a:bodyPr wrap="square" lIns="0" tIns="0" rIns="0" bIns="0">
            <a:spAutoFit/>
          </a:bodyPr>
          <a:lstStyle>
            <a:defPPr>
              <a:defRPr lang="zh-CN"/>
            </a:defPPr>
            <a:lvl1pPr algn="dist">
              <a:lnSpc>
                <a:spcPct val="150000"/>
              </a:lnSpc>
              <a:defRPr sz="900">
                <a:solidFill>
                  <a:schemeClr val="bg1"/>
                </a:solidFill>
                <a:latin typeface="Bahnschrift" panose="020B0502040204020203" pitchFamily="34" charset="0"/>
                <a:ea typeface="OPPOSans R" panose="00020600040101010101" pitchFamily="18" charset="-122"/>
                <a:cs typeface="OPPOSans R" panose="00020600040101010101" pitchFamily="18" charset="-122"/>
              </a:defRPr>
            </a:lvl1pPr>
          </a:lstStyle>
          <a:p>
            <a:pPr marL="0" marR="0" lvl="0" indent="0" algn="l" defTabSz="1827530" rtl="0" eaLnBrk="1" fontAlgn="auto" latinLnBrk="0" hangingPunct="1">
              <a:lnSpc>
                <a:spcPct val="100000"/>
              </a:lnSpc>
              <a:spcBef>
                <a:spcPts val="0"/>
              </a:spcBef>
              <a:spcAft>
                <a:spcPts val="0"/>
              </a:spcAft>
              <a:buClrTx/>
              <a:buSzPct val="25000"/>
              <a:buFontTx/>
              <a:buNone/>
              <a:tabLst/>
              <a:defRPr/>
            </a:pPr>
            <a:r>
              <a:rPr kumimoji="0" lang="en-US" altLang="zh-CN" sz="900" b="0" i="0" u="none" strike="noStrike" kern="1200" cap="none" spc="1200" normalizeH="0" baseline="0" noProof="0" dirty="0">
                <a:ln>
                  <a:noFill/>
                </a:ln>
                <a:solidFill>
                  <a:srgbClr val="000000"/>
                </a:solidFill>
                <a:effectLst/>
                <a:uLnTx/>
                <a:uFillTx/>
                <a:latin typeface="Arial" panose="020B0604020202020204" pitchFamily="34" charset="0"/>
                <a:ea typeface="OPPOSans R" panose="00020600040101010101" pitchFamily="18" charset="-122"/>
                <a:cs typeface="OPPOSans R" panose="00020600040101010101" pitchFamily="18" charset="-122"/>
                <a:sym typeface="Arial" panose="020B0604020202020204" pitchFamily="34" charset="0"/>
              </a:rPr>
              <a:t> ADD </a:t>
            </a:r>
            <a:r>
              <a:rPr kumimoji="0" lang="zh-CN" altLang="en-US" sz="900" b="0" i="0" u="none" strike="noStrike" kern="1200" cap="none" spc="1200" normalizeH="0" baseline="0" noProof="0" dirty="0">
                <a:ln>
                  <a:noFill/>
                </a:ln>
                <a:solidFill>
                  <a:srgbClr val="000000"/>
                </a:solidFill>
                <a:effectLst/>
                <a:uLnTx/>
                <a:uFillTx/>
                <a:latin typeface="Arial" panose="020B0604020202020204" pitchFamily="34" charset="0"/>
                <a:ea typeface="OPPOSans R" panose="00020600040101010101" pitchFamily="18" charset="-122"/>
                <a:cs typeface="OPPOSans R" panose="00020600040101010101" pitchFamily="18" charset="-122"/>
                <a:sym typeface="Arial" panose="020B0604020202020204" pitchFamily="34" charset="0"/>
              </a:rPr>
              <a:t>关键词标题</a:t>
            </a:r>
            <a:endParaRPr kumimoji="0" lang="en-US" altLang="zh-CN" sz="900" b="0" i="0" u="none" strike="noStrike" kern="1200" cap="none" spc="1200" normalizeH="0" baseline="0" noProof="0" dirty="0">
              <a:ln>
                <a:noFill/>
              </a:ln>
              <a:solidFill>
                <a:srgbClr val="000000"/>
              </a:solidFill>
              <a:effectLst/>
              <a:uLnTx/>
              <a:uFillTx/>
              <a:latin typeface="Arial" panose="020B0604020202020204" pitchFamily="34" charset="0"/>
              <a:ea typeface="OPPOSans R" panose="00020600040101010101" pitchFamily="18" charset="-122"/>
              <a:cs typeface="OPPOSans R" panose="00020600040101010101" pitchFamily="18" charset="-122"/>
              <a:sym typeface="Arial" panose="020B0604020202020204" pitchFamily="34" charset="0"/>
            </a:endParaRPr>
          </a:p>
        </p:txBody>
      </p:sp>
      <p:grpSp>
        <p:nvGrpSpPr>
          <p:cNvPr id="67" name="Group_100990957_14:21:16_svg_ico">
            <a:extLst>
              <a:ext uri="{FF2B5EF4-FFF2-40B4-BE49-F238E27FC236}">
                <a16:creationId xmlns:a16="http://schemas.microsoft.com/office/drawing/2014/main" id="{9EEAD6B4-B5E4-4815-A725-479AAECD4245}"/>
              </a:ext>
            </a:extLst>
          </p:cNvPr>
          <p:cNvGrpSpPr/>
          <p:nvPr/>
        </p:nvGrpSpPr>
        <p:grpSpPr>
          <a:xfrm>
            <a:off x="5838825" y="1795408"/>
            <a:ext cx="515770" cy="483851"/>
            <a:chOff x="5838825" y="3192303"/>
            <a:chExt cx="515770" cy="483851"/>
          </a:xfrm>
          <a:solidFill>
            <a:schemeClr val="accent1"/>
          </a:solidFill>
        </p:grpSpPr>
        <p:sp>
          <p:nvSpPr>
            <p:cNvPr id="64" name="任意多边形: 形状 63">
              <a:extLst>
                <a:ext uri="{FF2B5EF4-FFF2-40B4-BE49-F238E27FC236}">
                  <a16:creationId xmlns:a16="http://schemas.microsoft.com/office/drawing/2014/main" id="{8810AB4B-2752-43AB-84D5-5CA0AA678DA6}"/>
                </a:ext>
              </a:extLst>
            </p:cNvPr>
            <p:cNvSpPr/>
            <p:nvPr/>
          </p:nvSpPr>
          <p:spPr>
            <a:xfrm>
              <a:off x="5838825" y="3489883"/>
              <a:ext cx="515770" cy="186271"/>
            </a:xfrm>
            <a:custGeom>
              <a:avLst/>
              <a:gdLst>
                <a:gd name="connsiteX0" fmla="*/ 258242 w 515770"/>
                <a:gd name="connsiteY0" fmla="*/ 158048 h 186271"/>
                <a:gd name="connsiteX1" fmla="*/ 342910 w 515770"/>
                <a:gd name="connsiteY1" fmla="*/ 0 h 186271"/>
                <a:gd name="connsiteX2" fmla="*/ 515769 w 515770"/>
                <a:gd name="connsiteY2" fmla="*/ 141827 h 186271"/>
                <a:gd name="connsiteX3" fmla="*/ 478374 w 515770"/>
                <a:gd name="connsiteY3" fmla="*/ 186271 h 186271"/>
                <a:gd name="connsiteX4" fmla="*/ 21165 w 515770"/>
                <a:gd name="connsiteY4" fmla="*/ 186271 h 186271"/>
                <a:gd name="connsiteX5" fmla="*/ 0 w 515770"/>
                <a:gd name="connsiteY5" fmla="*/ 141827 h 186271"/>
                <a:gd name="connsiteX6" fmla="*/ 169345 w 515770"/>
                <a:gd name="connsiteY6" fmla="*/ 0 h 186271"/>
                <a:gd name="connsiteX7" fmla="*/ 258242 w 515770"/>
                <a:gd name="connsiteY7" fmla="*/ 158048 h 1862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5770" h="186271">
                  <a:moveTo>
                    <a:pt x="258242" y="158048"/>
                  </a:moveTo>
                  <a:cubicBezTo>
                    <a:pt x="258242" y="158048"/>
                    <a:pt x="342910" y="120653"/>
                    <a:pt x="342910" y="0"/>
                  </a:cubicBezTo>
                  <a:cubicBezTo>
                    <a:pt x="342910" y="0"/>
                    <a:pt x="515769" y="19764"/>
                    <a:pt x="515769" y="141827"/>
                  </a:cubicBezTo>
                  <a:cubicBezTo>
                    <a:pt x="515769" y="141827"/>
                    <a:pt x="516474" y="186271"/>
                    <a:pt x="478374" y="186271"/>
                  </a:cubicBezTo>
                  <a:lnTo>
                    <a:pt x="21165" y="186271"/>
                  </a:lnTo>
                  <a:cubicBezTo>
                    <a:pt x="21165" y="186271"/>
                    <a:pt x="0" y="186976"/>
                    <a:pt x="0" y="141827"/>
                  </a:cubicBezTo>
                  <a:cubicBezTo>
                    <a:pt x="0" y="96669"/>
                    <a:pt x="20460" y="4239"/>
                    <a:pt x="169345" y="0"/>
                  </a:cubicBezTo>
                  <a:cubicBezTo>
                    <a:pt x="169345" y="0"/>
                    <a:pt x="151705" y="91021"/>
                    <a:pt x="258242" y="158048"/>
                  </a:cubicBezTo>
                  <a:close/>
                </a:path>
              </a:pathLst>
            </a:custGeom>
            <a:gradFill flip="none" rotWithShape="1">
              <a:gsLst>
                <a:gs pos="0">
                  <a:schemeClr val="accent1"/>
                </a:gs>
                <a:gs pos="100000">
                  <a:schemeClr val="accent1">
                    <a:lumMod val="60000"/>
                    <a:lumOff val="40000"/>
                  </a:schemeClr>
                </a:gs>
              </a:gsLst>
              <a:lin ang="16200000" scaled="1"/>
              <a:tileRect/>
            </a:gradFill>
            <a:ln>
              <a:noFill/>
            </a:ln>
            <a:effectLst>
              <a:outerShdw blurRad="330200" dist="25400" dir="5400000" sx="90000" sy="90000" algn="t" rotWithShape="0">
                <a:schemeClr val="accent1">
                  <a:lumMod val="75000"/>
                  <a:alpha val="2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22860" tIns="11430" rIns="22860" bIns="1143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zh-CN" altLang="en-US" sz="450" b="0" i="0" u="none" strike="noStrike" kern="1200" cap="none" spc="0" normalizeH="0" baseline="0" noProof="0">
                <a:ln>
                  <a:noFill/>
                </a:ln>
                <a:solidFill>
                  <a:srgbClr val="FFFFFF"/>
                </a:solidFill>
                <a:effectLst/>
                <a:uLnTx/>
                <a:uFillTx/>
                <a:latin typeface="Arial"/>
                <a:ea typeface="微软雅黑 Light"/>
                <a:cs typeface="+mn-cs"/>
              </a:endParaRPr>
            </a:p>
          </p:txBody>
        </p:sp>
        <p:sp>
          <p:nvSpPr>
            <p:cNvPr id="65" name="任意多边形: 形状 64">
              <a:extLst>
                <a:ext uri="{FF2B5EF4-FFF2-40B4-BE49-F238E27FC236}">
                  <a16:creationId xmlns:a16="http://schemas.microsoft.com/office/drawing/2014/main" id="{E290FF0D-B95C-405E-970E-8C2423349EC9}"/>
                </a:ext>
              </a:extLst>
            </p:cNvPr>
            <p:cNvSpPr/>
            <p:nvPr/>
          </p:nvSpPr>
          <p:spPr>
            <a:xfrm>
              <a:off x="6061786" y="3493769"/>
              <a:ext cx="68789" cy="130168"/>
            </a:xfrm>
            <a:custGeom>
              <a:avLst/>
              <a:gdLst>
                <a:gd name="connsiteX0" fmla="*/ 33861 w 68789"/>
                <a:gd name="connsiteY0" fmla="*/ 130169 h 130168"/>
                <a:gd name="connsiteX1" fmla="*/ 65961 w 68789"/>
                <a:gd name="connsiteY1" fmla="*/ 98079 h 130168"/>
                <a:gd name="connsiteX2" fmla="*/ 43739 w 68789"/>
                <a:gd name="connsiteY2" fmla="*/ 41272 h 130168"/>
                <a:gd name="connsiteX3" fmla="*/ 68790 w 68789"/>
                <a:gd name="connsiteY3" fmla="*/ 16231 h 130168"/>
                <a:gd name="connsiteX4" fmla="*/ 52559 w 68789"/>
                <a:gd name="connsiteY4" fmla="*/ 0 h 130168"/>
                <a:gd name="connsiteX5" fmla="*/ 11992 w 68789"/>
                <a:gd name="connsiteY5" fmla="*/ 0 h 130168"/>
                <a:gd name="connsiteX6" fmla="*/ 0 w 68789"/>
                <a:gd name="connsiteY6" fmla="*/ 16231 h 130168"/>
                <a:gd name="connsiteX7" fmla="*/ 25051 w 68789"/>
                <a:gd name="connsiteY7" fmla="*/ 41272 h 130168"/>
                <a:gd name="connsiteX8" fmla="*/ 695 w 68789"/>
                <a:gd name="connsiteY8" fmla="*/ 98079 h 130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8789" h="130168">
                  <a:moveTo>
                    <a:pt x="33861" y="130169"/>
                  </a:moveTo>
                  <a:lnTo>
                    <a:pt x="65961" y="98079"/>
                  </a:lnTo>
                  <a:lnTo>
                    <a:pt x="43739" y="41272"/>
                  </a:lnTo>
                  <a:lnTo>
                    <a:pt x="68790" y="16231"/>
                  </a:lnTo>
                  <a:lnTo>
                    <a:pt x="52559" y="0"/>
                  </a:lnTo>
                  <a:lnTo>
                    <a:pt x="11992" y="0"/>
                  </a:lnTo>
                  <a:lnTo>
                    <a:pt x="0" y="16231"/>
                  </a:lnTo>
                  <a:lnTo>
                    <a:pt x="25051" y="41272"/>
                  </a:lnTo>
                  <a:lnTo>
                    <a:pt x="695" y="98079"/>
                  </a:lnTo>
                  <a:close/>
                </a:path>
              </a:pathLst>
            </a:custGeom>
            <a:gradFill flip="none" rotWithShape="1">
              <a:gsLst>
                <a:gs pos="0">
                  <a:schemeClr val="accent1"/>
                </a:gs>
                <a:gs pos="100000">
                  <a:schemeClr val="accent1">
                    <a:lumMod val="60000"/>
                    <a:lumOff val="40000"/>
                  </a:schemeClr>
                </a:gs>
              </a:gsLst>
              <a:lin ang="16200000" scaled="1"/>
              <a:tileRect/>
            </a:gradFill>
            <a:ln>
              <a:noFill/>
            </a:ln>
            <a:effectLst>
              <a:outerShdw blurRad="330200" dist="25400" dir="5400000" sx="90000" sy="90000" algn="t" rotWithShape="0">
                <a:schemeClr val="accent1">
                  <a:lumMod val="75000"/>
                  <a:alpha val="2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22860" tIns="11430" rIns="22860" bIns="1143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zh-CN" altLang="en-US" sz="450" b="0" i="0" u="none" strike="noStrike" kern="1200" cap="none" spc="0" normalizeH="0" baseline="0" noProof="0">
                <a:ln>
                  <a:noFill/>
                </a:ln>
                <a:solidFill>
                  <a:srgbClr val="FFFFFF"/>
                </a:solidFill>
                <a:effectLst/>
                <a:uLnTx/>
                <a:uFillTx/>
                <a:latin typeface="Arial"/>
                <a:ea typeface="微软雅黑 Light"/>
                <a:cs typeface="+mn-cs"/>
              </a:endParaRPr>
            </a:p>
          </p:txBody>
        </p:sp>
        <p:sp>
          <p:nvSpPr>
            <p:cNvPr id="66" name="任意多边形: 形状 65">
              <a:extLst>
                <a:ext uri="{FF2B5EF4-FFF2-40B4-BE49-F238E27FC236}">
                  <a16:creationId xmlns:a16="http://schemas.microsoft.com/office/drawing/2014/main" id="{3D55F31E-53BE-4CDA-BA11-BDDBD9CBD8BE}"/>
                </a:ext>
              </a:extLst>
            </p:cNvPr>
            <p:cNvSpPr/>
            <p:nvPr/>
          </p:nvSpPr>
          <p:spPr>
            <a:xfrm>
              <a:off x="5965212" y="3192303"/>
              <a:ext cx="260927" cy="260927"/>
            </a:xfrm>
            <a:custGeom>
              <a:avLst/>
              <a:gdLst>
                <a:gd name="connsiteX0" fmla="*/ 260928 w 260927"/>
                <a:gd name="connsiteY0" fmla="*/ 130464 h 260927"/>
                <a:gd name="connsiteX1" fmla="*/ 130464 w 260927"/>
                <a:gd name="connsiteY1" fmla="*/ 260928 h 260927"/>
                <a:gd name="connsiteX2" fmla="*/ 0 w 260927"/>
                <a:gd name="connsiteY2" fmla="*/ 130464 h 260927"/>
                <a:gd name="connsiteX3" fmla="*/ 130464 w 260927"/>
                <a:gd name="connsiteY3" fmla="*/ 0 h 260927"/>
                <a:gd name="connsiteX4" fmla="*/ 260928 w 260927"/>
                <a:gd name="connsiteY4" fmla="*/ 130464 h 2609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0927" h="260927">
                  <a:moveTo>
                    <a:pt x="260928" y="130464"/>
                  </a:moveTo>
                  <a:cubicBezTo>
                    <a:pt x="260928" y="202517"/>
                    <a:pt x="202517" y="260928"/>
                    <a:pt x="130464" y="260928"/>
                  </a:cubicBezTo>
                  <a:cubicBezTo>
                    <a:pt x="58411" y="260928"/>
                    <a:pt x="0" y="202517"/>
                    <a:pt x="0" y="130464"/>
                  </a:cubicBezTo>
                  <a:cubicBezTo>
                    <a:pt x="0" y="58411"/>
                    <a:pt x="58411" y="0"/>
                    <a:pt x="130464" y="0"/>
                  </a:cubicBezTo>
                  <a:cubicBezTo>
                    <a:pt x="202517" y="0"/>
                    <a:pt x="260928" y="58411"/>
                    <a:pt x="260928" y="130464"/>
                  </a:cubicBezTo>
                  <a:close/>
                </a:path>
              </a:pathLst>
            </a:custGeom>
            <a:gradFill flip="none" rotWithShape="1">
              <a:gsLst>
                <a:gs pos="0">
                  <a:schemeClr val="accent1"/>
                </a:gs>
                <a:gs pos="100000">
                  <a:schemeClr val="accent1">
                    <a:lumMod val="60000"/>
                    <a:lumOff val="40000"/>
                  </a:schemeClr>
                </a:gs>
              </a:gsLst>
              <a:lin ang="16200000" scaled="1"/>
              <a:tileRect/>
            </a:gradFill>
            <a:ln>
              <a:noFill/>
            </a:ln>
            <a:effectLst>
              <a:outerShdw blurRad="330200" dist="25400" dir="5400000" sx="90000" sy="90000" algn="t" rotWithShape="0">
                <a:schemeClr val="accent1">
                  <a:lumMod val="75000"/>
                  <a:alpha val="2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22860" tIns="11430" rIns="22860" bIns="1143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zh-CN" altLang="en-US" sz="450" b="0" i="0" u="none" strike="noStrike" kern="1200" cap="none" spc="0" normalizeH="0" baseline="0" noProof="0">
                <a:ln>
                  <a:noFill/>
                </a:ln>
                <a:solidFill>
                  <a:srgbClr val="FFFFFF"/>
                </a:solidFill>
                <a:effectLst/>
                <a:uLnTx/>
                <a:uFillTx/>
                <a:latin typeface="Arial"/>
                <a:ea typeface="微软雅黑 Light"/>
                <a:cs typeface="+mn-cs"/>
              </a:endParaRPr>
            </a:p>
          </p:txBody>
        </p:sp>
      </p:grpSp>
      <p:grpSp>
        <p:nvGrpSpPr>
          <p:cNvPr id="72" name="Group_100947623_14:21:37_svg_ico">
            <a:extLst>
              <a:ext uri="{FF2B5EF4-FFF2-40B4-BE49-F238E27FC236}">
                <a16:creationId xmlns:a16="http://schemas.microsoft.com/office/drawing/2014/main" id="{6C15E87D-2A38-4061-889B-5E046FE3C306}"/>
              </a:ext>
            </a:extLst>
          </p:cNvPr>
          <p:cNvGrpSpPr/>
          <p:nvPr/>
        </p:nvGrpSpPr>
        <p:grpSpPr>
          <a:xfrm>
            <a:off x="2437308" y="4129068"/>
            <a:ext cx="609600" cy="599122"/>
            <a:chOff x="5791200" y="3128962"/>
            <a:chExt cx="609600" cy="599122"/>
          </a:xfrm>
          <a:solidFill>
            <a:schemeClr val="accent2"/>
          </a:solidFill>
        </p:grpSpPr>
        <p:sp>
          <p:nvSpPr>
            <p:cNvPr id="70" name="任意多边形: 形状 69">
              <a:extLst>
                <a:ext uri="{FF2B5EF4-FFF2-40B4-BE49-F238E27FC236}">
                  <a16:creationId xmlns:a16="http://schemas.microsoft.com/office/drawing/2014/main" id="{F9EA0367-8983-4E49-9A94-07977CD222DD}"/>
                </a:ext>
              </a:extLst>
            </p:cNvPr>
            <p:cNvSpPr/>
            <p:nvPr/>
          </p:nvSpPr>
          <p:spPr>
            <a:xfrm>
              <a:off x="5791200" y="3213734"/>
              <a:ext cx="609600" cy="514350"/>
            </a:xfrm>
            <a:custGeom>
              <a:avLst/>
              <a:gdLst>
                <a:gd name="connsiteX0" fmla="*/ 163830 w 609600"/>
                <a:gd name="connsiteY0" fmla="*/ 125730 h 514350"/>
                <a:gd name="connsiteX1" fmla="*/ 160973 w 609600"/>
                <a:gd name="connsiteY1" fmla="*/ 125730 h 514350"/>
                <a:gd name="connsiteX2" fmla="*/ 117158 w 609600"/>
                <a:gd name="connsiteY2" fmla="*/ 139065 h 514350"/>
                <a:gd name="connsiteX3" fmla="*/ 73343 w 609600"/>
                <a:gd name="connsiteY3" fmla="*/ 125730 h 514350"/>
                <a:gd name="connsiteX4" fmla="*/ 60960 w 609600"/>
                <a:gd name="connsiteY4" fmla="*/ 125730 h 514350"/>
                <a:gd name="connsiteX5" fmla="*/ 0 w 609600"/>
                <a:gd name="connsiteY5" fmla="*/ 199073 h 514350"/>
                <a:gd name="connsiteX6" fmla="*/ 0 w 609600"/>
                <a:gd name="connsiteY6" fmla="*/ 304800 h 514350"/>
                <a:gd name="connsiteX7" fmla="*/ 30480 w 609600"/>
                <a:gd name="connsiteY7" fmla="*/ 340043 h 514350"/>
                <a:gd name="connsiteX8" fmla="*/ 34290 w 609600"/>
                <a:gd name="connsiteY8" fmla="*/ 340043 h 514350"/>
                <a:gd name="connsiteX9" fmla="*/ 34290 w 609600"/>
                <a:gd name="connsiteY9" fmla="*/ 504825 h 514350"/>
                <a:gd name="connsiteX10" fmla="*/ 43815 w 609600"/>
                <a:gd name="connsiteY10" fmla="*/ 514350 h 514350"/>
                <a:gd name="connsiteX11" fmla="*/ 102870 w 609600"/>
                <a:gd name="connsiteY11" fmla="*/ 514350 h 514350"/>
                <a:gd name="connsiteX12" fmla="*/ 102870 w 609600"/>
                <a:gd name="connsiteY12" fmla="*/ 365760 h 514350"/>
                <a:gd name="connsiteX13" fmla="*/ 112395 w 609600"/>
                <a:gd name="connsiteY13" fmla="*/ 356235 h 514350"/>
                <a:gd name="connsiteX14" fmla="*/ 121920 w 609600"/>
                <a:gd name="connsiteY14" fmla="*/ 365760 h 514350"/>
                <a:gd name="connsiteX15" fmla="*/ 121920 w 609600"/>
                <a:gd name="connsiteY15" fmla="*/ 514350 h 514350"/>
                <a:gd name="connsiteX16" fmla="*/ 180975 w 609600"/>
                <a:gd name="connsiteY16" fmla="*/ 514350 h 514350"/>
                <a:gd name="connsiteX17" fmla="*/ 190500 w 609600"/>
                <a:gd name="connsiteY17" fmla="*/ 504825 h 514350"/>
                <a:gd name="connsiteX18" fmla="*/ 190500 w 609600"/>
                <a:gd name="connsiteY18" fmla="*/ 340043 h 514350"/>
                <a:gd name="connsiteX19" fmla="*/ 194310 w 609600"/>
                <a:gd name="connsiteY19" fmla="*/ 340043 h 514350"/>
                <a:gd name="connsiteX20" fmla="*/ 224790 w 609600"/>
                <a:gd name="connsiteY20" fmla="*/ 304800 h 514350"/>
                <a:gd name="connsiteX21" fmla="*/ 224790 w 609600"/>
                <a:gd name="connsiteY21" fmla="*/ 199073 h 514350"/>
                <a:gd name="connsiteX22" fmla="*/ 163830 w 609600"/>
                <a:gd name="connsiteY22" fmla="*/ 125730 h 514350"/>
                <a:gd name="connsiteX23" fmla="*/ 117158 w 609600"/>
                <a:gd name="connsiteY23" fmla="*/ 120015 h 514350"/>
                <a:gd name="connsiteX24" fmla="*/ 177165 w 609600"/>
                <a:gd name="connsiteY24" fmla="*/ 60008 h 514350"/>
                <a:gd name="connsiteX25" fmla="*/ 117158 w 609600"/>
                <a:gd name="connsiteY25" fmla="*/ 0 h 514350"/>
                <a:gd name="connsiteX26" fmla="*/ 57150 w 609600"/>
                <a:gd name="connsiteY26" fmla="*/ 60008 h 514350"/>
                <a:gd name="connsiteX27" fmla="*/ 117158 w 609600"/>
                <a:gd name="connsiteY27" fmla="*/ 120015 h 514350"/>
                <a:gd name="connsiteX28" fmla="*/ 548640 w 609600"/>
                <a:gd name="connsiteY28" fmla="*/ 125730 h 514350"/>
                <a:gd name="connsiteX29" fmla="*/ 545783 w 609600"/>
                <a:gd name="connsiteY29" fmla="*/ 125730 h 514350"/>
                <a:gd name="connsiteX30" fmla="*/ 501968 w 609600"/>
                <a:gd name="connsiteY30" fmla="*/ 139065 h 514350"/>
                <a:gd name="connsiteX31" fmla="*/ 458153 w 609600"/>
                <a:gd name="connsiteY31" fmla="*/ 125730 h 514350"/>
                <a:gd name="connsiteX32" fmla="*/ 445770 w 609600"/>
                <a:gd name="connsiteY32" fmla="*/ 125730 h 514350"/>
                <a:gd name="connsiteX33" fmla="*/ 384810 w 609600"/>
                <a:gd name="connsiteY33" fmla="*/ 199073 h 514350"/>
                <a:gd name="connsiteX34" fmla="*/ 384810 w 609600"/>
                <a:gd name="connsiteY34" fmla="*/ 304800 h 514350"/>
                <a:gd name="connsiteX35" fmla="*/ 415290 w 609600"/>
                <a:gd name="connsiteY35" fmla="*/ 340043 h 514350"/>
                <a:gd name="connsiteX36" fmla="*/ 419100 w 609600"/>
                <a:gd name="connsiteY36" fmla="*/ 340043 h 514350"/>
                <a:gd name="connsiteX37" fmla="*/ 419100 w 609600"/>
                <a:gd name="connsiteY37" fmla="*/ 504825 h 514350"/>
                <a:gd name="connsiteX38" fmla="*/ 428625 w 609600"/>
                <a:gd name="connsiteY38" fmla="*/ 514350 h 514350"/>
                <a:gd name="connsiteX39" fmla="*/ 487680 w 609600"/>
                <a:gd name="connsiteY39" fmla="*/ 514350 h 514350"/>
                <a:gd name="connsiteX40" fmla="*/ 487680 w 609600"/>
                <a:gd name="connsiteY40" fmla="*/ 365760 h 514350"/>
                <a:gd name="connsiteX41" fmla="*/ 497205 w 609600"/>
                <a:gd name="connsiteY41" fmla="*/ 356235 h 514350"/>
                <a:gd name="connsiteX42" fmla="*/ 506730 w 609600"/>
                <a:gd name="connsiteY42" fmla="*/ 365760 h 514350"/>
                <a:gd name="connsiteX43" fmla="*/ 506730 w 609600"/>
                <a:gd name="connsiteY43" fmla="*/ 514350 h 514350"/>
                <a:gd name="connsiteX44" fmla="*/ 565785 w 609600"/>
                <a:gd name="connsiteY44" fmla="*/ 514350 h 514350"/>
                <a:gd name="connsiteX45" fmla="*/ 575310 w 609600"/>
                <a:gd name="connsiteY45" fmla="*/ 504825 h 514350"/>
                <a:gd name="connsiteX46" fmla="*/ 575310 w 609600"/>
                <a:gd name="connsiteY46" fmla="*/ 340043 h 514350"/>
                <a:gd name="connsiteX47" fmla="*/ 579120 w 609600"/>
                <a:gd name="connsiteY47" fmla="*/ 340043 h 514350"/>
                <a:gd name="connsiteX48" fmla="*/ 609600 w 609600"/>
                <a:gd name="connsiteY48" fmla="*/ 304800 h 514350"/>
                <a:gd name="connsiteX49" fmla="*/ 609600 w 609600"/>
                <a:gd name="connsiteY49" fmla="*/ 199073 h 514350"/>
                <a:gd name="connsiteX50" fmla="*/ 548640 w 609600"/>
                <a:gd name="connsiteY50" fmla="*/ 125730 h 514350"/>
                <a:gd name="connsiteX51" fmla="*/ 501968 w 609600"/>
                <a:gd name="connsiteY51" fmla="*/ 120015 h 514350"/>
                <a:gd name="connsiteX52" fmla="*/ 561975 w 609600"/>
                <a:gd name="connsiteY52" fmla="*/ 60008 h 514350"/>
                <a:gd name="connsiteX53" fmla="*/ 501968 w 609600"/>
                <a:gd name="connsiteY53" fmla="*/ 0 h 514350"/>
                <a:gd name="connsiteX54" fmla="*/ 441960 w 609600"/>
                <a:gd name="connsiteY54" fmla="*/ 60008 h 514350"/>
                <a:gd name="connsiteX55" fmla="*/ 501968 w 609600"/>
                <a:gd name="connsiteY55" fmla="*/ 120015 h 514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609600" h="514350">
                  <a:moveTo>
                    <a:pt x="163830" y="125730"/>
                  </a:moveTo>
                  <a:lnTo>
                    <a:pt x="160973" y="125730"/>
                  </a:lnTo>
                  <a:cubicBezTo>
                    <a:pt x="148590" y="134303"/>
                    <a:pt x="133350" y="139065"/>
                    <a:pt x="117158" y="139065"/>
                  </a:cubicBezTo>
                  <a:cubicBezTo>
                    <a:pt x="100965" y="139065"/>
                    <a:pt x="85725" y="134303"/>
                    <a:pt x="73343" y="125730"/>
                  </a:cubicBezTo>
                  <a:lnTo>
                    <a:pt x="60960" y="125730"/>
                  </a:lnTo>
                  <a:cubicBezTo>
                    <a:pt x="27623" y="125730"/>
                    <a:pt x="0" y="158115"/>
                    <a:pt x="0" y="199073"/>
                  </a:cubicBezTo>
                  <a:lnTo>
                    <a:pt x="0" y="304800"/>
                  </a:lnTo>
                  <a:cubicBezTo>
                    <a:pt x="0" y="323850"/>
                    <a:pt x="13335" y="340043"/>
                    <a:pt x="30480" y="340043"/>
                  </a:cubicBezTo>
                  <a:lnTo>
                    <a:pt x="34290" y="340043"/>
                  </a:lnTo>
                  <a:lnTo>
                    <a:pt x="34290" y="504825"/>
                  </a:lnTo>
                  <a:cubicBezTo>
                    <a:pt x="34290" y="509588"/>
                    <a:pt x="38100" y="514350"/>
                    <a:pt x="43815" y="514350"/>
                  </a:cubicBezTo>
                  <a:lnTo>
                    <a:pt x="102870" y="514350"/>
                  </a:lnTo>
                  <a:lnTo>
                    <a:pt x="102870" y="365760"/>
                  </a:lnTo>
                  <a:cubicBezTo>
                    <a:pt x="102870" y="360998"/>
                    <a:pt x="107633" y="356235"/>
                    <a:pt x="112395" y="356235"/>
                  </a:cubicBezTo>
                  <a:cubicBezTo>
                    <a:pt x="118110" y="356235"/>
                    <a:pt x="121920" y="360998"/>
                    <a:pt x="121920" y="365760"/>
                  </a:cubicBezTo>
                  <a:lnTo>
                    <a:pt x="121920" y="514350"/>
                  </a:lnTo>
                  <a:lnTo>
                    <a:pt x="180975" y="514350"/>
                  </a:lnTo>
                  <a:cubicBezTo>
                    <a:pt x="186690" y="514350"/>
                    <a:pt x="190500" y="509588"/>
                    <a:pt x="190500" y="504825"/>
                  </a:cubicBezTo>
                  <a:lnTo>
                    <a:pt x="190500" y="340043"/>
                  </a:lnTo>
                  <a:lnTo>
                    <a:pt x="194310" y="340043"/>
                  </a:lnTo>
                  <a:cubicBezTo>
                    <a:pt x="211455" y="340043"/>
                    <a:pt x="224790" y="323850"/>
                    <a:pt x="224790" y="304800"/>
                  </a:cubicBezTo>
                  <a:lnTo>
                    <a:pt x="224790" y="199073"/>
                  </a:lnTo>
                  <a:cubicBezTo>
                    <a:pt x="224790" y="159068"/>
                    <a:pt x="197168" y="125730"/>
                    <a:pt x="163830" y="125730"/>
                  </a:cubicBezTo>
                  <a:close/>
                  <a:moveTo>
                    <a:pt x="117158" y="120015"/>
                  </a:moveTo>
                  <a:cubicBezTo>
                    <a:pt x="150495" y="120015"/>
                    <a:pt x="177165" y="93345"/>
                    <a:pt x="177165" y="60008"/>
                  </a:cubicBezTo>
                  <a:cubicBezTo>
                    <a:pt x="177165" y="26670"/>
                    <a:pt x="150495" y="0"/>
                    <a:pt x="117158" y="0"/>
                  </a:cubicBezTo>
                  <a:cubicBezTo>
                    <a:pt x="83820" y="0"/>
                    <a:pt x="57150" y="26670"/>
                    <a:pt x="57150" y="60008"/>
                  </a:cubicBezTo>
                  <a:cubicBezTo>
                    <a:pt x="57150" y="93345"/>
                    <a:pt x="83820" y="120015"/>
                    <a:pt x="117158" y="120015"/>
                  </a:cubicBezTo>
                  <a:close/>
                  <a:moveTo>
                    <a:pt x="548640" y="125730"/>
                  </a:moveTo>
                  <a:lnTo>
                    <a:pt x="545783" y="125730"/>
                  </a:lnTo>
                  <a:cubicBezTo>
                    <a:pt x="533400" y="134303"/>
                    <a:pt x="518160" y="139065"/>
                    <a:pt x="501968" y="139065"/>
                  </a:cubicBezTo>
                  <a:cubicBezTo>
                    <a:pt x="485775" y="139065"/>
                    <a:pt x="470535" y="134303"/>
                    <a:pt x="458153" y="125730"/>
                  </a:cubicBezTo>
                  <a:lnTo>
                    <a:pt x="445770" y="125730"/>
                  </a:lnTo>
                  <a:cubicBezTo>
                    <a:pt x="412433" y="125730"/>
                    <a:pt x="384810" y="158115"/>
                    <a:pt x="384810" y="199073"/>
                  </a:cubicBezTo>
                  <a:lnTo>
                    <a:pt x="384810" y="304800"/>
                  </a:lnTo>
                  <a:cubicBezTo>
                    <a:pt x="384810" y="323850"/>
                    <a:pt x="398145" y="340043"/>
                    <a:pt x="415290" y="340043"/>
                  </a:cubicBezTo>
                  <a:lnTo>
                    <a:pt x="419100" y="340043"/>
                  </a:lnTo>
                  <a:lnTo>
                    <a:pt x="419100" y="504825"/>
                  </a:lnTo>
                  <a:cubicBezTo>
                    <a:pt x="419100" y="509588"/>
                    <a:pt x="422910" y="514350"/>
                    <a:pt x="428625" y="514350"/>
                  </a:cubicBezTo>
                  <a:lnTo>
                    <a:pt x="487680" y="514350"/>
                  </a:lnTo>
                  <a:lnTo>
                    <a:pt x="487680" y="365760"/>
                  </a:lnTo>
                  <a:cubicBezTo>
                    <a:pt x="487680" y="360998"/>
                    <a:pt x="492443" y="356235"/>
                    <a:pt x="497205" y="356235"/>
                  </a:cubicBezTo>
                  <a:cubicBezTo>
                    <a:pt x="501968" y="356235"/>
                    <a:pt x="506730" y="360998"/>
                    <a:pt x="506730" y="365760"/>
                  </a:cubicBezTo>
                  <a:lnTo>
                    <a:pt x="506730" y="514350"/>
                  </a:lnTo>
                  <a:lnTo>
                    <a:pt x="565785" y="514350"/>
                  </a:lnTo>
                  <a:cubicBezTo>
                    <a:pt x="571500" y="514350"/>
                    <a:pt x="575310" y="509588"/>
                    <a:pt x="575310" y="504825"/>
                  </a:cubicBezTo>
                  <a:lnTo>
                    <a:pt x="575310" y="340043"/>
                  </a:lnTo>
                  <a:lnTo>
                    <a:pt x="579120" y="340043"/>
                  </a:lnTo>
                  <a:cubicBezTo>
                    <a:pt x="596265" y="340043"/>
                    <a:pt x="609600" y="323850"/>
                    <a:pt x="609600" y="304800"/>
                  </a:cubicBezTo>
                  <a:lnTo>
                    <a:pt x="609600" y="199073"/>
                  </a:lnTo>
                  <a:cubicBezTo>
                    <a:pt x="609600" y="159068"/>
                    <a:pt x="581978" y="125730"/>
                    <a:pt x="548640" y="125730"/>
                  </a:cubicBezTo>
                  <a:close/>
                  <a:moveTo>
                    <a:pt x="501968" y="120015"/>
                  </a:moveTo>
                  <a:cubicBezTo>
                    <a:pt x="535305" y="120015"/>
                    <a:pt x="561975" y="93345"/>
                    <a:pt x="561975" y="60008"/>
                  </a:cubicBezTo>
                  <a:cubicBezTo>
                    <a:pt x="561975" y="26670"/>
                    <a:pt x="535305" y="0"/>
                    <a:pt x="501968" y="0"/>
                  </a:cubicBezTo>
                  <a:cubicBezTo>
                    <a:pt x="468630" y="0"/>
                    <a:pt x="441960" y="26670"/>
                    <a:pt x="441960" y="60008"/>
                  </a:cubicBezTo>
                  <a:cubicBezTo>
                    <a:pt x="441960" y="93345"/>
                    <a:pt x="468630" y="120015"/>
                    <a:pt x="501968" y="120015"/>
                  </a:cubicBezTo>
                  <a:close/>
                </a:path>
              </a:pathLst>
            </a:custGeom>
            <a:gradFill flip="none" rotWithShape="1">
              <a:gsLst>
                <a:gs pos="0">
                  <a:schemeClr val="accent2"/>
                </a:gs>
                <a:gs pos="100000">
                  <a:schemeClr val="accent2">
                    <a:lumMod val="60000"/>
                    <a:lumOff val="40000"/>
                  </a:schemeClr>
                </a:gs>
              </a:gsLst>
              <a:lin ang="16200000" scaled="1"/>
              <a:tileRect/>
            </a:gradFill>
            <a:ln>
              <a:noFill/>
            </a:ln>
            <a:effectLst>
              <a:outerShdw blurRad="330200" dist="25400" dir="5400000" sx="90000" sy="90000" algn="t" rotWithShape="0">
                <a:schemeClr val="accent2">
                  <a:lumMod val="75000"/>
                  <a:alpha val="2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22860" tIns="11430" rIns="22860" bIns="1143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zh-CN" altLang="en-US" sz="450" b="0" i="0" u="none" strike="noStrike" kern="1200" cap="none" spc="0" normalizeH="0" baseline="0" noProof="0">
                <a:ln>
                  <a:noFill/>
                </a:ln>
                <a:solidFill>
                  <a:srgbClr val="FFFFFF"/>
                </a:solidFill>
                <a:effectLst/>
                <a:uLnTx/>
                <a:uFillTx/>
                <a:latin typeface="Arial"/>
                <a:ea typeface="微软雅黑 Light"/>
                <a:cs typeface="+mn-cs"/>
              </a:endParaRPr>
            </a:p>
          </p:txBody>
        </p:sp>
        <p:sp>
          <p:nvSpPr>
            <p:cNvPr id="71" name="任意多边形: 形状 70">
              <a:extLst>
                <a:ext uri="{FF2B5EF4-FFF2-40B4-BE49-F238E27FC236}">
                  <a16:creationId xmlns:a16="http://schemas.microsoft.com/office/drawing/2014/main" id="{458FDA58-A6B0-41AF-BD8E-BBF6A5E90150}"/>
                </a:ext>
              </a:extLst>
            </p:cNvPr>
            <p:cNvSpPr/>
            <p:nvPr/>
          </p:nvSpPr>
          <p:spPr>
            <a:xfrm>
              <a:off x="5983605" y="3128962"/>
              <a:ext cx="224789" cy="514350"/>
            </a:xfrm>
            <a:custGeom>
              <a:avLst/>
              <a:gdLst>
                <a:gd name="connsiteX0" fmla="*/ 173355 w 224789"/>
                <a:gd name="connsiteY0" fmla="*/ 283845 h 514350"/>
                <a:gd name="connsiteX1" fmla="*/ 224790 w 224789"/>
                <a:gd name="connsiteY1" fmla="*/ 198120 h 514350"/>
                <a:gd name="connsiteX2" fmla="*/ 163830 w 224789"/>
                <a:gd name="connsiteY2" fmla="*/ 125730 h 514350"/>
                <a:gd name="connsiteX3" fmla="*/ 160972 w 224789"/>
                <a:gd name="connsiteY3" fmla="*/ 125730 h 514350"/>
                <a:gd name="connsiteX4" fmla="*/ 117157 w 224789"/>
                <a:gd name="connsiteY4" fmla="*/ 139065 h 514350"/>
                <a:gd name="connsiteX5" fmla="*/ 73342 w 224789"/>
                <a:gd name="connsiteY5" fmla="*/ 125730 h 514350"/>
                <a:gd name="connsiteX6" fmla="*/ 60960 w 224789"/>
                <a:gd name="connsiteY6" fmla="*/ 125730 h 514350"/>
                <a:gd name="connsiteX7" fmla="*/ 0 w 224789"/>
                <a:gd name="connsiteY7" fmla="*/ 198120 h 514350"/>
                <a:gd name="connsiteX8" fmla="*/ 51435 w 224789"/>
                <a:gd name="connsiteY8" fmla="*/ 283845 h 514350"/>
                <a:gd name="connsiteX9" fmla="*/ 51435 w 224789"/>
                <a:gd name="connsiteY9" fmla="*/ 389573 h 514350"/>
                <a:gd name="connsiteX10" fmla="*/ 34290 w 224789"/>
                <a:gd name="connsiteY10" fmla="*/ 430530 h 514350"/>
                <a:gd name="connsiteX11" fmla="*/ 34290 w 224789"/>
                <a:gd name="connsiteY11" fmla="*/ 504825 h 514350"/>
                <a:gd name="connsiteX12" fmla="*/ 43815 w 224789"/>
                <a:gd name="connsiteY12" fmla="*/ 514350 h 514350"/>
                <a:gd name="connsiteX13" fmla="*/ 102870 w 224789"/>
                <a:gd name="connsiteY13" fmla="*/ 514350 h 514350"/>
                <a:gd name="connsiteX14" fmla="*/ 102870 w 224789"/>
                <a:gd name="connsiteY14" fmla="*/ 365760 h 514350"/>
                <a:gd name="connsiteX15" fmla="*/ 112395 w 224789"/>
                <a:gd name="connsiteY15" fmla="*/ 356235 h 514350"/>
                <a:gd name="connsiteX16" fmla="*/ 121920 w 224789"/>
                <a:gd name="connsiteY16" fmla="*/ 365760 h 514350"/>
                <a:gd name="connsiteX17" fmla="*/ 121920 w 224789"/>
                <a:gd name="connsiteY17" fmla="*/ 514350 h 514350"/>
                <a:gd name="connsiteX18" fmla="*/ 180975 w 224789"/>
                <a:gd name="connsiteY18" fmla="*/ 514350 h 514350"/>
                <a:gd name="connsiteX19" fmla="*/ 190500 w 224789"/>
                <a:gd name="connsiteY19" fmla="*/ 504825 h 514350"/>
                <a:gd name="connsiteX20" fmla="*/ 190500 w 224789"/>
                <a:gd name="connsiteY20" fmla="*/ 430530 h 514350"/>
                <a:gd name="connsiteX21" fmla="*/ 173355 w 224789"/>
                <a:gd name="connsiteY21" fmla="*/ 389573 h 514350"/>
                <a:gd name="connsiteX22" fmla="*/ 173355 w 224789"/>
                <a:gd name="connsiteY22" fmla="*/ 283845 h 514350"/>
                <a:gd name="connsiteX23" fmla="*/ 117157 w 224789"/>
                <a:gd name="connsiteY23" fmla="*/ 120015 h 514350"/>
                <a:gd name="connsiteX24" fmla="*/ 177165 w 224789"/>
                <a:gd name="connsiteY24" fmla="*/ 60008 h 514350"/>
                <a:gd name="connsiteX25" fmla="*/ 117157 w 224789"/>
                <a:gd name="connsiteY25" fmla="*/ 0 h 514350"/>
                <a:gd name="connsiteX26" fmla="*/ 57150 w 224789"/>
                <a:gd name="connsiteY26" fmla="*/ 60008 h 514350"/>
                <a:gd name="connsiteX27" fmla="*/ 117157 w 224789"/>
                <a:gd name="connsiteY27" fmla="*/ 120015 h 514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24789" h="514350">
                  <a:moveTo>
                    <a:pt x="173355" y="283845"/>
                  </a:moveTo>
                  <a:cubicBezTo>
                    <a:pt x="173355" y="244793"/>
                    <a:pt x="195263" y="211455"/>
                    <a:pt x="224790" y="198120"/>
                  </a:cubicBezTo>
                  <a:cubicBezTo>
                    <a:pt x="224790" y="158115"/>
                    <a:pt x="197168" y="125730"/>
                    <a:pt x="163830" y="125730"/>
                  </a:cubicBezTo>
                  <a:lnTo>
                    <a:pt x="160972" y="125730"/>
                  </a:lnTo>
                  <a:cubicBezTo>
                    <a:pt x="148590" y="134303"/>
                    <a:pt x="133350" y="139065"/>
                    <a:pt x="117157" y="139065"/>
                  </a:cubicBezTo>
                  <a:cubicBezTo>
                    <a:pt x="100965" y="139065"/>
                    <a:pt x="85725" y="134303"/>
                    <a:pt x="73342" y="125730"/>
                  </a:cubicBezTo>
                  <a:lnTo>
                    <a:pt x="60960" y="125730"/>
                  </a:lnTo>
                  <a:cubicBezTo>
                    <a:pt x="27622" y="125730"/>
                    <a:pt x="0" y="158115"/>
                    <a:pt x="0" y="198120"/>
                  </a:cubicBezTo>
                  <a:cubicBezTo>
                    <a:pt x="30480" y="211455"/>
                    <a:pt x="51435" y="244793"/>
                    <a:pt x="51435" y="283845"/>
                  </a:cubicBezTo>
                  <a:lnTo>
                    <a:pt x="51435" y="389573"/>
                  </a:lnTo>
                  <a:cubicBezTo>
                    <a:pt x="51435" y="405765"/>
                    <a:pt x="44767" y="421005"/>
                    <a:pt x="34290" y="430530"/>
                  </a:cubicBezTo>
                  <a:lnTo>
                    <a:pt x="34290" y="504825"/>
                  </a:lnTo>
                  <a:cubicBezTo>
                    <a:pt x="34290" y="509588"/>
                    <a:pt x="38100" y="514350"/>
                    <a:pt x="43815" y="514350"/>
                  </a:cubicBezTo>
                  <a:lnTo>
                    <a:pt x="102870" y="514350"/>
                  </a:lnTo>
                  <a:lnTo>
                    <a:pt x="102870" y="365760"/>
                  </a:lnTo>
                  <a:cubicBezTo>
                    <a:pt x="102870" y="360045"/>
                    <a:pt x="106680" y="356235"/>
                    <a:pt x="112395" y="356235"/>
                  </a:cubicBezTo>
                  <a:cubicBezTo>
                    <a:pt x="117157" y="356235"/>
                    <a:pt x="121920" y="360045"/>
                    <a:pt x="121920" y="365760"/>
                  </a:cubicBezTo>
                  <a:lnTo>
                    <a:pt x="121920" y="514350"/>
                  </a:lnTo>
                  <a:lnTo>
                    <a:pt x="180975" y="514350"/>
                  </a:lnTo>
                  <a:cubicBezTo>
                    <a:pt x="186690" y="514350"/>
                    <a:pt x="190500" y="509588"/>
                    <a:pt x="190500" y="504825"/>
                  </a:cubicBezTo>
                  <a:lnTo>
                    <a:pt x="190500" y="430530"/>
                  </a:lnTo>
                  <a:cubicBezTo>
                    <a:pt x="180022" y="421005"/>
                    <a:pt x="173355" y="405765"/>
                    <a:pt x="173355" y="389573"/>
                  </a:cubicBezTo>
                  <a:lnTo>
                    <a:pt x="173355" y="283845"/>
                  </a:lnTo>
                  <a:close/>
                  <a:moveTo>
                    <a:pt x="117157" y="120015"/>
                  </a:moveTo>
                  <a:cubicBezTo>
                    <a:pt x="150495" y="120015"/>
                    <a:pt x="177165" y="93345"/>
                    <a:pt x="177165" y="60008"/>
                  </a:cubicBezTo>
                  <a:cubicBezTo>
                    <a:pt x="177165" y="26670"/>
                    <a:pt x="150495" y="0"/>
                    <a:pt x="117157" y="0"/>
                  </a:cubicBezTo>
                  <a:cubicBezTo>
                    <a:pt x="83820" y="0"/>
                    <a:pt x="57150" y="26670"/>
                    <a:pt x="57150" y="60008"/>
                  </a:cubicBezTo>
                  <a:cubicBezTo>
                    <a:pt x="57150" y="93345"/>
                    <a:pt x="83820" y="120015"/>
                    <a:pt x="117157" y="120015"/>
                  </a:cubicBezTo>
                  <a:close/>
                </a:path>
              </a:pathLst>
            </a:custGeom>
            <a:gradFill flip="none" rotWithShape="1">
              <a:gsLst>
                <a:gs pos="0">
                  <a:schemeClr val="accent2"/>
                </a:gs>
                <a:gs pos="100000">
                  <a:schemeClr val="accent2">
                    <a:lumMod val="60000"/>
                    <a:lumOff val="40000"/>
                  </a:schemeClr>
                </a:gs>
              </a:gsLst>
              <a:lin ang="16200000" scaled="1"/>
              <a:tileRect/>
            </a:gradFill>
            <a:ln>
              <a:noFill/>
            </a:ln>
            <a:effectLst>
              <a:outerShdw blurRad="330200" dist="25400" dir="5400000" sx="90000" sy="90000" algn="t" rotWithShape="0">
                <a:schemeClr val="accent2">
                  <a:lumMod val="75000"/>
                  <a:alpha val="2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22860" tIns="11430" rIns="22860" bIns="1143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zh-CN" altLang="en-US" sz="450" b="0" i="0" u="none" strike="noStrike" kern="1200" cap="none" spc="0" normalizeH="0" baseline="0" noProof="0">
                <a:ln>
                  <a:noFill/>
                </a:ln>
                <a:solidFill>
                  <a:srgbClr val="FFFFFF"/>
                </a:solidFill>
                <a:effectLst/>
                <a:uLnTx/>
                <a:uFillTx/>
                <a:latin typeface="Arial"/>
                <a:ea typeface="微软雅黑 Light"/>
                <a:cs typeface="+mn-cs"/>
              </a:endParaRPr>
            </a:p>
          </p:txBody>
        </p:sp>
      </p:grpSp>
      <p:grpSp>
        <p:nvGrpSpPr>
          <p:cNvPr id="86" name="Group_100947623_14:21:37_svg_ico">
            <a:extLst>
              <a:ext uri="{FF2B5EF4-FFF2-40B4-BE49-F238E27FC236}">
                <a16:creationId xmlns:a16="http://schemas.microsoft.com/office/drawing/2014/main" id="{B583D9A8-8B43-4294-94E8-90943E773E31}"/>
              </a:ext>
            </a:extLst>
          </p:cNvPr>
          <p:cNvGrpSpPr/>
          <p:nvPr/>
        </p:nvGrpSpPr>
        <p:grpSpPr>
          <a:xfrm>
            <a:off x="6926324" y="4129068"/>
            <a:ext cx="609600" cy="599122"/>
            <a:chOff x="5791200" y="3128962"/>
            <a:chExt cx="609600" cy="599122"/>
          </a:xfrm>
          <a:solidFill>
            <a:schemeClr val="accent2"/>
          </a:solidFill>
        </p:grpSpPr>
        <p:sp>
          <p:nvSpPr>
            <p:cNvPr id="87" name="任意多边形: 形状 86">
              <a:extLst>
                <a:ext uri="{FF2B5EF4-FFF2-40B4-BE49-F238E27FC236}">
                  <a16:creationId xmlns:a16="http://schemas.microsoft.com/office/drawing/2014/main" id="{8D0931FF-FE13-4812-ABB5-E78405A99AF8}"/>
                </a:ext>
              </a:extLst>
            </p:cNvPr>
            <p:cNvSpPr/>
            <p:nvPr/>
          </p:nvSpPr>
          <p:spPr>
            <a:xfrm>
              <a:off x="5791200" y="3213734"/>
              <a:ext cx="609600" cy="514350"/>
            </a:xfrm>
            <a:custGeom>
              <a:avLst/>
              <a:gdLst>
                <a:gd name="connsiteX0" fmla="*/ 163830 w 609600"/>
                <a:gd name="connsiteY0" fmla="*/ 125730 h 514350"/>
                <a:gd name="connsiteX1" fmla="*/ 160973 w 609600"/>
                <a:gd name="connsiteY1" fmla="*/ 125730 h 514350"/>
                <a:gd name="connsiteX2" fmla="*/ 117158 w 609600"/>
                <a:gd name="connsiteY2" fmla="*/ 139065 h 514350"/>
                <a:gd name="connsiteX3" fmla="*/ 73343 w 609600"/>
                <a:gd name="connsiteY3" fmla="*/ 125730 h 514350"/>
                <a:gd name="connsiteX4" fmla="*/ 60960 w 609600"/>
                <a:gd name="connsiteY4" fmla="*/ 125730 h 514350"/>
                <a:gd name="connsiteX5" fmla="*/ 0 w 609600"/>
                <a:gd name="connsiteY5" fmla="*/ 199073 h 514350"/>
                <a:gd name="connsiteX6" fmla="*/ 0 w 609600"/>
                <a:gd name="connsiteY6" fmla="*/ 304800 h 514350"/>
                <a:gd name="connsiteX7" fmla="*/ 30480 w 609600"/>
                <a:gd name="connsiteY7" fmla="*/ 340043 h 514350"/>
                <a:gd name="connsiteX8" fmla="*/ 34290 w 609600"/>
                <a:gd name="connsiteY8" fmla="*/ 340043 h 514350"/>
                <a:gd name="connsiteX9" fmla="*/ 34290 w 609600"/>
                <a:gd name="connsiteY9" fmla="*/ 504825 h 514350"/>
                <a:gd name="connsiteX10" fmla="*/ 43815 w 609600"/>
                <a:gd name="connsiteY10" fmla="*/ 514350 h 514350"/>
                <a:gd name="connsiteX11" fmla="*/ 102870 w 609600"/>
                <a:gd name="connsiteY11" fmla="*/ 514350 h 514350"/>
                <a:gd name="connsiteX12" fmla="*/ 102870 w 609600"/>
                <a:gd name="connsiteY12" fmla="*/ 365760 h 514350"/>
                <a:gd name="connsiteX13" fmla="*/ 112395 w 609600"/>
                <a:gd name="connsiteY13" fmla="*/ 356235 h 514350"/>
                <a:gd name="connsiteX14" fmla="*/ 121920 w 609600"/>
                <a:gd name="connsiteY14" fmla="*/ 365760 h 514350"/>
                <a:gd name="connsiteX15" fmla="*/ 121920 w 609600"/>
                <a:gd name="connsiteY15" fmla="*/ 514350 h 514350"/>
                <a:gd name="connsiteX16" fmla="*/ 180975 w 609600"/>
                <a:gd name="connsiteY16" fmla="*/ 514350 h 514350"/>
                <a:gd name="connsiteX17" fmla="*/ 190500 w 609600"/>
                <a:gd name="connsiteY17" fmla="*/ 504825 h 514350"/>
                <a:gd name="connsiteX18" fmla="*/ 190500 w 609600"/>
                <a:gd name="connsiteY18" fmla="*/ 340043 h 514350"/>
                <a:gd name="connsiteX19" fmla="*/ 194310 w 609600"/>
                <a:gd name="connsiteY19" fmla="*/ 340043 h 514350"/>
                <a:gd name="connsiteX20" fmla="*/ 224790 w 609600"/>
                <a:gd name="connsiteY20" fmla="*/ 304800 h 514350"/>
                <a:gd name="connsiteX21" fmla="*/ 224790 w 609600"/>
                <a:gd name="connsiteY21" fmla="*/ 199073 h 514350"/>
                <a:gd name="connsiteX22" fmla="*/ 163830 w 609600"/>
                <a:gd name="connsiteY22" fmla="*/ 125730 h 514350"/>
                <a:gd name="connsiteX23" fmla="*/ 117158 w 609600"/>
                <a:gd name="connsiteY23" fmla="*/ 120015 h 514350"/>
                <a:gd name="connsiteX24" fmla="*/ 177165 w 609600"/>
                <a:gd name="connsiteY24" fmla="*/ 60008 h 514350"/>
                <a:gd name="connsiteX25" fmla="*/ 117158 w 609600"/>
                <a:gd name="connsiteY25" fmla="*/ 0 h 514350"/>
                <a:gd name="connsiteX26" fmla="*/ 57150 w 609600"/>
                <a:gd name="connsiteY26" fmla="*/ 60008 h 514350"/>
                <a:gd name="connsiteX27" fmla="*/ 117158 w 609600"/>
                <a:gd name="connsiteY27" fmla="*/ 120015 h 514350"/>
                <a:gd name="connsiteX28" fmla="*/ 548640 w 609600"/>
                <a:gd name="connsiteY28" fmla="*/ 125730 h 514350"/>
                <a:gd name="connsiteX29" fmla="*/ 545783 w 609600"/>
                <a:gd name="connsiteY29" fmla="*/ 125730 h 514350"/>
                <a:gd name="connsiteX30" fmla="*/ 501968 w 609600"/>
                <a:gd name="connsiteY30" fmla="*/ 139065 h 514350"/>
                <a:gd name="connsiteX31" fmla="*/ 458153 w 609600"/>
                <a:gd name="connsiteY31" fmla="*/ 125730 h 514350"/>
                <a:gd name="connsiteX32" fmla="*/ 445770 w 609600"/>
                <a:gd name="connsiteY32" fmla="*/ 125730 h 514350"/>
                <a:gd name="connsiteX33" fmla="*/ 384810 w 609600"/>
                <a:gd name="connsiteY33" fmla="*/ 199073 h 514350"/>
                <a:gd name="connsiteX34" fmla="*/ 384810 w 609600"/>
                <a:gd name="connsiteY34" fmla="*/ 304800 h 514350"/>
                <a:gd name="connsiteX35" fmla="*/ 415290 w 609600"/>
                <a:gd name="connsiteY35" fmla="*/ 340043 h 514350"/>
                <a:gd name="connsiteX36" fmla="*/ 419100 w 609600"/>
                <a:gd name="connsiteY36" fmla="*/ 340043 h 514350"/>
                <a:gd name="connsiteX37" fmla="*/ 419100 w 609600"/>
                <a:gd name="connsiteY37" fmla="*/ 504825 h 514350"/>
                <a:gd name="connsiteX38" fmla="*/ 428625 w 609600"/>
                <a:gd name="connsiteY38" fmla="*/ 514350 h 514350"/>
                <a:gd name="connsiteX39" fmla="*/ 487680 w 609600"/>
                <a:gd name="connsiteY39" fmla="*/ 514350 h 514350"/>
                <a:gd name="connsiteX40" fmla="*/ 487680 w 609600"/>
                <a:gd name="connsiteY40" fmla="*/ 365760 h 514350"/>
                <a:gd name="connsiteX41" fmla="*/ 497205 w 609600"/>
                <a:gd name="connsiteY41" fmla="*/ 356235 h 514350"/>
                <a:gd name="connsiteX42" fmla="*/ 506730 w 609600"/>
                <a:gd name="connsiteY42" fmla="*/ 365760 h 514350"/>
                <a:gd name="connsiteX43" fmla="*/ 506730 w 609600"/>
                <a:gd name="connsiteY43" fmla="*/ 514350 h 514350"/>
                <a:gd name="connsiteX44" fmla="*/ 565785 w 609600"/>
                <a:gd name="connsiteY44" fmla="*/ 514350 h 514350"/>
                <a:gd name="connsiteX45" fmla="*/ 575310 w 609600"/>
                <a:gd name="connsiteY45" fmla="*/ 504825 h 514350"/>
                <a:gd name="connsiteX46" fmla="*/ 575310 w 609600"/>
                <a:gd name="connsiteY46" fmla="*/ 340043 h 514350"/>
                <a:gd name="connsiteX47" fmla="*/ 579120 w 609600"/>
                <a:gd name="connsiteY47" fmla="*/ 340043 h 514350"/>
                <a:gd name="connsiteX48" fmla="*/ 609600 w 609600"/>
                <a:gd name="connsiteY48" fmla="*/ 304800 h 514350"/>
                <a:gd name="connsiteX49" fmla="*/ 609600 w 609600"/>
                <a:gd name="connsiteY49" fmla="*/ 199073 h 514350"/>
                <a:gd name="connsiteX50" fmla="*/ 548640 w 609600"/>
                <a:gd name="connsiteY50" fmla="*/ 125730 h 514350"/>
                <a:gd name="connsiteX51" fmla="*/ 501968 w 609600"/>
                <a:gd name="connsiteY51" fmla="*/ 120015 h 514350"/>
                <a:gd name="connsiteX52" fmla="*/ 561975 w 609600"/>
                <a:gd name="connsiteY52" fmla="*/ 60008 h 514350"/>
                <a:gd name="connsiteX53" fmla="*/ 501968 w 609600"/>
                <a:gd name="connsiteY53" fmla="*/ 0 h 514350"/>
                <a:gd name="connsiteX54" fmla="*/ 441960 w 609600"/>
                <a:gd name="connsiteY54" fmla="*/ 60008 h 514350"/>
                <a:gd name="connsiteX55" fmla="*/ 501968 w 609600"/>
                <a:gd name="connsiteY55" fmla="*/ 120015 h 514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609600" h="514350">
                  <a:moveTo>
                    <a:pt x="163830" y="125730"/>
                  </a:moveTo>
                  <a:lnTo>
                    <a:pt x="160973" y="125730"/>
                  </a:lnTo>
                  <a:cubicBezTo>
                    <a:pt x="148590" y="134303"/>
                    <a:pt x="133350" y="139065"/>
                    <a:pt x="117158" y="139065"/>
                  </a:cubicBezTo>
                  <a:cubicBezTo>
                    <a:pt x="100965" y="139065"/>
                    <a:pt x="85725" y="134303"/>
                    <a:pt x="73343" y="125730"/>
                  </a:cubicBezTo>
                  <a:lnTo>
                    <a:pt x="60960" y="125730"/>
                  </a:lnTo>
                  <a:cubicBezTo>
                    <a:pt x="27623" y="125730"/>
                    <a:pt x="0" y="158115"/>
                    <a:pt x="0" y="199073"/>
                  </a:cubicBezTo>
                  <a:lnTo>
                    <a:pt x="0" y="304800"/>
                  </a:lnTo>
                  <a:cubicBezTo>
                    <a:pt x="0" y="323850"/>
                    <a:pt x="13335" y="340043"/>
                    <a:pt x="30480" y="340043"/>
                  </a:cubicBezTo>
                  <a:lnTo>
                    <a:pt x="34290" y="340043"/>
                  </a:lnTo>
                  <a:lnTo>
                    <a:pt x="34290" y="504825"/>
                  </a:lnTo>
                  <a:cubicBezTo>
                    <a:pt x="34290" y="509588"/>
                    <a:pt x="38100" y="514350"/>
                    <a:pt x="43815" y="514350"/>
                  </a:cubicBezTo>
                  <a:lnTo>
                    <a:pt x="102870" y="514350"/>
                  </a:lnTo>
                  <a:lnTo>
                    <a:pt x="102870" y="365760"/>
                  </a:lnTo>
                  <a:cubicBezTo>
                    <a:pt x="102870" y="360998"/>
                    <a:pt x="107633" y="356235"/>
                    <a:pt x="112395" y="356235"/>
                  </a:cubicBezTo>
                  <a:cubicBezTo>
                    <a:pt x="118110" y="356235"/>
                    <a:pt x="121920" y="360998"/>
                    <a:pt x="121920" y="365760"/>
                  </a:cubicBezTo>
                  <a:lnTo>
                    <a:pt x="121920" y="514350"/>
                  </a:lnTo>
                  <a:lnTo>
                    <a:pt x="180975" y="514350"/>
                  </a:lnTo>
                  <a:cubicBezTo>
                    <a:pt x="186690" y="514350"/>
                    <a:pt x="190500" y="509588"/>
                    <a:pt x="190500" y="504825"/>
                  </a:cubicBezTo>
                  <a:lnTo>
                    <a:pt x="190500" y="340043"/>
                  </a:lnTo>
                  <a:lnTo>
                    <a:pt x="194310" y="340043"/>
                  </a:lnTo>
                  <a:cubicBezTo>
                    <a:pt x="211455" y="340043"/>
                    <a:pt x="224790" y="323850"/>
                    <a:pt x="224790" y="304800"/>
                  </a:cubicBezTo>
                  <a:lnTo>
                    <a:pt x="224790" y="199073"/>
                  </a:lnTo>
                  <a:cubicBezTo>
                    <a:pt x="224790" y="159068"/>
                    <a:pt x="197168" y="125730"/>
                    <a:pt x="163830" y="125730"/>
                  </a:cubicBezTo>
                  <a:close/>
                  <a:moveTo>
                    <a:pt x="117158" y="120015"/>
                  </a:moveTo>
                  <a:cubicBezTo>
                    <a:pt x="150495" y="120015"/>
                    <a:pt x="177165" y="93345"/>
                    <a:pt x="177165" y="60008"/>
                  </a:cubicBezTo>
                  <a:cubicBezTo>
                    <a:pt x="177165" y="26670"/>
                    <a:pt x="150495" y="0"/>
                    <a:pt x="117158" y="0"/>
                  </a:cubicBezTo>
                  <a:cubicBezTo>
                    <a:pt x="83820" y="0"/>
                    <a:pt x="57150" y="26670"/>
                    <a:pt x="57150" y="60008"/>
                  </a:cubicBezTo>
                  <a:cubicBezTo>
                    <a:pt x="57150" y="93345"/>
                    <a:pt x="83820" y="120015"/>
                    <a:pt x="117158" y="120015"/>
                  </a:cubicBezTo>
                  <a:close/>
                  <a:moveTo>
                    <a:pt x="548640" y="125730"/>
                  </a:moveTo>
                  <a:lnTo>
                    <a:pt x="545783" y="125730"/>
                  </a:lnTo>
                  <a:cubicBezTo>
                    <a:pt x="533400" y="134303"/>
                    <a:pt x="518160" y="139065"/>
                    <a:pt x="501968" y="139065"/>
                  </a:cubicBezTo>
                  <a:cubicBezTo>
                    <a:pt x="485775" y="139065"/>
                    <a:pt x="470535" y="134303"/>
                    <a:pt x="458153" y="125730"/>
                  </a:cubicBezTo>
                  <a:lnTo>
                    <a:pt x="445770" y="125730"/>
                  </a:lnTo>
                  <a:cubicBezTo>
                    <a:pt x="412433" y="125730"/>
                    <a:pt x="384810" y="158115"/>
                    <a:pt x="384810" y="199073"/>
                  </a:cubicBezTo>
                  <a:lnTo>
                    <a:pt x="384810" y="304800"/>
                  </a:lnTo>
                  <a:cubicBezTo>
                    <a:pt x="384810" y="323850"/>
                    <a:pt x="398145" y="340043"/>
                    <a:pt x="415290" y="340043"/>
                  </a:cubicBezTo>
                  <a:lnTo>
                    <a:pt x="419100" y="340043"/>
                  </a:lnTo>
                  <a:lnTo>
                    <a:pt x="419100" y="504825"/>
                  </a:lnTo>
                  <a:cubicBezTo>
                    <a:pt x="419100" y="509588"/>
                    <a:pt x="422910" y="514350"/>
                    <a:pt x="428625" y="514350"/>
                  </a:cubicBezTo>
                  <a:lnTo>
                    <a:pt x="487680" y="514350"/>
                  </a:lnTo>
                  <a:lnTo>
                    <a:pt x="487680" y="365760"/>
                  </a:lnTo>
                  <a:cubicBezTo>
                    <a:pt x="487680" y="360998"/>
                    <a:pt x="492443" y="356235"/>
                    <a:pt x="497205" y="356235"/>
                  </a:cubicBezTo>
                  <a:cubicBezTo>
                    <a:pt x="501968" y="356235"/>
                    <a:pt x="506730" y="360998"/>
                    <a:pt x="506730" y="365760"/>
                  </a:cubicBezTo>
                  <a:lnTo>
                    <a:pt x="506730" y="514350"/>
                  </a:lnTo>
                  <a:lnTo>
                    <a:pt x="565785" y="514350"/>
                  </a:lnTo>
                  <a:cubicBezTo>
                    <a:pt x="571500" y="514350"/>
                    <a:pt x="575310" y="509588"/>
                    <a:pt x="575310" y="504825"/>
                  </a:cubicBezTo>
                  <a:lnTo>
                    <a:pt x="575310" y="340043"/>
                  </a:lnTo>
                  <a:lnTo>
                    <a:pt x="579120" y="340043"/>
                  </a:lnTo>
                  <a:cubicBezTo>
                    <a:pt x="596265" y="340043"/>
                    <a:pt x="609600" y="323850"/>
                    <a:pt x="609600" y="304800"/>
                  </a:cubicBezTo>
                  <a:lnTo>
                    <a:pt x="609600" y="199073"/>
                  </a:lnTo>
                  <a:cubicBezTo>
                    <a:pt x="609600" y="159068"/>
                    <a:pt x="581978" y="125730"/>
                    <a:pt x="548640" y="125730"/>
                  </a:cubicBezTo>
                  <a:close/>
                  <a:moveTo>
                    <a:pt x="501968" y="120015"/>
                  </a:moveTo>
                  <a:cubicBezTo>
                    <a:pt x="535305" y="120015"/>
                    <a:pt x="561975" y="93345"/>
                    <a:pt x="561975" y="60008"/>
                  </a:cubicBezTo>
                  <a:cubicBezTo>
                    <a:pt x="561975" y="26670"/>
                    <a:pt x="535305" y="0"/>
                    <a:pt x="501968" y="0"/>
                  </a:cubicBezTo>
                  <a:cubicBezTo>
                    <a:pt x="468630" y="0"/>
                    <a:pt x="441960" y="26670"/>
                    <a:pt x="441960" y="60008"/>
                  </a:cubicBezTo>
                  <a:cubicBezTo>
                    <a:pt x="441960" y="93345"/>
                    <a:pt x="468630" y="120015"/>
                    <a:pt x="501968" y="120015"/>
                  </a:cubicBezTo>
                  <a:close/>
                </a:path>
              </a:pathLst>
            </a:custGeom>
            <a:gradFill flip="none" rotWithShape="1">
              <a:gsLst>
                <a:gs pos="0">
                  <a:schemeClr val="accent2"/>
                </a:gs>
                <a:gs pos="100000">
                  <a:schemeClr val="accent2">
                    <a:lumMod val="60000"/>
                    <a:lumOff val="40000"/>
                  </a:schemeClr>
                </a:gs>
              </a:gsLst>
              <a:lin ang="16200000" scaled="1"/>
              <a:tileRect/>
            </a:gradFill>
            <a:ln>
              <a:noFill/>
            </a:ln>
            <a:effectLst>
              <a:outerShdw blurRad="330200" dist="25400" dir="5400000" sx="90000" sy="90000" algn="t" rotWithShape="0">
                <a:schemeClr val="accent2">
                  <a:lumMod val="75000"/>
                  <a:alpha val="2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22860" tIns="11430" rIns="22860" bIns="1143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zh-CN" altLang="en-US" sz="450" b="0" i="0" u="none" strike="noStrike" kern="1200" cap="none" spc="0" normalizeH="0" baseline="0" noProof="0">
                <a:ln>
                  <a:noFill/>
                </a:ln>
                <a:solidFill>
                  <a:srgbClr val="FFFFFF"/>
                </a:solidFill>
                <a:effectLst/>
                <a:uLnTx/>
                <a:uFillTx/>
                <a:latin typeface="Arial"/>
                <a:ea typeface="微软雅黑 Light"/>
                <a:cs typeface="+mn-cs"/>
              </a:endParaRPr>
            </a:p>
          </p:txBody>
        </p:sp>
        <p:sp>
          <p:nvSpPr>
            <p:cNvPr id="88" name="任意多边形: 形状 87">
              <a:extLst>
                <a:ext uri="{FF2B5EF4-FFF2-40B4-BE49-F238E27FC236}">
                  <a16:creationId xmlns:a16="http://schemas.microsoft.com/office/drawing/2014/main" id="{A0670976-7CF8-4540-9B25-2454C5472942}"/>
                </a:ext>
              </a:extLst>
            </p:cNvPr>
            <p:cNvSpPr/>
            <p:nvPr/>
          </p:nvSpPr>
          <p:spPr>
            <a:xfrm>
              <a:off x="5983605" y="3128962"/>
              <a:ext cx="224789" cy="514350"/>
            </a:xfrm>
            <a:custGeom>
              <a:avLst/>
              <a:gdLst>
                <a:gd name="connsiteX0" fmla="*/ 173355 w 224789"/>
                <a:gd name="connsiteY0" fmla="*/ 283845 h 514350"/>
                <a:gd name="connsiteX1" fmla="*/ 224790 w 224789"/>
                <a:gd name="connsiteY1" fmla="*/ 198120 h 514350"/>
                <a:gd name="connsiteX2" fmla="*/ 163830 w 224789"/>
                <a:gd name="connsiteY2" fmla="*/ 125730 h 514350"/>
                <a:gd name="connsiteX3" fmla="*/ 160972 w 224789"/>
                <a:gd name="connsiteY3" fmla="*/ 125730 h 514350"/>
                <a:gd name="connsiteX4" fmla="*/ 117157 w 224789"/>
                <a:gd name="connsiteY4" fmla="*/ 139065 h 514350"/>
                <a:gd name="connsiteX5" fmla="*/ 73342 w 224789"/>
                <a:gd name="connsiteY5" fmla="*/ 125730 h 514350"/>
                <a:gd name="connsiteX6" fmla="*/ 60960 w 224789"/>
                <a:gd name="connsiteY6" fmla="*/ 125730 h 514350"/>
                <a:gd name="connsiteX7" fmla="*/ 0 w 224789"/>
                <a:gd name="connsiteY7" fmla="*/ 198120 h 514350"/>
                <a:gd name="connsiteX8" fmla="*/ 51435 w 224789"/>
                <a:gd name="connsiteY8" fmla="*/ 283845 h 514350"/>
                <a:gd name="connsiteX9" fmla="*/ 51435 w 224789"/>
                <a:gd name="connsiteY9" fmla="*/ 389573 h 514350"/>
                <a:gd name="connsiteX10" fmla="*/ 34290 w 224789"/>
                <a:gd name="connsiteY10" fmla="*/ 430530 h 514350"/>
                <a:gd name="connsiteX11" fmla="*/ 34290 w 224789"/>
                <a:gd name="connsiteY11" fmla="*/ 504825 h 514350"/>
                <a:gd name="connsiteX12" fmla="*/ 43815 w 224789"/>
                <a:gd name="connsiteY12" fmla="*/ 514350 h 514350"/>
                <a:gd name="connsiteX13" fmla="*/ 102870 w 224789"/>
                <a:gd name="connsiteY13" fmla="*/ 514350 h 514350"/>
                <a:gd name="connsiteX14" fmla="*/ 102870 w 224789"/>
                <a:gd name="connsiteY14" fmla="*/ 365760 h 514350"/>
                <a:gd name="connsiteX15" fmla="*/ 112395 w 224789"/>
                <a:gd name="connsiteY15" fmla="*/ 356235 h 514350"/>
                <a:gd name="connsiteX16" fmla="*/ 121920 w 224789"/>
                <a:gd name="connsiteY16" fmla="*/ 365760 h 514350"/>
                <a:gd name="connsiteX17" fmla="*/ 121920 w 224789"/>
                <a:gd name="connsiteY17" fmla="*/ 514350 h 514350"/>
                <a:gd name="connsiteX18" fmla="*/ 180975 w 224789"/>
                <a:gd name="connsiteY18" fmla="*/ 514350 h 514350"/>
                <a:gd name="connsiteX19" fmla="*/ 190500 w 224789"/>
                <a:gd name="connsiteY19" fmla="*/ 504825 h 514350"/>
                <a:gd name="connsiteX20" fmla="*/ 190500 w 224789"/>
                <a:gd name="connsiteY20" fmla="*/ 430530 h 514350"/>
                <a:gd name="connsiteX21" fmla="*/ 173355 w 224789"/>
                <a:gd name="connsiteY21" fmla="*/ 389573 h 514350"/>
                <a:gd name="connsiteX22" fmla="*/ 173355 w 224789"/>
                <a:gd name="connsiteY22" fmla="*/ 283845 h 514350"/>
                <a:gd name="connsiteX23" fmla="*/ 117157 w 224789"/>
                <a:gd name="connsiteY23" fmla="*/ 120015 h 514350"/>
                <a:gd name="connsiteX24" fmla="*/ 177165 w 224789"/>
                <a:gd name="connsiteY24" fmla="*/ 60008 h 514350"/>
                <a:gd name="connsiteX25" fmla="*/ 117157 w 224789"/>
                <a:gd name="connsiteY25" fmla="*/ 0 h 514350"/>
                <a:gd name="connsiteX26" fmla="*/ 57150 w 224789"/>
                <a:gd name="connsiteY26" fmla="*/ 60008 h 514350"/>
                <a:gd name="connsiteX27" fmla="*/ 117157 w 224789"/>
                <a:gd name="connsiteY27" fmla="*/ 120015 h 514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24789" h="514350">
                  <a:moveTo>
                    <a:pt x="173355" y="283845"/>
                  </a:moveTo>
                  <a:cubicBezTo>
                    <a:pt x="173355" y="244793"/>
                    <a:pt x="195263" y="211455"/>
                    <a:pt x="224790" y="198120"/>
                  </a:cubicBezTo>
                  <a:cubicBezTo>
                    <a:pt x="224790" y="158115"/>
                    <a:pt x="197168" y="125730"/>
                    <a:pt x="163830" y="125730"/>
                  </a:cubicBezTo>
                  <a:lnTo>
                    <a:pt x="160972" y="125730"/>
                  </a:lnTo>
                  <a:cubicBezTo>
                    <a:pt x="148590" y="134303"/>
                    <a:pt x="133350" y="139065"/>
                    <a:pt x="117157" y="139065"/>
                  </a:cubicBezTo>
                  <a:cubicBezTo>
                    <a:pt x="100965" y="139065"/>
                    <a:pt x="85725" y="134303"/>
                    <a:pt x="73342" y="125730"/>
                  </a:cubicBezTo>
                  <a:lnTo>
                    <a:pt x="60960" y="125730"/>
                  </a:lnTo>
                  <a:cubicBezTo>
                    <a:pt x="27622" y="125730"/>
                    <a:pt x="0" y="158115"/>
                    <a:pt x="0" y="198120"/>
                  </a:cubicBezTo>
                  <a:cubicBezTo>
                    <a:pt x="30480" y="211455"/>
                    <a:pt x="51435" y="244793"/>
                    <a:pt x="51435" y="283845"/>
                  </a:cubicBezTo>
                  <a:lnTo>
                    <a:pt x="51435" y="389573"/>
                  </a:lnTo>
                  <a:cubicBezTo>
                    <a:pt x="51435" y="405765"/>
                    <a:pt x="44767" y="421005"/>
                    <a:pt x="34290" y="430530"/>
                  </a:cubicBezTo>
                  <a:lnTo>
                    <a:pt x="34290" y="504825"/>
                  </a:lnTo>
                  <a:cubicBezTo>
                    <a:pt x="34290" y="509588"/>
                    <a:pt x="38100" y="514350"/>
                    <a:pt x="43815" y="514350"/>
                  </a:cubicBezTo>
                  <a:lnTo>
                    <a:pt x="102870" y="514350"/>
                  </a:lnTo>
                  <a:lnTo>
                    <a:pt x="102870" y="365760"/>
                  </a:lnTo>
                  <a:cubicBezTo>
                    <a:pt x="102870" y="360045"/>
                    <a:pt x="106680" y="356235"/>
                    <a:pt x="112395" y="356235"/>
                  </a:cubicBezTo>
                  <a:cubicBezTo>
                    <a:pt x="117157" y="356235"/>
                    <a:pt x="121920" y="360045"/>
                    <a:pt x="121920" y="365760"/>
                  </a:cubicBezTo>
                  <a:lnTo>
                    <a:pt x="121920" y="514350"/>
                  </a:lnTo>
                  <a:lnTo>
                    <a:pt x="180975" y="514350"/>
                  </a:lnTo>
                  <a:cubicBezTo>
                    <a:pt x="186690" y="514350"/>
                    <a:pt x="190500" y="509588"/>
                    <a:pt x="190500" y="504825"/>
                  </a:cubicBezTo>
                  <a:lnTo>
                    <a:pt x="190500" y="430530"/>
                  </a:lnTo>
                  <a:cubicBezTo>
                    <a:pt x="180022" y="421005"/>
                    <a:pt x="173355" y="405765"/>
                    <a:pt x="173355" y="389573"/>
                  </a:cubicBezTo>
                  <a:lnTo>
                    <a:pt x="173355" y="283845"/>
                  </a:lnTo>
                  <a:close/>
                  <a:moveTo>
                    <a:pt x="117157" y="120015"/>
                  </a:moveTo>
                  <a:cubicBezTo>
                    <a:pt x="150495" y="120015"/>
                    <a:pt x="177165" y="93345"/>
                    <a:pt x="177165" y="60008"/>
                  </a:cubicBezTo>
                  <a:cubicBezTo>
                    <a:pt x="177165" y="26670"/>
                    <a:pt x="150495" y="0"/>
                    <a:pt x="117157" y="0"/>
                  </a:cubicBezTo>
                  <a:cubicBezTo>
                    <a:pt x="83820" y="0"/>
                    <a:pt x="57150" y="26670"/>
                    <a:pt x="57150" y="60008"/>
                  </a:cubicBezTo>
                  <a:cubicBezTo>
                    <a:pt x="57150" y="93345"/>
                    <a:pt x="83820" y="120015"/>
                    <a:pt x="117157" y="120015"/>
                  </a:cubicBezTo>
                  <a:close/>
                </a:path>
              </a:pathLst>
            </a:custGeom>
            <a:gradFill flip="none" rotWithShape="1">
              <a:gsLst>
                <a:gs pos="0">
                  <a:schemeClr val="accent2"/>
                </a:gs>
                <a:gs pos="100000">
                  <a:schemeClr val="accent2">
                    <a:lumMod val="60000"/>
                    <a:lumOff val="40000"/>
                  </a:schemeClr>
                </a:gs>
              </a:gsLst>
              <a:lin ang="16200000" scaled="1"/>
              <a:tileRect/>
            </a:gradFill>
            <a:ln>
              <a:noFill/>
            </a:ln>
            <a:effectLst>
              <a:outerShdw blurRad="330200" dist="25400" dir="5400000" sx="90000" sy="90000" algn="t" rotWithShape="0">
                <a:schemeClr val="accent2">
                  <a:lumMod val="75000"/>
                  <a:alpha val="2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22860" tIns="11430" rIns="22860" bIns="1143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zh-CN" altLang="en-US" sz="450" b="0" i="0" u="none" strike="noStrike" kern="1200" cap="none" spc="0" normalizeH="0" baseline="0" noProof="0">
                <a:ln>
                  <a:noFill/>
                </a:ln>
                <a:solidFill>
                  <a:srgbClr val="FFFFFF"/>
                </a:solidFill>
                <a:effectLst/>
                <a:uLnTx/>
                <a:uFillTx/>
                <a:latin typeface="Arial"/>
                <a:ea typeface="微软雅黑 Light"/>
                <a:cs typeface="+mn-cs"/>
              </a:endParaRPr>
            </a:p>
          </p:txBody>
        </p:sp>
      </p:grpSp>
      <p:grpSp>
        <p:nvGrpSpPr>
          <p:cNvPr id="89" name="Group_100947623_14:21:37_svg_ico">
            <a:extLst>
              <a:ext uri="{FF2B5EF4-FFF2-40B4-BE49-F238E27FC236}">
                <a16:creationId xmlns:a16="http://schemas.microsoft.com/office/drawing/2014/main" id="{41BCB7D3-3D81-42AB-8457-A934EB1ABCB6}"/>
              </a:ext>
            </a:extLst>
          </p:cNvPr>
          <p:cNvGrpSpPr/>
          <p:nvPr/>
        </p:nvGrpSpPr>
        <p:grpSpPr>
          <a:xfrm>
            <a:off x="4685788" y="4129068"/>
            <a:ext cx="609600" cy="599122"/>
            <a:chOff x="5791200" y="3128962"/>
            <a:chExt cx="609600" cy="599122"/>
          </a:xfrm>
          <a:solidFill>
            <a:schemeClr val="accent2"/>
          </a:solidFill>
        </p:grpSpPr>
        <p:sp>
          <p:nvSpPr>
            <p:cNvPr id="90" name="任意多边形: 形状 89">
              <a:extLst>
                <a:ext uri="{FF2B5EF4-FFF2-40B4-BE49-F238E27FC236}">
                  <a16:creationId xmlns:a16="http://schemas.microsoft.com/office/drawing/2014/main" id="{DDFAAE3C-1B53-40C2-A549-BA0C25FFEAB8}"/>
                </a:ext>
              </a:extLst>
            </p:cNvPr>
            <p:cNvSpPr/>
            <p:nvPr/>
          </p:nvSpPr>
          <p:spPr>
            <a:xfrm>
              <a:off x="5791200" y="3213734"/>
              <a:ext cx="609600" cy="514350"/>
            </a:xfrm>
            <a:custGeom>
              <a:avLst/>
              <a:gdLst>
                <a:gd name="connsiteX0" fmla="*/ 163830 w 609600"/>
                <a:gd name="connsiteY0" fmla="*/ 125730 h 514350"/>
                <a:gd name="connsiteX1" fmla="*/ 160973 w 609600"/>
                <a:gd name="connsiteY1" fmla="*/ 125730 h 514350"/>
                <a:gd name="connsiteX2" fmla="*/ 117158 w 609600"/>
                <a:gd name="connsiteY2" fmla="*/ 139065 h 514350"/>
                <a:gd name="connsiteX3" fmla="*/ 73343 w 609600"/>
                <a:gd name="connsiteY3" fmla="*/ 125730 h 514350"/>
                <a:gd name="connsiteX4" fmla="*/ 60960 w 609600"/>
                <a:gd name="connsiteY4" fmla="*/ 125730 h 514350"/>
                <a:gd name="connsiteX5" fmla="*/ 0 w 609600"/>
                <a:gd name="connsiteY5" fmla="*/ 199073 h 514350"/>
                <a:gd name="connsiteX6" fmla="*/ 0 w 609600"/>
                <a:gd name="connsiteY6" fmla="*/ 304800 h 514350"/>
                <a:gd name="connsiteX7" fmla="*/ 30480 w 609600"/>
                <a:gd name="connsiteY7" fmla="*/ 340043 h 514350"/>
                <a:gd name="connsiteX8" fmla="*/ 34290 w 609600"/>
                <a:gd name="connsiteY8" fmla="*/ 340043 h 514350"/>
                <a:gd name="connsiteX9" fmla="*/ 34290 w 609600"/>
                <a:gd name="connsiteY9" fmla="*/ 504825 h 514350"/>
                <a:gd name="connsiteX10" fmla="*/ 43815 w 609600"/>
                <a:gd name="connsiteY10" fmla="*/ 514350 h 514350"/>
                <a:gd name="connsiteX11" fmla="*/ 102870 w 609600"/>
                <a:gd name="connsiteY11" fmla="*/ 514350 h 514350"/>
                <a:gd name="connsiteX12" fmla="*/ 102870 w 609600"/>
                <a:gd name="connsiteY12" fmla="*/ 365760 h 514350"/>
                <a:gd name="connsiteX13" fmla="*/ 112395 w 609600"/>
                <a:gd name="connsiteY13" fmla="*/ 356235 h 514350"/>
                <a:gd name="connsiteX14" fmla="*/ 121920 w 609600"/>
                <a:gd name="connsiteY14" fmla="*/ 365760 h 514350"/>
                <a:gd name="connsiteX15" fmla="*/ 121920 w 609600"/>
                <a:gd name="connsiteY15" fmla="*/ 514350 h 514350"/>
                <a:gd name="connsiteX16" fmla="*/ 180975 w 609600"/>
                <a:gd name="connsiteY16" fmla="*/ 514350 h 514350"/>
                <a:gd name="connsiteX17" fmla="*/ 190500 w 609600"/>
                <a:gd name="connsiteY17" fmla="*/ 504825 h 514350"/>
                <a:gd name="connsiteX18" fmla="*/ 190500 w 609600"/>
                <a:gd name="connsiteY18" fmla="*/ 340043 h 514350"/>
                <a:gd name="connsiteX19" fmla="*/ 194310 w 609600"/>
                <a:gd name="connsiteY19" fmla="*/ 340043 h 514350"/>
                <a:gd name="connsiteX20" fmla="*/ 224790 w 609600"/>
                <a:gd name="connsiteY20" fmla="*/ 304800 h 514350"/>
                <a:gd name="connsiteX21" fmla="*/ 224790 w 609600"/>
                <a:gd name="connsiteY21" fmla="*/ 199073 h 514350"/>
                <a:gd name="connsiteX22" fmla="*/ 163830 w 609600"/>
                <a:gd name="connsiteY22" fmla="*/ 125730 h 514350"/>
                <a:gd name="connsiteX23" fmla="*/ 117158 w 609600"/>
                <a:gd name="connsiteY23" fmla="*/ 120015 h 514350"/>
                <a:gd name="connsiteX24" fmla="*/ 177165 w 609600"/>
                <a:gd name="connsiteY24" fmla="*/ 60008 h 514350"/>
                <a:gd name="connsiteX25" fmla="*/ 117158 w 609600"/>
                <a:gd name="connsiteY25" fmla="*/ 0 h 514350"/>
                <a:gd name="connsiteX26" fmla="*/ 57150 w 609600"/>
                <a:gd name="connsiteY26" fmla="*/ 60008 h 514350"/>
                <a:gd name="connsiteX27" fmla="*/ 117158 w 609600"/>
                <a:gd name="connsiteY27" fmla="*/ 120015 h 514350"/>
                <a:gd name="connsiteX28" fmla="*/ 548640 w 609600"/>
                <a:gd name="connsiteY28" fmla="*/ 125730 h 514350"/>
                <a:gd name="connsiteX29" fmla="*/ 545783 w 609600"/>
                <a:gd name="connsiteY29" fmla="*/ 125730 h 514350"/>
                <a:gd name="connsiteX30" fmla="*/ 501968 w 609600"/>
                <a:gd name="connsiteY30" fmla="*/ 139065 h 514350"/>
                <a:gd name="connsiteX31" fmla="*/ 458153 w 609600"/>
                <a:gd name="connsiteY31" fmla="*/ 125730 h 514350"/>
                <a:gd name="connsiteX32" fmla="*/ 445770 w 609600"/>
                <a:gd name="connsiteY32" fmla="*/ 125730 h 514350"/>
                <a:gd name="connsiteX33" fmla="*/ 384810 w 609600"/>
                <a:gd name="connsiteY33" fmla="*/ 199073 h 514350"/>
                <a:gd name="connsiteX34" fmla="*/ 384810 w 609600"/>
                <a:gd name="connsiteY34" fmla="*/ 304800 h 514350"/>
                <a:gd name="connsiteX35" fmla="*/ 415290 w 609600"/>
                <a:gd name="connsiteY35" fmla="*/ 340043 h 514350"/>
                <a:gd name="connsiteX36" fmla="*/ 419100 w 609600"/>
                <a:gd name="connsiteY36" fmla="*/ 340043 h 514350"/>
                <a:gd name="connsiteX37" fmla="*/ 419100 w 609600"/>
                <a:gd name="connsiteY37" fmla="*/ 504825 h 514350"/>
                <a:gd name="connsiteX38" fmla="*/ 428625 w 609600"/>
                <a:gd name="connsiteY38" fmla="*/ 514350 h 514350"/>
                <a:gd name="connsiteX39" fmla="*/ 487680 w 609600"/>
                <a:gd name="connsiteY39" fmla="*/ 514350 h 514350"/>
                <a:gd name="connsiteX40" fmla="*/ 487680 w 609600"/>
                <a:gd name="connsiteY40" fmla="*/ 365760 h 514350"/>
                <a:gd name="connsiteX41" fmla="*/ 497205 w 609600"/>
                <a:gd name="connsiteY41" fmla="*/ 356235 h 514350"/>
                <a:gd name="connsiteX42" fmla="*/ 506730 w 609600"/>
                <a:gd name="connsiteY42" fmla="*/ 365760 h 514350"/>
                <a:gd name="connsiteX43" fmla="*/ 506730 w 609600"/>
                <a:gd name="connsiteY43" fmla="*/ 514350 h 514350"/>
                <a:gd name="connsiteX44" fmla="*/ 565785 w 609600"/>
                <a:gd name="connsiteY44" fmla="*/ 514350 h 514350"/>
                <a:gd name="connsiteX45" fmla="*/ 575310 w 609600"/>
                <a:gd name="connsiteY45" fmla="*/ 504825 h 514350"/>
                <a:gd name="connsiteX46" fmla="*/ 575310 w 609600"/>
                <a:gd name="connsiteY46" fmla="*/ 340043 h 514350"/>
                <a:gd name="connsiteX47" fmla="*/ 579120 w 609600"/>
                <a:gd name="connsiteY47" fmla="*/ 340043 h 514350"/>
                <a:gd name="connsiteX48" fmla="*/ 609600 w 609600"/>
                <a:gd name="connsiteY48" fmla="*/ 304800 h 514350"/>
                <a:gd name="connsiteX49" fmla="*/ 609600 w 609600"/>
                <a:gd name="connsiteY49" fmla="*/ 199073 h 514350"/>
                <a:gd name="connsiteX50" fmla="*/ 548640 w 609600"/>
                <a:gd name="connsiteY50" fmla="*/ 125730 h 514350"/>
                <a:gd name="connsiteX51" fmla="*/ 501968 w 609600"/>
                <a:gd name="connsiteY51" fmla="*/ 120015 h 514350"/>
                <a:gd name="connsiteX52" fmla="*/ 561975 w 609600"/>
                <a:gd name="connsiteY52" fmla="*/ 60008 h 514350"/>
                <a:gd name="connsiteX53" fmla="*/ 501968 w 609600"/>
                <a:gd name="connsiteY53" fmla="*/ 0 h 514350"/>
                <a:gd name="connsiteX54" fmla="*/ 441960 w 609600"/>
                <a:gd name="connsiteY54" fmla="*/ 60008 h 514350"/>
                <a:gd name="connsiteX55" fmla="*/ 501968 w 609600"/>
                <a:gd name="connsiteY55" fmla="*/ 120015 h 514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609600" h="514350">
                  <a:moveTo>
                    <a:pt x="163830" y="125730"/>
                  </a:moveTo>
                  <a:lnTo>
                    <a:pt x="160973" y="125730"/>
                  </a:lnTo>
                  <a:cubicBezTo>
                    <a:pt x="148590" y="134303"/>
                    <a:pt x="133350" y="139065"/>
                    <a:pt x="117158" y="139065"/>
                  </a:cubicBezTo>
                  <a:cubicBezTo>
                    <a:pt x="100965" y="139065"/>
                    <a:pt x="85725" y="134303"/>
                    <a:pt x="73343" y="125730"/>
                  </a:cubicBezTo>
                  <a:lnTo>
                    <a:pt x="60960" y="125730"/>
                  </a:lnTo>
                  <a:cubicBezTo>
                    <a:pt x="27623" y="125730"/>
                    <a:pt x="0" y="158115"/>
                    <a:pt x="0" y="199073"/>
                  </a:cubicBezTo>
                  <a:lnTo>
                    <a:pt x="0" y="304800"/>
                  </a:lnTo>
                  <a:cubicBezTo>
                    <a:pt x="0" y="323850"/>
                    <a:pt x="13335" y="340043"/>
                    <a:pt x="30480" y="340043"/>
                  </a:cubicBezTo>
                  <a:lnTo>
                    <a:pt x="34290" y="340043"/>
                  </a:lnTo>
                  <a:lnTo>
                    <a:pt x="34290" y="504825"/>
                  </a:lnTo>
                  <a:cubicBezTo>
                    <a:pt x="34290" y="509588"/>
                    <a:pt x="38100" y="514350"/>
                    <a:pt x="43815" y="514350"/>
                  </a:cubicBezTo>
                  <a:lnTo>
                    <a:pt x="102870" y="514350"/>
                  </a:lnTo>
                  <a:lnTo>
                    <a:pt x="102870" y="365760"/>
                  </a:lnTo>
                  <a:cubicBezTo>
                    <a:pt x="102870" y="360998"/>
                    <a:pt x="107633" y="356235"/>
                    <a:pt x="112395" y="356235"/>
                  </a:cubicBezTo>
                  <a:cubicBezTo>
                    <a:pt x="118110" y="356235"/>
                    <a:pt x="121920" y="360998"/>
                    <a:pt x="121920" y="365760"/>
                  </a:cubicBezTo>
                  <a:lnTo>
                    <a:pt x="121920" y="514350"/>
                  </a:lnTo>
                  <a:lnTo>
                    <a:pt x="180975" y="514350"/>
                  </a:lnTo>
                  <a:cubicBezTo>
                    <a:pt x="186690" y="514350"/>
                    <a:pt x="190500" y="509588"/>
                    <a:pt x="190500" y="504825"/>
                  </a:cubicBezTo>
                  <a:lnTo>
                    <a:pt x="190500" y="340043"/>
                  </a:lnTo>
                  <a:lnTo>
                    <a:pt x="194310" y="340043"/>
                  </a:lnTo>
                  <a:cubicBezTo>
                    <a:pt x="211455" y="340043"/>
                    <a:pt x="224790" y="323850"/>
                    <a:pt x="224790" y="304800"/>
                  </a:cubicBezTo>
                  <a:lnTo>
                    <a:pt x="224790" y="199073"/>
                  </a:lnTo>
                  <a:cubicBezTo>
                    <a:pt x="224790" y="159068"/>
                    <a:pt x="197168" y="125730"/>
                    <a:pt x="163830" y="125730"/>
                  </a:cubicBezTo>
                  <a:close/>
                  <a:moveTo>
                    <a:pt x="117158" y="120015"/>
                  </a:moveTo>
                  <a:cubicBezTo>
                    <a:pt x="150495" y="120015"/>
                    <a:pt x="177165" y="93345"/>
                    <a:pt x="177165" y="60008"/>
                  </a:cubicBezTo>
                  <a:cubicBezTo>
                    <a:pt x="177165" y="26670"/>
                    <a:pt x="150495" y="0"/>
                    <a:pt x="117158" y="0"/>
                  </a:cubicBezTo>
                  <a:cubicBezTo>
                    <a:pt x="83820" y="0"/>
                    <a:pt x="57150" y="26670"/>
                    <a:pt x="57150" y="60008"/>
                  </a:cubicBezTo>
                  <a:cubicBezTo>
                    <a:pt x="57150" y="93345"/>
                    <a:pt x="83820" y="120015"/>
                    <a:pt x="117158" y="120015"/>
                  </a:cubicBezTo>
                  <a:close/>
                  <a:moveTo>
                    <a:pt x="548640" y="125730"/>
                  </a:moveTo>
                  <a:lnTo>
                    <a:pt x="545783" y="125730"/>
                  </a:lnTo>
                  <a:cubicBezTo>
                    <a:pt x="533400" y="134303"/>
                    <a:pt x="518160" y="139065"/>
                    <a:pt x="501968" y="139065"/>
                  </a:cubicBezTo>
                  <a:cubicBezTo>
                    <a:pt x="485775" y="139065"/>
                    <a:pt x="470535" y="134303"/>
                    <a:pt x="458153" y="125730"/>
                  </a:cubicBezTo>
                  <a:lnTo>
                    <a:pt x="445770" y="125730"/>
                  </a:lnTo>
                  <a:cubicBezTo>
                    <a:pt x="412433" y="125730"/>
                    <a:pt x="384810" y="158115"/>
                    <a:pt x="384810" y="199073"/>
                  </a:cubicBezTo>
                  <a:lnTo>
                    <a:pt x="384810" y="304800"/>
                  </a:lnTo>
                  <a:cubicBezTo>
                    <a:pt x="384810" y="323850"/>
                    <a:pt x="398145" y="340043"/>
                    <a:pt x="415290" y="340043"/>
                  </a:cubicBezTo>
                  <a:lnTo>
                    <a:pt x="419100" y="340043"/>
                  </a:lnTo>
                  <a:lnTo>
                    <a:pt x="419100" y="504825"/>
                  </a:lnTo>
                  <a:cubicBezTo>
                    <a:pt x="419100" y="509588"/>
                    <a:pt x="422910" y="514350"/>
                    <a:pt x="428625" y="514350"/>
                  </a:cubicBezTo>
                  <a:lnTo>
                    <a:pt x="487680" y="514350"/>
                  </a:lnTo>
                  <a:lnTo>
                    <a:pt x="487680" y="365760"/>
                  </a:lnTo>
                  <a:cubicBezTo>
                    <a:pt x="487680" y="360998"/>
                    <a:pt x="492443" y="356235"/>
                    <a:pt x="497205" y="356235"/>
                  </a:cubicBezTo>
                  <a:cubicBezTo>
                    <a:pt x="501968" y="356235"/>
                    <a:pt x="506730" y="360998"/>
                    <a:pt x="506730" y="365760"/>
                  </a:cubicBezTo>
                  <a:lnTo>
                    <a:pt x="506730" y="514350"/>
                  </a:lnTo>
                  <a:lnTo>
                    <a:pt x="565785" y="514350"/>
                  </a:lnTo>
                  <a:cubicBezTo>
                    <a:pt x="571500" y="514350"/>
                    <a:pt x="575310" y="509588"/>
                    <a:pt x="575310" y="504825"/>
                  </a:cubicBezTo>
                  <a:lnTo>
                    <a:pt x="575310" y="340043"/>
                  </a:lnTo>
                  <a:lnTo>
                    <a:pt x="579120" y="340043"/>
                  </a:lnTo>
                  <a:cubicBezTo>
                    <a:pt x="596265" y="340043"/>
                    <a:pt x="609600" y="323850"/>
                    <a:pt x="609600" y="304800"/>
                  </a:cubicBezTo>
                  <a:lnTo>
                    <a:pt x="609600" y="199073"/>
                  </a:lnTo>
                  <a:cubicBezTo>
                    <a:pt x="609600" y="159068"/>
                    <a:pt x="581978" y="125730"/>
                    <a:pt x="548640" y="125730"/>
                  </a:cubicBezTo>
                  <a:close/>
                  <a:moveTo>
                    <a:pt x="501968" y="120015"/>
                  </a:moveTo>
                  <a:cubicBezTo>
                    <a:pt x="535305" y="120015"/>
                    <a:pt x="561975" y="93345"/>
                    <a:pt x="561975" y="60008"/>
                  </a:cubicBezTo>
                  <a:cubicBezTo>
                    <a:pt x="561975" y="26670"/>
                    <a:pt x="535305" y="0"/>
                    <a:pt x="501968" y="0"/>
                  </a:cubicBezTo>
                  <a:cubicBezTo>
                    <a:pt x="468630" y="0"/>
                    <a:pt x="441960" y="26670"/>
                    <a:pt x="441960" y="60008"/>
                  </a:cubicBezTo>
                  <a:cubicBezTo>
                    <a:pt x="441960" y="93345"/>
                    <a:pt x="468630" y="120015"/>
                    <a:pt x="501968" y="120015"/>
                  </a:cubicBezTo>
                  <a:close/>
                </a:path>
              </a:pathLst>
            </a:custGeom>
            <a:gradFill flip="none" rotWithShape="1">
              <a:gsLst>
                <a:gs pos="0">
                  <a:schemeClr val="accent3"/>
                </a:gs>
                <a:gs pos="100000">
                  <a:schemeClr val="accent3">
                    <a:lumMod val="60000"/>
                    <a:lumOff val="40000"/>
                  </a:schemeClr>
                </a:gs>
              </a:gsLst>
              <a:lin ang="16200000" scaled="1"/>
              <a:tileRect/>
            </a:gradFill>
            <a:ln>
              <a:noFill/>
            </a:ln>
            <a:effectLst>
              <a:outerShdw blurRad="330200" dist="25400" dir="5400000" sx="90000" sy="90000" algn="t" rotWithShape="0">
                <a:schemeClr val="accent3">
                  <a:lumMod val="50000"/>
                  <a:alpha val="2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22860" tIns="11430" rIns="22860" bIns="1143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zh-CN" altLang="en-US" sz="450" b="0" i="0" u="none" strike="noStrike" kern="1200" cap="none" spc="0" normalizeH="0" baseline="0" noProof="0">
                <a:ln>
                  <a:noFill/>
                </a:ln>
                <a:solidFill>
                  <a:srgbClr val="FFFFFF"/>
                </a:solidFill>
                <a:effectLst/>
                <a:uLnTx/>
                <a:uFillTx/>
                <a:latin typeface="Arial"/>
                <a:ea typeface="微软雅黑 Light"/>
                <a:cs typeface="+mn-cs"/>
              </a:endParaRPr>
            </a:p>
          </p:txBody>
        </p:sp>
        <p:sp>
          <p:nvSpPr>
            <p:cNvPr id="91" name="任意多边形: 形状 90">
              <a:extLst>
                <a:ext uri="{FF2B5EF4-FFF2-40B4-BE49-F238E27FC236}">
                  <a16:creationId xmlns:a16="http://schemas.microsoft.com/office/drawing/2014/main" id="{0CF6BAEE-5D80-49BC-9802-E49DB3802E57}"/>
                </a:ext>
              </a:extLst>
            </p:cNvPr>
            <p:cNvSpPr/>
            <p:nvPr/>
          </p:nvSpPr>
          <p:spPr>
            <a:xfrm>
              <a:off x="5983605" y="3128962"/>
              <a:ext cx="224789" cy="514350"/>
            </a:xfrm>
            <a:custGeom>
              <a:avLst/>
              <a:gdLst>
                <a:gd name="connsiteX0" fmla="*/ 173355 w 224789"/>
                <a:gd name="connsiteY0" fmla="*/ 283845 h 514350"/>
                <a:gd name="connsiteX1" fmla="*/ 224790 w 224789"/>
                <a:gd name="connsiteY1" fmla="*/ 198120 h 514350"/>
                <a:gd name="connsiteX2" fmla="*/ 163830 w 224789"/>
                <a:gd name="connsiteY2" fmla="*/ 125730 h 514350"/>
                <a:gd name="connsiteX3" fmla="*/ 160972 w 224789"/>
                <a:gd name="connsiteY3" fmla="*/ 125730 h 514350"/>
                <a:gd name="connsiteX4" fmla="*/ 117157 w 224789"/>
                <a:gd name="connsiteY4" fmla="*/ 139065 h 514350"/>
                <a:gd name="connsiteX5" fmla="*/ 73342 w 224789"/>
                <a:gd name="connsiteY5" fmla="*/ 125730 h 514350"/>
                <a:gd name="connsiteX6" fmla="*/ 60960 w 224789"/>
                <a:gd name="connsiteY6" fmla="*/ 125730 h 514350"/>
                <a:gd name="connsiteX7" fmla="*/ 0 w 224789"/>
                <a:gd name="connsiteY7" fmla="*/ 198120 h 514350"/>
                <a:gd name="connsiteX8" fmla="*/ 51435 w 224789"/>
                <a:gd name="connsiteY8" fmla="*/ 283845 h 514350"/>
                <a:gd name="connsiteX9" fmla="*/ 51435 w 224789"/>
                <a:gd name="connsiteY9" fmla="*/ 389573 h 514350"/>
                <a:gd name="connsiteX10" fmla="*/ 34290 w 224789"/>
                <a:gd name="connsiteY10" fmla="*/ 430530 h 514350"/>
                <a:gd name="connsiteX11" fmla="*/ 34290 w 224789"/>
                <a:gd name="connsiteY11" fmla="*/ 504825 h 514350"/>
                <a:gd name="connsiteX12" fmla="*/ 43815 w 224789"/>
                <a:gd name="connsiteY12" fmla="*/ 514350 h 514350"/>
                <a:gd name="connsiteX13" fmla="*/ 102870 w 224789"/>
                <a:gd name="connsiteY13" fmla="*/ 514350 h 514350"/>
                <a:gd name="connsiteX14" fmla="*/ 102870 w 224789"/>
                <a:gd name="connsiteY14" fmla="*/ 365760 h 514350"/>
                <a:gd name="connsiteX15" fmla="*/ 112395 w 224789"/>
                <a:gd name="connsiteY15" fmla="*/ 356235 h 514350"/>
                <a:gd name="connsiteX16" fmla="*/ 121920 w 224789"/>
                <a:gd name="connsiteY16" fmla="*/ 365760 h 514350"/>
                <a:gd name="connsiteX17" fmla="*/ 121920 w 224789"/>
                <a:gd name="connsiteY17" fmla="*/ 514350 h 514350"/>
                <a:gd name="connsiteX18" fmla="*/ 180975 w 224789"/>
                <a:gd name="connsiteY18" fmla="*/ 514350 h 514350"/>
                <a:gd name="connsiteX19" fmla="*/ 190500 w 224789"/>
                <a:gd name="connsiteY19" fmla="*/ 504825 h 514350"/>
                <a:gd name="connsiteX20" fmla="*/ 190500 w 224789"/>
                <a:gd name="connsiteY20" fmla="*/ 430530 h 514350"/>
                <a:gd name="connsiteX21" fmla="*/ 173355 w 224789"/>
                <a:gd name="connsiteY21" fmla="*/ 389573 h 514350"/>
                <a:gd name="connsiteX22" fmla="*/ 173355 w 224789"/>
                <a:gd name="connsiteY22" fmla="*/ 283845 h 514350"/>
                <a:gd name="connsiteX23" fmla="*/ 117157 w 224789"/>
                <a:gd name="connsiteY23" fmla="*/ 120015 h 514350"/>
                <a:gd name="connsiteX24" fmla="*/ 177165 w 224789"/>
                <a:gd name="connsiteY24" fmla="*/ 60008 h 514350"/>
                <a:gd name="connsiteX25" fmla="*/ 117157 w 224789"/>
                <a:gd name="connsiteY25" fmla="*/ 0 h 514350"/>
                <a:gd name="connsiteX26" fmla="*/ 57150 w 224789"/>
                <a:gd name="connsiteY26" fmla="*/ 60008 h 514350"/>
                <a:gd name="connsiteX27" fmla="*/ 117157 w 224789"/>
                <a:gd name="connsiteY27" fmla="*/ 120015 h 514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24789" h="514350">
                  <a:moveTo>
                    <a:pt x="173355" y="283845"/>
                  </a:moveTo>
                  <a:cubicBezTo>
                    <a:pt x="173355" y="244793"/>
                    <a:pt x="195263" y="211455"/>
                    <a:pt x="224790" y="198120"/>
                  </a:cubicBezTo>
                  <a:cubicBezTo>
                    <a:pt x="224790" y="158115"/>
                    <a:pt x="197168" y="125730"/>
                    <a:pt x="163830" y="125730"/>
                  </a:cubicBezTo>
                  <a:lnTo>
                    <a:pt x="160972" y="125730"/>
                  </a:lnTo>
                  <a:cubicBezTo>
                    <a:pt x="148590" y="134303"/>
                    <a:pt x="133350" y="139065"/>
                    <a:pt x="117157" y="139065"/>
                  </a:cubicBezTo>
                  <a:cubicBezTo>
                    <a:pt x="100965" y="139065"/>
                    <a:pt x="85725" y="134303"/>
                    <a:pt x="73342" y="125730"/>
                  </a:cubicBezTo>
                  <a:lnTo>
                    <a:pt x="60960" y="125730"/>
                  </a:lnTo>
                  <a:cubicBezTo>
                    <a:pt x="27622" y="125730"/>
                    <a:pt x="0" y="158115"/>
                    <a:pt x="0" y="198120"/>
                  </a:cubicBezTo>
                  <a:cubicBezTo>
                    <a:pt x="30480" y="211455"/>
                    <a:pt x="51435" y="244793"/>
                    <a:pt x="51435" y="283845"/>
                  </a:cubicBezTo>
                  <a:lnTo>
                    <a:pt x="51435" y="389573"/>
                  </a:lnTo>
                  <a:cubicBezTo>
                    <a:pt x="51435" y="405765"/>
                    <a:pt x="44767" y="421005"/>
                    <a:pt x="34290" y="430530"/>
                  </a:cubicBezTo>
                  <a:lnTo>
                    <a:pt x="34290" y="504825"/>
                  </a:lnTo>
                  <a:cubicBezTo>
                    <a:pt x="34290" y="509588"/>
                    <a:pt x="38100" y="514350"/>
                    <a:pt x="43815" y="514350"/>
                  </a:cubicBezTo>
                  <a:lnTo>
                    <a:pt x="102870" y="514350"/>
                  </a:lnTo>
                  <a:lnTo>
                    <a:pt x="102870" y="365760"/>
                  </a:lnTo>
                  <a:cubicBezTo>
                    <a:pt x="102870" y="360045"/>
                    <a:pt x="106680" y="356235"/>
                    <a:pt x="112395" y="356235"/>
                  </a:cubicBezTo>
                  <a:cubicBezTo>
                    <a:pt x="117157" y="356235"/>
                    <a:pt x="121920" y="360045"/>
                    <a:pt x="121920" y="365760"/>
                  </a:cubicBezTo>
                  <a:lnTo>
                    <a:pt x="121920" y="514350"/>
                  </a:lnTo>
                  <a:lnTo>
                    <a:pt x="180975" y="514350"/>
                  </a:lnTo>
                  <a:cubicBezTo>
                    <a:pt x="186690" y="514350"/>
                    <a:pt x="190500" y="509588"/>
                    <a:pt x="190500" y="504825"/>
                  </a:cubicBezTo>
                  <a:lnTo>
                    <a:pt x="190500" y="430530"/>
                  </a:lnTo>
                  <a:cubicBezTo>
                    <a:pt x="180022" y="421005"/>
                    <a:pt x="173355" y="405765"/>
                    <a:pt x="173355" y="389573"/>
                  </a:cubicBezTo>
                  <a:lnTo>
                    <a:pt x="173355" y="283845"/>
                  </a:lnTo>
                  <a:close/>
                  <a:moveTo>
                    <a:pt x="117157" y="120015"/>
                  </a:moveTo>
                  <a:cubicBezTo>
                    <a:pt x="150495" y="120015"/>
                    <a:pt x="177165" y="93345"/>
                    <a:pt x="177165" y="60008"/>
                  </a:cubicBezTo>
                  <a:cubicBezTo>
                    <a:pt x="177165" y="26670"/>
                    <a:pt x="150495" y="0"/>
                    <a:pt x="117157" y="0"/>
                  </a:cubicBezTo>
                  <a:cubicBezTo>
                    <a:pt x="83820" y="0"/>
                    <a:pt x="57150" y="26670"/>
                    <a:pt x="57150" y="60008"/>
                  </a:cubicBezTo>
                  <a:cubicBezTo>
                    <a:pt x="57150" y="93345"/>
                    <a:pt x="83820" y="120015"/>
                    <a:pt x="117157" y="120015"/>
                  </a:cubicBezTo>
                  <a:close/>
                </a:path>
              </a:pathLst>
            </a:custGeom>
            <a:gradFill flip="none" rotWithShape="1">
              <a:gsLst>
                <a:gs pos="0">
                  <a:schemeClr val="accent3"/>
                </a:gs>
                <a:gs pos="100000">
                  <a:schemeClr val="accent3">
                    <a:lumMod val="60000"/>
                    <a:lumOff val="40000"/>
                  </a:schemeClr>
                </a:gs>
              </a:gsLst>
              <a:lin ang="16200000" scaled="1"/>
              <a:tileRect/>
            </a:gradFill>
            <a:ln>
              <a:noFill/>
            </a:ln>
            <a:effectLst>
              <a:outerShdw blurRad="330200" dist="25400" dir="5400000" sx="90000" sy="90000" algn="t" rotWithShape="0">
                <a:schemeClr val="accent3">
                  <a:lumMod val="50000"/>
                  <a:alpha val="2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22860" tIns="11430" rIns="22860" bIns="1143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zh-CN" altLang="en-US" sz="450" b="0" i="0" u="none" strike="noStrike" kern="1200" cap="none" spc="0" normalizeH="0" baseline="0" noProof="0">
                <a:ln>
                  <a:noFill/>
                </a:ln>
                <a:solidFill>
                  <a:srgbClr val="FFFFFF"/>
                </a:solidFill>
                <a:effectLst/>
                <a:uLnTx/>
                <a:uFillTx/>
                <a:latin typeface="Arial"/>
                <a:ea typeface="微软雅黑 Light"/>
                <a:cs typeface="+mn-cs"/>
              </a:endParaRPr>
            </a:p>
          </p:txBody>
        </p:sp>
      </p:grpSp>
      <p:grpSp>
        <p:nvGrpSpPr>
          <p:cNvPr id="92" name="Group_100947623_14:21:37_svg_ico">
            <a:extLst>
              <a:ext uri="{FF2B5EF4-FFF2-40B4-BE49-F238E27FC236}">
                <a16:creationId xmlns:a16="http://schemas.microsoft.com/office/drawing/2014/main" id="{F9231A0F-A773-4E5E-89CE-E724DE154BF9}"/>
              </a:ext>
            </a:extLst>
          </p:cNvPr>
          <p:cNvGrpSpPr/>
          <p:nvPr/>
        </p:nvGrpSpPr>
        <p:grpSpPr>
          <a:xfrm>
            <a:off x="9166859" y="4129068"/>
            <a:ext cx="609600" cy="599122"/>
            <a:chOff x="5791200" y="3128962"/>
            <a:chExt cx="609600" cy="599122"/>
          </a:xfrm>
          <a:solidFill>
            <a:schemeClr val="accent2"/>
          </a:solidFill>
        </p:grpSpPr>
        <p:sp>
          <p:nvSpPr>
            <p:cNvPr id="93" name="任意多边形: 形状 92">
              <a:extLst>
                <a:ext uri="{FF2B5EF4-FFF2-40B4-BE49-F238E27FC236}">
                  <a16:creationId xmlns:a16="http://schemas.microsoft.com/office/drawing/2014/main" id="{76D25ADD-26E9-4E82-A001-1B0CC6B39FA0}"/>
                </a:ext>
              </a:extLst>
            </p:cNvPr>
            <p:cNvSpPr/>
            <p:nvPr/>
          </p:nvSpPr>
          <p:spPr>
            <a:xfrm>
              <a:off x="5791200" y="3213734"/>
              <a:ext cx="609600" cy="514350"/>
            </a:xfrm>
            <a:custGeom>
              <a:avLst/>
              <a:gdLst>
                <a:gd name="connsiteX0" fmla="*/ 163830 w 609600"/>
                <a:gd name="connsiteY0" fmla="*/ 125730 h 514350"/>
                <a:gd name="connsiteX1" fmla="*/ 160973 w 609600"/>
                <a:gd name="connsiteY1" fmla="*/ 125730 h 514350"/>
                <a:gd name="connsiteX2" fmla="*/ 117158 w 609600"/>
                <a:gd name="connsiteY2" fmla="*/ 139065 h 514350"/>
                <a:gd name="connsiteX3" fmla="*/ 73343 w 609600"/>
                <a:gd name="connsiteY3" fmla="*/ 125730 h 514350"/>
                <a:gd name="connsiteX4" fmla="*/ 60960 w 609600"/>
                <a:gd name="connsiteY4" fmla="*/ 125730 h 514350"/>
                <a:gd name="connsiteX5" fmla="*/ 0 w 609600"/>
                <a:gd name="connsiteY5" fmla="*/ 199073 h 514350"/>
                <a:gd name="connsiteX6" fmla="*/ 0 w 609600"/>
                <a:gd name="connsiteY6" fmla="*/ 304800 h 514350"/>
                <a:gd name="connsiteX7" fmla="*/ 30480 w 609600"/>
                <a:gd name="connsiteY7" fmla="*/ 340043 h 514350"/>
                <a:gd name="connsiteX8" fmla="*/ 34290 w 609600"/>
                <a:gd name="connsiteY8" fmla="*/ 340043 h 514350"/>
                <a:gd name="connsiteX9" fmla="*/ 34290 w 609600"/>
                <a:gd name="connsiteY9" fmla="*/ 504825 h 514350"/>
                <a:gd name="connsiteX10" fmla="*/ 43815 w 609600"/>
                <a:gd name="connsiteY10" fmla="*/ 514350 h 514350"/>
                <a:gd name="connsiteX11" fmla="*/ 102870 w 609600"/>
                <a:gd name="connsiteY11" fmla="*/ 514350 h 514350"/>
                <a:gd name="connsiteX12" fmla="*/ 102870 w 609600"/>
                <a:gd name="connsiteY12" fmla="*/ 365760 h 514350"/>
                <a:gd name="connsiteX13" fmla="*/ 112395 w 609600"/>
                <a:gd name="connsiteY13" fmla="*/ 356235 h 514350"/>
                <a:gd name="connsiteX14" fmla="*/ 121920 w 609600"/>
                <a:gd name="connsiteY14" fmla="*/ 365760 h 514350"/>
                <a:gd name="connsiteX15" fmla="*/ 121920 w 609600"/>
                <a:gd name="connsiteY15" fmla="*/ 514350 h 514350"/>
                <a:gd name="connsiteX16" fmla="*/ 180975 w 609600"/>
                <a:gd name="connsiteY16" fmla="*/ 514350 h 514350"/>
                <a:gd name="connsiteX17" fmla="*/ 190500 w 609600"/>
                <a:gd name="connsiteY17" fmla="*/ 504825 h 514350"/>
                <a:gd name="connsiteX18" fmla="*/ 190500 w 609600"/>
                <a:gd name="connsiteY18" fmla="*/ 340043 h 514350"/>
                <a:gd name="connsiteX19" fmla="*/ 194310 w 609600"/>
                <a:gd name="connsiteY19" fmla="*/ 340043 h 514350"/>
                <a:gd name="connsiteX20" fmla="*/ 224790 w 609600"/>
                <a:gd name="connsiteY20" fmla="*/ 304800 h 514350"/>
                <a:gd name="connsiteX21" fmla="*/ 224790 w 609600"/>
                <a:gd name="connsiteY21" fmla="*/ 199073 h 514350"/>
                <a:gd name="connsiteX22" fmla="*/ 163830 w 609600"/>
                <a:gd name="connsiteY22" fmla="*/ 125730 h 514350"/>
                <a:gd name="connsiteX23" fmla="*/ 117158 w 609600"/>
                <a:gd name="connsiteY23" fmla="*/ 120015 h 514350"/>
                <a:gd name="connsiteX24" fmla="*/ 177165 w 609600"/>
                <a:gd name="connsiteY24" fmla="*/ 60008 h 514350"/>
                <a:gd name="connsiteX25" fmla="*/ 117158 w 609600"/>
                <a:gd name="connsiteY25" fmla="*/ 0 h 514350"/>
                <a:gd name="connsiteX26" fmla="*/ 57150 w 609600"/>
                <a:gd name="connsiteY26" fmla="*/ 60008 h 514350"/>
                <a:gd name="connsiteX27" fmla="*/ 117158 w 609600"/>
                <a:gd name="connsiteY27" fmla="*/ 120015 h 514350"/>
                <a:gd name="connsiteX28" fmla="*/ 548640 w 609600"/>
                <a:gd name="connsiteY28" fmla="*/ 125730 h 514350"/>
                <a:gd name="connsiteX29" fmla="*/ 545783 w 609600"/>
                <a:gd name="connsiteY29" fmla="*/ 125730 h 514350"/>
                <a:gd name="connsiteX30" fmla="*/ 501968 w 609600"/>
                <a:gd name="connsiteY30" fmla="*/ 139065 h 514350"/>
                <a:gd name="connsiteX31" fmla="*/ 458153 w 609600"/>
                <a:gd name="connsiteY31" fmla="*/ 125730 h 514350"/>
                <a:gd name="connsiteX32" fmla="*/ 445770 w 609600"/>
                <a:gd name="connsiteY32" fmla="*/ 125730 h 514350"/>
                <a:gd name="connsiteX33" fmla="*/ 384810 w 609600"/>
                <a:gd name="connsiteY33" fmla="*/ 199073 h 514350"/>
                <a:gd name="connsiteX34" fmla="*/ 384810 w 609600"/>
                <a:gd name="connsiteY34" fmla="*/ 304800 h 514350"/>
                <a:gd name="connsiteX35" fmla="*/ 415290 w 609600"/>
                <a:gd name="connsiteY35" fmla="*/ 340043 h 514350"/>
                <a:gd name="connsiteX36" fmla="*/ 419100 w 609600"/>
                <a:gd name="connsiteY36" fmla="*/ 340043 h 514350"/>
                <a:gd name="connsiteX37" fmla="*/ 419100 w 609600"/>
                <a:gd name="connsiteY37" fmla="*/ 504825 h 514350"/>
                <a:gd name="connsiteX38" fmla="*/ 428625 w 609600"/>
                <a:gd name="connsiteY38" fmla="*/ 514350 h 514350"/>
                <a:gd name="connsiteX39" fmla="*/ 487680 w 609600"/>
                <a:gd name="connsiteY39" fmla="*/ 514350 h 514350"/>
                <a:gd name="connsiteX40" fmla="*/ 487680 w 609600"/>
                <a:gd name="connsiteY40" fmla="*/ 365760 h 514350"/>
                <a:gd name="connsiteX41" fmla="*/ 497205 w 609600"/>
                <a:gd name="connsiteY41" fmla="*/ 356235 h 514350"/>
                <a:gd name="connsiteX42" fmla="*/ 506730 w 609600"/>
                <a:gd name="connsiteY42" fmla="*/ 365760 h 514350"/>
                <a:gd name="connsiteX43" fmla="*/ 506730 w 609600"/>
                <a:gd name="connsiteY43" fmla="*/ 514350 h 514350"/>
                <a:gd name="connsiteX44" fmla="*/ 565785 w 609600"/>
                <a:gd name="connsiteY44" fmla="*/ 514350 h 514350"/>
                <a:gd name="connsiteX45" fmla="*/ 575310 w 609600"/>
                <a:gd name="connsiteY45" fmla="*/ 504825 h 514350"/>
                <a:gd name="connsiteX46" fmla="*/ 575310 w 609600"/>
                <a:gd name="connsiteY46" fmla="*/ 340043 h 514350"/>
                <a:gd name="connsiteX47" fmla="*/ 579120 w 609600"/>
                <a:gd name="connsiteY47" fmla="*/ 340043 h 514350"/>
                <a:gd name="connsiteX48" fmla="*/ 609600 w 609600"/>
                <a:gd name="connsiteY48" fmla="*/ 304800 h 514350"/>
                <a:gd name="connsiteX49" fmla="*/ 609600 w 609600"/>
                <a:gd name="connsiteY49" fmla="*/ 199073 h 514350"/>
                <a:gd name="connsiteX50" fmla="*/ 548640 w 609600"/>
                <a:gd name="connsiteY50" fmla="*/ 125730 h 514350"/>
                <a:gd name="connsiteX51" fmla="*/ 501968 w 609600"/>
                <a:gd name="connsiteY51" fmla="*/ 120015 h 514350"/>
                <a:gd name="connsiteX52" fmla="*/ 561975 w 609600"/>
                <a:gd name="connsiteY52" fmla="*/ 60008 h 514350"/>
                <a:gd name="connsiteX53" fmla="*/ 501968 w 609600"/>
                <a:gd name="connsiteY53" fmla="*/ 0 h 514350"/>
                <a:gd name="connsiteX54" fmla="*/ 441960 w 609600"/>
                <a:gd name="connsiteY54" fmla="*/ 60008 h 514350"/>
                <a:gd name="connsiteX55" fmla="*/ 501968 w 609600"/>
                <a:gd name="connsiteY55" fmla="*/ 120015 h 514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609600" h="514350">
                  <a:moveTo>
                    <a:pt x="163830" y="125730"/>
                  </a:moveTo>
                  <a:lnTo>
                    <a:pt x="160973" y="125730"/>
                  </a:lnTo>
                  <a:cubicBezTo>
                    <a:pt x="148590" y="134303"/>
                    <a:pt x="133350" y="139065"/>
                    <a:pt x="117158" y="139065"/>
                  </a:cubicBezTo>
                  <a:cubicBezTo>
                    <a:pt x="100965" y="139065"/>
                    <a:pt x="85725" y="134303"/>
                    <a:pt x="73343" y="125730"/>
                  </a:cubicBezTo>
                  <a:lnTo>
                    <a:pt x="60960" y="125730"/>
                  </a:lnTo>
                  <a:cubicBezTo>
                    <a:pt x="27623" y="125730"/>
                    <a:pt x="0" y="158115"/>
                    <a:pt x="0" y="199073"/>
                  </a:cubicBezTo>
                  <a:lnTo>
                    <a:pt x="0" y="304800"/>
                  </a:lnTo>
                  <a:cubicBezTo>
                    <a:pt x="0" y="323850"/>
                    <a:pt x="13335" y="340043"/>
                    <a:pt x="30480" y="340043"/>
                  </a:cubicBezTo>
                  <a:lnTo>
                    <a:pt x="34290" y="340043"/>
                  </a:lnTo>
                  <a:lnTo>
                    <a:pt x="34290" y="504825"/>
                  </a:lnTo>
                  <a:cubicBezTo>
                    <a:pt x="34290" y="509588"/>
                    <a:pt x="38100" y="514350"/>
                    <a:pt x="43815" y="514350"/>
                  </a:cubicBezTo>
                  <a:lnTo>
                    <a:pt x="102870" y="514350"/>
                  </a:lnTo>
                  <a:lnTo>
                    <a:pt x="102870" y="365760"/>
                  </a:lnTo>
                  <a:cubicBezTo>
                    <a:pt x="102870" y="360998"/>
                    <a:pt x="107633" y="356235"/>
                    <a:pt x="112395" y="356235"/>
                  </a:cubicBezTo>
                  <a:cubicBezTo>
                    <a:pt x="118110" y="356235"/>
                    <a:pt x="121920" y="360998"/>
                    <a:pt x="121920" y="365760"/>
                  </a:cubicBezTo>
                  <a:lnTo>
                    <a:pt x="121920" y="514350"/>
                  </a:lnTo>
                  <a:lnTo>
                    <a:pt x="180975" y="514350"/>
                  </a:lnTo>
                  <a:cubicBezTo>
                    <a:pt x="186690" y="514350"/>
                    <a:pt x="190500" y="509588"/>
                    <a:pt x="190500" y="504825"/>
                  </a:cubicBezTo>
                  <a:lnTo>
                    <a:pt x="190500" y="340043"/>
                  </a:lnTo>
                  <a:lnTo>
                    <a:pt x="194310" y="340043"/>
                  </a:lnTo>
                  <a:cubicBezTo>
                    <a:pt x="211455" y="340043"/>
                    <a:pt x="224790" y="323850"/>
                    <a:pt x="224790" y="304800"/>
                  </a:cubicBezTo>
                  <a:lnTo>
                    <a:pt x="224790" y="199073"/>
                  </a:lnTo>
                  <a:cubicBezTo>
                    <a:pt x="224790" y="159068"/>
                    <a:pt x="197168" y="125730"/>
                    <a:pt x="163830" y="125730"/>
                  </a:cubicBezTo>
                  <a:close/>
                  <a:moveTo>
                    <a:pt x="117158" y="120015"/>
                  </a:moveTo>
                  <a:cubicBezTo>
                    <a:pt x="150495" y="120015"/>
                    <a:pt x="177165" y="93345"/>
                    <a:pt x="177165" y="60008"/>
                  </a:cubicBezTo>
                  <a:cubicBezTo>
                    <a:pt x="177165" y="26670"/>
                    <a:pt x="150495" y="0"/>
                    <a:pt x="117158" y="0"/>
                  </a:cubicBezTo>
                  <a:cubicBezTo>
                    <a:pt x="83820" y="0"/>
                    <a:pt x="57150" y="26670"/>
                    <a:pt x="57150" y="60008"/>
                  </a:cubicBezTo>
                  <a:cubicBezTo>
                    <a:pt x="57150" y="93345"/>
                    <a:pt x="83820" y="120015"/>
                    <a:pt x="117158" y="120015"/>
                  </a:cubicBezTo>
                  <a:close/>
                  <a:moveTo>
                    <a:pt x="548640" y="125730"/>
                  </a:moveTo>
                  <a:lnTo>
                    <a:pt x="545783" y="125730"/>
                  </a:lnTo>
                  <a:cubicBezTo>
                    <a:pt x="533400" y="134303"/>
                    <a:pt x="518160" y="139065"/>
                    <a:pt x="501968" y="139065"/>
                  </a:cubicBezTo>
                  <a:cubicBezTo>
                    <a:pt x="485775" y="139065"/>
                    <a:pt x="470535" y="134303"/>
                    <a:pt x="458153" y="125730"/>
                  </a:cubicBezTo>
                  <a:lnTo>
                    <a:pt x="445770" y="125730"/>
                  </a:lnTo>
                  <a:cubicBezTo>
                    <a:pt x="412433" y="125730"/>
                    <a:pt x="384810" y="158115"/>
                    <a:pt x="384810" y="199073"/>
                  </a:cubicBezTo>
                  <a:lnTo>
                    <a:pt x="384810" y="304800"/>
                  </a:lnTo>
                  <a:cubicBezTo>
                    <a:pt x="384810" y="323850"/>
                    <a:pt x="398145" y="340043"/>
                    <a:pt x="415290" y="340043"/>
                  </a:cubicBezTo>
                  <a:lnTo>
                    <a:pt x="419100" y="340043"/>
                  </a:lnTo>
                  <a:lnTo>
                    <a:pt x="419100" y="504825"/>
                  </a:lnTo>
                  <a:cubicBezTo>
                    <a:pt x="419100" y="509588"/>
                    <a:pt x="422910" y="514350"/>
                    <a:pt x="428625" y="514350"/>
                  </a:cubicBezTo>
                  <a:lnTo>
                    <a:pt x="487680" y="514350"/>
                  </a:lnTo>
                  <a:lnTo>
                    <a:pt x="487680" y="365760"/>
                  </a:lnTo>
                  <a:cubicBezTo>
                    <a:pt x="487680" y="360998"/>
                    <a:pt x="492443" y="356235"/>
                    <a:pt x="497205" y="356235"/>
                  </a:cubicBezTo>
                  <a:cubicBezTo>
                    <a:pt x="501968" y="356235"/>
                    <a:pt x="506730" y="360998"/>
                    <a:pt x="506730" y="365760"/>
                  </a:cubicBezTo>
                  <a:lnTo>
                    <a:pt x="506730" y="514350"/>
                  </a:lnTo>
                  <a:lnTo>
                    <a:pt x="565785" y="514350"/>
                  </a:lnTo>
                  <a:cubicBezTo>
                    <a:pt x="571500" y="514350"/>
                    <a:pt x="575310" y="509588"/>
                    <a:pt x="575310" y="504825"/>
                  </a:cubicBezTo>
                  <a:lnTo>
                    <a:pt x="575310" y="340043"/>
                  </a:lnTo>
                  <a:lnTo>
                    <a:pt x="579120" y="340043"/>
                  </a:lnTo>
                  <a:cubicBezTo>
                    <a:pt x="596265" y="340043"/>
                    <a:pt x="609600" y="323850"/>
                    <a:pt x="609600" y="304800"/>
                  </a:cubicBezTo>
                  <a:lnTo>
                    <a:pt x="609600" y="199073"/>
                  </a:lnTo>
                  <a:cubicBezTo>
                    <a:pt x="609600" y="159068"/>
                    <a:pt x="581978" y="125730"/>
                    <a:pt x="548640" y="125730"/>
                  </a:cubicBezTo>
                  <a:close/>
                  <a:moveTo>
                    <a:pt x="501968" y="120015"/>
                  </a:moveTo>
                  <a:cubicBezTo>
                    <a:pt x="535305" y="120015"/>
                    <a:pt x="561975" y="93345"/>
                    <a:pt x="561975" y="60008"/>
                  </a:cubicBezTo>
                  <a:cubicBezTo>
                    <a:pt x="561975" y="26670"/>
                    <a:pt x="535305" y="0"/>
                    <a:pt x="501968" y="0"/>
                  </a:cubicBezTo>
                  <a:cubicBezTo>
                    <a:pt x="468630" y="0"/>
                    <a:pt x="441960" y="26670"/>
                    <a:pt x="441960" y="60008"/>
                  </a:cubicBezTo>
                  <a:cubicBezTo>
                    <a:pt x="441960" y="93345"/>
                    <a:pt x="468630" y="120015"/>
                    <a:pt x="501968" y="120015"/>
                  </a:cubicBezTo>
                  <a:close/>
                </a:path>
              </a:pathLst>
            </a:custGeom>
            <a:gradFill flip="none" rotWithShape="1">
              <a:gsLst>
                <a:gs pos="0">
                  <a:schemeClr val="accent3"/>
                </a:gs>
                <a:gs pos="100000">
                  <a:schemeClr val="accent3">
                    <a:lumMod val="60000"/>
                    <a:lumOff val="40000"/>
                  </a:schemeClr>
                </a:gs>
              </a:gsLst>
              <a:lin ang="16200000" scaled="1"/>
              <a:tileRect/>
            </a:gradFill>
            <a:ln>
              <a:noFill/>
            </a:ln>
            <a:effectLst>
              <a:outerShdw blurRad="330200" dist="25400" dir="5400000" sx="90000" sy="90000" algn="t" rotWithShape="0">
                <a:schemeClr val="accent3">
                  <a:lumMod val="50000"/>
                  <a:alpha val="2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22860" tIns="11430" rIns="22860" bIns="1143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zh-CN" altLang="en-US" sz="450" b="0" i="0" u="none" strike="noStrike" kern="1200" cap="none" spc="0" normalizeH="0" baseline="0" noProof="0">
                <a:ln>
                  <a:noFill/>
                </a:ln>
                <a:solidFill>
                  <a:srgbClr val="FFFFFF"/>
                </a:solidFill>
                <a:effectLst/>
                <a:uLnTx/>
                <a:uFillTx/>
                <a:latin typeface="Arial"/>
                <a:ea typeface="微软雅黑 Light"/>
                <a:cs typeface="+mn-cs"/>
              </a:endParaRPr>
            </a:p>
          </p:txBody>
        </p:sp>
        <p:sp>
          <p:nvSpPr>
            <p:cNvPr id="94" name="任意多边形: 形状 93">
              <a:extLst>
                <a:ext uri="{FF2B5EF4-FFF2-40B4-BE49-F238E27FC236}">
                  <a16:creationId xmlns:a16="http://schemas.microsoft.com/office/drawing/2014/main" id="{A7BDF15C-0B48-483B-9A68-7B88E7CC901A}"/>
                </a:ext>
              </a:extLst>
            </p:cNvPr>
            <p:cNvSpPr/>
            <p:nvPr/>
          </p:nvSpPr>
          <p:spPr>
            <a:xfrm>
              <a:off x="5983605" y="3128962"/>
              <a:ext cx="224789" cy="514350"/>
            </a:xfrm>
            <a:custGeom>
              <a:avLst/>
              <a:gdLst>
                <a:gd name="connsiteX0" fmla="*/ 173355 w 224789"/>
                <a:gd name="connsiteY0" fmla="*/ 283845 h 514350"/>
                <a:gd name="connsiteX1" fmla="*/ 224790 w 224789"/>
                <a:gd name="connsiteY1" fmla="*/ 198120 h 514350"/>
                <a:gd name="connsiteX2" fmla="*/ 163830 w 224789"/>
                <a:gd name="connsiteY2" fmla="*/ 125730 h 514350"/>
                <a:gd name="connsiteX3" fmla="*/ 160972 w 224789"/>
                <a:gd name="connsiteY3" fmla="*/ 125730 h 514350"/>
                <a:gd name="connsiteX4" fmla="*/ 117157 w 224789"/>
                <a:gd name="connsiteY4" fmla="*/ 139065 h 514350"/>
                <a:gd name="connsiteX5" fmla="*/ 73342 w 224789"/>
                <a:gd name="connsiteY5" fmla="*/ 125730 h 514350"/>
                <a:gd name="connsiteX6" fmla="*/ 60960 w 224789"/>
                <a:gd name="connsiteY6" fmla="*/ 125730 h 514350"/>
                <a:gd name="connsiteX7" fmla="*/ 0 w 224789"/>
                <a:gd name="connsiteY7" fmla="*/ 198120 h 514350"/>
                <a:gd name="connsiteX8" fmla="*/ 51435 w 224789"/>
                <a:gd name="connsiteY8" fmla="*/ 283845 h 514350"/>
                <a:gd name="connsiteX9" fmla="*/ 51435 w 224789"/>
                <a:gd name="connsiteY9" fmla="*/ 389573 h 514350"/>
                <a:gd name="connsiteX10" fmla="*/ 34290 w 224789"/>
                <a:gd name="connsiteY10" fmla="*/ 430530 h 514350"/>
                <a:gd name="connsiteX11" fmla="*/ 34290 w 224789"/>
                <a:gd name="connsiteY11" fmla="*/ 504825 h 514350"/>
                <a:gd name="connsiteX12" fmla="*/ 43815 w 224789"/>
                <a:gd name="connsiteY12" fmla="*/ 514350 h 514350"/>
                <a:gd name="connsiteX13" fmla="*/ 102870 w 224789"/>
                <a:gd name="connsiteY13" fmla="*/ 514350 h 514350"/>
                <a:gd name="connsiteX14" fmla="*/ 102870 w 224789"/>
                <a:gd name="connsiteY14" fmla="*/ 365760 h 514350"/>
                <a:gd name="connsiteX15" fmla="*/ 112395 w 224789"/>
                <a:gd name="connsiteY15" fmla="*/ 356235 h 514350"/>
                <a:gd name="connsiteX16" fmla="*/ 121920 w 224789"/>
                <a:gd name="connsiteY16" fmla="*/ 365760 h 514350"/>
                <a:gd name="connsiteX17" fmla="*/ 121920 w 224789"/>
                <a:gd name="connsiteY17" fmla="*/ 514350 h 514350"/>
                <a:gd name="connsiteX18" fmla="*/ 180975 w 224789"/>
                <a:gd name="connsiteY18" fmla="*/ 514350 h 514350"/>
                <a:gd name="connsiteX19" fmla="*/ 190500 w 224789"/>
                <a:gd name="connsiteY19" fmla="*/ 504825 h 514350"/>
                <a:gd name="connsiteX20" fmla="*/ 190500 w 224789"/>
                <a:gd name="connsiteY20" fmla="*/ 430530 h 514350"/>
                <a:gd name="connsiteX21" fmla="*/ 173355 w 224789"/>
                <a:gd name="connsiteY21" fmla="*/ 389573 h 514350"/>
                <a:gd name="connsiteX22" fmla="*/ 173355 w 224789"/>
                <a:gd name="connsiteY22" fmla="*/ 283845 h 514350"/>
                <a:gd name="connsiteX23" fmla="*/ 117157 w 224789"/>
                <a:gd name="connsiteY23" fmla="*/ 120015 h 514350"/>
                <a:gd name="connsiteX24" fmla="*/ 177165 w 224789"/>
                <a:gd name="connsiteY24" fmla="*/ 60008 h 514350"/>
                <a:gd name="connsiteX25" fmla="*/ 117157 w 224789"/>
                <a:gd name="connsiteY25" fmla="*/ 0 h 514350"/>
                <a:gd name="connsiteX26" fmla="*/ 57150 w 224789"/>
                <a:gd name="connsiteY26" fmla="*/ 60008 h 514350"/>
                <a:gd name="connsiteX27" fmla="*/ 117157 w 224789"/>
                <a:gd name="connsiteY27" fmla="*/ 120015 h 514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24789" h="514350">
                  <a:moveTo>
                    <a:pt x="173355" y="283845"/>
                  </a:moveTo>
                  <a:cubicBezTo>
                    <a:pt x="173355" y="244793"/>
                    <a:pt x="195263" y="211455"/>
                    <a:pt x="224790" y="198120"/>
                  </a:cubicBezTo>
                  <a:cubicBezTo>
                    <a:pt x="224790" y="158115"/>
                    <a:pt x="197168" y="125730"/>
                    <a:pt x="163830" y="125730"/>
                  </a:cubicBezTo>
                  <a:lnTo>
                    <a:pt x="160972" y="125730"/>
                  </a:lnTo>
                  <a:cubicBezTo>
                    <a:pt x="148590" y="134303"/>
                    <a:pt x="133350" y="139065"/>
                    <a:pt x="117157" y="139065"/>
                  </a:cubicBezTo>
                  <a:cubicBezTo>
                    <a:pt x="100965" y="139065"/>
                    <a:pt x="85725" y="134303"/>
                    <a:pt x="73342" y="125730"/>
                  </a:cubicBezTo>
                  <a:lnTo>
                    <a:pt x="60960" y="125730"/>
                  </a:lnTo>
                  <a:cubicBezTo>
                    <a:pt x="27622" y="125730"/>
                    <a:pt x="0" y="158115"/>
                    <a:pt x="0" y="198120"/>
                  </a:cubicBezTo>
                  <a:cubicBezTo>
                    <a:pt x="30480" y="211455"/>
                    <a:pt x="51435" y="244793"/>
                    <a:pt x="51435" y="283845"/>
                  </a:cubicBezTo>
                  <a:lnTo>
                    <a:pt x="51435" y="389573"/>
                  </a:lnTo>
                  <a:cubicBezTo>
                    <a:pt x="51435" y="405765"/>
                    <a:pt x="44767" y="421005"/>
                    <a:pt x="34290" y="430530"/>
                  </a:cubicBezTo>
                  <a:lnTo>
                    <a:pt x="34290" y="504825"/>
                  </a:lnTo>
                  <a:cubicBezTo>
                    <a:pt x="34290" y="509588"/>
                    <a:pt x="38100" y="514350"/>
                    <a:pt x="43815" y="514350"/>
                  </a:cubicBezTo>
                  <a:lnTo>
                    <a:pt x="102870" y="514350"/>
                  </a:lnTo>
                  <a:lnTo>
                    <a:pt x="102870" y="365760"/>
                  </a:lnTo>
                  <a:cubicBezTo>
                    <a:pt x="102870" y="360045"/>
                    <a:pt x="106680" y="356235"/>
                    <a:pt x="112395" y="356235"/>
                  </a:cubicBezTo>
                  <a:cubicBezTo>
                    <a:pt x="117157" y="356235"/>
                    <a:pt x="121920" y="360045"/>
                    <a:pt x="121920" y="365760"/>
                  </a:cubicBezTo>
                  <a:lnTo>
                    <a:pt x="121920" y="514350"/>
                  </a:lnTo>
                  <a:lnTo>
                    <a:pt x="180975" y="514350"/>
                  </a:lnTo>
                  <a:cubicBezTo>
                    <a:pt x="186690" y="514350"/>
                    <a:pt x="190500" y="509588"/>
                    <a:pt x="190500" y="504825"/>
                  </a:cubicBezTo>
                  <a:lnTo>
                    <a:pt x="190500" y="430530"/>
                  </a:lnTo>
                  <a:cubicBezTo>
                    <a:pt x="180022" y="421005"/>
                    <a:pt x="173355" y="405765"/>
                    <a:pt x="173355" y="389573"/>
                  </a:cubicBezTo>
                  <a:lnTo>
                    <a:pt x="173355" y="283845"/>
                  </a:lnTo>
                  <a:close/>
                  <a:moveTo>
                    <a:pt x="117157" y="120015"/>
                  </a:moveTo>
                  <a:cubicBezTo>
                    <a:pt x="150495" y="120015"/>
                    <a:pt x="177165" y="93345"/>
                    <a:pt x="177165" y="60008"/>
                  </a:cubicBezTo>
                  <a:cubicBezTo>
                    <a:pt x="177165" y="26670"/>
                    <a:pt x="150495" y="0"/>
                    <a:pt x="117157" y="0"/>
                  </a:cubicBezTo>
                  <a:cubicBezTo>
                    <a:pt x="83820" y="0"/>
                    <a:pt x="57150" y="26670"/>
                    <a:pt x="57150" y="60008"/>
                  </a:cubicBezTo>
                  <a:cubicBezTo>
                    <a:pt x="57150" y="93345"/>
                    <a:pt x="83820" y="120015"/>
                    <a:pt x="117157" y="120015"/>
                  </a:cubicBezTo>
                  <a:close/>
                </a:path>
              </a:pathLst>
            </a:custGeom>
            <a:gradFill flip="none" rotWithShape="1">
              <a:gsLst>
                <a:gs pos="0">
                  <a:schemeClr val="accent3"/>
                </a:gs>
                <a:gs pos="100000">
                  <a:schemeClr val="accent3">
                    <a:lumMod val="60000"/>
                    <a:lumOff val="40000"/>
                  </a:schemeClr>
                </a:gs>
              </a:gsLst>
              <a:lin ang="16200000" scaled="1"/>
              <a:tileRect/>
            </a:gradFill>
            <a:ln>
              <a:noFill/>
            </a:ln>
            <a:effectLst>
              <a:outerShdw blurRad="330200" dist="25400" dir="5400000" sx="90000" sy="90000" algn="t" rotWithShape="0">
                <a:schemeClr val="accent3">
                  <a:lumMod val="50000"/>
                  <a:alpha val="2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22860" tIns="11430" rIns="22860" bIns="1143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zh-CN" altLang="en-US" sz="450" b="0" i="0" u="none" strike="noStrike" kern="1200" cap="none" spc="0" normalizeH="0" baseline="0" noProof="0">
                <a:ln>
                  <a:noFill/>
                </a:ln>
                <a:solidFill>
                  <a:srgbClr val="FFFFFF"/>
                </a:solidFill>
                <a:effectLst/>
                <a:uLnTx/>
                <a:uFillTx/>
                <a:latin typeface="Arial"/>
                <a:ea typeface="微软雅黑 Light"/>
                <a:cs typeface="+mn-cs"/>
              </a:endParaRPr>
            </a:p>
          </p:txBody>
        </p:sp>
      </p:grpSp>
    </p:spTree>
    <p:custDataLst>
      <p:tags r:id="rId2"/>
    </p:custDataLst>
    <p:extLst>
      <p:ext uri="{BB962C8B-B14F-4D97-AF65-F5344CB8AC3E}">
        <p14:creationId xmlns:p14="http://schemas.microsoft.com/office/powerpoint/2010/main" val="1723152756"/>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7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2" name="组合 31">
            <a:extLst>
              <a:ext uri="{FF2B5EF4-FFF2-40B4-BE49-F238E27FC236}">
                <a16:creationId xmlns:a16="http://schemas.microsoft.com/office/drawing/2014/main" id="{92FC883E-0D3A-4832-B895-AEC4437BB7BD}"/>
              </a:ext>
            </a:extLst>
          </p:cNvPr>
          <p:cNvGrpSpPr/>
          <p:nvPr/>
        </p:nvGrpSpPr>
        <p:grpSpPr>
          <a:xfrm>
            <a:off x="5338087" y="3300969"/>
            <a:ext cx="261524" cy="302383"/>
            <a:chOff x="5338087" y="3300969"/>
            <a:chExt cx="261524" cy="302383"/>
          </a:xfrm>
        </p:grpSpPr>
        <p:sp>
          <p:nvSpPr>
            <p:cNvPr id="28" name="矩形: 圆角 27">
              <a:extLst>
                <a:ext uri="{FF2B5EF4-FFF2-40B4-BE49-F238E27FC236}">
                  <a16:creationId xmlns:a16="http://schemas.microsoft.com/office/drawing/2014/main" id="{DE421EA4-2820-4B56-A880-A77BDDA814E2}"/>
                </a:ext>
              </a:extLst>
            </p:cNvPr>
            <p:cNvSpPr/>
            <p:nvPr/>
          </p:nvSpPr>
          <p:spPr>
            <a:xfrm>
              <a:off x="5534180" y="3300969"/>
              <a:ext cx="65431" cy="302383"/>
            </a:xfrm>
            <a:prstGeom prst="round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微软雅黑"/>
                <a:ea typeface="微软雅黑"/>
                <a:cs typeface="+mn-cs"/>
              </a:endParaRPr>
            </a:p>
          </p:txBody>
        </p:sp>
        <p:sp>
          <p:nvSpPr>
            <p:cNvPr id="98" name="矩形: 圆角 97">
              <a:extLst>
                <a:ext uri="{FF2B5EF4-FFF2-40B4-BE49-F238E27FC236}">
                  <a16:creationId xmlns:a16="http://schemas.microsoft.com/office/drawing/2014/main" id="{C258EC38-3883-43CB-8309-DF75CFCB5800}"/>
                </a:ext>
              </a:extLst>
            </p:cNvPr>
            <p:cNvSpPr/>
            <p:nvPr/>
          </p:nvSpPr>
          <p:spPr>
            <a:xfrm>
              <a:off x="5434243" y="3382433"/>
              <a:ext cx="65431" cy="213048"/>
            </a:xfrm>
            <a:prstGeom prst="round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微软雅黑"/>
                <a:ea typeface="微软雅黑"/>
                <a:cs typeface="+mn-cs"/>
              </a:endParaRPr>
            </a:p>
          </p:txBody>
        </p:sp>
        <p:sp>
          <p:nvSpPr>
            <p:cNvPr id="99" name="矩形: 圆角 98">
              <a:extLst>
                <a:ext uri="{FF2B5EF4-FFF2-40B4-BE49-F238E27FC236}">
                  <a16:creationId xmlns:a16="http://schemas.microsoft.com/office/drawing/2014/main" id="{D4C9785D-8AD9-43FC-A516-6EF7AFB8AF62}"/>
                </a:ext>
              </a:extLst>
            </p:cNvPr>
            <p:cNvSpPr/>
            <p:nvPr/>
          </p:nvSpPr>
          <p:spPr>
            <a:xfrm>
              <a:off x="5338087" y="3428999"/>
              <a:ext cx="65773" cy="164669"/>
            </a:xfrm>
            <a:prstGeom prst="round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微软雅黑"/>
                <a:ea typeface="微软雅黑"/>
                <a:cs typeface="+mn-cs"/>
              </a:endParaRPr>
            </a:p>
          </p:txBody>
        </p:sp>
      </p:grpSp>
      <p:grpSp>
        <p:nvGrpSpPr>
          <p:cNvPr id="33" name="组合 32">
            <a:extLst>
              <a:ext uri="{FF2B5EF4-FFF2-40B4-BE49-F238E27FC236}">
                <a16:creationId xmlns:a16="http://schemas.microsoft.com/office/drawing/2014/main" id="{9E0AA44B-A7B5-4C3E-892C-4A0E18B3D154}"/>
              </a:ext>
            </a:extLst>
          </p:cNvPr>
          <p:cNvGrpSpPr/>
          <p:nvPr/>
        </p:nvGrpSpPr>
        <p:grpSpPr>
          <a:xfrm>
            <a:off x="4985302" y="2280438"/>
            <a:ext cx="250546" cy="306702"/>
            <a:chOff x="4985302" y="2280438"/>
            <a:chExt cx="250546" cy="306702"/>
          </a:xfrm>
        </p:grpSpPr>
        <p:sp>
          <p:nvSpPr>
            <p:cNvPr id="23" name="矩形: 圆角 22">
              <a:extLst>
                <a:ext uri="{FF2B5EF4-FFF2-40B4-BE49-F238E27FC236}">
                  <a16:creationId xmlns:a16="http://schemas.microsoft.com/office/drawing/2014/main" id="{56BC8266-EA6D-4123-80B7-6C14B42EE6C0}"/>
                </a:ext>
              </a:extLst>
            </p:cNvPr>
            <p:cNvSpPr/>
            <p:nvPr/>
          </p:nvSpPr>
          <p:spPr>
            <a:xfrm>
              <a:off x="4985302" y="2280438"/>
              <a:ext cx="250546" cy="306702"/>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微软雅黑"/>
                <a:ea typeface="微软雅黑"/>
                <a:cs typeface="+mn-cs"/>
              </a:endParaRPr>
            </a:p>
          </p:txBody>
        </p:sp>
        <p:sp>
          <p:nvSpPr>
            <p:cNvPr id="96" name="任意多边形: 形状 95">
              <a:extLst>
                <a:ext uri="{FF2B5EF4-FFF2-40B4-BE49-F238E27FC236}">
                  <a16:creationId xmlns:a16="http://schemas.microsoft.com/office/drawing/2014/main" id="{1EE0475E-3210-494B-B92E-A6908250D6EE}"/>
                </a:ext>
              </a:extLst>
            </p:cNvPr>
            <p:cNvSpPr/>
            <p:nvPr/>
          </p:nvSpPr>
          <p:spPr>
            <a:xfrm>
              <a:off x="5024240" y="2302617"/>
              <a:ext cx="71442" cy="128861"/>
            </a:xfrm>
            <a:custGeom>
              <a:avLst/>
              <a:gdLst>
                <a:gd name="connsiteX0" fmla="*/ 0 w 85199"/>
                <a:gd name="connsiteY0" fmla="*/ 0 h 128861"/>
                <a:gd name="connsiteX1" fmla="*/ 85199 w 85199"/>
                <a:gd name="connsiteY1" fmla="*/ 0 h 128861"/>
                <a:gd name="connsiteX2" fmla="*/ 85199 w 85199"/>
                <a:gd name="connsiteY2" fmla="*/ 128861 h 128861"/>
                <a:gd name="connsiteX3" fmla="*/ 39620 w 85199"/>
                <a:gd name="connsiteY3" fmla="*/ 87362 h 128861"/>
                <a:gd name="connsiteX4" fmla="*/ 0 w 85199"/>
                <a:gd name="connsiteY4" fmla="*/ 126281 h 1288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199" h="128861">
                  <a:moveTo>
                    <a:pt x="0" y="0"/>
                  </a:moveTo>
                  <a:lnTo>
                    <a:pt x="85199" y="0"/>
                  </a:lnTo>
                  <a:lnTo>
                    <a:pt x="85199" y="128861"/>
                  </a:lnTo>
                  <a:lnTo>
                    <a:pt x="39620" y="87362"/>
                  </a:lnTo>
                  <a:lnTo>
                    <a:pt x="0" y="126281"/>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微软雅黑"/>
                <a:ea typeface="微软雅黑"/>
                <a:cs typeface="+mn-cs"/>
              </a:endParaRPr>
            </a:p>
          </p:txBody>
        </p:sp>
      </p:grpSp>
      <p:sp>
        <p:nvSpPr>
          <p:cNvPr id="88" name="任意多边形: 形状 87">
            <a:extLst>
              <a:ext uri="{FF2B5EF4-FFF2-40B4-BE49-F238E27FC236}">
                <a16:creationId xmlns:a16="http://schemas.microsoft.com/office/drawing/2014/main" id="{8CAFDC37-9DA0-4792-BD40-12FD82F90098}"/>
              </a:ext>
            </a:extLst>
          </p:cNvPr>
          <p:cNvSpPr/>
          <p:nvPr/>
        </p:nvSpPr>
        <p:spPr>
          <a:xfrm rot="14467407">
            <a:off x="3496374" y="3112131"/>
            <a:ext cx="184873" cy="159373"/>
          </a:xfrm>
          <a:custGeom>
            <a:avLst/>
            <a:gdLst>
              <a:gd name="connsiteX0" fmla="*/ 197339 w 203316"/>
              <a:gd name="connsiteY0" fmla="*/ 164968 h 175272"/>
              <a:gd name="connsiteX1" fmla="*/ 203316 w 203316"/>
              <a:gd name="connsiteY1" fmla="*/ 175272 h 175272"/>
              <a:gd name="connsiteX2" fmla="*/ 201234 w 203316"/>
              <a:gd name="connsiteY2" fmla="*/ 175272 h 175272"/>
              <a:gd name="connsiteX3" fmla="*/ 5977 w 203316"/>
              <a:gd name="connsiteY3" fmla="*/ 164968 h 175272"/>
              <a:gd name="connsiteX4" fmla="*/ 2082 w 203316"/>
              <a:gd name="connsiteY4" fmla="*/ 175272 h 175272"/>
              <a:gd name="connsiteX5" fmla="*/ 0 w 203316"/>
              <a:gd name="connsiteY5" fmla="*/ 175272 h 175272"/>
              <a:gd name="connsiteX6" fmla="*/ 101658 w 203316"/>
              <a:gd name="connsiteY6" fmla="*/ 0 h 175272"/>
              <a:gd name="connsiteX7" fmla="*/ 193337 w 203316"/>
              <a:gd name="connsiteY7" fmla="*/ 158066 h 175272"/>
              <a:gd name="connsiteX8" fmla="*/ 173541 w 203316"/>
              <a:gd name="connsiteY8" fmla="*/ 142381 h 175272"/>
              <a:gd name="connsiteX9" fmla="*/ 101658 w 203316"/>
              <a:gd name="connsiteY9" fmla="*/ 126475 h 175272"/>
              <a:gd name="connsiteX10" fmla="*/ 29775 w 203316"/>
              <a:gd name="connsiteY10" fmla="*/ 142381 h 175272"/>
              <a:gd name="connsiteX11" fmla="*/ 9980 w 203316"/>
              <a:gd name="connsiteY11" fmla="*/ 158066 h 1752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3316" h="175272">
                <a:moveTo>
                  <a:pt x="197339" y="164968"/>
                </a:moveTo>
                <a:lnTo>
                  <a:pt x="203316" y="175272"/>
                </a:lnTo>
                <a:lnTo>
                  <a:pt x="201234" y="175272"/>
                </a:lnTo>
                <a:close/>
                <a:moveTo>
                  <a:pt x="5977" y="164968"/>
                </a:moveTo>
                <a:lnTo>
                  <a:pt x="2082" y="175272"/>
                </a:lnTo>
                <a:lnTo>
                  <a:pt x="0" y="175272"/>
                </a:lnTo>
                <a:close/>
                <a:moveTo>
                  <a:pt x="101658" y="0"/>
                </a:moveTo>
                <a:lnTo>
                  <a:pt x="193337" y="158066"/>
                </a:lnTo>
                <a:lnTo>
                  <a:pt x="173541" y="142381"/>
                </a:lnTo>
                <a:cubicBezTo>
                  <a:pt x="155145" y="132554"/>
                  <a:pt x="129730" y="126475"/>
                  <a:pt x="101658" y="126475"/>
                </a:cubicBezTo>
                <a:cubicBezTo>
                  <a:pt x="73586" y="126475"/>
                  <a:pt x="48172" y="132554"/>
                  <a:pt x="29775" y="142381"/>
                </a:cubicBezTo>
                <a:lnTo>
                  <a:pt x="9980" y="158066"/>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微软雅黑"/>
              <a:ea typeface="微软雅黑"/>
              <a:cs typeface="+mn-cs"/>
            </a:endParaRPr>
          </a:p>
        </p:txBody>
      </p:sp>
      <p:sp>
        <p:nvSpPr>
          <p:cNvPr id="87" name="任意多边形: 形状 86">
            <a:extLst>
              <a:ext uri="{FF2B5EF4-FFF2-40B4-BE49-F238E27FC236}">
                <a16:creationId xmlns:a16="http://schemas.microsoft.com/office/drawing/2014/main" id="{F3C03DED-4B36-4B14-9A3A-076CE2B502E5}"/>
              </a:ext>
            </a:extLst>
          </p:cNvPr>
          <p:cNvSpPr/>
          <p:nvPr/>
        </p:nvSpPr>
        <p:spPr>
          <a:xfrm rot="15259994">
            <a:off x="3665157" y="3600696"/>
            <a:ext cx="184873" cy="159373"/>
          </a:xfrm>
          <a:custGeom>
            <a:avLst/>
            <a:gdLst>
              <a:gd name="connsiteX0" fmla="*/ 197339 w 203316"/>
              <a:gd name="connsiteY0" fmla="*/ 164968 h 175272"/>
              <a:gd name="connsiteX1" fmla="*/ 203316 w 203316"/>
              <a:gd name="connsiteY1" fmla="*/ 175272 h 175272"/>
              <a:gd name="connsiteX2" fmla="*/ 201234 w 203316"/>
              <a:gd name="connsiteY2" fmla="*/ 175272 h 175272"/>
              <a:gd name="connsiteX3" fmla="*/ 5977 w 203316"/>
              <a:gd name="connsiteY3" fmla="*/ 164968 h 175272"/>
              <a:gd name="connsiteX4" fmla="*/ 2082 w 203316"/>
              <a:gd name="connsiteY4" fmla="*/ 175272 h 175272"/>
              <a:gd name="connsiteX5" fmla="*/ 0 w 203316"/>
              <a:gd name="connsiteY5" fmla="*/ 175272 h 175272"/>
              <a:gd name="connsiteX6" fmla="*/ 101658 w 203316"/>
              <a:gd name="connsiteY6" fmla="*/ 0 h 175272"/>
              <a:gd name="connsiteX7" fmla="*/ 193337 w 203316"/>
              <a:gd name="connsiteY7" fmla="*/ 158066 h 175272"/>
              <a:gd name="connsiteX8" fmla="*/ 173541 w 203316"/>
              <a:gd name="connsiteY8" fmla="*/ 142381 h 175272"/>
              <a:gd name="connsiteX9" fmla="*/ 101658 w 203316"/>
              <a:gd name="connsiteY9" fmla="*/ 126475 h 175272"/>
              <a:gd name="connsiteX10" fmla="*/ 29775 w 203316"/>
              <a:gd name="connsiteY10" fmla="*/ 142381 h 175272"/>
              <a:gd name="connsiteX11" fmla="*/ 9980 w 203316"/>
              <a:gd name="connsiteY11" fmla="*/ 158066 h 1752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3316" h="175272">
                <a:moveTo>
                  <a:pt x="197339" y="164968"/>
                </a:moveTo>
                <a:lnTo>
                  <a:pt x="203316" y="175272"/>
                </a:lnTo>
                <a:lnTo>
                  <a:pt x="201234" y="175272"/>
                </a:lnTo>
                <a:close/>
                <a:moveTo>
                  <a:pt x="5977" y="164968"/>
                </a:moveTo>
                <a:lnTo>
                  <a:pt x="2082" y="175272"/>
                </a:lnTo>
                <a:lnTo>
                  <a:pt x="0" y="175272"/>
                </a:lnTo>
                <a:close/>
                <a:moveTo>
                  <a:pt x="101658" y="0"/>
                </a:moveTo>
                <a:lnTo>
                  <a:pt x="193337" y="158066"/>
                </a:lnTo>
                <a:lnTo>
                  <a:pt x="173541" y="142381"/>
                </a:lnTo>
                <a:cubicBezTo>
                  <a:pt x="155145" y="132554"/>
                  <a:pt x="129730" y="126475"/>
                  <a:pt x="101658" y="126475"/>
                </a:cubicBezTo>
                <a:cubicBezTo>
                  <a:pt x="73586" y="126475"/>
                  <a:pt x="48172" y="132554"/>
                  <a:pt x="29775" y="142381"/>
                </a:cubicBezTo>
                <a:lnTo>
                  <a:pt x="9980" y="158066"/>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微软雅黑"/>
              <a:ea typeface="微软雅黑"/>
              <a:cs typeface="+mn-cs"/>
            </a:endParaRPr>
          </a:p>
        </p:txBody>
      </p:sp>
      <p:sp>
        <p:nvSpPr>
          <p:cNvPr id="86" name="任意多边形: 形状 85">
            <a:extLst>
              <a:ext uri="{FF2B5EF4-FFF2-40B4-BE49-F238E27FC236}">
                <a16:creationId xmlns:a16="http://schemas.microsoft.com/office/drawing/2014/main" id="{EB3CF670-3224-4331-AAE8-D131FFAF444C}"/>
              </a:ext>
            </a:extLst>
          </p:cNvPr>
          <p:cNvSpPr/>
          <p:nvPr/>
        </p:nvSpPr>
        <p:spPr>
          <a:xfrm rot="17497937">
            <a:off x="3673572" y="4096111"/>
            <a:ext cx="184873" cy="159373"/>
          </a:xfrm>
          <a:custGeom>
            <a:avLst/>
            <a:gdLst>
              <a:gd name="connsiteX0" fmla="*/ 197339 w 203316"/>
              <a:gd name="connsiteY0" fmla="*/ 164968 h 175272"/>
              <a:gd name="connsiteX1" fmla="*/ 203316 w 203316"/>
              <a:gd name="connsiteY1" fmla="*/ 175272 h 175272"/>
              <a:gd name="connsiteX2" fmla="*/ 201234 w 203316"/>
              <a:gd name="connsiteY2" fmla="*/ 175272 h 175272"/>
              <a:gd name="connsiteX3" fmla="*/ 5977 w 203316"/>
              <a:gd name="connsiteY3" fmla="*/ 164968 h 175272"/>
              <a:gd name="connsiteX4" fmla="*/ 2082 w 203316"/>
              <a:gd name="connsiteY4" fmla="*/ 175272 h 175272"/>
              <a:gd name="connsiteX5" fmla="*/ 0 w 203316"/>
              <a:gd name="connsiteY5" fmla="*/ 175272 h 175272"/>
              <a:gd name="connsiteX6" fmla="*/ 101658 w 203316"/>
              <a:gd name="connsiteY6" fmla="*/ 0 h 175272"/>
              <a:gd name="connsiteX7" fmla="*/ 193337 w 203316"/>
              <a:gd name="connsiteY7" fmla="*/ 158066 h 175272"/>
              <a:gd name="connsiteX8" fmla="*/ 173541 w 203316"/>
              <a:gd name="connsiteY8" fmla="*/ 142381 h 175272"/>
              <a:gd name="connsiteX9" fmla="*/ 101658 w 203316"/>
              <a:gd name="connsiteY9" fmla="*/ 126475 h 175272"/>
              <a:gd name="connsiteX10" fmla="*/ 29775 w 203316"/>
              <a:gd name="connsiteY10" fmla="*/ 142381 h 175272"/>
              <a:gd name="connsiteX11" fmla="*/ 9980 w 203316"/>
              <a:gd name="connsiteY11" fmla="*/ 158066 h 1752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3316" h="175272">
                <a:moveTo>
                  <a:pt x="197339" y="164968"/>
                </a:moveTo>
                <a:lnTo>
                  <a:pt x="203316" y="175272"/>
                </a:lnTo>
                <a:lnTo>
                  <a:pt x="201234" y="175272"/>
                </a:lnTo>
                <a:close/>
                <a:moveTo>
                  <a:pt x="5977" y="164968"/>
                </a:moveTo>
                <a:lnTo>
                  <a:pt x="2082" y="175272"/>
                </a:lnTo>
                <a:lnTo>
                  <a:pt x="0" y="175272"/>
                </a:lnTo>
                <a:close/>
                <a:moveTo>
                  <a:pt x="101658" y="0"/>
                </a:moveTo>
                <a:lnTo>
                  <a:pt x="193337" y="158066"/>
                </a:lnTo>
                <a:lnTo>
                  <a:pt x="173541" y="142381"/>
                </a:lnTo>
                <a:cubicBezTo>
                  <a:pt x="155145" y="132554"/>
                  <a:pt x="129730" y="126475"/>
                  <a:pt x="101658" y="126475"/>
                </a:cubicBezTo>
                <a:cubicBezTo>
                  <a:pt x="73586" y="126475"/>
                  <a:pt x="48172" y="132554"/>
                  <a:pt x="29775" y="142381"/>
                </a:cubicBezTo>
                <a:lnTo>
                  <a:pt x="9980" y="158066"/>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微软雅黑"/>
              <a:ea typeface="微软雅黑"/>
              <a:cs typeface="+mn-cs"/>
            </a:endParaRPr>
          </a:p>
        </p:txBody>
      </p:sp>
      <p:sp>
        <p:nvSpPr>
          <p:cNvPr id="85" name="任意多边形: 形状 84">
            <a:extLst>
              <a:ext uri="{FF2B5EF4-FFF2-40B4-BE49-F238E27FC236}">
                <a16:creationId xmlns:a16="http://schemas.microsoft.com/office/drawing/2014/main" id="{1B682CB1-2D21-4EB5-A705-752009CBD7F3}"/>
              </a:ext>
            </a:extLst>
          </p:cNvPr>
          <p:cNvSpPr/>
          <p:nvPr/>
        </p:nvSpPr>
        <p:spPr>
          <a:xfrm rot="18567539">
            <a:off x="3517809" y="4592861"/>
            <a:ext cx="184873" cy="159373"/>
          </a:xfrm>
          <a:custGeom>
            <a:avLst/>
            <a:gdLst>
              <a:gd name="connsiteX0" fmla="*/ 197339 w 203316"/>
              <a:gd name="connsiteY0" fmla="*/ 164968 h 175272"/>
              <a:gd name="connsiteX1" fmla="*/ 203316 w 203316"/>
              <a:gd name="connsiteY1" fmla="*/ 175272 h 175272"/>
              <a:gd name="connsiteX2" fmla="*/ 201234 w 203316"/>
              <a:gd name="connsiteY2" fmla="*/ 175272 h 175272"/>
              <a:gd name="connsiteX3" fmla="*/ 5977 w 203316"/>
              <a:gd name="connsiteY3" fmla="*/ 164968 h 175272"/>
              <a:gd name="connsiteX4" fmla="*/ 2082 w 203316"/>
              <a:gd name="connsiteY4" fmla="*/ 175272 h 175272"/>
              <a:gd name="connsiteX5" fmla="*/ 0 w 203316"/>
              <a:gd name="connsiteY5" fmla="*/ 175272 h 175272"/>
              <a:gd name="connsiteX6" fmla="*/ 101658 w 203316"/>
              <a:gd name="connsiteY6" fmla="*/ 0 h 175272"/>
              <a:gd name="connsiteX7" fmla="*/ 193337 w 203316"/>
              <a:gd name="connsiteY7" fmla="*/ 158066 h 175272"/>
              <a:gd name="connsiteX8" fmla="*/ 173541 w 203316"/>
              <a:gd name="connsiteY8" fmla="*/ 142381 h 175272"/>
              <a:gd name="connsiteX9" fmla="*/ 101658 w 203316"/>
              <a:gd name="connsiteY9" fmla="*/ 126475 h 175272"/>
              <a:gd name="connsiteX10" fmla="*/ 29775 w 203316"/>
              <a:gd name="connsiteY10" fmla="*/ 142381 h 175272"/>
              <a:gd name="connsiteX11" fmla="*/ 9980 w 203316"/>
              <a:gd name="connsiteY11" fmla="*/ 158066 h 1752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3316" h="175272">
                <a:moveTo>
                  <a:pt x="197339" y="164968"/>
                </a:moveTo>
                <a:lnTo>
                  <a:pt x="203316" y="175272"/>
                </a:lnTo>
                <a:lnTo>
                  <a:pt x="201234" y="175272"/>
                </a:lnTo>
                <a:close/>
                <a:moveTo>
                  <a:pt x="5977" y="164968"/>
                </a:moveTo>
                <a:lnTo>
                  <a:pt x="2082" y="175272"/>
                </a:lnTo>
                <a:lnTo>
                  <a:pt x="0" y="175272"/>
                </a:lnTo>
                <a:close/>
                <a:moveTo>
                  <a:pt x="101658" y="0"/>
                </a:moveTo>
                <a:lnTo>
                  <a:pt x="193337" y="158066"/>
                </a:lnTo>
                <a:lnTo>
                  <a:pt x="173541" y="142381"/>
                </a:lnTo>
                <a:cubicBezTo>
                  <a:pt x="155145" y="132554"/>
                  <a:pt x="129730" y="126475"/>
                  <a:pt x="101658" y="126475"/>
                </a:cubicBezTo>
                <a:cubicBezTo>
                  <a:pt x="73586" y="126475"/>
                  <a:pt x="48172" y="132554"/>
                  <a:pt x="29775" y="142381"/>
                </a:cubicBezTo>
                <a:lnTo>
                  <a:pt x="9980" y="158066"/>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微软雅黑"/>
              <a:ea typeface="微软雅黑"/>
              <a:cs typeface="+mn-cs"/>
            </a:endParaRPr>
          </a:p>
        </p:txBody>
      </p:sp>
      <p:sp>
        <p:nvSpPr>
          <p:cNvPr id="60" name="圆: 空心 59">
            <a:extLst>
              <a:ext uri="{FF2B5EF4-FFF2-40B4-BE49-F238E27FC236}">
                <a16:creationId xmlns:a16="http://schemas.microsoft.com/office/drawing/2014/main" id="{4514DE06-1770-4AF0-A89C-DACD64DEA815}"/>
              </a:ext>
            </a:extLst>
          </p:cNvPr>
          <p:cNvSpPr/>
          <p:nvPr/>
        </p:nvSpPr>
        <p:spPr>
          <a:xfrm>
            <a:off x="4787535" y="5120895"/>
            <a:ext cx="662749" cy="662749"/>
          </a:xfrm>
          <a:prstGeom prst="donut">
            <a:avLst>
              <a:gd name="adj" fmla="val 10462"/>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black"/>
              </a:solidFill>
              <a:effectLst/>
              <a:uLnTx/>
              <a:uFillTx/>
              <a:latin typeface="微软雅黑"/>
              <a:ea typeface="微软雅黑"/>
              <a:cs typeface="+mn-cs"/>
            </a:endParaRPr>
          </a:p>
        </p:txBody>
      </p:sp>
      <p:sp>
        <p:nvSpPr>
          <p:cNvPr id="59" name="圆: 空心 58">
            <a:extLst>
              <a:ext uri="{FF2B5EF4-FFF2-40B4-BE49-F238E27FC236}">
                <a16:creationId xmlns:a16="http://schemas.microsoft.com/office/drawing/2014/main" id="{FAEF11DB-FCFB-4881-BF52-F2C1074570ED}"/>
              </a:ext>
            </a:extLst>
          </p:cNvPr>
          <p:cNvSpPr/>
          <p:nvPr/>
        </p:nvSpPr>
        <p:spPr>
          <a:xfrm>
            <a:off x="5130795" y="4128095"/>
            <a:ext cx="662749" cy="662749"/>
          </a:xfrm>
          <a:prstGeom prst="donut">
            <a:avLst>
              <a:gd name="adj" fmla="val 10462"/>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black"/>
              </a:solidFill>
              <a:effectLst/>
              <a:uLnTx/>
              <a:uFillTx/>
              <a:latin typeface="微软雅黑"/>
              <a:ea typeface="微软雅黑"/>
              <a:cs typeface="+mn-cs"/>
            </a:endParaRPr>
          </a:p>
        </p:txBody>
      </p:sp>
      <p:sp>
        <p:nvSpPr>
          <p:cNvPr id="58" name="圆: 空心 57">
            <a:extLst>
              <a:ext uri="{FF2B5EF4-FFF2-40B4-BE49-F238E27FC236}">
                <a16:creationId xmlns:a16="http://schemas.microsoft.com/office/drawing/2014/main" id="{96495FCC-031C-41E2-9F10-B4C404AD6364}"/>
              </a:ext>
            </a:extLst>
          </p:cNvPr>
          <p:cNvSpPr/>
          <p:nvPr/>
        </p:nvSpPr>
        <p:spPr>
          <a:xfrm>
            <a:off x="5136463" y="3118664"/>
            <a:ext cx="662749" cy="662749"/>
          </a:xfrm>
          <a:prstGeom prst="donut">
            <a:avLst>
              <a:gd name="adj" fmla="val 10462"/>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black"/>
              </a:solidFill>
              <a:effectLst/>
              <a:uLnTx/>
              <a:uFillTx/>
              <a:latin typeface="微软雅黑"/>
              <a:ea typeface="微软雅黑"/>
              <a:cs typeface="+mn-cs"/>
            </a:endParaRPr>
          </a:p>
        </p:txBody>
      </p:sp>
      <p:sp>
        <p:nvSpPr>
          <p:cNvPr id="57" name="圆: 空心 56">
            <a:extLst>
              <a:ext uri="{FF2B5EF4-FFF2-40B4-BE49-F238E27FC236}">
                <a16:creationId xmlns:a16="http://schemas.microsoft.com/office/drawing/2014/main" id="{BCC712F7-193C-4E1B-B486-3406BCAADD26}"/>
              </a:ext>
            </a:extLst>
          </p:cNvPr>
          <p:cNvSpPr/>
          <p:nvPr/>
        </p:nvSpPr>
        <p:spPr>
          <a:xfrm>
            <a:off x="4783008" y="2100104"/>
            <a:ext cx="662749" cy="662749"/>
          </a:xfrm>
          <a:prstGeom prst="donut">
            <a:avLst>
              <a:gd name="adj" fmla="val 10462"/>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black"/>
              </a:solidFill>
              <a:effectLst/>
              <a:uLnTx/>
              <a:uFillTx/>
              <a:latin typeface="微软雅黑"/>
              <a:ea typeface="微软雅黑"/>
              <a:cs typeface="+mn-cs"/>
            </a:endParaRPr>
          </a:p>
        </p:txBody>
      </p:sp>
      <p:sp>
        <p:nvSpPr>
          <p:cNvPr id="56" name="椭圆 55">
            <a:extLst>
              <a:ext uri="{FF2B5EF4-FFF2-40B4-BE49-F238E27FC236}">
                <a16:creationId xmlns:a16="http://schemas.microsoft.com/office/drawing/2014/main" id="{4876521B-8C47-42D8-8DC0-27D496871C88}"/>
              </a:ext>
            </a:extLst>
          </p:cNvPr>
          <p:cNvSpPr/>
          <p:nvPr/>
        </p:nvSpPr>
        <p:spPr>
          <a:xfrm>
            <a:off x="3660711" y="4669143"/>
            <a:ext cx="250093" cy="250093"/>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微软雅黑"/>
              <a:ea typeface="微软雅黑"/>
              <a:cs typeface="+mn-cs"/>
            </a:endParaRPr>
          </a:p>
        </p:txBody>
      </p:sp>
      <p:sp>
        <p:nvSpPr>
          <p:cNvPr id="55" name="椭圆 54">
            <a:extLst>
              <a:ext uri="{FF2B5EF4-FFF2-40B4-BE49-F238E27FC236}">
                <a16:creationId xmlns:a16="http://schemas.microsoft.com/office/drawing/2014/main" id="{381AAFF1-A091-43AF-A8E2-A3C16E9A7AFA}"/>
              </a:ext>
            </a:extLst>
          </p:cNvPr>
          <p:cNvSpPr/>
          <p:nvPr/>
        </p:nvSpPr>
        <p:spPr>
          <a:xfrm>
            <a:off x="3871325" y="4144623"/>
            <a:ext cx="250093" cy="250093"/>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微软雅黑"/>
              <a:ea typeface="微软雅黑"/>
              <a:cs typeface="+mn-cs"/>
            </a:endParaRPr>
          </a:p>
        </p:txBody>
      </p:sp>
      <p:sp>
        <p:nvSpPr>
          <p:cNvPr id="54" name="椭圆 53">
            <a:extLst>
              <a:ext uri="{FF2B5EF4-FFF2-40B4-BE49-F238E27FC236}">
                <a16:creationId xmlns:a16="http://schemas.microsoft.com/office/drawing/2014/main" id="{4A595FCC-8B11-4D85-808A-B39BE7F6A6D0}"/>
              </a:ext>
            </a:extLst>
          </p:cNvPr>
          <p:cNvSpPr/>
          <p:nvPr/>
        </p:nvSpPr>
        <p:spPr>
          <a:xfrm>
            <a:off x="3862336" y="3504435"/>
            <a:ext cx="250093" cy="250093"/>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微软雅黑"/>
              <a:ea typeface="微软雅黑"/>
              <a:cs typeface="+mn-cs"/>
            </a:endParaRPr>
          </a:p>
        </p:txBody>
      </p:sp>
      <p:sp>
        <p:nvSpPr>
          <p:cNvPr id="3" name="椭圆 2">
            <a:extLst>
              <a:ext uri="{FF2B5EF4-FFF2-40B4-BE49-F238E27FC236}">
                <a16:creationId xmlns:a16="http://schemas.microsoft.com/office/drawing/2014/main" id="{48F76938-B1E4-42F9-8BC5-C0D93BC44BE2}"/>
              </a:ext>
            </a:extLst>
          </p:cNvPr>
          <p:cNvSpPr/>
          <p:nvPr/>
        </p:nvSpPr>
        <p:spPr>
          <a:xfrm>
            <a:off x="3660712" y="2941725"/>
            <a:ext cx="250093" cy="250093"/>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微软雅黑"/>
              <a:ea typeface="微软雅黑"/>
              <a:cs typeface="+mn-cs"/>
            </a:endParaRPr>
          </a:p>
        </p:txBody>
      </p:sp>
      <p:sp>
        <p:nvSpPr>
          <p:cNvPr id="2" name="圆: 空心 1">
            <a:extLst>
              <a:ext uri="{FF2B5EF4-FFF2-40B4-BE49-F238E27FC236}">
                <a16:creationId xmlns:a16="http://schemas.microsoft.com/office/drawing/2014/main" id="{26C4D837-DA15-4A51-A2DD-A20F7A993D23}"/>
              </a:ext>
            </a:extLst>
          </p:cNvPr>
          <p:cNvSpPr/>
          <p:nvPr/>
        </p:nvSpPr>
        <p:spPr>
          <a:xfrm>
            <a:off x="1961477" y="3078597"/>
            <a:ext cx="1575591" cy="1575591"/>
          </a:xfrm>
          <a:prstGeom prst="donut">
            <a:avLst>
              <a:gd name="adj" fmla="val 10462"/>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black"/>
              </a:solidFill>
              <a:effectLst/>
              <a:uLnTx/>
              <a:uFillTx/>
              <a:latin typeface="微软雅黑"/>
              <a:ea typeface="微软雅黑"/>
              <a:cs typeface="+mn-cs"/>
            </a:endParaRPr>
          </a:p>
        </p:txBody>
      </p:sp>
      <p:sp>
        <p:nvSpPr>
          <p:cNvPr id="1010" name="Object 1010"/>
          <p:cNvSpPr txBox="1"/>
          <p:nvPr/>
        </p:nvSpPr>
        <p:spPr>
          <a:xfrm>
            <a:off x="2100752" y="3634470"/>
            <a:ext cx="1250469" cy="361950"/>
          </a:xfrm>
          <a:prstGeom prst="rect">
            <a:avLst/>
          </a:prstGeom>
        </p:spPr>
        <p:txBody>
          <a:bodyPr vert="horz" rtlCol="0" anchor="t" anchorCtr="0">
            <a:noAutofit/>
          </a:bodyPr>
          <a:lstStyle/>
          <a:p>
            <a:pPr marL="0" marR="0" lvl="0" indent="0" algn="ctr" defTabSz="914400" rtl="0" eaLnBrk="1" fontAlgn="auto" latinLnBrk="0" hangingPunct="1">
              <a:lnSpc>
                <a:spcPct val="123333"/>
              </a:lnSpc>
              <a:spcBef>
                <a:spcPts val="0"/>
              </a:spcBef>
              <a:spcAft>
                <a:spcPts val="0"/>
              </a:spcAft>
              <a:buClrTx/>
              <a:buSzTx/>
              <a:buFontTx/>
              <a:buNone/>
              <a:tabLst/>
              <a:defRPr/>
            </a:pPr>
            <a:r>
              <a:rPr kumimoji="0" lang="zh-CN" altLang="en-US" sz="1935" b="0" i="0" u="none" strike="noStrike" kern="1200" cap="none" spc="0" normalizeH="0" baseline="0" noProof="0" dirty="0">
                <a:ln>
                  <a:noFill/>
                </a:ln>
                <a:solidFill>
                  <a:srgbClr val="2C66F1"/>
                </a:solidFill>
                <a:effectLst/>
                <a:uLnTx/>
                <a:uFillTx/>
                <a:latin typeface="OPPOSans B" panose="00020600040101010101" pitchFamily="18" charset="-122"/>
                <a:ea typeface="OPPOSans B" panose="00020600040101010101" pitchFamily="18" charset="-122"/>
                <a:cs typeface="+mn-cs"/>
              </a:rPr>
              <a:t>添加标题</a:t>
            </a:r>
            <a:endParaRPr kumimoji="0" lang="zh-CN" altLang="en-US" sz="900" b="0" i="0" u="none" strike="noStrike" kern="1200" cap="none" spc="0" normalizeH="0" baseline="0" noProof="0" dirty="0">
              <a:ln>
                <a:noFill/>
              </a:ln>
              <a:solidFill>
                <a:srgbClr val="2C66F1"/>
              </a:solidFill>
              <a:effectLst/>
              <a:uLnTx/>
              <a:uFillTx/>
              <a:latin typeface="微软雅黑"/>
              <a:ea typeface="微软雅黑"/>
              <a:cs typeface="+mn-cs"/>
            </a:endParaRPr>
          </a:p>
        </p:txBody>
      </p:sp>
      <p:sp>
        <p:nvSpPr>
          <p:cNvPr id="1018" name="Object 1018"/>
          <p:cNvSpPr txBox="1"/>
          <p:nvPr/>
        </p:nvSpPr>
        <p:spPr>
          <a:xfrm>
            <a:off x="5566896" y="2148324"/>
            <a:ext cx="4397352" cy="533400"/>
          </a:xfrm>
          <a:prstGeom prst="rect">
            <a:avLst/>
          </a:prstGeom>
        </p:spPr>
        <p:txBody>
          <a:bodyPr vert="horz" rtlCol="0" anchor="t" anchorCtr="0">
            <a:noAutofit/>
          </a:bodyPr>
          <a:lstStyle/>
          <a:p>
            <a:pPr marL="0" marR="0" lvl="0" indent="0" algn="l" defTabSz="914400" rtl="0" eaLnBrk="1" fontAlgn="auto" latinLnBrk="0" hangingPunct="1">
              <a:lnSpc>
                <a:spcPct val="125000"/>
              </a:lnSpc>
              <a:spcBef>
                <a:spcPts val="0"/>
              </a:spcBef>
              <a:spcAft>
                <a:spcPts val="0"/>
              </a:spcAft>
              <a:buClrTx/>
              <a:buSzTx/>
              <a:buFontTx/>
              <a:buNone/>
              <a:tabLst/>
              <a:defRPr/>
            </a:pPr>
            <a:r>
              <a:rPr kumimoji="0" lang="zh-CN" altLang="en-US" sz="1420" b="0" i="0" u="none" strike="noStrike" kern="1200" cap="none" spc="0" normalizeH="0" baseline="0" noProof="0" dirty="0">
                <a:ln>
                  <a:noFill/>
                </a:ln>
                <a:solidFill>
                  <a:srgbClr val="999999"/>
                </a:solidFill>
                <a:effectLst/>
                <a:uLnTx/>
                <a:uFillTx/>
                <a:latin typeface="SourceHanSansSC-Regular"/>
                <a:ea typeface="SourceHanSansSC-Regular"/>
                <a:cs typeface="+mn-cs"/>
              </a:rPr>
              <a:t>单击此处编辑文本单击此处编辑文本单击此处编辑文本单击此处编辑文本</a:t>
            </a:r>
            <a:endParaRPr kumimoji="0" lang="zh-CN" altLang="en-US" sz="900" b="0" i="0" u="none" strike="noStrike" kern="1200" cap="none" spc="0" normalizeH="0" baseline="0" noProof="0">
              <a:ln>
                <a:noFill/>
              </a:ln>
              <a:solidFill>
                <a:prstClr val="black"/>
              </a:solidFill>
              <a:effectLst/>
              <a:uLnTx/>
              <a:uFillTx/>
              <a:latin typeface="微软雅黑"/>
              <a:ea typeface="微软雅黑"/>
              <a:cs typeface="+mn-cs"/>
            </a:endParaRPr>
          </a:p>
        </p:txBody>
      </p:sp>
      <p:sp>
        <p:nvSpPr>
          <p:cNvPr id="1019" name="Object 1019"/>
          <p:cNvSpPr txBox="1"/>
          <p:nvPr/>
        </p:nvSpPr>
        <p:spPr>
          <a:xfrm>
            <a:off x="5554391" y="1768512"/>
            <a:ext cx="1377469" cy="361950"/>
          </a:xfrm>
          <a:prstGeom prst="rect">
            <a:avLst/>
          </a:prstGeom>
        </p:spPr>
        <p:txBody>
          <a:bodyPr vert="horz" rtlCol="0" anchor="t" anchorCtr="0">
            <a:noAutofit/>
          </a:bodyPr>
          <a:lstStyle/>
          <a:p>
            <a:pPr marL="0" marR="0" lvl="0" indent="0" algn="l" defTabSz="914400" rtl="0" eaLnBrk="1" fontAlgn="auto" latinLnBrk="0" hangingPunct="1">
              <a:lnSpc>
                <a:spcPct val="123333"/>
              </a:lnSpc>
              <a:spcBef>
                <a:spcPts val="0"/>
              </a:spcBef>
              <a:spcAft>
                <a:spcPts val="0"/>
              </a:spcAft>
              <a:buClrTx/>
              <a:buSzTx/>
              <a:buFontTx/>
              <a:buNone/>
              <a:tabLst/>
              <a:defRPr/>
            </a:pPr>
            <a:r>
              <a:rPr kumimoji="0" lang="zh-CN" altLang="en-US" sz="1935" b="0" i="0" u="none" strike="noStrike" kern="1200" cap="none" spc="0" normalizeH="0" baseline="0" noProof="0" dirty="0">
                <a:ln>
                  <a:noFill/>
                </a:ln>
                <a:solidFill>
                  <a:prstClr val="black"/>
                </a:solidFill>
                <a:effectLst/>
                <a:uLnTx/>
                <a:uFillTx/>
                <a:latin typeface="OPPOSans B" panose="00020600040101010101" pitchFamily="18" charset="-122"/>
                <a:ea typeface="OPPOSans B" panose="00020600040101010101" pitchFamily="18" charset="-122"/>
                <a:cs typeface="+mn-cs"/>
              </a:rPr>
              <a:t>添加标题</a:t>
            </a:r>
            <a:endParaRPr kumimoji="0" lang="zh-CN" altLang="en-US" sz="900" b="0" i="0" u="none" strike="noStrike" kern="1200" cap="none" spc="0" normalizeH="0" baseline="0" noProof="0" dirty="0">
              <a:ln>
                <a:noFill/>
              </a:ln>
              <a:solidFill>
                <a:prstClr val="black"/>
              </a:solidFill>
              <a:effectLst/>
              <a:uLnTx/>
              <a:uFillTx/>
              <a:latin typeface="微软雅黑"/>
              <a:ea typeface="微软雅黑"/>
              <a:cs typeface="+mn-cs"/>
            </a:endParaRPr>
          </a:p>
        </p:txBody>
      </p:sp>
      <p:sp>
        <p:nvSpPr>
          <p:cNvPr id="1027" name="Object 1027"/>
          <p:cNvSpPr txBox="1"/>
          <p:nvPr/>
        </p:nvSpPr>
        <p:spPr>
          <a:xfrm>
            <a:off x="5942036" y="3261242"/>
            <a:ext cx="4397352" cy="533400"/>
          </a:xfrm>
          <a:prstGeom prst="rect">
            <a:avLst/>
          </a:prstGeom>
        </p:spPr>
        <p:txBody>
          <a:bodyPr vert="horz" rtlCol="0" anchor="t" anchorCtr="0">
            <a:noAutofit/>
          </a:bodyPr>
          <a:lstStyle/>
          <a:p>
            <a:pPr marL="0" marR="0" lvl="0" indent="0" algn="l" defTabSz="914400" rtl="0" eaLnBrk="1" fontAlgn="auto" latinLnBrk="0" hangingPunct="1">
              <a:lnSpc>
                <a:spcPct val="125000"/>
              </a:lnSpc>
              <a:spcBef>
                <a:spcPts val="0"/>
              </a:spcBef>
              <a:spcAft>
                <a:spcPts val="0"/>
              </a:spcAft>
              <a:buClrTx/>
              <a:buSzTx/>
              <a:buFontTx/>
              <a:buNone/>
              <a:tabLst/>
              <a:defRPr/>
            </a:pPr>
            <a:r>
              <a:rPr kumimoji="0" lang="zh-CN" altLang="en-US" sz="1420" b="0" i="0" u="none" strike="noStrike" kern="1200" cap="none" spc="0" normalizeH="0" baseline="0" noProof="0" dirty="0">
                <a:ln>
                  <a:noFill/>
                </a:ln>
                <a:solidFill>
                  <a:srgbClr val="999999"/>
                </a:solidFill>
                <a:effectLst/>
                <a:uLnTx/>
                <a:uFillTx/>
                <a:latin typeface="SourceHanSansSC-Regular"/>
                <a:ea typeface="SourceHanSansSC-Regular"/>
                <a:cs typeface="+mn-cs"/>
              </a:rPr>
              <a:t>单击此处编辑文本单击此处编辑文本单击此处编辑文本单击此处编辑文本</a:t>
            </a:r>
            <a:endParaRPr kumimoji="0" lang="zh-CN" altLang="en-US" sz="900" b="0" i="0" u="none" strike="noStrike" kern="1200" cap="none" spc="0" normalizeH="0" baseline="0" noProof="0">
              <a:ln>
                <a:noFill/>
              </a:ln>
              <a:solidFill>
                <a:prstClr val="black"/>
              </a:solidFill>
              <a:effectLst/>
              <a:uLnTx/>
              <a:uFillTx/>
              <a:latin typeface="微软雅黑"/>
              <a:ea typeface="微软雅黑"/>
              <a:cs typeface="+mn-cs"/>
            </a:endParaRPr>
          </a:p>
        </p:txBody>
      </p:sp>
      <p:sp>
        <p:nvSpPr>
          <p:cNvPr id="1028" name="Object 1028"/>
          <p:cNvSpPr txBox="1"/>
          <p:nvPr/>
        </p:nvSpPr>
        <p:spPr>
          <a:xfrm>
            <a:off x="5929532" y="2881430"/>
            <a:ext cx="1377469" cy="361950"/>
          </a:xfrm>
          <a:prstGeom prst="rect">
            <a:avLst/>
          </a:prstGeom>
        </p:spPr>
        <p:txBody>
          <a:bodyPr vert="horz" rtlCol="0" anchor="t" anchorCtr="0">
            <a:noAutofit/>
          </a:bodyPr>
          <a:lstStyle/>
          <a:p>
            <a:pPr marL="0" marR="0" lvl="0" indent="0" algn="l" defTabSz="914400" rtl="0" eaLnBrk="1" fontAlgn="auto" latinLnBrk="0" hangingPunct="1">
              <a:lnSpc>
                <a:spcPct val="123333"/>
              </a:lnSpc>
              <a:spcBef>
                <a:spcPts val="0"/>
              </a:spcBef>
              <a:spcAft>
                <a:spcPts val="0"/>
              </a:spcAft>
              <a:buClrTx/>
              <a:buSzTx/>
              <a:buFontTx/>
              <a:buNone/>
              <a:tabLst/>
              <a:defRPr/>
            </a:pPr>
            <a:r>
              <a:rPr kumimoji="0" lang="zh-CN" altLang="en-US" sz="1935" b="0" i="0" u="none" strike="noStrike" kern="1200" cap="none" spc="0" normalizeH="0" baseline="0" noProof="0" dirty="0">
                <a:ln>
                  <a:noFill/>
                </a:ln>
                <a:solidFill>
                  <a:prstClr val="black"/>
                </a:solidFill>
                <a:effectLst/>
                <a:uLnTx/>
                <a:uFillTx/>
                <a:latin typeface="OPPOSans B" panose="00020600040101010101" pitchFamily="18" charset="-122"/>
                <a:ea typeface="OPPOSans B" panose="00020600040101010101" pitchFamily="18" charset="-122"/>
                <a:cs typeface="+mn-cs"/>
              </a:rPr>
              <a:t>添加标题</a:t>
            </a:r>
            <a:endParaRPr kumimoji="0" lang="zh-CN" altLang="en-US" sz="900" b="0" i="0" u="none" strike="noStrike" kern="1200" cap="none" spc="0" normalizeH="0" baseline="0" noProof="0" dirty="0">
              <a:ln>
                <a:noFill/>
              </a:ln>
              <a:solidFill>
                <a:prstClr val="black"/>
              </a:solidFill>
              <a:effectLst/>
              <a:uLnTx/>
              <a:uFillTx/>
              <a:latin typeface="微软雅黑"/>
              <a:ea typeface="微软雅黑"/>
              <a:cs typeface="+mn-cs"/>
            </a:endParaRPr>
          </a:p>
        </p:txBody>
      </p:sp>
      <p:sp>
        <p:nvSpPr>
          <p:cNvPr id="1036" name="Object 1036"/>
          <p:cNvSpPr txBox="1"/>
          <p:nvPr/>
        </p:nvSpPr>
        <p:spPr>
          <a:xfrm>
            <a:off x="5942036" y="4386664"/>
            <a:ext cx="4397352" cy="533400"/>
          </a:xfrm>
          <a:prstGeom prst="rect">
            <a:avLst/>
          </a:prstGeom>
        </p:spPr>
        <p:txBody>
          <a:bodyPr vert="horz" rtlCol="0" anchor="t" anchorCtr="0">
            <a:noAutofit/>
          </a:bodyPr>
          <a:lstStyle/>
          <a:p>
            <a:pPr marL="0" marR="0" lvl="0" indent="0" algn="l" defTabSz="914400" rtl="0" eaLnBrk="1" fontAlgn="auto" latinLnBrk="0" hangingPunct="1">
              <a:lnSpc>
                <a:spcPct val="125000"/>
              </a:lnSpc>
              <a:spcBef>
                <a:spcPts val="0"/>
              </a:spcBef>
              <a:spcAft>
                <a:spcPts val="0"/>
              </a:spcAft>
              <a:buClrTx/>
              <a:buSzTx/>
              <a:buFontTx/>
              <a:buNone/>
              <a:tabLst/>
              <a:defRPr/>
            </a:pPr>
            <a:r>
              <a:rPr kumimoji="0" lang="zh-CN" altLang="en-US" sz="1420" b="0" i="0" u="none" strike="noStrike" kern="1200" cap="none" spc="0" normalizeH="0" baseline="0" noProof="0" dirty="0">
                <a:ln>
                  <a:noFill/>
                </a:ln>
                <a:solidFill>
                  <a:srgbClr val="999999"/>
                </a:solidFill>
                <a:effectLst/>
                <a:uLnTx/>
                <a:uFillTx/>
                <a:latin typeface="SourceHanSansSC-Regular"/>
                <a:ea typeface="SourceHanSansSC-Regular"/>
                <a:cs typeface="+mn-cs"/>
              </a:rPr>
              <a:t>单击此处编辑文本单击此处编辑文本单击此处编辑文本单击此处编辑文本</a:t>
            </a:r>
            <a:endParaRPr kumimoji="0" lang="zh-CN" altLang="en-US" sz="900" b="0" i="0" u="none" strike="noStrike" kern="1200" cap="none" spc="0" normalizeH="0" baseline="0" noProof="0">
              <a:ln>
                <a:noFill/>
              </a:ln>
              <a:solidFill>
                <a:prstClr val="black"/>
              </a:solidFill>
              <a:effectLst/>
              <a:uLnTx/>
              <a:uFillTx/>
              <a:latin typeface="微软雅黑"/>
              <a:ea typeface="微软雅黑"/>
              <a:cs typeface="+mn-cs"/>
            </a:endParaRPr>
          </a:p>
        </p:txBody>
      </p:sp>
      <p:sp>
        <p:nvSpPr>
          <p:cNvPr id="1037" name="Object 1037"/>
          <p:cNvSpPr txBox="1"/>
          <p:nvPr/>
        </p:nvSpPr>
        <p:spPr>
          <a:xfrm>
            <a:off x="5929532" y="4006852"/>
            <a:ext cx="1377469" cy="361950"/>
          </a:xfrm>
          <a:prstGeom prst="rect">
            <a:avLst/>
          </a:prstGeom>
        </p:spPr>
        <p:txBody>
          <a:bodyPr vert="horz" rtlCol="0" anchor="t" anchorCtr="0">
            <a:noAutofit/>
          </a:bodyPr>
          <a:lstStyle/>
          <a:p>
            <a:pPr marL="0" marR="0" lvl="0" indent="0" algn="l" defTabSz="914400" rtl="0" eaLnBrk="1" fontAlgn="auto" latinLnBrk="0" hangingPunct="1">
              <a:lnSpc>
                <a:spcPct val="123333"/>
              </a:lnSpc>
              <a:spcBef>
                <a:spcPts val="0"/>
              </a:spcBef>
              <a:spcAft>
                <a:spcPts val="0"/>
              </a:spcAft>
              <a:buClrTx/>
              <a:buSzTx/>
              <a:buFontTx/>
              <a:buNone/>
              <a:tabLst/>
              <a:defRPr/>
            </a:pPr>
            <a:r>
              <a:rPr kumimoji="0" lang="zh-CN" altLang="en-US" sz="1935" b="0" i="0" u="none" strike="noStrike" kern="1200" cap="none" spc="0" normalizeH="0" baseline="0" noProof="0" dirty="0">
                <a:ln>
                  <a:noFill/>
                </a:ln>
                <a:solidFill>
                  <a:prstClr val="black"/>
                </a:solidFill>
                <a:effectLst/>
                <a:uLnTx/>
                <a:uFillTx/>
                <a:latin typeface="OPPOSans B" panose="00020600040101010101" pitchFamily="18" charset="-122"/>
                <a:ea typeface="OPPOSans B" panose="00020600040101010101" pitchFamily="18" charset="-122"/>
                <a:cs typeface="+mn-cs"/>
              </a:rPr>
              <a:t>添加标题</a:t>
            </a:r>
            <a:endParaRPr kumimoji="0" lang="zh-CN" altLang="en-US" sz="900" b="0" i="0" u="none" strike="noStrike" kern="1200" cap="none" spc="0" normalizeH="0" baseline="0" noProof="0" dirty="0">
              <a:ln>
                <a:noFill/>
              </a:ln>
              <a:solidFill>
                <a:prstClr val="black"/>
              </a:solidFill>
              <a:effectLst/>
              <a:uLnTx/>
              <a:uFillTx/>
              <a:latin typeface="微软雅黑"/>
              <a:ea typeface="微软雅黑"/>
              <a:cs typeface="+mn-cs"/>
            </a:endParaRPr>
          </a:p>
        </p:txBody>
      </p:sp>
      <p:sp>
        <p:nvSpPr>
          <p:cNvPr id="1045" name="Object 1045"/>
          <p:cNvSpPr txBox="1"/>
          <p:nvPr/>
        </p:nvSpPr>
        <p:spPr>
          <a:xfrm>
            <a:off x="5566896" y="5512086"/>
            <a:ext cx="4397352" cy="533400"/>
          </a:xfrm>
          <a:prstGeom prst="rect">
            <a:avLst/>
          </a:prstGeom>
        </p:spPr>
        <p:txBody>
          <a:bodyPr vert="horz" rtlCol="0" anchor="t" anchorCtr="0">
            <a:noAutofit/>
          </a:bodyPr>
          <a:lstStyle/>
          <a:p>
            <a:pPr marL="0" marR="0" lvl="0" indent="0" algn="l" defTabSz="914400" rtl="0" eaLnBrk="1" fontAlgn="auto" latinLnBrk="0" hangingPunct="1">
              <a:lnSpc>
                <a:spcPct val="125000"/>
              </a:lnSpc>
              <a:spcBef>
                <a:spcPts val="0"/>
              </a:spcBef>
              <a:spcAft>
                <a:spcPts val="0"/>
              </a:spcAft>
              <a:buClrTx/>
              <a:buSzTx/>
              <a:buFontTx/>
              <a:buNone/>
              <a:tabLst/>
              <a:defRPr/>
            </a:pPr>
            <a:r>
              <a:rPr kumimoji="0" lang="zh-CN" altLang="en-US" sz="1420" b="0" i="0" u="none" strike="noStrike" kern="1200" cap="none" spc="0" normalizeH="0" baseline="0" noProof="0" dirty="0">
                <a:ln>
                  <a:noFill/>
                </a:ln>
                <a:solidFill>
                  <a:srgbClr val="999999"/>
                </a:solidFill>
                <a:effectLst/>
                <a:uLnTx/>
                <a:uFillTx/>
                <a:latin typeface="SourceHanSansSC-Regular"/>
                <a:ea typeface="SourceHanSansSC-Regular"/>
                <a:cs typeface="+mn-cs"/>
              </a:rPr>
              <a:t>单击此处编辑文本单击此处编辑文本单击此处编辑文本单击此处编辑文本</a:t>
            </a:r>
            <a:endParaRPr kumimoji="0" lang="zh-CN" altLang="en-US" sz="900" b="0" i="0" u="none" strike="noStrike" kern="1200" cap="none" spc="0" normalizeH="0" baseline="0" noProof="0">
              <a:ln>
                <a:noFill/>
              </a:ln>
              <a:solidFill>
                <a:prstClr val="black"/>
              </a:solidFill>
              <a:effectLst/>
              <a:uLnTx/>
              <a:uFillTx/>
              <a:latin typeface="微软雅黑"/>
              <a:ea typeface="微软雅黑"/>
              <a:cs typeface="+mn-cs"/>
            </a:endParaRPr>
          </a:p>
        </p:txBody>
      </p:sp>
      <p:sp>
        <p:nvSpPr>
          <p:cNvPr id="1046" name="Object 1046"/>
          <p:cNvSpPr txBox="1"/>
          <p:nvPr/>
        </p:nvSpPr>
        <p:spPr>
          <a:xfrm>
            <a:off x="5554391" y="5132274"/>
            <a:ext cx="1377469" cy="361950"/>
          </a:xfrm>
          <a:prstGeom prst="rect">
            <a:avLst/>
          </a:prstGeom>
        </p:spPr>
        <p:txBody>
          <a:bodyPr vert="horz" rtlCol="0" anchor="t" anchorCtr="0">
            <a:noAutofit/>
          </a:bodyPr>
          <a:lstStyle/>
          <a:p>
            <a:pPr marL="0" marR="0" lvl="0" indent="0" algn="l" defTabSz="914400" rtl="0" eaLnBrk="1" fontAlgn="auto" latinLnBrk="0" hangingPunct="1">
              <a:lnSpc>
                <a:spcPct val="123333"/>
              </a:lnSpc>
              <a:spcBef>
                <a:spcPts val="0"/>
              </a:spcBef>
              <a:spcAft>
                <a:spcPts val="0"/>
              </a:spcAft>
              <a:buClrTx/>
              <a:buSzTx/>
              <a:buFontTx/>
              <a:buNone/>
              <a:tabLst/>
              <a:defRPr/>
            </a:pPr>
            <a:r>
              <a:rPr kumimoji="0" lang="zh-CN" altLang="en-US" sz="1935" b="0" i="0" u="none" strike="noStrike" kern="1200" cap="none" spc="0" normalizeH="0" baseline="0" noProof="0" dirty="0">
                <a:ln>
                  <a:noFill/>
                </a:ln>
                <a:solidFill>
                  <a:prstClr val="black"/>
                </a:solidFill>
                <a:effectLst/>
                <a:uLnTx/>
                <a:uFillTx/>
                <a:latin typeface="OPPOSans B" panose="00020600040101010101" pitchFamily="18" charset="-122"/>
                <a:ea typeface="OPPOSans B" panose="00020600040101010101" pitchFamily="18" charset="-122"/>
                <a:cs typeface="+mn-cs"/>
              </a:rPr>
              <a:t>添加标题</a:t>
            </a:r>
            <a:endParaRPr kumimoji="0" lang="zh-CN" altLang="en-US" sz="900" b="0" i="0" u="none" strike="noStrike" kern="1200" cap="none" spc="0" normalizeH="0" baseline="0" noProof="0" dirty="0">
              <a:ln>
                <a:noFill/>
              </a:ln>
              <a:solidFill>
                <a:prstClr val="black"/>
              </a:solidFill>
              <a:effectLst/>
              <a:uLnTx/>
              <a:uFillTx/>
              <a:latin typeface="微软雅黑"/>
              <a:ea typeface="微软雅黑"/>
              <a:cs typeface="+mn-cs"/>
            </a:endParaRPr>
          </a:p>
        </p:txBody>
      </p:sp>
      <p:cxnSp>
        <p:nvCxnSpPr>
          <p:cNvPr id="5" name="连接符: 肘形 4">
            <a:extLst>
              <a:ext uri="{FF2B5EF4-FFF2-40B4-BE49-F238E27FC236}">
                <a16:creationId xmlns:a16="http://schemas.microsoft.com/office/drawing/2014/main" id="{D9DF4849-C16D-40D4-861C-AF8D84460366}"/>
              </a:ext>
            </a:extLst>
          </p:cNvPr>
          <p:cNvCxnSpPr>
            <a:cxnSpLocks/>
          </p:cNvCxnSpPr>
          <p:nvPr/>
        </p:nvCxnSpPr>
        <p:spPr>
          <a:xfrm flipV="1">
            <a:off x="3863907" y="2431479"/>
            <a:ext cx="997251" cy="609744"/>
          </a:xfrm>
          <a:prstGeom prst="bentConnector3">
            <a:avLst>
              <a:gd name="adj1" fmla="val 53919"/>
            </a:avLst>
          </a:prstGeom>
          <a:ln w="19050">
            <a:solidFill>
              <a:schemeClr val="accent2"/>
            </a:solidFill>
            <a:tailEnd type="triangle"/>
          </a:ln>
        </p:spPr>
        <p:style>
          <a:lnRef idx="1">
            <a:schemeClr val="accent1"/>
          </a:lnRef>
          <a:fillRef idx="0">
            <a:schemeClr val="accent1"/>
          </a:fillRef>
          <a:effectRef idx="0">
            <a:schemeClr val="accent1"/>
          </a:effectRef>
          <a:fontRef idx="minor">
            <a:schemeClr val="tx1"/>
          </a:fontRef>
        </p:style>
      </p:cxnSp>
      <p:cxnSp>
        <p:nvCxnSpPr>
          <p:cNvPr id="67" name="连接符: 肘形 66">
            <a:extLst>
              <a:ext uri="{FF2B5EF4-FFF2-40B4-BE49-F238E27FC236}">
                <a16:creationId xmlns:a16="http://schemas.microsoft.com/office/drawing/2014/main" id="{7E743F9D-5600-49C9-9347-A075E4D9BB1B}"/>
              </a:ext>
            </a:extLst>
          </p:cNvPr>
          <p:cNvCxnSpPr>
            <a:cxnSpLocks/>
            <a:stCxn id="54" idx="6"/>
          </p:cNvCxnSpPr>
          <p:nvPr/>
        </p:nvCxnSpPr>
        <p:spPr>
          <a:xfrm flipV="1">
            <a:off x="4112429" y="3450040"/>
            <a:ext cx="1102184" cy="179442"/>
          </a:xfrm>
          <a:prstGeom prst="bentConnector3">
            <a:avLst>
              <a:gd name="adj1" fmla="val 50000"/>
            </a:avLst>
          </a:prstGeom>
          <a:ln w="19050">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72" name="连接符: 肘形 71">
            <a:extLst>
              <a:ext uri="{FF2B5EF4-FFF2-40B4-BE49-F238E27FC236}">
                <a16:creationId xmlns:a16="http://schemas.microsoft.com/office/drawing/2014/main" id="{74FD3217-1B1A-4895-BFF3-B39A3B565D02}"/>
              </a:ext>
            </a:extLst>
          </p:cNvPr>
          <p:cNvCxnSpPr>
            <a:cxnSpLocks/>
            <a:stCxn id="55" idx="6"/>
          </p:cNvCxnSpPr>
          <p:nvPr/>
        </p:nvCxnSpPr>
        <p:spPr>
          <a:xfrm>
            <a:off x="4121418" y="4269670"/>
            <a:ext cx="1121917" cy="56279"/>
          </a:xfrm>
          <a:prstGeom prst="bentConnector3">
            <a:avLst>
              <a:gd name="adj1" fmla="val 50000"/>
            </a:avLst>
          </a:prstGeom>
          <a:ln w="190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78" name="连接符: 肘形 77">
            <a:extLst>
              <a:ext uri="{FF2B5EF4-FFF2-40B4-BE49-F238E27FC236}">
                <a16:creationId xmlns:a16="http://schemas.microsoft.com/office/drawing/2014/main" id="{FC52485A-2686-4802-B46A-02C86BCD2F41}"/>
              </a:ext>
            </a:extLst>
          </p:cNvPr>
          <p:cNvCxnSpPr>
            <a:cxnSpLocks/>
            <a:stCxn id="56" idx="6"/>
          </p:cNvCxnSpPr>
          <p:nvPr/>
        </p:nvCxnSpPr>
        <p:spPr>
          <a:xfrm>
            <a:off x="3910804" y="4794190"/>
            <a:ext cx="962696" cy="658080"/>
          </a:xfrm>
          <a:prstGeom prst="bentConnector3">
            <a:avLst>
              <a:gd name="adj1" fmla="val 50000"/>
            </a:avLst>
          </a:prstGeom>
          <a:ln w="19050">
            <a:solidFill>
              <a:schemeClr val="accent5"/>
            </a:solidFill>
            <a:tailEnd type="triangle"/>
          </a:ln>
        </p:spPr>
        <p:style>
          <a:lnRef idx="1">
            <a:schemeClr val="accent1"/>
          </a:lnRef>
          <a:fillRef idx="0">
            <a:schemeClr val="accent1"/>
          </a:fillRef>
          <a:effectRef idx="0">
            <a:schemeClr val="accent1"/>
          </a:effectRef>
          <a:fontRef idx="minor">
            <a:schemeClr val="tx1"/>
          </a:fontRef>
        </p:style>
      </p:cxnSp>
      <p:pic>
        <p:nvPicPr>
          <p:cNvPr id="30" name="图形 29">
            <a:extLst>
              <a:ext uri="{FF2B5EF4-FFF2-40B4-BE49-F238E27FC236}">
                <a16:creationId xmlns:a16="http://schemas.microsoft.com/office/drawing/2014/main" id="{630C7602-54DD-442D-A520-324535958B1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301091" y="4304476"/>
            <a:ext cx="322156" cy="297375"/>
          </a:xfrm>
          <a:prstGeom prst="rect">
            <a:avLst/>
          </a:prstGeom>
        </p:spPr>
      </p:pic>
      <p:pic>
        <p:nvPicPr>
          <p:cNvPr id="31" name="图形 30">
            <a:extLst>
              <a:ext uri="{FF2B5EF4-FFF2-40B4-BE49-F238E27FC236}">
                <a16:creationId xmlns:a16="http://schemas.microsoft.com/office/drawing/2014/main" id="{B33720E8-9551-4DDF-B7BD-5CB1AD35513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977607" y="5300319"/>
            <a:ext cx="285471" cy="285471"/>
          </a:xfrm>
          <a:prstGeom prst="rect">
            <a:avLst/>
          </a:prstGeom>
        </p:spPr>
      </p:pic>
    </p:spTree>
    <p:extLst>
      <p:ext uri="{BB962C8B-B14F-4D97-AF65-F5344CB8AC3E}">
        <p14:creationId xmlns:p14="http://schemas.microsoft.com/office/powerpoint/2010/main" val="2306991674"/>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7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箭头: 右 3">
            <a:extLst>
              <a:ext uri="{FF2B5EF4-FFF2-40B4-BE49-F238E27FC236}">
                <a16:creationId xmlns:a16="http://schemas.microsoft.com/office/drawing/2014/main" id="{8A88EB98-282E-40C1-87BB-23A79C3B696F}"/>
              </a:ext>
            </a:extLst>
          </p:cNvPr>
          <p:cNvSpPr/>
          <p:nvPr/>
        </p:nvSpPr>
        <p:spPr>
          <a:xfrm rot="5400000">
            <a:off x="5723286" y="2219977"/>
            <a:ext cx="745428" cy="283779"/>
          </a:xfrm>
          <a:prstGeom prst="rightArrow">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OPPOSans R"/>
              <a:ea typeface="OPPOSans R"/>
              <a:cs typeface="+mn-cs"/>
            </a:endParaRPr>
          </a:p>
        </p:txBody>
      </p:sp>
      <p:sp>
        <p:nvSpPr>
          <p:cNvPr id="53" name="箭头: 右 52">
            <a:extLst>
              <a:ext uri="{FF2B5EF4-FFF2-40B4-BE49-F238E27FC236}">
                <a16:creationId xmlns:a16="http://schemas.microsoft.com/office/drawing/2014/main" id="{2F6E3C06-463E-47D3-9DD3-738BB034F952}"/>
              </a:ext>
            </a:extLst>
          </p:cNvPr>
          <p:cNvSpPr/>
          <p:nvPr/>
        </p:nvSpPr>
        <p:spPr>
          <a:xfrm rot="5400000">
            <a:off x="4200498" y="2903126"/>
            <a:ext cx="369928" cy="283779"/>
          </a:xfrm>
          <a:prstGeom prst="rightArrow">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OPPOSans R"/>
              <a:ea typeface="OPPOSans R"/>
              <a:cs typeface="+mn-cs"/>
            </a:endParaRPr>
          </a:p>
        </p:txBody>
      </p:sp>
      <p:sp>
        <p:nvSpPr>
          <p:cNvPr id="54" name="箭头: 右 53">
            <a:extLst>
              <a:ext uri="{FF2B5EF4-FFF2-40B4-BE49-F238E27FC236}">
                <a16:creationId xmlns:a16="http://schemas.microsoft.com/office/drawing/2014/main" id="{0CEA75A1-4265-4C21-AFB5-4CF352551400}"/>
              </a:ext>
            </a:extLst>
          </p:cNvPr>
          <p:cNvSpPr/>
          <p:nvPr/>
        </p:nvSpPr>
        <p:spPr>
          <a:xfrm rot="5400000">
            <a:off x="7694176" y="2903126"/>
            <a:ext cx="369927" cy="283779"/>
          </a:xfrm>
          <a:prstGeom prst="rightArrow">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OPPOSans R"/>
              <a:ea typeface="OPPOSans R"/>
              <a:cs typeface="+mn-cs"/>
            </a:endParaRPr>
          </a:p>
        </p:txBody>
      </p:sp>
      <p:sp>
        <p:nvSpPr>
          <p:cNvPr id="6" name="矩形 5">
            <a:extLst>
              <a:ext uri="{FF2B5EF4-FFF2-40B4-BE49-F238E27FC236}">
                <a16:creationId xmlns:a16="http://schemas.microsoft.com/office/drawing/2014/main" id="{A486FC65-1F76-4507-B20D-20EB991E0018}"/>
              </a:ext>
            </a:extLst>
          </p:cNvPr>
          <p:cNvSpPr/>
          <p:nvPr/>
        </p:nvSpPr>
        <p:spPr>
          <a:xfrm rot="5400000">
            <a:off x="6064662" y="1042045"/>
            <a:ext cx="135890" cy="3636010"/>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OPPOSans R"/>
              <a:ea typeface="OPPOSans R"/>
              <a:cs typeface="+mn-cs"/>
            </a:endParaRPr>
          </a:p>
        </p:txBody>
      </p:sp>
      <p:sp>
        <p:nvSpPr>
          <p:cNvPr id="55" name="箭头: 右 54">
            <a:extLst>
              <a:ext uri="{FF2B5EF4-FFF2-40B4-BE49-F238E27FC236}">
                <a16:creationId xmlns:a16="http://schemas.microsoft.com/office/drawing/2014/main" id="{28AABE66-9D77-4E9F-A386-25A2B56D1896}"/>
              </a:ext>
            </a:extLst>
          </p:cNvPr>
          <p:cNvSpPr/>
          <p:nvPr/>
        </p:nvSpPr>
        <p:spPr>
          <a:xfrm rot="5400000">
            <a:off x="2996532" y="4271228"/>
            <a:ext cx="474202" cy="283779"/>
          </a:xfrm>
          <a:prstGeom prst="rightArrow">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OPPOSans R"/>
              <a:ea typeface="OPPOSans R"/>
              <a:cs typeface="+mn-cs"/>
            </a:endParaRPr>
          </a:p>
        </p:txBody>
      </p:sp>
      <p:sp>
        <p:nvSpPr>
          <p:cNvPr id="57" name="矩形 56">
            <a:extLst>
              <a:ext uri="{FF2B5EF4-FFF2-40B4-BE49-F238E27FC236}">
                <a16:creationId xmlns:a16="http://schemas.microsoft.com/office/drawing/2014/main" id="{AB6F075B-B90A-4401-9D1C-353753B20C99}"/>
              </a:ext>
            </a:extLst>
          </p:cNvPr>
          <p:cNvSpPr/>
          <p:nvPr/>
        </p:nvSpPr>
        <p:spPr>
          <a:xfrm rot="5400000">
            <a:off x="4326098" y="2922709"/>
            <a:ext cx="135890" cy="2464939"/>
          </a:xfrm>
          <a:prstGeom prst="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OPPOSans R"/>
              <a:ea typeface="OPPOSans R"/>
              <a:cs typeface="+mn-cs"/>
            </a:endParaRPr>
          </a:p>
        </p:txBody>
      </p:sp>
      <p:sp>
        <p:nvSpPr>
          <p:cNvPr id="58" name="箭头: 右 57">
            <a:extLst>
              <a:ext uri="{FF2B5EF4-FFF2-40B4-BE49-F238E27FC236}">
                <a16:creationId xmlns:a16="http://schemas.microsoft.com/office/drawing/2014/main" id="{C6559776-393E-4015-BFF3-847F1AB67A01}"/>
              </a:ext>
            </a:extLst>
          </p:cNvPr>
          <p:cNvSpPr/>
          <p:nvPr/>
        </p:nvSpPr>
        <p:spPr>
          <a:xfrm rot="5400000">
            <a:off x="3992911" y="4107435"/>
            <a:ext cx="801791" cy="283779"/>
          </a:xfrm>
          <a:prstGeom prst="rightArrow">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OPPOSans R"/>
              <a:ea typeface="OPPOSans R"/>
              <a:cs typeface="+mn-cs"/>
            </a:endParaRPr>
          </a:p>
        </p:txBody>
      </p:sp>
      <p:sp>
        <p:nvSpPr>
          <p:cNvPr id="59" name="箭头: 右 58">
            <a:extLst>
              <a:ext uri="{FF2B5EF4-FFF2-40B4-BE49-F238E27FC236}">
                <a16:creationId xmlns:a16="http://schemas.microsoft.com/office/drawing/2014/main" id="{FD3A55BF-7FDD-4D14-845E-BE255CC379C7}"/>
              </a:ext>
            </a:extLst>
          </p:cNvPr>
          <p:cNvSpPr/>
          <p:nvPr/>
        </p:nvSpPr>
        <p:spPr>
          <a:xfrm rot="5400000">
            <a:off x="5316879" y="4271230"/>
            <a:ext cx="474203" cy="283779"/>
          </a:xfrm>
          <a:prstGeom prst="rightArrow">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OPPOSans R"/>
              <a:ea typeface="OPPOSans R"/>
              <a:cs typeface="+mn-cs"/>
            </a:endParaRPr>
          </a:p>
        </p:txBody>
      </p:sp>
      <p:sp>
        <p:nvSpPr>
          <p:cNvPr id="60" name="箭头: 右 59">
            <a:extLst>
              <a:ext uri="{FF2B5EF4-FFF2-40B4-BE49-F238E27FC236}">
                <a16:creationId xmlns:a16="http://schemas.microsoft.com/office/drawing/2014/main" id="{2888F8C3-D711-4A97-9853-D01FE33E9132}"/>
              </a:ext>
            </a:extLst>
          </p:cNvPr>
          <p:cNvSpPr/>
          <p:nvPr/>
        </p:nvSpPr>
        <p:spPr>
          <a:xfrm rot="5400000">
            <a:off x="6477054" y="4271231"/>
            <a:ext cx="474202" cy="283779"/>
          </a:xfrm>
          <a:prstGeom prst="rightArrow">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OPPOSans R"/>
              <a:ea typeface="OPPOSans R"/>
              <a:cs typeface="+mn-cs"/>
            </a:endParaRPr>
          </a:p>
        </p:txBody>
      </p:sp>
      <p:sp>
        <p:nvSpPr>
          <p:cNvPr id="61" name="箭头: 右 60">
            <a:extLst>
              <a:ext uri="{FF2B5EF4-FFF2-40B4-BE49-F238E27FC236}">
                <a16:creationId xmlns:a16="http://schemas.microsoft.com/office/drawing/2014/main" id="{25C9F77E-CA2A-4B51-846F-EFDE94C44300}"/>
              </a:ext>
            </a:extLst>
          </p:cNvPr>
          <p:cNvSpPr/>
          <p:nvPr/>
        </p:nvSpPr>
        <p:spPr>
          <a:xfrm rot="5400000">
            <a:off x="7432750" y="4066755"/>
            <a:ext cx="883157" cy="283779"/>
          </a:xfrm>
          <a:prstGeom prst="rightArrow">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OPPOSans R"/>
              <a:ea typeface="OPPOSans R"/>
              <a:cs typeface="+mn-cs"/>
            </a:endParaRPr>
          </a:p>
        </p:txBody>
      </p:sp>
      <p:sp>
        <p:nvSpPr>
          <p:cNvPr id="62" name="箭头: 右 61">
            <a:extLst>
              <a:ext uri="{FF2B5EF4-FFF2-40B4-BE49-F238E27FC236}">
                <a16:creationId xmlns:a16="http://schemas.microsoft.com/office/drawing/2014/main" id="{F6C79205-1D3E-47F3-8B20-37FF8382A371}"/>
              </a:ext>
            </a:extLst>
          </p:cNvPr>
          <p:cNvSpPr/>
          <p:nvPr/>
        </p:nvSpPr>
        <p:spPr>
          <a:xfrm rot="5400000">
            <a:off x="8797402" y="4271233"/>
            <a:ext cx="474202" cy="283779"/>
          </a:xfrm>
          <a:prstGeom prst="rightArrow">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OPPOSans R"/>
              <a:ea typeface="OPPOSans R"/>
              <a:cs typeface="+mn-cs"/>
            </a:endParaRPr>
          </a:p>
        </p:txBody>
      </p:sp>
      <p:sp>
        <p:nvSpPr>
          <p:cNvPr id="63" name="矩形 62">
            <a:extLst>
              <a:ext uri="{FF2B5EF4-FFF2-40B4-BE49-F238E27FC236}">
                <a16:creationId xmlns:a16="http://schemas.microsoft.com/office/drawing/2014/main" id="{5A158065-2AF6-4D2B-8345-365B523587CA}"/>
              </a:ext>
            </a:extLst>
          </p:cNvPr>
          <p:cNvSpPr/>
          <p:nvPr/>
        </p:nvSpPr>
        <p:spPr>
          <a:xfrm rot="5400000">
            <a:off x="7806383" y="2922711"/>
            <a:ext cx="135890" cy="2464939"/>
          </a:xfrm>
          <a:prstGeom prst="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OPPOSans R"/>
              <a:ea typeface="OPPOSans R"/>
              <a:cs typeface="+mn-cs"/>
            </a:endParaRPr>
          </a:p>
        </p:txBody>
      </p:sp>
      <p:sp>
        <p:nvSpPr>
          <p:cNvPr id="20" name="@稿定PPT实验室 出品-13-1">
            <a:extLst>
              <a:ext uri="{FF2B5EF4-FFF2-40B4-BE49-F238E27FC236}">
                <a16:creationId xmlns:a16="http://schemas.microsoft.com/office/drawing/2014/main" id="{B02E34E3-F5D1-4709-AD92-D3186073526F}"/>
              </a:ext>
            </a:extLst>
          </p:cNvPr>
          <p:cNvSpPr txBox="1">
            <a:spLocks/>
          </p:cNvSpPr>
          <p:nvPr/>
        </p:nvSpPr>
        <p:spPr>
          <a:xfrm>
            <a:off x="4507456" y="820743"/>
            <a:ext cx="3177089" cy="366707"/>
          </a:xfrm>
          <a:prstGeom prst="rect">
            <a:avLst/>
          </a:prstGeom>
          <a:noFill/>
          <a:ln>
            <a:noFill/>
          </a:ln>
          <a:effectLst/>
        </p:spPr>
        <p:txBody>
          <a:bodyPr wrap="square" lIns="0" tIns="0" rIns="0" bIns="0" anchor="ctr" anchorCtr="0">
            <a:noAutofit/>
          </a:bodyPr>
          <a:lstStyle/>
          <a:p>
            <a:pPr marL="0" marR="0" lvl="0" indent="0" algn="ctr" defTabSz="913765" rtl="0" eaLnBrk="1" fontAlgn="auto" latinLnBrk="0" hangingPunct="1">
              <a:lnSpc>
                <a:spcPct val="100000"/>
              </a:lnSpc>
              <a:spcBef>
                <a:spcPts val="0"/>
              </a:spcBef>
              <a:spcAft>
                <a:spcPts val="0"/>
              </a:spcAft>
              <a:buClrTx/>
              <a:buSzPct val="25000"/>
              <a:buFontTx/>
              <a:buNone/>
              <a:tabLst/>
              <a:defRPr/>
            </a:pPr>
            <a:r>
              <a:rPr kumimoji="0" lang="zh-CN" altLang="en-US" sz="2400" b="1" i="0" u="none" strike="noStrike" kern="1200" cap="none" spc="0" normalizeH="0" baseline="0" noProof="0" dirty="0">
                <a:ln>
                  <a:noFill/>
                </a:ln>
                <a:solidFill>
                  <a:srgbClr val="000000"/>
                </a:solidFill>
                <a:effectLst/>
                <a:uLnTx/>
                <a:uFillTx/>
                <a:latin typeface="OPPOSans B" panose="00020600040101010101" pitchFamily="18" charset="-122"/>
                <a:ea typeface="OPPOSans B" panose="00020600040101010101" pitchFamily="18" charset="-122"/>
                <a:cs typeface="OPPOSans B" panose="00020600040101010101" pitchFamily="18" charset="-122"/>
              </a:rPr>
              <a:t>财务管理人员结构</a:t>
            </a:r>
          </a:p>
        </p:txBody>
      </p:sp>
      <p:sp>
        <p:nvSpPr>
          <p:cNvPr id="22" name="@稿定PPT实验室 出品-13-1">
            <a:extLst>
              <a:ext uri="{FF2B5EF4-FFF2-40B4-BE49-F238E27FC236}">
                <a16:creationId xmlns:a16="http://schemas.microsoft.com/office/drawing/2014/main" id="{15FB50EC-7736-4267-8DF0-C08C5555B1E7}"/>
              </a:ext>
            </a:extLst>
          </p:cNvPr>
          <p:cNvSpPr txBox="1">
            <a:spLocks/>
          </p:cNvSpPr>
          <p:nvPr/>
        </p:nvSpPr>
        <p:spPr>
          <a:xfrm>
            <a:off x="3784730" y="1187450"/>
            <a:ext cx="4622541" cy="234341"/>
          </a:xfrm>
          <a:prstGeom prst="rect">
            <a:avLst/>
          </a:prstGeom>
          <a:noFill/>
          <a:ln>
            <a:noFill/>
          </a:ln>
          <a:effectLst/>
        </p:spPr>
        <p:txBody>
          <a:bodyPr wrap="square" lIns="0" tIns="0" rIns="0" bIns="0" anchor="ctr" anchorCtr="0">
            <a:noAutofit/>
          </a:bodyPr>
          <a:lstStyle/>
          <a:p>
            <a:pPr marL="0" marR="0" lvl="0" indent="0" algn="ctr" defTabSz="913765" rtl="0" eaLnBrk="1" fontAlgn="auto" latinLnBrk="0" hangingPunct="1">
              <a:lnSpc>
                <a:spcPct val="100000"/>
              </a:lnSpc>
              <a:spcBef>
                <a:spcPts val="0"/>
              </a:spcBef>
              <a:spcAft>
                <a:spcPts val="0"/>
              </a:spcAft>
              <a:buClrTx/>
              <a:buSzPct val="25000"/>
              <a:buFontTx/>
              <a:buNone/>
              <a:tabLst/>
              <a:defRPr/>
            </a:pPr>
            <a:r>
              <a:rPr kumimoji="0" lang="en-US" altLang="zh-CN" sz="1200" b="0" i="0" u="none" strike="noStrike" kern="1200" cap="none" spc="0" normalizeH="0" baseline="0" noProof="0" dirty="0">
                <a:ln>
                  <a:noFill/>
                </a:ln>
                <a:solidFill>
                  <a:srgbClr val="000000">
                    <a:lumMod val="85000"/>
                    <a:lumOff val="15000"/>
                    <a:alpha val="50000"/>
                  </a:srgbClr>
                </a:solidFill>
                <a:effectLst/>
                <a:uLnTx/>
                <a:uFillTx/>
                <a:latin typeface="OPPOSans R"/>
                <a:ea typeface="OPPOSans R"/>
                <a:cs typeface="+mn-cs"/>
              </a:rPr>
              <a:t>Add </a:t>
            </a:r>
            <a:r>
              <a:rPr kumimoji="0" lang="zh-CN" altLang="en-US" sz="1200" b="0" i="0" u="none" strike="noStrike" kern="1200" cap="none" spc="0" normalizeH="0" baseline="0" noProof="0" dirty="0">
                <a:ln>
                  <a:noFill/>
                </a:ln>
                <a:solidFill>
                  <a:srgbClr val="000000">
                    <a:lumMod val="85000"/>
                    <a:lumOff val="15000"/>
                    <a:alpha val="50000"/>
                  </a:srgbClr>
                </a:solidFill>
                <a:effectLst/>
                <a:uLnTx/>
                <a:uFillTx/>
                <a:latin typeface="OPPOSans R"/>
                <a:ea typeface="OPPOSans R"/>
                <a:cs typeface="+mn-cs"/>
              </a:rPr>
              <a:t>关键词标题</a:t>
            </a:r>
            <a:endParaRPr kumimoji="0" lang="en-US" altLang="zh-CN" sz="1200" b="0" i="0" u="none" strike="noStrike" kern="1200" cap="none" spc="0" normalizeH="0" baseline="0" noProof="0" dirty="0">
              <a:ln>
                <a:noFill/>
              </a:ln>
              <a:solidFill>
                <a:srgbClr val="000000">
                  <a:lumMod val="85000"/>
                  <a:lumOff val="15000"/>
                  <a:alpha val="50000"/>
                </a:srgbClr>
              </a:solidFill>
              <a:effectLst/>
              <a:uLnTx/>
              <a:uFillTx/>
              <a:latin typeface="OPPOSans R"/>
              <a:ea typeface="OPPOSans R"/>
              <a:cs typeface="+mn-cs"/>
            </a:endParaRPr>
          </a:p>
        </p:txBody>
      </p:sp>
      <p:sp>
        <p:nvSpPr>
          <p:cNvPr id="52" name="矩形: 圆角 51">
            <a:extLst>
              <a:ext uri="{FF2B5EF4-FFF2-40B4-BE49-F238E27FC236}">
                <a16:creationId xmlns:a16="http://schemas.microsoft.com/office/drawing/2014/main" id="{4F913027-B433-46E5-BE16-8913D5CE23C6}"/>
              </a:ext>
            </a:extLst>
          </p:cNvPr>
          <p:cNvSpPr/>
          <p:nvPr/>
        </p:nvSpPr>
        <p:spPr>
          <a:xfrm>
            <a:off x="4754694" y="1931628"/>
            <a:ext cx="2682613" cy="552595"/>
          </a:xfrm>
          <a:prstGeom prst="roundRect">
            <a:avLst>
              <a:gd name="adj" fmla="val 50000"/>
            </a:avLst>
          </a:prstGeom>
          <a:gradFill flip="none" rotWithShape="1">
            <a:gsLst>
              <a:gs pos="0">
                <a:schemeClr val="accent1"/>
              </a:gs>
              <a:gs pos="100000">
                <a:schemeClr val="accent1">
                  <a:lumMod val="60000"/>
                  <a:lumOff val="40000"/>
                </a:schemeClr>
              </a:gs>
            </a:gsLst>
            <a:lin ang="2700000" scaled="0"/>
            <a:tileRect/>
          </a:gradFill>
          <a:ln>
            <a:noFill/>
          </a:ln>
          <a:effectLst>
            <a:outerShdw blurRad="330200" dist="381000" dir="5400000" sx="90000" sy="90000" algn="t" rotWithShape="0">
              <a:schemeClr val="accent1">
                <a:lumMod val="75000"/>
                <a:alpha val="2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5720" tIns="22860" rIns="45720" bIns="228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OPPOSans R"/>
              <a:ea typeface="OPPOSans R"/>
              <a:cs typeface="+mn-cs"/>
            </a:endParaRPr>
          </a:p>
        </p:txBody>
      </p:sp>
      <p:sp>
        <p:nvSpPr>
          <p:cNvPr id="28" name="矩形: 圆角 27">
            <a:extLst>
              <a:ext uri="{FF2B5EF4-FFF2-40B4-BE49-F238E27FC236}">
                <a16:creationId xmlns:a16="http://schemas.microsoft.com/office/drawing/2014/main" id="{9A543E41-0E35-4AF7-AF88-2ECF0FF81F9F}"/>
              </a:ext>
            </a:extLst>
          </p:cNvPr>
          <p:cNvSpPr/>
          <p:nvPr/>
        </p:nvSpPr>
        <p:spPr>
          <a:xfrm rot="5400000">
            <a:off x="2581755" y="5173856"/>
            <a:ext cx="1367881" cy="552595"/>
          </a:xfrm>
          <a:prstGeom prst="roundRect">
            <a:avLst>
              <a:gd name="adj" fmla="val 50000"/>
            </a:avLst>
          </a:prstGeom>
          <a:gradFill flip="none" rotWithShape="1">
            <a:gsLst>
              <a:gs pos="0">
                <a:schemeClr val="accent6"/>
              </a:gs>
              <a:gs pos="100000">
                <a:schemeClr val="accent6">
                  <a:lumMod val="75000"/>
                </a:schemeClr>
              </a:gs>
            </a:gsLst>
            <a:lin ang="2700000" scaled="0"/>
            <a:tileRect/>
          </a:gradFill>
          <a:ln>
            <a:noFill/>
          </a:ln>
          <a:effectLst>
            <a:outerShdw blurRad="330200" dist="381000" dir="5400000" sx="90000" sy="90000" algn="t" rotWithShape="0">
              <a:schemeClr val="accent6">
                <a:lumMod val="50000"/>
                <a:alpha val="2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5720" tIns="22860" rIns="45720" bIns="228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OPPOSans R"/>
              <a:ea typeface="OPPOSans R"/>
              <a:cs typeface="+mn-cs"/>
            </a:endParaRPr>
          </a:p>
        </p:txBody>
      </p:sp>
      <p:sp>
        <p:nvSpPr>
          <p:cNvPr id="43" name="矩形: 圆角 42">
            <a:extLst>
              <a:ext uri="{FF2B5EF4-FFF2-40B4-BE49-F238E27FC236}">
                <a16:creationId xmlns:a16="http://schemas.microsoft.com/office/drawing/2014/main" id="{6CDB3401-C25B-4EB1-8807-244E7EE4EAB9}"/>
              </a:ext>
            </a:extLst>
          </p:cNvPr>
          <p:cNvSpPr/>
          <p:nvPr/>
        </p:nvSpPr>
        <p:spPr>
          <a:xfrm rot="5400000">
            <a:off x="3713875" y="5173855"/>
            <a:ext cx="1367884" cy="552595"/>
          </a:xfrm>
          <a:prstGeom prst="roundRect">
            <a:avLst>
              <a:gd name="adj" fmla="val 50000"/>
            </a:avLst>
          </a:prstGeom>
          <a:gradFill flip="none" rotWithShape="1">
            <a:gsLst>
              <a:gs pos="0">
                <a:schemeClr val="accent6"/>
              </a:gs>
              <a:gs pos="100000">
                <a:schemeClr val="accent6">
                  <a:lumMod val="75000"/>
                </a:schemeClr>
              </a:gs>
            </a:gsLst>
            <a:lin ang="2700000" scaled="0"/>
            <a:tileRect/>
          </a:gradFill>
          <a:ln>
            <a:noFill/>
          </a:ln>
          <a:effectLst>
            <a:outerShdw blurRad="330200" dist="381000" dir="5400000" sx="90000" sy="90000" algn="t" rotWithShape="0">
              <a:schemeClr val="accent6">
                <a:lumMod val="50000"/>
                <a:alpha val="2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5720" tIns="22860" rIns="45720" bIns="228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OPPOSans R"/>
              <a:ea typeface="OPPOSans R"/>
              <a:cs typeface="+mn-cs"/>
            </a:endParaRPr>
          </a:p>
        </p:txBody>
      </p:sp>
      <p:sp>
        <p:nvSpPr>
          <p:cNvPr id="44" name="矩形: 圆角 43">
            <a:extLst>
              <a:ext uri="{FF2B5EF4-FFF2-40B4-BE49-F238E27FC236}">
                <a16:creationId xmlns:a16="http://schemas.microsoft.com/office/drawing/2014/main" id="{C7F4D685-A7E4-4F86-89FB-FB11F016F984}"/>
              </a:ext>
            </a:extLst>
          </p:cNvPr>
          <p:cNvSpPr/>
          <p:nvPr/>
        </p:nvSpPr>
        <p:spPr>
          <a:xfrm rot="5400000">
            <a:off x="4845999" y="5173858"/>
            <a:ext cx="1367881" cy="552595"/>
          </a:xfrm>
          <a:prstGeom prst="roundRect">
            <a:avLst>
              <a:gd name="adj" fmla="val 50000"/>
            </a:avLst>
          </a:prstGeom>
          <a:gradFill flip="none" rotWithShape="1">
            <a:gsLst>
              <a:gs pos="0">
                <a:schemeClr val="accent6"/>
              </a:gs>
              <a:gs pos="100000">
                <a:schemeClr val="accent6">
                  <a:lumMod val="75000"/>
                </a:schemeClr>
              </a:gs>
            </a:gsLst>
            <a:lin ang="2700000" scaled="0"/>
            <a:tileRect/>
          </a:gradFill>
          <a:ln>
            <a:noFill/>
          </a:ln>
          <a:effectLst>
            <a:outerShdw blurRad="330200" dist="381000" dir="5400000" sx="90000" sy="90000" algn="t" rotWithShape="0">
              <a:schemeClr val="accent6">
                <a:lumMod val="50000"/>
                <a:alpha val="2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5720" tIns="22860" rIns="45720" bIns="228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OPPOSans R"/>
              <a:ea typeface="OPPOSans R"/>
              <a:cs typeface="+mn-cs"/>
            </a:endParaRPr>
          </a:p>
        </p:txBody>
      </p:sp>
      <p:sp>
        <p:nvSpPr>
          <p:cNvPr id="45" name="矩形: 圆角 44">
            <a:extLst>
              <a:ext uri="{FF2B5EF4-FFF2-40B4-BE49-F238E27FC236}">
                <a16:creationId xmlns:a16="http://schemas.microsoft.com/office/drawing/2014/main" id="{7CAFF182-42EA-4EA7-9035-893937722704}"/>
              </a:ext>
            </a:extLst>
          </p:cNvPr>
          <p:cNvSpPr/>
          <p:nvPr/>
        </p:nvSpPr>
        <p:spPr>
          <a:xfrm rot="5400000">
            <a:off x="6032526" y="5173860"/>
            <a:ext cx="1367882" cy="552595"/>
          </a:xfrm>
          <a:prstGeom prst="roundRect">
            <a:avLst>
              <a:gd name="adj" fmla="val 50000"/>
            </a:avLst>
          </a:prstGeom>
          <a:gradFill flip="none" rotWithShape="1">
            <a:gsLst>
              <a:gs pos="0">
                <a:schemeClr val="accent6"/>
              </a:gs>
              <a:gs pos="100000">
                <a:schemeClr val="accent6">
                  <a:lumMod val="75000"/>
                </a:schemeClr>
              </a:gs>
            </a:gsLst>
            <a:lin ang="2700000" scaled="0"/>
            <a:tileRect/>
          </a:gradFill>
          <a:ln>
            <a:noFill/>
          </a:ln>
          <a:effectLst>
            <a:outerShdw blurRad="330200" dist="381000" dir="5400000" sx="90000" sy="90000" algn="t" rotWithShape="0">
              <a:schemeClr val="accent6">
                <a:lumMod val="50000"/>
                <a:alpha val="2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5720" tIns="22860" rIns="45720" bIns="228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OPPOSans R"/>
              <a:ea typeface="OPPOSans R"/>
              <a:cs typeface="+mn-cs"/>
            </a:endParaRPr>
          </a:p>
        </p:txBody>
      </p:sp>
      <p:sp>
        <p:nvSpPr>
          <p:cNvPr id="46" name="矩形: 圆角 45">
            <a:extLst>
              <a:ext uri="{FF2B5EF4-FFF2-40B4-BE49-F238E27FC236}">
                <a16:creationId xmlns:a16="http://schemas.microsoft.com/office/drawing/2014/main" id="{FC0C0F30-F478-44EA-8BBB-6610D6E98C46}"/>
              </a:ext>
            </a:extLst>
          </p:cNvPr>
          <p:cNvSpPr/>
          <p:nvPr/>
        </p:nvSpPr>
        <p:spPr>
          <a:xfrm rot="5400000">
            <a:off x="7164648" y="5173861"/>
            <a:ext cx="1367881" cy="552595"/>
          </a:xfrm>
          <a:prstGeom prst="roundRect">
            <a:avLst>
              <a:gd name="adj" fmla="val 50000"/>
            </a:avLst>
          </a:prstGeom>
          <a:gradFill flip="none" rotWithShape="1">
            <a:gsLst>
              <a:gs pos="0">
                <a:schemeClr val="accent6"/>
              </a:gs>
              <a:gs pos="100000">
                <a:schemeClr val="accent6">
                  <a:lumMod val="75000"/>
                </a:schemeClr>
              </a:gs>
            </a:gsLst>
            <a:lin ang="2700000" scaled="0"/>
            <a:tileRect/>
          </a:gradFill>
          <a:ln>
            <a:noFill/>
          </a:ln>
          <a:effectLst>
            <a:outerShdw blurRad="330200" dist="381000" dir="5400000" sx="90000" sy="90000" algn="t" rotWithShape="0">
              <a:schemeClr val="accent6">
                <a:lumMod val="50000"/>
                <a:alpha val="2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5720" tIns="22860" rIns="45720" bIns="228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OPPOSans R"/>
              <a:ea typeface="OPPOSans R"/>
              <a:cs typeface="+mn-cs"/>
            </a:endParaRPr>
          </a:p>
        </p:txBody>
      </p:sp>
      <p:sp>
        <p:nvSpPr>
          <p:cNvPr id="48" name="矩形: 圆角 47">
            <a:extLst>
              <a:ext uri="{FF2B5EF4-FFF2-40B4-BE49-F238E27FC236}">
                <a16:creationId xmlns:a16="http://schemas.microsoft.com/office/drawing/2014/main" id="{10C0C5D0-55A2-49FA-B779-46A6ED47C721}"/>
              </a:ext>
            </a:extLst>
          </p:cNvPr>
          <p:cNvSpPr/>
          <p:nvPr/>
        </p:nvSpPr>
        <p:spPr>
          <a:xfrm rot="5400000">
            <a:off x="8351176" y="5173862"/>
            <a:ext cx="1367881" cy="552595"/>
          </a:xfrm>
          <a:prstGeom prst="roundRect">
            <a:avLst>
              <a:gd name="adj" fmla="val 50000"/>
            </a:avLst>
          </a:prstGeom>
          <a:gradFill flip="none" rotWithShape="1">
            <a:gsLst>
              <a:gs pos="0">
                <a:schemeClr val="accent6"/>
              </a:gs>
              <a:gs pos="100000">
                <a:schemeClr val="accent6">
                  <a:lumMod val="75000"/>
                </a:schemeClr>
              </a:gs>
            </a:gsLst>
            <a:lin ang="2700000" scaled="0"/>
            <a:tileRect/>
          </a:gradFill>
          <a:ln>
            <a:noFill/>
          </a:ln>
          <a:effectLst>
            <a:outerShdw blurRad="330200" dist="381000" dir="5400000" sx="90000" sy="90000" algn="t" rotWithShape="0">
              <a:schemeClr val="accent6">
                <a:lumMod val="50000"/>
                <a:alpha val="2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5720" tIns="22860" rIns="45720" bIns="228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OPPOSans R"/>
              <a:ea typeface="OPPOSans R"/>
              <a:cs typeface="+mn-cs"/>
            </a:endParaRPr>
          </a:p>
        </p:txBody>
      </p:sp>
      <p:sp>
        <p:nvSpPr>
          <p:cNvPr id="29" name="Object 1035">
            <a:extLst>
              <a:ext uri="{FF2B5EF4-FFF2-40B4-BE49-F238E27FC236}">
                <a16:creationId xmlns:a16="http://schemas.microsoft.com/office/drawing/2014/main" id="{AB7123E1-8FFD-4DE3-9DE9-FEA0E5B76ABD}"/>
              </a:ext>
            </a:extLst>
          </p:cNvPr>
          <p:cNvSpPr txBox="1"/>
          <p:nvPr/>
        </p:nvSpPr>
        <p:spPr>
          <a:xfrm>
            <a:off x="3124926" y="4866800"/>
            <a:ext cx="361382" cy="1111338"/>
          </a:xfrm>
          <a:prstGeom prst="rect">
            <a:avLst/>
          </a:prstGeom>
        </p:spPr>
        <p:txBody>
          <a:bodyPr vert="eaVert" lIns="0" tIns="0" rIns="0" bIns="0" rtlCol="0" anchor="ctr" anchorCtr="0">
            <a:noAutofit/>
          </a:bodyPr>
          <a:lstStyle/>
          <a:p>
            <a:pPr marL="0" marR="0" lvl="0" indent="0" algn="ctr" defTabSz="914400" rtl="0" eaLnBrk="1" fontAlgn="auto" latinLnBrk="0" hangingPunct="1">
              <a:lnSpc>
                <a:spcPct val="145833"/>
              </a:lnSpc>
              <a:spcBef>
                <a:spcPts val="0"/>
              </a:spcBef>
              <a:spcAft>
                <a:spcPts val="0"/>
              </a:spcAft>
              <a:buClrTx/>
              <a:buSzTx/>
              <a:buFontTx/>
              <a:buNone/>
              <a:tabLst/>
              <a:defRPr/>
            </a:pPr>
            <a:r>
              <a:rPr kumimoji="0" lang="zh-CN" altLang="en-US" sz="1400" b="0" i="0" u="none" strike="noStrike" kern="1200" cap="none" spc="46" normalizeH="0" baseline="0" noProof="0" dirty="0">
                <a:ln>
                  <a:noFill/>
                </a:ln>
                <a:solidFill>
                  <a:srgbClr val="FFFFFF"/>
                </a:solidFill>
                <a:effectLst/>
                <a:uLnTx/>
                <a:uFillTx/>
                <a:latin typeface="OPPOSans R"/>
                <a:ea typeface="OPPOSans R"/>
                <a:cs typeface="+mn-cs"/>
              </a:rPr>
              <a:t>会计核算部</a:t>
            </a:r>
            <a:endParaRPr kumimoji="0" lang="zh-CN" altLang="en-US" sz="1400" b="0" i="0" u="none" strike="noStrike" kern="1200" cap="none" spc="0" normalizeH="0" baseline="0" noProof="0" dirty="0">
              <a:ln>
                <a:noFill/>
              </a:ln>
              <a:solidFill>
                <a:srgbClr val="000000"/>
              </a:solidFill>
              <a:effectLst/>
              <a:uLnTx/>
              <a:uFillTx/>
              <a:latin typeface="OPPOSans R"/>
              <a:ea typeface="OPPOSans R"/>
              <a:cs typeface="+mn-cs"/>
            </a:endParaRPr>
          </a:p>
        </p:txBody>
      </p:sp>
      <p:sp>
        <p:nvSpPr>
          <p:cNvPr id="30" name="Object 1039">
            <a:extLst>
              <a:ext uri="{FF2B5EF4-FFF2-40B4-BE49-F238E27FC236}">
                <a16:creationId xmlns:a16="http://schemas.microsoft.com/office/drawing/2014/main" id="{D9A098D5-BAC2-4AAF-A7DF-5339D335596C}"/>
              </a:ext>
            </a:extLst>
          </p:cNvPr>
          <p:cNvSpPr txBox="1"/>
          <p:nvPr/>
        </p:nvSpPr>
        <p:spPr>
          <a:xfrm>
            <a:off x="4274982" y="4866800"/>
            <a:ext cx="361382" cy="1111338"/>
          </a:xfrm>
          <a:prstGeom prst="rect">
            <a:avLst/>
          </a:prstGeom>
        </p:spPr>
        <p:txBody>
          <a:bodyPr vert="eaVert" lIns="0" tIns="0" rIns="0" bIns="0" rtlCol="0" anchor="ctr" anchorCtr="0">
            <a:noAutofit/>
          </a:bodyPr>
          <a:lstStyle/>
          <a:p>
            <a:pPr marL="0" marR="0" lvl="0" indent="0" algn="ctr" defTabSz="914400" rtl="0" eaLnBrk="1" fontAlgn="auto" latinLnBrk="0" hangingPunct="1">
              <a:lnSpc>
                <a:spcPct val="145833"/>
              </a:lnSpc>
              <a:spcBef>
                <a:spcPts val="0"/>
              </a:spcBef>
              <a:spcAft>
                <a:spcPts val="0"/>
              </a:spcAft>
              <a:buClrTx/>
              <a:buSzTx/>
              <a:buFontTx/>
              <a:buNone/>
              <a:tabLst/>
              <a:defRPr/>
            </a:pPr>
            <a:r>
              <a:rPr kumimoji="0" lang="zh-CN" altLang="en-US" sz="1400" b="0" i="0" u="none" strike="noStrike" kern="1200" cap="none" spc="46" normalizeH="0" baseline="0" noProof="0" dirty="0">
                <a:ln>
                  <a:noFill/>
                </a:ln>
                <a:solidFill>
                  <a:srgbClr val="FFFFFF"/>
                </a:solidFill>
                <a:effectLst/>
                <a:uLnTx/>
                <a:uFillTx/>
                <a:latin typeface="OPPOSans R"/>
                <a:ea typeface="OPPOSans R"/>
                <a:cs typeface="+mn-cs"/>
              </a:rPr>
              <a:t>资金管理部</a:t>
            </a:r>
            <a:endParaRPr kumimoji="0" lang="zh-CN" altLang="en-US" sz="1400" b="0" i="0" u="none" strike="noStrike" kern="1200" cap="none" spc="0" normalizeH="0" baseline="0" noProof="0" dirty="0">
              <a:ln>
                <a:noFill/>
              </a:ln>
              <a:solidFill>
                <a:srgbClr val="000000"/>
              </a:solidFill>
              <a:effectLst/>
              <a:uLnTx/>
              <a:uFillTx/>
              <a:latin typeface="OPPOSans R"/>
              <a:ea typeface="OPPOSans R"/>
              <a:cs typeface="+mn-cs"/>
            </a:endParaRPr>
          </a:p>
        </p:txBody>
      </p:sp>
      <p:sp>
        <p:nvSpPr>
          <p:cNvPr id="31" name="Object 1043">
            <a:extLst>
              <a:ext uri="{FF2B5EF4-FFF2-40B4-BE49-F238E27FC236}">
                <a16:creationId xmlns:a16="http://schemas.microsoft.com/office/drawing/2014/main" id="{B9FF0568-39B3-4586-92E9-6438B388A861}"/>
              </a:ext>
            </a:extLst>
          </p:cNvPr>
          <p:cNvSpPr txBox="1"/>
          <p:nvPr/>
        </p:nvSpPr>
        <p:spPr>
          <a:xfrm>
            <a:off x="5382986" y="4866800"/>
            <a:ext cx="361382" cy="1111338"/>
          </a:xfrm>
          <a:prstGeom prst="rect">
            <a:avLst/>
          </a:prstGeom>
        </p:spPr>
        <p:txBody>
          <a:bodyPr vert="eaVert" lIns="0" tIns="0" rIns="0" bIns="0" rtlCol="0" anchor="ctr" anchorCtr="0">
            <a:noAutofit/>
          </a:bodyPr>
          <a:lstStyle/>
          <a:p>
            <a:pPr marL="0" marR="0" lvl="0" indent="0" algn="ctr" defTabSz="914400" rtl="0" eaLnBrk="1" fontAlgn="auto" latinLnBrk="0" hangingPunct="1">
              <a:lnSpc>
                <a:spcPct val="145833"/>
              </a:lnSpc>
              <a:spcBef>
                <a:spcPts val="0"/>
              </a:spcBef>
              <a:spcAft>
                <a:spcPts val="0"/>
              </a:spcAft>
              <a:buClrTx/>
              <a:buSzTx/>
              <a:buFontTx/>
              <a:buNone/>
              <a:tabLst/>
              <a:defRPr/>
            </a:pPr>
            <a:r>
              <a:rPr kumimoji="0" lang="zh-CN" altLang="en-US" sz="1400" b="0" i="0" u="none" strike="noStrike" kern="1200" cap="none" spc="46" normalizeH="0" baseline="0" noProof="0" dirty="0">
                <a:ln>
                  <a:noFill/>
                </a:ln>
                <a:solidFill>
                  <a:srgbClr val="FFFFFF"/>
                </a:solidFill>
                <a:effectLst/>
                <a:uLnTx/>
                <a:uFillTx/>
                <a:latin typeface="OPPOSans R"/>
                <a:ea typeface="OPPOSans R"/>
                <a:cs typeface="+mn-cs"/>
              </a:rPr>
              <a:t>资产管理部</a:t>
            </a:r>
            <a:endParaRPr kumimoji="0" lang="zh-CN" altLang="en-US" sz="1400" b="0" i="0" u="none" strike="noStrike" kern="1200" cap="none" spc="0" normalizeH="0" baseline="0" noProof="0" dirty="0">
              <a:ln>
                <a:noFill/>
              </a:ln>
              <a:solidFill>
                <a:srgbClr val="000000"/>
              </a:solidFill>
              <a:effectLst/>
              <a:uLnTx/>
              <a:uFillTx/>
              <a:latin typeface="OPPOSans R"/>
              <a:ea typeface="OPPOSans R"/>
              <a:cs typeface="+mn-cs"/>
            </a:endParaRPr>
          </a:p>
        </p:txBody>
      </p:sp>
      <p:sp>
        <p:nvSpPr>
          <p:cNvPr id="40" name="Object 1047">
            <a:extLst>
              <a:ext uri="{FF2B5EF4-FFF2-40B4-BE49-F238E27FC236}">
                <a16:creationId xmlns:a16="http://schemas.microsoft.com/office/drawing/2014/main" id="{E91D1D4B-3A14-45FC-B6E4-8443AD5CB8C3}"/>
              </a:ext>
            </a:extLst>
          </p:cNvPr>
          <p:cNvSpPr txBox="1"/>
          <p:nvPr/>
        </p:nvSpPr>
        <p:spPr>
          <a:xfrm>
            <a:off x="6586303" y="4869976"/>
            <a:ext cx="361382" cy="1111338"/>
          </a:xfrm>
          <a:prstGeom prst="rect">
            <a:avLst/>
          </a:prstGeom>
        </p:spPr>
        <p:txBody>
          <a:bodyPr vert="eaVert" lIns="0" tIns="0" rIns="0" bIns="0" rtlCol="0" anchor="ctr" anchorCtr="0">
            <a:noAutofit/>
          </a:bodyPr>
          <a:lstStyle/>
          <a:p>
            <a:pPr marL="0" marR="0" lvl="0" indent="0" algn="ctr" defTabSz="914400" rtl="0" eaLnBrk="1" fontAlgn="auto" latinLnBrk="0" hangingPunct="1">
              <a:lnSpc>
                <a:spcPct val="145833"/>
              </a:lnSpc>
              <a:spcBef>
                <a:spcPts val="0"/>
              </a:spcBef>
              <a:spcAft>
                <a:spcPts val="0"/>
              </a:spcAft>
              <a:buClrTx/>
              <a:buSzTx/>
              <a:buFontTx/>
              <a:buNone/>
              <a:tabLst/>
              <a:defRPr/>
            </a:pPr>
            <a:r>
              <a:rPr kumimoji="0" lang="zh-CN" altLang="en-US" sz="1400" b="0" i="0" u="none" strike="noStrike" kern="1200" cap="none" spc="46" normalizeH="0" baseline="0" noProof="0" dirty="0">
                <a:ln>
                  <a:noFill/>
                </a:ln>
                <a:solidFill>
                  <a:srgbClr val="FFFFFF"/>
                </a:solidFill>
                <a:effectLst/>
                <a:uLnTx/>
                <a:uFillTx/>
                <a:latin typeface="OPPOSans R"/>
                <a:ea typeface="OPPOSans R"/>
                <a:cs typeface="+mn-cs"/>
              </a:rPr>
              <a:t>财务管理部</a:t>
            </a:r>
            <a:endParaRPr kumimoji="0" lang="zh-CN" altLang="en-US" sz="1400" b="0" i="0" u="none" strike="noStrike" kern="1200" cap="none" spc="0" normalizeH="0" baseline="0" noProof="0" dirty="0">
              <a:ln>
                <a:noFill/>
              </a:ln>
              <a:solidFill>
                <a:srgbClr val="000000"/>
              </a:solidFill>
              <a:effectLst/>
              <a:uLnTx/>
              <a:uFillTx/>
              <a:latin typeface="OPPOSans R"/>
              <a:ea typeface="OPPOSans R"/>
              <a:cs typeface="+mn-cs"/>
            </a:endParaRPr>
          </a:p>
        </p:txBody>
      </p:sp>
      <p:sp>
        <p:nvSpPr>
          <p:cNvPr id="41" name="Object 1051">
            <a:extLst>
              <a:ext uri="{FF2B5EF4-FFF2-40B4-BE49-F238E27FC236}">
                <a16:creationId xmlns:a16="http://schemas.microsoft.com/office/drawing/2014/main" id="{FE5C72E0-21C7-400D-941B-8A4C056B1589}"/>
              </a:ext>
            </a:extLst>
          </p:cNvPr>
          <p:cNvSpPr txBox="1"/>
          <p:nvPr/>
        </p:nvSpPr>
        <p:spPr>
          <a:xfrm>
            <a:off x="7718590" y="4873151"/>
            <a:ext cx="361382" cy="1111338"/>
          </a:xfrm>
          <a:prstGeom prst="rect">
            <a:avLst/>
          </a:prstGeom>
        </p:spPr>
        <p:txBody>
          <a:bodyPr vert="eaVert" lIns="0" tIns="0" rIns="0" bIns="0" rtlCol="0" anchor="ctr" anchorCtr="0">
            <a:noAutofit/>
          </a:bodyPr>
          <a:lstStyle/>
          <a:p>
            <a:pPr marL="0" marR="0" lvl="0" indent="0" algn="ctr" defTabSz="914400" rtl="0" eaLnBrk="1" fontAlgn="auto" latinLnBrk="0" hangingPunct="1">
              <a:lnSpc>
                <a:spcPct val="145833"/>
              </a:lnSpc>
              <a:spcBef>
                <a:spcPts val="0"/>
              </a:spcBef>
              <a:spcAft>
                <a:spcPts val="0"/>
              </a:spcAft>
              <a:buClrTx/>
              <a:buSzTx/>
              <a:buFontTx/>
              <a:buNone/>
              <a:tabLst/>
              <a:defRPr/>
            </a:pPr>
            <a:r>
              <a:rPr kumimoji="0" lang="zh-CN" altLang="en-US" sz="1400" b="0" i="0" u="none" strike="noStrike" kern="1200" cap="none" spc="46" normalizeH="0" baseline="0" noProof="0" dirty="0">
                <a:ln>
                  <a:noFill/>
                </a:ln>
                <a:solidFill>
                  <a:srgbClr val="FFFFFF"/>
                </a:solidFill>
                <a:effectLst/>
                <a:uLnTx/>
                <a:uFillTx/>
                <a:latin typeface="OPPOSans R"/>
                <a:ea typeface="OPPOSans R"/>
                <a:cs typeface="+mn-cs"/>
              </a:rPr>
              <a:t>内部审计部</a:t>
            </a:r>
            <a:endParaRPr kumimoji="0" lang="zh-CN" altLang="en-US" sz="1400" b="0" i="0" u="none" strike="noStrike" kern="1200" cap="none" spc="0" normalizeH="0" baseline="0" noProof="0" dirty="0">
              <a:ln>
                <a:noFill/>
              </a:ln>
              <a:solidFill>
                <a:srgbClr val="000000"/>
              </a:solidFill>
              <a:effectLst/>
              <a:uLnTx/>
              <a:uFillTx/>
              <a:latin typeface="OPPOSans R"/>
              <a:ea typeface="OPPOSans R"/>
              <a:cs typeface="+mn-cs"/>
            </a:endParaRPr>
          </a:p>
        </p:txBody>
      </p:sp>
      <p:sp>
        <p:nvSpPr>
          <p:cNvPr id="42" name="Object 1055">
            <a:extLst>
              <a:ext uri="{FF2B5EF4-FFF2-40B4-BE49-F238E27FC236}">
                <a16:creationId xmlns:a16="http://schemas.microsoft.com/office/drawing/2014/main" id="{028AA13B-60ED-45A8-9DE7-4B4EAEBD86F5}"/>
              </a:ext>
            </a:extLst>
          </p:cNvPr>
          <p:cNvSpPr txBox="1"/>
          <p:nvPr/>
        </p:nvSpPr>
        <p:spPr>
          <a:xfrm>
            <a:off x="8901492" y="4866801"/>
            <a:ext cx="361382" cy="1111338"/>
          </a:xfrm>
          <a:prstGeom prst="rect">
            <a:avLst/>
          </a:prstGeom>
        </p:spPr>
        <p:txBody>
          <a:bodyPr vert="eaVert" lIns="0" tIns="0" rIns="0" bIns="0" rtlCol="0" anchor="ctr" anchorCtr="0">
            <a:noAutofit/>
          </a:bodyPr>
          <a:lstStyle/>
          <a:p>
            <a:pPr marL="0" marR="0" lvl="0" indent="0" algn="ctr" defTabSz="914400" rtl="0" eaLnBrk="1" fontAlgn="auto" latinLnBrk="0" hangingPunct="1">
              <a:lnSpc>
                <a:spcPct val="145833"/>
              </a:lnSpc>
              <a:spcBef>
                <a:spcPts val="0"/>
              </a:spcBef>
              <a:spcAft>
                <a:spcPts val="0"/>
              </a:spcAft>
              <a:buClrTx/>
              <a:buSzTx/>
              <a:buFontTx/>
              <a:buNone/>
              <a:tabLst/>
              <a:defRPr/>
            </a:pPr>
            <a:r>
              <a:rPr kumimoji="0" lang="zh-CN" altLang="en-US" sz="1400" b="0" i="0" u="none" strike="noStrike" kern="1200" cap="none" spc="46" normalizeH="0" baseline="0" noProof="0" dirty="0">
                <a:ln>
                  <a:noFill/>
                </a:ln>
                <a:solidFill>
                  <a:srgbClr val="FFFFFF"/>
                </a:solidFill>
                <a:effectLst/>
                <a:uLnTx/>
                <a:uFillTx/>
                <a:latin typeface="OPPOSans R"/>
                <a:ea typeface="OPPOSans R"/>
                <a:cs typeface="+mn-cs"/>
              </a:rPr>
              <a:t>会计核算部</a:t>
            </a:r>
            <a:endParaRPr kumimoji="0" lang="zh-CN" altLang="en-US" sz="1400" b="0" i="0" u="none" strike="noStrike" kern="1200" cap="none" spc="0" normalizeH="0" baseline="0" noProof="0" dirty="0">
              <a:ln>
                <a:noFill/>
              </a:ln>
              <a:solidFill>
                <a:srgbClr val="000000"/>
              </a:solidFill>
              <a:effectLst/>
              <a:uLnTx/>
              <a:uFillTx/>
              <a:latin typeface="OPPOSans R"/>
              <a:ea typeface="OPPOSans R"/>
              <a:cs typeface="+mn-cs"/>
            </a:endParaRPr>
          </a:p>
        </p:txBody>
      </p:sp>
      <p:sp>
        <p:nvSpPr>
          <p:cNvPr id="50" name="矩形: 圆角 49">
            <a:extLst>
              <a:ext uri="{FF2B5EF4-FFF2-40B4-BE49-F238E27FC236}">
                <a16:creationId xmlns:a16="http://schemas.microsoft.com/office/drawing/2014/main" id="{AFA26159-25BC-42F9-A8F2-BCC95B5692DB}"/>
              </a:ext>
            </a:extLst>
          </p:cNvPr>
          <p:cNvSpPr/>
          <p:nvPr/>
        </p:nvSpPr>
        <p:spPr>
          <a:xfrm>
            <a:off x="3066938" y="3295832"/>
            <a:ext cx="2682613" cy="552595"/>
          </a:xfrm>
          <a:prstGeom prst="roundRect">
            <a:avLst>
              <a:gd name="adj" fmla="val 50000"/>
            </a:avLst>
          </a:prstGeom>
          <a:gradFill flip="none" rotWithShape="1">
            <a:gsLst>
              <a:gs pos="0">
                <a:schemeClr val="accent2"/>
              </a:gs>
              <a:gs pos="100000">
                <a:schemeClr val="accent2">
                  <a:lumMod val="60000"/>
                  <a:lumOff val="40000"/>
                </a:schemeClr>
              </a:gs>
            </a:gsLst>
            <a:lin ang="2700000" scaled="0"/>
            <a:tileRect/>
          </a:gradFill>
          <a:ln>
            <a:noFill/>
          </a:ln>
          <a:effectLst>
            <a:outerShdw blurRad="330200" dist="381000" dir="5400000" sx="90000" sy="90000" algn="t" rotWithShape="0">
              <a:schemeClr val="accent2">
                <a:lumMod val="75000"/>
                <a:alpha val="2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5720" tIns="22860" rIns="45720" bIns="228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OPPOSans R"/>
              <a:ea typeface="OPPOSans R"/>
              <a:cs typeface="+mn-cs"/>
            </a:endParaRPr>
          </a:p>
        </p:txBody>
      </p:sp>
      <p:sp>
        <p:nvSpPr>
          <p:cNvPr id="51" name="矩形: 圆角 50">
            <a:extLst>
              <a:ext uri="{FF2B5EF4-FFF2-40B4-BE49-F238E27FC236}">
                <a16:creationId xmlns:a16="http://schemas.microsoft.com/office/drawing/2014/main" id="{B3C9490B-E472-4F45-B2CE-ECB1F2C5362F}"/>
              </a:ext>
            </a:extLst>
          </p:cNvPr>
          <p:cNvSpPr/>
          <p:nvPr/>
        </p:nvSpPr>
        <p:spPr>
          <a:xfrm>
            <a:off x="6440170" y="3295832"/>
            <a:ext cx="2682613" cy="552595"/>
          </a:xfrm>
          <a:prstGeom prst="roundRect">
            <a:avLst>
              <a:gd name="adj" fmla="val 50000"/>
            </a:avLst>
          </a:prstGeom>
          <a:gradFill flip="none" rotWithShape="1">
            <a:gsLst>
              <a:gs pos="0">
                <a:schemeClr val="accent3"/>
              </a:gs>
              <a:gs pos="100000">
                <a:schemeClr val="accent3">
                  <a:lumMod val="60000"/>
                  <a:lumOff val="40000"/>
                </a:schemeClr>
              </a:gs>
            </a:gsLst>
            <a:lin ang="2700000" scaled="0"/>
            <a:tileRect/>
          </a:gradFill>
          <a:ln>
            <a:noFill/>
          </a:ln>
          <a:effectLst>
            <a:outerShdw blurRad="330200" dist="381000" dir="5400000" sx="90000" sy="90000" algn="t" rotWithShape="0">
              <a:schemeClr val="accent3">
                <a:lumMod val="50000"/>
                <a:alpha val="2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5720" tIns="22860" rIns="45720" bIns="228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OPPOSans R"/>
              <a:ea typeface="OPPOSans R"/>
              <a:cs typeface="+mn-cs"/>
            </a:endParaRPr>
          </a:p>
        </p:txBody>
      </p:sp>
      <p:sp>
        <p:nvSpPr>
          <p:cNvPr id="64" name="Object 1012">
            <a:extLst>
              <a:ext uri="{FF2B5EF4-FFF2-40B4-BE49-F238E27FC236}">
                <a16:creationId xmlns:a16="http://schemas.microsoft.com/office/drawing/2014/main" id="{6DD50575-CB47-43B7-8D40-CEC47F89E296}"/>
              </a:ext>
            </a:extLst>
          </p:cNvPr>
          <p:cNvSpPr txBox="1"/>
          <p:nvPr/>
        </p:nvSpPr>
        <p:spPr>
          <a:xfrm>
            <a:off x="5421778" y="2006687"/>
            <a:ext cx="1348444" cy="428498"/>
          </a:xfrm>
          <a:prstGeom prst="rect">
            <a:avLst/>
          </a:prstGeom>
        </p:spPr>
        <p:txBody>
          <a:bodyPr vert="horz" lIns="0" tIns="0" rIns="0" bIns="0" rtlCol="0" anchor="t" anchorCtr="0">
            <a:noAutofit/>
          </a:bodyPr>
          <a:lstStyle/>
          <a:p>
            <a:pPr marL="0" marR="0" lvl="0" indent="0" algn="ctr" defTabSz="914400" rtl="0" eaLnBrk="1" fontAlgn="auto" latinLnBrk="0" hangingPunct="1">
              <a:lnSpc>
                <a:spcPct val="130000"/>
              </a:lnSpc>
              <a:spcBef>
                <a:spcPts val="0"/>
              </a:spcBef>
              <a:spcAft>
                <a:spcPts val="0"/>
              </a:spcAft>
              <a:buClrTx/>
              <a:buSzTx/>
              <a:buFontTx/>
              <a:buNone/>
              <a:tabLst/>
              <a:defRPr/>
            </a:pPr>
            <a:r>
              <a:rPr kumimoji="0" lang="zh-CN" altLang="en-US" sz="1800" b="1" i="0" u="none" strike="noStrike" kern="1200" cap="none" spc="0" normalizeH="0" baseline="0" noProof="0" dirty="0">
                <a:ln>
                  <a:noFill/>
                </a:ln>
                <a:solidFill>
                  <a:srgbClr val="FFFFFF"/>
                </a:solidFill>
                <a:effectLst/>
                <a:uLnTx/>
                <a:uFillTx/>
                <a:latin typeface="OPPOSans B"/>
                <a:ea typeface="OPPOSans B"/>
                <a:cs typeface="+mn-cs"/>
              </a:rPr>
              <a:t>财务总监</a:t>
            </a:r>
          </a:p>
        </p:txBody>
      </p:sp>
      <p:sp>
        <p:nvSpPr>
          <p:cNvPr id="65" name="Object 1012">
            <a:extLst>
              <a:ext uri="{FF2B5EF4-FFF2-40B4-BE49-F238E27FC236}">
                <a16:creationId xmlns:a16="http://schemas.microsoft.com/office/drawing/2014/main" id="{44EF875A-B955-44F5-8686-6630FAD2D871}"/>
              </a:ext>
            </a:extLst>
          </p:cNvPr>
          <p:cNvSpPr txBox="1"/>
          <p:nvPr/>
        </p:nvSpPr>
        <p:spPr>
          <a:xfrm>
            <a:off x="3734022" y="3378017"/>
            <a:ext cx="1348444" cy="428498"/>
          </a:xfrm>
          <a:prstGeom prst="rect">
            <a:avLst/>
          </a:prstGeom>
        </p:spPr>
        <p:txBody>
          <a:bodyPr vert="horz" lIns="0" tIns="0" rIns="0" bIns="0" rtlCol="0" anchor="t" anchorCtr="0">
            <a:noAutofit/>
          </a:bodyPr>
          <a:lstStyle/>
          <a:p>
            <a:pPr marL="0" marR="0" lvl="0" indent="0" algn="ctr" defTabSz="914400" rtl="0" eaLnBrk="1" fontAlgn="auto" latinLnBrk="0" hangingPunct="1">
              <a:lnSpc>
                <a:spcPct val="130000"/>
              </a:lnSpc>
              <a:spcBef>
                <a:spcPts val="0"/>
              </a:spcBef>
              <a:spcAft>
                <a:spcPts val="0"/>
              </a:spcAft>
              <a:buClrTx/>
              <a:buSzTx/>
              <a:buFontTx/>
              <a:buNone/>
              <a:tabLst/>
              <a:defRPr/>
            </a:pPr>
            <a:r>
              <a:rPr kumimoji="0" lang="zh-CN" altLang="en-US" sz="1800" b="1" i="0" u="none" strike="noStrike" kern="1200" cap="none" spc="0" normalizeH="0" baseline="0" noProof="0" dirty="0">
                <a:ln>
                  <a:noFill/>
                </a:ln>
                <a:solidFill>
                  <a:srgbClr val="FFFFFF"/>
                </a:solidFill>
                <a:effectLst/>
                <a:uLnTx/>
                <a:uFillTx/>
                <a:latin typeface="OPPOSans B"/>
                <a:ea typeface="OPPOSans B"/>
                <a:cs typeface="+mn-cs"/>
              </a:rPr>
              <a:t>副总监</a:t>
            </a:r>
          </a:p>
        </p:txBody>
      </p:sp>
      <p:sp>
        <p:nvSpPr>
          <p:cNvPr id="66" name="Object 1012">
            <a:extLst>
              <a:ext uri="{FF2B5EF4-FFF2-40B4-BE49-F238E27FC236}">
                <a16:creationId xmlns:a16="http://schemas.microsoft.com/office/drawing/2014/main" id="{FE248824-29BD-46A8-B434-5E61E59E573B}"/>
              </a:ext>
            </a:extLst>
          </p:cNvPr>
          <p:cNvSpPr txBox="1"/>
          <p:nvPr/>
        </p:nvSpPr>
        <p:spPr>
          <a:xfrm>
            <a:off x="7200106" y="3378017"/>
            <a:ext cx="1348444" cy="428498"/>
          </a:xfrm>
          <a:prstGeom prst="rect">
            <a:avLst/>
          </a:prstGeom>
        </p:spPr>
        <p:txBody>
          <a:bodyPr vert="horz" lIns="0" tIns="0" rIns="0" bIns="0" rtlCol="0" anchor="t" anchorCtr="0">
            <a:noAutofit/>
          </a:bodyPr>
          <a:lstStyle/>
          <a:p>
            <a:pPr marL="0" marR="0" lvl="0" indent="0" algn="ctr" defTabSz="914400" rtl="0" eaLnBrk="1" fontAlgn="auto" latinLnBrk="0" hangingPunct="1">
              <a:lnSpc>
                <a:spcPct val="130000"/>
              </a:lnSpc>
              <a:spcBef>
                <a:spcPts val="0"/>
              </a:spcBef>
              <a:spcAft>
                <a:spcPts val="0"/>
              </a:spcAft>
              <a:buClrTx/>
              <a:buSzTx/>
              <a:buFontTx/>
              <a:buNone/>
              <a:tabLst/>
              <a:defRPr/>
            </a:pPr>
            <a:r>
              <a:rPr kumimoji="0" lang="zh-CN" altLang="en-US" sz="1800" b="1" i="0" u="none" strike="noStrike" kern="1200" cap="none" spc="0" normalizeH="0" baseline="0" noProof="0" dirty="0">
                <a:ln>
                  <a:noFill/>
                </a:ln>
                <a:solidFill>
                  <a:srgbClr val="FFFFFF"/>
                </a:solidFill>
                <a:effectLst/>
                <a:uLnTx/>
                <a:uFillTx/>
                <a:latin typeface="OPPOSans B"/>
                <a:ea typeface="OPPOSans B"/>
                <a:cs typeface="+mn-cs"/>
              </a:rPr>
              <a:t>总会计师</a:t>
            </a:r>
          </a:p>
        </p:txBody>
      </p:sp>
    </p:spTree>
    <p:extLst>
      <p:ext uri="{BB962C8B-B14F-4D97-AF65-F5344CB8AC3E}">
        <p14:creationId xmlns:p14="http://schemas.microsoft.com/office/powerpoint/2010/main" val="659063889"/>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7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gaoding-1">
            <a:extLst>
              <a:ext uri="{FF2B5EF4-FFF2-40B4-BE49-F238E27FC236}">
                <a16:creationId xmlns:a16="http://schemas.microsoft.com/office/drawing/2014/main" id="{7BCA645B-8DA6-82AB-089B-B20B60BE5E64}"/>
              </a:ext>
            </a:extLst>
          </p:cNvPr>
          <p:cNvSpPr txBox="1"/>
          <p:nvPr/>
        </p:nvSpPr>
        <p:spPr>
          <a:xfrm>
            <a:off x="947473" y="557439"/>
            <a:ext cx="1676356" cy="707886"/>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4000" b="1" i="0" u="none" strike="noStrike" kern="1200" cap="none" spc="0" normalizeH="0" baseline="0" noProof="0" dirty="0" err="1">
                <a:ln>
                  <a:noFill/>
                </a:ln>
                <a:solidFill>
                  <a:srgbClr val="2254F4"/>
                </a:solidFill>
                <a:effectLst/>
                <a:uLnTx/>
                <a:uFillTx/>
                <a:latin typeface="微软雅黑"/>
                <a:ea typeface="微软雅黑"/>
                <a:cs typeface="+mn-ea"/>
                <a:sym typeface="+mn-lt"/>
              </a:rPr>
              <a:t>Qiuye</a:t>
            </a:r>
            <a:endParaRPr kumimoji="0" lang="zh-CN" altLang="en-US" sz="4000" b="1" i="0" u="none" strike="noStrike" kern="1200" cap="none" spc="0" normalizeH="0" baseline="0" noProof="0" dirty="0">
              <a:ln>
                <a:noFill/>
              </a:ln>
              <a:solidFill>
                <a:srgbClr val="000000">
                  <a:lumMod val="85000"/>
                  <a:lumOff val="15000"/>
                </a:srgbClr>
              </a:solidFill>
              <a:effectLst/>
              <a:uLnTx/>
              <a:uFillTx/>
              <a:latin typeface="微软雅黑"/>
              <a:ea typeface="微软雅黑"/>
              <a:cs typeface="+mn-ea"/>
              <a:sym typeface="+mn-lt"/>
            </a:endParaRPr>
          </a:p>
        </p:txBody>
      </p:sp>
      <p:sp>
        <p:nvSpPr>
          <p:cNvPr id="120" name="gaoding-2">
            <a:extLst>
              <a:ext uri="{FF2B5EF4-FFF2-40B4-BE49-F238E27FC236}">
                <a16:creationId xmlns:a16="http://schemas.microsoft.com/office/drawing/2014/main" id="{70314A93-B365-DE78-F977-69C669E803E3}"/>
              </a:ext>
            </a:extLst>
          </p:cNvPr>
          <p:cNvSpPr txBox="1"/>
          <p:nvPr/>
        </p:nvSpPr>
        <p:spPr>
          <a:xfrm>
            <a:off x="596864" y="1124706"/>
            <a:ext cx="5102359" cy="707886"/>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4000" b="1" i="0" u="none" strike="noStrike" kern="1200" cap="none" spc="0" normalizeH="0" baseline="0" noProof="0" dirty="0" err="1">
                <a:ln>
                  <a:noFill/>
                </a:ln>
                <a:solidFill>
                  <a:srgbClr val="000000">
                    <a:lumMod val="85000"/>
                    <a:lumOff val="15000"/>
                  </a:srgbClr>
                </a:solidFill>
                <a:effectLst/>
                <a:uLnTx/>
                <a:uFillTx/>
                <a:latin typeface="微软雅黑"/>
                <a:ea typeface="微软雅黑"/>
                <a:cs typeface="+mn-ea"/>
                <a:sym typeface="+mn-lt"/>
              </a:rPr>
              <a:t>Powerpoint</a:t>
            </a:r>
            <a:r>
              <a:rPr kumimoji="0" lang="en-US" altLang="zh-CN" sz="4000" b="1" i="0" u="none" strike="noStrike" kern="1200" cap="none" spc="0" normalizeH="0" baseline="0" noProof="0" dirty="0">
                <a:ln>
                  <a:noFill/>
                </a:ln>
                <a:solidFill>
                  <a:srgbClr val="000000">
                    <a:lumMod val="85000"/>
                    <a:lumOff val="15000"/>
                  </a:srgbClr>
                </a:solidFill>
                <a:effectLst/>
                <a:uLnTx/>
                <a:uFillTx/>
                <a:latin typeface="微软雅黑"/>
                <a:ea typeface="微软雅黑"/>
                <a:cs typeface="+mn-ea"/>
                <a:sym typeface="+mn-lt"/>
              </a:rPr>
              <a:t> Design</a:t>
            </a:r>
            <a:endParaRPr kumimoji="0" lang="zh-CN" altLang="en-US" sz="4000" b="1" i="0" u="none" strike="noStrike" kern="1200" cap="none" spc="0" normalizeH="0" baseline="0" noProof="0" dirty="0">
              <a:ln>
                <a:noFill/>
              </a:ln>
              <a:solidFill>
                <a:srgbClr val="000000">
                  <a:lumMod val="85000"/>
                  <a:lumOff val="15000"/>
                </a:srgbClr>
              </a:solidFill>
              <a:effectLst/>
              <a:uLnTx/>
              <a:uFillTx/>
              <a:latin typeface="微软雅黑"/>
              <a:ea typeface="微软雅黑"/>
              <a:cs typeface="+mn-ea"/>
              <a:sym typeface="+mn-lt"/>
            </a:endParaRPr>
          </a:p>
        </p:txBody>
      </p:sp>
      <p:sp>
        <p:nvSpPr>
          <p:cNvPr id="31" name="gaoding-3">
            <a:extLst>
              <a:ext uri="{FF2B5EF4-FFF2-40B4-BE49-F238E27FC236}">
                <a16:creationId xmlns:a16="http://schemas.microsoft.com/office/drawing/2014/main" id="{1E8F6D85-0F9C-1D18-013B-7A48B59EDACB}"/>
              </a:ext>
            </a:extLst>
          </p:cNvPr>
          <p:cNvSpPr/>
          <p:nvPr/>
        </p:nvSpPr>
        <p:spPr>
          <a:xfrm>
            <a:off x="1240840" y="3136634"/>
            <a:ext cx="1611964" cy="1378960"/>
          </a:xfrm>
          <a:prstGeom prst="roundRect">
            <a:avLst>
              <a:gd name="adj" fmla="val 2463"/>
            </a:avLst>
          </a:prstGeom>
          <a:solidFill>
            <a:schemeClr val="bg1">
              <a:lumMod val="95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POSans R" panose="00020600040101010101" pitchFamily="18" charset="-122"/>
              <a:ea typeface="微软雅黑"/>
              <a:cs typeface="+mn-cs"/>
            </a:endParaRPr>
          </a:p>
        </p:txBody>
      </p:sp>
      <p:sp>
        <p:nvSpPr>
          <p:cNvPr id="32" name="gaoding-4">
            <a:extLst>
              <a:ext uri="{FF2B5EF4-FFF2-40B4-BE49-F238E27FC236}">
                <a16:creationId xmlns:a16="http://schemas.microsoft.com/office/drawing/2014/main" id="{91EC87C5-1B7B-DB73-989D-9549125FA872}"/>
              </a:ext>
            </a:extLst>
          </p:cNvPr>
          <p:cNvSpPr/>
          <p:nvPr/>
        </p:nvSpPr>
        <p:spPr>
          <a:xfrm>
            <a:off x="1240841" y="2743442"/>
            <a:ext cx="1611964" cy="393191"/>
          </a:xfrm>
          <a:prstGeom prst="roundRect">
            <a:avLst>
              <a:gd name="adj" fmla="val 9200"/>
            </a:avLst>
          </a:prstGeom>
          <a:gradFill flip="none" rotWithShape="1">
            <a:gsLst>
              <a:gs pos="1000">
                <a:schemeClr val="accent1"/>
              </a:gs>
              <a:gs pos="100000">
                <a:schemeClr val="accent1">
                  <a:lumMod val="60000"/>
                  <a:lumOff val="40000"/>
                </a:schemeClr>
              </a:gs>
            </a:gsLst>
            <a:lin ang="2700000" scaled="0"/>
            <a:tileRect/>
          </a:gradFill>
          <a:ln>
            <a:noFill/>
          </a:ln>
          <a:effectLst>
            <a:outerShdw blurRad="254000" dist="127000" dir="5400000" sx="90000" sy="90000" algn="t" rotWithShape="0">
              <a:schemeClr val="accent1">
                <a:lumMod val="75000"/>
                <a:alpha val="2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OPPOSans B" panose="00020600040101010101" pitchFamily="18" charset="-122"/>
                <a:ea typeface="OPPOSans B" panose="00020600040101010101" pitchFamily="18" charset="-122"/>
                <a:cs typeface="OPPOSans B" panose="00020600040101010101" pitchFamily="18" charset="-122"/>
              </a:rPr>
              <a:t>01</a:t>
            </a:r>
            <a:endParaRPr kumimoji="0" lang="en-US" sz="1800" b="0" i="0" u="none" strike="noStrike" kern="1200" cap="none" spc="0" normalizeH="0" baseline="0" noProof="0" dirty="0">
              <a:ln>
                <a:noFill/>
              </a:ln>
              <a:solidFill>
                <a:srgbClr val="FFFFFF"/>
              </a:solidFill>
              <a:effectLst/>
              <a:uLnTx/>
              <a:uFillTx/>
              <a:latin typeface="OPPOSans B" panose="00020600040101010101" pitchFamily="18" charset="-122"/>
              <a:ea typeface="OPPOSans B" panose="00020600040101010101" pitchFamily="18" charset="-122"/>
              <a:cs typeface="OPPOSans B" panose="00020600040101010101" pitchFamily="18" charset="-122"/>
            </a:endParaRPr>
          </a:p>
        </p:txBody>
      </p:sp>
      <p:sp>
        <p:nvSpPr>
          <p:cNvPr id="37" name="gaoding-5">
            <a:extLst>
              <a:ext uri="{FF2B5EF4-FFF2-40B4-BE49-F238E27FC236}">
                <a16:creationId xmlns:a16="http://schemas.microsoft.com/office/drawing/2014/main" id="{DAF99C2C-15C5-E1B2-6442-F3ED7BEEFF28}"/>
              </a:ext>
            </a:extLst>
          </p:cNvPr>
          <p:cNvSpPr/>
          <p:nvPr/>
        </p:nvSpPr>
        <p:spPr>
          <a:xfrm>
            <a:off x="3407364" y="3136634"/>
            <a:ext cx="1611964" cy="1378960"/>
          </a:xfrm>
          <a:prstGeom prst="roundRect">
            <a:avLst>
              <a:gd name="adj" fmla="val 2463"/>
            </a:avLst>
          </a:prstGeom>
          <a:solidFill>
            <a:schemeClr val="bg1">
              <a:lumMod val="95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POSans R" panose="00020600040101010101" pitchFamily="18" charset="-122"/>
              <a:ea typeface="微软雅黑"/>
              <a:cs typeface="+mn-cs"/>
            </a:endParaRPr>
          </a:p>
        </p:txBody>
      </p:sp>
      <p:sp>
        <p:nvSpPr>
          <p:cNvPr id="38" name="gaoding-6">
            <a:extLst>
              <a:ext uri="{FF2B5EF4-FFF2-40B4-BE49-F238E27FC236}">
                <a16:creationId xmlns:a16="http://schemas.microsoft.com/office/drawing/2014/main" id="{AF4BDC06-1972-C31E-6937-0052909AC2A2}"/>
              </a:ext>
            </a:extLst>
          </p:cNvPr>
          <p:cNvSpPr/>
          <p:nvPr/>
        </p:nvSpPr>
        <p:spPr>
          <a:xfrm>
            <a:off x="3407365" y="2743442"/>
            <a:ext cx="1611964" cy="393191"/>
          </a:xfrm>
          <a:prstGeom prst="roundRect">
            <a:avLst>
              <a:gd name="adj" fmla="val 9200"/>
            </a:avLst>
          </a:prstGeom>
          <a:gradFill flip="none" rotWithShape="1">
            <a:gsLst>
              <a:gs pos="1000">
                <a:schemeClr val="accent2"/>
              </a:gs>
              <a:gs pos="100000">
                <a:schemeClr val="accent2">
                  <a:lumMod val="60000"/>
                  <a:lumOff val="40000"/>
                </a:schemeClr>
              </a:gs>
            </a:gsLst>
            <a:lin ang="2700000" scaled="0"/>
            <a:tileRect/>
          </a:gradFill>
          <a:ln>
            <a:noFill/>
          </a:ln>
          <a:effectLst>
            <a:outerShdw blurRad="254000" dist="127000" dir="5400000" sx="90000" sy="90000" algn="t" rotWithShape="0">
              <a:schemeClr val="accent2">
                <a:lumMod val="75000"/>
                <a:alpha val="2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OPPOSans B" panose="00020600040101010101" pitchFamily="18" charset="-122"/>
                <a:ea typeface="OPPOSans B" panose="00020600040101010101" pitchFamily="18" charset="-122"/>
                <a:cs typeface="OPPOSans B" panose="00020600040101010101" pitchFamily="18" charset="-122"/>
              </a:rPr>
              <a:t>02</a:t>
            </a:r>
          </a:p>
        </p:txBody>
      </p:sp>
      <p:sp>
        <p:nvSpPr>
          <p:cNvPr id="43" name="gaoding-7">
            <a:extLst>
              <a:ext uri="{FF2B5EF4-FFF2-40B4-BE49-F238E27FC236}">
                <a16:creationId xmlns:a16="http://schemas.microsoft.com/office/drawing/2014/main" id="{121313B6-05F7-F99A-2419-F4E82962A657}"/>
              </a:ext>
            </a:extLst>
          </p:cNvPr>
          <p:cNvSpPr/>
          <p:nvPr/>
        </p:nvSpPr>
        <p:spPr>
          <a:xfrm>
            <a:off x="5573888" y="3136634"/>
            <a:ext cx="1611964" cy="1378960"/>
          </a:xfrm>
          <a:prstGeom prst="roundRect">
            <a:avLst>
              <a:gd name="adj" fmla="val 2463"/>
            </a:avLst>
          </a:prstGeom>
          <a:solidFill>
            <a:schemeClr val="bg1">
              <a:lumMod val="95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POSans R" panose="00020600040101010101" pitchFamily="18" charset="-122"/>
              <a:ea typeface="微软雅黑"/>
              <a:cs typeface="+mn-cs"/>
            </a:endParaRPr>
          </a:p>
        </p:txBody>
      </p:sp>
      <p:sp>
        <p:nvSpPr>
          <p:cNvPr id="44" name="gaoding-8">
            <a:extLst>
              <a:ext uri="{FF2B5EF4-FFF2-40B4-BE49-F238E27FC236}">
                <a16:creationId xmlns:a16="http://schemas.microsoft.com/office/drawing/2014/main" id="{23919892-12EA-3E72-618B-C6443F9868AE}"/>
              </a:ext>
            </a:extLst>
          </p:cNvPr>
          <p:cNvSpPr/>
          <p:nvPr/>
        </p:nvSpPr>
        <p:spPr>
          <a:xfrm>
            <a:off x="5573889" y="2743442"/>
            <a:ext cx="1611964" cy="393191"/>
          </a:xfrm>
          <a:prstGeom prst="roundRect">
            <a:avLst>
              <a:gd name="adj" fmla="val 920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OPPOSans B" panose="00020600040101010101" pitchFamily="18" charset="-122"/>
                <a:ea typeface="OPPOSans B" panose="00020600040101010101" pitchFamily="18" charset="-122"/>
                <a:cs typeface="OPPOSans B" panose="00020600040101010101" pitchFamily="18" charset="-122"/>
              </a:rPr>
              <a:t>03</a:t>
            </a:r>
          </a:p>
        </p:txBody>
      </p:sp>
      <p:sp>
        <p:nvSpPr>
          <p:cNvPr id="49" name="gaoding-9">
            <a:extLst>
              <a:ext uri="{FF2B5EF4-FFF2-40B4-BE49-F238E27FC236}">
                <a16:creationId xmlns:a16="http://schemas.microsoft.com/office/drawing/2014/main" id="{5391F7A7-E7F6-660D-BE21-81D3BE3BF893}"/>
              </a:ext>
            </a:extLst>
          </p:cNvPr>
          <p:cNvSpPr/>
          <p:nvPr/>
        </p:nvSpPr>
        <p:spPr>
          <a:xfrm>
            <a:off x="7740412" y="3136634"/>
            <a:ext cx="1611964" cy="1378960"/>
          </a:xfrm>
          <a:prstGeom prst="roundRect">
            <a:avLst>
              <a:gd name="adj" fmla="val 2463"/>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POSans R" panose="00020600040101010101" pitchFamily="18" charset="-122"/>
              <a:ea typeface="微软雅黑"/>
              <a:cs typeface="+mn-cs"/>
            </a:endParaRPr>
          </a:p>
        </p:txBody>
      </p:sp>
      <p:sp>
        <p:nvSpPr>
          <p:cNvPr id="50" name="gaoding-10">
            <a:extLst>
              <a:ext uri="{FF2B5EF4-FFF2-40B4-BE49-F238E27FC236}">
                <a16:creationId xmlns:a16="http://schemas.microsoft.com/office/drawing/2014/main" id="{B50C27F8-B0FF-BB4B-13EF-0DC31F0AE139}"/>
              </a:ext>
            </a:extLst>
          </p:cNvPr>
          <p:cNvSpPr/>
          <p:nvPr/>
        </p:nvSpPr>
        <p:spPr>
          <a:xfrm>
            <a:off x="7740413" y="2743442"/>
            <a:ext cx="1611964" cy="393191"/>
          </a:xfrm>
          <a:prstGeom prst="roundRect">
            <a:avLst>
              <a:gd name="adj" fmla="val 9200"/>
            </a:avLst>
          </a:prstGeom>
          <a:gradFill flip="none" rotWithShape="1">
            <a:gsLst>
              <a:gs pos="1000">
                <a:schemeClr val="accent1"/>
              </a:gs>
              <a:gs pos="100000">
                <a:schemeClr val="accent1">
                  <a:lumMod val="60000"/>
                  <a:lumOff val="40000"/>
                </a:schemeClr>
              </a:gs>
            </a:gsLst>
            <a:lin ang="2700000" scaled="0"/>
            <a:tileRect/>
          </a:gradFill>
          <a:ln>
            <a:noFill/>
          </a:ln>
          <a:effectLst>
            <a:outerShdw blurRad="254000" dist="127000" dir="5400000" sx="90000" sy="90000" algn="t" rotWithShape="0">
              <a:schemeClr val="accent1">
                <a:lumMod val="75000"/>
                <a:alpha val="2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OPPOSans B" panose="00020600040101010101" pitchFamily="18" charset="-122"/>
                <a:ea typeface="OPPOSans B" panose="00020600040101010101" pitchFamily="18" charset="-122"/>
                <a:cs typeface="OPPOSans B" panose="00020600040101010101" pitchFamily="18" charset="-122"/>
              </a:rPr>
              <a:t>05</a:t>
            </a:r>
            <a:endParaRPr kumimoji="0" lang="en-US" sz="1800" b="0" i="0" u="none" strike="noStrike" kern="1200" cap="none" spc="0" normalizeH="0" baseline="0" noProof="0" dirty="0">
              <a:ln>
                <a:noFill/>
              </a:ln>
              <a:solidFill>
                <a:srgbClr val="FFFFFF"/>
              </a:solidFill>
              <a:effectLst/>
              <a:uLnTx/>
              <a:uFillTx/>
              <a:latin typeface="OPPOSans B" panose="00020600040101010101" pitchFamily="18" charset="-122"/>
              <a:ea typeface="OPPOSans B" panose="00020600040101010101" pitchFamily="18" charset="-122"/>
              <a:cs typeface="OPPOSans B" panose="00020600040101010101" pitchFamily="18" charset="-122"/>
            </a:endParaRPr>
          </a:p>
        </p:txBody>
      </p:sp>
      <p:sp>
        <p:nvSpPr>
          <p:cNvPr id="55" name="gaoding-11">
            <a:extLst>
              <a:ext uri="{FF2B5EF4-FFF2-40B4-BE49-F238E27FC236}">
                <a16:creationId xmlns:a16="http://schemas.microsoft.com/office/drawing/2014/main" id="{9E7C07DA-D89C-378C-9D48-36222DBDE03F}"/>
              </a:ext>
            </a:extLst>
          </p:cNvPr>
          <p:cNvSpPr/>
          <p:nvPr/>
        </p:nvSpPr>
        <p:spPr>
          <a:xfrm>
            <a:off x="9906935" y="3136634"/>
            <a:ext cx="1611964" cy="1378960"/>
          </a:xfrm>
          <a:prstGeom prst="roundRect">
            <a:avLst>
              <a:gd name="adj" fmla="val 2463"/>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POSans R" panose="00020600040101010101" pitchFamily="18" charset="-122"/>
              <a:ea typeface="微软雅黑"/>
              <a:cs typeface="+mn-cs"/>
            </a:endParaRPr>
          </a:p>
        </p:txBody>
      </p:sp>
      <p:sp>
        <p:nvSpPr>
          <p:cNvPr id="56" name="gaoding-12">
            <a:extLst>
              <a:ext uri="{FF2B5EF4-FFF2-40B4-BE49-F238E27FC236}">
                <a16:creationId xmlns:a16="http://schemas.microsoft.com/office/drawing/2014/main" id="{34D7E68C-E4B1-CE63-2CB3-0FD57E31AAC8}"/>
              </a:ext>
            </a:extLst>
          </p:cNvPr>
          <p:cNvSpPr/>
          <p:nvPr/>
        </p:nvSpPr>
        <p:spPr>
          <a:xfrm>
            <a:off x="9906936" y="2743442"/>
            <a:ext cx="1611964" cy="393191"/>
          </a:xfrm>
          <a:prstGeom prst="roundRect">
            <a:avLst>
              <a:gd name="adj" fmla="val 9200"/>
            </a:avLst>
          </a:prstGeom>
          <a:gradFill flip="none" rotWithShape="1">
            <a:gsLst>
              <a:gs pos="1000">
                <a:schemeClr val="accent5"/>
              </a:gs>
              <a:gs pos="100000">
                <a:schemeClr val="accent5">
                  <a:lumMod val="60000"/>
                  <a:lumOff val="40000"/>
                </a:schemeClr>
              </a:gs>
            </a:gsLst>
            <a:lin ang="2700000" scaled="0"/>
            <a:tileRect/>
          </a:gradFill>
          <a:ln>
            <a:noFill/>
          </a:ln>
          <a:effectLst>
            <a:outerShdw blurRad="254000" dist="139700" dir="5400000" sx="90000" sy="90000" algn="t" rotWithShape="0">
              <a:schemeClr val="accent5">
                <a:lumMod val="75000"/>
                <a:alpha val="2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OPPOSans B" panose="00020600040101010101" pitchFamily="18" charset="-122"/>
                <a:ea typeface="OPPOSans B" panose="00020600040101010101" pitchFamily="18" charset="-122"/>
                <a:cs typeface="OPPOSans B" panose="00020600040101010101" pitchFamily="18" charset="-122"/>
              </a:rPr>
              <a:t>06</a:t>
            </a:r>
            <a:endParaRPr kumimoji="0" lang="en-US" sz="1800" b="0" i="0" u="none" strike="noStrike" kern="1200" cap="none" spc="0" normalizeH="0" baseline="0" noProof="0" dirty="0">
              <a:ln>
                <a:noFill/>
              </a:ln>
              <a:solidFill>
                <a:srgbClr val="FFFFFF"/>
              </a:solidFill>
              <a:effectLst/>
              <a:uLnTx/>
              <a:uFillTx/>
              <a:latin typeface="OPPOSans B" panose="00020600040101010101" pitchFamily="18" charset="-122"/>
              <a:ea typeface="OPPOSans B" panose="00020600040101010101" pitchFamily="18" charset="-122"/>
              <a:cs typeface="OPPOSans B" panose="00020600040101010101" pitchFamily="18" charset="-122"/>
            </a:endParaRPr>
          </a:p>
        </p:txBody>
      </p:sp>
      <p:sp>
        <p:nvSpPr>
          <p:cNvPr id="61" name="gaoding-13">
            <a:extLst>
              <a:ext uri="{FF2B5EF4-FFF2-40B4-BE49-F238E27FC236}">
                <a16:creationId xmlns:a16="http://schemas.microsoft.com/office/drawing/2014/main" id="{3576A471-72A8-AF93-3EBE-6910B21BB559}"/>
              </a:ext>
            </a:extLst>
          </p:cNvPr>
          <p:cNvSpPr/>
          <p:nvPr/>
        </p:nvSpPr>
        <p:spPr>
          <a:xfrm>
            <a:off x="4036537" y="5138371"/>
            <a:ext cx="1611964" cy="1187377"/>
          </a:xfrm>
          <a:prstGeom prst="roundRect">
            <a:avLst>
              <a:gd name="adj" fmla="val 2463"/>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POSans R" panose="00020600040101010101" pitchFamily="18" charset="-122"/>
              <a:ea typeface="微软雅黑"/>
              <a:cs typeface="+mn-cs"/>
            </a:endParaRPr>
          </a:p>
        </p:txBody>
      </p:sp>
      <p:sp>
        <p:nvSpPr>
          <p:cNvPr id="62" name="gaoding-14">
            <a:extLst>
              <a:ext uri="{FF2B5EF4-FFF2-40B4-BE49-F238E27FC236}">
                <a16:creationId xmlns:a16="http://schemas.microsoft.com/office/drawing/2014/main" id="{3AA1B869-7871-B9C0-6A71-25D59FF25011}"/>
              </a:ext>
            </a:extLst>
          </p:cNvPr>
          <p:cNvSpPr/>
          <p:nvPr/>
        </p:nvSpPr>
        <p:spPr>
          <a:xfrm>
            <a:off x="4036538" y="4745179"/>
            <a:ext cx="1611964" cy="393191"/>
          </a:xfrm>
          <a:prstGeom prst="roundRect">
            <a:avLst>
              <a:gd name="adj" fmla="val 9200"/>
            </a:avLst>
          </a:prstGeom>
          <a:gradFill flip="none" rotWithShape="1">
            <a:gsLst>
              <a:gs pos="1000">
                <a:schemeClr val="accent1"/>
              </a:gs>
              <a:gs pos="100000">
                <a:schemeClr val="accent1">
                  <a:lumMod val="60000"/>
                  <a:lumOff val="40000"/>
                </a:schemeClr>
              </a:gs>
            </a:gsLst>
            <a:lin ang="2700000" scaled="0"/>
            <a:tileRect/>
          </a:gradFill>
          <a:ln>
            <a:noFill/>
          </a:ln>
          <a:effectLst>
            <a:outerShdw blurRad="254000" dist="127000" dir="5400000" sx="90000" sy="90000" algn="t" rotWithShape="0">
              <a:schemeClr val="accent1">
                <a:lumMod val="75000"/>
                <a:alpha val="2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OPPOSans B" panose="00020600040101010101" pitchFamily="18" charset="-122"/>
                <a:ea typeface="OPPOSans B" panose="00020600040101010101" pitchFamily="18" charset="-122"/>
                <a:cs typeface="OPPOSans B" panose="00020600040101010101" pitchFamily="18" charset="-122"/>
              </a:rPr>
              <a:t>03</a:t>
            </a:r>
            <a:endParaRPr kumimoji="0" lang="en-US" sz="1800" b="0" i="0" u="none" strike="noStrike" kern="1200" cap="none" spc="0" normalizeH="0" baseline="0" noProof="0" dirty="0">
              <a:ln>
                <a:noFill/>
              </a:ln>
              <a:solidFill>
                <a:srgbClr val="FFFFFF"/>
              </a:solidFill>
              <a:effectLst/>
              <a:uLnTx/>
              <a:uFillTx/>
              <a:latin typeface="OPPOSans B" panose="00020600040101010101" pitchFamily="18" charset="-122"/>
              <a:ea typeface="OPPOSans B" panose="00020600040101010101" pitchFamily="18" charset="-122"/>
              <a:cs typeface="OPPOSans B" panose="00020600040101010101" pitchFamily="18" charset="-122"/>
            </a:endParaRPr>
          </a:p>
        </p:txBody>
      </p:sp>
      <p:sp>
        <p:nvSpPr>
          <p:cNvPr id="67" name="gaoding-15">
            <a:extLst>
              <a:ext uri="{FF2B5EF4-FFF2-40B4-BE49-F238E27FC236}">
                <a16:creationId xmlns:a16="http://schemas.microsoft.com/office/drawing/2014/main" id="{A67EE22C-9D1E-F3CC-28EA-3D6A093BB4EA}"/>
              </a:ext>
            </a:extLst>
          </p:cNvPr>
          <p:cNvSpPr/>
          <p:nvPr/>
        </p:nvSpPr>
        <p:spPr>
          <a:xfrm>
            <a:off x="6043333" y="5138371"/>
            <a:ext cx="1611964" cy="1187377"/>
          </a:xfrm>
          <a:prstGeom prst="roundRect">
            <a:avLst>
              <a:gd name="adj" fmla="val 2463"/>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POSans R" panose="00020600040101010101" pitchFamily="18" charset="-122"/>
              <a:ea typeface="微软雅黑"/>
              <a:cs typeface="+mn-cs"/>
            </a:endParaRPr>
          </a:p>
        </p:txBody>
      </p:sp>
      <p:sp>
        <p:nvSpPr>
          <p:cNvPr id="68" name="gaoding-16">
            <a:extLst>
              <a:ext uri="{FF2B5EF4-FFF2-40B4-BE49-F238E27FC236}">
                <a16:creationId xmlns:a16="http://schemas.microsoft.com/office/drawing/2014/main" id="{7818E3FE-DAB7-F232-2D70-3B826D806334}"/>
              </a:ext>
            </a:extLst>
          </p:cNvPr>
          <p:cNvSpPr/>
          <p:nvPr/>
        </p:nvSpPr>
        <p:spPr>
          <a:xfrm>
            <a:off x="6043333" y="4745179"/>
            <a:ext cx="1611964" cy="393191"/>
          </a:xfrm>
          <a:prstGeom prst="roundRect">
            <a:avLst>
              <a:gd name="adj" fmla="val 9200"/>
            </a:avLst>
          </a:prstGeom>
          <a:gradFill flip="none" rotWithShape="1">
            <a:gsLst>
              <a:gs pos="1000">
                <a:schemeClr val="tx1">
                  <a:lumMod val="50000"/>
                  <a:lumOff val="50000"/>
                </a:schemeClr>
              </a:gs>
              <a:gs pos="100000">
                <a:schemeClr val="bg2">
                  <a:lumMod val="75000"/>
                </a:schemeClr>
              </a:gs>
            </a:gsLst>
            <a:lin ang="2700000" scaled="0"/>
            <a:tileRect/>
          </a:gradFill>
          <a:ln>
            <a:noFill/>
          </a:ln>
          <a:effectLst>
            <a:outerShdw blurRad="254000" dist="139700" dir="5400000" sx="90000" sy="90000" algn="t" rotWithShape="0">
              <a:schemeClr val="tx1">
                <a:lumMod val="65000"/>
                <a:lumOff val="35000"/>
                <a:alpha val="2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OPPOSans B" panose="00020600040101010101" pitchFamily="18" charset="-122"/>
                <a:ea typeface="OPPOSans B" panose="00020600040101010101" pitchFamily="18" charset="-122"/>
                <a:cs typeface="OPPOSans B" panose="00020600040101010101" pitchFamily="18" charset="-122"/>
              </a:rPr>
              <a:t>04</a:t>
            </a:r>
            <a:endParaRPr kumimoji="0" lang="en-US" sz="1800" b="0" i="0" u="none" strike="noStrike" kern="1200" cap="none" spc="0" normalizeH="0" baseline="0" noProof="0" dirty="0">
              <a:ln>
                <a:noFill/>
              </a:ln>
              <a:solidFill>
                <a:srgbClr val="FFFFFF"/>
              </a:solidFill>
              <a:effectLst/>
              <a:uLnTx/>
              <a:uFillTx/>
              <a:latin typeface="OPPOSans B" panose="00020600040101010101" pitchFamily="18" charset="-122"/>
              <a:ea typeface="OPPOSans B" panose="00020600040101010101" pitchFamily="18" charset="-122"/>
              <a:cs typeface="OPPOSans B" panose="00020600040101010101" pitchFamily="18" charset="-122"/>
            </a:endParaRPr>
          </a:p>
        </p:txBody>
      </p:sp>
      <p:sp>
        <p:nvSpPr>
          <p:cNvPr id="73" name="gaoding-17">
            <a:extLst>
              <a:ext uri="{FF2B5EF4-FFF2-40B4-BE49-F238E27FC236}">
                <a16:creationId xmlns:a16="http://schemas.microsoft.com/office/drawing/2014/main" id="{1813BD00-90F3-9B61-0D48-9D6019AC2AB3}"/>
              </a:ext>
            </a:extLst>
          </p:cNvPr>
          <p:cNvSpPr/>
          <p:nvPr/>
        </p:nvSpPr>
        <p:spPr>
          <a:xfrm>
            <a:off x="7740412" y="1299493"/>
            <a:ext cx="1611964" cy="1187377"/>
          </a:xfrm>
          <a:prstGeom prst="roundRect">
            <a:avLst>
              <a:gd name="adj" fmla="val 2463"/>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POSans R" panose="00020600040101010101" pitchFamily="18" charset="-122"/>
              <a:ea typeface="微软雅黑"/>
              <a:cs typeface="+mn-cs"/>
            </a:endParaRPr>
          </a:p>
        </p:txBody>
      </p:sp>
      <p:sp>
        <p:nvSpPr>
          <p:cNvPr id="74" name="gaoding-18">
            <a:extLst>
              <a:ext uri="{FF2B5EF4-FFF2-40B4-BE49-F238E27FC236}">
                <a16:creationId xmlns:a16="http://schemas.microsoft.com/office/drawing/2014/main" id="{9E1567A7-9EFD-7E30-6C7E-4E3CF79695BC}"/>
              </a:ext>
            </a:extLst>
          </p:cNvPr>
          <p:cNvSpPr/>
          <p:nvPr/>
        </p:nvSpPr>
        <p:spPr>
          <a:xfrm>
            <a:off x="7740413" y="906301"/>
            <a:ext cx="1611964" cy="393191"/>
          </a:xfrm>
          <a:prstGeom prst="roundRect">
            <a:avLst>
              <a:gd name="adj" fmla="val 9200"/>
            </a:avLst>
          </a:prstGeom>
          <a:gradFill flip="none" rotWithShape="1">
            <a:gsLst>
              <a:gs pos="1000">
                <a:schemeClr val="tx1">
                  <a:lumMod val="50000"/>
                  <a:lumOff val="50000"/>
                </a:schemeClr>
              </a:gs>
              <a:gs pos="100000">
                <a:schemeClr val="bg2">
                  <a:lumMod val="75000"/>
                </a:schemeClr>
              </a:gs>
            </a:gsLst>
            <a:lin ang="2700000" scaled="0"/>
            <a:tileRect/>
          </a:gradFill>
          <a:ln>
            <a:noFill/>
          </a:ln>
          <a:effectLst>
            <a:outerShdw blurRad="254000" dist="139700" dir="5400000" sx="90000" sy="90000" algn="t" rotWithShape="0">
              <a:schemeClr val="tx1">
                <a:lumMod val="65000"/>
                <a:lumOff val="35000"/>
                <a:alpha val="2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OPPOSans B" panose="00020600040101010101" pitchFamily="18" charset="-122"/>
                <a:ea typeface="OPPOSans B" panose="00020600040101010101" pitchFamily="18" charset="-122"/>
                <a:cs typeface="OPPOSans B" panose="00020600040101010101" pitchFamily="18" charset="-122"/>
              </a:rPr>
              <a:t>04</a:t>
            </a:r>
            <a:endParaRPr kumimoji="0" lang="en-US" sz="1800" b="0" i="0" u="none" strike="noStrike" kern="1200" cap="none" spc="0" normalizeH="0" baseline="0" noProof="0" dirty="0">
              <a:ln>
                <a:noFill/>
              </a:ln>
              <a:solidFill>
                <a:srgbClr val="FFFFFF"/>
              </a:solidFill>
              <a:effectLst/>
              <a:uLnTx/>
              <a:uFillTx/>
              <a:latin typeface="OPPOSans B" panose="00020600040101010101" pitchFamily="18" charset="-122"/>
              <a:ea typeface="OPPOSans B" panose="00020600040101010101" pitchFamily="18" charset="-122"/>
              <a:cs typeface="OPPOSans B" panose="00020600040101010101" pitchFamily="18" charset="-122"/>
            </a:endParaRPr>
          </a:p>
        </p:txBody>
      </p:sp>
      <p:sp>
        <p:nvSpPr>
          <p:cNvPr id="79" name="gaoding-19">
            <a:extLst>
              <a:ext uri="{FF2B5EF4-FFF2-40B4-BE49-F238E27FC236}">
                <a16:creationId xmlns:a16="http://schemas.microsoft.com/office/drawing/2014/main" id="{471773AC-06E3-538B-4321-1DAF555F9B73}"/>
              </a:ext>
            </a:extLst>
          </p:cNvPr>
          <p:cNvSpPr/>
          <p:nvPr/>
        </p:nvSpPr>
        <p:spPr>
          <a:xfrm>
            <a:off x="2969805" y="3537540"/>
            <a:ext cx="320559" cy="183957"/>
          </a:xfrm>
          <a:prstGeom prst="rightArrow">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POSans R" panose="00020600040101010101" pitchFamily="18" charset="-122"/>
              <a:ea typeface="微软雅黑"/>
              <a:cs typeface="+mn-cs"/>
            </a:endParaRPr>
          </a:p>
        </p:txBody>
      </p:sp>
      <p:sp>
        <p:nvSpPr>
          <p:cNvPr id="80" name="gaoding-20">
            <a:extLst>
              <a:ext uri="{FF2B5EF4-FFF2-40B4-BE49-F238E27FC236}">
                <a16:creationId xmlns:a16="http://schemas.microsoft.com/office/drawing/2014/main" id="{7A5ABC73-2D0C-7092-A28E-3A75E3542BD8}"/>
              </a:ext>
            </a:extLst>
          </p:cNvPr>
          <p:cNvSpPr/>
          <p:nvPr/>
        </p:nvSpPr>
        <p:spPr>
          <a:xfrm>
            <a:off x="5136329" y="3537540"/>
            <a:ext cx="320559" cy="183957"/>
          </a:xfrm>
          <a:prstGeom prst="rightArrow">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POSans R" panose="00020600040101010101" pitchFamily="18" charset="-122"/>
              <a:ea typeface="微软雅黑"/>
              <a:cs typeface="+mn-cs"/>
            </a:endParaRPr>
          </a:p>
        </p:txBody>
      </p:sp>
      <p:sp>
        <p:nvSpPr>
          <p:cNvPr id="81" name="gaoding-21">
            <a:extLst>
              <a:ext uri="{FF2B5EF4-FFF2-40B4-BE49-F238E27FC236}">
                <a16:creationId xmlns:a16="http://schemas.microsoft.com/office/drawing/2014/main" id="{6CE0696A-9A78-C8D0-22B4-780B3743E913}"/>
              </a:ext>
            </a:extLst>
          </p:cNvPr>
          <p:cNvSpPr/>
          <p:nvPr/>
        </p:nvSpPr>
        <p:spPr>
          <a:xfrm>
            <a:off x="7302853" y="3537540"/>
            <a:ext cx="320559" cy="183957"/>
          </a:xfrm>
          <a:prstGeom prst="rightArrow">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POSans R" panose="00020600040101010101" pitchFamily="18" charset="-122"/>
              <a:ea typeface="微软雅黑"/>
              <a:cs typeface="+mn-cs"/>
            </a:endParaRPr>
          </a:p>
        </p:txBody>
      </p:sp>
      <p:sp>
        <p:nvSpPr>
          <p:cNvPr id="82" name="gaoding-22">
            <a:extLst>
              <a:ext uri="{FF2B5EF4-FFF2-40B4-BE49-F238E27FC236}">
                <a16:creationId xmlns:a16="http://schemas.microsoft.com/office/drawing/2014/main" id="{EABBB96A-93EB-164D-20EF-7F07A9666DF1}"/>
              </a:ext>
            </a:extLst>
          </p:cNvPr>
          <p:cNvSpPr/>
          <p:nvPr/>
        </p:nvSpPr>
        <p:spPr>
          <a:xfrm>
            <a:off x="9469377" y="3537540"/>
            <a:ext cx="320559" cy="183957"/>
          </a:xfrm>
          <a:prstGeom prst="rightArrow">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POSans R" panose="00020600040101010101" pitchFamily="18" charset="-122"/>
              <a:ea typeface="微软雅黑"/>
              <a:cs typeface="+mn-cs"/>
            </a:endParaRPr>
          </a:p>
        </p:txBody>
      </p:sp>
      <p:cxnSp>
        <p:nvCxnSpPr>
          <p:cNvPr id="83" name="gaoding-23">
            <a:extLst>
              <a:ext uri="{FF2B5EF4-FFF2-40B4-BE49-F238E27FC236}">
                <a16:creationId xmlns:a16="http://schemas.microsoft.com/office/drawing/2014/main" id="{77ECBA65-E868-8A84-3BED-9D5B416DFBAF}"/>
              </a:ext>
            </a:extLst>
          </p:cNvPr>
          <p:cNvCxnSpPr>
            <a:cxnSpLocks/>
          </p:cNvCxnSpPr>
          <p:nvPr/>
        </p:nvCxnSpPr>
        <p:spPr>
          <a:xfrm>
            <a:off x="3447209" y="4600780"/>
            <a:ext cx="415848" cy="340994"/>
          </a:xfrm>
          <a:prstGeom prst="straightConnector1">
            <a:avLst/>
          </a:prstGeom>
          <a:ln w="12700">
            <a:solidFill>
              <a:schemeClr val="tx1">
                <a:lumMod val="75000"/>
                <a:lumOff val="25000"/>
              </a:schemeClr>
            </a:solidFill>
            <a:prstDash val="dash"/>
            <a:tailEnd type="arrow"/>
          </a:ln>
        </p:spPr>
        <p:style>
          <a:lnRef idx="1">
            <a:schemeClr val="accent1"/>
          </a:lnRef>
          <a:fillRef idx="0">
            <a:schemeClr val="accent1"/>
          </a:fillRef>
          <a:effectRef idx="0">
            <a:schemeClr val="accent1"/>
          </a:effectRef>
          <a:fontRef idx="minor">
            <a:schemeClr val="tx1"/>
          </a:fontRef>
        </p:style>
      </p:cxnSp>
      <p:cxnSp>
        <p:nvCxnSpPr>
          <p:cNvPr id="84" name="gaoding-24">
            <a:extLst>
              <a:ext uri="{FF2B5EF4-FFF2-40B4-BE49-F238E27FC236}">
                <a16:creationId xmlns:a16="http://schemas.microsoft.com/office/drawing/2014/main" id="{242A8B67-E469-C0C9-5DCA-42A180D57E30}"/>
              </a:ext>
            </a:extLst>
          </p:cNvPr>
          <p:cNvCxnSpPr>
            <a:cxnSpLocks/>
          </p:cNvCxnSpPr>
          <p:nvPr/>
        </p:nvCxnSpPr>
        <p:spPr>
          <a:xfrm flipV="1">
            <a:off x="7776815" y="4600780"/>
            <a:ext cx="415848" cy="340994"/>
          </a:xfrm>
          <a:prstGeom prst="straightConnector1">
            <a:avLst/>
          </a:prstGeom>
          <a:ln w="12700">
            <a:solidFill>
              <a:schemeClr val="tx1">
                <a:lumMod val="75000"/>
                <a:lumOff val="25000"/>
              </a:schemeClr>
            </a:solidFill>
            <a:prstDash val="dash"/>
            <a:tailEnd type="arrow"/>
          </a:ln>
        </p:spPr>
        <p:style>
          <a:lnRef idx="1">
            <a:schemeClr val="accent1"/>
          </a:lnRef>
          <a:fillRef idx="0">
            <a:schemeClr val="accent1"/>
          </a:fillRef>
          <a:effectRef idx="0">
            <a:schemeClr val="accent1"/>
          </a:effectRef>
          <a:fontRef idx="minor">
            <a:schemeClr val="tx1"/>
          </a:fontRef>
        </p:style>
      </p:cxnSp>
      <p:sp>
        <p:nvSpPr>
          <p:cNvPr id="85" name="gaoding-25">
            <a:extLst>
              <a:ext uri="{FF2B5EF4-FFF2-40B4-BE49-F238E27FC236}">
                <a16:creationId xmlns:a16="http://schemas.microsoft.com/office/drawing/2014/main" id="{85D0F82D-3196-E2C3-F763-11794302B5B9}"/>
              </a:ext>
            </a:extLst>
          </p:cNvPr>
          <p:cNvSpPr/>
          <p:nvPr/>
        </p:nvSpPr>
        <p:spPr>
          <a:xfrm>
            <a:off x="5716201" y="5443485"/>
            <a:ext cx="259432" cy="183957"/>
          </a:xfrm>
          <a:prstGeom prst="rightArrow">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POSans R" panose="00020600040101010101" pitchFamily="18" charset="-122"/>
              <a:ea typeface="微软雅黑"/>
              <a:cs typeface="+mn-cs"/>
            </a:endParaRPr>
          </a:p>
        </p:txBody>
      </p:sp>
      <p:cxnSp>
        <p:nvCxnSpPr>
          <p:cNvPr id="86" name="gaoding-26">
            <a:extLst>
              <a:ext uri="{FF2B5EF4-FFF2-40B4-BE49-F238E27FC236}">
                <a16:creationId xmlns:a16="http://schemas.microsoft.com/office/drawing/2014/main" id="{255CDA8C-E247-0D49-F7F8-DD9A3FDC8AB8}"/>
              </a:ext>
            </a:extLst>
          </p:cNvPr>
          <p:cNvCxnSpPr>
            <a:cxnSpLocks/>
          </p:cNvCxnSpPr>
          <p:nvPr/>
        </p:nvCxnSpPr>
        <p:spPr>
          <a:xfrm flipV="1">
            <a:off x="6304383" y="1736579"/>
            <a:ext cx="1275080" cy="852973"/>
          </a:xfrm>
          <a:prstGeom prst="straightConnector1">
            <a:avLst/>
          </a:prstGeom>
          <a:ln w="12700">
            <a:solidFill>
              <a:schemeClr val="tx1">
                <a:lumMod val="75000"/>
                <a:lumOff val="25000"/>
              </a:schemeClr>
            </a:solidFill>
            <a:prstDash val="dash"/>
            <a:tailEnd type="arrow"/>
          </a:ln>
        </p:spPr>
        <p:style>
          <a:lnRef idx="1">
            <a:schemeClr val="accent1"/>
          </a:lnRef>
          <a:fillRef idx="0">
            <a:schemeClr val="accent1"/>
          </a:fillRef>
          <a:effectRef idx="0">
            <a:schemeClr val="accent1"/>
          </a:effectRef>
          <a:fontRef idx="minor">
            <a:schemeClr val="tx1"/>
          </a:fontRef>
        </p:style>
      </p:cxnSp>
      <p:cxnSp>
        <p:nvCxnSpPr>
          <p:cNvPr id="87" name="gaoding-27">
            <a:extLst>
              <a:ext uri="{FF2B5EF4-FFF2-40B4-BE49-F238E27FC236}">
                <a16:creationId xmlns:a16="http://schemas.microsoft.com/office/drawing/2014/main" id="{9CE06F69-0082-98D0-FCFF-CEFF82C01040}"/>
              </a:ext>
            </a:extLst>
          </p:cNvPr>
          <p:cNvCxnSpPr>
            <a:cxnSpLocks/>
          </p:cNvCxnSpPr>
          <p:nvPr/>
        </p:nvCxnSpPr>
        <p:spPr>
          <a:xfrm>
            <a:off x="9524154" y="1736579"/>
            <a:ext cx="1275080" cy="852973"/>
          </a:xfrm>
          <a:prstGeom prst="straightConnector1">
            <a:avLst/>
          </a:prstGeom>
          <a:ln w="12700">
            <a:solidFill>
              <a:schemeClr val="tx1">
                <a:lumMod val="75000"/>
                <a:lumOff val="25000"/>
              </a:schemeClr>
            </a:solidFill>
            <a:prstDash val="dash"/>
            <a:tailEnd type="arrow"/>
          </a:ln>
        </p:spPr>
        <p:style>
          <a:lnRef idx="1">
            <a:schemeClr val="accent1"/>
          </a:lnRef>
          <a:fillRef idx="0">
            <a:schemeClr val="accent1"/>
          </a:fillRef>
          <a:effectRef idx="0">
            <a:schemeClr val="accent1"/>
          </a:effectRef>
          <a:fontRef idx="minor">
            <a:schemeClr val="tx1"/>
          </a:fontRef>
        </p:style>
      </p:cxnSp>
      <p:sp>
        <p:nvSpPr>
          <p:cNvPr id="8" name="gaoding-29">
            <a:extLst>
              <a:ext uri="{FF2B5EF4-FFF2-40B4-BE49-F238E27FC236}">
                <a16:creationId xmlns:a16="http://schemas.microsoft.com/office/drawing/2014/main" id="{65A2B18C-EFEF-6650-F4DD-9FD1085F22B0}"/>
              </a:ext>
            </a:extLst>
          </p:cNvPr>
          <p:cNvSpPr txBox="1"/>
          <p:nvPr/>
        </p:nvSpPr>
        <p:spPr>
          <a:xfrm>
            <a:off x="1123855" y="3465134"/>
            <a:ext cx="1845934" cy="335733"/>
          </a:xfrm>
          <a:prstGeom prst="rect">
            <a:avLst/>
          </a:prstGeom>
          <a:noFill/>
        </p:spPr>
        <p:txBody>
          <a:bodyPr wrap="square" rtlCol="0">
            <a:spAutoFit/>
          </a:bodyPr>
          <a:lstStyle/>
          <a:p>
            <a:pPr marL="0" marR="0" lvl="0" indent="0" algn="ctr" defTabSz="914400" rtl="0" eaLnBrk="1" fontAlgn="auto" latinLnBrk="0" hangingPunct="1">
              <a:lnSpc>
                <a:spcPct val="130000"/>
              </a:lnSpc>
              <a:spcBef>
                <a:spcPts val="0"/>
              </a:spcBef>
              <a:spcAft>
                <a:spcPts val="0"/>
              </a:spcAft>
              <a:buClrTx/>
              <a:buSzTx/>
              <a:buFontTx/>
              <a:buNone/>
              <a:tabLst/>
              <a:defRPr/>
            </a:pPr>
            <a:r>
              <a:rPr kumimoji="0" lang="en-US" altLang="zh-CN" sz="1300" b="0" i="0" u="none" strike="noStrike" kern="1200" cap="none" spc="0" normalizeH="0" baseline="0" noProof="0" dirty="0" err="1">
                <a:ln>
                  <a:noFill/>
                </a:ln>
                <a:solidFill>
                  <a:srgbClr val="000000">
                    <a:lumMod val="65000"/>
                    <a:lumOff val="3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rPr>
              <a:t>powerpoint</a:t>
            </a:r>
            <a:r>
              <a:rPr kumimoji="0" lang="en-US" altLang="zh-CN" sz="1300" b="0" i="0" u="none" strike="noStrike" kern="1200" cap="none" spc="0" normalizeH="0" baseline="0" noProof="0" dirty="0">
                <a:ln>
                  <a:noFill/>
                </a:ln>
                <a:solidFill>
                  <a:srgbClr val="000000">
                    <a:lumMod val="65000"/>
                    <a:lumOff val="3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rPr>
              <a:t> design</a:t>
            </a:r>
            <a:endParaRPr kumimoji="0" lang="zh-CN" altLang="en-US" sz="1300" b="0" i="0" u="none" strike="noStrike" kern="1200" cap="none" spc="0" normalizeH="0" baseline="0" noProof="0" dirty="0">
              <a:ln>
                <a:noFill/>
              </a:ln>
              <a:solidFill>
                <a:srgbClr val="000000">
                  <a:lumMod val="65000"/>
                  <a:lumOff val="3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p:txBody>
      </p:sp>
      <p:sp>
        <p:nvSpPr>
          <p:cNvPr id="9" name="gaoding-30">
            <a:extLst>
              <a:ext uri="{FF2B5EF4-FFF2-40B4-BE49-F238E27FC236}">
                <a16:creationId xmlns:a16="http://schemas.microsoft.com/office/drawing/2014/main" id="{2237B8C5-6928-4F0F-B92A-F004DF0397AA}"/>
              </a:ext>
            </a:extLst>
          </p:cNvPr>
          <p:cNvSpPr/>
          <p:nvPr/>
        </p:nvSpPr>
        <p:spPr>
          <a:xfrm>
            <a:off x="1341325" y="3189543"/>
            <a:ext cx="1410994" cy="392113"/>
          </a:xfrm>
          <a:prstGeom prst="roundRect">
            <a:avLst>
              <a:gd name="adj" fmla="val 50000"/>
            </a:avLst>
          </a:prstGeom>
          <a:noFill/>
          <a:ln>
            <a:noFill/>
          </a:ln>
          <a:effectLst>
            <a:outerShdw blurRad="254000" dist="127000" dir="5400000" sx="90000" sy="90000" algn="t" rotWithShape="0">
              <a:schemeClr val="accent1">
                <a:lumMod val="75000"/>
                <a:alpha val="2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600" b="0" i="0" u="none" strike="noStrike" kern="1200" cap="none" spc="0" normalizeH="0" baseline="0" noProof="0" dirty="0">
                <a:ln>
                  <a:noFill/>
                </a:ln>
                <a:solidFill>
                  <a:srgbClr val="000000">
                    <a:lumMod val="65000"/>
                    <a:lumOff val="35000"/>
                  </a:srgbClr>
                </a:solidFill>
                <a:effectLst/>
                <a:uLnTx/>
                <a:uFillTx/>
                <a:latin typeface="OPPOSans B" panose="00020600040101010101" pitchFamily="18" charset="-122"/>
                <a:ea typeface="OPPOSans B" panose="00020600040101010101" pitchFamily="18" charset="-122"/>
                <a:cs typeface="OPPOSans B" panose="00020600040101010101" pitchFamily="18" charset="-122"/>
              </a:rPr>
              <a:t>更快更轻松</a:t>
            </a:r>
            <a:endParaRPr kumimoji="0" lang="en-US" sz="1600" b="0" i="0" u="none" strike="noStrike" kern="1200" cap="none" spc="0" normalizeH="0" baseline="0" noProof="0" dirty="0">
              <a:ln>
                <a:noFill/>
              </a:ln>
              <a:solidFill>
                <a:srgbClr val="000000">
                  <a:lumMod val="65000"/>
                  <a:lumOff val="35000"/>
                </a:srgbClr>
              </a:solidFill>
              <a:effectLst/>
              <a:uLnTx/>
              <a:uFillTx/>
              <a:latin typeface="OPPOSans B" panose="00020600040101010101" pitchFamily="18" charset="-122"/>
              <a:ea typeface="OPPOSans B" panose="00020600040101010101" pitchFamily="18" charset="-122"/>
              <a:cs typeface="OPPOSans B" panose="00020600040101010101" pitchFamily="18" charset="-122"/>
            </a:endParaRPr>
          </a:p>
        </p:txBody>
      </p:sp>
      <p:sp>
        <p:nvSpPr>
          <p:cNvPr id="111" name="gaoding-31">
            <a:extLst>
              <a:ext uri="{FF2B5EF4-FFF2-40B4-BE49-F238E27FC236}">
                <a16:creationId xmlns:a16="http://schemas.microsoft.com/office/drawing/2014/main" id="{FF6A36CB-4610-DD9B-E1CF-346325536857}"/>
              </a:ext>
            </a:extLst>
          </p:cNvPr>
          <p:cNvSpPr txBox="1"/>
          <p:nvPr/>
        </p:nvSpPr>
        <p:spPr>
          <a:xfrm>
            <a:off x="3306848" y="3465134"/>
            <a:ext cx="1812988" cy="335733"/>
          </a:xfrm>
          <a:prstGeom prst="rect">
            <a:avLst/>
          </a:prstGeom>
          <a:noFill/>
        </p:spPr>
        <p:txBody>
          <a:bodyPr wrap="square" rtlCol="0">
            <a:spAutoFit/>
          </a:bodyPr>
          <a:lstStyle>
            <a:defPPr>
              <a:defRPr lang="zh-CN"/>
            </a:defPPr>
            <a:lvl1pPr algn="ctr">
              <a:lnSpc>
                <a:spcPct val="130000"/>
              </a:lnSpc>
              <a:defRPr sz="1300">
                <a:solidFill>
                  <a:schemeClr val="tx1">
                    <a:lumMod val="65000"/>
                    <a:lumOff val="35000"/>
                  </a:schemeClr>
                </a:solidFill>
                <a:latin typeface="OPPOSans R" panose="00020600040101010101" pitchFamily="18" charset="-122"/>
                <a:ea typeface="OPPOSans R" panose="00020600040101010101" pitchFamily="18" charset="-122"/>
                <a:cs typeface="OPPOSans R" panose="00020600040101010101" pitchFamily="18" charset="-122"/>
              </a:defRPr>
            </a:lvl1pPr>
          </a:lstStyle>
          <a:p>
            <a:pPr marL="0" marR="0" lvl="0" indent="0" algn="ctr" defTabSz="914400" rtl="0" eaLnBrk="1" fontAlgn="auto" latinLnBrk="0" hangingPunct="1">
              <a:lnSpc>
                <a:spcPct val="130000"/>
              </a:lnSpc>
              <a:spcBef>
                <a:spcPts val="0"/>
              </a:spcBef>
              <a:spcAft>
                <a:spcPts val="0"/>
              </a:spcAft>
              <a:buClrTx/>
              <a:buSzTx/>
              <a:buFontTx/>
              <a:buNone/>
              <a:tabLst/>
              <a:defRPr/>
            </a:pPr>
            <a:r>
              <a:rPr kumimoji="0" lang="af-ZA" altLang="zh-CN" sz="1300" b="0" i="0" u="none" strike="noStrike" kern="1200" cap="none" spc="0" normalizeH="0" baseline="0" noProof="0" dirty="0">
                <a:ln>
                  <a:noFill/>
                </a:ln>
                <a:solidFill>
                  <a:srgbClr val="000000">
                    <a:lumMod val="65000"/>
                    <a:lumOff val="3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rPr>
              <a:t>powerpoint design</a:t>
            </a:r>
          </a:p>
        </p:txBody>
      </p:sp>
      <p:sp>
        <p:nvSpPr>
          <p:cNvPr id="112" name="gaoding-32">
            <a:extLst>
              <a:ext uri="{FF2B5EF4-FFF2-40B4-BE49-F238E27FC236}">
                <a16:creationId xmlns:a16="http://schemas.microsoft.com/office/drawing/2014/main" id="{0B87EA08-C440-2DE4-8341-CBC3F32224EC}"/>
              </a:ext>
            </a:extLst>
          </p:cNvPr>
          <p:cNvSpPr/>
          <p:nvPr/>
        </p:nvSpPr>
        <p:spPr>
          <a:xfrm>
            <a:off x="3507845" y="3189543"/>
            <a:ext cx="1410994" cy="392113"/>
          </a:xfrm>
          <a:prstGeom prst="roundRect">
            <a:avLst>
              <a:gd name="adj" fmla="val 50000"/>
            </a:avLst>
          </a:prstGeom>
          <a:noFill/>
          <a:ln>
            <a:noFill/>
          </a:ln>
          <a:effectLst>
            <a:outerShdw blurRad="254000" dist="127000" dir="5400000" sx="90000" sy="90000" algn="t" rotWithShape="0">
              <a:schemeClr val="accent1">
                <a:lumMod val="75000"/>
                <a:alpha val="2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600" b="0" i="0" u="none" strike="noStrike" kern="1200" cap="none" spc="0" normalizeH="0" baseline="0" noProof="0" dirty="0">
                <a:ln>
                  <a:noFill/>
                </a:ln>
                <a:solidFill>
                  <a:srgbClr val="000000">
                    <a:lumMod val="65000"/>
                    <a:lumOff val="35000"/>
                  </a:srgbClr>
                </a:solidFill>
                <a:effectLst/>
                <a:uLnTx/>
                <a:uFillTx/>
                <a:latin typeface="OPPOSans B" panose="00020600040101010101" pitchFamily="18" charset="-122"/>
                <a:ea typeface="OPPOSans B" panose="00020600040101010101" pitchFamily="18" charset="-122"/>
                <a:cs typeface="OPPOSans B" panose="00020600040101010101" pitchFamily="18" charset="-122"/>
              </a:rPr>
              <a:t>多用途场景</a:t>
            </a:r>
          </a:p>
        </p:txBody>
      </p:sp>
      <p:sp>
        <p:nvSpPr>
          <p:cNvPr id="113" name="gaoding-33">
            <a:extLst>
              <a:ext uri="{FF2B5EF4-FFF2-40B4-BE49-F238E27FC236}">
                <a16:creationId xmlns:a16="http://schemas.microsoft.com/office/drawing/2014/main" id="{47D75916-3636-9FEB-C1E1-ED1178A83DB0}"/>
              </a:ext>
            </a:extLst>
          </p:cNvPr>
          <p:cNvSpPr txBox="1"/>
          <p:nvPr/>
        </p:nvSpPr>
        <p:spPr>
          <a:xfrm>
            <a:off x="5473368" y="3465134"/>
            <a:ext cx="1812988" cy="335733"/>
          </a:xfrm>
          <a:prstGeom prst="rect">
            <a:avLst/>
          </a:prstGeom>
          <a:noFill/>
        </p:spPr>
        <p:txBody>
          <a:bodyPr wrap="square" rtlCol="0">
            <a:spAutoFit/>
          </a:bodyPr>
          <a:lstStyle>
            <a:defPPr>
              <a:defRPr lang="zh-CN"/>
            </a:defPPr>
            <a:lvl1pPr algn="ctr">
              <a:lnSpc>
                <a:spcPct val="130000"/>
              </a:lnSpc>
              <a:defRPr sz="1300">
                <a:solidFill>
                  <a:schemeClr val="tx1">
                    <a:lumMod val="65000"/>
                    <a:lumOff val="35000"/>
                  </a:schemeClr>
                </a:solidFill>
                <a:latin typeface="OPPOSans R" panose="00020600040101010101" pitchFamily="18" charset="-122"/>
                <a:ea typeface="OPPOSans R" panose="00020600040101010101" pitchFamily="18" charset="-122"/>
                <a:cs typeface="OPPOSans R" panose="00020600040101010101" pitchFamily="18" charset="-122"/>
              </a:defRPr>
            </a:lvl1pPr>
          </a:lstStyle>
          <a:p>
            <a:pPr marL="0" marR="0" lvl="0" indent="0" algn="ctr" defTabSz="914400" rtl="0" eaLnBrk="1" fontAlgn="auto" latinLnBrk="0" hangingPunct="1">
              <a:lnSpc>
                <a:spcPct val="130000"/>
              </a:lnSpc>
              <a:spcBef>
                <a:spcPts val="0"/>
              </a:spcBef>
              <a:spcAft>
                <a:spcPts val="0"/>
              </a:spcAft>
              <a:buClrTx/>
              <a:buSzTx/>
              <a:buFontTx/>
              <a:buNone/>
              <a:tabLst/>
              <a:defRPr/>
            </a:pPr>
            <a:r>
              <a:rPr kumimoji="0" lang="af-ZA" altLang="zh-CN" sz="1300" b="0" i="0" u="none" strike="noStrike" kern="1200" cap="none" spc="0" normalizeH="0" baseline="0" noProof="0" dirty="0">
                <a:ln>
                  <a:noFill/>
                </a:ln>
                <a:solidFill>
                  <a:srgbClr val="000000">
                    <a:lumMod val="65000"/>
                    <a:lumOff val="3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rPr>
              <a:t>powerpoint design</a:t>
            </a:r>
          </a:p>
        </p:txBody>
      </p:sp>
      <p:sp>
        <p:nvSpPr>
          <p:cNvPr id="114" name="gaoding-34">
            <a:extLst>
              <a:ext uri="{FF2B5EF4-FFF2-40B4-BE49-F238E27FC236}">
                <a16:creationId xmlns:a16="http://schemas.microsoft.com/office/drawing/2014/main" id="{9A9E49C9-3ABD-7EA4-F132-CEC13C48CD18}"/>
              </a:ext>
            </a:extLst>
          </p:cNvPr>
          <p:cNvSpPr/>
          <p:nvPr/>
        </p:nvSpPr>
        <p:spPr>
          <a:xfrm>
            <a:off x="5674365" y="3189543"/>
            <a:ext cx="1410994" cy="392113"/>
          </a:xfrm>
          <a:prstGeom prst="roundRect">
            <a:avLst>
              <a:gd name="adj" fmla="val 50000"/>
            </a:avLst>
          </a:prstGeom>
          <a:noFill/>
          <a:ln>
            <a:noFill/>
          </a:ln>
          <a:effectLst>
            <a:outerShdw blurRad="254000" dist="127000" dir="5400000" sx="90000" sy="90000" algn="t" rotWithShape="0">
              <a:schemeClr val="accent1">
                <a:lumMod val="75000"/>
                <a:alpha val="2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600" b="0" i="0" u="none" strike="noStrike" kern="1200" cap="none" spc="0" normalizeH="0" baseline="0" noProof="0" dirty="0">
                <a:ln>
                  <a:noFill/>
                </a:ln>
                <a:solidFill>
                  <a:srgbClr val="000000">
                    <a:lumMod val="65000"/>
                    <a:lumOff val="35000"/>
                  </a:srgbClr>
                </a:solidFill>
                <a:effectLst/>
                <a:uLnTx/>
                <a:uFillTx/>
                <a:latin typeface="OPPOSans B" panose="00020600040101010101" pitchFamily="18" charset="-122"/>
                <a:ea typeface="OPPOSans B" panose="00020600040101010101" pitchFamily="18" charset="-122"/>
                <a:cs typeface="OPPOSans B" panose="00020600040101010101" pitchFamily="18" charset="-122"/>
              </a:rPr>
              <a:t>更快更轻松</a:t>
            </a:r>
            <a:endParaRPr kumimoji="0" lang="en-US" sz="1600" b="0" i="0" u="none" strike="noStrike" kern="1200" cap="none" spc="0" normalizeH="0" baseline="0" noProof="0" dirty="0">
              <a:ln>
                <a:noFill/>
              </a:ln>
              <a:solidFill>
                <a:srgbClr val="000000">
                  <a:lumMod val="65000"/>
                  <a:lumOff val="35000"/>
                </a:srgbClr>
              </a:solidFill>
              <a:effectLst/>
              <a:uLnTx/>
              <a:uFillTx/>
              <a:latin typeface="OPPOSans B" panose="00020600040101010101" pitchFamily="18" charset="-122"/>
              <a:ea typeface="OPPOSans B" panose="00020600040101010101" pitchFamily="18" charset="-122"/>
              <a:cs typeface="OPPOSans B" panose="00020600040101010101" pitchFamily="18" charset="-122"/>
            </a:endParaRPr>
          </a:p>
        </p:txBody>
      </p:sp>
      <p:sp>
        <p:nvSpPr>
          <p:cNvPr id="115" name="gaoding-35">
            <a:extLst>
              <a:ext uri="{FF2B5EF4-FFF2-40B4-BE49-F238E27FC236}">
                <a16:creationId xmlns:a16="http://schemas.microsoft.com/office/drawing/2014/main" id="{B168210F-D0A3-D904-4765-276E387BCCC5}"/>
              </a:ext>
            </a:extLst>
          </p:cNvPr>
          <p:cNvSpPr txBox="1"/>
          <p:nvPr/>
        </p:nvSpPr>
        <p:spPr>
          <a:xfrm>
            <a:off x="7639888" y="3465134"/>
            <a:ext cx="1812988" cy="335733"/>
          </a:xfrm>
          <a:prstGeom prst="rect">
            <a:avLst/>
          </a:prstGeom>
          <a:noFill/>
        </p:spPr>
        <p:txBody>
          <a:bodyPr wrap="square" rtlCol="0">
            <a:spAutoFit/>
          </a:bodyPr>
          <a:lstStyle>
            <a:defPPr>
              <a:defRPr lang="zh-CN"/>
            </a:defPPr>
            <a:lvl1pPr algn="ctr">
              <a:lnSpc>
                <a:spcPct val="130000"/>
              </a:lnSpc>
              <a:defRPr sz="1300">
                <a:solidFill>
                  <a:schemeClr val="tx1">
                    <a:lumMod val="65000"/>
                    <a:lumOff val="35000"/>
                  </a:schemeClr>
                </a:solidFill>
                <a:latin typeface="OPPOSans R" panose="00020600040101010101" pitchFamily="18" charset="-122"/>
                <a:ea typeface="OPPOSans R" panose="00020600040101010101" pitchFamily="18" charset="-122"/>
                <a:cs typeface="OPPOSans R" panose="00020600040101010101" pitchFamily="18" charset="-122"/>
              </a:defRPr>
            </a:lvl1pPr>
          </a:lstStyle>
          <a:p>
            <a:pPr marL="0" marR="0" lvl="0" indent="0" algn="ctr" defTabSz="914400" rtl="0" eaLnBrk="1" fontAlgn="auto" latinLnBrk="0" hangingPunct="1">
              <a:lnSpc>
                <a:spcPct val="130000"/>
              </a:lnSpc>
              <a:spcBef>
                <a:spcPts val="0"/>
              </a:spcBef>
              <a:spcAft>
                <a:spcPts val="0"/>
              </a:spcAft>
              <a:buClrTx/>
              <a:buSzTx/>
              <a:buFontTx/>
              <a:buNone/>
              <a:tabLst/>
              <a:defRPr/>
            </a:pPr>
            <a:r>
              <a:rPr kumimoji="0" lang="af-ZA" altLang="zh-CN" sz="1300" b="0" i="0" u="none" strike="noStrike" kern="1200" cap="none" spc="0" normalizeH="0" baseline="0" noProof="0" dirty="0">
                <a:ln>
                  <a:noFill/>
                </a:ln>
                <a:solidFill>
                  <a:srgbClr val="000000">
                    <a:lumMod val="65000"/>
                    <a:lumOff val="3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rPr>
              <a:t>powerpoint design</a:t>
            </a:r>
          </a:p>
        </p:txBody>
      </p:sp>
      <p:sp>
        <p:nvSpPr>
          <p:cNvPr id="116" name="gaoding-36">
            <a:extLst>
              <a:ext uri="{FF2B5EF4-FFF2-40B4-BE49-F238E27FC236}">
                <a16:creationId xmlns:a16="http://schemas.microsoft.com/office/drawing/2014/main" id="{C6063229-2ED1-7772-CB8E-58FF7EB4D71A}"/>
              </a:ext>
            </a:extLst>
          </p:cNvPr>
          <p:cNvSpPr/>
          <p:nvPr/>
        </p:nvSpPr>
        <p:spPr>
          <a:xfrm>
            <a:off x="7840885" y="3189543"/>
            <a:ext cx="1410994" cy="392113"/>
          </a:xfrm>
          <a:prstGeom prst="roundRect">
            <a:avLst>
              <a:gd name="adj" fmla="val 50000"/>
            </a:avLst>
          </a:prstGeom>
          <a:noFill/>
          <a:ln>
            <a:noFill/>
          </a:ln>
          <a:effectLst>
            <a:outerShdw blurRad="254000" dist="127000" dir="5400000" sx="90000" sy="90000" algn="t" rotWithShape="0">
              <a:schemeClr val="accent1">
                <a:lumMod val="75000"/>
                <a:alpha val="2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600" b="0" i="0" u="none" strike="noStrike" kern="1200" cap="none" spc="0" normalizeH="0" baseline="0" noProof="0" dirty="0">
                <a:ln>
                  <a:noFill/>
                </a:ln>
                <a:solidFill>
                  <a:srgbClr val="000000">
                    <a:lumMod val="65000"/>
                    <a:lumOff val="35000"/>
                  </a:srgbClr>
                </a:solidFill>
                <a:effectLst/>
                <a:uLnTx/>
                <a:uFillTx/>
                <a:latin typeface="OPPOSans B" panose="00020600040101010101" pitchFamily="18" charset="-122"/>
                <a:ea typeface="OPPOSans B" panose="00020600040101010101" pitchFamily="18" charset="-122"/>
                <a:cs typeface="OPPOSans B" panose="00020600040101010101" pitchFamily="18" charset="-122"/>
              </a:rPr>
              <a:t>多用途场景</a:t>
            </a:r>
          </a:p>
        </p:txBody>
      </p:sp>
      <p:sp>
        <p:nvSpPr>
          <p:cNvPr id="117" name="gaoding-37">
            <a:extLst>
              <a:ext uri="{FF2B5EF4-FFF2-40B4-BE49-F238E27FC236}">
                <a16:creationId xmlns:a16="http://schemas.microsoft.com/office/drawing/2014/main" id="{C70B266B-10B2-6C22-BDE7-30FFE2C60FD5}"/>
              </a:ext>
            </a:extLst>
          </p:cNvPr>
          <p:cNvSpPr txBox="1"/>
          <p:nvPr/>
        </p:nvSpPr>
        <p:spPr>
          <a:xfrm>
            <a:off x="9806408" y="3465134"/>
            <a:ext cx="1812988" cy="335733"/>
          </a:xfrm>
          <a:prstGeom prst="rect">
            <a:avLst/>
          </a:prstGeom>
          <a:noFill/>
        </p:spPr>
        <p:txBody>
          <a:bodyPr wrap="square" rtlCol="0">
            <a:spAutoFit/>
          </a:bodyPr>
          <a:lstStyle>
            <a:defPPr>
              <a:defRPr lang="zh-CN"/>
            </a:defPPr>
            <a:lvl1pPr algn="ctr">
              <a:lnSpc>
                <a:spcPct val="130000"/>
              </a:lnSpc>
              <a:defRPr sz="1300">
                <a:solidFill>
                  <a:schemeClr val="tx1">
                    <a:lumMod val="65000"/>
                    <a:lumOff val="35000"/>
                  </a:schemeClr>
                </a:solidFill>
                <a:latin typeface="OPPOSans R" panose="00020600040101010101" pitchFamily="18" charset="-122"/>
                <a:ea typeface="OPPOSans R" panose="00020600040101010101" pitchFamily="18" charset="-122"/>
                <a:cs typeface="OPPOSans R" panose="00020600040101010101" pitchFamily="18" charset="-122"/>
              </a:defRPr>
            </a:lvl1pPr>
          </a:lstStyle>
          <a:p>
            <a:pPr marL="0" marR="0" lvl="0" indent="0" algn="ctr" defTabSz="914400" rtl="0" eaLnBrk="1" fontAlgn="auto" latinLnBrk="0" hangingPunct="1">
              <a:lnSpc>
                <a:spcPct val="130000"/>
              </a:lnSpc>
              <a:spcBef>
                <a:spcPts val="0"/>
              </a:spcBef>
              <a:spcAft>
                <a:spcPts val="0"/>
              </a:spcAft>
              <a:buClrTx/>
              <a:buSzTx/>
              <a:buFontTx/>
              <a:buNone/>
              <a:tabLst/>
              <a:defRPr/>
            </a:pPr>
            <a:r>
              <a:rPr kumimoji="0" lang="af-ZA" altLang="zh-CN" sz="1300" b="0" i="0" u="none" strike="noStrike" kern="1200" cap="none" spc="0" normalizeH="0" baseline="0" noProof="0" dirty="0">
                <a:ln>
                  <a:noFill/>
                </a:ln>
                <a:solidFill>
                  <a:srgbClr val="000000">
                    <a:lumMod val="65000"/>
                    <a:lumOff val="3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rPr>
              <a:t>powerpoint design</a:t>
            </a:r>
          </a:p>
        </p:txBody>
      </p:sp>
      <p:sp>
        <p:nvSpPr>
          <p:cNvPr id="118" name="gaoding-38">
            <a:extLst>
              <a:ext uri="{FF2B5EF4-FFF2-40B4-BE49-F238E27FC236}">
                <a16:creationId xmlns:a16="http://schemas.microsoft.com/office/drawing/2014/main" id="{BE6399B6-C9A8-F232-4E13-710366579B6D}"/>
              </a:ext>
            </a:extLst>
          </p:cNvPr>
          <p:cNvSpPr/>
          <p:nvPr/>
        </p:nvSpPr>
        <p:spPr>
          <a:xfrm>
            <a:off x="10007405" y="3189543"/>
            <a:ext cx="1410994" cy="392113"/>
          </a:xfrm>
          <a:prstGeom prst="roundRect">
            <a:avLst>
              <a:gd name="adj" fmla="val 50000"/>
            </a:avLst>
          </a:prstGeom>
          <a:noFill/>
          <a:ln>
            <a:noFill/>
          </a:ln>
          <a:effectLst>
            <a:outerShdw blurRad="254000" dist="127000" dir="5400000" sx="90000" sy="90000" algn="t" rotWithShape="0">
              <a:schemeClr val="accent1">
                <a:lumMod val="75000"/>
                <a:alpha val="2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600" b="0" i="0" u="none" strike="noStrike" kern="1200" cap="none" spc="0" normalizeH="0" baseline="0" noProof="0" dirty="0">
                <a:ln>
                  <a:noFill/>
                </a:ln>
                <a:solidFill>
                  <a:srgbClr val="000000">
                    <a:lumMod val="65000"/>
                    <a:lumOff val="35000"/>
                  </a:srgbClr>
                </a:solidFill>
                <a:effectLst/>
                <a:uLnTx/>
                <a:uFillTx/>
                <a:latin typeface="OPPOSans B" panose="00020600040101010101" pitchFamily="18" charset="-122"/>
                <a:ea typeface="OPPOSans B" panose="00020600040101010101" pitchFamily="18" charset="-122"/>
                <a:cs typeface="OPPOSans B" panose="00020600040101010101" pitchFamily="18" charset="-122"/>
              </a:rPr>
              <a:t>千余款模板</a:t>
            </a:r>
          </a:p>
        </p:txBody>
      </p:sp>
      <p:sp>
        <p:nvSpPr>
          <p:cNvPr id="119" name="gaoding-39">
            <a:extLst>
              <a:ext uri="{FF2B5EF4-FFF2-40B4-BE49-F238E27FC236}">
                <a16:creationId xmlns:a16="http://schemas.microsoft.com/office/drawing/2014/main" id="{CEF63124-9BD0-6149-8B7A-701512D95B34}"/>
              </a:ext>
            </a:extLst>
          </p:cNvPr>
          <p:cNvSpPr txBox="1"/>
          <p:nvPr/>
        </p:nvSpPr>
        <p:spPr>
          <a:xfrm>
            <a:off x="7654425" y="1628053"/>
            <a:ext cx="1845934" cy="335733"/>
          </a:xfrm>
          <a:prstGeom prst="rect">
            <a:avLst/>
          </a:prstGeom>
          <a:noFill/>
        </p:spPr>
        <p:txBody>
          <a:bodyPr wrap="square" rtlCol="0">
            <a:spAutoFit/>
          </a:bodyPr>
          <a:lstStyle/>
          <a:p>
            <a:pPr marL="0" marR="0" lvl="0" indent="0" algn="ctr" defTabSz="914400" rtl="0" eaLnBrk="1" fontAlgn="auto" latinLnBrk="0" hangingPunct="1">
              <a:lnSpc>
                <a:spcPct val="130000"/>
              </a:lnSpc>
              <a:spcBef>
                <a:spcPts val="0"/>
              </a:spcBef>
              <a:spcAft>
                <a:spcPts val="0"/>
              </a:spcAft>
              <a:buClrTx/>
              <a:buSzTx/>
              <a:buFontTx/>
              <a:buNone/>
              <a:tabLst/>
              <a:defRPr/>
            </a:pPr>
            <a:r>
              <a:rPr kumimoji="0" lang="en-US" altLang="zh-CN" sz="1300" b="0" i="0" u="none" strike="noStrike" kern="1200" cap="none" spc="0" normalizeH="0" baseline="0" noProof="0" dirty="0" err="1">
                <a:ln>
                  <a:noFill/>
                </a:ln>
                <a:solidFill>
                  <a:srgbClr val="000000">
                    <a:lumMod val="65000"/>
                    <a:lumOff val="3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rPr>
              <a:t>powerpoint</a:t>
            </a:r>
            <a:r>
              <a:rPr kumimoji="0" lang="en-US" altLang="zh-CN" sz="1300" b="0" i="0" u="none" strike="noStrike" kern="1200" cap="none" spc="0" normalizeH="0" baseline="0" noProof="0" dirty="0">
                <a:ln>
                  <a:noFill/>
                </a:ln>
                <a:solidFill>
                  <a:srgbClr val="000000">
                    <a:lumMod val="65000"/>
                    <a:lumOff val="3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rPr>
              <a:t> design</a:t>
            </a:r>
            <a:endParaRPr kumimoji="0" lang="zh-CN" altLang="en-US" sz="1300" b="0" i="0" u="none" strike="noStrike" kern="1200" cap="none" spc="0" normalizeH="0" baseline="0" noProof="0" dirty="0">
              <a:ln>
                <a:noFill/>
              </a:ln>
              <a:solidFill>
                <a:srgbClr val="000000">
                  <a:lumMod val="65000"/>
                  <a:lumOff val="3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p:txBody>
      </p:sp>
      <p:sp>
        <p:nvSpPr>
          <p:cNvPr id="121" name="gaoding-40">
            <a:extLst>
              <a:ext uri="{FF2B5EF4-FFF2-40B4-BE49-F238E27FC236}">
                <a16:creationId xmlns:a16="http://schemas.microsoft.com/office/drawing/2014/main" id="{232AE4F5-9059-999B-678F-09E111EA20C8}"/>
              </a:ext>
            </a:extLst>
          </p:cNvPr>
          <p:cNvSpPr/>
          <p:nvPr/>
        </p:nvSpPr>
        <p:spPr>
          <a:xfrm>
            <a:off x="7871895" y="1352462"/>
            <a:ext cx="1410994" cy="392113"/>
          </a:xfrm>
          <a:prstGeom prst="roundRect">
            <a:avLst>
              <a:gd name="adj" fmla="val 50000"/>
            </a:avLst>
          </a:prstGeom>
          <a:noFill/>
          <a:ln>
            <a:noFill/>
          </a:ln>
          <a:effectLst>
            <a:outerShdw blurRad="254000" dist="127000" dir="5400000" sx="90000" sy="90000" algn="t" rotWithShape="0">
              <a:schemeClr val="accent1">
                <a:lumMod val="75000"/>
                <a:alpha val="2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600" b="0" i="0" u="none" strike="noStrike" kern="1200" cap="none" spc="0" normalizeH="0" baseline="0" noProof="0" dirty="0">
                <a:ln>
                  <a:noFill/>
                </a:ln>
                <a:solidFill>
                  <a:srgbClr val="000000">
                    <a:lumMod val="65000"/>
                    <a:lumOff val="35000"/>
                  </a:srgbClr>
                </a:solidFill>
                <a:effectLst/>
                <a:uLnTx/>
                <a:uFillTx/>
                <a:latin typeface="OPPOSans B" panose="00020600040101010101" pitchFamily="18" charset="-122"/>
                <a:ea typeface="OPPOSans B" panose="00020600040101010101" pitchFamily="18" charset="-122"/>
                <a:cs typeface="OPPOSans B" panose="00020600040101010101" pitchFamily="18" charset="-122"/>
              </a:rPr>
              <a:t>强大表现力</a:t>
            </a:r>
          </a:p>
        </p:txBody>
      </p:sp>
      <p:sp>
        <p:nvSpPr>
          <p:cNvPr id="122" name="gaoding-41">
            <a:extLst>
              <a:ext uri="{FF2B5EF4-FFF2-40B4-BE49-F238E27FC236}">
                <a16:creationId xmlns:a16="http://schemas.microsoft.com/office/drawing/2014/main" id="{281E4CF5-CED8-BE3B-ADE1-C1FFCFDE0A32}"/>
              </a:ext>
            </a:extLst>
          </p:cNvPr>
          <p:cNvSpPr txBox="1"/>
          <p:nvPr/>
        </p:nvSpPr>
        <p:spPr>
          <a:xfrm>
            <a:off x="3936025" y="5459906"/>
            <a:ext cx="1812988" cy="335733"/>
          </a:xfrm>
          <a:prstGeom prst="rect">
            <a:avLst/>
          </a:prstGeom>
          <a:noFill/>
        </p:spPr>
        <p:txBody>
          <a:bodyPr wrap="square" rtlCol="0">
            <a:spAutoFit/>
          </a:bodyPr>
          <a:lstStyle>
            <a:defPPr>
              <a:defRPr lang="zh-CN"/>
            </a:defPPr>
            <a:lvl1pPr algn="ctr">
              <a:lnSpc>
                <a:spcPct val="130000"/>
              </a:lnSpc>
              <a:defRPr sz="1300">
                <a:solidFill>
                  <a:schemeClr val="tx1">
                    <a:lumMod val="65000"/>
                    <a:lumOff val="35000"/>
                  </a:schemeClr>
                </a:solidFill>
                <a:latin typeface="OPPOSans R" panose="00020600040101010101" pitchFamily="18" charset="-122"/>
                <a:ea typeface="OPPOSans R" panose="00020600040101010101" pitchFamily="18" charset="-122"/>
                <a:cs typeface="OPPOSans R" panose="00020600040101010101" pitchFamily="18" charset="-122"/>
              </a:defRPr>
            </a:lvl1pPr>
          </a:lstStyle>
          <a:p>
            <a:pPr marL="0" marR="0" lvl="0" indent="0" algn="ctr" defTabSz="914400" rtl="0" eaLnBrk="1" fontAlgn="auto" latinLnBrk="0" hangingPunct="1">
              <a:lnSpc>
                <a:spcPct val="130000"/>
              </a:lnSpc>
              <a:spcBef>
                <a:spcPts val="0"/>
              </a:spcBef>
              <a:spcAft>
                <a:spcPts val="0"/>
              </a:spcAft>
              <a:buClrTx/>
              <a:buSzTx/>
              <a:buFontTx/>
              <a:buNone/>
              <a:tabLst/>
              <a:defRPr/>
            </a:pPr>
            <a:r>
              <a:rPr kumimoji="0" lang="af-ZA" altLang="zh-CN" sz="1300" b="0" i="0" u="none" strike="noStrike" kern="1200" cap="none" spc="0" normalizeH="0" baseline="0" noProof="0" dirty="0">
                <a:ln>
                  <a:noFill/>
                </a:ln>
                <a:solidFill>
                  <a:srgbClr val="000000">
                    <a:lumMod val="65000"/>
                    <a:lumOff val="3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rPr>
              <a:t>powerpoint design</a:t>
            </a:r>
          </a:p>
        </p:txBody>
      </p:sp>
      <p:sp>
        <p:nvSpPr>
          <p:cNvPr id="123" name="gaoding-42">
            <a:extLst>
              <a:ext uri="{FF2B5EF4-FFF2-40B4-BE49-F238E27FC236}">
                <a16:creationId xmlns:a16="http://schemas.microsoft.com/office/drawing/2014/main" id="{D32A5D1B-5AB4-7DC6-6962-DC7708087321}"/>
              </a:ext>
            </a:extLst>
          </p:cNvPr>
          <p:cNvSpPr/>
          <p:nvPr/>
        </p:nvSpPr>
        <p:spPr>
          <a:xfrm>
            <a:off x="4137022" y="5184315"/>
            <a:ext cx="1410994" cy="392113"/>
          </a:xfrm>
          <a:prstGeom prst="roundRect">
            <a:avLst>
              <a:gd name="adj" fmla="val 50000"/>
            </a:avLst>
          </a:prstGeom>
          <a:noFill/>
          <a:ln>
            <a:noFill/>
          </a:ln>
          <a:effectLst>
            <a:outerShdw blurRad="254000" dist="127000" dir="5400000" sx="90000" sy="90000" algn="t" rotWithShape="0">
              <a:schemeClr val="accent1">
                <a:lumMod val="75000"/>
                <a:alpha val="2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600" b="0" i="0" u="none" strike="noStrike" kern="1200" cap="none" spc="0" normalizeH="0" baseline="0" noProof="0" dirty="0">
                <a:ln>
                  <a:noFill/>
                </a:ln>
                <a:solidFill>
                  <a:srgbClr val="000000">
                    <a:lumMod val="65000"/>
                    <a:lumOff val="35000"/>
                  </a:srgbClr>
                </a:solidFill>
                <a:effectLst/>
                <a:uLnTx/>
                <a:uFillTx/>
                <a:latin typeface="OPPOSans B" panose="00020600040101010101" pitchFamily="18" charset="-122"/>
                <a:ea typeface="OPPOSans B" panose="00020600040101010101" pitchFamily="18" charset="-122"/>
                <a:cs typeface="OPPOSans B" panose="00020600040101010101" pitchFamily="18" charset="-122"/>
              </a:rPr>
              <a:t>强大表现力</a:t>
            </a:r>
          </a:p>
        </p:txBody>
      </p:sp>
      <p:sp>
        <p:nvSpPr>
          <p:cNvPr id="124" name="gaoding-43">
            <a:extLst>
              <a:ext uri="{FF2B5EF4-FFF2-40B4-BE49-F238E27FC236}">
                <a16:creationId xmlns:a16="http://schemas.microsoft.com/office/drawing/2014/main" id="{818A1B0D-BDA3-21DC-FA7F-AB987D104208}"/>
              </a:ext>
            </a:extLst>
          </p:cNvPr>
          <p:cNvSpPr txBox="1"/>
          <p:nvPr/>
        </p:nvSpPr>
        <p:spPr>
          <a:xfrm>
            <a:off x="5942821" y="5459906"/>
            <a:ext cx="1812988" cy="335733"/>
          </a:xfrm>
          <a:prstGeom prst="rect">
            <a:avLst/>
          </a:prstGeom>
          <a:noFill/>
        </p:spPr>
        <p:txBody>
          <a:bodyPr wrap="square" rtlCol="0">
            <a:spAutoFit/>
          </a:bodyPr>
          <a:lstStyle>
            <a:defPPr>
              <a:defRPr lang="zh-CN"/>
            </a:defPPr>
            <a:lvl1pPr algn="ctr">
              <a:lnSpc>
                <a:spcPct val="130000"/>
              </a:lnSpc>
              <a:defRPr sz="1300">
                <a:solidFill>
                  <a:schemeClr val="tx1">
                    <a:lumMod val="65000"/>
                    <a:lumOff val="35000"/>
                  </a:schemeClr>
                </a:solidFill>
                <a:latin typeface="OPPOSans R" panose="00020600040101010101" pitchFamily="18" charset="-122"/>
                <a:ea typeface="OPPOSans R" panose="00020600040101010101" pitchFamily="18" charset="-122"/>
                <a:cs typeface="OPPOSans R" panose="00020600040101010101" pitchFamily="18" charset="-122"/>
              </a:defRPr>
            </a:lvl1pPr>
          </a:lstStyle>
          <a:p>
            <a:pPr marL="0" marR="0" lvl="0" indent="0" algn="ctr" defTabSz="914400" rtl="0" eaLnBrk="1" fontAlgn="auto" latinLnBrk="0" hangingPunct="1">
              <a:lnSpc>
                <a:spcPct val="130000"/>
              </a:lnSpc>
              <a:spcBef>
                <a:spcPts val="0"/>
              </a:spcBef>
              <a:spcAft>
                <a:spcPts val="0"/>
              </a:spcAft>
              <a:buClrTx/>
              <a:buSzTx/>
              <a:buFontTx/>
              <a:buNone/>
              <a:tabLst/>
              <a:defRPr/>
            </a:pPr>
            <a:r>
              <a:rPr kumimoji="0" lang="af-ZA" altLang="zh-CN" sz="1300" b="0" i="0" u="none" strike="noStrike" kern="1200" cap="none" spc="0" normalizeH="0" baseline="0" noProof="0" dirty="0">
                <a:ln>
                  <a:noFill/>
                </a:ln>
                <a:solidFill>
                  <a:srgbClr val="000000">
                    <a:lumMod val="65000"/>
                    <a:lumOff val="3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rPr>
              <a:t>powerpoint design</a:t>
            </a:r>
          </a:p>
        </p:txBody>
      </p:sp>
      <p:sp>
        <p:nvSpPr>
          <p:cNvPr id="125" name="gaoding-44">
            <a:extLst>
              <a:ext uri="{FF2B5EF4-FFF2-40B4-BE49-F238E27FC236}">
                <a16:creationId xmlns:a16="http://schemas.microsoft.com/office/drawing/2014/main" id="{2B7B3691-C274-4739-E8FC-FDC7530E5D30}"/>
              </a:ext>
            </a:extLst>
          </p:cNvPr>
          <p:cNvSpPr/>
          <p:nvPr/>
        </p:nvSpPr>
        <p:spPr>
          <a:xfrm>
            <a:off x="6143818" y="5184315"/>
            <a:ext cx="1410994" cy="392113"/>
          </a:xfrm>
          <a:prstGeom prst="roundRect">
            <a:avLst>
              <a:gd name="adj" fmla="val 50000"/>
            </a:avLst>
          </a:prstGeom>
          <a:noFill/>
          <a:ln>
            <a:noFill/>
          </a:ln>
          <a:effectLst>
            <a:outerShdw blurRad="254000" dist="127000" dir="5400000" sx="90000" sy="90000" algn="t" rotWithShape="0">
              <a:schemeClr val="accent1">
                <a:lumMod val="75000"/>
                <a:alpha val="2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600" b="0" i="0" u="none" strike="noStrike" kern="1200" cap="none" spc="0" normalizeH="0" baseline="0" noProof="0" dirty="0">
                <a:ln>
                  <a:noFill/>
                </a:ln>
                <a:solidFill>
                  <a:srgbClr val="000000">
                    <a:lumMod val="65000"/>
                    <a:lumOff val="35000"/>
                  </a:srgbClr>
                </a:solidFill>
                <a:effectLst/>
                <a:uLnTx/>
                <a:uFillTx/>
                <a:latin typeface="OPPOSans B" panose="00020600040101010101" pitchFamily="18" charset="-122"/>
                <a:ea typeface="OPPOSans B" panose="00020600040101010101" pitchFamily="18" charset="-122"/>
                <a:cs typeface="OPPOSans B" panose="00020600040101010101" pitchFamily="18" charset="-122"/>
              </a:rPr>
              <a:t>千余款模板</a:t>
            </a:r>
          </a:p>
        </p:txBody>
      </p:sp>
    </p:spTree>
    <p:custDataLst>
      <p:tags r:id="rId2"/>
    </p:custDataLst>
    <p:extLst>
      <p:ext uri="{BB962C8B-B14F-4D97-AF65-F5344CB8AC3E}">
        <p14:creationId xmlns:p14="http://schemas.microsoft.com/office/powerpoint/2010/main" val="3824915382"/>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7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1" name="直接连接符 50">
            <a:extLst>
              <a:ext uri="{FF2B5EF4-FFF2-40B4-BE49-F238E27FC236}">
                <a16:creationId xmlns:a16="http://schemas.microsoft.com/office/drawing/2014/main" id="{4D7B2FCA-6CAC-48DD-8A1E-BFE95D1B90BC}"/>
              </a:ext>
            </a:extLst>
          </p:cNvPr>
          <p:cNvCxnSpPr>
            <a:cxnSpLocks/>
          </p:cNvCxnSpPr>
          <p:nvPr/>
        </p:nvCxnSpPr>
        <p:spPr>
          <a:xfrm flipH="1">
            <a:off x="1778000" y="2136124"/>
            <a:ext cx="8720667" cy="0"/>
          </a:xfrm>
          <a:prstGeom prst="line">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52" name="直接连接符 51">
            <a:extLst>
              <a:ext uri="{FF2B5EF4-FFF2-40B4-BE49-F238E27FC236}">
                <a16:creationId xmlns:a16="http://schemas.microsoft.com/office/drawing/2014/main" id="{ED891DEF-35E9-4890-BE77-5080844BE78B}"/>
              </a:ext>
            </a:extLst>
          </p:cNvPr>
          <p:cNvCxnSpPr>
            <a:cxnSpLocks/>
          </p:cNvCxnSpPr>
          <p:nvPr/>
        </p:nvCxnSpPr>
        <p:spPr>
          <a:xfrm flipH="1">
            <a:off x="3175000" y="2931990"/>
            <a:ext cx="5858933" cy="0"/>
          </a:xfrm>
          <a:prstGeom prst="line">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53" name="直接连接符 52">
            <a:extLst>
              <a:ext uri="{FF2B5EF4-FFF2-40B4-BE49-F238E27FC236}">
                <a16:creationId xmlns:a16="http://schemas.microsoft.com/office/drawing/2014/main" id="{1F76F758-CEBC-4317-AC3D-0FA2DFAC04C0}"/>
              </a:ext>
            </a:extLst>
          </p:cNvPr>
          <p:cNvCxnSpPr>
            <a:cxnSpLocks/>
          </p:cNvCxnSpPr>
          <p:nvPr/>
        </p:nvCxnSpPr>
        <p:spPr>
          <a:xfrm flipH="1">
            <a:off x="1715246" y="3922590"/>
            <a:ext cx="8783421" cy="0"/>
          </a:xfrm>
          <a:prstGeom prst="line">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54" name="直接连接符 53">
            <a:extLst>
              <a:ext uri="{FF2B5EF4-FFF2-40B4-BE49-F238E27FC236}">
                <a16:creationId xmlns:a16="http://schemas.microsoft.com/office/drawing/2014/main" id="{9E85F83A-EB43-4B85-975C-1B43ADFB263B}"/>
              </a:ext>
            </a:extLst>
          </p:cNvPr>
          <p:cNvCxnSpPr>
            <a:cxnSpLocks/>
          </p:cNvCxnSpPr>
          <p:nvPr/>
        </p:nvCxnSpPr>
        <p:spPr>
          <a:xfrm flipH="1">
            <a:off x="6096000" y="1189973"/>
            <a:ext cx="1" cy="3484033"/>
          </a:xfrm>
          <a:prstGeom prst="line">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57" name="直接连接符 56">
            <a:extLst>
              <a:ext uri="{FF2B5EF4-FFF2-40B4-BE49-F238E27FC236}">
                <a16:creationId xmlns:a16="http://schemas.microsoft.com/office/drawing/2014/main" id="{19D42CDF-D369-4EC1-8FA1-4718372D811C}"/>
              </a:ext>
            </a:extLst>
          </p:cNvPr>
          <p:cNvCxnSpPr>
            <a:cxnSpLocks/>
          </p:cNvCxnSpPr>
          <p:nvPr/>
        </p:nvCxnSpPr>
        <p:spPr>
          <a:xfrm>
            <a:off x="3175000" y="2931989"/>
            <a:ext cx="0" cy="589087"/>
          </a:xfrm>
          <a:prstGeom prst="line">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60" name="直接连接符 59">
            <a:extLst>
              <a:ext uri="{FF2B5EF4-FFF2-40B4-BE49-F238E27FC236}">
                <a16:creationId xmlns:a16="http://schemas.microsoft.com/office/drawing/2014/main" id="{959713E7-D99F-4614-A1CB-CAFC13D5C9ED}"/>
              </a:ext>
            </a:extLst>
          </p:cNvPr>
          <p:cNvCxnSpPr>
            <a:cxnSpLocks/>
          </p:cNvCxnSpPr>
          <p:nvPr/>
        </p:nvCxnSpPr>
        <p:spPr>
          <a:xfrm>
            <a:off x="4610348" y="2931989"/>
            <a:ext cx="0" cy="589087"/>
          </a:xfrm>
          <a:prstGeom prst="line">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63" name="直接连接符 62">
            <a:extLst>
              <a:ext uri="{FF2B5EF4-FFF2-40B4-BE49-F238E27FC236}">
                <a16:creationId xmlns:a16="http://schemas.microsoft.com/office/drawing/2014/main" id="{3ADAFEAC-6FE8-4725-BF87-5383EB49B60D}"/>
              </a:ext>
            </a:extLst>
          </p:cNvPr>
          <p:cNvCxnSpPr>
            <a:cxnSpLocks/>
          </p:cNvCxnSpPr>
          <p:nvPr/>
        </p:nvCxnSpPr>
        <p:spPr>
          <a:xfrm>
            <a:off x="7560731" y="2931989"/>
            <a:ext cx="0" cy="589087"/>
          </a:xfrm>
          <a:prstGeom prst="line">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64" name="直接连接符 63">
            <a:extLst>
              <a:ext uri="{FF2B5EF4-FFF2-40B4-BE49-F238E27FC236}">
                <a16:creationId xmlns:a16="http://schemas.microsoft.com/office/drawing/2014/main" id="{8D2CAC1D-E2EC-4AF1-8EAC-50B6C799277D}"/>
              </a:ext>
            </a:extLst>
          </p:cNvPr>
          <p:cNvCxnSpPr>
            <a:cxnSpLocks/>
          </p:cNvCxnSpPr>
          <p:nvPr/>
        </p:nvCxnSpPr>
        <p:spPr>
          <a:xfrm>
            <a:off x="9033933" y="2931989"/>
            <a:ext cx="0" cy="589087"/>
          </a:xfrm>
          <a:prstGeom prst="line">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65" name="直接连接符 64">
            <a:extLst>
              <a:ext uri="{FF2B5EF4-FFF2-40B4-BE49-F238E27FC236}">
                <a16:creationId xmlns:a16="http://schemas.microsoft.com/office/drawing/2014/main" id="{C0393586-551D-4892-BB91-37D4D6BF8E89}"/>
              </a:ext>
            </a:extLst>
          </p:cNvPr>
          <p:cNvCxnSpPr>
            <a:cxnSpLocks/>
          </p:cNvCxnSpPr>
          <p:nvPr/>
        </p:nvCxnSpPr>
        <p:spPr>
          <a:xfrm>
            <a:off x="1778000" y="2136124"/>
            <a:ext cx="0" cy="589087"/>
          </a:xfrm>
          <a:prstGeom prst="line">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68" name="直接连接符 67">
            <a:extLst>
              <a:ext uri="{FF2B5EF4-FFF2-40B4-BE49-F238E27FC236}">
                <a16:creationId xmlns:a16="http://schemas.microsoft.com/office/drawing/2014/main" id="{06CF7085-31B4-4A2B-BC1A-A1BFF33B5B96}"/>
              </a:ext>
            </a:extLst>
          </p:cNvPr>
          <p:cNvCxnSpPr>
            <a:cxnSpLocks/>
          </p:cNvCxnSpPr>
          <p:nvPr/>
        </p:nvCxnSpPr>
        <p:spPr>
          <a:xfrm>
            <a:off x="10470712" y="2136124"/>
            <a:ext cx="0" cy="589087"/>
          </a:xfrm>
          <a:prstGeom prst="line">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69" name="直接连接符 68">
            <a:extLst>
              <a:ext uri="{FF2B5EF4-FFF2-40B4-BE49-F238E27FC236}">
                <a16:creationId xmlns:a16="http://schemas.microsoft.com/office/drawing/2014/main" id="{E540AE75-F9EB-4569-AAD7-475397D6A39D}"/>
              </a:ext>
            </a:extLst>
          </p:cNvPr>
          <p:cNvCxnSpPr>
            <a:cxnSpLocks/>
          </p:cNvCxnSpPr>
          <p:nvPr/>
        </p:nvCxnSpPr>
        <p:spPr>
          <a:xfrm>
            <a:off x="1715246" y="3922590"/>
            <a:ext cx="0" cy="322385"/>
          </a:xfrm>
          <a:prstGeom prst="line">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70" name="直接连接符 69">
            <a:extLst>
              <a:ext uri="{FF2B5EF4-FFF2-40B4-BE49-F238E27FC236}">
                <a16:creationId xmlns:a16="http://schemas.microsoft.com/office/drawing/2014/main" id="{E08F291A-2843-473E-BE58-A5E5643CEF5D}"/>
              </a:ext>
            </a:extLst>
          </p:cNvPr>
          <p:cNvCxnSpPr>
            <a:cxnSpLocks/>
          </p:cNvCxnSpPr>
          <p:nvPr/>
        </p:nvCxnSpPr>
        <p:spPr>
          <a:xfrm>
            <a:off x="3175000" y="3922590"/>
            <a:ext cx="0" cy="322385"/>
          </a:xfrm>
          <a:prstGeom prst="line">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71" name="直接连接符 70">
            <a:extLst>
              <a:ext uri="{FF2B5EF4-FFF2-40B4-BE49-F238E27FC236}">
                <a16:creationId xmlns:a16="http://schemas.microsoft.com/office/drawing/2014/main" id="{6B860911-E54C-4A4D-8EC5-B19FF8ECDD01}"/>
              </a:ext>
            </a:extLst>
          </p:cNvPr>
          <p:cNvCxnSpPr>
            <a:cxnSpLocks/>
          </p:cNvCxnSpPr>
          <p:nvPr/>
        </p:nvCxnSpPr>
        <p:spPr>
          <a:xfrm>
            <a:off x="4634754" y="3922590"/>
            <a:ext cx="0" cy="322385"/>
          </a:xfrm>
          <a:prstGeom prst="line">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72" name="直接连接符 71">
            <a:extLst>
              <a:ext uri="{FF2B5EF4-FFF2-40B4-BE49-F238E27FC236}">
                <a16:creationId xmlns:a16="http://schemas.microsoft.com/office/drawing/2014/main" id="{02A257E3-6FDF-42ED-9FFD-442AF30EFF13}"/>
              </a:ext>
            </a:extLst>
          </p:cNvPr>
          <p:cNvCxnSpPr>
            <a:cxnSpLocks/>
          </p:cNvCxnSpPr>
          <p:nvPr/>
        </p:nvCxnSpPr>
        <p:spPr>
          <a:xfrm>
            <a:off x="7556250" y="3922590"/>
            <a:ext cx="0" cy="322385"/>
          </a:xfrm>
          <a:prstGeom prst="line">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73" name="直接连接符 72">
            <a:extLst>
              <a:ext uri="{FF2B5EF4-FFF2-40B4-BE49-F238E27FC236}">
                <a16:creationId xmlns:a16="http://schemas.microsoft.com/office/drawing/2014/main" id="{23AD849C-B1BE-42EA-AE87-CD9F7793C2E8}"/>
              </a:ext>
            </a:extLst>
          </p:cNvPr>
          <p:cNvCxnSpPr>
            <a:cxnSpLocks/>
          </p:cNvCxnSpPr>
          <p:nvPr/>
        </p:nvCxnSpPr>
        <p:spPr>
          <a:xfrm>
            <a:off x="9016501" y="3922590"/>
            <a:ext cx="0" cy="322385"/>
          </a:xfrm>
          <a:prstGeom prst="line">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74" name="直接连接符 73">
            <a:extLst>
              <a:ext uri="{FF2B5EF4-FFF2-40B4-BE49-F238E27FC236}">
                <a16:creationId xmlns:a16="http://schemas.microsoft.com/office/drawing/2014/main" id="{0FB2E8C9-F0DA-4A93-BEF0-3816395185C3}"/>
              </a:ext>
            </a:extLst>
          </p:cNvPr>
          <p:cNvCxnSpPr>
            <a:cxnSpLocks/>
          </p:cNvCxnSpPr>
          <p:nvPr/>
        </p:nvCxnSpPr>
        <p:spPr>
          <a:xfrm>
            <a:off x="10498667" y="3922590"/>
            <a:ext cx="0" cy="322385"/>
          </a:xfrm>
          <a:prstGeom prst="line">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46" name="Object 1086">
            <a:extLst>
              <a:ext uri="{FF2B5EF4-FFF2-40B4-BE49-F238E27FC236}">
                <a16:creationId xmlns:a16="http://schemas.microsoft.com/office/drawing/2014/main" id="{CDE18EBA-DE9E-4886-A56D-684C43EAAB47}"/>
              </a:ext>
            </a:extLst>
          </p:cNvPr>
          <p:cNvSpPr txBox="1"/>
          <p:nvPr/>
        </p:nvSpPr>
        <p:spPr>
          <a:xfrm>
            <a:off x="138079" y="348901"/>
            <a:ext cx="3415309" cy="457200"/>
          </a:xfrm>
          <a:prstGeom prst="rect">
            <a:avLst/>
          </a:prstGeom>
        </p:spPr>
        <p:txBody>
          <a:bodyPr vert="horz" rtlCol="0" anchor="t" anchorCtr="0">
            <a:noAutofit/>
          </a:bodyPr>
          <a:lstStyle>
            <a:defPPr>
              <a:defRPr lang="zh-CN"/>
            </a:defPPr>
            <a:lvl1pPr algn="ctr">
              <a:lnSpc>
                <a:spcPct val="100000"/>
              </a:lnSpc>
              <a:defRPr sz="3000">
                <a:solidFill>
                  <a:srgbClr val="1B1B1B"/>
                </a:solidFill>
                <a:latin typeface="OPPOSans H" panose="00020600040101010101" pitchFamily="18" charset="-122"/>
                <a:ea typeface="OPPOSans H" panose="00020600040101010101" pitchFamily="18" charset="-122"/>
                <a:cs typeface="OPPOSans H" panose="00020600040101010101" pitchFamily="18" charset="-122"/>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3000" b="0" i="0" u="none" strike="noStrike" kern="1200" cap="none" spc="0" normalizeH="0" baseline="0" noProof="0" dirty="0">
                <a:ln>
                  <a:noFill/>
                </a:ln>
                <a:solidFill>
                  <a:srgbClr val="1B1B1B"/>
                </a:solidFill>
                <a:effectLst/>
                <a:uLnTx/>
                <a:uFillTx/>
                <a:latin typeface="OPPOSans H" panose="00020600040101010101" pitchFamily="18" charset="-122"/>
                <a:ea typeface="OPPOSans H" panose="00020600040101010101" pitchFamily="18" charset="-122"/>
                <a:cs typeface="OPPOSans H" panose="00020600040101010101" pitchFamily="18" charset="-122"/>
              </a:rPr>
              <a:t>组织架构模板</a:t>
            </a:r>
            <a:endParaRPr kumimoji="0" lang="zh-CN" altLang="en-US" sz="3000" b="0" i="0" u="none" strike="noStrike" kern="1200" cap="none" spc="0" normalizeH="0" baseline="0" noProof="0">
              <a:ln>
                <a:noFill/>
              </a:ln>
              <a:solidFill>
                <a:srgbClr val="1B1B1B"/>
              </a:solidFill>
              <a:effectLst/>
              <a:uLnTx/>
              <a:uFillTx/>
              <a:latin typeface="OPPOSans H" panose="00020600040101010101" pitchFamily="18" charset="-122"/>
              <a:ea typeface="OPPOSans H" panose="00020600040101010101" pitchFamily="18" charset="-122"/>
              <a:cs typeface="OPPOSans H" panose="00020600040101010101" pitchFamily="18" charset="-122"/>
            </a:endParaRPr>
          </a:p>
        </p:txBody>
      </p:sp>
      <p:sp>
        <p:nvSpPr>
          <p:cNvPr id="47" name="矩形 46">
            <a:extLst>
              <a:ext uri="{FF2B5EF4-FFF2-40B4-BE49-F238E27FC236}">
                <a16:creationId xmlns:a16="http://schemas.microsoft.com/office/drawing/2014/main" id="{8CA82FBB-B610-48DE-A512-EECB5C6DBEA3}"/>
              </a:ext>
            </a:extLst>
          </p:cNvPr>
          <p:cNvSpPr/>
          <p:nvPr/>
        </p:nvSpPr>
        <p:spPr>
          <a:xfrm>
            <a:off x="1013701" y="2289071"/>
            <a:ext cx="1465974" cy="177903"/>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5720" tIns="22860" rIns="45720" bIns="228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600" b="0" i="0" u="none" strike="noStrike" kern="1200" cap="none" spc="0" normalizeH="0" baseline="0" noProof="0" dirty="0">
              <a:ln>
                <a:noFill/>
              </a:ln>
              <a:solidFill>
                <a:srgbClr val="FFFFFF"/>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p:txBody>
      </p:sp>
      <p:sp>
        <p:nvSpPr>
          <p:cNvPr id="48" name="矩形 47">
            <a:extLst>
              <a:ext uri="{FF2B5EF4-FFF2-40B4-BE49-F238E27FC236}">
                <a16:creationId xmlns:a16="http://schemas.microsoft.com/office/drawing/2014/main" id="{525F5CC8-A025-4E7E-9447-4FEC7BBE8459}"/>
              </a:ext>
            </a:extLst>
          </p:cNvPr>
          <p:cNvSpPr/>
          <p:nvPr/>
        </p:nvSpPr>
        <p:spPr>
          <a:xfrm>
            <a:off x="1013701" y="2466974"/>
            <a:ext cx="1465974" cy="304801"/>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5720" tIns="22860" rIns="45720" bIns="228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600" b="0" i="0" u="none" strike="noStrike" kern="1200" cap="none" spc="0" normalizeH="0" baseline="0" noProof="0" dirty="0">
                <a:ln>
                  <a:noFill/>
                </a:ln>
                <a:solidFill>
                  <a:srgbClr val="000000">
                    <a:lumMod val="75000"/>
                    <a:lumOff val="2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rPr>
              <a:t>高小定</a:t>
            </a:r>
          </a:p>
        </p:txBody>
      </p:sp>
      <p:sp>
        <p:nvSpPr>
          <p:cNvPr id="49" name="矩形 48">
            <a:extLst>
              <a:ext uri="{FF2B5EF4-FFF2-40B4-BE49-F238E27FC236}">
                <a16:creationId xmlns:a16="http://schemas.microsoft.com/office/drawing/2014/main" id="{FF05B9A0-729C-498A-ADCE-36E36FF61618}"/>
              </a:ext>
            </a:extLst>
          </p:cNvPr>
          <p:cNvSpPr/>
          <p:nvPr/>
        </p:nvSpPr>
        <p:spPr>
          <a:xfrm>
            <a:off x="5363013" y="2289071"/>
            <a:ext cx="1465974" cy="177903"/>
          </a:xfrm>
          <a:prstGeom prst="rect">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5720" tIns="22860" rIns="45720" bIns="228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600" b="0" i="0" u="none" strike="noStrike" kern="1200" cap="none" spc="0" normalizeH="0" baseline="0" noProof="0" dirty="0">
              <a:ln>
                <a:noFill/>
              </a:ln>
              <a:solidFill>
                <a:srgbClr val="FFFFFF"/>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p:txBody>
      </p:sp>
      <p:sp>
        <p:nvSpPr>
          <p:cNvPr id="50" name="矩形 49">
            <a:extLst>
              <a:ext uri="{FF2B5EF4-FFF2-40B4-BE49-F238E27FC236}">
                <a16:creationId xmlns:a16="http://schemas.microsoft.com/office/drawing/2014/main" id="{BA408E06-3B52-4F3D-BD68-937506165C99}"/>
              </a:ext>
            </a:extLst>
          </p:cNvPr>
          <p:cNvSpPr/>
          <p:nvPr/>
        </p:nvSpPr>
        <p:spPr>
          <a:xfrm>
            <a:off x="5363013" y="2466974"/>
            <a:ext cx="1465974" cy="304801"/>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5720" tIns="22860" rIns="45720" bIns="228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600" b="0" i="0" u="none" strike="noStrike" kern="1200" cap="none" spc="0" normalizeH="0" baseline="0" noProof="0" dirty="0">
                <a:ln>
                  <a:noFill/>
                </a:ln>
                <a:solidFill>
                  <a:srgbClr val="000000">
                    <a:lumMod val="75000"/>
                    <a:lumOff val="2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rPr>
              <a:t>高小定</a:t>
            </a:r>
          </a:p>
        </p:txBody>
      </p:sp>
      <p:sp>
        <p:nvSpPr>
          <p:cNvPr id="55" name="矩形 54">
            <a:extLst>
              <a:ext uri="{FF2B5EF4-FFF2-40B4-BE49-F238E27FC236}">
                <a16:creationId xmlns:a16="http://schemas.microsoft.com/office/drawing/2014/main" id="{7A3F3FB3-8E92-4130-8E65-1EDF8EE71421}"/>
              </a:ext>
            </a:extLst>
          </p:cNvPr>
          <p:cNvSpPr/>
          <p:nvPr/>
        </p:nvSpPr>
        <p:spPr>
          <a:xfrm>
            <a:off x="5471583" y="1533316"/>
            <a:ext cx="1248834" cy="177903"/>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5720" tIns="22860" rIns="45720" bIns="228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600" b="0" i="0" u="none" strike="noStrike" kern="1200" cap="none" spc="0" normalizeH="0" baseline="0" noProof="0" dirty="0">
              <a:ln>
                <a:noFill/>
              </a:ln>
              <a:solidFill>
                <a:srgbClr val="FFFFFF"/>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p:txBody>
      </p:sp>
      <p:sp>
        <p:nvSpPr>
          <p:cNvPr id="56" name="矩形 55">
            <a:extLst>
              <a:ext uri="{FF2B5EF4-FFF2-40B4-BE49-F238E27FC236}">
                <a16:creationId xmlns:a16="http://schemas.microsoft.com/office/drawing/2014/main" id="{039B9015-11A7-4D8A-9E07-4E2CF3F993AE}"/>
              </a:ext>
            </a:extLst>
          </p:cNvPr>
          <p:cNvSpPr/>
          <p:nvPr/>
        </p:nvSpPr>
        <p:spPr>
          <a:xfrm>
            <a:off x="5471583" y="1711219"/>
            <a:ext cx="1248834" cy="304801"/>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5720" tIns="22860" rIns="45720" bIns="228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600" b="0" i="0" u="none" strike="noStrike" kern="1200" cap="none" spc="0" normalizeH="0" baseline="0" noProof="0" dirty="0">
                <a:ln>
                  <a:noFill/>
                </a:ln>
                <a:solidFill>
                  <a:srgbClr val="000000">
                    <a:lumMod val="75000"/>
                    <a:lumOff val="2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rPr>
              <a:t>高小定</a:t>
            </a:r>
          </a:p>
        </p:txBody>
      </p:sp>
      <p:sp>
        <p:nvSpPr>
          <p:cNvPr id="58" name="矩形 57">
            <a:extLst>
              <a:ext uri="{FF2B5EF4-FFF2-40B4-BE49-F238E27FC236}">
                <a16:creationId xmlns:a16="http://schemas.microsoft.com/office/drawing/2014/main" id="{B454D4D3-B2CB-4B08-837E-951B636EE0A5}"/>
              </a:ext>
            </a:extLst>
          </p:cNvPr>
          <p:cNvSpPr/>
          <p:nvPr/>
        </p:nvSpPr>
        <p:spPr>
          <a:xfrm>
            <a:off x="5471583" y="923714"/>
            <a:ext cx="1248834" cy="177903"/>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5720" tIns="22860" rIns="45720" bIns="228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600" b="0" i="0" u="none" strike="noStrike" kern="1200" cap="none" spc="0" normalizeH="0" baseline="0" noProof="0" dirty="0">
              <a:ln>
                <a:noFill/>
              </a:ln>
              <a:solidFill>
                <a:srgbClr val="FFFFFF"/>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p:txBody>
      </p:sp>
      <p:sp>
        <p:nvSpPr>
          <p:cNvPr id="59" name="矩形 58">
            <a:extLst>
              <a:ext uri="{FF2B5EF4-FFF2-40B4-BE49-F238E27FC236}">
                <a16:creationId xmlns:a16="http://schemas.microsoft.com/office/drawing/2014/main" id="{A3F9FE2C-10FD-4D45-AEA0-91AC8F1740A9}"/>
              </a:ext>
            </a:extLst>
          </p:cNvPr>
          <p:cNvSpPr/>
          <p:nvPr/>
        </p:nvSpPr>
        <p:spPr>
          <a:xfrm>
            <a:off x="5471583" y="1101617"/>
            <a:ext cx="1248834" cy="304801"/>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5720" tIns="22860" rIns="45720" bIns="228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600" b="0" i="0" u="none" strike="noStrike" kern="1200" cap="none" spc="0" normalizeH="0" baseline="0" noProof="0" dirty="0">
                <a:ln>
                  <a:noFill/>
                </a:ln>
                <a:solidFill>
                  <a:srgbClr val="000000">
                    <a:lumMod val="75000"/>
                    <a:lumOff val="2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rPr>
              <a:t>高小定</a:t>
            </a:r>
          </a:p>
        </p:txBody>
      </p:sp>
      <p:sp>
        <p:nvSpPr>
          <p:cNvPr id="61" name="矩形 60">
            <a:extLst>
              <a:ext uri="{FF2B5EF4-FFF2-40B4-BE49-F238E27FC236}">
                <a16:creationId xmlns:a16="http://schemas.microsoft.com/office/drawing/2014/main" id="{3E63884B-3CBA-4C41-A2E5-ED9D6A335516}"/>
              </a:ext>
            </a:extLst>
          </p:cNvPr>
          <p:cNvSpPr/>
          <p:nvPr/>
        </p:nvSpPr>
        <p:spPr>
          <a:xfrm>
            <a:off x="9737725" y="2289071"/>
            <a:ext cx="1465974" cy="177903"/>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5720" tIns="22860" rIns="45720" bIns="228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600" b="0" i="0" u="none" strike="noStrike" kern="1200" cap="none" spc="0" normalizeH="0" baseline="0" noProof="0" dirty="0">
              <a:ln>
                <a:noFill/>
              </a:ln>
              <a:solidFill>
                <a:srgbClr val="FFFFFF"/>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p:txBody>
      </p:sp>
      <p:sp>
        <p:nvSpPr>
          <p:cNvPr id="62" name="矩形 61">
            <a:extLst>
              <a:ext uri="{FF2B5EF4-FFF2-40B4-BE49-F238E27FC236}">
                <a16:creationId xmlns:a16="http://schemas.microsoft.com/office/drawing/2014/main" id="{C38E201D-B290-4196-BE1F-1C5196B9D6D7}"/>
              </a:ext>
            </a:extLst>
          </p:cNvPr>
          <p:cNvSpPr/>
          <p:nvPr/>
        </p:nvSpPr>
        <p:spPr>
          <a:xfrm>
            <a:off x="9737725" y="2466974"/>
            <a:ext cx="1465974" cy="304801"/>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5720" tIns="22860" rIns="45720" bIns="228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600" b="0" i="0" u="none" strike="noStrike" kern="1200" cap="none" spc="0" normalizeH="0" baseline="0" noProof="0" dirty="0">
                <a:ln>
                  <a:noFill/>
                </a:ln>
                <a:solidFill>
                  <a:srgbClr val="000000">
                    <a:lumMod val="75000"/>
                    <a:lumOff val="2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rPr>
              <a:t>高小定</a:t>
            </a:r>
          </a:p>
        </p:txBody>
      </p:sp>
      <p:sp>
        <p:nvSpPr>
          <p:cNvPr id="97" name="矩形 96">
            <a:extLst>
              <a:ext uri="{FF2B5EF4-FFF2-40B4-BE49-F238E27FC236}">
                <a16:creationId xmlns:a16="http://schemas.microsoft.com/office/drawing/2014/main" id="{390F8671-737B-4AFD-A206-B92FE6AE7C43}"/>
              </a:ext>
            </a:extLst>
          </p:cNvPr>
          <p:cNvSpPr/>
          <p:nvPr/>
        </p:nvSpPr>
        <p:spPr>
          <a:xfrm>
            <a:off x="1230484" y="4100812"/>
            <a:ext cx="969524" cy="233467"/>
          </a:xfrm>
          <a:prstGeom prst="rect">
            <a:avLst/>
          </a:prstGeom>
          <a:solidFill>
            <a:schemeClr val="accent5">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5720" tIns="22860" rIns="45720" bIns="228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600" b="0" i="0" u="none" strike="noStrike" kern="1200" cap="none" spc="0" normalizeH="0" baseline="0" noProof="0" dirty="0">
              <a:ln>
                <a:noFill/>
              </a:ln>
              <a:solidFill>
                <a:srgbClr val="FFFFFF"/>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p:txBody>
      </p:sp>
      <p:sp>
        <p:nvSpPr>
          <p:cNvPr id="98" name="矩形 97">
            <a:extLst>
              <a:ext uri="{FF2B5EF4-FFF2-40B4-BE49-F238E27FC236}">
                <a16:creationId xmlns:a16="http://schemas.microsoft.com/office/drawing/2014/main" id="{D636E669-A88B-4B58-9283-A19990F10B10}"/>
              </a:ext>
            </a:extLst>
          </p:cNvPr>
          <p:cNvSpPr/>
          <p:nvPr/>
        </p:nvSpPr>
        <p:spPr>
          <a:xfrm>
            <a:off x="1230484" y="4334279"/>
            <a:ext cx="969524" cy="1854854"/>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5720" tIns="22860" rIns="45720" bIns="228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600" b="0" i="0" u="none" strike="noStrike" kern="1200" cap="none" spc="0" normalizeH="0" baseline="0" noProof="0" dirty="0">
              <a:ln>
                <a:noFill/>
              </a:ln>
              <a:solidFill>
                <a:srgbClr val="000000">
                  <a:lumMod val="75000"/>
                  <a:lumOff val="2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p:txBody>
      </p:sp>
      <p:sp>
        <p:nvSpPr>
          <p:cNvPr id="66" name="矩形 65">
            <a:extLst>
              <a:ext uri="{FF2B5EF4-FFF2-40B4-BE49-F238E27FC236}">
                <a16:creationId xmlns:a16="http://schemas.microsoft.com/office/drawing/2014/main" id="{D010F810-7D6D-489A-8D51-9B0CEDE15893}"/>
              </a:ext>
            </a:extLst>
          </p:cNvPr>
          <p:cNvSpPr/>
          <p:nvPr/>
        </p:nvSpPr>
        <p:spPr>
          <a:xfrm>
            <a:off x="2690735" y="3103458"/>
            <a:ext cx="969524" cy="233467"/>
          </a:xfrm>
          <a:prstGeom prst="rect">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5720" tIns="22860" rIns="45720" bIns="228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600" b="0" i="0" u="none" strike="noStrike" kern="1200" cap="none" spc="0" normalizeH="0" baseline="0" noProof="0" dirty="0">
              <a:ln>
                <a:noFill/>
              </a:ln>
              <a:solidFill>
                <a:srgbClr val="FFFFFF"/>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p:txBody>
      </p:sp>
      <p:sp>
        <p:nvSpPr>
          <p:cNvPr id="67" name="矩形 66">
            <a:extLst>
              <a:ext uri="{FF2B5EF4-FFF2-40B4-BE49-F238E27FC236}">
                <a16:creationId xmlns:a16="http://schemas.microsoft.com/office/drawing/2014/main" id="{362F80D7-4B77-4F9F-BB36-46AD1FDC9251}"/>
              </a:ext>
            </a:extLst>
          </p:cNvPr>
          <p:cNvSpPr/>
          <p:nvPr/>
        </p:nvSpPr>
        <p:spPr>
          <a:xfrm>
            <a:off x="2690735" y="3336925"/>
            <a:ext cx="969524" cy="414338"/>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5720" tIns="22860" rIns="45720" bIns="228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600" b="0" i="0" u="none" strike="noStrike" kern="1200" cap="none" spc="0" normalizeH="0" baseline="0" noProof="0" dirty="0">
                <a:ln>
                  <a:noFill/>
                </a:ln>
                <a:solidFill>
                  <a:srgbClr val="000000">
                    <a:lumMod val="75000"/>
                    <a:lumOff val="2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rPr>
              <a:t>高小定</a:t>
            </a:r>
          </a:p>
        </p:txBody>
      </p:sp>
      <p:sp>
        <p:nvSpPr>
          <p:cNvPr id="100" name="矩形 99">
            <a:extLst>
              <a:ext uri="{FF2B5EF4-FFF2-40B4-BE49-F238E27FC236}">
                <a16:creationId xmlns:a16="http://schemas.microsoft.com/office/drawing/2014/main" id="{B5506347-4829-4972-B5E4-ACC07BCADBB1}"/>
              </a:ext>
            </a:extLst>
          </p:cNvPr>
          <p:cNvSpPr/>
          <p:nvPr/>
        </p:nvSpPr>
        <p:spPr>
          <a:xfrm>
            <a:off x="2690735" y="4100812"/>
            <a:ext cx="969524" cy="233467"/>
          </a:xfrm>
          <a:prstGeom prst="rect">
            <a:avLst/>
          </a:prstGeom>
          <a:solidFill>
            <a:schemeClr val="accent5">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5720" tIns="22860" rIns="45720" bIns="228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600" b="0" i="0" u="none" strike="noStrike" kern="1200" cap="none" spc="0" normalizeH="0" baseline="0" noProof="0" dirty="0">
              <a:ln>
                <a:noFill/>
              </a:ln>
              <a:solidFill>
                <a:srgbClr val="FFFFFF"/>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p:txBody>
      </p:sp>
      <p:sp>
        <p:nvSpPr>
          <p:cNvPr id="101" name="矩形 100">
            <a:extLst>
              <a:ext uri="{FF2B5EF4-FFF2-40B4-BE49-F238E27FC236}">
                <a16:creationId xmlns:a16="http://schemas.microsoft.com/office/drawing/2014/main" id="{1F433DA7-C9EF-446A-AB3B-ED6685300E14}"/>
              </a:ext>
            </a:extLst>
          </p:cNvPr>
          <p:cNvSpPr/>
          <p:nvPr/>
        </p:nvSpPr>
        <p:spPr>
          <a:xfrm>
            <a:off x="2690735" y="4334279"/>
            <a:ext cx="969524" cy="1854854"/>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5720" tIns="22860" rIns="45720" bIns="228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600" b="0" i="0" u="none" strike="noStrike" kern="1200" cap="none" spc="0" normalizeH="0" baseline="0" noProof="0" dirty="0">
              <a:ln>
                <a:noFill/>
              </a:ln>
              <a:solidFill>
                <a:srgbClr val="000000">
                  <a:lumMod val="75000"/>
                  <a:lumOff val="2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p:txBody>
      </p:sp>
      <p:sp>
        <p:nvSpPr>
          <p:cNvPr id="77" name="矩形 76">
            <a:extLst>
              <a:ext uri="{FF2B5EF4-FFF2-40B4-BE49-F238E27FC236}">
                <a16:creationId xmlns:a16="http://schemas.microsoft.com/office/drawing/2014/main" id="{C0265AFA-D7DC-443A-9C08-CDD9C566C7F2}"/>
              </a:ext>
            </a:extLst>
          </p:cNvPr>
          <p:cNvSpPr/>
          <p:nvPr/>
        </p:nvSpPr>
        <p:spPr>
          <a:xfrm>
            <a:off x="4150986" y="3103458"/>
            <a:ext cx="969524" cy="233467"/>
          </a:xfrm>
          <a:prstGeom prst="rect">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5720" tIns="22860" rIns="45720" bIns="228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600" b="0" i="0" u="none" strike="noStrike" kern="1200" cap="none" spc="0" normalizeH="0" baseline="0" noProof="0" dirty="0">
              <a:ln>
                <a:noFill/>
              </a:ln>
              <a:solidFill>
                <a:srgbClr val="FFFFFF"/>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p:txBody>
      </p:sp>
      <p:sp>
        <p:nvSpPr>
          <p:cNvPr id="78" name="矩形 77">
            <a:extLst>
              <a:ext uri="{FF2B5EF4-FFF2-40B4-BE49-F238E27FC236}">
                <a16:creationId xmlns:a16="http://schemas.microsoft.com/office/drawing/2014/main" id="{1A545E98-287E-4540-87CF-EDC2185EAB4E}"/>
              </a:ext>
            </a:extLst>
          </p:cNvPr>
          <p:cNvSpPr/>
          <p:nvPr/>
        </p:nvSpPr>
        <p:spPr>
          <a:xfrm>
            <a:off x="4150986" y="3336925"/>
            <a:ext cx="969524" cy="414338"/>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5720" tIns="22860" rIns="45720" bIns="228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600" b="0" i="0" u="none" strike="noStrike" kern="1200" cap="none" spc="0" normalizeH="0" baseline="0" noProof="0" dirty="0">
                <a:ln>
                  <a:noFill/>
                </a:ln>
                <a:solidFill>
                  <a:srgbClr val="000000">
                    <a:lumMod val="75000"/>
                    <a:lumOff val="2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rPr>
              <a:t>高小定</a:t>
            </a:r>
          </a:p>
        </p:txBody>
      </p:sp>
      <p:sp>
        <p:nvSpPr>
          <p:cNvPr id="104" name="矩形 103">
            <a:extLst>
              <a:ext uri="{FF2B5EF4-FFF2-40B4-BE49-F238E27FC236}">
                <a16:creationId xmlns:a16="http://schemas.microsoft.com/office/drawing/2014/main" id="{B9A22DF7-8690-4A3E-936D-03C3F82B0632}"/>
              </a:ext>
            </a:extLst>
          </p:cNvPr>
          <p:cNvSpPr/>
          <p:nvPr/>
        </p:nvSpPr>
        <p:spPr>
          <a:xfrm>
            <a:off x="4150986" y="4100812"/>
            <a:ext cx="969524" cy="233467"/>
          </a:xfrm>
          <a:prstGeom prst="rect">
            <a:avLst/>
          </a:prstGeom>
          <a:solidFill>
            <a:schemeClr val="accent5">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5720" tIns="22860" rIns="45720" bIns="228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600" b="0" i="0" u="none" strike="noStrike" kern="1200" cap="none" spc="0" normalizeH="0" baseline="0" noProof="0" dirty="0">
              <a:ln>
                <a:noFill/>
              </a:ln>
              <a:solidFill>
                <a:srgbClr val="FFFFFF"/>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p:txBody>
      </p:sp>
      <p:sp>
        <p:nvSpPr>
          <p:cNvPr id="113" name="矩形 112">
            <a:extLst>
              <a:ext uri="{FF2B5EF4-FFF2-40B4-BE49-F238E27FC236}">
                <a16:creationId xmlns:a16="http://schemas.microsoft.com/office/drawing/2014/main" id="{960DCBDF-8B4C-4CB2-95D8-B8DBB8BFC816}"/>
              </a:ext>
            </a:extLst>
          </p:cNvPr>
          <p:cNvSpPr/>
          <p:nvPr/>
        </p:nvSpPr>
        <p:spPr>
          <a:xfrm>
            <a:off x="4150986" y="4334279"/>
            <a:ext cx="969524" cy="1854854"/>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5720" tIns="22860" rIns="45720" bIns="228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600" b="0" i="0" u="none" strike="noStrike" kern="1200" cap="none" spc="0" normalizeH="0" baseline="0" noProof="0" dirty="0">
              <a:ln>
                <a:noFill/>
              </a:ln>
              <a:solidFill>
                <a:srgbClr val="000000">
                  <a:lumMod val="75000"/>
                  <a:lumOff val="2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p:txBody>
      </p:sp>
      <p:sp>
        <p:nvSpPr>
          <p:cNvPr id="80" name="矩形 79">
            <a:extLst>
              <a:ext uri="{FF2B5EF4-FFF2-40B4-BE49-F238E27FC236}">
                <a16:creationId xmlns:a16="http://schemas.microsoft.com/office/drawing/2014/main" id="{22BB6C2B-DD45-45BA-8BEB-1FD8A768B8D2}"/>
              </a:ext>
            </a:extLst>
          </p:cNvPr>
          <p:cNvSpPr/>
          <p:nvPr/>
        </p:nvSpPr>
        <p:spPr>
          <a:xfrm>
            <a:off x="5611237" y="3103458"/>
            <a:ext cx="969524" cy="233467"/>
          </a:xfrm>
          <a:prstGeom prst="rect">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5720" tIns="22860" rIns="45720" bIns="228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600" b="0" i="0" u="none" strike="noStrike" kern="1200" cap="none" spc="0" normalizeH="0" baseline="0" noProof="0" dirty="0">
              <a:ln>
                <a:noFill/>
              </a:ln>
              <a:solidFill>
                <a:srgbClr val="FFFFFF"/>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p:txBody>
      </p:sp>
      <p:sp>
        <p:nvSpPr>
          <p:cNvPr id="81" name="矩形 80">
            <a:extLst>
              <a:ext uri="{FF2B5EF4-FFF2-40B4-BE49-F238E27FC236}">
                <a16:creationId xmlns:a16="http://schemas.microsoft.com/office/drawing/2014/main" id="{44916479-7C82-41AC-8808-63C164FE431A}"/>
              </a:ext>
            </a:extLst>
          </p:cNvPr>
          <p:cNvSpPr/>
          <p:nvPr/>
        </p:nvSpPr>
        <p:spPr>
          <a:xfrm>
            <a:off x="5611237" y="3336925"/>
            <a:ext cx="969524" cy="414338"/>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5720" tIns="22860" rIns="45720" bIns="228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600" b="0" i="0" u="none" strike="noStrike" kern="1200" cap="none" spc="0" normalizeH="0" baseline="0" noProof="0" dirty="0">
                <a:ln>
                  <a:noFill/>
                </a:ln>
                <a:solidFill>
                  <a:srgbClr val="000000">
                    <a:lumMod val="75000"/>
                    <a:lumOff val="2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rPr>
              <a:t>高小定</a:t>
            </a:r>
          </a:p>
        </p:txBody>
      </p:sp>
      <p:sp>
        <p:nvSpPr>
          <p:cNvPr id="114" name="矩形 113">
            <a:extLst>
              <a:ext uri="{FF2B5EF4-FFF2-40B4-BE49-F238E27FC236}">
                <a16:creationId xmlns:a16="http://schemas.microsoft.com/office/drawing/2014/main" id="{D8A9D7AB-DE70-4DA7-B4A0-75BFA0A3DEA1}"/>
              </a:ext>
            </a:extLst>
          </p:cNvPr>
          <p:cNvSpPr/>
          <p:nvPr/>
        </p:nvSpPr>
        <p:spPr>
          <a:xfrm>
            <a:off x="5611237" y="4100812"/>
            <a:ext cx="969524" cy="233467"/>
          </a:xfrm>
          <a:prstGeom prst="rect">
            <a:avLst/>
          </a:prstGeom>
          <a:solidFill>
            <a:schemeClr val="accent5">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5720" tIns="22860" rIns="45720" bIns="228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600" b="0" i="0" u="none" strike="noStrike" kern="1200" cap="none" spc="0" normalizeH="0" baseline="0" noProof="0" dirty="0">
              <a:ln>
                <a:noFill/>
              </a:ln>
              <a:solidFill>
                <a:srgbClr val="FFFFFF"/>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p:txBody>
      </p:sp>
      <p:sp>
        <p:nvSpPr>
          <p:cNvPr id="115" name="矩形 114">
            <a:extLst>
              <a:ext uri="{FF2B5EF4-FFF2-40B4-BE49-F238E27FC236}">
                <a16:creationId xmlns:a16="http://schemas.microsoft.com/office/drawing/2014/main" id="{812AA9F0-3B78-4A2C-881B-0CF829566A51}"/>
              </a:ext>
            </a:extLst>
          </p:cNvPr>
          <p:cNvSpPr/>
          <p:nvPr/>
        </p:nvSpPr>
        <p:spPr>
          <a:xfrm>
            <a:off x="5611237" y="4334279"/>
            <a:ext cx="969524" cy="1854854"/>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5720" tIns="22860" rIns="45720" bIns="228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600" b="0" i="0" u="none" strike="noStrike" kern="1200" cap="none" spc="0" normalizeH="0" baseline="0" noProof="0" dirty="0">
              <a:ln>
                <a:noFill/>
              </a:ln>
              <a:solidFill>
                <a:srgbClr val="000000">
                  <a:lumMod val="75000"/>
                  <a:lumOff val="2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p:txBody>
      </p:sp>
      <p:sp>
        <p:nvSpPr>
          <p:cNvPr id="85" name="矩形 84">
            <a:extLst>
              <a:ext uri="{FF2B5EF4-FFF2-40B4-BE49-F238E27FC236}">
                <a16:creationId xmlns:a16="http://schemas.microsoft.com/office/drawing/2014/main" id="{52248AED-B965-4852-A2FD-DAA5066DE483}"/>
              </a:ext>
            </a:extLst>
          </p:cNvPr>
          <p:cNvSpPr/>
          <p:nvPr/>
        </p:nvSpPr>
        <p:spPr>
          <a:xfrm>
            <a:off x="7071488" y="3103458"/>
            <a:ext cx="969524" cy="233467"/>
          </a:xfrm>
          <a:prstGeom prst="rect">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5720" tIns="22860" rIns="45720" bIns="228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600" b="0" i="0" u="none" strike="noStrike" kern="1200" cap="none" spc="0" normalizeH="0" baseline="0" noProof="0" dirty="0">
              <a:ln>
                <a:noFill/>
              </a:ln>
              <a:solidFill>
                <a:srgbClr val="FFFFFF"/>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p:txBody>
      </p:sp>
      <p:sp>
        <p:nvSpPr>
          <p:cNvPr id="87" name="矩形 86">
            <a:extLst>
              <a:ext uri="{FF2B5EF4-FFF2-40B4-BE49-F238E27FC236}">
                <a16:creationId xmlns:a16="http://schemas.microsoft.com/office/drawing/2014/main" id="{A6979EB2-7527-40AF-A685-A3FAAC3B188B}"/>
              </a:ext>
            </a:extLst>
          </p:cNvPr>
          <p:cNvSpPr/>
          <p:nvPr/>
        </p:nvSpPr>
        <p:spPr>
          <a:xfrm>
            <a:off x="7071488" y="3336925"/>
            <a:ext cx="969524" cy="414338"/>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5720" tIns="22860" rIns="45720" bIns="228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600" b="0" i="0" u="none" strike="noStrike" kern="1200" cap="none" spc="0" normalizeH="0" baseline="0" noProof="0" dirty="0">
                <a:ln>
                  <a:noFill/>
                </a:ln>
                <a:solidFill>
                  <a:srgbClr val="000000">
                    <a:lumMod val="75000"/>
                    <a:lumOff val="2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rPr>
              <a:t>高小定</a:t>
            </a:r>
          </a:p>
        </p:txBody>
      </p:sp>
      <p:sp>
        <p:nvSpPr>
          <p:cNvPr id="116" name="矩形 115">
            <a:extLst>
              <a:ext uri="{FF2B5EF4-FFF2-40B4-BE49-F238E27FC236}">
                <a16:creationId xmlns:a16="http://schemas.microsoft.com/office/drawing/2014/main" id="{402AB6F7-7B79-4751-8961-10001032E33F}"/>
              </a:ext>
            </a:extLst>
          </p:cNvPr>
          <p:cNvSpPr/>
          <p:nvPr/>
        </p:nvSpPr>
        <p:spPr>
          <a:xfrm>
            <a:off x="7071488" y="4100812"/>
            <a:ext cx="969524" cy="233467"/>
          </a:xfrm>
          <a:prstGeom prst="rect">
            <a:avLst/>
          </a:prstGeom>
          <a:solidFill>
            <a:schemeClr val="accent5">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5720" tIns="22860" rIns="45720" bIns="228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600" b="0" i="0" u="none" strike="noStrike" kern="1200" cap="none" spc="0" normalizeH="0" baseline="0" noProof="0" dirty="0">
              <a:ln>
                <a:noFill/>
              </a:ln>
              <a:solidFill>
                <a:srgbClr val="FFFFFF"/>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p:txBody>
      </p:sp>
      <p:sp>
        <p:nvSpPr>
          <p:cNvPr id="117" name="矩形 116">
            <a:extLst>
              <a:ext uri="{FF2B5EF4-FFF2-40B4-BE49-F238E27FC236}">
                <a16:creationId xmlns:a16="http://schemas.microsoft.com/office/drawing/2014/main" id="{C785B839-4890-4EE9-BCE0-81851262C500}"/>
              </a:ext>
            </a:extLst>
          </p:cNvPr>
          <p:cNvSpPr/>
          <p:nvPr/>
        </p:nvSpPr>
        <p:spPr>
          <a:xfrm>
            <a:off x="7071488" y="4334279"/>
            <a:ext cx="969524" cy="1854854"/>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5720" tIns="22860" rIns="45720" bIns="228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600" b="0" i="0" u="none" strike="noStrike" kern="1200" cap="none" spc="0" normalizeH="0" baseline="0" noProof="0" dirty="0">
              <a:ln>
                <a:noFill/>
              </a:ln>
              <a:solidFill>
                <a:srgbClr val="000000">
                  <a:lumMod val="75000"/>
                  <a:lumOff val="2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p:txBody>
      </p:sp>
      <p:sp>
        <p:nvSpPr>
          <p:cNvPr id="94" name="矩形 93">
            <a:extLst>
              <a:ext uri="{FF2B5EF4-FFF2-40B4-BE49-F238E27FC236}">
                <a16:creationId xmlns:a16="http://schemas.microsoft.com/office/drawing/2014/main" id="{938552AD-C4D0-4532-B4DC-2A82FFBF900E}"/>
              </a:ext>
            </a:extLst>
          </p:cNvPr>
          <p:cNvSpPr/>
          <p:nvPr/>
        </p:nvSpPr>
        <p:spPr>
          <a:xfrm>
            <a:off x="8531739" y="3103458"/>
            <a:ext cx="969524" cy="233467"/>
          </a:xfrm>
          <a:prstGeom prst="rect">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5720" tIns="22860" rIns="45720" bIns="228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600" b="0" i="0" u="none" strike="noStrike" kern="1200" cap="none" spc="0" normalizeH="0" baseline="0" noProof="0" dirty="0">
              <a:ln>
                <a:noFill/>
              </a:ln>
              <a:solidFill>
                <a:srgbClr val="FFFFFF"/>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p:txBody>
      </p:sp>
      <p:sp>
        <p:nvSpPr>
          <p:cNvPr id="95" name="矩形 94">
            <a:extLst>
              <a:ext uri="{FF2B5EF4-FFF2-40B4-BE49-F238E27FC236}">
                <a16:creationId xmlns:a16="http://schemas.microsoft.com/office/drawing/2014/main" id="{931F719C-8D08-42D3-99AA-2F9D3E3107C5}"/>
              </a:ext>
            </a:extLst>
          </p:cNvPr>
          <p:cNvSpPr/>
          <p:nvPr/>
        </p:nvSpPr>
        <p:spPr>
          <a:xfrm>
            <a:off x="8531739" y="3336925"/>
            <a:ext cx="969524" cy="414338"/>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5720" tIns="22860" rIns="45720" bIns="228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600" b="0" i="0" u="none" strike="noStrike" kern="1200" cap="none" spc="0" normalizeH="0" baseline="0" noProof="0" dirty="0">
                <a:ln>
                  <a:noFill/>
                </a:ln>
                <a:solidFill>
                  <a:srgbClr val="000000">
                    <a:lumMod val="75000"/>
                    <a:lumOff val="2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rPr>
              <a:t>高小定</a:t>
            </a:r>
          </a:p>
        </p:txBody>
      </p:sp>
      <p:sp>
        <p:nvSpPr>
          <p:cNvPr id="118" name="矩形 117">
            <a:extLst>
              <a:ext uri="{FF2B5EF4-FFF2-40B4-BE49-F238E27FC236}">
                <a16:creationId xmlns:a16="http://schemas.microsoft.com/office/drawing/2014/main" id="{3D7132A3-E8D5-426A-B513-C694BC92C07A}"/>
              </a:ext>
            </a:extLst>
          </p:cNvPr>
          <p:cNvSpPr/>
          <p:nvPr/>
        </p:nvSpPr>
        <p:spPr>
          <a:xfrm>
            <a:off x="8531739" y="4100812"/>
            <a:ext cx="969524" cy="233467"/>
          </a:xfrm>
          <a:prstGeom prst="rect">
            <a:avLst/>
          </a:prstGeom>
          <a:solidFill>
            <a:schemeClr val="accent5">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5720" tIns="22860" rIns="45720" bIns="228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600" b="0" i="0" u="none" strike="noStrike" kern="1200" cap="none" spc="0" normalizeH="0" baseline="0" noProof="0" dirty="0">
              <a:ln>
                <a:noFill/>
              </a:ln>
              <a:solidFill>
                <a:srgbClr val="FFFFFF"/>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p:txBody>
      </p:sp>
      <p:sp>
        <p:nvSpPr>
          <p:cNvPr id="119" name="矩形 118">
            <a:extLst>
              <a:ext uri="{FF2B5EF4-FFF2-40B4-BE49-F238E27FC236}">
                <a16:creationId xmlns:a16="http://schemas.microsoft.com/office/drawing/2014/main" id="{45663F9E-D27A-4C2F-9B73-5E017CB722F8}"/>
              </a:ext>
            </a:extLst>
          </p:cNvPr>
          <p:cNvSpPr/>
          <p:nvPr/>
        </p:nvSpPr>
        <p:spPr>
          <a:xfrm>
            <a:off x="8531739" y="4334279"/>
            <a:ext cx="969524" cy="1854854"/>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5720" tIns="22860" rIns="45720" bIns="228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600" b="0" i="0" u="none" strike="noStrike" kern="1200" cap="none" spc="0" normalizeH="0" baseline="0" noProof="0" dirty="0">
              <a:ln>
                <a:noFill/>
              </a:ln>
              <a:solidFill>
                <a:srgbClr val="000000">
                  <a:lumMod val="75000"/>
                  <a:lumOff val="2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p:txBody>
      </p:sp>
      <p:sp>
        <p:nvSpPr>
          <p:cNvPr id="120" name="矩形 119">
            <a:extLst>
              <a:ext uri="{FF2B5EF4-FFF2-40B4-BE49-F238E27FC236}">
                <a16:creationId xmlns:a16="http://schemas.microsoft.com/office/drawing/2014/main" id="{920C2C43-3DD3-482B-B294-235929CDFEDB}"/>
              </a:ext>
            </a:extLst>
          </p:cNvPr>
          <p:cNvSpPr/>
          <p:nvPr/>
        </p:nvSpPr>
        <p:spPr>
          <a:xfrm>
            <a:off x="9991992" y="4100812"/>
            <a:ext cx="969524" cy="233467"/>
          </a:xfrm>
          <a:prstGeom prst="rect">
            <a:avLst/>
          </a:prstGeom>
          <a:solidFill>
            <a:schemeClr val="accent5">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5720" tIns="22860" rIns="45720" bIns="228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600" b="0" i="0" u="none" strike="noStrike" kern="1200" cap="none" spc="0" normalizeH="0" baseline="0" noProof="0" dirty="0">
              <a:ln>
                <a:noFill/>
              </a:ln>
              <a:solidFill>
                <a:srgbClr val="FFFFFF"/>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p:txBody>
      </p:sp>
      <p:sp>
        <p:nvSpPr>
          <p:cNvPr id="121" name="矩形 120">
            <a:extLst>
              <a:ext uri="{FF2B5EF4-FFF2-40B4-BE49-F238E27FC236}">
                <a16:creationId xmlns:a16="http://schemas.microsoft.com/office/drawing/2014/main" id="{8525C81F-8119-4CC7-B266-7D47898C86F4}"/>
              </a:ext>
            </a:extLst>
          </p:cNvPr>
          <p:cNvSpPr/>
          <p:nvPr/>
        </p:nvSpPr>
        <p:spPr>
          <a:xfrm>
            <a:off x="9991992" y="4334279"/>
            <a:ext cx="969524" cy="1854854"/>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5720" tIns="22860" rIns="45720" bIns="228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600" b="0" i="0" u="none" strike="noStrike" kern="1200" cap="none" spc="0" normalizeH="0" baseline="0" noProof="0" dirty="0">
              <a:ln>
                <a:noFill/>
              </a:ln>
              <a:solidFill>
                <a:srgbClr val="000000">
                  <a:lumMod val="75000"/>
                  <a:lumOff val="2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p:txBody>
      </p:sp>
      <p:sp>
        <p:nvSpPr>
          <p:cNvPr id="75" name="矩形 74">
            <a:extLst>
              <a:ext uri="{FF2B5EF4-FFF2-40B4-BE49-F238E27FC236}">
                <a16:creationId xmlns:a16="http://schemas.microsoft.com/office/drawing/2014/main" id="{0717F26D-EC44-4107-9BD9-424C2ED05813}"/>
              </a:ext>
            </a:extLst>
          </p:cNvPr>
          <p:cNvSpPr/>
          <p:nvPr/>
        </p:nvSpPr>
        <p:spPr>
          <a:xfrm>
            <a:off x="1412140" y="4376613"/>
            <a:ext cx="606212" cy="107677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5720" tIns="22860" rIns="45720" bIns="228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0" lang="zh-CN" altLang="en-US" sz="1400" b="0" i="0" u="none" strike="noStrike" kern="1200" cap="none" spc="0" normalizeH="0" baseline="0" noProof="0" dirty="0">
                <a:ln>
                  <a:noFill/>
                </a:ln>
                <a:solidFill>
                  <a:srgbClr val="000000">
                    <a:lumMod val="75000"/>
                    <a:lumOff val="2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rPr>
              <a:t>张三</a:t>
            </a:r>
            <a:endParaRPr kumimoji="0" lang="en-US" altLang="zh-CN" sz="1400" b="0" i="0" u="none" strike="noStrike" kern="1200" cap="none" spc="0" normalizeH="0" baseline="0" noProof="0" dirty="0">
              <a:ln>
                <a:noFill/>
              </a:ln>
              <a:solidFill>
                <a:srgbClr val="000000">
                  <a:lumMod val="75000"/>
                  <a:lumOff val="2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a:p>
            <a:pPr marL="0" marR="0" lvl="0" indent="0" algn="ctr" defTabSz="914400" rtl="0" eaLnBrk="1" fontAlgn="auto" latinLnBrk="0" hangingPunct="1">
              <a:lnSpc>
                <a:spcPct val="120000"/>
              </a:lnSpc>
              <a:spcBef>
                <a:spcPts val="0"/>
              </a:spcBef>
              <a:spcAft>
                <a:spcPts val="0"/>
              </a:spcAft>
              <a:buClrTx/>
              <a:buSzTx/>
              <a:buFontTx/>
              <a:buNone/>
              <a:tabLst/>
              <a:defRPr/>
            </a:pPr>
            <a:r>
              <a:rPr kumimoji="0" lang="zh-CN" altLang="en-US" sz="1400" b="0" i="0" u="none" strike="noStrike" kern="1200" cap="none" spc="0" normalizeH="0" baseline="0" noProof="0" dirty="0">
                <a:ln>
                  <a:noFill/>
                </a:ln>
                <a:solidFill>
                  <a:srgbClr val="000000">
                    <a:lumMod val="75000"/>
                    <a:lumOff val="2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rPr>
              <a:t>李四</a:t>
            </a:r>
            <a:endParaRPr kumimoji="0" lang="en-US" altLang="zh-CN" sz="1400" b="0" i="0" u="none" strike="noStrike" kern="1200" cap="none" spc="0" normalizeH="0" baseline="0" noProof="0" dirty="0">
              <a:ln>
                <a:noFill/>
              </a:ln>
              <a:solidFill>
                <a:srgbClr val="000000">
                  <a:lumMod val="75000"/>
                  <a:lumOff val="2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a:p>
            <a:pPr marL="0" marR="0" lvl="0" indent="0" algn="ctr" defTabSz="914400" rtl="0" eaLnBrk="1" fontAlgn="auto" latinLnBrk="0" hangingPunct="1">
              <a:lnSpc>
                <a:spcPct val="120000"/>
              </a:lnSpc>
              <a:spcBef>
                <a:spcPts val="0"/>
              </a:spcBef>
              <a:spcAft>
                <a:spcPts val="0"/>
              </a:spcAft>
              <a:buClrTx/>
              <a:buSzTx/>
              <a:buFontTx/>
              <a:buNone/>
              <a:tabLst/>
              <a:defRPr/>
            </a:pPr>
            <a:r>
              <a:rPr kumimoji="0" lang="zh-CN" altLang="en-US" sz="1400" b="0" i="0" u="none" strike="noStrike" kern="1200" cap="none" spc="0" normalizeH="0" baseline="0" noProof="0" dirty="0">
                <a:ln>
                  <a:noFill/>
                </a:ln>
                <a:solidFill>
                  <a:srgbClr val="000000">
                    <a:lumMod val="75000"/>
                    <a:lumOff val="2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rPr>
              <a:t>王五</a:t>
            </a:r>
            <a:endParaRPr kumimoji="0" lang="en-US" altLang="zh-CN" sz="1400" b="0" i="0" u="none" strike="noStrike" kern="1200" cap="none" spc="0" normalizeH="0" baseline="0" noProof="0" dirty="0">
              <a:ln>
                <a:noFill/>
              </a:ln>
              <a:solidFill>
                <a:srgbClr val="000000">
                  <a:lumMod val="75000"/>
                  <a:lumOff val="2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a:p>
            <a:pPr marL="0" marR="0" lvl="0" indent="0" algn="ctr" defTabSz="914400" rtl="0" eaLnBrk="1" fontAlgn="auto" latinLnBrk="0" hangingPunct="1">
              <a:lnSpc>
                <a:spcPct val="120000"/>
              </a:lnSpc>
              <a:spcBef>
                <a:spcPts val="0"/>
              </a:spcBef>
              <a:spcAft>
                <a:spcPts val="0"/>
              </a:spcAft>
              <a:buClrTx/>
              <a:buSzTx/>
              <a:buFontTx/>
              <a:buNone/>
              <a:tabLst/>
              <a:defRPr/>
            </a:pPr>
            <a:r>
              <a:rPr kumimoji="0" lang="zh-CN" altLang="en-US" sz="1400" b="0" i="0" u="none" strike="noStrike" kern="1200" cap="none" spc="0" normalizeH="0" baseline="0" noProof="0" dirty="0">
                <a:ln>
                  <a:noFill/>
                </a:ln>
                <a:solidFill>
                  <a:srgbClr val="000000">
                    <a:lumMod val="75000"/>
                    <a:lumOff val="2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rPr>
              <a:t>赵六</a:t>
            </a:r>
          </a:p>
        </p:txBody>
      </p:sp>
      <p:sp>
        <p:nvSpPr>
          <p:cNvPr id="76" name="矩形 75">
            <a:extLst>
              <a:ext uri="{FF2B5EF4-FFF2-40B4-BE49-F238E27FC236}">
                <a16:creationId xmlns:a16="http://schemas.microsoft.com/office/drawing/2014/main" id="{6D15AA3E-E34B-4EF4-B151-BB029D3FAECC}"/>
              </a:ext>
            </a:extLst>
          </p:cNvPr>
          <p:cNvSpPr/>
          <p:nvPr/>
        </p:nvSpPr>
        <p:spPr>
          <a:xfrm>
            <a:off x="2871894" y="4376613"/>
            <a:ext cx="606212" cy="107677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5720" tIns="22860" rIns="45720" bIns="228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0" lang="zh-CN" altLang="en-US" sz="1400" b="0" i="0" u="none" strike="noStrike" kern="1200" cap="none" spc="0" normalizeH="0" baseline="0" noProof="0" dirty="0">
                <a:ln>
                  <a:noFill/>
                </a:ln>
                <a:solidFill>
                  <a:srgbClr val="000000">
                    <a:lumMod val="75000"/>
                    <a:lumOff val="2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rPr>
              <a:t>张三</a:t>
            </a:r>
            <a:endParaRPr kumimoji="0" lang="en-US" altLang="zh-CN" sz="1400" b="0" i="0" u="none" strike="noStrike" kern="1200" cap="none" spc="0" normalizeH="0" baseline="0" noProof="0" dirty="0">
              <a:ln>
                <a:noFill/>
              </a:ln>
              <a:solidFill>
                <a:srgbClr val="000000">
                  <a:lumMod val="75000"/>
                  <a:lumOff val="2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a:p>
            <a:pPr marL="0" marR="0" lvl="0" indent="0" algn="ctr" defTabSz="914400" rtl="0" eaLnBrk="1" fontAlgn="auto" latinLnBrk="0" hangingPunct="1">
              <a:lnSpc>
                <a:spcPct val="120000"/>
              </a:lnSpc>
              <a:spcBef>
                <a:spcPts val="0"/>
              </a:spcBef>
              <a:spcAft>
                <a:spcPts val="0"/>
              </a:spcAft>
              <a:buClrTx/>
              <a:buSzTx/>
              <a:buFontTx/>
              <a:buNone/>
              <a:tabLst/>
              <a:defRPr/>
            </a:pPr>
            <a:r>
              <a:rPr kumimoji="0" lang="zh-CN" altLang="en-US" sz="1400" b="0" i="0" u="none" strike="noStrike" kern="1200" cap="none" spc="0" normalizeH="0" baseline="0" noProof="0" dirty="0">
                <a:ln>
                  <a:noFill/>
                </a:ln>
                <a:solidFill>
                  <a:srgbClr val="000000">
                    <a:lumMod val="75000"/>
                    <a:lumOff val="2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rPr>
              <a:t>李四</a:t>
            </a:r>
            <a:endParaRPr kumimoji="0" lang="en-US" altLang="zh-CN" sz="1400" b="0" i="0" u="none" strike="noStrike" kern="1200" cap="none" spc="0" normalizeH="0" baseline="0" noProof="0" dirty="0">
              <a:ln>
                <a:noFill/>
              </a:ln>
              <a:solidFill>
                <a:srgbClr val="000000">
                  <a:lumMod val="75000"/>
                  <a:lumOff val="2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a:p>
            <a:pPr marL="0" marR="0" lvl="0" indent="0" algn="ctr" defTabSz="914400" rtl="0" eaLnBrk="1" fontAlgn="auto" latinLnBrk="0" hangingPunct="1">
              <a:lnSpc>
                <a:spcPct val="120000"/>
              </a:lnSpc>
              <a:spcBef>
                <a:spcPts val="0"/>
              </a:spcBef>
              <a:spcAft>
                <a:spcPts val="0"/>
              </a:spcAft>
              <a:buClrTx/>
              <a:buSzTx/>
              <a:buFontTx/>
              <a:buNone/>
              <a:tabLst/>
              <a:defRPr/>
            </a:pPr>
            <a:r>
              <a:rPr kumimoji="0" lang="zh-CN" altLang="en-US" sz="1400" b="0" i="0" u="none" strike="noStrike" kern="1200" cap="none" spc="0" normalizeH="0" baseline="0" noProof="0" dirty="0">
                <a:ln>
                  <a:noFill/>
                </a:ln>
                <a:solidFill>
                  <a:srgbClr val="000000">
                    <a:lumMod val="75000"/>
                    <a:lumOff val="2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rPr>
              <a:t>王五</a:t>
            </a:r>
            <a:endParaRPr kumimoji="0" lang="en-US" altLang="zh-CN" sz="1400" b="0" i="0" u="none" strike="noStrike" kern="1200" cap="none" spc="0" normalizeH="0" baseline="0" noProof="0" dirty="0">
              <a:ln>
                <a:noFill/>
              </a:ln>
              <a:solidFill>
                <a:srgbClr val="000000">
                  <a:lumMod val="75000"/>
                  <a:lumOff val="2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a:p>
            <a:pPr marL="0" marR="0" lvl="0" indent="0" algn="ctr" defTabSz="914400" rtl="0" eaLnBrk="1" fontAlgn="auto" latinLnBrk="0" hangingPunct="1">
              <a:lnSpc>
                <a:spcPct val="120000"/>
              </a:lnSpc>
              <a:spcBef>
                <a:spcPts val="0"/>
              </a:spcBef>
              <a:spcAft>
                <a:spcPts val="0"/>
              </a:spcAft>
              <a:buClrTx/>
              <a:buSzTx/>
              <a:buFontTx/>
              <a:buNone/>
              <a:tabLst/>
              <a:defRPr/>
            </a:pPr>
            <a:r>
              <a:rPr kumimoji="0" lang="zh-CN" altLang="en-US" sz="1400" b="0" i="0" u="none" strike="noStrike" kern="1200" cap="none" spc="0" normalizeH="0" baseline="0" noProof="0" dirty="0">
                <a:ln>
                  <a:noFill/>
                </a:ln>
                <a:solidFill>
                  <a:srgbClr val="000000">
                    <a:lumMod val="75000"/>
                    <a:lumOff val="2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rPr>
              <a:t>赵六</a:t>
            </a:r>
          </a:p>
        </p:txBody>
      </p:sp>
      <p:sp>
        <p:nvSpPr>
          <p:cNvPr id="79" name="矩形 78">
            <a:extLst>
              <a:ext uri="{FF2B5EF4-FFF2-40B4-BE49-F238E27FC236}">
                <a16:creationId xmlns:a16="http://schemas.microsoft.com/office/drawing/2014/main" id="{253E1ACE-74AB-4A1B-90D0-63736E649144}"/>
              </a:ext>
            </a:extLst>
          </p:cNvPr>
          <p:cNvSpPr/>
          <p:nvPr/>
        </p:nvSpPr>
        <p:spPr>
          <a:xfrm>
            <a:off x="4331648" y="4376613"/>
            <a:ext cx="606212" cy="107677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5720" tIns="22860" rIns="45720" bIns="228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0" lang="zh-CN" altLang="en-US" sz="1400" b="0" i="0" u="none" strike="noStrike" kern="1200" cap="none" spc="0" normalizeH="0" baseline="0" noProof="0" dirty="0">
                <a:ln>
                  <a:noFill/>
                </a:ln>
                <a:solidFill>
                  <a:srgbClr val="000000">
                    <a:lumMod val="75000"/>
                    <a:lumOff val="2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rPr>
              <a:t>张三</a:t>
            </a:r>
            <a:endParaRPr kumimoji="0" lang="en-US" altLang="zh-CN" sz="1400" b="0" i="0" u="none" strike="noStrike" kern="1200" cap="none" spc="0" normalizeH="0" baseline="0" noProof="0" dirty="0">
              <a:ln>
                <a:noFill/>
              </a:ln>
              <a:solidFill>
                <a:srgbClr val="000000">
                  <a:lumMod val="75000"/>
                  <a:lumOff val="2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a:p>
            <a:pPr marL="0" marR="0" lvl="0" indent="0" algn="ctr" defTabSz="914400" rtl="0" eaLnBrk="1" fontAlgn="auto" latinLnBrk="0" hangingPunct="1">
              <a:lnSpc>
                <a:spcPct val="120000"/>
              </a:lnSpc>
              <a:spcBef>
                <a:spcPts val="0"/>
              </a:spcBef>
              <a:spcAft>
                <a:spcPts val="0"/>
              </a:spcAft>
              <a:buClrTx/>
              <a:buSzTx/>
              <a:buFontTx/>
              <a:buNone/>
              <a:tabLst/>
              <a:defRPr/>
            </a:pPr>
            <a:r>
              <a:rPr kumimoji="0" lang="zh-CN" altLang="en-US" sz="1400" b="0" i="0" u="none" strike="noStrike" kern="1200" cap="none" spc="0" normalizeH="0" baseline="0" noProof="0" dirty="0">
                <a:ln>
                  <a:noFill/>
                </a:ln>
                <a:solidFill>
                  <a:srgbClr val="000000">
                    <a:lumMod val="75000"/>
                    <a:lumOff val="2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rPr>
              <a:t>李四</a:t>
            </a:r>
            <a:endParaRPr kumimoji="0" lang="en-US" altLang="zh-CN" sz="1400" b="0" i="0" u="none" strike="noStrike" kern="1200" cap="none" spc="0" normalizeH="0" baseline="0" noProof="0" dirty="0">
              <a:ln>
                <a:noFill/>
              </a:ln>
              <a:solidFill>
                <a:srgbClr val="000000">
                  <a:lumMod val="75000"/>
                  <a:lumOff val="2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a:p>
            <a:pPr marL="0" marR="0" lvl="0" indent="0" algn="ctr" defTabSz="914400" rtl="0" eaLnBrk="1" fontAlgn="auto" latinLnBrk="0" hangingPunct="1">
              <a:lnSpc>
                <a:spcPct val="120000"/>
              </a:lnSpc>
              <a:spcBef>
                <a:spcPts val="0"/>
              </a:spcBef>
              <a:spcAft>
                <a:spcPts val="0"/>
              </a:spcAft>
              <a:buClrTx/>
              <a:buSzTx/>
              <a:buFontTx/>
              <a:buNone/>
              <a:tabLst/>
              <a:defRPr/>
            </a:pPr>
            <a:r>
              <a:rPr kumimoji="0" lang="zh-CN" altLang="en-US" sz="1400" b="0" i="0" u="none" strike="noStrike" kern="1200" cap="none" spc="0" normalizeH="0" baseline="0" noProof="0" dirty="0">
                <a:ln>
                  <a:noFill/>
                </a:ln>
                <a:solidFill>
                  <a:srgbClr val="000000">
                    <a:lumMod val="75000"/>
                    <a:lumOff val="2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rPr>
              <a:t>王五</a:t>
            </a:r>
            <a:endParaRPr kumimoji="0" lang="en-US" altLang="zh-CN" sz="1400" b="0" i="0" u="none" strike="noStrike" kern="1200" cap="none" spc="0" normalizeH="0" baseline="0" noProof="0" dirty="0">
              <a:ln>
                <a:noFill/>
              </a:ln>
              <a:solidFill>
                <a:srgbClr val="000000">
                  <a:lumMod val="75000"/>
                  <a:lumOff val="2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a:p>
            <a:pPr marL="0" marR="0" lvl="0" indent="0" algn="ctr" defTabSz="914400" rtl="0" eaLnBrk="1" fontAlgn="auto" latinLnBrk="0" hangingPunct="1">
              <a:lnSpc>
                <a:spcPct val="120000"/>
              </a:lnSpc>
              <a:spcBef>
                <a:spcPts val="0"/>
              </a:spcBef>
              <a:spcAft>
                <a:spcPts val="0"/>
              </a:spcAft>
              <a:buClrTx/>
              <a:buSzTx/>
              <a:buFontTx/>
              <a:buNone/>
              <a:tabLst/>
              <a:defRPr/>
            </a:pPr>
            <a:r>
              <a:rPr kumimoji="0" lang="zh-CN" altLang="en-US" sz="1400" b="0" i="0" u="none" strike="noStrike" kern="1200" cap="none" spc="0" normalizeH="0" baseline="0" noProof="0" dirty="0">
                <a:ln>
                  <a:noFill/>
                </a:ln>
                <a:solidFill>
                  <a:srgbClr val="000000">
                    <a:lumMod val="75000"/>
                    <a:lumOff val="2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rPr>
              <a:t>赵六</a:t>
            </a:r>
          </a:p>
        </p:txBody>
      </p:sp>
      <p:sp>
        <p:nvSpPr>
          <p:cNvPr id="82" name="矩形 81">
            <a:extLst>
              <a:ext uri="{FF2B5EF4-FFF2-40B4-BE49-F238E27FC236}">
                <a16:creationId xmlns:a16="http://schemas.microsoft.com/office/drawing/2014/main" id="{CDAA28A5-9686-48CD-AE36-93DBA49B53B9}"/>
              </a:ext>
            </a:extLst>
          </p:cNvPr>
          <p:cNvSpPr/>
          <p:nvPr/>
        </p:nvSpPr>
        <p:spPr>
          <a:xfrm>
            <a:off x="5791402" y="4376613"/>
            <a:ext cx="606212" cy="107677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5720" tIns="22860" rIns="45720" bIns="228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0" lang="zh-CN" altLang="en-US" sz="1400" b="0" i="0" u="none" strike="noStrike" kern="1200" cap="none" spc="0" normalizeH="0" baseline="0" noProof="0" dirty="0">
                <a:ln>
                  <a:noFill/>
                </a:ln>
                <a:solidFill>
                  <a:srgbClr val="000000">
                    <a:lumMod val="75000"/>
                    <a:lumOff val="2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rPr>
              <a:t>张三</a:t>
            </a:r>
            <a:endParaRPr kumimoji="0" lang="en-US" altLang="zh-CN" sz="1400" b="0" i="0" u="none" strike="noStrike" kern="1200" cap="none" spc="0" normalizeH="0" baseline="0" noProof="0" dirty="0">
              <a:ln>
                <a:noFill/>
              </a:ln>
              <a:solidFill>
                <a:srgbClr val="000000">
                  <a:lumMod val="75000"/>
                  <a:lumOff val="2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a:p>
            <a:pPr marL="0" marR="0" lvl="0" indent="0" algn="ctr" defTabSz="914400" rtl="0" eaLnBrk="1" fontAlgn="auto" latinLnBrk="0" hangingPunct="1">
              <a:lnSpc>
                <a:spcPct val="120000"/>
              </a:lnSpc>
              <a:spcBef>
                <a:spcPts val="0"/>
              </a:spcBef>
              <a:spcAft>
                <a:spcPts val="0"/>
              </a:spcAft>
              <a:buClrTx/>
              <a:buSzTx/>
              <a:buFontTx/>
              <a:buNone/>
              <a:tabLst/>
              <a:defRPr/>
            </a:pPr>
            <a:r>
              <a:rPr kumimoji="0" lang="zh-CN" altLang="en-US" sz="1400" b="0" i="0" u="none" strike="noStrike" kern="1200" cap="none" spc="0" normalizeH="0" baseline="0" noProof="0" dirty="0">
                <a:ln>
                  <a:noFill/>
                </a:ln>
                <a:solidFill>
                  <a:srgbClr val="000000">
                    <a:lumMod val="75000"/>
                    <a:lumOff val="2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rPr>
              <a:t>李四</a:t>
            </a:r>
            <a:endParaRPr kumimoji="0" lang="en-US" altLang="zh-CN" sz="1400" b="0" i="0" u="none" strike="noStrike" kern="1200" cap="none" spc="0" normalizeH="0" baseline="0" noProof="0" dirty="0">
              <a:ln>
                <a:noFill/>
              </a:ln>
              <a:solidFill>
                <a:srgbClr val="000000">
                  <a:lumMod val="75000"/>
                  <a:lumOff val="2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a:p>
            <a:pPr marL="0" marR="0" lvl="0" indent="0" algn="ctr" defTabSz="914400" rtl="0" eaLnBrk="1" fontAlgn="auto" latinLnBrk="0" hangingPunct="1">
              <a:lnSpc>
                <a:spcPct val="120000"/>
              </a:lnSpc>
              <a:spcBef>
                <a:spcPts val="0"/>
              </a:spcBef>
              <a:spcAft>
                <a:spcPts val="0"/>
              </a:spcAft>
              <a:buClrTx/>
              <a:buSzTx/>
              <a:buFontTx/>
              <a:buNone/>
              <a:tabLst/>
              <a:defRPr/>
            </a:pPr>
            <a:r>
              <a:rPr kumimoji="0" lang="zh-CN" altLang="en-US" sz="1400" b="0" i="0" u="none" strike="noStrike" kern="1200" cap="none" spc="0" normalizeH="0" baseline="0" noProof="0" dirty="0">
                <a:ln>
                  <a:noFill/>
                </a:ln>
                <a:solidFill>
                  <a:srgbClr val="000000">
                    <a:lumMod val="75000"/>
                    <a:lumOff val="2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rPr>
              <a:t>王五</a:t>
            </a:r>
            <a:endParaRPr kumimoji="0" lang="en-US" altLang="zh-CN" sz="1400" b="0" i="0" u="none" strike="noStrike" kern="1200" cap="none" spc="0" normalizeH="0" baseline="0" noProof="0" dirty="0">
              <a:ln>
                <a:noFill/>
              </a:ln>
              <a:solidFill>
                <a:srgbClr val="000000">
                  <a:lumMod val="75000"/>
                  <a:lumOff val="2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a:p>
            <a:pPr marL="0" marR="0" lvl="0" indent="0" algn="ctr" defTabSz="914400" rtl="0" eaLnBrk="1" fontAlgn="auto" latinLnBrk="0" hangingPunct="1">
              <a:lnSpc>
                <a:spcPct val="120000"/>
              </a:lnSpc>
              <a:spcBef>
                <a:spcPts val="0"/>
              </a:spcBef>
              <a:spcAft>
                <a:spcPts val="0"/>
              </a:spcAft>
              <a:buClrTx/>
              <a:buSzTx/>
              <a:buFontTx/>
              <a:buNone/>
              <a:tabLst/>
              <a:defRPr/>
            </a:pPr>
            <a:r>
              <a:rPr kumimoji="0" lang="zh-CN" altLang="en-US" sz="1400" b="0" i="0" u="none" strike="noStrike" kern="1200" cap="none" spc="0" normalizeH="0" baseline="0" noProof="0" dirty="0">
                <a:ln>
                  <a:noFill/>
                </a:ln>
                <a:solidFill>
                  <a:srgbClr val="000000">
                    <a:lumMod val="75000"/>
                    <a:lumOff val="2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rPr>
              <a:t>赵六</a:t>
            </a:r>
          </a:p>
        </p:txBody>
      </p:sp>
      <p:sp>
        <p:nvSpPr>
          <p:cNvPr id="83" name="矩形 82">
            <a:extLst>
              <a:ext uri="{FF2B5EF4-FFF2-40B4-BE49-F238E27FC236}">
                <a16:creationId xmlns:a16="http://schemas.microsoft.com/office/drawing/2014/main" id="{DF9B401A-2547-43BA-9FEE-D8311B63C820}"/>
              </a:ext>
            </a:extLst>
          </p:cNvPr>
          <p:cNvSpPr/>
          <p:nvPr/>
        </p:nvSpPr>
        <p:spPr>
          <a:xfrm>
            <a:off x="7251156" y="4376613"/>
            <a:ext cx="606212" cy="107677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5720" tIns="22860" rIns="45720" bIns="228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0" lang="zh-CN" altLang="en-US" sz="1400" b="0" i="0" u="none" strike="noStrike" kern="1200" cap="none" spc="0" normalizeH="0" baseline="0" noProof="0" dirty="0">
                <a:ln>
                  <a:noFill/>
                </a:ln>
                <a:solidFill>
                  <a:srgbClr val="000000">
                    <a:lumMod val="75000"/>
                    <a:lumOff val="2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rPr>
              <a:t>张三</a:t>
            </a:r>
            <a:endParaRPr kumimoji="0" lang="en-US" altLang="zh-CN" sz="1400" b="0" i="0" u="none" strike="noStrike" kern="1200" cap="none" spc="0" normalizeH="0" baseline="0" noProof="0" dirty="0">
              <a:ln>
                <a:noFill/>
              </a:ln>
              <a:solidFill>
                <a:srgbClr val="000000">
                  <a:lumMod val="75000"/>
                  <a:lumOff val="2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a:p>
            <a:pPr marL="0" marR="0" lvl="0" indent="0" algn="ctr" defTabSz="914400" rtl="0" eaLnBrk="1" fontAlgn="auto" latinLnBrk="0" hangingPunct="1">
              <a:lnSpc>
                <a:spcPct val="120000"/>
              </a:lnSpc>
              <a:spcBef>
                <a:spcPts val="0"/>
              </a:spcBef>
              <a:spcAft>
                <a:spcPts val="0"/>
              </a:spcAft>
              <a:buClrTx/>
              <a:buSzTx/>
              <a:buFontTx/>
              <a:buNone/>
              <a:tabLst/>
              <a:defRPr/>
            </a:pPr>
            <a:r>
              <a:rPr kumimoji="0" lang="zh-CN" altLang="en-US" sz="1400" b="0" i="0" u="none" strike="noStrike" kern="1200" cap="none" spc="0" normalizeH="0" baseline="0" noProof="0" dirty="0">
                <a:ln>
                  <a:noFill/>
                </a:ln>
                <a:solidFill>
                  <a:srgbClr val="000000">
                    <a:lumMod val="75000"/>
                    <a:lumOff val="2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rPr>
              <a:t>李四</a:t>
            </a:r>
            <a:endParaRPr kumimoji="0" lang="en-US" altLang="zh-CN" sz="1400" b="0" i="0" u="none" strike="noStrike" kern="1200" cap="none" spc="0" normalizeH="0" baseline="0" noProof="0" dirty="0">
              <a:ln>
                <a:noFill/>
              </a:ln>
              <a:solidFill>
                <a:srgbClr val="000000">
                  <a:lumMod val="75000"/>
                  <a:lumOff val="2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a:p>
            <a:pPr marL="0" marR="0" lvl="0" indent="0" algn="ctr" defTabSz="914400" rtl="0" eaLnBrk="1" fontAlgn="auto" latinLnBrk="0" hangingPunct="1">
              <a:lnSpc>
                <a:spcPct val="120000"/>
              </a:lnSpc>
              <a:spcBef>
                <a:spcPts val="0"/>
              </a:spcBef>
              <a:spcAft>
                <a:spcPts val="0"/>
              </a:spcAft>
              <a:buClrTx/>
              <a:buSzTx/>
              <a:buFontTx/>
              <a:buNone/>
              <a:tabLst/>
              <a:defRPr/>
            </a:pPr>
            <a:r>
              <a:rPr kumimoji="0" lang="zh-CN" altLang="en-US" sz="1400" b="0" i="0" u="none" strike="noStrike" kern="1200" cap="none" spc="0" normalizeH="0" baseline="0" noProof="0" dirty="0">
                <a:ln>
                  <a:noFill/>
                </a:ln>
                <a:solidFill>
                  <a:srgbClr val="000000">
                    <a:lumMod val="75000"/>
                    <a:lumOff val="2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rPr>
              <a:t>王五</a:t>
            </a:r>
            <a:endParaRPr kumimoji="0" lang="en-US" altLang="zh-CN" sz="1400" b="0" i="0" u="none" strike="noStrike" kern="1200" cap="none" spc="0" normalizeH="0" baseline="0" noProof="0" dirty="0">
              <a:ln>
                <a:noFill/>
              </a:ln>
              <a:solidFill>
                <a:srgbClr val="000000">
                  <a:lumMod val="75000"/>
                  <a:lumOff val="2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a:p>
            <a:pPr marL="0" marR="0" lvl="0" indent="0" algn="ctr" defTabSz="914400" rtl="0" eaLnBrk="1" fontAlgn="auto" latinLnBrk="0" hangingPunct="1">
              <a:lnSpc>
                <a:spcPct val="120000"/>
              </a:lnSpc>
              <a:spcBef>
                <a:spcPts val="0"/>
              </a:spcBef>
              <a:spcAft>
                <a:spcPts val="0"/>
              </a:spcAft>
              <a:buClrTx/>
              <a:buSzTx/>
              <a:buFontTx/>
              <a:buNone/>
              <a:tabLst/>
              <a:defRPr/>
            </a:pPr>
            <a:r>
              <a:rPr kumimoji="0" lang="zh-CN" altLang="en-US" sz="1400" b="0" i="0" u="none" strike="noStrike" kern="1200" cap="none" spc="0" normalizeH="0" baseline="0" noProof="0" dirty="0">
                <a:ln>
                  <a:noFill/>
                </a:ln>
                <a:solidFill>
                  <a:srgbClr val="000000">
                    <a:lumMod val="75000"/>
                    <a:lumOff val="2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rPr>
              <a:t>赵六</a:t>
            </a:r>
          </a:p>
        </p:txBody>
      </p:sp>
      <p:sp>
        <p:nvSpPr>
          <p:cNvPr id="84" name="矩形 83">
            <a:extLst>
              <a:ext uri="{FF2B5EF4-FFF2-40B4-BE49-F238E27FC236}">
                <a16:creationId xmlns:a16="http://schemas.microsoft.com/office/drawing/2014/main" id="{81050B10-5A41-4B40-9E34-779363277978}"/>
              </a:ext>
            </a:extLst>
          </p:cNvPr>
          <p:cNvSpPr/>
          <p:nvPr/>
        </p:nvSpPr>
        <p:spPr>
          <a:xfrm>
            <a:off x="8710910" y="4376613"/>
            <a:ext cx="606212" cy="107677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5720" tIns="22860" rIns="45720" bIns="228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0" lang="zh-CN" altLang="en-US" sz="1400" b="0" i="0" u="none" strike="noStrike" kern="1200" cap="none" spc="0" normalizeH="0" baseline="0" noProof="0" dirty="0">
                <a:ln>
                  <a:noFill/>
                </a:ln>
                <a:solidFill>
                  <a:srgbClr val="000000">
                    <a:lumMod val="75000"/>
                    <a:lumOff val="2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rPr>
              <a:t>张三</a:t>
            </a:r>
            <a:endParaRPr kumimoji="0" lang="en-US" altLang="zh-CN" sz="1400" b="0" i="0" u="none" strike="noStrike" kern="1200" cap="none" spc="0" normalizeH="0" baseline="0" noProof="0" dirty="0">
              <a:ln>
                <a:noFill/>
              </a:ln>
              <a:solidFill>
                <a:srgbClr val="000000">
                  <a:lumMod val="75000"/>
                  <a:lumOff val="2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a:p>
            <a:pPr marL="0" marR="0" lvl="0" indent="0" algn="ctr" defTabSz="914400" rtl="0" eaLnBrk="1" fontAlgn="auto" latinLnBrk="0" hangingPunct="1">
              <a:lnSpc>
                <a:spcPct val="120000"/>
              </a:lnSpc>
              <a:spcBef>
                <a:spcPts val="0"/>
              </a:spcBef>
              <a:spcAft>
                <a:spcPts val="0"/>
              </a:spcAft>
              <a:buClrTx/>
              <a:buSzTx/>
              <a:buFontTx/>
              <a:buNone/>
              <a:tabLst/>
              <a:defRPr/>
            </a:pPr>
            <a:r>
              <a:rPr kumimoji="0" lang="zh-CN" altLang="en-US" sz="1400" b="0" i="0" u="none" strike="noStrike" kern="1200" cap="none" spc="0" normalizeH="0" baseline="0" noProof="0" dirty="0">
                <a:ln>
                  <a:noFill/>
                </a:ln>
                <a:solidFill>
                  <a:srgbClr val="000000">
                    <a:lumMod val="75000"/>
                    <a:lumOff val="2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rPr>
              <a:t>李四</a:t>
            </a:r>
            <a:endParaRPr kumimoji="0" lang="en-US" altLang="zh-CN" sz="1400" b="0" i="0" u="none" strike="noStrike" kern="1200" cap="none" spc="0" normalizeH="0" baseline="0" noProof="0" dirty="0">
              <a:ln>
                <a:noFill/>
              </a:ln>
              <a:solidFill>
                <a:srgbClr val="000000">
                  <a:lumMod val="75000"/>
                  <a:lumOff val="2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a:p>
            <a:pPr marL="0" marR="0" lvl="0" indent="0" algn="ctr" defTabSz="914400" rtl="0" eaLnBrk="1" fontAlgn="auto" latinLnBrk="0" hangingPunct="1">
              <a:lnSpc>
                <a:spcPct val="120000"/>
              </a:lnSpc>
              <a:spcBef>
                <a:spcPts val="0"/>
              </a:spcBef>
              <a:spcAft>
                <a:spcPts val="0"/>
              </a:spcAft>
              <a:buClrTx/>
              <a:buSzTx/>
              <a:buFontTx/>
              <a:buNone/>
              <a:tabLst/>
              <a:defRPr/>
            </a:pPr>
            <a:r>
              <a:rPr kumimoji="0" lang="zh-CN" altLang="en-US" sz="1400" b="0" i="0" u="none" strike="noStrike" kern="1200" cap="none" spc="0" normalizeH="0" baseline="0" noProof="0" dirty="0">
                <a:ln>
                  <a:noFill/>
                </a:ln>
                <a:solidFill>
                  <a:srgbClr val="000000">
                    <a:lumMod val="75000"/>
                    <a:lumOff val="2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rPr>
              <a:t>王五</a:t>
            </a:r>
            <a:endParaRPr kumimoji="0" lang="en-US" altLang="zh-CN" sz="1400" b="0" i="0" u="none" strike="noStrike" kern="1200" cap="none" spc="0" normalizeH="0" baseline="0" noProof="0" dirty="0">
              <a:ln>
                <a:noFill/>
              </a:ln>
              <a:solidFill>
                <a:srgbClr val="000000">
                  <a:lumMod val="75000"/>
                  <a:lumOff val="2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a:p>
            <a:pPr marL="0" marR="0" lvl="0" indent="0" algn="ctr" defTabSz="914400" rtl="0" eaLnBrk="1" fontAlgn="auto" latinLnBrk="0" hangingPunct="1">
              <a:lnSpc>
                <a:spcPct val="120000"/>
              </a:lnSpc>
              <a:spcBef>
                <a:spcPts val="0"/>
              </a:spcBef>
              <a:spcAft>
                <a:spcPts val="0"/>
              </a:spcAft>
              <a:buClrTx/>
              <a:buSzTx/>
              <a:buFontTx/>
              <a:buNone/>
              <a:tabLst/>
              <a:defRPr/>
            </a:pPr>
            <a:r>
              <a:rPr kumimoji="0" lang="zh-CN" altLang="en-US" sz="1400" b="0" i="0" u="none" strike="noStrike" kern="1200" cap="none" spc="0" normalizeH="0" baseline="0" noProof="0" dirty="0">
                <a:ln>
                  <a:noFill/>
                </a:ln>
                <a:solidFill>
                  <a:srgbClr val="000000">
                    <a:lumMod val="75000"/>
                    <a:lumOff val="2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rPr>
              <a:t>赵六</a:t>
            </a:r>
          </a:p>
        </p:txBody>
      </p:sp>
      <p:sp>
        <p:nvSpPr>
          <p:cNvPr id="86" name="矩形 85">
            <a:extLst>
              <a:ext uri="{FF2B5EF4-FFF2-40B4-BE49-F238E27FC236}">
                <a16:creationId xmlns:a16="http://schemas.microsoft.com/office/drawing/2014/main" id="{BC87A61F-8C40-43AE-B4B9-6E6ECE1D2EE4}"/>
              </a:ext>
            </a:extLst>
          </p:cNvPr>
          <p:cNvSpPr/>
          <p:nvPr/>
        </p:nvSpPr>
        <p:spPr>
          <a:xfrm>
            <a:off x="10170664" y="4376613"/>
            <a:ext cx="606212" cy="107677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5720" tIns="22860" rIns="45720" bIns="228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0" lang="zh-CN" altLang="en-US" sz="1400" b="0" i="0" u="none" strike="noStrike" kern="1200" cap="none" spc="0" normalizeH="0" baseline="0" noProof="0" dirty="0">
                <a:ln>
                  <a:noFill/>
                </a:ln>
                <a:solidFill>
                  <a:srgbClr val="000000">
                    <a:lumMod val="75000"/>
                    <a:lumOff val="2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rPr>
              <a:t>张三</a:t>
            </a:r>
            <a:endParaRPr kumimoji="0" lang="en-US" altLang="zh-CN" sz="1400" b="0" i="0" u="none" strike="noStrike" kern="1200" cap="none" spc="0" normalizeH="0" baseline="0" noProof="0" dirty="0">
              <a:ln>
                <a:noFill/>
              </a:ln>
              <a:solidFill>
                <a:srgbClr val="000000">
                  <a:lumMod val="75000"/>
                  <a:lumOff val="2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a:p>
            <a:pPr marL="0" marR="0" lvl="0" indent="0" algn="ctr" defTabSz="914400" rtl="0" eaLnBrk="1" fontAlgn="auto" latinLnBrk="0" hangingPunct="1">
              <a:lnSpc>
                <a:spcPct val="120000"/>
              </a:lnSpc>
              <a:spcBef>
                <a:spcPts val="0"/>
              </a:spcBef>
              <a:spcAft>
                <a:spcPts val="0"/>
              </a:spcAft>
              <a:buClrTx/>
              <a:buSzTx/>
              <a:buFontTx/>
              <a:buNone/>
              <a:tabLst/>
              <a:defRPr/>
            </a:pPr>
            <a:r>
              <a:rPr kumimoji="0" lang="zh-CN" altLang="en-US" sz="1400" b="0" i="0" u="none" strike="noStrike" kern="1200" cap="none" spc="0" normalizeH="0" baseline="0" noProof="0" dirty="0">
                <a:ln>
                  <a:noFill/>
                </a:ln>
                <a:solidFill>
                  <a:srgbClr val="000000">
                    <a:lumMod val="75000"/>
                    <a:lumOff val="2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rPr>
              <a:t>李四</a:t>
            </a:r>
            <a:endParaRPr kumimoji="0" lang="en-US" altLang="zh-CN" sz="1400" b="0" i="0" u="none" strike="noStrike" kern="1200" cap="none" spc="0" normalizeH="0" baseline="0" noProof="0" dirty="0">
              <a:ln>
                <a:noFill/>
              </a:ln>
              <a:solidFill>
                <a:srgbClr val="000000">
                  <a:lumMod val="75000"/>
                  <a:lumOff val="2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a:p>
            <a:pPr marL="0" marR="0" lvl="0" indent="0" algn="ctr" defTabSz="914400" rtl="0" eaLnBrk="1" fontAlgn="auto" latinLnBrk="0" hangingPunct="1">
              <a:lnSpc>
                <a:spcPct val="120000"/>
              </a:lnSpc>
              <a:spcBef>
                <a:spcPts val="0"/>
              </a:spcBef>
              <a:spcAft>
                <a:spcPts val="0"/>
              </a:spcAft>
              <a:buClrTx/>
              <a:buSzTx/>
              <a:buFontTx/>
              <a:buNone/>
              <a:tabLst/>
              <a:defRPr/>
            </a:pPr>
            <a:r>
              <a:rPr kumimoji="0" lang="zh-CN" altLang="en-US" sz="1400" b="0" i="0" u="none" strike="noStrike" kern="1200" cap="none" spc="0" normalizeH="0" baseline="0" noProof="0" dirty="0">
                <a:ln>
                  <a:noFill/>
                </a:ln>
                <a:solidFill>
                  <a:srgbClr val="000000">
                    <a:lumMod val="75000"/>
                    <a:lumOff val="2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rPr>
              <a:t>王五</a:t>
            </a:r>
            <a:endParaRPr kumimoji="0" lang="en-US" altLang="zh-CN" sz="1400" b="0" i="0" u="none" strike="noStrike" kern="1200" cap="none" spc="0" normalizeH="0" baseline="0" noProof="0" dirty="0">
              <a:ln>
                <a:noFill/>
              </a:ln>
              <a:solidFill>
                <a:srgbClr val="000000">
                  <a:lumMod val="75000"/>
                  <a:lumOff val="2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a:p>
            <a:pPr marL="0" marR="0" lvl="0" indent="0" algn="ctr" defTabSz="914400" rtl="0" eaLnBrk="1" fontAlgn="auto" latinLnBrk="0" hangingPunct="1">
              <a:lnSpc>
                <a:spcPct val="120000"/>
              </a:lnSpc>
              <a:spcBef>
                <a:spcPts val="0"/>
              </a:spcBef>
              <a:spcAft>
                <a:spcPts val="0"/>
              </a:spcAft>
              <a:buClrTx/>
              <a:buSzTx/>
              <a:buFontTx/>
              <a:buNone/>
              <a:tabLst/>
              <a:defRPr/>
            </a:pPr>
            <a:r>
              <a:rPr kumimoji="0" lang="zh-CN" altLang="en-US" sz="1400" b="0" i="0" u="none" strike="noStrike" kern="1200" cap="none" spc="0" normalizeH="0" baseline="0" noProof="0" dirty="0">
                <a:ln>
                  <a:noFill/>
                </a:ln>
                <a:solidFill>
                  <a:srgbClr val="000000">
                    <a:lumMod val="75000"/>
                    <a:lumOff val="2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rPr>
              <a:t>赵六</a:t>
            </a:r>
          </a:p>
        </p:txBody>
      </p:sp>
    </p:spTree>
    <p:extLst>
      <p:ext uri="{BB962C8B-B14F-4D97-AF65-F5344CB8AC3E}">
        <p14:creationId xmlns:p14="http://schemas.microsoft.com/office/powerpoint/2010/main" val="769896399"/>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795.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79" name="矩形 78">
            <a:extLst>
              <a:ext uri="{FF2B5EF4-FFF2-40B4-BE49-F238E27FC236}">
                <a16:creationId xmlns:a16="http://schemas.microsoft.com/office/drawing/2014/main" id="{7B21365C-A4A4-4E78-903C-F23990E7F2EF}"/>
              </a:ext>
            </a:extLst>
          </p:cNvPr>
          <p:cNvSpPr/>
          <p:nvPr/>
        </p:nvSpPr>
        <p:spPr>
          <a:xfrm>
            <a:off x="7822153" y="3769005"/>
            <a:ext cx="2515792" cy="32532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Arial"/>
              <a:ea typeface="DengXian" panose="02010600030101010101" pitchFamily="2" charset="-122"/>
              <a:cs typeface="+mn-cs"/>
            </a:endParaRPr>
          </a:p>
        </p:txBody>
      </p:sp>
      <p:sp>
        <p:nvSpPr>
          <p:cNvPr id="16" name="矩形 15">
            <a:extLst>
              <a:ext uri="{FF2B5EF4-FFF2-40B4-BE49-F238E27FC236}">
                <a16:creationId xmlns:a16="http://schemas.microsoft.com/office/drawing/2014/main" id="{68129A7D-E185-4192-88EB-03A9F2FC1FE4}"/>
              </a:ext>
            </a:extLst>
          </p:cNvPr>
          <p:cNvSpPr/>
          <p:nvPr/>
        </p:nvSpPr>
        <p:spPr>
          <a:xfrm>
            <a:off x="7822153" y="804240"/>
            <a:ext cx="2515792" cy="32532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Arial"/>
              <a:ea typeface="DengXian" panose="02010600030101010101" pitchFamily="2" charset="-122"/>
              <a:cs typeface="+mn-cs"/>
            </a:endParaRPr>
          </a:p>
        </p:txBody>
      </p:sp>
      <p:sp>
        <p:nvSpPr>
          <p:cNvPr id="63" name="矩形: 圆角 62">
            <a:extLst>
              <a:ext uri="{FF2B5EF4-FFF2-40B4-BE49-F238E27FC236}">
                <a16:creationId xmlns:a16="http://schemas.microsoft.com/office/drawing/2014/main" id="{CC67FB29-44F1-4368-A8ED-E63DCFD7454E}"/>
              </a:ext>
            </a:extLst>
          </p:cNvPr>
          <p:cNvSpPr/>
          <p:nvPr/>
        </p:nvSpPr>
        <p:spPr>
          <a:xfrm>
            <a:off x="2672300" y="2924693"/>
            <a:ext cx="2501901" cy="561457"/>
          </a:xfrm>
          <a:prstGeom prst="roundRect">
            <a:avLst>
              <a:gd name="adj" fmla="val 50000"/>
            </a:avLst>
          </a:prstGeom>
          <a:solidFill>
            <a:schemeClr val="accent1"/>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Arial"/>
              <a:ea typeface="DengXian" panose="02010600030101010101" pitchFamily="2" charset="-122"/>
              <a:cs typeface="+mn-cs"/>
            </a:endParaRPr>
          </a:p>
        </p:txBody>
      </p:sp>
      <p:sp>
        <p:nvSpPr>
          <p:cNvPr id="70" name="图形 9">
            <a:extLst>
              <a:ext uri="{FF2B5EF4-FFF2-40B4-BE49-F238E27FC236}">
                <a16:creationId xmlns:a16="http://schemas.microsoft.com/office/drawing/2014/main" id="{1AC598A6-6904-4863-AE94-2D73F8CB008E}"/>
              </a:ext>
            </a:extLst>
          </p:cNvPr>
          <p:cNvSpPr/>
          <p:nvPr/>
        </p:nvSpPr>
        <p:spPr>
          <a:xfrm>
            <a:off x="2157857" y="3717674"/>
            <a:ext cx="3528292" cy="278191"/>
          </a:xfrm>
          <a:custGeom>
            <a:avLst/>
            <a:gdLst>
              <a:gd name="connsiteX0" fmla="*/ 3521532 w 3528292"/>
              <a:gd name="connsiteY0" fmla="*/ 280489 h 285274"/>
              <a:gd name="connsiteX1" fmla="*/ 3521532 w 3528292"/>
              <a:gd name="connsiteY1" fmla="*/ 156120 h 285274"/>
              <a:gd name="connsiteX2" fmla="*/ 3356146 w 3528292"/>
              <a:gd name="connsiteY2" fmla="*/ -4786 h 285274"/>
              <a:gd name="connsiteX3" fmla="*/ 158624 w 3528292"/>
              <a:gd name="connsiteY3" fmla="*/ -4786 h 285274"/>
              <a:gd name="connsiteX4" fmla="*/ -6761 w 3528292"/>
              <a:gd name="connsiteY4" fmla="*/ 156120 h 285274"/>
              <a:gd name="connsiteX5" fmla="*/ -6761 w 3528292"/>
              <a:gd name="connsiteY5" fmla="*/ 279012 h 2852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28292" h="285274">
                <a:moveTo>
                  <a:pt x="3521532" y="280489"/>
                </a:moveTo>
                <a:lnTo>
                  <a:pt x="3521532" y="156120"/>
                </a:lnTo>
                <a:cubicBezTo>
                  <a:pt x="3521532" y="67221"/>
                  <a:pt x="3447500" y="-4786"/>
                  <a:pt x="3356146" y="-4786"/>
                </a:cubicBezTo>
                <a:lnTo>
                  <a:pt x="158624" y="-4786"/>
                </a:lnTo>
                <a:cubicBezTo>
                  <a:pt x="67340" y="-4786"/>
                  <a:pt x="-6761" y="67221"/>
                  <a:pt x="-6761" y="156120"/>
                </a:cubicBezTo>
                <a:lnTo>
                  <a:pt x="-6761" y="279012"/>
                </a:lnTo>
              </a:path>
            </a:pathLst>
          </a:custGeom>
          <a:noFill/>
          <a:ln w="19050" cap="flat">
            <a:solidFill>
              <a:schemeClr val="tx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DengXian" panose="02010600030101010101" pitchFamily="2" charset="-122"/>
              <a:cs typeface="+mn-cs"/>
            </a:endParaRPr>
          </a:p>
        </p:txBody>
      </p:sp>
      <p:sp>
        <p:nvSpPr>
          <p:cNvPr id="71" name="图形 7">
            <a:extLst>
              <a:ext uri="{FF2B5EF4-FFF2-40B4-BE49-F238E27FC236}">
                <a16:creationId xmlns:a16="http://schemas.microsoft.com/office/drawing/2014/main" id="{7C81829D-4BA4-4DB7-8BE7-FBB6B0EEF07D}"/>
              </a:ext>
            </a:extLst>
          </p:cNvPr>
          <p:cNvSpPr/>
          <p:nvPr/>
        </p:nvSpPr>
        <p:spPr>
          <a:xfrm>
            <a:off x="4832813" y="4771137"/>
            <a:ext cx="1638281" cy="273596"/>
          </a:xfrm>
          <a:custGeom>
            <a:avLst/>
            <a:gdLst>
              <a:gd name="connsiteX0" fmla="*/ 2369846 w 2376487"/>
              <a:gd name="connsiteY0" fmla="*/ 400824 h 405765"/>
              <a:gd name="connsiteX1" fmla="*/ 2369846 w 2376487"/>
              <a:gd name="connsiteY1" fmla="*/ 223658 h 405765"/>
              <a:gd name="connsiteX2" fmla="*/ 2147055 w 2376487"/>
              <a:gd name="connsiteY2" fmla="*/ -4942 h 405765"/>
              <a:gd name="connsiteX3" fmla="*/ 216149 w 2376487"/>
              <a:gd name="connsiteY3" fmla="*/ -4942 h 405765"/>
              <a:gd name="connsiteX4" fmla="*/ -6642 w 2376487"/>
              <a:gd name="connsiteY4" fmla="*/ 223658 h 405765"/>
              <a:gd name="connsiteX5" fmla="*/ -6642 w 2376487"/>
              <a:gd name="connsiteY5" fmla="*/ 398350 h 4057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76487" h="405765">
                <a:moveTo>
                  <a:pt x="2369846" y="400824"/>
                </a:moveTo>
                <a:lnTo>
                  <a:pt x="2369846" y="223658"/>
                </a:lnTo>
                <a:cubicBezTo>
                  <a:pt x="2369846" y="97452"/>
                  <a:pt x="2270024" y="-4942"/>
                  <a:pt x="2147055" y="-4942"/>
                </a:cubicBezTo>
                <a:lnTo>
                  <a:pt x="216149" y="-4942"/>
                </a:lnTo>
                <a:cubicBezTo>
                  <a:pt x="93082" y="-4942"/>
                  <a:pt x="-6642" y="97452"/>
                  <a:pt x="-6642" y="223658"/>
                </a:cubicBezTo>
                <a:lnTo>
                  <a:pt x="-6642" y="398350"/>
                </a:lnTo>
              </a:path>
            </a:pathLst>
          </a:custGeom>
          <a:noFill/>
          <a:ln w="19050" cap="flat">
            <a:solidFill>
              <a:schemeClr val="tx1"/>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DengXian" panose="02010600030101010101" pitchFamily="2" charset="-122"/>
              <a:cs typeface="+mn-cs"/>
            </a:endParaRPr>
          </a:p>
        </p:txBody>
      </p:sp>
      <p:sp>
        <p:nvSpPr>
          <p:cNvPr id="101" name="Object 101"/>
          <p:cNvSpPr txBox="1"/>
          <p:nvPr/>
        </p:nvSpPr>
        <p:spPr>
          <a:xfrm>
            <a:off x="636014" y="590194"/>
            <a:ext cx="5427170" cy="927830"/>
          </a:xfrm>
          <a:prstGeom prst="rect">
            <a:avLst/>
          </a:prstGeom>
        </p:spPr>
        <p:txBody>
          <a:bodyPr vert="horz" lIns="0" tIns="0" rIns="0" bIns="0" rtlCol="0" anchor="t" anchorCtr="0">
            <a:noAutofit/>
          </a:bodyPr>
          <a:lstStyle/>
          <a:p>
            <a:pPr marL="0" marR="0" lvl="0" indent="0" algn="l" defTabSz="457200" rtl="0" eaLnBrk="1" fontAlgn="auto" latinLnBrk="0" hangingPunct="1">
              <a:lnSpc>
                <a:spcPct val="108333"/>
              </a:lnSpc>
              <a:spcBef>
                <a:spcPts val="0"/>
              </a:spcBef>
              <a:spcAft>
                <a:spcPts val="0"/>
              </a:spcAft>
              <a:buClrTx/>
              <a:buSzTx/>
              <a:buFontTx/>
              <a:buNone/>
              <a:tabLst/>
              <a:defRPr/>
            </a:pPr>
            <a:r>
              <a:rPr kumimoji="0" lang="en-US" altLang="zh-CN" sz="2795" b="0" i="0" u="none" strike="noStrike" kern="1200" cap="none" spc="0" normalizeH="0" baseline="0" noProof="0" dirty="0">
                <a:ln>
                  <a:noFill/>
                </a:ln>
                <a:solidFill>
                  <a:srgbClr val="2C66F1"/>
                </a:solidFill>
                <a:effectLst/>
                <a:uLnTx/>
                <a:uFillTx/>
                <a:latin typeface="OPPOSans B" panose="00020600040101010101" pitchFamily="18" charset="-122"/>
                <a:ea typeface="OPPOSans B" panose="00020600040101010101" pitchFamily="18" charset="-122"/>
                <a:cs typeface="OPPOSans B" panose="00020600040101010101" pitchFamily="18" charset="-122"/>
              </a:rPr>
              <a:t>SALES ORGANIZATIONAL</a:t>
            </a:r>
            <a:endParaRPr kumimoji="0" lang="zh-CN" altLang="en-US" sz="2795" b="0" i="0" u="none" strike="noStrike" kern="1200" cap="none" spc="0" normalizeH="0" baseline="0" noProof="0" dirty="0">
              <a:ln>
                <a:noFill/>
              </a:ln>
              <a:solidFill>
                <a:srgbClr val="2C66F1"/>
              </a:solidFill>
              <a:effectLst/>
              <a:uLnTx/>
              <a:uFillTx/>
              <a:latin typeface="OPPOSans B" panose="00020600040101010101" pitchFamily="18" charset="-122"/>
              <a:ea typeface="OPPOSans B" panose="00020600040101010101" pitchFamily="18" charset="-122"/>
              <a:cs typeface="OPPOSans B" panose="00020600040101010101" pitchFamily="18" charset="-122"/>
            </a:endParaRPr>
          </a:p>
          <a:p>
            <a:pPr marL="0" marR="0" lvl="0" indent="0" algn="l" defTabSz="457200" rtl="0" eaLnBrk="1" fontAlgn="auto" latinLnBrk="0" hangingPunct="1">
              <a:lnSpc>
                <a:spcPct val="108333"/>
              </a:lnSpc>
              <a:spcBef>
                <a:spcPts val="0"/>
              </a:spcBef>
              <a:spcAft>
                <a:spcPts val="0"/>
              </a:spcAft>
              <a:buClrTx/>
              <a:buSzTx/>
              <a:buFontTx/>
              <a:buNone/>
              <a:tabLst/>
              <a:defRPr/>
            </a:pPr>
            <a:r>
              <a:rPr kumimoji="0" lang="en-US" altLang="zh-CN" sz="2795" b="0" i="0" u="none" strike="noStrike" kern="1200" cap="none" spc="0" normalizeH="0" baseline="0" noProof="0" dirty="0">
                <a:ln>
                  <a:noFill/>
                </a:ln>
                <a:solidFill>
                  <a:srgbClr val="2C66F1"/>
                </a:solidFill>
                <a:effectLst/>
                <a:uLnTx/>
                <a:uFillTx/>
                <a:latin typeface="OPPOSans B" panose="00020600040101010101" pitchFamily="18" charset="-122"/>
                <a:ea typeface="OPPOSans B" panose="00020600040101010101" pitchFamily="18" charset="-122"/>
                <a:cs typeface="OPPOSans B" panose="00020600040101010101" pitchFamily="18" charset="-122"/>
              </a:rPr>
              <a:t>STRUCTURE</a:t>
            </a:r>
            <a:endParaRPr kumimoji="0" lang="zh-CN" altLang="en-US" sz="900" b="0" i="0" u="none" strike="noStrike" kern="1200" cap="none" spc="0" normalizeH="0" baseline="0" noProof="0" dirty="0">
              <a:ln>
                <a:noFill/>
              </a:ln>
              <a:solidFill>
                <a:srgbClr val="2C66F1"/>
              </a:solidFill>
              <a:effectLst/>
              <a:uLnTx/>
              <a:uFillTx/>
              <a:latin typeface="OPPOSans B" panose="00020600040101010101" pitchFamily="18" charset="-122"/>
              <a:ea typeface="OPPOSans B" panose="00020600040101010101" pitchFamily="18" charset="-122"/>
              <a:cs typeface="OPPOSans B" panose="00020600040101010101" pitchFamily="18" charset="-122"/>
            </a:endParaRPr>
          </a:p>
        </p:txBody>
      </p:sp>
      <p:sp>
        <p:nvSpPr>
          <p:cNvPr id="103" name="Object 103"/>
          <p:cNvSpPr txBox="1"/>
          <p:nvPr/>
        </p:nvSpPr>
        <p:spPr>
          <a:xfrm>
            <a:off x="637241" y="1660602"/>
            <a:ext cx="4372240" cy="343170"/>
          </a:xfrm>
          <a:prstGeom prst="rect">
            <a:avLst/>
          </a:prstGeom>
        </p:spPr>
        <p:txBody>
          <a:bodyPr vert="horz" lIns="0" tIns="0" rIns="0" bIns="0" rtlCol="0" anchor="t" anchorCtr="0">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zh-CN" altLang="en-US" sz="2250" b="0" i="0" u="none" strike="noStrike" kern="1200" cap="none" spc="0" normalizeH="0" baseline="0" noProof="0" dirty="0">
                <a:ln>
                  <a:noFill/>
                </a:ln>
                <a:solidFill>
                  <a:srgbClr val="262626"/>
                </a:solidFill>
                <a:effectLst/>
                <a:uLnTx/>
                <a:uFillTx/>
                <a:latin typeface="OPPOSans B" panose="00020600040101010101" pitchFamily="18" charset="-122"/>
                <a:ea typeface="OPPOSans B" panose="00020600040101010101" pitchFamily="18" charset="-122"/>
                <a:cs typeface="OPPOSans B" panose="00020600040101010101" pitchFamily="18" charset="-122"/>
              </a:rPr>
              <a:t>销 </a:t>
            </a:r>
            <a:r>
              <a:rPr kumimoji="0" lang="en-US" altLang="zh-CN" sz="2250" b="0" i="0" u="none" strike="noStrike" kern="1200" cap="none" spc="0" normalizeH="0" baseline="0" noProof="0" dirty="0">
                <a:ln>
                  <a:noFill/>
                </a:ln>
                <a:solidFill>
                  <a:srgbClr val="262626"/>
                </a:solidFill>
                <a:effectLst/>
                <a:uLnTx/>
                <a:uFillTx/>
                <a:latin typeface="OPPOSans B" panose="00020600040101010101" pitchFamily="18" charset="-122"/>
                <a:ea typeface="OPPOSans B" panose="00020600040101010101" pitchFamily="18" charset="-122"/>
                <a:cs typeface="OPPOSans B" panose="00020600040101010101" pitchFamily="18" charset="-122"/>
              </a:rPr>
              <a:t>/ </a:t>
            </a:r>
            <a:r>
              <a:rPr kumimoji="0" lang="zh-CN" altLang="en-US" sz="2250" b="0" i="0" u="none" strike="noStrike" kern="1200" cap="none" spc="0" normalizeH="0" baseline="0" noProof="0" dirty="0">
                <a:ln>
                  <a:noFill/>
                </a:ln>
                <a:solidFill>
                  <a:srgbClr val="262626"/>
                </a:solidFill>
                <a:effectLst/>
                <a:uLnTx/>
                <a:uFillTx/>
                <a:latin typeface="OPPOSans B" panose="00020600040101010101" pitchFamily="18" charset="-122"/>
                <a:ea typeface="OPPOSans B" panose="00020600040101010101" pitchFamily="18" charset="-122"/>
                <a:cs typeface="OPPOSans B" panose="00020600040101010101" pitchFamily="18" charset="-122"/>
              </a:rPr>
              <a:t>售 </a:t>
            </a:r>
            <a:r>
              <a:rPr kumimoji="0" lang="en-US" altLang="zh-CN" sz="2250" b="0" i="0" u="none" strike="noStrike" kern="1200" cap="none" spc="0" normalizeH="0" baseline="0" noProof="0" dirty="0">
                <a:ln>
                  <a:noFill/>
                </a:ln>
                <a:solidFill>
                  <a:srgbClr val="262626"/>
                </a:solidFill>
                <a:effectLst/>
                <a:uLnTx/>
                <a:uFillTx/>
                <a:latin typeface="OPPOSans B" panose="00020600040101010101" pitchFamily="18" charset="-122"/>
                <a:ea typeface="OPPOSans B" panose="00020600040101010101" pitchFamily="18" charset="-122"/>
                <a:cs typeface="OPPOSans B" panose="00020600040101010101" pitchFamily="18" charset="-122"/>
              </a:rPr>
              <a:t>/ </a:t>
            </a:r>
            <a:r>
              <a:rPr kumimoji="0" lang="zh-CN" altLang="en-US" sz="2250" b="0" i="0" u="none" strike="noStrike" kern="1200" cap="none" spc="0" normalizeH="0" baseline="0" noProof="0" dirty="0">
                <a:ln>
                  <a:noFill/>
                </a:ln>
                <a:solidFill>
                  <a:srgbClr val="262626"/>
                </a:solidFill>
                <a:effectLst/>
                <a:uLnTx/>
                <a:uFillTx/>
                <a:latin typeface="OPPOSans B" panose="00020600040101010101" pitchFamily="18" charset="-122"/>
                <a:ea typeface="OPPOSans B" panose="00020600040101010101" pitchFamily="18" charset="-122"/>
                <a:cs typeface="OPPOSans B" panose="00020600040101010101" pitchFamily="18" charset="-122"/>
              </a:rPr>
              <a:t>组 </a:t>
            </a:r>
            <a:r>
              <a:rPr kumimoji="0" lang="en-US" altLang="zh-CN" sz="2250" b="0" i="0" u="none" strike="noStrike" kern="1200" cap="none" spc="0" normalizeH="0" baseline="0" noProof="0" dirty="0">
                <a:ln>
                  <a:noFill/>
                </a:ln>
                <a:solidFill>
                  <a:srgbClr val="262626"/>
                </a:solidFill>
                <a:effectLst/>
                <a:uLnTx/>
                <a:uFillTx/>
                <a:latin typeface="OPPOSans B" panose="00020600040101010101" pitchFamily="18" charset="-122"/>
                <a:ea typeface="OPPOSans B" panose="00020600040101010101" pitchFamily="18" charset="-122"/>
                <a:cs typeface="OPPOSans B" panose="00020600040101010101" pitchFamily="18" charset="-122"/>
              </a:rPr>
              <a:t>/ </a:t>
            </a:r>
            <a:r>
              <a:rPr kumimoji="0" lang="zh-CN" altLang="en-US" sz="2250" b="0" i="0" u="none" strike="noStrike" kern="1200" cap="none" spc="0" normalizeH="0" baseline="0" noProof="0" dirty="0">
                <a:ln>
                  <a:noFill/>
                </a:ln>
                <a:solidFill>
                  <a:srgbClr val="262626"/>
                </a:solidFill>
                <a:effectLst/>
                <a:uLnTx/>
                <a:uFillTx/>
                <a:latin typeface="OPPOSans B" panose="00020600040101010101" pitchFamily="18" charset="-122"/>
                <a:ea typeface="OPPOSans B" panose="00020600040101010101" pitchFamily="18" charset="-122"/>
                <a:cs typeface="OPPOSans B" panose="00020600040101010101" pitchFamily="18" charset="-122"/>
              </a:rPr>
              <a:t>织 </a:t>
            </a:r>
            <a:r>
              <a:rPr kumimoji="0" lang="en-US" altLang="zh-CN" sz="2250" b="0" i="0" u="none" strike="noStrike" kern="1200" cap="none" spc="0" normalizeH="0" baseline="0" noProof="0" dirty="0">
                <a:ln>
                  <a:noFill/>
                </a:ln>
                <a:solidFill>
                  <a:srgbClr val="262626"/>
                </a:solidFill>
                <a:effectLst/>
                <a:uLnTx/>
                <a:uFillTx/>
                <a:latin typeface="OPPOSans B" panose="00020600040101010101" pitchFamily="18" charset="-122"/>
                <a:ea typeface="OPPOSans B" panose="00020600040101010101" pitchFamily="18" charset="-122"/>
                <a:cs typeface="OPPOSans B" panose="00020600040101010101" pitchFamily="18" charset="-122"/>
              </a:rPr>
              <a:t>/ </a:t>
            </a:r>
            <a:r>
              <a:rPr kumimoji="0" lang="zh-CN" altLang="en-US" sz="2250" b="0" i="0" u="none" strike="noStrike" kern="1200" cap="none" spc="0" normalizeH="0" baseline="0" noProof="0" dirty="0">
                <a:ln>
                  <a:noFill/>
                </a:ln>
                <a:solidFill>
                  <a:srgbClr val="262626"/>
                </a:solidFill>
                <a:effectLst/>
                <a:uLnTx/>
                <a:uFillTx/>
                <a:latin typeface="OPPOSans B" panose="00020600040101010101" pitchFamily="18" charset="-122"/>
                <a:ea typeface="OPPOSans B" panose="00020600040101010101" pitchFamily="18" charset="-122"/>
                <a:cs typeface="OPPOSans B" panose="00020600040101010101" pitchFamily="18" charset="-122"/>
              </a:rPr>
              <a:t>架 </a:t>
            </a:r>
            <a:r>
              <a:rPr kumimoji="0" lang="en-US" altLang="zh-CN" sz="2250" b="0" i="0" u="none" strike="noStrike" kern="1200" cap="none" spc="0" normalizeH="0" baseline="0" noProof="0" dirty="0">
                <a:ln>
                  <a:noFill/>
                </a:ln>
                <a:solidFill>
                  <a:srgbClr val="262626"/>
                </a:solidFill>
                <a:effectLst/>
                <a:uLnTx/>
                <a:uFillTx/>
                <a:latin typeface="OPPOSans B" panose="00020600040101010101" pitchFamily="18" charset="-122"/>
                <a:ea typeface="OPPOSans B" panose="00020600040101010101" pitchFamily="18" charset="-122"/>
                <a:cs typeface="OPPOSans B" panose="00020600040101010101" pitchFamily="18" charset="-122"/>
              </a:rPr>
              <a:t>/ </a:t>
            </a:r>
            <a:r>
              <a:rPr kumimoji="0" lang="zh-CN" altLang="en-US" sz="2250" b="0" i="0" u="none" strike="noStrike" kern="1200" cap="none" spc="0" normalizeH="0" baseline="0" noProof="0" dirty="0">
                <a:ln>
                  <a:noFill/>
                </a:ln>
                <a:solidFill>
                  <a:srgbClr val="262626"/>
                </a:solidFill>
                <a:effectLst/>
                <a:uLnTx/>
                <a:uFillTx/>
                <a:latin typeface="OPPOSans B" panose="00020600040101010101" pitchFamily="18" charset="-122"/>
                <a:ea typeface="OPPOSans B" panose="00020600040101010101" pitchFamily="18" charset="-122"/>
                <a:cs typeface="OPPOSans B" panose="00020600040101010101" pitchFamily="18" charset="-122"/>
              </a:rPr>
              <a:t>构</a:t>
            </a:r>
            <a:endParaRPr kumimoji="0" lang="zh-CN" altLang="en-US" sz="900" b="0" i="0" u="none" strike="noStrike" kern="1200" cap="none" spc="0" normalizeH="0" baseline="0" noProof="0" dirty="0">
              <a:ln>
                <a:noFill/>
              </a:ln>
              <a:solidFill>
                <a:prstClr val="black"/>
              </a:solidFill>
              <a:effectLst/>
              <a:uLnTx/>
              <a:uFillTx/>
              <a:latin typeface="OPPOSans B" panose="00020600040101010101" pitchFamily="18" charset="-122"/>
              <a:ea typeface="OPPOSans B" panose="00020600040101010101" pitchFamily="18" charset="-122"/>
              <a:cs typeface="OPPOSans B" panose="00020600040101010101" pitchFamily="18" charset="-122"/>
            </a:endParaRPr>
          </a:p>
        </p:txBody>
      </p:sp>
      <p:sp>
        <p:nvSpPr>
          <p:cNvPr id="1017" name="Object 1017"/>
          <p:cNvSpPr txBox="1"/>
          <p:nvPr/>
        </p:nvSpPr>
        <p:spPr>
          <a:xfrm>
            <a:off x="3114675" y="3106001"/>
            <a:ext cx="1544265" cy="228780"/>
          </a:xfrm>
          <a:prstGeom prst="rect">
            <a:avLst/>
          </a:prstGeom>
        </p:spPr>
        <p:txBody>
          <a:bodyPr vert="horz" lIns="0" tIns="0" rIns="0" bIns="0" rtlCol="0" anchor="t" anchorCtr="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zh-CN" altLang="en-US" sz="1500" b="0" i="0" u="none" strike="noStrike" kern="1200" cap="none" spc="0" normalizeH="0" baseline="0" noProof="0" dirty="0">
                <a:ln>
                  <a:noFill/>
                </a:ln>
                <a:solidFill>
                  <a:srgbClr val="FFFFFF"/>
                </a:solidFill>
                <a:effectLst/>
                <a:uLnTx/>
                <a:uFillTx/>
                <a:latin typeface="OPPOSans B" panose="00020600040101010101" pitchFamily="18" charset="-122"/>
                <a:ea typeface="OPPOSans B" panose="00020600040101010101" pitchFamily="18" charset="-122"/>
                <a:cs typeface="OPPOSans B" panose="00020600040101010101" pitchFamily="18" charset="-122"/>
              </a:rPr>
              <a:t>销售经理</a:t>
            </a:r>
            <a:endParaRPr kumimoji="0" lang="zh-CN" altLang="en-US" sz="900" b="0" i="0" u="none" strike="noStrike" kern="1200" cap="none" spc="0" normalizeH="0" baseline="0" noProof="0">
              <a:ln>
                <a:noFill/>
              </a:ln>
              <a:solidFill>
                <a:prstClr val="black"/>
              </a:solidFill>
              <a:effectLst/>
              <a:uLnTx/>
              <a:uFillTx/>
              <a:latin typeface="OPPOSans B" panose="00020600040101010101" pitchFamily="18" charset="-122"/>
              <a:ea typeface="OPPOSans B" panose="00020600040101010101" pitchFamily="18" charset="-122"/>
              <a:cs typeface="OPPOSans B" panose="00020600040101010101" pitchFamily="18" charset="-122"/>
            </a:endParaRPr>
          </a:p>
        </p:txBody>
      </p:sp>
      <p:sp>
        <p:nvSpPr>
          <p:cNvPr id="1024" name="Object 1024"/>
          <p:cNvSpPr txBox="1"/>
          <p:nvPr/>
        </p:nvSpPr>
        <p:spPr>
          <a:xfrm>
            <a:off x="2803947" y="5949588"/>
            <a:ext cx="2236115" cy="190650"/>
          </a:xfrm>
          <a:prstGeom prst="rect">
            <a:avLst/>
          </a:prstGeom>
        </p:spPr>
        <p:txBody>
          <a:bodyPr vert="horz" lIns="0" tIns="0" rIns="0" bIns="0" rtlCol="0" anchor="t" anchorCtr="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zh-CN" altLang="en-US" sz="1250" b="0" i="0" u="none" strike="noStrike" kern="1200" cap="none" spc="0" normalizeH="0" baseline="0" noProof="0" dirty="0">
                <a:ln>
                  <a:noFill/>
                </a:ln>
                <a:solidFill>
                  <a:srgbClr val="333333"/>
                </a:solidFill>
                <a:effectLst/>
                <a:uLnTx/>
                <a:uFillTx/>
                <a:latin typeface="OPPOSans B" panose="00020600040101010101" pitchFamily="18" charset="-122"/>
                <a:ea typeface="OPPOSans B" panose="00020600040101010101" pitchFamily="18" charset="-122"/>
                <a:cs typeface="OPPOSans B" panose="00020600040101010101" pitchFamily="18" charset="-122"/>
              </a:rPr>
              <a:t>销售部组织结构</a:t>
            </a:r>
            <a:endParaRPr kumimoji="0" lang="zh-CN" altLang="en-US" sz="900" b="0" i="0" u="none" strike="noStrike" kern="1200" cap="none" spc="0" normalizeH="0" baseline="0" noProof="0" dirty="0">
              <a:ln>
                <a:noFill/>
              </a:ln>
              <a:solidFill>
                <a:prstClr val="black"/>
              </a:solidFill>
              <a:effectLst/>
              <a:uLnTx/>
              <a:uFillTx/>
              <a:latin typeface="OPPOSans B" panose="00020600040101010101" pitchFamily="18" charset="-122"/>
              <a:ea typeface="OPPOSans B" panose="00020600040101010101" pitchFamily="18" charset="-122"/>
              <a:cs typeface="OPPOSans B" panose="00020600040101010101" pitchFamily="18" charset="-122"/>
            </a:endParaRPr>
          </a:p>
        </p:txBody>
      </p:sp>
      <p:sp>
        <p:nvSpPr>
          <p:cNvPr id="1026" name="Object 1026"/>
          <p:cNvSpPr txBox="1"/>
          <p:nvPr/>
        </p:nvSpPr>
        <p:spPr>
          <a:xfrm>
            <a:off x="7942136" y="3835334"/>
            <a:ext cx="1148393" cy="228780"/>
          </a:xfrm>
          <a:prstGeom prst="rect">
            <a:avLst/>
          </a:prstGeom>
        </p:spPr>
        <p:txBody>
          <a:bodyPr vert="horz" lIns="0" tIns="0" rIns="0" bIns="0" rtlCol="0" anchor="t" anchorCtr="0">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zh-CN" altLang="en-US" sz="1500" b="0" i="0" u="none" strike="noStrike" kern="1200" cap="none" spc="0" normalizeH="0" baseline="0" noProof="0" dirty="0">
                <a:ln>
                  <a:noFill/>
                </a:ln>
                <a:solidFill>
                  <a:srgbClr val="FFFFFF"/>
                </a:solidFill>
                <a:effectLst/>
                <a:uLnTx/>
                <a:uFillTx/>
                <a:latin typeface="OPPOSans B" panose="00020600040101010101" pitchFamily="18" charset="-122"/>
                <a:ea typeface="OPPOSans B" panose="00020600040101010101" pitchFamily="18" charset="-122"/>
                <a:cs typeface="OPPOSans B" panose="00020600040101010101" pitchFamily="18" charset="-122"/>
              </a:rPr>
              <a:t>原因分析</a:t>
            </a:r>
            <a:endParaRPr kumimoji="0" lang="zh-CN" altLang="en-US" sz="900" b="0" i="0" u="none" strike="noStrike" kern="1200" cap="none" spc="0" normalizeH="0" baseline="0" noProof="0">
              <a:ln>
                <a:noFill/>
              </a:ln>
              <a:solidFill>
                <a:prstClr val="black"/>
              </a:solidFill>
              <a:effectLst/>
              <a:uLnTx/>
              <a:uFillTx/>
              <a:latin typeface="OPPOSans B" panose="00020600040101010101" pitchFamily="18" charset="-122"/>
              <a:ea typeface="OPPOSans B" panose="00020600040101010101" pitchFamily="18" charset="-122"/>
              <a:cs typeface="OPPOSans B" panose="00020600040101010101" pitchFamily="18" charset="-122"/>
            </a:endParaRPr>
          </a:p>
        </p:txBody>
      </p:sp>
      <p:sp>
        <p:nvSpPr>
          <p:cNvPr id="1027" name="Object 1027"/>
          <p:cNvSpPr txBox="1"/>
          <p:nvPr/>
        </p:nvSpPr>
        <p:spPr>
          <a:xfrm>
            <a:off x="8768953" y="3838702"/>
            <a:ext cx="1061285" cy="228780"/>
          </a:xfrm>
          <a:prstGeom prst="rect">
            <a:avLst/>
          </a:prstGeom>
        </p:spPr>
        <p:txBody>
          <a:bodyPr vert="horz" lIns="0" tIns="0" rIns="0" bIns="0" rtlCol="0" anchor="t" anchorCtr="0">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altLang="zh-CN" sz="1500" b="0" i="0" u="none" strike="noStrike" kern="1200" cap="none" spc="0" normalizeH="0" baseline="0" noProof="0" dirty="0">
                <a:ln>
                  <a:noFill/>
                </a:ln>
                <a:solidFill>
                  <a:srgbClr val="FFFFFF"/>
                </a:solidFill>
                <a:effectLst/>
                <a:uLnTx/>
                <a:uFillTx/>
                <a:latin typeface="OPPOSans B" panose="00020600040101010101" pitchFamily="18" charset="-122"/>
                <a:ea typeface="OPPOSans B" panose="00020600040101010101" pitchFamily="18" charset="-122"/>
                <a:cs typeface="OPPOSans B" panose="00020600040101010101" pitchFamily="18" charset="-122"/>
              </a:rPr>
              <a:t>Cause </a:t>
            </a:r>
            <a:endParaRPr kumimoji="0" lang="zh-CN" altLang="en-US" sz="900" b="0" i="0" u="none" strike="noStrike" kern="1200" cap="none" spc="0" normalizeH="0" baseline="0" noProof="0" dirty="0">
              <a:ln>
                <a:noFill/>
              </a:ln>
              <a:solidFill>
                <a:prstClr val="black"/>
              </a:solidFill>
              <a:effectLst/>
              <a:uLnTx/>
              <a:uFillTx/>
              <a:latin typeface="OPPOSans B" panose="00020600040101010101" pitchFamily="18" charset="-122"/>
              <a:ea typeface="OPPOSans B" panose="00020600040101010101" pitchFamily="18" charset="-122"/>
              <a:cs typeface="OPPOSans B" panose="00020600040101010101" pitchFamily="18" charset="-122"/>
            </a:endParaRPr>
          </a:p>
        </p:txBody>
      </p:sp>
      <p:sp>
        <p:nvSpPr>
          <p:cNvPr id="1028" name="Object 1028"/>
          <p:cNvSpPr txBox="1"/>
          <p:nvPr/>
        </p:nvSpPr>
        <p:spPr>
          <a:xfrm>
            <a:off x="7947598" y="4248463"/>
            <a:ext cx="3558800" cy="571950"/>
          </a:xfrm>
          <a:prstGeom prst="rect">
            <a:avLst/>
          </a:prstGeom>
        </p:spPr>
        <p:txBody>
          <a:bodyPr vert="horz" lIns="0" tIns="0" rIns="0" bIns="0" rtlCol="0" anchor="t" anchorCtr="0">
            <a:noAutofit/>
          </a:bodyPr>
          <a:lstStyle/>
          <a:p>
            <a:pPr marL="0" marR="0" lvl="0" indent="0" algn="l" defTabSz="457200" rtl="0" eaLnBrk="1" fontAlgn="auto" latinLnBrk="0" hangingPunct="1">
              <a:lnSpc>
                <a:spcPct val="150000"/>
              </a:lnSpc>
              <a:spcBef>
                <a:spcPts val="0"/>
              </a:spcBef>
              <a:spcAft>
                <a:spcPts val="0"/>
              </a:spcAft>
              <a:buClrTx/>
              <a:buSzTx/>
              <a:buFontTx/>
              <a:buNone/>
              <a:tabLst/>
              <a:defRPr/>
            </a:pPr>
            <a:r>
              <a:rPr kumimoji="0" lang="zh-CN" altLang="en-US" sz="1250" b="0" i="0" u="none" strike="noStrike" kern="1200" cap="none" spc="0" normalizeH="0" baseline="0" noProof="0" dirty="0">
                <a:ln>
                  <a:noFill/>
                </a:ln>
                <a:solidFill>
                  <a:srgbClr val="333333"/>
                </a:solidFill>
                <a:effectLst/>
                <a:uLnTx/>
                <a:uFillTx/>
                <a:latin typeface="OPPOSans R" panose="00020600040101010101" pitchFamily="18" charset="-122"/>
                <a:ea typeface="OPPOSans R" panose="00020600040101010101" pitchFamily="18" charset="-122"/>
                <a:cs typeface="OPPOSans R" panose="00020600040101010101" pitchFamily="18" charset="-122"/>
              </a:rPr>
              <a:t>售后是产品必不可少的部分，事实证明，给我们带</a:t>
            </a:r>
            <a:endParaRPr kumimoji="0" lang="zh-CN" altLang="en-US" sz="1250" b="0" i="0" u="none" strike="noStrike" kern="1200" cap="none" spc="0" normalizeH="0" baseline="0" noProof="0" dirty="0">
              <a:ln>
                <a:noFill/>
              </a:ln>
              <a:solidFill>
                <a:prstClr val="black"/>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a:p>
            <a:pPr marL="0" marR="0" lvl="0" indent="0" algn="l" defTabSz="457200" rtl="0" eaLnBrk="1" fontAlgn="auto" latinLnBrk="0" hangingPunct="1">
              <a:lnSpc>
                <a:spcPct val="150000"/>
              </a:lnSpc>
              <a:spcBef>
                <a:spcPts val="0"/>
              </a:spcBef>
              <a:spcAft>
                <a:spcPts val="0"/>
              </a:spcAft>
              <a:buClrTx/>
              <a:buSzTx/>
              <a:buFontTx/>
              <a:buNone/>
              <a:tabLst/>
              <a:defRPr/>
            </a:pPr>
            <a:r>
              <a:rPr kumimoji="0" lang="zh-CN" altLang="en-US" sz="1250" b="0" i="0" u="none" strike="noStrike" kern="1200" cap="none" spc="0" normalizeH="0" baseline="0" noProof="0" dirty="0">
                <a:ln>
                  <a:noFill/>
                </a:ln>
                <a:solidFill>
                  <a:srgbClr val="333333"/>
                </a:solidFill>
                <a:effectLst/>
                <a:uLnTx/>
                <a:uFillTx/>
                <a:latin typeface="OPPOSans R" panose="00020600040101010101" pitchFamily="18" charset="-122"/>
                <a:ea typeface="OPPOSans R" panose="00020600040101010101" pitchFamily="18" charset="-122"/>
                <a:cs typeface="OPPOSans R" panose="00020600040101010101" pitchFamily="18" charset="-122"/>
              </a:rPr>
              <a:t>来良好销售增长的决定因素，就是售后。</a:t>
            </a:r>
            <a:endParaRPr kumimoji="0" lang="zh-CN" altLang="en-US" sz="900" b="0" i="0" u="none" strike="noStrike" kern="1200" cap="none" spc="0" normalizeH="0" baseline="0" noProof="0" dirty="0">
              <a:ln>
                <a:noFill/>
              </a:ln>
              <a:solidFill>
                <a:prstClr val="black"/>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p:txBody>
      </p:sp>
      <p:sp>
        <p:nvSpPr>
          <p:cNvPr id="1030" name="Object 1030"/>
          <p:cNvSpPr txBox="1"/>
          <p:nvPr/>
        </p:nvSpPr>
        <p:spPr>
          <a:xfrm>
            <a:off x="7945993" y="5012607"/>
            <a:ext cx="3565155" cy="1143900"/>
          </a:xfrm>
          <a:prstGeom prst="rect">
            <a:avLst/>
          </a:prstGeom>
        </p:spPr>
        <p:txBody>
          <a:bodyPr vert="horz" lIns="0" tIns="0" rIns="0" bIns="0" rtlCol="0" anchor="t" anchorCtr="0">
            <a:noAutofit/>
          </a:bodyPr>
          <a:lstStyle/>
          <a:p>
            <a:pPr marL="0" marR="0" lvl="0" indent="0" algn="l" defTabSz="457200" rtl="0" eaLnBrk="1" fontAlgn="auto" latinLnBrk="0" hangingPunct="1">
              <a:lnSpc>
                <a:spcPct val="150000"/>
              </a:lnSpc>
              <a:spcBef>
                <a:spcPts val="0"/>
              </a:spcBef>
              <a:spcAft>
                <a:spcPts val="0"/>
              </a:spcAft>
              <a:buClrTx/>
              <a:buSzTx/>
              <a:buFontTx/>
              <a:buNone/>
              <a:tabLst/>
              <a:defRPr/>
            </a:pPr>
            <a:r>
              <a:rPr kumimoji="0" lang="zh-CN" altLang="en-US" sz="1250" b="0" i="0" u="none" strike="noStrike" kern="1200" cap="none" spc="0" normalizeH="0" baseline="0" noProof="0" dirty="0">
                <a:ln>
                  <a:noFill/>
                </a:ln>
                <a:solidFill>
                  <a:srgbClr val="333333"/>
                </a:solidFill>
                <a:effectLst/>
                <a:uLnTx/>
                <a:uFillTx/>
                <a:latin typeface="OPPOSans R" panose="00020600040101010101" pitchFamily="18" charset="-122"/>
                <a:ea typeface="OPPOSans R" panose="00020600040101010101" pitchFamily="18" charset="-122"/>
                <a:cs typeface="OPPOSans R" panose="00020600040101010101" pitchFamily="18" charset="-122"/>
              </a:rPr>
              <a:t>选择客户之前必须全面分析公司与品牌的优势与弱</a:t>
            </a:r>
            <a:endParaRPr kumimoji="0" lang="zh-CN" altLang="en-US" sz="1250" b="0" i="0" u="none" strike="noStrike" kern="1200" cap="none" spc="0" normalizeH="0" baseline="0" noProof="0">
              <a:ln>
                <a:noFill/>
              </a:ln>
              <a:solidFill>
                <a:prstClr val="black"/>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a:p>
            <a:pPr marL="0" marR="0" lvl="0" indent="0" algn="l" defTabSz="457200" rtl="0" eaLnBrk="1" fontAlgn="auto" latinLnBrk="0" hangingPunct="1">
              <a:lnSpc>
                <a:spcPct val="150000"/>
              </a:lnSpc>
              <a:spcBef>
                <a:spcPts val="0"/>
              </a:spcBef>
              <a:spcAft>
                <a:spcPts val="0"/>
              </a:spcAft>
              <a:buClrTx/>
              <a:buSzTx/>
              <a:buFontTx/>
              <a:buNone/>
              <a:tabLst/>
              <a:defRPr/>
            </a:pPr>
            <a:r>
              <a:rPr kumimoji="0" lang="zh-CN" altLang="en-US" sz="1250" b="0" i="0" u="none" strike="noStrike" kern="1200" cap="none" spc="0" normalizeH="0" baseline="0" noProof="0" dirty="0">
                <a:ln>
                  <a:noFill/>
                </a:ln>
                <a:solidFill>
                  <a:srgbClr val="333333"/>
                </a:solidFill>
                <a:effectLst/>
                <a:uLnTx/>
                <a:uFillTx/>
                <a:latin typeface="OPPOSans R" panose="00020600040101010101" pitchFamily="18" charset="-122"/>
                <a:ea typeface="OPPOSans R" panose="00020600040101010101" pitchFamily="18" charset="-122"/>
                <a:cs typeface="OPPOSans R" panose="00020600040101010101" pitchFamily="18" charset="-122"/>
              </a:rPr>
              <a:t>点包括自己本身的优势与弱点自己的优势能否打动</a:t>
            </a:r>
            <a:endParaRPr kumimoji="0" lang="zh-CN" altLang="en-US" sz="1250" b="0" i="0" u="none" strike="noStrike" kern="1200" cap="none" spc="0" normalizeH="0" baseline="0" noProof="0">
              <a:ln>
                <a:noFill/>
              </a:ln>
              <a:solidFill>
                <a:prstClr val="black"/>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a:p>
            <a:pPr marL="0" marR="0" lvl="0" indent="0" algn="l" defTabSz="457200" rtl="0" eaLnBrk="1" fontAlgn="auto" latinLnBrk="0" hangingPunct="1">
              <a:lnSpc>
                <a:spcPct val="150000"/>
              </a:lnSpc>
              <a:spcBef>
                <a:spcPts val="0"/>
              </a:spcBef>
              <a:spcAft>
                <a:spcPts val="0"/>
              </a:spcAft>
              <a:buClrTx/>
              <a:buSzTx/>
              <a:buFontTx/>
              <a:buNone/>
              <a:tabLst/>
              <a:defRPr/>
            </a:pPr>
            <a:r>
              <a:rPr kumimoji="0" lang="zh-CN" altLang="en-US" sz="1250" b="0" i="0" u="none" strike="noStrike" kern="1200" cap="none" spc="0" normalizeH="0" baseline="0" noProof="0" dirty="0">
                <a:ln>
                  <a:noFill/>
                </a:ln>
                <a:solidFill>
                  <a:srgbClr val="333333"/>
                </a:solidFill>
                <a:effectLst/>
                <a:uLnTx/>
                <a:uFillTx/>
                <a:latin typeface="OPPOSans R" panose="00020600040101010101" pitchFamily="18" charset="-122"/>
                <a:ea typeface="OPPOSans R" panose="00020600040101010101" pitchFamily="18" charset="-122"/>
                <a:cs typeface="OPPOSans R" panose="00020600040101010101" pitchFamily="18" charset="-122"/>
              </a:rPr>
              <a:t>客户与竞争对手相比品牌的优势能否超越对手，其</a:t>
            </a:r>
            <a:endParaRPr kumimoji="0" lang="zh-CN" altLang="en-US" sz="1250" b="0" i="0" u="none" strike="noStrike" kern="1200" cap="none" spc="0" normalizeH="0" baseline="0" noProof="0">
              <a:ln>
                <a:noFill/>
              </a:ln>
              <a:solidFill>
                <a:prstClr val="black"/>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a:p>
            <a:pPr marL="0" marR="0" lvl="0" indent="0" algn="l" defTabSz="457200" rtl="0" eaLnBrk="1" fontAlgn="auto" latinLnBrk="0" hangingPunct="1">
              <a:lnSpc>
                <a:spcPct val="150000"/>
              </a:lnSpc>
              <a:spcBef>
                <a:spcPts val="0"/>
              </a:spcBef>
              <a:spcAft>
                <a:spcPts val="0"/>
              </a:spcAft>
              <a:buClrTx/>
              <a:buSzTx/>
              <a:buFontTx/>
              <a:buNone/>
              <a:tabLst/>
              <a:defRPr/>
            </a:pPr>
            <a:r>
              <a:rPr kumimoji="0" lang="zh-CN" altLang="en-US" sz="1250" b="0" i="0" u="none" strike="noStrike" kern="1200" cap="none" spc="0" normalizeH="0" baseline="0" noProof="0" dirty="0">
                <a:ln>
                  <a:noFill/>
                </a:ln>
                <a:solidFill>
                  <a:srgbClr val="333333"/>
                </a:solidFill>
                <a:effectLst/>
                <a:uLnTx/>
                <a:uFillTx/>
                <a:latin typeface="OPPOSans R" panose="00020600040101010101" pitchFamily="18" charset="-122"/>
                <a:ea typeface="OPPOSans R" panose="00020600040101010101" pitchFamily="18" charset="-122"/>
                <a:cs typeface="OPPOSans R" panose="00020600040101010101" pitchFamily="18" charset="-122"/>
              </a:rPr>
              <a:t>次分析自己推销成功的案例。</a:t>
            </a:r>
            <a:endParaRPr kumimoji="0" lang="zh-CN" altLang="en-US" sz="900" b="0" i="0" u="none" strike="noStrike" kern="1200" cap="none" spc="0" normalizeH="0" baseline="0" noProof="0">
              <a:ln>
                <a:noFill/>
              </a:ln>
              <a:solidFill>
                <a:prstClr val="black"/>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p:txBody>
      </p:sp>
      <p:sp>
        <p:nvSpPr>
          <p:cNvPr id="1033" name="Object 1033"/>
          <p:cNvSpPr txBox="1"/>
          <p:nvPr/>
        </p:nvSpPr>
        <p:spPr>
          <a:xfrm>
            <a:off x="7946201" y="866933"/>
            <a:ext cx="1016800" cy="228780"/>
          </a:xfrm>
          <a:prstGeom prst="rect">
            <a:avLst/>
          </a:prstGeom>
        </p:spPr>
        <p:txBody>
          <a:bodyPr vert="horz" lIns="0" tIns="0" rIns="0" bIns="0" rtlCol="0" anchor="t" anchorCtr="0">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zh-CN" altLang="en-US" sz="1500" b="0" i="0" u="none" strike="noStrike" kern="1200" cap="none" spc="0" normalizeH="0" baseline="0" noProof="0" dirty="0">
                <a:ln>
                  <a:noFill/>
                </a:ln>
                <a:solidFill>
                  <a:srgbClr val="FFFFFF"/>
                </a:solidFill>
                <a:effectLst/>
                <a:uLnTx/>
                <a:uFillTx/>
                <a:latin typeface="OPPOSans B" panose="00020600040101010101" pitchFamily="18" charset="-122"/>
                <a:ea typeface="OPPOSans B" panose="00020600040101010101" pitchFamily="18" charset="-122"/>
                <a:cs typeface="OPPOSans B" panose="00020600040101010101" pitchFamily="18" charset="-122"/>
              </a:rPr>
              <a:t>数据结果</a:t>
            </a:r>
            <a:endParaRPr kumimoji="0" lang="zh-CN" altLang="en-US" sz="900" b="0" i="0" u="none" strike="noStrike" kern="1200" cap="none" spc="0" normalizeH="0" baseline="0" noProof="0">
              <a:ln>
                <a:noFill/>
              </a:ln>
              <a:solidFill>
                <a:prstClr val="black"/>
              </a:solidFill>
              <a:effectLst/>
              <a:uLnTx/>
              <a:uFillTx/>
              <a:latin typeface="OPPOSans B" panose="00020600040101010101" pitchFamily="18" charset="-122"/>
              <a:ea typeface="OPPOSans B" panose="00020600040101010101" pitchFamily="18" charset="-122"/>
              <a:cs typeface="OPPOSans B" panose="00020600040101010101" pitchFamily="18" charset="-122"/>
            </a:endParaRPr>
          </a:p>
        </p:txBody>
      </p:sp>
      <p:sp>
        <p:nvSpPr>
          <p:cNvPr id="1034" name="Object 1034"/>
          <p:cNvSpPr txBox="1"/>
          <p:nvPr/>
        </p:nvSpPr>
        <p:spPr>
          <a:xfrm>
            <a:off x="8768953" y="872864"/>
            <a:ext cx="1671365" cy="228780"/>
          </a:xfrm>
          <a:prstGeom prst="rect">
            <a:avLst/>
          </a:prstGeom>
        </p:spPr>
        <p:txBody>
          <a:bodyPr vert="horz" lIns="0" tIns="0" rIns="0" bIns="0" rtlCol="0" anchor="t" anchorCtr="0">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altLang="zh-CN" sz="1500" b="0" i="0" u="none" strike="noStrike" kern="1200" cap="none" spc="0" normalizeH="0" baseline="0" noProof="0" dirty="0">
                <a:ln>
                  <a:noFill/>
                </a:ln>
                <a:solidFill>
                  <a:srgbClr val="FFFFFF"/>
                </a:solidFill>
                <a:effectLst/>
                <a:uLnTx/>
                <a:uFillTx/>
                <a:latin typeface="OPPOSans B" panose="00020600040101010101" pitchFamily="18" charset="-122"/>
                <a:ea typeface="OPPOSans B" panose="00020600040101010101" pitchFamily="18" charset="-122"/>
                <a:cs typeface="OPPOSans B" panose="00020600040101010101" pitchFamily="18" charset="-122"/>
              </a:rPr>
              <a:t>Data structure</a:t>
            </a:r>
            <a:endParaRPr kumimoji="0" lang="zh-CN" altLang="en-US" sz="900" b="0" i="0" u="none" strike="noStrike" kern="1200" cap="none" spc="0" normalizeH="0" baseline="0" noProof="0" dirty="0">
              <a:ln>
                <a:noFill/>
              </a:ln>
              <a:solidFill>
                <a:prstClr val="black"/>
              </a:solidFill>
              <a:effectLst/>
              <a:uLnTx/>
              <a:uFillTx/>
              <a:latin typeface="OPPOSans B" panose="00020600040101010101" pitchFamily="18" charset="-122"/>
              <a:ea typeface="OPPOSans B" panose="00020600040101010101" pitchFamily="18" charset="-122"/>
              <a:cs typeface="OPPOSans B" panose="00020600040101010101" pitchFamily="18" charset="-122"/>
            </a:endParaRPr>
          </a:p>
        </p:txBody>
      </p:sp>
      <p:sp>
        <p:nvSpPr>
          <p:cNvPr id="1035" name="Object 1035"/>
          <p:cNvSpPr txBox="1"/>
          <p:nvPr/>
        </p:nvSpPr>
        <p:spPr>
          <a:xfrm>
            <a:off x="7946201" y="1304725"/>
            <a:ext cx="3565155" cy="571950"/>
          </a:xfrm>
          <a:prstGeom prst="rect">
            <a:avLst/>
          </a:prstGeom>
        </p:spPr>
        <p:txBody>
          <a:bodyPr vert="horz" lIns="0" tIns="0" rIns="0" bIns="0" rtlCol="0" anchor="t" anchorCtr="0">
            <a:noAutofit/>
          </a:bodyPr>
          <a:lstStyle/>
          <a:p>
            <a:pPr marL="0" marR="0" lvl="0" indent="0" algn="l" defTabSz="457200" rtl="0" eaLnBrk="1" fontAlgn="auto" latinLnBrk="0" hangingPunct="1">
              <a:lnSpc>
                <a:spcPct val="150000"/>
              </a:lnSpc>
              <a:spcBef>
                <a:spcPts val="0"/>
              </a:spcBef>
              <a:spcAft>
                <a:spcPts val="0"/>
              </a:spcAft>
              <a:buClrTx/>
              <a:buSzTx/>
              <a:buFontTx/>
              <a:buNone/>
              <a:tabLst/>
              <a:defRPr/>
            </a:pPr>
            <a:r>
              <a:rPr kumimoji="0" lang="zh-CN" altLang="en-US" sz="1250" b="0" i="0" u="none" strike="noStrike" kern="1200" cap="none" spc="0" normalizeH="0" baseline="0" noProof="0" dirty="0">
                <a:ln>
                  <a:noFill/>
                </a:ln>
                <a:solidFill>
                  <a:srgbClr val="333333"/>
                </a:solidFill>
                <a:effectLst/>
                <a:uLnTx/>
                <a:uFillTx/>
                <a:latin typeface="OPPOSans R" panose="00020600040101010101" pitchFamily="18" charset="-122"/>
                <a:ea typeface="OPPOSans R" panose="00020600040101010101" pitchFamily="18" charset="-122"/>
                <a:cs typeface="OPPOSans R" panose="00020600040101010101" pitchFamily="18" charset="-122"/>
              </a:rPr>
              <a:t>销售经理之下，是销售主管和拓展组长。销售主管</a:t>
            </a:r>
            <a:endParaRPr kumimoji="0" lang="zh-CN" altLang="en-US" sz="1250" b="0" i="0" u="none" strike="noStrike" kern="1200" cap="none" spc="0" normalizeH="0" baseline="0" noProof="0" dirty="0">
              <a:ln>
                <a:noFill/>
              </a:ln>
              <a:solidFill>
                <a:prstClr val="black"/>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a:p>
            <a:pPr marL="0" marR="0" lvl="0" indent="0" algn="l" defTabSz="457200" rtl="0" eaLnBrk="1" fontAlgn="auto" latinLnBrk="0" hangingPunct="1">
              <a:lnSpc>
                <a:spcPct val="150000"/>
              </a:lnSpc>
              <a:spcBef>
                <a:spcPts val="0"/>
              </a:spcBef>
              <a:spcAft>
                <a:spcPts val="0"/>
              </a:spcAft>
              <a:buClrTx/>
              <a:buSzTx/>
              <a:buFontTx/>
              <a:buNone/>
              <a:tabLst/>
              <a:defRPr/>
            </a:pPr>
            <a:r>
              <a:rPr kumimoji="0" lang="zh-CN" altLang="en-US" sz="1250" b="0" i="0" u="none" strike="noStrike" kern="1200" cap="none" spc="0" normalizeH="0" baseline="0" noProof="0" dirty="0">
                <a:ln>
                  <a:noFill/>
                </a:ln>
                <a:solidFill>
                  <a:srgbClr val="333333"/>
                </a:solidFill>
                <a:effectLst/>
                <a:uLnTx/>
                <a:uFillTx/>
                <a:latin typeface="OPPOSans R" panose="00020600040101010101" pitchFamily="18" charset="-122"/>
                <a:ea typeface="OPPOSans R" panose="00020600040101010101" pitchFamily="18" charset="-122"/>
                <a:cs typeface="OPPOSans R" panose="00020600040101010101" pitchFamily="18" charset="-122"/>
              </a:rPr>
              <a:t>管理置业顾问，拓展组长管理拓展专员。</a:t>
            </a:r>
            <a:endParaRPr kumimoji="0" lang="zh-CN" altLang="en-US" sz="900" b="0" i="0" u="none" strike="noStrike" kern="1200" cap="none" spc="0" normalizeH="0" baseline="0" noProof="0" dirty="0">
              <a:ln>
                <a:noFill/>
              </a:ln>
              <a:solidFill>
                <a:prstClr val="black"/>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p:txBody>
      </p:sp>
      <p:sp>
        <p:nvSpPr>
          <p:cNvPr id="1037" name="Object 1037"/>
          <p:cNvSpPr txBox="1"/>
          <p:nvPr/>
        </p:nvSpPr>
        <p:spPr>
          <a:xfrm>
            <a:off x="7946201" y="2105379"/>
            <a:ext cx="2275090" cy="190650"/>
          </a:xfrm>
          <a:prstGeom prst="rect">
            <a:avLst/>
          </a:prstGeom>
        </p:spPr>
        <p:txBody>
          <a:bodyPr vert="horz" lIns="0" tIns="0" rIns="0" bIns="0" rtlCol="0" anchor="t" anchorCtr="0">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zh-CN" altLang="en-US" sz="1250" b="0" i="0" u="none" strike="noStrike" kern="1200" cap="none" spc="0" normalizeH="0" baseline="0" noProof="0" dirty="0">
                <a:ln>
                  <a:noFill/>
                </a:ln>
                <a:solidFill>
                  <a:srgbClr val="333333"/>
                </a:solidFill>
                <a:effectLst/>
                <a:uLnTx/>
                <a:uFillTx/>
                <a:latin typeface="OPPOSans R" panose="00020600040101010101" pitchFamily="18" charset="-122"/>
                <a:ea typeface="OPPOSans R" panose="00020600040101010101" pitchFamily="18" charset="-122"/>
                <a:cs typeface="OPPOSans R" panose="00020600040101010101" pitchFamily="18" charset="-122"/>
              </a:rPr>
              <a:t>销售经理统筹整个团队的工作。</a:t>
            </a:r>
            <a:endParaRPr kumimoji="0" lang="zh-CN" altLang="en-US" sz="900" b="0" i="0" u="none" strike="noStrike" kern="1200" cap="none" spc="0" normalizeH="0" baseline="0" noProof="0">
              <a:ln>
                <a:noFill/>
              </a:ln>
              <a:solidFill>
                <a:prstClr val="black"/>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p:txBody>
      </p:sp>
      <p:cxnSp>
        <p:nvCxnSpPr>
          <p:cNvPr id="3" name="直接连接符 2">
            <a:extLst>
              <a:ext uri="{FF2B5EF4-FFF2-40B4-BE49-F238E27FC236}">
                <a16:creationId xmlns:a16="http://schemas.microsoft.com/office/drawing/2014/main" id="{DC57CF98-7611-4746-BA8F-5B4725734470}"/>
              </a:ext>
            </a:extLst>
          </p:cNvPr>
          <p:cNvCxnSpPr>
            <a:cxnSpLocks/>
          </p:cNvCxnSpPr>
          <p:nvPr/>
        </p:nvCxnSpPr>
        <p:spPr>
          <a:xfrm>
            <a:off x="7490893" y="804240"/>
            <a:ext cx="0" cy="5335998"/>
          </a:xfrm>
          <a:prstGeom prst="line">
            <a:avLst/>
          </a:prstGeom>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4" name="矩形 3">
            <a:extLst>
              <a:ext uri="{FF2B5EF4-FFF2-40B4-BE49-F238E27FC236}">
                <a16:creationId xmlns:a16="http://schemas.microsoft.com/office/drawing/2014/main" id="{8BA342CD-B463-4E10-BA11-6790241725AD}"/>
              </a:ext>
            </a:extLst>
          </p:cNvPr>
          <p:cNvSpPr/>
          <p:nvPr/>
        </p:nvSpPr>
        <p:spPr>
          <a:xfrm>
            <a:off x="7822154" y="1415416"/>
            <a:ext cx="77722" cy="7772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Arial"/>
              <a:ea typeface="DengXian" panose="02010600030101010101" pitchFamily="2" charset="-122"/>
              <a:cs typeface="+mn-cs"/>
            </a:endParaRPr>
          </a:p>
        </p:txBody>
      </p:sp>
      <p:sp>
        <p:nvSpPr>
          <p:cNvPr id="44" name="矩形 43">
            <a:extLst>
              <a:ext uri="{FF2B5EF4-FFF2-40B4-BE49-F238E27FC236}">
                <a16:creationId xmlns:a16="http://schemas.microsoft.com/office/drawing/2014/main" id="{169D0C09-ADCE-4613-8AAD-F4CC1ABD3075}"/>
              </a:ext>
            </a:extLst>
          </p:cNvPr>
          <p:cNvSpPr/>
          <p:nvPr/>
        </p:nvSpPr>
        <p:spPr>
          <a:xfrm>
            <a:off x="7822154" y="2169754"/>
            <a:ext cx="77722" cy="7772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Arial"/>
              <a:ea typeface="DengXian" panose="02010600030101010101" pitchFamily="2" charset="-122"/>
              <a:cs typeface="+mn-cs"/>
            </a:endParaRPr>
          </a:p>
        </p:txBody>
      </p:sp>
      <p:sp>
        <p:nvSpPr>
          <p:cNvPr id="45" name="矩形 44">
            <a:extLst>
              <a:ext uri="{FF2B5EF4-FFF2-40B4-BE49-F238E27FC236}">
                <a16:creationId xmlns:a16="http://schemas.microsoft.com/office/drawing/2014/main" id="{17C777DE-D264-4165-AB9F-6A5D0FA5DA11}"/>
              </a:ext>
            </a:extLst>
          </p:cNvPr>
          <p:cNvSpPr/>
          <p:nvPr/>
        </p:nvSpPr>
        <p:spPr>
          <a:xfrm>
            <a:off x="7822154" y="4364910"/>
            <a:ext cx="77722" cy="7772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Arial"/>
              <a:ea typeface="DengXian" panose="02010600030101010101" pitchFamily="2" charset="-122"/>
              <a:cs typeface="+mn-cs"/>
            </a:endParaRPr>
          </a:p>
        </p:txBody>
      </p:sp>
      <p:sp>
        <p:nvSpPr>
          <p:cNvPr id="46" name="矩形 45">
            <a:extLst>
              <a:ext uri="{FF2B5EF4-FFF2-40B4-BE49-F238E27FC236}">
                <a16:creationId xmlns:a16="http://schemas.microsoft.com/office/drawing/2014/main" id="{29CA0586-D008-4F82-88A6-13A66920F386}"/>
              </a:ext>
            </a:extLst>
          </p:cNvPr>
          <p:cNvSpPr/>
          <p:nvPr/>
        </p:nvSpPr>
        <p:spPr>
          <a:xfrm>
            <a:off x="7822154" y="5142153"/>
            <a:ext cx="77722" cy="7772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Arial"/>
              <a:ea typeface="DengXian" panose="02010600030101010101" pitchFamily="2" charset="-122"/>
              <a:cs typeface="+mn-cs"/>
            </a:endParaRPr>
          </a:p>
        </p:txBody>
      </p:sp>
      <p:sp>
        <p:nvSpPr>
          <p:cNvPr id="72" name="图形 7">
            <a:extLst>
              <a:ext uri="{FF2B5EF4-FFF2-40B4-BE49-F238E27FC236}">
                <a16:creationId xmlns:a16="http://schemas.microsoft.com/office/drawing/2014/main" id="{5FC3411F-A029-4115-A91A-CC3322462938}"/>
              </a:ext>
            </a:extLst>
          </p:cNvPr>
          <p:cNvSpPr/>
          <p:nvPr/>
        </p:nvSpPr>
        <p:spPr>
          <a:xfrm>
            <a:off x="1328892" y="4771137"/>
            <a:ext cx="1638281" cy="273596"/>
          </a:xfrm>
          <a:custGeom>
            <a:avLst/>
            <a:gdLst>
              <a:gd name="connsiteX0" fmla="*/ 2369846 w 2376487"/>
              <a:gd name="connsiteY0" fmla="*/ 400824 h 405765"/>
              <a:gd name="connsiteX1" fmla="*/ 2369846 w 2376487"/>
              <a:gd name="connsiteY1" fmla="*/ 223658 h 405765"/>
              <a:gd name="connsiteX2" fmla="*/ 2147055 w 2376487"/>
              <a:gd name="connsiteY2" fmla="*/ -4942 h 405765"/>
              <a:gd name="connsiteX3" fmla="*/ 216149 w 2376487"/>
              <a:gd name="connsiteY3" fmla="*/ -4942 h 405765"/>
              <a:gd name="connsiteX4" fmla="*/ -6642 w 2376487"/>
              <a:gd name="connsiteY4" fmla="*/ 223658 h 405765"/>
              <a:gd name="connsiteX5" fmla="*/ -6642 w 2376487"/>
              <a:gd name="connsiteY5" fmla="*/ 398350 h 4057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76487" h="405765">
                <a:moveTo>
                  <a:pt x="2369846" y="400824"/>
                </a:moveTo>
                <a:lnTo>
                  <a:pt x="2369846" y="223658"/>
                </a:lnTo>
                <a:cubicBezTo>
                  <a:pt x="2369846" y="97452"/>
                  <a:pt x="2270024" y="-4942"/>
                  <a:pt x="2147055" y="-4942"/>
                </a:cubicBezTo>
                <a:lnTo>
                  <a:pt x="216149" y="-4942"/>
                </a:lnTo>
                <a:cubicBezTo>
                  <a:pt x="93082" y="-4942"/>
                  <a:pt x="-6642" y="97452"/>
                  <a:pt x="-6642" y="223658"/>
                </a:cubicBezTo>
                <a:lnTo>
                  <a:pt x="-6642" y="398350"/>
                </a:lnTo>
              </a:path>
            </a:pathLst>
          </a:custGeom>
          <a:noFill/>
          <a:ln w="19050" cap="flat">
            <a:solidFill>
              <a:schemeClr val="tx1"/>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DengXian" panose="02010600030101010101" pitchFamily="2" charset="-122"/>
              <a:cs typeface="+mn-cs"/>
            </a:endParaRPr>
          </a:p>
        </p:txBody>
      </p:sp>
      <p:cxnSp>
        <p:nvCxnSpPr>
          <p:cNvPr id="14" name="直接连接符 13">
            <a:extLst>
              <a:ext uri="{FF2B5EF4-FFF2-40B4-BE49-F238E27FC236}">
                <a16:creationId xmlns:a16="http://schemas.microsoft.com/office/drawing/2014/main" id="{7627E53C-E39C-4083-9CDA-EC0BA9984E69}"/>
              </a:ext>
            </a:extLst>
          </p:cNvPr>
          <p:cNvCxnSpPr>
            <a:cxnSpLocks/>
          </p:cNvCxnSpPr>
          <p:nvPr/>
        </p:nvCxnSpPr>
        <p:spPr>
          <a:xfrm>
            <a:off x="3891887" y="3486150"/>
            <a:ext cx="0" cy="231524"/>
          </a:xfrm>
          <a:prstGeom prst="line">
            <a:avLst/>
          </a:prstGeom>
          <a:noFill/>
          <a:ln w="19050" cap="flat">
            <a:solidFill>
              <a:schemeClr val="tx1"/>
            </a:solidFill>
            <a:prstDash val="solid"/>
            <a:miter/>
          </a:ln>
        </p:spPr>
      </p:cxnSp>
      <p:cxnSp>
        <p:nvCxnSpPr>
          <p:cNvPr id="76" name="直接连接符 75">
            <a:extLst>
              <a:ext uri="{FF2B5EF4-FFF2-40B4-BE49-F238E27FC236}">
                <a16:creationId xmlns:a16="http://schemas.microsoft.com/office/drawing/2014/main" id="{66177965-5687-4812-ABFC-D3D8E21E969F}"/>
              </a:ext>
            </a:extLst>
          </p:cNvPr>
          <p:cNvCxnSpPr>
            <a:cxnSpLocks/>
          </p:cNvCxnSpPr>
          <p:nvPr/>
        </p:nvCxnSpPr>
        <p:spPr>
          <a:xfrm>
            <a:off x="5673845" y="4534533"/>
            <a:ext cx="0" cy="231524"/>
          </a:xfrm>
          <a:prstGeom prst="line">
            <a:avLst/>
          </a:prstGeom>
          <a:noFill/>
          <a:ln w="19050" cap="flat">
            <a:solidFill>
              <a:schemeClr val="tx1"/>
            </a:solidFill>
            <a:prstDash val="solid"/>
            <a:miter/>
          </a:ln>
        </p:spPr>
      </p:cxnSp>
      <p:cxnSp>
        <p:nvCxnSpPr>
          <p:cNvPr id="77" name="直接连接符 76">
            <a:extLst>
              <a:ext uri="{FF2B5EF4-FFF2-40B4-BE49-F238E27FC236}">
                <a16:creationId xmlns:a16="http://schemas.microsoft.com/office/drawing/2014/main" id="{02528E55-E4CE-4148-8C9A-A544A6AB06C0}"/>
              </a:ext>
            </a:extLst>
          </p:cNvPr>
          <p:cNvCxnSpPr>
            <a:cxnSpLocks/>
          </p:cNvCxnSpPr>
          <p:nvPr/>
        </p:nvCxnSpPr>
        <p:spPr>
          <a:xfrm>
            <a:off x="2162422" y="4534533"/>
            <a:ext cx="0" cy="231524"/>
          </a:xfrm>
          <a:prstGeom prst="line">
            <a:avLst/>
          </a:prstGeom>
          <a:noFill/>
          <a:ln w="19050" cap="flat">
            <a:solidFill>
              <a:schemeClr val="tx1"/>
            </a:solidFill>
            <a:prstDash val="solid"/>
            <a:miter/>
          </a:ln>
        </p:spPr>
      </p:cxnSp>
      <p:sp>
        <p:nvSpPr>
          <p:cNvPr id="64" name="矩形: 圆角 63">
            <a:extLst>
              <a:ext uri="{FF2B5EF4-FFF2-40B4-BE49-F238E27FC236}">
                <a16:creationId xmlns:a16="http://schemas.microsoft.com/office/drawing/2014/main" id="{F75F8242-6E57-4F20-ADC9-057D4D9AA4C6}"/>
              </a:ext>
            </a:extLst>
          </p:cNvPr>
          <p:cNvSpPr/>
          <p:nvPr/>
        </p:nvSpPr>
        <p:spPr>
          <a:xfrm>
            <a:off x="964154" y="3981462"/>
            <a:ext cx="2501901" cy="561457"/>
          </a:xfrm>
          <a:prstGeom prst="roundRect">
            <a:avLst>
              <a:gd name="adj" fmla="val 50000"/>
            </a:avLst>
          </a:prstGeom>
          <a:solidFill>
            <a:schemeClr val="accent1"/>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Arial"/>
              <a:ea typeface="DengXian" panose="02010600030101010101" pitchFamily="2" charset="-122"/>
              <a:cs typeface="+mn-cs"/>
            </a:endParaRPr>
          </a:p>
        </p:txBody>
      </p:sp>
      <p:sp>
        <p:nvSpPr>
          <p:cNvPr id="65" name="矩形: 圆角 64">
            <a:extLst>
              <a:ext uri="{FF2B5EF4-FFF2-40B4-BE49-F238E27FC236}">
                <a16:creationId xmlns:a16="http://schemas.microsoft.com/office/drawing/2014/main" id="{395ED9A7-4483-4BAE-AD7E-F1F36FE7DE7E}"/>
              </a:ext>
            </a:extLst>
          </p:cNvPr>
          <p:cNvSpPr/>
          <p:nvPr/>
        </p:nvSpPr>
        <p:spPr>
          <a:xfrm>
            <a:off x="4368799" y="3981462"/>
            <a:ext cx="2501901" cy="561457"/>
          </a:xfrm>
          <a:prstGeom prst="roundRect">
            <a:avLst>
              <a:gd name="adj" fmla="val 50000"/>
            </a:avLst>
          </a:prstGeom>
          <a:solidFill>
            <a:schemeClr val="accent1"/>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Arial"/>
              <a:ea typeface="DengXian" panose="02010600030101010101" pitchFamily="2" charset="-122"/>
              <a:cs typeface="+mn-cs"/>
            </a:endParaRPr>
          </a:p>
        </p:txBody>
      </p:sp>
      <p:sp>
        <p:nvSpPr>
          <p:cNvPr id="1018" name="Object 1018"/>
          <p:cNvSpPr txBox="1"/>
          <p:nvPr/>
        </p:nvSpPr>
        <p:spPr>
          <a:xfrm>
            <a:off x="1398218" y="4132863"/>
            <a:ext cx="1628704" cy="228780"/>
          </a:xfrm>
          <a:prstGeom prst="rect">
            <a:avLst/>
          </a:prstGeom>
        </p:spPr>
        <p:txBody>
          <a:bodyPr vert="horz" lIns="0" tIns="0" rIns="0" bIns="0" rtlCol="0" anchor="t" anchorCtr="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zh-CN" altLang="en-US" sz="1500" b="0" i="0" u="none" strike="noStrike" kern="1200" cap="none" spc="0" normalizeH="0" baseline="0" noProof="0" dirty="0">
                <a:ln>
                  <a:noFill/>
                </a:ln>
                <a:solidFill>
                  <a:srgbClr val="FFFFFF"/>
                </a:solidFill>
                <a:effectLst/>
                <a:uLnTx/>
                <a:uFillTx/>
                <a:latin typeface="OPPOSans B" panose="00020600040101010101" pitchFamily="18" charset="-122"/>
                <a:ea typeface="OPPOSans B" panose="00020600040101010101" pitchFamily="18" charset="-122"/>
                <a:cs typeface="OPPOSans B" panose="00020600040101010101" pitchFamily="18" charset="-122"/>
              </a:rPr>
              <a:t>销售主管</a:t>
            </a:r>
            <a:endParaRPr kumimoji="0" lang="zh-CN" altLang="en-US" sz="900" b="0" i="0" u="none" strike="noStrike" kern="1200" cap="none" spc="0" normalizeH="0" baseline="0" noProof="0">
              <a:ln>
                <a:noFill/>
              </a:ln>
              <a:solidFill>
                <a:prstClr val="black"/>
              </a:solidFill>
              <a:effectLst/>
              <a:uLnTx/>
              <a:uFillTx/>
              <a:latin typeface="OPPOSans B" panose="00020600040101010101" pitchFamily="18" charset="-122"/>
              <a:ea typeface="OPPOSans B" panose="00020600040101010101" pitchFamily="18" charset="-122"/>
              <a:cs typeface="OPPOSans B" panose="00020600040101010101" pitchFamily="18" charset="-122"/>
            </a:endParaRPr>
          </a:p>
        </p:txBody>
      </p:sp>
      <p:sp>
        <p:nvSpPr>
          <p:cNvPr id="1019" name="Object 1019"/>
          <p:cNvSpPr txBox="1"/>
          <p:nvPr/>
        </p:nvSpPr>
        <p:spPr>
          <a:xfrm>
            <a:off x="4797110" y="4132863"/>
            <a:ext cx="1638128" cy="228780"/>
          </a:xfrm>
          <a:prstGeom prst="rect">
            <a:avLst/>
          </a:prstGeom>
        </p:spPr>
        <p:txBody>
          <a:bodyPr vert="horz" lIns="0" tIns="0" rIns="0" bIns="0" rtlCol="0" anchor="t" anchorCtr="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zh-CN" altLang="en-US" sz="1500" b="0" i="0" u="none" strike="noStrike" kern="1200" cap="none" spc="0" normalizeH="0" baseline="0" noProof="0" dirty="0">
                <a:ln>
                  <a:noFill/>
                </a:ln>
                <a:solidFill>
                  <a:srgbClr val="FFFFFF"/>
                </a:solidFill>
                <a:effectLst/>
                <a:uLnTx/>
                <a:uFillTx/>
                <a:latin typeface="OPPOSans B" panose="00020600040101010101" pitchFamily="18" charset="-122"/>
                <a:ea typeface="OPPOSans B" panose="00020600040101010101" pitchFamily="18" charset="-122"/>
                <a:cs typeface="OPPOSans B" panose="00020600040101010101" pitchFamily="18" charset="-122"/>
              </a:rPr>
              <a:t>拓展组长</a:t>
            </a:r>
            <a:endParaRPr kumimoji="0" lang="zh-CN" altLang="en-US" sz="900" b="0" i="0" u="none" strike="noStrike" kern="1200" cap="none" spc="0" normalizeH="0" baseline="0" noProof="0" dirty="0">
              <a:ln>
                <a:noFill/>
              </a:ln>
              <a:solidFill>
                <a:prstClr val="black"/>
              </a:solidFill>
              <a:effectLst/>
              <a:uLnTx/>
              <a:uFillTx/>
              <a:latin typeface="OPPOSans B" panose="00020600040101010101" pitchFamily="18" charset="-122"/>
              <a:ea typeface="OPPOSans B" panose="00020600040101010101" pitchFamily="18" charset="-122"/>
              <a:cs typeface="OPPOSans B" panose="00020600040101010101" pitchFamily="18" charset="-122"/>
            </a:endParaRPr>
          </a:p>
        </p:txBody>
      </p:sp>
      <p:sp>
        <p:nvSpPr>
          <p:cNvPr id="66" name="矩形: 圆角 65">
            <a:extLst>
              <a:ext uri="{FF2B5EF4-FFF2-40B4-BE49-F238E27FC236}">
                <a16:creationId xmlns:a16="http://schemas.microsoft.com/office/drawing/2014/main" id="{0A1A7654-D037-4FB2-B842-7ED5D027C4E2}"/>
              </a:ext>
            </a:extLst>
          </p:cNvPr>
          <p:cNvSpPr/>
          <p:nvPr/>
        </p:nvSpPr>
        <p:spPr>
          <a:xfrm>
            <a:off x="636014" y="5027659"/>
            <a:ext cx="1512019" cy="561457"/>
          </a:xfrm>
          <a:prstGeom prst="roundRect">
            <a:avLst>
              <a:gd name="adj" fmla="val 50000"/>
            </a:avLst>
          </a:prstGeom>
          <a:solidFill>
            <a:schemeClr val="accent1"/>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Arial"/>
              <a:ea typeface="DengXian" panose="02010600030101010101" pitchFamily="2" charset="-122"/>
              <a:cs typeface="+mn-cs"/>
            </a:endParaRPr>
          </a:p>
        </p:txBody>
      </p:sp>
      <p:sp>
        <p:nvSpPr>
          <p:cNvPr id="67" name="矩形: 圆角 66">
            <a:extLst>
              <a:ext uri="{FF2B5EF4-FFF2-40B4-BE49-F238E27FC236}">
                <a16:creationId xmlns:a16="http://schemas.microsoft.com/office/drawing/2014/main" id="{36DD9480-B670-49A8-B992-172CAD3C6F93}"/>
              </a:ext>
            </a:extLst>
          </p:cNvPr>
          <p:cNvSpPr/>
          <p:nvPr/>
        </p:nvSpPr>
        <p:spPr>
          <a:xfrm>
            <a:off x="2303442" y="5027659"/>
            <a:ext cx="1512019" cy="561457"/>
          </a:xfrm>
          <a:prstGeom prst="roundRect">
            <a:avLst>
              <a:gd name="adj" fmla="val 50000"/>
            </a:avLst>
          </a:prstGeom>
          <a:solidFill>
            <a:schemeClr val="accent1"/>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Arial"/>
              <a:ea typeface="DengXian" panose="02010600030101010101" pitchFamily="2" charset="-122"/>
              <a:cs typeface="+mn-cs"/>
            </a:endParaRPr>
          </a:p>
        </p:txBody>
      </p:sp>
      <p:sp>
        <p:nvSpPr>
          <p:cNvPr id="68" name="矩形: 圆角 67">
            <a:extLst>
              <a:ext uri="{FF2B5EF4-FFF2-40B4-BE49-F238E27FC236}">
                <a16:creationId xmlns:a16="http://schemas.microsoft.com/office/drawing/2014/main" id="{E14FFF37-63BF-4F80-9252-3B7D51735B51}"/>
              </a:ext>
            </a:extLst>
          </p:cNvPr>
          <p:cNvSpPr/>
          <p:nvPr/>
        </p:nvSpPr>
        <p:spPr>
          <a:xfrm>
            <a:off x="3996812" y="5027659"/>
            <a:ext cx="1512019" cy="561457"/>
          </a:xfrm>
          <a:prstGeom prst="roundRect">
            <a:avLst>
              <a:gd name="adj" fmla="val 50000"/>
            </a:avLst>
          </a:prstGeom>
          <a:solidFill>
            <a:schemeClr val="accent1"/>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Arial"/>
              <a:ea typeface="DengXian" panose="02010600030101010101" pitchFamily="2" charset="-122"/>
              <a:cs typeface="+mn-cs"/>
            </a:endParaRPr>
          </a:p>
        </p:txBody>
      </p:sp>
      <p:sp>
        <p:nvSpPr>
          <p:cNvPr id="69" name="矩形: 圆角 68">
            <a:extLst>
              <a:ext uri="{FF2B5EF4-FFF2-40B4-BE49-F238E27FC236}">
                <a16:creationId xmlns:a16="http://schemas.microsoft.com/office/drawing/2014/main" id="{319A362E-1C5F-4A72-8BD6-3DB314E19DD5}"/>
              </a:ext>
            </a:extLst>
          </p:cNvPr>
          <p:cNvSpPr/>
          <p:nvPr/>
        </p:nvSpPr>
        <p:spPr>
          <a:xfrm>
            <a:off x="5683398" y="5027659"/>
            <a:ext cx="1512019" cy="561457"/>
          </a:xfrm>
          <a:prstGeom prst="roundRect">
            <a:avLst>
              <a:gd name="adj" fmla="val 50000"/>
            </a:avLst>
          </a:prstGeom>
          <a:solidFill>
            <a:schemeClr val="accent1"/>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Arial"/>
              <a:ea typeface="DengXian" panose="02010600030101010101" pitchFamily="2" charset="-122"/>
              <a:cs typeface="+mn-cs"/>
            </a:endParaRPr>
          </a:p>
        </p:txBody>
      </p:sp>
      <p:sp>
        <p:nvSpPr>
          <p:cNvPr id="1020" name="Object 1020"/>
          <p:cNvSpPr txBox="1"/>
          <p:nvPr/>
        </p:nvSpPr>
        <p:spPr>
          <a:xfrm>
            <a:off x="826624" y="5196427"/>
            <a:ext cx="1135982" cy="228780"/>
          </a:xfrm>
          <a:prstGeom prst="rect">
            <a:avLst/>
          </a:prstGeom>
        </p:spPr>
        <p:txBody>
          <a:bodyPr vert="horz" lIns="0" tIns="0" rIns="0" bIns="0" rtlCol="0" anchor="t" anchorCtr="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zh-CN" altLang="en-US" sz="1500" b="0" i="0" u="none" strike="noStrike" kern="1200" cap="none" spc="0" normalizeH="0" baseline="0" noProof="0" dirty="0">
                <a:ln>
                  <a:noFill/>
                </a:ln>
                <a:solidFill>
                  <a:srgbClr val="FFFFFF"/>
                </a:solidFill>
                <a:effectLst/>
                <a:uLnTx/>
                <a:uFillTx/>
                <a:latin typeface="OPPOSans B" panose="00020600040101010101" pitchFamily="18" charset="-122"/>
                <a:ea typeface="OPPOSans B" panose="00020600040101010101" pitchFamily="18" charset="-122"/>
                <a:cs typeface="OPPOSans B" panose="00020600040101010101" pitchFamily="18" charset="-122"/>
              </a:rPr>
              <a:t>置业顾问</a:t>
            </a:r>
            <a:endParaRPr kumimoji="0" lang="zh-CN" altLang="en-US" sz="900" b="0" i="0" u="none" strike="noStrike" kern="1200" cap="none" spc="0" normalizeH="0" baseline="0" noProof="0">
              <a:ln>
                <a:noFill/>
              </a:ln>
              <a:solidFill>
                <a:prstClr val="black"/>
              </a:solidFill>
              <a:effectLst/>
              <a:uLnTx/>
              <a:uFillTx/>
              <a:latin typeface="OPPOSans B" panose="00020600040101010101" pitchFamily="18" charset="-122"/>
              <a:ea typeface="OPPOSans B" panose="00020600040101010101" pitchFamily="18" charset="-122"/>
              <a:cs typeface="OPPOSans B" panose="00020600040101010101" pitchFamily="18" charset="-122"/>
            </a:endParaRPr>
          </a:p>
        </p:txBody>
      </p:sp>
      <p:sp>
        <p:nvSpPr>
          <p:cNvPr id="1021" name="Object 1021"/>
          <p:cNvSpPr txBox="1"/>
          <p:nvPr/>
        </p:nvSpPr>
        <p:spPr>
          <a:xfrm>
            <a:off x="2509274" y="5196427"/>
            <a:ext cx="1135785" cy="228780"/>
          </a:xfrm>
          <a:prstGeom prst="rect">
            <a:avLst/>
          </a:prstGeom>
        </p:spPr>
        <p:txBody>
          <a:bodyPr vert="horz" lIns="0" tIns="0" rIns="0" bIns="0" rtlCol="0" anchor="t" anchorCtr="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zh-CN" altLang="en-US" sz="1500" b="0" i="0" u="none" strike="noStrike" kern="1200" cap="none" spc="0" normalizeH="0" baseline="0" noProof="0" dirty="0">
                <a:ln>
                  <a:noFill/>
                </a:ln>
                <a:solidFill>
                  <a:srgbClr val="FFFFFF"/>
                </a:solidFill>
                <a:effectLst/>
                <a:uLnTx/>
                <a:uFillTx/>
                <a:latin typeface="OPPOSans B" panose="00020600040101010101" pitchFamily="18" charset="-122"/>
                <a:ea typeface="OPPOSans B" panose="00020600040101010101" pitchFamily="18" charset="-122"/>
                <a:cs typeface="OPPOSans B" panose="00020600040101010101" pitchFamily="18" charset="-122"/>
              </a:rPr>
              <a:t>置业顾问</a:t>
            </a:r>
            <a:endParaRPr kumimoji="0" lang="zh-CN" altLang="en-US" sz="900" b="0" i="0" u="none" strike="noStrike" kern="1200" cap="none" spc="0" normalizeH="0" baseline="0" noProof="0">
              <a:ln>
                <a:noFill/>
              </a:ln>
              <a:solidFill>
                <a:prstClr val="black"/>
              </a:solidFill>
              <a:effectLst/>
              <a:uLnTx/>
              <a:uFillTx/>
              <a:latin typeface="OPPOSans B" panose="00020600040101010101" pitchFamily="18" charset="-122"/>
              <a:ea typeface="OPPOSans B" panose="00020600040101010101" pitchFamily="18" charset="-122"/>
              <a:cs typeface="OPPOSans B" panose="00020600040101010101" pitchFamily="18" charset="-122"/>
            </a:endParaRPr>
          </a:p>
        </p:txBody>
      </p:sp>
      <p:sp>
        <p:nvSpPr>
          <p:cNvPr id="1022" name="Object 1022"/>
          <p:cNvSpPr txBox="1"/>
          <p:nvPr/>
        </p:nvSpPr>
        <p:spPr>
          <a:xfrm>
            <a:off x="4187310" y="5196427"/>
            <a:ext cx="1131914" cy="228780"/>
          </a:xfrm>
          <a:prstGeom prst="rect">
            <a:avLst/>
          </a:prstGeom>
        </p:spPr>
        <p:txBody>
          <a:bodyPr vert="horz" lIns="0" tIns="0" rIns="0" bIns="0" rtlCol="0" anchor="t" anchorCtr="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zh-CN" altLang="en-US" sz="1500" b="0" i="0" u="none" strike="noStrike" kern="1200" cap="none" spc="0" normalizeH="0" baseline="0" noProof="0" dirty="0">
                <a:ln>
                  <a:noFill/>
                </a:ln>
                <a:solidFill>
                  <a:srgbClr val="FFFFFF"/>
                </a:solidFill>
                <a:effectLst/>
                <a:uLnTx/>
                <a:uFillTx/>
                <a:latin typeface="OPPOSans B" panose="00020600040101010101" pitchFamily="18" charset="-122"/>
                <a:ea typeface="OPPOSans B" panose="00020600040101010101" pitchFamily="18" charset="-122"/>
                <a:cs typeface="OPPOSans B" panose="00020600040101010101" pitchFamily="18" charset="-122"/>
              </a:rPr>
              <a:t>拓展专员</a:t>
            </a:r>
            <a:endParaRPr kumimoji="0" lang="zh-CN" altLang="en-US" sz="900" b="0" i="0" u="none" strike="noStrike" kern="1200" cap="none" spc="0" normalizeH="0" baseline="0" noProof="0">
              <a:ln>
                <a:noFill/>
              </a:ln>
              <a:solidFill>
                <a:prstClr val="black"/>
              </a:solidFill>
              <a:effectLst/>
              <a:uLnTx/>
              <a:uFillTx/>
              <a:latin typeface="OPPOSans B" panose="00020600040101010101" pitchFamily="18" charset="-122"/>
              <a:ea typeface="OPPOSans B" panose="00020600040101010101" pitchFamily="18" charset="-122"/>
              <a:cs typeface="OPPOSans B" panose="00020600040101010101" pitchFamily="18" charset="-122"/>
            </a:endParaRPr>
          </a:p>
        </p:txBody>
      </p:sp>
      <p:sp>
        <p:nvSpPr>
          <p:cNvPr id="1023" name="Object 1023"/>
          <p:cNvSpPr txBox="1"/>
          <p:nvPr/>
        </p:nvSpPr>
        <p:spPr>
          <a:xfrm>
            <a:off x="5906227" y="5196427"/>
            <a:ext cx="1129735" cy="228780"/>
          </a:xfrm>
          <a:prstGeom prst="rect">
            <a:avLst/>
          </a:prstGeom>
        </p:spPr>
        <p:txBody>
          <a:bodyPr vert="horz" lIns="0" tIns="0" rIns="0" bIns="0" rtlCol="0" anchor="t" anchorCtr="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zh-CN" altLang="en-US" sz="1500" b="0" i="0" u="none" strike="noStrike" kern="1200" cap="none" spc="0" normalizeH="0" baseline="0" noProof="0" dirty="0">
                <a:ln>
                  <a:noFill/>
                </a:ln>
                <a:solidFill>
                  <a:srgbClr val="FFFFFF"/>
                </a:solidFill>
                <a:effectLst/>
                <a:uLnTx/>
                <a:uFillTx/>
                <a:latin typeface="OPPOSans B" panose="00020600040101010101" pitchFamily="18" charset="-122"/>
                <a:ea typeface="OPPOSans B" panose="00020600040101010101" pitchFamily="18" charset="-122"/>
                <a:cs typeface="OPPOSans B" panose="00020600040101010101" pitchFamily="18" charset="-122"/>
              </a:rPr>
              <a:t>拓展专员</a:t>
            </a:r>
            <a:endParaRPr kumimoji="0" lang="zh-CN" altLang="en-US" sz="900" b="0" i="0" u="none" strike="noStrike" kern="1200" cap="none" spc="0" normalizeH="0" baseline="0" noProof="0">
              <a:ln>
                <a:noFill/>
              </a:ln>
              <a:solidFill>
                <a:prstClr val="black"/>
              </a:solidFill>
              <a:effectLst/>
              <a:uLnTx/>
              <a:uFillTx/>
              <a:latin typeface="OPPOSans B" panose="00020600040101010101" pitchFamily="18" charset="-122"/>
              <a:ea typeface="OPPOSans B" panose="00020600040101010101" pitchFamily="18" charset="-122"/>
              <a:cs typeface="OPPOSans B" panose="00020600040101010101" pitchFamily="18" charset="-122"/>
            </a:endParaRPr>
          </a:p>
        </p:txBody>
      </p:sp>
    </p:spTree>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7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08" name="gaoding-1"/>
          <p:cNvSpPr/>
          <p:nvPr/>
        </p:nvSpPr>
        <p:spPr>
          <a:xfrm>
            <a:off x="2372215" y="3584913"/>
            <a:ext cx="7454678" cy="673468"/>
          </a:xfrm>
          <a:custGeom>
            <a:avLst/>
            <a:gdLst/>
            <a:ahLst/>
            <a:cxnLst>
              <a:cxn ang="0">
                <a:pos x="wd2" y="hd2"/>
              </a:cxn>
              <a:cxn ang="5400000">
                <a:pos x="wd2" y="hd2"/>
              </a:cxn>
              <a:cxn ang="10800000">
                <a:pos x="wd2" y="hd2"/>
              </a:cxn>
              <a:cxn ang="16200000">
                <a:pos x="wd2" y="hd2"/>
              </a:cxn>
            </a:cxnLst>
            <a:rect l="0" t="0" r="r" b="b"/>
            <a:pathLst>
              <a:path w="21600" h="21521" extrusionOk="0">
                <a:moveTo>
                  <a:pt x="0" y="21410"/>
                </a:moveTo>
                <a:lnTo>
                  <a:pt x="0" y="4159"/>
                </a:lnTo>
                <a:cubicBezTo>
                  <a:pt x="1" y="3036"/>
                  <a:pt x="42" y="1963"/>
                  <a:pt x="115" y="1182"/>
                </a:cubicBezTo>
                <a:cubicBezTo>
                  <a:pt x="193" y="347"/>
                  <a:pt x="300" y="-79"/>
                  <a:pt x="409" y="12"/>
                </a:cubicBezTo>
                <a:lnTo>
                  <a:pt x="21231" y="12"/>
                </a:lnTo>
                <a:cubicBezTo>
                  <a:pt x="21340" y="27"/>
                  <a:pt x="21442" y="560"/>
                  <a:pt x="21512" y="1474"/>
                </a:cubicBezTo>
                <a:cubicBezTo>
                  <a:pt x="21568" y="2202"/>
                  <a:pt x="21599" y="3121"/>
                  <a:pt x="21600" y="4074"/>
                </a:cubicBezTo>
                <a:lnTo>
                  <a:pt x="21600" y="21521"/>
                </a:lnTo>
              </a:path>
            </a:pathLst>
          </a:custGeom>
          <a:noFill/>
          <a:ln w="25400" cap="flat">
            <a:solidFill>
              <a:srgbClr val="D5D7DA"/>
            </a:solidFill>
            <a:prstDash val="solid"/>
            <a:miter lim="400000"/>
          </a:ln>
          <a:effectLst/>
        </p:spPr>
        <p:txBody>
          <a:bodyPr wrap="square" lIns="0" tIns="0" rIns="0" bIns="0" numCol="1"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1600" b="0" i="0" u="none" strike="noStrike" kern="1200" cap="none" spc="0" normalizeH="0" baseline="0" noProof="0" dirty="0">
              <a:ln>
                <a:noFill/>
              </a:ln>
              <a:solidFill>
                <a:srgbClr val="FFFFFF"/>
              </a:solidFill>
              <a:effectLst/>
              <a:uLnTx/>
              <a:uFillTx/>
              <a:latin typeface="OPPOSans R" panose="00020600040101010101" pitchFamily="18" charset="-122"/>
              <a:ea typeface="微软雅黑"/>
              <a:cs typeface="+mn-cs"/>
              <a:sym typeface="Helvetica Neue Medium"/>
            </a:endParaRPr>
          </a:p>
        </p:txBody>
      </p:sp>
      <p:sp>
        <p:nvSpPr>
          <p:cNvPr id="3609" name="gaoding-2"/>
          <p:cNvSpPr/>
          <p:nvPr/>
        </p:nvSpPr>
        <p:spPr>
          <a:xfrm flipV="1">
            <a:off x="6096001" y="2687422"/>
            <a:ext cx="0" cy="1956891"/>
          </a:xfrm>
          <a:prstGeom prst="line">
            <a:avLst/>
          </a:prstGeom>
          <a:noFill/>
          <a:ln w="25400" cap="flat">
            <a:solidFill>
              <a:srgbClr val="D6D7DA"/>
            </a:solidFill>
            <a:prstDash val="solid"/>
            <a:miter lim="400000"/>
          </a:ln>
          <a:effectLst/>
        </p:spPr>
        <p:txBody>
          <a:bodyPr wrap="square" lIns="0" tIns="0" rIns="0" bIns="0" numCol="1"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1600" b="0" i="0" u="none" strike="noStrike" kern="1200" cap="none" spc="0" normalizeH="0" baseline="0" noProof="0" dirty="0">
              <a:ln>
                <a:noFill/>
              </a:ln>
              <a:solidFill>
                <a:srgbClr val="FFFFFF"/>
              </a:solidFill>
              <a:effectLst/>
              <a:uLnTx/>
              <a:uFillTx/>
              <a:latin typeface="OPPOSans R" panose="00020600040101010101" pitchFamily="18" charset="-122"/>
              <a:ea typeface="微软雅黑"/>
              <a:cs typeface="+mn-cs"/>
              <a:sym typeface="Helvetica Neue Medium"/>
            </a:endParaRPr>
          </a:p>
        </p:txBody>
      </p:sp>
      <p:sp>
        <p:nvSpPr>
          <p:cNvPr id="3610" name="gaoding-3"/>
          <p:cNvSpPr/>
          <p:nvPr/>
        </p:nvSpPr>
        <p:spPr>
          <a:xfrm>
            <a:off x="4546779" y="1226042"/>
            <a:ext cx="3105963" cy="1673590"/>
          </a:xfrm>
          <a:custGeom>
            <a:avLst/>
            <a:gdLst/>
            <a:ahLst/>
            <a:cxnLst>
              <a:cxn ang="0">
                <a:pos x="wd2" y="hd2"/>
              </a:cxn>
              <a:cxn ang="5400000">
                <a:pos x="wd2" y="hd2"/>
              </a:cxn>
              <a:cxn ang="10800000">
                <a:pos x="wd2" y="hd2"/>
              </a:cxn>
              <a:cxn ang="16200000">
                <a:pos x="wd2" y="hd2"/>
              </a:cxn>
            </a:cxnLst>
            <a:rect l="0" t="0" r="r" b="b"/>
            <a:pathLst>
              <a:path w="21600" h="21600" extrusionOk="0">
                <a:moveTo>
                  <a:pt x="823" y="0"/>
                </a:moveTo>
                <a:lnTo>
                  <a:pt x="20777" y="0"/>
                </a:lnTo>
                <a:cubicBezTo>
                  <a:pt x="20895" y="0"/>
                  <a:pt x="20984" y="0"/>
                  <a:pt x="21059" y="9"/>
                </a:cubicBezTo>
                <a:cubicBezTo>
                  <a:pt x="21134" y="19"/>
                  <a:pt x="21196" y="37"/>
                  <a:pt x="21260" y="75"/>
                </a:cubicBezTo>
                <a:cubicBezTo>
                  <a:pt x="21330" y="122"/>
                  <a:pt x="21392" y="196"/>
                  <a:pt x="21443" y="291"/>
                </a:cubicBezTo>
                <a:cubicBezTo>
                  <a:pt x="21494" y="386"/>
                  <a:pt x="21534" y="502"/>
                  <a:pt x="21560" y="631"/>
                </a:cubicBezTo>
                <a:cubicBezTo>
                  <a:pt x="21580" y="749"/>
                  <a:pt x="21590" y="864"/>
                  <a:pt x="21595" y="1005"/>
                </a:cubicBezTo>
                <a:cubicBezTo>
                  <a:pt x="21600" y="1145"/>
                  <a:pt x="21600" y="1312"/>
                  <a:pt x="21600" y="1535"/>
                </a:cubicBezTo>
                <a:lnTo>
                  <a:pt x="21600" y="20072"/>
                </a:lnTo>
                <a:cubicBezTo>
                  <a:pt x="21600" y="20291"/>
                  <a:pt x="21600" y="20456"/>
                  <a:pt x="21595" y="20596"/>
                </a:cubicBezTo>
                <a:cubicBezTo>
                  <a:pt x="21590" y="20736"/>
                  <a:pt x="21580" y="20851"/>
                  <a:pt x="21560" y="20969"/>
                </a:cubicBezTo>
                <a:cubicBezTo>
                  <a:pt x="21534" y="21098"/>
                  <a:pt x="21494" y="21214"/>
                  <a:pt x="21443" y="21309"/>
                </a:cubicBezTo>
                <a:cubicBezTo>
                  <a:pt x="21392" y="21404"/>
                  <a:pt x="21330" y="21478"/>
                  <a:pt x="21260" y="21525"/>
                </a:cubicBezTo>
                <a:cubicBezTo>
                  <a:pt x="21196" y="21563"/>
                  <a:pt x="21134" y="21581"/>
                  <a:pt x="21059" y="21591"/>
                </a:cubicBezTo>
                <a:cubicBezTo>
                  <a:pt x="20983" y="21600"/>
                  <a:pt x="20893" y="21600"/>
                  <a:pt x="20773" y="21600"/>
                </a:cubicBezTo>
                <a:lnTo>
                  <a:pt x="823" y="21600"/>
                </a:lnTo>
                <a:cubicBezTo>
                  <a:pt x="705" y="21600"/>
                  <a:pt x="616" y="21600"/>
                  <a:pt x="541" y="21591"/>
                </a:cubicBezTo>
                <a:cubicBezTo>
                  <a:pt x="466" y="21581"/>
                  <a:pt x="404" y="21563"/>
                  <a:pt x="340" y="21525"/>
                </a:cubicBezTo>
                <a:cubicBezTo>
                  <a:pt x="270" y="21478"/>
                  <a:pt x="208" y="21404"/>
                  <a:pt x="157" y="21309"/>
                </a:cubicBezTo>
                <a:cubicBezTo>
                  <a:pt x="106" y="21214"/>
                  <a:pt x="66" y="21098"/>
                  <a:pt x="40" y="20969"/>
                </a:cubicBezTo>
                <a:cubicBezTo>
                  <a:pt x="20" y="20851"/>
                  <a:pt x="10" y="20736"/>
                  <a:pt x="5" y="20595"/>
                </a:cubicBezTo>
                <a:cubicBezTo>
                  <a:pt x="0" y="20455"/>
                  <a:pt x="0" y="20288"/>
                  <a:pt x="0" y="20065"/>
                </a:cubicBezTo>
                <a:lnTo>
                  <a:pt x="0" y="1528"/>
                </a:lnTo>
                <a:cubicBezTo>
                  <a:pt x="0" y="1309"/>
                  <a:pt x="0" y="1144"/>
                  <a:pt x="5" y="1004"/>
                </a:cubicBezTo>
                <a:cubicBezTo>
                  <a:pt x="10" y="864"/>
                  <a:pt x="20" y="749"/>
                  <a:pt x="40" y="631"/>
                </a:cubicBezTo>
                <a:cubicBezTo>
                  <a:pt x="66" y="502"/>
                  <a:pt x="106" y="386"/>
                  <a:pt x="157" y="291"/>
                </a:cubicBezTo>
                <a:cubicBezTo>
                  <a:pt x="208" y="196"/>
                  <a:pt x="270" y="122"/>
                  <a:pt x="340" y="75"/>
                </a:cubicBezTo>
                <a:cubicBezTo>
                  <a:pt x="404" y="37"/>
                  <a:pt x="466" y="19"/>
                  <a:pt x="541" y="9"/>
                </a:cubicBezTo>
                <a:cubicBezTo>
                  <a:pt x="617" y="0"/>
                  <a:pt x="707" y="0"/>
                  <a:pt x="827" y="0"/>
                </a:cubicBezTo>
                <a:lnTo>
                  <a:pt x="823" y="0"/>
                </a:lnTo>
                <a:close/>
              </a:path>
            </a:pathLst>
          </a:custGeom>
          <a:gradFill flip="none" rotWithShape="1">
            <a:gsLst>
              <a:gs pos="1000">
                <a:schemeClr val="accent1"/>
              </a:gs>
              <a:gs pos="100000">
                <a:schemeClr val="accent1">
                  <a:lumMod val="60000"/>
                  <a:lumOff val="40000"/>
                </a:schemeClr>
              </a:gs>
            </a:gsLst>
            <a:lin ang="2700000" scaled="0"/>
            <a:tileRect/>
          </a:gradFill>
          <a:ln>
            <a:noFill/>
          </a:ln>
          <a:effectLst>
            <a:outerShdw blurRad="330200" dist="381000" dir="5400000" sx="90000" sy="90000" algn="t" rotWithShape="0">
              <a:schemeClr val="accent1">
                <a:lumMod val="75000"/>
                <a:alpha val="2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5720" tIns="22860" rIns="45720" bIns="228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FFFFFF"/>
              </a:solidFill>
              <a:effectLst/>
              <a:uLnTx/>
              <a:uFillTx/>
              <a:latin typeface="OPPOSans R" panose="00020600040101010101" pitchFamily="18" charset="-122"/>
              <a:ea typeface="微软雅黑"/>
              <a:cs typeface="+mn-cs"/>
            </a:endParaRPr>
          </a:p>
        </p:txBody>
      </p:sp>
      <p:sp>
        <p:nvSpPr>
          <p:cNvPr id="3614" name="gaoding-4"/>
          <p:cNvSpPr/>
          <p:nvPr/>
        </p:nvSpPr>
        <p:spPr>
          <a:xfrm>
            <a:off x="5672667" y="1874137"/>
            <a:ext cx="441761" cy="0"/>
          </a:xfrm>
          <a:prstGeom prst="line">
            <a:avLst/>
          </a:prstGeom>
          <a:noFill/>
          <a:ln w="25400" cap="flat">
            <a:solidFill>
              <a:srgbClr val="FFFFFF"/>
            </a:solidFill>
            <a:prstDash val="solid"/>
            <a:miter lim="400000"/>
          </a:ln>
          <a:effectLst/>
        </p:spPr>
        <p:txBody>
          <a:bodyPr wrap="square" lIns="0" tIns="0" rIns="0" bIns="0" numCol="1"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1600" b="0" i="0" u="none" strike="noStrike" kern="1200" cap="none" spc="0" normalizeH="0" baseline="0" noProof="0" dirty="0">
              <a:ln>
                <a:noFill/>
              </a:ln>
              <a:solidFill>
                <a:srgbClr val="FFFFFF"/>
              </a:solidFill>
              <a:effectLst/>
              <a:uLnTx/>
              <a:uFillTx/>
              <a:latin typeface="OPPOSans R" panose="00020600040101010101" pitchFamily="18" charset="-122"/>
              <a:ea typeface="微软雅黑"/>
              <a:cs typeface="+mn-cs"/>
              <a:sym typeface="Helvetica Neue Medium"/>
            </a:endParaRPr>
          </a:p>
        </p:txBody>
      </p:sp>
      <p:sp>
        <p:nvSpPr>
          <p:cNvPr id="3615" name="gaoding-5"/>
          <p:cNvSpPr/>
          <p:nvPr/>
        </p:nvSpPr>
        <p:spPr>
          <a:xfrm>
            <a:off x="4686479" y="1349289"/>
            <a:ext cx="635001" cy="635001"/>
          </a:xfrm>
          <a:custGeom>
            <a:avLst/>
            <a:gdLst/>
            <a:ahLst/>
            <a:cxnLst>
              <a:cxn ang="0">
                <a:pos x="wd2" y="hd2"/>
              </a:cxn>
              <a:cxn ang="5400000">
                <a:pos x="wd2" y="hd2"/>
              </a:cxn>
              <a:cxn ang="10800000">
                <a:pos x="wd2" y="hd2"/>
              </a:cxn>
              <a:cxn ang="16200000">
                <a:pos x="wd2" y="hd2"/>
              </a:cxn>
            </a:cxnLst>
            <a:rect l="0" t="0" r="r" b="b"/>
            <a:pathLst>
              <a:path w="21600" h="21600" extrusionOk="0">
                <a:moveTo>
                  <a:pt x="2224" y="0"/>
                </a:moveTo>
                <a:lnTo>
                  <a:pt x="19376" y="0"/>
                </a:lnTo>
                <a:cubicBezTo>
                  <a:pt x="19694" y="0"/>
                  <a:pt x="19935" y="0"/>
                  <a:pt x="20139" y="14"/>
                </a:cubicBezTo>
                <a:cubicBezTo>
                  <a:pt x="20342" y="27"/>
                  <a:pt x="20509" y="55"/>
                  <a:pt x="20681" y="109"/>
                </a:cubicBezTo>
                <a:cubicBezTo>
                  <a:pt x="20869" y="178"/>
                  <a:pt x="21038" y="286"/>
                  <a:pt x="21176" y="424"/>
                </a:cubicBezTo>
                <a:cubicBezTo>
                  <a:pt x="21314" y="562"/>
                  <a:pt x="21422" y="731"/>
                  <a:pt x="21491" y="919"/>
                </a:cubicBezTo>
                <a:cubicBezTo>
                  <a:pt x="21545" y="1091"/>
                  <a:pt x="21573" y="1258"/>
                  <a:pt x="21586" y="1463"/>
                </a:cubicBezTo>
                <a:cubicBezTo>
                  <a:pt x="21600" y="1668"/>
                  <a:pt x="21600" y="1910"/>
                  <a:pt x="21600" y="2234"/>
                </a:cubicBezTo>
                <a:lnTo>
                  <a:pt x="21600" y="19376"/>
                </a:lnTo>
                <a:cubicBezTo>
                  <a:pt x="21600" y="19694"/>
                  <a:pt x="21600" y="19935"/>
                  <a:pt x="21586" y="20139"/>
                </a:cubicBezTo>
                <a:cubicBezTo>
                  <a:pt x="21573" y="20342"/>
                  <a:pt x="21545" y="20509"/>
                  <a:pt x="21491" y="20681"/>
                </a:cubicBezTo>
                <a:cubicBezTo>
                  <a:pt x="21422" y="20869"/>
                  <a:pt x="21314" y="21038"/>
                  <a:pt x="21176" y="21176"/>
                </a:cubicBezTo>
                <a:cubicBezTo>
                  <a:pt x="21038" y="21314"/>
                  <a:pt x="20869" y="21422"/>
                  <a:pt x="20681" y="21491"/>
                </a:cubicBezTo>
                <a:cubicBezTo>
                  <a:pt x="20509" y="21545"/>
                  <a:pt x="20342" y="21573"/>
                  <a:pt x="20137" y="21586"/>
                </a:cubicBezTo>
                <a:cubicBezTo>
                  <a:pt x="19932" y="21600"/>
                  <a:pt x="19690" y="21600"/>
                  <a:pt x="19366" y="21600"/>
                </a:cubicBezTo>
                <a:lnTo>
                  <a:pt x="2224" y="21600"/>
                </a:lnTo>
                <a:cubicBezTo>
                  <a:pt x="1906" y="21600"/>
                  <a:pt x="1665" y="21600"/>
                  <a:pt x="1461" y="21586"/>
                </a:cubicBezTo>
                <a:cubicBezTo>
                  <a:pt x="1258" y="21573"/>
                  <a:pt x="1091" y="21545"/>
                  <a:pt x="919" y="21491"/>
                </a:cubicBezTo>
                <a:cubicBezTo>
                  <a:pt x="731" y="21422"/>
                  <a:pt x="562" y="21314"/>
                  <a:pt x="424" y="21176"/>
                </a:cubicBezTo>
                <a:cubicBezTo>
                  <a:pt x="286" y="21038"/>
                  <a:pt x="178" y="20869"/>
                  <a:pt x="109" y="20681"/>
                </a:cubicBezTo>
                <a:cubicBezTo>
                  <a:pt x="55" y="20509"/>
                  <a:pt x="27" y="20342"/>
                  <a:pt x="14" y="20137"/>
                </a:cubicBezTo>
                <a:cubicBezTo>
                  <a:pt x="0" y="19932"/>
                  <a:pt x="0" y="19690"/>
                  <a:pt x="0" y="19366"/>
                </a:cubicBezTo>
                <a:lnTo>
                  <a:pt x="0" y="2224"/>
                </a:lnTo>
                <a:cubicBezTo>
                  <a:pt x="0" y="1906"/>
                  <a:pt x="0" y="1665"/>
                  <a:pt x="14" y="1461"/>
                </a:cubicBezTo>
                <a:cubicBezTo>
                  <a:pt x="27" y="1258"/>
                  <a:pt x="55" y="1091"/>
                  <a:pt x="109" y="919"/>
                </a:cubicBezTo>
                <a:cubicBezTo>
                  <a:pt x="178" y="731"/>
                  <a:pt x="286" y="562"/>
                  <a:pt x="424" y="424"/>
                </a:cubicBezTo>
                <a:cubicBezTo>
                  <a:pt x="562" y="286"/>
                  <a:pt x="731" y="178"/>
                  <a:pt x="919" y="109"/>
                </a:cubicBezTo>
                <a:cubicBezTo>
                  <a:pt x="1091" y="55"/>
                  <a:pt x="1258" y="27"/>
                  <a:pt x="1463" y="14"/>
                </a:cubicBezTo>
                <a:cubicBezTo>
                  <a:pt x="1668" y="0"/>
                  <a:pt x="1910" y="0"/>
                  <a:pt x="2234" y="0"/>
                </a:cubicBezTo>
                <a:lnTo>
                  <a:pt x="2224" y="0"/>
                </a:lnTo>
                <a:close/>
              </a:path>
            </a:pathLst>
          </a:custGeom>
          <a:solidFill>
            <a:schemeClr val="bg1"/>
          </a:solidFill>
          <a:ln w="12700" cap="flat">
            <a:noFill/>
            <a:miter lim="400000"/>
          </a:ln>
          <a:effectLst/>
        </p:spPr>
        <p:txBody>
          <a:bodyPr wrap="square" lIns="0" tIns="0" rIns="0" bIns="0" numCol="1"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1600" b="0" i="0" u="none" strike="noStrike" kern="1200" cap="none" spc="0" normalizeH="0" baseline="0" noProof="0" dirty="0">
              <a:ln>
                <a:noFill/>
              </a:ln>
              <a:solidFill>
                <a:srgbClr val="FFFFFF"/>
              </a:solidFill>
              <a:effectLst/>
              <a:uLnTx/>
              <a:uFillTx/>
              <a:latin typeface="OPPOSans R" panose="00020600040101010101" pitchFamily="18" charset="-122"/>
              <a:ea typeface="微软雅黑"/>
              <a:cs typeface="+mn-cs"/>
              <a:sym typeface="Helvetica Neue Medium"/>
            </a:endParaRPr>
          </a:p>
        </p:txBody>
      </p:sp>
      <p:sp>
        <p:nvSpPr>
          <p:cNvPr id="3616" name="gaoding-6"/>
          <p:cNvSpPr/>
          <p:nvPr/>
        </p:nvSpPr>
        <p:spPr>
          <a:xfrm>
            <a:off x="817212" y="4223243"/>
            <a:ext cx="3105963" cy="1673590"/>
          </a:xfrm>
          <a:custGeom>
            <a:avLst/>
            <a:gdLst/>
            <a:ahLst/>
            <a:cxnLst>
              <a:cxn ang="0">
                <a:pos x="wd2" y="hd2"/>
              </a:cxn>
              <a:cxn ang="5400000">
                <a:pos x="wd2" y="hd2"/>
              </a:cxn>
              <a:cxn ang="10800000">
                <a:pos x="wd2" y="hd2"/>
              </a:cxn>
              <a:cxn ang="16200000">
                <a:pos x="wd2" y="hd2"/>
              </a:cxn>
            </a:cxnLst>
            <a:rect l="0" t="0" r="r" b="b"/>
            <a:pathLst>
              <a:path w="21600" h="21600" extrusionOk="0">
                <a:moveTo>
                  <a:pt x="823" y="0"/>
                </a:moveTo>
                <a:lnTo>
                  <a:pt x="20777" y="0"/>
                </a:lnTo>
                <a:cubicBezTo>
                  <a:pt x="20895" y="0"/>
                  <a:pt x="20984" y="0"/>
                  <a:pt x="21059" y="9"/>
                </a:cubicBezTo>
                <a:cubicBezTo>
                  <a:pt x="21134" y="19"/>
                  <a:pt x="21196" y="37"/>
                  <a:pt x="21260" y="75"/>
                </a:cubicBezTo>
                <a:cubicBezTo>
                  <a:pt x="21330" y="122"/>
                  <a:pt x="21392" y="196"/>
                  <a:pt x="21443" y="291"/>
                </a:cubicBezTo>
                <a:cubicBezTo>
                  <a:pt x="21494" y="386"/>
                  <a:pt x="21534" y="502"/>
                  <a:pt x="21560" y="631"/>
                </a:cubicBezTo>
                <a:cubicBezTo>
                  <a:pt x="21580" y="749"/>
                  <a:pt x="21590" y="864"/>
                  <a:pt x="21595" y="1005"/>
                </a:cubicBezTo>
                <a:cubicBezTo>
                  <a:pt x="21600" y="1145"/>
                  <a:pt x="21600" y="1312"/>
                  <a:pt x="21600" y="1535"/>
                </a:cubicBezTo>
                <a:lnTo>
                  <a:pt x="21600" y="20072"/>
                </a:lnTo>
                <a:cubicBezTo>
                  <a:pt x="21600" y="20291"/>
                  <a:pt x="21600" y="20456"/>
                  <a:pt x="21595" y="20596"/>
                </a:cubicBezTo>
                <a:cubicBezTo>
                  <a:pt x="21590" y="20736"/>
                  <a:pt x="21580" y="20851"/>
                  <a:pt x="21560" y="20969"/>
                </a:cubicBezTo>
                <a:cubicBezTo>
                  <a:pt x="21534" y="21098"/>
                  <a:pt x="21494" y="21214"/>
                  <a:pt x="21443" y="21309"/>
                </a:cubicBezTo>
                <a:cubicBezTo>
                  <a:pt x="21392" y="21404"/>
                  <a:pt x="21330" y="21478"/>
                  <a:pt x="21260" y="21525"/>
                </a:cubicBezTo>
                <a:cubicBezTo>
                  <a:pt x="21196" y="21563"/>
                  <a:pt x="21134" y="21581"/>
                  <a:pt x="21059" y="21591"/>
                </a:cubicBezTo>
                <a:cubicBezTo>
                  <a:pt x="20983" y="21600"/>
                  <a:pt x="20893" y="21600"/>
                  <a:pt x="20773" y="21600"/>
                </a:cubicBezTo>
                <a:lnTo>
                  <a:pt x="823" y="21600"/>
                </a:lnTo>
                <a:cubicBezTo>
                  <a:pt x="705" y="21600"/>
                  <a:pt x="616" y="21600"/>
                  <a:pt x="541" y="21591"/>
                </a:cubicBezTo>
                <a:cubicBezTo>
                  <a:pt x="466" y="21581"/>
                  <a:pt x="404" y="21563"/>
                  <a:pt x="340" y="21525"/>
                </a:cubicBezTo>
                <a:cubicBezTo>
                  <a:pt x="270" y="21478"/>
                  <a:pt x="208" y="21404"/>
                  <a:pt x="157" y="21309"/>
                </a:cubicBezTo>
                <a:cubicBezTo>
                  <a:pt x="106" y="21214"/>
                  <a:pt x="66" y="21098"/>
                  <a:pt x="40" y="20969"/>
                </a:cubicBezTo>
                <a:cubicBezTo>
                  <a:pt x="20" y="20851"/>
                  <a:pt x="10" y="20736"/>
                  <a:pt x="5" y="20595"/>
                </a:cubicBezTo>
                <a:cubicBezTo>
                  <a:pt x="0" y="20455"/>
                  <a:pt x="0" y="20288"/>
                  <a:pt x="0" y="20065"/>
                </a:cubicBezTo>
                <a:lnTo>
                  <a:pt x="0" y="1528"/>
                </a:lnTo>
                <a:cubicBezTo>
                  <a:pt x="0" y="1309"/>
                  <a:pt x="0" y="1144"/>
                  <a:pt x="5" y="1004"/>
                </a:cubicBezTo>
                <a:cubicBezTo>
                  <a:pt x="10" y="864"/>
                  <a:pt x="20" y="749"/>
                  <a:pt x="40" y="631"/>
                </a:cubicBezTo>
                <a:cubicBezTo>
                  <a:pt x="66" y="502"/>
                  <a:pt x="106" y="386"/>
                  <a:pt x="157" y="291"/>
                </a:cubicBezTo>
                <a:cubicBezTo>
                  <a:pt x="208" y="196"/>
                  <a:pt x="270" y="122"/>
                  <a:pt x="340" y="75"/>
                </a:cubicBezTo>
                <a:cubicBezTo>
                  <a:pt x="404" y="37"/>
                  <a:pt x="466" y="19"/>
                  <a:pt x="541" y="9"/>
                </a:cubicBezTo>
                <a:cubicBezTo>
                  <a:pt x="617" y="0"/>
                  <a:pt x="707" y="0"/>
                  <a:pt x="827" y="0"/>
                </a:cubicBezTo>
                <a:lnTo>
                  <a:pt x="823" y="0"/>
                </a:lnTo>
                <a:close/>
              </a:path>
            </a:pathLst>
          </a:custGeom>
          <a:gradFill flip="none" rotWithShape="1">
            <a:gsLst>
              <a:gs pos="1000">
                <a:schemeClr val="accent2"/>
              </a:gs>
              <a:gs pos="100000">
                <a:schemeClr val="accent2">
                  <a:lumMod val="60000"/>
                  <a:lumOff val="40000"/>
                </a:schemeClr>
              </a:gs>
            </a:gsLst>
            <a:lin ang="2700000" scaled="0"/>
            <a:tileRect/>
          </a:gradFill>
          <a:ln>
            <a:noFill/>
          </a:ln>
          <a:effectLst>
            <a:outerShdw blurRad="330200" dist="381000" dir="5400000" sx="90000" sy="90000" algn="t" rotWithShape="0">
              <a:schemeClr val="accent2">
                <a:lumMod val="75000"/>
                <a:alpha val="2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5720" tIns="22860" rIns="45720" bIns="228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FFFFFF"/>
              </a:solidFill>
              <a:effectLst/>
              <a:uLnTx/>
              <a:uFillTx/>
              <a:latin typeface="OPPOSans R" panose="00020600040101010101" pitchFamily="18" charset="-122"/>
              <a:ea typeface="微软雅黑"/>
              <a:cs typeface="+mn-cs"/>
            </a:endParaRPr>
          </a:p>
        </p:txBody>
      </p:sp>
      <p:sp>
        <p:nvSpPr>
          <p:cNvPr id="3620" name="gaoding-7"/>
          <p:cNvSpPr/>
          <p:nvPr/>
        </p:nvSpPr>
        <p:spPr>
          <a:xfrm>
            <a:off x="1856160" y="4885743"/>
            <a:ext cx="441761" cy="0"/>
          </a:xfrm>
          <a:prstGeom prst="line">
            <a:avLst/>
          </a:prstGeom>
          <a:noFill/>
          <a:ln w="25400" cap="flat">
            <a:solidFill>
              <a:srgbClr val="FFFFFF"/>
            </a:solidFill>
            <a:prstDash val="solid"/>
            <a:miter lim="400000"/>
          </a:ln>
          <a:effectLst/>
        </p:spPr>
        <p:txBody>
          <a:bodyPr wrap="square" lIns="0" tIns="0" rIns="0" bIns="0" numCol="1"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1600" b="0" i="0" u="none" strike="noStrike" kern="1200" cap="none" spc="0" normalizeH="0" baseline="0" noProof="0" dirty="0">
              <a:ln>
                <a:noFill/>
              </a:ln>
              <a:solidFill>
                <a:srgbClr val="FFFFFF"/>
              </a:solidFill>
              <a:effectLst/>
              <a:uLnTx/>
              <a:uFillTx/>
              <a:latin typeface="OPPOSans R" panose="00020600040101010101" pitchFamily="18" charset="-122"/>
              <a:ea typeface="微软雅黑"/>
              <a:cs typeface="+mn-cs"/>
              <a:sym typeface="Helvetica Neue Medium"/>
            </a:endParaRPr>
          </a:p>
        </p:txBody>
      </p:sp>
      <p:sp>
        <p:nvSpPr>
          <p:cNvPr id="3621" name="gaoding-8"/>
          <p:cNvSpPr/>
          <p:nvPr/>
        </p:nvSpPr>
        <p:spPr>
          <a:xfrm>
            <a:off x="1014806" y="4498304"/>
            <a:ext cx="635000" cy="635001"/>
          </a:xfrm>
          <a:custGeom>
            <a:avLst/>
            <a:gdLst/>
            <a:ahLst/>
            <a:cxnLst>
              <a:cxn ang="0">
                <a:pos x="wd2" y="hd2"/>
              </a:cxn>
              <a:cxn ang="5400000">
                <a:pos x="wd2" y="hd2"/>
              </a:cxn>
              <a:cxn ang="10800000">
                <a:pos x="wd2" y="hd2"/>
              </a:cxn>
              <a:cxn ang="16200000">
                <a:pos x="wd2" y="hd2"/>
              </a:cxn>
            </a:cxnLst>
            <a:rect l="0" t="0" r="r" b="b"/>
            <a:pathLst>
              <a:path w="21600" h="21600" extrusionOk="0">
                <a:moveTo>
                  <a:pt x="2224" y="0"/>
                </a:moveTo>
                <a:lnTo>
                  <a:pt x="19376" y="0"/>
                </a:lnTo>
                <a:cubicBezTo>
                  <a:pt x="19694" y="0"/>
                  <a:pt x="19935" y="0"/>
                  <a:pt x="20139" y="14"/>
                </a:cubicBezTo>
                <a:cubicBezTo>
                  <a:pt x="20342" y="27"/>
                  <a:pt x="20509" y="55"/>
                  <a:pt x="20681" y="109"/>
                </a:cubicBezTo>
                <a:cubicBezTo>
                  <a:pt x="20869" y="178"/>
                  <a:pt x="21038" y="286"/>
                  <a:pt x="21176" y="424"/>
                </a:cubicBezTo>
                <a:cubicBezTo>
                  <a:pt x="21314" y="562"/>
                  <a:pt x="21422" y="731"/>
                  <a:pt x="21491" y="919"/>
                </a:cubicBezTo>
                <a:cubicBezTo>
                  <a:pt x="21545" y="1091"/>
                  <a:pt x="21573" y="1258"/>
                  <a:pt x="21586" y="1463"/>
                </a:cubicBezTo>
                <a:cubicBezTo>
                  <a:pt x="21600" y="1668"/>
                  <a:pt x="21600" y="1910"/>
                  <a:pt x="21600" y="2234"/>
                </a:cubicBezTo>
                <a:lnTo>
                  <a:pt x="21600" y="19376"/>
                </a:lnTo>
                <a:cubicBezTo>
                  <a:pt x="21600" y="19694"/>
                  <a:pt x="21600" y="19935"/>
                  <a:pt x="21586" y="20139"/>
                </a:cubicBezTo>
                <a:cubicBezTo>
                  <a:pt x="21573" y="20342"/>
                  <a:pt x="21545" y="20509"/>
                  <a:pt x="21491" y="20681"/>
                </a:cubicBezTo>
                <a:cubicBezTo>
                  <a:pt x="21422" y="20869"/>
                  <a:pt x="21314" y="21038"/>
                  <a:pt x="21176" y="21176"/>
                </a:cubicBezTo>
                <a:cubicBezTo>
                  <a:pt x="21038" y="21314"/>
                  <a:pt x="20869" y="21422"/>
                  <a:pt x="20681" y="21491"/>
                </a:cubicBezTo>
                <a:cubicBezTo>
                  <a:pt x="20509" y="21545"/>
                  <a:pt x="20342" y="21573"/>
                  <a:pt x="20137" y="21586"/>
                </a:cubicBezTo>
                <a:cubicBezTo>
                  <a:pt x="19932" y="21600"/>
                  <a:pt x="19690" y="21600"/>
                  <a:pt x="19366" y="21600"/>
                </a:cubicBezTo>
                <a:lnTo>
                  <a:pt x="2224" y="21600"/>
                </a:lnTo>
                <a:cubicBezTo>
                  <a:pt x="1906" y="21600"/>
                  <a:pt x="1665" y="21600"/>
                  <a:pt x="1461" y="21586"/>
                </a:cubicBezTo>
                <a:cubicBezTo>
                  <a:pt x="1258" y="21573"/>
                  <a:pt x="1091" y="21545"/>
                  <a:pt x="919" y="21491"/>
                </a:cubicBezTo>
                <a:cubicBezTo>
                  <a:pt x="731" y="21422"/>
                  <a:pt x="562" y="21314"/>
                  <a:pt x="424" y="21176"/>
                </a:cubicBezTo>
                <a:cubicBezTo>
                  <a:pt x="286" y="21038"/>
                  <a:pt x="178" y="20869"/>
                  <a:pt x="109" y="20681"/>
                </a:cubicBezTo>
                <a:cubicBezTo>
                  <a:pt x="55" y="20509"/>
                  <a:pt x="27" y="20342"/>
                  <a:pt x="14" y="20137"/>
                </a:cubicBezTo>
                <a:cubicBezTo>
                  <a:pt x="0" y="19932"/>
                  <a:pt x="0" y="19690"/>
                  <a:pt x="0" y="19366"/>
                </a:cubicBezTo>
                <a:lnTo>
                  <a:pt x="0" y="2224"/>
                </a:lnTo>
                <a:cubicBezTo>
                  <a:pt x="0" y="1906"/>
                  <a:pt x="0" y="1665"/>
                  <a:pt x="14" y="1461"/>
                </a:cubicBezTo>
                <a:cubicBezTo>
                  <a:pt x="27" y="1258"/>
                  <a:pt x="55" y="1091"/>
                  <a:pt x="109" y="919"/>
                </a:cubicBezTo>
                <a:cubicBezTo>
                  <a:pt x="178" y="731"/>
                  <a:pt x="286" y="562"/>
                  <a:pt x="424" y="424"/>
                </a:cubicBezTo>
                <a:cubicBezTo>
                  <a:pt x="562" y="286"/>
                  <a:pt x="731" y="178"/>
                  <a:pt x="919" y="109"/>
                </a:cubicBezTo>
                <a:cubicBezTo>
                  <a:pt x="1091" y="55"/>
                  <a:pt x="1258" y="27"/>
                  <a:pt x="1463" y="14"/>
                </a:cubicBezTo>
                <a:cubicBezTo>
                  <a:pt x="1668" y="0"/>
                  <a:pt x="1910" y="0"/>
                  <a:pt x="2234" y="0"/>
                </a:cubicBezTo>
                <a:lnTo>
                  <a:pt x="2224" y="0"/>
                </a:lnTo>
                <a:close/>
              </a:path>
            </a:pathLst>
          </a:custGeom>
          <a:solidFill>
            <a:schemeClr val="bg1"/>
          </a:solidFill>
          <a:ln w="12700" cap="flat">
            <a:noFill/>
            <a:miter lim="400000"/>
          </a:ln>
          <a:effectLst/>
        </p:spPr>
        <p:txBody>
          <a:bodyPr wrap="square" lIns="0" tIns="0" rIns="0" bIns="0" numCol="1"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1600" b="0" i="0" u="none" strike="noStrike" kern="1200" cap="none" spc="0" normalizeH="0" baseline="0" noProof="0" dirty="0">
              <a:ln>
                <a:noFill/>
              </a:ln>
              <a:solidFill>
                <a:srgbClr val="FFFFFF"/>
              </a:solidFill>
              <a:effectLst/>
              <a:uLnTx/>
              <a:uFillTx/>
              <a:latin typeface="OPPOSans R" panose="00020600040101010101" pitchFamily="18" charset="-122"/>
              <a:ea typeface="微软雅黑"/>
              <a:cs typeface="+mn-cs"/>
              <a:sym typeface="Helvetica Neue Medium"/>
            </a:endParaRPr>
          </a:p>
        </p:txBody>
      </p:sp>
      <p:sp>
        <p:nvSpPr>
          <p:cNvPr id="3622" name="gaoding-9"/>
          <p:cNvSpPr/>
          <p:nvPr/>
        </p:nvSpPr>
        <p:spPr>
          <a:xfrm>
            <a:off x="4542546" y="4223243"/>
            <a:ext cx="3105964" cy="1673590"/>
          </a:xfrm>
          <a:custGeom>
            <a:avLst/>
            <a:gdLst/>
            <a:ahLst/>
            <a:cxnLst>
              <a:cxn ang="0">
                <a:pos x="wd2" y="hd2"/>
              </a:cxn>
              <a:cxn ang="5400000">
                <a:pos x="wd2" y="hd2"/>
              </a:cxn>
              <a:cxn ang="10800000">
                <a:pos x="wd2" y="hd2"/>
              </a:cxn>
              <a:cxn ang="16200000">
                <a:pos x="wd2" y="hd2"/>
              </a:cxn>
            </a:cxnLst>
            <a:rect l="0" t="0" r="r" b="b"/>
            <a:pathLst>
              <a:path w="21600" h="21600" extrusionOk="0">
                <a:moveTo>
                  <a:pt x="823" y="0"/>
                </a:moveTo>
                <a:lnTo>
                  <a:pt x="20777" y="0"/>
                </a:lnTo>
                <a:cubicBezTo>
                  <a:pt x="20895" y="0"/>
                  <a:pt x="20984" y="0"/>
                  <a:pt x="21059" y="9"/>
                </a:cubicBezTo>
                <a:cubicBezTo>
                  <a:pt x="21134" y="19"/>
                  <a:pt x="21196" y="37"/>
                  <a:pt x="21260" y="75"/>
                </a:cubicBezTo>
                <a:cubicBezTo>
                  <a:pt x="21330" y="122"/>
                  <a:pt x="21392" y="196"/>
                  <a:pt x="21443" y="291"/>
                </a:cubicBezTo>
                <a:cubicBezTo>
                  <a:pt x="21494" y="386"/>
                  <a:pt x="21534" y="502"/>
                  <a:pt x="21560" y="631"/>
                </a:cubicBezTo>
                <a:cubicBezTo>
                  <a:pt x="21580" y="749"/>
                  <a:pt x="21590" y="864"/>
                  <a:pt x="21595" y="1005"/>
                </a:cubicBezTo>
                <a:cubicBezTo>
                  <a:pt x="21600" y="1145"/>
                  <a:pt x="21600" y="1312"/>
                  <a:pt x="21600" y="1535"/>
                </a:cubicBezTo>
                <a:lnTo>
                  <a:pt x="21600" y="20072"/>
                </a:lnTo>
                <a:cubicBezTo>
                  <a:pt x="21600" y="20291"/>
                  <a:pt x="21600" y="20456"/>
                  <a:pt x="21595" y="20596"/>
                </a:cubicBezTo>
                <a:cubicBezTo>
                  <a:pt x="21590" y="20736"/>
                  <a:pt x="21580" y="20851"/>
                  <a:pt x="21560" y="20969"/>
                </a:cubicBezTo>
                <a:cubicBezTo>
                  <a:pt x="21534" y="21098"/>
                  <a:pt x="21494" y="21214"/>
                  <a:pt x="21443" y="21309"/>
                </a:cubicBezTo>
                <a:cubicBezTo>
                  <a:pt x="21392" y="21404"/>
                  <a:pt x="21330" y="21478"/>
                  <a:pt x="21260" y="21525"/>
                </a:cubicBezTo>
                <a:cubicBezTo>
                  <a:pt x="21196" y="21563"/>
                  <a:pt x="21134" y="21581"/>
                  <a:pt x="21059" y="21591"/>
                </a:cubicBezTo>
                <a:cubicBezTo>
                  <a:pt x="20983" y="21600"/>
                  <a:pt x="20893" y="21600"/>
                  <a:pt x="20773" y="21600"/>
                </a:cubicBezTo>
                <a:lnTo>
                  <a:pt x="823" y="21600"/>
                </a:lnTo>
                <a:cubicBezTo>
                  <a:pt x="705" y="21600"/>
                  <a:pt x="616" y="21600"/>
                  <a:pt x="541" y="21591"/>
                </a:cubicBezTo>
                <a:cubicBezTo>
                  <a:pt x="466" y="21581"/>
                  <a:pt x="404" y="21563"/>
                  <a:pt x="340" y="21525"/>
                </a:cubicBezTo>
                <a:cubicBezTo>
                  <a:pt x="270" y="21478"/>
                  <a:pt x="208" y="21404"/>
                  <a:pt x="157" y="21309"/>
                </a:cubicBezTo>
                <a:cubicBezTo>
                  <a:pt x="106" y="21214"/>
                  <a:pt x="66" y="21098"/>
                  <a:pt x="40" y="20969"/>
                </a:cubicBezTo>
                <a:cubicBezTo>
                  <a:pt x="20" y="20851"/>
                  <a:pt x="10" y="20736"/>
                  <a:pt x="5" y="20595"/>
                </a:cubicBezTo>
                <a:cubicBezTo>
                  <a:pt x="0" y="20455"/>
                  <a:pt x="0" y="20288"/>
                  <a:pt x="0" y="20065"/>
                </a:cubicBezTo>
                <a:lnTo>
                  <a:pt x="0" y="1528"/>
                </a:lnTo>
                <a:cubicBezTo>
                  <a:pt x="0" y="1309"/>
                  <a:pt x="0" y="1144"/>
                  <a:pt x="5" y="1004"/>
                </a:cubicBezTo>
                <a:cubicBezTo>
                  <a:pt x="10" y="864"/>
                  <a:pt x="20" y="749"/>
                  <a:pt x="40" y="631"/>
                </a:cubicBezTo>
                <a:cubicBezTo>
                  <a:pt x="66" y="502"/>
                  <a:pt x="106" y="386"/>
                  <a:pt x="157" y="291"/>
                </a:cubicBezTo>
                <a:cubicBezTo>
                  <a:pt x="208" y="196"/>
                  <a:pt x="270" y="122"/>
                  <a:pt x="340" y="75"/>
                </a:cubicBezTo>
                <a:cubicBezTo>
                  <a:pt x="404" y="37"/>
                  <a:pt x="466" y="19"/>
                  <a:pt x="541" y="9"/>
                </a:cubicBezTo>
                <a:cubicBezTo>
                  <a:pt x="617" y="0"/>
                  <a:pt x="707" y="0"/>
                  <a:pt x="827" y="0"/>
                </a:cubicBezTo>
                <a:lnTo>
                  <a:pt x="823" y="0"/>
                </a:lnTo>
                <a:close/>
              </a:path>
            </a:pathLst>
          </a:custGeom>
          <a:gradFill flip="none" rotWithShape="1">
            <a:gsLst>
              <a:gs pos="1000">
                <a:schemeClr val="accent3"/>
              </a:gs>
              <a:gs pos="100000">
                <a:schemeClr val="accent3">
                  <a:lumMod val="60000"/>
                  <a:lumOff val="40000"/>
                </a:schemeClr>
              </a:gs>
            </a:gsLst>
            <a:lin ang="2700000" scaled="0"/>
            <a:tileRect/>
          </a:gradFill>
          <a:ln>
            <a:noFill/>
          </a:ln>
          <a:effectLst>
            <a:outerShdw blurRad="330200" dist="381000" dir="5400000" sx="90000" sy="90000" algn="t" rotWithShape="0">
              <a:schemeClr val="accent3">
                <a:lumMod val="50000"/>
                <a:alpha val="2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5720" tIns="22860" rIns="45720" bIns="228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FFFFFF"/>
              </a:solidFill>
              <a:effectLst/>
              <a:uLnTx/>
              <a:uFillTx/>
              <a:latin typeface="OPPOSans R" panose="00020600040101010101" pitchFamily="18" charset="-122"/>
              <a:ea typeface="微软雅黑"/>
              <a:cs typeface="+mn-cs"/>
            </a:endParaRPr>
          </a:p>
        </p:txBody>
      </p:sp>
      <p:sp>
        <p:nvSpPr>
          <p:cNvPr id="3626" name="gaoding-10"/>
          <p:cNvSpPr/>
          <p:nvPr/>
        </p:nvSpPr>
        <p:spPr>
          <a:xfrm>
            <a:off x="5552429" y="4885743"/>
            <a:ext cx="441761" cy="0"/>
          </a:xfrm>
          <a:prstGeom prst="line">
            <a:avLst/>
          </a:prstGeom>
          <a:noFill/>
          <a:ln w="25400" cap="flat">
            <a:solidFill>
              <a:srgbClr val="FFFFFF"/>
            </a:solidFill>
            <a:prstDash val="solid"/>
            <a:miter lim="400000"/>
          </a:ln>
          <a:effectLst/>
        </p:spPr>
        <p:txBody>
          <a:bodyPr wrap="square" lIns="0" tIns="0" rIns="0" bIns="0" numCol="1"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1600" b="0" i="0" u="none" strike="noStrike" kern="1200" cap="none" spc="0" normalizeH="0" baseline="0" noProof="0" dirty="0">
              <a:ln>
                <a:noFill/>
              </a:ln>
              <a:solidFill>
                <a:srgbClr val="FFFFFF"/>
              </a:solidFill>
              <a:effectLst/>
              <a:uLnTx/>
              <a:uFillTx/>
              <a:latin typeface="OPPOSans R" panose="00020600040101010101" pitchFamily="18" charset="-122"/>
              <a:ea typeface="微软雅黑"/>
              <a:cs typeface="+mn-cs"/>
              <a:sym typeface="Helvetica Neue Medium"/>
            </a:endParaRPr>
          </a:p>
        </p:txBody>
      </p:sp>
      <p:sp>
        <p:nvSpPr>
          <p:cNvPr id="3627" name="gaoding-11"/>
          <p:cNvSpPr/>
          <p:nvPr/>
        </p:nvSpPr>
        <p:spPr>
          <a:xfrm>
            <a:off x="4740140" y="4498304"/>
            <a:ext cx="635001" cy="635001"/>
          </a:xfrm>
          <a:custGeom>
            <a:avLst/>
            <a:gdLst/>
            <a:ahLst/>
            <a:cxnLst>
              <a:cxn ang="0">
                <a:pos x="wd2" y="hd2"/>
              </a:cxn>
              <a:cxn ang="5400000">
                <a:pos x="wd2" y="hd2"/>
              </a:cxn>
              <a:cxn ang="10800000">
                <a:pos x="wd2" y="hd2"/>
              </a:cxn>
              <a:cxn ang="16200000">
                <a:pos x="wd2" y="hd2"/>
              </a:cxn>
            </a:cxnLst>
            <a:rect l="0" t="0" r="r" b="b"/>
            <a:pathLst>
              <a:path w="21600" h="21600" extrusionOk="0">
                <a:moveTo>
                  <a:pt x="2224" y="0"/>
                </a:moveTo>
                <a:lnTo>
                  <a:pt x="19376" y="0"/>
                </a:lnTo>
                <a:cubicBezTo>
                  <a:pt x="19694" y="0"/>
                  <a:pt x="19935" y="0"/>
                  <a:pt x="20139" y="14"/>
                </a:cubicBezTo>
                <a:cubicBezTo>
                  <a:pt x="20342" y="27"/>
                  <a:pt x="20509" y="55"/>
                  <a:pt x="20681" y="109"/>
                </a:cubicBezTo>
                <a:cubicBezTo>
                  <a:pt x="20869" y="178"/>
                  <a:pt x="21038" y="286"/>
                  <a:pt x="21176" y="424"/>
                </a:cubicBezTo>
                <a:cubicBezTo>
                  <a:pt x="21314" y="562"/>
                  <a:pt x="21422" y="731"/>
                  <a:pt x="21491" y="919"/>
                </a:cubicBezTo>
                <a:cubicBezTo>
                  <a:pt x="21545" y="1091"/>
                  <a:pt x="21573" y="1258"/>
                  <a:pt x="21586" y="1463"/>
                </a:cubicBezTo>
                <a:cubicBezTo>
                  <a:pt x="21600" y="1668"/>
                  <a:pt x="21600" y="1910"/>
                  <a:pt x="21600" y="2234"/>
                </a:cubicBezTo>
                <a:lnTo>
                  <a:pt x="21600" y="19376"/>
                </a:lnTo>
                <a:cubicBezTo>
                  <a:pt x="21600" y="19694"/>
                  <a:pt x="21600" y="19935"/>
                  <a:pt x="21586" y="20139"/>
                </a:cubicBezTo>
                <a:cubicBezTo>
                  <a:pt x="21573" y="20342"/>
                  <a:pt x="21545" y="20509"/>
                  <a:pt x="21491" y="20681"/>
                </a:cubicBezTo>
                <a:cubicBezTo>
                  <a:pt x="21422" y="20869"/>
                  <a:pt x="21314" y="21038"/>
                  <a:pt x="21176" y="21176"/>
                </a:cubicBezTo>
                <a:cubicBezTo>
                  <a:pt x="21038" y="21314"/>
                  <a:pt x="20869" y="21422"/>
                  <a:pt x="20681" y="21491"/>
                </a:cubicBezTo>
                <a:cubicBezTo>
                  <a:pt x="20509" y="21545"/>
                  <a:pt x="20342" y="21573"/>
                  <a:pt x="20137" y="21586"/>
                </a:cubicBezTo>
                <a:cubicBezTo>
                  <a:pt x="19932" y="21600"/>
                  <a:pt x="19690" y="21600"/>
                  <a:pt x="19366" y="21600"/>
                </a:cubicBezTo>
                <a:lnTo>
                  <a:pt x="2224" y="21600"/>
                </a:lnTo>
                <a:cubicBezTo>
                  <a:pt x="1906" y="21600"/>
                  <a:pt x="1665" y="21600"/>
                  <a:pt x="1461" y="21586"/>
                </a:cubicBezTo>
                <a:cubicBezTo>
                  <a:pt x="1258" y="21573"/>
                  <a:pt x="1091" y="21545"/>
                  <a:pt x="919" y="21491"/>
                </a:cubicBezTo>
                <a:cubicBezTo>
                  <a:pt x="731" y="21422"/>
                  <a:pt x="562" y="21314"/>
                  <a:pt x="424" y="21176"/>
                </a:cubicBezTo>
                <a:cubicBezTo>
                  <a:pt x="286" y="21038"/>
                  <a:pt x="178" y="20869"/>
                  <a:pt x="109" y="20681"/>
                </a:cubicBezTo>
                <a:cubicBezTo>
                  <a:pt x="55" y="20509"/>
                  <a:pt x="27" y="20342"/>
                  <a:pt x="14" y="20137"/>
                </a:cubicBezTo>
                <a:cubicBezTo>
                  <a:pt x="0" y="19932"/>
                  <a:pt x="0" y="19690"/>
                  <a:pt x="0" y="19366"/>
                </a:cubicBezTo>
                <a:lnTo>
                  <a:pt x="0" y="2224"/>
                </a:lnTo>
                <a:cubicBezTo>
                  <a:pt x="0" y="1906"/>
                  <a:pt x="0" y="1665"/>
                  <a:pt x="14" y="1461"/>
                </a:cubicBezTo>
                <a:cubicBezTo>
                  <a:pt x="27" y="1258"/>
                  <a:pt x="55" y="1091"/>
                  <a:pt x="109" y="919"/>
                </a:cubicBezTo>
                <a:cubicBezTo>
                  <a:pt x="178" y="731"/>
                  <a:pt x="286" y="562"/>
                  <a:pt x="424" y="424"/>
                </a:cubicBezTo>
                <a:cubicBezTo>
                  <a:pt x="562" y="286"/>
                  <a:pt x="731" y="178"/>
                  <a:pt x="919" y="109"/>
                </a:cubicBezTo>
                <a:cubicBezTo>
                  <a:pt x="1091" y="55"/>
                  <a:pt x="1258" y="27"/>
                  <a:pt x="1463" y="14"/>
                </a:cubicBezTo>
                <a:cubicBezTo>
                  <a:pt x="1668" y="0"/>
                  <a:pt x="1910" y="0"/>
                  <a:pt x="2234" y="0"/>
                </a:cubicBezTo>
                <a:lnTo>
                  <a:pt x="2224" y="0"/>
                </a:lnTo>
                <a:close/>
              </a:path>
            </a:pathLst>
          </a:custGeom>
          <a:solidFill>
            <a:schemeClr val="bg1"/>
          </a:solidFill>
          <a:ln w="12700" cap="flat">
            <a:noFill/>
            <a:miter lim="400000"/>
          </a:ln>
          <a:effectLst/>
        </p:spPr>
        <p:txBody>
          <a:bodyPr wrap="square" lIns="0" tIns="0" rIns="0" bIns="0" numCol="1"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1600" b="0" i="0" u="none" strike="noStrike" kern="1200" cap="none" spc="0" normalizeH="0" baseline="0" noProof="0" dirty="0">
              <a:ln>
                <a:noFill/>
              </a:ln>
              <a:solidFill>
                <a:srgbClr val="FFFFFF"/>
              </a:solidFill>
              <a:effectLst/>
              <a:uLnTx/>
              <a:uFillTx/>
              <a:latin typeface="OPPOSans R" panose="00020600040101010101" pitchFamily="18" charset="-122"/>
              <a:ea typeface="微软雅黑"/>
              <a:cs typeface="+mn-cs"/>
              <a:sym typeface="Helvetica Neue Medium"/>
            </a:endParaRPr>
          </a:p>
        </p:txBody>
      </p:sp>
      <p:sp>
        <p:nvSpPr>
          <p:cNvPr id="3628" name="gaoding-12"/>
          <p:cNvSpPr/>
          <p:nvPr/>
        </p:nvSpPr>
        <p:spPr>
          <a:xfrm>
            <a:off x="8267879" y="4223243"/>
            <a:ext cx="3105964" cy="1673590"/>
          </a:xfrm>
          <a:custGeom>
            <a:avLst/>
            <a:gdLst/>
            <a:ahLst/>
            <a:cxnLst>
              <a:cxn ang="0">
                <a:pos x="wd2" y="hd2"/>
              </a:cxn>
              <a:cxn ang="5400000">
                <a:pos x="wd2" y="hd2"/>
              </a:cxn>
              <a:cxn ang="10800000">
                <a:pos x="wd2" y="hd2"/>
              </a:cxn>
              <a:cxn ang="16200000">
                <a:pos x="wd2" y="hd2"/>
              </a:cxn>
            </a:cxnLst>
            <a:rect l="0" t="0" r="r" b="b"/>
            <a:pathLst>
              <a:path w="21600" h="21600" extrusionOk="0">
                <a:moveTo>
                  <a:pt x="823" y="0"/>
                </a:moveTo>
                <a:lnTo>
                  <a:pt x="20777" y="0"/>
                </a:lnTo>
                <a:cubicBezTo>
                  <a:pt x="20895" y="0"/>
                  <a:pt x="20984" y="0"/>
                  <a:pt x="21059" y="9"/>
                </a:cubicBezTo>
                <a:cubicBezTo>
                  <a:pt x="21134" y="19"/>
                  <a:pt x="21196" y="37"/>
                  <a:pt x="21260" y="75"/>
                </a:cubicBezTo>
                <a:cubicBezTo>
                  <a:pt x="21330" y="122"/>
                  <a:pt x="21392" y="196"/>
                  <a:pt x="21443" y="291"/>
                </a:cubicBezTo>
                <a:cubicBezTo>
                  <a:pt x="21494" y="386"/>
                  <a:pt x="21534" y="502"/>
                  <a:pt x="21560" y="631"/>
                </a:cubicBezTo>
                <a:cubicBezTo>
                  <a:pt x="21580" y="749"/>
                  <a:pt x="21590" y="864"/>
                  <a:pt x="21595" y="1005"/>
                </a:cubicBezTo>
                <a:cubicBezTo>
                  <a:pt x="21600" y="1145"/>
                  <a:pt x="21600" y="1312"/>
                  <a:pt x="21600" y="1535"/>
                </a:cubicBezTo>
                <a:lnTo>
                  <a:pt x="21600" y="20072"/>
                </a:lnTo>
                <a:cubicBezTo>
                  <a:pt x="21600" y="20291"/>
                  <a:pt x="21600" y="20456"/>
                  <a:pt x="21595" y="20596"/>
                </a:cubicBezTo>
                <a:cubicBezTo>
                  <a:pt x="21590" y="20736"/>
                  <a:pt x="21580" y="20851"/>
                  <a:pt x="21560" y="20969"/>
                </a:cubicBezTo>
                <a:cubicBezTo>
                  <a:pt x="21534" y="21098"/>
                  <a:pt x="21494" y="21214"/>
                  <a:pt x="21443" y="21309"/>
                </a:cubicBezTo>
                <a:cubicBezTo>
                  <a:pt x="21392" y="21404"/>
                  <a:pt x="21330" y="21478"/>
                  <a:pt x="21260" y="21525"/>
                </a:cubicBezTo>
                <a:cubicBezTo>
                  <a:pt x="21196" y="21563"/>
                  <a:pt x="21134" y="21581"/>
                  <a:pt x="21059" y="21591"/>
                </a:cubicBezTo>
                <a:cubicBezTo>
                  <a:pt x="20983" y="21600"/>
                  <a:pt x="20893" y="21600"/>
                  <a:pt x="20773" y="21600"/>
                </a:cubicBezTo>
                <a:lnTo>
                  <a:pt x="823" y="21600"/>
                </a:lnTo>
                <a:cubicBezTo>
                  <a:pt x="705" y="21600"/>
                  <a:pt x="616" y="21600"/>
                  <a:pt x="541" y="21591"/>
                </a:cubicBezTo>
                <a:cubicBezTo>
                  <a:pt x="466" y="21581"/>
                  <a:pt x="404" y="21563"/>
                  <a:pt x="340" y="21525"/>
                </a:cubicBezTo>
                <a:cubicBezTo>
                  <a:pt x="270" y="21478"/>
                  <a:pt x="208" y="21404"/>
                  <a:pt x="157" y="21309"/>
                </a:cubicBezTo>
                <a:cubicBezTo>
                  <a:pt x="106" y="21214"/>
                  <a:pt x="66" y="21098"/>
                  <a:pt x="40" y="20969"/>
                </a:cubicBezTo>
                <a:cubicBezTo>
                  <a:pt x="20" y="20851"/>
                  <a:pt x="10" y="20736"/>
                  <a:pt x="5" y="20595"/>
                </a:cubicBezTo>
                <a:cubicBezTo>
                  <a:pt x="0" y="20455"/>
                  <a:pt x="0" y="20288"/>
                  <a:pt x="0" y="20065"/>
                </a:cubicBezTo>
                <a:lnTo>
                  <a:pt x="0" y="1528"/>
                </a:lnTo>
                <a:cubicBezTo>
                  <a:pt x="0" y="1309"/>
                  <a:pt x="0" y="1144"/>
                  <a:pt x="5" y="1004"/>
                </a:cubicBezTo>
                <a:cubicBezTo>
                  <a:pt x="10" y="864"/>
                  <a:pt x="20" y="749"/>
                  <a:pt x="40" y="631"/>
                </a:cubicBezTo>
                <a:cubicBezTo>
                  <a:pt x="66" y="502"/>
                  <a:pt x="106" y="386"/>
                  <a:pt x="157" y="291"/>
                </a:cubicBezTo>
                <a:cubicBezTo>
                  <a:pt x="208" y="196"/>
                  <a:pt x="270" y="122"/>
                  <a:pt x="340" y="75"/>
                </a:cubicBezTo>
                <a:cubicBezTo>
                  <a:pt x="404" y="37"/>
                  <a:pt x="466" y="19"/>
                  <a:pt x="541" y="9"/>
                </a:cubicBezTo>
                <a:cubicBezTo>
                  <a:pt x="617" y="0"/>
                  <a:pt x="707" y="0"/>
                  <a:pt x="827" y="0"/>
                </a:cubicBezTo>
                <a:lnTo>
                  <a:pt x="823" y="0"/>
                </a:lnTo>
                <a:close/>
              </a:path>
            </a:pathLst>
          </a:custGeom>
          <a:gradFill flip="none" rotWithShape="1">
            <a:gsLst>
              <a:gs pos="1000">
                <a:schemeClr val="tx1">
                  <a:lumMod val="50000"/>
                  <a:lumOff val="50000"/>
                </a:schemeClr>
              </a:gs>
              <a:gs pos="100000">
                <a:schemeClr val="bg2">
                  <a:lumMod val="75000"/>
                </a:schemeClr>
              </a:gs>
            </a:gsLst>
            <a:lin ang="2700000" scaled="0"/>
            <a:tileRect/>
          </a:gradFill>
          <a:ln>
            <a:noFill/>
          </a:ln>
          <a:effectLst>
            <a:outerShdw blurRad="330200" dist="381000" dir="5400000" sx="90000" sy="90000" algn="t" rotWithShape="0">
              <a:schemeClr val="tx1">
                <a:lumMod val="75000"/>
                <a:lumOff val="25000"/>
                <a:alpha val="2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5720" tIns="22860" rIns="45720" bIns="228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FFFFFF"/>
              </a:solidFill>
              <a:effectLst/>
              <a:uLnTx/>
              <a:uFillTx/>
              <a:latin typeface="OPPOSans R" panose="00020600040101010101" pitchFamily="18" charset="-122"/>
              <a:ea typeface="微软雅黑"/>
              <a:cs typeface="+mn-cs"/>
            </a:endParaRPr>
          </a:p>
        </p:txBody>
      </p:sp>
      <p:sp>
        <p:nvSpPr>
          <p:cNvPr id="3632" name="gaoding-13"/>
          <p:cNvSpPr/>
          <p:nvPr/>
        </p:nvSpPr>
        <p:spPr>
          <a:xfrm>
            <a:off x="9289593" y="4885743"/>
            <a:ext cx="441761" cy="0"/>
          </a:xfrm>
          <a:prstGeom prst="line">
            <a:avLst/>
          </a:prstGeom>
          <a:noFill/>
          <a:ln w="25400" cap="flat">
            <a:solidFill>
              <a:srgbClr val="FFFFFF"/>
            </a:solidFill>
            <a:prstDash val="solid"/>
            <a:miter lim="400000"/>
          </a:ln>
          <a:effectLst/>
        </p:spPr>
        <p:txBody>
          <a:bodyPr wrap="square" lIns="0" tIns="0" rIns="0" bIns="0" numCol="1"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1600" b="0" i="0" u="none" strike="noStrike" kern="1200" cap="none" spc="0" normalizeH="0" baseline="0" noProof="0" dirty="0">
              <a:ln>
                <a:noFill/>
              </a:ln>
              <a:solidFill>
                <a:srgbClr val="FFFFFF"/>
              </a:solidFill>
              <a:effectLst/>
              <a:uLnTx/>
              <a:uFillTx/>
              <a:latin typeface="OPPOSans R" panose="00020600040101010101" pitchFamily="18" charset="-122"/>
              <a:ea typeface="微软雅黑"/>
              <a:cs typeface="+mn-cs"/>
              <a:sym typeface="Helvetica Neue Medium"/>
            </a:endParaRPr>
          </a:p>
        </p:txBody>
      </p:sp>
      <p:sp>
        <p:nvSpPr>
          <p:cNvPr id="3633" name="gaoding-14"/>
          <p:cNvSpPr/>
          <p:nvPr/>
        </p:nvSpPr>
        <p:spPr>
          <a:xfrm>
            <a:off x="8465473" y="4498304"/>
            <a:ext cx="635001" cy="635001"/>
          </a:xfrm>
          <a:custGeom>
            <a:avLst/>
            <a:gdLst/>
            <a:ahLst/>
            <a:cxnLst>
              <a:cxn ang="0">
                <a:pos x="wd2" y="hd2"/>
              </a:cxn>
              <a:cxn ang="5400000">
                <a:pos x="wd2" y="hd2"/>
              </a:cxn>
              <a:cxn ang="10800000">
                <a:pos x="wd2" y="hd2"/>
              </a:cxn>
              <a:cxn ang="16200000">
                <a:pos x="wd2" y="hd2"/>
              </a:cxn>
            </a:cxnLst>
            <a:rect l="0" t="0" r="r" b="b"/>
            <a:pathLst>
              <a:path w="21600" h="21600" extrusionOk="0">
                <a:moveTo>
                  <a:pt x="2224" y="0"/>
                </a:moveTo>
                <a:lnTo>
                  <a:pt x="19376" y="0"/>
                </a:lnTo>
                <a:cubicBezTo>
                  <a:pt x="19694" y="0"/>
                  <a:pt x="19935" y="0"/>
                  <a:pt x="20139" y="14"/>
                </a:cubicBezTo>
                <a:cubicBezTo>
                  <a:pt x="20342" y="27"/>
                  <a:pt x="20509" y="55"/>
                  <a:pt x="20681" y="109"/>
                </a:cubicBezTo>
                <a:cubicBezTo>
                  <a:pt x="20869" y="178"/>
                  <a:pt x="21038" y="286"/>
                  <a:pt x="21176" y="424"/>
                </a:cubicBezTo>
                <a:cubicBezTo>
                  <a:pt x="21314" y="562"/>
                  <a:pt x="21422" y="731"/>
                  <a:pt x="21491" y="919"/>
                </a:cubicBezTo>
                <a:cubicBezTo>
                  <a:pt x="21545" y="1091"/>
                  <a:pt x="21573" y="1258"/>
                  <a:pt x="21586" y="1463"/>
                </a:cubicBezTo>
                <a:cubicBezTo>
                  <a:pt x="21600" y="1668"/>
                  <a:pt x="21600" y="1910"/>
                  <a:pt x="21600" y="2234"/>
                </a:cubicBezTo>
                <a:lnTo>
                  <a:pt x="21600" y="19376"/>
                </a:lnTo>
                <a:cubicBezTo>
                  <a:pt x="21600" y="19694"/>
                  <a:pt x="21600" y="19935"/>
                  <a:pt x="21586" y="20139"/>
                </a:cubicBezTo>
                <a:cubicBezTo>
                  <a:pt x="21573" y="20342"/>
                  <a:pt x="21545" y="20509"/>
                  <a:pt x="21491" y="20681"/>
                </a:cubicBezTo>
                <a:cubicBezTo>
                  <a:pt x="21422" y="20869"/>
                  <a:pt x="21314" y="21038"/>
                  <a:pt x="21176" y="21176"/>
                </a:cubicBezTo>
                <a:cubicBezTo>
                  <a:pt x="21038" y="21314"/>
                  <a:pt x="20869" y="21422"/>
                  <a:pt x="20681" y="21491"/>
                </a:cubicBezTo>
                <a:cubicBezTo>
                  <a:pt x="20509" y="21545"/>
                  <a:pt x="20342" y="21573"/>
                  <a:pt x="20137" y="21586"/>
                </a:cubicBezTo>
                <a:cubicBezTo>
                  <a:pt x="19932" y="21600"/>
                  <a:pt x="19690" y="21600"/>
                  <a:pt x="19366" y="21600"/>
                </a:cubicBezTo>
                <a:lnTo>
                  <a:pt x="2224" y="21600"/>
                </a:lnTo>
                <a:cubicBezTo>
                  <a:pt x="1906" y="21600"/>
                  <a:pt x="1665" y="21600"/>
                  <a:pt x="1461" y="21586"/>
                </a:cubicBezTo>
                <a:cubicBezTo>
                  <a:pt x="1258" y="21573"/>
                  <a:pt x="1091" y="21545"/>
                  <a:pt x="919" y="21491"/>
                </a:cubicBezTo>
                <a:cubicBezTo>
                  <a:pt x="731" y="21422"/>
                  <a:pt x="562" y="21314"/>
                  <a:pt x="424" y="21176"/>
                </a:cubicBezTo>
                <a:cubicBezTo>
                  <a:pt x="286" y="21038"/>
                  <a:pt x="178" y="20869"/>
                  <a:pt x="109" y="20681"/>
                </a:cubicBezTo>
                <a:cubicBezTo>
                  <a:pt x="55" y="20509"/>
                  <a:pt x="27" y="20342"/>
                  <a:pt x="14" y="20137"/>
                </a:cubicBezTo>
                <a:cubicBezTo>
                  <a:pt x="0" y="19932"/>
                  <a:pt x="0" y="19690"/>
                  <a:pt x="0" y="19366"/>
                </a:cubicBezTo>
                <a:lnTo>
                  <a:pt x="0" y="2224"/>
                </a:lnTo>
                <a:cubicBezTo>
                  <a:pt x="0" y="1906"/>
                  <a:pt x="0" y="1665"/>
                  <a:pt x="14" y="1461"/>
                </a:cubicBezTo>
                <a:cubicBezTo>
                  <a:pt x="27" y="1258"/>
                  <a:pt x="55" y="1091"/>
                  <a:pt x="109" y="919"/>
                </a:cubicBezTo>
                <a:cubicBezTo>
                  <a:pt x="178" y="731"/>
                  <a:pt x="286" y="562"/>
                  <a:pt x="424" y="424"/>
                </a:cubicBezTo>
                <a:cubicBezTo>
                  <a:pt x="562" y="286"/>
                  <a:pt x="731" y="178"/>
                  <a:pt x="919" y="109"/>
                </a:cubicBezTo>
                <a:cubicBezTo>
                  <a:pt x="1091" y="55"/>
                  <a:pt x="1258" y="27"/>
                  <a:pt x="1463" y="14"/>
                </a:cubicBezTo>
                <a:cubicBezTo>
                  <a:pt x="1668" y="0"/>
                  <a:pt x="1910" y="0"/>
                  <a:pt x="2234" y="0"/>
                </a:cubicBezTo>
                <a:lnTo>
                  <a:pt x="2224" y="0"/>
                </a:lnTo>
                <a:close/>
              </a:path>
            </a:pathLst>
          </a:custGeom>
          <a:solidFill>
            <a:schemeClr val="bg1"/>
          </a:solidFill>
          <a:ln w="12700" cap="flat">
            <a:noFill/>
            <a:miter lim="400000"/>
          </a:ln>
          <a:effectLst/>
        </p:spPr>
        <p:txBody>
          <a:bodyPr wrap="square" lIns="0" tIns="0" rIns="0" bIns="0" numCol="1"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1600" b="0" i="0" u="none" strike="noStrike" kern="1200" cap="none" spc="0" normalizeH="0" baseline="0" noProof="0" dirty="0">
              <a:ln>
                <a:noFill/>
              </a:ln>
              <a:solidFill>
                <a:srgbClr val="FFFFFF"/>
              </a:solidFill>
              <a:effectLst/>
              <a:uLnTx/>
              <a:uFillTx/>
              <a:latin typeface="OPPOSans R" panose="00020600040101010101" pitchFamily="18" charset="-122"/>
              <a:ea typeface="微软雅黑"/>
              <a:cs typeface="+mn-cs"/>
              <a:sym typeface="Helvetica Neue Medium"/>
            </a:endParaRPr>
          </a:p>
        </p:txBody>
      </p:sp>
      <p:grpSp>
        <p:nvGrpSpPr>
          <p:cNvPr id="40" name="gaoding-15">
            <a:extLst>
              <a:ext uri="{FF2B5EF4-FFF2-40B4-BE49-F238E27FC236}">
                <a16:creationId xmlns:a16="http://schemas.microsoft.com/office/drawing/2014/main" id="{92C9A3DB-C56E-4D62-8BB4-8FD3D520C230}"/>
              </a:ext>
            </a:extLst>
          </p:cNvPr>
          <p:cNvGrpSpPr/>
          <p:nvPr/>
        </p:nvGrpSpPr>
        <p:grpSpPr>
          <a:xfrm>
            <a:off x="891548" y="519423"/>
            <a:ext cx="2954655" cy="786117"/>
            <a:chOff x="891548" y="488943"/>
            <a:chExt cx="2954655" cy="786117"/>
          </a:xfrm>
        </p:grpSpPr>
        <p:sp>
          <p:nvSpPr>
            <p:cNvPr id="41" name="gaoding-15-1">
              <a:extLst>
                <a:ext uri="{FF2B5EF4-FFF2-40B4-BE49-F238E27FC236}">
                  <a16:creationId xmlns:a16="http://schemas.microsoft.com/office/drawing/2014/main" id="{6D5E267B-704B-4737-B838-BD51B0552946}"/>
                </a:ext>
              </a:extLst>
            </p:cNvPr>
            <p:cNvSpPr txBox="1"/>
            <p:nvPr/>
          </p:nvSpPr>
          <p:spPr>
            <a:xfrm>
              <a:off x="891548" y="488943"/>
              <a:ext cx="2954655"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2400" b="1" i="0" u="none" strike="noStrike" kern="1200" cap="none" spc="0" normalizeH="0" baseline="0" noProof="0" dirty="0">
                  <a:ln>
                    <a:noFill/>
                  </a:ln>
                  <a:solidFill>
                    <a:srgbClr val="000000">
                      <a:lumMod val="85000"/>
                      <a:lumOff val="15000"/>
                    </a:srgbClr>
                  </a:solidFill>
                  <a:effectLst/>
                  <a:uLnTx/>
                  <a:uFillTx/>
                  <a:latin typeface="OPPOSans B" panose="00020600040101010101" pitchFamily="18" charset="-122"/>
                  <a:ea typeface="OPPOSans B" panose="00020600040101010101" pitchFamily="18" charset="-122"/>
                  <a:cs typeface="OPPOSans B" panose="00020600040101010101" pitchFamily="18" charset="-122"/>
                  <a:sym typeface="+mn-lt"/>
                </a:rPr>
                <a:t>秋叶</a:t>
              </a:r>
              <a:r>
                <a:rPr kumimoji="0" lang="en-US" altLang="zh-CN" sz="2400" b="1" i="0" u="none" strike="noStrike" kern="1200" cap="none" spc="0" normalizeH="0" baseline="0" noProof="0" dirty="0">
                  <a:ln>
                    <a:noFill/>
                  </a:ln>
                  <a:solidFill>
                    <a:srgbClr val="000000">
                      <a:lumMod val="85000"/>
                      <a:lumOff val="15000"/>
                    </a:srgbClr>
                  </a:solidFill>
                  <a:effectLst/>
                  <a:uLnTx/>
                  <a:uFillTx/>
                  <a:latin typeface="OPPOSans B" panose="00020600040101010101" pitchFamily="18" charset="-122"/>
                  <a:ea typeface="OPPOSans B" panose="00020600040101010101" pitchFamily="18" charset="-122"/>
                  <a:cs typeface="OPPOSans B" panose="00020600040101010101" pitchFamily="18" charset="-122"/>
                  <a:sym typeface="+mn-lt"/>
                </a:rPr>
                <a:t>PPT</a:t>
              </a:r>
              <a:r>
                <a:rPr kumimoji="0" lang="zh-CN" altLang="en-US" sz="2400" b="1" i="0" u="none" strike="noStrike" kern="1200" cap="none" spc="0" normalizeH="0" baseline="0" noProof="0" dirty="0">
                  <a:ln>
                    <a:noFill/>
                  </a:ln>
                  <a:solidFill>
                    <a:srgbClr val="000000">
                      <a:lumMod val="85000"/>
                      <a:lumOff val="15000"/>
                    </a:srgbClr>
                  </a:solidFill>
                  <a:effectLst/>
                  <a:uLnTx/>
                  <a:uFillTx/>
                  <a:latin typeface="OPPOSans B" panose="00020600040101010101" pitchFamily="18" charset="-122"/>
                  <a:ea typeface="OPPOSans B" panose="00020600040101010101" pitchFamily="18" charset="-122"/>
                  <a:cs typeface="OPPOSans B" panose="00020600040101010101" pitchFamily="18" charset="-122"/>
                  <a:sym typeface="+mn-lt"/>
                </a:rPr>
                <a:t>更快更轻松</a:t>
              </a:r>
            </a:p>
          </p:txBody>
        </p:sp>
        <p:sp>
          <p:nvSpPr>
            <p:cNvPr id="42" name="gaoding-15-2">
              <a:extLst>
                <a:ext uri="{FF2B5EF4-FFF2-40B4-BE49-F238E27FC236}">
                  <a16:creationId xmlns:a16="http://schemas.microsoft.com/office/drawing/2014/main" id="{74836881-32F3-43D0-9422-18C70E39F75E}"/>
                </a:ext>
              </a:extLst>
            </p:cNvPr>
            <p:cNvSpPr txBox="1"/>
            <p:nvPr/>
          </p:nvSpPr>
          <p:spPr>
            <a:xfrm>
              <a:off x="917798" y="895464"/>
              <a:ext cx="1202573"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100" b="0" i="0" u="none" strike="noStrike" kern="1200" cap="none" spc="0" normalizeH="0" baseline="0" noProof="0" dirty="0">
                  <a:ln>
                    <a:noFill/>
                  </a:ln>
                  <a:solidFill>
                    <a:srgbClr val="000000">
                      <a:lumMod val="85000"/>
                      <a:lumOff val="1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sym typeface="+mn-lt"/>
                </a:rPr>
                <a:t>Add </a:t>
              </a:r>
              <a:r>
                <a:rPr kumimoji="0" lang="zh-CN" altLang="en-US" sz="1100" b="0" i="0" u="none" strike="noStrike" kern="1200" cap="none" spc="0" normalizeH="0" baseline="0" noProof="0" dirty="0">
                  <a:ln>
                    <a:noFill/>
                  </a:ln>
                  <a:solidFill>
                    <a:srgbClr val="000000">
                      <a:lumMod val="85000"/>
                      <a:lumOff val="1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sym typeface="+mn-lt"/>
                </a:rPr>
                <a:t>关键词标题</a:t>
              </a:r>
              <a:endParaRPr kumimoji="0" lang="en-US" altLang="zh-CN" sz="1100" b="0" i="0" u="none" strike="noStrike" kern="1200" cap="none" spc="0" normalizeH="0" baseline="0" noProof="0" dirty="0">
                <a:ln>
                  <a:noFill/>
                </a:ln>
                <a:solidFill>
                  <a:srgbClr val="000000">
                    <a:lumMod val="85000"/>
                    <a:lumOff val="1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sym typeface="+mn-lt"/>
              </a:endParaRPr>
            </a:p>
          </p:txBody>
        </p:sp>
        <p:sp>
          <p:nvSpPr>
            <p:cNvPr id="43" name="gaoding-15-3">
              <a:extLst>
                <a:ext uri="{FF2B5EF4-FFF2-40B4-BE49-F238E27FC236}">
                  <a16:creationId xmlns:a16="http://schemas.microsoft.com/office/drawing/2014/main" id="{68E8639E-4F80-487D-B130-BD6BE6D01FFC}"/>
                </a:ext>
              </a:extLst>
            </p:cNvPr>
            <p:cNvSpPr/>
            <p:nvPr/>
          </p:nvSpPr>
          <p:spPr>
            <a:xfrm>
              <a:off x="1014806" y="1195562"/>
              <a:ext cx="811658" cy="79498"/>
            </a:xfrm>
            <a:prstGeom prst="rect">
              <a:avLst/>
            </a:prstGeom>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srgbClr val="FFFFFF"/>
                </a:solidFill>
                <a:effectLst/>
                <a:uLnTx/>
                <a:uFillTx/>
                <a:latin typeface="OPPOSans R" panose="00020600040101010101" pitchFamily="18" charset="-122"/>
                <a:ea typeface="微软雅黑"/>
                <a:cs typeface="+mn-ea"/>
                <a:sym typeface="+mn-lt"/>
              </a:endParaRPr>
            </a:p>
          </p:txBody>
        </p:sp>
      </p:grpSp>
      <p:sp>
        <p:nvSpPr>
          <p:cNvPr id="44" name="gaoding-16">
            <a:extLst>
              <a:ext uri="{FF2B5EF4-FFF2-40B4-BE49-F238E27FC236}">
                <a16:creationId xmlns:a16="http://schemas.microsoft.com/office/drawing/2014/main" id="{115360CD-500B-4224-84AA-29AAD545A6E2}"/>
              </a:ext>
            </a:extLst>
          </p:cNvPr>
          <p:cNvSpPr/>
          <p:nvPr/>
        </p:nvSpPr>
        <p:spPr>
          <a:xfrm>
            <a:off x="4807535" y="1482648"/>
            <a:ext cx="384422" cy="368282"/>
          </a:xfrm>
          <a:custGeom>
            <a:avLst/>
            <a:gdLst>
              <a:gd name="connsiteX0" fmla="*/ 196501 w 467362"/>
              <a:gd name="connsiteY0" fmla="*/ 222283 h 447740"/>
              <a:gd name="connsiteX1" fmla="*/ 227171 w 467362"/>
              <a:gd name="connsiteY1" fmla="*/ 249334 h 447740"/>
              <a:gd name="connsiteX2" fmla="*/ 204216 w 467362"/>
              <a:gd name="connsiteY2" fmla="*/ 278671 h 447740"/>
              <a:gd name="connsiteX3" fmla="*/ 196501 w 467362"/>
              <a:gd name="connsiteY3" fmla="*/ 278671 h 447740"/>
              <a:gd name="connsiteX4" fmla="*/ 181356 w 467362"/>
              <a:gd name="connsiteY4" fmla="*/ 263526 h 447740"/>
              <a:gd name="connsiteX5" fmla="*/ 181356 w 467362"/>
              <a:gd name="connsiteY5" fmla="*/ 237523 h 447740"/>
              <a:gd name="connsiteX6" fmla="*/ 181356 w 467362"/>
              <a:gd name="connsiteY6" fmla="*/ 237428 h 447740"/>
              <a:gd name="connsiteX7" fmla="*/ 196501 w 467362"/>
              <a:gd name="connsiteY7" fmla="*/ 222283 h 447740"/>
              <a:gd name="connsiteX8" fmla="*/ 139827 w 467362"/>
              <a:gd name="connsiteY8" fmla="*/ 182183 h 447740"/>
              <a:gd name="connsiteX9" fmla="*/ 124777 w 467362"/>
              <a:gd name="connsiteY9" fmla="*/ 197233 h 447740"/>
              <a:gd name="connsiteX10" fmla="*/ 124777 w 467362"/>
              <a:gd name="connsiteY10" fmla="*/ 368683 h 447740"/>
              <a:gd name="connsiteX11" fmla="*/ 124777 w 467362"/>
              <a:gd name="connsiteY11" fmla="*/ 368686 h 447740"/>
              <a:gd name="connsiteX12" fmla="*/ 139636 w 467362"/>
              <a:gd name="connsiteY12" fmla="*/ 383923 h 447740"/>
              <a:gd name="connsiteX13" fmla="*/ 166497 w 467362"/>
              <a:gd name="connsiteY13" fmla="*/ 383923 h 447740"/>
              <a:gd name="connsiteX14" fmla="*/ 181547 w 467362"/>
              <a:gd name="connsiteY14" fmla="*/ 368873 h 447740"/>
              <a:gd name="connsiteX15" fmla="*/ 181547 w 467362"/>
              <a:gd name="connsiteY15" fmla="*/ 334202 h 447740"/>
              <a:gd name="connsiteX16" fmla="*/ 196691 w 467362"/>
              <a:gd name="connsiteY16" fmla="*/ 319058 h 447740"/>
              <a:gd name="connsiteX17" fmla="*/ 209836 w 467362"/>
              <a:gd name="connsiteY17" fmla="*/ 319058 h 447740"/>
              <a:gd name="connsiteX18" fmla="*/ 247936 w 467362"/>
              <a:gd name="connsiteY18" fmla="*/ 309533 h 447740"/>
              <a:gd name="connsiteX19" fmla="*/ 272986 w 467362"/>
              <a:gd name="connsiteY19" fmla="*/ 284101 h 447740"/>
              <a:gd name="connsiteX20" fmla="*/ 281273 w 467362"/>
              <a:gd name="connsiteY20" fmla="*/ 251049 h 447740"/>
              <a:gd name="connsiteX21" fmla="*/ 272606 w 467362"/>
              <a:gd name="connsiteY21" fmla="*/ 217235 h 447740"/>
              <a:gd name="connsiteX22" fmla="*/ 247650 w 467362"/>
              <a:gd name="connsiteY22" fmla="*/ 191899 h 447740"/>
              <a:gd name="connsiteX23" fmla="*/ 207550 w 467362"/>
              <a:gd name="connsiteY23" fmla="*/ 182183 h 447740"/>
              <a:gd name="connsiteX24" fmla="*/ 15049 w 467362"/>
              <a:gd name="connsiteY24" fmla="*/ 73884 h 447740"/>
              <a:gd name="connsiteX25" fmla="*/ 183451 w 467362"/>
              <a:gd name="connsiteY25" fmla="*/ 73884 h 447740"/>
              <a:gd name="connsiteX26" fmla="*/ 198215 w 467362"/>
              <a:gd name="connsiteY26" fmla="*/ 85314 h 447740"/>
              <a:gd name="connsiteX27" fmla="*/ 202978 w 467362"/>
              <a:gd name="connsiteY27" fmla="*/ 105983 h 447740"/>
              <a:gd name="connsiteX28" fmla="*/ 217742 w 467362"/>
              <a:gd name="connsiteY28" fmla="*/ 117699 h 447740"/>
              <a:gd name="connsiteX29" fmla="*/ 354140 w 467362"/>
              <a:gd name="connsiteY29" fmla="*/ 117699 h 447740"/>
              <a:gd name="connsiteX30" fmla="*/ 354235 w 467362"/>
              <a:gd name="connsiteY30" fmla="*/ 117699 h 447740"/>
              <a:gd name="connsiteX31" fmla="*/ 369284 w 467362"/>
              <a:gd name="connsiteY31" fmla="*/ 132749 h 447740"/>
              <a:gd name="connsiteX32" fmla="*/ 369284 w 467362"/>
              <a:gd name="connsiteY32" fmla="*/ 432596 h 447740"/>
              <a:gd name="connsiteX33" fmla="*/ 354140 w 467362"/>
              <a:gd name="connsiteY33" fmla="*/ 447740 h 447740"/>
              <a:gd name="connsiteX34" fmla="*/ 15049 w 467362"/>
              <a:gd name="connsiteY34" fmla="*/ 447740 h 447740"/>
              <a:gd name="connsiteX35" fmla="*/ 0 w 467362"/>
              <a:gd name="connsiteY35" fmla="*/ 432596 h 447740"/>
              <a:gd name="connsiteX36" fmla="*/ 0 w 467362"/>
              <a:gd name="connsiteY36" fmla="*/ 88934 h 447740"/>
              <a:gd name="connsiteX37" fmla="*/ 15049 w 467362"/>
              <a:gd name="connsiteY37" fmla="*/ 73884 h 447740"/>
              <a:gd name="connsiteX38" fmla="*/ 124778 w 467362"/>
              <a:gd name="connsiteY38" fmla="*/ 351 h 447740"/>
              <a:gd name="connsiteX39" fmla="*/ 455581 w 467362"/>
              <a:gd name="connsiteY39" fmla="*/ 74075 h 447740"/>
              <a:gd name="connsiteX40" fmla="*/ 467011 w 467362"/>
              <a:gd name="connsiteY40" fmla="*/ 91982 h 447740"/>
              <a:gd name="connsiteX41" fmla="*/ 400336 w 467362"/>
              <a:gd name="connsiteY41" fmla="*/ 399449 h 447740"/>
              <a:gd name="connsiteX42" fmla="*/ 399193 w 467362"/>
              <a:gd name="connsiteY42" fmla="*/ 399449 h 447740"/>
              <a:gd name="connsiteX43" fmla="*/ 387573 w 467362"/>
              <a:gd name="connsiteY43" fmla="*/ 384780 h 447740"/>
              <a:gd name="connsiteX44" fmla="*/ 387573 w 467362"/>
              <a:gd name="connsiteY44" fmla="*/ 114556 h 447740"/>
              <a:gd name="connsiteX45" fmla="*/ 372428 w 467362"/>
              <a:gd name="connsiteY45" fmla="*/ 99411 h 447740"/>
              <a:gd name="connsiteX46" fmla="*/ 235839 w 467362"/>
              <a:gd name="connsiteY46" fmla="*/ 99411 h 447740"/>
              <a:gd name="connsiteX47" fmla="*/ 221171 w 467362"/>
              <a:gd name="connsiteY47" fmla="*/ 87791 h 447740"/>
              <a:gd name="connsiteX48" fmla="*/ 216408 w 467362"/>
              <a:gd name="connsiteY48" fmla="*/ 67121 h 447740"/>
              <a:gd name="connsiteX49" fmla="*/ 201645 w 467362"/>
              <a:gd name="connsiteY49" fmla="*/ 55501 h 447740"/>
              <a:gd name="connsiteX50" fmla="*/ 115920 w 467362"/>
              <a:gd name="connsiteY50" fmla="*/ 55501 h 447740"/>
              <a:gd name="connsiteX51" fmla="*/ 112872 w 467362"/>
              <a:gd name="connsiteY51" fmla="*/ 55171 h 447740"/>
              <a:gd name="connsiteX52" fmla="*/ 101156 w 467362"/>
              <a:gd name="connsiteY52" fmla="*/ 37213 h 447740"/>
              <a:gd name="connsiteX53" fmla="*/ 106680 w 467362"/>
              <a:gd name="connsiteY53" fmla="*/ 11876 h 447740"/>
              <a:gd name="connsiteX54" fmla="*/ 124778 w 467362"/>
              <a:gd name="connsiteY54" fmla="*/ 351 h 447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467362" h="447740">
                <a:moveTo>
                  <a:pt x="196501" y="222283"/>
                </a:moveTo>
                <a:cubicBezTo>
                  <a:pt x="216123" y="222791"/>
                  <a:pt x="226343" y="231808"/>
                  <a:pt x="227171" y="249334"/>
                </a:cubicBezTo>
                <a:cubicBezTo>
                  <a:pt x="226981" y="267813"/>
                  <a:pt x="219361" y="277528"/>
                  <a:pt x="204216" y="278671"/>
                </a:cubicBezTo>
                <a:lnTo>
                  <a:pt x="196501" y="278671"/>
                </a:lnTo>
                <a:cubicBezTo>
                  <a:pt x="188138" y="278671"/>
                  <a:pt x="181356" y="271890"/>
                  <a:pt x="181356" y="263526"/>
                </a:cubicBezTo>
                <a:lnTo>
                  <a:pt x="181356" y="237523"/>
                </a:lnTo>
                <a:cubicBezTo>
                  <a:pt x="181356" y="237492"/>
                  <a:pt x="181356" y="237459"/>
                  <a:pt x="181356" y="237428"/>
                </a:cubicBezTo>
                <a:cubicBezTo>
                  <a:pt x="181356" y="229063"/>
                  <a:pt x="188138" y="222283"/>
                  <a:pt x="196501" y="222283"/>
                </a:cubicBezTo>
                <a:close/>
                <a:moveTo>
                  <a:pt x="139827" y="182183"/>
                </a:moveTo>
                <a:cubicBezTo>
                  <a:pt x="131511" y="182183"/>
                  <a:pt x="124777" y="188921"/>
                  <a:pt x="124777" y="197233"/>
                </a:cubicBezTo>
                <a:lnTo>
                  <a:pt x="124777" y="368683"/>
                </a:lnTo>
                <a:cubicBezTo>
                  <a:pt x="124777" y="368684"/>
                  <a:pt x="124777" y="368685"/>
                  <a:pt x="124777" y="368686"/>
                </a:cubicBezTo>
                <a:cubicBezTo>
                  <a:pt x="124673" y="376996"/>
                  <a:pt x="131321" y="383818"/>
                  <a:pt x="139636" y="383923"/>
                </a:cubicBezTo>
                <a:lnTo>
                  <a:pt x="166497" y="383923"/>
                </a:lnTo>
                <a:cubicBezTo>
                  <a:pt x="174812" y="383923"/>
                  <a:pt x="181547" y="377185"/>
                  <a:pt x="181547" y="368873"/>
                </a:cubicBezTo>
                <a:lnTo>
                  <a:pt x="181547" y="334202"/>
                </a:lnTo>
                <a:cubicBezTo>
                  <a:pt x="181547" y="325838"/>
                  <a:pt x="188328" y="319058"/>
                  <a:pt x="196691" y="319058"/>
                </a:cubicBezTo>
                <a:lnTo>
                  <a:pt x="209836" y="319058"/>
                </a:lnTo>
                <a:cubicBezTo>
                  <a:pt x="223152" y="319298"/>
                  <a:pt x="236296" y="316011"/>
                  <a:pt x="247936" y="309533"/>
                </a:cubicBezTo>
                <a:cubicBezTo>
                  <a:pt x="258584" y="303672"/>
                  <a:pt x="267290" y="294834"/>
                  <a:pt x="272986" y="284101"/>
                </a:cubicBezTo>
                <a:cubicBezTo>
                  <a:pt x="278501" y="273963"/>
                  <a:pt x="281359" y="262590"/>
                  <a:pt x="281273" y="251049"/>
                </a:cubicBezTo>
                <a:cubicBezTo>
                  <a:pt x="281321" y="239223"/>
                  <a:pt x="278340" y="227581"/>
                  <a:pt x="272606" y="217235"/>
                </a:cubicBezTo>
                <a:cubicBezTo>
                  <a:pt x="266738" y="206686"/>
                  <a:pt x="258108" y="197929"/>
                  <a:pt x="247650" y="191899"/>
                </a:cubicBezTo>
                <a:cubicBezTo>
                  <a:pt x="235325" y="185300"/>
                  <a:pt x="221523" y="181956"/>
                  <a:pt x="207550" y="182183"/>
                </a:cubicBezTo>
                <a:close/>
                <a:moveTo>
                  <a:pt x="15049" y="73884"/>
                </a:moveTo>
                <a:lnTo>
                  <a:pt x="183451" y="73884"/>
                </a:lnTo>
                <a:cubicBezTo>
                  <a:pt x="190405" y="73880"/>
                  <a:pt x="196482" y="78582"/>
                  <a:pt x="198215" y="85314"/>
                </a:cubicBezTo>
                <a:lnTo>
                  <a:pt x="202978" y="105983"/>
                </a:lnTo>
                <a:cubicBezTo>
                  <a:pt x="204578" y="112848"/>
                  <a:pt x="210693" y="117705"/>
                  <a:pt x="217742" y="117699"/>
                </a:cubicBezTo>
                <a:lnTo>
                  <a:pt x="354140" y="117699"/>
                </a:lnTo>
                <a:cubicBezTo>
                  <a:pt x="354168" y="117699"/>
                  <a:pt x="354206" y="117699"/>
                  <a:pt x="354235" y="117699"/>
                </a:cubicBezTo>
                <a:cubicBezTo>
                  <a:pt x="362550" y="117699"/>
                  <a:pt x="369284" y="124437"/>
                  <a:pt x="369284" y="132749"/>
                </a:cubicBezTo>
                <a:lnTo>
                  <a:pt x="369284" y="432596"/>
                </a:lnTo>
                <a:cubicBezTo>
                  <a:pt x="369284" y="440959"/>
                  <a:pt x="362502" y="447740"/>
                  <a:pt x="354140" y="447740"/>
                </a:cubicBezTo>
                <a:lnTo>
                  <a:pt x="15049" y="447740"/>
                </a:lnTo>
                <a:cubicBezTo>
                  <a:pt x="6763" y="447688"/>
                  <a:pt x="0" y="440922"/>
                  <a:pt x="0" y="432596"/>
                </a:cubicBezTo>
                <a:lnTo>
                  <a:pt x="0" y="88934"/>
                </a:lnTo>
                <a:cubicBezTo>
                  <a:pt x="0" y="80622"/>
                  <a:pt x="6763" y="73884"/>
                  <a:pt x="15049" y="73884"/>
                </a:cubicBezTo>
                <a:close/>
                <a:moveTo>
                  <a:pt x="124778" y="351"/>
                </a:moveTo>
                <a:lnTo>
                  <a:pt x="455581" y="74075"/>
                </a:lnTo>
                <a:cubicBezTo>
                  <a:pt x="463678" y="75877"/>
                  <a:pt x="468783" y="83883"/>
                  <a:pt x="467011" y="91982"/>
                </a:cubicBezTo>
                <a:lnTo>
                  <a:pt x="400336" y="399449"/>
                </a:lnTo>
                <a:lnTo>
                  <a:pt x="399193" y="399449"/>
                </a:lnTo>
                <a:cubicBezTo>
                  <a:pt x="392364" y="397887"/>
                  <a:pt x="387535" y="391789"/>
                  <a:pt x="387573" y="384780"/>
                </a:cubicBezTo>
                <a:lnTo>
                  <a:pt x="387573" y="114556"/>
                </a:lnTo>
                <a:cubicBezTo>
                  <a:pt x="387573" y="106192"/>
                  <a:pt x="380791" y="99411"/>
                  <a:pt x="372428" y="99411"/>
                </a:cubicBezTo>
                <a:lnTo>
                  <a:pt x="235839" y="99411"/>
                </a:lnTo>
                <a:cubicBezTo>
                  <a:pt x="228838" y="99418"/>
                  <a:pt x="222762" y="94603"/>
                  <a:pt x="221171" y="87791"/>
                </a:cubicBezTo>
                <a:lnTo>
                  <a:pt x="216408" y="67121"/>
                </a:lnTo>
                <a:cubicBezTo>
                  <a:pt x="214742" y="60314"/>
                  <a:pt x="208655" y="55519"/>
                  <a:pt x="201645" y="55501"/>
                </a:cubicBezTo>
                <a:lnTo>
                  <a:pt x="115920" y="55501"/>
                </a:lnTo>
                <a:cubicBezTo>
                  <a:pt x="114872" y="55497"/>
                  <a:pt x="113824" y="55387"/>
                  <a:pt x="112872" y="55171"/>
                </a:cubicBezTo>
                <a:cubicBezTo>
                  <a:pt x="104680" y="53435"/>
                  <a:pt x="99442" y="45395"/>
                  <a:pt x="101156" y="37213"/>
                </a:cubicBezTo>
                <a:lnTo>
                  <a:pt x="106680" y="11876"/>
                </a:lnTo>
                <a:cubicBezTo>
                  <a:pt x="108490" y="3720"/>
                  <a:pt x="116606" y="-1424"/>
                  <a:pt x="124778" y="351"/>
                </a:cubicBezTo>
                <a:close/>
              </a:path>
            </a:pathLst>
          </a:custGeom>
          <a:solidFill>
            <a:schemeClr val="accent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srgbClr val="000000"/>
              </a:solidFill>
              <a:effectLst/>
              <a:uLnTx/>
              <a:uFillTx/>
              <a:latin typeface="OPPOSans R" panose="00020600040101010101" pitchFamily="18" charset="-122"/>
              <a:ea typeface="微软雅黑"/>
              <a:cs typeface="+mn-cs"/>
            </a:endParaRPr>
          </a:p>
        </p:txBody>
      </p:sp>
      <p:sp>
        <p:nvSpPr>
          <p:cNvPr id="34" name="gaoding-17">
            <a:extLst>
              <a:ext uri="{FF2B5EF4-FFF2-40B4-BE49-F238E27FC236}">
                <a16:creationId xmlns:a16="http://schemas.microsoft.com/office/drawing/2014/main" id="{6FB25212-7A7B-4528-857C-A0E14A811518}"/>
              </a:ext>
            </a:extLst>
          </p:cNvPr>
          <p:cNvSpPr/>
          <p:nvPr/>
        </p:nvSpPr>
        <p:spPr>
          <a:xfrm>
            <a:off x="1140285" y="4639817"/>
            <a:ext cx="384422" cy="370079"/>
          </a:xfrm>
          <a:custGeom>
            <a:avLst/>
            <a:gdLst>
              <a:gd name="connsiteX0" fmla="*/ 194024 w 465677"/>
              <a:gd name="connsiteY0" fmla="*/ 157258 h 448304"/>
              <a:gd name="connsiteX1" fmla="*/ 196023 w 465677"/>
              <a:gd name="connsiteY1" fmla="*/ 157258 h 448304"/>
              <a:gd name="connsiteX2" fmla="*/ 238410 w 465677"/>
              <a:gd name="connsiteY2" fmla="*/ 198691 h 448304"/>
              <a:gd name="connsiteX3" fmla="*/ 238410 w 465677"/>
              <a:gd name="connsiteY3" fmla="*/ 198791 h 448304"/>
              <a:gd name="connsiteX4" fmla="*/ 196023 w 465677"/>
              <a:gd name="connsiteY4" fmla="*/ 240220 h 448304"/>
              <a:gd name="connsiteX5" fmla="*/ 194024 w 465677"/>
              <a:gd name="connsiteY5" fmla="*/ 240220 h 448304"/>
              <a:gd name="connsiteX6" fmla="*/ 151733 w 465677"/>
              <a:gd name="connsiteY6" fmla="*/ 198691 h 448304"/>
              <a:gd name="connsiteX7" fmla="*/ 194024 w 465677"/>
              <a:gd name="connsiteY7" fmla="*/ 157258 h 448304"/>
              <a:gd name="connsiteX8" fmla="*/ 195263 w 465677"/>
              <a:gd name="connsiteY8" fmla="*/ 123824 h 448304"/>
              <a:gd name="connsiteX9" fmla="*/ 179737 w 465677"/>
              <a:gd name="connsiteY9" fmla="*/ 125062 h 448304"/>
              <a:gd name="connsiteX10" fmla="*/ 119729 w 465677"/>
              <a:gd name="connsiteY10" fmla="*/ 179831 h 448304"/>
              <a:gd name="connsiteX11" fmla="*/ 151734 w 465677"/>
              <a:gd name="connsiteY11" fmla="*/ 261937 h 448304"/>
              <a:gd name="connsiteX12" fmla="*/ 88488 w 465677"/>
              <a:gd name="connsiteY12" fmla="*/ 309562 h 448304"/>
              <a:gd name="connsiteX13" fmla="*/ 86582 w 465677"/>
              <a:gd name="connsiteY13" fmla="*/ 313303 h 448304"/>
              <a:gd name="connsiteX14" fmla="*/ 96107 w 465677"/>
              <a:gd name="connsiteY14" fmla="*/ 333374 h 448304"/>
              <a:gd name="connsiteX15" fmla="*/ 98298 w 465677"/>
              <a:gd name="connsiteY15" fmla="*/ 334231 h 448304"/>
              <a:gd name="connsiteX16" fmla="*/ 117348 w 465677"/>
              <a:gd name="connsiteY16" fmla="*/ 328135 h 448304"/>
              <a:gd name="connsiteX17" fmla="*/ 195167 w 465677"/>
              <a:gd name="connsiteY17" fmla="*/ 288892 h 448304"/>
              <a:gd name="connsiteX18" fmla="*/ 272987 w 465677"/>
              <a:gd name="connsiteY18" fmla="*/ 328135 h 448304"/>
              <a:gd name="connsiteX19" fmla="*/ 292037 w 465677"/>
              <a:gd name="connsiteY19" fmla="*/ 334231 h 448304"/>
              <a:gd name="connsiteX20" fmla="*/ 294228 w 465677"/>
              <a:gd name="connsiteY20" fmla="*/ 333374 h 448304"/>
              <a:gd name="connsiteX21" fmla="*/ 298038 w 465677"/>
              <a:gd name="connsiteY21" fmla="*/ 331430 h 448304"/>
              <a:gd name="connsiteX22" fmla="*/ 302038 w 465677"/>
              <a:gd name="connsiteY22" fmla="*/ 309562 h 448304"/>
              <a:gd name="connsiteX23" fmla="*/ 238791 w 465677"/>
              <a:gd name="connsiteY23" fmla="*/ 261937 h 448304"/>
              <a:gd name="connsiteX24" fmla="*/ 270796 w 465677"/>
              <a:gd name="connsiteY24" fmla="*/ 179831 h 448304"/>
              <a:gd name="connsiteX25" fmla="*/ 210788 w 465677"/>
              <a:gd name="connsiteY25" fmla="*/ 125062 h 448304"/>
              <a:gd name="connsiteX26" fmla="*/ 195263 w 465677"/>
              <a:gd name="connsiteY26" fmla="*/ 123824 h 448304"/>
              <a:gd name="connsiteX27" fmla="*/ 369285 w 465677"/>
              <a:gd name="connsiteY27" fmla="*/ 69717 h 448304"/>
              <a:gd name="connsiteX28" fmla="*/ 392811 w 465677"/>
              <a:gd name="connsiteY28" fmla="*/ 92677 h 448304"/>
              <a:gd name="connsiteX29" fmla="*/ 392811 w 465677"/>
              <a:gd name="connsiteY29" fmla="*/ 370903 h 448304"/>
              <a:gd name="connsiteX30" fmla="*/ 392811 w 465677"/>
              <a:gd name="connsiteY30" fmla="*/ 370906 h 448304"/>
              <a:gd name="connsiteX31" fmla="*/ 369380 w 465677"/>
              <a:gd name="connsiteY31" fmla="*/ 393763 h 448304"/>
              <a:gd name="connsiteX32" fmla="*/ 277559 w 465677"/>
              <a:gd name="connsiteY32" fmla="*/ 393763 h 448304"/>
              <a:gd name="connsiteX33" fmla="*/ 261461 w 465677"/>
              <a:gd name="connsiteY33" fmla="*/ 400049 h 448304"/>
              <a:gd name="connsiteX34" fmla="*/ 216217 w 465677"/>
              <a:gd name="connsiteY34" fmla="*/ 442054 h 448304"/>
              <a:gd name="connsiteX35" fmla="*/ 183356 w 465677"/>
              <a:gd name="connsiteY35" fmla="*/ 441388 h 448304"/>
              <a:gd name="connsiteX36" fmla="*/ 142684 w 465677"/>
              <a:gd name="connsiteY36" fmla="*/ 400621 h 448304"/>
              <a:gd name="connsiteX37" fmla="*/ 125920 w 465677"/>
              <a:gd name="connsiteY37" fmla="*/ 393763 h 448304"/>
              <a:gd name="connsiteX38" fmla="*/ 23336 w 465677"/>
              <a:gd name="connsiteY38" fmla="*/ 393763 h 448304"/>
              <a:gd name="connsiteX39" fmla="*/ 0 w 465677"/>
              <a:gd name="connsiteY39" fmla="*/ 370903 h 448304"/>
              <a:gd name="connsiteX40" fmla="*/ 0 w 465677"/>
              <a:gd name="connsiteY40" fmla="*/ 92677 h 448304"/>
              <a:gd name="connsiteX41" fmla="*/ 22956 w 465677"/>
              <a:gd name="connsiteY41" fmla="*/ 69722 h 448304"/>
              <a:gd name="connsiteX42" fmla="*/ 368999 w 465677"/>
              <a:gd name="connsiteY42" fmla="*/ 69722 h 448304"/>
              <a:gd name="connsiteX43" fmla="*/ 369285 w 465677"/>
              <a:gd name="connsiteY43" fmla="*/ 69717 h 448304"/>
              <a:gd name="connsiteX44" fmla="*/ 123825 w 465677"/>
              <a:gd name="connsiteY44" fmla="*/ 0 h 448304"/>
              <a:gd name="connsiteX45" fmla="*/ 445484 w 465677"/>
              <a:gd name="connsiteY45" fmla="*/ 0 h 448304"/>
              <a:gd name="connsiteX46" fmla="*/ 465677 w 465677"/>
              <a:gd name="connsiteY46" fmla="*/ 19810 h 448304"/>
              <a:gd name="connsiteX47" fmla="*/ 465677 w 465677"/>
              <a:gd name="connsiteY47" fmla="*/ 19812 h 448304"/>
              <a:gd name="connsiteX48" fmla="*/ 465677 w 465677"/>
              <a:gd name="connsiteY48" fmla="*/ 307753 h 448304"/>
              <a:gd name="connsiteX49" fmla="*/ 445866 w 465677"/>
              <a:gd name="connsiteY49" fmla="*/ 327565 h 448304"/>
              <a:gd name="connsiteX50" fmla="*/ 411384 w 465677"/>
              <a:gd name="connsiteY50" fmla="*/ 327565 h 448304"/>
              <a:gd name="connsiteX51" fmla="*/ 411384 w 465677"/>
              <a:gd name="connsiteY51" fmla="*/ 288512 h 448304"/>
              <a:gd name="connsiteX52" fmla="*/ 426244 w 465677"/>
              <a:gd name="connsiteY52" fmla="*/ 274037 h 448304"/>
              <a:gd name="connsiteX53" fmla="*/ 426244 w 465677"/>
              <a:gd name="connsiteY53" fmla="*/ 274034 h 448304"/>
              <a:gd name="connsiteX54" fmla="*/ 426244 w 465677"/>
              <a:gd name="connsiteY54" fmla="*/ 53626 h 448304"/>
              <a:gd name="connsiteX55" fmla="*/ 411479 w 465677"/>
              <a:gd name="connsiteY55" fmla="*/ 39051 h 448304"/>
              <a:gd name="connsiteX56" fmla="*/ 411384 w 465677"/>
              <a:gd name="connsiteY56" fmla="*/ 39052 h 448304"/>
              <a:gd name="connsiteX57" fmla="*/ 158782 w 465677"/>
              <a:gd name="connsiteY57" fmla="*/ 39052 h 448304"/>
              <a:gd name="connsiteX58" fmla="*/ 143922 w 465677"/>
              <a:gd name="connsiteY58" fmla="*/ 53529 h 448304"/>
              <a:gd name="connsiteX59" fmla="*/ 143922 w 465677"/>
              <a:gd name="connsiteY59" fmla="*/ 53626 h 448304"/>
              <a:gd name="connsiteX60" fmla="*/ 143922 w 465677"/>
              <a:gd name="connsiteY60" fmla="*/ 58007 h 448304"/>
              <a:gd name="connsiteX61" fmla="*/ 104013 w 465677"/>
              <a:gd name="connsiteY61" fmla="*/ 58007 h 448304"/>
              <a:gd name="connsiteX62" fmla="*/ 104013 w 465677"/>
              <a:gd name="connsiteY62" fmla="*/ 19907 h 448304"/>
              <a:gd name="connsiteX63" fmla="*/ 123825 w 465677"/>
              <a:gd name="connsiteY63" fmla="*/ 0 h 448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465677" h="448304">
                <a:moveTo>
                  <a:pt x="194024" y="157258"/>
                </a:moveTo>
                <a:lnTo>
                  <a:pt x="196023" y="157258"/>
                </a:lnTo>
                <a:cubicBezTo>
                  <a:pt x="219170" y="156996"/>
                  <a:pt x="238124" y="175547"/>
                  <a:pt x="238410" y="198691"/>
                </a:cubicBezTo>
                <a:cubicBezTo>
                  <a:pt x="238410" y="198725"/>
                  <a:pt x="238410" y="198758"/>
                  <a:pt x="238410" y="198791"/>
                </a:cubicBezTo>
                <a:cubicBezTo>
                  <a:pt x="238124" y="221936"/>
                  <a:pt x="219170" y="240484"/>
                  <a:pt x="196023" y="240220"/>
                </a:cubicBezTo>
                <a:lnTo>
                  <a:pt x="194024" y="240220"/>
                </a:lnTo>
                <a:cubicBezTo>
                  <a:pt x="170877" y="240430"/>
                  <a:pt x="151923" y="221837"/>
                  <a:pt x="151733" y="198691"/>
                </a:cubicBezTo>
                <a:cubicBezTo>
                  <a:pt x="152018" y="175582"/>
                  <a:pt x="170877" y="157046"/>
                  <a:pt x="194024" y="157258"/>
                </a:cubicBezTo>
                <a:close/>
                <a:moveTo>
                  <a:pt x="195263" y="123824"/>
                </a:moveTo>
                <a:cubicBezTo>
                  <a:pt x="190023" y="123723"/>
                  <a:pt x="184881" y="124138"/>
                  <a:pt x="179737" y="125062"/>
                </a:cubicBezTo>
                <a:cubicBezTo>
                  <a:pt x="150685" y="129889"/>
                  <a:pt x="127159" y="151339"/>
                  <a:pt x="119729" y="179831"/>
                </a:cubicBezTo>
                <a:cubicBezTo>
                  <a:pt x="111442" y="211245"/>
                  <a:pt x="124397" y="244410"/>
                  <a:pt x="151734" y="261937"/>
                </a:cubicBezTo>
                <a:cubicBezTo>
                  <a:pt x="126111" y="270647"/>
                  <a:pt x="103918" y="287337"/>
                  <a:pt x="88488" y="309562"/>
                </a:cubicBezTo>
                <a:cubicBezTo>
                  <a:pt x="87725" y="310717"/>
                  <a:pt x="87059" y="311975"/>
                  <a:pt x="86582" y="313303"/>
                </a:cubicBezTo>
                <a:cubicBezTo>
                  <a:pt x="83630" y="321482"/>
                  <a:pt x="87916" y="330468"/>
                  <a:pt x="96107" y="333374"/>
                </a:cubicBezTo>
                <a:lnTo>
                  <a:pt x="98298" y="334231"/>
                </a:lnTo>
                <a:cubicBezTo>
                  <a:pt x="105252" y="336658"/>
                  <a:pt x="113062" y="334175"/>
                  <a:pt x="117348" y="328135"/>
                </a:cubicBezTo>
                <a:cubicBezTo>
                  <a:pt x="135255" y="303068"/>
                  <a:pt x="164402" y="288401"/>
                  <a:pt x="195167" y="288892"/>
                </a:cubicBezTo>
                <a:cubicBezTo>
                  <a:pt x="225933" y="288401"/>
                  <a:pt x="255080" y="303068"/>
                  <a:pt x="272987" y="328135"/>
                </a:cubicBezTo>
                <a:cubicBezTo>
                  <a:pt x="277273" y="334175"/>
                  <a:pt x="285084" y="336658"/>
                  <a:pt x="292037" y="334231"/>
                </a:cubicBezTo>
                <a:lnTo>
                  <a:pt x="294228" y="333374"/>
                </a:lnTo>
                <a:cubicBezTo>
                  <a:pt x="295561" y="332906"/>
                  <a:pt x="296895" y="332251"/>
                  <a:pt x="298038" y="331430"/>
                </a:cubicBezTo>
                <a:cubicBezTo>
                  <a:pt x="305182" y="326488"/>
                  <a:pt x="306991" y="316697"/>
                  <a:pt x="302038" y="309562"/>
                </a:cubicBezTo>
                <a:cubicBezTo>
                  <a:pt x="286607" y="287337"/>
                  <a:pt x="264414" y="270647"/>
                  <a:pt x="238791" y="261937"/>
                </a:cubicBezTo>
                <a:cubicBezTo>
                  <a:pt x="266128" y="244410"/>
                  <a:pt x="279083" y="211245"/>
                  <a:pt x="270796" y="179831"/>
                </a:cubicBezTo>
                <a:cubicBezTo>
                  <a:pt x="263367" y="151339"/>
                  <a:pt x="239840" y="129889"/>
                  <a:pt x="210788" y="125062"/>
                </a:cubicBezTo>
                <a:cubicBezTo>
                  <a:pt x="205645" y="124138"/>
                  <a:pt x="200502" y="123723"/>
                  <a:pt x="195263" y="123824"/>
                </a:cubicBezTo>
                <a:close/>
                <a:moveTo>
                  <a:pt x="369285" y="69717"/>
                </a:moveTo>
                <a:cubicBezTo>
                  <a:pt x="382143" y="69563"/>
                  <a:pt x="392620" y="79843"/>
                  <a:pt x="392811" y="92677"/>
                </a:cubicBezTo>
                <a:lnTo>
                  <a:pt x="392811" y="370903"/>
                </a:lnTo>
                <a:cubicBezTo>
                  <a:pt x="392811" y="370904"/>
                  <a:pt x="392811" y="370905"/>
                  <a:pt x="392811" y="370906"/>
                </a:cubicBezTo>
                <a:cubicBezTo>
                  <a:pt x="392620" y="383688"/>
                  <a:pt x="382143" y="393922"/>
                  <a:pt x="369380" y="393763"/>
                </a:cubicBezTo>
                <a:lnTo>
                  <a:pt x="277559" y="393763"/>
                </a:lnTo>
                <a:cubicBezTo>
                  <a:pt x="271558" y="393778"/>
                  <a:pt x="265843" y="396020"/>
                  <a:pt x="261461" y="400049"/>
                </a:cubicBezTo>
                <a:lnTo>
                  <a:pt x="216217" y="442054"/>
                </a:lnTo>
                <a:cubicBezTo>
                  <a:pt x="206883" y="450639"/>
                  <a:pt x="192405" y="450346"/>
                  <a:pt x="183356" y="441388"/>
                </a:cubicBezTo>
                <a:lnTo>
                  <a:pt x="142684" y="400621"/>
                </a:lnTo>
                <a:cubicBezTo>
                  <a:pt x="138208" y="396215"/>
                  <a:pt x="132207" y="393751"/>
                  <a:pt x="125920" y="393763"/>
                </a:cubicBezTo>
                <a:lnTo>
                  <a:pt x="23336" y="393763"/>
                </a:lnTo>
                <a:cubicBezTo>
                  <a:pt x="10573" y="393868"/>
                  <a:pt x="191" y="383648"/>
                  <a:pt x="0" y="370903"/>
                </a:cubicBezTo>
                <a:lnTo>
                  <a:pt x="0" y="92677"/>
                </a:lnTo>
                <a:cubicBezTo>
                  <a:pt x="96" y="80043"/>
                  <a:pt x="10287" y="69826"/>
                  <a:pt x="22956" y="69722"/>
                </a:cubicBezTo>
                <a:lnTo>
                  <a:pt x="368999" y="69722"/>
                </a:lnTo>
                <a:cubicBezTo>
                  <a:pt x="369094" y="69720"/>
                  <a:pt x="369189" y="69718"/>
                  <a:pt x="369285" y="69717"/>
                </a:cubicBezTo>
                <a:close/>
                <a:moveTo>
                  <a:pt x="123825" y="0"/>
                </a:moveTo>
                <a:lnTo>
                  <a:pt x="445484" y="0"/>
                </a:lnTo>
                <a:cubicBezTo>
                  <a:pt x="456534" y="-106"/>
                  <a:pt x="465582" y="8764"/>
                  <a:pt x="465677" y="19810"/>
                </a:cubicBezTo>
                <a:cubicBezTo>
                  <a:pt x="465677" y="19811"/>
                  <a:pt x="465677" y="19811"/>
                  <a:pt x="465677" y="19812"/>
                </a:cubicBezTo>
                <a:lnTo>
                  <a:pt x="465677" y="307753"/>
                </a:lnTo>
                <a:cubicBezTo>
                  <a:pt x="465582" y="318651"/>
                  <a:pt x="456723" y="327462"/>
                  <a:pt x="445866" y="327565"/>
                </a:cubicBezTo>
                <a:lnTo>
                  <a:pt x="411384" y="327565"/>
                </a:lnTo>
                <a:lnTo>
                  <a:pt x="411384" y="288512"/>
                </a:lnTo>
                <a:cubicBezTo>
                  <a:pt x="419481" y="288618"/>
                  <a:pt x="426148" y="282137"/>
                  <a:pt x="426244" y="274037"/>
                </a:cubicBezTo>
                <a:cubicBezTo>
                  <a:pt x="426244" y="274036"/>
                  <a:pt x="426244" y="274035"/>
                  <a:pt x="426244" y="274034"/>
                </a:cubicBezTo>
                <a:lnTo>
                  <a:pt x="426244" y="53626"/>
                </a:lnTo>
                <a:cubicBezTo>
                  <a:pt x="426148" y="45525"/>
                  <a:pt x="419576" y="39000"/>
                  <a:pt x="411479" y="39051"/>
                </a:cubicBezTo>
                <a:cubicBezTo>
                  <a:pt x="411479" y="39052"/>
                  <a:pt x="411384" y="39052"/>
                  <a:pt x="411384" y="39052"/>
                </a:cubicBezTo>
                <a:lnTo>
                  <a:pt x="158782" y="39052"/>
                </a:lnTo>
                <a:cubicBezTo>
                  <a:pt x="150685" y="38947"/>
                  <a:pt x="144018" y="45428"/>
                  <a:pt x="143922" y="53529"/>
                </a:cubicBezTo>
                <a:cubicBezTo>
                  <a:pt x="143922" y="53561"/>
                  <a:pt x="143922" y="53593"/>
                  <a:pt x="143922" y="53626"/>
                </a:cubicBezTo>
                <a:lnTo>
                  <a:pt x="143922" y="58007"/>
                </a:lnTo>
                <a:lnTo>
                  <a:pt x="104013" y="58007"/>
                </a:lnTo>
                <a:lnTo>
                  <a:pt x="104013" y="19907"/>
                </a:lnTo>
                <a:cubicBezTo>
                  <a:pt x="104109" y="8971"/>
                  <a:pt x="112871" y="104"/>
                  <a:pt x="123825" y="0"/>
                </a:cubicBezTo>
                <a:close/>
              </a:path>
            </a:pathLst>
          </a:custGeom>
          <a:solidFill>
            <a:schemeClr val="accent2"/>
          </a:solidFill>
          <a:ln w="9525" cap="flat">
            <a:noFill/>
            <a:prstDash val="solid"/>
            <a:miter/>
          </a:ln>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srgbClr val="000000"/>
              </a:solidFill>
              <a:effectLst/>
              <a:uLnTx/>
              <a:uFillTx/>
              <a:latin typeface="OPPOSans R" panose="00020600040101010101" pitchFamily="18" charset="-122"/>
              <a:ea typeface="微软雅黑"/>
              <a:cs typeface="+mn-cs"/>
            </a:endParaRPr>
          </a:p>
        </p:txBody>
      </p:sp>
      <p:sp>
        <p:nvSpPr>
          <p:cNvPr id="32" name="gaoding-18">
            <a:extLst>
              <a:ext uri="{FF2B5EF4-FFF2-40B4-BE49-F238E27FC236}">
                <a16:creationId xmlns:a16="http://schemas.microsoft.com/office/drawing/2014/main" id="{AC0830CB-6597-439C-AC9E-4335FF706562}"/>
              </a:ext>
            </a:extLst>
          </p:cNvPr>
          <p:cNvSpPr/>
          <p:nvPr/>
        </p:nvSpPr>
        <p:spPr>
          <a:xfrm>
            <a:off x="4874796" y="4646571"/>
            <a:ext cx="384422" cy="338466"/>
          </a:xfrm>
          <a:custGeom>
            <a:avLst/>
            <a:gdLst>
              <a:gd name="connsiteX0" fmla="*/ 398255 w 505374"/>
              <a:gd name="connsiteY0" fmla="*/ 230617 h 444961"/>
              <a:gd name="connsiteX1" fmla="*/ 420410 w 505374"/>
              <a:gd name="connsiteY1" fmla="*/ 253223 h 444961"/>
              <a:gd name="connsiteX2" fmla="*/ 420410 w 505374"/>
              <a:gd name="connsiteY2" fmla="*/ 422482 h 444961"/>
              <a:gd name="connsiteX3" fmla="*/ 398027 w 505374"/>
              <a:gd name="connsiteY3" fmla="*/ 444961 h 444961"/>
              <a:gd name="connsiteX4" fmla="*/ 90369 w 505374"/>
              <a:gd name="connsiteY4" fmla="*/ 444961 h 444961"/>
              <a:gd name="connsiteX5" fmla="*/ 67985 w 505374"/>
              <a:gd name="connsiteY5" fmla="*/ 422482 h 444961"/>
              <a:gd name="connsiteX6" fmla="*/ 67985 w 505374"/>
              <a:gd name="connsiteY6" fmla="*/ 253223 h 444961"/>
              <a:gd name="connsiteX7" fmla="*/ 69938 w 505374"/>
              <a:gd name="connsiteY7" fmla="*/ 244031 h 444961"/>
              <a:gd name="connsiteX8" fmla="*/ 99513 w 505374"/>
              <a:gd name="connsiteY8" fmla="*/ 232744 h 444961"/>
              <a:gd name="connsiteX9" fmla="*/ 235054 w 505374"/>
              <a:gd name="connsiteY9" fmla="*/ 293228 h 444961"/>
              <a:gd name="connsiteX10" fmla="*/ 253342 w 505374"/>
              <a:gd name="connsiteY10" fmla="*/ 293228 h 444961"/>
              <a:gd name="connsiteX11" fmla="*/ 388502 w 505374"/>
              <a:gd name="connsiteY11" fmla="*/ 232744 h 444961"/>
              <a:gd name="connsiteX12" fmla="*/ 398255 w 505374"/>
              <a:gd name="connsiteY12" fmla="*/ 230617 h 444961"/>
              <a:gd name="connsiteX13" fmla="*/ 475294 w 505374"/>
              <a:gd name="connsiteY13" fmla="*/ 200147 h 444961"/>
              <a:gd name="connsiteX14" fmla="*/ 495372 w 505374"/>
              <a:gd name="connsiteY14" fmla="*/ 220076 h 444961"/>
              <a:gd name="connsiteX15" fmla="*/ 495372 w 505374"/>
              <a:gd name="connsiteY15" fmla="*/ 334376 h 444961"/>
              <a:gd name="connsiteX16" fmla="*/ 505374 w 505374"/>
              <a:gd name="connsiteY16" fmla="*/ 351521 h 444961"/>
              <a:gd name="connsiteX17" fmla="*/ 505374 w 505374"/>
              <a:gd name="connsiteY17" fmla="*/ 394098 h 444961"/>
              <a:gd name="connsiteX18" fmla="*/ 485371 w 505374"/>
              <a:gd name="connsiteY18" fmla="*/ 414005 h 444961"/>
              <a:gd name="connsiteX19" fmla="*/ 465464 w 505374"/>
              <a:gd name="connsiteY19" fmla="*/ 414005 h 444961"/>
              <a:gd name="connsiteX20" fmla="*/ 445461 w 505374"/>
              <a:gd name="connsiteY20" fmla="*/ 394098 h 444961"/>
              <a:gd name="connsiteX21" fmla="*/ 445461 w 505374"/>
              <a:gd name="connsiteY21" fmla="*/ 351521 h 444961"/>
              <a:gd name="connsiteX22" fmla="*/ 455462 w 505374"/>
              <a:gd name="connsiteY22" fmla="*/ 334376 h 444961"/>
              <a:gd name="connsiteX23" fmla="*/ 455462 w 505374"/>
              <a:gd name="connsiteY23" fmla="*/ 220076 h 444961"/>
              <a:gd name="connsiteX24" fmla="*/ 466226 w 505374"/>
              <a:gd name="connsiteY24" fmla="*/ 202360 h 444961"/>
              <a:gd name="connsiteX25" fmla="*/ 475294 w 505374"/>
              <a:gd name="connsiteY25" fmla="*/ 200147 h 444961"/>
              <a:gd name="connsiteX26" fmla="*/ 233053 w 505374"/>
              <a:gd name="connsiteY26" fmla="*/ 2430 h 444961"/>
              <a:gd name="connsiteX27" fmla="*/ 254580 w 505374"/>
              <a:gd name="connsiteY27" fmla="*/ 2430 h 444961"/>
              <a:gd name="connsiteX28" fmla="*/ 473655 w 505374"/>
              <a:gd name="connsiteY28" fmla="*/ 107777 h 444961"/>
              <a:gd name="connsiteX29" fmla="*/ 485151 w 505374"/>
              <a:gd name="connsiteY29" fmla="*/ 119270 h 444961"/>
              <a:gd name="connsiteX30" fmla="*/ 473655 w 505374"/>
              <a:gd name="connsiteY30" fmla="*/ 152354 h 444961"/>
              <a:gd name="connsiteX31" fmla="*/ 254580 w 505374"/>
              <a:gd name="connsiteY31" fmla="*/ 257700 h 444961"/>
              <a:gd name="connsiteX32" fmla="*/ 233053 w 505374"/>
              <a:gd name="connsiteY32" fmla="*/ 257700 h 444961"/>
              <a:gd name="connsiteX33" fmla="*/ 13978 w 505374"/>
              <a:gd name="connsiteY33" fmla="*/ 152354 h 444961"/>
              <a:gd name="connsiteX34" fmla="*/ 2482 w 505374"/>
              <a:gd name="connsiteY34" fmla="*/ 140860 h 444961"/>
              <a:gd name="connsiteX35" fmla="*/ 13978 w 505374"/>
              <a:gd name="connsiteY35" fmla="*/ 107777 h 4449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505374" h="444961">
                <a:moveTo>
                  <a:pt x="398255" y="230617"/>
                </a:moveTo>
                <a:cubicBezTo>
                  <a:pt x="410609" y="230740"/>
                  <a:pt x="420534" y="240861"/>
                  <a:pt x="420410" y="253223"/>
                </a:cubicBezTo>
                <a:lnTo>
                  <a:pt x="420410" y="422482"/>
                </a:lnTo>
                <a:cubicBezTo>
                  <a:pt x="420410" y="434860"/>
                  <a:pt x="410409" y="444909"/>
                  <a:pt x="398027" y="444961"/>
                </a:cubicBezTo>
                <a:lnTo>
                  <a:pt x="90369" y="444961"/>
                </a:lnTo>
                <a:cubicBezTo>
                  <a:pt x="77996" y="444909"/>
                  <a:pt x="67985" y="434860"/>
                  <a:pt x="67985" y="422482"/>
                </a:cubicBezTo>
                <a:lnTo>
                  <a:pt x="67985" y="253223"/>
                </a:lnTo>
                <a:cubicBezTo>
                  <a:pt x="67976" y="250055"/>
                  <a:pt x="68643" y="246922"/>
                  <a:pt x="69938" y="244031"/>
                </a:cubicBezTo>
                <a:cubicBezTo>
                  <a:pt x="74987" y="232747"/>
                  <a:pt x="88226" y="227694"/>
                  <a:pt x="99513" y="232744"/>
                </a:cubicBezTo>
                <a:lnTo>
                  <a:pt x="235054" y="293228"/>
                </a:lnTo>
                <a:cubicBezTo>
                  <a:pt x="240855" y="295894"/>
                  <a:pt x="247541" y="295894"/>
                  <a:pt x="253342" y="293228"/>
                </a:cubicBezTo>
                <a:lnTo>
                  <a:pt x="388502" y="232744"/>
                </a:lnTo>
                <a:cubicBezTo>
                  <a:pt x="391550" y="231311"/>
                  <a:pt x="394883" y="230584"/>
                  <a:pt x="398255" y="230617"/>
                </a:cubicBezTo>
                <a:close/>
                <a:moveTo>
                  <a:pt x="475294" y="200147"/>
                </a:moveTo>
                <a:cubicBezTo>
                  <a:pt x="486342" y="200107"/>
                  <a:pt x="495334" y="209029"/>
                  <a:pt x="495372" y="220076"/>
                </a:cubicBezTo>
                <a:lnTo>
                  <a:pt x="495372" y="334376"/>
                </a:lnTo>
                <a:cubicBezTo>
                  <a:pt x="501526" y="337903"/>
                  <a:pt x="505326" y="344434"/>
                  <a:pt x="505374" y="351521"/>
                </a:cubicBezTo>
                <a:lnTo>
                  <a:pt x="505374" y="394098"/>
                </a:lnTo>
                <a:cubicBezTo>
                  <a:pt x="505316" y="405108"/>
                  <a:pt x="496382" y="414005"/>
                  <a:pt x="485371" y="414005"/>
                </a:cubicBezTo>
                <a:lnTo>
                  <a:pt x="465464" y="414005"/>
                </a:lnTo>
                <a:cubicBezTo>
                  <a:pt x="454453" y="414005"/>
                  <a:pt x="445509" y="405108"/>
                  <a:pt x="445461" y="394098"/>
                </a:cubicBezTo>
                <a:lnTo>
                  <a:pt x="445461" y="351521"/>
                </a:lnTo>
                <a:cubicBezTo>
                  <a:pt x="445509" y="344434"/>
                  <a:pt x="449309" y="337903"/>
                  <a:pt x="455462" y="334376"/>
                </a:cubicBezTo>
                <a:lnTo>
                  <a:pt x="455462" y="220076"/>
                </a:lnTo>
                <a:cubicBezTo>
                  <a:pt x="455491" y="212633"/>
                  <a:pt x="459635" y="205816"/>
                  <a:pt x="466226" y="202360"/>
                </a:cubicBezTo>
                <a:cubicBezTo>
                  <a:pt x="469036" y="200917"/>
                  <a:pt x="472141" y="200159"/>
                  <a:pt x="475294" y="200147"/>
                </a:cubicBezTo>
                <a:close/>
                <a:moveTo>
                  <a:pt x="233053" y="2430"/>
                </a:moveTo>
                <a:cubicBezTo>
                  <a:pt x="239864" y="-810"/>
                  <a:pt x="247769" y="-810"/>
                  <a:pt x="254580" y="2430"/>
                </a:cubicBezTo>
                <a:lnTo>
                  <a:pt x="473655" y="107777"/>
                </a:lnTo>
                <a:cubicBezTo>
                  <a:pt x="478665" y="110206"/>
                  <a:pt x="482722" y="114255"/>
                  <a:pt x="485151" y="119270"/>
                </a:cubicBezTo>
                <a:cubicBezTo>
                  <a:pt x="491114" y="131580"/>
                  <a:pt x="485961" y="146392"/>
                  <a:pt x="473655" y="152354"/>
                </a:cubicBezTo>
                <a:lnTo>
                  <a:pt x="254580" y="257700"/>
                </a:lnTo>
                <a:cubicBezTo>
                  <a:pt x="247788" y="261039"/>
                  <a:pt x="239845" y="261039"/>
                  <a:pt x="233053" y="257700"/>
                </a:cubicBezTo>
                <a:lnTo>
                  <a:pt x="13978" y="152354"/>
                </a:lnTo>
                <a:cubicBezTo>
                  <a:pt x="8968" y="149925"/>
                  <a:pt x="4911" y="145875"/>
                  <a:pt x="2482" y="140860"/>
                </a:cubicBezTo>
                <a:cubicBezTo>
                  <a:pt x="-3481" y="128550"/>
                  <a:pt x="1672" y="113738"/>
                  <a:pt x="13978" y="107777"/>
                </a:cubicBezTo>
                <a:close/>
              </a:path>
            </a:pathLst>
          </a:custGeom>
          <a:solidFill>
            <a:schemeClr val="accent3"/>
          </a:solidFill>
          <a:ln w="9525" cap="flat">
            <a:noFill/>
            <a:prstDash val="solid"/>
            <a:miter/>
          </a:ln>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srgbClr val="000000"/>
              </a:solidFill>
              <a:effectLst/>
              <a:uLnTx/>
              <a:uFillTx/>
              <a:latin typeface="OPPOSans R" panose="00020600040101010101" pitchFamily="18" charset="-122"/>
              <a:ea typeface="微软雅黑"/>
              <a:cs typeface="+mn-cs"/>
            </a:endParaRPr>
          </a:p>
        </p:txBody>
      </p:sp>
      <p:sp>
        <p:nvSpPr>
          <p:cNvPr id="33" name="gaoding-19">
            <a:extLst>
              <a:ext uri="{FF2B5EF4-FFF2-40B4-BE49-F238E27FC236}">
                <a16:creationId xmlns:a16="http://schemas.microsoft.com/office/drawing/2014/main" id="{E2BC4C34-29DF-492A-8BA1-CB39181C8C41}"/>
              </a:ext>
            </a:extLst>
          </p:cNvPr>
          <p:cNvSpPr/>
          <p:nvPr/>
        </p:nvSpPr>
        <p:spPr>
          <a:xfrm>
            <a:off x="8586390" y="4636247"/>
            <a:ext cx="384422" cy="359114"/>
          </a:xfrm>
          <a:custGeom>
            <a:avLst/>
            <a:gdLst>
              <a:gd name="connsiteX0" fmla="*/ 27242 w 457201"/>
              <a:gd name="connsiteY0" fmla="*/ 411106 h 427101"/>
              <a:gd name="connsiteX1" fmla="*/ 25337 w 457201"/>
              <a:gd name="connsiteY1" fmla="*/ 423489 h 427101"/>
              <a:gd name="connsiteX2" fmla="*/ 32481 w 457201"/>
              <a:gd name="connsiteY2" fmla="*/ 427108 h 427101"/>
              <a:gd name="connsiteX3" fmla="*/ 426911 w 457201"/>
              <a:gd name="connsiteY3" fmla="*/ 427108 h 427101"/>
              <a:gd name="connsiteX4" fmla="*/ 435770 w 457201"/>
              <a:gd name="connsiteY4" fmla="*/ 418250 h 427101"/>
              <a:gd name="connsiteX5" fmla="*/ 432150 w 457201"/>
              <a:gd name="connsiteY5" fmla="*/ 411106 h 427101"/>
              <a:gd name="connsiteX6" fmla="*/ 234982 w 457201"/>
              <a:gd name="connsiteY6" fmla="*/ 265755 h 427101"/>
              <a:gd name="connsiteX7" fmla="*/ 224505 w 457201"/>
              <a:gd name="connsiteY7" fmla="*/ 265755 h 427101"/>
              <a:gd name="connsiteX8" fmla="*/ 314517 w 457201"/>
              <a:gd name="connsiteY8" fmla="*/ 47251 h 427101"/>
              <a:gd name="connsiteX9" fmla="*/ 256509 w 457201"/>
              <a:gd name="connsiteY9" fmla="*/ 9151 h 427101"/>
              <a:gd name="connsiteX10" fmla="*/ 194025 w 457201"/>
              <a:gd name="connsiteY10" fmla="*/ 9723 h 427101"/>
              <a:gd name="connsiteX11" fmla="*/ 5049 w 457201"/>
              <a:gd name="connsiteY11" fmla="*/ 138024 h 427101"/>
              <a:gd name="connsiteX12" fmla="*/ 1144 w 457201"/>
              <a:gd name="connsiteY12" fmla="*/ 145359 h 427101"/>
              <a:gd name="connsiteX13" fmla="*/ 1144 w 457201"/>
              <a:gd name="connsiteY13" fmla="*/ 380626 h 427101"/>
              <a:gd name="connsiteX14" fmla="*/ 9812 w 457201"/>
              <a:gd name="connsiteY14" fmla="*/ 389484 h 427101"/>
              <a:gd name="connsiteX15" fmla="*/ 15241 w 457201"/>
              <a:gd name="connsiteY15" fmla="*/ 387675 h 427101"/>
              <a:gd name="connsiteX16" fmla="*/ 202502 w 457201"/>
              <a:gd name="connsiteY16" fmla="*/ 249753 h 427101"/>
              <a:gd name="connsiteX17" fmla="*/ 204274 w 457201"/>
              <a:gd name="connsiteY17" fmla="*/ 237215 h 427101"/>
              <a:gd name="connsiteX18" fmla="*/ 201836 w 457201"/>
              <a:gd name="connsiteY18" fmla="*/ 234989 h 427101"/>
              <a:gd name="connsiteX19" fmla="*/ 74296 w 457201"/>
              <a:gd name="connsiteY19" fmla="*/ 157074 h 427101"/>
              <a:gd name="connsiteX20" fmla="*/ 71448 w 457201"/>
              <a:gd name="connsiteY20" fmla="*/ 144876 h 427101"/>
              <a:gd name="connsiteX21" fmla="*/ 78868 w 457201"/>
              <a:gd name="connsiteY21" fmla="*/ 140691 h 427101"/>
              <a:gd name="connsiteX22" fmla="*/ 384334 w 457201"/>
              <a:gd name="connsiteY22" fmla="*/ 140691 h 427101"/>
              <a:gd name="connsiteX23" fmla="*/ 393155 w 457201"/>
              <a:gd name="connsiteY23" fmla="*/ 149590 h 427101"/>
              <a:gd name="connsiteX24" fmla="*/ 388811 w 457201"/>
              <a:gd name="connsiteY24" fmla="*/ 157170 h 427101"/>
              <a:gd name="connsiteX25" fmla="*/ 257080 w 457201"/>
              <a:gd name="connsiteY25" fmla="*/ 234417 h 427101"/>
              <a:gd name="connsiteX26" fmla="*/ 253937 w 457201"/>
              <a:gd name="connsiteY26" fmla="*/ 246546 h 427101"/>
              <a:gd name="connsiteX27" fmla="*/ 256318 w 457201"/>
              <a:gd name="connsiteY27" fmla="*/ 249181 h 427101"/>
              <a:gd name="connsiteX28" fmla="*/ 444247 w 457201"/>
              <a:gd name="connsiteY28" fmla="*/ 388437 h 427101"/>
              <a:gd name="connsiteX29" fmla="*/ 456534 w 457201"/>
              <a:gd name="connsiteY29" fmla="*/ 386817 h 427101"/>
              <a:gd name="connsiteX30" fmla="*/ 458344 w 457201"/>
              <a:gd name="connsiteY30" fmla="*/ 381388 h 427101"/>
              <a:gd name="connsiteX31" fmla="*/ 458344 w 457201"/>
              <a:gd name="connsiteY31" fmla="*/ 145740 h 427101"/>
              <a:gd name="connsiteX32" fmla="*/ 454343 w 457201"/>
              <a:gd name="connsiteY32" fmla="*/ 138405 h 4271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457201" h="427101">
                <a:moveTo>
                  <a:pt x="27242" y="411106"/>
                </a:moveTo>
                <a:cubicBezTo>
                  <a:pt x="23299" y="414002"/>
                  <a:pt x="22442" y="419545"/>
                  <a:pt x="25337" y="423489"/>
                </a:cubicBezTo>
                <a:cubicBezTo>
                  <a:pt x="27004" y="425765"/>
                  <a:pt x="29662" y="427108"/>
                  <a:pt x="32481" y="427108"/>
                </a:cubicBezTo>
                <a:lnTo>
                  <a:pt x="426911" y="427108"/>
                </a:lnTo>
                <a:cubicBezTo>
                  <a:pt x="431807" y="427108"/>
                  <a:pt x="435770" y="423146"/>
                  <a:pt x="435770" y="418250"/>
                </a:cubicBezTo>
                <a:cubicBezTo>
                  <a:pt x="435770" y="415431"/>
                  <a:pt x="434427" y="412773"/>
                  <a:pt x="432150" y="411106"/>
                </a:cubicBezTo>
                <a:lnTo>
                  <a:pt x="234982" y="265755"/>
                </a:lnTo>
                <a:cubicBezTo>
                  <a:pt x="231868" y="263468"/>
                  <a:pt x="227619" y="263468"/>
                  <a:pt x="224505" y="265755"/>
                </a:cubicBezTo>
                <a:close/>
                <a:moveTo>
                  <a:pt x="314517" y="47251"/>
                </a:moveTo>
                <a:lnTo>
                  <a:pt x="256509" y="9151"/>
                </a:lnTo>
                <a:cubicBezTo>
                  <a:pt x="237459" y="-3246"/>
                  <a:pt x="212837" y="-3021"/>
                  <a:pt x="194025" y="9723"/>
                </a:cubicBezTo>
                <a:lnTo>
                  <a:pt x="5049" y="138024"/>
                </a:lnTo>
                <a:cubicBezTo>
                  <a:pt x="2611" y="139669"/>
                  <a:pt x="1144" y="142417"/>
                  <a:pt x="1144" y="145359"/>
                </a:cubicBezTo>
                <a:lnTo>
                  <a:pt x="1144" y="380626"/>
                </a:lnTo>
                <a:cubicBezTo>
                  <a:pt x="1087" y="385465"/>
                  <a:pt x="4973" y="389427"/>
                  <a:pt x="9812" y="389484"/>
                </a:cubicBezTo>
                <a:cubicBezTo>
                  <a:pt x="11774" y="389504"/>
                  <a:pt x="13688" y="388865"/>
                  <a:pt x="15241" y="387675"/>
                </a:cubicBezTo>
                <a:lnTo>
                  <a:pt x="202502" y="249753"/>
                </a:lnTo>
                <a:cubicBezTo>
                  <a:pt x="206455" y="246779"/>
                  <a:pt x="207246" y="241166"/>
                  <a:pt x="204274" y="237215"/>
                </a:cubicBezTo>
                <a:cubicBezTo>
                  <a:pt x="203607" y="236328"/>
                  <a:pt x="202779" y="235574"/>
                  <a:pt x="201836" y="234989"/>
                </a:cubicBezTo>
                <a:lnTo>
                  <a:pt x="74296" y="157074"/>
                </a:lnTo>
                <a:cubicBezTo>
                  <a:pt x="70143" y="154493"/>
                  <a:pt x="68866" y="149033"/>
                  <a:pt x="71448" y="144876"/>
                </a:cubicBezTo>
                <a:cubicBezTo>
                  <a:pt x="73039" y="142304"/>
                  <a:pt x="75839" y="140726"/>
                  <a:pt x="78868" y="140691"/>
                </a:cubicBezTo>
                <a:lnTo>
                  <a:pt x="384334" y="140691"/>
                </a:lnTo>
                <a:cubicBezTo>
                  <a:pt x="389231" y="140713"/>
                  <a:pt x="393174" y="144698"/>
                  <a:pt x="393155" y="149590"/>
                </a:cubicBezTo>
                <a:cubicBezTo>
                  <a:pt x="393136" y="152703"/>
                  <a:pt x="391488" y="155582"/>
                  <a:pt x="388811" y="157170"/>
                </a:cubicBezTo>
                <a:lnTo>
                  <a:pt x="257080" y="234417"/>
                </a:lnTo>
                <a:cubicBezTo>
                  <a:pt x="252861" y="236900"/>
                  <a:pt x="251461" y="242329"/>
                  <a:pt x="253937" y="246546"/>
                </a:cubicBezTo>
                <a:cubicBezTo>
                  <a:pt x="254547" y="247575"/>
                  <a:pt x="255357" y="248472"/>
                  <a:pt x="256318" y="249181"/>
                </a:cubicBezTo>
                <a:lnTo>
                  <a:pt x="444247" y="388437"/>
                </a:lnTo>
                <a:cubicBezTo>
                  <a:pt x="448086" y="391380"/>
                  <a:pt x="453591" y="390656"/>
                  <a:pt x="456534" y="386817"/>
                </a:cubicBezTo>
                <a:cubicBezTo>
                  <a:pt x="457725" y="385265"/>
                  <a:pt x="458363" y="383350"/>
                  <a:pt x="458344" y="381388"/>
                </a:cubicBezTo>
                <a:lnTo>
                  <a:pt x="458344" y="145740"/>
                </a:lnTo>
                <a:cubicBezTo>
                  <a:pt x="458334" y="142776"/>
                  <a:pt x="456829" y="140016"/>
                  <a:pt x="454343" y="138405"/>
                </a:cubicBezTo>
                <a:close/>
              </a:path>
            </a:pathLst>
          </a:custGeom>
          <a:solidFill>
            <a:schemeClr val="tx1">
              <a:lumMod val="50000"/>
              <a:lumOff val="50000"/>
            </a:schemeClr>
          </a:solidFill>
          <a:ln w="9525" cap="flat">
            <a:noFill/>
            <a:prstDash val="solid"/>
            <a:miter/>
          </a:ln>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srgbClr val="000000"/>
              </a:solidFill>
              <a:effectLst/>
              <a:uLnTx/>
              <a:uFillTx/>
              <a:latin typeface="OPPOSans R" panose="00020600040101010101" pitchFamily="18" charset="-122"/>
              <a:ea typeface="微软雅黑"/>
              <a:cs typeface="+mn-cs"/>
            </a:endParaRPr>
          </a:p>
        </p:txBody>
      </p:sp>
      <p:sp>
        <p:nvSpPr>
          <p:cNvPr id="48" name="gaoding-20">
            <a:extLst>
              <a:ext uri="{FF2B5EF4-FFF2-40B4-BE49-F238E27FC236}">
                <a16:creationId xmlns:a16="http://schemas.microsoft.com/office/drawing/2014/main" id="{ED4CAC46-0014-4675-B68C-4A8DCCAEAC06}"/>
              </a:ext>
            </a:extLst>
          </p:cNvPr>
          <p:cNvSpPr txBox="1">
            <a:spLocks/>
          </p:cNvSpPr>
          <p:nvPr/>
        </p:nvSpPr>
        <p:spPr bwMode="auto">
          <a:xfrm>
            <a:off x="5191957" y="1391818"/>
            <a:ext cx="2076497" cy="42062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square" lIns="25400" tIns="25400" rIns="25400" bIns="25400">
            <a:spAutoFit/>
          </a:bodyPr>
          <a:lstStyle>
            <a:lvl1pPr>
              <a:defRPr sz="3000" b="1">
                <a:solidFill>
                  <a:srgbClr val="000000"/>
                </a:solidFill>
                <a:latin typeface="Helvetica Neue" charset="0"/>
                <a:ea typeface="Helvetica Neue" charset="0"/>
                <a:cs typeface="Helvetica Neue" charset="0"/>
                <a:sym typeface="Helvetica Neue" charset="0"/>
              </a:defRPr>
            </a:lvl1pPr>
            <a:lvl2pPr marL="742950" indent="-285750">
              <a:defRPr sz="3000" b="1">
                <a:solidFill>
                  <a:srgbClr val="000000"/>
                </a:solidFill>
                <a:latin typeface="Helvetica Neue" charset="0"/>
                <a:ea typeface="Helvetica Neue" charset="0"/>
                <a:cs typeface="Helvetica Neue" charset="0"/>
                <a:sym typeface="Helvetica Neue" charset="0"/>
              </a:defRPr>
            </a:lvl2pPr>
            <a:lvl3pPr marL="1143000" indent="-228600">
              <a:defRPr sz="3000" b="1">
                <a:solidFill>
                  <a:srgbClr val="000000"/>
                </a:solidFill>
                <a:latin typeface="Helvetica Neue" charset="0"/>
                <a:ea typeface="Helvetica Neue" charset="0"/>
                <a:cs typeface="Helvetica Neue" charset="0"/>
                <a:sym typeface="Helvetica Neue" charset="0"/>
              </a:defRPr>
            </a:lvl3pPr>
            <a:lvl4pPr marL="1600200" indent="-228600">
              <a:defRPr sz="3000" b="1">
                <a:solidFill>
                  <a:srgbClr val="000000"/>
                </a:solidFill>
                <a:latin typeface="Helvetica Neue" charset="0"/>
                <a:ea typeface="Helvetica Neue" charset="0"/>
                <a:cs typeface="Helvetica Neue" charset="0"/>
                <a:sym typeface="Helvetica Neue" charset="0"/>
              </a:defRPr>
            </a:lvl4pPr>
            <a:lvl5pPr marL="2057400" indent="-228600">
              <a:defRPr sz="3000" b="1">
                <a:solidFill>
                  <a:srgbClr val="000000"/>
                </a:solidFill>
                <a:latin typeface="Helvetica Neue" charset="0"/>
                <a:ea typeface="Helvetica Neue" charset="0"/>
                <a:cs typeface="Helvetica Neue" charset="0"/>
                <a:sym typeface="Helvetica Neue" charset="0"/>
              </a:defRPr>
            </a:lvl5pPr>
            <a:lvl6pPr marL="2514600" indent="-228600" defTabSz="825500" eaLnBrk="0" fontAlgn="base" hangingPunct="0">
              <a:spcBef>
                <a:spcPct val="0"/>
              </a:spcBef>
              <a:spcAft>
                <a:spcPct val="0"/>
              </a:spcAft>
              <a:defRPr sz="3000" b="1">
                <a:solidFill>
                  <a:srgbClr val="000000"/>
                </a:solidFill>
                <a:latin typeface="Helvetica Neue" charset="0"/>
                <a:ea typeface="Helvetica Neue" charset="0"/>
                <a:cs typeface="Helvetica Neue" charset="0"/>
                <a:sym typeface="Helvetica Neue" charset="0"/>
              </a:defRPr>
            </a:lvl6pPr>
            <a:lvl7pPr marL="2971800" indent="-228600" defTabSz="825500" eaLnBrk="0" fontAlgn="base" hangingPunct="0">
              <a:spcBef>
                <a:spcPct val="0"/>
              </a:spcBef>
              <a:spcAft>
                <a:spcPct val="0"/>
              </a:spcAft>
              <a:defRPr sz="3000" b="1">
                <a:solidFill>
                  <a:srgbClr val="000000"/>
                </a:solidFill>
                <a:latin typeface="Helvetica Neue" charset="0"/>
                <a:ea typeface="Helvetica Neue" charset="0"/>
                <a:cs typeface="Helvetica Neue" charset="0"/>
                <a:sym typeface="Helvetica Neue" charset="0"/>
              </a:defRPr>
            </a:lvl7pPr>
            <a:lvl8pPr marL="3429000" indent="-228600" defTabSz="825500" eaLnBrk="0" fontAlgn="base" hangingPunct="0">
              <a:spcBef>
                <a:spcPct val="0"/>
              </a:spcBef>
              <a:spcAft>
                <a:spcPct val="0"/>
              </a:spcAft>
              <a:defRPr sz="3000" b="1">
                <a:solidFill>
                  <a:srgbClr val="000000"/>
                </a:solidFill>
                <a:latin typeface="Helvetica Neue" charset="0"/>
                <a:ea typeface="Helvetica Neue" charset="0"/>
                <a:cs typeface="Helvetica Neue" charset="0"/>
                <a:sym typeface="Helvetica Neue" charset="0"/>
              </a:defRPr>
            </a:lvl8pPr>
            <a:lvl9pPr marL="3886200" indent="-228600" defTabSz="825500" eaLnBrk="0" fontAlgn="base" hangingPunct="0">
              <a:spcBef>
                <a:spcPct val="0"/>
              </a:spcBef>
              <a:spcAft>
                <a:spcPct val="0"/>
              </a:spcAft>
              <a:defRPr sz="3000" b="1">
                <a:solidFill>
                  <a:srgbClr val="000000"/>
                </a:solidFill>
                <a:latin typeface="Helvetica Neue" charset="0"/>
                <a:ea typeface="Helvetica Neue" charset="0"/>
                <a:cs typeface="Helvetica Neue" charset="0"/>
                <a:sym typeface="Helvetica Neue"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2400" b="1" i="0" u="none" strike="noStrike" kern="1200" cap="none" spc="0" normalizeH="0" baseline="0" noProof="0" dirty="0">
                <a:ln>
                  <a:noFill/>
                </a:ln>
                <a:solidFill>
                  <a:srgbClr val="FFFFFF"/>
                </a:solidFill>
                <a:effectLst/>
                <a:uLnTx/>
                <a:uFillTx/>
                <a:latin typeface="OPPOSans B" panose="00020600040101010101" pitchFamily="18" charset="-122"/>
                <a:ea typeface="OPPOSans B" panose="00020600040101010101" pitchFamily="18" charset="-122"/>
                <a:cs typeface="OPPOSans B" panose="00020600040101010101" pitchFamily="18" charset="-122"/>
                <a:sym typeface="Arial" panose="020B0604020202020204" pitchFamily="34" charset="0"/>
              </a:rPr>
              <a:t>秋叶</a:t>
            </a:r>
            <a:r>
              <a:rPr kumimoji="0" lang="en-US" altLang="zh-CN" sz="2400" b="1" i="0" u="none" strike="noStrike" kern="1200" cap="none" spc="0" normalizeH="0" baseline="0" noProof="0" dirty="0">
                <a:ln>
                  <a:noFill/>
                </a:ln>
                <a:solidFill>
                  <a:srgbClr val="FFFFFF"/>
                </a:solidFill>
                <a:effectLst/>
                <a:uLnTx/>
                <a:uFillTx/>
                <a:latin typeface="OPPOSans B" panose="00020600040101010101" pitchFamily="18" charset="-122"/>
                <a:ea typeface="OPPOSans B" panose="00020600040101010101" pitchFamily="18" charset="-122"/>
                <a:cs typeface="OPPOSans B" panose="00020600040101010101" pitchFamily="18" charset="-122"/>
                <a:sym typeface="Arial" panose="020B0604020202020204" pitchFamily="34" charset="0"/>
              </a:rPr>
              <a:t>PPT</a:t>
            </a:r>
            <a:endParaRPr kumimoji="0" lang="zh-CN" altLang="zh-CN" sz="2400" b="1" i="0" u="none" strike="noStrike" kern="1200" cap="none" spc="0" normalizeH="0" baseline="0" noProof="0" dirty="0">
              <a:ln>
                <a:noFill/>
              </a:ln>
              <a:solidFill>
                <a:srgbClr val="FFFFFF"/>
              </a:solidFill>
              <a:effectLst/>
              <a:uLnTx/>
              <a:uFillTx/>
              <a:latin typeface="OPPOSans B" panose="00020600040101010101" pitchFamily="18" charset="-122"/>
              <a:ea typeface="OPPOSans B" panose="00020600040101010101" pitchFamily="18" charset="-122"/>
              <a:cs typeface="OPPOSans B" panose="00020600040101010101" pitchFamily="18" charset="-122"/>
              <a:sym typeface="Arial" panose="020B0604020202020204" pitchFamily="34" charset="0"/>
            </a:endParaRPr>
          </a:p>
        </p:txBody>
      </p:sp>
      <p:sp>
        <p:nvSpPr>
          <p:cNvPr id="4" name="gaoding-21">
            <a:extLst>
              <a:ext uri="{FF2B5EF4-FFF2-40B4-BE49-F238E27FC236}">
                <a16:creationId xmlns:a16="http://schemas.microsoft.com/office/drawing/2014/main" id="{C697C743-1D61-4B2E-A13D-4F83C8D56874}"/>
              </a:ext>
            </a:extLst>
          </p:cNvPr>
          <p:cNvSpPr txBox="1"/>
          <p:nvPr/>
        </p:nvSpPr>
        <p:spPr>
          <a:xfrm>
            <a:off x="5564216" y="1897512"/>
            <a:ext cx="2076496" cy="855362"/>
          </a:xfrm>
          <a:prstGeom prst="rect">
            <a:avLst/>
          </a:prstGeom>
          <a:noFill/>
        </p:spPr>
        <p:txBody>
          <a:bodyPr wrap="square" rtlCol="0">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zh-CN" altLang="en-US" sz="1400" b="0" i="0" u="none" strike="noStrike" kern="1200" cap="none" spc="0" normalizeH="0" baseline="0" noProof="0" dirty="0">
                <a:ln>
                  <a:noFill/>
                </a:ln>
                <a:solidFill>
                  <a:srgbClr val="FFFFFF"/>
                </a:solidFill>
                <a:effectLst/>
                <a:uLnTx/>
                <a:uFillTx/>
                <a:latin typeface="OPPOSans R" panose="00020600040101010101" pitchFamily="18" charset="-122"/>
                <a:ea typeface="OPPOSans R" panose="00020600040101010101" pitchFamily="18" charset="-122"/>
                <a:cs typeface="OPPOSans R" panose="00020600040101010101" pitchFamily="18" charset="-122"/>
                <a:sym typeface="+mn-lt"/>
              </a:rPr>
              <a:t>秋叶设计是一个聚焦商业设计的多场景在线设计平台</a:t>
            </a:r>
            <a:endParaRPr kumimoji="0" lang="zh-CN" altLang="en-US" sz="1400" b="0" i="0" u="none" strike="noStrike" kern="1200" cap="none" spc="0" normalizeH="0" baseline="0" noProof="0" dirty="0">
              <a:ln>
                <a:noFill/>
              </a:ln>
              <a:solidFill>
                <a:srgbClr val="FFFFFF"/>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p:txBody>
      </p:sp>
      <p:sp>
        <p:nvSpPr>
          <p:cNvPr id="49" name="gaoding-22">
            <a:extLst>
              <a:ext uri="{FF2B5EF4-FFF2-40B4-BE49-F238E27FC236}">
                <a16:creationId xmlns:a16="http://schemas.microsoft.com/office/drawing/2014/main" id="{96394E1D-B16C-4D5E-943E-8336F68960FC}"/>
              </a:ext>
            </a:extLst>
          </p:cNvPr>
          <p:cNvSpPr txBox="1">
            <a:spLocks/>
          </p:cNvSpPr>
          <p:nvPr/>
        </p:nvSpPr>
        <p:spPr bwMode="auto">
          <a:xfrm>
            <a:off x="1477192" y="4453708"/>
            <a:ext cx="1905317" cy="32829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square" lIns="25400" tIns="25400" rIns="25400" bIns="2540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800" b="0" i="0" u="none" strike="noStrike" kern="1200" cap="none" spc="0" normalizeH="0" baseline="0" noProof="0" dirty="0">
                <a:ln>
                  <a:noFill/>
                </a:ln>
                <a:solidFill>
                  <a:srgbClr val="FFFFFF"/>
                </a:solidFill>
                <a:effectLst/>
                <a:uLnTx/>
                <a:uFillTx/>
                <a:latin typeface="OPPOSans B" panose="00020600040101010101" pitchFamily="18" charset="-122"/>
                <a:ea typeface="OPPOSans B" panose="00020600040101010101" pitchFamily="18" charset="-122"/>
                <a:cs typeface="OPPOSans B" panose="00020600040101010101" pitchFamily="18" charset="-122"/>
              </a:rPr>
              <a:t>更快更轻松</a:t>
            </a:r>
          </a:p>
        </p:txBody>
      </p:sp>
      <p:sp>
        <p:nvSpPr>
          <p:cNvPr id="50" name="gaoding-23">
            <a:extLst>
              <a:ext uri="{FF2B5EF4-FFF2-40B4-BE49-F238E27FC236}">
                <a16:creationId xmlns:a16="http://schemas.microsoft.com/office/drawing/2014/main" id="{D83CD740-6B4B-4572-B5FA-4EDAD3C13F6E}"/>
              </a:ext>
            </a:extLst>
          </p:cNvPr>
          <p:cNvSpPr txBox="1">
            <a:spLocks/>
          </p:cNvSpPr>
          <p:nvPr/>
        </p:nvSpPr>
        <p:spPr bwMode="auto">
          <a:xfrm>
            <a:off x="8910835" y="4453708"/>
            <a:ext cx="1905317" cy="32829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square" lIns="25400" tIns="25400" rIns="25400" bIns="2540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800" b="0" i="0" u="none" strike="noStrike" kern="1200" cap="none" spc="0" normalizeH="0" baseline="0" noProof="0" dirty="0">
                <a:ln>
                  <a:noFill/>
                </a:ln>
                <a:solidFill>
                  <a:srgbClr val="FFFFFF"/>
                </a:solidFill>
                <a:effectLst/>
                <a:uLnTx/>
                <a:uFillTx/>
                <a:latin typeface="OPPOSans B" panose="00020600040101010101" pitchFamily="18" charset="-122"/>
                <a:ea typeface="OPPOSans B" panose="00020600040101010101" pitchFamily="18" charset="-122"/>
                <a:cs typeface="OPPOSans B" panose="00020600040101010101" pitchFamily="18" charset="-122"/>
              </a:rPr>
              <a:t>多用途场景</a:t>
            </a:r>
          </a:p>
        </p:txBody>
      </p:sp>
      <p:sp>
        <p:nvSpPr>
          <p:cNvPr id="51" name="gaoding-24">
            <a:extLst>
              <a:ext uri="{FF2B5EF4-FFF2-40B4-BE49-F238E27FC236}">
                <a16:creationId xmlns:a16="http://schemas.microsoft.com/office/drawing/2014/main" id="{0ED1AD24-847A-4F6C-9254-55D0823A0124}"/>
              </a:ext>
            </a:extLst>
          </p:cNvPr>
          <p:cNvSpPr txBox="1">
            <a:spLocks/>
          </p:cNvSpPr>
          <p:nvPr/>
        </p:nvSpPr>
        <p:spPr bwMode="auto">
          <a:xfrm>
            <a:off x="5152411" y="4453708"/>
            <a:ext cx="1905317" cy="32829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square" lIns="25400" tIns="25400" rIns="25400" bIns="2540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800" b="0" i="0" u="none" strike="noStrike" kern="1200" cap="none" spc="0" normalizeH="0" baseline="0" noProof="0" dirty="0">
                <a:ln>
                  <a:noFill/>
                </a:ln>
                <a:solidFill>
                  <a:srgbClr val="FFFFFF"/>
                </a:solidFill>
                <a:effectLst/>
                <a:uLnTx/>
                <a:uFillTx/>
                <a:latin typeface="OPPOSans B" panose="00020600040101010101" pitchFamily="18" charset="-122"/>
                <a:ea typeface="OPPOSans B" panose="00020600040101010101" pitchFamily="18" charset="-122"/>
                <a:cs typeface="OPPOSans B" panose="00020600040101010101" pitchFamily="18" charset="-122"/>
              </a:rPr>
              <a:t>强大表现力</a:t>
            </a:r>
          </a:p>
        </p:txBody>
      </p:sp>
      <p:sp>
        <p:nvSpPr>
          <p:cNvPr id="52" name="gaoding-25">
            <a:extLst>
              <a:ext uri="{FF2B5EF4-FFF2-40B4-BE49-F238E27FC236}">
                <a16:creationId xmlns:a16="http://schemas.microsoft.com/office/drawing/2014/main" id="{27A38CD1-D3CE-4374-B54A-CA474AE93C8A}"/>
              </a:ext>
            </a:extLst>
          </p:cNvPr>
          <p:cNvSpPr txBox="1"/>
          <p:nvPr/>
        </p:nvSpPr>
        <p:spPr>
          <a:xfrm>
            <a:off x="1856070" y="4964299"/>
            <a:ext cx="1905317" cy="542200"/>
          </a:xfrm>
          <a:prstGeom prst="rect">
            <a:avLst/>
          </a:prstGeom>
          <a:noFill/>
        </p:spPr>
        <p:txBody>
          <a:bodyPr wrap="square" lIns="0" tIns="0" rIns="0" bIns="0" rtlCol="0">
            <a:spAutoFit/>
          </a:bodyPr>
          <a:lstStyle/>
          <a:p>
            <a:pPr marL="0" marR="0" lvl="0" indent="0" algn="l" defTabSz="914400" rtl="0" eaLnBrk="1" fontAlgn="auto" latinLnBrk="0" hangingPunct="1">
              <a:lnSpc>
                <a:spcPct val="130000"/>
              </a:lnSpc>
              <a:spcBef>
                <a:spcPts val="0"/>
              </a:spcBef>
              <a:spcAft>
                <a:spcPts val="0"/>
              </a:spcAft>
              <a:buClrTx/>
              <a:buSzTx/>
              <a:buFontTx/>
              <a:buNone/>
              <a:tabLst/>
              <a:defRPr/>
            </a:pPr>
            <a:r>
              <a:rPr kumimoji="0" lang="zh-CN" altLang="en-US" sz="1400" b="0" i="0" u="none" strike="noStrike" kern="1200" cap="none" spc="0" normalizeH="0" baseline="0" noProof="0" dirty="0">
                <a:ln>
                  <a:noFill/>
                </a:ln>
                <a:solidFill>
                  <a:srgbClr val="FFFFFF"/>
                </a:solidFill>
                <a:effectLst/>
                <a:uLnTx/>
                <a:uFillTx/>
                <a:latin typeface="OPPOSans R" panose="00020600040101010101" pitchFamily="18" charset="-122"/>
                <a:ea typeface="OPPOSans R" panose="00020600040101010101" pitchFamily="18" charset="-122"/>
                <a:cs typeface="OPPOSans R" panose="00020600040101010101" pitchFamily="18" charset="-122"/>
              </a:rPr>
              <a:t>秋叶</a:t>
            </a:r>
            <a:r>
              <a:rPr kumimoji="0" lang="en-US" altLang="zh-CN" sz="1400" b="0" i="0" u="none" strike="noStrike" kern="1200" cap="none" spc="0" normalizeH="0" baseline="0" noProof="0" dirty="0">
                <a:ln>
                  <a:noFill/>
                </a:ln>
                <a:solidFill>
                  <a:srgbClr val="FFFFFF"/>
                </a:solidFill>
                <a:effectLst/>
                <a:uLnTx/>
                <a:uFillTx/>
                <a:latin typeface="OPPOSans R" panose="00020600040101010101" pitchFamily="18" charset="-122"/>
                <a:ea typeface="OPPOSans R" panose="00020600040101010101" pitchFamily="18" charset="-122"/>
                <a:cs typeface="OPPOSans R" panose="00020600040101010101" pitchFamily="18" charset="-122"/>
              </a:rPr>
              <a:t>PPT</a:t>
            </a:r>
            <a:r>
              <a:rPr kumimoji="0" lang="zh-CN" altLang="en-US" sz="1400" b="0" i="0" u="none" strike="noStrike" kern="1200" cap="none" spc="0" normalizeH="0" baseline="0" noProof="0" dirty="0">
                <a:ln>
                  <a:noFill/>
                </a:ln>
                <a:solidFill>
                  <a:srgbClr val="FFFFFF"/>
                </a:solidFill>
                <a:effectLst/>
                <a:uLnTx/>
                <a:uFillTx/>
                <a:latin typeface="OPPOSans R" panose="00020600040101010101" pitchFamily="18" charset="-122"/>
                <a:ea typeface="OPPOSans R" panose="00020600040101010101" pitchFamily="18" charset="-122"/>
                <a:cs typeface="OPPOSans R" panose="00020600040101010101" pitchFamily="18" charset="-122"/>
              </a:rPr>
              <a:t>拥有千余款模板线上到插件同步上新</a:t>
            </a:r>
          </a:p>
        </p:txBody>
      </p:sp>
      <p:sp>
        <p:nvSpPr>
          <p:cNvPr id="53" name="gaoding-26">
            <a:extLst>
              <a:ext uri="{FF2B5EF4-FFF2-40B4-BE49-F238E27FC236}">
                <a16:creationId xmlns:a16="http://schemas.microsoft.com/office/drawing/2014/main" id="{6D4FC0A1-2C81-4764-B6AC-37011C657D5E}"/>
              </a:ext>
            </a:extLst>
          </p:cNvPr>
          <p:cNvSpPr txBox="1"/>
          <p:nvPr/>
        </p:nvSpPr>
        <p:spPr>
          <a:xfrm>
            <a:off x="5558435" y="4964299"/>
            <a:ext cx="1905316" cy="542200"/>
          </a:xfrm>
          <a:prstGeom prst="rect">
            <a:avLst/>
          </a:prstGeom>
          <a:noFill/>
        </p:spPr>
        <p:txBody>
          <a:bodyPr wrap="square" lIns="0" tIns="0" rIns="0" bIns="0" rtlCol="0">
            <a:spAutoFit/>
          </a:bodyPr>
          <a:lstStyle/>
          <a:p>
            <a:pPr marL="0" marR="0" lvl="0" indent="0" algn="l" defTabSz="914400" rtl="0" eaLnBrk="1" fontAlgn="auto" latinLnBrk="0" hangingPunct="1">
              <a:lnSpc>
                <a:spcPct val="130000"/>
              </a:lnSpc>
              <a:spcBef>
                <a:spcPts val="0"/>
              </a:spcBef>
              <a:spcAft>
                <a:spcPts val="0"/>
              </a:spcAft>
              <a:buClrTx/>
              <a:buSzTx/>
              <a:buFontTx/>
              <a:buNone/>
              <a:tabLst/>
              <a:defRPr/>
            </a:pPr>
            <a:r>
              <a:rPr kumimoji="0" lang="zh-CN" altLang="en-US" sz="1400" b="0" i="0" u="none" strike="noStrike" kern="1200" cap="none" spc="0" normalizeH="0" baseline="0" noProof="0" dirty="0">
                <a:ln>
                  <a:noFill/>
                </a:ln>
                <a:solidFill>
                  <a:srgbClr val="FFFFFF"/>
                </a:solidFill>
                <a:effectLst/>
                <a:uLnTx/>
                <a:uFillTx/>
                <a:latin typeface="OPPOSans R" panose="00020600040101010101" pitchFamily="18" charset="-122"/>
                <a:ea typeface="OPPOSans R" panose="00020600040101010101" pitchFamily="18" charset="-122"/>
                <a:cs typeface="OPPOSans R" panose="00020600040101010101" pitchFamily="18" charset="-122"/>
              </a:rPr>
              <a:t>秋叶</a:t>
            </a:r>
            <a:r>
              <a:rPr kumimoji="0" lang="en-US" altLang="zh-CN" sz="1400" b="0" i="0" u="none" strike="noStrike" kern="1200" cap="none" spc="0" normalizeH="0" baseline="0" noProof="0" dirty="0">
                <a:ln>
                  <a:noFill/>
                </a:ln>
                <a:solidFill>
                  <a:srgbClr val="FFFFFF"/>
                </a:solidFill>
                <a:effectLst/>
                <a:uLnTx/>
                <a:uFillTx/>
                <a:latin typeface="OPPOSans R" panose="00020600040101010101" pitchFamily="18" charset="-122"/>
                <a:ea typeface="OPPOSans R" panose="00020600040101010101" pitchFamily="18" charset="-122"/>
                <a:cs typeface="OPPOSans R" panose="00020600040101010101" pitchFamily="18" charset="-122"/>
              </a:rPr>
              <a:t>PPT</a:t>
            </a:r>
            <a:r>
              <a:rPr kumimoji="0" lang="zh-CN" altLang="en-US" sz="1400" b="0" i="0" u="none" strike="noStrike" kern="1200" cap="none" spc="0" normalizeH="0" baseline="0" noProof="0" dirty="0">
                <a:ln>
                  <a:noFill/>
                </a:ln>
                <a:solidFill>
                  <a:srgbClr val="FFFFFF"/>
                </a:solidFill>
                <a:effectLst/>
                <a:uLnTx/>
                <a:uFillTx/>
                <a:latin typeface="OPPOSans R" panose="00020600040101010101" pitchFamily="18" charset="-122"/>
                <a:ea typeface="OPPOSans R" panose="00020600040101010101" pitchFamily="18" charset="-122"/>
                <a:cs typeface="OPPOSans R" panose="00020600040101010101" pitchFamily="18" charset="-122"/>
              </a:rPr>
              <a:t>丰富的信息图表覆盖多种逻辑关系</a:t>
            </a:r>
          </a:p>
        </p:txBody>
      </p:sp>
      <p:sp>
        <p:nvSpPr>
          <p:cNvPr id="54" name="gaoding-27">
            <a:extLst>
              <a:ext uri="{FF2B5EF4-FFF2-40B4-BE49-F238E27FC236}">
                <a16:creationId xmlns:a16="http://schemas.microsoft.com/office/drawing/2014/main" id="{F59DBD4B-7516-48EE-B0D6-22561EFE23D7}"/>
              </a:ext>
            </a:extLst>
          </p:cNvPr>
          <p:cNvSpPr txBox="1"/>
          <p:nvPr/>
        </p:nvSpPr>
        <p:spPr>
          <a:xfrm>
            <a:off x="9289593" y="4964299"/>
            <a:ext cx="1983130" cy="542200"/>
          </a:xfrm>
          <a:prstGeom prst="rect">
            <a:avLst/>
          </a:prstGeom>
          <a:noFill/>
        </p:spPr>
        <p:txBody>
          <a:bodyPr wrap="square" lIns="0" tIns="0" rIns="0" bIns="0" rtlCol="0">
            <a:spAutoFit/>
          </a:bodyPr>
          <a:lstStyle/>
          <a:p>
            <a:pPr marL="0" marR="0" lvl="0" indent="0" algn="l" defTabSz="914400" rtl="0" eaLnBrk="1" fontAlgn="auto" latinLnBrk="0" hangingPunct="1">
              <a:lnSpc>
                <a:spcPct val="130000"/>
              </a:lnSpc>
              <a:spcBef>
                <a:spcPts val="0"/>
              </a:spcBef>
              <a:spcAft>
                <a:spcPts val="0"/>
              </a:spcAft>
              <a:buClrTx/>
              <a:buSzTx/>
              <a:buFontTx/>
              <a:buNone/>
              <a:tabLst/>
              <a:defRPr/>
            </a:pPr>
            <a:r>
              <a:rPr kumimoji="0" lang="zh-CN" altLang="en-US" sz="1400" b="0" i="0" u="none" strike="noStrike" kern="1200" cap="none" spc="0" normalizeH="0" baseline="0" noProof="0" dirty="0">
                <a:ln>
                  <a:noFill/>
                </a:ln>
                <a:solidFill>
                  <a:srgbClr val="FFFFFF"/>
                </a:solidFill>
                <a:effectLst/>
                <a:uLnTx/>
                <a:uFillTx/>
                <a:latin typeface="OPPOSans R" panose="00020600040101010101" pitchFamily="18" charset="-122"/>
                <a:ea typeface="OPPOSans R" panose="00020600040101010101" pitchFamily="18" charset="-122"/>
                <a:cs typeface="OPPOSans R" panose="00020600040101010101" pitchFamily="18" charset="-122"/>
              </a:rPr>
              <a:t>借助秋叶</a:t>
            </a:r>
            <a:r>
              <a:rPr kumimoji="0" lang="en-US" altLang="zh-CN" sz="1400" b="0" i="0" u="none" strike="noStrike" kern="1200" cap="none" spc="0" normalizeH="0" baseline="0" noProof="0" dirty="0">
                <a:ln>
                  <a:noFill/>
                </a:ln>
                <a:solidFill>
                  <a:srgbClr val="FFFFFF"/>
                </a:solidFill>
                <a:effectLst/>
                <a:uLnTx/>
                <a:uFillTx/>
                <a:latin typeface="OPPOSans R" panose="00020600040101010101" pitchFamily="18" charset="-122"/>
                <a:ea typeface="OPPOSans R" panose="00020600040101010101" pitchFamily="18" charset="-122"/>
                <a:cs typeface="OPPOSans R" panose="00020600040101010101" pitchFamily="18" charset="-122"/>
              </a:rPr>
              <a:t>PPT</a:t>
            </a:r>
            <a:r>
              <a:rPr kumimoji="0" lang="zh-CN" altLang="en-US" sz="1400" b="0" i="0" u="none" strike="noStrike" kern="1200" cap="none" spc="0" normalizeH="0" baseline="0" noProof="0" dirty="0">
                <a:ln>
                  <a:noFill/>
                </a:ln>
                <a:solidFill>
                  <a:srgbClr val="FFFFFF"/>
                </a:solidFill>
                <a:effectLst/>
                <a:uLnTx/>
                <a:uFillTx/>
                <a:latin typeface="OPPOSans R" panose="00020600040101010101" pitchFamily="18" charset="-122"/>
                <a:ea typeface="OPPOSans R" panose="00020600040101010101" pitchFamily="18" charset="-122"/>
                <a:cs typeface="OPPOSans R" panose="00020600040101010101" pitchFamily="18" charset="-122"/>
              </a:rPr>
              <a:t>插件，用强大视觉表现力打动听众</a:t>
            </a:r>
          </a:p>
        </p:txBody>
      </p:sp>
    </p:spTree>
    <p:custDataLst>
      <p:tags r:id="rId2"/>
    </p:custDataLst>
    <p:extLst>
      <p:ext uri="{BB962C8B-B14F-4D97-AF65-F5344CB8AC3E}">
        <p14:creationId xmlns:p14="http://schemas.microsoft.com/office/powerpoint/2010/main" val="486172484"/>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7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椭圆 56">
            <a:extLst>
              <a:ext uri="{FF2B5EF4-FFF2-40B4-BE49-F238E27FC236}">
                <a16:creationId xmlns:a16="http://schemas.microsoft.com/office/drawing/2014/main" id="{A27BC905-91BC-40B3-83A4-DDFD0F5E9671}"/>
              </a:ext>
            </a:extLst>
          </p:cNvPr>
          <p:cNvSpPr/>
          <p:nvPr/>
        </p:nvSpPr>
        <p:spPr>
          <a:xfrm>
            <a:off x="7776761" y="3735263"/>
            <a:ext cx="520618" cy="520618"/>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微软雅黑"/>
              <a:ea typeface="微软雅黑"/>
              <a:cs typeface="+mn-cs"/>
            </a:endParaRPr>
          </a:p>
        </p:txBody>
      </p:sp>
      <p:sp>
        <p:nvSpPr>
          <p:cNvPr id="58" name="椭圆 57">
            <a:extLst>
              <a:ext uri="{FF2B5EF4-FFF2-40B4-BE49-F238E27FC236}">
                <a16:creationId xmlns:a16="http://schemas.microsoft.com/office/drawing/2014/main" id="{B4F3AEB4-341C-4421-8718-89E592BE3554}"/>
              </a:ext>
            </a:extLst>
          </p:cNvPr>
          <p:cNvSpPr/>
          <p:nvPr/>
        </p:nvSpPr>
        <p:spPr>
          <a:xfrm>
            <a:off x="8302613" y="4953215"/>
            <a:ext cx="520618" cy="520618"/>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微软雅黑"/>
              <a:ea typeface="微软雅黑"/>
              <a:cs typeface="+mn-cs"/>
            </a:endParaRPr>
          </a:p>
        </p:txBody>
      </p:sp>
      <p:sp>
        <p:nvSpPr>
          <p:cNvPr id="8" name="椭圆 7">
            <a:extLst>
              <a:ext uri="{FF2B5EF4-FFF2-40B4-BE49-F238E27FC236}">
                <a16:creationId xmlns:a16="http://schemas.microsoft.com/office/drawing/2014/main" id="{54C6898C-B29D-4459-BA14-FAEE0790E948}"/>
              </a:ext>
            </a:extLst>
          </p:cNvPr>
          <p:cNvSpPr/>
          <p:nvPr/>
        </p:nvSpPr>
        <p:spPr>
          <a:xfrm>
            <a:off x="7240034" y="2515239"/>
            <a:ext cx="520618" cy="520618"/>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微软雅黑"/>
              <a:ea typeface="微软雅黑"/>
              <a:cs typeface="+mn-cs"/>
            </a:endParaRPr>
          </a:p>
        </p:txBody>
      </p:sp>
      <p:sp>
        <p:nvSpPr>
          <p:cNvPr id="53" name="任意多边形: 形状 52">
            <a:extLst>
              <a:ext uri="{FF2B5EF4-FFF2-40B4-BE49-F238E27FC236}">
                <a16:creationId xmlns:a16="http://schemas.microsoft.com/office/drawing/2014/main" id="{63B1ED5A-6F8F-4A14-B830-571A1631C0F6}"/>
              </a:ext>
            </a:extLst>
          </p:cNvPr>
          <p:cNvSpPr/>
          <p:nvPr/>
        </p:nvSpPr>
        <p:spPr>
          <a:xfrm>
            <a:off x="1559179" y="3509629"/>
            <a:ext cx="2423588" cy="2269228"/>
          </a:xfrm>
          <a:custGeom>
            <a:avLst/>
            <a:gdLst>
              <a:gd name="connsiteX0" fmla="*/ 57176 w 2423588"/>
              <a:gd name="connsiteY0" fmla="*/ 2132884 h 2269228"/>
              <a:gd name="connsiteX1" fmla="*/ 57176 w 2423588"/>
              <a:gd name="connsiteY1" fmla="*/ 2269228 h 2269228"/>
              <a:gd name="connsiteX2" fmla="*/ 0 w 2423588"/>
              <a:gd name="connsiteY2" fmla="*/ 2269228 h 2269228"/>
              <a:gd name="connsiteX3" fmla="*/ 951601 w 2423588"/>
              <a:gd name="connsiteY3" fmla="*/ 0 h 2269228"/>
              <a:gd name="connsiteX4" fmla="*/ 2024037 w 2423588"/>
              <a:gd name="connsiteY4" fmla="*/ 0 h 2269228"/>
              <a:gd name="connsiteX5" fmla="*/ 2423588 w 2423588"/>
              <a:gd name="connsiteY5" fmla="*/ 952786 h 2269228"/>
              <a:gd name="connsiteX6" fmla="*/ 552050 w 2423588"/>
              <a:gd name="connsiteY6" fmla="*/ 952786 h 2269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23588" h="2269228">
                <a:moveTo>
                  <a:pt x="57176" y="2132884"/>
                </a:moveTo>
                <a:lnTo>
                  <a:pt x="57176" y="2269228"/>
                </a:lnTo>
                <a:lnTo>
                  <a:pt x="0" y="2269228"/>
                </a:lnTo>
                <a:close/>
                <a:moveTo>
                  <a:pt x="951601" y="0"/>
                </a:moveTo>
                <a:lnTo>
                  <a:pt x="2024037" y="0"/>
                </a:lnTo>
                <a:lnTo>
                  <a:pt x="2423588" y="952786"/>
                </a:lnTo>
                <a:lnTo>
                  <a:pt x="552050" y="952786"/>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微软雅黑"/>
              <a:ea typeface="微软雅黑"/>
              <a:cs typeface="+mn-cs"/>
            </a:endParaRPr>
          </a:p>
        </p:txBody>
      </p:sp>
      <p:sp>
        <p:nvSpPr>
          <p:cNvPr id="55" name="任意多边形: 形状 54">
            <a:extLst>
              <a:ext uri="{FF2B5EF4-FFF2-40B4-BE49-F238E27FC236}">
                <a16:creationId xmlns:a16="http://schemas.microsoft.com/office/drawing/2014/main" id="{D472EBEB-3B80-4E77-8D17-A025AE4BA218}"/>
              </a:ext>
            </a:extLst>
          </p:cNvPr>
          <p:cNvSpPr/>
          <p:nvPr/>
        </p:nvSpPr>
        <p:spPr>
          <a:xfrm>
            <a:off x="1574597" y="4694934"/>
            <a:ext cx="2975638" cy="1050733"/>
          </a:xfrm>
          <a:custGeom>
            <a:avLst/>
            <a:gdLst>
              <a:gd name="connsiteX0" fmla="*/ 440625 w 2975638"/>
              <a:gd name="connsiteY0" fmla="*/ 0 h 1050733"/>
              <a:gd name="connsiteX1" fmla="*/ 2535013 w 2975638"/>
              <a:gd name="connsiteY1" fmla="*/ 0 h 1050733"/>
              <a:gd name="connsiteX2" fmla="*/ 2975638 w 2975638"/>
              <a:gd name="connsiteY2" fmla="*/ 1050733 h 1050733"/>
              <a:gd name="connsiteX3" fmla="*/ 0 w 2975638"/>
              <a:gd name="connsiteY3" fmla="*/ 1050733 h 1050733"/>
            </a:gdLst>
            <a:ahLst/>
            <a:cxnLst>
              <a:cxn ang="0">
                <a:pos x="connsiteX0" y="connsiteY0"/>
              </a:cxn>
              <a:cxn ang="0">
                <a:pos x="connsiteX1" y="connsiteY1"/>
              </a:cxn>
              <a:cxn ang="0">
                <a:pos x="connsiteX2" y="connsiteY2"/>
              </a:cxn>
              <a:cxn ang="0">
                <a:pos x="connsiteX3" y="connsiteY3"/>
              </a:cxn>
            </a:cxnLst>
            <a:rect l="l" t="t" r="r" b="b"/>
            <a:pathLst>
              <a:path w="2975638" h="1050733">
                <a:moveTo>
                  <a:pt x="440625" y="0"/>
                </a:moveTo>
                <a:lnTo>
                  <a:pt x="2535013" y="0"/>
                </a:lnTo>
                <a:lnTo>
                  <a:pt x="2975638" y="1050733"/>
                </a:lnTo>
                <a:lnTo>
                  <a:pt x="0" y="1050733"/>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微软雅黑"/>
              <a:ea typeface="微软雅黑"/>
              <a:cs typeface="+mn-cs"/>
            </a:endParaRPr>
          </a:p>
        </p:txBody>
      </p:sp>
      <p:sp>
        <p:nvSpPr>
          <p:cNvPr id="49" name="任意多边形: 形状 48">
            <a:extLst>
              <a:ext uri="{FF2B5EF4-FFF2-40B4-BE49-F238E27FC236}">
                <a16:creationId xmlns:a16="http://schemas.microsoft.com/office/drawing/2014/main" id="{6A0C5AEB-BCD4-4465-A1AF-99B5734A786A}"/>
              </a:ext>
            </a:extLst>
          </p:cNvPr>
          <p:cNvSpPr/>
          <p:nvPr/>
        </p:nvSpPr>
        <p:spPr>
          <a:xfrm>
            <a:off x="2643415" y="2235783"/>
            <a:ext cx="880811" cy="1050209"/>
          </a:xfrm>
          <a:custGeom>
            <a:avLst/>
            <a:gdLst>
              <a:gd name="connsiteX0" fmla="*/ 440405 w 880811"/>
              <a:gd name="connsiteY0" fmla="*/ 0 h 1050209"/>
              <a:gd name="connsiteX1" fmla="*/ 880811 w 880811"/>
              <a:gd name="connsiteY1" fmla="*/ 1050209 h 1050209"/>
              <a:gd name="connsiteX2" fmla="*/ 0 w 880811"/>
              <a:gd name="connsiteY2" fmla="*/ 1050209 h 1050209"/>
            </a:gdLst>
            <a:ahLst/>
            <a:cxnLst>
              <a:cxn ang="0">
                <a:pos x="connsiteX0" y="connsiteY0"/>
              </a:cxn>
              <a:cxn ang="0">
                <a:pos x="connsiteX1" y="connsiteY1"/>
              </a:cxn>
              <a:cxn ang="0">
                <a:pos x="connsiteX2" y="connsiteY2"/>
              </a:cxn>
            </a:cxnLst>
            <a:rect l="l" t="t" r="r" b="b"/>
            <a:pathLst>
              <a:path w="880811" h="1050209">
                <a:moveTo>
                  <a:pt x="440405" y="0"/>
                </a:moveTo>
                <a:lnTo>
                  <a:pt x="880811" y="1050209"/>
                </a:lnTo>
                <a:lnTo>
                  <a:pt x="0" y="1050209"/>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微软雅黑"/>
              <a:ea typeface="微软雅黑"/>
              <a:cs typeface="+mn-cs"/>
            </a:endParaRPr>
          </a:p>
        </p:txBody>
      </p:sp>
      <p:pic>
        <p:nvPicPr>
          <p:cNvPr id="1014" name="image 1014"/>
          <p:cNvPicPr>
            <a:picLocks noChangeAspect="1"/>
          </p:cNvPicPr>
          <p:nvPr/>
        </p:nvPicPr>
        <p:blipFill>
          <a:blip r:embed="rId4"/>
          <a:srcRect/>
          <a:stretch>
            <a:fillRect/>
          </a:stretch>
        </p:blipFill>
        <p:spPr>
          <a:xfrm>
            <a:off x="2924086" y="2763848"/>
            <a:ext cx="289232" cy="308514"/>
          </a:xfrm>
          <a:prstGeom prst="rect">
            <a:avLst/>
          </a:prstGeom>
        </p:spPr>
      </p:pic>
      <p:sp>
        <p:nvSpPr>
          <p:cNvPr id="1016" name="Object 1016"/>
          <p:cNvSpPr txBox="1"/>
          <p:nvPr/>
        </p:nvSpPr>
        <p:spPr>
          <a:xfrm>
            <a:off x="7233390" y="2594516"/>
            <a:ext cx="520618" cy="273050"/>
          </a:xfrm>
          <a:prstGeom prst="rect">
            <a:avLst/>
          </a:prstGeom>
        </p:spPr>
        <p:txBody>
          <a:bodyPr vert="horz" rtlCol="0" anchor="t" anchorCtr="0">
            <a:noAutofit/>
          </a:bodyPr>
          <a:lstStyle/>
          <a:p>
            <a:pPr marL="0" marR="0" lvl="0" indent="0" algn="ctr" defTabSz="914400" rtl="0" eaLnBrk="1" fontAlgn="auto" latinLnBrk="0" hangingPunct="1">
              <a:lnSpc>
                <a:spcPct val="88333"/>
              </a:lnSpc>
              <a:spcBef>
                <a:spcPts val="0"/>
              </a:spcBef>
              <a:spcAft>
                <a:spcPts val="0"/>
              </a:spcAft>
              <a:buClrTx/>
              <a:buSzTx/>
              <a:buFontTx/>
              <a:buNone/>
              <a:tabLst/>
              <a:defRPr/>
            </a:pPr>
            <a:r>
              <a:rPr kumimoji="0" lang="en-US" altLang="zh-CN" sz="2020" b="0" i="0" u="none" strike="noStrike" kern="1200" cap="none" spc="0" normalizeH="0" baseline="0" noProof="0" dirty="0">
                <a:ln>
                  <a:noFill/>
                </a:ln>
                <a:solidFill>
                  <a:srgbClr val="FFFFFF"/>
                </a:solidFill>
                <a:effectLst/>
                <a:uLnTx/>
                <a:uFillTx/>
                <a:latin typeface="PangMenZhengDao"/>
                <a:ea typeface="PangMenZhengDao"/>
                <a:cs typeface="+mn-cs"/>
              </a:rPr>
              <a:t>01</a:t>
            </a:r>
            <a:endParaRPr kumimoji="0" lang="zh-CN" altLang="en-US" sz="900" b="0" i="0" u="none" strike="noStrike" kern="1200" cap="none" spc="0" normalizeH="0" baseline="0" noProof="0">
              <a:ln>
                <a:noFill/>
              </a:ln>
              <a:solidFill>
                <a:prstClr val="black"/>
              </a:solidFill>
              <a:effectLst/>
              <a:uLnTx/>
              <a:uFillTx/>
              <a:latin typeface="微软雅黑"/>
              <a:ea typeface="微软雅黑"/>
              <a:cs typeface="+mn-cs"/>
            </a:endParaRPr>
          </a:p>
        </p:txBody>
      </p:sp>
      <p:sp>
        <p:nvSpPr>
          <p:cNvPr id="1017" name="Object 1017"/>
          <p:cNvSpPr txBox="1"/>
          <p:nvPr/>
        </p:nvSpPr>
        <p:spPr>
          <a:xfrm>
            <a:off x="3729121" y="2458690"/>
            <a:ext cx="3359974" cy="558800"/>
          </a:xfrm>
          <a:prstGeom prst="rect">
            <a:avLst/>
          </a:prstGeom>
        </p:spPr>
        <p:txBody>
          <a:bodyPr vert="horz" rtlCol="0" anchor="t" anchorCtr="0">
            <a:noAutofit/>
          </a:bodyPr>
          <a:lstStyle/>
          <a:p>
            <a:pPr marL="0" marR="0" lvl="0" indent="0" algn="r" defTabSz="914400" rtl="0" eaLnBrk="1" fontAlgn="auto" latinLnBrk="0" hangingPunct="1">
              <a:lnSpc>
                <a:spcPct val="125000"/>
              </a:lnSpc>
              <a:spcBef>
                <a:spcPts val="0"/>
              </a:spcBef>
              <a:spcAft>
                <a:spcPts val="0"/>
              </a:spcAft>
              <a:buClrTx/>
              <a:buSzTx/>
              <a:buFontTx/>
              <a:buNone/>
              <a:tabLst/>
              <a:defRPr/>
            </a:pPr>
            <a:r>
              <a:rPr kumimoji="0" lang="zh-CN" altLang="en-US" sz="1470" b="0" i="0" u="none" strike="noStrike" kern="1200" cap="none" spc="0" normalizeH="0" baseline="0" noProof="0" dirty="0">
                <a:ln>
                  <a:noFill/>
                </a:ln>
                <a:solidFill>
                  <a:srgbClr val="999999"/>
                </a:solidFill>
                <a:effectLst/>
                <a:uLnTx/>
                <a:uFillTx/>
                <a:latin typeface="SourceHanSansSC-Regular"/>
                <a:ea typeface="SourceHanSansSC-Regular"/>
                <a:cs typeface="+mn-cs"/>
              </a:rPr>
              <a:t>单击此处编辑文本单击此处编辑文本单击此处编辑文本单击此处编辑</a:t>
            </a:r>
            <a:endParaRPr kumimoji="0" lang="zh-CN" altLang="en-US" sz="900" b="0" i="0" u="none" strike="noStrike" kern="1200" cap="none" spc="0" normalizeH="0" baseline="0" noProof="0">
              <a:ln>
                <a:noFill/>
              </a:ln>
              <a:solidFill>
                <a:prstClr val="black"/>
              </a:solidFill>
              <a:effectLst/>
              <a:uLnTx/>
              <a:uFillTx/>
              <a:latin typeface="微软雅黑"/>
              <a:ea typeface="微软雅黑"/>
              <a:cs typeface="+mn-cs"/>
            </a:endParaRPr>
          </a:p>
        </p:txBody>
      </p:sp>
      <p:sp>
        <p:nvSpPr>
          <p:cNvPr id="1018" name="Object 1018"/>
          <p:cNvSpPr txBox="1"/>
          <p:nvPr/>
        </p:nvSpPr>
        <p:spPr>
          <a:xfrm>
            <a:off x="8214442" y="2497954"/>
            <a:ext cx="1412477" cy="381000"/>
          </a:xfrm>
          <a:prstGeom prst="rect">
            <a:avLst/>
          </a:prstGeom>
        </p:spPr>
        <p:txBody>
          <a:bodyPr vert="horz" rtlCol="0" anchor="t" anchorCtr="0">
            <a:noAutofit/>
          </a:bodyPr>
          <a:lstStyle/>
          <a:p>
            <a:pPr marL="0" marR="0" lvl="0" indent="0" algn="l" defTabSz="914400" rtl="0" eaLnBrk="1" fontAlgn="auto" latinLnBrk="0" hangingPunct="1">
              <a:lnSpc>
                <a:spcPct val="123333"/>
              </a:lnSpc>
              <a:spcBef>
                <a:spcPts val="0"/>
              </a:spcBef>
              <a:spcAft>
                <a:spcPts val="0"/>
              </a:spcAft>
              <a:buClrTx/>
              <a:buSzTx/>
              <a:buFontTx/>
              <a:buNone/>
              <a:tabLst/>
              <a:defRPr/>
            </a:pPr>
            <a:r>
              <a:rPr kumimoji="0" lang="zh-CN" altLang="en-US" sz="2020" b="0" i="0" u="none" strike="noStrike" kern="1200" cap="none" spc="0" normalizeH="0" baseline="0" noProof="0" dirty="0">
                <a:ln>
                  <a:noFill/>
                </a:ln>
                <a:solidFill>
                  <a:srgbClr val="2C66F1"/>
                </a:solidFill>
                <a:effectLst/>
                <a:uLnTx/>
                <a:uFillTx/>
                <a:latin typeface="OPPOSans B" panose="00020600040101010101" pitchFamily="18" charset="-122"/>
                <a:ea typeface="OPPOSans B" panose="00020600040101010101" pitchFamily="18" charset="-122"/>
                <a:cs typeface="+mn-cs"/>
              </a:rPr>
              <a:t>添加标题</a:t>
            </a:r>
            <a:endParaRPr kumimoji="0" lang="zh-CN" altLang="en-US" sz="900" b="0" i="0" u="none" strike="noStrike" kern="1200" cap="none" spc="0" normalizeH="0" baseline="0" noProof="0" dirty="0">
              <a:ln>
                <a:noFill/>
              </a:ln>
              <a:solidFill>
                <a:srgbClr val="2C66F1"/>
              </a:solidFill>
              <a:effectLst/>
              <a:uLnTx/>
              <a:uFillTx/>
              <a:latin typeface="微软雅黑"/>
              <a:ea typeface="微软雅黑"/>
              <a:cs typeface="+mn-cs"/>
            </a:endParaRPr>
          </a:p>
        </p:txBody>
      </p:sp>
      <p:pic>
        <p:nvPicPr>
          <p:cNvPr id="1025" name="image 1025"/>
          <p:cNvPicPr>
            <a:picLocks noChangeAspect="1"/>
          </p:cNvPicPr>
          <p:nvPr/>
        </p:nvPicPr>
        <p:blipFill>
          <a:blip r:embed="rId5"/>
          <a:srcRect/>
          <a:stretch>
            <a:fillRect/>
          </a:stretch>
        </p:blipFill>
        <p:spPr>
          <a:xfrm>
            <a:off x="2891949" y="3837221"/>
            <a:ext cx="353506" cy="353506"/>
          </a:xfrm>
          <a:prstGeom prst="rect">
            <a:avLst/>
          </a:prstGeom>
        </p:spPr>
      </p:pic>
      <p:sp>
        <p:nvSpPr>
          <p:cNvPr id="1027" name="Object 1027"/>
          <p:cNvSpPr txBox="1"/>
          <p:nvPr/>
        </p:nvSpPr>
        <p:spPr>
          <a:xfrm>
            <a:off x="7746553" y="3815719"/>
            <a:ext cx="617029" cy="273050"/>
          </a:xfrm>
          <a:prstGeom prst="rect">
            <a:avLst/>
          </a:prstGeom>
        </p:spPr>
        <p:txBody>
          <a:bodyPr vert="horz" rtlCol="0" anchor="t" anchorCtr="0">
            <a:noAutofit/>
          </a:bodyPr>
          <a:lstStyle/>
          <a:p>
            <a:pPr marL="0" marR="0" lvl="0" indent="0" algn="ctr" defTabSz="914400" rtl="0" eaLnBrk="1" fontAlgn="auto" latinLnBrk="0" hangingPunct="1">
              <a:lnSpc>
                <a:spcPct val="88333"/>
              </a:lnSpc>
              <a:spcBef>
                <a:spcPts val="0"/>
              </a:spcBef>
              <a:spcAft>
                <a:spcPts val="0"/>
              </a:spcAft>
              <a:buClrTx/>
              <a:buSzTx/>
              <a:buFontTx/>
              <a:buNone/>
              <a:tabLst/>
              <a:defRPr/>
            </a:pPr>
            <a:r>
              <a:rPr kumimoji="0" lang="en-US" altLang="zh-CN" sz="2020" b="0" i="0" u="none" strike="noStrike" kern="1200" cap="none" spc="0" normalizeH="0" baseline="0" noProof="0" dirty="0">
                <a:ln>
                  <a:noFill/>
                </a:ln>
                <a:solidFill>
                  <a:srgbClr val="FFFFFF"/>
                </a:solidFill>
                <a:effectLst/>
                <a:uLnTx/>
                <a:uFillTx/>
                <a:latin typeface="PangMenZhengDao"/>
                <a:ea typeface="PangMenZhengDao"/>
                <a:cs typeface="+mn-cs"/>
              </a:rPr>
              <a:t>02</a:t>
            </a:r>
            <a:endParaRPr kumimoji="0" lang="zh-CN" altLang="en-US" sz="900" b="0" i="0" u="none" strike="noStrike" kern="1200" cap="none" spc="0" normalizeH="0" baseline="0" noProof="0">
              <a:ln>
                <a:noFill/>
              </a:ln>
              <a:solidFill>
                <a:prstClr val="black"/>
              </a:solidFill>
              <a:effectLst/>
              <a:uLnTx/>
              <a:uFillTx/>
              <a:latin typeface="微软雅黑"/>
              <a:ea typeface="微软雅黑"/>
              <a:cs typeface="+mn-cs"/>
            </a:endParaRPr>
          </a:p>
        </p:txBody>
      </p:sp>
      <p:sp>
        <p:nvSpPr>
          <p:cNvPr id="1028" name="Object 1028"/>
          <p:cNvSpPr txBox="1"/>
          <p:nvPr/>
        </p:nvSpPr>
        <p:spPr>
          <a:xfrm>
            <a:off x="4262594" y="3641329"/>
            <a:ext cx="3359974" cy="558800"/>
          </a:xfrm>
          <a:prstGeom prst="rect">
            <a:avLst/>
          </a:prstGeom>
        </p:spPr>
        <p:txBody>
          <a:bodyPr vert="horz" rtlCol="0" anchor="t" anchorCtr="0">
            <a:noAutofit/>
          </a:bodyPr>
          <a:lstStyle/>
          <a:p>
            <a:pPr marL="0" marR="0" lvl="0" indent="0" algn="r" defTabSz="914400" rtl="0" eaLnBrk="1" fontAlgn="auto" latinLnBrk="0" hangingPunct="1">
              <a:lnSpc>
                <a:spcPct val="125000"/>
              </a:lnSpc>
              <a:spcBef>
                <a:spcPts val="0"/>
              </a:spcBef>
              <a:spcAft>
                <a:spcPts val="0"/>
              </a:spcAft>
              <a:buClrTx/>
              <a:buSzTx/>
              <a:buFontTx/>
              <a:buNone/>
              <a:tabLst/>
              <a:defRPr/>
            </a:pPr>
            <a:r>
              <a:rPr kumimoji="0" lang="zh-CN" altLang="en-US" sz="1470" b="0" i="0" u="none" strike="noStrike" kern="1200" cap="none" spc="0" normalizeH="0" baseline="0" noProof="0" dirty="0">
                <a:ln>
                  <a:noFill/>
                </a:ln>
                <a:solidFill>
                  <a:srgbClr val="999999"/>
                </a:solidFill>
                <a:effectLst/>
                <a:uLnTx/>
                <a:uFillTx/>
                <a:latin typeface="SourceHanSansSC-Regular"/>
                <a:ea typeface="SourceHanSansSC-Regular"/>
                <a:cs typeface="+mn-cs"/>
              </a:rPr>
              <a:t>单击此处编辑文本单击此处编辑文本单击此处编辑文本单击此处编辑</a:t>
            </a:r>
            <a:endParaRPr kumimoji="0" lang="zh-CN" altLang="en-US" sz="900" b="0" i="0" u="none" strike="noStrike" kern="1200" cap="none" spc="0" normalizeH="0" baseline="0" noProof="0">
              <a:ln>
                <a:noFill/>
              </a:ln>
              <a:solidFill>
                <a:prstClr val="black"/>
              </a:solidFill>
              <a:effectLst/>
              <a:uLnTx/>
              <a:uFillTx/>
              <a:latin typeface="微软雅黑"/>
              <a:ea typeface="微软雅黑"/>
              <a:cs typeface="+mn-cs"/>
            </a:endParaRPr>
          </a:p>
        </p:txBody>
      </p:sp>
      <p:sp>
        <p:nvSpPr>
          <p:cNvPr id="1029" name="Object 1029"/>
          <p:cNvSpPr txBox="1"/>
          <p:nvPr/>
        </p:nvSpPr>
        <p:spPr>
          <a:xfrm>
            <a:off x="8722206" y="3751294"/>
            <a:ext cx="1412477" cy="381000"/>
          </a:xfrm>
          <a:prstGeom prst="rect">
            <a:avLst/>
          </a:prstGeom>
        </p:spPr>
        <p:txBody>
          <a:bodyPr vert="horz" rtlCol="0" anchor="t" anchorCtr="0">
            <a:noAutofit/>
          </a:bodyPr>
          <a:lstStyle/>
          <a:p>
            <a:pPr marL="0" marR="0" lvl="0" indent="0" algn="l" defTabSz="914400" rtl="0" eaLnBrk="1" fontAlgn="auto" latinLnBrk="0" hangingPunct="1">
              <a:lnSpc>
                <a:spcPct val="123333"/>
              </a:lnSpc>
              <a:spcBef>
                <a:spcPts val="0"/>
              </a:spcBef>
              <a:spcAft>
                <a:spcPts val="0"/>
              </a:spcAft>
              <a:buClrTx/>
              <a:buSzTx/>
              <a:buFontTx/>
              <a:buNone/>
              <a:tabLst/>
              <a:defRPr/>
            </a:pPr>
            <a:r>
              <a:rPr kumimoji="0" lang="zh-CN" altLang="en-US" sz="2020" b="0" i="0" u="none" strike="noStrike" kern="1200" cap="none" spc="0" normalizeH="0" baseline="0" noProof="0" dirty="0">
                <a:ln>
                  <a:noFill/>
                </a:ln>
                <a:solidFill>
                  <a:srgbClr val="0EDFCD"/>
                </a:solidFill>
                <a:effectLst/>
                <a:uLnTx/>
                <a:uFillTx/>
                <a:latin typeface="OPPOSans B" panose="00020600040101010101" pitchFamily="18" charset="-122"/>
                <a:ea typeface="OPPOSans B" panose="00020600040101010101" pitchFamily="18" charset="-122"/>
                <a:cs typeface="+mn-cs"/>
              </a:rPr>
              <a:t>添加标题</a:t>
            </a:r>
            <a:endParaRPr kumimoji="0" lang="zh-CN" altLang="en-US" sz="900" b="0" i="0" u="none" strike="noStrike" kern="1200" cap="none" spc="0" normalizeH="0" baseline="0" noProof="0" dirty="0">
              <a:ln>
                <a:noFill/>
              </a:ln>
              <a:solidFill>
                <a:srgbClr val="0EDFCD"/>
              </a:solidFill>
              <a:effectLst/>
              <a:uLnTx/>
              <a:uFillTx/>
              <a:latin typeface="微软雅黑"/>
              <a:ea typeface="微软雅黑"/>
              <a:cs typeface="+mn-cs"/>
            </a:endParaRPr>
          </a:p>
        </p:txBody>
      </p:sp>
      <p:pic>
        <p:nvPicPr>
          <p:cNvPr id="1036" name="image 1036"/>
          <p:cNvPicPr>
            <a:picLocks noChangeAspect="1"/>
          </p:cNvPicPr>
          <p:nvPr/>
        </p:nvPicPr>
        <p:blipFill>
          <a:blip r:embed="rId6"/>
          <a:srcRect/>
          <a:stretch>
            <a:fillRect/>
          </a:stretch>
        </p:blipFill>
        <p:spPr>
          <a:xfrm>
            <a:off x="2930514" y="5071279"/>
            <a:ext cx="276377" cy="282805"/>
          </a:xfrm>
          <a:prstGeom prst="rect">
            <a:avLst/>
          </a:prstGeom>
        </p:spPr>
      </p:pic>
      <p:sp>
        <p:nvSpPr>
          <p:cNvPr id="1038" name="Object 1038"/>
          <p:cNvSpPr txBox="1"/>
          <p:nvPr/>
        </p:nvSpPr>
        <p:spPr>
          <a:xfrm>
            <a:off x="8253289" y="5024067"/>
            <a:ext cx="604174" cy="273050"/>
          </a:xfrm>
          <a:prstGeom prst="rect">
            <a:avLst/>
          </a:prstGeom>
        </p:spPr>
        <p:txBody>
          <a:bodyPr vert="horz" rtlCol="0" anchor="t" anchorCtr="0">
            <a:noAutofit/>
          </a:bodyPr>
          <a:lstStyle/>
          <a:p>
            <a:pPr marL="0" marR="0" lvl="0" indent="0" algn="ctr" defTabSz="914400" rtl="0" eaLnBrk="1" fontAlgn="auto" latinLnBrk="0" hangingPunct="1">
              <a:lnSpc>
                <a:spcPct val="88333"/>
              </a:lnSpc>
              <a:spcBef>
                <a:spcPts val="0"/>
              </a:spcBef>
              <a:spcAft>
                <a:spcPts val="0"/>
              </a:spcAft>
              <a:buClrTx/>
              <a:buSzTx/>
              <a:buFontTx/>
              <a:buNone/>
              <a:tabLst/>
              <a:defRPr/>
            </a:pPr>
            <a:r>
              <a:rPr kumimoji="0" lang="en-US" altLang="zh-CN" sz="2020" b="0" i="0" u="none" strike="noStrike" kern="1200" cap="none" spc="0" normalizeH="0" baseline="0" noProof="0" dirty="0">
                <a:ln>
                  <a:noFill/>
                </a:ln>
                <a:solidFill>
                  <a:srgbClr val="FFFFFF"/>
                </a:solidFill>
                <a:effectLst/>
                <a:uLnTx/>
                <a:uFillTx/>
                <a:latin typeface="PangMenZhengDao"/>
                <a:ea typeface="PangMenZhengDao"/>
                <a:cs typeface="+mn-cs"/>
              </a:rPr>
              <a:t>03</a:t>
            </a:r>
            <a:endParaRPr kumimoji="0" lang="zh-CN" altLang="en-US" sz="900" b="0" i="0" u="none" strike="noStrike" kern="1200" cap="none" spc="0" normalizeH="0" baseline="0" noProof="0">
              <a:ln>
                <a:noFill/>
              </a:ln>
              <a:solidFill>
                <a:prstClr val="black"/>
              </a:solidFill>
              <a:effectLst/>
              <a:uLnTx/>
              <a:uFillTx/>
              <a:latin typeface="微软雅黑"/>
              <a:ea typeface="微软雅黑"/>
              <a:cs typeface="+mn-cs"/>
            </a:endParaRPr>
          </a:p>
        </p:txBody>
      </p:sp>
      <p:sp>
        <p:nvSpPr>
          <p:cNvPr id="1039" name="Object 1039"/>
          <p:cNvSpPr txBox="1"/>
          <p:nvPr/>
        </p:nvSpPr>
        <p:spPr>
          <a:xfrm>
            <a:off x="4789639" y="4881814"/>
            <a:ext cx="3359974" cy="558800"/>
          </a:xfrm>
          <a:prstGeom prst="rect">
            <a:avLst/>
          </a:prstGeom>
        </p:spPr>
        <p:txBody>
          <a:bodyPr vert="horz" rtlCol="0" anchor="t" anchorCtr="0">
            <a:noAutofit/>
          </a:bodyPr>
          <a:lstStyle/>
          <a:p>
            <a:pPr marL="0" marR="0" lvl="0" indent="0" algn="r" defTabSz="914400" rtl="0" eaLnBrk="1" fontAlgn="auto" latinLnBrk="0" hangingPunct="1">
              <a:lnSpc>
                <a:spcPct val="125000"/>
              </a:lnSpc>
              <a:spcBef>
                <a:spcPts val="0"/>
              </a:spcBef>
              <a:spcAft>
                <a:spcPts val="0"/>
              </a:spcAft>
              <a:buClrTx/>
              <a:buSzTx/>
              <a:buFontTx/>
              <a:buNone/>
              <a:tabLst/>
              <a:defRPr/>
            </a:pPr>
            <a:r>
              <a:rPr kumimoji="0" lang="zh-CN" altLang="en-US" sz="1470" b="0" i="0" u="none" strike="noStrike" kern="1200" cap="none" spc="0" normalizeH="0" baseline="0" noProof="0" dirty="0">
                <a:ln>
                  <a:noFill/>
                </a:ln>
                <a:solidFill>
                  <a:srgbClr val="999999"/>
                </a:solidFill>
                <a:effectLst/>
                <a:uLnTx/>
                <a:uFillTx/>
                <a:latin typeface="SourceHanSansSC-Regular"/>
                <a:ea typeface="SourceHanSansSC-Regular"/>
                <a:cs typeface="+mn-cs"/>
              </a:rPr>
              <a:t>单击此处编辑文本单击此处编辑文本单击此处编辑文本单击此处编辑</a:t>
            </a:r>
            <a:endParaRPr kumimoji="0" lang="zh-CN" altLang="en-US" sz="900" b="0" i="0" u="none" strike="noStrike" kern="1200" cap="none" spc="0" normalizeH="0" baseline="0" noProof="0">
              <a:ln>
                <a:noFill/>
              </a:ln>
              <a:solidFill>
                <a:prstClr val="black"/>
              </a:solidFill>
              <a:effectLst/>
              <a:uLnTx/>
              <a:uFillTx/>
              <a:latin typeface="微软雅黑"/>
              <a:ea typeface="微软雅黑"/>
              <a:cs typeface="+mn-cs"/>
            </a:endParaRPr>
          </a:p>
        </p:txBody>
      </p:sp>
      <p:sp>
        <p:nvSpPr>
          <p:cNvPr id="1040" name="Object 1040"/>
          <p:cNvSpPr txBox="1"/>
          <p:nvPr/>
        </p:nvSpPr>
        <p:spPr>
          <a:xfrm>
            <a:off x="9242823" y="4953215"/>
            <a:ext cx="1412477" cy="381000"/>
          </a:xfrm>
          <a:prstGeom prst="rect">
            <a:avLst/>
          </a:prstGeom>
        </p:spPr>
        <p:txBody>
          <a:bodyPr vert="horz" rtlCol="0" anchor="t" anchorCtr="0">
            <a:noAutofit/>
          </a:bodyPr>
          <a:lstStyle/>
          <a:p>
            <a:pPr marL="0" marR="0" lvl="0" indent="0" algn="l" defTabSz="914400" rtl="0" eaLnBrk="1" fontAlgn="auto" latinLnBrk="0" hangingPunct="1">
              <a:lnSpc>
                <a:spcPct val="123333"/>
              </a:lnSpc>
              <a:spcBef>
                <a:spcPts val="0"/>
              </a:spcBef>
              <a:spcAft>
                <a:spcPts val="0"/>
              </a:spcAft>
              <a:buClrTx/>
              <a:buSzTx/>
              <a:buFontTx/>
              <a:buNone/>
              <a:tabLst/>
              <a:defRPr/>
            </a:pPr>
            <a:r>
              <a:rPr kumimoji="0" lang="zh-CN" altLang="en-US" sz="2020" b="0" i="0" u="none" strike="noStrike" kern="1200" cap="none" spc="0" normalizeH="0" baseline="0" noProof="0" dirty="0">
                <a:ln>
                  <a:noFill/>
                </a:ln>
                <a:solidFill>
                  <a:srgbClr val="FF891C"/>
                </a:solidFill>
                <a:effectLst/>
                <a:uLnTx/>
                <a:uFillTx/>
                <a:latin typeface="OPPOSans B" panose="00020600040101010101" pitchFamily="18" charset="-122"/>
                <a:ea typeface="OPPOSans B" panose="00020600040101010101" pitchFamily="18" charset="-122"/>
                <a:cs typeface="+mn-cs"/>
              </a:rPr>
              <a:t>添加标题</a:t>
            </a:r>
            <a:endParaRPr kumimoji="0" lang="zh-CN" altLang="en-US" sz="900" b="0" i="0" u="none" strike="noStrike" kern="1200" cap="none" spc="0" normalizeH="0" baseline="0" noProof="0" dirty="0">
              <a:ln>
                <a:noFill/>
              </a:ln>
              <a:solidFill>
                <a:srgbClr val="FF891C"/>
              </a:solidFill>
              <a:effectLst/>
              <a:uLnTx/>
              <a:uFillTx/>
              <a:latin typeface="微软雅黑"/>
              <a:ea typeface="微软雅黑"/>
              <a:cs typeface="+mn-cs"/>
            </a:endParaRPr>
          </a:p>
        </p:txBody>
      </p:sp>
      <p:sp>
        <p:nvSpPr>
          <p:cNvPr id="9" name="平行四边形 8">
            <a:extLst>
              <a:ext uri="{FF2B5EF4-FFF2-40B4-BE49-F238E27FC236}">
                <a16:creationId xmlns:a16="http://schemas.microsoft.com/office/drawing/2014/main" id="{32366634-D96F-426F-9791-A86F2FC9F232}"/>
              </a:ext>
            </a:extLst>
          </p:cNvPr>
          <p:cNvSpPr/>
          <p:nvPr/>
        </p:nvSpPr>
        <p:spPr>
          <a:xfrm flipV="1">
            <a:off x="3869813" y="3551817"/>
            <a:ext cx="4987650" cy="914375"/>
          </a:xfrm>
          <a:prstGeom prst="parallelogram">
            <a:avLst>
              <a:gd name="adj" fmla="val 41771"/>
            </a:avLst>
          </a:prstGeom>
          <a:noFill/>
          <a:ln w="444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微软雅黑"/>
              <a:ea typeface="微软雅黑"/>
              <a:cs typeface="+mn-cs"/>
            </a:endParaRPr>
          </a:p>
        </p:txBody>
      </p:sp>
      <p:sp>
        <p:nvSpPr>
          <p:cNvPr id="60" name="平行四边形 59">
            <a:extLst>
              <a:ext uri="{FF2B5EF4-FFF2-40B4-BE49-F238E27FC236}">
                <a16:creationId xmlns:a16="http://schemas.microsoft.com/office/drawing/2014/main" id="{D0DC8778-442E-4261-84B0-E1FFB79C4F47}"/>
              </a:ext>
            </a:extLst>
          </p:cNvPr>
          <p:cNvSpPr/>
          <p:nvPr/>
        </p:nvSpPr>
        <p:spPr>
          <a:xfrm flipV="1">
            <a:off x="3309729" y="2226705"/>
            <a:ext cx="4987650" cy="1015760"/>
          </a:xfrm>
          <a:prstGeom prst="parallelogram">
            <a:avLst>
              <a:gd name="adj" fmla="val 41771"/>
            </a:avLst>
          </a:prstGeom>
          <a:noFill/>
          <a:ln w="444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微软雅黑"/>
              <a:ea typeface="微软雅黑"/>
              <a:cs typeface="+mn-cs"/>
            </a:endParaRPr>
          </a:p>
        </p:txBody>
      </p:sp>
      <p:sp>
        <p:nvSpPr>
          <p:cNvPr id="61" name="平行四边形 60">
            <a:extLst>
              <a:ext uri="{FF2B5EF4-FFF2-40B4-BE49-F238E27FC236}">
                <a16:creationId xmlns:a16="http://schemas.microsoft.com/office/drawing/2014/main" id="{001BC8E9-DD07-419D-8E0F-C6EE067BEE10}"/>
              </a:ext>
            </a:extLst>
          </p:cNvPr>
          <p:cNvSpPr/>
          <p:nvPr/>
        </p:nvSpPr>
        <p:spPr>
          <a:xfrm flipV="1">
            <a:off x="4368127" y="4687389"/>
            <a:ext cx="4987650" cy="1015760"/>
          </a:xfrm>
          <a:prstGeom prst="parallelogram">
            <a:avLst>
              <a:gd name="adj" fmla="val 41771"/>
            </a:avLst>
          </a:prstGeom>
          <a:noFill/>
          <a:ln w="444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微软雅黑"/>
              <a:ea typeface="微软雅黑"/>
              <a:cs typeface="+mn-cs"/>
            </a:endParaRPr>
          </a:p>
        </p:txBody>
      </p:sp>
    </p:spTree>
    <p:extLst>
      <p:ext uri="{BB962C8B-B14F-4D97-AF65-F5344CB8AC3E}">
        <p14:creationId xmlns:p14="http://schemas.microsoft.com/office/powerpoint/2010/main" val="540026167"/>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7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4" name="组合 63">
            <a:extLst>
              <a:ext uri="{FF2B5EF4-FFF2-40B4-BE49-F238E27FC236}">
                <a16:creationId xmlns:a16="http://schemas.microsoft.com/office/drawing/2014/main" id="{1AE043C7-94FC-4B04-9986-DC84268807F7}"/>
              </a:ext>
            </a:extLst>
          </p:cNvPr>
          <p:cNvGrpSpPr/>
          <p:nvPr/>
        </p:nvGrpSpPr>
        <p:grpSpPr>
          <a:xfrm>
            <a:off x="9213124" y="4845429"/>
            <a:ext cx="1832179" cy="567531"/>
            <a:chOff x="1151799" y="1829659"/>
            <a:chExt cx="1832179" cy="567531"/>
          </a:xfrm>
        </p:grpSpPr>
        <p:sp>
          <p:nvSpPr>
            <p:cNvPr id="65" name="矩形: 圆角 64">
              <a:extLst>
                <a:ext uri="{FF2B5EF4-FFF2-40B4-BE49-F238E27FC236}">
                  <a16:creationId xmlns:a16="http://schemas.microsoft.com/office/drawing/2014/main" id="{067366C8-B7DE-4CEC-9487-5F03FBE5690B}"/>
                </a:ext>
              </a:extLst>
            </p:cNvPr>
            <p:cNvSpPr/>
            <p:nvPr/>
          </p:nvSpPr>
          <p:spPr>
            <a:xfrm>
              <a:off x="1151799" y="1867563"/>
              <a:ext cx="1832179" cy="529627"/>
            </a:xfrm>
            <a:prstGeom prst="roundRect">
              <a:avLst>
                <a:gd name="adj" fmla="val 39196"/>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Arial" panose="020F0502020204030204"/>
                <a:ea typeface="微软雅黑"/>
                <a:cs typeface="+mn-cs"/>
              </a:endParaRPr>
            </a:p>
          </p:txBody>
        </p:sp>
        <p:sp>
          <p:nvSpPr>
            <p:cNvPr id="66" name="矩形: 圆角 65">
              <a:extLst>
                <a:ext uri="{FF2B5EF4-FFF2-40B4-BE49-F238E27FC236}">
                  <a16:creationId xmlns:a16="http://schemas.microsoft.com/office/drawing/2014/main" id="{7F6678D1-DA16-4898-B256-8656E6F769B1}"/>
                </a:ext>
              </a:extLst>
            </p:cNvPr>
            <p:cNvSpPr/>
            <p:nvPr/>
          </p:nvSpPr>
          <p:spPr>
            <a:xfrm>
              <a:off x="1151799" y="1829659"/>
              <a:ext cx="1832179" cy="529627"/>
            </a:xfrm>
            <a:prstGeom prst="roundRect">
              <a:avLst>
                <a:gd name="adj" fmla="val 39196"/>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Arial" panose="020F0502020204030204"/>
                <a:ea typeface="微软雅黑"/>
                <a:cs typeface="+mn-cs"/>
              </a:endParaRPr>
            </a:p>
          </p:txBody>
        </p:sp>
      </p:grpSp>
      <p:grpSp>
        <p:nvGrpSpPr>
          <p:cNvPr id="67" name="组合 66">
            <a:extLst>
              <a:ext uri="{FF2B5EF4-FFF2-40B4-BE49-F238E27FC236}">
                <a16:creationId xmlns:a16="http://schemas.microsoft.com/office/drawing/2014/main" id="{916B0057-C603-4E12-8598-D3FCEEE7372D}"/>
              </a:ext>
            </a:extLst>
          </p:cNvPr>
          <p:cNvGrpSpPr/>
          <p:nvPr/>
        </p:nvGrpSpPr>
        <p:grpSpPr>
          <a:xfrm>
            <a:off x="6621075" y="4840115"/>
            <a:ext cx="1832179" cy="567531"/>
            <a:chOff x="1151799" y="1829659"/>
            <a:chExt cx="1832179" cy="567531"/>
          </a:xfrm>
        </p:grpSpPr>
        <p:sp>
          <p:nvSpPr>
            <p:cNvPr id="68" name="矩形: 圆角 67">
              <a:extLst>
                <a:ext uri="{FF2B5EF4-FFF2-40B4-BE49-F238E27FC236}">
                  <a16:creationId xmlns:a16="http://schemas.microsoft.com/office/drawing/2014/main" id="{0B65BEF8-F026-412B-BAB1-F1575155292F}"/>
                </a:ext>
              </a:extLst>
            </p:cNvPr>
            <p:cNvSpPr/>
            <p:nvPr/>
          </p:nvSpPr>
          <p:spPr>
            <a:xfrm>
              <a:off x="1151799" y="1867563"/>
              <a:ext cx="1832179" cy="529627"/>
            </a:xfrm>
            <a:prstGeom prst="roundRect">
              <a:avLst>
                <a:gd name="adj" fmla="val 39196"/>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Arial" panose="020F0502020204030204"/>
                <a:ea typeface="微软雅黑"/>
                <a:cs typeface="+mn-cs"/>
              </a:endParaRPr>
            </a:p>
          </p:txBody>
        </p:sp>
        <p:sp>
          <p:nvSpPr>
            <p:cNvPr id="69" name="矩形: 圆角 68">
              <a:extLst>
                <a:ext uri="{FF2B5EF4-FFF2-40B4-BE49-F238E27FC236}">
                  <a16:creationId xmlns:a16="http://schemas.microsoft.com/office/drawing/2014/main" id="{65D5F879-F847-4E2C-9CDB-64DFFD027D05}"/>
                </a:ext>
              </a:extLst>
            </p:cNvPr>
            <p:cNvSpPr/>
            <p:nvPr/>
          </p:nvSpPr>
          <p:spPr>
            <a:xfrm>
              <a:off x="1151799" y="1829659"/>
              <a:ext cx="1832179" cy="529627"/>
            </a:xfrm>
            <a:prstGeom prst="roundRect">
              <a:avLst>
                <a:gd name="adj" fmla="val 39196"/>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Arial" panose="020F0502020204030204"/>
                <a:ea typeface="微软雅黑"/>
                <a:cs typeface="+mn-cs"/>
              </a:endParaRPr>
            </a:p>
          </p:txBody>
        </p:sp>
      </p:grpSp>
      <p:grpSp>
        <p:nvGrpSpPr>
          <p:cNvPr id="70" name="组合 69">
            <a:extLst>
              <a:ext uri="{FF2B5EF4-FFF2-40B4-BE49-F238E27FC236}">
                <a16:creationId xmlns:a16="http://schemas.microsoft.com/office/drawing/2014/main" id="{9BB0E7BC-0D83-4B89-8E62-FDB99906F617}"/>
              </a:ext>
            </a:extLst>
          </p:cNvPr>
          <p:cNvGrpSpPr/>
          <p:nvPr/>
        </p:nvGrpSpPr>
        <p:grpSpPr>
          <a:xfrm>
            <a:off x="3743848" y="4840704"/>
            <a:ext cx="1832179" cy="567531"/>
            <a:chOff x="1151799" y="1829659"/>
            <a:chExt cx="1832179" cy="567531"/>
          </a:xfrm>
        </p:grpSpPr>
        <p:sp>
          <p:nvSpPr>
            <p:cNvPr id="71" name="矩形: 圆角 70">
              <a:extLst>
                <a:ext uri="{FF2B5EF4-FFF2-40B4-BE49-F238E27FC236}">
                  <a16:creationId xmlns:a16="http://schemas.microsoft.com/office/drawing/2014/main" id="{CE762BF9-4009-4F63-8EBF-B651152E91D0}"/>
                </a:ext>
              </a:extLst>
            </p:cNvPr>
            <p:cNvSpPr/>
            <p:nvPr/>
          </p:nvSpPr>
          <p:spPr>
            <a:xfrm>
              <a:off x="1151799" y="1867563"/>
              <a:ext cx="1832179" cy="529627"/>
            </a:xfrm>
            <a:prstGeom prst="roundRect">
              <a:avLst>
                <a:gd name="adj" fmla="val 39196"/>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Arial" panose="020F0502020204030204"/>
                <a:ea typeface="微软雅黑"/>
                <a:cs typeface="+mn-cs"/>
              </a:endParaRPr>
            </a:p>
          </p:txBody>
        </p:sp>
        <p:sp>
          <p:nvSpPr>
            <p:cNvPr id="72" name="矩形: 圆角 71">
              <a:extLst>
                <a:ext uri="{FF2B5EF4-FFF2-40B4-BE49-F238E27FC236}">
                  <a16:creationId xmlns:a16="http://schemas.microsoft.com/office/drawing/2014/main" id="{B501E96A-47D6-40D8-A268-8796EE0B5110}"/>
                </a:ext>
              </a:extLst>
            </p:cNvPr>
            <p:cNvSpPr/>
            <p:nvPr/>
          </p:nvSpPr>
          <p:spPr>
            <a:xfrm>
              <a:off x="1151799" y="1829659"/>
              <a:ext cx="1832179" cy="529627"/>
            </a:xfrm>
            <a:prstGeom prst="roundRect">
              <a:avLst>
                <a:gd name="adj" fmla="val 39196"/>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Arial" panose="020F0502020204030204"/>
                <a:ea typeface="微软雅黑"/>
                <a:cs typeface="+mn-cs"/>
              </a:endParaRPr>
            </a:p>
          </p:txBody>
        </p:sp>
      </p:grpSp>
      <p:grpSp>
        <p:nvGrpSpPr>
          <p:cNvPr id="73" name="组合 72">
            <a:extLst>
              <a:ext uri="{FF2B5EF4-FFF2-40B4-BE49-F238E27FC236}">
                <a16:creationId xmlns:a16="http://schemas.microsoft.com/office/drawing/2014/main" id="{ACD95989-AA06-4DAF-8F55-04A45CE866C8}"/>
              </a:ext>
            </a:extLst>
          </p:cNvPr>
          <p:cNvGrpSpPr/>
          <p:nvPr/>
        </p:nvGrpSpPr>
        <p:grpSpPr>
          <a:xfrm>
            <a:off x="1151799" y="4835390"/>
            <a:ext cx="1832179" cy="567531"/>
            <a:chOff x="1151799" y="1829659"/>
            <a:chExt cx="1832179" cy="567531"/>
          </a:xfrm>
        </p:grpSpPr>
        <p:sp>
          <p:nvSpPr>
            <p:cNvPr id="74" name="矩形: 圆角 73">
              <a:extLst>
                <a:ext uri="{FF2B5EF4-FFF2-40B4-BE49-F238E27FC236}">
                  <a16:creationId xmlns:a16="http://schemas.microsoft.com/office/drawing/2014/main" id="{82C3737B-2A02-40C9-BB11-8583F8DDAF8A}"/>
                </a:ext>
              </a:extLst>
            </p:cNvPr>
            <p:cNvSpPr/>
            <p:nvPr/>
          </p:nvSpPr>
          <p:spPr>
            <a:xfrm>
              <a:off x="1151799" y="1867563"/>
              <a:ext cx="1832179" cy="529627"/>
            </a:xfrm>
            <a:prstGeom prst="roundRect">
              <a:avLst>
                <a:gd name="adj" fmla="val 39196"/>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Arial" panose="020F0502020204030204"/>
                <a:ea typeface="微软雅黑"/>
                <a:cs typeface="+mn-cs"/>
              </a:endParaRPr>
            </a:p>
          </p:txBody>
        </p:sp>
        <p:sp>
          <p:nvSpPr>
            <p:cNvPr id="75" name="矩形: 圆角 74">
              <a:extLst>
                <a:ext uri="{FF2B5EF4-FFF2-40B4-BE49-F238E27FC236}">
                  <a16:creationId xmlns:a16="http://schemas.microsoft.com/office/drawing/2014/main" id="{24F99251-66E6-4EF3-A564-70324F2CABB6}"/>
                </a:ext>
              </a:extLst>
            </p:cNvPr>
            <p:cNvSpPr/>
            <p:nvPr/>
          </p:nvSpPr>
          <p:spPr>
            <a:xfrm>
              <a:off x="1151799" y="1829659"/>
              <a:ext cx="1832179" cy="529627"/>
            </a:xfrm>
            <a:prstGeom prst="roundRect">
              <a:avLst>
                <a:gd name="adj" fmla="val 39196"/>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Arial" panose="020F0502020204030204"/>
                <a:ea typeface="微软雅黑"/>
                <a:cs typeface="+mn-cs"/>
              </a:endParaRPr>
            </a:p>
          </p:txBody>
        </p:sp>
      </p:grpSp>
      <p:grpSp>
        <p:nvGrpSpPr>
          <p:cNvPr id="58" name="组合 57">
            <a:extLst>
              <a:ext uri="{FF2B5EF4-FFF2-40B4-BE49-F238E27FC236}">
                <a16:creationId xmlns:a16="http://schemas.microsoft.com/office/drawing/2014/main" id="{C425C2F4-9925-4FDF-8597-03972AE9BB46}"/>
              </a:ext>
            </a:extLst>
          </p:cNvPr>
          <p:cNvGrpSpPr/>
          <p:nvPr/>
        </p:nvGrpSpPr>
        <p:grpSpPr>
          <a:xfrm>
            <a:off x="9213124" y="1839698"/>
            <a:ext cx="1832179" cy="567531"/>
            <a:chOff x="1151799" y="1829659"/>
            <a:chExt cx="1832179" cy="567531"/>
          </a:xfrm>
        </p:grpSpPr>
        <p:sp>
          <p:nvSpPr>
            <p:cNvPr id="59" name="矩形: 圆角 58">
              <a:extLst>
                <a:ext uri="{FF2B5EF4-FFF2-40B4-BE49-F238E27FC236}">
                  <a16:creationId xmlns:a16="http://schemas.microsoft.com/office/drawing/2014/main" id="{0E348510-310F-4AB2-B1C6-7811AA5B3838}"/>
                </a:ext>
              </a:extLst>
            </p:cNvPr>
            <p:cNvSpPr/>
            <p:nvPr/>
          </p:nvSpPr>
          <p:spPr>
            <a:xfrm>
              <a:off x="1151799" y="1867563"/>
              <a:ext cx="1832179" cy="529627"/>
            </a:xfrm>
            <a:prstGeom prst="roundRect">
              <a:avLst>
                <a:gd name="adj" fmla="val 39196"/>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Arial" panose="020F0502020204030204"/>
                <a:ea typeface="微软雅黑"/>
                <a:cs typeface="+mn-cs"/>
              </a:endParaRPr>
            </a:p>
          </p:txBody>
        </p:sp>
        <p:sp>
          <p:nvSpPr>
            <p:cNvPr id="60" name="矩形: 圆角 59">
              <a:extLst>
                <a:ext uri="{FF2B5EF4-FFF2-40B4-BE49-F238E27FC236}">
                  <a16:creationId xmlns:a16="http://schemas.microsoft.com/office/drawing/2014/main" id="{20E87532-FB18-4BD8-9408-B013FFD08E6D}"/>
                </a:ext>
              </a:extLst>
            </p:cNvPr>
            <p:cNvSpPr/>
            <p:nvPr/>
          </p:nvSpPr>
          <p:spPr>
            <a:xfrm>
              <a:off x="1151799" y="1829659"/>
              <a:ext cx="1832179" cy="529627"/>
            </a:xfrm>
            <a:prstGeom prst="roundRect">
              <a:avLst>
                <a:gd name="adj" fmla="val 39196"/>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Arial" panose="020F0502020204030204"/>
                <a:ea typeface="微软雅黑"/>
                <a:cs typeface="+mn-cs"/>
              </a:endParaRPr>
            </a:p>
          </p:txBody>
        </p:sp>
      </p:grpSp>
      <p:grpSp>
        <p:nvGrpSpPr>
          <p:cNvPr id="61" name="组合 60">
            <a:extLst>
              <a:ext uri="{FF2B5EF4-FFF2-40B4-BE49-F238E27FC236}">
                <a16:creationId xmlns:a16="http://schemas.microsoft.com/office/drawing/2014/main" id="{5BCBFA2C-9A8E-4505-81D0-E160FC660FA3}"/>
              </a:ext>
            </a:extLst>
          </p:cNvPr>
          <p:cNvGrpSpPr/>
          <p:nvPr/>
        </p:nvGrpSpPr>
        <p:grpSpPr>
          <a:xfrm>
            <a:off x="6621075" y="1834384"/>
            <a:ext cx="1832179" cy="567531"/>
            <a:chOff x="1151799" y="1829659"/>
            <a:chExt cx="1832179" cy="567531"/>
          </a:xfrm>
        </p:grpSpPr>
        <p:sp>
          <p:nvSpPr>
            <p:cNvPr id="62" name="矩形: 圆角 61">
              <a:extLst>
                <a:ext uri="{FF2B5EF4-FFF2-40B4-BE49-F238E27FC236}">
                  <a16:creationId xmlns:a16="http://schemas.microsoft.com/office/drawing/2014/main" id="{FF6C99A5-3639-48F5-B086-2388846E718D}"/>
                </a:ext>
              </a:extLst>
            </p:cNvPr>
            <p:cNvSpPr/>
            <p:nvPr/>
          </p:nvSpPr>
          <p:spPr>
            <a:xfrm>
              <a:off x="1151799" y="1867563"/>
              <a:ext cx="1832179" cy="529627"/>
            </a:xfrm>
            <a:prstGeom prst="roundRect">
              <a:avLst>
                <a:gd name="adj" fmla="val 39196"/>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Arial" panose="020F0502020204030204"/>
                <a:ea typeface="微软雅黑"/>
                <a:cs typeface="+mn-cs"/>
              </a:endParaRPr>
            </a:p>
          </p:txBody>
        </p:sp>
        <p:sp>
          <p:nvSpPr>
            <p:cNvPr id="63" name="矩形: 圆角 62">
              <a:extLst>
                <a:ext uri="{FF2B5EF4-FFF2-40B4-BE49-F238E27FC236}">
                  <a16:creationId xmlns:a16="http://schemas.microsoft.com/office/drawing/2014/main" id="{76AE4E80-8532-407D-94DD-F8E97E2E8C65}"/>
                </a:ext>
              </a:extLst>
            </p:cNvPr>
            <p:cNvSpPr/>
            <p:nvPr/>
          </p:nvSpPr>
          <p:spPr>
            <a:xfrm>
              <a:off x="1151799" y="1829659"/>
              <a:ext cx="1832179" cy="529627"/>
            </a:xfrm>
            <a:prstGeom prst="roundRect">
              <a:avLst>
                <a:gd name="adj" fmla="val 39196"/>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Arial" panose="020F0502020204030204"/>
                <a:ea typeface="微软雅黑"/>
                <a:cs typeface="+mn-cs"/>
              </a:endParaRPr>
            </a:p>
          </p:txBody>
        </p:sp>
      </p:grpSp>
      <p:grpSp>
        <p:nvGrpSpPr>
          <p:cNvPr id="55" name="组合 54">
            <a:extLst>
              <a:ext uri="{FF2B5EF4-FFF2-40B4-BE49-F238E27FC236}">
                <a16:creationId xmlns:a16="http://schemas.microsoft.com/office/drawing/2014/main" id="{7190650E-DAC4-4093-A5A6-6EDAECAEF1A2}"/>
              </a:ext>
            </a:extLst>
          </p:cNvPr>
          <p:cNvGrpSpPr/>
          <p:nvPr/>
        </p:nvGrpSpPr>
        <p:grpSpPr>
          <a:xfrm>
            <a:off x="3743848" y="1834973"/>
            <a:ext cx="1832179" cy="567531"/>
            <a:chOff x="1151799" y="1829659"/>
            <a:chExt cx="1832179" cy="567531"/>
          </a:xfrm>
        </p:grpSpPr>
        <p:sp>
          <p:nvSpPr>
            <p:cNvPr id="56" name="矩形: 圆角 55">
              <a:extLst>
                <a:ext uri="{FF2B5EF4-FFF2-40B4-BE49-F238E27FC236}">
                  <a16:creationId xmlns:a16="http://schemas.microsoft.com/office/drawing/2014/main" id="{B3591D2D-60B2-4CE8-889F-82DE2C2455A6}"/>
                </a:ext>
              </a:extLst>
            </p:cNvPr>
            <p:cNvSpPr/>
            <p:nvPr/>
          </p:nvSpPr>
          <p:spPr>
            <a:xfrm>
              <a:off x="1151799" y="1867563"/>
              <a:ext cx="1832179" cy="529627"/>
            </a:xfrm>
            <a:prstGeom prst="roundRect">
              <a:avLst>
                <a:gd name="adj" fmla="val 39196"/>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Arial" panose="020F0502020204030204"/>
                <a:ea typeface="微软雅黑"/>
                <a:cs typeface="+mn-cs"/>
              </a:endParaRPr>
            </a:p>
          </p:txBody>
        </p:sp>
        <p:sp>
          <p:nvSpPr>
            <p:cNvPr id="57" name="矩形: 圆角 56">
              <a:extLst>
                <a:ext uri="{FF2B5EF4-FFF2-40B4-BE49-F238E27FC236}">
                  <a16:creationId xmlns:a16="http://schemas.microsoft.com/office/drawing/2014/main" id="{82AFB248-4195-4CA2-929B-FDF8150D1701}"/>
                </a:ext>
              </a:extLst>
            </p:cNvPr>
            <p:cNvSpPr/>
            <p:nvPr/>
          </p:nvSpPr>
          <p:spPr>
            <a:xfrm>
              <a:off x="1151799" y="1829659"/>
              <a:ext cx="1832179" cy="529627"/>
            </a:xfrm>
            <a:prstGeom prst="roundRect">
              <a:avLst>
                <a:gd name="adj" fmla="val 39196"/>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Arial" panose="020F0502020204030204"/>
                <a:ea typeface="微软雅黑"/>
                <a:cs typeface="+mn-cs"/>
              </a:endParaRPr>
            </a:p>
          </p:txBody>
        </p:sp>
      </p:grpSp>
      <p:grpSp>
        <p:nvGrpSpPr>
          <p:cNvPr id="3" name="组合 2">
            <a:extLst>
              <a:ext uri="{FF2B5EF4-FFF2-40B4-BE49-F238E27FC236}">
                <a16:creationId xmlns:a16="http://schemas.microsoft.com/office/drawing/2014/main" id="{E2290C42-700B-4335-BA4F-95D8A26A2223}"/>
              </a:ext>
            </a:extLst>
          </p:cNvPr>
          <p:cNvGrpSpPr/>
          <p:nvPr/>
        </p:nvGrpSpPr>
        <p:grpSpPr>
          <a:xfrm>
            <a:off x="1151799" y="1829659"/>
            <a:ext cx="1832179" cy="567531"/>
            <a:chOff x="1151799" y="1829659"/>
            <a:chExt cx="1832179" cy="567531"/>
          </a:xfrm>
        </p:grpSpPr>
        <p:sp>
          <p:nvSpPr>
            <p:cNvPr id="53" name="矩形: 圆角 52">
              <a:extLst>
                <a:ext uri="{FF2B5EF4-FFF2-40B4-BE49-F238E27FC236}">
                  <a16:creationId xmlns:a16="http://schemas.microsoft.com/office/drawing/2014/main" id="{EC4CD8DC-D816-4AF2-8F2D-0C9B20F4A6D3}"/>
                </a:ext>
              </a:extLst>
            </p:cNvPr>
            <p:cNvSpPr/>
            <p:nvPr/>
          </p:nvSpPr>
          <p:spPr>
            <a:xfrm>
              <a:off x="1151799" y="1867563"/>
              <a:ext cx="1832179" cy="529627"/>
            </a:xfrm>
            <a:prstGeom prst="roundRect">
              <a:avLst>
                <a:gd name="adj" fmla="val 39196"/>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Arial" panose="020F0502020204030204"/>
                <a:ea typeface="微软雅黑"/>
                <a:cs typeface="+mn-cs"/>
              </a:endParaRPr>
            </a:p>
          </p:txBody>
        </p:sp>
        <p:sp>
          <p:nvSpPr>
            <p:cNvPr id="2" name="矩形: 圆角 1">
              <a:extLst>
                <a:ext uri="{FF2B5EF4-FFF2-40B4-BE49-F238E27FC236}">
                  <a16:creationId xmlns:a16="http://schemas.microsoft.com/office/drawing/2014/main" id="{695C7636-4892-40A0-A1D2-8803F78FDA7D}"/>
                </a:ext>
              </a:extLst>
            </p:cNvPr>
            <p:cNvSpPr/>
            <p:nvPr/>
          </p:nvSpPr>
          <p:spPr>
            <a:xfrm>
              <a:off x="1151799" y="1829659"/>
              <a:ext cx="1832179" cy="529627"/>
            </a:xfrm>
            <a:prstGeom prst="roundRect">
              <a:avLst>
                <a:gd name="adj" fmla="val 39196"/>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Arial" panose="020F0502020204030204"/>
                <a:ea typeface="微软雅黑"/>
                <a:cs typeface="+mn-cs"/>
              </a:endParaRPr>
            </a:p>
          </p:txBody>
        </p:sp>
      </p:grpSp>
      <p:sp>
        <p:nvSpPr>
          <p:cNvPr id="104" name="Object 104"/>
          <p:cNvSpPr txBox="1"/>
          <p:nvPr/>
        </p:nvSpPr>
        <p:spPr>
          <a:xfrm>
            <a:off x="4299216" y="554085"/>
            <a:ext cx="3593568" cy="457200"/>
          </a:xfrm>
          <a:prstGeom prst="rect">
            <a:avLst/>
          </a:prstGeom>
        </p:spPr>
        <p:txBody>
          <a:bodyPr vert="horz" rtlCol="0" anchor="t"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3000" b="0" i="0" u="none" strike="noStrike" kern="1200" cap="none" spc="0" normalizeH="0" baseline="0" noProof="0" dirty="0">
                <a:ln>
                  <a:noFill/>
                </a:ln>
                <a:solidFill>
                  <a:srgbClr val="1B1B1B"/>
                </a:solidFill>
                <a:effectLst/>
                <a:uLnTx/>
                <a:uFillTx/>
                <a:latin typeface="OPPOSans H" panose="00020600040101010101" pitchFamily="18" charset="-122"/>
                <a:ea typeface="OPPOSans H" panose="00020600040101010101" pitchFamily="18" charset="-122"/>
                <a:cs typeface="+mn-cs"/>
              </a:rPr>
              <a:t>运营架构</a:t>
            </a:r>
            <a:endParaRPr kumimoji="0" lang="zh-CN" altLang="en-US" sz="900" b="0" i="0" u="none" strike="noStrike" kern="1200" cap="none" spc="0" normalizeH="0" baseline="0" noProof="0" dirty="0">
              <a:ln>
                <a:noFill/>
              </a:ln>
              <a:solidFill>
                <a:srgbClr val="000000"/>
              </a:solidFill>
              <a:effectLst/>
              <a:uLnTx/>
              <a:uFillTx/>
              <a:latin typeface="Arial" panose="020F0502020204030204"/>
              <a:ea typeface="微软雅黑"/>
              <a:cs typeface="+mn-cs"/>
            </a:endParaRPr>
          </a:p>
        </p:txBody>
      </p:sp>
      <p:sp>
        <p:nvSpPr>
          <p:cNvPr id="108" name="Object 108"/>
          <p:cNvSpPr txBox="1"/>
          <p:nvPr/>
        </p:nvSpPr>
        <p:spPr>
          <a:xfrm>
            <a:off x="1044094" y="1883242"/>
            <a:ext cx="2034890" cy="361950"/>
          </a:xfrm>
          <a:prstGeom prst="rect">
            <a:avLst/>
          </a:prstGeom>
        </p:spPr>
        <p:txBody>
          <a:bodyPr vert="horz" rtlCol="0" anchor="t"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2390" b="0" i="0" u="none" strike="noStrike" kern="1200" cap="none" spc="0" normalizeH="0" baseline="0" noProof="0" dirty="0">
                <a:ln>
                  <a:noFill/>
                </a:ln>
                <a:solidFill>
                  <a:srgbClr val="FFFFFF"/>
                </a:solidFill>
                <a:effectLst/>
                <a:uLnTx/>
                <a:uFillTx/>
                <a:latin typeface="OPPOSans H" panose="00020600040101010101" pitchFamily="18" charset="-122"/>
                <a:ea typeface="OPPOSans H" panose="00020600040101010101" pitchFamily="18" charset="-122"/>
                <a:cs typeface="+mn-cs"/>
              </a:rPr>
              <a:t>高小定</a:t>
            </a:r>
            <a:endParaRPr kumimoji="0" lang="zh-CN" altLang="en-US" sz="900" b="0" i="0" u="none" strike="noStrike" kern="1200" cap="none" spc="0" normalizeH="0" baseline="0" noProof="0" dirty="0">
              <a:ln>
                <a:noFill/>
              </a:ln>
              <a:solidFill>
                <a:srgbClr val="000000"/>
              </a:solidFill>
              <a:effectLst/>
              <a:uLnTx/>
              <a:uFillTx/>
              <a:latin typeface="Arial" panose="020F0502020204030204"/>
              <a:ea typeface="微软雅黑"/>
              <a:cs typeface="+mn-cs"/>
            </a:endParaRPr>
          </a:p>
        </p:txBody>
      </p:sp>
      <p:sp>
        <p:nvSpPr>
          <p:cNvPr id="1012" name="Object 1012"/>
          <p:cNvSpPr txBox="1"/>
          <p:nvPr/>
        </p:nvSpPr>
        <p:spPr>
          <a:xfrm>
            <a:off x="3480745" y="1883242"/>
            <a:ext cx="2317788" cy="361950"/>
          </a:xfrm>
          <a:prstGeom prst="rect">
            <a:avLst/>
          </a:prstGeom>
        </p:spPr>
        <p:txBody>
          <a:bodyPr vert="horz" rtlCol="0" anchor="t"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2390" b="0" i="0" u="none" strike="noStrike" kern="1200" cap="none" spc="0" normalizeH="0" baseline="0" noProof="0" dirty="0">
                <a:ln>
                  <a:noFill/>
                </a:ln>
                <a:solidFill>
                  <a:srgbClr val="FFFFFF"/>
                </a:solidFill>
                <a:effectLst/>
                <a:uLnTx/>
                <a:uFillTx/>
                <a:latin typeface="OPPOSans H" panose="00020600040101010101" pitchFamily="18" charset="-122"/>
                <a:ea typeface="OPPOSans H" panose="00020600040101010101" pitchFamily="18" charset="-122"/>
                <a:cs typeface="+mn-cs"/>
              </a:rPr>
              <a:t>高小定</a:t>
            </a:r>
            <a:endParaRPr kumimoji="0" lang="zh-CN" altLang="en-US" sz="900" b="0" i="0" u="none" strike="noStrike" kern="1200" cap="none" spc="0" normalizeH="0" baseline="0" noProof="0" dirty="0">
              <a:ln>
                <a:noFill/>
              </a:ln>
              <a:solidFill>
                <a:srgbClr val="000000"/>
              </a:solidFill>
              <a:effectLst/>
              <a:uLnTx/>
              <a:uFillTx/>
              <a:latin typeface="Arial" panose="020F0502020204030204"/>
              <a:ea typeface="微软雅黑"/>
              <a:cs typeface="+mn-cs"/>
            </a:endParaRPr>
          </a:p>
        </p:txBody>
      </p:sp>
      <p:sp>
        <p:nvSpPr>
          <p:cNvPr id="1016" name="Object 1016"/>
          <p:cNvSpPr txBox="1"/>
          <p:nvPr/>
        </p:nvSpPr>
        <p:spPr>
          <a:xfrm>
            <a:off x="6615974" y="1884109"/>
            <a:ext cx="1861501" cy="361950"/>
          </a:xfrm>
          <a:prstGeom prst="rect">
            <a:avLst/>
          </a:prstGeom>
        </p:spPr>
        <p:txBody>
          <a:bodyPr vert="horz" rtlCol="0" anchor="t"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2390" b="0" i="0" u="none" strike="noStrike" kern="1200" cap="none" spc="0" normalizeH="0" baseline="0" noProof="0" dirty="0">
                <a:ln>
                  <a:noFill/>
                </a:ln>
                <a:solidFill>
                  <a:srgbClr val="FFFFFF"/>
                </a:solidFill>
                <a:effectLst/>
                <a:uLnTx/>
                <a:uFillTx/>
                <a:latin typeface="OPPOSans H" panose="00020600040101010101" pitchFamily="18" charset="-122"/>
                <a:ea typeface="OPPOSans H" panose="00020600040101010101" pitchFamily="18" charset="-122"/>
                <a:cs typeface="+mn-cs"/>
              </a:rPr>
              <a:t>高小定</a:t>
            </a:r>
            <a:endParaRPr kumimoji="0" lang="zh-CN" altLang="en-US" sz="900" b="0" i="0" u="none" strike="noStrike" kern="1200" cap="none" spc="0" normalizeH="0" baseline="0" noProof="0" dirty="0">
              <a:ln>
                <a:noFill/>
              </a:ln>
              <a:solidFill>
                <a:srgbClr val="000000"/>
              </a:solidFill>
              <a:effectLst/>
              <a:uLnTx/>
              <a:uFillTx/>
              <a:latin typeface="Arial" panose="020F0502020204030204"/>
              <a:ea typeface="微软雅黑"/>
              <a:cs typeface="+mn-cs"/>
            </a:endParaRPr>
          </a:p>
        </p:txBody>
      </p:sp>
      <p:sp>
        <p:nvSpPr>
          <p:cNvPr id="1020" name="Object 1020"/>
          <p:cNvSpPr txBox="1"/>
          <p:nvPr/>
        </p:nvSpPr>
        <p:spPr>
          <a:xfrm>
            <a:off x="9041938" y="1883242"/>
            <a:ext cx="2180902" cy="361950"/>
          </a:xfrm>
          <a:prstGeom prst="rect">
            <a:avLst/>
          </a:prstGeom>
        </p:spPr>
        <p:txBody>
          <a:bodyPr vert="horz" rtlCol="0" anchor="t"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2390" b="0" i="0" u="none" strike="noStrike" kern="1200" cap="none" spc="0" normalizeH="0" baseline="0" noProof="0" dirty="0">
                <a:ln>
                  <a:noFill/>
                </a:ln>
                <a:solidFill>
                  <a:srgbClr val="FFFFFF"/>
                </a:solidFill>
                <a:effectLst/>
                <a:uLnTx/>
                <a:uFillTx/>
                <a:latin typeface="OPPOSans H" panose="00020600040101010101" pitchFamily="18" charset="-122"/>
                <a:ea typeface="OPPOSans H" panose="00020600040101010101" pitchFamily="18" charset="-122"/>
                <a:cs typeface="+mn-cs"/>
              </a:rPr>
              <a:t>高小定</a:t>
            </a:r>
            <a:endParaRPr kumimoji="0" lang="zh-CN" altLang="en-US" sz="900" b="0" i="0" u="none" strike="noStrike" kern="1200" cap="none" spc="0" normalizeH="0" baseline="0" noProof="0" dirty="0">
              <a:ln>
                <a:noFill/>
              </a:ln>
              <a:solidFill>
                <a:srgbClr val="000000"/>
              </a:solidFill>
              <a:effectLst/>
              <a:uLnTx/>
              <a:uFillTx/>
              <a:latin typeface="Arial" panose="020F0502020204030204"/>
              <a:ea typeface="微软雅黑"/>
              <a:cs typeface="+mn-cs"/>
            </a:endParaRPr>
          </a:p>
        </p:txBody>
      </p:sp>
      <p:sp>
        <p:nvSpPr>
          <p:cNvPr id="1024" name="Object 1024"/>
          <p:cNvSpPr txBox="1"/>
          <p:nvPr/>
        </p:nvSpPr>
        <p:spPr>
          <a:xfrm>
            <a:off x="846103" y="4902751"/>
            <a:ext cx="2418171" cy="361950"/>
          </a:xfrm>
          <a:prstGeom prst="rect">
            <a:avLst/>
          </a:prstGeom>
        </p:spPr>
        <p:txBody>
          <a:bodyPr vert="horz" rtlCol="0" anchor="t"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2390" b="0" i="0" u="none" strike="noStrike" kern="1200" cap="none" spc="0" normalizeH="0" baseline="0" noProof="0" dirty="0">
                <a:ln>
                  <a:noFill/>
                </a:ln>
                <a:solidFill>
                  <a:srgbClr val="FFFFFF"/>
                </a:solidFill>
                <a:effectLst/>
                <a:uLnTx/>
                <a:uFillTx/>
                <a:latin typeface="OPPOSans H" panose="00020600040101010101" pitchFamily="18" charset="-122"/>
                <a:ea typeface="OPPOSans H" panose="00020600040101010101" pitchFamily="18" charset="-122"/>
                <a:cs typeface="+mn-cs"/>
              </a:rPr>
              <a:t>高小定</a:t>
            </a:r>
            <a:endParaRPr kumimoji="0" lang="zh-CN" altLang="en-US" sz="900" b="0" i="0" u="none" strike="noStrike" kern="1200" cap="none" spc="0" normalizeH="0" baseline="0" noProof="0" dirty="0">
              <a:ln>
                <a:noFill/>
              </a:ln>
              <a:solidFill>
                <a:srgbClr val="000000"/>
              </a:solidFill>
              <a:effectLst/>
              <a:uLnTx/>
              <a:uFillTx/>
              <a:latin typeface="Arial" panose="020F0502020204030204"/>
              <a:ea typeface="微软雅黑"/>
              <a:cs typeface="+mn-cs"/>
            </a:endParaRPr>
          </a:p>
        </p:txBody>
      </p:sp>
      <p:sp>
        <p:nvSpPr>
          <p:cNvPr id="1028" name="Object 1028"/>
          <p:cNvSpPr txBox="1"/>
          <p:nvPr/>
        </p:nvSpPr>
        <p:spPr>
          <a:xfrm>
            <a:off x="3364885" y="4902751"/>
            <a:ext cx="2536806" cy="361950"/>
          </a:xfrm>
          <a:prstGeom prst="rect">
            <a:avLst/>
          </a:prstGeom>
        </p:spPr>
        <p:txBody>
          <a:bodyPr vert="horz" rtlCol="0" anchor="t"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2390" b="0" i="0" u="none" strike="noStrike" kern="1200" cap="none" spc="0" normalizeH="0" baseline="0" noProof="0" dirty="0">
                <a:ln>
                  <a:noFill/>
                </a:ln>
                <a:solidFill>
                  <a:srgbClr val="FFFFFF"/>
                </a:solidFill>
                <a:effectLst/>
                <a:uLnTx/>
                <a:uFillTx/>
                <a:latin typeface="OPPOSans H" panose="00020600040101010101" pitchFamily="18" charset="-122"/>
                <a:ea typeface="OPPOSans H" panose="00020600040101010101" pitchFamily="18" charset="-122"/>
                <a:cs typeface="+mn-cs"/>
              </a:rPr>
              <a:t>高小定</a:t>
            </a:r>
            <a:endParaRPr kumimoji="0" lang="zh-CN" altLang="en-US" sz="900" b="0" i="0" u="none" strike="noStrike" kern="1200" cap="none" spc="0" normalizeH="0" baseline="0" noProof="0" dirty="0">
              <a:ln>
                <a:noFill/>
              </a:ln>
              <a:solidFill>
                <a:srgbClr val="000000"/>
              </a:solidFill>
              <a:effectLst/>
              <a:uLnTx/>
              <a:uFillTx/>
              <a:latin typeface="Arial" panose="020F0502020204030204"/>
              <a:ea typeface="微软雅黑"/>
              <a:cs typeface="+mn-cs"/>
            </a:endParaRPr>
          </a:p>
        </p:txBody>
      </p:sp>
      <p:sp>
        <p:nvSpPr>
          <p:cNvPr id="1032" name="Object 1032"/>
          <p:cNvSpPr txBox="1"/>
          <p:nvPr/>
        </p:nvSpPr>
        <p:spPr>
          <a:xfrm>
            <a:off x="6322578" y="4902751"/>
            <a:ext cx="2399920" cy="361950"/>
          </a:xfrm>
          <a:prstGeom prst="rect">
            <a:avLst/>
          </a:prstGeom>
        </p:spPr>
        <p:txBody>
          <a:bodyPr vert="horz" rtlCol="0" anchor="t"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2390" b="0" i="0" u="none" strike="noStrike" kern="1200" cap="none" spc="0" normalizeH="0" baseline="0" noProof="0" dirty="0">
                <a:ln>
                  <a:noFill/>
                </a:ln>
                <a:solidFill>
                  <a:srgbClr val="FFFFFF"/>
                </a:solidFill>
                <a:effectLst/>
                <a:uLnTx/>
                <a:uFillTx/>
                <a:latin typeface="OPPOSans H" panose="00020600040101010101" pitchFamily="18" charset="-122"/>
                <a:ea typeface="OPPOSans H" panose="00020600040101010101" pitchFamily="18" charset="-122"/>
                <a:cs typeface="+mn-cs"/>
              </a:rPr>
              <a:t>高小定</a:t>
            </a:r>
            <a:endParaRPr kumimoji="0" lang="zh-CN" altLang="en-US" sz="900" b="0" i="0" u="none" strike="noStrike" kern="1200" cap="none" spc="0" normalizeH="0" baseline="0" noProof="0" dirty="0">
              <a:ln>
                <a:noFill/>
              </a:ln>
              <a:solidFill>
                <a:srgbClr val="000000"/>
              </a:solidFill>
              <a:effectLst/>
              <a:uLnTx/>
              <a:uFillTx/>
              <a:latin typeface="Arial" panose="020F0502020204030204"/>
              <a:ea typeface="微软雅黑"/>
              <a:cs typeface="+mn-cs"/>
            </a:endParaRPr>
          </a:p>
        </p:txBody>
      </p:sp>
      <p:sp>
        <p:nvSpPr>
          <p:cNvPr id="1036" name="Object 1036"/>
          <p:cNvSpPr txBox="1"/>
          <p:nvPr/>
        </p:nvSpPr>
        <p:spPr>
          <a:xfrm>
            <a:off x="8926078" y="4902751"/>
            <a:ext cx="2399920" cy="361950"/>
          </a:xfrm>
          <a:prstGeom prst="rect">
            <a:avLst/>
          </a:prstGeom>
        </p:spPr>
        <p:txBody>
          <a:bodyPr vert="horz" rtlCol="0" anchor="t"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2390" b="0" i="0" u="none" strike="noStrike" kern="1200" cap="none" spc="0" normalizeH="0" baseline="0" noProof="0" dirty="0">
                <a:ln>
                  <a:noFill/>
                </a:ln>
                <a:solidFill>
                  <a:srgbClr val="FFFFFF"/>
                </a:solidFill>
                <a:effectLst/>
                <a:uLnTx/>
                <a:uFillTx/>
                <a:latin typeface="OPPOSans H" panose="00020600040101010101" pitchFamily="18" charset="-122"/>
                <a:ea typeface="OPPOSans H" panose="00020600040101010101" pitchFamily="18" charset="-122"/>
                <a:cs typeface="+mn-cs"/>
              </a:rPr>
              <a:t>高小定</a:t>
            </a:r>
            <a:endParaRPr kumimoji="0" lang="zh-CN" altLang="en-US" sz="900" b="0" i="0" u="none" strike="noStrike" kern="1200" cap="none" spc="0" normalizeH="0" baseline="0" noProof="0" dirty="0">
              <a:ln>
                <a:noFill/>
              </a:ln>
              <a:solidFill>
                <a:srgbClr val="000000"/>
              </a:solidFill>
              <a:effectLst/>
              <a:uLnTx/>
              <a:uFillTx/>
              <a:latin typeface="Arial" panose="020F0502020204030204"/>
              <a:ea typeface="微软雅黑"/>
              <a:cs typeface="+mn-cs"/>
            </a:endParaRPr>
          </a:p>
        </p:txBody>
      </p:sp>
      <p:grpSp>
        <p:nvGrpSpPr>
          <p:cNvPr id="1046" name="组合 1046"/>
          <p:cNvGrpSpPr/>
          <p:nvPr/>
        </p:nvGrpSpPr>
        <p:grpSpPr>
          <a:xfrm>
            <a:off x="4976955" y="2556276"/>
            <a:ext cx="2238090" cy="2111763"/>
            <a:chOff x="9953910" y="5112552"/>
            <a:chExt cx="4476179" cy="4223526"/>
          </a:xfrm>
        </p:grpSpPr>
        <p:pic>
          <p:nvPicPr>
            <p:cNvPr id="1047" name="image 1047"/>
            <p:cNvPicPr>
              <a:picLocks noChangeAspect="1"/>
            </p:cNvPicPr>
            <p:nvPr/>
          </p:nvPicPr>
          <p:blipFill>
            <a:blip r:embed="rId4">
              <a:alphaModFix amt="29019"/>
            </a:blip>
            <a:srcRect/>
            <a:stretch>
              <a:fillRect/>
            </a:stretch>
          </p:blipFill>
          <p:spPr>
            <a:xfrm>
              <a:off x="10125677" y="5112552"/>
              <a:ext cx="4119942" cy="4223526"/>
            </a:xfrm>
            <a:prstGeom prst="rect">
              <a:avLst/>
            </a:prstGeom>
          </p:spPr>
        </p:pic>
        <p:pic>
          <p:nvPicPr>
            <p:cNvPr id="1048" name="image 1048"/>
            <p:cNvPicPr>
              <a:picLocks noChangeAspect="1"/>
            </p:cNvPicPr>
            <p:nvPr/>
          </p:nvPicPr>
          <p:blipFill>
            <a:blip r:embed="rId5">
              <a:alphaModFix amt="63921"/>
            </a:blip>
            <a:srcRect/>
            <a:stretch>
              <a:fillRect/>
            </a:stretch>
          </p:blipFill>
          <p:spPr>
            <a:xfrm>
              <a:off x="10307248" y="5298798"/>
              <a:ext cx="3756800" cy="3851031"/>
            </a:xfrm>
            <a:prstGeom prst="rect">
              <a:avLst/>
            </a:prstGeom>
          </p:spPr>
        </p:pic>
        <p:pic>
          <p:nvPicPr>
            <p:cNvPr id="1049" name="image 1049"/>
            <p:cNvPicPr>
              <a:picLocks noChangeAspect="1"/>
            </p:cNvPicPr>
            <p:nvPr/>
          </p:nvPicPr>
          <p:blipFill>
            <a:blip r:embed="rId6"/>
            <a:srcRect/>
            <a:stretch>
              <a:fillRect/>
            </a:stretch>
          </p:blipFill>
          <p:spPr>
            <a:xfrm>
              <a:off x="10505087" y="5476085"/>
              <a:ext cx="3386521" cy="3470883"/>
            </a:xfrm>
            <a:prstGeom prst="rect">
              <a:avLst/>
            </a:prstGeom>
          </p:spPr>
        </p:pic>
        <p:sp>
          <p:nvSpPr>
            <p:cNvPr id="1050" name="Object 1050"/>
            <p:cNvSpPr txBox="1"/>
            <p:nvPr/>
          </p:nvSpPr>
          <p:spPr>
            <a:xfrm>
              <a:off x="9953910" y="6781800"/>
              <a:ext cx="4476179" cy="914400"/>
            </a:xfrm>
            <a:prstGeom prst="rect">
              <a:avLst/>
            </a:prstGeom>
          </p:spPr>
          <p:txBody>
            <a:bodyPr vert="horz" rtlCol="0" anchor="t"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3005" b="0" i="0" u="none" strike="noStrike" kern="1200" cap="none" spc="0" normalizeH="0" baseline="0" noProof="0" dirty="0">
                  <a:ln>
                    <a:noFill/>
                  </a:ln>
                  <a:solidFill>
                    <a:srgbClr val="FFFFFF"/>
                  </a:solidFill>
                  <a:effectLst/>
                  <a:uLnTx/>
                  <a:uFillTx/>
                  <a:latin typeface="OPPOSans H" panose="00020600040101010101" pitchFamily="18" charset="-122"/>
                  <a:ea typeface="OPPOSans H" panose="00020600040101010101" pitchFamily="18" charset="-122"/>
                  <a:cs typeface="+mn-cs"/>
                </a:rPr>
                <a:t>运营部</a:t>
              </a:r>
              <a:endParaRPr kumimoji="0" lang="zh-CN" altLang="en-US" sz="900" b="0" i="0" u="none" strike="noStrike" kern="1200" cap="none" spc="0" normalizeH="0" baseline="0" noProof="0" dirty="0">
                <a:ln>
                  <a:noFill/>
                </a:ln>
                <a:solidFill>
                  <a:srgbClr val="000000"/>
                </a:solidFill>
                <a:effectLst/>
                <a:uLnTx/>
                <a:uFillTx/>
                <a:latin typeface="Arial" panose="020F0502020204030204"/>
                <a:ea typeface="微软雅黑"/>
                <a:cs typeface="+mn-cs"/>
              </a:endParaRPr>
            </a:p>
          </p:txBody>
        </p:sp>
      </p:grpSp>
      <p:sp>
        <p:nvSpPr>
          <p:cNvPr id="7" name="图形 5">
            <a:extLst>
              <a:ext uri="{FF2B5EF4-FFF2-40B4-BE49-F238E27FC236}">
                <a16:creationId xmlns:a16="http://schemas.microsoft.com/office/drawing/2014/main" id="{40C2A085-1D93-4E6C-9559-36620C82B7CA}"/>
              </a:ext>
            </a:extLst>
          </p:cNvPr>
          <p:cNvSpPr/>
          <p:nvPr/>
        </p:nvSpPr>
        <p:spPr>
          <a:xfrm>
            <a:off x="2667209" y="2551316"/>
            <a:ext cx="777687" cy="497392"/>
          </a:xfrm>
          <a:custGeom>
            <a:avLst/>
            <a:gdLst>
              <a:gd name="connsiteX0" fmla="*/ 0 w 704260"/>
              <a:gd name="connsiteY0" fmla="*/ 39855 h 450430"/>
              <a:gd name="connsiteX1" fmla="*/ 183599 w 704260"/>
              <a:gd name="connsiteY1" fmla="*/ 315921 h 450430"/>
              <a:gd name="connsiteX2" fmla="*/ 245568 w 704260"/>
              <a:gd name="connsiteY2" fmla="*/ 238399 h 450430"/>
              <a:gd name="connsiteX3" fmla="*/ 550675 w 704260"/>
              <a:gd name="connsiteY3" fmla="*/ 450431 h 450430"/>
              <a:gd name="connsiteX4" fmla="*/ 704261 w 704260"/>
              <a:gd name="connsiteY4" fmla="*/ 238399 h 450430"/>
              <a:gd name="connsiteX5" fmla="*/ 306686 w 704260"/>
              <a:gd name="connsiteY5" fmla="*/ 111180 h 450430"/>
              <a:gd name="connsiteX6" fmla="*/ 335605 w 704260"/>
              <a:gd name="connsiteY6" fmla="*/ 0 h 4504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04260" h="450430">
                <a:moveTo>
                  <a:pt x="0" y="39855"/>
                </a:moveTo>
                <a:lnTo>
                  <a:pt x="183599" y="315921"/>
                </a:lnTo>
                <a:lnTo>
                  <a:pt x="245568" y="238399"/>
                </a:lnTo>
                <a:lnTo>
                  <a:pt x="550675" y="450431"/>
                </a:lnTo>
                <a:lnTo>
                  <a:pt x="704261" y="238399"/>
                </a:lnTo>
                <a:lnTo>
                  <a:pt x="306686" y="111180"/>
                </a:lnTo>
                <a:lnTo>
                  <a:pt x="335605" y="0"/>
                </a:lnTo>
                <a:close/>
              </a:path>
            </a:pathLst>
          </a:custGeom>
          <a:solidFill>
            <a:schemeClr val="accent1"/>
          </a:solidFill>
          <a:ln w="119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panose="020F0502020204030204"/>
              <a:ea typeface="微软雅黑"/>
              <a:cs typeface="+mn-cs"/>
            </a:endParaRPr>
          </a:p>
        </p:txBody>
      </p:sp>
      <p:sp>
        <p:nvSpPr>
          <p:cNvPr id="80" name="图形 5">
            <a:extLst>
              <a:ext uri="{FF2B5EF4-FFF2-40B4-BE49-F238E27FC236}">
                <a16:creationId xmlns:a16="http://schemas.microsoft.com/office/drawing/2014/main" id="{5A88F30E-C858-4275-82EB-2CC5F6201098}"/>
              </a:ext>
            </a:extLst>
          </p:cNvPr>
          <p:cNvSpPr/>
          <p:nvPr/>
        </p:nvSpPr>
        <p:spPr>
          <a:xfrm rot="1317031">
            <a:off x="4419682" y="2577459"/>
            <a:ext cx="774570" cy="495399"/>
          </a:xfrm>
          <a:custGeom>
            <a:avLst/>
            <a:gdLst>
              <a:gd name="connsiteX0" fmla="*/ 0 w 704260"/>
              <a:gd name="connsiteY0" fmla="*/ 39855 h 450430"/>
              <a:gd name="connsiteX1" fmla="*/ 183599 w 704260"/>
              <a:gd name="connsiteY1" fmla="*/ 315921 h 450430"/>
              <a:gd name="connsiteX2" fmla="*/ 245568 w 704260"/>
              <a:gd name="connsiteY2" fmla="*/ 238399 h 450430"/>
              <a:gd name="connsiteX3" fmla="*/ 550675 w 704260"/>
              <a:gd name="connsiteY3" fmla="*/ 450431 h 450430"/>
              <a:gd name="connsiteX4" fmla="*/ 704261 w 704260"/>
              <a:gd name="connsiteY4" fmla="*/ 238399 h 450430"/>
              <a:gd name="connsiteX5" fmla="*/ 306686 w 704260"/>
              <a:gd name="connsiteY5" fmla="*/ 111180 h 450430"/>
              <a:gd name="connsiteX6" fmla="*/ 335605 w 704260"/>
              <a:gd name="connsiteY6" fmla="*/ 0 h 4504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04260" h="450430">
                <a:moveTo>
                  <a:pt x="0" y="39855"/>
                </a:moveTo>
                <a:lnTo>
                  <a:pt x="183599" y="315921"/>
                </a:lnTo>
                <a:lnTo>
                  <a:pt x="245568" y="238399"/>
                </a:lnTo>
                <a:lnTo>
                  <a:pt x="550675" y="450431"/>
                </a:lnTo>
                <a:lnTo>
                  <a:pt x="704261" y="238399"/>
                </a:lnTo>
                <a:lnTo>
                  <a:pt x="306686" y="111180"/>
                </a:lnTo>
                <a:lnTo>
                  <a:pt x="335605" y="0"/>
                </a:lnTo>
                <a:close/>
              </a:path>
            </a:pathLst>
          </a:custGeom>
          <a:solidFill>
            <a:schemeClr val="accent1"/>
          </a:solidFill>
          <a:ln w="119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panose="020F0502020204030204"/>
              <a:ea typeface="微软雅黑"/>
              <a:cs typeface="+mn-cs"/>
            </a:endParaRPr>
          </a:p>
        </p:txBody>
      </p:sp>
      <p:sp>
        <p:nvSpPr>
          <p:cNvPr id="81" name="图形 5">
            <a:extLst>
              <a:ext uri="{FF2B5EF4-FFF2-40B4-BE49-F238E27FC236}">
                <a16:creationId xmlns:a16="http://schemas.microsoft.com/office/drawing/2014/main" id="{65857195-04EE-49DF-A68E-2F72565A2C2A}"/>
              </a:ext>
            </a:extLst>
          </p:cNvPr>
          <p:cNvSpPr/>
          <p:nvPr/>
        </p:nvSpPr>
        <p:spPr>
          <a:xfrm rot="20282969" flipH="1">
            <a:off x="7026296" y="2586386"/>
            <a:ext cx="774570" cy="495399"/>
          </a:xfrm>
          <a:custGeom>
            <a:avLst/>
            <a:gdLst>
              <a:gd name="connsiteX0" fmla="*/ 0 w 704260"/>
              <a:gd name="connsiteY0" fmla="*/ 39855 h 450430"/>
              <a:gd name="connsiteX1" fmla="*/ 183599 w 704260"/>
              <a:gd name="connsiteY1" fmla="*/ 315921 h 450430"/>
              <a:gd name="connsiteX2" fmla="*/ 245568 w 704260"/>
              <a:gd name="connsiteY2" fmla="*/ 238399 h 450430"/>
              <a:gd name="connsiteX3" fmla="*/ 550675 w 704260"/>
              <a:gd name="connsiteY3" fmla="*/ 450431 h 450430"/>
              <a:gd name="connsiteX4" fmla="*/ 704261 w 704260"/>
              <a:gd name="connsiteY4" fmla="*/ 238399 h 450430"/>
              <a:gd name="connsiteX5" fmla="*/ 306686 w 704260"/>
              <a:gd name="connsiteY5" fmla="*/ 111180 h 450430"/>
              <a:gd name="connsiteX6" fmla="*/ 335605 w 704260"/>
              <a:gd name="connsiteY6" fmla="*/ 0 h 4504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04260" h="450430">
                <a:moveTo>
                  <a:pt x="0" y="39855"/>
                </a:moveTo>
                <a:lnTo>
                  <a:pt x="183599" y="315921"/>
                </a:lnTo>
                <a:lnTo>
                  <a:pt x="245568" y="238399"/>
                </a:lnTo>
                <a:lnTo>
                  <a:pt x="550675" y="450431"/>
                </a:lnTo>
                <a:lnTo>
                  <a:pt x="704261" y="238399"/>
                </a:lnTo>
                <a:lnTo>
                  <a:pt x="306686" y="111180"/>
                </a:lnTo>
                <a:lnTo>
                  <a:pt x="335605" y="0"/>
                </a:lnTo>
                <a:close/>
              </a:path>
            </a:pathLst>
          </a:custGeom>
          <a:solidFill>
            <a:schemeClr val="accent1"/>
          </a:solidFill>
          <a:ln w="119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panose="020F0502020204030204"/>
              <a:ea typeface="微软雅黑"/>
              <a:cs typeface="+mn-cs"/>
            </a:endParaRPr>
          </a:p>
        </p:txBody>
      </p:sp>
      <p:sp>
        <p:nvSpPr>
          <p:cNvPr id="82" name="图形 5">
            <a:extLst>
              <a:ext uri="{FF2B5EF4-FFF2-40B4-BE49-F238E27FC236}">
                <a16:creationId xmlns:a16="http://schemas.microsoft.com/office/drawing/2014/main" id="{E62B67B3-0F1F-4C59-BDB8-6F3A23889820}"/>
              </a:ext>
            </a:extLst>
          </p:cNvPr>
          <p:cNvSpPr/>
          <p:nvPr/>
        </p:nvSpPr>
        <p:spPr>
          <a:xfrm flipH="1">
            <a:off x="8908132" y="2563917"/>
            <a:ext cx="777687" cy="497392"/>
          </a:xfrm>
          <a:custGeom>
            <a:avLst/>
            <a:gdLst>
              <a:gd name="connsiteX0" fmla="*/ 0 w 704260"/>
              <a:gd name="connsiteY0" fmla="*/ 39855 h 450430"/>
              <a:gd name="connsiteX1" fmla="*/ 183599 w 704260"/>
              <a:gd name="connsiteY1" fmla="*/ 315921 h 450430"/>
              <a:gd name="connsiteX2" fmla="*/ 245568 w 704260"/>
              <a:gd name="connsiteY2" fmla="*/ 238399 h 450430"/>
              <a:gd name="connsiteX3" fmla="*/ 550675 w 704260"/>
              <a:gd name="connsiteY3" fmla="*/ 450431 h 450430"/>
              <a:gd name="connsiteX4" fmla="*/ 704261 w 704260"/>
              <a:gd name="connsiteY4" fmla="*/ 238399 h 450430"/>
              <a:gd name="connsiteX5" fmla="*/ 306686 w 704260"/>
              <a:gd name="connsiteY5" fmla="*/ 111180 h 450430"/>
              <a:gd name="connsiteX6" fmla="*/ 335605 w 704260"/>
              <a:gd name="connsiteY6" fmla="*/ 0 h 4504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04260" h="450430">
                <a:moveTo>
                  <a:pt x="0" y="39855"/>
                </a:moveTo>
                <a:lnTo>
                  <a:pt x="183599" y="315921"/>
                </a:lnTo>
                <a:lnTo>
                  <a:pt x="245568" y="238399"/>
                </a:lnTo>
                <a:lnTo>
                  <a:pt x="550675" y="450431"/>
                </a:lnTo>
                <a:lnTo>
                  <a:pt x="704261" y="238399"/>
                </a:lnTo>
                <a:lnTo>
                  <a:pt x="306686" y="111180"/>
                </a:lnTo>
                <a:lnTo>
                  <a:pt x="335605" y="0"/>
                </a:lnTo>
                <a:close/>
              </a:path>
            </a:pathLst>
          </a:custGeom>
          <a:solidFill>
            <a:schemeClr val="accent1"/>
          </a:solidFill>
          <a:ln w="119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panose="020F0502020204030204"/>
              <a:ea typeface="微软雅黑"/>
              <a:cs typeface="+mn-cs"/>
            </a:endParaRPr>
          </a:p>
        </p:txBody>
      </p:sp>
      <p:sp>
        <p:nvSpPr>
          <p:cNvPr id="83" name="图形 5">
            <a:extLst>
              <a:ext uri="{FF2B5EF4-FFF2-40B4-BE49-F238E27FC236}">
                <a16:creationId xmlns:a16="http://schemas.microsoft.com/office/drawing/2014/main" id="{43A717B0-4089-437B-BA82-7C2E2690600D}"/>
              </a:ext>
            </a:extLst>
          </p:cNvPr>
          <p:cNvSpPr/>
          <p:nvPr/>
        </p:nvSpPr>
        <p:spPr>
          <a:xfrm flipV="1">
            <a:off x="2651234" y="4059429"/>
            <a:ext cx="777687" cy="497392"/>
          </a:xfrm>
          <a:custGeom>
            <a:avLst/>
            <a:gdLst>
              <a:gd name="connsiteX0" fmla="*/ 0 w 704260"/>
              <a:gd name="connsiteY0" fmla="*/ 39855 h 450430"/>
              <a:gd name="connsiteX1" fmla="*/ 183599 w 704260"/>
              <a:gd name="connsiteY1" fmla="*/ 315921 h 450430"/>
              <a:gd name="connsiteX2" fmla="*/ 245568 w 704260"/>
              <a:gd name="connsiteY2" fmla="*/ 238399 h 450430"/>
              <a:gd name="connsiteX3" fmla="*/ 550675 w 704260"/>
              <a:gd name="connsiteY3" fmla="*/ 450431 h 450430"/>
              <a:gd name="connsiteX4" fmla="*/ 704261 w 704260"/>
              <a:gd name="connsiteY4" fmla="*/ 238399 h 450430"/>
              <a:gd name="connsiteX5" fmla="*/ 306686 w 704260"/>
              <a:gd name="connsiteY5" fmla="*/ 111180 h 450430"/>
              <a:gd name="connsiteX6" fmla="*/ 335605 w 704260"/>
              <a:gd name="connsiteY6" fmla="*/ 0 h 4504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04260" h="450430">
                <a:moveTo>
                  <a:pt x="0" y="39855"/>
                </a:moveTo>
                <a:lnTo>
                  <a:pt x="183599" y="315921"/>
                </a:lnTo>
                <a:lnTo>
                  <a:pt x="245568" y="238399"/>
                </a:lnTo>
                <a:lnTo>
                  <a:pt x="550675" y="450431"/>
                </a:lnTo>
                <a:lnTo>
                  <a:pt x="704261" y="238399"/>
                </a:lnTo>
                <a:lnTo>
                  <a:pt x="306686" y="111180"/>
                </a:lnTo>
                <a:lnTo>
                  <a:pt x="335605" y="0"/>
                </a:lnTo>
                <a:close/>
              </a:path>
            </a:pathLst>
          </a:custGeom>
          <a:solidFill>
            <a:schemeClr val="accent1"/>
          </a:solidFill>
          <a:ln w="119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panose="020F0502020204030204"/>
              <a:ea typeface="微软雅黑"/>
              <a:cs typeface="+mn-cs"/>
            </a:endParaRPr>
          </a:p>
        </p:txBody>
      </p:sp>
      <p:sp>
        <p:nvSpPr>
          <p:cNvPr id="84" name="图形 5">
            <a:extLst>
              <a:ext uri="{FF2B5EF4-FFF2-40B4-BE49-F238E27FC236}">
                <a16:creationId xmlns:a16="http://schemas.microsoft.com/office/drawing/2014/main" id="{AF33E5D2-52CB-4DB1-BD4C-D5C9E48B376B}"/>
              </a:ext>
            </a:extLst>
          </p:cNvPr>
          <p:cNvSpPr/>
          <p:nvPr/>
        </p:nvSpPr>
        <p:spPr>
          <a:xfrm rot="20282969" flipV="1">
            <a:off x="4403707" y="4085572"/>
            <a:ext cx="774570" cy="495399"/>
          </a:xfrm>
          <a:custGeom>
            <a:avLst/>
            <a:gdLst>
              <a:gd name="connsiteX0" fmla="*/ 0 w 704260"/>
              <a:gd name="connsiteY0" fmla="*/ 39855 h 450430"/>
              <a:gd name="connsiteX1" fmla="*/ 183599 w 704260"/>
              <a:gd name="connsiteY1" fmla="*/ 315921 h 450430"/>
              <a:gd name="connsiteX2" fmla="*/ 245568 w 704260"/>
              <a:gd name="connsiteY2" fmla="*/ 238399 h 450430"/>
              <a:gd name="connsiteX3" fmla="*/ 550675 w 704260"/>
              <a:gd name="connsiteY3" fmla="*/ 450431 h 450430"/>
              <a:gd name="connsiteX4" fmla="*/ 704261 w 704260"/>
              <a:gd name="connsiteY4" fmla="*/ 238399 h 450430"/>
              <a:gd name="connsiteX5" fmla="*/ 306686 w 704260"/>
              <a:gd name="connsiteY5" fmla="*/ 111180 h 450430"/>
              <a:gd name="connsiteX6" fmla="*/ 335605 w 704260"/>
              <a:gd name="connsiteY6" fmla="*/ 0 h 4504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04260" h="450430">
                <a:moveTo>
                  <a:pt x="0" y="39855"/>
                </a:moveTo>
                <a:lnTo>
                  <a:pt x="183599" y="315921"/>
                </a:lnTo>
                <a:lnTo>
                  <a:pt x="245568" y="238399"/>
                </a:lnTo>
                <a:lnTo>
                  <a:pt x="550675" y="450431"/>
                </a:lnTo>
                <a:lnTo>
                  <a:pt x="704261" y="238399"/>
                </a:lnTo>
                <a:lnTo>
                  <a:pt x="306686" y="111180"/>
                </a:lnTo>
                <a:lnTo>
                  <a:pt x="335605" y="0"/>
                </a:lnTo>
                <a:close/>
              </a:path>
            </a:pathLst>
          </a:custGeom>
          <a:solidFill>
            <a:schemeClr val="accent1"/>
          </a:solidFill>
          <a:ln w="119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panose="020F0502020204030204"/>
              <a:ea typeface="微软雅黑"/>
              <a:cs typeface="+mn-cs"/>
            </a:endParaRPr>
          </a:p>
        </p:txBody>
      </p:sp>
      <p:sp>
        <p:nvSpPr>
          <p:cNvPr id="85" name="图形 5">
            <a:extLst>
              <a:ext uri="{FF2B5EF4-FFF2-40B4-BE49-F238E27FC236}">
                <a16:creationId xmlns:a16="http://schemas.microsoft.com/office/drawing/2014/main" id="{BD9AC9E7-5C77-4787-A27B-975B19ED3C9F}"/>
              </a:ext>
            </a:extLst>
          </p:cNvPr>
          <p:cNvSpPr/>
          <p:nvPr/>
        </p:nvSpPr>
        <p:spPr>
          <a:xfrm rot="1317031" flipH="1" flipV="1">
            <a:off x="7010321" y="4094499"/>
            <a:ext cx="774570" cy="495399"/>
          </a:xfrm>
          <a:custGeom>
            <a:avLst/>
            <a:gdLst>
              <a:gd name="connsiteX0" fmla="*/ 0 w 704260"/>
              <a:gd name="connsiteY0" fmla="*/ 39855 h 450430"/>
              <a:gd name="connsiteX1" fmla="*/ 183599 w 704260"/>
              <a:gd name="connsiteY1" fmla="*/ 315921 h 450430"/>
              <a:gd name="connsiteX2" fmla="*/ 245568 w 704260"/>
              <a:gd name="connsiteY2" fmla="*/ 238399 h 450430"/>
              <a:gd name="connsiteX3" fmla="*/ 550675 w 704260"/>
              <a:gd name="connsiteY3" fmla="*/ 450431 h 450430"/>
              <a:gd name="connsiteX4" fmla="*/ 704261 w 704260"/>
              <a:gd name="connsiteY4" fmla="*/ 238399 h 450430"/>
              <a:gd name="connsiteX5" fmla="*/ 306686 w 704260"/>
              <a:gd name="connsiteY5" fmla="*/ 111180 h 450430"/>
              <a:gd name="connsiteX6" fmla="*/ 335605 w 704260"/>
              <a:gd name="connsiteY6" fmla="*/ 0 h 4504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04260" h="450430">
                <a:moveTo>
                  <a:pt x="0" y="39855"/>
                </a:moveTo>
                <a:lnTo>
                  <a:pt x="183599" y="315921"/>
                </a:lnTo>
                <a:lnTo>
                  <a:pt x="245568" y="238399"/>
                </a:lnTo>
                <a:lnTo>
                  <a:pt x="550675" y="450431"/>
                </a:lnTo>
                <a:lnTo>
                  <a:pt x="704261" y="238399"/>
                </a:lnTo>
                <a:lnTo>
                  <a:pt x="306686" y="111180"/>
                </a:lnTo>
                <a:lnTo>
                  <a:pt x="335605" y="0"/>
                </a:lnTo>
                <a:close/>
              </a:path>
            </a:pathLst>
          </a:custGeom>
          <a:solidFill>
            <a:schemeClr val="accent1"/>
          </a:solidFill>
          <a:ln w="119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panose="020F0502020204030204"/>
              <a:ea typeface="微软雅黑"/>
              <a:cs typeface="+mn-cs"/>
            </a:endParaRPr>
          </a:p>
        </p:txBody>
      </p:sp>
      <p:sp>
        <p:nvSpPr>
          <p:cNvPr id="86" name="图形 5">
            <a:extLst>
              <a:ext uri="{FF2B5EF4-FFF2-40B4-BE49-F238E27FC236}">
                <a16:creationId xmlns:a16="http://schemas.microsoft.com/office/drawing/2014/main" id="{76E6158F-2278-49D6-BF65-1FC163F11D59}"/>
              </a:ext>
            </a:extLst>
          </p:cNvPr>
          <p:cNvSpPr/>
          <p:nvPr/>
        </p:nvSpPr>
        <p:spPr>
          <a:xfrm flipH="1" flipV="1">
            <a:off x="8892157" y="4072030"/>
            <a:ext cx="777687" cy="497392"/>
          </a:xfrm>
          <a:custGeom>
            <a:avLst/>
            <a:gdLst>
              <a:gd name="connsiteX0" fmla="*/ 0 w 704260"/>
              <a:gd name="connsiteY0" fmla="*/ 39855 h 450430"/>
              <a:gd name="connsiteX1" fmla="*/ 183599 w 704260"/>
              <a:gd name="connsiteY1" fmla="*/ 315921 h 450430"/>
              <a:gd name="connsiteX2" fmla="*/ 245568 w 704260"/>
              <a:gd name="connsiteY2" fmla="*/ 238399 h 450430"/>
              <a:gd name="connsiteX3" fmla="*/ 550675 w 704260"/>
              <a:gd name="connsiteY3" fmla="*/ 450431 h 450430"/>
              <a:gd name="connsiteX4" fmla="*/ 704261 w 704260"/>
              <a:gd name="connsiteY4" fmla="*/ 238399 h 450430"/>
              <a:gd name="connsiteX5" fmla="*/ 306686 w 704260"/>
              <a:gd name="connsiteY5" fmla="*/ 111180 h 450430"/>
              <a:gd name="connsiteX6" fmla="*/ 335605 w 704260"/>
              <a:gd name="connsiteY6" fmla="*/ 0 h 4504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04260" h="450430">
                <a:moveTo>
                  <a:pt x="0" y="39855"/>
                </a:moveTo>
                <a:lnTo>
                  <a:pt x="183599" y="315921"/>
                </a:lnTo>
                <a:lnTo>
                  <a:pt x="245568" y="238399"/>
                </a:lnTo>
                <a:lnTo>
                  <a:pt x="550675" y="450431"/>
                </a:lnTo>
                <a:lnTo>
                  <a:pt x="704261" y="238399"/>
                </a:lnTo>
                <a:lnTo>
                  <a:pt x="306686" y="111180"/>
                </a:lnTo>
                <a:lnTo>
                  <a:pt x="335605" y="0"/>
                </a:lnTo>
                <a:close/>
              </a:path>
            </a:pathLst>
          </a:custGeom>
          <a:solidFill>
            <a:schemeClr val="accent1"/>
          </a:solidFill>
          <a:ln w="1198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panose="020F0502020204030204"/>
              <a:ea typeface="微软雅黑"/>
              <a:cs typeface="+mn-cs"/>
            </a:endParaRPr>
          </a:p>
        </p:txBody>
      </p:sp>
      <p:sp>
        <p:nvSpPr>
          <p:cNvPr id="8" name="矩形 7">
            <a:extLst>
              <a:ext uri="{FF2B5EF4-FFF2-40B4-BE49-F238E27FC236}">
                <a16:creationId xmlns:a16="http://schemas.microsoft.com/office/drawing/2014/main" id="{04661250-ECA4-4550-A09A-FD39A1C8E4AA}"/>
              </a:ext>
            </a:extLst>
          </p:cNvPr>
          <p:cNvSpPr/>
          <p:nvPr/>
        </p:nvSpPr>
        <p:spPr>
          <a:xfrm>
            <a:off x="0" y="6500831"/>
            <a:ext cx="12217401" cy="3619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Arial" panose="020F0502020204030204"/>
              <a:ea typeface="微软雅黑"/>
              <a:cs typeface="+mn-cs"/>
            </a:endParaRPr>
          </a:p>
        </p:txBody>
      </p:sp>
    </p:spTree>
    <p:extLst>
      <p:ext uri="{BB962C8B-B14F-4D97-AF65-F5344CB8AC3E}">
        <p14:creationId xmlns:p14="http://schemas.microsoft.com/office/powerpoint/2010/main" val="2407963552"/>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7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5" name="gaoding-1"/>
          <p:cNvSpPr/>
          <p:nvPr/>
        </p:nvSpPr>
        <p:spPr>
          <a:xfrm>
            <a:off x="8638932" y="1478581"/>
            <a:ext cx="408450" cy="0"/>
          </a:xfrm>
          <a:prstGeom prst="line">
            <a:avLst/>
          </a:prstGeom>
          <a:noFill/>
          <a:ln w="25400" cap="flat">
            <a:solidFill>
              <a:schemeClr val="accent6">
                <a:lumMod val="40000"/>
                <a:lumOff val="60000"/>
              </a:schemeClr>
            </a:solidFill>
            <a:prstDash val="solid"/>
            <a:miter lim="400000"/>
          </a:ln>
          <a:effectLst/>
        </p:spPr>
        <p:txBody>
          <a:bodyPr wrap="square" lIns="0" tIns="0" rIns="0" bIns="0" numCol="1"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1600" b="0" i="0" u="none" strike="noStrike" kern="1200" cap="none" spc="0" normalizeH="0" baseline="0" noProof="0" dirty="0">
              <a:ln>
                <a:noFill/>
              </a:ln>
              <a:solidFill>
                <a:srgbClr val="FFFFFF"/>
              </a:solidFill>
              <a:effectLst/>
              <a:uLnTx/>
              <a:uFillTx/>
              <a:latin typeface="OPPOSans R" panose="00020600040101010101" pitchFamily="18" charset="-122"/>
              <a:ea typeface="微软雅黑"/>
              <a:cs typeface="+mn-cs"/>
              <a:sym typeface="Helvetica Neue Medium"/>
            </a:endParaRPr>
          </a:p>
        </p:txBody>
      </p:sp>
      <p:sp>
        <p:nvSpPr>
          <p:cNvPr id="1006" name="gaoding-2"/>
          <p:cNvSpPr/>
          <p:nvPr/>
        </p:nvSpPr>
        <p:spPr>
          <a:xfrm rot="16200000">
            <a:off x="9077898" y="1268847"/>
            <a:ext cx="342677" cy="419468"/>
          </a:xfrm>
          <a:custGeom>
            <a:avLst/>
            <a:gdLst/>
            <a:ahLst/>
            <a:cxnLst>
              <a:cxn ang="0">
                <a:pos x="wd2" y="hd2"/>
              </a:cxn>
              <a:cxn ang="5400000">
                <a:pos x="wd2" y="hd2"/>
              </a:cxn>
              <a:cxn ang="10800000">
                <a:pos x="wd2" y="hd2"/>
              </a:cxn>
              <a:cxn ang="16200000">
                <a:pos x="wd2" y="hd2"/>
              </a:cxn>
            </a:cxnLst>
            <a:rect l="0" t="0" r="r" b="b"/>
            <a:pathLst>
              <a:path w="21600" h="21473" extrusionOk="0">
                <a:moveTo>
                  <a:pt x="0" y="21295"/>
                </a:moveTo>
                <a:lnTo>
                  <a:pt x="0" y="6662"/>
                </a:lnTo>
                <a:cubicBezTo>
                  <a:pt x="13" y="4864"/>
                  <a:pt x="917" y="3145"/>
                  <a:pt x="2507" y="1893"/>
                </a:cubicBezTo>
                <a:cubicBezTo>
                  <a:pt x="4208" y="555"/>
                  <a:pt x="6533" y="-127"/>
                  <a:pt x="8894" y="20"/>
                </a:cubicBezTo>
                <a:lnTo>
                  <a:pt x="13579" y="20"/>
                </a:lnTo>
                <a:cubicBezTo>
                  <a:pt x="15940" y="43"/>
                  <a:pt x="18172" y="897"/>
                  <a:pt x="19696" y="2361"/>
                </a:cubicBezTo>
                <a:cubicBezTo>
                  <a:pt x="20910" y="3526"/>
                  <a:pt x="21584" y="5000"/>
                  <a:pt x="21600" y="6527"/>
                </a:cubicBezTo>
                <a:lnTo>
                  <a:pt x="21600" y="21473"/>
                </a:lnTo>
              </a:path>
            </a:pathLst>
          </a:custGeom>
          <a:noFill/>
          <a:ln w="25400" cap="flat">
            <a:solidFill>
              <a:schemeClr val="accent6">
                <a:lumMod val="40000"/>
                <a:lumOff val="60000"/>
              </a:schemeClr>
            </a:solidFill>
            <a:prstDash val="solid"/>
            <a:miter lim="400000"/>
          </a:ln>
          <a:effectLst/>
        </p:spPr>
        <p:txBody>
          <a:bodyPr wrap="square" lIns="0" tIns="0" rIns="0" bIns="0" numCol="1"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1600" b="0" i="0" u="none" strike="noStrike" kern="1200" cap="none" spc="0" normalizeH="0" baseline="0" noProof="0" dirty="0">
              <a:ln>
                <a:noFill/>
              </a:ln>
              <a:solidFill>
                <a:srgbClr val="FFFFFF"/>
              </a:solidFill>
              <a:effectLst/>
              <a:uLnTx/>
              <a:uFillTx/>
              <a:latin typeface="OPPOSans R" panose="00020600040101010101" pitchFamily="18" charset="-122"/>
              <a:ea typeface="微软雅黑"/>
              <a:cs typeface="+mn-cs"/>
              <a:sym typeface="Helvetica Neue Medium"/>
            </a:endParaRPr>
          </a:p>
        </p:txBody>
      </p:sp>
      <p:sp>
        <p:nvSpPr>
          <p:cNvPr id="1009" name="gaoding-3"/>
          <p:cNvSpPr/>
          <p:nvPr/>
        </p:nvSpPr>
        <p:spPr>
          <a:xfrm>
            <a:off x="8638932" y="2328232"/>
            <a:ext cx="408450" cy="0"/>
          </a:xfrm>
          <a:prstGeom prst="line">
            <a:avLst/>
          </a:prstGeom>
          <a:noFill/>
          <a:ln w="25400" cap="flat">
            <a:solidFill>
              <a:schemeClr val="accent6">
                <a:lumMod val="40000"/>
                <a:lumOff val="60000"/>
              </a:schemeClr>
            </a:solidFill>
            <a:prstDash val="solid"/>
            <a:miter lim="400000"/>
          </a:ln>
          <a:effectLst/>
        </p:spPr>
        <p:txBody>
          <a:bodyPr wrap="square" lIns="0" tIns="0" rIns="0" bIns="0" numCol="1"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1600" b="0" i="0" u="none" strike="noStrike" kern="1200" cap="none" spc="0" normalizeH="0" baseline="0" noProof="0" dirty="0">
              <a:ln>
                <a:noFill/>
              </a:ln>
              <a:solidFill>
                <a:srgbClr val="FFFFFF"/>
              </a:solidFill>
              <a:effectLst/>
              <a:uLnTx/>
              <a:uFillTx/>
              <a:latin typeface="OPPOSans R" panose="00020600040101010101" pitchFamily="18" charset="-122"/>
              <a:ea typeface="微软雅黑"/>
              <a:cs typeface="+mn-cs"/>
              <a:sym typeface="Helvetica Neue Medium"/>
            </a:endParaRPr>
          </a:p>
        </p:txBody>
      </p:sp>
      <p:sp>
        <p:nvSpPr>
          <p:cNvPr id="1010" name="gaoding-4"/>
          <p:cNvSpPr/>
          <p:nvPr/>
        </p:nvSpPr>
        <p:spPr>
          <a:xfrm rot="16200000">
            <a:off x="9077898" y="2118499"/>
            <a:ext cx="342677" cy="419467"/>
          </a:xfrm>
          <a:custGeom>
            <a:avLst/>
            <a:gdLst/>
            <a:ahLst/>
            <a:cxnLst>
              <a:cxn ang="0">
                <a:pos x="wd2" y="hd2"/>
              </a:cxn>
              <a:cxn ang="5400000">
                <a:pos x="wd2" y="hd2"/>
              </a:cxn>
              <a:cxn ang="10800000">
                <a:pos x="wd2" y="hd2"/>
              </a:cxn>
              <a:cxn ang="16200000">
                <a:pos x="wd2" y="hd2"/>
              </a:cxn>
            </a:cxnLst>
            <a:rect l="0" t="0" r="r" b="b"/>
            <a:pathLst>
              <a:path w="21600" h="21473" extrusionOk="0">
                <a:moveTo>
                  <a:pt x="0" y="21295"/>
                </a:moveTo>
                <a:lnTo>
                  <a:pt x="0" y="6662"/>
                </a:lnTo>
                <a:cubicBezTo>
                  <a:pt x="13" y="4864"/>
                  <a:pt x="917" y="3145"/>
                  <a:pt x="2507" y="1893"/>
                </a:cubicBezTo>
                <a:cubicBezTo>
                  <a:pt x="4208" y="555"/>
                  <a:pt x="6533" y="-127"/>
                  <a:pt x="8894" y="20"/>
                </a:cubicBezTo>
                <a:lnTo>
                  <a:pt x="13579" y="20"/>
                </a:lnTo>
                <a:cubicBezTo>
                  <a:pt x="15940" y="43"/>
                  <a:pt x="18172" y="897"/>
                  <a:pt x="19696" y="2361"/>
                </a:cubicBezTo>
                <a:cubicBezTo>
                  <a:pt x="20910" y="3526"/>
                  <a:pt x="21584" y="5000"/>
                  <a:pt x="21600" y="6527"/>
                </a:cubicBezTo>
                <a:lnTo>
                  <a:pt x="21600" y="21473"/>
                </a:lnTo>
              </a:path>
            </a:pathLst>
          </a:custGeom>
          <a:noFill/>
          <a:ln w="25400" cap="flat">
            <a:solidFill>
              <a:schemeClr val="accent6">
                <a:lumMod val="40000"/>
                <a:lumOff val="60000"/>
              </a:schemeClr>
            </a:solidFill>
            <a:prstDash val="solid"/>
            <a:miter lim="400000"/>
          </a:ln>
          <a:effectLst/>
        </p:spPr>
        <p:txBody>
          <a:bodyPr wrap="square" lIns="0" tIns="0" rIns="0" bIns="0" numCol="1"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1600" b="0" i="0" u="none" strike="noStrike" kern="1200" cap="none" spc="0" normalizeH="0" baseline="0" noProof="0" dirty="0">
              <a:ln>
                <a:noFill/>
              </a:ln>
              <a:solidFill>
                <a:srgbClr val="FFFFFF"/>
              </a:solidFill>
              <a:effectLst/>
              <a:uLnTx/>
              <a:uFillTx/>
              <a:latin typeface="OPPOSans R" panose="00020600040101010101" pitchFamily="18" charset="-122"/>
              <a:ea typeface="微软雅黑"/>
              <a:cs typeface="+mn-cs"/>
              <a:sym typeface="Helvetica Neue Medium"/>
            </a:endParaRPr>
          </a:p>
        </p:txBody>
      </p:sp>
      <p:sp>
        <p:nvSpPr>
          <p:cNvPr id="1011" name="gaoding-5"/>
          <p:cNvSpPr/>
          <p:nvPr/>
        </p:nvSpPr>
        <p:spPr>
          <a:xfrm>
            <a:off x="6295927" y="1903585"/>
            <a:ext cx="459384" cy="0"/>
          </a:xfrm>
          <a:prstGeom prst="line">
            <a:avLst/>
          </a:prstGeom>
          <a:noFill/>
          <a:ln w="25400" cap="flat">
            <a:solidFill>
              <a:schemeClr val="accent6">
                <a:lumMod val="40000"/>
                <a:lumOff val="60000"/>
              </a:schemeClr>
            </a:solidFill>
            <a:prstDash val="solid"/>
            <a:miter lim="400000"/>
          </a:ln>
          <a:effectLst/>
        </p:spPr>
        <p:txBody>
          <a:bodyPr wrap="square" lIns="0" tIns="0" rIns="0" bIns="0" numCol="1"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1600" b="0" i="0" u="none" strike="noStrike" kern="1200" cap="none" spc="0" normalizeH="0" baseline="0" noProof="0" dirty="0">
              <a:ln>
                <a:noFill/>
              </a:ln>
              <a:solidFill>
                <a:srgbClr val="FFFFFF"/>
              </a:solidFill>
              <a:effectLst/>
              <a:uLnTx/>
              <a:uFillTx/>
              <a:latin typeface="OPPOSans R" panose="00020600040101010101" pitchFamily="18" charset="-122"/>
              <a:ea typeface="微软雅黑"/>
              <a:cs typeface="+mn-cs"/>
              <a:sym typeface="Helvetica Neue Medium"/>
            </a:endParaRPr>
          </a:p>
        </p:txBody>
      </p:sp>
      <p:sp>
        <p:nvSpPr>
          <p:cNvPr id="1012" name="gaoding-6"/>
          <p:cNvSpPr/>
          <p:nvPr/>
        </p:nvSpPr>
        <p:spPr>
          <a:xfrm rot="16200000">
            <a:off x="6535479" y="1693851"/>
            <a:ext cx="850678" cy="419468"/>
          </a:xfrm>
          <a:custGeom>
            <a:avLst/>
            <a:gdLst/>
            <a:ahLst/>
            <a:cxnLst>
              <a:cxn ang="0">
                <a:pos x="wd2" y="hd2"/>
              </a:cxn>
              <a:cxn ang="5400000">
                <a:pos x="wd2" y="hd2"/>
              </a:cxn>
              <a:cxn ang="10800000">
                <a:pos x="wd2" y="hd2"/>
              </a:cxn>
              <a:cxn ang="16200000">
                <a:pos x="wd2" y="hd2"/>
              </a:cxn>
            </a:cxnLst>
            <a:rect l="0" t="0" r="r" b="b"/>
            <a:pathLst>
              <a:path w="21600" h="21473" extrusionOk="0">
                <a:moveTo>
                  <a:pt x="0" y="21295"/>
                </a:moveTo>
                <a:lnTo>
                  <a:pt x="0" y="6662"/>
                </a:lnTo>
                <a:cubicBezTo>
                  <a:pt x="5" y="4864"/>
                  <a:pt x="369" y="3145"/>
                  <a:pt x="1010" y="1893"/>
                </a:cubicBezTo>
                <a:cubicBezTo>
                  <a:pt x="1695" y="555"/>
                  <a:pt x="2632" y="-127"/>
                  <a:pt x="3583" y="20"/>
                </a:cubicBezTo>
                <a:lnTo>
                  <a:pt x="18369" y="20"/>
                </a:lnTo>
                <a:cubicBezTo>
                  <a:pt x="19320" y="43"/>
                  <a:pt x="20219" y="897"/>
                  <a:pt x="20833" y="2361"/>
                </a:cubicBezTo>
                <a:cubicBezTo>
                  <a:pt x="21322" y="3526"/>
                  <a:pt x="21593" y="5000"/>
                  <a:pt x="21600" y="6527"/>
                </a:cubicBezTo>
                <a:lnTo>
                  <a:pt x="21600" y="21473"/>
                </a:lnTo>
              </a:path>
            </a:pathLst>
          </a:custGeom>
          <a:noFill/>
          <a:ln w="25400" cap="flat">
            <a:solidFill>
              <a:schemeClr val="accent6">
                <a:lumMod val="40000"/>
                <a:lumOff val="60000"/>
              </a:schemeClr>
            </a:solidFill>
            <a:prstDash val="solid"/>
            <a:miter lim="400000"/>
          </a:ln>
          <a:effectLst/>
        </p:spPr>
        <p:txBody>
          <a:bodyPr wrap="square" lIns="0" tIns="0" rIns="0" bIns="0" numCol="1"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1600" b="0" i="0" u="none" strike="noStrike" kern="1200" cap="none" spc="0" normalizeH="0" baseline="0" noProof="0" dirty="0">
              <a:ln>
                <a:noFill/>
              </a:ln>
              <a:solidFill>
                <a:srgbClr val="FFFFFF"/>
              </a:solidFill>
              <a:effectLst/>
              <a:uLnTx/>
              <a:uFillTx/>
              <a:latin typeface="OPPOSans R" panose="00020600040101010101" pitchFamily="18" charset="-122"/>
              <a:ea typeface="微软雅黑"/>
              <a:cs typeface="+mn-cs"/>
              <a:sym typeface="Helvetica Neue Medium"/>
            </a:endParaRPr>
          </a:p>
        </p:txBody>
      </p:sp>
      <p:sp>
        <p:nvSpPr>
          <p:cNvPr id="1013" name="gaoding-7"/>
          <p:cNvSpPr/>
          <p:nvPr/>
        </p:nvSpPr>
        <p:spPr>
          <a:xfrm>
            <a:off x="7156071" y="1304476"/>
            <a:ext cx="1492636" cy="329165"/>
          </a:xfrm>
          <a:custGeom>
            <a:avLst/>
            <a:gdLst/>
            <a:ahLst/>
            <a:cxnLst>
              <a:cxn ang="0">
                <a:pos x="wd2" y="hd2"/>
              </a:cxn>
              <a:cxn ang="5400000">
                <a:pos x="wd2" y="hd2"/>
              </a:cxn>
              <a:cxn ang="10800000">
                <a:pos x="wd2" y="hd2"/>
              </a:cxn>
              <a:cxn ang="16200000">
                <a:pos x="wd2" y="hd2"/>
              </a:cxn>
            </a:cxnLst>
            <a:rect l="0" t="0" r="r" b="b"/>
            <a:pathLst>
              <a:path w="21600" h="21600" extrusionOk="0">
                <a:moveTo>
                  <a:pt x="726" y="0"/>
                </a:moveTo>
                <a:lnTo>
                  <a:pt x="20874" y="0"/>
                </a:lnTo>
                <a:cubicBezTo>
                  <a:pt x="20978" y="0"/>
                  <a:pt x="21056" y="0"/>
                  <a:pt x="21123" y="20"/>
                </a:cubicBezTo>
                <a:cubicBezTo>
                  <a:pt x="21189" y="40"/>
                  <a:pt x="21244" y="81"/>
                  <a:pt x="21300" y="161"/>
                </a:cubicBezTo>
                <a:cubicBezTo>
                  <a:pt x="21361" y="263"/>
                  <a:pt x="21416" y="423"/>
                  <a:pt x="21461" y="628"/>
                </a:cubicBezTo>
                <a:cubicBezTo>
                  <a:pt x="21507" y="833"/>
                  <a:pt x="21542" y="1082"/>
                  <a:pt x="21564" y="1361"/>
                </a:cubicBezTo>
                <a:cubicBezTo>
                  <a:pt x="21582" y="1615"/>
                  <a:pt x="21591" y="1862"/>
                  <a:pt x="21596" y="2166"/>
                </a:cubicBezTo>
                <a:cubicBezTo>
                  <a:pt x="21600" y="2469"/>
                  <a:pt x="21600" y="2829"/>
                  <a:pt x="21600" y="3308"/>
                </a:cubicBezTo>
                <a:lnTo>
                  <a:pt x="21600" y="18306"/>
                </a:lnTo>
                <a:cubicBezTo>
                  <a:pt x="21600" y="18778"/>
                  <a:pt x="21600" y="19134"/>
                  <a:pt x="21596" y="19436"/>
                </a:cubicBezTo>
                <a:cubicBezTo>
                  <a:pt x="21591" y="19738"/>
                  <a:pt x="21582" y="19985"/>
                  <a:pt x="21564" y="20239"/>
                </a:cubicBezTo>
                <a:cubicBezTo>
                  <a:pt x="21542" y="20518"/>
                  <a:pt x="21507" y="20767"/>
                  <a:pt x="21461" y="20972"/>
                </a:cubicBezTo>
                <a:cubicBezTo>
                  <a:pt x="21416" y="21177"/>
                  <a:pt x="21361" y="21337"/>
                  <a:pt x="21300" y="21439"/>
                </a:cubicBezTo>
                <a:cubicBezTo>
                  <a:pt x="21244" y="21519"/>
                  <a:pt x="21189" y="21560"/>
                  <a:pt x="21122" y="21580"/>
                </a:cubicBezTo>
                <a:cubicBezTo>
                  <a:pt x="21055" y="21600"/>
                  <a:pt x="20976" y="21600"/>
                  <a:pt x="20870" y="21600"/>
                </a:cubicBezTo>
                <a:lnTo>
                  <a:pt x="726" y="21600"/>
                </a:lnTo>
                <a:cubicBezTo>
                  <a:pt x="622" y="21600"/>
                  <a:pt x="544" y="21600"/>
                  <a:pt x="477" y="21580"/>
                </a:cubicBezTo>
                <a:cubicBezTo>
                  <a:pt x="411" y="21560"/>
                  <a:pt x="356" y="21519"/>
                  <a:pt x="300" y="21439"/>
                </a:cubicBezTo>
                <a:cubicBezTo>
                  <a:pt x="239" y="21337"/>
                  <a:pt x="184" y="21177"/>
                  <a:pt x="139" y="20972"/>
                </a:cubicBezTo>
                <a:cubicBezTo>
                  <a:pt x="93" y="20767"/>
                  <a:pt x="58" y="20518"/>
                  <a:pt x="36" y="20239"/>
                </a:cubicBezTo>
                <a:cubicBezTo>
                  <a:pt x="18" y="19985"/>
                  <a:pt x="9" y="19738"/>
                  <a:pt x="4" y="19434"/>
                </a:cubicBezTo>
                <a:cubicBezTo>
                  <a:pt x="0" y="19131"/>
                  <a:pt x="0" y="18771"/>
                  <a:pt x="0" y="18292"/>
                </a:cubicBezTo>
                <a:lnTo>
                  <a:pt x="0" y="3294"/>
                </a:lnTo>
                <a:cubicBezTo>
                  <a:pt x="0" y="2822"/>
                  <a:pt x="0" y="2466"/>
                  <a:pt x="4" y="2164"/>
                </a:cubicBezTo>
                <a:cubicBezTo>
                  <a:pt x="9" y="1862"/>
                  <a:pt x="18" y="1615"/>
                  <a:pt x="36" y="1361"/>
                </a:cubicBezTo>
                <a:cubicBezTo>
                  <a:pt x="58" y="1082"/>
                  <a:pt x="93" y="833"/>
                  <a:pt x="139" y="628"/>
                </a:cubicBezTo>
                <a:cubicBezTo>
                  <a:pt x="184" y="423"/>
                  <a:pt x="239" y="263"/>
                  <a:pt x="300" y="161"/>
                </a:cubicBezTo>
                <a:cubicBezTo>
                  <a:pt x="356" y="81"/>
                  <a:pt x="411" y="40"/>
                  <a:pt x="478" y="20"/>
                </a:cubicBezTo>
                <a:cubicBezTo>
                  <a:pt x="545" y="0"/>
                  <a:pt x="624" y="0"/>
                  <a:pt x="730" y="0"/>
                </a:cubicBezTo>
                <a:lnTo>
                  <a:pt x="726" y="0"/>
                </a:lnTo>
                <a:close/>
              </a:path>
            </a:pathLst>
          </a:custGeom>
          <a:solidFill>
            <a:schemeClr val="accent2">
              <a:lumMod val="20000"/>
              <a:lumOff val="80000"/>
            </a:schemeClr>
          </a:solidFill>
          <a:ln w="12700" cap="flat">
            <a:noFill/>
            <a:miter lim="400000"/>
          </a:ln>
          <a:effectLst/>
        </p:spPr>
        <p:txBody>
          <a:bodyPr wrap="square" lIns="0" tIns="0" rIns="0" bIns="0" numCol="1"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1600" b="0" i="0" u="none" strike="noStrike" kern="1200" cap="none" spc="0" normalizeH="0" baseline="0" noProof="0" dirty="0">
              <a:ln>
                <a:noFill/>
              </a:ln>
              <a:solidFill>
                <a:srgbClr val="FFFFFF"/>
              </a:solidFill>
              <a:effectLst/>
              <a:uLnTx/>
              <a:uFillTx/>
              <a:latin typeface="OPPOSans R" panose="00020600040101010101" pitchFamily="18" charset="-122"/>
              <a:ea typeface="微软雅黑"/>
              <a:cs typeface="+mn-cs"/>
              <a:sym typeface="Helvetica Neue Medium"/>
            </a:endParaRPr>
          </a:p>
        </p:txBody>
      </p:sp>
      <p:sp>
        <p:nvSpPr>
          <p:cNvPr id="1015" name="gaoding-8"/>
          <p:cNvSpPr/>
          <p:nvPr/>
        </p:nvSpPr>
        <p:spPr>
          <a:xfrm>
            <a:off x="7156071" y="2162925"/>
            <a:ext cx="1492636" cy="329165"/>
          </a:xfrm>
          <a:custGeom>
            <a:avLst/>
            <a:gdLst/>
            <a:ahLst/>
            <a:cxnLst>
              <a:cxn ang="0">
                <a:pos x="wd2" y="hd2"/>
              </a:cxn>
              <a:cxn ang="5400000">
                <a:pos x="wd2" y="hd2"/>
              </a:cxn>
              <a:cxn ang="10800000">
                <a:pos x="wd2" y="hd2"/>
              </a:cxn>
              <a:cxn ang="16200000">
                <a:pos x="wd2" y="hd2"/>
              </a:cxn>
            </a:cxnLst>
            <a:rect l="0" t="0" r="r" b="b"/>
            <a:pathLst>
              <a:path w="21600" h="21600" extrusionOk="0">
                <a:moveTo>
                  <a:pt x="726" y="0"/>
                </a:moveTo>
                <a:lnTo>
                  <a:pt x="20874" y="0"/>
                </a:lnTo>
                <a:cubicBezTo>
                  <a:pt x="20978" y="0"/>
                  <a:pt x="21056" y="0"/>
                  <a:pt x="21123" y="20"/>
                </a:cubicBezTo>
                <a:cubicBezTo>
                  <a:pt x="21189" y="40"/>
                  <a:pt x="21244" y="81"/>
                  <a:pt x="21300" y="161"/>
                </a:cubicBezTo>
                <a:cubicBezTo>
                  <a:pt x="21361" y="263"/>
                  <a:pt x="21416" y="423"/>
                  <a:pt x="21461" y="628"/>
                </a:cubicBezTo>
                <a:cubicBezTo>
                  <a:pt x="21507" y="833"/>
                  <a:pt x="21542" y="1082"/>
                  <a:pt x="21564" y="1361"/>
                </a:cubicBezTo>
                <a:cubicBezTo>
                  <a:pt x="21582" y="1615"/>
                  <a:pt x="21591" y="1862"/>
                  <a:pt x="21596" y="2166"/>
                </a:cubicBezTo>
                <a:cubicBezTo>
                  <a:pt x="21600" y="2469"/>
                  <a:pt x="21600" y="2829"/>
                  <a:pt x="21600" y="3308"/>
                </a:cubicBezTo>
                <a:lnTo>
                  <a:pt x="21600" y="18306"/>
                </a:lnTo>
                <a:cubicBezTo>
                  <a:pt x="21600" y="18778"/>
                  <a:pt x="21600" y="19134"/>
                  <a:pt x="21596" y="19436"/>
                </a:cubicBezTo>
                <a:cubicBezTo>
                  <a:pt x="21591" y="19738"/>
                  <a:pt x="21582" y="19985"/>
                  <a:pt x="21564" y="20239"/>
                </a:cubicBezTo>
                <a:cubicBezTo>
                  <a:pt x="21542" y="20518"/>
                  <a:pt x="21507" y="20767"/>
                  <a:pt x="21461" y="20972"/>
                </a:cubicBezTo>
                <a:cubicBezTo>
                  <a:pt x="21416" y="21177"/>
                  <a:pt x="21361" y="21337"/>
                  <a:pt x="21300" y="21439"/>
                </a:cubicBezTo>
                <a:cubicBezTo>
                  <a:pt x="21244" y="21519"/>
                  <a:pt x="21189" y="21560"/>
                  <a:pt x="21122" y="21580"/>
                </a:cubicBezTo>
                <a:cubicBezTo>
                  <a:pt x="21055" y="21600"/>
                  <a:pt x="20976" y="21600"/>
                  <a:pt x="20870" y="21600"/>
                </a:cubicBezTo>
                <a:lnTo>
                  <a:pt x="726" y="21600"/>
                </a:lnTo>
                <a:cubicBezTo>
                  <a:pt x="622" y="21600"/>
                  <a:pt x="544" y="21600"/>
                  <a:pt x="477" y="21580"/>
                </a:cubicBezTo>
                <a:cubicBezTo>
                  <a:pt x="411" y="21560"/>
                  <a:pt x="356" y="21519"/>
                  <a:pt x="300" y="21439"/>
                </a:cubicBezTo>
                <a:cubicBezTo>
                  <a:pt x="239" y="21337"/>
                  <a:pt x="184" y="21177"/>
                  <a:pt x="139" y="20972"/>
                </a:cubicBezTo>
                <a:cubicBezTo>
                  <a:pt x="93" y="20767"/>
                  <a:pt x="58" y="20518"/>
                  <a:pt x="36" y="20239"/>
                </a:cubicBezTo>
                <a:cubicBezTo>
                  <a:pt x="18" y="19985"/>
                  <a:pt x="9" y="19738"/>
                  <a:pt x="4" y="19434"/>
                </a:cubicBezTo>
                <a:cubicBezTo>
                  <a:pt x="0" y="19131"/>
                  <a:pt x="0" y="18771"/>
                  <a:pt x="0" y="18292"/>
                </a:cubicBezTo>
                <a:lnTo>
                  <a:pt x="0" y="3294"/>
                </a:lnTo>
                <a:cubicBezTo>
                  <a:pt x="0" y="2822"/>
                  <a:pt x="0" y="2466"/>
                  <a:pt x="4" y="2164"/>
                </a:cubicBezTo>
                <a:cubicBezTo>
                  <a:pt x="9" y="1862"/>
                  <a:pt x="18" y="1615"/>
                  <a:pt x="36" y="1361"/>
                </a:cubicBezTo>
                <a:cubicBezTo>
                  <a:pt x="58" y="1082"/>
                  <a:pt x="93" y="833"/>
                  <a:pt x="139" y="628"/>
                </a:cubicBezTo>
                <a:cubicBezTo>
                  <a:pt x="184" y="423"/>
                  <a:pt x="239" y="263"/>
                  <a:pt x="300" y="161"/>
                </a:cubicBezTo>
                <a:cubicBezTo>
                  <a:pt x="356" y="81"/>
                  <a:pt x="411" y="40"/>
                  <a:pt x="478" y="20"/>
                </a:cubicBezTo>
                <a:cubicBezTo>
                  <a:pt x="545" y="0"/>
                  <a:pt x="624" y="0"/>
                  <a:pt x="730" y="0"/>
                </a:cubicBezTo>
                <a:lnTo>
                  <a:pt x="726" y="0"/>
                </a:lnTo>
                <a:close/>
              </a:path>
            </a:pathLst>
          </a:custGeom>
          <a:solidFill>
            <a:schemeClr val="accent2">
              <a:lumMod val="20000"/>
              <a:lumOff val="80000"/>
            </a:schemeClr>
          </a:solidFill>
          <a:ln w="12700" cap="flat">
            <a:noFill/>
            <a:miter lim="400000"/>
          </a:ln>
          <a:effectLst/>
        </p:spPr>
        <p:txBody>
          <a:bodyPr wrap="square" lIns="0" tIns="0" rIns="0" bIns="0" numCol="1"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1600" b="0" i="0" u="none" strike="noStrike" kern="1200" cap="none" spc="0" normalizeH="0" baseline="0" noProof="0" dirty="0">
              <a:ln>
                <a:noFill/>
              </a:ln>
              <a:solidFill>
                <a:srgbClr val="FFFFFF"/>
              </a:solidFill>
              <a:effectLst/>
              <a:uLnTx/>
              <a:uFillTx/>
              <a:latin typeface="OPPOSans R" panose="00020600040101010101" pitchFamily="18" charset="-122"/>
              <a:ea typeface="微软雅黑"/>
              <a:cs typeface="+mn-cs"/>
              <a:sym typeface="Helvetica Neue Medium"/>
            </a:endParaRPr>
          </a:p>
        </p:txBody>
      </p:sp>
      <p:sp>
        <p:nvSpPr>
          <p:cNvPr id="1019" name="gaoding-9"/>
          <p:cNvSpPr/>
          <p:nvPr/>
        </p:nvSpPr>
        <p:spPr>
          <a:xfrm>
            <a:off x="8638558" y="5072439"/>
            <a:ext cx="408451" cy="0"/>
          </a:xfrm>
          <a:prstGeom prst="line">
            <a:avLst/>
          </a:prstGeom>
          <a:noFill/>
          <a:ln w="25400" cap="flat">
            <a:solidFill>
              <a:schemeClr val="accent6">
                <a:lumMod val="40000"/>
                <a:lumOff val="60000"/>
              </a:schemeClr>
            </a:solidFill>
            <a:prstDash val="solid"/>
            <a:miter lim="400000"/>
          </a:ln>
          <a:effectLst/>
        </p:spPr>
        <p:txBody>
          <a:bodyPr wrap="square" lIns="0" tIns="0" rIns="0" bIns="0" numCol="1"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1600" b="0" i="0" u="none" strike="noStrike" kern="1200" cap="none" spc="0" normalizeH="0" baseline="0" noProof="0" dirty="0">
              <a:ln>
                <a:noFill/>
              </a:ln>
              <a:solidFill>
                <a:srgbClr val="FFFFFF"/>
              </a:solidFill>
              <a:effectLst/>
              <a:uLnTx/>
              <a:uFillTx/>
              <a:latin typeface="OPPOSans R" panose="00020600040101010101" pitchFamily="18" charset="-122"/>
              <a:ea typeface="微软雅黑"/>
              <a:cs typeface="+mn-cs"/>
              <a:sym typeface="Helvetica Neue Medium"/>
            </a:endParaRPr>
          </a:p>
        </p:txBody>
      </p:sp>
      <p:sp>
        <p:nvSpPr>
          <p:cNvPr id="1020" name="gaoding-10"/>
          <p:cNvSpPr/>
          <p:nvPr/>
        </p:nvSpPr>
        <p:spPr>
          <a:xfrm rot="16200000">
            <a:off x="9077524" y="4862706"/>
            <a:ext cx="342678" cy="419467"/>
          </a:xfrm>
          <a:custGeom>
            <a:avLst/>
            <a:gdLst/>
            <a:ahLst/>
            <a:cxnLst>
              <a:cxn ang="0">
                <a:pos x="wd2" y="hd2"/>
              </a:cxn>
              <a:cxn ang="5400000">
                <a:pos x="wd2" y="hd2"/>
              </a:cxn>
              <a:cxn ang="10800000">
                <a:pos x="wd2" y="hd2"/>
              </a:cxn>
              <a:cxn ang="16200000">
                <a:pos x="wd2" y="hd2"/>
              </a:cxn>
            </a:cxnLst>
            <a:rect l="0" t="0" r="r" b="b"/>
            <a:pathLst>
              <a:path w="21600" h="21473" extrusionOk="0">
                <a:moveTo>
                  <a:pt x="0" y="21295"/>
                </a:moveTo>
                <a:lnTo>
                  <a:pt x="0" y="6662"/>
                </a:lnTo>
                <a:cubicBezTo>
                  <a:pt x="13" y="4864"/>
                  <a:pt x="917" y="3145"/>
                  <a:pt x="2507" y="1893"/>
                </a:cubicBezTo>
                <a:cubicBezTo>
                  <a:pt x="4208" y="555"/>
                  <a:pt x="6533" y="-127"/>
                  <a:pt x="8894" y="20"/>
                </a:cubicBezTo>
                <a:lnTo>
                  <a:pt x="13579" y="20"/>
                </a:lnTo>
                <a:cubicBezTo>
                  <a:pt x="15940" y="43"/>
                  <a:pt x="18172" y="897"/>
                  <a:pt x="19696" y="2361"/>
                </a:cubicBezTo>
                <a:cubicBezTo>
                  <a:pt x="20910" y="3526"/>
                  <a:pt x="21584" y="5000"/>
                  <a:pt x="21600" y="6527"/>
                </a:cubicBezTo>
                <a:lnTo>
                  <a:pt x="21600" y="21473"/>
                </a:lnTo>
              </a:path>
            </a:pathLst>
          </a:custGeom>
          <a:noFill/>
          <a:ln w="25400" cap="flat">
            <a:solidFill>
              <a:schemeClr val="accent6">
                <a:lumMod val="40000"/>
                <a:lumOff val="60000"/>
              </a:schemeClr>
            </a:solidFill>
            <a:prstDash val="solid"/>
            <a:miter lim="400000"/>
          </a:ln>
          <a:effectLst/>
        </p:spPr>
        <p:txBody>
          <a:bodyPr wrap="square" lIns="0" tIns="0" rIns="0" bIns="0" numCol="1"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1600" b="0" i="0" u="none" strike="noStrike" kern="1200" cap="none" spc="0" normalizeH="0" baseline="0" noProof="0" dirty="0">
              <a:ln>
                <a:noFill/>
              </a:ln>
              <a:solidFill>
                <a:srgbClr val="FFFFFF"/>
              </a:solidFill>
              <a:effectLst/>
              <a:uLnTx/>
              <a:uFillTx/>
              <a:latin typeface="OPPOSans R" panose="00020600040101010101" pitchFamily="18" charset="-122"/>
              <a:ea typeface="微软雅黑"/>
              <a:cs typeface="+mn-cs"/>
              <a:sym typeface="Helvetica Neue Medium"/>
            </a:endParaRPr>
          </a:p>
        </p:txBody>
      </p:sp>
      <p:sp>
        <p:nvSpPr>
          <p:cNvPr id="1023" name="gaoding-11"/>
          <p:cNvSpPr/>
          <p:nvPr/>
        </p:nvSpPr>
        <p:spPr>
          <a:xfrm>
            <a:off x="8638558" y="5922090"/>
            <a:ext cx="408451" cy="0"/>
          </a:xfrm>
          <a:prstGeom prst="line">
            <a:avLst/>
          </a:prstGeom>
          <a:noFill/>
          <a:ln w="25400" cap="flat">
            <a:solidFill>
              <a:schemeClr val="accent6">
                <a:lumMod val="40000"/>
                <a:lumOff val="60000"/>
              </a:schemeClr>
            </a:solidFill>
            <a:prstDash val="solid"/>
            <a:miter lim="400000"/>
          </a:ln>
          <a:effectLst/>
        </p:spPr>
        <p:txBody>
          <a:bodyPr wrap="square" lIns="0" tIns="0" rIns="0" bIns="0" numCol="1"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1600" b="0" i="0" u="none" strike="noStrike" kern="1200" cap="none" spc="0" normalizeH="0" baseline="0" noProof="0" dirty="0">
              <a:ln>
                <a:noFill/>
              </a:ln>
              <a:solidFill>
                <a:srgbClr val="FFFFFF"/>
              </a:solidFill>
              <a:effectLst/>
              <a:uLnTx/>
              <a:uFillTx/>
              <a:latin typeface="OPPOSans R" panose="00020600040101010101" pitchFamily="18" charset="-122"/>
              <a:ea typeface="微软雅黑"/>
              <a:cs typeface="+mn-cs"/>
              <a:sym typeface="Helvetica Neue Medium"/>
            </a:endParaRPr>
          </a:p>
        </p:txBody>
      </p:sp>
      <p:sp>
        <p:nvSpPr>
          <p:cNvPr id="1024" name="gaoding-12"/>
          <p:cNvSpPr/>
          <p:nvPr/>
        </p:nvSpPr>
        <p:spPr>
          <a:xfrm rot="16200000">
            <a:off x="9077524" y="5712357"/>
            <a:ext cx="342678" cy="419468"/>
          </a:xfrm>
          <a:custGeom>
            <a:avLst/>
            <a:gdLst/>
            <a:ahLst/>
            <a:cxnLst>
              <a:cxn ang="0">
                <a:pos x="wd2" y="hd2"/>
              </a:cxn>
              <a:cxn ang="5400000">
                <a:pos x="wd2" y="hd2"/>
              </a:cxn>
              <a:cxn ang="10800000">
                <a:pos x="wd2" y="hd2"/>
              </a:cxn>
              <a:cxn ang="16200000">
                <a:pos x="wd2" y="hd2"/>
              </a:cxn>
            </a:cxnLst>
            <a:rect l="0" t="0" r="r" b="b"/>
            <a:pathLst>
              <a:path w="21600" h="21473" extrusionOk="0">
                <a:moveTo>
                  <a:pt x="0" y="21295"/>
                </a:moveTo>
                <a:lnTo>
                  <a:pt x="0" y="6662"/>
                </a:lnTo>
                <a:cubicBezTo>
                  <a:pt x="13" y="4864"/>
                  <a:pt x="917" y="3145"/>
                  <a:pt x="2507" y="1893"/>
                </a:cubicBezTo>
                <a:cubicBezTo>
                  <a:pt x="4208" y="555"/>
                  <a:pt x="6533" y="-127"/>
                  <a:pt x="8894" y="20"/>
                </a:cubicBezTo>
                <a:lnTo>
                  <a:pt x="13579" y="20"/>
                </a:lnTo>
                <a:cubicBezTo>
                  <a:pt x="15940" y="43"/>
                  <a:pt x="18172" y="897"/>
                  <a:pt x="19696" y="2361"/>
                </a:cubicBezTo>
                <a:cubicBezTo>
                  <a:pt x="20910" y="3526"/>
                  <a:pt x="21584" y="5000"/>
                  <a:pt x="21600" y="6527"/>
                </a:cubicBezTo>
                <a:lnTo>
                  <a:pt x="21600" y="21473"/>
                </a:lnTo>
              </a:path>
            </a:pathLst>
          </a:custGeom>
          <a:noFill/>
          <a:ln w="25400" cap="flat">
            <a:solidFill>
              <a:schemeClr val="accent6">
                <a:lumMod val="40000"/>
                <a:lumOff val="60000"/>
              </a:schemeClr>
            </a:solidFill>
            <a:prstDash val="solid"/>
            <a:miter lim="400000"/>
          </a:ln>
          <a:effectLst/>
        </p:spPr>
        <p:txBody>
          <a:bodyPr wrap="square" lIns="0" tIns="0" rIns="0" bIns="0" numCol="1"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1600" b="0" i="0" u="none" strike="noStrike" kern="1200" cap="none" spc="0" normalizeH="0" baseline="0" noProof="0" dirty="0">
              <a:ln>
                <a:noFill/>
              </a:ln>
              <a:solidFill>
                <a:srgbClr val="FFFFFF"/>
              </a:solidFill>
              <a:effectLst/>
              <a:uLnTx/>
              <a:uFillTx/>
              <a:latin typeface="OPPOSans R" panose="00020600040101010101" pitchFamily="18" charset="-122"/>
              <a:ea typeface="微软雅黑"/>
              <a:cs typeface="+mn-cs"/>
              <a:sym typeface="Helvetica Neue Medium"/>
            </a:endParaRPr>
          </a:p>
        </p:txBody>
      </p:sp>
      <p:sp>
        <p:nvSpPr>
          <p:cNvPr id="1025" name="gaoding-13"/>
          <p:cNvSpPr/>
          <p:nvPr/>
        </p:nvSpPr>
        <p:spPr>
          <a:xfrm>
            <a:off x="6295553" y="5497443"/>
            <a:ext cx="459384" cy="0"/>
          </a:xfrm>
          <a:prstGeom prst="line">
            <a:avLst/>
          </a:prstGeom>
          <a:noFill/>
          <a:ln w="25400" cap="flat">
            <a:solidFill>
              <a:schemeClr val="accent6">
                <a:lumMod val="40000"/>
                <a:lumOff val="60000"/>
              </a:schemeClr>
            </a:solidFill>
            <a:prstDash val="solid"/>
            <a:miter lim="400000"/>
          </a:ln>
          <a:effectLst/>
        </p:spPr>
        <p:txBody>
          <a:bodyPr wrap="square" lIns="0" tIns="0" rIns="0" bIns="0" numCol="1"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1600" b="0" i="0" u="none" strike="noStrike" kern="1200" cap="none" spc="0" normalizeH="0" baseline="0" noProof="0" dirty="0">
              <a:ln>
                <a:noFill/>
              </a:ln>
              <a:solidFill>
                <a:srgbClr val="FFFFFF"/>
              </a:solidFill>
              <a:effectLst/>
              <a:uLnTx/>
              <a:uFillTx/>
              <a:latin typeface="OPPOSans R" panose="00020600040101010101" pitchFamily="18" charset="-122"/>
              <a:ea typeface="微软雅黑"/>
              <a:cs typeface="+mn-cs"/>
              <a:sym typeface="Helvetica Neue Medium"/>
            </a:endParaRPr>
          </a:p>
        </p:txBody>
      </p:sp>
      <p:sp>
        <p:nvSpPr>
          <p:cNvPr id="1026" name="gaoding-14"/>
          <p:cNvSpPr/>
          <p:nvPr/>
        </p:nvSpPr>
        <p:spPr>
          <a:xfrm rot="16200000">
            <a:off x="6535106" y="5287709"/>
            <a:ext cx="850678" cy="419468"/>
          </a:xfrm>
          <a:custGeom>
            <a:avLst/>
            <a:gdLst/>
            <a:ahLst/>
            <a:cxnLst>
              <a:cxn ang="0">
                <a:pos x="wd2" y="hd2"/>
              </a:cxn>
              <a:cxn ang="5400000">
                <a:pos x="wd2" y="hd2"/>
              </a:cxn>
              <a:cxn ang="10800000">
                <a:pos x="wd2" y="hd2"/>
              </a:cxn>
              <a:cxn ang="16200000">
                <a:pos x="wd2" y="hd2"/>
              </a:cxn>
            </a:cxnLst>
            <a:rect l="0" t="0" r="r" b="b"/>
            <a:pathLst>
              <a:path w="21600" h="21473" extrusionOk="0">
                <a:moveTo>
                  <a:pt x="0" y="21295"/>
                </a:moveTo>
                <a:lnTo>
                  <a:pt x="0" y="6662"/>
                </a:lnTo>
                <a:cubicBezTo>
                  <a:pt x="5" y="4864"/>
                  <a:pt x="369" y="3145"/>
                  <a:pt x="1010" y="1893"/>
                </a:cubicBezTo>
                <a:cubicBezTo>
                  <a:pt x="1695" y="555"/>
                  <a:pt x="2632" y="-127"/>
                  <a:pt x="3583" y="20"/>
                </a:cubicBezTo>
                <a:lnTo>
                  <a:pt x="18369" y="20"/>
                </a:lnTo>
                <a:cubicBezTo>
                  <a:pt x="19320" y="43"/>
                  <a:pt x="20219" y="897"/>
                  <a:pt x="20833" y="2361"/>
                </a:cubicBezTo>
                <a:cubicBezTo>
                  <a:pt x="21322" y="3526"/>
                  <a:pt x="21593" y="5000"/>
                  <a:pt x="21600" y="6527"/>
                </a:cubicBezTo>
                <a:lnTo>
                  <a:pt x="21600" y="21473"/>
                </a:lnTo>
              </a:path>
            </a:pathLst>
          </a:custGeom>
          <a:noFill/>
          <a:ln w="25400" cap="flat">
            <a:solidFill>
              <a:schemeClr val="accent6">
                <a:lumMod val="40000"/>
                <a:lumOff val="60000"/>
              </a:schemeClr>
            </a:solidFill>
            <a:prstDash val="solid"/>
            <a:miter lim="400000"/>
          </a:ln>
          <a:effectLst/>
        </p:spPr>
        <p:txBody>
          <a:bodyPr wrap="square" lIns="0" tIns="0" rIns="0" bIns="0" numCol="1"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1600" b="0" i="0" u="none" strike="noStrike" kern="1200" cap="none" spc="0" normalizeH="0" baseline="0" noProof="0" dirty="0">
              <a:ln>
                <a:noFill/>
              </a:ln>
              <a:solidFill>
                <a:srgbClr val="FFFFFF"/>
              </a:solidFill>
              <a:effectLst/>
              <a:uLnTx/>
              <a:uFillTx/>
              <a:latin typeface="OPPOSans R" panose="00020600040101010101" pitchFamily="18" charset="-122"/>
              <a:ea typeface="微软雅黑"/>
              <a:cs typeface="+mn-cs"/>
              <a:sym typeface="Helvetica Neue Medium"/>
            </a:endParaRPr>
          </a:p>
        </p:txBody>
      </p:sp>
      <p:sp>
        <p:nvSpPr>
          <p:cNvPr id="1027" name="gaoding-15"/>
          <p:cNvSpPr/>
          <p:nvPr/>
        </p:nvSpPr>
        <p:spPr>
          <a:xfrm>
            <a:off x="7155697" y="4898334"/>
            <a:ext cx="1492636" cy="329165"/>
          </a:xfrm>
          <a:custGeom>
            <a:avLst/>
            <a:gdLst/>
            <a:ahLst/>
            <a:cxnLst>
              <a:cxn ang="0">
                <a:pos x="wd2" y="hd2"/>
              </a:cxn>
              <a:cxn ang="5400000">
                <a:pos x="wd2" y="hd2"/>
              </a:cxn>
              <a:cxn ang="10800000">
                <a:pos x="wd2" y="hd2"/>
              </a:cxn>
              <a:cxn ang="16200000">
                <a:pos x="wd2" y="hd2"/>
              </a:cxn>
            </a:cxnLst>
            <a:rect l="0" t="0" r="r" b="b"/>
            <a:pathLst>
              <a:path w="21600" h="21600" extrusionOk="0">
                <a:moveTo>
                  <a:pt x="726" y="0"/>
                </a:moveTo>
                <a:lnTo>
                  <a:pt x="20874" y="0"/>
                </a:lnTo>
                <a:cubicBezTo>
                  <a:pt x="20978" y="0"/>
                  <a:pt x="21056" y="0"/>
                  <a:pt x="21123" y="20"/>
                </a:cubicBezTo>
                <a:cubicBezTo>
                  <a:pt x="21189" y="40"/>
                  <a:pt x="21244" y="81"/>
                  <a:pt x="21300" y="161"/>
                </a:cubicBezTo>
                <a:cubicBezTo>
                  <a:pt x="21361" y="263"/>
                  <a:pt x="21416" y="423"/>
                  <a:pt x="21461" y="628"/>
                </a:cubicBezTo>
                <a:cubicBezTo>
                  <a:pt x="21507" y="833"/>
                  <a:pt x="21542" y="1082"/>
                  <a:pt x="21564" y="1361"/>
                </a:cubicBezTo>
                <a:cubicBezTo>
                  <a:pt x="21582" y="1615"/>
                  <a:pt x="21591" y="1862"/>
                  <a:pt x="21596" y="2166"/>
                </a:cubicBezTo>
                <a:cubicBezTo>
                  <a:pt x="21600" y="2469"/>
                  <a:pt x="21600" y="2829"/>
                  <a:pt x="21600" y="3308"/>
                </a:cubicBezTo>
                <a:lnTo>
                  <a:pt x="21600" y="18306"/>
                </a:lnTo>
                <a:cubicBezTo>
                  <a:pt x="21600" y="18778"/>
                  <a:pt x="21600" y="19134"/>
                  <a:pt x="21596" y="19436"/>
                </a:cubicBezTo>
                <a:cubicBezTo>
                  <a:pt x="21591" y="19738"/>
                  <a:pt x="21582" y="19985"/>
                  <a:pt x="21564" y="20239"/>
                </a:cubicBezTo>
                <a:cubicBezTo>
                  <a:pt x="21542" y="20518"/>
                  <a:pt x="21507" y="20767"/>
                  <a:pt x="21461" y="20972"/>
                </a:cubicBezTo>
                <a:cubicBezTo>
                  <a:pt x="21416" y="21177"/>
                  <a:pt x="21361" y="21337"/>
                  <a:pt x="21300" y="21439"/>
                </a:cubicBezTo>
                <a:cubicBezTo>
                  <a:pt x="21244" y="21519"/>
                  <a:pt x="21189" y="21560"/>
                  <a:pt x="21122" y="21580"/>
                </a:cubicBezTo>
                <a:cubicBezTo>
                  <a:pt x="21055" y="21600"/>
                  <a:pt x="20976" y="21600"/>
                  <a:pt x="20870" y="21600"/>
                </a:cubicBezTo>
                <a:lnTo>
                  <a:pt x="726" y="21600"/>
                </a:lnTo>
                <a:cubicBezTo>
                  <a:pt x="622" y="21600"/>
                  <a:pt x="544" y="21600"/>
                  <a:pt x="477" y="21580"/>
                </a:cubicBezTo>
                <a:cubicBezTo>
                  <a:pt x="411" y="21560"/>
                  <a:pt x="356" y="21519"/>
                  <a:pt x="300" y="21439"/>
                </a:cubicBezTo>
                <a:cubicBezTo>
                  <a:pt x="239" y="21337"/>
                  <a:pt x="184" y="21177"/>
                  <a:pt x="139" y="20972"/>
                </a:cubicBezTo>
                <a:cubicBezTo>
                  <a:pt x="93" y="20767"/>
                  <a:pt x="58" y="20518"/>
                  <a:pt x="36" y="20239"/>
                </a:cubicBezTo>
                <a:cubicBezTo>
                  <a:pt x="18" y="19985"/>
                  <a:pt x="9" y="19738"/>
                  <a:pt x="4" y="19434"/>
                </a:cubicBezTo>
                <a:cubicBezTo>
                  <a:pt x="0" y="19131"/>
                  <a:pt x="0" y="18771"/>
                  <a:pt x="0" y="18292"/>
                </a:cubicBezTo>
                <a:lnTo>
                  <a:pt x="0" y="3294"/>
                </a:lnTo>
                <a:cubicBezTo>
                  <a:pt x="0" y="2822"/>
                  <a:pt x="0" y="2466"/>
                  <a:pt x="4" y="2164"/>
                </a:cubicBezTo>
                <a:cubicBezTo>
                  <a:pt x="9" y="1862"/>
                  <a:pt x="18" y="1615"/>
                  <a:pt x="36" y="1361"/>
                </a:cubicBezTo>
                <a:cubicBezTo>
                  <a:pt x="58" y="1082"/>
                  <a:pt x="93" y="833"/>
                  <a:pt x="139" y="628"/>
                </a:cubicBezTo>
                <a:cubicBezTo>
                  <a:pt x="184" y="423"/>
                  <a:pt x="239" y="263"/>
                  <a:pt x="300" y="161"/>
                </a:cubicBezTo>
                <a:cubicBezTo>
                  <a:pt x="356" y="81"/>
                  <a:pt x="411" y="40"/>
                  <a:pt x="478" y="20"/>
                </a:cubicBezTo>
                <a:cubicBezTo>
                  <a:pt x="545" y="0"/>
                  <a:pt x="624" y="0"/>
                  <a:pt x="730" y="0"/>
                </a:cubicBezTo>
                <a:lnTo>
                  <a:pt x="726" y="0"/>
                </a:lnTo>
                <a:close/>
              </a:path>
            </a:pathLst>
          </a:custGeom>
          <a:solidFill>
            <a:schemeClr val="accent6">
              <a:lumMod val="20000"/>
              <a:lumOff val="80000"/>
            </a:schemeClr>
          </a:solidFill>
          <a:ln w="12700" cap="flat">
            <a:noFill/>
            <a:miter lim="400000"/>
          </a:ln>
          <a:effectLst/>
        </p:spPr>
        <p:txBody>
          <a:bodyPr wrap="square" lIns="0" tIns="0" rIns="0" bIns="0" numCol="1"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1600" b="0" i="0" u="none" strike="noStrike" kern="1200" cap="none" spc="0" normalizeH="0" baseline="0" noProof="0" dirty="0">
              <a:ln>
                <a:noFill/>
              </a:ln>
              <a:solidFill>
                <a:srgbClr val="FFFFFF"/>
              </a:solidFill>
              <a:effectLst/>
              <a:uLnTx/>
              <a:uFillTx/>
              <a:latin typeface="OPPOSans R" panose="00020600040101010101" pitchFamily="18" charset="-122"/>
              <a:ea typeface="微软雅黑"/>
              <a:cs typeface="+mn-cs"/>
              <a:sym typeface="Helvetica Neue Medium"/>
            </a:endParaRPr>
          </a:p>
        </p:txBody>
      </p:sp>
      <p:sp>
        <p:nvSpPr>
          <p:cNvPr id="1029" name="gaoding-16"/>
          <p:cNvSpPr/>
          <p:nvPr/>
        </p:nvSpPr>
        <p:spPr>
          <a:xfrm>
            <a:off x="7155697" y="5756784"/>
            <a:ext cx="1492636" cy="329165"/>
          </a:xfrm>
          <a:custGeom>
            <a:avLst/>
            <a:gdLst/>
            <a:ahLst/>
            <a:cxnLst>
              <a:cxn ang="0">
                <a:pos x="wd2" y="hd2"/>
              </a:cxn>
              <a:cxn ang="5400000">
                <a:pos x="wd2" y="hd2"/>
              </a:cxn>
              <a:cxn ang="10800000">
                <a:pos x="wd2" y="hd2"/>
              </a:cxn>
              <a:cxn ang="16200000">
                <a:pos x="wd2" y="hd2"/>
              </a:cxn>
            </a:cxnLst>
            <a:rect l="0" t="0" r="r" b="b"/>
            <a:pathLst>
              <a:path w="21600" h="21600" extrusionOk="0">
                <a:moveTo>
                  <a:pt x="726" y="0"/>
                </a:moveTo>
                <a:lnTo>
                  <a:pt x="20874" y="0"/>
                </a:lnTo>
                <a:cubicBezTo>
                  <a:pt x="20978" y="0"/>
                  <a:pt x="21056" y="0"/>
                  <a:pt x="21123" y="20"/>
                </a:cubicBezTo>
                <a:cubicBezTo>
                  <a:pt x="21189" y="40"/>
                  <a:pt x="21244" y="81"/>
                  <a:pt x="21300" y="161"/>
                </a:cubicBezTo>
                <a:cubicBezTo>
                  <a:pt x="21361" y="263"/>
                  <a:pt x="21416" y="423"/>
                  <a:pt x="21461" y="628"/>
                </a:cubicBezTo>
                <a:cubicBezTo>
                  <a:pt x="21507" y="833"/>
                  <a:pt x="21542" y="1082"/>
                  <a:pt x="21564" y="1361"/>
                </a:cubicBezTo>
                <a:cubicBezTo>
                  <a:pt x="21582" y="1615"/>
                  <a:pt x="21591" y="1862"/>
                  <a:pt x="21596" y="2166"/>
                </a:cubicBezTo>
                <a:cubicBezTo>
                  <a:pt x="21600" y="2469"/>
                  <a:pt x="21600" y="2829"/>
                  <a:pt x="21600" y="3308"/>
                </a:cubicBezTo>
                <a:lnTo>
                  <a:pt x="21600" y="18306"/>
                </a:lnTo>
                <a:cubicBezTo>
                  <a:pt x="21600" y="18778"/>
                  <a:pt x="21600" y="19134"/>
                  <a:pt x="21596" y="19436"/>
                </a:cubicBezTo>
                <a:cubicBezTo>
                  <a:pt x="21591" y="19738"/>
                  <a:pt x="21582" y="19985"/>
                  <a:pt x="21564" y="20239"/>
                </a:cubicBezTo>
                <a:cubicBezTo>
                  <a:pt x="21542" y="20518"/>
                  <a:pt x="21507" y="20767"/>
                  <a:pt x="21461" y="20972"/>
                </a:cubicBezTo>
                <a:cubicBezTo>
                  <a:pt x="21416" y="21177"/>
                  <a:pt x="21361" y="21337"/>
                  <a:pt x="21300" y="21439"/>
                </a:cubicBezTo>
                <a:cubicBezTo>
                  <a:pt x="21244" y="21519"/>
                  <a:pt x="21189" y="21560"/>
                  <a:pt x="21122" y="21580"/>
                </a:cubicBezTo>
                <a:cubicBezTo>
                  <a:pt x="21055" y="21600"/>
                  <a:pt x="20976" y="21600"/>
                  <a:pt x="20870" y="21600"/>
                </a:cubicBezTo>
                <a:lnTo>
                  <a:pt x="726" y="21600"/>
                </a:lnTo>
                <a:cubicBezTo>
                  <a:pt x="622" y="21600"/>
                  <a:pt x="544" y="21600"/>
                  <a:pt x="477" y="21580"/>
                </a:cubicBezTo>
                <a:cubicBezTo>
                  <a:pt x="411" y="21560"/>
                  <a:pt x="356" y="21519"/>
                  <a:pt x="300" y="21439"/>
                </a:cubicBezTo>
                <a:cubicBezTo>
                  <a:pt x="239" y="21337"/>
                  <a:pt x="184" y="21177"/>
                  <a:pt x="139" y="20972"/>
                </a:cubicBezTo>
                <a:cubicBezTo>
                  <a:pt x="93" y="20767"/>
                  <a:pt x="58" y="20518"/>
                  <a:pt x="36" y="20239"/>
                </a:cubicBezTo>
                <a:cubicBezTo>
                  <a:pt x="18" y="19985"/>
                  <a:pt x="9" y="19738"/>
                  <a:pt x="4" y="19434"/>
                </a:cubicBezTo>
                <a:cubicBezTo>
                  <a:pt x="0" y="19131"/>
                  <a:pt x="0" y="18771"/>
                  <a:pt x="0" y="18292"/>
                </a:cubicBezTo>
                <a:lnTo>
                  <a:pt x="0" y="3294"/>
                </a:lnTo>
                <a:cubicBezTo>
                  <a:pt x="0" y="2822"/>
                  <a:pt x="0" y="2466"/>
                  <a:pt x="4" y="2164"/>
                </a:cubicBezTo>
                <a:cubicBezTo>
                  <a:pt x="9" y="1862"/>
                  <a:pt x="18" y="1615"/>
                  <a:pt x="36" y="1361"/>
                </a:cubicBezTo>
                <a:cubicBezTo>
                  <a:pt x="58" y="1082"/>
                  <a:pt x="93" y="833"/>
                  <a:pt x="139" y="628"/>
                </a:cubicBezTo>
                <a:cubicBezTo>
                  <a:pt x="184" y="423"/>
                  <a:pt x="239" y="263"/>
                  <a:pt x="300" y="161"/>
                </a:cubicBezTo>
                <a:cubicBezTo>
                  <a:pt x="356" y="81"/>
                  <a:pt x="411" y="40"/>
                  <a:pt x="478" y="20"/>
                </a:cubicBezTo>
                <a:cubicBezTo>
                  <a:pt x="545" y="0"/>
                  <a:pt x="624" y="0"/>
                  <a:pt x="730" y="0"/>
                </a:cubicBezTo>
                <a:lnTo>
                  <a:pt x="726" y="0"/>
                </a:lnTo>
                <a:close/>
              </a:path>
            </a:pathLst>
          </a:custGeom>
          <a:solidFill>
            <a:schemeClr val="accent6">
              <a:lumMod val="20000"/>
              <a:lumOff val="80000"/>
            </a:schemeClr>
          </a:solidFill>
          <a:ln w="12700" cap="flat">
            <a:noFill/>
            <a:miter lim="400000"/>
          </a:ln>
          <a:effectLst/>
        </p:spPr>
        <p:txBody>
          <a:bodyPr wrap="square" lIns="0" tIns="0" rIns="0" bIns="0" numCol="1"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1600" b="0" i="0" u="none" strike="noStrike" kern="1200" cap="none" spc="0" normalizeH="0" baseline="0" noProof="0" dirty="0">
              <a:ln>
                <a:noFill/>
              </a:ln>
              <a:solidFill>
                <a:srgbClr val="FFFFFF"/>
              </a:solidFill>
              <a:effectLst/>
              <a:uLnTx/>
              <a:uFillTx/>
              <a:latin typeface="OPPOSans R" panose="00020600040101010101" pitchFamily="18" charset="-122"/>
              <a:ea typeface="微软雅黑"/>
              <a:cs typeface="+mn-cs"/>
              <a:sym typeface="Helvetica Neue Medium"/>
            </a:endParaRPr>
          </a:p>
        </p:txBody>
      </p:sp>
      <p:sp>
        <p:nvSpPr>
          <p:cNvPr id="1033" name="gaoding-17"/>
          <p:cNvSpPr/>
          <p:nvPr/>
        </p:nvSpPr>
        <p:spPr>
          <a:xfrm>
            <a:off x="8638932" y="3277097"/>
            <a:ext cx="408450" cy="0"/>
          </a:xfrm>
          <a:prstGeom prst="line">
            <a:avLst/>
          </a:prstGeom>
          <a:noFill/>
          <a:ln w="25400" cap="flat">
            <a:solidFill>
              <a:schemeClr val="accent6">
                <a:lumMod val="40000"/>
                <a:lumOff val="60000"/>
              </a:schemeClr>
            </a:solidFill>
            <a:prstDash val="solid"/>
            <a:miter lim="400000"/>
          </a:ln>
          <a:effectLst/>
        </p:spPr>
        <p:txBody>
          <a:bodyPr wrap="square" lIns="0" tIns="0" rIns="0" bIns="0" numCol="1"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1600" b="0" i="0" u="none" strike="noStrike" kern="1200" cap="none" spc="0" normalizeH="0" baseline="0" noProof="0" dirty="0">
              <a:ln>
                <a:noFill/>
              </a:ln>
              <a:solidFill>
                <a:srgbClr val="FFFFFF"/>
              </a:solidFill>
              <a:effectLst/>
              <a:uLnTx/>
              <a:uFillTx/>
              <a:latin typeface="OPPOSans R" panose="00020600040101010101" pitchFamily="18" charset="-122"/>
              <a:ea typeface="微软雅黑"/>
              <a:cs typeface="+mn-cs"/>
              <a:sym typeface="Helvetica Neue Medium"/>
            </a:endParaRPr>
          </a:p>
        </p:txBody>
      </p:sp>
      <p:sp>
        <p:nvSpPr>
          <p:cNvPr id="1034" name="gaoding-18"/>
          <p:cNvSpPr/>
          <p:nvPr/>
        </p:nvSpPr>
        <p:spPr>
          <a:xfrm rot="16200000">
            <a:off x="9077898" y="3067364"/>
            <a:ext cx="342677" cy="419468"/>
          </a:xfrm>
          <a:custGeom>
            <a:avLst/>
            <a:gdLst/>
            <a:ahLst/>
            <a:cxnLst>
              <a:cxn ang="0">
                <a:pos x="wd2" y="hd2"/>
              </a:cxn>
              <a:cxn ang="5400000">
                <a:pos x="wd2" y="hd2"/>
              </a:cxn>
              <a:cxn ang="10800000">
                <a:pos x="wd2" y="hd2"/>
              </a:cxn>
              <a:cxn ang="16200000">
                <a:pos x="wd2" y="hd2"/>
              </a:cxn>
            </a:cxnLst>
            <a:rect l="0" t="0" r="r" b="b"/>
            <a:pathLst>
              <a:path w="21600" h="21473" extrusionOk="0">
                <a:moveTo>
                  <a:pt x="0" y="21295"/>
                </a:moveTo>
                <a:lnTo>
                  <a:pt x="0" y="6662"/>
                </a:lnTo>
                <a:cubicBezTo>
                  <a:pt x="13" y="4864"/>
                  <a:pt x="917" y="3145"/>
                  <a:pt x="2507" y="1893"/>
                </a:cubicBezTo>
                <a:cubicBezTo>
                  <a:pt x="4208" y="555"/>
                  <a:pt x="6533" y="-127"/>
                  <a:pt x="8894" y="20"/>
                </a:cubicBezTo>
                <a:lnTo>
                  <a:pt x="13579" y="20"/>
                </a:lnTo>
                <a:cubicBezTo>
                  <a:pt x="15940" y="43"/>
                  <a:pt x="18172" y="897"/>
                  <a:pt x="19696" y="2361"/>
                </a:cubicBezTo>
                <a:cubicBezTo>
                  <a:pt x="20910" y="3526"/>
                  <a:pt x="21584" y="5000"/>
                  <a:pt x="21600" y="6527"/>
                </a:cubicBezTo>
                <a:lnTo>
                  <a:pt x="21600" y="21473"/>
                </a:lnTo>
              </a:path>
            </a:pathLst>
          </a:custGeom>
          <a:noFill/>
          <a:ln w="25400" cap="flat">
            <a:solidFill>
              <a:schemeClr val="accent6">
                <a:lumMod val="40000"/>
                <a:lumOff val="60000"/>
              </a:schemeClr>
            </a:solidFill>
            <a:prstDash val="solid"/>
            <a:miter lim="400000"/>
          </a:ln>
          <a:effectLst/>
        </p:spPr>
        <p:txBody>
          <a:bodyPr wrap="square" lIns="0" tIns="0" rIns="0" bIns="0" numCol="1"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1600" b="0" i="0" u="none" strike="noStrike" kern="1200" cap="none" spc="0" normalizeH="0" baseline="0" noProof="0" dirty="0">
              <a:ln>
                <a:noFill/>
              </a:ln>
              <a:solidFill>
                <a:srgbClr val="FFFFFF"/>
              </a:solidFill>
              <a:effectLst/>
              <a:uLnTx/>
              <a:uFillTx/>
              <a:latin typeface="OPPOSans R" panose="00020600040101010101" pitchFamily="18" charset="-122"/>
              <a:ea typeface="微软雅黑"/>
              <a:cs typeface="+mn-cs"/>
              <a:sym typeface="Helvetica Neue Medium"/>
            </a:endParaRPr>
          </a:p>
        </p:txBody>
      </p:sp>
      <p:sp>
        <p:nvSpPr>
          <p:cNvPr id="1037" name="gaoding-19"/>
          <p:cNvSpPr/>
          <p:nvPr/>
        </p:nvSpPr>
        <p:spPr>
          <a:xfrm>
            <a:off x="8638932" y="4126749"/>
            <a:ext cx="408450" cy="0"/>
          </a:xfrm>
          <a:prstGeom prst="line">
            <a:avLst/>
          </a:prstGeom>
          <a:noFill/>
          <a:ln w="25400" cap="flat">
            <a:solidFill>
              <a:schemeClr val="accent6">
                <a:lumMod val="40000"/>
                <a:lumOff val="60000"/>
              </a:schemeClr>
            </a:solidFill>
            <a:prstDash val="solid"/>
            <a:miter lim="400000"/>
          </a:ln>
          <a:effectLst/>
        </p:spPr>
        <p:txBody>
          <a:bodyPr wrap="square" lIns="0" tIns="0" rIns="0" bIns="0" numCol="1"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1600" b="0" i="0" u="none" strike="noStrike" kern="1200" cap="none" spc="0" normalizeH="0" baseline="0" noProof="0" dirty="0">
              <a:ln>
                <a:noFill/>
              </a:ln>
              <a:solidFill>
                <a:srgbClr val="FFFFFF"/>
              </a:solidFill>
              <a:effectLst/>
              <a:uLnTx/>
              <a:uFillTx/>
              <a:latin typeface="OPPOSans R" panose="00020600040101010101" pitchFamily="18" charset="-122"/>
              <a:ea typeface="微软雅黑"/>
              <a:cs typeface="+mn-cs"/>
              <a:sym typeface="Helvetica Neue Medium"/>
            </a:endParaRPr>
          </a:p>
        </p:txBody>
      </p:sp>
      <p:sp>
        <p:nvSpPr>
          <p:cNvPr id="1038" name="gaoding-20"/>
          <p:cNvSpPr/>
          <p:nvPr/>
        </p:nvSpPr>
        <p:spPr>
          <a:xfrm rot="16200000">
            <a:off x="9077898" y="3917016"/>
            <a:ext cx="342677" cy="419467"/>
          </a:xfrm>
          <a:custGeom>
            <a:avLst/>
            <a:gdLst/>
            <a:ahLst/>
            <a:cxnLst>
              <a:cxn ang="0">
                <a:pos x="wd2" y="hd2"/>
              </a:cxn>
              <a:cxn ang="5400000">
                <a:pos x="wd2" y="hd2"/>
              </a:cxn>
              <a:cxn ang="10800000">
                <a:pos x="wd2" y="hd2"/>
              </a:cxn>
              <a:cxn ang="16200000">
                <a:pos x="wd2" y="hd2"/>
              </a:cxn>
            </a:cxnLst>
            <a:rect l="0" t="0" r="r" b="b"/>
            <a:pathLst>
              <a:path w="21600" h="21473" extrusionOk="0">
                <a:moveTo>
                  <a:pt x="0" y="21295"/>
                </a:moveTo>
                <a:lnTo>
                  <a:pt x="0" y="6662"/>
                </a:lnTo>
                <a:cubicBezTo>
                  <a:pt x="13" y="4864"/>
                  <a:pt x="917" y="3145"/>
                  <a:pt x="2507" y="1893"/>
                </a:cubicBezTo>
                <a:cubicBezTo>
                  <a:pt x="4208" y="555"/>
                  <a:pt x="6533" y="-127"/>
                  <a:pt x="8894" y="20"/>
                </a:cubicBezTo>
                <a:lnTo>
                  <a:pt x="13579" y="20"/>
                </a:lnTo>
                <a:cubicBezTo>
                  <a:pt x="15940" y="43"/>
                  <a:pt x="18172" y="897"/>
                  <a:pt x="19696" y="2361"/>
                </a:cubicBezTo>
                <a:cubicBezTo>
                  <a:pt x="20910" y="3526"/>
                  <a:pt x="21584" y="5000"/>
                  <a:pt x="21600" y="6527"/>
                </a:cubicBezTo>
                <a:lnTo>
                  <a:pt x="21600" y="21473"/>
                </a:lnTo>
              </a:path>
            </a:pathLst>
          </a:custGeom>
          <a:noFill/>
          <a:ln w="25400" cap="flat">
            <a:solidFill>
              <a:schemeClr val="accent6">
                <a:lumMod val="40000"/>
                <a:lumOff val="60000"/>
              </a:schemeClr>
            </a:solidFill>
            <a:prstDash val="solid"/>
            <a:miter lim="400000"/>
          </a:ln>
          <a:effectLst/>
        </p:spPr>
        <p:txBody>
          <a:bodyPr wrap="square" lIns="0" tIns="0" rIns="0" bIns="0" numCol="1"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1600" b="0" i="0" u="none" strike="noStrike" kern="1200" cap="none" spc="0" normalizeH="0" baseline="0" noProof="0" dirty="0">
              <a:ln>
                <a:noFill/>
              </a:ln>
              <a:solidFill>
                <a:srgbClr val="FFFFFF"/>
              </a:solidFill>
              <a:effectLst/>
              <a:uLnTx/>
              <a:uFillTx/>
              <a:latin typeface="OPPOSans R" panose="00020600040101010101" pitchFamily="18" charset="-122"/>
              <a:ea typeface="微软雅黑"/>
              <a:cs typeface="+mn-cs"/>
              <a:sym typeface="Helvetica Neue Medium"/>
            </a:endParaRPr>
          </a:p>
        </p:txBody>
      </p:sp>
      <p:sp>
        <p:nvSpPr>
          <p:cNvPr id="1039" name="gaoding-21"/>
          <p:cNvSpPr/>
          <p:nvPr/>
        </p:nvSpPr>
        <p:spPr>
          <a:xfrm>
            <a:off x="6295927" y="3702102"/>
            <a:ext cx="459384" cy="0"/>
          </a:xfrm>
          <a:prstGeom prst="line">
            <a:avLst/>
          </a:prstGeom>
          <a:noFill/>
          <a:ln w="25400" cap="flat">
            <a:solidFill>
              <a:schemeClr val="accent6">
                <a:lumMod val="40000"/>
                <a:lumOff val="60000"/>
              </a:schemeClr>
            </a:solidFill>
            <a:prstDash val="solid"/>
            <a:miter lim="400000"/>
          </a:ln>
          <a:effectLst/>
        </p:spPr>
        <p:txBody>
          <a:bodyPr wrap="square" lIns="0" tIns="0" rIns="0" bIns="0" numCol="1"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1600" b="0" i="0" u="none" strike="noStrike" kern="1200" cap="none" spc="0" normalizeH="0" baseline="0" noProof="0" dirty="0">
              <a:ln>
                <a:noFill/>
              </a:ln>
              <a:solidFill>
                <a:srgbClr val="FFFFFF"/>
              </a:solidFill>
              <a:effectLst/>
              <a:uLnTx/>
              <a:uFillTx/>
              <a:latin typeface="OPPOSans R" panose="00020600040101010101" pitchFamily="18" charset="-122"/>
              <a:ea typeface="微软雅黑"/>
              <a:cs typeface="+mn-cs"/>
              <a:sym typeface="Helvetica Neue Medium"/>
            </a:endParaRPr>
          </a:p>
        </p:txBody>
      </p:sp>
      <p:sp>
        <p:nvSpPr>
          <p:cNvPr id="1040" name="gaoding-22"/>
          <p:cNvSpPr/>
          <p:nvPr/>
        </p:nvSpPr>
        <p:spPr>
          <a:xfrm rot="16200000">
            <a:off x="6535479" y="3492368"/>
            <a:ext cx="850678" cy="419468"/>
          </a:xfrm>
          <a:custGeom>
            <a:avLst/>
            <a:gdLst/>
            <a:ahLst/>
            <a:cxnLst>
              <a:cxn ang="0">
                <a:pos x="wd2" y="hd2"/>
              </a:cxn>
              <a:cxn ang="5400000">
                <a:pos x="wd2" y="hd2"/>
              </a:cxn>
              <a:cxn ang="10800000">
                <a:pos x="wd2" y="hd2"/>
              </a:cxn>
              <a:cxn ang="16200000">
                <a:pos x="wd2" y="hd2"/>
              </a:cxn>
            </a:cxnLst>
            <a:rect l="0" t="0" r="r" b="b"/>
            <a:pathLst>
              <a:path w="21600" h="21473" extrusionOk="0">
                <a:moveTo>
                  <a:pt x="0" y="21295"/>
                </a:moveTo>
                <a:lnTo>
                  <a:pt x="0" y="6662"/>
                </a:lnTo>
                <a:cubicBezTo>
                  <a:pt x="5" y="4864"/>
                  <a:pt x="369" y="3145"/>
                  <a:pt x="1010" y="1893"/>
                </a:cubicBezTo>
                <a:cubicBezTo>
                  <a:pt x="1695" y="555"/>
                  <a:pt x="2632" y="-127"/>
                  <a:pt x="3583" y="20"/>
                </a:cubicBezTo>
                <a:lnTo>
                  <a:pt x="18369" y="20"/>
                </a:lnTo>
                <a:cubicBezTo>
                  <a:pt x="19320" y="43"/>
                  <a:pt x="20219" y="897"/>
                  <a:pt x="20833" y="2361"/>
                </a:cubicBezTo>
                <a:cubicBezTo>
                  <a:pt x="21322" y="3526"/>
                  <a:pt x="21593" y="5000"/>
                  <a:pt x="21600" y="6527"/>
                </a:cubicBezTo>
                <a:lnTo>
                  <a:pt x="21600" y="21473"/>
                </a:lnTo>
              </a:path>
            </a:pathLst>
          </a:custGeom>
          <a:noFill/>
          <a:ln w="25400" cap="flat">
            <a:solidFill>
              <a:schemeClr val="accent6">
                <a:lumMod val="40000"/>
                <a:lumOff val="60000"/>
              </a:schemeClr>
            </a:solidFill>
            <a:prstDash val="solid"/>
            <a:miter lim="400000"/>
          </a:ln>
          <a:effectLst/>
        </p:spPr>
        <p:txBody>
          <a:bodyPr wrap="square" lIns="0" tIns="0" rIns="0" bIns="0" numCol="1"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1600" b="0" i="0" u="none" strike="noStrike" kern="1200" cap="none" spc="0" normalizeH="0" baseline="0" noProof="0" dirty="0">
              <a:ln>
                <a:noFill/>
              </a:ln>
              <a:solidFill>
                <a:srgbClr val="FFFFFF"/>
              </a:solidFill>
              <a:effectLst/>
              <a:uLnTx/>
              <a:uFillTx/>
              <a:latin typeface="OPPOSans R" panose="00020600040101010101" pitchFamily="18" charset="-122"/>
              <a:ea typeface="微软雅黑"/>
              <a:cs typeface="+mn-cs"/>
              <a:sym typeface="Helvetica Neue Medium"/>
            </a:endParaRPr>
          </a:p>
        </p:txBody>
      </p:sp>
      <p:sp>
        <p:nvSpPr>
          <p:cNvPr id="1041" name="gaoding-23"/>
          <p:cNvSpPr/>
          <p:nvPr/>
        </p:nvSpPr>
        <p:spPr>
          <a:xfrm>
            <a:off x="7156071" y="3102992"/>
            <a:ext cx="1492636" cy="329165"/>
          </a:xfrm>
          <a:custGeom>
            <a:avLst/>
            <a:gdLst/>
            <a:ahLst/>
            <a:cxnLst>
              <a:cxn ang="0">
                <a:pos x="wd2" y="hd2"/>
              </a:cxn>
              <a:cxn ang="5400000">
                <a:pos x="wd2" y="hd2"/>
              </a:cxn>
              <a:cxn ang="10800000">
                <a:pos x="wd2" y="hd2"/>
              </a:cxn>
              <a:cxn ang="16200000">
                <a:pos x="wd2" y="hd2"/>
              </a:cxn>
            </a:cxnLst>
            <a:rect l="0" t="0" r="r" b="b"/>
            <a:pathLst>
              <a:path w="21600" h="21600" extrusionOk="0">
                <a:moveTo>
                  <a:pt x="726" y="0"/>
                </a:moveTo>
                <a:lnTo>
                  <a:pt x="20874" y="0"/>
                </a:lnTo>
                <a:cubicBezTo>
                  <a:pt x="20978" y="0"/>
                  <a:pt x="21056" y="0"/>
                  <a:pt x="21123" y="20"/>
                </a:cubicBezTo>
                <a:cubicBezTo>
                  <a:pt x="21189" y="40"/>
                  <a:pt x="21244" y="81"/>
                  <a:pt x="21300" y="161"/>
                </a:cubicBezTo>
                <a:cubicBezTo>
                  <a:pt x="21361" y="263"/>
                  <a:pt x="21416" y="423"/>
                  <a:pt x="21461" y="628"/>
                </a:cubicBezTo>
                <a:cubicBezTo>
                  <a:pt x="21507" y="833"/>
                  <a:pt x="21542" y="1082"/>
                  <a:pt x="21564" y="1361"/>
                </a:cubicBezTo>
                <a:cubicBezTo>
                  <a:pt x="21582" y="1615"/>
                  <a:pt x="21591" y="1862"/>
                  <a:pt x="21596" y="2166"/>
                </a:cubicBezTo>
                <a:cubicBezTo>
                  <a:pt x="21600" y="2469"/>
                  <a:pt x="21600" y="2829"/>
                  <a:pt x="21600" y="3308"/>
                </a:cubicBezTo>
                <a:lnTo>
                  <a:pt x="21600" y="18306"/>
                </a:lnTo>
                <a:cubicBezTo>
                  <a:pt x="21600" y="18778"/>
                  <a:pt x="21600" y="19134"/>
                  <a:pt x="21596" y="19436"/>
                </a:cubicBezTo>
                <a:cubicBezTo>
                  <a:pt x="21591" y="19738"/>
                  <a:pt x="21582" y="19985"/>
                  <a:pt x="21564" y="20239"/>
                </a:cubicBezTo>
                <a:cubicBezTo>
                  <a:pt x="21542" y="20518"/>
                  <a:pt x="21507" y="20767"/>
                  <a:pt x="21461" y="20972"/>
                </a:cubicBezTo>
                <a:cubicBezTo>
                  <a:pt x="21416" y="21177"/>
                  <a:pt x="21361" y="21337"/>
                  <a:pt x="21300" y="21439"/>
                </a:cubicBezTo>
                <a:cubicBezTo>
                  <a:pt x="21244" y="21519"/>
                  <a:pt x="21189" y="21560"/>
                  <a:pt x="21122" y="21580"/>
                </a:cubicBezTo>
                <a:cubicBezTo>
                  <a:pt x="21055" y="21600"/>
                  <a:pt x="20976" y="21600"/>
                  <a:pt x="20870" y="21600"/>
                </a:cubicBezTo>
                <a:lnTo>
                  <a:pt x="726" y="21600"/>
                </a:lnTo>
                <a:cubicBezTo>
                  <a:pt x="622" y="21600"/>
                  <a:pt x="544" y="21600"/>
                  <a:pt x="477" y="21580"/>
                </a:cubicBezTo>
                <a:cubicBezTo>
                  <a:pt x="411" y="21560"/>
                  <a:pt x="356" y="21519"/>
                  <a:pt x="300" y="21439"/>
                </a:cubicBezTo>
                <a:cubicBezTo>
                  <a:pt x="239" y="21337"/>
                  <a:pt x="184" y="21177"/>
                  <a:pt x="139" y="20972"/>
                </a:cubicBezTo>
                <a:cubicBezTo>
                  <a:pt x="93" y="20767"/>
                  <a:pt x="58" y="20518"/>
                  <a:pt x="36" y="20239"/>
                </a:cubicBezTo>
                <a:cubicBezTo>
                  <a:pt x="18" y="19985"/>
                  <a:pt x="9" y="19738"/>
                  <a:pt x="4" y="19434"/>
                </a:cubicBezTo>
                <a:cubicBezTo>
                  <a:pt x="0" y="19131"/>
                  <a:pt x="0" y="18771"/>
                  <a:pt x="0" y="18292"/>
                </a:cubicBezTo>
                <a:lnTo>
                  <a:pt x="0" y="3294"/>
                </a:lnTo>
                <a:cubicBezTo>
                  <a:pt x="0" y="2822"/>
                  <a:pt x="0" y="2466"/>
                  <a:pt x="4" y="2164"/>
                </a:cubicBezTo>
                <a:cubicBezTo>
                  <a:pt x="9" y="1862"/>
                  <a:pt x="18" y="1615"/>
                  <a:pt x="36" y="1361"/>
                </a:cubicBezTo>
                <a:cubicBezTo>
                  <a:pt x="58" y="1082"/>
                  <a:pt x="93" y="833"/>
                  <a:pt x="139" y="628"/>
                </a:cubicBezTo>
                <a:cubicBezTo>
                  <a:pt x="184" y="423"/>
                  <a:pt x="239" y="263"/>
                  <a:pt x="300" y="161"/>
                </a:cubicBezTo>
                <a:cubicBezTo>
                  <a:pt x="356" y="81"/>
                  <a:pt x="411" y="40"/>
                  <a:pt x="478" y="20"/>
                </a:cubicBezTo>
                <a:cubicBezTo>
                  <a:pt x="545" y="0"/>
                  <a:pt x="624" y="0"/>
                  <a:pt x="730" y="0"/>
                </a:cubicBezTo>
                <a:lnTo>
                  <a:pt x="726" y="0"/>
                </a:lnTo>
                <a:close/>
              </a:path>
            </a:pathLst>
          </a:custGeom>
          <a:solidFill>
            <a:schemeClr val="accent3">
              <a:lumMod val="20000"/>
              <a:lumOff val="80000"/>
            </a:schemeClr>
          </a:solidFill>
          <a:ln w="12700" cap="flat">
            <a:noFill/>
            <a:miter lim="400000"/>
          </a:ln>
          <a:effectLst/>
        </p:spPr>
        <p:txBody>
          <a:bodyPr wrap="square" lIns="0" tIns="0" rIns="0" bIns="0" numCol="1"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1600" b="0" i="0" u="none" strike="noStrike" kern="1200" cap="none" spc="0" normalizeH="0" baseline="0" noProof="0" dirty="0">
              <a:ln>
                <a:noFill/>
              </a:ln>
              <a:solidFill>
                <a:srgbClr val="FFFFFF"/>
              </a:solidFill>
              <a:effectLst/>
              <a:uLnTx/>
              <a:uFillTx/>
              <a:latin typeface="OPPOSans R" panose="00020600040101010101" pitchFamily="18" charset="-122"/>
              <a:ea typeface="微软雅黑"/>
              <a:cs typeface="+mn-cs"/>
              <a:sym typeface="Helvetica Neue Medium"/>
            </a:endParaRPr>
          </a:p>
        </p:txBody>
      </p:sp>
      <p:sp>
        <p:nvSpPr>
          <p:cNvPr id="1043" name="gaoding-24"/>
          <p:cNvSpPr/>
          <p:nvPr/>
        </p:nvSpPr>
        <p:spPr>
          <a:xfrm>
            <a:off x="7156071" y="3961442"/>
            <a:ext cx="1492636" cy="329165"/>
          </a:xfrm>
          <a:custGeom>
            <a:avLst/>
            <a:gdLst/>
            <a:ahLst/>
            <a:cxnLst>
              <a:cxn ang="0">
                <a:pos x="wd2" y="hd2"/>
              </a:cxn>
              <a:cxn ang="5400000">
                <a:pos x="wd2" y="hd2"/>
              </a:cxn>
              <a:cxn ang="10800000">
                <a:pos x="wd2" y="hd2"/>
              </a:cxn>
              <a:cxn ang="16200000">
                <a:pos x="wd2" y="hd2"/>
              </a:cxn>
            </a:cxnLst>
            <a:rect l="0" t="0" r="r" b="b"/>
            <a:pathLst>
              <a:path w="21600" h="21600" extrusionOk="0">
                <a:moveTo>
                  <a:pt x="726" y="0"/>
                </a:moveTo>
                <a:lnTo>
                  <a:pt x="20874" y="0"/>
                </a:lnTo>
                <a:cubicBezTo>
                  <a:pt x="20978" y="0"/>
                  <a:pt x="21056" y="0"/>
                  <a:pt x="21123" y="20"/>
                </a:cubicBezTo>
                <a:cubicBezTo>
                  <a:pt x="21189" y="40"/>
                  <a:pt x="21244" y="81"/>
                  <a:pt x="21300" y="161"/>
                </a:cubicBezTo>
                <a:cubicBezTo>
                  <a:pt x="21361" y="263"/>
                  <a:pt x="21416" y="423"/>
                  <a:pt x="21461" y="628"/>
                </a:cubicBezTo>
                <a:cubicBezTo>
                  <a:pt x="21507" y="833"/>
                  <a:pt x="21542" y="1082"/>
                  <a:pt x="21564" y="1361"/>
                </a:cubicBezTo>
                <a:cubicBezTo>
                  <a:pt x="21582" y="1615"/>
                  <a:pt x="21591" y="1862"/>
                  <a:pt x="21596" y="2166"/>
                </a:cubicBezTo>
                <a:cubicBezTo>
                  <a:pt x="21600" y="2469"/>
                  <a:pt x="21600" y="2829"/>
                  <a:pt x="21600" y="3308"/>
                </a:cubicBezTo>
                <a:lnTo>
                  <a:pt x="21600" y="18306"/>
                </a:lnTo>
                <a:cubicBezTo>
                  <a:pt x="21600" y="18778"/>
                  <a:pt x="21600" y="19134"/>
                  <a:pt x="21596" y="19436"/>
                </a:cubicBezTo>
                <a:cubicBezTo>
                  <a:pt x="21591" y="19738"/>
                  <a:pt x="21582" y="19985"/>
                  <a:pt x="21564" y="20239"/>
                </a:cubicBezTo>
                <a:cubicBezTo>
                  <a:pt x="21542" y="20518"/>
                  <a:pt x="21507" y="20767"/>
                  <a:pt x="21461" y="20972"/>
                </a:cubicBezTo>
                <a:cubicBezTo>
                  <a:pt x="21416" y="21177"/>
                  <a:pt x="21361" y="21337"/>
                  <a:pt x="21300" y="21439"/>
                </a:cubicBezTo>
                <a:cubicBezTo>
                  <a:pt x="21244" y="21519"/>
                  <a:pt x="21189" y="21560"/>
                  <a:pt x="21122" y="21580"/>
                </a:cubicBezTo>
                <a:cubicBezTo>
                  <a:pt x="21055" y="21600"/>
                  <a:pt x="20976" y="21600"/>
                  <a:pt x="20870" y="21600"/>
                </a:cubicBezTo>
                <a:lnTo>
                  <a:pt x="726" y="21600"/>
                </a:lnTo>
                <a:cubicBezTo>
                  <a:pt x="622" y="21600"/>
                  <a:pt x="544" y="21600"/>
                  <a:pt x="477" y="21580"/>
                </a:cubicBezTo>
                <a:cubicBezTo>
                  <a:pt x="411" y="21560"/>
                  <a:pt x="356" y="21519"/>
                  <a:pt x="300" y="21439"/>
                </a:cubicBezTo>
                <a:cubicBezTo>
                  <a:pt x="239" y="21337"/>
                  <a:pt x="184" y="21177"/>
                  <a:pt x="139" y="20972"/>
                </a:cubicBezTo>
                <a:cubicBezTo>
                  <a:pt x="93" y="20767"/>
                  <a:pt x="58" y="20518"/>
                  <a:pt x="36" y="20239"/>
                </a:cubicBezTo>
                <a:cubicBezTo>
                  <a:pt x="18" y="19985"/>
                  <a:pt x="9" y="19738"/>
                  <a:pt x="4" y="19434"/>
                </a:cubicBezTo>
                <a:cubicBezTo>
                  <a:pt x="0" y="19131"/>
                  <a:pt x="0" y="18771"/>
                  <a:pt x="0" y="18292"/>
                </a:cubicBezTo>
                <a:lnTo>
                  <a:pt x="0" y="3294"/>
                </a:lnTo>
                <a:cubicBezTo>
                  <a:pt x="0" y="2822"/>
                  <a:pt x="0" y="2466"/>
                  <a:pt x="4" y="2164"/>
                </a:cubicBezTo>
                <a:cubicBezTo>
                  <a:pt x="9" y="1862"/>
                  <a:pt x="18" y="1615"/>
                  <a:pt x="36" y="1361"/>
                </a:cubicBezTo>
                <a:cubicBezTo>
                  <a:pt x="58" y="1082"/>
                  <a:pt x="93" y="833"/>
                  <a:pt x="139" y="628"/>
                </a:cubicBezTo>
                <a:cubicBezTo>
                  <a:pt x="184" y="423"/>
                  <a:pt x="239" y="263"/>
                  <a:pt x="300" y="161"/>
                </a:cubicBezTo>
                <a:cubicBezTo>
                  <a:pt x="356" y="81"/>
                  <a:pt x="411" y="40"/>
                  <a:pt x="478" y="20"/>
                </a:cubicBezTo>
                <a:cubicBezTo>
                  <a:pt x="545" y="0"/>
                  <a:pt x="624" y="0"/>
                  <a:pt x="730" y="0"/>
                </a:cubicBezTo>
                <a:lnTo>
                  <a:pt x="726" y="0"/>
                </a:lnTo>
                <a:close/>
              </a:path>
            </a:pathLst>
          </a:custGeom>
          <a:solidFill>
            <a:schemeClr val="accent3">
              <a:lumMod val="20000"/>
              <a:lumOff val="80000"/>
            </a:schemeClr>
          </a:solidFill>
          <a:ln w="12700" cap="flat">
            <a:noFill/>
            <a:miter lim="400000"/>
          </a:ln>
          <a:effectLst/>
        </p:spPr>
        <p:txBody>
          <a:bodyPr wrap="square" lIns="0" tIns="0" rIns="0" bIns="0" numCol="1"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1600" b="0" i="0" u="none" strike="noStrike" kern="1200" cap="none" spc="0" normalizeH="0" baseline="0" noProof="0" dirty="0">
              <a:ln>
                <a:noFill/>
              </a:ln>
              <a:solidFill>
                <a:srgbClr val="FFFFFF"/>
              </a:solidFill>
              <a:effectLst/>
              <a:uLnTx/>
              <a:uFillTx/>
              <a:latin typeface="OPPOSans R" panose="00020600040101010101" pitchFamily="18" charset="-122"/>
              <a:ea typeface="微软雅黑"/>
              <a:cs typeface="+mn-cs"/>
              <a:sym typeface="Helvetica Neue Medium"/>
            </a:endParaRPr>
          </a:p>
        </p:txBody>
      </p:sp>
      <p:sp>
        <p:nvSpPr>
          <p:cNvPr id="1045" name="gaoding-25"/>
          <p:cNvSpPr/>
          <p:nvPr/>
        </p:nvSpPr>
        <p:spPr>
          <a:xfrm>
            <a:off x="3733515" y="3703997"/>
            <a:ext cx="425817" cy="0"/>
          </a:xfrm>
          <a:prstGeom prst="line">
            <a:avLst/>
          </a:prstGeom>
          <a:noFill/>
          <a:ln w="25400" cap="flat">
            <a:solidFill>
              <a:schemeClr val="accent6">
                <a:lumMod val="40000"/>
                <a:lumOff val="60000"/>
              </a:schemeClr>
            </a:solidFill>
            <a:prstDash val="solid"/>
            <a:miter lim="400000"/>
          </a:ln>
          <a:effectLst/>
        </p:spPr>
        <p:txBody>
          <a:bodyPr wrap="square" lIns="0" tIns="0" rIns="0" bIns="0" numCol="1"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1600" b="0" i="0" u="none" strike="noStrike" kern="1200" cap="none" spc="0" normalizeH="0" baseline="0" noProof="0" dirty="0">
              <a:ln>
                <a:noFill/>
              </a:ln>
              <a:solidFill>
                <a:srgbClr val="FFFFFF"/>
              </a:solidFill>
              <a:effectLst/>
              <a:uLnTx/>
              <a:uFillTx/>
              <a:latin typeface="OPPOSans R" panose="00020600040101010101" pitchFamily="18" charset="-122"/>
              <a:ea typeface="微软雅黑"/>
              <a:cs typeface="+mn-cs"/>
              <a:sym typeface="Helvetica Neue Medium"/>
            </a:endParaRPr>
          </a:p>
        </p:txBody>
      </p:sp>
      <p:sp>
        <p:nvSpPr>
          <p:cNvPr id="1046" name="gaoding-26"/>
          <p:cNvSpPr/>
          <p:nvPr/>
        </p:nvSpPr>
        <p:spPr>
          <a:xfrm rot="16200000">
            <a:off x="2228590" y="3587555"/>
            <a:ext cx="3606578" cy="228967"/>
          </a:xfrm>
          <a:custGeom>
            <a:avLst/>
            <a:gdLst/>
            <a:ahLst/>
            <a:cxnLst>
              <a:cxn ang="0">
                <a:pos x="wd2" y="hd2"/>
              </a:cxn>
              <a:cxn ang="5400000">
                <a:pos x="wd2" y="hd2"/>
              </a:cxn>
              <a:cxn ang="10800000">
                <a:pos x="wd2" y="hd2"/>
              </a:cxn>
              <a:cxn ang="16200000">
                <a:pos x="wd2" y="hd2"/>
              </a:cxn>
            </a:cxnLst>
            <a:rect l="0" t="0" r="r" b="b"/>
            <a:pathLst>
              <a:path w="21600" h="21368" extrusionOk="0">
                <a:moveTo>
                  <a:pt x="0" y="21043"/>
                </a:moveTo>
                <a:lnTo>
                  <a:pt x="0" y="12146"/>
                </a:lnTo>
                <a:cubicBezTo>
                  <a:pt x="1" y="8866"/>
                  <a:pt x="87" y="5733"/>
                  <a:pt x="238" y="3451"/>
                </a:cubicBezTo>
                <a:cubicBezTo>
                  <a:pt x="400" y="1011"/>
                  <a:pt x="621" y="-232"/>
                  <a:pt x="845" y="35"/>
                </a:cubicBezTo>
                <a:lnTo>
                  <a:pt x="20838" y="35"/>
                </a:lnTo>
                <a:cubicBezTo>
                  <a:pt x="21062" y="77"/>
                  <a:pt x="21274" y="1634"/>
                  <a:pt x="21419" y="4303"/>
                </a:cubicBezTo>
                <a:cubicBezTo>
                  <a:pt x="21534" y="6428"/>
                  <a:pt x="21598" y="9115"/>
                  <a:pt x="21600" y="11898"/>
                </a:cubicBezTo>
                <a:lnTo>
                  <a:pt x="21600" y="21368"/>
                </a:lnTo>
              </a:path>
            </a:pathLst>
          </a:custGeom>
          <a:noFill/>
          <a:ln w="25400" cap="flat">
            <a:solidFill>
              <a:schemeClr val="accent6">
                <a:lumMod val="40000"/>
                <a:lumOff val="60000"/>
              </a:schemeClr>
            </a:solidFill>
            <a:prstDash val="solid"/>
            <a:miter lim="400000"/>
          </a:ln>
          <a:effectLst/>
        </p:spPr>
        <p:txBody>
          <a:bodyPr wrap="square" lIns="0" tIns="0" rIns="0" bIns="0" numCol="1"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1600" b="0" i="0" u="none" strike="noStrike" kern="1200" cap="none" spc="0" normalizeH="0" baseline="0" noProof="0" dirty="0">
              <a:ln>
                <a:noFill/>
              </a:ln>
              <a:solidFill>
                <a:srgbClr val="FFFFFF"/>
              </a:solidFill>
              <a:effectLst/>
              <a:uLnTx/>
              <a:uFillTx/>
              <a:latin typeface="OPPOSans R" panose="00020600040101010101" pitchFamily="18" charset="-122"/>
              <a:ea typeface="微软雅黑"/>
              <a:cs typeface="+mn-cs"/>
              <a:sym typeface="Helvetica Neue Medium"/>
            </a:endParaRPr>
          </a:p>
        </p:txBody>
      </p:sp>
      <p:sp>
        <p:nvSpPr>
          <p:cNvPr id="1047" name="gaoding-27"/>
          <p:cNvSpPr/>
          <p:nvPr/>
        </p:nvSpPr>
        <p:spPr>
          <a:xfrm>
            <a:off x="1116490" y="3408795"/>
            <a:ext cx="2621426" cy="588765"/>
          </a:xfrm>
          <a:custGeom>
            <a:avLst/>
            <a:gdLst/>
            <a:ahLst/>
            <a:cxnLst>
              <a:cxn ang="0">
                <a:pos x="wd2" y="hd2"/>
              </a:cxn>
              <a:cxn ang="5400000">
                <a:pos x="wd2" y="hd2"/>
              </a:cxn>
              <a:cxn ang="10800000">
                <a:pos x="wd2" y="hd2"/>
              </a:cxn>
              <a:cxn ang="16200000">
                <a:pos x="wd2" y="hd2"/>
              </a:cxn>
            </a:cxnLst>
            <a:rect l="0" t="0" r="r" b="b"/>
            <a:pathLst>
              <a:path w="21600" h="21600" extrusionOk="0">
                <a:moveTo>
                  <a:pt x="2426" y="0"/>
                </a:moveTo>
                <a:lnTo>
                  <a:pt x="19174" y="0"/>
                </a:lnTo>
                <a:lnTo>
                  <a:pt x="19174" y="0"/>
                </a:lnTo>
                <a:cubicBezTo>
                  <a:pt x="20514" y="0"/>
                  <a:pt x="21600" y="4835"/>
                  <a:pt x="21600" y="10800"/>
                </a:cubicBezTo>
                <a:lnTo>
                  <a:pt x="21600" y="10800"/>
                </a:lnTo>
                <a:lnTo>
                  <a:pt x="21600" y="10800"/>
                </a:lnTo>
                <a:cubicBezTo>
                  <a:pt x="21600" y="13782"/>
                  <a:pt x="21328" y="16482"/>
                  <a:pt x="20890" y="18437"/>
                </a:cubicBezTo>
                <a:cubicBezTo>
                  <a:pt x="20451" y="20391"/>
                  <a:pt x="19844" y="21600"/>
                  <a:pt x="19174" y="21600"/>
                </a:cubicBezTo>
                <a:lnTo>
                  <a:pt x="19174" y="21600"/>
                </a:lnTo>
                <a:lnTo>
                  <a:pt x="2426" y="21600"/>
                </a:lnTo>
                <a:lnTo>
                  <a:pt x="2426" y="21600"/>
                </a:lnTo>
                <a:cubicBezTo>
                  <a:pt x="1086" y="21600"/>
                  <a:pt x="0" y="16765"/>
                  <a:pt x="0" y="10800"/>
                </a:cubicBezTo>
                <a:lnTo>
                  <a:pt x="0" y="10800"/>
                </a:lnTo>
                <a:lnTo>
                  <a:pt x="0" y="10800"/>
                </a:lnTo>
                <a:cubicBezTo>
                  <a:pt x="0" y="4835"/>
                  <a:pt x="1086" y="0"/>
                  <a:pt x="2426" y="0"/>
                </a:cubicBezTo>
                <a:lnTo>
                  <a:pt x="2426" y="0"/>
                </a:lnTo>
                <a:close/>
              </a:path>
            </a:pathLst>
          </a:custGeom>
          <a:gradFill flip="none" rotWithShape="1">
            <a:gsLst>
              <a:gs pos="1000">
                <a:schemeClr val="accent1"/>
              </a:gs>
              <a:gs pos="100000">
                <a:schemeClr val="accent1">
                  <a:lumMod val="60000"/>
                  <a:lumOff val="40000"/>
                </a:schemeClr>
              </a:gs>
            </a:gsLst>
            <a:lin ang="27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5720" tIns="22860" rIns="45720" bIns="228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FFFFFF"/>
              </a:solidFill>
              <a:effectLst/>
              <a:uLnTx/>
              <a:uFillTx/>
              <a:latin typeface="OPPOSans R" panose="00020600040101010101" pitchFamily="18" charset="-122"/>
              <a:ea typeface="微软雅黑"/>
              <a:cs typeface="+mn-cs"/>
            </a:endParaRPr>
          </a:p>
        </p:txBody>
      </p:sp>
      <p:sp>
        <p:nvSpPr>
          <p:cNvPr id="61" name="gaoding-28">
            <a:extLst>
              <a:ext uri="{FF2B5EF4-FFF2-40B4-BE49-F238E27FC236}">
                <a16:creationId xmlns:a16="http://schemas.microsoft.com/office/drawing/2014/main" id="{C3D308B0-92CD-4598-A107-50C2F7875C35}"/>
              </a:ext>
            </a:extLst>
          </p:cNvPr>
          <p:cNvSpPr txBox="1"/>
          <p:nvPr/>
        </p:nvSpPr>
        <p:spPr>
          <a:xfrm>
            <a:off x="1621089" y="3523101"/>
            <a:ext cx="1493452" cy="389850"/>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25400" tIns="25400" rIns="25400" bIns="25400" numCol="1" anchor="t">
            <a:spAutoFit/>
          </a:bodyPr>
          <a:lstStyle>
            <a:lvl1pPr algn="l">
              <a:defRPr sz="2800" b="0">
                <a:solidFill>
                  <a:srgbClr val="FFFFFF"/>
                </a:solidFill>
                <a:latin typeface="Barlow Bold"/>
                <a:ea typeface="Barlow Bold"/>
                <a:cs typeface="Barlow Bold"/>
                <a:sym typeface="Barlow Bold"/>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2200" b="1" i="0" u="none" strike="noStrike" kern="1200" cap="none" spc="0" normalizeH="0" baseline="0" noProof="0" dirty="0">
                <a:ln>
                  <a:noFill/>
                </a:ln>
                <a:solidFill>
                  <a:srgbClr val="FFFFFF"/>
                </a:solidFill>
                <a:effectLst/>
                <a:uLnTx/>
                <a:uFillTx/>
                <a:latin typeface="OPPOSans B" panose="00020600040101010101" pitchFamily="18" charset="-122"/>
                <a:ea typeface="OPPOSans B" panose="00020600040101010101" pitchFamily="18" charset="-122"/>
                <a:cs typeface="OPPOSans B" panose="00020600040101010101" pitchFamily="18" charset="-122"/>
                <a:sym typeface="Arial" panose="020B0604020202020204" pitchFamily="34" charset="0"/>
              </a:rPr>
              <a:t>秋叶</a:t>
            </a:r>
            <a:r>
              <a:rPr kumimoji="0" lang="en-US" altLang="zh-CN" sz="2200" b="1" i="0" u="none" strike="noStrike" kern="1200" cap="none" spc="0" normalizeH="0" baseline="0" noProof="0" dirty="0">
                <a:ln>
                  <a:noFill/>
                </a:ln>
                <a:solidFill>
                  <a:srgbClr val="FFFFFF"/>
                </a:solidFill>
                <a:effectLst/>
                <a:uLnTx/>
                <a:uFillTx/>
                <a:latin typeface="OPPOSans B" panose="00020600040101010101" pitchFamily="18" charset="-122"/>
                <a:ea typeface="OPPOSans B" panose="00020600040101010101" pitchFamily="18" charset="-122"/>
                <a:cs typeface="OPPOSans B" panose="00020600040101010101" pitchFamily="18" charset="-122"/>
                <a:sym typeface="Arial" panose="020B0604020202020204" pitchFamily="34" charset="0"/>
              </a:rPr>
              <a:t>PPT</a:t>
            </a:r>
            <a:endParaRPr kumimoji="0" lang="zh-CN" altLang="zh-CN" sz="2200" b="1" i="0" u="none" strike="noStrike" kern="1200" cap="none" spc="0" normalizeH="0" baseline="0" noProof="0" dirty="0">
              <a:ln>
                <a:noFill/>
              </a:ln>
              <a:solidFill>
                <a:srgbClr val="FFFFFF"/>
              </a:solidFill>
              <a:effectLst/>
              <a:uLnTx/>
              <a:uFillTx/>
              <a:latin typeface="OPPOSans B" panose="00020600040101010101" pitchFamily="18" charset="-122"/>
              <a:ea typeface="OPPOSans B" panose="00020600040101010101" pitchFamily="18" charset="-122"/>
              <a:cs typeface="OPPOSans B" panose="00020600040101010101" pitchFamily="18" charset="-122"/>
              <a:sym typeface="Arial" panose="020B0604020202020204" pitchFamily="34" charset="0"/>
            </a:endParaRPr>
          </a:p>
        </p:txBody>
      </p:sp>
      <p:grpSp>
        <p:nvGrpSpPr>
          <p:cNvPr id="62" name="gaoding-29">
            <a:extLst>
              <a:ext uri="{FF2B5EF4-FFF2-40B4-BE49-F238E27FC236}">
                <a16:creationId xmlns:a16="http://schemas.microsoft.com/office/drawing/2014/main" id="{346B17F4-B086-4169-A168-B80F72302B57}"/>
              </a:ext>
            </a:extLst>
          </p:cNvPr>
          <p:cNvGrpSpPr/>
          <p:nvPr/>
        </p:nvGrpSpPr>
        <p:grpSpPr>
          <a:xfrm>
            <a:off x="891548" y="519423"/>
            <a:ext cx="2954655" cy="786117"/>
            <a:chOff x="891548" y="488943"/>
            <a:chExt cx="2954655" cy="786117"/>
          </a:xfrm>
        </p:grpSpPr>
        <p:sp>
          <p:nvSpPr>
            <p:cNvPr id="63" name="gaoding-29-1">
              <a:extLst>
                <a:ext uri="{FF2B5EF4-FFF2-40B4-BE49-F238E27FC236}">
                  <a16:creationId xmlns:a16="http://schemas.microsoft.com/office/drawing/2014/main" id="{B404CCAA-C4FF-48D4-B627-91C5524E3F7E}"/>
                </a:ext>
              </a:extLst>
            </p:cNvPr>
            <p:cNvSpPr txBox="1"/>
            <p:nvPr/>
          </p:nvSpPr>
          <p:spPr>
            <a:xfrm>
              <a:off x="891548" y="488943"/>
              <a:ext cx="2954655"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2400" b="1" i="0" u="none" strike="noStrike" kern="1200" cap="none" spc="0" normalizeH="0" baseline="0" noProof="0" dirty="0">
                  <a:ln>
                    <a:noFill/>
                  </a:ln>
                  <a:solidFill>
                    <a:srgbClr val="000000">
                      <a:lumMod val="85000"/>
                      <a:lumOff val="15000"/>
                    </a:srgbClr>
                  </a:solidFill>
                  <a:effectLst/>
                  <a:uLnTx/>
                  <a:uFillTx/>
                  <a:latin typeface="OPPOSans B" panose="00020600040101010101" pitchFamily="18" charset="-122"/>
                  <a:ea typeface="OPPOSans B" panose="00020600040101010101" pitchFamily="18" charset="-122"/>
                  <a:cs typeface="OPPOSans B" panose="00020600040101010101" pitchFamily="18" charset="-122"/>
                  <a:sym typeface="+mn-lt"/>
                </a:rPr>
                <a:t>秋叶</a:t>
              </a:r>
              <a:r>
                <a:rPr kumimoji="0" lang="en-US" altLang="zh-CN" sz="2400" b="1" i="0" u="none" strike="noStrike" kern="1200" cap="none" spc="0" normalizeH="0" baseline="0" noProof="0" dirty="0">
                  <a:ln>
                    <a:noFill/>
                  </a:ln>
                  <a:solidFill>
                    <a:srgbClr val="000000">
                      <a:lumMod val="85000"/>
                      <a:lumOff val="15000"/>
                    </a:srgbClr>
                  </a:solidFill>
                  <a:effectLst/>
                  <a:uLnTx/>
                  <a:uFillTx/>
                  <a:latin typeface="OPPOSans B" panose="00020600040101010101" pitchFamily="18" charset="-122"/>
                  <a:ea typeface="OPPOSans B" panose="00020600040101010101" pitchFamily="18" charset="-122"/>
                  <a:cs typeface="OPPOSans B" panose="00020600040101010101" pitchFamily="18" charset="-122"/>
                  <a:sym typeface="+mn-lt"/>
                </a:rPr>
                <a:t>PPT</a:t>
              </a:r>
              <a:r>
                <a:rPr kumimoji="0" lang="zh-CN" altLang="en-US" sz="2400" b="1" i="0" u="none" strike="noStrike" kern="1200" cap="none" spc="0" normalizeH="0" baseline="0" noProof="0" dirty="0">
                  <a:ln>
                    <a:noFill/>
                  </a:ln>
                  <a:solidFill>
                    <a:srgbClr val="000000">
                      <a:lumMod val="85000"/>
                      <a:lumOff val="15000"/>
                    </a:srgbClr>
                  </a:solidFill>
                  <a:effectLst/>
                  <a:uLnTx/>
                  <a:uFillTx/>
                  <a:latin typeface="OPPOSans B" panose="00020600040101010101" pitchFamily="18" charset="-122"/>
                  <a:ea typeface="OPPOSans B" panose="00020600040101010101" pitchFamily="18" charset="-122"/>
                  <a:cs typeface="OPPOSans B" panose="00020600040101010101" pitchFamily="18" charset="-122"/>
                  <a:sym typeface="+mn-lt"/>
                </a:rPr>
                <a:t>更快更轻松</a:t>
              </a:r>
            </a:p>
          </p:txBody>
        </p:sp>
        <p:sp>
          <p:nvSpPr>
            <p:cNvPr id="64" name="gaoding-29-2">
              <a:extLst>
                <a:ext uri="{FF2B5EF4-FFF2-40B4-BE49-F238E27FC236}">
                  <a16:creationId xmlns:a16="http://schemas.microsoft.com/office/drawing/2014/main" id="{C1C80D8A-25D4-4CEB-89E6-B39DB12B4976}"/>
                </a:ext>
              </a:extLst>
            </p:cNvPr>
            <p:cNvSpPr txBox="1"/>
            <p:nvPr/>
          </p:nvSpPr>
          <p:spPr>
            <a:xfrm>
              <a:off x="917798" y="895464"/>
              <a:ext cx="1202573"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100" b="0" i="0" u="none" strike="noStrike" kern="1200" cap="none" spc="0" normalizeH="0" baseline="0" noProof="0" dirty="0">
                  <a:ln>
                    <a:noFill/>
                  </a:ln>
                  <a:solidFill>
                    <a:srgbClr val="000000">
                      <a:lumMod val="85000"/>
                      <a:lumOff val="1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sym typeface="+mn-lt"/>
                </a:rPr>
                <a:t>Add </a:t>
              </a:r>
              <a:r>
                <a:rPr kumimoji="0" lang="zh-CN" altLang="en-US" sz="1100" b="0" i="0" u="none" strike="noStrike" kern="1200" cap="none" spc="0" normalizeH="0" baseline="0" noProof="0" dirty="0">
                  <a:ln>
                    <a:noFill/>
                  </a:ln>
                  <a:solidFill>
                    <a:srgbClr val="000000">
                      <a:lumMod val="85000"/>
                      <a:lumOff val="1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sym typeface="+mn-lt"/>
                </a:rPr>
                <a:t>关键词标题</a:t>
              </a:r>
              <a:endParaRPr kumimoji="0" lang="en-US" altLang="zh-CN" sz="1100" b="0" i="0" u="none" strike="noStrike" kern="1200" cap="none" spc="0" normalizeH="0" baseline="0" noProof="0" dirty="0">
                <a:ln>
                  <a:noFill/>
                </a:ln>
                <a:solidFill>
                  <a:srgbClr val="000000">
                    <a:lumMod val="85000"/>
                    <a:lumOff val="1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sym typeface="+mn-lt"/>
              </a:endParaRPr>
            </a:p>
          </p:txBody>
        </p:sp>
        <p:sp>
          <p:nvSpPr>
            <p:cNvPr id="65" name="gaoding-29-3">
              <a:extLst>
                <a:ext uri="{FF2B5EF4-FFF2-40B4-BE49-F238E27FC236}">
                  <a16:creationId xmlns:a16="http://schemas.microsoft.com/office/drawing/2014/main" id="{F14733F1-235D-4C56-9DE9-A3024161D08C}"/>
                </a:ext>
              </a:extLst>
            </p:cNvPr>
            <p:cNvSpPr/>
            <p:nvPr/>
          </p:nvSpPr>
          <p:spPr>
            <a:xfrm>
              <a:off x="1014806" y="1195562"/>
              <a:ext cx="811658" cy="79498"/>
            </a:xfrm>
            <a:prstGeom prst="rect">
              <a:avLst/>
            </a:prstGeom>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srgbClr val="FFFFFF"/>
                </a:solidFill>
                <a:effectLst/>
                <a:uLnTx/>
                <a:uFillTx/>
                <a:latin typeface="OPPOSans R" panose="00020600040101010101" pitchFamily="18" charset="-122"/>
                <a:ea typeface="微软雅黑"/>
                <a:cs typeface="+mn-ea"/>
                <a:sym typeface="+mn-lt"/>
              </a:endParaRPr>
            </a:p>
          </p:txBody>
        </p:sp>
      </p:grpSp>
      <p:sp>
        <p:nvSpPr>
          <p:cNvPr id="69" name="gaoding-30">
            <a:extLst>
              <a:ext uri="{FF2B5EF4-FFF2-40B4-BE49-F238E27FC236}">
                <a16:creationId xmlns:a16="http://schemas.microsoft.com/office/drawing/2014/main" id="{CEE48471-927F-4005-80CD-21053BB45E8E}"/>
              </a:ext>
            </a:extLst>
          </p:cNvPr>
          <p:cNvSpPr txBox="1"/>
          <p:nvPr/>
        </p:nvSpPr>
        <p:spPr>
          <a:xfrm>
            <a:off x="7524572" y="1360200"/>
            <a:ext cx="1002103" cy="21544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400" b="0" i="0" u="none" strike="noStrike" kern="1200" cap="none" spc="0" normalizeH="0" baseline="0" noProof="0" dirty="0">
                <a:ln>
                  <a:noFill/>
                </a:ln>
                <a:solidFill>
                  <a:srgbClr val="000000">
                    <a:lumMod val="75000"/>
                    <a:lumOff val="2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rPr>
              <a:t>千款模板</a:t>
            </a:r>
          </a:p>
        </p:txBody>
      </p:sp>
      <p:sp>
        <p:nvSpPr>
          <p:cNvPr id="70" name="gaoding-31">
            <a:extLst>
              <a:ext uri="{FF2B5EF4-FFF2-40B4-BE49-F238E27FC236}">
                <a16:creationId xmlns:a16="http://schemas.microsoft.com/office/drawing/2014/main" id="{DC4C0A0E-E4DC-4F2A-B2B8-FD41BBF99F11}"/>
              </a:ext>
            </a:extLst>
          </p:cNvPr>
          <p:cNvSpPr txBox="1"/>
          <p:nvPr/>
        </p:nvSpPr>
        <p:spPr>
          <a:xfrm>
            <a:off x="7561348" y="2222723"/>
            <a:ext cx="1002103" cy="21544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400" b="0" i="0" u="none" strike="noStrike" kern="1200" cap="none" spc="0" normalizeH="0" baseline="0" noProof="0" dirty="0">
                <a:ln>
                  <a:noFill/>
                </a:ln>
                <a:solidFill>
                  <a:srgbClr val="000000">
                    <a:lumMod val="75000"/>
                    <a:lumOff val="2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rPr>
              <a:t>海量库存</a:t>
            </a:r>
          </a:p>
        </p:txBody>
      </p:sp>
      <p:sp>
        <p:nvSpPr>
          <p:cNvPr id="71" name="gaoding-32">
            <a:extLst>
              <a:ext uri="{FF2B5EF4-FFF2-40B4-BE49-F238E27FC236}">
                <a16:creationId xmlns:a16="http://schemas.microsoft.com/office/drawing/2014/main" id="{02F42BC3-8CBF-4326-9F25-68C053D25C55}"/>
              </a:ext>
            </a:extLst>
          </p:cNvPr>
          <p:cNvSpPr txBox="1"/>
          <p:nvPr/>
        </p:nvSpPr>
        <p:spPr>
          <a:xfrm>
            <a:off x="7524572" y="3167473"/>
            <a:ext cx="1002103" cy="21544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400" b="0" i="0" u="none" strike="noStrike" kern="1200" cap="none" spc="0" normalizeH="0" baseline="0" noProof="0" dirty="0">
                <a:ln>
                  <a:noFill/>
                </a:ln>
                <a:solidFill>
                  <a:srgbClr val="000000">
                    <a:lumMod val="75000"/>
                    <a:lumOff val="2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rPr>
              <a:t>千款模板</a:t>
            </a:r>
          </a:p>
        </p:txBody>
      </p:sp>
      <p:sp>
        <p:nvSpPr>
          <p:cNvPr id="72" name="gaoding-33">
            <a:extLst>
              <a:ext uri="{FF2B5EF4-FFF2-40B4-BE49-F238E27FC236}">
                <a16:creationId xmlns:a16="http://schemas.microsoft.com/office/drawing/2014/main" id="{88CEE73E-3260-47CE-9216-5288D3D14D19}"/>
              </a:ext>
            </a:extLst>
          </p:cNvPr>
          <p:cNvSpPr txBox="1"/>
          <p:nvPr/>
        </p:nvSpPr>
        <p:spPr>
          <a:xfrm>
            <a:off x="7561348" y="4029996"/>
            <a:ext cx="1002103" cy="21544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400" b="0" i="0" u="none" strike="noStrike" kern="1200" cap="none" spc="0" normalizeH="0" baseline="0" noProof="0" dirty="0">
                <a:ln>
                  <a:noFill/>
                </a:ln>
                <a:solidFill>
                  <a:srgbClr val="000000">
                    <a:lumMod val="75000"/>
                    <a:lumOff val="2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rPr>
              <a:t>海量库存</a:t>
            </a:r>
          </a:p>
        </p:txBody>
      </p:sp>
      <p:sp>
        <p:nvSpPr>
          <p:cNvPr id="73" name="gaoding-34">
            <a:extLst>
              <a:ext uri="{FF2B5EF4-FFF2-40B4-BE49-F238E27FC236}">
                <a16:creationId xmlns:a16="http://schemas.microsoft.com/office/drawing/2014/main" id="{0DF94404-D028-4211-8865-DF87E8CBAA7E}"/>
              </a:ext>
            </a:extLst>
          </p:cNvPr>
          <p:cNvSpPr txBox="1"/>
          <p:nvPr/>
        </p:nvSpPr>
        <p:spPr>
          <a:xfrm>
            <a:off x="7524572" y="4960778"/>
            <a:ext cx="1002103" cy="21544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400" b="0" i="0" u="none" strike="noStrike" kern="1200" cap="none" spc="0" normalizeH="0" baseline="0" noProof="0" dirty="0">
                <a:ln>
                  <a:noFill/>
                </a:ln>
                <a:solidFill>
                  <a:srgbClr val="000000">
                    <a:lumMod val="75000"/>
                    <a:lumOff val="2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rPr>
              <a:t>千款模板</a:t>
            </a:r>
          </a:p>
        </p:txBody>
      </p:sp>
      <p:sp>
        <p:nvSpPr>
          <p:cNvPr id="74" name="gaoding-35">
            <a:extLst>
              <a:ext uri="{FF2B5EF4-FFF2-40B4-BE49-F238E27FC236}">
                <a16:creationId xmlns:a16="http://schemas.microsoft.com/office/drawing/2014/main" id="{B1DE85F5-3B77-4E80-A9BE-E9B791850D5F}"/>
              </a:ext>
            </a:extLst>
          </p:cNvPr>
          <p:cNvSpPr txBox="1"/>
          <p:nvPr/>
        </p:nvSpPr>
        <p:spPr>
          <a:xfrm>
            <a:off x="7561348" y="5823301"/>
            <a:ext cx="1002103" cy="21544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400" b="0" i="0" u="none" strike="noStrike" kern="1200" cap="none" spc="0" normalizeH="0" baseline="0" noProof="0" dirty="0">
                <a:ln>
                  <a:noFill/>
                </a:ln>
                <a:solidFill>
                  <a:srgbClr val="000000">
                    <a:lumMod val="75000"/>
                    <a:lumOff val="2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rPr>
              <a:t>海量库存</a:t>
            </a:r>
          </a:p>
        </p:txBody>
      </p:sp>
      <p:sp>
        <p:nvSpPr>
          <p:cNvPr id="75" name="gaoding-36">
            <a:extLst>
              <a:ext uri="{FF2B5EF4-FFF2-40B4-BE49-F238E27FC236}">
                <a16:creationId xmlns:a16="http://schemas.microsoft.com/office/drawing/2014/main" id="{BA00ED62-2F8A-4D4D-938E-F3E757EECB42}"/>
              </a:ext>
            </a:extLst>
          </p:cNvPr>
          <p:cNvSpPr txBox="1"/>
          <p:nvPr/>
        </p:nvSpPr>
        <p:spPr>
          <a:xfrm>
            <a:off x="9521480" y="1196754"/>
            <a:ext cx="1002103" cy="21544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400" b="0" i="0" u="none" strike="noStrike" kern="1200" cap="none" spc="0" normalizeH="0" baseline="0" noProof="0" dirty="0">
                <a:ln>
                  <a:noFill/>
                </a:ln>
                <a:solidFill>
                  <a:srgbClr val="000000">
                    <a:lumMod val="65000"/>
                    <a:lumOff val="3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rPr>
              <a:t>秋叶</a:t>
            </a:r>
            <a:r>
              <a:rPr kumimoji="0" lang="en-US" altLang="zh-CN" sz="1400" b="0" i="0" u="none" strike="noStrike" kern="1200" cap="none" spc="0" normalizeH="0" baseline="0" noProof="0" dirty="0">
                <a:ln>
                  <a:noFill/>
                </a:ln>
                <a:solidFill>
                  <a:srgbClr val="000000">
                    <a:lumMod val="65000"/>
                    <a:lumOff val="3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rPr>
              <a:t>PPT</a:t>
            </a:r>
            <a:endParaRPr kumimoji="0" lang="zh-CN" altLang="en-US" sz="1400" b="0" i="0" u="none" strike="noStrike" kern="1200" cap="none" spc="0" normalizeH="0" baseline="0" noProof="0" dirty="0">
              <a:ln>
                <a:noFill/>
              </a:ln>
              <a:solidFill>
                <a:srgbClr val="000000">
                  <a:lumMod val="65000"/>
                  <a:lumOff val="3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p:txBody>
      </p:sp>
      <p:sp>
        <p:nvSpPr>
          <p:cNvPr id="76" name="gaoding-37">
            <a:extLst>
              <a:ext uri="{FF2B5EF4-FFF2-40B4-BE49-F238E27FC236}">
                <a16:creationId xmlns:a16="http://schemas.microsoft.com/office/drawing/2014/main" id="{6BE6488F-304C-488E-8892-09F23B13A1BA}"/>
              </a:ext>
            </a:extLst>
          </p:cNvPr>
          <p:cNvSpPr txBox="1"/>
          <p:nvPr/>
        </p:nvSpPr>
        <p:spPr>
          <a:xfrm>
            <a:off x="9521480" y="1545148"/>
            <a:ext cx="1002103" cy="21544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400" b="0" i="0" u="none" strike="noStrike" kern="1200" cap="none" spc="0" normalizeH="0" baseline="0" noProof="0" dirty="0">
                <a:ln>
                  <a:noFill/>
                </a:ln>
                <a:solidFill>
                  <a:srgbClr val="000000">
                    <a:lumMod val="65000"/>
                    <a:lumOff val="3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rPr>
              <a:t>秋叶</a:t>
            </a:r>
            <a:r>
              <a:rPr kumimoji="0" lang="en-US" altLang="zh-CN" sz="1400" b="0" i="0" u="none" strike="noStrike" kern="1200" cap="none" spc="0" normalizeH="0" baseline="0" noProof="0" dirty="0">
                <a:ln>
                  <a:noFill/>
                </a:ln>
                <a:solidFill>
                  <a:srgbClr val="000000">
                    <a:lumMod val="65000"/>
                    <a:lumOff val="3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rPr>
              <a:t>PPT</a:t>
            </a:r>
            <a:endParaRPr kumimoji="0" lang="zh-CN" altLang="en-US" sz="1400" b="0" i="0" u="none" strike="noStrike" kern="1200" cap="none" spc="0" normalizeH="0" baseline="0" noProof="0" dirty="0">
              <a:ln>
                <a:noFill/>
              </a:ln>
              <a:solidFill>
                <a:srgbClr val="000000">
                  <a:lumMod val="65000"/>
                  <a:lumOff val="3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p:txBody>
      </p:sp>
      <p:sp>
        <p:nvSpPr>
          <p:cNvPr id="77" name="gaoding-38">
            <a:extLst>
              <a:ext uri="{FF2B5EF4-FFF2-40B4-BE49-F238E27FC236}">
                <a16:creationId xmlns:a16="http://schemas.microsoft.com/office/drawing/2014/main" id="{6EA1DFB8-C6D3-48DA-918F-A7FF49E940AC}"/>
              </a:ext>
            </a:extLst>
          </p:cNvPr>
          <p:cNvSpPr txBox="1"/>
          <p:nvPr/>
        </p:nvSpPr>
        <p:spPr>
          <a:xfrm>
            <a:off x="9521480" y="2058359"/>
            <a:ext cx="1002103" cy="21544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400" b="0" i="0" u="none" strike="noStrike" kern="1200" cap="none" spc="0" normalizeH="0" baseline="0" noProof="0" dirty="0">
                <a:ln>
                  <a:noFill/>
                </a:ln>
                <a:solidFill>
                  <a:srgbClr val="000000">
                    <a:lumMod val="65000"/>
                    <a:lumOff val="3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rPr>
              <a:t>秋叶</a:t>
            </a:r>
            <a:r>
              <a:rPr kumimoji="0" lang="en-US" altLang="zh-CN" sz="1400" b="0" i="0" u="none" strike="noStrike" kern="1200" cap="none" spc="0" normalizeH="0" baseline="0" noProof="0" dirty="0">
                <a:ln>
                  <a:noFill/>
                </a:ln>
                <a:solidFill>
                  <a:srgbClr val="000000">
                    <a:lumMod val="65000"/>
                    <a:lumOff val="3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rPr>
              <a:t>PPT</a:t>
            </a:r>
            <a:endParaRPr kumimoji="0" lang="zh-CN" altLang="en-US" sz="1400" b="0" i="0" u="none" strike="noStrike" kern="1200" cap="none" spc="0" normalizeH="0" baseline="0" noProof="0" dirty="0">
              <a:ln>
                <a:noFill/>
              </a:ln>
              <a:solidFill>
                <a:srgbClr val="000000">
                  <a:lumMod val="65000"/>
                  <a:lumOff val="3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p:txBody>
      </p:sp>
      <p:sp>
        <p:nvSpPr>
          <p:cNvPr id="78" name="gaoding-39">
            <a:extLst>
              <a:ext uri="{FF2B5EF4-FFF2-40B4-BE49-F238E27FC236}">
                <a16:creationId xmlns:a16="http://schemas.microsoft.com/office/drawing/2014/main" id="{9200AFBA-E7A9-4989-A507-7347DA014913}"/>
              </a:ext>
            </a:extLst>
          </p:cNvPr>
          <p:cNvSpPr txBox="1"/>
          <p:nvPr/>
        </p:nvSpPr>
        <p:spPr>
          <a:xfrm>
            <a:off x="9521480" y="2406753"/>
            <a:ext cx="1002103" cy="21544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400" b="0" i="0" u="none" strike="noStrike" kern="1200" cap="none" spc="0" normalizeH="0" baseline="0" noProof="0" dirty="0">
                <a:ln>
                  <a:noFill/>
                </a:ln>
                <a:solidFill>
                  <a:srgbClr val="000000">
                    <a:lumMod val="65000"/>
                    <a:lumOff val="3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rPr>
              <a:t>秋叶</a:t>
            </a:r>
            <a:r>
              <a:rPr kumimoji="0" lang="en-US" altLang="zh-CN" sz="1400" b="0" i="0" u="none" strike="noStrike" kern="1200" cap="none" spc="0" normalizeH="0" baseline="0" noProof="0" dirty="0">
                <a:ln>
                  <a:noFill/>
                </a:ln>
                <a:solidFill>
                  <a:srgbClr val="000000">
                    <a:lumMod val="65000"/>
                    <a:lumOff val="3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rPr>
              <a:t>PPT</a:t>
            </a:r>
            <a:endParaRPr kumimoji="0" lang="zh-CN" altLang="en-US" sz="1400" b="0" i="0" u="none" strike="noStrike" kern="1200" cap="none" spc="0" normalizeH="0" baseline="0" noProof="0" dirty="0">
              <a:ln>
                <a:noFill/>
              </a:ln>
              <a:solidFill>
                <a:srgbClr val="000000">
                  <a:lumMod val="65000"/>
                  <a:lumOff val="3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p:txBody>
      </p:sp>
      <p:sp>
        <p:nvSpPr>
          <p:cNvPr id="79" name="gaoding-40">
            <a:extLst>
              <a:ext uri="{FF2B5EF4-FFF2-40B4-BE49-F238E27FC236}">
                <a16:creationId xmlns:a16="http://schemas.microsoft.com/office/drawing/2014/main" id="{55A49411-D06F-42AF-8897-9A589AAE34BC}"/>
              </a:ext>
            </a:extLst>
          </p:cNvPr>
          <p:cNvSpPr txBox="1"/>
          <p:nvPr/>
        </p:nvSpPr>
        <p:spPr>
          <a:xfrm>
            <a:off x="9521480" y="2987650"/>
            <a:ext cx="1002103" cy="21544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400" b="0" i="0" u="none" strike="noStrike" kern="1200" cap="none" spc="0" normalizeH="0" baseline="0" noProof="0" dirty="0">
                <a:ln>
                  <a:noFill/>
                </a:ln>
                <a:solidFill>
                  <a:srgbClr val="000000">
                    <a:lumMod val="65000"/>
                    <a:lumOff val="3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rPr>
              <a:t>秋叶</a:t>
            </a:r>
            <a:r>
              <a:rPr kumimoji="0" lang="en-US" altLang="zh-CN" sz="1400" b="0" i="0" u="none" strike="noStrike" kern="1200" cap="none" spc="0" normalizeH="0" baseline="0" noProof="0" dirty="0">
                <a:ln>
                  <a:noFill/>
                </a:ln>
                <a:solidFill>
                  <a:srgbClr val="000000">
                    <a:lumMod val="65000"/>
                    <a:lumOff val="3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rPr>
              <a:t>PPT</a:t>
            </a:r>
            <a:endParaRPr kumimoji="0" lang="zh-CN" altLang="en-US" sz="1400" b="0" i="0" u="none" strike="noStrike" kern="1200" cap="none" spc="0" normalizeH="0" baseline="0" noProof="0" dirty="0">
              <a:ln>
                <a:noFill/>
              </a:ln>
              <a:solidFill>
                <a:srgbClr val="000000">
                  <a:lumMod val="65000"/>
                  <a:lumOff val="3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p:txBody>
      </p:sp>
      <p:sp>
        <p:nvSpPr>
          <p:cNvPr id="80" name="gaoding-41">
            <a:extLst>
              <a:ext uri="{FF2B5EF4-FFF2-40B4-BE49-F238E27FC236}">
                <a16:creationId xmlns:a16="http://schemas.microsoft.com/office/drawing/2014/main" id="{8851C1DF-396C-474C-BB17-A27A30D16060}"/>
              </a:ext>
            </a:extLst>
          </p:cNvPr>
          <p:cNvSpPr txBox="1"/>
          <p:nvPr/>
        </p:nvSpPr>
        <p:spPr>
          <a:xfrm>
            <a:off x="9521480" y="3336044"/>
            <a:ext cx="1002103" cy="21544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400" b="0" i="0" u="none" strike="noStrike" kern="1200" cap="none" spc="0" normalizeH="0" baseline="0" noProof="0" dirty="0">
                <a:ln>
                  <a:noFill/>
                </a:ln>
                <a:solidFill>
                  <a:srgbClr val="000000">
                    <a:lumMod val="65000"/>
                    <a:lumOff val="3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rPr>
              <a:t>秋叶</a:t>
            </a:r>
            <a:r>
              <a:rPr kumimoji="0" lang="en-US" altLang="zh-CN" sz="1400" b="0" i="0" u="none" strike="noStrike" kern="1200" cap="none" spc="0" normalizeH="0" baseline="0" noProof="0" dirty="0">
                <a:ln>
                  <a:noFill/>
                </a:ln>
                <a:solidFill>
                  <a:srgbClr val="000000">
                    <a:lumMod val="65000"/>
                    <a:lumOff val="3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rPr>
              <a:t>PPT</a:t>
            </a:r>
            <a:endParaRPr kumimoji="0" lang="zh-CN" altLang="en-US" sz="1400" b="0" i="0" u="none" strike="noStrike" kern="1200" cap="none" spc="0" normalizeH="0" baseline="0" noProof="0" dirty="0">
              <a:ln>
                <a:noFill/>
              </a:ln>
              <a:solidFill>
                <a:srgbClr val="000000">
                  <a:lumMod val="65000"/>
                  <a:lumOff val="3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p:txBody>
      </p:sp>
      <p:sp>
        <p:nvSpPr>
          <p:cNvPr id="81" name="gaoding-42">
            <a:extLst>
              <a:ext uri="{FF2B5EF4-FFF2-40B4-BE49-F238E27FC236}">
                <a16:creationId xmlns:a16="http://schemas.microsoft.com/office/drawing/2014/main" id="{91944AE8-86B3-4547-B6E4-47E2DCF5EA2D}"/>
              </a:ext>
            </a:extLst>
          </p:cNvPr>
          <p:cNvSpPr txBox="1"/>
          <p:nvPr/>
        </p:nvSpPr>
        <p:spPr>
          <a:xfrm>
            <a:off x="9521480" y="3849255"/>
            <a:ext cx="1002103" cy="21544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400" b="0" i="0" u="none" strike="noStrike" kern="1200" cap="none" spc="0" normalizeH="0" baseline="0" noProof="0" dirty="0">
                <a:ln>
                  <a:noFill/>
                </a:ln>
                <a:solidFill>
                  <a:srgbClr val="000000">
                    <a:lumMod val="65000"/>
                    <a:lumOff val="3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rPr>
              <a:t>秋叶</a:t>
            </a:r>
            <a:r>
              <a:rPr kumimoji="0" lang="en-US" altLang="zh-CN" sz="1400" b="0" i="0" u="none" strike="noStrike" kern="1200" cap="none" spc="0" normalizeH="0" baseline="0" noProof="0" dirty="0">
                <a:ln>
                  <a:noFill/>
                </a:ln>
                <a:solidFill>
                  <a:srgbClr val="000000">
                    <a:lumMod val="65000"/>
                    <a:lumOff val="3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rPr>
              <a:t>PPT</a:t>
            </a:r>
            <a:endParaRPr kumimoji="0" lang="zh-CN" altLang="en-US" sz="1400" b="0" i="0" u="none" strike="noStrike" kern="1200" cap="none" spc="0" normalizeH="0" baseline="0" noProof="0" dirty="0">
              <a:ln>
                <a:noFill/>
              </a:ln>
              <a:solidFill>
                <a:srgbClr val="000000">
                  <a:lumMod val="65000"/>
                  <a:lumOff val="3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p:txBody>
      </p:sp>
      <p:sp>
        <p:nvSpPr>
          <p:cNvPr id="82" name="gaoding-43">
            <a:extLst>
              <a:ext uri="{FF2B5EF4-FFF2-40B4-BE49-F238E27FC236}">
                <a16:creationId xmlns:a16="http://schemas.microsoft.com/office/drawing/2014/main" id="{DB74584A-5C18-4E55-AD03-2D589B8D7D55}"/>
              </a:ext>
            </a:extLst>
          </p:cNvPr>
          <p:cNvSpPr txBox="1"/>
          <p:nvPr/>
        </p:nvSpPr>
        <p:spPr>
          <a:xfrm>
            <a:off x="9521480" y="4197649"/>
            <a:ext cx="1002103" cy="21544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400" b="0" i="0" u="none" strike="noStrike" kern="1200" cap="none" spc="0" normalizeH="0" baseline="0" noProof="0" dirty="0">
                <a:ln>
                  <a:noFill/>
                </a:ln>
                <a:solidFill>
                  <a:srgbClr val="000000">
                    <a:lumMod val="65000"/>
                    <a:lumOff val="3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rPr>
              <a:t>秋叶</a:t>
            </a:r>
            <a:r>
              <a:rPr kumimoji="0" lang="en-US" altLang="zh-CN" sz="1400" b="0" i="0" u="none" strike="noStrike" kern="1200" cap="none" spc="0" normalizeH="0" baseline="0" noProof="0" dirty="0">
                <a:ln>
                  <a:noFill/>
                </a:ln>
                <a:solidFill>
                  <a:srgbClr val="000000">
                    <a:lumMod val="65000"/>
                    <a:lumOff val="3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rPr>
              <a:t>PPT</a:t>
            </a:r>
            <a:endParaRPr kumimoji="0" lang="zh-CN" altLang="en-US" sz="1400" b="0" i="0" u="none" strike="noStrike" kern="1200" cap="none" spc="0" normalizeH="0" baseline="0" noProof="0" dirty="0">
              <a:ln>
                <a:noFill/>
              </a:ln>
              <a:solidFill>
                <a:srgbClr val="000000">
                  <a:lumMod val="65000"/>
                  <a:lumOff val="3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p:txBody>
      </p:sp>
      <p:sp>
        <p:nvSpPr>
          <p:cNvPr id="83" name="gaoding-44">
            <a:extLst>
              <a:ext uri="{FF2B5EF4-FFF2-40B4-BE49-F238E27FC236}">
                <a16:creationId xmlns:a16="http://schemas.microsoft.com/office/drawing/2014/main" id="{21B1E2B3-CD5F-4957-8C68-6277D0C6E55C}"/>
              </a:ext>
            </a:extLst>
          </p:cNvPr>
          <p:cNvSpPr txBox="1"/>
          <p:nvPr/>
        </p:nvSpPr>
        <p:spPr>
          <a:xfrm>
            <a:off x="9521480" y="4793152"/>
            <a:ext cx="1002103" cy="21544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400" b="0" i="0" u="none" strike="noStrike" kern="1200" cap="none" spc="0" normalizeH="0" baseline="0" noProof="0" dirty="0">
                <a:ln>
                  <a:noFill/>
                </a:ln>
                <a:solidFill>
                  <a:srgbClr val="000000">
                    <a:lumMod val="65000"/>
                    <a:lumOff val="3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rPr>
              <a:t>秋叶</a:t>
            </a:r>
            <a:r>
              <a:rPr kumimoji="0" lang="en-US" altLang="zh-CN" sz="1400" b="0" i="0" u="none" strike="noStrike" kern="1200" cap="none" spc="0" normalizeH="0" baseline="0" noProof="0" dirty="0">
                <a:ln>
                  <a:noFill/>
                </a:ln>
                <a:solidFill>
                  <a:srgbClr val="000000">
                    <a:lumMod val="65000"/>
                    <a:lumOff val="3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rPr>
              <a:t>PPT</a:t>
            </a:r>
            <a:endParaRPr kumimoji="0" lang="zh-CN" altLang="en-US" sz="1400" b="0" i="0" u="none" strike="noStrike" kern="1200" cap="none" spc="0" normalizeH="0" baseline="0" noProof="0" dirty="0">
              <a:ln>
                <a:noFill/>
              </a:ln>
              <a:solidFill>
                <a:srgbClr val="000000">
                  <a:lumMod val="65000"/>
                  <a:lumOff val="3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p:txBody>
      </p:sp>
      <p:sp>
        <p:nvSpPr>
          <p:cNvPr id="84" name="gaoding-45">
            <a:extLst>
              <a:ext uri="{FF2B5EF4-FFF2-40B4-BE49-F238E27FC236}">
                <a16:creationId xmlns:a16="http://schemas.microsoft.com/office/drawing/2014/main" id="{B32F9F2D-047F-485D-97D2-2E485A307337}"/>
              </a:ext>
            </a:extLst>
          </p:cNvPr>
          <p:cNvSpPr txBox="1"/>
          <p:nvPr/>
        </p:nvSpPr>
        <p:spPr>
          <a:xfrm>
            <a:off x="9521480" y="5141546"/>
            <a:ext cx="1002103" cy="21544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400" b="0" i="0" u="none" strike="noStrike" kern="1200" cap="none" spc="0" normalizeH="0" baseline="0" noProof="0" dirty="0">
                <a:ln>
                  <a:noFill/>
                </a:ln>
                <a:solidFill>
                  <a:srgbClr val="000000">
                    <a:lumMod val="65000"/>
                    <a:lumOff val="3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rPr>
              <a:t>秋叶</a:t>
            </a:r>
            <a:r>
              <a:rPr kumimoji="0" lang="en-US" altLang="zh-CN" sz="1400" b="0" i="0" u="none" strike="noStrike" kern="1200" cap="none" spc="0" normalizeH="0" baseline="0" noProof="0" dirty="0">
                <a:ln>
                  <a:noFill/>
                </a:ln>
                <a:solidFill>
                  <a:srgbClr val="000000">
                    <a:lumMod val="65000"/>
                    <a:lumOff val="3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rPr>
              <a:t>PPT</a:t>
            </a:r>
            <a:endParaRPr kumimoji="0" lang="zh-CN" altLang="en-US" sz="1400" b="0" i="0" u="none" strike="noStrike" kern="1200" cap="none" spc="0" normalizeH="0" baseline="0" noProof="0" dirty="0">
              <a:ln>
                <a:noFill/>
              </a:ln>
              <a:solidFill>
                <a:srgbClr val="000000">
                  <a:lumMod val="65000"/>
                  <a:lumOff val="3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p:txBody>
      </p:sp>
      <p:sp>
        <p:nvSpPr>
          <p:cNvPr id="85" name="gaoding-46">
            <a:extLst>
              <a:ext uri="{FF2B5EF4-FFF2-40B4-BE49-F238E27FC236}">
                <a16:creationId xmlns:a16="http://schemas.microsoft.com/office/drawing/2014/main" id="{6E0D25C5-0EBB-4588-BDED-06E457760E1A}"/>
              </a:ext>
            </a:extLst>
          </p:cNvPr>
          <p:cNvSpPr txBox="1"/>
          <p:nvPr/>
        </p:nvSpPr>
        <p:spPr>
          <a:xfrm>
            <a:off x="9521480" y="5654757"/>
            <a:ext cx="1002103" cy="21544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400" b="0" i="0" u="none" strike="noStrike" kern="1200" cap="none" spc="0" normalizeH="0" baseline="0" noProof="0" dirty="0">
                <a:ln>
                  <a:noFill/>
                </a:ln>
                <a:solidFill>
                  <a:srgbClr val="000000">
                    <a:lumMod val="65000"/>
                    <a:lumOff val="3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rPr>
              <a:t>秋叶</a:t>
            </a:r>
            <a:r>
              <a:rPr kumimoji="0" lang="en-US" altLang="zh-CN" sz="1400" b="0" i="0" u="none" strike="noStrike" kern="1200" cap="none" spc="0" normalizeH="0" baseline="0" noProof="0" dirty="0">
                <a:ln>
                  <a:noFill/>
                </a:ln>
                <a:solidFill>
                  <a:srgbClr val="000000">
                    <a:lumMod val="65000"/>
                    <a:lumOff val="3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rPr>
              <a:t>PPT</a:t>
            </a:r>
            <a:endParaRPr kumimoji="0" lang="zh-CN" altLang="en-US" sz="1400" b="0" i="0" u="none" strike="noStrike" kern="1200" cap="none" spc="0" normalizeH="0" baseline="0" noProof="0" dirty="0">
              <a:ln>
                <a:noFill/>
              </a:ln>
              <a:solidFill>
                <a:srgbClr val="000000">
                  <a:lumMod val="65000"/>
                  <a:lumOff val="3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p:txBody>
      </p:sp>
      <p:sp>
        <p:nvSpPr>
          <p:cNvPr id="86" name="gaoding-47">
            <a:extLst>
              <a:ext uri="{FF2B5EF4-FFF2-40B4-BE49-F238E27FC236}">
                <a16:creationId xmlns:a16="http://schemas.microsoft.com/office/drawing/2014/main" id="{3C6AD145-3C9B-4C1E-BD80-0B8E59A198E1}"/>
              </a:ext>
            </a:extLst>
          </p:cNvPr>
          <p:cNvSpPr txBox="1"/>
          <p:nvPr/>
        </p:nvSpPr>
        <p:spPr>
          <a:xfrm>
            <a:off x="9521480" y="6003151"/>
            <a:ext cx="1002103" cy="21544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400" b="0" i="0" u="none" strike="noStrike" kern="1200" cap="none" spc="0" normalizeH="0" baseline="0" noProof="0" dirty="0">
                <a:ln>
                  <a:noFill/>
                </a:ln>
                <a:solidFill>
                  <a:srgbClr val="000000">
                    <a:lumMod val="65000"/>
                    <a:lumOff val="3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rPr>
              <a:t>秋叶</a:t>
            </a:r>
            <a:r>
              <a:rPr kumimoji="0" lang="en-US" altLang="zh-CN" sz="1400" b="0" i="0" u="none" strike="noStrike" kern="1200" cap="none" spc="0" normalizeH="0" baseline="0" noProof="0" dirty="0">
                <a:ln>
                  <a:noFill/>
                </a:ln>
                <a:solidFill>
                  <a:srgbClr val="000000">
                    <a:lumMod val="65000"/>
                    <a:lumOff val="3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rPr>
              <a:t>PPT</a:t>
            </a:r>
            <a:endParaRPr kumimoji="0" lang="zh-CN" altLang="en-US" sz="1400" b="0" i="0" u="none" strike="noStrike" kern="1200" cap="none" spc="0" normalizeH="0" baseline="0" noProof="0" dirty="0">
              <a:ln>
                <a:noFill/>
              </a:ln>
              <a:solidFill>
                <a:srgbClr val="000000">
                  <a:lumMod val="65000"/>
                  <a:lumOff val="3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p:txBody>
      </p:sp>
      <p:sp>
        <p:nvSpPr>
          <p:cNvPr id="7" name="gaoding-48">
            <a:extLst>
              <a:ext uri="{FF2B5EF4-FFF2-40B4-BE49-F238E27FC236}">
                <a16:creationId xmlns:a16="http://schemas.microsoft.com/office/drawing/2014/main" id="{CC4901BC-1067-73BC-E56D-131820DF090C}"/>
              </a:ext>
            </a:extLst>
          </p:cNvPr>
          <p:cNvSpPr/>
          <p:nvPr/>
        </p:nvSpPr>
        <p:spPr>
          <a:xfrm>
            <a:off x="4140912" y="1653407"/>
            <a:ext cx="2231388" cy="492390"/>
          </a:xfrm>
          <a:custGeom>
            <a:avLst/>
            <a:gdLst/>
            <a:ahLst/>
            <a:cxnLst>
              <a:cxn ang="0">
                <a:pos x="wd2" y="hd2"/>
              </a:cxn>
              <a:cxn ang="5400000">
                <a:pos x="wd2" y="hd2"/>
              </a:cxn>
              <a:cxn ang="10800000">
                <a:pos x="wd2" y="hd2"/>
              </a:cxn>
              <a:cxn ang="16200000">
                <a:pos x="wd2" y="hd2"/>
              </a:cxn>
            </a:cxnLst>
            <a:rect l="0" t="0" r="r" b="b"/>
            <a:pathLst>
              <a:path w="21600" h="21600" extrusionOk="0">
                <a:moveTo>
                  <a:pt x="917" y="0"/>
                </a:moveTo>
                <a:lnTo>
                  <a:pt x="20683" y="0"/>
                </a:lnTo>
                <a:cubicBezTo>
                  <a:pt x="20815" y="0"/>
                  <a:pt x="20914" y="0"/>
                  <a:pt x="20998" y="25"/>
                </a:cubicBezTo>
                <a:cubicBezTo>
                  <a:pt x="21082" y="51"/>
                  <a:pt x="21150" y="102"/>
                  <a:pt x="21221" y="204"/>
                </a:cubicBezTo>
                <a:cubicBezTo>
                  <a:pt x="21299" y="332"/>
                  <a:pt x="21368" y="534"/>
                  <a:pt x="21425" y="792"/>
                </a:cubicBezTo>
                <a:cubicBezTo>
                  <a:pt x="21482" y="1051"/>
                  <a:pt x="21527" y="1365"/>
                  <a:pt x="21555" y="1716"/>
                </a:cubicBezTo>
                <a:cubicBezTo>
                  <a:pt x="21578" y="2037"/>
                  <a:pt x="21589" y="2349"/>
                  <a:pt x="21594" y="2732"/>
                </a:cubicBezTo>
                <a:cubicBezTo>
                  <a:pt x="21600" y="3115"/>
                  <a:pt x="21600" y="3568"/>
                  <a:pt x="21600" y="4173"/>
                </a:cubicBezTo>
                <a:lnTo>
                  <a:pt x="21600" y="17445"/>
                </a:lnTo>
                <a:cubicBezTo>
                  <a:pt x="21600" y="18041"/>
                  <a:pt x="21600" y="18490"/>
                  <a:pt x="21594" y="18870"/>
                </a:cubicBezTo>
                <a:cubicBezTo>
                  <a:pt x="21589" y="19251"/>
                  <a:pt x="21578" y="19563"/>
                  <a:pt x="21555" y="19884"/>
                </a:cubicBezTo>
                <a:cubicBezTo>
                  <a:pt x="21527" y="20235"/>
                  <a:pt x="21482" y="20549"/>
                  <a:pt x="21425" y="20808"/>
                </a:cubicBezTo>
                <a:cubicBezTo>
                  <a:pt x="21368" y="21066"/>
                  <a:pt x="21299" y="21268"/>
                  <a:pt x="21221" y="21396"/>
                </a:cubicBezTo>
                <a:cubicBezTo>
                  <a:pt x="21150" y="21498"/>
                  <a:pt x="21082" y="21549"/>
                  <a:pt x="20997" y="21575"/>
                </a:cubicBezTo>
                <a:cubicBezTo>
                  <a:pt x="20913" y="21600"/>
                  <a:pt x="20813" y="21600"/>
                  <a:pt x="20679" y="21600"/>
                </a:cubicBezTo>
                <a:lnTo>
                  <a:pt x="917" y="21600"/>
                </a:lnTo>
                <a:cubicBezTo>
                  <a:pt x="785" y="21600"/>
                  <a:pt x="686" y="21600"/>
                  <a:pt x="602" y="21575"/>
                </a:cubicBezTo>
                <a:cubicBezTo>
                  <a:pt x="518" y="21549"/>
                  <a:pt x="450" y="21498"/>
                  <a:pt x="379" y="21396"/>
                </a:cubicBezTo>
                <a:cubicBezTo>
                  <a:pt x="301" y="21268"/>
                  <a:pt x="232" y="21066"/>
                  <a:pt x="175" y="20808"/>
                </a:cubicBezTo>
                <a:cubicBezTo>
                  <a:pt x="118" y="20549"/>
                  <a:pt x="73" y="20235"/>
                  <a:pt x="45" y="19884"/>
                </a:cubicBezTo>
                <a:cubicBezTo>
                  <a:pt x="22" y="19563"/>
                  <a:pt x="11" y="19251"/>
                  <a:pt x="6" y="18868"/>
                </a:cubicBezTo>
                <a:cubicBezTo>
                  <a:pt x="0" y="18485"/>
                  <a:pt x="0" y="18032"/>
                  <a:pt x="0" y="17427"/>
                </a:cubicBezTo>
                <a:lnTo>
                  <a:pt x="0" y="4155"/>
                </a:lnTo>
                <a:cubicBezTo>
                  <a:pt x="0" y="3559"/>
                  <a:pt x="0" y="3110"/>
                  <a:pt x="6" y="2730"/>
                </a:cubicBezTo>
                <a:cubicBezTo>
                  <a:pt x="11" y="2349"/>
                  <a:pt x="22" y="2037"/>
                  <a:pt x="45" y="1716"/>
                </a:cubicBezTo>
                <a:cubicBezTo>
                  <a:pt x="73" y="1365"/>
                  <a:pt x="118" y="1051"/>
                  <a:pt x="175" y="792"/>
                </a:cubicBezTo>
                <a:cubicBezTo>
                  <a:pt x="232" y="534"/>
                  <a:pt x="301" y="332"/>
                  <a:pt x="379" y="204"/>
                </a:cubicBezTo>
                <a:cubicBezTo>
                  <a:pt x="450" y="102"/>
                  <a:pt x="518" y="51"/>
                  <a:pt x="603" y="25"/>
                </a:cubicBezTo>
                <a:cubicBezTo>
                  <a:pt x="687" y="0"/>
                  <a:pt x="787" y="0"/>
                  <a:pt x="921" y="0"/>
                </a:cubicBezTo>
                <a:lnTo>
                  <a:pt x="917" y="0"/>
                </a:lnTo>
                <a:close/>
              </a:path>
            </a:pathLst>
          </a:custGeom>
          <a:gradFill flip="none" rotWithShape="1">
            <a:gsLst>
              <a:gs pos="1000">
                <a:schemeClr val="accent2"/>
              </a:gs>
              <a:gs pos="100000">
                <a:schemeClr val="accent2">
                  <a:lumMod val="60000"/>
                  <a:lumOff val="40000"/>
                </a:schemeClr>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5720" tIns="22860" rIns="45720" bIns="228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440" b="0" i="0" u="none" strike="noStrike" kern="1200" cap="none" spc="0" normalizeH="0" baseline="0" noProof="0" dirty="0">
              <a:ln>
                <a:noFill/>
              </a:ln>
              <a:solidFill>
                <a:srgbClr val="FFFFFF"/>
              </a:solidFill>
              <a:effectLst/>
              <a:uLnTx/>
              <a:uFillTx/>
              <a:latin typeface="OPPOSans R" panose="00020600040101010101" pitchFamily="18" charset="-122"/>
              <a:ea typeface="微软雅黑"/>
              <a:cs typeface="+mn-cs"/>
            </a:endParaRPr>
          </a:p>
        </p:txBody>
      </p:sp>
      <p:sp>
        <p:nvSpPr>
          <p:cNvPr id="8" name="gaoding-49">
            <a:extLst>
              <a:ext uri="{FF2B5EF4-FFF2-40B4-BE49-F238E27FC236}">
                <a16:creationId xmlns:a16="http://schemas.microsoft.com/office/drawing/2014/main" id="{464ADA02-DC16-EF2A-229E-07130A21987E}"/>
              </a:ext>
            </a:extLst>
          </p:cNvPr>
          <p:cNvSpPr/>
          <p:nvPr/>
        </p:nvSpPr>
        <p:spPr>
          <a:xfrm>
            <a:off x="4288735" y="1550470"/>
            <a:ext cx="688102" cy="688103"/>
          </a:xfrm>
          <a:prstGeom prst="ellipse">
            <a:avLst/>
          </a:prstGeom>
          <a:solidFill>
            <a:schemeClr val="bg1"/>
          </a:solidFill>
          <a:ln w="12700" cap="flat">
            <a:noFill/>
            <a:miter lim="400000"/>
          </a:ln>
          <a:effectLst>
            <a:outerShdw blurRad="190500" dist="38100" dir="5400000" sx="103000" sy="103000" algn="ctr" rotWithShape="0">
              <a:schemeClr val="accent2">
                <a:lumMod val="50000"/>
                <a:alpha val="20000"/>
              </a:schemeClr>
            </a:outerShdw>
          </a:effectLst>
        </p:spPr>
        <p:txBody>
          <a:bodyPr wrap="square" lIns="0" tIns="0" rIns="0" bIns="0" numCol="1"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1280" b="0" i="0" u="none" strike="noStrike" kern="1200" cap="none" spc="0" normalizeH="0" baseline="0" noProof="0" dirty="0">
              <a:ln>
                <a:noFill/>
              </a:ln>
              <a:solidFill>
                <a:srgbClr val="FFFFFF"/>
              </a:solidFill>
              <a:effectLst/>
              <a:uLnTx/>
              <a:uFillTx/>
              <a:latin typeface="OPPOSans R" panose="00020600040101010101" pitchFamily="18" charset="-122"/>
              <a:ea typeface="微软雅黑"/>
              <a:cs typeface="+mn-cs"/>
              <a:sym typeface="Helvetica Neue Medium"/>
            </a:endParaRPr>
          </a:p>
        </p:txBody>
      </p:sp>
      <p:sp>
        <p:nvSpPr>
          <p:cNvPr id="9" name="gaoding-50">
            <a:extLst>
              <a:ext uri="{FF2B5EF4-FFF2-40B4-BE49-F238E27FC236}">
                <a16:creationId xmlns:a16="http://schemas.microsoft.com/office/drawing/2014/main" id="{A845F9C3-2E4C-5CD7-BDF0-4CD588BE394D}"/>
              </a:ext>
            </a:extLst>
          </p:cNvPr>
          <p:cNvSpPr/>
          <p:nvPr/>
        </p:nvSpPr>
        <p:spPr>
          <a:xfrm>
            <a:off x="4390103" y="1651391"/>
            <a:ext cx="479670" cy="47967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800" b="0" i="0" u="none" strike="noStrike" kern="1200" cap="none" spc="0" normalizeH="0" baseline="0" noProof="0" dirty="0">
                <a:ln>
                  <a:noFill/>
                </a:ln>
                <a:solidFill>
                  <a:srgbClr val="FFFFFF"/>
                </a:solidFill>
                <a:effectLst/>
                <a:uLnTx/>
                <a:uFillTx/>
                <a:latin typeface="OPPOSans R" panose="00020600040101010101" pitchFamily="18" charset="-122"/>
                <a:ea typeface="OPPOSans R" panose="00020600040101010101" pitchFamily="18" charset="-122"/>
                <a:cs typeface="OPPOSans R" panose="00020600040101010101" pitchFamily="18" charset="-122"/>
              </a:rPr>
              <a:t>01</a:t>
            </a:r>
            <a:endParaRPr kumimoji="0" lang="zh-CN" altLang="en-US" sz="1800" b="0" i="0" u="none" strike="noStrike" kern="1200" cap="none" spc="0" normalizeH="0" baseline="0" noProof="0" dirty="0">
              <a:ln>
                <a:noFill/>
              </a:ln>
              <a:solidFill>
                <a:srgbClr val="FFFFFF"/>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p:txBody>
      </p:sp>
      <p:sp>
        <p:nvSpPr>
          <p:cNvPr id="11" name="gaoding-51">
            <a:extLst>
              <a:ext uri="{FF2B5EF4-FFF2-40B4-BE49-F238E27FC236}">
                <a16:creationId xmlns:a16="http://schemas.microsoft.com/office/drawing/2014/main" id="{509CF0AA-C108-BE6C-C338-5C314CBF414A}"/>
              </a:ext>
            </a:extLst>
          </p:cNvPr>
          <p:cNvSpPr txBox="1"/>
          <p:nvPr/>
        </p:nvSpPr>
        <p:spPr>
          <a:xfrm>
            <a:off x="5155495" y="1747249"/>
            <a:ext cx="1194761" cy="328295"/>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25400" tIns="25400" rIns="25400" bIns="25400" numCol="1" anchor="t">
            <a:spAutoFit/>
          </a:bodyPr>
          <a:lstStyle>
            <a:lvl1pPr algn="l">
              <a:defRPr sz="2800" b="0">
                <a:solidFill>
                  <a:srgbClr val="FFFFFF"/>
                </a:solidFill>
                <a:latin typeface="Barlow Bold"/>
                <a:ea typeface="Barlow Bold"/>
                <a:cs typeface="Barlow Bold"/>
                <a:sym typeface="Barlow Bold"/>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800" b="1" i="0" u="none" strike="noStrike" kern="1200" cap="none" spc="0" normalizeH="0" baseline="0" noProof="0" dirty="0">
                <a:ln>
                  <a:noFill/>
                </a:ln>
                <a:solidFill>
                  <a:srgbClr val="FFFFFF"/>
                </a:solidFill>
                <a:effectLst/>
                <a:uLnTx/>
                <a:uFillTx/>
                <a:latin typeface="OPPOSans R" panose="00020600040101010101" pitchFamily="18" charset="-122"/>
                <a:ea typeface="OPPOSans R" panose="00020600040101010101" pitchFamily="18" charset="-122"/>
                <a:cs typeface="OPPOSans R" panose="00020600040101010101" pitchFamily="18" charset="-122"/>
                <a:sym typeface="Barlow Bold"/>
              </a:rPr>
              <a:t>更快</a:t>
            </a:r>
          </a:p>
        </p:txBody>
      </p:sp>
      <p:sp>
        <p:nvSpPr>
          <p:cNvPr id="97" name="gaoding-52">
            <a:extLst>
              <a:ext uri="{FF2B5EF4-FFF2-40B4-BE49-F238E27FC236}">
                <a16:creationId xmlns:a16="http://schemas.microsoft.com/office/drawing/2014/main" id="{FC0A5761-E82E-0668-0A3C-2CE80EC49446}"/>
              </a:ext>
            </a:extLst>
          </p:cNvPr>
          <p:cNvSpPr/>
          <p:nvPr/>
        </p:nvSpPr>
        <p:spPr>
          <a:xfrm>
            <a:off x="4140912" y="3437893"/>
            <a:ext cx="2231388" cy="492390"/>
          </a:xfrm>
          <a:custGeom>
            <a:avLst/>
            <a:gdLst/>
            <a:ahLst/>
            <a:cxnLst>
              <a:cxn ang="0">
                <a:pos x="wd2" y="hd2"/>
              </a:cxn>
              <a:cxn ang="5400000">
                <a:pos x="wd2" y="hd2"/>
              </a:cxn>
              <a:cxn ang="10800000">
                <a:pos x="wd2" y="hd2"/>
              </a:cxn>
              <a:cxn ang="16200000">
                <a:pos x="wd2" y="hd2"/>
              </a:cxn>
            </a:cxnLst>
            <a:rect l="0" t="0" r="r" b="b"/>
            <a:pathLst>
              <a:path w="21600" h="21600" extrusionOk="0">
                <a:moveTo>
                  <a:pt x="917" y="0"/>
                </a:moveTo>
                <a:lnTo>
                  <a:pt x="20683" y="0"/>
                </a:lnTo>
                <a:cubicBezTo>
                  <a:pt x="20815" y="0"/>
                  <a:pt x="20914" y="0"/>
                  <a:pt x="20998" y="25"/>
                </a:cubicBezTo>
                <a:cubicBezTo>
                  <a:pt x="21082" y="51"/>
                  <a:pt x="21150" y="102"/>
                  <a:pt x="21221" y="204"/>
                </a:cubicBezTo>
                <a:cubicBezTo>
                  <a:pt x="21299" y="332"/>
                  <a:pt x="21368" y="534"/>
                  <a:pt x="21425" y="792"/>
                </a:cubicBezTo>
                <a:cubicBezTo>
                  <a:pt x="21482" y="1051"/>
                  <a:pt x="21527" y="1365"/>
                  <a:pt x="21555" y="1716"/>
                </a:cubicBezTo>
                <a:cubicBezTo>
                  <a:pt x="21578" y="2037"/>
                  <a:pt x="21589" y="2349"/>
                  <a:pt x="21594" y="2732"/>
                </a:cubicBezTo>
                <a:cubicBezTo>
                  <a:pt x="21600" y="3115"/>
                  <a:pt x="21600" y="3568"/>
                  <a:pt x="21600" y="4173"/>
                </a:cubicBezTo>
                <a:lnTo>
                  <a:pt x="21600" y="17445"/>
                </a:lnTo>
                <a:cubicBezTo>
                  <a:pt x="21600" y="18041"/>
                  <a:pt x="21600" y="18490"/>
                  <a:pt x="21594" y="18870"/>
                </a:cubicBezTo>
                <a:cubicBezTo>
                  <a:pt x="21589" y="19251"/>
                  <a:pt x="21578" y="19563"/>
                  <a:pt x="21555" y="19884"/>
                </a:cubicBezTo>
                <a:cubicBezTo>
                  <a:pt x="21527" y="20235"/>
                  <a:pt x="21482" y="20549"/>
                  <a:pt x="21425" y="20808"/>
                </a:cubicBezTo>
                <a:cubicBezTo>
                  <a:pt x="21368" y="21066"/>
                  <a:pt x="21299" y="21268"/>
                  <a:pt x="21221" y="21396"/>
                </a:cubicBezTo>
                <a:cubicBezTo>
                  <a:pt x="21150" y="21498"/>
                  <a:pt x="21082" y="21549"/>
                  <a:pt x="20997" y="21575"/>
                </a:cubicBezTo>
                <a:cubicBezTo>
                  <a:pt x="20913" y="21600"/>
                  <a:pt x="20813" y="21600"/>
                  <a:pt x="20679" y="21600"/>
                </a:cubicBezTo>
                <a:lnTo>
                  <a:pt x="917" y="21600"/>
                </a:lnTo>
                <a:cubicBezTo>
                  <a:pt x="785" y="21600"/>
                  <a:pt x="686" y="21600"/>
                  <a:pt x="602" y="21575"/>
                </a:cubicBezTo>
                <a:cubicBezTo>
                  <a:pt x="518" y="21549"/>
                  <a:pt x="450" y="21498"/>
                  <a:pt x="379" y="21396"/>
                </a:cubicBezTo>
                <a:cubicBezTo>
                  <a:pt x="301" y="21268"/>
                  <a:pt x="232" y="21066"/>
                  <a:pt x="175" y="20808"/>
                </a:cubicBezTo>
                <a:cubicBezTo>
                  <a:pt x="118" y="20549"/>
                  <a:pt x="73" y="20235"/>
                  <a:pt x="45" y="19884"/>
                </a:cubicBezTo>
                <a:cubicBezTo>
                  <a:pt x="22" y="19563"/>
                  <a:pt x="11" y="19251"/>
                  <a:pt x="6" y="18868"/>
                </a:cubicBezTo>
                <a:cubicBezTo>
                  <a:pt x="0" y="18485"/>
                  <a:pt x="0" y="18032"/>
                  <a:pt x="0" y="17427"/>
                </a:cubicBezTo>
                <a:lnTo>
                  <a:pt x="0" y="4155"/>
                </a:lnTo>
                <a:cubicBezTo>
                  <a:pt x="0" y="3559"/>
                  <a:pt x="0" y="3110"/>
                  <a:pt x="6" y="2730"/>
                </a:cubicBezTo>
                <a:cubicBezTo>
                  <a:pt x="11" y="2349"/>
                  <a:pt x="22" y="2037"/>
                  <a:pt x="45" y="1716"/>
                </a:cubicBezTo>
                <a:cubicBezTo>
                  <a:pt x="73" y="1365"/>
                  <a:pt x="118" y="1051"/>
                  <a:pt x="175" y="792"/>
                </a:cubicBezTo>
                <a:cubicBezTo>
                  <a:pt x="232" y="534"/>
                  <a:pt x="301" y="332"/>
                  <a:pt x="379" y="204"/>
                </a:cubicBezTo>
                <a:cubicBezTo>
                  <a:pt x="450" y="102"/>
                  <a:pt x="518" y="51"/>
                  <a:pt x="603" y="25"/>
                </a:cubicBezTo>
                <a:cubicBezTo>
                  <a:pt x="687" y="0"/>
                  <a:pt x="787" y="0"/>
                  <a:pt x="921" y="0"/>
                </a:cubicBezTo>
                <a:lnTo>
                  <a:pt x="917" y="0"/>
                </a:lnTo>
                <a:close/>
              </a:path>
            </a:pathLst>
          </a:custGeom>
          <a:gradFill flip="none" rotWithShape="1">
            <a:gsLst>
              <a:gs pos="1000">
                <a:schemeClr val="accent3"/>
              </a:gs>
              <a:gs pos="100000">
                <a:schemeClr val="accent3">
                  <a:lumMod val="60000"/>
                  <a:lumOff val="40000"/>
                </a:schemeClr>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5720" tIns="22860" rIns="45720" bIns="228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FFFFFF"/>
              </a:solidFill>
              <a:effectLst/>
              <a:uLnTx/>
              <a:uFillTx/>
              <a:latin typeface="OPPOSans R" panose="00020600040101010101" pitchFamily="18" charset="-122"/>
              <a:ea typeface="微软雅黑"/>
              <a:cs typeface="+mn-cs"/>
            </a:endParaRPr>
          </a:p>
        </p:txBody>
      </p:sp>
      <p:sp>
        <p:nvSpPr>
          <p:cNvPr id="98" name="gaoding-53">
            <a:extLst>
              <a:ext uri="{FF2B5EF4-FFF2-40B4-BE49-F238E27FC236}">
                <a16:creationId xmlns:a16="http://schemas.microsoft.com/office/drawing/2014/main" id="{DCF3B3E7-29AE-5B1F-8CCD-C2AB76B215A0}"/>
              </a:ext>
            </a:extLst>
          </p:cNvPr>
          <p:cNvSpPr/>
          <p:nvPr/>
        </p:nvSpPr>
        <p:spPr>
          <a:xfrm>
            <a:off x="4288735" y="3334956"/>
            <a:ext cx="688102" cy="688103"/>
          </a:xfrm>
          <a:prstGeom prst="ellipse">
            <a:avLst/>
          </a:prstGeom>
          <a:solidFill>
            <a:schemeClr val="bg1"/>
          </a:solidFill>
          <a:ln w="12700" cap="flat">
            <a:noFill/>
            <a:miter lim="400000"/>
          </a:ln>
          <a:effectLst>
            <a:outerShdw blurRad="190500" dist="38100" dir="5400000" sx="103000" sy="103000" algn="ctr" rotWithShape="0">
              <a:schemeClr val="accent2">
                <a:lumMod val="50000"/>
                <a:alpha val="20000"/>
              </a:schemeClr>
            </a:outerShdw>
          </a:effectLst>
        </p:spPr>
        <p:txBody>
          <a:bodyPr wrap="square" lIns="0" tIns="0" rIns="0" bIns="0" numCol="1"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1280" b="0" i="0" u="none" strike="noStrike" kern="1200" cap="none" spc="0" normalizeH="0" baseline="0" noProof="0" dirty="0">
              <a:ln>
                <a:noFill/>
              </a:ln>
              <a:solidFill>
                <a:srgbClr val="FFFFFF"/>
              </a:solidFill>
              <a:effectLst/>
              <a:uLnTx/>
              <a:uFillTx/>
              <a:latin typeface="OPPOSans R" panose="00020600040101010101" pitchFamily="18" charset="-122"/>
              <a:ea typeface="微软雅黑"/>
              <a:cs typeface="+mn-cs"/>
              <a:sym typeface="Helvetica Neue Medium"/>
            </a:endParaRPr>
          </a:p>
        </p:txBody>
      </p:sp>
      <p:sp>
        <p:nvSpPr>
          <p:cNvPr id="99" name="gaoding-54">
            <a:extLst>
              <a:ext uri="{FF2B5EF4-FFF2-40B4-BE49-F238E27FC236}">
                <a16:creationId xmlns:a16="http://schemas.microsoft.com/office/drawing/2014/main" id="{91A26D5F-1ABB-7D71-6B51-53CA62639CDE}"/>
              </a:ext>
            </a:extLst>
          </p:cNvPr>
          <p:cNvSpPr/>
          <p:nvPr/>
        </p:nvSpPr>
        <p:spPr>
          <a:xfrm>
            <a:off x="4390103" y="3435877"/>
            <a:ext cx="479670" cy="47967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800" b="0" i="0" u="none" strike="noStrike" kern="1200" cap="none" spc="0" normalizeH="0" baseline="0" noProof="0" dirty="0">
                <a:ln>
                  <a:noFill/>
                </a:ln>
                <a:solidFill>
                  <a:srgbClr val="FFFFFF"/>
                </a:solidFill>
                <a:effectLst/>
                <a:uLnTx/>
                <a:uFillTx/>
                <a:latin typeface="OPPOSans R" panose="00020600040101010101" pitchFamily="18" charset="-122"/>
                <a:ea typeface="OPPOSans R" panose="00020600040101010101" pitchFamily="18" charset="-122"/>
                <a:cs typeface="OPPOSans R" panose="00020600040101010101" pitchFamily="18" charset="-122"/>
              </a:rPr>
              <a:t>02</a:t>
            </a:r>
            <a:endParaRPr kumimoji="0" lang="zh-CN" altLang="en-US" sz="1800" b="0" i="0" u="none" strike="noStrike" kern="1200" cap="none" spc="0" normalizeH="0" baseline="0" noProof="0" dirty="0">
              <a:ln>
                <a:noFill/>
              </a:ln>
              <a:solidFill>
                <a:srgbClr val="FFFFFF"/>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p:txBody>
      </p:sp>
      <p:sp>
        <p:nvSpPr>
          <p:cNvPr id="100" name="gaoding-55">
            <a:extLst>
              <a:ext uri="{FF2B5EF4-FFF2-40B4-BE49-F238E27FC236}">
                <a16:creationId xmlns:a16="http://schemas.microsoft.com/office/drawing/2014/main" id="{68805E47-0649-A300-D84A-D3E1449222C5}"/>
              </a:ext>
            </a:extLst>
          </p:cNvPr>
          <p:cNvSpPr txBox="1"/>
          <p:nvPr/>
        </p:nvSpPr>
        <p:spPr>
          <a:xfrm>
            <a:off x="5155495" y="3531735"/>
            <a:ext cx="1194761" cy="328295"/>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25400" tIns="25400" rIns="25400" bIns="25400" numCol="1" anchor="t">
            <a:spAutoFit/>
          </a:bodyPr>
          <a:lstStyle>
            <a:lvl1pPr algn="l">
              <a:defRPr sz="2800" b="0">
                <a:solidFill>
                  <a:srgbClr val="FFFFFF"/>
                </a:solidFill>
                <a:latin typeface="Barlow Bold"/>
                <a:ea typeface="Barlow Bold"/>
                <a:cs typeface="Barlow Bold"/>
                <a:sym typeface="Barlow Bold"/>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800" b="1" i="0" u="none" strike="noStrike" kern="1200" cap="none" spc="0" normalizeH="0" baseline="0" noProof="0" dirty="0">
                <a:ln>
                  <a:noFill/>
                </a:ln>
                <a:solidFill>
                  <a:srgbClr val="FFFFFF"/>
                </a:solidFill>
                <a:effectLst/>
                <a:uLnTx/>
                <a:uFillTx/>
                <a:latin typeface="OPPOSans R" panose="00020600040101010101" pitchFamily="18" charset="-122"/>
                <a:ea typeface="OPPOSans R" panose="00020600040101010101" pitchFamily="18" charset="-122"/>
                <a:cs typeface="OPPOSans R" panose="00020600040101010101" pitchFamily="18" charset="-122"/>
                <a:sym typeface="Barlow Bold"/>
              </a:rPr>
              <a:t>更好</a:t>
            </a:r>
          </a:p>
        </p:txBody>
      </p:sp>
      <p:sp>
        <p:nvSpPr>
          <p:cNvPr id="101" name="gaoding-56">
            <a:extLst>
              <a:ext uri="{FF2B5EF4-FFF2-40B4-BE49-F238E27FC236}">
                <a16:creationId xmlns:a16="http://schemas.microsoft.com/office/drawing/2014/main" id="{89D01B10-D060-B5EF-A1F5-E48670C53839}"/>
              </a:ext>
            </a:extLst>
          </p:cNvPr>
          <p:cNvSpPr/>
          <p:nvPr/>
        </p:nvSpPr>
        <p:spPr>
          <a:xfrm>
            <a:off x="4140912" y="5222379"/>
            <a:ext cx="2231388" cy="492390"/>
          </a:xfrm>
          <a:custGeom>
            <a:avLst/>
            <a:gdLst/>
            <a:ahLst/>
            <a:cxnLst>
              <a:cxn ang="0">
                <a:pos x="wd2" y="hd2"/>
              </a:cxn>
              <a:cxn ang="5400000">
                <a:pos x="wd2" y="hd2"/>
              </a:cxn>
              <a:cxn ang="10800000">
                <a:pos x="wd2" y="hd2"/>
              </a:cxn>
              <a:cxn ang="16200000">
                <a:pos x="wd2" y="hd2"/>
              </a:cxn>
            </a:cxnLst>
            <a:rect l="0" t="0" r="r" b="b"/>
            <a:pathLst>
              <a:path w="21600" h="21600" extrusionOk="0">
                <a:moveTo>
                  <a:pt x="917" y="0"/>
                </a:moveTo>
                <a:lnTo>
                  <a:pt x="20683" y="0"/>
                </a:lnTo>
                <a:cubicBezTo>
                  <a:pt x="20815" y="0"/>
                  <a:pt x="20914" y="0"/>
                  <a:pt x="20998" y="25"/>
                </a:cubicBezTo>
                <a:cubicBezTo>
                  <a:pt x="21082" y="51"/>
                  <a:pt x="21150" y="102"/>
                  <a:pt x="21221" y="204"/>
                </a:cubicBezTo>
                <a:cubicBezTo>
                  <a:pt x="21299" y="332"/>
                  <a:pt x="21368" y="534"/>
                  <a:pt x="21425" y="792"/>
                </a:cubicBezTo>
                <a:cubicBezTo>
                  <a:pt x="21482" y="1051"/>
                  <a:pt x="21527" y="1365"/>
                  <a:pt x="21555" y="1716"/>
                </a:cubicBezTo>
                <a:cubicBezTo>
                  <a:pt x="21578" y="2037"/>
                  <a:pt x="21589" y="2349"/>
                  <a:pt x="21594" y="2732"/>
                </a:cubicBezTo>
                <a:cubicBezTo>
                  <a:pt x="21600" y="3115"/>
                  <a:pt x="21600" y="3568"/>
                  <a:pt x="21600" y="4173"/>
                </a:cubicBezTo>
                <a:lnTo>
                  <a:pt x="21600" y="17445"/>
                </a:lnTo>
                <a:cubicBezTo>
                  <a:pt x="21600" y="18041"/>
                  <a:pt x="21600" y="18490"/>
                  <a:pt x="21594" y="18870"/>
                </a:cubicBezTo>
                <a:cubicBezTo>
                  <a:pt x="21589" y="19251"/>
                  <a:pt x="21578" y="19563"/>
                  <a:pt x="21555" y="19884"/>
                </a:cubicBezTo>
                <a:cubicBezTo>
                  <a:pt x="21527" y="20235"/>
                  <a:pt x="21482" y="20549"/>
                  <a:pt x="21425" y="20808"/>
                </a:cubicBezTo>
                <a:cubicBezTo>
                  <a:pt x="21368" y="21066"/>
                  <a:pt x="21299" y="21268"/>
                  <a:pt x="21221" y="21396"/>
                </a:cubicBezTo>
                <a:cubicBezTo>
                  <a:pt x="21150" y="21498"/>
                  <a:pt x="21082" y="21549"/>
                  <a:pt x="20997" y="21575"/>
                </a:cubicBezTo>
                <a:cubicBezTo>
                  <a:pt x="20913" y="21600"/>
                  <a:pt x="20813" y="21600"/>
                  <a:pt x="20679" y="21600"/>
                </a:cubicBezTo>
                <a:lnTo>
                  <a:pt x="917" y="21600"/>
                </a:lnTo>
                <a:cubicBezTo>
                  <a:pt x="785" y="21600"/>
                  <a:pt x="686" y="21600"/>
                  <a:pt x="602" y="21575"/>
                </a:cubicBezTo>
                <a:cubicBezTo>
                  <a:pt x="518" y="21549"/>
                  <a:pt x="450" y="21498"/>
                  <a:pt x="379" y="21396"/>
                </a:cubicBezTo>
                <a:cubicBezTo>
                  <a:pt x="301" y="21268"/>
                  <a:pt x="232" y="21066"/>
                  <a:pt x="175" y="20808"/>
                </a:cubicBezTo>
                <a:cubicBezTo>
                  <a:pt x="118" y="20549"/>
                  <a:pt x="73" y="20235"/>
                  <a:pt x="45" y="19884"/>
                </a:cubicBezTo>
                <a:cubicBezTo>
                  <a:pt x="22" y="19563"/>
                  <a:pt x="11" y="19251"/>
                  <a:pt x="6" y="18868"/>
                </a:cubicBezTo>
                <a:cubicBezTo>
                  <a:pt x="0" y="18485"/>
                  <a:pt x="0" y="18032"/>
                  <a:pt x="0" y="17427"/>
                </a:cubicBezTo>
                <a:lnTo>
                  <a:pt x="0" y="4155"/>
                </a:lnTo>
                <a:cubicBezTo>
                  <a:pt x="0" y="3559"/>
                  <a:pt x="0" y="3110"/>
                  <a:pt x="6" y="2730"/>
                </a:cubicBezTo>
                <a:cubicBezTo>
                  <a:pt x="11" y="2349"/>
                  <a:pt x="22" y="2037"/>
                  <a:pt x="45" y="1716"/>
                </a:cubicBezTo>
                <a:cubicBezTo>
                  <a:pt x="73" y="1365"/>
                  <a:pt x="118" y="1051"/>
                  <a:pt x="175" y="792"/>
                </a:cubicBezTo>
                <a:cubicBezTo>
                  <a:pt x="232" y="534"/>
                  <a:pt x="301" y="332"/>
                  <a:pt x="379" y="204"/>
                </a:cubicBezTo>
                <a:cubicBezTo>
                  <a:pt x="450" y="102"/>
                  <a:pt x="518" y="51"/>
                  <a:pt x="603" y="25"/>
                </a:cubicBezTo>
                <a:cubicBezTo>
                  <a:pt x="687" y="0"/>
                  <a:pt x="787" y="0"/>
                  <a:pt x="921" y="0"/>
                </a:cubicBezTo>
                <a:lnTo>
                  <a:pt x="917" y="0"/>
                </a:lnTo>
                <a:close/>
              </a:path>
            </a:pathLst>
          </a:custGeom>
          <a:gradFill flip="none" rotWithShape="1">
            <a:gsLst>
              <a:gs pos="1000">
                <a:schemeClr val="tx1">
                  <a:lumMod val="50000"/>
                  <a:lumOff val="50000"/>
                </a:schemeClr>
              </a:gs>
              <a:gs pos="100000">
                <a:schemeClr val="bg2">
                  <a:lumMod val="75000"/>
                </a:schemeClr>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5720" tIns="22860" rIns="45720" bIns="228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FFFFFF"/>
              </a:solidFill>
              <a:effectLst/>
              <a:uLnTx/>
              <a:uFillTx/>
              <a:latin typeface="OPPOSans R" panose="00020600040101010101" pitchFamily="18" charset="-122"/>
              <a:ea typeface="微软雅黑"/>
              <a:cs typeface="+mn-cs"/>
            </a:endParaRPr>
          </a:p>
        </p:txBody>
      </p:sp>
      <p:sp>
        <p:nvSpPr>
          <p:cNvPr id="102" name="gaoding-57">
            <a:extLst>
              <a:ext uri="{FF2B5EF4-FFF2-40B4-BE49-F238E27FC236}">
                <a16:creationId xmlns:a16="http://schemas.microsoft.com/office/drawing/2014/main" id="{5E3B9562-E1E9-D437-17A9-C95924C62001}"/>
              </a:ext>
            </a:extLst>
          </p:cNvPr>
          <p:cNvSpPr/>
          <p:nvPr/>
        </p:nvSpPr>
        <p:spPr>
          <a:xfrm>
            <a:off x="4288735" y="5119442"/>
            <a:ext cx="688102" cy="688103"/>
          </a:xfrm>
          <a:prstGeom prst="ellipse">
            <a:avLst/>
          </a:prstGeom>
          <a:solidFill>
            <a:schemeClr val="bg1"/>
          </a:solidFill>
          <a:ln w="12700" cap="flat">
            <a:noFill/>
            <a:miter lim="400000"/>
          </a:ln>
          <a:effectLst>
            <a:outerShdw blurRad="190500" dist="38100" dir="5400000" sx="103000" sy="103000" algn="ctr" rotWithShape="0">
              <a:schemeClr val="accent2">
                <a:lumMod val="50000"/>
                <a:alpha val="20000"/>
              </a:schemeClr>
            </a:outerShdw>
          </a:effectLst>
        </p:spPr>
        <p:txBody>
          <a:bodyPr wrap="square" lIns="0" tIns="0" rIns="0" bIns="0" numCol="1"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1280" b="0" i="0" u="none" strike="noStrike" kern="1200" cap="none" spc="0" normalizeH="0" baseline="0" noProof="0" dirty="0">
              <a:ln>
                <a:noFill/>
              </a:ln>
              <a:solidFill>
                <a:srgbClr val="FFFFFF"/>
              </a:solidFill>
              <a:effectLst/>
              <a:uLnTx/>
              <a:uFillTx/>
              <a:latin typeface="OPPOSans R" panose="00020600040101010101" pitchFamily="18" charset="-122"/>
              <a:ea typeface="微软雅黑"/>
              <a:cs typeface="+mn-cs"/>
              <a:sym typeface="Helvetica Neue Medium"/>
            </a:endParaRPr>
          </a:p>
        </p:txBody>
      </p:sp>
      <p:sp>
        <p:nvSpPr>
          <p:cNvPr id="103" name="gaoding-58">
            <a:extLst>
              <a:ext uri="{FF2B5EF4-FFF2-40B4-BE49-F238E27FC236}">
                <a16:creationId xmlns:a16="http://schemas.microsoft.com/office/drawing/2014/main" id="{D29E52A6-EC6D-E0A4-15B4-A45E34C8701A}"/>
              </a:ext>
            </a:extLst>
          </p:cNvPr>
          <p:cNvSpPr/>
          <p:nvPr/>
        </p:nvSpPr>
        <p:spPr>
          <a:xfrm>
            <a:off x="4390103" y="5220363"/>
            <a:ext cx="479670" cy="479670"/>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800" b="0" i="0" u="none" strike="noStrike" kern="1200" cap="none" spc="0" normalizeH="0" baseline="0" noProof="0" dirty="0">
                <a:ln>
                  <a:noFill/>
                </a:ln>
                <a:solidFill>
                  <a:srgbClr val="FFFFFF"/>
                </a:solidFill>
                <a:effectLst/>
                <a:uLnTx/>
                <a:uFillTx/>
                <a:latin typeface="OPPOSans R" panose="00020600040101010101" pitchFamily="18" charset="-122"/>
                <a:ea typeface="OPPOSans R" panose="00020600040101010101" pitchFamily="18" charset="-122"/>
                <a:cs typeface="OPPOSans R" panose="00020600040101010101" pitchFamily="18" charset="-122"/>
              </a:rPr>
              <a:t>03</a:t>
            </a:r>
            <a:endParaRPr kumimoji="0" lang="zh-CN" altLang="en-US" sz="1800" b="0" i="0" u="none" strike="noStrike" kern="1200" cap="none" spc="0" normalizeH="0" baseline="0" noProof="0" dirty="0">
              <a:ln>
                <a:noFill/>
              </a:ln>
              <a:solidFill>
                <a:srgbClr val="FFFFFF"/>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p:txBody>
      </p:sp>
      <p:sp>
        <p:nvSpPr>
          <p:cNvPr id="104" name="gaoding-59">
            <a:extLst>
              <a:ext uri="{FF2B5EF4-FFF2-40B4-BE49-F238E27FC236}">
                <a16:creationId xmlns:a16="http://schemas.microsoft.com/office/drawing/2014/main" id="{6A50D971-297B-A53D-D39A-27382848FBA1}"/>
              </a:ext>
            </a:extLst>
          </p:cNvPr>
          <p:cNvSpPr txBox="1"/>
          <p:nvPr/>
        </p:nvSpPr>
        <p:spPr>
          <a:xfrm>
            <a:off x="5155495" y="5316221"/>
            <a:ext cx="1194761" cy="328295"/>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25400" tIns="25400" rIns="25400" bIns="25400" numCol="1" anchor="t">
            <a:spAutoFit/>
          </a:bodyPr>
          <a:lstStyle>
            <a:lvl1pPr algn="l">
              <a:defRPr sz="2800" b="0">
                <a:solidFill>
                  <a:srgbClr val="FFFFFF"/>
                </a:solidFill>
                <a:latin typeface="Barlow Bold"/>
                <a:ea typeface="Barlow Bold"/>
                <a:cs typeface="Barlow Bold"/>
                <a:sym typeface="Barlow Bold"/>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800" b="1" i="0" u="none" strike="noStrike" kern="1200" cap="none" spc="0" normalizeH="0" baseline="0" noProof="0" dirty="0">
                <a:ln>
                  <a:noFill/>
                </a:ln>
                <a:solidFill>
                  <a:srgbClr val="FFFFFF"/>
                </a:solidFill>
                <a:effectLst/>
                <a:uLnTx/>
                <a:uFillTx/>
                <a:latin typeface="OPPOSans R" panose="00020600040101010101" pitchFamily="18" charset="-122"/>
                <a:ea typeface="OPPOSans R" panose="00020600040101010101" pitchFamily="18" charset="-122"/>
                <a:cs typeface="OPPOSans R" panose="00020600040101010101" pitchFamily="18" charset="-122"/>
                <a:sym typeface="Barlow Bold"/>
              </a:rPr>
              <a:t>更轻松</a:t>
            </a:r>
          </a:p>
        </p:txBody>
      </p:sp>
    </p:spTree>
    <p:extLst>
      <p:ext uri="{BB962C8B-B14F-4D97-AF65-F5344CB8AC3E}">
        <p14:creationId xmlns:p14="http://schemas.microsoft.com/office/powerpoint/2010/main" val="2975311993"/>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文本框 10">
            <a:extLst>
              <a:ext uri="{FF2B5EF4-FFF2-40B4-BE49-F238E27FC236}">
                <a16:creationId xmlns:a16="http://schemas.microsoft.com/office/drawing/2014/main" id="{E4393356-E9A7-46D9-B5F5-0D21EC991A29}"/>
              </a:ext>
            </a:extLst>
          </p:cNvPr>
          <p:cNvSpPr txBox="1"/>
          <p:nvPr/>
        </p:nvSpPr>
        <p:spPr>
          <a:xfrm>
            <a:off x="1941017" y="2813447"/>
            <a:ext cx="8309967" cy="1107996"/>
          </a:xfrm>
          <a:prstGeom prst="rect">
            <a:avLst/>
          </a:prstGeom>
          <a:noFill/>
        </p:spPr>
        <p:txBody>
          <a:bodyPr wrap="none" lIns="0" tIns="0" rIns="0" bIns="0" rtlCol="0" anchor="t">
            <a:spAutoFit/>
          </a:bodyPr>
          <a:lstStyle/>
          <a:p>
            <a:pPr algn="ctr"/>
            <a:r>
              <a:rPr lang="zh-CN" altLang="en-US" sz="7200" dirty="0">
                <a:solidFill>
                  <a:schemeClr val="accent1">
                    <a:lumMod val="100000"/>
                  </a:schemeClr>
                </a:solidFill>
                <a:latin typeface="+mj-ea"/>
                <a:ea typeface="+mj-ea"/>
              </a:rPr>
              <a:t>输入你的封面大标题</a:t>
            </a:r>
          </a:p>
        </p:txBody>
      </p:sp>
      <p:sp>
        <p:nvSpPr>
          <p:cNvPr id="12" name="文本框 11">
            <a:extLst>
              <a:ext uri="{FF2B5EF4-FFF2-40B4-BE49-F238E27FC236}">
                <a16:creationId xmlns:a16="http://schemas.microsoft.com/office/drawing/2014/main" id="{08D1ED60-C0E7-408E-A5AA-59B489440FCB}"/>
              </a:ext>
            </a:extLst>
          </p:cNvPr>
          <p:cNvSpPr txBox="1"/>
          <p:nvPr/>
        </p:nvSpPr>
        <p:spPr>
          <a:xfrm>
            <a:off x="2029968" y="2275523"/>
            <a:ext cx="4001095" cy="369332"/>
          </a:xfrm>
          <a:prstGeom prst="rect">
            <a:avLst/>
          </a:prstGeom>
          <a:noFill/>
        </p:spPr>
        <p:txBody>
          <a:bodyPr wrap="none" lIns="0" tIns="0" rIns="0" bIns="0" rtlCol="0" anchor="t">
            <a:spAutoFit/>
          </a:bodyPr>
          <a:lstStyle/>
          <a:p>
            <a:pPr algn="ctr"/>
            <a:r>
              <a:rPr lang="zh-CN" altLang="en-US" sz="2400" dirty="0">
                <a:solidFill>
                  <a:schemeClr val="accent1">
                    <a:lumMod val="100000"/>
                  </a:schemeClr>
                </a:solidFill>
                <a:latin typeface="+mn-ea"/>
              </a:rPr>
              <a:t>输入你的副标题或大标题英文</a:t>
            </a:r>
          </a:p>
        </p:txBody>
      </p:sp>
      <p:cxnSp>
        <p:nvCxnSpPr>
          <p:cNvPr id="15" name="直接连接符 14">
            <a:extLst>
              <a:ext uri="{FF2B5EF4-FFF2-40B4-BE49-F238E27FC236}">
                <a16:creationId xmlns:a16="http://schemas.microsoft.com/office/drawing/2014/main" id="{C6CC629A-E754-4728-BB95-563C56597B63}"/>
              </a:ext>
            </a:extLst>
          </p:cNvPr>
          <p:cNvCxnSpPr>
            <a:cxnSpLocks/>
          </p:cNvCxnSpPr>
          <p:nvPr/>
        </p:nvCxnSpPr>
        <p:spPr>
          <a:xfrm flipH="1">
            <a:off x="6172200" y="2465975"/>
            <a:ext cx="4014216" cy="0"/>
          </a:xfrm>
          <a:prstGeom prst="line">
            <a:avLst/>
          </a:prstGeom>
          <a:ln w="19050">
            <a:solidFill>
              <a:schemeClr val="accent1">
                <a:lumMod val="100000"/>
              </a:schemeClr>
            </a:solidFill>
          </a:ln>
        </p:spPr>
        <p:style>
          <a:lnRef idx="1">
            <a:schemeClr val="accent1"/>
          </a:lnRef>
          <a:fillRef idx="0">
            <a:schemeClr val="accent1"/>
          </a:fillRef>
          <a:effectRef idx="0">
            <a:schemeClr val="accent1"/>
          </a:effectRef>
          <a:fontRef idx="minor">
            <a:schemeClr val="tx1"/>
          </a:fontRef>
        </p:style>
      </p:cxnSp>
      <p:grpSp>
        <p:nvGrpSpPr>
          <p:cNvPr id="18" name="组合 17">
            <a:extLst>
              <a:ext uri="{FF2B5EF4-FFF2-40B4-BE49-F238E27FC236}">
                <a16:creationId xmlns:a16="http://schemas.microsoft.com/office/drawing/2014/main" id="{FC799265-AC15-410F-82A2-679AB60B288F}"/>
              </a:ext>
            </a:extLst>
          </p:cNvPr>
          <p:cNvGrpSpPr/>
          <p:nvPr/>
        </p:nvGrpSpPr>
        <p:grpSpPr>
          <a:xfrm>
            <a:off x="1708440" y="4268914"/>
            <a:ext cx="1475214" cy="246221"/>
            <a:chOff x="4095451" y="4640913"/>
            <a:chExt cx="1475214" cy="246221"/>
          </a:xfrm>
        </p:grpSpPr>
        <p:sp>
          <p:nvSpPr>
            <p:cNvPr id="16" name="矩形 15">
              <a:extLst>
                <a:ext uri="{FF2B5EF4-FFF2-40B4-BE49-F238E27FC236}">
                  <a16:creationId xmlns:a16="http://schemas.microsoft.com/office/drawing/2014/main" id="{74C493E7-1B47-4349-BC5B-BF3163490795}"/>
                </a:ext>
              </a:extLst>
            </p:cNvPr>
            <p:cNvSpPr/>
            <p:nvPr/>
          </p:nvSpPr>
          <p:spPr>
            <a:xfrm>
              <a:off x="4095451" y="4672584"/>
              <a:ext cx="164592" cy="164592"/>
            </a:xfrm>
            <a:prstGeom prst="rect">
              <a:avLst/>
            </a:prstGeom>
            <a:solidFill>
              <a:schemeClr val="accent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p>
          </p:txBody>
        </p:sp>
        <p:sp>
          <p:nvSpPr>
            <p:cNvPr id="17" name="文本框 16">
              <a:extLst>
                <a:ext uri="{FF2B5EF4-FFF2-40B4-BE49-F238E27FC236}">
                  <a16:creationId xmlns:a16="http://schemas.microsoft.com/office/drawing/2014/main" id="{B804F6AA-7656-4EF8-84F0-3B3FB5CF0922}"/>
                </a:ext>
              </a:extLst>
            </p:cNvPr>
            <p:cNvSpPr txBox="1"/>
            <p:nvPr/>
          </p:nvSpPr>
          <p:spPr>
            <a:xfrm>
              <a:off x="4408487" y="4640913"/>
              <a:ext cx="1162178" cy="246221"/>
            </a:xfrm>
            <a:prstGeom prst="rect">
              <a:avLst/>
            </a:prstGeom>
            <a:noFill/>
          </p:spPr>
          <p:txBody>
            <a:bodyPr wrap="none" lIns="0" tIns="0" rIns="0" bIns="0" rtlCol="0" anchor="t">
              <a:spAutoFit/>
            </a:bodyPr>
            <a:lstStyle/>
            <a:p>
              <a:r>
                <a:rPr lang="zh-CN" altLang="en-US" sz="1600" dirty="0">
                  <a:solidFill>
                    <a:schemeClr val="accent1">
                      <a:lumMod val="100000"/>
                    </a:schemeClr>
                  </a:solidFill>
                  <a:latin typeface="+mn-ea"/>
                </a:rPr>
                <a:t>汇报人：</a:t>
              </a:r>
              <a:r>
                <a:rPr lang="en-US" altLang="zh-CN" sz="1600" dirty="0">
                  <a:solidFill>
                    <a:schemeClr val="accent1">
                      <a:lumMod val="100000"/>
                    </a:schemeClr>
                  </a:solidFill>
                  <a:latin typeface="+mn-ea"/>
                </a:rPr>
                <a:t>xxx</a:t>
              </a:r>
              <a:endParaRPr lang="zh-CN" altLang="en-US" sz="1600" dirty="0">
                <a:solidFill>
                  <a:schemeClr val="accent1">
                    <a:lumMod val="100000"/>
                  </a:schemeClr>
                </a:solidFill>
                <a:latin typeface="+mn-ea"/>
              </a:endParaRPr>
            </a:p>
          </p:txBody>
        </p:sp>
      </p:grpSp>
      <p:grpSp>
        <p:nvGrpSpPr>
          <p:cNvPr id="19" name="组合 18">
            <a:extLst>
              <a:ext uri="{FF2B5EF4-FFF2-40B4-BE49-F238E27FC236}">
                <a16:creationId xmlns:a16="http://schemas.microsoft.com/office/drawing/2014/main" id="{482B1619-178E-45D1-BC39-C5F4314075B6}"/>
              </a:ext>
            </a:extLst>
          </p:cNvPr>
          <p:cNvGrpSpPr/>
          <p:nvPr/>
        </p:nvGrpSpPr>
        <p:grpSpPr>
          <a:xfrm>
            <a:off x="3967008" y="4268914"/>
            <a:ext cx="1270029" cy="246221"/>
            <a:chOff x="4095451" y="4640913"/>
            <a:chExt cx="1270029" cy="246221"/>
          </a:xfrm>
        </p:grpSpPr>
        <p:sp>
          <p:nvSpPr>
            <p:cNvPr id="20" name="矩形 19">
              <a:extLst>
                <a:ext uri="{FF2B5EF4-FFF2-40B4-BE49-F238E27FC236}">
                  <a16:creationId xmlns:a16="http://schemas.microsoft.com/office/drawing/2014/main" id="{3A1AE345-38CE-49BE-9E58-2C20078777A3}"/>
                </a:ext>
              </a:extLst>
            </p:cNvPr>
            <p:cNvSpPr/>
            <p:nvPr/>
          </p:nvSpPr>
          <p:spPr>
            <a:xfrm>
              <a:off x="4095451" y="4672584"/>
              <a:ext cx="164592" cy="164592"/>
            </a:xfrm>
            <a:prstGeom prst="rect">
              <a:avLst/>
            </a:prstGeom>
            <a:solidFill>
              <a:schemeClr val="accent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p>
          </p:txBody>
        </p:sp>
        <p:sp>
          <p:nvSpPr>
            <p:cNvPr id="21" name="文本框 20">
              <a:extLst>
                <a:ext uri="{FF2B5EF4-FFF2-40B4-BE49-F238E27FC236}">
                  <a16:creationId xmlns:a16="http://schemas.microsoft.com/office/drawing/2014/main" id="{FCC3031D-C171-43E7-B549-82FC96054817}"/>
                </a:ext>
              </a:extLst>
            </p:cNvPr>
            <p:cNvSpPr txBox="1"/>
            <p:nvPr/>
          </p:nvSpPr>
          <p:spPr>
            <a:xfrm>
              <a:off x="4408487" y="4640913"/>
              <a:ext cx="956993" cy="246221"/>
            </a:xfrm>
            <a:prstGeom prst="rect">
              <a:avLst/>
            </a:prstGeom>
            <a:noFill/>
          </p:spPr>
          <p:txBody>
            <a:bodyPr wrap="none" lIns="0" tIns="0" rIns="0" bIns="0" rtlCol="0" anchor="t">
              <a:spAutoFit/>
            </a:bodyPr>
            <a:lstStyle/>
            <a:p>
              <a:r>
                <a:rPr lang="zh-CN" altLang="en-US" sz="1600" dirty="0">
                  <a:solidFill>
                    <a:schemeClr val="accent1">
                      <a:lumMod val="100000"/>
                    </a:schemeClr>
                  </a:solidFill>
                  <a:latin typeface="+mn-ea"/>
                </a:rPr>
                <a:t>单位：</a:t>
              </a:r>
              <a:r>
                <a:rPr lang="en-US" altLang="zh-CN" sz="1600" dirty="0">
                  <a:solidFill>
                    <a:schemeClr val="accent1">
                      <a:lumMod val="100000"/>
                    </a:schemeClr>
                  </a:solidFill>
                  <a:latin typeface="+mn-ea"/>
                </a:rPr>
                <a:t>xxx</a:t>
              </a:r>
              <a:endParaRPr lang="zh-CN" altLang="en-US" sz="1600" dirty="0">
                <a:solidFill>
                  <a:schemeClr val="accent1">
                    <a:lumMod val="100000"/>
                  </a:schemeClr>
                </a:solidFill>
                <a:latin typeface="+mn-ea"/>
              </a:endParaRPr>
            </a:p>
          </p:txBody>
        </p:sp>
      </p:grpSp>
      <p:sp>
        <p:nvSpPr>
          <p:cNvPr id="2" name="矩形 1">
            <a:extLst>
              <a:ext uri="{FF2B5EF4-FFF2-40B4-BE49-F238E27FC236}">
                <a16:creationId xmlns:a16="http://schemas.microsoft.com/office/drawing/2014/main" id="{BE77E067-C85E-4716-95AA-0FD0D805A140}"/>
              </a:ext>
            </a:extLst>
          </p:cNvPr>
          <p:cNvSpPr/>
          <p:nvPr/>
        </p:nvSpPr>
        <p:spPr>
          <a:xfrm flipH="1">
            <a:off x="1708440" y="2275523"/>
            <a:ext cx="91440" cy="1519237"/>
          </a:xfrm>
          <a:prstGeom prst="rect">
            <a:avLst/>
          </a:prstGeom>
          <a:solidFill>
            <a:schemeClr val="accent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p>
        </p:txBody>
      </p:sp>
    </p:spTree>
    <p:extLst>
      <p:ext uri="{BB962C8B-B14F-4D97-AF65-F5344CB8AC3E}">
        <p14:creationId xmlns:p14="http://schemas.microsoft.com/office/powerpoint/2010/main" val="431442989"/>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组合 6">
            <a:extLst>
              <a:ext uri="{FF2B5EF4-FFF2-40B4-BE49-F238E27FC236}">
                <a16:creationId xmlns:a16="http://schemas.microsoft.com/office/drawing/2014/main" id="{374A6EA9-544E-4FA3-9D01-3318DEC21ADC}"/>
              </a:ext>
            </a:extLst>
          </p:cNvPr>
          <p:cNvGrpSpPr/>
          <p:nvPr/>
        </p:nvGrpSpPr>
        <p:grpSpPr>
          <a:xfrm>
            <a:off x="0" y="0"/>
            <a:ext cx="12192000" cy="4049486"/>
            <a:chOff x="0" y="0"/>
            <a:chExt cx="12192000" cy="3383351"/>
          </a:xfrm>
        </p:grpSpPr>
        <p:sp>
          <p:nvSpPr>
            <p:cNvPr id="3" name="任意多边形: 形状 2">
              <a:extLst>
                <a:ext uri="{FF2B5EF4-FFF2-40B4-BE49-F238E27FC236}">
                  <a16:creationId xmlns:a16="http://schemas.microsoft.com/office/drawing/2014/main" id="{1FC6C3FB-B9AD-4DAE-AF12-2C7198BD59BC}"/>
                </a:ext>
              </a:extLst>
            </p:cNvPr>
            <p:cNvSpPr/>
            <p:nvPr/>
          </p:nvSpPr>
          <p:spPr>
            <a:xfrm>
              <a:off x="0" y="0"/>
              <a:ext cx="12192000" cy="3149600"/>
            </a:xfrm>
            <a:custGeom>
              <a:avLst/>
              <a:gdLst>
                <a:gd name="connsiteX0" fmla="*/ 0 w 12192000"/>
                <a:gd name="connsiteY0" fmla="*/ 0 h 5152104"/>
                <a:gd name="connsiteX1" fmla="*/ 12192000 w 12192000"/>
                <a:gd name="connsiteY1" fmla="*/ 0 h 5152104"/>
                <a:gd name="connsiteX2" fmla="*/ 12192000 w 12192000"/>
                <a:gd name="connsiteY2" fmla="*/ 914400 h 5152104"/>
                <a:gd name="connsiteX3" fmla="*/ 12192000 w 12192000"/>
                <a:gd name="connsiteY3" fmla="*/ 2273300 h 5152104"/>
                <a:gd name="connsiteX4" fmla="*/ 12192000 w 12192000"/>
                <a:gd name="connsiteY4" fmla="*/ 3817006 h 5152104"/>
                <a:gd name="connsiteX5" fmla="*/ 12046037 w 12192000"/>
                <a:gd name="connsiteY5" fmla="*/ 3906640 h 5152104"/>
                <a:gd name="connsiteX6" fmla="*/ 6096000 w 12192000"/>
                <a:gd name="connsiteY6" fmla="*/ 5152104 h 5152104"/>
                <a:gd name="connsiteX7" fmla="*/ 145963 w 12192000"/>
                <a:gd name="connsiteY7" fmla="*/ 3906640 h 5152104"/>
                <a:gd name="connsiteX8" fmla="*/ 0 w 12192000"/>
                <a:gd name="connsiteY8" fmla="*/ 3817006 h 5152104"/>
                <a:gd name="connsiteX9" fmla="*/ 0 w 12192000"/>
                <a:gd name="connsiteY9" fmla="*/ 2273300 h 5152104"/>
                <a:gd name="connsiteX10" fmla="*/ 0 w 12192000"/>
                <a:gd name="connsiteY10" fmla="*/ 914400 h 5152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2000" h="5152104">
                  <a:moveTo>
                    <a:pt x="0" y="0"/>
                  </a:moveTo>
                  <a:lnTo>
                    <a:pt x="12192000" y="0"/>
                  </a:lnTo>
                  <a:lnTo>
                    <a:pt x="12192000" y="914400"/>
                  </a:lnTo>
                  <a:lnTo>
                    <a:pt x="12192000" y="2273300"/>
                  </a:lnTo>
                  <a:lnTo>
                    <a:pt x="12192000" y="3817006"/>
                  </a:lnTo>
                  <a:lnTo>
                    <a:pt x="12046037" y="3906640"/>
                  </a:lnTo>
                  <a:cubicBezTo>
                    <a:pt x="10756548" y="4658064"/>
                    <a:pt x="8572824" y="5152104"/>
                    <a:pt x="6096000" y="5152104"/>
                  </a:cubicBezTo>
                  <a:cubicBezTo>
                    <a:pt x="3619176" y="5152104"/>
                    <a:pt x="1435452" y="4658064"/>
                    <a:pt x="145963" y="3906640"/>
                  </a:cubicBezTo>
                  <a:lnTo>
                    <a:pt x="0" y="3817006"/>
                  </a:lnTo>
                  <a:lnTo>
                    <a:pt x="0" y="2273300"/>
                  </a:lnTo>
                  <a:lnTo>
                    <a:pt x="0" y="9144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6000" dirty="0"/>
            </a:p>
          </p:txBody>
        </p:sp>
        <p:sp>
          <p:nvSpPr>
            <p:cNvPr id="6" name="任意多边形: 形状 5">
              <a:extLst>
                <a:ext uri="{FF2B5EF4-FFF2-40B4-BE49-F238E27FC236}">
                  <a16:creationId xmlns:a16="http://schemas.microsoft.com/office/drawing/2014/main" id="{0AD41A51-B0C3-458A-9ECB-F3578F0D3508}"/>
                </a:ext>
              </a:extLst>
            </p:cNvPr>
            <p:cNvSpPr/>
            <p:nvPr/>
          </p:nvSpPr>
          <p:spPr>
            <a:xfrm>
              <a:off x="0" y="2567175"/>
              <a:ext cx="12192000" cy="816176"/>
            </a:xfrm>
            <a:custGeom>
              <a:avLst/>
              <a:gdLst>
                <a:gd name="connsiteX0" fmla="*/ 0 w 12192000"/>
                <a:gd name="connsiteY0" fmla="*/ 0 h 5152104"/>
                <a:gd name="connsiteX1" fmla="*/ 12192000 w 12192000"/>
                <a:gd name="connsiteY1" fmla="*/ 0 h 5152104"/>
                <a:gd name="connsiteX2" fmla="*/ 12192000 w 12192000"/>
                <a:gd name="connsiteY2" fmla="*/ 914400 h 5152104"/>
                <a:gd name="connsiteX3" fmla="*/ 12192000 w 12192000"/>
                <a:gd name="connsiteY3" fmla="*/ 2273300 h 5152104"/>
                <a:gd name="connsiteX4" fmla="*/ 12192000 w 12192000"/>
                <a:gd name="connsiteY4" fmla="*/ 3817006 h 5152104"/>
                <a:gd name="connsiteX5" fmla="*/ 12046037 w 12192000"/>
                <a:gd name="connsiteY5" fmla="*/ 3906640 h 5152104"/>
                <a:gd name="connsiteX6" fmla="*/ 6096000 w 12192000"/>
                <a:gd name="connsiteY6" fmla="*/ 5152104 h 5152104"/>
                <a:gd name="connsiteX7" fmla="*/ 145963 w 12192000"/>
                <a:gd name="connsiteY7" fmla="*/ 3906640 h 5152104"/>
                <a:gd name="connsiteX8" fmla="*/ 0 w 12192000"/>
                <a:gd name="connsiteY8" fmla="*/ 3817006 h 5152104"/>
                <a:gd name="connsiteX9" fmla="*/ 0 w 12192000"/>
                <a:gd name="connsiteY9" fmla="*/ 2273300 h 5152104"/>
                <a:gd name="connsiteX10" fmla="*/ 0 w 12192000"/>
                <a:gd name="connsiteY10" fmla="*/ 914400 h 5152104"/>
                <a:gd name="connsiteX0" fmla="*/ 12192000 w 12283440"/>
                <a:gd name="connsiteY0" fmla="*/ 0 h 5152104"/>
                <a:gd name="connsiteX1" fmla="*/ 12192000 w 12283440"/>
                <a:gd name="connsiteY1" fmla="*/ 914400 h 5152104"/>
                <a:gd name="connsiteX2" fmla="*/ 12192000 w 12283440"/>
                <a:gd name="connsiteY2" fmla="*/ 2273300 h 5152104"/>
                <a:gd name="connsiteX3" fmla="*/ 12192000 w 12283440"/>
                <a:gd name="connsiteY3" fmla="*/ 3817006 h 5152104"/>
                <a:gd name="connsiteX4" fmla="*/ 12046037 w 12283440"/>
                <a:gd name="connsiteY4" fmla="*/ 3906640 h 5152104"/>
                <a:gd name="connsiteX5" fmla="*/ 6096000 w 12283440"/>
                <a:gd name="connsiteY5" fmla="*/ 5152104 h 5152104"/>
                <a:gd name="connsiteX6" fmla="*/ 145963 w 12283440"/>
                <a:gd name="connsiteY6" fmla="*/ 3906640 h 5152104"/>
                <a:gd name="connsiteX7" fmla="*/ 0 w 12283440"/>
                <a:gd name="connsiteY7" fmla="*/ 3817006 h 5152104"/>
                <a:gd name="connsiteX8" fmla="*/ 0 w 12283440"/>
                <a:gd name="connsiteY8" fmla="*/ 2273300 h 5152104"/>
                <a:gd name="connsiteX9" fmla="*/ 0 w 12283440"/>
                <a:gd name="connsiteY9" fmla="*/ 914400 h 5152104"/>
                <a:gd name="connsiteX10" fmla="*/ 0 w 12283440"/>
                <a:gd name="connsiteY10" fmla="*/ 0 h 5152104"/>
                <a:gd name="connsiteX11" fmla="*/ 12283440 w 12283440"/>
                <a:gd name="connsiteY11" fmla="*/ 149577 h 5152104"/>
                <a:gd name="connsiteX0" fmla="*/ 12192000 w 13194418"/>
                <a:gd name="connsiteY0" fmla="*/ 0 h 5152104"/>
                <a:gd name="connsiteX1" fmla="*/ 12192000 w 13194418"/>
                <a:gd name="connsiteY1" fmla="*/ 914400 h 5152104"/>
                <a:gd name="connsiteX2" fmla="*/ 12192000 w 13194418"/>
                <a:gd name="connsiteY2" fmla="*/ 2273300 h 5152104"/>
                <a:gd name="connsiteX3" fmla="*/ 12192000 w 13194418"/>
                <a:gd name="connsiteY3" fmla="*/ 3817006 h 5152104"/>
                <a:gd name="connsiteX4" fmla="*/ 12046037 w 13194418"/>
                <a:gd name="connsiteY4" fmla="*/ 3906640 h 5152104"/>
                <a:gd name="connsiteX5" fmla="*/ 6096000 w 13194418"/>
                <a:gd name="connsiteY5" fmla="*/ 5152104 h 5152104"/>
                <a:gd name="connsiteX6" fmla="*/ 145963 w 13194418"/>
                <a:gd name="connsiteY6" fmla="*/ 3906640 h 5152104"/>
                <a:gd name="connsiteX7" fmla="*/ 0 w 13194418"/>
                <a:gd name="connsiteY7" fmla="*/ 3817006 h 5152104"/>
                <a:gd name="connsiteX8" fmla="*/ 0 w 13194418"/>
                <a:gd name="connsiteY8" fmla="*/ 2273300 h 5152104"/>
                <a:gd name="connsiteX9" fmla="*/ 0 w 13194418"/>
                <a:gd name="connsiteY9" fmla="*/ 914400 h 5152104"/>
                <a:gd name="connsiteX10" fmla="*/ 0 w 13194418"/>
                <a:gd name="connsiteY10" fmla="*/ 0 h 5152104"/>
                <a:gd name="connsiteX11" fmla="*/ 12283440 w 13194418"/>
                <a:gd name="connsiteY11" fmla="*/ 149577 h 5152104"/>
                <a:gd name="connsiteX12" fmla="*/ 12287250 w 13194418"/>
                <a:gd name="connsiteY12" fmla="*/ 248916 h 5152104"/>
                <a:gd name="connsiteX0" fmla="*/ 12192000 w 12283440"/>
                <a:gd name="connsiteY0" fmla="*/ 0 h 5152104"/>
                <a:gd name="connsiteX1" fmla="*/ 12192000 w 12283440"/>
                <a:gd name="connsiteY1" fmla="*/ 914400 h 5152104"/>
                <a:gd name="connsiteX2" fmla="*/ 12192000 w 12283440"/>
                <a:gd name="connsiteY2" fmla="*/ 2273300 h 5152104"/>
                <a:gd name="connsiteX3" fmla="*/ 12192000 w 12283440"/>
                <a:gd name="connsiteY3" fmla="*/ 3817006 h 5152104"/>
                <a:gd name="connsiteX4" fmla="*/ 12046037 w 12283440"/>
                <a:gd name="connsiteY4" fmla="*/ 3906640 h 5152104"/>
                <a:gd name="connsiteX5" fmla="*/ 6096000 w 12283440"/>
                <a:gd name="connsiteY5" fmla="*/ 5152104 h 5152104"/>
                <a:gd name="connsiteX6" fmla="*/ 145963 w 12283440"/>
                <a:gd name="connsiteY6" fmla="*/ 3906640 h 5152104"/>
                <a:gd name="connsiteX7" fmla="*/ 0 w 12283440"/>
                <a:gd name="connsiteY7" fmla="*/ 3817006 h 5152104"/>
                <a:gd name="connsiteX8" fmla="*/ 0 w 12283440"/>
                <a:gd name="connsiteY8" fmla="*/ 2273300 h 5152104"/>
                <a:gd name="connsiteX9" fmla="*/ 0 w 12283440"/>
                <a:gd name="connsiteY9" fmla="*/ 914400 h 5152104"/>
                <a:gd name="connsiteX10" fmla="*/ 0 w 12283440"/>
                <a:gd name="connsiteY10" fmla="*/ 0 h 5152104"/>
                <a:gd name="connsiteX11" fmla="*/ 12283440 w 12283440"/>
                <a:gd name="connsiteY11" fmla="*/ 149577 h 5152104"/>
                <a:gd name="connsiteX0" fmla="*/ 12192000 w 12192000"/>
                <a:gd name="connsiteY0" fmla="*/ 0 h 5152104"/>
                <a:gd name="connsiteX1" fmla="*/ 12192000 w 12192000"/>
                <a:gd name="connsiteY1" fmla="*/ 914400 h 5152104"/>
                <a:gd name="connsiteX2" fmla="*/ 12192000 w 12192000"/>
                <a:gd name="connsiteY2" fmla="*/ 2273300 h 5152104"/>
                <a:gd name="connsiteX3" fmla="*/ 12192000 w 12192000"/>
                <a:gd name="connsiteY3" fmla="*/ 3817006 h 5152104"/>
                <a:gd name="connsiteX4" fmla="*/ 12046037 w 12192000"/>
                <a:gd name="connsiteY4" fmla="*/ 3906640 h 5152104"/>
                <a:gd name="connsiteX5" fmla="*/ 6096000 w 12192000"/>
                <a:gd name="connsiteY5" fmla="*/ 5152104 h 5152104"/>
                <a:gd name="connsiteX6" fmla="*/ 145963 w 12192000"/>
                <a:gd name="connsiteY6" fmla="*/ 3906640 h 5152104"/>
                <a:gd name="connsiteX7" fmla="*/ 0 w 12192000"/>
                <a:gd name="connsiteY7" fmla="*/ 3817006 h 5152104"/>
                <a:gd name="connsiteX8" fmla="*/ 0 w 12192000"/>
                <a:gd name="connsiteY8" fmla="*/ 2273300 h 5152104"/>
                <a:gd name="connsiteX9" fmla="*/ 0 w 12192000"/>
                <a:gd name="connsiteY9" fmla="*/ 914400 h 5152104"/>
                <a:gd name="connsiteX10" fmla="*/ 0 w 12192000"/>
                <a:gd name="connsiteY10" fmla="*/ 0 h 5152104"/>
                <a:gd name="connsiteX0" fmla="*/ 12192000 w 12192000"/>
                <a:gd name="connsiteY0" fmla="*/ 914400 h 5152104"/>
                <a:gd name="connsiteX1" fmla="*/ 12192000 w 12192000"/>
                <a:gd name="connsiteY1" fmla="*/ 2273300 h 5152104"/>
                <a:gd name="connsiteX2" fmla="*/ 12192000 w 12192000"/>
                <a:gd name="connsiteY2" fmla="*/ 3817006 h 5152104"/>
                <a:gd name="connsiteX3" fmla="*/ 12046037 w 12192000"/>
                <a:gd name="connsiteY3" fmla="*/ 3906640 h 5152104"/>
                <a:gd name="connsiteX4" fmla="*/ 6096000 w 12192000"/>
                <a:gd name="connsiteY4" fmla="*/ 5152104 h 5152104"/>
                <a:gd name="connsiteX5" fmla="*/ 145963 w 12192000"/>
                <a:gd name="connsiteY5" fmla="*/ 3906640 h 5152104"/>
                <a:gd name="connsiteX6" fmla="*/ 0 w 12192000"/>
                <a:gd name="connsiteY6" fmla="*/ 3817006 h 5152104"/>
                <a:gd name="connsiteX7" fmla="*/ 0 w 12192000"/>
                <a:gd name="connsiteY7" fmla="*/ 2273300 h 5152104"/>
                <a:gd name="connsiteX8" fmla="*/ 0 w 12192000"/>
                <a:gd name="connsiteY8" fmla="*/ 914400 h 5152104"/>
                <a:gd name="connsiteX9" fmla="*/ 0 w 12192000"/>
                <a:gd name="connsiteY9" fmla="*/ 0 h 5152104"/>
                <a:gd name="connsiteX0" fmla="*/ 12192000 w 12192000"/>
                <a:gd name="connsiteY0" fmla="*/ 2273300 h 5152104"/>
                <a:gd name="connsiteX1" fmla="*/ 12192000 w 12192000"/>
                <a:gd name="connsiteY1" fmla="*/ 3817006 h 5152104"/>
                <a:gd name="connsiteX2" fmla="*/ 12046037 w 12192000"/>
                <a:gd name="connsiteY2" fmla="*/ 3906640 h 5152104"/>
                <a:gd name="connsiteX3" fmla="*/ 6096000 w 12192000"/>
                <a:gd name="connsiteY3" fmla="*/ 5152104 h 5152104"/>
                <a:gd name="connsiteX4" fmla="*/ 145963 w 12192000"/>
                <a:gd name="connsiteY4" fmla="*/ 3906640 h 5152104"/>
                <a:gd name="connsiteX5" fmla="*/ 0 w 12192000"/>
                <a:gd name="connsiteY5" fmla="*/ 3817006 h 5152104"/>
                <a:gd name="connsiteX6" fmla="*/ 0 w 12192000"/>
                <a:gd name="connsiteY6" fmla="*/ 2273300 h 5152104"/>
                <a:gd name="connsiteX7" fmla="*/ 0 w 12192000"/>
                <a:gd name="connsiteY7" fmla="*/ 914400 h 5152104"/>
                <a:gd name="connsiteX8" fmla="*/ 0 w 12192000"/>
                <a:gd name="connsiteY8" fmla="*/ 0 h 5152104"/>
                <a:gd name="connsiteX0" fmla="*/ 12192000 w 12192000"/>
                <a:gd name="connsiteY0" fmla="*/ 3817006 h 5152104"/>
                <a:gd name="connsiteX1" fmla="*/ 12046037 w 12192000"/>
                <a:gd name="connsiteY1" fmla="*/ 3906640 h 5152104"/>
                <a:gd name="connsiteX2" fmla="*/ 6096000 w 12192000"/>
                <a:gd name="connsiteY2" fmla="*/ 5152104 h 5152104"/>
                <a:gd name="connsiteX3" fmla="*/ 145963 w 12192000"/>
                <a:gd name="connsiteY3" fmla="*/ 3906640 h 5152104"/>
                <a:gd name="connsiteX4" fmla="*/ 0 w 12192000"/>
                <a:gd name="connsiteY4" fmla="*/ 3817006 h 5152104"/>
                <a:gd name="connsiteX5" fmla="*/ 0 w 12192000"/>
                <a:gd name="connsiteY5" fmla="*/ 2273300 h 5152104"/>
                <a:gd name="connsiteX6" fmla="*/ 0 w 12192000"/>
                <a:gd name="connsiteY6" fmla="*/ 914400 h 5152104"/>
                <a:gd name="connsiteX7" fmla="*/ 0 w 12192000"/>
                <a:gd name="connsiteY7" fmla="*/ 0 h 5152104"/>
                <a:gd name="connsiteX0" fmla="*/ 12192000 w 12192000"/>
                <a:gd name="connsiteY0" fmla="*/ 2902606 h 4237704"/>
                <a:gd name="connsiteX1" fmla="*/ 12046037 w 12192000"/>
                <a:gd name="connsiteY1" fmla="*/ 2992240 h 4237704"/>
                <a:gd name="connsiteX2" fmla="*/ 6096000 w 12192000"/>
                <a:gd name="connsiteY2" fmla="*/ 4237704 h 4237704"/>
                <a:gd name="connsiteX3" fmla="*/ 145963 w 12192000"/>
                <a:gd name="connsiteY3" fmla="*/ 2992240 h 4237704"/>
                <a:gd name="connsiteX4" fmla="*/ 0 w 12192000"/>
                <a:gd name="connsiteY4" fmla="*/ 2902606 h 4237704"/>
                <a:gd name="connsiteX5" fmla="*/ 0 w 12192000"/>
                <a:gd name="connsiteY5" fmla="*/ 1358900 h 4237704"/>
                <a:gd name="connsiteX6" fmla="*/ 0 w 12192000"/>
                <a:gd name="connsiteY6" fmla="*/ 0 h 4237704"/>
                <a:gd name="connsiteX0" fmla="*/ 12192000 w 12192000"/>
                <a:gd name="connsiteY0" fmla="*/ 1543706 h 2878804"/>
                <a:gd name="connsiteX1" fmla="*/ 12046037 w 12192000"/>
                <a:gd name="connsiteY1" fmla="*/ 1633340 h 2878804"/>
                <a:gd name="connsiteX2" fmla="*/ 6096000 w 12192000"/>
                <a:gd name="connsiteY2" fmla="*/ 2878804 h 2878804"/>
                <a:gd name="connsiteX3" fmla="*/ 145963 w 12192000"/>
                <a:gd name="connsiteY3" fmla="*/ 1633340 h 2878804"/>
                <a:gd name="connsiteX4" fmla="*/ 0 w 12192000"/>
                <a:gd name="connsiteY4" fmla="*/ 1543706 h 2878804"/>
                <a:gd name="connsiteX5" fmla="*/ 0 w 12192000"/>
                <a:gd name="connsiteY5" fmla="*/ 0 h 2878804"/>
                <a:gd name="connsiteX0" fmla="*/ 12192000 w 12192000"/>
                <a:gd name="connsiteY0" fmla="*/ 0 h 1335098"/>
                <a:gd name="connsiteX1" fmla="*/ 12046037 w 12192000"/>
                <a:gd name="connsiteY1" fmla="*/ 89634 h 1335098"/>
                <a:gd name="connsiteX2" fmla="*/ 6096000 w 12192000"/>
                <a:gd name="connsiteY2" fmla="*/ 1335098 h 1335098"/>
                <a:gd name="connsiteX3" fmla="*/ 145963 w 12192000"/>
                <a:gd name="connsiteY3" fmla="*/ 89634 h 1335098"/>
                <a:gd name="connsiteX4" fmla="*/ 0 w 12192000"/>
                <a:gd name="connsiteY4" fmla="*/ 0 h 13350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1335098">
                  <a:moveTo>
                    <a:pt x="12192000" y="0"/>
                  </a:moveTo>
                  <a:lnTo>
                    <a:pt x="12046037" y="89634"/>
                  </a:lnTo>
                  <a:cubicBezTo>
                    <a:pt x="10756548" y="841058"/>
                    <a:pt x="8572824" y="1335098"/>
                    <a:pt x="6096000" y="1335098"/>
                  </a:cubicBezTo>
                  <a:cubicBezTo>
                    <a:pt x="3619176" y="1335098"/>
                    <a:pt x="1435452" y="841058"/>
                    <a:pt x="145963" y="89634"/>
                  </a:cubicBezTo>
                  <a:lnTo>
                    <a:pt x="0" y="0"/>
                  </a:lnTo>
                </a:path>
              </a:pathLst>
            </a:cu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6000" dirty="0"/>
            </a:p>
          </p:txBody>
        </p:sp>
      </p:grpSp>
      <p:sp>
        <p:nvSpPr>
          <p:cNvPr id="4" name="文本框 3">
            <a:extLst>
              <a:ext uri="{FF2B5EF4-FFF2-40B4-BE49-F238E27FC236}">
                <a16:creationId xmlns:a16="http://schemas.microsoft.com/office/drawing/2014/main" id="{D783682B-BFD3-4DC8-B33E-82961D1B6326}"/>
              </a:ext>
            </a:extLst>
          </p:cNvPr>
          <p:cNvSpPr txBox="1"/>
          <p:nvPr/>
        </p:nvSpPr>
        <p:spPr>
          <a:xfrm>
            <a:off x="4759151" y="641624"/>
            <a:ext cx="2673698" cy="1354217"/>
          </a:xfrm>
          <a:prstGeom prst="rect">
            <a:avLst/>
          </a:prstGeom>
          <a:noFill/>
        </p:spPr>
        <p:txBody>
          <a:bodyPr wrap="square" lIns="0" tIns="0" rIns="0" bIns="0" rtlCol="0" anchor="t">
            <a:spAutoFit/>
          </a:bodyPr>
          <a:lstStyle/>
          <a:p>
            <a:pPr algn="dist"/>
            <a:r>
              <a:rPr lang="zh-CN" altLang="en-US" sz="8800" dirty="0">
                <a:solidFill>
                  <a:schemeClr val="bg1"/>
                </a:solidFill>
                <a:latin typeface="+mj-ea"/>
                <a:ea typeface="+mj-ea"/>
              </a:rPr>
              <a:t>目录</a:t>
            </a:r>
          </a:p>
        </p:txBody>
      </p:sp>
      <p:sp>
        <p:nvSpPr>
          <p:cNvPr id="5" name="文本框 4">
            <a:extLst>
              <a:ext uri="{FF2B5EF4-FFF2-40B4-BE49-F238E27FC236}">
                <a16:creationId xmlns:a16="http://schemas.microsoft.com/office/drawing/2014/main" id="{0D7E2506-CB20-4A70-B669-CE658E32CA21}"/>
              </a:ext>
            </a:extLst>
          </p:cNvPr>
          <p:cNvSpPr txBox="1"/>
          <p:nvPr/>
        </p:nvSpPr>
        <p:spPr>
          <a:xfrm>
            <a:off x="4830282" y="2114526"/>
            <a:ext cx="2531437" cy="276999"/>
          </a:xfrm>
          <a:prstGeom prst="rect">
            <a:avLst/>
          </a:prstGeom>
          <a:noFill/>
        </p:spPr>
        <p:txBody>
          <a:bodyPr wrap="square" lIns="0" tIns="0" rIns="0" bIns="0" rtlCol="0" anchor="t">
            <a:spAutoFit/>
          </a:bodyPr>
          <a:lstStyle/>
          <a:p>
            <a:pPr algn="dist"/>
            <a:r>
              <a:rPr lang="en-US" altLang="zh-CN" dirty="0">
                <a:solidFill>
                  <a:schemeClr val="bg1"/>
                </a:solidFill>
              </a:rPr>
              <a:t>CONTENTS</a:t>
            </a:r>
            <a:endParaRPr lang="zh-CN" altLang="en-US" dirty="0">
              <a:solidFill>
                <a:schemeClr val="bg1"/>
              </a:solidFill>
            </a:endParaRPr>
          </a:p>
        </p:txBody>
      </p:sp>
      <p:sp>
        <p:nvSpPr>
          <p:cNvPr id="8" name="椭圆 7">
            <a:extLst>
              <a:ext uri="{FF2B5EF4-FFF2-40B4-BE49-F238E27FC236}">
                <a16:creationId xmlns:a16="http://schemas.microsoft.com/office/drawing/2014/main" id="{157286A9-0A21-420F-8284-742F9BD9DE25}"/>
              </a:ext>
            </a:extLst>
          </p:cNvPr>
          <p:cNvSpPr/>
          <p:nvPr/>
        </p:nvSpPr>
        <p:spPr>
          <a:xfrm>
            <a:off x="1023938" y="2684279"/>
            <a:ext cx="1543050" cy="1543050"/>
          </a:xfrm>
          <a:prstGeom prst="ellipse">
            <a:avLst/>
          </a:prstGeom>
          <a:solidFill>
            <a:schemeClr val="bg1"/>
          </a:solidFill>
          <a:ln>
            <a:noFill/>
          </a:ln>
          <a:effectLst>
            <a:outerShdw blurRad="228600" sx="102000" sy="1020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800" dirty="0">
                <a:solidFill>
                  <a:schemeClr val="accent1"/>
                </a:solidFill>
              </a:rPr>
              <a:t>图标</a:t>
            </a:r>
          </a:p>
        </p:txBody>
      </p:sp>
      <p:sp>
        <p:nvSpPr>
          <p:cNvPr id="9" name="文本框 8">
            <a:extLst>
              <a:ext uri="{FF2B5EF4-FFF2-40B4-BE49-F238E27FC236}">
                <a16:creationId xmlns:a16="http://schemas.microsoft.com/office/drawing/2014/main" id="{FED8F123-0572-497A-890C-42E28C66FAF3}"/>
              </a:ext>
            </a:extLst>
          </p:cNvPr>
          <p:cNvSpPr txBox="1"/>
          <p:nvPr/>
        </p:nvSpPr>
        <p:spPr>
          <a:xfrm>
            <a:off x="872134" y="4460546"/>
            <a:ext cx="1846659" cy="369332"/>
          </a:xfrm>
          <a:prstGeom prst="rect">
            <a:avLst/>
          </a:prstGeom>
          <a:noFill/>
        </p:spPr>
        <p:txBody>
          <a:bodyPr wrap="none" lIns="0" tIns="0" rIns="0" bIns="0" rtlCol="0" anchor="t">
            <a:spAutoFit/>
          </a:bodyPr>
          <a:lstStyle/>
          <a:p>
            <a:pPr algn="ctr"/>
            <a:r>
              <a:rPr lang="zh-CN" altLang="en-US" sz="2400" dirty="0">
                <a:solidFill>
                  <a:schemeClr val="accent1"/>
                </a:solidFill>
                <a:latin typeface="+mj-ea"/>
                <a:ea typeface="+mj-ea"/>
              </a:rPr>
              <a:t>输入目录标题</a:t>
            </a:r>
          </a:p>
        </p:txBody>
      </p:sp>
      <p:sp>
        <p:nvSpPr>
          <p:cNvPr id="10" name="文本框 9">
            <a:extLst>
              <a:ext uri="{FF2B5EF4-FFF2-40B4-BE49-F238E27FC236}">
                <a16:creationId xmlns:a16="http://schemas.microsoft.com/office/drawing/2014/main" id="{BE2F0D91-7DA0-4F4F-8E88-B1E63ECEEAA8}"/>
              </a:ext>
            </a:extLst>
          </p:cNvPr>
          <p:cNvSpPr txBox="1"/>
          <p:nvPr/>
        </p:nvSpPr>
        <p:spPr>
          <a:xfrm>
            <a:off x="872133" y="4921728"/>
            <a:ext cx="1846660" cy="215444"/>
          </a:xfrm>
          <a:prstGeom prst="rect">
            <a:avLst/>
          </a:prstGeom>
          <a:noFill/>
        </p:spPr>
        <p:txBody>
          <a:bodyPr wrap="square" lIns="0" tIns="0" rIns="0" bIns="0" rtlCol="0" anchor="t">
            <a:spAutoFit/>
          </a:bodyPr>
          <a:lstStyle/>
          <a:p>
            <a:pPr algn="dist"/>
            <a:r>
              <a:rPr lang="en-US" altLang="zh-CN" sz="1400" dirty="0">
                <a:solidFill>
                  <a:schemeClr val="accent1"/>
                </a:solidFill>
              </a:rPr>
              <a:t>Contents Title Here</a:t>
            </a:r>
            <a:endParaRPr lang="zh-CN" altLang="en-US" sz="1400" dirty="0">
              <a:solidFill>
                <a:schemeClr val="accent1"/>
              </a:solidFill>
            </a:endParaRPr>
          </a:p>
        </p:txBody>
      </p:sp>
      <p:sp>
        <p:nvSpPr>
          <p:cNvPr id="13" name="椭圆 12">
            <a:extLst>
              <a:ext uri="{FF2B5EF4-FFF2-40B4-BE49-F238E27FC236}">
                <a16:creationId xmlns:a16="http://schemas.microsoft.com/office/drawing/2014/main" id="{B02F5D3C-E445-4D47-85A2-0EF4CC580A1E}"/>
              </a:ext>
            </a:extLst>
          </p:cNvPr>
          <p:cNvSpPr/>
          <p:nvPr/>
        </p:nvSpPr>
        <p:spPr>
          <a:xfrm>
            <a:off x="3890963" y="2939002"/>
            <a:ext cx="1543050" cy="1543050"/>
          </a:xfrm>
          <a:prstGeom prst="ellipse">
            <a:avLst/>
          </a:prstGeom>
          <a:solidFill>
            <a:schemeClr val="bg1"/>
          </a:solidFill>
          <a:ln>
            <a:noFill/>
          </a:ln>
          <a:effectLst>
            <a:outerShdw blurRad="228600" sx="102000" sy="1020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800" dirty="0">
                <a:solidFill>
                  <a:schemeClr val="accent1"/>
                </a:solidFill>
              </a:rPr>
              <a:t>图标</a:t>
            </a:r>
          </a:p>
        </p:txBody>
      </p:sp>
      <p:sp>
        <p:nvSpPr>
          <p:cNvPr id="14" name="文本框 13">
            <a:extLst>
              <a:ext uri="{FF2B5EF4-FFF2-40B4-BE49-F238E27FC236}">
                <a16:creationId xmlns:a16="http://schemas.microsoft.com/office/drawing/2014/main" id="{F4898E21-D43E-4F69-A415-2F26EB8449AB}"/>
              </a:ext>
            </a:extLst>
          </p:cNvPr>
          <p:cNvSpPr txBox="1"/>
          <p:nvPr/>
        </p:nvSpPr>
        <p:spPr>
          <a:xfrm>
            <a:off x="3739159" y="4715269"/>
            <a:ext cx="1846659" cy="369332"/>
          </a:xfrm>
          <a:prstGeom prst="rect">
            <a:avLst/>
          </a:prstGeom>
          <a:noFill/>
        </p:spPr>
        <p:txBody>
          <a:bodyPr wrap="none" lIns="0" tIns="0" rIns="0" bIns="0" rtlCol="0" anchor="t">
            <a:spAutoFit/>
          </a:bodyPr>
          <a:lstStyle/>
          <a:p>
            <a:pPr algn="ctr"/>
            <a:r>
              <a:rPr lang="zh-CN" altLang="en-US" sz="2400" dirty="0">
                <a:solidFill>
                  <a:schemeClr val="accent1"/>
                </a:solidFill>
                <a:latin typeface="+mj-ea"/>
                <a:ea typeface="+mj-ea"/>
              </a:rPr>
              <a:t>输入目录标题</a:t>
            </a:r>
          </a:p>
        </p:txBody>
      </p:sp>
      <p:sp>
        <p:nvSpPr>
          <p:cNvPr id="15" name="文本框 14">
            <a:extLst>
              <a:ext uri="{FF2B5EF4-FFF2-40B4-BE49-F238E27FC236}">
                <a16:creationId xmlns:a16="http://schemas.microsoft.com/office/drawing/2014/main" id="{A0161D23-E017-48D7-A22D-D3AB5E08684B}"/>
              </a:ext>
            </a:extLst>
          </p:cNvPr>
          <p:cNvSpPr txBox="1"/>
          <p:nvPr/>
        </p:nvSpPr>
        <p:spPr>
          <a:xfrm>
            <a:off x="3739158" y="5176451"/>
            <a:ext cx="1846660" cy="215444"/>
          </a:xfrm>
          <a:prstGeom prst="rect">
            <a:avLst/>
          </a:prstGeom>
          <a:noFill/>
        </p:spPr>
        <p:txBody>
          <a:bodyPr wrap="square" lIns="0" tIns="0" rIns="0" bIns="0" rtlCol="0" anchor="t">
            <a:spAutoFit/>
          </a:bodyPr>
          <a:lstStyle/>
          <a:p>
            <a:pPr algn="dist"/>
            <a:r>
              <a:rPr lang="en-US" altLang="zh-CN" sz="1400" dirty="0">
                <a:solidFill>
                  <a:schemeClr val="accent1"/>
                </a:solidFill>
              </a:rPr>
              <a:t>Contents Title Here</a:t>
            </a:r>
            <a:endParaRPr lang="zh-CN" altLang="en-US" sz="1400" dirty="0">
              <a:solidFill>
                <a:schemeClr val="accent1"/>
              </a:solidFill>
            </a:endParaRPr>
          </a:p>
        </p:txBody>
      </p:sp>
      <p:sp>
        <p:nvSpPr>
          <p:cNvPr id="17" name="椭圆 16">
            <a:extLst>
              <a:ext uri="{FF2B5EF4-FFF2-40B4-BE49-F238E27FC236}">
                <a16:creationId xmlns:a16="http://schemas.microsoft.com/office/drawing/2014/main" id="{32DD2E46-895A-4681-AC2C-E2C376782BFE}"/>
              </a:ext>
            </a:extLst>
          </p:cNvPr>
          <p:cNvSpPr/>
          <p:nvPr/>
        </p:nvSpPr>
        <p:spPr>
          <a:xfrm>
            <a:off x="6757988" y="2939002"/>
            <a:ext cx="1543050" cy="1543050"/>
          </a:xfrm>
          <a:prstGeom prst="ellipse">
            <a:avLst/>
          </a:prstGeom>
          <a:solidFill>
            <a:schemeClr val="bg1"/>
          </a:solidFill>
          <a:ln>
            <a:noFill/>
          </a:ln>
          <a:effectLst>
            <a:outerShdw blurRad="228600" sx="102000" sy="1020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800" dirty="0">
                <a:solidFill>
                  <a:schemeClr val="accent1"/>
                </a:solidFill>
              </a:rPr>
              <a:t>图标</a:t>
            </a:r>
          </a:p>
        </p:txBody>
      </p:sp>
      <p:sp>
        <p:nvSpPr>
          <p:cNvPr id="18" name="文本框 17">
            <a:extLst>
              <a:ext uri="{FF2B5EF4-FFF2-40B4-BE49-F238E27FC236}">
                <a16:creationId xmlns:a16="http://schemas.microsoft.com/office/drawing/2014/main" id="{40DB189A-FF78-43A0-AF91-09CC3351B388}"/>
              </a:ext>
            </a:extLst>
          </p:cNvPr>
          <p:cNvSpPr txBox="1"/>
          <p:nvPr/>
        </p:nvSpPr>
        <p:spPr>
          <a:xfrm>
            <a:off x="6606184" y="4715269"/>
            <a:ext cx="1846659" cy="369332"/>
          </a:xfrm>
          <a:prstGeom prst="rect">
            <a:avLst/>
          </a:prstGeom>
          <a:noFill/>
        </p:spPr>
        <p:txBody>
          <a:bodyPr wrap="none" lIns="0" tIns="0" rIns="0" bIns="0" rtlCol="0" anchor="t">
            <a:spAutoFit/>
          </a:bodyPr>
          <a:lstStyle/>
          <a:p>
            <a:pPr algn="ctr"/>
            <a:r>
              <a:rPr lang="zh-CN" altLang="en-US" sz="2400" dirty="0">
                <a:solidFill>
                  <a:schemeClr val="accent1"/>
                </a:solidFill>
                <a:latin typeface="+mj-ea"/>
                <a:ea typeface="+mj-ea"/>
              </a:rPr>
              <a:t>输入目录标题</a:t>
            </a:r>
          </a:p>
        </p:txBody>
      </p:sp>
      <p:sp>
        <p:nvSpPr>
          <p:cNvPr id="19" name="文本框 18">
            <a:extLst>
              <a:ext uri="{FF2B5EF4-FFF2-40B4-BE49-F238E27FC236}">
                <a16:creationId xmlns:a16="http://schemas.microsoft.com/office/drawing/2014/main" id="{0A75E770-BC61-4197-BF80-B2BED5D1230D}"/>
              </a:ext>
            </a:extLst>
          </p:cNvPr>
          <p:cNvSpPr txBox="1"/>
          <p:nvPr/>
        </p:nvSpPr>
        <p:spPr>
          <a:xfrm>
            <a:off x="6606183" y="5176451"/>
            <a:ext cx="1846660" cy="215444"/>
          </a:xfrm>
          <a:prstGeom prst="rect">
            <a:avLst/>
          </a:prstGeom>
          <a:noFill/>
        </p:spPr>
        <p:txBody>
          <a:bodyPr wrap="square" lIns="0" tIns="0" rIns="0" bIns="0" rtlCol="0" anchor="t">
            <a:spAutoFit/>
          </a:bodyPr>
          <a:lstStyle/>
          <a:p>
            <a:pPr algn="dist"/>
            <a:r>
              <a:rPr lang="en-US" altLang="zh-CN" sz="1400" dirty="0">
                <a:solidFill>
                  <a:schemeClr val="accent1"/>
                </a:solidFill>
              </a:rPr>
              <a:t>Contents Title Here</a:t>
            </a:r>
            <a:endParaRPr lang="zh-CN" altLang="en-US" sz="1400" dirty="0">
              <a:solidFill>
                <a:schemeClr val="accent1"/>
              </a:solidFill>
            </a:endParaRPr>
          </a:p>
        </p:txBody>
      </p:sp>
      <p:sp>
        <p:nvSpPr>
          <p:cNvPr id="21" name="椭圆 20">
            <a:extLst>
              <a:ext uri="{FF2B5EF4-FFF2-40B4-BE49-F238E27FC236}">
                <a16:creationId xmlns:a16="http://schemas.microsoft.com/office/drawing/2014/main" id="{CE62A8FA-5905-4660-AC84-03B8FD7BD0CA}"/>
              </a:ext>
            </a:extLst>
          </p:cNvPr>
          <p:cNvSpPr/>
          <p:nvPr/>
        </p:nvSpPr>
        <p:spPr>
          <a:xfrm>
            <a:off x="9625012" y="2684279"/>
            <a:ext cx="1543050" cy="1543050"/>
          </a:xfrm>
          <a:prstGeom prst="ellipse">
            <a:avLst/>
          </a:prstGeom>
          <a:solidFill>
            <a:schemeClr val="bg1"/>
          </a:solidFill>
          <a:ln>
            <a:noFill/>
          </a:ln>
          <a:effectLst>
            <a:outerShdw blurRad="228600" sx="102000" sy="1020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800" dirty="0">
                <a:solidFill>
                  <a:schemeClr val="accent1"/>
                </a:solidFill>
              </a:rPr>
              <a:t>图标</a:t>
            </a:r>
          </a:p>
        </p:txBody>
      </p:sp>
      <p:sp>
        <p:nvSpPr>
          <p:cNvPr id="22" name="文本框 21">
            <a:extLst>
              <a:ext uri="{FF2B5EF4-FFF2-40B4-BE49-F238E27FC236}">
                <a16:creationId xmlns:a16="http://schemas.microsoft.com/office/drawing/2014/main" id="{B82EEBE3-FAFA-448B-A350-5CBAE153AB49}"/>
              </a:ext>
            </a:extLst>
          </p:cNvPr>
          <p:cNvSpPr txBox="1"/>
          <p:nvPr/>
        </p:nvSpPr>
        <p:spPr>
          <a:xfrm>
            <a:off x="9473208" y="4460546"/>
            <a:ext cx="1846659" cy="369332"/>
          </a:xfrm>
          <a:prstGeom prst="rect">
            <a:avLst/>
          </a:prstGeom>
          <a:noFill/>
        </p:spPr>
        <p:txBody>
          <a:bodyPr wrap="none" lIns="0" tIns="0" rIns="0" bIns="0" rtlCol="0" anchor="t">
            <a:spAutoFit/>
          </a:bodyPr>
          <a:lstStyle/>
          <a:p>
            <a:pPr algn="ctr"/>
            <a:r>
              <a:rPr lang="zh-CN" altLang="en-US" sz="2400" dirty="0">
                <a:solidFill>
                  <a:schemeClr val="accent1"/>
                </a:solidFill>
                <a:latin typeface="+mj-ea"/>
                <a:ea typeface="+mj-ea"/>
              </a:rPr>
              <a:t>输入目录标题</a:t>
            </a:r>
          </a:p>
        </p:txBody>
      </p:sp>
      <p:sp>
        <p:nvSpPr>
          <p:cNvPr id="23" name="文本框 22">
            <a:extLst>
              <a:ext uri="{FF2B5EF4-FFF2-40B4-BE49-F238E27FC236}">
                <a16:creationId xmlns:a16="http://schemas.microsoft.com/office/drawing/2014/main" id="{9ABD2187-4187-4AB4-A035-90E341CE1910}"/>
              </a:ext>
            </a:extLst>
          </p:cNvPr>
          <p:cNvSpPr txBox="1"/>
          <p:nvPr/>
        </p:nvSpPr>
        <p:spPr>
          <a:xfrm>
            <a:off x="9473207" y="4921728"/>
            <a:ext cx="1846660" cy="215444"/>
          </a:xfrm>
          <a:prstGeom prst="rect">
            <a:avLst/>
          </a:prstGeom>
          <a:noFill/>
        </p:spPr>
        <p:txBody>
          <a:bodyPr wrap="square" lIns="0" tIns="0" rIns="0" bIns="0" rtlCol="0" anchor="t">
            <a:spAutoFit/>
          </a:bodyPr>
          <a:lstStyle/>
          <a:p>
            <a:pPr algn="dist"/>
            <a:r>
              <a:rPr lang="en-US" altLang="zh-CN" sz="1400" dirty="0">
                <a:solidFill>
                  <a:schemeClr val="accent1"/>
                </a:solidFill>
              </a:rPr>
              <a:t>Contents Title Here</a:t>
            </a:r>
            <a:endParaRPr lang="zh-CN" altLang="en-US" sz="1400" dirty="0">
              <a:solidFill>
                <a:schemeClr val="accent1"/>
              </a:solidFill>
            </a:endParaRPr>
          </a:p>
        </p:txBody>
      </p:sp>
    </p:spTree>
    <p:extLst>
      <p:ext uri="{BB962C8B-B14F-4D97-AF65-F5344CB8AC3E}">
        <p14:creationId xmlns:p14="http://schemas.microsoft.com/office/powerpoint/2010/main" val="2152311359"/>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8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矩形: 圆角 8">
            <a:extLst>
              <a:ext uri="{FF2B5EF4-FFF2-40B4-BE49-F238E27FC236}">
                <a16:creationId xmlns:a16="http://schemas.microsoft.com/office/drawing/2014/main" id="{0E3501C8-9FF3-4A7D-86DF-1C5A69F12E63}"/>
              </a:ext>
            </a:extLst>
          </p:cNvPr>
          <p:cNvSpPr/>
          <p:nvPr/>
        </p:nvSpPr>
        <p:spPr>
          <a:xfrm>
            <a:off x="2076844" y="5928804"/>
            <a:ext cx="8103989" cy="395219"/>
          </a:xfrm>
          <a:prstGeom prst="roundRect">
            <a:avLst>
              <a:gd name="adj" fmla="val 32091"/>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Arial" panose="020F0502020204030204"/>
              <a:ea typeface="微软雅黑"/>
              <a:cs typeface="+mn-cs"/>
            </a:endParaRPr>
          </a:p>
        </p:txBody>
      </p:sp>
      <p:sp>
        <p:nvSpPr>
          <p:cNvPr id="78" name="椭圆 77">
            <a:extLst>
              <a:ext uri="{FF2B5EF4-FFF2-40B4-BE49-F238E27FC236}">
                <a16:creationId xmlns:a16="http://schemas.microsoft.com/office/drawing/2014/main" id="{3381BEAE-07C3-4D2E-A634-CBDECC617A3C}"/>
              </a:ext>
            </a:extLst>
          </p:cNvPr>
          <p:cNvSpPr/>
          <p:nvPr/>
        </p:nvSpPr>
        <p:spPr>
          <a:xfrm>
            <a:off x="9392537" y="4743922"/>
            <a:ext cx="797592" cy="79759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Arial" panose="020F0502020204030204"/>
              <a:ea typeface="微软雅黑"/>
              <a:cs typeface="+mn-cs"/>
            </a:endParaRPr>
          </a:p>
        </p:txBody>
      </p:sp>
      <p:sp>
        <p:nvSpPr>
          <p:cNvPr id="79" name="椭圆 78">
            <a:extLst>
              <a:ext uri="{FF2B5EF4-FFF2-40B4-BE49-F238E27FC236}">
                <a16:creationId xmlns:a16="http://schemas.microsoft.com/office/drawing/2014/main" id="{39093790-F42E-4EF2-AC34-4FBF79B52482}"/>
              </a:ext>
            </a:extLst>
          </p:cNvPr>
          <p:cNvSpPr/>
          <p:nvPr/>
        </p:nvSpPr>
        <p:spPr>
          <a:xfrm>
            <a:off x="8298874" y="4743922"/>
            <a:ext cx="797592" cy="79759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Arial" panose="020F0502020204030204"/>
              <a:ea typeface="微软雅黑"/>
              <a:cs typeface="+mn-cs"/>
            </a:endParaRPr>
          </a:p>
        </p:txBody>
      </p:sp>
      <p:sp>
        <p:nvSpPr>
          <p:cNvPr id="80" name="椭圆 79">
            <a:extLst>
              <a:ext uri="{FF2B5EF4-FFF2-40B4-BE49-F238E27FC236}">
                <a16:creationId xmlns:a16="http://schemas.microsoft.com/office/drawing/2014/main" id="{D2E48519-5CCB-4342-BF64-D4294B4A2FF5}"/>
              </a:ext>
            </a:extLst>
          </p:cNvPr>
          <p:cNvSpPr/>
          <p:nvPr/>
        </p:nvSpPr>
        <p:spPr>
          <a:xfrm>
            <a:off x="8857519" y="3906851"/>
            <a:ext cx="797592" cy="79759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Arial" panose="020F0502020204030204"/>
              <a:ea typeface="微软雅黑"/>
              <a:cs typeface="+mn-cs"/>
            </a:endParaRPr>
          </a:p>
        </p:txBody>
      </p:sp>
      <p:sp>
        <p:nvSpPr>
          <p:cNvPr id="75" name="椭圆 74">
            <a:extLst>
              <a:ext uri="{FF2B5EF4-FFF2-40B4-BE49-F238E27FC236}">
                <a16:creationId xmlns:a16="http://schemas.microsoft.com/office/drawing/2014/main" id="{204D7341-1722-4268-86A7-1A22F5C7C5F5}"/>
              </a:ext>
            </a:extLst>
          </p:cNvPr>
          <p:cNvSpPr/>
          <p:nvPr/>
        </p:nvSpPr>
        <p:spPr>
          <a:xfrm>
            <a:off x="6276479" y="4719825"/>
            <a:ext cx="797592" cy="79759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Arial" panose="020F0502020204030204"/>
              <a:ea typeface="微软雅黑"/>
              <a:cs typeface="+mn-cs"/>
            </a:endParaRPr>
          </a:p>
        </p:txBody>
      </p:sp>
      <p:sp>
        <p:nvSpPr>
          <p:cNvPr id="76" name="椭圆 75">
            <a:extLst>
              <a:ext uri="{FF2B5EF4-FFF2-40B4-BE49-F238E27FC236}">
                <a16:creationId xmlns:a16="http://schemas.microsoft.com/office/drawing/2014/main" id="{11B55450-4F45-4B95-A0E4-99313F3FDC5A}"/>
              </a:ext>
            </a:extLst>
          </p:cNvPr>
          <p:cNvSpPr/>
          <p:nvPr/>
        </p:nvSpPr>
        <p:spPr>
          <a:xfrm>
            <a:off x="5182816" y="4719825"/>
            <a:ext cx="797592" cy="79759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Arial" panose="020F0502020204030204"/>
              <a:ea typeface="微软雅黑"/>
              <a:cs typeface="+mn-cs"/>
            </a:endParaRPr>
          </a:p>
        </p:txBody>
      </p:sp>
      <p:sp>
        <p:nvSpPr>
          <p:cNvPr id="77" name="椭圆 76">
            <a:extLst>
              <a:ext uri="{FF2B5EF4-FFF2-40B4-BE49-F238E27FC236}">
                <a16:creationId xmlns:a16="http://schemas.microsoft.com/office/drawing/2014/main" id="{A3DE9BAF-661B-4682-AA16-DEEC8EAC85F2}"/>
              </a:ext>
            </a:extLst>
          </p:cNvPr>
          <p:cNvSpPr/>
          <p:nvPr/>
        </p:nvSpPr>
        <p:spPr>
          <a:xfrm>
            <a:off x="5741461" y="3882754"/>
            <a:ext cx="797592" cy="79759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Arial" panose="020F0502020204030204"/>
              <a:ea typeface="微软雅黑"/>
              <a:cs typeface="+mn-cs"/>
            </a:endParaRPr>
          </a:p>
        </p:txBody>
      </p:sp>
      <p:sp>
        <p:nvSpPr>
          <p:cNvPr id="74" name="椭圆 73">
            <a:extLst>
              <a:ext uri="{FF2B5EF4-FFF2-40B4-BE49-F238E27FC236}">
                <a16:creationId xmlns:a16="http://schemas.microsoft.com/office/drawing/2014/main" id="{B7FA6893-2A4F-41BE-BA40-144AF7849ED2}"/>
              </a:ext>
            </a:extLst>
          </p:cNvPr>
          <p:cNvSpPr/>
          <p:nvPr/>
        </p:nvSpPr>
        <p:spPr>
          <a:xfrm>
            <a:off x="3162026" y="4725125"/>
            <a:ext cx="797592" cy="79759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Arial" panose="020F0502020204030204"/>
              <a:ea typeface="微软雅黑"/>
              <a:cs typeface="+mn-cs"/>
            </a:endParaRPr>
          </a:p>
        </p:txBody>
      </p:sp>
      <p:sp>
        <p:nvSpPr>
          <p:cNvPr id="73" name="椭圆 72">
            <a:extLst>
              <a:ext uri="{FF2B5EF4-FFF2-40B4-BE49-F238E27FC236}">
                <a16:creationId xmlns:a16="http://schemas.microsoft.com/office/drawing/2014/main" id="{522A59AA-6F2F-4D35-94E3-FF1686C65274}"/>
              </a:ext>
            </a:extLst>
          </p:cNvPr>
          <p:cNvSpPr/>
          <p:nvPr/>
        </p:nvSpPr>
        <p:spPr>
          <a:xfrm>
            <a:off x="2068363" y="4725125"/>
            <a:ext cx="797592" cy="79759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Arial" panose="020F0502020204030204"/>
              <a:ea typeface="微软雅黑"/>
              <a:cs typeface="+mn-cs"/>
            </a:endParaRPr>
          </a:p>
        </p:txBody>
      </p:sp>
      <p:sp>
        <p:nvSpPr>
          <p:cNvPr id="72" name="椭圆 71">
            <a:extLst>
              <a:ext uri="{FF2B5EF4-FFF2-40B4-BE49-F238E27FC236}">
                <a16:creationId xmlns:a16="http://schemas.microsoft.com/office/drawing/2014/main" id="{719EF6ED-2146-406C-91E3-095998B62E24}"/>
              </a:ext>
            </a:extLst>
          </p:cNvPr>
          <p:cNvSpPr/>
          <p:nvPr/>
        </p:nvSpPr>
        <p:spPr>
          <a:xfrm>
            <a:off x="2627008" y="3888054"/>
            <a:ext cx="797592" cy="79759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Arial" panose="020F0502020204030204"/>
              <a:ea typeface="微软雅黑"/>
              <a:cs typeface="+mn-cs"/>
            </a:endParaRPr>
          </a:p>
        </p:txBody>
      </p:sp>
      <p:sp>
        <p:nvSpPr>
          <p:cNvPr id="6" name="图形 3">
            <a:extLst>
              <a:ext uri="{FF2B5EF4-FFF2-40B4-BE49-F238E27FC236}">
                <a16:creationId xmlns:a16="http://schemas.microsoft.com/office/drawing/2014/main" id="{3EABFB71-7B00-4F7F-B020-21ABF805A2A3}"/>
              </a:ext>
            </a:extLst>
          </p:cNvPr>
          <p:cNvSpPr/>
          <p:nvPr/>
        </p:nvSpPr>
        <p:spPr>
          <a:xfrm>
            <a:off x="5305790" y="2034270"/>
            <a:ext cx="521086" cy="425769"/>
          </a:xfrm>
          <a:custGeom>
            <a:avLst/>
            <a:gdLst>
              <a:gd name="connsiteX0" fmla="*/ 83244 w 521086"/>
              <a:gd name="connsiteY0" fmla="*/ 169250 h 425769"/>
              <a:gd name="connsiteX1" fmla="*/ 0 w 521086"/>
              <a:gd name="connsiteY1" fmla="*/ 425769 h 425769"/>
              <a:gd name="connsiteX2" fmla="*/ 258807 w 521086"/>
              <a:gd name="connsiteY2" fmla="*/ 400204 h 425769"/>
              <a:gd name="connsiteX3" fmla="*/ 222985 w 521086"/>
              <a:gd name="connsiteY3" fmla="*/ 315619 h 425769"/>
              <a:gd name="connsiteX4" fmla="*/ 521087 w 521086"/>
              <a:gd name="connsiteY4" fmla="*/ 154416 h 425769"/>
              <a:gd name="connsiteX5" fmla="*/ 368012 w 521086"/>
              <a:gd name="connsiteY5" fmla="*/ 0 h 425769"/>
              <a:gd name="connsiteX6" fmla="*/ 154416 w 521086"/>
              <a:gd name="connsiteY6" fmla="*/ 232374 h 425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21086" h="425769">
                <a:moveTo>
                  <a:pt x="83244" y="169250"/>
                </a:moveTo>
                <a:lnTo>
                  <a:pt x="0" y="425769"/>
                </a:lnTo>
                <a:lnTo>
                  <a:pt x="258807" y="400204"/>
                </a:lnTo>
                <a:lnTo>
                  <a:pt x="222985" y="315619"/>
                </a:lnTo>
                <a:lnTo>
                  <a:pt x="521087" y="154416"/>
                </a:lnTo>
                <a:lnTo>
                  <a:pt x="368012" y="0"/>
                </a:lnTo>
                <a:lnTo>
                  <a:pt x="154416" y="232374"/>
                </a:lnTo>
                <a:close/>
              </a:path>
            </a:pathLst>
          </a:custGeom>
          <a:solidFill>
            <a:srgbClr val="5C81F6"/>
          </a:solidFill>
          <a:ln w="779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panose="020F0502020204030204"/>
              <a:ea typeface="微软雅黑"/>
              <a:cs typeface="+mn-cs"/>
            </a:endParaRPr>
          </a:p>
        </p:txBody>
      </p:sp>
      <p:sp>
        <p:nvSpPr>
          <p:cNvPr id="7" name="图形 57">
            <a:extLst>
              <a:ext uri="{FF2B5EF4-FFF2-40B4-BE49-F238E27FC236}">
                <a16:creationId xmlns:a16="http://schemas.microsoft.com/office/drawing/2014/main" id="{41C33169-701C-4CED-B33C-6C370B01E70B}"/>
              </a:ext>
            </a:extLst>
          </p:cNvPr>
          <p:cNvSpPr/>
          <p:nvPr/>
        </p:nvSpPr>
        <p:spPr>
          <a:xfrm flipH="1">
            <a:off x="6460842" y="2032801"/>
            <a:ext cx="521086" cy="425769"/>
          </a:xfrm>
          <a:custGeom>
            <a:avLst/>
            <a:gdLst>
              <a:gd name="connsiteX0" fmla="*/ 83244 w 521086"/>
              <a:gd name="connsiteY0" fmla="*/ 169250 h 425769"/>
              <a:gd name="connsiteX1" fmla="*/ 0 w 521086"/>
              <a:gd name="connsiteY1" fmla="*/ 425769 h 425769"/>
              <a:gd name="connsiteX2" fmla="*/ 258807 w 521086"/>
              <a:gd name="connsiteY2" fmla="*/ 400204 h 425769"/>
              <a:gd name="connsiteX3" fmla="*/ 222985 w 521086"/>
              <a:gd name="connsiteY3" fmla="*/ 315619 h 425769"/>
              <a:gd name="connsiteX4" fmla="*/ 521087 w 521086"/>
              <a:gd name="connsiteY4" fmla="*/ 154416 h 425769"/>
              <a:gd name="connsiteX5" fmla="*/ 368012 w 521086"/>
              <a:gd name="connsiteY5" fmla="*/ 0 h 425769"/>
              <a:gd name="connsiteX6" fmla="*/ 154416 w 521086"/>
              <a:gd name="connsiteY6" fmla="*/ 232374 h 425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21086" h="425769">
                <a:moveTo>
                  <a:pt x="83244" y="169250"/>
                </a:moveTo>
                <a:lnTo>
                  <a:pt x="0" y="425769"/>
                </a:lnTo>
                <a:lnTo>
                  <a:pt x="258807" y="400204"/>
                </a:lnTo>
                <a:lnTo>
                  <a:pt x="222985" y="315619"/>
                </a:lnTo>
                <a:lnTo>
                  <a:pt x="521087" y="154416"/>
                </a:lnTo>
                <a:lnTo>
                  <a:pt x="368012" y="0"/>
                </a:lnTo>
                <a:lnTo>
                  <a:pt x="154416" y="232374"/>
                </a:lnTo>
                <a:close/>
              </a:path>
            </a:pathLst>
          </a:custGeom>
          <a:solidFill>
            <a:srgbClr val="5C81F6"/>
          </a:solidFill>
          <a:ln w="779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panose="020F0502020204030204"/>
              <a:ea typeface="微软雅黑"/>
              <a:cs typeface="+mn-cs"/>
            </a:endParaRPr>
          </a:p>
        </p:txBody>
      </p:sp>
      <p:sp>
        <p:nvSpPr>
          <p:cNvPr id="5" name="图形 58">
            <a:extLst>
              <a:ext uri="{FF2B5EF4-FFF2-40B4-BE49-F238E27FC236}">
                <a16:creationId xmlns:a16="http://schemas.microsoft.com/office/drawing/2014/main" id="{07513F31-8377-4DA9-8410-D0E553F6716C}"/>
              </a:ext>
            </a:extLst>
          </p:cNvPr>
          <p:cNvSpPr/>
          <p:nvPr/>
        </p:nvSpPr>
        <p:spPr>
          <a:xfrm rot="18296234">
            <a:off x="5868454" y="2342446"/>
            <a:ext cx="521086" cy="425769"/>
          </a:xfrm>
          <a:custGeom>
            <a:avLst/>
            <a:gdLst>
              <a:gd name="connsiteX0" fmla="*/ 83244 w 521086"/>
              <a:gd name="connsiteY0" fmla="*/ 169250 h 425769"/>
              <a:gd name="connsiteX1" fmla="*/ 0 w 521086"/>
              <a:gd name="connsiteY1" fmla="*/ 425769 h 425769"/>
              <a:gd name="connsiteX2" fmla="*/ 258807 w 521086"/>
              <a:gd name="connsiteY2" fmla="*/ 400204 h 425769"/>
              <a:gd name="connsiteX3" fmla="*/ 222985 w 521086"/>
              <a:gd name="connsiteY3" fmla="*/ 315619 h 425769"/>
              <a:gd name="connsiteX4" fmla="*/ 521087 w 521086"/>
              <a:gd name="connsiteY4" fmla="*/ 154416 h 425769"/>
              <a:gd name="connsiteX5" fmla="*/ 368012 w 521086"/>
              <a:gd name="connsiteY5" fmla="*/ 0 h 425769"/>
              <a:gd name="connsiteX6" fmla="*/ 154416 w 521086"/>
              <a:gd name="connsiteY6" fmla="*/ 232374 h 425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21086" h="425769">
                <a:moveTo>
                  <a:pt x="83244" y="169250"/>
                </a:moveTo>
                <a:lnTo>
                  <a:pt x="0" y="425769"/>
                </a:lnTo>
                <a:lnTo>
                  <a:pt x="258807" y="400204"/>
                </a:lnTo>
                <a:lnTo>
                  <a:pt x="222985" y="315619"/>
                </a:lnTo>
                <a:lnTo>
                  <a:pt x="521087" y="154416"/>
                </a:lnTo>
                <a:lnTo>
                  <a:pt x="368012" y="0"/>
                </a:lnTo>
                <a:lnTo>
                  <a:pt x="154416" y="232374"/>
                </a:lnTo>
                <a:close/>
              </a:path>
            </a:pathLst>
          </a:custGeom>
          <a:solidFill>
            <a:srgbClr val="5C81F6"/>
          </a:solidFill>
          <a:ln w="779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panose="020F0502020204030204"/>
              <a:ea typeface="微软雅黑"/>
              <a:cs typeface="+mn-cs"/>
            </a:endParaRPr>
          </a:p>
        </p:txBody>
      </p:sp>
      <p:sp>
        <p:nvSpPr>
          <p:cNvPr id="65" name="椭圆 64">
            <a:extLst>
              <a:ext uri="{FF2B5EF4-FFF2-40B4-BE49-F238E27FC236}">
                <a16:creationId xmlns:a16="http://schemas.microsoft.com/office/drawing/2014/main" id="{021D97B5-458D-4948-9A7C-015AC4B8BC4D}"/>
              </a:ext>
            </a:extLst>
          </p:cNvPr>
          <p:cNvSpPr/>
          <p:nvPr/>
        </p:nvSpPr>
        <p:spPr>
          <a:xfrm>
            <a:off x="7915978" y="2565187"/>
            <a:ext cx="797592" cy="797592"/>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Arial" panose="020F0502020204030204"/>
              <a:ea typeface="微软雅黑"/>
              <a:cs typeface="+mn-cs"/>
            </a:endParaRPr>
          </a:p>
        </p:txBody>
      </p:sp>
      <p:sp>
        <p:nvSpPr>
          <p:cNvPr id="66" name="椭圆 65">
            <a:extLst>
              <a:ext uri="{FF2B5EF4-FFF2-40B4-BE49-F238E27FC236}">
                <a16:creationId xmlns:a16="http://schemas.microsoft.com/office/drawing/2014/main" id="{E9B448BA-2020-4CCB-AC71-4872DEF5F969}"/>
              </a:ext>
            </a:extLst>
          </p:cNvPr>
          <p:cNvSpPr/>
          <p:nvPr/>
        </p:nvSpPr>
        <p:spPr>
          <a:xfrm>
            <a:off x="6714494" y="2565701"/>
            <a:ext cx="797592" cy="797592"/>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Arial" panose="020F0502020204030204"/>
              <a:ea typeface="微软雅黑"/>
              <a:cs typeface="+mn-cs"/>
            </a:endParaRPr>
          </a:p>
        </p:txBody>
      </p:sp>
      <p:sp>
        <p:nvSpPr>
          <p:cNvPr id="64" name="椭圆 63">
            <a:extLst>
              <a:ext uri="{FF2B5EF4-FFF2-40B4-BE49-F238E27FC236}">
                <a16:creationId xmlns:a16="http://schemas.microsoft.com/office/drawing/2014/main" id="{5554D759-F44F-4076-B6E4-2BA96914B689}"/>
              </a:ext>
            </a:extLst>
          </p:cNvPr>
          <p:cNvSpPr/>
          <p:nvPr/>
        </p:nvSpPr>
        <p:spPr>
          <a:xfrm>
            <a:off x="4792544" y="2579827"/>
            <a:ext cx="797592" cy="797592"/>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Arial" panose="020F0502020204030204"/>
              <a:ea typeface="微软雅黑"/>
              <a:cs typeface="+mn-cs"/>
            </a:endParaRPr>
          </a:p>
        </p:txBody>
      </p:sp>
      <p:sp>
        <p:nvSpPr>
          <p:cNvPr id="8" name="椭圆 7">
            <a:extLst>
              <a:ext uri="{FF2B5EF4-FFF2-40B4-BE49-F238E27FC236}">
                <a16:creationId xmlns:a16="http://schemas.microsoft.com/office/drawing/2014/main" id="{7C38B457-7254-4E17-838E-7D7C487491C8}"/>
              </a:ext>
            </a:extLst>
          </p:cNvPr>
          <p:cNvSpPr/>
          <p:nvPr/>
        </p:nvSpPr>
        <p:spPr>
          <a:xfrm>
            <a:off x="3591060" y="2580341"/>
            <a:ext cx="797592" cy="797592"/>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Arial" panose="020F0502020204030204"/>
              <a:ea typeface="微软雅黑"/>
              <a:cs typeface="+mn-cs"/>
            </a:endParaRPr>
          </a:p>
        </p:txBody>
      </p:sp>
      <p:sp>
        <p:nvSpPr>
          <p:cNvPr id="2" name="椭圆 1">
            <a:extLst>
              <a:ext uri="{FF2B5EF4-FFF2-40B4-BE49-F238E27FC236}">
                <a16:creationId xmlns:a16="http://schemas.microsoft.com/office/drawing/2014/main" id="{30B484BE-608C-410E-AC5C-CAC4C4E0C0B6}"/>
              </a:ext>
            </a:extLst>
          </p:cNvPr>
          <p:cNvSpPr/>
          <p:nvPr/>
        </p:nvSpPr>
        <p:spPr>
          <a:xfrm>
            <a:off x="5566176" y="1340583"/>
            <a:ext cx="1125327" cy="1125327"/>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Arial" panose="020F0502020204030204"/>
              <a:ea typeface="微软雅黑"/>
              <a:cs typeface="+mn-cs"/>
            </a:endParaRPr>
          </a:p>
        </p:txBody>
      </p:sp>
      <p:sp>
        <p:nvSpPr>
          <p:cNvPr id="102" name="Object 102"/>
          <p:cNvSpPr txBox="1"/>
          <p:nvPr/>
        </p:nvSpPr>
        <p:spPr>
          <a:xfrm>
            <a:off x="726976" y="552101"/>
            <a:ext cx="3554023" cy="457200"/>
          </a:xfrm>
          <a:prstGeom prst="rect">
            <a:avLst/>
          </a:prstGeom>
        </p:spPr>
        <p:txBody>
          <a:bodyPr vert="horz"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3000" b="0" i="0" u="none" strike="noStrike" kern="1200" cap="none" spc="0" normalizeH="0" baseline="0" noProof="0" dirty="0">
                <a:ln>
                  <a:noFill/>
                </a:ln>
                <a:solidFill>
                  <a:srgbClr val="1B1B1B"/>
                </a:solidFill>
                <a:effectLst/>
                <a:uLnTx/>
                <a:uFillTx/>
                <a:latin typeface="OPPOSans H" panose="00020600040101010101" pitchFamily="18" charset="-122"/>
                <a:ea typeface="OPPOSans H" panose="00020600040101010101" pitchFamily="18" charset="-122"/>
                <a:cs typeface="+mn-cs"/>
              </a:rPr>
              <a:t>组织架构图</a:t>
            </a:r>
            <a:endParaRPr kumimoji="0" lang="zh-CN" altLang="en-US" sz="900" b="0" i="0" u="none" strike="noStrike" kern="1200" cap="none" spc="0" normalizeH="0" baseline="0" noProof="0" dirty="0">
              <a:ln>
                <a:noFill/>
              </a:ln>
              <a:solidFill>
                <a:srgbClr val="000000"/>
              </a:solidFill>
              <a:effectLst/>
              <a:uLnTx/>
              <a:uFillTx/>
              <a:latin typeface="Arial" panose="020F0502020204030204"/>
              <a:ea typeface="微软雅黑"/>
              <a:cs typeface="+mn-cs"/>
            </a:endParaRPr>
          </a:p>
        </p:txBody>
      </p:sp>
      <p:sp>
        <p:nvSpPr>
          <p:cNvPr id="103" name="Object 103"/>
          <p:cNvSpPr txBox="1"/>
          <p:nvPr/>
        </p:nvSpPr>
        <p:spPr>
          <a:xfrm>
            <a:off x="8870596" y="4972544"/>
            <a:ext cx="1822564" cy="260350"/>
          </a:xfrm>
          <a:prstGeom prst="rect">
            <a:avLst/>
          </a:prstGeom>
        </p:spPr>
        <p:txBody>
          <a:bodyPr vert="horz" rtlCol="0" anchor="t"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695" b="0" i="0" u="none" strike="noStrike" kern="1200" cap="none" spc="0" normalizeH="0" baseline="0" noProof="0" dirty="0">
                <a:ln>
                  <a:noFill/>
                </a:ln>
                <a:solidFill>
                  <a:srgbClr val="FFFFFF"/>
                </a:solidFill>
                <a:effectLst/>
                <a:uLnTx/>
                <a:uFillTx/>
                <a:latin typeface="OPPOSans M" panose="00020600040101010101" pitchFamily="18" charset="-122"/>
                <a:ea typeface="OPPOSans M" panose="00020600040101010101" pitchFamily="18" charset="-122"/>
                <a:cs typeface="+mn-cs"/>
              </a:rPr>
              <a:t>策划部 </a:t>
            </a:r>
            <a:endParaRPr kumimoji="0" lang="zh-CN" altLang="en-US" sz="900" b="0" i="0" u="none" strike="noStrike" kern="1200" cap="none" spc="0" normalizeH="0" baseline="0" noProof="0" dirty="0">
              <a:ln>
                <a:noFill/>
              </a:ln>
              <a:solidFill>
                <a:srgbClr val="000000"/>
              </a:solidFill>
              <a:effectLst/>
              <a:uLnTx/>
              <a:uFillTx/>
              <a:latin typeface="Arial" panose="020F0502020204030204"/>
              <a:ea typeface="微软雅黑"/>
              <a:cs typeface="+mn-cs"/>
            </a:endParaRPr>
          </a:p>
        </p:txBody>
      </p:sp>
      <p:sp>
        <p:nvSpPr>
          <p:cNvPr id="109" name="Object 109"/>
          <p:cNvSpPr txBox="1"/>
          <p:nvPr/>
        </p:nvSpPr>
        <p:spPr>
          <a:xfrm>
            <a:off x="5165763" y="1736055"/>
            <a:ext cx="1908308" cy="311150"/>
          </a:xfrm>
          <a:prstGeom prst="rect">
            <a:avLst/>
          </a:prstGeom>
        </p:spPr>
        <p:txBody>
          <a:bodyPr vert="horz" rtlCol="0" anchor="t" anchorCtr="0">
            <a:noAutofit/>
          </a:bodyPr>
          <a:lstStyle/>
          <a:p>
            <a:pPr marL="0" marR="0" lvl="0" indent="0" algn="ctr" defTabSz="914400" rtl="0" eaLnBrk="1" fontAlgn="auto" latinLnBrk="0" hangingPunct="1">
              <a:lnSpc>
                <a:spcPct val="90833"/>
              </a:lnSpc>
              <a:spcBef>
                <a:spcPts val="0"/>
              </a:spcBef>
              <a:spcAft>
                <a:spcPts val="0"/>
              </a:spcAft>
              <a:buClrTx/>
              <a:buSzTx/>
              <a:buFontTx/>
              <a:buNone/>
              <a:tabLst/>
              <a:defRPr/>
            </a:pPr>
            <a:r>
              <a:rPr kumimoji="0" lang="zh-CN" altLang="en-US" sz="2270" b="0" i="0" u="none" strike="noStrike" kern="1200" cap="none" spc="0" normalizeH="0" baseline="0" noProof="0" dirty="0">
                <a:ln>
                  <a:noFill/>
                </a:ln>
                <a:solidFill>
                  <a:srgbClr val="FFFFFF"/>
                </a:solidFill>
                <a:effectLst/>
                <a:uLnTx/>
                <a:uFillTx/>
                <a:latin typeface="OPPOSans B" panose="00020600040101010101" pitchFamily="18" charset="-122"/>
                <a:ea typeface="OPPOSans B" panose="00020600040101010101" pitchFamily="18" charset="-122"/>
                <a:cs typeface="+mn-cs"/>
              </a:rPr>
              <a:t>董事会</a:t>
            </a:r>
            <a:endParaRPr kumimoji="0" lang="zh-CN" altLang="en-US" sz="900" b="0" i="0" u="none" strike="noStrike" kern="1200" cap="none" spc="0" normalizeH="0" baseline="0" noProof="0" dirty="0">
              <a:ln>
                <a:noFill/>
              </a:ln>
              <a:solidFill>
                <a:srgbClr val="000000"/>
              </a:solidFill>
              <a:effectLst/>
              <a:uLnTx/>
              <a:uFillTx/>
              <a:latin typeface="Arial" panose="020F0502020204030204"/>
              <a:ea typeface="微软雅黑"/>
              <a:cs typeface="+mn-cs"/>
            </a:endParaRPr>
          </a:p>
        </p:txBody>
      </p:sp>
      <p:sp>
        <p:nvSpPr>
          <p:cNvPr id="1013" name="Object 1013"/>
          <p:cNvSpPr txBox="1"/>
          <p:nvPr/>
        </p:nvSpPr>
        <p:spPr>
          <a:xfrm>
            <a:off x="7425491" y="2798162"/>
            <a:ext cx="1749558" cy="285750"/>
          </a:xfrm>
          <a:prstGeom prst="rect">
            <a:avLst/>
          </a:prstGeom>
        </p:spPr>
        <p:txBody>
          <a:bodyPr vert="horz" rtlCol="0" anchor="t"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865" b="0" i="0" u="none" strike="noStrike" kern="1200" cap="none" spc="0" normalizeH="0" baseline="0" noProof="0" dirty="0">
                <a:ln>
                  <a:noFill/>
                </a:ln>
                <a:solidFill>
                  <a:srgbClr val="FFFFFF"/>
                </a:solidFill>
                <a:effectLst/>
                <a:uLnTx/>
                <a:uFillTx/>
                <a:latin typeface="OPPOSans B" panose="00020600040101010101" pitchFamily="18" charset="-122"/>
                <a:ea typeface="OPPOSans B" panose="00020600040101010101" pitchFamily="18" charset="-122"/>
                <a:cs typeface="+mn-cs"/>
              </a:rPr>
              <a:t>总经理</a:t>
            </a:r>
            <a:endParaRPr kumimoji="0" lang="zh-CN" altLang="en-US" sz="900" b="0" i="0" u="none" strike="noStrike" kern="1200" cap="none" spc="0" normalizeH="0" baseline="0" noProof="0" dirty="0">
              <a:ln>
                <a:noFill/>
              </a:ln>
              <a:solidFill>
                <a:srgbClr val="000000"/>
              </a:solidFill>
              <a:effectLst/>
              <a:uLnTx/>
              <a:uFillTx/>
              <a:latin typeface="Arial" panose="020F0502020204030204"/>
              <a:ea typeface="微软雅黑"/>
              <a:cs typeface="+mn-cs"/>
            </a:endParaRPr>
          </a:p>
        </p:txBody>
      </p:sp>
      <p:sp>
        <p:nvSpPr>
          <p:cNvPr id="1017" name="Object 1017"/>
          <p:cNvSpPr txBox="1"/>
          <p:nvPr/>
        </p:nvSpPr>
        <p:spPr>
          <a:xfrm>
            <a:off x="6341065" y="2798162"/>
            <a:ext cx="1557917" cy="285750"/>
          </a:xfrm>
          <a:prstGeom prst="rect">
            <a:avLst/>
          </a:prstGeom>
        </p:spPr>
        <p:txBody>
          <a:bodyPr vert="horz" rtlCol="0" anchor="t"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865" b="0" i="0" u="none" strike="noStrike" kern="1200" cap="none" spc="0" normalizeH="0" baseline="0" noProof="0" dirty="0">
                <a:ln>
                  <a:noFill/>
                </a:ln>
                <a:solidFill>
                  <a:srgbClr val="FFFFFF"/>
                </a:solidFill>
                <a:effectLst/>
                <a:uLnTx/>
                <a:uFillTx/>
                <a:latin typeface="OPPOSans B" panose="00020600040101010101" pitchFamily="18" charset="-122"/>
                <a:ea typeface="OPPOSans B" panose="00020600040101010101" pitchFamily="18" charset="-122"/>
                <a:cs typeface="+mn-cs"/>
              </a:rPr>
              <a:t>总经理</a:t>
            </a:r>
            <a:endParaRPr kumimoji="0" lang="zh-CN" altLang="en-US" sz="900" b="0" i="0" u="none" strike="noStrike" kern="1200" cap="none" spc="0" normalizeH="0" baseline="0" noProof="0" dirty="0">
              <a:ln>
                <a:noFill/>
              </a:ln>
              <a:solidFill>
                <a:srgbClr val="000000"/>
              </a:solidFill>
              <a:effectLst/>
              <a:uLnTx/>
              <a:uFillTx/>
              <a:latin typeface="Arial" panose="020F0502020204030204"/>
              <a:ea typeface="微软雅黑"/>
              <a:cs typeface="+mn-cs"/>
            </a:endParaRPr>
          </a:p>
        </p:txBody>
      </p:sp>
      <p:sp>
        <p:nvSpPr>
          <p:cNvPr id="1021" name="Object 1021"/>
          <p:cNvSpPr txBox="1"/>
          <p:nvPr/>
        </p:nvSpPr>
        <p:spPr>
          <a:xfrm>
            <a:off x="4218223" y="2798162"/>
            <a:ext cx="1922947" cy="285750"/>
          </a:xfrm>
          <a:prstGeom prst="rect">
            <a:avLst/>
          </a:prstGeom>
        </p:spPr>
        <p:txBody>
          <a:bodyPr vert="horz" rtlCol="0" anchor="t"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865" b="0" i="0" u="none" strike="noStrike" kern="1200" cap="none" spc="0" normalizeH="0" baseline="0" noProof="0" dirty="0">
                <a:ln>
                  <a:noFill/>
                </a:ln>
                <a:solidFill>
                  <a:srgbClr val="FFFFFF"/>
                </a:solidFill>
                <a:effectLst/>
                <a:uLnTx/>
                <a:uFillTx/>
                <a:latin typeface="OPPOSans B" panose="00020600040101010101" pitchFamily="18" charset="-122"/>
                <a:ea typeface="OPPOSans B" panose="00020600040101010101" pitchFamily="18" charset="-122"/>
                <a:cs typeface="+mn-cs"/>
              </a:rPr>
              <a:t>总经理</a:t>
            </a:r>
            <a:endParaRPr kumimoji="0" lang="zh-CN" altLang="en-US" sz="900" b="0" i="0" u="none" strike="noStrike" kern="1200" cap="none" spc="0" normalizeH="0" baseline="0" noProof="0" dirty="0">
              <a:ln>
                <a:noFill/>
              </a:ln>
              <a:solidFill>
                <a:srgbClr val="000000"/>
              </a:solidFill>
              <a:effectLst/>
              <a:uLnTx/>
              <a:uFillTx/>
              <a:latin typeface="Arial" panose="020F0502020204030204"/>
              <a:ea typeface="微软雅黑"/>
              <a:cs typeface="+mn-cs"/>
            </a:endParaRPr>
          </a:p>
        </p:txBody>
      </p:sp>
      <p:sp>
        <p:nvSpPr>
          <p:cNvPr id="1025" name="Object 1025"/>
          <p:cNvSpPr txBox="1"/>
          <p:nvPr/>
        </p:nvSpPr>
        <p:spPr>
          <a:xfrm>
            <a:off x="3096118" y="2798162"/>
            <a:ext cx="1776935" cy="285750"/>
          </a:xfrm>
          <a:prstGeom prst="rect">
            <a:avLst/>
          </a:prstGeom>
        </p:spPr>
        <p:txBody>
          <a:bodyPr vert="horz" rtlCol="0" anchor="t"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865" b="0" i="0" u="none" strike="noStrike" kern="1200" cap="none" spc="0" normalizeH="0" baseline="0" noProof="0" dirty="0">
                <a:ln>
                  <a:noFill/>
                </a:ln>
                <a:solidFill>
                  <a:srgbClr val="FFFFFF"/>
                </a:solidFill>
                <a:effectLst/>
                <a:uLnTx/>
                <a:uFillTx/>
                <a:latin typeface="OPPOSans B" panose="00020600040101010101" pitchFamily="18" charset="-122"/>
                <a:ea typeface="OPPOSans B" panose="00020600040101010101" pitchFamily="18" charset="-122"/>
                <a:cs typeface="+mn-cs"/>
              </a:rPr>
              <a:t>总经理</a:t>
            </a:r>
            <a:endParaRPr kumimoji="0" lang="zh-CN" altLang="en-US" sz="900" b="0" i="0" u="none" strike="noStrike" kern="1200" cap="none" spc="0" normalizeH="0" baseline="0" noProof="0" dirty="0">
              <a:ln>
                <a:noFill/>
              </a:ln>
              <a:solidFill>
                <a:srgbClr val="000000"/>
              </a:solidFill>
              <a:effectLst/>
              <a:uLnTx/>
              <a:uFillTx/>
              <a:latin typeface="Arial" panose="020F0502020204030204"/>
              <a:ea typeface="微软雅黑"/>
              <a:cs typeface="+mn-cs"/>
            </a:endParaRPr>
          </a:p>
        </p:txBody>
      </p:sp>
      <p:sp>
        <p:nvSpPr>
          <p:cNvPr id="1028" name="Object 1028"/>
          <p:cNvSpPr txBox="1"/>
          <p:nvPr/>
        </p:nvSpPr>
        <p:spPr>
          <a:xfrm>
            <a:off x="2524439" y="4117815"/>
            <a:ext cx="1002730" cy="260350"/>
          </a:xfrm>
          <a:prstGeom prst="rect">
            <a:avLst/>
          </a:prstGeom>
        </p:spPr>
        <p:txBody>
          <a:bodyPr vert="horz" rtlCol="0" anchor="t"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695" b="0" i="0" u="none" strike="noStrike" kern="1200" cap="none" spc="0" normalizeH="0" baseline="0" noProof="0" dirty="0">
                <a:ln>
                  <a:noFill/>
                </a:ln>
                <a:solidFill>
                  <a:srgbClr val="FFFFFF"/>
                </a:solidFill>
                <a:effectLst/>
                <a:uLnTx/>
                <a:uFillTx/>
                <a:latin typeface="OPPOSans M" panose="00020600040101010101" pitchFamily="18" charset="-122"/>
                <a:ea typeface="OPPOSans M" panose="00020600040101010101" pitchFamily="18" charset="-122"/>
                <a:cs typeface="+mn-cs"/>
              </a:rPr>
              <a:t>HR</a:t>
            </a:r>
            <a:endParaRPr kumimoji="0" lang="zh-CN" altLang="en-US" sz="900" b="0" i="0" u="none" strike="noStrike" kern="1200" cap="none" spc="0" normalizeH="0" baseline="0" noProof="0" dirty="0">
              <a:ln>
                <a:noFill/>
              </a:ln>
              <a:solidFill>
                <a:srgbClr val="000000"/>
              </a:solidFill>
              <a:effectLst/>
              <a:uLnTx/>
              <a:uFillTx/>
              <a:latin typeface="Arial" panose="020F0502020204030204"/>
              <a:ea typeface="微软雅黑"/>
              <a:cs typeface="+mn-cs"/>
            </a:endParaRPr>
          </a:p>
        </p:txBody>
      </p:sp>
      <p:sp>
        <p:nvSpPr>
          <p:cNvPr id="1031" name="Object 1031"/>
          <p:cNvSpPr txBox="1"/>
          <p:nvPr/>
        </p:nvSpPr>
        <p:spPr>
          <a:xfrm>
            <a:off x="1850234" y="4942815"/>
            <a:ext cx="1251140" cy="260350"/>
          </a:xfrm>
          <a:prstGeom prst="rect">
            <a:avLst/>
          </a:prstGeom>
        </p:spPr>
        <p:txBody>
          <a:bodyPr vert="horz" rtlCol="0" anchor="t"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695" b="0" i="0" u="none" strike="noStrike" kern="1200" cap="none" spc="0" normalizeH="0" baseline="0" noProof="0" dirty="0">
                <a:ln>
                  <a:noFill/>
                </a:ln>
                <a:solidFill>
                  <a:srgbClr val="FFFFFF"/>
                </a:solidFill>
                <a:effectLst/>
                <a:uLnTx/>
                <a:uFillTx/>
                <a:latin typeface="OPPOSans M" panose="00020600040101010101" pitchFamily="18" charset="-122"/>
                <a:ea typeface="OPPOSans M" panose="00020600040101010101" pitchFamily="18" charset="-122"/>
                <a:cs typeface="+mn-cs"/>
              </a:rPr>
              <a:t>财务</a:t>
            </a:r>
            <a:endParaRPr kumimoji="0" lang="zh-CN" altLang="en-US" sz="900" b="0" i="0" u="none" strike="noStrike" kern="1200" cap="none" spc="0" normalizeH="0" baseline="0" noProof="0" dirty="0">
              <a:ln>
                <a:noFill/>
              </a:ln>
              <a:solidFill>
                <a:srgbClr val="000000"/>
              </a:solidFill>
              <a:effectLst/>
              <a:uLnTx/>
              <a:uFillTx/>
              <a:latin typeface="Arial" panose="020F0502020204030204"/>
              <a:ea typeface="微软雅黑"/>
              <a:cs typeface="+mn-cs"/>
            </a:endParaRPr>
          </a:p>
        </p:txBody>
      </p:sp>
      <p:sp>
        <p:nvSpPr>
          <p:cNvPr id="1034" name="Object 1034"/>
          <p:cNvSpPr txBox="1"/>
          <p:nvPr/>
        </p:nvSpPr>
        <p:spPr>
          <a:xfrm>
            <a:off x="2813729" y="4942815"/>
            <a:ext cx="1494417" cy="260350"/>
          </a:xfrm>
          <a:prstGeom prst="rect">
            <a:avLst/>
          </a:prstGeom>
        </p:spPr>
        <p:txBody>
          <a:bodyPr vert="horz" rtlCol="0" anchor="t"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695" b="0" i="0" u="none" strike="noStrike" kern="1200" cap="none" spc="0" normalizeH="0" baseline="0" noProof="0" dirty="0">
                <a:ln>
                  <a:noFill/>
                </a:ln>
                <a:solidFill>
                  <a:srgbClr val="FFFFFF"/>
                </a:solidFill>
                <a:effectLst/>
                <a:uLnTx/>
                <a:uFillTx/>
                <a:latin typeface="OPPOSans M" panose="00020600040101010101" pitchFamily="18" charset="-122"/>
                <a:ea typeface="OPPOSans M" panose="00020600040101010101" pitchFamily="18" charset="-122"/>
                <a:cs typeface="+mn-cs"/>
              </a:rPr>
              <a:t>业务部</a:t>
            </a:r>
            <a:endParaRPr kumimoji="0" lang="zh-CN" altLang="en-US" sz="900" b="0" i="0" u="none" strike="noStrike" kern="1200" cap="none" spc="0" normalizeH="0" baseline="0" noProof="0" dirty="0">
              <a:ln>
                <a:noFill/>
              </a:ln>
              <a:solidFill>
                <a:srgbClr val="000000"/>
              </a:solidFill>
              <a:effectLst/>
              <a:uLnTx/>
              <a:uFillTx/>
              <a:latin typeface="Arial" panose="020F0502020204030204"/>
              <a:ea typeface="微软雅黑"/>
              <a:cs typeface="+mn-cs"/>
            </a:endParaRPr>
          </a:p>
        </p:txBody>
      </p:sp>
      <p:sp>
        <p:nvSpPr>
          <p:cNvPr id="1037" name="Object 1037"/>
          <p:cNvSpPr txBox="1"/>
          <p:nvPr/>
        </p:nvSpPr>
        <p:spPr>
          <a:xfrm>
            <a:off x="4736142" y="4957679"/>
            <a:ext cx="1722561" cy="260350"/>
          </a:xfrm>
          <a:prstGeom prst="rect">
            <a:avLst/>
          </a:prstGeom>
        </p:spPr>
        <p:txBody>
          <a:bodyPr vert="horz" rtlCol="0" anchor="t"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695" b="0" i="0" u="none" strike="noStrike" kern="1200" cap="none" spc="0" normalizeH="0" baseline="0" noProof="0" dirty="0">
                <a:ln>
                  <a:noFill/>
                </a:ln>
                <a:solidFill>
                  <a:srgbClr val="FFFFFF"/>
                </a:solidFill>
                <a:effectLst/>
                <a:uLnTx/>
                <a:uFillTx/>
                <a:latin typeface="OPPOSans M" panose="00020600040101010101" pitchFamily="18" charset="-122"/>
                <a:ea typeface="OPPOSans M" panose="00020600040101010101" pitchFamily="18" charset="-122"/>
                <a:cs typeface="+mn-cs"/>
              </a:rPr>
              <a:t>市场部</a:t>
            </a:r>
            <a:endParaRPr kumimoji="0" lang="zh-CN" altLang="en-US" sz="900" b="0" i="0" u="none" strike="noStrike" kern="1200" cap="none" spc="0" normalizeH="0" baseline="0" noProof="0" dirty="0">
              <a:ln>
                <a:noFill/>
              </a:ln>
              <a:solidFill>
                <a:srgbClr val="000000"/>
              </a:solidFill>
              <a:effectLst/>
              <a:uLnTx/>
              <a:uFillTx/>
              <a:latin typeface="Arial" panose="020F0502020204030204"/>
              <a:ea typeface="微软雅黑"/>
              <a:cs typeface="+mn-cs"/>
            </a:endParaRPr>
          </a:p>
        </p:txBody>
      </p:sp>
      <p:sp>
        <p:nvSpPr>
          <p:cNvPr id="1040" name="Object 1040"/>
          <p:cNvSpPr txBox="1"/>
          <p:nvPr/>
        </p:nvSpPr>
        <p:spPr>
          <a:xfrm>
            <a:off x="5912533" y="4957679"/>
            <a:ext cx="1540046" cy="260350"/>
          </a:xfrm>
          <a:prstGeom prst="rect">
            <a:avLst/>
          </a:prstGeom>
        </p:spPr>
        <p:txBody>
          <a:bodyPr vert="horz" rtlCol="0" anchor="t"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695" b="0" i="0" u="none" strike="noStrike" kern="1200" cap="none" spc="0" normalizeH="0" baseline="0" noProof="0" dirty="0">
                <a:ln>
                  <a:noFill/>
                </a:ln>
                <a:solidFill>
                  <a:srgbClr val="FFFFFF"/>
                </a:solidFill>
                <a:effectLst/>
                <a:uLnTx/>
                <a:uFillTx/>
                <a:latin typeface="OPPOSans M" panose="00020600040101010101" pitchFamily="18" charset="-122"/>
                <a:ea typeface="OPPOSans M" panose="00020600040101010101" pitchFamily="18" charset="-122"/>
                <a:cs typeface="+mn-cs"/>
              </a:rPr>
              <a:t>设计部</a:t>
            </a:r>
            <a:endParaRPr kumimoji="0" lang="zh-CN" altLang="en-US" sz="900" b="0" i="0" u="none" strike="noStrike" kern="1200" cap="none" spc="0" normalizeH="0" baseline="0" noProof="0" dirty="0">
              <a:ln>
                <a:noFill/>
              </a:ln>
              <a:solidFill>
                <a:srgbClr val="000000"/>
              </a:solidFill>
              <a:effectLst/>
              <a:uLnTx/>
              <a:uFillTx/>
              <a:latin typeface="Arial" panose="020F0502020204030204"/>
              <a:ea typeface="微软雅黑"/>
              <a:cs typeface="+mn-cs"/>
            </a:endParaRPr>
          </a:p>
        </p:txBody>
      </p:sp>
      <p:sp>
        <p:nvSpPr>
          <p:cNvPr id="1043" name="Object 1043"/>
          <p:cNvSpPr txBox="1"/>
          <p:nvPr/>
        </p:nvSpPr>
        <p:spPr>
          <a:xfrm>
            <a:off x="5286141" y="4069532"/>
            <a:ext cx="1722561" cy="260350"/>
          </a:xfrm>
          <a:prstGeom prst="rect">
            <a:avLst/>
          </a:prstGeom>
        </p:spPr>
        <p:txBody>
          <a:bodyPr vert="horz" rtlCol="0" anchor="t"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695" b="0" i="0" u="none" strike="noStrike" kern="1200" cap="none" spc="0" normalizeH="0" baseline="0" noProof="0" dirty="0">
                <a:ln>
                  <a:noFill/>
                </a:ln>
                <a:solidFill>
                  <a:srgbClr val="FFFFFF"/>
                </a:solidFill>
                <a:effectLst/>
                <a:uLnTx/>
                <a:uFillTx/>
                <a:latin typeface="OPPOSans M" panose="00020600040101010101" pitchFamily="18" charset="-122"/>
                <a:ea typeface="OPPOSans M" panose="00020600040101010101" pitchFamily="18" charset="-122"/>
                <a:cs typeface="+mn-cs"/>
              </a:rPr>
              <a:t>运营部</a:t>
            </a:r>
            <a:endParaRPr kumimoji="0" lang="zh-CN" altLang="en-US" sz="900" b="0" i="0" u="none" strike="noStrike" kern="1200" cap="none" spc="0" normalizeH="0" baseline="0" noProof="0" dirty="0">
              <a:ln>
                <a:noFill/>
              </a:ln>
              <a:solidFill>
                <a:srgbClr val="000000"/>
              </a:solidFill>
              <a:effectLst/>
              <a:uLnTx/>
              <a:uFillTx/>
              <a:latin typeface="Arial" panose="020F0502020204030204"/>
              <a:ea typeface="微软雅黑"/>
              <a:cs typeface="+mn-cs"/>
            </a:endParaRPr>
          </a:p>
        </p:txBody>
      </p:sp>
      <p:sp>
        <p:nvSpPr>
          <p:cNvPr id="1046" name="Object 1046"/>
          <p:cNvSpPr txBox="1"/>
          <p:nvPr/>
        </p:nvSpPr>
        <p:spPr>
          <a:xfrm>
            <a:off x="8476720" y="4147545"/>
            <a:ext cx="1540046" cy="260350"/>
          </a:xfrm>
          <a:prstGeom prst="rect">
            <a:avLst/>
          </a:prstGeom>
        </p:spPr>
        <p:txBody>
          <a:bodyPr vert="horz" rtlCol="0" anchor="t"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695" b="0" i="0" u="none" strike="noStrike" kern="1200" cap="none" spc="0" normalizeH="0" baseline="0" noProof="0" dirty="0">
                <a:ln>
                  <a:noFill/>
                </a:ln>
                <a:solidFill>
                  <a:srgbClr val="FFFFFF"/>
                </a:solidFill>
                <a:effectLst/>
                <a:uLnTx/>
                <a:uFillTx/>
                <a:latin typeface="OPPOSans M" panose="00020600040101010101" pitchFamily="18" charset="-122"/>
                <a:ea typeface="OPPOSans M" panose="00020600040101010101" pitchFamily="18" charset="-122"/>
                <a:cs typeface="+mn-cs"/>
              </a:rPr>
              <a:t>销售部</a:t>
            </a:r>
            <a:endParaRPr kumimoji="0" lang="zh-CN" altLang="en-US" sz="900" b="0" i="0" u="none" strike="noStrike" kern="1200" cap="none" spc="0" normalizeH="0" baseline="0" noProof="0" dirty="0">
              <a:ln>
                <a:noFill/>
              </a:ln>
              <a:solidFill>
                <a:srgbClr val="000000"/>
              </a:solidFill>
              <a:effectLst/>
              <a:uLnTx/>
              <a:uFillTx/>
              <a:latin typeface="Arial" panose="020F0502020204030204"/>
              <a:ea typeface="微软雅黑"/>
              <a:cs typeface="+mn-cs"/>
            </a:endParaRPr>
          </a:p>
        </p:txBody>
      </p:sp>
      <p:sp>
        <p:nvSpPr>
          <p:cNvPr id="1049" name="Object 1049"/>
          <p:cNvSpPr txBox="1"/>
          <p:nvPr/>
        </p:nvSpPr>
        <p:spPr>
          <a:xfrm>
            <a:off x="7776336" y="4856908"/>
            <a:ext cx="1840816" cy="482600"/>
          </a:xfrm>
          <a:prstGeom prst="rect">
            <a:avLst/>
          </a:prstGeom>
        </p:spPr>
        <p:txBody>
          <a:bodyPr vert="horz" rtlCol="0" anchor="t" anchorCtr="0">
            <a:noAutofit/>
          </a:bodyPr>
          <a:lstStyle/>
          <a:p>
            <a:pPr marL="0" marR="0" lvl="0" indent="0" algn="ctr" defTabSz="914400" rtl="0" eaLnBrk="1" fontAlgn="auto" latinLnBrk="0" hangingPunct="1">
              <a:lnSpc>
                <a:spcPct val="94166"/>
              </a:lnSpc>
              <a:spcBef>
                <a:spcPts val="0"/>
              </a:spcBef>
              <a:spcAft>
                <a:spcPts val="0"/>
              </a:spcAft>
              <a:buClrTx/>
              <a:buSzTx/>
              <a:buFontTx/>
              <a:buNone/>
              <a:tabLst/>
              <a:defRPr/>
            </a:pPr>
            <a:r>
              <a:rPr kumimoji="0" lang="zh-CN" altLang="en-US" sz="1695" b="0" i="0" u="none" strike="noStrike" kern="1200" cap="none" spc="0" normalizeH="0" baseline="0" noProof="0" dirty="0">
                <a:ln>
                  <a:noFill/>
                </a:ln>
                <a:solidFill>
                  <a:srgbClr val="FFFFFF"/>
                </a:solidFill>
                <a:effectLst/>
                <a:uLnTx/>
                <a:uFillTx/>
                <a:latin typeface="OPPOSans M" panose="00020600040101010101" pitchFamily="18" charset="-122"/>
                <a:ea typeface="OPPOSans M" panose="00020600040101010101" pitchFamily="18" charset="-122"/>
                <a:cs typeface="+mn-cs"/>
              </a:rPr>
              <a:t>招标</a:t>
            </a:r>
            <a:endParaRPr kumimoji="0" lang="zh-CN" altLang="en-US" sz="1695" b="0" i="0" u="none" strike="noStrike" kern="1200" cap="none" spc="0" normalizeH="0" baseline="0" noProof="0" dirty="0">
              <a:ln>
                <a:noFill/>
              </a:ln>
              <a:solidFill>
                <a:srgbClr val="000000"/>
              </a:solidFill>
              <a:effectLst/>
              <a:uLnTx/>
              <a:uFillTx/>
              <a:latin typeface="Arial" panose="020F0502020204030204"/>
              <a:ea typeface="微软雅黑"/>
              <a:cs typeface="+mn-cs"/>
            </a:endParaRPr>
          </a:p>
          <a:p>
            <a:pPr marL="0" marR="0" lvl="0" indent="0" algn="ctr" defTabSz="914400" rtl="0" eaLnBrk="1" fontAlgn="auto" latinLnBrk="0" hangingPunct="1">
              <a:lnSpc>
                <a:spcPct val="94166"/>
              </a:lnSpc>
              <a:spcBef>
                <a:spcPts val="0"/>
              </a:spcBef>
              <a:spcAft>
                <a:spcPts val="0"/>
              </a:spcAft>
              <a:buClrTx/>
              <a:buSzTx/>
              <a:buFontTx/>
              <a:buNone/>
              <a:tabLst/>
              <a:defRPr/>
            </a:pPr>
            <a:r>
              <a:rPr kumimoji="0" lang="zh-CN" altLang="en-US" sz="1695" b="0" i="0" u="none" strike="noStrike" kern="1200" cap="none" spc="0" normalizeH="0" baseline="0" noProof="0" dirty="0">
                <a:ln>
                  <a:noFill/>
                </a:ln>
                <a:solidFill>
                  <a:srgbClr val="FFFFFF"/>
                </a:solidFill>
                <a:effectLst/>
                <a:uLnTx/>
                <a:uFillTx/>
                <a:latin typeface="OPPOSans M" panose="00020600040101010101" pitchFamily="18" charset="-122"/>
                <a:ea typeface="OPPOSans M" panose="00020600040101010101" pitchFamily="18" charset="-122"/>
                <a:cs typeface="+mn-cs"/>
              </a:rPr>
              <a:t>采购部 </a:t>
            </a:r>
            <a:endParaRPr kumimoji="0" lang="zh-CN" altLang="en-US" sz="900" b="0" i="0" u="none" strike="noStrike" kern="1200" cap="none" spc="0" normalizeH="0" baseline="0" noProof="0" dirty="0">
              <a:ln>
                <a:noFill/>
              </a:ln>
              <a:solidFill>
                <a:srgbClr val="000000"/>
              </a:solidFill>
              <a:effectLst/>
              <a:uLnTx/>
              <a:uFillTx/>
              <a:latin typeface="Arial" panose="020F0502020204030204"/>
              <a:ea typeface="微软雅黑"/>
              <a:cs typeface="+mn-cs"/>
            </a:endParaRPr>
          </a:p>
        </p:txBody>
      </p:sp>
      <p:sp>
        <p:nvSpPr>
          <p:cNvPr id="1052" name="Object 1052"/>
          <p:cNvSpPr txBox="1"/>
          <p:nvPr/>
        </p:nvSpPr>
        <p:spPr>
          <a:xfrm>
            <a:off x="3722013" y="5908254"/>
            <a:ext cx="4747975" cy="342900"/>
          </a:xfrm>
          <a:prstGeom prst="rect">
            <a:avLst/>
          </a:prstGeom>
        </p:spPr>
        <p:txBody>
          <a:bodyPr vert="horz" rtlCol="0" anchor="t"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2250" b="0" i="0" u="none" strike="noStrike" kern="1200" cap="none" spc="0" normalizeH="0" baseline="0" noProof="0" dirty="0">
                <a:ln>
                  <a:noFill/>
                </a:ln>
                <a:solidFill>
                  <a:srgbClr val="FFFFFF"/>
                </a:solidFill>
                <a:effectLst/>
                <a:uLnTx/>
                <a:uFillTx/>
                <a:latin typeface="OPPOSans B" panose="00020600040101010101" pitchFamily="18" charset="-122"/>
                <a:ea typeface="OPPOSans B" panose="00020600040101010101" pitchFamily="18" charset="-122"/>
                <a:cs typeface="+mn-cs"/>
              </a:rPr>
              <a:t>秋叶科技有限公司</a:t>
            </a:r>
            <a:endParaRPr kumimoji="0" lang="zh-CN" altLang="en-US" sz="900" b="0" i="0" u="none" strike="noStrike" kern="1200" cap="none" spc="0" normalizeH="0" baseline="0" noProof="0" dirty="0">
              <a:ln>
                <a:noFill/>
              </a:ln>
              <a:solidFill>
                <a:srgbClr val="000000"/>
              </a:solidFill>
              <a:effectLst/>
              <a:uLnTx/>
              <a:uFillTx/>
              <a:latin typeface="Arial" panose="020F0502020204030204"/>
              <a:ea typeface="微软雅黑"/>
              <a:cs typeface="+mn-cs"/>
            </a:endParaRPr>
          </a:p>
        </p:txBody>
      </p:sp>
      <p:sp>
        <p:nvSpPr>
          <p:cNvPr id="67" name="图形 3">
            <a:extLst>
              <a:ext uri="{FF2B5EF4-FFF2-40B4-BE49-F238E27FC236}">
                <a16:creationId xmlns:a16="http://schemas.microsoft.com/office/drawing/2014/main" id="{F81B13E4-5988-4868-889A-DD54190D4F15}"/>
              </a:ext>
            </a:extLst>
          </p:cNvPr>
          <p:cNvSpPr/>
          <p:nvPr/>
        </p:nvSpPr>
        <p:spPr>
          <a:xfrm>
            <a:off x="3291662" y="3420109"/>
            <a:ext cx="521086" cy="425769"/>
          </a:xfrm>
          <a:custGeom>
            <a:avLst/>
            <a:gdLst>
              <a:gd name="connsiteX0" fmla="*/ 83244 w 521086"/>
              <a:gd name="connsiteY0" fmla="*/ 169250 h 425769"/>
              <a:gd name="connsiteX1" fmla="*/ 0 w 521086"/>
              <a:gd name="connsiteY1" fmla="*/ 425769 h 425769"/>
              <a:gd name="connsiteX2" fmla="*/ 258807 w 521086"/>
              <a:gd name="connsiteY2" fmla="*/ 400204 h 425769"/>
              <a:gd name="connsiteX3" fmla="*/ 222985 w 521086"/>
              <a:gd name="connsiteY3" fmla="*/ 315619 h 425769"/>
              <a:gd name="connsiteX4" fmla="*/ 521087 w 521086"/>
              <a:gd name="connsiteY4" fmla="*/ 154416 h 425769"/>
              <a:gd name="connsiteX5" fmla="*/ 368012 w 521086"/>
              <a:gd name="connsiteY5" fmla="*/ 0 h 425769"/>
              <a:gd name="connsiteX6" fmla="*/ 154416 w 521086"/>
              <a:gd name="connsiteY6" fmla="*/ 232374 h 425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21086" h="425769">
                <a:moveTo>
                  <a:pt x="83244" y="169250"/>
                </a:moveTo>
                <a:lnTo>
                  <a:pt x="0" y="425769"/>
                </a:lnTo>
                <a:lnTo>
                  <a:pt x="258807" y="400204"/>
                </a:lnTo>
                <a:lnTo>
                  <a:pt x="222985" y="315619"/>
                </a:lnTo>
                <a:lnTo>
                  <a:pt x="521087" y="154416"/>
                </a:lnTo>
                <a:lnTo>
                  <a:pt x="368012" y="0"/>
                </a:lnTo>
                <a:lnTo>
                  <a:pt x="154416" y="232374"/>
                </a:lnTo>
                <a:close/>
              </a:path>
            </a:pathLst>
          </a:custGeom>
          <a:solidFill>
            <a:srgbClr val="5C81F6"/>
          </a:solidFill>
          <a:ln w="779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panose="020F0502020204030204"/>
              <a:ea typeface="微软雅黑"/>
              <a:cs typeface="+mn-cs"/>
            </a:endParaRPr>
          </a:p>
        </p:txBody>
      </p:sp>
      <p:sp>
        <p:nvSpPr>
          <p:cNvPr id="69" name="图形 57">
            <a:extLst>
              <a:ext uri="{FF2B5EF4-FFF2-40B4-BE49-F238E27FC236}">
                <a16:creationId xmlns:a16="http://schemas.microsoft.com/office/drawing/2014/main" id="{2CE92FDF-807B-4929-9101-A773328E2A02}"/>
              </a:ext>
            </a:extLst>
          </p:cNvPr>
          <p:cNvSpPr/>
          <p:nvPr/>
        </p:nvSpPr>
        <p:spPr>
          <a:xfrm rot="625000" flipH="1">
            <a:off x="5186804" y="3409963"/>
            <a:ext cx="521086" cy="425769"/>
          </a:xfrm>
          <a:custGeom>
            <a:avLst/>
            <a:gdLst>
              <a:gd name="connsiteX0" fmla="*/ 83244 w 521086"/>
              <a:gd name="connsiteY0" fmla="*/ 169250 h 425769"/>
              <a:gd name="connsiteX1" fmla="*/ 0 w 521086"/>
              <a:gd name="connsiteY1" fmla="*/ 425769 h 425769"/>
              <a:gd name="connsiteX2" fmla="*/ 258807 w 521086"/>
              <a:gd name="connsiteY2" fmla="*/ 400204 h 425769"/>
              <a:gd name="connsiteX3" fmla="*/ 222985 w 521086"/>
              <a:gd name="connsiteY3" fmla="*/ 315619 h 425769"/>
              <a:gd name="connsiteX4" fmla="*/ 521087 w 521086"/>
              <a:gd name="connsiteY4" fmla="*/ 154416 h 425769"/>
              <a:gd name="connsiteX5" fmla="*/ 368012 w 521086"/>
              <a:gd name="connsiteY5" fmla="*/ 0 h 425769"/>
              <a:gd name="connsiteX6" fmla="*/ 154416 w 521086"/>
              <a:gd name="connsiteY6" fmla="*/ 232374 h 425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21086" h="425769">
                <a:moveTo>
                  <a:pt x="83244" y="169250"/>
                </a:moveTo>
                <a:lnTo>
                  <a:pt x="0" y="425769"/>
                </a:lnTo>
                <a:lnTo>
                  <a:pt x="258807" y="400204"/>
                </a:lnTo>
                <a:lnTo>
                  <a:pt x="222985" y="315619"/>
                </a:lnTo>
                <a:lnTo>
                  <a:pt x="521087" y="154416"/>
                </a:lnTo>
                <a:lnTo>
                  <a:pt x="368012" y="0"/>
                </a:lnTo>
                <a:lnTo>
                  <a:pt x="154416" y="232374"/>
                </a:lnTo>
                <a:close/>
              </a:path>
            </a:pathLst>
          </a:custGeom>
          <a:solidFill>
            <a:srgbClr val="5C81F6"/>
          </a:solidFill>
          <a:ln w="779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panose="020F0502020204030204"/>
              <a:ea typeface="微软雅黑"/>
              <a:cs typeface="+mn-cs"/>
            </a:endParaRPr>
          </a:p>
        </p:txBody>
      </p:sp>
      <p:sp>
        <p:nvSpPr>
          <p:cNvPr id="70" name="图形 57">
            <a:extLst>
              <a:ext uri="{FF2B5EF4-FFF2-40B4-BE49-F238E27FC236}">
                <a16:creationId xmlns:a16="http://schemas.microsoft.com/office/drawing/2014/main" id="{C115C20A-2331-4A2F-9CFF-EA3FD923CA0A}"/>
              </a:ext>
            </a:extLst>
          </p:cNvPr>
          <p:cNvSpPr/>
          <p:nvPr/>
        </p:nvSpPr>
        <p:spPr>
          <a:xfrm rot="20975000">
            <a:off x="6613280" y="3400979"/>
            <a:ext cx="521086" cy="425769"/>
          </a:xfrm>
          <a:custGeom>
            <a:avLst/>
            <a:gdLst>
              <a:gd name="connsiteX0" fmla="*/ 83244 w 521086"/>
              <a:gd name="connsiteY0" fmla="*/ 169250 h 425769"/>
              <a:gd name="connsiteX1" fmla="*/ 0 w 521086"/>
              <a:gd name="connsiteY1" fmla="*/ 425769 h 425769"/>
              <a:gd name="connsiteX2" fmla="*/ 258807 w 521086"/>
              <a:gd name="connsiteY2" fmla="*/ 400204 h 425769"/>
              <a:gd name="connsiteX3" fmla="*/ 222985 w 521086"/>
              <a:gd name="connsiteY3" fmla="*/ 315619 h 425769"/>
              <a:gd name="connsiteX4" fmla="*/ 521087 w 521086"/>
              <a:gd name="connsiteY4" fmla="*/ 154416 h 425769"/>
              <a:gd name="connsiteX5" fmla="*/ 368012 w 521086"/>
              <a:gd name="connsiteY5" fmla="*/ 0 h 425769"/>
              <a:gd name="connsiteX6" fmla="*/ 154416 w 521086"/>
              <a:gd name="connsiteY6" fmla="*/ 232374 h 425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21086" h="425769">
                <a:moveTo>
                  <a:pt x="83244" y="169250"/>
                </a:moveTo>
                <a:lnTo>
                  <a:pt x="0" y="425769"/>
                </a:lnTo>
                <a:lnTo>
                  <a:pt x="258807" y="400204"/>
                </a:lnTo>
                <a:lnTo>
                  <a:pt x="222985" y="315619"/>
                </a:lnTo>
                <a:lnTo>
                  <a:pt x="521087" y="154416"/>
                </a:lnTo>
                <a:lnTo>
                  <a:pt x="368012" y="0"/>
                </a:lnTo>
                <a:lnTo>
                  <a:pt x="154416" y="232374"/>
                </a:lnTo>
                <a:close/>
              </a:path>
            </a:pathLst>
          </a:custGeom>
          <a:solidFill>
            <a:srgbClr val="5C81F6"/>
          </a:solidFill>
          <a:ln w="779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panose="020F0502020204030204"/>
              <a:ea typeface="微软雅黑"/>
              <a:cs typeface="+mn-cs"/>
            </a:endParaRPr>
          </a:p>
        </p:txBody>
      </p:sp>
      <p:sp>
        <p:nvSpPr>
          <p:cNvPr id="71" name="图形 3">
            <a:extLst>
              <a:ext uri="{FF2B5EF4-FFF2-40B4-BE49-F238E27FC236}">
                <a16:creationId xmlns:a16="http://schemas.microsoft.com/office/drawing/2014/main" id="{D11D7DE6-0F74-436B-B57F-483DC8E9B273}"/>
              </a:ext>
            </a:extLst>
          </p:cNvPr>
          <p:cNvSpPr/>
          <p:nvPr/>
        </p:nvSpPr>
        <p:spPr>
          <a:xfrm flipH="1">
            <a:off x="8436201" y="3420109"/>
            <a:ext cx="521086" cy="425769"/>
          </a:xfrm>
          <a:custGeom>
            <a:avLst/>
            <a:gdLst>
              <a:gd name="connsiteX0" fmla="*/ 83244 w 521086"/>
              <a:gd name="connsiteY0" fmla="*/ 169250 h 425769"/>
              <a:gd name="connsiteX1" fmla="*/ 0 w 521086"/>
              <a:gd name="connsiteY1" fmla="*/ 425769 h 425769"/>
              <a:gd name="connsiteX2" fmla="*/ 258807 w 521086"/>
              <a:gd name="connsiteY2" fmla="*/ 400204 h 425769"/>
              <a:gd name="connsiteX3" fmla="*/ 222985 w 521086"/>
              <a:gd name="connsiteY3" fmla="*/ 315619 h 425769"/>
              <a:gd name="connsiteX4" fmla="*/ 521087 w 521086"/>
              <a:gd name="connsiteY4" fmla="*/ 154416 h 425769"/>
              <a:gd name="connsiteX5" fmla="*/ 368012 w 521086"/>
              <a:gd name="connsiteY5" fmla="*/ 0 h 425769"/>
              <a:gd name="connsiteX6" fmla="*/ 154416 w 521086"/>
              <a:gd name="connsiteY6" fmla="*/ 232374 h 425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21086" h="425769">
                <a:moveTo>
                  <a:pt x="83244" y="169250"/>
                </a:moveTo>
                <a:lnTo>
                  <a:pt x="0" y="425769"/>
                </a:lnTo>
                <a:lnTo>
                  <a:pt x="258807" y="400204"/>
                </a:lnTo>
                <a:lnTo>
                  <a:pt x="222985" y="315619"/>
                </a:lnTo>
                <a:lnTo>
                  <a:pt x="521087" y="154416"/>
                </a:lnTo>
                <a:lnTo>
                  <a:pt x="368012" y="0"/>
                </a:lnTo>
                <a:lnTo>
                  <a:pt x="154416" y="232374"/>
                </a:lnTo>
                <a:close/>
              </a:path>
            </a:pathLst>
          </a:custGeom>
          <a:solidFill>
            <a:srgbClr val="5C81F6"/>
          </a:solidFill>
          <a:ln w="779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panose="020F0502020204030204"/>
              <a:ea typeface="微软雅黑"/>
              <a:cs typeface="+mn-cs"/>
            </a:endParaRPr>
          </a:p>
        </p:txBody>
      </p:sp>
    </p:spTree>
    <p:extLst>
      <p:ext uri="{BB962C8B-B14F-4D97-AF65-F5344CB8AC3E}">
        <p14:creationId xmlns:p14="http://schemas.microsoft.com/office/powerpoint/2010/main" val="2384945932"/>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8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44" name="gaoding-1"/>
          <p:cNvSpPr/>
          <p:nvPr/>
        </p:nvSpPr>
        <p:spPr>
          <a:xfrm flipV="1">
            <a:off x="6096378" y="2340623"/>
            <a:ext cx="0" cy="546521"/>
          </a:xfrm>
          <a:prstGeom prst="line">
            <a:avLst/>
          </a:prstGeom>
          <a:noFill/>
          <a:ln w="25400" cap="flat">
            <a:solidFill>
              <a:schemeClr val="accent6">
                <a:lumMod val="40000"/>
                <a:lumOff val="60000"/>
              </a:schemeClr>
            </a:solidFill>
            <a:prstDash val="solid"/>
            <a:miter lim="400000"/>
          </a:ln>
          <a:effectLst/>
        </p:spPr>
        <p:txBody>
          <a:bodyPr wrap="square" lIns="0" tIns="0" rIns="0" bIns="0" numCol="1"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1600" b="0" i="0" u="none" strike="noStrike" kern="1200" cap="none" spc="0" normalizeH="0" baseline="0" noProof="0" dirty="0">
              <a:ln>
                <a:noFill/>
              </a:ln>
              <a:solidFill>
                <a:srgbClr val="FFFFFF"/>
              </a:solidFill>
              <a:effectLst/>
              <a:uLnTx/>
              <a:uFillTx/>
              <a:latin typeface="OPPOSans R" panose="00020600040101010101" pitchFamily="18" charset="-122"/>
              <a:ea typeface="微软雅黑"/>
              <a:cs typeface="+mn-cs"/>
              <a:sym typeface="Helvetica Neue Medium"/>
            </a:endParaRPr>
          </a:p>
        </p:txBody>
      </p:sp>
      <p:sp>
        <p:nvSpPr>
          <p:cNvPr id="3645" name="gaoding-2"/>
          <p:cNvSpPr/>
          <p:nvPr/>
        </p:nvSpPr>
        <p:spPr>
          <a:xfrm>
            <a:off x="4696201" y="1521249"/>
            <a:ext cx="2787651" cy="783066"/>
          </a:xfrm>
          <a:custGeom>
            <a:avLst/>
            <a:gdLst/>
            <a:ahLst/>
            <a:cxnLst>
              <a:cxn ang="0">
                <a:pos x="wd2" y="hd2"/>
              </a:cxn>
              <a:cxn ang="5400000">
                <a:pos x="wd2" y="hd2"/>
              </a:cxn>
              <a:cxn ang="10800000">
                <a:pos x="wd2" y="hd2"/>
              </a:cxn>
              <a:cxn ang="16200000">
                <a:pos x="wd2" y="hd2"/>
              </a:cxn>
            </a:cxnLst>
            <a:rect l="0" t="0" r="r" b="b"/>
            <a:pathLst>
              <a:path w="21600" h="21600" extrusionOk="0">
                <a:moveTo>
                  <a:pt x="823" y="0"/>
                </a:moveTo>
                <a:lnTo>
                  <a:pt x="20777" y="0"/>
                </a:lnTo>
                <a:cubicBezTo>
                  <a:pt x="20895" y="0"/>
                  <a:pt x="20984" y="0"/>
                  <a:pt x="21059" y="9"/>
                </a:cubicBezTo>
                <a:cubicBezTo>
                  <a:pt x="21134" y="19"/>
                  <a:pt x="21196" y="37"/>
                  <a:pt x="21260" y="75"/>
                </a:cubicBezTo>
                <a:cubicBezTo>
                  <a:pt x="21330" y="122"/>
                  <a:pt x="21392" y="196"/>
                  <a:pt x="21443" y="291"/>
                </a:cubicBezTo>
                <a:cubicBezTo>
                  <a:pt x="21494" y="386"/>
                  <a:pt x="21534" y="502"/>
                  <a:pt x="21560" y="631"/>
                </a:cubicBezTo>
                <a:cubicBezTo>
                  <a:pt x="21580" y="749"/>
                  <a:pt x="21590" y="864"/>
                  <a:pt x="21595" y="1005"/>
                </a:cubicBezTo>
                <a:cubicBezTo>
                  <a:pt x="21600" y="1145"/>
                  <a:pt x="21600" y="1312"/>
                  <a:pt x="21600" y="1535"/>
                </a:cubicBezTo>
                <a:lnTo>
                  <a:pt x="21600" y="20072"/>
                </a:lnTo>
                <a:cubicBezTo>
                  <a:pt x="21600" y="20291"/>
                  <a:pt x="21600" y="20456"/>
                  <a:pt x="21595" y="20596"/>
                </a:cubicBezTo>
                <a:cubicBezTo>
                  <a:pt x="21590" y="20736"/>
                  <a:pt x="21580" y="20851"/>
                  <a:pt x="21560" y="20969"/>
                </a:cubicBezTo>
                <a:cubicBezTo>
                  <a:pt x="21534" y="21098"/>
                  <a:pt x="21494" y="21214"/>
                  <a:pt x="21443" y="21309"/>
                </a:cubicBezTo>
                <a:cubicBezTo>
                  <a:pt x="21392" y="21404"/>
                  <a:pt x="21330" y="21478"/>
                  <a:pt x="21260" y="21525"/>
                </a:cubicBezTo>
                <a:cubicBezTo>
                  <a:pt x="21196" y="21563"/>
                  <a:pt x="21134" y="21581"/>
                  <a:pt x="21059" y="21591"/>
                </a:cubicBezTo>
                <a:cubicBezTo>
                  <a:pt x="20983" y="21600"/>
                  <a:pt x="20893" y="21600"/>
                  <a:pt x="20773" y="21600"/>
                </a:cubicBezTo>
                <a:lnTo>
                  <a:pt x="823" y="21600"/>
                </a:lnTo>
                <a:cubicBezTo>
                  <a:pt x="705" y="21600"/>
                  <a:pt x="616" y="21600"/>
                  <a:pt x="541" y="21591"/>
                </a:cubicBezTo>
                <a:cubicBezTo>
                  <a:pt x="466" y="21581"/>
                  <a:pt x="404" y="21563"/>
                  <a:pt x="340" y="21525"/>
                </a:cubicBezTo>
                <a:cubicBezTo>
                  <a:pt x="270" y="21478"/>
                  <a:pt x="208" y="21404"/>
                  <a:pt x="157" y="21309"/>
                </a:cubicBezTo>
                <a:cubicBezTo>
                  <a:pt x="106" y="21214"/>
                  <a:pt x="66" y="21098"/>
                  <a:pt x="40" y="20969"/>
                </a:cubicBezTo>
                <a:cubicBezTo>
                  <a:pt x="20" y="20851"/>
                  <a:pt x="10" y="20736"/>
                  <a:pt x="5" y="20595"/>
                </a:cubicBezTo>
                <a:cubicBezTo>
                  <a:pt x="0" y="20455"/>
                  <a:pt x="0" y="20288"/>
                  <a:pt x="0" y="20065"/>
                </a:cubicBezTo>
                <a:lnTo>
                  <a:pt x="0" y="1528"/>
                </a:lnTo>
                <a:cubicBezTo>
                  <a:pt x="0" y="1309"/>
                  <a:pt x="0" y="1144"/>
                  <a:pt x="5" y="1004"/>
                </a:cubicBezTo>
                <a:cubicBezTo>
                  <a:pt x="10" y="864"/>
                  <a:pt x="20" y="749"/>
                  <a:pt x="40" y="631"/>
                </a:cubicBezTo>
                <a:cubicBezTo>
                  <a:pt x="66" y="502"/>
                  <a:pt x="106" y="386"/>
                  <a:pt x="157" y="291"/>
                </a:cubicBezTo>
                <a:cubicBezTo>
                  <a:pt x="208" y="196"/>
                  <a:pt x="270" y="122"/>
                  <a:pt x="340" y="75"/>
                </a:cubicBezTo>
                <a:cubicBezTo>
                  <a:pt x="404" y="37"/>
                  <a:pt x="466" y="19"/>
                  <a:pt x="541" y="9"/>
                </a:cubicBezTo>
                <a:cubicBezTo>
                  <a:pt x="617" y="0"/>
                  <a:pt x="707" y="0"/>
                  <a:pt x="827" y="0"/>
                </a:cubicBezTo>
                <a:lnTo>
                  <a:pt x="823" y="0"/>
                </a:lnTo>
                <a:close/>
              </a:path>
            </a:pathLst>
          </a:custGeom>
          <a:solidFill>
            <a:schemeClr val="accent1"/>
          </a:solidFill>
          <a:ln w="12700" cap="flat">
            <a:noFill/>
            <a:miter lim="400000"/>
          </a:ln>
          <a:effectLst/>
        </p:spPr>
        <p:txBody>
          <a:bodyPr wrap="square" lIns="0" tIns="0" rIns="0" bIns="0" numCol="1"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r>
              <a:rPr kumimoji="0" lang="zh-CN" altLang="en-US" sz="3600" b="0" i="0" u="none" strike="noStrike" kern="1200" cap="none" spc="0" normalizeH="0" baseline="0" noProof="0" dirty="0">
                <a:ln>
                  <a:noFill/>
                </a:ln>
                <a:solidFill>
                  <a:srgbClr val="FFFFFF"/>
                </a:solidFill>
                <a:effectLst/>
                <a:uLnTx/>
                <a:uFillTx/>
                <a:latin typeface="OPPOSans B" panose="00020600040101010101" pitchFamily="18" charset="-122"/>
                <a:ea typeface="OPPOSans B" panose="00020600040101010101" pitchFamily="18" charset="-122"/>
                <a:cs typeface="OPPOSans B" panose="00020600040101010101" pitchFamily="18" charset="-122"/>
                <a:sym typeface="Arial" panose="020B0604020202020204" pitchFamily="34" charset="0"/>
              </a:rPr>
              <a:t>秋叶</a:t>
            </a:r>
            <a:r>
              <a:rPr kumimoji="0" lang="en-US" altLang="zh-CN" sz="3600" b="0" i="0" u="none" strike="noStrike" kern="1200" cap="none" spc="0" normalizeH="0" baseline="0" noProof="0" dirty="0">
                <a:ln>
                  <a:noFill/>
                </a:ln>
                <a:solidFill>
                  <a:srgbClr val="FFFFFF"/>
                </a:solidFill>
                <a:effectLst/>
                <a:uLnTx/>
                <a:uFillTx/>
                <a:latin typeface="OPPOSans B" panose="00020600040101010101" pitchFamily="18" charset="-122"/>
                <a:ea typeface="OPPOSans B" panose="00020600040101010101" pitchFamily="18" charset="-122"/>
                <a:cs typeface="OPPOSans B" panose="00020600040101010101" pitchFamily="18" charset="-122"/>
                <a:sym typeface="Arial" panose="020B0604020202020204" pitchFamily="34" charset="0"/>
              </a:rPr>
              <a:t>PPT</a:t>
            </a:r>
            <a:endParaRPr kumimoji="0" lang="zh-CN" altLang="zh-CN" sz="3600" b="0" i="0" u="none" strike="noStrike" kern="1200" cap="none" spc="0" normalizeH="0" baseline="0" noProof="0" dirty="0">
              <a:ln>
                <a:noFill/>
              </a:ln>
              <a:solidFill>
                <a:srgbClr val="FFFFFF"/>
              </a:solidFill>
              <a:effectLst/>
              <a:uLnTx/>
              <a:uFillTx/>
              <a:latin typeface="OPPOSans B" panose="00020600040101010101" pitchFamily="18" charset="-122"/>
              <a:ea typeface="OPPOSans B" panose="00020600040101010101" pitchFamily="18" charset="-122"/>
              <a:cs typeface="OPPOSans B" panose="00020600040101010101" pitchFamily="18" charset="-122"/>
              <a:sym typeface="Arial" panose="020B0604020202020204" pitchFamily="34" charset="0"/>
            </a:endParaRPr>
          </a:p>
        </p:txBody>
      </p:sp>
      <p:sp>
        <p:nvSpPr>
          <p:cNvPr id="3651" name="gaoding-3"/>
          <p:cNvSpPr/>
          <p:nvPr/>
        </p:nvSpPr>
        <p:spPr>
          <a:xfrm>
            <a:off x="1635613" y="2879195"/>
            <a:ext cx="8908829" cy="673468"/>
          </a:xfrm>
          <a:custGeom>
            <a:avLst/>
            <a:gdLst/>
            <a:ahLst/>
            <a:cxnLst>
              <a:cxn ang="0">
                <a:pos x="wd2" y="hd2"/>
              </a:cxn>
              <a:cxn ang="5400000">
                <a:pos x="wd2" y="hd2"/>
              </a:cxn>
              <a:cxn ang="10800000">
                <a:pos x="wd2" y="hd2"/>
              </a:cxn>
              <a:cxn ang="16200000">
                <a:pos x="wd2" y="hd2"/>
              </a:cxn>
            </a:cxnLst>
            <a:rect l="0" t="0" r="r" b="b"/>
            <a:pathLst>
              <a:path w="21600" h="21521" extrusionOk="0">
                <a:moveTo>
                  <a:pt x="0" y="21410"/>
                </a:moveTo>
                <a:lnTo>
                  <a:pt x="0" y="4159"/>
                </a:lnTo>
                <a:cubicBezTo>
                  <a:pt x="0" y="3036"/>
                  <a:pt x="35" y="1963"/>
                  <a:pt x="96" y="1182"/>
                </a:cubicBezTo>
                <a:cubicBezTo>
                  <a:pt x="162" y="347"/>
                  <a:pt x="251" y="-79"/>
                  <a:pt x="342" y="12"/>
                </a:cubicBezTo>
                <a:lnTo>
                  <a:pt x="21291" y="12"/>
                </a:lnTo>
                <a:cubicBezTo>
                  <a:pt x="21382" y="27"/>
                  <a:pt x="21468" y="560"/>
                  <a:pt x="21527" y="1474"/>
                </a:cubicBezTo>
                <a:cubicBezTo>
                  <a:pt x="21573" y="2202"/>
                  <a:pt x="21599" y="3121"/>
                  <a:pt x="21600" y="4074"/>
                </a:cubicBezTo>
                <a:lnTo>
                  <a:pt x="21600" y="21521"/>
                </a:lnTo>
              </a:path>
            </a:pathLst>
          </a:custGeom>
          <a:noFill/>
          <a:ln w="25400" cap="flat">
            <a:solidFill>
              <a:schemeClr val="accent6">
                <a:lumMod val="40000"/>
                <a:lumOff val="60000"/>
              </a:schemeClr>
            </a:solidFill>
            <a:prstDash val="solid"/>
            <a:miter lim="400000"/>
          </a:ln>
          <a:effectLst/>
        </p:spPr>
        <p:txBody>
          <a:bodyPr wrap="square" lIns="0" tIns="0" rIns="0" bIns="0" numCol="1"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1600" b="0" i="0" u="none" strike="noStrike" kern="1200" cap="none" spc="0" normalizeH="0" baseline="0" noProof="0" dirty="0">
              <a:ln>
                <a:noFill/>
              </a:ln>
              <a:solidFill>
                <a:srgbClr val="FFFFFF"/>
              </a:solidFill>
              <a:effectLst/>
              <a:uLnTx/>
              <a:uFillTx/>
              <a:latin typeface="OPPOSans R" panose="00020600040101010101" pitchFamily="18" charset="-122"/>
              <a:ea typeface="微软雅黑"/>
              <a:cs typeface="+mn-cs"/>
              <a:sym typeface="Helvetica Neue Medium"/>
            </a:endParaRPr>
          </a:p>
        </p:txBody>
      </p:sp>
      <p:sp>
        <p:nvSpPr>
          <p:cNvPr id="3652" name="gaoding-4"/>
          <p:cNvSpPr/>
          <p:nvPr/>
        </p:nvSpPr>
        <p:spPr>
          <a:xfrm flipV="1">
            <a:off x="3416677" y="2878257"/>
            <a:ext cx="0" cy="546521"/>
          </a:xfrm>
          <a:prstGeom prst="line">
            <a:avLst/>
          </a:prstGeom>
          <a:noFill/>
          <a:ln w="25400" cap="flat">
            <a:solidFill>
              <a:schemeClr val="accent6">
                <a:lumMod val="40000"/>
                <a:lumOff val="60000"/>
              </a:schemeClr>
            </a:solidFill>
            <a:prstDash val="solid"/>
            <a:miter lim="400000"/>
          </a:ln>
          <a:effectLst/>
        </p:spPr>
        <p:txBody>
          <a:bodyPr wrap="square" lIns="0" tIns="0" rIns="0" bIns="0" numCol="1"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1600" b="0" i="0" u="none" strike="noStrike" kern="1200" cap="none" spc="0" normalizeH="0" baseline="0" noProof="0" dirty="0">
              <a:ln>
                <a:noFill/>
              </a:ln>
              <a:solidFill>
                <a:srgbClr val="FFFFFF"/>
              </a:solidFill>
              <a:effectLst/>
              <a:uLnTx/>
              <a:uFillTx/>
              <a:latin typeface="OPPOSans R" panose="00020600040101010101" pitchFamily="18" charset="-122"/>
              <a:ea typeface="微软雅黑"/>
              <a:cs typeface="+mn-cs"/>
              <a:sym typeface="Helvetica Neue Medium"/>
            </a:endParaRPr>
          </a:p>
        </p:txBody>
      </p:sp>
      <p:sp>
        <p:nvSpPr>
          <p:cNvPr id="3653" name="gaoding-5"/>
          <p:cNvSpPr/>
          <p:nvPr/>
        </p:nvSpPr>
        <p:spPr>
          <a:xfrm flipV="1">
            <a:off x="5207378" y="2874023"/>
            <a:ext cx="0" cy="546521"/>
          </a:xfrm>
          <a:prstGeom prst="line">
            <a:avLst/>
          </a:prstGeom>
          <a:noFill/>
          <a:ln w="25400" cap="flat">
            <a:solidFill>
              <a:schemeClr val="accent6">
                <a:lumMod val="40000"/>
                <a:lumOff val="60000"/>
              </a:schemeClr>
            </a:solidFill>
            <a:prstDash val="solid"/>
            <a:miter lim="400000"/>
          </a:ln>
          <a:effectLst/>
        </p:spPr>
        <p:txBody>
          <a:bodyPr wrap="square" lIns="0" tIns="0" rIns="0" bIns="0" numCol="1"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1600" b="0" i="0" u="none" strike="noStrike" kern="1200" cap="none" spc="0" normalizeH="0" baseline="0" noProof="0" dirty="0">
              <a:ln>
                <a:noFill/>
              </a:ln>
              <a:solidFill>
                <a:srgbClr val="FFFFFF"/>
              </a:solidFill>
              <a:effectLst/>
              <a:uLnTx/>
              <a:uFillTx/>
              <a:latin typeface="OPPOSans R" panose="00020600040101010101" pitchFamily="18" charset="-122"/>
              <a:ea typeface="微软雅黑"/>
              <a:cs typeface="+mn-cs"/>
              <a:sym typeface="Helvetica Neue Medium"/>
            </a:endParaRPr>
          </a:p>
        </p:txBody>
      </p:sp>
      <p:sp>
        <p:nvSpPr>
          <p:cNvPr id="3654" name="gaoding-6"/>
          <p:cNvSpPr/>
          <p:nvPr/>
        </p:nvSpPr>
        <p:spPr>
          <a:xfrm flipV="1">
            <a:off x="6981144" y="2878257"/>
            <a:ext cx="0" cy="546521"/>
          </a:xfrm>
          <a:prstGeom prst="line">
            <a:avLst/>
          </a:prstGeom>
          <a:noFill/>
          <a:ln w="25400" cap="flat">
            <a:solidFill>
              <a:schemeClr val="accent6">
                <a:lumMod val="40000"/>
                <a:lumOff val="60000"/>
              </a:schemeClr>
            </a:solidFill>
            <a:prstDash val="solid"/>
            <a:miter lim="400000"/>
          </a:ln>
          <a:effectLst/>
        </p:spPr>
        <p:txBody>
          <a:bodyPr wrap="square" lIns="0" tIns="0" rIns="0" bIns="0" numCol="1"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1600" b="0" i="0" u="none" strike="noStrike" kern="1200" cap="none" spc="0" normalizeH="0" baseline="0" noProof="0" dirty="0">
              <a:ln>
                <a:noFill/>
              </a:ln>
              <a:solidFill>
                <a:srgbClr val="FFFFFF"/>
              </a:solidFill>
              <a:effectLst/>
              <a:uLnTx/>
              <a:uFillTx/>
              <a:latin typeface="OPPOSans R" panose="00020600040101010101" pitchFamily="18" charset="-122"/>
              <a:ea typeface="微软雅黑"/>
              <a:cs typeface="+mn-cs"/>
              <a:sym typeface="Helvetica Neue Medium"/>
            </a:endParaRPr>
          </a:p>
        </p:txBody>
      </p:sp>
      <p:sp>
        <p:nvSpPr>
          <p:cNvPr id="3655" name="gaoding-7"/>
          <p:cNvSpPr/>
          <p:nvPr/>
        </p:nvSpPr>
        <p:spPr>
          <a:xfrm flipV="1">
            <a:off x="8763378" y="2874023"/>
            <a:ext cx="0" cy="546521"/>
          </a:xfrm>
          <a:prstGeom prst="line">
            <a:avLst/>
          </a:prstGeom>
          <a:noFill/>
          <a:ln w="25400" cap="flat">
            <a:solidFill>
              <a:schemeClr val="accent6">
                <a:lumMod val="40000"/>
                <a:lumOff val="60000"/>
              </a:schemeClr>
            </a:solidFill>
            <a:prstDash val="solid"/>
            <a:miter lim="400000"/>
          </a:ln>
          <a:effectLst/>
        </p:spPr>
        <p:txBody>
          <a:bodyPr wrap="square" lIns="0" tIns="0" rIns="0" bIns="0" numCol="1"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1600" b="0" i="0" u="none" strike="noStrike" kern="1200" cap="none" spc="0" normalizeH="0" baseline="0" noProof="0" dirty="0">
              <a:ln>
                <a:noFill/>
              </a:ln>
              <a:solidFill>
                <a:srgbClr val="FFFFFF"/>
              </a:solidFill>
              <a:effectLst/>
              <a:uLnTx/>
              <a:uFillTx/>
              <a:latin typeface="OPPOSans R" panose="00020600040101010101" pitchFamily="18" charset="-122"/>
              <a:ea typeface="微软雅黑"/>
              <a:cs typeface="+mn-cs"/>
              <a:sym typeface="Helvetica Neue Medium"/>
            </a:endParaRPr>
          </a:p>
        </p:txBody>
      </p:sp>
      <p:sp>
        <p:nvSpPr>
          <p:cNvPr id="3656" name="gaoding-8"/>
          <p:cNvSpPr/>
          <p:nvPr/>
        </p:nvSpPr>
        <p:spPr>
          <a:xfrm>
            <a:off x="810861" y="3351503"/>
            <a:ext cx="1647183" cy="2487151"/>
          </a:xfrm>
          <a:custGeom>
            <a:avLst/>
            <a:gdLst/>
            <a:ahLst/>
            <a:cxnLst>
              <a:cxn ang="0">
                <a:pos x="wd2" y="hd2"/>
              </a:cxn>
              <a:cxn ang="5400000">
                <a:pos x="wd2" y="hd2"/>
              </a:cxn>
              <a:cxn ang="10800000">
                <a:pos x="wd2" y="hd2"/>
              </a:cxn>
              <a:cxn ang="16200000">
                <a:pos x="wd2" y="hd2"/>
              </a:cxn>
            </a:cxnLst>
            <a:rect l="0" t="0" r="r" b="b"/>
            <a:pathLst>
              <a:path w="21600" h="21600" extrusionOk="0">
                <a:moveTo>
                  <a:pt x="1552" y="0"/>
                </a:moveTo>
                <a:lnTo>
                  <a:pt x="20048" y="0"/>
                </a:lnTo>
                <a:cubicBezTo>
                  <a:pt x="20270" y="0"/>
                  <a:pt x="20438" y="0"/>
                  <a:pt x="20580" y="6"/>
                </a:cubicBezTo>
                <a:cubicBezTo>
                  <a:pt x="20722" y="13"/>
                  <a:pt x="20839" y="25"/>
                  <a:pt x="20959" y="50"/>
                </a:cubicBezTo>
                <a:cubicBezTo>
                  <a:pt x="21090" y="82"/>
                  <a:pt x="21207" y="132"/>
                  <a:pt x="21304" y="196"/>
                </a:cubicBezTo>
                <a:cubicBezTo>
                  <a:pt x="21400" y="260"/>
                  <a:pt x="21476" y="338"/>
                  <a:pt x="21524" y="425"/>
                </a:cubicBezTo>
                <a:cubicBezTo>
                  <a:pt x="21562" y="504"/>
                  <a:pt x="21581" y="581"/>
                  <a:pt x="21590" y="676"/>
                </a:cubicBezTo>
                <a:cubicBezTo>
                  <a:pt x="21600" y="771"/>
                  <a:pt x="21600" y="883"/>
                  <a:pt x="21600" y="1033"/>
                </a:cubicBezTo>
                <a:lnTo>
                  <a:pt x="21600" y="20572"/>
                </a:lnTo>
                <a:cubicBezTo>
                  <a:pt x="21600" y="20719"/>
                  <a:pt x="21600" y="20830"/>
                  <a:pt x="21590" y="20924"/>
                </a:cubicBezTo>
                <a:cubicBezTo>
                  <a:pt x="21581" y="21019"/>
                  <a:pt x="21562" y="21096"/>
                  <a:pt x="21524" y="21175"/>
                </a:cubicBezTo>
                <a:cubicBezTo>
                  <a:pt x="21476" y="21262"/>
                  <a:pt x="21400" y="21340"/>
                  <a:pt x="21304" y="21404"/>
                </a:cubicBezTo>
                <a:cubicBezTo>
                  <a:pt x="21207" y="21468"/>
                  <a:pt x="21090" y="21518"/>
                  <a:pt x="20959" y="21550"/>
                </a:cubicBezTo>
                <a:cubicBezTo>
                  <a:pt x="20839" y="21575"/>
                  <a:pt x="20722" y="21587"/>
                  <a:pt x="20579" y="21594"/>
                </a:cubicBezTo>
                <a:cubicBezTo>
                  <a:pt x="20436" y="21600"/>
                  <a:pt x="20267" y="21600"/>
                  <a:pt x="20041" y="21600"/>
                </a:cubicBezTo>
                <a:lnTo>
                  <a:pt x="1552" y="21600"/>
                </a:lnTo>
                <a:cubicBezTo>
                  <a:pt x="1330" y="21600"/>
                  <a:pt x="1162" y="21600"/>
                  <a:pt x="1020" y="21594"/>
                </a:cubicBezTo>
                <a:cubicBezTo>
                  <a:pt x="878" y="21587"/>
                  <a:pt x="761" y="21575"/>
                  <a:pt x="641" y="21550"/>
                </a:cubicBezTo>
                <a:cubicBezTo>
                  <a:pt x="510" y="21518"/>
                  <a:pt x="393" y="21468"/>
                  <a:pt x="296" y="21404"/>
                </a:cubicBezTo>
                <a:cubicBezTo>
                  <a:pt x="200" y="21340"/>
                  <a:pt x="124" y="21262"/>
                  <a:pt x="76" y="21175"/>
                </a:cubicBezTo>
                <a:cubicBezTo>
                  <a:pt x="38" y="21096"/>
                  <a:pt x="19" y="21019"/>
                  <a:pt x="10" y="20924"/>
                </a:cubicBezTo>
                <a:cubicBezTo>
                  <a:pt x="0" y="20829"/>
                  <a:pt x="0" y="20717"/>
                  <a:pt x="0" y="20567"/>
                </a:cubicBezTo>
                <a:lnTo>
                  <a:pt x="0" y="1028"/>
                </a:lnTo>
                <a:cubicBezTo>
                  <a:pt x="0" y="881"/>
                  <a:pt x="0" y="770"/>
                  <a:pt x="10" y="676"/>
                </a:cubicBezTo>
                <a:cubicBezTo>
                  <a:pt x="19" y="581"/>
                  <a:pt x="38" y="504"/>
                  <a:pt x="76" y="425"/>
                </a:cubicBezTo>
                <a:cubicBezTo>
                  <a:pt x="124" y="338"/>
                  <a:pt x="200" y="260"/>
                  <a:pt x="296" y="196"/>
                </a:cubicBezTo>
                <a:cubicBezTo>
                  <a:pt x="393" y="132"/>
                  <a:pt x="510" y="82"/>
                  <a:pt x="641" y="50"/>
                </a:cubicBezTo>
                <a:cubicBezTo>
                  <a:pt x="761" y="25"/>
                  <a:pt x="878" y="13"/>
                  <a:pt x="1021" y="6"/>
                </a:cubicBezTo>
                <a:cubicBezTo>
                  <a:pt x="1164" y="0"/>
                  <a:pt x="1333" y="0"/>
                  <a:pt x="1559" y="0"/>
                </a:cubicBezTo>
                <a:lnTo>
                  <a:pt x="1552" y="0"/>
                </a:lnTo>
                <a:close/>
              </a:path>
            </a:pathLst>
          </a:custGeom>
          <a:gradFill flip="none" rotWithShape="1">
            <a:gsLst>
              <a:gs pos="1000">
                <a:schemeClr val="accent1"/>
              </a:gs>
              <a:gs pos="100000">
                <a:schemeClr val="accent1">
                  <a:lumMod val="60000"/>
                  <a:lumOff val="40000"/>
                </a:schemeClr>
              </a:gs>
            </a:gsLst>
            <a:lin ang="16200000" scaled="1"/>
            <a:tileRect/>
          </a:gradFill>
          <a:ln>
            <a:noFill/>
          </a:ln>
          <a:effectLst>
            <a:outerShdw blurRad="330200" dist="457200" dir="5400000" sx="90000" sy="90000" algn="t" rotWithShape="0">
              <a:schemeClr val="accent1">
                <a:lumMod val="50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FFFFFF"/>
              </a:solidFill>
              <a:effectLst/>
              <a:uLnTx/>
              <a:uFillTx/>
              <a:latin typeface="OPPOSans R" panose="00020600040101010101" pitchFamily="18" charset="-122"/>
              <a:ea typeface="OPPOSans B" panose="00020600040101010101" pitchFamily="18" charset="-122"/>
              <a:cs typeface="OPPOSans B" panose="00020600040101010101" pitchFamily="18" charset="-122"/>
            </a:endParaRPr>
          </a:p>
        </p:txBody>
      </p:sp>
      <p:sp>
        <p:nvSpPr>
          <p:cNvPr id="3660" name="gaoding-9"/>
          <p:cNvSpPr/>
          <p:nvPr/>
        </p:nvSpPr>
        <p:spPr>
          <a:xfrm>
            <a:off x="949717" y="3686237"/>
            <a:ext cx="441761" cy="0"/>
          </a:xfrm>
          <a:prstGeom prst="line">
            <a:avLst/>
          </a:prstGeom>
          <a:noFill/>
          <a:ln w="25400" cap="flat">
            <a:solidFill>
              <a:srgbClr val="FFFFFF"/>
            </a:solidFill>
            <a:prstDash val="solid"/>
            <a:miter lim="400000"/>
          </a:ln>
          <a:effectLst/>
        </p:spPr>
        <p:txBody>
          <a:bodyPr wrap="square" lIns="0" tIns="0" rIns="0" bIns="0" numCol="1"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1600" b="0" i="0" u="none" strike="noStrike" kern="1200" cap="none" spc="0" normalizeH="0" baseline="0" noProof="0" dirty="0">
              <a:ln>
                <a:noFill/>
              </a:ln>
              <a:solidFill>
                <a:srgbClr val="FFFFFF"/>
              </a:solidFill>
              <a:effectLst/>
              <a:uLnTx/>
              <a:uFillTx/>
              <a:latin typeface="OPPOSans R" panose="00020600040101010101" pitchFamily="18" charset="-122"/>
              <a:ea typeface="微软雅黑"/>
              <a:cs typeface="+mn-cs"/>
              <a:sym typeface="Helvetica Neue Medium"/>
            </a:endParaRPr>
          </a:p>
        </p:txBody>
      </p:sp>
      <p:sp>
        <p:nvSpPr>
          <p:cNvPr id="3662" name="gaoding-10"/>
          <p:cNvSpPr/>
          <p:nvPr/>
        </p:nvSpPr>
        <p:spPr>
          <a:xfrm>
            <a:off x="2593401" y="3351503"/>
            <a:ext cx="1647184" cy="2487151"/>
          </a:xfrm>
          <a:custGeom>
            <a:avLst/>
            <a:gdLst/>
            <a:ahLst/>
            <a:cxnLst>
              <a:cxn ang="0">
                <a:pos x="wd2" y="hd2"/>
              </a:cxn>
              <a:cxn ang="5400000">
                <a:pos x="wd2" y="hd2"/>
              </a:cxn>
              <a:cxn ang="10800000">
                <a:pos x="wd2" y="hd2"/>
              </a:cxn>
              <a:cxn ang="16200000">
                <a:pos x="wd2" y="hd2"/>
              </a:cxn>
            </a:cxnLst>
            <a:rect l="0" t="0" r="r" b="b"/>
            <a:pathLst>
              <a:path w="21600" h="21600" extrusionOk="0">
                <a:moveTo>
                  <a:pt x="1552" y="0"/>
                </a:moveTo>
                <a:lnTo>
                  <a:pt x="20048" y="0"/>
                </a:lnTo>
                <a:cubicBezTo>
                  <a:pt x="20270" y="0"/>
                  <a:pt x="20438" y="0"/>
                  <a:pt x="20580" y="6"/>
                </a:cubicBezTo>
                <a:cubicBezTo>
                  <a:pt x="20722" y="13"/>
                  <a:pt x="20839" y="25"/>
                  <a:pt x="20959" y="50"/>
                </a:cubicBezTo>
                <a:cubicBezTo>
                  <a:pt x="21090" y="82"/>
                  <a:pt x="21207" y="132"/>
                  <a:pt x="21304" y="196"/>
                </a:cubicBezTo>
                <a:cubicBezTo>
                  <a:pt x="21400" y="260"/>
                  <a:pt x="21476" y="338"/>
                  <a:pt x="21524" y="425"/>
                </a:cubicBezTo>
                <a:cubicBezTo>
                  <a:pt x="21562" y="504"/>
                  <a:pt x="21581" y="581"/>
                  <a:pt x="21590" y="676"/>
                </a:cubicBezTo>
                <a:cubicBezTo>
                  <a:pt x="21600" y="771"/>
                  <a:pt x="21600" y="883"/>
                  <a:pt x="21600" y="1033"/>
                </a:cubicBezTo>
                <a:lnTo>
                  <a:pt x="21600" y="20572"/>
                </a:lnTo>
                <a:cubicBezTo>
                  <a:pt x="21600" y="20719"/>
                  <a:pt x="21600" y="20830"/>
                  <a:pt x="21590" y="20924"/>
                </a:cubicBezTo>
                <a:cubicBezTo>
                  <a:pt x="21581" y="21019"/>
                  <a:pt x="21562" y="21096"/>
                  <a:pt x="21524" y="21175"/>
                </a:cubicBezTo>
                <a:cubicBezTo>
                  <a:pt x="21476" y="21262"/>
                  <a:pt x="21400" y="21340"/>
                  <a:pt x="21304" y="21404"/>
                </a:cubicBezTo>
                <a:cubicBezTo>
                  <a:pt x="21207" y="21468"/>
                  <a:pt x="21090" y="21518"/>
                  <a:pt x="20959" y="21550"/>
                </a:cubicBezTo>
                <a:cubicBezTo>
                  <a:pt x="20839" y="21575"/>
                  <a:pt x="20722" y="21587"/>
                  <a:pt x="20579" y="21594"/>
                </a:cubicBezTo>
                <a:cubicBezTo>
                  <a:pt x="20436" y="21600"/>
                  <a:pt x="20267" y="21600"/>
                  <a:pt x="20041" y="21600"/>
                </a:cubicBezTo>
                <a:lnTo>
                  <a:pt x="1552" y="21600"/>
                </a:lnTo>
                <a:cubicBezTo>
                  <a:pt x="1330" y="21600"/>
                  <a:pt x="1162" y="21600"/>
                  <a:pt x="1020" y="21594"/>
                </a:cubicBezTo>
                <a:cubicBezTo>
                  <a:pt x="878" y="21587"/>
                  <a:pt x="761" y="21575"/>
                  <a:pt x="641" y="21550"/>
                </a:cubicBezTo>
                <a:cubicBezTo>
                  <a:pt x="510" y="21518"/>
                  <a:pt x="393" y="21468"/>
                  <a:pt x="296" y="21404"/>
                </a:cubicBezTo>
                <a:cubicBezTo>
                  <a:pt x="200" y="21340"/>
                  <a:pt x="124" y="21262"/>
                  <a:pt x="76" y="21175"/>
                </a:cubicBezTo>
                <a:cubicBezTo>
                  <a:pt x="38" y="21096"/>
                  <a:pt x="19" y="21019"/>
                  <a:pt x="10" y="20924"/>
                </a:cubicBezTo>
                <a:cubicBezTo>
                  <a:pt x="0" y="20829"/>
                  <a:pt x="0" y="20717"/>
                  <a:pt x="0" y="20567"/>
                </a:cubicBezTo>
                <a:lnTo>
                  <a:pt x="0" y="1028"/>
                </a:lnTo>
                <a:cubicBezTo>
                  <a:pt x="0" y="881"/>
                  <a:pt x="0" y="770"/>
                  <a:pt x="10" y="676"/>
                </a:cubicBezTo>
                <a:cubicBezTo>
                  <a:pt x="19" y="581"/>
                  <a:pt x="38" y="504"/>
                  <a:pt x="76" y="425"/>
                </a:cubicBezTo>
                <a:cubicBezTo>
                  <a:pt x="124" y="338"/>
                  <a:pt x="200" y="260"/>
                  <a:pt x="296" y="196"/>
                </a:cubicBezTo>
                <a:cubicBezTo>
                  <a:pt x="393" y="132"/>
                  <a:pt x="510" y="82"/>
                  <a:pt x="641" y="50"/>
                </a:cubicBezTo>
                <a:cubicBezTo>
                  <a:pt x="761" y="25"/>
                  <a:pt x="878" y="13"/>
                  <a:pt x="1021" y="6"/>
                </a:cubicBezTo>
                <a:cubicBezTo>
                  <a:pt x="1164" y="0"/>
                  <a:pt x="1333" y="0"/>
                  <a:pt x="1559" y="0"/>
                </a:cubicBezTo>
                <a:lnTo>
                  <a:pt x="1552" y="0"/>
                </a:lnTo>
                <a:close/>
              </a:path>
            </a:pathLst>
          </a:custGeom>
          <a:gradFill flip="none" rotWithShape="1">
            <a:gsLst>
              <a:gs pos="1000">
                <a:schemeClr val="accent2"/>
              </a:gs>
              <a:gs pos="100000">
                <a:schemeClr val="accent2">
                  <a:lumMod val="60000"/>
                  <a:lumOff val="40000"/>
                </a:schemeClr>
              </a:gs>
            </a:gsLst>
            <a:lin ang="16200000" scaled="1"/>
            <a:tileRect/>
          </a:gradFill>
          <a:ln>
            <a:noFill/>
          </a:ln>
          <a:effectLst>
            <a:outerShdw blurRad="330200" dist="457200" dir="5400000" sx="90000" sy="90000" algn="t" rotWithShape="0">
              <a:schemeClr val="accent2">
                <a:lumMod val="50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FFFFFF"/>
              </a:solidFill>
              <a:effectLst/>
              <a:uLnTx/>
              <a:uFillTx/>
              <a:latin typeface="OPPOSans R" panose="00020600040101010101" pitchFamily="18" charset="-122"/>
              <a:ea typeface="OPPOSans B" panose="00020600040101010101" pitchFamily="18" charset="-122"/>
              <a:cs typeface="OPPOSans B" panose="00020600040101010101" pitchFamily="18" charset="-122"/>
            </a:endParaRPr>
          </a:p>
        </p:txBody>
      </p:sp>
      <p:sp>
        <p:nvSpPr>
          <p:cNvPr id="3666" name="gaoding-11"/>
          <p:cNvSpPr/>
          <p:nvPr/>
        </p:nvSpPr>
        <p:spPr>
          <a:xfrm>
            <a:off x="2779882" y="3686238"/>
            <a:ext cx="441760" cy="0"/>
          </a:xfrm>
          <a:prstGeom prst="line">
            <a:avLst/>
          </a:prstGeom>
          <a:noFill/>
          <a:ln w="25400" cap="flat">
            <a:solidFill>
              <a:srgbClr val="FFFFFF"/>
            </a:solidFill>
            <a:prstDash val="solid"/>
            <a:miter lim="400000"/>
          </a:ln>
          <a:effectLst/>
        </p:spPr>
        <p:txBody>
          <a:bodyPr wrap="square" lIns="0" tIns="0" rIns="0" bIns="0" numCol="1"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1600" b="0" i="0" u="none" strike="noStrike" kern="1200" cap="none" spc="0" normalizeH="0" baseline="0" noProof="0" dirty="0">
              <a:ln>
                <a:noFill/>
              </a:ln>
              <a:solidFill>
                <a:srgbClr val="FFFFFF"/>
              </a:solidFill>
              <a:effectLst/>
              <a:uLnTx/>
              <a:uFillTx/>
              <a:latin typeface="OPPOSans R" panose="00020600040101010101" pitchFamily="18" charset="-122"/>
              <a:ea typeface="微软雅黑"/>
              <a:cs typeface="+mn-cs"/>
              <a:sym typeface="Helvetica Neue Medium"/>
            </a:endParaRPr>
          </a:p>
        </p:txBody>
      </p:sp>
      <p:sp>
        <p:nvSpPr>
          <p:cNvPr id="3668" name="gaoding-12"/>
          <p:cNvSpPr/>
          <p:nvPr/>
        </p:nvSpPr>
        <p:spPr>
          <a:xfrm>
            <a:off x="4375940" y="3351503"/>
            <a:ext cx="1647184" cy="2487151"/>
          </a:xfrm>
          <a:custGeom>
            <a:avLst/>
            <a:gdLst/>
            <a:ahLst/>
            <a:cxnLst>
              <a:cxn ang="0">
                <a:pos x="wd2" y="hd2"/>
              </a:cxn>
              <a:cxn ang="5400000">
                <a:pos x="wd2" y="hd2"/>
              </a:cxn>
              <a:cxn ang="10800000">
                <a:pos x="wd2" y="hd2"/>
              </a:cxn>
              <a:cxn ang="16200000">
                <a:pos x="wd2" y="hd2"/>
              </a:cxn>
            </a:cxnLst>
            <a:rect l="0" t="0" r="r" b="b"/>
            <a:pathLst>
              <a:path w="21600" h="21600" extrusionOk="0">
                <a:moveTo>
                  <a:pt x="1552" y="0"/>
                </a:moveTo>
                <a:lnTo>
                  <a:pt x="20048" y="0"/>
                </a:lnTo>
                <a:cubicBezTo>
                  <a:pt x="20270" y="0"/>
                  <a:pt x="20438" y="0"/>
                  <a:pt x="20580" y="6"/>
                </a:cubicBezTo>
                <a:cubicBezTo>
                  <a:pt x="20722" y="13"/>
                  <a:pt x="20839" y="25"/>
                  <a:pt x="20959" y="50"/>
                </a:cubicBezTo>
                <a:cubicBezTo>
                  <a:pt x="21090" y="82"/>
                  <a:pt x="21207" y="132"/>
                  <a:pt x="21304" y="196"/>
                </a:cubicBezTo>
                <a:cubicBezTo>
                  <a:pt x="21400" y="260"/>
                  <a:pt x="21476" y="338"/>
                  <a:pt x="21524" y="425"/>
                </a:cubicBezTo>
                <a:cubicBezTo>
                  <a:pt x="21562" y="504"/>
                  <a:pt x="21581" y="581"/>
                  <a:pt x="21590" y="676"/>
                </a:cubicBezTo>
                <a:cubicBezTo>
                  <a:pt x="21600" y="771"/>
                  <a:pt x="21600" y="883"/>
                  <a:pt x="21600" y="1033"/>
                </a:cubicBezTo>
                <a:lnTo>
                  <a:pt x="21600" y="20572"/>
                </a:lnTo>
                <a:cubicBezTo>
                  <a:pt x="21600" y="20719"/>
                  <a:pt x="21600" y="20830"/>
                  <a:pt x="21590" y="20924"/>
                </a:cubicBezTo>
                <a:cubicBezTo>
                  <a:pt x="21581" y="21019"/>
                  <a:pt x="21562" y="21096"/>
                  <a:pt x="21524" y="21175"/>
                </a:cubicBezTo>
                <a:cubicBezTo>
                  <a:pt x="21476" y="21262"/>
                  <a:pt x="21400" y="21340"/>
                  <a:pt x="21304" y="21404"/>
                </a:cubicBezTo>
                <a:cubicBezTo>
                  <a:pt x="21207" y="21468"/>
                  <a:pt x="21090" y="21518"/>
                  <a:pt x="20959" y="21550"/>
                </a:cubicBezTo>
                <a:cubicBezTo>
                  <a:pt x="20839" y="21575"/>
                  <a:pt x="20722" y="21587"/>
                  <a:pt x="20579" y="21594"/>
                </a:cubicBezTo>
                <a:cubicBezTo>
                  <a:pt x="20436" y="21600"/>
                  <a:pt x="20267" y="21600"/>
                  <a:pt x="20041" y="21600"/>
                </a:cubicBezTo>
                <a:lnTo>
                  <a:pt x="1552" y="21600"/>
                </a:lnTo>
                <a:cubicBezTo>
                  <a:pt x="1330" y="21600"/>
                  <a:pt x="1162" y="21600"/>
                  <a:pt x="1020" y="21594"/>
                </a:cubicBezTo>
                <a:cubicBezTo>
                  <a:pt x="878" y="21587"/>
                  <a:pt x="761" y="21575"/>
                  <a:pt x="641" y="21550"/>
                </a:cubicBezTo>
                <a:cubicBezTo>
                  <a:pt x="510" y="21518"/>
                  <a:pt x="393" y="21468"/>
                  <a:pt x="296" y="21404"/>
                </a:cubicBezTo>
                <a:cubicBezTo>
                  <a:pt x="200" y="21340"/>
                  <a:pt x="124" y="21262"/>
                  <a:pt x="76" y="21175"/>
                </a:cubicBezTo>
                <a:cubicBezTo>
                  <a:pt x="38" y="21096"/>
                  <a:pt x="19" y="21019"/>
                  <a:pt x="10" y="20924"/>
                </a:cubicBezTo>
                <a:cubicBezTo>
                  <a:pt x="0" y="20829"/>
                  <a:pt x="0" y="20717"/>
                  <a:pt x="0" y="20567"/>
                </a:cubicBezTo>
                <a:lnTo>
                  <a:pt x="0" y="1028"/>
                </a:lnTo>
                <a:cubicBezTo>
                  <a:pt x="0" y="881"/>
                  <a:pt x="0" y="770"/>
                  <a:pt x="10" y="676"/>
                </a:cubicBezTo>
                <a:cubicBezTo>
                  <a:pt x="19" y="581"/>
                  <a:pt x="38" y="504"/>
                  <a:pt x="76" y="425"/>
                </a:cubicBezTo>
                <a:cubicBezTo>
                  <a:pt x="124" y="338"/>
                  <a:pt x="200" y="260"/>
                  <a:pt x="296" y="196"/>
                </a:cubicBezTo>
                <a:cubicBezTo>
                  <a:pt x="393" y="132"/>
                  <a:pt x="510" y="82"/>
                  <a:pt x="641" y="50"/>
                </a:cubicBezTo>
                <a:cubicBezTo>
                  <a:pt x="761" y="25"/>
                  <a:pt x="878" y="13"/>
                  <a:pt x="1021" y="6"/>
                </a:cubicBezTo>
                <a:cubicBezTo>
                  <a:pt x="1164" y="0"/>
                  <a:pt x="1333" y="0"/>
                  <a:pt x="1559" y="0"/>
                </a:cubicBezTo>
                <a:lnTo>
                  <a:pt x="1552" y="0"/>
                </a:lnTo>
                <a:close/>
              </a:path>
            </a:pathLst>
          </a:custGeom>
          <a:gradFill flip="none" rotWithShape="1">
            <a:gsLst>
              <a:gs pos="1000">
                <a:schemeClr val="accent3"/>
              </a:gs>
              <a:gs pos="100000">
                <a:schemeClr val="accent3">
                  <a:lumMod val="60000"/>
                  <a:lumOff val="40000"/>
                </a:schemeClr>
              </a:gs>
            </a:gsLst>
            <a:lin ang="16200000" scaled="1"/>
            <a:tileRect/>
          </a:gradFill>
          <a:ln>
            <a:noFill/>
          </a:ln>
          <a:effectLst>
            <a:outerShdw blurRad="330200" dist="457200" dir="5400000" sx="90000" sy="90000" algn="t" rotWithShape="0">
              <a:schemeClr val="accent3">
                <a:lumMod val="50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FFFFFF"/>
              </a:solidFill>
              <a:effectLst/>
              <a:uLnTx/>
              <a:uFillTx/>
              <a:latin typeface="OPPOSans R" panose="00020600040101010101" pitchFamily="18" charset="-122"/>
              <a:ea typeface="OPPOSans B" panose="00020600040101010101" pitchFamily="18" charset="-122"/>
              <a:cs typeface="OPPOSans B" panose="00020600040101010101" pitchFamily="18" charset="-122"/>
            </a:endParaRPr>
          </a:p>
        </p:txBody>
      </p:sp>
      <p:sp>
        <p:nvSpPr>
          <p:cNvPr id="3672" name="gaoding-13"/>
          <p:cNvSpPr/>
          <p:nvPr/>
        </p:nvSpPr>
        <p:spPr>
          <a:xfrm>
            <a:off x="4562422" y="3686238"/>
            <a:ext cx="441760" cy="0"/>
          </a:xfrm>
          <a:prstGeom prst="line">
            <a:avLst/>
          </a:prstGeom>
          <a:noFill/>
          <a:ln w="25400" cap="flat">
            <a:solidFill>
              <a:srgbClr val="FFFFFF"/>
            </a:solidFill>
            <a:prstDash val="solid"/>
            <a:miter lim="400000"/>
          </a:ln>
          <a:effectLst/>
        </p:spPr>
        <p:txBody>
          <a:bodyPr wrap="square" lIns="0" tIns="0" rIns="0" bIns="0" numCol="1"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1600" b="0" i="0" u="none" strike="noStrike" kern="1200" cap="none" spc="0" normalizeH="0" baseline="0" noProof="0" dirty="0">
              <a:ln>
                <a:noFill/>
              </a:ln>
              <a:solidFill>
                <a:srgbClr val="FFFFFF"/>
              </a:solidFill>
              <a:effectLst/>
              <a:uLnTx/>
              <a:uFillTx/>
              <a:latin typeface="OPPOSans R" panose="00020600040101010101" pitchFamily="18" charset="-122"/>
              <a:ea typeface="微软雅黑"/>
              <a:cs typeface="+mn-cs"/>
              <a:sym typeface="Helvetica Neue Medium"/>
            </a:endParaRPr>
          </a:p>
        </p:txBody>
      </p:sp>
      <p:sp>
        <p:nvSpPr>
          <p:cNvPr id="3674" name="gaoding-14"/>
          <p:cNvSpPr/>
          <p:nvPr/>
        </p:nvSpPr>
        <p:spPr>
          <a:xfrm>
            <a:off x="6158481" y="3351504"/>
            <a:ext cx="1647184" cy="2487151"/>
          </a:xfrm>
          <a:custGeom>
            <a:avLst/>
            <a:gdLst/>
            <a:ahLst/>
            <a:cxnLst>
              <a:cxn ang="0">
                <a:pos x="wd2" y="hd2"/>
              </a:cxn>
              <a:cxn ang="5400000">
                <a:pos x="wd2" y="hd2"/>
              </a:cxn>
              <a:cxn ang="10800000">
                <a:pos x="wd2" y="hd2"/>
              </a:cxn>
              <a:cxn ang="16200000">
                <a:pos x="wd2" y="hd2"/>
              </a:cxn>
            </a:cxnLst>
            <a:rect l="0" t="0" r="r" b="b"/>
            <a:pathLst>
              <a:path w="21600" h="21600" extrusionOk="0">
                <a:moveTo>
                  <a:pt x="1552" y="0"/>
                </a:moveTo>
                <a:lnTo>
                  <a:pt x="20048" y="0"/>
                </a:lnTo>
                <a:cubicBezTo>
                  <a:pt x="20270" y="0"/>
                  <a:pt x="20438" y="0"/>
                  <a:pt x="20580" y="6"/>
                </a:cubicBezTo>
                <a:cubicBezTo>
                  <a:pt x="20722" y="13"/>
                  <a:pt x="20839" y="25"/>
                  <a:pt x="20959" y="50"/>
                </a:cubicBezTo>
                <a:cubicBezTo>
                  <a:pt x="21090" y="82"/>
                  <a:pt x="21207" y="132"/>
                  <a:pt x="21304" y="196"/>
                </a:cubicBezTo>
                <a:cubicBezTo>
                  <a:pt x="21400" y="260"/>
                  <a:pt x="21476" y="338"/>
                  <a:pt x="21524" y="425"/>
                </a:cubicBezTo>
                <a:cubicBezTo>
                  <a:pt x="21562" y="504"/>
                  <a:pt x="21581" y="581"/>
                  <a:pt x="21590" y="676"/>
                </a:cubicBezTo>
                <a:cubicBezTo>
                  <a:pt x="21600" y="771"/>
                  <a:pt x="21600" y="883"/>
                  <a:pt x="21600" y="1033"/>
                </a:cubicBezTo>
                <a:lnTo>
                  <a:pt x="21600" y="20572"/>
                </a:lnTo>
                <a:cubicBezTo>
                  <a:pt x="21600" y="20719"/>
                  <a:pt x="21600" y="20830"/>
                  <a:pt x="21590" y="20924"/>
                </a:cubicBezTo>
                <a:cubicBezTo>
                  <a:pt x="21581" y="21019"/>
                  <a:pt x="21562" y="21096"/>
                  <a:pt x="21524" y="21175"/>
                </a:cubicBezTo>
                <a:cubicBezTo>
                  <a:pt x="21476" y="21262"/>
                  <a:pt x="21400" y="21340"/>
                  <a:pt x="21304" y="21404"/>
                </a:cubicBezTo>
                <a:cubicBezTo>
                  <a:pt x="21207" y="21468"/>
                  <a:pt x="21090" y="21518"/>
                  <a:pt x="20959" y="21550"/>
                </a:cubicBezTo>
                <a:cubicBezTo>
                  <a:pt x="20839" y="21575"/>
                  <a:pt x="20722" y="21587"/>
                  <a:pt x="20579" y="21594"/>
                </a:cubicBezTo>
                <a:cubicBezTo>
                  <a:pt x="20436" y="21600"/>
                  <a:pt x="20267" y="21600"/>
                  <a:pt x="20041" y="21600"/>
                </a:cubicBezTo>
                <a:lnTo>
                  <a:pt x="1552" y="21600"/>
                </a:lnTo>
                <a:cubicBezTo>
                  <a:pt x="1330" y="21600"/>
                  <a:pt x="1162" y="21600"/>
                  <a:pt x="1020" y="21594"/>
                </a:cubicBezTo>
                <a:cubicBezTo>
                  <a:pt x="878" y="21587"/>
                  <a:pt x="761" y="21575"/>
                  <a:pt x="641" y="21550"/>
                </a:cubicBezTo>
                <a:cubicBezTo>
                  <a:pt x="510" y="21518"/>
                  <a:pt x="393" y="21468"/>
                  <a:pt x="296" y="21404"/>
                </a:cubicBezTo>
                <a:cubicBezTo>
                  <a:pt x="200" y="21340"/>
                  <a:pt x="124" y="21262"/>
                  <a:pt x="76" y="21175"/>
                </a:cubicBezTo>
                <a:cubicBezTo>
                  <a:pt x="38" y="21096"/>
                  <a:pt x="19" y="21019"/>
                  <a:pt x="10" y="20924"/>
                </a:cubicBezTo>
                <a:cubicBezTo>
                  <a:pt x="0" y="20829"/>
                  <a:pt x="0" y="20717"/>
                  <a:pt x="0" y="20567"/>
                </a:cubicBezTo>
                <a:lnTo>
                  <a:pt x="0" y="1028"/>
                </a:lnTo>
                <a:cubicBezTo>
                  <a:pt x="0" y="881"/>
                  <a:pt x="0" y="770"/>
                  <a:pt x="10" y="676"/>
                </a:cubicBezTo>
                <a:cubicBezTo>
                  <a:pt x="19" y="581"/>
                  <a:pt x="38" y="504"/>
                  <a:pt x="76" y="425"/>
                </a:cubicBezTo>
                <a:cubicBezTo>
                  <a:pt x="124" y="338"/>
                  <a:pt x="200" y="260"/>
                  <a:pt x="296" y="196"/>
                </a:cubicBezTo>
                <a:cubicBezTo>
                  <a:pt x="393" y="132"/>
                  <a:pt x="510" y="82"/>
                  <a:pt x="641" y="50"/>
                </a:cubicBezTo>
                <a:cubicBezTo>
                  <a:pt x="761" y="25"/>
                  <a:pt x="878" y="13"/>
                  <a:pt x="1021" y="6"/>
                </a:cubicBezTo>
                <a:cubicBezTo>
                  <a:pt x="1164" y="0"/>
                  <a:pt x="1333" y="0"/>
                  <a:pt x="1559" y="0"/>
                </a:cubicBezTo>
                <a:lnTo>
                  <a:pt x="1552" y="0"/>
                </a:lnTo>
                <a:close/>
              </a:path>
            </a:pathLst>
          </a:custGeom>
          <a:gradFill flip="none" rotWithShape="1">
            <a:gsLst>
              <a:gs pos="1000">
                <a:schemeClr val="tx1">
                  <a:lumMod val="50000"/>
                  <a:lumOff val="50000"/>
                </a:schemeClr>
              </a:gs>
              <a:gs pos="100000">
                <a:schemeClr val="bg1">
                  <a:lumMod val="75000"/>
                </a:schemeClr>
              </a:gs>
            </a:gsLst>
            <a:lin ang="16200000" scaled="1"/>
            <a:tileRect/>
          </a:gradFill>
          <a:ln>
            <a:noFill/>
          </a:ln>
          <a:effectLst>
            <a:outerShdw blurRad="330200" dist="330200" dir="5400000" sx="90000" sy="90000" algn="t" rotWithShape="0">
              <a:schemeClr val="bg2">
                <a:lumMod val="25000"/>
                <a:alpha val="40000"/>
              </a:schemeClr>
            </a:outerShdw>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Open Sans" panose="020B0606030504020204" pitchFamily="34" charset="0"/>
              <a:ea typeface="OPPOSans B" panose="00020600040101010101" pitchFamily="18" charset="-122"/>
              <a:cs typeface="Open Sans" panose="020B0606030504020204" pitchFamily="34" charset="0"/>
            </a:endParaRPr>
          </a:p>
        </p:txBody>
      </p:sp>
      <p:sp>
        <p:nvSpPr>
          <p:cNvPr id="3678" name="gaoding-15"/>
          <p:cNvSpPr/>
          <p:nvPr/>
        </p:nvSpPr>
        <p:spPr>
          <a:xfrm>
            <a:off x="6344962" y="3686238"/>
            <a:ext cx="441760" cy="0"/>
          </a:xfrm>
          <a:prstGeom prst="line">
            <a:avLst/>
          </a:prstGeom>
          <a:noFill/>
          <a:ln w="25400" cap="flat">
            <a:solidFill>
              <a:srgbClr val="FFFFFF"/>
            </a:solidFill>
            <a:prstDash val="solid"/>
            <a:miter lim="400000"/>
          </a:ln>
          <a:effectLst/>
        </p:spPr>
        <p:txBody>
          <a:bodyPr wrap="square" lIns="0" tIns="0" rIns="0" bIns="0" numCol="1"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1600" b="0" i="0" u="none" strike="noStrike" kern="1200" cap="none" spc="0" normalizeH="0" baseline="0" noProof="0" dirty="0">
              <a:ln>
                <a:noFill/>
              </a:ln>
              <a:solidFill>
                <a:srgbClr val="FFFFFF"/>
              </a:solidFill>
              <a:effectLst/>
              <a:uLnTx/>
              <a:uFillTx/>
              <a:latin typeface="OPPOSans R" panose="00020600040101010101" pitchFamily="18" charset="-122"/>
              <a:ea typeface="微软雅黑"/>
              <a:cs typeface="+mn-cs"/>
              <a:sym typeface="Helvetica Neue Medium"/>
            </a:endParaRPr>
          </a:p>
        </p:txBody>
      </p:sp>
      <p:sp>
        <p:nvSpPr>
          <p:cNvPr id="3680" name="gaoding-16"/>
          <p:cNvSpPr/>
          <p:nvPr/>
        </p:nvSpPr>
        <p:spPr>
          <a:xfrm>
            <a:off x="7941021" y="3351504"/>
            <a:ext cx="1647184" cy="2487151"/>
          </a:xfrm>
          <a:custGeom>
            <a:avLst/>
            <a:gdLst/>
            <a:ahLst/>
            <a:cxnLst>
              <a:cxn ang="0">
                <a:pos x="wd2" y="hd2"/>
              </a:cxn>
              <a:cxn ang="5400000">
                <a:pos x="wd2" y="hd2"/>
              </a:cxn>
              <a:cxn ang="10800000">
                <a:pos x="wd2" y="hd2"/>
              </a:cxn>
              <a:cxn ang="16200000">
                <a:pos x="wd2" y="hd2"/>
              </a:cxn>
            </a:cxnLst>
            <a:rect l="0" t="0" r="r" b="b"/>
            <a:pathLst>
              <a:path w="21600" h="21600" extrusionOk="0">
                <a:moveTo>
                  <a:pt x="1552" y="0"/>
                </a:moveTo>
                <a:lnTo>
                  <a:pt x="20048" y="0"/>
                </a:lnTo>
                <a:cubicBezTo>
                  <a:pt x="20270" y="0"/>
                  <a:pt x="20438" y="0"/>
                  <a:pt x="20580" y="6"/>
                </a:cubicBezTo>
                <a:cubicBezTo>
                  <a:pt x="20722" y="13"/>
                  <a:pt x="20839" y="25"/>
                  <a:pt x="20959" y="50"/>
                </a:cubicBezTo>
                <a:cubicBezTo>
                  <a:pt x="21090" y="82"/>
                  <a:pt x="21207" y="132"/>
                  <a:pt x="21304" y="196"/>
                </a:cubicBezTo>
                <a:cubicBezTo>
                  <a:pt x="21400" y="260"/>
                  <a:pt x="21476" y="338"/>
                  <a:pt x="21524" y="425"/>
                </a:cubicBezTo>
                <a:cubicBezTo>
                  <a:pt x="21562" y="504"/>
                  <a:pt x="21581" y="581"/>
                  <a:pt x="21590" y="676"/>
                </a:cubicBezTo>
                <a:cubicBezTo>
                  <a:pt x="21600" y="771"/>
                  <a:pt x="21600" y="883"/>
                  <a:pt x="21600" y="1033"/>
                </a:cubicBezTo>
                <a:lnTo>
                  <a:pt x="21600" y="20572"/>
                </a:lnTo>
                <a:cubicBezTo>
                  <a:pt x="21600" y="20719"/>
                  <a:pt x="21600" y="20830"/>
                  <a:pt x="21590" y="20924"/>
                </a:cubicBezTo>
                <a:cubicBezTo>
                  <a:pt x="21581" y="21019"/>
                  <a:pt x="21562" y="21096"/>
                  <a:pt x="21524" y="21175"/>
                </a:cubicBezTo>
                <a:cubicBezTo>
                  <a:pt x="21476" y="21262"/>
                  <a:pt x="21400" y="21340"/>
                  <a:pt x="21304" y="21404"/>
                </a:cubicBezTo>
                <a:cubicBezTo>
                  <a:pt x="21207" y="21468"/>
                  <a:pt x="21090" y="21518"/>
                  <a:pt x="20959" y="21550"/>
                </a:cubicBezTo>
                <a:cubicBezTo>
                  <a:pt x="20839" y="21575"/>
                  <a:pt x="20722" y="21587"/>
                  <a:pt x="20579" y="21594"/>
                </a:cubicBezTo>
                <a:cubicBezTo>
                  <a:pt x="20436" y="21600"/>
                  <a:pt x="20267" y="21600"/>
                  <a:pt x="20041" y="21600"/>
                </a:cubicBezTo>
                <a:lnTo>
                  <a:pt x="1552" y="21600"/>
                </a:lnTo>
                <a:cubicBezTo>
                  <a:pt x="1330" y="21600"/>
                  <a:pt x="1162" y="21600"/>
                  <a:pt x="1020" y="21594"/>
                </a:cubicBezTo>
                <a:cubicBezTo>
                  <a:pt x="878" y="21587"/>
                  <a:pt x="761" y="21575"/>
                  <a:pt x="641" y="21550"/>
                </a:cubicBezTo>
                <a:cubicBezTo>
                  <a:pt x="510" y="21518"/>
                  <a:pt x="393" y="21468"/>
                  <a:pt x="296" y="21404"/>
                </a:cubicBezTo>
                <a:cubicBezTo>
                  <a:pt x="200" y="21340"/>
                  <a:pt x="124" y="21262"/>
                  <a:pt x="76" y="21175"/>
                </a:cubicBezTo>
                <a:cubicBezTo>
                  <a:pt x="38" y="21096"/>
                  <a:pt x="19" y="21019"/>
                  <a:pt x="10" y="20924"/>
                </a:cubicBezTo>
                <a:cubicBezTo>
                  <a:pt x="0" y="20829"/>
                  <a:pt x="0" y="20717"/>
                  <a:pt x="0" y="20567"/>
                </a:cubicBezTo>
                <a:lnTo>
                  <a:pt x="0" y="1028"/>
                </a:lnTo>
                <a:cubicBezTo>
                  <a:pt x="0" y="881"/>
                  <a:pt x="0" y="770"/>
                  <a:pt x="10" y="676"/>
                </a:cubicBezTo>
                <a:cubicBezTo>
                  <a:pt x="19" y="581"/>
                  <a:pt x="38" y="504"/>
                  <a:pt x="76" y="425"/>
                </a:cubicBezTo>
                <a:cubicBezTo>
                  <a:pt x="124" y="338"/>
                  <a:pt x="200" y="260"/>
                  <a:pt x="296" y="196"/>
                </a:cubicBezTo>
                <a:cubicBezTo>
                  <a:pt x="393" y="132"/>
                  <a:pt x="510" y="82"/>
                  <a:pt x="641" y="50"/>
                </a:cubicBezTo>
                <a:cubicBezTo>
                  <a:pt x="761" y="25"/>
                  <a:pt x="878" y="13"/>
                  <a:pt x="1021" y="6"/>
                </a:cubicBezTo>
                <a:cubicBezTo>
                  <a:pt x="1164" y="0"/>
                  <a:pt x="1333" y="0"/>
                  <a:pt x="1559" y="0"/>
                </a:cubicBezTo>
                <a:lnTo>
                  <a:pt x="1552" y="0"/>
                </a:lnTo>
                <a:close/>
              </a:path>
            </a:pathLst>
          </a:custGeom>
          <a:gradFill flip="none" rotWithShape="1">
            <a:gsLst>
              <a:gs pos="1000">
                <a:schemeClr val="accent5"/>
              </a:gs>
              <a:gs pos="100000">
                <a:schemeClr val="accent5">
                  <a:lumMod val="60000"/>
                  <a:lumOff val="40000"/>
                </a:schemeClr>
              </a:gs>
            </a:gsLst>
            <a:lin ang="16200000" scaled="1"/>
            <a:tileRect/>
          </a:gradFill>
          <a:ln>
            <a:noFill/>
          </a:ln>
          <a:effectLst>
            <a:outerShdw blurRad="330200" dist="330200" dir="5400000" sx="90000" sy="90000" algn="t" rotWithShape="0">
              <a:schemeClr val="accent4">
                <a:lumMod val="50000"/>
                <a:alpha val="40000"/>
              </a:schemeClr>
            </a:outerShdw>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00000"/>
              </a:solidFill>
              <a:effectLst/>
              <a:uLnTx/>
              <a:uFillTx/>
              <a:latin typeface="Open Sans" panose="020B0606030504020204" pitchFamily="34" charset="0"/>
              <a:ea typeface="OPPOSans B" panose="00020600040101010101" pitchFamily="18" charset="-122"/>
              <a:cs typeface="Open Sans" panose="020B0606030504020204" pitchFamily="34" charset="0"/>
            </a:endParaRPr>
          </a:p>
        </p:txBody>
      </p:sp>
      <p:sp>
        <p:nvSpPr>
          <p:cNvPr id="3684" name="gaoding-17"/>
          <p:cNvSpPr/>
          <p:nvPr/>
        </p:nvSpPr>
        <p:spPr>
          <a:xfrm>
            <a:off x="8127503" y="3686238"/>
            <a:ext cx="441761" cy="0"/>
          </a:xfrm>
          <a:prstGeom prst="line">
            <a:avLst/>
          </a:prstGeom>
          <a:noFill/>
          <a:ln w="25400" cap="flat">
            <a:solidFill>
              <a:srgbClr val="FFFFFF"/>
            </a:solidFill>
            <a:prstDash val="solid"/>
            <a:miter lim="400000"/>
          </a:ln>
          <a:effectLst/>
        </p:spPr>
        <p:txBody>
          <a:bodyPr wrap="square" lIns="0" tIns="0" rIns="0" bIns="0" numCol="1"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1600" b="0" i="0" u="none" strike="noStrike" kern="1200" cap="none" spc="0" normalizeH="0" baseline="0" noProof="0" dirty="0">
              <a:ln>
                <a:noFill/>
              </a:ln>
              <a:solidFill>
                <a:srgbClr val="FFFFFF"/>
              </a:solidFill>
              <a:effectLst/>
              <a:uLnTx/>
              <a:uFillTx/>
              <a:latin typeface="OPPOSans R" panose="00020600040101010101" pitchFamily="18" charset="-122"/>
              <a:ea typeface="微软雅黑"/>
              <a:cs typeface="+mn-cs"/>
              <a:sym typeface="Helvetica Neue Medium"/>
            </a:endParaRPr>
          </a:p>
        </p:txBody>
      </p:sp>
      <p:sp>
        <p:nvSpPr>
          <p:cNvPr id="3686" name="gaoding-18"/>
          <p:cNvSpPr/>
          <p:nvPr/>
        </p:nvSpPr>
        <p:spPr>
          <a:xfrm>
            <a:off x="9723561" y="3351504"/>
            <a:ext cx="1647184" cy="2487151"/>
          </a:xfrm>
          <a:custGeom>
            <a:avLst/>
            <a:gdLst/>
            <a:ahLst/>
            <a:cxnLst>
              <a:cxn ang="0">
                <a:pos x="wd2" y="hd2"/>
              </a:cxn>
              <a:cxn ang="5400000">
                <a:pos x="wd2" y="hd2"/>
              </a:cxn>
              <a:cxn ang="10800000">
                <a:pos x="wd2" y="hd2"/>
              </a:cxn>
              <a:cxn ang="16200000">
                <a:pos x="wd2" y="hd2"/>
              </a:cxn>
            </a:cxnLst>
            <a:rect l="0" t="0" r="r" b="b"/>
            <a:pathLst>
              <a:path w="21600" h="21600" extrusionOk="0">
                <a:moveTo>
                  <a:pt x="1552" y="0"/>
                </a:moveTo>
                <a:lnTo>
                  <a:pt x="20048" y="0"/>
                </a:lnTo>
                <a:cubicBezTo>
                  <a:pt x="20270" y="0"/>
                  <a:pt x="20438" y="0"/>
                  <a:pt x="20580" y="6"/>
                </a:cubicBezTo>
                <a:cubicBezTo>
                  <a:pt x="20722" y="13"/>
                  <a:pt x="20839" y="25"/>
                  <a:pt x="20959" y="50"/>
                </a:cubicBezTo>
                <a:cubicBezTo>
                  <a:pt x="21090" y="82"/>
                  <a:pt x="21207" y="132"/>
                  <a:pt x="21304" y="196"/>
                </a:cubicBezTo>
                <a:cubicBezTo>
                  <a:pt x="21400" y="260"/>
                  <a:pt x="21476" y="338"/>
                  <a:pt x="21524" y="425"/>
                </a:cubicBezTo>
                <a:cubicBezTo>
                  <a:pt x="21562" y="504"/>
                  <a:pt x="21581" y="581"/>
                  <a:pt x="21590" y="676"/>
                </a:cubicBezTo>
                <a:cubicBezTo>
                  <a:pt x="21600" y="771"/>
                  <a:pt x="21600" y="883"/>
                  <a:pt x="21600" y="1033"/>
                </a:cubicBezTo>
                <a:lnTo>
                  <a:pt x="21600" y="20572"/>
                </a:lnTo>
                <a:cubicBezTo>
                  <a:pt x="21600" y="20719"/>
                  <a:pt x="21600" y="20830"/>
                  <a:pt x="21590" y="20924"/>
                </a:cubicBezTo>
                <a:cubicBezTo>
                  <a:pt x="21581" y="21019"/>
                  <a:pt x="21562" y="21096"/>
                  <a:pt x="21524" y="21175"/>
                </a:cubicBezTo>
                <a:cubicBezTo>
                  <a:pt x="21476" y="21262"/>
                  <a:pt x="21400" y="21340"/>
                  <a:pt x="21304" y="21404"/>
                </a:cubicBezTo>
                <a:cubicBezTo>
                  <a:pt x="21207" y="21468"/>
                  <a:pt x="21090" y="21518"/>
                  <a:pt x="20959" y="21550"/>
                </a:cubicBezTo>
                <a:cubicBezTo>
                  <a:pt x="20839" y="21575"/>
                  <a:pt x="20722" y="21587"/>
                  <a:pt x="20579" y="21594"/>
                </a:cubicBezTo>
                <a:cubicBezTo>
                  <a:pt x="20436" y="21600"/>
                  <a:pt x="20267" y="21600"/>
                  <a:pt x="20041" y="21600"/>
                </a:cubicBezTo>
                <a:lnTo>
                  <a:pt x="1552" y="21600"/>
                </a:lnTo>
                <a:cubicBezTo>
                  <a:pt x="1330" y="21600"/>
                  <a:pt x="1162" y="21600"/>
                  <a:pt x="1020" y="21594"/>
                </a:cubicBezTo>
                <a:cubicBezTo>
                  <a:pt x="878" y="21587"/>
                  <a:pt x="761" y="21575"/>
                  <a:pt x="641" y="21550"/>
                </a:cubicBezTo>
                <a:cubicBezTo>
                  <a:pt x="510" y="21518"/>
                  <a:pt x="393" y="21468"/>
                  <a:pt x="296" y="21404"/>
                </a:cubicBezTo>
                <a:cubicBezTo>
                  <a:pt x="200" y="21340"/>
                  <a:pt x="124" y="21262"/>
                  <a:pt x="76" y="21175"/>
                </a:cubicBezTo>
                <a:cubicBezTo>
                  <a:pt x="38" y="21096"/>
                  <a:pt x="19" y="21019"/>
                  <a:pt x="10" y="20924"/>
                </a:cubicBezTo>
                <a:cubicBezTo>
                  <a:pt x="0" y="20829"/>
                  <a:pt x="0" y="20717"/>
                  <a:pt x="0" y="20567"/>
                </a:cubicBezTo>
                <a:lnTo>
                  <a:pt x="0" y="1028"/>
                </a:lnTo>
                <a:cubicBezTo>
                  <a:pt x="0" y="881"/>
                  <a:pt x="0" y="770"/>
                  <a:pt x="10" y="676"/>
                </a:cubicBezTo>
                <a:cubicBezTo>
                  <a:pt x="19" y="581"/>
                  <a:pt x="38" y="504"/>
                  <a:pt x="76" y="425"/>
                </a:cubicBezTo>
                <a:cubicBezTo>
                  <a:pt x="124" y="338"/>
                  <a:pt x="200" y="260"/>
                  <a:pt x="296" y="196"/>
                </a:cubicBezTo>
                <a:cubicBezTo>
                  <a:pt x="393" y="132"/>
                  <a:pt x="510" y="82"/>
                  <a:pt x="641" y="50"/>
                </a:cubicBezTo>
                <a:cubicBezTo>
                  <a:pt x="761" y="25"/>
                  <a:pt x="878" y="13"/>
                  <a:pt x="1021" y="6"/>
                </a:cubicBezTo>
                <a:cubicBezTo>
                  <a:pt x="1164" y="0"/>
                  <a:pt x="1333" y="0"/>
                  <a:pt x="1559" y="0"/>
                </a:cubicBezTo>
                <a:lnTo>
                  <a:pt x="1552" y="0"/>
                </a:lnTo>
                <a:close/>
              </a:path>
            </a:pathLst>
          </a:custGeom>
          <a:gradFill flip="none" rotWithShape="1">
            <a:gsLst>
              <a:gs pos="1000">
                <a:schemeClr val="accent1"/>
              </a:gs>
              <a:gs pos="100000">
                <a:schemeClr val="accent1">
                  <a:lumMod val="60000"/>
                  <a:lumOff val="40000"/>
                </a:schemeClr>
              </a:gs>
            </a:gsLst>
            <a:lin ang="16200000" scaled="1"/>
            <a:tileRect/>
          </a:gradFill>
          <a:ln>
            <a:noFill/>
          </a:ln>
          <a:effectLst>
            <a:outerShdw blurRad="330200" dist="457200" dir="5400000" sx="90000" sy="90000" algn="t" rotWithShape="0">
              <a:schemeClr val="accent1">
                <a:lumMod val="50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FFFFFF"/>
              </a:solidFill>
              <a:effectLst/>
              <a:uLnTx/>
              <a:uFillTx/>
              <a:latin typeface="OPPOSans R" panose="00020600040101010101" pitchFamily="18" charset="-122"/>
              <a:ea typeface="OPPOSans B" panose="00020600040101010101" pitchFamily="18" charset="-122"/>
              <a:cs typeface="OPPOSans B" panose="00020600040101010101" pitchFamily="18" charset="-122"/>
            </a:endParaRPr>
          </a:p>
        </p:txBody>
      </p:sp>
      <p:sp>
        <p:nvSpPr>
          <p:cNvPr id="3690" name="gaoding-19"/>
          <p:cNvSpPr/>
          <p:nvPr/>
        </p:nvSpPr>
        <p:spPr>
          <a:xfrm>
            <a:off x="9910043" y="3686239"/>
            <a:ext cx="441760" cy="0"/>
          </a:xfrm>
          <a:prstGeom prst="line">
            <a:avLst/>
          </a:prstGeom>
          <a:noFill/>
          <a:ln w="25400" cap="flat">
            <a:solidFill>
              <a:srgbClr val="FFFFFF"/>
            </a:solidFill>
            <a:prstDash val="solid"/>
            <a:miter lim="400000"/>
          </a:ln>
          <a:effectLst/>
        </p:spPr>
        <p:txBody>
          <a:bodyPr wrap="square" lIns="0" tIns="0" rIns="0" bIns="0" numCol="1"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1600" b="0" i="0" u="none" strike="noStrike" kern="1200" cap="none" spc="0" normalizeH="0" baseline="0" noProof="0" dirty="0">
              <a:ln>
                <a:noFill/>
              </a:ln>
              <a:solidFill>
                <a:srgbClr val="FFFFFF"/>
              </a:solidFill>
              <a:effectLst/>
              <a:uLnTx/>
              <a:uFillTx/>
              <a:latin typeface="OPPOSans R" panose="00020600040101010101" pitchFamily="18" charset="-122"/>
              <a:ea typeface="微软雅黑"/>
              <a:cs typeface="+mn-cs"/>
              <a:sym typeface="Helvetica Neue Medium"/>
            </a:endParaRPr>
          </a:p>
        </p:txBody>
      </p:sp>
      <p:grpSp>
        <p:nvGrpSpPr>
          <p:cNvPr id="53" name="gaoding-20">
            <a:extLst>
              <a:ext uri="{FF2B5EF4-FFF2-40B4-BE49-F238E27FC236}">
                <a16:creationId xmlns:a16="http://schemas.microsoft.com/office/drawing/2014/main" id="{26D36B76-6108-4B5B-842F-600326D6CBF0}"/>
              </a:ext>
            </a:extLst>
          </p:cNvPr>
          <p:cNvGrpSpPr/>
          <p:nvPr/>
        </p:nvGrpSpPr>
        <p:grpSpPr>
          <a:xfrm>
            <a:off x="891548" y="519423"/>
            <a:ext cx="2954655" cy="786117"/>
            <a:chOff x="891548" y="488943"/>
            <a:chExt cx="2954655" cy="786117"/>
          </a:xfrm>
        </p:grpSpPr>
        <p:sp>
          <p:nvSpPr>
            <p:cNvPr id="54" name="gaoding-20-1">
              <a:extLst>
                <a:ext uri="{FF2B5EF4-FFF2-40B4-BE49-F238E27FC236}">
                  <a16:creationId xmlns:a16="http://schemas.microsoft.com/office/drawing/2014/main" id="{7F8FBF8A-DC21-46D9-B1EC-D28890F873D9}"/>
                </a:ext>
              </a:extLst>
            </p:cNvPr>
            <p:cNvSpPr txBox="1"/>
            <p:nvPr/>
          </p:nvSpPr>
          <p:spPr>
            <a:xfrm>
              <a:off x="891548" y="488943"/>
              <a:ext cx="2954655"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2400" b="1" i="0" u="none" strike="noStrike" kern="1200" cap="none" spc="0" normalizeH="0" baseline="0" noProof="0" dirty="0">
                  <a:ln>
                    <a:noFill/>
                  </a:ln>
                  <a:solidFill>
                    <a:srgbClr val="000000">
                      <a:lumMod val="85000"/>
                      <a:lumOff val="15000"/>
                    </a:srgbClr>
                  </a:solidFill>
                  <a:effectLst/>
                  <a:uLnTx/>
                  <a:uFillTx/>
                  <a:latin typeface="OPPOSans B" panose="00020600040101010101" pitchFamily="18" charset="-122"/>
                  <a:ea typeface="OPPOSans B" panose="00020600040101010101" pitchFamily="18" charset="-122"/>
                  <a:cs typeface="OPPOSans B" panose="00020600040101010101" pitchFamily="18" charset="-122"/>
                  <a:sym typeface="+mn-lt"/>
                </a:rPr>
                <a:t>秋叶</a:t>
              </a:r>
              <a:r>
                <a:rPr kumimoji="0" lang="en-US" altLang="zh-CN" sz="2400" b="1" i="0" u="none" strike="noStrike" kern="1200" cap="none" spc="0" normalizeH="0" baseline="0" noProof="0" dirty="0">
                  <a:ln>
                    <a:noFill/>
                  </a:ln>
                  <a:solidFill>
                    <a:srgbClr val="000000">
                      <a:lumMod val="85000"/>
                      <a:lumOff val="15000"/>
                    </a:srgbClr>
                  </a:solidFill>
                  <a:effectLst/>
                  <a:uLnTx/>
                  <a:uFillTx/>
                  <a:latin typeface="OPPOSans B" panose="00020600040101010101" pitchFamily="18" charset="-122"/>
                  <a:ea typeface="OPPOSans B" panose="00020600040101010101" pitchFamily="18" charset="-122"/>
                  <a:cs typeface="OPPOSans B" panose="00020600040101010101" pitchFamily="18" charset="-122"/>
                  <a:sym typeface="+mn-lt"/>
                </a:rPr>
                <a:t>PPT</a:t>
              </a:r>
              <a:r>
                <a:rPr kumimoji="0" lang="zh-CN" altLang="en-US" sz="2400" b="1" i="0" u="none" strike="noStrike" kern="1200" cap="none" spc="0" normalizeH="0" baseline="0" noProof="0" dirty="0">
                  <a:ln>
                    <a:noFill/>
                  </a:ln>
                  <a:solidFill>
                    <a:srgbClr val="000000">
                      <a:lumMod val="85000"/>
                      <a:lumOff val="15000"/>
                    </a:srgbClr>
                  </a:solidFill>
                  <a:effectLst/>
                  <a:uLnTx/>
                  <a:uFillTx/>
                  <a:latin typeface="OPPOSans B" panose="00020600040101010101" pitchFamily="18" charset="-122"/>
                  <a:ea typeface="OPPOSans B" panose="00020600040101010101" pitchFamily="18" charset="-122"/>
                  <a:cs typeface="OPPOSans B" panose="00020600040101010101" pitchFamily="18" charset="-122"/>
                  <a:sym typeface="+mn-lt"/>
                </a:rPr>
                <a:t>更快更轻松</a:t>
              </a:r>
            </a:p>
          </p:txBody>
        </p:sp>
        <p:sp>
          <p:nvSpPr>
            <p:cNvPr id="58" name="gaoding-20-2">
              <a:extLst>
                <a:ext uri="{FF2B5EF4-FFF2-40B4-BE49-F238E27FC236}">
                  <a16:creationId xmlns:a16="http://schemas.microsoft.com/office/drawing/2014/main" id="{61B933A6-7D5A-451B-BB00-4D171034A5A0}"/>
                </a:ext>
              </a:extLst>
            </p:cNvPr>
            <p:cNvSpPr txBox="1"/>
            <p:nvPr/>
          </p:nvSpPr>
          <p:spPr>
            <a:xfrm>
              <a:off x="917798" y="895464"/>
              <a:ext cx="1202573"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100" b="0" i="0" u="none" strike="noStrike" kern="1200" cap="none" spc="0" normalizeH="0" baseline="0" noProof="0" dirty="0">
                  <a:ln>
                    <a:noFill/>
                  </a:ln>
                  <a:solidFill>
                    <a:srgbClr val="000000">
                      <a:lumMod val="85000"/>
                      <a:lumOff val="1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sym typeface="+mn-lt"/>
                </a:rPr>
                <a:t>Add </a:t>
              </a:r>
              <a:r>
                <a:rPr kumimoji="0" lang="zh-CN" altLang="en-US" sz="1100" b="0" i="0" u="none" strike="noStrike" kern="1200" cap="none" spc="0" normalizeH="0" baseline="0" noProof="0" dirty="0">
                  <a:ln>
                    <a:noFill/>
                  </a:ln>
                  <a:solidFill>
                    <a:srgbClr val="000000">
                      <a:lumMod val="85000"/>
                      <a:lumOff val="1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sym typeface="+mn-lt"/>
                </a:rPr>
                <a:t>关键词标题</a:t>
              </a:r>
              <a:endParaRPr kumimoji="0" lang="en-US" altLang="zh-CN" sz="1100" b="0" i="0" u="none" strike="noStrike" kern="1200" cap="none" spc="0" normalizeH="0" baseline="0" noProof="0" dirty="0">
                <a:ln>
                  <a:noFill/>
                </a:ln>
                <a:solidFill>
                  <a:srgbClr val="000000">
                    <a:lumMod val="85000"/>
                    <a:lumOff val="1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sym typeface="+mn-lt"/>
              </a:endParaRPr>
            </a:p>
          </p:txBody>
        </p:sp>
        <p:sp>
          <p:nvSpPr>
            <p:cNvPr id="59" name="gaoding-20-3">
              <a:extLst>
                <a:ext uri="{FF2B5EF4-FFF2-40B4-BE49-F238E27FC236}">
                  <a16:creationId xmlns:a16="http://schemas.microsoft.com/office/drawing/2014/main" id="{6813D515-721F-4D1E-BCB7-201A8CEDCB58}"/>
                </a:ext>
              </a:extLst>
            </p:cNvPr>
            <p:cNvSpPr/>
            <p:nvPr/>
          </p:nvSpPr>
          <p:spPr>
            <a:xfrm>
              <a:off x="1014806" y="1195562"/>
              <a:ext cx="811658" cy="79498"/>
            </a:xfrm>
            <a:prstGeom prst="rect">
              <a:avLst/>
            </a:prstGeom>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srgbClr val="FFFFFF"/>
                </a:solidFill>
                <a:effectLst/>
                <a:uLnTx/>
                <a:uFillTx/>
                <a:latin typeface="OPPOSans R" panose="00020600040101010101" pitchFamily="18" charset="-122"/>
                <a:ea typeface="微软雅黑"/>
                <a:cs typeface="+mn-ea"/>
                <a:sym typeface="+mn-lt"/>
              </a:endParaRPr>
            </a:p>
          </p:txBody>
        </p:sp>
      </p:grpSp>
      <p:sp>
        <p:nvSpPr>
          <p:cNvPr id="63" name="gaoding-21">
            <a:extLst>
              <a:ext uri="{FF2B5EF4-FFF2-40B4-BE49-F238E27FC236}">
                <a16:creationId xmlns:a16="http://schemas.microsoft.com/office/drawing/2014/main" id="{E2E3F6E2-D77B-4390-BDC5-EFB6AE974A53}"/>
              </a:ext>
            </a:extLst>
          </p:cNvPr>
          <p:cNvSpPr/>
          <p:nvPr/>
        </p:nvSpPr>
        <p:spPr>
          <a:xfrm>
            <a:off x="2034540" y="5351813"/>
            <a:ext cx="284994" cy="273028"/>
          </a:xfrm>
          <a:custGeom>
            <a:avLst/>
            <a:gdLst>
              <a:gd name="connsiteX0" fmla="*/ 196501 w 467362"/>
              <a:gd name="connsiteY0" fmla="*/ 222283 h 447740"/>
              <a:gd name="connsiteX1" fmla="*/ 227171 w 467362"/>
              <a:gd name="connsiteY1" fmla="*/ 249334 h 447740"/>
              <a:gd name="connsiteX2" fmla="*/ 204216 w 467362"/>
              <a:gd name="connsiteY2" fmla="*/ 278671 h 447740"/>
              <a:gd name="connsiteX3" fmla="*/ 196501 w 467362"/>
              <a:gd name="connsiteY3" fmla="*/ 278671 h 447740"/>
              <a:gd name="connsiteX4" fmla="*/ 181356 w 467362"/>
              <a:gd name="connsiteY4" fmla="*/ 263526 h 447740"/>
              <a:gd name="connsiteX5" fmla="*/ 181356 w 467362"/>
              <a:gd name="connsiteY5" fmla="*/ 237523 h 447740"/>
              <a:gd name="connsiteX6" fmla="*/ 181356 w 467362"/>
              <a:gd name="connsiteY6" fmla="*/ 237428 h 447740"/>
              <a:gd name="connsiteX7" fmla="*/ 196501 w 467362"/>
              <a:gd name="connsiteY7" fmla="*/ 222283 h 447740"/>
              <a:gd name="connsiteX8" fmla="*/ 139827 w 467362"/>
              <a:gd name="connsiteY8" fmla="*/ 182183 h 447740"/>
              <a:gd name="connsiteX9" fmla="*/ 124777 w 467362"/>
              <a:gd name="connsiteY9" fmla="*/ 197233 h 447740"/>
              <a:gd name="connsiteX10" fmla="*/ 124777 w 467362"/>
              <a:gd name="connsiteY10" fmla="*/ 368683 h 447740"/>
              <a:gd name="connsiteX11" fmla="*/ 124777 w 467362"/>
              <a:gd name="connsiteY11" fmla="*/ 368686 h 447740"/>
              <a:gd name="connsiteX12" fmla="*/ 139636 w 467362"/>
              <a:gd name="connsiteY12" fmla="*/ 383923 h 447740"/>
              <a:gd name="connsiteX13" fmla="*/ 166497 w 467362"/>
              <a:gd name="connsiteY13" fmla="*/ 383923 h 447740"/>
              <a:gd name="connsiteX14" fmla="*/ 181547 w 467362"/>
              <a:gd name="connsiteY14" fmla="*/ 368873 h 447740"/>
              <a:gd name="connsiteX15" fmla="*/ 181547 w 467362"/>
              <a:gd name="connsiteY15" fmla="*/ 334202 h 447740"/>
              <a:gd name="connsiteX16" fmla="*/ 196691 w 467362"/>
              <a:gd name="connsiteY16" fmla="*/ 319058 h 447740"/>
              <a:gd name="connsiteX17" fmla="*/ 209836 w 467362"/>
              <a:gd name="connsiteY17" fmla="*/ 319058 h 447740"/>
              <a:gd name="connsiteX18" fmla="*/ 247936 w 467362"/>
              <a:gd name="connsiteY18" fmla="*/ 309533 h 447740"/>
              <a:gd name="connsiteX19" fmla="*/ 272986 w 467362"/>
              <a:gd name="connsiteY19" fmla="*/ 284101 h 447740"/>
              <a:gd name="connsiteX20" fmla="*/ 281273 w 467362"/>
              <a:gd name="connsiteY20" fmla="*/ 251049 h 447740"/>
              <a:gd name="connsiteX21" fmla="*/ 272606 w 467362"/>
              <a:gd name="connsiteY21" fmla="*/ 217235 h 447740"/>
              <a:gd name="connsiteX22" fmla="*/ 247650 w 467362"/>
              <a:gd name="connsiteY22" fmla="*/ 191899 h 447740"/>
              <a:gd name="connsiteX23" fmla="*/ 207550 w 467362"/>
              <a:gd name="connsiteY23" fmla="*/ 182183 h 447740"/>
              <a:gd name="connsiteX24" fmla="*/ 15049 w 467362"/>
              <a:gd name="connsiteY24" fmla="*/ 73884 h 447740"/>
              <a:gd name="connsiteX25" fmla="*/ 183451 w 467362"/>
              <a:gd name="connsiteY25" fmla="*/ 73884 h 447740"/>
              <a:gd name="connsiteX26" fmla="*/ 198215 w 467362"/>
              <a:gd name="connsiteY26" fmla="*/ 85314 h 447740"/>
              <a:gd name="connsiteX27" fmla="*/ 202978 w 467362"/>
              <a:gd name="connsiteY27" fmla="*/ 105983 h 447740"/>
              <a:gd name="connsiteX28" fmla="*/ 217742 w 467362"/>
              <a:gd name="connsiteY28" fmla="*/ 117699 h 447740"/>
              <a:gd name="connsiteX29" fmla="*/ 354140 w 467362"/>
              <a:gd name="connsiteY29" fmla="*/ 117699 h 447740"/>
              <a:gd name="connsiteX30" fmla="*/ 354235 w 467362"/>
              <a:gd name="connsiteY30" fmla="*/ 117699 h 447740"/>
              <a:gd name="connsiteX31" fmla="*/ 369284 w 467362"/>
              <a:gd name="connsiteY31" fmla="*/ 132749 h 447740"/>
              <a:gd name="connsiteX32" fmla="*/ 369284 w 467362"/>
              <a:gd name="connsiteY32" fmla="*/ 432596 h 447740"/>
              <a:gd name="connsiteX33" fmla="*/ 354140 w 467362"/>
              <a:gd name="connsiteY33" fmla="*/ 447740 h 447740"/>
              <a:gd name="connsiteX34" fmla="*/ 15049 w 467362"/>
              <a:gd name="connsiteY34" fmla="*/ 447740 h 447740"/>
              <a:gd name="connsiteX35" fmla="*/ 0 w 467362"/>
              <a:gd name="connsiteY35" fmla="*/ 432596 h 447740"/>
              <a:gd name="connsiteX36" fmla="*/ 0 w 467362"/>
              <a:gd name="connsiteY36" fmla="*/ 88934 h 447740"/>
              <a:gd name="connsiteX37" fmla="*/ 15049 w 467362"/>
              <a:gd name="connsiteY37" fmla="*/ 73884 h 447740"/>
              <a:gd name="connsiteX38" fmla="*/ 124778 w 467362"/>
              <a:gd name="connsiteY38" fmla="*/ 351 h 447740"/>
              <a:gd name="connsiteX39" fmla="*/ 455581 w 467362"/>
              <a:gd name="connsiteY39" fmla="*/ 74075 h 447740"/>
              <a:gd name="connsiteX40" fmla="*/ 467011 w 467362"/>
              <a:gd name="connsiteY40" fmla="*/ 91982 h 447740"/>
              <a:gd name="connsiteX41" fmla="*/ 400336 w 467362"/>
              <a:gd name="connsiteY41" fmla="*/ 399449 h 447740"/>
              <a:gd name="connsiteX42" fmla="*/ 399193 w 467362"/>
              <a:gd name="connsiteY42" fmla="*/ 399449 h 447740"/>
              <a:gd name="connsiteX43" fmla="*/ 387573 w 467362"/>
              <a:gd name="connsiteY43" fmla="*/ 384780 h 447740"/>
              <a:gd name="connsiteX44" fmla="*/ 387573 w 467362"/>
              <a:gd name="connsiteY44" fmla="*/ 114556 h 447740"/>
              <a:gd name="connsiteX45" fmla="*/ 372428 w 467362"/>
              <a:gd name="connsiteY45" fmla="*/ 99411 h 447740"/>
              <a:gd name="connsiteX46" fmla="*/ 235839 w 467362"/>
              <a:gd name="connsiteY46" fmla="*/ 99411 h 447740"/>
              <a:gd name="connsiteX47" fmla="*/ 221171 w 467362"/>
              <a:gd name="connsiteY47" fmla="*/ 87791 h 447740"/>
              <a:gd name="connsiteX48" fmla="*/ 216408 w 467362"/>
              <a:gd name="connsiteY48" fmla="*/ 67121 h 447740"/>
              <a:gd name="connsiteX49" fmla="*/ 201645 w 467362"/>
              <a:gd name="connsiteY49" fmla="*/ 55501 h 447740"/>
              <a:gd name="connsiteX50" fmla="*/ 115920 w 467362"/>
              <a:gd name="connsiteY50" fmla="*/ 55501 h 447740"/>
              <a:gd name="connsiteX51" fmla="*/ 112872 w 467362"/>
              <a:gd name="connsiteY51" fmla="*/ 55171 h 447740"/>
              <a:gd name="connsiteX52" fmla="*/ 101156 w 467362"/>
              <a:gd name="connsiteY52" fmla="*/ 37213 h 447740"/>
              <a:gd name="connsiteX53" fmla="*/ 106680 w 467362"/>
              <a:gd name="connsiteY53" fmla="*/ 11876 h 447740"/>
              <a:gd name="connsiteX54" fmla="*/ 124778 w 467362"/>
              <a:gd name="connsiteY54" fmla="*/ 351 h 447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467362" h="447740">
                <a:moveTo>
                  <a:pt x="196501" y="222283"/>
                </a:moveTo>
                <a:cubicBezTo>
                  <a:pt x="216123" y="222791"/>
                  <a:pt x="226343" y="231808"/>
                  <a:pt x="227171" y="249334"/>
                </a:cubicBezTo>
                <a:cubicBezTo>
                  <a:pt x="226981" y="267813"/>
                  <a:pt x="219361" y="277528"/>
                  <a:pt x="204216" y="278671"/>
                </a:cubicBezTo>
                <a:lnTo>
                  <a:pt x="196501" y="278671"/>
                </a:lnTo>
                <a:cubicBezTo>
                  <a:pt x="188138" y="278671"/>
                  <a:pt x="181356" y="271890"/>
                  <a:pt x="181356" y="263526"/>
                </a:cubicBezTo>
                <a:lnTo>
                  <a:pt x="181356" y="237523"/>
                </a:lnTo>
                <a:cubicBezTo>
                  <a:pt x="181356" y="237492"/>
                  <a:pt x="181356" y="237459"/>
                  <a:pt x="181356" y="237428"/>
                </a:cubicBezTo>
                <a:cubicBezTo>
                  <a:pt x="181356" y="229063"/>
                  <a:pt x="188138" y="222283"/>
                  <a:pt x="196501" y="222283"/>
                </a:cubicBezTo>
                <a:close/>
                <a:moveTo>
                  <a:pt x="139827" y="182183"/>
                </a:moveTo>
                <a:cubicBezTo>
                  <a:pt x="131511" y="182183"/>
                  <a:pt x="124777" y="188921"/>
                  <a:pt x="124777" y="197233"/>
                </a:cubicBezTo>
                <a:lnTo>
                  <a:pt x="124777" y="368683"/>
                </a:lnTo>
                <a:cubicBezTo>
                  <a:pt x="124777" y="368684"/>
                  <a:pt x="124777" y="368685"/>
                  <a:pt x="124777" y="368686"/>
                </a:cubicBezTo>
                <a:cubicBezTo>
                  <a:pt x="124673" y="376996"/>
                  <a:pt x="131321" y="383818"/>
                  <a:pt x="139636" y="383923"/>
                </a:cubicBezTo>
                <a:lnTo>
                  <a:pt x="166497" y="383923"/>
                </a:lnTo>
                <a:cubicBezTo>
                  <a:pt x="174812" y="383923"/>
                  <a:pt x="181547" y="377185"/>
                  <a:pt x="181547" y="368873"/>
                </a:cubicBezTo>
                <a:lnTo>
                  <a:pt x="181547" y="334202"/>
                </a:lnTo>
                <a:cubicBezTo>
                  <a:pt x="181547" y="325838"/>
                  <a:pt x="188328" y="319058"/>
                  <a:pt x="196691" y="319058"/>
                </a:cubicBezTo>
                <a:lnTo>
                  <a:pt x="209836" y="319058"/>
                </a:lnTo>
                <a:cubicBezTo>
                  <a:pt x="223152" y="319298"/>
                  <a:pt x="236296" y="316011"/>
                  <a:pt x="247936" y="309533"/>
                </a:cubicBezTo>
                <a:cubicBezTo>
                  <a:pt x="258584" y="303672"/>
                  <a:pt x="267290" y="294834"/>
                  <a:pt x="272986" y="284101"/>
                </a:cubicBezTo>
                <a:cubicBezTo>
                  <a:pt x="278501" y="273963"/>
                  <a:pt x="281359" y="262590"/>
                  <a:pt x="281273" y="251049"/>
                </a:cubicBezTo>
                <a:cubicBezTo>
                  <a:pt x="281321" y="239223"/>
                  <a:pt x="278340" y="227581"/>
                  <a:pt x="272606" y="217235"/>
                </a:cubicBezTo>
                <a:cubicBezTo>
                  <a:pt x="266738" y="206686"/>
                  <a:pt x="258108" y="197929"/>
                  <a:pt x="247650" y="191899"/>
                </a:cubicBezTo>
                <a:cubicBezTo>
                  <a:pt x="235325" y="185300"/>
                  <a:pt x="221523" y="181956"/>
                  <a:pt x="207550" y="182183"/>
                </a:cubicBezTo>
                <a:close/>
                <a:moveTo>
                  <a:pt x="15049" y="73884"/>
                </a:moveTo>
                <a:lnTo>
                  <a:pt x="183451" y="73884"/>
                </a:lnTo>
                <a:cubicBezTo>
                  <a:pt x="190405" y="73880"/>
                  <a:pt x="196482" y="78582"/>
                  <a:pt x="198215" y="85314"/>
                </a:cubicBezTo>
                <a:lnTo>
                  <a:pt x="202978" y="105983"/>
                </a:lnTo>
                <a:cubicBezTo>
                  <a:pt x="204578" y="112848"/>
                  <a:pt x="210693" y="117705"/>
                  <a:pt x="217742" y="117699"/>
                </a:cubicBezTo>
                <a:lnTo>
                  <a:pt x="354140" y="117699"/>
                </a:lnTo>
                <a:cubicBezTo>
                  <a:pt x="354168" y="117699"/>
                  <a:pt x="354206" y="117699"/>
                  <a:pt x="354235" y="117699"/>
                </a:cubicBezTo>
                <a:cubicBezTo>
                  <a:pt x="362550" y="117699"/>
                  <a:pt x="369284" y="124437"/>
                  <a:pt x="369284" y="132749"/>
                </a:cubicBezTo>
                <a:lnTo>
                  <a:pt x="369284" y="432596"/>
                </a:lnTo>
                <a:cubicBezTo>
                  <a:pt x="369284" y="440959"/>
                  <a:pt x="362502" y="447740"/>
                  <a:pt x="354140" y="447740"/>
                </a:cubicBezTo>
                <a:lnTo>
                  <a:pt x="15049" y="447740"/>
                </a:lnTo>
                <a:cubicBezTo>
                  <a:pt x="6763" y="447688"/>
                  <a:pt x="0" y="440922"/>
                  <a:pt x="0" y="432596"/>
                </a:cubicBezTo>
                <a:lnTo>
                  <a:pt x="0" y="88934"/>
                </a:lnTo>
                <a:cubicBezTo>
                  <a:pt x="0" y="80622"/>
                  <a:pt x="6763" y="73884"/>
                  <a:pt x="15049" y="73884"/>
                </a:cubicBezTo>
                <a:close/>
                <a:moveTo>
                  <a:pt x="124778" y="351"/>
                </a:moveTo>
                <a:lnTo>
                  <a:pt x="455581" y="74075"/>
                </a:lnTo>
                <a:cubicBezTo>
                  <a:pt x="463678" y="75877"/>
                  <a:pt x="468783" y="83883"/>
                  <a:pt x="467011" y="91982"/>
                </a:cubicBezTo>
                <a:lnTo>
                  <a:pt x="400336" y="399449"/>
                </a:lnTo>
                <a:lnTo>
                  <a:pt x="399193" y="399449"/>
                </a:lnTo>
                <a:cubicBezTo>
                  <a:pt x="392364" y="397887"/>
                  <a:pt x="387535" y="391789"/>
                  <a:pt x="387573" y="384780"/>
                </a:cubicBezTo>
                <a:lnTo>
                  <a:pt x="387573" y="114556"/>
                </a:lnTo>
                <a:cubicBezTo>
                  <a:pt x="387573" y="106192"/>
                  <a:pt x="380791" y="99411"/>
                  <a:pt x="372428" y="99411"/>
                </a:cubicBezTo>
                <a:lnTo>
                  <a:pt x="235839" y="99411"/>
                </a:lnTo>
                <a:cubicBezTo>
                  <a:pt x="228838" y="99418"/>
                  <a:pt x="222762" y="94603"/>
                  <a:pt x="221171" y="87791"/>
                </a:cubicBezTo>
                <a:lnTo>
                  <a:pt x="216408" y="67121"/>
                </a:lnTo>
                <a:cubicBezTo>
                  <a:pt x="214742" y="60314"/>
                  <a:pt x="208655" y="55519"/>
                  <a:pt x="201645" y="55501"/>
                </a:cubicBezTo>
                <a:lnTo>
                  <a:pt x="115920" y="55501"/>
                </a:lnTo>
                <a:cubicBezTo>
                  <a:pt x="114872" y="55497"/>
                  <a:pt x="113824" y="55387"/>
                  <a:pt x="112872" y="55171"/>
                </a:cubicBezTo>
                <a:cubicBezTo>
                  <a:pt x="104680" y="53435"/>
                  <a:pt x="99442" y="45395"/>
                  <a:pt x="101156" y="37213"/>
                </a:cubicBezTo>
                <a:lnTo>
                  <a:pt x="106680" y="11876"/>
                </a:lnTo>
                <a:cubicBezTo>
                  <a:pt x="108490" y="3720"/>
                  <a:pt x="116606" y="-1424"/>
                  <a:pt x="124778" y="351"/>
                </a:cubicBezTo>
                <a:close/>
              </a:path>
            </a:pathLst>
          </a:custGeom>
          <a:solidFill>
            <a:schemeClr val="bg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srgbClr val="000000"/>
              </a:solidFill>
              <a:effectLst/>
              <a:uLnTx/>
              <a:uFillTx/>
              <a:latin typeface="OPPOSans R" panose="00020600040101010101" pitchFamily="18" charset="-122"/>
              <a:ea typeface="微软雅黑"/>
              <a:cs typeface="+mn-cs"/>
            </a:endParaRPr>
          </a:p>
        </p:txBody>
      </p:sp>
      <p:sp>
        <p:nvSpPr>
          <p:cNvPr id="64" name="gaoding-22">
            <a:extLst>
              <a:ext uri="{FF2B5EF4-FFF2-40B4-BE49-F238E27FC236}">
                <a16:creationId xmlns:a16="http://schemas.microsoft.com/office/drawing/2014/main" id="{E686AFAD-354C-455F-A25B-D89F655118DA}"/>
              </a:ext>
            </a:extLst>
          </p:cNvPr>
          <p:cNvSpPr txBox="1">
            <a:spLocks/>
          </p:cNvSpPr>
          <p:nvPr/>
        </p:nvSpPr>
        <p:spPr bwMode="auto">
          <a:xfrm>
            <a:off x="542693" y="3735398"/>
            <a:ext cx="1905317" cy="32829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square" lIns="25400" tIns="25400" rIns="25400" bIns="2540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800" b="0" i="0" u="none" strike="noStrike" kern="1200" cap="none" spc="0" normalizeH="0" baseline="0" noProof="0" dirty="0">
                <a:ln>
                  <a:noFill/>
                </a:ln>
                <a:solidFill>
                  <a:srgbClr val="FFFFFF"/>
                </a:solidFill>
                <a:effectLst/>
                <a:uLnTx/>
                <a:uFillTx/>
                <a:latin typeface="OPPOSans B" panose="00020600040101010101" pitchFamily="18" charset="-122"/>
                <a:ea typeface="OPPOSans B" panose="00020600040101010101" pitchFamily="18" charset="-122"/>
                <a:cs typeface="OPPOSans B" panose="00020600040101010101" pitchFamily="18" charset="-122"/>
              </a:rPr>
              <a:t>更快更轻松</a:t>
            </a:r>
          </a:p>
        </p:txBody>
      </p:sp>
      <p:sp>
        <p:nvSpPr>
          <p:cNvPr id="65" name="gaoding-23">
            <a:extLst>
              <a:ext uri="{FF2B5EF4-FFF2-40B4-BE49-F238E27FC236}">
                <a16:creationId xmlns:a16="http://schemas.microsoft.com/office/drawing/2014/main" id="{8E56CE86-A508-44F4-84B8-6B08F6814751}"/>
              </a:ext>
            </a:extLst>
          </p:cNvPr>
          <p:cNvSpPr txBox="1">
            <a:spLocks/>
          </p:cNvSpPr>
          <p:nvPr/>
        </p:nvSpPr>
        <p:spPr bwMode="auto">
          <a:xfrm>
            <a:off x="4162873" y="3727105"/>
            <a:ext cx="1905317" cy="32829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square" lIns="25400" tIns="25400" rIns="25400" bIns="2540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800" b="0" i="0" u="none" strike="noStrike" kern="1200" cap="none" spc="0" normalizeH="0" baseline="0" noProof="0" dirty="0">
                <a:ln>
                  <a:noFill/>
                </a:ln>
                <a:solidFill>
                  <a:srgbClr val="FFFFFF"/>
                </a:solidFill>
                <a:effectLst/>
                <a:uLnTx/>
                <a:uFillTx/>
                <a:latin typeface="OPPOSans B" panose="00020600040101010101" pitchFamily="18" charset="-122"/>
                <a:ea typeface="OPPOSans B" panose="00020600040101010101" pitchFamily="18" charset="-122"/>
                <a:cs typeface="OPPOSans B" panose="00020600040101010101" pitchFamily="18" charset="-122"/>
              </a:rPr>
              <a:t>多用途场景</a:t>
            </a:r>
          </a:p>
        </p:txBody>
      </p:sp>
      <p:sp>
        <p:nvSpPr>
          <p:cNvPr id="66" name="gaoding-24">
            <a:extLst>
              <a:ext uri="{FF2B5EF4-FFF2-40B4-BE49-F238E27FC236}">
                <a16:creationId xmlns:a16="http://schemas.microsoft.com/office/drawing/2014/main" id="{86970B4B-F25D-4DF9-B864-838C3F2DE077}"/>
              </a:ext>
            </a:extLst>
          </p:cNvPr>
          <p:cNvSpPr txBox="1">
            <a:spLocks/>
          </p:cNvSpPr>
          <p:nvPr/>
        </p:nvSpPr>
        <p:spPr bwMode="auto">
          <a:xfrm>
            <a:off x="2391432" y="3735398"/>
            <a:ext cx="1905317" cy="32829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square" lIns="25400" tIns="25400" rIns="25400" bIns="2540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800" b="0" i="0" u="none" strike="noStrike" kern="1200" cap="none" spc="0" normalizeH="0" baseline="0" noProof="0" dirty="0">
                <a:ln>
                  <a:noFill/>
                </a:ln>
                <a:solidFill>
                  <a:srgbClr val="FFFFFF"/>
                </a:solidFill>
                <a:effectLst/>
                <a:uLnTx/>
                <a:uFillTx/>
                <a:latin typeface="OPPOSans B" panose="00020600040101010101" pitchFamily="18" charset="-122"/>
                <a:ea typeface="OPPOSans B" panose="00020600040101010101" pitchFamily="18" charset="-122"/>
                <a:cs typeface="OPPOSans B" panose="00020600040101010101" pitchFamily="18" charset="-122"/>
              </a:rPr>
              <a:t>强大表现力</a:t>
            </a:r>
          </a:p>
        </p:txBody>
      </p:sp>
      <p:sp>
        <p:nvSpPr>
          <p:cNvPr id="67" name="gaoding-25">
            <a:extLst>
              <a:ext uri="{FF2B5EF4-FFF2-40B4-BE49-F238E27FC236}">
                <a16:creationId xmlns:a16="http://schemas.microsoft.com/office/drawing/2014/main" id="{59EB8B6D-C3FB-42C7-A227-44F1FB472E56}"/>
              </a:ext>
            </a:extLst>
          </p:cNvPr>
          <p:cNvSpPr txBox="1">
            <a:spLocks/>
          </p:cNvSpPr>
          <p:nvPr/>
        </p:nvSpPr>
        <p:spPr bwMode="auto">
          <a:xfrm>
            <a:off x="5918100" y="3727104"/>
            <a:ext cx="1905317" cy="32829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square" lIns="25400" tIns="25400" rIns="25400" bIns="2540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800" b="0" i="0" u="none" strike="noStrike" kern="1200" cap="none" spc="0" normalizeH="0" baseline="0" noProof="0" dirty="0">
                <a:ln>
                  <a:noFill/>
                </a:ln>
                <a:solidFill>
                  <a:srgbClr val="FFFFFF"/>
                </a:solidFill>
                <a:effectLst/>
                <a:uLnTx/>
                <a:uFillTx/>
                <a:latin typeface="OPPOSans B" panose="00020600040101010101" pitchFamily="18" charset="-122"/>
                <a:ea typeface="OPPOSans B" panose="00020600040101010101" pitchFamily="18" charset="-122"/>
                <a:cs typeface="OPPOSans B" panose="00020600040101010101" pitchFamily="18" charset="-122"/>
              </a:rPr>
              <a:t>千余款模板</a:t>
            </a:r>
          </a:p>
        </p:txBody>
      </p:sp>
      <p:sp>
        <p:nvSpPr>
          <p:cNvPr id="68" name="gaoding-26">
            <a:extLst>
              <a:ext uri="{FF2B5EF4-FFF2-40B4-BE49-F238E27FC236}">
                <a16:creationId xmlns:a16="http://schemas.microsoft.com/office/drawing/2014/main" id="{FF9CE532-31E2-44F7-8AEE-AFB4E5D5894C}"/>
              </a:ext>
            </a:extLst>
          </p:cNvPr>
          <p:cNvSpPr txBox="1">
            <a:spLocks/>
          </p:cNvSpPr>
          <p:nvPr/>
        </p:nvSpPr>
        <p:spPr bwMode="auto">
          <a:xfrm>
            <a:off x="7737380" y="3727103"/>
            <a:ext cx="1905317" cy="32829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square" lIns="25400" tIns="25400" rIns="25400" bIns="2540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800" b="0" i="0" u="none" strike="noStrike" kern="1200" cap="none" spc="0" normalizeH="0" baseline="0" noProof="0" dirty="0">
                <a:ln>
                  <a:noFill/>
                </a:ln>
                <a:solidFill>
                  <a:srgbClr val="FFFFFF"/>
                </a:solidFill>
                <a:effectLst/>
                <a:uLnTx/>
                <a:uFillTx/>
                <a:latin typeface="OPPOSans B" panose="00020600040101010101" pitchFamily="18" charset="-122"/>
                <a:ea typeface="OPPOSans B" panose="00020600040101010101" pitchFamily="18" charset="-122"/>
                <a:cs typeface="OPPOSans B" panose="00020600040101010101" pitchFamily="18" charset="-122"/>
              </a:rPr>
              <a:t>更快更轻松</a:t>
            </a:r>
          </a:p>
        </p:txBody>
      </p:sp>
      <p:sp>
        <p:nvSpPr>
          <p:cNvPr id="69" name="gaoding-27">
            <a:extLst>
              <a:ext uri="{FF2B5EF4-FFF2-40B4-BE49-F238E27FC236}">
                <a16:creationId xmlns:a16="http://schemas.microsoft.com/office/drawing/2014/main" id="{AA0592FB-8CFF-4FA7-8841-7F7481126F59}"/>
              </a:ext>
            </a:extLst>
          </p:cNvPr>
          <p:cNvSpPr txBox="1">
            <a:spLocks/>
          </p:cNvSpPr>
          <p:nvPr/>
        </p:nvSpPr>
        <p:spPr bwMode="auto">
          <a:xfrm>
            <a:off x="9493484" y="3721216"/>
            <a:ext cx="1905317" cy="32829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square" lIns="25400" tIns="25400" rIns="25400" bIns="2540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800" b="0" i="0" u="none" strike="noStrike" kern="1200" cap="none" spc="0" normalizeH="0" baseline="0" noProof="0" dirty="0">
                <a:ln>
                  <a:noFill/>
                </a:ln>
                <a:solidFill>
                  <a:srgbClr val="FFFFFF"/>
                </a:solidFill>
                <a:effectLst/>
                <a:uLnTx/>
                <a:uFillTx/>
                <a:latin typeface="OPPOSans B" panose="00020600040101010101" pitchFamily="18" charset="-122"/>
                <a:ea typeface="OPPOSans B" panose="00020600040101010101" pitchFamily="18" charset="-122"/>
                <a:cs typeface="OPPOSans B" panose="00020600040101010101" pitchFamily="18" charset="-122"/>
              </a:rPr>
              <a:t>多用途场景</a:t>
            </a:r>
          </a:p>
        </p:txBody>
      </p:sp>
      <p:sp>
        <p:nvSpPr>
          <p:cNvPr id="70" name="gaoding-28">
            <a:extLst>
              <a:ext uri="{FF2B5EF4-FFF2-40B4-BE49-F238E27FC236}">
                <a16:creationId xmlns:a16="http://schemas.microsoft.com/office/drawing/2014/main" id="{32B1C989-94D3-4316-95A2-BBDFCD2234F4}"/>
              </a:ext>
            </a:extLst>
          </p:cNvPr>
          <p:cNvSpPr txBox="1"/>
          <p:nvPr/>
        </p:nvSpPr>
        <p:spPr>
          <a:xfrm>
            <a:off x="921571" y="4144408"/>
            <a:ext cx="1246077" cy="822276"/>
          </a:xfrm>
          <a:prstGeom prst="rect">
            <a:avLst/>
          </a:prstGeom>
          <a:noFill/>
        </p:spPr>
        <p:txBody>
          <a:bodyPr wrap="square" lIns="0" tIns="0" rIns="0" bIns="0" rtlCol="0">
            <a:spAutoFit/>
          </a:bodyPr>
          <a:lstStyle/>
          <a:p>
            <a:pPr marL="0" marR="0" lvl="0" indent="0" algn="l" defTabSz="914400" rtl="0" eaLnBrk="1" fontAlgn="auto" latinLnBrk="0" hangingPunct="1">
              <a:lnSpc>
                <a:spcPct val="130000"/>
              </a:lnSpc>
              <a:spcBef>
                <a:spcPts val="0"/>
              </a:spcBef>
              <a:spcAft>
                <a:spcPts val="0"/>
              </a:spcAft>
              <a:buClrTx/>
              <a:buSzTx/>
              <a:buFontTx/>
              <a:buNone/>
              <a:tabLst/>
              <a:defRPr/>
            </a:pPr>
            <a:r>
              <a:rPr kumimoji="0" lang="zh-CN" altLang="en-US" sz="1400" b="0" i="0" u="none" strike="noStrike" kern="1200" cap="none" spc="0" normalizeH="0" baseline="0" noProof="0" dirty="0">
                <a:ln>
                  <a:noFill/>
                </a:ln>
                <a:solidFill>
                  <a:srgbClr val="FFFFFF"/>
                </a:solidFill>
                <a:effectLst/>
                <a:uLnTx/>
                <a:uFillTx/>
                <a:latin typeface="OPPOSans R" panose="00020600040101010101" pitchFamily="18" charset="-122"/>
                <a:ea typeface="OPPOSans R" panose="00020600040101010101" pitchFamily="18" charset="-122"/>
                <a:cs typeface="OPPOSans R" panose="00020600040101010101" pitchFamily="18" charset="-122"/>
              </a:rPr>
              <a:t>秋叶</a:t>
            </a:r>
            <a:r>
              <a:rPr kumimoji="0" lang="en-US" altLang="zh-CN" sz="1400" b="0" i="0" u="none" strike="noStrike" kern="1200" cap="none" spc="0" normalizeH="0" baseline="0" noProof="0" dirty="0">
                <a:ln>
                  <a:noFill/>
                </a:ln>
                <a:solidFill>
                  <a:srgbClr val="FFFFFF"/>
                </a:solidFill>
                <a:effectLst/>
                <a:uLnTx/>
                <a:uFillTx/>
                <a:latin typeface="OPPOSans R" panose="00020600040101010101" pitchFamily="18" charset="-122"/>
                <a:ea typeface="OPPOSans R" panose="00020600040101010101" pitchFamily="18" charset="-122"/>
                <a:cs typeface="OPPOSans R" panose="00020600040101010101" pitchFamily="18" charset="-122"/>
              </a:rPr>
              <a:t>PPT</a:t>
            </a:r>
            <a:r>
              <a:rPr kumimoji="0" lang="zh-CN" altLang="en-US" sz="1400" b="0" i="0" u="none" strike="noStrike" kern="1200" cap="none" spc="0" normalizeH="0" baseline="0" noProof="0" dirty="0">
                <a:ln>
                  <a:noFill/>
                </a:ln>
                <a:solidFill>
                  <a:srgbClr val="FFFFFF"/>
                </a:solidFill>
                <a:effectLst/>
                <a:uLnTx/>
                <a:uFillTx/>
                <a:latin typeface="OPPOSans R" panose="00020600040101010101" pitchFamily="18" charset="-122"/>
                <a:ea typeface="OPPOSans R" panose="00020600040101010101" pitchFamily="18" charset="-122"/>
                <a:cs typeface="OPPOSans R" panose="00020600040101010101" pitchFamily="18" charset="-122"/>
              </a:rPr>
              <a:t>拥有千余款模板线上到插件同步上新</a:t>
            </a:r>
          </a:p>
        </p:txBody>
      </p:sp>
      <p:sp>
        <p:nvSpPr>
          <p:cNvPr id="71" name="gaoding-29">
            <a:extLst>
              <a:ext uri="{FF2B5EF4-FFF2-40B4-BE49-F238E27FC236}">
                <a16:creationId xmlns:a16="http://schemas.microsoft.com/office/drawing/2014/main" id="{5F490764-6EB2-4D8B-BE73-201062025BF8}"/>
              </a:ext>
            </a:extLst>
          </p:cNvPr>
          <p:cNvSpPr txBox="1"/>
          <p:nvPr/>
        </p:nvSpPr>
        <p:spPr>
          <a:xfrm>
            <a:off x="2755499" y="4119811"/>
            <a:ext cx="1305662" cy="1102353"/>
          </a:xfrm>
          <a:prstGeom prst="rect">
            <a:avLst/>
          </a:prstGeom>
          <a:noFill/>
        </p:spPr>
        <p:txBody>
          <a:bodyPr wrap="square" lIns="0" tIns="0" rIns="0" bIns="0" rtlCol="0">
            <a:spAutoFit/>
          </a:bodyPr>
          <a:lstStyle/>
          <a:p>
            <a:pPr marL="0" marR="0" lvl="0" indent="0" algn="l" defTabSz="914400" rtl="0" eaLnBrk="1" fontAlgn="auto" latinLnBrk="0" hangingPunct="1">
              <a:lnSpc>
                <a:spcPct val="130000"/>
              </a:lnSpc>
              <a:spcBef>
                <a:spcPts val="0"/>
              </a:spcBef>
              <a:spcAft>
                <a:spcPts val="0"/>
              </a:spcAft>
              <a:buClrTx/>
              <a:buSzTx/>
              <a:buFontTx/>
              <a:buNone/>
              <a:tabLst/>
              <a:defRPr/>
            </a:pPr>
            <a:r>
              <a:rPr kumimoji="0" lang="zh-CN" altLang="en-US" sz="1400" b="0" i="0" u="none" strike="noStrike" kern="1200" cap="none" spc="0" normalizeH="0" baseline="0" noProof="0" dirty="0">
                <a:ln>
                  <a:noFill/>
                </a:ln>
                <a:solidFill>
                  <a:srgbClr val="FFFFFF"/>
                </a:solidFill>
                <a:effectLst/>
                <a:uLnTx/>
                <a:uFillTx/>
                <a:latin typeface="OPPOSans R" panose="00020600040101010101" pitchFamily="18" charset="-122"/>
                <a:ea typeface="OPPOSans R" panose="00020600040101010101" pitchFamily="18" charset="-122"/>
                <a:cs typeface="OPPOSans R" panose="00020600040101010101" pitchFamily="18" charset="-122"/>
              </a:rPr>
              <a:t>秋叶</a:t>
            </a:r>
            <a:r>
              <a:rPr kumimoji="0" lang="en-US" altLang="zh-CN" sz="1400" b="0" i="0" u="none" strike="noStrike" kern="1200" cap="none" spc="0" normalizeH="0" baseline="0" noProof="0" dirty="0">
                <a:ln>
                  <a:noFill/>
                </a:ln>
                <a:solidFill>
                  <a:srgbClr val="FFFFFF"/>
                </a:solidFill>
                <a:effectLst/>
                <a:uLnTx/>
                <a:uFillTx/>
                <a:latin typeface="OPPOSans R" panose="00020600040101010101" pitchFamily="18" charset="-122"/>
                <a:ea typeface="OPPOSans R" panose="00020600040101010101" pitchFamily="18" charset="-122"/>
                <a:cs typeface="OPPOSans R" panose="00020600040101010101" pitchFamily="18" charset="-122"/>
              </a:rPr>
              <a:t>PPT</a:t>
            </a:r>
            <a:r>
              <a:rPr kumimoji="0" lang="zh-CN" altLang="en-US" sz="1400" b="0" i="0" u="none" strike="noStrike" kern="1200" cap="none" spc="0" normalizeH="0" baseline="0" noProof="0" dirty="0">
                <a:ln>
                  <a:noFill/>
                </a:ln>
                <a:solidFill>
                  <a:srgbClr val="FFFFFF"/>
                </a:solidFill>
                <a:effectLst/>
                <a:uLnTx/>
                <a:uFillTx/>
                <a:latin typeface="OPPOSans R" panose="00020600040101010101" pitchFamily="18" charset="-122"/>
                <a:ea typeface="OPPOSans R" panose="00020600040101010101" pitchFamily="18" charset="-122"/>
                <a:cs typeface="OPPOSans R" panose="00020600040101010101" pitchFamily="18" charset="-122"/>
              </a:rPr>
              <a:t>丰富的信息图表覆盖多种逻辑关系，帮助梳理内容</a:t>
            </a:r>
          </a:p>
        </p:txBody>
      </p:sp>
      <p:sp>
        <p:nvSpPr>
          <p:cNvPr id="72" name="gaoding-30">
            <a:extLst>
              <a:ext uri="{FF2B5EF4-FFF2-40B4-BE49-F238E27FC236}">
                <a16:creationId xmlns:a16="http://schemas.microsoft.com/office/drawing/2014/main" id="{44840858-D6D2-4619-B07B-672D2A842007}"/>
              </a:ext>
            </a:extLst>
          </p:cNvPr>
          <p:cNvSpPr txBox="1"/>
          <p:nvPr/>
        </p:nvSpPr>
        <p:spPr>
          <a:xfrm>
            <a:off x="4513027" y="4152957"/>
            <a:ext cx="1365218" cy="822276"/>
          </a:xfrm>
          <a:prstGeom prst="rect">
            <a:avLst/>
          </a:prstGeom>
          <a:noFill/>
        </p:spPr>
        <p:txBody>
          <a:bodyPr wrap="square" lIns="0" tIns="0" rIns="0" bIns="0" rtlCol="0">
            <a:spAutoFit/>
          </a:bodyPr>
          <a:lstStyle/>
          <a:p>
            <a:pPr marL="0" marR="0" lvl="0" indent="0" algn="l" defTabSz="914400" rtl="0" eaLnBrk="1" fontAlgn="auto" latinLnBrk="0" hangingPunct="1">
              <a:lnSpc>
                <a:spcPct val="130000"/>
              </a:lnSpc>
              <a:spcBef>
                <a:spcPts val="0"/>
              </a:spcBef>
              <a:spcAft>
                <a:spcPts val="0"/>
              </a:spcAft>
              <a:buClrTx/>
              <a:buSzTx/>
              <a:buFontTx/>
              <a:buNone/>
              <a:tabLst/>
              <a:defRPr/>
            </a:pPr>
            <a:r>
              <a:rPr kumimoji="0" lang="zh-CN" altLang="en-US" sz="1400" b="0" i="0" u="none" strike="noStrike" kern="1200" cap="none" spc="0" normalizeH="0" baseline="0" noProof="0" dirty="0">
                <a:ln>
                  <a:noFill/>
                </a:ln>
                <a:solidFill>
                  <a:srgbClr val="FFFFFF"/>
                </a:solidFill>
                <a:effectLst/>
                <a:uLnTx/>
                <a:uFillTx/>
                <a:latin typeface="OPPOSans R" panose="00020600040101010101" pitchFamily="18" charset="-122"/>
                <a:ea typeface="OPPOSans R" panose="00020600040101010101" pitchFamily="18" charset="-122"/>
                <a:cs typeface="OPPOSans R" panose="00020600040101010101" pitchFamily="18" charset="-122"/>
              </a:rPr>
              <a:t>借助秋叶</a:t>
            </a:r>
            <a:r>
              <a:rPr kumimoji="0" lang="en-US" altLang="zh-CN" sz="1400" b="0" i="0" u="none" strike="noStrike" kern="1200" cap="none" spc="0" normalizeH="0" baseline="0" noProof="0" dirty="0">
                <a:ln>
                  <a:noFill/>
                </a:ln>
                <a:solidFill>
                  <a:srgbClr val="FFFFFF"/>
                </a:solidFill>
                <a:effectLst/>
                <a:uLnTx/>
                <a:uFillTx/>
                <a:latin typeface="OPPOSans R" panose="00020600040101010101" pitchFamily="18" charset="-122"/>
                <a:ea typeface="OPPOSans R" panose="00020600040101010101" pitchFamily="18" charset="-122"/>
                <a:cs typeface="OPPOSans R" panose="00020600040101010101" pitchFamily="18" charset="-122"/>
              </a:rPr>
              <a:t>PPT</a:t>
            </a:r>
            <a:r>
              <a:rPr kumimoji="0" lang="zh-CN" altLang="en-US" sz="1400" b="0" i="0" u="none" strike="noStrike" kern="1200" cap="none" spc="0" normalizeH="0" baseline="0" noProof="0" dirty="0">
                <a:ln>
                  <a:noFill/>
                </a:ln>
                <a:solidFill>
                  <a:srgbClr val="FFFFFF"/>
                </a:solidFill>
                <a:effectLst/>
                <a:uLnTx/>
                <a:uFillTx/>
                <a:latin typeface="OPPOSans R" panose="00020600040101010101" pitchFamily="18" charset="-122"/>
                <a:ea typeface="OPPOSans R" panose="00020600040101010101" pitchFamily="18" charset="-122"/>
                <a:cs typeface="OPPOSans R" panose="00020600040101010101" pitchFamily="18" charset="-122"/>
              </a:rPr>
              <a:t>插件，用强大视觉表现力打动听众</a:t>
            </a:r>
          </a:p>
        </p:txBody>
      </p:sp>
      <p:sp>
        <p:nvSpPr>
          <p:cNvPr id="73" name="gaoding-31">
            <a:extLst>
              <a:ext uri="{FF2B5EF4-FFF2-40B4-BE49-F238E27FC236}">
                <a16:creationId xmlns:a16="http://schemas.microsoft.com/office/drawing/2014/main" id="{E499B080-0A32-40BA-B1A9-C2BD547C90FF}"/>
              </a:ext>
            </a:extLst>
          </p:cNvPr>
          <p:cNvSpPr txBox="1"/>
          <p:nvPr/>
        </p:nvSpPr>
        <p:spPr>
          <a:xfrm>
            <a:off x="6324642" y="4121701"/>
            <a:ext cx="1369902" cy="1102353"/>
          </a:xfrm>
          <a:prstGeom prst="rect">
            <a:avLst/>
          </a:prstGeom>
          <a:noFill/>
        </p:spPr>
        <p:txBody>
          <a:bodyPr wrap="square" lIns="0" tIns="0" rIns="0" bIns="0" rtlCol="0">
            <a:spAutoFit/>
          </a:bodyPr>
          <a:lstStyle/>
          <a:p>
            <a:pPr marL="0" marR="0" lvl="0" indent="0" algn="l" defTabSz="914400" rtl="0" eaLnBrk="1" fontAlgn="auto" latinLnBrk="0" hangingPunct="1">
              <a:lnSpc>
                <a:spcPct val="130000"/>
              </a:lnSpc>
              <a:spcBef>
                <a:spcPts val="0"/>
              </a:spcBef>
              <a:spcAft>
                <a:spcPts val="0"/>
              </a:spcAft>
              <a:buClrTx/>
              <a:buSzTx/>
              <a:buFontTx/>
              <a:buNone/>
              <a:tabLst/>
              <a:defRPr/>
            </a:pPr>
            <a:r>
              <a:rPr kumimoji="0" lang="zh-CN" altLang="en-US" sz="1400" b="0" i="0" u="none" strike="noStrike" kern="1200" cap="none" spc="0" normalizeH="0" baseline="0" noProof="0" dirty="0">
                <a:ln>
                  <a:noFill/>
                </a:ln>
                <a:solidFill>
                  <a:srgbClr val="FFFFFF"/>
                </a:solidFill>
                <a:effectLst/>
                <a:uLnTx/>
                <a:uFillTx/>
                <a:latin typeface="OPPOSans R" panose="00020600040101010101" pitchFamily="18" charset="-122"/>
                <a:ea typeface="OPPOSans R" panose="00020600040101010101" pitchFamily="18" charset="-122"/>
                <a:cs typeface="OPPOSans R" panose="00020600040101010101" pitchFamily="18" charset="-122"/>
              </a:rPr>
              <a:t>秋叶</a:t>
            </a:r>
            <a:r>
              <a:rPr kumimoji="0" lang="en-US" altLang="zh-CN" sz="1400" b="0" i="0" u="none" strike="noStrike" kern="1200" cap="none" spc="0" normalizeH="0" baseline="0" noProof="0" dirty="0">
                <a:ln>
                  <a:noFill/>
                </a:ln>
                <a:solidFill>
                  <a:srgbClr val="FFFFFF"/>
                </a:solidFill>
                <a:effectLst/>
                <a:uLnTx/>
                <a:uFillTx/>
                <a:latin typeface="OPPOSans R" panose="00020600040101010101" pitchFamily="18" charset="-122"/>
                <a:ea typeface="OPPOSans R" panose="00020600040101010101" pitchFamily="18" charset="-122"/>
                <a:cs typeface="OPPOSans R" panose="00020600040101010101" pitchFamily="18" charset="-122"/>
              </a:rPr>
              <a:t>PPT</a:t>
            </a:r>
            <a:r>
              <a:rPr kumimoji="0" lang="zh-CN" altLang="en-US" sz="1400" b="0" i="0" u="none" strike="noStrike" kern="1200" cap="none" spc="0" normalizeH="0" baseline="0" noProof="0" dirty="0">
                <a:ln>
                  <a:noFill/>
                </a:ln>
                <a:solidFill>
                  <a:srgbClr val="FFFFFF"/>
                </a:solidFill>
                <a:effectLst/>
                <a:uLnTx/>
                <a:uFillTx/>
                <a:latin typeface="OPPOSans R" panose="00020600040101010101" pitchFamily="18" charset="-122"/>
                <a:ea typeface="OPPOSans R" panose="00020600040101010101" pitchFamily="18" charset="-122"/>
                <a:cs typeface="OPPOSans R" panose="00020600040101010101" pitchFamily="18" charset="-122"/>
              </a:rPr>
              <a:t>，科技为创作赋能，更多时间留给演示创作</a:t>
            </a:r>
          </a:p>
        </p:txBody>
      </p:sp>
      <p:sp>
        <p:nvSpPr>
          <p:cNvPr id="74" name="gaoding-32">
            <a:extLst>
              <a:ext uri="{FF2B5EF4-FFF2-40B4-BE49-F238E27FC236}">
                <a16:creationId xmlns:a16="http://schemas.microsoft.com/office/drawing/2014/main" id="{B628ADF9-95AA-4C2E-9AC7-3CA969A1AE52}"/>
              </a:ext>
            </a:extLst>
          </p:cNvPr>
          <p:cNvSpPr txBox="1"/>
          <p:nvPr/>
        </p:nvSpPr>
        <p:spPr>
          <a:xfrm>
            <a:off x="8110547" y="4119811"/>
            <a:ext cx="1305662" cy="1102353"/>
          </a:xfrm>
          <a:prstGeom prst="rect">
            <a:avLst/>
          </a:prstGeom>
          <a:noFill/>
        </p:spPr>
        <p:txBody>
          <a:bodyPr wrap="square" lIns="0" tIns="0" rIns="0" bIns="0" rtlCol="0">
            <a:spAutoFit/>
          </a:bodyPr>
          <a:lstStyle/>
          <a:p>
            <a:pPr marL="0" marR="0" lvl="0" indent="0" algn="l" defTabSz="914400" rtl="0" eaLnBrk="1" fontAlgn="auto" latinLnBrk="0" hangingPunct="1">
              <a:lnSpc>
                <a:spcPct val="130000"/>
              </a:lnSpc>
              <a:spcBef>
                <a:spcPts val="0"/>
              </a:spcBef>
              <a:spcAft>
                <a:spcPts val="0"/>
              </a:spcAft>
              <a:buClrTx/>
              <a:buSzTx/>
              <a:buFontTx/>
              <a:buNone/>
              <a:tabLst/>
              <a:defRPr/>
            </a:pPr>
            <a:r>
              <a:rPr kumimoji="0" lang="zh-CN" altLang="en-US" sz="1400" b="0" i="0" u="none" strike="noStrike" kern="1200" cap="none" spc="0" normalizeH="0" baseline="0" noProof="0" dirty="0">
                <a:ln>
                  <a:noFill/>
                </a:ln>
                <a:solidFill>
                  <a:srgbClr val="FFFFFF"/>
                </a:solidFill>
                <a:effectLst/>
                <a:uLnTx/>
                <a:uFillTx/>
                <a:latin typeface="OPPOSans R" panose="00020600040101010101" pitchFamily="18" charset="-122"/>
                <a:ea typeface="OPPOSans R" panose="00020600040101010101" pitchFamily="18" charset="-122"/>
                <a:cs typeface="OPPOSans R" panose="00020600040101010101" pitchFamily="18" charset="-122"/>
              </a:rPr>
              <a:t>秋叶</a:t>
            </a:r>
            <a:r>
              <a:rPr kumimoji="0" lang="en-US" altLang="zh-CN" sz="1400" b="0" i="0" u="none" strike="noStrike" kern="1200" cap="none" spc="0" normalizeH="0" baseline="0" noProof="0" dirty="0">
                <a:ln>
                  <a:noFill/>
                </a:ln>
                <a:solidFill>
                  <a:srgbClr val="FFFFFF"/>
                </a:solidFill>
                <a:effectLst/>
                <a:uLnTx/>
                <a:uFillTx/>
                <a:latin typeface="OPPOSans R" panose="00020600040101010101" pitchFamily="18" charset="-122"/>
                <a:ea typeface="OPPOSans R" panose="00020600040101010101" pitchFamily="18" charset="-122"/>
                <a:cs typeface="OPPOSans R" panose="00020600040101010101" pitchFamily="18" charset="-122"/>
              </a:rPr>
              <a:t>PPT</a:t>
            </a:r>
            <a:r>
              <a:rPr kumimoji="0" lang="zh-CN" altLang="en-US" sz="1400" b="0" i="0" u="none" strike="noStrike" kern="1200" cap="none" spc="0" normalizeH="0" baseline="0" noProof="0" dirty="0">
                <a:ln>
                  <a:noFill/>
                </a:ln>
                <a:solidFill>
                  <a:srgbClr val="FFFFFF"/>
                </a:solidFill>
                <a:effectLst/>
                <a:uLnTx/>
                <a:uFillTx/>
                <a:latin typeface="OPPOSans R" panose="00020600040101010101" pitchFamily="18" charset="-122"/>
                <a:ea typeface="OPPOSans R" panose="00020600040101010101" pitchFamily="18" charset="-122"/>
                <a:cs typeface="OPPOSans R" panose="00020600040101010101" pitchFamily="18" charset="-122"/>
              </a:rPr>
              <a:t>丰富的信息图表覆盖多种逻辑关系，帮助梳理内容</a:t>
            </a:r>
          </a:p>
        </p:txBody>
      </p:sp>
      <p:sp>
        <p:nvSpPr>
          <p:cNvPr id="75" name="gaoding-33">
            <a:extLst>
              <a:ext uri="{FF2B5EF4-FFF2-40B4-BE49-F238E27FC236}">
                <a16:creationId xmlns:a16="http://schemas.microsoft.com/office/drawing/2014/main" id="{B6C27500-7009-49F2-B8EF-71E60FB88606}"/>
              </a:ext>
            </a:extLst>
          </p:cNvPr>
          <p:cNvSpPr txBox="1"/>
          <p:nvPr/>
        </p:nvSpPr>
        <p:spPr>
          <a:xfrm>
            <a:off x="9868075" y="4152957"/>
            <a:ext cx="1365218" cy="822276"/>
          </a:xfrm>
          <a:prstGeom prst="rect">
            <a:avLst/>
          </a:prstGeom>
          <a:noFill/>
        </p:spPr>
        <p:txBody>
          <a:bodyPr wrap="square" lIns="0" tIns="0" rIns="0" bIns="0" rtlCol="0">
            <a:spAutoFit/>
          </a:bodyPr>
          <a:lstStyle/>
          <a:p>
            <a:pPr marL="0" marR="0" lvl="0" indent="0" algn="l" defTabSz="914400" rtl="0" eaLnBrk="1" fontAlgn="auto" latinLnBrk="0" hangingPunct="1">
              <a:lnSpc>
                <a:spcPct val="130000"/>
              </a:lnSpc>
              <a:spcBef>
                <a:spcPts val="0"/>
              </a:spcBef>
              <a:spcAft>
                <a:spcPts val="0"/>
              </a:spcAft>
              <a:buClrTx/>
              <a:buSzTx/>
              <a:buFontTx/>
              <a:buNone/>
              <a:tabLst/>
              <a:defRPr/>
            </a:pPr>
            <a:r>
              <a:rPr kumimoji="0" lang="zh-CN" altLang="en-US" sz="1400" b="0" i="0" u="none" strike="noStrike" kern="1200" cap="none" spc="0" normalizeH="0" baseline="0" noProof="0" dirty="0">
                <a:ln>
                  <a:noFill/>
                </a:ln>
                <a:solidFill>
                  <a:srgbClr val="FFFFFF"/>
                </a:solidFill>
                <a:effectLst/>
                <a:uLnTx/>
                <a:uFillTx/>
                <a:latin typeface="OPPOSans R" panose="00020600040101010101" pitchFamily="18" charset="-122"/>
                <a:ea typeface="OPPOSans R" panose="00020600040101010101" pitchFamily="18" charset="-122"/>
                <a:cs typeface="OPPOSans R" panose="00020600040101010101" pitchFamily="18" charset="-122"/>
              </a:rPr>
              <a:t>借助秋叶</a:t>
            </a:r>
            <a:r>
              <a:rPr kumimoji="0" lang="en-US" altLang="zh-CN" sz="1400" b="0" i="0" u="none" strike="noStrike" kern="1200" cap="none" spc="0" normalizeH="0" baseline="0" noProof="0" dirty="0">
                <a:ln>
                  <a:noFill/>
                </a:ln>
                <a:solidFill>
                  <a:srgbClr val="FFFFFF"/>
                </a:solidFill>
                <a:effectLst/>
                <a:uLnTx/>
                <a:uFillTx/>
                <a:latin typeface="OPPOSans R" panose="00020600040101010101" pitchFamily="18" charset="-122"/>
                <a:ea typeface="OPPOSans R" panose="00020600040101010101" pitchFamily="18" charset="-122"/>
                <a:cs typeface="OPPOSans R" panose="00020600040101010101" pitchFamily="18" charset="-122"/>
              </a:rPr>
              <a:t>PPT</a:t>
            </a:r>
            <a:r>
              <a:rPr kumimoji="0" lang="zh-CN" altLang="en-US" sz="1400" b="0" i="0" u="none" strike="noStrike" kern="1200" cap="none" spc="0" normalizeH="0" baseline="0" noProof="0" dirty="0">
                <a:ln>
                  <a:noFill/>
                </a:ln>
                <a:solidFill>
                  <a:srgbClr val="FFFFFF"/>
                </a:solidFill>
                <a:effectLst/>
                <a:uLnTx/>
                <a:uFillTx/>
                <a:latin typeface="OPPOSans R" panose="00020600040101010101" pitchFamily="18" charset="-122"/>
                <a:ea typeface="OPPOSans R" panose="00020600040101010101" pitchFamily="18" charset="-122"/>
                <a:cs typeface="OPPOSans R" panose="00020600040101010101" pitchFamily="18" charset="-122"/>
              </a:rPr>
              <a:t>插件，用强大视觉表现力打动听众</a:t>
            </a:r>
          </a:p>
        </p:txBody>
      </p:sp>
      <p:sp>
        <p:nvSpPr>
          <p:cNvPr id="81" name="gaoding-34">
            <a:extLst>
              <a:ext uri="{FF2B5EF4-FFF2-40B4-BE49-F238E27FC236}">
                <a16:creationId xmlns:a16="http://schemas.microsoft.com/office/drawing/2014/main" id="{F81EBC0C-EEDC-4F48-8668-B97B97D42C42}"/>
              </a:ext>
            </a:extLst>
          </p:cNvPr>
          <p:cNvSpPr/>
          <p:nvPr/>
        </p:nvSpPr>
        <p:spPr>
          <a:xfrm>
            <a:off x="3810188" y="5351402"/>
            <a:ext cx="284994" cy="274360"/>
          </a:xfrm>
          <a:custGeom>
            <a:avLst/>
            <a:gdLst>
              <a:gd name="connsiteX0" fmla="*/ 194024 w 465677"/>
              <a:gd name="connsiteY0" fmla="*/ 157258 h 448304"/>
              <a:gd name="connsiteX1" fmla="*/ 196023 w 465677"/>
              <a:gd name="connsiteY1" fmla="*/ 157258 h 448304"/>
              <a:gd name="connsiteX2" fmla="*/ 238410 w 465677"/>
              <a:gd name="connsiteY2" fmla="*/ 198691 h 448304"/>
              <a:gd name="connsiteX3" fmla="*/ 238410 w 465677"/>
              <a:gd name="connsiteY3" fmla="*/ 198791 h 448304"/>
              <a:gd name="connsiteX4" fmla="*/ 196023 w 465677"/>
              <a:gd name="connsiteY4" fmla="*/ 240220 h 448304"/>
              <a:gd name="connsiteX5" fmla="*/ 194024 w 465677"/>
              <a:gd name="connsiteY5" fmla="*/ 240220 h 448304"/>
              <a:gd name="connsiteX6" fmla="*/ 151733 w 465677"/>
              <a:gd name="connsiteY6" fmla="*/ 198691 h 448304"/>
              <a:gd name="connsiteX7" fmla="*/ 194024 w 465677"/>
              <a:gd name="connsiteY7" fmla="*/ 157258 h 448304"/>
              <a:gd name="connsiteX8" fmla="*/ 195263 w 465677"/>
              <a:gd name="connsiteY8" fmla="*/ 123824 h 448304"/>
              <a:gd name="connsiteX9" fmla="*/ 179737 w 465677"/>
              <a:gd name="connsiteY9" fmla="*/ 125062 h 448304"/>
              <a:gd name="connsiteX10" fmla="*/ 119729 w 465677"/>
              <a:gd name="connsiteY10" fmla="*/ 179831 h 448304"/>
              <a:gd name="connsiteX11" fmla="*/ 151734 w 465677"/>
              <a:gd name="connsiteY11" fmla="*/ 261937 h 448304"/>
              <a:gd name="connsiteX12" fmla="*/ 88488 w 465677"/>
              <a:gd name="connsiteY12" fmla="*/ 309562 h 448304"/>
              <a:gd name="connsiteX13" fmla="*/ 86582 w 465677"/>
              <a:gd name="connsiteY13" fmla="*/ 313303 h 448304"/>
              <a:gd name="connsiteX14" fmla="*/ 96107 w 465677"/>
              <a:gd name="connsiteY14" fmla="*/ 333374 h 448304"/>
              <a:gd name="connsiteX15" fmla="*/ 98298 w 465677"/>
              <a:gd name="connsiteY15" fmla="*/ 334231 h 448304"/>
              <a:gd name="connsiteX16" fmla="*/ 117348 w 465677"/>
              <a:gd name="connsiteY16" fmla="*/ 328135 h 448304"/>
              <a:gd name="connsiteX17" fmla="*/ 195167 w 465677"/>
              <a:gd name="connsiteY17" fmla="*/ 288892 h 448304"/>
              <a:gd name="connsiteX18" fmla="*/ 272987 w 465677"/>
              <a:gd name="connsiteY18" fmla="*/ 328135 h 448304"/>
              <a:gd name="connsiteX19" fmla="*/ 292037 w 465677"/>
              <a:gd name="connsiteY19" fmla="*/ 334231 h 448304"/>
              <a:gd name="connsiteX20" fmla="*/ 294228 w 465677"/>
              <a:gd name="connsiteY20" fmla="*/ 333374 h 448304"/>
              <a:gd name="connsiteX21" fmla="*/ 298038 w 465677"/>
              <a:gd name="connsiteY21" fmla="*/ 331430 h 448304"/>
              <a:gd name="connsiteX22" fmla="*/ 302038 w 465677"/>
              <a:gd name="connsiteY22" fmla="*/ 309562 h 448304"/>
              <a:gd name="connsiteX23" fmla="*/ 238791 w 465677"/>
              <a:gd name="connsiteY23" fmla="*/ 261937 h 448304"/>
              <a:gd name="connsiteX24" fmla="*/ 270796 w 465677"/>
              <a:gd name="connsiteY24" fmla="*/ 179831 h 448304"/>
              <a:gd name="connsiteX25" fmla="*/ 210788 w 465677"/>
              <a:gd name="connsiteY25" fmla="*/ 125062 h 448304"/>
              <a:gd name="connsiteX26" fmla="*/ 195263 w 465677"/>
              <a:gd name="connsiteY26" fmla="*/ 123824 h 448304"/>
              <a:gd name="connsiteX27" fmla="*/ 369285 w 465677"/>
              <a:gd name="connsiteY27" fmla="*/ 69717 h 448304"/>
              <a:gd name="connsiteX28" fmla="*/ 392811 w 465677"/>
              <a:gd name="connsiteY28" fmla="*/ 92677 h 448304"/>
              <a:gd name="connsiteX29" fmla="*/ 392811 w 465677"/>
              <a:gd name="connsiteY29" fmla="*/ 370903 h 448304"/>
              <a:gd name="connsiteX30" fmla="*/ 392811 w 465677"/>
              <a:gd name="connsiteY30" fmla="*/ 370906 h 448304"/>
              <a:gd name="connsiteX31" fmla="*/ 369380 w 465677"/>
              <a:gd name="connsiteY31" fmla="*/ 393763 h 448304"/>
              <a:gd name="connsiteX32" fmla="*/ 277559 w 465677"/>
              <a:gd name="connsiteY32" fmla="*/ 393763 h 448304"/>
              <a:gd name="connsiteX33" fmla="*/ 261461 w 465677"/>
              <a:gd name="connsiteY33" fmla="*/ 400049 h 448304"/>
              <a:gd name="connsiteX34" fmla="*/ 216217 w 465677"/>
              <a:gd name="connsiteY34" fmla="*/ 442054 h 448304"/>
              <a:gd name="connsiteX35" fmla="*/ 183356 w 465677"/>
              <a:gd name="connsiteY35" fmla="*/ 441388 h 448304"/>
              <a:gd name="connsiteX36" fmla="*/ 142684 w 465677"/>
              <a:gd name="connsiteY36" fmla="*/ 400621 h 448304"/>
              <a:gd name="connsiteX37" fmla="*/ 125920 w 465677"/>
              <a:gd name="connsiteY37" fmla="*/ 393763 h 448304"/>
              <a:gd name="connsiteX38" fmla="*/ 23336 w 465677"/>
              <a:gd name="connsiteY38" fmla="*/ 393763 h 448304"/>
              <a:gd name="connsiteX39" fmla="*/ 0 w 465677"/>
              <a:gd name="connsiteY39" fmla="*/ 370903 h 448304"/>
              <a:gd name="connsiteX40" fmla="*/ 0 w 465677"/>
              <a:gd name="connsiteY40" fmla="*/ 92677 h 448304"/>
              <a:gd name="connsiteX41" fmla="*/ 22956 w 465677"/>
              <a:gd name="connsiteY41" fmla="*/ 69722 h 448304"/>
              <a:gd name="connsiteX42" fmla="*/ 368999 w 465677"/>
              <a:gd name="connsiteY42" fmla="*/ 69722 h 448304"/>
              <a:gd name="connsiteX43" fmla="*/ 369285 w 465677"/>
              <a:gd name="connsiteY43" fmla="*/ 69717 h 448304"/>
              <a:gd name="connsiteX44" fmla="*/ 123825 w 465677"/>
              <a:gd name="connsiteY44" fmla="*/ 0 h 448304"/>
              <a:gd name="connsiteX45" fmla="*/ 445484 w 465677"/>
              <a:gd name="connsiteY45" fmla="*/ 0 h 448304"/>
              <a:gd name="connsiteX46" fmla="*/ 465677 w 465677"/>
              <a:gd name="connsiteY46" fmla="*/ 19810 h 448304"/>
              <a:gd name="connsiteX47" fmla="*/ 465677 w 465677"/>
              <a:gd name="connsiteY47" fmla="*/ 19812 h 448304"/>
              <a:gd name="connsiteX48" fmla="*/ 465677 w 465677"/>
              <a:gd name="connsiteY48" fmla="*/ 307753 h 448304"/>
              <a:gd name="connsiteX49" fmla="*/ 445866 w 465677"/>
              <a:gd name="connsiteY49" fmla="*/ 327565 h 448304"/>
              <a:gd name="connsiteX50" fmla="*/ 411384 w 465677"/>
              <a:gd name="connsiteY50" fmla="*/ 327565 h 448304"/>
              <a:gd name="connsiteX51" fmla="*/ 411384 w 465677"/>
              <a:gd name="connsiteY51" fmla="*/ 288512 h 448304"/>
              <a:gd name="connsiteX52" fmla="*/ 426244 w 465677"/>
              <a:gd name="connsiteY52" fmla="*/ 274037 h 448304"/>
              <a:gd name="connsiteX53" fmla="*/ 426244 w 465677"/>
              <a:gd name="connsiteY53" fmla="*/ 274034 h 448304"/>
              <a:gd name="connsiteX54" fmla="*/ 426244 w 465677"/>
              <a:gd name="connsiteY54" fmla="*/ 53626 h 448304"/>
              <a:gd name="connsiteX55" fmla="*/ 411479 w 465677"/>
              <a:gd name="connsiteY55" fmla="*/ 39051 h 448304"/>
              <a:gd name="connsiteX56" fmla="*/ 411384 w 465677"/>
              <a:gd name="connsiteY56" fmla="*/ 39052 h 448304"/>
              <a:gd name="connsiteX57" fmla="*/ 158782 w 465677"/>
              <a:gd name="connsiteY57" fmla="*/ 39052 h 448304"/>
              <a:gd name="connsiteX58" fmla="*/ 143922 w 465677"/>
              <a:gd name="connsiteY58" fmla="*/ 53529 h 448304"/>
              <a:gd name="connsiteX59" fmla="*/ 143922 w 465677"/>
              <a:gd name="connsiteY59" fmla="*/ 53626 h 448304"/>
              <a:gd name="connsiteX60" fmla="*/ 143922 w 465677"/>
              <a:gd name="connsiteY60" fmla="*/ 58007 h 448304"/>
              <a:gd name="connsiteX61" fmla="*/ 104013 w 465677"/>
              <a:gd name="connsiteY61" fmla="*/ 58007 h 448304"/>
              <a:gd name="connsiteX62" fmla="*/ 104013 w 465677"/>
              <a:gd name="connsiteY62" fmla="*/ 19907 h 448304"/>
              <a:gd name="connsiteX63" fmla="*/ 123825 w 465677"/>
              <a:gd name="connsiteY63" fmla="*/ 0 h 448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465677" h="448304">
                <a:moveTo>
                  <a:pt x="194024" y="157258"/>
                </a:moveTo>
                <a:lnTo>
                  <a:pt x="196023" y="157258"/>
                </a:lnTo>
                <a:cubicBezTo>
                  <a:pt x="219170" y="156996"/>
                  <a:pt x="238124" y="175547"/>
                  <a:pt x="238410" y="198691"/>
                </a:cubicBezTo>
                <a:cubicBezTo>
                  <a:pt x="238410" y="198725"/>
                  <a:pt x="238410" y="198758"/>
                  <a:pt x="238410" y="198791"/>
                </a:cubicBezTo>
                <a:cubicBezTo>
                  <a:pt x="238124" y="221936"/>
                  <a:pt x="219170" y="240484"/>
                  <a:pt x="196023" y="240220"/>
                </a:cubicBezTo>
                <a:lnTo>
                  <a:pt x="194024" y="240220"/>
                </a:lnTo>
                <a:cubicBezTo>
                  <a:pt x="170877" y="240430"/>
                  <a:pt x="151923" y="221837"/>
                  <a:pt x="151733" y="198691"/>
                </a:cubicBezTo>
                <a:cubicBezTo>
                  <a:pt x="152018" y="175582"/>
                  <a:pt x="170877" y="157046"/>
                  <a:pt x="194024" y="157258"/>
                </a:cubicBezTo>
                <a:close/>
                <a:moveTo>
                  <a:pt x="195263" y="123824"/>
                </a:moveTo>
                <a:cubicBezTo>
                  <a:pt x="190023" y="123723"/>
                  <a:pt x="184881" y="124138"/>
                  <a:pt x="179737" y="125062"/>
                </a:cubicBezTo>
                <a:cubicBezTo>
                  <a:pt x="150685" y="129889"/>
                  <a:pt x="127159" y="151339"/>
                  <a:pt x="119729" y="179831"/>
                </a:cubicBezTo>
                <a:cubicBezTo>
                  <a:pt x="111442" y="211245"/>
                  <a:pt x="124397" y="244410"/>
                  <a:pt x="151734" y="261937"/>
                </a:cubicBezTo>
                <a:cubicBezTo>
                  <a:pt x="126111" y="270647"/>
                  <a:pt x="103918" y="287337"/>
                  <a:pt x="88488" y="309562"/>
                </a:cubicBezTo>
                <a:cubicBezTo>
                  <a:pt x="87725" y="310717"/>
                  <a:pt x="87059" y="311975"/>
                  <a:pt x="86582" y="313303"/>
                </a:cubicBezTo>
                <a:cubicBezTo>
                  <a:pt x="83630" y="321482"/>
                  <a:pt x="87916" y="330468"/>
                  <a:pt x="96107" y="333374"/>
                </a:cubicBezTo>
                <a:lnTo>
                  <a:pt x="98298" y="334231"/>
                </a:lnTo>
                <a:cubicBezTo>
                  <a:pt x="105252" y="336658"/>
                  <a:pt x="113062" y="334175"/>
                  <a:pt x="117348" y="328135"/>
                </a:cubicBezTo>
                <a:cubicBezTo>
                  <a:pt x="135255" y="303068"/>
                  <a:pt x="164402" y="288401"/>
                  <a:pt x="195167" y="288892"/>
                </a:cubicBezTo>
                <a:cubicBezTo>
                  <a:pt x="225933" y="288401"/>
                  <a:pt x="255080" y="303068"/>
                  <a:pt x="272987" y="328135"/>
                </a:cubicBezTo>
                <a:cubicBezTo>
                  <a:pt x="277273" y="334175"/>
                  <a:pt x="285084" y="336658"/>
                  <a:pt x="292037" y="334231"/>
                </a:cubicBezTo>
                <a:lnTo>
                  <a:pt x="294228" y="333374"/>
                </a:lnTo>
                <a:cubicBezTo>
                  <a:pt x="295561" y="332906"/>
                  <a:pt x="296895" y="332251"/>
                  <a:pt x="298038" y="331430"/>
                </a:cubicBezTo>
                <a:cubicBezTo>
                  <a:pt x="305182" y="326488"/>
                  <a:pt x="306991" y="316697"/>
                  <a:pt x="302038" y="309562"/>
                </a:cubicBezTo>
                <a:cubicBezTo>
                  <a:pt x="286607" y="287337"/>
                  <a:pt x="264414" y="270647"/>
                  <a:pt x="238791" y="261937"/>
                </a:cubicBezTo>
                <a:cubicBezTo>
                  <a:pt x="266128" y="244410"/>
                  <a:pt x="279083" y="211245"/>
                  <a:pt x="270796" y="179831"/>
                </a:cubicBezTo>
                <a:cubicBezTo>
                  <a:pt x="263367" y="151339"/>
                  <a:pt x="239840" y="129889"/>
                  <a:pt x="210788" y="125062"/>
                </a:cubicBezTo>
                <a:cubicBezTo>
                  <a:pt x="205645" y="124138"/>
                  <a:pt x="200502" y="123723"/>
                  <a:pt x="195263" y="123824"/>
                </a:cubicBezTo>
                <a:close/>
                <a:moveTo>
                  <a:pt x="369285" y="69717"/>
                </a:moveTo>
                <a:cubicBezTo>
                  <a:pt x="382143" y="69563"/>
                  <a:pt x="392620" y="79843"/>
                  <a:pt x="392811" y="92677"/>
                </a:cubicBezTo>
                <a:lnTo>
                  <a:pt x="392811" y="370903"/>
                </a:lnTo>
                <a:cubicBezTo>
                  <a:pt x="392811" y="370904"/>
                  <a:pt x="392811" y="370905"/>
                  <a:pt x="392811" y="370906"/>
                </a:cubicBezTo>
                <a:cubicBezTo>
                  <a:pt x="392620" y="383688"/>
                  <a:pt x="382143" y="393922"/>
                  <a:pt x="369380" y="393763"/>
                </a:cubicBezTo>
                <a:lnTo>
                  <a:pt x="277559" y="393763"/>
                </a:lnTo>
                <a:cubicBezTo>
                  <a:pt x="271558" y="393778"/>
                  <a:pt x="265843" y="396020"/>
                  <a:pt x="261461" y="400049"/>
                </a:cubicBezTo>
                <a:lnTo>
                  <a:pt x="216217" y="442054"/>
                </a:lnTo>
                <a:cubicBezTo>
                  <a:pt x="206883" y="450639"/>
                  <a:pt x="192405" y="450346"/>
                  <a:pt x="183356" y="441388"/>
                </a:cubicBezTo>
                <a:lnTo>
                  <a:pt x="142684" y="400621"/>
                </a:lnTo>
                <a:cubicBezTo>
                  <a:pt x="138208" y="396215"/>
                  <a:pt x="132207" y="393751"/>
                  <a:pt x="125920" y="393763"/>
                </a:cubicBezTo>
                <a:lnTo>
                  <a:pt x="23336" y="393763"/>
                </a:lnTo>
                <a:cubicBezTo>
                  <a:pt x="10573" y="393868"/>
                  <a:pt x="191" y="383648"/>
                  <a:pt x="0" y="370903"/>
                </a:cubicBezTo>
                <a:lnTo>
                  <a:pt x="0" y="92677"/>
                </a:lnTo>
                <a:cubicBezTo>
                  <a:pt x="96" y="80043"/>
                  <a:pt x="10287" y="69826"/>
                  <a:pt x="22956" y="69722"/>
                </a:cubicBezTo>
                <a:lnTo>
                  <a:pt x="368999" y="69722"/>
                </a:lnTo>
                <a:cubicBezTo>
                  <a:pt x="369094" y="69720"/>
                  <a:pt x="369189" y="69718"/>
                  <a:pt x="369285" y="69717"/>
                </a:cubicBezTo>
                <a:close/>
                <a:moveTo>
                  <a:pt x="123825" y="0"/>
                </a:moveTo>
                <a:lnTo>
                  <a:pt x="445484" y="0"/>
                </a:lnTo>
                <a:cubicBezTo>
                  <a:pt x="456534" y="-106"/>
                  <a:pt x="465582" y="8764"/>
                  <a:pt x="465677" y="19810"/>
                </a:cubicBezTo>
                <a:cubicBezTo>
                  <a:pt x="465677" y="19811"/>
                  <a:pt x="465677" y="19811"/>
                  <a:pt x="465677" y="19812"/>
                </a:cubicBezTo>
                <a:lnTo>
                  <a:pt x="465677" y="307753"/>
                </a:lnTo>
                <a:cubicBezTo>
                  <a:pt x="465582" y="318651"/>
                  <a:pt x="456723" y="327462"/>
                  <a:pt x="445866" y="327565"/>
                </a:cubicBezTo>
                <a:lnTo>
                  <a:pt x="411384" y="327565"/>
                </a:lnTo>
                <a:lnTo>
                  <a:pt x="411384" y="288512"/>
                </a:lnTo>
                <a:cubicBezTo>
                  <a:pt x="419481" y="288618"/>
                  <a:pt x="426148" y="282137"/>
                  <a:pt x="426244" y="274037"/>
                </a:cubicBezTo>
                <a:cubicBezTo>
                  <a:pt x="426244" y="274036"/>
                  <a:pt x="426244" y="274035"/>
                  <a:pt x="426244" y="274034"/>
                </a:cubicBezTo>
                <a:lnTo>
                  <a:pt x="426244" y="53626"/>
                </a:lnTo>
                <a:cubicBezTo>
                  <a:pt x="426148" y="45525"/>
                  <a:pt x="419576" y="39000"/>
                  <a:pt x="411479" y="39051"/>
                </a:cubicBezTo>
                <a:cubicBezTo>
                  <a:pt x="411479" y="39052"/>
                  <a:pt x="411384" y="39052"/>
                  <a:pt x="411384" y="39052"/>
                </a:cubicBezTo>
                <a:lnTo>
                  <a:pt x="158782" y="39052"/>
                </a:lnTo>
                <a:cubicBezTo>
                  <a:pt x="150685" y="38947"/>
                  <a:pt x="144018" y="45428"/>
                  <a:pt x="143922" y="53529"/>
                </a:cubicBezTo>
                <a:cubicBezTo>
                  <a:pt x="143922" y="53561"/>
                  <a:pt x="143922" y="53593"/>
                  <a:pt x="143922" y="53626"/>
                </a:cubicBezTo>
                <a:lnTo>
                  <a:pt x="143922" y="58007"/>
                </a:lnTo>
                <a:lnTo>
                  <a:pt x="104013" y="58007"/>
                </a:lnTo>
                <a:lnTo>
                  <a:pt x="104013" y="19907"/>
                </a:lnTo>
                <a:cubicBezTo>
                  <a:pt x="104109" y="8971"/>
                  <a:pt x="112871" y="104"/>
                  <a:pt x="123825" y="0"/>
                </a:cubicBezTo>
                <a:close/>
              </a:path>
            </a:pathLst>
          </a:custGeom>
          <a:solidFill>
            <a:schemeClr val="bg1"/>
          </a:solidFill>
          <a:ln w="9525" cap="flat">
            <a:noFill/>
            <a:prstDash val="solid"/>
            <a:miter/>
          </a:ln>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srgbClr val="000000"/>
              </a:solidFill>
              <a:effectLst/>
              <a:uLnTx/>
              <a:uFillTx/>
              <a:latin typeface="OPPOSans R" panose="00020600040101010101" pitchFamily="18" charset="-122"/>
              <a:ea typeface="微软雅黑"/>
              <a:cs typeface="+mn-cs"/>
            </a:endParaRPr>
          </a:p>
        </p:txBody>
      </p:sp>
      <p:sp>
        <p:nvSpPr>
          <p:cNvPr id="82" name="gaoding-35">
            <a:extLst>
              <a:ext uri="{FF2B5EF4-FFF2-40B4-BE49-F238E27FC236}">
                <a16:creationId xmlns:a16="http://schemas.microsoft.com/office/drawing/2014/main" id="{1921D873-3E2F-47BB-8BB8-F0A1DAFB2589}"/>
              </a:ext>
            </a:extLst>
          </p:cNvPr>
          <p:cNvSpPr/>
          <p:nvPr/>
        </p:nvSpPr>
        <p:spPr>
          <a:xfrm>
            <a:off x="5604197" y="5345830"/>
            <a:ext cx="278001" cy="284994"/>
          </a:xfrm>
          <a:custGeom>
            <a:avLst/>
            <a:gdLst>
              <a:gd name="connsiteX0" fmla="*/ 218992 w 447009"/>
              <a:gd name="connsiteY0" fmla="*/ 143247 h 458255"/>
              <a:gd name="connsiteX1" fmla="*/ 205549 w 447009"/>
              <a:gd name="connsiteY1" fmla="*/ 148882 h 458255"/>
              <a:gd name="connsiteX2" fmla="*/ 138874 w 447009"/>
              <a:gd name="connsiteY2" fmla="*/ 216700 h 458255"/>
              <a:gd name="connsiteX3" fmla="*/ 125254 w 447009"/>
              <a:gd name="connsiteY3" fmla="*/ 222415 h 458255"/>
              <a:gd name="connsiteX4" fmla="*/ 81058 w 447009"/>
              <a:gd name="connsiteY4" fmla="*/ 222415 h 458255"/>
              <a:gd name="connsiteX5" fmla="*/ 62008 w 447009"/>
              <a:gd name="connsiteY5" fmla="*/ 241465 h 458255"/>
              <a:gd name="connsiteX6" fmla="*/ 81058 w 447009"/>
              <a:gd name="connsiteY6" fmla="*/ 260515 h 458255"/>
              <a:gd name="connsiteX7" fmla="*/ 141255 w 447009"/>
              <a:gd name="connsiteY7" fmla="*/ 260515 h 458255"/>
              <a:gd name="connsiteX8" fmla="*/ 154877 w 447009"/>
              <a:gd name="connsiteY8" fmla="*/ 254800 h 458255"/>
              <a:gd name="connsiteX9" fmla="*/ 205740 w 447009"/>
              <a:gd name="connsiteY9" fmla="*/ 202984 h 458255"/>
              <a:gd name="connsiteX10" fmla="*/ 205835 w 447009"/>
              <a:gd name="connsiteY10" fmla="*/ 202873 h 458255"/>
              <a:gd name="connsiteX11" fmla="*/ 232791 w 447009"/>
              <a:gd name="connsiteY11" fmla="*/ 202984 h 458255"/>
              <a:gd name="connsiteX12" fmla="*/ 281369 w 447009"/>
              <a:gd name="connsiteY12" fmla="*/ 251561 h 458255"/>
              <a:gd name="connsiteX13" fmla="*/ 294894 w 447009"/>
              <a:gd name="connsiteY13" fmla="*/ 257181 h 458255"/>
              <a:gd name="connsiteX14" fmla="*/ 366331 w 447009"/>
              <a:gd name="connsiteY14" fmla="*/ 257181 h 458255"/>
              <a:gd name="connsiteX15" fmla="*/ 366427 w 447009"/>
              <a:gd name="connsiteY15" fmla="*/ 257181 h 458255"/>
              <a:gd name="connsiteX16" fmla="*/ 385477 w 447009"/>
              <a:gd name="connsiteY16" fmla="*/ 238131 h 458255"/>
              <a:gd name="connsiteX17" fmla="*/ 366427 w 447009"/>
              <a:gd name="connsiteY17" fmla="*/ 219081 h 458255"/>
              <a:gd name="connsiteX18" fmla="*/ 310801 w 447009"/>
              <a:gd name="connsiteY18" fmla="*/ 219081 h 458255"/>
              <a:gd name="connsiteX19" fmla="*/ 297275 w 447009"/>
              <a:gd name="connsiteY19" fmla="*/ 213461 h 458255"/>
              <a:gd name="connsiteX20" fmla="*/ 232601 w 447009"/>
              <a:gd name="connsiteY20" fmla="*/ 148882 h 458255"/>
              <a:gd name="connsiteX21" fmla="*/ 232506 w 447009"/>
              <a:gd name="connsiteY21" fmla="*/ 148771 h 458255"/>
              <a:gd name="connsiteX22" fmla="*/ 218992 w 447009"/>
              <a:gd name="connsiteY22" fmla="*/ 143247 h 458255"/>
              <a:gd name="connsiteX23" fmla="*/ 22479 w 447009"/>
              <a:gd name="connsiteY23" fmla="*/ 44488 h 458255"/>
              <a:gd name="connsiteX24" fmla="*/ 425006 w 447009"/>
              <a:gd name="connsiteY24" fmla="*/ 44488 h 458255"/>
              <a:gd name="connsiteX25" fmla="*/ 447009 w 447009"/>
              <a:gd name="connsiteY25" fmla="*/ 66109 h 458255"/>
              <a:gd name="connsiteX26" fmla="*/ 447009 w 447009"/>
              <a:gd name="connsiteY26" fmla="*/ 353193 h 458255"/>
              <a:gd name="connsiteX27" fmla="*/ 447009 w 447009"/>
              <a:gd name="connsiteY27" fmla="*/ 353197 h 458255"/>
              <a:gd name="connsiteX28" fmla="*/ 424815 w 447009"/>
              <a:gd name="connsiteY28" fmla="*/ 374815 h 458255"/>
              <a:gd name="connsiteX29" fmla="*/ 339090 w 447009"/>
              <a:gd name="connsiteY29" fmla="*/ 374815 h 458255"/>
              <a:gd name="connsiteX30" fmla="*/ 364903 w 447009"/>
              <a:gd name="connsiteY30" fmla="*/ 418344 h 458255"/>
              <a:gd name="connsiteX31" fmla="*/ 359855 w 447009"/>
              <a:gd name="connsiteY31" fmla="*/ 446443 h 458255"/>
              <a:gd name="connsiteX32" fmla="*/ 349187 w 447009"/>
              <a:gd name="connsiteY32" fmla="*/ 454444 h 458255"/>
              <a:gd name="connsiteX33" fmla="*/ 346806 w 447009"/>
              <a:gd name="connsiteY33" fmla="*/ 455920 h 458255"/>
              <a:gd name="connsiteX34" fmla="*/ 324232 w 447009"/>
              <a:gd name="connsiteY34" fmla="*/ 448824 h 458255"/>
              <a:gd name="connsiteX35" fmla="*/ 283178 w 447009"/>
              <a:gd name="connsiteY35" fmla="*/ 379577 h 458255"/>
              <a:gd name="connsiteX36" fmla="*/ 281178 w 447009"/>
              <a:gd name="connsiteY36" fmla="*/ 374815 h 458255"/>
              <a:gd name="connsiteX37" fmla="*/ 249270 w 447009"/>
              <a:gd name="connsiteY37" fmla="*/ 374815 h 458255"/>
              <a:gd name="connsiteX38" fmla="*/ 250127 w 447009"/>
              <a:gd name="connsiteY38" fmla="*/ 379863 h 458255"/>
              <a:gd name="connsiteX39" fmla="*/ 250127 w 447009"/>
              <a:gd name="connsiteY39" fmla="*/ 434346 h 458255"/>
              <a:gd name="connsiteX40" fmla="*/ 232124 w 447009"/>
              <a:gd name="connsiteY40" fmla="*/ 451872 h 458255"/>
              <a:gd name="connsiteX41" fmla="*/ 219266 w 447009"/>
              <a:gd name="connsiteY41" fmla="*/ 451872 h 458255"/>
              <a:gd name="connsiteX42" fmla="*/ 201263 w 447009"/>
              <a:gd name="connsiteY42" fmla="*/ 434346 h 458255"/>
              <a:gd name="connsiteX43" fmla="*/ 201263 w 447009"/>
              <a:gd name="connsiteY43" fmla="*/ 380339 h 458255"/>
              <a:gd name="connsiteX44" fmla="*/ 202120 w 447009"/>
              <a:gd name="connsiteY44" fmla="*/ 375291 h 458255"/>
              <a:gd name="connsiteX45" fmla="*/ 170212 w 447009"/>
              <a:gd name="connsiteY45" fmla="*/ 375291 h 458255"/>
              <a:gd name="connsiteX46" fmla="*/ 168212 w 447009"/>
              <a:gd name="connsiteY46" fmla="*/ 379958 h 458255"/>
              <a:gd name="connsiteX47" fmla="*/ 127159 w 447009"/>
              <a:gd name="connsiteY47" fmla="*/ 449300 h 458255"/>
              <a:gd name="connsiteX48" fmla="*/ 125825 w 447009"/>
              <a:gd name="connsiteY48" fmla="*/ 451460 h 458255"/>
              <a:gd name="connsiteX49" fmla="*/ 102203 w 447009"/>
              <a:gd name="connsiteY49" fmla="*/ 454920 h 458255"/>
              <a:gd name="connsiteX50" fmla="*/ 91535 w 447009"/>
              <a:gd name="connsiteY50" fmla="*/ 446824 h 458255"/>
              <a:gd name="connsiteX51" fmla="*/ 86487 w 447009"/>
              <a:gd name="connsiteY51" fmla="*/ 418249 h 458255"/>
              <a:gd name="connsiteX52" fmla="*/ 112300 w 447009"/>
              <a:gd name="connsiteY52" fmla="*/ 374815 h 458255"/>
              <a:gd name="connsiteX53" fmla="*/ 22193 w 447009"/>
              <a:gd name="connsiteY53" fmla="*/ 374815 h 458255"/>
              <a:gd name="connsiteX54" fmla="*/ 0 w 447009"/>
              <a:gd name="connsiteY54" fmla="*/ 353193 h 458255"/>
              <a:gd name="connsiteX55" fmla="*/ 0 w 447009"/>
              <a:gd name="connsiteY55" fmla="*/ 66109 h 458255"/>
              <a:gd name="connsiteX56" fmla="*/ 0 w 447009"/>
              <a:gd name="connsiteY56" fmla="*/ 65814 h 458255"/>
              <a:gd name="connsiteX57" fmla="*/ 22479 w 447009"/>
              <a:gd name="connsiteY57" fmla="*/ 44488 h 458255"/>
              <a:gd name="connsiteX58" fmla="*/ 328708 w 447009"/>
              <a:gd name="connsiteY58" fmla="*/ 0 h 458255"/>
              <a:gd name="connsiteX59" fmla="*/ 346329 w 447009"/>
              <a:gd name="connsiteY59" fmla="*/ 17246 h 458255"/>
              <a:gd name="connsiteX60" fmla="*/ 346329 w 447009"/>
              <a:gd name="connsiteY60" fmla="*/ 17344 h 458255"/>
              <a:gd name="connsiteX61" fmla="*/ 328612 w 447009"/>
              <a:gd name="connsiteY61" fmla="*/ 34486 h 458255"/>
              <a:gd name="connsiteX62" fmla="*/ 119062 w 447009"/>
              <a:gd name="connsiteY62" fmla="*/ 34486 h 458255"/>
              <a:gd name="connsiteX63" fmla="*/ 118776 w 447009"/>
              <a:gd name="connsiteY63" fmla="*/ 34492 h 458255"/>
              <a:gd name="connsiteX64" fmla="*/ 101155 w 447009"/>
              <a:gd name="connsiteY64" fmla="*/ 17246 h 458255"/>
              <a:gd name="connsiteX65" fmla="*/ 101155 w 447009"/>
              <a:gd name="connsiteY65" fmla="*/ 17147 h 458255"/>
              <a:gd name="connsiteX66" fmla="*/ 118872 w 447009"/>
              <a:gd name="connsiteY66" fmla="*/ 6 h 458255"/>
              <a:gd name="connsiteX67" fmla="*/ 328422 w 447009"/>
              <a:gd name="connsiteY67" fmla="*/ 6 h 458255"/>
              <a:gd name="connsiteX68" fmla="*/ 328708 w 447009"/>
              <a:gd name="connsiteY68" fmla="*/ 0 h 458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447009" h="458255">
                <a:moveTo>
                  <a:pt x="218992" y="143247"/>
                </a:moveTo>
                <a:cubicBezTo>
                  <a:pt x="214122" y="143267"/>
                  <a:pt x="209264" y="145147"/>
                  <a:pt x="205549" y="148882"/>
                </a:cubicBezTo>
                <a:lnTo>
                  <a:pt x="138874" y="216700"/>
                </a:lnTo>
                <a:cubicBezTo>
                  <a:pt x="135255" y="220359"/>
                  <a:pt x="130397" y="222419"/>
                  <a:pt x="125254" y="222415"/>
                </a:cubicBezTo>
                <a:lnTo>
                  <a:pt x="81058" y="222415"/>
                </a:lnTo>
                <a:cubicBezTo>
                  <a:pt x="70581" y="222415"/>
                  <a:pt x="62008" y="230943"/>
                  <a:pt x="62008" y="241465"/>
                </a:cubicBezTo>
                <a:cubicBezTo>
                  <a:pt x="62008" y="251986"/>
                  <a:pt x="70581" y="260515"/>
                  <a:pt x="81058" y="260515"/>
                </a:cubicBezTo>
                <a:lnTo>
                  <a:pt x="141255" y="260515"/>
                </a:lnTo>
                <a:cubicBezTo>
                  <a:pt x="146399" y="260519"/>
                  <a:pt x="151257" y="258459"/>
                  <a:pt x="154877" y="254800"/>
                </a:cubicBezTo>
                <a:lnTo>
                  <a:pt x="205740" y="202984"/>
                </a:lnTo>
                <a:cubicBezTo>
                  <a:pt x="205740" y="202947"/>
                  <a:pt x="205835" y="202910"/>
                  <a:pt x="205835" y="202873"/>
                </a:cubicBezTo>
                <a:cubicBezTo>
                  <a:pt x="213360" y="195465"/>
                  <a:pt x="225362" y="195514"/>
                  <a:pt x="232791" y="202984"/>
                </a:cubicBezTo>
                <a:lnTo>
                  <a:pt x="281369" y="251561"/>
                </a:lnTo>
                <a:cubicBezTo>
                  <a:pt x="284989" y="255162"/>
                  <a:pt x="289846" y="257185"/>
                  <a:pt x="294894" y="257181"/>
                </a:cubicBezTo>
                <a:lnTo>
                  <a:pt x="366331" y="257181"/>
                </a:lnTo>
                <a:cubicBezTo>
                  <a:pt x="366331" y="257181"/>
                  <a:pt x="366427" y="257181"/>
                  <a:pt x="366427" y="257181"/>
                </a:cubicBezTo>
                <a:cubicBezTo>
                  <a:pt x="376904" y="257181"/>
                  <a:pt x="385477" y="248652"/>
                  <a:pt x="385477" y="238131"/>
                </a:cubicBezTo>
                <a:cubicBezTo>
                  <a:pt x="385477" y="227610"/>
                  <a:pt x="376904" y="219081"/>
                  <a:pt x="366427" y="219081"/>
                </a:cubicBezTo>
                <a:lnTo>
                  <a:pt x="310801" y="219081"/>
                </a:lnTo>
                <a:cubicBezTo>
                  <a:pt x="305752" y="219085"/>
                  <a:pt x="300895" y="217062"/>
                  <a:pt x="297275" y="213461"/>
                </a:cubicBezTo>
                <a:lnTo>
                  <a:pt x="232601" y="148882"/>
                </a:lnTo>
                <a:cubicBezTo>
                  <a:pt x="232601" y="148845"/>
                  <a:pt x="232506" y="148808"/>
                  <a:pt x="232506" y="148771"/>
                </a:cubicBezTo>
                <a:cubicBezTo>
                  <a:pt x="228744" y="145067"/>
                  <a:pt x="223862" y="143227"/>
                  <a:pt x="218992" y="143247"/>
                </a:cubicBezTo>
                <a:close/>
                <a:moveTo>
                  <a:pt x="22479" y="44488"/>
                </a:moveTo>
                <a:lnTo>
                  <a:pt x="425006" y="44488"/>
                </a:lnTo>
                <a:cubicBezTo>
                  <a:pt x="437007" y="44434"/>
                  <a:pt x="446818" y="54085"/>
                  <a:pt x="447009" y="66109"/>
                </a:cubicBezTo>
                <a:lnTo>
                  <a:pt x="447009" y="353193"/>
                </a:lnTo>
                <a:cubicBezTo>
                  <a:pt x="447009" y="353194"/>
                  <a:pt x="447009" y="353196"/>
                  <a:pt x="447009" y="353197"/>
                </a:cubicBezTo>
                <a:cubicBezTo>
                  <a:pt x="446818" y="365294"/>
                  <a:pt x="436912" y="374974"/>
                  <a:pt x="424815" y="374815"/>
                </a:cubicBezTo>
                <a:lnTo>
                  <a:pt x="339090" y="374815"/>
                </a:lnTo>
                <a:lnTo>
                  <a:pt x="364903" y="418344"/>
                </a:lnTo>
                <a:cubicBezTo>
                  <a:pt x="370428" y="427672"/>
                  <a:pt x="368237" y="439609"/>
                  <a:pt x="359855" y="446443"/>
                </a:cubicBezTo>
                <a:lnTo>
                  <a:pt x="349187" y="454444"/>
                </a:lnTo>
                <a:cubicBezTo>
                  <a:pt x="348424" y="454999"/>
                  <a:pt x="347663" y="455493"/>
                  <a:pt x="346806" y="455920"/>
                </a:cubicBezTo>
                <a:cubicBezTo>
                  <a:pt x="338614" y="460207"/>
                  <a:pt x="328517" y="457030"/>
                  <a:pt x="324232" y="448824"/>
                </a:cubicBezTo>
                <a:lnTo>
                  <a:pt x="283178" y="379577"/>
                </a:lnTo>
                <a:cubicBezTo>
                  <a:pt x="282321" y="378070"/>
                  <a:pt x="281654" y="376472"/>
                  <a:pt x="281178" y="374815"/>
                </a:cubicBezTo>
                <a:lnTo>
                  <a:pt x="249270" y="374815"/>
                </a:lnTo>
                <a:cubicBezTo>
                  <a:pt x="249745" y="376448"/>
                  <a:pt x="250127" y="378148"/>
                  <a:pt x="250127" y="379863"/>
                </a:cubicBezTo>
                <a:lnTo>
                  <a:pt x="250127" y="434346"/>
                </a:lnTo>
                <a:cubicBezTo>
                  <a:pt x="249936" y="444146"/>
                  <a:pt x="241935" y="451978"/>
                  <a:pt x="232124" y="451872"/>
                </a:cubicBezTo>
                <a:lnTo>
                  <a:pt x="219266" y="451872"/>
                </a:lnTo>
                <a:cubicBezTo>
                  <a:pt x="209455" y="451978"/>
                  <a:pt x="201454" y="444146"/>
                  <a:pt x="201263" y="434346"/>
                </a:cubicBezTo>
                <a:lnTo>
                  <a:pt x="201263" y="380339"/>
                </a:lnTo>
                <a:cubicBezTo>
                  <a:pt x="201263" y="378625"/>
                  <a:pt x="201645" y="376924"/>
                  <a:pt x="202120" y="375291"/>
                </a:cubicBezTo>
                <a:lnTo>
                  <a:pt x="170212" y="375291"/>
                </a:lnTo>
                <a:cubicBezTo>
                  <a:pt x="169735" y="376924"/>
                  <a:pt x="169069" y="378492"/>
                  <a:pt x="168212" y="379958"/>
                </a:cubicBezTo>
                <a:lnTo>
                  <a:pt x="127159" y="449300"/>
                </a:lnTo>
                <a:cubicBezTo>
                  <a:pt x="126778" y="450054"/>
                  <a:pt x="126302" y="450776"/>
                  <a:pt x="125825" y="451460"/>
                </a:cubicBezTo>
                <a:cubicBezTo>
                  <a:pt x="120206" y="458929"/>
                  <a:pt x="109633" y="460479"/>
                  <a:pt x="102203" y="454920"/>
                </a:cubicBezTo>
                <a:lnTo>
                  <a:pt x="91535" y="446824"/>
                </a:lnTo>
                <a:cubicBezTo>
                  <a:pt x="82867" y="439962"/>
                  <a:pt x="80677" y="427674"/>
                  <a:pt x="86487" y="418249"/>
                </a:cubicBezTo>
                <a:lnTo>
                  <a:pt x="112300" y="374815"/>
                </a:lnTo>
                <a:lnTo>
                  <a:pt x="22193" y="374815"/>
                </a:lnTo>
                <a:cubicBezTo>
                  <a:pt x="10097" y="374972"/>
                  <a:pt x="191" y="365291"/>
                  <a:pt x="0" y="353193"/>
                </a:cubicBezTo>
                <a:lnTo>
                  <a:pt x="0" y="66109"/>
                </a:lnTo>
                <a:cubicBezTo>
                  <a:pt x="0" y="66011"/>
                  <a:pt x="0" y="65913"/>
                  <a:pt x="0" y="65814"/>
                </a:cubicBezTo>
                <a:cubicBezTo>
                  <a:pt x="286" y="53719"/>
                  <a:pt x="10382" y="44171"/>
                  <a:pt x="22479" y="44488"/>
                </a:cubicBezTo>
                <a:close/>
                <a:moveTo>
                  <a:pt x="328708" y="0"/>
                </a:moveTo>
                <a:cubicBezTo>
                  <a:pt x="338328" y="-102"/>
                  <a:pt x="346233" y="7620"/>
                  <a:pt x="346329" y="17246"/>
                </a:cubicBezTo>
                <a:cubicBezTo>
                  <a:pt x="346329" y="17279"/>
                  <a:pt x="346329" y="17311"/>
                  <a:pt x="346329" y="17344"/>
                </a:cubicBezTo>
                <a:cubicBezTo>
                  <a:pt x="346138" y="26970"/>
                  <a:pt x="338233" y="34644"/>
                  <a:pt x="328612" y="34486"/>
                </a:cubicBezTo>
                <a:lnTo>
                  <a:pt x="119062" y="34486"/>
                </a:lnTo>
                <a:cubicBezTo>
                  <a:pt x="118967" y="34489"/>
                  <a:pt x="118872" y="34491"/>
                  <a:pt x="118776" y="34492"/>
                </a:cubicBezTo>
                <a:cubicBezTo>
                  <a:pt x="109156" y="34593"/>
                  <a:pt x="101251" y="26872"/>
                  <a:pt x="101155" y="17246"/>
                </a:cubicBezTo>
                <a:cubicBezTo>
                  <a:pt x="101155" y="17213"/>
                  <a:pt x="101155" y="17180"/>
                  <a:pt x="101155" y="17147"/>
                </a:cubicBezTo>
                <a:cubicBezTo>
                  <a:pt x="101346" y="7522"/>
                  <a:pt x="109251" y="-153"/>
                  <a:pt x="118872" y="6"/>
                </a:cubicBezTo>
                <a:lnTo>
                  <a:pt x="328422" y="6"/>
                </a:lnTo>
                <a:cubicBezTo>
                  <a:pt x="328517" y="3"/>
                  <a:pt x="328612" y="1"/>
                  <a:pt x="328708" y="0"/>
                </a:cubicBezTo>
                <a:close/>
              </a:path>
            </a:pathLst>
          </a:custGeom>
          <a:solidFill>
            <a:schemeClr val="bg1"/>
          </a:solidFill>
          <a:ln w="9525" cap="flat">
            <a:noFill/>
            <a:prstDash val="solid"/>
            <a:miter/>
          </a:ln>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srgbClr val="000000"/>
              </a:solidFill>
              <a:effectLst/>
              <a:uLnTx/>
              <a:uFillTx/>
              <a:latin typeface="OPPOSans R" panose="00020600040101010101" pitchFamily="18" charset="-122"/>
              <a:ea typeface="微软雅黑"/>
              <a:cs typeface="+mn-cs"/>
            </a:endParaRPr>
          </a:p>
        </p:txBody>
      </p:sp>
      <p:sp>
        <p:nvSpPr>
          <p:cNvPr id="83" name="gaoding-36">
            <a:extLst>
              <a:ext uri="{FF2B5EF4-FFF2-40B4-BE49-F238E27FC236}">
                <a16:creationId xmlns:a16="http://schemas.microsoft.com/office/drawing/2014/main" id="{6FA33CEB-7BBB-43B5-A010-775C8922F651}"/>
              </a:ext>
            </a:extLst>
          </p:cNvPr>
          <p:cNvSpPr/>
          <p:nvPr/>
        </p:nvSpPr>
        <p:spPr>
          <a:xfrm>
            <a:off x="7376348" y="5363676"/>
            <a:ext cx="284994" cy="249812"/>
          </a:xfrm>
          <a:custGeom>
            <a:avLst/>
            <a:gdLst>
              <a:gd name="connsiteX0" fmla="*/ 229933 w 457200"/>
              <a:gd name="connsiteY0" fmla="*/ 133357 h 390524"/>
              <a:gd name="connsiteX1" fmla="*/ 148970 w 457200"/>
              <a:gd name="connsiteY1" fmla="*/ 214319 h 390524"/>
              <a:gd name="connsiteX2" fmla="*/ 229933 w 457200"/>
              <a:gd name="connsiteY2" fmla="*/ 295282 h 390524"/>
              <a:gd name="connsiteX3" fmla="*/ 310895 w 457200"/>
              <a:gd name="connsiteY3" fmla="*/ 214510 h 390524"/>
              <a:gd name="connsiteX4" fmla="*/ 310895 w 457200"/>
              <a:gd name="connsiteY4" fmla="*/ 214319 h 390524"/>
              <a:gd name="connsiteX5" fmla="*/ 229933 w 457200"/>
              <a:gd name="connsiteY5" fmla="*/ 133357 h 390524"/>
              <a:gd name="connsiteX6" fmla="*/ 44195 w 457200"/>
              <a:gd name="connsiteY6" fmla="*/ 47632 h 390524"/>
              <a:gd name="connsiteX7" fmla="*/ 93440 w 457200"/>
              <a:gd name="connsiteY7" fmla="*/ 47632 h 390524"/>
              <a:gd name="connsiteX8" fmla="*/ 102965 w 457200"/>
              <a:gd name="connsiteY8" fmla="*/ 38107 h 390524"/>
              <a:gd name="connsiteX9" fmla="*/ 93440 w 457200"/>
              <a:gd name="connsiteY9" fmla="*/ 28582 h 390524"/>
              <a:gd name="connsiteX10" fmla="*/ 44195 w 457200"/>
              <a:gd name="connsiteY10" fmla="*/ 28582 h 390524"/>
              <a:gd name="connsiteX11" fmla="*/ 34670 w 457200"/>
              <a:gd name="connsiteY11" fmla="*/ 38107 h 390524"/>
              <a:gd name="connsiteX12" fmla="*/ 44195 w 457200"/>
              <a:gd name="connsiteY12" fmla="*/ 47632 h 390524"/>
              <a:gd name="connsiteX13" fmla="*/ 430148 w 457200"/>
              <a:gd name="connsiteY13" fmla="*/ 57157 h 390524"/>
              <a:gd name="connsiteX14" fmla="*/ 356806 w 457200"/>
              <a:gd name="connsiteY14" fmla="*/ 57157 h 390524"/>
              <a:gd name="connsiteX15" fmla="*/ 330231 w 457200"/>
              <a:gd name="connsiteY15" fmla="*/ 38774 h 390524"/>
              <a:gd name="connsiteX16" fmla="*/ 322612 w 457200"/>
              <a:gd name="connsiteY16" fmla="*/ 18390 h 390524"/>
              <a:gd name="connsiteX17" fmla="*/ 296037 w 457200"/>
              <a:gd name="connsiteY17" fmla="*/ 7 h 390524"/>
              <a:gd name="connsiteX18" fmla="*/ 163925 w 457200"/>
              <a:gd name="connsiteY18" fmla="*/ 7 h 390524"/>
              <a:gd name="connsiteX19" fmla="*/ 137350 w 457200"/>
              <a:gd name="connsiteY19" fmla="*/ 18390 h 390524"/>
              <a:gd name="connsiteX20" fmla="*/ 129731 w 457200"/>
              <a:gd name="connsiteY20" fmla="*/ 38774 h 390524"/>
              <a:gd name="connsiteX21" fmla="*/ 103156 w 457200"/>
              <a:gd name="connsiteY21" fmla="*/ 57157 h 390524"/>
              <a:gd name="connsiteX22" fmla="*/ 29718 w 457200"/>
              <a:gd name="connsiteY22" fmla="*/ 57157 h 390524"/>
              <a:gd name="connsiteX23" fmla="*/ 1143 w 457200"/>
              <a:gd name="connsiteY23" fmla="*/ 85732 h 390524"/>
              <a:gd name="connsiteX24" fmla="*/ 1143 w 457200"/>
              <a:gd name="connsiteY24" fmla="*/ 361957 h 390524"/>
              <a:gd name="connsiteX25" fmla="*/ 29718 w 457200"/>
              <a:gd name="connsiteY25" fmla="*/ 390532 h 390524"/>
              <a:gd name="connsiteX26" fmla="*/ 429768 w 457200"/>
              <a:gd name="connsiteY26" fmla="*/ 390532 h 390524"/>
              <a:gd name="connsiteX27" fmla="*/ 458343 w 457200"/>
              <a:gd name="connsiteY27" fmla="*/ 361957 h 390524"/>
              <a:gd name="connsiteX28" fmla="*/ 458343 w 457200"/>
              <a:gd name="connsiteY28" fmla="*/ 85160 h 390524"/>
              <a:gd name="connsiteX29" fmla="*/ 430148 w 457200"/>
              <a:gd name="connsiteY29" fmla="*/ 57157 h 390524"/>
              <a:gd name="connsiteX30" fmla="*/ 230123 w 457200"/>
              <a:gd name="connsiteY30" fmla="*/ 323857 h 390524"/>
              <a:gd name="connsiteX31" fmla="*/ 122872 w 457200"/>
              <a:gd name="connsiteY31" fmla="*/ 214332 h 390524"/>
              <a:gd name="connsiteX32" fmla="*/ 122872 w 457200"/>
              <a:gd name="connsiteY32" fmla="*/ 214319 h 390524"/>
              <a:gd name="connsiteX33" fmla="*/ 230123 w 457200"/>
              <a:gd name="connsiteY33" fmla="*/ 104782 h 390524"/>
              <a:gd name="connsiteX34" fmla="*/ 230123 w 457200"/>
              <a:gd name="connsiteY34" fmla="*/ 104782 h 390524"/>
              <a:gd name="connsiteX35" fmla="*/ 337470 w 457200"/>
              <a:gd name="connsiteY35" fmla="*/ 214213 h 390524"/>
              <a:gd name="connsiteX36" fmla="*/ 337470 w 457200"/>
              <a:gd name="connsiteY36" fmla="*/ 214319 h 390524"/>
              <a:gd name="connsiteX37" fmla="*/ 230219 w 457200"/>
              <a:gd name="connsiteY37" fmla="*/ 323854 h 390524"/>
              <a:gd name="connsiteX38" fmla="*/ 229933 w 457200"/>
              <a:gd name="connsiteY38" fmla="*/ 323857 h 390524"/>
              <a:gd name="connsiteX39" fmla="*/ 427006 w 457200"/>
              <a:gd name="connsiteY39" fmla="*/ 108878 h 390524"/>
              <a:gd name="connsiteX40" fmla="*/ 417481 w 457200"/>
              <a:gd name="connsiteY40" fmla="*/ 118403 h 390524"/>
              <a:gd name="connsiteX41" fmla="*/ 407956 w 457200"/>
              <a:gd name="connsiteY41" fmla="*/ 108878 h 390524"/>
              <a:gd name="connsiteX42" fmla="*/ 407956 w 457200"/>
              <a:gd name="connsiteY42" fmla="*/ 108878 h 390524"/>
              <a:gd name="connsiteX43" fmla="*/ 417481 w 457200"/>
              <a:gd name="connsiteY43" fmla="*/ 99353 h 390524"/>
              <a:gd name="connsiteX44" fmla="*/ 427006 w 457200"/>
              <a:gd name="connsiteY44" fmla="*/ 108878 h 3905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457200" h="390524">
                <a:moveTo>
                  <a:pt x="229933" y="133357"/>
                </a:moveTo>
                <a:cubicBezTo>
                  <a:pt x="185261" y="133409"/>
                  <a:pt x="149066" y="169627"/>
                  <a:pt x="148970" y="214319"/>
                </a:cubicBezTo>
                <a:cubicBezTo>
                  <a:pt x="148970" y="259034"/>
                  <a:pt x="185261" y="295282"/>
                  <a:pt x="229933" y="295282"/>
                </a:cubicBezTo>
                <a:cubicBezTo>
                  <a:pt x="274606" y="295334"/>
                  <a:pt x="310801" y="259172"/>
                  <a:pt x="310895" y="214510"/>
                </a:cubicBezTo>
                <a:cubicBezTo>
                  <a:pt x="310895" y="214446"/>
                  <a:pt x="310895" y="214383"/>
                  <a:pt x="310895" y="214319"/>
                </a:cubicBezTo>
                <a:cubicBezTo>
                  <a:pt x="310895" y="169605"/>
                  <a:pt x="274606" y="133357"/>
                  <a:pt x="229933" y="133357"/>
                </a:cubicBezTo>
                <a:close/>
                <a:moveTo>
                  <a:pt x="44195" y="47632"/>
                </a:moveTo>
                <a:lnTo>
                  <a:pt x="93440" y="47632"/>
                </a:lnTo>
                <a:cubicBezTo>
                  <a:pt x="98679" y="47632"/>
                  <a:pt x="102965" y="43368"/>
                  <a:pt x="102965" y="38107"/>
                </a:cubicBezTo>
                <a:cubicBezTo>
                  <a:pt x="102965" y="32846"/>
                  <a:pt x="98679" y="28582"/>
                  <a:pt x="93440" y="28582"/>
                </a:cubicBezTo>
                <a:lnTo>
                  <a:pt x="44195" y="28582"/>
                </a:lnTo>
                <a:cubicBezTo>
                  <a:pt x="38957" y="28582"/>
                  <a:pt x="34670" y="32846"/>
                  <a:pt x="34670" y="38107"/>
                </a:cubicBezTo>
                <a:cubicBezTo>
                  <a:pt x="34670" y="43368"/>
                  <a:pt x="38957" y="47632"/>
                  <a:pt x="44195" y="47632"/>
                </a:cubicBezTo>
                <a:close/>
                <a:moveTo>
                  <a:pt x="430148" y="57157"/>
                </a:moveTo>
                <a:lnTo>
                  <a:pt x="356806" y="57157"/>
                </a:lnTo>
                <a:cubicBezTo>
                  <a:pt x="344995" y="57107"/>
                  <a:pt x="334423" y="49803"/>
                  <a:pt x="330231" y="38774"/>
                </a:cubicBezTo>
                <a:lnTo>
                  <a:pt x="322612" y="18390"/>
                </a:lnTo>
                <a:cubicBezTo>
                  <a:pt x="318420" y="7361"/>
                  <a:pt x="307848" y="57"/>
                  <a:pt x="296037" y="7"/>
                </a:cubicBezTo>
                <a:lnTo>
                  <a:pt x="163925" y="7"/>
                </a:lnTo>
                <a:cubicBezTo>
                  <a:pt x="152114" y="57"/>
                  <a:pt x="141542" y="7361"/>
                  <a:pt x="137350" y="18390"/>
                </a:cubicBezTo>
                <a:lnTo>
                  <a:pt x="129731" y="38774"/>
                </a:lnTo>
                <a:cubicBezTo>
                  <a:pt x="125539" y="49803"/>
                  <a:pt x="114966" y="57107"/>
                  <a:pt x="103156" y="57157"/>
                </a:cubicBezTo>
                <a:lnTo>
                  <a:pt x="29718" y="57157"/>
                </a:lnTo>
                <a:cubicBezTo>
                  <a:pt x="13906" y="57157"/>
                  <a:pt x="1143" y="69950"/>
                  <a:pt x="1143" y="85732"/>
                </a:cubicBezTo>
                <a:lnTo>
                  <a:pt x="1143" y="361957"/>
                </a:lnTo>
                <a:cubicBezTo>
                  <a:pt x="1143" y="377740"/>
                  <a:pt x="13906" y="390532"/>
                  <a:pt x="29718" y="390532"/>
                </a:cubicBezTo>
                <a:lnTo>
                  <a:pt x="429768" y="390532"/>
                </a:lnTo>
                <a:cubicBezTo>
                  <a:pt x="445579" y="390532"/>
                  <a:pt x="458343" y="377740"/>
                  <a:pt x="458343" y="361957"/>
                </a:cubicBezTo>
                <a:lnTo>
                  <a:pt x="458343" y="85160"/>
                </a:lnTo>
                <a:cubicBezTo>
                  <a:pt x="458057" y="69750"/>
                  <a:pt x="445579" y="57360"/>
                  <a:pt x="430148" y="57157"/>
                </a:cubicBezTo>
                <a:close/>
                <a:moveTo>
                  <a:pt x="230123" y="323857"/>
                </a:moveTo>
                <a:cubicBezTo>
                  <a:pt x="170307" y="323229"/>
                  <a:pt x="122206" y="274193"/>
                  <a:pt x="122872" y="214332"/>
                </a:cubicBezTo>
                <a:cubicBezTo>
                  <a:pt x="122872" y="214327"/>
                  <a:pt x="122872" y="214323"/>
                  <a:pt x="122872" y="214319"/>
                </a:cubicBezTo>
                <a:cubicBezTo>
                  <a:pt x="122206" y="154459"/>
                  <a:pt x="170212" y="105416"/>
                  <a:pt x="230123" y="104782"/>
                </a:cubicBezTo>
                <a:cubicBezTo>
                  <a:pt x="230123" y="104782"/>
                  <a:pt x="230123" y="104782"/>
                  <a:pt x="230123" y="104782"/>
                </a:cubicBezTo>
                <a:cubicBezTo>
                  <a:pt x="289941" y="105357"/>
                  <a:pt x="338042" y="154351"/>
                  <a:pt x="337470" y="214213"/>
                </a:cubicBezTo>
                <a:cubicBezTo>
                  <a:pt x="337470" y="214249"/>
                  <a:pt x="337470" y="214284"/>
                  <a:pt x="337470" y="214319"/>
                </a:cubicBezTo>
                <a:cubicBezTo>
                  <a:pt x="338138" y="274181"/>
                  <a:pt x="290131" y="323221"/>
                  <a:pt x="230219" y="323854"/>
                </a:cubicBezTo>
                <a:cubicBezTo>
                  <a:pt x="230123" y="323855"/>
                  <a:pt x="230028" y="323856"/>
                  <a:pt x="229933" y="323857"/>
                </a:cubicBezTo>
                <a:close/>
                <a:moveTo>
                  <a:pt x="427006" y="108878"/>
                </a:moveTo>
                <a:cubicBezTo>
                  <a:pt x="427006" y="114138"/>
                  <a:pt x="422720" y="118403"/>
                  <a:pt x="417481" y="118403"/>
                </a:cubicBezTo>
                <a:cubicBezTo>
                  <a:pt x="412241" y="118403"/>
                  <a:pt x="407956" y="114138"/>
                  <a:pt x="407956" y="108878"/>
                </a:cubicBezTo>
                <a:lnTo>
                  <a:pt x="407956" y="108878"/>
                </a:lnTo>
                <a:cubicBezTo>
                  <a:pt x="407956" y="103617"/>
                  <a:pt x="412241" y="99353"/>
                  <a:pt x="417481" y="99353"/>
                </a:cubicBezTo>
                <a:cubicBezTo>
                  <a:pt x="422720" y="99353"/>
                  <a:pt x="427006" y="103617"/>
                  <a:pt x="427006" y="108878"/>
                </a:cubicBezTo>
                <a:close/>
              </a:path>
            </a:pathLst>
          </a:custGeom>
          <a:solidFill>
            <a:schemeClr val="bg1"/>
          </a:solidFill>
          <a:ln w="9525" cap="flat">
            <a:noFill/>
            <a:prstDash val="solid"/>
            <a:miter/>
          </a:ln>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srgbClr val="000000"/>
              </a:solidFill>
              <a:effectLst/>
              <a:uLnTx/>
              <a:uFillTx/>
              <a:latin typeface="OPPOSans R" panose="00020600040101010101" pitchFamily="18" charset="-122"/>
              <a:ea typeface="微软雅黑"/>
              <a:cs typeface="+mn-cs"/>
            </a:endParaRPr>
          </a:p>
        </p:txBody>
      </p:sp>
      <p:sp>
        <p:nvSpPr>
          <p:cNvPr id="84" name="gaoding-37">
            <a:extLst>
              <a:ext uri="{FF2B5EF4-FFF2-40B4-BE49-F238E27FC236}">
                <a16:creationId xmlns:a16="http://schemas.microsoft.com/office/drawing/2014/main" id="{4CE030DC-51E6-42F9-9B6B-341FD6F21303}"/>
              </a:ext>
            </a:extLst>
          </p:cNvPr>
          <p:cNvSpPr/>
          <p:nvPr/>
        </p:nvSpPr>
        <p:spPr>
          <a:xfrm>
            <a:off x="9140190" y="5355211"/>
            <a:ext cx="284994" cy="266231"/>
          </a:xfrm>
          <a:custGeom>
            <a:avLst/>
            <a:gdLst>
              <a:gd name="connsiteX0" fmla="*/ 27242 w 457201"/>
              <a:gd name="connsiteY0" fmla="*/ 411106 h 427101"/>
              <a:gd name="connsiteX1" fmla="*/ 25337 w 457201"/>
              <a:gd name="connsiteY1" fmla="*/ 423489 h 427101"/>
              <a:gd name="connsiteX2" fmla="*/ 32481 w 457201"/>
              <a:gd name="connsiteY2" fmla="*/ 427108 h 427101"/>
              <a:gd name="connsiteX3" fmla="*/ 426911 w 457201"/>
              <a:gd name="connsiteY3" fmla="*/ 427108 h 427101"/>
              <a:gd name="connsiteX4" fmla="*/ 435770 w 457201"/>
              <a:gd name="connsiteY4" fmla="*/ 418250 h 427101"/>
              <a:gd name="connsiteX5" fmla="*/ 432150 w 457201"/>
              <a:gd name="connsiteY5" fmla="*/ 411106 h 427101"/>
              <a:gd name="connsiteX6" fmla="*/ 234982 w 457201"/>
              <a:gd name="connsiteY6" fmla="*/ 265755 h 427101"/>
              <a:gd name="connsiteX7" fmla="*/ 224505 w 457201"/>
              <a:gd name="connsiteY7" fmla="*/ 265755 h 427101"/>
              <a:gd name="connsiteX8" fmla="*/ 314517 w 457201"/>
              <a:gd name="connsiteY8" fmla="*/ 47251 h 427101"/>
              <a:gd name="connsiteX9" fmla="*/ 256509 w 457201"/>
              <a:gd name="connsiteY9" fmla="*/ 9151 h 427101"/>
              <a:gd name="connsiteX10" fmla="*/ 194025 w 457201"/>
              <a:gd name="connsiteY10" fmla="*/ 9723 h 427101"/>
              <a:gd name="connsiteX11" fmla="*/ 5049 w 457201"/>
              <a:gd name="connsiteY11" fmla="*/ 138024 h 427101"/>
              <a:gd name="connsiteX12" fmla="*/ 1144 w 457201"/>
              <a:gd name="connsiteY12" fmla="*/ 145359 h 427101"/>
              <a:gd name="connsiteX13" fmla="*/ 1144 w 457201"/>
              <a:gd name="connsiteY13" fmla="*/ 380626 h 427101"/>
              <a:gd name="connsiteX14" fmla="*/ 9812 w 457201"/>
              <a:gd name="connsiteY14" fmla="*/ 389484 h 427101"/>
              <a:gd name="connsiteX15" fmla="*/ 15241 w 457201"/>
              <a:gd name="connsiteY15" fmla="*/ 387675 h 427101"/>
              <a:gd name="connsiteX16" fmla="*/ 202502 w 457201"/>
              <a:gd name="connsiteY16" fmla="*/ 249753 h 427101"/>
              <a:gd name="connsiteX17" fmla="*/ 204274 w 457201"/>
              <a:gd name="connsiteY17" fmla="*/ 237215 h 427101"/>
              <a:gd name="connsiteX18" fmla="*/ 201836 w 457201"/>
              <a:gd name="connsiteY18" fmla="*/ 234989 h 427101"/>
              <a:gd name="connsiteX19" fmla="*/ 74296 w 457201"/>
              <a:gd name="connsiteY19" fmla="*/ 157074 h 427101"/>
              <a:gd name="connsiteX20" fmla="*/ 71448 w 457201"/>
              <a:gd name="connsiteY20" fmla="*/ 144876 h 427101"/>
              <a:gd name="connsiteX21" fmla="*/ 78868 w 457201"/>
              <a:gd name="connsiteY21" fmla="*/ 140691 h 427101"/>
              <a:gd name="connsiteX22" fmla="*/ 384334 w 457201"/>
              <a:gd name="connsiteY22" fmla="*/ 140691 h 427101"/>
              <a:gd name="connsiteX23" fmla="*/ 393155 w 457201"/>
              <a:gd name="connsiteY23" fmla="*/ 149590 h 427101"/>
              <a:gd name="connsiteX24" fmla="*/ 388811 w 457201"/>
              <a:gd name="connsiteY24" fmla="*/ 157170 h 427101"/>
              <a:gd name="connsiteX25" fmla="*/ 257080 w 457201"/>
              <a:gd name="connsiteY25" fmla="*/ 234417 h 427101"/>
              <a:gd name="connsiteX26" fmla="*/ 253937 w 457201"/>
              <a:gd name="connsiteY26" fmla="*/ 246546 h 427101"/>
              <a:gd name="connsiteX27" fmla="*/ 256318 w 457201"/>
              <a:gd name="connsiteY27" fmla="*/ 249181 h 427101"/>
              <a:gd name="connsiteX28" fmla="*/ 444247 w 457201"/>
              <a:gd name="connsiteY28" fmla="*/ 388437 h 427101"/>
              <a:gd name="connsiteX29" fmla="*/ 456534 w 457201"/>
              <a:gd name="connsiteY29" fmla="*/ 386817 h 427101"/>
              <a:gd name="connsiteX30" fmla="*/ 458344 w 457201"/>
              <a:gd name="connsiteY30" fmla="*/ 381388 h 427101"/>
              <a:gd name="connsiteX31" fmla="*/ 458344 w 457201"/>
              <a:gd name="connsiteY31" fmla="*/ 145740 h 427101"/>
              <a:gd name="connsiteX32" fmla="*/ 454343 w 457201"/>
              <a:gd name="connsiteY32" fmla="*/ 138405 h 4271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457201" h="427101">
                <a:moveTo>
                  <a:pt x="27242" y="411106"/>
                </a:moveTo>
                <a:cubicBezTo>
                  <a:pt x="23299" y="414002"/>
                  <a:pt x="22442" y="419545"/>
                  <a:pt x="25337" y="423489"/>
                </a:cubicBezTo>
                <a:cubicBezTo>
                  <a:pt x="27004" y="425765"/>
                  <a:pt x="29662" y="427108"/>
                  <a:pt x="32481" y="427108"/>
                </a:cubicBezTo>
                <a:lnTo>
                  <a:pt x="426911" y="427108"/>
                </a:lnTo>
                <a:cubicBezTo>
                  <a:pt x="431807" y="427108"/>
                  <a:pt x="435770" y="423146"/>
                  <a:pt x="435770" y="418250"/>
                </a:cubicBezTo>
                <a:cubicBezTo>
                  <a:pt x="435770" y="415431"/>
                  <a:pt x="434427" y="412773"/>
                  <a:pt x="432150" y="411106"/>
                </a:cubicBezTo>
                <a:lnTo>
                  <a:pt x="234982" y="265755"/>
                </a:lnTo>
                <a:cubicBezTo>
                  <a:pt x="231868" y="263468"/>
                  <a:pt x="227619" y="263468"/>
                  <a:pt x="224505" y="265755"/>
                </a:cubicBezTo>
                <a:close/>
                <a:moveTo>
                  <a:pt x="314517" y="47251"/>
                </a:moveTo>
                <a:lnTo>
                  <a:pt x="256509" y="9151"/>
                </a:lnTo>
                <a:cubicBezTo>
                  <a:pt x="237459" y="-3246"/>
                  <a:pt x="212837" y="-3021"/>
                  <a:pt x="194025" y="9723"/>
                </a:cubicBezTo>
                <a:lnTo>
                  <a:pt x="5049" y="138024"/>
                </a:lnTo>
                <a:cubicBezTo>
                  <a:pt x="2611" y="139669"/>
                  <a:pt x="1144" y="142417"/>
                  <a:pt x="1144" y="145359"/>
                </a:cubicBezTo>
                <a:lnTo>
                  <a:pt x="1144" y="380626"/>
                </a:lnTo>
                <a:cubicBezTo>
                  <a:pt x="1087" y="385465"/>
                  <a:pt x="4973" y="389427"/>
                  <a:pt x="9812" y="389484"/>
                </a:cubicBezTo>
                <a:cubicBezTo>
                  <a:pt x="11774" y="389504"/>
                  <a:pt x="13688" y="388865"/>
                  <a:pt x="15241" y="387675"/>
                </a:cubicBezTo>
                <a:lnTo>
                  <a:pt x="202502" y="249753"/>
                </a:lnTo>
                <a:cubicBezTo>
                  <a:pt x="206455" y="246779"/>
                  <a:pt x="207246" y="241166"/>
                  <a:pt x="204274" y="237215"/>
                </a:cubicBezTo>
                <a:cubicBezTo>
                  <a:pt x="203607" y="236328"/>
                  <a:pt x="202779" y="235574"/>
                  <a:pt x="201836" y="234989"/>
                </a:cubicBezTo>
                <a:lnTo>
                  <a:pt x="74296" y="157074"/>
                </a:lnTo>
                <a:cubicBezTo>
                  <a:pt x="70143" y="154493"/>
                  <a:pt x="68866" y="149033"/>
                  <a:pt x="71448" y="144876"/>
                </a:cubicBezTo>
                <a:cubicBezTo>
                  <a:pt x="73039" y="142304"/>
                  <a:pt x="75839" y="140726"/>
                  <a:pt x="78868" y="140691"/>
                </a:cubicBezTo>
                <a:lnTo>
                  <a:pt x="384334" y="140691"/>
                </a:lnTo>
                <a:cubicBezTo>
                  <a:pt x="389231" y="140713"/>
                  <a:pt x="393174" y="144698"/>
                  <a:pt x="393155" y="149590"/>
                </a:cubicBezTo>
                <a:cubicBezTo>
                  <a:pt x="393136" y="152703"/>
                  <a:pt x="391488" y="155582"/>
                  <a:pt x="388811" y="157170"/>
                </a:cubicBezTo>
                <a:lnTo>
                  <a:pt x="257080" y="234417"/>
                </a:lnTo>
                <a:cubicBezTo>
                  <a:pt x="252861" y="236900"/>
                  <a:pt x="251461" y="242329"/>
                  <a:pt x="253937" y="246546"/>
                </a:cubicBezTo>
                <a:cubicBezTo>
                  <a:pt x="254547" y="247575"/>
                  <a:pt x="255357" y="248472"/>
                  <a:pt x="256318" y="249181"/>
                </a:cubicBezTo>
                <a:lnTo>
                  <a:pt x="444247" y="388437"/>
                </a:lnTo>
                <a:cubicBezTo>
                  <a:pt x="448086" y="391380"/>
                  <a:pt x="453591" y="390656"/>
                  <a:pt x="456534" y="386817"/>
                </a:cubicBezTo>
                <a:cubicBezTo>
                  <a:pt x="457725" y="385265"/>
                  <a:pt x="458363" y="383350"/>
                  <a:pt x="458344" y="381388"/>
                </a:cubicBezTo>
                <a:lnTo>
                  <a:pt x="458344" y="145740"/>
                </a:lnTo>
                <a:cubicBezTo>
                  <a:pt x="458334" y="142776"/>
                  <a:pt x="456829" y="140016"/>
                  <a:pt x="454343" y="138405"/>
                </a:cubicBezTo>
                <a:close/>
              </a:path>
            </a:pathLst>
          </a:custGeom>
          <a:solidFill>
            <a:schemeClr val="bg1"/>
          </a:solidFill>
          <a:ln w="9525" cap="flat">
            <a:noFill/>
            <a:prstDash val="solid"/>
            <a:miter/>
          </a:ln>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srgbClr val="000000"/>
              </a:solidFill>
              <a:effectLst/>
              <a:uLnTx/>
              <a:uFillTx/>
              <a:latin typeface="OPPOSans R" panose="00020600040101010101" pitchFamily="18" charset="-122"/>
              <a:ea typeface="微软雅黑"/>
              <a:cs typeface="+mn-cs"/>
            </a:endParaRPr>
          </a:p>
        </p:txBody>
      </p:sp>
      <p:sp>
        <p:nvSpPr>
          <p:cNvPr id="85" name="gaoding-38">
            <a:extLst>
              <a:ext uri="{FF2B5EF4-FFF2-40B4-BE49-F238E27FC236}">
                <a16:creationId xmlns:a16="http://schemas.microsoft.com/office/drawing/2014/main" id="{017666E4-03AB-4B42-AFD0-65F98C007C28}"/>
              </a:ext>
            </a:extLst>
          </p:cNvPr>
          <p:cNvSpPr/>
          <p:nvPr/>
        </p:nvSpPr>
        <p:spPr>
          <a:xfrm>
            <a:off x="10915838" y="5357487"/>
            <a:ext cx="284994" cy="262190"/>
          </a:xfrm>
          <a:custGeom>
            <a:avLst/>
            <a:gdLst>
              <a:gd name="connsiteX0" fmla="*/ 341095 w 461968"/>
              <a:gd name="connsiteY0" fmla="*/ 172695 h 425005"/>
              <a:gd name="connsiteX1" fmla="*/ 171074 w 461968"/>
              <a:gd name="connsiteY1" fmla="*/ 7 h 425005"/>
              <a:gd name="connsiteX2" fmla="*/ 1148 w 461968"/>
              <a:gd name="connsiteY2" fmla="*/ 172695 h 425005"/>
              <a:gd name="connsiteX3" fmla="*/ 32009 w 461968"/>
              <a:gd name="connsiteY3" fmla="*/ 272041 h 425005"/>
              <a:gd name="connsiteX4" fmla="*/ 25818 w 461968"/>
              <a:gd name="connsiteY4" fmla="*/ 297378 h 425005"/>
              <a:gd name="connsiteX5" fmla="*/ 38124 w 461968"/>
              <a:gd name="connsiteY5" fmla="*/ 317956 h 425005"/>
              <a:gd name="connsiteX6" fmla="*/ 43439 w 461968"/>
              <a:gd name="connsiteY6" fmla="*/ 318428 h 425005"/>
              <a:gd name="connsiteX7" fmla="*/ 76300 w 461968"/>
              <a:gd name="connsiteY7" fmla="*/ 316237 h 425005"/>
              <a:gd name="connsiteX8" fmla="*/ 171550 w 461968"/>
              <a:gd name="connsiteY8" fmla="*/ 345574 h 425005"/>
              <a:gd name="connsiteX9" fmla="*/ 341095 w 461968"/>
              <a:gd name="connsiteY9" fmla="*/ 172695 h 425005"/>
              <a:gd name="connsiteX10" fmla="*/ 249560 w 461968"/>
              <a:gd name="connsiteY10" fmla="*/ 150502 h 425005"/>
              <a:gd name="connsiteX11" fmla="*/ 271372 w 461968"/>
              <a:gd name="connsiteY11" fmla="*/ 172693 h 425005"/>
              <a:gd name="connsiteX12" fmla="*/ 271372 w 461968"/>
              <a:gd name="connsiteY12" fmla="*/ 172695 h 425005"/>
              <a:gd name="connsiteX13" fmla="*/ 249560 w 461968"/>
              <a:gd name="connsiteY13" fmla="*/ 194793 h 425005"/>
              <a:gd name="connsiteX14" fmla="*/ 227367 w 461968"/>
              <a:gd name="connsiteY14" fmla="*/ 172982 h 425005"/>
              <a:gd name="connsiteX15" fmla="*/ 227367 w 461968"/>
              <a:gd name="connsiteY15" fmla="*/ 172695 h 425005"/>
              <a:gd name="connsiteX16" fmla="*/ 249179 w 461968"/>
              <a:gd name="connsiteY16" fmla="*/ 150502 h 425005"/>
              <a:gd name="connsiteX17" fmla="*/ 249560 w 461968"/>
              <a:gd name="connsiteY17" fmla="*/ 150502 h 425005"/>
              <a:gd name="connsiteX18" fmla="*/ 92683 w 461968"/>
              <a:gd name="connsiteY18" fmla="*/ 194793 h 425005"/>
              <a:gd name="connsiteX19" fmla="*/ 70871 w 461968"/>
              <a:gd name="connsiteY19" fmla="*/ 172791 h 425005"/>
              <a:gd name="connsiteX20" fmla="*/ 70871 w 461968"/>
              <a:gd name="connsiteY20" fmla="*/ 172695 h 425005"/>
              <a:gd name="connsiteX21" fmla="*/ 92493 w 461968"/>
              <a:gd name="connsiteY21" fmla="*/ 150504 h 425005"/>
              <a:gd name="connsiteX22" fmla="*/ 92683 w 461968"/>
              <a:gd name="connsiteY22" fmla="*/ 150502 h 425005"/>
              <a:gd name="connsiteX23" fmla="*/ 114496 w 461968"/>
              <a:gd name="connsiteY23" fmla="*/ 172693 h 425005"/>
              <a:gd name="connsiteX24" fmla="*/ 114496 w 461968"/>
              <a:gd name="connsiteY24" fmla="*/ 172695 h 425005"/>
              <a:gd name="connsiteX25" fmla="*/ 92683 w 461968"/>
              <a:gd name="connsiteY25" fmla="*/ 194793 h 425005"/>
              <a:gd name="connsiteX26" fmla="*/ 149357 w 461968"/>
              <a:gd name="connsiteY26" fmla="*/ 172695 h 425005"/>
              <a:gd name="connsiteX27" fmla="*/ 170979 w 461968"/>
              <a:gd name="connsiteY27" fmla="*/ 150503 h 425005"/>
              <a:gd name="connsiteX28" fmla="*/ 171074 w 461968"/>
              <a:gd name="connsiteY28" fmla="*/ 150502 h 425005"/>
              <a:gd name="connsiteX29" fmla="*/ 192886 w 461968"/>
              <a:gd name="connsiteY29" fmla="*/ 172503 h 425005"/>
              <a:gd name="connsiteX30" fmla="*/ 192886 w 461968"/>
              <a:gd name="connsiteY30" fmla="*/ 172695 h 425005"/>
              <a:gd name="connsiteX31" fmla="*/ 171169 w 461968"/>
              <a:gd name="connsiteY31" fmla="*/ 194792 h 425005"/>
              <a:gd name="connsiteX32" fmla="*/ 171074 w 461968"/>
              <a:gd name="connsiteY32" fmla="*/ 194793 h 425005"/>
              <a:gd name="connsiteX33" fmla="*/ 149357 w 461968"/>
              <a:gd name="connsiteY33" fmla="*/ 172697 h 425005"/>
              <a:gd name="connsiteX34" fmla="*/ 149357 w 461968"/>
              <a:gd name="connsiteY34" fmla="*/ 172695 h 425005"/>
              <a:gd name="connsiteX35" fmla="*/ 463110 w 461968"/>
              <a:gd name="connsiteY35" fmla="*/ 252324 h 425005"/>
              <a:gd name="connsiteX36" fmla="*/ 349382 w 461968"/>
              <a:gd name="connsiteY36" fmla="*/ 89542 h 425005"/>
              <a:gd name="connsiteX37" fmla="*/ 367193 w 461968"/>
              <a:gd name="connsiteY37" fmla="*/ 172695 h 425005"/>
              <a:gd name="connsiteX38" fmla="*/ 171083 w 461968"/>
              <a:gd name="connsiteY38" fmla="*/ 371863 h 425005"/>
              <a:gd name="connsiteX39" fmla="*/ 171074 w 461968"/>
              <a:gd name="connsiteY39" fmla="*/ 371863 h 425005"/>
              <a:gd name="connsiteX40" fmla="*/ 171074 w 461968"/>
              <a:gd name="connsiteY40" fmla="*/ 371863 h 425005"/>
              <a:gd name="connsiteX41" fmla="*/ 293565 w 461968"/>
              <a:gd name="connsiteY41" fmla="*/ 425013 h 425005"/>
              <a:gd name="connsiteX42" fmla="*/ 386053 w 461968"/>
              <a:gd name="connsiteY42" fmla="*/ 397104 h 425005"/>
              <a:gd name="connsiteX43" fmla="*/ 417486 w 461968"/>
              <a:gd name="connsiteY43" fmla="*/ 401962 h 425005"/>
              <a:gd name="connsiteX44" fmla="*/ 434916 w 461968"/>
              <a:gd name="connsiteY44" fmla="*/ 389065 h 425005"/>
              <a:gd name="connsiteX45" fmla="*/ 434726 w 461968"/>
              <a:gd name="connsiteY45" fmla="*/ 383483 h 425005"/>
              <a:gd name="connsiteX46" fmla="*/ 428725 w 461968"/>
              <a:gd name="connsiteY46" fmla="*/ 356718 h 425005"/>
              <a:gd name="connsiteX47" fmla="*/ 463110 w 461968"/>
              <a:gd name="connsiteY47" fmla="*/ 252324 h 4250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461968" h="425005">
                <a:moveTo>
                  <a:pt x="341095" y="172695"/>
                </a:moveTo>
                <a:cubicBezTo>
                  <a:pt x="341781" y="78079"/>
                  <a:pt x="265686" y="793"/>
                  <a:pt x="171074" y="7"/>
                </a:cubicBezTo>
                <a:cubicBezTo>
                  <a:pt x="76500" y="845"/>
                  <a:pt x="462" y="78116"/>
                  <a:pt x="1148" y="172695"/>
                </a:cubicBezTo>
                <a:cubicBezTo>
                  <a:pt x="1081" y="208181"/>
                  <a:pt x="11844" y="242842"/>
                  <a:pt x="32009" y="272041"/>
                </a:cubicBezTo>
                <a:lnTo>
                  <a:pt x="25818" y="297378"/>
                </a:lnTo>
                <a:cubicBezTo>
                  <a:pt x="23531" y="306459"/>
                  <a:pt x="29047" y="315672"/>
                  <a:pt x="38124" y="317956"/>
                </a:cubicBezTo>
                <a:cubicBezTo>
                  <a:pt x="39858" y="318394"/>
                  <a:pt x="41658" y="318553"/>
                  <a:pt x="43439" y="318428"/>
                </a:cubicBezTo>
                <a:lnTo>
                  <a:pt x="76300" y="316237"/>
                </a:lnTo>
                <a:cubicBezTo>
                  <a:pt x="104322" y="335490"/>
                  <a:pt x="137555" y="345725"/>
                  <a:pt x="171550" y="345574"/>
                </a:cubicBezTo>
                <a:cubicBezTo>
                  <a:pt x="266057" y="344527"/>
                  <a:pt x="341886" y="267201"/>
                  <a:pt x="341095" y="172695"/>
                </a:cubicBezTo>
                <a:close/>
                <a:moveTo>
                  <a:pt x="249560" y="150502"/>
                </a:moveTo>
                <a:cubicBezTo>
                  <a:pt x="261714" y="150607"/>
                  <a:pt x="271477" y="160542"/>
                  <a:pt x="271372" y="172693"/>
                </a:cubicBezTo>
                <a:cubicBezTo>
                  <a:pt x="271372" y="172694"/>
                  <a:pt x="271372" y="172694"/>
                  <a:pt x="271372" y="172695"/>
                </a:cubicBezTo>
                <a:cubicBezTo>
                  <a:pt x="271429" y="184810"/>
                  <a:pt x="261675" y="194688"/>
                  <a:pt x="249560" y="194793"/>
                </a:cubicBezTo>
                <a:cubicBezTo>
                  <a:pt x="237406" y="194899"/>
                  <a:pt x="227471" y="185133"/>
                  <a:pt x="227367" y="172982"/>
                </a:cubicBezTo>
                <a:cubicBezTo>
                  <a:pt x="227367" y="172887"/>
                  <a:pt x="227367" y="172791"/>
                  <a:pt x="227367" y="172695"/>
                </a:cubicBezTo>
                <a:cubicBezTo>
                  <a:pt x="227262" y="160544"/>
                  <a:pt x="237025" y="150608"/>
                  <a:pt x="249179" y="150502"/>
                </a:cubicBezTo>
                <a:cubicBezTo>
                  <a:pt x="249302" y="150501"/>
                  <a:pt x="249436" y="150501"/>
                  <a:pt x="249560" y="150502"/>
                </a:cubicBezTo>
                <a:close/>
                <a:moveTo>
                  <a:pt x="92683" y="194793"/>
                </a:moveTo>
                <a:cubicBezTo>
                  <a:pt x="80587" y="194741"/>
                  <a:pt x="70814" y="184890"/>
                  <a:pt x="70871" y="172791"/>
                </a:cubicBezTo>
                <a:cubicBezTo>
                  <a:pt x="70871" y="172759"/>
                  <a:pt x="70871" y="172728"/>
                  <a:pt x="70871" y="172695"/>
                </a:cubicBezTo>
                <a:cubicBezTo>
                  <a:pt x="70709" y="160598"/>
                  <a:pt x="80396" y="150662"/>
                  <a:pt x="92493" y="150504"/>
                </a:cubicBezTo>
                <a:cubicBezTo>
                  <a:pt x="92550" y="150503"/>
                  <a:pt x="92617" y="150502"/>
                  <a:pt x="92683" y="150502"/>
                </a:cubicBezTo>
                <a:cubicBezTo>
                  <a:pt x="104837" y="150607"/>
                  <a:pt x="114600" y="160542"/>
                  <a:pt x="114496" y="172693"/>
                </a:cubicBezTo>
                <a:cubicBezTo>
                  <a:pt x="114496" y="172694"/>
                  <a:pt x="114496" y="172694"/>
                  <a:pt x="114496" y="172695"/>
                </a:cubicBezTo>
                <a:cubicBezTo>
                  <a:pt x="114552" y="184810"/>
                  <a:pt x="104799" y="194688"/>
                  <a:pt x="92683" y="194793"/>
                </a:cubicBezTo>
                <a:close/>
                <a:moveTo>
                  <a:pt x="149357" y="172695"/>
                </a:moveTo>
                <a:cubicBezTo>
                  <a:pt x="149195" y="160598"/>
                  <a:pt x="158882" y="150661"/>
                  <a:pt x="170979" y="150503"/>
                </a:cubicBezTo>
                <a:cubicBezTo>
                  <a:pt x="171007" y="150503"/>
                  <a:pt x="171045" y="150502"/>
                  <a:pt x="171074" y="150502"/>
                </a:cubicBezTo>
                <a:cubicBezTo>
                  <a:pt x="183170" y="150553"/>
                  <a:pt x="192943" y="160403"/>
                  <a:pt x="192886" y="172503"/>
                </a:cubicBezTo>
                <a:cubicBezTo>
                  <a:pt x="192886" y="172567"/>
                  <a:pt x="192886" y="172631"/>
                  <a:pt x="192886" y="172695"/>
                </a:cubicBezTo>
                <a:cubicBezTo>
                  <a:pt x="192991" y="184794"/>
                  <a:pt x="183266" y="194688"/>
                  <a:pt x="171169" y="194792"/>
                </a:cubicBezTo>
                <a:cubicBezTo>
                  <a:pt x="171140" y="194793"/>
                  <a:pt x="171103" y="194793"/>
                  <a:pt x="171074" y="194793"/>
                </a:cubicBezTo>
                <a:cubicBezTo>
                  <a:pt x="158977" y="194688"/>
                  <a:pt x="149252" y="184796"/>
                  <a:pt x="149357" y="172697"/>
                </a:cubicBezTo>
                <a:cubicBezTo>
                  <a:pt x="149357" y="172696"/>
                  <a:pt x="149357" y="172696"/>
                  <a:pt x="149357" y="172695"/>
                </a:cubicBezTo>
                <a:close/>
                <a:moveTo>
                  <a:pt x="463110" y="252324"/>
                </a:moveTo>
                <a:cubicBezTo>
                  <a:pt x="463367" y="179496"/>
                  <a:pt x="417857" y="114354"/>
                  <a:pt x="349382" y="89542"/>
                </a:cubicBezTo>
                <a:cubicBezTo>
                  <a:pt x="361164" y="115678"/>
                  <a:pt x="367241" y="144026"/>
                  <a:pt x="367193" y="172695"/>
                </a:cubicBezTo>
                <a:cubicBezTo>
                  <a:pt x="368041" y="281848"/>
                  <a:pt x="280240" y="371018"/>
                  <a:pt x="171083" y="371863"/>
                </a:cubicBezTo>
                <a:cubicBezTo>
                  <a:pt x="171083" y="371863"/>
                  <a:pt x="171074" y="371863"/>
                  <a:pt x="171074" y="371863"/>
                </a:cubicBezTo>
                <a:lnTo>
                  <a:pt x="171074" y="371863"/>
                </a:lnTo>
                <a:cubicBezTo>
                  <a:pt x="202792" y="405772"/>
                  <a:pt x="247140" y="425013"/>
                  <a:pt x="293565" y="425013"/>
                </a:cubicBezTo>
                <a:cubicBezTo>
                  <a:pt x="326465" y="425013"/>
                  <a:pt x="358640" y="415307"/>
                  <a:pt x="386053" y="397104"/>
                </a:cubicBezTo>
                <a:lnTo>
                  <a:pt x="417486" y="401962"/>
                </a:lnTo>
                <a:cubicBezTo>
                  <a:pt x="425858" y="403210"/>
                  <a:pt x="433668" y="397438"/>
                  <a:pt x="434916" y="389065"/>
                </a:cubicBezTo>
                <a:cubicBezTo>
                  <a:pt x="435192" y="387208"/>
                  <a:pt x="435135" y="385312"/>
                  <a:pt x="434726" y="383483"/>
                </a:cubicBezTo>
                <a:lnTo>
                  <a:pt x="428725" y="356718"/>
                </a:lnTo>
                <a:cubicBezTo>
                  <a:pt x="451204" y="326571"/>
                  <a:pt x="463272" y="289931"/>
                  <a:pt x="463110" y="252324"/>
                </a:cubicBezTo>
                <a:close/>
              </a:path>
            </a:pathLst>
          </a:custGeom>
          <a:solidFill>
            <a:schemeClr val="bg1"/>
          </a:solidFill>
          <a:ln w="9525" cap="flat">
            <a:noFill/>
            <a:prstDash val="solid"/>
            <a:miter/>
          </a:ln>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srgbClr val="000000"/>
              </a:solidFill>
              <a:effectLst/>
              <a:uLnTx/>
              <a:uFillTx/>
              <a:latin typeface="OPPOSans R" panose="00020600040101010101" pitchFamily="18" charset="-122"/>
              <a:ea typeface="微软雅黑"/>
              <a:cs typeface="+mn-cs"/>
            </a:endParaRPr>
          </a:p>
        </p:txBody>
      </p:sp>
    </p:spTree>
    <p:custDataLst>
      <p:tags r:id="rId2"/>
    </p:custDataLst>
    <p:extLst>
      <p:ext uri="{BB962C8B-B14F-4D97-AF65-F5344CB8AC3E}">
        <p14:creationId xmlns:p14="http://schemas.microsoft.com/office/powerpoint/2010/main" val="3978989760"/>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8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5" name="组合 34">
            <a:extLst>
              <a:ext uri="{FF2B5EF4-FFF2-40B4-BE49-F238E27FC236}">
                <a16:creationId xmlns:a16="http://schemas.microsoft.com/office/drawing/2014/main" id="{964D19B2-8865-478E-8718-834454ED9ECF}"/>
              </a:ext>
            </a:extLst>
          </p:cNvPr>
          <p:cNvGrpSpPr/>
          <p:nvPr/>
        </p:nvGrpSpPr>
        <p:grpSpPr>
          <a:xfrm>
            <a:off x="5455236" y="975915"/>
            <a:ext cx="5855330" cy="5132424"/>
            <a:chOff x="5455236" y="975915"/>
            <a:chExt cx="5855330" cy="5132424"/>
          </a:xfrm>
        </p:grpSpPr>
        <p:sp>
          <p:nvSpPr>
            <p:cNvPr id="36" name="图形 2">
              <a:extLst>
                <a:ext uri="{FF2B5EF4-FFF2-40B4-BE49-F238E27FC236}">
                  <a16:creationId xmlns:a16="http://schemas.microsoft.com/office/drawing/2014/main" id="{14F57895-512D-4DA4-A0AA-30829AF6DEC7}"/>
                </a:ext>
              </a:extLst>
            </p:cNvPr>
            <p:cNvSpPr/>
            <p:nvPr/>
          </p:nvSpPr>
          <p:spPr>
            <a:xfrm>
              <a:off x="6818931" y="3096747"/>
              <a:ext cx="3014027" cy="3011592"/>
            </a:xfrm>
            <a:custGeom>
              <a:avLst/>
              <a:gdLst>
                <a:gd name="connsiteX0" fmla="*/ 411962 w 3014027"/>
                <a:gd name="connsiteY0" fmla="*/ 3008878 h 3011592"/>
                <a:gd name="connsiteX1" fmla="*/ 594085 w 3014027"/>
                <a:gd name="connsiteY1" fmla="*/ 2907726 h 3011592"/>
                <a:gd name="connsiteX2" fmla="*/ 969459 w 3014027"/>
                <a:gd name="connsiteY2" fmla="*/ 2666215 h 3011592"/>
                <a:gd name="connsiteX3" fmla="*/ 1181624 w 3014027"/>
                <a:gd name="connsiteY3" fmla="*/ 2304061 h 3011592"/>
                <a:gd name="connsiteX4" fmla="*/ 1195195 w 3014027"/>
                <a:gd name="connsiteY4" fmla="*/ 1614558 h 3011592"/>
                <a:gd name="connsiteX5" fmla="*/ 920043 w 3014027"/>
                <a:gd name="connsiteY5" fmla="*/ 1193361 h 3011592"/>
                <a:gd name="connsiteX6" fmla="*/ 243301 w 3014027"/>
                <a:gd name="connsiteY6" fmla="*/ 890485 h 3011592"/>
                <a:gd name="connsiteX7" fmla="*/ -3199 w 3014027"/>
                <a:gd name="connsiteY7" fmla="*/ 793625 h 3011592"/>
                <a:gd name="connsiteX8" fmla="*/ 46101 w 3014027"/>
                <a:gd name="connsiteY8" fmla="*/ 571022 h 3011592"/>
                <a:gd name="connsiteX9" fmla="*/ 319975 w 3014027"/>
                <a:gd name="connsiteY9" fmla="*/ 661269 h 3011592"/>
                <a:gd name="connsiteX10" fmla="*/ 612295 w 3014027"/>
                <a:gd name="connsiteY10" fmla="*/ 756041 h 3011592"/>
                <a:gd name="connsiteX11" fmla="*/ 710663 w 3014027"/>
                <a:gd name="connsiteY11" fmla="*/ 683309 h 3011592"/>
                <a:gd name="connsiteX12" fmla="*/ 710663 w 3014027"/>
                <a:gd name="connsiteY12" fmla="*/ 68509 h 3011592"/>
                <a:gd name="connsiteX13" fmla="*/ 764488 w 3014027"/>
                <a:gd name="connsiteY13" fmla="*/ 8189 h 3011592"/>
                <a:gd name="connsiteX14" fmla="*/ 882111 w 3014027"/>
                <a:gd name="connsiteY14" fmla="*/ -1091 h 3011592"/>
                <a:gd name="connsiteX15" fmla="*/ 922711 w 3014027"/>
                <a:gd name="connsiteY15" fmla="*/ 434953 h 3011592"/>
                <a:gd name="connsiteX16" fmla="*/ 993240 w 3014027"/>
                <a:gd name="connsiteY16" fmla="*/ 851625 h 3011592"/>
                <a:gd name="connsiteX17" fmla="*/ 1128843 w 3014027"/>
                <a:gd name="connsiteY17" fmla="*/ 1066690 h 3011592"/>
                <a:gd name="connsiteX18" fmla="*/ 1301917 w 3014027"/>
                <a:gd name="connsiteY18" fmla="*/ 1087569 h 3011592"/>
                <a:gd name="connsiteX19" fmla="*/ 1379521 w 3014027"/>
                <a:gd name="connsiteY19" fmla="*/ 910901 h 3011592"/>
                <a:gd name="connsiteX20" fmla="*/ 1302843 w 3014027"/>
                <a:gd name="connsiteY20" fmla="*/ 172677 h 3011592"/>
                <a:gd name="connsiteX21" fmla="*/ 1413043 w 3014027"/>
                <a:gd name="connsiteY21" fmla="*/ 20138 h 3011592"/>
                <a:gd name="connsiteX22" fmla="*/ 1452485 w 3014027"/>
                <a:gd name="connsiteY22" fmla="*/ 144141 h 3011592"/>
                <a:gd name="connsiteX23" fmla="*/ 1552940 w 3014027"/>
                <a:gd name="connsiteY23" fmla="*/ 409433 h 3011592"/>
                <a:gd name="connsiteX24" fmla="*/ 1740976 w 3014027"/>
                <a:gd name="connsiteY24" fmla="*/ 466274 h 3011592"/>
                <a:gd name="connsiteX25" fmla="*/ 2006037 w 3014027"/>
                <a:gd name="connsiteY25" fmla="*/ 269073 h 3011592"/>
                <a:gd name="connsiteX26" fmla="*/ 2153356 w 3014027"/>
                <a:gd name="connsiteY26" fmla="*/ 137993 h 3011592"/>
                <a:gd name="connsiteX27" fmla="*/ 2341508 w 3014027"/>
                <a:gd name="connsiteY27" fmla="*/ 114793 h 3011592"/>
                <a:gd name="connsiteX28" fmla="*/ 2136885 w 3014027"/>
                <a:gd name="connsiteY28" fmla="*/ 325914 h 3011592"/>
                <a:gd name="connsiteX29" fmla="*/ 1834472 w 3014027"/>
                <a:gd name="connsiteY29" fmla="*/ 622409 h 3011592"/>
                <a:gd name="connsiteX30" fmla="*/ 1717427 w 3014027"/>
                <a:gd name="connsiteY30" fmla="*/ 903825 h 3011592"/>
                <a:gd name="connsiteX31" fmla="*/ 1718356 w 3014027"/>
                <a:gd name="connsiteY31" fmla="*/ 1002309 h 3011592"/>
                <a:gd name="connsiteX32" fmla="*/ 1869156 w 3014027"/>
                <a:gd name="connsiteY32" fmla="*/ 1103925 h 3011592"/>
                <a:gd name="connsiteX33" fmla="*/ 2132476 w 3014027"/>
                <a:gd name="connsiteY33" fmla="*/ 936653 h 3011592"/>
                <a:gd name="connsiteX34" fmla="*/ 2851676 w 3014027"/>
                <a:gd name="connsiteY34" fmla="*/ 315009 h 3011592"/>
                <a:gd name="connsiteX35" fmla="*/ 2903412 w 3014027"/>
                <a:gd name="connsiteY35" fmla="*/ 268609 h 3011592"/>
                <a:gd name="connsiteX36" fmla="*/ 3010828 w 3014027"/>
                <a:gd name="connsiteY36" fmla="*/ 416393 h 3011592"/>
                <a:gd name="connsiteX37" fmla="*/ 2151963 w 3014027"/>
                <a:gd name="connsiteY37" fmla="*/ 1227350 h 3011592"/>
                <a:gd name="connsiteX38" fmla="*/ 2158344 w 3014027"/>
                <a:gd name="connsiteY38" fmla="*/ 1238950 h 3011592"/>
                <a:gd name="connsiteX39" fmla="*/ 2725005 w 3014027"/>
                <a:gd name="connsiteY39" fmla="*/ 1151601 h 3011592"/>
                <a:gd name="connsiteX40" fmla="*/ 2742057 w 3014027"/>
                <a:gd name="connsiteY40" fmla="*/ 1256001 h 3011592"/>
                <a:gd name="connsiteX41" fmla="*/ 2689392 w 3014027"/>
                <a:gd name="connsiteY41" fmla="*/ 1274561 h 3011592"/>
                <a:gd name="connsiteX42" fmla="*/ 1988637 w 3014027"/>
                <a:gd name="connsiteY42" fmla="*/ 1500530 h 3011592"/>
                <a:gd name="connsiteX43" fmla="*/ 1933769 w 3014027"/>
                <a:gd name="connsiteY43" fmla="*/ 1572566 h 3011592"/>
                <a:gd name="connsiteX44" fmla="*/ 1934927 w 3014027"/>
                <a:gd name="connsiteY44" fmla="*/ 2175766 h 3011592"/>
                <a:gd name="connsiteX45" fmla="*/ 2082479 w 3014027"/>
                <a:gd name="connsiteY45" fmla="*/ 2545342 h 3011592"/>
                <a:gd name="connsiteX46" fmla="*/ 2562373 w 3014027"/>
                <a:gd name="connsiteY46" fmla="*/ 2970831 h 3011592"/>
                <a:gd name="connsiteX47" fmla="*/ 2600769 w 3014027"/>
                <a:gd name="connsiteY47" fmla="*/ 2996815 h 3011592"/>
                <a:gd name="connsiteX48" fmla="*/ 2608424 w 3014027"/>
                <a:gd name="connsiteY48" fmla="*/ 3010502 h 30115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3014027" h="3011592">
                  <a:moveTo>
                    <a:pt x="411962" y="3008878"/>
                  </a:moveTo>
                  <a:cubicBezTo>
                    <a:pt x="480869" y="2970831"/>
                    <a:pt x="539562" y="2941947"/>
                    <a:pt x="594085" y="2907726"/>
                  </a:cubicBezTo>
                  <a:cubicBezTo>
                    <a:pt x="720291" y="2828847"/>
                    <a:pt x="846617" y="2750082"/>
                    <a:pt x="969459" y="2666215"/>
                  </a:cubicBezTo>
                  <a:cubicBezTo>
                    <a:pt x="1096017" y="2579910"/>
                    <a:pt x="1174895" y="2459039"/>
                    <a:pt x="1181624" y="2304061"/>
                  </a:cubicBezTo>
                  <a:cubicBezTo>
                    <a:pt x="1191485" y="2074382"/>
                    <a:pt x="1199024" y="1844238"/>
                    <a:pt x="1195195" y="1614558"/>
                  </a:cubicBezTo>
                  <a:cubicBezTo>
                    <a:pt x="1192063" y="1421766"/>
                    <a:pt x="1086853" y="1277114"/>
                    <a:pt x="920043" y="1193361"/>
                  </a:cubicBezTo>
                  <a:cubicBezTo>
                    <a:pt x="699643" y="1082582"/>
                    <a:pt x="469846" y="989317"/>
                    <a:pt x="243301" y="890485"/>
                  </a:cubicBezTo>
                  <a:cubicBezTo>
                    <a:pt x="163956" y="855685"/>
                    <a:pt x="82059" y="826917"/>
                    <a:pt x="-3199" y="793625"/>
                  </a:cubicBezTo>
                  <a:lnTo>
                    <a:pt x="46101" y="571022"/>
                  </a:lnTo>
                  <a:cubicBezTo>
                    <a:pt x="141220" y="602341"/>
                    <a:pt x="230540" y="632038"/>
                    <a:pt x="319975" y="661269"/>
                  </a:cubicBezTo>
                  <a:cubicBezTo>
                    <a:pt x="417301" y="693169"/>
                    <a:pt x="514391" y="725998"/>
                    <a:pt x="612295" y="756041"/>
                  </a:cubicBezTo>
                  <a:cubicBezTo>
                    <a:pt x="683869" y="777849"/>
                    <a:pt x="710433" y="757898"/>
                    <a:pt x="710663" y="683309"/>
                  </a:cubicBezTo>
                  <a:cubicBezTo>
                    <a:pt x="711591" y="478338"/>
                    <a:pt x="712172" y="273365"/>
                    <a:pt x="710663" y="68509"/>
                  </a:cubicBezTo>
                  <a:cubicBezTo>
                    <a:pt x="710663" y="27561"/>
                    <a:pt x="720059" y="7609"/>
                    <a:pt x="764488" y="8189"/>
                  </a:cubicBezTo>
                  <a:cubicBezTo>
                    <a:pt x="802420" y="8189"/>
                    <a:pt x="840469" y="2506"/>
                    <a:pt x="882111" y="-1091"/>
                  </a:cubicBezTo>
                  <a:cubicBezTo>
                    <a:pt x="895569" y="147157"/>
                    <a:pt x="904269" y="291693"/>
                    <a:pt x="922711" y="434953"/>
                  </a:cubicBezTo>
                  <a:cubicBezTo>
                    <a:pt x="940692" y="574153"/>
                    <a:pt x="964937" y="713353"/>
                    <a:pt x="993240" y="851625"/>
                  </a:cubicBezTo>
                  <a:cubicBezTo>
                    <a:pt x="1010988" y="938046"/>
                    <a:pt x="1049269" y="1017158"/>
                    <a:pt x="1128843" y="1066690"/>
                  </a:cubicBezTo>
                  <a:cubicBezTo>
                    <a:pt x="1182785" y="1100330"/>
                    <a:pt x="1241247" y="1128517"/>
                    <a:pt x="1301917" y="1087569"/>
                  </a:cubicBezTo>
                  <a:cubicBezTo>
                    <a:pt x="1362585" y="1046622"/>
                    <a:pt x="1386711" y="983169"/>
                    <a:pt x="1379521" y="910901"/>
                  </a:cubicBezTo>
                  <a:cubicBezTo>
                    <a:pt x="1355043" y="664749"/>
                    <a:pt x="1328827" y="418714"/>
                    <a:pt x="1302843" y="172677"/>
                  </a:cubicBezTo>
                  <a:cubicBezTo>
                    <a:pt x="1290547" y="56677"/>
                    <a:pt x="1290201" y="56677"/>
                    <a:pt x="1413043" y="20138"/>
                  </a:cubicBezTo>
                  <a:cubicBezTo>
                    <a:pt x="1426037" y="61317"/>
                    <a:pt x="1437753" y="103309"/>
                    <a:pt x="1452485" y="144141"/>
                  </a:cubicBezTo>
                  <a:cubicBezTo>
                    <a:pt x="1484847" y="232998"/>
                    <a:pt x="1514195" y="323361"/>
                    <a:pt x="1552940" y="409433"/>
                  </a:cubicBezTo>
                  <a:cubicBezTo>
                    <a:pt x="1601776" y="518009"/>
                    <a:pt x="1642376" y="530885"/>
                    <a:pt x="1740976" y="466274"/>
                  </a:cubicBezTo>
                  <a:cubicBezTo>
                    <a:pt x="1832847" y="405953"/>
                    <a:pt x="1919501" y="337514"/>
                    <a:pt x="2006037" y="269073"/>
                  </a:cubicBezTo>
                  <a:cubicBezTo>
                    <a:pt x="2057656" y="228473"/>
                    <a:pt x="2104753" y="182306"/>
                    <a:pt x="2153356" y="137993"/>
                  </a:cubicBezTo>
                  <a:cubicBezTo>
                    <a:pt x="2234556" y="63406"/>
                    <a:pt x="2236411" y="63057"/>
                    <a:pt x="2341508" y="114793"/>
                  </a:cubicBezTo>
                  <a:cubicBezTo>
                    <a:pt x="2273763" y="184393"/>
                    <a:pt x="2206369" y="256430"/>
                    <a:pt x="2136885" y="325914"/>
                  </a:cubicBezTo>
                  <a:cubicBezTo>
                    <a:pt x="2037008" y="425674"/>
                    <a:pt x="1936785" y="525201"/>
                    <a:pt x="1834472" y="622409"/>
                  </a:cubicBezTo>
                  <a:cubicBezTo>
                    <a:pt x="1753272" y="699666"/>
                    <a:pt x="1700143" y="785853"/>
                    <a:pt x="1717427" y="903825"/>
                  </a:cubicBezTo>
                  <a:cubicBezTo>
                    <a:pt x="1722185" y="936074"/>
                    <a:pt x="1717427" y="969482"/>
                    <a:pt x="1718356" y="1002309"/>
                  </a:cubicBezTo>
                  <a:cubicBezTo>
                    <a:pt x="1719517" y="1084785"/>
                    <a:pt x="1795960" y="1141509"/>
                    <a:pt x="1869156" y="1103925"/>
                  </a:cubicBezTo>
                  <a:cubicBezTo>
                    <a:pt x="1961260" y="1056133"/>
                    <a:pt x="2053247" y="1002890"/>
                    <a:pt x="2132476" y="936653"/>
                  </a:cubicBezTo>
                  <a:cubicBezTo>
                    <a:pt x="2376076" y="733422"/>
                    <a:pt x="2612718" y="522882"/>
                    <a:pt x="2851676" y="315009"/>
                  </a:cubicBezTo>
                  <a:cubicBezTo>
                    <a:pt x="2867570" y="301206"/>
                    <a:pt x="2882879" y="286706"/>
                    <a:pt x="2903412" y="268609"/>
                  </a:cubicBezTo>
                  <a:lnTo>
                    <a:pt x="3010828" y="416393"/>
                  </a:lnTo>
                  <a:lnTo>
                    <a:pt x="2151963" y="1227350"/>
                  </a:lnTo>
                  <a:lnTo>
                    <a:pt x="2158344" y="1238950"/>
                  </a:lnTo>
                  <a:lnTo>
                    <a:pt x="2725005" y="1151601"/>
                  </a:lnTo>
                  <a:cubicBezTo>
                    <a:pt x="2731037" y="1188606"/>
                    <a:pt x="2736024" y="1218534"/>
                    <a:pt x="2742057" y="1256001"/>
                  </a:cubicBezTo>
                  <a:cubicBezTo>
                    <a:pt x="2724192" y="1262266"/>
                    <a:pt x="2707257" y="1268761"/>
                    <a:pt x="2689392" y="1274561"/>
                  </a:cubicBezTo>
                  <a:cubicBezTo>
                    <a:pt x="2455885" y="1350193"/>
                    <a:pt x="2222608" y="1426638"/>
                    <a:pt x="1988637" y="1500530"/>
                  </a:cubicBezTo>
                  <a:cubicBezTo>
                    <a:pt x="1949427" y="1512826"/>
                    <a:pt x="1933305" y="1529182"/>
                    <a:pt x="1933769" y="1572566"/>
                  </a:cubicBezTo>
                  <a:cubicBezTo>
                    <a:pt x="1936321" y="1773593"/>
                    <a:pt x="1935508" y="1974739"/>
                    <a:pt x="1934927" y="2175766"/>
                  </a:cubicBezTo>
                  <a:cubicBezTo>
                    <a:pt x="1934927" y="2319142"/>
                    <a:pt x="1997337" y="2436998"/>
                    <a:pt x="2082479" y="2545342"/>
                  </a:cubicBezTo>
                  <a:cubicBezTo>
                    <a:pt x="2216576" y="2716094"/>
                    <a:pt x="2384079" y="2849378"/>
                    <a:pt x="2562373" y="2970831"/>
                  </a:cubicBezTo>
                  <a:cubicBezTo>
                    <a:pt x="2575134" y="2979531"/>
                    <a:pt x="2588241" y="2987883"/>
                    <a:pt x="2600769" y="2996815"/>
                  </a:cubicBezTo>
                  <a:cubicBezTo>
                    <a:pt x="2603437" y="2998786"/>
                    <a:pt x="2604363" y="3002962"/>
                    <a:pt x="2608424" y="3010502"/>
                  </a:cubicBezTo>
                  <a:close/>
                </a:path>
              </a:pathLst>
            </a:custGeom>
            <a:solidFill>
              <a:srgbClr val="051A5F"/>
            </a:solidFill>
            <a:ln w="1157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panose="020F0502020204030204"/>
                <a:ea typeface="微软雅黑"/>
                <a:cs typeface="+mn-cs"/>
              </a:endParaRPr>
            </a:p>
          </p:txBody>
        </p:sp>
        <p:sp>
          <p:nvSpPr>
            <p:cNvPr id="37" name="椭圆 36">
              <a:extLst>
                <a:ext uri="{FF2B5EF4-FFF2-40B4-BE49-F238E27FC236}">
                  <a16:creationId xmlns:a16="http://schemas.microsoft.com/office/drawing/2014/main" id="{85ACEBB7-7383-4EA1-B291-9DA02379631E}"/>
                </a:ext>
              </a:extLst>
            </p:cNvPr>
            <p:cNvSpPr/>
            <p:nvPr/>
          </p:nvSpPr>
          <p:spPr>
            <a:xfrm>
              <a:off x="5455236" y="2772736"/>
              <a:ext cx="1903823" cy="1903823"/>
            </a:xfrm>
            <a:prstGeom prst="ellipse">
              <a:avLst/>
            </a:prstGeom>
            <a:gradFill flip="none" rotWithShape="1">
              <a:gsLst>
                <a:gs pos="0">
                  <a:schemeClr val="accent3"/>
                </a:gs>
                <a:gs pos="100000">
                  <a:schemeClr val="accent3">
                    <a:lumMod val="60000"/>
                    <a:lumOff val="40000"/>
                  </a:schemeClr>
                </a:gs>
              </a:gsLst>
              <a:lin ang="16200000" scaled="1"/>
              <a:tileRect/>
            </a:gradFill>
            <a:ln>
              <a:noFill/>
            </a:ln>
            <a:effectLst>
              <a:outerShdw blurRad="330200" dist="25400" dir="5400000" sx="90000" sy="90000" algn="t" rotWithShape="0">
                <a:schemeClr val="accent3">
                  <a:lumMod val="75000"/>
                  <a:alpha val="43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5720" tIns="22860" rIns="45720" bIns="228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OPPOSans R" panose="00020600040101010101" pitchFamily="18" charset="-122"/>
                <a:ea typeface="OPPOSans B" panose="00020600040101010101" pitchFamily="18" charset="-122"/>
                <a:cs typeface="OPPOSans B" panose="00020600040101010101" pitchFamily="18" charset="-122"/>
              </a:endParaRPr>
            </a:p>
          </p:txBody>
        </p:sp>
        <p:sp>
          <p:nvSpPr>
            <p:cNvPr id="38" name="椭圆 37">
              <a:extLst>
                <a:ext uri="{FF2B5EF4-FFF2-40B4-BE49-F238E27FC236}">
                  <a16:creationId xmlns:a16="http://schemas.microsoft.com/office/drawing/2014/main" id="{45B35A35-6387-47FC-96FD-82983CF18F14}"/>
                </a:ext>
              </a:extLst>
            </p:cNvPr>
            <p:cNvSpPr/>
            <p:nvPr/>
          </p:nvSpPr>
          <p:spPr>
            <a:xfrm>
              <a:off x="6183210" y="975915"/>
              <a:ext cx="2672496" cy="2672496"/>
            </a:xfrm>
            <a:prstGeom prst="ellipse">
              <a:avLst/>
            </a:prstGeom>
            <a:gradFill flip="none" rotWithShape="1">
              <a:gsLst>
                <a:gs pos="0">
                  <a:schemeClr val="accent1"/>
                </a:gs>
                <a:gs pos="100000">
                  <a:schemeClr val="accent1">
                    <a:lumMod val="60000"/>
                    <a:lumOff val="40000"/>
                  </a:schemeClr>
                </a:gs>
              </a:gsLst>
              <a:lin ang="16200000" scaled="1"/>
              <a:tileRect/>
            </a:gradFill>
            <a:ln>
              <a:noFill/>
            </a:ln>
            <a:effectLst>
              <a:outerShdw blurRad="330200" dist="25400" dir="5400000" sx="90000" sy="90000" algn="t" rotWithShape="0">
                <a:schemeClr val="accent1">
                  <a:lumMod val="75000"/>
                  <a:alpha val="43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5720" tIns="22860" rIns="45720" bIns="228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OPPOSans R" panose="00020600040101010101" pitchFamily="18" charset="-122"/>
                <a:ea typeface="OPPOSans B" panose="00020600040101010101" pitchFamily="18" charset="-122"/>
                <a:cs typeface="OPPOSans B" panose="00020600040101010101" pitchFamily="18" charset="-122"/>
              </a:endParaRPr>
            </a:p>
          </p:txBody>
        </p:sp>
        <p:sp>
          <p:nvSpPr>
            <p:cNvPr id="39" name="椭圆 38">
              <a:extLst>
                <a:ext uri="{FF2B5EF4-FFF2-40B4-BE49-F238E27FC236}">
                  <a16:creationId xmlns:a16="http://schemas.microsoft.com/office/drawing/2014/main" id="{E803936A-B2ED-4452-B758-01386E14B263}"/>
                </a:ext>
              </a:extLst>
            </p:cNvPr>
            <p:cNvSpPr/>
            <p:nvPr/>
          </p:nvSpPr>
          <p:spPr>
            <a:xfrm>
              <a:off x="8302866" y="1492037"/>
              <a:ext cx="2149771" cy="2149771"/>
            </a:xfrm>
            <a:prstGeom prst="ellipse">
              <a:avLst/>
            </a:prstGeom>
            <a:gradFill flip="none" rotWithShape="1">
              <a:gsLst>
                <a:gs pos="0">
                  <a:schemeClr val="accent2"/>
                </a:gs>
                <a:gs pos="100000">
                  <a:schemeClr val="accent2">
                    <a:lumMod val="60000"/>
                    <a:lumOff val="40000"/>
                  </a:schemeClr>
                </a:gs>
              </a:gsLst>
              <a:lin ang="16200000" scaled="1"/>
              <a:tileRect/>
            </a:gradFill>
            <a:ln>
              <a:noFill/>
            </a:ln>
            <a:effectLst>
              <a:outerShdw blurRad="330200" dist="25400" dir="5400000" sx="90000" sy="90000" algn="t" rotWithShape="0">
                <a:schemeClr val="accent2">
                  <a:lumMod val="75000"/>
                  <a:alpha val="43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5720" tIns="22860" rIns="45720" bIns="228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OPPOSans R" panose="00020600040101010101" pitchFamily="18" charset="-122"/>
                <a:ea typeface="OPPOSans B" panose="00020600040101010101" pitchFamily="18" charset="-122"/>
                <a:cs typeface="OPPOSans B" panose="00020600040101010101" pitchFamily="18" charset="-122"/>
              </a:endParaRPr>
            </a:p>
          </p:txBody>
        </p:sp>
        <p:sp>
          <p:nvSpPr>
            <p:cNvPr id="40" name="椭圆 39">
              <a:extLst>
                <a:ext uri="{FF2B5EF4-FFF2-40B4-BE49-F238E27FC236}">
                  <a16:creationId xmlns:a16="http://schemas.microsoft.com/office/drawing/2014/main" id="{A9CB939F-BA7A-427E-8FF1-A6E5E2728EA8}"/>
                </a:ext>
              </a:extLst>
            </p:cNvPr>
            <p:cNvSpPr/>
            <p:nvPr/>
          </p:nvSpPr>
          <p:spPr>
            <a:xfrm>
              <a:off x="9623344" y="2566922"/>
              <a:ext cx="1687222" cy="1687222"/>
            </a:xfrm>
            <a:prstGeom prst="ellipse">
              <a:avLst/>
            </a:prstGeom>
            <a:gradFill flip="none" rotWithShape="1">
              <a:gsLst>
                <a:gs pos="0">
                  <a:schemeClr val="accent4">
                    <a:lumMod val="75000"/>
                  </a:schemeClr>
                </a:gs>
                <a:gs pos="100000">
                  <a:schemeClr val="accent4"/>
                </a:gs>
              </a:gsLst>
              <a:lin ang="16200000" scaled="1"/>
              <a:tileRect/>
            </a:gradFill>
            <a:ln>
              <a:noFill/>
            </a:ln>
            <a:effectLst>
              <a:outerShdw blurRad="330200" dist="38100" dir="5400000" sx="90000" sy="90000" algn="t" rotWithShape="0">
                <a:schemeClr val="accent4">
                  <a:lumMod val="50000"/>
                  <a:alpha val="2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5720" tIns="22860" rIns="45720" bIns="228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Arial" panose="020F0502020204030204"/>
                <a:ea typeface="微软雅黑"/>
                <a:cs typeface="+mn-cs"/>
              </a:endParaRPr>
            </a:p>
          </p:txBody>
        </p:sp>
        <p:sp>
          <p:nvSpPr>
            <p:cNvPr id="41" name="椭圆 40">
              <a:extLst>
                <a:ext uri="{FF2B5EF4-FFF2-40B4-BE49-F238E27FC236}">
                  <a16:creationId xmlns:a16="http://schemas.microsoft.com/office/drawing/2014/main" id="{862F38B9-1A2C-456E-91FC-AF81288A69EE}"/>
                </a:ext>
              </a:extLst>
            </p:cNvPr>
            <p:cNvSpPr/>
            <p:nvPr/>
          </p:nvSpPr>
          <p:spPr>
            <a:xfrm>
              <a:off x="9534966" y="3906135"/>
              <a:ext cx="1276582" cy="1276582"/>
            </a:xfrm>
            <a:prstGeom prst="ellipse">
              <a:avLst/>
            </a:prstGeom>
            <a:gradFill flip="none" rotWithShape="1">
              <a:gsLst>
                <a:gs pos="0">
                  <a:schemeClr val="accent6"/>
                </a:gs>
                <a:gs pos="100000">
                  <a:schemeClr val="accent6">
                    <a:lumMod val="60000"/>
                    <a:lumOff val="40000"/>
                  </a:schemeClr>
                </a:gs>
              </a:gsLst>
              <a:lin ang="16200000" scaled="1"/>
              <a:tileRect/>
            </a:gradFill>
            <a:ln>
              <a:noFill/>
            </a:ln>
            <a:effectLst>
              <a:outerShdw blurRad="330200" dist="25400" dir="5400000" sx="90000" sy="90000" algn="t" rotWithShape="0">
                <a:schemeClr val="accent6">
                  <a:lumMod val="75000"/>
                  <a:alpha val="43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5720" tIns="22860" rIns="45720" bIns="228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OPPOSans R" panose="00020600040101010101" pitchFamily="18" charset="-122"/>
                <a:ea typeface="OPPOSans B" panose="00020600040101010101" pitchFamily="18" charset="-122"/>
                <a:cs typeface="OPPOSans B" panose="00020600040101010101" pitchFamily="18" charset="-122"/>
              </a:endParaRPr>
            </a:p>
          </p:txBody>
        </p:sp>
      </p:grpSp>
      <p:sp>
        <p:nvSpPr>
          <p:cNvPr id="103" name="Object 103"/>
          <p:cNvSpPr txBox="1"/>
          <p:nvPr/>
        </p:nvSpPr>
        <p:spPr>
          <a:xfrm>
            <a:off x="971451" y="1566798"/>
            <a:ext cx="2366047" cy="450850"/>
          </a:xfrm>
          <a:prstGeom prst="rect">
            <a:avLst/>
          </a:prstGeom>
        </p:spPr>
        <p:txBody>
          <a:bodyPr vert="horz"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2985" b="0" i="0" u="none" strike="noStrike" kern="1200" cap="none" spc="75" normalizeH="0" baseline="0" noProof="0" dirty="0">
                <a:ln>
                  <a:noFill/>
                </a:ln>
                <a:solidFill>
                  <a:srgbClr val="333333">
                    <a:alpha val="98823"/>
                  </a:srgbClr>
                </a:solidFill>
                <a:effectLst/>
                <a:uLnTx/>
                <a:uFillTx/>
                <a:latin typeface="OPPOSans B" panose="00020600040101010101" pitchFamily="18" charset="-122"/>
                <a:ea typeface="OPPOSans B" panose="00020600040101010101" pitchFamily="18" charset="-122"/>
                <a:cs typeface="OPPOSans B" panose="00020600040101010101" pitchFamily="18" charset="-122"/>
                <a:sym typeface="OPPOSans R" panose="00020600040101010101" pitchFamily="18" charset="-122"/>
              </a:rPr>
              <a:t>战略布局</a:t>
            </a:r>
            <a:endParaRPr kumimoji="0" lang="zh-CN" altLang="en-US" sz="900" b="0" i="0" u="none" strike="noStrike" kern="1200" cap="none" spc="0" normalizeH="0" baseline="0" noProof="0" dirty="0">
              <a:ln>
                <a:noFill/>
              </a:ln>
              <a:solidFill>
                <a:srgbClr val="000000"/>
              </a:solidFill>
              <a:effectLst/>
              <a:uLnTx/>
              <a:uFillTx/>
              <a:latin typeface="OPPOSans B" panose="00020600040101010101" pitchFamily="18" charset="-122"/>
              <a:ea typeface="OPPOSans B" panose="00020600040101010101" pitchFamily="18" charset="-122"/>
              <a:cs typeface="OPPOSans B" panose="00020600040101010101" pitchFamily="18" charset="-122"/>
              <a:sym typeface="OPPOSans R" panose="00020600040101010101" pitchFamily="18" charset="-122"/>
            </a:endParaRPr>
          </a:p>
        </p:txBody>
      </p:sp>
      <p:sp>
        <p:nvSpPr>
          <p:cNvPr id="104" name="Object 104"/>
          <p:cNvSpPr txBox="1"/>
          <p:nvPr/>
        </p:nvSpPr>
        <p:spPr>
          <a:xfrm>
            <a:off x="992774" y="2023998"/>
            <a:ext cx="2344725" cy="260350"/>
          </a:xfrm>
          <a:prstGeom prst="rect">
            <a:avLst/>
          </a:prstGeom>
        </p:spPr>
        <p:txBody>
          <a:bodyPr vert="horz"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700" b="0" i="0" u="none" strike="noStrike" kern="1200" cap="none" spc="17" normalizeH="0" baseline="0" noProof="0" dirty="0">
                <a:ln>
                  <a:noFill/>
                </a:ln>
                <a:solidFill>
                  <a:srgbClr val="333333">
                    <a:alpha val="98823"/>
                  </a:srgbClr>
                </a:solidFill>
                <a:effectLst/>
                <a:uLnTx/>
                <a:uFillTx/>
                <a:latin typeface="OPPOSans B" panose="00020600040101010101" pitchFamily="18" charset="-122"/>
                <a:ea typeface="OPPOSans B" panose="00020600040101010101" pitchFamily="18" charset="-122"/>
                <a:cs typeface="OPPOSans B" panose="00020600040101010101" pitchFamily="18" charset="-122"/>
                <a:sym typeface="OPPOSans R" panose="00020600040101010101" pitchFamily="18" charset="-122"/>
              </a:rPr>
              <a:t>Strategic Layout</a:t>
            </a:r>
            <a:endParaRPr kumimoji="0" lang="zh-CN" altLang="en-US" sz="900" b="0" i="0" u="none" strike="noStrike" kern="1200" cap="none" spc="0" normalizeH="0" baseline="0" noProof="0">
              <a:ln>
                <a:noFill/>
              </a:ln>
              <a:solidFill>
                <a:srgbClr val="000000"/>
              </a:solidFill>
              <a:effectLst/>
              <a:uLnTx/>
              <a:uFillTx/>
              <a:latin typeface="OPPOSans B" panose="00020600040101010101" pitchFamily="18" charset="-122"/>
              <a:ea typeface="OPPOSans B" panose="00020600040101010101" pitchFamily="18" charset="-122"/>
              <a:cs typeface="OPPOSans B" panose="00020600040101010101" pitchFamily="18" charset="-122"/>
              <a:sym typeface="OPPOSans R" panose="00020600040101010101" pitchFamily="18" charset="-122"/>
            </a:endParaRPr>
          </a:p>
        </p:txBody>
      </p:sp>
      <p:sp>
        <p:nvSpPr>
          <p:cNvPr id="105" name="Object 105"/>
          <p:cNvSpPr txBox="1"/>
          <p:nvPr/>
        </p:nvSpPr>
        <p:spPr>
          <a:xfrm>
            <a:off x="971451" y="2941368"/>
            <a:ext cx="4230147" cy="1130300"/>
          </a:xfrm>
          <a:prstGeom prst="rect">
            <a:avLst/>
          </a:prstGeom>
        </p:spPr>
        <p:txBody>
          <a:bodyPr vert="horz" rtlCol="0" anchor="t" anchorCtr="0">
            <a:noAutofit/>
          </a:bodyPr>
          <a:lstStyle/>
          <a:p>
            <a:pPr marL="0" marR="0" lvl="0" indent="0" algn="l" defTabSz="914400" rtl="0" eaLnBrk="1" fontAlgn="auto" latinLnBrk="0" hangingPunct="1">
              <a:lnSpc>
                <a:spcPct val="133333"/>
              </a:lnSpc>
              <a:spcBef>
                <a:spcPts val="0"/>
              </a:spcBef>
              <a:spcAft>
                <a:spcPts val="0"/>
              </a:spcAft>
              <a:buClrTx/>
              <a:buSzTx/>
              <a:buFontTx/>
              <a:buNone/>
              <a:tabLst/>
              <a:defRPr/>
            </a:pPr>
            <a:r>
              <a:rPr kumimoji="0" lang="zh-CN" altLang="en-US" sz="1400" b="0" i="0" u="none" strike="noStrike" kern="1200" cap="none" spc="13" normalizeH="0" baseline="0" noProof="0" dirty="0">
                <a:ln>
                  <a:noFill/>
                </a:ln>
                <a:solidFill>
                  <a:srgbClr val="777777"/>
                </a:solidFill>
                <a:effectLst/>
                <a:uLnTx/>
                <a:uFillTx/>
                <a:latin typeface="OPPOSans R" panose="00020600040101010101" pitchFamily="18" charset="-122"/>
                <a:ea typeface="OPPOSans R" panose="00020600040101010101" pitchFamily="18" charset="-122"/>
                <a:cs typeface="OPPOSans R" panose="00020600040101010101" pitchFamily="18" charset="-122"/>
                <a:sym typeface="OPPOSans R" panose="00020600040101010101" pitchFamily="18" charset="-122"/>
              </a:rPr>
              <a:t>请在此输入该段落的内容文本请在此输入该段落的内容文本请在此输入该段落的内容文本请在此输入该段落的内容文本 请在此输入该段落的内容文本请在此输入该段落的内容文本</a:t>
            </a:r>
            <a:endParaRPr kumimoji="0" lang="zh-CN" altLang="en-US" sz="900" b="0" i="0" u="none" strike="noStrike" kern="1200" cap="none" spc="0" normalizeH="0" baseline="0" noProof="0" dirty="0">
              <a:ln>
                <a:noFill/>
              </a:ln>
              <a:solidFill>
                <a:srgbClr val="000000"/>
              </a:solidFill>
              <a:effectLst/>
              <a:uLnTx/>
              <a:uFillTx/>
              <a:latin typeface="OPPOSans R" panose="00020600040101010101" pitchFamily="18" charset="-122"/>
              <a:ea typeface="OPPOSans R" panose="00020600040101010101" pitchFamily="18" charset="-122"/>
              <a:cs typeface="OPPOSans R" panose="00020600040101010101" pitchFamily="18" charset="-122"/>
              <a:sym typeface="OPPOSans R" panose="00020600040101010101" pitchFamily="18" charset="-122"/>
            </a:endParaRPr>
          </a:p>
        </p:txBody>
      </p:sp>
      <p:sp>
        <p:nvSpPr>
          <p:cNvPr id="106" name="Object 106"/>
          <p:cNvSpPr txBox="1"/>
          <p:nvPr/>
        </p:nvSpPr>
        <p:spPr>
          <a:xfrm>
            <a:off x="971451" y="4280390"/>
            <a:ext cx="4158421" cy="1130300"/>
          </a:xfrm>
          <a:prstGeom prst="rect">
            <a:avLst/>
          </a:prstGeom>
        </p:spPr>
        <p:txBody>
          <a:bodyPr vert="horz" rtlCol="0" anchor="t" anchorCtr="0">
            <a:noAutofit/>
          </a:bodyPr>
          <a:lstStyle/>
          <a:p>
            <a:pPr marL="0" marR="0" lvl="0" indent="0" algn="l" defTabSz="914400" rtl="0" eaLnBrk="1" fontAlgn="auto" latinLnBrk="0" hangingPunct="1">
              <a:lnSpc>
                <a:spcPct val="133333"/>
              </a:lnSpc>
              <a:spcBef>
                <a:spcPts val="0"/>
              </a:spcBef>
              <a:spcAft>
                <a:spcPts val="0"/>
              </a:spcAft>
              <a:buClrTx/>
              <a:buSzTx/>
              <a:buFontTx/>
              <a:buNone/>
              <a:tabLst/>
              <a:defRPr/>
            </a:pPr>
            <a:r>
              <a:rPr kumimoji="0" lang="zh-CN" altLang="en-US" sz="1400" b="0" i="0" u="none" strike="noStrike" kern="1200" cap="none" spc="13" normalizeH="0" baseline="0" noProof="0" dirty="0">
                <a:ln>
                  <a:noFill/>
                </a:ln>
                <a:solidFill>
                  <a:srgbClr val="777777"/>
                </a:solidFill>
                <a:effectLst/>
                <a:uLnTx/>
                <a:uFillTx/>
                <a:latin typeface="OPPOSans R" panose="00020600040101010101" pitchFamily="18" charset="-122"/>
                <a:ea typeface="OPPOSans R" panose="00020600040101010101" pitchFamily="18" charset="-122"/>
                <a:cs typeface="OPPOSans R" panose="00020600040101010101" pitchFamily="18" charset="-122"/>
                <a:sym typeface="OPPOSans R" panose="00020600040101010101" pitchFamily="18" charset="-122"/>
              </a:rPr>
              <a:t>请在此输入该段落的内容文本请在此输入该段落的内容文本请在此输入该段落的内容文本请在此输入该段落的内容文本 请在此输入该段落的内容文本请在此输入该段落的内容文本</a:t>
            </a:r>
            <a:endParaRPr kumimoji="0" lang="zh-CN" altLang="en-US" sz="900" b="0" i="0" u="none" strike="noStrike" kern="1200" cap="none" spc="0" normalizeH="0" baseline="0" noProof="0">
              <a:ln>
                <a:noFill/>
              </a:ln>
              <a:solidFill>
                <a:srgbClr val="000000"/>
              </a:solidFill>
              <a:effectLst/>
              <a:uLnTx/>
              <a:uFillTx/>
              <a:latin typeface="OPPOSans R" panose="00020600040101010101" pitchFamily="18" charset="-122"/>
              <a:ea typeface="OPPOSans R" panose="00020600040101010101" pitchFamily="18" charset="-122"/>
              <a:cs typeface="OPPOSans R" panose="00020600040101010101" pitchFamily="18" charset="-122"/>
              <a:sym typeface="OPPOSans R" panose="00020600040101010101" pitchFamily="18" charset="-122"/>
            </a:endParaRPr>
          </a:p>
        </p:txBody>
      </p:sp>
      <p:sp>
        <p:nvSpPr>
          <p:cNvPr id="109" name="Object 109"/>
          <p:cNvSpPr txBox="1"/>
          <p:nvPr/>
        </p:nvSpPr>
        <p:spPr>
          <a:xfrm>
            <a:off x="5685014" y="3506518"/>
            <a:ext cx="1574656" cy="336550"/>
          </a:xfrm>
          <a:prstGeom prst="rect">
            <a:avLst/>
          </a:prstGeom>
        </p:spPr>
        <p:txBody>
          <a:bodyPr vert="horz" rtlCol="0" anchor="t"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2225" b="0" i="0" u="none" strike="noStrike" kern="1200" cap="none" spc="22" normalizeH="0" baseline="0" noProof="0" dirty="0">
                <a:ln>
                  <a:noFill/>
                </a:ln>
                <a:solidFill>
                  <a:srgbClr val="FFFFFF"/>
                </a:solidFill>
                <a:effectLst/>
                <a:uLnTx/>
                <a:uFillTx/>
                <a:latin typeface="OPPOSans R" panose="00020600040101010101" pitchFamily="18" charset="-122"/>
                <a:ea typeface="OPPOSans B" panose="00020600040101010101" pitchFamily="18" charset="-122"/>
                <a:cs typeface="OPPOSans B" panose="00020600040101010101" pitchFamily="18" charset="-122"/>
                <a:sym typeface="OPPOSans R" panose="00020600040101010101" pitchFamily="18" charset="-122"/>
              </a:rPr>
              <a:t>北京分部</a:t>
            </a:r>
            <a:endParaRPr kumimoji="0" lang="zh-CN" altLang="en-US" sz="900" b="0" i="0" u="none" strike="noStrike" kern="1200" cap="none" spc="0" normalizeH="0" baseline="0" noProof="0">
              <a:ln>
                <a:noFill/>
              </a:ln>
              <a:solidFill>
                <a:srgbClr val="000000"/>
              </a:solidFill>
              <a:effectLst/>
              <a:uLnTx/>
              <a:uFillTx/>
              <a:latin typeface="OPPOSans R" panose="00020600040101010101" pitchFamily="18" charset="-122"/>
              <a:ea typeface="OPPOSans B" panose="00020600040101010101" pitchFamily="18" charset="-122"/>
              <a:cs typeface="OPPOSans B" panose="00020600040101010101" pitchFamily="18" charset="-122"/>
              <a:sym typeface="OPPOSans R" panose="00020600040101010101" pitchFamily="18" charset="-122"/>
            </a:endParaRPr>
          </a:p>
        </p:txBody>
      </p:sp>
      <p:sp>
        <p:nvSpPr>
          <p:cNvPr id="1010" name="Object 1010"/>
          <p:cNvSpPr txBox="1"/>
          <p:nvPr/>
        </p:nvSpPr>
        <p:spPr>
          <a:xfrm>
            <a:off x="5649577" y="3863259"/>
            <a:ext cx="1645531" cy="254000"/>
          </a:xfrm>
          <a:prstGeom prst="rect">
            <a:avLst/>
          </a:prstGeom>
        </p:spPr>
        <p:txBody>
          <a:bodyPr vert="horz" rtlCol="0" anchor="t"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665" b="0" i="0" u="none" strike="noStrike" kern="1200" cap="none" spc="17" normalizeH="0" baseline="0" noProof="0" dirty="0">
                <a:ln>
                  <a:noFill/>
                </a:ln>
                <a:solidFill>
                  <a:srgbClr val="FFFFFF"/>
                </a:solidFill>
                <a:effectLst/>
                <a:uLnTx/>
                <a:uFillTx/>
                <a:latin typeface="OPPOSans R" panose="00020600040101010101" pitchFamily="18" charset="-122"/>
                <a:ea typeface="OPPOSans B" panose="00020600040101010101" pitchFamily="18" charset="-122"/>
                <a:cs typeface="OPPOSans B" panose="00020600040101010101" pitchFamily="18" charset="-122"/>
                <a:sym typeface="OPPOSans R" panose="00020600040101010101" pitchFamily="18" charset="-122"/>
              </a:rPr>
              <a:t>北京市朝阳区</a:t>
            </a:r>
            <a:endParaRPr kumimoji="0" lang="zh-CN" altLang="en-US" sz="900" b="0" i="0" u="none" strike="noStrike" kern="1200" cap="none" spc="0" normalizeH="0" baseline="0" noProof="0">
              <a:ln>
                <a:noFill/>
              </a:ln>
              <a:solidFill>
                <a:srgbClr val="000000"/>
              </a:solidFill>
              <a:effectLst/>
              <a:uLnTx/>
              <a:uFillTx/>
              <a:latin typeface="OPPOSans R" panose="00020600040101010101" pitchFamily="18" charset="-122"/>
              <a:ea typeface="OPPOSans B" panose="00020600040101010101" pitchFamily="18" charset="-122"/>
              <a:cs typeface="OPPOSans B" panose="00020600040101010101" pitchFamily="18" charset="-122"/>
              <a:sym typeface="OPPOSans R" panose="00020600040101010101" pitchFamily="18" charset="-122"/>
            </a:endParaRPr>
          </a:p>
        </p:txBody>
      </p:sp>
      <p:sp>
        <p:nvSpPr>
          <p:cNvPr id="1012" name="Object 1012"/>
          <p:cNvSpPr txBox="1"/>
          <p:nvPr/>
        </p:nvSpPr>
        <p:spPr>
          <a:xfrm>
            <a:off x="6715640" y="1940342"/>
            <a:ext cx="1588363" cy="381000"/>
          </a:xfrm>
          <a:prstGeom prst="rect">
            <a:avLst/>
          </a:prstGeom>
        </p:spPr>
        <p:txBody>
          <a:bodyPr vert="horz" rtlCol="0" anchor="t"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2500" b="0" i="0" u="none" strike="noStrike" kern="1200" cap="none" spc="25" normalizeH="0" baseline="0" noProof="0" dirty="0">
                <a:ln>
                  <a:noFill/>
                </a:ln>
                <a:solidFill>
                  <a:srgbClr val="FFFFFF"/>
                </a:solidFill>
                <a:effectLst/>
                <a:uLnTx/>
                <a:uFillTx/>
                <a:latin typeface="OPPOSans R" panose="00020600040101010101" pitchFamily="18" charset="-122"/>
                <a:ea typeface="OPPOSans B" panose="00020600040101010101" pitchFamily="18" charset="-122"/>
                <a:cs typeface="OPPOSans B" panose="00020600040101010101" pitchFamily="18" charset="-122"/>
                <a:sym typeface="OPPOSans R" panose="00020600040101010101" pitchFamily="18" charset="-122"/>
              </a:rPr>
              <a:t>深圳总部</a:t>
            </a:r>
            <a:endParaRPr kumimoji="0" lang="zh-CN" altLang="en-US" sz="900" b="0" i="0" u="none" strike="noStrike" kern="1200" cap="none" spc="0" normalizeH="0" baseline="0" noProof="0">
              <a:ln>
                <a:noFill/>
              </a:ln>
              <a:solidFill>
                <a:srgbClr val="000000"/>
              </a:solidFill>
              <a:effectLst/>
              <a:uLnTx/>
              <a:uFillTx/>
              <a:latin typeface="OPPOSans R" panose="00020600040101010101" pitchFamily="18" charset="-122"/>
              <a:ea typeface="OPPOSans B" panose="00020600040101010101" pitchFamily="18" charset="-122"/>
              <a:cs typeface="OPPOSans B" panose="00020600040101010101" pitchFamily="18" charset="-122"/>
              <a:sym typeface="OPPOSans R" panose="00020600040101010101" pitchFamily="18" charset="-122"/>
            </a:endParaRPr>
          </a:p>
        </p:txBody>
      </p:sp>
      <p:sp>
        <p:nvSpPr>
          <p:cNvPr id="1013" name="Object 1013"/>
          <p:cNvSpPr txBox="1"/>
          <p:nvPr/>
        </p:nvSpPr>
        <p:spPr>
          <a:xfrm>
            <a:off x="6645571" y="2339497"/>
            <a:ext cx="1658428" cy="279400"/>
          </a:xfrm>
          <a:prstGeom prst="rect">
            <a:avLst/>
          </a:prstGeom>
        </p:spPr>
        <p:txBody>
          <a:bodyPr vert="horz" rtlCol="0" anchor="t"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860" b="0" i="0" u="none" strike="noStrike" kern="1200" cap="none" spc="19" normalizeH="0" baseline="0" noProof="0" dirty="0">
                <a:ln>
                  <a:noFill/>
                </a:ln>
                <a:solidFill>
                  <a:srgbClr val="FFFFFF"/>
                </a:solidFill>
                <a:effectLst/>
                <a:uLnTx/>
                <a:uFillTx/>
                <a:latin typeface="OPPOSans R" panose="00020600040101010101" pitchFamily="18" charset="-122"/>
                <a:ea typeface="OPPOSans B" panose="00020600040101010101" pitchFamily="18" charset="-122"/>
                <a:cs typeface="OPPOSans B" panose="00020600040101010101" pitchFamily="18" charset="-122"/>
                <a:sym typeface="OPPOSans R" panose="00020600040101010101" pitchFamily="18" charset="-122"/>
              </a:rPr>
              <a:t>深圳市南山区</a:t>
            </a:r>
            <a:endParaRPr kumimoji="0" lang="zh-CN" altLang="en-US" sz="900" b="0" i="0" u="none" strike="noStrike" kern="1200" cap="none" spc="0" normalizeH="0" baseline="0" noProof="0">
              <a:ln>
                <a:noFill/>
              </a:ln>
              <a:solidFill>
                <a:srgbClr val="000000"/>
              </a:solidFill>
              <a:effectLst/>
              <a:uLnTx/>
              <a:uFillTx/>
              <a:latin typeface="OPPOSans R" panose="00020600040101010101" pitchFamily="18" charset="-122"/>
              <a:ea typeface="OPPOSans B" panose="00020600040101010101" pitchFamily="18" charset="-122"/>
              <a:cs typeface="OPPOSans B" panose="00020600040101010101" pitchFamily="18" charset="-122"/>
              <a:sym typeface="OPPOSans R" panose="00020600040101010101" pitchFamily="18" charset="-122"/>
            </a:endParaRPr>
          </a:p>
        </p:txBody>
      </p:sp>
      <p:sp>
        <p:nvSpPr>
          <p:cNvPr id="1015" name="Object 1015"/>
          <p:cNvSpPr txBox="1"/>
          <p:nvPr/>
        </p:nvSpPr>
        <p:spPr>
          <a:xfrm>
            <a:off x="8676613" y="2124298"/>
            <a:ext cx="1388750" cy="317500"/>
          </a:xfrm>
          <a:prstGeom prst="rect">
            <a:avLst/>
          </a:prstGeom>
        </p:spPr>
        <p:txBody>
          <a:bodyPr vert="horz" rtlCol="0" anchor="t"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2105" b="0" i="0" u="none" strike="noStrike" kern="1200" cap="none" spc="21" normalizeH="0" baseline="0" noProof="0" dirty="0">
                <a:ln>
                  <a:noFill/>
                </a:ln>
                <a:solidFill>
                  <a:srgbClr val="FFFFFF"/>
                </a:solidFill>
                <a:effectLst/>
                <a:uLnTx/>
                <a:uFillTx/>
                <a:latin typeface="OPPOSans R" panose="00020600040101010101" pitchFamily="18" charset="-122"/>
                <a:ea typeface="OPPOSans B" panose="00020600040101010101" pitchFamily="18" charset="-122"/>
                <a:cs typeface="OPPOSans B" panose="00020600040101010101" pitchFamily="18" charset="-122"/>
                <a:sym typeface="OPPOSans R" panose="00020600040101010101" pitchFamily="18" charset="-122"/>
              </a:rPr>
              <a:t>上海分部</a:t>
            </a:r>
            <a:endParaRPr kumimoji="0" lang="zh-CN" altLang="en-US" sz="900" b="0" i="0" u="none" strike="noStrike" kern="1200" cap="none" spc="0" normalizeH="0" baseline="0" noProof="0">
              <a:ln>
                <a:noFill/>
              </a:ln>
              <a:solidFill>
                <a:srgbClr val="000000"/>
              </a:solidFill>
              <a:effectLst/>
              <a:uLnTx/>
              <a:uFillTx/>
              <a:latin typeface="OPPOSans R" panose="00020600040101010101" pitchFamily="18" charset="-122"/>
              <a:ea typeface="OPPOSans B" panose="00020600040101010101" pitchFamily="18" charset="-122"/>
              <a:cs typeface="OPPOSans B" panose="00020600040101010101" pitchFamily="18" charset="-122"/>
              <a:sym typeface="OPPOSans R" panose="00020600040101010101" pitchFamily="18" charset="-122"/>
            </a:endParaRPr>
          </a:p>
        </p:txBody>
      </p:sp>
      <p:sp>
        <p:nvSpPr>
          <p:cNvPr id="1016" name="Object 1016"/>
          <p:cNvSpPr txBox="1"/>
          <p:nvPr/>
        </p:nvSpPr>
        <p:spPr>
          <a:xfrm>
            <a:off x="8615759" y="2482871"/>
            <a:ext cx="1449600" cy="241300"/>
          </a:xfrm>
          <a:prstGeom prst="rect">
            <a:avLst/>
          </a:prstGeom>
        </p:spPr>
        <p:txBody>
          <a:bodyPr vert="horz" rtlCol="0" anchor="t"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560" b="0" i="0" u="none" strike="noStrike" kern="1200" cap="none" spc="16" normalizeH="0" baseline="0" noProof="0" dirty="0">
                <a:ln>
                  <a:noFill/>
                </a:ln>
                <a:solidFill>
                  <a:srgbClr val="FFFFFF"/>
                </a:solidFill>
                <a:effectLst/>
                <a:uLnTx/>
                <a:uFillTx/>
                <a:latin typeface="OPPOSans R" panose="00020600040101010101" pitchFamily="18" charset="-122"/>
                <a:ea typeface="OPPOSans B" panose="00020600040101010101" pitchFamily="18" charset="-122"/>
                <a:cs typeface="OPPOSans B" panose="00020600040101010101" pitchFamily="18" charset="-122"/>
                <a:sym typeface="OPPOSans R" panose="00020600040101010101" pitchFamily="18" charset="-122"/>
              </a:rPr>
              <a:t>上海市静安区</a:t>
            </a:r>
            <a:endParaRPr kumimoji="0" lang="zh-CN" altLang="en-US" sz="900" b="0" i="0" u="none" strike="noStrike" kern="1200" cap="none" spc="0" normalizeH="0" baseline="0" noProof="0">
              <a:ln>
                <a:noFill/>
              </a:ln>
              <a:solidFill>
                <a:srgbClr val="000000"/>
              </a:solidFill>
              <a:effectLst/>
              <a:uLnTx/>
              <a:uFillTx/>
              <a:latin typeface="OPPOSans R" panose="00020600040101010101" pitchFamily="18" charset="-122"/>
              <a:ea typeface="OPPOSans B" panose="00020600040101010101" pitchFamily="18" charset="-122"/>
              <a:cs typeface="OPPOSans B" panose="00020600040101010101" pitchFamily="18" charset="-122"/>
              <a:sym typeface="OPPOSans R" panose="00020600040101010101" pitchFamily="18" charset="-122"/>
            </a:endParaRPr>
          </a:p>
        </p:txBody>
      </p:sp>
      <p:sp>
        <p:nvSpPr>
          <p:cNvPr id="1018" name="Object 1018"/>
          <p:cNvSpPr txBox="1"/>
          <p:nvPr/>
        </p:nvSpPr>
        <p:spPr>
          <a:xfrm>
            <a:off x="9796776" y="3072570"/>
            <a:ext cx="1362506" cy="298450"/>
          </a:xfrm>
          <a:prstGeom prst="rect">
            <a:avLst/>
          </a:prstGeom>
        </p:spPr>
        <p:txBody>
          <a:bodyPr vert="horz" rtlCol="0" anchor="t"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930" b="0" i="0" u="none" strike="noStrike" kern="1200" cap="none" spc="19" normalizeH="0" baseline="0" noProof="0" dirty="0">
                <a:ln>
                  <a:noFill/>
                </a:ln>
                <a:solidFill>
                  <a:srgbClr val="FFFFFF"/>
                </a:solidFill>
                <a:effectLst/>
                <a:uLnTx/>
                <a:uFillTx/>
                <a:latin typeface="OPPOSans R" panose="00020600040101010101" pitchFamily="18" charset="-122"/>
                <a:ea typeface="OPPOSans B" panose="00020600040101010101" pitchFamily="18" charset="-122"/>
                <a:cs typeface="OPPOSans B" panose="00020600040101010101" pitchFamily="18" charset="-122"/>
                <a:sym typeface="OPPOSans R" panose="00020600040101010101" pitchFamily="18" charset="-122"/>
              </a:rPr>
              <a:t>广州分部</a:t>
            </a:r>
            <a:endParaRPr kumimoji="0" lang="zh-CN" altLang="en-US" sz="900" b="0" i="0" u="none" strike="noStrike" kern="1200" cap="none" spc="0" normalizeH="0" baseline="0" noProof="0">
              <a:ln>
                <a:noFill/>
              </a:ln>
              <a:solidFill>
                <a:srgbClr val="000000"/>
              </a:solidFill>
              <a:effectLst/>
              <a:uLnTx/>
              <a:uFillTx/>
              <a:latin typeface="OPPOSans R" panose="00020600040101010101" pitchFamily="18" charset="-122"/>
              <a:ea typeface="OPPOSans B" panose="00020600040101010101" pitchFamily="18" charset="-122"/>
              <a:cs typeface="OPPOSans B" panose="00020600040101010101" pitchFamily="18" charset="-122"/>
              <a:sym typeface="OPPOSans R" panose="00020600040101010101" pitchFamily="18" charset="-122"/>
            </a:endParaRPr>
          </a:p>
        </p:txBody>
      </p:sp>
      <p:sp>
        <p:nvSpPr>
          <p:cNvPr id="1019" name="Object 1019"/>
          <p:cNvSpPr txBox="1"/>
          <p:nvPr/>
        </p:nvSpPr>
        <p:spPr>
          <a:xfrm>
            <a:off x="9867842" y="3375349"/>
            <a:ext cx="1261289" cy="203200"/>
          </a:xfrm>
          <a:prstGeom prst="rect">
            <a:avLst/>
          </a:prstGeom>
        </p:spPr>
        <p:txBody>
          <a:bodyPr vert="horz" rtlCol="0" anchor="t"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340" b="0" i="0" u="none" strike="noStrike" kern="1200" cap="none" spc="13" normalizeH="0" baseline="0" noProof="0" dirty="0">
                <a:ln>
                  <a:noFill/>
                </a:ln>
                <a:solidFill>
                  <a:srgbClr val="FFFFFF"/>
                </a:solidFill>
                <a:effectLst/>
                <a:uLnTx/>
                <a:uFillTx/>
                <a:latin typeface="OPPOSans R" panose="00020600040101010101" pitchFamily="18" charset="-122"/>
                <a:ea typeface="OPPOSans B" panose="00020600040101010101" pitchFamily="18" charset="-122"/>
                <a:cs typeface="OPPOSans B" panose="00020600040101010101" pitchFamily="18" charset="-122"/>
                <a:sym typeface="OPPOSans R" panose="00020600040101010101" pitchFamily="18" charset="-122"/>
              </a:rPr>
              <a:t>广州市越秀区</a:t>
            </a:r>
            <a:endParaRPr kumimoji="0" lang="zh-CN" altLang="en-US" sz="900" b="0" i="0" u="none" strike="noStrike" kern="1200" cap="none" spc="0" normalizeH="0" baseline="0" noProof="0">
              <a:ln>
                <a:noFill/>
              </a:ln>
              <a:solidFill>
                <a:srgbClr val="000000"/>
              </a:solidFill>
              <a:effectLst/>
              <a:uLnTx/>
              <a:uFillTx/>
              <a:latin typeface="OPPOSans R" panose="00020600040101010101" pitchFamily="18" charset="-122"/>
              <a:ea typeface="OPPOSans B" panose="00020600040101010101" pitchFamily="18" charset="-122"/>
              <a:cs typeface="OPPOSans B" panose="00020600040101010101" pitchFamily="18" charset="-122"/>
              <a:sym typeface="OPPOSans R" panose="00020600040101010101" pitchFamily="18" charset="-122"/>
            </a:endParaRPr>
          </a:p>
        </p:txBody>
      </p:sp>
      <p:sp>
        <p:nvSpPr>
          <p:cNvPr id="1021" name="Object 1021"/>
          <p:cNvSpPr txBox="1"/>
          <p:nvPr/>
        </p:nvSpPr>
        <p:spPr>
          <a:xfrm>
            <a:off x="9699109" y="4097736"/>
            <a:ext cx="1066846" cy="247650"/>
          </a:xfrm>
          <a:prstGeom prst="rect">
            <a:avLst/>
          </a:prstGeom>
        </p:spPr>
        <p:txBody>
          <a:bodyPr vert="horz" rtlCol="0" anchor="t"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630" b="0" i="0" u="none" strike="noStrike" kern="1200" cap="none" spc="16" normalizeH="0" baseline="0" noProof="0" dirty="0">
                <a:ln>
                  <a:noFill/>
                </a:ln>
                <a:solidFill>
                  <a:srgbClr val="FFFFFF"/>
                </a:solidFill>
                <a:effectLst/>
                <a:uLnTx/>
                <a:uFillTx/>
                <a:latin typeface="OPPOSans R" panose="00020600040101010101" pitchFamily="18" charset="-122"/>
                <a:ea typeface="OPPOSans B" panose="00020600040101010101" pitchFamily="18" charset="-122"/>
                <a:cs typeface="OPPOSans B" panose="00020600040101010101" pitchFamily="18" charset="-122"/>
                <a:sym typeface="OPPOSans R" panose="00020600040101010101" pitchFamily="18" charset="-122"/>
              </a:rPr>
              <a:t>长沙分部</a:t>
            </a:r>
            <a:endParaRPr kumimoji="0" lang="zh-CN" altLang="en-US" sz="900" b="0" i="0" u="none" strike="noStrike" kern="1200" cap="none" spc="0" normalizeH="0" baseline="0" noProof="0">
              <a:ln>
                <a:noFill/>
              </a:ln>
              <a:solidFill>
                <a:srgbClr val="000000"/>
              </a:solidFill>
              <a:effectLst/>
              <a:uLnTx/>
              <a:uFillTx/>
              <a:latin typeface="OPPOSans R" panose="00020600040101010101" pitchFamily="18" charset="-122"/>
              <a:ea typeface="OPPOSans B" panose="00020600040101010101" pitchFamily="18" charset="-122"/>
              <a:cs typeface="OPPOSans B" panose="00020600040101010101" pitchFamily="18" charset="-122"/>
              <a:sym typeface="OPPOSans R" panose="00020600040101010101" pitchFamily="18" charset="-122"/>
            </a:endParaRPr>
          </a:p>
        </p:txBody>
      </p:sp>
      <p:sp>
        <p:nvSpPr>
          <p:cNvPr id="1022" name="Object 1022"/>
          <p:cNvSpPr txBox="1"/>
          <p:nvPr/>
        </p:nvSpPr>
        <p:spPr>
          <a:xfrm>
            <a:off x="9676368" y="4363728"/>
            <a:ext cx="1112329" cy="184150"/>
          </a:xfrm>
          <a:prstGeom prst="rect">
            <a:avLst/>
          </a:prstGeom>
        </p:spPr>
        <p:txBody>
          <a:bodyPr vert="horz" rtlCol="0" anchor="t"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210" b="0" i="0" u="none" strike="noStrike" kern="1200" cap="none" spc="12" normalizeH="0" baseline="0" noProof="0" dirty="0">
                <a:ln>
                  <a:noFill/>
                </a:ln>
                <a:solidFill>
                  <a:srgbClr val="FFFFFF"/>
                </a:solidFill>
                <a:effectLst/>
                <a:uLnTx/>
                <a:uFillTx/>
                <a:latin typeface="OPPOSans R" panose="00020600040101010101" pitchFamily="18" charset="-122"/>
                <a:ea typeface="OPPOSans B" panose="00020600040101010101" pitchFamily="18" charset="-122"/>
                <a:cs typeface="OPPOSans B" panose="00020600040101010101" pitchFamily="18" charset="-122"/>
                <a:sym typeface="OPPOSans R" panose="00020600040101010101" pitchFamily="18" charset="-122"/>
              </a:rPr>
              <a:t>长沙市雨花区</a:t>
            </a:r>
            <a:endParaRPr kumimoji="0" lang="zh-CN" altLang="en-US" sz="900" b="0" i="0" u="none" strike="noStrike" kern="1200" cap="none" spc="0" normalizeH="0" baseline="0" noProof="0">
              <a:ln>
                <a:noFill/>
              </a:ln>
              <a:solidFill>
                <a:srgbClr val="000000"/>
              </a:solidFill>
              <a:effectLst/>
              <a:uLnTx/>
              <a:uFillTx/>
              <a:latin typeface="OPPOSans R" panose="00020600040101010101" pitchFamily="18" charset="-122"/>
              <a:ea typeface="OPPOSans B" panose="00020600040101010101" pitchFamily="18" charset="-122"/>
              <a:cs typeface="OPPOSans B" panose="00020600040101010101" pitchFamily="18" charset="-122"/>
              <a:sym typeface="OPPOSans R" panose="00020600040101010101" pitchFamily="18" charset="-122"/>
            </a:endParaRPr>
          </a:p>
        </p:txBody>
      </p:sp>
      <p:cxnSp>
        <p:nvCxnSpPr>
          <p:cNvPr id="8" name="直接连接符 7">
            <a:extLst>
              <a:ext uri="{FF2B5EF4-FFF2-40B4-BE49-F238E27FC236}">
                <a16:creationId xmlns:a16="http://schemas.microsoft.com/office/drawing/2014/main" id="{7164D579-F57E-480E-90E4-993EBDEDE936}"/>
              </a:ext>
            </a:extLst>
          </p:cNvPr>
          <p:cNvCxnSpPr/>
          <p:nvPr/>
        </p:nvCxnSpPr>
        <p:spPr>
          <a:xfrm>
            <a:off x="1022251" y="2704309"/>
            <a:ext cx="4107621" cy="0"/>
          </a:xfrm>
          <a:prstGeom prst="line">
            <a:avLst/>
          </a:prstGeom>
        </p:spPr>
        <p:style>
          <a:lnRef idx="1">
            <a:schemeClr val="accent1"/>
          </a:lnRef>
          <a:fillRef idx="0">
            <a:schemeClr val="accent1"/>
          </a:fillRef>
          <a:effectRef idx="0">
            <a:schemeClr val="accent1"/>
          </a:effectRef>
          <a:fontRef idx="minor">
            <a:schemeClr val="tx1"/>
          </a:fontRef>
        </p:style>
      </p:cxnSp>
    </p:spTree>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8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 name="Object 102"/>
          <p:cNvSpPr txBox="1"/>
          <p:nvPr/>
        </p:nvSpPr>
        <p:spPr>
          <a:xfrm>
            <a:off x="691925" y="830101"/>
            <a:ext cx="4558600" cy="654050"/>
          </a:xfrm>
          <a:prstGeom prst="rect">
            <a:avLst/>
          </a:prstGeom>
        </p:spPr>
        <p:txBody>
          <a:bodyPr vert="horz" rtlCol="0" anchor="t" anchorCtr="0">
            <a:noAutofit/>
          </a:bodyPr>
          <a:lstStyle/>
          <a:p>
            <a:pPr marL="0" marR="0" lvl="0" indent="0" algn="l" defTabSz="914400" rtl="0" eaLnBrk="1" fontAlgn="auto" latinLnBrk="0" hangingPunct="1">
              <a:lnSpc>
                <a:spcPct val="95000"/>
              </a:lnSpc>
              <a:spcBef>
                <a:spcPts val="0"/>
              </a:spcBef>
              <a:spcAft>
                <a:spcPts val="0"/>
              </a:spcAft>
              <a:buClrTx/>
              <a:buSzTx/>
              <a:buFontTx/>
              <a:buNone/>
              <a:tabLst/>
              <a:defRPr/>
            </a:pPr>
            <a:r>
              <a:rPr kumimoji="0" lang="zh-CN" altLang="en-US" sz="4535" b="0" i="0" u="none" strike="noStrike" kern="1200" cap="none" spc="114" normalizeH="0" baseline="0" noProof="0" dirty="0">
                <a:ln>
                  <a:noFill/>
                </a:ln>
                <a:solidFill>
                  <a:srgbClr val="000000"/>
                </a:solidFill>
                <a:effectLst/>
                <a:uLnTx/>
                <a:uFillTx/>
                <a:latin typeface="OPPOSans R" panose="00020600040101010101" pitchFamily="18" charset="-122"/>
                <a:ea typeface="OPPOSans B" panose="00020600040101010101" pitchFamily="18" charset="-122"/>
                <a:cs typeface="OPPOSans B" panose="00020600040101010101" pitchFamily="18" charset="-122"/>
                <a:sym typeface="OPPOSans R" panose="00020600040101010101" pitchFamily="18" charset="-122"/>
              </a:rPr>
              <a:t>秋叶业务板块</a:t>
            </a:r>
            <a:endParaRPr kumimoji="0" lang="zh-CN" altLang="en-US" sz="900" b="0" i="0" u="none" strike="noStrike" kern="1200" cap="none" spc="0" normalizeH="0" baseline="0" noProof="0" dirty="0">
              <a:ln>
                <a:noFill/>
              </a:ln>
              <a:solidFill>
                <a:srgbClr val="000000"/>
              </a:solidFill>
              <a:effectLst/>
              <a:uLnTx/>
              <a:uFillTx/>
              <a:latin typeface="OPPOSans R" panose="00020600040101010101" pitchFamily="18" charset="-122"/>
              <a:ea typeface="OPPOSans B" panose="00020600040101010101" pitchFamily="18" charset="-122"/>
              <a:cs typeface="OPPOSans B" panose="00020600040101010101" pitchFamily="18" charset="-122"/>
              <a:sym typeface="OPPOSans R" panose="00020600040101010101" pitchFamily="18" charset="-122"/>
            </a:endParaRPr>
          </a:p>
        </p:txBody>
      </p:sp>
      <p:sp>
        <p:nvSpPr>
          <p:cNvPr id="103" name="Object 103"/>
          <p:cNvSpPr txBox="1"/>
          <p:nvPr/>
        </p:nvSpPr>
        <p:spPr>
          <a:xfrm>
            <a:off x="7053927" y="1777048"/>
            <a:ext cx="2482850" cy="431800"/>
          </a:xfrm>
          <a:prstGeom prst="rect">
            <a:avLst/>
          </a:prstGeom>
        </p:spPr>
        <p:txBody>
          <a:bodyPr vert="horz" rtlCol="0" anchor="t" anchorCtr="0">
            <a:noAutofit/>
          </a:bodyPr>
          <a:lstStyle/>
          <a:p>
            <a:pPr marL="0" marR="0" lvl="0" indent="0" algn="l" defTabSz="914400" rtl="0" eaLnBrk="1" fontAlgn="auto" latinLnBrk="0" hangingPunct="1">
              <a:lnSpc>
                <a:spcPct val="118333"/>
              </a:lnSpc>
              <a:spcBef>
                <a:spcPts val="0"/>
              </a:spcBef>
              <a:spcAft>
                <a:spcPts val="0"/>
              </a:spcAft>
              <a:buClrTx/>
              <a:buSzTx/>
              <a:buFontTx/>
              <a:buNone/>
              <a:tabLst/>
              <a:defRPr/>
            </a:pPr>
            <a:r>
              <a:rPr kumimoji="0" lang="en-US" altLang="zh-CN" sz="1200" b="0" i="0" u="none" strike="noStrike" kern="1200" cap="none" spc="12" normalizeH="0" baseline="0" noProof="0" dirty="0">
                <a:ln>
                  <a:noFill/>
                </a:ln>
                <a:solidFill>
                  <a:srgbClr val="777777"/>
                </a:solidFill>
                <a:effectLst/>
                <a:uLnTx/>
                <a:uFillTx/>
                <a:latin typeface="OPPOSans R" panose="00020600040101010101" pitchFamily="18" charset="-122"/>
                <a:ea typeface="OPPOSans B" panose="00020600040101010101" pitchFamily="18" charset="-122"/>
                <a:cs typeface="OPPOSans B" panose="00020600040101010101" pitchFamily="18" charset="-122"/>
                <a:sym typeface="OPPOSans R" panose="00020600040101010101" pitchFamily="18" charset="-122"/>
              </a:rPr>
              <a:t>- </a:t>
            </a:r>
            <a:r>
              <a:rPr kumimoji="0" lang="zh-CN" altLang="en-US" sz="1200" b="0" i="0" u="none" strike="noStrike" kern="1200" cap="none" spc="12" normalizeH="0" baseline="0" noProof="0" dirty="0">
                <a:ln>
                  <a:noFill/>
                </a:ln>
                <a:solidFill>
                  <a:srgbClr val="777777"/>
                </a:solidFill>
                <a:effectLst/>
                <a:uLnTx/>
                <a:uFillTx/>
                <a:latin typeface="OPPOSans R" panose="00020600040101010101" pitchFamily="18" charset="-122"/>
                <a:ea typeface="OPPOSans B" panose="00020600040101010101" pitchFamily="18" charset="-122"/>
                <a:cs typeface="OPPOSans B" panose="00020600040101010101" pitchFamily="18" charset="-122"/>
                <a:sym typeface="OPPOSans R" panose="00020600040101010101" pitchFamily="18" charset="-122"/>
              </a:rPr>
              <a:t>资深法务团队</a:t>
            </a:r>
            <a:endParaRPr kumimoji="0" lang="zh-CN" altLang="en-US" sz="1200" b="0" i="0" u="none" strike="noStrike" kern="1200" cap="none" spc="0" normalizeH="0" baseline="0" noProof="0">
              <a:ln>
                <a:noFill/>
              </a:ln>
              <a:solidFill>
                <a:srgbClr val="000000"/>
              </a:solidFill>
              <a:effectLst/>
              <a:uLnTx/>
              <a:uFillTx/>
              <a:latin typeface="OPPOSans R" panose="00020600040101010101" pitchFamily="18" charset="-122"/>
              <a:ea typeface="OPPOSans B" panose="00020600040101010101" pitchFamily="18" charset="-122"/>
              <a:cs typeface="OPPOSans B" panose="00020600040101010101" pitchFamily="18" charset="-122"/>
              <a:sym typeface="OPPOSans R" panose="00020600040101010101" pitchFamily="18" charset="-122"/>
            </a:endParaRPr>
          </a:p>
          <a:p>
            <a:pPr marL="0" marR="0" lvl="0" indent="0" algn="l" defTabSz="914400" rtl="0" eaLnBrk="1" fontAlgn="auto" latinLnBrk="0" hangingPunct="1">
              <a:lnSpc>
                <a:spcPct val="118333"/>
              </a:lnSpc>
              <a:spcBef>
                <a:spcPts val="0"/>
              </a:spcBef>
              <a:spcAft>
                <a:spcPts val="0"/>
              </a:spcAft>
              <a:buClrTx/>
              <a:buSzTx/>
              <a:buFontTx/>
              <a:buNone/>
              <a:tabLst/>
              <a:defRPr/>
            </a:pPr>
            <a:r>
              <a:rPr kumimoji="0" lang="en-US" altLang="zh-CN" sz="1200" b="0" i="0" u="none" strike="noStrike" kern="1200" cap="none" spc="12" normalizeH="0" baseline="0" noProof="0" dirty="0">
                <a:ln>
                  <a:noFill/>
                </a:ln>
                <a:solidFill>
                  <a:srgbClr val="777777"/>
                </a:solidFill>
                <a:effectLst/>
                <a:uLnTx/>
                <a:uFillTx/>
                <a:latin typeface="OPPOSans R" panose="00020600040101010101" pitchFamily="18" charset="-122"/>
                <a:ea typeface="OPPOSans B" panose="00020600040101010101" pitchFamily="18" charset="-122"/>
                <a:cs typeface="OPPOSans B" panose="00020600040101010101" pitchFamily="18" charset="-122"/>
                <a:sym typeface="OPPOSans R" panose="00020600040101010101" pitchFamily="18" charset="-122"/>
              </a:rPr>
              <a:t>- </a:t>
            </a:r>
            <a:r>
              <a:rPr kumimoji="0" lang="zh-CN" altLang="en-US" sz="1200" b="0" i="0" u="none" strike="noStrike" kern="1200" cap="none" spc="12" normalizeH="0" baseline="0" noProof="0" dirty="0">
                <a:ln>
                  <a:noFill/>
                </a:ln>
                <a:solidFill>
                  <a:srgbClr val="777777"/>
                </a:solidFill>
                <a:effectLst/>
                <a:uLnTx/>
                <a:uFillTx/>
                <a:latin typeface="OPPOSans R" panose="00020600040101010101" pitchFamily="18" charset="-122"/>
                <a:ea typeface="OPPOSans B" panose="00020600040101010101" pitchFamily="18" charset="-122"/>
                <a:cs typeface="OPPOSans B" panose="00020600040101010101" pitchFamily="18" charset="-122"/>
                <a:sym typeface="OPPOSans R" panose="00020600040101010101" pitchFamily="18" charset="-122"/>
              </a:rPr>
              <a:t>知识产权法律服务</a:t>
            </a:r>
            <a:endParaRPr kumimoji="0" lang="zh-CN" altLang="en-US" sz="900" b="0" i="0" u="none" strike="noStrike" kern="1200" cap="none" spc="0" normalizeH="0" baseline="0" noProof="0">
              <a:ln>
                <a:noFill/>
              </a:ln>
              <a:solidFill>
                <a:srgbClr val="000000"/>
              </a:solidFill>
              <a:effectLst/>
              <a:uLnTx/>
              <a:uFillTx/>
              <a:latin typeface="OPPOSans R" panose="00020600040101010101" pitchFamily="18" charset="-122"/>
              <a:ea typeface="OPPOSans B" panose="00020600040101010101" pitchFamily="18" charset="-122"/>
              <a:cs typeface="OPPOSans B" panose="00020600040101010101" pitchFamily="18" charset="-122"/>
              <a:sym typeface="OPPOSans R" panose="00020600040101010101" pitchFamily="18" charset="-122"/>
            </a:endParaRPr>
          </a:p>
        </p:txBody>
      </p:sp>
      <p:sp>
        <p:nvSpPr>
          <p:cNvPr id="106" name="Object 106"/>
          <p:cNvSpPr txBox="1"/>
          <p:nvPr/>
        </p:nvSpPr>
        <p:spPr>
          <a:xfrm>
            <a:off x="7151512" y="1490501"/>
            <a:ext cx="1834084" cy="228600"/>
          </a:xfrm>
          <a:prstGeom prst="rect">
            <a:avLst/>
          </a:prstGeom>
        </p:spPr>
        <p:txBody>
          <a:bodyPr vert="horz"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500" b="0" i="0" u="none" strike="noStrike" kern="1200" cap="none" spc="38" normalizeH="0" baseline="0" noProof="0" dirty="0">
                <a:ln>
                  <a:noFill/>
                </a:ln>
                <a:solidFill>
                  <a:srgbClr val="50C9A8"/>
                </a:solidFill>
                <a:effectLst/>
                <a:uLnTx/>
                <a:uFillTx/>
                <a:latin typeface="OPPOSans R" panose="00020600040101010101" pitchFamily="18" charset="-122"/>
                <a:ea typeface="OPPOSans B" panose="00020600040101010101" pitchFamily="18" charset="-122"/>
                <a:cs typeface="OPPOSans B" panose="00020600040101010101" pitchFamily="18" charset="-122"/>
                <a:sym typeface="OPPOSans R" panose="00020600040101010101" pitchFamily="18" charset="-122"/>
              </a:rPr>
              <a:t>知识产权法务</a:t>
            </a:r>
            <a:endParaRPr kumimoji="0" lang="zh-CN" altLang="en-US" sz="900" b="0" i="0" u="none" strike="noStrike" kern="1200" cap="none" spc="0" normalizeH="0" baseline="0" noProof="0" dirty="0">
              <a:ln>
                <a:noFill/>
              </a:ln>
              <a:solidFill>
                <a:srgbClr val="50C9A8"/>
              </a:solidFill>
              <a:effectLst/>
              <a:uLnTx/>
              <a:uFillTx/>
              <a:latin typeface="OPPOSans R" panose="00020600040101010101" pitchFamily="18" charset="-122"/>
              <a:ea typeface="OPPOSans B" panose="00020600040101010101" pitchFamily="18" charset="-122"/>
              <a:cs typeface="OPPOSans B" panose="00020600040101010101" pitchFamily="18" charset="-122"/>
              <a:sym typeface="OPPOSans R" panose="00020600040101010101" pitchFamily="18" charset="-122"/>
            </a:endParaRPr>
          </a:p>
        </p:txBody>
      </p:sp>
      <p:sp>
        <p:nvSpPr>
          <p:cNvPr id="107" name="Object 107"/>
          <p:cNvSpPr txBox="1"/>
          <p:nvPr/>
        </p:nvSpPr>
        <p:spPr>
          <a:xfrm>
            <a:off x="8497521" y="3198523"/>
            <a:ext cx="2212153" cy="355600"/>
          </a:xfrm>
          <a:prstGeom prst="rect">
            <a:avLst/>
          </a:prstGeom>
        </p:spPr>
        <p:txBody>
          <a:bodyPr vert="horz"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200" b="0" i="0" u="none" strike="noStrike" kern="1200" cap="none" spc="12" normalizeH="0" baseline="0" noProof="0" dirty="0">
                <a:ln>
                  <a:noFill/>
                </a:ln>
                <a:solidFill>
                  <a:srgbClr val="777777"/>
                </a:solidFill>
                <a:effectLst/>
                <a:uLnTx/>
                <a:uFillTx/>
                <a:latin typeface="OPPOSans R" panose="00020600040101010101" pitchFamily="18" charset="-122"/>
                <a:ea typeface="OPPOSans B" panose="00020600040101010101" pitchFamily="18" charset="-122"/>
                <a:cs typeface="OPPOSans B" panose="00020600040101010101" pitchFamily="18" charset="-122"/>
                <a:sym typeface="OPPOSans R" panose="00020600040101010101" pitchFamily="18" charset="-122"/>
              </a:rPr>
              <a:t>- </a:t>
            </a:r>
            <a:r>
              <a:rPr kumimoji="0" lang="zh-CN" altLang="en-US" sz="1200" b="0" i="0" u="none" strike="noStrike" kern="1200" cap="none" spc="12" normalizeH="0" baseline="0" noProof="0" dirty="0">
                <a:ln>
                  <a:noFill/>
                </a:ln>
                <a:solidFill>
                  <a:srgbClr val="777777"/>
                </a:solidFill>
                <a:effectLst/>
                <a:uLnTx/>
                <a:uFillTx/>
                <a:latin typeface="OPPOSans R" panose="00020600040101010101" pitchFamily="18" charset="-122"/>
                <a:ea typeface="OPPOSans B" panose="00020600040101010101" pitchFamily="18" charset="-122"/>
                <a:cs typeface="OPPOSans B" panose="00020600040101010101" pitchFamily="18" charset="-122"/>
                <a:sym typeface="OPPOSans R" panose="00020600040101010101" pitchFamily="18" charset="-122"/>
              </a:rPr>
              <a:t>知识产权交易</a:t>
            </a:r>
            <a:endParaRPr kumimoji="0" lang="zh-CN" altLang="en-US" sz="1200" b="0" i="0" u="none" strike="noStrike" kern="1200" cap="none" spc="0" normalizeH="0" baseline="0" noProof="0">
              <a:ln>
                <a:noFill/>
              </a:ln>
              <a:solidFill>
                <a:srgbClr val="000000"/>
              </a:solidFill>
              <a:effectLst/>
              <a:uLnTx/>
              <a:uFillTx/>
              <a:latin typeface="OPPOSans R" panose="00020600040101010101" pitchFamily="18" charset="-122"/>
              <a:ea typeface="OPPOSans B" panose="00020600040101010101" pitchFamily="18" charset="-122"/>
              <a:cs typeface="OPPOSans B" panose="00020600040101010101" pitchFamily="18" charset="-122"/>
              <a:sym typeface="OPPOSans R" panose="00020600040101010101" pitchFamily="18" charset="-122"/>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200" b="0" i="0" u="none" strike="noStrike" kern="1200" cap="none" spc="12" normalizeH="0" baseline="0" noProof="0" dirty="0">
                <a:ln>
                  <a:noFill/>
                </a:ln>
                <a:solidFill>
                  <a:srgbClr val="777777"/>
                </a:solidFill>
                <a:effectLst/>
                <a:uLnTx/>
                <a:uFillTx/>
                <a:latin typeface="OPPOSans R" panose="00020600040101010101" pitchFamily="18" charset="-122"/>
                <a:ea typeface="OPPOSans B" panose="00020600040101010101" pitchFamily="18" charset="-122"/>
                <a:cs typeface="OPPOSans B" panose="00020600040101010101" pitchFamily="18" charset="-122"/>
                <a:sym typeface="OPPOSans R" panose="00020600040101010101" pitchFamily="18" charset="-122"/>
              </a:rPr>
              <a:t>- </a:t>
            </a:r>
            <a:r>
              <a:rPr kumimoji="0" lang="zh-CN" altLang="en-US" sz="1200" b="0" i="0" u="none" strike="noStrike" kern="1200" cap="none" spc="12" normalizeH="0" baseline="0" noProof="0" dirty="0">
                <a:ln>
                  <a:noFill/>
                </a:ln>
                <a:solidFill>
                  <a:srgbClr val="777777"/>
                </a:solidFill>
                <a:effectLst/>
                <a:uLnTx/>
                <a:uFillTx/>
                <a:latin typeface="OPPOSans R" panose="00020600040101010101" pitchFamily="18" charset="-122"/>
                <a:ea typeface="OPPOSans B" panose="00020600040101010101" pitchFamily="18" charset="-122"/>
                <a:cs typeface="OPPOSans B" panose="00020600040101010101" pitchFamily="18" charset="-122"/>
                <a:sym typeface="OPPOSans R" panose="00020600040101010101" pitchFamily="18" charset="-122"/>
              </a:rPr>
              <a:t>知识产权转让</a:t>
            </a:r>
            <a:endParaRPr kumimoji="0" lang="zh-CN" altLang="en-US" sz="900" b="0" i="0" u="none" strike="noStrike" kern="1200" cap="none" spc="0" normalizeH="0" baseline="0" noProof="0">
              <a:ln>
                <a:noFill/>
              </a:ln>
              <a:solidFill>
                <a:srgbClr val="000000"/>
              </a:solidFill>
              <a:effectLst/>
              <a:uLnTx/>
              <a:uFillTx/>
              <a:latin typeface="OPPOSans R" panose="00020600040101010101" pitchFamily="18" charset="-122"/>
              <a:ea typeface="OPPOSans B" panose="00020600040101010101" pitchFamily="18" charset="-122"/>
              <a:cs typeface="OPPOSans B" panose="00020600040101010101" pitchFamily="18" charset="-122"/>
              <a:sym typeface="OPPOSans R" panose="00020600040101010101" pitchFamily="18" charset="-122"/>
            </a:endParaRPr>
          </a:p>
        </p:txBody>
      </p:sp>
      <p:sp>
        <p:nvSpPr>
          <p:cNvPr id="1010" name="Object 1010"/>
          <p:cNvSpPr txBox="1"/>
          <p:nvPr/>
        </p:nvSpPr>
        <p:spPr>
          <a:xfrm>
            <a:off x="8601456" y="2898507"/>
            <a:ext cx="1678347" cy="228600"/>
          </a:xfrm>
          <a:prstGeom prst="rect">
            <a:avLst/>
          </a:prstGeom>
        </p:spPr>
        <p:txBody>
          <a:bodyPr vert="horz"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500" b="0" i="0" u="none" strike="noStrike" kern="1200" cap="none" spc="38" normalizeH="0" baseline="0" noProof="0" dirty="0">
                <a:ln>
                  <a:noFill/>
                </a:ln>
                <a:solidFill>
                  <a:srgbClr val="F77272"/>
                </a:solidFill>
                <a:effectLst/>
                <a:uLnTx/>
                <a:uFillTx/>
                <a:latin typeface="OPPOSans R" panose="00020600040101010101" pitchFamily="18" charset="-122"/>
                <a:ea typeface="OPPOSans B" panose="00020600040101010101" pitchFamily="18" charset="-122"/>
                <a:cs typeface="OPPOSans B" panose="00020600040101010101" pitchFamily="18" charset="-122"/>
                <a:sym typeface="OPPOSans R" panose="00020600040101010101" pitchFamily="18" charset="-122"/>
              </a:rPr>
              <a:t>知识产权交易</a:t>
            </a:r>
            <a:endParaRPr kumimoji="0" lang="zh-CN" altLang="en-US" sz="900" b="0" i="0" u="none" strike="noStrike" kern="1200" cap="none" spc="0" normalizeH="0" baseline="0" noProof="0" dirty="0">
              <a:ln>
                <a:noFill/>
              </a:ln>
              <a:solidFill>
                <a:srgbClr val="F77272"/>
              </a:solidFill>
              <a:effectLst/>
              <a:uLnTx/>
              <a:uFillTx/>
              <a:latin typeface="OPPOSans R" panose="00020600040101010101" pitchFamily="18" charset="-122"/>
              <a:ea typeface="OPPOSans B" panose="00020600040101010101" pitchFamily="18" charset="-122"/>
              <a:cs typeface="OPPOSans B" panose="00020600040101010101" pitchFamily="18" charset="-122"/>
              <a:sym typeface="OPPOSans R" panose="00020600040101010101" pitchFamily="18" charset="-122"/>
            </a:endParaRPr>
          </a:p>
        </p:txBody>
      </p:sp>
      <p:sp>
        <p:nvSpPr>
          <p:cNvPr id="1011" name="Object 1011"/>
          <p:cNvSpPr txBox="1"/>
          <p:nvPr/>
        </p:nvSpPr>
        <p:spPr>
          <a:xfrm>
            <a:off x="1561812" y="2468960"/>
            <a:ext cx="2482850" cy="431800"/>
          </a:xfrm>
          <a:prstGeom prst="rect">
            <a:avLst/>
          </a:prstGeom>
        </p:spPr>
        <p:txBody>
          <a:bodyPr vert="horz" rtlCol="0" anchor="t" anchorCtr="0">
            <a:noAutofit/>
          </a:bodyPr>
          <a:lstStyle/>
          <a:p>
            <a:pPr marL="0" marR="0" lvl="0" indent="0" algn="r" defTabSz="914400" rtl="0" eaLnBrk="1" fontAlgn="auto" latinLnBrk="0" hangingPunct="1">
              <a:lnSpc>
                <a:spcPct val="118333"/>
              </a:lnSpc>
              <a:spcBef>
                <a:spcPts val="0"/>
              </a:spcBef>
              <a:spcAft>
                <a:spcPts val="0"/>
              </a:spcAft>
              <a:buClrTx/>
              <a:buSzTx/>
              <a:buFontTx/>
              <a:buNone/>
              <a:tabLst/>
              <a:defRPr/>
            </a:pPr>
            <a:r>
              <a:rPr kumimoji="0" lang="en-US" altLang="zh-CN" sz="1200" b="0" i="0" u="none" strike="noStrike" kern="1200" cap="none" spc="12" normalizeH="0" baseline="0" noProof="0" dirty="0">
                <a:ln>
                  <a:noFill/>
                </a:ln>
                <a:solidFill>
                  <a:srgbClr val="777777"/>
                </a:solidFill>
                <a:effectLst/>
                <a:uLnTx/>
                <a:uFillTx/>
                <a:latin typeface="OPPOSans R" panose="00020600040101010101" pitchFamily="18" charset="-122"/>
                <a:ea typeface="OPPOSans B" panose="00020600040101010101" pitchFamily="18" charset="-122"/>
                <a:cs typeface="OPPOSans B" panose="00020600040101010101" pitchFamily="18" charset="-122"/>
                <a:sym typeface="OPPOSans R" panose="00020600040101010101" pitchFamily="18" charset="-122"/>
              </a:rPr>
              <a:t>- </a:t>
            </a:r>
            <a:r>
              <a:rPr kumimoji="0" lang="zh-CN" altLang="en-US" sz="1200" b="0" i="0" u="none" strike="noStrike" kern="1200" cap="none" spc="12" normalizeH="0" baseline="0" noProof="0" dirty="0">
                <a:ln>
                  <a:noFill/>
                </a:ln>
                <a:solidFill>
                  <a:srgbClr val="777777"/>
                </a:solidFill>
                <a:effectLst/>
                <a:uLnTx/>
                <a:uFillTx/>
                <a:latin typeface="OPPOSans R" panose="00020600040101010101" pitchFamily="18" charset="-122"/>
                <a:ea typeface="OPPOSans B" panose="00020600040101010101" pitchFamily="18" charset="-122"/>
                <a:cs typeface="OPPOSans B" panose="00020600040101010101" pitchFamily="18" charset="-122"/>
                <a:sym typeface="OPPOSans R" panose="00020600040101010101" pitchFamily="18" charset="-122"/>
              </a:rPr>
              <a:t>知识产权产业保险</a:t>
            </a:r>
            <a:endParaRPr kumimoji="0" lang="zh-CN" altLang="en-US" sz="1200" b="0" i="0" u="none" strike="noStrike" kern="1200" cap="none" spc="0" normalizeH="0" baseline="0" noProof="0">
              <a:ln>
                <a:noFill/>
              </a:ln>
              <a:solidFill>
                <a:srgbClr val="000000"/>
              </a:solidFill>
              <a:effectLst/>
              <a:uLnTx/>
              <a:uFillTx/>
              <a:latin typeface="OPPOSans R" panose="00020600040101010101" pitchFamily="18" charset="-122"/>
              <a:ea typeface="OPPOSans B" panose="00020600040101010101" pitchFamily="18" charset="-122"/>
              <a:cs typeface="OPPOSans B" panose="00020600040101010101" pitchFamily="18" charset="-122"/>
              <a:sym typeface="OPPOSans R" panose="00020600040101010101" pitchFamily="18" charset="-122"/>
            </a:endParaRPr>
          </a:p>
          <a:p>
            <a:pPr marL="0" marR="0" lvl="0" indent="0" algn="r" defTabSz="914400" rtl="0" eaLnBrk="1" fontAlgn="auto" latinLnBrk="0" hangingPunct="1">
              <a:lnSpc>
                <a:spcPct val="118333"/>
              </a:lnSpc>
              <a:spcBef>
                <a:spcPts val="0"/>
              </a:spcBef>
              <a:spcAft>
                <a:spcPts val="0"/>
              </a:spcAft>
              <a:buClrTx/>
              <a:buSzTx/>
              <a:buFontTx/>
              <a:buNone/>
              <a:tabLst/>
              <a:defRPr/>
            </a:pPr>
            <a:r>
              <a:rPr kumimoji="0" lang="en-US" altLang="zh-CN" sz="1200" b="0" i="0" u="none" strike="noStrike" kern="1200" cap="none" spc="12" normalizeH="0" baseline="0" noProof="0" dirty="0">
                <a:ln>
                  <a:noFill/>
                </a:ln>
                <a:solidFill>
                  <a:srgbClr val="777777"/>
                </a:solidFill>
                <a:effectLst/>
                <a:uLnTx/>
                <a:uFillTx/>
                <a:latin typeface="OPPOSans R" panose="00020600040101010101" pitchFamily="18" charset="-122"/>
                <a:ea typeface="OPPOSans B" panose="00020600040101010101" pitchFamily="18" charset="-122"/>
                <a:cs typeface="OPPOSans B" panose="00020600040101010101" pitchFamily="18" charset="-122"/>
                <a:sym typeface="OPPOSans R" panose="00020600040101010101" pitchFamily="18" charset="-122"/>
              </a:rPr>
              <a:t>- </a:t>
            </a:r>
            <a:r>
              <a:rPr kumimoji="0" lang="zh-CN" altLang="en-US" sz="1200" b="0" i="0" u="none" strike="noStrike" kern="1200" cap="none" spc="12" normalizeH="0" baseline="0" noProof="0" dirty="0">
                <a:ln>
                  <a:noFill/>
                </a:ln>
                <a:solidFill>
                  <a:srgbClr val="777777"/>
                </a:solidFill>
                <a:effectLst/>
                <a:uLnTx/>
                <a:uFillTx/>
                <a:latin typeface="OPPOSans R" panose="00020600040101010101" pitchFamily="18" charset="-122"/>
                <a:ea typeface="OPPOSans B" panose="00020600040101010101" pitchFamily="18" charset="-122"/>
                <a:cs typeface="OPPOSans B" panose="00020600040101010101" pitchFamily="18" charset="-122"/>
                <a:sym typeface="OPPOSans R" panose="00020600040101010101" pitchFamily="18" charset="-122"/>
              </a:rPr>
              <a:t>金融保险产业保险</a:t>
            </a:r>
            <a:endParaRPr kumimoji="0" lang="zh-CN" altLang="en-US" sz="900" b="0" i="0" u="none" strike="noStrike" kern="1200" cap="none" spc="0" normalizeH="0" baseline="0" noProof="0">
              <a:ln>
                <a:noFill/>
              </a:ln>
              <a:solidFill>
                <a:srgbClr val="000000"/>
              </a:solidFill>
              <a:effectLst/>
              <a:uLnTx/>
              <a:uFillTx/>
              <a:latin typeface="OPPOSans R" panose="00020600040101010101" pitchFamily="18" charset="-122"/>
              <a:ea typeface="OPPOSans B" panose="00020600040101010101" pitchFamily="18" charset="-122"/>
              <a:cs typeface="OPPOSans B" panose="00020600040101010101" pitchFamily="18" charset="-122"/>
              <a:sym typeface="OPPOSans R" panose="00020600040101010101" pitchFamily="18" charset="-122"/>
            </a:endParaRPr>
          </a:p>
        </p:txBody>
      </p:sp>
      <p:sp>
        <p:nvSpPr>
          <p:cNvPr id="1014" name="Object 1014"/>
          <p:cNvSpPr txBox="1"/>
          <p:nvPr/>
        </p:nvSpPr>
        <p:spPr>
          <a:xfrm>
            <a:off x="2203162" y="2184054"/>
            <a:ext cx="1841500" cy="228600"/>
          </a:xfrm>
          <a:prstGeom prst="rect">
            <a:avLst/>
          </a:prstGeom>
        </p:spPr>
        <p:txBody>
          <a:bodyPr vert="horz" rtlCol="0" anchor="t"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zh-CN" altLang="en-US" sz="1500" b="0" i="0" u="none" strike="noStrike" kern="1200" cap="none" spc="38" normalizeH="0" baseline="0" noProof="0" dirty="0">
                <a:ln>
                  <a:noFill/>
                </a:ln>
                <a:solidFill>
                  <a:srgbClr val="795FE5"/>
                </a:solidFill>
                <a:effectLst/>
                <a:uLnTx/>
                <a:uFillTx/>
                <a:latin typeface="OPPOSans R" panose="00020600040101010101" pitchFamily="18" charset="-122"/>
                <a:ea typeface="OPPOSans B" panose="00020600040101010101" pitchFamily="18" charset="-122"/>
                <a:cs typeface="OPPOSans B" panose="00020600040101010101" pitchFamily="18" charset="-122"/>
                <a:sym typeface="OPPOSans R" panose="00020600040101010101" pitchFamily="18" charset="-122"/>
              </a:rPr>
              <a:t>知识产权保险</a:t>
            </a:r>
            <a:endParaRPr kumimoji="0" lang="zh-CN" altLang="en-US" sz="900" b="0" i="0" u="none" strike="noStrike" kern="1200" cap="none" spc="0" normalizeH="0" baseline="0" noProof="0" dirty="0">
              <a:ln>
                <a:noFill/>
              </a:ln>
              <a:solidFill>
                <a:srgbClr val="795FE5"/>
              </a:solidFill>
              <a:effectLst/>
              <a:uLnTx/>
              <a:uFillTx/>
              <a:latin typeface="OPPOSans R" panose="00020600040101010101" pitchFamily="18" charset="-122"/>
              <a:ea typeface="OPPOSans B" panose="00020600040101010101" pitchFamily="18" charset="-122"/>
              <a:cs typeface="OPPOSans B" panose="00020600040101010101" pitchFamily="18" charset="-122"/>
              <a:sym typeface="OPPOSans R" panose="00020600040101010101" pitchFamily="18" charset="-122"/>
            </a:endParaRPr>
          </a:p>
        </p:txBody>
      </p:sp>
      <p:sp>
        <p:nvSpPr>
          <p:cNvPr id="1015" name="Object 1015"/>
          <p:cNvSpPr txBox="1"/>
          <p:nvPr/>
        </p:nvSpPr>
        <p:spPr>
          <a:xfrm>
            <a:off x="1053812" y="3904904"/>
            <a:ext cx="2482850" cy="431800"/>
          </a:xfrm>
          <a:prstGeom prst="rect">
            <a:avLst/>
          </a:prstGeom>
        </p:spPr>
        <p:txBody>
          <a:bodyPr vert="horz" rtlCol="0" anchor="t" anchorCtr="0">
            <a:noAutofit/>
          </a:bodyPr>
          <a:lstStyle/>
          <a:p>
            <a:pPr marL="0" marR="0" lvl="0" indent="0" algn="r" defTabSz="914400" rtl="0" eaLnBrk="1" fontAlgn="auto" latinLnBrk="0" hangingPunct="1">
              <a:lnSpc>
                <a:spcPct val="118333"/>
              </a:lnSpc>
              <a:spcBef>
                <a:spcPts val="0"/>
              </a:spcBef>
              <a:spcAft>
                <a:spcPts val="0"/>
              </a:spcAft>
              <a:buClrTx/>
              <a:buSzTx/>
              <a:buFontTx/>
              <a:buNone/>
              <a:tabLst/>
              <a:defRPr/>
            </a:pPr>
            <a:r>
              <a:rPr kumimoji="0" lang="en-US" altLang="zh-CN" sz="1200" b="0" i="0" u="none" strike="noStrike" kern="1200" cap="none" spc="12" normalizeH="0" baseline="0" noProof="0" dirty="0">
                <a:ln>
                  <a:noFill/>
                </a:ln>
                <a:solidFill>
                  <a:srgbClr val="777777"/>
                </a:solidFill>
                <a:effectLst/>
                <a:uLnTx/>
                <a:uFillTx/>
                <a:latin typeface="OPPOSans R" panose="00020600040101010101" pitchFamily="18" charset="-122"/>
                <a:ea typeface="OPPOSans B" panose="00020600040101010101" pitchFamily="18" charset="-122"/>
                <a:cs typeface="OPPOSans B" panose="00020600040101010101" pitchFamily="18" charset="-122"/>
                <a:sym typeface="OPPOSans R" panose="00020600040101010101" pitchFamily="18" charset="-122"/>
              </a:rPr>
              <a:t>- </a:t>
            </a:r>
            <a:r>
              <a:rPr kumimoji="0" lang="zh-CN" altLang="en-US" sz="1200" b="0" i="0" u="none" strike="noStrike" kern="1200" cap="none" spc="12" normalizeH="0" baseline="0" noProof="0" dirty="0">
                <a:ln>
                  <a:noFill/>
                </a:ln>
                <a:solidFill>
                  <a:srgbClr val="777777"/>
                </a:solidFill>
                <a:effectLst/>
                <a:uLnTx/>
                <a:uFillTx/>
                <a:latin typeface="OPPOSans R" panose="00020600040101010101" pitchFamily="18" charset="-122"/>
                <a:ea typeface="OPPOSans B" panose="00020600040101010101" pitchFamily="18" charset="-122"/>
                <a:cs typeface="OPPOSans B" panose="00020600040101010101" pitchFamily="18" charset="-122"/>
                <a:sym typeface="OPPOSans R" panose="00020600040101010101" pitchFamily="18" charset="-122"/>
              </a:rPr>
              <a:t>互联网知识产权平台服务</a:t>
            </a:r>
            <a:endParaRPr kumimoji="0" lang="zh-CN" altLang="en-US" sz="1200" b="0" i="0" u="none" strike="noStrike" kern="1200" cap="none" spc="0" normalizeH="0" baseline="0" noProof="0">
              <a:ln>
                <a:noFill/>
              </a:ln>
              <a:solidFill>
                <a:srgbClr val="000000"/>
              </a:solidFill>
              <a:effectLst/>
              <a:uLnTx/>
              <a:uFillTx/>
              <a:latin typeface="OPPOSans R" panose="00020600040101010101" pitchFamily="18" charset="-122"/>
              <a:ea typeface="OPPOSans B" panose="00020600040101010101" pitchFamily="18" charset="-122"/>
              <a:cs typeface="OPPOSans B" panose="00020600040101010101" pitchFamily="18" charset="-122"/>
              <a:sym typeface="OPPOSans R" panose="00020600040101010101" pitchFamily="18" charset="-122"/>
            </a:endParaRPr>
          </a:p>
          <a:p>
            <a:pPr marL="0" marR="0" lvl="0" indent="0" algn="r" defTabSz="914400" rtl="0" eaLnBrk="1" fontAlgn="auto" latinLnBrk="0" hangingPunct="1">
              <a:lnSpc>
                <a:spcPct val="118333"/>
              </a:lnSpc>
              <a:spcBef>
                <a:spcPts val="0"/>
              </a:spcBef>
              <a:spcAft>
                <a:spcPts val="0"/>
              </a:spcAft>
              <a:buClrTx/>
              <a:buSzTx/>
              <a:buFontTx/>
              <a:buNone/>
              <a:tabLst/>
              <a:defRPr/>
            </a:pPr>
            <a:r>
              <a:rPr kumimoji="0" lang="en-US" altLang="zh-CN" sz="1200" b="0" i="0" u="none" strike="noStrike" kern="1200" cap="none" spc="12" normalizeH="0" baseline="0" noProof="0" dirty="0">
                <a:ln>
                  <a:noFill/>
                </a:ln>
                <a:solidFill>
                  <a:srgbClr val="777777"/>
                </a:solidFill>
                <a:effectLst/>
                <a:uLnTx/>
                <a:uFillTx/>
                <a:latin typeface="OPPOSans R" panose="00020600040101010101" pitchFamily="18" charset="-122"/>
                <a:ea typeface="OPPOSans B" panose="00020600040101010101" pitchFamily="18" charset="-122"/>
                <a:cs typeface="OPPOSans B" panose="00020600040101010101" pitchFamily="18" charset="-122"/>
                <a:sym typeface="OPPOSans R" panose="00020600040101010101" pitchFamily="18" charset="-122"/>
              </a:rPr>
              <a:t>- </a:t>
            </a:r>
            <a:r>
              <a:rPr kumimoji="0" lang="zh-CN" altLang="en-US" sz="1200" b="0" i="0" u="none" strike="noStrike" kern="1200" cap="none" spc="12" normalizeH="0" baseline="0" noProof="0" dirty="0">
                <a:ln>
                  <a:noFill/>
                </a:ln>
                <a:solidFill>
                  <a:srgbClr val="777777"/>
                </a:solidFill>
                <a:effectLst/>
                <a:uLnTx/>
                <a:uFillTx/>
                <a:latin typeface="OPPOSans R" panose="00020600040101010101" pitchFamily="18" charset="-122"/>
                <a:ea typeface="OPPOSans B" panose="00020600040101010101" pitchFamily="18" charset="-122"/>
                <a:cs typeface="OPPOSans B" panose="00020600040101010101" pitchFamily="18" charset="-122"/>
                <a:sym typeface="OPPOSans R" panose="00020600040101010101" pitchFamily="18" charset="-122"/>
              </a:rPr>
              <a:t>专业个性化运营服务体系</a:t>
            </a:r>
            <a:endParaRPr kumimoji="0" lang="zh-CN" altLang="en-US" sz="900" b="0" i="0" u="none" strike="noStrike" kern="1200" cap="none" spc="0" normalizeH="0" baseline="0" noProof="0">
              <a:ln>
                <a:noFill/>
              </a:ln>
              <a:solidFill>
                <a:srgbClr val="000000"/>
              </a:solidFill>
              <a:effectLst/>
              <a:uLnTx/>
              <a:uFillTx/>
              <a:latin typeface="OPPOSans R" panose="00020600040101010101" pitchFamily="18" charset="-122"/>
              <a:ea typeface="OPPOSans B" panose="00020600040101010101" pitchFamily="18" charset="-122"/>
              <a:cs typeface="OPPOSans B" panose="00020600040101010101" pitchFamily="18" charset="-122"/>
              <a:sym typeface="OPPOSans R" panose="00020600040101010101" pitchFamily="18" charset="-122"/>
            </a:endParaRPr>
          </a:p>
        </p:txBody>
      </p:sp>
      <p:sp>
        <p:nvSpPr>
          <p:cNvPr id="1018" name="Object 1018"/>
          <p:cNvSpPr txBox="1"/>
          <p:nvPr/>
        </p:nvSpPr>
        <p:spPr>
          <a:xfrm>
            <a:off x="1628487" y="3592351"/>
            <a:ext cx="1908175" cy="228600"/>
          </a:xfrm>
          <a:prstGeom prst="rect">
            <a:avLst/>
          </a:prstGeom>
        </p:spPr>
        <p:txBody>
          <a:bodyPr vert="horz" rtlCol="0" anchor="t"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zh-CN" altLang="en-US" sz="1500" b="0" i="0" u="none" strike="noStrike" kern="1200" cap="none" spc="38" normalizeH="0" baseline="0" noProof="0" dirty="0">
                <a:ln>
                  <a:noFill/>
                </a:ln>
                <a:solidFill>
                  <a:srgbClr val="2254F4"/>
                </a:solidFill>
                <a:effectLst/>
                <a:uLnTx/>
                <a:uFillTx/>
                <a:latin typeface="OPPOSans R" panose="00020600040101010101" pitchFamily="18" charset="-122"/>
                <a:ea typeface="OPPOSans B" panose="00020600040101010101" pitchFamily="18" charset="-122"/>
                <a:cs typeface="OPPOSans B" panose="00020600040101010101" pitchFamily="18" charset="-122"/>
                <a:sym typeface="OPPOSans R" panose="00020600040101010101" pitchFamily="18" charset="-122"/>
              </a:rPr>
              <a:t>知识产权基础</a:t>
            </a:r>
            <a:endParaRPr kumimoji="0" lang="zh-CN" altLang="en-US" sz="900" b="0" i="0" u="none" strike="noStrike" kern="1200" cap="none" spc="0" normalizeH="0" baseline="0" noProof="0" dirty="0">
              <a:ln>
                <a:noFill/>
              </a:ln>
              <a:solidFill>
                <a:srgbClr val="2254F4"/>
              </a:solidFill>
              <a:effectLst/>
              <a:uLnTx/>
              <a:uFillTx/>
              <a:latin typeface="OPPOSans R" panose="00020600040101010101" pitchFamily="18" charset="-122"/>
              <a:ea typeface="OPPOSans B" panose="00020600040101010101" pitchFamily="18" charset="-122"/>
              <a:cs typeface="OPPOSans B" panose="00020600040101010101" pitchFamily="18" charset="-122"/>
              <a:sym typeface="OPPOSans R" panose="00020600040101010101" pitchFamily="18" charset="-122"/>
            </a:endParaRPr>
          </a:p>
        </p:txBody>
      </p:sp>
      <p:sp>
        <p:nvSpPr>
          <p:cNvPr id="1019" name="Object 1019"/>
          <p:cNvSpPr txBox="1"/>
          <p:nvPr/>
        </p:nvSpPr>
        <p:spPr>
          <a:xfrm>
            <a:off x="8459421" y="4654204"/>
            <a:ext cx="2250250" cy="355600"/>
          </a:xfrm>
          <a:prstGeom prst="rect">
            <a:avLst/>
          </a:prstGeom>
        </p:spPr>
        <p:txBody>
          <a:bodyPr vert="horz"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200" b="0" i="0" u="none" strike="noStrike" kern="1200" cap="none" spc="12" normalizeH="0" baseline="0" noProof="0" dirty="0">
                <a:ln>
                  <a:noFill/>
                </a:ln>
                <a:solidFill>
                  <a:srgbClr val="777777"/>
                </a:solidFill>
                <a:effectLst/>
                <a:uLnTx/>
                <a:uFillTx/>
                <a:latin typeface="OPPOSans R" panose="00020600040101010101" pitchFamily="18" charset="-122"/>
                <a:ea typeface="OPPOSans B" panose="00020600040101010101" pitchFamily="18" charset="-122"/>
                <a:cs typeface="OPPOSans B" panose="00020600040101010101" pitchFamily="18" charset="-122"/>
                <a:sym typeface="OPPOSans R" panose="00020600040101010101" pitchFamily="18" charset="-122"/>
              </a:rPr>
              <a:t>- </a:t>
            </a:r>
            <a:r>
              <a:rPr kumimoji="0" lang="zh-CN" altLang="en-US" sz="1200" b="0" i="0" u="none" strike="noStrike" kern="1200" cap="none" spc="12" normalizeH="0" baseline="0" noProof="0" dirty="0">
                <a:ln>
                  <a:noFill/>
                </a:ln>
                <a:solidFill>
                  <a:srgbClr val="777777"/>
                </a:solidFill>
                <a:effectLst/>
                <a:uLnTx/>
                <a:uFillTx/>
                <a:latin typeface="OPPOSans R" panose="00020600040101010101" pitchFamily="18" charset="-122"/>
                <a:ea typeface="OPPOSans B" panose="00020600040101010101" pitchFamily="18" charset="-122"/>
                <a:cs typeface="OPPOSans B" panose="00020600040101010101" pitchFamily="18" charset="-122"/>
                <a:sym typeface="OPPOSans R" panose="00020600040101010101" pitchFamily="18" charset="-122"/>
              </a:rPr>
              <a:t>注册商标</a:t>
            </a:r>
            <a:endParaRPr kumimoji="0" lang="zh-CN" altLang="en-US" sz="1200" b="0" i="0" u="none" strike="noStrike" kern="1200" cap="none" spc="0" normalizeH="0" baseline="0" noProof="0">
              <a:ln>
                <a:noFill/>
              </a:ln>
              <a:solidFill>
                <a:srgbClr val="000000"/>
              </a:solidFill>
              <a:effectLst/>
              <a:uLnTx/>
              <a:uFillTx/>
              <a:latin typeface="OPPOSans R" panose="00020600040101010101" pitchFamily="18" charset="-122"/>
              <a:ea typeface="OPPOSans B" panose="00020600040101010101" pitchFamily="18" charset="-122"/>
              <a:cs typeface="OPPOSans B" panose="00020600040101010101" pitchFamily="18" charset="-122"/>
              <a:sym typeface="OPPOSans R" panose="00020600040101010101" pitchFamily="18" charset="-122"/>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200" b="0" i="0" u="none" strike="noStrike" kern="1200" cap="none" spc="12" normalizeH="0" baseline="0" noProof="0" dirty="0">
                <a:ln>
                  <a:noFill/>
                </a:ln>
                <a:solidFill>
                  <a:srgbClr val="777777"/>
                </a:solidFill>
                <a:effectLst/>
                <a:uLnTx/>
                <a:uFillTx/>
                <a:latin typeface="OPPOSans R" panose="00020600040101010101" pitchFamily="18" charset="-122"/>
                <a:ea typeface="OPPOSans B" panose="00020600040101010101" pitchFamily="18" charset="-122"/>
                <a:cs typeface="OPPOSans B" panose="00020600040101010101" pitchFamily="18" charset="-122"/>
                <a:sym typeface="OPPOSans R" panose="00020600040101010101" pitchFamily="18" charset="-122"/>
              </a:rPr>
              <a:t>- </a:t>
            </a:r>
            <a:r>
              <a:rPr kumimoji="0" lang="zh-CN" altLang="en-US" sz="1200" b="0" i="0" u="none" strike="noStrike" kern="1200" cap="none" spc="12" normalizeH="0" baseline="0" noProof="0" dirty="0">
                <a:ln>
                  <a:noFill/>
                </a:ln>
                <a:solidFill>
                  <a:srgbClr val="777777"/>
                </a:solidFill>
                <a:effectLst/>
                <a:uLnTx/>
                <a:uFillTx/>
                <a:latin typeface="OPPOSans R" panose="00020600040101010101" pitchFamily="18" charset="-122"/>
                <a:ea typeface="OPPOSans B" panose="00020600040101010101" pitchFamily="18" charset="-122"/>
                <a:cs typeface="OPPOSans B" panose="00020600040101010101" pitchFamily="18" charset="-122"/>
                <a:sym typeface="OPPOSans R" panose="00020600040101010101" pitchFamily="18" charset="-122"/>
              </a:rPr>
              <a:t>专利申请</a:t>
            </a:r>
            <a:endParaRPr kumimoji="0" lang="zh-CN" altLang="en-US" sz="900" b="0" i="0" u="none" strike="noStrike" kern="1200" cap="none" spc="0" normalizeH="0" baseline="0" noProof="0">
              <a:ln>
                <a:noFill/>
              </a:ln>
              <a:solidFill>
                <a:srgbClr val="000000"/>
              </a:solidFill>
              <a:effectLst/>
              <a:uLnTx/>
              <a:uFillTx/>
              <a:latin typeface="OPPOSans R" panose="00020600040101010101" pitchFamily="18" charset="-122"/>
              <a:ea typeface="OPPOSans B" panose="00020600040101010101" pitchFamily="18" charset="-122"/>
              <a:cs typeface="OPPOSans B" panose="00020600040101010101" pitchFamily="18" charset="-122"/>
              <a:sym typeface="OPPOSans R" panose="00020600040101010101" pitchFamily="18" charset="-122"/>
            </a:endParaRPr>
          </a:p>
        </p:txBody>
      </p:sp>
      <p:sp>
        <p:nvSpPr>
          <p:cNvPr id="1022" name="Object 1022"/>
          <p:cNvSpPr txBox="1"/>
          <p:nvPr/>
        </p:nvSpPr>
        <p:spPr>
          <a:xfrm>
            <a:off x="8576056" y="4365357"/>
            <a:ext cx="1703749" cy="228600"/>
          </a:xfrm>
          <a:prstGeom prst="rect">
            <a:avLst/>
          </a:prstGeom>
        </p:spPr>
        <p:txBody>
          <a:bodyPr vert="horz"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500" b="0" i="0" u="none" strike="noStrike" kern="1200" cap="none" spc="38" normalizeH="0" baseline="0" noProof="0" dirty="0">
                <a:ln>
                  <a:noFill/>
                </a:ln>
                <a:solidFill>
                  <a:srgbClr val="F6AE66"/>
                </a:solidFill>
                <a:effectLst/>
                <a:uLnTx/>
                <a:uFillTx/>
                <a:latin typeface="OPPOSans R" panose="00020600040101010101" pitchFamily="18" charset="-122"/>
                <a:ea typeface="OPPOSans B" panose="00020600040101010101" pitchFamily="18" charset="-122"/>
                <a:cs typeface="OPPOSans B" panose="00020600040101010101" pitchFamily="18" charset="-122"/>
                <a:sym typeface="OPPOSans R" panose="00020600040101010101" pitchFamily="18" charset="-122"/>
              </a:rPr>
              <a:t>知识产权部署</a:t>
            </a:r>
            <a:endParaRPr kumimoji="0" lang="zh-CN" altLang="en-US" sz="900" b="0" i="0" u="none" strike="noStrike" kern="1200" cap="none" spc="0" normalizeH="0" baseline="0" noProof="0" dirty="0">
              <a:ln>
                <a:noFill/>
              </a:ln>
              <a:solidFill>
                <a:srgbClr val="F6AE66"/>
              </a:solidFill>
              <a:effectLst/>
              <a:uLnTx/>
              <a:uFillTx/>
              <a:latin typeface="OPPOSans R" panose="00020600040101010101" pitchFamily="18" charset="-122"/>
              <a:ea typeface="OPPOSans B" panose="00020600040101010101" pitchFamily="18" charset="-122"/>
              <a:cs typeface="OPPOSans B" panose="00020600040101010101" pitchFamily="18" charset="-122"/>
              <a:sym typeface="OPPOSans R" panose="00020600040101010101" pitchFamily="18" charset="-122"/>
            </a:endParaRPr>
          </a:p>
        </p:txBody>
      </p:sp>
      <p:grpSp>
        <p:nvGrpSpPr>
          <p:cNvPr id="24" name="组合 23">
            <a:extLst>
              <a:ext uri="{FF2B5EF4-FFF2-40B4-BE49-F238E27FC236}">
                <a16:creationId xmlns:a16="http://schemas.microsoft.com/office/drawing/2014/main" id="{3DDABBB3-C090-4180-9782-5464011BDD45}"/>
              </a:ext>
            </a:extLst>
          </p:cNvPr>
          <p:cNvGrpSpPr/>
          <p:nvPr/>
        </p:nvGrpSpPr>
        <p:grpSpPr>
          <a:xfrm>
            <a:off x="3448787" y="1620457"/>
            <a:ext cx="5052640" cy="4668116"/>
            <a:chOff x="12819959" y="1596453"/>
            <a:chExt cx="4698358" cy="4340797"/>
          </a:xfrm>
        </p:grpSpPr>
        <p:grpSp>
          <p:nvGrpSpPr>
            <p:cNvPr id="25" name="组合 24">
              <a:extLst>
                <a:ext uri="{FF2B5EF4-FFF2-40B4-BE49-F238E27FC236}">
                  <a16:creationId xmlns:a16="http://schemas.microsoft.com/office/drawing/2014/main" id="{EDC11DE9-9AB4-4FF0-BBD3-015F38376C2B}"/>
                </a:ext>
              </a:extLst>
            </p:cNvPr>
            <p:cNvGrpSpPr/>
            <p:nvPr/>
          </p:nvGrpSpPr>
          <p:grpSpPr>
            <a:xfrm>
              <a:off x="12819959" y="1596453"/>
              <a:ext cx="4698358" cy="4340797"/>
              <a:chOff x="12819959" y="1596453"/>
              <a:chExt cx="4698358" cy="4340797"/>
            </a:xfrm>
          </p:grpSpPr>
          <p:sp>
            <p:nvSpPr>
              <p:cNvPr id="31" name="图形 5">
                <a:extLst>
                  <a:ext uri="{FF2B5EF4-FFF2-40B4-BE49-F238E27FC236}">
                    <a16:creationId xmlns:a16="http://schemas.microsoft.com/office/drawing/2014/main" id="{D05DA5C2-060A-42DC-BAD6-78D2E26D717B}"/>
                  </a:ext>
                </a:extLst>
              </p:cNvPr>
              <p:cNvSpPr/>
              <p:nvPr/>
            </p:nvSpPr>
            <p:spPr>
              <a:xfrm>
                <a:off x="14626681" y="3505379"/>
                <a:ext cx="1302875" cy="2431871"/>
              </a:xfrm>
              <a:custGeom>
                <a:avLst/>
                <a:gdLst>
                  <a:gd name="connsiteX0" fmla="*/ 746959 w 1094445"/>
                  <a:gd name="connsiteY0" fmla="*/ 2037699 h 2042828"/>
                  <a:gd name="connsiteX1" fmla="*/ 447873 w 1094445"/>
                  <a:gd name="connsiteY1" fmla="*/ 2038556 h 2042828"/>
                  <a:gd name="connsiteX2" fmla="*/ 30298 w 1094445"/>
                  <a:gd name="connsiteY2" fmla="*/ 2029031 h 2042828"/>
                  <a:gd name="connsiteX3" fmla="*/ 1723 w 1094445"/>
                  <a:gd name="connsiteY3" fmla="*/ 2018744 h 2042828"/>
                  <a:gd name="connsiteX4" fmla="*/ 18105 w 1094445"/>
                  <a:gd name="connsiteY4" fmla="*/ 1991693 h 2042828"/>
                  <a:gd name="connsiteX5" fmla="*/ 236037 w 1094445"/>
                  <a:gd name="connsiteY5" fmla="*/ 1434671 h 2042828"/>
                  <a:gd name="connsiteX6" fmla="*/ 96115 w 1094445"/>
                  <a:gd name="connsiteY6" fmla="*/ 385016 h 2042828"/>
                  <a:gd name="connsiteX7" fmla="*/ 34488 w 1094445"/>
                  <a:gd name="connsiteY7" fmla="*/ 200041 h 2042828"/>
                  <a:gd name="connsiteX8" fmla="*/ 48109 w 1094445"/>
                  <a:gd name="connsiteY8" fmla="*/ 121078 h 2042828"/>
                  <a:gd name="connsiteX9" fmla="*/ 129072 w 1094445"/>
                  <a:gd name="connsiteY9" fmla="*/ 21542 h 2042828"/>
                  <a:gd name="connsiteX10" fmla="*/ 177744 w 1094445"/>
                  <a:gd name="connsiteY10" fmla="*/ 29162 h 2042828"/>
                  <a:gd name="connsiteX11" fmla="*/ 343480 w 1094445"/>
                  <a:gd name="connsiteY11" fmla="*/ 470169 h 2042828"/>
                  <a:gd name="connsiteX12" fmla="*/ 474733 w 1094445"/>
                  <a:gd name="connsiteY12" fmla="*/ 744394 h 2042828"/>
                  <a:gd name="connsiteX13" fmla="*/ 621134 w 1094445"/>
                  <a:gd name="connsiteY13" fmla="*/ 760111 h 2042828"/>
                  <a:gd name="connsiteX14" fmla="*/ 896501 w 1094445"/>
                  <a:gd name="connsiteY14" fmla="*/ 390731 h 2042828"/>
                  <a:gd name="connsiteX15" fmla="*/ 924409 w 1094445"/>
                  <a:gd name="connsiteY15" fmla="*/ 346440 h 2042828"/>
                  <a:gd name="connsiteX16" fmla="*/ 1058616 w 1094445"/>
                  <a:gd name="connsiteY16" fmla="*/ 338725 h 2042828"/>
                  <a:gd name="connsiteX17" fmla="*/ 1061379 w 1094445"/>
                  <a:gd name="connsiteY17" fmla="*/ 386350 h 2042828"/>
                  <a:gd name="connsiteX18" fmla="*/ 842304 w 1094445"/>
                  <a:gd name="connsiteY18" fmla="*/ 1065387 h 2042828"/>
                  <a:gd name="connsiteX19" fmla="*/ 1029470 w 1094445"/>
                  <a:gd name="connsiteY19" fmla="*/ 1929209 h 2042828"/>
                  <a:gd name="connsiteX20" fmla="*/ 1081286 w 1094445"/>
                  <a:gd name="connsiteY20" fmla="*/ 1997313 h 2042828"/>
                  <a:gd name="connsiteX21" fmla="*/ 1094526 w 1094445"/>
                  <a:gd name="connsiteY21" fmla="*/ 2025888 h 2042828"/>
                  <a:gd name="connsiteX22" fmla="*/ 1061093 w 1094445"/>
                  <a:gd name="connsiteY22" fmla="*/ 2037413 h 2042828"/>
                  <a:gd name="connsiteX23" fmla="*/ 746959 w 1094445"/>
                  <a:gd name="connsiteY23" fmla="*/ 2037699 h 2042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094445" h="2042828">
                    <a:moveTo>
                      <a:pt x="746959" y="2037699"/>
                    </a:moveTo>
                    <a:cubicBezTo>
                      <a:pt x="663233" y="2041318"/>
                      <a:pt x="554077" y="2046271"/>
                      <a:pt x="447873" y="2038556"/>
                    </a:cubicBezTo>
                    <a:cubicBezTo>
                      <a:pt x="308332" y="2028460"/>
                      <a:pt x="169362" y="2035984"/>
                      <a:pt x="30298" y="2029031"/>
                    </a:cubicBezTo>
                    <a:cubicBezTo>
                      <a:pt x="20010" y="2028555"/>
                      <a:pt x="5533" y="2033032"/>
                      <a:pt x="1723" y="2018744"/>
                    </a:cubicBezTo>
                    <a:cubicBezTo>
                      <a:pt x="-1421" y="2006552"/>
                      <a:pt x="11248" y="1999694"/>
                      <a:pt x="18105" y="1991693"/>
                    </a:cubicBezTo>
                    <a:cubicBezTo>
                      <a:pt x="159265" y="1832816"/>
                      <a:pt x="217369" y="1641649"/>
                      <a:pt x="236037" y="1434671"/>
                    </a:cubicBezTo>
                    <a:cubicBezTo>
                      <a:pt x="268613" y="1074150"/>
                      <a:pt x="196222" y="727726"/>
                      <a:pt x="96115" y="385016"/>
                    </a:cubicBezTo>
                    <a:cubicBezTo>
                      <a:pt x="77827" y="322723"/>
                      <a:pt x="56396" y="261191"/>
                      <a:pt x="34488" y="200041"/>
                    </a:cubicBezTo>
                    <a:cubicBezTo>
                      <a:pt x="23725" y="169942"/>
                      <a:pt x="26678" y="145462"/>
                      <a:pt x="48109" y="121078"/>
                    </a:cubicBezTo>
                    <a:cubicBezTo>
                      <a:pt x="76684" y="88979"/>
                      <a:pt x="103830" y="56023"/>
                      <a:pt x="129072" y="21542"/>
                    </a:cubicBezTo>
                    <a:cubicBezTo>
                      <a:pt x="152598" y="-10462"/>
                      <a:pt x="164695" y="-6461"/>
                      <a:pt x="177744" y="29162"/>
                    </a:cubicBezTo>
                    <a:cubicBezTo>
                      <a:pt x="232036" y="176514"/>
                      <a:pt x="285758" y="324437"/>
                      <a:pt x="343480" y="470169"/>
                    </a:cubicBezTo>
                    <a:cubicBezTo>
                      <a:pt x="380817" y="564372"/>
                      <a:pt x="418727" y="658860"/>
                      <a:pt x="474733" y="744394"/>
                    </a:cubicBezTo>
                    <a:cubicBezTo>
                      <a:pt x="519120" y="812212"/>
                      <a:pt x="563793" y="818213"/>
                      <a:pt x="621134" y="760111"/>
                    </a:cubicBezTo>
                    <a:cubicBezTo>
                      <a:pt x="730099" y="649906"/>
                      <a:pt x="811634" y="518938"/>
                      <a:pt x="896501" y="390731"/>
                    </a:cubicBezTo>
                    <a:cubicBezTo>
                      <a:pt x="906026" y="376158"/>
                      <a:pt x="914884" y="361013"/>
                      <a:pt x="924409" y="346440"/>
                    </a:cubicBezTo>
                    <a:cubicBezTo>
                      <a:pt x="975368" y="268430"/>
                      <a:pt x="996322" y="267573"/>
                      <a:pt x="1058616" y="338725"/>
                    </a:cubicBezTo>
                    <a:cubicBezTo>
                      <a:pt x="1072808" y="355108"/>
                      <a:pt x="1071284" y="369205"/>
                      <a:pt x="1061379" y="386350"/>
                    </a:cubicBezTo>
                    <a:cubicBezTo>
                      <a:pt x="937554" y="595900"/>
                      <a:pt x="870879" y="825262"/>
                      <a:pt x="842304" y="1065387"/>
                    </a:cubicBezTo>
                    <a:cubicBezTo>
                      <a:pt x="805251" y="1374283"/>
                      <a:pt x="852781" y="1666129"/>
                      <a:pt x="1029470" y="1929209"/>
                    </a:cubicBezTo>
                    <a:cubicBezTo>
                      <a:pt x="1045376" y="1952831"/>
                      <a:pt x="1064140" y="1974548"/>
                      <a:pt x="1081286" y="1997313"/>
                    </a:cubicBezTo>
                    <a:cubicBezTo>
                      <a:pt x="1087668" y="2005981"/>
                      <a:pt x="1099384" y="2014077"/>
                      <a:pt x="1094526" y="2025888"/>
                    </a:cubicBezTo>
                    <a:cubicBezTo>
                      <a:pt x="1088716" y="2040366"/>
                      <a:pt x="1073285" y="2037413"/>
                      <a:pt x="1061093" y="2037413"/>
                    </a:cubicBezTo>
                    <a:cubicBezTo>
                      <a:pt x="964605" y="2037699"/>
                      <a:pt x="868212" y="2037699"/>
                      <a:pt x="746959" y="2037699"/>
                    </a:cubicBezTo>
                    <a:close/>
                  </a:path>
                </a:pathLst>
              </a:custGeom>
              <a:gradFill flip="none" rotWithShape="1">
                <a:gsLst>
                  <a:gs pos="0">
                    <a:schemeClr val="accent6"/>
                  </a:gs>
                  <a:gs pos="100000">
                    <a:schemeClr val="accent6">
                      <a:lumMod val="60000"/>
                      <a:lumOff val="40000"/>
                    </a:schemeClr>
                  </a:gs>
                </a:gsLst>
                <a:lin ang="16200000" scaled="1"/>
                <a:tileRect/>
              </a:gradFill>
              <a:ln>
                <a:noFill/>
              </a:ln>
              <a:effectLst>
                <a:outerShdw blurRad="330200" dist="25400" dir="5400000" sx="90000" sy="90000" algn="t" rotWithShape="0">
                  <a:schemeClr val="accent6">
                    <a:lumMod val="75000"/>
                    <a:alpha val="43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5720" tIns="22860" rIns="45720" bIns="228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OPPOSans R" panose="00020600040101010101" pitchFamily="18" charset="-122"/>
                  <a:ea typeface="OPPOSans B" panose="00020600040101010101" pitchFamily="18" charset="-122"/>
                  <a:cs typeface="OPPOSans B" panose="00020600040101010101" pitchFamily="18" charset="-122"/>
                </a:endParaRPr>
              </a:p>
            </p:txBody>
          </p:sp>
          <p:sp>
            <p:nvSpPr>
              <p:cNvPr id="32" name="图形 2">
                <a:extLst>
                  <a:ext uri="{FF2B5EF4-FFF2-40B4-BE49-F238E27FC236}">
                    <a16:creationId xmlns:a16="http://schemas.microsoft.com/office/drawing/2014/main" id="{052697F3-E8BC-46F0-B921-581AFED1214C}"/>
                  </a:ext>
                </a:extLst>
              </p:cNvPr>
              <p:cNvSpPr/>
              <p:nvPr/>
            </p:nvSpPr>
            <p:spPr>
              <a:xfrm>
                <a:off x="15719423" y="3668146"/>
                <a:ext cx="1798894" cy="1329304"/>
              </a:xfrm>
              <a:custGeom>
                <a:avLst/>
                <a:gdLst>
                  <a:gd name="connsiteX0" fmla="*/ 1519333 w 1518233"/>
                  <a:gd name="connsiteY0" fmla="*/ 89217 h 1121908"/>
                  <a:gd name="connsiteX1" fmla="*/ 1436751 w 1518233"/>
                  <a:gd name="connsiteY1" fmla="*/ 344392 h 1121908"/>
                  <a:gd name="connsiteX2" fmla="*/ 1079088 w 1518233"/>
                  <a:gd name="connsiteY2" fmla="*/ 911987 h 1121908"/>
                  <a:gd name="connsiteX3" fmla="*/ 465773 w 1518233"/>
                  <a:gd name="connsiteY3" fmla="*/ 1110488 h 1121908"/>
                  <a:gd name="connsiteX4" fmla="*/ 21050 w 1518233"/>
                  <a:gd name="connsiteY4" fmla="*/ 728345 h 1121908"/>
                  <a:gd name="connsiteX5" fmla="*/ 361569 w 1518233"/>
                  <a:gd name="connsiteY5" fmla="*/ 40639 h 1121908"/>
                  <a:gd name="connsiteX6" fmla="*/ 872491 w 1518233"/>
                  <a:gd name="connsiteY6" fmla="*/ 54451 h 1121908"/>
                  <a:gd name="connsiteX7" fmla="*/ 1159384 w 1518233"/>
                  <a:gd name="connsiteY7" fmla="*/ 140938 h 1121908"/>
                  <a:gd name="connsiteX8" fmla="*/ 1519333 w 1518233"/>
                  <a:gd name="connsiteY8" fmla="*/ 89217 h 11219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18233" h="1121908">
                    <a:moveTo>
                      <a:pt x="1519333" y="89217"/>
                    </a:moveTo>
                    <a:cubicBezTo>
                      <a:pt x="1507618" y="182371"/>
                      <a:pt x="1470660" y="263048"/>
                      <a:pt x="1436751" y="344392"/>
                    </a:cubicBezTo>
                    <a:cubicBezTo>
                      <a:pt x="1349502" y="553942"/>
                      <a:pt x="1242632" y="751300"/>
                      <a:pt x="1079088" y="911987"/>
                    </a:cubicBezTo>
                    <a:cubicBezTo>
                      <a:pt x="908399" y="1079817"/>
                      <a:pt x="701517" y="1151159"/>
                      <a:pt x="465773" y="1110488"/>
                    </a:cubicBezTo>
                    <a:cubicBezTo>
                      <a:pt x="245460" y="1072388"/>
                      <a:pt x="81344" y="944753"/>
                      <a:pt x="21050" y="728345"/>
                    </a:cubicBezTo>
                    <a:cubicBezTo>
                      <a:pt x="-50958" y="469836"/>
                      <a:pt x="74105" y="156845"/>
                      <a:pt x="361569" y="40639"/>
                    </a:cubicBezTo>
                    <a:cubicBezTo>
                      <a:pt x="536163" y="-29941"/>
                      <a:pt x="703421" y="1587"/>
                      <a:pt x="872491" y="54451"/>
                    </a:cubicBezTo>
                    <a:cubicBezTo>
                      <a:pt x="967741" y="84264"/>
                      <a:pt x="1062991" y="115887"/>
                      <a:pt x="1159384" y="140938"/>
                    </a:cubicBezTo>
                    <a:cubicBezTo>
                      <a:pt x="1284256" y="173418"/>
                      <a:pt x="1409796" y="195897"/>
                      <a:pt x="1519333" y="89217"/>
                    </a:cubicBezTo>
                    <a:close/>
                  </a:path>
                </a:pathLst>
              </a:custGeom>
              <a:gradFill flip="none" rotWithShape="1">
                <a:gsLst>
                  <a:gs pos="0">
                    <a:schemeClr val="accent5">
                      <a:lumMod val="75000"/>
                    </a:schemeClr>
                  </a:gs>
                  <a:gs pos="100000">
                    <a:schemeClr val="accent5"/>
                  </a:gs>
                </a:gsLst>
                <a:lin ang="16200000" scaled="1"/>
                <a:tileRect/>
              </a:gradFill>
              <a:ln>
                <a:noFill/>
              </a:ln>
              <a:effectLst>
                <a:outerShdw blurRad="330200" dist="25400" dir="5400000" sx="90000" sy="90000" algn="t" rotWithShape="0">
                  <a:schemeClr val="accent5">
                    <a:lumMod val="75000"/>
                    <a:alpha val="43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5720" tIns="22860" rIns="45720" bIns="228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srgbClr val="FFFFFF"/>
                  </a:solidFill>
                  <a:effectLst/>
                  <a:uLnTx/>
                  <a:uFillTx/>
                  <a:latin typeface="OPPOSans R" panose="00020600040101010101" pitchFamily="18" charset="-122"/>
                  <a:ea typeface="OPPOSans B" panose="00020600040101010101" pitchFamily="18" charset="-122"/>
                  <a:cs typeface="OPPOSans B" panose="00020600040101010101" pitchFamily="18" charset="-122"/>
                </a:endParaRPr>
              </a:p>
            </p:txBody>
          </p:sp>
          <p:sp>
            <p:nvSpPr>
              <p:cNvPr id="33" name="图形 2">
                <a:extLst>
                  <a:ext uri="{FF2B5EF4-FFF2-40B4-BE49-F238E27FC236}">
                    <a16:creationId xmlns:a16="http://schemas.microsoft.com/office/drawing/2014/main" id="{8C28B593-ACC1-48B2-8D6F-B55ED88539DB}"/>
                  </a:ext>
                </a:extLst>
              </p:cNvPr>
              <p:cNvSpPr/>
              <p:nvPr/>
            </p:nvSpPr>
            <p:spPr>
              <a:xfrm rot="19988621">
                <a:off x="15445067" y="2633288"/>
                <a:ext cx="1798894" cy="1329304"/>
              </a:xfrm>
              <a:custGeom>
                <a:avLst/>
                <a:gdLst>
                  <a:gd name="connsiteX0" fmla="*/ 1519333 w 1518233"/>
                  <a:gd name="connsiteY0" fmla="*/ 89217 h 1121908"/>
                  <a:gd name="connsiteX1" fmla="*/ 1436751 w 1518233"/>
                  <a:gd name="connsiteY1" fmla="*/ 344392 h 1121908"/>
                  <a:gd name="connsiteX2" fmla="*/ 1079088 w 1518233"/>
                  <a:gd name="connsiteY2" fmla="*/ 911987 h 1121908"/>
                  <a:gd name="connsiteX3" fmla="*/ 465773 w 1518233"/>
                  <a:gd name="connsiteY3" fmla="*/ 1110488 h 1121908"/>
                  <a:gd name="connsiteX4" fmla="*/ 21050 w 1518233"/>
                  <a:gd name="connsiteY4" fmla="*/ 728345 h 1121908"/>
                  <a:gd name="connsiteX5" fmla="*/ 361569 w 1518233"/>
                  <a:gd name="connsiteY5" fmla="*/ 40639 h 1121908"/>
                  <a:gd name="connsiteX6" fmla="*/ 872491 w 1518233"/>
                  <a:gd name="connsiteY6" fmla="*/ 54451 h 1121908"/>
                  <a:gd name="connsiteX7" fmla="*/ 1159384 w 1518233"/>
                  <a:gd name="connsiteY7" fmla="*/ 140938 h 1121908"/>
                  <a:gd name="connsiteX8" fmla="*/ 1519333 w 1518233"/>
                  <a:gd name="connsiteY8" fmla="*/ 89217 h 11219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18233" h="1121908">
                    <a:moveTo>
                      <a:pt x="1519333" y="89217"/>
                    </a:moveTo>
                    <a:cubicBezTo>
                      <a:pt x="1507618" y="182371"/>
                      <a:pt x="1470660" y="263048"/>
                      <a:pt x="1436751" y="344392"/>
                    </a:cubicBezTo>
                    <a:cubicBezTo>
                      <a:pt x="1349502" y="553942"/>
                      <a:pt x="1242632" y="751300"/>
                      <a:pt x="1079088" y="911987"/>
                    </a:cubicBezTo>
                    <a:cubicBezTo>
                      <a:pt x="908399" y="1079817"/>
                      <a:pt x="701517" y="1151159"/>
                      <a:pt x="465773" y="1110488"/>
                    </a:cubicBezTo>
                    <a:cubicBezTo>
                      <a:pt x="245460" y="1072388"/>
                      <a:pt x="81344" y="944753"/>
                      <a:pt x="21050" y="728345"/>
                    </a:cubicBezTo>
                    <a:cubicBezTo>
                      <a:pt x="-50958" y="469836"/>
                      <a:pt x="74105" y="156845"/>
                      <a:pt x="361569" y="40639"/>
                    </a:cubicBezTo>
                    <a:cubicBezTo>
                      <a:pt x="536163" y="-29941"/>
                      <a:pt x="703421" y="1587"/>
                      <a:pt x="872491" y="54451"/>
                    </a:cubicBezTo>
                    <a:cubicBezTo>
                      <a:pt x="967741" y="84264"/>
                      <a:pt x="1062991" y="115887"/>
                      <a:pt x="1159384" y="140938"/>
                    </a:cubicBezTo>
                    <a:cubicBezTo>
                      <a:pt x="1284256" y="173418"/>
                      <a:pt x="1409796" y="195897"/>
                      <a:pt x="1519333" y="89217"/>
                    </a:cubicBezTo>
                    <a:close/>
                  </a:path>
                </a:pathLst>
              </a:custGeom>
              <a:gradFill flip="none" rotWithShape="1">
                <a:gsLst>
                  <a:gs pos="0">
                    <a:schemeClr val="accent4">
                      <a:lumMod val="75000"/>
                    </a:schemeClr>
                  </a:gs>
                  <a:gs pos="100000">
                    <a:schemeClr val="accent4"/>
                  </a:gs>
                </a:gsLst>
                <a:lin ang="16200000" scaled="1"/>
                <a:tileRect/>
              </a:gradFill>
              <a:ln>
                <a:noFill/>
              </a:ln>
              <a:effectLst>
                <a:outerShdw blurRad="330200" dist="25400" dir="5400000" sx="90000" sy="90000" algn="t" rotWithShape="0">
                  <a:schemeClr val="accent4">
                    <a:lumMod val="75000"/>
                    <a:alpha val="43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5720" tIns="22860" rIns="45720" bIns="228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srgbClr val="FFFFFF"/>
                  </a:solidFill>
                  <a:effectLst/>
                  <a:uLnTx/>
                  <a:uFillTx/>
                  <a:latin typeface="OPPOSans R" panose="00020600040101010101" pitchFamily="18" charset="-122"/>
                  <a:ea typeface="OPPOSans B" panose="00020600040101010101" pitchFamily="18" charset="-122"/>
                  <a:cs typeface="OPPOSans B" panose="00020600040101010101" pitchFamily="18" charset="-122"/>
                </a:endParaRPr>
              </a:p>
            </p:txBody>
          </p:sp>
          <p:sp>
            <p:nvSpPr>
              <p:cNvPr id="34" name="图形 2">
                <a:extLst>
                  <a:ext uri="{FF2B5EF4-FFF2-40B4-BE49-F238E27FC236}">
                    <a16:creationId xmlns:a16="http://schemas.microsoft.com/office/drawing/2014/main" id="{CEBF199C-AF8E-42F3-8504-E73B5A769CC4}"/>
                  </a:ext>
                </a:extLst>
              </p:cNvPr>
              <p:cNvSpPr/>
              <p:nvPr/>
            </p:nvSpPr>
            <p:spPr>
              <a:xfrm rot="4471119" flipH="1">
                <a:off x="14433209" y="1831248"/>
                <a:ext cx="1798894" cy="1329304"/>
              </a:xfrm>
              <a:custGeom>
                <a:avLst/>
                <a:gdLst>
                  <a:gd name="connsiteX0" fmla="*/ 1519333 w 1518233"/>
                  <a:gd name="connsiteY0" fmla="*/ 89217 h 1121908"/>
                  <a:gd name="connsiteX1" fmla="*/ 1436751 w 1518233"/>
                  <a:gd name="connsiteY1" fmla="*/ 344392 h 1121908"/>
                  <a:gd name="connsiteX2" fmla="*/ 1079088 w 1518233"/>
                  <a:gd name="connsiteY2" fmla="*/ 911987 h 1121908"/>
                  <a:gd name="connsiteX3" fmla="*/ 465773 w 1518233"/>
                  <a:gd name="connsiteY3" fmla="*/ 1110488 h 1121908"/>
                  <a:gd name="connsiteX4" fmla="*/ 21050 w 1518233"/>
                  <a:gd name="connsiteY4" fmla="*/ 728345 h 1121908"/>
                  <a:gd name="connsiteX5" fmla="*/ 361569 w 1518233"/>
                  <a:gd name="connsiteY5" fmla="*/ 40639 h 1121908"/>
                  <a:gd name="connsiteX6" fmla="*/ 872491 w 1518233"/>
                  <a:gd name="connsiteY6" fmla="*/ 54451 h 1121908"/>
                  <a:gd name="connsiteX7" fmla="*/ 1159384 w 1518233"/>
                  <a:gd name="connsiteY7" fmla="*/ 140938 h 1121908"/>
                  <a:gd name="connsiteX8" fmla="*/ 1519333 w 1518233"/>
                  <a:gd name="connsiteY8" fmla="*/ 89217 h 11219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18233" h="1121908">
                    <a:moveTo>
                      <a:pt x="1519333" y="89217"/>
                    </a:moveTo>
                    <a:cubicBezTo>
                      <a:pt x="1507618" y="182371"/>
                      <a:pt x="1470660" y="263048"/>
                      <a:pt x="1436751" y="344392"/>
                    </a:cubicBezTo>
                    <a:cubicBezTo>
                      <a:pt x="1349502" y="553942"/>
                      <a:pt x="1242632" y="751300"/>
                      <a:pt x="1079088" y="911987"/>
                    </a:cubicBezTo>
                    <a:cubicBezTo>
                      <a:pt x="908399" y="1079817"/>
                      <a:pt x="701517" y="1151159"/>
                      <a:pt x="465773" y="1110488"/>
                    </a:cubicBezTo>
                    <a:cubicBezTo>
                      <a:pt x="245460" y="1072388"/>
                      <a:pt x="81344" y="944753"/>
                      <a:pt x="21050" y="728345"/>
                    </a:cubicBezTo>
                    <a:cubicBezTo>
                      <a:pt x="-50958" y="469836"/>
                      <a:pt x="74105" y="156845"/>
                      <a:pt x="361569" y="40639"/>
                    </a:cubicBezTo>
                    <a:cubicBezTo>
                      <a:pt x="536163" y="-29941"/>
                      <a:pt x="703421" y="1587"/>
                      <a:pt x="872491" y="54451"/>
                    </a:cubicBezTo>
                    <a:cubicBezTo>
                      <a:pt x="967741" y="84264"/>
                      <a:pt x="1062991" y="115887"/>
                      <a:pt x="1159384" y="140938"/>
                    </a:cubicBezTo>
                    <a:cubicBezTo>
                      <a:pt x="1284256" y="173418"/>
                      <a:pt x="1409796" y="195897"/>
                      <a:pt x="1519333" y="89217"/>
                    </a:cubicBezTo>
                    <a:close/>
                  </a:path>
                </a:pathLst>
              </a:custGeom>
              <a:gradFill flip="none" rotWithShape="1">
                <a:gsLst>
                  <a:gs pos="0">
                    <a:schemeClr val="accent3"/>
                  </a:gs>
                  <a:gs pos="100000">
                    <a:schemeClr val="accent3">
                      <a:lumMod val="60000"/>
                      <a:lumOff val="40000"/>
                    </a:schemeClr>
                  </a:gs>
                </a:gsLst>
                <a:lin ang="16200000" scaled="1"/>
                <a:tileRect/>
              </a:gradFill>
              <a:ln>
                <a:noFill/>
              </a:ln>
              <a:effectLst>
                <a:outerShdw blurRad="330200" dist="25400" dir="5400000" sx="90000" sy="90000" algn="t" rotWithShape="0">
                  <a:schemeClr val="accent3">
                    <a:lumMod val="75000"/>
                    <a:alpha val="43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5720" tIns="22860" rIns="45720" bIns="228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srgbClr val="FFFFFF"/>
                  </a:solidFill>
                  <a:effectLst/>
                  <a:uLnTx/>
                  <a:uFillTx/>
                  <a:latin typeface="OPPOSans R" panose="00020600040101010101" pitchFamily="18" charset="-122"/>
                  <a:ea typeface="OPPOSans B" panose="00020600040101010101" pitchFamily="18" charset="-122"/>
                  <a:cs typeface="OPPOSans B" panose="00020600040101010101" pitchFamily="18" charset="-122"/>
                </a:endParaRPr>
              </a:p>
            </p:txBody>
          </p:sp>
          <p:sp>
            <p:nvSpPr>
              <p:cNvPr id="35" name="图形 2">
                <a:extLst>
                  <a:ext uri="{FF2B5EF4-FFF2-40B4-BE49-F238E27FC236}">
                    <a16:creationId xmlns:a16="http://schemas.microsoft.com/office/drawing/2014/main" id="{6889D25F-4B6C-43FA-A3B9-8E091BD78A21}"/>
                  </a:ext>
                </a:extLst>
              </p:cNvPr>
              <p:cNvSpPr/>
              <p:nvPr/>
            </p:nvSpPr>
            <p:spPr>
              <a:xfrm rot="1826980" flipH="1">
                <a:off x="13116765" y="2231093"/>
                <a:ext cx="2029733" cy="1499884"/>
              </a:xfrm>
              <a:custGeom>
                <a:avLst/>
                <a:gdLst>
                  <a:gd name="connsiteX0" fmla="*/ 1519333 w 1518233"/>
                  <a:gd name="connsiteY0" fmla="*/ 89217 h 1121908"/>
                  <a:gd name="connsiteX1" fmla="*/ 1436751 w 1518233"/>
                  <a:gd name="connsiteY1" fmla="*/ 344392 h 1121908"/>
                  <a:gd name="connsiteX2" fmla="*/ 1079088 w 1518233"/>
                  <a:gd name="connsiteY2" fmla="*/ 911987 h 1121908"/>
                  <a:gd name="connsiteX3" fmla="*/ 465773 w 1518233"/>
                  <a:gd name="connsiteY3" fmla="*/ 1110488 h 1121908"/>
                  <a:gd name="connsiteX4" fmla="*/ 21050 w 1518233"/>
                  <a:gd name="connsiteY4" fmla="*/ 728345 h 1121908"/>
                  <a:gd name="connsiteX5" fmla="*/ 361569 w 1518233"/>
                  <a:gd name="connsiteY5" fmla="*/ 40639 h 1121908"/>
                  <a:gd name="connsiteX6" fmla="*/ 872491 w 1518233"/>
                  <a:gd name="connsiteY6" fmla="*/ 54451 h 1121908"/>
                  <a:gd name="connsiteX7" fmla="*/ 1159384 w 1518233"/>
                  <a:gd name="connsiteY7" fmla="*/ 140938 h 1121908"/>
                  <a:gd name="connsiteX8" fmla="*/ 1519333 w 1518233"/>
                  <a:gd name="connsiteY8" fmla="*/ 89217 h 11219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18233" h="1121908">
                    <a:moveTo>
                      <a:pt x="1519333" y="89217"/>
                    </a:moveTo>
                    <a:cubicBezTo>
                      <a:pt x="1507618" y="182371"/>
                      <a:pt x="1470660" y="263048"/>
                      <a:pt x="1436751" y="344392"/>
                    </a:cubicBezTo>
                    <a:cubicBezTo>
                      <a:pt x="1349502" y="553942"/>
                      <a:pt x="1242632" y="751300"/>
                      <a:pt x="1079088" y="911987"/>
                    </a:cubicBezTo>
                    <a:cubicBezTo>
                      <a:pt x="908399" y="1079817"/>
                      <a:pt x="701517" y="1151159"/>
                      <a:pt x="465773" y="1110488"/>
                    </a:cubicBezTo>
                    <a:cubicBezTo>
                      <a:pt x="245460" y="1072388"/>
                      <a:pt x="81344" y="944753"/>
                      <a:pt x="21050" y="728345"/>
                    </a:cubicBezTo>
                    <a:cubicBezTo>
                      <a:pt x="-50958" y="469836"/>
                      <a:pt x="74105" y="156845"/>
                      <a:pt x="361569" y="40639"/>
                    </a:cubicBezTo>
                    <a:cubicBezTo>
                      <a:pt x="536163" y="-29941"/>
                      <a:pt x="703421" y="1587"/>
                      <a:pt x="872491" y="54451"/>
                    </a:cubicBezTo>
                    <a:cubicBezTo>
                      <a:pt x="967741" y="84264"/>
                      <a:pt x="1062991" y="115887"/>
                      <a:pt x="1159384" y="140938"/>
                    </a:cubicBezTo>
                    <a:cubicBezTo>
                      <a:pt x="1284256" y="173418"/>
                      <a:pt x="1409796" y="195897"/>
                      <a:pt x="1519333" y="89217"/>
                    </a:cubicBezTo>
                    <a:close/>
                  </a:path>
                </a:pathLst>
              </a:custGeom>
              <a:gradFill flip="none" rotWithShape="1">
                <a:gsLst>
                  <a:gs pos="0">
                    <a:schemeClr val="accent2"/>
                  </a:gs>
                  <a:gs pos="100000">
                    <a:schemeClr val="accent2">
                      <a:lumMod val="60000"/>
                      <a:lumOff val="40000"/>
                    </a:schemeClr>
                  </a:gs>
                </a:gsLst>
                <a:lin ang="16200000" scaled="1"/>
                <a:tileRect/>
              </a:gradFill>
              <a:ln>
                <a:noFill/>
              </a:ln>
              <a:effectLst>
                <a:outerShdw blurRad="330200" dist="25400" dir="5400000" sx="90000" sy="90000" algn="t" rotWithShape="0">
                  <a:schemeClr val="accent2">
                    <a:lumMod val="75000"/>
                    <a:alpha val="43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5720" tIns="22860" rIns="45720" bIns="228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srgbClr val="FFFFFF"/>
                  </a:solidFill>
                  <a:effectLst/>
                  <a:uLnTx/>
                  <a:uFillTx/>
                  <a:latin typeface="OPPOSans R" panose="00020600040101010101" pitchFamily="18" charset="-122"/>
                  <a:ea typeface="OPPOSans B" panose="00020600040101010101" pitchFamily="18" charset="-122"/>
                  <a:cs typeface="OPPOSans B" panose="00020600040101010101" pitchFamily="18" charset="-122"/>
                </a:endParaRPr>
              </a:p>
            </p:txBody>
          </p:sp>
          <p:sp>
            <p:nvSpPr>
              <p:cNvPr id="36" name="图形 2">
                <a:extLst>
                  <a:ext uri="{FF2B5EF4-FFF2-40B4-BE49-F238E27FC236}">
                    <a16:creationId xmlns:a16="http://schemas.microsoft.com/office/drawing/2014/main" id="{F596A4A2-460F-4402-944A-84BC047D9F5E}"/>
                  </a:ext>
                </a:extLst>
              </p:cNvPr>
              <p:cNvSpPr/>
              <p:nvPr/>
            </p:nvSpPr>
            <p:spPr>
              <a:xfrm rot="1071435" flipH="1">
                <a:off x="12819959" y="3380371"/>
                <a:ext cx="2029733" cy="1499884"/>
              </a:xfrm>
              <a:custGeom>
                <a:avLst/>
                <a:gdLst>
                  <a:gd name="connsiteX0" fmla="*/ 1519333 w 1518233"/>
                  <a:gd name="connsiteY0" fmla="*/ 89217 h 1121908"/>
                  <a:gd name="connsiteX1" fmla="*/ 1436751 w 1518233"/>
                  <a:gd name="connsiteY1" fmla="*/ 344392 h 1121908"/>
                  <a:gd name="connsiteX2" fmla="*/ 1079088 w 1518233"/>
                  <a:gd name="connsiteY2" fmla="*/ 911987 h 1121908"/>
                  <a:gd name="connsiteX3" fmla="*/ 465773 w 1518233"/>
                  <a:gd name="connsiteY3" fmla="*/ 1110488 h 1121908"/>
                  <a:gd name="connsiteX4" fmla="*/ 21050 w 1518233"/>
                  <a:gd name="connsiteY4" fmla="*/ 728345 h 1121908"/>
                  <a:gd name="connsiteX5" fmla="*/ 361569 w 1518233"/>
                  <a:gd name="connsiteY5" fmla="*/ 40639 h 1121908"/>
                  <a:gd name="connsiteX6" fmla="*/ 872491 w 1518233"/>
                  <a:gd name="connsiteY6" fmla="*/ 54451 h 1121908"/>
                  <a:gd name="connsiteX7" fmla="*/ 1159384 w 1518233"/>
                  <a:gd name="connsiteY7" fmla="*/ 140938 h 1121908"/>
                  <a:gd name="connsiteX8" fmla="*/ 1519333 w 1518233"/>
                  <a:gd name="connsiteY8" fmla="*/ 89217 h 11219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18233" h="1121908">
                    <a:moveTo>
                      <a:pt x="1519333" y="89217"/>
                    </a:moveTo>
                    <a:cubicBezTo>
                      <a:pt x="1507618" y="182371"/>
                      <a:pt x="1470660" y="263048"/>
                      <a:pt x="1436751" y="344392"/>
                    </a:cubicBezTo>
                    <a:cubicBezTo>
                      <a:pt x="1349502" y="553942"/>
                      <a:pt x="1242632" y="751300"/>
                      <a:pt x="1079088" y="911987"/>
                    </a:cubicBezTo>
                    <a:cubicBezTo>
                      <a:pt x="908399" y="1079817"/>
                      <a:pt x="701517" y="1151159"/>
                      <a:pt x="465773" y="1110488"/>
                    </a:cubicBezTo>
                    <a:cubicBezTo>
                      <a:pt x="245460" y="1072388"/>
                      <a:pt x="81344" y="944753"/>
                      <a:pt x="21050" y="728345"/>
                    </a:cubicBezTo>
                    <a:cubicBezTo>
                      <a:pt x="-50958" y="469836"/>
                      <a:pt x="74105" y="156845"/>
                      <a:pt x="361569" y="40639"/>
                    </a:cubicBezTo>
                    <a:cubicBezTo>
                      <a:pt x="536163" y="-29941"/>
                      <a:pt x="703421" y="1587"/>
                      <a:pt x="872491" y="54451"/>
                    </a:cubicBezTo>
                    <a:cubicBezTo>
                      <a:pt x="967741" y="84264"/>
                      <a:pt x="1062991" y="115887"/>
                      <a:pt x="1159384" y="140938"/>
                    </a:cubicBezTo>
                    <a:cubicBezTo>
                      <a:pt x="1284256" y="173418"/>
                      <a:pt x="1409796" y="195897"/>
                      <a:pt x="1519333" y="89217"/>
                    </a:cubicBezTo>
                    <a:close/>
                  </a:path>
                </a:pathLst>
              </a:custGeom>
              <a:gradFill flip="none" rotWithShape="1">
                <a:gsLst>
                  <a:gs pos="0">
                    <a:schemeClr val="accent1"/>
                  </a:gs>
                  <a:gs pos="100000">
                    <a:schemeClr val="accent1">
                      <a:lumMod val="60000"/>
                      <a:lumOff val="40000"/>
                    </a:schemeClr>
                  </a:gs>
                </a:gsLst>
                <a:lin ang="16200000" scaled="1"/>
                <a:tileRect/>
              </a:gradFill>
              <a:ln>
                <a:noFill/>
              </a:ln>
              <a:effectLst>
                <a:outerShdw blurRad="330200" dist="25400" dir="5400000" sx="90000" sy="90000" algn="t" rotWithShape="0">
                  <a:schemeClr val="accent1">
                    <a:lumMod val="75000"/>
                    <a:alpha val="43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5720" tIns="22860" rIns="45720" bIns="228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srgbClr val="FFFFFF"/>
                  </a:solidFill>
                  <a:effectLst/>
                  <a:uLnTx/>
                  <a:uFillTx/>
                  <a:latin typeface="OPPOSans R" panose="00020600040101010101" pitchFamily="18" charset="-122"/>
                  <a:ea typeface="OPPOSans B" panose="00020600040101010101" pitchFamily="18" charset="-122"/>
                  <a:cs typeface="OPPOSans B" panose="00020600040101010101" pitchFamily="18" charset="-122"/>
                </a:endParaRPr>
              </a:p>
            </p:txBody>
          </p:sp>
        </p:grpSp>
        <p:sp>
          <p:nvSpPr>
            <p:cNvPr id="26" name="Object 1016">
              <a:extLst>
                <a:ext uri="{FF2B5EF4-FFF2-40B4-BE49-F238E27FC236}">
                  <a16:creationId xmlns:a16="http://schemas.microsoft.com/office/drawing/2014/main" id="{34037E9D-77DC-442D-94D6-CEDE3F94A849}"/>
                </a:ext>
              </a:extLst>
            </p:cNvPr>
            <p:cNvSpPr txBox="1"/>
            <p:nvPr/>
          </p:nvSpPr>
          <p:spPr>
            <a:xfrm>
              <a:off x="15030767" y="2135719"/>
              <a:ext cx="698500" cy="838200"/>
            </a:xfrm>
            <a:prstGeom prst="rect">
              <a:avLst/>
            </a:prstGeom>
          </p:spPr>
          <p:txBody>
            <a:bodyPr vert="horz" rtlCol="0" anchor="t"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5500" b="0" i="0" u="none" strike="noStrike" kern="1200" cap="none" spc="0" normalizeH="0" baseline="0" noProof="0" dirty="0">
                  <a:ln>
                    <a:noFill/>
                  </a:ln>
                  <a:solidFill>
                    <a:srgbClr val="FFFFFF"/>
                  </a:solidFill>
                  <a:effectLst/>
                  <a:uLnTx/>
                  <a:uFillTx/>
                  <a:latin typeface="OPPOSans B" panose="00020600040101010101" pitchFamily="18" charset="-122"/>
                  <a:ea typeface="OPPOSans B" panose="00020600040101010101" pitchFamily="18" charset="-122"/>
                  <a:cs typeface="OPPOSans B" panose="00020600040101010101" pitchFamily="18" charset="-122"/>
                  <a:sym typeface="OPPOSans R" panose="00020600040101010101" pitchFamily="18" charset="-122"/>
                </a:rPr>
                <a:t>1</a:t>
              </a:r>
              <a:endParaRPr kumimoji="0" lang="zh-CN" altLang="en-US" sz="900" b="0" i="0" u="none" strike="noStrike" kern="1200" cap="none" spc="0" normalizeH="0" baseline="0" noProof="0" dirty="0">
                <a:ln>
                  <a:noFill/>
                </a:ln>
                <a:solidFill>
                  <a:srgbClr val="000000"/>
                </a:solidFill>
                <a:effectLst/>
                <a:uLnTx/>
                <a:uFillTx/>
                <a:latin typeface="OPPOSans B" panose="00020600040101010101" pitchFamily="18" charset="-122"/>
                <a:ea typeface="OPPOSans B" panose="00020600040101010101" pitchFamily="18" charset="-122"/>
                <a:cs typeface="OPPOSans B" panose="00020600040101010101" pitchFamily="18" charset="-122"/>
                <a:sym typeface="OPPOSans R" panose="00020600040101010101" pitchFamily="18" charset="-122"/>
              </a:endParaRPr>
            </a:p>
          </p:txBody>
        </p:sp>
        <p:sp>
          <p:nvSpPr>
            <p:cNvPr id="27" name="Object 1018">
              <a:extLst>
                <a:ext uri="{FF2B5EF4-FFF2-40B4-BE49-F238E27FC236}">
                  <a16:creationId xmlns:a16="http://schemas.microsoft.com/office/drawing/2014/main" id="{40C69DB8-0352-4952-9619-7F27112314F5}"/>
                </a:ext>
              </a:extLst>
            </p:cNvPr>
            <p:cNvSpPr txBox="1"/>
            <p:nvPr/>
          </p:nvSpPr>
          <p:spPr>
            <a:xfrm>
              <a:off x="13937382" y="2573381"/>
              <a:ext cx="1005339" cy="838200"/>
            </a:xfrm>
            <a:prstGeom prst="rect">
              <a:avLst/>
            </a:prstGeom>
          </p:spPr>
          <p:txBody>
            <a:bodyPr vert="horz" rtlCol="0" anchor="t"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5500" b="0" i="0" u="none" strike="noStrike" kern="1200" cap="none" spc="0" normalizeH="0" baseline="0" noProof="0" dirty="0">
                  <a:ln>
                    <a:noFill/>
                  </a:ln>
                  <a:solidFill>
                    <a:srgbClr val="FFFFFF"/>
                  </a:solidFill>
                  <a:effectLst/>
                  <a:uLnTx/>
                  <a:uFillTx/>
                  <a:latin typeface="OPPOSans B" panose="00020600040101010101" pitchFamily="18" charset="-122"/>
                  <a:ea typeface="OPPOSans B" panose="00020600040101010101" pitchFamily="18" charset="-122"/>
                  <a:cs typeface="OPPOSans B" panose="00020600040101010101" pitchFamily="18" charset="-122"/>
                  <a:sym typeface="OPPOSans R" panose="00020600040101010101" pitchFamily="18" charset="-122"/>
                </a:rPr>
                <a:t>2</a:t>
              </a:r>
              <a:endParaRPr kumimoji="0" lang="zh-CN" altLang="en-US" sz="900" b="0" i="0" u="none" strike="noStrike" kern="1200" cap="none" spc="0" normalizeH="0" baseline="0" noProof="0" dirty="0">
                <a:ln>
                  <a:noFill/>
                </a:ln>
                <a:solidFill>
                  <a:srgbClr val="000000"/>
                </a:solidFill>
                <a:effectLst/>
                <a:uLnTx/>
                <a:uFillTx/>
                <a:latin typeface="OPPOSans B" panose="00020600040101010101" pitchFamily="18" charset="-122"/>
                <a:ea typeface="OPPOSans B" panose="00020600040101010101" pitchFamily="18" charset="-122"/>
                <a:cs typeface="OPPOSans B" panose="00020600040101010101" pitchFamily="18" charset="-122"/>
                <a:sym typeface="OPPOSans R" panose="00020600040101010101" pitchFamily="18" charset="-122"/>
              </a:endParaRPr>
            </a:p>
          </p:txBody>
        </p:sp>
        <p:sp>
          <p:nvSpPr>
            <p:cNvPr id="28" name="Object 1023">
              <a:extLst>
                <a:ext uri="{FF2B5EF4-FFF2-40B4-BE49-F238E27FC236}">
                  <a16:creationId xmlns:a16="http://schemas.microsoft.com/office/drawing/2014/main" id="{01651351-82CA-4BDF-8FA6-7D69126E67F4}"/>
                </a:ext>
              </a:extLst>
            </p:cNvPr>
            <p:cNvSpPr txBox="1"/>
            <p:nvPr/>
          </p:nvSpPr>
          <p:spPr>
            <a:xfrm>
              <a:off x="13709622" y="3841750"/>
              <a:ext cx="800094" cy="838200"/>
            </a:xfrm>
            <a:prstGeom prst="rect">
              <a:avLst/>
            </a:prstGeom>
          </p:spPr>
          <p:txBody>
            <a:bodyPr vert="horz" rtlCol="0" anchor="t"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5500" b="0" i="0" u="none" strike="noStrike" kern="1200" cap="none" spc="0" normalizeH="0" baseline="0" noProof="0" dirty="0">
                  <a:ln>
                    <a:noFill/>
                  </a:ln>
                  <a:solidFill>
                    <a:srgbClr val="FFFFFF"/>
                  </a:solidFill>
                  <a:effectLst/>
                  <a:uLnTx/>
                  <a:uFillTx/>
                  <a:latin typeface="OPPOSans B" panose="00020600040101010101" pitchFamily="18" charset="-122"/>
                  <a:ea typeface="OPPOSans B" panose="00020600040101010101" pitchFamily="18" charset="-122"/>
                  <a:cs typeface="OPPOSans B" panose="00020600040101010101" pitchFamily="18" charset="-122"/>
                  <a:sym typeface="OPPOSans R" panose="00020600040101010101" pitchFamily="18" charset="-122"/>
                </a:rPr>
                <a:t>4</a:t>
              </a:r>
              <a:endParaRPr kumimoji="0" lang="zh-CN" altLang="en-US" sz="900" b="0" i="0" u="none" strike="noStrike" kern="1200" cap="none" spc="0" normalizeH="0" baseline="0" noProof="0" dirty="0">
                <a:ln>
                  <a:noFill/>
                </a:ln>
                <a:solidFill>
                  <a:srgbClr val="000000"/>
                </a:solidFill>
                <a:effectLst/>
                <a:uLnTx/>
                <a:uFillTx/>
                <a:latin typeface="OPPOSans B" panose="00020600040101010101" pitchFamily="18" charset="-122"/>
                <a:ea typeface="OPPOSans B" panose="00020600040101010101" pitchFamily="18" charset="-122"/>
                <a:cs typeface="OPPOSans B" panose="00020600040101010101" pitchFamily="18" charset="-122"/>
                <a:sym typeface="OPPOSans R" panose="00020600040101010101" pitchFamily="18" charset="-122"/>
              </a:endParaRPr>
            </a:p>
          </p:txBody>
        </p:sp>
        <p:sp>
          <p:nvSpPr>
            <p:cNvPr id="29" name="Object 1025">
              <a:extLst>
                <a:ext uri="{FF2B5EF4-FFF2-40B4-BE49-F238E27FC236}">
                  <a16:creationId xmlns:a16="http://schemas.microsoft.com/office/drawing/2014/main" id="{738A191F-3BD2-4011-9CA0-D5CAAD31C3BE}"/>
                </a:ext>
              </a:extLst>
            </p:cNvPr>
            <p:cNvSpPr txBox="1"/>
            <p:nvPr/>
          </p:nvSpPr>
          <p:spPr>
            <a:xfrm>
              <a:off x="15864183" y="2901950"/>
              <a:ext cx="787629" cy="838200"/>
            </a:xfrm>
            <a:prstGeom prst="rect">
              <a:avLst/>
            </a:prstGeom>
          </p:spPr>
          <p:txBody>
            <a:bodyPr vert="horz" rtlCol="0" anchor="t"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5500" b="0" i="0" u="none" strike="noStrike" kern="1200" cap="none" spc="0" normalizeH="0" baseline="0" noProof="0" dirty="0">
                  <a:ln>
                    <a:noFill/>
                  </a:ln>
                  <a:solidFill>
                    <a:srgbClr val="FFFFFF"/>
                  </a:solidFill>
                  <a:effectLst/>
                  <a:uLnTx/>
                  <a:uFillTx/>
                  <a:latin typeface="OPPOSans B" panose="00020600040101010101" pitchFamily="18" charset="-122"/>
                  <a:ea typeface="OPPOSans B" panose="00020600040101010101" pitchFamily="18" charset="-122"/>
                  <a:cs typeface="OPPOSans B" panose="00020600040101010101" pitchFamily="18" charset="-122"/>
                  <a:sym typeface="OPPOSans R" panose="00020600040101010101" pitchFamily="18" charset="-122"/>
                </a:rPr>
                <a:t>3</a:t>
              </a:r>
              <a:endParaRPr kumimoji="0" lang="zh-CN" altLang="en-US" sz="900" b="0" i="0" u="none" strike="noStrike" kern="1200" cap="none" spc="0" normalizeH="0" baseline="0" noProof="0" dirty="0">
                <a:ln>
                  <a:noFill/>
                </a:ln>
                <a:solidFill>
                  <a:srgbClr val="000000"/>
                </a:solidFill>
                <a:effectLst/>
                <a:uLnTx/>
                <a:uFillTx/>
                <a:latin typeface="OPPOSans B" panose="00020600040101010101" pitchFamily="18" charset="-122"/>
                <a:ea typeface="OPPOSans B" panose="00020600040101010101" pitchFamily="18" charset="-122"/>
                <a:cs typeface="OPPOSans B" panose="00020600040101010101" pitchFamily="18" charset="-122"/>
                <a:sym typeface="OPPOSans R" panose="00020600040101010101" pitchFamily="18" charset="-122"/>
              </a:endParaRPr>
            </a:p>
          </p:txBody>
        </p:sp>
        <p:sp>
          <p:nvSpPr>
            <p:cNvPr id="30" name="Object 1032">
              <a:extLst>
                <a:ext uri="{FF2B5EF4-FFF2-40B4-BE49-F238E27FC236}">
                  <a16:creationId xmlns:a16="http://schemas.microsoft.com/office/drawing/2014/main" id="{13844D9E-40F0-4E36-81C9-986F035ABC05}"/>
                </a:ext>
              </a:extLst>
            </p:cNvPr>
            <p:cNvSpPr txBox="1"/>
            <p:nvPr/>
          </p:nvSpPr>
          <p:spPr>
            <a:xfrm>
              <a:off x="16099401" y="3894411"/>
              <a:ext cx="800332" cy="838200"/>
            </a:xfrm>
            <a:prstGeom prst="rect">
              <a:avLst/>
            </a:prstGeom>
          </p:spPr>
          <p:txBody>
            <a:bodyPr vert="horz" rtlCol="0" anchor="t"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5500" b="0" i="0" u="none" strike="noStrike" kern="1200" cap="none" spc="0" normalizeH="0" baseline="0" noProof="0" dirty="0">
                  <a:ln>
                    <a:noFill/>
                  </a:ln>
                  <a:solidFill>
                    <a:srgbClr val="FFFFFF"/>
                  </a:solidFill>
                  <a:effectLst/>
                  <a:uLnTx/>
                  <a:uFillTx/>
                  <a:latin typeface="OPPOSans B" panose="00020600040101010101" pitchFamily="18" charset="-122"/>
                  <a:ea typeface="OPPOSans B" panose="00020600040101010101" pitchFamily="18" charset="-122"/>
                  <a:cs typeface="OPPOSans B" panose="00020600040101010101" pitchFamily="18" charset="-122"/>
                  <a:sym typeface="OPPOSans R" panose="00020600040101010101" pitchFamily="18" charset="-122"/>
                </a:rPr>
                <a:t>5</a:t>
              </a:r>
              <a:endParaRPr kumimoji="0" lang="zh-CN" altLang="en-US" sz="900" b="0" i="0" u="none" strike="noStrike" kern="1200" cap="none" spc="0" normalizeH="0" baseline="0" noProof="0" dirty="0">
                <a:ln>
                  <a:noFill/>
                </a:ln>
                <a:solidFill>
                  <a:srgbClr val="000000"/>
                </a:solidFill>
                <a:effectLst/>
                <a:uLnTx/>
                <a:uFillTx/>
                <a:latin typeface="OPPOSans B" panose="00020600040101010101" pitchFamily="18" charset="-122"/>
                <a:ea typeface="OPPOSans B" panose="00020600040101010101" pitchFamily="18" charset="-122"/>
                <a:cs typeface="OPPOSans B" panose="00020600040101010101" pitchFamily="18" charset="-122"/>
                <a:sym typeface="OPPOSans R" panose="00020600040101010101" pitchFamily="18" charset="-122"/>
              </a:endParaRPr>
            </a:p>
          </p:txBody>
        </p:sp>
      </p:grpSp>
    </p:spTree>
    <p:extLst>
      <p:ext uri="{BB962C8B-B14F-4D97-AF65-F5344CB8AC3E}">
        <p14:creationId xmlns:p14="http://schemas.microsoft.com/office/powerpoint/2010/main" val="1452676928"/>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8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ounded Rectangle 8">
            <a:extLst>
              <a:ext uri="{FF2B5EF4-FFF2-40B4-BE49-F238E27FC236}">
                <a16:creationId xmlns:a16="http://schemas.microsoft.com/office/drawing/2014/main" id="{0D4D8169-76B0-D24D-FE16-1215949E7A4A}"/>
              </a:ext>
            </a:extLst>
          </p:cNvPr>
          <p:cNvSpPr>
            <a:spLocks/>
          </p:cNvSpPr>
          <p:nvPr/>
        </p:nvSpPr>
        <p:spPr bwMode="auto">
          <a:xfrm>
            <a:off x="1894123" y="2690455"/>
            <a:ext cx="8013059" cy="862210"/>
          </a:xfrm>
          <a:custGeom>
            <a:avLst/>
            <a:gdLst>
              <a:gd name="T0" fmla="*/ 16627 w 15877577"/>
              <a:gd name="T1" fmla="*/ 1515499 h 1513452"/>
              <a:gd name="T2" fmla="*/ 0 w 15877577"/>
              <a:gd name="T3" fmla="*/ 596113 h 1513452"/>
              <a:gd name="T4" fmla="*/ 595352 w 15877577"/>
              <a:gd name="T5" fmla="*/ 0 h 1513452"/>
              <a:gd name="T6" fmla="*/ 15283421 w 15877577"/>
              <a:gd name="T7" fmla="*/ 0 h 1513452"/>
              <a:gd name="T8" fmla="*/ 15878773 w 15877577"/>
              <a:gd name="T9" fmla="*/ 596113 h 1513452"/>
              <a:gd name="T10" fmla="*/ 15878773 w 15877577"/>
              <a:gd name="T11" fmla="*/ 1482203 h 151345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5877577" h="1513452">
                <a:moveTo>
                  <a:pt x="16625" y="1513452"/>
                </a:moveTo>
                <a:lnTo>
                  <a:pt x="0" y="595308"/>
                </a:lnTo>
                <a:cubicBezTo>
                  <a:pt x="0" y="266528"/>
                  <a:pt x="266528" y="0"/>
                  <a:pt x="595308" y="0"/>
                </a:cubicBezTo>
                <a:lnTo>
                  <a:pt x="15282269" y="0"/>
                </a:lnTo>
                <a:cubicBezTo>
                  <a:pt x="15611049" y="0"/>
                  <a:pt x="15877577" y="266528"/>
                  <a:pt x="15877577" y="595308"/>
                </a:cubicBezTo>
                <a:lnTo>
                  <a:pt x="15877577" y="1480201"/>
                </a:lnTo>
              </a:path>
            </a:pathLst>
          </a:custGeom>
          <a:noFill/>
          <a:ln w="25400" cap="flat" cmpd="sng">
            <a:solidFill>
              <a:schemeClr val="accent6"/>
            </a:solidFill>
            <a:prstDash val="solid"/>
            <a:miter lim="400000"/>
            <a:headEnd type="none" w="med" len="med"/>
            <a:tailEnd type="none" w="med" len="med"/>
          </a:ln>
          <a:extLst>
            <a:ext uri="{909E8E84-426E-40DD-AFC4-6F175D3DCCD1}">
              <a14:hiddenFill xmlns:a14="http://schemas.microsoft.com/office/drawing/2010/main">
                <a:solidFill>
                  <a:srgbClr val="FFFFFF"/>
                </a:solidFill>
              </a14:hiddenFill>
            </a:ext>
          </a:extLst>
        </p:spPr>
        <p:txBody>
          <a:bodyPr wrap="square" lIns="0" tIns="0" rIns="0" bIns="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900" b="0" i="0" u="none" strike="noStrike" kern="1200" cap="none" spc="0" normalizeH="0" baseline="0" noProof="0">
              <a:ln>
                <a:noFill/>
              </a:ln>
              <a:solidFill>
                <a:srgbClr val="000000"/>
              </a:solidFill>
              <a:effectLst/>
              <a:uLnTx/>
              <a:uFillTx/>
              <a:latin typeface="Arial" panose="020F0502020204030204"/>
              <a:ea typeface="微软雅黑"/>
              <a:cs typeface="+mn-cs"/>
            </a:endParaRPr>
          </a:p>
        </p:txBody>
      </p:sp>
      <p:sp>
        <p:nvSpPr>
          <p:cNvPr id="4" name="Rounded Rectangle 8">
            <a:extLst>
              <a:ext uri="{FF2B5EF4-FFF2-40B4-BE49-F238E27FC236}">
                <a16:creationId xmlns:a16="http://schemas.microsoft.com/office/drawing/2014/main" id="{E7C20391-0EC8-54D2-0A1A-3C2328BF06EB}"/>
              </a:ext>
            </a:extLst>
          </p:cNvPr>
          <p:cNvSpPr>
            <a:spLocks/>
          </p:cNvSpPr>
          <p:nvPr/>
        </p:nvSpPr>
        <p:spPr bwMode="auto">
          <a:xfrm>
            <a:off x="4664366" y="2690611"/>
            <a:ext cx="563034" cy="859113"/>
          </a:xfrm>
          <a:custGeom>
            <a:avLst/>
            <a:gdLst>
              <a:gd name="T0" fmla="*/ 0 w 1035967"/>
              <a:gd name="T1" fmla="*/ 1519085 h 1519389"/>
              <a:gd name="T2" fmla="*/ 7135 w 1035967"/>
              <a:gd name="T3" fmla="*/ 595188 h 1519389"/>
              <a:gd name="T4" fmla="*/ 603213 w 1035967"/>
              <a:gd name="T5" fmla="*/ 0 h 1519389"/>
              <a:gd name="T6" fmla="*/ 1037307 w 1035967"/>
              <a:gd name="T7" fmla="*/ 4294 h 151938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035967" h="1519389">
                <a:moveTo>
                  <a:pt x="0" y="1519389"/>
                </a:moveTo>
                <a:lnTo>
                  <a:pt x="7125" y="595308"/>
                </a:lnTo>
                <a:cubicBezTo>
                  <a:pt x="7125" y="266528"/>
                  <a:pt x="273653" y="0"/>
                  <a:pt x="602433" y="0"/>
                </a:cubicBezTo>
                <a:lnTo>
                  <a:pt x="1035967" y="4294"/>
                </a:lnTo>
              </a:path>
            </a:pathLst>
          </a:custGeom>
          <a:noFill/>
          <a:ln w="25400" cap="flat" cmpd="sng">
            <a:solidFill>
              <a:schemeClr val="accent6"/>
            </a:solidFill>
            <a:prstDash val="solid"/>
            <a:miter lim="400000"/>
            <a:headEnd type="none" w="med" len="med"/>
            <a:tailEnd type="none" w="med" len="med"/>
          </a:ln>
          <a:extLst>
            <a:ext uri="{909E8E84-426E-40DD-AFC4-6F175D3DCCD1}">
              <a14:hiddenFill xmlns:a14="http://schemas.microsoft.com/office/drawing/2010/main">
                <a:solidFill>
                  <a:srgbClr val="FFFFFF"/>
                </a:solidFill>
              </a14:hiddenFill>
            </a:ext>
          </a:extLst>
        </p:spPr>
        <p:txBody>
          <a:bodyPr wrap="square" lIns="0" tIns="0" rIns="0" bIns="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900" b="0" i="0" u="none" strike="noStrike" kern="1200" cap="none" spc="0" normalizeH="0" baseline="0" noProof="0">
              <a:ln>
                <a:noFill/>
              </a:ln>
              <a:solidFill>
                <a:srgbClr val="000000"/>
              </a:solidFill>
              <a:effectLst/>
              <a:uLnTx/>
              <a:uFillTx/>
              <a:latin typeface="Arial" panose="020F0502020204030204"/>
              <a:ea typeface="微软雅黑"/>
              <a:cs typeface="+mn-cs"/>
            </a:endParaRPr>
          </a:p>
        </p:txBody>
      </p:sp>
      <p:sp>
        <p:nvSpPr>
          <p:cNvPr id="5" name="Rounded Rectangle 8">
            <a:extLst>
              <a:ext uri="{FF2B5EF4-FFF2-40B4-BE49-F238E27FC236}">
                <a16:creationId xmlns:a16="http://schemas.microsoft.com/office/drawing/2014/main" id="{B954579F-B47B-7950-84D0-2A09D4DBEA37}"/>
              </a:ext>
            </a:extLst>
          </p:cNvPr>
          <p:cNvSpPr>
            <a:spLocks/>
          </p:cNvSpPr>
          <p:nvPr/>
        </p:nvSpPr>
        <p:spPr bwMode="auto">
          <a:xfrm flipH="1">
            <a:off x="6664419" y="2687514"/>
            <a:ext cx="648341" cy="862210"/>
          </a:xfrm>
          <a:custGeom>
            <a:avLst/>
            <a:gdLst>
              <a:gd name="T0" fmla="*/ 0 w 1036875"/>
              <a:gd name="T1" fmla="*/ 1539372 h 1537203"/>
              <a:gd name="T2" fmla="*/ 14006 w 1036875"/>
              <a:gd name="T3" fmla="*/ 596148 h 1537203"/>
              <a:gd name="T4" fmla="*/ 1051992 w 1036875"/>
              <a:gd name="T5" fmla="*/ 0 h 1537203"/>
              <a:gd name="T6" fmla="*/ 1807905 w 1036875"/>
              <a:gd name="T7" fmla="*/ 4300 h 1537203"/>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036875" h="1537203">
                <a:moveTo>
                  <a:pt x="0" y="1537203"/>
                </a:moveTo>
                <a:cubicBezTo>
                  <a:pt x="2678" y="1223238"/>
                  <a:pt x="5355" y="909273"/>
                  <a:pt x="8033" y="595308"/>
                </a:cubicBezTo>
                <a:cubicBezTo>
                  <a:pt x="8033" y="266528"/>
                  <a:pt x="274561" y="0"/>
                  <a:pt x="603341" y="0"/>
                </a:cubicBezTo>
                <a:lnTo>
                  <a:pt x="1036875" y="4294"/>
                </a:lnTo>
              </a:path>
            </a:pathLst>
          </a:custGeom>
          <a:noFill/>
          <a:ln w="25400" cap="flat" cmpd="sng">
            <a:solidFill>
              <a:schemeClr val="accent6"/>
            </a:solidFill>
            <a:prstDash val="solid"/>
            <a:miter lim="400000"/>
            <a:headEnd type="none" w="med" len="med"/>
            <a:tailEnd type="none" w="med" len="med"/>
          </a:ln>
          <a:extLst>
            <a:ext uri="{909E8E84-426E-40DD-AFC4-6F175D3DCCD1}">
              <a14:hiddenFill xmlns:a14="http://schemas.microsoft.com/office/drawing/2010/main">
                <a:solidFill>
                  <a:srgbClr val="FFFFFF"/>
                </a:solidFill>
              </a14:hiddenFill>
            </a:ext>
          </a:extLst>
        </p:spPr>
        <p:txBody>
          <a:bodyPr wrap="square" lIns="0" tIns="0" rIns="0" bIns="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900" b="0" i="0" u="none" strike="noStrike" kern="1200" cap="none" spc="0" normalizeH="0" baseline="0" noProof="0">
              <a:ln>
                <a:noFill/>
              </a:ln>
              <a:solidFill>
                <a:srgbClr val="000000"/>
              </a:solidFill>
              <a:effectLst/>
              <a:uLnTx/>
              <a:uFillTx/>
              <a:latin typeface="Arial" panose="020F0502020204030204"/>
              <a:ea typeface="微软雅黑"/>
              <a:cs typeface="+mn-cs"/>
            </a:endParaRPr>
          </a:p>
        </p:txBody>
      </p:sp>
      <p:cxnSp>
        <p:nvCxnSpPr>
          <p:cNvPr id="6" name="Straight Connector 10">
            <a:extLst>
              <a:ext uri="{FF2B5EF4-FFF2-40B4-BE49-F238E27FC236}">
                <a16:creationId xmlns:a16="http://schemas.microsoft.com/office/drawing/2014/main" id="{A37CCE3F-AB6A-10C9-E8A8-8A07579DFF31}"/>
              </a:ext>
            </a:extLst>
          </p:cNvPr>
          <p:cNvCxnSpPr>
            <a:cxnSpLocks noChangeShapeType="1"/>
          </p:cNvCxnSpPr>
          <p:nvPr/>
        </p:nvCxnSpPr>
        <p:spPr bwMode="auto">
          <a:xfrm flipV="1">
            <a:off x="5988051" y="2263616"/>
            <a:ext cx="0" cy="424657"/>
          </a:xfrm>
          <a:prstGeom prst="line">
            <a:avLst/>
          </a:prstGeom>
          <a:noFill/>
          <a:ln w="25400">
            <a:solidFill>
              <a:schemeClr val="accent6"/>
            </a:solidFill>
            <a:miter lim="400000"/>
            <a:headEnd/>
            <a:tailEnd/>
          </a:ln>
          <a:extLst>
            <a:ext uri="{909E8E84-426E-40DD-AFC4-6F175D3DCCD1}">
              <a14:hiddenFill xmlns:a14="http://schemas.microsoft.com/office/drawing/2010/main">
                <a:noFill/>
              </a14:hiddenFill>
            </a:ext>
          </a:extLst>
        </p:spPr>
      </p:cxnSp>
      <p:sp>
        <p:nvSpPr>
          <p:cNvPr id="28" name="gaoding-5">
            <a:extLst>
              <a:ext uri="{FF2B5EF4-FFF2-40B4-BE49-F238E27FC236}">
                <a16:creationId xmlns:a16="http://schemas.microsoft.com/office/drawing/2014/main" id="{258F4EE4-FB6F-43D9-8442-DDD5893D25A5}"/>
              </a:ext>
            </a:extLst>
          </p:cNvPr>
          <p:cNvSpPr/>
          <p:nvPr/>
        </p:nvSpPr>
        <p:spPr>
          <a:xfrm>
            <a:off x="939236" y="3181728"/>
            <a:ext cx="2104567" cy="523220"/>
          </a:xfrm>
          <a:prstGeom prst="roundRect">
            <a:avLst>
              <a:gd name="adj" fmla="val 50000"/>
            </a:avLst>
          </a:prstGeom>
          <a:gradFill flip="none" rotWithShape="1">
            <a:gsLst>
              <a:gs pos="1000">
                <a:schemeClr val="accent1"/>
              </a:gs>
              <a:gs pos="100000">
                <a:schemeClr val="accent1">
                  <a:lumMod val="60000"/>
                  <a:lumOff val="40000"/>
                </a:schemeClr>
              </a:gs>
            </a:gsLst>
            <a:lin ang="2700000" scaled="0"/>
            <a:tileRect/>
          </a:gradFill>
          <a:ln>
            <a:noFill/>
          </a:ln>
          <a:effectLst>
            <a:outerShdw blurRad="254000" dist="76200" dir="5400000" sx="90000" sy="90000" algn="t"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5720" tIns="22860" rIns="45720" bIns="228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srgbClr val="FFFFFF"/>
              </a:solidFill>
              <a:effectLst/>
              <a:uLnTx/>
              <a:uFillTx/>
              <a:latin typeface="OPPOSans R" panose="00020600040101010101" pitchFamily="18" charset="-122"/>
              <a:ea typeface="微软雅黑"/>
              <a:cs typeface="+mn-cs"/>
            </a:endParaRPr>
          </a:p>
        </p:txBody>
      </p:sp>
      <p:sp>
        <p:nvSpPr>
          <p:cNvPr id="29" name="gaoding-6">
            <a:extLst>
              <a:ext uri="{FF2B5EF4-FFF2-40B4-BE49-F238E27FC236}">
                <a16:creationId xmlns:a16="http://schemas.microsoft.com/office/drawing/2014/main" id="{532D65AE-2011-4C00-81A0-4033877D47CE}"/>
              </a:ext>
            </a:extLst>
          </p:cNvPr>
          <p:cNvSpPr/>
          <p:nvPr/>
        </p:nvSpPr>
        <p:spPr>
          <a:xfrm>
            <a:off x="3587630" y="3181728"/>
            <a:ext cx="2104567" cy="523220"/>
          </a:xfrm>
          <a:prstGeom prst="roundRect">
            <a:avLst>
              <a:gd name="adj" fmla="val 50000"/>
            </a:avLst>
          </a:prstGeom>
          <a:gradFill flip="none" rotWithShape="1">
            <a:gsLst>
              <a:gs pos="1000">
                <a:schemeClr val="accent2"/>
              </a:gs>
              <a:gs pos="100000">
                <a:schemeClr val="accent2">
                  <a:lumMod val="60000"/>
                  <a:lumOff val="40000"/>
                </a:schemeClr>
              </a:gs>
            </a:gsLst>
            <a:lin ang="2700000" scaled="0"/>
            <a:tileRect/>
          </a:gradFill>
          <a:ln>
            <a:noFill/>
          </a:ln>
          <a:effectLst>
            <a:outerShdw blurRad="254000" dist="76200" dir="5400000" sx="90000" sy="90000" algn="t"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5720" tIns="22860" rIns="45720" bIns="228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srgbClr val="FFFFFF"/>
              </a:solidFill>
              <a:effectLst/>
              <a:uLnTx/>
              <a:uFillTx/>
              <a:latin typeface="OPPOSans R" panose="00020600040101010101" pitchFamily="18" charset="-122"/>
              <a:ea typeface="微软雅黑"/>
              <a:cs typeface="+mn-cs"/>
            </a:endParaRPr>
          </a:p>
        </p:txBody>
      </p:sp>
      <p:sp>
        <p:nvSpPr>
          <p:cNvPr id="30" name="gaoding-7">
            <a:extLst>
              <a:ext uri="{FF2B5EF4-FFF2-40B4-BE49-F238E27FC236}">
                <a16:creationId xmlns:a16="http://schemas.microsoft.com/office/drawing/2014/main" id="{2A205A2D-6FCC-45F2-9B4D-A1634B767E34}"/>
              </a:ext>
            </a:extLst>
          </p:cNvPr>
          <p:cNvSpPr/>
          <p:nvPr/>
        </p:nvSpPr>
        <p:spPr>
          <a:xfrm>
            <a:off x="6236024" y="3181728"/>
            <a:ext cx="2104567" cy="523220"/>
          </a:xfrm>
          <a:prstGeom prst="roundRect">
            <a:avLst>
              <a:gd name="adj" fmla="val 50000"/>
            </a:avLst>
          </a:prstGeom>
          <a:gradFill flip="none" rotWithShape="1">
            <a:gsLst>
              <a:gs pos="1000">
                <a:schemeClr val="accent1"/>
              </a:gs>
              <a:gs pos="100000">
                <a:schemeClr val="accent1">
                  <a:lumMod val="60000"/>
                  <a:lumOff val="40000"/>
                </a:schemeClr>
              </a:gs>
            </a:gsLst>
            <a:lin ang="2700000" scaled="0"/>
            <a:tileRect/>
          </a:gradFill>
          <a:ln>
            <a:noFill/>
          </a:ln>
          <a:effectLst>
            <a:outerShdw blurRad="254000" dist="76200" dir="5400000" sx="90000" sy="90000" algn="t"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5720" tIns="22860" rIns="45720" bIns="228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srgbClr val="FFFFFF"/>
              </a:solidFill>
              <a:effectLst/>
              <a:uLnTx/>
              <a:uFillTx/>
              <a:latin typeface="OPPOSans R" panose="00020600040101010101" pitchFamily="18" charset="-122"/>
              <a:ea typeface="微软雅黑"/>
              <a:cs typeface="+mn-cs"/>
            </a:endParaRPr>
          </a:p>
        </p:txBody>
      </p:sp>
      <p:sp>
        <p:nvSpPr>
          <p:cNvPr id="31" name="gaoding-8">
            <a:extLst>
              <a:ext uri="{FF2B5EF4-FFF2-40B4-BE49-F238E27FC236}">
                <a16:creationId xmlns:a16="http://schemas.microsoft.com/office/drawing/2014/main" id="{6B30A57E-89DF-4B32-A5B4-40B26E1AB743}"/>
              </a:ext>
            </a:extLst>
          </p:cNvPr>
          <p:cNvSpPr/>
          <p:nvPr/>
        </p:nvSpPr>
        <p:spPr>
          <a:xfrm>
            <a:off x="8884419" y="3181728"/>
            <a:ext cx="2104567" cy="523220"/>
          </a:xfrm>
          <a:prstGeom prst="roundRect">
            <a:avLst>
              <a:gd name="adj" fmla="val 50000"/>
            </a:avLst>
          </a:prstGeom>
          <a:gradFill flip="none" rotWithShape="1">
            <a:gsLst>
              <a:gs pos="1000">
                <a:schemeClr val="accent2"/>
              </a:gs>
              <a:gs pos="100000">
                <a:schemeClr val="accent2">
                  <a:lumMod val="60000"/>
                  <a:lumOff val="40000"/>
                </a:schemeClr>
              </a:gs>
            </a:gsLst>
            <a:lin ang="2700000" scaled="0"/>
            <a:tileRect/>
          </a:gradFill>
          <a:ln>
            <a:noFill/>
          </a:ln>
          <a:effectLst>
            <a:outerShdw blurRad="254000" dist="76200" dir="5400000" sx="90000" sy="90000" algn="t"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5720" tIns="22860" rIns="45720" bIns="228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srgbClr val="FFFFFF"/>
              </a:solidFill>
              <a:effectLst/>
              <a:uLnTx/>
              <a:uFillTx/>
              <a:latin typeface="OPPOSans R" panose="00020600040101010101" pitchFamily="18" charset="-122"/>
              <a:ea typeface="微软雅黑"/>
              <a:cs typeface="+mn-cs"/>
            </a:endParaRPr>
          </a:p>
        </p:txBody>
      </p:sp>
      <p:sp>
        <p:nvSpPr>
          <p:cNvPr id="2" name="gaoding-9">
            <a:extLst>
              <a:ext uri="{FF2B5EF4-FFF2-40B4-BE49-F238E27FC236}">
                <a16:creationId xmlns:a16="http://schemas.microsoft.com/office/drawing/2014/main" id="{F74EAB1B-9C06-4F83-BDC6-49EC0557101D}"/>
              </a:ext>
            </a:extLst>
          </p:cNvPr>
          <p:cNvSpPr/>
          <p:nvPr/>
        </p:nvSpPr>
        <p:spPr>
          <a:xfrm>
            <a:off x="4968240" y="1708099"/>
            <a:ext cx="2245360" cy="645797"/>
          </a:xfrm>
          <a:prstGeom prst="roundRect">
            <a:avLst>
              <a:gd name="adj" fmla="val 50000"/>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srgbClr val="FFFFFF"/>
              </a:solidFill>
              <a:effectLst/>
              <a:uLnTx/>
              <a:uFillTx/>
              <a:latin typeface="OPPOSans R" panose="00020600040101010101" pitchFamily="18" charset="-122"/>
              <a:ea typeface="微软雅黑"/>
              <a:cs typeface="+mn-cs"/>
            </a:endParaRPr>
          </a:p>
        </p:txBody>
      </p:sp>
      <p:sp>
        <p:nvSpPr>
          <p:cNvPr id="15377" name="gaoding-10">
            <a:extLst>
              <a:ext uri="{FF2B5EF4-FFF2-40B4-BE49-F238E27FC236}">
                <a16:creationId xmlns:a16="http://schemas.microsoft.com/office/drawing/2014/main" id="{AA75E239-D0B0-48F1-8E89-482693C93E17}"/>
              </a:ext>
            </a:extLst>
          </p:cNvPr>
          <p:cNvSpPr txBox="1">
            <a:spLocks noChangeArrowheads="1"/>
          </p:cNvSpPr>
          <p:nvPr/>
        </p:nvSpPr>
        <p:spPr bwMode="auto">
          <a:xfrm>
            <a:off x="5167536" y="1755270"/>
            <a:ext cx="1836198"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3000" b="1">
                <a:solidFill>
                  <a:srgbClr val="000000"/>
                </a:solidFill>
                <a:latin typeface="Helvetica Neue" charset="0"/>
                <a:ea typeface="Helvetica Neue" charset="0"/>
                <a:cs typeface="Helvetica Neue" charset="0"/>
                <a:sym typeface="Helvetica Neue" charset="0"/>
              </a:defRPr>
            </a:lvl1pPr>
            <a:lvl2pPr marL="742950" indent="-285750">
              <a:defRPr sz="3000" b="1">
                <a:solidFill>
                  <a:srgbClr val="000000"/>
                </a:solidFill>
                <a:latin typeface="Helvetica Neue" charset="0"/>
                <a:ea typeface="Helvetica Neue" charset="0"/>
                <a:cs typeface="Helvetica Neue" charset="0"/>
                <a:sym typeface="Helvetica Neue" charset="0"/>
              </a:defRPr>
            </a:lvl2pPr>
            <a:lvl3pPr marL="1143000" indent="-228600">
              <a:defRPr sz="3000" b="1">
                <a:solidFill>
                  <a:srgbClr val="000000"/>
                </a:solidFill>
                <a:latin typeface="Helvetica Neue" charset="0"/>
                <a:ea typeface="Helvetica Neue" charset="0"/>
                <a:cs typeface="Helvetica Neue" charset="0"/>
                <a:sym typeface="Helvetica Neue" charset="0"/>
              </a:defRPr>
            </a:lvl3pPr>
            <a:lvl4pPr marL="1600200" indent="-228600">
              <a:defRPr sz="3000" b="1">
                <a:solidFill>
                  <a:srgbClr val="000000"/>
                </a:solidFill>
                <a:latin typeface="Helvetica Neue" charset="0"/>
                <a:ea typeface="Helvetica Neue" charset="0"/>
                <a:cs typeface="Helvetica Neue" charset="0"/>
                <a:sym typeface="Helvetica Neue" charset="0"/>
              </a:defRPr>
            </a:lvl4pPr>
            <a:lvl5pPr marL="2057400" indent="-228600">
              <a:defRPr sz="3000" b="1">
                <a:solidFill>
                  <a:srgbClr val="000000"/>
                </a:solidFill>
                <a:latin typeface="Helvetica Neue" charset="0"/>
                <a:ea typeface="Helvetica Neue" charset="0"/>
                <a:cs typeface="Helvetica Neue" charset="0"/>
                <a:sym typeface="Helvetica Neue" charset="0"/>
              </a:defRPr>
            </a:lvl5pPr>
            <a:lvl6pPr marL="2514600" indent="-228600" defTabSz="825500" eaLnBrk="0" fontAlgn="base" hangingPunct="0">
              <a:spcBef>
                <a:spcPct val="0"/>
              </a:spcBef>
              <a:spcAft>
                <a:spcPct val="0"/>
              </a:spcAft>
              <a:defRPr sz="3000" b="1">
                <a:solidFill>
                  <a:srgbClr val="000000"/>
                </a:solidFill>
                <a:latin typeface="Helvetica Neue" charset="0"/>
                <a:ea typeface="Helvetica Neue" charset="0"/>
                <a:cs typeface="Helvetica Neue" charset="0"/>
                <a:sym typeface="Helvetica Neue" charset="0"/>
              </a:defRPr>
            </a:lvl6pPr>
            <a:lvl7pPr marL="2971800" indent="-228600" defTabSz="825500" eaLnBrk="0" fontAlgn="base" hangingPunct="0">
              <a:spcBef>
                <a:spcPct val="0"/>
              </a:spcBef>
              <a:spcAft>
                <a:spcPct val="0"/>
              </a:spcAft>
              <a:defRPr sz="3000" b="1">
                <a:solidFill>
                  <a:srgbClr val="000000"/>
                </a:solidFill>
                <a:latin typeface="Helvetica Neue" charset="0"/>
                <a:ea typeface="Helvetica Neue" charset="0"/>
                <a:cs typeface="Helvetica Neue" charset="0"/>
                <a:sym typeface="Helvetica Neue" charset="0"/>
              </a:defRPr>
            </a:lvl7pPr>
            <a:lvl8pPr marL="3429000" indent="-228600" defTabSz="825500" eaLnBrk="0" fontAlgn="base" hangingPunct="0">
              <a:spcBef>
                <a:spcPct val="0"/>
              </a:spcBef>
              <a:spcAft>
                <a:spcPct val="0"/>
              </a:spcAft>
              <a:defRPr sz="3000" b="1">
                <a:solidFill>
                  <a:srgbClr val="000000"/>
                </a:solidFill>
                <a:latin typeface="Helvetica Neue" charset="0"/>
                <a:ea typeface="Helvetica Neue" charset="0"/>
                <a:cs typeface="Helvetica Neue" charset="0"/>
                <a:sym typeface="Helvetica Neue" charset="0"/>
              </a:defRPr>
            </a:lvl8pPr>
            <a:lvl9pPr marL="3886200" indent="-228600" defTabSz="825500" eaLnBrk="0" fontAlgn="base" hangingPunct="0">
              <a:spcBef>
                <a:spcPct val="0"/>
              </a:spcBef>
              <a:spcAft>
                <a:spcPct val="0"/>
              </a:spcAft>
              <a:defRPr sz="3000" b="1">
                <a:solidFill>
                  <a:srgbClr val="000000"/>
                </a:solidFill>
                <a:latin typeface="Helvetica Neue" charset="0"/>
                <a:ea typeface="Helvetica Neue" charset="0"/>
                <a:cs typeface="Helvetica Neue" charset="0"/>
                <a:sym typeface="Helvetica Neue"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3200" b="1" i="0" u="none" strike="noStrike" kern="1200" cap="none" spc="0" normalizeH="0" baseline="0" noProof="0" dirty="0">
                <a:ln>
                  <a:noFill/>
                </a:ln>
                <a:solidFill>
                  <a:srgbClr val="000000">
                    <a:lumMod val="75000"/>
                    <a:lumOff val="25000"/>
                  </a:srgbClr>
                </a:solidFill>
                <a:effectLst/>
                <a:uLnTx/>
                <a:uFillTx/>
                <a:latin typeface="OPPOSans B" panose="00020600040101010101" pitchFamily="18" charset="-122"/>
                <a:ea typeface="OPPOSans B" panose="00020600040101010101" pitchFamily="18" charset="-122"/>
                <a:cs typeface="OPPOSans B" panose="00020600040101010101" pitchFamily="18" charset="-122"/>
                <a:sym typeface="Helvetica Neue" charset="0"/>
              </a:rPr>
              <a:t>秋叶</a:t>
            </a:r>
            <a:r>
              <a:rPr kumimoji="0" lang="en-US" altLang="zh-CN" sz="3200" b="1" i="0" u="none" strike="noStrike" kern="1200" cap="none" spc="0" normalizeH="0" baseline="0" noProof="0" dirty="0">
                <a:ln>
                  <a:noFill/>
                </a:ln>
                <a:solidFill>
                  <a:srgbClr val="000000">
                    <a:lumMod val="75000"/>
                    <a:lumOff val="25000"/>
                  </a:srgbClr>
                </a:solidFill>
                <a:effectLst/>
                <a:uLnTx/>
                <a:uFillTx/>
                <a:latin typeface="OPPOSans B" panose="00020600040101010101" pitchFamily="18" charset="-122"/>
                <a:ea typeface="OPPOSans B" panose="00020600040101010101" pitchFamily="18" charset="-122"/>
                <a:cs typeface="OPPOSans B" panose="00020600040101010101" pitchFamily="18" charset="-122"/>
                <a:sym typeface="Helvetica Neue" charset="0"/>
              </a:rPr>
              <a:t>PPT</a:t>
            </a:r>
          </a:p>
        </p:txBody>
      </p:sp>
      <p:sp>
        <p:nvSpPr>
          <p:cNvPr id="32" name="gaoding-11">
            <a:extLst>
              <a:ext uri="{FF2B5EF4-FFF2-40B4-BE49-F238E27FC236}">
                <a16:creationId xmlns:a16="http://schemas.microsoft.com/office/drawing/2014/main" id="{284A1E4F-AF3C-4FF9-BC91-3DB86411560E}"/>
              </a:ext>
            </a:extLst>
          </p:cNvPr>
          <p:cNvSpPr txBox="1">
            <a:spLocks/>
          </p:cNvSpPr>
          <p:nvPr/>
        </p:nvSpPr>
        <p:spPr bwMode="auto">
          <a:xfrm>
            <a:off x="1015436" y="3263802"/>
            <a:ext cx="1905317" cy="35907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square" lIns="25400" tIns="25400" rIns="25400" bIns="2540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2000" b="1" i="0" u="none" strike="noStrike" kern="1200" cap="none" spc="0" normalizeH="0" baseline="0" noProof="0" dirty="0">
                <a:ln>
                  <a:noFill/>
                </a:ln>
                <a:solidFill>
                  <a:srgbClr val="FFFFFF"/>
                </a:solidFill>
                <a:effectLst/>
                <a:uLnTx/>
                <a:uFillTx/>
                <a:latin typeface="OPPOSans B" panose="00020600040101010101" pitchFamily="18" charset="-122"/>
                <a:ea typeface="OPPOSans B" panose="00020600040101010101" pitchFamily="18" charset="-122"/>
                <a:cs typeface="OPPOSans B" panose="00020600040101010101" pitchFamily="18" charset="-122"/>
              </a:rPr>
              <a:t>更快更轻松</a:t>
            </a:r>
          </a:p>
        </p:txBody>
      </p:sp>
      <p:sp>
        <p:nvSpPr>
          <p:cNvPr id="33" name="gaoding-12">
            <a:extLst>
              <a:ext uri="{FF2B5EF4-FFF2-40B4-BE49-F238E27FC236}">
                <a16:creationId xmlns:a16="http://schemas.microsoft.com/office/drawing/2014/main" id="{2868299C-CC1F-4EB3-B4BD-3D986308BC10}"/>
              </a:ext>
            </a:extLst>
          </p:cNvPr>
          <p:cNvSpPr txBox="1">
            <a:spLocks/>
          </p:cNvSpPr>
          <p:nvPr/>
        </p:nvSpPr>
        <p:spPr bwMode="auto">
          <a:xfrm>
            <a:off x="3645591" y="3263802"/>
            <a:ext cx="1905317" cy="35907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square" lIns="25400" tIns="25400" rIns="25400" bIns="2540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2000" b="1" i="0" u="none" strike="noStrike" kern="1200" cap="none" spc="0" normalizeH="0" baseline="0" noProof="0" dirty="0">
                <a:ln>
                  <a:noFill/>
                </a:ln>
                <a:solidFill>
                  <a:srgbClr val="FFFFFF"/>
                </a:solidFill>
                <a:effectLst/>
                <a:uLnTx/>
                <a:uFillTx/>
                <a:latin typeface="OPPOSans B" panose="00020600040101010101" pitchFamily="18" charset="-122"/>
                <a:ea typeface="OPPOSans B" panose="00020600040101010101" pitchFamily="18" charset="-122"/>
                <a:cs typeface="OPPOSans B" panose="00020600040101010101" pitchFamily="18" charset="-122"/>
              </a:rPr>
              <a:t>多用途场景</a:t>
            </a:r>
          </a:p>
        </p:txBody>
      </p:sp>
      <p:sp>
        <p:nvSpPr>
          <p:cNvPr id="34" name="gaoding-13">
            <a:extLst>
              <a:ext uri="{FF2B5EF4-FFF2-40B4-BE49-F238E27FC236}">
                <a16:creationId xmlns:a16="http://schemas.microsoft.com/office/drawing/2014/main" id="{8E104F98-DA7A-4C5A-A1C4-1A3D971F4CAD}"/>
              </a:ext>
            </a:extLst>
          </p:cNvPr>
          <p:cNvSpPr txBox="1">
            <a:spLocks/>
          </p:cNvSpPr>
          <p:nvPr/>
        </p:nvSpPr>
        <p:spPr bwMode="auto">
          <a:xfrm>
            <a:off x="6360128" y="3263802"/>
            <a:ext cx="1905317" cy="35907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square" lIns="25400" tIns="25400" rIns="25400" bIns="2540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2000" b="1" i="0" u="none" strike="noStrike" kern="1200" cap="none" spc="0" normalizeH="0" baseline="0" noProof="0" dirty="0">
                <a:ln>
                  <a:noFill/>
                </a:ln>
                <a:solidFill>
                  <a:srgbClr val="FFFFFF"/>
                </a:solidFill>
                <a:effectLst/>
                <a:uLnTx/>
                <a:uFillTx/>
                <a:latin typeface="OPPOSans B" panose="00020600040101010101" pitchFamily="18" charset="-122"/>
                <a:ea typeface="OPPOSans B" panose="00020600040101010101" pitchFamily="18" charset="-122"/>
                <a:cs typeface="OPPOSans B" panose="00020600040101010101" pitchFamily="18" charset="-122"/>
              </a:rPr>
              <a:t>强大表现力</a:t>
            </a:r>
          </a:p>
        </p:txBody>
      </p:sp>
      <p:sp>
        <p:nvSpPr>
          <p:cNvPr id="35" name="gaoding-14">
            <a:extLst>
              <a:ext uri="{FF2B5EF4-FFF2-40B4-BE49-F238E27FC236}">
                <a16:creationId xmlns:a16="http://schemas.microsoft.com/office/drawing/2014/main" id="{1EC47368-707A-4434-9494-8579D7125393}"/>
              </a:ext>
            </a:extLst>
          </p:cNvPr>
          <p:cNvSpPr txBox="1">
            <a:spLocks/>
          </p:cNvSpPr>
          <p:nvPr/>
        </p:nvSpPr>
        <p:spPr bwMode="auto">
          <a:xfrm>
            <a:off x="8952729" y="3263802"/>
            <a:ext cx="1905317" cy="35907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square" lIns="25400" tIns="25400" rIns="25400" bIns="2540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2000" b="1" i="0" u="none" strike="noStrike" kern="1200" cap="none" spc="0" normalizeH="0" baseline="0" noProof="0" dirty="0">
                <a:ln>
                  <a:noFill/>
                </a:ln>
                <a:solidFill>
                  <a:srgbClr val="FFFFFF"/>
                </a:solidFill>
                <a:effectLst/>
                <a:uLnTx/>
                <a:uFillTx/>
                <a:latin typeface="OPPOSans B" panose="00020600040101010101" pitchFamily="18" charset="-122"/>
                <a:ea typeface="OPPOSans B" panose="00020600040101010101" pitchFamily="18" charset="-122"/>
                <a:cs typeface="OPPOSans B" panose="00020600040101010101" pitchFamily="18" charset="-122"/>
              </a:rPr>
              <a:t>千余款模板</a:t>
            </a:r>
          </a:p>
        </p:txBody>
      </p:sp>
      <p:sp>
        <p:nvSpPr>
          <p:cNvPr id="36" name="gaoding-15">
            <a:extLst>
              <a:ext uri="{FF2B5EF4-FFF2-40B4-BE49-F238E27FC236}">
                <a16:creationId xmlns:a16="http://schemas.microsoft.com/office/drawing/2014/main" id="{D07C4B53-8C32-4348-A901-7A5B1E2A2234}"/>
              </a:ext>
            </a:extLst>
          </p:cNvPr>
          <p:cNvSpPr txBox="1"/>
          <p:nvPr/>
        </p:nvSpPr>
        <p:spPr>
          <a:xfrm>
            <a:off x="1054307" y="3822343"/>
            <a:ext cx="2050947" cy="1102353"/>
          </a:xfrm>
          <a:prstGeom prst="rect">
            <a:avLst/>
          </a:prstGeom>
          <a:noFill/>
        </p:spPr>
        <p:txBody>
          <a:bodyPr wrap="square" lIns="0" tIns="0" rIns="0" bIns="0" rtlCol="0">
            <a:spAutoFit/>
          </a:bodyPr>
          <a:lstStyle/>
          <a:p>
            <a:pPr marL="0" marR="0" lvl="0" indent="0" algn="ctr" defTabSz="914400" rtl="0" eaLnBrk="1" fontAlgn="auto" latinLnBrk="0" hangingPunct="1">
              <a:lnSpc>
                <a:spcPct val="130000"/>
              </a:lnSpc>
              <a:spcBef>
                <a:spcPts val="0"/>
              </a:spcBef>
              <a:spcAft>
                <a:spcPts val="0"/>
              </a:spcAft>
              <a:buClrTx/>
              <a:buSzTx/>
              <a:buFontTx/>
              <a:buNone/>
              <a:tabLst/>
              <a:defRPr/>
            </a:pPr>
            <a:r>
              <a:rPr kumimoji="0" lang="zh-CN" altLang="en-US" sz="1400" b="0" i="0" u="none" strike="noStrike" kern="1200" cap="none" spc="0" normalizeH="0" baseline="0" noProof="0" dirty="0">
                <a:ln>
                  <a:noFill/>
                </a:ln>
                <a:solidFill>
                  <a:srgbClr val="000000">
                    <a:lumMod val="65000"/>
                    <a:lumOff val="3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rPr>
              <a:t>秋叶</a:t>
            </a:r>
            <a:r>
              <a:rPr kumimoji="0" lang="en-US" altLang="zh-CN" sz="1400" b="0" i="0" u="none" strike="noStrike" kern="1200" cap="none" spc="0" normalizeH="0" baseline="0" noProof="0" dirty="0">
                <a:ln>
                  <a:noFill/>
                </a:ln>
                <a:solidFill>
                  <a:srgbClr val="000000">
                    <a:lumMod val="65000"/>
                    <a:lumOff val="3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rPr>
              <a:t>PPT</a:t>
            </a:r>
            <a:r>
              <a:rPr kumimoji="0" lang="zh-CN" altLang="en-US" sz="1400" b="0" i="0" u="none" strike="noStrike" kern="1200" cap="none" spc="0" normalizeH="0" baseline="0" noProof="0" dirty="0">
                <a:ln>
                  <a:noFill/>
                </a:ln>
                <a:solidFill>
                  <a:srgbClr val="000000">
                    <a:lumMod val="65000"/>
                    <a:lumOff val="3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rPr>
              <a:t>拥有千余款模板线上到插件同步上新，覆盖商务、教育、金融等多用途场景</a:t>
            </a:r>
          </a:p>
        </p:txBody>
      </p:sp>
      <p:sp>
        <p:nvSpPr>
          <p:cNvPr id="38" name="gaoding-16">
            <a:extLst>
              <a:ext uri="{FF2B5EF4-FFF2-40B4-BE49-F238E27FC236}">
                <a16:creationId xmlns:a16="http://schemas.microsoft.com/office/drawing/2014/main" id="{7F384940-EF63-4141-A622-9626658E1B90}"/>
              </a:ext>
            </a:extLst>
          </p:cNvPr>
          <p:cNvSpPr txBox="1"/>
          <p:nvPr/>
        </p:nvSpPr>
        <p:spPr>
          <a:xfrm>
            <a:off x="3706551" y="3822343"/>
            <a:ext cx="2050947" cy="822276"/>
          </a:xfrm>
          <a:prstGeom prst="rect">
            <a:avLst/>
          </a:prstGeom>
          <a:noFill/>
        </p:spPr>
        <p:txBody>
          <a:bodyPr wrap="square" lIns="0" tIns="0" rIns="0" bIns="0" rtlCol="0">
            <a:spAutoFit/>
          </a:bodyPr>
          <a:lstStyle/>
          <a:p>
            <a:pPr marL="0" marR="0" lvl="0" indent="0" algn="ctr" defTabSz="914400" rtl="0" eaLnBrk="1" fontAlgn="auto" latinLnBrk="0" hangingPunct="1">
              <a:lnSpc>
                <a:spcPct val="130000"/>
              </a:lnSpc>
              <a:spcBef>
                <a:spcPts val="0"/>
              </a:spcBef>
              <a:spcAft>
                <a:spcPts val="0"/>
              </a:spcAft>
              <a:buClrTx/>
              <a:buSzTx/>
              <a:buFontTx/>
              <a:buNone/>
              <a:tabLst/>
              <a:defRPr/>
            </a:pPr>
            <a:r>
              <a:rPr kumimoji="0" lang="zh-CN" altLang="en-US" sz="1400" b="0" i="0" u="none" strike="noStrike" kern="1200" cap="none" spc="0" normalizeH="0" baseline="0" noProof="0" dirty="0">
                <a:ln>
                  <a:noFill/>
                </a:ln>
                <a:solidFill>
                  <a:srgbClr val="000000">
                    <a:lumMod val="65000"/>
                    <a:lumOff val="3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rPr>
              <a:t>秋叶</a:t>
            </a:r>
            <a:r>
              <a:rPr kumimoji="0" lang="en-US" altLang="zh-CN" sz="1400" b="0" i="0" u="none" strike="noStrike" kern="1200" cap="none" spc="0" normalizeH="0" baseline="0" noProof="0" dirty="0">
                <a:ln>
                  <a:noFill/>
                </a:ln>
                <a:solidFill>
                  <a:srgbClr val="000000">
                    <a:lumMod val="65000"/>
                    <a:lumOff val="3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rPr>
              <a:t>PPT</a:t>
            </a:r>
            <a:r>
              <a:rPr kumimoji="0" lang="zh-CN" altLang="en-US" sz="1400" b="0" i="0" u="none" strike="noStrike" kern="1200" cap="none" spc="0" normalizeH="0" baseline="0" noProof="0" dirty="0">
                <a:ln>
                  <a:noFill/>
                </a:ln>
                <a:solidFill>
                  <a:srgbClr val="000000">
                    <a:lumMod val="65000"/>
                    <a:lumOff val="3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rPr>
              <a:t>丰富的信息图表覆盖多种逻辑关系，帮助梳理内容</a:t>
            </a:r>
          </a:p>
        </p:txBody>
      </p:sp>
      <p:sp>
        <p:nvSpPr>
          <p:cNvPr id="40" name="gaoding-17">
            <a:extLst>
              <a:ext uri="{FF2B5EF4-FFF2-40B4-BE49-F238E27FC236}">
                <a16:creationId xmlns:a16="http://schemas.microsoft.com/office/drawing/2014/main" id="{7B2B5257-484F-451B-8323-93F6BE2D6DC0}"/>
              </a:ext>
            </a:extLst>
          </p:cNvPr>
          <p:cNvSpPr txBox="1"/>
          <p:nvPr/>
        </p:nvSpPr>
        <p:spPr>
          <a:xfrm>
            <a:off x="6347412" y="3818136"/>
            <a:ext cx="2050947" cy="542200"/>
          </a:xfrm>
          <a:prstGeom prst="rect">
            <a:avLst/>
          </a:prstGeom>
          <a:noFill/>
        </p:spPr>
        <p:txBody>
          <a:bodyPr wrap="square" lIns="0" tIns="0" rIns="0" bIns="0" rtlCol="0">
            <a:spAutoFit/>
          </a:bodyPr>
          <a:lstStyle/>
          <a:p>
            <a:pPr marL="0" marR="0" lvl="0" indent="0" algn="ctr" defTabSz="914400" rtl="0" eaLnBrk="1" fontAlgn="auto" latinLnBrk="0" hangingPunct="1">
              <a:lnSpc>
                <a:spcPct val="130000"/>
              </a:lnSpc>
              <a:spcBef>
                <a:spcPts val="0"/>
              </a:spcBef>
              <a:spcAft>
                <a:spcPts val="0"/>
              </a:spcAft>
              <a:buClrTx/>
              <a:buSzTx/>
              <a:buFontTx/>
              <a:buNone/>
              <a:tabLst/>
              <a:defRPr/>
            </a:pPr>
            <a:r>
              <a:rPr kumimoji="0" lang="zh-CN" altLang="en-US" sz="1400" b="0" i="0" u="none" strike="noStrike" kern="1200" cap="none" spc="0" normalizeH="0" baseline="0" noProof="0" dirty="0">
                <a:ln>
                  <a:noFill/>
                </a:ln>
                <a:solidFill>
                  <a:srgbClr val="000000">
                    <a:lumMod val="65000"/>
                    <a:lumOff val="3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rPr>
              <a:t>借助秋叶</a:t>
            </a:r>
            <a:r>
              <a:rPr kumimoji="0" lang="en-US" altLang="zh-CN" sz="1400" b="0" i="0" u="none" strike="noStrike" kern="1200" cap="none" spc="0" normalizeH="0" baseline="0" noProof="0" dirty="0">
                <a:ln>
                  <a:noFill/>
                </a:ln>
                <a:solidFill>
                  <a:srgbClr val="000000">
                    <a:lumMod val="65000"/>
                    <a:lumOff val="3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rPr>
              <a:t>PPT</a:t>
            </a:r>
            <a:r>
              <a:rPr kumimoji="0" lang="zh-CN" altLang="en-US" sz="1400" b="0" i="0" u="none" strike="noStrike" kern="1200" cap="none" spc="0" normalizeH="0" baseline="0" noProof="0" dirty="0">
                <a:ln>
                  <a:noFill/>
                </a:ln>
                <a:solidFill>
                  <a:srgbClr val="000000">
                    <a:lumMod val="65000"/>
                    <a:lumOff val="3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rPr>
              <a:t>插件，用强大视觉表现力打动听众</a:t>
            </a:r>
          </a:p>
        </p:txBody>
      </p:sp>
      <p:sp>
        <p:nvSpPr>
          <p:cNvPr id="42" name="gaoding-18">
            <a:extLst>
              <a:ext uri="{FF2B5EF4-FFF2-40B4-BE49-F238E27FC236}">
                <a16:creationId xmlns:a16="http://schemas.microsoft.com/office/drawing/2014/main" id="{25EF2882-B443-4169-A6BD-2279DA1C6B0F}"/>
              </a:ext>
            </a:extLst>
          </p:cNvPr>
          <p:cNvSpPr txBox="1"/>
          <p:nvPr/>
        </p:nvSpPr>
        <p:spPr>
          <a:xfrm>
            <a:off x="8999656" y="3818136"/>
            <a:ext cx="2050947" cy="1102353"/>
          </a:xfrm>
          <a:prstGeom prst="rect">
            <a:avLst/>
          </a:prstGeom>
          <a:noFill/>
        </p:spPr>
        <p:txBody>
          <a:bodyPr wrap="square" lIns="0" tIns="0" rIns="0" bIns="0" rtlCol="0">
            <a:spAutoFit/>
          </a:bodyPr>
          <a:lstStyle/>
          <a:p>
            <a:pPr marL="0" marR="0" lvl="0" indent="0" algn="ctr" defTabSz="914400" rtl="0" eaLnBrk="1" fontAlgn="auto" latinLnBrk="0" hangingPunct="1">
              <a:lnSpc>
                <a:spcPct val="130000"/>
              </a:lnSpc>
              <a:spcBef>
                <a:spcPts val="0"/>
              </a:spcBef>
              <a:spcAft>
                <a:spcPts val="0"/>
              </a:spcAft>
              <a:buClrTx/>
              <a:buSzTx/>
              <a:buFontTx/>
              <a:buNone/>
              <a:tabLst/>
              <a:defRPr/>
            </a:pPr>
            <a:r>
              <a:rPr kumimoji="0" lang="zh-CN" altLang="en-US" sz="1400" b="0" i="0" u="none" strike="noStrike" kern="1200" cap="none" spc="0" normalizeH="0" baseline="0" noProof="0" dirty="0">
                <a:ln>
                  <a:noFill/>
                </a:ln>
                <a:solidFill>
                  <a:srgbClr val="000000">
                    <a:lumMod val="65000"/>
                    <a:lumOff val="3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rPr>
              <a:t>秋叶</a:t>
            </a:r>
            <a:r>
              <a:rPr kumimoji="0" lang="en-US" altLang="zh-CN" sz="1400" b="0" i="0" u="none" strike="noStrike" kern="1200" cap="none" spc="0" normalizeH="0" baseline="0" noProof="0" dirty="0">
                <a:ln>
                  <a:noFill/>
                </a:ln>
                <a:solidFill>
                  <a:srgbClr val="000000">
                    <a:lumMod val="65000"/>
                    <a:lumOff val="3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rPr>
              <a:t>PPT</a:t>
            </a:r>
            <a:r>
              <a:rPr kumimoji="0" lang="zh-CN" altLang="en-US" sz="1400" b="0" i="0" u="none" strike="noStrike" kern="1200" cap="none" spc="0" normalizeH="0" baseline="0" noProof="0" dirty="0">
                <a:ln>
                  <a:noFill/>
                </a:ln>
                <a:solidFill>
                  <a:srgbClr val="000000">
                    <a:lumMod val="65000"/>
                    <a:lumOff val="3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rPr>
              <a:t>拥有千余款模板线上到插件同步上新，覆盖商务、教育、金融等多用途场景</a:t>
            </a:r>
          </a:p>
        </p:txBody>
      </p:sp>
      <p:grpSp>
        <p:nvGrpSpPr>
          <p:cNvPr id="44" name="gaoding-19">
            <a:extLst>
              <a:ext uri="{FF2B5EF4-FFF2-40B4-BE49-F238E27FC236}">
                <a16:creationId xmlns:a16="http://schemas.microsoft.com/office/drawing/2014/main" id="{B1962F5F-00ED-42B4-B396-B270F45F1F72}"/>
              </a:ext>
            </a:extLst>
          </p:cNvPr>
          <p:cNvGrpSpPr/>
          <p:nvPr/>
        </p:nvGrpSpPr>
        <p:grpSpPr>
          <a:xfrm>
            <a:off x="891548" y="519423"/>
            <a:ext cx="2954655" cy="786117"/>
            <a:chOff x="891548" y="488943"/>
            <a:chExt cx="2954655" cy="786117"/>
          </a:xfrm>
        </p:grpSpPr>
        <p:sp>
          <p:nvSpPr>
            <p:cNvPr id="45" name="gaoding-19-1">
              <a:extLst>
                <a:ext uri="{FF2B5EF4-FFF2-40B4-BE49-F238E27FC236}">
                  <a16:creationId xmlns:a16="http://schemas.microsoft.com/office/drawing/2014/main" id="{CC97472A-04EE-4D43-8ECF-04AEE64F7BB4}"/>
                </a:ext>
              </a:extLst>
            </p:cNvPr>
            <p:cNvSpPr txBox="1"/>
            <p:nvPr/>
          </p:nvSpPr>
          <p:spPr>
            <a:xfrm>
              <a:off x="891548" y="488943"/>
              <a:ext cx="2954655"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2400" b="1" i="0" u="none" strike="noStrike" kern="1200" cap="none" spc="0" normalizeH="0" baseline="0" noProof="0" dirty="0">
                  <a:ln>
                    <a:noFill/>
                  </a:ln>
                  <a:solidFill>
                    <a:srgbClr val="000000">
                      <a:lumMod val="85000"/>
                      <a:lumOff val="15000"/>
                    </a:srgbClr>
                  </a:solidFill>
                  <a:effectLst/>
                  <a:uLnTx/>
                  <a:uFillTx/>
                  <a:latin typeface="OPPOSans B" panose="00020600040101010101" pitchFamily="18" charset="-122"/>
                  <a:ea typeface="OPPOSans B" panose="00020600040101010101" pitchFamily="18" charset="-122"/>
                  <a:cs typeface="OPPOSans B" panose="00020600040101010101" pitchFamily="18" charset="-122"/>
                  <a:sym typeface="+mn-lt"/>
                </a:rPr>
                <a:t>秋叶</a:t>
              </a:r>
              <a:r>
                <a:rPr kumimoji="0" lang="en-US" altLang="zh-CN" sz="2400" b="1" i="0" u="none" strike="noStrike" kern="1200" cap="none" spc="0" normalizeH="0" baseline="0" noProof="0" dirty="0">
                  <a:ln>
                    <a:noFill/>
                  </a:ln>
                  <a:solidFill>
                    <a:srgbClr val="000000">
                      <a:lumMod val="85000"/>
                      <a:lumOff val="15000"/>
                    </a:srgbClr>
                  </a:solidFill>
                  <a:effectLst/>
                  <a:uLnTx/>
                  <a:uFillTx/>
                  <a:latin typeface="OPPOSans B" panose="00020600040101010101" pitchFamily="18" charset="-122"/>
                  <a:ea typeface="OPPOSans B" panose="00020600040101010101" pitchFamily="18" charset="-122"/>
                  <a:cs typeface="OPPOSans B" panose="00020600040101010101" pitchFamily="18" charset="-122"/>
                  <a:sym typeface="+mn-lt"/>
                </a:rPr>
                <a:t>PPT</a:t>
              </a:r>
              <a:r>
                <a:rPr kumimoji="0" lang="zh-CN" altLang="en-US" sz="2400" b="1" i="0" u="none" strike="noStrike" kern="1200" cap="none" spc="0" normalizeH="0" baseline="0" noProof="0" dirty="0">
                  <a:ln>
                    <a:noFill/>
                  </a:ln>
                  <a:solidFill>
                    <a:srgbClr val="000000">
                      <a:lumMod val="85000"/>
                      <a:lumOff val="15000"/>
                    </a:srgbClr>
                  </a:solidFill>
                  <a:effectLst/>
                  <a:uLnTx/>
                  <a:uFillTx/>
                  <a:latin typeface="OPPOSans B" panose="00020600040101010101" pitchFamily="18" charset="-122"/>
                  <a:ea typeface="OPPOSans B" panose="00020600040101010101" pitchFamily="18" charset="-122"/>
                  <a:cs typeface="OPPOSans B" panose="00020600040101010101" pitchFamily="18" charset="-122"/>
                  <a:sym typeface="+mn-lt"/>
                </a:rPr>
                <a:t>更快更轻松</a:t>
              </a:r>
            </a:p>
          </p:txBody>
        </p:sp>
        <p:sp>
          <p:nvSpPr>
            <p:cNvPr id="46" name="gaoding-19-2">
              <a:extLst>
                <a:ext uri="{FF2B5EF4-FFF2-40B4-BE49-F238E27FC236}">
                  <a16:creationId xmlns:a16="http://schemas.microsoft.com/office/drawing/2014/main" id="{B3AAD3CF-7FF1-4753-B82F-A494AFD7862F}"/>
                </a:ext>
              </a:extLst>
            </p:cNvPr>
            <p:cNvSpPr txBox="1"/>
            <p:nvPr/>
          </p:nvSpPr>
          <p:spPr>
            <a:xfrm>
              <a:off x="917798" y="895464"/>
              <a:ext cx="1202573"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100" b="0" i="0" u="none" strike="noStrike" kern="1200" cap="none" spc="0" normalizeH="0" baseline="0" noProof="0" dirty="0">
                  <a:ln>
                    <a:noFill/>
                  </a:ln>
                  <a:solidFill>
                    <a:srgbClr val="000000">
                      <a:lumMod val="85000"/>
                      <a:lumOff val="1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sym typeface="+mn-lt"/>
                </a:rPr>
                <a:t>Add </a:t>
              </a:r>
              <a:r>
                <a:rPr kumimoji="0" lang="zh-CN" altLang="en-US" sz="1100" b="0" i="0" u="none" strike="noStrike" kern="1200" cap="none" spc="0" normalizeH="0" baseline="0" noProof="0" dirty="0">
                  <a:ln>
                    <a:noFill/>
                  </a:ln>
                  <a:solidFill>
                    <a:srgbClr val="000000">
                      <a:lumMod val="85000"/>
                      <a:lumOff val="1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sym typeface="+mn-lt"/>
                </a:rPr>
                <a:t>关键词标题</a:t>
              </a:r>
              <a:endParaRPr kumimoji="0" lang="en-US" altLang="zh-CN" sz="1100" b="0" i="0" u="none" strike="noStrike" kern="1200" cap="none" spc="0" normalizeH="0" baseline="0" noProof="0" dirty="0">
                <a:ln>
                  <a:noFill/>
                </a:ln>
                <a:solidFill>
                  <a:srgbClr val="000000">
                    <a:lumMod val="85000"/>
                    <a:lumOff val="1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sym typeface="+mn-lt"/>
              </a:endParaRPr>
            </a:p>
          </p:txBody>
        </p:sp>
        <p:sp>
          <p:nvSpPr>
            <p:cNvPr id="47" name="gaoding-19-3">
              <a:extLst>
                <a:ext uri="{FF2B5EF4-FFF2-40B4-BE49-F238E27FC236}">
                  <a16:creationId xmlns:a16="http://schemas.microsoft.com/office/drawing/2014/main" id="{9987A558-354B-4CAA-9BCF-56B0528BA777}"/>
                </a:ext>
              </a:extLst>
            </p:cNvPr>
            <p:cNvSpPr/>
            <p:nvPr/>
          </p:nvSpPr>
          <p:spPr>
            <a:xfrm>
              <a:off x="1014806" y="1195562"/>
              <a:ext cx="811658" cy="79498"/>
            </a:xfrm>
            <a:prstGeom prst="rect">
              <a:avLst/>
            </a:prstGeom>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srgbClr val="FFFFFF"/>
                </a:solidFill>
                <a:effectLst/>
                <a:uLnTx/>
                <a:uFillTx/>
                <a:latin typeface="OPPOSans R" panose="00020600040101010101" pitchFamily="18" charset="-122"/>
                <a:ea typeface="微软雅黑"/>
                <a:cs typeface="+mn-ea"/>
                <a:sym typeface="+mn-lt"/>
              </a:endParaRPr>
            </a:p>
          </p:txBody>
        </p:sp>
      </p:grpSp>
    </p:spTree>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8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4" name="gaoding-1">
            <a:extLst>
              <a:ext uri="{FF2B5EF4-FFF2-40B4-BE49-F238E27FC236}">
                <a16:creationId xmlns:a16="http://schemas.microsoft.com/office/drawing/2014/main" id="{DFB2B43F-D8D1-4B49-AA03-9C09B55D1F5D}"/>
              </a:ext>
            </a:extLst>
          </p:cNvPr>
          <p:cNvSpPr/>
          <p:nvPr/>
        </p:nvSpPr>
        <p:spPr>
          <a:xfrm>
            <a:off x="8860932" y="2468542"/>
            <a:ext cx="1434648" cy="526804"/>
          </a:xfrm>
          <a:prstGeom prst="roundRect">
            <a:avLst>
              <a:gd name="adj" fmla="val 6929"/>
            </a:avLst>
          </a:prstGeom>
          <a:gradFill flip="none" rotWithShape="1">
            <a:gsLst>
              <a:gs pos="1000">
                <a:schemeClr val="accent3"/>
              </a:gs>
              <a:gs pos="100000">
                <a:schemeClr val="accent3">
                  <a:lumMod val="60000"/>
                  <a:lumOff val="40000"/>
                </a:schemeClr>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5720" tIns="22860" rIns="45720" bIns="228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dirty="0">
              <a:ln>
                <a:noFill/>
              </a:ln>
              <a:solidFill>
                <a:srgbClr val="FFFFFF"/>
              </a:solidFill>
              <a:effectLst/>
              <a:uLnTx/>
              <a:uFillTx/>
              <a:latin typeface="OPPOSans R" panose="00020600040101010101" pitchFamily="18" charset="-122"/>
              <a:ea typeface="微软雅黑"/>
              <a:cs typeface="+mn-cs"/>
            </a:endParaRPr>
          </a:p>
        </p:txBody>
      </p:sp>
      <p:sp>
        <p:nvSpPr>
          <p:cNvPr id="231" name="gaoding-2">
            <a:extLst>
              <a:ext uri="{FF2B5EF4-FFF2-40B4-BE49-F238E27FC236}">
                <a16:creationId xmlns:a16="http://schemas.microsoft.com/office/drawing/2014/main" id="{AD501A53-8252-4648-BDFE-0B6458E8DDE7}"/>
              </a:ext>
            </a:extLst>
          </p:cNvPr>
          <p:cNvSpPr/>
          <p:nvPr/>
        </p:nvSpPr>
        <p:spPr>
          <a:xfrm>
            <a:off x="5348692" y="2468542"/>
            <a:ext cx="1434648" cy="526804"/>
          </a:xfrm>
          <a:prstGeom prst="roundRect">
            <a:avLst>
              <a:gd name="adj" fmla="val 6929"/>
            </a:avLst>
          </a:prstGeom>
          <a:gradFill flip="none" rotWithShape="1">
            <a:gsLst>
              <a:gs pos="1000">
                <a:schemeClr val="accent2"/>
              </a:gs>
              <a:gs pos="100000">
                <a:schemeClr val="accent2">
                  <a:lumMod val="60000"/>
                  <a:lumOff val="40000"/>
                </a:schemeClr>
              </a:gs>
            </a:gsLst>
            <a:lin ang="27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5720" tIns="22860" rIns="45720" bIns="228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dirty="0">
              <a:ln>
                <a:noFill/>
              </a:ln>
              <a:solidFill>
                <a:srgbClr val="FFFFFF"/>
              </a:solidFill>
              <a:effectLst/>
              <a:uLnTx/>
              <a:uFillTx/>
              <a:latin typeface="OPPOSans R" panose="00020600040101010101" pitchFamily="18" charset="-122"/>
              <a:ea typeface="微软雅黑"/>
              <a:cs typeface="+mn-cs"/>
            </a:endParaRPr>
          </a:p>
        </p:txBody>
      </p:sp>
      <p:sp>
        <p:nvSpPr>
          <p:cNvPr id="215" name="gaoding-3">
            <a:extLst>
              <a:ext uri="{FF2B5EF4-FFF2-40B4-BE49-F238E27FC236}">
                <a16:creationId xmlns:a16="http://schemas.microsoft.com/office/drawing/2014/main" id="{DF5072E4-77BB-42F3-88D2-9CD88BAE768C}"/>
              </a:ext>
            </a:extLst>
          </p:cNvPr>
          <p:cNvSpPr/>
          <p:nvPr/>
        </p:nvSpPr>
        <p:spPr>
          <a:xfrm>
            <a:off x="1849549" y="2470896"/>
            <a:ext cx="1434648" cy="526804"/>
          </a:xfrm>
          <a:prstGeom prst="roundRect">
            <a:avLst>
              <a:gd name="adj" fmla="val 6929"/>
            </a:avLst>
          </a:prstGeom>
          <a:gradFill flip="none" rotWithShape="1">
            <a:gsLst>
              <a:gs pos="1000">
                <a:schemeClr val="accent1"/>
              </a:gs>
              <a:gs pos="100000">
                <a:schemeClr val="accent1">
                  <a:lumMod val="60000"/>
                  <a:lumOff val="40000"/>
                </a:schemeClr>
              </a:gs>
            </a:gsLst>
            <a:lin ang="27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5720" tIns="22860" rIns="45720" bIns="228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dirty="0">
              <a:ln>
                <a:noFill/>
              </a:ln>
              <a:solidFill>
                <a:srgbClr val="FFFFFF"/>
              </a:solidFill>
              <a:effectLst/>
              <a:uLnTx/>
              <a:uFillTx/>
              <a:latin typeface="OPPOSans R" panose="00020600040101010101" pitchFamily="18" charset="-122"/>
              <a:ea typeface="微软雅黑"/>
              <a:cs typeface="+mn-cs"/>
            </a:endParaRPr>
          </a:p>
        </p:txBody>
      </p:sp>
      <p:sp>
        <p:nvSpPr>
          <p:cNvPr id="3" name="gaoding-4">
            <a:extLst>
              <a:ext uri="{FF2B5EF4-FFF2-40B4-BE49-F238E27FC236}">
                <a16:creationId xmlns:a16="http://schemas.microsoft.com/office/drawing/2014/main" id="{8DADA058-0865-47E8-9073-BD53CD2626FF}"/>
              </a:ext>
            </a:extLst>
          </p:cNvPr>
          <p:cNvSpPr/>
          <p:nvPr/>
        </p:nvSpPr>
        <p:spPr>
          <a:xfrm>
            <a:off x="1104808" y="3251939"/>
            <a:ext cx="2844892" cy="1745555"/>
          </a:xfrm>
          <a:prstGeom prst="roundRect">
            <a:avLst>
              <a:gd name="adj" fmla="val 12847"/>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dirty="0">
              <a:ln>
                <a:noFill/>
              </a:ln>
              <a:solidFill>
                <a:srgbClr val="FFFFFF"/>
              </a:solidFill>
              <a:effectLst/>
              <a:uLnTx/>
              <a:uFillTx/>
              <a:latin typeface="OPPOSans R" panose="00020600040101010101" pitchFamily="18" charset="-122"/>
              <a:ea typeface="微软雅黑"/>
              <a:cs typeface="+mn-cs"/>
            </a:endParaRPr>
          </a:p>
        </p:txBody>
      </p:sp>
      <p:sp>
        <p:nvSpPr>
          <p:cNvPr id="5" name="gaoding-5">
            <a:extLst>
              <a:ext uri="{FF2B5EF4-FFF2-40B4-BE49-F238E27FC236}">
                <a16:creationId xmlns:a16="http://schemas.microsoft.com/office/drawing/2014/main" id="{56BDA205-409C-43AC-A0CD-BC1136D947AD}"/>
              </a:ext>
            </a:extLst>
          </p:cNvPr>
          <p:cNvSpPr/>
          <p:nvPr/>
        </p:nvSpPr>
        <p:spPr>
          <a:xfrm>
            <a:off x="4726820" y="3251939"/>
            <a:ext cx="2844892" cy="1745555"/>
          </a:xfrm>
          <a:prstGeom prst="roundRect">
            <a:avLst>
              <a:gd name="adj" fmla="val 12847"/>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dirty="0">
              <a:ln>
                <a:noFill/>
              </a:ln>
              <a:solidFill>
                <a:srgbClr val="FFFFFF"/>
              </a:solidFill>
              <a:effectLst/>
              <a:uLnTx/>
              <a:uFillTx/>
              <a:latin typeface="OPPOSans R" panose="00020600040101010101" pitchFamily="18" charset="-122"/>
              <a:ea typeface="微软雅黑"/>
              <a:cs typeface="+mn-cs"/>
            </a:endParaRPr>
          </a:p>
        </p:txBody>
      </p:sp>
      <p:sp>
        <p:nvSpPr>
          <p:cNvPr id="13" name="gaoding-6">
            <a:extLst>
              <a:ext uri="{FF2B5EF4-FFF2-40B4-BE49-F238E27FC236}">
                <a16:creationId xmlns:a16="http://schemas.microsoft.com/office/drawing/2014/main" id="{A13E723E-3DCF-40FA-8E49-C11A8B629B50}"/>
              </a:ext>
            </a:extLst>
          </p:cNvPr>
          <p:cNvSpPr/>
          <p:nvPr/>
        </p:nvSpPr>
        <p:spPr>
          <a:xfrm>
            <a:off x="8242600" y="3251939"/>
            <a:ext cx="2844892" cy="1745555"/>
          </a:xfrm>
          <a:prstGeom prst="roundRect">
            <a:avLst>
              <a:gd name="adj" fmla="val 12847"/>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dirty="0">
              <a:ln>
                <a:noFill/>
              </a:ln>
              <a:solidFill>
                <a:srgbClr val="FFFFFF"/>
              </a:solidFill>
              <a:effectLst/>
              <a:uLnTx/>
              <a:uFillTx/>
              <a:latin typeface="OPPOSans R" panose="00020600040101010101" pitchFamily="18" charset="-122"/>
              <a:ea typeface="微软雅黑"/>
              <a:cs typeface="+mn-cs"/>
            </a:endParaRPr>
          </a:p>
        </p:txBody>
      </p:sp>
      <p:sp>
        <p:nvSpPr>
          <p:cNvPr id="15" name="gaoding-7">
            <a:extLst>
              <a:ext uri="{FF2B5EF4-FFF2-40B4-BE49-F238E27FC236}">
                <a16:creationId xmlns:a16="http://schemas.microsoft.com/office/drawing/2014/main" id="{06DFF1E9-CCA2-4AB6-86B2-F69F1B9D47C3}"/>
              </a:ext>
            </a:extLst>
          </p:cNvPr>
          <p:cNvSpPr/>
          <p:nvPr/>
        </p:nvSpPr>
        <p:spPr>
          <a:xfrm>
            <a:off x="1828029" y="2474918"/>
            <a:ext cx="1434648" cy="514051"/>
          </a:xfrm>
          <a:prstGeom prst="rect">
            <a:avLst/>
          </a:prstGeom>
        </p:spPr>
        <p:txBody>
          <a:bodyPr wrap="square">
            <a:spAutoFit/>
          </a:body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0" lang="zh-CN" altLang="en-US" sz="2400" b="1" i="0" u="none" strike="noStrike" kern="1200" cap="none" spc="0" normalizeH="0" baseline="0" noProof="0" dirty="0">
                <a:ln>
                  <a:noFill/>
                </a:ln>
                <a:solidFill>
                  <a:srgbClr val="FFFFFF"/>
                </a:solidFill>
                <a:effectLst/>
                <a:uLnTx/>
                <a:uFillTx/>
                <a:latin typeface="OPPOSans B" panose="00020600040101010101" pitchFamily="18" charset="-122"/>
                <a:ea typeface="OPPOSans B" panose="00020600040101010101" pitchFamily="18" charset="-122"/>
                <a:cs typeface="OPPOSans B" panose="00020600040101010101" pitchFamily="18" charset="-122"/>
              </a:rPr>
              <a:t>更快</a:t>
            </a:r>
            <a:endParaRPr kumimoji="0" lang="en-US" sz="2400" b="1" i="0" u="none" strike="noStrike" kern="1200" cap="none" spc="0" normalizeH="0" baseline="0" noProof="0" dirty="0">
              <a:ln>
                <a:noFill/>
              </a:ln>
              <a:solidFill>
                <a:srgbClr val="FFFFFF"/>
              </a:solidFill>
              <a:effectLst/>
              <a:uLnTx/>
              <a:uFillTx/>
              <a:latin typeface="OPPOSans B" panose="00020600040101010101" pitchFamily="18" charset="-122"/>
              <a:ea typeface="OPPOSans B" panose="00020600040101010101" pitchFamily="18" charset="-122"/>
              <a:cs typeface="OPPOSans B" panose="00020600040101010101" pitchFamily="18" charset="-122"/>
            </a:endParaRPr>
          </a:p>
        </p:txBody>
      </p:sp>
      <p:sp>
        <p:nvSpPr>
          <p:cNvPr id="16" name="gaoding-8">
            <a:extLst>
              <a:ext uri="{FF2B5EF4-FFF2-40B4-BE49-F238E27FC236}">
                <a16:creationId xmlns:a16="http://schemas.microsoft.com/office/drawing/2014/main" id="{4308846D-7969-4A3B-9EFF-B4106A8ABD69}"/>
              </a:ext>
            </a:extLst>
          </p:cNvPr>
          <p:cNvSpPr/>
          <p:nvPr/>
        </p:nvSpPr>
        <p:spPr>
          <a:xfrm>
            <a:off x="5357466" y="2463541"/>
            <a:ext cx="1434648" cy="514051"/>
          </a:xfrm>
          <a:prstGeom prst="rect">
            <a:avLst/>
          </a:prstGeom>
        </p:spPr>
        <p:txBody>
          <a:bodyPr wrap="square">
            <a:spAutoFit/>
          </a:body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0" lang="zh-CN" altLang="en-US" sz="2400" b="1" i="0" u="none" strike="noStrike" kern="1200" cap="none" spc="0" normalizeH="0" baseline="0" noProof="0" dirty="0">
                <a:ln>
                  <a:noFill/>
                </a:ln>
                <a:solidFill>
                  <a:srgbClr val="FFFFFF"/>
                </a:solidFill>
                <a:effectLst/>
                <a:uLnTx/>
                <a:uFillTx/>
                <a:latin typeface="OPPOSans B" panose="00020600040101010101" pitchFamily="18" charset="-122"/>
                <a:ea typeface="OPPOSans B" panose="00020600040101010101" pitchFamily="18" charset="-122"/>
                <a:cs typeface="OPPOSans B" panose="00020600040101010101" pitchFamily="18" charset="-122"/>
              </a:rPr>
              <a:t>更好</a:t>
            </a:r>
            <a:endParaRPr kumimoji="0" lang="en-US" sz="2400" b="1" i="0" u="none" strike="noStrike" kern="1200" cap="none" spc="0" normalizeH="0" baseline="0" noProof="0" dirty="0">
              <a:ln>
                <a:noFill/>
              </a:ln>
              <a:solidFill>
                <a:srgbClr val="FFFFFF"/>
              </a:solidFill>
              <a:effectLst/>
              <a:uLnTx/>
              <a:uFillTx/>
              <a:latin typeface="OPPOSans B" panose="00020600040101010101" pitchFamily="18" charset="-122"/>
              <a:ea typeface="OPPOSans B" panose="00020600040101010101" pitchFamily="18" charset="-122"/>
              <a:cs typeface="OPPOSans B" panose="00020600040101010101" pitchFamily="18" charset="-122"/>
            </a:endParaRPr>
          </a:p>
        </p:txBody>
      </p:sp>
      <p:sp>
        <p:nvSpPr>
          <p:cNvPr id="17" name="gaoding-9">
            <a:extLst>
              <a:ext uri="{FF2B5EF4-FFF2-40B4-BE49-F238E27FC236}">
                <a16:creationId xmlns:a16="http://schemas.microsoft.com/office/drawing/2014/main" id="{3BA3C5D2-02E5-4F76-9FA9-897F36DBD588}"/>
              </a:ext>
            </a:extLst>
          </p:cNvPr>
          <p:cNvSpPr/>
          <p:nvPr/>
        </p:nvSpPr>
        <p:spPr>
          <a:xfrm>
            <a:off x="8849386" y="2463541"/>
            <a:ext cx="1434648" cy="514051"/>
          </a:xfrm>
          <a:prstGeom prst="rect">
            <a:avLst/>
          </a:prstGeom>
        </p:spPr>
        <p:txBody>
          <a:bodyPr wrap="square">
            <a:spAutoFit/>
          </a:body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0" lang="zh-CN" altLang="en-US" sz="2400" b="1" i="0" u="none" strike="noStrike" kern="1200" cap="none" spc="0" normalizeH="0" baseline="0" noProof="0" dirty="0">
                <a:ln>
                  <a:noFill/>
                </a:ln>
                <a:solidFill>
                  <a:srgbClr val="FFFFFF"/>
                </a:solidFill>
                <a:effectLst/>
                <a:uLnTx/>
                <a:uFillTx/>
                <a:latin typeface="OPPOSans B" panose="00020600040101010101" pitchFamily="18" charset="-122"/>
                <a:ea typeface="OPPOSans B" panose="00020600040101010101" pitchFamily="18" charset="-122"/>
                <a:cs typeface="OPPOSans B" panose="00020600040101010101" pitchFamily="18" charset="-122"/>
              </a:rPr>
              <a:t>更轻松</a:t>
            </a:r>
            <a:endParaRPr kumimoji="0" lang="en-US" sz="2400" b="1" i="0" u="none" strike="noStrike" kern="1200" cap="none" spc="0" normalizeH="0" baseline="0" noProof="0" dirty="0">
              <a:ln>
                <a:noFill/>
              </a:ln>
              <a:solidFill>
                <a:srgbClr val="FFFFFF"/>
              </a:solidFill>
              <a:effectLst/>
              <a:uLnTx/>
              <a:uFillTx/>
              <a:latin typeface="OPPOSans B" panose="00020600040101010101" pitchFamily="18" charset="-122"/>
              <a:ea typeface="OPPOSans B" panose="00020600040101010101" pitchFamily="18" charset="-122"/>
              <a:cs typeface="OPPOSans B" panose="00020600040101010101" pitchFamily="18" charset="-122"/>
            </a:endParaRPr>
          </a:p>
        </p:txBody>
      </p:sp>
      <p:sp>
        <p:nvSpPr>
          <p:cNvPr id="246" name="gaoding-10">
            <a:extLst>
              <a:ext uri="{FF2B5EF4-FFF2-40B4-BE49-F238E27FC236}">
                <a16:creationId xmlns:a16="http://schemas.microsoft.com/office/drawing/2014/main" id="{FCFED5DD-35BD-40BE-9F8B-FA866FF9C494}"/>
              </a:ext>
            </a:extLst>
          </p:cNvPr>
          <p:cNvSpPr/>
          <p:nvPr/>
        </p:nvSpPr>
        <p:spPr>
          <a:xfrm>
            <a:off x="1027150" y="3542680"/>
            <a:ext cx="1434648" cy="526804"/>
          </a:xfrm>
          <a:prstGeom prst="roundRect">
            <a:avLst>
              <a:gd name="adj" fmla="val 6929"/>
            </a:avLst>
          </a:prstGeom>
          <a:solidFill>
            <a:schemeClr val="bg1"/>
          </a:solidFill>
          <a:ln>
            <a:noFill/>
          </a:ln>
          <a:effectLst>
            <a:outerShdw blurRad="165100" dist="2159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dirty="0">
              <a:ln>
                <a:noFill/>
              </a:ln>
              <a:solidFill>
                <a:srgbClr val="FFFFFF"/>
              </a:solidFill>
              <a:effectLst/>
              <a:uLnTx/>
              <a:uFillTx/>
              <a:latin typeface="OPPOSans R" panose="00020600040101010101" pitchFamily="18" charset="-122"/>
              <a:ea typeface="微软雅黑"/>
              <a:cs typeface="+mn-cs"/>
            </a:endParaRPr>
          </a:p>
        </p:txBody>
      </p:sp>
      <p:sp>
        <p:nvSpPr>
          <p:cNvPr id="247" name="gaoding-11">
            <a:extLst>
              <a:ext uri="{FF2B5EF4-FFF2-40B4-BE49-F238E27FC236}">
                <a16:creationId xmlns:a16="http://schemas.microsoft.com/office/drawing/2014/main" id="{1DC3D086-8CE7-4161-A7A8-B4FC2D8F778D}"/>
              </a:ext>
            </a:extLst>
          </p:cNvPr>
          <p:cNvSpPr/>
          <p:nvPr/>
        </p:nvSpPr>
        <p:spPr>
          <a:xfrm>
            <a:off x="1027150" y="3542680"/>
            <a:ext cx="77813" cy="526804"/>
          </a:xfrm>
          <a:prstGeom prst="roundRect">
            <a:avLst>
              <a:gd name="adj" fmla="val 50000"/>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dirty="0">
              <a:ln>
                <a:noFill/>
              </a:ln>
              <a:solidFill>
                <a:srgbClr val="FFFFFF"/>
              </a:solidFill>
              <a:effectLst/>
              <a:uLnTx/>
              <a:uFillTx/>
              <a:latin typeface="OPPOSans R" panose="00020600040101010101" pitchFamily="18" charset="-122"/>
              <a:ea typeface="微软雅黑"/>
              <a:cs typeface="+mn-cs"/>
            </a:endParaRPr>
          </a:p>
        </p:txBody>
      </p:sp>
      <p:sp>
        <p:nvSpPr>
          <p:cNvPr id="237" name="gaoding-12">
            <a:extLst>
              <a:ext uri="{FF2B5EF4-FFF2-40B4-BE49-F238E27FC236}">
                <a16:creationId xmlns:a16="http://schemas.microsoft.com/office/drawing/2014/main" id="{CA7B8212-94FC-46F5-B4D0-A545B00CE60D}"/>
              </a:ext>
            </a:extLst>
          </p:cNvPr>
          <p:cNvSpPr/>
          <p:nvPr/>
        </p:nvSpPr>
        <p:spPr>
          <a:xfrm>
            <a:off x="1027150" y="4155701"/>
            <a:ext cx="1434648" cy="526804"/>
          </a:xfrm>
          <a:prstGeom prst="roundRect">
            <a:avLst>
              <a:gd name="adj" fmla="val 6929"/>
            </a:avLst>
          </a:prstGeom>
          <a:solidFill>
            <a:schemeClr val="bg1"/>
          </a:solidFill>
          <a:ln>
            <a:noFill/>
          </a:ln>
          <a:effectLst>
            <a:outerShdw blurRad="165100" dist="2159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dirty="0">
              <a:ln>
                <a:noFill/>
              </a:ln>
              <a:solidFill>
                <a:srgbClr val="FFFFFF"/>
              </a:solidFill>
              <a:effectLst/>
              <a:uLnTx/>
              <a:uFillTx/>
              <a:latin typeface="OPPOSans R" panose="00020600040101010101" pitchFamily="18" charset="-122"/>
              <a:ea typeface="微软雅黑"/>
              <a:cs typeface="+mn-cs"/>
            </a:endParaRPr>
          </a:p>
        </p:txBody>
      </p:sp>
      <p:sp>
        <p:nvSpPr>
          <p:cNvPr id="238" name="gaoding-13">
            <a:extLst>
              <a:ext uri="{FF2B5EF4-FFF2-40B4-BE49-F238E27FC236}">
                <a16:creationId xmlns:a16="http://schemas.microsoft.com/office/drawing/2014/main" id="{A08BFDDD-C50F-4C0F-937C-CA6552D56576}"/>
              </a:ext>
            </a:extLst>
          </p:cNvPr>
          <p:cNvSpPr/>
          <p:nvPr/>
        </p:nvSpPr>
        <p:spPr>
          <a:xfrm>
            <a:off x="1027150" y="4155701"/>
            <a:ext cx="77813" cy="526804"/>
          </a:xfrm>
          <a:prstGeom prst="roundRect">
            <a:avLst>
              <a:gd name="adj" fmla="val 50000"/>
            </a:avLst>
          </a:prstGeom>
          <a:solidFill>
            <a:schemeClr val="accent1"/>
          </a:solidFill>
          <a:ln>
            <a:noFill/>
          </a:ln>
          <a:effectLst>
            <a:outerShdw blurRad="165100" dist="2159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dirty="0">
              <a:ln>
                <a:noFill/>
              </a:ln>
              <a:solidFill>
                <a:srgbClr val="FFFFFF"/>
              </a:solidFill>
              <a:effectLst/>
              <a:uLnTx/>
              <a:uFillTx/>
              <a:latin typeface="OPPOSans R" panose="00020600040101010101" pitchFamily="18" charset="-122"/>
              <a:ea typeface="微软雅黑"/>
              <a:cs typeface="+mn-cs"/>
            </a:endParaRPr>
          </a:p>
        </p:txBody>
      </p:sp>
      <p:sp>
        <p:nvSpPr>
          <p:cNvPr id="229" name="gaoding-14">
            <a:extLst>
              <a:ext uri="{FF2B5EF4-FFF2-40B4-BE49-F238E27FC236}">
                <a16:creationId xmlns:a16="http://schemas.microsoft.com/office/drawing/2014/main" id="{88B6EF80-8052-4B35-A877-0922C5FB21BB}"/>
              </a:ext>
            </a:extLst>
          </p:cNvPr>
          <p:cNvSpPr/>
          <p:nvPr/>
        </p:nvSpPr>
        <p:spPr>
          <a:xfrm>
            <a:off x="2586914" y="3542680"/>
            <a:ext cx="1434648" cy="526804"/>
          </a:xfrm>
          <a:prstGeom prst="roundRect">
            <a:avLst>
              <a:gd name="adj" fmla="val 6929"/>
            </a:avLst>
          </a:prstGeom>
          <a:solidFill>
            <a:schemeClr val="bg1"/>
          </a:solidFill>
          <a:ln>
            <a:noFill/>
          </a:ln>
          <a:effectLst>
            <a:outerShdw blurRad="165100" dist="2159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dirty="0">
              <a:ln>
                <a:noFill/>
              </a:ln>
              <a:solidFill>
                <a:srgbClr val="FFFFFF"/>
              </a:solidFill>
              <a:effectLst/>
              <a:uLnTx/>
              <a:uFillTx/>
              <a:latin typeface="OPPOSans R" panose="00020600040101010101" pitchFamily="18" charset="-122"/>
              <a:ea typeface="微软雅黑"/>
              <a:cs typeface="+mn-cs"/>
            </a:endParaRPr>
          </a:p>
        </p:txBody>
      </p:sp>
      <p:sp>
        <p:nvSpPr>
          <p:cNvPr id="230" name="gaoding-15">
            <a:extLst>
              <a:ext uri="{FF2B5EF4-FFF2-40B4-BE49-F238E27FC236}">
                <a16:creationId xmlns:a16="http://schemas.microsoft.com/office/drawing/2014/main" id="{AB9D602B-667B-4734-84F0-27447DAA38BB}"/>
              </a:ext>
            </a:extLst>
          </p:cNvPr>
          <p:cNvSpPr/>
          <p:nvPr/>
        </p:nvSpPr>
        <p:spPr>
          <a:xfrm>
            <a:off x="2586914" y="3542680"/>
            <a:ext cx="77813" cy="526804"/>
          </a:xfrm>
          <a:prstGeom prst="roundRect">
            <a:avLst>
              <a:gd name="adj" fmla="val 50000"/>
            </a:avLst>
          </a:prstGeom>
          <a:solidFill>
            <a:schemeClr val="accent1"/>
          </a:solidFill>
          <a:ln>
            <a:noFill/>
          </a:ln>
          <a:effectLst>
            <a:outerShdw blurRad="165100" dist="2159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dirty="0">
              <a:ln>
                <a:noFill/>
              </a:ln>
              <a:solidFill>
                <a:srgbClr val="FFFFFF"/>
              </a:solidFill>
              <a:effectLst/>
              <a:uLnTx/>
              <a:uFillTx/>
              <a:latin typeface="OPPOSans R" panose="00020600040101010101" pitchFamily="18" charset="-122"/>
              <a:ea typeface="微软雅黑"/>
              <a:cs typeface="+mn-cs"/>
            </a:endParaRPr>
          </a:p>
        </p:txBody>
      </p:sp>
      <p:sp>
        <p:nvSpPr>
          <p:cNvPr id="222" name="gaoding-16">
            <a:extLst>
              <a:ext uri="{FF2B5EF4-FFF2-40B4-BE49-F238E27FC236}">
                <a16:creationId xmlns:a16="http://schemas.microsoft.com/office/drawing/2014/main" id="{70C11946-CCE7-4CEA-9FA0-880A1BC1BD4D}"/>
              </a:ext>
            </a:extLst>
          </p:cNvPr>
          <p:cNvSpPr/>
          <p:nvPr/>
        </p:nvSpPr>
        <p:spPr>
          <a:xfrm>
            <a:off x="2586914" y="4155701"/>
            <a:ext cx="1434648" cy="526804"/>
          </a:xfrm>
          <a:prstGeom prst="roundRect">
            <a:avLst>
              <a:gd name="adj" fmla="val 6929"/>
            </a:avLst>
          </a:prstGeom>
          <a:solidFill>
            <a:schemeClr val="bg1"/>
          </a:solidFill>
          <a:ln>
            <a:noFill/>
          </a:ln>
          <a:effectLst>
            <a:outerShdw blurRad="165100" dist="2159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dirty="0">
              <a:ln>
                <a:noFill/>
              </a:ln>
              <a:solidFill>
                <a:srgbClr val="FFFFFF"/>
              </a:solidFill>
              <a:effectLst/>
              <a:uLnTx/>
              <a:uFillTx/>
              <a:latin typeface="OPPOSans R" panose="00020600040101010101" pitchFamily="18" charset="-122"/>
              <a:ea typeface="微软雅黑"/>
              <a:cs typeface="+mn-cs"/>
            </a:endParaRPr>
          </a:p>
        </p:txBody>
      </p:sp>
      <p:sp>
        <p:nvSpPr>
          <p:cNvPr id="223" name="gaoding-17">
            <a:extLst>
              <a:ext uri="{FF2B5EF4-FFF2-40B4-BE49-F238E27FC236}">
                <a16:creationId xmlns:a16="http://schemas.microsoft.com/office/drawing/2014/main" id="{1A53F227-26C4-4FB9-9226-7075CD59E3C8}"/>
              </a:ext>
            </a:extLst>
          </p:cNvPr>
          <p:cNvSpPr/>
          <p:nvPr/>
        </p:nvSpPr>
        <p:spPr>
          <a:xfrm>
            <a:off x="2586914" y="4155701"/>
            <a:ext cx="77813" cy="526804"/>
          </a:xfrm>
          <a:prstGeom prst="roundRect">
            <a:avLst>
              <a:gd name="adj" fmla="val 50000"/>
            </a:avLst>
          </a:prstGeom>
          <a:solidFill>
            <a:schemeClr val="accent1"/>
          </a:solidFill>
          <a:ln>
            <a:noFill/>
          </a:ln>
          <a:effectLst>
            <a:outerShdw blurRad="165100" dist="2159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dirty="0">
              <a:ln>
                <a:noFill/>
              </a:ln>
              <a:solidFill>
                <a:srgbClr val="FFFFFF"/>
              </a:solidFill>
              <a:effectLst/>
              <a:uLnTx/>
              <a:uFillTx/>
              <a:latin typeface="OPPOSans R" panose="00020600040101010101" pitchFamily="18" charset="-122"/>
              <a:ea typeface="微软雅黑"/>
              <a:cs typeface="+mn-cs"/>
            </a:endParaRPr>
          </a:p>
        </p:txBody>
      </p:sp>
      <p:sp>
        <p:nvSpPr>
          <p:cNvPr id="173" name="gaoding-18">
            <a:extLst>
              <a:ext uri="{FF2B5EF4-FFF2-40B4-BE49-F238E27FC236}">
                <a16:creationId xmlns:a16="http://schemas.microsoft.com/office/drawing/2014/main" id="{59014657-B86D-4F29-BA83-26F002D2F55F}"/>
              </a:ext>
            </a:extLst>
          </p:cNvPr>
          <p:cNvSpPr/>
          <p:nvPr/>
        </p:nvSpPr>
        <p:spPr>
          <a:xfrm>
            <a:off x="4586641" y="3542680"/>
            <a:ext cx="1434648" cy="526804"/>
          </a:xfrm>
          <a:prstGeom prst="roundRect">
            <a:avLst>
              <a:gd name="adj" fmla="val 6929"/>
            </a:avLst>
          </a:prstGeom>
          <a:solidFill>
            <a:schemeClr val="bg1"/>
          </a:solidFill>
          <a:ln>
            <a:noFill/>
          </a:ln>
          <a:effectLst>
            <a:outerShdw blurRad="165100" dist="2159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dirty="0">
              <a:ln>
                <a:noFill/>
              </a:ln>
              <a:solidFill>
                <a:srgbClr val="FFFFFF"/>
              </a:solidFill>
              <a:effectLst/>
              <a:uLnTx/>
              <a:uFillTx/>
              <a:latin typeface="OPPOSans R" panose="00020600040101010101" pitchFamily="18" charset="-122"/>
              <a:ea typeface="微软雅黑"/>
              <a:cs typeface="+mn-cs"/>
            </a:endParaRPr>
          </a:p>
        </p:txBody>
      </p:sp>
      <p:sp>
        <p:nvSpPr>
          <p:cNvPr id="174" name="gaoding-19">
            <a:extLst>
              <a:ext uri="{FF2B5EF4-FFF2-40B4-BE49-F238E27FC236}">
                <a16:creationId xmlns:a16="http://schemas.microsoft.com/office/drawing/2014/main" id="{527EB367-6E43-4FB4-AD27-E8C96797CEFD}"/>
              </a:ext>
            </a:extLst>
          </p:cNvPr>
          <p:cNvSpPr/>
          <p:nvPr/>
        </p:nvSpPr>
        <p:spPr>
          <a:xfrm>
            <a:off x="4586641" y="3542680"/>
            <a:ext cx="77813" cy="526804"/>
          </a:xfrm>
          <a:prstGeom prst="roundRect">
            <a:avLst>
              <a:gd name="adj" fmla="val 50000"/>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dirty="0">
              <a:ln>
                <a:noFill/>
              </a:ln>
              <a:solidFill>
                <a:srgbClr val="FFFFFF"/>
              </a:solidFill>
              <a:effectLst/>
              <a:uLnTx/>
              <a:uFillTx/>
              <a:latin typeface="OPPOSans R" panose="00020600040101010101" pitchFamily="18" charset="-122"/>
              <a:ea typeface="微软雅黑"/>
              <a:cs typeface="+mn-cs"/>
            </a:endParaRPr>
          </a:p>
        </p:txBody>
      </p:sp>
      <p:sp>
        <p:nvSpPr>
          <p:cNvPr id="165" name="gaoding-20">
            <a:extLst>
              <a:ext uri="{FF2B5EF4-FFF2-40B4-BE49-F238E27FC236}">
                <a16:creationId xmlns:a16="http://schemas.microsoft.com/office/drawing/2014/main" id="{494B9D0B-DAE7-4B27-A3C9-3D742FD431BD}"/>
              </a:ext>
            </a:extLst>
          </p:cNvPr>
          <p:cNvSpPr/>
          <p:nvPr/>
        </p:nvSpPr>
        <p:spPr>
          <a:xfrm>
            <a:off x="4586641" y="4155701"/>
            <a:ext cx="1434648" cy="526804"/>
          </a:xfrm>
          <a:prstGeom prst="roundRect">
            <a:avLst>
              <a:gd name="adj" fmla="val 6929"/>
            </a:avLst>
          </a:prstGeom>
          <a:solidFill>
            <a:schemeClr val="bg1"/>
          </a:solidFill>
          <a:ln>
            <a:noFill/>
          </a:ln>
          <a:effectLst>
            <a:outerShdw blurRad="165100" dist="2159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dirty="0">
              <a:ln>
                <a:noFill/>
              </a:ln>
              <a:solidFill>
                <a:srgbClr val="FFFFFF"/>
              </a:solidFill>
              <a:effectLst/>
              <a:uLnTx/>
              <a:uFillTx/>
              <a:latin typeface="OPPOSans R" panose="00020600040101010101" pitchFamily="18" charset="-122"/>
              <a:ea typeface="微软雅黑"/>
              <a:cs typeface="+mn-cs"/>
            </a:endParaRPr>
          </a:p>
        </p:txBody>
      </p:sp>
      <p:sp>
        <p:nvSpPr>
          <p:cNvPr id="166" name="gaoding-21">
            <a:extLst>
              <a:ext uri="{FF2B5EF4-FFF2-40B4-BE49-F238E27FC236}">
                <a16:creationId xmlns:a16="http://schemas.microsoft.com/office/drawing/2014/main" id="{7CCAE711-C57A-4F56-ADC1-EA73258F2D5C}"/>
              </a:ext>
            </a:extLst>
          </p:cNvPr>
          <p:cNvSpPr/>
          <p:nvPr/>
        </p:nvSpPr>
        <p:spPr>
          <a:xfrm>
            <a:off x="4586641" y="4155701"/>
            <a:ext cx="77813" cy="526804"/>
          </a:xfrm>
          <a:prstGeom prst="roundRect">
            <a:avLst>
              <a:gd name="adj" fmla="val 50000"/>
            </a:avLst>
          </a:prstGeom>
          <a:solidFill>
            <a:schemeClr val="accent2"/>
          </a:solidFill>
          <a:ln>
            <a:noFill/>
          </a:ln>
          <a:effectLst>
            <a:outerShdw blurRad="165100" dist="2159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dirty="0">
              <a:ln>
                <a:noFill/>
              </a:ln>
              <a:solidFill>
                <a:srgbClr val="FFFFFF"/>
              </a:solidFill>
              <a:effectLst/>
              <a:uLnTx/>
              <a:uFillTx/>
              <a:latin typeface="OPPOSans R" panose="00020600040101010101" pitchFamily="18" charset="-122"/>
              <a:ea typeface="微软雅黑"/>
              <a:cs typeface="+mn-cs"/>
            </a:endParaRPr>
          </a:p>
        </p:txBody>
      </p:sp>
      <p:sp>
        <p:nvSpPr>
          <p:cNvPr id="158" name="gaoding-22">
            <a:extLst>
              <a:ext uri="{FF2B5EF4-FFF2-40B4-BE49-F238E27FC236}">
                <a16:creationId xmlns:a16="http://schemas.microsoft.com/office/drawing/2014/main" id="{EA008348-0F4B-471D-B117-E0CA54DEF812}"/>
              </a:ext>
            </a:extLst>
          </p:cNvPr>
          <p:cNvSpPr/>
          <p:nvPr/>
        </p:nvSpPr>
        <p:spPr>
          <a:xfrm>
            <a:off x="6146405" y="3542680"/>
            <a:ext cx="1434648" cy="526804"/>
          </a:xfrm>
          <a:prstGeom prst="roundRect">
            <a:avLst>
              <a:gd name="adj" fmla="val 6929"/>
            </a:avLst>
          </a:prstGeom>
          <a:solidFill>
            <a:schemeClr val="bg1"/>
          </a:solidFill>
          <a:ln>
            <a:noFill/>
          </a:ln>
          <a:effectLst>
            <a:outerShdw blurRad="165100" dist="2159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dirty="0">
              <a:ln>
                <a:noFill/>
              </a:ln>
              <a:solidFill>
                <a:srgbClr val="FFFFFF"/>
              </a:solidFill>
              <a:effectLst/>
              <a:uLnTx/>
              <a:uFillTx/>
              <a:latin typeface="OPPOSans R" panose="00020600040101010101" pitchFamily="18" charset="-122"/>
              <a:ea typeface="微软雅黑"/>
              <a:cs typeface="+mn-cs"/>
            </a:endParaRPr>
          </a:p>
        </p:txBody>
      </p:sp>
      <p:sp>
        <p:nvSpPr>
          <p:cNvPr id="159" name="gaoding-23">
            <a:extLst>
              <a:ext uri="{FF2B5EF4-FFF2-40B4-BE49-F238E27FC236}">
                <a16:creationId xmlns:a16="http://schemas.microsoft.com/office/drawing/2014/main" id="{DBB83386-FDDC-4929-A9C5-C0FB110DB7D6}"/>
              </a:ext>
            </a:extLst>
          </p:cNvPr>
          <p:cNvSpPr/>
          <p:nvPr/>
        </p:nvSpPr>
        <p:spPr>
          <a:xfrm>
            <a:off x="6146405" y="3542680"/>
            <a:ext cx="77813" cy="526804"/>
          </a:xfrm>
          <a:prstGeom prst="roundRect">
            <a:avLst>
              <a:gd name="adj" fmla="val 50000"/>
            </a:avLst>
          </a:prstGeom>
          <a:solidFill>
            <a:schemeClr val="accent2"/>
          </a:solidFill>
          <a:ln>
            <a:noFill/>
          </a:ln>
          <a:effectLst>
            <a:outerShdw blurRad="165100" dist="2159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dirty="0">
              <a:ln>
                <a:noFill/>
              </a:ln>
              <a:solidFill>
                <a:srgbClr val="FFFFFF"/>
              </a:solidFill>
              <a:effectLst/>
              <a:uLnTx/>
              <a:uFillTx/>
              <a:latin typeface="OPPOSans R" panose="00020600040101010101" pitchFamily="18" charset="-122"/>
              <a:ea typeface="微软雅黑"/>
              <a:cs typeface="+mn-cs"/>
            </a:endParaRPr>
          </a:p>
        </p:txBody>
      </p:sp>
      <p:sp>
        <p:nvSpPr>
          <p:cNvPr id="151" name="gaoding-24">
            <a:extLst>
              <a:ext uri="{FF2B5EF4-FFF2-40B4-BE49-F238E27FC236}">
                <a16:creationId xmlns:a16="http://schemas.microsoft.com/office/drawing/2014/main" id="{CFD6E189-E5C4-4124-AD45-452619B2595D}"/>
              </a:ext>
            </a:extLst>
          </p:cNvPr>
          <p:cNvSpPr/>
          <p:nvPr/>
        </p:nvSpPr>
        <p:spPr>
          <a:xfrm>
            <a:off x="6146405" y="4155701"/>
            <a:ext cx="1434648" cy="526804"/>
          </a:xfrm>
          <a:prstGeom prst="roundRect">
            <a:avLst>
              <a:gd name="adj" fmla="val 6929"/>
            </a:avLst>
          </a:prstGeom>
          <a:solidFill>
            <a:schemeClr val="bg1"/>
          </a:solidFill>
          <a:ln>
            <a:noFill/>
          </a:ln>
          <a:effectLst>
            <a:outerShdw blurRad="165100" dist="2159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dirty="0">
              <a:ln>
                <a:noFill/>
              </a:ln>
              <a:solidFill>
                <a:srgbClr val="FFFFFF"/>
              </a:solidFill>
              <a:effectLst/>
              <a:uLnTx/>
              <a:uFillTx/>
              <a:latin typeface="OPPOSans R" panose="00020600040101010101" pitchFamily="18" charset="-122"/>
              <a:ea typeface="微软雅黑"/>
              <a:cs typeface="+mn-cs"/>
            </a:endParaRPr>
          </a:p>
        </p:txBody>
      </p:sp>
      <p:sp>
        <p:nvSpPr>
          <p:cNvPr id="152" name="gaoding-25">
            <a:extLst>
              <a:ext uri="{FF2B5EF4-FFF2-40B4-BE49-F238E27FC236}">
                <a16:creationId xmlns:a16="http://schemas.microsoft.com/office/drawing/2014/main" id="{8C7C73D9-DB9A-44C5-9C8E-314069CD0276}"/>
              </a:ext>
            </a:extLst>
          </p:cNvPr>
          <p:cNvSpPr/>
          <p:nvPr/>
        </p:nvSpPr>
        <p:spPr>
          <a:xfrm>
            <a:off x="6146405" y="4155701"/>
            <a:ext cx="77813" cy="526804"/>
          </a:xfrm>
          <a:prstGeom prst="roundRect">
            <a:avLst>
              <a:gd name="adj" fmla="val 50000"/>
            </a:avLst>
          </a:prstGeom>
          <a:solidFill>
            <a:schemeClr val="accent2"/>
          </a:solidFill>
          <a:ln>
            <a:noFill/>
          </a:ln>
          <a:effectLst>
            <a:outerShdw blurRad="165100" dist="2159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dirty="0">
              <a:ln>
                <a:noFill/>
              </a:ln>
              <a:solidFill>
                <a:srgbClr val="FFFFFF"/>
              </a:solidFill>
              <a:effectLst/>
              <a:uLnTx/>
              <a:uFillTx/>
              <a:latin typeface="OPPOSans R" panose="00020600040101010101" pitchFamily="18" charset="-122"/>
              <a:ea typeface="微软雅黑"/>
              <a:cs typeface="+mn-cs"/>
            </a:endParaRPr>
          </a:p>
        </p:txBody>
      </p:sp>
      <p:sp>
        <p:nvSpPr>
          <p:cNvPr id="109" name="gaoding-26">
            <a:extLst>
              <a:ext uri="{FF2B5EF4-FFF2-40B4-BE49-F238E27FC236}">
                <a16:creationId xmlns:a16="http://schemas.microsoft.com/office/drawing/2014/main" id="{C2361939-496D-4987-B830-5C698574975E}"/>
              </a:ext>
            </a:extLst>
          </p:cNvPr>
          <p:cNvSpPr/>
          <p:nvPr/>
        </p:nvSpPr>
        <p:spPr>
          <a:xfrm>
            <a:off x="8125602" y="3542680"/>
            <a:ext cx="1434648" cy="526804"/>
          </a:xfrm>
          <a:prstGeom prst="roundRect">
            <a:avLst>
              <a:gd name="adj" fmla="val 6929"/>
            </a:avLst>
          </a:prstGeom>
          <a:solidFill>
            <a:schemeClr val="bg1"/>
          </a:solidFill>
          <a:ln>
            <a:noFill/>
          </a:ln>
          <a:effectLst>
            <a:outerShdw blurRad="165100" dist="2159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dirty="0">
              <a:ln>
                <a:noFill/>
              </a:ln>
              <a:solidFill>
                <a:srgbClr val="FFFFFF"/>
              </a:solidFill>
              <a:effectLst/>
              <a:uLnTx/>
              <a:uFillTx/>
              <a:latin typeface="OPPOSans R" panose="00020600040101010101" pitchFamily="18" charset="-122"/>
              <a:ea typeface="微软雅黑"/>
              <a:cs typeface="+mn-cs"/>
            </a:endParaRPr>
          </a:p>
        </p:txBody>
      </p:sp>
      <p:sp>
        <p:nvSpPr>
          <p:cNvPr id="110" name="gaoding-27">
            <a:extLst>
              <a:ext uri="{FF2B5EF4-FFF2-40B4-BE49-F238E27FC236}">
                <a16:creationId xmlns:a16="http://schemas.microsoft.com/office/drawing/2014/main" id="{7CD6EDD0-2750-43ED-AAB9-959EF70E7976}"/>
              </a:ext>
            </a:extLst>
          </p:cNvPr>
          <p:cNvSpPr/>
          <p:nvPr/>
        </p:nvSpPr>
        <p:spPr>
          <a:xfrm>
            <a:off x="8125602" y="3542680"/>
            <a:ext cx="77813" cy="526804"/>
          </a:xfrm>
          <a:prstGeom prst="roundRect">
            <a:avLst>
              <a:gd name="adj" fmla="val 50000"/>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dirty="0">
              <a:ln>
                <a:noFill/>
              </a:ln>
              <a:solidFill>
                <a:srgbClr val="FFFFFF"/>
              </a:solidFill>
              <a:effectLst/>
              <a:uLnTx/>
              <a:uFillTx/>
              <a:latin typeface="OPPOSans R" panose="00020600040101010101" pitchFamily="18" charset="-122"/>
              <a:ea typeface="微软雅黑"/>
              <a:cs typeface="+mn-cs"/>
            </a:endParaRPr>
          </a:p>
        </p:txBody>
      </p:sp>
      <p:sp>
        <p:nvSpPr>
          <p:cNvPr id="102" name="gaoding-28">
            <a:extLst>
              <a:ext uri="{FF2B5EF4-FFF2-40B4-BE49-F238E27FC236}">
                <a16:creationId xmlns:a16="http://schemas.microsoft.com/office/drawing/2014/main" id="{59DC5E8F-DD4A-4B07-97C5-8DBBCA0A89B6}"/>
              </a:ext>
            </a:extLst>
          </p:cNvPr>
          <p:cNvSpPr/>
          <p:nvPr/>
        </p:nvSpPr>
        <p:spPr>
          <a:xfrm>
            <a:off x="8125602" y="4155701"/>
            <a:ext cx="1434648" cy="526804"/>
          </a:xfrm>
          <a:prstGeom prst="roundRect">
            <a:avLst>
              <a:gd name="adj" fmla="val 6929"/>
            </a:avLst>
          </a:prstGeom>
          <a:solidFill>
            <a:schemeClr val="bg1"/>
          </a:solidFill>
          <a:ln>
            <a:noFill/>
          </a:ln>
          <a:effectLst>
            <a:outerShdw blurRad="165100" dist="2159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dirty="0">
              <a:ln>
                <a:noFill/>
              </a:ln>
              <a:solidFill>
                <a:srgbClr val="FFFFFF"/>
              </a:solidFill>
              <a:effectLst/>
              <a:uLnTx/>
              <a:uFillTx/>
              <a:latin typeface="OPPOSans R" panose="00020600040101010101" pitchFamily="18" charset="-122"/>
              <a:ea typeface="微软雅黑"/>
              <a:cs typeface="+mn-cs"/>
            </a:endParaRPr>
          </a:p>
        </p:txBody>
      </p:sp>
      <p:sp>
        <p:nvSpPr>
          <p:cNvPr id="103" name="gaoding-29">
            <a:extLst>
              <a:ext uri="{FF2B5EF4-FFF2-40B4-BE49-F238E27FC236}">
                <a16:creationId xmlns:a16="http://schemas.microsoft.com/office/drawing/2014/main" id="{37E2535E-1A84-4EF5-B937-FAF31228B32D}"/>
              </a:ext>
            </a:extLst>
          </p:cNvPr>
          <p:cNvSpPr/>
          <p:nvPr/>
        </p:nvSpPr>
        <p:spPr>
          <a:xfrm>
            <a:off x="8125602" y="4155701"/>
            <a:ext cx="77813" cy="526804"/>
          </a:xfrm>
          <a:prstGeom prst="roundRect">
            <a:avLst>
              <a:gd name="adj" fmla="val 50000"/>
            </a:avLst>
          </a:prstGeom>
          <a:solidFill>
            <a:schemeClr val="accent3"/>
          </a:solidFill>
          <a:ln>
            <a:noFill/>
          </a:ln>
          <a:effectLst>
            <a:outerShdw blurRad="165100" dist="2159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dirty="0">
              <a:ln>
                <a:noFill/>
              </a:ln>
              <a:solidFill>
                <a:srgbClr val="FFFFFF"/>
              </a:solidFill>
              <a:effectLst/>
              <a:uLnTx/>
              <a:uFillTx/>
              <a:latin typeface="OPPOSans R" panose="00020600040101010101" pitchFamily="18" charset="-122"/>
              <a:ea typeface="微软雅黑"/>
              <a:cs typeface="+mn-cs"/>
            </a:endParaRPr>
          </a:p>
        </p:txBody>
      </p:sp>
      <p:sp>
        <p:nvSpPr>
          <p:cNvPr id="95" name="gaoding-30">
            <a:extLst>
              <a:ext uri="{FF2B5EF4-FFF2-40B4-BE49-F238E27FC236}">
                <a16:creationId xmlns:a16="http://schemas.microsoft.com/office/drawing/2014/main" id="{545DD369-F29F-4161-A001-8A89317B7738}"/>
              </a:ext>
            </a:extLst>
          </p:cNvPr>
          <p:cNvSpPr/>
          <p:nvPr/>
        </p:nvSpPr>
        <p:spPr>
          <a:xfrm>
            <a:off x="9685366" y="3542680"/>
            <a:ext cx="1434648" cy="526804"/>
          </a:xfrm>
          <a:prstGeom prst="roundRect">
            <a:avLst>
              <a:gd name="adj" fmla="val 6929"/>
            </a:avLst>
          </a:prstGeom>
          <a:solidFill>
            <a:schemeClr val="bg1"/>
          </a:solidFill>
          <a:ln>
            <a:noFill/>
          </a:ln>
          <a:effectLst>
            <a:outerShdw blurRad="165100" dist="2159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dirty="0">
              <a:ln>
                <a:noFill/>
              </a:ln>
              <a:solidFill>
                <a:srgbClr val="FFFFFF"/>
              </a:solidFill>
              <a:effectLst/>
              <a:uLnTx/>
              <a:uFillTx/>
              <a:latin typeface="OPPOSans R" panose="00020600040101010101" pitchFamily="18" charset="-122"/>
              <a:ea typeface="微软雅黑"/>
              <a:cs typeface="+mn-cs"/>
            </a:endParaRPr>
          </a:p>
        </p:txBody>
      </p:sp>
      <p:sp>
        <p:nvSpPr>
          <p:cNvPr id="96" name="gaoding-31">
            <a:extLst>
              <a:ext uri="{FF2B5EF4-FFF2-40B4-BE49-F238E27FC236}">
                <a16:creationId xmlns:a16="http://schemas.microsoft.com/office/drawing/2014/main" id="{43CA3E3F-F114-45BD-AF5D-394446DFDD22}"/>
              </a:ext>
            </a:extLst>
          </p:cNvPr>
          <p:cNvSpPr/>
          <p:nvPr/>
        </p:nvSpPr>
        <p:spPr>
          <a:xfrm>
            <a:off x="9685366" y="3542680"/>
            <a:ext cx="77813" cy="526804"/>
          </a:xfrm>
          <a:prstGeom prst="roundRect">
            <a:avLst>
              <a:gd name="adj" fmla="val 50000"/>
            </a:avLst>
          </a:prstGeom>
          <a:solidFill>
            <a:schemeClr val="accent3"/>
          </a:solidFill>
          <a:ln>
            <a:noFill/>
          </a:ln>
          <a:effectLst>
            <a:outerShdw blurRad="165100" dist="2159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dirty="0">
              <a:ln>
                <a:noFill/>
              </a:ln>
              <a:solidFill>
                <a:srgbClr val="FFFFFF"/>
              </a:solidFill>
              <a:effectLst/>
              <a:uLnTx/>
              <a:uFillTx/>
              <a:latin typeface="OPPOSans R" panose="00020600040101010101" pitchFamily="18" charset="-122"/>
              <a:ea typeface="微软雅黑"/>
              <a:cs typeface="+mn-cs"/>
            </a:endParaRPr>
          </a:p>
        </p:txBody>
      </p:sp>
      <p:sp>
        <p:nvSpPr>
          <p:cNvPr id="88" name="gaoding-32">
            <a:extLst>
              <a:ext uri="{FF2B5EF4-FFF2-40B4-BE49-F238E27FC236}">
                <a16:creationId xmlns:a16="http://schemas.microsoft.com/office/drawing/2014/main" id="{C8C085A2-8CBE-4C7B-A317-FBBF8B75C7A5}"/>
              </a:ext>
            </a:extLst>
          </p:cNvPr>
          <p:cNvSpPr/>
          <p:nvPr/>
        </p:nvSpPr>
        <p:spPr>
          <a:xfrm>
            <a:off x="9685366" y="4155701"/>
            <a:ext cx="1434648" cy="526804"/>
          </a:xfrm>
          <a:prstGeom prst="roundRect">
            <a:avLst>
              <a:gd name="adj" fmla="val 6929"/>
            </a:avLst>
          </a:prstGeom>
          <a:solidFill>
            <a:schemeClr val="bg1"/>
          </a:solidFill>
          <a:ln>
            <a:noFill/>
          </a:ln>
          <a:effectLst>
            <a:outerShdw blurRad="165100" dist="2159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dirty="0">
              <a:ln>
                <a:noFill/>
              </a:ln>
              <a:solidFill>
                <a:srgbClr val="FFFFFF"/>
              </a:solidFill>
              <a:effectLst/>
              <a:uLnTx/>
              <a:uFillTx/>
              <a:latin typeface="OPPOSans R" panose="00020600040101010101" pitchFamily="18" charset="-122"/>
              <a:ea typeface="微软雅黑"/>
              <a:cs typeface="+mn-cs"/>
            </a:endParaRPr>
          </a:p>
        </p:txBody>
      </p:sp>
      <p:sp>
        <p:nvSpPr>
          <p:cNvPr id="89" name="gaoding-33">
            <a:extLst>
              <a:ext uri="{FF2B5EF4-FFF2-40B4-BE49-F238E27FC236}">
                <a16:creationId xmlns:a16="http://schemas.microsoft.com/office/drawing/2014/main" id="{BC935B52-B854-4DAA-9138-45098B2697C4}"/>
              </a:ext>
            </a:extLst>
          </p:cNvPr>
          <p:cNvSpPr/>
          <p:nvPr/>
        </p:nvSpPr>
        <p:spPr>
          <a:xfrm>
            <a:off x="9685366" y="4155701"/>
            <a:ext cx="77813" cy="526804"/>
          </a:xfrm>
          <a:prstGeom prst="roundRect">
            <a:avLst>
              <a:gd name="adj" fmla="val 50000"/>
            </a:avLst>
          </a:prstGeom>
          <a:solidFill>
            <a:schemeClr val="accent3"/>
          </a:solidFill>
          <a:ln>
            <a:noFill/>
          </a:ln>
          <a:effectLst>
            <a:outerShdw blurRad="165100" dist="2159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dirty="0">
              <a:ln>
                <a:noFill/>
              </a:ln>
              <a:solidFill>
                <a:srgbClr val="FFFFFF"/>
              </a:solidFill>
              <a:effectLst/>
              <a:uLnTx/>
              <a:uFillTx/>
              <a:latin typeface="OPPOSans R" panose="00020600040101010101" pitchFamily="18" charset="-122"/>
              <a:ea typeface="微软雅黑"/>
              <a:cs typeface="+mn-cs"/>
            </a:endParaRPr>
          </a:p>
        </p:txBody>
      </p:sp>
      <p:grpSp>
        <p:nvGrpSpPr>
          <p:cNvPr id="171" name="gaoding-34">
            <a:extLst>
              <a:ext uri="{FF2B5EF4-FFF2-40B4-BE49-F238E27FC236}">
                <a16:creationId xmlns:a16="http://schemas.microsoft.com/office/drawing/2014/main" id="{63E9CB51-FABE-432B-862B-B3BFF28C5531}"/>
              </a:ext>
            </a:extLst>
          </p:cNvPr>
          <p:cNvGrpSpPr/>
          <p:nvPr/>
        </p:nvGrpSpPr>
        <p:grpSpPr>
          <a:xfrm>
            <a:off x="891548" y="519423"/>
            <a:ext cx="2954655" cy="786117"/>
            <a:chOff x="891548" y="488943"/>
            <a:chExt cx="2954655" cy="786117"/>
          </a:xfrm>
        </p:grpSpPr>
        <p:sp>
          <p:nvSpPr>
            <p:cNvPr id="175" name="gaoding-34-1">
              <a:extLst>
                <a:ext uri="{FF2B5EF4-FFF2-40B4-BE49-F238E27FC236}">
                  <a16:creationId xmlns:a16="http://schemas.microsoft.com/office/drawing/2014/main" id="{9C41E843-E2DC-4FCB-91BD-92A3B36F8851}"/>
                </a:ext>
              </a:extLst>
            </p:cNvPr>
            <p:cNvSpPr txBox="1"/>
            <p:nvPr/>
          </p:nvSpPr>
          <p:spPr>
            <a:xfrm>
              <a:off x="891548" y="488943"/>
              <a:ext cx="2954655"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2400" b="1" i="0" u="none" strike="noStrike" kern="1200" cap="none" spc="0" normalizeH="0" baseline="0" noProof="0" dirty="0">
                  <a:ln>
                    <a:noFill/>
                  </a:ln>
                  <a:solidFill>
                    <a:srgbClr val="000000">
                      <a:lumMod val="85000"/>
                      <a:lumOff val="15000"/>
                    </a:srgbClr>
                  </a:solidFill>
                  <a:effectLst/>
                  <a:uLnTx/>
                  <a:uFillTx/>
                  <a:latin typeface="OPPOSans B" panose="00020600040101010101" pitchFamily="18" charset="-122"/>
                  <a:ea typeface="OPPOSans B" panose="00020600040101010101" pitchFamily="18" charset="-122"/>
                  <a:cs typeface="OPPOSans B" panose="00020600040101010101" pitchFamily="18" charset="-122"/>
                  <a:sym typeface="+mn-lt"/>
                </a:rPr>
                <a:t>秋叶</a:t>
              </a:r>
              <a:r>
                <a:rPr kumimoji="0" lang="en-US" altLang="zh-CN" sz="2400" b="1" i="0" u="none" strike="noStrike" kern="1200" cap="none" spc="0" normalizeH="0" baseline="0" noProof="0" dirty="0">
                  <a:ln>
                    <a:noFill/>
                  </a:ln>
                  <a:solidFill>
                    <a:srgbClr val="000000">
                      <a:lumMod val="85000"/>
                      <a:lumOff val="15000"/>
                    </a:srgbClr>
                  </a:solidFill>
                  <a:effectLst/>
                  <a:uLnTx/>
                  <a:uFillTx/>
                  <a:latin typeface="OPPOSans B" panose="00020600040101010101" pitchFamily="18" charset="-122"/>
                  <a:ea typeface="OPPOSans B" panose="00020600040101010101" pitchFamily="18" charset="-122"/>
                  <a:cs typeface="OPPOSans B" panose="00020600040101010101" pitchFamily="18" charset="-122"/>
                  <a:sym typeface="+mn-lt"/>
                </a:rPr>
                <a:t>PPT</a:t>
              </a:r>
              <a:r>
                <a:rPr kumimoji="0" lang="zh-CN" altLang="en-US" sz="2400" b="1" i="0" u="none" strike="noStrike" kern="1200" cap="none" spc="0" normalizeH="0" baseline="0" noProof="0" dirty="0">
                  <a:ln>
                    <a:noFill/>
                  </a:ln>
                  <a:solidFill>
                    <a:srgbClr val="000000">
                      <a:lumMod val="85000"/>
                      <a:lumOff val="15000"/>
                    </a:srgbClr>
                  </a:solidFill>
                  <a:effectLst/>
                  <a:uLnTx/>
                  <a:uFillTx/>
                  <a:latin typeface="OPPOSans B" panose="00020600040101010101" pitchFamily="18" charset="-122"/>
                  <a:ea typeface="OPPOSans B" panose="00020600040101010101" pitchFamily="18" charset="-122"/>
                  <a:cs typeface="OPPOSans B" panose="00020600040101010101" pitchFamily="18" charset="-122"/>
                  <a:sym typeface="+mn-lt"/>
                </a:rPr>
                <a:t>更快更轻松</a:t>
              </a:r>
            </a:p>
          </p:txBody>
        </p:sp>
        <p:sp>
          <p:nvSpPr>
            <p:cNvPr id="178" name="gaoding-34-2">
              <a:extLst>
                <a:ext uri="{FF2B5EF4-FFF2-40B4-BE49-F238E27FC236}">
                  <a16:creationId xmlns:a16="http://schemas.microsoft.com/office/drawing/2014/main" id="{570CC156-9789-49EA-BB05-4500C8B7ECC2}"/>
                </a:ext>
              </a:extLst>
            </p:cNvPr>
            <p:cNvSpPr txBox="1"/>
            <p:nvPr/>
          </p:nvSpPr>
          <p:spPr>
            <a:xfrm>
              <a:off x="917798" y="895464"/>
              <a:ext cx="1202573"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100" b="0" i="0" u="none" strike="noStrike" kern="1200" cap="none" spc="0" normalizeH="0" baseline="0" noProof="0" dirty="0">
                  <a:ln>
                    <a:noFill/>
                  </a:ln>
                  <a:solidFill>
                    <a:srgbClr val="000000">
                      <a:lumMod val="85000"/>
                      <a:lumOff val="1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sym typeface="+mn-lt"/>
                </a:rPr>
                <a:t>Add </a:t>
              </a:r>
              <a:r>
                <a:rPr kumimoji="0" lang="zh-CN" altLang="en-US" sz="1100" b="0" i="0" u="none" strike="noStrike" kern="1200" cap="none" spc="0" normalizeH="0" baseline="0" noProof="0" dirty="0">
                  <a:ln>
                    <a:noFill/>
                  </a:ln>
                  <a:solidFill>
                    <a:srgbClr val="000000">
                      <a:lumMod val="85000"/>
                      <a:lumOff val="1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sym typeface="+mn-lt"/>
                </a:rPr>
                <a:t>关键词标题</a:t>
              </a:r>
              <a:endParaRPr kumimoji="0" lang="en-US" altLang="zh-CN" sz="1100" b="0" i="0" u="none" strike="noStrike" kern="1200" cap="none" spc="0" normalizeH="0" baseline="0" noProof="0" dirty="0">
                <a:ln>
                  <a:noFill/>
                </a:ln>
                <a:solidFill>
                  <a:srgbClr val="000000">
                    <a:lumMod val="85000"/>
                    <a:lumOff val="1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sym typeface="+mn-lt"/>
              </a:endParaRPr>
            </a:p>
          </p:txBody>
        </p:sp>
        <p:sp>
          <p:nvSpPr>
            <p:cNvPr id="182" name="gaoding-34-3">
              <a:extLst>
                <a:ext uri="{FF2B5EF4-FFF2-40B4-BE49-F238E27FC236}">
                  <a16:creationId xmlns:a16="http://schemas.microsoft.com/office/drawing/2014/main" id="{05DD4BE5-5132-4F13-BD13-50216361A401}"/>
                </a:ext>
              </a:extLst>
            </p:cNvPr>
            <p:cNvSpPr/>
            <p:nvPr/>
          </p:nvSpPr>
          <p:spPr>
            <a:xfrm>
              <a:off x="1014806" y="1195562"/>
              <a:ext cx="811658" cy="79498"/>
            </a:xfrm>
            <a:prstGeom prst="rect">
              <a:avLst/>
            </a:prstGeom>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srgbClr val="FFFFFF"/>
                </a:solidFill>
                <a:effectLst/>
                <a:uLnTx/>
                <a:uFillTx/>
                <a:latin typeface="OPPOSans R" panose="00020600040101010101" pitchFamily="18" charset="-122"/>
                <a:ea typeface="微软雅黑"/>
                <a:cs typeface="+mn-ea"/>
                <a:sym typeface="+mn-lt"/>
              </a:endParaRPr>
            </a:p>
          </p:txBody>
        </p:sp>
      </p:grpSp>
      <p:sp>
        <p:nvSpPr>
          <p:cNvPr id="185" name="gaoding-35">
            <a:extLst>
              <a:ext uri="{FF2B5EF4-FFF2-40B4-BE49-F238E27FC236}">
                <a16:creationId xmlns:a16="http://schemas.microsoft.com/office/drawing/2014/main" id="{C848F82C-A6FB-461B-8213-BEA31E6B08E0}"/>
              </a:ext>
            </a:extLst>
          </p:cNvPr>
          <p:cNvSpPr txBox="1"/>
          <p:nvPr/>
        </p:nvSpPr>
        <p:spPr>
          <a:xfrm>
            <a:off x="1453779" y="3712225"/>
            <a:ext cx="1002103" cy="21544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400" b="0" i="0" u="none" strike="noStrike" kern="1200" cap="none" spc="0" normalizeH="0" baseline="0" noProof="0" dirty="0">
                <a:ln>
                  <a:noFill/>
                </a:ln>
                <a:solidFill>
                  <a:srgbClr val="000000">
                    <a:lumMod val="75000"/>
                    <a:lumOff val="2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rPr>
              <a:t>秋叶</a:t>
            </a:r>
            <a:r>
              <a:rPr kumimoji="0" lang="en-US" altLang="zh-CN" sz="1400" b="0" i="0" u="none" strike="noStrike" kern="1200" cap="none" spc="0" normalizeH="0" baseline="0" noProof="0" dirty="0">
                <a:ln>
                  <a:noFill/>
                </a:ln>
                <a:solidFill>
                  <a:srgbClr val="000000">
                    <a:lumMod val="75000"/>
                    <a:lumOff val="2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rPr>
              <a:t>PPT</a:t>
            </a:r>
            <a:endParaRPr kumimoji="0" lang="zh-CN" altLang="en-US" sz="1400" b="0" i="0" u="none" strike="noStrike" kern="1200" cap="none" spc="0" normalizeH="0" baseline="0" noProof="0" dirty="0">
              <a:ln>
                <a:noFill/>
              </a:ln>
              <a:solidFill>
                <a:srgbClr val="000000">
                  <a:lumMod val="75000"/>
                  <a:lumOff val="2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p:txBody>
      </p:sp>
      <p:sp>
        <p:nvSpPr>
          <p:cNvPr id="189" name="gaoding-36">
            <a:extLst>
              <a:ext uri="{FF2B5EF4-FFF2-40B4-BE49-F238E27FC236}">
                <a16:creationId xmlns:a16="http://schemas.microsoft.com/office/drawing/2014/main" id="{2483D5C2-9176-4837-8FFB-F7AAD26B9792}"/>
              </a:ext>
            </a:extLst>
          </p:cNvPr>
          <p:cNvSpPr txBox="1"/>
          <p:nvPr/>
        </p:nvSpPr>
        <p:spPr>
          <a:xfrm>
            <a:off x="1451740" y="4320772"/>
            <a:ext cx="1002103" cy="21544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400" b="0" i="0" u="none" strike="noStrike" kern="1200" cap="none" spc="0" normalizeH="0" baseline="0" noProof="0" dirty="0">
                <a:ln>
                  <a:noFill/>
                </a:ln>
                <a:solidFill>
                  <a:srgbClr val="000000">
                    <a:lumMod val="75000"/>
                    <a:lumOff val="2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rPr>
              <a:t>秋叶</a:t>
            </a:r>
            <a:r>
              <a:rPr kumimoji="0" lang="en-US" altLang="zh-CN" sz="1400" b="0" i="0" u="none" strike="noStrike" kern="1200" cap="none" spc="0" normalizeH="0" baseline="0" noProof="0" dirty="0">
                <a:ln>
                  <a:noFill/>
                </a:ln>
                <a:solidFill>
                  <a:srgbClr val="000000">
                    <a:lumMod val="75000"/>
                    <a:lumOff val="2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rPr>
              <a:t>PPT</a:t>
            </a:r>
            <a:endParaRPr kumimoji="0" lang="zh-CN" altLang="en-US" sz="1400" b="0" i="0" u="none" strike="noStrike" kern="1200" cap="none" spc="0" normalizeH="0" baseline="0" noProof="0" dirty="0">
              <a:ln>
                <a:noFill/>
              </a:ln>
              <a:solidFill>
                <a:srgbClr val="000000">
                  <a:lumMod val="75000"/>
                  <a:lumOff val="2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p:txBody>
      </p:sp>
      <p:sp>
        <p:nvSpPr>
          <p:cNvPr id="192" name="gaoding-37">
            <a:extLst>
              <a:ext uri="{FF2B5EF4-FFF2-40B4-BE49-F238E27FC236}">
                <a16:creationId xmlns:a16="http://schemas.microsoft.com/office/drawing/2014/main" id="{1035AA18-98BE-4E80-8D44-C43F6A64F217}"/>
              </a:ext>
            </a:extLst>
          </p:cNvPr>
          <p:cNvSpPr txBox="1"/>
          <p:nvPr/>
        </p:nvSpPr>
        <p:spPr>
          <a:xfrm>
            <a:off x="3015232" y="3712225"/>
            <a:ext cx="1002103" cy="21544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400" b="0" i="0" u="none" strike="noStrike" kern="1200" cap="none" spc="0" normalizeH="0" baseline="0" noProof="0" dirty="0">
                <a:ln>
                  <a:noFill/>
                </a:ln>
                <a:solidFill>
                  <a:srgbClr val="000000">
                    <a:lumMod val="75000"/>
                    <a:lumOff val="2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rPr>
              <a:t>秋叶</a:t>
            </a:r>
            <a:r>
              <a:rPr kumimoji="0" lang="en-US" altLang="zh-CN" sz="1400" b="0" i="0" u="none" strike="noStrike" kern="1200" cap="none" spc="0" normalizeH="0" baseline="0" noProof="0" dirty="0">
                <a:ln>
                  <a:noFill/>
                </a:ln>
                <a:solidFill>
                  <a:srgbClr val="000000">
                    <a:lumMod val="75000"/>
                    <a:lumOff val="2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rPr>
              <a:t>PPT</a:t>
            </a:r>
            <a:endParaRPr kumimoji="0" lang="zh-CN" altLang="en-US" sz="1400" b="0" i="0" u="none" strike="noStrike" kern="1200" cap="none" spc="0" normalizeH="0" baseline="0" noProof="0" dirty="0">
              <a:ln>
                <a:noFill/>
              </a:ln>
              <a:solidFill>
                <a:srgbClr val="000000">
                  <a:lumMod val="75000"/>
                  <a:lumOff val="2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p:txBody>
      </p:sp>
      <p:sp>
        <p:nvSpPr>
          <p:cNvPr id="196" name="gaoding-38">
            <a:extLst>
              <a:ext uri="{FF2B5EF4-FFF2-40B4-BE49-F238E27FC236}">
                <a16:creationId xmlns:a16="http://schemas.microsoft.com/office/drawing/2014/main" id="{E73C6ED0-06ED-483D-8E8E-7403E34D6BBE}"/>
              </a:ext>
            </a:extLst>
          </p:cNvPr>
          <p:cNvSpPr txBox="1"/>
          <p:nvPr/>
        </p:nvSpPr>
        <p:spPr>
          <a:xfrm>
            <a:off x="3013193" y="4320772"/>
            <a:ext cx="1002103" cy="21544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400" b="0" i="0" u="none" strike="noStrike" kern="1200" cap="none" spc="0" normalizeH="0" baseline="0" noProof="0" dirty="0">
                <a:ln>
                  <a:noFill/>
                </a:ln>
                <a:solidFill>
                  <a:srgbClr val="000000">
                    <a:lumMod val="75000"/>
                    <a:lumOff val="2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rPr>
              <a:t>秋叶</a:t>
            </a:r>
            <a:r>
              <a:rPr kumimoji="0" lang="en-US" altLang="zh-CN" sz="1400" b="0" i="0" u="none" strike="noStrike" kern="1200" cap="none" spc="0" normalizeH="0" baseline="0" noProof="0" dirty="0">
                <a:ln>
                  <a:noFill/>
                </a:ln>
                <a:solidFill>
                  <a:srgbClr val="000000">
                    <a:lumMod val="75000"/>
                    <a:lumOff val="2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rPr>
              <a:t>PPT</a:t>
            </a:r>
            <a:endParaRPr kumimoji="0" lang="zh-CN" altLang="en-US" sz="1400" b="0" i="0" u="none" strike="noStrike" kern="1200" cap="none" spc="0" normalizeH="0" baseline="0" noProof="0" dirty="0">
              <a:ln>
                <a:noFill/>
              </a:ln>
              <a:solidFill>
                <a:srgbClr val="000000">
                  <a:lumMod val="75000"/>
                  <a:lumOff val="2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p:txBody>
      </p:sp>
      <p:sp>
        <p:nvSpPr>
          <p:cNvPr id="199" name="gaoding-39">
            <a:extLst>
              <a:ext uri="{FF2B5EF4-FFF2-40B4-BE49-F238E27FC236}">
                <a16:creationId xmlns:a16="http://schemas.microsoft.com/office/drawing/2014/main" id="{09A49A70-1718-4FC2-83B8-408C45621389}"/>
              </a:ext>
            </a:extLst>
          </p:cNvPr>
          <p:cNvSpPr txBox="1"/>
          <p:nvPr/>
        </p:nvSpPr>
        <p:spPr>
          <a:xfrm>
            <a:off x="5014495" y="3712225"/>
            <a:ext cx="1002103" cy="21544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400" b="0" i="0" u="none" strike="noStrike" kern="1200" cap="none" spc="0" normalizeH="0" baseline="0" noProof="0" dirty="0">
                <a:ln>
                  <a:noFill/>
                </a:ln>
                <a:solidFill>
                  <a:srgbClr val="000000">
                    <a:lumMod val="75000"/>
                    <a:lumOff val="2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rPr>
              <a:t>秋叶</a:t>
            </a:r>
            <a:r>
              <a:rPr kumimoji="0" lang="en-US" altLang="zh-CN" sz="1400" b="0" i="0" u="none" strike="noStrike" kern="1200" cap="none" spc="0" normalizeH="0" baseline="0" noProof="0" dirty="0">
                <a:ln>
                  <a:noFill/>
                </a:ln>
                <a:solidFill>
                  <a:srgbClr val="000000">
                    <a:lumMod val="75000"/>
                    <a:lumOff val="2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rPr>
              <a:t>PPT</a:t>
            </a:r>
            <a:endParaRPr kumimoji="0" lang="zh-CN" altLang="en-US" sz="1400" b="0" i="0" u="none" strike="noStrike" kern="1200" cap="none" spc="0" normalizeH="0" baseline="0" noProof="0" dirty="0">
              <a:ln>
                <a:noFill/>
              </a:ln>
              <a:solidFill>
                <a:srgbClr val="000000">
                  <a:lumMod val="75000"/>
                  <a:lumOff val="2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p:txBody>
      </p:sp>
      <p:sp>
        <p:nvSpPr>
          <p:cNvPr id="203" name="gaoding-40">
            <a:extLst>
              <a:ext uri="{FF2B5EF4-FFF2-40B4-BE49-F238E27FC236}">
                <a16:creationId xmlns:a16="http://schemas.microsoft.com/office/drawing/2014/main" id="{7E087785-203E-4671-9512-A31908A047F5}"/>
              </a:ext>
            </a:extLst>
          </p:cNvPr>
          <p:cNvSpPr txBox="1"/>
          <p:nvPr/>
        </p:nvSpPr>
        <p:spPr>
          <a:xfrm>
            <a:off x="5012456" y="4320772"/>
            <a:ext cx="1002103" cy="21544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400" b="0" i="0" u="none" strike="noStrike" kern="1200" cap="none" spc="0" normalizeH="0" baseline="0" noProof="0" dirty="0">
                <a:ln>
                  <a:noFill/>
                </a:ln>
                <a:solidFill>
                  <a:srgbClr val="000000">
                    <a:lumMod val="75000"/>
                    <a:lumOff val="2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rPr>
              <a:t>秋叶</a:t>
            </a:r>
            <a:r>
              <a:rPr kumimoji="0" lang="en-US" altLang="zh-CN" sz="1400" b="0" i="0" u="none" strike="noStrike" kern="1200" cap="none" spc="0" normalizeH="0" baseline="0" noProof="0" dirty="0">
                <a:ln>
                  <a:noFill/>
                </a:ln>
                <a:solidFill>
                  <a:srgbClr val="000000">
                    <a:lumMod val="75000"/>
                    <a:lumOff val="2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rPr>
              <a:t>PPT</a:t>
            </a:r>
            <a:endParaRPr kumimoji="0" lang="zh-CN" altLang="en-US" sz="1400" b="0" i="0" u="none" strike="noStrike" kern="1200" cap="none" spc="0" normalizeH="0" baseline="0" noProof="0" dirty="0">
              <a:ln>
                <a:noFill/>
              </a:ln>
              <a:solidFill>
                <a:srgbClr val="000000">
                  <a:lumMod val="75000"/>
                  <a:lumOff val="2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p:txBody>
      </p:sp>
      <p:sp>
        <p:nvSpPr>
          <p:cNvPr id="206" name="gaoding-41">
            <a:extLst>
              <a:ext uri="{FF2B5EF4-FFF2-40B4-BE49-F238E27FC236}">
                <a16:creationId xmlns:a16="http://schemas.microsoft.com/office/drawing/2014/main" id="{3BF867BC-831E-485B-BD85-26BCA4BBA9B6}"/>
              </a:ext>
            </a:extLst>
          </p:cNvPr>
          <p:cNvSpPr txBox="1"/>
          <p:nvPr/>
        </p:nvSpPr>
        <p:spPr>
          <a:xfrm>
            <a:off x="6575948" y="3712225"/>
            <a:ext cx="1002103" cy="21544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400" b="0" i="0" u="none" strike="noStrike" kern="1200" cap="none" spc="0" normalizeH="0" baseline="0" noProof="0" dirty="0">
                <a:ln>
                  <a:noFill/>
                </a:ln>
                <a:solidFill>
                  <a:srgbClr val="000000">
                    <a:lumMod val="75000"/>
                    <a:lumOff val="2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rPr>
              <a:t>秋叶</a:t>
            </a:r>
            <a:r>
              <a:rPr kumimoji="0" lang="en-US" altLang="zh-CN" sz="1400" b="0" i="0" u="none" strike="noStrike" kern="1200" cap="none" spc="0" normalizeH="0" baseline="0" noProof="0" dirty="0">
                <a:ln>
                  <a:noFill/>
                </a:ln>
                <a:solidFill>
                  <a:srgbClr val="000000">
                    <a:lumMod val="75000"/>
                    <a:lumOff val="2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rPr>
              <a:t>PPT</a:t>
            </a:r>
            <a:endParaRPr kumimoji="0" lang="zh-CN" altLang="en-US" sz="1400" b="0" i="0" u="none" strike="noStrike" kern="1200" cap="none" spc="0" normalizeH="0" baseline="0" noProof="0" dirty="0">
              <a:ln>
                <a:noFill/>
              </a:ln>
              <a:solidFill>
                <a:srgbClr val="000000">
                  <a:lumMod val="75000"/>
                  <a:lumOff val="2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p:txBody>
      </p:sp>
      <p:sp>
        <p:nvSpPr>
          <p:cNvPr id="210" name="gaoding-42">
            <a:extLst>
              <a:ext uri="{FF2B5EF4-FFF2-40B4-BE49-F238E27FC236}">
                <a16:creationId xmlns:a16="http://schemas.microsoft.com/office/drawing/2014/main" id="{F01B5B4D-F142-48EE-9F34-D1180C71DF29}"/>
              </a:ext>
            </a:extLst>
          </p:cNvPr>
          <p:cNvSpPr txBox="1"/>
          <p:nvPr/>
        </p:nvSpPr>
        <p:spPr>
          <a:xfrm>
            <a:off x="6573909" y="4320772"/>
            <a:ext cx="1002103" cy="21544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400" b="0" i="0" u="none" strike="noStrike" kern="1200" cap="none" spc="0" normalizeH="0" baseline="0" noProof="0" dirty="0">
                <a:ln>
                  <a:noFill/>
                </a:ln>
                <a:solidFill>
                  <a:srgbClr val="000000">
                    <a:lumMod val="75000"/>
                    <a:lumOff val="2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rPr>
              <a:t>秋叶</a:t>
            </a:r>
            <a:r>
              <a:rPr kumimoji="0" lang="en-US" altLang="zh-CN" sz="1400" b="0" i="0" u="none" strike="noStrike" kern="1200" cap="none" spc="0" normalizeH="0" baseline="0" noProof="0" dirty="0">
                <a:ln>
                  <a:noFill/>
                </a:ln>
                <a:solidFill>
                  <a:srgbClr val="000000">
                    <a:lumMod val="75000"/>
                    <a:lumOff val="2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rPr>
              <a:t>PPT</a:t>
            </a:r>
            <a:endParaRPr kumimoji="0" lang="zh-CN" altLang="en-US" sz="1400" b="0" i="0" u="none" strike="noStrike" kern="1200" cap="none" spc="0" normalizeH="0" baseline="0" noProof="0" dirty="0">
              <a:ln>
                <a:noFill/>
              </a:ln>
              <a:solidFill>
                <a:srgbClr val="000000">
                  <a:lumMod val="75000"/>
                  <a:lumOff val="2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p:txBody>
      </p:sp>
      <p:sp>
        <p:nvSpPr>
          <p:cNvPr id="213" name="gaoding-43">
            <a:extLst>
              <a:ext uri="{FF2B5EF4-FFF2-40B4-BE49-F238E27FC236}">
                <a16:creationId xmlns:a16="http://schemas.microsoft.com/office/drawing/2014/main" id="{24F948E5-6539-4D0A-8B13-6D9A7A0C533B}"/>
              </a:ext>
            </a:extLst>
          </p:cNvPr>
          <p:cNvSpPr txBox="1"/>
          <p:nvPr/>
        </p:nvSpPr>
        <p:spPr>
          <a:xfrm>
            <a:off x="8550224" y="3706327"/>
            <a:ext cx="1002103" cy="21544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400" b="0" i="0" u="none" strike="noStrike" kern="1200" cap="none" spc="0" normalizeH="0" baseline="0" noProof="0" dirty="0">
                <a:ln>
                  <a:noFill/>
                </a:ln>
                <a:solidFill>
                  <a:srgbClr val="000000">
                    <a:lumMod val="75000"/>
                    <a:lumOff val="2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rPr>
              <a:t>秋叶</a:t>
            </a:r>
            <a:r>
              <a:rPr kumimoji="0" lang="en-US" altLang="zh-CN" sz="1400" b="0" i="0" u="none" strike="noStrike" kern="1200" cap="none" spc="0" normalizeH="0" baseline="0" noProof="0" dirty="0">
                <a:ln>
                  <a:noFill/>
                </a:ln>
                <a:solidFill>
                  <a:srgbClr val="000000">
                    <a:lumMod val="75000"/>
                    <a:lumOff val="2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rPr>
              <a:t>PPT</a:t>
            </a:r>
            <a:endParaRPr kumimoji="0" lang="zh-CN" altLang="en-US" sz="1400" b="0" i="0" u="none" strike="noStrike" kern="1200" cap="none" spc="0" normalizeH="0" baseline="0" noProof="0" dirty="0">
              <a:ln>
                <a:noFill/>
              </a:ln>
              <a:solidFill>
                <a:srgbClr val="000000">
                  <a:lumMod val="75000"/>
                  <a:lumOff val="2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p:txBody>
      </p:sp>
      <p:sp>
        <p:nvSpPr>
          <p:cNvPr id="217" name="gaoding-44">
            <a:extLst>
              <a:ext uri="{FF2B5EF4-FFF2-40B4-BE49-F238E27FC236}">
                <a16:creationId xmlns:a16="http://schemas.microsoft.com/office/drawing/2014/main" id="{DDFD0289-4866-478B-A84A-72B00FDE2272}"/>
              </a:ext>
            </a:extLst>
          </p:cNvPr>
          <p:cNvSpPr txBox="1"/>
          <p:nvPr/>
        </p:nvSpPr>
        <p:spPr>
          <a:xfrm>
            <a:off x="8548185" y="4314874"/>
            <a:ext cx="1002103" cy="21544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400" b="0" i="0" u="none" strike="noStrike" kern="1200" cap="none" spc="0" normalizeH="0" baseline="0" noProof="0" dirty="0">
                <a:ln>
                  <a:noFill/>
                </a:ln>
                <a:solidFill>
                  <a:srgbClr val="000000">
                    <a:lumMod val="75000"/>
                    <a:lumOff val="2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rPr>
              <a:t>秋叶</a:t>
            </a:r>
            <a:r>
              <a:rPr kumimoji="0" lang="en-US" altLang="zh-CN" sz="1400" b="0" i="0" u="none" strike="noStrike" kern="1200" cap="none" spc="0" normalizeH="0" baseline="0" noProof="0" dirty="0">
                <a:ln>
                  <a:noFill/>
                </a:ln>
                <a:solidFill>
                  <a:srgbClr val="000000">
                    <a:lumMod val="75000"/>
                    <a:lumOff val="2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rPr>
              <a:t>PPT</a:t>
            </a:r>
            <a:endParaRPr kumimoji="0" lang="zh-CN" altLang="en-US" sz="1400" b="0" i="0" u="none" strike="noStrike" kern="1200" cap="none" spc="0" normalizeH="0" baseline="0" noProof="0" dirty="0">
              <a:ln>
                <a:noFill/>
              </a:ln>
              <a:solidFill>
                <a:srgbClr val="000000">
                  <a:lumMod val="75000"/>
                  <a:lumOff val="2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p:txBody>
      </p:sp>
      <p:sp>
        <p:nvSpPr>
          <p:cNvPr id="220" name="gaoding-45">
            <a:extLst>
              <a:ext uri="{FF2B5EF4-FFF2-40B4-BE49-F238E27FC236}">
                <a16:creationId xmlns:a16="http://schemas.microsoft.com/office/drawing/2014/main" id="{A66CFD4A-1C5F-47D7-AD28-C198747D12C9}"/>
              </a:ext>
            </a:extLst>
          </p:cNvPr>
          <p:cNvSpPr txBox="1"/>
          <p:nvPr/>
        </p:nvSpPr>
        <p:spPr>
          <a:xfrm>
            <a:off x="10111677" y="3706327"/>
            <a:ext cx="1002103" cy="21544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400" b="0" i="0" u="none" strike="noStrike" kern="1200" cap="none" spc="0" normalizeH="0" baseline="0" noProof="0" dirty="0">
                <a:ln>
                  <a:noFill/>
                </a:ln>
                <a:solidFill>
                  <a:srgbClr val="000000">
                    <a:lumMod val="75000"/>
                    <a:lumOff val="2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rPr>
              <a:t>秋叶</a:t>
            </a:r>
            <a:r>
              <a:rPr kumimoji="0" lang="en-US" altLang="zh-CN" sz="1400" b="0" i="0" u="none" strike="noStrike" kern="1200" cap="none" spc="0" normalizeH="0" baseline="0" noProof="0" dirty="0">
                <a:ln>
                  <a:noFill/>
                </a:ln>
                <a:solidFill>
                  <a:srgbClr val="000000">
                    <a:lumMod val="75000"/>
                    <a:lumOff val="2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rPr>
              <a:t>PPT</a:t>
            </a:r>
            <a:endParaRPr kumimoji="0" lang="zh-CN" altLang="en-US" sz="1400" b="0" i="0" u="none" strike="noStrike" kern="1200" cap="none" spc="0" normalizeH="0" baseline="0" noProof="0" dirty="0">
              <a:ln>
                <a:noFill/>
              </a:ln>
              <a:solidFill>
                <a:srgbClr val="000000">
                  <a:lumMod val="75000"/>
                  <a:lumOff val="2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p:txBody>
      </p:sp>
      <p:sp>
        <p:nvSpPr>
          <p:cNvPr id="224" name="gaoding-46">
            <a:extLst>
              <a:ext uri="{FF2B5EF4-FFF2-40B4-BE49-F238E27FC236}">
                <a16:creationId xmlns:a16="http://schemas.microsoft.com/office/drawing/2014/main" id="{9136B80D-FF8A-4A4D-9355-C26B30FAB243}"/>
              </a:ext>
            </a:extLst>
          </p:cNvPr>
          <p:cNvSpPr txBox="1"/>
          <p:nvPr/>
        </p:nvSpPr>
        <p:spPr>
          <a:xfrm>
            <a:off x="10109638" y="4314874"/>
            <a:ext cx="1002103" cy="21544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400" b="0" i="0" u="none" strike="noStrike" kern="1200" cap="none" spc="0" normalizeH="0" baseline="0" noProof="0" dirty="0">
                <a:ln>
                  <a:noFill/>
                </a:ln>
                <a:solidFill>
                  <a:srgbClr val="000000">
                    <a:lumMod val="75000"/>
                    <a:lumOff val="2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rPr>
              <a:t>秋叶</a:t>
            </a:r>
            <a:r>
              <a:rPr kumimoji="0" lang="en-US" altLang="zh-CN" sz="1400" b="0" i="0" u="none" strike="noStrike" kern="1200" cap="none" spc="0" normalizeH="0" baseline="0" noProof="0" dirty="0">
                <a:ln>
                  <a:noFill/>
                </a:ln>
                <a:solidFill>
                  <a:srgbClr val="000000">
                    <a:lumMod val="75000"/>
                    <a:lumOff val="2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rPr>
              <a:t>PPT</a:t>
            </a:r>
            <a:endParaRPr kumimoji="0" lang="zh-CN" altLang="en-US" sz="1400" b="0" i="0" u="none" strike="noStrike" kern="1200" cap="none" spc="0" normalizeH="0" baseline="0" noProof="0" dirty="0">
              <a:ln>
                <a:noFill/>
              </a:ln>
              <a:solidFill>
                <a:srgbClr val="000000">
                  <a:lumMod val="75000"/>
                  <a:lumOff val="2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p:txBody>
      </p:sp>
    </p:spTree>
    <p:extLst>
      <p:ext uri="{BB962C8B-B14F-4D97-AF65-F5344CB8AC3E}">
        <p14:creationId xmlns:p14="http://schemas.microsoft.com/office/powerpoint/2010/main" val="626587289"/>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8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5" name="直接连接符 64">
            <a:extLst>
              <a:ext uri="{FF2B5EF4-FFF2-40B4-BE49-F238E27FC236}">
                <a16:creationId xmlns:a16="http://schemas.microsoft.com/office/drawing/2014/main" id="{0179F18B-247D-41E7-84EA-78F89483B845}"/>
              </a:ext>
            </a:extLst>
          </p:cNvPr>
          <p:cNvCxnSpPr>
            <a:cxnSpLocks/>
          </p:cNvCxnSpPr>
          <p:nvPr/>
        </p:nvCxnSpPr>
        <p:spPr>
          <a:xfrm flipV="1">
            <a:off x="6269577" y="1403848"/>
            <a:ext cx="0" cy="4523368"/>
          </a:xfrm>
          <a:prstGeom prst="line">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66" name="直接连接符 65">
            <a:extLst>
              <a:ext uri="{FF2B5EF4-FFF2-40B4-BE49-F238E27FC236}">
                <a16:creationId xmlns:a16="http://schemas.microsoft.com/office/drawing/2014/main" id="{64378DDE-D7FA-46B3-B861-D04DF2884596}"/>
              </a:ext>
            </a:extLst>
          </p:cNvPr>
          <p:cNvCxnSpPr>
            <a:cxnSpLocks/>
          </p:cNvCxnSpPr>
          <p:nvPr/>
        </p:nvCxnSpPr>
        <p:spPr>
          <a:xfrm rot="5400000" flipH="1">
            <a:off x="5030651" y="2578184"/>
            <a:ext cx="141561" cy="0"/>
          </a:xfrm>
          <a:prstGeom prst="line">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67" name="直接连接符 66">
            <a:extLst>
              <a:ext uri="{FF2B5EF4-FFF2-40B4-BE49-F238E27FC236}">
                <a16:creationId xmlns:a16="http://schemas.microsoft.com/office/drawing/2014/main" id="{F018817C-2253-4600-A28B-E682D1EAC9CC}"/>
              </a:ext>
            </a:extLst>
          </p:cNvPr>
          <p:cNvCxnSpPr>
            <a:cxnSpLocks/>
          </p:cNvCxnSpPr>
          <p:nvPr/>
        </p:nvCxnSpPr>
        <p:spPr>
          <a:xfrm flipH="1">
            <a:off x="5101430" y="2505514"/>
            <a:ext cx="2336293" cy="0"/>
          </a:xfrm>
          <a:prstGeom prst="line">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73" name="直接连接符 72">
            <a:extLst>
              <a:ext uri="{FF2B5EF4-FFF2-40B4-BE49-F238E27FC236}">
                <a16:creationId xmlns:a16="http://schemas.microsoft.com/office/drawing/2014/main" id="{BC51CF56-9615-4CD2-AE3B-5B6F77F3EF59}"/>
              </a:ext>
            </a:extLst>
          </p:cNvPr>
          <p:cNvCxnSpPr>
            <a:cxnSpLocks/>
          </p:cNvCxnSpPr>
          <p:nvPr/>
        </p:nvCxnSpPr>
        <p:spPr>
          <a:xfrm flipH="1">
            <a:off x="3211691" y="3386585"/>
            <a:ext cx="6115772" cy="0"/>
          </a:xfrm>
          <a:prstGeom prst="line">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74" name="直接连接符 73">
            <a:extLst>
              <a:ext uri="{FF2B5EF4-FFF2-40B4-BE49-F238E27FC236}">
                <a16:creationId xmlns:a16="http://schemas.microsoft.com/office/drawing/2014/main" id="{41AF639D-5585-4EDE-9505-F7DF17C548E6}"/>
              </a:ext>
            </a:extLst>
          </p:cNvPr>
          <p:cNvCxnSpPr>
            <a:cxnSpLocks/>
          </p:cNvCxnSpPr>
          <p:nvPr/>
        </p:nvCxnSpPr>
        <p:spPr>
          <a:xfrm flipH="1">
            <a:off x="5101430" y="4095478"/>
            <a:ext cx="2336293" cy="0"/>
          </a:xfrm>
          <a:prstGeom prst="line">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75" name="直接连接符 74">
            <a:extLst>
              <a:ext uri="{FF2B5EF4-FFF2-40B4-BE49-F238E27FC236}">
                <a16:creationId xmlns:a16="http://schemas.microsoft.com/office/drawing/2014/main" id="{04DE6FE8-D712-4824-A474-89D5828F57FC}"/>
              </a:ext>
            </a:extLst>
          </p:cNvPr>
          <p:cNvCxnSpPr>
            <a:cxnSpLocks/>
          </p:cNvCxnSpPr>
          <p:nvPr/>
        </p:nvCxnSpPr>
        <p:spPr>
          <a:xfrm flipH="1">
            <a:off x="1415955" y="4881433"/>
            <a:ext cx="9727664" cy="0"/>
          </a:xfrm>
          <a:prstGeom prst="line">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76" name="直接连接符 75">
            <a:extLst>
              <a:ext uri="{FF2B5EF4-FFF2-40B4-BE49-F238E27FC236}">
                <a16:creationId xmlns:a16="http://schemas.microsoft.com/office/drawing/2014/main" id="{58042B72-2133-461B-97E0-ADC4C9F426C6}"/>
              </a:ext>
            </a:extLst>
          </p:cNvPr>
          <p:cNvCxnSpPr>
            <a:cxnSpLocks/>
          </p:cNvCxnSpPr>
          <p:nvPr/>
        </p:nvCxnSpPr>
        <p:spPr>
          <a:xfrm flipH="1">
            <a:off x="4182479" y="5786574"/>
            <a:ext cx="4248872" cy="0"/>
          </a:xfrm>
          <a:prstGeom prst="line">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77" name="直接连接符 76">
            <a:extLst>
              <a:ext uri="{FF2B5EF4-FFF2-40B4-BE49-F238E27FC236}">
                <a16:creationId xmlns:a16="http://schemas.microsoft.com/office/drawing/2014/main" id="{AF976990-6927-42B3-8513-B1CFB4C9C2E0}"/>
              </a:ext>
            </a:extLst>
          </p:cNvPr>
          <p:cNvCxnSpPr>
            <a:cxnSpLocks/>
          </p:cNvCxnSpPr>
          <p:nvPr/>
        </p:nvCxnSpPr>
        <p:spPr>
          <a:xfrm rot="5400000" flipH="1">
            <a:off x="7366943" y="2578184"/>
            <a:ext cx="141561" cy="0"/>
          </a:xfrm>
          <a:prstGeom prst="line">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78" name="直接连接符 77">
            <a:extLst>
              <a:ext uri="{FF2B5EF4-FFF2-40B4-BE49-F238E27FC236}">
                <a16:creationId xmlns:a16="http://schemas.microsoft.com/office/drawing/2014/main" id="{863833BA-EC1E-428D-8954-B496F44AABFB}"/>
              </a:ext>
            </a:extLst>
          </p:cNvPr>
          <p:cNvCxnSpPr>
            <a:cxnSpLocks/>
          </p:cNvCxnSpPr>
          <p:nvPr/>
        </p:nvCxnSpPr>
        <p:spPr>
          <a:xfrm rot="5400000" flipH="1">
            <a:off x="5030651" y="3448900"/>
            <a:ext cx="141561" cy="0"/>
          </a:xfrm>
          <a:prstGeom prst="line">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79" name="直接连接符 78">
            <a:extLst>
              <a:ext uri="{FF2B5EF4-FFF2-40B4-BE49-F238E27FC236}">
                <a16:creationId xmlns:a16="http://schemas.microsoft.com/office/drawing/2014/main" id="{902A5D7D-ED2B-4186-BE8B-6C96ED690F93}"/>
              </a:ext>
            </a:extLst>
          </p:cNvPr>
          <p:cNvCxnSpPr>
            <a:cxnSpLocks/>
          </p:cNvCxnSpPr>
          <p:nvPr/>
        </p:nvCxnSpPr>
        <p:spPr>
          <a:xfrm rot="5400000" flipH="1">
            <a:off x="7366943" y="3448900"/>
            <a:ext cx="141561" cy="0"/>
          </a:xfrm>
          <a:prstGeom prst="line">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80" name="直接连接符 79">
            <a:extLst>
              <a:ext uri="{FF2B5EF4-FFF2-40B4-BE49-F238E27FC236}">
                <a16:creationId xmlns:a16="http://schemas.microsoft.com/office/drawing/2014/main" id="{72F73F85-5649-435F-8C38-B44C1AA207D0}"/>
              </a:ext>
            </a:extLst>
          </p:cNvPr>
          <p:cNvCxnSpPr>
            <a:cxnSpLocks/>
          </p:cNvCxnSpPr>
          <p:nvPr/>
        </p:nvCxnSpPr>
        <p:spPr>
          <a:xfrm rot="5400000" flipH="1">
            <a:off x="5030650" y="3464303"/>
            <a:ext cx="141561" cy="0"/>
          </a:xfrm>
          <a:prstGeom prst="line">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81" name="直接连接符 80">
            <a:extLst>
              <a:ext uri="{FF2B5EF4-FFF2-40B4-BE49-F238E27FC236}">
                <a16:creationId xmlns:a16="http://schemas.microsoft.com/office/drawing/2014/main" id="{D2E56057-E604-458F-88F5-F5D8774C5079}"/>
              </a:ext>
            </a:extLst>
          </p:cNvPr>
          <p:cNvCxnSpPr>
            <a:cxnSpLocks/>
          </p:cNvCxnSpPr>
          <p:nvPr/>
        </p:nvCxnSpPr>
        <p:spPr>
          <a:xfrm rot="5400000" flipH="1">
            <a:off x="3140911" y="3464303"/>
            <a:ext cx="141561" cy="0"/>
          </a:xfrm>
          <a:prstGeom prst="line">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84" name="直接连接符 83">
            <a:extLst>
              <a:ext uri="{FF2B5EF4-FFF2-40B4-BE49-F238E27FC236}">
                <a16:creationId xmlns:a16="http://schemas.microsoft.com/office/drawing/2014/main" id="{09B759CA-BDCE-4BA8-A9F2-3B8FD92910FE}"/>
              </a:ext>
            </a:extLst>
          </p:cNvPr>
          <p:cNvCxnSpPr>
            <a:cxnSpLocks/>
          </p:cNvCxnSpPr>
          <p:nvPr/>
        </p:nvCxnSpPr>
        <p:spPr>
          <a:xfrm rot="5400000" flipH="1">
            <a:off x="9256683" y="3464304"/>
            <a:ext cx="141561" cy="0"/>
          </a:xfrm>
          <a:prstGeom prst="line">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85" name="直接连接符 84">
            <a:extLst>
              <a:ext uri="{FF2B5EF4-FFF2-40B4-BE49-F238E27FC236}">
                <a16:creationId xmlns:a16="http://schemas.microsoft.com/office/drawing/2014/main" id="{A10BB741-9B40-48BD-ABA9-F3113F9E28F7}"/>
              </a:ext>
            </a:extLst>
          </p:cNvPr>
          <p:cNvCxnSpPr>
            <a:cxnSpLocks/>
          </p:cNvCxnSpPr>
          <p:nvPr/>
        </p:nvCxnSpPr>
        <p:spPr>
          <a:xfrm rot="5400000" flipH="1">
            <a:off x="7366943" y="4167837"/>
            <a:ext cx="141561" cy="0"/>
          </a:xfrm>
          <a:prstGeom prst="line">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87" name="直接连接符 86">
            <a:extLst>
              <a:ext uri="{FF2B5EF4-FFF2-40B4-BE49-F238E27FC236}">
                <a16:creationId xmlns:a16="http://schemas.microsoft.com/office/drawing/2014/main" id="{21B41BAF-0125-4FDC-B60D-AA65CDDA952D}"/>
              </a:ext>
            </a:extLst>
          </p:cNvPr>
          <p:cNvCxnSpPr>
            <a:cxnSpLocks/>
          </p:cNvCxnSpPr>
          <p:nvPr/>
        </p:nvCxnSpPr>
        <p:spPr>
          <a:xfrm rot="5400000" flipH="1">
            <a:off x="5030650" y="4167837"/>
            <a:ext cx="141561" cy="0"/>
          </a:xfrm>
          <a:prstGeom prst="line">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94" name="直接连接符 93">
            <a:extLst>
              <a:ext uri="{FF2B5EF4-FFF2-40B4-BE49-F238E27FC236}">
                <a16:creationId xmlns:a16="http://schemas.microsoft.com/office/drawing/2014/main" id="{E79CAB93-767C-48A6-A22A-95EFB79BF21F}"/>
              </a:ext>
            </a:extLst>
          </p:cNvPr>
          <p:cNvCxnSpPr>
            <a:cxnSpLocks/>
          </p:cNvCxnSpPr>
          <p:nvPr/>
        </p:nvCxnSpPr>
        <p:spPr>
          <a:xfrm rot="5400000" flipH="1">
            <a:off x="5030651" y="4935571"/>
            <a:ext cx="141561" cy="0"/>
          </a:xfrm>
          <a:prstGeom prst="line">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95" name="直接连接符 94">
            <a:extLst>
              <a:ext uri="{FF2B5EF4-FFF2-40B4-BE49-F238E27FC236}">
                <a16:creationId xmlns:a16="http://schemas.microsoft.com/office/drawing/2014/main" id="{6DC8E4D7-177D-4887-B2C7-47C6B3DE0F72}"/>
              </a:ext>
            </a:extLst>
          </p:cNvPr>
          <p:cNvCxnSpPr>
            <a:cxnSpLocks/>
          </p:cNvCxnSpPr>
          <p:nvPr/>
        </p:nvCxnSpPr>
        <p:spPr>
          <a:xfrm rot="5400000" flipH="1">
            <a:off x="7366943" y="4935571"/>
            <a:ext cx="141561" cy="0"/>
          </a:xfrm>
          <a:prstGeom prst="line">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96" name="直接连接符 95">
            <a:extLst>
              <a:ext uri="{FF2B5EF4-FFF2-40B4-BE49-F238E27FC236}">
                <a16:creationId xmlns:a16="http://schemas.microsoft.com/office/drawing/2014/main" id="{FDD13005-D338-48BC-9B9D-6D6F0DAD1619}"/>
              </a:ext>
            </a:extLst>
          </p:cNvPr>
          <p:cNvCxnSpPr>
            <a:cxnSpLocks/>
          </p:cNvCxnSpPr>
          <p:nvPr/>
        </p:nvCxnSpPr>
        <p:spPr>
          <a:xfrm rot="5400000" flipH="1">
            <a:off x="5030650" y="4950974"/>
            <a:ext cx="141561" cy="0"/>
          </a:xfrm>
          <a:prstGeom prst="line">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98" name="直接连接符 97">
            <a:extLst>
              <a:ext uri="{FF2B5EF4-FFF2-40B4-BE49-F238E27FC236}">
                <a16:creationId xmlns:a16="http://schemas.microsoft.com/office/drawing/2014/main" id="{D94DFFA8-A793-4434-B695-3DEE3F9D45D1}"/>
              </a:ext>
            </a:extLst>
          </p:cNvPr>
          <p:cNvCxnSpPr>
            <a:cxnSpLocks/>
          </p:cNvCxnSpPr>
          <p:nvPr/>
        </p:nvCxnSpPr>
        <p:spPr>
          <a:xfrm rot="5400000" flipH="1">
            <a:off x="3140911" y="4950974"/>
            <a:ext cx="141561" cy="0"/>
          </a:xfrm>
          <a:prstGeom prst="line">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99" name="直接连接符 98">
            <a:extLst>
              <a:ext uri="{FF2B5EF4-FFF2-40B4-BE49-F238E27FC236}">
                <a16:creationId xmlns:a16="http://schemas.microsoft.com/office/drawing/2014/main" id="{2F7EFB54-B14B-43E7-A689-82829B9CE53F}"/>
              </a:ext>
            </a:extLst>
          </p:cNvPr>
          <p:cNvCxnSpPr>
            <a:cxnSpLocks/>
          </p:cNvCxnSpPr>
          <p:nvPr/>
        </p:nvCxnSpPr>
        <p:spPr>
          <a:xfrm rot="5400000" flipH="1">
            <a:off x="9256683" y="4950975"/>
            <a:ext cx="141561" cy="0"/>
          </a:xfrm>
          <a:prstGeom prst="line">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100" name="直接连接符 99">
            <a:extLst>
              <a:ext uri="{FF2B5EF4-FFF2-40B4-BE49-F238E27FC236}">
                <a16:creationId xmlns:a16="http://schemas.microsoft.com/office/drawing/2014/main" id="{11080F3B-A61E-48D2-8DB2-554F98FCBB72}"/>
              </a:ext>
            </a:extLst>
          </p:cNvPr>
          <p:cNvCxnSpPr>
            <a:cxnSpLocks/>
          </p:cNvCxnSpPr>
          <p:nvPr/>
        </p:nvCxnSpPr>
        <p:spPr>
          <a:xfrm rot="5400000" flipH="1">
            <a:off x="1345175" y="4950974"/>
            <a:ext cx="141561" cy="0"/>
          </a:xfrm>
          <a:prstGeom prst="line">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101" name="直接连接符 100">
            <a:extLst>
              <a:ext uri="{FF2B5EF4-FFF2-40B4-BE49-F238E27FC236}">
                <a16:creationId xmlns:a16="http://schemas.microsoft.com/office/drawing/2014/main" id="{B02F49EA-6C79-408E-9AA4-84AF887AD29D}"/>
              </a:ext>
            </a:extLst>
          </p:cNvPr>
          <p:cNvCxnSpPr>
            <a:cxnSpLocks/>
          </p:cNvCxnSpPr>
          <p:nvPr/>
        </p:nvCxnSpPr>
        <p:spPr>
          <a:xfrm rot="5400000" flipH="1">
            <a:off x="11072839" y="4950975"/>
            <a:ext cx="141561" cy="0"/>
          </a:xfrm>
          <a:prstGeom prst="line">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103" name="直接连接符 102">
            <a:extLst>
              <a:ext uri="{FF2B5EF4-FFF2-40B4-BE49-F238E27FC236}">
                <a16:creationId xmlns:a16="http://schemas.microsoft.com/office/drawing/2014/main" id="{6660C275-51DF-415C-8F4A-139371A2A6C4}"/>
              </a:ext>
            </a:extLst>
          </p:cNvPr>
          <p:cNvCxnSpPr>
            <a:cxnSpLocks/>
          </p:cNvCxnSpPr>
          <p:nvPr/>
        </p:nvCxnSpPr>
        <p:spPr>
          <a:xfrm rot="5400000" flipH="1">
            <a:off x="8360571" y="5843556"/>
            <a:ext cx="141561" cy="0"/>
          </a:xfrm>
          <a:prstGeom prst="line">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104" name="直接连接符 103">
            <a:extLst>
              <a:ext uri="{FF2B5EF4-FFF2-40B4-BE49-F238E27FC236}">
                <a16:creationId xmlns:a16="http://schemas.microsoft.com/office/drawing/2014/main" id="{2B6F9831-4E0B-4BC1-B623-A7DC1CECFC38}"/>
              </a:ext>
            </a:extLst>
          </p:cNvPr>
          <p:cNvCxnSpPr>
            <a:cxnSpLocks/>
          </p:cNvCxnSpPr>
          <p:nvPr/>
        </p:nvCxnSpPr>
        <p:spPr>
          <a:xfrm rot="5400000" flipH="1">
            <a:off x="4111699" y="5858959"/>
            <a:ext cx="141561" cy="0"/>
          </a:xfrm>
          <a:prstGeom prst="line">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34" name="Object 1086">
            <a:extLst>
              <a:ext uri="{FF2B5EF4-FFF2-40B4-BE49-F238E27FC236}">
                <a16:creationId xmlns:a16="http://schemas.microsoft.com/office/drawing/2014/main" id="{2FE0DD33-B603-449E-A76A-2A895039E573}"/>
              </a:ext>
            </a:extLst>
          </p:cNvPr>
          <p:cNvSpPr txBox="1"/>
          <p:nvPr/>
        </p:nvSpPr>
        <p:spPr>
          <a:xfrm>
            <a:off x="746026" y="552101"/>
            <a:ext cx="3415309" cy="457200"/>
          </a:xfrm>
          <a:prstGeom prst="rect">
            <a:avLst/>
          </a:prstGeom>
        </p:spPr>
        <p:txBody>
          <a:bodyPr vert="horz" rtlCol="0" anchor="t" anchorCtr="0">
            <a:noAutofit/>
          </a:bodyPr>
          <a:lstStyle>
            <a:defPPr>
              <a:defRPr lang="zh-CN"/>
            </a:defPPr>
            <a:lvl1pPr algn="ctr">
              <a:lnSpc>
                <a:spcPct val="100000"/>
              </a:lnSpc>
              <a:defRPr sz="3000">
                <a:solidFill>
                  <a:srgbClr val="1B1B1B"/>
                </a:solidFill>
                <a:latin typeface="OPPOSans H" panose="00020600040101010101" pitchFamily="18" charset="-122"/>
                <a:ea typeface="OPPOSans H" panose="00020600040101010101" pitchFamily="18" charset="-122"/>
                <a:cs typeface="OPPOSans H" panose="00020600040101010101" pitchFamily="18" charset="-122"/>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3000" b="0" i="0" u="none" strike="noStrike" kern="1200" cap="none" spc="0" normalizeH="0" baseline="0" noProof="0" dirty="0">
                <a:ln>
                  <a:noFill/>
                </a:ln>
                <a:solidFill>
                  <a:srgbClr val="1B1B1B"/>
                </a:solidFill>
                <a:effectLst/>
                <a:uLnTx/>
                <a:uFillTx/>
                <a:latin typeface="OPPOSans H" panose="00020600040101010101" pitchFamily="18" charset="-122"/>
                <a:ea typeface="OPPOSans H" panose="00020600040101010101" pitchFamily="18" charset="-122"/>
                <a:cs typeface="OPPOSans H" panose="00020600040101010101" pitchFamily="18" charset="-122"/>
              </a:rPr>
              <a:t>组织架构模板</a:t>
            </a:r>
            <a:endParaRPr kumimoji="0" lang="zh-CN" altLang="en-US" sz="3000" b="0" i="0" u="none" strike="noStrike" kern="1200" cap="none" spc="0" normalizeH="0" baseline="0" noProof="0">
              <a:ln>
                <a:noFill/>
              </a:ln>
              <a:solidFill>
                <a:srgbClr val="1B1B1B"/>
              </a:solidFill>
              <a:effectLst/>
              <a:uLnTx/>
              <a:uFillTx/>
              <a:latin typeface="OPPOSans H" panose="00020600040101010101" pitchFamily="18" charset="-122"/>
              <a:ea typeface="OPPOSans H" panose="00020600040101010101" pitchFamily="18" charset="-122"/>
              <a:cs typeface="OPPOSans H" panose="00020600040101010101" pitchFamily="18" charset="-122"/>
            </a:endParaRPr>
          </a:p>
        </p:txBody>
      </p:sp>
      <p:sp>
        <p:nvSpPr>
          <p:cNvPr id="35" name="矩形: 圆角 34">
            <a:extLst>
              <a:ext uri="{FF2B5EF4-FFF2-40B4-BE49-F238E27FC236}">
                <a16:creationId xmlns:a16="http://schemas.microsoft.com/office/drawing/2014/main" id="{A9210EAB-B145-4172-A19D-B1E6F8CE290B}"/>
              </a:ext>
            </a:extLst>
          </p:cNvPr>
          <p:cNvSpPr/>
          <p:nvPr/>
        </p:nvSpPr>
        <p:spPr>
          <a:xfrm>
            <a:off x="5481288" y="1082040"/>
            <a:ext cx="1576578" cy="434340"/>
          </a:xfrm>
          <a:prstGeom prst="roundRect">
            <a:avLst>
              <a:gd name="adj" fmla="val 30450"/>
            </a:avLst>
          </a:prstGeom>
          <a:gradFill flip="none" rotWithShape="1">
            <a:gsLst>
              <a:gs pos="3000">
                <a:schemeClr val="accent1"/>
              </a:gs>
              <a:gs pos="100000">
                <a:schemeClr val="accent1">
                  <a:lumMod val="60000"/>
                  <a:lumOff val="40000"/>
                </a:schemeClr>
              </a:gs>
            </a:gsLst>
            <a:lin ang="27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5720" tIns="22860" rIns="45720" bIns="228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2000" b="0" i="0" u="none" strike="noStrike" kern="1200" cap="none" spc="0" normalizeH="0" baseline="0" noProof="0">
                <a:ln>
                  <a:noFill/>
                </a:ln>
                <a:solidFill>
                  <a:srgbClr val="FFFFFF"/>
                </a:solidFill>
                <a:effectLst/>
                <a:uLnTx/>
                <a:uFillTx/>
                <a:latin typeface="OPPOSans B" panose="00020600040101010101" pitchFamily="18" charset="-122"/>
                <a:ea typeface="OPPOSans B" panose="00020600040101010101" pitchFamily="18" charset="-122"/>
                <a:cs typeface="OPPOSans B" panose="00020600040101010101" pitchFamily="18" charset="-122"/>
              </a:rPr>
              <a:t>部门名称</a:t>
            </a:r>
            <a:endParaRPr kumimoji="0" lang="zh-CN" altLang="en-US" sz="2000" b="0" i="0" u="none" strike="noStrike" kern="1200" cap="none" spc="0" normalizeH="0" baseline="0" noProof="0" dirty="0">
              <a:ln>
                <a:noFill/>
              </a:ln>
              <a:solidFill>
                <a:srgbClr val="FFFFFF"/>
              </a:solidFill>
              <a:effectLst/>
              <a:uLnTx/>
              <a:uFillTx/>
              <a:latin typeface="OPPOSans B" panose="00020600040101010101" pitchFamily="18" charset="-122"/>
              <a:ea typeface="OPPOSans B" panose="00020600040101010101" pitchFamily="18" charset="-122"/>
              <a:cs typeface="OPPOSans B" panose="00020600040101010101" pitchFamily="18" charset="-122"/>
            </a:endParaRPr>
          </a:p>
        </p:txBody>
      </p:sp>
      <p:sp>
        <p:nvSpPr>
          <p:cNvPr id="36" name="矩形: 圆角 35">
            <a:extLst>
              <a:ext uri="{FF2B5EF4-FFF2-40B4-BE49-F238E27FC236}">
                <a16:creationId xmlns:a16="http://schemas.microsoft.com/office/drawing/2014/main" id="{0F1886E0-DD82-4FAF-9748-D23F49ED1B91}"/>
              </a:ext>
            </a:extLst>
          </p:cNvPr>
          <p:cNvSpPr/>
          <p:nvPr/>
        </p:nvSpPr>
        <p:spPr>
          <a:xfrm>
            <a:off x="5481288" y="1859280"/>
            <a:ext cx="1576578" cy="434340"/>
          </a:xfrm>
          <a:prstGeom prst="roundRect">
            <a:avLst>
              <a:gd name="adj" fmla="val 30450"/>
            </a:avLst>
          </a:prstGeom>
          <a:gradFill flip="none" rotWithShape="1">
            <a:gsLst>
              <a:gs pos="1000">
                <a:schemeClr val="accent5">
                  <a:lumMod val="75000"/>
                </a:schemeClr>
              </a:gs>
              <a:gs pos="100000">
                <a:schemeClr val="accent5"/>
              </a:gs>
            </a:gsLst>
            <a:lin ang="2700000" scaled="0"/>
            <a:tileRect/>
          </a:gradFill>
          <a:ln>
            <a:solidFill>
              <a:schemeClr val="accent5"/>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5720" tIns="22860" rIns="45720" bIns="228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600" b="0" i="0" u="none" strike="noStrike" kern="1200" cap="none" spc="0" normalizeH="0" baseline="0" noProof="0">
                <a:ln>
                  <a:noFill/>
                </a:ln>
                <a:solidFill>
                  <a:srgbClr val="FFFFFF"/>
                </a:solidFill>
                <a:effectLst/>
                <a:uLnTx/>
                <a:uFillTx/>
                <a:latin typeface="OPPOSans R" panose="00020600040101010101" pitchFamily="18" charset="-122"/>
                <a:ea typeface="OPPOSans R" panose="00020600040101010101" pitchFamily="18" charset="-122"/>
                <a:cs typeface="OPPOSans R" panose="00020600040101010101" pitchFamily="18" charset="-122"/>
              </a:rPr>
              <a:t>部门名称</a:t>
            </a:r>
            <a:endParaRPr kumimoji="0" lang="zh-CN" altLang="en-US" sz="1600" b="0" i="0" u="none" strike="noStrike" kern="1200" cap="none" spc="0" normalizeH="0" baseline="0" noProof="0" dirty="0">
              <a:ln>
                <a:noFill/>
              </a:ln>
              <a:solidFill>
                <a:srgbClr val="FFFFFF"/>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p:txBody>
      </p:sp>
      <p:sp>
        <p:nvSpPr>
          <p:cNvPr id="37" name="矩形: 圆角 36">
            <a:extLst>
              <a:ext uri="{FF2B5EF4-FFF2-40B4-BE49-F238E27FC236}">
                <a16:creationId xmlns:a16="http://schemas.microsoft.com/office/drawing/2014/main" id="{F4C938C4-EC90-4AAC-B084-03B02FB28833}"/>
              </a:ext>
            </a:extLst>
          </p:cNvPr>
          <p:cNvSpPr/>
          <p:nvPr/>
        </p:nvSpPr>
        <p:spPr>
          <a:xfrm>
            <a:off x="4313142" y="2636520"/>
            <a:ext cx="1576578" cy="434340"/>
          </a:xfrm>
          <a:prstGeom prst="roundRect">
            <a:avLst>
              <a:gd name="adj" fmla="val 30450"/>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5720" tIns="22860" rIns="45720" bIns="228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600" b="0" i="0" u="none" strike="noStrike" kern="1200" cap="none" spc="0" normalizeH="0" baseline="0" noProof="0">
                <a:ln>
                  <a:noFill/>
                </a:ln>
                <a:solidFill>
                  <a:srgbClr val="000000">
                    <a:lumMod val="85000"/>
                    <a:lumOff val="1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rPr>
              <a:t>部门名称</a:t>
            </a:r>
            <a:endParaRPr kumimoji="0" lang="zh-CN" altLang="en-US" sz="1600" b="0" i="0" u="none" strike="noStrike" kern="1200" cap="none" spc="0" normalizeH="0" baseline="0" noProof="0" dirty="0">
              <a:ln>
                <a:noFill/>
              </a:ln>
              <a:solidFill>
                <a:srgbClr val="000000">
                  <a:lumMod val="85000"/>
                  <a:lumOff val="1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p:txBody>
      </p:sp>
      <p:sp>
        <p:nvSpPr>
          <p:cNvPr id="38" name="矩形: 圆角 37">
            <a:extLst>
              <a:ext uri="{FF2B5EF4-FFF2-40B4-BE49-F238E27FC236}">
                <a16:creationId xmlns:a16="http://schemas.microsoft.com/office/drawing/2014/main" id="{A9AEFF00-2CC5-4530-9A47-C7C85C0E91D9}"/>
              </a:ext>
            </a:extLst>
          </p:cNvPr>
          <p:cNvSpPr/>
          <p:nvPr/>
        </p:nvSpPr>
        <p:spPr>
          <a:xfrm>
            <a:off x="6649434" y="2636520"/>
            <a:ext cx="1576578" cy="434340"/>
          </a:xfrm>
          <a:prstGeom prst="roundRect">
            <a:avLst>
              <a:gd name="adj" fmla="val 30450"/>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5720" tIns="22860" rIns="45720" bIns="228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600" b="0" i="0" u="none" strike="noStrike" kern="1200" cap="none" spc="0" normalizeH="0" baseline="0" noProof="0">
                <a:ln>
                  <a:noFill/>
                </a:ln>
                <a:solidFill>
                  <a:srgbClr val="000000">
                    <a:lumMod val="85000"/>
                    <a:lumOff val="1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rPr>
              <a:t>部门名称</a:t>
            </a:r>
            <a:endParaRPr kumimoji="0" lang="zh-CN" altLang="en-US" sz="1600" b="0" i="0" u="none" strike="noStrike" kern="1200" cap="none" spc="0" normalizeH="0" baseline="0" noProof="0" dirty="0">
              <a:ln>
                <a:noFill/>
              </a:ln>
              <a:solidFill>
                <a:srgbClr val="000000">
                  <a:lumMod val="85000"/>
                  <a:lumOff val="1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p:txBody>
      </p:sp>
      <p:sp>
        <p:nvSpPr>
          <p:cNvPr id="39" name="矩形: 圆角 38">
            <a:extLst>
              <a:ext uri="{FF2B5EF4-FFF2-40B4-BE49-F238E27FC236}">
                <a16:creationId xmlns:a16="http://schemas.microsoft.com/office/drawing/2014/main" id="{B145D774-30CD-4499-BAAC-F97805E70D8D}"/>
              </a:ext>
            </a:extLst>
          </p:cNvPr>
          <p:cNvSpPr/>
          <p:nvPr/>
        </p:nvSpPr>
        <p:spPr>
          <a:xfrm>
            <a:off x="4335982" y="3508074"/>
            <a:ext cx="1576578" cy="434340"/>
          </a:xfrm>
          <a:prstGeom prst="roundRect">
            <a:avLst>
              <a:gd name="adj" fmla="val 30450"/>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5720" tIns="22860" rIns="45720" bIns="228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600" b="0" i="0" u="none" strike="noStrike" kern="1200" cap="none" spc="0" normalizeH="0" baseline="0" noProof="0">
                <a:ln>
                  <a:noFill/>
                </a:ln>
                <a:solidFill>
                  <a:srgbClr val="000000">
                    <a:lumMod val="85000"/>
                    <a:lumOff val="1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rPr>
              <a:t>部门名称</a:t>
            </a:r>
            <a:endParaRPr kumimoji="0" lang="zh-CN" altLang="en-US" sz="1600" b="0" i="0" u="none" strike="noStrike" kern="1200" cap="none" spc="0" normalizeH="0" baseline="0" noProof="0" dirty="0">
              <a:ln>
                <a:noFill/>
              </a:ln>
              <a:solidFill>
                <a:srgbClr val="000000">
                  <a:lumMod val="85000"/>
                  <a:lumOff val="1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p:txBody>
      </p:sp>
      <p:sp>
        <p:nvSpPr>
          <p:cNvPr id="40" name="矩形: 圆角 39">
            <a:extLst>
              <a:ext uri="{FF2B5EF4-FFF2-40B4-BE49-F238E27FC236}">
                <a16:creationId xmlns:a16="http://schemas.microsoft.com/office/drawing/2014/main" id="{6ECD5DAB-0FD8-48B4-A734-442CCD035659}"/>
              </a:ext>
            </a:extLst>
          </p:cNvPr>
          <p:cNvSpPr/>
          <p:nvPr/>
        </p:nvSpPr>
        <p:spPr>
          <a:xfrm>
            <a:off x="6672274" y="3508074"/>
            <a:ext cx="1576578" cy="434340"/>
          </a:xfrm>
          <a:prstGeom prst="roundRect">
            <a:avLst>
              <a:gd name="adj" fmla="val 30450"/>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5720" tIns="22860" rIns="45720" bIns="228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600" b="0" i="0" u="none" strike="noStrike" kern="1200" cap="none" spc="0" normalizeH="0" baseline="0" noProof="0">
                <a:ln>
                  <a:noFill/>
                </a:ln>
                <a:solidFill>
                  <a:srgbClr val="000000">
                    <a:lumMod val="85000"/>
                    <a:lumOff val="1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rPr>
              <a:t>部门名称</a:t>
            </a:r>
            <a:endParaRPr kumimoji="0" lang="zh-CN" altLang="en-US" sz="1600" b="0" i="0" u="none" strike="noStrike" kern="1200" cap="none" spc="0" normalizeH="0" baseline="0" noProof="0" dirty="0">
              <a:ln>
                <a:noFill/>
              </a:ln>
              <a:solidFill>
                <a:srgbClr val="000000">
                  <a:lumMod val="85000"/>
                  <a:lumOff val="1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p:txBody>
      </p:sp>
      <p:sp>
        <p:nvSpPr>
          <p:cNvPr id="41" name="矩形: 圆角 40">
            <a:extLst>
              <a:ext uri="{FF2B5EF4-FFF2-40B4-BE49-F238E27FC236}">
                <a16:creationId xmlns:a16="http://schemas.microsoft.com/office/drawing/2014/main" id="{6A4C0C3A-F92B-42D8-A4AA-F3FD2A86BD53}"/>
              </a:ext>
            </a:extLst>
          </p:cNvPr>
          <p:cNvSpPr/>
          <p:nvPr/>
        </p:nvSpPr>
        <p:spPr>
          <a:xfrm>
            <a:off x="2423402" y="3508074"/>
            <a:ext cx="1576578" cy="434340"/>
          </a:xfrm>
          <a:prstGeom prst="roundRect">
            <a:avLst>
              <a:gd name="adj" fmla="val 30450"/>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5720" tIns="22860" rIns="45720" bIns="228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600" b="0" i="0" u="none" strike="noStrike" kern="1200" cap="none" spc="0" normalizeH="0" baseline="0" noProof="0">
                <a:ln>
                  <a:noFill/>
                </a:ln>
                <a:solidFill>
                  <a:srgbClr val="000000">
                    <a:lumMod val="85000"/>
                    <a:lumOff val="1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rPr>
              <a:t>部门名称</a:t>
            </a:r>
            <a:endParaRPr kumimoji="0" lang="zh-CN" altLang="en-US" sz="1600" b="0" i="0" u="none" strike="noStrike" kern="1200" cap="none" spc="0" normalizeH="0" baseline="0" noProof="0" dirty="0">
              <a:ln>
                <a:noFill/>
              </a:ln>
              <a:solidFill>
                <a:srgbClr val="000000">
                  <a:lumMod val="85000"/>
                  <a:lumOff val="1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p:txBody>
      </p:sp>
      <p:sp>
        <p:nvSpPr>
          <p:cNvPr id="42" name="矩形: 圆角 41">
            <a:extLst>
              <a:ext uri="{FF2B5EF4-FFF2-40B4-BE49-F238E27FC236}">
                <a16:creationId xmlns:a16="http://schemas.microsoft.com/office/drawing/2014/main" id="{58A8968F-5828-4F1D-B243-AF6A6331432D}"/>
              </a:ext>
            </a:extLst>
          </p:cNvPr>
          <p:cNvSpPr/>
          <p:nvPr/>
        </p:nvSpPr>
        <p:spPr>
          <a:xfrm>
            <a:off x="8539174" y="3508074"/>
            <a:ext cx="1576578" cy="434340"/>
          </a:xfrm>
          <a:prstGeom prst="roundRect">
            <a:avLst>
              <a:gd name="adj" fmla="val 30450"/>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5720" tIns="22860" rIns="45720" bIns="228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600" b="0" i="0" u="none" strike="noStrike" kern="1200" cap="none" spc="0" normalizeH="0" baseline="0" noProof="0">
                <a:ln>
                  <a:noFill/>
                </a:ln>
                <a:solidFill>
                  <a:srgbClr val="000000">
                    <a:lumMod val="85000"/>
                    <a:lumOff val="1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rPr>
              <a:t>部门名称</a:t>
            </a:r>
            <a:endParaRPr kumimoji="0" lang="zh-CN" altLang="en-US" sz="1600" b="0" i="0" u="none" strike="noStrike" kern="1200" cap="none" spc="0" normalizeH="0" baseline="0" noProof="0" dirty="0">
              <a:ln>
                <a:noFill/>
              </a:ln>
              <a:solidFill>
                <a:srgbClr val="000000">
                  <a:lumMod val="85000"/>
                  <a:lumOff val="1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p:txBody>
      </p:sp>
      <p:sp>
        <p:nvSpPr>
          <p:cNvPr id="49" name="矩形: 圆角 48">
            <a:extLst>
              <a:ext uri="{FF2B5EF4-FFF2-40B4-BE49-F238E27FC236}">
                <a16:creationId xmlns:a16="http://schemas.microsoft.com/office/drawing/2014/main" id="{37FF2CA4-717A-4051-96D6-647B1A0C2254}"/>
              </a:ext>
            </a:extLst>
          </p:cNvPr>
          <p:cNvSpPr/>
          <p:nvPr/>
        </p:nvSpPr>
        <p:spPr>
          <a:xfrm>
            <a:off x="4313142" y="4239594"/>
            <a:ext cx="1576578" cy="434340"/>
          </a:xfrm>
          <a:prstGeom prst="roundRect">
            <a:avLst>
              <a:gd name="adj" fmla="val 30450"/>
            </a:avLst>
          </a:prstGeom>
          <a:gradFill flip="none" rotWithShape="1">
            <a:gsLst>
              <a:gs pos="1000">
                <a:schemeClr val="accent2"/>
              </a:gs>
              <a:gs pos="100000">
                <a:schemeClr val="accent2">
                  <a:lumMod val="60000"/>
                  <a:lumOff val="40000"/>
                </a:schemeClr>
              </a:gs>
            </a:gsLst>
            <a:lin ang="2700000" scaled="0"/>
            <a:tileRect/>
          </a:gradFill>
          <a:ln>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5720" tIns="22860" rIns="45720" bIns="228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600" b="0" i="0" u="none" strike="noStrike" kern="1200" cap="none" spc="0" normalizeH="0" baseline="0" noProof="0">
                <a:ln>
                  <a:noFill/>
                </a:ln>
                <a:solidFill>
                  <a:srgbClr val="FFFFFF"/>
                </a:solidFill>
                <a:effectLst/>
                <a:uLnTx/>
                <a:uFillTx/>
                <a:latin typeface="OPPOSans R" panose="00020600040101010101" pitchFamily="18" charset="-122"/>
                <a:ea typeface="OPPOSans R" panose="00020600040101010101" pitchFamily="18" charset="-122"/>
                <a:cs typeface="OPPOSans R" panose="00020600040101010101" pitchFamily="18" charset="-122"/>
              </a:rPr>
              <a:t>部门名称</a:t>
            </a:r>
            <a:endParaRPr kumimoji="0" lang="zh-CN" altLang="en-US" sz="1600" b="0" i="0" u="none" strike="noStrike" kern="1200" cap="none" spc="0" normalizeH="0" baseline="0" noProof="0" dirty="0">
              <a:ln>
                <a:noFill/>
              </a:ln>
              <a:solidFill>
                <a:srgbClr val="FFFFFF"/>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p:txBody>
      </p:sp>
      <p:sp>
        <p:nvSpPr>
          <p:cNvPr id="50" name="矩形: 圆角 49">
            <a:extLst>
              <a:ext uri="{FF2B5EF4-FFF2-40B4-BE49-F238E27FC236}">
                <a16:creationId xmlns:a16="http://schemas.microsoft.com/office/drawing/2014/main" id="{3B6ABAC2-7506-40CD-8002-1D02477F8417}"/>
              </a:ext>
            </a:extLst>
          </p:cNvPr>
          <p:cNvSpPr/>
          <p:nvPr/>
        </p:nvSpPr>
        <p:spPr>
          <a:xfrm>
            <a:off x="6649434" y="4239594"/>
            <a:ext cx="1576578" cy="434340"/>
          </a:xfrm>
          <a:prstGeom prst="roundRect">
            <a:avLst>
              <a:gd name="adj" fmla="val 30450"/>
            </a:avLst>
          </a:prstGeom>
          <a:gradFill flip="none" rotWithShape="1">
            <a:gsLst>
              <a:gs pos="3000">
                <a:schemeClr val="accent1"/>
              </a:gs>
              <a:gs pos="100000">
                <a:schemeClr val="accent1">
                  <a:lumMod val="60000"/>
                  <a:lumOff val="40000"/>
                </a:schemeClr>
              </a:gs>
            </a:gsLst>
            <a:lin ang="27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5720" tIns="22860" rIns="45720" bIns="228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600" b="0" i="0" u="none" strike="noStrike" kern="1200" cap="none" spc="0" normalizeH="0" baseline="0" noProof="0">
                <a:ln>
                  <a:noFill/>
                </a:ln>
                <a:solidFill>
                  <a:srgbClr val="FFFFFF"/>
                </a:solidFill>
                <a:effectLst/>
                <a:uLnTx/>
                <a:uFillTx/>
                <a:latin typeface="OPPOSans R" panose="00020600040101010101" pitchFamily="18" charset="-122"/>
                <a:ea typeface="OPPOSans R" panose="00020600040101010101" pitchFamily="18" charset="-122"/>
                <a:cs typeface="OPPOSans R" panose="00020600040101010101" pitchFamily="18" charset="-122"/>
              </a:rPr>
              <a:t>部门名称</a:t>
            </a:r>
            <a:endParaRPr kumimoji="0" lang="zh-CN" altLang="en-US" sz="1600" b="0" i="0" u="none" strike="noStrike" kern="1200" cap="none" spc="0" normalizeH="0" baseline="0" noProof="0" dirty="0">
              <a:ln>
                <a:noFill/>
              </a:ln>
              <a:solidFill>
                <a:srgbClr val="FFFFFF"/>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p:txBody>
      </p:sp>
      <p:sp>
        <p:nvSpPr>
          <p:cNvPr id="54" name="矩形: 圆角 53">
            <a:extLst>
              <a:ext uri="{FF2B5EF4-FFF2-40B4-BE49-F238E27FC236}">
                <a16:creationId xmlns:a16="http://schemas.microsoft.com/office/drawing/2014/main" id="{68E9A752-19CB-43A8-9061-A401EE9850C3}"/>
              </a:ext>
            </a:extLst>
          </p:cNvPr>
          <p:cNvSpPr/>
          <p:nvPr/>
        </p:nvSpPr>
        <p:spPr>
          <a:xfrm>
            <a:off x="4322576" y="5024686"/>
            <a:ext cx="1501902" cy="413768"/>
          </a:xfrm>
          <a:prstGeom prst="roundRect">
            <a:avLst>
              <a:gd name="adj" fmla="val 30450"/>
            </a:avLst>
          </a:prstGeom>
          <a:gradFill flip="none" rotWithShape="1">
            <a:gsLst>
              <a:gs pos="3000">
                <a:schemeClr val="accent1"/>
              </a:gs>
              <a:gs pos="100000">
                <a:schemeClr val="accent1">
                  <a:lumMod val="60000"/>
                  <a:lumOff val="40000"/>
                </a:schemeClr>
              </a:gs>
            </a:gsLst>
            <a:lin ang="27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5720" tIns="22860" rIns="45720" bIns="228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600" b="0" i="0" u="none" strike="noStrike" kern="1200" cap="none" spc="0" normalizeH="0" baseline="0" noProof="0">
                <a:ln>
                  <a:noFill/>
                </a:ln>
                <a:solidFill>
                  <a:srgbClr val="FFFFFF"/>
                </a:solidFill>
                <a:effectLst/>
                <a:uLnTx/>
                <a:uFillTx/>
                <a:latin typeface="OPPOSans R" panose="00020600040101010101" pitchFamily="18" charset="-122"/>
                <a:ea typeface="OPPOSans R" panose="00020600040101010101" pitchFamily="18" charset="-122"/>
                <a:cs typeface="OPPOSans R" panose="00020600040101010101" pitchFamily="18" charset="-122"/>
              </a:rPr>
              <a:t>部门名称</a:t>
            </a:r>
            <a:endParaRPr kumimoji="0" lang="zh-CN" altLang="en-US" sz="1600" b="0" i="0" u="none" strike="noStrike" kern="1200" cap="none" spc="0" normalizeH="0" baseline="0" noProof="0" dirty="0">
              <a:ln>
                <a:noFill/>
              </a:ln>
              <a:solidFill>
                <a:srgbClr val="FFFFFF"/>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p:txBody>
      </p:sp>
      <p:sp>
        <p:nvSpPr>
          <p:cNvPr id="55" name="矩形: 圆角 54">
            <a:extLst>
              <a:ext uri="{FF2B5EF4-FFF2-40B4-BE49-F238E27FC236}">
                <a16:creationId xmlns:a16="http://schemas.microsoft.com/office/drawing/2014/main" id="{0B6DEC1E-C7CC-4657-9F90-87B61A542D99}"/>
              </a:ext>
            </a:extLst>
          </p:cNvPr>
          <p:cNvSpPr/>
          <p:nvPr/>
        </p:nvSpPr>
        <p:spPr>
          <a:xfrm>
            <a:off x="6658868" y="5024686"/>
            <a:ext cx="1501902" cy="413768"/>
          </a:xfrm>
          <a:prstGeom prst="roundRect">
            <a:avLst>
              <a:gd name="adj" fmla="val 30450"/>
            </a:avLst>
          </a:prstGeom>
          <a:gradFill flip="none" rotWithShape="1">
            <a:gsLst>
              <a:gs pos="1000">
                <a:schemeClr val="accent3"/>
              </a:gs>
              <a:gs pos="100000">
                <a:schemeClr val="accent3">
                  <a:lumMod val="60000"/>
                  <a:lumOff val="40000"/>
                </a:schemeClr>
              </a:gs>
            </a:gsLst>
            <a:lin ang="27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5720" tIns="22860" rIns="45720" bIns="228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600" b="0" i="0" u="none" strike="noStrike" kern="1200" cap="none" spc="0" normalizeH="0" baseline="0" noProof="0">
                <a:ln>
                  <a:noFill/>
                </a:ln>
                <a:solidFill>
                  <a:srgbClr val="FFFFFF"/>
                </a:solidFill>
                <a:effectLst/>
                <a:uLnTx/>
                <a:uFillTx/>
                <a:latin typeface="OPPOSans R" panose="00020600040101010101" pitchFamily="18" charset="-122"/>
                <a:ea typeface="OPPOSans R" panose="00020600040101010101" pitchFamily="18" charset="-122"/>
                <a:cs typeface="OPPOSans R" panose="00020600040101010101" pitchFamily="18" charset="-122"/>
              </a:rPr>
              <a:t>部门名称</a:t>
            </a:r>
            <a:endParaRPr kumimoji="0" lang="zh-CN" altLang="en-US" sz="1600" b="0" i="0" u="none" strike="noStrike" kern="1200" cap="none" spc="0" normalizeH="0" baseline="0" noProof="0" dirty="0">
              <a:ln>
                <a:noFill/>
              </a:ln>
              <a:solidFill>
                <a:srgbClr val="FFFFFF"/>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p:txBody>
      </p:sp>
      <p:sp>
        <p:nvSpPr>
          <p:cNvPr id="56" name="矩形: 圆角 55">
            <a:extLst>
              <a:ext uri="{FF2B5EF4-FFF2-40B4-BE49-F238E27FC236}">
                <a16:creationId xmlns:a16="http://schemas.microsoft.com/office/drawing/2014/main" id="{81EF4D78-6CD7-444D-AE0F-4DBB5E43EEF3}"/>
              </a:ext>
            </a:extLst>
          </p:cNvPr>
          <p:cNvSpPr/>
          <p:nvPr/>
        </p:nvSpPr>
        <p:spPr>
          <a:xfrm>
            <a:off x="2493790" y="5024686"/>
            <a:ext cx="1501902" cy="413768"/>
          </a:xfrm>
          <a:prstGeom prst="roundRect">
            <a:avLst>
              <a:gd name="adj" fmla="val 30450"/>
            </a:avLst>
          </a:prstGeom>
          <a:gradFill flip="none" rotWithShape="1">
            <a:gsLst>
              <a:gs pos="1000">
                <a:schemeClr val="accent2"/>
              </a:gs>
              <a:gs pos="100000">
                <a:schemeClr val="accent2">
                  <a:lumMod val="60000"/>
                  <a:lumOff val="40000"/>
                </a:schemeClr>
              </a:gs>
            </a:gsLst>
            <a:lin ang="2700000" scaled="0"/>
            <a:tileRect/>
          </a:gradFill>
          <a:ln>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5720" tIns="22860" rIns="45720" bIns="228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600" b="0" i="0" u="none" strike="noStrike" kern="1200" cap="none" spc="0" normalizeH="0" baseline="0" noProof="0">
                <a:ln>
                  <a:noFill/>
                </a:ln>
                <a:solidFill>
                  <a:srgbClr val="FFFFFF"/>
                </a:solidFill>
                <a:effectLst/>
                <a:uLnTx/>
                <a:uFillTx/>
                <a:latin typeface="OPPOSans R" panose="00020600040101010101" pitchFamily="18" charset="-122"/>
                <a:ea typeface="OPPOSans R" panose="00020600040101010101" pitchFamily="18" charset="-122"/>
                <a:cs typeface="OPPOSans R" panose="00020600040101010101" pitchFamily="18" charset="-122"/>
              </a:rPr>
              <a:t>部门名称</a:t>
            </a:r>
            <a:endParaRPr kumimoji="0" lang="zh-CN" altLang="en-US" sz="1600" b="0" i="0" u="none" strike="noStrike" kern="1200" cap="none" spc="0" normalizeH="0" baseline="0" noProof="0" dirty="0">
              <a:ln>
                <a:noFill/>
              </a:ln>
              <a:solidFill>
                <a:srgbClr val="FFFFFF"/>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p:txBody>
      </p:sp>
      <p:sp>
        <p:nvSpPr>
          <p:cNvPr id="57" name="矩形: 圆角 56">
            <a:extLst>
              <a:ext uri="{FF2B5EF4-FFF2-40B4-BE49-F238E27FC236}">
                <a16:creationId xmlns:a16="http://schemas.microsoft.com/office/drawing/2014/main" id="{C01F13EC-E535-4FD0-8332-26FD24B17BE5}"/>
              </a:ext>
            </a:extLst>
          </p:cNvPr>
          <p:cNvSpPr/>
          <p:nvPr/>
        </p:nvSpPr>
        <p:spPr>
          <a:xfrm>
            <a:off x="8525768" y="5024686"/>
            <a:ext cx="1501902" cy="413768"/>
          </a:xfrm>
          <a:prstGeom prst="roundRect">
            <a:avLst>
              <a:gd name="adj" fmla="val 30450"/>
            </a:avLst>
          </a:prstGeom>
          <a:gradFill flip="none" rotWithShape="1">
            <a:gsLst>
              <a:gs pos="1000">
                <a:schemeClr val="accent2"/>
              </a:gs>
              <a:gs pos="100000">
                <a:schemeClr val="accent2">
                  <a:lumMod val="60000"/>
                  <a:lumOff val="40000"/>
                </a:schemeClr>
              </a:gs>
            </a:gsLst>
            <a:lin ang="2700000" scaled="0"/>
            <a:tileRect/>
          </a:gradFill>
          <a:ln>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5720" tIns="22860" rIns="45720" bIns="228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600" b="0" i="0" u="none" strike="noStrike" kern="1200" cap="none" spc="0" normalizeH="0" baseline="0" noProof="0">
                <a:ln>
                  <a:noFill/>
                </a:ln>
                <a:solidFill>
                  <a:srgbClr val="FFFFFF"/>
                </a:solidFill>
                <a:effectLst/>
                <a:uLnTx/>
                <a:uFillTx/>
                <a:latin typeface="OPPOSans R" panose="00020600040101010101" pitchFamily="18" charset="-122"/>
                <a:ea typeface="OPPOSans R" panose="00020600040101010101" pitchFamily="18" charset="-122"/>
                <a:cs typeface="OPPOSans R" panose="00020600040101010101" pitchFamily="18" charset="-122"/>
              </a:rPr>
              <a:t>部门名称</a:t>
            </a:r>
            <a:endParaRPr kumimoji="0" lang="zh-CN" altLang="en-US" sz="1600" b="0" i="0" u="none" strike="noStrike" kern="1200" cap="none" spc="0" normalizeH="0" baseline="0" noProof="0" dirty="0">
              <a:ln>
                <a:noFill/>
              </a:ln>
              <a:solidFill>
                <a:srgbClr val="FFFFFF"/>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p:txBody>
      </p:sp>
      <p:sp>
        <p:nvSpPr>
          <p:cNvPr id="58" name="矩形: 圆角 57">
            <a:extLst>
              <a:ext uri="{FF2B5EF4-FFF2-40B4-BE49-F238E27FC236}">
                <a16:creationId xmlns:a16="http://schemas.microsoft.com/office/drawing/2014/main" id="{272789D4-A36A-4A06-A407-0A305487CB93}"/>
              </a:ext>
            </a:extLst>
          </p:cNvPr>
          <p:cNvSpPr/>
          <p:nvPr/>
        </p:nvSpPr>
        <p:spPr>
          <a:xfrm>
            <a:off x="10392668" y="5024686"/>
            <a:ext cx="1501902" cy="413768"/>
          </a:xfrm>
          <a:prstGeom prst="roundRect">
            <a:avLst>
              <a:gd name="adj" fmla="val 30450"/>
            </a:avLst>
          </a:prstGeom>
          <a:gradFill flip="none" rotWithShape="1">
            <a:gsLst>
              <a:gs pos="3000">
                <a:schemeClr val="accent1"/>
              </a:gs>
              <a:gs pos="100000">
                <a:schemeClr val="accent1">
                  <a:lumMod val="60000"/>
                  <a:lumOff val="40000"/>
                </a:schemeClr>
              </a:gs>
            </a:gsLst>
            <a:lin ang="27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5720" tIns="22860" rIns="45720" bIns="228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600" b="0" i="0" u="none" strike="noStrike" kern="1200" cap="none" spc="0" normalizeH="0" baseline="0" noProof="0">
                <a:ln>
                  <a:noFill/>
                </a:ln>
                <a:solidFill>
                  <a:srgbClr val="FFFFFF"/>
                </a:solidFill>
                <a:effectLst/>
                <a:uLnTx/>
                <a:uFillTx/>
                <a:latin typeface="OPPOSans R" panose="00020600040101010101" pitchFamily="18" charset="-122"/>
                <a:ea typeface="OPPOSans R" panose="00020600040101010101" pitchFamily="18" charset="-122"/>
                <a:cs typeface="OPPOSans R" panose="00020600040101010101" pitchFamily="18" charset="-122"/>
              </a:rPr>
              <a:t>部门名称</a:t>
            </a:r>
            <a:endParaRPr kumimoji="0" lang="zh-CN" altLang="en-US" sz="1600" b="0" i="0" u="none" strike="noStrike" kern="1200" cap="none" spc="0" normalizeH="0" baseline="0" noProof="0" dirty="0">
              <a:ln>
                <a:noFill/>
              </a:ln>
              <a:solidFill>
                <a:srgbClr val="FFFFFF"/>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p:txBody>
      </p:sp>
      <p:sp>
        <p:nvSpPr>
          <p:cNvPr id="59" name="矩形: 圆角 58">
            <a:extLst>
              <a:ext uri="{FF2B5EF4-FFF2-40B4-BE49-F238E27FC236}">
                <a16:creationId xmlns:a16="http://schemas.microsoft.com/office/drawing/2014/main" id="{B8407DC3-D737-42E7-BB04-20257FB6CF4B}"/>
              </a:ext>
            </a:extLst>
          </p:cNvPr>
          <p:cNvSpPr/>
          <p:nvPr/>
        </p:nvSpPr>
        <p:spPr>
          <a:xfrm>
            <a:off x="665004" y="5024686"/>
            <a:ext cx="1501902" cy="413768"/>
          </a:xfrm>
          <a:prstGeom prst="roundRect">
            <a:avLst>
              <a:gd name="adj" fmla="val 30450"/>
            </a:avLst>
          </a:prstGeom>
          <a:gradFill flip="none" rotWithShape="1">
            <a:gsLst>
              <a:gs pos="1000">
                <a:schemeClr val="accent3"/>
              </a:gs>
              <a:gs pos="100000">
                <a:schemeClr val="accent3">
                  <a:lumMod val="60000"/>
                  <a:lumOff val="40000"/>
                </a:schemeClr>
              </a:gs>
            </a:gsLst>
            <a:lin ang="27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5720" tIns="22860" rIns="45720" bIns="228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600" b="0" i="0" u="none" strike="noStrike" kern="1200" cap="none" spc="0" normalizeH="0" baseline="0" noProof="0">
                <a:ln>
                  <a:noFill/>
                </a:ln>
                <a:solidFill>
                  <a:srgbClr val="FFFFFF"/>
                </a:solidFill>
                <a:effectLst/>
                <a:uLnTx/>
                <a:uFillTx/>
                <a:latin typeface="OPPOSans R" panose="00020600040101010101" pitchFamily="18" charset="-122"/>
                <a:ea typeface="OPPOSans R" panose="00020600040101010101" pitchFamily="18" charset="-122"/>
                <a:cs typeface="OPPOSans R" panose="00020600040101010101" pitchFamily="18" charset="-122"/>
              </a:rPr>
              <a:t>部门名称</a:t>
            </a:r>
            <a:endParaRPr kumimoji="0" lang="zh-CN" altLang="en-US" sz="1600" b="0" i="0" u="none" strike="noStrike" kern="1200" cap="none" spc="0" normalizeH="0" baseline="0" noProof="0" dirty="0">
              <a:ln>
                <a:noFill/>
              </a:ln>
              <a:solidFill>
                <a:srgbClr val="FFFFFF"/>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p:txBody>
      </p:sp>
      <p:sp>
        <p:nvSpPr>
          <p:cNvPr id="60" name="矩形: 圆角 59">
            <a:extLst>
              <a:ext uri="{FF2B5EF4-FFF2-40B4-BE49-F238E27FC236}">
                <a16:creationId xmlns:a16="http://schemas.microsoft.com/office/drawing/2014/main" id="{C70E6CD2-734F-4D86-BCB6-4202AD1C45CC}"/>
              </a:ext>
            </a:extLst>
          </p:cNvPr>
          <p:cNvSpPr/>
          <p:nvPr/>
        </p:nvSpPr>
        <p:spPr>
          <a:xfrm>
            <a:off x="5555964" y="5927216"/>
            <a:ext cx="1501902" cy="413768"/>
          </a:xfrm>
          <a:prstGeom prst="roundRect">
            <a:avLst>
              <a:gd name="adj" fmla="val 30450"/>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5720" tIns="22860" rIns="45720" bIns="228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600" b="0" i="0" u="none" strike="noStrike" kern="1200" cap="none" spc="0" normalizeH="0" baseline="0" noProof="0">
                <a:ln>
                  <a:noFill/>
                </a:ln>
                <a:solidFill>
                  <a:srgbClr val="000000">
                    <a:lumMod val="85000"/>
                    <a:lumOff val="1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rPr>
              <a:t>部门名称</a:t>
            </a:r>
            <a:endParaRPr kumimoji="0" lang="zh-CN" altLang="en-US" sz="1600" b="0" i="0" u="none" strike="noStrike" kern="1200" cap="none" spc="0" normalizeH="0" baseline="0" noProof="0" dirty="0">
              <a:ln>
                <a:noFill/>
              </a:ln>
              <a:solidFill>
                <a:srgbClr val="000000">
                  <a:lumMod val="85000"/>
                  <a:lumOff val="1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p:txBody>
      </p:sp>
      <p:sp>
        <p:nvSpPr>
          <p:cNvPr id="61" name="矩形: 圆角 60">
            <a:extLst>
              <a:ext uri="{FF2B5EF4-FFF2-40B4-BE49-F238E27FC236}">
                <a16:creationId xmlns:a16="http://schemas.microsoft.com/office/drawing/2014/main" id="{159187E0-3D67-4A84-9CB3-EFB7472B0454}"/>
              </a:ext>
            </a:extLst>
          </p:cNvPr>
          <p:cNvSpPr/>
          <p:nvPr/>
        </p:nvSpPr>
        <p:spPr>
          <a:xfrm>
            <a:off x="7680400" y="5927216"/>
            <a:ext cx="1501902" cy="413768"/>
          </a:xfrm>
          <a:prstGeom prst="roundRect">
            <a:avLst>
              <a:gd name="adj" fmla="val 30450"/>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5720" tIns="22860" rIns="45720" bIns="228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600" b="0" i="0" u="none" strike="noStrike" kern="1200" cap="none" spc="0" normalizeH="0" baseline="0" noProof="0">
                <a:ln>
                  <a:noFill/>
                </a:ln>
                <a:solidFill>
                  <a:srgbClr val="000000">
                    <a:lumMod val="85000"/>
                    <a:lumOff val="1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rPr>
              <a:t>部门名称</a:t>
            </a:r>
            <a:endParaRPr kumimoji="0" lang="zh-CN" altLang="en-US" sz="1600" b="0" i="0" u="none" strike="noStrike" kern="1200" cap="none" spc="0" normalizeH="0" baseline="0" noProof="0" dirty="0">
              <a:ln>
                <a:noFill/>
              </a:ln>
              <a:solidFill>
                <a:srgbClr val="000000">
                  <a:lumMod val="85000"/>
                  <a:lumOff val="1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p:txBody>
      </p:sp>
      <p:sp>
        <p:nvSpPr>
          <p:cNvPr id="62" name="矩形: 圆角 61">
            <a:extLst>
              <a:ext uri="{FF2B5EF4-FFF2-40B4-BE49-F238E27FC236}">
                <a16:creationId xmlns:a16="http://schemas.microsoft.com/office/drawing/2014/main" id="{2CF6971A-3E42-4997-803A-4783CE4D06CC}"/>
              </a:ext>
            </a:extLst>
          </p:cNvPr>
          <p:cNvSpPr/>
          <p:nvPr/>
        </p:nvSpPr>
        <p:spPr>
          <a:xfrm>
            <a:off x="3431528" y="5927216"/>
            <a:ext cx="1501902" cy="413768"/>
          </a:xfrm>
          <a:prstGeom prst="roundRect">
            <a:avLst>
              <a:gd name="adj" fmla="val 30450"/>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5720" tIns="22860" rIns="45720" bIns="228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600" b="0" i="0" u="none" strike="noStrike" kern="1200" cap="none" spc="0" normalizeH="0" baseline="0" noProof="0">
                <a:ln>
                  <a:noFill/>
                </a:ln>
                <a:solidFill>
                  <a:srgbClr val="000000">
                    <a:lumMod val="85000"/>
                    <a:lumOff val="1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rPr>
              <a:t>部门名称</a:t>
            </a:r>
            <a:endParaRPr kumimoji="0" lang="zh-CN" altLang="en-US" sz="1600" b="0" i="0" u="none" strike="noStrike" kern="1200" cap="none" spc="0" normalizeH="0" baseline="0" noProof="0" dirty="0">
              <a:ln>
                <a:noFill/>
              </a:ln>
              <a:solidFill>
                <a:srgbClr val="000000">
                  <a:lumMod val="85000"/>
                  <a:lumOff val="1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p:txBody>
      </p:sp>
    </p:spTree>
    <p:extLst>
      <p:ext uri="{BB962C8B-B14F-4D97-AF65-F5344CB8AC3E}">
        <p14:creationId xmlns:p14="http://schemas.microsoft.com/office/powerpoint/2010/main" val="166309726"/>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8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 name="任意多边形: 形状 60">
            <a:extLst>
              <a:ext uri="{FF2B5EF4-FFF2-40B4-BE49-F238E27FC236}">
                <a16:creationId xmlns:a16="http://schemas.microsoft.com/office/drawing/2014/main" id="{C2F56C6B-BC53-4073-9A57-B9DC9D54B013}"/>
              </a:ext>
            </a:extLst>
          </p:cNvPr>
          <p:cNvSpPr/>
          <p:nvPr/>
        </p:nvSpPr>
        <p:spPr>
          <a:xfrm rot="5400000" flipH="1">
            <a:off x="11296713" y="126962"/>
            <a:ext cx="688914" cy="1257301"/>
          </a:xfrm>
          <a:custGeom>
            <a:avLst/>
            <a:gdLst>
              <a:gd name="connsiteX0" fmla="*/ 47080 w 802266"/>
              <a:gd name="connsiteY0" fmla="*/ 1370015 h 1464174"/>
              <a:gd name="connsiteX1" fmla="*/ 0 w 802266"/>
              <a:gd name="connsiteY1" fmla="*/ 1417094 h 1464174"/>
              <a:gd name="connsiteX2" fmla="*/ 47080 w 802266"/>
              <a:gd name="connsiteY2" fmla="*/ 1464174 h 1464174"/>
              <a:gd name="connsiteX3" fmla="*/ 94160 w 802266"/>
              <a:gd name="connsiteY3" fmla="*/ 1417094 h 1464174"/>
              <a:gd name="connsiteX4" fmla="*/ 47080 w 802266"/>
              <a:gd name="connsiteY4" fmla="*/ 1370015 h 1464174"/>
              <a:gd name="connsiteX5" fmla="*/ 224106 w 802266"/>
              <a:gd name="connsiteY5" fmla="*/ 1370015 h 1464174"/>
              <a:gd name="connsiteX6" fmla="*/ 177027 w 802266"/>
              <a:gd name="connsiteY6" fmla="*/ 1417094 h 1464174"/>
              <a:gd name="connsiteX7" fmla="*/ 224106 w 802266"/>
              <a:gd name="connsiteY7" fmla="*/ 1464174 h 1464174"/>
              <a:gd name="connsiteX8" fmla="*/ 271186 w 802266"/>
              <a:gd name="connsiteY8" fmla="*/ 1417094 h 1464174"/>
              <a:gd name="connsiteX9" fmla="*/ 224106 w 802266"/>
              <a:gd name="connsiteY9" fmla="*/ 1370015 h 1464174"/>
              <a:gd name="connsiteX10" fmla="*/ 401133 w 802266"/>
              <a:gd name="connsiteY10" fmla="*/ 1370015 h 1464174"/>
              <a:gd name="connsiteX11" fmla="*/ 354053 w 802266"/>
              <a:gd name="connsiteY11" fmla="*/ 1417094 h 1464174"/>
              <a:gd name="connsiteX12" fmla="*/ 401133 w 802266"/>
              <a:gd name="connsiteY12" fmla="*/ 1464174 h 1464174"/>
              <a:gd name="connsiteX13" fmla="*/ 448213 w 802266"/>
              <a:gd name="connsiteY13" fmla="*/ 1417094 h 1464174"/>
              <a:gd name="connsiteX14" fmla="*/ 401133 w 802266"/>
              <a:gd name="connsiteY14" fmla="*/ 1370015 h 1464174"/>
              <a:gd name="connsiteX15" fmla="*/ 578160 w 802266"/>
              <a:gd name="connsiteY15" fmla="*/ 1370015 h 1464174"/>
              <a:gd name="connsiteX16" fmla="*/ 531080 w 802266"/>
              <a:gd name="connsiteY16" fmla="*/ 1417094 h 1464174"/>
              <a:gd name="connsiteX17" fmla="*/ 578160 w 802266"/>
              <a:gd name="connsiteY17" fmla="*/ 1464174 h 1464174"/>
              <a:gd name="connsiteX18" fmla="*/ 625239 w 802266"/>
              <a:gd name="connsiteY18" fmla="*/ 1417094 h 1464174"/>
              <a:gd name="connsiteX19" fmla="*/ 578160 w 802266"/>
              <a:gd name="connsiteY19" fmla="*/ 1370015 h 1464174"/>
              <a:gd name="connsiteX20" fmla="*/ 755186 w 802266"/>
              <a:gd name="connsiteY20" fmla="*/ 1370015 h 1464174"/>
              <a:gd name="connsiteX21" fmla="*/ 708106 w 802266"/>
              <a:gd name="connsiteY21" fmla="*/ 1417094 h 1464174"/>
              <a:gd name="connsiteX22" fmla="*/ 755186 w 802266"/>
              <a:gd name="connsiteY22" fmla="*/ 1464174 h 1464174"/>
              <a:gd name="connsiteX23" fmla="*/ 802266 w 802266"/>
              <a:gd name="connsiteY23" fmla="*/ 1417094 h 1464174"/>
              <a:gd name="connsiteX24" fmla="*/ 755186 w 802266"/>
              <a:gd name="connsiteY24" fmla="*/ 1370015 h 1464174"/>
              <a:gd name="connsiteX25" fmla="*/ 47080 w 802266"/>
              <a:gd name="connsiteY25" fmla="*/ 1217127 h 1464174"/>
              <a:gd name="connsiteX26" fmla="*/ 0 w 802266"/>
              <a:gd name="connsiteY26" fmla="*/ 1264207 h 1464174"/>
              <a:gd name="connsiteX27" fmla="*/ 47080 w 802266"/>
              <a:gd name="connsiteY27" fmla="*/ 1311287 h 1464174"/>
              <a:gd name="connsiteX28" fmla="*/ 94160 w 802266"/>
              <a:gd name="connsiteY28" fmla="*/ 1264207 h 1464174"/>
              <a:gd name="connsiteX29" fmla="*/ 47080 w 802266"/>
              <a:gd name="connsiteY29" fmla="*/ 1217127 h 1464174"/>
              <a:gd name="connsiteX30" fmla="*/ 224106 w 802266"/>
              <a:gd name="connsiteY30" fmla="*/ 1217127 h 1464174"/>
              <a:gd name="connsiteX31" fmla="*/ 177027 w 802266"/>
              <a:gd name="connsiteY31" fmla="*/ 1264207 h 1464174"/>
              <a:gd name="connsiteX32" fmla="*/ 224106 w 802266"/>
              <a:gd name="connsiteY32" fmla="*/ 1311287 h 1464174"/>
              <a:gd name="connsiteX33" fmla="*/ 271186 w 802266"/>
              <a:gd name="connsiteY33" fmla="*/ 1264207 h 1464174"/>
              <a:gd name="connsiteX34" fmla="*/ 224106 w 802266"/>
              <a:gd name="connsiteY34" fmla="*/ 1217127 h 1464174"/>
              <a:gd name="connsiteX35" fmla="*/ 401133 w 802266"/>
              <a:gd name="connsiteY35" fmla="*/ 1217127 h 1464174"/>
              <a:gd name="connsiteX36" fmla="*/ 354053 w 802266"/>
              <a:gd name="connsiteY36" fmla="*/ 1264207 h 1464174"/>
              <a:gd name="connsiteX37" fmla="*/ 401133 w 802266"/>
              <a:gd name="connsiteY37" fmla="*/ 1311287 h 1464174"/>
              <a:gd name="connsiteX38" fmla="*/ 448213 w 802266"/>
              <a:gd name="connsiteY38" fmla="*/ 1264207 h 1464174"/>
              <a:gd name="connsiteX39" fmla="*/ 401133 w 802266"/>
              <a:gd name="connsiteY39" fmla="*/ 1217127 h 1464174"/>
              <a:gd name="connsiteX40" fmla="*/ 578160 w 802266"/>
              <a:gd name="connsiteY40" fmla="*/ 1217127 h 1464174"/>
              <a:gd name="connsiteX41" fmla="*/ 531080 w 802266"/>
              <a:gd name="connsiteY41" fmla="*/ 1264207 h 1464174"/>
              <a:gd name="connsiteX42" fmla="*/ 578160 w 802266"/>
              <a:gd name="connsiteY42" fmla="*/ 1311287 h 1464174"/>
              <a:gd name="connsiteX43" fmla="*/ 625239 w 802266"/>
              <a:gd name="connsiteY43" fmla="*/ 1264207 h 1464174"/>
              <a:gd name="connsiteX44" fmla="*/ 578160 w 802266"/>
              <a:gd name="connsiteY44" fmla="*/ 1217127 h 1464174"/>
              <a:gd name="connsiteX45" fmla="*/ 755186 w 802266"/>
              <a:gd name="connsiteY45" fmla="*/ 1217127 h 1464174"/>
              <a:gd name="connsiteX46" fmla="*/ 708106 w 802266"/>
              <a:gd name="connsiteY46" fmla="*/ 1264207 h 1464174"/>
              <a:gd name="connsiteX47" fmla="*/ 755186 w 802266"/>
              <a:gd name="connsiteY47" fmla="*/ 1311287 h 1464174"/>
              <a:gd name="connsiteX48" fmla="*/ 802266 w 802266"/>
              <a:gd name="connsiteY48" fmla="*/ 1264207 h 1464174"/>
              <a:gd name="connsiteX49" fmla="*/ 755186 w 802266"/>
              <a:gd name="connsiteY49" fmla="*/ 1217127 h 1464174"/>
              <a:gd name="connsiteX50" fmla="*/ 47080 w 802266"/>
              <a:gd name="connsiteY50" fmla="*/ 1064240 h 1464174"/>
              <a:gd name="connsiteX51" fmla="*/ 0 w 802266"/>
              <a:gd name="connsiteY51" fmla="*/ 1111320 h 1464174"/>
              <a:gd name="connsiteX52" fmla="*/ 47080 w 802266"/>
              <a:gd name="connsiteY52" fmla="*/ 1158399 h 1464174"/>
              <a:gd name="connsiteX53" fmla="*/ 94160 w 802266"/>
              <a:gd name="connsiteY53" fmla="*/ 1111320 h 1464174"/>
              <a:gd name="connsiteX54" fmla="*/ 47080 w 802266"/>
              <a:gd name="connsiteY54" fmla="*/ 1064240 h 1464174"/>
              <a:gd name="connsiteX55" fmla="*/ 224106 w 802266"/>
              <a:gd name="connsiteY55" fmla="*/ 1064240 h 1464174"/>
              <a:gd name="connsiteX56" fmla="*/ 177027 w 802266"/>
              <a:gd name="connsiteY56" fmla="*/ 1111320 h 1464174"/>
              <a:gd name="connsiteX57" fmla="*/ 224106 w 802266"/>
              <a:gd name="connsiteY57" fmla="*/ 1158399 h 1464174"/>
              <a:gd name="connsiteX58" fmla="*/ 271186 w 802266"/>
              <a:gd name="connsiteY58" fmla="*/ 1111320 h 1464174"/>
              <a:gd name="connsiteX59" fmla="*/ 224106 w 802266"/>
              <a:gd name="connsiteY59" fmla="*/ 1064240 h 1464174"/>
              <a:gd name="connsiteX60" fmla="*/ 401133 w 802266"/>
              <a:gd name="connsiteY60" fmla="*/ 1064240 h 1464174"/>
              <a:gd name="connsiteX61" fmla="*/ 354053 w 802266"/>
              <a:gd name="connsiteY61" fmla="*/ 1111320 h 1464174"/>
              <a:gd name="connsiteX62" fmla="*/ 401133 w 802266"/>
              <a:gd name="connsiteY62" fmla="*/ 1158399 h 1464174"/>
              <a:gd name="connsiteX63" fmla="*/ 448213 w 802266"/>
              <a:gd name="connsiteY63" fmla="*/ 1111320 h 1464174"/>
              <a:gd name="connsiteX64" fmla="*/ 401133 w 802266"/>
              <a:gd name="connsiteY64" fmla="*/ 1064240 h 1464174"/>
              <a:gd name="connsiteX65" fmla="*/ 578160 w 802266"/>
              <a:gd name="connsiteY65" fmla="*/ 1064240 h 1464174"/>
              <a:gd name="connsiteX66" fmla="*/ 531080 w 802266"/>
              <a:gd name="connsiteY66" fmla="*/ 1111320 h 1464174"/>
              <a:gd name="connsiteX67" fmla="*/ 578160 w 802266"/>
              <a:gd name="connsiteY67" fmla="*/ 1158399 h 1464174"/>
              <a:gd name="connsiteX68" fmla="*/ 625239 w 802266"/>
              <a:gd name="connsiteY68" fmla="*/ 1111320 h 1464174"/>
              <a:gd name="connsiteX69" fmla="*/ 578160 w 802266"/>
              <a:gd name="connsiteY69" fmla="*/ 1064240 h 1464174"/>
              <a:gd name="connsiteX70" fmla="*/ 755186 w 802266"/>
              <a:gd name="connsiteY70" fmla="*/ 1064240 h 1464174"/>
              <a:gd name="connsiteX71" fmla="*/ 708106 w 802266"/>
              <a:gd name="connsiteY71" fmla="*/ 1111320 h 1464174"/>
              <a:gd name="connsiteX72" fmla="*/ 755186 w 802266"/>
              <a:gd name="connsiteY72" fmla="*/ 1158399 h 1464174"/>
              <a:gd name="connsiteX73" fmla="*/ 802266 w 802266"/>
              <a:gd name="connsiteY73" fmla="*/ 1111320 h 1464174"/>
              <a:gd name="connsiteX74" fmla="*/ 755186 w 802266"/>
              <a:gd name="connsiteY74" fmla="*/ 1064240 h 1464174"/>
              <a:gd name="connsiteX75" fmla="*/ 47080 w 802266"/>
              <a:gd name="connsiteY75" fmla="*/ 911352 h 1464174"/>
              <a:gd name="connsiteX76" fmla="*/ 0 w 802266"/>
              <a:gd name="connsiteY76" fmla="*/ 958432 h 1464174"/>
              <a:gd name="connsiteX77" fmla="*/ 47080 w 802266"/>
              <a:gd name="connsiteY77" fmla="*/ 1005512 h 1464174"/>
              <a:gd name="connsiteX78" fmla="*/ 94160 w 802266"/>
              <a:gd name="connsiteY78" fmla="*/ 958432 h 1464174"/>
              <a:gd name="connsiteX79" fmla="*/ 47080 w 802266"/>
              <a:gd name="connsiteY79" fmla="*/ 911352 h 1464174"/>
              <a:gd name="connsiteX80" fmla="*/ 224106 w 802266"/>
              <a:gd name="connsiteY80" fmla="*/ 911352 h 1464174"/>
              <a:gd name="connsiteX81" fmla="*/ 177027 w 802266"/>
              <a:gd name="connsiteY81" fmla="*/ 958432 h 1464174"/>
              <a:gd name="connsiteX82" fmla="*/ 224106 w 802266"/>
              <a:gd name="connsiteY82" fmla="*/ 1005512 h 1464174"/>
              <a:gd name="connsiteX83" fmla="*/ 271186 w 802266"/>
              <a:gd name="connsiteY83" fmla="*/ 958432 h 1464174"/>
              <a:gd name="connsiteX84" fmla="*/ 224106 w 802266"/>
              <a:gd name="connsiteY84" fmla="*/ 911352 h 1464174"/>
              <a:gd name="connsiteX85" fmla="*/ 401133 w 802266"/>
              <a:gd name="connsiteY85" fmla="*/ 911352 h 1464174"/>
              <a:gd name="connsiteX86" fmla="*/ 354053 w 802266"/>
              <a:gd name="connsiteY86" fmla="*/ 958432 h 1464174"/>
              <a:gd name="connsiteX87" fmla="*/ 401133 w 802266"/>
              <a:gd name="connsiteY87" fmla="*/ 1005512 h 1464174"/>
              <a:gd name="connsiteX88" fmla="*/ 448213 w 802266"/>
              <a:gd name="connsiteY88" fmla="*/ 958432 h 1464174"/>
              <a:gd name="connsiteX89" fmla="*/ 401133 w 802266"/>
              <a:gd name="connsiteY89" fmla="*/ 911352 h 1464174"/>
              <a:gd name="connsiteX90" fmla="*/ 578160 w 802266"/>
              <a:gd name="connsiteY90" fmla="*/ 911352 h 1464174"/>
              <a:gd name="connsiteX91" fmla="*/ 531080 w 802266"/>
              <a:gd name="connsiteY91" fmla="*/ 958432 h 1464174"/>
              <a:gd name="connsiteX92" fmla="*/ 578160 w 802266"/>
              <a:gd name="connsiteY92" fmla="*/ 1005512 h 1464174"/>
              <a:gd name="connsiteX93" fmla="*/ 625239 w 802266"/>
              <a:gd name="connsiteY93" fmla="*/ 958432 h 1464174"/>
              <a:gd name="connsiteX94" fmla="*/ 578160 w 802266"/>
              <a:gd name="connsiteY94" fmla="*/ 911352 h 1464174"/>
              <a:gd name="connsiteX95" fmla="*/ 755186 w 802266"/>
              <a:gd name="connsiteY95" fmla="*/ 911352 h 1464174"/>
              <a:gd name="connsiteX96" fmla="*/ 708106 w 802266"/>
              <a:gd name="connsiteY96" fmla="*/ 958432 h 1464174"/>
              <a:gd name="connsiteX97" fmla="*/ 755186 w 802266"/>
              <a:gd name="connsiteY97" fmla="*/ 1005512 h 1464174"/>
              <a:gd name="connsiteX98" fmla="*/ 802266 w 802266"/>
              <a:gd name="connsiteY98" fmla="*/ 958432 h 1464174"/>
              <a:gd name="connsiteX99" fmla="*/ 755186 w 802266"/>
              <a:gd name="connsiteY99" fmla="*/ 911352 h 1464174"/>
              <a:gd name="connsiteX100" fmla="*/ 47080 w 802266"/>
              <a:gd name="connsiteY100" fmla="*/ 758465 h 1464174"/>
              <a:gd name="connsiteX101" fmla="*/ 0 w 802266"/>
              <a:gd name="connsiteY101" fmla="*/ 805545 h 1464174"/>
              <a:gd name="connsiteX102" fmla="*/ 47080 w 802266"/>
              <a:gd name="connsiteY102" fmla="*/ 852625 h 1464174"/>
              <a:gd name="connsiteX103" fmla="*/ 94160 w 802266"/>
              <a:gd name="connsiteY103" fmla="*/ 805545 h 1464174"/>
              <a:gd name="connsiteX104" fmla="*/ 47080 w 802266"/>
              <a:gd name="connsiteY104" fmla="*/ 758465 h 1464174"/>
              <a:gd name="connsiteX105" fmla="*/ 224106 w 802266"/>
              <a:gd name="connsiteY105" fmla="*/ 758465 h 1464174"/>
              <a:gd name="connsiteX106" fmla="*/ 177027 w 802266"/>
              <a:gd name="connsiteY106" fmla="*/ 805545 h 1464174"/>
              <a:gd name="connsiteX107" fmla="*/ 224106 w 802266"/>
              <a:gd name="connsiteY107" fmla="*/ 852625 h 1464174"/>
              <a:gd name="connsiteX108" fmla="*/ 271186 w 802266"/>
              <a:gd name="connsiteY108" fmla="*/ 805545 h 1464174"/>
              <a:gd name="connsiteX109" fmla="*/ 224106 w 802266"/>
              <a:gd name="connsiteY109" fmla="*/ 758465 h 1464174"/>
              <a:gd name="connsiteX110" fmla="*/ 401133 w 802266"/>
              <a:gd name="connsiteY110" fmla="*/ 758465 h 1464174"/>
              <a:gd name="connsiteX111" fmla="*/ 354053 w 802266"/>
              <a:gd name="connsiteY111" fmla="*/ 805545 h 1464174"/>
              <a:gd name="connsiteX112" fmla="*/ 401133 w 802266"/>
              <a:gd name="connsiteY112" fmla="*/ 852625 h 1464174"/>
              <a:gd name="connsiteX113" fmla="*/ 448213 w 802266"/>
              <a:gd name="connsiteY113" fmla="*/ 805545 h 1464174"/>
              <a:gd name="connsiteX114" fmla="*/ 401133 w 802266"/>
              <a:gd name="connsiteY114" fmla="*/ 758465 h 1464174"/>
              <a:gd name="connsiteX115" fmla="*/ 578160 w 802266"/>
              <a:gd name="connsiteY115" fmla="*/ 758465 h 1464174"/>
              <a:gd name="connsiteX116" fmla="*/ 531080 w 802266"/>
              <a:gd name="connsiteY116" fmla="*/ 805545 h 1464174"/>
              <a:gd name="connsiteX117" fmla="*/ 578160 w 802266"/>
              <a:gd name="connsiteY117" fmla="*/ 852625 h 1464174"/>
              <a:gd name="connsiteX118" fmla="*/ 625239 w 802266"/>
              <a:gd name="connsiteY118" fmla="*/ 805545 h 1464174"/>
              <a:gd name="connsiteX119" fmla="*/ 578160 w 802266"/>
              <a:gd name="connsiteY119" fmla="*/ 758465 h 1464174"/>
              <a:gd name="connsiteX120" fmla="*/ 755186 w 802266"/>
              <a:gd name="connsiteY120" fmla="*/ 758465 h 1464174"/>
              <a:gd name="connsiteX121" fmla="*/ 708106 w 802266"/>
              <a:gd name="connsiteY121" fmla="*/ 805545 h 1464174"/>
              <a:gd name="connsiteX122" fmla="*/ 755186 w 802266"/>
              <a:gd name="connsiteY122" fmla="*/ 852625 h 1464174"/>
              <a:gd name="connsiteX123" fmla="*/ 802266 w 802266"/>
              <a:gd name="connsiteY123" fmla="*/ 805545 h 1464174"/>
              <a:gd name="connsiteX124" fmla="*/ 755186 w 802266"/>
              <a:gd name="connsiteY124" fmla="*/ 758465 h 1464174"/>
              <a:gd name="connsiteX125" fmla="*/ 47080 w 802266"/>
              <a:gd name="connsiteY125" fmla="*/ 611549 h 1464174"/>
              <a:gd name="connsiteX126" fmla="*/ 0 w 802266"/>
              <a:gd name="connsiteY126" fmla="*/ 658629 h 1464174"/>
              <a:gd name="connsiteX127" fmla="*/ 47080 w 802266"/>
              <a:gd name="connsiteY127" fmla="*/ 705709 h 1464174"/>
              <a:gd name="connsiteX128" fmla="*/ 94160 w 802266"/>
              <a:gd name="connsiteY128" fmla="*/ 658629 h 1464174"/>
              <a:gd name="connsiteX129" fmla="*/ 47080 w 802266"/>
              <a:gd name="connsiteY129" fmla="*/ 611549 h 1464174"/>
              <a:gd name="connsiteX130" fmla="*/ 224106 w 802266"/>
              <a:gd name="connsiteY130" fmla="*/ 611549 h 1464174"/>
              <a:gd name="connsiteX131" fmla="*/ 177027 w 802266"/>
              <a:gd name="connsiteY131" fmla="*/ 658629 h 1464174"/>
              <a:gd name="connsiteX132" fmla="*/ 224106 w 802266"/>
              <a:gd name="connsiteY132" fmla="*/ 705709 h 1464174"/>
              <a:gd name="connsiteX133" fmla="*/ 271186 w 802266"/>
              <a:gd name="connsiteY133" fmla="*/ 658629 h 1464174"/>
              <a:gd name="connsiteX134" fmla="*/ 224106 w 802266"/>
              <a:gd name="connsiteY134" fmla="*/ 611549 h 1464174"/>
              <a:gd name="connsiteX135" fmla="*/ 401133 w 802266"/>
              <a:gd name="connsiteY135" fmla="*/ 611549 h 1464174"/>
              <a:gd name="connsiteX136" fmla="*/ 354053 w 802266"/>
              <a:gd name="connsiteY136" fmla="*/ 658629 h 1464174"/>
              <a:gd name="connsiteX137" fmla="*/ 401133 w 802266"/>
              <a:gd name="connsiteY137" fmla="*/ 705709 h 1464174"/>
              <a:gd name="connsiteX138" fmla="*/ 448213 w 802266"/>
              <a:gd name="connsiteY138" fmla="*/ 658629 h 1464174"/>
              <a:gd name="connsiteX139" fmla="*/ 401133 w 802266"/>
              <a:gd name="connsiteY139" fmla="*/ 611549 h 1464174"/>
              <a:gd name="connsiteX140" fmla="*/ 578160 w 802266"/>
              <a:gd name="connsiteY140" fmla="*/ 611549 h 1464174"/>
              <a:gd name="connsiteX141" fmla="*/ 531080 w 802266"/>
              <a:gd name="connsiteY141" fmla="*/ 658629 h 1464174"/>
              <a:gd name="connsiteX142" fmla="*/ 578160 w 802266"/>
              <a:gd name="connsiteY142" fmla="*/ 705709 h 1464174"/>
              <a:gd name="connsiteX143" fmla="*/ 625239 w 802266"/>
              <a:gd name="connsiteY143" fmla="*/ 658629 h 1464174"/>
              <a:gd name="connsiteX144" fmla="*/ 578160 w 802266"/>
              <a:gd name="connsiteY144" fmla="*/ 611549 h 1464174"/>
              <a:gd name="connsiteX145" fmla="*/ 755186 w 802266"/>
              <a:gd name="connsiteY145" fmla="*/ 611549 h 1464174"/>
              <a:gd name="connsiteX146" fmla="*/ 708106 w 802266"/>
              <a:gd name="connsiteY146" fmla="*/ 658629 h 1464174"/>
              <a:gd name="connsiteX147" fmla="*/ 755186 w 802266"/>
              <a:gd name="connsiteY147" fmla="*/ 705709 h 1464174"/>
              <a:gd name="connsiteX148" fmla="*/ 802266 w 802266"/>
              <a:gd name="connsiteY148" fmla="*/ 658629 h 1464174"/>
              <a:gd name="connsiteX149" fmla="*/ 755186 w 802266"/>
              <a:gd name="connsiteY149" fmla="*/ 611549 h 1464174"/>
              <a:gd name="connsiteX150" fmla="*/ 47080 w 802266"/>
              <a:gd name="connsiteY150" fmla="*/ 458662 h 1464174"/>
              <a:gd name="connsiteX151" fmla="*/ 0 w 802266"/>
              <a:gd name="connsiteY151" fmla="*/ 505742 h 1464174"/>
              <a:gd name="connsiteX152" fmla="*/ 47080 w 802266"/>
              <a:gd name="connsiteY152" fmla="*/ 552822 h 1464174"/>
              <a:gd name="connsiteX153" fmla="*/ 94160 w 802266"/>
              <a:gd name="connsiteY153" fmla="*/ 505742 h 1464174"/>
              <a:gd name="connsiteX154" fmla="*/ 47080 w 802266"/>
              <a:gd name="connsiteY154" fmla="*/ 458662 h 1464174"/>
              <a:gd name="connsiteX155" fmla="*/ 224106 w 802266"/>
              <a:gd name="connsiteY155" fmla="*/ 458662 h 1464174"/>
              <a:gd name="connsiteX156" fmla="*/ 177027 w 802266"/>
              <a:gd name="connsiteY156" fmla="*/ 505742 h 1464174"/>
              <a:gd name="connsiteX157" fmla="*/ 224106 w 802266"/>
              <a:gd name="connsiteY157" fmla="*/ 552822 h 1464174"/>
              <a:gd name="connsiteX158" fmla="*/ 271186 w 802266"/>
              <a:gd name="connsiteY158" fmla="*/ 505742 h 1464174"/>
              <a:gd name="connsiteX159" fmla="*/ 224106 w 802266"/>
              <a:gd name="connsiteY159" fmla="*/ 458662 h 1464174"/>
              <a:gd name="connsiteX160" fmla="*/ 401133 w 802266"/>
              <a:gd name="connsiteY160" fmla="*/ 458662 h 1464174"/>
              <a:gd name="connsiteX161" fmla="*/ 354053 w 802266"/>
              <a:gd name="connsiteY161" fmla="*/ 505742 h 1464174"/>
              <a:gd name="connsiteX162" fmla="*/ 401133 w 802266"/>
              <a:gd name="connsiteY162" fmla="*/ 552822 h 1464174"/>
              <a:gd name="connsiteX163" fmla="*/ 448213 w 802266"/>
              <a:gd name="connsiteY163" fmla="*/ 505742 h 1464174"/>
              <a:gd name="connsiteX164" fmla="*/ 401133 w 802266"/>
              <a:gd name="connsiteY164" fmla="*/ 458662 h 1464174"/>
              <a:gd name="connsiteX165" fmla="*/ 578160 w 802266"/>
              <a:gd name="connsiteY165" fmla="*/ 458662 h 1464174"/>
              <a:gd name="connsiteX166" fmla="*/ 531080 w 802266"/>
              <a:gd name="connsiteY166" fmla="*/ 505742 h 1464174"/>
              <a:gd name="connsiteX167" fmla="*/ 578160 w 802266"/>
              <a:gd name="connsiteY167" fmla="*/ 552822 h 1464174"/>
              <a:gd name="connsiteX168" fmla="*/ 625239 w 802266"/>
              <a:gd name="connsiteY168" fmla="*/ 505742 h 1464174"/>
              <a:gd name="connsiteX169" fmla="*/ 578160 w 802266"/>
              <a:gd name="connsiteY169" fmla="*/ 458662 h 1464174"/>
              <a:gd name="connsiteX170" fmla="*/ 755186 w 802266"/>
              <a:gd name="connsiteY170" fmla="*/ 458662 h 1464174"/>
              <a:gd name="connsiteX171" fmla="*/ 708106 w 802266"/>
              <a:gd name="connsiteY171" fmla="*/ 505742 h 1464174"/>
              <a:gd name="connsiteX172" fmla="*/ 755186 w 802266"/>
              <a:gd name="connsiteY172" fmla="*/ 552822 h 1464174"/>
              <a:gd name="connsiteX173" fmla="*/ 802266 w 802266"/>
              <a:gd name="connsiteY173" fmla="*/ 505742 h 1464174"/>
              <a:gd name="connsiteX174" fmla="*/ 755186 w 802266"/>
              <a:gd name="connsiteY174" fmla="*/ 458662 h 1464174"/>
              <a:gd name="connsiteX175" fmla="*/ 47080 w 802266"/>
              <a:gd name="connsiteY175" fmla="*/ 305775 h 1464174"/>
              <a:gd name="connsiteX176" fmla="*/ 0 w 802266"/>
              <a:gd name="connsiteY176" fmla="*/ 352855 h 1464174"/>
              <a:gd name="connsiteX177" fmla="*/ 47080 w 802266"/>
              <a:gd name="connsiteY177" fmla="*/ 399934 h 1464174"/>
              <a:gd name="connsiteX178" fmla="*/ 94160 w 802266"/>
              <a:gd name="connsiteY178" fmla="*/ 352855 h 1464174"/>
              <a:gd name="connsiteX179" fmla="*/ 47080 w 802266"/>
              <a:gd name="connsiteY179" fmla="*/ 305775 h 1464174"/>
              <a:gd name="connsiteX180" fmla="*/ 224106 w 802266"/>
              <a:gd name="connsiteY180" fmla="*/ 305775 h 1464174"/>
              <a:gd name="connsiteX181" fmla="*/ 177027 w 802266"/>
              <a:gd name="connsiteY181" fmla="*/ 352855 h 1464174"/>
              <a:gd name="connsiteX182" fmla="*/ 224106 w 802266"/>
              <a:gd name="connsiteY182" fmla="*/ 399934 h 1464174"/>
              <a:gd name="connsiteX183" fmla="*/ 271186 w 802266"/>
              <a:gd name="connsiteY183" fmla="*/ 352855 h 1464174"/>
              <a:gd name="connsiteX184" fmla="*/ 224106 w 802266"/>
              <a:gd name="connsiteY184" fmla="*/ 305775 h 1464174"/>
              <a:gd name="connsiteX185" fmla="*/ 401133 w 802266"/>
              <a:gd name="connsiteY185" fmla="*/ 305775 h 1464174"/>
              <a:gd name="connsiteX186" fmla="*/ 354053 w 802266"/>
              <a:gd name="connsiteY186" fmla="*/ 352855 h 1464174"/>
              <a:gd name="connsiteX187" fmla="*/ 401133 w 802266"/>
              <a:gd name="connsiteY187" fmla="*/ 399934 h 1464174"/>
              <a:gd name="connsiteX188" fmla="*/ 448213 w 802266"/>
              <a:gd name="connsiteY188" fmla="*/ 352855 h 1464174"/>
              <a:gd name="connsiteX189" fmla="*/ 401133 w 802266"/>
              <a:gd name="connsiteY189" fmla="*/ 305775 h 1464174"/>
              <a:gd name="connsiteX190" fmla="*/ 578160 w 802266"/>
              <a:gd name="connsiteY190" fmla="*/ 305775 h 1464174"/>
              <a:gd name="connsiteX191" fmla="*/ 531080 w 802266"/>
              <a:gd name="connsiteY191" fmla="*/ 352855 h 1464174"/>
              <a:gd name="connsiteX192" fmla="*/ 578160 w 802266"/>
              <a:gd name="connsiteY192" fmla="*/ 399934 h 1464174"/>
              <a:gd name="connsiteX193" fmla="*/ 625239 w 802266"/>
              <a:gd name="connsiteY193" fmla="*/ 352855 h 1464174"/>
              <a:gd name="connsiteX194" fmla="*/ 578160 w 802266"/>
              <a:gd name="connsiteY194" fmla="*/ 305775 h 1464174"/>
              <a:gd name="connsiteX195" fmla="*/ 755186 w 802266"/>
              <a:gd name="connsiteY195" fmla="*/ 305775 h 1464174"/>
              <a:gd name="connsiteX196" fmla="*/ 708106 w 802266"/>
              <a:gd name="connsiteY196" fmla="*/ 352855 h 1464174"/>
              <a:gd name="connsiteX197" fmla="*/ 755186 w 802266"/>
              <a:gd name="connsiteY197" fmla="*/ 399934 h 1464174"/>
              <a:gd name="connsiteX198" fmla="*/ 802266 w 802266"/>
              <a:gd name="connsiteY198" fmla="*/ 352855 h 1464174"/>
              <a:gd name="connsiteX199" fmla="*/ 755186 w 802266"/>
              <a:gd name="connsiteY199" fmla="*/ 305775 h 1464174"/>
              <a:gd name="connsiteX200" fmla="*/ 47080 w 802266"/>
              <a:gd name="connsiteY200" fmla="*/ 152887 h 1464174"/>
              <a:gd name="connsiteX201" fmla="*/ 0 w 802266"/>
              <a:gd name="connsiteY201" fmla="*/ 199967 h 1464174"/>
              <a:gd name="connsiteX202" fmla="*/ 47080 w 802266"/>
              <a:gd name="connsiteY202" fmla="*/ 247047 h 1464174"/>
              <a:gd name="connsiteX203" fmla="*/ 94160 w 802266"/>
              <a:gd name="connsiteY203" fmla="*/ 199967 h 1464174"/>
              <a:gd name="connsiteX204" fmla="*/ 47080 w 802266"/>
              <a:gd name="connsiteY204" fmla="*/ 152887 h 1464174"/>
              <a:gd name="connsiteX205" fmla="*/ 224106 w 802266"/>
              <a:gd name="connsiteY205" fmla="*/ 152887 h 1464174"/>
              <a:gd name="connsiteX206" fmla="*/ 177027 w 802266"/>
              <a:gd name="connsiteY206" fmla="*/ 199967 h 1464174"/>
              <a:gd name="connsiteX207" fmla="*/ 224106 w 802266"/>
              <a:gd name="connsiteY207" fmla="*/ 247047 h 1464174"/>
              <a:gd name="connsiteX208" fmla="*/ 271186 w 802266"/>
              <a:gd name="connsiteY208" fmla="*/ 199967 h 1464174"/>
              <a:gd name="connsiteX209" fmla="*/ 224106 w 802266"/>
              <a:gd name="connsiteY209" fmla="*/ 152887 h 1464174"/>
              <a:gd name="connsiteX210" fmla="*/ 401133 w 802266"/>
              <a:gd name="connsiteY210" fmla="*/ 152887 h 1464174"/>
              <a:gd name="connsiteX211" fmla="*/ 354053 w 802266"/>
              <a:gd name="connsiteY211" fmla="*/ 199967 h 1464174"/>
              <a:gd name="connsiteX212" fmla="*/ 401133 w 802266"/>
              <a:gd name="connsiteY212" fmla="*/ 247047 h 1464174"/>
              <a:gd name="connsiteX213" fmla="*/ 448213 w 802266"/>
              <a:gd name="connsiteY213" fmla="*/ 199967 h 1464174"/>
              <a:gd name="connsiteX214" fmla="*/ 401133 w 802266"/>
              <a:gd name="connsiteY214" fmla="*/ 152887 h 1464174"/>
              <a:gd name="connsiteX215" fmla="*/ 578160 w 802266"/>
              <a:gd name="connsiteY215" fmla="*/ 152887 h 1464174"/>
              <a:gd name="connsiteX216" fmla="*/ 531080 w 802266"/>
              <a:gd name="connsiteY216" fmla="*/ 199967 h 1464174"/>
              <a:gd name="connsiteX217" fmla="*/ 578160 w 802266"/>
              <a:gd name="connsiteY217" fmla="*/ 247047 h 1464174"/>
              <a:gd name="connsiteX218" fmla="*/ 625239 w 802266"/>
              <a:gd name="connsiteY218" fmla="*/ 199967 h 1464174"/>
              <a:gd name="connsiteX219" fmla="*/ 578160 w 802266"/>
              <a:gd name="connsiteY219" fmla="*/ 152887 h 1464174"/>
              <a:gd name="connsiteX220" fmla="*/ 755186 w 802266"/>
              <a:gd name="connsiteY220" fmla="*/ 152887 h 1464174"/>
              <a:gd name="connsiteX221" fmla="*/ 708106 w 802266"/>
              <a:gd name="connsiteY221" fmla="*/ 199967 h 1464174"/>
              <a:gd name="connsiteX222" fmla="*/ 755186 w 802266"/>
              <a:gd name="connsiteY222" fmla="*/ 247047 h 1464174"/>
              <a:gd name="connsiteX223" fmla="*/ 802266 w 802266"/>
              <a:gd name="connsiteY223" fmla="*/ 199967 h 1464174"/>
              <a:gd name="connsiteX224" fmla="*/ 755186 w 802266"/>
              <a:gd name="connsiteY224" fmla="*/ 152887 h 1464174"/>
              <a:gd name="connsiteX225" fmla="*/ 47080 w 802266"/>
              <a:gd name="connsiteY225" fmla="*/ 0 h 1464174"/>
              <a:gd name="connsiteX226" fmla="*/ 0 w 802266"/>
              <a:gd name="connsiteY226" fmla="*/ 47080 h 1464174"/>
              <a:gd name="connsiteX227" fmla="*/ 47080 w 802266"/>
              <a:gd name="connsiteY227" fmla="*/ 94160 h 1464174"/>
              <a:gd name="connsiteX228" fmla="*/ 94160 w 802266"/>
              <a:gd name="connsiteY228" fmla="*/ 47080 h 1464174"/>
              <a:gd name="connsiteX229" fmla="*/ 47080 w 802266"/>
              <a:gd name="connsiteY229" fmla="*/ 0 h 1464174"/>
              <a:gd name="connsiteX230" fmla="*/ 224106 w 802266"/>
              <a:gd name="connsiteY230" fmla="*/ 0 h 1464174"/>
              <a:gd name="connsiteX231" fmla="*/ 177027 w 802266"/>
              <a:gd name="connsiteY231" fmla="*/ 47080 h 1464174"/>
              <a:gd name="connsiteX232" fmla="*/ 224106 w 802266"/>
              <a:gd name="connsiteY232" fmla="*/ 94160 h 1464174"/>
              <a:gd name="connsiteX233" fmla="*/ 271186 w 802266"/>
              <a:gd name="connsiteY233" fmla="*/ 47080 h 1464174"/>
              <a:gd name="connsiteX234" fmla="*/ 224106 w 802266"/>
              <a:gd name="connsiteY234" fmla="*/ 0 h 1464174"/>
              <a:gd name="connsiteX235" fmla="*/ 401133 w 802266"/>
              <a:gd name="connsiteY235" fmla="*/ 0 h 1464174"/>
              <a:gd name="connsiteX236" fmla="*/ 354053 w 802266"/>
              <a:gd name="connsiteY236" fmla="*/ 47080 h 1464174"/>
              <a:gd name="connsiteX237" fmla="*/ 401133 w 802266"/>
              <a:gd name="connsiteY237" fmla="*/ 94160 h 1464174"/>
              <a:gd name="connsiteX238" fmla="*/ 448213 w 802266"/>
              <a:gd name="connsiteY238" fmla="*/ 47080 h 1464174"/>
              <a:gd name="connsiteX239" fmla="*/ 401133 w 802266"/>
              <a:gd name="connsiteY239" fmla="*/ 0 h 1464174"/>
              <a:gd name="connsiteX240" fmla="*/ 578160 w 802266"/>
              <a:gd name="connsiteY240" fmla="*/ 0 h 1464174"/>
              <a:gd name="connsiteX241" fmla="*/ 531080 w 802266"/>
              <a:gd name="connsiteY241" fmla="*/ 47080 h 1464174"/>
              <a:gd name="connsiteX242" fmla="*/ 578160 w 802266"/>
              <a:gd name="connsiteY242" fmla="*/ 94160 h 1464174"/>
              <a:gd name="connsiteX243" fmla="*/ 625239 w 802266"/>
              <a:gd name="connsiteY243" fmla="*/ 47080 h 1464174"/>
              <a:gd name="connsiteX244" fmla="*/ 578160 w 802266"/>
              <a:gd name="connsiteY244" fmla="*/ 0 h 1464174"/>
              <a:gd name="connsiteX245" fmla="*/ 755186 w 802266"/>
              <a:gd name="connsiteY245" fmla="*/ 0 h 1464174"/>
              <a:gd name="connsiteX246" fmla="*/ 708106 w 802266"/>
              <a:gd name="connsiteY246" fmla="*/ 47080 h 1464174"/>
              <a:gd name="connsiteX247" fmla="*/ 755186 w 802266"/>
              <a:gd name="connsiteY247" fmla="*/ 94160 h 1464174"/>
              <a:gd name="connsiteX248" fmla="*/ 802266 w 802266"/>
              <a:gd name="connsiteY248" fmla="*/ 47080 h 1464174"/>
              <a:gd name="connsiteX249" fmla="*/ 755186 w 802266"/>
              <a:gd name="connsiteY249" fmla="*/ 0 h 14641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Lst>
            <a:rect l="l" t="t" r="r" b="b"/>
            <a:pathLst>
              <a:path w="802266" h="1464174">
                <a:moveTo>
                  <a:pt x="47080" y="1370015"/>
                </a:moveTo>
                <a:cubicBezTo>
                  <a:pt x="21078" y="1370015"/>
                  <a:pt x="0" y="1391093"/>
                  <a:pt x="0" y="1417094"/>
                </a:cubicBezTo>
                <a:cubicBezTo>
                  <a:pt x="0" y="1443096"/>
                  <a:pt x="21078" y="1464174"/>
                  <a:pt x="47080" y="1464174"/>
                </a:cubicBezTo>
                <a:cubicBezTo>
                  <a:pt x="73081" y="1464174"/>
                  <a:pt x="94160" y="1443096"/>
                  <a:pt x="94160" y="1417094"/>
                </a:cubicBezTo>
                <a:cubicBezTo>
                  <a:pt x="94160" y="1391093"/>
                  <a:pt x="73081" y="1370015"/>
                  <a:pt x="47080" y="1370015"/>
                </a:cubicBezTo>
                <a:close/>
                <a:moveTo>
                  <a:pt x="224106" y="1370015"/>
                </a:moveTo>
                <a:cubicBezTo>
                  <a:pt x="198105" y="1370015"/>
                  <a:pt x="177027" y="1391093"/>
                  <a:pt x="177027" y="1417094"/>
                </a:cubicBezTo>
                <a:cubicBezTo>
                  <a:pt x="177027" y="1443096"/>
                  <a:pt x="198105" y="1464174"/>
                  <a:pt x="224106" y="1464174"/>
                </a:cubicBezTo>
                <a:cubicBezTo>
                  <a:pt x="250108" y="1464174"/>
                  <a:pt x="271186" y="1443096"/>
                  <a:pt x="271186" y="1417094"/>
                </a:cubicBezTo>
                <a:cubicBezTo>
                  <a:pt x="271186" y="1391093"/>
                  <a:pt x="250108" y="1370015"/>
                  <a:pt x="224106" y="1370015"/>
                </a:cubicBezTo>
                <a:close/>
                <a:moveTo>
                  <a:pt x="401133" y="1370015"/>
                </a:moveTo>
                <a:cubicBezTo>
                  <a:pt x="375132" y="1370015"/>
                  <a:pt x="354053" y="1391093"/>
                  <a:pt x="354053" y="1417094"/>
                </a:cubicBezTo>
                <a:cubicBezTo>
                  <a:pt x="354053" y="1443096"/>
                  <a:pt x="375132" y="1464174"/>
                  <a:pt x="401133" y="1464174"/>
                </a:cubicBezTo>
                <a:cubicBezTo>
                  <a:pt x="427134" y="1464174"/>
                  <a:pt x="448213" y="1443096"/>
                  <a:pt x="448213" y="1417094"/>
                </a:cubicBezTo>
                <a:cubicBezTo>
                  <a:pt x="448213" y="1391093"/>
                  <a:pt x="427134" y="1370015"/>
                  <a:pt x="401133" y="1370015"/>
                </a:cubicBezTo>
                <a:close/>
                <a:moveTo>
                  <a:pt x="578160" y="1370015"/>
                </a:moveTo>
                <a:cubicBezTo>
                  <a:pt x="552158" y="1370015"/>
                  <a:pt x="531080" y="1391093"/>
                  <a:pt x="531080" y="1417094"/>
                </a:cubicBezTo>
                <a:cubicBezTo>
                  <a:pt x="531080" y="1443096"/>
                  <a:pt x="552158" y="1464174"/>
                  <a:pt x="578160" y="1464174"/>
                </a:cubicBezTo>
                <a:cubicBezTo>
                  <a:pt x="604161" y="1464174"/>
                  <a:pt x="625239" y="1443096"/>
                  <a:pt x="625239" y="1417094"/>
                </a:cubicBezTo>
                <a:cubicBezTo>
                  <a:pt x="625239" y="1391093"/>
                  <a:pt x="604161" y="1370015"/>
                  <a:pt x="578160" y="1370015"/>
                </a:cubicBezTo>
                <a:close/>
                <a:moveTo>
                  <a:pt x="755186" y="1370015"/>
                </a:moveTo>
                <a:cubicBezTo>
                  <a:pt x="729185" y="1370015"/>
                  <a:pt x="708106" y="1391093"/>
                  <a:pt x="708106" y="1417094"/>
                </a:cubicBezTo>
                <a:cubicBezTo>
                  <a:pt x="708106" y="1443096"/>
                  <a:pt x="729185" y="1464174"/>
                  <a:pt x="755186" y="1464174"/>
                </a:cubicBezTo>
                <a:cubicBezTo>
                  <a:pt x="781188" y="1464174"/>
                  <a:pt x="802266" y="1443096"/>
                  <a:pt x="802266" y="1417094"/>
                </a:cubicBezTo>
                <a:cubicBezTo>
                  <a:pt x="802266" y="1391093"/>
                  <a:pt x="781188" y="1370015"/>
                  <a:pt x="755186" y="1370015"/>
                </a:cubicBezTo>
                <a:close/>
                <a:moveTo>
                  <a:pt x="47080" y="1217127"/>
                </a:moveTo>
                <a:cubicBezTo>
                  <a:pt x="21078" y="1217127"/>
                  <a:pt x="0" y="1238206"/>
                  <a:pt x="0" y="1264207"/>
                </a:cubicBezTo>
                <a:cubicBezTo>
                  <a:pt x="0" y="1290208"/>
                  <a:pt x="21078" y="1311287"/>
                  <a:pt x="47080" y="1311287"/>
                </a:cubicBezTo>
                <a:cubicBezTo>
                  <a:pt x="73081" y="1311287"/>
                  <a:pt x="94160" y="1290208"/>
                  <a:pt x="94160" y="1264207"/>
                </a:cubicBezTo>
                <a:cubicBezTo>
                  <a:pt x="94160" y="1238206"/>
                  <a:pt x="73081" y="1217127"/>
                  <a:pt x="47080" y="1217127"/>
                </a:cubicBezTo>
                <a:close/>
                <a:moveTo>
                  <a:pt x="224106" y="1217127"/>
                </a:moveTo>
                <a:cubicBezTo>
                  <a:pt x="198105" y="1217127"/>
                  <a:pt x="177027" y="1238206"/>
                  <a:pt x="177027" y="1264207"/>
                </a:cubicBezTo>
                <a:cubicBezTo>
                  <a:pt x="177027" y="1290208"/>
                  <a:pt x="198105" y="1311287"/>
                  <a:pt x="224106" y="1311287"/>
                </a:cubicBezTo>
                <a:cubicBezTo>
                  <a:pt x="250108" y="1311287"/>
                  <a:pt x="271186" y="1290208"/>
                  <a:pt x="271186" y="1264207"/>
                </a:cubicBezTo>
                <a:cubicBezTo>
                  <a:pt x="271186" y="1238206"/>
                  <a:pt x="250108" y="1217127"/>
                  <a:pt x="224106" y="1217127"/>
                </a:cubicBezTo>
                <a:close/>
                <a:moveTo>
                  <a:pt x="401133" y="1217127"/>
                </a:moveTo>
                <a:cubicBezTo>
                  <a:pt x="375132" y="1217127"/>
                  <a:pt x="354053" y="1238206"/>
                  <a:pt x="354053" y="1264207"/>
                </a:cubicBezTo>
                <a:cubicBezTo>
                  <a:pt x="354053" y="1290208"/>
                  <a:pt x="375132" y="1311287"/>
                  <a:pt x="401133" y="1311287"/>
                </a:cubicBezTo>
                <a:cubicBezTo>
                  <a:pt x="427134" y="1311287"/>
                  <a:pt x="448213" y="1290208"/>
                  <a:pt x="448213" y="1264207"/>
                </a:cubicBezTo>
                <a:cubicBezTo>
                  <a:pt x="448213" y="1238206"/>
                  <a:pt x="427134" y="1217127"/>
                  <a:pt x="401133" y="1217127"/>
                </a:cubicBezTo>
                <a:close/>
                <a:moveTo>
                  <a:pt x="578160" y="1217127"/>
                </a:moveTo>
                <a:cubicBezTo>
                  <a:pt x="552158" y="1217127"/>
                  <a:pt x="531080" y="1238206"/>
                  <a:pt x="531080" y="1264207"/>
                </a:cubicBezTo>
                <a:cubicBezTo>
                  <a:pt x="531080" y="1290208"/>
                  <a:pt x="552158" y="1311287"/>
                  <a:pt x="578160" y="1311287"/>
                </a:cubicBezTo>
                <a:cubicBezTo>
                  <a:pt x="604161" y="1311287"/>
                  <a:pt x="625239" y="1290208"/>
                  <a:pt x="625239" y="1264207"/>
                </a:cubicBezTo>
                <a:cubicBezTo>
                  <a:pt x="625239" y="1238206"/>
                  <a:pt x="604161" y="1217127"/>
                  <a:pt x="578160" y="1217127"/>
                </a:cubicBezTo>
                <a:close/>
                <a:moveTo>
                  <a:pt x="755186" y="1217127"/>
                </a:moveTo>
                <a:cubicBezTo>
                  <a:pt x="729185" y="1217127"/>
                  <a:pt x="708106" y="1238206"/>
                  <a:pt x="708106" y="1264207"/>
                </a:cubicBezTo>
                <a:cubicBezTo>
                  <a:pt x="708106" y="1290208"/>
                  <a:pt x="729185" y="1311287"/>
                  <a:pt x="755186" y="1311287"/>
                </a:cubicBezTo>
                <a:cubicBezTo>
                  <a:pt x="781188" y="1311287"/>
                  <a:pt x="802266" y="1290208"/>
                  <a:pt x="802266" y="1264207"/>
                </a:cubicBezTo>
                <a:cubicBezTo>
                  <a:pt x="802266" y="1238206"/>
                  <a:pt x="781188" y="1217127"/>
                  <a:pt x="755186" y="1217127"/>
                </a:cubicBezTo>
                <a:close/>
                <a:moveTo>
                  <a:pt x="47080" y="1064240"/>
                </a:moveTo>
                <a:cubicBezTo>
                  <a:pt x="21078" y="1064240"/>
                  <a:pt x="0" y="1085318"/>
                  <a:pt x="0" y="1111320"/>
                </a:cubicBezTo>
                <a:cubicBezTo>
                  <a:pt x="0" y="1137321"/>
                  <a:pt x="21078" y="1158399"/>
                  <a:pt x="47080" y="1158399"/>
                </a:cubicBezTo>
                <a:cubicBezTo>
                  <a:pt x="73081" y="1158399"/>
                  <a:pt x="94160" y="1137321"/>
                  <a:pt x="94160" y="1111320"/>
                </a:cubicBezTo>
                <a:cubicBezTo>
                  <a:pt x="94160" y="1085318"/>
                  <a:pt x="73081" y="1064240"/>
                  <a:pt x="47080" y="1064240"/>
                </a:cubicBezTo>
                <a:close/>
                <a:moveTo>
                  <a:pt x="224106" y="1064240"/>
                </a:moveTo>
                <a:cubicBezTo>
                  <a:pt x="198105" y="1064240"/>
                  <a:pt x="177027" y="1085318"/>
                  <a:pt x="177027" y="1111320"/>
                </a:cubicBezTo>
                <a:cubicBezTo>
                  <a:pt x="177027" y="1137321"/>
                  <a:pt x="198105" y="1158399"/>
                  <a:pt x="224106" y="1158399"/>
                </a:cubicBezTo>
                <a:cubicBezTo>
                  <a:pt x="250108" y="1158399"/>
                  <a:pt x="271186" y="1137321"/>
                  <a:pt x="271186" y="1111320"/>
                </a:cubicBezTo>
                <a:cubicBezTo>
                  <a:pt x="271186" y="1085318"/>
                  <a:pt x="250108" y="1064240"/>
                  <a:pt x="224106" y="1064240"/>
                </a:cubicBezTo>
                <a:close/>
                <a:moveTo>
                  <a:pt x="401133" y="1064240"/>
                </a:moveTo>
                <a:cubicBezTo>
                  <a:pt x="375132" y="1064240"/>
                  <a:pt x="354053" y="1085318"/>
                  <a:pt x="354053" y="1111320"/>
                </a:cubicBezTo>
                <a:cubicBezTo>
                  <a:pt x="354053" y="1137321"/>
                  <a:pt x="375132" y="1158399"/>
                  <a:pt x="401133" y="1158399"/>
                </a:cubicBezTo>
                <a:cubicBezTo>
                  <a:pt x="427134" y="1158399"/>
                  <a:pt x="448213" y="1137321"/>
                  <a:pt x="448213" y="1111320"/>
                </a:cubicBezTo>
                <a:cubicBezTo>
                  <a:pt x="448213" y="1085318"/>
                  <a:pt x="427134" y="1064240"/>
                  <a:pt x="401133" y="1064240"/>
                </a:cubicBezTo>
                <a:close/>
                <a:moveTo>
                  <a:pt x="578160" y="1064240"/>
                </a:moveTo>
                <a:cubicBezTo>
                  <a:pt x="552158" y="1064240"/>
                  <a:pt x="531080" y="1085318"/>
                  <a:pt x="531080" y="1111320"/>
                </a:cubicBezTo>
                <a:cubicBezTo>
                  <a:pt x="531080" y="1137321"/>
                  <a:pt x="552158" y="1158399"/>
                  <a:pt x="578160" y="1158399"/>
                </a:cubicBezTo>
                <a:cubicBezTo>
                  <a:pt x="604161" y="1158399"/>
                  <a:pt x="625239" y="1137321"/>
                  <a:pt x="625239" y="1111320"/>
                </a:cubicBezTo>
                <a:cubicBezTo>
                  <a:pt x="625239" y="1085318"/>
                  <a:pt x="604161" y="1064240"/>
                  <a:pt x="578160" y="1064240"/>
                </a:cubicBezTo>
                <a:close/>
                <a:moveTo>
                  <a:pt x="755186" y="1064240"/>
                </a:moveTo>
                <a:cubicBezTo>
                  <a:pt x="729185" y="1064240"/>
                  <a:pt x="708106" y="1085318"/>
                  <a:pt x="708106" y="1111320"/>
                </a:cubicBezTo>
                <a:cubicBezTo>
                  <a:pt x="708106" y="1137321"/>
                  <a:pt x="729185" y="1158399"/>
                  <a:pt x="755186" y="1158399"/>
                </a:cubicBezTo>
                <a:cubicBezTo>
                  <a:pt x="781188" y="1158399"/>
                  <a:pt x="802266" y="1137321"/>
                  <a:pt x="802266" y="1111320"/>
                </a:cubicBezTo>
                <a:cubicBezTo>
                  <a:pt x="802266" y="1085318"/>
                  <a:pt x="781188" y="1064240"/>
                  <a:pt x="755186" y="1064240"/>
                </a:cubicBezTo>
                <a:close/>
                <a:moveTo>
                  <a:pt x="47080" y="911352"/>
                </a:moveTo>
                <a:cubicBezTo>
                  <a:pt x="21078" y="911352"/>
                  <a:pt x="0" y="932431"/>
                  <a:pt x="0" y="958432"/>
                </a:cubicBezTo>
                <a:cubicBezTo>
                  <a:pt x="0" y="984434"/>
                  <a:pt x="21078" y="1005512"/>
                  <a:pt x="47080" y="1005512"/>
                </a:cubicBezTo>
                <a:cubicBezTo>
                  <a:pt x="73081" y="1005512"/>
                  <a:pt x="94160" y="984434"/>
                  <a:pt x="94160" y="958432"/>
                </a:cubicBezTo>
                <a:cubicBezTo>
                  <a:pt x="94160" y="932431"/>
                  <a:pt x="73081" y="911352"/>
                  <a:pt x="47080" y="911352"/>
                </a:cubicBezTo>
                <a:close/>
                <a:moveTo>
                  <a:pt x="224106" y="911352"/>
                </a:moveTo>
                <a:cubicBezTo>
                  <a:pt x="198105" y="911352"/>
                  <a:pt x="177027" y="932431"/>
                  <a:pt x="177027" y="958432"/>
                </a:cubicBezTo>
                <a:cubicBezTo>
                  <a:pt x="177027" y="984434"/>
                  <a:pt x="198105" y="1005512"/>
                  <a:pt x="224106" y="1005512"/>
                </a:cubicBezTo>
                <a:cubicBezTo>
                  <a:pt x="250108" y="1005512"/>
                  <a:pt x="271186" y="984434"/>
                  <a:pt x="271186" y="958432"/>
                </a:cubicBezTo>
                <a:cubicBezTo>
                  <a:pt x="271186" y="932431"/>
                  <a:pt x="250108" y="911352"/>
                  <a:pt x="224106" y="911352"/>
                </a:cubicBezTo>
                <a:close/>
                <a:moveTo>
                  <a:pt x="401133" y="911352"/>
                </a:moveTo>
                <a:cubicBezTo>
                  <a:pt x="375132" y="911352"/>
                  <a:pt x="354053" y="932431"/>
                  <a:pt x="354053" y="958432"/>
                </a:cubicBezTo>
                <a:cubicBezTo>
                  <a:pt x="354053" y="984434"/>
                  <a:pt x="375132" y="1005512"/>
                  <a:pt x="401133" y="1005512"/>
                </a:cubicBezTo>
                <a:cubicBezTo>
                  <a:pt x="427134" y="1005512"/>
                  <a:pt x="448213" y="984434"/>
                  <a:pt x="448213" y="958432"/>
                </a:cubicBezTo>
                <a:cubicBezTo>
                  <a:pt x="448213" y="932431"/>
                  <a:pt x="427134" y="911352"/>
                  <a:pt x="401133" y="911352"/>
                </a:cubicBezTo>
                <a:close/>
                <a:moveTo>
                  <a:pt x="578160" y="911352"/>
                </a:moveTo>
                <a:cubicBezTo>
                  <a:pt x="552158" y="911352"/>
                  <a:pt x="531080" y="932431"/>
                  <a:pt x="531080" y="958432"/>
                </a:cubicBezTo>
                <a:cubicBezTo>
                  <a:pt x="531080" y="984434"/>
                  <a:pt x="552158" y="1005512"/>
                  <a:pt x="578160" y="1005512"/>
                </a:cubicBezTo>
                <a:cubicBezTo>
                  <a:pt x="604161" y="1005512"/>
                  <a:pt x="625239" y="984434"/>
                  <a:pt x="625239" y="958432"/>
                </a:cubicBezTo>
                <a:cubicBezTo>
                  <a:pt x="625239" y="932431"/>
                  <a:pt x="604161" y="911352"/>
                  <a:pt x="578160" y="911352"/>
                </a:cubicBezTo>
                <a:close/>
                <a:moveTo>
                  <a:pt x="755186" y="911352"/>
                </a:moveTo>
                <a:cubicBezTo>
                  <a:pt x="729185" y="911352"/>
                  <a:pt x="708106" y="932431"/>
                  <a:pt x="708106" y="958432"/>
                </a:cubicBezTo>
                <a:cubicBezTo>
                  <a:pt x="708106" y="984434"/>
                  <a:pt x="729185" y="1005512"/>
                  <a:pt x="755186" y="1005512"/>
                </a:cubicBezTo>
                <a:cubicBezTo>
                  <a:pt x="781188" y="1005512"/>
                  <a:pt x="802266" y="984434"/>
                  <a:pt x="802266" y="958432"/>
                </a:cubicBezTo>
                <a:cubicBezTo>
                  <a:pt x="802266" y="932431"/>
                  <a:pt x="781188" y="911352"/>
                  <a:pt x="755186" y="911352"/>
                </a:cubicBezTo>
                <a:close/>
                <a:moveTo>
                  <a:pt x="47080" y="758465"/>
                </a:moveTo>
                <a:cubicBezTo>
                  <a:pt x="21078" y="758465"/>
                  <a:pt x="0" y="779543"/>
                  <a:pt x="0" y="805545"/>
                </a:cubicBezTo>
                <a:cubicBezTo>
                  <a:pt x="0" y="831546"/>
                  <a:pt x="21078" y="852625"/>
                  <a:pt x="47080" y="852625"/>
                </a:cubicBezTo>
                <a:cubicBezTo>
                  <a:pt x="73081" y="852625"/>
                  <a:pt x="94160" y="831546"/>
                  <a:pt x="94160" y="805545"/>
                </a:cubicBezTo>
                <a:cubicBezTo>
                  <a:pt x="94160" y="779543"/>
                  <a:pt x="73081" y="758465"/>
                  <a:pt x="47080" y="758465"/>
                </a:cubicBezTo>
                <a:close/>
                <a:moveTo>
                  <a:pt x="224106" y="758465"/>
                </a:moveTo>
                <a:cubicBezTo>
                  <a:pt x="198105" y="758465"/>
                  <a:pt x="177027" y="779543"/>
                  <a:pt x="177027" y="805545"/>
                </a:cubicBezTo>
                <a:cubicBezTo>
                  <a:pt x="177027" y="831546"/>
                  <a:pt x="198105" y="852625"/>
                  <a:pt x="224106" y="852625"/>
                </a:cubicBezTo>
                <a:cubicBezTo>
                  <a:pt x="250108" y="852625"/>
                  <a:pt x="271186" y="831546"/>
                  <a:pt x="271186" y="805545"/>
                </a:cubicBezTo>
                <a:cubicBezTo>
                  <a:pt x="271186" y="779543"/>
                  <a:pt x="250108" y="758465"/>
                  <a:pt x="224106" y="758465"/>
                </a:cubicBezTo>
                <a:close/>
                <a:moveTo>
                  <a:pt x="401133" y="758465"/>
                </a:moveTo>
                <a:cubicBezTo>
                  <a:pt x="375132" y="758465"/>
                  <a:pt x="354053" y="779543"/>
                  <a:pt x="354053" y="805545"/>
                </a:cubicBezTo>
                <a:cubicBezTo>
                  <a:pt x="354053" y="831546"/>
                  <a:pt x="375132" y="852625"/>
                  <a:pt x="401133" y="852625"/>
                </a:cubicBezTo>
                <a:cubicBezTo>
                  <a:pt x="427134" y="852625"/>
                  <a:pt x="448213" y="831546"/>
                  <a:pt x="448213" y="805545"/>
                </a:cubicBezTo>
                <a:cubicBezTo>
                  <a:pt x="448213" y="779543"/>
                  <a:pt x="427134" y="758465"/>
                  <a:pt x="401133" y="758465"/>
                </a:cubicBezTo>
                <a:close/>
                <a:moveTo>
                  <a:pt x="578160" y="758465"/>
                </a:moveTo>
                <a:cubicBezTo>
                  <a:pt x="552158" y="758465"/>
                  <a:pt x="531080" y="779543"/>
                  <a:pt x="531080" y="805545"/>
                </a:cubicBezTo>
                <a:cubicBezTo>
                  <a:pt x="531080" y="831546"/>
                  <a:pt x="552158" y="852625"/>
                  <a:pt x="578160" y="852625"/>
                </a:cubicBezTo>
                <a:cubicBezTo>
                  <a:pt x="604161" y="852625"/>
                  <a:pt x="625239" y="831546"/>
                  <a:pt x="625239" y="805545"/>
                </a:cubicBezTo>
                <a:cubicBezTo>
                  <a:pt x="625239" y="779543"/>
                  <a:pt x="604161" y="758465"/>
                  <a:pt x="578160" y="758465"/>
                </a:cubicBezTo>
                <a:close/>
                <a:moveTo>
                  <a:pt x="755186" y="758465"/>
                </a:moveTo>
                <a:cubicBezTo>
                  <a:pt x="729185" y="758465"/>
                  <a:pt x="708106" y="779543"/>
                  <a:pt x="708106" y="805545"/>
                </a:cubicBezTo>
                <a:cubicBezTo>
                  <a:pt x="708106" y="831546"/>
                  <a:pt x="729185" y="852625"/>
                  <a:pt x="755186" y="852625"/>
                </a:cubicBezTo>
                <a:cubicBezTo>
                  <a:pt x="781188" y="852625"/>
                  <a:pt x="802266" y="831546"/>
                  <a:pt x="802266" y="805545"/>
                </a:cubicBezTo>
                <a:cubicBezTo>
                  <a:pt x="802266" y="779543"/>
                  <a:pt x="781188" y="758465"/>
                  <a:pt x="755186" y="758465"/>
                </a:cubicBezTo>
                <a:close/>
                <a:moveTo>
                  <a:pt x="47080" y="611549"/>
                </a:moveTo>
                <a:cubicBezTo>
                  <a:pt x="21078" y="611549"/>
                  <a:pt x="0" y="632628"/>
                  <a:pt x="0" y="658629"/>
                </a:cubicBezTo>
                <a:cubicBezTo>
                  <a:pt x="0" y="684631"/>
                  <a:pt x="21078" y="705709"/>
                  <a:pt x="47080" y="705709"/>
                </a:cubicBezTo>
                <a:cubicBezTo>
                  <a:pt x="73081" y="705709"/>
                  <a:pt x="94160" y="684631"/>
                  <a:pt x="94160" y="658629"/>
                </a:cubicBezTo>
                <a:cubicBezTo>
                  <a:pt x="94160" y="632628"/>
                  <a:pt x="73081" y="611549"/>
                  <a:pt x="47080" y="611549"/>
                </a:cubicBezTo>
                <a:close/>
                <a:moveTo>
                  <a:pt x="224106" y="611549"/>
                </a:moveTo>
                <a:cubicBezTo>
                  <a:pt x="198105" y="611549"/>
                  <a:pt x="177027" y="632628"/>
                  <a:pt x="177027" y="658629"/>
                </a:cubicBezTo>
                <a:cubicBezTo>
                  <a:pt x="177027" y="684631"/>
                  <a:pt x="198105" y="705709"/>
                  <a:pt x="224106" y="705709"/>
                </a:cubicBezTo>
                <a:cubicBezTo>
                  <a:pt x="250108" y="705709"/>
                  <a:pt x="271186" y="684631"/>
                  <a:pt x="271186" y="658629"/>
                </a:cubicBezTo>
                <a:cubicBezTo>
                  <a:pt x="271186" y="632628"/>
                  <a:pt x="250108" y="611549"/>
                  <a:pt x="224106" y="611549"/>
                </a:cubicBezTo>
                <a:close/>
                <a:moveTo>
                  <a:pt x="401133" y="611549"/>
                </a:moveTo>
                <a:cubicBezTo>
                  <a:pt x="375132" y="611549"/>
                  <a:pt x="354053" y="632628"/>
                  <a:pt x="354053" y="658629"/>
                </a:cubicBezTo>
                <a:cubicBezTo>
                  <a:pt x="354053" y="684631"/>
                  <a:pt x="375132" y="705709"/>
                  <a:pt x="401133" y="705709"/>
                </a:cubicBezTo>
                <a:cubicBezTo>
                  <a:pt x="427134" y="705709"/>
                  <a:pt x="448213" y="684631"/>
                  <a:pt x="448213" y="658629"/>
                </a:cubicBezTo>
                <a:cubicBezTo>
                  <a:pt x="448213" y="632628"/>
                  <a:pt x="427134" y="611549"/>
                  <a:pt x="401133" y="611549"/>
                </a:cubicBezTo>
                <a:close/>
                <a:moveTo>
                  <a:pt x="578160" y="611549"/>
                </a:moveTo>
                <a:cubicBezTo>
                  <a:pt x="552158" y="611549"/>
                  <a:pt x="531080" y="632628"/>
                  <a:pt x="531080" y="658629"/>
                </a:cubicBezTo>
                <a:cubicBezTo>
                  <a:pt x="531080" y="684631"/>
                  <a:pt x="552158" y="705709"/>
                  <a:pt x="578160" y="705709"/>
                </a:cubicBezTo>
                <a:cubicBezTo>
                  <a:pt x="604161" y="705709"/>
                  <a:pt x="625239" y="684631"/>
                  <a:pt x="625239" y="658629"/>
                </a:cubicBezTo>
                <a:cubicBezTo>
                  <a:pt x="625239" y="632628"/>
                  <a:pt x="604161" y="611549"/>
                  <a:pt x="578160" y="611549"/>
                </a:cubicBezTo>
                <a:close/>
                <a:moveTo>
                  <a:pt x="755186" y="611549"/>
                </a:moveTo>
                <a:cubicBezTo>
                  <a:pt x="729185" y="611549"/>
                  <a:pt x="708106" y="632628"/>
                  <a:pt x="708106" y="658629"/>
                </a:cubicBezTo>
                <a:cubicBezTo>
                  <a:pt x="708106" y="684631"/>
                  <a:pt x="729185" y="705709"/>
                  <a:pt x="755186" y="705709"/>
                </a:cubicBezTo>
                <a:cubicBezTo>
                  <a:pt x="781188" y="705709"/>
                  <a:pt x="802266" y="684631"/>
                  <a:pt x="802266" y="658629"/>
                </a:cubicBezTo>
                <a:cubicBezTo>
                  <a:pt x="802266" y="632628"/>
                  <a:pt x="781188" y="611549"/>
                  <a:pt x="755186" y="611549"/>
                </a:cubicBezTo>
                <a:close/>
                <a:moveTo>
                  <a:pt x="47080" y="458662"/>
                </a:moveTo>
                <a:cubicBezTo>
                  <a:pt x="21078" y="458662"/>
                  <a:pt x="0" y="479740"/>
                  <a:pt x="0" y="505742"/>
                </a:cubicBezTo>
                <a:cubicBezTo>
                  <a:pt x="0" y="531743"/>
                  <a:pt x="21078" y="552822"/>
                  <a:pt x="47080" y="552822"/>
                </a:cubicBezTo>
                <a:cubicBezTo>
                  <a:pt x="73081" y="552822"/>
                  <a:pt x="94160" y="531743"/>
                  <a:pt x="94160" y="505742"/>
                </a:cubicBezTo>
                <a:cubicBezTo>
                  <a:pt x="94160" y="479740"/>
                  <a:pt x="73081" y="458662"/>
                  <a:pt x="47080" y="458662"/>
                </a:cubicBezTo>
                <a:close/>
                <a:moveTo>
                  <a:pt x="224106" y="458662"/>
                </a:moveTo>
                <a:cubicBezTo>
                  <a:pt x="198105" y="458662"/>
                  <a:pt x="177027" y="479740"/>
                  <a:pt x="177027" y="505742"/>
                </a:cubicBezTo>
                <a:cubicBezTo>
                  <a:pt x="177027" y="531743"/>
                  <a:pt x="198105" y="552822"/>
                  <a:pt x="224106" y="552822"/>
                </a:cubicBezTo>
                <a:cubicBezTo>
                  <a:pt x="250108" y="552822"/>
                  <a:pt x="271186" y="531743"/>
                  <a:pt x="271186" y="505742"/>
                </a:cubicBezTo>
                <a:cubicBezTo>
                  <a:pt x="271186" y="479740"/>
                  <a:pt x="250108" y="458662"/>
                  <a:pt x="224106" y="458662"/>
                </a:cubicBezTo>
                <a:close/>
                <a:moveTo>
                  <a:pt x="401133" y="458662"/>
                </a:moveTo>
                <a:cubicBezTo>
                  <a:pt x="375132" y="458662"/>
                  <a:pt x="354053" y="479740"/>
                  <a:pt x="354053" y="505742"/>
                </a:cubicBezTo>
                <a:cubicBezTo>
                  <a:pt x="354053" y="531743"/>
                  <a:pt x="375132" y="552822"/>
                  <a:pt x="401133" y="552822"/>
                </a:cubicBezTo>
                <a:cubicBezTo>
                  <a:pt x="427134" y="552822"/>
                  <a:pt x="448213" y="531743"/>
                  <a:pt x="448213" y="505742"/>
                </a:cubicBezTo>
                <a:cubicBezTo>
                  <a:pt x="448213" y="479740"/>
                  <a:pt x="427134" y="458662"/>
                  <a:pt x="401133" y="458662"/>
                </a:cubicBezTo>
                <a:close/>
                <a:moveTo>
                  <a:pt x="578160" y="458662"/>
                </a:moveTo>
                <a:cubicBezTo>
                  <a:pt x="552158" y="458662"/>
                  <a:pt x="531080" y="479740"/>
                  <a:pt x="531080" y="505742"/>
                </a:cubicBezTo>
                <a:cubicBezTo>
                  <a:pt x="531080" y="531743"/>
                  <a:pt x="552158" y="552822"/>
                  <a:pt x="578160" y="552822"/>
                </a:cubicBezTo>
                <a:cubicBezTo>
                  <a:pt x="604161" y="552822"/>
                  <a:pt x="625239" y="531743"/>
                  <a:pt x="625239" y="505742"/>
                </a:cubicBezTo>
                <a:cubicBezTo>
                  <a:pt x="625239" y="479740"/>
                  <a:pt x="604161" y="458662"/>
                  <a:pt x="578160" y="458662"/>
                </a:cubicBezTo>
                <a:close/>
                <a:moveTo>
                  <a:pt x="755186" y="458662"/>
                </a:moveTo>
                <a:cubicBezTo>
                  <a:pt x="729185" y="458662"/>
                  <a:pt x="708106" y="479740"/>
                  <a:pt x="708106" y="505742"/>
                </a:cubicBezTo>
                <a:cubicBezTo>
                  <a:pt x="708106" y="531743"/>
                  <a:pt x="729185" y="552822"/>
                  <a:pt x="755186" y="552822"/>
                </a:cubicBezTo>
                <a:cubicBezTo>
                  <a:pt x="781188" y="552822"/>
                  <a:pt x="802266" y="531743"/>
                  <a:pt x="802266" y="505742"/>
                </a:cubicBezTo>
                <a:cubicBezTo>
                  <a:pt x="802266" y="479740"/>
                  <a:pt x="781188" y="458662"/>
                  <a:pt x="755186" y="458662"/>
                </a:cubicBezTo>
                <a:close/>
                <a:moveTo>
                  <a:pt x="47080" y="305775"/>
                </a:moveTo>
                <a:cubicBezTo>
                  <a:pt x="21078" y="305775"/>
                  <a:pt x="0" y="326853"/>
                  <a:pt x="0" y="352855"/>
                </a:cubicBezTo>
                <a:cubicBezTo>
                  <a:pt x="0" y="378856"/>
                  <a:pt x="21078" y="399934"/>
                  <a:pt x="47080" y="399934"/>
                </a:cubicBezTo>
                <a:cubicBezTo>
                  <a:pt x="73081" y="399934"/>
                  <a:pt x="94160" y="378856"/>
                  <a:pt x="94160" y="352855"/>
                </a:cubicBezTo>
                <a:cubicBezTo>
                  <a:pt x="94160" y="326853"/>
                  <a:pt x="73081" y="305775"/>
                  <a:pt x="47080" y="305775"/>
                </a:cubicBezTo>
                <a:close/>
                <a:moveTo>
                  <a:pt x="224106" y="305775"/>
                </a:moveTo>
                <a:cubicBezTo>
                  <a:pt x="198105" y="305775"/>
                  <a:pt x="177027" y="326853"/>
                  <a:pt x="177027" y="352855"/>
                </a:cubicBezTo>
                <a:cubicBezTo>
                  <a:pt x="177027" y="378856"/>
                  <a:pt x="198105" y="399934"/>
                  <a:pt x="224106" y="399934"/>
                </a:cubicBezTo>
                <a:cubicBezTo>
                  <a:pt x="250108" y="399934"/>
                  <a:pt x="271186" y="378856"/>
                  <a:pt x="271186" y="352855"/>
                </a:cubicBezTo>
                <a:cubicBezTo>
                  <a:pt x="271186" y="326853"/>
                  <a:pt x="250108" y="305775"/>
                  <a:pt x="224106" y="305775"/>
                </a:cubicBezTo>
                <a:close/>
                <a:moveTo>
                  <a:pt x="401133" y="305775"/>
                </a:moveTo>
                <a:cubicBezTo>
                  <a:pt x="375132" y="305775"/>
                  <a:pt x="354053" y="326853"/>
                  <a:pt x="354053" y="352855"/>
                </a:cubicBezTo>
                <a:cubicBezTo>
                  <a:pt x="354053" y="378856"/>
                  <a:pt x="375132" y="399934"/>
                  <a:pt x="401133" y="399934"/>
                </a:cubicBezTo>
                <a:cubicBezTo>
                  <a:pt x="427134" y="399934"/>
                  <a:pt x="448213" y="378856"/>
                  <a:pt x="448213" y="352855"/>
                </a:cubicBezTo>
                <a:cubicBezTo>
                  <a:pt x="448213" y="326853"/>
                  <a:pt x="427134" y="305775"/>
                  <a:pt x="401133" y="305775"/>
                </a:cubicBezTo>
                <a:close/>
                <a:moveTo>
                  <a:pt x="578160" y="305775"/>
                </a:moveTo>
                <a:cubicBezTo>
                  <a:pt x="552158" y="305775"/>
                  <a:pt x="531080" y="326853"/>
                  <a:pt x="531080" y="352855"/>
                </a:cubicBezTo>
                <a:cubicBezTo>
                  <a:pt x="531080" y="378856"/>
                  <a:pt x="552158" y="399934"/>
                  <a:pt x="578160" y="399934"/>
                </a:cubicBezTo>
                <a:cubicBezTo>
                  <a:pt x="604161" y="399934"/>
                  <a:pt x="625239" y="378856"/>
                  <a:pt x="625239" y="352855"/>
                </a:cubicBezTo>
                <a:cubicBezTo>
                  <a:pt x="625239" y="326853"/>
                  <a:pt x="604161" y="305775"/>
                  <a:pt x="578160" y="305775"/>
                </a:cubicBezTo>
                <a:close/>
                <a:moveTo>
                  <a:pt x="755186" y="305775"/>
                </a:moveTo>
                <a:cubicBezTo>
                  <a:pt x="729185" y="305775"/>
                  <a:pt x="708106" y="326853"/>
                  <a:pt x="708106" y="352855"/>
                </a:cubicBezTo>
                <a:cubicBezTo>
                  <a:pt x="708106" y="378856"/>
                  <a:pt x="729185" y="399934"/>
                  <a:pt x="755186" y="399934"/>
                </a:cubicBezTo>
                <a:cubicBezTo>
                  <a:pt x="781188" y="399934"/>
                  <a:pt x="802266" y="378856"/>
                  <a:pt x="802266" y="352855"/>
                </a:cubicBezTo>
                <a:cubicBezTo>
                  <a:pt x="802266" y="326853"/>
                  <a:pt x="781188" y="305775"/>
                  <a:pt x="755186" y="305775"/>
                </a:cubicBezTo>
                <a:close/>
                <a:moveTo>
                  <a:pt x="47080" y="152887"/>
                </a:moveTo>
                <a:cubicBezTo>
                  <a:pt x="21078" y="152887"/>
                  <a:pt x="0" y="173966"/>
                  <a:pt x="0" y="199967"/>
                </a:cubicBezTo>
                <a:cubicBezTo>
                  <a:pt x="0" y="225969"/>
                  <a:pt x="21078" y="247047"/>
                  <a:pt x="47080" y="247047"/>
                </a:cubicBezTo>
                <a:cubicBezTo>
                  <a:pt x="73081" y="247047"/>
                  <a:pt x="94160" y="225969"/>
                  <a:pt x="94160" y="199967"/>
                </a:cubicBezTo>
                <a:cubicBezTo>
                  <a:pt x="94160" y="173966"/>
                  <a:pt x="73081" y="152887"/>
                  <a:pt x="47080" y="152887"/>
                </a:cubicBezTo>
                <a:close/>
                <a:moveTo>
                  <a:pt x="224106" y="152887"/>
                </a:moveTo>
                <a:cubicBezTo>
                  <a:pt x="198105" y="152887"/>
                  <a:pt x="177027" y="173966"/>
                  <a:pt x="177027" y="199967"/>
                </a:cubicBezTo>
                <a:cubicBezTo>
                  <a:pt x="177027" y="225969"/>
                  <a:pt x="198105" y="247047"/>
                  <a:pt x="224106" y="247047"/>
                </a:cubicBezTo>
                <a:cubicBezTo>
                  <a:pt x="250108" y="247047"/>
                  <a:pt x="271186" y="225969"/>
                  <a:pt x="271186" y="199967"/>
                </a:cubicBezTo>
                <a:cubicBezTo>
                  <a:pt x="271186" y="173966"/>
                  <a:pt x="250108" y="152887"/>
                  <a:pt x="224106" y="152887"/>
                </a:cubicBezTo>
                <a:close/>
                <a:moveTo>
                  <a:pt x="401133" y="152887"/>
                </a:moveTo>
                <a:cubicBezTo>
                  <a:pt x="375132" y="152887"/>
                  <a:pt x="354053" y="173966"/>
                  <a:pt x="354053" y="199967"/>
                </a:cubicBezTo>
                <a:cubicBezTo>
                  <a:pt x="354053" y="225969"/>
                  <a:pt x="375132" y="247047"/>
                  <a:pt x="401133" y="247047"/>
                </a:cubicBezTo>
                <a:cubicBezTo>
                  <a:pt x="427134" y="247047"/>
                  <a:pt x="448213" y="225969"/>
                  <a:pt x="448213" y="199967"/>
                </a:cubicBezTo>
                <a:cubicBezTo>
                  <a:pt x="448213" y="173966"/>
                  <a:pt x="427134" y="152887"/>
                  <a:pt x="401133" y="152887"/>
                </a:cubicBezTo>
                <a:close/>
                <a:moveTo>
                  <a:pt x="578160" y="152887"/>
                </a:moveTo>
                <a:cubicBezTo>
                  <a:pt x="552158" y="152887"/>
                  <a:pt x="531080" y="173966"/>
                  <a:pt x="531080" y="199967"/>
                </a:cubicBezTo>
                <a:cubicBezTo>
                  <a:pt x="531080" y="225969"/>
                  <a:pt x="552158" y="247047"/>
                  <a:pt x="578160" y="247047"/>
                </a:cubicBezTo>
                <a:cubicBezTo>
                  <a:pt x="604161" y="247047"/>
                  <a:pt x="625239" y="225969"/>
                  <a:pt x="625239" y="199967"/>
                </a:cubicBezTo>
                <a:cubicBezTo>
                  <a:pt x="625239" y="173966"/>
                  <a:pt x="604161" y="152887"/>
                  <a:pt x="578160" y="152887"/>
                </a:cubicBezTo>
                <a:close/>
                <a:moveTo>
                  <a:pt x="755186" y="152887"/>
                </a:moveTo>
                <a:cubicBezTo>
                  <a:pt x="729185" y="152887"/>
                  <a:pt x="708106" y="173966"/>
                  <a:pt x="708106" y="199967"/>
                </a:cubicBezTo>
                <a:cubicBezTo>
                  <a:pt x="708106" y="225969"/>
                  <a:pt x="729185" y="247047"/>
                  <a:pt x="755186" y="247047"/>
                </a:cubicBezTo>
                <a:cubicBezTo>
                  <a:pt x="781188" y="247047"/>
                  <a:pt x="802266" y="225969"/>
                  <a:pt x="802266" y="199967"/>
                </a:cubicBezTo>
                <a:cubicBezTo>
                  <a:pt x="802266" y="173966"/>
                  <a:pt x="781188" y="152887"/>
                  <a:pt x="755186" y="152887"/>
                </a:cubicBezTo>
                <a:close/>
                <a:moveTo>
                  <a:pt x="47080" y="0"/>
                </a:moveTo>
                <a:cubicBezTo>
                  <a:pt x="21078" y="0"/>
                  <a:pt x="0" y="21078"/>
                  <a:pt x="0" y="47080"/>
                </a:cubicBezTo>
                <a:cubicBezTo>
                  <a:pt x="0" y="73081"/>
                  <a:pt x="21078" y="94160"/>
                  <a:pt x="47080" y="94160"/>
                </a:cubicBezTo>
                <a:cubicBezTo>
                  <a:pt x="73081" y="94160"/>
                  <a:pt x="94160" y="73081"/>
                  <a:pt x="94160" y="47080"/>
                </a:cubicBezTo>
                <a:cubicBezTo>
                  <a:pt x="94160" y="21078"/>
                  <a:pt x="73081" y="0"/>
                  <a:pt x="47080" y="0"/>
                </a:cubicBezTo>
                <a:close/>
                <a:moveTo>
                  <a:pt x="224106" y="0"/>
                </a:moveTo>
                <a:cubicBezTo>
                  <a:pt x="198105" y="0"/>
                  <a:pt x="177027" y="21078"/>
                  <a:pt x="177027" y="47080"/>
                </a:cubicBezTo>
                <a:cubicBezTo>
                  <a:pt x="177027" y="73081"/>
                  <a:pt x="198105" y="94160"/>
                  <a:pt x="224106" y="94160"/>
                </a:cubicBezTo>
                <a:cubicBezTo>
                  <a:pt x="250108" y="94160"/>
                  <a:pt x="271186" y="73081"/>
                  <a:pt x="271186" y="47080"/>
                </a:cubicBezTo>
                <a:cubicBezTo>
                  <a:pt x="271186" y="21078"/>
                  <a:pt x="250108" y="0"/>
                  <a:pt x="224106" y="0"/>
                </a:cubicBezTo>
                <a:close/>
                <a:moveTo>
                  <a:pt x="401133" y="0"/>
                </a:moveTo>
                <a:cubicBezTo>
                  <a:pt x="375132" y="0"/>
                  <a:pt x="354053" y="21078"/>
                  <a:pt x="354053" y="47080"/>
                </a:cubicBezTo>
                <a:cubicBezTo>
                  <a:pt x="354053" y="73081"/>
                  <a:pt x="375132" y="94160"/>
                  <a:pt x="401133" y="94160"/>
                </a:cubicBezTo>
                <a:cubicBezTo>
                  <a:pt x="427134" y="94160"/>
                  <a:pt x="448213" y="73081"/>
                  <a:pt x="448213" y="47080"/>
                </a:cubicBezTo>
                <a:cubicBezTo>
                  <a:pt x="448213" y="21078"/>
                  <a:pt x="427134" y="0"/>
                  <a:pt x="401133" y="0"/>
                </a:cubicBezTo>
                <a:close/>
                <a:moveTo>
                  <a:pt x="578160" y="0"/>
                </a:moveTo>
                <a:cubicBezTo>
                  <a:pt x="552158" y="0"/>
                  <a:pt x="531080" y="21078"/>
                  <a:pt x="531080" y="47080"/>
                </a:cubicBezTo>
                <a:cubicBezTo>
                  <a:pt x="531080" y="73081"/>
                  <a:pt x="552158" y="94160"/>
                  <a:pt x="578160" y="94160"/>
                </a:cubicBezTo>
                <a:cubicBezTo>
                  <a:pt x="604161" y="94160"/>
                  <a:pt x="625239" y="73081"/>
                  <a:pt x="625239" y="47080"/>
                </a:cubicBezTo>
                <a:cubicBezTo>
                  <a:pt x="625239" y="21078"/>
                  <a:pt x="604161" y="0"/>
                  <a:pt x="578160" y="0"/>
                </a:cubicBezTo>
                <a:close/>
                <a:moveTo>
                  <a:pt x="755186" y="0"/>
                </a:moveTo>
                <a:cubicBezTo>
                  <a:pt x="729185" y="0"/>
                  <a:pt x="708106" y="21078"/>
                  <a:pt x="708106" y="47080"/>
                </a:cubicBezTo>
                <a:cubicBezTo>
                  <a:pt x="708106" y="73081"/>
                  <a:pt x="729185" y="94160"/>
                  <a:pt x="755186" y="94160"/>
                </a:cubicBezTo>
                <a:cubicBezTo>
                  <a:pt x="781188" y="94160"/>
                  <a:pt x="802266" y="73081"/>
                  <a:pt x="802266" y="47080"/>
                </a:cubicBezTo>
                <a:cubicBezTo>
                  <a:pt x="802266" y="21078"/>
                  <a:pt x="781188" y="0"/>
                  <a:pt x="755186" y="0"/>
                </a:cubicBezTo>
                <a:close/>
              </a:path>
            </a:pathLst>
          </a:custGeom>
          <a:gradFill>
            <a:gsLst>
              <a:gs pos="0">
                <a:schemeClr val="accent1">
                  <a:alpha val="0"/>
                </a:schemeClr>
              </a:gs>
              <a:gs pos="100000">
                <a:schemeClr val="accent1"/>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3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OPPOSans B"/>
              <a:ea typeface="OPPOSans B"/>
              <a:cs typeface="+mn-cs"/>
            </a:endParaRPr>
          </a:p>
        </p:txBody>
      </p:sp>
      <p:sp>
        <p:nvSpPr>
          <p:cNvPr id="11" name="矩形: 圆角 10">
            <a:extLst>
              <a:ext uri="{FF2B5EF4-FFF2-40B4-BE49-F238E27FC236}">
                <a16:creationId xmlns:a16="http://schemas.microsoft.com/office/drawing/2014/main" id="{56BB4F91-E9CE-46C0-92C9-D1823E6B2EF1}"/>
              </a:ext>
            </a:extLst>
          </p:cNvPr>
          <p:cNvSpPr/>
          <p:nvPr/>
        </p:nvSpPr>
        <p:spPr>
          <a:xfrm>
            <a:off x="669925" y="3324230"/>
            <a:ext cx="1973389" cy="2714755"/>
          </a:xfrm>
          <a:prstGeom prst="roundRect">
            <a:avLst>
              <a:gd name="adj" fmla="val 4000"/>
            </a:avLst>
          </a:prstGeom>
          <a:solidFill>
            <a:schemeClr val="bg1"/>
          </a:solidFill>
          <a:ln>
            <a:noFill/>
          </a:ln>
          <a:effectLst>
            <a:outerShdw blurRad="254000" sx="102000" sy="102000" algn="ctr" rotWithShape="0">
              <a:schemeClr val="tx2">
                <a:lumMod val="75000"/>
                <a:alpha val="16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600" b="0" i="0" u="none" strike="noStrike" kern="1200" cap="none" spc="0" normalizeH="0" baseline="0" noProof="0">
              <a:ln>
                <a:noFill/>
              </a:ln>
              <a:solidFill>
                <a:srgbClr val="000000">
                  <a:lumMod val="75000"/>
                  <a:lumOff val="25000"/>
                </a:srgbClr>
              </a:solidFill>
              <a:effectLst/>
              <a:uLnTx/>
              <a:uFillTx/>
              <a:latin typeface="OPPOSans B"/>
              <a:ea typeface="OPPOSans B"/>
              <a:cs typeface="+mn-cs"/>
            </a:endParaRPr>
          </a:p>
        </p:txBody>
      </p:sp>
      <p:sp>
        <p:nvSpPr>
          <p:cNvPr id="12" name="矩形: 圆角 11">
            <a:extLst>
              <a:ext uri="{FF2B5EF4-FFF2-40B4-BE49-F238E27FC236}">
                <a16:creationId xmlns:a16="http://schemas.microsoft.com/office/drawing/2014/main" id="{00CD46E2-EAF7-4E02-85F7-EBF56A0BFC70}"/>
              </a:ext>
            </a:extLst>
          </p:cNvPr>
          <p:cNvSpPr/>
          <p:nvPr/>
        </p:nvSpPr>
        <p:spPr>
          <a:xfrm>
            <a:off x="5086766" y="1592616"/>
            <a:ext cx="1973389" cy="640305"/>
          </a:xfrm>
          <a:prstGeom prst="roundRect">
            <a:avLst>
              <a:gd name="adj" fmla="val 50000"/>
            </a:avLst>
          </a:prstGeom>
          <a:solidFill>
            <a:schemeClr val="accent1"/>
          </a:solidFill>
          <a:ln>
            <a:noFill/>
          </a:ln>
          <a:effectLst>
            <a:outerShdw blurRad="127000" sx="102000" sy="102000" algn="ctr" rotWithShape="0">
              <a:schemeClr val="accent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2000" b="1" i="0" u="none" strike="noStrike" kern="1200" cap="none" spc="0" normalizeH="0" baseline="0" noProof="0" dirty="0">
                <a:ln>
                  <a:noFill/>
                </a:ln>
                <a:solidFill>
                  <a:srgbClr val="FFFFFF"/>
                </a:solidFill>
                <a:effectLst/>
                <a:uLnTx/>
                <a:uFillTx/>
                <a:latin typeface="OPPOSans B"/>
                <a:ea typeface="OPPOSans B"/>
                <a:cs typeface="+mn-cs"/>
              </a:rPr>
              <a:t>秋叶</a:t>
            </a:r>
            <a:r>
              <a:rPr kumimoji="0" lang="en-US" altLang="zh-CN" sz="2000" b="1" i="0" u="none" strike="noStrike" kern="1200" cap="none" spc="0" normalizeH="0" baseline="0" noProof="0" dirty="0">
                <a:ln>
                  <a:noFill/>
                </a:ln>
                <a:solidFill>
                  <a:srgbClr val="FFFFFF"/>
                </a:solidFill>
                <a:effectLst/>
                <a:uLnTx/>
                <a:uFillTx/>
                <a:latin typeface="OPPOSans B"/>
                <a:ea typeface="OPPOSans B"/>
                <a:cs typeface="+mn-cs"/>
              </a:rPr>
              <a:t>PPT</a:t>
            </a:r>
          </a:p>
        </p:txBody>
      </p:sp>
      <p:sp>
        <p:nvSpPr>
          <p:cNvPr id="26" name="矩形: 圆角 25">
            <a:extLst>
              <a:ext uri="{FF2B5EF4-FFF2-40B4-BE49-F238E27FC236}">
                <a16:creationId xmlns:a16="http://schemas.microsoft.com/office/drawing/2014/main" id="{7D9D217C-8C2C-4F73-8E02-476BC819D309}"/>
              </a:ext>
            </a:extLst>
          </p:cNvPr>
          <p:cNvSpPr/>
          <p:nvPr/>
        </p:nvSpPr>
        <p:spPr>
          <a:xfrm>
            <a:off x="2877162" y="3324230"/>
            <a:ext cx="1973389" cy="2714755"/>
          </a:xfrm>
          <a:prstGeom prst="roundRect">
            <a:avLst>
              <a:gd name="adj" fmla="val 4000"/>
            </a:avLst>
          </a:prstGeom>
          <a:solidFill>
            <a:schemeClr val="bg1"/>
          </a:solidFill>
          <a:ln>
            <a:noFill/>
          </a:ln>
          <a:effectLst>
            <a:outerShdw blurRad="254000" sx="102000" sy="102000" algn="ctr" rotWithShape="0">
              <a:schemeClr val="tx2">
                <a:lumMod val="75000"/>
                <a:alpha val="16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600" b="0" i="0" u="none" strike="noStrike" kern="1200" cap="none" spc="0" normalizeH="0" baseline="0" noProof="0">
              <a:ln>
                <a:noFill/>
              </a:ln>
              <a:solidFill>
                <a:srgbClr val="000000">
                  <a:lumMod val="75000"/>
                  <a:lumOff val="25000"/>
                </a:srgbClr>
              </a:solidFill>
              <a:effectLst/>
              <a:uLnTx/>
              <a:uFillTx/>
              <a:latin typeface="OPPOSans B"/>
              <a:ea typeface="OPPOSans B"/>
              <a:cs typeface="+mn-cs"/>
            </a:endParaRPr>
          </a:p>
        </p:txBody>
      </p:sp>
      <p:sp>
        <p:nvSpPr>
          <p:cNvPr id="29" name="矩形: 圆角 28">
            <a:extLst>
              <a:ext uri="{FF2B5EF4-FFF2-40B4-BE49-F238E27FC236}">
                <a16:creationId xmlns:a16="http://schemas.microsoft.com/office/drawing/2014/main" id="{D1956A4C-6372-45C2-A050-3646B84BC375}"/>
              </a:ext>
            </a:extLst>
          </p:cNvPr>
          <p:cNvSpPr/>
          <p:nvPr/>
        </p:nvSpPr>
        <p:spPr>
          <a:xfrm>
            <a:off x="5089720" y="3324230"/>
            <a:ext cx="1973389" cy="2714755"/>
          </a:xfrm>
          <a:prstGeom prst="roundRect">
            <a:avLst>
              <a:gd name="adj" fmla="val 4000"/>
            </a:avLst>
          </a:prstGeom>
          <a:solidFill>
            <a:schemeClr val="bg1"/>
          </a:solidFill>
          <a:ln>
            <a:noFill/>
          </a:ln>
          <a:effectLst>
            <a:outerShdw blurRad="254000" sx="102000" sy="102000" algn="ctr" rotWithShape="0">
              <a:schemeClr val="tx2">
                <a:lumMod val="75000"/>
                <a:alpha val="16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600" b="0" i="0" u="none" strike="noStrike" kern="1200" cap="none" spc="0" normalizeH="0" baseline="0" noProof="0">
              <a:ln>
                <a:noFill/>
              </a:ln>
              <a:solidFill>
                <a:srgbClr val="000000">
                  <a:lumMod val="75000"/>
                  <a:lumOff val="25000"/>
                </a:srgbClr>
              </a:solidFill>
              <a:effectLst/>
              <a:uLnTx/>
              <a:uFillTx/>
              <a:latin typeface="OPPOSans B"/>
              <a:ea typeface="OPPOSans B"/>
              <a:cs typeface="+mn-cs"/>
            </a:endParaRPr>
          </a:p>
        </p:txBody>
      </p:sp>
      <p:sp>
        <p:nvSpPr>
          <p:cNvPr id="32" name="矩形: 圆角 31">
            <a:extLst>
              <a:ext uri="{FF2B5EF4-FFF2-40B4-BE49-F238E27FC236}">
                <a16:creationId xmlns:a16="http://schemas.microsoft.com/office/drawing/2014/main" id="{6E7F73AC-6401-4444-A820-CDC3089CADDA}"/>
              </a:ext>
            </a:extLst>
          </p:cNvPr>
          <p:cNvSpPr/>
          <p:nvPr/>
        </p:nvSpPr>
        <p:spPr>
          <a:xfrm>
            <a:off x="7295186" y="3324230"/>
            <a:ext cx="1973389" cy="2714755"/>
          </a:xfrm>
          <a:prstGeom prst="roundRect">
            <a:avLst>
              <a:gd name="adj" fmla="val 4000"/>
            </a:avLst>
          </a:prstGeom>
          <a:gradFill>
            <a:gsLst>
              <a:gs pos="0">
                <a:schemeClr val="accent1">
                  <a:lumMod val="60000"/>
                  <a:lumOff val="40000"/>
                </a:schemeClr>
              </a:gs>
              <a:gs pos="100000">
                <a:schemeClr val="accent1">
                  <a:lumMod val="20000"/>
                  <a:lumOff val="80000"/>
                </a:schemeClr>
              </a:gs>
            </a:gsLst>
            <a:lin ang="5400000" scaled="0"/>
          </a:gradFill>
          <a:ln>
            <a:noFill/>
          </a:ln>
          <a:effectLst>
            <a:outerShdw blurRad="254000" sx="102000" sy="102000" algn="ctr" rotWithShape="0">
              <a:schemeClr val="accent1">
                <a:lumMod val="75000"/>
                <a:alpha val="16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600" b="0" i="0" u="none" strike="noStrike" kern="1200" cap="none" spc="0" normalizeH="0" baseline="0" noProof="0">
              <a:ln>
                <a:noFill/>
              </a:ln>
              <a:solidFill>
                <a:srgbClr val="000000">
                  <a:lumMod val="75000"/>
                  <a:lumOff val="25000"/>
                </a:srgbClr>
              </a:solidFill>
              <a:effectLst/>
              <a:uLnTx/>
              <a:uFillTx/>
              <a:latin typeface="OPPOSans B"/>
              <a:ea typeface="OPPOSans B"/>
              <a:cs typeface="+mn-cs"/>
            </a:endParaRPr>
          </a:p>
        </p:txBody>
      </p:sp>
      <p:sp>
        <p:nvSpPr>
          <p:cNvPr id="35" name="矩形: 圆角 34">
            <a:extLst>
              <a:ext uri="{FF2B5EF4-FFF2-40B4-BE49-F238E27FC236}">
                <a16:creationId xmlns:a16="http://schemas.microsoft.com/office/drawing/2014/main" id="{0F7085DC-2F58-476C-AE61-641707CD357F}"/>
              </a:ext>
            </a:extLst>
          </p:cNvPr>
          <p:cNvSpPr/>
          <p:nvPr/>
        </p:nvSpPr>
        <p:spPr>
          <a:xfrm>
            <a:off x="9503606" y="3324230"/>
            <a:ext cx="1973389" cy="2714755"/>
          </a:xfrm>
          <a:prstGeom prst="roundRect">
            <a:avLst>
              <a:gd name="adj" fmla="val 4000"/>
            </a:avLst>
          </a:prstGeom>
          <a:solidFill>
            <a:schemeClr val="bg1"/>
          </a:solidFill>
          <a:ln>
            <a:noFill/>
          </a:ln>
          <a:effectLst>
            <a:outerShdw blurRad="254000" sx="102000" sy="102000" algn="ctr" rotWithShape="0">
              <a:schemeClr val="tx2">
                <a:lumMod val="75000"/>
                <a:alpha val="16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600" b="0" i="0" u="none" strike="noStrike" kern="1200" cap="none" spc="0" normalizeH="0" baseline="0" noProof="0">
              <a:ln>
                <a:noFill/>
              </a:ln>
              <a:solidFill>
                <a:srgbClr val="000000">
                  <a:lumMod val="75000"/>
                  <a:lumOff val="25000"/>
                </a:srgbClr>
              </a:solidFill>
              <a:effectLst/>
              <a:uLnTx/>
              <a:uFillTx/>
              <a:latin typeface="OPPOSans B"/>
              <a:ea typeface="OPPOSans B"/>
              <a:cs typeface="+mn-cs"/>
            </a:endParaRPr>
          </a:p>
        </p:txBody>
      </p:sp>
      <p:sp>
        <p:nvSpPr>
          <p:cNvPr id="38" name="矩形: 圆角 37">
            <a:extLst>
              <a:ext uri="{FF2B5EF4-FFF2-40B4-BE49-F238E27FC236}">
                <a16:creationId xmlns:a16="http://schemas.microsoft.com/office/drawing/2014/main" id="{07372970-4636-4E0C-BDEA-DA54D8598684}"/>
              </a:ext>
            </a:extLst>
          </p:cNvPr>
          <p:cNvSpPr/>
          <p:nvPr/>
        </p:nvSpPr>
        <p:spPr>
          <a:xfrm>
            <a:off x="894351" y="3957003"/>
            <a:ext cx="1524536" cy="475832"/>
          </a:xfrm>
          <a:prstGeom prst="roundRect">
            <a:avLst>
              <a:gd name="adj" fmla="val 50000"/>
            </a:avLst>
          </a:prstGeom>
          <a:solidFill>
            <a:schemeClr val="bg1">
              <a:lumMod val="95000"/>
            </a:schemeClr>
          </a:solidFill>
        </p:spPr>
        <p:style>
          <a:lnRef idx="2">
            <a:schemeClr val="lt1">
              <a:hueOff val="0"/>
              <a:satOff val="0"/>
              <a:lumOff val="0"/>
              <a:alphaOff val="0"/>
            </a:schemeClr>
          </a:lnRef>
          <a:fillRef idx="1">
            <a:schemeClr val="accent1">
              <a:tint val="80000"/>
              <a:hueOff val="0"/>
              <a:satOff val="0"/>
              <a:lumOff val="0"/>
              <a:alphaOff val="0"/>
            </a:schemeClr>
          </a:fillRef>
          <a:effectRef idx="0">
            <a:schemeClr val="accent1">
              <a:tint val="80000"/>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marL="0" marR="0" lvl="0" indent="0" algn="ctr" defTabSz="1066800" rtl="0" eaLnBrk="1" fontAlgn="auto" latinLnBrk="0" hangingPunct="1">
              <a:lnSpc>
                <a:spcPct val="100000"/>
              </a:lnSpc>
              <a:spcBef>
                <a:spcPct val="0"/>
              </a:spcBef>
              <a:spcAft>
                <a:spcPts val="0"/>
              </a:spcAft>
              <a:buClrTx/>
              <a:buSzTx/>
              <a:buFontTx/>
              <a:buNone/>
              <a:tabLst/>
              <a:defRPr/>
            </a:pPr>
            <a:r>
              <a:rPr kumimoji="0" lang="zh-CN" altLang="en-US" sz="1600" b="0" i="0" u="none" strike="noStrike" kern="1200" cap="none" spc="0" normalizeH="0" baseline="0" noProof="0" dirty="0">
                <a:ln>
                  <a:noFill/>
                </a:ln>
                <a:solidFill>
                  <a:srgbClr val="000000">
                    <a:lumMod val="75000"/>
                    <a:lumOff val="25000"/>
                  </a:srgbClr>
                </a:solidFill>
                <a:effectLst/>
                <a:uLnTx/>
                <a:uFillTx/>
                <a:latin typeface="OPPOSans R"/>
                <a:ea typeface="OPPOSans R"/>
                <a:cs typeface="+mn-cs"/>
              </a:rPr>
              <a:t>更快</a:t>
            </a:r>
          </a:p>
        </p:txBody>
      </p:sp>
      <p:sp>
        <p:nvSpPr>
          <p:cNvPr id="39" name="矩形: 圆角 38">
            <a:extLst>
              <a:ext uri="{FF2B5EF4-FFF2-40B4-BE49-F238E27FC236}">
                <a16:creationId xmlns:a16="http://schemas.microsoft.com/office/drawing/2014/main" id="{A00062E6-6DA3-4FB8-BB82-192CE5A26447}"/>
              </a:ext>
            </a:extLst>
          </p:cNvPr>
          <p:cNvSpPr/>
          <p:nvPr/>
        </p:nvSpPr>
        <p:spPr>
          <a:xfrm>
            <a:off x="894351" y="4609714"/>
            <a:ext cx="1524536" cy="475832"/>
          </a:xfrm>
          <a:prstGeom prst="roundRect">
            <a:avLst>
              <a:gd name="adj" fmla="val 50000"/>
            </a:avLst>
          </a:prstGeom>
          <a:solidFill>
            <a:schemeClr val="bg1">
              <a:lumMod val="95000"/>
            </a:schemeClr>
          </a:solidFill>
        </p:spPr>
        <p:style>
          <a:lnRef idx="2">
            <a:schemeClr val="lt1">
              <a:hueOff val="0"/>
              <a:satOff val="0"/>
              <a:lumOff val="0"/>
              <a:alphaOff val="0"/>
            </a:schemeClr>
          </a:lnRef>
          <a:fillRef idx="1">
            <a:schemeClr val="accent1">
              <a:tint val="80000"/>
              <a:hueOff val="0"/>
              <a:satOff val="0"/>
              <a:lumOff val="0"/>
              <a:alphaOff val="0"/>
            </a:schemeClr>
          </a:fillRef>
          <a:effectRef idx="0">
            <a:schemeClr val="accent1">
              <a:tint val="80000"/>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marL="0" marR="0" lvl="0" indent="0" algn="ctr" defTabSz="1066800" rtl="0" eaLnBrk="1" fontAlgn="auto" latinLnBrk="0" hangingPunct="1">
              <a:lnSpc>
                <a:spcPct val="100000"/>
              </a:lnSpc>
              <a:spcBef>
                <a:spcPct val="0"/>
              </a:spcBef>
              <a:spcAft>
                <a:spcPts val="0"/>
              </a:spcAft>
              <a:buClrTx/>
              <a:buSzTx/>
              <a:buFontTx/>
              <a:buNone/>
              <a:tabLst/>
              <a:defRPr/>
            </a:pPr>
            <a:r>
              <a:rPr kumimoji="0" lang="zh-CN" altLang="en-US" sz="1600" b="0" i="0" u="none" strike="noStrike" kern="1200" cap="none" spc="0" normalizeH="0" baseline="0" noProof="0" dirty="0">
                <a:ln>
                  <a:noFill/>
                </a:ln>
                <a:solidFill>
                  <a:srgbClr val="000000">
                    <a:lumMod val="75000"/>
                    <a:lumOff val="25000"/>
                  </a:srgbClr>
                </a:solidFill>
                <a:effectLst/>
                <a:uLnTx/>
                <a:uFillTx/>
                <a:latin typeface="OPPOSans R"/>
                <a:ea typeface="OPPOSans R"/>
                <a:cs typeface="+mn-cs"/>
              </a:rPr>
              <a:t>更好</a:t>
            </a:r>
          </a:p>
        </p:txBody>
      </p:sp>
      <p:cxnSp>
        <p:nvCxnSpPr>
          <p:cNvPr id="52" name="直接连接符 51">
            <a:extLst>
              <a:ext uri="{FF2B5EF4-FFF2-40B4-BE49-F238E27FC236}">
                <a16:creationId xmlns:a16="http://schemas.microsoft.com/office/drawing/2014/main" id="{F1A4F0BF-5060-4DF2-9F55-70241AFDD12C}"/>
              </a:ext>
            </a:extLst>
          </p:cNvPr>
          <p:cNvCxnSpPr>
            <a:stCxn id="12" idx="2"/>
            <a:endCxn id="15" idx="0"/>
          </p:cNvCxnSpPr>
          <p:nvPr/>
        </p:nvCxnSpPr>
        <p:spPr>
          <a:xfrm>
            <a:off x="6073461" y="2232921"/>
            <a:ext cx="2954" cy="762593"/>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53" name="矩形: 圆角 52">
            <a:extLst>
              <a:ext uri="{FF2B5EF4-FFF2-40B4-BE49-F238E27FC236}">
                <a16:creationId xmlns:a16="http://schemas.microsoft.com/office/drawing/2014/main" id="{4F851193-CB8E-4079-A5BE-0C3FD8994A3E}"/>
              </a:ext>
            </a:extLst>
          </p:cNvPr>
          <p:cNvSpPr/>
          <p:nvPr/>
        </p:nvSpPr>
        <p:spPr>
          <a:xfrm>
            <a:off x="894351" y="5262424"/>
            <a:ext cx="1524536" cy="475832"/>
          </a:xfrm>
          <a:prstGeom prst="roundRect">
            <a:avLst>
              <a:gd name="adj" fmla="val 50000"/>
            </a:avLst>
          </a:prstGeom>
          <a:solidFill>
            <a:schemeClr val="bg1">
              <a:lumMod val="95000"/>
            </a:schemeClr>
          </a:solidFill>
        </p:spPr>
        <p:style>
          <a:lnRef idx="2">
            <a:schemeClr val="lt1">
              <a:hueOff val="0"/>
              <a:satOff val="0"/>
              <a:lumOff val="0"/>
              <a:alphaOff val="0"/>
            </a:schemeClr>
          </a:lnRef>
          <a:fillRef idx="1">
            <a:schemeClr val="accent1">
              <a:tint val="80000"/>
              <a:hueOff val="0"/>
              <a:satOff val="0"/>
              <a:lumOff val="0"/>
              <a:alphaOff val="0"/>
            </a:schemeClr>
          </a:fillRef>
          <a:effectRef idx="0">
            <a:schemeClr val="accent1">
              <a:tint val="80000"/>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marL="0" marR="0" lvl="0" indent="0" algn="ctr" defTabSz="1066800" rtl="0" eaLnBrk="1" fontAlgn="auto" latinLnBrk="0" hangingPunct="1">
              <a:lnSpc>
                <a:spcPct val="100000"/>
              </a:lnSpc>
              <a:spcBef>
                <a:spcPct val="0"/>
              </a:spcBef>
              <a:spcAft>
                <a:spcPts val="0"/>
              </a:spcAft>
              <a:buClrTx/>
              <a:buSzTx/>
              <a:buFontTx/>
              <a:buNone/>
              <a:tabLst/>
              <a:defRPr/>
            </a:pPr>
            <a:r>
              <a:rPr kumimoji="0" lang="zh-CN" altLang="en-US" sz="1600" b="0" i="0" u="none" strike="noStrike" kern="1200" cap="none" spc="0" normalizeH="0" baseline="0" noProof="0" dirty="0">
                <a:ln>
                  <a:noFill/>
                </a:ln>
                <a:solidFill>
                  <a:srgbClr val="000000">
                    <a:lumMod val="75000"/>
                    <a:lumOff val="25000"/>
                  </a:srgbClr>
                </a:solidFill>
                <a:effectLst/>
                <a:uLnTx/>
                <a:uFillTx/>
                <a:latin typeface="OPPOSans R"/>
                <a:ea typeface="OPPOSans R"/>
                <a:cs typeface="+mn-cs"/>
              </a:rPr>
              <a:t>更轻松</a:t>
            </a:r>
          </a:p>
        </p:txBody>
      </p:sp>
      <p:sp>
        <p:nvSpPr>
          <p:cNvPr id="13" name="矩形: 圆角 12">
            <a:extLst>
              <a:ext uri="{FF2B5EF4-FFF2-40B4-BE49-F238E27FC236}">
                <a16:creationId xmlns:a16="http://schemas.microsoft.com/office/drawing/2014/main" id="{C957B460-D3E0-43F0-BC3A-E42A9589A42E}"/>
              </a:ext>
            </a:extLst>
          </p:cNvPr>
          <p:cNvSpPr/>
          <p:nvPr/>
        </p:nvSpPr>
        <p:spPr>
          <a:xfrm>
            <a:off x="669925" y="2989164"/>
            <a:ext cx="1973389" cy="640305"/>
          </a:xfrm>
          <a:prstGeom prst="roundRect">
            <a:avLst>
              <a:gd name="adj" fmla="val 50000"/>
            </a:avLst>
          </a:prstGeom>
          <a:solidFill>
            <a:schemeClr val="accent2"/>
          </a:solidFill>
          <a:ln>
            <a:noFill/>
          </a:ln>
          <a:effectLst>
            <a:outerShdw blurRad="127000" sx="102000" sy="102000" algn="ctr" rotWithShape="0">
              <a:schemeClr val="accent2">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600" b="0" i="0" u="none" strike="noStrike" kern="1200" cap="none" spc="0" normalizeH="0" baseline="0" noProof="0" dirty="0">
                <a:ln>
                  <a:noFill/>
                </a:ln>
                <a:solidFill>
                  <a:srgbClr val="FFFFFF"/>
                </a:solidFill>
                <a:effectLst/>
                <a:uLnTx/>
                <a:uFillTx/>
                <a:latin typeface="OPPOSans B"/>
                <a:ea typeface="OPPOSans B"/>
                <a:cs typeface="+mn-cs"/>
              </a:rPr>
              <a:t>秋叶</a:t>
            </a:r>
            <a:r>
              <a:rPr kumimoji="0" lang="en-US" altLang="zh-CN" sz="1600" b="0" i="0" u="none" strike="noStrike" kern="1200" cap="none" spc="0" normalizeH="0" baseline="0" noProof="0" dirty="0">
                <a:ln>
                  <a:noFill/>
                </a:ln>
                <a:solidFill>
                  <a:srgbClr val="FFFFFF"/>
                </a:solidFill>
                <a:effectLst/>
                <a:uLnTx/>
                <a:uFillTx/>
                <a:latin typeface="OPPOSans B"/>
                <a:ea typeface="OPPOSans B"/>
                <a:cs typeface="+mn-cs"/>
              </a:rPr>
              <a:t>PPT</a:t>
            </a:r>
          </a:p>
        </p:txBody>
      </p:sp>
      <p:sp>
        <p:nvSpPr>
          <p:cNvPr id="14" name="矩形: 圆角 13">
            <a:extLst>
              <a:ext uri="{FF2B5EF4-FFF2-40B4-BE49-F238E27FC236}">
                <a16:creationId xmlns:a16="http://schemas.microsoft.com/office/drawing/2014/main" id="{9F82D863-413E-4CF9-BBC6-A2FC4E32E4B2}"/>
              </a:ext>
            </a:extLst>
          </p:cNvPr>
          <p:cNvSpPr/>
          <p:nvPr/>
        </p:nvSpPr>
        <p:spPr>
          <a:xfrm>
            <a:off x="2877162" y="2989164"/>
            <a:ext cx="1973389" cy="640305"/>
          </a:xfrm>
          <a:prstGeom prst="roundRect">
            <a:avLst>
              <a:gd name="adj" fmla="val 50000"/>
            </a:avLst>
          </a:prstGeom>
          <a:solidFill>
            <a:schemeClr val="accent2"/>
          </a:solidFill>
          <a:ln>
            <a:noFill/>
          </a:ln>
          <a:effectLst>
            <a:outerShdw blurRad="127000" sx="102000" sy="102000" algn="ctr" rotWithShape="0">
              <a:schemeClr val="accent2">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600" b="0" i="0" u="none" strike="noStrike" kern="1200" cap="none" spc="0" normalizeH="0" baseline="0" noProof="0" dirty="0">
                <a:ln>
                  <a:noFill/>
                </a:ln>
                <a:solidFill>
                  <a:srgbClr val="FFFFFF"/>
                </a:solidFill>
                <a:effectLst/>
                <a:uLnTx/>
                <a:uFillTx/>
                <a:latin typeface="OPPOSans B"/>
                <a:ea typeface="OPPOSans B"/>
                <a:cs typeface="+mn-cs"/>
              </a:rPr>
              <a:t>秋叶</a:t>
            </a:r>
            <a:r>
              <a:rPr kumimoji="0" lang="en-US" altLang="zh-CN" sz="1600" b="0" i="0" u="none" strike="noStrike" kern="1200" cap="none" spc="0" normalizeH="0" baseline="0" noProof="0" dirty="0">
                <a:ln>
                  <a:noFill/>
                </a:ln>
                <a:solidFill>
                  <a:srgbClr val="FFFFFF"/>
                </a:solidFill>
                <a:effectLst/>
                <a:uLnTx/>
                <a:uFillTx/>
                <a:latin typeface="OPPOSans B"/>
                <a:ea typeface="OPPOSans B"/>
                <a:cs typeface="+mn-cs"/>
              </a:rPr>
              <a:t>PPT</a:t>
            </a:r>
          </a:p>
        </p:txBody>
      </p:sp>
      <p:sp>
        <p:nvSpPr>
          <p:cNvPr id="15" name="矩形: 圆角 14">
            <a:extLst>
              <a:ext uri="{FF2B5EF4-FFF2-40B4-BE49-F238E27FC236}">
                <a16:creationId xmlns:a16="http://schemas.microsoft.com/office/drawing/2014/main" id="{DBE443BB-24E4-4332-8A12-6E76E79B735F}"/>
              </a:ext>
            </a:extLst>
          </p:cNvPr>
          <p:cNvSpPr/>
          <p:nvPr/>
        </p:nvSpPr>
        <p:spPr>
          <a:xfrm>
            <a:off x="5089720" y="2995514"/>
            <a:ext cx="1973389" cy="640305"/>
          </a:xfrm>
          <a:prstGeom prst="roundRect">
            <a:avLst>
              <a:gd name="adj" fmla="val 50000"/>
            </a:avLst>
          </a:prstGeom>
          <a:solidFill>
            <a:schemeClr val="accent2"/>
          </a:solidFill>
          <a:ln>
            <a:noFill/>
          </a:ln>
          <a:effectLst>
            <a:outerShdw blurRad="127000" sx="102000" sy="102000" algn="ctr" rotWithShape="0">
              <a:schemeClr val="accent2">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600" b="0" i="0" u="none" strike="noStrike" kern="1200" cap="none" spc="0" normalizeH="0" baseline="0" noProof="0" dirty="0">
                <a:ln>
                  <a:noFill/>
                </a:ln>
                <a:solidFill>
                  <a:srgbClr val="FFFFFF"/>
                </a:solidFill>
                <a:effectLst/>
                <a:uLnTx/>
                <a:uFillTx/>
                <a:latin typeface="OPPOSans B"/>
                <a:ea typeface="OPPOSans B"/>
                <a:cs typeface="+mn-cs"/>
              </a:rPr>
              <a:t>秋叶</a:t>
            </a:r>
            <a:r>
              <a:rPr kumimoji="0" lang="en-US" altLang="zh-CN" sz="1600" b="0" i="0" u="none" strike="noStrike" kern="1200" cap="none" spc="0" normalizeH="0" baseline="0" noProof="0" dirty="0">
                <a:ln>
                  <a:noFill/>
                </a:ln>
                <a:solidFill>
                  <a:srgbClr val="FFFFFF"/>
                </a:solidFill>
                <a:effectLst/>
                <a:uLnTx/>
                <a:uFillTx/>
                <a:latin typeface="OPPOSans B"/>
                <a:ea typeface="OPPOSans B"/>
                <a:cs typeface="+mn-cs"/>
              </a:rPr>
              <a:t>PPT</a:t>
            </a:r>
          </a:p>
        </p:txBody>
      </p:sp>
      <p:sp>
        <p:nvSpPr>
          <p:cNvPr id="16" name="矩形: 圆角 15">
            <a:extLst>
              <a:ext uri="{FF2B5EF4-FFF2-40B4-BE49-F238E27FC236}">
                <a16:creationId xmlns:a16="http://schemas.microsoft.com/office/drawing/2014/main" id="{4102A780-2D68-48E9-8808-6A927906CBE1}"/>
              </a:ext>
            </a:extLst>
          </p:cNvPr>
          <p:cNvSpPr/>
          <p:nvPr/>
        </p:nvSpPr>
        <p:spPr>
          <a:xfrm>
            <a:off x="7295186" y="2989164"/>
            <a:ext cx="1973389" cy="640305"/>
          </a:xfrm>
          <a:prstGeom prst="roundRect">
            <a:avLst>
              <a:gd name="adj" fmla="val 50000"/>
            </a:avLst>
          </a:prstGeom>
          <a:solidFill>
            <a:schemeClr val="accent1"/>
          </a:solidFill>
          <a:ln>
            <a:noFill/>
          </a:ln>
          <a:effectLst>
            <a:outerShdw blurRad="127000" sx="102000" sy="102000" algn="ctr" rotWithShape="0">
              <a:schemeClr val="accent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600" b="0" i="0" u="none" strike="noStrike" kern="1200" cap="none" spc="0" normalizeH="0" baseline="0" noProof="0" dirty="0">
                <a:ln>
                  <a:noFill/>
                </a:ln>
                <a:solidFill>
                  <a:srgbClr val="FFFFFF"/>
                </a:solidFill>
                <a:effectLst/>
                <a:uLnTx/>
                <a:uFillTx/>
                <a:latin typeface="OPPOSans B"/>
                <a:ea typeface="OPPOSans B"/>
                <a:cs typeface="+mn-cs"/>
              </a:rPr>
              <a:t>秋叶</a:t>
            </a:r>
            <a:r>
              <a:rPr kumimoji="0" lang="en-US" altLang="zh-CN" sz="1600" b="0" i="0" u="none" strike="noStrike" kern="1200" cap="none" spc="0" normalizeH="0" baseline="0" noProof="0" dirty="0">
                <a:ln>
                  <a:noFill/>
                </a:ln>
                <a:solidFill>
                  <a:srgbClr val="FFFFFF"/>
                </a:solidFill>
                <a:effectLst/>
                <a:uLnTx/>
                <a:uFillTx/>
                <a:latin typeface="OPPOSans B"/>
                <a:ea typeface="OPPOSans B"/>
                <a:cs typeface="+mn-cs"/>
              </a:rPr>
              <a:t>PPT</a:t>
            </a:r>
          </a:p>
        </p:txBody>
      </p:sp>
      <p:sp>
        <p:nvSpPr>
          <p:cNvPr id="21" name="矩形: 圆角 20">
            <a:extLst>
              <a:ext uri="{FF2B5EF4-FFF2-40B4-BE49-F238E27FC236}">
                <a16:creationId xmlns:a16="http://schemas.microsoft.com/office/drawing/2014/main" id="{60D617D3-6129-4E9A-988B-C978195EF2AA}"/>
              </a:ext>
            </a:extLst>
          </p:cNvPr>
          <p:cNvSpPr/>
          <p:nvPr/>
        </p:nvSpPr>
        <p:spPr>
          <a:xfrm>
            <a:off x="9503606" y="2995514"/>
            <a:ext cx="1973389" cy="640305"/>
          </a:xfrm>
          <a:prstGeom prst="roundRect">
            <a:avLst>
              <a:gd name="adj" fmla="val 50000"/>
            </a:avLst>
          </a:prstGeom>
          <a:solidFill>
            <a:schemeClr val="accent2"/>
          </a:solidFill>
          <a:ln>
            <a:noFill/>
          </a:ln>
          <a:effectLst>
            <a:outerShdw blurRad="127000" sx="102000" sy="102000" algn="ctr" rotWithShape="0">
              <a:schemeClr val="accent2">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600" b="0" i="0" u="none" strike="noStrike" kern="1200" cap="none" spc="0" normalizeH="0" baseline="0" noProof="0" dirty="0">
                <a:ln>
                  <a:noFill/>
                </a:ln>
                <a:solidFill>
                  <a:srgbClr val="FFFFFF"/>
                </a:solidFill>
                <a:effectLst/>
                <a:uLnTx/>
                <a:uFillTx/>
                <a:latin typeface="OPPOSans B"/>
                <a:ea typeface="OPPOSans B"/>
                <a:cs typeface="+mn-cs"/>
              </a:rPr>
              <a:t>秋叶</a:t>
            </a:r>
            <a:r>
              <a:rPr kumimoji="0" lang="en-US" altLang="zh-CN" sz="1600" b="0" i="0" u="none" strike="noStrike" kern="1200" cap="none" spc="0" normalizeH="0" baseline="0" noProof="0" dirty="0">
                <a:ln>
                  <a:noFill/>
                </a:ln>
                <a:solidFill>
                  <a:srgbClr val="FFFFFF"/>
                </a:solidFill>
                <a:effectLst/>
                <a:uLnTx/>
                <a:uFillTx/>
                <a:latin typeface="OPPOSans B"/>
                <a:ea typeface="OPPOSans B"/>
                <a:cs typeface="+mn-cs"/>
              </a:rPr>
              <a:t>PPT</a:t>
            </a:r>
          </a:p>
        </p:txBody>
      </p:sp>
      <p:cxnSp>
        <p:nvCxnSpPr>
          <p:cNvPr id="50" name="连接符: 肘形 49">
            <a:extLst>
              <a:ext uri="{FF2B5EF4-FFF2-40B4-BE49-F238E27FC236}">
                <a16:creationId xmlns:a16="http://schemas.microsoft.com/office/drawing/2014/main" id="{CF32AF94-19F8-4DCC-B2D9-2F520B21356A}"/>
              </a:ext>
            </a:extLst>
          </p:cNvPr>
          <p:cNvCxnSpPr>
            <a:stCxn id="13" idx="0"/>
            <a:endCxn id="21" idx="0"/>
          </p:cNvCxnSpPr>
          <p:nvPr/>
        </p:nvCxnSpPr>
        <p:spPr>
          <a:xfrm rot="16200000" flipH="1">
            <a:off x="6070285" y="-1424501"/>
            <a:ext cx="6350" cy="8833681"/>
          </a:xfrm>
          <a:prstGeom prst="bentConnector3">
            <a:avLst>
              <a:gd name="adj1" fmla="val -3600000"/>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51" name="连接符: 肘形 50">
            <a:extLst>
              <a:ext uri="{FF2B5EF4-FFF2-40B4-BE49-F238E27FC236}">
                <a16:creationId xmlns:a16="http://schemas.microsoft.com/office/drawing/2014/main" id="{24BDB7CB-987D-4B3E-9A62-3FFC47C8D306}"/>
              </a:ext>
            </a:extLst>
          </p:cNvPr>
          <p:cNvCxnSpPr>
            <a:stCxn id="14" idx="0"/>
            <a:endCxn id="16" idx="0"/>
          </p:cNvCxnSpPr>
          <p:nvPr/>
        </p:nvCxnSpPr>
        <p:spPr>
          <a:xfrm rot="5400000" flipH="1" flipV="1">
            <a:off x="6072869" y="780152"/>
            <a:ext cx="12700" cy="4418024"/>
          </a:xfrm>
          <a:prstGeom prst="bentConnector3">
            <a:avLst>
              <a:gd name="adj1" fmla="val 1800000"/>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37" name="文本框 36">
            <a:extLst>
              <a:ext uri="{FF2B5EF4-FFF2-40B4-BE49-F238E27FC236}">
                <a16:creationId xmlns:a16="http://schemas.microsoft.com/office/drawing/2014/main" id="{F503EF12-B4A8-48BE-A00E-4ED66C545194}"/>
              </a:ext>
            </a:extLst>
          </p:cNvPr>
          <p:cNvSpPr txBox="1"/>
          <p:nvPr/>
        </p:nvSpPr>
        <p:spPr>
          <a:xfrm>
            <a:off x="694352" y="347825"/>
            <a:ext cx="3880170" cy="435346"/>
          </a:xfrm>
          <a:prstGeom prst="rect">
            <a:avLst/>
          </a:prstGeom>
          <a:noFill/>
        </p:spPr>
        <p:txBody>
          <a:bodyPr wrap="non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3600" b="1" i="0" u="none" strike="noStrike" kern="1200" cap="none" spc="0" normalizeH="0" baseline="0" noProof="0" dirty="0" err="1">
                <a:ln>
                  <a:noFill/>
                </a:ln>
                <a:solidFill>
                  <a:srgbClr val="2254F4"/>
                </a:solidFill>
                <a:effectLst/>
                <a:uLnTx/>
                <a:uFillTx/>
                <a:latin typeface="OPPOSans B"/>
                <a:ea typeface="OPPOSans B"/>
                <a:cs typeface="+mn-cs"/>
              </a:rPr>
              <a:t>Qiuye</a:t>
            </a:r>
            <a:r>
              <a:rPr kumimoji="0" lang="en-US" altLang="zh-CN" sz="3600" b="1" i="0" u="none" strike="noStrike" kern="1200" cap="none" spc="0" normalizeH="0" baseline="0" noProof="0" dirty="0">
                <a:ln>
                  <a:noFill/>
                </a:ln>
                <a:solidFill>
                  <a:srgbClr val="2254F4"/>
                </a:solidFill>
                <a:effectLst/>
                <a:uLnTx/>
                <a:uFillTx/>
                <a:latin typeface="OPPOSans B"/>
                <a:ea typeface="OPPOSans B"/>
                <a:cs typeface="+mn-cs"/>
              </a:rPr>
              <a:t> </a:t>
            </a:r>
            <a:r>
              <a:rPr kumimoji="0" lang="en-US" altLang="zh-CN" sz="3600" b="1" i="0" u="none" strike="noStrike" kern="1200" cap="none" spc="0" normalizeH="0" baseline="0" noProof="0" dirty="0">
                <a:ln>
                  <a:noFill/>
                </a:ln>
                <a:solidFill>
                  <a:srgbClr val="000000">
                    <a:lumMod val="75000"/>
                    <a:lumOff val="25000"/>
                  </a:srgbClr>
                </a:solidFill>
                <a:effectLst/>
                <a:uLnTx/>
                <a:uFillTx/>
                <a:latin typeface="OPPOSans B"/>
                <a:ea typeface="OPPOSans B"/>
                <a:cs typeface="+mn-cs"/>
              </a:rPr>
              <a:t>Design</a:t>
            </a:r>
          </a:p>
        </p:txBody>
      </p:sp>
      <p:sp>
        <p:nvSpPr>
          <p:cNvPr id="56" name="文本框 55">
            <a:extLst>
              <a:ext uri="{FF2B5EF4-FFF2-40B4-BE49-F238E27FC236}">
                <a16:creationId xmlns:a16="http://schemas.microsoft.com/office/drawing/2014/main" id="{4D97861F-EE45-4F5A-9329-8FA87368C878}"/>
              </a:ext>
            </a:extLst>
          </p:cNvPr>
          <p:cNvSpPr txBox="1"/>
          <p:nvPr/>
        </p:nvSpPr>
        <p:spPr>
          <a:xfrm>
            <a:off x="694352" y="973070"/>
            <a:ext cx="1932554" cy="314460"/>
          </a:xfrm>
          <a:prstGeom prst="rect">
            <a:avLst/>
          </a:prstGeom>
          <a:noFill/>
        </p:spPr>
        <p:txBody>
          <a:bodyPr wrap="none" lIns="0" tIns="0" rIns="0" bIns="0">
            <a:noAutofit/>
          </a:bodyPr>
          <a:lstStyle/>
          <a:p>
            <a:pPr marL="0" marR="0" lvl="0" indent="0" algn="l" defTabSz="913765" rtl="0" eaLnBrk="1" fontAlgn="auto" latinLnBrk="0" hangingPunct="1">
              <a:lnSpc>
                <a:spcPct val="100000"/>
              </a:lnSpc>
              <a:spcBef>
                <a:spcPts val="0"/>
              </a:spcBef>
              <a:spcAft>
                <a:spcPts val="0"/>
              </a:spcAft>
              <a:buClrTx/>
              <a:buSzPct val="25000"/>
              <a:buFontTx/>
              <a:buNone/>
              <a:tabLst/>
              <a:defRPr/>
            </a:pPr>
            <a:r>
              <a:rPr kumimoji="0" lang="zh-CN" altLang="en-US" sz="1800" b="0" i="0" u="none" strike="noStrike" kern="1200" cap="none" spc="0" normalizeH="0" baseline="0" noProof="0" dirty="0">
                <a:ln>
                  <a:noFill/>
                </a:ln>
                <a:solidFill>
                  <a:srgbClr val="000000">
                    <a:lumMod val="75000"/>
                    <a:lumOff val="25000"/>
                  </a:srgbClr>
                </a:solidFill>
                <a:effectLst/>
                <a:uLnTx/>
                <a:uFillTx/>
                <a:latin typeface="OPPOSans R"/>
                <a:ea typeface="OPPOSans R"/>
                <a:cs typeface="+mn-cs"/>
              </a:rPr>
              <a:t>秋叶</a:t>
            </a:r>
            <a:r>
              <a:rPr kumimoji="0" lang="en-US" altLang="zh-CN" sz="1800" b="0" i="0" u="none" strike="noStrike" kern="1200" cap="none" spc="0" normalizeH="0" baseline="0" noProof="0" dirty="0">
                <a:ln>
                  <a:noFill/>
                </a:ln>
                <a:solidFill>
                  <a:srgbClr val="000000">
                    <a:lumMod val="75000"/>
                    <a:lumOff val="25000"/>
                  </a:srgbClr>
                </a:solidFill>
                <a:effectLst/>
                <a:uLnTx/>
                <a:uFillTx/>
                <a:latin typeface="OPPOSans R"/>
                <a:ea typeface="OPPOSans R"/>
                <a:cs typeface="+mn-cs"/>
              </a:rPr>
              <a:t>PPT</a:t>
            </a:r>
            <a:r>
              <a:rPr kumimoji="0" lang="zh-CN" altLang="en-US" sz="1800" b="0" i="0" u="none" strike="noStrike" kern="1200" cap="none" spc="0" normalizeH="0" baseline="0" noProof="0" dirty="0">
                <a:ln>
                  <a:noFill/>
                </a:ln>
                <a:solidFill>
                  <a:srgbClr val="000000">
                    <a:lumMod val="75000"/>
                    <a:lumOff val="25000"/>
                  </a:srgbClr>
                </a:solidFill>
                <a:effectLst/>
                <a:uLnTx/>
                <a:uFillTx/>
                <a:latin typeface="OPPOSans R"/>
                <a:ea typeface="OPPOSans R"/>
                <a:cs typeface="+mn-cs"/>
              </a:rPr>
              <a:t>更快更轻松</a:t>
            </a:r>
            <a:endParaRPr kumimoji="0" lang="en-US" altLang="zh-CN" sz="1800" b="0" i="0" u="none" strike="noStrike" kern="1200" cap="none" spc="0" normalizeH="0" baseline="0" noProof="0" dirty="0">
              <a:ln>
                <a:noFill/>
              </a:ln>
              <a:solidFill>
                <a:srgbClr val="000000">
                  <a:lumMod val="75000"/>
                  <a:lumOff val="25000"/>
                </a:srgbClr>
              </a:solidFill>
              <a:effectLst/>
              <a:uLnTx/>
              <a:uFillTx/>
              <a:latin typeface="OPPOSans R"/>
              <a:ea typeface="OPPOSans R"/>
              <a:cs typeface="+mn-cs"/>
            </a:endParaRPr>
          </a:p>
        </p:txBody>
      </p:sp>
      <p:sp>
        <p:nvSpPr>
          <p:cNvPr id="57" name="矩形: 圆角 56">
            <a:extLst>
              <a:ext uri="{FF2B5EF4-FFF2-40B4-BE49-F238E27FC236}">
                <a16:creationId xmlns:a16="http://schemas.microsoft.com/office/drawing/2014/main" id="{99206D23-1DB8-4CC5-BFC4-94129A3EEB55}"/>
              </a:ext>
            </a:extLst>
          </p:cNvPr>
          <p:cNvSpPr/>
          <p:nvPr/>
        </p:nvSpPr>
        <p:spPr>
          <a:xfrm>
            <a:off x="3107939" y="3957003"/>
            <a:ext cx="1524536" cy="475832"/>
          </a:xfrm>
          <a:prstGeom prst="roundRect">
            <a:avLst>
              <a:gd name="adj" fmla="val 50000"/>
            </a:avLst>
          </a:prstGeom>
          <a:solidFill>
            <a:schemeClr val="bg1">
              <a:lumMod val="95000"/>
            </a:schemeClr>
          </a:solidFill>
        </p:spPr>
        <p:style>
          <a:lnRef idx="2">
            <a:schemeClr val="lt1">
              <a:hueOff val="0"/>
              <a:satOff val="0"/>
              <a:lumOff val="0"/>
              <a:alphaOff val="0"/>
            </a:schemeClr>
          </a:lnRef>
          <a:fillRef idx="1">
            <a:schemeClr val="accent1">
              <a:tint val="80000"/>
              <a:hueOff val="0"/>
              <a:satOff val="0"/>
              <a:lumOff val="0"/>
              <a:alphaOff val="0"/>
            </a:schemeClr>
          </a:fillRef>
          <a:effectRef idx="0">
            <a:schemeClr val="accent1">
              <a:tint val="80000"/>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marL="0" marR="0" lvl="0" indent="0" algn="ctr" defTabSz="1066800" rtl="0" eaLnBrk="1" fontAlgn="auto" latinLnBrk="0" hangingPunct="1">
              <a:lnSpc>
                <a:spcPct val="100000"/>
              </a:lnSpc>
              <a:spcBef>
                <a:spcPct val="0"/>
              </a:spcBef>
              <a:spcAft>
                <a:spcPts val="0"/>
              </a:spcAft>
              <a:buClrTx/>
              <a:buSzTx/>
              <a:buFontTx/>
              <a:buNone/>
              <a:tabLst/>
              <a:defRPr/>
            </a:pPr>
            <a:r>
              <a:rPr kumimoji="0" lang="zh-CN" altLang="en-US" sz="1600" b="0" i="0" u="none" strike="noStrike" kern="1200" cap="none" spc="0" normalizeH="0" baseline="0" noProof="0" dirty="0">
                <a:ln>
                  <a:noFill/>
                </a:ln>
                <a:solidFill>
                  <a:srgbClr val="000000">
                    <a:lumMod val="75000"/>
                    <a:lumOff val="25000"/>
                  </a:srgbClr>
                </a:solidFill>
                <a:effectLst/>
                <a:uLnTx/>
                <a:uFillTx/>
                <a:latin typeface="OPPOSans R"/>
                <a:ea typeface="OPPOSans R"/>
                <a:cs typeface="+mn-cs"/>
              </a:rPr>
              <a:t>更快</a:t>
            </a:r>
          </a:p>
        </p:txBody>
      </p:sp>
      <p:sp>
        <p:nvSpPr>
          <p:cNvPr id="58" name="矩形: 圆角 57">
            <a:extLst>
              <a:ext uri="{FF2B5EF4-FFF2-40B4-BE49-F238E27FC236}">
                <a16:creationId xmlns:a16="http://schemas.microsoft.com/office/drawing/2014/main" id="{2B6D3F05-9D7C-4873-85FA-C13D7AA3421A}"/>
              </a:ext>
            </a:extLst>
          </p:cNvPr>
          <p:cNvSpPr/>
          <p:nvPr/>
        </p:nvSpPr>
        <p:spPr>
          <a:xfrm>
            <a:off x="3107939" y="4609714"/>
            <a:ext cx="1524536" cy="475832"/>
          </a:xfrm>
          <a:prstGeom prst="roundRect">
            <a:avLst>
              <a:gd name="adj" fmla="val 50000"/>
            </a:avLst>
          </a:prstGeom>
          <a:solidFill>
            <a:schemeClr val="bg1">
              <a:lumMod val="95000"/>
            </a:schemeClr>
          </a:solidFill>
        </p:spPr>
        <p:style>
          <a:lnRef idx="2">
            <a:schemeClr val="lt1">
              <a:hueOff val="0"/>
              <a:satOff val="0"/>
              <a:lumOff val="0"/>
              <a:alphaOff val="0"/>
            </a:schemeClr>
          </a:lnRef>
          <a:fillRef idx="1">
            <a:schemeClr val="accent1">
              <a:tint val="80000"/>
              <a:hueOff val="0"/>
              <a:satOff val="0"/>
              <a:lumOff val="0"/>
              <a:alphaOff val="0"/>
            </a:schemeClr>
          </a:fillRef>
          <a:effectRef idx="0">
            <a:schemeClr val="accent1">
              <a:tint val="80000"/>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marL="0" marR="0" lvl="0" indent="0" algn="ctr" defTabSz="1066800" rtl="0" eaLnBrk="1" fontAlgn="auto" latinLnBrk="0" hangingPunct="1">
              <a:lnSpc>
                <a:spcPct val="100000"/>
              </a:lnSpc>
              <a:spcBef>
                <a:spcPct val="0"/>
              </a:spcBef>
              <a:spcAft>
                <a:spcPts val="0"/>
              </a:spcAft>
              <a:buClrTx/>
              <a:buSzTx/>
              <a:buFontTx/>
              <a:buNone/>
              <a:tabLst/>
              <a:defRPr/>
            </a:pPr>
            <a:r>
              <a:rPr kumimoji="0" lang="zh-CN" altLang="en-US" sz="1600" b="0" i="0" u="none" strike="noStrike" kern="1200" cap="none" spc="0" normalizeH="0" baseline="0" noProof="0" dirty="0">
                <a:ln>
                  <a:noFill/>
                </a:ln>
                <a:solidFill>
                  <a:srgbClr val="000000">
                    <a:lumMod val="75000"/>
                    <a:lumOff val="25000"/>
                  </a:srgbClr>
                </a:solidFill>
                <a:effectLst/>
                <a:uLnTx/>
                <a:uFillTx/>
                <a:latin typeface="OPPOSans R"/>
                <a:ea typeface="OPPOSans R"/>
                <a:cs typeface="+mn-cs"/>
              </a:rPr>
              <a:t>更好</a:t>
            </a:r>
          </a:p>
        </p:txBody>
      </p:sp>
      <p:sp>
        <p:nvSpPr>
          <p:cNvPr id="59" name="矩形: 圆角 58">
            <a:extLst>
              <a:ext uri="{FF2B5EF4-FFF2-40B4-BE49-F238E27FC236}">
                <a16:creationId xmlns:a16="http://schemas.microsoft.com/office/drawing/2014/main" id="{93326AE1-6FC2-4EAB-AADE-E4B4D8E57EA4}"/>
              </a:ext>
            </a:extLst>
          </p:cNvPr>
          <p:cNvSpPr/>
          <p:nvPr/>
        </p:nvSpPr>
        <p:spPr>
          <a:xfrm>
            <a:off x="3107939" y="5262424"/>
            <a:ext cx="1524536" cy="475832"/>
          </a:xfrm>
          <a:prstGeom prst="roundRect">
            <a:avLst>
              <a:gd name="adj" fmla="val 50000"/>
            </a:avLst>
          </a:prstGeom>
          <a:solidFill>
            <a:schemeClr val="bg1">
              <a:lumMod val="95000"/>
            </a:schemeClr>
          </a:solidFill>
        </p:spPr>
        <p:style>
          <a:lnRef idx="2">
            <a:schemeClr val="lt1">
              <a:hueOff val="0"/>
              <a:satOff val="0"/>
              <a:lumOff val="0"/>
              <a:alphaOff val="0"/>
            </a:schemeClr>
          </a:lnRef>
          <a:fillRef idx="1">
            <a:schemeClr val="accent1">
              <a:tint val="80000"/>
              <a:hueOff val="0"/>
              <a:satOff val="0"/>
              <a:lumOff val="0"/>
              <a:alphaOff val="0"/>
            </a:schemeClr>
          </a:fillRef>
          <a:effectRef idx="0">
            <a:schemeClr val="accent1">
              <a:tint val="80000"/>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marL="0" marR="0" lvl="0" indent="0" algn="ctr" defTabSz="1066800" rtl="0" eaLnBrk="1" fontAlgn="auto" latinLnBrk="0" hangingPunct="1">
              <a:lnSpc>
                <a:spcPct val="100000"/>
              </a:lnSpc>
              <a:spcBef>
                <a:spcPct val="0"/>
              </a:spcBef>
              <a:spcAft>
                <a:spcPts val="0"/>
              </a:spcAft>
              <a:buClrTx/>
              <a:buSzTx/>
              <a:buFontTx/>
              <a:buNone/>
              <a:tabLst/>
              <a:defRPr/>
            </a:pPr>
            <a:r>
              <a:rPr kumimoji="0" lang="zh-CN" altLang="en-US" sz="1600" b="0" i="0" u="none" strike="noStrike" kern="1200" cap="none" spc="0" normalizeH="0" baseline="0" noProof="0" dirty="0">
                <a:ln>
                  <a:noFill/>
                </a:ln>
                <a:solidFill>
                  <a:srgbClr val="000000">
                    <a:lumMod val="75000"/>
                    <a:lumOff val="25000"/>
                  </a:srgbClr>
                </a:solidFill>
                <a:effectLst/>
                <a:uLnTx/>
                <a:uFillTx/>
                <a:latin typeface="OPPOSans R"/>
                <a:ea typeface="OPPOSans R"/>
                <a:cs typeface="+mn-cs"/>
              </a:rPr>
              <a:t>更轻松</a:t>
            </a:r>
          </a:p>
        </p:txBody>
      </p:sp>
      <p:sp>
        <p:nvSpPr>
          <p:cNvPr id="64" name="矩形: 圆角 63">
            <a:extLst>
              <a:ext uri="{FF2B5EF4-FFF2-40B4-BE49-F238E27FC236}">
                <a16:creationId xmlns:a16="http://schemas.microsoft.com/office/drawing/2014/main" id="{EE1FC1B5-93E9-4DAC-9501-222B4ABA9E4E}"/>
              </a:ext>
            </a:extLst>
          </p:cNvPr>
          <p:cNvSpPr/>
          <p:nvPr/>
        </p:nvSpPr>
        <p:spPr>
          <a:xfrm>
            <a:off x="5333732" y="3957003"/>
            <a:ext cx="1524536" cy="475832"/>
          </a:xfrm>
          <a:prstGeom prst="roundRect">
            <a:avLst>
              <a:gd name="adj" fmla="val 50000"/>
            </a:avLst>
          </a:prstGeom>
          <a:solidFill>
            <a:schemeClr val="bg1">
              <a:lumMod val="95000"/>
            </a:schemeClr>
          </a:solidFill>
        </p:spPr>
        <p:style>
          <a:lnRef idx="2">
            <a:schemeClr val="lt1">
              <a:hueOff val="0"/>
              <a:satOff val="0"/>
              <a:lumOff val="0"/>
              <a:alphaOff val="0"/>
            </a:schemeClr>
          </a:lnRef>
          <a:fillRef idx="1">
            <a:schemeClr val="accent1">
              <a:tint val="80000"/>
              <a:hueOff val="0"/>
              <a:satOff val="0"/>
              <a:lumOff val="0"/>
              <a:alphaOff val="0"/>
            </a:schemeClr>
          </a:fillRef>
          <a:effectRef idx="0">
            <a:schemeClr val="accent1">
              <a:tint val="80000"/>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marL="0" marR="0" lvl="0" indent="0" algn="ctr" defTabSz="1066800" rtl="0" eaLnBrk="1" fontAlgn="auto" latinLnBrk="0" hangingPunct="1">
              <a:lnSpc>
                <a:spcPct val="100000"/>
              </a:lnSpc>
              <a:spcBef>
                <a:spcPct val="0"/>
              </a:spcBef>
              <a:spcAft>
                <a:spcPts val="0"/>
              </a:spcAft>
              <a:buClrTx/>
              <a:buSzTx/>
              <a:buFontTx/>
              <a:buNone/>
              <a:tabLst/>
              <a:defRPr/>
            </a:pPr>
            <a:r>
              <a:rPr kumimoji="0" lang="zh-CN" altLang="en-US" sz="1600" b="0" i="0" u="none" strike="noStrike" kern="1200" cap="none" spc="0" normalizeH="0" baseline="0" noProof="0" dirty="0">
                <a:ln>
                  <a:noFill/>
                </a:ln>
                <a:solidFill>
                  <a:srgbClr val="000000">
                    <a:lumMod val="75000"/>
                    <a:lumOff val="25000"/>
                  </a:srgbClr>
                </a:solidFill>
                <a:effectLst/>
                <a:uLnTx/>
                <a:uFillTx/>
                <a:latin typeface="OPPOSans R"/>
                <a:ea typeface="OPPOSans R"/>
                <a:cs typeface="+mn-cs"/>
              </a:rPr>
              <a:t>更快</a:t>
            </a:r>
          </a:p>
        </p:txBody>
      </p:sp>
      <p:sp>
        <p:nvSpPr>
          <p:cNvPr id="65" name="矩形: 圆角 64">
            <a:extLst>
              <a:ext uri="{FF2B5EF4-FFF2-40B4-BE49-F238E27FC236}">
                <a16:creationId xmlns:a16="http://schemas.microsoft.com/office/drawing/2014/main" id="{05CFA0A3-F3C3-45A7-9AC4-8D2DC97A5060}"/>
              </a:ext>
            </a:extLst>
          </p:cNvPr>
          <p:cNvSpPr/>
          <p:nvPr/>
        </p:nvSpPr>
        <p:spPr>
          <a:xfrm>
            <a:off x="5333732" y="4609714"/>
            <a:ext cx="1524536" cy="475832"/>
          </a:xfrm>
          <a:prstGeom prst="roundRect">
            <a:avLst>
              <a:gd name="adj" fmla="val 50000"/>
            </a:avLst>
          </a:prstGeom>
          <a:solidFill>
            <a:schemeClr val="bg1">
              <a:lumMod val="95000"/>
            </a:schemeClr>
          </a:solidFill>
        </p:spPr>
        <p:style>
          <a:lnRef idx="2">
            <a:schemeClr val="lt1">
              <a:hueOff val="0"/>
              <a:satOff val="0"/>
              <a:lumOff val="0"/>
              <a:alphaOff val="0"/>
            </a:schemeClr>
          </a:lnRef>
          <a:fillRef idx="1">
            <a:schemeClr val="accent1">
              <a:tint val="80000"/>
              <a:hueOff val="0"/>
              <a:satOff val="0"/>
              <a:lumOff val="0"/>
              <a:alphaOff val="0"/>
            </a:schemeClr>
          </a:fillRef>
          <a:effectRef idx="0">
            <a:schemeClr val="accent1">
              <a:tint val="80000"/>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marL="0" marR="0" lvl="0" indent="0" algn="ctr" defTabSz="1066800" rtl="0" eaLnBrk="1" fontAlgn="auto" latinLnBrk="0" hangingPunct="1">
              <a:lnSpc>
                <a:spcPct val="100000"/>
              </a:lnSpc>
              <a:spcBef>
                <a:spcPct val="0"/>
              </a:spcBef>
              <a:spcAft>
                <a:spcPts val="0"/>
              </a:spcAft>
              <a:buClrTx/>
              <a:buSzTx/>
              <a:buFontTx/>
              <a:buNone/>
              <a:tabLst/>
              <a:defRPr/>
            </a:pPr>
            <a:r>
              <a:rPr kumimoji="0" lang="zh-CN" altLang="en-US" sz="1600" b="0" i="0" u="none" strike="noStrike" kern="1200" cap="none" spc="0" normalizeH="0" baseline="0" noProof="0" dirty="0">
                <a:ln>
                  <a:noFill/>
                </a:ln>
                <a:solidFill>
                  <a:srgbClr val="000000">
                    <a:lumMod val="75000"/>
                    <a:lumOff val="25000"/>
                  </a:srgbClr>
                </a:solidFill>
                <a:effectLst/>
                <a:uLnTx/>
                <a:uFillTx/>
                <a:latin typeface="OPPOSans R"/>
                <a:ea typeface="OPPOSans R"/>
                <a:cs typeface="+mn-cs"/>
              </a:rPr>
              <a:t>更好</a:t>
            </a:r>
          </a:p>
        </p:txBody>
      </p:sp>
      <p:sp>
        <p:nvSpPr>
          <p:cNvPr id="66" name="矩形: 圆角 65">
            <a:extLst>
              <a:ext uri="{FF2B5EF4-FFF2-40B4-BE49-F238E27FC236}">
                <a16:creationId xmlns:a16="http://schemas.microsoft.com/office/drawing/2014/main" id="{20C98A58-437C-4583-93F5-A9E049EEA947}"/>
              </a:ext>
            </a:extLst>
          </p:cNvPr>
          <p:cNvSpPr/>
          <p:nvPr/>
        </p:nvSpPr>
        <p:spPr>
          <a:xfrm>
            <a:off x="5333732" y="5262424"/>
            <a:ext cx="1524536" cy="475832"/>
          </a:xfrm>
          <a:prstGeom prst="roundRect">
            <a:avLst>
              <a:gd name="adj" fmla="val 50000"/>
            </a:avLst>
          </a:prstGeom>
          <a:solidFill>
            <a:schemeClr val="bg1">
              <a:lumMod val="95000"/>
            </a:schemeClr>
          </a:solidFill>
        </p:spPr>
        <p:style>
          <a:lnRef idx="2">
            <a:schemeClr val="lt1">
              <a:hueOff val="0"/>
              <a:satOff val="0"/>
              <a:lumOff val="0"/>
              <a:alphaOff val="0"/>
            </a:schemeClr>
          </a:lnRef>
          <a:fillRef idx="1">
            <a:schemeClr val="accent1">
              <a:tint val="80000"/>
              <a:hueOff val="0"/>
              <a:satOff val="0"/>
              <a:lumOff val="0"/>
              <a:alphaOff val="0"/>
            </a:schemeClr>
          </a:fillRef>
          <a:effectRef idx="0">
            <a:schemeClr val="accent1">
              <a:tint val="80000"/>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marL="0" marR="0" lvl="0" indent="0" algn="ctr" defTabSz="1066800" rtl="0" eaLnBrk="1" fontAlgn="auto" latinLnBrk="0" hangingPunct="1">
              <a:lnSpc>
                <a:spcPct val="100000"/>
              </a:lnSpc>
              <a:spcBef>
                <a:spcPct val="0"/>
              </a:spcBef>
              <a:spcAft>
                <a:spcPts val="0"/>
              </a:spcAft>
              <a:buClrTx/>
              <a:buSzTx/>
              <a:buFontTx/>
              <a:buNone/>
              <a:tabLst/>
              <a:defRPr/>
            </a:pPr>
            <a:r>
              <a:rPr kumimoji="0" lang="zh-CN" altLang="en-US" sz="1600" b="0" i="0" u="none" strike="noStrike" kern="1200" cap="none" spc="0" normalizeH="0" baseline="0" noProof="0" dirty="0">
                <a:ln>
                  <a:noFill/>
                </a:ln>
                <a:solidFill>
                  <a:srgbClr val="000000">
                    <a:lumMod val="75000"/>
                    <a:lumOff val="25000"/>
                  </a:srgbClr>
                </a:solidFill>
                <a:effectLst/>
                <a:uLnTx/>
                <a:uFillTx/>
                <a:latin typeface="OPPOSans R"/>
                <a:ea typeface="OPPOSans R"/>
                <a:cs typeface="+mn-cs"/>
              </a:rPr>
              <a:t>更轻松</a:t>
            </a:r>
          </a:p>
        </p:txBody>
      </p:sp>
      <p:sp>
        <p:nvSpPr>
          <p:cNvPr id="67" name="矩形: 圆角 66">
            <a:extLst>
              <a:ext uri="{FF2B5EF4-FFF2-40B4-BE49-F238E27FC236}">
                <a16:creationId xmlns:a16="http://schemas.microsoft.com/office/drawing/2014/main" id="{E26FC49D-6994-4D3C-8449-2DCFF6C8A05B}"/>
              </a:ext>
            </a:extLst>
          </p:cNvPr>
          <p:cNvSpPr/>
          <p:nvPr/>
        </p:nvSpPr>
        <p:spPr>
          <a:xfrm>
            <a:off x="7547320" y="3957003"/>
            <a:ext cx="1524536" cy="475832"/>
          </a:xfrm>
          <a:prstGeom prst="roundRect">
            <a:avLst>
              <a:gd name="adj" fmla="val 50000"/>
            </a:avLst>
          </a:prstGeom>
          <a:solidFill>
            <a:schemeClr val="bg1">
              <a:lumMod val="95000"/>
            </a:schemeClr>
          </a:solidFill>
        </p:spPr>
        <p:style>
          <a:lnRef idx="2">
            <a:schemeClr val="lt1">
              <a:hueOff val="0"/>
              <a:satOff val="0"/>
              <a:lumOff val="0"/>
              <a:alphaOff val="0"/>
            </a:schemeClr>
          </a:lnRef>
          <a:fillRef idx="1">
            <a:schemeClr val="accent1">
              <a:tint val="80000"/>
              <a:hueOff val="0"/>
              <a:satOff val="0"/>
              <a:lumOff val="0"/>
              <a:alphaOff val="0"/>
            </a:schemeClr>
          </a:fillRef>
          <a:effectRef idx="0">
            <a:schemeClr val="accent1">
              <a:tint val="80000"/>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marL="0" marR="0" lvl="0" indent="0" algn="ctr" defTabSz="1066800" rtl="0" eaLnBrk="1" fontAlgn="auto" latinLnBrk="0" hangingPunct="1">
              <a:lnSpc>
                <a:spcPct val="100000"/>
              </a:lnSpc>
              <a:spcBef>
                <a:spcPct val="0"/>
              </a:spcBef>
              <a:spcAft>
                <a:spcPts val="0"/>
              </a:spcAft>
              <a:buClrTx/>
              <a:buSzTx/>
              <a:buFontTx/>
              <a:buNone/>
              <a:tabLst/>
              <a:defRPr/>
            </a:pPr>
            <a:r>
              <a:rPr kumimoji="0" lang="zh-CN" altLang="en-US" sz="1600" b="0" i="0" u="none" strike="noStrike" kern="1200" cap="none" spc="0" normalizeH="0" baseline="0" noProof="0" dirty="0">
                <a:ln>
                  <a:noFill/>
                </a:ln>
                <a:solidFill>
                  <a:srgbClr val="000000">
                    <a:lumMod val="75000"/>
                    <a:lumOff val="25000"/>
                  </a:srgbClr>
                </a:solidFill>
                <a:effectLst/>
                <a:uLnTx/>
                <a:uFillTx/>
                <a:latin typeface="OPPOSans R"/>
                <a:ea typeface="OPPOSans R"/>
                <a:cs typeface="+mn-cs"/>
              </a:rPr>
              <a:t>更快</a:t>
            </a:r>
          </a:p>
        </p:txBody>
      </p:sp>
      <p:sp>
        <p:nvSpPr>
          <p:cNvPr id="68" name="矩形: 圆角 67">
            <a:extLst>
              <a:ext uri="{FF2B5EF4-FFF2-40B4-BE49-F238E27FC236}">
                <a16:creationId xmlns:a16="http://schemas.microsoft.com/office/drawing/2014/main" id="{5E617A0D-C631-49F9-9B01-5A50A4E503FE}"/>
              </a:ext>
            </a:extLst>
          </p:cNvPr>
          <p:cNvSpPr/>
          <p:nvPr/>
        </p:nvSpPr>
        <p:spPr>
          <a:xfrm>
            <a:off x="7547320" y="4609714"/>
            <a:ext cx="1524536" cy="475832"/>
          </a:xfrm>
          <a:prstGeom prst="roundRect">
            <a:avLst>
              <a:gd name="adj" fmla="val 50000"/>
            </a:avLst>
          </a:prstGeom>
          <a:solidFill>
            <a:schemeClr val="bg1">
              <a:lumMod val="95000"/>
            </a:schemeClr>
          </a:solidFill>
        </p:spPr>
        <p:style>
          <a:lnRef idx="2">
            <a:schemeClr val="lt1">
              <a:hueOff val="0"/>
              <a:satOff val="0"/>
              <a:lumOff val="0"/>
              <a:alphaOff val="0"/>
            </a:schemeClr>
          </a:lnRef>
          <a:fillRef idx="1">
            <a:schemeClr val="accent1">
              <a:tint val="80000"/>
              <a:hueOff val="0"/>
              <a:satOff val="0"/>
              <a:lumOff val="0"/>
              <a:alphaOff val="0"/>
            </a:schemeClr>
          </a:fillRef>
          <a:effectRef idx="0">
            <a:schemeClr val="accent1">
              <a:tint val="80000"/>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marL="0" marR="0" lvl="0" indent="0" algn="ctr" defTabSz="1066800" rtl="0" eaLnBrk="1" fontAlgn="auto" latinLnBrk="0" hangingPunct="1">
              <a:lnSpc>
                <a:spcPct val="100000"/>
              </a:lnSpc>
              <a:spcBef>
                <a:spcPct val="0"/>
              </a:spcBef>
              <a:spcAft>
                <a:spcPts val="0"/>
              </a:spcAft>
              <a:buClrTx/>
              <a:buSzTx/>
              <a:buFontTx/>
              <a:buNone/>
              <a:tabLst/>
              <a:defRPr/>
            </a:pPr>
            <a:r>
              <a:rPr kumimoji="0" lang="zh-CN" altLang="en-US" sz="1600" b="0" i="0" u="none" strike="noStrike" kern="1200" cap="none" spc="0" normalizeH="0" baseline="0" noProof="0" dirty="0">
                <a:ln>
                  <a:noFill/>
                </a:ln>
                <a:solidFill>
                  <a:srgbClr val="000000">
                    <a:lumMod val="75000"/>
                    <a:lumOff val="25000"/>
                  </a:srgbClr>
                </a:solidFill>
                <a:effectLst/>
                <a:uLnTx/>
                <a:uFillTx/>
                <a:latin typeface="OPPOSans R"/>
                <a:ea typeface="OPPOSans R"/>
                <a:cs typeface="+mn-cs"/>
              </a:rPr>
              <a:t>更好</a:t>
            </a:r>
          </a:p>
        </p:txBody>
      </p:sp>
      <p:sp>
        <p:nvSpPr>
          <p:cNvPr id="69" name="矩形: 圆角 68">
            <a:extLst>
              <a:ext uri="{FF2B5EF4-FFF2-40B4-BE49-F238E27FC236}">
                <a16:creationId xmlns:a16="http://schemas.microsoft.com/office/drawing/2014/main" id="{F433825A-B2A6-4D51-AF03-62E240E0A82A}"/>
              </a:ext>
            </a:extLst>
          </p:cNvPr>
          <p:cNvSpPr/>
          <p:nvPr/>
        </p:nvSpPr>
        <p:spPr>
          <a:xfrm>
            <a:off x="7547320" y="5262424"/>
            <a:ext cx="1524536" cy="475832"/>
          </a:xfrm>
          <a:prstGeom prst="roundRect">
            <a:avLst>
              <a:gd name="adj" fmla="val 50000"/>
            </a:avLst>
          </a:prstGeom>
          <a:solidFill>
            <a:schemeClr val="bg1">
              <a:lumMod val="95000"/>
            </a:schemeClr>
          </a:solidFill>
        </p:spPr>
        <p:style>
          <a:lnRef idx="2">
            <a:schemeClr val="lt1">
              <a:hueOff val="0"/>
              <a:satOff val="0"/>
              <a:lumOff val="0"/>
              <a:alphaOff val="0"/>
            </a:schemeClr>
          </a:lnRef>
          <a:fillRef idx="1">
            <a:schemeClr val="accent1">
              <a:tint val="80000"/>
              <a:hueOff val="0"/>
              <a:satOff val="0"/>
              <a:lumOff val="0"/>
              <a:alphaOff val="0"/>
            </a:schemeClr>
          </a:fillRef>
          <a:effectRef idx="0">
            <a:schemeClr val="accent1">
              <a:tint val="80000"/>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marL="0" marR="0" lvl="0" indent="0" algn="ctr" defTabSz="1066800" rtl="0" eaLnBrk="1" fontAlgn="auto" latinLnBrk="0" hangingPunct="1">
              <a:lnSpc>
                <a:spcPct val="100000"/>
              </a:lnSpc>
              <a:spcBef>
                <a:spcPct val="0"/>
              </a:spcBef>
              <a:spcAft>
                <a:spcPts val="0"/>
              </a:spcAft>
              <a:buClrTx/>
              <a:buSzTx/>
              <a:buFontTx/>
              <a:buNone/>
              <a:tabLst/>
              <a:defRPr/>
            </a:pPr>
            <a:r>
              <a:rPr kumimoji="0" lang="zh-CN" altLang="en-US" sz="1600" b="0" i="0" u="none" strike="noStrike" kern="1200" cap="none" spc="0" normalizeH="0" baseline="0" noProof="0" dirty="0">
                <a:ln>
                  <a:noFill/>
                </a:ln>
                <a:solidFill>
                  <a:srgbClr val="000000">
                    <a:lumMod val="75000"/>
                    <a:lumOff val="25000"/>
                  </a:srgbClr>
                </a:solidFill>
                <a:effectLst/>
                <a:uLnTx/>
                <a:uFillTx/>
                <a:latin typeface="OPPOSans R"/>
                <a:ea typeface="OPPOSans R"/>
                <a:cs typeface="+mn-cs"/>
              </a:rPr>
              <a:t>更轻松</a:t>
            </a:r>
          </a:p>
        </p:txBody>
      </p:sp>
      <p:sp>
        <p:nvSpPr>
          <p:cNvPr id="70" name="矩形: 圆角 69">
            <a:extLst>
              <a:ext uri="{FF2B5EF4-FFF2-40B4-BE49-F238E27FC236}">
                <a16:creationId xmlns:a16="http://schemas.microsoft.com/office/drawing/2014/main" id="{E73B4490-360D-4F07-A49F-52F12D3B96D5}"/>
              </a:ext>
            </a:extLst>
          </p:cNvPr>
          <p:cNvSpPr/>
          <p:nvPr/>
        </p:nvSpPr>
        <p:spPr>
          <a:xfrm>
            <a:off x="9728033" y="3957003"/>
            <a:ext cx="1524536" cy="475832"/>
          </a:xfrm>
          <a:prstGeom prst="roundRect">
            <a:avLst>
              <a:gd name="adj" fmla="val 50000"/>
            </a:avLst>
          </a:prstGeom>
          <a:solidFill>
            <a:schemeClr val="bg1">
              <a:lumMod val="95000"/>
            </a:schemeClr>
          </a:solidFill>
        </p:spPr>
        <p:style>
          <a:lnRef idx="2">
            <a:schemeClr val="lt1">
              <a:hueOff val="0"/>
              <a:satOff val="0"/>
              <a:lumOff val="0"/>
              <a:alphaOff val="0"/>
            </a:schemeClr>
          </a:lnRef>
          <a:fillRef idx="1">
            <a:schemeClr val="accent1">
              <a:tint val="80000"/>
              <a:hueOff val="0"/>
              <a:satOff val="0"/>
              <a:lumOff val="0"/>
              <a:alphaOff val="0"/>
            </a:schemeClr>
          </a:fillRef>
          <a:effectRef idx="0">
            <a:schemeClr val="accent1">
              <a:tint val="80000"/>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marL="0" marR="0" lvl="0" indent="0" algn="ctr" defTabSz="1066800" rtl="0" eaLnBrk="1" fontAlgn="auto" latinLnBrk="0" hangingPunct="1">
              <a:lnSpc>
                <a:spcPct val="100000"/>
              </a:lnSpc>
              <a:spcBef>
                <a:spcPct val="0"/>
              </a:spcBef>
              <a:spcAft>
                <a:spcPts val="0"/>
              </a:spcAft>
              <a:buClrTx/>
              <a:buSzTx/>
              <a:buFontTx/>
              <a:buNone/>
              <a:tabLst/>
              <a:defRPr/>
            </a:pPr>
            <a:r>
              <a:rPr kumimoji="0" lang="zh-CN" altLang="en-US" sz="1600" b="0" i="0" u="none" strike="noStrike" kern="1200" cap="none" spc="0" normalizeH="0" baseline="0" noProof="0" dirty="0">
                <a:ln>
                  <a:noFill/>
                </a:ln>
                <a:solidFill>
                  <a:srgbClr val="000000">
                    <a:lumMod val="75000"/>
                    <a:lumOff val="25000"/>
                  </a:srgbClr>
                </a:solidFill>
                <a:effectLst/>
                <a:uLnTx/>
                <a:uFillTx/>
                <a:latin typeface="OPPOSans R"/>
                <a:ea typeface="OPPOSans R"/>
                <a:cs typeface="+mn-cs"/>
              </a:rPr>
              <a:t>更快</a:t>
            </a:r>
          </a:p>
        </p:txBody>
      </p:sp>
      <p:sp>
        <p:nvSpPr>
          <p:cNvPr id="71" name="矩形: 圆角 70">
            <a:extLst>
              <a:ext uri="{FF2B5EF4-FFF2-40B4-BE49-F238E27FC236}">
                <a16:creationId xmlns:a16="http://schemas.microsoft.com/office/drawing/2014/main" id="{B783C2CB-A6F7-4E4C-B29D-2711783EA23F}"/>
              </a:ext>
            </a:extLst>
          </p:cNvPr>
          <p:cNvSpPr/>
          <p:nvPr/>
        </p:nvSpPr>
        <p:spPr>
          <a:xfrm>
            <a:off x="9728033" y="4609714"/>
            <a:ext cx="1524536" cy="475832"/>
          </a:xfrm>
          <a:prstGeom prst="roundRect">
            <a:avLst>
              <a:gd name="adj" fmla="val 50000"/>
            </a:avLst>
          </a:prstGeom>
          <a:solidFill>
            <a:schemeClr val="bg1">
              <a:lumMod val="95000"/>
            </a:schemeClr>
          </a:solidFill>
        </p:spPr>
        <p:style>
          <a:lnRef idx="2">
            <a:schemeClr val="lt1">
              <a:hueOff val="0"/>
              <a:satOff val="0"/>
              <a:lumOff val="0"/>
              <a:alphaOff val="0"/>
            </a:schemeClr>
          </a:lnRef>
          <a:fillRef idx="1">
            <a:schemeClr val="accent1">
              <a:tint val="80000"/>
              <a:hueOff val="0"/>
              <a:satOff val="0"/>
              <a:lumOff val="0"/>
              <a:alphaOff val="0"/>
            </a:schemeClr>
          </a:fillRef>
          <a:effectRef idx="0">
            <a:schemeClr val="accent1">
              <a:tint val="80000"/>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marL="0" marR="0" lvl="0" indent="0" algn="ctr" defTabSz="1066800" rtl="0" eaLnBrk="1" fontAlgn="auto" latinLnBrk="0" hangingPunct="1">
              <a:lnSpc>
                <a:spcPct val="100000"/>
              </a:lnSpc>
              <a:spcBef>
                <a:spcPct val="0"/>
              </a:spcBef>
              <a:spcAft>
                <a:spcPts val="0"/>
              </a:spcAft>
              <a:buClrTx/>
              <a:buSzTx/>
              <a:buFontTx/>
              <a:buNone/>
              <a:tabLst/>
              <a:defRPr/>
            </a:pPr>
            <a:r>
              <a:rPr kumimoji="0" lang="zh-CN" altLang="en-US" sz="1600" b="0" i="0" u="none" strike="noStrike" kern="1200" cap="none" spc="0" normalizeH="0" baseline="0" noProof="0" dirty="0">
                <a:ln>
                  <a:noFill/>
                </a:ln>
                <a:solidFill>
                  <a:srgbClr val="000000">
                    <a:lumMod val="75000"/>
                    <a:lumOff val="25000"/>
                  </a:srgbClr>
                </a:solidFill>
                <a:effectLst/>
                <a:uLnTx/>
                <a:uFillTx/>
                <a:latin typeface="OPPOSans R"/>
                <a:ea typeface="OPPOSans R"/>
                <a:cs typeface="+mn-cs"/>
              </a:rPr>
              <a:t>更好</a:t>
            </a:r>
          </a:p>
        </p:txBody>
      </p:sp>
      <p:sp>
        <p:nvSpPr>
          <p:cNvPr id="72" name="矩形: 圆角 71">
            <a:extLst>
              <a:ext uri="{FF2B5EF4-FFF2-40B4-BE49-F238E27FC236}">
                <a16:creationId xmlns:a16="http://schemas.microsoft.com/office/drawing/2014/main" id="{0875E232-81EA-46DE-BD80-2D8CA7BBF7E6}"/>
              </a:ext>
            </a:extLst>
          </p:cNvPr>
          <p:cNvSpPr/>
          <p:nvPr/>
        </p:nvSpPr>
        <p:spPr>
          <a:xfrm>
            <a:off x="9728033" y="5262424"/>
            <a:ext cx="1524536" cy="475832"/>
          </a:xfrm>
          <a:prstGeom prst="roundRect">
            <a:avLst>
              <a:gd name="adj" fmla="val 50000"/>
            </a:avLst>
          </a:prstGeom>
          <a:solidFill>
            <a:schemeClr val="bg1">
              <a:lumMod val="95000"/>
            </a:schemeClr>
          </a:solidFill>
        </p:spPr>
        <p:style>
          <a:lnRef idx="2">
            <a:schemeClr val="lt1">
              <a:hueOff val="0"/>
              <a:satOff val="0"/>
              <a:lumOff val="0"/>
              <a:alphaOff val="0"/>
            </a:schemeClr>
          </a:lnRef>
          <a:fillRef idx="1">
            <a:schemeClr val="accent1">
              <a:tint val="80000"/>
              <a:hueOff val="0"/>
              <a:satOff val="0"/>
              <a:lumOff val="0"/>
              <a:alphaOff val="0"/>
            </a:schemeClr>
          </a:fillRef>
          <a:effectRef idx="0">
            <a:schemeClr val="accent1">
              <a:tint val="80000"/>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marL="0" marR="0" lvl="0" indent="0" algn="ctr" defTabSz="1066800" rtl="0" eaLnBrk="1" fontAlgn="auto" latinLnBrk="0" hangingPunct="1">
              <a:lnSpc>
                <a:spcPct val="100000"/>
              </a:lnSpc>
              <a:spcBef>
                <a:spcPct val="0"/>
              </a:spcBef>
              <a:spcAft>
                <a:spcPts val="0"/>
              </a:spcAft>
              <a:buClrTx/>
              <a:buSzTx/>
              <a:buFontTx/>
              <a:buNone/>
              <a:tabLst/>
              <a:defRPr/>
            </a:pPr>
            <a:r>
              <a:rPr kumimoji="0" lang="zh-CN" altLang="en-US" sz="1600" b="0" i="0" u="none" strike="noStrike" kern="1200" cap="none" spc="0" normalizeH="0" baseline="0" noProof="0" dirty="0">
                <a:ln>
                  <a:noFill/>
                </a:ln>
                <a:solidFill>
                  <a:srgbClr val="000000">
                    <a:lumMod val="75000"/>
                    <a:lumOff val="25000"/>
                  </a:srgbClr>
                </a:solidFill>
                <a:effectLst/>
                <a:uLnTx/>
                <a:uFillTx/>
                <a:latin typeface="OPPOSans R"/>
                <a:ea typeface="OPPOSans R"/>
                <a:cs typeface="+mn-cs"/>
              </a:rPr>
              <a:t>更轻松</a:t>
            </a:r>
          </a:p>
        </p:txBody>
      </p:sp>
    </p:spTree>
    <p:extLst>
      <p:ext uri="{BB962C8B-B14F-4D97-AF65-F5344CB8AC3E}">
        <p14:creationId xmlns:p14="http://schemas.microsoft.com/office/powerpoint/2010/main" val="3117883618"/>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8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 name="椭圆 74">
            <a:extLst>
              <a:ext uri="{FF2B5EF4-FFF2-40B4-BE49-F238E27FC236}">
                <a16:creationId xmlns:a16="http://schemas.microsoft.com/office/drawing/2014/main" id="{D564A3DE-D241-482F-99F3-DED723898493}"/>
              </a:ext>
            </a:extLst>
          </p:cNvPr>
          <p:cNvSpPr/>
          <p:nvPr/>
        </p:nvSpPr>
        <p:spPr>
          <a:xfrm>
            <a:off x="8151070" y="3977331"/>
            <a:ext cx="1398880" cy="1398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微软雅黑"/>
              <a:ea typeface="微软雅黑"/>
              <a:cs typeface="+mn-cs"/>
            </a:endParaRPr>
          </a:p>
        </p:txBody>
      </p:sp>
      <p:sp>
        <p:nvSpPr>
          <p:cNvPr id="76" name="椭圆 75">
            <a:extLst>
              <a:ext uri="{FF2B5EF4-FFF2-40B4-BE49-F238E27FC236}">
                <a16:creationId xmlns:a16="http://schemas.microsoft.com/office/drawing/2014/main" id="{5F631FFC-9C7D-43EA-AB2C-98FAE4F74648}"/>
              </a:ext>
            </a:extLst>
          </p:cNvPr>
          <p:cNvSpPr/>
          <p:nvPr/>
        </p:nvSpPr>
        <p:spPr>
          <a:xfrm>
            <a:off x="8055496" y="3879979"/>
            <a:ext cx="1588264" cy="1588264"/>
          </a:xfrm>
          <a:prstGeom prst="ellipse">
            <a:avLst/>
          </a:prstGeom>
          <a:noFill/>
          <a:ln w="158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微软雅黑"/>
              <a:ea typeface="微软雅黑"/>
              <a:cs typeface="+mn-cs"/>
            </a:endParaRPr>
          </a:p>
        </p:txBody>
      </p:sp>
      <p:sp>
        <p:nvSpPr>
          <p:cNvPr id="72" name="椭圆 71">
            <a:extLst>
              <a:ext uri="{FF2B5EF4-FFF2-40B4-BE49-F238E27FC236}">
                <a16:creationId xmlns:a16="http://schemas.microsoft.com/office/drawing/2014/main" id="{E57E4FEB-6210-4966-B75B-5D20EC537ABE}"/>
              </a:ext>
            </a:extLst>
          </p:cNvPr>
          <p:cNvSpPr/>
          <p:nvPr/>
        </p:nvSpPr>
        <p:spPr>
          <a:xfrm>
            <a:off x="5374220" y="3977331"/>
            <a:ext cx="1398880" cy="1398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微软雅黑"/>
              <a:ea typeface="微软雅黑"/>
              <a:cs typeface="+mn-cs"/>
            </a:endParaRPr>
          </a:p>
        </p:txBody>
      </p:sp>
      <p:sp>
        <p:nvSpPr>
          <p:cNvPr id="73" name="任意多边形: 形状 72">
            <a:extLst>
              <a:ext uri="{FF2B5EF4-FFF2-40B4-BE49-F238E27FC236}">
                <a16:creationId xmlns:a16="http://schemas.microsoft.com/office/drawing/2014/main" id="{27900ED3-D17B-4B31-859C-7C398FDE006D}"/>
              </a:ext>
            </a:extLst>
          </p:cNvPr>
          <p:cNvSpPr/>
          <p:nvPr/>
        </p:nvSpPr>
        <p:spPr>
          <a:xfrm>
            <a:off x="5452014" y="3977331"/>
            <a:ext cx="1243293" cy="385129"/>
          </a:xfrm>
          <a:custGeom>
            <a:avLst/>
            <a:gdLst>
              <a:gd name="connsiteX0" fmla="*/ 621646 w 1243293"/>
              <a:gd name="connsiteY0" fmla="*/ 0 h 385129"/>
              <a:gd name="connsiteX1" fmla="*/ 1201633 w 1243293"/>
              <a:gd name="connsiteY1" fmla="*/ 308377 h 385129"/>
              <a:gd name="connsiteX2" fmla="*/ 1243293 w 1243293"/>
              <a:gd name="connsiteY2" fmla="*/ 385129 h 385129"/>
              <a:gd name="connsiteX3" fmla="*/ 0 w 1243293"/>
              <a:gd name="connsiteY3" fmla="*/ 385129 h 385129"/>
              <a:gd name="connsiteX4" fmla="*/ 41660 w 1243293"/>
              <a:gd name="connsiteY4" fmla="*/ 308377 h 385129"/>
              <a:gd name="connsiteX5" fmla="*/ 621646 w 1243293"/>
              <a:gd name="connsiteY5" fmla="*/ 0 h 3851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3293" h="385129">
                <a:moveTo>
                  <a:pt x="621646" y="0"/>
                </a:moveTo>
                <a:cubicBezTo>
                  <a:pt x="863078" y="0"/>
                  <a:pt x="1075938" y="122324"/>
                  <a:pt x="1201633" y="308377"/>
                </a:cubicBezTo>
                <a:lnTo>
                  <a:pt x="1243293" y="385129"/>
                </a:lnTo>
                <a:lnTo>
                  <a:pt x="0" y="385129"/>
                </a:lnTo>
                <a:lnTo>
                  <a:pt x="41660" y="308377"/>
                </a:lnTo>
                <a:cubicBezTo>
                  <a:pt x="167354" y="122324"/>
                  <a:pt x="380215" y="0"/>
                  <a:pt x="621646" y="0"/>
                </a:cubicBezTo>
                <a:close/>
              </a:path>
            </a:pathLst>
          </a:cu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微软雅黑"/>
              <a:ea typeface="微软雅黑"/>
              <a:cs typeface="+mn-cs"/>
            </a:endParaRPr>
          </a:p>
        </p:txBody>
      </p:sp>
      <p:sp>
        <p:nvSpPr>
          <p:cNvPr id="74" name="椭圆 73">
            <a:extLst>
              <a:ext uri="{FF2B5EF4-FFF2-40B4-BE49-F238E27FC236}">
                <a16:creationId xmlns:a16="http://schemas.microsoft.com/office/drawing/2014/main" id="{6F181102-4895-47A3-9F3A-25D2A484468D}"/>
              </a:ext>
            </a:extLst>
          </p:cNvPr>
          <p:cNvSpPr/>
          <p:nvPr/>
        </p:nvSpPr>
        <p:spPr>
          <a:xfrm>
            <a:off x="5278646" y="3879979"/>
            <a:ext cx="1588264" cy="1588264"/>
          </a:xfrm>
          <a:prstGeom prst="ellipse">
            <a:avLst/>
          </a:prstGeom>
          <a:noFill/>
          <a:ln w="158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微软雅黑"/>
              <a:ea typeface="微软雅黑"/>
              <a:cs typeface="+mn-cs"/>
            </a:endParaRPr>
          </a:p>
        </p:txBody>
      </p:sp>
      <p:sp>
        <p:nvSpPr>
          <p:cNvPr id="4" name="椭圆 3">
            <a:extLst>
              <a:ext uri="{FF2B5EF4-FFF2-40B4-BE49-F238E27FC236}">
                <a16:creationId xmlns:a16="http://schemas.microsoft.com/office/drawing/2014/main" id="{E5E589E7-08C5-40AB-925B-25DBCFFDEE3C}"/>
              </a:ext>
            </a:extLst>
          </p:cNvPr>
          <p:cNvSpPr/>
          <p:nvPr/>
        </p:nvSpPr>
        <p:spPr>
          <a:xfrm>
            <a:off x="2623643" y="3977331"/>
            <a:ext cx="1398880" cy="13988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微软雅黑"/>
              <a:ea typeface="微软雅黑"/>
              <a:cs typeface="+mn-cs"/>
            </a:endParaRPr>
          </a:p>
        </p:txBody>
      </p:sp>
      <p:sp>
        <p:nvSpPr>
          <p:cNvPr id="70" name="任意多边形: 形状 69">
            <a:extLst>
              <a:ext uri="{FF2B5EF4-FFF2-40B4-BE49-F238E27FC236}">
                <a16:creationId xmlns:a16="http://schemas.microsoft.com/office/drawing/2014/main" id="{168A1298-D8A6-4E3E-8EA8-D4285654301D}"/>
              </a:ext>
            </a:extLst>
          </p:cNvPr>
          <p:cNvSpPr/>
          <p:nvPr/>
        </p:nvSpPr>
        <p:spPr>
          <a:xfrm>
            <a:off x="2701437" y="3977331"/>
            <a:ext cx="1243293" cy="385129"/>
          </a:xfrm>
          <a:custGeom>
            <a:avLst/>
            <a:gdLst>
              <a:gd name="connsiteX0" fmla="*/ 621646 w 1243293"/>
              <a:gd name="connsiteY0" fmla="*/ 0 h 385129"/>
              <a:gd name="connsiteX1" fmla="*/ 1201633 w 1243293"/>
              <a:gd name="connsiteY1" fmla="*/ 308377 h 385129"/>
              <a:gd name="connsiteX2" fmla="*/ 1243293 w 1243293"/>
              <a:gd name="connsiteY2" fmla="*/ 385129 h 385129"/>
              <a:gd name="connsiteX3" fmla="*/ 0 w 1243293"/>
              <a:gd name="connsiteY3" fmla="*/ 385129 h 385129"/>
              <a:gd name="connsiteX4" fmla="*/ 41660 w 1243293"/>
              <a:gd name="connsiteY4" fmla="*/ 308377 h 385129"/>
              <a:gd name="connsiteX5" fmla="*/ 621646 w 1243293"/>
              <a:gd name="connsiteY5" fmla="*/ 0 h 3851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3293" h="385129">
                <a:moveTo>
                  <a:pt x="621646" y="0"/>
                </a:moveTo>
                <a:cubicBezTo>
                  <a:pt x="863078" y="0"/>
                  <a:pt x="1075938" y="122324"/>
                  <a:pt x="1201633" y="308377"/>
                </a:cubicBezTo>
                <a:lnTo>
                  <a:pt x="1243293" y="385129"/>
                </a:lnTo>
                <a:lnTo>
                  <a:pt x="0" y="385129"/>
                </a:lnTo>
                <a:lnTo>
                  <a:pt x="41660" y="308377"/>
                </a:lnTo>
                <a:cubicBezTo>
                  <a:pt x="167354" y="122324"/>
                  <a:pt x="380215" y="0"/>
                  <a:pt x="621646" y="0"/>
                </a:cubicBezTo>
                <a:close/>
              </a:path>
            </a:pathLst>
          </a:cu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微软雅黑"/>
              <a:ea typeface="微软雅黑"/>
              <a:cs typeface="+mn-cs"/>
            </a:endParaRPr>
          </a:p>
        </p:txBody>
      </p:sp>
      <p:sp>
        <p:nvSpPr>
          <p:cNvPr id="2" name="矩形: 圆角 1">
            <a:extLst>
              <a:ext uri="{FF2B5EF4-FFF2-40B4-BE49-F238E27FC236}">
                <a16:creationId xmlns:a16="http://schemas.microsoft.com/office/drawing/2014/main" id="{C6C42A66-DA91-4B3A-87E4-4D823224CA6C}"/>
              </a:ext>
            </a:extLst>
          </p:cNvPr>
          <p:cNvSpPr/>
          <p:nvPr/>
        </p:nvSpPr>
        <p:spPr>
          <a:xfrm>
            <a:off x="4932462" y="1787430"/>
            <a:ext cx="2230803" cy="484699"/>
          </a:xfrm>
          <a:prstGeom prst="roundRect">
            <a:avLst>
              <a:gd name="adj" fmla="val 5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微软雅黑"/>
              <a:ea typeface="微软雅黑"/>
              <a:cs typeface="+mn-cs"/>
            </a:endParaRPr>
          </a:p>
        </p:txBody>
      </p:sp>
      <p:pic>
        <p:nvPicPr>
          <p:cNvPr id="109" name="image 109"/>
          <p:cNvPicPr>
            <a:picLocks noChangeAspect="1"/>
          </p:cNvPicPr>
          <p:nvPr/>
        </p:nvPicPr>
        <p:blipFill>
          <a:blip r:embed="rId4"/>
          <a:srcRect/>
          <a:stretch>
            <a:fillRect/>
          </a:stretch>
        </p:blipFill>
        <p:spPr>
          <a:xfrm>
            <a:off x="6058887" y="2560046"/>
            <a:ext cx="30677" cy="539918"/>
          </a:xfrm>
          <a:prstGeom prst="rect">
            <a:avLst/>
          </a:prstGeom>
        </p:spPr>
      </p:pic>
      <p:pic>
        <p:nvPicPr>
          <p:cNvPr id="1010" name="image 1010"/>
          <p:cNvPicPr>
            <a:picLocks noChangeAspect="1"/>
          </p:cNvPicPr>
          <p:nvPr/>
        </p:nvPicPr>
        <p:blipFill>
          <a:blip r:embed="rId4"/>
          <a:srcRect/>
          <a:stretch>
            <a:fillRect/>
          </a:stretch>
        </p:blipFill>
        <p:spPr>
          <a:xfrm>
            <a:off x="6058887" y="3112235"/>
            <a:ext cx="30677" cy="539918"/>
          </a:xfrm>
          <a:prstGeom prst="rect">
            <a:avLst/>
          </a:prstGeom>
        </p:spPr>
      </p:pic>
      <p:pic>
        <p:nvPicPr>
          <p:cNvPr id="1011" name="image 1011"/>
          <p:cNvPicPr>
            <a:picLocks noChangeAspect="1"/>
          </p:cNvPicPr>
          <p:nvPr/>
        </p:nvPicPr>
        <p:blipFill>
          <a:blip r:embed="rId5"/>
          <a:srcRect/>
          <a:stretch>
            <a:fillRect/>
          </a:stretch>
        </p:blipFill>
        <p:spPr>
          <a:xfrm>
            <a:off x="3297940" y="3130642"/>
            <a:ext cx="30677" cy="447887"/>
          </a:xfrm>
          <a:prstGeom prst="rect">
            <a:avLst/>
          </a:prstGeom>
        </p:spPr>
      </p:pic>
      <p:pic>
        <p:nvPicPr>
          <p:cNvPr id="1012" name="image 1012"/>
          <p:cNvPicPr>
            <a:picLocks noChangeAspect="1"/>
          </p:cNvPicPr>
          <p:nvPr/>
        </p:nvPicPr>
        <p:blipFill>
          <a:blip r:embed="rId5"/>
          <a:srcRect/>
          <a:stretch>
            <a:fillRect/>
          </a:stretch>
        </p:blipFill>
        <p:spPr>
          <a:xfrm>
            <a:off x="8813697" y="3130642"/>
            <a:ext cx="30677" cy="447887"/>
          </a:xfrm>
          <a:prstGeom prst="rect">
            <a:avLst/>
          </a:prstGeom>
        </p:spPr>
      </p:pic>
      <p:pic>
        <p:nvPicPr>
          <p:cNvPr id="1013" name="image 1013"/>
          <p:cNvPicPr>
            <a:picLocks noChangeAspect="1"/>
          </p:cNvPicPr>
          <p:nvPr/>
        </p:nvPicPr>
        <p:blipFill>
          <a:blip r:embed="rId6"/>
          <a:srcRect/>
          <a:stretch>
            <a:fillRect/>
          </a:stretch>
        </p:blipFill>
        <p:spPr>
          <a:xfrm>
            <a:off x="3304076" y="3130642"/>
            <a:ext cx="5540299" cy="30677"/>
          </a:xfrm>
          <a:prstGeom prst="rect">
            <a:avLst/>
          </a:prstGeom>
        </p:spPr>
      </p:pic>
      <p:sp>
        <p:nvSpPr>
          <p:cNvPr id="1022" name="Object 1022"/>
          <p:cNvSpPr txBox="1"/>
          <p:nvPr/>
        </p:nvSpPr>
        <p:spPr>
          <a:xfrm>
            <a:off x="5426937" y="1807528"/>
            <a:ext cx="1227087" cy="361950"/>
          </a:xfrm>
          <a:prstGeom prst="rect">
            <a:avLst/>
          </a:prstGeom>
        </p:spPr>
        <p:txBody>
          <a:bodyPr vert="horz" rtlCol="0" anchor="t" anchorCtr="0">
            <a:noAutofit/>
          </a:bodyPr>
          <a:lstStyle/>
          <a:p>
            <a:pPr marL="0" marR="0" lvl="0" indent="0" algn="ctr" defTabSz="914400" rtl="0" eaLnBrk="1" fontAlgn="auto" latinLnBrk="0" hangingPunct="1">
              <a:lnSpc>
                <a:spcPct val="123333"/>
              </a:lnSpc>
              <a:spcBef>
                <a:spcPts val="0"/>
              </a:spcBef>
              <a:spcAft>
                <a:spcPts val="0"/>
              </a:spcAft>
              <a:buClrTx/>
              <a:buSzTx/>
              <a:buFontTx/>
              <a:buNone/>
              <a:tabLst/>
              <a:defRPr/>
            </a:pPr>
            <a:r>
              <a:rPr kumimoji="0" lang="zh-CN" altLang="en-US" sz="1915" b="0" i="0" u="none" strike="noStrike" kern="1200" cap="none" spc="0" normalizeH="0" baseline="0" noProof="0" dirty="0">
                <a:ln>
                  <a:noFill/>
                </a:ln>
                <a:solidFill>
                  <a:srgbClr val="FFFFFF"/>
                </a:solidFill>
                <a:effectLst/>
                <a:uLnTx/>
                <a:uFillTx/>
                <a:latin typeface="OPPOSans B" panose="00020600040101010101" pitchFamily="18" charset="-122"/>
                <a:ea typeface="OPPOSans B" panose="00020600040101010101" pitchFamily="18" charset="-122"/>
                <a:cs typeface="+mn-cs"/>
              </a:rPr>
              <a:t>添加标题</a:t>
            </a:r>
            <a:endParaRPr kumimoji="0" lang="zh-CN" altLang="en-US" sz="900" b="0" i="0" u="none" strike="noStrike" kern="1200" cap="none" spc="0" normalizeH="0" baseline="0" noProof="0" dirty="0">
              <a:ln>
                <a:noFill/>
              </a:ln>
              <a:solidFill>
                <a:prstClr val="black"/>
              </a:solidFill>
              <a:effectLst/>
              <a:uLnTx/>
              <a:uFillTx/>
              <a:latin typeface="微软雅黑"/>
              <a:ea typeface="微软雅黑"/>
              <a:cs typeface="+mn-cs"/>
            </a:endParaRPr>
          </a:p>
        </p:txBody>
      </p:sp>
      <p:sp>
        <p:nvSpPr>
          <p:cNvPr id="1031" name="Object 1031"/>
          <p:cNvSpPr txBox="1"/>
          <p:nvPr/>
        </p:nvSpPr>
        <p:spPr>
          <a:xfrm>
            <a:off x="3087619" y="3994450"/>
            <a:ext cx="746679" cy="323850"/>
          </a:xfrm>
          <a:prstGeom prst="rect">
            <a:avLst/>
          </a:prstGeom>
        </p:spPr>
        <p:txBody>
          <a:bodyPr vert="horz" rtlCol="0" anchor="t" anchorCtr="0">
            <a:noAutofit/>
          </a:bodyPr>
          <a:lstStyle/>
          <a:p>
            <a:pPr marL="0" marR="0" lvl="0" indent="0" algn="l" defTabSz="914400" rtl="0" eaLnBrk="1" fontAlgn="auto" latinLnBrk="0" hangingPunct="1">
              <a:lnSpc>
                <a:spcPct val="88333"/>
              </a:lnSpc>
              <a:spcBef>
                <a:spcPts val="0"/>
              </a:spcBef>
              <a:spcAft>
                <a:spcPts val="0"/>
              </a:spcAft>
              <a:buClrTx/>
              <a:buSzTx/>
              <a:buFontTx/>
              <a:buNone/>
              <a:tabLst/>
              <a:defRPr/>
            </a:pPr>
            <a:r>
              <a:rPr kumimoji="0" lang="en-US" altLang="zh-CN" sz="2405" b="0" i="0" u="none" strike="noStrike" kern="1200" cap="none" spc="0" normalizeH="0" baseline="0" noProof="0" dirty="0">
                <a:ln>
                  <a:noFill/>
                </a:ln>
                <a:solidFill>
                  <a:srgbClr val="FFFFFF"/>
                </a:solidFill>
                <a:effectLst/>
                <a:uLnTx/>
                <a:uFillTx/>
                <a:latin typeface="PangMenZhengDao"/>
                <a:ea typeface="PangMenZhengDao"/>
                <a:cs typeface="+mn-cs"/>
              </a:rPr>
              <a:t>01</a:t>
            </a:r>
            <a:endParaRPr kumimoji="0" lang="zh-CN" altLang="en-US" sz="900" b="0" i="0" u="none" strike="noStrike" kern="1200" cap="none" spc="0" normalizeH="0" baseline="0" noProof="0">
              <a:ln>
                <a:noFill/>
              </a:ln>
              <a:solidFill>
                <a:prstClr val="black"/>
              </a:solidFill>
              <a:effectLst/>
              <a:uLnTx/>
              <a:uFillTx/>
              <a:latin typeface="微软雅黑"/>
              <a:ea typeface="微软雅黑"/>
              <a:cs typeface="+mn-cs"/>
            </a:endParaRPr>
          </a:p>
        </p:txBody>
      </p:sp>
      <p:sp>
        <p:nvSpPr>
          <p:cNvPr id="1032" name="Object 1032"/>
          <p:cNvSpPr txBox="1"/>
          <p:nvPr/>
        </p:nvSpPr>
        <p:spPr>
          <a:xfrm>
            <a:off x="2708938" y="4533320"/>
            <a:ext cx="1227087" cy="361950"/>
          </a:xfrm>
          <a:prstGeom prst="rect">
            <a:avLst/>
          </a:prstGeom>
        </p:spPr>
        <p:txBody>
          <a:bodyPr vert="horz" rtlCol="0" anchor="t" anchorCtr="0">
            <a:noAutofit/>
          </a:bodyPr>
          <a:lstStyle/>
          <a:p>
            <a:pPr marL="0" marR="0" lvl="0" indent="0" algn="ctr" defTabSz="914400" rtl="0" eaLnBrk="1" fontAlgn="auto" latinLnBrk="0" hangingPunct="1">
              <a:lnSpc>
                <a:spcPct val="123333"/>
              </a:lnSpc>
              <a:spcBef>
                <a:spcPts val="0"/>
              </a:spcBef>
              <a:spcAft>
                <a:spcPts val="0"/>
              </a:spcAft>
              <a:buClrTx/>
              <a:buSzTx/>
              <a:buFontTx/>
              <a:buNone/>
              <a:tabLst/>
              <a:defRPr/>
            </a:pPr>
            <a:r>
              <a:rPr kumimoji="0" lang="zh-CN" altLang="en-US" sz="1915" b="0" i="0" u="none" strike="noStrike" kern="1200" cap="none" spc="0" normalizeH="0" baseline="0" noProof="0" dirty="0">
                <a:ln>
                  <a:noFill/>
                </a:ln>
                <a:solidFill>
                  <a:srgbClr val="FFFFFF"/>
                </a:solidFill>
                <a:effectLst/>
                <a:uLnTx/>
                <a:uFillTx/>
                <a:latin typeface="OPPOSans B" panose="00020600040101010101" pitchFamily="18" charset="-122"/>
                <a:ea typeface="OPPOSans B" panose="00020600040101010101" pitchFamily="18" charset="-122"/>
                <a:cs typeface="+mn-cs"/>
              </a:rPr>
              <a:t>添加标题</a:t>
            </a:r>
            <a:endParaRPr kumimoji="0" lang="zh-CN" altLang="en-US" sz="900" b="0" i="0" u="none" strike="noStrike" kern="1200" cap="none" spc="0" normalizeH="0" baseline="0" noProof="0" dirty="0">
              <a:ln>
                <a:noFill/>
              </a:ln>
              <a:solidFill>
                <a:prstClr val="black"/>
              </a:solidFill>
              <a:effectLst/>
              <a:uLnTx/>
              <a:uFillTx/>
              <a:latin typeface="微软雅黑"/>
              <a:ea typeface="微软雅黑"/>
              <a:cs typeface="+mn-cs"/>
            </a:endParaRPr>
          </a:p>
        </p:txBody>
      </p:sp>
      <p:sp>
        <p:nvSpPr>
          <p:cNvPr id="1033" name="Object 1033"/>
          <p:cNvSpPr txBox="1"/>
          <p:nvPr/>
        </p:nvSpPr>
        <p:spPr>
          <a:xfrm>
            <a:off x="2485296" y="5624760"/>
            <a:ext cx="1674974" cy="533400"/>
          </a:xfrm>
          <a:prstGeom prst="rect">
            <a:avLst/>
          </a:prstGeom>
        </p:spPr>
        <p:txBody>
          <a:bodyPr vert="horz" rtlCol="0" anchor="t" anchorCtr="0">
            <a:noAutofit/>
          </a:bodyPr>
          <a:lstStyle/>
          <a:p>
            <a:pPr marL="0" marR="0" lvl="0" indent="0" algn="ctr" defTabSz="914400" rtl="0" eaLnBrk="1" fontAlgn="auto" latinLnBrk="0" hangingPunct="1">
              <a:lnSpc>
                <a:spcPct val="125000"/>
              </a:lnSpc>
              <a:spcBef>
                <a:spcPts val="0"/>
              </a:spcBef>
              <a:spcAft>
                <a:spcPts val="0"/>
              </a:spcAft>
              <a:buClrTx/>
              <a:buSzTx/>
              <a:buFontTx/>
              <a:buNone/>
              <a:tabLst/>
              <a:defRPr/>
            </a:pPr>
            <a:r>
              <a:rPr kumimoji="0" lang="zh-CN" altLang="en-US" sz="1420" b="0" i="0" u="none" strike="noStrike" kern="1200" cap="none" spc="0" normalizeH="0" baseline="0" noProof="0" dirty="0">
                <a:ln>
                  <a:noFill/>
                </a:ln>
                <a:solidFill>
                  <a:srgbClr val="999999"/>
                </a:solidFill>
                <a:effectLst/>
                <a:uLnTx/>
                <a:uFillTx/>
                <a:latin typeface="SourceHanSansSC-Regular"/>
                <a:ea typeface="SourceHanSansSC-Regular"/>
                <a:cs typeface="+mn-cs"/>
              </a:rPr>
              <a:t>单击此处编辑文本单击此处编辑文本</a:t>
            </a:r>
            <a:endParaRPr kumimoji="0" lang="zh-CN" altLang="en-US" sz="900" b="0" i="0" u="none" strike="noStrike" kern="1200" cap="none" spc="0" normalizeH="0" baseline="0" noProof="0">
              <a:ln>
                <a:noFill/>
              </a:ln>
              <a:solidFill>
                <a:prstClr val="black"/>
              </a:solidFill>
              <a:effectLst/>
              <a:uLnTx/>
              <a:uFillTx/>
              <a:latin typeface="微软雅黑"/>
              <a:ea typeface="微软雅黑"/>
              <a:cs typeface="+mn-cs"/>
            </a:endParaRPr>
          </a:p>
        </p:txBody>
      </p:sp>
      <p:sp>
        <p:nvSpPr>
          <p:cNvPr id="1042" name="Object 1042"/>
          <p:cNvSpPr txBox="1"/>
          <p:nvPr/>
        </p:nvSpPr>
        <p:spPr>
          <a:xfrm>
            <a:off x="5819330" y="3994450"/>
            <a:ext cx="863252" cy="323850"/>
          </a:xfrm>
          <a:prstGeom prst="rect">
            <a:avLst/>
          </a:prstGeom>
        </p:spPr>
        <p:txBody>
          <a:bodyPr vert="horz" rtlCol="0" anchor="t" anchorCtr="0">
            <a:noAutofit/>
          </a:bodyPr>
          <a:lstStyle/>
          <a:p>
            <a:pPr marL="0" marR="0" lvl="0" indent="0" algn="l" defTabSz="914400" rtl="0" eaLnBrk="1" fontAlgn="auto" latinLnBrk="0" hangingPunct="1">
              <a:lnSpc>
                <a:spcPct val="88333"/>
              </a:lnSpc>
              <a:spcBef>
                <a:spcPts val="0"/>
              </a:spcBef>
              <a:spcAft>
                <a:spcPts val="0"/>
              </a:spcAft>
              <a:buClrTx/>
              <a:buSzTx/>
              <a:buFontTx/>
              <a:buNone/>
              <a:tabLst/>
              <a:defRPr/>
            </a:pPr>
            <a:r>
              <a:rPr kumimoji="0" lang="en-US" altLang="zh-CN" sz="2405" b="0" i="0" u="none" strike="noStrike" kern="1200" cap="none" spc="0" normalizeH="0" baseline="0" noProof="0" dirty="0">
                <a:ln>
                  <a:noFill/>
                </a:ln>
                <a:solidFill>
                  <a:srgbClr val="FFFFFF"/>
                </a:solidFill>
                <a:effectLst/>
                <a:uLnTx/>
                <a:uFillTx/>
                <a:latin typeface="PangMenZhengDao"/>
                <a:ea typeface="PangMenZhengDao"/>
                <a:cs typeface="+mn-cs"/>
              </a:rPr>
              <a:t>02</a:t>
            </a:r>
            <a:endParaRPr kumimoji="0" lang="zh-CN" altLang="en-US" sz="900" b="0" i="0" u="none" strike="noStrike" kern="1200" cap="none" spc="0" normalizeH="0" baseline="0" noProof="0" dirty="0">
              <a:ln>
                <a:noFill/>
              </a:ln>
              <a:solidFill>
                <a:prstClr val="black"/>
              </a:solidFill>
              <a:effectLst/>
              <a:uLnTx/>
              <a:uFillTx/>
              <a:latin typeface="微软雅黑"/>
              <a:ea typeface="微软雅黑"/>
              <a:cs typeface="+mn-cs"/>
            </a:endParaRPr>
          </a:p>
        </p:txBody>
      </p:sp>
      <p:sp>
        <p:nvSpPr>
          <p:cNvPr id="1043" name="Object 1043"/>
          <p:cNvSpPr txBox="1"/>
          <p:nvPr/>
        </p:nvSpPr>
        <p:spPr>
          <a:xfrm>
            <a:off x="5451479" y="4533320"/>
            <a:ext cx="1227087" cy="361950"/>
          </a:xfrm>
          <a:prstGeom prst="rect">
            <a:avLst/>
          </a:prstGeom>
        </p:spPr>
        <p:txBody>
          <a:bodyPr vert="horz" rtlCol="0" anchor="t" anchorCtr="0">
            <a:noAutofit/>
          </a:bodyPr>
          <a:lstStyle/>
          <a:p>
            <a:pPr marL="0" marR="0" lvl="0" indent="0" algn="ctr" defTabSz="914400" rtl="0" eaLnBrk="1" fontAlgn="auto" latinLnBrk="0" hangingPunct="1">
              <a:lnSpc>
                <a:spcPct val="123333"/>
              </a:lnSpc>
              <a:spcBef>
                <a:spcPts val="0"/>
              </a:spcBef>
              <a:spcAft>
                <a:spcPts val="0"/>
              </a:spcAft>
              <a:buClrTx/>
              <a:buSzTx/>
              <a:buFontTx/>
              <a:buNone/>
              <a:tabLst/>
              <a:defRPr/>
            </a:pPr>
            <a:r>
              <a:rPr kumimoji="0" lang="zh-CN" altLang="en-US" sz="1915" b="0" i="0" u="none" strike="noStrike" kern="1200" cap="none" spc="0" normalizeH="0" baseline="0" noProof="0" dirty="0">
                <a:ln>
                  <a:noFill/>
                </a:ln>
                <a:solidFill>
                  <a:srgbClr val="FFFFFF"/>
                </a:solidFill>
                <a:effectLst/>
                <a:uLnTx/>
                <a:uFillTx/>
                <a:latin typeface="OPPOSans B" panose="00020600040101010101" pitchFamily="18" charset="-122"/>
                <a:ea typeface="OPPOSans B" panose="00020600040101010101" pitchFamily="18" charset="-122"/>
                <a:cs typeface="+mn-cs"/>
              </a:rPr>
              <a:t>添加标题</a:t>
            </a:r>
            <a:endParaRPr kumimoji="0" lang="zh-CN" altLang="en-US" sz="900" b="0" i="0" u="none" strike="noStrike" kern="1200" cap="none" spc="0" normalizeH="0" baseline="0" noProof="0" dirty="0">
              <a:ln>
                <a:noFill/>
              </a:ln>
              <a:solidFill>
                <a:prstClr val="black"/>
              </a:solidFill>
              <a:effectLst/>
              <a:uLnTx/>
              <a:uFillTx/>
              <a:latin typeface="微软雅黑"/>
              <a:ea typeface="微软雅黑"/>
              <a:cs typeface="+mn-cs"/>
            </a:endParaRPr>
          </a:p>
        </p:txBody>
      </p:sp>
      <p:sp>
        <p:nvSpPr>
          <p:cNvPr id="1044" name="Object 1044"/>
          <p:cNvSpPr txBox="1"/>
          <p:nvPr/>
        </p:nvSpPr>
        <p:spPr>
          <a:xfrm>
            <a:off x="5221701" y="5618625"/>
            <a:ext cx="1674974" cy="533400"/>
          </a:xfrm>
          <a:prstGeom prst="rect">
            <a:avLst/>
          </a:prstGeom>
        </p:spPr>
        <p:txBody>
          <a:bodyPr vert="horz" rtlCol="0" anchor="t" anchorCtr="0">
            <a:noAutofit/>
          </a:bodyPr>
          <a:lstStyle/>
          <a:p>
            <a:pPr marL="0" marR="0" lvl="0" indent="0" algn="ctr" defTabSz="914400" rtl="0" eaLnBrk="1" fontAlgn="auto" latinLnBrk="0" hangingPunct="1">
              <a:lnSpc>
                <a:spcPct val="125000"/>
              </a:lnSpc>
              <a:spcBef>
                <a:spcPts val="0"/>
              </a:spcBef>
              <a:spcAft>
                <a:spcPts val="0"/>
              </a:spcAft>
              <a:buClrTx/>
              <a:buSzTx/>
              <a:buFontTx/>
              <a:buNone/>
              <a:tabLst/>
              <a:defRPr/>
            </a:pPr>
            <a:r>
              <a:rPr kumimoji="0" lang="zh-CN" altLang="en-US" sz="1420" b="0" i="0" u="none" strike="noStrike" kern="1200" cap="none" spc="0" normalizeH="0" baseline="0" noProof="0" dirty="0">
                <a:ln>
                  <a:noFill/>
                </a:ln>
                <a:solidFill>
                  <a:srgbClr val="999999"/>
                </a:solidFill>
                <a:effectLst/>
                <a:uLnTx/>
                <a:uFillTx/>
                <a:latin typeface="SourceHanSansSC-Regular"/>
                <a:ea typeface="SourceHanSansSC-Regular"/>
                <a:cs typeface="+mn-cs"/>
              </a:rPr>
              <a:t>单击此处编辑文本单击此处编辑文本</a:t>
            </a:r>
            <a:endParaRPr kumimoji="0" lang="zh-CN" altLang="en-US" sz="900" b="0" i="0" u="none" strike="noStrike" kern="1200" cap="none" spc="0" normalizeH="0" baseline="0" noProof="0">
              <a:ln>
                <a:noFill/>
              </a:ln>
              <a:solidFill>
                <a:prstClr val="black"/>
              </a:solidFill>
              <a:effectLst/>
              <a:uLnTx/>
              <a:uFillTx/>
              <a:latin typeface="微软雅黑"/>
              <a:ea typeface="微软雅黑"/>
              <a:cs typeface="+mn-cs"/>
            </a:endParaRPr>
          </a:p>
        </p:txBody>
      </p:sp>
      <p:pic>
        <p:nvPicPr>
          <p:cNvPr id="1050" name="image 1050"/>
          <p:cNvPicPr>
            <a:picLocks noChangeAspect="1"/>
          </p:cNvPicPr>
          <p:nvPr/>
        </p:nvPicPr>
        <p:blipFill>
          <a:blip r:embed="rId7">
            <a:alphaModFix amt="30196"/>
          </a:blip>
          <a:srcRect/>
          <a:stretch>
            <a:fillRect/>
          </a:stretch>
        </p:blipFill>
        <p:spPr>
          <a:xfrm>
            <a:off x="8114258" y="3970020"/>
            <a:ext cx="1435692" cy="552189"/>
          </a:xfrm>
          <a:prstGeom prst="rect">
            <a:avLst/>
          </a:prstGeom>
        </p:spPr>
      </p:pic>
      <p:sp>
        <p:nvSpPr>
          <p:cNvPr id="1053" name="Object 1053"/>
          <p:cNvSpPr txBox="1"/>
          <p:nvPr/>
        </p:nvSpPr>
        <p:spPr>
          <a:xfrm>
            <a:off x="8613935" y="4004099"/>
            <a:ext cx="850981" cy="323850"/>
          </a:xfrm>
          <a:prstGeom prst="rect">
            <a:avLst/>
          </a:prstGeom>
        </p:spPr>
        <p:txBody>
          <a:bodyPr vert="horz" rtlCol="0" anchor="t" anchorCtr="0">
            <a:noAutofit/>
          </a:bodyPr>
          <a:lstStyle/>
          <a:p>
            <a:pPr marL="0" marR="0" lvl="0" indent="0" algn="l" defTabSz="914400" rtl="0" eaLnBrk="1" fontAlgn="auto" latinLnBrk="0" hangingPunct="1">
              <a:lnSpc>
                <a:spcPct val="88333"/>
              </a:lnSpc>
              <a:spcBef>
                <a:spcPts val="0"/>
              </a:spcBef>
              <a:spcAft>
                <a:spcPts val="0"/>
              </a:spcAft>
              <a:buClrTx/>
              <a:buSzTx/>
              <a:buFontTx/>
              <a:buNone/>
              <a:tabLst/>
              <a:defRPr/>
            </a:pPr>
            <a:r>
              <a:rPr kumimoji="0" lang="en-US" altLang="zh-CN" sz="2405" b="0" i="0" u="none" strike="noStrike" kern="1200" cap="none" spc="0" normalizeH="0" baseline="0" noProof="0" dirty="0">
                <a:ln>
                  <a:noFill/>
                </a:ln>
                <a:solidFill>
                  <a:srgbClr val="FFFFFF"/>
                </a:solidFill>
                <a:effectLst/>
                <a:uLnTx/>
                <a:uFillTx/>
                <a:latin typeface="PangMenZhengDao"/>
                <a:ea typeface="PangMenZhengDao"/>
                <a:cs typeface="+mn-cs"/>
              </a:rPr>
              <a:t>03</a:t>
            </a:r>
            <a:endParaRPr kumimoji="0" lang="zh-CN" altLang="en-US" sz="900" b="0" i="0" u="none" strike="noStrike" kern="1200" cap="none" spc="0" normalizeH="0" baseline="0" noProof="0" dirty="0">
              <a:ln>
                <a:noFill/>
              </a:ln>
              <a:solidFill>
                <a:prstClr val="black"/>
              </a:solidFill>
              <a:effectLst/>
              <a:uLnTx/>
              <a:uFillTx/>
              <a:latin typeface="微软雅黑"/>
              <a:ea typeface="微软雅黑"/>
              <a:cs typeface="+mn-cs"/>
            </a:endParaRPr>
          </a:p>
        </p:txBody>
      </p:sp>
      <p:sp>
        <p:nvSpPr>
          <p:cNvPr id="1054" name="Object 1054"/>
          <p:cNvSpPr txBox="1"/>
          <p:nvPr/>
        </p:nvSpPr>
        <p:spPr>
          <a:xfrm>
            <a:off x="8224696" y="4533320"/>
            <a:ext cx="1227087" cy="361950"/>
          </a:xfrm>
          <a:prstGeom prst="rect">
            <a:avLst/>
          </a:prstGeom>
        </p:spPr>
        <p:txBody>
          <a:bodyPr vert="horz" rtlCol="0" anchor="t" anchorCtr="0">
            <a:noAutofit/>
          </a:bodyPr>
          <a:lstStyle/>
          <a:p>
            <a:pPr marL="0" marR="0" lvl="0" indent="0" algn="ctr" defTabSz="914400" rtl="0" eaLnBrk="1" fontAlgn="auto" latinLnBrk="0" hangingPunct="1">
              <a:lnSpc>
                <a:spcPct val="123333"/>
              </a:lnSpc>
              <a:spcBef>
                <a:spcPts val="0"/>
              </a:spcBef>
              <a:spcAft>
                <a:spcPts val="0"/>
              </a:spcAft>
              <a:buClrTx/>
              <a:buSzTx/>
              <a:buFontTx/>
              <a:buNone/>
              <a:tabLst/>
              <a:defRPr/>
            </a:pPr>
            <a:r>
              <a:rPr kumimoji="0" lang="zh-CN" altLang="en-US" sz="1915" b="0" i="0" u="none" strike="noStrike" kern="1200" cap="none" spc="0" normalizeH="0" baseline="0" noProof="0" dirty="0">
                <a:ln>
                  <a:noFill/>
                </a:ln>
                <a:solidFill>
                  <a:srgbClr val="FFFFFF"/>
                </a:solidFill>
                <a:effectLst/>
                <a:uLnTx/>
                <a:uFillTx/>
                <a:latin typeface="OPPOSans B" panose="00020600040101010101" pitchFamily="18" charset="-122"/>
                <a:ea typeface="OPPOSans B" panose="00020600040101010101" pitchFamily="18" charset="-122"/>
                <a:cs typeface="+mn-cs"/>
              </a:rPr>
              <a:t>添加标题</a:t>
            </a:r>
            <a:endParaRPr kumimoji="0" lang="zh-CN" altLang="en-US" sz="900" b="0" i="0" u="none" strike="noStrike" kern="1200" cap="none" spc="0" normalizeH="0" baseline="0" noProof="0" dirty="0">
              <a:ln>
                <a:noFill/>
              </a:ln>
              <a:solidFill>
                <a:prstClr val="black"/>
              </a:solidFill>
              <a:effectLst/>
              <a:uLnTx/>
              <a:uFillTx/>
              <a:latin typeface="微软雅黑"/>
              <a:ea typeface="微软雅黑"/>
              <a:cs typeface="+mn-cs"/>
            </a:endParaRPr>
          </a:p>
        </p:txBody>
      </p:sp>
      <p:sp>
        <p:nvSpPr>
          <p:cNvPr id="1055" name="Object 1055"/>
          <p:cNvSpPr txBox="1"/>
          <p:nvPr/>
        </p:nvSpPr>
        <p:spPr>
          <a:xfrm>
            <a:off x="8031731" y="5624760"/>
            <a:ext cx="1674974" cy="533400"/>
          </a:xfrm>
          <a:prstGeom prst="rect">
            <a:avLst/>
          </a:prstGeom>
        </p:spPr>
        <p:txBody>
          <a:bodyPr vert="horz" rtlCol="0" anchor="t" anchorCtr="0">
            <a:noAutofit/>
          </a:bodyPr>
          <a:lstStyle/>
          <a:p>
            <a:pPr marL="0" marR="0" lvl="0" indent="0" algn="ctr" defTabSz="914400" rtl="0" eaLnBrk="1" fontAlgn="auto" latinLnBrk="0" hangingPunct="1">
              <a:lnSpc>
                <a:spcPct val="125000"/>
              </a:lnSpc>
              <a:spcBef>
                <a:spcPts val="0"/>
              </a:spcBef>
              <a:spcAft>
                <a:spcPts val="0"/>
              </a:spcAft>
              <a:buClrTx/>
              <a:buSzTx/>
              <a:buFontTx/>
              <a:buNone/>
              <a:tabLst/>
              <a:defRPr/>
            </a:pPr>
            <a:r>
              <a:rPr kumimoji="0" lang="zh-CN" altLang="en-US" sz="1420" b="0" i="0" u="none" strike="noStrike" kern="1200" cap="none" spc="0" normalizeH="0" baseline="0" noProof="0" dirty="0">
                <a:ln>
                  <a:noFill/>
                </a:ln>
                <a:solidFill>
                  <a:srgbClr val="999999"/>
                </a:solidFill>
                <a:effectLst/>
                <a:uLnTx/>
                <a:uFillTx/>
                <a:latin typeface="SourceHanSansSC-Regular"/>
                <a:ea typeface="SourceHanSansSC-Regular"/>
                <a:cs typeface="+mn-cs"/>
              </a:rPr>
              <a:t>单击此处编辑文本单击此处编辑文本</a:t>
            </a:r>
            <a:endParaRPr kumimoji="0" lang="zh-CN" altLang="en-US" sz="900" b="0" i="0" u="none" strike="noStrike" kern="1200" cap="none" spc="0" normalizeH="0" baseline="0" noProof="0">
              <a:ln>
                <a:noFill/>
              </a:ln>
              <a:solidFill>
                <a:prstClr val="black"/>
              </a:solidFill>
              <a:effectLst/>
              <a:uLnTx/>
              <a:uFillTx/>
              <a:latin typeface="微软雅黑"/>
              <a:ea typeface="微软雅黑"/>
              <a:cs typeface="+mn-cs"/>
            </a:endParaRPr>
          </a:p>
        </p:txBody>
      </p:sp>
      <p:sp>
        <p:nvSpPr>
          <p:cNvPr id="71" name="椭圆 70">
            <a:extLst>
              <a:ext uri="{FF2B5EF4-FFF2-40B4-BE49-F238E27FC236}">
                <a16:creationId xmlns:a16="http://schemas.microsoft.com/office/drawing/2014/main" id="{1E0499C1-17B1-4F83-A818-EC1F31724AF7}"/>
              </a:ext>
            </a:extLst>
          </p:cNvPr>
          <p:cNvSpPr/>
          <p:nvPr/>
        </p:nvSpPr>
        <p:spPr>
          <a:xfrm>
            <a:off x="2528069" y="3879979"/>
            <a:ext cx="1588264" cy="1588264"/>
          </a:xfrm>
          <a:prstGeom prst="ellipse">
            <a:avLst/>
          </a:prstGeom>
          <a:noFill/>
          <a:ln w="158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微软雅黑"/>
              <a:ea typeface="微软雅黑"/>
              <a:cs typeface="+mn-cs"/>
            </a:endParaRPr>
          </a:p>
        </p:txBody>
      </p:sp>
      <p:sp>
        <p:nvSpPr>
          <p:cNvPr id="6" name="椭圆 5">
            <a:extLst>
              <a:ext uri="{FF2B5EF4-FFF2-40B4-BE49-F238E27FC236}">
                <a16:creationId xmlns:a16="http://schemas.microsoft.com/office/drawing/2014/main" id="{8FC7D6AF-9C49-44BC-BEFF-5585EA337EAC}"/>
              </a:ext>
            </a:extLst>
          </p:cNvPr>
          <p:cNvSpPr/>
          <p:nvPr/>
        </p:nvSpPr>
        <p:spPr>
          <a:xfrm>
            <a:off x="3242720" y="3568004"/>
            <a:ext cx="141115" cy="141115"/>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微软雅黑"/>
              <a:ea typeface="微软雅黑"/>
              <a:cs typeface="+mn-cs"/>
            </a:endParaRPr>
          </a:p>
        </p:txBody>
      </p:sp>
      <p:sp>
        <p:nvSpPr>
          <p:cNvPr id="79" name="椭圆 78">
            <a:extLst>
              <a:ext uri="{FF2B5EF4-FFF2-40B4-BE49-F238E27FC236}">
                <a16:creationId xmlns:a16="http://schemas.microsoft.com/office/drawing/2014/main" id="{7080D11A-6697-495A-BB33-76B06E319D0F}"/>
              </a:ext>
            </a:extLst>
          </p:cNvPr>
          <p:cNvSpPr/>
          <p:nvPr/>
        </p:nvSpPr>
        <p:spPr>
          <a:xfrm>
            <a:off x="6011384" y="3612273"/>
            <a:ext cx="141115" cy="141115"/>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微软雅黑"/>
              <a:ea typeface="微软雅黑"/>
              <a:cs typeface="+mn-cs"/>
            </a:endParaRPr>
          </a:p>
        </p:txBody>
      </p:sp>
      <p:sp>
        <p:nvSpPr>
          <p:cNvPr id="80" name="椭圆 79">
            <a:extLst>
              <a:ext uri="{FF2B5EF4-FFF2-40B4-BE49-F238E27FC236}">
                <a16:creationId xmlns:a16="http://schemas.microsoft.com/office/drawing/2014/main" id="{9E9874CE-E369-41C9-899E-32DA38F728A7}"/>
              </a:ext>
            </a:extLst>
          </p:cNvPr>
          <p:cNvSpPr/>
          <p:nvPr/>
        </p:nvSpPr>
        <p:spPr>
          <a:xfrm>
            <a:off x="8767681" y="3585840"/>
            <a:ext cx="141115" cy="141115"/>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微软雅黑"/>
              <a:ea typeface="微软雅黑"/>
              <a:cs typeface="+mn-cs"/>
            </a:endParaRPr>
          </a:p>
        </p:txBody>
      </p:sp>
      <p:sp>
        <p:nvSpPr>
          <p:cNvPr id="81" name="椭圆 80">
            <a:extLst>
              <a:ext uri="{FF2B5EF4-FFF2-40B4-BE49-F238E27FC236}">
                <a16:creationId xmlns:a16="http://schemas.microsoft.com/office/drawing/2014/main" id="{8DD04893-2704-4F21-877D-A20AB4875497}"/>
              </a:ext>
            </a:extLst>
          </p:cNvPr>
          <p:cNvSpPr/>
          <p:nvPr/>
        </p:nvSpPr>
        <p:spPr>
          <a:xfrm>
            <a:off x="5989119" y="3070438"/>
            <a:ext cx="185643" cy="185643"/>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微软雅黑"/>
              <a:ea typeface="微软雅黑"/>
              <a:cs typeface="+mn-cs"/>
            </a:endParaRPr>
          </a:p>
        </p:txBody>
      </p:sp>
      <p:sp>
        <p:nvSpPr>
          <p:cNvPr id="82" name="椭圆 81">
            <a:extLst>
              <a:ext uri="{FF2B5EF4-FFF2-40B4-BE49-F238E27FC236}">
                <a16:creationId xmlns:a16="http://schemas.microsoft.com/office/drawing/2014/main" id="{A8BCFEE0-C368-415A-AE0A-2E97BDCB196C}"/>
              </a:ext>
            </a:extLst>
          </p:cNvPr>
          <p:cNvSpPr/>
          <p:nvPr/>
        </p:nvSpPr>
        <p:spPr>
          <a:xfrm>
            <a:off x="6011384" y="2508586"/>
            <a:ext cx="141115" cy="141115"/>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微软雅黑"/>
              <a:ea typeface="微软雅黑"/>
              <a:cs typeface="+mn-cs"/>
            </a:endParaRPr>
          </a:p>
        </p:txBody>
      </p:sp>
      <p:pic>
        <p:nvPicPr>
          <p:cNvPr id="7" name="图形 6">
            <a:extLst>
              <a:ext uri="{FF2B5EF4-FFF2-40B4-BE49-F238E27FC236}">
                <a16:creationId xmlns:a16="http://schemas.microsoft.com/office/drawing/2014/main" id="{41832EF2-FD12-449C-AD24-87CC472DAFA6}"/>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820566" y="1669263"/>
            <a:ext cx="2465647" cy="401209"/>
          </a:xfrm>
          <a:prstGeom prst="rect">
            <a:avLst/>
          </a:prstGeom>
        </p:spPr>
      </p:pic>
      <p:sp>
        <p:nvSpPr>
          <p:cNvPr id="84" name="椭圆 83">
            <a:extLst>
              <a:ext uri="{FF2B5EF4-FFF2-40B4-BE49-F238E27FC236}">
                <a16:creationId xmlns:a16="http://schemas.microsoft.com/office/drawing/2014/main" id="{01AC67D3-1B91-4CE1-B5CA-B465F9F26CFE}"/>
              </a:ext>
            </a:extLst>
          </p:cNvPr>
          <p:cNvSpPr/>
          <p:nvPr/>
        </p:nvSpPr>
        <p:spPr>
          <a:xfrm>
            <a:off x="4772528" y="1989479"/>
            <a:ext cx="110844" cy="11084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微软雅黑"/>
              <a:ea typeface="微软雅黑"/>
              <a:cs typeface="+mn-cs"/>
            </a:endParaRPr>
          </a:p>
        </p:txBody>
      </p:sp>
      <p:sp>
        <p:nvSpPr>
          <p:cNvPr id="85" name="椭圆 84">
            <a:extLst>
              <a:ext uri="{FF2B5EF4-FFF2-40B4-BE49-F238E27FC236}">
                <a16:creationId xmlns:a16="http://schemas.microsoft.com/office/drawing/2014/main" id="{5DB2CCBA-6A52-4F44-89B4-A5644382B2EB}"/>
              </a:ext>
            </a:extLst>
          </p:cNvPr>
          <p:cNvSpPr/>
          <p:nvPr/>
        </p:nvSpPr>
        <p:spPr>
          <a:xfrm>
            <a:off x="7218773" y="1976739"/>
            <a:ext cx="88711" cy="9127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微软雅黑"/>
              <a:ea typeface="微软雅黑"/>
              <a:cs typeface="+mn-cs"/>
            </a:endParaRPr>
          </a:p>
        </p:txBody>
      </p:sp>
    </p:spTree>
    <p:extLst>
      <p:ext uri="{BB962C8B-B14F-4D97-AF65-F5344CB8AC3E}">
        <p14:creationId xmlns:p14="http://schemas.microsoft.com/office/powerpoint/2010/main" val="2894701286"/>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80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6" name="gaoding-25">
            <a:extLst>
              <a:ext uri="{FF2B5EF4-FFF2-40B4-BE49-F238E27FC236}">
                <a16:creationId xmlns:a16="http://schemas.microsoft.com/office/drawing/2014/main" id="{C66C3C2F-1482-443F-949C-7EF0D621F95E}"/>
              </a:ext>
            </a:extLst>
          </p:cNvPr>
          <p:cNvSpPr txBox="1"/>
          <p:nvPr/>
        </p:nvSpPr>
        <p:spPr>
          <a:xfrm>
            <a:off x="570916" y="607080"/>
            <a:ext cx="2339102"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2800" b="1" i="0" u="none" strike="noStrike" kern="1200" cap="none" spc="0" normalizeH="0" baseline="0" noProof="0" dirty="0">
                <a:ln>
                  <a:noFill/>
                </a:ln>
                <a:solidFill>
                  <a:srgbClr val="000000">
                    <a:lumMod val="85000"/>
                    <a:lumOff val="15000"/>
                  </a:srgbClr>
                </a:solidFill>
                <a:effectLst/>
                <a:uLnTx/>
                <a:uFillTx/>
                <a:latin typeface="OPPOSans B" panose="00020600040101010101" pitchFamily="18" charset="-122"/>
                <a:ea typeface="OPPOSans B" panose="00020600040101010101" pitchFamily="18" charset="-122"/>
                <a:cs typeface="OPPOSans B" panose="00020600040101010101" pitchFamily="18" charset="-122"/>
                <a:sym typeface="+mn-lt"/>
              </a:rPr>
              <a:t>组织架构模板</a:t>
            </a:r>
          </a:p>
        </p:txBody>
      </p:sp>
      <p:sp>
        <p:nvSpPr>
          <p:cNvPr id="98" name="椭圆 97">
            <a:extLst>
              <a:ext uri="{FF2B5EF4-FFF2-40B4-BE49-F238E27FC236}">
                <a16:creationId xmlns:a16="http://schemas.microsoft.com/office/drawing/2014/main" id="{B712EDB2-48F1-4F9F-805C-4B17E1324C0E}"/>
              </a:ext>
            </a:extLst>
          </p:cNvPr>
          <p:cNvSpPr/>
          <p:nvPr/>
        </p:nvSpPr>
        <p:spPr>
          <a:xfrm>
            <a:off x="5271462" y="920795"/>
            <a:ext cx="1642534" cy="1650900"/>
          </a:xfrm>
          <a:prstGeom prst="ellipse">
            <a:avLst/>
          </a:prstGeom>
          <a:solidFill>
            <a:schemeClr val="accent1">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5720" tIns="22860" rIns="45720" bIns="228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Arial" panose="020F0502020204030204"/>
              <a:ea typeface="微软雅黑"/>
              <a:cs typeface="+mn-cs"/>
            </a:endParaRPr>
          </a:p>
        </p:txBody>
      </p:sp>
      <p:sp>
        <p:nvSpPr>
          <p:cNvPr id="99" name="椭圆 98">
            <a:extLst>
              <a:ext uri="{FF2B5EF4-FFF2-40B4-BE49-F238E27FC236}">
                <a16:creationId xmlns:a16="http://schemas.microsoft.com/office/drawing/2014/main" id="{4EBB9BC8-6387-47F1-AD3E-07388F300D5B}"/>
              </a:ext>
            </a:extLst>
          </p:cNvPr>
          <p:cNvSpPr/>
          <p:nvPr/>
        </p:nvSpPr>
        <p:spPr>
          <a:xfrm>
            <a:off x="5462016" y="1112319"/>
            <a:ext cx="1261426" cy="1267852"/>
          </a:xfrm>
          <a:prstGeom prst="ellipse">
            <a:avLst/>
          </a:prstGeom>
          <a:gradFill flip="none" rotWithShape="1">
            <a:gsLst>
              <a:gs pos="1000">
                <a:schemeClr val="accent1"/>
              </a:gs>
              <a:gs pos="100000">
                <a:schemeClr val="accent1">
                  <a:lumMod val="60000"/>
                  <a:lumOff val="40000"/>
                </a:schemeClr>
              </a:gs>
            </a:gsLst>
            <a:lin ang="2700000" scaled="0"/>
            <a:tileRect/>
          </a:gradFill>
          <a:ln>
            <a:noFill/>
          </a:ln>
          <a:effectLst>
            <a:outerShdw blurRad="330200" dist="381000" dir="5400000" sx="90000" sy="90000" algn="t" rotWithShape="0">
              <a:schemeClr val="accent1">
                <a:lumMod val="75000"/>
                <a:alpha val="2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5720" tIns="22860" rIns="45720" bIns="228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Arial" panose="020F0502020204030204"/>
              <a:ea typeface="微软雅黑"/>
              <a:cs typeface="+mn-cs"/>
            </a:endParaRPr>
          </a:p>
        </p:txBody>
      </p:sp>
      <p:sp>
        <p:nvSpPr>
          <p:cNvPr id="100" name="Object 1013">
            <a:extLst>
              <a:ext uri="{FF2B5EF4-FFF2-40B4-BE49-F238E27FC236}">
                <a16:creationId xmlns:a16="http://schemas.microsoft.com/office/drawing/2014/main" id="{E036FC60-5848-464B-A544-D4863DD0C11C}"/>
              </a:ext>
            </a:extLst>
          </p:cNvPr>
          <p:cNvSpPr txBox="1"/>
          <p:nvPr/>
        </p:nvSpPr>
        <p:spPr>
          <a:xfrm>
            <a:off x="5362308" y="1464761"/>
            <a:ext cx="1460842" cy="615553"/>
          </a:xfrm>
          <a:prstGeom prst="rect">
            <a:avLst/>
          </a:prstGeom>
        </p:spPr>
        <p:txBody>
          <a:bodyPr vert="horz" wrap="square" lIns="0" tIns="0" rIns="0" bIns="0" rtlCol="0" anchor="t"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2000" b="0" i="0" u="none" strike="noStrike" kern="1200" cap="none" spc="0" normalizeH="0" baseline="0" noProof="0" dirty="0">
                <a:ln>
                  <a:noFill/>
                </a:ln>
                <a:solidFill>
                  <a:srgbClr val="FFFFFF"/>
                </a:solidFill>
                <a:effectLst/>
                <a:uLnTx/>
                <a:uFillTx/>
                <a:latin typeface="OPPOSans B" panose="00020600040101010101" pitchFamily="18" charset="-122"/>
                <a:ea typeface="OPPOSans B" panose="00020600040101010101" pitchFamily="18" charset="-122"/>
                <a:cs typeface="OPPOSans B" panose="00020600040101010101" pitchFamily="18" charset="-122"/>
              </a:rPr>
              <a:t>  投资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2000" b="0" i="0" u="none" strike="noStrike" kern="1200" cap="none" spc="0" normalizeH="0" baseline="0" noProof="0" dirty="0">
                <a:ln>
                  <a:noFill/>
                </a:ln>
                <a:solidFill>
                  <a:srgbClr val="FFFFFF"/>
                </a:solidFill>
                <a:effectLst/>
                <a:uLnTx/>
                <a:uFillTx/>
                <a:latin typeface="OPPOSans B" panose="00020600040101010101" pitchFamily="18" charset="-122"/>
                <a:ea typeface="OPPOSans B" panose="00020600040101010101" pitchFamily="18" charset="-122"/>
                <a:cs typeface="OPPOSans B" panose="00020600040101010101" pitchFamily="18" charset="-122"/>
              </a:rPr>
              <a:t>发展部</a:t>
            </a:r>
          </a:p>
        </p:txBody>
      </p:sp>
      <p:cxnSp>
        <p:nvCxnSpPr>
          <p:cNvPr id="102" name="直接连接符 101">
            <a:extLst>
              <a:ext uri="{FF2B5EF4-FFF2-40B4-BE49-F238E27FC236}">
                <a16:creationId xmlns:a16="http://schemas.microsoft.com/office/drawing/2014/main" id="{0D92FAFE-287B-4EB7-85EA-FA2804387068}"/>
              </a:ext>
            </a:extLst>
          </p:cNvPr>
          <p:cNvCxnSpPr>
            <a:cxnSpLocks/>
          </p:cNvCxnSpPr>
          <p:nvPr/>
        </p:nvCxnSpPr>
        <p:spPr>
          <a:xfrm>
            <a:off x="6092729" y="2608361"/>
            <a:ext cx="0" cy="408115"/>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8" name="圆: 空心 27">
            <a:extLst>
              <a:ext uri="{FF2B5EF4-FFF2-40B4-BE49-F238E27FC236}">
                <a16:creationId xmlns:a16="http://schemas.microsoft.com/office/drawing/2014/main" id="{5D25DE4C-A453-49A3-BF25-F01904BD6934}"/>
              </a:ext>
            </a:extLst>
          </p:cNvPr>
          <p:cNvSpPr/>
          <p:nvPr/>
        </p:nvSpPr>
        <p:spPr>
          <a:xfrm>
            <a:off x="997553" y="3316941"/>
            <a:ext cx="1623482" cy="1631752"/>
          </a:xfrm>
          <a:prstGeom prst="donut">
            <a:avLst>
              <a:gd name="adj" fmla="val 18445"/>
            </a:avLst>
          </a:prstGeom>
          <a:solidFill>
            <a:schemeClr val="accent1">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5720" tIns="22860" rIns="45720" bIns="228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Arial" panose="020F0502020204030204"/>
              <a:ea typeface="微软雅黑"/>
              <a:cs typeface="+mn-cs"/>
            </a:endParaRPr>
          </a:p>
        </p:txBody>
      </p:sp>
      <p:sp>
        <p:nvSpPr>
          <p:cNvPr id="27" name="圆: 空心 26">
            <a:extLst>
              <a:ext uri="{FF2B5EF4-FFF2-40B4-BE49-F238E27FC236}">
                <a16:creationId xmlns:a16="http://schemas.microsoft.com/office/drawing/2014/main" id="{08870571-0CF8-4D41-87CF-A3E106C561B4}"/>
              </a:ext>
            </a:extLst>
          </p:cNvPr>
          <p:cNvSpPr/>
          <p:nvPr/>
        </p:nvSpPr>
        <p:spPr>
          <a:xfrm>
            <a:off x="1137409" y="3457508"/>
            <a:ext cx="1343769" cy="1350616"/>
          </a:xfrm>
          <a:prstGeom prst="donut">
            <a:avLst>
              <a:gd name="adj" fmla="val 13294"/>
            </a:avLst>
          </a:prstGeom>
          <a:gradFill flip="none" rotWithShape="1">
            <a:gsLst>
              <a:gs pos="1000">
                <a:schemeClr val="accent1"/>
              </a:gs>
              <a:gs pos="100000">
                <a:schemeClr val="accent1">
                  <a:lumMod val="60000"/>
                  <a:lumOff val="40000"/>
                </a:schemeClr>
              </a:gs>
            </a:gsLst>
            <a:lin ang="2700000" scaled="0"/>
            <a:tileRect/>
          </a:gradFill>
          <a:ln>
            <a:noFill/>
          </a:ln>
          <a:effectLst>
            <a:outerShdw blurRad="330200" dist="381000" dir="5400000" sx="90000" sy="90000" algn="t" rotWithShape="0">
              <a:schemeClr val="accent1">
                <a:lumMod val="75000"/>
                <a:alpha val="2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5720" tIns="22860" rIns="45720" bIns="228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Arial" panose="020F0502020204030204"/>
              <a:ea typeface="微软雅黑"/>
              <a:cs typeface="+mn-cs"/>
            </a:endParaRPr>
          </a:p>
        </p:txBody>
      </p:sp>
      <p:sp>
        <p:nvSpPr>
          <p:cNvPr id="29" name="Object 1013">
            <a:extLst>
              <a:ext uri="{FF2B5EF4-FFF2-40B4-BE49-F238E27FC236}">
                <a16:creationId xmlns:a16="http://schemas.microsoft.com/office/drawing/2014/main" id="{045463AC-D64C-4C12-8D94-40112B4ED963}"/>
              </a:ext>
            </a:extLst>
          </p:cNvPr>
          <p:cNvSpPr txBox="1"/>
          <p:nvPr/>
        </p:nvSpPr>
        <p:spPr>
          <a:xfrm>
            <a:off x="1229737" y="5467601"/>
            <a:ext cx="1159114" cy="276999"/>
          </a:xfrm>
          <a:prstGeom prst="rect">
            <a:avLst/>
          </a:prstGeom>
        </p:spPr>
        <p:txBody>
          <a:bodyPr vert="horz" wrap="square" lIns="0" tIns="0" rIns="0" bIns="0" rtlCol="0" anchor="t"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800" b="0" i="0" u="none" strike="noStrike" kern="1200" cap="none" spc="0" normalizeH="0" baseline="0" noProof="0" dirty="0">
                <a:ln>
                  <a:noFill/>
                </a:ln>
                <a:solidFill>
                  <a:srgbClr val="000000">
                    <a:lumMod val="75000"/>
                    <a:lumOff val="2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rPr>
              <a:t>填写名称</a:t>
            </a:r>
          </a:p>
        </p:txBody>
      </p:sp>
      <p:cxnSp>
        <p:nvCxnSpPr>
          <p:cNvPr id="3" name="直接连接符 2">
            <a:extLst>
              <a:ext uri="{FF2B5EF4-FFF2-40B4-BE49-F238E27FC236}">
                <a16:creationId xmlns:a16="http://schemas.microsoft.com/office/drawing/2014/main" id="{39DCED82-B593-4FAE-A1CA-82A7C4623447}"/>
              </a:ext>
            </a:extLst>
          </p:cNvPr>
          <p:cNvCxnSpPr>
            <a:cxnSpLocks/>
          </p:cNvCxnSpPr>
          <p:nvPr/>
        </p:nvCxnSpPr>
        <p:spPr>
          <a:xfrm>
            <a:off x="1809294" y="4994933"/>
            <a:ext cx="0" cy="430213"/>
          </a:xfrm>
          <a:prstGeom prst="line">
            <a:avLst/>
          </a:prstGeom>
          <a:ln w="12700">
            <a:solidFill>
              <a:schemeClr val="accent1">
                <a:lumMod val="40000"/>
                <a:lumOff val="60000"/>
              </a:schemeClr>
            </a:solidFill>
            <a:prstDash val="dash"/>
          </a:ln>
        </p:spPr>
        <p:style>
          <a:lnRef idx="1">
            <a:schemeClr val="accent1"/>
          </a:lnRef>
          <a:fillRef idx="0">
            <a:schemeClr val="accent1"/>
          </a:fillRef>
          <a:effectRef idx="0">
            <a:schemeClr val="accent1"/>
          </a:effectRef>
          <a:fontRef idx="minor">
            <a:schemeClr val="tx1"/>
          </a:fontRef>
        </p:style>
      </p:cxnSp>
      <p:sp>
        <p:nvSpPr>
          <p:cNvPr id="39" name="Object 1013">
            <a:extLst>
              <a:ext uri="{FF2B5EF4-FFF2-40B4-BE49-F238E27FC236}">
                <a16:creationId xmlns:a16="http://schemas.microsoft.com/office/drawing/2014/main" id="{D26BCBAE-2DA8-4AF2-8229-22F1F5FFDF50}"/>
              </a:ext>
            </a:extLst>
          </p:cNvPr>
          <p:cNvSpPr txBox="1"/>
          <p:nvPr/>
        </p:nvSpPr>
        <p:spPr>
          <a:xfrm>
            <a:off x="1229737" y="5787055"/>
            <a:ext cx="1159114" cy="276999"/>
          </a:xfrm>
          <a:prstGeom prst="rect">
            <a:avLst/>
          </a:prstGeom>
        </p:spPr>
        <p:txBody>
          <a:bodyPr vert="horz" wrap="square" lIns="0" tIns="0" rIns="0" bIns="0" rtlCol="0" anchor="t"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800" b="0" i="0" u="none" strike="noStrike" kern="1200" cap="none" spc="0" normalizeH="0" baseline="0" noProof="0" dirty="0">
                <a:ln>
                  <a:noFill/>
                </a:ln>
                <a:solidFill>
                  <a:srgbClr val="000000">
                    <a:lumMod val="75000"/>
                    <a:lumOff val="2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rPr>
              <a:t>填写名称</a:t>
            </a:r>
          </a:p>
        </p:txBody>
      </p:sp>
      <p:sp>
        <p:nvSpPr>
          <p:cNvPr id="30" name="Object 1013">
            <a:extLst>
              <a:ext uri="{FF2B5EF4-FFF2-40B4-BE49-F238E27FC236}">
                <a16:creationId xmlns:a16="http://schemas.microsoft.com/office/drawing/2014/main" id="{828409DA-3DA5-423C-B498-E4DA058D9275}"/>
              </a:ext>
            </a:extLst>
          </p:cNvPr>
          <p:cNvSpPr txBox="1"/>
          <p:nvPr/>
        </p:nvSpPr>
        <p:spPr>
          <a:xfrm>
            <a:off x="1078873" y="3825040"/>
            <a:ext cx="1460842" cy="615553"/>
          </a:xfrm>
          <a:prstGeom prst="rect">
            <a:avLst/>
          </a:prstGeom>
        </p:spPr>
        <p:txBody>
          <a:bodyPr vert="horz" wrap="square" lIns="0" tIns="0" rIns="0" bIns="0" rtlCol="0" anchor="t"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2000" b="0" i="0" u="none" strike="noStrike" kern="1200" cap="none" spc="0" normalizeH="0" baseline="0" noProof="0" dirty="0">
                <a:ln>
                  <a:noFill/>
                </a:ln>
                <a:solidFill>
                  <a:srgbClr val="2254F4"/>
                </a:solidFill>
                <a:effectLst/>
                <a:uLnTx/>
                <a:uFillTx/>
                <a:latin typeface="OPPOSans B" panose="00020600040101010101" pitchFamily="18" charset="-122"/>
                <a:ea typeface="OPPOSans B" panose="00020600040101010101" pitchFamily="18" charset="-122"/>
                <a:cs typeface="OPPOSans B" panose="00020600040101010101" pitchFamily="18" charset="-122"/>
              </a:rPr>
              <a:t>  投资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2000" b="0" i="0" u="none" strike="noStrike" kern="1200" cap="none" spc="0" normalizeH="0" baseline="0" noProof="0" dirty="0">
                <a:ln>
                  <a:noFill/>
                </a:ln>
                <a:solidFill>
                  <a:srgbClr val="2254F4"/>
                </a:solidFill>
                <a:effectLst/>
                <a:uLnTx/>
                <a:uFillTx/>
                <a:latin typeface="OPPOSans B" panose="00020600040101010101" pitchFamily="18" charset="-122"/>
                <a:ea typeface="OPPOSans B" panose="00020600040101010101" pitchFamily="18" charset="-122"/>
                <a:cs typeface="OPPOSans B" panose="00020600040101010101" pitchFamily="18" charset="-122"/>
              </a:rPr>
              <a:t>发展部</a:t>
            </a:r>
          </a:p>
        </p:txBody>
      </p:sp>
      <p:sp>
        <p:nvSpPr>
          <p:cNvPr id="117" name="圆: 空心 116">
            <a:extLst>
              <a:ext uri="{FF2B5EF4-FFF2-40B4-BE49-F238E27FC236}">
                <a16:creationId xmlns:a16="http://schemas.microsoft.com/office/drawing/2014/main" id="{AF446F88-6F60-4109-A29E-DF1F86269230}"/>
              </a:ext>
            </a:extLst>
          </p:cNvPr>
          <p:cNvSpPr/>
          <p:nvPr/>
        </p:nvSpPr>
        <p:spPr>
          <a:xfrm>
            <a:off x="3140906" y="3316941"/>
            <a:ext cx="1623482" cy="1631752"/>
          </a:xfrm>
          <a:prstGeom prst="donut">
            <a:avLst>
              <a:gd name="adj" fmla="val 18445"/>
            </a:avLst>
          </a:prstGeom>
          <a:solidFill>
            <a:schemeClr val="accent2">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5720" tIns="22860" rIns="45720" bIns="228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Arial" panose="020F0502020204030204"/>
              <a:ea typeface="微软雅黑"/>
              <a:cs typeface="+mn-cs"/>
            </a:endParaRPr>
          </a:p>
        </p:txBody>
      </p:sp>
      <p:sp>
        <p:nvSpPr>
          <p:cNvPr id="118" name="圆: 空心 117">
            <a:extLst>
              <a:ext uri="{FF2B5EF4-FFF2-40B4-BE49-F238E27FC236}">
                <a16:creationId xmlns:a16="http://schemas.microsoft.com/office/drawing/2014/main" id="{77326F5A-28DB-4AB1-BAC5-AE54BE5B9DD6}"/>
              </a:ext>
            </a:extLst>
          </p:cNvPr>
          <p:cNvSpPr/>
          <p:nvPr/>
        </p:nvSpPr>
        <p:spPr>
          <a:xfrm>
            <a:off x="3280762" y="3457508"/>
            <a:ext cx="1343769" cy="1350616"/>
          </a:xfrm>
          <a:prstGeom prst="donut">
            <a:avLst>
              <a:gd name="adj" fmla="val 13294"/>
            </a:avLst>
          </a:prstGeom>
          <a:gradFill flip="none" rotWithShape="1">
            <a:gsLst>
              <a:gs pos="1000">
                <a:schemeClr val="accent2"/>
              </a:gs>
              <a:gs pos="100000">
                <a:schemeClr val="accent2">
                  <a:lumMod val="60000"/>
                  <a:lumOff val="40000"/>
                </a:schemeClr>
              </a:gs>
            </a:gsLst>
            <a:lin ang="2700000" scaled="0"/>
            <a:tileRect/>
          </a:gradFill>
          <a:ln>
            <a:noFill/>
          </a:ln>
          <a:effectLst>
            <a:outerShdw blurRad="330200" dist="381000" dir="5400000" sx="90000" sy="90000" algn="t" rotWithShape="0">
              <a:schemeClr val="accent2">
                <a:lumMod val="75000"/>
                <a:alpha val="2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5720" tIns="22860" rIns="45720" bIns="228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Arial" panose="020F0502020204030204"/>
              <a:ea typeface="微软雅黑"/>
              <a:cs typeface="+mn-cs"/>
            </a:endParaRPr>
          </a:p>
        </p:txBody>
      </p:sp>
      <p:sp>
        <p:nvSpPr>
          <p:cNvPr id="123" name="Object 1013">
            <a:extLst>
              <a:ext uri="{FF2B5EF4-FFF2-40B4-BE49-F238E27FC236}">
                <a16:creationId xmlns:a16="http://schemas.microsoft.com/office/drawing/2014/main" id="{1B4DA750-49F3-464D-A5DC-A2B752D455C2}"/>
              </a:ext>
            </a:extLst>
          </p:cNvPr>
          <p:cNvSpPr txBox="1"/>
          <p:nvPr/>
        </p:nvSpPr>
        <p:spPr>
          <a:xfrm>
            <a:off x="3373090" y="5467601"/>
            <a:ext cx="1159114" cy="276999"/>
          </a:xfrm>
          <a:prstGeom prst="rect">
            <a:avLst/>
          </a:prstGeom>
        </p:spPr>
        <p:txBody>
          <a:bodyPr vert="horz" wrap="square" lIns="0" tIns="0" rIns="0" bIns="0" rtlCol="0" anchor="t"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800" b="0" i="0" u="none" strike="noStrike" kern="1200" cap="none" spc="0" normalizeH="0" baseline="0" noProof="0" dirty="0">
                <a:ln>
                  <a:noFill/>
                </a:ln>
                <a:solidFill>
                  <a:srgbClr val="000000">
                    <a:lumMod val="75000"/>
                    <a:lumOff val="2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rPr>
              <a:t>填写名称</a:t>
            </a:r>
          </a:p>
        </p:txBody>
      </p:sp>
      <p:cxnSp>
        <p:nvCxnSpPr>
          <p:cNvPr id="124" name="直接连接符 123">
            <a:extLst>
              <a:ext uri="{FF2B5EF4-FFF2-40B4-BE49-F238E27FC236}">
                <a16:creationId xmlns:a16="http://schemas.microsoft.com/office/drawing/2014/main" id="{78DA9173-7BB9-4E64-84C0-C5DAB22DCEE5}"/>
              </a:ext>
            </a:extLst>
          </p:cNvPr>
          <p:cNvCxnSpPr>
            <a:cxnSpLocks/>
          </p:cNvCxnSpPr>
          <p:nvPr/>
        </p:nvCxnSpPr>
        <p:spPr>
          <a:xfrm>
            <a:off x="3952647" y="4994933"/>
            <a:ext cx="0" cy="430213"/>
          </a:xfrm>
          <a:prstGeom prst="line">
            <a:avLst/>
          </a:prstGeom>
          <a:ln w="12700">
            <a:solidFill>
              <a:schemeClr val="accent2">
                <a:lumMod val="40000"/>
                <a:lumOff val="60000"/>
              </a:schemeClr>
            </a:solidFill>
            <a:prstDash val="dash"/>
          </a:ln>
        </p:spPr>
        <p:style>
          <a:lnRef idx="1">
            <a:schemeClr val="accent1"/>
          </a:lnRef>
          <a:fillRef idx="0">
            <a:schemeClr val="accent1"/>
          </a:fillRef>
          <a:effectRef idx="0">
            <a:schemeClr val="accent1"/>
          </a:effectRef>
          <a:fontRef idx="minor">
            <a:schemeClr val="tx1"/>
          </a:fontRef>
        </p:style>
      </p:cxnSp>
      <p:sp>
        <p:nvSpPr>
          <p:cNvPr id="125" name="Object 1013">
            <a:extLst>
              <a:ext uri="{FF2B5EF4-FFF2-40B4-BE49-F238E27FC236}">
                <a16:creationId xmlns:a16="http://schemas.microsoft.com/office/drawing/2014/main" id="{20C46288-2A61-4638-8FBF-FB4B44E4140C}"/>
              </a:ext>
            </a:extLst>
          </p:cNvPr>
          <p:cNvSpPr txBox="1"/>
          <p:nvPr/>
        </p:nvSpPr>
        <p:spPr>
          <a:xfrm>
            <a:off x="3373090" y="5787055"/>
            <a:ext cx="1159114" cy="276999"/>
          </a:xfrm>
          <a:prstGeom prst="rect">
            <a:avLst/>
          </a:prstGeom>
        </p:spPr>
        <p:txBody>
          <a:bodyPr vert="horz" wrap="square" lIns="0" tIns="0" rIns="0" bIns="0" rtlCol="0" anchor="t"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800" b="0" i="0" u="none" strike="noStrike" kern="1200" cap="none" spc="0" normalizeH="0" baseline="0" noProof="0" dirty="0">
                <a:ln>
                  <a:noFill/>
                </a:ln>
                <a:solidFill>
                  <a:srgbClr val="000000">
                    <a:lumMod val="75000"/>
                    <a:lumOff val="2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rPr>
              <a:t>填写名称</a:t>
            </a:r>
          </a:p>
        </p:txBody>
      </p:sp>
      <p:sp>
        <p:nvSpPr>
          <p:cNvPr id="126" name="Object 1013">
            <a:extLst>
              <a:ext uri="{FF2B5EF4-FFF2-40B4-BE49-F238E27FC236}">
                <a16:creationId xmlns:a16="http://schemas.microsoft.com/office/drawing/2014/main" id="{7602BBC7-05D5-4639-9F94-5C36C36E5865}"/>
              </a:ext>
            </a:extLst>
          </p:cNvPr>
          <p:cNvSpPr txBox="1"/>
          <p:nvPr/>
        </p:nvSpPr>
        <p:spPr>
          <a:xfrm>
            <a:off x="3222226" y="3825040"/>
            <a:ext cx="1460842" cy="615553"/>
          </a:xfrm>
          <a:prstGeom prst="rect">
            <a:avLst/>
          </a:prstGeom>
        </p:spPr>
        <p:txBody>
          <a:bodyPr vert="horz" wrap="square" lIns="0" tIns="0" rIns="0" bIns="0" rtlCol="0" anchor="t"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2000" b="0" i="0" u="none" strike="noStrike" kern="1200" cap="none" spc="0" normalizeH="0" baseline="0" noProof="0" dirty="0">
                <a:ln>
                  <a:noFill/>
                </a:ln>
                <a:solidFill>
                  <a:srgbClr val="795FE5"/>
                </a:solidFill>
                <a:effectLst/>
                <a:uLnTx/>
                <a:uFillTx/>
                <a:latin typeface="OPPOSans B" panose="00020600040101010101" pitchFamily="18" charset="-122"/>
                <a:ea typeface="OPPOSans B" panose="00020600040101010101" pitchFamily="18" charset="-122"/>
                <a:cs typeface="OPPOSans B" panose="00020600040101010101" pitchFamily="18" charset="-122"/>
              </a:rPr>
              <a:t>  计划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2000" b="0" i="0" u="none" strike="noStrike" kern="1200" cap="none" spc="0" normalizeH="0" baseline="0" noProof="0" dirty="0">
                <a:ln>
                  <a:noFill/>
                </a:ln>
                <a:solidFill>
                  <a:srgbClr val="795FE5"/>
                </a:solidFill>
                <a:effectLst/>
                <a:uLnTx/>
                <a:uFillTx/>
                <a:latin typeface="OPPOSans B" panose="00020600040101010101" pitchFamily="18" charset="-122"/>
                <a:ea typeface="OPPOSans B" panose="00020600040101010101" pitchFamily="18" charset="-122"/>
                <a:cs typeface="OPPOSans B" panose="00020600040101010101" pitchFamily="18" charset="-122"/>
              </a:rPr>
              <a:t>财务部</a:t>
            </a:r>
          </a:p>
        </p:txBody>
      </p:sp>
      <p:sp>
        <p:nvSpPr>
          <p:cNvPr id="127" name="圆: 空心 126">
            <a:extLst>
              <a:ext uri="{FF2B5EF4-FFF2-40B4-BE49-F238E27FC236}">
                <a16:creationId xmlns:a16="http://schemas.microsoft.com/office/drawing/2014/main" id="{5D5A4541-390F-4410-B27A-CE92772FE5B8}"/>
              </a:ext>
            </a:extLst>
          </p:cNvPr>
          <p:cNvSpPr/>
          <p:nvPr/>
        </p:nvSpPr>
        <p:spPr>
          <a:xfrm>
            <a:off x="5284259" y="3316941"/>
            <a:ext cx="1623482" cy="1631752"/>
          </a:xfrm>
          <a:prstGeom prst="donut">
            <a:avLst>
              <a:gd name="adj" fmla="val 18445"/>
            </a:avLst>
          </a:prstGeom>
          <a:solidFill>
            <a:schemeClr val="accent3">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5720" tIns="22860" rIns="45720" bIns="228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Arial" panose="020F0502020204030204"/>
              <a:ea typeface="微软雅黑"/>
              <a:cs typeface="+mn-cs"/>
            </a:endParaRPr>
          </a:p>
        </p:txBody>
      </p:sp>
      <p:sp>
        <p:nvSpPr>
          <p:cNvPr id="128" name="圆: 空心 127">
            <a:extLst>
              <a:ext uri="{FF2B5EF4-FFF2-40B4-BE49-F238E27FC236}">
                <a16:creationId xmlns:a16="http://schemas.microsoft.com/office/drawing/2014/main" id="{BD9E385D-2F76-436D-8C93-672B4C7B1BAA}"/>
              </a:ext>
            </a:extLst>
          </p:cNvPr>
          <p:cNvSpPr/>
          <p:nvPr/>
        </p:nvSpPr>
        <p:spPr>
          <a:xfrm>
            <a:off x="5424115" y="3457508"/>
            <a:ext cx="1343769" cy="1350616"/>
          </a:xfrm>
          <a:prstGeom prst="donut">
            <a:avLst>
              <a:gd name="adj" fmla="val 13294"/>
            </a:avLst>
          </a:prstGeom>
          <a:gradFill flip="none" rotWithShape="1">
            <a:gsLst>
              <a:gs pos="1000">
                <a:schemeClr val="accent3"/>
              </a:gs>
              <a:gs pos="100000">
                <a:schemeClr val="accent3">
                  <a:lumMod val="60000"/>
                  <a:lumOff val="40000"/>
                </a:schemeClr>
              </a:gs>
            </a:gsLst>
            <a:lin ang="2700000" scaled="0"/>
            <a:tileRect/>
          </a:gradFill>
          <a:ln>
            <a:noFill/>
          </a:ln>
          <a:effectLst>
            <a:outerShdw blurRad="330200" dist="381000" dir="5400000" sx="90000" sy="90000" algn="t" rotWithShape="0">
              <a:schemeClr val="accent3">
                <a:lumMod val="50000"/>
                <a:alpha val="2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5720" tIns="22860" rIns="45720" bIns="228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Arial" panose="020F0502020204030204"/>
              <a:ea typeface="微软雅黑"/>
              <a:cs typeface="+mn-cs"/>
            </a:endParaRPr>
          </a:p>
        </p:txBody>
      </p:sp>
      <p:sp>
        <p:nvSpPr>
          <p:cNvPr id="129" name="Object 1013">
            <a:extLst>
              <a:ext uri="{FF2B5EF4-FFF2-40B4-BE49-F238E27FC236}">
                <a16:creationId xmlns:a16="http://schemas.microsoft.com/office/drawing/2014/main" id="{177C3CA1-8A32-4F7B-B217-FFFCA7957D33}"/>
              </a:ext>
            </a:extLst>
          </p:cNvPr>
          <p:cNvSpPr txBox="1"/>
          <p:nvPr/>
        </p:nvSpPr>
        <p:spPr>
          <a:xfrm>
            <a:off x="5516443" y="5467601"/>
            <a:ext cx="1159114" cy="276999"/>
          </a:xfrm>
          <a:prstGeom prst="rect">
            <a:avLst/>
          </a:prstGeom>
        </p:spPr>
        <p:txBody>
          <a:bodyPr vert="horz" wrap="square" lIns="0" tIns="0" rIns="0" bIns="0" rtlCol="0" anchor="t"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800" b="0" i="0" u="none" strike="noStrike" kern="1200" cap="none" spc="0" normalizeH="0" baseline="0" noProof="0" dirty="0">
                <a:ln>
                  <a:noFill/>
                </a:ln>
                <a:solidFill>
                  <a:srgbClr val="000000">
                    <a:lumMod val="75000"/>
                    <a:lumOff val="2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rPr>
              <a:t>填写名称</a:t>
            </a:r>
          </a:p>
        </p:txBody>
      </p:sp>
      <p:cxnSp>
        <p:nvCxnSpPr>
          <p:cNvPr id="130" name="直接连接符 129">
            <a:extLst>
              <a:ext uri="{FF2B5EF4-FFF2-40B4-BE49-F238E27FC236}">
                <a16:creationId xmlns:a16="http://schemas.microsoft.com/office/drawing/2014/main" id="{29C36AD2-1C56-41DF-A357-85DE8C4A1AB2}"/>
              </a:ext>
            </a:extLst>
          </p:cNvPr>
          <p:cNvCxnSpPr>
            <a:cxnSpLocks/>
          </p:cNvCxnSpPr>
          <p:nvPr/>
        </p:nvCxnSpPr>
        <p:spPr>
          <a:xfrm>
            <a:off x="6096000" y="4994933"/>
            <a:ext cx="0" cy="430213"/>
          </a:xfrm>
          <a:prstGeom prst="line">
            <a:avLst/>
          </a:prstGeom>
          <a:ln w="12700">
            <a:solidFill>
              <a:schemeClr val="accent3">
                <a:lumMod val="40000"/>
                <a:lumOff val="60000"/>
              </a:schemeClr>
            </a:solidFill>
            <a:prstDash val="dash"/>
          </a:ln>
        </p:spPr>
        <p:style>
          <a:lnRef idx="1">
            <a:schemeClr val="accent1"/>
          </a:lnRef>
          <a:fillRef idx="0">
            <a:schemeClr val="accent1"/>
          </a:fillRef>
          <a:effectRef idx="0">
            <a:schemeClr val="accent1"/>
          </a:effectRef>
          <a:fontRef idx="minor">
            <a:schemeClr val="tx1"/>
          </a:fontRef>
        </p:style>
      </p:cxnSp>
      <p:sp>
        <p:nvSpPr>
          <p:cNvPr id="131" name="Object 1013">
            <a:extLst>
              <a:ext uri="{FF2B5EF4-FFF2-40B4-BE49-F238E27FC236}">
                <a16:creationId xmlns:a16="http://schemas.microsoft.com/office/drawing/2014/main" id="{86AF0BA6-ADAA-4129-894A-EA86ABA68E3B}"/>
              </a:ext>
            </a:extLst>
          </p:cNvPr>
          <p:cNvSpPr txBox="1"/>
          <p:nvPr/>
        </p:nvSpPr>
        <p:spPr>
          <a:xfrm>
            <a:off x="5516443" y="5787055"/>
            <a:ext cx="1159114" cy="276999"/>
          </a:xfrm>
          <a:prstGeom prst="rect">
            <a:avLst/>
          </a:prstGeom>
        </p:spPr>
        <p:txBody>
          <a:bodyPr vert="horz" wrap="square" lIns="0" tIns="0" rIns="0" bIns="0" rtlCol="0" anchor="t"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800" b="0" i="0" u="none" strike="noStrike" kern="1200" cap="none" spc="0" normalizeH="0" baseline="0" noProof="0" dirty="0">
                <a:ln>
                  <a:noFill/>
                </a:ln>
                <a:solidFill>
                  <a:srgbClr val="000000">
                    <a:lumMod val="75000"/>
                    <a:lumOff val="2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rPr>
              <a:t>填写名称</a:t>
            </a:r>
          </a:p>
        </p:txBody>
      </p:sp>
      <p:sp>
        <p:nvSpPr>
          <p:cNvPr id="132" name="Object 1013">
            <a:extLst>
              <a:ext uri="{FF2B5EF4-FFF2-40B4-BE49-F238E27FC236}">
                <a16:creationId xmlns:a16="http://schemas.microsoft.com/office/drawing/2014/main" id="{5F355D80-717D-4D90-B1E3-F6D5361BF895}"/>
              </a:ext>
            </a:extLst>
          </p:cNvPr>
          <p:cNvSpPr txBox="1"/>
          <p:nvPr/>
        </p:nvSpPr>
        <p:spPr>
          <a:xfrm>
            <a:off x="5365579" y="3825040"/>
            <a:ext cx="1460842" cy="615553"/>
          </a:xfrm>
          <a:prstGeom prst="rect">
            <a:avLst/>
          </a:prstGeom>
        </p:spPr>
        <p:txBody>
          <a:bodyPr vert="horz" wrap="square" lIns="0" tIns="0" rIns="0" bIns="0" rtlCol="0" anchor="t"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2000" b="0" i="0" u="none" strike="noStrike" kern="1200" cap="none" spc="0" normalizeH="0" baseline="0" noProof="0" dirty="0">
                <a:ln>
                  <a:noFill/>
                </a:ln>
                <a:solidFill>
                  <a:srgbClr val="50C9A8"/>
                </a:solidFill>
                <a:effectLst/>
                <a:uLnTx/>
                <a:uFillTx/>
                <a:latin typeface="OPPOSans B" panose="00020600040101010101" pitchFamily="18" charset="-122"/>
                <a:ea typeface="OPPOSans B" panose="00020600040101010101" pitchFamily="18" charset="-122"/>
                <a:cs typeface="OPPOSans B" panose="00020600040101010101" pitchFamily="18" charset="-122"/>
              </a:rPr>
              <a:t>  人力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2000" b="0" i="0" u="none" strike="noStrike" kern="1200" cap="none" spc="0" normalizeH="0" baseline="0" noProof="0" dirty="0">
                <a:ln>
                  <a:noFill/>
                </a:ln>
                <a:solidFill>
                  <a:srgbClr val="50C9A8"/>
                </a:solidFill>
                <a:effectLst/>
                <a:uLnTx/>
                <a:uFillTx/>
                <a:latin typeface="OPPOSans B" panose="00020600040101010101" pitchFamily="18" charset="-122"/>
                <a:ea typeface="OPPOSans B" panose="00020600040101010101" pitchFamily="18" charset="-122"/>
                <a:cs typeface="OPPOSans B" panose="00020600040101010101" pitchFamily="18" charset="-122"/>
              </a:rPr>
              <a:t>资源部</a:t>
            </a:r>
          </a:p>
        </p:txBody>
      </p:sp>
      <p:sp>
        <p:nvSpPr>
          <p:cNvPr id="133" name="圆: 空心 132">
            <a:extLst>
              <a:ext uri="{FF2B5EF4-FFF2-40B4-BE49-F238E27FC236}">
                <a16:creationId xmlns:a16="http://schemas.microsoft.com/office/drawing/2014/main" id="{F0DEAD55-B404-449B-AADC-A4F812E6CC87}"/>
              </a:ext>
            </a:extLst>
          </p:cNvPr>
          <p:cNvSpPr/>
          <p:nvPr/>
        </p:nvSpPr>
        <p:spPr>
          <a:xfrm>
            <a:off x="7427612" y="3316941"/>
            <a:ext cx="1623482" cy="1631752"/>
          </a:xfrm>
          <a:prstGeom prst="donut">
            <a:avLst>
              <a:gd name="adj" fmla="val 18445"/>
            </a:avLst>
          </a:prstGeom>
          <a:solidFill>
            <a:schemeClr val="accent4">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5720" tIns="22860" rIns="45720" bIns="228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Arial" panose="020F0502020204030204"/>
              <a:ea typeface="微软雅黑"/>
              <a:cs typeface="+mn-cs"/>
            </a:endParaRPr>
          </a:p>
        </p:txBody>
      </p:sp>
      <p:sp>
        <p:nvSpPr>
          <p:cNvPr id="134" name="圆: 空心 133">
            <a:extLst>
              <a:ext uri="{FF2B5EF4-FFF2-40B4-BE49-F238E27FC236}">
                <a16:creationId xmlns:a16="http://schemas.microsoft.com/office/drawing/2014/main" id="{DAEAF0F9-4C48-42E9-A64E-2F4628819F70}"/>
              </a:ext>
            </a:extLst>
          </p:cNvPr>
          <p:cNvSpPr/>
          <p:nvPr/>
        </p:nvSpPr>
        <p:spPr>
          <a:xfrm>
            <a:off x="7567468" y="3457508"/>
            <a:ext cx="1343769" cy="1350616"/>
          </a:xfrm>
          <a:prstGeom prst="donut">
            <a:avLst>
              <a:gd name="adj" fmla="val 13294"/>
            </a:avLst>
          </a:prstGeom>
          <a:gradFill flip="none" rotWithShape="1">
            <a:gsLst>
              <a:gs pos="1000">
                <a:schemeClr val="accent4">
                  <a:lumMod val="75000"/>
                </a:schemeClr>
              </a:gs>
              <a:gs pos="100000">
                <a:schemeClr val="accent4"/>
              </a:gs>
            </a:gsLst>
            <a:lin ang="2700000" scaled="0"/>
            <a:tileRect/>
          </a:gradFill>
          <a:ln>
            <a:noFill/>
          </a:ln>
          <a:effectLst>
            <a:outerShdw blurRad="330200" dist="381000" dir="5400000" sx="90000" sy="90000" algn="t" rotWithShape="0">
              <a:schemeClr val="accent4">
                <a:lumMod val="50000"/>
                <a:alpha val="2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5720" tIns="22860" rIns="45720" bIns="228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Arial" panose="020F0502020204030204"/>
              <a:ea typeface="微软雅黑"/>
              <a:cs typeface="+mn-cs"/>
            </a:endParaRPr>
          </a:p>
        </p:txBody>
      </p:sp>
      <p:sp>
        <p:nvSpPr>
          <p:cNvPr id="135" name="Object 1013">
            <a:extLst>
              <a:ext uri="{FF2B5EF4-FFF2-40B4-BE49-F238E27FC236}">
                <a16:creationId xmlns:a16="http://schemas.microsoft.com/office/drawing/2014/main" id="{48640650-5BA3-46B8-9970-703A3C8929D4}"/>
              </a:ext>
            </a:extLst>
          </p:cNvPr>
          <p:cNvSpPr txBox="1"/>
          <p:nvPr/>
        </p:nvSpPr>
        <p:spPr>
          <a:xfrm>
            <a:off x="7659796" y="5467601"/>
            <a:ext cx="1159114" cy="276999"/>
          </a:xfrm>
          <a:prstGeom prst="rect">
            <a:avLst/>
          </a:prstGeom>
        </p:spPr>
        <p:txBody>
          <a:bodyPr vert="horz" wrap="square" lIns="0" tIns="0" rIns="0" bIns="0" rtlCol="0" anchor="t"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800" b="0" i="0" u="none" strike="noStrike" kern="1200" cap="none" spc="0" normalizeH="0" baseline="0" noProof="0" dirty="0">
                <a:ln>
                  <a:noFill/>
                </a:ln>
                <a:solidFill>
                  <a:srgbClr val="000000">
                    <a:lumMod val="75000"/>
                    <a:lumOff val="2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rPr>
              <a:t>填写名称</a:t>
            </a:r>
          </a:p>
        </p:txBody>
      </p:sp>
      <p:cxnSp>
        <p:nvCxnSpPr>
          <p:cNvPr id="136" name="直接连接符 135">
            <a:extLst>
              <a:ext uri="{FF2B5EF4-FFF2-40B4-BE49-F238E27FC236}">
                <a16:creationId xmlns:a16="http://schemas.microsoft.com/office/drawing/2014/main" id="{5C6DF476-FD39-436E-95BA-B7D13A7899DF}"/>
              </a:ext>
            </a:extLst>
          </p:cNvPr>
          <p:cNvCxnSpPr>
            <a:cxnSpLocks/>
          </p:cNvCxnSpPr>
          <p:nvPr/>
        </p:nvCxnSpPr>
        <p:spPr>
          <a:xfrm>
            <a:off x="8239353" y="4994933"/>
            <a:ext cx="0" cy="430213"/>
          </a:xfrm>
          <a:prstGeom prst="line">
            <a:avLst/>
          </a:prstGeom>
          <a:ln w="12700">
            <a:solidFill>
              <a:schemeClr val="accent4">
                <a:lumMod val="40000"/>
                <a:lumOff val="60000"/>
              </a:schemeClr>
            </a:solidFill>
            <a:prstDash val="dash"/>
          </a:ln>
        </p:spPr>
        <p:style>
          <a:lnRef idx="1">
            <a:schemeClr val="accent1"/>
          </a:lnRef>
          <a:fillRef idx="0">
            <a:schemeClr val="accent1"/>
          </a:fillRef>
          <a:effectRef idx="0">
            <a:schemeClr val="accent1"/>
          </a:effectRef>
          <a:fontRef idx="minor">
            <a:schemeClr val="tx1"/>
          </a:fontRef>
        </p:style>
      </p:cxnSp>
      <p:sp>
        <p:nvSpPr>
          <p:cNvPr id="137" name="Object 1013">
            <a:extLst>
              <a:ext uri="{FF2B5EF4-FFF2-40B4-BE49-F238E27FC236}">
                <a16:creationId xmlns:a16="http://schemas.microsoft.com/office/drawing/2014/main" id="{992FDBBE-1C07-49F9-B55F-D8F42E86CA83}"/>
              </a:ext>
            </a:extLst>
          </p:cNvPr>
          <p:cNvSpPr txBox="1"/>
          <p:nvPr/>
        </p:nvSpPr>
        <p:spPr>
          <a:xfrm>
            <a:off x="7659796" y="5787055"/>
            <a:ext cx="1159114" cy="276999"/>
          </a:xfrm>
          <a:prstGeom prst="rect">
            <a:avLst/>
          </a:prstGeom>
        </p:spPr>
        <p:txBody>
          <a:bodyPr vert="horz" wrap="square" lIns="0" tIns="0" rIns="0" bIns="0" rtlCol="0" anchor="t"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800" b="0" i="0" u="none" strike="noStrike" kern="1200" cap="none" spc="0" normalizeH="0" baseline="0" noProof="0" dirty="0">
                <a:ln>
                  <a:noFill/>
                </a:ln>
                <a:solidFill>
                  <a:srgbClr val="000000">
                    <a:lumMod val="75000"/>
                    <a:lumOff val="2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rPr>
              <a:t>填写名称</a:t>
            </a:r>
          </a:p>
        </p:txBody>
      </p:sp>
      <p:sp>
        <p:nvSpPr>
          <p:cNvPr id="138" name="Object 1013">
            <a:extLst>
              <a:ext uri="{FF2B5EF4-FFF2-40B4-BE49-F238E27FC236}">
                <a16:creationId xmlns:a16="http://schemas.microsoft.com/office/drawing/2014/main" id="{41F8BD08-DEEF-4F91-9AAB-2FFEC35BCF9B}"/>
              </a:ext>
            </a:extLst>
          </p:cNvPr>
          <p:cNvSpPr txBox="1"/>
          <p:nvPr/>
        </p:nvSpPr>
        <p:spPr>
          <a:xfrm>
            <a:off x="7508932" y="3825040"/>
            <a:ext cx="1460842" cy="615553"/>
          </a:xfrm>
          <a:prstGeom prst="rect">
            <a:avLst/>
          </a:prstGeom>
        </p:spPr>
        <p:txBody>
          <a:bodyPr vert="horz" wrap="square" lIns="0" tIns="0" rIns="0" bIns="0" rtlCol="0" anchor="t"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2000" b="0" i="0" u="none" strike="noStrike" kern="1200" cap="none" spc="0" normalizeH="0" baseline="0" noProof="0" dirty="0">
                <a:ln>
                  <a:noFill/>
                </a:ln>
                <a:solidFill>
                  <a:srgbClr val="F77272"/>
                </a:solidFill>
                <a:effectLst/>
                <a:uLnTx/>
                <a:uFillTx/>
                <a:latin typeface="OPPOSans B" panose="00020600040101010101" pitchFamily="18" charset="-122"/>
                <a:ea typeface="OPPOSans B" panose="00020600040101010101" pitchFamily="18" charset="-122"/>
                <a:cs typeface="OPPOSans B" panose="00020600040101010101" pitchFamily="18" charset="-122"/>
              </a:rPr>
              <a:t>  品牌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2000" b="0" i="0" u="none" strike="noStrike" kern="1200" cap="none" spc="0" normalizeH="0" baseline="0" noProof="0" dirty="0">
                <a:ln>
                  <a:noFill/>
                </a:ln>
                <a:solidFill>
                  <a:srgbClr val="F77272"/>
                </a:solidFill>
                <a:effectLst/>
                <a:uLnTx/>
                <a:uFillTx/>
                <a:latin typeface="OPPOSans B" panose="00020600040101010101" pitchFamily="18" charset="-122"/>
                <a:ea typeface="OPPOSans B" panose="00020600040101010101" pitchFamily="18" charset="-122"/>
                <a:cs typeface="OPPOSans B" panose="00020600040101010101" pitchFamily="18" charset="-122"/>
              </a:rPr>
              <a:t>管理部</a:t>
            </a:r>
          </a:p>
        </p:txBody>
      </p:sp>
      <p:sp>
        <p:nvSpPr>
          <p:cNvPr id="139" name="圆: 空心 138">
            <a:extLst>
              <a:ext uri="{FF2B5EF4-FFF2-40B4-BE49-F238E27FC236}">
                <a16:creationId xmlns:a16="http://schemas.microsoft.com/office/drawing/2014/main" id="{A767F160-90AC-4B82-9D59-47F5D3CD25F1}"/>
              </a:ext>
            </a:extLst>
          </p:cNvPr>
          <p:cNvSpPr/>
          <p:nvPr/>
        </p:nvSpPr>
        <p:spPr>
          <a:xfrm>
            <a:off x="9570965" y="3316941"/>
            <a:ext cx="1623482" cy="1631752"/>
          </a:xfrm>
          <a:prstGeom prst="donut">
            <a:avLst>
              <a:gd name="adj" fmla="val 18445"/>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5720" tIns="22860" rIns="45720" bIns="228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Arial" panose="020F0502020204030204"/>
              <a:ea typeface="微软雅黑"/>
              <a:cs typeface="+mn-cs"/>
            </a:endParaRPr>
          </a:p>
        </p:txBody>
      </p:sp>
      <p:sp>
        <p:nvSpPr>
          <p:cNvPr id="140" name="圆: 空心 139">
            <a:extLst>
              <a:ext uri="{FF2B5EF4-FFF2-40B4-BE49-F238E27FC236}">
                <a16:creationId xmlns:a16="http://schemas.microsoft.com/office/drawing/2014/main" id="{D9CB27C3-55C0-4238-BE50-8096B9765B9C}"/>
              </a:ext>
            </a:extLst>
          </p:cNvPr>
          <p:cNvSpPr/>
          <p:nvPr/>
        </p:nvSpPr>
        <p:spPr>
          <a:xfrm>
            <a:off x="9710821" y="3457508"/>
            <a:ext cx="1343769" cy="1350616"/>
          </a:xfrm>
          <a:prstGeom prst="donut">
            <a:avLst>
              <a:gd name="adj" fmla="val 13294"/>
            </a:avLst>
          </a:prstGeom>
          <a:gradFill flip="none" rotWithShape="1">
            <a:gsLst>
              <a:gs pos="1000">
                <a:schemeClr val="accent5">
                  <a:lumMod val="75000"/>
                </a:schemeClr>
              </a:gs>
              <a:gs pos="100000">
                <a:schemeClr val="accent5"/>
              </a:gs>
            </a:gsLst>
            <a:lin ang="2700000" scaled="0"/>
            <a:tileRect/>
          </a:gradFill>
          <a:ln>
            <a:noFill/>
          </a:ln>
          <a:effectLst>
            <a:outerShdw blurRad="330200" dist="381000" dir="5400000" sx="90000" sy="90000" algn="t" rotWithShape="0">
              <a:schemeClr val="accent5">
                <a:lumMod val="50000"/>
                <a:alpha val="2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5720" tIns="22860" rIns="45720" bIns="228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Arial" panose="020F0502020204030204"/>
              <a:ea typeface="微软雅黑"/>
              <a:cs typeface="+mn-cs"/>
            </a:endParaRPr>
          </a:p>
        </p:txBody>
      </p:sp>
      <p:sp>
        <p:nvSpPr>
          <p:cNvPr id="141" name="Object 1013">
            <a:extLst>
              <a:ext uri="{FF2B5EF4-FFF2-40B4-BE49-F238E27FC236}">
                <a16:creationId xmlns:a16="http://schemas.microsoft.com/office/drawing/2014/main" id="{5DA46FDB-F211-4B6A-8429-320471C8473A}"/>
              </a:ext>
            </a:extLst>
          </p:cNvPr>
          <p:cNvSpPr txBox="1"/>
          <p:nvPr/>
        </p:nvSpPr>
        <p:spPr>
          <a:xfrm>
            <a:off x="9803149" y="5467601"/>
            <a:ext cx="1159114" cy="276999"/>
          </a:xfrm>
          <a:prstGeom prst="rect">
            <a:avLst/>
          </a:prstGeom>
        </p:spPr>
        <p:txBody>
          <a:bodyPr vert="horz" wrap="square" lIns="0" tIns="0" rIns="0" bIns="0" rtlCol="0" anchor="t"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800" b="0" i="0" u="none" strike="noStrike" kern="1200" cap="none" spc="0" normalizeH="0" baseline="0" noProof="0" dirty="0">
                <a:ln>
                  <a:noFill/>
                </a:ln>
                <a:solidFill>
                  <a:srgbClr val="000000">
                    <a:lumMod val="75000"/>
                    <a:lumOff val="2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rPr>
              <a:t>填写名称</a:t>
            </a:r>
          </a:p>
        </p:txBody>
      </p:sp>
      <p:cxnSp>
        <p:nvCxnSpPr>
          <p:cNvPr id="142" name="直接连接符 141">
            <a:extLst>
              <a:ext uri="{FF2B5EF4-FFF2-40B4-BE49-F238E27FC236}">
                <a16:creationId xmlns:a16="http://schemas.microsoft.com/office/drawing/2014/main" id="{21D695B3-EFC3-4BC9-8592-30AC3FFB4F02}"/>
              </a:ext>
            </a:extLst>
          </p:cNvPr>
          <p:cNvCxnSpPr>
            <a:cxnSpLocks/>
          </p:cNvCxnSpPr>
          <p:nvPr/>
        </p:nvCxnSpPr>
        <p:spPr>
          <a:xfrm>
            <a:off x="10382706" y="4994933"/>
            <a:ext cx="0" cy="430213"/>
          </a:xfrm>
          <a:prstGeom prst="line">
            <a:avLst/>
          </a:prstGeom>
          <a:ln w="12700">
            <a:solidFill>
              <a:schemeClr val="accent5">
                <a:lumMod val="40000"/>
                <a:lumOff val="60000"/>
              </a:schemeClr>
            </a:solidFill>
            <a:prstDash val="dash"/>
          </a:ln>
        </p:spPr>
        <p:style>
          <a:lnRef idx="1">
            <a:schemeClr val="accent1"/>
          </a:lnRef>
          <a:fillRef idx="0">
            <a:schemeClr val="accent1"/>
          </a:fillRef>
          <a:effectRef idx="0">
            <a:schemeClr val="accent1"/>
          </a:effectRef>
          <a:fontRef idx="minor">
            <a:schemeClr val="tx1"/>
          </a:fontRef>
        </p:style>
      </p:cxnSp>
      <p:sp>
        <p:nvSpPr>
          <p:cNvPr id="143" name="Object 1013">
            <a:extLst>
              <a:ext uri="{FF2B5EF4-FFF2-40B4-BE49-F238E27FC236}">
                <a16:creationId xmlns:a16="http://schemas.microsoft.com/office/drawing/2014/main" id="{7F776D1C-0EE2-4DFA-BB51-79C842AAF3A8}"/>
              </a:ext>
            </a:extLst>
          </p:cNvPr>
          <p:cNvSpPr txBox="1"/>
          <p:nvPr/>
        </p:nvSpPr>
        <p:spPr>
          <a:xfrm>
            <a:off x="9803149" y="5787055"/>
            <a:ext cx="1159114" cy="276999"/>
          </a:xfrm>
          <a:prstGeom prst="rect">
            <a:avLst/>
          </a:prstGeom>
        </p:spPr>
        <p:txBody>
          <a:bodyPr vert="horz" wrap="square" lIns="0" tIns="0" rIns="0" bIns="0" rtlCol="0" anchor="t"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800" b="0" i="0" u="none" strike="noStrike" kern="1200" cap="none" spc="0" normalizeH="0" baseline="0" noProof="0" dirty="0">
                <a:ln>
                  <a:noFill/>
                </a:ln>
                <a:solidFill>
                  <a:srgbClr val="000000">
                    <a:lumMod val="75000"/>
                    <a:lumOff val="2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rPr>
              <a:t>填写名称</a:t>
            </a:r>
          </a:p>
        </p:txBody>
      </p:sp>
      <p:sp>
        <p:nvSpPr>
          <p:cNvPr id="144" name="Object 1013">
            <a:extLst>
              <a:ext uri="{FF2B5EF4-FFF2-40B4-BE49-F238E27FC236}">
                <a16:creationId xmlns:a16="http://schemas.microsoft.com/office/drawing/2014/main" id="{066187DF-60F3-4932-B7D2-7A5EC0966009}"/>
              </a:ext>
            </a:extLst>
          </p:cNvPr>
          <p:cNvSpPr txBox="1"/>
          <p:nvPr/>
        </p:nvSpPr>
        <p:spPr>
          <a:xfrm>
            <a:off x="9652285" y="3825040"/>
            <a:ext cx="1460842" cy="615553"/>
          </a:xfrm>
          <a:prstGeom prst="rect">
            <a:avLst/>
          </a:prstGeom>
        </p:spPr>
        <p:txBody>
          <a:bodyPr vert="horz" wrap="square" lIns="0" tIns="0" rIns="0" bIns="0" rtlCol="0" anchor="t"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2000" b="0" i="0" u="none" strike="noStrike" kern="1200" cap="none" spc="0" normalizeH="0" baseline="0" noProof="0" dirty="0">
                <a:ln>
                  <a:noFill/>
                </a:ln>
                <a:solidFill>
                  <a:srgbClr val="F6AE66"/>
                </a:solidFill>
                <a:effectLst/>
                <a:uLnTx/>
                <a:uFillTx/>
                <a:latin typeface="OPPOSans B" panose="00020600040101010101" pitchFamily="18" charset="-122"/>
                <a:ea typeface="OPPOSans B" panose="00020600040101010101" pitchFamily="18" charset="-122"/>
                <a:cs typeface="OPPOSans B" panose="00020600040101010101" pitchFamily="18" charset="-122"/>
              </a:rPr>
              <a:t>技术</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2000" b="0" i="0" u="none" strike="noStrike" kern="1200" cap="none" spc="0" normalizeH="0" baseline="0" noProof="0" dirty="0">
                <a:ln>
                  <a:noFill/>
                </a:ln>
                <a:solidFill>
                  <a:srgbClr val="F6AE66"/>
                </a:solidFill>
                <a:effectLst/>
                <a:uLnTx/>
                <a:uFillTx/>
                <a:latin typeface="OPPOSans B" panose="00020600040101010101" pitchFamily="18" charset="-122"/>
                <a:ea typeface="OPPOSans B" panose="00020600040101010101" pitchFamily="18" charset="-122"/>
                <a:cs typeface="OPPOSans B" panose="00020600040101010101" pitchFamily="18" charset="-122"/>
              </a:rPr>
              <a:t>中心</a:t>
            </a:r>
          </a:p>
        </p:txBody>
      </p:sp>
      <p:cxnSp>
        <p:nvCxnSpPr>
          <p:cNvPr id="19" name="直接连接符 18">
            <a:extLst>
              <a:ext uri="{FF2B5EF4-FFF2-40B4-BE49-F238E27FC236}">
                <a16:creationId xmlns:a16="http://schemas.microsoft.com/office/drawing/2014/main" id="{1ADB798C-86F3-4618-B129-5192BD1A28F9}"/>
              </a:ext>
            </a:extLst>
          </p:cNvPr>
          <p:cNvCxnSpPr>
            <a:cxnSpLocks/>
          </p:cNvCxnSpPr>
          <p:nvPr/>
        </p:nvCxnSpPr>
        <p:spPr>
          <a:xfrm>
            <a:off x="1809294" y="3016476"/>
            <a:ext cx="8573412"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49" name="直接连接符 148">
            <a:extLst>
              <a:ext uri="{FF2B5EF4-FFF2-40B4-BE49-F238E27FC236}">
                <a16:creationId xmlns:a16="http://schemas.microsoft.com/office/drawing/2014/main" id="{CEEB54D6-EBE7-4739-AE6A-AF33D7B95772}"/>
              </a:ext>
            </a:extLst>
          </p:cNvPr>
          <p:cNvCxnSpPr>
            <a:cxnSpLocks/>
          </p:cNvCxnSpPr>
          <p:nvPr/>
        </p:nvCxnSpPr>
        <p:spPr>
          <a:xfrm>
            <a:off x="1809294" y="3011488"/>
            <a:ext cx="0" cy="305453"/>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50" name="直接连接符 149">
            <a:extLst>
              <a:ext uri="{FF2B5EF4-FFF2-40B4-BE49-F238E27FC236}">
                <a16:creationId xmlns:a16="http://schemas.microsoft.com/office/drawing/2014/main" id="{0834ABDF-4A97-4F4B-9DDD-66A89E9F84ED}"/>
              </a:ext>
            </a:extLst>
          </p:cNvPr>
          <p:cNvCxnSpPr>
            <a:cxnSpLocks/>
          </p:cNvCxnSpPr>
          <p:nvPr/>
        </p:nvCxnSpPr>
        <p:spPr>
          <a:xfrm>
            <a:off x="3952647" y="3011488"/>
            <a:ext cx="0" cy="305453"/>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51" name="直接连接符 150">
            <a:extLst>
              <a:ext uri="{FF2B5EF4-FFF2-40B4-BE49-F238E27FC236}">
                <a16:creationId xmlns:a16="http://schemas.microsoft.com/office/drawing/2014/main" id="{35239E01-E8C7-4997-A806-2804FA2B588E}"/>
              </a:ext>
            </a:extLst>
          </p:cNvPr>
          <p:cNvCxnSpPr>
            <a:cxnSpLocks/>
          </p:cNvCxnSpPr>
          <p:nvPr/>
        </p:nvCxnSpPr>
        <p:spPr>
          <a:xfrm>
            <a:off x="6096000" y="3011488"/>
            <a:ext cx="0" cy="305453"/>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52" name="直接连接符 151">
            <a:extLst>
              <a:ext uri="{FF2B5EF4-FFF2-40B4-BE49-F238E27FC236}">
                <a16:creationId xmlns:a16="http://schemas.microsoft.com/office/drawing/2014/main" id="{959B8A7B-7860-4A19-A6B8-564B0754936C}"/>
              </a:ext>
            </a:extLst>
          </p:cNvPr>
          <p:cNvCxnSpPr>
            <a:cxnSpLocks/>
          </p:cNvCxnSpPr>
          <p:nvPr/>
        </p:nvCxnSpPr>
        <p:spPr>
          <a:xfrm>
            <a:off x="8239353" y="3011488"/>
            <a:ext cx="0" cy="305453"/>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53" name="直接连接符 152">
            <a:extLst>
              <a:ext uri="{FF2B5EF4-FFF2-40B4-BE49-F238E27FC236}">
                <a16:creationId xmlns:a16="http://schemas.microsoft.com/office/drawing/2014/main" id="{416554BA-8DE2-4AA0-96A7-06DB08AE84D1}"/>
              </a:ext>
            </a:extLst>
          </p:cNvPr>
          <p:cNvCxnSpPr>
            <a:cxnSpLocks/>
          </p:cNvCxnSpPr>
          <p:nvPr/>
        </p:nvCxnSpPr>
        <p:spPr>
          <a:xfrm>
            <a:off x="10382705" y="3011488"/>
            <a:ext cx="0" cy="305453"/>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Tree>
    <p:custDataLst>
      <p:tags r:id="rId2"/>
    </p:custDataLst>
    <p:extLst>
      <p:ext uri="{BB962C8B-B14F-4D97-AF65-F5344CB8AC3E}">
        <p14:creationId xmlns:p14="http://schemas.microsoft.com/office/powerpoint/2010/main" val="4168069685"/>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a:extLst>
              <a:ext uri="{FF2B5EF4-FFF2-40B4-BE49-F238E27FC236}">
                <a16:creationId xmlns:a16="http://schemas.microsoft.com/office/drawing/2014/main" id="{86AFE861-893E-45E1-B941-37BBD2485343}"/>
              </a:ext>
            </a:extLst>
          </p:cNvPr>
          <p:cNvSpPr txBox="1"/>
          <p:nvPr/>
        </p:nvSpPr>
        <p:spPr>
          <a:xfrm>
            <a:off x="691976" y="502180"/>
            <a:ext cx="2270299" cy="1231106"/>
          </a:xfrm>
          <a:prstGeom prst="rect">
            <a:avLst/>
          </a:prstGeom>
          <a:noFill/>
        </p:spPr>
        <p:txBody>
          <a:bodyPr wrap="square" lIns="0" tIns="0" rIns="0" bIns="0" rtlCol="0" anchor="t">
            <a:spAutoFit/>
          </a:bodyPr>
          <a:lstStyle/>
          <a:p>
            <a:pPr algn="dist"/>
            <a:r>
              <a:rPr lang="zh-CN" altLang="en-US" sz="8000" dirty="0">
                <a:solidFill>
                  <a:schemeClr val="accent1"/>
                </a:solidFill>
                <a:latin typeface="+mj-ea"/>
                <a:ea typeface="+mj-ea"/>
              </a:rPr>
              <a:t>目录</a:t>
            </a:r>
          </a:p>
        </p:txBody>
      </p:sp>
      <p:sp>
        <p:nvSpPr>
          <p:cNvPr id="3" name="文本框 2">
            <a:extLst>
              <a:ext uri="{FF2B5EF4-FFF2-40B4-BE49-F238E27FC236}">
                <a16:creationId xmlns:a16="http://schemas.microsoft.com/office/drawing/2014/main" id="{F2C15519-4F9B-426A-9335-7B4AB3BB5A24}"/>
              </a:ext>
            </a:extLst>
          </p:cNvPr>
          <p:cNvSpPr txBox="1"/>
          <p:nvPr/>
        </p:nvSpPr>
        <p:spPr>
          <a:xfrm>
            <a:off x="828674" y="1698857"/>
            <a:ext cx="2076451" cy="246221"/>
          </a:xfrm>
          <a:prstGeom prst="rect">
            <a:avLst/>
          </a:prstGeom>
          <a:noFill/>
        </p:spPr>
        <p:txBody>
          <a:bodyPr wrap="square" lIns="0" tIns="0" rIns="0" bIns="0" rtlCol="0" anchor="t">
            <a:spAutoFit/>
          </a:bodyPr>
          <a:lstStyle/>
          <a:p>
            <a:pPr algn="dist"/>
            <a:r>
              <a:rPr lang="en-US" altLang="zh-CN" sz="1600" dirty="0">
                <a:solidFill>
                  <a:schemeClr val="accent1"/>
                </a:solidFill>
              </a:rPr>
              <a:t>CONTENTS</a:t>
            </a:r>
            <a:endParaRPr lang="zh-CN" altLang="en-US" sz="1600" dirty="0">
              <a:solidFill>
                <a:schemeClr val="accent1"/>
              </a:solidFill>
            </a:endParaRPr>
          </a:p>
        </p:txBody>
      </p:sp>
      <p:sp>
        <p:nvSpPr>
          <p:cNvPr id="4" name="矩形: 圆角 3">
            <a:extLst>
              <a:ext uri="{FF2B5EF4-FFF2-40B4-BE49-F238E27FC236}">
                <a16:creationId xmlns:a16="http://schemas.microsoft.com/office/drawing/2014/main" id="{D86882E1-34F8-4D4E-A98C-A51ADAC09BF4}"/>
              </a:ext>
            </a:extLst>
          </p:cNvPr>
          <p:cNvSpPr/>
          <p:nvPr/>
        </p:nvSpPr>
        <p:spPr>
          <a:xfrm>
            <a:off x="828674" y="2371724"/>
            <a:ext cx="3728086" cy="665254"/>
          </a:xfrm>
          <a:prstGeom prst="roundRect">
            <a:avLst>
              <a:gd name="adj" fmla="val 16667"/>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p>
        </p:txBody>
      </p:sp>
      <p:sp>
        <p:nvSpPr>
          <p:cNvPr id="5" name="椭圆 4">
            <a:extLst>
              <a:ext uri="{FF2B5EF4-FFF2-40B4-BE49-F238E27FC236}">
                <a16:creationId xmlns:a16="http://schemas.microsoft.com/office/drawing/2014/main" id="{E05E7E47-7345-4A92-97CC-4381CC847B6A}"/>
              </a:ext>
            </a:extLst>
          </p:cNvPr>
          <p:cNvSpPr/>
          <p:nvPr/>
        </p:nvSpPr>
        <p:spPr>
          <a:xfrm>
            <a:off x="1104900" y="2475752"/>
            <a:ext cx="457200" cy="4572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800" dirty="0"/>
              <a:t>图标</a:t>
            </a:r>
          </a:p>
        </p:txBody>
      </p:sp>
      <p:sp>
        <p:nvSpPr>
          <p:cNvPr id="6" name="文本框 5">
            <a:extLst>
              <a:ext uri="{FF2B5EF4-FFF2-40B4-BE49-F238E27FC236}">
                <a16:creationId xmlns:a16="http://schemas.microsoft.com/office/drawing/2014/main" id="{5BD2D02A-7CC6-441A-9D6A-0DF99214F1C1}"/>
              </a:ext>
            </a:extLst>
          </p:cNvPr>
          <p:cNvSpPr txBox="1"/>
          <p:nvPr/>
        </p:nvSpPr>
        <p:spPr>
          <a:xfrm>
            <a:off x="1766165" y="2550463"/>
            <a:ext cx="2051844" cy="307777"/>
          </a:xfrm>
          <a:prstGeom prst="rect">
            <a:avLst/>
          </a:prstGeom>
          <a:noFill/>
        </p:spPr>
        <p:txBody>
          <a:bodyPr wrap="none" lIns="0" tIns="0" rIns="0" bIns="0" rtlCol="0" anchor="t">
            <a:spAutoFit/>
          </a:bodyPr>
          <a:lstStyle/>
          <a:p>
            <a:r>
              <a:rPr lang="zh-CN" altLang="en-US" sz="2000" dirty="0">
                <a:solidFill>
                  <a:schemeClr val="accent1"/>
                </a:solidFill>
                <a:latin typeface="+mj-ea"/>
                <a:ea typeface="+mj-ea"/>
              </a:rPr>
              <a:t>输入你的目录标题</a:t>
            </a:r>
          </a:p>
        </p:txBody>
      </p:sp>
      <p:sp>
        <p:nvSpPr>
          <p:cNvPr id="28" name="矩形: 圆角 27">
            <a:extLst>
              <a:ext uri="{FF2B5EF4-FFF2-40B4-BE49-F238E27FC236}">
                <a16:creationId xmlns:a16="http://schemas.microsoft.com/office/drawing/2014/main" id="{C3E1A677-D1B2-4D9C-B7A8-0687B3DF9141}"/>
              </a:ext>
            </a:extLst>
          </p:cNvPr>
          <p:cNvSpPr/>
          <p:nvPr/>
        </p:nvSpPr>
        <p:spPr>
          <a:xfrm>
            <a:off x="828674" y="3310508"/>
            <a:ext cx="3728086" cy="665254"/>
          </a:xfrm>
          <a:prstGeom prst="roundRect">
            <a:avLst>
              <a:gd name="adj" fmla="val 16667"/>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p>
        </p:txBody>
      </p:sp>
      <p:sp>
        <p:nvSpPr>
          <p:cNvPr id="29" name="椭圆 28">
            <a:extLst>
              <a:ext uri="{FF2B5EF4-FFF2-40B4-BE49-F238E27FC236}">
                <a16:creationId xmlns:a16="http://schemas.microsoft.com/office/drawing/2014/main" id="{DCCCBF6B-94C2-48DF-9581-684FF384675F}"/>
              </a:ext>
            </a:extLst>
          </p:cNvPr>
          <p:cNvSpPr/>
          <p:nvPr/>
        </p:nvSpPr>
        <p:spPr>
          <a:xfrm>
            <a:off x="1104900" y="3414536"/>
            <a:ext cx="457200" cy="4572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800" dirty="0"/>
              <a:t>图标</a:t>
            </a:r>
          </a:p>
        </p:txBody>
      </p:sp>
      <p:sp>
        <p:nvSpPr>
          <p:cNvPr id="30" name="文本框 29">
            <a:extLst>
              <a:ext uri="{FF2B5EF4-FFF2-40B4-BE49-F238E27FC236}">
                <a16:creationId xmlns:a16="http://schemas.microsoft.com/office/drawing/2014/main" id="{BD988A3D-759C-4A50-A368-025CF421E59C}"/>
              </a:ext>
            </a:extLst>
          </p:cNvPr>
          <p:cNvSpPr txBox="1"/>
          <p:nvPr/>
        </p:nvSpPr>
        <p:spPr>
          <a:xfrm>
            <a:off x="1766165" y="3489247"/>
            <a:ext cx="2051844" cy="307777"/>
          </a:xfrm>
          <a:prstGeom prst="rect">
            <a:avLst/>
          </a:prstGeom>
          <a:noFill/>
        </p:spPr>
        <p:txBody>
          <a:bodyPr wrap="none" lIns="0" tIns="0" rIns="0" bIns="0" rtlCol="0" anchor="t">
            <a:spAutoFit/>
          </a:bodyPr>
          <a:lstStyle/>
          <a:p>
            <a:r>
              <a:rPr lang="zh-CN" altLang="en-US" sz="2000" dirty="0">
                <a:solidFill>
                  <a:schemeClr val="accent1"/>
                </a:solidFill>
                <a:latin typeface="+mj-ea"/>
                <a:ea typeface="+mj-ea"/>
              </a:rPr>
              <a:t>输入你的目录标题</a:t>
            </a:r>
          </a:p>
        </p:txBody>
      </p:sp>
      <p:sp>
        <p:nvSpPr>
          <p:cNvPr id="32" name="矩形: 圆角 31">
            <a:extLst>
              <a:ext uri="{FF2B5EF4-FFF2-40B4-BE49-F238E27FC236}">
                <a16:creationId xmlns:a16="http://schemas.microsoft.com/office/drawing/2014/main" id="{7310A8BD-EF0F-4DC2-83F8-50E52199B165}"/>
              </a:ext>
            </a:extLst>
          </p:cNvPr>
          <p:cNvSpPr/>
          <p:nvPr/>
        </p:nvSpPr>
        <p:spPr>
          <a:xfrm>
            <a:off x="828674" y="4249292"/>
            <a:ext cx="3728086" cy="665254"/>
          </a:xfrm>
          <a:prstGeom prst="roundRect">
            <a:avLst>
              <a:gd name="adj" fmla="val 16667"/>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p>
        </p:txBody>
      </p:sp>
      <p:sp>
        <p:nvSpPr>
          <p:cNvPr id="33" name="椭圆 32">
            <a:extLst>
              <a:ext uri="{FF2B5EF4-FFF2-40B4-BE49-F238E27FC236}">
                <a16:creationId xmlns:a16="http://schemas.microsoft.com/office/drawing/2014/main" id="{89B13E03-FD44-4238-9D27-538506D30CA4}"/>
              </a:ext>
            </a:extLst>
          </p:cNvPr>
          <p:cNvSpPr/>
          <p:nvPr/>
        </p:nvSpPr>
        <p:spPr>
          <a:xfrm>
            <a:off x="1104900" y="4353320"/>
            <a:ext cx="457200" cy="4572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800" dirty="0"/>
              <a:t>图标</a:t>
            </a:r>
          </a:p>
        </p:txBody>
      </p:sp>
      <p:sp>
        <p:nvSpPr>
          <p:cNvPr id="34" name="文本框 33">
            <a:extLst>
              <a:ext uri="{FF2B5EF4-FFF2-40B4-BE49-F238E27FC236}">
                <a16:creationId xmlns:a16="http://schemas.microsoft.com/office/drawing/2014/main" id="{9E1AB71F-1CDC-4C1E-8868-DF702BD62DBA}"/>
              </a:ext>
            </a:extLst>
          </p:cNvPr>
          <p:cNvSpPr txBox="1"/>
          <p:nvPr/>
        </p:nvSpPr>
        <p:spPr>
          <a:xfrm>
            <a:off x="1766165" y="4428031"/>
            <a:ext cx="2051844" cy="307777"/>
          </a:xfrm>
          <a:prstGeom prst="rect">
            <a:avLst/>
          </a:prstGeom>
          <a:noFill/>
        </p:spPr>
        <p:txBody>
          <a:bodyPr wrap="none" lIns="0" tIns="0" rIns="0" bIns="0" rtlCol="0" anchor="t">
            <a:spAutoFit/>
          </a:bodyPr>
          <a:lstStyle/>
          <a:p>
            <a:r>
              <a:rPr lang="zh-CN" altLang="en-US" sz="2000" dirty="0">
                <a:solidFill>
                  <a:schemeClr val="accent1"/>
                </a:solidFill>
                <a:latin typeface="+mj-ea"/>
                <a:ea typeface="+mj-ea"/>
              </a:rPr>
              <a:t>输入你的目录标题</a:t>
            </a:r>
          </a:p>
        </p:txBody>
      </p:sp>
      <p:sp>
        <p:nvSpPr>
          <p:cNvPr id="36" name="矩形: 圆角 35">
            <a:extLst>
              <a:ext uri="{FF2B5EF4-FFF2-40B4-BE49-F238E27FC236}">
                <a16:creationId xmlns:a16="http://schemas.microsoft.com/office/drawing/2014/main" id="{094B75A3-258D-467C-8951-17936DA5858F}"/>
              </a:ext>
            </a:extLst>
          </p:cNvPr>
          <p:cNvSpPr/>
          <p:nvPr/>
        </p:nvSpPr>
        <p:spPr>
          <a:xfrm>
            <a:off x="828674" y="5188076"/>
            <a:ext cx="3728086" cy="665254"/>
          </a:xfrm>
          <a:prstGeom prst="roundRect">
            <a:avLst>
              <a:gd name="adj" fmla="val 16667"/>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p>
        </p:txBody>
      </p:sp>
      <p:sp>
        <p:nvSpPr>
          <p:cNvPr id="37" name="椭圆 36">
            <a:extLst>
              <a:ext uri="{FF2B5EF4-FFF2-40B4-BE49-F238E27FC236}">
                <a16:creationId xmlns:a16="http://schemas.microsoft.com/office/drawing/2014/main" id="{D40D7DB3-C35C-44FC-8D07-FCC565BD6A21}"/>
              </a:ext>
            </a:extLst>
          </p:cNvPr>
          <p:cNvSpPr/>
          <p:nvPr/>
        </p:nvSpPr>
        <p:spPr>
          <a:xfrm>
            <a:off x="1104900" y="5292104"/>
            <a:ext cx="457200" cy="4572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800" dirty="0"/>
              <a:t>图标</a:t>
            </a:r>
          </a:p>
        </p:txBody>
      </p:sp>
      <p:sp>
        <p:nvSpPr>
          <p:cNvPr id="38" name="文本框 37">
            <a:extLst>
              <a:ext uri="{FF2B5EF4-FFF2-40B4-BE49-F238E27FC236}">
                <a16:creationId xmlns:a16="http://schemas.microsoft.com/office/drawing/2014/main" id="{50ECCF29-3391-4073-9B58-381843CAEB66}"/>
              </a:ext>
            </a:extLst>
          </p:cNvPr>
          <p:cNvSpPr txBox="1"/>
          <p:nvPr/>
        </p:nvSpPr>
        <p:spPr>
          <a:xfrm>
            <a:off x="1766165" y="5366815"/>
            <a:ext cx="2051844" cy="307777"/>
          </a:xfrm>
          <a:prstGeom prst="rect">
            <a:avLst/>
          </a:prstGeom>
          <a:noFill/>
        </p:spPr>
        <p:txBody>
          <a:bodyPr wrap="none" lIns="0" tIns="0" rIns="0" bIns="0" rtlCol="0" anchor="t">
            <a:spAutoFit/>
          </a:bodyPr>
          <a:lstStyle/>
          <a:p>
            <a:r>
              <a:rPr lang="zh-CN" altLang="en-US" sz="2000" dirty="0">
                <a:solidFill>
                  <a:schemeClr val="accent1"/>
                </a:solidFill>
                <a:latin typeface="+mj-ea"/>
                <a:ea typeface="+mj-ea"/>
              </a:rPr>
              <a:t>输入你的目录标题</a:t>
            </a:r>
          </a:p>
        </p:txBody>
      </p:sp>
      <p:sp>
        <p:nvSpPr>
          <p:cNvPr id="39" name="矩形 38">
            <a:extLst>
              <a:ext uri="{FF2B5EF4-FFF2-40B4-BE49-F238E27FC236}">
                <a16:creationId xmlns:a16="http://schemas.microsoft.com/office/drawing/2014/main" id="{BCBAADDA-46B0-449B-ABE6-74CF68648E02}"/>
              </a:ext>
            </a:extLst>
          </p:cNvPr>
          <p:cNvSpPr/>
          <p:nvPr/>
        </p:nvSpPr>
        <p:spPr>
          <a:xfrm>
            <a:off x="4992624" y="0"/>
            <a:ext cx="7199376" cy="6858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p>
        </p:txBody>
      </p:sp>
      <p:sp>
        <p:nvSpPr>
          <p:cNvPr id="40" name="任意多边形: 形状 39">
            <a:extLst>
              <a:ext uri="{FF2B5EF4-FFF2-40B4-BE49-F238E27FC236}">
                <a16:creationId xmlns:a16="http://schemas.microsoft.com/office/drawing/2014/main" id="{7648766D-9AB9-4205-BFE5-14F0B5F36A3E}"/>
              </a:ext>
            </a:extLst>
          </p:cNvPr>
          <p:cNvSpPr/>
          <p:nvPr/>
        </p:nvSpPr>
        <p:spPr>
          <a:xfrm>
            <a:off x="7982712" y="2869896"/>
            <a:ext cx="1219200" cy="1118208"/>
          </a:xfrm>
          <a:custGeom>
            <a:avLst/>
            <a:gdLst>
              <a:gd name="connsiteX0" fmla="*/ 1006264 w 1331826"/>
              <a:gd name="connsiteY0" fmla="*/ 238125 h 1221507"/>
              <a:gd name="connsiteX1" fmla="*/ 1123466 w 1331826"/>
              <a:gd name="connsiteY1" fmla="*/ 355327 h 1221507"/>
              <a:gd name="connsiteX2" fmla="*/ 1006264 w 1331826"/>
              <a:gd name="connsiteY2" fmla="*/ 472529 h 1221507"/>
              <a:gd name="connsiteX3" fmla="*/ 889062 w 1331826"/>
              <a:gd name="connsiteY3" fmla="*/ 355327 h 1221507"/>
              <a:gd name="connsiteX4" fmla="*/ 1006264 w 1331826"/>
              <a:gd name="connsiteY4" fmla="*/ 238125 h 1221507"/>
              <a:gd name="connsiteX5" fmla="*/ 172827 w 1331826"/>
              <a:gd name="connsiteY5" fmla="*/ 104180 h 1221507"/>
              <a:gd name="connsiteX6" fmla="*/ 105482 w 1331826"/>
              <a:gd name="connsiteY6" fmla="*/ 171152 h 1221507"/>
              <a:gd name="connsiteX7" fmla="*/ 105482 w 1331826"/>
              <a:gd name="connsiteY7" fmla="*/ 726281 h 1221507"/>
              <a:gd name="connsiteX8" fmla="*/ 179152 w 1331826"/>
              <a:gd name="connsiteY8" fmla="*/ 599777 h 1221507"/>
              <a:gd name="connsiteX9" fmla="*/ 303795 w 1331826"/>
              <a:gd name="connsiteY9" fmla="*/ 490761 h 1221507"/>
              <a:gd name="connsiteX10" fmla="*/ 414300 w 1331826"/>
              <a:gd name="connsiteY10" fmla="*/ 507504 h 1221507"/>
              <a:gd name="connsiteX11" fmla="*/ 731676 w 1331826"/>
              <a:gd name="connsiteY11" fmla="*/ 856878 h 1221507"/>
              <a:gd name="connsiteX12" fmla="*/ 780790 w 1331826"/>
              <a:gd name="connsiteY12" fmla="*/ 791022 h 1221507"/>
              <a:gd name="connsiteX13" fmla="*/ 988777 w 1331826"/>
              <a:gd name="connsiteY13" fmla="*/ 633264 h 1221507"/>
              <a:gd name="connsiteX14" fmla="*/ 1093329 w 1331826"/>
              <a:gd name="connsiteY14" fmla="*/ 666006 h 1221507"/>
              <a:gd name="connsiteX15" fmla="*/ 1227646 w 1331826"/>
              <a:gd name="connsiteY15" fmla="*/ 821159 h 1221507"/>
              <a:gd name="connsiteX16" fmla="*/ 1227646 w 1331826"/>
              <a:gd name="connsiteY16" fmla="*/ 171152 h 1221507"/>
              <a:gd name="connsiteX17" fmla="*/ 1160673 w 1331826"/>
              <a:gd name="connsiteY17" fmla="*/ 104180 h 1221507"/>
              <a:gd name="connsiteX18" fmla="*/ 172827 w 1331826"/>
              <a:gd name="connsiteY18" fmla="*/ 0 h 1221507"/>
              <a:gd name="connsiteX19" fmla="*/ 1160673 w 1331826"/>
              <a:gd name="connsiteY19" fmla="*/ 0 h 1221507"/>
              <a:gd name="connsiteX20" fmla="*/ 1331826 w 1331826"/>
              <a:gd name="connsiteY20" fmla="*/ 171152 h 1221507"/>
              <a:gd name="connsiteX21" fmla="*/ 1331826 w 1331826"/>
              <a:gd name="connsiteY21" fmla="*/ 1050355 h 1221507"/>
              <a:gd name="connsiteX22" fmla="*/ 1160673 w 1331826"/>
              <a:gd name="connsiteY22" fmla="*/ 1221507 h 1221507"/>
              <a:gd name="connsiteX23" fmla="*/ 172827 w 1331826"/>
              <a:gd name="connsiteY23" fmla="*/ 1221507 h 1221507"/>
              <a:gd name="connsiteX24" fmla="*/ 1674 w 1331826"/>
              <a:gd name="connsiteY24" fmla="*/ 1050355 h 1221507"/>
              <a:gd name="connsiteX25" fmla="*/ 1674 w 1331826"/>
              <a:gd name="connsiteY25" fmla="*/ 1006450 h 1221507"/>
              <a:gd name="connsiteX26" fmla="*/ 1674 w 1331826"/>
              <a:gd name="connsiteY26" fmla="*/ 980405 h 1221507"/>
              <a:gd name="connsiteX27" fmla="*/ 1674 w 1331826"/>
              <a:gd name="connsiteY27" fmla="*/ 171152 h 1221507"/>
              <a:gd name="connsiteX28" fmla="*/ 172827 w 1331826"/>
              <a:gd name="connsiteY28" fmla="*/ 0 h 1221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31826" h="1221507">
                <a:moveTo>
                  <a:pt x="1006264" y="238125"/>
                </a:moveTo>
                <a:cubicBezTo>
                  <a:pt x="1070993" y="238125"/>
                  <a:pt x="1123466" y="290598"/>
                  <a:pt x="1123466" y="355327"/>
                </a:cubicBezTo>
                <a:cubicBezTo>
                  <a:pt x="1123466" y="420056"/>
                  <a:pt x="1070993" y="472529"/>
                  <a:pt x="1006264" y="472529"/>
                </a:cubicBezTo>
                <a:cubicBezTo>
                  <a:pt x="941535" y="472529"/>
                  <a:pt x="889062" y="420056"/>
                  <a:pt x="889062" y="355327"/>
                </a:cubicBezTo>
                <a:cubicBezTo>
                  <a:pt x="889062" y="290598"/>
                  <a:pt x="941535" y="238125"/>
                  <a:pt x="1006264" y="238125"/>
                </a:cubicBezTo>
                <a:close/>
                <a:moveTo>
                  <a:pt x="172827" y="104180"/>
                </a:moveTo>
                <a:cubicBezTo>
                  <a:pt x="135620" y="104180"/>
                  <a:pt x="105854" y="133945"/>
                  <a:pt x="105482" y="171152"/>
                </a:cubicBezTo>
                <a:lnTo>
                  <a:pt x="105482" y="726281"/>
                </a:lnTo>
                <a:cubicBezTo>
                  <a:pt x="130411" y="676424"/>
                  <a:pt x="154967" y="634008"/>
                  <a:pt x="179152" y="599777"/>
                </a:cubicBezTo>
                <a:cubicBezTo>
                  <a:pt x="220824" y="540246"/>
                  <a:pt x="261751" y="504527"/>
                  <a:pt x="303795" y="490761"/>
                </a:cubicBezTo>
                <a:cubicBezTo>
                  <a:pt x="342491" y="478110"/>
                  <a:pt x="380442" y="483691"/>
                  <a:pt x="414300" y="507504"/>
                </a:cubicBezTo>
                <a:cubicBezTo>
                  <a:pt x="528526" y="587871"/>
                  <a:pt x="663215" y="762372"/>
                  <a:pt x="731676" y="856878"/>
                </a:cubicBezTo>
                <a:cubicBezTo>
                  <a:pt x="745443" y="837158"/>
                  <a:pt x="762186" y="814090"/>
                  <a:pt x="780790" y="791022"/>
                </a:cubicBezTo>
                <a:cubicBezTo>
                  <a:pt x="858552" y="693911"/>
                  <a:pt x="926641" y="642193"/>
                  <a:pt x="988777" y="633264"/>
                </a:cubicBezTo>
                <a:cubicBezTo>
                  <a:pt x="1028216" y="627683"/>
                  <a:pt x="1064307" y="638845"/>
                  <a:pt x="1093329" y="666006"/>
                </a:cubicBezTo>
                <a:cubicBezTo>
                  <a:pt x="1142070" y="711398"/>
                  <a:pt x="1188951" y="768697"/>
                  <a:pt x="1227646" y="821159"/>
                </a:cubicBezTo>
                <a:lnTo>
                  <a:pt x="1227646" y="171152"/>
                </a:lnTo>
                <a:cubicBezTo>
                  <a:pt x="1227646" y="134317"/>
                  <a:pt x="1197508" y="104180"/>
                  <a:pt x="1160673" y="104180"/>
                </a:cubicBezTo>
                <a:close/>
                <a:moveTo>
                  <a:pt x="172827" y="0"/>
                </a:moveTo>
                <a:lnTo>
                  <a:pt x="1160673" y="0"/>
                </a:lnTo>
                <a:cubicBezTo>
                  <a:pt x="1255179" y="0"/>
                  <a:pt x="1331826" y="76646"/>
                  <a:pt x="1331826" y="171152"/>
                </a:cubicBezTo>
                <a:lnTo>
                  <a:pt x="1331826" y="1050355"/>
                </a:lnTo>
                <a:cubicBezTo>
                  <a:pt x="1331826" y="1144860"/>
                  <a:pt x="1255179" y="1221507"/>
                  <a:pt x="1160673" y="1221507"/>
                </a:cubicBezTo>
                <a:lnTo>
                  <a:pt x="172827" y="1221507"/>
                </a:lnTo>
                <a:cubicBezTo>
                  <a:pt x="78321" y="1221507"/>
                  <a:pt x="1674" y="1144860"/>
                  <a:pt x="1674" y="1050355"/>
                </a:cubicBezTo>
                <a:lnTo>
                  <a:pt x="1674" y="1006450"/>
                </a:lnTo>
                <a:cubicBezTo>
                  <a:pt x="-558" y="997893"/>
                  <a:pt x="-558" y="989335"/>
                  <a:pt x="1674" y="980405"/>
                </a:cubicBezTo>
                <a:lnTo>
                  <a:pt x="1674" y="171152"/>
                </a:lnTo>
                <a:cubicBezTo>
                  <a:pt x="1674" y="76646"/>
                  <a:pt x="78321" y="0"/>
                  <a:pt x="172827" y="0"/>
                </a:cubicBezTo>
                <a:close/>
              </a:path>
            </a:pathLst>
          </a:custGeom>
          <a:solidFill>
            <a:schemeClr val="bg1"/>
          </a:solidFill>
          <a:ln w="1860" cap="flat">
            <a:noFill/>
            <a:prstDash val="solid"/>
            <a:miter/>
          </a:ln>
        </p:spPr>
        <p:txBody>
          <a:bodyPr rtlCol="0" anchor="ctr"/>
          <a:lstStyle/>
          <a:p>
            <a:endParaRPr lang="zh-CN" altLang="en-US"/>
          </a:p>
        </p:txBody>
      </p:sp>
    </p:spTree>
    <p:extLst>
      <p:ext uri="{BB962C8B-B14F-4D97-AF65-F5344CB8AC3E}">
        <p14:creationId xmlns:p14="http://schemas.microsoft.com/office/powerpoint/2010/main" val="2967862774"/>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8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42" name="直接连接符 141">
            <a:extLst>
              <a:ext uri="{FF2B5EF4-FFF2-40B4-BE49-F238E27FC236}">
                <a16:creationId xmlns:a16="http://schemas.microsoft.com/office/drawing/2014/main" id="{771829B0-371C-49DF-B7B1-1F572E48F0EA}"/>
              </a:ext>
            </a:extLst>
          </p:cNvPr>
          <p:cNvCxnSpPr>
            <a:cxnSpLocks/>
          </p:cNvCxnSpPr>
          <p:nvPr/>
        </p:nvCxnSpPr>
        <p:spPr>
          <a:xfrm flipH="1">
            <a:off x="4651398" y="2915058"/>
            <a:ext cx="2963333" cy="0"/>
          </a:xfrm>
          <a:prstGeom prst="line">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143" name="直接连接符 142">
            <a:extLst>
              <a:ext uri="{FF2B5EF4-FFF2-40B4-BE49-F238E27FC236}">
                <a16:creationId xmlns:a16="http://schemas.microsoft.com/office/drawing/2014/main" id="{D1FA70BC-CDED-4430-87BC-8C20842A850D}"/>
              </a:ext>
            </a:extLst>
          </p:cNvPr>
          <p:cNvCxnSpPr>
            <a:cxnSpLocks/>
          </p:cNvCxnSpPr>
          <p:nvPr/>
        </p:nvCxnSpPr>
        <p:spPr>
          <a:xfrm flipH="1">
            <a:off x="2280731" y="4140729"/>
            <a:ext cx="7713134" cy="0"/>
          </a:xfrm>
          <a:prstGeom prst="line">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144" name="直接连接符 143">
            <a:extLst>
              <a:ext uri="{FF2B5EF4-FFF2-40B4-BE49-F238E27FC236}">
                <a16:creationId xmlns:a16="http://schemas.microsoft.com/office/drawing/2014/main" id="{C4D7C2CA-BFE9-47BD-A698-CC310CFB7277}"/>
              </a:ext>
            </a:extLst>
          </p:cNvPr>
          <p:cNvCxnSpPr>
            <a:cxnSpLocks/>
          </p:cNvCxnSpPr>
          <p:nvPr/>
        </p:nvCxnSpPr>
        <p:spPr>
          <a:xfrm flipH="1">
            <a:off x="1411817" y="4928129"/>
            <a:ext cx="1690181" cy="0"/>
          </a:xfrm>
          <a:prstGeom prst="line">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149" name="直接连接符 148">
            <a:extLst>
              <a:ext uri="{FF2B5EF4-FFF2-40B4-BE49-F238E27FC236}">
                <a16:creationId xmlns:a16="http://schemas.microsoft.com/office/drawing/2014/main" id="{CCDD7C45-DE44-45CD-9D85-827E29E3B955}"/>
              </a:ext>
            </a:extLst>
          </p:cNvPr>
          <p:cNvCxnSpPr>
            <a:cxnSpLocks/>
          </p:cNvCxnSpPr>
          <p:nvPr/>
        </p:nvCxnSpPr>
        <p:spPr>
          <a:xfrm flipH="1">
            <a:off x="4651398" y="4928129"/>
            <a:ext cx="2963333" cy="0"/>
          </a:xfrm>
          <a:prstGeom prst="line">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150" name="直接连接符 149">
            <a:extLst>
              <a:ext uri="{FF2B5EF4-FFF2-40B4-BE49-F238E27FC236}">
                <a16:creationId xmlns:a16="http://schemas.microsoft.com/office/drawing/2014/main" id="{E76D55BC-3E73-402F-BAFA-572D584572E6}"/>
              </a:ext>
            </a:extLst>
          </p:cNvPr>
          <p:cNvCxnSpPr>
            <a:cxnSpLocks/>
          </p:cNvCxnSpPr>
          <p:nvPr/>
        </p:nvCxnSpPr>
        <p:spPr>
          <a:xfrm flipH="1">
            <a:off x="9171517" y="4928129"/>
            <a:ext cx="1690181" cy="0"/>
          </a:xfrm>
          <a:prstGeom prst="line">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151" name="直接连接符 150">
            <a:extLst>
              <a:ext uri="{FF2B5EF4-FFF2-40B4-BE49-F238E27FC236}">
                <a16:creationId xmlns:a16="http://schemas.microsoft.com/office/drawing/2014/main" id="{C3660736-29E0-4655-855F-DB42D690254A}"/>
              </a:ext>
            </a:extLst>
          </p:cNvPr>
          <p:cNvCxnSpPr>
            <a:cxnSpLocks/>
          </p:cNvCxnSpPr>
          <p:nvPr/>
        </p:nvCxnSpPr>
        <p:spPr>
          <a:xfrm>
            <a:off x="6105548" y="1574800"/>
            <a:ext cx="0" cy="4021667"/>
          </a:xfrm>
          <a:prstGeom prst="line">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152" name="直接连接符 151">
            <a:extLst>
              <a:ext uri="{FF2B5EF4-FFF2-40B4-BE49-F238E27FC236}">
                <a16:creationId xmlns:a16="http://schemas.microsoft.com/office/drawing/2014/main" id="{AC428D79-7D1B-4132-95E2-1026BBCA39D4}"/>
              </a:ext>
            </a:extLst>
          </p:cNvPr>
          <p:cNvCxnSpPr>
            <a:cxnSpLocks/>
          </p:cNvCxnSpPr>
          <p:nvPr/>
        </p:nvCxnSpPr>
        <p:spPr>
          <a:xfrm>
            <a:off x="2220384" y="4134910"/>
            <a:ext cx="0" cy="793219"/>
          </a:xfrm>
          <a:prstGeom prst="line">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153" name="直接连接符 152">
            <a:extLst>
              <a:ext uri="{FF2B5EF4-FFF2-40B4-BE49-F238E27FC236}">
                <a16:creationId xmlns:a16="http://schemas.microsoft.com/office/drawing/2014/main" id="{4A0D220B-5258-4A52-8A7B-FE6085383950}"/>
              </a:ext>
            </a:extLst>
          </p:cNvPr>
          <p:cNvCxnSpPr>
            <a:cxnSpLocks/>
          </p:cNvCxnSpPr>
          <p:nvPr/>
        </p:nvCxnSpPr>
        <p:spPr>
          <a:xfrm>
            <a:off x="1411817" y="4928129"/>
            <a:ext cx="0" cy="793219"/>
          </a:xfrm>
          <a:prstGeom prst="line">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154" name="直接连接符 153">
            <a:extLst>
              <a:ext uri="{FF2B5EF4-FFF2-40B4-BE49-F238E27FC236}">
                <a16:creationId xmlns:a16="http://schemas.microsoft.com/office/drawing/2014/main" id="{7CD4CC2F-B614-42AC-81B9-BBF1D348CEBE}"/>
              </a:ext>
            </a:extLst>
          </p:cNvPr>
          <p:cNvCxnSpPr>
            <a:cxnSpLocks/>
          </p:cNvCxnSpPr>
          <p:nvPr/>
        </p:nvCxnSpPr>
        <p:spPr>
          <a:xfrm>
            <a:off x="3101998" y="4928129"/>
            <a:ext cx="0" cy="793219"/>
          </a:xfrm>
          <a:prstGeom prst="line">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155" name="直接连接符 154">
            <a:extLst>
              <a:ext uri="{FF2B5EF4-FFF2-40B4-BE49-F238E27FC236}">
                <a16:creationId xmlns:a16="http://schemas.microsoft.com/office/drawing/2014/main" id="{C5530C69-D383-4B88-A408-0DC7E7822CC5}"/>
              </a:ext>
            </a:extLst>
          </p:cNvPr>
          <p:cNvCxnSpPr>
            <a:cxnSpLocks/>
          </p:cNvCxnSpPr>
          <p:nvPr/>
        </p:nvCxnSpPr>
        <p:spPr>
          <a:xfrm>
            <a:off x="4651398" y="4928129"/>
            <a:ext cx="0" cy="793219"/>
          </a:xfrm>
          <a:prstGeom prst="line">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156" name="直接连接符 155">
            <a:extLst>
              <a:ext uri="{FF2B5EF4-FFF2-40B4-BE49-F238E27FC236}">
                <a16:creationId xmlns:a16="http://schemas.microsoft.com/office/drawing/2014/main" id="{E791BEDD-0326-4722-8BF4-7AAB3DAB6821}"/>
              </a:ext>
            </a:extLst>
          </p:cNvPr>
          <p:cNvCxnSpPr>
            <a:cxnSpLocks/>
          </p:cNvCxnSpPr>
          <p:nvPr/>
        </p:nvCxnSpPr>
        <p:spPr>
          <a:xfrm>
            <a:off x="7614731" y="4928129"/>
            <a:ext cx="0" cy="793219"/>
          </a:xfrm>
          <a:prstGeom prst="line">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157" name="直接连接符 156">
            <a:extLst>
              <a:ext uri="{FF2B5EF4-FFF2-40B4-BE49-F238E27FC236}">
                <a16:creationId xmlns:a16="http://schemas.microsoft.com/office/drawing/2014/main" id="{00E13A0B-B43D-461A-91BD-F54F4976406A}"/>
              </a:ext>
            </a:extLst>
          </p:cNvPr>
          <p:cNvCxnSpPr>
            <a:cxnSpLocks/>
          </p:cNvCxnSpPr>
          <p:nvPr/>
        </p:nvCxnSpPr>
        <p:spPr>
          <a:xfrm>
            <a:off x="9171517" y="4928129"/>
            <a:ext cx="0" cy="793219"/>
          </a:xfrm>
          <a:prstGeom prst="line">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158" name="直接连接符 157">
            <a:extLst>
              <a:ext uri="{FF2B5EF4-FFF2-40B4-BE49-F238E27FC236}">
                <a16:creationId xmlns:a16="http://schemas.microsoft.com/office/drawing/2014/main" id="{24F40027-E059-447B-8098-873F55F23731}"/>
              </a:ext>
            </a:extLst>
          </p:cNvPr>
          <p:cNvCxnSpPr>
            <a:cxnSpLocks/>
          </p:cNvCxnSpPr>
          <p:nvPr/>
        </p:nvCxnSpPr>
        <p:spPr>
          <a:xfrm>
            <a:off x="9975850" y="4134910"/>
            <a:ext cx="0" cy="793219"/>
          </a:xfrm>
          <a:prstGeom prst="line">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159" name="直接连接符 158">
            <a:extLst>
              <a:ext uri="{FF2B5EF4-FFF2-40B4-BE49-F238E27FC236}">
                <a16:creationId xmlns:a16="http://schemas.microsoft.com/office/drawing/2014/main" id="{1CF59911-6D3F-4E6D-BB20-8A53E335AF95}"/>
              </a:ext>
            </a:extLst>
          </p:cNvPr>
          <p:cNvCxnSpPr>
            <a:cxnSpLocks/>
          </p:cNvCxnSpPr>
          <p:nvPr/>
        </p:nvCxnSpPr>
        <p:spPr>
          <a:xfrm>
            <a:off x="10861698" y="4928129"/>
            <a:ext cx="0" cy="793219"/>
          </a:xfrm>
          <a:prstGeom prst="line">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93" name="椭圆 92">
            <a:extLst>
              <a:ext uri="{FF2B5EF4-FFF2-40B4-BE49-F238E27FC236}">
                <a16:creationId xmlns:a16="http://schemas.microsoft.com/office/drawing/2014/main" id="{357EB8C4-BFB9-4E08-8375-E23E85640F6B}"/>
              </a:ext>
            </a:extLst>
          </p:cNvPr>
          <p:cNvSpPr/>
          <p:nvPr/>
        </p:nvSpPr>
        <p:spPr>
          <a:xfrm>
            <a:off x="5560462" y="3603074"/>
            <a:ext cx="1075312" cy="1075310"/>
          </a:xfrm>
          <a:prstGeom prst="ellipse">
            <a:avLst/>
          </a:prstGeom>
          <a:solidFill>
            <a:schemeClr val="bg1"/>
          </a:solidFill>
          <a:ln w="3810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5720" tIns="22860" rIns="45720" bIns="228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2000" b="0" i="0" u="none" strike="noStrike" kern="1200" cap="none" spc="0" normalizeH="0" baseline="0" noProof="0" dirty="0">
              <a:ln>
                <a:noFill/>
              </a:ln>
              <a:solidFill>
                <a:srgbClr val="FFFFFF"/>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p:txBody>
      </p:sp>
      <p:sp>
        <p:nvSpPr>
          <p:cNvPr id="108" name="椭圆 107">
            <a:extLst>
              <a:ext uri="{FF2B5EF4-FFF2-40B4-BE49-F238E27FC236}">
                <a16:creationId xmlns:a16="http://schemas.microsoft.com/office/drawing/2014/main" id="{94EE09F3-6B0B-4336-A5BF-3CCBDCC99A07}"/>
              </a:ext>
            </a:extLst>
          </p:cNvPr>
          <p:cNvSpPr/>
          <p:nvPr/>
        </p:nvSpPr>
        <p:spPr>
          <a:xfrm>
            <a:off x="1682728" y="3603074"/>
            <a:ext cx="1075312" cy="1075310"/>
          </a:xfrm>
          <a:prstGeom prst="ellipse">
            <a:avLst/>
          </a:prstGeom>
          <a:solidFill>
            <a:schemeClr val="bg1"/>
          </a:solidFill>
          <a:ln w="3810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5720" tIns="22860" rIns="45720" bIns="228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2000" b="0" i="0" u="none" strike="noStrike" kern="1200" cap="none" spc="0" normalizeH="0" baseline="0" noProof="0" dirty="0">
              <a:ln>
                <a:noFill/>
              </a:ln>
              <a:solidFill>
                <a:srgbClr val="FFFFFF"/>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p:txBody>
      </p:sp>
      <p:sp>
        <p:nvSpPr>
          <p:cNvPr id="111" name="椭圆 110">
            <a:extLst>
              <a:ext uri="{FF2B5EF4-FFF2-40B4-BE49-F238E27FC236}">
                <a16:creationId xmlns:a16="http://schemas.microsoft.com/office/drawing/2014/main" id="{EA5AD806-8178-4EB4-8C98-8AEBE2CFEC88}"/>
              </a:ext>
            </a:extLst>
          </p:cNvPr>
          <p:cNvSpPr/>
          <p:nvPr/>
        </p:nvSpPr>
        <p:spPr>
          <a:xfrm>
            <a:off x="9438194" y="3603074"/>
            <a:ext cx="1075312" cy="1075310"/>
          </a:xfrm>
          <a:prstGeom prst="ellipse">
            <a:avLst/>
          </a:prstGeom>
          <a:solidFill>
            <a:schemeClr val="bg1"/>
          </a:solidFill>
          <a:ln w="3810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5720" tIns="22860" rIns="45720" bIns="228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2000" b="0" i="0" u="none" strike="noStrike" kern="1200" cap="none" spc="0" normalizeH="0" baseline="0" noProof="0" dirty="0">
              <a:ln>
                <a:noFill/>
              </a:ln>
              <a:solidFill>
                <a:srgbClr val="FFFFFF"/>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p:txBody>
      </p:sp>
      <p:sp>
        <p:nvSpPr>
          <p:cNvPr id="123" name="椭圆 122">
            <a:extLst>
              <a:ext uri="{FF2B5EF4-FFF2-40B4-BE49-F238E27FC236}">
                <a16:creationId xmlns:a16="http://schemas.microsoft.com/office/drawing/2014/main" id="{BD6FFA9D-90EC-4D23-B6C1-AAB035921881}"/>
              </a:ext>
            </a:extLst>
          </p:cNvPr>
          <p:cNvSpPr/>
          <p:nvPr/>
        </p:nvSpPr>
        <p:spPr>
          <a:xfrm>
            <a:off x="874161" y="5127074"/>
            <a:ext cx="1075312" cy="1075310"/>
          </a:xfrm>
          <a:prstGeom prst="ellipse">
            <a:avLst/>
          </a:prstGeom>
          <a:solidFill>
            <a:schemeClr val="bg1"/>
          </a:solidFill>
          <a:ln w="3810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5720" tIns="22860" rIns="45720" bIns="228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2000" b="0" i="0" u="none" strike="noStrike" kern="1200" cap="none" spc="0" normalizeH="0" baseline="0" noProof="0" dirty="0">
              <a:ln>
                <a:noFill/>
              </a:ln>
              <a:solidFill>
                <a:srgbClr val="FFFFFF"/>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p:txBody>
      </p:sp>
      <p:sp>
        <p:nvSpPr>
          <p:cNvPr id="126" name="椭圆 125">
            <a:extLst>
              <a:ext uri="{FF2B5EF4-FFF2-40B4-BE49-F238E27FC236}">
                <a16:creationId xmlns:a16="http://schemas.microsoft.com/office/drawing/2014/main" id="{83E60F71-7BEC-4CA3-AEE8-E3551E6B55B2}"/>
              </a:ext>
            </a:extLst>
          </p:cNvPr>
          <p:cNvSpPr/>
          <p:nvPr/>
        </p:nvSpPr>
        <p:spPr>
          <a:xfrm>
            <a:off x="2491295" y="5127074"/>
            <a:ext cx="1075312" cy="1075310"/>
          </a:xfrm>
          <a:prstGeom prst="ellipse">
            <a:avLst/>
          </a:prstGeom>
          <a:solidFill>
            <a:schemeClr val="bg1"/>
          </a:solidFill>
          <a:ln w="3810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5720" tIns="22860" rIns="45720" bIns="228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2000" b="0" i="0" u="none" strike="noStrike" kern="1200" cap="none" spc="0" normalizeH="0" baseline="0" noProof="0" dirty="0">
              <a:ln>
                <a:noFill/>
              </a:ln>
              <a:solidFill>
                <a:srgbClr val="FFFFFF"/>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p:txBody>
      </p:sp>
      <p:sp>
        <p:nvSpPr>
          <p:cNvPr id="129" name="椭圆 128">
            <a:extLst>
              <a:ext uri="{FF2B5EF4-FFF2-40B4-BE49-F238E27FC236}">
                <a16:creationId xmlns:a16="http://schemas.microsoft.com/office/drawing/2014/main" id="{6F52059B-CF4D-4AF6-931F-5480270B8C1E}"/>
              </a:ext>
            </a:extLst>
          </p:cNvPr>
          <p:cNvSpPr/>
          <p:nvPr/>
        </p:nvSpPr>
        <p:spPr>
          <a:xfrm>
            <a:off x="4106973" y="5127074"/>
            <a:ext cx="1075312" cy="1075310"/>
          </a:xfrm>
          <a:prstGeom prst="ellipse">
            <a:avLst/>
          </a:prstGeom>
          <a:solidFill>
            <a:schemeClr val="bg1"/>
          </a:solidFill>
          <a:ln w="3810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5720" tIns="22860" rIns="45720" bIns="228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2000" b="0" i="0" u="none" strike="noStrike" kern="1200" cap="none" spc="0" normalizeH="0" baseline="0" noProof="0" dirty="0">
              <a:ln>
                <a:noFill/>
              </a:ln>
              <a:solidFill>
                <a:srgbClr val="FFFFFF"/>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p:txBody>
      </p:sp>
      <p:sp>
        <p:nvSpPr>
          <p:cNvPr id="132" name="椭圆 131">
            <a:extLst>
              <a:ext uri="{FF2B5EF4-FFF2-40B4-BE49-F238E27FC236}">
                <a16:creationId xmlns:a16="http://schemas.microsoft.com/office/drawing/2014/main" id="{BCD0B268-4039-43CB-86E7-F15F34466F6E}"/>
              </a:ext>
            </a:extLst>
          </p:cNvPr>
          <p:cNvSpPr/>
          <p:nvPr/>
        </p:nvSpPr>
        <p:spPr>
          <a:xfrm>
            <a:off x="5560462" y="5127074"/>
            <a:ext cx="1075312" cy="1075310"/>
          </a:xfrm>
          <a:prstGeom prst="ellipse">
            <a:avLst/>
          </a:prstGeom>
          <a:solidFill>
            <a:schemeClr val="bg1"/>
          </a:solidFill>
          <a:ln w="3810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5720" tIns="22860" rIns="45720" bIns="228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2000" b="0" i="0" u="none" strike="noStrike" kern="1200" cap="none" spc="0" normalizeH="0" baseline="0" noProof="0" dirty="0">
              <a:ln>
                <a:noFill/>
              </a:ln>
              <a:solidFill>
                <a:srgbClr val="FFFFFF"/>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p:txBody>
      </p:sp>
      <p:sp>
        <p:nvSpPr>
          <p:cNvPr id="135" name="椭圆 134">
            <a:extLst>
              <a:ext uri="{FF2B5EF4-FFF2-40B4-BE49-F238E27FC236}">
                <a16:creationId xmlns:a16="http://schemas.microsoft.com/office/drawing/2014/main" id="{B1E486C1-0282-443A-9DFA-939106C15FA4}"/>
              </a:ext>
            </a:extLst>
          </p:cNvPr>
          <p:cNvSpPr/>
          <p:nvPr/>
        </p:nvSpPr>
        <p:spPr>
          <a:xfrm>
            <a:off x="7013951" y="5127074"/>
            <a:ext cx="1075312" cy="1075310"/>
          </a:xfrm>
          <a:prstGeom prst="ellipse">
            <a:avLst/>
          </a:prstGeom>
          <a:solidFill>
            <a:schemeClr val="bg1"/>
          </a:solidFill>
          <a:ln w="3810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5720" tIns="22860" rIns="45720" bIns="228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2000" b="0" i="0" u="none" strike="noStrike" kern="1200" cap="none" spc="0" normalizeH="0" baseline="0" noProof="0" dirty="0">
              <a:ln>
                <a:noFill/>
              </a:ln>
              <a:solidFill>
                <a:srgbClr val="FFFFFF"/>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p:txBody>
      </p:sp>
      <p:sp>
        <p:nvSpPr>
          <p:cNvPr id="138" name="椭圆 137">
            <a:extLst>
              <a:ext uri="{FF2B5EF4-FFF2-40B4-BE49-F238E27FC236}">
                <a16:creationId xmlns:a16="http://schemas.microsoft.com/office/drawing/2014/main" id="{647D9E19-F1EB-47A2-8F5B-7A86B24963BC}"/>
              </a:ext>
            </a:extLst>
          </p:cNvPr>
          <p:cNvSpPr/>
          <p:nvPr/>
        </p:nvSpPr>
        <p:spPr>
          <a:xfrm>
            <a:off x="8633861" y="5127074"/>
            <a:ext cx="1075312" cy="1075310"/>
          </a:xfrm>
          <a:prstGeom prst="ellipse">
            <a:avLst/>
          </a:prstGeom>
          <a:solidFill>
            <a:schemeClr val="bg1"/>
          </a:solidFill>
          <a:ln w="3810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5720" tIns="22860" rIns="45720" bIns="228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2000" b="0" i="0" u="none" strike="noStrike" kern="1200" cap="none" spc="0" normalizeH="0" baseline="0" noProof="0" dirty="0">
              <a:ln>
                <a:noFill/>
              </a:ln>
              <a:solidFill>
                <a:srgbClr val="FFFFFF"/>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p:txBody>
      </p:sp>
      <p:sp>
        <p:nvSpPr>
          <p:cNvPr id="141" name="椭圆 140">
            <a:extLst>
              <a:ext uri="{FF2B5EF4-FFF2-40B4-BE49-F238E27FC236}">
                <a16:creationId xmlns:a16="http://schemas.microsoft.com/office/drawing/2014/main" id="{05A5F773-921E-433C-B06F-E3BC873E2084}"/>
              </a:ext>
            </a:extLst>
          </p:cNvPr>
          <p:cNvSpPr/>
          <p:nvPr/>
        </p:nvSpPr>
        <p:spPr>
          <a:xfrm>
            <a:off x="10242527" y="5127074"/>
            <a:ext cx="1075312" cy="1075310"/>
          </a:xfrm>
          <a:prstGeom prst="ellipse">
            <a:avLst/>
          </a:prstGeom>
          <a:solidFill>
            <a:schemeClr val="bg1"/>
          </a:solidFill>
          <a:ln w="3810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5720" tIns="22860" rIns="45720" bIns="228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2000" b="0" i="0" u="none" strike="noStrike" kern="1200" cap="none" spc="0" normalizeH="0" baseline="0" noProof="0" dirty="0">
              <a:ln>
                <a:noFill/>
              </a:ln>
              <a:solidFill>
                <a:srgbClr val="FFFFFF"/>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p:txBody>
      </p:sp>
      <p:sp>
        <p:nvSpPr>
          <p:cNvPr id="88" name="椭圆 87">
            <a:extLst>
              <a:ext uri="{FF2B5EF4-FFF2-40B4-BE49-F238E27FC236}">
                <a16:creationId xmlns:a16="http://schemas.microsoft.com/office/drawing/2014/main" id="{61094800-56B9-4F58-A30C-0051DDD95BE6}"/>
              </a:ext>
            </a:extLst>
          </p:cNvPr>
          <p:cNvSpPr/>
          <p:nvPr/>
        </p:nvSpPr>
        <p:spPr>
          <a:xfrm>
            <a:off x="5536803" y="1259417"/>
            <a:ext cx="1137490" cy="1137490"/>
          </a:xfrm>
          <a:prstGeom prst="ellipse">
            <a:avLst/>
          </a:prstGeom>
          <a:gradFill flip="none" rotWithShape="1">
            <a:gsLst>
              <a:gs pos="3000">
                <a:schemeClr val="accent1"/>
              </a:gs>
              <a:gs pos="100000">
                <a:schemeClr val="accent1">
                  <a:lumMod val="60000"/>
                  <a:lumOff val="40000"/>
                </a:schemeClr>
              </a:gs>
            </a:gsLst>
            <a:lin ang="2700000" scaled="0"/>
            <a:tileRect/>
          </a:gradFill>
          <a:ln>
            <a:noFill/>
          </a:ln>
          <a:effectLst>
            <a:outerShdw blurRad="330200" dist="381000" dir="5400000" sx="90000" sy="90000" algn="t" rotWithShape="0">
              <a:schemeClr val="accent1">
                <a:lumMod val="75000"/>
                <a:alpha val="2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5720" tIns="22860" rIns="45720" bIns="228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2400" b="0" i="0" u="none" strike="noStrike" kern="1200" cap="none" spc="0" normalizeH="0" baseline="0" noProof="0" dirty="0">
                <a:ln>
                  <a:noFill/>
                </a:ln>
                <a:solidFill>
                  <a:srgbClr val="FFFFFF"/>
                </a:solidFill>
                <a:effectLst/>
                <a:uLnTx/>
                <a:uFillTx/>
                <a:latin typeface="OPPOSans B" panose="00020600040101010101" pitchFamily="18" charset="-122"/>
                <a:ea typeface="OPPOSans B" panose="00020600040101010101" pitchFamily="18" charset="-122"/>
                <a:cs typeface="OPPOSans B" panose="00020600040101010101" pitchFamily="18" charset="-122"/>
              </a:rPr>
              <a:t>CEO</a:t>
            </a:r>
            <a:endParaRPr kumimoji="0" lang="zh-CN" altLang="en-US" sz="2400" b="0" i="0" u="none" strike="noStrike" kern="1200" cap="none" spc="0" normalizeH="0" baseline="0" noProof="0" dirty="0">
              <a:ln>
                <a:noFill/>
              </a:ln>
              <a:solidFill>
                <a:srgbClr val="FFFFFF"/>
              </a:solidFill>
              <a:effectLst/>
              <a:uLnTx/>
              <a:uFillTx/>
              <a:latin typeface="OPPOSans B" panose="00020600040101010101" pitchFamily="18" charset="-122"/>
              <a:ea typeface="OPPOSans B" panose="00020600040101010101" pitchFamily="18" charset="-122"/>
              <a:cs typeface="OPPOSans B" panose="00020600040101010101" pitchFamily="18" charset="-122"/>
            </a:endParaRPr>
          </a:p>
        </p:txBody>
      </p:sp>
      <p:sp>
        <p:nvSpPr>
          <p:cNvPr id="89" name="椭圆 88">
            <a:extLst>
              <a:ext uri="{FF2B5EF4-FFF2-40B4-BE49-F238E27FC236}">
                <a16:creationId xmlns:a16="http://schemas.microsoft.com/office/drawing/2014/main" id="{59E87040-DA0A-4AEF-BCEE-10BEA9D79482}"/>
              </a:ext>
            </a:extLst>
          </p:cNvPr>
          <p:cNvSpPr/>
          <p:nvPr/>
        </p:nvSpPr>
        <p:spPr>
          <a:xfrm>
            <a:off x="4114403" y="2357967"/>
            <a:ext cx="1137490" cy="1137490"/>
          </a:xfrm>
          <a:prstGeom prst="ellipse">
            <a:avLst/>
          </a:prstGeom>
          <a:gradFill flip="none" rotWithShape="1">
            <a:gsLst>
              <a:gs pos="1000">
                <a:schemeClr val="accent3"/>
              </a:gs>
              <a:gs pos="100000">
                <a:schemeClr val="accent3">
                  <a:lumMod val="60000"/>
                  <a:lumOff val="40000"/>
                </a:schemeClr>
              </a:gs>
            </a:gsLst>
            <a:lin ang="2700000" scaled="0"/>
            <a:tileRect/>
          </a:gradFill>
          <a:ln>
            <a:noFill/>
          </a:ln>
          <a:effectLst>
            <a:outerShdw blurRad="330200" dist="381000" dir="5400000" sx="90000" sy="90000" algn="t" rotWithShape="0">
              <a:schemeClr val="accent3">
                <a:lumMod val="50000"/>
                <a:alpha val="2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5720" tIns="22860" rIns="45720" bIns="228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800" b="0" i="0" u="none" strike="noStrike" kern="1200" cap="none" spc="0" normalizeH="0" baseline="0" noProof="0" dirty="0">
                <a:ln>
                  <a:noFill/>
                </a:ln>
                <a:solidFill>
                  <a:srgbClr val="FFFFFF"/>
                </a:solidFill>
                <a:effectLst/>
                <a:uLnTx/>
                <a:uFillTx/>
                <a:latin typeface="Arial" panose="020F0502020204030204"/>
                <a:ea typeface="微软雅黑"/>
                <a:cs typeface="+mn-cs"/>
              </a:rPr>
              <a:t>部门</a:t>
            </a:r>
            <a:endParaRPr kumimoji="0" lang="en-US" altLang="zh-CN" sz="1800" b="0" i="0" u="none" strike="noStrike" kern="1200" cap="none" spc="0" normalizeH="0" baseline="0" noProof="0" dirty="0">
              <a:ln>
                <a:noFill/>
              </a:ln>
              <a:solidFill>
                <a:srgbClr val="FFFFFF"/>
              </a:solidFill>
              <a:effectLst/>
              <a:uLnTx/>
              <a:uFillTx/>
              <a:latin typeface="Arial" panose="020F0502020204030204"/>
              <a:ea typeface="微软雅黑"/>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800" b="0" i="0" u="none" strike="noStrike" kern="1200" cap="none" spc="0" normalizeH="0" baseline="0" noProof="0" dirty="0">
                <a:ln>
                  <a:noFill/>
                </a:ln>
                <a:solidFill>
                  <a:srgbClr val="FFFFFF"/>
                </a:solidFill>
                <a:effectLst/>
                <a:uLnTx/>
                <a:uFillTx/>
                <a:latin typeface="Arial" panose="020F0502020204030204"/>
                <a:ea typeface="微软雅黑"/>
                <a:cs typeface="+mn-cs"/>
              </a:rPr>
              <a:t>名称</a:t>
            </a:r>
          </a:p>
        </p:txBody>
      </p:sp>
      <p:sp>
        <p:nvSpPr>
          <p:cNvPr id="91" name="椭圆 90">
            <a:extLst>
              <a:ext uri="{FF2B5EF4-FFF2-40B4-BE49-F238E27FC236}">
                <a16:creationId xmlns:a16="http://schemas.microsoft.com/office/drawing/2014/main" id="{BFFBD3F3-1CD0-4FF7-B5FF-CD41C415763E}"/>
              </a:ext>
            </a:extLst>
          </p:cNvPr>
          <p:cNvSpPr/>
          <p:nvPr/>
        </p:nvSpPr>
        <p:spPr>
          <a:xfrm>
            <a:off x="6984603" y="2357967"/>
            <a:ext cx="1137490" cy="1137490"/>
          </a:xfrm>
          <a:prstGeom prst="ellipse">
            <a:avLst/>
          </a:prstGeom>
          <a:gradFill flip="none" rotWithShape="1">
            <a:gsLst>
              <a:gs pos="1000">
                <a:schemeClr val="accent2"/>
              </a:gs>
              <a:gs pos="100000">
                <a:schemeClr val="accent2">
                  <a:lumMod val="60000"/>
                  <a:lumOff val="40000"/>
                </a:schemeClr>
              </a:gs>
            </a:gsLst>
            <a:lin ang="2700000" scaled="0"/>
            <a:tileRect/>
          </a:gradFill>
          <a:ln>
            <a:noFill/>
          </a:ln>
          <a:effectLst>
            <a:outerShdw blurRad="330200" dist="381000" dir="5400000" sx="90000" sy="90000" algn="t" rotWithShape="0">
              <a:schemeClr val="accent2">
                <a:lumMod val="75000"/>
                <a:alpha val="2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5720" tIns="22860" rIns="45720" bIns="228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800" b="0" i="0" u="none" strike="noStrike" kern="1200" cap="none" spc="0" normalizeH="0" baseline="0" noProof="0" dirty="0">
                <a:ln>
                  <a:noFill/>
                </a:ln>
                <a:solidFill>
                  <a:srgbClr val="FFFFFF"/>
                </a:solidFill>
                <a:effectLst/>
                <a:uLnTx/>
                <a:uFillTx/>
                <a:latin typeface="Arial" panose="020F0502020204030204"/>
                <a:ea typeface="微软雅黑"/>
                <a:cs typeface="+mn-cs"/>
              </a:rPr>
              <a:t>部门</a:t>
            </a:r>
            <a:endParaRPr kumimoji="0" lang="en-US" altLang="zh-CN" sz="1800" b="0" i="0" u="none" strike="noStrike" kern="1200" cap="none" spc="0" normalizeH="0" baseline="0" noProof="0" dirty="0">
              <a:ln>
                <a:noFill/>
              </a:ln>
              <a:solidFill>
                <a:srgbClr val="FFFFFF"/>
              </a:solidFill>
              <a:effectLst/>
              <a:uLnTx/>
              <a:uFillTx/>
              <a:latin typeface="Arial" panose="020F0502020204030204"/>
              <a:ea typeface="微软雅黑"/>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800" b="0" i="0" u="none" strike="noStrike" kern="1200" cap="none" spc="0" normalizeH="0" baseline="0" noProof="0" dirty="0">
                <a:ln>
                  <a:noFill/>
                </a:ln>
                <a:solidFill>
                  <a:srgbClr val="FFFFFF"/>
                </a:solidFill>
                <a:effectLst/>
                <a:uLnTx/>
                <a:uFillTx/>
                <a:latin typeface="Arial" panose="020F0502020204030204"/>
                <a:ea typeface="微软雅黑"/>
                <a:cs typeface="+mn-cs"/>
              </a:rPr>
              <a:t>名称</a:t>
            </a:r>
          </a:p>
        </p:txBody>
      </p:sp>
      <p:sp>
        <p:nvSpPr>
          <p:cNvPr id="92" name="椭圆 91">
            <a:extLst>
              <a:ext uri="{FF2B5EF4-FFF2-40B4-BE49-F238E27FC236}">
                <a16:creationId xmlns:a16="http://schemas.microsoft.com/office/drawing/2014/main" id="{6429700E-0CD9-4F9C-AAAE-4228A04203D8}"/>
              </a:ext>
            </a:extLst>
          </p:cNvPr>
          <p:cNvSpPr/>
          <p:nvPr/>
        </p:nvSpPr>
        <p:spPr>
          <a:xfrm>
            <a:off x="5677431" y="3720043"/>
            <a:ext cx="841374" cy="841372"/>
          </a:xfrm>
          <a:prstGeom prst="ellipse">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5720" tIns="22860" rIns="45720" bIns="228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800" b="0" i="0" u="none" strike="noStrike" kern="1200" cap="none" spc="0" normalizeH="0" baseline="0" noProof="0">
                <a:ln>
                  <a:noFill/>
                </a:ln>
                <a:solidFill>
                  <a:srgbClr val="000000">
                    <a:lumMod val="75000"/>
                    <a:lumOff val="25000"/>
                  </a:srgbClr>
                </a:solidFill>
                <a:effectLst/>
                <a:uLnTx/>
                <a:uFillTx/>
                <a:latin typeface="Arial" panose="020F0502020204030204"/>
                <a:ea typeface="微软雅黑"/>
                <a:cs typeface="+mn-cs"/>
              </a:rPr>
              <a:t>部门</a:t>
            </a:r>
            <a:endParaRPr kumimoji="0" lang="en-US" altLang="zh-CN" sz="1800" b="0" i="0" u="none" strike="noStrike" kern="1200" cap="none" spc="0" normalizeH="0" baseline="0" noProof="0" dirty="0">
              <a:ln>
                <a:noFill/>
              </a:ln>
              <a:solidFill>
                <a:srgbClr val="000000">
                  <a:lumMod val="75000"/>
                  <a:lumOff val="25000"/>
                </a:srgbClr>
              </a:solidFill>
              <a:effectLst/>
              <a:uLnTx/>
              <a:uFillTx/>
              <a:latin typeface="Arial" panose="020F0502020204030204"/>
              <a:ea typeface="微软雅黑"/>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800" b="0" i="0" u="none" strike="noStrike" kern="1200" cap="none" spc="0" normalizeH="0" baseline="0" noProof="0" dirty="0">
                <a:ln>
                  <a:noFill/>
                </a:ln>
                <a:solidFill>
                  <a:srgbClr val="000000">
                    <a:lumMod val="75000"/>
                    <a:lumOff val="25000"/>
                  </a:srgbClr>
                </a:solidFill>
                <a:effectLst/>
                <a:uLnTx/>
                <a:uFillTx/>
                <a:latin typeface="Arial" panose="020F0502020204030204"/>
                <a:ea typeface="微软雅黑"/>
                <a:cs typeface="+mn-cs"/>
              </a:rPr>
              <a:t>名称</a:t>
            </a:r>
          </a:p>
        </p:txBody>
      </p:sp>
      <p:sp>
        <p:nvSpPr>
          <p:cNvPr id="107" name="椭圆 106">
            <a:extLst>
              <a:ext uri="{FF2B5EF4-FFF2-40B4-BE49-F238E27FC236}">
                <a16:creationId xmlns:a16="http://schemas.microsoft.com/office/drawing/2014/main" id="{07DAD479-CF7D-40C0-8318-A18692FB76C9}"/>
              </a:ext>
            </a:extLst>
          </p:cNvPr>
          <p:cNvSpPr/>
          <p:nvPr/>
        </p:nvSpPr>
        <p:spPr>
          <a:xfrm>
            <a:off x="1799697" y="3720043"/>
            <a:ext cx="841374" cy="841372"/>
          </a:xfrm>
          <a:prstGeom prst="ellipse">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5720" tIns="22860" rIns="45720" bIns="228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800" b="0" i="0" u="none" strike="noStrike" kern="1200" cap="none" spc="0" normalizeH="0" baseline="0" noProof="0">
                <a:ln>
                  <a:noFill/>
                </a:ln>
                <a:solidFill>
                  <a:srgbClr val="000000">
                    <a:lumMod val="75000"/>
                    <a:lumOff val="25000"/>
                  </a:srgbClr>
                </a:solidFill>
                <a:effectLst/>
                <a:uLnTx/>
                <a:uFillTx/>
                <a:latin typeface="Arial" panose="020F0502020204030204"/>
                <a:ea typeface="微软雅黑"/>
                <a:cs typeface="+mn-cs"/>
              </a:rPr>
              <a:t>部门</a:t>
            </a:r>
            <a:endParaRPr kumimoji="0" lang="en-US" altLang="zh-CN" sz="1800" b="0" i="0" u="none" strike="noStrike" kern="1200" cap="none" spc="0" normalizeH="0" baseline="0" noProof="0" dirty="0">
              <a:ln>
                <a:noFill/>
              </a:ln>
              <a:solidFill>
                <a:srgbClr val="000000">
                  <a:lumMod val="75000"/>
                  <a:lumOff val="25000"/>
                </a:srgbClr>
              </a:solidFill>
              <a:effectLst/>
              <a:uLnTx/>
              <a:uFillTx/>
              <a:latin typeface="Arial" panose="020F0502020204030204"/>
              <a:ea typeface="微软雅黑"/>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800" b="0" i="0" u="none" strike="noStrike" kern="1200" cap="none" spc="0" normalizeH="0" baseline="0" noProof="0" dirty="0">
                <a:ln>
                  <a:noFill/>
                </a:ln>
                <a:solidFill>
                  <a:srgbClr val="000000">
                    <a:lumMod val="75000"/>
                    <a:lumOff val="25000"/>
                  </a:srgbClr>
                </a:solidFill>
                <a:effectLst/>
                <a:uLnTx/>
                <a:uFillTx/>
                <a:latin typeface="Arial" panose="020F0502020204030204"/>
                <a:ea typeface="微软雅黑"/>
                <a:cs typeface="+mn-cs"/>
              </a:rPr>
              <a:t>名称</a:t>
            </a:r>
          </a:p>
        </p:txBody>
      </p:sp>
      <p:sp>
        <p:nvSpPr>
          <p:cNvPr id="110" name="椭圆 109">
            <a:extLst>
              <a:ext uri="{FF2B5EF4-FFF2-40B4-BE49-F238E27FC236}">
                <a16:creationId xmlns:a16="http://schemas.microsoft.com/office/drawing/2014/main" id="{7B3BCF08-F027-49DC-9BF2-CFF3C48B5555}"/>
              </a:ext>
            </a:extLst>
          </p:cNvPr>
          <p:cNvSpPr/>
          <p:nvPr/>
        </p:nvSpPr>
        <p:spPr>
          <a:xfrm>
            <a:off x="9555163" y="3720043"/>
            <a:ext cx="841374" cy="841372"/>
          </a:xfrm>
          <a:prstGeom prst="ellipse">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5720" tIns="22860" rIns="45720" bIns="228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800" b="0" i="0" u="none" strike="noStrike" kern="1200" cap="none" spc="0" normalizeH="0" baseline="0" noProof="0">
                <a:ln>
                  <a:noFill/>
                </a:ln>
                <a:solidFill>
                  <a:srgbClr val="000000">
                    <a:lumMod val="75000"/>
                    <a:lumOff val="25000"/>
                  </a:srgbClr>
                </a:solidFill>
                <a:effectLst/>
                <a:uLnTx/>
                <a:uFillTx/>
                <a:latin typeface="Arial" panose="020F0502020204030204"/>
                <a:ea typeface="微软雅黑"/>
                <a:cs typeface="+mn-cs"/>
              </a:rPr>
              <a:t>部门</a:t>
            </a:r>
            <a:endParaRPr kumimoji="0" lang="en-US" altLang="zh-CN" sz="1800" b="0" i="0" u="none" strike="noStrike" kern="1200" cap="none" spc="0" normalizeH="0" baseline="0" noProof="0" dirty="0">
              <a:ln>
                <a:noFill/>
              </a:ln>
              <a:solidFill>
                <a:srgbClr val="000000">
                  <a:lumMod val="75000"/>
                  <a:lumOff val="25000"/>
                </a:srgbClr>
              </a:solidFill>
              <a:effectLst/>
              <a:uLnTx/>
              <a:uFillTx/>
              <a:latin typeface="Arial" panose="020F0502020204030204"/>
              <a:ea typeface="微软雅黑"/>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800" b="0" i="0" u="none" strike="noStrike" kern="1200" cap="none" spc="0" normalizeH="0" baseline="0" noProof="0" dirty="0">
                <a:ln>
                  <a:noFill/>
                </a:ln>
                <a:solidFill>
                  <a:srgbClr val="000000">
                    <a:lumMod val="75000"/>
                    <a:lumOff val="25000"/>
                  </a:srgbClr>
                </a:solidFill>
                <a:effectLst/>
                <a:uLnTx/>
                <a:uFillTx/>
                <a:latin typeface="Arial" panose="020F0502020204030204"/>
                <a:ea typeface="微软雅黑"/>
                <a:cs typeface="+mn-cs"/>
              </a:rPr>
              <a:t>名称</a:t>
            </a:r>
          </a:p>
        </p:txBody>
      </p:sp>
      <p:sp>
        <p:nvSpPr>
          <p:cNvPr id="122" name="椭圆 121">
            <a:extLst>
              <a:ext uri="{FF2B5EF4-FFF2-40B4-BE49-F238E27FC236}">
                <a16:creationId xmlns:a16="http://schemas.microsoft.com/office/drawing/2014/main" id="{84BB441A-D161-4459-9B08-3C5C94B4764E}"/>
              </a:ext>
            </a:extLst>
          </p:cNvPr>
          <p:cNvSpPr/>
          <p:nvPr/>
        </p:nvSpPr>
        <p:spPr>
          <a:xfrm>
            <a:off x="991130" y="5244043"/>
            <a:ext cx="841374" cy="841372"/>
          </a:xfrm>
          <a:prstGeom prst="ellipse">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5720" tIns="22860" rIns="45720" bIns="228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800" b="0" i="0" u="none" strike="noStrike" kern="1200" cap="none" spc="0" normalizeH="0" baseline="0" noProof="0">
                <a:ln>
                  <a:noFill/>
                </a:ln>
                <a:solidFill>
                  <a:srgbClr val="000000">
                    <a:lumMod val="75000"/>
                    <a:lumOff val="25000"/>
                  </a:srgbClr>
                </a:solidFill>
                <a:effectLst/>
                <a:uLnTx/>
                <a:uFillTx/>
                <a:latin typeface="Arial" panose="020F0502020204030204"/>
                <a:ea typeface="微软雅黑"/>
                <a:cs typeface="+mn-cs"/>
              </a:rPr>
              <a:t>部门</a:t>
            </a:r>
            <a:endParaRPr kumimoji="0" lang="en-US" altLang="zh-CN" sz="1800" b="0" i="0" u="none" strike="noStrike" kern="1200" cap="none" spc="0" normalizeH="0" baseline="0" noProof="0" dirty="0">
              <a:ln>
                <a:noFill/>
              </a:ln>
              <a:solidFill>
                <a:srgbClr val="000000">
                  <a:lumMod val="75000"/>
                  <a:lumOff val="25000"/>
                </a:srgbClr>
              </a:solidFill>
              <a:effectLst/>
              <a:uLnTx/>
              <a:uFillTx/>
              <a:latin typeface="Arial" panose="020F0502020204030204"/>
              <a:ea typeface="微软雅黑"/>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800" b="0" i="0" u="none" strike="noStrike" kern="1200" cap="none" spc="0" normalizeH="0" baseline="0" noProof="0" dirty="0">
                <a:ln>
                  <a:noFill/>
                </a:ln>
                <a:solidFill>
                  <a:srgbClr val="000000">
                    <a:lumMod val="75000"/>
                    <a:lumOff val="25000"/>
                  </a:srgbClr>
                </a:solidFill>
                <a:effectLst/>
                <a:uLnTx/>
                <a:uFillTx/>
                <a:latin typeface="Arial" panose="020F0502020204030204"/>
                <a:ea typeface="微软雅黑"/>
                <a:cs typeface="+mn-cs"/>
              </a:rPr>
              <a:t>名称</a:t>
            </a:r>
          </a:p>
        </p:txBody>
      </p:sp>
      <p:sp>
        <p:nvSpPr>
          <p:cNvPr id="125" name="椭圆 124">
            <a:extLst>
              <a:ext uri="{FF2B5EF4-FFF2-40B4-BE49-F238E27FC236}">
                <a16:creationId xmlns:a16="http://schemas.microsoft.com/office/drawing/2014/main" id="{A396DA85-A05B-491E-A694-0E80CE2A65A3}"/>
              </a:ext>
            </a:extLst>
          </p:cNvPr>
          <p:cNvSpPr/>
          <p:nvPr/>
        </p:nvSpPr>
        <p:spPr>
          <a:xfrm>
            <a:off x="2608264" y="5244043"/>
            <a:ext cx="841374" cy="841372"/>
          </a:xfrm>
          <a:prstGeom prst="ellipse">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5720" tIns="22860" rIns="45720" bIns="228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800" b="0" i="0" u="none" strike="noStrike" kern="1200" cap="none" spc="0" normalizeH="0" baseline="0" noProof="0">
                <a:ln>
                  <a:noFill/>
                </a:ln>
                <a:solidFill>
                  <a:srgbClr val="000000">
                    <a:lumMod val="75000"/>
                    <a:lumOff val="25000"/>
                  </a:srgbClr>
                </a:solidFill>
                <a:effectLst/>
                <a:uLnTx/>
                <a:uFillTx/>
                <a:latin typeface="Arial" panose="020F0502020204030204"/>
                <a:ea typeface="微软雅黑"/>
                <a:cs typeface="+mn-cs"/>
              </a:rPr>
              <a:t>部门</a:t>
            </a:r>
            <a:endParaRPr kumimoji="0" lang="en-US" altLang="zh-CN" sz="1800" b="0" i="0" u="none" strike="noStrike" kern="1200" cap="none" spc="0" normalizeH="0" baseline="0" noProof="0" dirty="0">
              <a:ln>
                <a:noFill/>
              </a:ln>
              <a:solidFill>
                <a:srgbClr val="000000">
                  <a:lumMod val="75000"/>
                  <a:lumOff val="25000"/>
                </a:srgbClr>
              </a:solidFill>
              <a:effectLst/>
              <a:uLnTx/>
              <a:uFillTx/>
              <a:latin typeface="Arial" panose="020F0502020204030204"/>
              <a:ea typeface="微软雅黑"/>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800" b="0" i="0" u="none" strike="noStrike" kern="1200" cap="none" spc="0" normalizeH="0" baseline="0" noProof="0" dirty="0">
                <a:ln>
                  <a:noFill/>
                </a:ln>
                <a:solidFill>
                  <a:srgbClr val="000000">
                    <a:lumMod val="75000"/>
                    <a:lumOff val="25000"/>
                  </a:srgbClr>
                </a:solidFill>
                <a:effectLst/>
                <a:uLnTx/>
                <a:uFillTx/>
                <a:latin typeface="Arial" panose="020F0502020204030204"/>
                <a:ea typeface="微软雅黑"/>
                <a:cs typeface="+mn-cs"/>
              </a:rPr>
              <a:t>名称</a:t>
            </a:r>
          </a:p>
        </p:txBody>
      </p:sp>
      <p:sp>
        <p:nvSpPr>
          <p:cNvPr id="128" name="椭圆 127">
            <a:extLst>
              <a:ext uri="{FF2B5EF4-FFF2-40B4-BE49-F238E27FC236}">
                <a16:creationId xmlns:a16="http://schemas.microsoft.com/office/drawing/2014/main" id="{76FDC452-F7EC-4865-987D-A73F07AE72C0}"/>
              </a:ext>
            </a:extLst>
          </p:cNvPr>
          <p:cNvSpPr/>
          <p:nvPr/>
        </p:nvSpPr>
        <p:spPr>
          <a:xfrm>
            <a:off x="4223942" y="5244043"/>
            <a:ext cx="841374" cy="841372"/>
          </a:xfrm>
          <a:prstGeom prst="ellipse">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5720" tIns="22860" rIns="45720" bIns="228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800" b="0" i="0" u="none" strike="noStrike" kern="1200" cap="none" spc="0" normalizeH="0" baseline="0" noProof="0">
                <a:ln>
                  <a:noFill/>
                </a:ln>
                <a:solidFill>
                  <a:srgbClr val="000000">
                    <a:lumMod val="75000"/>
                    <a:lumOff val="25000"/>
                  </a:srgbClr>
                </a:solidFill>
                <a:effectLst/>
                <a:uLnTx/>
                <a:uFillTx/>
                <a:latin typeface="Arial" panose="020F0502020204030204"/>
                <a:ea typeface="微软雅黑"/>
                <a:cs typeface="+mn-cs"/>
              </a:rPr>
              <a:t>部门</a:t>
            </a:r>
            <a:endParaRPr kumimoji="0" lang="en-US" altLang="zh-CN" sz="1800" b="0" i="0" u="none" strike="noStrike" kern="1200" cap="none" spc="0" normalizeH="0" baseline="0" noProof="0" dirty="0">
              <a:ln>
                <a:noFill/>
              </a:ln>
              <a:solidFill>
                <a:srgbClr val="000000">
                  <a:lumMod val="75000"/>
                  <a:lumOff val="25000"/>
                </a:srgbClr>
              </a:solidFill>
              <a:effectLst/>
              <a:uLnTx/>
              <a:uFillTx/>
              <a:latin typeface="Arial" panose="020F0502020204030204"/>
              <a:ea typeface="微软雅黑"/>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800" b="0" i="0" u="none" strike="noStrike" kern="1200" cap="none" spc="0" normalizeH="0" baseline="0" noProof="0" dirty="0">
                <a:ln>
                  <a:noFill/>
                </a:ln>
                <a:solidFill>
                  <a:srgbClr val="000000">
                    <a:lumMod val="75000"/>
                    <a:lumOff val="25000"/>
                  </a:srgbClr>
                </a:solidFill>
                <a:effectLst/>
                <a:uLnTx/>
                <a:uFillTx/>
                <a:latin typeface="Arial" panose="020F0502020204030204"/>
                <a:ea typeface="微软雅黑"/>
                <a:cs typeface="+mn-cs"/>
              </a:rPr>
              <a:t>名称</a:t>
            </a:r>
          </a:p>
        </p:txBody>
      </p:sp>
      <p:sp>
        <p:nvSpPr>
          <p:cNvPr id="131" name="椭圆 130">
            <a:extLst>
              <a:ext uri="{FF2B5EF4-FFF2-40B4-BE49-F238E27FC236}">
                <a16:creationId xmlns:a16="http://schemas.microsoft.com/office/drawing/2014/main" id="{7370229E-1146-44A0-87DC-7C5CC1048A30}"/>
              </a:ext>
            </a:extLst>
          </p:cNvPr>
          <p:cNvSpPr/>
          <p:nvPr/>
        </p:nvSpPr>
        <p:spPr>
          <a:xfrm>
            <a:off x="5677431" y="5244043"/>
            <a:ext cx="841374" cy="841372"/>
          </a:xfrm>
          <a:prstGeom prst="ellipse">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5720" tIns="22860" rIns="45720" bIns="228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800" b="0" i="0" u="none" strike="noStrike" kern="1200" cap="none" spc="0" normalizeH="0" baseline="0" noProof="0">
                <a:ln>
                  <a:noFill/>
                </a:ln>
                <a:solidFill>
                  <a:srgbClr val="000000">
                    <a:lumMod val="75000"/>
                    <a:lumOff val="25000"/>
                  </a:srgbClr>
                </a:solidFill>
                <a:effectLst/>
                <a:uLnTx/>
                <a:uFillTx/>
                <a:latin typeface="Arial" panose="020F0502020204030204"/>
                <a:ea typeface="微软雅黑"/>
                <a:cs typeface="+mn-cs"/>
              </a:rPr>
              <a:t>部门</a:t>
            </a:r>
            <a:endParaRPr kumimoji="0" lang="en-US" altLang="zh-CN" sz="1800" b="0" i="0" u="none" strike="noStrike" kern="1200" cap="none" spc="0" normalizeH="0" baseline="0" noProof="0" dirty="0">
              <a:ln>
                <a:noFill/>
              </a:ln>
              <a:solidFill>
                <a:srgbClr val="000000">
                  <a:lumMod val="75000"/>
                  <a:lumOff val="25000"/>
                </a:srgbClr>
              </a:solidFill>
              <a:effectLst/>
              <a:uLnTx/>
              <a:uFillTx/>
              <a:latin typeface="Arial" panose="020F0502020204030204"/>
              <a:ea typeface="微软雅黑"/>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800" b="0" i="0" u="none" strike="noStrike" kern="1200" cap="none" spc="0" normalizeH="0" baseline="0" noProof="0" dirty="0">
                <a:ln>
                  <a:noFill/>
                </a:ln>
                <a:solidFill>
                  <a:srgbClr val="000000">
                    <a:lumMod val="75000"/>
                    <a:lumOff val="25000"/>
                  </a:srgbClr>
                </a:solidFill>
                <a:effectLst/>
                <a:uLnTx/>
                <a:uFillTx/>
                <a:latin typeface="Arial" panose="020F0502020204030204"/>
                <a:ea typeface="微软雅黑"/>
                <a:cs typeface="+mn-cs"/>
              </a:rPr>
              <a:t>名称</a:t>
            </a:r>
          </a:p>
        </p:txBody>
      </p:sp>
      <p:sp>
        <p:nvSpPr>
          <p:cNvPr id="134" name="椭圆 133">
            <a:extLst>
              <a:ext uri="{FF2B5EF4-FFF2-40B4-BE49-F238E27FC236}">
                <a16:creationId xmlns:a16="http://schemas.microsoft.com/office/drawing/2014/main" id="{67484593-3493-4303-B8B4-BBFB9D716E06}"/>
              </a:ext>
            </a:extLst>
          </p:cNvPr>
          <p:cNvSpPr/>
          <p:nvPr/>
        </p:nvSpPr>
        <p:spPr>
          <a:xfrm>
            <a:off x="7130920" y="5244043"/>
            <a:ext cx="841374" cy="841372"/>
          </a:xfrm>
          <a:prstGeom prst="ellipse">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5720" tIns="22860" rIns="45720" bIns="228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800" b="0" i="0" u="none" strike="noStrike" kern="1200" cap="none" spc="0" normalizeH="0" baseline="0" noProof="0">
                <a:ln>
                  <a:noFill/>
                </a:ln>
                <a:solidFill>
                  <a:srgbClr val="000000">
                    <a:lumMod val="75000"/>
                    <a:lumOff val="25000"/>
                  </a:srgbClr>
                </a:solidFill>
                <a:effectLst/>
                <a:uLnTx/>
                <a:uFillTx/>
                <a:latin typeface="Arial" panose="020F0502020204030204"/>
                <a:ea typeface="微软雅黑"/>
                <a:cs typeface="+mn-cs"/>
              </a:rPr>
              <a:t>部门</a:t>
            </a:r>
            <a:endParaRPr kumimoji="0" lang="en-US" altLang="zh-CN" sz="1800" b="0" i="0" u="none" strike="noStrike" kern="1200" cap="none" spc="0" normalizeH="0" baseline="0" noProof="0" dirty="0">
              <a:ln>
                <a:noFill/>
              </a:ln>
              <a:solidFill>
                <a:srgbClr val="000000">
                  <a:lumMod val="75000"/>
                  <a:lumOff val="25000"/>
                </a:srgbClr>
              </a:solidFill>
              <a:effectLst/>
              <a:uLnTx/>
              <a:uFillTx/>
              <a:latin typeface="Arial" panose="020F0502020204030204"/>
              <a:ea typeface="微软雅黑"/>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800" b="0" i="0" u="none" strike="noStrike" kern="1200" cap="none" spc="0" normalizeH="0" baseline="0" noProof="0" dirty="0">
                <a:ln>
                  <a:noFill/>
                </a:ln>
                <a:solidFill>
                  <a:srgbClr val="000000">
                    <a:lumMod val="75000"/>
                    <a:lumOff val="25000"/>
                  </a:srgbClr>
                </a:solidFill>
                <a:effectLst/>
                <a:uLnTx/>
                <a:uFillTx/>
                <a:latin typeface="Arial" panose="020F0502020204030204"/>
                <a:ea typeface="微软雅黑"/>
                <a:cs typeface="+mn-cs"/>
              </a:rPr>
              <a:t>名称</a:t>
            </a:r>
          </a:p>
        </p:txBody>
      </p:sp>
      <p:sp>
        <p:nvSpPr>
          <p:cNvPr id="137" name="椭圆 136">
            <a:extLst>
              <a:ext uri="{FF2B5EF4-FFF2-40B4-BE49-F238E27FC236}">
                <a16:creationId xmlns:a16="http://schemas.microsoft.com/office/drawing/2014/main" id="{0DEF3078-AB12-4D7F-A854-F18D3CB07311}"/>
              </a:ext>
            </a:extLst>
          </p:cNvPr>
          <p:cNvSpPr/>
          <p:nvPr/>
        </p:nvSpPr>
        <p:spPr>
          <a:xfrm>
            <a:off x="8750830" y="5244043"/>
            <a:ext cx="841374" cy="841372"/>
          </a:xfrm>
          <a:prstGeom prst="ellipse">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5720" tIns="22860" rIns="45720" bIns="228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800" b="0" i="0" u="none" strike="noStrike" kern="1200" cap="none" spc="0" normalizeH="0" baseline="0" noProof="0">
                <a:ln>
                  <a:noFill/>
                </a:ln>
                <a:solidFill>
                  <a:srgbClr val="000000">
                    <a:lumMod val="75000"/>
                    <a:lumOff val="25000"/>
                  </a:srgbClr>
                </a:solidFill>
                <a:effectLst/>
                <a:uLnTx/>
                <a:uFillTx/>
                <a:latin typeface="Arial" panose="020F0502020204030204"/>
                <a:ea typeface="微软雅黑"/>
                <a:cs typeface="+mn-cs"/>
              </a:rPr>
              <a:t>部门</a:t>
            </a:r>
            <a:endParaRPr kumimoji="0" lang="en-US" altLang="zh-CN" sz="1800" b="0" i="0" u="none" strike="noStrike" kern="1200" cap="none" spc="0" normalizeH="0" baseline="0" noProof="0" dirty="0">
              <a:ln>
                <a:noFill/>
              </a:ln>
              <a:solidFill>
                <a:srgbClr val="000000">
                  <a:lumMod val="75000"/>
                  <a:lumOff val="25000"/>
                </a:srgbClr>
              </a:solidFill>
              <a:effectLst/>
              <a:uLnTx/>
              <a:uFillTx/>
              <a:latin typeface="Arial" panose="020F0502020204030204"/>
              <a:ea typeface="微软雅黑"/>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800" b="0" i="0" u="none" strike="noStrike" kern="1200" cap="none" spc="0" normalizeH="0" baseline="0" noProof="0" dirty="0">
                <a:ln>
                  <a:noFill/>
                </a:ln>
                <a:solidFill>
                  <a:srgbClr val="000000">
                    <a:lumMod val="75000"/>
                    <a:lumOff val="25000"/>
                  </a:srgbClr>
                </a:solidFill>
                <a:effectLst/>
                <a:uLnTx/>
                <a:uFillTx/>
                <a:latin typeface="Arial" panose="020F0502020204030204"/>
                <a:ea typeface="微软雅黑"/>
                <a:cs typeface="+mn-cs"/>
              </a:rPr>
              <a:t>名称</a:t>
            </a:r>
          </a:p>
        </p:txBody>
      </p:sp>
      <p:sp>
        <p:nvSpPr>
          <p:cNvPr id="140" name="椭圆 139">
            <a:extLst>
              <a:ext uri="{FF2B5EF4-FFF2-40B4-BE49-F238E27FC236}">
                <a16:creationId xmlns:a16="http://schemas.microsoft.com/office/drawing/2014/main" id="{AD54D3D7-9E25-4993-9281-73DB89049F88}"/>
              </a:ext>
            </a:extLst>
          </p:cNvPr>
          <p:cNvSpPr/>
          <p:nvPr/>
        </p:nvSpPr>
        <p:spPr>
          <a:xfrm>
            <a:off x="10359496" y="5244043"/>
            <a:ext cx="841374" cy="841372"/>
          </a:xfrm>
          <a:prstGeom prst="ellipse">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5720" tIns="22860" rIns="45720" bIns="228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800" b="0" i="0" u="none" strike="noStrike" kern="1200" cap="none" spc="0" normalizeH="0" baseline="0" noProof="0">
                <a:ln>
                  <a:noFill/>
                </a:ln>
                <a:solidFill>
                  <a:srgbClr val="000000">
                    <a:lumMod val="75000"/>
                    <a:lumOff val="25000"/>
                  </a:srgbClr>
                </a:solidFill>
                <a:effectLst/>
                <a:uLnTx/>
                <a:uFillTx/>
                <a:latin typeface="Arial" panose="020F0502020204030204"/>
                <a:ea typeface="微软雅黑"/>
                <a:cs typeface="+mn-cs"/>
              </a:rPr>
              <a:t>部门</a:t>
            </a:r>
            <a:endParaRPr kumimoji="0" lang="en-US" altLang="zh-CN" sz="1800" b="0" i="0" u="none" strike="noStrike" kern="1200" cap="none" spc="0" normalizeH="0" baseline="0" noProof="0" dirty="0">
              <a:ln>
                <a:noFill/>
              </a:ln>
              <a:solidFill>
                <a:srgbClr val="000000">
                  <a:lumMod val="75000"/>
                  <a:lumOff val="25000"/>
                </a:srgbClr>
              </a:solidFill>
              <a:effectLst/>
              <a:uLnTx/>
              <a:uFillTx/>
              <a:latin typeface="Arial" panose="020F0502020204030204"/>
              <a:ea typeface="微软雅黑"/>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800" b="0" i="0" u="none" strike="noStrike" kern="1200" cap="none" spc="0" normalizeH="0" baseline="0" noProof="0" dirty="0">
                <a:ln>
                  <a:noFill/>
                </a:ln>
                <a:solidFill>
                  <a:srgbClr val="000000">
                    <a:lumMod val="75000"/>
                    <a:lumOff val="25000"/>
                  </a:srgbClr>
                </a:solidFill>
                <a:effectLst/>
                <a:uLnTx/>
                <a:uFillTx/>
                <a:latin typeface="Arial" panose="020F0502020204030204"/>
                <a:ea typeface="微软雅黑"/>
                <a:cs typeface="+mn-cs"/>
              </a:rPr>
              <a:t>名称</a:t>
            </a:r>
          </a:p>
        </p:txBody>
      </p:sp>
      <p:sp>
        <p:nvSpPr>
          <p:cNvPr id="160" name="Object 1086">
            <a:extLst>
              <a:ext uri="{FF2B5EF4-FFF2-40B4-BE49-F238E27FC236}">
                <a16:creationId xmlns:a16="http://schemas.microsoft.com/office/drawing/2014/main" id="{BD0A16F2-F12B-4BA8-9F3A-940CB0B6A22F}"/>
              </a:ext>
            </a:extLst>
          </p:cNvPr>
          <p:cNvSpPr txBox="1"/>
          <p:nvPr/>
        </p:nvSpPr>
        <p:spPr>
          <a:xfrm>
            <a:off x="4388346" y="552101"/>
            <a:ext cx="3415309" cy="457200"/>
          </a:xfrm>
          <a:prstGeom prst="rect">
            <a:avLst/>
          </a:prstGeom>
        </p:spPr>
        <p:txBody>
          <a:bodyPr vert="horz" rtlCol="0" anchor="t" anchorCtr="0">
            <a:noAutofit/>
          </a:bodyPr>
          <a:lstStyle>
            <a:defPPr>
              <a:defRPr lang="zh-CN"/>
            </a:defPPr>
            <a:lvl1pPr algn="ctr">
              <a:lnSpc>
                <a:spcPct val="100000"/>
              </a:lnSpc>
              <a:defRPr sz="3000">
                <a:solidFill>
                  <a:srgbClr val="1B1B1B"/>
                </a:solidFill>
                <a:latin typeface="OPPOSans H" panose="00020600040101010101" pitchFamily="18" charset="-122"/>
                <a:ea typeface="OPPOSans H" panose="00020600040101010101" pitchFamily="18" charset="-122"/>
                <a:cs typeface="OPPOSans H" panose="00020600040101010101" pitchFamily="18" charset="-122"/>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3000" b="0" i="0" u="none" strike="noStrike" kern="1200" cap="none" spc="0" normalizeH="0" baseline="0" noProof="0" dirty="0">
                <a:ln>
                  <a:noFill/>
                </a:ln>
                <a:solidFill>
                  <a:srgbClr val="1B1B1B"/>
                </a:solidFill>
                <a:effectLst/>
                <a:uLnTx/>
                <a:uFillTx/>
                <a:latin typeface="OPPOSans H" panose="00020600040101010101" pitchFamily="18" charset="-122"/>
                <a:ea typeface="OPPOSans H" panose="00020600040101010101" pitchFamily="18" charset="-122"/>
                <a:cs typeface="OPPOSans H" panose="00020600040101010101" pitchFamily="18" charset="-122"/>
              </a:rPr>
              <a:t>组织架构模板</a:t>
            </a:r>
            <a:endParaRPr kumimoji="0" lang="zh-CN" altLang="en-US" sz="3000" b="0" i="0" u="none" strike="noStrike" kern="1200" cap="none" spc="0" normalizeH="0" baseline="0" noProof="0">
              <a:ln>
                <a:noFill/>
              </a:ln>
              <a:solidFill>
                <a:srgbClr val="1B1B1B"/>
              </a:solidFill>
              <a:effectLst/>
              <a:uLnTx/>
              <a:uFillTx/>
              <a:latin typeface="OPPOSans H" panose="00020600040101010101" pitchFamily="18" charset="-122"/>
              <a:ea typeface="OPPOSans H" panose="00020600040101010101" pitchFamily="18" charset="-122"/>
              <a:cs typeface="OPPOSans H" panose="00020600040101010101" pitchFamily="18" charset="-122"/>
            </a:endParaRPr>
          </a:p>
        </p:txBody>
      </p:sp>
    </p:spTree>
    <p:extLst>
      <p:ext uri="{BB962C8B-B14F-4D97-AF65-F5344CB8AC3E}">
        <p14:creationId xmlns:p14="http://schemas.microsoft.com/office/powerpoint/2010/main" val="3651491374"/>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8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27" name="直接连接符 126">
            <a:extLst>
              <a:ext uri="{FF2B5EF4-FFF2-40B4-BE49-F238E27FC236}">
                <a16:creationId xmlns:a16="http://schemas.microsoft.com/office/drawing/2014/main" id="{EAB6BDDC-F599-4A71-BC18-7CB451726DA7}"/>
              </a:ext>
            </a:extLst>
          </p:cNvPr>
          <p:cNvCxnSpPr>
            <a:cxnSpLocks/>
          </p:cNvCxnSpPr>
          <p:nvPr/>
        </p:nvCxnSpPr>
        <p:spPr>
          <a:xfrm flipH="1">
            <a:off x="4527550" y="1799572"/>
            <a:ext cx="3333750" cy="0"/>
          </a:xfrm>
          <a:prstGeom prst="line">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128" name="直接连接符 127">
            <a:extLst>
              <a:ext uri="{FF2B5EF4-FFF2-40B4-BE49-F238E27FC236}">
                <a16:creationId xmlns:a16="http://schemas.microsoft.com/office/drawing/2014/main" id="{5A8B390A-E9F6-4609-B095-F5E2673A46F6}"/>
              </a:ext>
            </a:extLst>
          </p:cNvPr>
          <p:cNvCxnSpPr>
            <a:cxnSpLocks/>
          </p:cNvCxnSpPr>
          <p:nvPr/>
        </p:nvCxnSpPr>
        <p:spPr>
          <a:xfrm flipH="1">
            <a:off x="4527550" y="2847322"/>
            <a:ext cx="1746250" cy="0"/>
          </a:xfrm>
          <a:prstGeom prst="line">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129" name="直接连接符 128">
            <a:extLst>
              <a:ext uri="{FF2B5EF4-FFF2-40B4-BE49-F238E27FC236}">
                <a16:creationId xmlns:a16="http://schemas.microsoft.com/office/drawing/2014/main" id="{42DF8A4D-5F44-4CEA-BD69-07C445838701}"/>
              </a:ext>
            </a:extLst>
          </p:cNvPr>
          <p:cNvCxnSpPr>
            <a:cxnSpLocks/>
          </p:cNvCxnSpPr>
          <p:nvPr/>
        </p:nvCxnSpPr>
        <p:spPr>
          <a:xfrm flipH="1">
            <a:off x="2520950" y="3380722"/>
            <a:ext cx="7334250" cy="0"/>
          </a:xfrm>
          <a:prstGeom prst="line">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130" name="直接连接符 129">
            <a:extLst>
              <a:ext uri="{FF2B5EF4-FFF2-40B4-BE49-F238E27FC236}">
                <a16:creationId xmlns:a16="http://schemas.microsoft.com/office/drawing/2014/main" id="{AE7BE193-E73C-4ABC-B948-640FDA8AF237}"/>
              </a:ext>
            </a:extLst>
          </p:cNvPr>
          <p:cNvCxnSpPr>
            <a:cxnSpLocks/>
          </p:cNvCxnSpPr>
          <p:nvPr/>
        </p:nvCxnSpPr>
        <p:spPr>
          <a:xfrm flipV="1">
            <a:off x="6138968" y="1833296"/>
            <a:ext cx="0" cy="4311472"/>
          </a:xfrm>
          <a:prstGeom prst="line">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131" name="直接连接符 130">
            <a:extLst>
              <a:ext uri="{FF2B5EF4-FFF2-40B4-BE49-F238E27FC236}">
                <a16:creationId xmlns:a16="http://schemas.microsoft.com/office/drawing/2014/main" id="{5FB01091-150E-47AE-B470-291A67BE6EB0}"/>
              </a:ext>
            </a:extLst>
          </p:cNvPr>
          <p:cNvCxnSpPr>
            <a:cxnSpLocks/>
          </p:cNvCxnSpPr>
          <p:nvPr/>
        </p:nvCxnSpPr>
        <p:spPr>
          <a:xfrm flipV="1">
            <a:off x="4266277" y="1833296"/>
            <a:ext cx="0" cy="3579952"/>
          </a:xfrm>
          <a:prstGeom prst="line">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134" name="直接连接符 133">
            <a:extLst>
              <a:ext uri="{FF2B5EF4-FFF2-40B4-BE49-F238E27FC236}">
                <a16:creationId xmlns:a16="http://schemas.microsoft.com/office/drawing/2014/main" id="{6CFC2670-17F5-4612-B042-829922BDCAFE}"/>
              </a:ext>
            </a:extLst>
          </p:cNvPr>
          <p:cNvCxnSpPr>
            <a:cxnSpLocks/>
          </p:cNvCxnSpPr>
          <p:nvPr/>
        </p:nvCxnSpPr>
        <p:spPr>
          <a:xfrm flipV="1">
            <a:off x="2520950" y="3380722"/>
            <a:ext cx="0" cy="423182"/>
          </a:xfrm>
          <a:prstGeom prst="line">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135" name="直接连接符 134">
            <a:extLst>
              <a:ext uri="{FF2B5EF4-FFF2-40B4-BE49-F238E27FC236}">
                <a16:creationId xmlns:a16="http://schemas.microsoft.com/office/drawing/2014/main" id="{28B688A3-A832-4984-8F38-E6A8581B8E7D}"/>
              </a:ext>
            </a:extLst>
          </p:cNvPr>
          <p:cNvCxnSpPr>
            <a:cxnSpLocks/>
          </p:cNvCxnSpPr>
          <p:nvPr/>
        </p:nvCxnSpPr>
        <p:spPr>
          <a:xfrm flipV="1">
            <a:off x="7979931" y="3380722"/>
            <a:ext cx="0" cy="2032526"/>
          </a:xfrm>
          <a:prstGeom prst="line">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136" name="直接连接符 135">
            <a:extLst>
              <a:ext uri="{FF2B5EF4-FFF2-40B4-BE49-F238E27FC236}">
                <a16:creationId xmlns:a16="http://schemas.microsoft.com/office/drawing/2014/main" id="{5E47B759-423B-4EAA-831C-D096C4E6953C}"/>
              </a:ext>
            </a:extLst>
          </p:cNvPr>
          <p:cNvCxnSpPr>
            <a:cxnSpLocks/>
          </p:cNvCxnSpPr>
          <p:nvPr/>
        </p:nvCxnSpPr>
        <p:spPr>
          <a:xfrm flipV="1">
            <a:off x="9855200" y="3380722"/>
            <a:ext cx="0" cy="2032526"/>
          </a:xfrm>
          <a:prstGeom prst="line">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34" name="Object 1086">
            <a:extLst>
              <a:ext uri="{FF2B5EF4-FFF2-40B4-BE49-F238E27FC236}">
                <a16:creationId xmlns:a16="http://schemas.microsoft.com/office/drawing/2014/main" id="{2FE0DD33-B603-449E-A76A-2A895039E573}"/>
              </a:ext>
            </a:extLst>
          </p:cNvPr>
          <p:cNvSpPr txBox="1"/>
          <p:nvPr/>
        </p:nvSpPr>
        <p:spPr>
          <a:xfrm>
            <a:off x="4388346" y="552101"/>
            <a:ext cx="3415309" cy="457200"/>
          </a:xfrm>
          <a:prstGeom prst="rect">
            <a:avLst/>
          </a:prstGeom>
        </p:spPr>
        <p:txBody>
          <a:bodyPr vert="horz" rtlCol="0" anchor="t" anchorCtr="0">
            <a:noAutofit/>
          </a:bodyPr>
          <a:lstStyle>
            <a:defPPr>
              <a:defRPr lang="zh-CN"/>
            </a:defPPr>
            <a:lvl1pPr algn="ctr">
              <a:lnSpc>
                <a:spcPct val="100000"/>
              </a:lnSpc>
              <a:defRPr sz="3000">
                <a:solidFill>
                  <a:srgbClr val="1B1B1B"/>
                </a:solidFill>
                <a:latin typeface="OPPOSans H" panose="00020600040101010101" pitchFamily="18" charset="-122"/>
                <a:ea typeface="OPPOSans H" panose="00020600040101010101" pitchFamily="18" charset="-122"/>
                <a:cs typeface="OPPOSans H" panose="00020600040101010101" pitchFamily="18" charset="-122"/>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3000" b="0" i="0" u="none" strike="noStrike" kern="1200" cap="none" spc="0" normalizeH="0" baseline="0" noProof="0" dirty="0">
                <a:ln>
                  <a:noFill/>
                </a:ln>
                <a:solidFill>
                  <a:srgbClr val="1B1B1B"/>
                </a:solidFill>
                <a:effectLst/>
                <a:uLnTx/>
                <a:uFillTx/>
                <a:latin typeface="OPPOSans H" panose="00020600040101010101" pitchFamily="18" charset="-122"/>
                <a:ea typeface="OPPOSans H" panose="00020600040101010101" pitchFamily="18" charset="-122"/>
                <a:cs typeface="OPPOSans H" panose="00020600040101010101" pitchFamily="18" charset="-122"/>
              </a:rPr>
              <a:t>组织架构模板</a:t>
            </a:r>
            <a:endParaRPr kumimoji="0" lang="zh-CN" altLang="en-US" sz="3000" b="0" i="0" u="none" strike="noStrike" kern="1200" cap="none" spc="0" normalizeH="0" baseline="0" noProof="0">
              <a:ln>
                <a:noFill/>
              </a:ln>
              <a:solidFill>
                <a:srgbClr val="1B1B1B"/>
              </a:solidFill>
              <a:effectLst/>
              <a:uLnTx/>
              <a:uFillTx/>
              <a:latin typeface="OPPOSans H" panose="00020600040101010101" pitchFamily="18" charset="-122"/>
              <a:ea typeface="OPPOSans H" panose="00020600040101010101" pitchFamily="18" charset="-122"/>
              <a:cs typeface="OPPOSans H" panose="00020600040101010101" pitchFamily="18" charset="-122"/>
            </a:endParaRPr>
          </a:p>
        </p:txBody>
      </p:sp>
      <p:sp>
        <p:nvSpPr>
          <p:cNvPr id="36" name="任意多边形: 形状 35">
            <a:extLst>
              <a:ext uri="{FF2B5EF4-FFF2-40B4-BE49-F238E27FC236}">
                <a16:creationId xmlns:a16="http://schemas.microsoft.com/office/drawing/2014/main" id="{3C03D0CC-8480-4316-81CE-F311790330CD}"/>
              </a:ext>
            </a:extLst>
          </p:cNvPr>
          <p:cNvSpPr/>
          <p:nvPr/>
        </p:nvSpPr>
        <p:spPr>
          <a:xfrm>
            <a:off x="3672841" y="1409350"/>
            <a:ext cx="1189215" cy="133700"/>
          </a:xfrm>
          <a:custGeom>
            <a:avLst/>
            <a:gdLst>
              <a:gd name="connsiteX0" fmla="*/ 108134 w 1189215"/>
              <a:gd name="connsiteY0" fmla="*/ 0 h 133700"/>
              <a:gd name="connsiteX1" fmla="*/ 1081081 w 1189215"/>
              <a:gd name="connsiteY1" fmla="*/ 0 h 133700"/>
              <a:gd name="connsiteX2" fmla="*/ 1189215 w 1189215"/>
              <a:gd name="connsiteY2" fmla="*/ 108134 h 133700"/>
              <a:gd name="connsiteX3" fmla="*/ 1189215 w 1189215"/>
              <a:gd name="connsiteY3" fmla="*/ 133700 h 133700"/>
              <a:gd name="connsiteX4" fmla="*/ 0 w 1189215"/>
              <a:gd name="connsiteY4" fmla="*/ 133700 h 133700"/>
              <a:gd name="connsiteX5" fmla="*/ 0 w 1189215"/>
              <a:gd name="connsiteY5" fmla="*/ 108134 h 133700"/>
              <a:gd name="connsiteX6" fmla="*/ 108134 w 1189215"/>
              <a:gd name="connsiteY6" fmla="*/ 0 h 133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89215" h="133700">
                <a:moveTo>
                  <a:pt x="108134" y="0"/>
                </a:moveTo>
                <a:lnTo>
                  <a:pt x="1081081" y="0"/>
                </a:lnTo>
                <a:cubicBezTo>
                  <a:pt x="1140802" y="0"/>
                  <a:pt x="1189215" y="48413"/>
                  <a:pt x="1189215" y="108134"/>
                </a:cubicBezTo>
                <a:lnTo>
                  <a:pt x="1189215" y="133700"/>
                </a:lnTo>
                <a:lnTo>
                  <a:pt x="0" y="133700"/>
                </a:lnTo>
                <a:lnTo>
                  <a:pt x="0" y="108134"/>
                </a:lnTo>
                <a:cubicBezTo>
                  <a:pt x="0" y="48413"/>
                  <a:pt x="48413" y="0"/>
                  <a:pt x="108134" y="0"/>
                </a:cubicBezTo>
                <a:close/>
              </a:path>
            </a:pathLst>
          </a:cu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5720" tIns="22860" rIns="45720" bIns="228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600" b="0" i="0" u="none" strike="noStrike" kern="1200" cap="none" spc="0" normalizeH="0" baseline="0" noProof="0" dirty="0">
              <a:ln>
                <a:noFill/>
              </a:ln>
              <a:solidFill>
                <a:srgbClr val="FFFFFF"/>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p:txBody>
      </p:sp>
      <p:sp>
        <p:nvSpPr>
          <p:cNvPr id="37" name="任意多边形: 形状 36">
            <a:extLst>
              <a:ext uri="{FF2B5EF4-FFF2-40B4-BE49-F238E27FC236}">
                <a16:creationId xmlns:a16="http://schemas.microsoft.com/office/drawing/2014/main" id="{7E780AFF-023E-40C2-B424-79C0A7CBF956}"/>
              </a:ext>
            </a:extLst>
          </p:cNvPr>
          <p:cNvSpPr/>
          <p:nvPr/>
        </p:nvSpPr>
        <p:spPr>
          <a:xfrm>
            <a:off x="3672841" y="1543050"/>
            <a:ext cx="1189215" cy="549873"/>
          </a:xfrm>
          <a:custGeom>
            <a:avLst/>
            <a:gdLst>
              <a:gd name="connsiteX0" fmla="*/ 0 w 1189215"/>
              <a:gd name="connsiteY0" fmla="*/ 0 h 549873"/>
              <a:gd name="connsiteX1" fmla="*/ 1189215 w 1189215"/>
              <a:gd name="connsiteY1" fmla="*/ 0 h 549873"/>
              <a:gd name="connsiteX2" fmla="*/ 1189215 w 1189215"/>
              <a:gd name="connsiteY2" fmla="*/ 441739 h 549873"/>
              <a:gd name="connsiteX3" fmla="*/ 1081081 w 1189215"/>
              <a:gd name="connsiteY3" fmla="*/ 549873 h 549873"/>
              <a:gd name="connsiteX4" fmla="*/ 108134 w 1189215"/>
              <a:gd name="connsiteY4" fmla="*/ 549873 h 549873"/>
              <a:gd name="connsiteX5" fmla="*/ 0 w 1189215"/>
              <a:gd name="connsiteY5" fmla="*/ 441739 h 549873"/>
              <a:gd name="connsiteX6" fmla="*/ 0 w 1189215"/>
              <a:gd name="connsiteY6" fmla="*/ 0 h 549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89215" h="549873">
                <a:moveTo>
                  <a:pt x="0" y="0"/>
                </a:moveTo>
                <a:lnTo>
                  <a:pt x="1189215" y="0"/>
                </a:lnTo>
                <a:lnTo>
                  <a:pt x="1189215" y="441739"/>
                </a:lnTo>
                <a:cubicBezTo>
                  <a:pt x="1189215" y="501460"/>
                  <a:pt x="1140802" y="549873"/>
                  <a:pt x="1081081" y="549873"/>
                </a:cubicBezTo>
                <a:lnTo>
                  <a:pt x="108134" y="549873"/>
                </a:lnTo>
                <a:cubicBezTo>
                  <a:pt x="48413" y="549873"/>
                  <a:pt x="0" y="501460"/>
                  <a:pt x="0" y="441739"/>
                </a:cubicBezTo>
                <a:lnTo>
                  <a:pt x="0" y="0"/>
                </a:lnTo>
                <a:close/>
              </a:path>
            </a:pathLst>
          </a:cu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5720" tIns="22860" rIns="45720" bIns="228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600" b="0" i="0" u="none" strike="noStrike" kern="1200" cap="none" spc="0" normalizeH="0" baseline="0" noProof="0">
                <a:ln>
                  <a:noFill/>
                </a:ln>
                <a:solidFill>
                  <a:srgbClr val="000000">
                    <a:lumMod val="75000"/>
                    <a:lumOff val="2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rPr>
              <a:t>部门名称</a:t>
            </a:r>
            <a:endParaRPr kumimoji="0" lang="zh-CN" altLang="en-US" sz="1600" b="0" i="0" u="none" strike="noStrike" kern="1200" cap="none" spc="0" normalizeH="0" baseline="0" noProof="0" dirty="0">
              <a:ln>
                <a:noFill/>
              </a:ln>
              <a:solidFill>
                <a:srgbClr val="000000">
                  <a:lumMod val="75000"/>
                  <a:lumOff val="2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p:txBody>
      </p:sp>
      <p:sp>
        <p:nvSpPr>
          <p:cNvPr id="39" name="任意多边形: 形状 38">
            <a:extLst>
              <a:ext uri="{FF2B5EF4-FFF2-40B4-BE49-F238E27FC236}">
                <a16:creationId xmlns:a16="http://schemas.microsoft.com/office/drawing/2014/main" id="{60AB3CB2-69C9-4838-AFB8-A3337AA290B1}"/>
              </a:ext>
            </a:extLst>
          </p:cNvPr>
          <p:cNvSpPr/>
          <p:nvPr/>
        </p:nvSpPr>
        <p:spPr>
          <a:xfrm>
            <a:off x="5405118" y="1333006"/>
            <a:ext cx="1467700" cy="163564"/>
          </a:xfrm>
          <a:custGeom>
            <a:avLst/>
            <a:gdLst>
              <a:gd name="connsiteX0" fmla="*/ 108134 w 1189215"/>
              <a:gd name="connsiteY0" fmla="*/ 0 h 133700"/>
              <a:gd name="connsiteX1" fmla="*/ 1081081 w 1189215"/>
              <a:gd name="connsiteY1" fmla="*/ 0 h 133700"/>
              <a:gd name="connsiteX2" fmla="*/ 1189215 w 1189215"/>
              <a:gd name="connsiteY2" fmla="*/ 108134 h 133700"/>
              <a:gd name="connsiteX3" fmla="*/ 1189215 w 1189215"/>
              <a:gd name="connsiteY3" fmla="*/ 133700 h 133700"/>
              <a:gd name="connsiteX4" fmla="*/ 0 w 1189215"/>
              <a:gd name="connsiteY4" fmla="*/ 133700 h 133700"/>
              <a:gd name="connsiteX5" fmla="*/ 0 w 1189215"/>
              <a:gd name="connsiteY5" fmla="*/ 108134 h 133700"/>
              <a:gd name="connsiteX6" fmla="*/ 108134 w 1189215"/>
              <a:gd name="connsiteY6" fmla="*/ 0 h 133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89215" h="133700">
                <a:moveTo>
                  <a:pt x="108134" y="0"/>
                </a:moveTo>
                <a:lnTo>
                  <a:pt x="1081081" y="0"/>
                </a:lnTo>
                <a:cubicBezTo>
                  <a:pt x="1140802" y="0"/>
                  <a:pt x="1189215" y="48413"/>
                  <a:pt x="1189215" y="108134"/>
                </a:cubicBezTo>
                <a:lnTo>
                  <a:pt x="1189215" y="133700"/>
                </a:lnTo>
                <a:lnTo>
                  <a:pt x="0" y="133700"/>
                </a:lnTo>
                <a:lnTo>
                  <a:pt x="0" y="108134"/>
                </a:lnTo>
                <a:cubicBezTo>
                  <a:pt x="0" y="48413"/>
                  <a:pt x="48413" y="0"/>
                  <a:pt x="108134" y="0"/>
                </a:cubicBezTo>
                <a:close/>
              </a:path>
            </a:pathLst>
          </a:cu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5720" tIns="22860" rIns="45720" bIns="228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600" b="0" i="0" u="none" strike="noStrike" kern="1200" cap="none" spc="0" normalizeH="0" baseline="0" noProof="0" dirty="0">
              <a:ln>
                <a:noFill/>
              </a:ln>
              <a:solidFill>
                <a:srgbClr val="FFFFFF"/>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p:txBody>
      </p:sp>
      <p:sp>
        <p:nvSpPr>
          <p:cNvPr id="40" name="任意多边形: 形状 39">
            <a:extLst>
              <a:ext uri="{FF2B5EF4-FFF2-40B4-BE49-F238E27FC236}">
                <a16:creationId xmlns:a16="http://schemas.microsoft.com/office/drawing/2014/main" id="{78EFD501-4315-4FE3-9487-F5F8A667B90A}"/>
              </a:ext>
            </a:extLst>
          </p:cNvPr>
          <p:cNvSpPr/>
          <p:nvPr/>
        </p:nvSpPr>
        <p:spPr>
          <a:xfrm>
            <a:off x="5405118" y="1496570"/>
            <a:ext cx="1467700" cy="672698"/>
          </a:xfrm>
          <a:custGeom>
            <a:avLst/>
            <a:gdLst>
              <a:gd name="connsiteX0" fmla="*/ 0 w 1189215"/>
              <a:gd name="connsiteY0" fmla="*/ 0 h 549873"/>
              <a:gd name="connsiteX1" fmla="*/ 1189215 w 1189215"/>
              <a:gd name="connsiteY1" fmla="*/ 0 h 549873"/>
              <a:gd name="connsiteX2" fmla="*/ 1189215 w 1189215"/>
              <a:gd name="connsiteY2" fmla="*/ 441739 h 549873"/>
              <a:gd name="connsiteX3" fmla="*/ 1081081 w 1189215"/>
              <a:gd name="connsiteY3" fmla="*/ 549873 h 549873"/>
              <a:gd name="connsiteX4" fmla="*/ 108134 w 1189215"/>
              <a:gd name="connsiteY4" fmla="*/ 549873 h 549873"/>
              <a:gd name="connsiteX5" fmla="*/ 0 w 1189215"/>
              <a:gd name="connsiteY5" fmla="*/ 441739 h 549873"/>
              <a:gd name="connsiteX6" fmla="*/ 0 w 1189215"/>
              <a:gd name="connsiteY6" fmla="*/ 0 h 549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89215" h="549873">
                <a:moveTo>
                  <a:pt x="0" y="0"/>
                </a:moveTo>
                <a:lnTo>
                  <a:pt x="1189215" y="0"/>
                </a:lnTo>
                <a:lnTo>
                  <a:pt x="1189215" y="441739"/>
                </a:lnTo>
                <a:cubicBezTo>
                  <a:pt x="1189215" y="501460"/>
                  <a:pt x="1140802" y="549873"/>
                  <a:pt x="1081081" y="549873"/>
                </a:cubicBezTo>
                <a:lnTo>
                  <a:pt x="108134" y="549873"/>
                </a:lnTo>
                <a:cubicBezTo>
                  <a:pt x="48413" y="549873"/>
                  <a:pt x="0" y="501460"/>
                  <a:pt x="0" y="441739"/>
                </a:cubicBezTo>
                <a:lnTo>
                  <a:pt x="0" y="0"/>
                </a:lnTo>
                <a:close/>
              </a:path>
            </a:pathLst>
          </a:cu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5720" tIns="22860" rIns="45720" bIns="228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2000" b="0" i="0" u="none" strike="noStrike" kern="1200" cap="none" spc="0" normalizeH="0" baseline="0" noProof="0" dirty="0">
                <a:ln>
                  <a:noFill/>
                </a:ln>
                <a:solidFill>
                  <a:srgbClr val="000000">
                    <a:lumMod val="75000"/>
                    <a:lumOff val="2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rPr>
              <a:t>董事会</a:t>
            </a:r>
          </a:p>
        </p:txBody>
      </p:sp>
      <p:sp>
        <p:nvSpPr>
          <p:cNvPr id="42" name="任意多边形: 形状 41">
            <a:extLst>
              <a:ext uri="{FF2B5EF4-FFF2-40B4-BE49-F238E27FC236}">
                <a16:creationId xmlns:a16="http://schemas.microsoft.com/office/drawing/2014/main" id="{9B536A91-B3AC-4F94-BAE8-69DF75041C1A}"/>
              </a:ext>
            </a:extLst>
          </p:cNvPr>
          <p:cNvSpPr/>
          <p:nvPr/>
        </p:nvSpPr>
        <p:spPr>
          <a:xfrm>
            <a:off x="7385325" y="1409350"/>
            <a:ext cx="1189215" cy="133700"/>
          </a:xfrm>
          <a:custGeom>
            <a:avLst/>
            <a:gdLst>
              <a:gd name="connsiteX0" fmla="*/ 108134 w 1189215"/>
              <a:gd name="connsiteY0" fmla="*/ 0 h 133700"/>
              <a:gd name="connsiteX1" fmla="*/ 1081081 w 1189215"/>
              <a:gd name="connsiteY1" fmla="*/ 0 h 133700"/>
              <a:gd name="connsiteX2" fmla="*/ 1189215 w 1189215"/>
              <a:gd name="connsiteY2" fmla="*/ 108134 h 133700"/>
              <a:gd name="connsiteX3" fmla="*/ 1189215 w 1189215"/>
              <a:gd name="connsiteY3" fmla="*/ 133700 h 133700"/>
              <a:gd name="connsiteX4" fmla="*/ 0 w 1189215"/>
              <a:gd name="connsiteY4" fmla="*/ 133700 h 133700"/>
              <a:gd name="connsiteX5" fmla="*/ 0 w 1189215"/>
              <a:gd name="connsiteY5" fmla="*/ 108134 h 133700"/>
              <a:gd name="connsiteX6" fmla="*/ 108134 w 1189215"/>
              <a:gd name="connsiteY6" fmla="*/ 0 h 133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89215" h="133700">
                <a:moveTo>
                  <a:pt x="108134" y="0"/>
                </a:moveTo>
                <a:lnTo>
                  <a:pt x="1081081" y="0"/>
                </a:lnTo>
                <a:cubicBezTo>
                  <a:pt x="1140802" y="0"/>
                  <a:pt x="1189215" y="48413"/>
                  <a:pt x="1189215" y="108134"/>
                </a:cubicBezTo>
                <a:lnTo>
                  <a:pt x="1189215" y="133700"/>
                </a:lnTo>
                <a:lnTo>
                  <a:pt x="0" y="133700"/>
                </a:lnTo>
                <a:lnTo>
                  <a:pt x="0" y="108134"/>
                </a:lnTo>
                <a:cubicBezTo>
                  <a:pt x="0" y="48413"/>
                  <a:pt x="48413" y="0"/>
                  <a:pt x="108134" y="0"/>
                </a:cubicBezTo>
                <a:close/>
              </a:path>
            </a:pathLst>
          </a:cu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5720" tIns="22860" rIns="45720" bIns="228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600" b="0" i="0" u="none" strike="noStrike" kern="1200" cap="none" spc="0" normalizeH="0" baseline="0" noProof="0" dirty="0">
              <a:ln>
                <a:noFill/>
              </a:ln>
              <a:solidFill>
                <a:srgbClr val="FFFFFF"/>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p:txBody>
      </p:sp>
      <p:sp>
        <p:nvSpPr>
          <p:cNvPr id="43" name="任意多边形: 形状 42">
            <a:extLst>
              <a:ext uri="{FF2B5EF4-FFF2-40B4-BE49-F238E27FC236}">
                <a16:creationId xmlns:a16="http://schemas.microsoft.com/office/drawing/2014/main" id="{7537AB78-5418-4673-A382-DE89F6BE4609}"/>
              </a:ext>
            </a:extLst>
          </p:cNvPr>
          <p:cNvSpPr/>
          <p:nvPr/>
        </p:nvSpPr>
        <p:spPr>
          <a:xfrm>
            <a:off x="7385325" y="1543050"/>
            <a:ext cx="1189215" cy="549873"/>
          </a:xfrm>
          <a:custGeom>
            <a:avLst/>
            <a:gdLst>
              <a:gd name="connsiteX0" fmla="*/ 0 w 1189215"/>
              <a:gd name="connsiteY0" fmla="*/ 0 h 549873"/>
              <a:gd name="connsiteX1" fmla="*/ 1189215 w 1189215"/>
              <a:gd name="connsiteY1" fmla="*/ 0 h 549873"/>
              <a:gd name="connsiteX2" fmla="*/ 1189215 w 1189215"/>
              <a:gd name="connsiteY2" fmla="*/ 441739 h 549873"/>
              <a:gd name="connsiteX3" fmla="*/ 1081081 w 1189215"/>
              <a:gd name="connsiteY3" fmla="*/ 549873 h 549873"/>
              <a:gd name="connsiteX4" fmla="*/ 108134 w 1189215"/>
              <a:gd name="connsiteY4" fmla="*/ 549873 h 549873"/>
              <a:gd name="connsiteX5" fmla="*/ 0 w 1189215"/>
              <a:gd name="connsiteY5" fmla="*/ 441739 h 549873"/>
              <a:gd name="connsiteX6" fmla="*/ 0 w 1189215"/>
              <a:gd name="connsiteY6" fmla="*/ 0 h 549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89215" h="549873">
                <a:moveTo>
                  <a:pt x="0" y="0"/>
                </a:moveTo>
                <a:lnTo>
                  <a:pt x="1189215" y="0"/>
                </a:lnTo>
                <a:lnTo>
                  <a:pt x="1189215" y="441739"/>
                </a:lnTo>
                <a:cubicBezTo>
                  <a:pt x="1189215" y="501460"/>
                  <a:pt x="1140802" y="549873"/>
                  <a:pt x="1081081" y="549873"/>
                </a:cubicBezTo>
                <a:lnTo>
                  <a:pt x="108134" y="549873"/>
                </a:lnTo>
                <a:cubicBezTo>
                  <a:pt x="48413" y="549873"/>
                  <a:pt x="0" y="501460"/>
                  <a:pt x="0" y="441739"/>
                </a:cubicBezTo>
                <a:lnTo>
                  <a:pt x="0" y="0"/>
                </a:lnTo>
                <a:close/>
              </a:path>
            </a:pathLst>
          </a:cu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5720" tIns="22860" rIns="45720" bIns="228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600" b="0" i="0" u="none" strike="noStrike" kern="1200" cap="none" spc="0" normalizeH="0" baseline="0" noProof="0">
                <a:ln>
                  <a:noFill/>
                </a:ln>
                <a:solidFill>
                  <a:srgbClr val="000000">
                    <a:lumMod val="75000"/>
                    <a:lumOff val="2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rPr>
              <a:t>部门名称</a:t>
            </a:r>
            <a:endParaRPr kumimoji="0" lang="zh-CN" altLang="en-US" sz="1600" b="0" i="0" u="none" strike="noStrike" kern="1200" cap="none" spc="0" normalizeH="0" baseline="0" noProof="0" dirty="0">
              <a:ln>
                <a:noFill/>
              </a:ln>
              <a:solidFill>
                <a:srgbClr val="000000">
                  <a:lumMod val="75000"/>
                  <a:lumOff val="2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p:txBody>
      </p:sp>
      <p:sp>
        <p:nvSpPr>
          <p:cNvPr id="45" name="任意多边形: 形状 44">
            <a:extLst>
              <a:ext uri="{FF2B5EF4-FFF2-40B4-BE49-F238E27FC236}">
                <a16:creationId xmlns:a16="http://schemas.microsoft.com/office/drawing/2014/main" id="{119EF73D-1BFE-4E87-AA4F-49CC145C7896}"/>
              </a:ext>
            </a:extLst>
          </p:cNvPr>
          <p:cNvSpPr/>
          <p:nvPr/>
        </p:nvSpPr>
        <p:spPr>
          <a:xfrm>
            <a:off x="3672841" y="2476499"/>
            <a:ext cx="1189215" cy="133700"/>
          </a:xfrm>
          <a:custGeom>
            <a:avLst/>
            <a:gdLst>
              <a:gd name="connsiteX0" fmla="*/ 108134 w 1189215"/>
              <a:gd name="connsiteY0" fmla="*/ 0 h 133700"/>
              <a:gd name="connsiteX1" fmla="*/ 1081081 w 1189215"/>
              <a:gd name="connsiteY1" fmla="*/ 0 h 133700"/>
              <a:gd name="connsiteX2" fmla="*/ 1189215 w 1189215"/>
              <a:gd name="connsiteY2" fmla="*/ 108134 h 133700"/>
              <a:gd name="connsiteX3" fmla="*/ 1189215 w 1189215"/>
              <a:gd name="connsiteY3" fmla="*/ 133700 h 133700"/>
              <a:gd name="connsiteX4" fmla="*/ 0 w 1189215"/>
              <a:gd name="connsiteY4" fmla="*/ 133700 h 133700"/>
              <a:gd name="connsiteX5" fmla="*/ 0 w 1189215"/>
              <a:gd name="connsiteY5" fmla="*/ 108134 h 133700"/>
              <a:gd name="connsiteX6" fmla="*/ 108134 w 1189215"/>
              <a:gd name="connsiteY6" fmla="*/ 0 h 133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89215" h="133700">
                <a:moveTo>
                  <a:pt x="108134" y="0"/>
                </a:moveTo>
                <a:lnTo>
                  <a:pt x="1081081" y="0"/>
                </a:lnTo>
                <a:cubicBezTo>
                  <a:pt x="1140802" y="0"/>
                  <a:pt x="1189215" y="48413"/>
                  <a:pt x="1189215" y="108134"/>
                </a:cubicBezTo>
                <a:lnTo>
                  <a:pt x="1189215" y="133700"/>
                </a:lnTo>
                <a:lnTo>
                  <a:pt x="0" y="133700"/>
                </a:lnTo>
                <a:lnTo>
                  <a:pt x="0" y="108134"/>
                </a:lnTo>
                <a:cubicBezTo>
                  <a:pt x="0" y="48413"/>
                  <a:pt x="48413" y="0"/>
                  <a:pt x="108134" y="0"/>
                </a:cubicBezTo>
                <a:close/>
              </a:path>
            </a:pathLst>
          </a:cu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5720" tIns="22860" rIns="45720" bIns="228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600" b="0" i="0" u="none" strike="noStrike" kern="1200" cap="none" spc="0" normalizeH="0" baseline="0" noProof="0" dirty="0">
              <a:ln>
                <a:noFill/>
              </a:ln>
              <a:solidFill>
                <a:srgbClr val="FFFFFF"/>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p:txBody>
      </p:sp>
      <p:sp>
        <p:nvSpPr>
          <p:cNvPr id="46" name="任意多边形: 形状 45">
            <a:extLst>
              <a:ext uri="{FF2B5EF4-FFF2-40B4-BE49-F238E27FC236}">
                <a16:creationId xmlns:a16="http://schemas.microsoft.com/office/drawing/2014/main" id="{F5EB8D24-CB26-42E6-B1C0-8129DF71F581}"/>
              </a:ext>
            </a:extLst>
          </p:cNvPr>
          <p:cNvSpPr/>
          <p:nvPr/>
        </p:nvSpPr>
        <p:spPr>
          <a:xfrm>
            <a:off x="3672841" y="2610199"/>
            <a:ext cx="1189215" cy="549873"/>
          </a:xfrm>
          <a:custGeom>
            <a:avLst/>
            <a:gdLst>
              <a:gd name="connsiteX0" fmla="*/ 0 w 1189215"/>
              <a:gd name="connsiteY0" fmla="*/ 0 h 549873"/>
              <a:gd name="connsiteX1" fmla="*/ 1189215 w 1189215"/>
              <a:gd name="connsiteY1" fmla="*/ 0 h 549873"/>
              <a:gd name="connsiteX2" fmla="*/ 1189215 w 1189215"/>
              <a:gd name="connsiteY2" fmla="*/ 441739 h 549873"/>
              <a:gd name="connsiteX3" fmla="*/ 1081081 w 1189215"/>
              <a:gd name="connsiteY3" fmla="*/ 549873 h 549873"/>
              <a:gd name="connsiteX4" fmla="*/ 108134 w 1189215"/>
              <a:gd name="connsiteY4" fmla="*/ 549873 h 549873"/>
              <a:gd name="connsiteX5" fmla="*/ 0 w 1189215"/>
              <a:gd name="connsiteY5" fmla="*/ 441739 h 549873"/>
              <a:gd name="connsiteX6" fmla="*/ 0 w 1189215"/>
              <a:gd name="connsiteY6" fmla="*/ 0 h 549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89215" h="549873">
                <a:moveTo>
                  <a:pt x="0" y="0"/>
                </a:moveTo>
                <a:lnTo>
                  <a:pt x="1189215" y="0"/>
                </a:lnTo>
                <a:lnTo>
                  <a:pt x="1189215" y="441739"/>
                </a:lnTo>
                <a:cubicBezTo>
                  <a:pt x="1189215" y="501460"/>
                  <a:pt x="1140802" y="549873"/>
                  <a:pt x="1081081" y="549873"/>
                </a:cubicBezTo>
                <a:lnTo>
                  <a:pt x="108134" y="549873"/>
                </a:lnTo>
                <a:cubicBezTo>
                  <a:pt x="48413" y="549873"/>
                  <a:pt x="0" y="501460"/>
                  <a:pt x="0" y="441739"/>
                </a:cubicBezTo>
                <a:lnTo>
                  <a:pt x="0" y="0"/>
                </a:lnTo>
                <a:close/>
              </a:path>
            </a:pathLst>
          </a:cu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5720" tIns="22860" rIns="45720" bIns="228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600" b="0" i="0" u="none" strike="noStrike" kern="1200" cap="none" spc="0" normalizeH="0" baseline="0" noProof="0">
                <a:ln>
                  <a:noFill/>
                </a:ln>
                <a:solidFill>
                  <a:srgbClr val="000000">
                    <a:lumMod val="75000"/>
                    <a:lumOff val="2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rPr>
              <a:t>部门名称</a:t>
            </a:r>
            <a:endParaRPr kumimoji="0" lang="zh-CN" altLang="en-US" sz="1600" b="0" i="0" u="none" strike="noStrike" kern="1200" cap="none" spc="0" normalizeH="0" baseline="0" noProof="0" dirty="0">
              <a:ln>
                <a:noFill/>
              </a:ln>
              <a:solidFill>
                <a:srgbClr val="000000">
                  <a:lumMod val="75000"/>
                  <a:lumOff val="2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p:txBody>
      </p:sp>
      <p:sp>
        <p:nvSpPr>
          <p:cNvPr id="49" name="任意多边形: 形状 48">
            <a:extLst>
              <a:ext uri="{FF2B5EF4-FFF2-40B4-BE49-F238E27FC236}">
                <a16:creationId xmlns:a16="http://schemas.microsoft.com/office/drawing/2014/main" id="{85453A92-54B7-479A-A27B-7C541EDAC2E7}"/>
              </a:ext>
            </a:extLst>
          </p:cNvPr>
          <p:cNvSpPr/>
          <p:nvPr/>
        </p:nvSpPr>
        <p:spPr>
          <a:xfrm>
            <a:off x="5405118" y="2370823"/>
            <a:ext cx="1467700" cy="163564"/>
          </a:xfrm>
          <a:custGeom>
            <a:avLst/>
            <a:gdLst>
              <a:gd name="connsiteX0" fmla="*/ 108134 w 1189215"/>
              <a:gd name="connsiteY0" fmla="*/ 0 h 133700"/>
              <a:gd name="connsiteX1" fmla="*/ 1081081 w 1189215"/>
              <a:gd name="connsiteY1" fmla="*/ 0 h 133700"/>
              <a:gd name="connsiteX2" fmla="*/ 1189215 w 1189215"/>
              <a:gd name="connsiteY2" fmla="*/ 108134 h 133700"/>
              <a:gd name="connsiteX3" fmla="*/ 1189215 w 1189215"/>
              <a:gd name="connsiteY3" fmla="*/ 133700 h 133700"/>
              <a:gd name="connsiteX4" fmla="*/ 0 w 1189215"/>
              <a:gd name="connsiteY4" fmla="*/ 133700 h 133700"/>
              <a:gd name="connsiteX5" fmla="*/ 0 w 1189215"/>
              <a:gd name="connsiteY5" fmla="*/ 108134 h 133700"/>
              <a:gd name="connsiteX6" fmla="*/ 108134 w 1189215"/>
              <a:gd name="connsiteY6" fmla="*/ 0 h 133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89215" h="133700">
                <a:moveTo>
                  <a:pt x="108134" y="0"/>
                </a:moveTo>
                <a:lnTo>
                  <a:pt x="1081081" y="0"/>
                </a:lnTo>
                <a:cubicBezTo>
                  <a:pt x="1140802" y="0"/>
                  <a:pt x="1189215" y="48413"/>
                  <a:pt x="1189215" y="108134"/>
                </a:cubicBezTo>
                <a:lnTo>
                  <a:pt x="1189215" y="133700"/>
                </a:lnTo>
                <a:lnTo>
                  <a:pt x="0" y="133700"/>
                </a:lnTo>
                <a:lnTo>
                  <a:pt x="0" y="108134"/>
                </a:lnTo>
                <a:cubicBezTo>
                  <a:pt x="0" y="48413"/>
                  <a:pt x="48413" y="0"/>
                  <a:pt x="108134" y="0"/>
                </a:cubicBezTo>
                <a:close/>
              </a:path>
            </a:pathLst>
          </a:cu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5720" tIns="22860" rIns="45720" bIns="228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600" b="0" i="0" u="none" strike="noStrike" kern="1200" cap="none" spc="0" normalizeH="0" baseline="0" noProof="0" dirty="0">
              <a:ln>
                <a:noFill/>
              </a:ln>
              <a:solidFill>
                <a:srgbClr val="FFFFFF"/>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p:txBody>
      </p:sp>
      <p:sp>
        <p:nvSpPr>
          <p:cNvPr id="50" name="任意多边形: 形状 49">
            <a:extLst>
              <a:ext uri="{FF2B5EF4-FFF2-40B4-BE49-F238E27FC236}">
                <a16:creationId xmlns:a16="http://schemas.microsoft.com/office/drawing/2014/main" id="{7E299D37-212C-4482-B5B9-CC8A4CC12690}"/>
              </a:ext>
            </a:extLst>
          </p:cNvPr>
          <p:cNvSpPr/>
          <p:nvPr/>
        </p:nvSpPr>
        <p:spPr>
          <a:xfrm>
            <a:off x="5405118" y="2534387"/>
            <a:ext cx="1467700" cy="672698"/>
          </a:xfrm>
          <a:custGeom>
            <a:avLst/>
            <a:gdLst>
              <a:gd name="connsiteX0" fmla="*/ 0 w 1189215"/>
              <a:gd name="connsiteY0" fmla="*/ 0 h 549873"/>
              <a:gd name="connsiteX1" fmla="*/ 1189215 w 1189215"/>
              <a:gd name="connsiteY1" fmla="*/ 0 h 549873"/>
              <a:gd name="connsiteX2" fmla="*/ 1189215 w 1189215"/>
              <a:gd name="connsiteY2" fmla="*/ 441739 h 549873"/>
              <a:gd name="connsiteX3" fmla="*/ 1081081 w 1189215"/>
              <a:gd name="connsiteY3" fmla="*/ 549873 h 549873"/>
              <a:gd name="connsiteX4" fmla="*/ 108134 w 1189215"/>
              <a:gd name="connsiteY4" fmla="*/ 549873 h 549873"/>
              <a:gd name="connsiteX5" fmla="*/ 0 w 1189215"/>
              <a:gd name="connsiteY5" fmla="*/ 441739 h 549873"/>
              <a:gd name="connsiteX6" fmla="*/ 0 w 1189215"/>
              <a:gd name="connsiteY6" fmla="*/ 0 h 549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89215" h="549873">
                <a:moveTo>
                  <a:pt x="0" y="0"/>
                </a:moveTo>
                <a:lnTo>
                  <a:pt x="1189215" y="0"/>
                </a:lnTo>
                <a:lnTo>
                  <a:pt x="1189215" y="441739"/>
                </a:lnTo>
                <a:cubicBezTo>
                  <a:pt x="1189215" y="501460"/>
                  <a:pt x="1140802" y="549873"/>
                  <a:pt x="1081081" y="549873"/>
                </a:cubicBezTo>
                <a:lnTo>
                  <a:pt x="108134" y="549873"/>
                </a:lnTo>
                <a:cubicBezTo>
                  <a:pt x="48413" y="549873"/>
                  <a:pt x="0" y="501460"/>
                  <a:pt x="0" y="441739"/>
                </a:cubicBezTo>
                <a:lnTo>
                  <a:pt x="0" y="0"/>
                </a:lnTo>
                <a:close/>
              </a:path>
            </a:pathLst>
          </a:cu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5720" tIns="22860" rIns="45720" bIns="228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2000" b="0" i="0" u="none" strike="noStrike" kern="1200" cap="none" spc="0" normalizeH="0" baseline="0" noProof="0" dirty="0">
                <a:ln>
                  <a:noFill/>
                </a:ln>
                <a:solidFill>
                  <a:srgbClr val="000000">
                    <a:lumMod val="75000"/>
                    <a:lumOff val="2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rPr>
              <a:t>CEO</a:t>
            </a:r>
            <a:endParaRPr kumimoji="0" lang="zh-CN" altLang="en-US" sz="2000" b="0" i="0" u="none" strike="noStrike" kern="1200" cap="none" spc="0" normalizeH="0" baseline="0" noProof="0" dirty="0">
              <a:ln>
                <a:noFill/>
              </a:ln>
              <a:solidFill>
                <a:srgbClr val="000000">
                  <a:lumMod val="75000"/>
                  <a:lumOff val="2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p:txBody>
      </p:sp>
      <p:sp>
        <p:nvSpPr>
          <p:cNvPr id="55" name="任意多边形: 形状 54">
            <a:extLst>
              <a:ext uri="{FF2B5EF4-FFF2-40B4-BE49-F238E27FC236}">
                <a16:creationId xmlns:a16="http://schemas.microsoft.com/office/drawing/2014/main" id="{328BE231-C373-461D-B497-50334F300FFC}"/>
              </a:ext>
            </a:extLst>
          </p:cNvPr>
          <p:cNvSpPr/>
          <p:nvPr/>
        </p:nvSpPr>
        <p:spPr>
          <a:xfrm>
            <a:off x="1793692" y="3576005"/>
            <a:ext cx="1354319" cy="106625"/>
          </a:xfrm>
          <a:custGeom>
            <a:avLst/>
            <a:gdLst>
              <a:gd name="connsiteX0" fmla="*/ 108134 w 1189215"/>
              <a:gd name="connsiteY0" fmla="*/ 0 h 133700"/>
              <a:gd name="connsiteX1" fmla="*/ 1081081 w 1189215"/>
              <a:gd name="connsiteY1" fmla="*/ 0 h 133700"/>
              <a:gd name="connsiteX2" fmla="*/ 1189215 w 1189215"/>
              <a:gd name="connsiteY2" fmla="*/ 108134 h 133700"/>
              <a:gd name="connsiteX3" fmla="*/ 1189215 w 1189215"/>
              <a:gd name="connsiteY3" fmla="*/ 133700 h 133700"/>
              <a:gd name="connsiteX4" fmla="*/ 0 w 1189215"/>
              <a:gd name="connsiteY4" fmla="*/ 133700 h 133700"/>
              <a:gd name="connsiteX5" fmla="*/ 0 w 1189215"/>
              <a:gd name="connsiteY5" fmla="*/ 108134 h 133700"/>
              <a:gd name="connsiteX6" fmla="*/ 108134 w 1189215"/>
              <a:gd name="connsiteY6" fmla="*/ 0 h 133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89215" h="133700">
                <a:moveTo>
                  <a:pt x="108134" y="0"/>
                </a:moveTo>
                <a:lnTo>
                  <a:pt x="1081081" y="0"/>
                </a:lnTo>
                <a:cubicBezTo>
                  <a:pt x="1140802" y="0"/>
                  <a:pt x="1189215" y="48413"/>
                  <a:pt x="1189215" y="108134"/>
                </a:cubicBezTo>
                <a:lnTo>
                  <a:pt x="1189215" y="133700"/>
                </a:lnTo>
                <a:lnTo>
                  <a:pt x="0" y="133700"/>
                </a:lnTo>
                <a:lnTo>
                  <a:pt x="0" y="108134"/>
                </a:lnTo>
                <a:cubicBezTo>
                  <a:pt x="0" y="48413"/>
                  <a:pt x="48413" y="0"/>
                  <a:pt x="108134" y="0"/>
                </a:cubicBezTo>
                <a:close/>
              </a:path>
            </a:pathLst>
          </a:cu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5720" tIns="22860" rIns="45720" bIns="228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600" b="0" i="0" u="none" strike="noStrike" kern="1200" cap="none" spc="0" normalizeH="0" baseline="0" noProof="0" dirty="0">
              <a:ln>
                <a:noFill/>
              </a:ln>
              <a:solidFill>
                <a:srgbClr val="FFFFFF"/>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p:txBody>
      </p:sp>
      <p:sp>
        <p:nvSpPr>
          <p:cNvPr id="56" name="任意多边形: 形状 55">
            <a:extLst>
              <a:ext uri="{FF2B5EF4-FFF2-40B4-BE49-F238E27FC236}">
                <a16:creationId xmlns:a16="http://schemas.microsoft.com/office/drawing/2014/main" id="{067DEF95-AD0D-4315-8DE1-CC0D349849B8}"/>
              </a:ext>
            </a:extLst>
          </p:cNvPr>
          <p:cNvSpPr/>
          <p:nvPr/>
        </p:nvSpPr>
        <p:spPr>
          <a:xfrm>
            <a:off x="1793692" y="3682630"/>
            <a:ext cx="1354319" cy="438520"/>
          </a:xfrm>
          <a:custGeom>
            <a:avLst/>
            <a:gdLst>
              <a:gd name="connsiteX0" fmla="*/ 0 w 1189215"/>
              <a:gd name="connsiteY0" fmla="*/ 0 h 549873"/>
              <a:gd name="connsiteX1" fmla="*/ 1189215 w 1189215"/>
              <a:gd name="connsiteY1" fmla="*/ 0 h 549873"/>
              <a:gd name="connsiteX2" fmla="*/ 1189215 w 1189215"/>
              <a:gd name="connsiteY2" fmla="*/ 441739 h 549873"/>
              <a:gd name="connsiteX3" fmla="*/ 1081081 w 1189215"/>
              <a:gd name="connsiteY3" fmla="*/ 549873 h 549873"/>
              <a:gd name="connsiteX4" fmla="*/ 108134 w 1189215"/>
              <a:gd name="connsiteY4" fmla="*/ 549873 h 549873"/>
              <a:gd name="connsiteX5" fmla="*/ 0 w 1189215"/>
              <a:gd name="connsiteY5" fmla="*/ 441739 h 549873"/>
              <a:gd name="connsiteX6" fmla="*/ 0 w 1189215"/>
              <a:gd name="connsiteY6" fmla="*/ 0 h 549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89215" h="549873">
                <a:moveTo>
                  <a:pt x="0" y="0"/>
                </a:moveTo>
                <a:lnTo>
                  <a:pt x="1189215" y="0"/>
                </a:lnTo>
                <a:lnTo>
                  <a:pt x="1189215" y="441739"/>
                </a:lnTo>
                <a:cubicBezTo>
                  <a:pt x="1189215" y="501460"/>
                  <a:pt x="1140802" y="549873"/>
                  <a:pt x="1081081" y="549873"/>
                </a:cubicBezTo>
                <a:lnTo>
                  <a:pt x="108134" y="549873"/>
                </a:lnTo>
                <a:cubicBezTo>
                  <a:pt x="48413" y="549873"/>
                  <a:pt x="0" y="501460"/>
                  <a:pt x="0" y="441739"/>
                </a:cubicBezTo>
                <a:lnTo>
                  <a:pt x="0" y="0"/>
                </a:lnTo>
                <a:close/>
              </a:path>
            </a:pathLst>
          </a:cu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5720" tIns="22860" rIns="45720" bIns="228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600" b="0" i="0" u="none" strike="noStrike" kern="1200" cap="none" spc="0" normalizeH="0" baseline="0" noProof="0">
                <a:ln>
                  <a:noFill/>
                </a:ln>
                <a:solidFill>
                  <a:srgbClr val="000000">
                    <a:lumMod val="75000"/>
                    <a:lumOff val="2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rPr>
              <a:t>部门名称</a:t>
            </a:r>
            <a:endParaRPr kumimoji="0" lang="zh-CN" altLang="en-US" sz="1600" b="0" i="0" u="none" strike="noStrike" kern="1200" cap="none" spc="0" normalizeH="0" baseline="0" noProof="0" dirty="0">
              <a:ln>
                <a:noFill/>
              </a:ln>
              <a:solidFill>
                <a:srgbClr val="000000">
                  <a:lumMod val="75000"/>
                  <a:lumOff val="2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p:txBody>
      </p:sp>
      <p:sp>
        <p:nvSpPr>
          <p:cNvPr id="58" name="任意多边形: 形状 57">
            <a:extLst>
              <a:ext uri="{FF2B5EF4-FFF2-40B4-BE49-F238E27FC236}">
                <a16:creationId xmlns:a16="http://schemas.microsoft.com/office/drawing/2014/main" id="{74A1F32F-9CE8-4866-9F0B-670196A48195}"/>
              </a:ext>
            </a:extLst>
          </p:cNvPr>
          <p:cNvSpPr/>
          <p:nvPr/>
        </p:nvSpPr>
        <p:spPr>
          <a:xfrm>
            <a:off x="3590288" y="3576005"/>
            <a:ext cx="1354319" cy="106625"/>
          </a:xfrm>
          <a:custGeom>
            <a:avLst/>
            <a:gdLst>
              <a:gd name="connsiteX0" fmla="*/ 108134 w 1189215"/>
              <a:gd name="connsiteY0" fmla="*/ 0 h 133700"/>
              <a:gd name="connsiteX1" fmla="*/ 1081081 w 1189215"/>
              <a:gd name="connsiteY1" fmla="*/ 0 h 133700"/>
              <a:gd name="connsiteX2" fmla="*/ 1189215 w 1189215"/>
              <a:gd name="connsiteY2" fmla="*/ 108134 h 133700"/>
              <a:gd name="connsiteX3" fmla="*/ 1189215 w 1189215"/>
              <a:gd name="connsiteY3" fmla="*/ 133700 h 133700"/>
              <a:gd name="connsiteX4" fmla="*/ 0 w 1189215"/>
              <a:gd name="connsiteY4" fmla="*/ 133700 h 133700"/>
              <a:gd name="connsiteX5" fmla="*/ 0 w 1189215"/>
              <a:gd name="connsiteY5" fmla="*/ 108134 h 133700"/>
              <a:gd name="connsiteX6" fmla="*/ 108134 w 1189215"/>
              <a:gd name="connsiteY6" fmla="*/ 0 h 133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89215" h="133700">
                <a:moveTo>
                  <a:pt x="108134" y="0"/>
                </a:moveTo>
                <a:lnTo>
                  <a:pt x="1081081" y="0"/>
                </a:lnTo>
                <a:cubicBezTo>
                  <a:pt x="1140802" y="0"/>
                  <a:pt x="1189215" y="48413"/>
                  <a:pt x="1189215" y="108134"/>
                </a:cubicBezTo>
                <a:lnTo>
                  <a:pt x="1189215" y="133700"/>
                </a:lnTo>
                <a:lnTo>
                  <a:pt x="0" y="133700"/>
                </a:lnTo>
                <a:lnTo>
                  <a:pt x="0" y="108134"/>
                </a:lnTo>
                <a:cubicBezTo>
                  <a:pt x="0" y="48413"/>
                  <a:pt x="48413" y="0"/>
                  <a:pt x="108134" y="0"/>
                </a:cubicBezTo>
                <a:close/>
              </a:path>
            </a:pathLst>
          </a:cu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5720" tIns="22860" rIns="45720" bIns="228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600" b="0" i="0" u="none" strike="noStrike" kern="1200" cap="none" spc="0" normalizeH="0" baseline="0" noProof="0" dirty="0">
              <a:ln>
                <a:noFill/>
              </a:ln>
              <a:solidFill>
                <a:srgbClr val="FFFFFF"/>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p:txBody>
      </p:sp>
      <p:sp>
        <p:nvSpPr>
          <p:cNvPr id="59" name="任意多边形: 形状 58">
            <a:extLst>
              <a:ext uri="{FF2B5EF4-FFF2-40B4-BE49-F238E27FC236}">
                <a16:creationId xmlns:a16="http://schemas.microsoft.com/office/drawing/2014/main" id="{AA3881C3-8BCD-4809-8A7E-751418CE7EF5}"/>
              </a:ext>
            </a:extLst>
          </p:cNvPr>
          <p:cNvSpPr/>
          <p:nvPr/>
        </p:nvSpPr>
        <p:spPr>
          <a:xfrm>
            <a:off x="3590288" y="3682630"/>
            <a:ext cx="1354319" cy="438520"/>
          </a:xfrm>
          <a:custGeom>
            <a:avLst/>
            <a:gdLst>
              <a:gd name="connsiteX0" fmla="*/ 0 w 1189215"/>
              <a:gd name="connsiteY0" fmla="*/ 0 h 549873"/>
              <a:gd name="connsiteX1" fmla="*/ 1189215 w 1189215"/>
              <a:gd name="connsiteY1" fmla="*/ 0 h 549873"/>
              <a:gd name="connsiteX2" fmla="*/ 1189215 w 1189215"/>
              <a:gd name="connsiteY2" fmla="*/ 441739 h 549873"/>
              <a:gd name="connsiteX3" fmla="*/ 1081081 w 1189215"/>
              <a:gd name="connsiteY3" fmla="*/ 549873 h 549873"/>
              <a:gd name="connsiteX4" fmla="*/ 108134 w 1189215"/>
              <a:gd name="connsiteY4" fmla="*/ 549873 h 549873"/>
              <a:gd name="connsiteX5" fmla="*/ 0 w 1189215"/>
              <a:gd name="connsiteY5" fmla="*/ 441739 h 549873"/>
              <a:gd name="connsiteX6" fmla="*/ 0 w 1189215"/>
              <a:gd name="connsiteY6" fmla="*/ 0 h 549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89215" h="549873">
                <a:moveTo>
                  <a:pt x="0" y="0"/>
                </a:moveTo>
                <a:lnTo>
                  <a:pt x="1189215" y="0"/>
                </a:lnTo>
                <a:lnTo>
                  <a:pt x="1189215" y="441739"/>
                </a:lnTo>
                <a:cubicBezTo>
                  <a:pt x="1189215" y="501460"/>
                  <a:pt x="1140802" y="549873"/>
                  <a:pt x="1081081" y="549873"/>
                </a:cubicBezTo>
                <a:lnTo>
                  <a:pt x="108134" y="549873"/>
                </a:lnTo>
                <a:cubicBezTo>
                  <a:pt x="48413" y="549873"/>
                  <a:pt x="0" y="501460"/>
                  <a:pt x="0" y="441739"/>
                </a:cubicBezTo>
                <a:lnTo>
                  <a:pt x="0" y="0"/>
                </a:lnTo>
                <a:close/>
              </a:path>
            </a:pathLst>
          </a:cu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5720" tIns="22860" rIns="45720" bIns="228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600" b="0" i="0" u="none" strike="noStrike" kern="1200" cap="none" spc="0" normalizeH="0" baseline="0" noProof="0">
                <a:ln>
                  <a:noFill/>
                </a:ln>
                <a:solidFill>
                  <a:srgbClr val="000000">
                    <a:lumMod val="75000"/>
                    <a:lumOff val="2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rPr>
              <a:t>部门名称</a:t>
            </a:r>
            <a:endParaRPr kumimoji="0" lang="zh-CN" altLang="en-US" sz="1600" b="0" i="0" u="none" strike="noStrike" kern="1200" cap="none" spc="0" normalizeH="0" baseline="0" noProof="0" dirty="0">
              <a:ln>
                <a:noFill/>
              </a:ln>
              <a:solidFill>
                <a:srgbClr val="000000">
                  <a:lumMod val="75000"/>
                  <a:lumOff val="2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p:txBody>
      </p:sp>
      <p:sp>
        <p:nvSpPr>
          <p:cNvPr id="61" name="任意多边形: 形状 60">
            <a:extLst>
              <a:ext uri="{FF2B5EF4-FFF2-40B4-BE49-F238E27FC236}">
                <a16:creationId xmlns:a16="http://schemas.microsoft.com/office/drawing/2014/main" id="{7FD4034D-D4ED-4196-8093-0C91E0D897A0}"/>
              </a:ext>
            </a:extLst>
          </p:cNvPr>
          <p:cNvSpPr/>
          <p:nvPr/>
        </p:nvSpPr>
        <p:spPr>
          <a:xfrm>
            <a:off x="3590288" y="4318213"/>
            <a:ext cx="1354319" cy="106625"/>
          </a:xfrm>
          <a:custGeom>
            <a:avLst/>
            <a:gdLst>
              <a:gd name="connsiteX0" fmla="*/ 108134 w 1189215"/>
              <a:gd name="connsiteY0" fmla="*/ 0 h 133700"/>
              <a:gd name="connsiteX1" fmla="*/ 1081081 w 1189215"/>
              <a:gd name="connsiteY1" fmla="*/ 0 h 133700"/>
              <a:gd name="connsiteX2" fmla="*/ 1189215 w 1189215"/>
              <a:gd name="connsiteY2" fmla="*/ 108134 h 133700"/>
              <a:gd name="connsiteX3" fmla="*/ 1189215 w 1189215"/>
              <a:gd name="connsiteY3" fmla="*/ 133700 h 133700"/>
              <a:gd name="connsiteX4" fmla="*/ 0 w 1189215"/>
              <a:gd name="connsiteY4" fmla="*/ 133700 h 133700"/>
              <a:gd name="connsiteX5" fmla="*/ 0 w 1189215"/>
              <a:gd name="connsiteY5" fmla="*/ 108134 h 133700"/>
              <a:gd name="connsiteX6" fmla="*/ 108134 w 1189215"/>
              <a:gd name="connsiteY6" fmla="*/ 0 h 133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89215" h="133700">
                <a:moveTo>
                  <a:pt x="108134" y="0"/>
                </a:moveTo>
                <a:lnTo>
                  <a:pt x="1081081" y="0"/>
                </a:lnTo>
                <a:cubicBezTo>
                  <a:pt x="1140802" y="0"/>
                  <a:pt x="1189215" y="48413"/>
                  <a:pt x="1189215" y="108134"/>
                </a:cubicBezTo>
                <a:lnTo>
                  <a:pt x="1189215" y="133700"/>
                </a:lnTo>
                <a:lnTo>
                  <a:pt x="0" y="133700"/>
                </a:lnTo>
                <a:lnTo>
                  <a:pt x="0" y="108134"/>
                </a:lnTo>
                <a:cubicBezTo>
                  <a:pt x="0" y="48413"/>
                  <a:pt x="48413" y="0"/>
                  <a:pt x="108134" y="0"/>
                </a:cubicBezTo>
                <a:close/>
              </a:path>
            </a:pathLst>
          </a:cu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5720" tIns="22860" rIns="45720" bIns="228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600" b="0" i="0" u="none" strike="noStrike" kern="1200" cap="none" spc="0" normalizeH="0" baseline="0" noProof="0" dirty="0">
              <a:ln>
                <a:noFill/>
              </a:ln>
              <a:solidFill>
                <a:srgbClr val="FFFFFF"/>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p:txBody>
      </p:sp>
      <p:sp>
        <p:nvSpPr>
          <p:cNvPr id="62" name="任意多边形: 形状 61">
            <a:extLst>
              <a:ext uri="{FF2B5EF4-FFF2-40B4-BE49-F238E27FC236}">
                <a16:creationId xmlns:a16="http://schemas.microsoft.com/office/drawing/2014/main" id="{6185C1C8-0644-4C87-AE62-388C4E4C8F83}"/>
              </a:ext>
            </a:extLst>
          </p:cNvPr>
          <p:cNvSpPr/>
          <p:nvPr/>
        </p:nvSpPr>
        <p:spPr>
          <a:xfrm>
            <a:off x="3590288" y="4424838"/>
            <a:ext cx="1354319" cy="438520"/>
          </a:xfrm>
          <a:custGeom>
            <a:avLst/>
            <a:gdLst>
              <a:gd name="connsiteX0" fmla="*/ 0 w 1189215"/>
              <a:gd name="connsiteY0" fmla="*/ 0 h 549873"/>
              <a:gd name="connsiteX1" fmla="*/ 1189215 w 1189215"/>
              <a:gd name="connsiteY1" fmla="*/ 0 h 549873"/>
              <a:gd name="connsiteX2" fmla="*/ 1189215 w 1189215"/>
              <a:gd name="connsiteY2" fmla="*/ 441739 h 549873"/>
              <a:gd name="connsiteX3" fmla="*/ 1081081 w 1189215"/>
              <a:gd name="connsiteY3" fmla="*/ 549873 h 549873"/>
              <a:gd name="connsiteX4" fmla="*/ 108134 w 1189215"/>
              <a:gd name="connsiteY4" fmla="*/ 549873 h 549873"/>
              <a:gd name="connsiteX5" fmla="*/ 0 w 1189215"/>
              <a:gd name="connsiteY5" fmla="*/ 441739 h 549873"/>
              <a:gd name="connsiteX6" fmla="*/ 0 w 1189215"/>
              <a:gd name="connsiteY6" fmla="*/ 0 h 549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89215" h="549873">
                <a:moveTo>
                  <a:pt x="0" y="0"/>
                </a:moveTo>
                <a:lnTo>
                  <a:pt x="1189215" y="0"/>
                </a:lnTo>
                <a:lnTo>
                  <a:pt x="1189215" y="441739"/>
                </a:lnTo>
                <a:cubicBezTo>
                  <a:pt x="1189215" y="501460"/>
                  <a:pt x="1140802" y="549873"/>
                  <a:pt x="1081081" y="549873"/>
                </a:cubicBezTo>
                <a:lnTo>
                  <a:pt x="108134" y="549873"/>
                </a:lnTo>
                <a:cubicBezTo>
                  <a:pt x="48413" y="549873"/>
                  <a:pt x="0" y="501460"/>
                  <a:pt x="0" y="441739"/>
                </a:cubicBezTo>
                <a:lnTo>
                  <a:pt x="0" y="0"/>
                </a:lnTo>
                <a:close/>
              </a:path>
            </a:pathLst>
          </a:cu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5720" tIns="22860" rIns="45720" bIns="228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600" b="0" i="0" u="none" strike="noStrike" kern="1200" cap="none" spc="0" normalizeH="0" baseline="0" noProof="0">
                <a:ln>
                  <a:noFill/>
                </a:ln>
                <a:solidFill>
                  <a:srgbClr val="000000">
                    <a:lumMod val="75000"/>
                    <a:lumOff val="2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rPr>
              <a:t>部门名称</a:t>
            </a:r>
            <a:endParaRPr kumimoji="0" lang="zh-CN" altLang="en-US" sz="1600" b="0" i="0" u="none" strike="noStrike" kern="1200" cap="none" spc="0" normalizeH="0" baseline="0" noProof="0" dirty="0">
              <a:ln>
                <a:noFill/>
              </a:ln>
              <a:solidFill>
                <a:srgbClr val="000000">
                  <a:lumMod val="75000"/>
                  <a:lumOff val="2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p:txBody>
      </p:sp>
      <p:sp>
        <p:nvSpPr>
          <p:cNvPr id="66" name="任意多边形: 形状 65">
            <a:extLst>
              <a:ext uri="{FF2B5EF4-FFF2-40B4-BE49-F238E27FC236}">
                <a16:creationId xmlns:a16="http://schemas.microsoft.com/office/drawing/2014/main" id="{1568E45C-2CC5-4470-BC6D-52851AB3DFFE}"/>
              </a:ext>
            </a:extLst>
          </p:cNvPr>
          <p:cNvSpPr/>
          <p:nvPr/>
        </p:nvSpPr>
        <p:spPr>
          <a:xfrm>
            <a:off x="3590288" y="5060421"/>
            <a:ext cx="1354319" cy="106625"/>
          </a:xfrm>
          <a:custGeom>
            <a:avLst/>
            <a:gdLst>
              <a:gd name="connsiteX0" fmla="*/ 108134 w 1189215"/>
              <a:gd name="connsiteY0" fmla="*/ 0 h 133700"/>
              <a:gd name="connsiteX1" fmla="*/ 1081081 w 1189215"/>
              <a:gd name="connsiteY1" fmla="*/ 0 h 133700"/>
              <a:gd name="connsiteX2" fmla="*/ 1189215 w 1189215"/>
              <a:gd name="connsiteY2" fmla="*/ 108134 h 133700"/>
              <a:gd name="connsiteX3" fmla="*/ 1189215 w 1189215"/>
              <a:gd name="connsiteY3" fmla="*/ 133700 h 133700"/>
              <a:gd name="connsiteX4" fmla="*/ 0 w 1189215"/>
              <a:gd name="connsiteY4" fmla="*/ 133700 h 133700"/>
              <a:gd name="connsiteX5" fmla="*/ 0 w 1189215"/>
              <a:gd name="connsiteY5" fmla="*/ 108134 h 133700"/>
              <a:gd name="connsiteX6" fmla="*/ 108134 w 1189215"/>
              <a:gd name="connsiteY6" fmla="*/ 0 h 133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89215" h="133700">
                <a:moveTo>
                  <a:pt x="108134" y="0"/>
                </a:moveTo>
                <a:lnTo>
                  <a:pt x="1081081" y="0"/>
                </a:lnTo>
                <a:cubicBezTo>
                  <a:pt x="1140802" y="0"/>
                  <a:pt x="1189215" y="48413"/>
                  <a:pt x="1189215" y="108134"/>
                </a:cubicBezTo>
                <a:lnTo>
                  <a:pt x="1189215" y="133700"/>
                </a:lnTo>
                <a:lnTo>
                  <a:pt x="0" y="133700"/>
                </a:lnTo>
                <a:lnTo>
                  <a:pt x="0" y="108134"/>
                </a:lnTo>
                <a:cubicBezTo>
                  <a:pt x="0" y="48413"/>
                  <a:pt x="48413" y="0"/>
                  <a:pt x="108134" y="0"/>
                </a:cubicBezTo>
                <a:close/>
              </a:path>
            </a:pathLst>
          </a:cu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5720" tIns="22860" rIns="45720" bIns="228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600" b="0" i="0" u="none" strike="noStrike" kern="1200" cap="none" spc="0" normalizeH="0" baseline="0" noProof="0" dirty="0">
              <a:ln>
                <a:noFill/>
              </a:ln>
              <a:solidFill>
                <a:srgbClr val="FFFFFF"/>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p:txBody>
      </p:sp>
      <p:sp>
        <p:nvSpPr>
          <p:cNvPr id="67" name="任意多边形: 形状 66">
            <a:extLst>
              <a:ext uri="{FF2B5EF4-FFF2-40B4-BE49-F238E27FC236}">
                <a16:creationId xmlns:a16="http://schemas.microsoft.com/office/drawing/2014/main" id="{9B37D175-CCE5-4D4D-87EB-0B5EFDAF48CD}"/>
              </a:ext>
            </a:extLst>
          </p:cNvPr>
          <p:cNvSpPr/>
          <p:nvPr/>
        </p:nvSpPr>
        <p:spPr>
          <a:xfrm>
            <a:off x="3590288" y="5167046"/>
            <a:ext cx="1354319" cy="438520"/>
          </a:xfrm>
          <a:custGeom>
            <a:avLst/>
            <a:gdLst>
              <a:gd name="connsiteX0" fmla="*/ 0 w 1189215"/>
              <a:gd name="connsiteY0" fmla="*/ 0 h 549873"/>
              <a:gd name="connsiteX1" fmla="*/ 1189215 w 1189215"/>
              <a:gd name="connsiteY1" fmla="*/ 0 h 549873"/>
              <a:gd name="connsiteX2" fmla="*/ 1189215 w 1189215"/>
              <a:gd name="connsiteY2" fmla="*/ 441739 h 549873"/>
              <a:gd name="connsiteX3" fmla="*/ 1081081 w 1189215"/>
              <a:gd name="connsiteY3" fmla="*/ 549873 h 549873"/>
              <a:gd name="connsiteX4" fmla="*/ 108134 w 1189215"/>
              <a:gd name="connsiteY4" fmla="*/ 549873 h 549873"/>
              <a:gd name="connsiteX5" fmla="*/ 0 w 1189215"/>
              <a:gd name="connsiteY5" fmla="*/ 441739 h 549873"/>
              <a:gd name="connsiteX6" fmla="*/ 0 w 1189215"/>
              <a:gd name="connsiteY6" fmla="*/ 0 h 549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89215" h="549873">
                <a:moveTo>
                  <a:pt x="0" y="0"/>
                </a:moveTo>
                <a:lnTo>
                  <a:pt x="1189215" y="0"/>
                </a:lnTo>
                <a:lnTo>
                  <a:pt x="1189215" y="441739"/>
                </a:lnTo>
                <a:cubicBezTo>
                  <a:pt x="1189215" y="501460"/>
                  <a:pt x="1140802" y="549873"/>
                  <a:pt x="1081081" y="549873"/>
                </a:cubicBezTo>
                <a:lnTo>
                  <a:pt x="108134" y="549873"/>
                </a:lnTo>
                <a:cubicBezTo>
                  <a:pt x="48413" y="549873"/>
                  <a:pt x="0" y="501460"/>
                  <a:pt x="0" y="441739"/>
                </a:cubicBezTo>
                <a:lnTo>
                  <a:pt x="0" y="0"/>
                </a:lnTo>
                <a:close/>
              </a:path>
            </a:pathLst>
          </a:cu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5720" tIns="22860" rIns="45720" bIns="228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600" b="0" i="0" u="none" strike="noStrike" kern="1200" cap="none" spc="0" normalizeH="0" baseline="0" noProof="0">
                <a:ln>
                  <a:noFill/>
                </a:ln>
                <a:solidFill>
                  <a:srgbClr val="000000">
                    <a:lumMod val="75000"/>
                    <a:lumOff val="2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rPr>
              <a:t>部门名称</a:t>
            </a:r>
            <a:endParaRPr kumimoji="0" lang="zh-CN" altLang="en-US" sz="1600" b="0" i="0" u="none" strike="noStrike" kern="1200" cap="none" spc="0" normalizeH="0" baseline="0" noProof="0" dirty="0">
              <a:ln>
                <a:noFill/>
              </a:ln>
              <a:solidFill>
                <a:srgbClr val="000000">
                  <a:lumMod val="75000"/>
                  <a:lumOff val="2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p:txBody>
      </p:sp>
      <p:sp>
        <p:nvSpPr>
          <p:cNvPr id="77" name="任意多边形: 形状 76">
            <a:extLst>
              <a:ext uri="{FF2B5EF4-FFF2-40B4-BE49-F238E27FC236}">
                <a16:creationId xmlns:a16="http://schemas.microsoft.com/office/drawing/2014/main" id="{825F3799-7DAC-4605-A1B6-8D853CE0C4D4}"/>
              </a:ext>
            </a:extLst>
          </p:cNvPr>
          <p:cNvSpPr/>
          <p:nvPr/>
        </p:nvSpPr>
        <p:spPr>
          <a:xfrm>
            <a:off x="5446530" y="3576005"/>
            <a:ext cx="1354319" cy="106625"/>
          </a:xfrm>
          <a:custGeom>
            <a:avLst/>
            <a:gdLst>
              <a:gd name="connsiteX0" fmla="*/ 108134 w 1189215"/>
              <a:gd name="connsiteY0" fmla="*/ 0 h 133700"/>
              <a:gd name="connsiteX1" fmla="*/ 1081081 w 1189215"/>
              <a:gd name="connsiteY1" fmla="*/ 0 h 133700"/>
              <a:gd name="connsiteX2" fmla="*/ 1189215 w 1189215"/>
              <a:gd name="connsiteY2" fmla="*/ 108134 h 133700"/>
              <a:gd name="connsiteX3" fmla="*/ 1189215 w 1189215"/>
              <a:gd name="connsiteY3" fmla="*/ 133700 h 133700"/>
              <a:gd name="connsiteX4" fmla="*/ 0 w 1189215"/>
              <a:gd name="connsiteY4" fmla="*/ 133700 h 133700"/>
              <a:gd name="connsiteX5" fmla="*/ 0 w 1189215"/>
              <a:gd name="connsiteY5" fmla="*/ 108134 h 133700"/>
              <a:gd name="connsiteX6" fmla="*/ 108134 w 1189215"/>
              <a:gd name="connsiteY6" fmla="*/ 0 h 133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89215" h="133700">
                <a:moveTo>
                  <a:pt x="108134" y="0"/>
                </a:moveTo>
                <a:lnTo>
                  <a:pt x="1081081" y="0"/>
                </a:lnTo>
                <a:cubicBezTo>
                  <a:pt x="1140802" y="0"/>
                  <a:pt x="1189215" y="48413"/>
                  <a:pt x="1189215" y="108134"/>
                </a:cubicBezTo>
                <a:lnTo>
                  <a:pt x="1189215" y="133700"/>
                </a:lnTo>
                <a:lnTo>
                  <a:pt x="0" y="133700"/>
                </a:lnTo>
                <a:lnTo>
                  <a:pt x="0" y="108134"/>
                </a:lnTo>
                <a:cubicBezTo>
                  <a:pt x="0" y="48413"/>
                  <a:pt x="48413" y="0"/>
                  <a:pt x="108134" y="0"/>
                </a:cubicBezTo>
                <a:close/>
              </a:path>
            </a:pathLst>
          </a:cu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5720" tIns="22860" rIns="45720" bIns="228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600" b="0" i="0" u="none" strike="noStrike" kern="1200" cap="none" spc="0" normalizeH="0" baseline="0" noProof="0" dirty="0">
              <a:ln>
                <a:noFill/>
              </a:ln>
              <a:solidFill>
                <a:srgbClr val="FFFFFF"/>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p:txBody>
      </p:sp>
      <p:sp>
        <p:nvSpPr>
          <p:cNvPr id="78" name="任意多边形: 形状 77">
            <a:extLst>
              <a:ext uri="{FF2B5EF4-FFF2-40B4-BE49-F238E27FC236}">
                <a16:creationId xmlns:a16="http://schemas.microsoft.com/office/drawing/2014/main" id="{1C7B8B53-D675-4C01-98AE-E48C3B647B76}"/>
              </a:ext>
            </a:extLst>
          </p:cNvPr>
          <p:cNvSpPr/>
          <p:nvPr/>
        </p:nvSpPr>
        <p:spPr>
          <a:xfrm>
            <a:off x="5446530" y="3682630"/>
            <a:ext cx="1354319" cy="438520"/>
          </a:xfrm>
          <a:custGeom>
            <a:avLst/>
            <a:gdLst>
              <a:gd name="connsiteX0" fmla="*/ 0 w 1189215"/>
              <a:gd name="connsiteY0" fmla="*/ 0 h 549873"/>
              <a:gd name="connsiteX1" fmla="*/ 1189215 w 1189215"/>
              <a:gd name="connsiteY1" fmla="*/ 0 h 549873"/>
              <a:gd name="connsiteX2" fmla="*/ 1189215 w 1189215"/>
              <a:gd name="connsiteY2" fmla="*/ 441739 h 549873"/>
              <a:gd name="connsiteX3" fmla="*/ 1081081 w 1189215"/>
              <a:gd name="connsiteY3" fmla="*/ 549873 h 549873"/>
              <a:gd name="connsiteX4" fmla="*/ 108134 w 1189215"/>
              <a:gd name="connsiteY4" fmla="*/ 549873 h 549873"/>
              <a:gd name="connsiteX5" fmla="*/ 0 w 1189215"/>
              <a:gd name="connsiteY5" fmla="*/ 441739 h 549873"/>
              <a:gd name="connsiteX6" fmla="*/ 0 w 1189215"/>
              <a:gd name="connsiteY6" fmla="*/ 0 h 549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89215" h="549873">
                <a:moveTo>
                  <a:pt x="0" y="0"/>
                </a:moveTo>
                <a:lnTo>
                  <a:pt x="1189215" y="0"/>
                </a:lnTo>
                <a:lnTo>
                  <a:pt x="1189215" y="441739"/>
                </a:lnTo>
                <a:cubicBezTo>
                  <a:pt x="1189215" y="501460"/>
                  <a:pt x="1140802" y="549873"/>
                  <a:pt x="1081081" y="549873"/>
                </a:cubicBezTo>
                <a:lnTo>
                  <a:pt x="108134" y="549873"/>
                </a:lnTo>
                <a:cubicBezTo>
                  <a:pt x="48413" y="549873"/>
                  <a:pt x="0" y="501460"/>
                  <a:pt x="0" y="441739"/>
                </a:cubicBezTo>
                <a:lnTo>
                  <a:pt x="0" y="0"/>
                </a:lnTo>
                <a:close/>
              </a:path>
            </a:pathLst>
          </a:cu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5720" tIns="22860" rIns="45720" bIns="228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600" b="0" i="0" u="none" strike="noStrike" kern="1200" cap="none" spc="0" normalizeH="0" baseline="0" noProof="0">
                <a:ln>
                  <a:noFill/>
                </a:ln>
                <a:solidFill>
                  <a:srgbClr val="000000">
                    <a:lumMod val="75000"/>
                    <a:lumOff val="2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rPr>
              <a:t>部门名称</a:t>
            </a:r>
            <a:endParaRPr kumimoji="0" lang="zh-CN" altLang="en-US" sz="1600" b="0" i="0" u="none" strike="noStrike" kern="1200" cap="none" spc="0" normalizeH="0" baseline="0" noProof="0" dirty="0">
              <a:ln>
                <a:noFill/>
              </a:ln>
              <a:solidFill>
                <a:srgbClr val="000000">
                  <a:lumMod val="75000"/>
                  <a:lumOff val="2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p:txBody>
      </p:sp>
      <p:sp>
        <p:nvSpPr>
          <p:cNvPr id="80" name="任意多边形: 形状 79">
            <a:extLst>
              <a:ext uri="{FF2B5EF4-FFF2-40B4-BE49-F238E27FC236}">
                <a16:creationId xmlns:a16="http://schemas.microsoft.com/office/drawing/2014/main" id="{65FE5F3D-FA87-4463-860A-93EBFE41F974}"/>
              </a:ext>
            </a:extLst>
          </p:cNvPr>
          <p:cNvSpPr/>
          <p:nvPr/>
        </p:nvSpPr>
        <p:spPr>
          <a:xfrm>
            <a:off x="5446530" y="4318213"/>
            <a:ext cx="1354319" cy="106625"/>
          </a:xfrm>
          <a:custGeom>
            <a:avLst/>
            <a:gdLst>
              <a:gd name="connsiteX0" fmla="*/ 108134 w 1189215"/>
              <a:gd name="connsiteY0" fmla="*/ 0 h 133700"/>
              <a:gd name="connsiteX1" fmla="*/ 1081081 w 1189215"/>
              <a:gd name="connsiteY1" fmla="*/ 0 h 133700"/>
              <a:gd name="connsiteX2" fmla="*/ 1189215 w 1189215"/>
              <a:gd name="connsiteY2" fmla="*/ 108134 h 133700"/>
              <a:gd name="connsiteX3" fmla="*/ 1189215 w 1189215"/>
              <a:gd name="connsiteY3" fmla="*/ 133700 h 133700"/>
              <a:gd name="connsiteX4" fmla="*/ 0 w 1189215"/>
              <a:gd name="connsiteY4" fmla="*/ 133700 h 133700"/>
              <a:gd name="connsiteX5" fmla="*/ 0 w 1189215"/>
              <a:gd name="connsiteY5" fmla="*/ 108134 h 133700"/>
              <a:gd name="connsiteX6" fmla="*/ 108134 w 1189215"/>
              <a:gd name="connsiteY6" fmla="*/ 0 h 133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89215" h="133700">
                <a:moveTo>
                  <a:pt x="108134" y="0"/>
                </a:moveTo>
                <a:lnTo>
                  <a:pt x="1081081" y="0"/>
                </a:lnTo>
                <a:cubicBezTo>
                  <a:pt x="1140802" y="0"/>
                  <a:pt x="1189215" y="48413"/>
                  <a:pt x="1189215" y="108134"/>
                </a:cubicBezTo>
                <a:lnTo>
                  <a:pt x="1189215" y="133700"/>
                </a:lnTo>
                <a:lnTo>
                  <a:pt x="0" y="133700"/>
                </a:lnTo>
                <a:lnTo>
                  <a:pt x="0" y="108134"/>
                </a:lnTo>
                <a:cubicBezTo>
                  <a:pt x="0" y="48413"/>
                  <a:pt x="48413" y="0"/>
                  <a:pt x="108134" y="0"/>
                </a:cubicBezTo>
                <a:close/>
              </a:path>
            </a:pathLst>
          </a:cu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5720" tIns="22860" rIns="45720" bIns="228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600" b="0" i="0" u="none" strike="noStrike" kern="1200" cap="none" spc="0" normalizeH="0" baseline="0" noProof="0" dirty="0">
              <a:ln>
                <a:noFill/>
              </a:ln>
              <a:solidFill>
                <a:srgbClr val="FFFFFF"/>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p:txBody>
      </p:sp>
      <p:sp>
        <p:nvSpPr>
          <p:cNvPr id="81" name="任意多边形: 形状 80">
            <a:extLst>
              <a:ext uri="{FF2B5EF4-FFF2-40B4-BE49-F238E27FC236}">
                <a16:creationId xmlns:a16="http://schemas.microsoft.com/office/drawing/2014/main" id="{E3FEE7CA-FF91-4F72-ABB5-DD70F23886AC}"/>
              </a:ext>
            </a:extLst>
          </p:cNvPr>
          <p:cNvSpPr/>
          <p:nvPr/>
        </p:nvSpPr>
        <p:spPr>
          <a:xfrm>
            <a:off x="5446530" y="4424838"/>
            <a:ext cx="1354319" cy="438520"/>
          </a:xfrm>
          <a:custGeom>
            <a:avLst/>
            <a:gdLst>
              <a:gd name="connsiteX0" fmla="*/ 0 w 1189215"/>
              <a:gd name="connsiteY0" fmla="*/ 0 h 549873"/>
              <a:gd name="connsiteX1" fmla="*/ 1189215 w 1189215"/>
              <a:gd name="connsiteY1" fmla="*/ 0 h 549873"/>
              <a:gd name="connsiteX2" fmla="*/ 1189215 w 1189215"/>
              <a:gd name="connsiteY2" fmla="*/ 441739 h 549873"/>
              <a:gd name="connsiteX3" fmla="*/ 1081081 w 1189215"/>
              <a:gd name="connsiteY3" fmla="*/ 549873 h 549873"/>
              <a:gd name="connsiteX4" fmla="*/ 108134 w 1189215"/>
              <a:gd name="connsiteY4" fmla="*/ 549873 h 549873"/>
              <a:gd name="connsiteX5" fmla="*/ 0 w 1189215"/>
              <a:gd name="connsiteY5" fmla="*/ 441739 h 549873"/>
              <a:gd name="connsiteX6" fmla="*/ 0 w 1189215"/>
              <a:gd name="connsiteY6" fmla="*/ 0 h 549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89215" h="549873">
                <a:moveTo>
                  <a:pt x="0" y="0"/>
                </a:moveTo>
                <a:lnTo>
                  <a:pt x="1189215" y="0"/>
                </a:lnTo>
                <a:lnTo>
                  <a:pt x="1189215" y="441739"/>
                </a:lnTo>
                <a:cubicBezTo>
                  <a:pt x="1189215" y="501460"/>
                  <a:pt x="1140802" y="549873"/>
                  <a:pt x="1081081" y="549873"/>
                </a:cubicBezTo>
                <a:lnTo>
                  <a:pt x="108134" y="549873"/>
                </a:lnTo>
                <a:cubicBezTo>
                  <a:pt x="48413" y="549873"/>
                  <a:pt x="0" y="501460"/>
                  <a:pt x="0" y="441739"/>
                </a:cubicBezTo>
                <a:lnTo>
                  <a:pt x="0" y="0"/>
                </a:lnTo>
                <a:close/>
              </a:path>
            </a:pathLst>
          </a:cu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5720" tIns="22860" rIns="45720" bIns="228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600" b="0" i="0" u="none" strike="noStrike" kern="1200" cap="none" spc="0" normalizeH="0" baseline="0" noProof="0">
                <a:ln>
                  <a:noFill/>
                </a:ln>
                <a:solidFill>
                  <a:srgbClr val="000000">
                    <a:lumMod val="75000"/>
                    <a:lumOff val="2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rPr>
              <a:t>部门名称</a:t>
            </a:r>
            <a:endParaRPr kumimoji="0" lang="zh-CN" altLang="en-US" sz="1600" b="0" i="0" u="none" strike="noStrike" kern="1200" cap="none" spc="0" normalizeH="0" baseline="0" noProof="0" dirty="0">
              <a:ln>
                <a:noFill/>
              </a:ln>
              <a:solidFill>
                <a:srgbClr val="000000">
                  <a:lumMod val="75000"/>
                  <a:lumOff val="2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p:txBody>
      </p:sp>
      <p:sp>
        <p:nvSpPr>
          <p:cNvPr id="85" name="任意多边形: 形状 84">
            <a:extLst>
              <a:ext uri="{FF2B5EF4-FFF2-40B4-BE49-F238E27FC236}">
                <a16:creationId xmlns:a16="http://schemas.microsoft.com/office/drawing/2014/main" id="{DF9870FA-E5B0-44D8-8A24-A0111EF052EB}"/>
              </a:ext>
            </a:extLst>
          </p:cNvPr>
          <p:cNvSpPr/>
          <p:nvPr/>
        </p:nvSpPr>
        <p:spPr>
          <a:xfrm>
            <a:off x="5446530" y="5060421"/>
            <a:ext cx="1354319" cy="106625"/>
          </a:xfrm>
          <a:custGeom>
            <a:avLst/>
            <a:gdLst>
              <a:gd name="connsiteX0" fmla="*/ 108134 w 1189215"/>
              <a:gd name="connsiteY0" fmla="*/ 0 h 133700"/>
              <a:gd name="connsiteX1" fmla="*/ 1081081 w 1189215"/>
              <a:gd name="connsiteY1" fmla="*/ 0 h 133700"/>
              <a:gd name="connsiteX2" fmla="*/ 1189215 w 1189215"/>
              <a:gd name="connsiteY2" fmla="*/ 108134 h 133700"/>
              <a:gd name="connsiteX3" fmla="*/ 1189215 w 1189215"/>
              <a:gd name="connsiteY3" fmla="*/ 133700 h 133700"/>
              <a:gd name="connsiteX4" fmla="*/ 0 w 1189215"/>
              <a:gd name="connsiteY4" fmla="*/ 133700 h 133700"/>
              <a:gd name="connsiteX5" fmla="*/ 0 w 1189215"/>
              <a:gd name="connsiteY5" fmla="*/ 108134 h 133700"/>
              <a:gd name="connsiteX6" fmla="*/ 108134 w 1189215"/>
              <a:gd name="connsiteY6" fmla="*/ 0 h 133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89215" h="133700">
                <a:moveTo>
                  <a:pt x="108134" y="0"/>
                </a:moveTo>
                <a:lnTo>
                  <a:pt x="1081081" y="0"/>
                </a:lnTo>
                <a:cubicBezTo>
                  <a:pt x="1140802" y="0"/>
                  <a:pt x="1189215" y="48413"/>
                  <a:pt x="1189215" y="108134"/>
                </a:cubicBezTo>
                <a:lnTo>
                  <a:pt x="1189215" y="133700"/>
                </a:lnTo>
                <a:lnTo>
                  <a:pt x="0" y="133700"/>
                </a:lnTo>
                <a:lnTo>
                  <a:pt x="0" y="108134"/>
                </a:lnTo>
                <a:cubicBezTo>
                  <a:pt x="0" y="48413"/>
                  <a:pt x="48413" y="0"/>
                  <a:pt x="108134" y="0"/>
                </a:cubicBezTo>
                <a:close/>
              </a:path>
            </a:pathLst>
          </a:cu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5720" tIns="22860" rIns="45720" bIns="228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600" b="0" i="0" u="none" strike="noStrike" kern="1200" cap="none" spc="0" normalizeH="0" baseline="0" noProof="0" dirty="0">
              <a:ln>
                <a:noFill/>
              </a:ln>
              <a:solidFill>
                <a:srgbClr val="FFFFFF"/>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p:txBody>
      </p:sp>
      <p:sp>
        <p:nvSpPr>
          <p:cNvPr id="87" name="任意多边形: 形状 86">
            <a:extLst>
              <a:ext uri="{FF2B5EF4-FFF2-40B4-BE49-F238E27FC236}">
                <a16:creationId xmlns:a16="http://schemas.microsoft.com/office/drawing/2014/main" id="{D5A181B1-5A1A-4AAA-846F-776FE3BAFF88}"/>
              </a:ext>
            </a:extLst>
          </p:cNvPr>
          <p:cNvSpPr/>
          <p:nvPr/>
        </p:nvSpPr>
        <p:spPr>
          <a:xfrm>
            <a:off x="5446530" y="5167046"/>
            <a:ext cx="1354319" cy="438520"/>
          </a:xfrm>
          <a:custGeom>
            <a:avLst/>
            <a:gdLst>
              <a:gd name="connsiteX0" fmla="*/ 0 w 1189215"/>
              <a:gd name="connsiteY0" fmla="*/ 0 h 549873"/>
              <a:gd name="connsiteX1" fmla="*/ 1189215 w 1189215"/>
              <a:gd name="connsiteY1" fmla="*/ 0 h 549873"/>
              <a:gd name="connsiteX2" fmla="*/ 1189215 w 1189215"/>
              <a:gd name="connsiteY2" fmla="*/ 441739 h 549873"/>
              <a:gd name="connsiteX3" fmla="*/ 1081081 w 1189215"/>
              <a:gd name="connsiteY3" fmla="*/ 549873 h 549873"/>
              <a:gd name="connsiteX4" fmla="*/ 108134 w 1189215"/>
              <a:gd name="connsiteY4" fmla="*/ 549873 h 549873"/>
              <a:gd name="connsiteX5" fmla="*/ 0 w 1189215"/>
              <a:gd name="connsiteY5" fmla="*/ 441739 h 549873"/>
              <a:gd name="connsiteX6" fmla="*/ 0 w 1189215"/>
              <a:gd name="connsiteY6" fmla="*/ 0 h 549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89215" h="549873">
                <a:moveTo>
                  <a:pt x="0" y="0"/>
                </a:moveTo>
                <a:lnTo>
                  <a:pt x="1189215" y="0"/>
                </a:lnTo>
                <a:lnTo>
                  <a:pt x="1189215" y="441739"/>
                </a:lnTo>
                <a:cubicBezTo>
                  <a:pt x="1189215" y="501460"/>
                  <a:pt x="1140802" y="549873"/>
                  <a:pt x="1081081" y="549873"/>
                </a:cubicBezTo>
                <a:lnTo>
                  <a:pt x="108134" y="549873"/>
                </a:lnTo>
                <a:cubicBezTo>
                  <a:pt x="48413" y="549873"/>
                  <a:pt x="0" y="501460"/>
                  <a:pt x="0" y="441739"/>
                </a:cubicBezTo>
                <a:lnTo>
                  <a:pt x="0" y="0"/>
                </a:lnTo>
                <a:close/>
              </a:path>
            </a:pathLst>
          </a:cu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5720" tIns="22860" rIns="45720" bIns="228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600" b="0" i="0" u="none" strike="noStrike" kern="1200" cap="none" spc="0" normalizeH="0" baseline="0" noProof="0">
                <a:ln>
                  <a:noFill/>
                </a:ln>
                <a:solidFill>
                  <a:srgbClr val="000000">
                    <a:lumMod val="75000"/>
                    <a:lumOff val="2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rPr>
              <a:t>部门名称</a:t>
            </a:r>
            <a:endParaRPr kumimoji="0" lang="zh-CN" altLang="en-US" sz="1600" b="0" i="0" u="none" strike="noStrike" kern="1200" cap="none" spc="0" normalizeH="0" baseline="0" noProof="0" dirty="0">
              <a:ln>
                <a:noFill/>
              </a:ln>
              <a:solidFill>
                <a:srgbClr val="000000">
                  <a:lumMod val="75000"/>
                  <a:lumOff val="2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p:txBody>
      </p:sp>
      <p:sp>
        <p:nvSpPr>
          <p:cNvPr id="94" name="任意多边形: 形状 93">
            <a:extLst>
              <a:ext uri="{FF2B5EF4-FFF2-40B4-BE49-F238E27FC236}">
                <a16:creationId xmlns:a16="http://schemas.microsoft.com/office/drawing/2014/main" id="{5BBD7956-320A-49B2-B4F5-D8F79D08481C}"/>
              </a:ext>
            </a:extLst>
          </p:cNvPr>
          <p:cNvSpPr/>
          <p:nvPr/>
        </p:nvSpPr>
        <p:spPr>
          <a:xfrm>
            <a:off x="5446530" y="5802629"/>
            <a:ext cx="1354319" cy="106625"/>
          </a:xfrm>
          <a:custGeom>
            <a:avLst/>
            <a:gdLst>
              <a:gd name="connsiteX0" fmla="*/ 108134 w 1189215"/>
              <a:gd name="connsiteY0" fmla="*/ 0 h 133700"/>
              <a:gd name="connsiteX1" fmla="*/ 1081081 w 1189215"/>
              <a:gd name="connsiteY1" fmla="*/ 0 h 133700"/>
              <a:gd name="connsiteX2" fmla="*/ 1189215 w 1189215"/>
              <a:gd name="connsiteY2" fmla="*/ 108134 h 133700"/>
              <a:gd name="connsiteX3" fmla="*/ 1189215 w 1189215"/>
              <a:gd name="connsiteY3" fmla="*/ 133700 h 133700"/>
              <a:gd name="connsiteX4" fmla="*/ 0 w 1189215"/>
              <a:gd name="connsiteY4" fmla="*/ 133700 h 133700"/>
              <a:gd name="connsiteX5" fmla="*/ 0 w 1189215"/>
              <a:gd name="connsiteY5" fmla="*/ 108134 h 133700"/>
              <a:gd name="connsiteX6" fmla="*/ 108134 w 1189215"/>
              <a:gd name="connsiteY6" fmla="*/ 0 h 133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89215" h="133700">
                <a:moveTo>
                  <a:pt x="108134" y="0"/>
                </a:moveTo>
                <a:lnTo>
                  <a:pt x="1081081" y="0"/>
                </a:lnTo>
                <a:cubicBezTo>
                  <a:pt x="1140802" y="0"/>
                  <a:pt x="1189215" y="48413"/>
                  <a:pt x="1189215" y="108134"/>
                </a:cubicBezTo>
                <a:lnTo>
                  <a:pt x="1189215" y="133700"/>
                </a:lnTo>
                <a:lnTo>
                  <a:pt x="0" y="133700"/>
                </a:lnTo>
                <a:lnTo>
                  <a:pt x="0" y="108134"/>
                </a:lnTo>
                <a:cubicBezTo>
                  <a:pt x="0" y="48413"/>
                  <a:pt x="48413" y="0"/>
                  <a:pt x="108134" y="0"/>
                </a:cubicBezTo>
                <a:close/>
              </a:path>
            </a:pathLst>
          </a:cu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5720" tIns="22860" rIns="45720" bIns="228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600" b="0" i="0" u="none" strike="noStrike" kern="1200" cap="none" spc="0" normalizeH="0" baseline="0" noProof="0" dirty="0">
              <a:ln>
                <a:noFill/>
              </a:ln>
              <a:solidFill>
                <a:srgbClr val="FFFFFF"/>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p:txBody>
      </p:sp>
      <p:sp>
        <p:nvSpPr>
          <p:cNvPr id="95" name="任意多边形: 形状 94">
            <a:extLst>
              <a:ext uri="{FF2B5EF4-FFF2-40B4-BE49-F238E27FC236}">
                <a16:creationId xmlns:a16="http://schemas.microsoft.com/office/drawing/2014/main" id="{0E5E4FA0-22CD-4C7C-A196-ED81AA15DE8B}"/>
              </a:ext>
            </a:extLst>
          </p:cNvPr>
          <p:cNvSpPr/>
          <p:nvPr/>
        </p:nvSpPr>
        <p:spPr>
          <a:xfrm>
            <a:off x="5446530" y="5909254"/>
            <a:ext cx="1354319" cy="438520"/>
          </a:xfrm>
          <a:custGeom>
            <a:avLst/>
            <a:gdLst>
              <a:gd name="connsiteX0" fmla="*/ 0 w 1189215"/>
              <a:gd name="connsiteY0" fmla="*/ 0 h 549873"/>
              <a:gd name="connsiteX1" fmla="*/ 1189215 w 1189215"/>
              <a:gd name="connsiteY1" fmla="*/ 0 h 549873"/>
              <a:gd name="connsiteX2" fmla="*/ 1189215 w 1189215"/>
              <a:gd name="connsiteY2" fmla="*/ 441739 h 549873"/>
              <a:gd name="connsiteX3" fmla="*/ 1081081 w 1189215"/>
              <a:gd name="connsiteY3" fmla="*/ 549873 h 549873"/>
              <a:gd name="connsiteX4" fmla="*/ 108134 w 1189215"/>
              <a:gd name="connsiteY4" fmla="*/ 549873 h 549873"/>
              <a:gd name="connsiteX5" fmla="*/ 0 w 1189215"/>
              <a:gd name="connsiteY5" fmla="*/ 441739 h 549873"/>
              <a:gd name="connsiteX6" fmla="*/ 0 w 1189215"/>
              <a:gd name="connsiteY6" fmla="*/ 0 h 549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89215" h="549873">
                <a:moveTo>
                  <a:pt x="0" y="0"/>
                </a:moveTo>
                <a:lnTo>
                  <a:pt x="1189215" y="0"/>
                </a:lnTo>
                <a:lnTo>
                  <a:pt x="1189215" y="441739"/>
                </a:lnTo>
                <a:cubicBezTo>
                  <a:pt x="1189215" y="501460"/>
                  <a:pt x="1140802" y="549873"/>
                  <a:pt x="1081081" y="549873"/>
                </a:cubicBezTo>
                <a:lnTo>
                  <a:pt x="108134" y="549873"/>
                </a:lnTo>
                <a:cubicBezTo>
                  <a:pt x="48413" y="549873"/>
                  <a:pt x="0" y="501460"/>
                  <a:pt x="0" y="441739"/>
                </a:cubicBezTo>
                <a:lnTo>
                  <a:pt x="0" y="0"/>
                </a:lnTo>
                <a:close/>
              </a:path>
            </a:pathLst>
          </a:cu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5720" tIns="22860" rIns="45720" bIns="228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600" b="0" i="0" u="none" strike="noStrike" kern="1200" cap="none" spc="0" normalizeH="0" baseline="0" noProof="0">
                <a:ln>
                  <a:noFill/>
                </a:ln>
                <a:solidFill>
                  <a:srgbClr val="000000">
                    <a:lumMod val="75000"/>
                    <a:lumOff val="2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rPr>
              <a:t>部门名称</a:t>
            </a:r>
            <a:endParaRPr kumimoji="0" lang="zh-CN" altLang="en-US" sz="1600" b="0" i="0" u="none" strike="noStrike" kern="1200" cap="none" spc="0" normalizeH="0" baseline="0" noProof="0" dirty="0">
              <a:ln>
                <a:noFill/>
              </a:ln>
              <a:solidFill>
                <a:srgbClr val="000000">
                  <a:lumMod val="75000"/>
                  <a:lumOff val="2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p:txBody>
      </p:sp>
      <p:sp>
        <p:nvSpPr>
          <p:cNvPr id="97" name="任意多边形: 形状 96">
            <a:extLst>
              <a:ext uri="{FF2B5EF4-FFF2-40B4-BE49-F238E27FC236}">
                <a16:creationId xmlns:a16="http://schemas.microsoft.com/office/drawing/2014/main" id="{B885C19F-D742-475B-8C2A-29645B85717E}"/>
              </a:ext>
            </a:extLst>
          </p:cNvPr>
          <p:cNvSpPr/>
          <p:nvPr/>
        </p:nvSpPr>
        <p:spPr>
          <a:xfrm>
            <a:off x="7302772" y="3576005"/>
            <a:ext cx="1354319" cy="106625"/>
          </a:xfrm>
          <a:custGeom>
            <a:avLst/>
            <a:gdLst>
              <a:gd name="connsiteX0" fmla="*/ 108134 w 1189215"/>
              <a:gd name="connsiteY0" fmla="*/ 0 h 133700"/>
              <a:gd name="connsiteX1" fmla="*/ 1081081 w 1189215"/>
              <a:gd name="connsiteY1" fmla="*/ 0 h 133700"/>
              <a:gd name="connsiteX2" fmla="*/ 1189215 w 1189215"/>
              <a:gd name="connsiteY2" fmla="*/ 108134 h 133700"/>
              <a:gd name="connsiteX3" fmla="*/ 1189215 w 1189215"/>
              <a:gd name="connsiteY3" fmla="*/ 133700 h 133700"/>
              <a:gd name="connsiteX4" fmla="*/ 0 w 1189215"/>
              <a:gd name="connsiteY4" fmla="*/ 133700 h 133700"/>
              <a:gd name="connsiteX5" fmla="*/ 0 w 1189215"/>
              <a:gd name="connsiteY5" fmla="*/ 108134 h 133700"/>
              <a:gd name="connsiteX6" fmla="*/ 108134 w 1189215"/>
              <a:gd name="connsiteY6" fmla="*/ 0 h 133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89215" h="133700">
                <a:moveTo>
                  <a:pt x="108134" y="0"/>
                </a:moveTo>
                <a:lnTo>
                  <a:pt x="1081081" y="0"/>
                </a:lnTo>
                <a:cubicBezTo>
                  <a:pt x="1140802" y="0"/>
                  <a:pt x="1189215" y="48413"/>
                  <a:pt x="1189215" y="108134"/>
                </a:cubicBezTo>
                <a:lnTo>
                  <a:pt x="1189215" y="133700"/>
                </a:lnTo>
                <a:lnTo>
                  <a:pt x="0" y="133700"/>
                </a:lnTo>
                <a:lnTo>
                  <a:pt x="0" y="108134"/>
                </a:lnTo>
                <a:cubicBezTo>
                  <a:pt x="0" y="48413"/>
                  <a:pt x="48413" y="0"/>
                  <a:pt x="108134" y="0"/>
                </a:cubicBezTo>
                <a:close/>
              </a:path>
            </a:pathLst>
          </a:cu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5720" tIns="22860" rIns="45720" bIns="228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600" b="0" i="0" u="none" strike="noStrike" kern="1200" cap="none" spc="0" normalizeH="0" baseline="0" noProof="0" dirty="0">
              <a:ln>
                <a:noFill/>
              </a:ln>
              <a:solidFill>
                <a:srgbClr val="FFFFFF"/>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p:txBody>
      </p:sp>
      <p:sp>
        <p:nvSpPr>
          <p:cNvPr id="98" name="任意多边形: 形状 97">
            <a:extLst>
              <a:ext uri="{FF2B5EF4-FFF2-40B4-BE49-F238E27FC236}">
                <a16:creationId xmlns:a16="http://schemas.microsoft.com/office/drawing/2014/main" id="{54371CF4-B926-4C17-B5E9-35F6234A3AF9}"/>
              </a:ext>
            </a:extLst>
          </p:cNvPr>
          <p:cNvSpPr/>
          <p:nvPr/>
        </p:nvSpPr>
        <p:spPr>
          <a:xfrm>
            <a:off x="7302772" y="3682630"/>
            <a:ext cx="1354319" cy="438520"/>
          </a:xfrm>
          <a:custGeom>
            <a:avLst/>
            <a:gdLst>
              <a:gd name="connsiteX0" fmla="*/ 0 w 1189215"/>
              <a:gd name="connsiteY0" fmla="*/ 0 h 549873"/>
              <a:gd name="connsiteX1" fmla="*/ 1189215 w 1189215"/>
              <a:gd name="connsiteY1" fmla="*/ 0 h 549873"/>
              <a:gd name="connsiteX2" fmla="*/ 1189215 w 1189215"/>
              <a:gd name="connsiteY2" fmla="*/ 441739 h 549873"/>
              <a:gd name="connsiteX3" fmla="*/ 1081081 w 1189215"/>
              <a:gd name="connsiteY3" fmla="*/ 549873 h 549873"/>
              <a:gd name="connsiteX4" fmla="*/ 108134 w 1189215"/>
              <a:gd name="connsiteY4" fmla="*/ 549873 h 549873"/>
              <a:gd name="connsiteX5" fmla="*/ 0 w 1189215"/>
              <a:gd name="connsiteY5" fmla="*/ 441739 h 549873"/>
              <a:gd name="connsiteX6" fmla="*/ 0 w 1189215"/>
              <a:gd name="connsiteY6" fmla="*/ 0 h 549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89215" h="549873">
                <a:moveTo>
                  <a:pt x="0" y="0"/>
                </a:moveTo>
                <a:lnTo>
                  <a:pt x="1189215" y="0"/>
                </a:lnTo>
                <a:lnTo>
                  <a:pt x="1189215" y="441739"/>
                </a:lnTo>
                <a:cubicBezTo>
                  <a:pt x="1189215" y="501460"/>
                  <a:pt x="1140802" y="549873"/>
                  <a:pt x="1081081" y="549873"/>
                </a:cubicBezTo>
                <a:lnTo>
                  <a:pt x="108134" y="549873"/>
                </a:lnTo>
                <a:cubicBezTo>
                  <a:pt x="48413" y="549873"/>
                  <a:pt x="0" y="501460"/>
                  <a:pt x="0" y="441739"/>
                </a:cubicBezTo>
                <a:lnTo>
                  <a:pt x="0" y="0"/>
                </a:lnTo>
                <a:close/>
              </a:path>
            </a:pathLst>
          </a:cu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5720" tIns="22860" rIns="45720" bIns="228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600" b="0" i="0" u="none" strike="noStrike" kern="1200" cap="none" spc="0" normalizeH="0" baseline="0" noProof="0">
                <a:ln>
                  <a:noFill/>
                </a:ln>
                <a:solidFill>
                  <a:srgbClr val="000000">
                    <a:lumMod val="75000"/>
                    <a:lumOff val="2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rPr>
              <a:t>部门名称</a:t>
            </a:r>
            <a:endParaRPr kumimoji="0" lang="zh-CN" altLang="en-US" sz="1600" b="0" i="0" u="none" strike="noStrike" kern="1200" cap="none" spc="0" normalizeH="0" baseline="0" noProof="0" dirty="0">
              <a:ln>
                <a:noFill/>
              </a:ln>
              <a:solidFill>
                <a:srgbClr val="000000">
                  <a:lumMod val="75000"/>
                  <a:lumOff val="2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p:txBody>
      </p:sp>
      <p:sp>
        <p:nvSpPr>
          <p:cNvPr id="100" name="任意多边形: 形状 99">
            <a:extLst>
              <a:ext uri="{FF2B5EF4-FFF2-40B4-BE49-F238E27FC236}">
                <a16:creationId xmlns:a16="http://schemas.microsoft.com/office/drawing/2014/main" id="{83AAF494-7247-4FE3-8A4C-80193048936D}"/>
              </a:ext>
            </a:extLst>
          </p:cNvPr>
          <p:cNvSpPr/>
          <p:nvPr/>
        </p:nvSpPr>
        <p:spPr>
          <a:xfrm>
            <a:off x="7302772" y="4318213"/>
            <a:ext cx="1354319" cy="106625"/>
          </a:xfrm>
          <a:custGeom>
            <a:avLst/>
            <a:gdLst>
              <a:gd name="connsiteX0" fmla="*/ 108134 w 1189215"/>
              <a:gd name="connsiteY0" fmla="*/ 0 h 133700"/>
              <a:gd name="connsiteX1" fmla="*/ 1081081 w 1189215"/>
              <a:gd name="connsiteY1" fmla="*/ 0 h 133700"/>
              <a:gd name="connsiteX2" fmla="*/ 1189215 w 1189215"/>
              <a:gd name="connsiteY2" fmla="*/ 108134 h 133700"/>
              <a:gd name="connsiteX3" fmla="*/ 1189215 w 1189215"/>
              <a:gd name="connsiteY3" fmla="*/ 133700 h 133700"/>
              <a:gd name="connsiteX4" fmla="*/ 0 w 1189215"/>
              <a:gd name="connsiteY4" fmla="*/ 133700 h 133700"/>
              <a:gd name="connsiteX5" fmla="*/ 0 w 1189215"/>
              <a:gd name="connsiteY5" fmla="*/ 108134 h 133700"/>
              <a:gd name="connsiteX6" fmla="*/ 108134 w 1189215"/>
              <a:gd name="connsiteY6" fmla="*/ 0 h 133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89215" h="133700">
                <a:moveTo>
                  <a:pt x="108134" y="0"/>
                </a:moveTo>
                <a:lnTo>
                  <a:pt x="1081081" y="0"/>
                </a:lnTo>
                <a:cubicBezTo>
                  <a:pt x="1140802" y="0"/>
                  <a:pt x="1189215" y="48413"/>
                  <a:pt x="1189215" y="108134"/>
                </a:cubicBezTo>
                <a:lnTo>
                  <a:pt x="1189215" y="133700"/>
                </a:lnTo>
                <a:lnTo>
                  <a:pt x="0" y="133700"/>
                </a:lnTo>
                <a:lnTo>
                  <a:pt x="0" y="108134"/>
                </a:lnTo>
                <a:cubicBezTo>
                  <a:pt x="0" y="48413"/>
                  <a:pt x="48413" y="0"/>
                  <a:pt x="108134" y="0"/>
                </a:cubicBezTo>
                <a:close/>
              </a:path>
            </a:pathLst>
          </a:cu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5720" tIns="22860" rIns="45720" bIns="228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600" b="0" i="0" u="none" strike="noStrike" kern="1200" cap="none" spc="0" normalizeH="0" baseline="0" noProof="0" dirty="0">
              <a:ln>
                <a:noFill/>
              </a:ln>
              <a:solidFill>
                <a:srgbClr val="FFFFFF"/>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p:txBody>
      </p:sp>
      <p:sp>
        <p:nvSpPr>
          <p:cNvPr id="101" name="任意多边形: 形状 100">
            <a:extLst>
              <a:ext uri="{FF2B5EF4-FFF2-40B4-BE49-F238E27FC236}">
                <a16:creationId xmlns:a16="http://schemas.microsoft.com/office/drawing/2014/main" id="{F09E8E6F-8F13-48EA-942E-F51E93BC1F98}"/>
              </a:ext>
            </a:extLst>
          </p:cNvPr>
          <p:cNvSpPr/>
          <p:nvPr/>
        </p:nvSpPr>
        <p:spPr>
          <a:xfrm>
            <a:off x="7302772" y="4424838"/>
            <a:ext cx="1354319" cy="438520"/>
          </a:xfrm>
          <a:custGeom>
            <a:avLst/>
            <a:gdLst>
              <a:gd name="connsiteX0" fmla="*/ 0 w 1189215"/>
              <a:gd name="connsiteY0" fmla="*/ 0 h 549873"/>
              <a:gd name="connsiteX1" fmla="*/ 1189215 w 1189215"/>
              <a:gd name="connsiteY1" fmla="*/ 0 h 549873"/>
              <a:gd name="connsiteX2" fmla="*/ 1189215 w 1189215"/>
              <a:gd name="connsiteY2" fmla="*/ 441739 h 549873"/>
              <a:gd name="connsiteX3" fmla="*/ 1081081 w 1189215"/>
              <a:gd name="connsiteY3" fmla="*/ 549873 h 549873"/>
              <a:gd name="connsiteX4" fmla="*/ 108134 w 1189215"/>
              <a:gd name="connsiteY4" fmla="*/ 549873 h 549873"/>
              <a:gd name="connsiteX5" fmla="*/ 0 w 1189215"/>
              <a:gd name="connsiteY5" fmla="*/ 441739 h 549873"/>
              <a:gd name="connsiteX6" fmla="*/ 0 w 1189215"/>
              <a:gd name="connsiteY6" fmla="*/ 0 h 549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89215" h="549873">
                <a:moveTo>
                  <a:pt x="0" y="0"/>
                </a:moveTo>
                <a:lnTo>
                  <a:pt x="1189215" y="0"/>
                </a:lnTo>
                <a:lnTo>
                  <a:pt x="1189215" y="441739"/>
                </a:lnTo>
                <a:cubicBezTo>
                  <a:pt x="1189215" y="501460"/>
                  <a:pt x="1140802" y="549873"/>
                  <a:pt x="1081081" y="549873"/>
                </a:cubicBezTo>
                <a:lnTo>
                  <a:pt x="108134" y="549873"/>
                </a:lnTo>
                <a:cubicBezTo>
                  <a:pt x="48413" y="549873"/>
                  <a:pt x="0" y="501460"/>
                  <a:pt x="0" y="441739"/>
                </a:cubicBezTo>
                <a:lnTo>
                  <a:pt x="0" y="0"/>
                </a:lnTo>
                <a:close/>
              </a:path>
            </a:pathLst>
          </a:cu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5720" tIns="22860" rIns="45720" bIns="228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600" b="0" i="0" u="none" strike="noStrike" kern="1200" cap="none" spc="0" normalizeH="0" baseline="0" noProof="0">
                <a:ln>
                  <a:noFill/>
                </a:ln>
                <a:solidFill>
                  <a:srgbClr val="000000">
                    <a:lumMod val="75000"/>
                    <a:lumOff val="2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rPr>
              <a:t>部门名称</a:t>
            </a:r>
            <a:endParaRPr kumimoji="0" lang="zh-CN" altLang="en-US" sz="1600" b="0" i="0" u="none" strike="noStrike" kern="1200" cap="none" spc="0" normalizeH="0" baseline="0" noProof="0" dirty="0">
              <a:ln>
                <a:noFill/>
              </a:ln>
              <a:solidFill>
                <a:srgbClr val="000000">
                  <a:lumMod val="75000"/>
                  <a:lumOff val="2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p:txBody>
      </p:sp>
      <p:sp>
        <p:nvSpPr>
          <p:cNvPr id="104" name="任意多边形: 形状 103">
            <a:extLst>
              <a:ext uri="{FF2B5EF4-FFF2-40B4-BE49-F238E27FC236}">
                <a16:creationId xmlns:a16="http://schemas.microsoft.com/office/drawing/2014/main" id="{C12330F5-ED19-419A-9198-4E4AB0912E3C}"/>
              </a:ext>
            </a:extLst>
          </p:cNvPr>
          <p:cNvSpPr/>
          <p:nvPr/>
        </p:nvSpPr>
        <p:spPr>
          <a:xfrm>
            <a:off x="7302772" y="5060421"/>
            <a:ext cx="1354319" cy="106625"/>
          </a:xfrm>
          <a:custGeom>
            <a:avLst/>
            <a:gdLst>
              <a:gd name="connsiteX0" fmla="*/ 108134 w 1189215"/>
              <a:gd name="connsiteY0" fmla="*/ 0 h 133700"/>
              <a:gd name="connsiteX1" fmla="*/ 1081081 w 1189215"/>
              <a:gd name="connsiteY1" fmla="*/ 0 h 133700"/>
              <a:gd name="connsiteX2" fmla="*/ 1189215 w 1189215"/>
              <a:gd name="connsiteY2" fmla="*/ 108134 h 133700"/>
              <a:gd name="connsiteX3" fmla="*/ 1189215 w 1189215"/>
              <a:gd name="connsiteY3" fmla="*/ 133700 h 133700"/>
              <a:gd name="connsiteX4" fmla="*/ 0 w 1189215"/>
              <a:gd name="connsiteY4" fmla="*/ 133700 h 133700"/>
              <a:gd name="connsiteX5" fmla="*/ 0 w 1189215"/>
              <a:gd name="connsiteY5" fmla="*/ 108134 h 133700"/>
              <a:gd name="connsiteX6" fmla="*/ 108134 w 1189215"/>
              <a:gd name="connsiteY6" fmla="*/ 0 h 133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89215" h="133700">
                <a:moveTo>
                  <a:pt x="108134" y="0"/>
                </a:moveTo>
                <a:lnTo>
                  <a:pt x="1081081" y="0"/>
                </a:lnTo>
                <a:cubicBezTo>
                  <a:pt x="1140802" y="0"/>
                  <a:pt x="1189215" y="48413"/>
                  <a:pt x="1189215" y="108134"/>
                </a:cubicBezTo>
                <a:lnTo>
                  <a:pt x="1189215" y="133700"/>
                </a:lnTo>
                <a:lnTo>
                  <a:pt x="0" y="133700"/>
                </a:lnTo>
                <a:lnTo>
                  <a:pt x="0" y="108134"/>
                </a:lnTo>
                <a:cubicBezTo>
                  <a:pt x="0" y="48413"/>
                  <a:pt x="48413" y="0"/>
                  <a:pt x="108134" y="0"/>
                </a:cubicBezTo>
                <a:close/>
              </a:path>
            </a:pathLst>
          </a:cu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5720" tIns="22860" rIns="45720" bIns="228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600" b="0" i="0" u="none" strike="noStrike" kern="1200" cap="none" spc="0" normalizeH="0" baseline="0" noProof="0" dirty="0">
              <a:ln>
                <a:noFill/>
              </a:ln>
              <a:solidFill>
                <a:srgbClr val="FFFFFF"/>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p:txBody>
      </p:sp>
      <p:sp>
        <p:nvSpPr>
          <p:cNvPr id="117" name="任意多边形: 形状 116">
            <a:extLst>
              <a:ext uri="{FF2B5EF4-FFF2-40B4-BE49-F238E27FC236}">
                <a16:creationId xmlns:a16="http://schemas.microsoft.com/office/drawing/2014/main" id="{F2BC9914-DA23-40B2-BF5E-A409DDC8ED44}"/>
              </a:ext>
            </a:extLst>
          </p:cNvPr>
          <p:cNvSpPr/>
          <p:nvPr/>
        </p:nvSpPr>
        <p:spPr>
          <a:xfrm>
            <a:off x="7302772" y="5167046"/>
            <a:ext cx="1354319" cy="438520"/>
          </a:xfrm>
          <a:custGeom>
            <a:avLst/>
            <a:gdLst>
              <a:gd name="connsiteX0" fmla="*/ 0 w 1189215"/>
              <a:gd name="connsiteY0" fmla="*/ 0 h 549873"/>
              <a:gd name="connsiteX1" fmla="*/ 1189215 w 1189215"/>
              <a:gd name="connsiteY1" fmla="*/ 0 h 549873"/>
              <a:gd name="connsiteX2" fmla="*/ 1189215 w 1189215"/>
              <a:gd name="connsiteY2" fmla="*/ 441739 h 549873"/>
              <a:gd name="connsiteX3" fmla="*/ 1081081 w 1189215"/>
              <a:gd name="connsiteY3" fmla="*/ 549873 h 549873"/>
              <a:gd name="connsiteX4" fmla="*/ 108134 w 1189215"/>
              <a:gd name="connsiteY4" fmla="*/ 549873 h 549873"/>
              <a:gd name="connsiteX5" fmla="*/ 0 w 1189215"/>
              <a:gd name="connsiteY5" fmla="*/ 441739 h 549873"/>
              <a:gd name="connsiteX6" fmla="*/ 0 w 1189215"/>
              <a:gd name="connsiteY6" fmla="*/ 0 h 549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89215" h="549873">
                <a:moveTo>
                  <a:pt x="0" y="0"/>
                </a:moveTo>
                <a:lnTo>
                  <a:pt x="1189215" y="0"/>
                </a:lnTo>
                <a:lnTo>
                  <a:pt x="1189215" y="441739"/>
                </a:lnTo>
                <a:cubicBezTo>
                  <a:pt x="1189215" y="501460"/>
                  <a:pt x="1140802" y="549873"/>
                  <a:pt x="1081081" y="549873"/>
                </a:cubicBezTo>
                <a:lnTo>
                  <a:pt x="108134" y="549873"/>
                </a:lnTo>
                <a:cubicBezTo>
                  <a:pt x="48413" y="549873"/>
                  <a:pt x="0" y="501460"/>
                  <a:pt x="0" y="441739"/>
                </a:cubicBezTo>
                <a:lnTo>
                  <a:pt x="0" y="0"/>
                </a:lnTo>
                <a:close/>
              </a:path>
            </a:pathLst>
          </a:cu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5720" tIns="22860" rIns="45720" bIns="228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600" b="0" i="0" u="none" strike="noStrike" kern="1200" cap="none" spc="0" normalizeH="0" baseline="0" noProof="0">
                <a:ln>
                  <a:noFill/>
                </a:ln>
                <a:solidFill>
                  <a:srgbClr val="000000">
                    <a:lumMod val="75000"/>
                    <a:lumOff val="2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rPr>
              <a:t>部门名称</a:t>
            </a:r>
            <a:endParaRPr kumimoji="0" lang="zh-CN" altLang="en-US" sz="1600" b="0" i="0" u="none" strike="noStrike" kern="1200" cap="none" spc="0" normalizeH="0" baseline="0" noProof="0" dirty="0">
              <a:ln>
                <a:noFill/>
              </a:ln>
              <a:solidFill>
                <a:srgbClr val="000000">
                  <a:lumMod val="75000"/>
                  <a:lumOff val="2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p:txBody>
      </p:sp>
      <p:sp>
        <p:nvSpPr>
          <p:cNvPr id="119" name="任意多边形: 形状 118">
            <a:extLst>
              <a:ext uri="{FF2B5EF4-FFF2-40B4-BE49-F238E27FC236}">
                <a16:creationId xmlns:a16="http://schemas.microsoft.com/office/drawing/2014/main" id="{75EAE7F9-F62B-4984-90F1-0FF16E7256E0}"/>
              </a:ext>
            </a:extLst>
          </p:cNvPr>
          <p:cNvSpPr/>
          <p:nvPr/>
        </p:nvSpPr>
        <p:spPr>
          <a:xfrm>
            <a:off x="9159014" y="3576005"/>
            <a:ext cx="1354319" cy="106625"/>
          </a:xfrm>
          <a:custGeom>
            <a:avLst/>
            <a:gdLst>
              <a:gd name="connsiteX0" fmla="*/ 108134 w 1189215"/>
              <a:gd name="connsiteY0" fmla="*/ 0 h 133700"/>
              <a:gd name="connsiteX1" fmla="*/ 1081081 w 1189215"/>
              <a:gd name="connsiteY1" fmla="*/ 0 h 133700"/>
              <a:gd name="connsiteX2" fmla="*/ 1189215 w 1189215"/>
              <a:gd name="connsiteY2" fmla="*/ 108134 h 133700"/>
              <a:gd name="connsiteX3" fmla="*/ 1189215 w 1189215"/>
              <a:gd name="connsiteY3" fmla="*/ 133700 h 133700"/>
              <a:gd name="connsiteX4" fmla="*/ 0 w 1189215"/>
              <a:gd name="connsiteY4" fmla="*/ 133700 h 133700"/>
              <a:gd name="connsiteX5" fmla="*/ 0 w 1189215"/>
              <a:gd name="connsiteY5" fmla="*/ 108134 h 133700"/>
              <a:gd name="connsiteX6" fmla="*/ 108134 w 1189215"/>
              <a:gd name="connsiteY6" fmla="*/ 0 h 133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89215" h="133700">
                <a:moveTo>
                  <a:pt x="108134" y="0"/>
                </a:moveTo>
                <a:lnTo>
                  <a:pt x="1081081" y="0"/>
                </a:lnTo>
                <a:cubicBezTo>
                  <a:pt x="1140802" y="0"/>
                  <a:pt x="1189215" y="48413"/>
                  <a:pt x="1189215" y="108134"/>
                </a:cubicBezTo>
                <a:lnTo>
                  <a:pt x="1189215" y="133700"/>
                </a:lnTo>
                <a:lnTo>
                  <a:pt x="0" y="133700"/>
                </a:lnTo>
                <a:lnTo>
                  <a:pt x="0" y="108134"/>
                </a:lnTo>
                <a:cubicBezTo>
                  <a:pt x="0" y="48413"/>
                  <a:pt x="48413" y="0"/>
                  <a:pt x="108134" y="0"/>
                </a:cubicBezTo>
                <a:close/>
              </a:path>
            </a:pathLst>
          </a:cu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5720" tIns="22860" rIns="45720" bIns="228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600" b="0" i="0" u="none" strike="noStrike" kern="1200" cap="none" spc="0" normalizeH="0" baseline="0" noProof="0" dirty="0">
              <a:ln>
                <a:noFill/>
              </a:ln>
              <a:solidFill>
                <a:srgbClr val="FFFFFF"/>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p:txBody>
      </p:sp>
      <p:sp>
        <p:nvSpPr>
          <p:cNvPr id="120" name="任意多边形: 形状 119">
            <a:extLst>
              <a:ext uri="{FF2B5EF4-FFF2-40B4-BE49-F238E27FC236}">
                <a16:creationId xmlns:a16="http://schemas.microsoft.com/office/drawing/2014/main" id="{0FD4E673-217D-41D0-B9F2-3D591CF5BA6C}"/>
              </a:ext>
            </a:extLst>
          </p:cNvPr>
          <p:cNvSpPr/>
          <p:nvPr/>
        </p:nvSpPr>
        <p:spPr>
          <a:xfrm>
            <a:off x="9159014" y="3682630"/>
            <a:ext cx="1354319" cy="438520"/>
          </a:xfrm>
          <a:custGeom>
            <a:avLst/>
            <a:gdLst>
              <a:gd name="connsiteX0" fmla="*/ 0 w 1189215"/>
              <a:gd name="connsiteY0" fmla="*/ 0 h 549873"/>
              <a:gd name="connsiteX1" fmla="*/ 1189215 w 1189215"/>
              <a:gd name="connsiteY1" fmla="*/ 0 h 549873"/>
              <a:gd name="connsiteX2" fmla="*/ 1189215 w 1189215"/>
              <a:gd name="connsiteY2" fmla="*/ 441739 h 549873"/>
              <a:gd name="connsiteX3" fmla="*/ 1081081 w 1189215"/>
              <a:gd name="connsiteY3" fmla="*/ 549873 h 549873"/>
              <a:gd name="connsiteX4" fmla="*/ 108134 w 1189215"/>
              <a:gd name="connsiteY4" fmla="*/ 549873 h 549873"/>
              <a:gd name="connsiteX5" fmla="*/ 0 w 1189215"/>
              <a:gd name="connsiteY5" fmla="*/ 441739 h 549873"/>
              <a:gd name="connsiteX6" fmla="*/ 0 w 1189215"/>
              <a:gd name="connsiteY6" fmla="*/ 0 h 549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89215" h="549873">
                <a:moveTo>
                  <a:pt x="0" y="0"/>
                </a:moveTo>
                <a:lnTo>
                  <a:pt x="1189215" y="0"/>
                </a:lnTo>
                <a:lnTo>
                  <a:pt x="1189215" y="441739"/>
                </a:lnTo>
                <a:cubicBezTo>
                  <a:pt x="1189215" y="501460"/>
                  <a:pt x="1140802" y="549873"/>
                  <a:pt x="1081081" y="549873"/>
                </a:cubicBezTo>
                <a:lnTo>
                  <a:pt x="108134" y="549873"/>
                </a:lnTo>
                <a:cubicBezTo>
                  <a:pt x="48413" y="549873"/>
                  <a:pt x="0" y="501460"/>
                  <a:pt x="0" y="441739"/>
                </a:cubicBezTo>
                <a:lnTo>
                  <a:pt x="0" y="0"/>
                </a:lnTo>
                <a:close/>
              </a:path>
            </a:pathLst>
          </a:cu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5720" tIns="22860" rIns="45720" bIns="228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600" b="0" i="0" u="none" strike="noStrike" kern="1200" cap="none" spc="0" normalizeH="0" baseline="0" noProof="0">
                <a:ln>
                  <a:noFill/>
                </a:ln>
                <a:solidFill>
                  <a:srgbClr val="000000">
                    <a:lumMod val="75000"/>
                    <a:lumOff val="2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rPr>
              <a:t>部门名称</a:t>
            </a:r>
            <a:endParaRPr kumimoji="0" lang="zh-CN" altLang="en-US" sz="1600" b="0" i="0" u="none" strike="noStrike" kern="1200" cap="none" spc="0" normalizeH="0" baseline="0" noProof="0" dirty="0">
              <a:ln>
                <a:noFill/>
              </a:ln>
              <a:solidFill>
                <a:srgbClr val="000000">
                  <a:lumMod val="75000"/>
                  <a:lumOff val="2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p:txBody>
      </p:sp>
      <p:sp>
        <p:nvSpPr>
          <p:cNvPr id="122" name="任意多边形: 形状 121">
            <a:extLst>
              <a:ext uri="{FF2B5EF4-FFF2-40B4-BE49-F238E27FC236}">
                <a16:creationId xmlns:a16="http://schemas.microsoft.com/office/drawing/2014/main" id="{041AACD7-65D9-4CC0-B515-840DDD0FA4AB}"/>
              </a:ext>
            </a:extLst>
          </p:cNvPr>
          <p:cNvSpPr/>
          <p:nvPr/>
        </p:nvSpPr>
        <p:spPr>
          <a:xfrm>
            <a:off x="9159014" y="4318213"/>
            <a:ext cx="1354319" cy="106625"/>
          </a:xfrm>
          <a:custGeom>
            <a:avLst/>
            <a:gdLst>
              <a:gd name="connsiteX0" fmla="*/ 108134 w 1189215"/>
              <a:gd name="connsiteY0" fmla="*/ 0 h 133700"/>
              <a:gd name="connsiteX1" fmla="*/ 1081081 w 1189215"/>
              <a:gd name="connsiteY1" fmla="*/ 0 h 133700"/>
              <a:gd name="connsiteX2" fmla="*/ 1189215 w 1189215"/>
              <a:gd name="connsiteY2" fmla="*/ 108134 h 133700"/>
              <a:gd name="connsiteX3" fmla="*/ 1189215 w 1189215"/>
              <a:gd name="connsiteY3" fmla="*/ 133700 h 133700"/>
              <a:gd name="connsiteX4" fmla="*/ 0 w 1189215"/>
              <a:gd name="connsiteY4" fmla="*/ 133700 h 133700"/>
              <a:gd name="connsiteX5" fmla="*/ 0 w 1189215"/>
              <a:gd name="connsiteY5" fmla="*/ 108134 h 133700"/>
              <a:gd name="connsiteX6" fmla="*/ 108134 w 1189215"/>
              <a:gd name="connsiteY6" fmla="*/ 0 h 133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89215" h="133700">
                <a:moveTo>
                  <a:pt x="108134" y="0"/>
                </a:moveTo>
                <a:lnTo>
                  <a:pt x="1081081" y="0"/>
                </a:lnTo>
                <a:cubicBezTo>
                  <a:pt x="1140802" y="0"/>
                  <a:pt x="1189215" y="48413"/>
                  <a:pt x="1189215" y="108134"/>
                </a:cubicBezTo>
                <a:lnTo>
                  <a:pt x="1189215" y="133700"/>
                </a:lnTo>
                <a:lnTo>
                  <a:pt x="0" y="133700"/>
                </a:lnTo>
                <a:lnTo>
                  <a:pt x="0" y="108134"/>
                </a:lnTo>
                <a:cubicBezTo>
                  <a:pt x="0" y="48413"/>
                  <a:pt x="48413" y="0"/>
                  <a:pt x="108134" y="0"/>
                </a:cubicBezTo>
                <a:close/>
              </a:path>
            </a:pathLst>
          </a:cu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5720" tIns="22860" rIns="45720" bIns="228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600" b="0" i="0" u="none" strike="noStrike" kern="1200" cap="none" spc="0" normalizeH="0" baseline="0" noProof="0" dirty="0">
              <a:ln>
                <a:noFill/>
              </a:ln>
              <a:solidFill>
                <a:srgbClr val="FFFFFF"/>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p:txBody>
      </p:sp>
      <p:sp>
        <p:nvSpPr>
          <p:cNvPr id="123" name="任意多边形: 形状 122">
            <a:extLst>
              <a:ext uri="{FF2B5EF4-FFF2-40B4-BE49-F238E27FC236}">
                <a16:creationId xmlns:a16="http://schemas.microsoft.com/office/drawing/2014/main" id="{085DA00A-62DD-4743-9AE0-E9AA8E43A172}"/>
              </a:ext>
            </a:extLst>
          </p:cNvPr>
          <p:cNvSpPr/>
          <p:nvPr/>
        </p:nvSpPr>
        <p:spPr>
          <a:xfrm>
            <a:off x="9159014" y="4424838"/>
            <a:ext cx="1354319" cy="438520"/>
          </a:xfrm>
          <a:custGeom>
            <a:avLst/>
            <a:gdLst>
              <a:gd name="connsiteX0" fmla="*/ 0 w 1189215"/>
              <a:gd name="connsiteY0" fmla="*/ 0 h 549873"/>
              <a:gd name="connsiteX1" fmla="*/ 1189215 w 1189215"/>
              <a:gd name="connsiteY1" fmla="*/ 0 h 549873"/>
              <a:gd name="connsiteX2" fmla="*/ 1189215 w 1189215"/>
              <a:gd name="connsiteY2" fmla="*/ 441739 h 549873"/>
              <a:gd name="connsiteX3" fmla="*/ 1081081 w 1189215"/>
              <a:gd name="connsiteY3" fmla="*/ 549873 h 549873"/>
              <a:gd name="connsiteX4" fmla="*/ 108134 w 1189215"/>
              <a:gd name="connsiteY4" fmla="*/ 549873 h 549873"/>
              <a:gd name="connsiteX5" fmla="*/ 0 w 1189215"/>
              <a:gd name="connsiteY5" fmla="*/ 441739 h 549873"/>
              <a:gd name="connsiteX6" fmla="*/ 0 w 1189215"/>
              <a:gd name="connsiteY6" fmla="*/ 0 h 549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89215" h="549873">
                <a:moveTo>
                  <a:pt x="0" y="0"/>
                </a:moveTo>
                <a:lnTo>
                  <a:pt x="1189215" y="0"/>
                </a:lnTo>
                <a:lnTo>
                  <a:pt x="1189215" y="441739"/>
                </a:lnTo>
                <a:cubicBezTo>
                  <a:pt x="1189215" y="501460"/>
                  <a:pt x="1140802" y="549873"/>
                  <a:pt x="1081081" y="549873"/>
                </a:cubicBezTo>
                <a:lnTo>
                  <a:pt x="108134" y="549873"/>
                </a:lnTo>
                <a:cubicBezTo>
                  <a:pt x="48413" y="549873"/>
                  <a:pt x="0" y="501460"/>
                  <a:pt x="0" y="441739"/>
                </a:cubicBezTo>
                <a:lnTo>
                  <a:pt x="0" y="0"/>
                </a:lnTo>
                <a:close/>
              </a:path>
            </a:pathLst>
          </a:cu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5720" tIns="22860" rIns="45720" bIns="228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600" b="0" i="0" u="none" strike="noStrike" kern="1200" cap="none" spc="0" normalizeH="0" baseline="0" noProof="0">
                <a:ln>
                  <a:noFill/>
                </a:ln>
                <a:solidFill>
                  <a:srgbClr val="000000">
                    <a:lumMod val="75000"/>
                    <a:lumOff val="2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rPr>
              <a:t>部门名称</a:t>
            </a:r>
            <a:endParaRPr kumimoji="0" lang="zh-CN" altLang="en-US" sz="1600" b="0" i="0" u="none" strike="noStrike" kern="1200" cap="none" spc="0" normalizeH="0" baseline="0" noProof="0" dirty="0">
              <a:ln>
                <a:noFill/>
              </a:ln>
              <a:solidFill>
                <a:srgbClr val="000000">
                  <a:lumMod val="75000"/>
                  <a:lumOff val="2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p:txBody>
      </p:sp>
      <p:sp>
        <p:nvSpPr>
          <p:cNvPr id="125" name="任意多边形: 形状 124">
            <a:extLst>
              <a:ext uri="{FF2B5EF4-FFF2-40B4-BE49-F238E27FC236}">
                <a16:creationId xmlns:a16="http://schemas.microsoft.com/office/drawing/2014/main" id="{A63439E6-8D44-4240-96C6-06F252974362}"/>
              </a:ext>
            </a:extLst>
          </p:cNvPr>
          <p:cNvSpPr/>
          <p:nvPr/>
        </p:nvSpPr>
        <p:spPr>
          <a:xfrm>
            <a:off x="9159014" y="5060421"/>
            <a:ext cx="1354319" cy="106625"/>
          </a:xfrm>
          <a:custGeom>
            <a:avLst/>
            <a:gdLst>
              <a:gd name="connsiteX0" fmla="*/ 108134 w 1189215"/>
              <a:gd name="connsiteY0" fmla="*/ 0 h 133700"/>
              <a:gd name="connsiteX1" fmla="*/ 1081081 w 1189215"/>
              <a:gd name="connsiteY1" fmla="*/ 0 h 133700"/>
              <a:gd name="connsiteX2" fmla="*/ 1189215 w 1189215"/>
              <a:gd name="connsiteY2" fmla="*/ 108134 h 133700"/>
              <a:gd name="connsiteX3" fmla="*/ 1189215 w 1189215"/>
              <a:gd name="connsiteY3" fmla="*/ 133700 h 133700"/>
              <a:gd name="connsiteX4" fmla="*/ 0 w 1189215"/>
              <a:gd name="connsiteY4" fmla="*/ 133700 h 133700"/>
              <a:gd name="connsiteX5" fmla="*/ 0 w 1189215"/>
              <a:gd name="connsiteY5" fmla="*/ 108134 h 133700"/>
              <a:gd name="connsiteX6" fmla="*/ 108134 w 1189215"/>
              <a:gd name="connsiteY6" fmla="*/ 0 h 133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89215" h="133700">
                <a:moveTo>
                  <a:pt x="108134" y="0"/>
                </a:moveTo>
                <a:lnTo>
                  <a:pt x="1081081" y="0"/>
                </a:lnTo>
                <a:cubicBezTo>
                  <a:pt x="1140802" y="0"/>
                  <a:pt x="1189215" y="48413"/>
                  <a:pt x="1189215" y="108134"/>
                </a:cubicBezTo>
                <a:lnTo>
                  <a:pt x="1189215" y="133700"/>
                </a:lnTo>
                <a:lnTo>
                  <a:pt x="0" y="133700"/>
                </a:lnTo>
                <a:lnTo>
                  <a:pt x="0" y="108134"/>
                </a:lnTo>
                <a:cubicBezTo>
                  <a:pt x="0" y="48413"/>
                  <a:pt x="48413" y="0"/>
                  <a:pt x="108134" y="0"/>
                </a:cubicBezTo>
                <a:close/>
              </a:path>
            </a:pathLst>
          </a:cu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5720" tIns="22860" rIns="45720" bIns="228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600" b="0" i="0" u="none" strike="noStrike" kern="1200" cap="none" spc="0" normalizeH="0" baseline="0" noProof="0" dirty="0">
              <a:ln>
                <a:noFill/>
              </a:ln>
              <a:solidFill>
                <a:srgbClr val="FFFFFF"/>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p:txBody>
      </p:sp>
      <p:sp>
        <p:nvSpPr>
          <p:cNvPr id="126" name="任意多边形: 形状 125">
            <a:extLst>
              <a:ext uri="{FF2B5EF4-FFF2-40B4-BE49-F238E27FC236}">
                <a16:creationId xmlns:a16="http://schemas.microsoft.com/office/drawing/2014/main" id="{0E37D78D-A675-440B-BDC7-E78C78E05062}"/>
              </a:ext>
            </a:extLst>
          </p:cNvPr>
          <p:cNvSpPr/>
          <p:nvPr/>
        </p:nvSpPr>
        <p:spPr>
          <a:xfrm>
            <a:off x="9159014" y="5167046"/>
            <a:ext cx="1354319" cy="438520"/>
          </a:xfrm>
          <a:custGeom>
            <a:avLst/>
            <a:gdLst>
              <a:gd name="connsiteX0" fmla="*/ 0 w 1189215"/>
              <a:gd name="connsiteY0" fmla="*/ 0 h 549873"/>
              <a:gd name="connsiteX1" fmla="*/ 1189215 w 1189215"/>
              <a:gd name="connsiteY1" fmla="*/ 0 h 549873"/>
              <a:gd name="connsiteX2" fmla="*/ 1189215 w 1189215"/>
              <a:gd name="connsiteY2" fmla="*/ 441739 h 549873"/>
              <a:gd name="connsiteX3" fmla="*/ 1081081 w 1189215"/>
              <a:gd name="connsiteY3" fmla="*/ 549873 h 549873"/>
              <a:gd name="connsiteX4" fmla="*/ 108134 w 1189215"/>
              <a:gd name="connsiteY4" fmla="*/ 549873 h 549873"/>
              <a:gd name="connsiteX5" fmla="*/ 0 w 1189215"/>
              <a:gd name="connsiteY5" fmla="*/ 441739 h 549873"/>
              <a:gd name="connsiteX6" fmla="*/ 0 w 1189215"/>
              <a:gd name="connsiteY6" fmla="*/ 0 h 549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89215" h="549873">
                <a:moveTo>
                  <a:pt x="0" y="0"/>
                </a:moveTo>
                <a:lnTo>
                  <a:pt x="1189215" y="0"/>
                </a:lnTo>
                <a:lnTo>
                  <a:pt x="1189215" y="441739"/>
                </a:lnTo>
                <a:cubicBezTo>
                  <a:pt x="1189215" y="501460"/>
                  <a:pt x="1140802" y="549873"/>
                  <a:pt x="1081081" y="549873"/>
                </a:cubicBezTo>
                <a:lnTo>
                  <a:pt x="108134" y="549873"/>
                </a:lnTo>
                <a:cubicBezTo>
                  <a:pt x="48413" y="549873"/>
                  <a:pt x="0" y="501460"/>
                  <a:pt x="0" y="441739"/>
                </a:cubicBezTo>
                <a:lnTo>
                  <a:pt x="0" y="0"/>
                </a:lnTo>
                <a:close/>
              </a:path>
            </a:pathLst>
          </a:cu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5720" tIns="22860" rIns="45720" bIns="228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600" b="0" i="0" u="none" strike="noStrike" kern="1200" cap="none" spc="0" normalizeH="0" baseline="0" noProof="0">
                <a:ln>
                  <a:noFill/>
                </a:ln>
                <a:solidFill>
                  <a:srgbClr val="000000">
                    <a:lumMod val="75000"/>
                    <a:lumOff val="2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rPr>
              <a:t>部门名称</a:t>
            </a:r>
            <a:endParaRPr kumimoji="0" lang="zh-CN" altLang="en-US" sz="1600" b="0" i="0" u="none" strike="noStrike" kern="1200" cap="none" spc="0" normalizeH="0" baseline="0" noProof="0" dirty="0">
              <a:ln>
                <a:noFill/>
              </a:ln>
              <a:solidFill>
                <a:srgbClr val="000000">
                  <a:lumMod val="75000"/>
                  <a:lumOff val="25000"/>
                </a:srgbClr>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p:txBody>
      </p:sp>
    </p:spTree>
    <p:extLst>
      <p:ext uri="{BB962C8B-B14F-4D97-AF65-F5344CB8AC3E}">
        <p14:creationId xmlns:p14="http://schemas.microsoft.com/office/powerpoint/2010/main" val="2789806057"/>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8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1" name="image 101"/>
          <p:cNvPicPr>
            <a:picLocks noChangeAspect="1"/>
          </p:cNvPicPr>
          <p:nvPr/>
        </p:nvPicPr>
        <p:blipFill>
          <a:blip r:embed="rId4">
            <a:alphaModFix amt="54901"/>
          </a:blip>
          <a:srcRect/>
          <a:stretch>
            <a:fillRect/>
          </a:stretch>
        </p:blipFill>
        <p:spPr>
          <a:xfrm>
            <a:off x="3048000" y="793750"/>
            <a:ext cx="4216400" cy="768350"/>
          </a:xfrm>
          <a:prstGeom prst="rect">
            <a:avLst/>
          </a:prstGeom>
        </p:spPr>
      </p:pic>
      <p:sp>
        <p:nvSpPr>
          <p:cNvPr id="102" name="Object 102"/>
          <p:cNvSpPr txBox="1"/>
          <p:nvPr/>
        </p:nvSpPr>
        <p:spPr>
          <a:xfrm rot="-5400000">
            <a:off x="-4553748" y="1433109"/>
            <a:ext cx="10300406" cy="730250"/>
          </a:xfrm>
          <a:prstGeom prst="rect">
            <a:avLst/>
          </a:prstGeom>
        </p:spPr>
        <p:txBody>
          <a:bodyPr vert="horz"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4810" b="0" i="0" u="none" strike="noStrike" kern="1200" cap="none" spc="-90" normalizeH="0" baseline="0" noProof="0" dirty="0">
                <a:ln>
                  <a:noFill/>
                </a:ln>
                <a:solidFill>
                  <a:srgbClr val="2254F4">
                    <a:lumMod val="20000"/>
                    <a:lumOff val="80000"/>
                  </a:srgbClr>
                </a:solidFill>
                <a:effectLst/>
                <a:uLnTx/>
                <a:uFillTx/>
                <a:latin typeface="OPPOSans R" panose="00020600040101010101" pitchFamily="18" charset="-122"/>
                <a:ea typeface="OPPOSans B" panose="00020600040101010101" pitchFamily="18" charset="-122"/>
                <a:cs typeface="OPPOSans B" panose="00020600040101010101" pitchFamily="18" charset="-122"/>
                <a:sym typeface="OPPOSans R" panose="00020600040101010101" pitchFamily="18" charset="-122"/>
              </a:rPr>
              <a:t>ENTERPRISE ARCHITECTURE</a:t>
            </a:r>
            <a:endParaRPr kumimoji="0" lang="zh-CN" altLang="en-US" sz="900" b="0" i="0" u="none" strike="noStrike" kern="1200" cap="none" spc="0" normalizeH="0" baseline="0" noProof="0" dirty="0">
              <a:ln>
                <a:noFill/>
              </a:ln>
              <a:solidFill>
                <a:srgbClr val="2254F4">
                  <a:lumMod val="20000"/>
                  <a:lumOff val="80000"/>
                </a:srgbClr>
              </a:solidFill>
              <a:effectLst/>
              <a:uLnTx/>
              <a:uFillTx/>
              <a:latin typeface="OPPOSans R" panose="00020600040101010101" pitchFamily="18" charset="-122"/>
              <a:ea typeface="OPPOSans B" panose="00020600040101010101" pitchFamily="18" charset="-122"/>
              <a:cs typeface="OPPOSans B" panose="00020600040101010101" pitchFamily="18" charset="-122"/>
              <a:sym typeface="OPPOSans R" panose="00020600040101010101" pitchFamily="18" charset="-122"/>
            </a:endParaRPr>
          </a:p>
        </p:txBody>
      </p:sp>
      <p:sp>
        <p:nvSpPr>
          <p:cNvPr id="103" name="Object 103"/>
          <p:cNvSpPr txBox="1"/>
          <p:nvPr/>
        </p:nvSpPr>
        <p:spPr>
          <a:xfrm>
            <a:off x="3615630" y="704850"/>
            <a:ext cx="4960741" cy="577850"/>
          </a:xfrm>
          <a:prstGeom prst="rect">
            <a:avLst/>
          </a:prstGeom>
        </p:spPr>
        <p:txBody>
          <a:bodyPr vert="horz" rtlCol="0" anchor="t"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3805" b="0" i="0" u="none" strike="noStrike" kern="1200" cap="none" spc="95" normalizeH="0" baseline="0" noProof="0" dirty="0">
                <a:ln>
                  <a:noFill/>
                </a:ln>
                <a:solidFill>
                  <a:srgbClr val="2254F4"/>
                </a:solidFill>
                <a:effectLst/>
                <a:uLnTx/>
                <a:uFillTx/>
                <a:latin typeface="OPPOSans R" panose="00020600040101010101" pitchFamily="18" charset="-122"/>
                <a:ea typeface="OPPOSans B" panose="00020600040101010101" pitchFamily="18" charset="-122"/>
                <a:cs typeface="OPPOSans B" panose="00020600040101010101" pitchFamily="18" charset="-122"/>
                <a:sym typeface="OPPOSans R" panose="00020600040101010101" pitchFamily="18" charset="-122"/>
              </a:rPr>
              <a:t>秋叶集团企业架构</a:t>
            </a:r>
            <a:endParaRPr kumimoji="0" lang="zh-CN" altLang="en-US" sz="900" b="0" i="0" u="none" strike="noStrike" kern="1200" cap="none" spc="0" normalizeH="0" baseline="0" noProof="0" dirty="0">
              <a:ln>
                <a:noFill/>
              </a:ln>
              <a:solidFill>
                <a:srgbClr val="2254F4"/>
              </a:solidFill>
              <a:effectLst/>
              <a:uLnTx/>
              <a:uFillTx/>
              <a:latin typeface="OPPOSans R" panose="00020600040101010101" pitchFamily="18" charset="-122"/>
              <a:ea typeface="OPPOSans B" panose="00020600040101010101" pitchFamily="18" charset="-122"/>
              <a:cs typeface="OPPOSans B" panose="00020600040101010101" pitchFamily="18" charset="-122"/>
              <a:sym typeface="OPPOSans R" panose="00020600040101010101" pitchFamily="18" charset="-122"/>
            </a:endParaRPr>
          </a:p>
        </p:txBody>
      </p:sp>
      <p:sp>
        <p:nvSpPr>
          <p:cNvPr id="104" name="Object 104"/>
          <p:cNvSpPr txBox="1"/>
          <p:nvPr/>
        </p:nvSpPr>
        <p:spPr>
          <a:xfrm>
            <a:off x="4007337" y="1282700"/>
            <a:ext cx="4177327" cy="336550"/>
          </a:xfrm>
          <a:prstGeom prst="rect">
            <a:avLst/>
          </a:prstGeom>
        </p:spPr>
        <p:txBody>
          <a:bodyPr vert="horz" rtlCol="0" anchor="t"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2190" b="0" i="0" u="none" strike="noStrike" kern="1200" cap="none" spc="55" normalizeH="0" baseline="0" noProof="0" dirty="0">
                <a:ln>
                  <a:noFill/>
                </a:ln>
                <a:solidFill>
                  <a:srgbClr val="2254F4"/>
                </a:solidFill>
                <a:effectLst/>
                <a:uLnTx/>
                <a:uFillTx/>
                <a:latin typeface="OPPOSans R" panose="00020600040101010101" pitchFamily="18" charset="-122"/>
                <a:ea typeface="OPPOSans B" panose="00020600040101010101" pitchFamily="18" charset="-122"/>
                <a:cs typeface="OPPOSans B" panose="00020600040101010101" pitchFamily="18" charset="-122"/>
                <a:sym typeface="OPPOSans R" panose="00020600040101010101" pitchFamily="18" charset="-122"/>
              </a:rPr>
              <a:t>Enterprise Architecture</a:t>
            </a:r>
            <a:endParaRPr kumimoji="0" lang="zh-CN" altLang="en-US" sz="900" b="0" i="0" u="none" strike="noStrike" kern="1200" cap="none" spc="0" normalizeH="0" baseline="0" noProof="0">
              <a:ln>
                <a:noFill/>
              </a:ln>
              <a:solidFill>
                <a:srgbClr val="2254F4"/>
              </a:solidFill>
              <a:effectLst/>
              <a:uLnTx/>
              <a:uFillTx/>
              <a:latin typeface="OPPOSans R" panose="00020600040101010101" pitchFamily="18" charset="-122"/>
              <a:ea typeface="OPPOSans B" panose="00020600040101010101" pitchFamily="18" charset="-122"/>
              <a:cs typeface="OPPOSans B" panose="00020600040101010101" pitchFamily="18" charset="-122"/>
              <a:sym typeface="OPPOSans R" panose="00020600040101010101" pitchFamily="18" charset="-122"/>
            </a:endParaRPr>
          </a:p>
        </p:txBody>
      </p:sp>
      <p:sp>
        <p:nvSpPr>
          <p:cNvPr id="106" name="Object 106"/>
          <p:cNvSpPr txBox="1"/>
          <p:nvPr/>
        </p:nvSpPr>
        <p:spPr>
          <a:xfrm>
            <a:off x="2136637" y="2878292"/>
            <a:ext cx="1495539" cy="266700"/>
          </a:xfrm>
          <a:prstGeom prst="rect">
            <a:avLst/>
          </a:prstGeom>
        </p:spPr>
        <p:txBody>
          <a:bodyPr vert="horz"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750" b="0" i="0" u="none" strike="noStrike" kern="1200" cap="none" spc="18" normalizeH="0" baseline="0" noProof="0" dirty="0">
                <a:ln>
                  <a:noFill/>
                </a:ln>
                <a:solidFill>
                  <a:srgbClr val="6F6F6F">
                    <a:alpha val="90196"/>
                  </a:srgbClr>
                </a:solidFill>
                <a:effectLst/>
                <a:uLnTx/>
                <a:uFillTx/>
                <a:latin typeface="OPPOSans R" panose="00020600040101010101" pitchFamily="18" charset="-122"/>
                <a:ea typeface="OPPOSans B" panose="00020600040101010101" pitchFamily="18" charset="-122"/>
                <a:cs typeface="OPPOSans B" panose="00020600040101010101" pitchFamily="18" charset="-122"/>
                <a:sym typeface="OPPOSans R" panose="00020600040101010101" pitchFamily="18" charset="-122"/>
              </a:rPr>
              <a:t>开发部门</a:t>
            </a:r>
            <a:endParaRPr kumimoji="0" lang="zh-CN" altLang="en-US" sz="900" b="0" i="0" u="none" strike="noStrike" kern="1200" cap="none" spc="0" normalizeH="0" baseline="0" noProof="0">
              <a:ln>
                <a:noFill/>
              </a:ln>
              <a:solidFill>
                <a:srgbClr val="000000"/>
              </a:solidFill>
              <a:effectLst/>
              <a:uLnTx/>
              <a:uFillTx/>
              <a:latin typeface="OPPOSans R" panose="00020600040101010101" pitchFamily="18" charset="-122"/>
              <a:ea typeface="OPPOSans B" panose="00020600040101010101" pitchFamily="18" charset="-122"/>
              <a:cs typeface="OPPOSans B" panose="00020600040101010101" pitchFamily="18" charset="-122"/>
              <a:sym typeface="OPPOSans R" panose="00020600040101010101" pitchFamily="18" charset="-122"/>
            </a:endParaRPr>
          </a:p>
        </p:txBody>
      </p:sp>
      <p:sp>
        <p:nvSpPr>
          <p:cNvPr id="107" name="Object 107"/>
          <p:cNvSpPr txBox="1"/>
          <p:nvPr/>
        </p:nvSpPr>
        <p:spPr>
          <a:xfrm>
            <a:off x="2127228" y="3755736"/>
            <a:ext cx="1727432" cy="266700"/>
          </a:xfrm>
          <a:prstGeom prst="rect">
            <a:avLst/>
          </a:prstGeom>
        </p:spPr>
        <p:txBody>
          <a:bodyPr vert="horz"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750" b="0" i="0" u="none" strike="noStrike" kern="1200" cap="none" spc="18" normalizeH="0" baseline="0" noProof="0" dirty="0">
                <a:ln>
                  <a:noFill/>
                </a:ln>
                <a:solidFill>
                  <a:srgbClr val="6F6F6F">
                    <a:alpha val="90196"/>
                  </a:srgbClr>
                </a:solidFill>
                <a:effectLst/>
                <a:uLnTx/>
                <a:uFillTx/>
                <a:latin typeface="OPPOSans R" panose="00020600040101010101" pitchFamily="18" charset="-122"/>
                <a:ea typeface="OPPOSans B" panose="00020600040101010101" pitchFamily="18" charset="-122"/>
                <a:cs typeface="OPPOSans B" panose="00020600040101010101" pitchFamily="18" charset="-122"/>
                <a:sym typeface="OPPOSans R" panose="00020600040101010101" pitchFamily="18" charset="-122"/>
              </a:rPr>
              <a:t>战略研发部门</a:t>
            </a:r>
            <a:endParaRPr kumimoji="0" lang="zh-CN" altLang="en-US" sz="900" b="0" i="0" u="none" strike="noStrike" kern="1200" cap="none" spc="0" normalizeH="0" baseline="0" noProof="0">
              <a:ln>
                <a:noFill/>
              </a:ln>
              <a:solidFill>
                <a:srgbClr val="000000"/>
              </a:solidFill>
              <a:effectLst/>
              <a:uLnTx/>
              <a:uFillTx/>
              <a:latin typeface="OPPOSans R" panose="00020600040101010101" pitchFamily="18" charset="-122"/>
              <a:ea typeface="OPPOSans B" panose="00020600040101010101" pitchFamily="18" charset="-122"/>
              <a:cs typeface="OPPOSans B" panose="00020600040101010101" pitchFamily="18" charset="-122"/>
              <a:sym typeface="OPPOSans R" panose="00020600040101010101" pitchFamily="18" charset="-122"/>
            </a:endParaRPr>
          </a:p>
        </p:txBody>
      </p:sp>
      <p:sp>
        <p:nvSpPr>
          <p:cNvPr id="108" name="Object 108"/>
          <p:cNvSpPr txBox="1"/>
          <p:nvPr/>
        </p:nvSpPr>
        <p:spPr>
          <a:xfrm>
            <a:off x="2134476" y="4624542"/>
            <a:ext cx="1497698" cy="266700"/>
          </a:xfrm>
          <a:prstGeom prst="rect">
            <a:avLst/>
          </a:prstGeom>
        </p:spPr>
        <p:txBody>
          <a:bodyPr vert="horz"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750" b="0" i="0" u="none" strike="noStrike" kern="1200" cap="none" spc="18" normalizeH="0" baseline="0" noProof="0" dirty="0">
                <a:ln>
                  <a:noFill/>
                </a:ln>
                <a:solidFill>
                  <a:srgbClr val="6F6F6F">
                    <a:alpha val="90196"/>
                  </a:srgbClr>
                </a:solidFill>
                <a:effectLst/>
                <a:uLnTx/>
                <a:uFillTx/>
                <a:latin typeface="OPPOSans R" panose="00020600040101010101" pitchFamily="18" charset="-122"/>
                <a:ea typeface="OPPOSans B" panose="00020600040101010101" pitchFamily="18" charset="-122"/>
                <a:cs typeface="OPPOSans B" panose="00020600040101010101" pitchFamily="18" charset="-122"/>
                <a:sym typeface="OPPOSans R" panose="00020600040101010101" pitchFamily="18" charset="-122"/>
              </a:rPr>
              <a:t>工程部门</a:t>
            </a:r>
            <a:endParaRPr kumimoji="0" lang="zh-CN" altLang="en-US" sz="900" b="0" i="0" u="none" strike="noStrike" kern="1200" cap="none" spc="0" normalizeH="0" baseline="0" noProof="0">
              <a:ln>
                <a:noFill/>
              </a:ln>
              <a:solidFill>
                <a:srgbClr val="000000"/>
              </a:solidFill>
              <a:effectLst/>
              <a:uLnTx/>
              <a:uFillTx/>
              <a:latin typeface="OPPOSans R" panose="00020600040101010101" pitchFamily="18" charset="-122"/>
              <a:ea typeface="OPPOSans B" panose="00020600040101010101" pitchFamily="18" charset="-122"/>
              <a:cs typeface="OPPOSans B" panose="00020600040101010101" pitchFamily="18" charset="-122"/>
              <a:sym typeface="OPPOSans R" panose="00020600040101010101" pitchFamily="18" charset="-122"/>
            </a:endParaRPr>
          </a:p>
        </p:txBody>
      </p:sp>
      <p:sp>
        <p:nvSpPr>
          <p:cNvPr id="109" name="Object 109"/>
          <p:cNvSpPr txBox="1"/>
          <p:nvPr/>
        </p:nvSpPr>
        <p:spPr>
          <a:xfrm>
            <a:off x="1751717" y="2226047"/>
            <a:ext cx="1729988" cy="317500"/>
          </a:xfrm>
          <a:prstGeom prst="rect">
            <a:avLst/>
          </a:prstGeom>
        </p:spPr>
        <p:txBody>
          <a:bodyPr vert="horz"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2100" b="1" i="0" u="none" strike="noStrike" kern="1200" cap="none" spc="21" normalizeH="0" baseline="0" noProof="0" dirty="0">
                <a:ln>
                  <a:noFill/>
                </a:ln>
                <a:solidFill>
                  <a:srgbClr val="2254F4"/>
                </a:solidFill>
                <a:effectLst/>
                <a:uLnTx/>
                <a:uFillTx/>
                <a:latin typeface="OPPOSans R" panose="00020600040101010101" pitchFamily="18" charset="-122"/>
                <a:ea typeface="OPPOSans B" panose="00020600040101010101" pitchFamily="18" charset="-122"/>
                <a:cs typeface="OPPOSans B" panose="00020600040101010101" pitchFamily="18" charset="-122"/>
                <a:sym typeface="OPPOSans R" panose="00020600040101010101" pitchFamily="18" charset="-122"/>
              </a:rPr>
              <a:t>业务部门</a:t>
            </a:r>
            <a:endParaRPr kumimoji="0" lang="zh-CN" altLang="en-US" sz="900" b="1" i="0" u="none" strike="noStrike" kern="1200" cap="none" spc="0" normalizeH="0" baseline="0" noProof="0" dirty="0">
              <a:ln>
                <a:noFill/>
              </a:ln>
              <a:solidFill>
                <a:srgbClr val="2254F4"/>
              </a:solidFill>
              <a:effectLst/>
              <a:uLnTx/>
              <a:uFillTx/>
              <a:latin typeface="OPPOSans R" panose="00020600040101010101" pitchFamily="18" charset="-122"/>
              <a:ea typeface="OPPOSans B" panose="00020600040101010101" pitchFamily="18" charset="-122"/>
              <a:cs typeface="OPPOSans B" panose="00020600040101010101" pitchFamily="18" charset="-122"/>
              <a:sym typeface="OPPOSans R" panose="00020600040101010101" pitchFamily="18" charset="-122"/>
            </a:endParaRPr>
          </a:p>
        </p:txBody>
      </p:sp>
      <p:sp>
        <p:nvSpPr>
          <p:cNvPr id="1021" name="Object 1021"/>
          <p:cNvSpPr txBox="1"/>
          <p:nvPr/>
        </p:nvSpPr>
        <p:spPr>
          <a:xfrm>
            <a:off x="5712966" y="2879055"/>
            <a:ext cx="1427861" cy="266700"/>
          </a:xfrm>
          <a:prstGeom prst="rect">
            <a:avLst/>
          </a:prstGeom>
        </p:spPr>
        <p:txBody>
          <a:bodyPr vert="horz"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750" b="0" i="0" u="none" strike="noStrike" kern="1200" cap="none" spc="18" normalizeH="0" baseline="0" noProof="0" dirty="0">
                <a:ln>
                  <a:noFill/>
                </a:ln>
                <a:solidFill>
                  <a:srgbClr val="6F6F6F">
                    <a:alpha val="90196"/>
                  </a:srgbClr>
                </a:solidFill>
                <a:effectLst/>
                <a:uLnTx/>
                <a:uFillTx/>
                <a:latin typeface="OPPOSans R" panose="00020600040101010101" pitchFamily="18" charset="-122"/>
                <a:ea typeface="OPPOSans B" panose="00020600040101010101" pitchFamily="18" charset="-122"/>
                <a:cs typeface="OPPOSans B" panose="00020600040101010101" pitchFamily="18" charset="-122"/>
                <a:sym typeface="OPPOSans R" panose="00020600040101010101" pitchFamily="18" charset="-122"/>
              </a:rPr>
              <a:t>行政部</a:t>
            </a:r>
            <a:endParaRPr kumimoji="0" lang="zh-CN" altLang="en-US" sz="900" b="0" i="0" u="none" strike="noStrike" kern="1200" cap="none" spc="0" normalizeH="0" baseline="0" noProof="0">
              <a:ln>
                <a:noFill/>
              </a:ln>
              <a:solidFill>
                <a:srgbClr val="000000"/>
              </a:solidFill>
              <a:effectLst/>
              <a:uLnTx/>
              <a:uFillTx/>
              <a:latin typeface="OPPOSans R" panose="00020600040101010101" pitchFamily="18" charset="-122"/>
              <a:ea typeface="OPPOSans B" panose="00020600040101010101" pitchFamily="18" charset="-122"/>
              <a:cs typeface="OPPOSans B" panose="00020600040101010101" pitchFamily="18" charset="-122"/>
              <a:sym typeface="OPPOSans R" panose="00020600040101010101" pitchFamily="18" charset="-122"/>
            </a:endParaRPr>
          </a:p>
        </p:txBody>
      </p:sp>
      <p:sp>
        <p:nvSpPr>
          <p:cNvPr id="1022" name="Object 1022"/>
          <p:cNvSpPr txBox="1"/>
          <p:nvPr/>
        </p:nvSpPr>
        <p:spPr>
          <a:xfrm>
            <a:off x="5696953" y="3754592"/>
            <a:ext cx="1443876" cy="266700"/>
          </a:xfrm>
          <a:prstGeom prst="rect">
            <a:avLst/>
          </a:prstGeom>
        </p:spPr>
        <p:txBody>
          <a:bodyPr vert="horz"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750" b="0" i="0" u="none" strike="noStrike" kern="1200" cap="none" spc="18" normalizeH="0" baseline="0" noProof="0" dirty="0">
                <a:ln>
                  <a:noFill/>
                </a:ln>
                <a:solidFill>
                  <a:srgbClr val="6F6F6F">
                    <a:alpha val="90196"/>
                  </a:srgbClr>
                </a:solidFill>
                <a:effectLst/>
                <a:uLnTx/>
                <a:uFillTx/>
                <a:latin typeface="OPPOSans R" panose="00020600040101010101" pitchFamily="18" charset="-122"/>
                <a:ea typeface="OPPOSans B" panose="00020600040101010101" pitchFamily="18" charset="-122"/>
                <a:cs typeface="OPPOSans B" panose="00020600040101010101" pitchFamily="18" charset="-122"/>
                <a:sym typeface="OPPOSans R" panose="00020600040101010101" pitchFamily="18" charset="-122"/>
              </a:rPr>
              <a:t>人事部</a:t>
            </a:r>
            <a:endParaRPr kumimoji="0" lang="zh-CN" altLang="en-US" sz="900" b="0" i="0" u="none" strike="noStrike" kern="1200" cap="none" spc="0" normalizeH="0" baseline="0" noProof="0">
              <a:ln>
                <a:noFill/>
              </a:ln>
              <a:solidFill>
                <a:srgbClr val="000000"/>
              </a:solidFill>
              <a:effectLst/>
              <a:uLnTx/>
              <a:uFillTx/>
              <a:latin typeface="OPPOSans R" panose="00020600040101010101" pitchFamily="18" charset="-122"/>
              <a:ea typeface="OPPOSans B" panose="00020600040101010101" pitchFamily="18" charset="-122"/>
              <a:cs typeface="OPPOSans B" panose="00020600040101010101" pitchFamily="18" charset="-122"/>
              <a:sym typeface="OPPOSans R" panose="00020600040101010101" pitchFamily="18" charset="-122"/>
            </a:endParaRPr>
          </a:p>
        </p:txBody>
      </p:sp>
      <p:sp>
        <p:nvSpPr>
          <p:cNvPr id="1023" name="Object 1023"/>
          <p:cNvSpPr txBox="1"/>
          <p:nvPr/>
        </p:nvSpPr>
        <p:spPr>
          <a:xfrm>
            <a:off x="5707499" y="4624542"/>
            <a:ext cx="1633099" cy="266700"/>
          </a:xfrm>
          <a:prstGeom prst="rect">
            <a:avLst/>
          </a:prstGeom>
        </p:spPr>
        <p:txBody>
          <a:bodyPr vert="horz"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750" b="0" i="0" u="none" strike="noStrike" kern="1200" cap="none" spc="18" normalizeH="0" baseline="0" noProof="0" dirty="0">
                <a:ln>
                  <a:noFill/>
                </a:ln>
                <a:solidFill>
                  <a:srgbClr val="6F6F6F">
                    <a:alpha val="90196"/>
                  </a:srgbClr>
                </a:solidFill>
                <a:effectLst/>
                <a:uLnTx/>
                <a:uFillTx/>
                <a:latin typeface="OPPOSans R" panose="00020600040101010101" pitchFamily="18" charset="-122"/>
                <a:ea typeface="OPPOSans B" panose="00020600040101010101" pitchFamily="18" charset="-122"/>
                <a:cs typeface="OPPOSans B" panose="00020600040101010101" pitchFamily="18" charset="-122"/>
                <a:sym typeface="OPPOSans R" panose="00020600040101010101" pitchFamily="18" charset="-122"/>
              </a:rPr>
              <a:t>法律部</a:t>
            </a:r>
            <a:endParaRPr kumimoji="0" lang="zh-CN" altLang="en-US" sz="900" b="0" i="0" u="none" strike="noStrike" kern="1200" cap="none" spc="0" normalizeH="0" baseline="0" noProof="0">
              <a:ln>
                <a:noFill/>
              </a:ln>
              <a:solidFill>
                <a:srgbClr val="000000"/>
              </a:solidFill>
              <a:effectLst/>
              <a:uLnTx/>
              <a:uFillTx/>
              <a:latin typeface="OPPOSans R" panose="00020600040101010101" pitchFamily="18" charset="-122"/>
              <a:ea typeface="OPPOSans B" panose="00020600040101010101" pitchFamily="18" charset="-122"/>
              <a:cs typeface="OPPOSans B" panose="00020600040101010101" pitchFamily="18" charset="-122"/>
              <a:sym typeface="OPPOSans R" panose="00020600040101010101" pitchFamily="18" charset="-122"/>
            </a:endParaRPr>
          </a:p>
        </p:txBody>
      </p:sp>
      <p:sp>
        <p:nvSpPr>
          <p:cNvPr id="1024" name="Object 1024"/>
          <p:cNvSpPr txBox="1"/>
          <p:nvPr/>
        </p:nvSpPr>
        <p:spPr>
          <a:xfrm>
            <a:off x="5707371" y="5494492"/>
            <a:ext cx="1633226" cy="266700"/>
          </a:xfrm>
          <a:prstGeom prst="rect">
            <a:avLst/>
          </a:prstGeom>
        </p:spPr>
        <p:txBody>
          <a:bodyPr vert="horz"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750" b="0" i="0" u="none" strike="noStrike" kern="1200" cap="none" spc="18" normalizeH="0" baseline="0" noProof="0" dirty="0">
                <a:ln>
                  <a:noFill/>
                </a:ln>
                <a:solidFill>
                  <a:srgbClr val="6F6F6F">
                    <a:alpha val="90196"/>
                  </a:srgbClr>
                </a:solidFill>
                <a:effectLst/>
                <a:uLnTx/>
                <a:uFillTx/>
                <a:latin typeface="OPPOSans R" panose="00020600040101010101" pitchFamily="18" charset="-122"/>
                <a:ea typeface="OPPOSans B" panose="00020600040101010101" pitchFamily="18" charset="-122"/>
                <a:cs typeface="OPPOSans B" panose="00020600040101010101" pitchFamily="18" charset="-122"/>
                <a:sym typeface="OPPOSans R" panose="00020600040101010101" pitchFamily="18" charset="-122"/>
              </a:rPr>
              <a:t>会计部</a:t>
            </a:r>
            <a:endParaRPr kumimoji="0" lang="zh-CN" altLang="en-US" sz="900" b="0" i="0" u="none" strike="noStrike" kern="1200" cap="none" spc="0" normalizeH="0" baseline="0" noProof="0">
              <a:ln>
                <a:noFill/>
              </a:ln>
              <a:solidFill>
                <a:srgbClr val="000000"/>
              </a:solidFill>
              <a:effectLst/>
              <a:uLnTx/>
              <a:uFillTx/>
              <a:latin typeface="OPPOSans R" panose="00020600040101010101" pitchFamily="18" charset="-122"/>
              <a:ea typeface="OPPOSans B" panose="00020600040101010101" pitchFamily="18" charset="-122"/>
              <a:cs typeface="OPPOSans B" panose="00020600040101010101" pitchFamily="18" charset="-122"/>
              <a:sym typeface="OPPOSans R" panose="00020600040101010101" pitchFamily="18" charset="-122"/>
            </a:endParaRPr>
          </a:p>
        </p:txBody>
      </p:sp>
      <p:sp>
        <p:nvSpPr>
          <p:cNvPr id="1025" name="Object 1025"/>
          <p:cNvSpPr txBox="1"/>
          <p:nvPr/>
        </p:nvSpPr>
        <p:spPr>
          <a:xfrm>
            <a:off x="5318263" y="2226047"/>
            <a:ext cx="1672089" cy="317500"/>
          </a:xfrm>
          <a:prstGeom prst="rect">
            <a:avLst/>
          </a:prstGeom>
        </p:spPr>
        <p:txBody>
          <a:bodyPr vert="horz"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2100" b="1" i="0" u="none" strike="noStrike" kern="1200" cap="none" spc="21" normalizeH="0" baseline="0" noProof="0" dirty="0">
                <a:ln>
                  <a:noFill/>
                </a:ln>
                <a:solidFill>
                  <a:srgbClr val="2254F4"/>
                </a:solidFill>
                <a:effectLst/>
                <a:uLnTx/>
                <a:uFillTx/>
                <a:latin typeface="OPPOSans R" panose="00020600040101010101" pitchFamily="18" charset="-122"/>
                <a:ea typeface="OPPOSans B" panose="00020600040101010101" pitchFamily="18" charset="-122"/>
                <a:cs typeface="OPPOSans B" panose="00020600040101010101" pitchFamily="18" charset="-122"/>
                <a:sym typeface="OPPOSans R" panose="00020600040101010101" pitchFamily="18" charset="-122"/>
              </a:rPr>
              <a:t>支持部门</a:t>
            </a:r>
            <a:endParaRPr kumimoji="0" lang="zh-CN" altLang="en-US" sz="900" b="1" i="0" u="none" strike="noStrike" kern="1200" cap="none" spc="0" normalizeH="0" baseline="0" noProof="0" dirty="0">
              <a:ln>
                <a:noFill/>
              </a:ln>
              <a:solidFill>
                <a:srgbClr val="2254F4"/>
              </a:solidFill>
              <a:effectLst/>
              <a:uLnTx/>
              <a:uFillTx/>
              <a:latin typeface="OPPOSans R" panose="00020600040101010101" pitchFamily="18" charset="-122"/>
              <a:ea typeface="OPPOSans B" panose="00020600040101010101" pitchFamily="18" charset="-122"/>
              <a:cs typeface="OPPOSans B" panose="00020600040101010101" pitchFamily="18" charset="-122"/>
              <a:sym typeface="OPPOSans R" panose="00020600040101010101" pitchFamily="18" charset="-122"/>
            </a:endParaRPr>
          </a:p>
        </p:txBody>
      </p:sp>
      <p:sp>
        <p:nvSpPr>
          <p:cNvPr id="1029" name="Object 1029"/>
          <p:cNvSpPr txBox="1"/>
          <p:nvPr/>
        </p:nvSpPr>
        <p:spPr>
          <a:xfrm>
            <a:off x="9253214" y="2878800"/>
            <a:ext cx="1376699" cy="266700"/>
          </a:xfrm>
          <a:prstGeom prst="rect">
            <a:avLst/>
          </a:prstGeom>
        </p:spPr>
        <p:txBody>
          <a:bodyPr vert="horz"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750" b="0" i="0" u="none" strike="noStrike" kern="1200" cap="none" spc="18" normalizeH="0" baseline="0" noProof="0" dirty="0">
                <a:ln>
                  <a:noFill/>
                </a:ln>
                <a:solidFill>
                  <a:srgbClr val="6F6F6F">
                    <a:alpha val="90196"/>
                  </a:srgbClr>
                </a:solidFill>
                <a:effectLst/>
                <a:uLnTx/>
                <a:uFillTx/>
                <a:latin typeface="OPPOSans R" panose="00020600040101010101" pitchFamily="18" charset="-122"/>
                <a:ea typeface="OPPOSans B" panose="00020600040101010101" pitchFamily="18" charset="-122"/>
                <a:cs typeface="OPPOSans B" panose="00020600040101010101" pitchFamily="18" charset="-122"/>
                <a:sym typeface="OPPOSans R" panose="00020600040101010101" pitchFamily="18" charset="-122"/>
              </a:rPr>
              <a:t>秋叶地产</a:t>
            </a:r>
            <a:endParaRPr kumimoji="0" lang="zh-CN" altLang="en-US" sz="900" b="0" i="0" u="none" strike="noStrike" kern="1200" cap="none" spc="0" normalizeH="0" baseline="0" noProof="0" dirty="0">
              <a:ln>
                <a:noFill/>
              </a:ln>
              <a:solidFill>
                <a:srgbClr val="000000"/>
              </a:solidFill>
              <a:effectLst/>
              <a:uLnTx/>
              <a:uFillTx/>
              <a:latin typeface="OPPOSans R" panose="00020600040101010101" pitchFamily="18" charset="-122"/>
              <a:ea typeface="OPPOSans B" panose="00020600040101010101" pitchFamily="18" charset="-122"/>
              <a:cs typeface="OPPOSans B" panose="00020600040101010101" pitchFamily="18" charset="-122"/>
              <a:sym typeface="OPPOSans R" panose="00020600040101010101" pitchFamily="18" charset="-122"/>
            </a:endParaRPr>
          </a:p>
        </p:txBody>
      </p:sp>
      <p:sp>
        <p:nvSpPr>
          <p:cNvPr id="1030" name="Object 1030"/>
          <p:cNvSpPr txBox="1"/>
          <p:nvPr/>
        </p:nvSpPr>
        <p:spPr>
          <a:xfrm>
            <a:off x="9227814" y="3755482"/>
            <a:ext cx="1402099" cy="266700"/>
          </a:xfrm>
          <a:prstGeom prst="rect">
            <a:avLst/>
          </a:prstGeom>
        </p:spPr>
        <p:txBody>
          <a:bodyPr vert="horz"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750" b="0" i="0" u="none" strike="noStrike" kern="1200" cap="none" spc="18" normalizeH="0" baseline="0" noProof="0" dirty="0">
                <a:ln>
                  <a:noFill/>
                </a:ln>
                <a:solidFill>
                  <a:srgbClr val="6F6F6F">
                    <a:alpha val="90196"/>
                  </a:srgbClr>
                </a:solidFill>
                <a:effectLst/>
                <a:uLnTx/>
                <a:uFillTx/>
                <a:latin typeface="OPPOSans R" panose="00020600040101010101" pitchFamily="18" charset="-122"/>
                <a:ea typeface="OPPOSans B" panose="00020600040101010101" pitchFamily="18" charset="-122"/>
                <a:cs typeface="OPPOSans B" panose="00020600040101010101" pitchFamily="18" charset="-122"/>
                <a:sym typeface="OPPOSans R" panose="00020600040101010101" pitchFamily="18" charset="-122"/>
              </a:rPr>
              <a:t>秋叶物业</a:t>
            </a:r>
            <a:endParaRPr kumimoji="0" lang="zh-CN" altLang="en-US" sz="900" b="0" i="0" u="none" strike="noStrike" kern="1200" cap="none" spc="0" normalizeH="0" baseline="0" noProof="0" dirty="0">
              <a:ln>
                <a:noFill/>
              </a:ln>
              <a:solidFill>
                <a:srgbClr val="000000"/>
              </a:solidFill>
              <a:effectLst/>
              <a:uLnTx/>
              <a:uFillTx/>
              <a:latin typeface="OPPOSans R" panose="00020600040101010101" pitchFamily="18" charset="-122"/>
              <a:ea typeface="OPPOSans B" panose="00020600040101010101" pitchFamily="18" charset="-122"/>
              <a:cs typeface="OPPOSans B" panose="00020600040101010101" pitchFamily="18" charset="-122"/>
              <a:sym typeface="OPPOSans R" panose="00020600040101010101" pitchFamily="18" charset="-122"/>
            </a:endParaRPr>
          </a:p>
        </p:txBody>
      </p:sp>
      <p:sp>
        <p:nvSpPr>
          <p:cNvPr id="1031" name="Object 1031"/>
          <p:cNvSpPr txBox="1"/>
          <p:nvPr/>
        </p:nvSpPr>
        <p:spPr>
          <a:xfrm>
            <a:off x="9246864" y="4625050"/>
            <a:ext cx="1383049" cy="266700"/>
          </a:xfrm>
          <a:prstGeom prst="rect">
            <a:avLst/>
          </a:prstGeom>
        </p:spPr>
        <p:txBody>
          <a:bodyPr vert="horz"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750" b="0" i="0" u="none" strike="noStrike" kern="1200" cap="none" spc="18" normalizeH="0" baseline="0" noProof="0" dirty="0">
                <a:ln>
                  <a:noFill/>
                </a:ln>
                <a:solidFill>
                  <a:srgbClr val="6F6F6F">
                    <a:alpha val="90196"/>
                  </a:srgbClr>
                </a:solidFill>
                <a:effectLst/>
                <a:uLnTx/>
                <a:uFillTx/>
                <a:latin typeface="OPPOSans R" panose="00020600040101010101" pitchFamily="18" charset="-122"/>
                <a:ea typeface="OPPOSans B" panose="00020600040101010101" pitchFamily="18" charset="-122"/>
                <a:cs typeface="OPPOSans B" panose="00020600040101010101" pitchFamily="18" charset="-122"/>
                <a:sym typeface="OPPOSans R" panose="00020600040101010101" pitchFamily="18" charset="-122"/>
              </a:rPr>
              <a:t>秋叶商场</a:t>
            </a:r>
            <a:endParaRPr kumimoji="0" lang="zh-CN" altLang="en-US" sz="900" b="0" i="0" u="none" strike="noStrike" kern="1200" cap="none" spc="0" normalizeH="0" baseline="0" noProof="0" dirty="0">
              <a:ln>
                <a:noFill/>
              </a:ln>
              <a:solidFill>
                <a:srgbClr val="000000"/>
              </a:solidFill>
              <a:effectLst/>
              <a:uLnTx/>
              <a:uFillTx/>
              <a:latin typeface="OPPOSans R" panose="00020600040101010101" pitchFamily="18" charset="-122"/>
              <a:ea typeface="OPPOSans B" panose="00020600040101010101" pitchFamily="18" charset="-122"/>
              <a:cs typeface="OPPOSans B" panose="00020600040101010101" pitchFamily="18" charset="-122"/>
              <a:sym typeface="OPPOSans R" panose="00020600040101010101" pitchFamily="18" charset="-122"/>
            </a:endParaRPr>
          </a:p>
        </p:txBody>
      </p:sp>
      <p:sp>
        <p:nvSpPr>
          <p:cNvPr id="1032" name="Object 1032"/>
          <p:cNvSpPr txBox="1"/>
          <p:nvPr/>
        </p:nvSpPr>
        <p:spPr>
          <a:xfrm>
            <a:off x="8851025" y="2225538"/>
            <a:ext cx="1395841" cy="317500"/>
          </a:xfrm>
          <a:prstGeom prst="rect">
            <a:avLst/>
          </a:prstGeom>
        </p:spPr>
        <p:txBody>
          <a:bodyPr vert="horz"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2100" b="1" i="0" u="none" strike="noStrike" kern="1200" cap="none" spc="53" normalizeH="0" baseline="0" noProof="0" dirty="0">
                <a:ln>
                  <a:noFill/>
                </a:ln>
                <a:solidFill>
                  <a:srgbClr val="2254F4"/>
                </a:solidFill>
                <a:effectLst/>
                <a:uLnTx/>
                <a:uFillTx/>
                <a:latin typeface="OPPOSans R" panose="00020600040101010101" pitchFamily="18" charset="-122"/>
                <a:ea typeface="OPPOSans B" panose="00020600040101010101" pitchFamily="18" charset="-122"/>
                <a:cs typeface="OPPOSans B" panose="00020600040101010101" pitchFamily="18" charset="-122"/>
                <a:sym typeface="OPPOSans R" panose="00020600040101010101" pitchFamily="18" charset="-122"/>
              </a:rPr>
              <a:t>分公司</a:t>
            </a:r>
            <a:endParaRPr kumimoji="0" lang="zh-CN" altLang="en-US" sz="900" b="1" i="0" u="none" strike="noStrike" kern="1200" cap="none" spc="0" normalizeH="0" baseline="0" noProof="0" dirty="0">
              <a:ln>
                <a:noFill/>
              </a:ln>
              <a:solidFill>
                <a:srgbClr val="2254F4"/>
              </a:solidFill>
              <a:effectLst/>
              <a:uLnTx/>
              <a:uFillTx/>
              <a:latin typeface="OPPOSans R" panose="00020600040101010101" pitchFamily="18" charset="-122"/>
              <a:ea typeface="OPPOSans B" panose="00020600040101010101" pitchFamily="18" charset="-122"/>
              <a:cs typeface="OPPOSans B" panose="00020600040101010101" pitchFamily="18" charset="-122"/>
              <a:sym typeface="OPPOSans R" panose="00020600040101010101" pitchFamily="18" charset="-122"/>
            </a:endParaRPr>
          </a:p>
        </p:txBody>
      </p:sp>
      <p:grpSp>
        <p:nvGrpSpPr>
          <p:cNvPr id="6" name="组合 5">
            <a:extLst>
              <a:ext uri="{FF2B5EF4-FFF2-40B4-BE49-F238E27FC236}">
                <a16:creationId xmlns:a16="http://schemas.microsoft.com/office/drawing/2014/main" id="{67182120-7BAA-42EA-82B2-BF2F0229B195}"/>
              </a:ext>
            </a:extLst>
          </p:cNvPr>
          <p:cNvGrpSpPr/>
          <p:nvPr/>
        </p:nvGrpSpPr>
        <p:grpSpPr>
          <a:xfrm>
            <a:off x="5452996" y="2970022"/>
            <a:ext cx="167386" cy="2792041"/>
            <a:chOff x="5019929" y="2954782"/>
            <a:chExt cx="167386" cy="2792041"/>
          </a:xfrm>
        </p:grpSpPr>
        <p:cxnSp>
          <p:nvCxnSpPr>
            <p:cNvPr id="3" name="直接连接符 2">
              <a:extLst>
                <a:ext uri="{FF2B5EF4-FFF2-40B4-BE49-F238E27FC236}">
                  <a16:creationId xmlns:a16="http://schemas.microsoft.com/office/drawing/2014/main" id="{536E21D1-8687-46B9-9151-A2126801F315}"/>
                </a:ext>
              </a:extLst>
            </p:cNvPr>
            <p:cNvCxnSpPr>
              <a:cxnSpLocks/>
              <a:endCxn id="42" idx="4"/>
            </p:cNvCxnSpPr>
            <p:nvPr/>
          </p:nvCxnSpPr>
          <p:spPr>
            <a:xfrm>
              <a:off x="5103594" y="3011642"/>
              <a:ext cx="28" cy="2735181"/>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4" name="椭圆 3">
              <a:extLst>
                <a:ext uri="{FF2B5EF4-FFF2-40B4-BE49-F238E27FC236}">
                  <a16:creationId xmlns:a16="http://schemas.microsoft.com/office/drawing/2014/main" id="{385D97C0-9BD9-4B4D-BA44-830DC154CDB8}"/>
                </a:ext>
              </a:extLst>
            </p:cNvPr>
            <p:cNvSpPr/>
            <p:nvPr/>
          </p:nvSpPr>
          <p:spPr>
            <a:xfrm>
              <a:off x="5019929" y="2954782"/>
              <a:ext cx="167386" cy="167386"/>
            </a:xfrm>
            <a:prstGeom prst="ellipse">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Arial" panose="020F0502020204030204"/>
                <a:ea typeface="微软雅黑"/>
                <a:cs typeface="+mn-cs"/>
              </a:endParaRPr>
            </a:p>
          </p:txBody>
        </p:sp>
        <p:sp>
          <p:nvSpPr>
            <p:cNvPr id="40" name="椭圆 39">
              <a:extLst>
                <a:ext uri="{FF2B5EF4-FFF2-40B4-BE49-F238E27FC236}">
                  <a16:creationId xmlns:a16="http://schemas.microsoft.com/office/drawing/2014/main" id="{770CC225-45B6-48A2-9DE2-4B05AAD6DDAC}"/>
                </a:ext>
              </a:extLst>
            </p:cNvPr>
            <p:cNvSpPr/>
            <p:nvPr/>
          </p:nvSpPr>
          <p:spPr>
            <a:xfrm>
              <a:off x="5019929" y="3829667"/>
              <a:ext cx="167386" cy="167386"/>
            </a:xfrm>
            <a:prstGeom prst="ellipse">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Arial" panose="020F0502020204030204"/>
                <a:ea typeface="微软雅黑"/>
                <a:cs typeface="+mn-cs"/>
              </a:endParaRPr>
            </a:p>
          </p:txBody>
        </p:sp>
        <p:sp>
          <p:nvSpPr>
            <p:cNvPr id="41" name="椭圆 40">
              <a:extLst>
                <a:ext uri="{FF2B5EF4-FFF2-40B4-BE49-F238E27FC236}">
                  <a16:creationId xmlns:a16="http://schemas.microsoft.com/office/drawing/2014/main" id="{6CB5B792-7103-468F-B149-262C5C734767}"/>
                </a:ext>
              </a:extLst>
            </p:cNvPr>
            <p:cNvSpPr/>
            <p:nvPr/>
          </p:nvSpPr>
          <p:spPr>
            <a:xfrm>
              <a:off x="5019929" y="4704552"/>
              <a:ext cx="167386" cy="167386"/>
            </a:xfrm>
            <a:prstGeom prst="ellipse">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Arial" panose="020F0502020204030204"/>
                <a:ea typeface="微软雅黑"/>
                <a:cs typeface="+mn-cs"/>
              </a:endParaRPr>
            </a:p>
          </p:txBody>
        </p:sp>
        <p:sp>
          <p:nvSpPr>
            <p:cNvPr id="42" name="椭圆 41">
              <a:extLst>
                <a:ext uri="{FF2B5EF4-FFF2-40B4-BE49-F238E27FC236}">
                  <a16:creationId xmlns:a16="http://schemas.microsoft.com/office/drawing/2014/main" id="{32C62267-EB22-48CD-ABB9-71C9B1C91BC3}"/>
                </a:ext>
              </a:extLst>
            </p:cNvPr>
            <p:cNvSpPr/>
            <p:nvPr/>
          </p:nvSpPr>
          <p:spPr>
            <a:xfrm>
              <a:off x="5019929" y="5579437"/>
              <a:ext cx="167386" cy="167386"/>
            </a:xfrm>
            <a:prstGeom prst="ellipse">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Arial" panose="020F0502020204030204"/>
                <a:ea typeface="微软雅黑"/>
                <a:cs typeface="+mn-cs"/>
              </a:endParaRPr>
            </a:p>
          </p:txBody>
        </p:sp>
      </p:grpSp>
      <p:grpSp>
        <p:nvGrpSpPr>
          <p:cNvPr id="45" name="组合 44">
            <a:extLst>
              <a:ext uri="{FF2B5EF4-FFF2-40B4-BE49-F238E27FC236}">
                <a16:creationId xmlns:a16="http://schemas.microsoft.com/office/drawing/2014/main" id="{F1752294-A1BD-43D5-9FF2-BD15AF845A2C}"/>
              </a:ext>
            </a:extLst>
          </p:cNvPr>
          <p:cNvGrpSpPr/>
          <p:nvPr/>
        </p:nvGrpSpPr>
        <p:grpSpPr>
          <a:xfrm>
            <a:off x="9003933" y="2970022"/>
            <a:ext cx="167386" cy="1917156"/>
            <a:chOff x="5019929" y="2954782"/>
            <a:chExt cx="167386" cy="1917156"/>
          </a:xfrm>
        </p:grpSpPr>
        <p:cxnSp>
          <p:nvCxnSpPr>
            <p:cNvPr id="46" name="直接连接符 45">
              <a:extLst>
                <a:ext uri="{FF2B5EF4-FFF2-40B4-BE49-F238E27FC236}">
                  <a16:creationId xmlns:a16="http://schemas.microsoft.com/office/drawing/2014/main" id="{DD315806-E54E-4C6A-B506-F1E780C9E7C3}"/>
                </a:ext>
              </a:extLst>
            </p:cNvPr>
            <p:cNvCxnSpPr>
              <a:cxnSpLocks/>
              <a:endCxn id="49" idx="4"/>
            </p:cNvCxnSpPr>
            <p:nvPr/>
          </p:nvCxnSpPr>
          <p:spPr>
            <a:xfrm>
              <a:off x="5103594" y="3011642"/>
              <a:ext cx="28" cy="1860296"/>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47" name="椭圆 46">
              <a:extLst>
                <a:ext uri="{FF2B5EF4-FFF2-40B4-BE49-F238E27FC236}">
                  <a16:creationId xmlns:a16="http://schemas.microsoft.com/office/drawing/2014/main" id="{4559BD49-1246-44B9-A060-BAADD5E3ECC3}"/>
                </a:ext>
              </a:extLst>
            </p:cNvPr>
            <p:cNvSpPr/>
            <p:nvPr/>
          </p:nvSpPr>
          <p:spPr>
            <a:xfrm>
              <a:off x="5019929" y="2954782"/>
              <a:ext cx="167386" cy="167386"/>
            </a:xfrm>
            <a:prstGeom prst="ellipse">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Arial" panose="020F0502020204030204"/>
                <a:ea typeface="微软雅黑"/>
                <a:cs typeface="+mn-cs"/>
              </a:endParaRPr>
            </a:p>
          </p:txBody>
        </p:sp>
        <p:sp>
          <p:nvSpPr>
            <p:cNvPr id="48" name="椭圆 47">
              <a:extLst>
                <a:ext uri="{FF2B5EF4-FFF2-40B4-BE49-F238E27FC236}">
                  <a16:creationId xmlns:a16="http://schemas.microsoft.com/office/drawing/2014/main" id="{05BBBA83-2F68-423D-947C-994BA9A4B2F3}"/>
                </a:ext>
              </a:extLst>
            </p:cNvPr>
            <p:cNvSpPr/>
            <p:nvPr/>
          </p:nvSpPr>
          <p:spPr>
            <a:xfrm>
              <a:off x="5019929" y="3829667"/>
              <a:ext cx="167386" cy="167386"/>
            </a:xfrm>
            <a:prstGeom prst="ellipse">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Arial" panose="020F0502020204030204"/>
                <a:ea typeface="微软雅黑"/>
                <a:cs typeface="+mn-cs"/>
              </a:endParaRPr>
            </a:p>
          </p:txBody>
        </p:sp>
        <p:sp>
          <p:nvSpPr>
            <p:cNvPr id="49" name="椭圆 48">
              <a:extLst>
                <a:ext uri="{FF2B5EF4-FFF2-40B4-BE49-F238E27FC236}">
                  <a16:creationId xmlns:a16="http://schemas.microsoft.com/office/drawing/2014/main" id="{87A4AE48-AD92-424E-9E68-EBB78E39F7FA}"/>
                </a:ext>
              </a:extLst>
            </p:cNvPr>
            <p:cNvSpPr/>
            <p:nvPr/>
          </p:nvSpPr>
          <p:spPr>
            <a:xfrm>
              <a:off x="5019929" y="4704552"/>
              <a:ext cx="167386" cy="167386"/>
            </a:xfrm>
            <a:prstGeom prst="ellipse">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Arial" panose="020F0502020204030204"/>
                <a:ea typeface="微软雅黑"/>
                <a:cs typeface="+mn-cs"/>
              </a:endParaRPr>
            </a:p>
          </p:txBody>
        </p:sp>
      </p:grpSp>
      <p:grpSp>
        <p:nvGrpSpPr>
          <p:cNvPr id="53" name="组合 52">
            <a:extLst>
              <a:ext uri="{FF2B5EF4-FFF2-40B4-BE49-F238E27FC236}">
                <a16:creationId xmlns:a16="http://schemas.microsoft.com/office/drawing/2014/main" id="{442CEA9F-706C-47F3-A53C-1DF6144AA1AB}"/>
              </a:ext>
            </a:extLst>
          </p:cNvPr>
          <p:cNvGrpSpPr/>
          <p:nvPr/>
        </p:nvGrpSpPr>
        <p:grpSpPr>
          <a:xfrm>
            <a:off x="1936323" y="2970022"/>
            <a:ext cx="167386" cy="1917156"/>
            <a:chOff x="5019929" y="2954782"/>
            <a:chExt cx="167386" cy="1917156"/>
          </a:xfrm>
        </p:grpSpPr>
        <p:cxnSp>
          <p:nvCxnSpPr>
            <p:cNvPr id="54" name="直接连接符 53">
              <a:extLst>
                <a:ext uri="{FF2B5EF4-FFF2-40B4-BE49-F238E27FC236}">
                  <a16:creationId xmlns:a16="http://schemas.microsoft.com/office/drawing/2014/main" id="{822222B1-08B0-4012-8CDB-E87754C310E2}"/>
                </a:ext>
              </a:extLst>
            </p:cNvPr>
            <p:cNvCxnSpPr>
              <a:cxnSpLocks/>
              <a:endCxn id="57" idx="4"/>
            </p:cNvCxnSpPr>
            <p:nvPr/>
          </p:nvCxnSpPr>
          <p:spPr>
            <a:xfrm>
              <a:off x="5103594" y="3011642"/>
              <a:ext cx="28" cy="1860296"/>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55" name="椭圆 54">
              <a:extLst>
                <a:ext uri="{FF2B5EF4-FFF2-40B4-BE49-F238E27FC236}">
                  <a16:creationId xmlns:a16="http://schemas.microsoft.com/office/drawing/2014/main" id="{AB561579-B140-4EFB-862C-941EF56D9298}"/>
                </a:ext>
              </a:extLst>
            </p:cNvPr>
            <p:cNvSpPr/>
            <p:nvPr/>
          </p:nvSpPr>
          <p:spPr>
            <a:xfrm>
              <a:off x="5019929" y="2954782"/>
              <a:ext cx="167386" cy="167386"/>
            </a:xfrm>
            <a:prstGeom prst="ellipse">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Arial" panose="020F0502020204030204"/>
                <a:ea typeface="微软雅黑"/>
                <a:cs typeface="+mn-cs"/>
              </a:endParaRPr>
            </a:p>
          </p:txBody>
        </p:sp>
        <p:sp>
          <p:nvSpPr>
            <p:cNvPr id="56" name="椭圆 55">
              <a:extLst>
                <a:ext uri="{FF2B5EF4-FFF2-40B4-BE49-F238E27FC236}">
                  <a16:creationId xmlns:a16="http://schemas.microsoft.com/office/drawing/2014/main" id="{23D045CD-A1A8-4BAB-AEE2-D9415C03F152}"/>
                </a:ext>
              </a:extLst>
            </p:cNvPr>
            <p:cNvSpPr/>
            <p:nvPr/>
          </p:nvSpPr>
          <p:spPr>
            <a:xfrm>
              <a:off x="5019929" y="3829667"/>
              <a:ext cx="167386" cy="167386"/>
            </a:xfrm>
            <a:prstGeom prst="ellipse">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Arial" panose="020F0502020204030204"/>
                <a:ea typeface="微软雅黑"/>
                <a:cs typeface="+mn-cs"/>
              </a:endParaRPr>
            </a:p>
          </p:txBody>
        </p:sp>
        <p:sp>
          <p:nvSpPr>
            <p:cNvPr id="57" name="椭圆 56">
              <a:extLst>
                <a:ext uri="{FF2B5EF4-FFF2-40B4-BE49-F238E27FC236}">
                  <a16:creationId xmlns:a16="http://schemas.microsoft.com/office/drawing/2014/main" id="{5F774011-3020-4733-BB1B-AB163F524A37}"/>
                </a:ext>
              </a:extLst>
            </p:cNvPr>
            <p:cNvSpPr/>
            <p:nvPr/>
          </p:nvSpPr>
          <p:spPr>
            <a:xfrm>
              <a:off x="5019929" y="4704552"/>
              <a:ext cx="167386" cy="167386"/>
            </a:xfrm>
            <a:prstGeom prst="ellipse">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Arial" panose="020F0502020204030204"/>
                <a:ea typeface="微软雅黑"/>
                <a:cs typeface="+mn-cs"/>
              </a:endParaRPr>
            </a:p>
          </p:txBody>
        </p:sp>
      </p:grpSp>
      <p:sp>
        <p:nvSpPr>
          <p:cNvPr id="2" name="矩形 1">
            <a:extLst>
              <a:ext uri="{FF2B5EF4-FFF2-40B4-BE49-F238E27FC236}">
                <a16:creationId xmlns:a16="http://schemas.microsoft.com/office/drawing/2014/main" id="{3302E8C5-F65C-4913-BAA3-54D9FC0DA8FF}"/>
              </a:ext>
            </a:extLst>
          </p:cNvPr>
          <p:cNvSpPr/>
          <p:nvPr/>
        </p:nvSpPr>
        <p:spPr>
          <a:xfrm>
            <a:off x="11811146" y="0"/>
            <a:ext cx="380854" cy="6858000"/>
          </a:xfrm>
          <a:prstGeom prst="rect">
            <a:avLst/>
          </a:prstGeom>
          <a:solidFill>
            <a:schemeClr val="accent1">
              <a:alpha val="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Arial" panose="020F0502020204030204"/>
              <a:ea typeface="微软雅黑"/>
              <a:cs typeface="+mn-cs"/>
            </a:endParaRPr>
          </a:p>
        </p:txBody>
      </p:sp>
    </p:spTree>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8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1">
            <a:extLst>
              <a:ext uri="{FF2B5EF4-FFF2-40B4-BE49-F238E27FC236}">
                <a16:creationId xmlns:a16="http://schemas.microsoft.com/office/drawing/2014/main" id="{E8125B4F-F7F0-4D06-934D-90614D00D38D}"/>
              </a:ext>
            </a:extLst>
          </p:cNvPr>
          <p:cNvGrpSpPr/>
          <p:nvPr/>
        </p:nvGrpSpPr>
        <p:grpSpPr>
          <a:xfrm>
            <a:off x="0" y="0"/>
            <a:ext cx="12192000" cy="6858000"/>
            <a:chOff x="0" y="0"/>
            <a:chExt cx="12192000" cy="6858000"/>
          </a:xfrm>
        </p:grpSpPr>
        <p:pic>
          <p:nvPicPr>
            <p:cNvPr id="3" name="图片 2" descr="蓝色的眼睛&#10;&#10;低可信度描述已自动生成">
              <a:extLst>
                <a:ext uri="{FF2B5EF4-FFF2-40B4-BE49-F238E27FC236}">
                  <a16:creationId xmlns:a16="http://schemas.microsoft.com/office/drawing/2014/main" id="{E52BC27F-D4D0-444C-B267-8A985113CE5D}"/>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t="53680" r="61493" b="7810"/>
            <a:stretch/>
          </p:blipFill>
          <p:spPr>
            <a:xfrm>
              <a:off x="0" y="0"/>
              <a:ext cx="12192000" cy="6858000"/>
            </a:xfrm>
            <a:prstGeom prst="rect">
              <a:avLst/>
            </a:prstGeom>
          </p:spPr>
        </p:pic>
        <p:sp>
          <p:nvSpPr>
            <p:cNvPr id="4" name="矩形 3">
              <a:extLst>
                <a:ext uri="{FF2B5EF4-FFF2-40B4-BE49-F238E27FC236}">
                  <a16:creationId xmlns:a16="http://schemas.microsoft.com/office/drawing/2014/main" id="{199D662B-DB1B-4A16-9B12-BBEC1EA827A4}"/>
                </a:ext>
              </a:extLst>
            </p:cNvPr>
            <p:cNvSpPr/>
            <p:nvPr/>
          </p:nvSpPr>
          <p:spPr>
            <a:xfrm>
              <a:off x="0" y="0"/>
              <a:ext cx="12192000" cy="6858000"/>
            </a:xfrm>
            <a:prstGeom prst="rect">
              <a:avLst/>
            </a:prstGeom>
            <a:solidFill>
              <a:schemeClr val="tx1">
                <a:alpha val="55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white"/>
                </a:solidFill>
                <a:effectLst/>
                <a:uLnTx/>
                <a:uFillTx/>
                <a:latin typeface="OPPOSans B" panose="00020600040101010101" pitchFamily="18" charset="-122"/>
                <a:ea typeface="OPPOSans B" panose="00020600040101010101" pitchFamily="18" charset="-122"/>
                <a:cs typeface="OPPOSans B" panose="00020600040101010101" pitchFamily="18" charset="-122"/>
              </a:endParaRPr>
            </a:p>
          </p:txBody>
        </p:sp>
        <p:sp>
          <p:nvSpPr>
            <p:cNvPr id="5" name="任意多边形: 形状 4">
              <a:extLst>
                <a:ext uri="{FF2B5EF4-FFF2-40B4-BE49-F238E27FC236}">
                  <a16:creationId xmlns:a16="http://schemas.microsoft.com/office/drawing/2014/main" id="{3CAE7D3F-DB62-4947-8B76-48C828F08FC8}"/>
                </a:ext>
              </a:extLst>
            </p:cNvPr>
            <p:cNvSpPr/>
            <p:nvPr/>
          </p:nvSpPr>
          <p:spPr>
            <a:xfrm flipH="1" flipV="1">
              <a:off x="690879" y="1027383"/>
              <a:ext cx="8053069" cy="293044"/>
            </a:xfrm>
            <a:custGeom>
              <a:avLst/>
              <a:gdLst>
                <a:gd name="connsiteX0" fmla="*/ 84666 w 5181600"/>
                <a:gd name="connsiteY0" fmla="*/ 228600 h 228600"/>
                <a:gd name="connsiteX1" fmla="*/ 0 w 5181600"/>
                <a:gd name="connsiteY1" fmla="*/ 228600 h 228600"/>
                <a:gd name="connsiteX2" fmla="*/ 1854200 w 5181600"/>
                <a:gd name="connsiteY2" fmla="*/ 228600 h 228600"/>
                <a:gd name="connsiteX3" fmla="*/ 2048933 w 5181600"/>
                <a:gd name="connsiteY3" fmla="*/ 33867 h 228600"/>
                <a:gd name="connsiteX4" fmla="*/ 5181600 w 5181600"/>
                <a:gd name="connsiteY4" fmla="*/ 33867 h 228600"/>
                <a:gd name="connsiteX5" fmla="*/ 5181600 w 5181600"/>
                <a:gd name="connsiteY5" fmla="*/ 0 h 228600"/>
                <a:gd name="connsiteX0" fmla="*/ 0 w 5181600"/>
                <a:gd name="connsiteY0" fmla="*/ 228600 h 228600"/>
                <a:gd name="connsiteX1" fmla="*/ 1854200 w 5181600"/>
                <a:gd name="connsiteY1" fmla="*/ 228600 h 228600"/>
                <a:gd name="connsiteX2" fmla="*/ 2048933 w 5181600"/>
                <a:gd name="connsiteY2" fmla="*/ 33867 h 228600"/>
                <a:gd name="connsiteX3" fmla="*/ 5181600 w 5181600"/>
                <a:gd name="connsiteY3" fmla="*/ 33867 h 228600"/>
                <a:gd name="connsiteX4" fmla="*/ 5181600 w 5181600"/>
                <a:gd name="connsiteY4" fmla="*/ 0 h 228600"/>
                <a:gd name="connsiteX0" fmla="*/ 0 w 5181600"/>
                <a:gd name="connsiteY0" fmla="*/ 194733 h 194733"/>
                <a:gd name="connsiteX1" fmla="*/ 1854200 w 5181600"/>
                <a:gd name="connsiteY1" fmla="*/ 194733 h 194733"/>
                <a:gd name="connsiteX2" fmla="*/ 2048933 w 5181600"/>
                <a:gd name="connsiteY2" fmla="*/ 0 h 194733"/>
                <a:gd name="connsiteX3" fmla="*/ 5181600 w 5181600"/>
                <a:gd name="connsiteY3" fmla="*/ 0 h 194733"/>
                <a:gd name="connsiteX0" fmla="*/ 0 w 5181600"/>
                <a:gd name="connsiteY0" fmla="*/ 194733 h 197587"/>
                <a:gd name="connsiteX1" fmla="*/ 1962214 w 5181600"/>
                <a:gd name="connsiteY1" fmla="*/ 197587 h 197587"/>
                <a:gd name="connsiteX2" fmla="*/ 2048933 w 5181600"/>
                <a:gd name="connsiteY2" fmla="*/ 0 h 197587"/>
                <a:gd name="connsiteX3" fmla="*/ 5181600 w 5181600"/>
                <a:gd name="connsiteY3" fmla="*/ 0 h 197587"/>
                <a:gd name="connsiteX0" fmla="*/ 0 w 5181600"/>
                <a:gd name="connsiteY0" fmla="*/ 194733 h 197587"/>
                <a:gd name="connsiteX1" fmla="*/ 1933688 w 5181600"/>
                <a:gd name="connsiteY1" fmla="*/ 197587 h 197587"/>
                <a:gd name="connsiteX2" fmla="*/ 2048933 w 5181600"/>
                <a:gd name="connsiteY2" fmla="*/ 0 h 197587"/>
                <a:gd name="connsiteX3" fmla="*/ 5181600 w 5181600"/>
                <a:gd name="connsiteY3" fmla="*/ 0 h 197587"/>
              </a:gdLst>
              <a:ahLst/>
              <a:cxnLst>
                <a:cxn ang="0">
                  <a:pos x="connsiteX0" y="connsiteY0"/>
                </a:cxn>
                <a:cxn ang="0">
                  <a:pos x="connsiteX1" y="connsiteY1"/>
                </a:cxn>
                <a:cxn ang="0">
                  <a:pos x="connsiteX2" y="connsiteY2"/>
                </a:cxn>
                <a:cxn ang="0">
                  <a:pos x="connsiteX3" y="connsiteY3"/>
                </a:cxn>
              </a:cxnLst>
              <a:rect l="l" t="t" r="r" b="b"/>
              <a:pathLst>
                <a:path w="5181600" h="197587">
                  <a:moveTo>
                    <a:pt x="0" y="194733"/>
                  </a:moveTo>
                  <a:lnTo>
                    <a:pt x="1933688" y="197587"/>
                  </a:lnTo>
                  <a:lnTo>
                    <a:pt x="2048933" y="0"/>
                  </a:lnTo>
                  <a:lnTo>
                    <a:pt x="5181600" y="0"/>
                  </a:lnTo>
                </a:path>
              </a:pathLst>
            </a:custGeom>
            <a:noFill/>
            <a:ln w="6350">
              <a:solidFill>
                <a:schemeClr val="bg1"/>
              </a:solidFill>
              <a:headEnd type="ova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OPPOSans B" panose="00020600040101010101" pitchFamily="18" charset="-122"/>
                <a:ea typeface="OPPOSans B" panose="00020600040101010101" pitchFamily="18" charset="-122"/>
                <a:cs typeface="OPPOSans B" panose="00020600040101010101" pitchFamily="18" charset="-122"/>
              </a:endParaRPr>
            </a:p>
          </p:txBody>
        </p:sp>
        <p:sp>
          <p:nvSpPr>
            <p:cNvPr id="6" name="文本框 5">
              <a:extLst>
                <a:ext uri="{FF2B5EF4-FFF2-40B4-BE49-F238E27FC236}">
                  <a16:creationId xmlns:a16="http://schemas.microsoft.com/office/drawing/2014/main" id="{1EB53235-C1F6-4536-9C1E-B7CC4355B3AC}"/>
                </a:ext>
              </a:extLst>
            </p:cNvPr>
            <p:cNvSpPr txBox="1"/>
            <p:nvPr/>
          </p:nvSpPr>
          <p:spPr>
            <a:xfrm>
              <a:off x="720856" y="638458"/>
              <a:ext cx="4397374" cy="356105"/>
            </a:xfrm>
            <a:prstGeom prst="rect">
              <a:avLst/>
            </a:prstGeom>
            <a:noFill/>
          </p:spPr>
          <p:txBody>
            <a:bodyPr wrap="non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2400" b="1" i="0" u="none" strike="noStrike" kern="1200" cap="none" spc="120" normalizeH="0" baseline="0" noProof="0" dirty="0">
                  <a:ln>
                    <a:noFill/>
                  </a:ln>
                  <a:gradFill>
                    <a:gsLst>
                      <a:gs pos="0">
                        <a:srgbClr val="3BD1FF"/>
                      </a:gs>
                      <a:gs pos="100000">
                        <a:srgbClr val="008CFF"/>
                      </a:gs>
                    </a:gsLst>
                    <a:lin ang="5400000" scaled="1"/>
                  </a:gradFill>
                  <a:effectLst/>
                  <a:uLnTx/>
                  <a:uFillTx/>
                  <a:latin typeface="OPPOSans B" panose="00020600040101010101" pitchFamily="18" charset="-122"/>
                  <a:ea typeface="OPPOSans B" panose="00020600040101010101" pitchFamily="18" charset="-122"/>
                  <a:cs typeface="OPPOSans B" panose="00020600040101010101" pitchFamily="18" charset="-122"/>
                </a:rPr>
                <a:t>秋叶</a:t>
              </a:r>
              <a:r>
                <a:rPr kumimoji="0" lang="en-US" altLang="zh-CN" sz="2400" b="1" i="0" u="none" strike="noStrike" kern="1200" cap="none" spc="120" normalizeH="0" baseline="0" noProof="0" dirty="0">
                  <a:ln>
                    <a:noFill/>
                  </a:ln>
                  <a:gradFill>
                    <a:gsLst>
                      <a:gs pos="0">
                        <a:srgbClr val="3BD1FF"/>
                      </a:gs>
                      <a:gs pos="100000">
                        <a:srgbClr val="008CFF"/>
                      </a:gs>
                    </a:gsLst>
                    <a:lin ang="5400000" scaled="1"/>
                  </a:gradFill>
                  <a:effectLst/>
                  <a:uLnTx/>
                  <a:uFillTx/>
                  <a:latin typeface="OPPOSans B" panose="00020600040101010101" pitchFamily="18" charset="-122"/>
                  <a:ea typeface="OPPOSans B" panose="00020600040101010101" pitchFamily="18" charset="-122"/>
                  <a:cs typeface="OPPOSans B" panose="00020600040101010101" pitchFamily="18" charset="-122"/>
                </a:rPr>
                <a:t>PPT</a:t>
              </a:r>
              <a:r>
                <a:rPr kumimoji="0" lang="zh-CN" altLang="en-US" sz="2400" b="1" i="0" u="none" strike="noStrike" kern="1200" cap="none" spc="120" normalizeH="0" baseline="0" noProof="0" dirty="0">
                  <a:ln>
                    <a:noFill/>
                  </a:ln>
                  <a:gradFill>
                    <a:gsLst>
                      <a:gs pos="0">
                        <a:srgbClr val="3BD1FF"/>
                      </a:gs>
                      <a:gs pos="100000">
                        <a:srgbClr val="008CFF"/>
                      </a:gs>
                    </a:gsLst>
                    <a:lin ang="5400000" scaled="1"/>
                  </a:gradFill>
                  <a:effectLst/>
                  <a:uLnTx/>
                  <a:uFillTx/>
                  <a:latin typeface="OPPOSans B" panose="00020600040101010101" pitchFamily="18" charset="-122"/>
                  <a:ea typeface="OPPOSans B" panose="00020600040101010101" pitchFamily="18" charset="-122"/>
                  <a:cs typeface="OPPOSans B" panose="00020600040101010101" pitchFamily="18" charset="-122"/>
                </a:rPr>
                <a:t>，海量素材持续</a:t>
              </a:r>
              <a:r>
                <a:rPr kumimoji="0" lang="zh-CN" altLang="en-US" sz="2400" b="0" i="0" u="none" strike="noStrike" kern="1200" cap="none" spc="120" normalizeH="0" baseline="0" noProof="0" dirty="0">
                  <a:ln>
                    <a:noFill/>
                  </a:ln>
                  <a:gradFill>
                    <a:gsLst>
                      <a:gs pos="0">
                        <a:srgbClr val="3BD1FF"/>
                      </a:gs>
                      <a:gs pos="100000">
                        <a:srgbClr val="008CFF"/>
                      </a:gs>
                    </a:gsLst>
                    <a:lin ang="5400000" scaled="1"/>
                  </a:gradFill>
                  <a:effectLst/>
                  <a:uLnTx/>
                  <a:uFillTx/>
                  <a:latin typeface="OPPOSans B" panose="00020600040101010101" pitchFamily="18" charset="-122"/>
                  <a:ea typeface="OPPOSans B" panose="00020600040101010101" pitchFamily="18" charset="-122"/>
                  <a:cs typeface="OPPOSans B" panose="00020600040101010101" pitchFamily="18" charset="-122"/>
                </a:rPr>
                <a:t>更新</a:t>
              </a:r>
              <a:endParaRPr kumimoji="0" lang="en-US" altLang="zh-CN" sz="2400" b="0" i="0" u="none" strike="noStrike" kern="1200" cap="none" spc="120" normalizeH="0" baseline="0" noProof="0" dirty="0">
                <a:ln>
                  <a:noFill/>
                </a:ln>
                <a:gradFill>
                  <a:gsLst>
                    <a:gs pos="0">
                      <a:srgbClr val="3BD1FF"/>
                    </a:gs>
                    <a:gs pos="100000">
                      <a:srgbClr val="008CFF"/>
                    </a:gs>
                  </a:gsLst>
                  <a:lin ang="5400000" scaled="1"/>
                </a:gradFill>
                <a:effectLst/>
                <a:uLnTx/>
                <a:uFillTx/>
                <a:latin typeface="OPPOSans B" panose="00020600040101010101" pitchFamily="18" charset="-122"/>
                <a:ea typeface="OPPOSans B" panose="00020600040101010101" pitchFamily="18" charset="-122"/>
                <a:cs typeface="OPPOSans B" panose="00020600040101010101" pitchFamily="18" charset="-122"/>
              </a:endParaRPr>
            </a:p>
          </p:txBody>
        </p:sp>
        <p:sp>
          <p:nvSpPr>
            <p:cNvPr id="7" name="文本框 6">
              <a:extLst>
                <a:ext uri="{FF2B5EF4-FFF2-40B4-BE49-F238E27FC236}">
                  <a16:creationId xmlns:a16="http://schemas.microsoft.com/office/drawing/2014/main" id="{230BCC68-67F9-4EB5-AB90-1E274F56B920}"/>
                </a:ext>
              </a:extLst>
            </p:cNvPr>
            <p:cNvSpPr txBox="1"/>
            <p:nvPr/>
          </p:nvSpPr>
          <p:spPr>
            <a:xfrm>
              <a:off x="720854" y="1031617"/>
              <a:ext cx="4865158" cy="184666"/>
            </a:xfrm>
            <a:prstGeom prst="rect">
              <a:avLst/>
            </a:prstGeom>
            <a:noFill/>
          </p:spPr>
          <p:txBody>
            <a:bodyPr wrap="none" lIns="0" tIns="0" rIns="0" bIns="0">
              <a:noAutofit/>
            </a:bodyPr>
            <a:lstStyle/>
            <a:p>
              <a:pPr marL="0" marR="0" lvl="0" indent="0" algn="l" defTabSz="913765" rtl="0" eaLnBrk="1" fontAlgn="auto" latinLnBrk="0" hangingPunct="1">
                <a:lnSpc>
                  <a:spcPct val="100000"/>
                </a:lnSpc>
                <a:spcBef>
                  <a:spcPts val="0"/>
                </a:spcBef>
                <a:spcAft>
                  <a:spcPts val="0"/>
                </a:spcAft>
                <a:buClrTx/>
                <a:buSzPct val="25000"/>
                <a:buFontTx/>
                <a:buNone/>
                <a:tabLst/>
                <a:defRPr/>
              </a:pPr>
              <a:r>
                <a:rPr kumimoji="0" lang="en-US" altLang="zh-CN" sz="1100" b="0" i="0" u="none" strike="noStrike" kern="1200" cap="none" spc="0" normalizeH="0" baseline="0" noProof="0" dirty="0">
                  <a:ln>
                    <a:noFill/>
                  </a:ln>
                  <a:solidFill>
                    <a:srgbClr val="3BD1FF">
                      <a:lumMod val="20000"/>
                      <a:lumOff val="80000"/>
                    </a:srgbClr>
                  </a:solidFill>
                  <a:effectLst/>
                  <a:uLnTx/>
                  <a:uFillTx/>
                  <a:latin typeface="OPPOSans B" panose="00020600040101010101" pitchFamily="18" charset="-122"/>
                  <a:ea typeface="OPPOSans B" panose="00020600040101010101" pitchFamily="18" charset="-122"/>
                  <a:cs typeface="OPPOSans B" panose="00020600040101010101" pitchFamily="18" charset="-122"/>
                </a:rPr>
                <a:t>Mandamus </a:t>
              </a:r>
              <a:r>
                <a:rPr kumimoji="0" lang="en-US" altLang="zh-CN" sz="1100" b="0" i="0" u="none" strike="noStrike" kern="1200" cap="none" spc="0" normalizeH="0" baseline="0" noProof="0" dirty="0" err="1">
                  <a:ln>
                    <a:noFill/>
                  </a:ln>
                  <a:solidFill>
                    <a:srgbClr val="3BD1FF">
                      <a:lumMod val="20000"/>
                      <a:lumOff val="80000"/>
                    </a:srgbClr>
                  </a:solidFill>
                  <a:effectLst/>
                  <a:uLnTx/>
                  <a:uFillTx/>
                  <a:latin typeface="OPPOSans B" panose="00020600040101010101" pitchFamily="18" charset="-122"/>
                  <a:ea typeface="OPPOSans B" panose="00020600040101010101" pitchFamily="18" charset="-122"/>
                  <a:cs typeface="OPPOSans B" panose="00020600040101010101" pitchFamily="18" charset="-122"/>
                </a:rPr>
                <a:t>mediocrem</a:t>
              </a:r>
              <a:r>
                <a:rPr kumimoji="0" lang="en-US" altLang="zh-CN" sz="1100" b="0" i="0" u="none" strike="noStrike" kern="1200" cap="none" spc="0" normalizeH="0" baseline="0" noProof="0" dirty="0">
                  <a:ln>
                    <a:noFill/>
                  </a:ln>
                  <a:solidFill>
                    <a:srgbClr val="3BD1FF">
                      <a:lumMod val="20000"/>
                      <a:lumOff val="80000"/>
                    </a:srgbClr>
                  </a:solidFill>
                  <a:effectLst/>
                  <a:uLnTx/>
                  <a:uFillTx/>
                  <a:latin typeface="OPPOSans B" panose="00020600040101010101" pitchFamily="18" charset="-122"/>
                  <a:ea typeface="OPPOSans B" panose="00020600040101010101" pitchFamily="18" charset="-122"/>
                  <a:cs typeface="OPPOSans B" panose="00020600040101010101" pitchFamily="18" charset="-122"/>
                </a:rPr>
                <a:t> </a:t>
              </a:r>
              <a:r>
                <a:rPr kumimoji="0" lang="en-US" altLang="zh-CN" sz="1100" b="0" i="0" u="none" strike="noStrike" kern="1200" cap="none" spc="0" normalizeH="0" baseline="0" noProof="0" dirty="0" err="1">
                  <a:ln>
                    <a:noFill/>
                  </a:ln>
                  <a:solidFill>
                    <a:srgbClr val="3BD1FF">
                      <a:lumMod val="20000"/>
                      <a:lumOff val="80000"/>
                    </a:srgbClr>
                  </a:solidFill>
                  <a:effectLst/>
                  <a:uLnTx/>
                  <a:uFillTx/>
                  <a:latin typeface="OPPOSans B" panose="00020600040101010101" pitchFamily="18" charset="-122"/>
                  <a:ea typeface="OPPOSans B" panose="00020600040101010101" pitchFamily="18" charset="-122"/>
                  <a:cs typeface="OPPOSans B" panose="00020600040101010101" pitchFamily="18" charset="-122"/>
                </a:rPr>
                <a:t>reprehendunt</a:t>
              </a:r>
              <a:r>
                <a:rPr kumimoji="0" lang="en-US" altLang="zh-CN" sz="1100" b="0" i="0" u="none" strike="noStrike" kern="1200" cap="none" spc="0" normalizeH="0" baseline="0" noProof="0" dirty="0">
                  <a:ln>
                    <a:noFill/>
                  </a:ln>
                  <a:solidFill>
                    <a:srgbClr val="3BD1FF">
                      <a:lumMod val="20000"/>
                      <a:lumOff val="80000"/>
                    </a:srgbClr>
                  </a:solidFill>
                  <a:effectLst/>
                  <a:uLnTx/>
                  <a:uFillTx/>
                  <a:latin typeface="OPPOSans B" panose="00020600040101010101" pitchFamily="18" charset="-122"/>
                  <a:ea typeface="OPPOSans B" panose="00020600040101010101" pitchFamily="18" charset="-122"/>
                  <a:cs typeface="OPPOSans B" panose="00020600040101010101" pitchFamily="18" charset="-122"/>
                </a:rPr>
                <a:t> </a:t>
              </a:r>
              <a:r>
                <a:rPr kumimoji="0" lang="en-US" altLang="zh-CN" sz="1100" b="0" i="0" u="none" strike="noStrike" kern="1200" cap="none" spc="0" normalizeH="0" baseline="0" noProof="0" dirty="0" err="1">
                  <a:ln>
                    <a:noFill/>
                  </a:ln>
                  <a:solidFill>
                    <a:srgbClr val="3BD1FF">
                      <a:lumMod val="20000"/>
                      <a:lumOff val="80000"/>
                    </a:srgbClr>
                  </a:solidFill>
                  <a:effectLst/>
                  <a:uLnTx/>
                  <a:uFillTx/>
                  <a:latin typeface="OPPOSans B" panose="00020600040101010101" pitchFamily="18" charset="-122"/>
                  <a:ea typeface="OPPOSans B" panose="00020600040101010101" pitchFamily="18" charset="-122"/>
                  <a:cs typeface="OPPOSans B" panose="00020600040101010101" pitchFamily="18" charset="-122"/>
                </a:rPr>
                <a:t>eum</a:t>
              </a:r>
              <a:r>
                <a:rPr kumimoji="0" lang="en-US" altLang="zh-CN" sz="1100" b="0" i="0" u="none" strike="noStrike" kern="1200" cap="none" spc="0" normalizeH="0" baseline="0" noProof="0" dirty="0">
                  <a:ln>
                    <a:noFill/>
                  </a:ln>
                  <a:solidFill>
                    <a:srgbClr val="3BD1FF">
                      <a:lumMod val="20000"/>
                      <a:lumOff val="80000"/>
                    </a:srgbClr>
                  </a:solidFill>
                  <a:effectLst/>
                  <a:uLnTx/>
                  <a:uFillTx/>
                  <a:latin typeface="OPPOSans B" panose="00020600040101010101" pitchFamily="18" charset="-122"/>
                  <a:ea typeface="OPPOSans B" panose="00020600040101010101" pitchFamily="18" charset="-122"/>
                  <a:cs typeface="OPPOSans B" panose="00020600040101010101" pitchFamily="18" charset="-122"/>
                </a:rPr>
                <a:t> </a:t>
              </a:r>
              <a:r>
                <a:rPr kumimoji="0" lang="en-US" altLang="zh-CN" sz="1100" b="0" i="0" u="none" strike="noStrike" kern="1200" cap="none" spc="0" normalizeH="0" baseline="0" noProof="0" dirty="0" err="1">
                  <a:ln>
                    <a:noFill/>
                  </a:ln>
                  <a:solidFill>
                    <a:srgbClr val="3BD1FF">
                      <a:lumMod val="20000"/>
                      <a:lumOff val="80000"/>
                    </a:srgbClr>
                  </a:solidFill>
                  <a:effectLst/>
                  <a:uLnTx/>
                  <a:uFillTx/>
                  <a:latin typeface="OPPOSans B" panose="00020600040101010101" pitchFamily="18" charset="-122"/>
                  <a:ea typeface="OPPOSans B" panose="00020600040101010101" pitchFamily="18" charset="-122"/>
                  <a:cs typeface="OPPOSans B" panose="00020600040101010101" pitchFamily="18" charset="-122"/>
                </a:rPr>
                <a:t>eu</a:t>
              </a:r>
              <a:r>
                <a:rPr kumimoji="0" lang="en-US" altLang="zh-CN" sz="1100" b="0" i="0" u="none" strike="noStrike" kern="1200" cap="none" spc="0" normalizeH="0" baseline="0" noProof="0" dirty="0">
                  <a:ln>
                    <a:noFill/>
                  </a:ln>
                  <a:solidFill>
                    <a:srgbClr val="3BD1FF">
                      <a:lumMod val="20000"/>
                      <a:lumOff val="80000"/>
                    </a:srgbClr>
                  </a:solidFill>
                  <a:effectLst/>
                  <a:uLnTx/>
                  <a:uFillTx/>
                  <a:latin typeface="OPPOSans B" panose="00020600040101010101" pitchFamily="18" charset="-122"/>
                  <a:ea typeface="OPPOSans B" panose="00020600040101010101" pitchFamily="18" charset="-122"/>
                  <a:cs typeface="OPPOSans B" panose="00020600040101010101" pitchFamily="18" charset="-122"/>
                </a:rPr>
                <a:t>, cu </a:t>
              </a:r>
              <a:r>
                <a:rPr kumimoji="0" lang="en-US" altLang="zh-CN" sz="1100" b="0" i="0" u="none" strike="noStrike" kern="1200" cap="none" spc="0" normalizeH="0" baseline="0" noProof="0" dirty="0" err="1">
                  <a:ln>
                    <a:noFill/>
                  </a:ln>
                  <a:solidFill>
                    <a:srgbClr val="3BD1FF">
                      <a:lumMod val="20000"/>
                      <a:lumOff val="80000"/>
                    </a:srgbClr>
                  </a:solidFill>
                  <a:effectLst/>
                  <a:uLnTx/>
                  <a:uFillTx/>
                  <a:latin typeface="OPPOSans B" panose="00020600040101010101" pitchFamily="18" charset="-122"/>
                  <a:ea typeface="OPPOSans B" panose="00020600040101010101" pitchFamily="18" charset="-122"/>
                  <a:cs typeface="OPPOSans B" panose="00020600040101010101" pitchFamily="18" charset="-122"/>
                </a:rPr>
                <a:t>pertinax</a:t>
              </a:r>
              <a:r>
                <a:rPr kumimoji="0" lang="en-US" altLang="zh-CN" sz="1100" b="0" i="0" u="none" strike="noStrike" kern="1200" cap="none" spc="0" normalizeH="0" baseline="0" noProof="0" dirty="0">
                  <a:ln>
                    <a:noFill/>
                  </a:ln>
                  <a:solidFill>
                    <a:srgbClr val="3BD1FF">
                      <a:lumMod val="20000"/>
                      <a:lumOff val="80000"/>
                    </a:srgbClr>
                  </a:solidFill>
                  <a:effectLst/>
                  <a:uLnTx/>
                  <a:uFillTx/>
                  <a:latin typeface="OPPOSans B" panose="00020600040101010101" pitchFamily="18" charset="-122"/>
                  <a:ea typeface="OPPOSans B" panose="00020600040101010101" pitchFamily="18" charset="-122"/>
                  <a:cs typeface="OPPOSans B" panose="00020600040101010101" pitchFamily="18" charset="-122"/>
                </a:rPr>
                <a:t> </a:t>
              </a:r>
              <a:r>
                <a:rPr kumimoji="0" lang="en-US" altLang="zh-CN" sz="1100" b="0" i="0" u="none" strike="noStrike" kern="1200" cap="none" spc="0" normalizeH="0" baseline="0" noProof="0" dirty="0" err="1">
                  <a:ln>
                    <a:noFill/>
                  </a:ln>
                  <a:solidFill>
                    <a:srgbClr val="3BD1FF">
                      <a:lumMod val="20000"/>
                      <a:lumOff val="80000"/>
                    </a:srgbClr>
                  </a:solidFill>
                  <a:effectLst/>
                  <a:uLnTx/>
                  <a:uFillTx/>
                  <a:latin typeface="OPPOSans B" panose="00020600040101010101" pitchFamily="18" charset="-122"/>
                  <a:ea typeface="OPPOSans B" panose="00020600040101010101" pitchFamily="18" charset="-122"/>
                  <a:cs typeface="OPPOSans B" panose="00020600040101010101" pitchFamily="18" charset="-122"/>
                </a:rPr>
                <a:t>ocurreret</a:t>
              </a:r>
              <a:r>
                <a:rPr kumimoji="0" lang="en-US" altLang="zh-CN" sz="1100" b="0" i="0" u="none" strike="noStrike" kern="1200" cap="none" spc="0" normalizeH="0" baseline="0" noProof="0" dirty="0">
                  <a:ln>
                    <a:noFill/>
                  </a:ln>
                  <a:solidFill>
                    <a:srgbClr val="3BD1FF">
                      <a:lumMod val="20000"/>
                      <a:lumOff val="80000"/>
                    </a:srgbClr>
                  </a:solidFill>
                  <a:effectLst/>
                  <a:uLnTx/>
                  <a:uFillTx/>
                  <a:latin typeface="OPPOSans B" panose="00020600040101010101" pitchFamily="18" charset="-122"/>
                  <a:ea typeface="OPPOSans B" panose="00020600040101010101" pitchFamily="18" charset="-122"/>
                  <a:cs typeface="OPPOSans B" panose="00020600040101010101" pitchFamily="18" charset="-122"/>
                </a:rPr>
                <a:t> his. </a:t>
              </a:r>
            </a:p>
          </p:txBody>
        </p:sp>
        <p:grpSp>
          <p:nvGrpSpPr>
            <p:cNvPr id="8" name="组合 7">
              <a:extLst>
                <a:ext uri="{FF2B5EF4-FFF2-40B4-BE49-F238E27FC236}">
                  <a16:creationId xmlns:a16="http://schemas.microsoft.com/office/drawing/2014/main" id="{832DEC69-C7AA-48F9-B4FF-B7B6E9659055}"/>
                </a:ext>
              </a:extLst>
            </p:cNvPr>
            <p:cNvGrpSpPr/>
            <p:nvPr/>
          </p:nvGrpSpPr>
          <p:grpSpPr>
            <a:xfrm>
              <a:off x="5615986" y="1069284"/>
              <a:ext cx="414890" cy="251143"/>
              <a:chOff x="5615986" y="1069284"/>
              <a:chExt cx="414890" cy="251143"/>
            </a:xfrm>
          </p:grpSpPr>
          <p:sp>
            <p:nvSpPr>
              <p:cNvPr id="9" name="平行四边形 8">
                <a:extLst>
                  <a:ext uri="{FF2B5EF4-FFF2-40B4-BE49-F238E27FC236}">
                    <a16:creationId xmlns:a16="http://schemas.microsoft.com/office/drawing/2014/main" id="{EE10C766-1E1D-40C0-91C8-DD6A64C32DA0}"/>
                  </a:ext>
                </a:extLst>
              </p:cNvPr>
              <p:cNvSpPr/>
              <p:nvPr/>
            </p:nvSpPr>
            <p:spPr>
              <a:xfrm>
                <a:off x="5615986" y="1069284"/>
                <a:ext cx="211725" cy="251143"/>
              </a:xfrm>
              <a:prstGeom prst="parallelogram">
                <a:avLst>
                  <a:gd name="adj" fmla="val 6954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OPPOSans B" panose="00020600040101010101" pitchFamily="18" charset="-122"/>
                  <a:ea typeface="OPPOSans B" panose="00020600040101010101" pitchFamily="18" charset="-122"/>
                  <a:cs typeface="OPPOSans B" panose="00020600040101010101" pitchFamily="18" charset="-122"/>
                </a:endParaRPr>
              </a:p>
            </p:txBody>
          </p:sp>
          <p:sp>
            <p:nvSpPr>
              <p:cNvPr id="10" name="平行四边形 9">
                <a:extLst>
                  <a:ext uri="{FF2B5EF4-FFF2-40B4-BE49-F238E27FC236}">
                    <a16:creationId xmlns:a16="http://schemas.microsoft.com/office/drawing/2014/main" id="{FF771B25-8183-48E6-A3BF-57C3984ED60C}"/>
                  </a:ext>
                </a:extLst>
              </p:cNvPr>
              <p:cNvSpPr/>
              <p:nvPr/>
            </p:nvSpPr>
            <p:spPr>
              <a:xfrm>
                <a:off x="5718114" y="1069284"/>
                <a:ext cx="211725" cy="251143"/>
              </a:xfrm>
              <a:prstGeom prst="parallelogram">
                <a:avLst>
                  <a:gd name="adj" fmla="val 6954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OPPOSans B" panose="00020600040101010101" pitchFamily="18" charset="-122"/>
                  <a:ea typeface="OPPOSans B" panose="00020600040101010101" pitchFamily="18" charset="-122"/>
                  <a:cs typeface="OPPOSans B" panose="00020600040101010101" pitchFamily="18" charset="-122"/>
                </a:endParaRPr>
              </a:p>
            </p:txBody>
          </p:sp>
          <p:sp>
            <p:nvSpPr>
              <p:cNvPr id="11" name="平行四边形 10">
                <a:extLst>
                  <a:ext uri="{FF2B5EF4-FFF2-40B4-BE49-F238E27FC236}">
                    <a16:creationId xmlns:a16="http://schemas.microsoft.com/office/drawing/2014/main" id="{ADB5847B-EEDD-4DEA-AD39-0CEF0B144BAD}"/>
                  </a:ext>
                </a:extLst>
              </p:cNvPr>
              <p:cNvSpPr/>
              <p:nvPr/>
            </p:nvSpPr>
            <p:spPr>
              <a:xfrm>
                <a:off x="5819151" y="1069284"/>
                <a:ext cx="211725" cy="251143"/>
              </a:xfrm>
              <a:prstGeom prst="parallelogram">
                <a:avLst>
                  <a:gd name="adj" fmla="val 6954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OPPOSans B" panose="00020600040101010101" pitchFamily="18" charset="-122"/>
                  <a:ea typeface="OPPOSans B" panose="00020600040101010101" pitchFamily="18" charset="-122"/>
                  <a:cs typeface="OPPOSans B" panose="00020600040101010101" pitchFamily="18" charset="-122"/>
                </a:endParaRPr>
              </a:p>
            </p:txBody>
          </p:sp>
        </p:grpSp>
      </p:grpSp>
      <p:grpSp>
        <p:nvGrpSpPr>
          <p:cNvPr id="13" name="组合 12">
            <a:extLst>
              <a:ext uri="{FF2B5EF4-FFF2-40B4-BE49-F238E27FC236}">
                <a16:creationId xmlns:a16="http://schemas.microsoft.com/office/drawing/2014/main" id="{D33BD45E-5A74-4CE4-93EE-1DBA09778F36}"/>
              </a:ext>
            </a:extLst>
          </p:cNvPr>
          <p:cNvGrpSpPr/>
          <p:nvPr/>
        </p:nvGrpSpPr>
        <p:grpSpPr>
          <a:xfrm>
            <a:off x="2337660" y="2461063"/>
            <a:ext cx="2831078" cy="2831078"/>
            <a:chOff x="1128761" y="2374192"/>
            <a:chExt cx="1815018" cy="1815018"/>
          </a:xfrm>
        </p:grpSpPr>
        <p:sp>
          <p:nvSpPr>
            <p:cNvPr id="14" name="PA-弧形 12">
              <a:extLst>
                <a:ext uri="{FF2B5EF4-FFF2-40B4-BE49-F238E27FC236}">
                  <a16:creationId xmlns:a16="http://schemas.microsoft.com/office/drawing/2014/main" id="{57F9AC43-2C00-43B7-9B30-546A2B33C4AB}"/>
                </a:ext>
              </a:extLst>
            </p:cNvPr>
            <p:cNvSpPr/>
            <p:nvPr>
              <p:custDataLst>
                <p:tags r:id="rId2"/>
              </p:custDataLst>
            </p:nvPr>
          </p:nvSpPr>
          <p:spPr>
            <a:xfrm rot="4069916">
              <a:off x="1258080" y="2503512"/>
              <a:ext cx="1556379" cy="1556378"/>
            </a:xfrm>
            <a:prstGeom prst="arc">
              <a:avLst>
                <a:gd name="adj1" fmla="val 12590335"/>
                <a:gd name="adj2" fmla="val 10907035"/>
              </a:avLst>
            </a:prstGeom>
            <a:noFill/>
            <a:ln w="15875">
              <a:gradFill flip="none" rotWithShape="1">
                <a:gsLst>
                  <a:gs pos="0">
                    <a:schemeClr val="accent2"/>
                  </a:gs>
                  <a:gs pos="34000">
                    <a:schemeClr val="accent2"/>
                  </a:gs>
                  <a:gs pos="100000">
                    <a:schemeClr val="accent2">
                      <a:alpha val="0"/>
                    </a:schemeClr>
                  </a:gs>
                </a:gsLst>
                <a:lin ang="5400000" scaled="1"/>
                <a:tileRect/>
              </a:gra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0480" tIns="15240" rIns="30480" bIns="1524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600" b="0" i="0" u="none" strike="noStrike" kern="1200" cap="none" spc="0" normalizeH="0" baseline="0" noProof="0" dirty="0">
                <a:ln>
                  <a:noFill/>
                </a:ln>
                <a:solidFill>
                  <a:prstClr val="white"/>
                </a:solidFill>
                <a:effectLst/>
                <a:uLnTx/>
                <a:uFillTx/>
                <a:latin typeface="OPPOSans R"/>
                <a:ea typeface="OPPOSans R"/>
                <a:cs typeface="OPPOSans R"/>
                <a:sym typeface="+mn-lt"/>
              </a:endParaRPr>
            </a:p>
          </p:txBody>
        </p:sp>
        <p:sp>
          <p:nvSpPr>
            <p:cNvPr id="15" name="PA-椭圆 11">
              <a:extLst>
                <a:ext uri="{FF2B5EF4-FFF2-40B4-BE49-F238E27FC236}">
                  <a16:creationId xmlns:a16="http://schemas.microsoft.com/office/drawing/2014/main" id="{9DBD0BDC-BA94-462F-8AFA-4406C6A73513}"/>
                </a:ext>
              </a:extLst>
            </p:cNvPr>
            <p:cNvSpPr/>
            <p:nvPr>
              <p:custDataLst>
                <p:tags r:id="rId3"/>
              </p:custDataLst>
            </p:nvPr>
          </p:nvSpPr>
          <p:spPr>
            <a:xfrm>
              <a:off x="1356807" y="2602238"/>
              <a:ext cx="1358927" cy="1358927"/>
            </a:xfrm>
            <a:prstGeom prst="ellipse">
              <a:avLst/>
            </a:prstGeom>
            <a:gradFill>
              <a:gsLst>
                <a:gs pos="0">
                  <a:schemeClr val="accent1"/>
                </a:gs>
                <a:gs pos="81000">
                  <a:schemeClr val="accent2"/>
                </a:gs>
              </a:gsLst>
              <a:lin ang="2700000" scaled="1"/>
            </a:gradFill>
            <a:ln w="9525">
              <a:gradFill flip="none" rotWithShape="1">
                <a:gsLst>
                  <a:gs pos="0">
                    <a:schemeClr val="accent2"/>
                  </a:gs>
                  <a:gs pos="100000">
                    <a:schemeClr val="accent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3200" b="1" i="0" u="none" strike="noStrike" kern="1200" cap="none" spc="0" normalizeH="0" baseline="0" noProof="0" dirty="0">
                <a:ln>
                  <a:noFill/>
                </a:ln>
                <a:solidFill>
                  <a:prstClr val="white"/>
                </a:solidFill>
                <a:effectLst/>
                <a:uLnTx/>
                <a:uFillTx/>
                <a:latin typeface="OPPOSans H"/>
                <a:ea typeface="OPPOSans R"/>
                <a:cs typeface="OPPOSans R"/>
                <a:sym typeface="+mn-lt"/>
              </a:endParaRPr>
            </a:p>
          </p:txBody>
        </p:sp>
        <p:sp>
          <p:nvSpPr>
            <p:cNvPr id="16" name="PA-椭圆 13">
              <a:extLst>
                <a:ext uri="{FF2B5EF4-FFF2-40B4-BE49-F238E27FC236}">
                  <a16:creationId xmlns:a16="http://schemas.microsoft.com/office/drawing/2014/main" id="{E2BBFF9E-477F-419A-A56F-11D88EF6DA9F}"/>
                </a:ext>
              </a:extLst>
            </p:cNvPr>
            <p:cNvSpPr/>
            <p:nvPr>
              <p:custDataLst>
                <p:tags r:id="rId4"/>
              </p:custDataLst>
            </p:nvPr>
          </p:nvSpPr>
          <p:spPr>
            <a:xfrm>
              <a:off x="1128761" y="2374192"/>
              <a:ext cx="1815018" cy="1815018"/>
            </a:xfrm>
            <a:prstGeom prst="ellipse">
              <a:avLst/>
            </a:prstGeom>
            <a:noFill/>
            <a:ln w="19050">
              <a:gradFill>
                <a:gsLst>
                  <a:gs pos="37000">
                    <a:schemeClr val="accent2"/>
                  </a:gs>
                  <a:gs pos="0">
                    <a:schemeClr val="accent2"/>
                  </a:gs>
                  <a:gs pos="90000">
                    <a:schemeClr val="accent2">
                      <a:alpha val="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5400" b="0" i="0" u="none" strike="noStrike" kern="1200" cap="none" spc="0" normalizeH="0" baseline="0" noProof="0">
                <a:ln>
                  <a:noFill/>
                </a:ln>
                <a:solidFill>
                  <a:prstClr val="white"/>
                </a:solidFill>
                <a:effectLst/>
                <a:uLnTx/>
                <a:uFillTx/>
                <a:latin typeface="OPPOSans R"/>
                <a:ea typeface="OPPOSans R"/>
                <a:cs typeface="OPPOSans R"/>
                <a:sym typeface="+mn-lt"/>
              </a:endParaRPr>
            </a:p>
          </p:txBody>
        </p:sp>
      </p:grpSp>
      <p:sp>
        <p:nvSpPr>
          <p:cNvPr id="18" name="稿定PPT-10-1">
            <a:extLst>
              <a:ext uri="{FF2B5EF4-FFF2-40B4-BE49-F238E27FC236}">
                <a16:creationId xmlns:a16="http://schemas.microsoft.com/office/drawing/2014/main" id="{9EB5F16F-1B7D-4F8D-AC2B-63ABC6907806}"/>
              </a:ext>
            </a:extLst>
          </p:cNvPr>
          <p:cNvSpPr txBox="1"/>
          <p:nvPr/>
        </p:nvSpPr>
        <p:spPr>
          <a:xfrm>
            <a:off x="3057656" y="3474784"/>
            <a:ext cx="1391086" cy="801186"/>
          </a:xfrm>
          <a:prstGeom prst="rect">
            <a:avLst/>
          </a:prstGeom>
          <a:noFill/>
          <a:ln>
            <a:noFill/>
          </a:ln>
          <a:effectLst/>
        </p:spPr>
        <p:txBody>
          <a:bodyPr wrap="none" lIns="0" tIns="0" rIns="0" bIns="0" anchor="ctr" anchorCtr="0">
            <a:noAutofit/>
          </a:bodyPr>
          <a:lstStyle/>
          <a:p>
            <a:pPr marL="0" marR="0" lvl="0" indent="0" algn="ctr" defTabSz="913765" rtl="0" eaLnBrk="1" fontAlgn="auto" latinLnBrk="0" hangingPunct="1">
              <a:lnSpc>
                <a:spcPct val="100000"/>
              </a:lnSpc>
              <a:spcBef>
                <a:spcPts val="0"/>
              </a:spcBef>
              <a:spcAft>
                <a:spcPts val="0"/>
              </a:spcAft>
              <a:buClrTx/>
              <a:buSzPct val="25000"/>
              <a:buFontTx/>
              <a:buNone/>
              <a:tabLst/>
              <a:defRPr/>
            </a:pPr>
            <a:r>
              <a:rPr kumimoji="0" lang="zh-CN" altLang="en-US" sz="2400" b="0" i="0" u="none" strike="noStrike" kern="1200" cap="none" spc="0" normalizeH="0" baseline="0" noProof="0" dirty="0">
                <a:ln>
                  <a:noFill/>
                </a:ln>
                <a:solidFill>
                  <a:prstClr val="white"/>
                </a:solidFill>
                <a:effectLst/>
                <a:uLnTx/>
                <a:uFillTx/>
                <a:latin typeface="OPPOSans B" panose="00020600040101010101" pitchFamily="18" charset="-122"/>
                <a:ea typeface="OPPOSans B" panose="00020600040101010101" pitchFamily="18" charset="-122"/>
                <a:cs typeface="OPPOSans B" panose="00020600040101010101" pitchFamily="18" charset="-122"/>
              </a:rPr>
              <a:t>秋叶</a:t>
            </a:r>
            <a:r>
              <a:rPr kumimoji="0" lang="en-US" altLang="zh-CN" sz="2400" b="0" i="0" u="none" strike="noStrike" kern="1200" cap="none" spc="0" normalizeH="0" baseline="0" noProof="0" dirty="0">
                <a:ln>
                  <a:noFill/>
                </a:ln>
                <a:solidFill>
                  <a:prstClr val="white"/>
                </a:solidFill>
                <a:effectLst/>
                <a:uLnTx/>
                <a:uFillTx/>
                <a:latin typeface="OPPOSans B" panose="00020600040101010101" pitchFamily="18" charset="-122"/>
                <a:ea typeface="OPPOSans B" panose="00020600040101010101" pitchFamily="18" charset="-122"/>
                <a:cs typeface="OPPOSans B" panose="00020600040101010101" pitchFamily="18" charset="-122"/>
              </a:rPr>
              <a:t>PPT</a:t>
            </a:r>
          </a:p>
          <a:p>
            <a:pPr marL="0" marR="0" lvl="0" indent="0" algn="ctr" defTabSz="913765" rtl="0" eaLnBrk="1" fontAlgn="auto" latinLnBrk="0" hangingPunct="1">
              <a:lnSpc>
                <a:spcPct val="100000"/>
              </a:lnSpc>
              <a:spcBef>
                <a:spcPts val="0"/>
              </a:spcBef>
              <a:spcAft>
                <a:spcPts val="0"/>
              </a:spcAft>
              <a:buClrTx/>
              <a:buSzPct val="25000"/>
              <a:buFontTx/>
              <a:buNone/>
              <a:tabLst/>
              <a:defRPr/>
            </a:pPr>
            <a:r>
              <a:rPr kumimoji="0" lang="zh-CN" altLang="en-US" sz="2400" b="0" i="0" u="none" strike="noStrike" kern="1200" cap="none" spc="0" normalizeH="0" baseline="0" noProof="0" dirty="0">
                <a:ln>
                  <a:noFill/>
                </a:ln>
                <a:solidFill>
                  <a:prstClr val="white"/>
                </a:solidFill>
                <a:effectLst/>
                <a:uLnTx/>
                <a:uFillTx/>
                <a:latin typeface="OPPOSans B" panose="00020600040101010101" pitchFamily="18" charset="-122"/>
                <a:ea typeface="OPPOSans B" panose="00020600040101010101" pitchFamily="18" charset="-122"/>
                <a:cs typeface="OPPOSans B" panose="00020600040101010101" pitchFamily="18" charset="-122"/>
              </a:rPr>
              <a:t>更快更轻松</a:t>
            </a:r>
          </a:p>
        </p:txBody>
      </p:sp>
      <p:sp>
        <p:nvSpPr>
          <p:cNvPr id="48" name="椭圆 47">
            <a:extLst>
              <a:ext uri="{FF2B5EF4-FFF2-40B4-BE49-F238E27FC236}">
                <a16:creationId xmlns:a16="http://schemas.microsoft.com/office/drawing/2014/main" id="{411F6515-D0BE-45ED-999A-26BDA5C8CDD0}"/>
              </a:ext>
            </a:extLst>
          </p:cNvPr>
          <p:cNvSpPr/>
          <p:nvPr/>
        </p:nvSpPr>
        <p:spPr>
          <a:xfrm>
            <a:off x="6496722" y="2021946"/>
            <a:ext cx="925168" cy="925162"/>
          </a:xfrm>
          <a:prstGeom prst="ellipse">
            <a:avLst/>
          </a:prstGeom>
          <a:solidFill>
            <a:schemeClr val="accent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OPPOSans R"/>
              <a:ea typeface="OPPOSans R"/>
              <a:cs typeface="+mn-cs"/>
            </a:endParaRPr>
          </a:p>
        </p:txBody>
      </p:sp>
      <p:sp>
        <p:nvSpPr>
          <p:cNvPr id="49" name="椭圆 48">
            <a:extLst>
              <a:ext uri="{FF2B5EF4-FFF2-40B4-BE49-F238E27FC236}">
                <a16:creationId xmlns:a16="http://schemas.microsoft.com/office/drawing/2014/main" id="{A64A3B2D-CB1B-4675-86DC-79C6FC369D9D}"/>
              </a:ext>
            </a:extLst>
          </p:cNvPr>
          <p:cNvSpPr/>
          <p:nvPr/>
        </p:nvSpPr>
        <p:spPr>
          <a:xfrm>
            <a:off x="6628501" y="2153726"/>
            <a:ext cx="661613" cy="661604"/>
          </a:xfrm>
          <a:prstGeom prst="ellipse">
            <a:avLst/>
          </a:prstGeom>
          <a:gradFill flip="none" rotWithShape="1">
            <a:gsLst>
              <a:gs pos="0">
                <a:schemeClr val="accent1"/>
              </a:gs>
              <a:gs pos="81000">
                <a:schemeClr val="accent2"/>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2400" b="0" i="0" u="none" strike="noStrike" kern="1200" cap="none" spc="0" normalizeH="0" baseline="0" noProof="0" dirty="0">
                <a:ln>
                  <a:noFill/>
                </a:ln>
                <a:solidFill>
                  <a:prstClr val="white"/>
                </a:solidFill>
                <a:effectLst/>
                <a:uLnTx/>
                <a:uFillTx/>
                <a:latin typeface="OPPOSans H"/>
                <a:ea typeface="OPPOSans R"/>
                <a:cs typeface="+mn-cs"/>
              </a:rPr>
              <a:t>01</a:t>
            </a:r>
            <a:endParaRPr kumimoji="0" lang="zh-CN" altLang="en-US" sz="2400" b="0" i="0" u="none" strike="noStrike" kern="1200" cap="none" spc="0" normalizeH="0" baseline="0" noProof="0" dirty="0">
              <a:ln>
                <a:noFill/>
              </a:ln>
              <a:solidFill>
                <a:prstClr val="white"/>
              </a:solidFill>
              <a:effectLst/>
              <a:uLnTx/>
              <a:uFillTx/>
              <a:latin typeface="OPPOSans H"/>
              <a:ea typeface="OPPOSans R"/>
              <a:cs typeface="+mn-cs"/>
            </a:endParaRPr>
          </a:p>
        </p:txBody>
      </p:sp>
      <p:sp>
        <p:nvSpPr>
          <p:cNvPr id="51" name="稿定PPT-10-1">
            <a:extLst>
              <a:ext uri="{FF2B5EF4-FFF2-40B4-BE49-F238E27FC236}">
                <a16:creationId xmlns:a16="http://schemas.microsoft.com/office/drawing/2014/main" id="{5D1BA2AB-8168-4365-98B3-587197F48303}"/>
              </a:ext>
            </a:extLst>
          </p:cNvPr>
          <p:cNvSpPr txBox="1"/>
          <p:nvPr/>
        </p:nvSpPr>
        <p:spPr>
          <a:xfrm>
            <a:off x="7527752" y="2358956"/>
            <a:ext cx="2326589" cy="251143"/>
          </a:xfrm>
          <a:prstGeom prst="rect">
            <a:avLst/>
          </a:prstGeom>
          <a:noFill/>
          <a:ln>
            <a:noFill/>
          </a:ln>
          <a:effectLst/>
        </p:spPr>
        <p:txBody>
          <a:bodyPr wrap="none" lIns="0" tIns="0" rIns="0" bIns="0" anchor="ctr" anchorCtr="0">
            <a:noAutofit/>
          </a:bodyPr>
          <a:lstStyle/>
          <a:p>
            <a:pPr marL="0" marR="0" lvl="0" indent="0" algn="l" defTabSz="913765" rtl="0" eaLnBrk="1" fontAlgn="auto" latinLnBrk="0" hangingPunct="1">
              <a:lnSpc>
                <a:spcPct val="100000"/>
              </a:lnSpc>
              <a:spcBef>
                <a:spcPts val="0"/>
              </a:spcBef>
              <a:spcAft>
                <a:spcPts val="0"/>
              </a:spcAft>
              <a:buClrTx/>
              <a:buSzPct val="25000"/>
              <a:buFontTx/>
              <a:buNone/>
              <a:tabLst/>
              <a:defRPr/>
            </a:pPr>
            <a:r>
              <a:rPr kumimoji="0" lang="zh-CN" altLang="en-US" sz="2400" b="0" i="0" u="none" strike="noStrike" kern="1200" cap="none" spc="0" normalizeH="0" baseline="0" noProof="0" dirty="0">
                <a:ln>
                  <a:noFill/>
                </a:ln>
                <a:gradFill>
                  <a:gsLst>
                    <a:gs pos="0">
                      <a:srgbClr val="3BD1FF"/>
                    </a:gs>
                    <a:gs pos="100000">
                      <a:srgbClr val="008CFF"/>
                    </a:gs>
                  </a:gsLst>
                  <a:lin ang="5400000" scaled="1"/>
                </a:gradFill>
                <a:effectLst/>
                <a:uLnTx/>
                <a:uFillTx/>
                <a:latin typeface="OPPOSans B" panose="00020600040101010101" pitchFamily="18" charset="-122"/>
                <a:ea typeface="OPPOSans B" panose="00020600040101010101" pitchFamily="18" charset="-122"/>
                <a:cs typeface="OPPOSans B" panose="00020600040101010101" pitchFamily="18" charset="-122"/>
              </a:rPr>
              <a:t>秋叶</a:t>
            </a:r>
            <a:r>
              <a:rPr kumimoji="0" lang="en-US" altLang="zh-CN" sz="2400" b="0" i="0" u="none" strike="noStrike" kern="1200" cap="none" spc="0" normalizeH="0" baseline="0" noProof="0" dirty="0">
                <a:ln>
                  <a:noFill/>
                </a:ln>
                <a:gradFill>
                  <a:gsLst>
                    <a:gs pos="0">
                      <a:srgbClr val="3BD1FF"/>
                    </a:gs>
                    <a:gs pos="100000">
                      <a:srgbClr val="008CFF"/>
                    </a:gs>
                  </a:gsLst>
                  <a:lin ang="5400000" scaled="1"/>
                </a:gradFill>
                <a:effectLst/>
                <a:uLnTx/>
                <a:uFillTx/>
                <a:latin typeface="OPPOSans B" panose="00020600040101010101" pitchFamily="18" charset="-122"/>
                <a:ea typeface="OPPOSans B" panose="00020600040101010101" pitchFamily="18" charset="-122"/>
                <a:cs typeface="OPPOSans B" panose="00020600040101010101" pitchFamily="18" charset="-122"/>
              </a:rPr>
              <a:t>PPT</a:t>
            </a:r>
            <a:r>
              <a:rPr kumimoji="0" lang="zh-CN" altLang="en-US" sz="2400" b="0" i="0" u="none" strike="noStrike" kern="1200" cap="none" spc="0" normalizeH="0" baseline="0" noProof="0" dirty="0">
                <a:ln>
                  <a:noFill/>
                </a:ln>
                <a:gradFill>
                  <a:gsLst>
                    <a:gs pos="0">
                      <a:srgbClr val="3BD1FF"/>
                    </a:gs>
                    <a:gs pos="100000">
                      <a:srgbClr val="008CFF"/>
                    </a:gs>
                  </a:gsLst>
                  <a:lin ang="5400000" scaled="1"/>
                </a:gradFill>
                <a:effectLst/>
                <a:uLnTx/>
                <a:uFillTx/>
                <a:latin typeface="OPPOSans B" panose="00020600040101010101" pitchFamily="18" charset="-122"/>
                <a:ea typeface="OPPOSans B" panose="00020600040101010101" pitchFamily="18" charset="-122"/>
                <a:cs typeface="OPPOSans B" panose="00020600040101010101" pitchFamily="18" charset="-122"/>
              </a:rPr>
              <a:t>更快更轻松</a:t>
            </a:r>
          </a:p>
        </p:txBody>
      </p:sp>
      <p:sp>
        <p:nvSpPr>
          <p:cNvPr id="58" name="椭圆 57">
            <a:extLst>
              <a:ext uri="{FF2B5EF4-FFF2-40B4-BE49-F238E27FC236}">
                <a16:creationId xmlns:a16="http://schemas.microsoft.com/office/drawing/2014/main" id="{4A3220F6-1F97-4C74-9E8B-C5FFC49ACF6A}"/>
              </a:ext>
            </a:extLst>
          </p:cNvPr>
          <p:cNvSpPr/>
          <p:nvPr/>
        </p:nvSpPr>
        <p:spPr>
          <a:xfrm>
            <a:off x="6496722" y="3415224"/>
            <a:ext cx="925168" cy="925162"/>
          </a:xfrm>
          <a:prstGeom prst="ellipse">
            <a:avLst/>
          </a:prstGeom>
          <a:solidFill>
            <a:schemeClr val="accent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OPPOSans R"/>
              <a:ea typeface="OPPOSans R"/>
              <a:cs typeface="+mn-cs"/>
            </a:endParaRPr>
          </a:p>
        </p:txBody>
      </p:sp>
      <p:sp>
        <p:nvSpPr>
          <p:cNvPr id="59" name="椭圆 58">
            <a:extLst>
              <a:ext uri="{FF2B5EF4-FFF2-40B4-BE49-F238E27FC236}">
                <a16:creationId xmlns:a16="http://schemas.microsoft.com/office/drawing/2014/main" id="{80DE0A10-496B-400B-B2BA-66E38D8CC134}"/>
              </a:ext>
            </a:extLst>
          </p:cNvPr>
          <p:cNvSpPr/>
          <p:nvPr/>
        </p:nvSpPr>
        <p:spPr>
          <a:xfrm>
            <a:off x="6628501" y="3547004"/>
            <a:ext cx="661613" cy="661604"/>
          </a:xfrm>
          <a:prstGeom prst="ellipse">
            <a:avLst/>
          </a:prstGeom>
          <a:gradFill flip="none" rotWithShape="1">
            <a:gsLst>
              <a:gs pos="0">
                <a:schemeClr val="accent1"/>
              </a:gs>
              <a:gs pos="81000">
                <a:schemeClr val="accent2"/>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2400" b="0" i="0" u="none" strike="noStrike" kern="1200" cap="none" spc="0" normalizeH="0" baseline="0" noProof="0" dirty="0">
                <a:ln>
                  <a:noFill/>
                </a:ln>
                <a:solidFill>
                  <a:prstClr val="white"/>
                </a:solidFill>
                <a:effectLst/>
                <a:uLnTx/>
                <a:uFillTx/>
                <a:latin typeface="OPPOSans H"/>
                <a:ea typeface="OPPOSans R"/>
                <a:cs typeface="+mn-cs"/>
              </a:rPr>
              <a:t>02</a:t>
            </a:r>
            <a:endParaRPr kumimoji="0" lang="zh-CN" altLang="en-US" sz="2400" b="0" i="0" u="none" strike="noStrike" kern="1200" cap="none" spc="0" normalizeH="0" baseline="0" noProof="0" dirty="0">
              <a:ln>
                <a:noFill/>
              </a:ln>
              <a:solidFill>
                <a:prstClr val="white"/>
              </a:solidFill>
              <a:effectLst/>
              <a:uLnTx/>
              <a:uFillTx/>
              <a:latin typeface="OPPOSans H"/>
              <a:ea typeface="OPPOSans R"/>
              <a:cs typeface="+mn-cs"/>
            </a:endParaRPr>
          </a:p>
        </p:txBody>
      </p:sp>
      <p:sp>
        <p:nvSpPr>
          <p:cNvPr id="56" name="稿定PPT-10-1">
            <a:extLst>
              <a:ext uri="{FF2B5EF4-FFF2-40B4-BE49-F238E27FC236}">
                <a16:creationId xmlns:a16="http://schemas.microsoft.com/office/drawing/2014/main" id="{3A77530B-7FB0-4D9C-A2CD-7E33110B1129}"/>
              </a:ext>
            </a:extLst>
          </p:cNvPr>
          <p:cNvSpPr txBox="1"/>
          <p:nvPr/>
        </p:nvSpPr>
        <p:spPr>
          <a:xfrm>
            <a:off x="7527752" y="3755345"/>
            <a:ext cx="2326589" cy="251143"/>
          </a:xfrm>
          <a:prstGeom prst="rect">
            <a:avLst/>
          </a:prstGeom>
          <a:noFill/>
          <a:ln>
            <a:noFill/>
          </a:ln>
          <a:effectLst/>
        </p:spPr>
        <p:txBody>
          <a:bodyPr wrap="none" lIns="0" tIns="0" rIns="0" bIns="0" anchor="ctr" anchorCtr="0">
            <a:noAutofit/>
          </a:bodyPr>
          <a:lstStyle/>
          <a:p>
            <a:pPr marL="0" marR="0" lvl="0" indent="0" algn="l" defTabSz="913765" rtl="0" eaLnBrk="1" fontAlgn="auto" latinLnBrk="0" hangingPunct="1">
              <a:lnSpc>
                <a:spcPct val="100000"/>
              </a:lnSpc>
              <a:spcBef>
                <a:spcPts val="0"/>
              </a:spcBef>
              <a:spcAft>
                <a:spcPts val="0"/>
              </a:spcAft>
              <a:buClrTx/>
              <a:buSzPct val="25000"/>
              <a:buFontTx/>
              <a:buNone/>
              <a:tabLst/>
              <a:defRPr/>
            </a:pPr>
            <a:r>
              <a:rPr kumimoji="0" lang="zh-CN" altLang="en-US" sz="2400" b="0" i="0" u="none" strike="noStrike" kern="1200" cap="none" spc="0" normalizeH="0" baseline="0" noProof="0" dirty="0">
                <a:ln>
                  <a:noFill/>
                </a:ln>
                <a:gradFill>
                  <a:gsLst>
                    <a:gs pos="0">
                      <a:srgbClr val="3BD1FF"/>
                    </a:gs>
                    <a:gs pos="100000">
                      <a:srgbClr val="008CFF"/>
                    </a:gs>
                  </a:gsLst>
                  <a:lin ang="5400000" scaled="1"/>
                </a:gradFill>
                <a:effectLst/>
                <a:uLnTx/>
                <a:uFillTx/>
                <a:latin typeface="OPPOSans B" panose="00020600040101010101" pitchFamily="18" charset="-122"/>
                <a:ea typeface="OPPOSans B" panose="00020600040101010101" pitchFamily="18" charset="-122"/>
                <a:cs typeface="OPPOSans B" panose="00020600040101010101" pitchFamily="18" charset="-122"/>
              </a:rPr>
              <a:t>秋叶</a:t>
            </a:r>
            <a:r>
              <a:rPr kumimoji="0" lang="en-US" altLang="zh-CN" sz="2400" b="0" i="0" u="none" strike="noStrike" kern="1200" cap="none" spc="0" normalizeH="0" baseline="0" noProof="0" dirty="0">
                <a:ln>
                  <a:noFill/>
                </a:ln>
                <a:gradFill>
                  <a:gsLst>
                    <a:gs pos="0">
                      <a:srgbClr val="3BD1FF"/>
                    </a:gs>
                    <a:gs pos="100000">
                      <a:srgbClr val="008CFF"/>
                    </a:gs>
                  </a:gsLst>
                  <a:lin ang="5400000" scaled="1"/>
                </a:gradFill>
                <a:effectLst/>
                <a:uLnTx/>
                <a:uFillTx/>
                <a:latin typeface="OPPOSans B" panose="00020600040101010101" pitchFamily="18" charset="-122"/>
                <a:ea typeface="OPPOSans B" panose="00020600040101010101" pitchFamily="18" charset="-122"/>
                <a:cs typeface="OPPOSans B" panose="00020600040101010101" pitchFamily="18" charset="-122"/>
              </a:rPr>
              <a:t>PPT</a:t>
            </a:r>
            <a:r>
              <a:rPr kumimoji="0" lang="zh-CN" altLang="en-US" sz="2400" b="0" i="0" u="none" strike="noStrike" kern="1200" cap="none" spc="0" normalizeH="0" baseline="0" noProof="0" dirty="0">
                <a:ln>
                  <a:noFill/>
                </a:ln>
                <a:gradFill>
                  <a:gsLst>
                    <a:gs pos="0">
                      <a:srgbClr val="3BD1FF"/>
                    </a:gs>
                    <a:gs pos="100000">
                      <a:srgbClr val="008CFF"/>
                    </a:gs>
                  </a:gsLst>
                  <a:lin ang="5400000" scaled="1"/>
                </a:gradFill>
                <a:effectLst/>
                <a:uLnTx/>
                <a:uFillTx/>
                <a:latin typeface="OPPOSans B" panose="00020600040101010101" pitchFamily="18" charset="-122"/>
                <a:ea typeface="OPPOSans B" panose="00020600040101010101" pitchFamily="18" charset="-122"/>
                <a:cs typeface="OPPOSans B" panose="00020600040101010101" pitchFamily="18" charset="-122"/>
              </a:rPr>
              <a:t>更快更轻松</a:t>
            </a:r>
          </a:p>
        </p:txBody>
      </p:sp>
      <p:sp>
        <p:nvSpPr>
          <p:cNvPr id="64" name="椭圆 63">
            <a:extLst>
              <a:ext uri="{FF2B5EF4-FFF2-40B4-BE49-F238E27FC236}">
                <a16:creationId xmlns:a16="http://schemas.microsoft.com/office/drawing/2014/main" id="{A1CB4C4B-A640-4E2C-ADDF-E335AA796CEE}"/>
              </a:ext>
            </a:extLst>
          </p:cNvPr>
          <p:cNvSpPr/>
          <p:nvPr/>
        </p:nvSpPr>
        <p:spPr>
          <a:xfrm>
            <a:off x="6496722" y="4814724"/>
            <a:ext cx="925168" cy="925162"/>
          </a:xfrm>
          <a:prstGeom prst="ellipse">
            <a:avLst/>
          </a:prstGeom>
          <a:solidFill>
            <a:schemeClr val="accent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OPPOSans R"/>
              <a:ea typeface="OPPOSans R"/>
              <a:cs typeface="+mn-cs"/>
            </a:endParaRPr>
          </a:p>
        </p:txBody>
      </p:sp>
      <p:sp>
        <p:nvSpPr>
          <p:cNvPr id="65" name="椭圆 64">
            <a:extLst>
              <a:ext uri="{FF2B5EF4-FFF2-40B4-BE49-F238E27FC236}">
                <a16:creationId xmlns:a16="http://schemas.microsoft.com/office/drawing/2014/main" id="{BB9E4E4C-CFEB-4175-BC8D-ABC04DC84648}"/>
              </a:ext>
            </a:extLst>
          </p:cNvPr>
          <p:cNvSpPr/>
          <p:nvPr/>
        </p:nvSpPr>
        <p:spPr>
          <a:xfrm>
            <a:off x="6628501" y="4946504"/>
            <a:ext cx="661613" cy="661604"/>
          </a:xfrm>
          <a:prstGeom prst="ellipse">
            <a:avLst/>
          </a:prstGeom>
          <a:gradFill flip="none" rotWithShape="1">
            <a:gsLst>
              <a:gs pos="0">
                <a:schemeClr val="accent1"/>
              </a:gs>
              <a:gs pos="81000">
                <a:schemeClr val="accent2"/>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2400" b="0" i="0" u="none" strike="noStrike" kern="1200" cap="none" spc="0" normalizeH="0" baseline="0" noProof="0" dirty="0">
                <a:ln>
                  <a:noFill/>
                </a:ln>
                <a:solidFill>
                  <a:prstClr val="white"/>
                </a:solidFill>
                <a:effectLst/>
                <a:uLnTx/>
                <a:uFillTx/>
                <a:latin typeface="OPPOSans H"/>
                <a:ea typeface="OPPOSans R"/>
                <a:cs typeface="+mn-cs"/>
              </a:rPr>
              <a:t>03</a:t>
            </a:r>
            <a:endParaRPr kumimoji="0" lang="zh-CN" altLang="en-US" sz="2400" b="0" i="0" u="none" strike="noStrike" kern="1200" cap="none" spc="0" normalizeH="0" baseline="0" noProof="0" dirty="0">
              <a:ln>
                <a:noFill/>
              </a:ln>
              <a:solidFill>
                <a:prstClr val="white"/>
              </a:solidFill>
              <a:effectLst/>
              <a:uLnTx/>
              <a:uFillTx/>
              <a:latin typeface="OPPOSans H"/>
              <a:ea typeface="OPPOSans R"/>
              <a:cs typeface="+mn-cs"/>
            </a:endParaRPr>
          </a:p>
        </p:txBody>
      </p:sp>
      <p:sp>
        <p:nvSpPr>
          <p:cNvPr id="62" name="稿定PPT-10-1">
            <a:extLst>
              <a:ext uri="{FF2B5EF4-FFF2-40B4-BE49-F238E27FC236}">
                <a16:creationId xmlns:a16="http://schemas.microsoft.com/office/drawing/2014/main" id="{6BB20C88-EE65-40ED-B49B-D1E0B99CFEFC}"/>
              </a:ext>
            </a:extLst>
          </p:cNvPr>
          <p:cNvSpPr txBox="1"/>
          <p:nvPr/>
        </p:nvSpPr>
        <p:spPr>
          <a:xfrm>
            <a:off x="7527752" y="5151734"/>
            <a:ext cx="2326589" cy="251143"/>
          </a:xfrm>
          <a:prstGeom prst="rect">
            <a:avLst/>
          </a:prstGeom>
          <a:noFill/>
          <a:ln>
            <a:noFill/>
          </a:ln>
          <a:effectLst/>
        </p:spPr>
        <p:txBody>
          <a:bodyPr wrap="none" lIns="0" tIns="0" rIns="0" bIns="0" anchor="ctr" anchorCtr="0">
            <a:noAutofit/>
          </a:bodyPr>
          <a:lstStyle/>
          <a:p>
            <a:pPr marL="0" marR="0" lvl="0" indent="0" algn="l" defTabSz="913765" rtl="0" eaLnBrk="1" fontAlgn="auto" latinLnBrk="0" hangingPunct="1">
              <a:lnSpc>
                <a:spcPct val="100000"/>
              </a:lnSpc>
              <a:spcBef>
                <a:spcPts val="0"/>
              </a:spcBef>
              <a:spcAft>
                <a:spcPts val="0"/>
              </a:spcAft>
              <a:buClrTx/>
              <a:buSzPct val="25000"/>
              <a:buFontTx/>
              <a:buNone/>
              <a:tabLst/>
              <a:defRPr/>
            </a:pPr>
            <a:r>
              <a:rPr kumimoji="0" lang="zh-CN" altLang="en-US" sz="2400" b="0" i="0" u="none" strike="noStrike" kern="1200" cap="none" spc="0" normalizeH="0" baseline="0" noProof="0" dirty="0">
                <a:ln>
                  <a:noFill/>
                </a:ln>
                <a:gradFill>
                  <a:gsLst>
                    <a:gs pos="0">
                      <a:srgbClr val="3BD1FF"/>
                    </a:gs>
                    <a:gs pos="100000">
                      <a:srgbClr val="008CFF"/>
                    </a:gs>
                  </a:gsLst>
                  <a:lin ang="5400000" scaled="1"/>
                </a:gradFill>
                <a:effectLst/>
                <a:uLnTx/>
                <a:uFillTx/>
                <a:latin typeface="OPPOSans B" panose="00020600040101010101" pitchFamily="18" charset="-122"/>
                <a:ea typeface="OPPOSans B" panose="00020600040101010101" pitchFamily="18" charset="-122"/>
                <a:cs typeface="OPPOSans B" panose="00020600040101010101" pitchFamily="18" charset="-122"/>
              </a:rPr>
              <a:t>秋叶</a:t>
            </a:r>
            <a:r>
              <a:rPr kumimoji="0" lang="en-US" altLang="zh-CN" sz="2400" b="0" i="0" u="none" strike="noStrike" kern="1200" cap="none" spc="0" normalizeH="0" baseline="0" noProof="0" dirty="0">
                <a:ln>
                  <a:noFill/>
                </a:ln>
                <a:gradFill>
                  <a:gsLst>
                    <a:gs pos="0">
                      <a:srgbClr val="3BD1FF"/>
                    </a:gs>
                    <a:gs pos="100000">
                      <a:srgbClr val="008CFF"/>
                    </a:gs>
                  </a:gsLst>
                  <a:lin ang="5400000" scaled="1"/>
                </a:gradFill>
                <a:effectLst/>
                <a:uLnTx/>
                <a:uFillTx/>
                <a:latin typeface="OPPOSans B" panose="00020600040101010101" pitchFamily="18" charset="-122"/>
                <a:ea typeface="OPPOSans B" panose="00020600040101010101" pitchFamily="18" charset="-122"/>
                <a:cs typeface="OPPOSans B" panose="00020600040101010101" pitchFamily="18" charset="-122"/>
              </a:rPr>
              <a:t>PPT</a:t>
            </a:r>
            <a:r>
              <a:rPr kumimoji="0" lang="zh-CN" altLang="en-US" sz="2400" b="0" i="0" u="none" strike="noStrike" kern="1200" cap="none" spc="0" normalizeH="0" baseline="0" noProof="0" dirty="0">
                <a:ln>
                  <a:noFill/>
                </a:ln>
                <a:gradFill>
                  <a:gsLst>
                    <a:gs pos="0">
                      <a:srgbClr val="3BD1FF"/>
                    </a:gs>
                    <a:gs pos="100000">
                      <a:srgbClr val="008CFF"/>
                    </a:gs>
                  </a:gsLst>
                  <a:lin ang="5400000" scaled="1"/>
                </a:gradFill>
                <a:effectLst/>
                <a:uLnTx/>
                <a:uFillTx/>
                <a:latin typeface="OPPOSans B" panose="00020600040101010101" pitchFamily="18" charset="-122"/>
                <a:ea typeface="OPPOSans B" panose="00020600040101010101" pitchFamily="18" charset="-122"/>
                <a:cs typeface="OPPOSans B" panose="00020600040101010101" pitchFamily="18" charset="-122"/>
              </a:rPr>
              <a:t>更快更轻松</a:t>
            </a:r>
          </a:p>
        </p:txBody>
      </p:sp>
      <p:cxnSp>
        <p:nvCxnSpPr>
          <p:cNvPr id="89" name="连接符: 肘形 88">
            <a:extLst>
              <a:ext uri="{FF2B5EF4-FFF2-40B4-BE49-F238E27FC236}">
                <a16:creationId xmlns:a16="http://schemas.microsoft.com/office/drawing/2014/main" id="{90D8E70E-5CB0-4EA3-9E2D-6682F4C31BC1}"/>
              </a:ext>
            </a:extLst>
          </p:cNvPr>
          <p:cNvCxnSpPr>
            <a:stCxn id="16" idx="6"/>
            <a:endCxn id="48" idx="2"/>
          </p:cNvCxnSpPr>
          <p:nvPr/>
        </p:nvCxnSpPr>
        <p:spPr>
          <a:xfrm flipV="1">
            <a:off x="5168738" y="2484527"/>
            <a:ext cx="1327984" cy="1392075"/>
          </a:xfrm>
          <a:prstGeom prst="bentConnector3">
            <a:avLst/>
          </a:prstGeom>
          <a:ln w="19050" cap="rnd">
            <a:gradFill>
              <a:gsLst>
                <a:gs pos="0">
                  <a:schemeClr val="accent1"/>
                </a:gs>
                <a:gs pos="100000">
                  <a:schemeClr val="accent2"/>
                </a:gs>
              </a:gsLst>
              <a:lin ang="5400000" scaled="1"/>
            </a:gradFill>
            <a:round/>
            <a:tailEnd type="triangle"/>
          </a:ln>
        </p:spPr>
        <p:style>
          <a:lnRef idx="1">
            <a:schemeClr val="accent1"/>
          </a:lnRef>
          <a:fillRef idx="0">
            <a:schemeClr val="accent1"/>
          </a:fillRef>
          <a:effectRef idx="0">
            <a:schemeClr val="accent1"/>
          </a:effectRef>
          <a:fontRef idx="minor">
            <a:schemeClr val="tx1"/>
          </a:fontRef>
        </p:style>
      </p:cxnSp>
      <p:cxnSp>
        <p:nvCxnSpPr>
          <p:cNvPr id="100" name="连接符: 肘形 99">
            <a:extLst>
              <a:ext uri="{FF2B5EF4-FFF2-40B4-BE49-F238E27FC236}">
                <a16:creationId xmlns:a16="http://schemas.microsoft.com/office/drawing/2014/main" id="{4A85E09E-2316-433C-97ED-3A2392E5CA2E}"/>
              </a:ext>
            </a:extLst>
          </p:cNvPr>
          <p:cNvCxnSpPr>
            <a:cxnSpLocks/>
          </p:cNvCxnSpPr>
          <p:nvPr/>
        </p:nvCxnSpPr>
        <p:spPr>
          <a:xfrm>
            <a:off x="5168738" y="3875377"/>
            <a:ext cx="1327984" cy="1392075"/>
          </a:xfrm>
          <a:prstGeom prst="bentConnector3">
            <a:avLst/>
          </a:prstGeom>
          <a:ln w="19050" cap="rnd">
            <a:gradFill>
              <a:gsLst>
                <a:gs pos="0">
                  <a:schemeClr val="accent1"/>
                </a:gs>
                <a:gs pos="100000">
                  <a:schemeClr val="accent2"/>
                </a:gs>
              </a:gsLst>
              <a:lin ang="5400000" scaled="1"/>
            </a:gradFill>
            <a:round/>
            <a:tailEnd type="triangle"/>
          </a:ln>
        </p:spPr>
        <p:style>
          <a:lnRef idx="1">
            <a:schemeClr val="accent1"/>
          </a:lnRef>
          <a:fillRef idx="0">
            <a:schemeClr val="accent1"/>
          </a:fillRef>
          <a:effectRef idx="0">
            <a:schemeClr val="accent1"/>
          </a:effectRef>
          <a:fontRef idx="minor">
            <a:schemeClr val="tx1"/>
          </a:fontRef>
        </p:style>
      </p:cxnSp>
      <p:cxnSp>
        <p:nvCxnSpPr>
          <p:cNvPr id="91" name="连接符: 肘形 90">
            <a:extLst>
              <a:ext uri="{FF2B5EF4-FFF2-40B4-BE49-F238E27FC236}">
                <a16:creationId xmlns:a16="http://schemas.microsoft.com/office/drawing/2014/main" id="{2C8DFFFD-3C91-4B17-A9CE-1F49F0B676D8}"/>
              </a:ext>
            </a:extLst>
          </p:cNvPr>
          <p:cNvCxnSpPr>
            <a:cxnSpLocks/>
            <a:stCxn id="16" idx="6"/>
            <a:endCxn id="58" idx="2"/>
          </p:cNvCxnSpPr>
          <p:nvPr/>
        </p:nvCxnSpPr>
        <p:spPr>
          <a:xfrm>
            <a:off x="5168738" y="3876602"/>
            <a:ext cx="1327984" cy="1203"/>
          </a:xfrm>
          <a:prstGeom prst="bentConnector3">
            <a:avLst/>
          </a:prstGeom>
          <a:ln w="19050" cap="rnd">
            <a:gradFill>
              <a:gsLst>
                <a:gs pos="0">
                  <a:schemeClr val="accent1"/>
                </a:gs>
                <a:gs pos="100000">
                  <a:schemeClr val="accent2"/>
                </a:gs>
              </a:gsLst>
              <a:lin ang="5400000" scaled="1"/>
            </a:gradFill>
            <a:round/>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28375071"/>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8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1">
            <a:extLst>
              <a:ext uri="{FF2B5EF4-FFF2-40B4-BE49-F238E27FC236}">
                <a16:creationId xmlns:a16="http://schemas.microsoft.com/office/drawing/2014/main" id="{5F373986-EFD9-4CF5-9DDA-91F0C32F91D7}"/>
              </a:ext>
            </a:extLst>
          </p:cNvPr>
          <p:cNvGrpSpPr/>
          <p:nvPr/>
        </p:nvGrpSpPr>
        <p:grpSpPr>
          <a:xfrm>
            <a:off x="0" y="0"/>
            <a:ext cx="12192000" cy="6858000"/>
            <a:chOff x="0" y="0"/>
            <a:chExt cx="12192000" cy="6858000"/>
          </a:xfrm>
        </p:grpSpPr>
        <p:pic>
          <p:nvPicPr>
            <p:cNvPr id="3" name="图片 2" descr="蓝色的眼睛&#10;&#10;低可信度描述已自动生成">
              <a:extLst>
                <a:ext uri="{FF2B5EF4-FFF2-40B4-BE49-F238E27FC236}">
                  <a16:creationId xmlns:a16="http://schemas.microsoft.com/office/drawing/2014/main" id="{264D841B-47A6-4957-A0FE-8D406EA32CFD}"/>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t="53680" r="61493" b="7810"/>
            <a:stretch/>
          </p:blipFill>
          <p:spPr>
            <a:xfrm>
              <a:off x="0" y="0"/>
              <a:ext cx="12192000" cy="6858000"/>
            </a:xfrm>
            <a:prstGeom prst="rect">
              <a:avLst/>
            </a:prstGeom>
          </p:spPr>
        </p:pic>
        <p:sp>
          <p:nvSpPr>
            <p:cNvPr id="4" name="矩形 3">
              <a:extLst>
                <a:ext uri="{FF2B5EF4-FFF2-40B4-BE49-F238E27FC236}">
                  <a16:creationId xmlns:a16="http://schemas.microsoft.com/office/drawing/2014/main" id="{7B2219A8-6B99-4A01-883F-7F661FCF0688}"/>
                </a:ext>
              </a:extLst>
            </p:cNvPr>
            <p:cNvSpPr/>
            <p:nvPr/>
          </p:nvSpPr>
          <p:spPr>
            <a:xfrm>
              <a:off x="0" y="0"/>
              <a:ext cx="12192000" cy="6858000"/>
            </a:xfrm>
            <a:prstGeom prst="rect">
              <a:avLst/>
            </a:prstGeom>
            <a:solidFill>
              <a:schemeClr val="tx1">
                <a:alpha val="55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OPPOSans R"/>
                <a:ea typeface="OPPOSans R"/>
                <a:cs typeface="+mn-cs"/>
              </a:endParaRPr>
            </a:p>
          </p:txBody>
        </p:sp>
        <p:sp>
          <p:nvSpPr>
            <p:cNvPr id="5" name="任意多边形: 形状 4">
              <a:extLst>
                <a:ext uri="{FF2B5EF4-FFF2-40B4-BE49-F238E27FC236}">
                  <a16:creationId xmlns:a16="http://schemas.microsoft.com/office/drawing/2014/main" id="{D91D346B-2D50-4BF6-AFBD-9CA117443D4B}"/>
                </a:ext>
              </a:extLst>
            </p:cNvPr>
            <p:cNvSpPr/>
            <p:nvPr/>
          </p:nvSpPr>
          <p:spPr>
            <a:xfrm flipH="1" flipV="1">
              <a:off x="690879" y="1027383"/>
              <a:ext cx="8053069" cy="293044"/>
            </a:xfrm>
            <a:custGeom>
              <a:avLst/>
              <a:gdLst>
                <a:gd name="connsiteX0" fmla="*/ 84666 w 5181600"/>
                <a:gd name="connsiteY0" fmla="*/ 228600 h 228600"/>
                <a:gd name="connsiteX1" fmla="*/ 0 w 5181600"/>
                <a:gd name="connsiteY1" fmla="*/ 228600 h 228600"/>
                <a:gd name="connsiteX2" fmla="*/ 1854200 w 5181600"/>
                <a:gd name="connsiteY2" fmla="*/ 228600 h 228600"/>
                <a:gd name="connsiteX3" fmla="*/ 2048933 w 5181600"/>
                <a:gd name="connsiteY3" fmla="*/ 33867 h 228600"/>
                <a:gd name="connsiteX4" fmla="*/ 5181600 w 5181600"/>
                <a:gd name="connsiteY4" fmla="*/ 33867 h 228600"/>
                <a:gd name="connsiteX5" fmla="*/ 5181600 w 5181600"/>
                <a:gd name="connsiteY5" fmla="*/ 0 h 228600"/>
                <a:gd name="connsiteX0" fmla="*/ 0 w 5181600"/>
                <a:gd name="connsiteY0" fmla="*/ 228600 h 228600"/>
                <a:gd name="connsiteX1" fmla="*/ 1854200 w 5181600"/>
                <a:gd name="connsiteY1" fmla="*/ 228600 h 228600"/>
                <a:gd name="connsiteX2" fmla="*/ 2048933 w 5181600"/>
                <a:gd name="connsiteY2" fmla="*/ 33867 h 228600"/>
                <a:gd name="connsiteX3" fmla="*/ 5181600 w 5181600"/>
                <a:gd name="connsiteY3" fmla="*/ 33867 h 228600"/>
                <a:gd name="connsiteX4" fmla="*/ 5181600 w 5181600"/>
                <a:gd name="connsiteY4" fmla="*/ 0 h 228600"/>
                <a:gd name="connsiteX0" fmla="*/ 0 w 5181600"/>
                <a:gd name="connsiteY0" fmla="*/ 194733 h 194733"/>
                <a:gd name="connsiteX1" fmla="*/ 1854200 w 5181600"/>
                <a:gd name="connsiteY1" fmla="*/ 194733 h 194733"/>
                <a:gd name="connsiteX2" fmla="*/ 2048933 w 5181600"/>
                <a:gd name="connsiteY2" fmla="*/ 0 h 194733"/>
                <a:gd name="connsiteX3" fmla="*/ 5181600 w 5181600"/>
                <a:gd name="connsiteY3" fmla="*/ 0 h 194733"/>
                <a:gd name="connsiteX0" fmla="*/ 0 w 5181600"/>
                <a:gd name="connsiteY0" fmla="*/ 194733 h 197587"/>
                <a:gd name="connsiteX1" fmla="*/ 1962214 w 5181600"/>
                <a:gd name="connsiteY1" fmla="*/ 197587 h 197587"/>
                <a:gd name="connsiteX2" fmla="*/ 2048933 w 5181600"/>
                <a:gd name="connsiteY2" fmla="*/ 0 h 197587"/>
                <a:gd name="connsiteX3" fmla="*/ 5181600 w 5181600"/>
                <a:gd name="connsiteY3" fmla="*/ 0 h 197587"/>
                <a:gd name="connsiteX0" fmla="*/ 0 w 5181600"/>
                <a:gd name="connsiteY0" fmla="*/ 194733 h 197587"/>
                <a:gd name="connsiteX1" fmla="*/ 1933688 w 5181600"/>
                <a:gd name="connsiteY1" fmla="*/ 197587 h 197587"/>
                <a:gd name="connsiteX2" fmla="*/ 2048933 w 5181600"/>
                <a:gd name="connsiteY2" fmla="*/ 0 h 197587"/>
                <a:gd name="connsiteX3" fmla="*/ 5181600 w 5181600"/>
                <a:gd name="connsiteY3" fmla="*/ 0 h 197587"/>
              </a:gdLst>
              <a:ahLst/>
              <a:cxnLst>
                <a:cxn ang="0">
                  <a:pos x="connsiteX0" y="connsiteY0"/>
                </a:cxn>
                <a:cxn ang="0">
                  <a:pos x="connsiteX1" y="connsiteY1"/>
                </a:cxn>
                <a:cxn ang="0">
                  <a:pos x="connsiteX2" y="connsiteY2"/>
                </a:cxn>
                <a:cxn ang="0">
                  <a:pos x="connsiteX3" y="connsiteY3"/>
                </a:cxn>
              </a:cxnLst>
              <a:rect l="l" t="t" r="r" b="b"/>
              <a:pathLst>
                <a:path w="5181600" h="197587">
                  <a:moveTo>
                    <a:pt x="0" y="194733"/>
                  </a:moveTo>
                  <a:lnTo>
                    <a:pt x="1933688" y="197587"/>
                  </a:lnTo>
                  <a:lnTo>
                    <a:pt x="2048933" y="0"/>
                  </a:lnTo>
                  <a:lnTo>
                    <a:pt x="5181600" y="0"/>
                  </a:lnTo>
                </a:path>
              </a:pathLst>
            </a:custGeom>
            <a:noFill/>
            <a:ln w="6350">
              <a:solidFill>
                <a:schemeClr val="bg1"/>
              </a:solidFill>
              <a:headEnd type="ova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OPPOSans R"/>
                <a:ea typeface="OPPOSans R"/>
                <a:cs typeface="+mn-cs"/>
              </a:endParaRPr>
            </a:p>
          </p:txBody>
        </p:sp>
        <p:sp>
          <p:nvSpPr>
            <p:cNvPr id="6" name="文本框 5">
              <a:extLst>
                <a:ext uri="{FF2B5EF4-FFF2-40B4-BE49-F238E27FC236}">
                  <a16:creationId xmlns:a16="http://schemas.microsoft.com/office/drawing/2014/main" id="{949D0372-6118-47D4-989E-8E2C4C78AA98}"/>
                </a:ext>
              </a:extLst>
            </p:cNvPr>
            <p:cNvSpPr txBox="1"/>
            <p:nvPr/>
          </p:nvSpPr>
          <p:spPr>
            <a:xfrm>
              <a:off x="720856" y="638458"/>
              <a:ext cx="4397374" cy="356105"/>
            </a:xfrm>
            <a:prstGeom prst="rect">
              <a:avLst/>
            </a:prstGeom>
            <a:noFill/>
          </p:spPr>
          <p:txBody>
            <a:bodyPr wrap="non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2400" b="0" i="0" u="none" strike="noStrike" kern="1200" cap="none" spc="120" normalizeH="0" baseline="0" noProof="0" dirty="0">
                  <a:ln>
                    <a:noFill/>
                  </a:ln>
                  <a:gradFill>
                    <a:gsLst>
                      <a:gs pos="0">
                        <a:srgbClr val="3BD1FF"/>
                      </a:gs>
                      <a:gs pos="100000">
                        <a:srgbClr val="008CFF"/>
                      </a:gs>
                    </a:gsLst>
                    <a:lin ang="5400000" scaled="1"/>
                  </a:gradFill>
                  <a:effectLst/>
                  <a:uLnTx/>
                  <a:uFillTx/>
                  <a:latin typeface="OPPOSans B" panose="00020600040101010101" pitchFamily="18" charset="-122"/>
                  <a:ea typeface="OPPOSans B" panose="00020600040101010101" pitchFamily="18" charset="-122"/>
                  <a:cs typeface="OPPOSans B" panose="00020600040101010101" pitchFamily="18" charset="-122"/>
                </a:rPr>
                <a:t>秋叶</a:t>
              </a:r>
              <a:r>
                <a:rPr kumimoji="0" lang="en-US" altLang="zh-CN" sz="2400" b="0" i="0" u="none" strike="noStrike" kern="1200" cap="none" spc="120" normalizeH="0" baseline="0" noProof="0" dirty="0">
                  <a:ln>
                    <a:noFill/>
                  </a:ln>
                  <a:gradFill>
                    <a:gsLst>
                      <a:gs pos="0">
                        <a:srgbClr val="3BD1FF"/>
                      </a:gs>
                      <a:gs pos="100000">
                        <a:srgbClr val="008CFF"/>
                      </a:gs>
                    </a:gsLst>
                    <a:lin ang="5400000" scaled="1"/>
                  </a:gradFill>
                  <a:effectLst/>
                  <a:uLnTx/>
                  <a:uFillTx/>
                  <a:latin typeface="OPPOSans B" panose="00020600040101010101" pitchFamily="18" charset="-122"/>
                  <a:ea typeface="OPPOSans B" panose="00020600040101010101" pitchFamily="18" charset="-122"/>
                  <a:cs typeface="OPPOSans B" panose="00020600040101010101" pitchFamily="18" charset="-122"/>
                </a:rPr>
                <a:t>PPT</a:t>
              </a:r>
              <a:r>
                <a:rPr kumimoji="0" lang="zh-CN" altLang="en-US" sz="2400" b="0" i="0" u="none" strike="noStrike" kern="1200" cap="none" spc="120" normalizeH="0" baseline="0" noProof="0" dirty="0">
                  <a:ln>
                    <a:noFill/>
                  </a:ln>
                  <a:gradFill>
                    <a:gsLst>
                      <a:gs pos="0">
                        <a:srgbClr val="3BD1FF"/>
                      </a:gs>
                      <a:gs pos="100000">
                        <a:srgbClr val="008CFF"/>
                      </a:gs>
                    </a:gsLst>
                    <a:lin ang="5400000" scaled="1"/>
                  </a:gradFill>
                  <a:effectLst/>
                  <a:uLnTx/>
                  <a:uFillTx/>
                  <a:latin typeface="OPPOSans B" panose="00020600040101010101" pitchFamily="18" charset="-122"/>
                  <a:ea typeface="OPPOSans B" panose="00020600040101010101" pitchFamily="18" charset="-122"/>
                  <a:cs typeface="OPPOSans B" panose="00020600040101010101" pitchFamily="18" charset="-122"/>
                </a:rPr>
                <a:t>，海量素材持续更新</a:t>
              </a:r>
              <a:endParaRPr kumimoji="0" lang="en-US" altLang="zh-CN" sz="2400" b="0" i="0" u="none" strike="noStrike" kern="1200" cap="none" spc="120" normalizeH="0" baseline="0" noProof="0" dirty="0">
                <a:ln>
                  <a:noFill/>
                </a:ln>
                <a:gradFill>
                  <a:gsLst>
                    <a:gs pos="0">
                      <a:srgbClr val="3BD1FF"/>
                    </a:gs>
                    <a:gs pos="100000">
                      <a:srgbClr val="008CFF"/>
                    </a:gs>
                  </a:gsLst>
                  <a:lin ang="5400000" scaled="1"/>
                </a:gradFill>
                <a:effectLst/>
                <a:uLnTx/>
                <a:uFillTx/>
                <a:latin typeface="OPPOSans B" panose="00020600040101010101" pitchFamily="18" charset="-122"/>
                <a:ea typeface="OPPOSans B" panose="00020600040101010101" pitchFamily="18" charset="-122"/>
                <a:cs typeface="OPPOSans B" panose="00020600040101010101" pitchFamily="18" charset="-122"/>
              </a:endParaRPr>
            </a:p>
          </p:txBody>
        </p:sp>
        <p:sp>
          <p:nvSpPr>
            <p:cNvPr id="7" name="文本框 6">
              <a:extLst>
                <a:ext uri="{FF2B5EF4-FFF2-40B4-BE49-F238E27FC236}">
                  <a16:creationId xmlns:a16="http://schemas.microsoft.com/office/drawing/2014/main" id="{A51B4D2B-C280-4C37-8C9E-CC242848E034}"/>
                </a:ext>
              </a:extLst>
            </p:cNvPr>
            <p:cNvSpPr txBox="1"/>
            <p:nvPr/>
          </p:nvSpPr>
          <p:spPr>
            <a:xfrm>
              <a:off x="720854" y="1031617"/>
              <a:ext cx="4865158" cy="184666"/>
            </a:xfrm>
            <a:prstGeom prst="rect">
              <a:avLst/>
            </a:prstGeom>
            <a:noFill/>
          </p:spPr>
          <p:txBody>
            <a:bodyPr wrap="none" lIns="0" tIns="0" rIns="0" bIns="0">
              <a:noAutofit/>
            </a:bodyPr>
            <a:lstStyle/>
            <a:p>
              <a:pPr marL="0" marR="0" lvl="0" indent="0" algn="l" defTabSz="913765" rtl="0" eaLnBrk="1" fontAlgn="auto" latinLnBrk="0" hangingPunct="1">
                <a:lnSpc>
                  <a:spcPct val="100000"/>
                </a:lnSpc>
                <a:spcBef>
                  <a:spcPts val="0"/>
                </a:spcBef>
                <a:spcAft>
                  <a:spcPts val="0"/>
                </a:spcAft>
                <a:buClrTx/>
                <a:buSzPct val="25000"/>
                <a:buFontTx/>
                <a:buNone/>
                <a:tabLst/>
                <a:defRPr/>
              </a:pPr>
              <a:r>
                <a:rPr kumimoji="0" lang="en-US" altLang="zh-CN" sz="1100" b="0" i="0" u="none" strike="noStrike" kern="1200" cap="none" spc="0" normalizeH="0" baseline="0" noProof="0" dirty="0">
                  <a:ln>
                    <a:noFill/>
                  </a:ln>
                  <a:solidFill>
                    <a:srgbClr val="3BD1FF">
                      <a:lumMod val="20000"/>
                      <a:lumOff val="80000"/>
                    </a:srgbClr>
                  </a:solidFill>
                  <a:effectLst/>
                  <a:uLnTx/>
                  <a:uFillTx/>
                  <a:latin typeface="OPPOSans R"/>
                  <a:ea typeface="微软雅黑"/>
                  <a:cs typeface="+mn-cs"/>
                </a:rPr>
                <a:t>Mandamus </a:t>
              </a:r>
              <a:r>
                <a:rPr kumimoji="0" lang="en-US" altLang="zh-CN" sz="1100" b="0" i="0" u="none" strike="noStrike" kern="1200" cap="none" spc="0" normalizeH="0" baseline="0" noProof="0" dirty="0" err="1">
                  <a:ln>
                    <a:noFill/>
                  </a:ln>
                  <a:solidFill>
                    <a:srgbClr val="3BD1FF">
                      <a:lumMod val="20000"/>
                      <a:lumOff val="80000"/>
                    </a:srgbClr>
                  </a:solidFill>
                  <a:effectLst/>
                  <a:uLnTx/>
                  <a:uFillTx/>
                  <a:latin typeface="OPPOSans R"/>
                  <a:ea typeface="微软雅黑"/>
                  <a:cs typeface="+mn-cs"/>
                </a:rPr>
                <a:t>mediocrem</a:t>
              </a:r>
              <a:r>
                <a:rPr kumimoji="0" lang="en-US" altLang="zh-CN" sz="1100" b="0" i="0" u="none" strike="noStrike" kern="1200" cap="none" spc="0" normalizeH="0" baseline="0" noProof="0" dirty="0">
                  <a:ln>
                    <a:noFill/>
                  </a:ln>
                  <a:solidFill>
                    <a:srgbClr val="3BD1FF">
                      <a:lumMod val="20000"/>
                      <a:lumOff val="80000"/>
                    </a:srgbClr>
                  </a:solidFill>
                  <a:effectLst/>
                  <a:uLnTx/>
                  <a:uFillTx/>
                  <a:latin typeface="OPPOSans R"/>
                  <a:ea typeface="微软雅黑"/>
                  <a:cs typeface="+mn-cs"/>
                </a:rPr>
                <a:t> </a:t>
              </a:r>
              <a:r>
                <a:rPr kumimoji="0" lang="en-US" altLang="zh-CN" sz="1100" b="0" i="0" u="none" strike="noStrike" kern="1200" cap="none" spc="0" normalizeH="0" baseline="0" noProof="0" dirty="0" err="1">
                  <a:ln>
                    <a:noFill/>
                  </a:ln>
                  <a:solidFill>
                    <a:srgbClr val="3BD1FF">
                      <a:lumMod val="20000"/>
                      <a:lumOff val="80000"/>
                    </a:srgbClr>
                  </a:solidFill>
                  <a:effectLst/>
                  <a:uLnTx/>
                  <a:uFillTx/>
                  <a:latin typeface="OPPOSans R"/>
                  <a:ea typeface="微软雅黑"/>
                  <a:cs typeface="+mn-cs"/>
                </a:rPr>
                <a:t>reprehendunt</a:t>
              </a:r>
              <a:r>
                <a:rPr kumimoji="0" lang="en-US" altLang="zh-CN" sz="1100" b="0" i="0" u="none" strike="noStrike" kern="1200" cap="none" spc="0" normalizeH="0" baseline="0" noProof="0" dirty="0">
                  <a:ln>
                    <a:noFill/>
                  </a:ln>
                  <a:solidFill>
                    <a:srgbClr val="3BD1FF">
                      <a:lumMod val="20000"/>
                      <a:lumOff val="80000"/>
                    </a:srgbClr>
                  </a:solidFill>
                  <a:effectLst/>
                  <a:uLnTx/>
                  <a:uFillTx/>
                  <a:latin typeface="OPPOSans R"/>
                  <a:ea typeface="微软雅黑"/>
                  <a:cs typeface="+mn-cs"/>
                </a:rPr>
                <a:t> </a:t>
              </a:r>
              <a:r>
                <a:rPr kumimoji="0" lang="en-US" altLang="zh-CN" sz="1100" b="0" i="0" u="none" strike="noStrike" kern="1200" cap="none" spc="0" normalizeH="0" baseline="0" noProof="0" dirty="0" err="1">
                  <a:ln>
                    <a:noFill/>
                  </a:ln>
                  <a:solidFill>
                    <a:srgbClr val="3BD1FF">
                      <a:lumMod val="20000"/>
                      <a:lumOff val="80000"/>
                    </a:srgbClr>
                  </a:solidFill>
                  <a:effectLst/>
                  <a:uLnTx/>
                  <a:uFillTx/>
                  <a:latin typeface="OPPOSans R"/>
                  <a:ea typeface="微软雅黑"/>
                  <a:cs typeface="+mn-cs"/>
                </a:rPr>
                <a:t>eum</a:t>
              </a:r>
              <a:r>
                <a:rPr kumimoji="0" lang="en-US" altLang="zh-CN" sz="1100" b="0" i="0" u="none" strike="noStrike" kern="1200" cap="none" spc="0" normalizeH="0" baseline="0" noProof="0" dirty="0">
                  <a:ln>
                    <a:noFill/>
                  </a:ln>
                  <a:solidFill>
                    <a:srgbClr val="3BD1FF">
                      <a:lumMod val="20000"/>
                      <a:lumOff val="80000"/>
                    </a:srgbClr>
                  </a:solidFill>
                  <a:effectLst/>
                  <a:uLnTx/>
                  <a:uFillTx/>
                  <a:latin typeface="OPPOSans R"/>
                  <a:ea typeface="微软雅黑"/>
                  <a:cs typeface="+mn-cs"/>
                </a:rPr>
                <a:t> </a:t>
              </a:r>
              <a:r>
                <a:rPr kumimoji="0" lang="en-US" altLang="zh-CN" sz="1100" b="0" i="0" u="none" strike="noStrike" kern="1200" cap="none" spc="0" normalizeH="0" baseline="0" noProof="0" dirty="0" err="1">
                  <a:ln>
                    <a:noFill/>
                  </a:ln>
                  <a:solidFill>
                    <a:srgbClr val="3BD1FF">
                      <a:lumMod val="20000"/>
                      <a:lumOff val="80000"/>
                    </a:srgbClr>
                  </a:solidFill>
                  <a:effectLst/>
                  <a:uLnTx/>
                  <a:uFillTx/>
                  <a:latin typeface="OPPOSans R"/>
                  <a:ea typeface="微软雅黑"/>
                  <a:cs typeface="+mn-cs"/>
                </a:rPr>
                <a:t>eu</a:t>
              </a:r>
              <a:r>
                <a:rPr kumimoji="0" lang="en-US" altLang="zh-CN" sz="1100" b="0" i="0" u="none" strike="noStrike" kern="1200" cap="none" spc="0" normalizeH="0" baseline="0" noProof="0" dirty="0">
                  <a:ln>
                    <a:noFill/>
                  </a:ln>
                  <a:solidFill>
                    <a:srgbClr val="3BD1FF">
                      <a:lumMod val="20000"/>
                      <a:lumOff val="80000"/>
                    </a:srgbClr>
                  </a:solidFill>
                  <a:effectLst/>
                  <a:uLnTx/>
                  <a:uFillTx/>
                  <a:latin typeface="OPPOSans R"/>
                  <a:ea typeface="微软雅黑"/>
                  <a:cs typeface="+mn-cs"/>
                </a:rPr>
                <a:t>, cu </a:t>
              </a:r>
              <a:r>
                <a:rPr kumimoji="0" lang="en-US" altLang="zh-CN" sz="1100" b="0" i="0" u="none" strike="noStrike" kern="1200" cap="none" spc="0" normalizeH="0" baseline="0" noProof="0" dirty="0" err="1">
                  <a:ln>
                    <a:noFill/>
                  </a:ln>
                  <a:solidFill>
                    <a:srgbClr val="3BD1FF">
                      <a:lumMod val="20000"/>
                      <a:lumOff val="80000"/>
                    </a:srgbClr>
                  </a:solidFill>
                  <a:effectLst/>
                  <a:uLnTx/>
                  <a:uFillTx/>
                  <a:latin typeface="OPPOSans R"/>
                  <a:ea typeface="微软雅黑"/>
                  <a:cs typeface="+mn-cs"/>
                </a:rPr>
                <a:t>pertinax</a:t>
              </a:r>
              <a:r>
                <a:rPr kumimoji="0" lang="en-US" altLang="zh-CN" sz="1100" b="0" i="0" u="none" strike="noStrike" kern="1200" cap="none" spc="0" normalizeH="0" baseline="0" noProof="0" dirty="0">
                  <a:ln>
                    <a:noFill/>
                  </a:ln>
                  <a:solidFill>
                    <a:srgbClr val="3BD1FF">
                      <a:lumMod val="20000"/>
                      <a:lumOff val="80000"/>
                    </a:srgbClr>
                  </a:solidFill>
                  <a:effectLst/>
                  <a:uLnTx/>
                  <a:uFillTx/>
                  <a:latin typeface="OPPOSans R"/>
                  <a:ea typeface="微软雅黑"/>
                  <a:cs typeface="+mn-cs"/>
                </a:rPr>
                <a:t> </a:t>
              </a:r>
              <a:r>
                <a:rPr kumimoji="0" lang="en-US" altLang="zh-CN" sz="1100" b="0" i="0" u="none" strike="noStrike" kern="1200" cap="none" spc="0" normalizeH="0" baseline="0" noProof="0" dirty="0" err="1">
                  <a:ln>
                    <a:noFill/>
                  </a:ln>
                  <a:solidFill>
                    <a:srgbClr val="3BD1FF">
                      <a:lumMod val="20000"/>
                      <a:lumOff val="80000"/>
                    </a:srgbClr>
                  </a:solidFill>
                  <a:effectLst/>
                  <a:uLnTx/>
                  <a:uFillTx/>
                  <a:latin typeface="OPPOSans R"/>
                  <a:ea typeface="微软雅黑"/>
                  <a:cs typeface="+mn-cs"/>
                </a:rPr>
                <a:t>ocurreret</a:t>
              </a:r>
              <a:r>
                <a:rPr kumimoji="0" lang="en-US" altLang="zh-CN" sz="1100" b="0" i="0" u="none" strike="noStrike" kern="1200" cap="none" spc="0" normalizeH="0" baseline="0" noProof="0" dirty="0">
                  <a:ln>
                    <a:noFill/>
                  </a:ln>
                  <a:solidFill>
                    <a:srgbClr val="3BD1FF">
                      <a:lumMod val="20000"/>
                      <a:lumOff val="80000"/>
                    </a:srgbClr>
                  </a:solidFill>
                  <a:effectLst/>
                  <a:uLnTx/>
                  <a:uFillTx/>
                  <a:latin typeface="OPPOSans R"/>
                  <a:ea typeface="微软雅黑"/>
                  <a:cs typeface="+mn-cs"/>
                </a:rPr>
                <a:t> his. </a:t>
              </a:r>
            </a:p>
          </p:txBody>
        </p:sp>
        <p:grpSp>
          <p:nvGrpSpPr>
            <p:cNvPr id="8" name="组合 7">
              <a:extLst>
                <a:ext uri="{FF2B5EF4-FFF2-40B4-BE49-F238E27FC236}">
                  <a16:creationId xmlns:a16="http://schemas.microsoft.com/office/drawing/2014/main" id="{4C320D4B-36DF-4052-8828-CF86CE95A3C9}"/>
                </a:ext>
              </a:extLst>
            </p:cNvPr>
            <p:cNvGrpSpPr/>
            <p:nvPr/>
          </p:nvGrpSpPr>
          <p:grpSpPr>
            <a:xfrm>
              <a:off x="5615986" y="1069284"/>
              <a:ext cx="414890" cy="251143"/>
              <a:chOff x="5615986" y="1069284"/>
              <a:chExt cx="414890" cy="251143"/>
            </a:xfrm>
          </p:grpSpPr>
          <p:sp>
            <p:nvSpPr>
              <p:cNvPr id="9" name="平行四边形 8">
                <a:extLst>
                  <a:ext uri="{FF2B5EF4-FFF2-40B4-BE49-F238E27FC236}">
                    <a16:creationId xmlns:a16="http://schemas.microsoft.com/office/drawing/2014/main" id="{F428642C-8A45-4823-A111-DB482E5B25F9}"/>
                  </a:ext>
                </a:extLst>
              </p:cNvPr>
              <p:cNvSpPr/>
              <p:nvPr/>
            </p:nvSpPr>
            <p:spPr>
              <a:xfrm>
                <a:off x="5615986" y="1069284"/>
                <a:ext cx="211725" cy="251143"/>
              </a:xfrm>
              <a:prstGeom prst="parallelogram">
                <a:avLst>
                  <a:gd name="adj" fmla="val 6954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OPPOSans R"/>
                  <a:ea typeface="OPPOSans R"/>
                  <a:cs typeface="+mn-cs"/>
                </a:endParaRPr>
              </a:p>
            </p:txBody>
          </p:sp>
          <p:sp>
            <p:nvSpPr>
              <p:cNvPr id="10" name="平行四边形 9">
                <a:extLst>
                  <a:ext uri="{FF2B5EF4-FFF2-40B4-BE49-F238E27FC236}">
                    <a16:creationId xmlns:a16="http://schemas.microsoft.com/office/drawing/2014/main" id="{30F42C7E-1464-4ABE-AD69-E469B279EB7A}"/>
                  </a:ext>
                </a:extLst>
              </p:cNvPr>
              <p:cNvSpPr/>
              <p:nvPr/>
            </p:nvSpPr>
            <p:spPr>
              <a:xfrm>
                <a:off x="5718114" y="1069284"/>
                <a:ext cx="211725" cy="251143"/>
              </a:xfrm>
              <a:prstGeom prst="parallelogram">
                <a:avLst>
                  <a:gd name="adj" fmla="val 6954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OPPOSans R"/>
                  <a:ea typeface="OPPOSans R"/>
                  <a:cs typeface="+mn-cs"/>
                </a:endParaRPr>
              </a:p>
            </p:txBody>
          </p:sp>
          <p:sp>
            <p:nvSpPr>
              <p:cNvPr id="11" name="平行四边形 10">
                <a:extLst>
                  <a:ext uri="{FF2B5EF4-FFF2-40B4-BE49-F238E27FC236}">
                    <a16:creationId xmlns:a16="http://schemas.microsoft.com/office/drawing/2014/main" id="{70C9BBC8-3AEF-4CDE-8A7F-A37B2A3C1462}"/>
                  </a:ext>
                </a:extLst>
              </p:cNvPr>
              <p:cNvSpPr/>
              <p:nvPr/>
            </p:nvSpPr>
            <p:spPr>
              <a:xfrm>
                <a:off x="5819151" y="1069284"/>
                <a:ext cx="211725" cy="251143"/>
              </a:xfrm>
              <a:prstGeom prst="parallelogram">
                <a:avLst>
                  <a:gd name="adj" fmla="val 6954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OPPOSans R"/>
                  <a:ea typeface="OPPOSans R"/>
                  <a:cs typeface="+mn-cs"/>
                </a:endParaRPr>
              </a:p>
            </p:txBody>
          </p:sp>
        </p:grpSp>
      </p:grpSp>
      <p:sp>
        <p:nvSpPr>
          <p:cNvPr id="40" name="PA-椭圆 11">
            <a:extLst>
              <a:ext uri="{FF2B5EF4-FFF2-40B4-BE49-F238E27FC236}">
                <a16:creationId xmlns:a16="http://schemas.microsoft.com/office/drawing/2014/main" id="{0C9E35F9-D5A0-4B75-98F5-6274C7FEBFE6}"/>
              </a:ext>
            </a:extLst>
          </p:cNvPr>
          <p:cNvSpPr>
            <a:spLocks/>
          </p:cNvSpPr>
          <p:nvPr>
            <p:custDataLst>
              <p:tags r:id="rId2"/>
            </p:custDataLst>
          </p:nvPr>
        </p:nvSpPr>
        <p:spPr>
          <a:xfrm>
            <a:off x="2636682" y="3008429"/>
            <a:ext cx="576000" cy="576000"/>
          </a:xfrm>
          <a:prstGeom prst="ellipse">
            <a:avLst/>
          </a:prstGeom>
          <a:gradFill>
            <a:gsLst>
              <a:gs pos="0">
                <a:schemeClr val="accent1"/>
              </a:gs>
              <a:gs pos="81000">
                <a:schemeClr val="accent2"/>
              </a:gs>
            </a:gsLst>
            <a:lin ang="2700000" scaled="1"/>
          </a:gradFill>
          <a:ln w="9525">
            <a:gradFill flip="none" rotWithShape="1">
              <a:gsLst>
                <a:gs pos="0">
                  <a:schemeClr val="accent2"/>
                </a:gs>
                <a:gs pos="100000">
                  <a:schemeClr val="accent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3765" rtl="0" eaLnBrk="1" fontAlgn="auto" latinLnBrk="0" hangingPunct="1">
              <a:lnSpc>
                <a:spcPct val="100000"/>
              </a:lnSpc>
              <a:spcBef>
                <a:spcPts val="0"/>
              </a:spcBef>
              <a:spcAft>
                <a:spcPts val="0"/>
              </a:spcAft>
              <a:buClrTx/>
              <a:buSzPct val="25000"/>
              <a:buFontTx/>
              <a:buNone/>
              <a:tabLst/>
              <a:defRPr/>
            </a:pPr>
            <a:endParaRPr kumimoji="0" lang="zh-CN" altLang="en-US" sz="2000" b="1" i="0" u="none" strike="noStrike" kern="1200" cap="none" spc="0" normalizeH="0" baseline="0" noProof="0" dirty="0">
              <a:ln>
                <a:noFill/>
              </a:ln>
              <a:solidFill>
                <a:prstClr val="white"/>
              </a:solidFill>
              <a:effectLst/>
              <a:uLnTx/>
              <a:uFillTx/>
              <a:latin typeface="OPPOSans H"/>
              <a:ea typeface="OPPOSans R"/>
              <a:cs typeface="OPPOSans R"/>
              <a:sym typeface="+mn-lt"/>
            </a:endParaRPr>
          </a:p>
        </p:txBody>
      </p:sp>
      <p:sp>
        <p:nvSpPr>
          <p:cNvPr id="41" name="PA-椭圆 11">
            <a:extLst>
              <a:ext uri="{FF2B5EF4-FFF2-40B4-BE49-F238E27FC236}">
                <a16:creationId xmlns:a16="http://schemas.microsoft.com/office/drawing/2014/main" id="{F6F9D44D-16C1-43CD-8FF6-42B76FDDDAAB}"/>
              </a:ext>
            </a:extLst>
          </p:cNvPr>
          <p:cNvSpPr>
            <a:spLocks/>
          </p:cNvSpPr>
          <p:nvPr>
            <p:custDataLst>
              <p:tags r:id="rId3"/>
            </p:custDataLst>
          </p:nvPr>
        </p:nvSpPr>
        <p:spPr>
          <a:xfrm>
            <a:off x="5801599" y="3008429"/>
            <a:ext cx="576000" cy="576000"/>
          </a:xfrm>
          <a:prstGeom prst="ellipse">
            <a:avLst/>
          </a:prstGeom>
          <a:gradFill>
            <a:gsLst>
              <a:gs pos="0">
                <a:schemeClr val="accent1"/>
              </a:gs>
              <a:gs pos="81000">
                <a:schemeClr val="accent2"/>
              </a:gs>
            </a:gsLst>
            <a:lin ang="2700000" scaled="1"/>
          </a:gradFill>
          <a:ln w="9525">
            <a:gradFill flip="none" rotWithShape="1">
              <a:gsLst>
                <a:gs pos="0">
                  <a:schemeClr val="accent2"/>
                </a:gs>
                <a:gs pos="100000">
                  <a:schemeClr val="accent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3765" rtl="0" eaLnBrk="1" fontAlgn="auto" latinLnBrk="0" hangingPunct="1">
              <a:lnSpc>
                <a:spcPct val="100000"/>
              </a:lnSpc>
              <a:spcBef>
                <a:spcPts val="0"/>
              </a:spcBef>
              <a:spcAft>
                <a:spcPts val="0"/>
              </a:spcAft>
              <a:buClrTx/>
              <a:buSzPct val="25000"/>
              <a:buFontTx/>
              <a:buNone/>
              <a:tabLst/>
              <a:defRPr/>
            </a:pPr>
            <a:endParaRPr kumimoji="0" lang="zh-CN" altLang="en-US" sz="2000" b="1" i="0" u="none" strike="noStrike" kern="1200" cap="none" spc="0" normalizeH="0" baseline="0" noProof="0" dirty="0">
              <a:ln>
                <a:noFill/>
              </a:ln>
              <a:solidFill>
                <a:prstClr val="white"/>
              </a:solidFill>
              <a:effectLst/>
              <a:uLnTx/>
              <a:uFillTx/>
              <a:latin typeface="OPPOSans H"/>
              <a:ea typeface="OPPOSans R"/>
              <a:cs typeface="OPPOSans R"/>
              <a:sym typeface="+mn-lt"/>
            </a:endParaRPr>
          </a:p>
        </p:txBody>
      </p:sp>
      <p:sp>
        <p:nvSpPr>
          <p:cNvPr id="42" name="PA-椭圆 11">
            <a:extLst>
              <a:ext uri="{FF2B5EF4-FFF2-40B4-BE49-F238E27FC236}">
                <a16:creationId xmlns:a16="http://schemas.microsoft.com/office/drawing/2014/main" id="{7B4D6552-DC2D-4C69-B6C5-BA943EA5C313}"/>
              </a:ext>
            </a:extLst>
          </p:cNvPr>
          <p:cNvSpPr>
            <a:spLocks/>
          </p:cNvSpPr>
          <p:nvPr>
            <p:custDataLst>
              <p:tags r:id="rId4"/>
            </p:custDataLst>
          </p:nvPr>
        </p:nvSpPr>
        <p:spPr>
          <a:xfrm>
            <a:off x="8997615" y="3008429"/>
            <a:ext cx="576000" cy="576000"/>
          </a:xfrm>
          <a:prstGeom prst="ellipse">
            <a:avLst/>
          </a:prstGeom>
          <a:gradFill>
            <a:gsLst>
              <a:gs pos="0">
                <a:schemeClr val="accent1"/>
              </a:gs>
              <a:gs pos="81000">
                <a:schemeClr val="accent2"/>
              </a:gs>
            </a:gsLst>
            <a:lin ang="2700000" scaled="1"/>
          </a:gradFill>
          <a:ln w="9525">
            <a:gradFill flip="none" rotWithShape="1">
              <a:gsLst>
                <a:gs pos="0">
                  <a:schemeClr val="accent2"/>
                </a:gs>
                <a:gs pos="100000">
                  <a:schemeClr val="accent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3765" rtl="0" eaLnBrk="1" fontAlgn="auto" latinLnBrk="0" hangingPunct="1">
              <a:lnSpc>
                <a:spcPct val="100000"/>
              </a:lnSpc>
              <a:spcBef>
                <a:spcPts val="0"/>
              </a:spcBef>
              <a:spcAft>
                <a:spcPts val="0"/>
              </a:spcAft>
              <a:buClrTx/>
              <a:buSzPct val="25000"/>
              <a:buFontTx/>
              <a:buNone/>
              <a:tabLst/>
              <a:defRPr/>
            </a:pPr>
            <a:endParaRPr kumimoji="0" lang="zh-CN" altLang="en-US" sz="2000" b="1" i="0" u="none" strike="noStrike" kern="1200" cap="none" spc="0" normalizeH="0" baseline="0" noProof="0" dirty="0">
              <a:ln>
                <a:noFill/>
              </a:ln>
              <a:solidFill>
                <a:prstClr val="white"/>
              </a:solidFill>
              <a:effectLst/>
              <a:uLnTx/>
              <a:uFillTx/>
              <a:latin typeface="OPPOSans H"/>
              <a:ea typeface="OPPOSans R"/>
              <a:cs typeface="OPPOSans R"/>
              <a:sym typeface="+mn-lt"/>
            </a:endParaRPr>
          </a:p>
        </p:txBody>
      </p:sp>
      <p:sp>
        <p:nvSpPr>
          <p:cNvPr id="45" name="椭圆 44">
            <a:extLst>
              <a:ext uri="{FF2B5EF4-FFF2-40B4-BE49-F238E27FC236}">
                <a16:creationId xmlns:a16="http://schemas.microsoft.com/office/drawing/2014/main" id="{53BAD527-48AE-47E9-B28B-28D1EED0C65D}"/>
              </a:ext>
            </a:extLst>
          </p:cNvPr>
          <p:cNvSpPr>
            <a:spLocks/>
          </p:cNvSpPr>
          <p:nvPr/>
        </p:nvSpPr>
        <p:spPr>
          <a:xfrm>
            <a:off x="1134449" y="4696431"/>
            <a:ext cx="432000" cy="432000"/>
          </a:xfrm>
          <a:prstGeom prst="ellipse">
            <a:avLst/>
          </a:prstGeom>
          <a:gradFill>
            <a:gsLst>
              <a:gs pos="0">
                <a:schemeClr val="accent2"/>
              </a:gs>
              <a:gs pos="81000">
                <a:schemeClr val="accent2">
                  <a:alpha val="0"/>
                </a:schemeClr>
              </a:gs>
            </a:gsLst>
            <a:lin ang="2700000" scaled="1"/>
          </a:gradFill>
          <a:ln w="9525">
            <a:gradFill flip="none" rotWithShape="1">
              <a:gsLst>
                <a:gs pos="0">
                  <a:schemeClr val="accent2"/>
                </a:gs>
                <a:gs pos="100000">
                  <a:schemeClr val="accent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wrap="none" lIns="144000" rtlCol="0" anchor="ctr"/>
          <a:lstStyle/>
          <a:p>
            <a:pPr marL="0" marR="0" lvl="0" indent="0" algn="ctr" defTabSz="913765" rtl="0" eaLnBrk="1" fontAlgn="auto" latinLnBrk="0" hangingPunct="1">
              <a:lnSpc>
                <a:spcPct val="100000"/>
              </a:lnSpc>
              <a:spcBef>
                <a:spcPts val="0"/>
              </a:spcBef>
              <a:spcAft>
                <a:spcPts val="0"/>
              </a:spcAft>
              <a:buClrTx/>
              <a:buSzPct val="25000"/>
              <a:buFontTx/>
              <a:buNone/>
              <a:tabLst/>
              <a:defRPr/>
            </a:pPr>
            <a:endParaRPr kumimoji="0" lang="zh-CN" altLang="en-US" sz="2000" b="1" i="0" u="none" strike="noStrike" kern="1200" cap="none" spc="0" normalizeH="0" baseline="0" noProof="0" dirty="0">
              <a:ln>
                <a:noFill/>
              </a:ln>
              <a:solidFill>
                <a:prstClr val="white"/>
              </a:solidFill>
              <a:effectLst/>
              <a:uLnTx/>
              <a:uFillTx/>
              <a:latin typeface="OPPOSans H"/>
              <a:ea typeface="OPPOSans R"/>
              <a:cs typeface="OPPOSans R"/>
            </a:endParaRPr>
          </a:p>
        </p:txBody>
      </p:sp>
      <p:sp>
        <p:nvSpPr>
          <p:cNvPr id="49" name="椭圆 48">
            <a:extLst>
              <a:ext uri="{FF2B5EF4-FFF2-40B4-BE49-F238E27FC236}">
                <a16:creationId xmlns:a16="http://schemas.microsoft.com/office/drawing/2014/main" id="{EC654CB4-85DE-403C-B3BA-E746EB25BF35}"/>
              </a:ext>
            </a:extLst>
          </p:cNvPr>
          <p:cNvSpPr>
            <a:spLocks/>
          </p:cNvSpPr>
          <p:nvPr/>
        </p:nvSpPr>
        <p:spPr>
          <a:xfrm>
            <a:off x="4308515" y="4696431"/>
            <a:ext cx="432000" cy="432000"/>
          </a:xfrm>
          <a:prstGeom prst="ellipse">
            <a:avLst/>
          </a:prstGeom>
          <a:gradFill flip="none" rotWithShape="1">
            <a:gsLst>
              <a:gs pos="0">
                <a:schemeClr val="accent2">
                  <a:lumMod val="100000"/>
                </a:schemeClr>
              </a:gs>
              <a:gs pos="81000">
                <a:schemeClr val="accent2">
                  <a:alpha val="0"/>
                </a:schemeClr>
              </a:gs>
            </a:gsLst>
            <a:lin ang="2700000" scaled="1"/>
            <a:tileRect/>
          </a:gradFill>
          <a:ln w="9525">
            <a:gradFill flip="none" rotWithShape="1">
              <a:gsLst>
                <a:gs pos="0">
                  <a:schemeClr val="accent2"/>
                </a:gs>
                <a:gs pos="100000">
                  <a:schemeClr val="accent2"/>
                </a:gs>
              </a:gsLst>
              <a:lin ang="2700000" scaled="1"/>
              <a:tileRect/>
            </a:gradFill>
          </a:ln>
          <a:effectLst/>
        </p:spPr>
        <p:style>
          <a:lnRef idx="2">
            <a:schemeClr val="accent1">
              <a:shade val="50000"/>
            </a:schemeClr>
          </a:lnRef>
          <a:fillRef idx="1">
            <a:schemeClr val="accent1"/>
          </a:fillRef>
          <a:effectRef idx="0">
            <a:schemeClr val="accent1"/>
          </a:effectRef>
          <a:fontRef idx="minor">
            <a:schemeClr val="lt1"/>
          </a:fontRef>
        </p:style>
        <p:txBody>
          <a:bodyPr wrap="none" lIns="144000" rtlCol="0" anchor="ctr"/>
          <a:lstStyle/>
          <a:p>
            <a:pPr marL="0" marR="0" lvl="0" indent="0" algn="ctr" defTabSz="913765" rtl="0" eaLnBrk="1" fontAlgn="auto" latinLnBrk="0" hangingPunct="1">
              <a:lnSpc>
                <a:spcPct val="100000"/>
              </a:lnSpc>
              <a:spcBef>
                <a:spcPts val="0"/>
              </a:spcBef>
              <a:spcAft>
                <a:spcPts val="0"/>
              </a:spcAft>
              <a:buClrTx/>
              <a:buSzPct val="25000"/>
              <a:buFontTx/>
              <a:buNone/>
              <a:tabLst/>
              <a:defRPr/>
            </a:pPr>
            <a:endParaRPr kumimoji="0" lang="zh-CN" altLang="en-US" sz="2000" b="1" i="0" u="none" strike="noStrike" kern="1200" cap="none" spc="0" normalizeH="0" baseline="0" noProof="0" dirty="0">
              <a:ln>
                <a:noFill/>
              </a:ln>
              <a:solidFill>
                <a:srgbClr val="FFFFFF"/>
              </a:solidFill>
              <a:effectLst/>
              <a:uLnTx/>
              <a:uFillTx/>
              <a:latin typeface="OPPOSans H"/>
              <a:ea typeface="OPPOSans R"/>
              <a:cs typeface="OPPOSans R"/>
            </a:endParaRPr>
          </a:p>
        </p:txBody>
      </p:sp>
      <p:sp>
        <p:nvSpPr>
          <p:cNvPr id="48" name="椭圆 47">
            <a:extLst>
              <a:ext uri="{FF2B5EF4-FFF2-40B4-BE49-F238E27FC236}">
                <a16:creationId xmlns:a16="http://schemas.microsoft.com/office/drawing/2014/main" id="{C4616EB7-4D37-4FCD-A276-EF32A6284793}"/>
              </a:ext>
            </a:extLst>
          </p:cNvPr>
          <p:cNvSpPr>
            <a:spLocks/>
          </p:cNvSpPr>
          <p:nvPr/>
        </p:nvSpPr>
        <p:spPr>
          <a:xfrm>
            <a:off x="5895549" y="4696431"/>
            <a:ext cx="432000" cy="432000"/>
          </a:xfrm>
          <a:prstGeom prst="ellipse">
            <a:avLst/>
          </a:prstGeom>
          <a:gradFill flip="none" rotWithShape="1">
            <a:gsLst>
              <a:gs pos="0">
                <a:schemeClr val="accent2">
                  <a:lumMod val="100000"/>
                </a:schemeClr>
              </a:gs>
              <a:gs pos="81000">
                <a:schemeClr val="accent2">
                  <a:alpha val="0"/>
                </a:schemeClr>
              </a:gs>
            </a:gsLst>
            <a:lin ang="2700000" scaled="1"/>
            <a:tileRect/>
          </a:gradFill>
          <a:ln w="9525">
            <a:gradFill flip="none" rotWithShape="1">
              <a:gsLst>
                <a:gs pos="0">
                  <a:schemeClr val="accent2"/>
                </a:gs>
                <a:gs pos="100000">
                  <a:schemeClr val="accent2"/>
                </a:gs>
              </a:gsLst>
              <a:lin ang="2700000" scaled="1"/>
              <a:tileRect/>
            </a:gradFill>
          </a:ln>
          <a:effectLst/>
        </p:spPr>
        <p:style>
          <a:lnRef idx="2">
            <a:schemeClr val="accent1">
              <a:shade val="50000"/>
            </a:schemeClr>
          </a:lnRef>
          <a:fillRef idx="1">
            <a:schemeClr val="accent1"/>
          </a:fillRef>
          <a:effectRef idx="0">
            <a:schemeClr val="accent1"/>
          </a:effectRef>
          <a:fontRef idx="minor">
            <a:schemeClr val="lt1"/>
          </a:fontRef>
        </p:style>
        <p:txBody>
          <a:bodyPr wrap="none" lIns="144000" rtlCol="0" anchor="ctr"/>
          <a:lstStyle/>
          <a:p>
            <a:pPr marL="0" marR="0" lvl="0" indent="0" algn="ctr" defTabSz="913765" rtl="0" eaLnBrk="1" fontAlgn="auto" latinLnBrk="0" hangingPunct="1">
              <a:lnSpc>
                <a:spcPct val="100000"/>
              </a:lnSpc>
              <a:spcBef>
                <a:spcPts val="0"/>
              </a:spcBef>
              <a:spcAft>
                <a:spcPts val="0"/>
              </a:spcAft>
              <a:buClrTx/>
              <a:buSzPct val="25000"/>
              <a:buFontTx/>
              <a:buNone/>
              <a:tabLst/>
              <a:defRPr/>
            </a:pPr>
            <a:endParaRPr kumimoji="0" lang="zh-CN" altLang="en-US" sz="2000" b="1" i="0" u="none" strike="noStrike" kern="1200" cap="none" spc="0" normalizeH="0" baseline="0" noProof="0" dirty="0">
              <a:ln>
                <a:noFill/>
              </a:ln>
              <a:solidFill>
                <a:srgbClr val="FFFFFF"/>
              </a:solidFill>
              <a:effectLst/>
              <a:uLnTx/>
              <a:uFillTx/>
              <a:latin typeface="OPPOSans H"/>
              <a:ea typeface="OPPOSans R"/>
              <a:cs typeface="OPPOSans R"/>
            </a:endParaRPr>
          </a:p>
        </p:txBody>
      </p:sp>
      <p:sp>
        <p:nvSpPr>
          <p:cNvPr id="47" name="椭圆 46">
            <a:extLst>
              <a:ext uri="{FF2B5EF4-FFF2-40B4-BE49-F238E27FC236}">
                <a16:creationId xmlns:a16="http://schemas.microsoft.com/office/drawing/2014/main" id="{B134B229-C369-4DBE-B094-8F36ADB6708B}"/>
              </a:ext>
            </a:extLst>
          </p:cNvPr>
          <p:cNvSpPr>
            <a:spLocks/>
          </p:cNvSpPr>
          <p:nvPr/>
        </p:nvSpPr>
        <p:spPr>
          <a:xfrm>
            <a:off x="7482582" y="4696431"/>
            <a:ext cx="432000" cy="432000"/>
          </a:xfrm>
          <a:prstGeom prst="ellipse">
            <a:avLst/>
          </a:prstGeom>
          <a:gradFill flip="none" rotWithShape="1">
            <a:gsLst>
              <a:gs pos="0">
                <a:schemeClr val="accent2">
                  <a:lumMod val="100000"/>
                </a:schemeClr>
              </a:gs>
              <a:gs pos="81000">
                <a:schemeClr val="accent2">
                  <a:alpha val="0"/>
                </a:schemeClr>
              </a:gs>
            </a:gsLst>
            <a:lin ang="2700000" scaled="1"/>
            <a:tileRect/>
          </a:gradFill>
          <a:ln w="9525">
            <a:gradFill flip="none" rotWithShape="1">
              <a:gsLst>
                <a:gs pos="0">
                  <a:schemeClr val="accent2"/>
                </a:gs>
                <a:gs pos="100000">
                  <a:schemeClr val="accent2"/>
                </a:gs>
              </a:gsLst>
              <a:lin ang="2700000" scaled="1"/>
              <a:tileRect/>
            </a:gradFill>
          </a:ln>
          <a:effectLst/>
        </p:spPr>
        <p:style>
          <a:lnRef idx="2">
            <a:schemeClr val="accent1">
              <a:shade val="50000"/>
            </a:schemeClr>
          </a:lnRef>
          <a:fillRef idx="1">
            <a:schemeClr val="accent1"/>
          </a:fillRef>
          <a:effectRef idx="0">
            <a:schemeClr val="accent1"/>
          </a:effectRef>
          <a:fontRef idx="minor">
            <a:schemeClr val="lt1"/>
          </a:fontRef>
        </p:style>
        <p:txBody>
          <a:bodyPr wrap="none" lIns="144000" rtlCol="0" anchor="ctr"/>
          <a:lstStyle/>
          <a:p>
            <a:pPr marL="0" marR="0" lvl="0" indent="0" algn="ctr" defTabSz="913765" rtl="0" eaLnBrk="1" fontAlgn="auto" latinLnBrk="0" hangingPunct="1">
              <a:lnSpc>
                <a:spcPct val="100000"/>
              </a:lnSpc>
              <a:spcBef>
                <a:spcPts val="0"/>
              </a:spcBef>
              <a:spcAft>
                <a:spcPts val="0"/>
              </a:spcAft>
              <a:buClrTx/>
              <a:buSzPct val="25000"/>
              <a:buFontTx/>
              <a:buNone/>
              <a:tabLst/>
              <a:defRPr/>
            </a:pPr>
            <a:endParaRPr kumimoji="0" lang="zh-CN" altLang="en-US" sz="2000" b="1" i="0" u="none" strike="noStrike" kern="1200" cap="none" spc="0" normalizeH="0" baseline="0" noProof="0" dirty="0">
              <a:ln>
                <a:noFill/>
              </a:ln>
              <a:solidFill>
                <a:srgbClr val="FFFFFF"/>
              </a:solidFill>
              <a:effectLst/>
              <a:uLnTx/>
              <a:uFillTx/>
              <a:latin typeface="OPPOSans H"/>
              <a:ea typeface="OPPOSans R"/>
              <a:cs typeface="OPPOSans R"/>
            </a:endParaRPr>
          </a:p>
        </p:txBody>
      </p:sp>
      <p:sp>
        <p:nvSpPr>
          <p:cNvPr id="46" name="椭圆 45">
            <a:extLst>
              <a:ext uri="{FF2B5EF4-FFF2-40B4-BE49-F238E27FC236}">
                <a16:creationId xmlns:a16="http://schemas.microsoft.com/office/drawing/2014/main" id="{BBC9ABC1-322C-44D3-9061-161BE4BA8A6C}"/>
              </a:ext>
            </a:extLst>
          </p:cNvPr>
          <p:cNvSpPr>
            <a:spLocks/>
          </p:cNvSpPr>
          <p:nvPr/>
        </p:nvSpPr>
        <p:spPr>
          <a:xfrm>
            <a:off x="9069615" y="4696431"/>
            <a:ext cx="432000" cy="432000"/>
          </a:xfrm>
          <a:prstGeom prst="ellipse">
            <a:avLst/>
          </a:prstGeom>
          <a:gradFill flip="none" rotWithShape="1">
            <a:gsLst>
              <a:gs pos="0">
                <a:schemeClr val="accent2">
                  <a:lumMod val="100000"/>
                </a:schemeClr>
              </a:gs>
              <a:gs pos="81000">
                <a:schemeClr val="accent2">
                  <a:alpha val="0"/>
                </a:schemeClr>
              </a:gs>
            </a:gsLst>
            <a:lin ang="2700000" scaled="1"/>
            <a:tileRect/>
          </a:gradFill>
          <a:ln w="9525">
            <a:gradFill flip="none" rotWithShape="1">
              <a:gsLst>
                <a:gs pos="0">
                  <a:schemeClr val="accent2"/>
                </a:gs>
                <a:gs pos="100000">
                  <a:schemeClr val="accent2"/>
                </a:gs>
              </a:gsLst>
              <a:lin ang="2700000" scaled="1"/>
              <a:tileRect/>
            </a:gradFill>
          </a:ln>
          <a:effectLst/>
        </p:spPr>
        <p:style>
          <a:lnRef idx="2">
            <a:schemeClr val="accent1">
              <a:shade val="50000"/>
            </a:schemeClr>
          </a:lnRef>
          <a:fillRef idx="1">
            <a:schemeClr val="accent1"/>
          </a:fillRef>
          <a:effectRef idx="0">
            <a:schemeClr val="accent1"/>
          </a:effectRef>
          <a:fontRef idx="minor">
            <a:schemeClr val="lt1"/>
          </a:fontRef>
        </p:style>
        <p:txBody>
          <a:bodyPr wrap="none" lIns="144000" rtlCol="0" anchor="ctr"/>
          <a:lstStyle/>
          <a:p>
            <a:pPr marL="0" marR="0" lvl="0" indent="0" algn="ctr" defTabSz="913765" rtl="0" eaLnBrk="1" fontAlgn="auto" latinLnBrk="0" hangingPunct="1">
              <a:lnSpc>
                <a:spcPct val="100000"/>
              </a:lnSpc>
              <a:spcBef>
                <a:spcPts val="0"/>
              </a:spcBef>
              <a:spcAft>
                <a:spcPts val="0"/>
              </a:spcAft>
              <a:buClrTx/>
              <a:buSzPct val="25000"/>
              <a:buFontTx/>
              <a:buNone/>
              <a:tabLst/>
              <a:defRPr/>
            </a:pPr>
            <a:endParaRPr kumimoji="0" lang="zh-CN" altLang="en-US" sz="2000" b="1" i="0" u="none" strike="noStrike" kern="1200" cap="none" spc="0" normalizeH="0" baseline="0" noProof="0" dirty="0">
              <a:ln>
                <a:noFill/>
              </a:ln>
              <a:solidFill>
                <a:srgbClr val="FFFFFF"/>
              </a:solidFill>
              <a:effectLst/>
              <a:uLnTx/>
              <a:uFillTx/>
              <a:latin typeface="OPPOSans H"/>
              <a:ea typeface="OPPOSans R"/>
              <a:cs typeface="OPPOSans R"/>
            </a:endParaRPr>
          </a:p>
        </p:txBody>
      </p:sp>
      <p:sp>
        <p:nvSpPr>
          <p:cNvPr id="44" name="椭圆 43">
            <a:extLst>
              <a:ext uri="{FF2B5EF4-FFF2-40B4-BE49-F238E27FC236}">
                <a16:creationId xmlns:a16="http://schemas.microsoft.com/office/drawing/2014/main" id="{9ED0A6DD-4476-4ECC-B565-850CFD408240}"/>
              </a:ext>
            </a:extLst>
          </p:cNvPr>
          <p:cNvSpPr>
            <a:spLocks/>
          </p:cNvSpPr>
          <p:nvPr/>
        </p:nvSpPr>
        <p:spPr>
          <a:xfrm>
            <a:off x="10656650" y="4696431"/>
            <a:ext cx="432000" cy="432000"/>
          </a:xfrm>
          <a:prstGeom prst="ellipse">
            <a:avLst/>
          </a:prstGeom>
          <a:gradFill>
            <a:gsLst>
              <a:gs pos="0">
                <a:schemeClr val="accent2"/>
              </a:gs>
              <a:gs pos="81000">
                <a:schemeClr val="accent2">
                  <a:alpha val="0"/>
                </a:schemeClr>
              </a:gs>
            </a:gsLst>
            <a:lin ang="2700000" scaled="1"/>
          </a:gradFill>
          <a:ln w="9525">
            <a:gradFill flip="none" rotWithShape="1">
              <a:gsLst>
                <a:gs pos="0">
                  <a:schemeClr val="accent2"/>
                </a:gs>
                <a:gs pos="100000">
                  <a:schemeClr val="accent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wrap="none" lIns="144000" rtlCol="0" anchor="ctr"/>
          <a:lstStyle/>
          <a:p>
            <a:pPr marL="0" marR="0" lvl="0" indent="0" algn="ctr" defTabSz="913765" rtl="0" eaLnBrk="1" fontAlgn="auto" latinLnBrk="0" hangingPunct="1">
              <a:lnSpc>
                <a:spcPct val="100000"/>
              </a:lnSpc>
              <a:spcBef>
                <a:spcPts val="0"/>
              </a:spcBef>
              <a:spcAft>
                <a:spcPts val="0"/>
              </a:spcAft>
              <a:buClrTx/>
              <a:buSzPct val="25000"/>
              <a:buFontTx/>
              <a:buNone/>
              <a:tabLst/>
              <a:defRPr/>
            </a:pPr>
            <a:endParaRPr kumimoji="0" lang="zh-CN" altLang="en-US" sz="2000" b="1" i="0" u="none" strike="noStrike" kern="1200" cap="none" spc="0" normalizeH="0" baseline="0" noProof="0" dirty="0">
              <a:ln>
                <a:noFill/>
              </a:ln>
              <a:solidFill>
                <a:prstClr val="white"/>
              </a:solidFill>
              <a:effectLst/>
              <a:uLnTx/>
              <a:uFillTx/>
              <a:latin typeface="OPPOSans H"/>
              <a:ea typeface="OPPOSans R"/>
              <a:cs typeface="OPPOSans R"/>
            </a:endParaRPr>
          </a:p>
        </p:txBody>
      </p:sp>
      <p:sp>
        <p:nvSpPr>
          <p:cNvPr id="31" name="右大括号 30">
            <a:extLst>
              <a:ext uri="{FF2B5EF4-FFF2-40B4-BE49-F238E27FC236}">
                <a16:creationId xmlns:a16="http://schemas.microsoft.com/office/drawing/2014/main" id="{2DA8A270-9DD4-4318-B585-BDF34F77612A}"/>
              </a:ext>
            </a:extLst>
          </p:cNvPr>
          <p:cNvSpPr/>
          <p:nvPr/>
        </p:nvSpPr>
        <p:spPr>
          <a:xfrm rot="16200000">
            <a:off x="2743711" y="2756030"/>
            <a:ext cx="369332" cy="3181456"/>
          </a:xfrm>
          <a:prstGeom prst="rightBrace">
            <a:avLst>
              <a:gd name="adj1" fmla="val 50000"/>
              <a:gd name="adj2" fmla="val 50000"/>
            </a:avLst>
          </a:prstGeom>
          <a:noFill/>
          <a:ln w="19050" cap="flat" cmpd="sng" algn="ctr">
            <a:gradFill>
              <a:gsLst>
                <a:gs pos="0">
                  <a:schemeClr val="accent1"/>
                </a:gs>
                <a:gs pos="100000">
                  <a:schemeClr val="accent2"/>
                </a:gs>
              </a:gsLst>
              <a:lin ang="5400000" scaled="1"/>
            </a:gra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dirty="0">
              <a:ln>
                <a:noFill/>
              </a:ln>
              <a:solidFill>
                <a:srgbClr val="000000"/>
              </a:solidFill>
              <a:effectLst/>
              <a:uLnTx/>
              <a:uFillTx/>
              <a:latin typeface="微软雅黑"/>
              <a:ea typeface="微软雅黑"/>
              <a:cs typeface="+mn-cs"/>
            </a:endParaRPr>
          </a:p>
        </p:txBody>
      </p:sp>
      <p:sp>
        <p:nvSpPr>
          <p:cNvPr id="32" name="右大括号 31">
            <a:extLst>
              <a:ext uri="{FF2B5EF4-FFF2-40B4-BE49-F238E27FC236}">
                <a16:creationId xmlns:a16="http://schemas.microsoft.com/office/drawing/2014/main" id="{343C6514-7F15-45DF-AD6C-9F4F51E8302A}"/>
              </a:ext>
            </a:extLst>
          </p:cNvPr>
          <p:cNvSpPr/>
          <p:nvPr/>
        </p:nvSpPr>
        <p:spPr>
          <a:xfrm rot="16200000">
            <a:off x="9066157" y="2756030"/>
            <a:ext cx="369332" cy="3181456"/>
          </a:xfrm>
          <a:prstGeom prst="rightBrace">
            <a:avLst>
              <a:gd name="adj1" fmla="val 50000"/>
              <a:gd name="adj2" fmla="val 50000"/>
            </a:avLst>
          </a:prstGeom>
          <a:noFill/>
          <a:ln w="19050" cap="flat" cmpd="sng" algn="ctr">
            <a:gradFill>
              <a:gsLst>
                <a:gs pos="0">
                  <a:schemeClr val="accent1"/>
                </a:gs>
                <a:gs pos="100000">
                  <a:schemeClr val="accent2"/>
                </a:gs>
              </a:gsLst>
              <a:lin ang="5400000" scaled="1"/>
            </a:gra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000000"/>
              </a:solidFill>
              <a:effectLst/>
              <a:uLnTx/>
              <a:uFillTx/>
              <a:latin typeface="微软雅黑"/>
              <a:ea typeface="微软雅黑"/>
              <a:cs typeface="+mn-cs"/>
            </a:endParaRPr>
          </a:p>
        </p:txBody>
      </p:sp>
      <p:cxnSp>
        <p:nvCxnSpPr>
          <p:cNvPr id="33" name="直接连接符 32">
            <a:extLst>
              <a:ext uri="{FF2B5EF4-FFF2-40B4-BE49-F238E27FC236}">
                <a16:creationId xmlns:a16="http://schemas.microsoft.com/office/drawing/2014/main" id="{BDEC56AD-E8F1-4CC1-BF9F-231418778511}"/>
              </a:ext>
            </a:extLst>
          </p:cNvPr>
          <p:cNvCxnSpPr/>
          <p:nvPr/>
        </p:nvCxnSpPr>
        <p:spPr>
          <a:xfrm>
            <a:off x="6099626" y="4100098"/>
            <a:ext cx="0" cy="432000"/>
          </a:xfrm>
          <a:prstGeom prst="line">
            <a:avLst/>
          </a:prstGeom>
          <a:noFill/>
          <a:ln w="19050" cap="flat" cmpd="sng" algn="ctr">
            <a:gradFill>
              <a:gsLst>
                <a:gs pos="0">
                  <a:schemeClr val="accent1"/>
                </a:gs>
                <a:gs pos="100000">
                  <a:schemeClr val="accent2"/>
                </a:gs>
              </a:gsLst>
              <a:lin ang="5400000" scaled="1"/>
            </a:gradFill>
            <a:prstDash val="solid"/>
            <a:miter lim="800000"/>
          </a:ln>
          <a:effectLst/>
        </p:spPr>
      </p:cxnSp>
      <p:sp>
        <p:nvSpPr>
          <p:cNvPr id="34" name="右大括号 33">
            <a:extLst>
              <a:ext uri="{FF2B5EF4-FFF2-40B4-BE49-F238E27FC236}">
                <a16:creationId xmlns:a16="http://schemas.microsoft.com/office/drawing/2014/main" id="{470DA319-4828-47DC-A2BB-27C6E683A152}"/>
              </a:ext>
            </a:extLst>
          </p:cNvPr>
          <p:cNvSpPr/>
          <p:nvPr/>
        </p:nvSpPr>
        <p:spPr>
          <a:xfrm rot="16200000">
            <a:off x="5914960" y="-511565"/>
            <a:ext cx="369332" cy="6340642"/>
          </a:xfrm>
          <a:prstGeom prst="rightBrace">
            <a:avLst>
              <a:gd name="adj1" fmla="val 50000"/>
              <a:gd name="adj2" fmla="val 50000"/>
            </a:avLst>
          </a:prstGeom>
          <a:noFill/>
          <a:ln w="19050" cap="flat" cmpd="sng" algn="ctr">
            <a:gradFill>
              <a:gsLst>
                <a:gs pos="0">
                  <a:schemeClr val="accent1"/>
                </a:gs>
                <a:gs pos="100000">
                  <a:schemeClr val="accent2"/>
                </a:gs>
              </a:gsLst>
              <a:lin ang="5400000" scaled="1"/>
            </a:gra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dirty="0">
              <a:ln>
                <a:noFill/>
              </a:ln>
              <a:solidFill>
                <a:srgbClr val="000000"/>
              </a:solidFill>
              <a:effectLst/>
              <a:uLnTx/>
              <a:uFillTx/>
              <a:latin typeface="微软雅黑"/>
              <a:ea typeface="微软雅黑"/>
              <a:cs typeface="+mn-cs"/>
            </a:endParaRPr>
          </a:p>
        </p:txBody>
      </p:sp>
      <p:cxnSp>
        <p:nvCxnSpPr>
          <p:cNvPr id="35" name="直接连接符 34">
            <a:extLst>
              <a:ext uri="{FF2B5EF4-FFF2-40B4-BE49-F238E27FC236}">
                <a16:creationId xmlns:a16="http://schemas.microsoft.com/office/drawing/2014/main" id="{69DED2F6-D011-4D2A-A9D5-353C347E3CA1}"/>
              </a:ext>
            </a:extLst>
          </p:cNvPr>
          <p:cNvCxnSpPr/>
          <p:nvPr/>
        </p:nvCxnSpPr>
        <p:spPr>
          <a:xfrm>
            <a:off x="6099626" y="2411422"/>
            <a:ext cx="0" cy="432000"/>
          </a:xfrm>
          <a:prstGeom prst="line">
            <a:avLst/>
          </a:prstGeom>
          <a:noFill/>
          <a:ln w="19050" cap="flat" cmpd="sng" algn="ctr">
            <a:gradFill>
              <a:gsLst>
                <a:gs pos="0">
                  <a:schemeClr val="accent1"/>
                </a:gs>
                <a:gs pos="100000">
                  <a:schemeClr val="accent2"/>
                </a:gs>
              </a:gsLst>
              <a:lin ang="5400000" scaled="1"/>
            </a:gradFill>
            <a:prstDash val="solid"/>
            <a:miter lim="800000"/>
          </a:ln>
          <a:effectLst/>
        </p:spPr>
      </p:cxnSp>
      <p:sp>
        <p:nvSpPr>
          <p:cNvPr id="39" name="矩形: 一个圆顶角，剪去另一个顶角 38">
            <a:extLst>
              <a:ext uri="{FF2B5EF4-FFF2-40B4-BE49-F238E27FC236}">
                <a16:creationId xmlns:a16="http://schemas.microsoft.com/office/drawing/2014/main" id="{CA61FC13-4128-4BA7-B9ED-3353AA0A7B00}"/>
              </a:ext>
            </a:extLst>
          </p:cNvPr>
          <p:cNvSpPr/>
          <p:nvPr/>
        </p:nvSpPr>
        <p:spPr>
          <a:xfrm>
            <a:off x="4887756" y="1927297"/>
            <a:ext cx="2403688" cy="595210"/>
          </a:xfrm>
          <a:prstGeom prst="snipRoundRect">
            <a:avLst/>
          </a:prstGeom>
          <a:gradFill flip="none" rotWithShape="1">
            <a:gsLst>
              <a:gs pos="70000">
                <a:schemeClr val="accent2">
                  <a:alpha val="0"/>
                </a:schemeClr>
              </a:gs>
              <a:gs pos="15000">
                <a:schemeClr val="accent2">
                  <a:alpha val="20000"/>
                </a:schemeClr>
              </a:gs>
            </a:gsLst>
            <a:lin ang="5400000" scaled="0"/>
            <a:tileRect/>
          </a:gradFill>
          <a:ln w="22225">
            <a:gradFill>
              <a:gsLst>
                <a:gs pos="0">
                  <a:schemeClr val="accent2"/>
                </a:gs>
                <a:gs pos="100000">
                  <a:schemeClr val="accent2">
                    <a:alpha val="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bIns="144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800" b="0" i="0" u="none" strike="noStrike" kern="1200" cap="none" spc="0" normalizeH="0" baseline="0" noProof="0" dirty="0">
                <a:ln>
                  <a:noFill/>
                </a:ln>
                <a:gradFill>
                  <a:gsLst>
                    <a:gs pos="0">
                      <a:srgbClr val="3BD1FF"/>
                    </a:gs>
                    <a:gs pos="100000">
                      <a:srgbClr val="008CFF"/>
                    </a:gs>
                  </a:gsLst>
                  <a:lin ang="5400000" scaled="1"/>
                </a:gradFill>
                <a:effectLst/>
                <a:uLnTx/>
                <a:uFillTx/>
                <a:latin typeface="OPPOSans B" panose="00020600040101010101" pitchFamily="18" charset="-122"/>
                <a:ea typeface="OPPOSans B" panose="00020600040101010101" pitchFamily="18" charset="-122"/>
                <a:cs typeface="OPPOSans B" panose="00020600040101010101" pitchFamily="18" charset="-122"/>
              </a:rPr>
              <a:t>秋叶</a:t>
            </a:r>
            <a:r>
              <a:rPr kumimoji="0" lang="en-US" altLang="zh-CN" sz="1800" b="0" i="0" u="none" strike="noStrike" kern="1200" cap="none" spc="0" normalizeH="0" baseline="0" noProof="0" dirty="0">
                <a:ln>
                  <a:noFill/>
                </a:ln>
                <a:gradFill>
                  <a:gsLst>
                    <a:gs pos="0">
                      <a:srgbClr val="3BD1FF"/>
                    </a:gs>
                    <a:gs pos="100000">
                      <a:srgbClr val="008CFF"/>
                    </a:gs>
                  </a:gsLst>
                  <a:lin ang="5400000" scaled="1"/>
                </a:gradFill>
                <a:effectLst/>
                <a:uLnTx/>
                <a:uFillTx/>
                <a:latin typeface="OPPOSans B" panose="00020600040101010101" pitchFamily="18" charset="-122"/>
                <a:ea typeface="OPPOSans B" panose="00020600040101010101" pitchFamily="18" charset="-122"/>
                <a:cs typeface="OPPOSans B" panose="00020600040101010101" pitchFamily="18" charset="-122"/>
              </a:rPr>
              <a:t>PPT</a:t>
            </a:r>
            <a:r>
              <a:rPr kumimoji="0" lang="zh-CN" altLang="en-US" sz="1800" b="0" i="0" u="none" strike="noStrike" kern="1200" cap="none" spc="0" normalizeH="0" baseline="0" noProof="0" dirty="0">
                <a:ln>
                  <a:noFill/>
                </a:ln>
                <a:gradFill>
                  <a:gsLst>
                    <a:gs pos="0">
                      <a:srgbClr val="3BD1FF"/>
                    </a:gs>
                    <a:gs pos="100000">
                      <a:srgbClr val="008CFF"/>
                    </a:gs>
                  </a:gsLst>
                  <a:lin ang="5400000" scaled="1"/>
                </a:gradFill>
                <a:effectLst/>
                <a:uLnTx/>
                <a:uFillTx/>
                <a:latin typeface="OPPOSans B" panose="00020600040101010101" pitchFamily="18" charset="-122"/>
                <a:ea typeface="OPPOSans B" panose="00020600040101010101" pitchFamily="18" charset="-122"/>
                <a:cs typeface="OPPOSans B" panose="00020600040101010101" pitchFamily="18" charset="-122"/>
              </a:rPr>
              <a:t>更快更轻松</a:t>
            </a:r>
          </a:p>
        </p:txBody>
      </p:sp>
      <p:sp>
        <p:nvSpPr>
          <p:cNvPr id="50" name="稿定PPT-10-1">
            <a:extLst>
              <a:ext uri="{FF2B5EF4-FFF2-40B4-BE49-F238E27FC236}">
                <a16:creationId xmlns:a16="http://schemas.microsoft.com/office/drawing/2014/main" id="{CA224BE4-9FDB-42CC-B17E-49B807F4AA0D}"/>
              </a:ext>
            </a:extLst>
          </p:cNvPr>
          <p:cNvSpPr txBox="1"/>
          <p:nvPr/>
        </p:nvSpPr>
        <p:spPr>
          <a:xfrm>
            <a:off x="1943050" y="3714098"/>
            <a:ext cx="1940186" cy="244259"/>
          </a:xfrm>
          <a:prstGeom prst="rect">
            <a:avLst/>
          </a:prstGeom>
          <a:noFill/>
          <a:ln>
            <a:noFill/>
          </a:ln>
          <a:effectLst/>
        </p:spPr>
        <p:txBody>
          <a:bodyPr wrap="none" lIns="64008" tIns="32004" rIns="64008" bIns="32004" anchor="ctr" anchorCtr="0">
            <a:noAutofit/>
          </a:bodyPr>
          <a:lstStyle/>
          <a:p>
            <a:pPr marL="0" marR="0" lvl="0" indent="0" algn="ctr" defTabSz="913765" rtl="0" eaLnBrk="1" fontAlgn="auto" latinLnBrk="0" hangingPunct="1">
              <a:lnSpc>
                <a:spcPct val="100000"/>
              </a:lnSpc>
              <a:spcBef>
                <a:spcPts val="0"/>
              </a:spcBef>
              <a:spcAft>
                <a:spcPts val="0"/>
              </a:spcAft>
              <a:buClrTx/>
              <a:buSzPct val="25000"/>
              <a:buFontTx/>
              <a:buNone/>
              <a:tabLst/>
              <a:defRPr/>
            </a:pPr>
            <a:r>
              <a:rPr kumimoji="0" lang="zh-CN" altLang="en-US" sz="1600" b="0" i="0" u="none" strike="noStrike" kern="1200" cap="none" spc="0" normalizeH="0" baseline="0" noProof="0" dirty="0">
                <a:ln>
                  <a:noFill/>
                </a:ln>
                <a:gradFill>
                  <a:gsLst>
                    <a:gs pos="0">
                      <a:srgbClr val="3BD1FF"/>
                    </a:gs>
                    <a:gs pos="100000">
                      <a:srgbClr val="008CFF"/>
                    </a:gs>
                  </a:gsLst>
                  <a:lin ang="5400000" scaled="1"/>
                </a:gradFill>
                <a:effectLst/>
                <a:uLnTx/>
                <a:uFillTx/>
                <a:latin typeface="OPPOSans B" panose="00020600040101010101" pitchFamily="18" charset="-122"/>
                <a:ea typeface="OPPOSans B" panose="00020600040101010101" pitchFamily="18" charset="-122"/>
                <a:cs typeface="OPPOSans B" panose="00020600040101010101" pitchFamily="18" charset="-122"/>
              </a:rPr>
              <a:t>秋叶</a:t>
            </a:r>
            <a:r>
              <a:rPr kumimoji="0" lang="en-US" altLang="zh-CN" sz="1600" b="0" i="0" u="none" strike="noStrike" kern="1200" cap="none" spc="0" normalizeH="0" baseline="0" noProof="0" dirty="0">
                <a:ln>
                  <a:noFill/>
                </a:ln>
                <a:gradFill>
                  <a:gsLst>
                    <a:gs pos="0">
                      <a:srgbClr val="3BD1FF"/>
                    </a:gs>
                    <a:gs pos="100000">
                      <a:srgbClr val="008CFF"/>
                    </a:gs>
                  </a:gsLst>
                  <a:lin ang="5400000" scaled="1"/>
                </a:gradFill>
                <a:effectLst/>
                <a:uLnTx/>
                <a:uFillTx/>
                <a:latin typeface="OPPOSans B" panose="00020600040101010101" pitchFamily="18" charset="-122"/>
                <a:ea typeface="OPPOSans B" panose="00020600040101010101" pitchFamily="18" charset="-122"/>
                <a:cs typeface="OPPOSans B" panose="00020600040101010101" pitchFamily="18" charset="-122"/>
              </a:rPr>
              <a:t>PPT</a:t>
            </a:r>
            <a:r>
              <a:rPr kumimoji="0" lang="zh-CN" altLang="en-US" sz="1600" b="0" i="0" u="none" strike="noStrike" kern="1200" cap="none" spc="0" normalizeH="0" baseline="0" noProof="0" dirty="0">
                <a:ln>
                  <a:noFill/>
                </a:ln>
                <a:gradFill>
                  <a:gsLst>
                    <a:gs pos="0">
                      <a:srgbClr val="3BD1FF"/>
                    </a:gs>
                    <a:gs pos="100000">
                      <a:srgbClr val="008CFF"/>
                    </a:gs>
                  </a:gsLst>
                  <a:lin ang="5400000" scaled="1"/>
                </a:gradFill>
                <a:effectLst/>
                <a:uLnTx/>
                <a:uFillTx/>
                <a:latin typeface="OPPOSans B" panose="00020600040101010101" pitchFamily="18" charset="-122"/>
                <a:ea typeface="OPPOSans B" panose="00020600040101010101" pitchFamily="18" charset="-122"/>
                <a:cs typeface="OPPOSans B" panose="00020600040101010101" pitchFamily="18" charset="-122"/>
              </a:rPr>
              <a:t>更快更轻松</a:t>
            </a:r>
          </a:p>
        </p:txBody>
      </p:sp>
      <p:sp>
        <p:nvSpPr>
          <p:cNvPr id="51" name="稿定PPT-10-1">
            <a:extLst>
              <a:ext uri="{FF2B5EF4-FFF2-40B4-BE49-F238E27FC236}">
                <a16:creationId xmlns:a16="http://schemas.microsoft.com/office/drawing/2014/main" id="{39E408EF-5659-4984-88AC-0F36C7C25717}"/>
              </a:ext>
            </a:extLst>
          </p:cNvPr>
          <p:cNvSpPr txBox="1"/>
          <p:nvPr/>
        </p:nvSpPr>
        <p:spPr>
          <a:xfrm>
            <a:off x="5054383" y="3714098"/>
            <a:ext cx="1940186" cy="244259"/>
          </a:xfrm>
          <a:prstGeom prst="rect">
            <a:avLst/>
          </a:prstGeom>
          <a:noFill/>
          <a:ln>
            <a:noFill/>
          </a:ln>
          <a:effectLst/>
        </p:spPr>
        <p:txBody>
          <a:bodyPr wrap="none" lIns="64008" tIns="32004" rIns="64008" bIns="32004" anchor="ctr" anchorCtr="0">
            <a:noAutofit/>
          </a:bodyPr>
          <a:lstStyle/>
          <a:p>
            <a:pPr marL="0" marR="0" lvl="0" indent="0" algn="ctr" defTabSz="913765" rtl="0" eaLnBrk="1" fontAlgn="auto" latinLnBrk="0" hangingPunct="1">
              <a:lnSpc>
                <a:spcPct val="100000"/>
              </a:lnSpc>
              <a:spcBef>
                <a:spcPts val="0"/>
              </a:spcBef>
              <a:spcAft>
                <a:spcPts val="0"/>
              </a:spcAft>
              <a:buClrTx/>
              <a:buSzPct val="25000"/>
              <a:buFontTx/>
              <a:buNone/>
              <a:tabLst/>
              <a:defRPr/>
            </a:pPr>
            <a:r>
              <a:rPr kumimoji="0" lang="zh-CN" altLang="en-US" sz="1600" b="0" i="0" u="none" strike="noStrike" kern="1200" cap="none" spc="0" normalizeH="0" baseline="0" noProof="0" dirty="0">
                <a:ln>
                  <a:noFill/>
                </a:ln>
                <a:gradFill>
                  <a:gsLst>
                    <a:gs pos="0">
                      <a:srgbClr val="3BD1FF"/>
                    </a:gs>
                    <a:gs pos="100000">
                      <a:srgbClr val="008CFF"/>
                    </a:gs>
                  </a:gsLst>
                  <a:lin ang="5400000" scaled="1"/>
                </a:gradFill>
                <a:effectLst/>
                <a:uLnTx/>
                <a:uFillTx/>
                <a:latin typeface="OPPOSans B" panose="00020600040101010101" pitchFamily="18" charset="-122"/>
                <a:ea typeface="OPPOSans B" panose="00020600040101010101" pitchFamily="18" charset="-122"/>
                <a:cs typeface="OPPOSans B" panose="00020600040101010101" pitchFamily="18" charset="-122"/>
              </a:rPr>
              <a:t>秋叶</a:t>
            </a:r>
            <a:r>
              <a:rPr kumimoji="0" lang="en-US" altLang="zh-CN" sz="1600" b="0" i="0" u="none" strike="noStrike" kern="1200" cap="none" spc="0" normalizeH="0" baseline="0" noProof="0" dirty="0">
                <a:ln>
                  <a:noFill/>
                </a:ln>
                <a:gradFill>
                  <a:gsLst>
                    <a:gs pos="0">
                      <a:srgbClr val="3BD1FF"/>
                    </a:gs>
                    <a:gs pos="100000">
                      <a:srgbClr val="008CFF"/>
                    </a:gs>
                  </a:gsLst>
                  <a:lin ang="5400000" scaled="1"/>
                </a:gradFill>
                <a:effectLst/>
                <a:uLnTx/>
                <a:uFillTx/>
                <a:latin typeface="OPPOSans B" panose="00020600040101010101" pitchFamily="18" charset="-122"/>
                <a:ea typeface="OPPOSans B" panose="00020600040101010101" pitchFamily="18" charset="-122"/>
                <a:cs typeface="OPPOSans B" panose="00020600040101010101" pitchFamily="18" charset="-122"/>
              </a:rPr>
              <a:t>PPT</a:t>
            </a:r>
            <a:r>
              <a:rPr kumimoji="0" lang="zh-CN" altLang="en-US" sz="1600" b="0" i="0" u="none" strike="noStrike" kern="1200" cap="none" spc="0" normalizeH="0" baseline="0" noProof="0" dirty="0">
                <a:ln>
                  <a:noFill/>
                </a:ln>
                <a:gradFill>
                  <a:gsLst>
                    <a:gs pos="0">
                      <a:srgbClr val="3BD1FF"/>
                    </a:gs>
                    <a:gs pos="100000">
                      <a:srgbClr val="008CFF"/>
                    </a:gs>
                  </a:gsLst>
                  <a:lin ang="5400000" scaled="1"/>
                </a:gradFill>
                <a:effectLst/>
                <a:uLnTx/>
                <a:uFillTx/>
                <a:latin typeface="OPPOSans B" panose="00020600040101010101" pitchFamily="18" charset="-122"/>
                <a:ea typeface="OPPOSans B" panose="00020600040101010101" pitchFamily="18" charset="-122"/>
                <a:cs typeface="OPPOSans B" panose="00020600040101010101" pitchFamily="18" charset="-122"/>
              </a:rPr>
              <a:t>更快更轻松</a:t>
            </a:r>
          </a:p>
        </p:txBody>
      </p:sp>
      <p:sp>
        <p:nvSpPr>
          <p:cNvPr id="52" name="稿定PPT-10-1">
            <a:extLst>
              <a:ext uri="{FF2B5EF4-FFF2-40B4-BE49-F238E27FC236}">
                <a16:creationId xmlns:a16="http://schemas.microsoft.com/office/drawing/2014/main" id="{06E938F9-8B2D-476E-AE5F-22A2056C36E4}"/>
              </a:ext>
            </a:extLst>
          </p:cNvPr>
          <p:cNvSpPr txBox="1"/>
          <p:nvPr/>
        </p:nvSpPr>
        <p:spPr>
          <a:xfrm>
            <a:off x="8315522" y="3714098"/>
            <a:ext cx="1940186" cy="244259"/>
          </a:xfrm>
          <a:prstGeom prst="rect">
            <a:avLst/>
          </a:prstGeom>
          <a:noFill/>
          <a:ln>
            <a:noFill/>
          </a:ln>
          <a:effectLst/>
        </p:spPr>
        <p:txBody>
          <a:bodyPr wrap="none" lIns="64008" tIns="32004" rIns="64008" bIns="32004" anchor="ctr" anchorCtr="0">
            <a:noAutofit/>
          </a:bodyPr>
          <a:lstStyle/>
          <a:p>
            <a:pPr marL="0" marR="0" lvl="0" indent="0" algn="ctr" defTabSz="913765" rtl="0" eaLnBrk="1" fontAlgn="auto" latinLnBrk="0" hangingPunct="1">
              <a:lnSpc>
                <a:spcPct val="100000"/>
              </a:lnSpc>
              <a:spcBef>
                <a:spcPts val="0"/>
              </a:spcBef>
              <a:spcAft>
                <a:spcPts val="0"/>
              </a:spcAft>
              <a:buClrTx/>
              <a:buSzPct val="25000"/>
              <a:buFontTx/>
              <a:buNone/>
              <a:tabLst/>
              <a:defRPr/>
            </a:pPr>
            <a:r>
              <a:rPr kumimoji="0" lang="zh-CN" altLang="en-US" sz="1600" b="0" i="0" u="none" strike="noStrike" kern="1200" cap="none" spc="0" normalizeH="0" baseline="0" noProof="0" dirty="0">
                <a:ln>
                  <a:noFill/>
                </a:ln>
                <a:gradFill>
                  <a:gsLst>
                    <a:gs pos="0">
                      <a:srgbClr val="3BD1FF"/>
                    </a:gs>
                    <a:gs pos="100000">
                      <a:srgbClr val="008CFF"/>
                    </a:gs>
                  </a:gsLst>
                  <a:lin ang="5400000" scaled="1"/>
                </a:gradFill>
                <a:effectLst/>
                <a:uLnTx/>
                <a:uFillTx/>
                <a:latin typeface="OPPOSans B" panose="00020600040101010101" pitchFamily="18" charset="-122"/>
                <a:ea typeface="OPPOSans B" panose="00020600040101010101" pitchFamily="18" charset="-122"/>
                <a:cs typeface="OPPOSans B" panose="00020600040101010101" pitchFamily="18" charset="-122"/>
              </a:rPr>
              <a:t>秋叶</a:t>
            </a:r>
            <a:r>
              <a:rPr kumimoji="0" lang="en-US" altLang="zh-CN" sz="1600" b="0" i="0" u="none" strike="noStrike" kern="1200" cap="none" spc="0" normalizeH="0" baseline="0" noProof="0" dirty="0">
                <a:ln>
                  <a:noFill/>
                </a:ln>
                <a:gradFill>
                  <a:gsLst>
                    <a:gs pos="0">
                      <a:srgbClr val="3BD1FF"/>
                    </a:gs>
                    <a:gs pos="100000">
                      <a:srgbClr val="008CFF"/>
                    </a:gs>
                  </a:gsLst>
                  <a:lin ang="5400000" scaled="1"/>
                </a:gradFill>
                <a:effectLst/>
                <a:uLnTx/>
                <a:uFillTx/>
                <a:latin typeface="OPPOSans B" panose="00020600040101010101" pitchFamily="18" charset="-122"/>
                <a:ea typeface="OPPOSans B" panose="00020600040101010101" pitchFamily="18" charset="-122"/>
                <a:cs typeface="OPPOSans B" panose="00020600040101010101" pitchFamily="18" charset="-122"/>
              </a:rPr>
              <a:t>PPT</a:t>
            </a:r>
            <a:r>
              <a:rPr kumimoji="0" lang="zh-CN" altLang="en-US" sz="1600" b="0" i="0" u="none" strike="noStrike" kern="1200" cap="none" spc="0" normalizeH="0" baseline="0" noProof="0" dirty="0">
                <a:ln>
                  <a:noFill/>
                </a:ln>
                <a:gradFill>
                  <a:gsLst>
                    <a:gs pos="0">
                      <a:srgbClr val="3BD1FF"/>
                    </a:gs>
                    <a:gs pos="100000">
                      <a:srgbClr val="008CFF"/>
                    </a:gs>
                  </a:gsLst>
                  <a:lin ang="5400000" scaled="1"/>
                </a:gradFill>
                <a:effectLst/>
                <a:uLnTx/>
                <a:uFillTx/>
                <a:latin typeface="OPPOSans B" panose="00020600040101010101" pitchFamily="18" charset="-122"/>
                <a:ea typeface="OPPOSans B" panose="00020600040101010101" pitchFamily="18" charset="-122"/>
                <a:cs typeface="OPPOSans B" panose="00020600040101010101" pitchFamily="18" charset="-122"/>
              </a:rPr>
              <a:t>更快更轻松</a:t>
            </a:r>
          </a:p>
        </p:txBody>
      </p:sp>
      <p:sp>
        <p:nvSpPr>
          <p:cNvPr id="53" name="稿定PPT-10-1">
            <a:extLst>
              <a:ext uri="{FF2B5EF4-FFF2-40B4-BE49-F238E27FC236}">
                <a16:creationId xmlns:a16="http://schemas.microsoft.com/office/drawing/2014/main" id="{6A5F8C09-EA48-4B51-97CC-5DF6CC7C5358}"/>
              </a:ext>
            </a:extLst>
          </p:cNvPr>
          <p:cNvSpPr txBox="1"/>
          <p:nvPr/>
        </p:nvSpPr>
        <p:spPr>
          <a:xfrm>
            <a:off x="8682859" y="5246789"/>
            <a:ext cx="1205512" cy="603304"/>
          </a:xfrm>
          <a:prstGeom prst="rect">
            <a:avLst/>
          </a:prstGeom>
          <a:noFill/>
          <a:ln>
            <a:noFill/>
          </a:ln>
          <a:effectLst/>
        </p:spPr>
        <p:txBody>
          <a:bodyPr wrap="none" lIns="64008" tIns="32004" rIns="64008" bIns="32004" anchor="ctr" anchorCtr="0">
            <a:noAutofit/>
          </a:bodyPr>
          <a:lstStyle/>
          <a:p>
            <a:pPr marL="0" marR="0" lvl="0" indent="0" algn="ctr" defTabSz="913765" rtl="0" eaLnBrk="1" fontAlgn="auto" latinLnBrk="0" hangingPunct="1">
              <a:lnSpc>
                <a:spcPct val="100000"/>
              </a:lnSpc>
              <a:spcBef>
                <a:spcPts val="0"/>
              </a:spcBef>
              <a:spcAft>
                <a:spcPts val="0"/>
              </a:spcAft>
              <a:buClrTx/>
              <a:buSzPct val="25000"/>
              <a:buFontTx/>
              <a:buNone/>
              <a:tabLst/>
              <a:defRPr/>
            </a:pPr>
            <a:r>
              <a:rPr kumimoji="0" lang="zh-CN" altLang="en-US" sz="1400" b="0" i="0" u="none" strike="noStrike" kern="1200" cap="none" spc="0" normalizeH="0" baseline="0" noProof="0" dirty="0">
                <a:ln>
                  <a:noFill/>
                </a:ln>
                <a:solidFill>
                  <a:prstClr val="white"/>
                </a:solidFill>
                <a:effectLst/>
                <a:uLnTx/>
                <a:uFillTx/>
                <a:latin typeface="OPPOSans R"/>
                <a:ea typeface="OPPOSans H"/>
                <a:cs typeface="+mn-cs"/>
              </a:rPr>
              <a:t>秋叶</a:t>
            </a:r>
            <a:r>
              <a:rPr kumimoji="0" lang="en-US" altLang="zh-CN" sz="1400" b="0" i="0" u="none" strike="noStrike" kern="1200" cap="none" spc="0" normalizeH="0" baseline="0" noProof="0" dirty="0">
                <a:ln>
                  <a:noFill/>
                </a:ln>
                <a:solidFill>
                  <a:prstClr val="white"/>
                </a:solidFill>
                <a:effectLst/>
                <a:uLnTx/>
                <a:uFillTx/>
                <a:latin typeface="OPPOSans R"/>
                <a:ea typeface="OPPOSans H"/>
                <a:cs typeface="+mn-cs"/>
              </a:rPr>
              <a:t>PPT</a:t>
            </a:r>
          </a:p>
          <a:p>
            <a:pPr marL="0" marR="0" lvl="0" indent="0" algn="ctr" defTabSz="913765" rtl="0" eaLnBrk="1" fontAlgn="auto" latinLnBrk="0" hangingPunct="1">
              <a:lnSpc>
                <a:spcPct val="100000"/>
              </a:lnSpc>
              <a:spcBef>
                <a:spcPts val="0"/>
              </a:spcBef>
              <a:spcAft>
                <a:spcPts val="0"/>
              </a:spcAft>
              <a:buClrTx/>
              <a:buSzPct val="25000"/>
              <a:buFontTx/>
              <a:buNone/>
              <a:tabLst/>
              <a:defRPr/>
            </a:pPr>
            <a:r>
              <a:rPr kumimoji="0" lang="zh-CN" altLang="en-US" sz="1400" b="0" i="0" u="none" strike="noStrike" kern="1200" cap="none" spc="0" normalizeH="0" baseline="0" noProof="0" dirty="0">
                <a:ln>
                  <a:noFill/>
                </a:ln>
                <a:solidFill>
                  <a:prstClr val="white"/>
                </a:solidFill>
                <a:effectLst/>
                <a:uLnTx/>
                <a:uFillTx/>
                <a:latin typeface="OPPOSans R"/>
                <a:ea typeface="OPPOSans H"/>
                <a:cs typeface="+mn-cs"/>
              </a:rPr>
              <a:t>更快更轻松</a:t>
            </a:r>
          </a:p>
        </p:txBody>
      </p:sp>
      <p:sp>
        <p:nvSpPr>
          <p:cNvPr id="54" name="稿定PPT-10-1">
            <a:extLst>
              <a:ext uri="{FF2B5EF4-FFF2-40B4-BE49-F238E27FC236}">
                <a16:creationId xmlns:a16="http://schemas.microsoft.com/office/drawing/2014/main" id="{61BA2764-5702-43C0-8D7A-4ECE73F86240}"/>
              </a:ext>
            </a:extLst>
          </p:cNvPr>
          <p:cNvSpPr txBox="1"/>
          <p:nvPr/>
        </p:nvSpPr>
        <p:spPr>
          <a:xfrm>
            <a:off x="10238795" y="5246789"/>
            <a:ext cx="1205512" cy="603304"/>
          </a:xfrm>
          <a:prstGeom prst="rect">
            <a:avLst/>
          </a:prstGeom>
          <a:noFill/>
          <a:ln>
            <a:noFill/>
          </a:ln>
          <a:effectLst/>
        </p:spPr>
        <p:txBody>
          <a:bodyPr wrap="none" lIns="64008" tIns="32004" rIns="64008" bIns="32004" anchor="ctr" anchorCtr="0">
            <a:noAutofit/>
          </a:bodyPr>
          <a:lstStyle/>
          <a:p>
            <a:pPr marL="0" marR="0" lvl="0" indent="0" algn="ctr" defTabSz="913765" rtl="0" eaLnBrk="1" fontAlgn="auto" latinLnBrk="0" hangingPunct="1">
              <a:lnSpc>
                <a:spcPct val="100000"/>
              </a:lnSpc>
              <a:spcBef>
                <a:spcPts val="0"/>
              </a:spcBef>
              <a:spcAft>
                <a:spcPts val="0"/>
              </a:spcAft>
              <a:buClrTx/>
              <a:buSzPct val="25000"/>
              <a:buFontTx/>
              <a:buNone/>
              <a:tabLst/>
              <a:defRPr/>
            </a:pPr>
            <a:r>
              <a:rPr kumimoji="0" lang="zh-CN" altLang="en-US" sz="1400" b="0" i="0" u="none" strike="noStrike" kern="1200" cap="none" spc="0" normalizeH="0" baseline="0" noProof="0" dirty="0">
                <a:ln>
                  <a:noFill/>
                </a:ln>
                <a:solidFill>
                  <a:prstClr val="white"/>
                </a:solidFill>
                <a:effectLst/>
                <a:uLnTx/>
                <a:uFillTx/>
                <a:latin typeface="OPPOSans R"/>
                <a:ea typeface="OPPOSans H"/>
                <a:cs typeface="+mn-cs"/>
              </a:rPr>
              <a:t>秋叶</a:t>
            </a:r>
            <a:r>
              <a:rPr kumimoji="0" lang="en-US" altLang="zh-CN" sz="1400" b="0" i="0" u="none" strike="noStrike" kern="1200" cap="none" spc="0" normalizeH="0" baseline="0" noProof="0" dirty="0">
                <a:ln>
                  <a:noFill/>
                </a:ln>
                <a:solidFill>
                  <a:prstClr val="white"/>
                </a:solidFill>
                <a:effectLst/>
                <a:uLnTx/>
                <a:uFillTx/>
                <a:latin typeface="OPPOSans R"/>
                <a:ea typeface="OPPOSans H"/>
                <a:cs typeface="+mn-cs"/>
              </a:rPr>
              <a:t>PPT</a:t>
            </a:r>
          </a:p>
          <a:p>
            <a:pPr marL="0" marR="0" lvl="0" indent="0" algn="ctr" defTabSz="913765" rtl="0" eaLnBrk="1" fontAlgn="auto" latinLnBrk="0" hangingPunct="1">
              <a:lnSpc>
                <a:spcPct val="100000"/>
              </a:lnSpc>
              <a:spcBef>
                <a:spcPts val="0"/>
              </a:spcBef>
              <a:spcAft>
                <a:spcPts val="0"/>
              </a:spcAft>
              <a:buClrTx/>
              <a:buSzPct val="25000"/>
              <a:buFontTx/>
              <a:buNone/>
              <a:tabLst/>
              <a:defRPr/>
            </a:pPr>
            <a:r>
              <a:rPr kumimoji="0" lang="zh-CN" altLang="en-US" sz="1400" b="0" i="0" u="none" strike="noStrike" kern="1200" cap="none" spc="0" normalizeH="0" baseline="0" noProof="0" dirty="0">
                <a:ln>
                  <a:noFill/>
                </a:ln>
                <a:solidFill>
                  <a:prstClr val="white"/>
                </a:solidFill>
                <a:effectLst/>
                <a:uLnTx/>
                <a:uFillTx/>
                <a:latin typeface="OPPOSans R"/>
                <a:ea typeface="OPPOSans H"/>
                <a:cs typeface="+mn-cs"/>
              </a:rPr>
              <a:t>更快更轻松</a:t>
            </a:r>
          </a:p>
        </p:txBody>
      </p:sp>
      <p:sp>
        <p:nvSpPr>
          <p:cNvPr id="55" name="稿定PPT-10-1">
            <a:extLst>
              <a:ext uri="{FF2B5EF4-FFF2-40B4-BE49-F238E27FC236}">
                <a16:creationId xmlns:a16="http://schemas.microsoft.com/office/drawing/2014/main" id="{F0174714-BF3B-486B-9755-9574007AF83F}"/>
              </a:ext>
            </a:extLst>
          </p:cNvPr>
          <p:cNvSpPr txBox="1"/>
          <p:nvPr/>
        </p:nvSpPr>
        <p:spPr>
          <a:xfrm>
            <a:off x="7095272" y="5246789"/>
            <a:ext cx="1205512" cy="603304"/>
          </a:xfrm>
          <a:prstGeom prst="rect">
            <a:avLst/>
          </a:prstGeom>
          <a:noFill/>
          <a:ln>
            <a:noFill/>
          </a:ln>
          <a:effectLst/>
        </p:spPr>
        <p:txBody>
          <a:bodyPr wrap="none" lIns="64008" tIns="32004" rIns="64008" bIns="32004" anchor="ctr" anchorCtr="0">
            <a:noAutofit/>
          </a:bodyPr>
          <a:lstStyle/>
          <a:p>
            <a:pPr marL="0" marR="0" lvl="0" indent="0" algn="ctr" defTabSz="913765" rtl="0" eaLnBrk="1" fontAlgn="auto" latinLnBrk="0" hangingPunct="1">
              <a:lnSpc>
                <a:spcPct val="100000"/>
              </a:lnSpc>
              <a:spcBef>
                <a:spcPts val="0"/>
              </a:spcBef>
              <a:spcAft>
                <a:spcPts val="0"/>
              </a:spcAft>
              <a:buClrTx/>
              <a:buSzPct val="25000"/>
              <a:buFontTx/>
              <a:buNone/>
              <a:tabLst/>
              <a:defRPr/>
            </a:pPr>
            <a:r>
              <a:rPr kumimoji="0" lang="zh-CN" altLang="en-US" sz="1400" b="0" i="0" u="none" strike="noStrike" kern="1200" cap="none" spc="0" normalizeH="0" baseline="0" noProof="0" dirty="0">
                <a:ln>
                  <a:noFill/>
                </a:ln>
                <a:solidFill>
                  <a:prstClr val="white"/>
                </a:solidFill>
                <a:effectLst/>
                <a:uLnTx/>
                <a:uFillTx/>
                <a:latin typeface="OPPOSans R"/>
                <a:ea typeface="OPPOSans H"/>
                <a:cs typeface="+mn-cs"/>
              </a:rPr>
              <a:t>秋叶</a:t>
            </a:r>
            <a:r>
              <a:rPr kumimoji="0" lang="en-US" altLang="zh-CN" sz="1400" b="0" i="0" u="none" strike="noStrike" kern="1200" cap="none" spc="0" normalizeH="0" baseline="0" noProof="0" dirty="0">
                <a:ln>
                  <a:noFill/>
                </a:ln>
                <a:solidFill>
                  <a:prstClr val="white"/>
                </a:solidFill>
                <a:effectLst/>
                <a:uLnTx/>
                <a:uFillTx/>
                <a:latin typeface="OPPOSans R"/>
                <a:ea typeface="OPPOSans H"/>
                <a:cs typeface="+mn-cs"/>
              </a:rPr>
              <a:t>PPT</a:t>
            </a:r>
          </a:p>
          <a:p>
            <a:pPr marL="0" marR="0" lvl="0" indent="0" algn="ctr" defTabSz="913765" rtl="0" eaLnBrk="1" fontAlgn="auto" latinLnBrk="0" hangingPunct="1">
              <a:lnSpc>
                <a:spcPct val="100000"/>
              </a:lnSpc>
              <a:spcBef>
                <a:spcPts val="0"/>
              </a:spcBef>
              <a:spcAft>
                <a:spcPts val="0"/>
              </a:spcAft>
              <a:buClrTx/>
              <a:buSzPct val="25000"/>
              <a:buFontTx/>
              <a:buNone/>
              <a:tabLst/>
              <a:defRPr/>
            </a:pPr>
            <a:r>
              <a:rPr kumimoji="0" lang="zh-CN" altLang="en-US" sz="1400" b="0" i="0" u="none" strike="noStrike" kern="1200" cap="none" spc="0" normalizeH="0" baseline="0" noProof="0" dirty="0">
                <a:ln>
                  <a:noFill/>
                </a:ln>
                <a:solidFill>
                  <a:prstClr val="white"/>
                </a:solidFill>
                <a:effectLst/>
                <a:uLnTx/>
                <a:uFillTx/>
                <a:latin typeface="OPPOSans R"/>
                <a:ea typeface="OPPOSans H"/>
                <a:cs typeface="+mn-cs"/>
              </a:rPr>
              <a:t>更快更轻松</a:t>
            </a:r>
          </a:p>
        </p:txBody>
      </p:sp>
      <p:sp>
        <p:nvSpPr>
          <p:cNvPr id="56" name="稿定PPT-10-1">
            <a:extLst>
              <a:ext uri="{FF2B5EF4-FFF2-40B4-BE49-F238E27FC236}">
                <a16:creationId xmlns:a16="http://schemas.microsoft.com/office/drawing/2014/main" id="{F51981C2-FF4D-4CEF-8B7E-123FDB227C7D}"/>
              </a:ext>
            </a:extLst>
          </p:cNvPr>
          <p:cNvSpPr txBox="1"/>
          <p:nvPr/>
        </p:nvSpPr>
        <p:spPr>
          <a:xfrm>
            <a:off x="5486844" y="5246789"/>
            <a:ext cx="1205512" cy="603304"/>
          </a:xfrm>
          <a:prstGeom prst="rect">
            <a:avLst/>
          </a:prstGeom>
          <a:noFill/>
          <a:ln>
            <a:noFill/>
          </a:ln>
          <a:effectLst/>
        </p:spPr>
        <p:txBody>
          <a:bodyPr wrap="none" lIns="64008" tIns="32004" rIns="64008" bIns="32004" anchor="ctr" anchorCtr="0">
            <a:noAutofit/>
          </a:bodyPr>
          <a:lstStyle/>
          <a:p>
            <a:pPr marL="0" marR="0" lvl="0" indent="0" algn="ctr" defTabSz="913765" rtl="0" eaLnBrk="1" fontAlgn="auto" latinLnBrk="0" hangingPunct="1">
              <a:lnSpc>
                <a:spcPct val="100000"/>
              </a:lnSpc>
              <a:spcBef>
                <a:spcPts val="0"/>
              </a:spcBef>
              <a:spcAft>
                <a:spcPts val="0"/>
              </a:spcAft>
              <a:buClrTx/>
              <a:buSzPct val="25000"/>
              <a:buFontTx/>
              <a:buNone/>
              <a:tabLst/>
              <a:defRPr/>
            </a:pPr>
            <a:r>
              <a:rPr kumimoji="0" lang="zh-CN" altLang="en-US" sz="1400" b="0" i="0" u="none" strike="noStrike" kern="1200" cap="none" spc="0" normalizeH="0" baseline="0" noProof="0" dirty="0">
                <a:ln>
                  <a:noFill/>
                </a:ln>
                <a:solidFill>
                  <a:prstClr val="white"/>
                </a:solidFill>
                <a:effectLst/>
                <a:uLnTx/>
                <a:uFillTx/>
                <a:latin typeface="OPPOSans R"/>
                <a:ea typeface="OPPOSans H"/>
                <a:cs typeface="+mn-cs"/>
              </a:rPr>
              <a:t>秋叶</a:t>
            </a:r>
            <a:r>
              <a:rPr kumimoji="0" lang="en-US" altLang="zh-CN" sz="1400" b="0" i="0" u="none" strike="noStrike" kern="1200" cap="none" spc="0" normalizeH="0" baseline="0" noProof="0" dirty="0">
                <a:ln>
                  <a:noFill/>
                </a:ln>
                <a:solidFill>
                  <a:prstClr val="white"/>
                </a:solidFill>
                <a:effectLst/>
                <a:uLnTx/>
                <a:uFillTx/>
                <a:latin typeface="OPPOSans R"/>
                <a:ea typeface="OPPOSans H"/>
                <a:cs typeface="+mn-cs"/>
              </a:rPr>
              <a:t>PPT</a:t>
            </a:r>
          </a:p>
          <a:p>
            <a:pPr marL="0" marR="0" lvl="0" indent="0" algn="ctr" defTabSz="913765" rtl="0" eaLnBrk="1" fontAlgn="auto" latinLnBrk="0" hangingPunct="1">
              <a:lnSpc>
                <a:spcPct val="100000"/>
              </a:lnSpc>
              <a:spcBef>
                <a:spcPts val="0"/>
              </a:spcBef>
              <a:spcAft>
                <a:spcPts val="0"/>
              </a:spcAft>
              <a:buClrTx/>
              <a:buSzPct val="25000"/>
              <a:buFontTx/>
              <a:buNone/>
              <a:tabLst/>
              <a:defRPr/>
            </a:pPr>
            <a:r>
              <a:rPr kumimoji="0" lang="zh-CN" altLang="en-US" sz="1400" b="0" i="0" u="none" strike="noStrike" kern="1200" cap="none" spc="0" normalizeH="0" baseline="0" noProof="0" dirty="0">
                <a:ln>
                  <a:noFill/>
                </a:ln>
                <a:solidFill>
                  <a:prstClr val="white"/>
                </a:solidFill>
                <a:effectLst/>
                <a:uLnTx/>
                <a:uFillTx/>
                <a:latin typeface="OPPOSans R"/>
                <a:ea typeface="OPPOSans H"/>
                <a:cs typeface="+mn-cs"/>
              </a:rPr>
              <a:t>更快更轻松</a:t>
            </a:r>
          </a:p>
        </p:txBody>
      </p:sp>
      <p:sp>
        <p:nvSpPr>
          <p:cNvPr id="57" name="稿定PPT-10-1">
            <a:extLst>
              <a:ext uri="{FF2B5EF4-FFF2-40B4-BE49-F238E27FC236}">
                <a16:creationId xmlns:a16="http://schemas.microsoft.com/office/drawing/2014/main" id="{2A40BADF-E720-43CE-BC5D-57A41A5AE012}"/>
              </a:ext>
            </a:extLst>
          </p:cNvPr>
          <p:cNvSpPr txBox="1"/>
          <p:nvPr/>
        </p:nvSpPr>
        <p:spPr>
          <a:xfrm>
            <a:off x="3916349" y="5246789"/>
            <a:ext cx="1205512" cy="603304"/>
          </a:xfrm>
          <a:prstGeom prst="rect">
            <a:avLst/>
          </a:prstGeom>
          <a:noFill/>
          <a:ln>
            <a:noFill/>
          </a:ln>
          <a:effectLst/>
        </p:spPr>
        <p:txBody>
          <a:bodyPr wrap="none" lIns="64008" tIns="32004" rIns="64008" bIns="32004" anchor="ctr" anchorCtr="0">
            <a:noAutofit/>
          </a:bodyPr>
          <a:lstStyle/>
          <a:p>
            <a:pPr marL="0" marR="0" lvl="0" indent="0" algn="ctr" defTabSz="913765" rtl="0" eaLnBrk="1" fontAlgn="auto" latinLnBrk="0" hangingPunct="1">
              <a:lnSpc>
                <a:spcPct val="100000"/>
              </a:lnSpc>
              <a:spcBef>
                <a:spcPts val="0"/>
              </a:spcBef>
              <a:spcAft>
                <a:spcPts val="0"/>
              </a:spcAft>
              <a:buClrTx/>
              <a:buSzPct val="25000"/>
              <a:buFontTx/>
              <a:buNone/>
              <a:tabLst/>
              <a:defRPr/>
            </a:pPr>
            <a:r>
              <a:rPr kumimoji="0" lang="zh-CN" altLang="en-US" sz="1400" b="0" i="0" u="none" strike="noStrike" kern="1200" cap="none" spc="0" normalizeH="0" baseline="0" noProof="0" dirty="0">
                <a:ln>
                  <a:noFill/>
                </a:ln>
                <a:solidFill>
                  <a:prstClr val="white"/>
                </a:solidFill>
                <a:effectLst/>
                <a:uLnTx/>
                <a:uFillTx/>
                <a:latin typeface="OPPOSans R"/>
                <a:ea typeface="OPPOSans H"/>
                <a:cs typeface="+mn-cs"/>
              </a:rPr>
              <a:t>秋叶</a:t>
            </a:r>
            <a:r>
              <a:rPr kumimoji="0" lang="en-US" altLang="zh-CN" sz="1400" b="0" i="0" u="none" strike="noStrike" kern="1200" cap="none" spc="0" normalizeH="0" baseline="0" noProof="0" dirty="0">
                <a:ln>
                  <a:noFill/>
                </a:ln>
                <a:solidFill>
                  <a:prstClr val="white"/>
                </a:solidFill>
                <a:effectLst/>
                <a:uLnTx/>
                <a:uFillTx/>
                <a:latin typeface="OPPOSans R"/>
                <a:ea typeface="OPPOSans H"/>
                <a:cs typeface="+mn-cs"/>
              </a:rPr>
              <a:t>PPT</a:t>
            </a:r>
          </a:p>
          <a:p>
            <a:pPr marL="0" marR="0" lvl="0" indent="0" algn="ctr" defTabSz="913765" rtl="0" eaLnBrk="1" fontAlgn="auto" latinLnBrk="0" hangingPunct="1">
              <a:lnSpc>
                <a:spcPct val="100000"/>
              </a:lnSpc>
              <a:spcBef>
                <a:spcPts val="0"/>
              </a:spcBef>
              <a:spcAft>
                <a:spcPts val="0"/>
              </a:spcAft>
              <a:buClrTx/>
              <a:buSzPct val="25000"/>
              <a:buFontTx/>
              <a:buNone/>
              <a:tabLst/>
              <a:defRPr/>
            </a:pPr>
            <a:r>
              <a:rPr kumimoji="0" lang="zh-CN" altLang="en-US" sz="1400" b="0" i="0" u="none" strike="noStrike" kern="1200" cap="none" spc="0" normalizeH="0" baseline="0" noProof="0" dirty="0">
                <a:ln>
                  <a:noFill/>
                </a:ln>
                <a:solidFill>
                  <a:prstClr val="white"/>
                </a:solidFill>
                <a:effectLst/>
                <a:uLnTx/>
                <a:uFillTx/>
                <a:latin typeface="OPPOSans R"/>
                <a:ea typeface="OPPOSans H"/>
                <a:cs typeface="+mn-cs"/>
              </a:rPr>
              <a:t>更快更轻松</a:t>
            </a:r>
          </a:p>
        </p:txBody>
      </p:sp>
      <p:sp>
        <p:nvSpPr>
          <p:cNvPr id="58" name="稿定PPT-10-1">
            <a:extLst>
              <a:ext uri="{FF2B5EF4-FFF2-40B4-BE49-F238E27FC236}">
                <a16:creationId xmlns:a16="http://schemas.microsoft.com/office/drawing/2014/main" id="{72C0CEF2-CA39-4B9D-B972-0BE514B47340}"/>
              </a:ext>
            </a:extLst>
          </p:cNvPr>
          <p:cNvSpPr txBox="1"/>
          <p:nvPr/>
        </p:nvSpPr>
        <p:spPr>
          <a:xfrm>
            <a:off x="747693" y="5246789"/>
            <a:ext cx="1205512" cy="603304"/>
          </a:xfrm>
          <a:prstGeom prst="rect">
            <a:avLst/>
          </a:prstGeom>
          <a:noFill/>
          <a:ln>
            <a:noFill/>
          </a:ln>
          <a:effectLst/>
        </p:spPr>
        <p:txBody>
          <a:bodyPr wrap="none" lIns="64008" tIns="32004" rIns="64008" bIns="32004" anchor="ctr" anchorCtr="0">
            <a:noAutofit/>
          </a:bodyPr>
          <a:lstStyle/>
          <a:p>
            <a:pPr marL="0" marR="0" lvl="0" indent="0" algn="ctr" defTabSz="913765" rtl="0" eaLnBrk="1" fontAlgn="auto" latinLnBrk="0" hangingPunct="1">
              <a:lnSpc>
                <a:spcPct val="100000"/>
              </a:lnSpc>
              <a:spcBef>
                <a:spcPts val="0"/>
              </a:spcBef>
              <a:spcAft>
                <a:spcPts val="0"/>
              </a:spcAft>
              <a:buClrTx/>
              <a:buSzPct val="25000"/>
              <a:buFontTx/>
              <a:buNone/>
              <a:tabLst/>
              <a:defRPr/>
            </a:pPr>
            <a:r>
              <a:rPr kumimoji="0" lang="zh-CN" altLang="en-US" sz="1400" b="0" i="0" u="none" strike="noStrike" kern="1200" cap="none" spc="0" normalizeH="0" baseline="0" noProof="0" dirty="0">
                <a:ln>
                  <a:noFill/>
                </a:ln>
                <a:solidFill>
                  <a:prstClr val="white"/>
                </a:solidFill>
                <a:effectLst/>
                <a:uLnTx/>
                <a:uFillTx/>
                <a:latin typeface="OPPOSans R"/>
                <a:ea typeface="OPPOSans H"/>
                <a:cs typeface="+mn-cs"/>
              </a:rPr>
              <a:t>秋叶</a:t>
            </a:r>
            <a:r>
              <a:rPr kumimoji="0" lang="en-US" altLang="zh-CN" sz="1400" b="0" i="0" u="none" strike="noStrike" kern="1200" cap="none" spc="0" normalizeH="0" baseline="0" noProof="0" dirty="0">
                <a:ln>
                  <a:noFill/>
                </a:ln>
                <a:solidFill>
                  <a:prstClr val="white"/>
                </a:solidFill>
                <a:effectLst/>
                <a:uLnTx/>
                <a:uFillTx/>
                <a:latin typeface="OPPOSans R"/>
                <a:ea typeface="OPPOSans H"/>
                <a:cs typeface="+mn-cs"/>
              </a:rPr>
              <a:t>PPT</a:t>
            </a:r>
          </a:p>
          <a:p>
            <a:pPr marL="0" marR="0" lvl="0" indent="0" algn="ctr" defTabSz="913765" rtl="0" eaLnBrk="1" fontAlgn="auto" latinLnBrk="0" hangingPunct="1">
              <a:lnSpc>
                <a:spcPct val="100000"/>
              </a:lnSpc>
              <a:spcBef>
                <a:spcPts val="0"/>
              </a:spcBef>
              <a:spcAft>
                <a:spcPts val="0"/>
              </a:spcAft>
              <a:buClrTx/>
              <a:buSzPct val="25000"/>
              <a:buFontTx/>
              <a:buNone/>
              <a:tabLst/>
              <a:defRPr/>
            </a:pPr>
            <a:r>
              <a:rPr kumimoji="0" lang="zh-CN" altLang="en-US" sz="1400" b="0" i="0" u="none" strike="noStrike" kern="1200" cap="none" spc="0" normalizeH="0" baseline="0" noProof="0" dirty="0">
                <a:ln>
                  <a:noFill/>
                </a:ln>
                <a:solidFill>
                  <a:prstClr val="white"/>
                </a:solidFill>
                <a:effectLst/>
                <a:uLnTx/>
                <a:uFillTx/>
                <a:latin typeface="OPPOSans R"/>
                <a:ea typeface="OPPOSans H"/>
                <a:cs typeface="+mn-cs"/>
              </a:rPr>
              <a:t>更快更轻松</a:t>
            </a:r>
          </a:p>
        </p:txBody>
      </p:sp>
    </p:spTree>
    <p:extLst>
      <p:ext uri="{BB962C8B-B14F-4D97-AF65-F5344CB8AC3E}">
        <p14:creationId xmlns:p14="http://schemas.microsoft.com/office/powerpoint/2010/main" val="665825227"/>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8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矩形: 圆角 51">
            <a:extLst>
              <a:ext uri="{FF2B5EF4-FFF2-40B4-BE49-F238E27FC236}">
                <a16:creationId xmlns:a16="http://schemas.microsoft.com/office/drawing/2014/main" id="{7576AAFF-84DA-4B04-BF88-25D50C517AE3}"/>
              </a:ext>
            </a:extLst>
          </p:cNvPr>
          <p:cNvSpPr/>
          <p:nvPr/>
        </p:nvSpPr>
        <p:spPr>
          <a:xfrm flipH="1">
            <a:off x="6098034" y="1382722"/>
            <a:ext cx="1330747" cy="1330747"/>
          </a:xfrm>
          <a:prstGeom prst="roundRect">
            <a:avLst>
              <a:gd name="adj" fmla="val 36905"/>
            </a:avLst>
          </a:prstGeom>
          <a:noFill/>
          <a:ln w="165100">
            <a:gradFill flip="none" rotWithShape="1">
              <a:gsLst>
                <a:gs pos="100000">
                  <a:schemeClr val="accent1"/>
                </a:gs>
                <a:gs pos="59000">
                  <a:schemeClr val="bg1">
                    <a:alpha val="0"/>
                  </a:schemeClr>
                </a:gs>
                <a:gs pos="74000">
                  <a:schemeClr val="accent2">
                    <a:lumMod val="75000"/>
                  </a:schemeClr>
                </a:gs>
              </a:gsLst>
              <a:lin ang="189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white"/>
              </a:solidFill>
              <a:effectLst/>
              <a:uLnTx/>
              <a:uFillTx/>
              <a:latin typeface="Roboto Light"/>
              <a:ea typeface="OPPOSans L" panose="00020600040101010101" pitchFamily="18" charset="-122"/>
              <a:cs typeface="+mn-cs"/>
            </a:endParaRPr>
          </a:p>
        </p:txBody>
      </p:sp>
      <p:sp>
        <p:nvSpPr>
          <p:cNvPr id="54" name="椭圆 53">
            <a:extLst>
              <a:ext uri="{FF2B5EF4-FFF2-40B4-BE49-F238E27FC236}">
                <a16:creationId xmlns:a16="http://schemas.microsoft.com/office/drawing/2014/main" id="{A4F37D4E-90F5-4224-956B-1CCFB86ACF55}"/>
              </a:ext>
            </a:extLst>
          </p:cNvPr>
          <p:cNvSpPr/>
          <p:nvPr/>
        </p:nvSpPr>
        <p:spPr>
          <a:xfrm rot="2700000">
            <a:off x="6691465" y="1008513"/>
            <a:ext cx="737382" cy="737382"/>
          </a:xfrm>
          <a:prstGeom prst="ellipse">
            <a:avLst/>
          </a:prstGeom>
          <a:solidFill>
            <a:schemeClr val="bg1"/>
          </a:solidFill>
          <a:ln w="19050">
            <a:gradFill flip="none" rotWithShape="1">
              <a:gsLst>
                <a:gs pos="45000">
                  <a:schemeClr val="accent2"/>
                </a:gs>
                <a:gs pos="80000">
                  <a:schemeClr val="accent2">
                    <a:lumMod val="75000"/>
                    <a:alpha val="88000"/>
                  </a:schemeClr>
                </a:gs>
                <a:gs pos="99000">
                  <a:schemeClr val="accent1"/>
                </a:gs>
              </a:gsLst>
              <a:lin ang="189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white"/>
              </a:solidFill>
              <a:effectLst/>
              <a:uLnTx/>
              <a:uFillTx/>
              <a:latin typeface="Roboto Light"/>
              <a:ea typeface="OPPOSans L" panose="00020600040101010101" pitchFamily="18" charset="-122"/>
              <a:cs typeface="+mn-cs"/>
            </a:endParaRPr>
          </a:p>
        </p:txBody>
      </p:sp>
      <p:sp>
        <p:nvSpPr>
          <p:cNvPr id="65" name="图形 63">
            <a:extLst>
              <a:ext uri="{FF2B5EF4-FFF2-40B4-BE49-F238E27FC236}">
                <a16:creationId xmlns:a16="http://schemas.microsoft.com/office/drawing/2014/main" id="{3FBA208A-016D-48AA-B604-B8270C780B31}"/>
              </a:ext>
            </a:extLst>
          </p:cNvPr>
          <p:cNvSpPr/>
          <p:nvPr/>
        </p:nvSpPr>
        <p:spPr>
          <a:xfrm>
            <a:off x="6900068" y="1218991"/>
            <a:ext cx="320177" cy="316426"/>
          </a:xfrm>
          <a:custGeom>
            <a:avLst/>
            <a:gdLst>
              <a:gd name="connsiteX0" fmla="*/ 320177 w 320177"/>
              <a:gd name="connsiteY0" fmla="*/ 157999 h 316426"/>
              <a:gd name="connsiteX1" fmla="*/ 267351 w 320177"/>
              <a:gd name="connsiteY1" fmla="*/ 104599 h 316426"/>
              <a:gd name="connsiteX2" fmla="*/ 213377 w 320177"/>
              <a:gd name="connsiteY2" fmla="*/ 50732 h 316426"/>
              <a:gd name="connsiteX3" fmla="*/ 157375 w 320177"/>
              <a:gd name="connsiteY3" fmla="*/ 68 h 316426"/>
              <a:gd name="connsiteX4" fmla="*/ 106711 w 320177"/>
              <a:gd name="connsiteY4" fmla="*/ 50732 h 316426"/>
              <a:gd name="connsiteX5" fmla="*/ 52603 w 320177"/>
              <a:gd name="connsiteY5" fmla="*/ 104653 h 316426"/>
              <a:gd name="connsiteX6" fmla="*/ 5 w 320177"/>
              <a:gd name="connsiteY6" fmla="*/ 158711 h 316426"/>
              <a:gd name="connsiteX7" fmla="*/ 52390 w 320177"/>
              <a:gd name="connsiteY7" fmla="*/ 211306 h 316426"/>
              <a:gd name="connsiteX8" fmla="*/ 106644 w 320177"/>
              <a:gd name="connsiteY8" fmla="*/ 265694 h 316426"/>
              <a:gd name="connsiteX9" fmla="*/ 162646 w 320177"/>
              <a:gd name="connsiteY9" fmla="*/ 316358 h 316426"/>
              <a:gd name="connsiteX10" fmla="*/ 213310 w 320177"/>
              <a:gd name="connsiteY10" fmla="*/ 265694 h 316426"/>
              <a:gd name="connsiteX11" fmla="*/ 267565 w 320177"/>
              <a:gd name="connsiteY11" fmla="*/ 211306 h 316426"/>
              <a:gd name="connsiteX12" fmla="*/ 320177 w 320177"/>
              <a:gd name="connsiteY12" fmla="*/ 157999 h 316426"/>
              <a:gd name="connsiteX13" fmla="*/ 206409 w 320177"/>
              <a:gd name="connsiteY13" fmla="*/ 239127 h 316426"/>
              <a:gd name="connsiteX14" fmla="*/ 134560 w 320177"/>
              <a:gd name="connsiteY14" fmla="*/ 218113 h 316426"/>
              <a:gd name="connsiteX15" fmla="*/ 113546 w 320177"/>
              <a:gd name="connsiteY15" fmla="*/ 239127 h 316426"/>
              <a:gd name="connsiteX16" fmla="*/ 78969 w 320177"/>
              <a:gd name="connsiteY16" fmla="*/ 204417 h 316426"/>
              <a:gd name="connsiteX17" fmla="*/ 100130 w 320177"/>
              <a:gd name="connsiteY17" fmla="*/ 132593 h 316426"/>
              <a:gd name="connsiteX18" fmla="*/ 79170 w 320177"/>
              <a:gd name="connsiteY18" fmla="*/ 111541 h 316426"/>
              <a:gd name="connsiteX19" fmla="*/ 113546 w 320177"/>
              <a:gd name="connsiteY19" fmla="*/ 77232 h 316426"/>
              <a:gd name="connsiteX20" fmla="*/ 185394 w 320177"/>
              <a:gd name="connsiteY20" fmla="*/ 98246 h 316426"/>
              <a:gd name="connsiteX21" fmla="*/ 206409 w 320177"/>
              <a:gd name="connsiteY21" fmla="*/ 77232 h 316426"/>
              <a:gd name="connsiteX22" fmla="*/ 240785 w 320177"/>
              <a:gd name="connsiteY22" fmla="*/ 111541 h 316426"/>
              <a:gd name="connsiteX23" fmla="*/ 219933 w 320177"/>
              <a:gd name="connsiteY23" fmla="*/ 183456 h 316426"/>
              <a:gd name="connsiteX24" fmla="*/ 240985 w 320177"/>
              <a:gd name="connsiteY24" fmla="*/ 204417 h 316426"/>
              <a:gd name="connsiteX25" fmla="*/ 206409 w 320177"/>
              <a:gd name="connsiteY25" fmla="*/ 239127 h 3164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20177" h="316426">
                <a:moveTo>
                  <a:pt x="320177" y="157999"/>
                </a:moveTo>
                <a:cubicBezTo>
                  <a:pt x="320179" y="128730"/>
                  <a:pt x="296618" y="104914"/>
                  <a:pt x="267351" y="104599"/>
                </a:cubicBezTo>
                <a:cubicBezTo>
                  <a:pt x="255647" y="81288"/>
                  <a:pt x="236712" y="62390"/>
                  <a:pt x="213377" y="50732"/>
                </a:cubicBezTo>
                <a:cubicBezTo>
                  <a:pt x="211903" y="21277"/>
                  <a:pt x="186829" y="-1406"/>
                  <a:pt x="157375" y="68"/>
                </a:cubicBezTo>
                <a:cubicBezTo>
                  <a:pt x="129982" y="1439"/>
                  <a:pt x="108082" y="23339"/>
                  <a:pt x="106711" y="50732"/>
                </a:cubicBezTo>
                <a:cubicBezTo>
                  <a:pt x="83318" y="62381"/>
                  <a:pt x="64333" y="81300"/>
                  <a:pt x="52603" y="104653"/>
                </a:cubicBezTo>
                <a:cubicBezTo>
                  <a:pt x="23151" y="105056"/>
                  <a:pt x="-398" y="129259"/>
                  <a:pt x="5" y="158711"/>
                </a:cubicBezTo>
                <a:cubicBezTo>
                  <a:pt x="399" y="187512"/>
                  <a:pt x="23591" y="210796"/>
                  <a:pt x="52390" y="211306"/>
                </a:cubicBezTo>
                <a:cubicBezTo>
                  <a:pt x="64071" y="234858"/>
                  <a:pt x="83120" y="253955"/>
                  <a:pt x="106644" y="265694"/>
                </a:cubicBezTo>
                <a:cubicBezTo>
                  <a:pt x="108118" y="295149"/>
                  <a:pt x="133191" y="317832"/>
                  <a:pt x="162646" y="316358"/>
                </a:cubicBezTo>
                <a:cubicBezTo>
                  <a:pt x="190040" y="314987"/>
                  <a:pt x="211939" y="293087"/>
                  <a:pt x="213310" y="265694"/>
                </a:cubicBezTo>
                <a:cubicBezTo>
                  <a:pt x="236835" y="253955"/>
                  <a:pt x="255884" y="234858"/>
                  <a:pt x="267565" y="211306"/>
                </a:cubicBezTo>
                <a:cubicBezTo>
                  <a:pt x="296712" y="210876"/>
                  <a:pt x="320129" y="187150"/>
                  <a:pt x="320177" y="157999"/>
                </a:cubicBezTo>
                <a:close/>
                <a:moveTo>
                  <a:pt x="206409" y="239127"/>
                </a:moveTo>
                <a:cubicBezTo>
                  <a:pt x="192371" y="213485"/>
                  <a:pt x="160204" y="204075"/>
                  <a:pt x="134560" y="218113"/>
                </a:cubicBezTo>
                <a:cubicBezTo>
                  <a:pt x="125693" y="222967"/>
                  <a:pt x="118400" y="230259"/>
                  <a:pt x="113546" y="239127"/>
                </a:cubicBezTo>
                <a:cubicBezTo>
                  <a:pt x="99163" y="230806"/>
                  <a:pt x="87235" y="218833"/>
                  <a:pt x="78969" y="204417"/>
                </a:cubicBezTo>
                <a:cubicBezTo>
                  <a:pt x="104647" y="190426"/>
                  <a:pt x="114121" y="158270"/>
                  <a:pt x="100130" y="132593"/>
                </a:cubicBezTo>
                <a:cubicBezTo>
                  <a:pt x="95295" y="123719"/>
                  <a:pt x="88022" y="116414"/>
                  <a:pt x="79170" y="111541"/>
                </a:cubicBezTo>
                <a:cubicBezTo>
                  <a:pt x="87430" y="97295"/>
                  <a:pt x="99284" y="85465"/>
                  <a:pt x="113546" y="77232"/>
                </a:cubicBezTo>
                <a:cubicBezTo>
                  <a:pt x="127583" y="102875"/>
                  <a:pt x="159750" y="112284"/>
                  <a:pt x="185394" y="98246"/>
                </a:cubicBezTo>
                <a:cubicBezTo>
                  <a:pt x="194261" y="93392"/>
                  <a:pt x="201554" y="86100"/>
                  <a:pt x="206409" y="77232"/>
                </a:cubicBezTo>
                <a:cubicBezTo>
                  <a:pt x="220670" y="85465"/>
                  <a:pt x="232524" y="97295"/>
                  <a:pt x="240785" y="111541"/>
                </a:cubicBezTo>
                <a:cubicBezTo>
                  <a:pt x="215167" y="125642"/>
                  <a:pt x="205833" y="157840"/>
                  <a:pt x="219933" y="183456"/>
                </a:cubicBezTo>
                <a:cubicBezTo>
                  <a:pt x="224807" y="192309"/>
                  <a:pt x="232111" y="199582"/>
                  <a:pt x="240985" y="204417"/>
                </a:cubicBezTo>
                <a:cubicBezTo>
                  <a:pt x="232720" y="218833"/>
                  <a:pt x="220792" y="230806"/>
                  <a:pt x="206409" y="239127"/>
                </a:cubicBezTo>
                <a:close/>
              </a:path>
            </a:pathLst>
          </a:custGeom>
          <a:gradFill flip="none" rotWithShape="1">
            <a:gsLst>
              <a:gs pos="10000">
                <a:schemeClr val="accent1"/>
              </a:gs>
              <a:gs pos="100000">
                <a:schemeClr val="accent2">
                  <a:lumMod val="75000"/>
                  <a:alpha val="0"/>
                </a:schemeClr>
              </a:gs>
            </a:gsLst>
            <a:path path="circle">
              <a:fillToRect l="100000" t="100000"/>
            </a:path>
            <a:tileRect r="-100000" b="-100000"/>
          </a:gradFill>
          <a:ln w="30163"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black"/>
              </a:solidFill>
              <a:effectLst/>
              <a:uLnTx/>
              <a:uFillTx/>
              <a:latin typeface="Roboto Light"/>
              <a:ea typeface="OPPOSans L" panose="00020600040101010101" pitchFamily="18" charset="-122"/>
              <a:cs typeface="+mn-cs"/>
            </a:endParaRPr>
          </a:p>
        </p:txBody>
      </p:sp>
      <p:sp>
        <p:nvSpPr>
          <p:cNvPr id="26" name="矩形: 圆角 25">
            <a:extLst>
              <a:ext uri="{FF2B5EF4-FFF2-40B4-BE49-F238E27FC236}">
                <a16:creationId xmlns:a16="http://schemas.microsoft.com/office/drawing/2014/main" id="{CE47F48B-A7EE-45BC-A0C7-361DB01FE037}"/>
              </a:ext>
            </a:extLst>
          </p:cNvPr>
          <p:cNvSpPr/>
          <p:nvPr/>
        </p:nvSpPr>
        <p:spPr>
          <a:xfrm flipH="1">
            <a:off x="6098034" y="3591826"/>
            <a:ext cx="1330747" cy="1330747"/>
          </a:xfrm>
          <a:prstGeom prst="roundRect">
            <a:avLst>
              <a:gd name="adj" fmla="val 36905"/>
            </a:avLst>
          </a:prstGeom>
          <a:noFill/>
          <a:ln w="165100">
            <a:gradFill flip="none" rotWithShape="1">
              <a:gsLst>
                <a:gs pos="100000">
                  <a:schemeClr val="accent1"/>
                </a:gs>
                <a:gs pos="59000">
                  <a:schemeClr val="bg1">
                    <a:alpha val="0"/>
                  </a:schemeClr>
                </a:gs>
                <a:gs pos="74000">
                  <a:schemeClr val="accent2">
                    <a:lumMod val="75000"/>
                  </a:schemeClr>
                </a:gs>
              </a:gsLst>
              <a:lin ang="189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white"/>
              </a:solidFill>
              <a:effectLst/>
              <a:uLnTx/>
              <a:uFillTx/>
              <a:latin typeface="Roboto Light"/>
              <a:ea typeface="OPPOSans L" panose="00020600040101010101" pitchFamily="18" charset="-122"/>
              <a:cs typeface="+mn-cs"/>
            </a:endParaRPr>
          </a:p>
        </p:txBody>
      </p:sp>
      <p:sp>
        <p:nvSpPr>
          <p:cNvPr id="27" name="椭圆 26">
            <a:extLst>
              <a:ext uri="{FF2B5EF4-FFF2-40B4-BE49-F238E27FC236}">
                <a16:creationId xmlns:a16="http://schemas.microsoft.com/office/drawing/2014/main" id="{31B556ED-E716-475F-BDDC-F009ABCB4737}"/>
              </a:ext>
            </a:extLst>
          </p:cNvPr>
          <p:cNvSpPr/>
          <p:nvPr/>
        </p:nvSpPr>
        <p:spPr>
          <a:xfrm rot="2700000">
            <a:off x="6691465" y="3217617"/>
            <a:ext cx="737382" cy="737382"/>
          </a:xfrm>
          <a:prstGeom prst="ellipse">
            <a:avLst/>
          </a:prstGeom>
          <a:solidFill>
            <a:schemeClr val="bg1"/>
          </a:solidFill>
          <a:ln w="19050">
            <a:gradFill flip="none" rotWithShape="1">
              <a:gsLst>
                <a:gs pos="45000">
                  <a:schemeClr val="accent2"/>
                </a:gs>
                <a:gs pos="80000">
                  <a:schemeClr val="accent2">
                    <a:lumMod val="75000"/>
                    <a:alpha val="88000"/>
                  </a:schemeClr>
                </a:gs>
                <a:gs pos="99000">
                  <a:schemeClr val="accent1"/>
                </a:gs>
              </a:gsLst>
              <a:lin ang="189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white"/>
              </a:solidFill>
              <a:effectLst/>
              <a:uLnTx/>
              <a:uFillTx/>
              <a:latin typeface="Roboto Light"/>
              <a:ea typeface="OPPOSans L" panose="00020600040101010101" pitchFamily="18" charset="-122"/>
              <a:cs typeface="+mn-cs"/>
            </a:endParaRPr>
          </a:p>
        </p:txBody>
      </p:sp>
      <p:sp>
        <p:nvSpPr>
          <p:cNvPr id="29" name="任意多边形: 形状 28">
            <a:extLst>
              <a:ext uri="{FF2B5EF4-FFF2-40B4-BE49-F238E27FC236}">
                <a16:creationId xmlns:a16="http://schemas.microsoft.com/office/drawing/2014/main" id="{841D6487-1B30-42CF-A425-A2B73D250DD6}"/>
              </a:ext>
            </a:extLst>
          </p:cNvPr>
          <p:cNvSpPr/>
          <p:nvPr/>
        </p:nvSpPr>
        <p:spPr>
          <a:xfrm>
            <a:off x="6899956" y="3426108"/>
            <a:ext cx="320400" cy="320400"/>
          </a:xfrm>
          <a:custGeom>
            <a:avLst/>
            <a:gdLst>
              <a:gd name="connsiteX0" fmla="*/ 245303 w 518401"/>
              <a:gd name="connsiteY0" fmla="*/ 264602 h 518367"/>
              <a:gd name="connsiteX1" fmla="*/ 151892 w 518401"/>
              <a:gd name="connsiteY1" fmla="*/ 345016 h 518367"/>
              <a:gd name="connsiteX2" fmla="*/ 167335 w 518401"/>
              <a:gd name="connsiteY2" fmla="*/ 371390 h 518367"/>
              <a:gd name="connsiteX3" fmla="*/ 193709 w 518401"/>
              <a:gd name="connsiteY3" fmla="*/ 355946 h 518367"/>
              <a:gd name="connsiteX4" fmla="*/ 239171 w 518401"/>
              <a:gd name="connsiteY4" fmla="*/ 310484 h 518367"/>
              <a:gd name="connsiteX5" fmla="*/ 324670 w 518401"/>
              <a:gd name="connsiteY5" fmla="*/ 355946 h 518367"/>
              <a:gd name="connsiteX6" fmla="*/ 324709 w 518401"/>
              <a:gd name="connsiteY6" fmla="*/ 356103 h 518367"/>
              <a:gd name="connsiteX7" fmla="*/ 350979 w 518401"/>
              <a:gd name="connsiteY7" fmla="*/ 371693 h 518367"/>
              <a:gd name="connsiteX8" fmla="*/ 366531 w 518401"/>
              <a:gd name="connsiteY8" fmla="*/ 345016 h 518367"/>
              <a:gd name="connsiteX9" fmla="*/ 289453 w 518401"/>
              <a:gd name="connsiteY9" fmla="*/ 267939 h 518367"/>
              <a:gd name="connsiteX10" fmla="*/ 245303 w 518401"/>
              <a:gd name="connsiteY10" fmla="*/ 264602 h 518367"/>
              <a:gd name="connsiteX11" fmla="*/ 259200 w 518401"/>
              <a:gd name="connsiteY11" fmla="*/ 105823 h 518367"/>
              <a:gd name="connsiteX12" fmla="*/ 292097 w 518401"/>
              <a:gd name="connsiteY12" fmla="*/ 138720 h 518367"/>
              <a:gd name="connsiteX13" fmla="*/ 259200 w 518401"/>
              <a:gd name="connsiteY13" fmla="*/ 171617 h 518367"/>
              <a:gd name="connsiteX14" fmla="*/ 226303 w 518401"/>
              <a:gd name="connsiteY14" fmla="*/ 138720 h 518367"/>
              <a:gd name="connsiteX15" fmla="*/ 259200 w 518401"/>
              <a:gd name="connsiteY15" fmla="*/ 105823 h 518367"/>
              <a:gd name="connsiteX16" fmla="*/ 259201 w 518401"/>
              <a:gd name="connsiteY16" fmla="*/ 65707 h 518367"/>
              <a:gd name="connsiteX17" fmla="*/ 259201 w 518401"/>
              <a:gd name="connsiteY17" fmla="*/ 219068 h 518367"/>
              <a:gd name="connsiteX18" fmla="*/ 259201 w 518401"/>
              <a:gd name="connsiteY18" fmla="*/ 65707 h 518367"/>
              <a:gd name="connsiteX19" fmla="*/ 86400 w 518401"/>
              <a:gd name="connsiteY19" fmla="*/ 0 h 518367"/>
              <a:gd name="connsiteX20" fmla="*/ 432001 w 518401"/>
              <a:gd name="connsiteY20" fmla="*/ 0 h 518367"/>
              <a:gd name="connsiteX21" fmla="*/ 518400 w 518401"/>
              <a:gd name="connsiteY21" fmla="*/ 87610 h 518367"/>
              <a:gd name="connsiteX22" fmla="*/ 518400 w 518401"/>
              <a:gd name="connsiteY22" fmla="*/ 350460 h 518367"/>
              <a:gd name="connsiteX23" fmla="*/ 432000 w 518401"/>
              <a:gd name="connsiteY23" fmla="*/ 438091 h 518367"/>
              <a:gd name="connsiteX24" fmla="*/ 370375 w 518401"/>
              <a:gd name="connsiteY24" fmla="*/ 438091 h 518367"/>
              <a:gd name="connsiteX25" fmla="*/ 287323 w 518401"/>
              <a:gd name="connsiteY25" fmla="*/ 507729 h 518367"/>
              <a:gd name="connsiteX26" fmla="*/ 230493 w 518401"/>
              <a:gd name="connsiteY26" fmla="*/ 507232 h 518367"/>
              <a:gd name="connsiteX27" fmla="*/ 149537 w 518401"/>
              <a:gd name="connsiteY27" fmla="*/ 438112 h 518367"/>
              <a:gd name="connsiteX28" fmla="*/ 86400 w 518401"/>
              <a:gd name="connsiteY28" fmla="*/ 438112 h 518367"/>
              <a:gd name="connsiteX29" fmla="*/ 1 w 518401"/>
              <a:gd name="connsiteY29" fmla="*/ 350481 h 518367"/>
              <a:gd name="connsiteX30" fmla="*/ 1 w 518401"/>
              <a:gd name="connsiteY30" fmla="*/ 87610 h 518367"/>
              <a:gd name="connsiteX31" fmla="*/ 86400 w 518401"/>
              <a:gd name="connsiteY31" fmla="*/ 0 h 5183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518401" h="518367">
                <a:moveTo>
                  <a:pt x="245303" y="264602"/>
                </a:moveTo>
                <a:cubicBezTo>
                  <a:pt x="202193" y="270039"/>
                  <a:pt x="164418" y="300564"/>
                  <a:pt x="151892" y="345016"/>
                </a:cubicBezTo>
                <a:cubicBezTo>
                  <a:pt x="148874" y="356564"/>
                  <a:pt x="155788" y="368372"/>
                  <a:pt x="167335" y="371390"/>
                </a:cubicBezTo>
                <a:cubicBezTo>
                  <a:pt x="178883" y="374408"/>
                  <a:pt x="190691" y="367494"/>
                  <a:pt x="193709" y="355946"/>
                </a:cubicBezTo>
                <a:cubicBezTo>
                  <a:pt x="200364" y="334178"/>
                  <a:pt x="217403" y="317139"/>
                  <a:pt x="239171" y="310484"/>
                </a:cubicBezTo>
                <a:cubicBezTo>
                  <a:pt x="275335" y="299429"/>
                  <a:pt x="313614" y="319783"/>
                  <a:pt x="324670" y="355946"/>
                </a:cubicBezTo>
                <a:cubicBezTo>
                  <a:pt x="324683" y="355999"/>
                  <a:pt x="324696" y="356051"/>
                  <a:pt x="324709" y="356103"/>
                </a:cubicBezTo>
                <a:cubicBezTo>
                  <a:pt x="327659" y="367662"/>
                  <a:pt x="339420" y="374642"/>
                  <a:pt x="350979" y="371693"/>
                </a:cubicBezTo>
                <a:cubicBezTo>
                  <a:pt x="362600" y="368568"/>
                  <a:pt x="369538" y="356668"/>
                  <a:pt x="366531" y="345016"/>
                </a:cubicBezTo>
                <a:cubicBezTo>
                  <a:pt x="356004" y="307660"/>
                  <a:pt x="326809" y="278466"/>
                  <a:pt x="289453" y="267939"/>
                </a:cubicBezTo>
                <a:cubicBezTo>
                  <a:pt x="274636" y="263764"/>
                  <a:pt x="259673" y="262789"/>
                  <a:pt x="245303" y="264602"/>
                </a:cubicBezTo>
                <a:close/>
                <a:moveTo>
                  <a:pt x="259200" y="105823"/>
                </a:moveTo>
                <a:cubicBezTo>
                  <a:pt x="277368" y="105823"/>
                  <a:pt x="292097" y="120552"/>
                  <a:pt x="292097" y="138720"/>
                </a:cubicBezTo>
                <a:cubicBezTo>
                  <a:pt x="292097" y="156888"/>
                  <a:pt x="277368" y="171617"/>
                  <a:pt x="259200" y="171617"/>
                </a:cubicBezTo>
                <a:cubicBezTo>
                  <a:pt x="241032" y="171617"/>
                  <a:pt x="226303" y="156888"/>
                  <a:pt x="226303" y="138720"/>
                </a:cubicBezTo>
                <a:cubicBezTo>
                  <a:pt x="226303" y="120552"/>
                  <a:pt x="241032" y="105823"/>
                  <a:pt x="259200" y="105823"/>
                </a:cubicBezTo>
                <a:close/>
                <a:moveTo>
                  <a:pt x="259201" y="65707"/>
                </a:moveTo>
                <a:cubicBezTo>
                  <a:pt x="159538" y="68407"/>
                  <a:pt x="159517" y="216410"/>
                  <a:pt x="259201" y="219068"/>
                </a:cubicBezTo>
                <a:cubicBezTo>
                  <a:pt x="358863" y="216411"/>
                  <a:pt x="358884" y="68343"/>
                  <a:pt x="259201" y="65707"/>
                </a:cubicBezTo>
                <a:close/>
                <a:moveTo>
                  <a:pt x="86400" y="0"/>
                </a:moveTo>
                <a:lnTo>
                  <a:pt x="432001" y="0"/>
                </a:lnTo>
                <a:cubicBezTo>
                  <a:pt x="480033" y="380"/>
                  <a:pt x="518688" y="39577"/>
                  <a:pt x="518400" y="87610"/>
                </a:cubicBezTo>
                <a:lnTo>
                  <a:pt x="518400" y="350460"/>
                </a:lnTo>
                <a:cubicBezTo>
                  <a:pt x="518687" y="398496"/>
                  <a:pt x="480035" y="437699"/>
                  <a:pt x="432000" y="438091"/>
                </a:cubicBezTo>
                <a:lnTo>
                  <a:pt x="370375" y="438091"/>
                </a:lnTo>
                <a:lnTo>
                  <a:pt x="287323" y="507729"/>
                </a:lnTo>
                <a:cubicBezTo>
                  <a:pt x="271033" y="522102"/>
                  <a:pt x="246529" y="521887"/>
                  <a:pt x="230493" y="507232"/>
                </a:cubicBezTo>
                <a:lnTo>
                  <a:pt x="149537" y="438112"/>
                </a:lnTo>
                <a:lnTo>
                  <a:pt x="86400" y="438112"/>
                </a:lnTo>
                <a:cubicBezTo>
                  <a:pt x="38365" y="437720"/>
                  <a:pt x="-287" y="398517"/>
                  <a:pt x="1" y="350481"/>
                </a:cubicBezTo>
                <a:lnTo>
                  <a:pt x="1" y="87610"/>
                </a:lnTo>
                <a:cubicBezTo>
                  <a:pt x="-287" y="39577"/>
                  <a:pt x="38368" y="380"/>
                  <a:pt x="86400" y="0"/>
                </a:cubicBezTo>
                <a:close/>
              </a:path>
            </a:pathLst>
          </a:custGeom>
          <a:gradFill flip="none" rotWithShape="1">
            <a:gsLst>
              <a:gs pos="10000">
                <a:schemeClr val="accent1"/>
              </a:gs>
              <a:gs pos="100000">
                <a:schemeClr val="accent2">
                  <a:lumMod val="75000"/>
                  <a:alpha val="0"/>
                </a:schemeClr>
              </a:gs>
            </a:gsLst>
            <a:path path="circle">
              <a:fillToRect l="100000" t="100000"/>
            </a:path>
            <a:tileRect r="-100000" b="-100000"/>
          </a:gradFill>
          <a:ln w="30163"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black"/>
              </a:solidFill>
              <a:effectLst/>
              <a:uLnTx/>
              <a:uFillTx/>
              <a:latin typeface="Roboto Light"/>
              <a:ea typeface="OPPOSans L" panose="00020600040101010101" pitchFamily="18" charset="-122"/>
              <a:cs typeface="+mn-cs"/>
            </a:endParaRPr>
          </a:p>
        </p:txBody>
      </p:sp>
      <p:sp>
        <p:nvSpPr>
          <p:cNvPr id="24" name="矩形: 圆角 23">
            <a:extLst>
              <a:ext uri="{FF2B5EF4-FFF2-40B4-BE49-F238E27FC236}">
                <a16:creationId xmlns:a16="http://schemas.microsoft.com/office/drawing/2014/main" id="{1F132ED0-3258-4A5A-8C00-34555E07818E}"/>
              </a:ext>
            </a:extLst>
          </p:cNvPr>
          <p:cNvSpPr/>
          <p:nvPr/>
        </p:nvSpPr>
        <p:spPr>
          <a:xfrm>
            <a:off x="4763152" y="4184752"/>
            <a:ext cx="1330747" cy="1330747"/>
          </a:xfrm>
          <a:prstGeom prst="roundRect">
            <a:avLst>
              <a:gd name="adj" fmla="val 36905"/>
            </a:avLst>
          </a:prstGeom>
          <a:noFill/>
          <a:ln w="165100">
            <a:gradFill flip="none" rotWithShape="1">
              <a:gsLst>
                <a:gs pos="100000">
                  <a:schemeClr val="accent1"/>
                </a:gs>
                <a:gs pos="59000">
                  <a:schemeClr val="bg1">
                    <a:alpha val="0"/>
                  </a:schemeClr>
                </a:gs>
                <a:gs pos="74000">
                  <a:schemeClr val="accent2">
                    <a:lumMod val="75000"/>
                  </a:schemeClr>
                </a:gs>
              </a:gsLst>
              <a:lin ang="189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white"/>
              </a:solidFill>
              <a:effectLst/>
              <a:uLnTx/>
              <a:uFillTx/>
              <a:latin typeface="Roboto Light"/>
              <a:ea typeface="OPPOSans L" panose="00020600040101010101" pitchFamily="18" charset="-122"/>
              <a:cs typeface="+mn-cs"/>
            </a:endParaRPr>
          </a:p>
        </p:txBody>
      </p:sp>
      <p:sp>
        <p:nvSpPr>
          <p:cNvPr id="25" name="椭圆 24">
            <a:extLst>
              <a:ext uri="{FF2B5EF4-FFF2-40B4-BE49-F238E27FC236}">
                <a16:creationId xmlns:a16="http://schemas.microsoft.com/office/drawing/2014/main" id="{2A60A1FE-E162-4156-90F5-C24C0B052613}"/>
              </a:ext>
            </a:extLst>
          </p:cNvPr>
          <p:cNvSpPr/>
          <p:nvPr/>
        </p:nvSpPr>
        <p:spPr>
          <a:xfrm rot="18900000" flipH="1">
            <a:off x="4769077" y="3816061"/>
            <a:ext cx="737382" cy="737382"/>
          </a:xfrm>
          <a:prstGeom prst="ellipse">
            <a:avLst/>
          </a:prstGeom>
          <a:solidFill>
            <a:schemeClr val="bg1"/>
          </a:solidFill>
          <a:ln w="19050">
            <a:gradFill flip="none" rotWithShape="1">
              <a:gsLst>
                <a:gs pos="45000">
                  <a:schemeClr val="accent2"/>
                </a:gs>
                <a:gs pos="80000">
                  <a:schemeClr val="accent2">
                    <a:lumMod val="75000"/>
                    <a:alpha val="88000"/>
                  </a:schemeClr>
                </a:gs>
                <a:gs pos="99000">
                  <a:schemeClr val="accent1"/>
                </a:gs>
              </a:gsLst>
              <a:lin ang="189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white"/>
              </a:solidFill>
              <a:effectLst/>
              <a:uLnTx/>
              <a:uFillTx/>
              <a:latin typeface="Roboto Light"/>
              <a:ea typeface="OPPOSans L" panose="00020600040101010101" pitchFamily="18" charset="-122"/>
              <a:cs typeface="+mn-cs"/>
            </a:endParaRPr>
          </a:p>
        </p:txBody>
      </p:sp>
      <p:sp>
        <p:nvSpPr>
          <p:cNvPr id="28" name="任意多边形: 形状 27">
            <a:extLst>
              <a:ext uri="{FF2B5EF4-FFF2-40B4-BE49-F238E27FC236}">
                <a16:creationId xmlns:a16="http://schemas.microsoft.com/office/drawing/2014/main" id="{1D1182F0-FD1F-4AD5-8B3D-7238707ADFB8}"/>
              </a:ext>
            </a:extLst>
          </p:cNvPr>
          <p:cNvSpPr/>
          <p:nvPr/>
        </p:nvSpPr>
        <p:spPr>
          <a:xfrm>
            <a:off x="4976882" y="4023866"/>
            <a:ext cx="321773" cy="321773"/>
          </a:xfrm>
          <a:custGeom>
            <a:avLst/>
            <a:gdLst>
              <a:gd name="connsiteX0" fmla="*/ 334950 w 730800"/>
              <a:gd name="connsiteY0" fmla="*/ 395849 h 730800"/>
              <a:gd name="connsiteX1" fmla="*/ 669900 w 730800"/>
              <a:gd name="connsiteY1" fmla="*/ 395849 h 730800"/>
              <a:gd name="connsiteX2" fmla="*/ 703943 w 730800"/>
              <a:gd name="connsiteY2" fmla="*/ 406263 h 730800"/>
              <a:gd name="connsiteX3" fmla="*/ 730800 w 730800"/>
              <a:gd name="connsiteY3" fmla="*/ 456750 h 730800"/>
              <a:gd name="connsiteX4" fmla="*/ 730800 w 730800"/>
              <a:gd name="connsiteY4" fmla="*/ 669899 h 730800"/>
              <a:gd name="connsiteX5" fmla="*/ 669901 w 730800"/>
              <a:gd name="connsiteY5" fmla="*/ 730800 h 730800"/>
              <a:gd name="connsiteX6" fmla="*/ 334950 w 730800"/>
              <a:gd name="connsiteY6" fmla="*/ 730800 h 730800"/>
              <a:gd name="connsiteX7" fmla="*/ 274050 w 730800"/>
              <a:gd name="connsiteY7" fmla="*/ 669899 h 730800"/>
              <a:gd name="connsiteX8" fmla="*/ 274050 w 730800"/>
              <a:gd name="connsiteY8" fmla="*/ 456750 h 730800"/>
              <a:gd name="connsiteX9" fmla="*/ 334950 w 730800"/>
              <a:gd name="connsiteY9" fmla="*/ 395849 h 730800"/>
              <a:gd name="connsiteX10" fmla="*/ 60899 w 730800"/>
              <a:gd name="connsiteY10" fmla="*/ 395849 h 730800"/>
              <a:gd name="connsiteX11" fmla="*/ 152249 w 730800"/>
              <a:gd name="connsiteY11" fmla="*/ 395849 h 730800"/>
              <a:gd name="connsiteX12" fmla="*/ 186293 w 730800"/>
              <a:gd name="connsiteY12" fmla="*/ 406263 h 730800"/>
              <a:gd name="connsiteX13" fmla="*/ 213151 w 730800"/>
              <a:gd name="connsiteY13" fmla="*/ 456750 h 730800"/>
              <a:gd name="connsiteX14" fmla="*/ 213151 w 730800"/>
              <a:gd name="connsiteY14" fmla="*/ 669899 h 730800"/>
              <a:gd name="connsiteX15" fmla="*/ 152250 w 730800"/>
              <a:gd name="connsiteY15" fmla="*/ 730800 h 730800"/>
              <a:gd name="connsiteX16" fmla="*/ 60900 w 730800"/>
              <a:gd name="connsiteY16" fmla="*/ 730800 h 730800"/>
              <a:gd name="connsiteX17" fmla="*/ 0 w 730800"/>
              <a:gd name="connsiteY17" fmla="*/ 669899 h 730800"/>
              <a:gd name="connsiteX18" fmla="*/ 0 w 730800"/>
              <a:gd name="connsiteY18" fmla="*/ 456750 h 730800"/>
              <a:gd name="connsiteX19" fmla="*/ 60899 w 730800"/>
              <a:gd name="connsiteY19" fmla="*/ 395849 h 730800"/>
              <a:gd name="connsiteX20" fmla="*/ 578550 w 730800"/>
              <a:gd name="connsiteY20" fmla="*/ 0 h 730800"/>
              <a:gd name="connsiteX21" fmla="*/ 669900 w 730800"/>
              <a:gd name="connsiteY21" fmla="*/ 0 h 730800"/>
              <a:gd name="connsiteX22" fmla="*/ 720386 w 730800"/>
              <a:gd name="connsiteY22" fmla="*/ 26857 h 730800"/>
              <a:gd name="connsiteX23" fmla="*/ 730800 w 730800"/>
              <a:gd name="connsiteY23" fmla="*/ 60900 h 730800"/>
              <a:gd name="connsiteX24" fmla="*/ 730800 w 730800"/>
              <a:gd name="connsiteY24" fmla="*/ 274050 h 730800"/>
              <a:gd name="connsiteX25" fmla="*/ 669900 w 730800"/>
              <a:gd name="connsiteY25" fmla="*/ 334951 h 730800"/>
              <a:gd name="connsiteX26" fmla="*/ 578550 w 730800"/>
              <a:gd name="connsiteY26" fmla="*/ 334951 h 730800"/>
              <a:gd name="connsiteX27" fmla="*/ 517649 w 730800"/>
              <a:gd name="connsiteY27" fmla="*/ 274050 h 730800"/>
              <a:gd name="connsiteX28" fmla="*/ 517649 w 730800"/>
              <a:gd name="connsiteY28" fmla="*/ 60900 h 730800"/>
              <a:gd name="connsiteX29" fmla="*/ 578550 w 730800"/>
              <a:gd name="connsiteY29" fmla="*/ 0 h 730800"/>
              <a:gd name="connsiteX30" fmla="*/ 60900 w 730800"/>
              <a:gd name="connsiteY30" fmla="*/ 0 h 730800"/>
              <a:gd name="connsiteX31" fmla="*/ 395850 w 730800"/>
              <a:gd name="connsiteY31" fmla="*/ 0 h 730800"/>
              <a:gd name="connsiteX32" fmla="*/ 456750 w 730800"/>
              <a:gd name="connsiteY32" fmla="*/ 60900 h 730800"/>
              <a:gd name="connsiteX33" fmla="*/ 456750 w 730800"/>
              <a:gd name="connsiteY33" fmla="*/ 274050 h 730800"/>
              <a:gd name="connsiteX34" fmla="*/ 395851 w 730800"/>
              <a:gd name="connsiteY34" fmla="*/ 334951 h 730800"/>
              <a:gd name="connsiteX35" fmla="*/ 60900 w 730800"/>
              <a:gd name="connsiteY35" fmla="*/ 334951 h 730800"/>
              <a:gd name="connsiteX36" fmla="*/ 0 w 730800"/>
              <a:gd name="connsiteY36" fmla="*/ 274050 h 730800"/>
              <a:gd name="connsiteX37" fmla="*/ 0 w 730800"/>
              <a:gd name="connsiteY37" fmla="*/ 60900 h 730800"/>
              <a:gd name="connsiteX38" fmla="*/ 60900 w 730800"/>
              <a:gd name="connsiteY38" fmla="*/ 0 h 730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730800" h="730800">
                <a:moveTo>
                  <a:pt x="334950" y="395849"/>
                </a:moveTo>
                <a:lnTo>
                  <a:pt x="669900" y="395849"/>
                </a:lnTo>
                <a:cubicBezTo>
                  <a:pt x="682035" y="395829"/>
                  <a:pt x="693896" y="399457"/>
                  <a:pt x="703943" y="406263"/>
                </a:cubicBezTo>
                <a:cubicBezTo>
                  <a:pt x="720732" y="417582"/>
                  <a:pt x="730797" y="436503"/>
                  <a:pt x="730800" y="456750"/>
                </a:cubicBezTo>
                <a:lnTo>
                  <a:pt x="730800" y="669899"/>
                </a:lnTo>
                <a:cubicBezTo>
                  <a:pt x="730800" y="703534"/>
                  <a:pt x="703535" y="730800"/>
                  <a:pt x="669901" y="730800"/>
                </a:cubicBezTo>
                <a:lnTo>
                  <a:pt x="334950" y="730800"/>
                </a:lnTo>
                <a:cubicBezTo>
                  <a:pt x="301317" y="730800"/>
                  <a:pt x="274050" y="703534"/>
                  <a:pt x="274050" y="669899"/>
                </a:cubicBezTo>
                <a:lnTo>
                  <a:pt x="274050" y="456750"/>
                </a:lnTo>
                <a:cubicBezTo>
                  <a:pt x="274050" y="423116"/>
                  <a:pt x="301317" y="395849"/>
                  <a:pt x="334950" y="395849"/>
                </a:cubicBezTo>
                <a:close/>
                <a:moveTo>
                  <a:pt x="60899" y="395849"/>
                </a:moveTo>
                <a:lnTo>
                  <a:pt x="152249" y="395849"/>
                </a:lnTo>
                <a:cubicBezTo>
                  <a:pt x="164384" y="395829"/>
                  <a:pt x="176246" y="399457"/>
                  <a:pt x="186293" y="406263"/>
                </a:cubicBezTo>
                <a:cubicBezTo>
                  <a:pt x="203081" y="417582"/>
                  <a:pt x="213147" y="436503"/>
                  <a:pt x="213151" y="456750"/>
                </a:cubicBezTo>
                <a:lnTo>
                  <a:pt x="213151" y="669899"/>
                </a:lnTo>
                <a:cubicBezTo>
                  <a:pt x="213151" y="703533"/>
                  <a:pt x="185884" y="730800"/>
                  <a:pt x="152250" y="730800"/>
                </a:cubicBezTo>
                <a:lnTo>
                  <a:pt x="60900" y="730800"/>
                </a:lnTo>
                <a:cubicBezTo>
                  <a:pt x="27267" y="730800"/>
                  <a:pt x="0" y="703534"/>
                  <a:pt x="0" y="669899"/>
                </a:cubicBezTo>
                <a:lnTo>
                  <a:pt x="0" y="456750"/>
                </a:lnTo>
                <a:cubicBezTo>
                  <a:pt x="0" y="423116"/>
                  <a:pt x="27267" y="395849"/>
                  <a:pt x="60899" y="395849"/>
                </a:cubicBezTo>
                <a:close/>
                <a:moveTo>
                  <a:pt x="578550" y="0"/>
                </a:moveTo>
                <a:lnTo>
                  <a:pt x="669900" y="0"/>
                </a:lnTo>
                <a:cubicBezTo>
                  <a:pt x="690146" y="3"/>
                  <a:pt x="709069" y="10068"/>
                  <a:pt x="720386" y="26857"/>
                </a:cubicBezTo>
                <a:cubicBezTo>
                  <a:pt x="727192" y="36904"/>
                  <a:pt x="730820" y="48765"/>
                  <a:pt x="730800" y="60900"/>
                </a:cubicBezTo>
                <a:lnTo>
                  <a:pt x="730800" y="274050"/>
                </a:lnTo>
                <a:cubicBezTo>
                  <a:pt x="730800" y="307684"/>
                  <a:pt x="703535" y="334951"/>
                  <a:pt x="669900" y="334951"/>
                </a:cubicBezTo>
                <a:lnTo>
                  <a:pt x="578550" y="334951"/>
                </a:lnTo>
                <a:cubicBezTo>
                  <a:pt x="544914" y="334951"/>
                  <a:pt x="517649" y="307684"/>
                  <a:pt x="517649" y="274050"/>
                </a:cubicBezTo>
                <a:lnTo>
                  <a:pt x="517649" y="60900"/>
                </a:lnTo>
                <a:cubicBezTo>
                  <a:pt x="517649" y="27267"/>
                  <a:pt x="544916" y="0"/>
                  <a:pt x="578550" y="0"/>
                </a:cubicBezTo>
                <a:close/>
                <a:moveTo>
                  <a:pt x="60900" y="0"/>
                </a:moveTo>
                <a:lnTo>
                  <a:pt x="395850" y="0"/>
                </a:lnTo>
                <a:cubicBezTo>
                  <a:pt x="429483" y="0"/>
                  <a:pt x="456750" y="27267"/>
                  <a:pt x="456750" y="60900"/>
                </a:cubicBezTo>
                <a:lnTo>
                  <a:pt x="456750" y="274050"/>
                </a:lnTo>
                <a:cubicBezTo>
                  <a:pt x="456750" y="307684"/>
                  <a:pt x="429483" y="334951"/>
                  <a:pt x="395851" y="334951"/>
                </a:cubicBezTo>
                <a:lnTo>
                  <a:pt x="60900" y="334951"/>
                </a:lnTo>
                <a:cubicBezTo>
                  <a:pt x="27267" y="334951"/>
                  <a:pt x="0" y="307684"/>
                  <a:pt x="0" y="274050"/>
                </a:cubicBezTo>
                <a:lnTo>
                  <a:pt x="0" y="60900"/>
                </a:lnTo>
                <a:cubicBezTo>
                  <a:pt x="0" y="27267"/>
                  <a:pt x="27267" y="0"/>
                  <a:pt x="60900" y="0"/>
                </a:cubicBezTo>
                <a:close/>
              </a:path>
            </a:pathLst>
          </a:custGeom>
          <a:gradFill flip="none" rotWithShape="1">
            <a:gsLst>
              <a:gs pos="10000">
                <a:schemeClr val="accent1"/>
              </a:gs>
              <a:gs pos="100000">
                <a:schemeClr val="accent2">
                  <a:lumMod val="75000"/>
                  <a:alpha val="0"/>
                </a:schemeClr>
              </a:gs>
            </a:gsLst>
            <a:path path="circle">
              <a:fillToRect l="100000" t="100000"/>
            </a:path>
            <a:tileRect r="-100000" b="-100000"/>
          </a:gradFill>
          <a:ln w="30163"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black"/>
              </a:solidFill>
              <a:effectLst/>
              <a:uLnTx/>
              <a:uFillTx/>
              <a:latin typeface="Roboto Light"/>
              <a:ea typeface="OPPOSans L" panose="00020600040101010101" pitchFamily="18" charset="-122"/>
              <a:cs typeface="+mn-cs"/>
            </a:endParaRPr>
          </a:p>
        </p:txBody>
      </p:sp>
      <p:sp>
        <p:nvSpPr>
          <p:cNvPr id="39" name="矩形: 圆角 38">
            <a:extLst>
              <a:ext uri="{FF2B5EF4-FFF2-40B4-BE49-F238E27FC236}">
                <a16:creationId xmlns:a16="http://schemas.microsoft.com/office/drawing/2014/main" id="{78B17B66-B62B-4946-8166-16C4EFCA7F0C}"/>
              </a:ext>
            </a:extLst>
          </p:cNvPr>
          <p:cNvSpPr/>
          <p:nvPr/>
        </p:nvSpPr>
        <p:spPr>
          <a:xfrm>
            <a:off x="4763152" y="3080200"/>
            <a:ext cx="1330747" cy="1330747"/>
          </a:xfrm>
          <a:prstGeom prst="roundRect">
            <a:avLst>
              <a:gd name="adj" fmla="val 36905"/>
            </a:avLst>
          </a:prstGeom>
          <a:noFill/>
          <a:ln w="165100">
            <a:gradFill flip="none" rotWithShape="1">
              <a:gsLst>
                <a:gs pos="100000">
                  <a:schemeClr val="accent1"/>
                </a:gs>
                <a:gs pos="59000">
                  <a:schemeClr val="bg1">
                    <a:alpha val="0"/>
                  </a:schemeClr>
                </a:gs>
                <a:gs pos="74000">
                  <a:schemeClr val="accent2">
                    <a:lumMod val="75000"/>
                  </a:schemeClr>
                </a:gs>
              </a:gsLst>
              <a:lin ang="189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white"/>
              </a:solidFill>
              <a:effectLst/>
              <a:uLnTx/>
              <a:uFillTx/>
              <a:latin typeface="Roboto Light"/>
              <a:ea typeface="OPPOSans L" panose="00020600040101010101" pitchFamily="18" charset="-122"/>
              <a:cs typeface="+mn-cs"/>
            </a:endParaRPr>
          </a:p>
        </p:txBody>
      </p:sp>
      <p:sp>
        <p:nvSpPr>
          <p:cNvPr id="40" name="椭圆 39">
            <a:extLst>
              <a:ext uri="{FF2B5EF4-FFF2-40B4-BE49-F238E27FC236}">
                <a16:creationId xmlns:a16="http://schemas.microsoft.com/office/drawing/2014/main" id="{64206046-1012-445B-ACD9-EAACEA466C43}"/>
              </a:ext>
            </a:extLst>
          </p:cNvPr>
          <p:cNvSpPr/>
          <p:nvPr/>
        </p:nvSpPr>
        <p:spPr>
          <a:xfrm rot="18900000" flipH="1">
            <a:off x="4769077" y="2711509"/>
            <a:ext cx="737382" cy="737382"/>
          </a:xfrm>
          <a:prstGeom prst="ellipse">
            <a:avLst/>
          </a:prstGeom>
          <a:solidFill>
            <a:schemeClr val="bg1"/>
          </a:solidFill>
          <a:ln w="19050">
            <a:gradFill flip="none" rotWithShape="1">
              <a:gsLst>
                <a:gs pos="45000">
                  <a:schemeClr val="accent2"/>
                </a:gs>
                <a:gs pos="80000">
                  <a:schemeClr val="accent2">
                    <a:lumMod val="75000"/>
                    <a:alpha val="88000"/>
                  </a:schemeClr>
                </a:gs>
                <a:gs pos="99000">
                  <a:schemeClr val="accent1"/>
                </a:gs>
              </a:gsLst>
              <a:lin ang="189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white"/>
              </a:solidFill>
              <a:effectLst/>
              <a:uLnTx/>
              <a:uFillTx/>
              <a:latin typeface="Roboto Light"/>
              <a:ea typeface="OPPOSans L" panose="00020600040101010101" pitchFamily="18" charset="-122"/>
              <a:cs typeface="+mn-cs"/>
            </a:endParaRPr>
          </a:p>
        </p:txBody>
      </p:sp>
      <p:sp>
        <p:nvSpPr>
          <p:cNvPr id="56" name="任意多边形: 形状 55">
            <a:extLst>
              <a:ext uri="{FF2B5EF4-FFF2-40B4-BE49-F238E27FC236}">
                <a16:creationId xmlns:a16="http://schemas.microsoft.com/office/drawing/2014/main" id="{8C8FC94D-238B-4CB2-A228-8845F9455B51}"/>
              </a:ext>
            </a:extLst>
          </p:cNvPr>
          <p:cNvSpPr/>
          <p:nvPr/>
        </p:nvSpPr>
        <p:spPr>
          <a:xfrm>
            <a:off x="4977568" y="2920000"/>
            <a:ext cx="320400" cy="320400"/>
          </a:xfrm>
          <a:custGeom>
            <a:avLst/>
            <a:gdLst>
              <a:gd name="connsiteX0" fmla="*/ 274050 w 730865"/>
              <a:gd name="connsiteY0" fmla="*/ 426299 h 730799"/>
              <a:gd name="connsiteX1" fmla="*/ 548099 w 730865"/>
              <a:gd name="connsiteY1" fmla="*/ 700349 h 730799"/>
              <a:gd name="connsiteX2" fmla="*/ 517649 w 730865"/>
              <a:gd name="connsiteY2" fmla="*/ 730799 h 730799"/>
              <a:gd name="connsiteX3" fmla="*/ 30450 w 730865"/>
              <a:gd name="connsiteY3" fmla="*/ 730799 h 730799"/>
              <a:gd name="connsiteX4" fmla="*/ 0 w 730865"/>
              <a:gd name="connsiteY4" fmla="*/ 700349 h 730799"/>
              <a:gd name="connsiteX5" fmla="*/ 274050 w 730865"/>
              <a:gd name="connsiteY5" fmla="*/ 426299 h 730799"/>
              <a:gd name="connsiteX6" fmla="*/ 548098 w 730865"/>
              <a:gd name="connsiteY6" fmla="*/ 239794 h 730799"/>
              <a:gd name="connsiteX7" fmla="*/ 608998 w 730865"/>
              <a:gd name="connsiteY7" fmla="*/ 306784 h 730799"/>
              <a:gd name="connsiteX8" fmla="*/ 669899 w 730865"/>
              <a:gd name="connsiteY8" fmla="*/ 239794 h 730799"/>
              <a:gd name="connsiteX9" fmla="*/ 730798 w 730865"/>
              <a:gd name="connsiteY9" fmla="*/ 306784 h 730799"/>
              <a:gd name="connsiteX10" fmla="*/ 627876 w 730865"/>
              <a:gd name="connsiteY10" fmla="*/ 448650 h 730799"/>
              <a:gd name="connsiteX11" fmla="*/ 590119 w 730865"/>
              <a:gd name="connsiteY11" fmla="*/ 448650 h 730799"/>
              <a:gd name="connsiteX12" fmla="*/ 487197 w 730865"/>
              <a:gd name="connsiteY12" fmla="*/ 306784 h 730799"/>
              <a:gd name="connsiteX13" fmla="*/ 548098 w 730865"/>
              <a:gd name="connsiteY13" fmla="*/ 239794 h 730799"/>
              <a:gd name="connsiteX14" fmla="*/ 274050 w 730865"/>
              <a:gd name="connsiteY14" fmla="*/ 0 h 730799"/>
              <a:gd name="connsiteX15" fmla="*/ 456750 w 730865"/>
              <a:gd name="connsiteY15" fmla="*/ 182700 h 730799"/>
              <a:gd name="connsiteX16" fmla="*/ 274050 w 730865"/>
              <a:gd name="connsiteY16" fmla="*/ 365400 h 730799"/>
              <a:gd name="connsiteX17" fmla="*/ 91350 w 730865"/>
              <a:gd name="connsiteY17" fmla="*/ 182700 h 730799"/>
              <a:gd name="connsiteX18" fmla="*/ 274050 w 730865"/>
              <a:gd name="connsiteY18" fmla="*/ 0 h 730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730865" h="730799">
                <a:moveTo>
                  <a:pt x="274050" y="426299"/>
                </a:moveTo>
                <a:cubicBezTo>
                  <a:pt x="425327" y="426485"/>
                  <a:pt x="547916" y="549072"/>
                  <a:pt x="548099" y="700349"/>
                </a:cubicBezTo>
                <a:cubicBezTo>
                  <a:pt x="548099" y="717166"/>
                  <a:pt x="534466" y="730799"/>
                  <a:pt x="517649" y="730799"/>
                </a:cubicBezTo>
                <a:lnTo>
                  <a:pt x="30450" y="730799"/>
                </a:lnTo>
                <a:cubicBezTo>
                  <a:pt x="13633" y="730799"/>
                  <a:pt x="0" y="717166"/>
                  <a:pt x="0" y="700349"/>
                </a:cubicBezTo>
                <a:cubicBezTo>
                  <a:pt x="184" y="549072"/>
                  <a:pt x="122773" y="426485"/>
                  <a:pt x="274050" y="426299"/>
                </a:cubicBezTo>
                <a:close/>
                <a:moveTo>
                  <a:pt x="548098" y="239794"/>
                </a:moveTo>
                <a:cubicBezTo>
                  <a:pt x="583379" y="241551"/>
                  <a:pt x="610601" y="271497"/>
                  <a:pt x="608998" y="306784"/>
                </a:cubicBezTo>
                <a:cubicBezTo>
                  <a:pt x="607395" y="271497"/>
                  <a:pt x="634619" y="241551"/>
                  <a:pt x="669899" y="239794"/>
                </a:cubicBezTo>
                <a:cubicBezTo>
                  <a:pt x="705180" y="241551"/>
                  <a:pt x="732402" y="271495"/>
                  <a:pt x="730798" y="306784"/>
                </a:cubicBezTo>
                <a:cubicBezTo>
                  <a:pt x="730798" y="359462"/>
                  <a:pt x="662103" y="421245"/>
                  <a:pt x="627876" y="448650"/>
                </a:cubicBezTo>
                <a:cubicBezTo>
                  <a:pt x="616842" y="457485"/>
                  <a:pt x="601154" y="457485"/>
                  <a:pt x="590119" y="448650"/>
                </a:cubicBezTo>
                <a:cubicBezTo>
                  <a:pt x="555892" y="421184"/>
                  <a:pt x="487197" y="359462"/>
                  <a:pt x="487197" y="306784"/>
                </a:cubicBezTo>
                <a:cubicBezTo>
                  <a:pt x="485594" y="271497"/>
                  <a:pt x="512818" y="241551"/>
                  <a:pt x="548098" y="239794"/>
                </a:cubicBezTo>
                <a:close/>
                <a:moveTo>
                  <a:pt x="274050" y="0"/>
                </a:moveTo>
                <a:cubicBezTo>
                  <a:pt x="374952" y="0"/>
                  <a:pt x="456750" y="81798"/>
                  <a:pt x="456750" y="182700"/>
                </a:cubicBezTo>
                <a:cubicBezTo>
                  <a:pt x="456750" y="283602"/>
                  <a:pt x="374952" y="365400"/>
                  <a:pt x="274050" y="365400"/>
                </a:cubicBezTo>
                <a:cubicBezTo>
                  <a:pt x="173148" y="365400"/>
                  <a:pt x="91350" y="283602"/>
                  <a:pt x="91350" y="182700"/>
                </a:cubicBezTo>
                <a:cubicBezTo>
                  <a:pt x="91350" y="81798"/>
                  <a:pt x="173148" y="0"/>
                  <a:pt x="274050" y="0"/>
                </a:cubicBezTo>
                <a:close/>
              </a:path>
            </a:pathLst>
          </a:custGeom>
          <a:gradFill flip="none" rotWithShape="1">
            <a:gsLst>
              <a:gs pos="10000">
                <a:schemeClr val="accent1"/>
              </a:gs>
              <a:gs pos="100000">
                <a:schemeClr val="accent2">
                  <a:lumMod val="75000"/>
                  <a:alpha val="0"/>
                </a:schemeClr>
              </a:gs>
            </a:gsLst>
            <a:path path="circle">
              <a:fillToRect l="100000" t="100000"/>
            </a:path>
            <a:tileRect r="-100000" b="-100000"/>
          </a:gradFill>
          <a:ln w="30163"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black"/>
              </a:solidFill>
              <a:effectLst/>
              <a:uLnTx/>
              <a:uFillTx/>
              <a:latin typeface="Roboto Light"/>
              <a:ea typeface="OPPOSans L" panose="00020600040101010101" pitchFamily="18" charset="-122"/>
              <a:cs typeface="+mn-cs"/>
            </a:endParaRPr>
          </a:p>
        </p:txBody>
      </p:sp>
      <p:sp>
        <p:nvSpPr>
          <p:cNvPr id="42" name="矩形: 圆角 41">
            <a:extLst>
              <a:ext uri="{FF2B5EF4-FFF2-40B4-BE49-F238E27FC236}">
                <a16:creationId xmlns:a16="http://schemas.microsoft.com/office/drawing/2014/main" id="{4FD688A1-9E6F-46A6-BE3A-59916985CFE7}"/>
              </a:ext>
            </a:extLst>
          </p:cNvPr>
          <p:cNvSpPr/>
          <p:nvPr/>
        </p:nvSpPr>
        <p:spPr>
          <a:xfrm flipH="1">
            <a:off x="6098034" y="2487274"/>
            <a:ext cx="1330747" cy="1330747"/>
          </a:xfrm>
          <a:prstGeom prst="roundRect">
            <a:avLst>
              <a:gd name="adj" fmla="val 36905"/>
            </a:avLst>
          </a:prstGeom>
          <a:noFill/>
          <a:ln w="165100">
            <a:gradFill flip="none" rotWithShape="1">
              <a:gsLst>
                <a:gs pos="100000">
                  <a:schemeClr val="accent1"/>
                </a:gs>
                <a:gs pos="59000">
                  <a:schemeClr val="bg1">
                    <a:alpha val="0"/>
                  </a:schemeClr>
                </a:gs>
                <a:gs pos="74000">
                  <a:schemeClr val="accent2">
                    <a:lumMod val="75000"/>
                  </a:schemeClr>
                </a:gs>
              </a:gsLst>
              <a:lin ang="189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white"/>
              </a:solidFill>
              <a:effectLst/>
              <a:uLnTx/>
              <a:uFillTx/>
              <a:latin typeface="Roboto Light"/>
              <a:ea typeface="OPPOSans L" panose="00020600040101010101" pitchFamily="18" charset="-122"/>
              <a:cs typeface="+mn-cs"/>
            </a:endParaRPr>
          </a:p>
        </p:txBody>
      </p:sp>
      <p:sp>
        <p:nvSpPr>
          <p:cNvPr id="44" name="椭圆 43">
            <a:extLst>
              <a:ext uri="{FF2B5EF4-FFF2-40B4-BE49-F238E27FC236}">
                <a16:creationId xmlns:a16="http://schemas.microsoft.com/office/drawing/2014/main" id="{C525C31E-0B83-4EBE-B660-1ABF946D6870}"/>
              </a:ext>
            </a:extLst>
          </p:cNvPr>
          <p:cNvSpPr/>
          <p:nvPr/>
        </p:nvSpPr>
        <p:spPr>
          <a:xfrm rot="2700000">
            <a:off x="6691465" y="2113065"/>
            <a:ext cx="737382" cy="737382"/>
          </a:xfrm>
          <a:prstGeom prst="ellipse">
            <a:avLst/>
          </a:prstGeom>
          <a:solidFill>
            <a:schemeClr val="bg1"/>
          </a:solidFill>
          <a:ln w="19050">
            <a:gradFill flip="none" rotWithShape="1">
              <a:gsLst>
                <a:gs pos="45000">
                  <a:schemeClr val="accent2"/>
                </a:gs>
                <a:gs pos="80000">
                  <a:schemeClr val="accent2">
                    <a:lumMod val="75000"/>
                    <a:alpha val="88000"/>
                  </a:schemeClr>
                </a:gs>
                <a:gs pos="99000">
                  <a:schemeClr val="accent1"/>
                </a:gs>
              </a:gsLst>
              <a:lin ang="189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white"/>
              </a:solidFill>
              <a:effectLst/>
              <a:uLnTx/>
              <a:uFillTx/>
              <a:latin typeface="Roboto Light"/>
              <a:ea typeface="OPPOSans L" panose="00020600040101010101" pitchFamily="18" charset="-122"/>
              <a:cs typeface="+mn-cs"/>
            </a:endParaRPr>
          </a:p>
        </p:txBody>
      </p:sp>
      <p:sp>
        <p:nvSpPr>
          <p:cNvPr id="58" name="图形 54">
            <a:extLst>
              <a:ext uri="{FF2B5EF4-FFF2-40B4-BE49-F238E27FC236}">
                <a16:creationId xmlns:a16="http://schemas.microsoft.com/office/drawing/2014/main" id="{AFC8E5F2-8094-4B2A-898B-9536A92C40FD}"/>
              </a:ext>
            </a:extLst>
          </p:cNvPr>
          <p:cNvSpPr/>
          <p:nvPr/>
        </p:nvSpPr>
        <p:spPr>
          <a:xfrm>
            <a:off x="6899956" y="2321556"/>
            <a:ext cx="320400" cy="320400"/>
          </a:xfrm>
          <a:custGeom>
            <a:avLst/>
            <a:gdLst>
              <a:gd name="connsiteX0" fmla="*/ 2135495 w 2153315"/>
              <a:gd name="connsiteY0" fmla="*/ 731049 h 2152678"/>
              <a:gd name="connsiteX1" fmla="*/ 1829258 w 2153315"/>
              <a:gd name="connsiteY1" fmla="*/ 1664207 h 2152678"/>
              <a:gd name="connsiteX2" fmla="*/ 1564384 w 2153315"/>
              <a:gd name="connsiteY2" fmla="*/ 1951332 h 2152678"/>
              <a:gd name="connsiteX3" fmla="*/ 1615080 w 2153315"/>
              <a:gd name="connsiteY3" fmla="*/ 1704045 h 2152678"/>
              <a:gd name="connsiteX4" fmla="*/ 1615080 w 2153315"/>
              <a:gd name="connsiteY4" fmla="*/ 806779 h 2152678"/>
              <a:gd name="connsiteX5" fmla="*/ 986993 w 2153315"/>
              <a:gd name="connsiteY5" fmla="*/ 178692 h 2152678"/>
              <a:gd name="connsiteX6" fmla="*/ 837598 w 2153315"/>
              <a:gd name="connsiteY6" fmla="*/ 178692 h 2152678"/>
              <a:gd name="connsiteX7" fmla="*/ 1326160 w 2153315"/>
              <a:gd name="connsiteY7" fmla="*/ 19068 h 2152678"/>
              <a:gd name="connsiteX8" fmla="*/ 1836346 w 2153315"/>
              <a:gd name="connsiteY8" fmla="*/ 175731 h 2152678"/>
              <a:gd name="connsiteX9" fmla="*/ 2135495 w 2153315"/>
              <a:gd name="connsiteY9" fmla="*/ 731049 h 2152678"/>
              <a:gd name="connsiteX10" fmla="*/ 1435627 w 2153315"/>
              <a:gd name="connsiteY10" fmla="*/ 806779 h 2152678"/>
              <a:gd name="connsiteX11" fmla="*/ 1435627 w 2153315"/>
              <a:gd name="connsiteY11" fmla="*/ 1704045 h 2152678"/>
              <a:gd name="connsiteX12" fmla="*/ 986993 w 2153315"/>
              <a:gd name="connsiteY12" fmla="*/ 2152679 h 2152678"/>
              <a:gd name="connsiteX13" fmla="*/ 448633 w 2153315"/>
              <a:gd name="connsiteY13" fmla="*/ 2152679 h 2152678"/>
              <a:gd name="connsiteX14" fmla="*/ 0 w 2153315"/>
              <a:gd name="connsiteY14" fmla="*/ 1704045 h 2152678"/>
              <a:gd name="connsiteX15" fmla="*/ 0 w 2153315"/>
              <a:gd name="connsiteY15" fmla="*/ 806779 h 2152678"/>
              <a:gd name="connsiteX16" fmla="*/ 448633 w 2153315"/>
              <a:gd name="connsiteY16" fmla="*/ 358145 h 2152678"/>
              <a:gd name="connsiteX17" fmla="*/ 986993 w 2153315"/>
              <a:gd name="connsiteY17" fmla="*/ 358145 h 2152678"/>
              <a:gd name="connsiteX18" fmla="*/ 1435627 w 2153315"/>
              <a:gd name="connsiteY18" fmla="*/ 806779 h 2152678"/>
              <a:gd name="connsiteX19" fmla="*/ 1076720 w 2153315"/>
              <a:gd name="connsiteY19" fmla="*/ 1165685 h 2152678"/>
              <a:gd name="connsiteX20" fmla="*/ 897267 w 2153315"/>
              <a:gd name="connsiteY20" fmla="*/ 986232 h 2152678"/>
              <a:gd name="connsiteX21" fmla="*/ 717813 w 2153315"/>
              <a:gd name="connsiteY21" fmla="*/ 1165685 h 2152678"/>
              <a:gd name="connsiteX22" fmla="*/ 538360 w 2153315"/>
              <a:gd name="connsiteY22" fmla="*/ 986232 h 2152678"/>
              <a:gd name="connsiteX23" fmla="*/ 358907 w 2153315"/>
              <a:gd name="connsiteY23" fmla="*/ 1165685 h 2152678"/>
              <a:gd name="connsiteX24" fmla="*/ 602425 w 2153315"/>
              <a:gd name="connsiteY24" fmla="*/ 1558509 h 2152678"/>
              <a:gd name="connsiteX25" fmla="*/ 833202 w 2153315"/>
              <a:gd name="connsiteY25" fmla="*/ 1558509 h 2152678"/>
              <a:gd name="connsiteX26" fmla="*/ 1076720 w 2153315"/>
              <a:gd name="connsiteY26" fmla="*/ 1165685 h 2152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153315" h="2152678">
                <a:moveTo>
                  <a:pt x="2135495" y="731049"/>
                </a:moveTo>
                <a:lnTo>
                  <a:pt x="1829258" y="1664207"/>
                </a:lnTo>
                <a:cubicBezTo>
                  <a:pt x="1790119" y="1795719"/>
                  <a:pt x="1692326" y="1901731"/>
                  <a:pt x="1564384" y="1951332"/>
                </a:cubicBezTo>
                <a:cubicBezTo>
                  <a:pt x="1597915" y="1873207"/>
                  <a:pt x="1615170" y="1789061"/>
                  <a:pt x="1615080" y="1704045"/>
                </a:cubicBezTo>
                <a:lnTo>
                  <a:pt x="1615080" y="806779"/>
                </a:lnTo>
                <a:cubicBezTo>
                  <a:pt x="1614685" y="460060"/>
                  <a:pt x="1333715" y="179088"/>
                  <a:pt x="986993" y="178692"/>
                </a:cubicBezTo>
                <a:lnTo>
                  <a:pt x="837598" y="178692"/>
                </a:lnTo>
                <a:cubicBezTo>
                  <a:pt x="951067" y="28583"/>
                  <a:pt x="1145953" y="-35088"/>
                  <a:pt x="1326160" y="19068"/>
                </a:cubicBezTo>
                <a:lnTo>
                  <a:pt x="1836346" y="175731"/>
                </a:lnTo>
                <a:cubicBezTo>
                  <a:pt x="2070631" y="248513"/>
                  <a:pt x="2203606" y="495369"/>
                  <a:pt x="2135495" y="731049"/>
                </a:cubicBezTo>
                <a:close/>
                <a:moveTo>
                  <a:pt x="1435627" y="806779"/>
                </a:moveTo>
                <a:lnTo>
                  <a:pt x="1435627" y="1704045"/>
                </a:lnTo>
                <a:cubicBezTo>
                  <a:pt x="1435331" y="1951700"/>
                  <a:pt x="1234648" y="2152383"/>
                  <a:pt x="986993" y="2152679"/>
                </a:cubicBezTo>
                <a:lnTo>
                  <a:pt x="448633" y="2152679"/>
                </a:lnTo>
                <a:cubicBezTo>
                  <a:pt x="200983" y="2152383"/>
                  <a:pt x="297" y="1951700"/>
                  <a:pt x="0" y="1704045"/>
                </a:cubicBezTo>
                <a:lnTo>
                  <a:pt x="0" y="806779"/>
                </a:lnTo>
                <a:cubicBezTo>
                  <a:pt x="297" y="559129"/>
                  <a:pt x="200983" y="358442"/>
                  <a:pt x="448633" y="358145"/>
                </a:cubicBezTo>
                <a:lnTo>
                  <a:pt x="986993" y="358145"/>
                </a:lnTo>
                <a:cubicBezTo>
                  <a:pt x="1234648" y="358442"/>
                  <a:pt x="1435331" y="559129"/>
                  <a:pt x="1435627" y="806779"/>
                </a:cubicBezTo>
                <a:close/>
                <a:moveTo>
                  <a:pt x="1076720" y="1165685"/>
                </a:moveTo>
                <a:cubicBezTo>
                  <a:pt x="1076720" y="1066573"/>
                  <a:pt x="996379" y="986232"/>
                  <a:pt x="897267" y="986232"/>
                </a:cubicBezTo>
                <a:cubicBezTo>
                  <a:pt x="798157" y="986232"/>
                  <a:pt x="717813" y="1066573"/>
                  <a:pt x="717813" y="1165685"/>
                </a:cubicBezTo>
                <a:cubicBezTo>
                  <a:pt x="717813" y="1066573"/>
                  <a:pt x="637469" y="986232"/>
                  <a:pt x="538360" y="986232"/>
                </a:cubicBezTo>
                <a:cubicBezTo>
                  <a:pt x="439251" y="986232"/>
                  <a:pt x="358907" y="1066573"/>
                  <a:pt x="358907" y="1165685"/>
                </a:cubicBezTo>
                <a:cubicBezTo>
                  <a:pt x="358907" y="1295789"/>
                  <a:pt x="497445" y="1469949"/>
                  <a:pt x="602425" y="1558509"/>
                </a:cubicBezTo>
                <a:cubicBezTo>
                  <a:pt x="669030" y="1614866"/>
                  <a:pt x="766597" y="1614866"/>
                  <a:pt x="833202" y="1558509"/>
                </a:cubicBezTo>
                <a:cubicBezTo>
                  <a:pt x="938182" y="1469949"/>
                  <a:pt x="1076720" y="1295789"/>
                  <a:pt x="1076720" y="1165685"/>
                </a:cubicBezTo>
                <a:close/>
              </a:path>
            </a:pathLst>
          </a:custGeom>
          <a:gradFill flip="none" rotWithShape="1">
            <a:gsLst>
              <a:gs pos="10000">
                <a:schemeClr val="accent1"/>
              </a:gs>
              <a:gs pos="100000">
                <a:schemeClr val="accent2">
                  <a:lumMod val="75000"/>
                  <a:alpha val="0"/>
                </a:schemeClr>
              </a:gs>
            </a:gsLst>
            <a:path path="circle">
              <a:fillToRect l="100000" t="100000"/>
            </a:path>
            <a:tileRect r="-100000" b="-100000"/>
          </a:gradFill>
          <a:ln w="30163"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black"/>
              </a:solidFill>
              <a:effectLst/>
              <a:uLnTx/>
              <a:uFillTx/>
              <a:latin typeface="Roboto Light"/>
              <a:ea typeface="OPPOSans L" panose="00020600040101010101" pitchFamily="18" charset="-122"/>
              <a:cs typeface="+mn-cs"/>
            </a:endParaRPr>
          </a:p>
        </p:txBody>
      </p:sp>
      <p:sp>
        <p:nvSpPr>
          <p:cNvPr id="49" name="矩形: 圆角 48">
            <a:extLst>
              <a:ext uri="{FF2B5EF4-FFF2-40B4-BE49-F238E27FC236}">
                <a16:creationId xmlns:a16="http://schemas.microsoft.com/office/drawing/2014/main" id="{0385BC5F-08F8-4425-980C-BCDAAD22E3F9}"/>
              </a:ext>
            </a:extLst>
          </p:cNvPr>
          <p:cNvSpPr/>
          <p:nvPr/>
        </p:nvSpPr>
        <p:spPr>
          <a:xfrm>
            <a:off x="4763152" y="1975648"/>
            <a:ext cx="1330747" cy="1330747"/>
          </a:xfrm>
          <a:prstGeom prst="roundRect">
            <a:avLst>
              <a:gd name="adj" fmla="val 36905"/>
            </a:avLst>
          </a:prstGeom>
          <a:noFill/>
          <a:ln w="165100">
            <a:gradFill flip="none" rotWithShape="1">
              <a:gsLst>
                <a:gs pos="100000">
                  <a:schemeClr val="accent1"/>
                </a:gs>
                <a:gs pos="59000">
                  <a:schemeClr val="bg1">
                    <a:alpha val="0"/>
                  </a:schemeClr>
                </a:gs>
                <a:gs pos="74000">
                  <a:schemeClr val="accent2">
                    <a:lumMod val="75000"/>
                  </a:schemeClr>
                </a:gs>
              </a:gsLst>
              <a:lin ang="189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white"/>
              </a:solidFill>
              <a:effectLst/>
              <a:uLnTx/>
              <a:uFillTx/>
              <a:latin typeface="Roboto Light"/>
              <a:ea typeface="OPPOSans L" panose="00020600040101010101" pitchFamily="18" charset="-122"/>
              <a:cs typeface="+mn-cs"/>
            </a:endParaRPr>
          </a:p>
        </p:txBody>
      </p:sp>
      <p:sp>
        <p:nvSpPr>
          <p:cNvPr id="50" name="椭圆 49">
            <a:extLst>
              <a:ext uri="{FF2B5EF4-FFF2-40B4-BE49-F238E27FC236}">
                <a16:creationId xmlns:a16="http://schemas.microsoft.com/office/drawing/2014/main" id="{FA389603-780E-4B5B-8F54-E0ADDD148F2D}"/>
              </a:ext>
            </a:extLst>
          </p:cNvPr>
          <p:cNvSpPr/>
          <p:nvPr/>
        </p:nvSpPr>
        <p:spPr>
          <a:xfrm rot="18900000" flipH="1">
            <a:off x="4769077" y="1606957"/>
            <a:ext cx="737382" cy="737382"/>
          </a:xfrm>
          <a:prstGeom prst="ellipse">
            <a:avLst/>
          </a:prstGeom>
          <a:solidFill>
            <a:schemeClr val="bg1"/>
          </a:solidFill>
          <a:ln w="19050">
            <a:gradFill flip="none" rotWithShape="1">
              <a:gsLst>
                <a:gs pos="45000">
                  <a:schemeClr val="accent2"/>
                </a:gs>
                <a:gs pos="80000">
                  <a:schemeClr val="accent2">
                    <a:lumMod val="75000"/>
                    <a:alpha val="88000"/>
                  </a:schemeClr>
                </a:gs>
                <a:gs pos="99000">
                  <a:schemeClr val="accent1"/>
                </a:gs>
              </a:gsLst>
              <a:lin ang="189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white"/>
              </a:solidFill>
              <a:effectLst/>
              <a:uLnTx/>
              <a:uFillTx/>
              <a:latin typeface="Roboto Light"/>
              <a:ea typeface="OPPOSans L" panose="00020600040101010101" pitchFamily="18" charset="-122"/>
              <a:cs typeface="+mn-cs"/>
            </a:endParaRPr>
          </a:p>
        </p:txBody>
      </p:sp>
      <p:sp>
        <p:nvSpPr>
          <p:cNvPr id="60" name="任意多边形: 形状 59">
            <a:extLst>
              <a:ext uri="{FF2B5EF4-FFF2-40B4-BE49-F238E27FC236}">
                <a16:creationId xmlns:a16="http://schemas.microsoft.com/office/drawing/2014/main" id="{232571EB-A80A-4454-9E70-EBBDA479080C}"/>
              </a:ext>
            </a:extLst>
          </p:cNvPr>
          <p:cNvSpPr/>
          <p:nvPr/>
        </p:nvSpPr>
        <p:spPr>
          <a:xfrm>
            <a:off x="4977568" y="1815448"/>
            <a:ext cx="320400" cy="320400"/>
          </a:xfrm>
          <a:custGeom>
            <a:avLst/>
            <a:gdLst>
              <a:gd name="connsiteX0" fmla="*/ 30450 w 730800"/>
              <a:gd name="connsiteY0" fmla="*/ 669900 h 730800"/>
              <a:gd name="connsiteX1" fmla="*/ 274050 w 730800"/>
              <a:gd name="connsiteY1" fmla="*/ 669900 h 730800"/>
              <a:gd name="connsiteX2" fmla="*/ 304500 w 730800"/>
              <a:gd name="connsiteY2" fmla="*/ 700350 h 730800"/>
              <a:gd name="connsiteX3" fmla="*/ 274050 w 730800"/>
              <a:gd name="connsiteY3" fmla="*/ 730800 h 730800"/>
              <a:gd name="connsiteX4" fmla="*/ 30450 w 730800"/>
              <a:gd name="connsiteY4" fmla="*/ 730800 h 730800"/>
              <a:gd name="connsiteX5" fmla="*/ 0 w 730800"/>
              <a:gd name="connsiteY5" fmla="*/ 700350 h 730800"/>
              <a:gd name="connsiteX6" fmla="*/ 30450 w 730800"/>
              <a:gd name="connsiteY6" fmla="*/ 669900 h 730800"/>
              <a:gd name="connsiteX7" fmla="*/ 30450 w 730800"/>
              <a:gd name="connsiteY7" fmla="*/ 548100 h 730800"/>
              <a:gd name="connsiteX8" fmla="*/ 213150 w 730800"/>
              <a:gd name="connsiteY8" fmla="*/ 548100 h 730800"/>
              <a:gd name="connsiteX9" fmla="*/ 243600 w 730800"/>
              <a:gd name="connsiteY9" fmla="*/ 578550 h 730800"/>
              <a:gd name="connsiteX10" fmla="*/ 213150 w 730800"/>
              <a:gd name="connsiteY10" fmla="*/ 609000 h 730800"/>
              <a:gd name="connsiteX11" fmla="*/ 30450 w 730800"/>
              <a:gd name="connsiteY11" fmla="*/ 609000 h 730800"/>
              <a:gd name="connsiteX12" fmla="*/ 0 w 730800"/>
              <a:gd name="connsiteY12" fmla="*/ 578550 h 730800"/>
              <a:gd name="connsiteX13" fmla="*/ 30450 w 730800"/>
              <a:gd name="connsiteY13" fmla="*/ 548100 h 730800"/>
              <a:gd name="connsiteX14" fmla="*/ 30450 w 730800"/>
              <a:gd name="connsiteY14" fmla="*/ 426300 h 730800"/>
              <a:gd name="connsiteX15" fmla="*/ 152250 w 730800"/>
              <a:gd name="connsiteY15" fmla="*/ 426300 h 730800"/>
              <a:gd name="connsiteX16" fmla="*/ 182700 w 730800"/>
              <a:gd name="connsiteY16" fmla="*/ 456750 h 730800"/>
              <a:gd name="connsiteX17" fmla="*/ 152250 w 730800"/>
              <a:gd name="connsiteY17" fmla="*/ 487200 h 730800"/>
              <a:gd name="connsiteX18" fmla="*/ 30450 w 730800"/>
              <a:gd name="connsiteY18" fmla="*/ 487200 h 730800"/>
              <a:gd name="connsiteX19" fmla="*/ 0 w 730800"/>
              <a:gd name="connsiteY19" fmla="*/ 456750 h 730800"/>
              <a:gd name="connsiteX20" fmla="*/ 30450 w 730800"/>
              <a:gd name="connsiteY20" fmla="*/ 426300 h 730800"/>
              <a:gd name="connsiteX21" fmla="*/ 365400 w 730800"/>
              <a:gd name="connsiteY21" fmla="*/ 182700 h 730800"/>
              <a:gd name="connsiteX22" fmla="*/ 334950 w 730800"/>
              <a:gd name="connsiteY22" fmla="*/ 213150 h 730800"/>
              <a:gd name="connsiteX23" fmla="*/ 334950 w 730800"/>
              <a:gd name="connsiteY23" fmla="*/ 365400 h 730800"/>
              <a:gd name="connsiteX24" fmla="*/ 343872 w 730800"/>
              <a:gd name="connsiteY24" fmla="*/ 386928 h 730800"/>
              <a:gd name="connsiteX25" fmla="*/ 435222 w 730800"/>
              <a:gd name="connsiteY25" fmla="*/ 478278 h 730800"/>
              <a:gd name="connsiteX26" fmla="*/ 478278 w 730800"/>
              <a:gd name="connsiteY26" fmla="*/ 478278 h 730800"/>
              <a:gd name="connsiteX27" fmla="*/ 478278 w 730800"/>
              <a:gd name="connsiteY27" fmla="*/ 435222 h 730800"/>
              <a:gd name="connsiteX28" fmla="*/ 395850 w 730800"/>
              <a:gd name="connsiteY28" fmla="*/ 352794 h 730800"/>
              <a:gd name="connsiteX29" fmla="*/ 395850 w 730800"/>
              <a:gd name="connsiteY29" fmla="*/ 213150 h 730800"/>
              <a:gd name="connsiteX30" fmla="*/ 365400 w 730800"/>
              <a:gd name="connsiteY30" fmla="*/ 182700 h 730800"/>
              <a:gd name="connsiteX31" fmla="*/ 365400 w 730800"/>
              <a:gd name="connsiteY31" fmla="*/ 0 h 730800"/>
              <a:gd name="connsiteX32" fmla="*/ 730800 w 730800"/>
              <a:gd name="connsiteY32" fmla="*/ 365400 h 730800"/>
              <a:gd name="connsiteX33" fmla="*/ 365400 w 730800"/>
              <a:gd name="connsiteY33" fmla="*/ 730800 h 730800"/>
              <a:gd name="connsiteX34" fmla="*/ 359889 w 730800"/>
              <a:gd name="connsiteY34" fmla="*/ 730526 h 730800"/>
              <a:gd name="connsiteX35" fmla="*/ 362617 w 730800"/>
              <a:gd name="connsiteY35" fmla="*/ 721738 h 730800"/>
              <a:gd name="connsiteX36" fmla="*/ 297801 w 730800"/>
              <a:gd name="connsiteY36" fmla="*/ 612532 h 730800"/>
              <a:gd name="connsiteX37" fmla="*/ 301529 w 730800"/>
              <a:gd name="connsiteY37" fmla="*/ 601348 h 730800"/>
              <a:gd name="connsiteX38" fmla="*/ 236901 w 730800"/>
              <a:gd name="connsiteY38" fmla="*/ 490732 h 730800"/>
              <a:gd name="connsiteX39" fmla="*/ 243603 w 730800"/>
              <a:gd name="connsiteY39" fmla="*/ 456138 h 730800"/>
              <a:gd name="connsiteX40" fmla="*/ 152250 w 730800"/>
              <a:gd name="connsiteY40" fmla="*/ 365400 h 730800"/>
              <a:gd name="connsiteX41" fmla="*/ 30450 w 730800"/>
              <a:gd name="connsiteY41" fmla="*/ 365400 h 730800"/>
              <a:gd name="connsiteX42" fmla="*/ 274 w 730800"/>
              <a:gd name="connsiteY42" fmla="*/ 370911 h 730800"/>
              <a:gd name="connsiteX43" fmla="*/ 0 w 730800"/>
              <a:gd name="connsiteY43" fmla="*/ 365400 h 730800"/>
              <a:gd name="connsiteX44" fmla="*/ 365400 w 730800"/>
              <a:gd name="connsiteY44" fmla="*/ 0 h 730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730800" h="730800">
                <a:moveTo>
                  <a:pt x="30450" y="669900"/>
                </a:moveTo>
                <a:lnTo>
                  <a:pt x="274050" y="669900"/>
                </a:lnTo>
                <a:cubicBezTo>
                  <a:pt x="290867" y="669900"/>
                  <a:pt x="304500" y="683532"/>
                  <a:pt x="304500" y="700350"/>
                </a:cubicBezTo>
                <a:cubicBezTo>
                  <a:pt x="304500" y="717168"/>
                  <a:pt x="290867" y="730800"/>
                  <a:pt x="274050" y="730800"/>
                </a:cubicBezTo>
                <a:lnTo>
                  <a:pt x="30450" y="730800"/>
                </a:lnTo>
                <a:cubicBezTo>
                  <a:pt x="13633" y="730800"/>
                  <a:pt x="0" y="717168"/>
                  <a:pt x="0" y="700350"/>
                </a:cubicBezTo>
                <a:cubicBezTo>
                  <a:pt x="0" y="683532"/>
                  <a:pt x="13633" y="669900"/>
                  <a:pt x="30450" y="669900"/>
                </a:cubicBezTo>
                <a:close/>
                <a:moveTo>
                  <a:pt x="30450" y="548100"/>
                </a:moveTo>
                <a:lnTo>
                  <a:pt x="213150" y="548100"/>
                </a:lnTo>
                <a:cubicBezTo>
                  <a:pt x="229967" y="548100"/>
                  <a:pt x="243600" y="561732"/>
                  <a:pt x="243600" y="578550"/>
                </a:cubicBezTo>
                <a:cubicBezTo>
                  <a:pt x="243600" y="595368"/>
                  <a:pt x="229967" y="609000"/>
                  <a:pt x="213150" y="609000"/>
                </a:cubicBezTo>
                <a:lnTo>
                  <a:pt x="30450" y="609000"/>
                </a:lnTo>
                <a:cubicBezTo>
                  <a:pt x="13633" y="609000"/>
                  <a:pt x="0" y="595368"/>
                  <a:pt x="0" y="578550"/>
                </a:cubicBezTo>
                <a:cubicBezTo>
                  <a:pt x="0" y="561732"/>
                  <a:pt x="13633" y="548100"/>
                  <a:pt x="30450" y="548100"/>
                </a:cubicBezTo>
                <a:close/>
                <a:moveTo>
                  <a:pt x="30450" y="426300"/>
                </a:moveTo>
                <a:lnTo>
                  <a:pt x="152250" y="426300"/>
                </a:lnTo>
                <a:cubicBezTo>
                  <a:pt x="169067" y="426300"/>
                  <a:pt x="182700" y="439932"/>
                  <a:pt x="182700" y="456750"/>
                </a:cubicBezTo>
                <a:cubicBezTo>
                  <a:pt x="182700" y="473568"/>
                  <a:pt x="169067" y="487200"/>
                  <a:pt x="152250" y="487200"/>
                </a:cubicBezTo>
                <a:lnTo>
                  <a:pt x="30450" y="487200"/>
                </a:lnTo>
                <a:cubicBezTo>
                  <a:pt x="13633" y="487200"/>
                  <a:pt x="0" y="473568"/>
                  <a:pt x="0" y="456750"/>
                </a:cubicBezTo>
                <a:cubicBezTo>
                  <a:pt x="0" y="439932"/>
                  <a:pt x="13633" y="426300"/>
                  <a:pt x="30450" y="426300"/>
                </a:cubicBezTo>
                <a:close/>
                <a:moveTo>
                  <a:pt x="365400" y="182700"/>
                </a:moveTo>
                <a:cubicBezTo>
                  <a:pt x="348582" y="182700"/>
                  <a:pt x="334950" y="196333"/>
                  <a:pt x="334950" y="213150"/>
                </a:cubicBezTo>
                <a:lnTo>
                  <a:pt x="334950" y="365400"/>
                </a:lnTo>
                <a:cubicBezTo>
                  <a:pt x="334953" y="373475"/>
                  <a:pt x="338162" y="381219"/>
                  <a:pt x="343872" y="386928"/>
                </a:cubicBezTo>
                <a:lnTo>
                  <a:pt x="435222" y="478278"/>
                </a:lnTo>
                <a:cubicBezTo>
                  <a:pt x="447113" y="490166"/>
                  <a:pt x="466387" y="490166"/>
                  <a:pt x="478278" y="478278"/>
                </a:cubicBezTo>
                <a:cubicBezTo>
                  <a:pt x="490166" y="466387"/>
                  <a:pt x="490166" y="447113"/>
                  <a:pt x="478278" y="435222"/>
                </a:cubicBezTo>
                <a:lnTo>
                  <a:pt x="395850" y="352794"/>
                </a:lnTo>
                <a:lnTo>
                  <a:pt x="395850" y="213150"/>
                </a:lnTo>
                <a:cubicBezTo>
                  <a:pt x="395850" y="196333"/>
                  <a:pt x="382218" y="182700"/>
                  <a:pt x="365400" y="182700"/>
                </a:cubicBezTo>
                <a:close/>
                <a:moveTo>
                  <a:pt x="365400" y="0"/>
                </a:moveTo>
                <a:cubicBezTo>
                  <a:pt x="567204" y="0"/>
                  <a:pt x="730800" y="163595"/>
                  <a:pt x="730800" y="365400"/>
                </a:cubicBezTo>
                <a:cubicBezTo>
                  <a:pt x="730800" y="567204"/>
                  <a:pt x="567204" y="730800"/>
                  <a:pt x="365400" y="730800"/>
                </a:cubicBezTo>
                <a:cubicBezTo>
                  <a:pt x="363543" y="730800"/>
                  <a:pt x="361746" y="730526"/>
                  <a:pt x="359889" y="730526"/>
                </a:cubicBezTo>
                <a:cubicBezTo>
                  <a:pt x="360948" y="727645"/>
                  <a:pt x="361859" y="724713"/>
                  <a:pt x="362617" y="721738"/>
                </a:cubicBezTo>
                <a:cubicBezTo>
                  <a:pt x="374876" y="673682"/>
                  <a:pt x="345857" y="624791"/>
                  <a:pt x="297801" y="612532"/>
                </a:cubicBezTo>
                <a:cubicBezTo>
                  <a:pt x="299285" y="608890"/>
                  <a:pt x="300531" y="605154"/>
                  <a:pt x="301529" y="601348"/>
                </a:cubicBezTo>
                <a:cubicBezTo>
                  <a:pt x="314229" y="552957"/>
                  <a:pt x="285293" y="503430"/>
                  <a:pt x="236901" y="490732"/>
                </a:cubicBezTo>
                <a:cubicBezTo>
                  <a:pt x="241367" y="479746"/>
                  <a:pt x="243644" y="467995"/>
                  <a:pt x="243603" y="456138"/>
                </a:cubicBezTo>
                <a:cubicBezTo>
                  <a:pt x="243433" y="405853"/>
                  <a:pt x="202533" y="365229"/>
                  <a:pt x="152250" y="365400"/>
                </a:cubicBezTo>
                <a:lnTo>
                  <a:pt x="30450" y="365400"/>
                </a:lnTo>
                <a:cubicBezTo>
                  <a:pt x="20151" y="365504"/>
                  <a:pt x="9945" y="367367"/>
                  <a:pt x="274" y="370911"/>
                </a:cubicBezTo>
                <a:cubicBezTo>
                  <a:pt x="244" y="369054"/>
                  <a:pt x="0" y="367257"/>
                  <a:pt x="0" y="365400"/>
                </a:cubicBezTo>
                <a:cubicBezTo>
                  <a:pt x="0" y="163595"/>
                  <a:pt x="163595" y="0"/>
                  <a:pt x="365400" y="0"/>
                </a:cubicBezTo>
                <a:close/>
              </a:path>
            </a:pathLst>
          </a:custGeom>
          <a:gradFill flip="none" rotWithShape="1">
            <a:gsLst>
              <a:gs pos="10000">
                <a:schemeClr val="accent1"/>
              </a:gs>
              <a:gs pos="100000">
                <a:schemeClr val="accent2">
                  <a:lumMod val="75000"/>
                  <a:alpha val="0"/>
                </a:schemeClr>
              </a:gs>
            </a:gsLst>
            <a:path path="circle">
              <a:fillToRect l="100000" t="100000"/>
            </a:path>
            <a:tileRect r="-100000" b="-100000"/>
          </a:gradFill>
          <a:ln w="30163"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black"/>
              </a:solidFill>
              <a:effectLst/>
              <a:uLnTx/>
              <a:uFillTx/>
              <a:latin typeface="Roboto Light"/>
              <a:ea typeface="OPPOSans L" panose="00020600040101010101" pitchFamily="18" charset="-122"/>
              <a:cs typeface="+mn-cs"/>
            </a:endParaRPr>
          </a:p>
        </p:txBody>
      </p:sp>
      <p:sp>
        <p:nvSpPr>
          <p:cNvPr id="72" name="任意多边形: 形状 71">
            <a:extLst>
              <a:ext uri="{FF2B5EF4-FFF2-40B4-BE49-F238E27FC236}">
                <a16:creationId xmlns:a16="http://schemas.microsoft.com/office/drawing/2014/main" id="{37E04515-F67E-478E-83C8-1A0E22AD8D0F}"/>
              </a:ext>
            </a:extLst>
          </p:cNvPr>
          <p:cNvSpPr/>
          <p:nvPr/>
        </p:nvSpPr>
        <p:spPr>
          <a:xfrm>
            <a:off x="901671" y="3829228"/>
            <a:ext cx="3553915" cy="722542"/>
          </a:xfrm>
          <a:custGeom>
            <a:avLst/>
            <a:gdLst>
              <a:gd name="connsiteX0" fmla="*/ 0 w 3553915"/>
              <a:gd name="connsiteY0" fmla="*/ 0 h 722542"/>
              <a:gd name="connsiteX1" fmla="*/ 3553915 w 3553915"/>
              <a:gd name="connsiteY1" fmla="*/ 0 h 722542"/>
              <a:gd name="connsiteX2" fmla="*/ 3546973 w 3553915"/>
              <a:gd name="connsiteY2" fmla="*/ 18967 h 722542"/>
              <a:gd name="connsiteX3" fmla="*/ 3495221 w 3553915"/>
              <a:gd name="connsiteY3" fmla="*/ 361271 h 722542"/>
              <a:gd name="connsiteX4" fmla="*/ 3546973 w 3553915"/>
              <a:gd name="connsiteY4" fmla="*/ 703575 h 722542"/>
              <a:gd name="connsiteX5" fmla="*/ 3553915 w 3553915"/>
              <a:gd name="connsiteY5" fmla="*/ 722542 h 722542"/>
              <a:gd name="connsiteX6" fmla="*/ 309111 w 3553915"/>
              <a:gd name="connsiteY6" fmla="*/ 722542 h 722542"/>
              <a:gd name="connsiteX7" fmla="*/ 0 w 3553915"/>
              <a:gd name="connsiteY7" fmla="*/ 413431 h 722542"/>
              <a:gd name="connsiteX8" fmla="*/ 0 w 3553915"/>
              <a:gd name="connsiteY8" fmla="*/ 0 h 722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53915" h="722542">
                <a:moveTo>
                  <a:pt x="0" y="0"/>
                </a:moveTo>
                <a:lnTo>
                  <a:pt x="3553915" y="0"/>
                </a:lnTo>
                <a:lnTo>
                  <a:pt x="3546973" y="18967"/>
                </a:lnTo>
                <a:cubicBezTo>
                  <a:pt x="3513340" y="127101"/>
                  <a:pt x="3495221" y="242070"/>
                  <a:pt x="3495221" y="361271"/>
                </a:cubicBezTo>
                <a:cubicBezTo>
                  <a:pt x="3495221" y="480472"/>
                  <a:pt x="3513340" y="595442"/>
                  <a:pt x="3546973" y="703575"/>
                </a:cubicBezTo>
                <a:lnTo>
                  <a:pt x="3553915" y="722542"/>
                </a:lnTo>
                <a:lnTo>
                  <a:pt x="309111" y="722542"/>
                </a:lnTo>
                <a:lnTo>
                  <a:pt x="0" y="413431"/>
                </a:lnTo>
                <a:lnTo>
                  <a:pt x="0" y="0"/>
                </a:lnTo>
                <a:close/>
              </a:path>
            </a:pathLst>
          </a:custGeom>
          <a:solidFill>
            <a:schemeClr val="bg1"/>
          </a:solidFill>
          <a:ln w="12700">
            <a:gradFill flip="none" rotWithShape="1">
              <a:gsLst>
                <a:gs pos="45000">
                  <a:schemeClr val="accent2"/>
                </a:gs>
                <a:gs pos="80000">
                  <a:schemeClr val="accent2">
                    <a:lumMod val="75000"/>
                    <a:alpha val="88000"/>
                  </a:schemeClr>
                </a:gs>
                <a:gs pos="99000">
                  <a:schemeClr val="accent1"/>
                </a:gs>
              </a:gsLst>
              <a:lin ang="189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white"/>
              </a:solidFill>
              <a:effectLst/>
              <a:uLnTx/>
              <a:uFillTx/>
              <a:latin typeface="Roboto Light"/>
              <a:ea typeface="OPPOSans L" panose="00020600040101010101" pitchFamily="18" charset="-122"/>
              <a:cs typeface="+mn-cs"/>
            </a:endParaRPr>
          </a:p>
        </p:txBody>
      </p:sp>
      <p:sp>
        <p:nvSpPr>
          <p:cNvPr id="77" name="矩形 76">
            <a:extLst>
              <a:ext uri="{FF2B5EF4-FFF2-40B4-BE49-F238E27FC236}">
                <a16:creationId xmlns:a16="http://schemas.microsoft.com/office/drawing/2014/main" id="{E288BC08-5D5C-456C-8A8E-6ADE11BA00CE}"/>
              </a:ext>
            </a:extLst>
          </p:cNvPr>
          <p:cNvSpPr/>
          <p:nvPr/>
        </p:nvSpPr>
        <p:spPr>
          <a:xfrm>
            <a:off x="1308060" y="4048792"/>
            <a:ext cx="2741135" cy="276999"/>
          </a:xfrm>
          <a:prstGeom prst="rect">
            <a:avLst/>
          </a:prstGeom>
        </p:spPr>
        <p:txBody>
          <a:bodyPr wrap="non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800" b="0" i="0" u="none" strike="noStrike" kern="1200" cap="none" spc="0" normalizeH="0" baseline="0" noProof="0" dirty="0">
                <a:ln>
                  <a:noFill/>
                </a:ln>
                <a:solidFill>
                  <a:prstClr val="black">
                    <a:lumMod val="65000"/>
                    <a:lumOff val="35000"/>
                  </a:prstClr>
                </a:solidFill>
                <a:effectLst/>
                <a:uLnTx/>
                <a:uFillTx/>
                <a:latin typeface="OPPOSans M" panose="00020600040101010101" pitchFamily="18" charset="-122"/>
                <a:ea typeface="OPPOSans M" panose="00020600040101010101" pitchFamily="18" charset="-122"/>
                <a:cs typeface="+mn-cs"/>
              </a:rPr>
              <a:t>秋叶</a:t>
            </a:r>
            <a:r>
              <a:rPr kumimoji="0" lang="en-US" altLang="zh-CN" sz="1800" b="0" i="0" u="none" strike="noStrike" kern="1200" cap="none" spc="0" normalizeH="0" baseline="0" noProof="0" dirty="0">
                <a:ln>
                  <a:noFill/>
                </a:ln>
                <a:solidFill>
                  <a:prstClr val="black">
                    <a:lumMod val="65000"/>
                    <a:lumOff val="35000"/>
                  </a:prstClr>
                </a:solidFill>
                <a:effectLst/>
                <a:uLnTx/>
                <a:uFillTx/>
                <a:latin typeface="OPPOSans M" panose="00020600040101010101" pitchFamily="18" charset="-122"/>
                <a:ea typeface="OPPOSans M" panose="00020600040101010101" pitchFamily="18" charset="-122"/>
                <a:cs typeface="+mn-cs"/>
              </a:rPr>
              <a:t>PPT</a:t>
            </a:r>
            <a:r>
              <a:rPr kumimoji="0" lang="zh-CN" altLang="en-US" sz="1800" b="0" i="0" u="none" strike="noStrike" kern="1200" cap="none" spc="0" normalizeH="0" baseline="0" noProof="0" dirty="0">
                <a:ln>
                  <a:noFill/>
                </a:ln>
                <a:solidFill>
                  <a:prstClr val="black">
                    <a:lumMod val="65000"/>
                    <a:lumOff val="35000"/>
                  </a:prstClr>
                </a:solidFill>
                <a:effectLst/>
                <a:uLnTx/>
                <a:uFillTx/>
                <a:latin typeface="OPPOSans M" panose="00020600040101010101" pitchFamily="18" charset="-122"/>
                <a:ea typeface="OPPOSans M" panose="00020600040101010101" pitchFamily="18" charset="-122"/>
                <a:cs typeface="+mn-cs"/>
              </a:rPr>
              <a:t>海量素材持续更新</a:t>
            </a:r>
            <a:endParaRPr kumimoji="0" lang="en-US" altLang="zh-CN" sz="1800" b="0" i="0" u="none" strike="noStrike" kern="1200" cap="none" spc="0" normalizeH="0" baseline="0" noProof="0" dirty="0">
              <a:ln>
                <a:noFill/>
              </a:ln>
              <a:solidFill>
                <a:prstClr val="black">
                  <a:lumMod val="65000"/>
                  <a:lumOff val="35000"/>
                </a:prstClr>
              </a:solidFill>
              <a:effectLst/>
              <a:uLnTx/>
              <a:uFillTx/>
              <a:latin typeface="OPPOSans M" panose="00020600040101010101" pitchFamily="18" charset="-122"/>
              <a:ea typeface="OPPOSans M" panose="00020600040101010101" pitchFamily="18" charset="-122"/>
              <a:cs typeface="+mn-cs"/>
            </a:endParaRPr>
          </a:p>
        </p:txBody>
      </p:sp>
      <p:sp>
        <p:nvSpPr>
          <p:cNvPr id="82" name="任意多边形: 形状 81">
            <a:extLst>
              <a:ext uri="{FF2B5EF4-FFF2-40B4-BE49-F238E27FC236}">
                <a16:creationId xmlns:a16="http://schemas.microsoft.com/office/drawing/2014/main" id="{01031E3C-6493-48F4-83DF-A4637B9C8F57}"/>
              </a:ext>
            </a:extLst>
          </p:cNvPr>
          <p:cNvSpPr/>
          <p:nvPr/>
        </p:nvSpPr>
        <p:spPr>
          <a:xfrm>
            <a:off x="901671" y="2719163"/>
            <a:ext cx="3553915" cy="722542"/>
          </a:xfrm>
          <a:custGeom>
            <a:avLst/>
            <a:gdLst>
              <a:gd name="connsiteX0" fmla="*/ 0 w 3553915"/>
              <a:gd name="connsiteY0" fmla="*/ 0 h 722542"/>
              <a:gd name="connsiteX1" fmla="*/ 3553915 w 3553915"/>
              <a:gd name="connsiteY1" fmla="*/ 0 h 722542"/>
              <a:gd name="connsiteX2" fmla="*/ 3546973 w 3553915"/>
              <a:gd name="connsiteY2" fmla="*/ 18967 h 722542"/>
              <a:gd name="connsiteX3" fmla="*/ 3495221 w 3553915"/>
              <a:gd name="connsiteY3" fmla="*/ 361271 h 722542"/>
              <a:gd name="connsiteX4" fmla="*/ 3546973 w 3553915"/>
              <a:gd name="connsiteY4" fmla="*/ 703575 h 722542"/>
              <a:gd name="connsiteX5" fmla="*/ 3553915 w 3553915"/>
              <a:gd name="connsiteY5" fmla="*/ 722542 h 722542"/>
              <a:gd name="connsiteX6" fmla="*/ 309111 w 3553915"/>
              <a:gd name="connsiteY6" fmla="*/ 722542 h 722542"/>
              <a:gd name="connsiteX7" fmla="*/ 0 w 3553915"/>
              <a:gd name="connsiteY7" fmla="*/ 413431 h 722542"/>
              <a:gd name="connsiteX8" fmla="*/ 0 w 3553915"/>
              <a:gd name="connsiteY8" fmla="*/ 0 h 722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53915" h="722542">
                <a:moveTo>
                  <a:pt x="0" y="0"/>
                </a:moveTo>
                <a:lnTo>
                  <a:pt x="3553915" y="0"/>
                </a:lnTo>
                <a:lnTo>
                  <a:pt x="3546973" y="18967"/>
                </a:lnTo>
                <a:cubicBezTo>
                  <a:pt x="3513340" y="127101"/>
                  <a:pt x="3495221" y="242070"/>
                  <a:pt x="3495221" y="361271"/>
                </a:cubicBezTo>
                <a:cubicBezTo>
                  <a:pt x="3495221" y="480472"/>
                  <a:pt x="3513340" y="595442"/>
                  <a:pt x="3546973" y="703575"/>
                </a:cubicBezTo>
                <a:lnTo>
                  <a:pt x="3553915" y="722542"/>
                </a:lnTo>
                <a:lnTo>
                  <a:pt x="309111" y="722542"/>
                </a:lnTo>
                <a:lnTo>
                  <a:pt x="0" y="413431"/>
                </a:lnTo>
                <a:lnTo>
                  <a:pt x="0" y="0"/>
                </a:lnTo>
                <a:close/>
              </a:path>
            </a:pathLst>
          </a:custGeom>
          <a:solidFill>
            <a:schemeClr val="bg1"/>
          </a:solidFill>
          <a:ln w="12700">
            <a:gradFill flip="none" rotWithShape="1">
              <a:gsLst>
                <a:gs pos="45000">
                  <a:schemeClr val="accent2"/>
                </a:gs>
                <a:gs pos="80000">
                  <a:schemeClr val="accent2">
                    <a:lumMod val="75000"/>
                    <a:alpha val="88000"/>
                  </a:schemeClr>
                </a:gs>
                <a:gs pos="99000">
                  <a:schemeClr val="accent1"/>
                </a:gs>
              </a:gsLst>
              <a:lin ang="189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white"/>
              </a:solidFill>
              <a:effectLst/>
              <a:uLnTx/>
              <a:uFillTx/>
              <a:latin typeface="Roboto Light"/>
              <a:ea typeface="OPPOSans L" panose="00020600040101010101" pitchFamily="18" charset="-122"/>
              <a:cs typeface="+mn-cs"/>
            </a:endParaRPr>
          </a:p>
        </p:txBody>
      </p:sp>
      <p:sp>
        <p:nvSpPr>
          <p:cNvPr id="83" name="矩形 82">
            <a:extLst>
              <a:ext uri="{FF2B5EF4-FFF2-40B4-BE49-F238E27FC236}">
                <a16:creationId xmlns:a16="http://schemas.microsoft.com/office/drawing/2014/main" id="{8944DBAF-3341-4641-BEEB-7062EF66DF6F}"/>
              </a:ext>
            </a:extLst>
          </p:cNvPr>
          <p:cNvSpPr/>
          <p:nvPr/>
        </p:nvSpPr>
        <p:spPr>
          <a:xfrm>
            <a:off x="1308060" y="2938727"/>
            <a:ext cx="2741135" cy="276999"/>
          </a:xfrm>
          <a:prstGeom prst="rect">
            <a:avLst/>
          </a:prstGeom>
        </p:spPr>
        <p:txBody>
          <a:bodyPr wrap="non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800" b="0" i="0" u="none" strike="noStrike" kern="1200" cap="none" spc="0" normalizeH="0" baseline="0" noProof="0" dirty="0">
                <a:ln>
                  <a:noFill/>
                </a:ln>
                <a:solidFill>
                  <a:prstClr val="black">
                    <a:lumMod val="65000"/>
                    <a:lumOff val="35000"/>
                  </a:prstClr>
                </a:solidFill>
                <a:effectLst/>
                <a:uLnTx/>
                <a:uFillTx/>
                <a:latin typeface="OPPOSans M" panose="00020600040101010101" pitchFamily="18" charset="-122"/>
                <a:ea typeface="OPPOSans M" panose="00020600040101010101" pitchFamily="18" charset="-122"/>
                <a:cs typeface="+mn-cs"/>
              </a:rPr>
              <a:t>秋叶</a:t>
            </a:r>
            <a:r>
              <a:rPr kumimoji="0" lang="en-US" altLang="zh-CN" sz="1800" b="0" i="0" u="none" strike="noStrike" kern="1200" cap="none" spc="0" normalizeH="0" baseline="0" noProof="0" dirty="0">
                <a:ln>
                  <a:noFill/>
                </a:ln>
                <a:solidFill>
                  <a:prstClr val="black">
                    <a:lumMod val="65000"/>
                    <a:lumOff val="35000"/>
                  </a:prstClr>
                </a:solidFill>
                <a:effectLst/>
                <a:uLnTx/>
                <a:uFillTx/>
                <a:latin typeface="OPPOSans M" panose="00020600040101010101" pitchFamily="18" charset="-122"/>
                <a:ea typeface="OPPOSans M" panose="00020600040101010101" pitchFamily="18" charset="-122"/>
                <a:cs typeface="+mn-cs"/>
              </a:rPr>
              <a:t>PPT</a:t>
            </a:r>
            <a:r>
              <a:rPr kumimoji="0" lang="zh-CN" altLang="en-US" sz="1800" b="0" i="0" u="none" strike="noStrike" kern="1200" cap="none" spc="0" normalizeH="0" baseline="0" noProof="0" dirty="0">
                <a:ln>
                  <a:noFill/>
                </a:ln>
                <a:solidFill>
                  <a:prstClr val="black">
                    <a:lumMod val="65000"/>
                    <a:lumOff val="35000"/>
                  </a:prstClr>
                </a:solidFill>
                <a:effectLst/>
                <a:uLnTx/>
                <a:uFillTx/>
                <a:latin typeface="OPPOSans M" panose="00020600040101010101" pitchFamily="18" charset="-122"/>
                <a:ea typeface="OPPOSans M" panose="00020600040101010101" pitchFamily="18" charset="-122"/>
                <a:cs typeface="+mn-cs"/>
              </a:rPr>
              <a:t>海量素材持续更新</a:t>
            </a:r>
            <a:endParaRPr kumimoji="0" lang="en-US" altLang="zh-CN" sz="1800" b="0" i="0" u="none" strike="noStrike" kern="1200" cap="none" spc="0" normalizeH="0" baseline="0" noProof="0" dirty="0">
              <a:ln>
                <a:noFill/>
              </a:ln>
              <a:solidFill>
                <a:prstClr val="black">
                  <a:lumMod val="65000"/>
                  <a:lumOff val="35000"/>
                </a:prstClr>
              </a:solidFill>
              <a:effectLst/>
              <a:uLnTx/>
              <a:uFillTx/>
              <a:latin typeface="OPPOSans M" panose="00020600040101010101" pitchFamily="18" charset="-122"/>
              <a:ea typeface="OPPOSans M" panose="00020600040101010101" pitchFamily="18" charset="-122"/>
              <a:cs typeface="+mn-cs"/>
            </a:endParaRPr>
          </a:p>
        </p:txBody>
      </p:sp>
      <p:sp>
        <p:nvSpPr>
          <p:cNvPr id="85" name="任意多边形: 形状 84">
            <a:extLst>
              <a:ext uri="{FF2B5EF4-FFF2-40B4-BE49-F238E27FC236}">
                <a16:creationId xmlns:a16="http://schemas.microsoft.com/office/drawing/2014/main" id="{0126A55A-675F-4A81-A9B1-5B8AFCE13E80}"/>
              </a:ext>
            </a:extLst>
          </p:cNvPr>
          <p:cNvSpPr/>
          <p:nvPr/>
        </p:nvSpPr>
        <p:spPr>
          <a:xfrm>
            <a:off x="901671" y="1609098"/>
            <a:ext cx="3553915" cy="722542"/>
          </a:xfrm>
          <a:custGeom>
            <a:avLst/>
            <a:gdLst>
              <a:gd name="connsiteX0" fmla="*/ 0 w 3553915"/>
              <a:gd name="connsiteY0" fmla="*/ 0 h 722542"/>
              <a:gd name="connsiteX1" fmla="*/ 3553915 w 3553915"/>
              <a:gd name="connsiteY1" fmla="*/ 0 h 722542"/>
              <a:gd name="connsiteX2" fmla="*/ 3546973 w 3553915"/>
              <a:gd name="connsiteY2" fmla="*/ 18967 h 722542"/>
              <a:gd name="connsiteX3" fmla="*/ 3495221 w 3553915"/>
              <a:gd name="connsiteY3" fmla="*/ 361271 h 722542"/>
              <a:gd name="connsiteX4" fmla="*/ 3546973 w 3553915"/>
              <a:gd name="connsiteY4" fmla="*/ 703575 h 722542"/>
              <a:gd name="connsiteX5" fmla="*/ 3553915 w 3553915"/>
              <a:gd name="connsiteY5" fmla="*/ 722542 h 722542"/>
              <a:gd name="connsiteX6" fmla="*/ 309111 w 3553915"/>
              <a:gd name="connsiteY6" fmla="*/ 722542 h 722542"/>
              <a:gd name="connsiteX7" fmla="*/ 0 w 3553915"/>
              <a:gd name="connsiteY7" fmla="*/ 413431 h 722542"/>
              <a:gd name="connsiteX8" fmla="*/ 0 w 3553915"/>
              <a:gd name="connsiteY8" fmla="*/ 0 h 722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53915" h="722542">
                <a:moveTo>
                  <a:pt x="0" y="0"/>
                </a:moveTo>
                <a:lnTo>
                  <a:pt x="3553915" y="0"/>
                </a:lnTo>
                <a:lnTo>
                  <a:pt x="3546973" y="18967"/>
                </a:lnTo>
                <a:cubicBezTo>
                  <a:pt x="3513340" y="127101"/>
                  <a:pt x="3495221" y="242070"/>
                  <a:pt x="3495221" y="361271"/>
                </a:cubicBezTo>
                <a:cubicBezTo>
                  <a:pt x="3495221" y="480472"/>
                  <a:pt x="3513340" y="595442"/>
                  <a:pt x="3546973" y="703575"/>
                </a:cubicBezTo>
                <a:lnTo>
                  <a:pt x="3553915" y="722542"/>
                </a:lnTo>
                <a:lnTo>
                  <a:pt x="309111" y="722542"/>
                </a:lnTo>
                <a:lnTo>
                  <a:pt x="0" y="413431"/>
                </a:lnTo>
                <a:lnTo>
                  <a:pt x="0" y="0"/>
                </a:lnTo>
                <a:close/>
              </a:path>
            </a:pathLst>
          </a:custGeom>
          <a:solidFill>
            <a:schemeClr val="bg1"/>
          </a:solidFill>
          <a:ln w="12700">
            <a:gradFill flip="none" rotWithShape="1">
              <a:gsLst>
                <a:gs pos="45000">
                  <a:schemeClr val="accent2"/>
                </a:gs>
                <a:gs pos="80000">
                  <a:schemeClr val="accent2">
                    <a:lumMod val="75000"/>
                    <a:alpha val="88000"/>
                  </a:schemeClr>
                </a:gs>
                <a:gs pos="99000">
                  <a:schemeClr val="accent1"/>
                </a:gs>
              </a:gsLst>
              <a:lin ang="189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white"/>
              </a:solidFill>
              <a:effectLst/>
              <a:uLnTx/>
              <a:uFillTx/>
              <a:latin typeface="Roboto Light"/>
              <a:ea typeface="OPPOSans L" panose="00020600040101010101" pitchFamily="18" charset="-122"/>
              <a:cs typeface="+mn-cs"/>
            </a:endParaRPr>
          </a:p>
        </p:txBody>
      </p:sp>
      <p:sp>
        <p:nvSpPr>
          <p:cNvPr id="86" name="矩形 85">
            <a:extLst>
              <a:ext uri="{FF2B5EF4-FFF2-40B4-BE49-F238E27FC236}">
                <a16:creationId xmlns:a16="http://schemas.microsoft.com/office/drawing/2014/main" id="{1A49B680-CCAE-4315-8E46-50F5F761276A}"/>
              </a:ext>
            </a:extLst>
          </p:cNvPr>
          <p:cNvSpPr/>
          <p:nvPr/>
        </p:nvSpPr>
        <p:spPr>
          <a:xfrm>
            <a:off x="1308060" y="1828662"/>
            <a:ext cx="2741135" cy="276999"/>
          </a:xfrm>
          <a:prstGeom prst="rect">
            <a:avLst/>
          </a:prstGeom>
        </p:spPr>
        <p:txBody>
          <a:bodyPr wrap="non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800" b="0" i="0" u="none" strike="noStrike" kern="1200" cap="none" spc="0" normalizeH="0" baseline="0" noProof="0" dirty="0">
                <a:ln>
                  <a:noFill/>
                </a:ln>
                <a:solidFill>
                  <a:prstClr val="black">
                    <a:lumMod val="65000"/>
                    <a:lumOff val="35000"/>
                  </a:prstClr>
                </a:solidFill>
                <a:effectLst/>
                <a:uLnTx/>
                <a:uFillTx/>
                <a:latin typeface="OPPOSans M" panose="00020600040101010101" pitchFamily="18" charset="-122"/>
                <a:ea typeface="OPPOSans M" panose="00020600040101010101" pitchFamily="18" charset="-122"/>
                <a:cs typeface="+mn-cs"/>
              </a:rPr>
              <a:t>秋叶</a:t>
            </a:r>
            <a:r>
              <a:rPr kumimoji="0" lang="en-US" altLang="zh-CN" sz="1800" b="0" i="0" u="none" strike="noStrike" kern="1200" cap="none" spc="0" normalizeH="0" baseline="0" noProof="0" dirty="0">
                <a:ln>
                  <a:noFill/>
                </a:ln>
                <a:solidFill>
                  <a:prstClr val="black">
                    <a:lumMod val="65000"/>
                    <a:lumOff val="35000"/>
                  </a:prstClr>
                </a:solidFill>
                <a:effectLst/>
                <a:uLnTx/>
                <a:uFillTx/>
                <a:latin typeface="OPPOSans M" panose="00020600040101010101" pitchFamily="18" charset="-122"/>
                <a:ea typeface="OPPOSans M" panose="00020600040101010101" pitchFamily="18" charset="-122"/>
                <a:cs typeface="+mn-cs"/>
              </a:rPr>
              <a:t>PPT</a:t>
            </a:r>
            <a:r>
              <a:rPr kumimoji="0" lang="zh-CN" altLang="en-US" sz="1800" b="0" i="0" u="none" strike="noStrike" kern="1200" cap="none" spc="0" normalizeH="0" baseline="0" noProof="0" dirty="0">
                <a:ln>
                  <a:noFill/>
                </a:ln>
                <a:solidFill>
                  <a:prstClr val="black">
                    <a:lumMod val="65000"/>
                    <a:lumOff val="35000"/>
                  </a:prstClr>
                </a:solidFill>
                <a:effectLst/>
                <a:uLnTx/>
                <a:uFillTx/>
                <a:latin typeface="OPPOSans M" panose="00020600040101010101" pitchFamily="18" charset="-122"/>
                <a:ea typeface="OPPOSans M" panose="00020600040101010101" pitchFamily="18" charset="-122"/>
                <a:cs typeface="+mn-cs"/>
              </a:rPr>
              <a:t>海量素材持续更新</a:t>
            </a:r>
            <a:endParaRPr kumimoji="0" lang="en-US" altLang="zh-CN" sz="1800" b="0" i="0" u="none" strike="noStrike" kern="1200" cap="none" spc="0" normalizeH="0" baseline="0" noProof="0" dirty="0">
              <a:ln>
                <a:noFill/>
              </a:ln>
              <a:solidFill>
                <a:prstClr val="black">
                  <a:lumMod val="65000"/>
                  <a:lumOff val="35000"/>
                </a:prstClr>
              </a:solidFill>
              <a:effectLst/>
              <a:uLnTx/>
              <a:uFillTx/>
              <a:latin typeface="OPPOSans M" panose="00020600040101010101" pitchFamily="18" charset="-122"/>
              <a:ea typeface="OPPOSans M" panose="00020600040101010101" pitchFamily="18" charset="-122"/>
              <a:cs typeface="+mn-cs"/>
            </a:endParaRPr>
          </a:p>
        </p:txBody>
      </p:sp>
      <p:sp>
        <p:nvSpPr>
          <p:cNvPr id="71" name="任意多边形: 形状 70">
            <a:extLst>
              <a:ext uri="{FF2B5EF4-FFF2-40B4-BE49-F238E27FC236}">
                <a16:creationId xmlns:a16="http://schemas.microsoft.com/office/drawing/2014/main" id="{21BEF41F-8B2C-4A22-A9DA-376A178844AB}"/>
              </a:ext>
            </a:extLst>
          </p:cNvPr>
          <p:cNvSpPr/>
          <p:nvPr/>
        </p:nvSpPr>
        <p:spPr>
          <a:xfrm>
            <a:off x="7736413" y="3225037"/>
            <a:ext cx="3553916" cy="722542"/>
          </a:xfrm>
          <a:custGeom>
            <a:avLst/>
            <a:gdLst>
              <a:gd name="connsiteX0" fmla="*/ 0 w 3553916"/>
              <a:gd name="connsiteY0" fmla="*/ 0 h 722542"/>
              <a:gd name="connsiteX1" fmla="*/ 3244805 w 3553916"/>
              <a:gd name="connsiteY1" fmla="*/ 0 h 722542"/>
              <a:gd name="connsiteX2" fmla="*/ 3553916 w 3553916"/>
              <a:gd name="connsiteY2" fmla="*/ 309111 h 722542"/>
              <a:gd name="connsiteX3" fmla="*/ 3553916 w 3553916"/>
              <a:gd name="connsiteY3" fmla="*/ 722542 h 722542"/>
              <a:gd name="connsiteX4" fmla="*/ 0 w 3553916"/>
              <a:gd name="connsiteY4" fmla="*/ 722542 h 722542"/>
              <a:gd name="connsiteX5" fmla="*/ 6942 w 3553916"/>
              <a:gd name="connsiteY5" fmla="*/ 703575 h 722542"/>
              <a:gd name="connsiteX6" fmla="*/ 58694 w 3553916"/>
              <a:gd name="connsiteY6" fmla="*/ 361271 h 722542"/>
              <a:gd name="connsiteX7" fmla="*/ 6942 w 3553916"/>
              <a:gd name="connsiteY7" fmla="*/ 18967 h 722542"/>
              <a:gd name="connsiteX8" fmla="*/ 0 w 3553916"/>
              <a:gd name="connsiteY8" fmla="*/ 0 h 722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53916" h="722542">
                <a:moveTo>
                  <a:pt x="0" y="0"/>
                </a:moveTo>
                <a:lnTo>
                  <a:pt x="3244805" y="0"/>
                </a:lnTo>
                <a:lnTo>
                  <a:pt x="3553916" y="309111"/>
                </a:lnTo>
                <a:lnTo>
                  <a:pt x="3553916" y="722542"/>
                </a:lnTo>
                <a:lnTo>
                  <a:pt x="0" y="722542"/>
                </a:lnTo>
                <a:lnTo>
                  <a:pt x="6942" y="703575"/>
                </a:lnTo>
                <a:cubicBezTo>
                  <a:pt x="40576" y="595442"/>
                  <a:pt x="58694" y="480472"/>
                  <a:pt x="58694" y="361271"/>
                </a:cubicBezTo>
                <a:cubicBezTo>
                  <a:pt x="58694" y="242070"/>
                  <a:pt x="40576" y="127101"/>
                  <a:pt x="6942" y="18967"/>
                </a:cubicBezTo>
                <a:lnTo>
                  <a:pt x="0" y="0"/>
                </a:lnTo>
                <a:close/>
              </a:path>
            </a:pathLst>
          </a:custGeom>
          <a:solidFill>
            <a:schemeClr val="bg1"/>
          </a:solidFill>
          <a:ln w="12700">
            <a:gradFill flip="none" rotWithShape="1">
              <a:gsLst>
                <a:gs pos="45000">
                  <a:schemeClr val="accent2"/>
                </a:gs>
                <a:gs pos="80000">
                  <a:schemeClr val="accent2">
                    <a:lumMod val="75000"/>
                    <a:alpha val="88000"/>
                  </a:schemeClr>
                </a:gs>
                <a:gs pos="99000">
                  <a:schemeClr val="accent1"/>
                </a:gs>
              </a:gsLst>
              <a:lin ang="189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white"/>
              </a:solidFill>
              <a:effectLst/>
              <a:uLnTx/>
              <a:uFillTx/>
              <a:latin typeface="Roboto Light"/>
              <a:ea typeface="OPPOSans L" panose="00020600040101010101" pitchFamily="18" charset="-122"/>
              <a:cs typeface="+mn-cs"/>
            </a:endParaRPr>
          </a:p>
        </p:txBody>
      </p:sp>
      <p:sp>
        <p:nvSpPr>
          <p:cNvPr id="78" name="矩形 77">
            <a:extLst>
              <a:ext uri="{FF2B5EF4-FFF2-40B4-BE49-F238E27FC236}">
                <a16:creationId xmlns:a16="http://schemas.microsoft.com/office/drawing/2014/main" id="{9E08C45F-214D-46ED-8537-18CEC9230B30}"/>
              </a:ext>
            </a:extLst>
          </p:cNvPr>
          <p:cNvSpPr/>
          <p:nvPr/>
        </p:nvSpPr>
        <p:spPr>
          <a:xfrm>
            <a:off x="8142803" y="3444601"/>
            <a:ext cx="2741135" cy="276999"/>
          </a:xfrm>
          <a:prstGeom prst="rect">
            <a:avLst/>
          </a:prstGeom>
        </p:spPr>
        <p:txBody>
          <a:bodyPr wrap="non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800" b="0" i="0" u="none" strike="noStrike" kern="1200" cap="none" spc="0" normalizeH="0" baseline="0" noProof="0" dirty="0">
                <a:ln>
                  <a:noFill/>
                </a:ln>
                <a:solidFill>
                  <a:prstClr val="black">
                    <a:lumMod val="65000"/>
                    <a:lumOff val="35000"/>
                  </a:prstClr>
                </a:solidFill>
                <a:effectLst/>
                <a:uLnTx/>
                <a:uFillTx/>
                <a:latin typeface="OPPOSans M" panose="00020600040101010101" pitchFamily="18" charset="-122"/>
                <a:ea typeface="OPPOSans M" panose="00020600040101010101" pitchFamily="18" charset="-122"/>
                <a:cs typeface="+mn-cs"/>
              </a:rPr>
              <a:t>秋叶</a:t>
            </a:r>
            <a:r>
              <a:rPr kumimoji="0" lang="en-US" altLang="zh-CN" sz="1800" b="0" i="0" u="none" strike="noStrike" kern="1200" cap="none" spc="0" normalizeH="0" baseline="0" noProof="0" dirty="0">
                <a:ln>
                  <a:noFill/>
                </a:ln>
                <a:solidFill>
                  <a:prstClr val="black">
                    <a:lumMod val="65000"/>
                    <a:lumOff val="35000"/>
                  </a:prstClr>
                </a:solidFill>
                <a:effectLst/>
                <a:uLnTx/>
                <a:uFillTx/>
                <a:latin typeface="OPPOSans M" panose="00020600040101010101" pitchFamily="18" charset="-122"/>
                <a:ea typeface="OPPOSans M" panose="00020600040101010101" pitchFamily="18" charset="-122"/>
                <a:cs typeface="+mn-cs"/>
              </a:rPr>
              <a:t>PPT</a:t>
            </a:r>
            <a:r>
              <a:rPr kumimoji="0" lang="zh-CN" altLang="en-US" sz="1800" b="0" i="0" u="none" strike="noStrike" kern="1200" cap="none" spc="0" normalizeH="0" baseline="0" noProof="0" dirty="0">
                <a:ln>
                  <a:noFill/>
                </a:ln>
                <a:solidFill>
                  <a:prstClr val="black">
                    <a:lumMod val="65000"/>
                    <a:lumOff val="35000"/>
                  </a:prstClr>
                </a:solidFill>
                <a:effectLst/>
                <a:uLnTx/>
                <a:uFillTx/>
                <a:latin typeface="OPPOSans M" panose="00020600040101010101" pitchFamily="18" charset="-122"/>
                <a:ea typeface="OPPOSans M" panose="00020600040101010101" pitchFamily="18" charset="-122"/>
                <a:cs typeface="+mn-cs"/>
              </a:rPr>
              <a:t>海量素材持续更新</a:t>
            </a:r>
            <a:endParaRPr kumimoji="0" lang="en-US" altLang="zh-CN" sz="1800" b="0" i="0" u="none" strike="noStrike" kern="1200" cap="none" spc="0" normalizeH="0" baseline="0" noProof="0" dirty="0">
              <a:ln>
                <a:noFill/>
              </a:ln>
              <a:solidFill>
                <a:prstClr val="black">
                  <a:lumMod val="65000"/>
                  <a:lumOff val="35000"/>
                </a:prstClr>
              </a:solidFill>
              <a:effectLst/>
              <a:uLnTx/>
              <a:uFillTx/>
              <a:latin typeface="OPPOSans M" panose="00020600040101010101" pitchFamily="18" charset="-122"/>
              <a:ea typeface="OPPOSans M" panose="00020600040101010101" pitchFamily="18" charset="-122"/>
              <a:cs typeface="+mn-cs"/>
            </a:endParaRPr>
          </a:p>
        </p:txBody>
      </p:sp>
      <p:sp>
        <p:nvSpPr>
          <p:cNvPr id="88" name="任意多边形: 形状 87">
            <a:extLst>
              <a:ext uri="{FF2B5EF4-FFF2-40B4-BE49-F238E27FC236}">
                <a16:creationId xmlns:a16="http://schemas.microsoft.com/office/drawing/2014/main" id="{89ACA5E3-C2A7-48EC-A790-84AB7CD116A7}"/>
              </a:ext>
            </a:extLst>
          </p:cNvPr>
          <p:cNvSpPr/>
          <p:nvPr/>
        </p:nvSpPr>
        <p:spPr>
          <a:xfrm>
            <a:off x="7736413" y="2100642"/>
            <a:ext cx="3553916" cy="722542"/>
          </a:xfrm>
          <a:custGeom>
            <a:avLst/>
            <a:gdLst>
              <a:gd name="connsiteX0" fmla="*/ 0 w 3553916"/>
              <a:gd name="connsiteY0" fmla="*/ 0 h 722542"/>
              <a:gd name="connsiteX1" fmla="*/ 3244805 w 3553916"/>
              <a:gd name="connsiteY1" fmla="*/ 0 h 722542"/>
              <a:gd name="connsiteX2" fmla="*/ 3553916 w 3553916"/>
              <a:gd name="connsiteY2" fmla="*/ 309111 h 722542"/>
              <a:gd name="connsiteX3" fmla="*/ 3553916 w 3553916"/>
              <a:gd name="connsiteY3" fmla="*/ 722542 h 722542"/>
              <a:gd name="connsiteX4" fmla="*/ 0 w 3553916"/>
              <a:gd name="connsiteY4" fmla="*/ 722542 h 722542"/>
              <a:gd name="connsiteX5" fmla="*/ 6942 w 3553916"/>
              <a:gd name="connsiteY5" fmla="*/ 703575 h 722542"/>
              <a:gd name="connsiteX6" fmla="*/ 58694 w 3553916"/>
              <a:gd name="connsiteY6" fmla="*/ 361271 h 722542"/>
              <a:gd name="connsiteX7" fmla="*/ 6942 w 3553916"/>
              <a:gd name="connsiteY7" fmla="*/ 18967 h 722542"/>
              <a:gd name="connsiteX8" fmla="*/ 0 w 3553916"/>
              <a:gd name="connsiteY8" fmla="*/ 0 h 722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53916" h="722542">
                <a:moveTo>
                  <a:pt x="0" y="0"/>
                </a:moveTo>
                <a:lnTo>
                  <a:pt x="3244805" y="0"/>
                </a:lnTo>
                <a:lnTo>
                  <a:pt x="3553916" y="309111"/>
                </a:lnTo>
                <a:lnTo>
                  <a:pt x="3553916" y="722542"/>
                </a:lnTo>
                <a:lnTo>
                  <a:pt x="0" y="722542"/>
                </a:lnTo>
                <a:lnTo>
                  <a:pt x="6942" y="703575"/>
                </a:lnTo>
                <a:cubicBezTo>
                  <a:pt x="40576" y="595442"/>
                  <a:pt x="58694" y="480472"/>
                  <a:pt x="58694" y="361271"/>
                </a:cubicBezTo>
                <a:cubicBezTo>
                  <a:pt x="58694" y="242070"/>
                  <a:pt x="40576" y="127101"/>
                  <a:pt x="6942" y="18967"/>
                </a:cubicBezTo>
                <a:lnTo>
                  <a:pt x="0" y="0"/>
                </a:lnTo>
                <a:close/>
              </a:path>
            </a:pathLst>
          </a:custGeom>
          <a:solidFill>
            <a:schemeClr val="bg1"/>
          </a:solidFill>
          <a:ln w="12700">
            <a:gradFill flip="none" rotWithShape="1">
              <a:gsLst>
                <a:gs pos="45000">
                  <a:schemeClr val="accent2"/>
                </a:gs>
                <a:gs pos="80000">
                  <a:schemeClr val="accent2">
                    <a:lumMod val="75000"/>
                    <a:alpha val="88000"/>
                  </a:schemeClr>
                </a:gs>
                <a:gs pos="99000">
                  <a:schemeClr val="accent1"/>
                </a:gs>
              </a:gsLst>
              <a:lin ang="189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white"/>
              </a:solidFill>
              <a:effectLst/>
              <a:uLnTx/>
              <a:uFillTx/>
              <a:latin typeface="Roboto Light"/>
              <a:ea typeface="OPPOSans L" panose="00020600040101010101" pitchFamily="18" charset="-122"/>
              <a:cs typeface="+mn-cs"/>
            </a:endParaRPr>
          </a:p>
        </p:txBody>
      </p:sp>
      <p:sp>
        <p:nvSpPr>
          <p:cNvPr id="89" name="矩形 88">
            <a:extLst>
              <a:ext uri="{FF2B5EF4-FFF2-40B4-BE49-F238E27FC236}">
                <a16:creationId xmlns:a16="http://schemas.microsoft.com/office/drawing/2014/main" id="{13C4B4AB-537F-499C-BC43-F64D483FE18A}"/>
              </a:ext>
            </a:extLst>
          </p:cNvPr>
          <p:cNvSpPr/>
          <p:nvPr/>
        </p:nvSpPr>
        <p:spPr>
          <a:xfrm>
            <a:off x="8142803" y="2320206"/>
            <a:ext cx="2741135" cy="276999"/>
          </a:xfrm>
          <a:prstGeom prst="rect">
            <a:avLst/>
          </a:prstGeom>
        </p:spPr>
        <p:txBody>
          <a:bodyPr wrap="non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800" b="0" i="0" u="none" strike="noStrike" kern="1200" cap="none" spc="0" normalizeH="0" baseline="0" noProof="0" dirty="0">
                <a:ln>
                  <a:noFill/>
                </a:ln>
                <a:solidFill>
                  <a:prstClr val="black">
                    <a:lumMod val="65000"/>
                    <a:lumOff val="35000"/>
                  </a:prstClr>
                </a:solidFill>
                <a:effectLst/>
                <a:uLnTx/>
                <a:uFillTx/>
                <a:latin typeface="OPPOSans M" panose="00020600040101010101" pitchFamily="18" charset="-122"/>
                <a:ea typeface="OPPOSans M" panose="00020600040101010101" pitchFamily="18" charset="-122"/>
                <a:cs typeface="+mn-cs"/>
              </a:rPr>
              <a:t>秋叶</a:t>
            </a:r>
            <a:r>
              <a:rPr kumimoji="0" lang="en-US" altLang="zh-CN" sz="1800" b="0" i="0" u="none" strike="noStrike" kern="1200" cap="none" spc="0" normalizeH="0" baseline="0" noProof="0" dirty="0">
                <a:ln>
                  <a:noFill/>
                </a:ln>
                <a:solidFill>
                  <a:prstClr val="black">
                    <a:lumMod val="65000"/>
                    <a:lumOff val="35000"/>
                  </a:prstClr>
                </a:solidFill>
                <a:effectLst/>
                <a:uLnTx/>
                <a:uFillTx/>
                <a:latin typeface="OPPOSans M" panose="00020600040101010101" pitchFamily="18" charset="-122"/>
                <a:ea typeface="OPPOSans M" panose="00020600040101010101" pitchFamily="18" charset="-122"/>
                <a:cs typeface="+mn-cs"/>
              </a:rPr>
              <a:t>PPT</a:t>
            </a:r>
            <a:r>
              <a:rPr kumimoji="0" lang="zh-CN" altLang="en-US" sz="1800" b="0" i="0" u="none" strike="noStrike" kern="1200" cap="none" spc="0" normalizeH="0" baseline="0" noProof="0" dirty="0">
                <a:ln>
                  <a:noFill/>
                </a:ln>
                <a:solidFill>
                  <a:prstClr val="black">
                    <a:lumMod val="65000"/>
                    <a:lumOff val="35000"/>
                  </a:prstClr>
                </a:solidFill>
                <a:effectLst/>
                <a:uLnTx/>
                <a:uFillTx/>
                <a:latin typeface="OPPOSans M" panose="00020600040101010101" pitchFamily="18" charset="-122"/>
                <a:ea typeface="OPPOSans M" panose="00020600040101010101" pitchFamily="18" charset="-122"/>
                <a:cs typeface="+mn-cs"/>
              </a:rPr>
              <a:t>海量素材持续更新</a:t>
            </a:r>
            <a:endParaRPr kumimoji="0" lang="en-US" altLang="zh-CN" sz="1800" b="0" i="0" u="none" strike="noStrike" kern="1200" cap="none" spc="0" normalizeH="0" baseline="0" noProof="0" dirty="0">
              <a:ln>
                <a:noFill/>
              </a:ln>
              <a:solidFill>
                <a:prstClr val="black">
                  <a:lumMod val="65000"/>
                  <a:lumOff val="35000"/>
                </a:prstClr>
              </a:solidFill>
              <a:effectLst/>
              <a:uLnTx/>
              <a:uFillTx/>
              <a:latin typeface="OPPOSans M" panose="00020600040101010101" pitchFamily="18" charset="-122"/>
              <a:ea typeface="OPPOSans M" panose="00020600040101010101" pitchFamily="18" charset="-122"/>
              <a:cs typeface="+mn-cs"/>
            </a:endParaRPr>
          </a:p>
        </p:txBody>
      </p:sp>
      <p:sp>
        <p:nvSpPr>
          <p:cNvPr id="91" name="任意多边形: 形状 90">
            <a:extLst>
              <a:ext uri="{FF2B5EF4-FFF2-40B4-BE49-F238E27FC236}">
                <a16:creationId xmlns:a16="http://schemas.microsoft.com/office/drawing/2014/main" id="{87763560-6C59-42B7-A4EC-4661962DAA25}"/>
              </a:ext>
            </a:extLst>
          </p:cNvPr>
          <p:cNvSpPr/>
          <p:nvPr/>
        </p:nvSpPr>
        <p:spPr>
          <a:xfrm>
            <a:off x="7736413" y="976247"/>
            <a:ext cx="3553916" cy="722542"/>
          </a:xfrm>
          <a:custGeom>
            <a:avLst/>
            <a:gdLst>
              <a:gd name="connsiteX0" fmla="*/ 0 w 3553916"/>
              <a:gd name="connsiteY0" fmla="*/ 0 h 722542"/>
              <a:gd name="connsiteX1" fmla="*/ 3244805 w 3553916"/>
              <a:gd name="connsiteY1" fmla="*/ 0 h 722542"/>
              <a:gd name="connsiteX2" fmla="*/ 3553916 w 3553916"/>
              <a:gd name="connsiteY2" fmla="*/ 309111 h 722542"/>
              <a:gd name="connsiteX3" fmla="*/ 3553916 w 3553916"/>
              <a:gd name="connsiteY3" fmla="*/ 722542 h 722542"/>
              <a:gd name="connsiteX4" fmla="*/ 0 w 3553916"/>
              <a:gd name="connsiteY4" fmla="*/ 722542 h 722542"/>
              <a:gd name="connsiteX5" fmla="*/ 6942 w 3553916"/>
              <a:gd name="connsiteY5" fmla="*/ 703575 h 722542"/>
              <a:gd name="connsiteX6" fmla="*/ 58694 w 3553916"/>
              <a:gd name="connsiteY6" fmla="*/ 361271 h 722542"/>
              <a:gd name="connsiteX7" fmla="*/ 6942 w 3553916"/>
              <a:gd name="connsiteY7" fmla="*/ 18967 h 722542"/>
              <a:gd name="connsiteX8" fmla="*/ 0 w 3553916"/>
              <a:gd name="connsiteY8" fmla="*/ 0 h 722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53916" h="722542">
                <a:moveTo>
                  <a:pt x="0" y="0"/>
                </a:moveTo>
                <a:lnTo>
                  <a:pt x="3244805" y="0"/>
                </a:lnTo>
                <a:lnTo>
                  <a:pt x="3553916" y="309111"/>
                </a:lnTo>
                <a:lnTo>
                  <a:pt x="3553916" y="722542"/>
                </a:lnTo>
                <a:lnTo>
                  <a:pt x="0" y="722542"/>
                </a:lnTo>
                <a:lnTo>
                  <a:pt x="6942" y="703575"/>
                </a:lnTo>
                <a:cubicBezTo>
                  <a:pt x="40576" y="595442"/>
                  <a:pt x="58694" y="480472"/>
                  <a:pt x="58694" y="361271"/>
                </a:cubicBezTo>
                <a:cubicBezTo>
                  <a:pt x="58694" y="242070"/>
                  <a:pt x="40576" y="127101"/>
                  <a:pt x="6942" y="18967"/>
                </a:cubicBezTo>
                <a:lnTo>
                  <a:pt x="0" y="0"/>
                </a:lnTo>
                <a:close/>
              </a:path>
            </a:pathLst>
          </a:custGeom>
          <a:solidFill>
            <a:schemeClr val="bg1"/>
          </a:solidFill>
          <a:ln w="12700">
            <a:gradFill flip="none" rotWithShape="1">
              <a:gsLst>
                <a:gs pos="45000">
                  <a:schemeClr val="accent2"/>
                </a:gs>
                <a:gs pos="80000">
                  <a:schemeClr val="accent2">
                    <a:lumMod val="75000"/>
                    <a:alpha val="88000"/>
                  </a:schemeClr>
                </a:gs>
                <a:gs pos="99000">
                  <a:schemeClr val="accent1"/>
                </a:gs>
              </a:gsLst>
              <a:lin ang="189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white"/>
              </a:solidFill>
              <a:effectLst/>
              <a:uLnTx/>
              <a:uFillTx/>
              <a:latin typeface="Roboto Light"/>
              <a:ea typeface="OPPOSans L" panose="00020600040101010101" pitchFamily="18" charset="-122"/>
              <a:cs typeface="+mn-cs"/>
            </a:endParaRPr>
          </a:p>
        </p:txBody>
      </p:sp>
      <p:sp>
        <p:nvSpPr>
          <p:cNvPr id="92" name="矩形 91">
            <a:extLst>
              <a:ext uri="{FF2B5EF4-FFF2-40B4-BE49-F238E27FC236}">
                <a16:creationId xmlns:a16="http://schemas.microsoft.com/office/drawing/2014/main" id="{C7B659FD-CCFA-446D-8191-14A40E02EBB5}"/>
              </a:ext>
            </a:extLst>
          </p:cNvPr>
          <p:cNvSpPr/>
          <p:nvPr/>
        </p:nvSpPr>
        <p:spPr>
          <a:xfrm>
            <a:off x="8142803" y="1195811"/>
            <a:ext cx="2741135" cy="276999"/>
          </a:xfrm>
          <a:prstGeom prst="rect">
            <a:avLst/>
          </a:prstGeom>
        </p:spPr>
        <p:txBody>
          <a:bodyPr wrap="non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800" b="0" i="0" u="none" strike="noStrike" kern="1200" cap="none" spc="0" normalizeH="0" baseline="0" noProof="0" dirty="0">
                <a:ln>
                  <a:noFill/>
                </a:ln>
                <a:solidFill>
                  <a:prstClr val="black">
                    <a:lumMod val="65000"/>
                    <a:lumOff val="35000"/>
                  </a:prstClr>
                </a:solidFill>
                <a:effectLst/>
                <a:uLnTx/>
                <a:uFillTx/>
                <a:latin typeface="OPPOSans M" panose="00020600040101010101" pitchFamily="18" charset="-122"/>
                <a:ea typeface="OPPOSans M" panose="00020600040101010101" pitchFamily="18" charset="-122"/>
                <a:cs typeface="+mn-cs"/>
              </a:rPr>
              <a:t>秋叶</a:t>
            </a:r>
            <a:r>
              <a:rPr kumimoji="0" lang="en-US" altLang="zh-CN" sz="1800" b="0" i="0" u="none" strike="noStrike" kern="1200" cap="none" spc="0" normalizeH="0" baseline="0" noProof="0" dirty="0">
                <a:ln>
                  <a:noFill/>
                </a:ln>
                <a:solidFill>
                  <a:prstClr val="black">
                    <a:lumMod val="65000"/>
                    <a:lumOff val="35000"/>
                  </a:prstClr>
                </a:solidFill>
                <a:effectLst/>
                <a:uLnTx/>
                <a:uFillTx/>
                <a:latin typeface="OPPOSans M" panose="00020600040101010101" pitchFamily="18" charset="-122"/>
                <a:ea typeface="OPPOSans M" panose="00020600040101010101" pitchFamily="18" charset="-122"/>
                <a:cs typeface="+mn-cs"/>
              </a:rPr>
              <a:t>PPT</a:t>
            </a:r>
            <a:r>
              <a:rPr kumimoji="0" lang="zh-CN" altLang="en-US" sz="1800" b="0" i="0" u="none" strike="noStrike" kern="1200" cap="none" spc="0" normalizeH="0" baseline="0" noProof="0" dirty="0">
                <a:ln>
                  <a:noFill/>
                </a:ln>
                <a:solidFill>
                  <a:prstClr val="black">
                    <a:lumMod val="65000"/>
                    <a:lumOff val="35000"/>
                  </a:prstClr>
                </a:solidFill>
                <a:effectLst/>
                <a:uLnTx/>
                <a:uFillTx/>
                <a:latin typeface="OPPOSans M" panose="00020600040101010101" pitchFamily="18" charset="-122"/>
                <a:ea typeface="OPPOSans M" panose="00020600040101010101" pitchFamily="18" charset="-122"/>
                <a:cs typeface="+mn-cs"/>
              </a:rPr>
              <a:t>海量素材持续更新</a:t>
            </a:r>
            <a:endParaRPr kumimoji="0" lang="en-US" altLang="zh-CN" sz="1800" b="0" i="0" u="none" strike="noStrike" kern="1200" cap="none" spc="0" normalizeH="0" baseline="0" noProof="0" dirty="0">
              <a:ln>
                <a:noFill/>
              </a:ln>
              <a:solidFill>
                <a:prstClr val="black">
                  <a:lumMod val="65000"/>
                  <a:lumOff val="35000"/>
                </a:prstClr>
              </a:solidFill>
              <a:effectLst/>
              <a:uLnTx/>
              <a:uFillTx/>
              <a:latin typeface="OPPOSans M" panose="00020600040101010101" pitchFamily="18" charset="-122"/>
              <a:ea typeface="OPPOSans M" panose="00020600040101010101" pitchFamily="18" charset="-122"/>
              <a:cs typeface="+mn-cs"/>
            </a:endParaRPr>
          </a:p>
        </p:txBody>
      </p:sp>
      <p:sp>
        <p:nvSpPr>
          <p:cNvPr id="12" name="任意多边形: 形状 11">
            <a:extLst>
              <a:ext uri="{FF2B5EF4-FFF2-40B4-BE49-F238E27FC236}">
                <a16:creationId xmlns:a16="http://schemas.microsoft.com/office/drawing/2014/main" id="{65CF21BB-EA0E-427C-8E7D-EAA18930090A}"/>
              </a:ext>
            </a:extLst>
          </p:cNvPr>
          <p:cNvSpPr/>
          <p:nvPr/>
        </p:nvSpPr>
        <p:spPr>
          <a:xfrm>
            <a:off x="695183" y="5080681"/>
            <a:ext cx="3987909" cy="1185183"/>
          </a:xfrm>
          <a:custGeom>
            <a:avLst/>
            <a:gdLst>
              <a:gd name="connsiteX0" fmla="*/ 0 w 3987909"/>
              <a:gd name="connsiteY0" fmla="*/ 0 h 1185183"/>
              <a:gd name="connsiteX1" fmla="*/ 3987909 w 3987909"/>
              <a:gd name="connsiteY1" fmla="*/ 0 h 1185183"/>
              <a:gd name="connsiteX2" fmla="*/ 3937752 w 3987909"/>
              <a:gd name="connsiteY2" fmla="*/ 137039 h 1185183"/>
              <a:gd name="connsiteX3" fmla="*/ 3868879 w 3987909"/>
              <a:gd name="connsiteY3" fmla="*/ 592591 h 1185183"/>
              <a:gd name="connsiteX4" fmla="*/ 3937752 w 3987909"/>
              <a:gd name="connsiteY4" fmla="*/ 1048143 h 1185183"/>
              <a:gd name="connsiteX5" fmla="*/ 3987909 w 3987909"/>
              <a:gd name="connsiteY5" fmla="*/ 1185183 h 1185183"/>
              <a:gd name="connsiteX6" fmla="*/ 342672 w 3987909"/>
              <a:gd name="connsiteY6" fmla="*/ 1185183 h 1185183"/>
              <a:gd name="connsiteX7" fmla="*/ 0 w 3987909"/>
              <a:gd name="connsiteY7" fmla="*/ 842511 h 1185183"/>
              <a:gd name="connsiteX8" fmla="*/ 0 w 3987909"/>
              <a:gd name="connsiteY8" fmla="*/ 0 h 11851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87909" h="1185183">
                <a:moveTo>
                  <a:pt x="0" y="0"/>
                </a:moveTo>
                <a:lnTo>
                  <a:pt x="3987909" y="0"/>
                </a:lnTo>
                <a:lnTo>
                  <a:pt x="3937752" y="137039"/>
                </a:lnTo>
                <a:cubicBezTo>
                  <a:pt x="3892992" y="280948"/>
                  <a:pt x="3868879" y="433954"/>
                  <a:pt x="3868879" y="592591"/>
                </a:cubicBezTo>
                <a:cubicBezTo>
                  <a:pt x="3868879" y="751229"/>
                  <a:pt x="3892992" y="904234"/>
                  <a:pt x="3937752" y="1048143"/>
                </a:cubicBezTo>
                <a:lnTo>
                  <a:pt x="3987909" y="1185183"/>
                </a:lnTo>
                <a:lnTo>
                  <a:pt x="342672" y="1185183"/>
                </a:lnTo>
                <a:lnTo>
                  <a:pt x="0" y="842511"/>
                </a:lnTo>
                <a:lnTo>
                  <a:pt x="0" y="0"/>
                </a:lnTo>
                <a:close/>
              </a:path>
            </a:pathLst>
          </a:custGeom>
          <a:solidFill>
            <a:schemeClr val="bg1"/>
          </a:solidFill>
          <a:ln w="12700">
            <a:gradFill flip="none" rotWithShape="1">
              <a:gsLst>
                <a:gs pos="45000">
                  <a:schemeClr val="accent2"/>
                </a:gs>
                <a:gs pos="80000">
                  <a:schemeClr val="accent2">
                    <a:lumMod val="75000"/>
                    <a:alpha val="88000"/>
                  </a:schemeClr>
                </a:gs>
                <a:gs pos="99000">
                  <a:schemeClr val="accent1"/>
                </a:gs>
              </a:gsLst>
              <a:lin ang="189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white"/>
              </a:solidFill>
              <a:effectLst/>
              <a:uLnTx/>
              <a:uFillTx/>
              <a:latin typeface="Roboto Light"/>
              <a:ea typeface="OPPOSans L" panose="00020600040101010101" pitchFamily="18" charset="-122"/>
              <a:cs typeface="+mn-cs"/>
            </a:endParaRPr>
          </a:p>
        </p:txBody>
      </p:sp>
      <p:sp>
        <p:nvSpPr>
          <p:cNvPr id="11" name="任意多边形: 形状 10">
            <a:extLst>
              <a:ext uri="{FF2B5EF4-FFF2-40B4-BE49-F238E27FC236}">
                <a16:creationId xmlns:a16="http://schemas.microsoft.com/office/drawing/2014/main" id="{9BAE2D19-6B72-4604-8FCF-2753124F16E5}"/>
              </a:ext>
            </a:extLst>
          </p:cNvPr>
          <p:cNvSpPr/>
          <p:nvPr/>
        </p:nvSpPr>
        <p:spPr>
          <a:xfrm>
            <a:off x="7508908" y="5080681"/>
            <a:ext cx="3987910" cy="1185183"/>
          </a:xfrm>
          <a:custGeom>
            <a:avLst/>
            <a:gdLst>
              <a:gd name="connsiteX0" fmla="*/ 0 w 3987910"/>
              <a:gd name="connsiteY0" fmla="*/ 0 h 1185183"/>
              <a:gd name="connsiteX1" fmla="*/ 3645238 w 3987910"/>
              <a:gd name="connsiteY1" fmla="*/ 0 h 1185183"/>
              <a:gd name="connsiteX2" fmla="*/ 3987910 w 3987910"/>
              <a:gd name="connsiteY2" fmla="*/ 342672 h 1185183"/>
              <a:gd name="connsiteX3" fmla="*/ 3987910 w 3987910"/>
              <a:gd name="connsiteY3" fmla="*/ 1185183 h 1185183"/>
              <a:gd name="connsiteX4" fmla="*/ 0 w 3987910"/>
              <a:gd name="connsiteY4" fmla="*/ 1185183 h 1185183"/>
              <a:gd name="connsiteX5" fmla="*/ 50157 w 3987910"/>
              <a:gd name="connsiteY5" fmla="*/ 1048143 h 1185183"/>
              <a:gd name="connsiteX6" fmla="*/ 119030 w 3987910"/>
              <a:gd name="connsiteY6" fmla="*/ 592591 h 1185183"/>
              <a:gd name="connsiteX7" fmla="*/ 50157 w 3987910"/>
              <a:gd name="connsiteY7" fmla="*/ 137039 h 1185183"/>
              <a:gd name="connsiteX8" fmla="*/ 0 w 3987910"/>
              <a:gd name="connsiteY8" fmla="*/ 0 h 11851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87910" h="1185183">
                <a:moveTo>
                  <a:pt x="0" y="0"/>
                </a:moveTo>
                <a:lnTo>
                  <a:pt x="3645238" y="0"/>
                </a:lnTo>
                <a:lnTo>
                  <a:pt x="3987910" y="342672"/>
                </a:lnTo>
                <a:lnTo>
                  <a:pt x="3987910" y="1185183"/>
                </a:lnTo>
                <a:lnTo>
                  <a:pt x="0" y="1185183"/>
                </a:lnTo>
                <a:lnTo>
                  <a:pt x="50157" y="1048143"/>
                </a:lnTo>
                <a:cubicBezTo>
                  <a:pt x="94918" y="904234"/>
                  <a:pt x="119030" y="751229"/>
                  <a:pt x="119030" y="592591"/>
                </a:cubicBezTo>
                <a:cubicBezTo>
                  <a:pt x="119030" y="433954"/>
                  <a:pt x="94918" y="280948"/>
                  <a:pt x="50157" y="137039"/>
                </a:cubicBezTo>
                <a:lnTo>
                  <a:pt x="0" y="0"/>
                </a:lnTo>
                <a:close/>
              </a:path>
            </a:pathLst>
          </a:custGeom>
          <a:solidFill>
            <a:schemeClr val="bg1"/>
          </a:solidFill>
          <a:ln w="12700">
            <a:gradFill flip="none" rotWithShape="1">
              <a:gsLst>
                <a:gs pos="45000">
                  <a:schemeClr val="accent2"/>
                </a:gs>
                <a:gs pos="80000">
                  <a:schemeClr val="accent2">
                    <a:lumMod val="75000"/>
                    <a:alpha val="88000"/>
                  </a:schemeClr>
                </a:gs>
                <a:gs pos="99000">
                  <a:schemeClr val="accent1"/>
                </a:gs>
              </a:gsLst>
              <a:lin ang="189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white"/>
              </a:solidFill>
              <a:effectLst/>
              <a:uLnTx/>
              <a:uFillTx/>
              <a:latin typeface="Roboto Light"/>
              <a:ea typeface="OPPOSans L" panose="00020600040101010101" pitchFamily="18" charset="-122"/>
              <a:cs typeface="+mn-cs"/>
            </a:endParaRPr>
          </a:p>
        </p:txBody>
      </p:sp>
      <p:sp>
        <p:nvSpPr>
          <p:cNvPr id="16" name="椭圆 15">
            <a:extLst>
              <a:ext uri="{FF2B5EF4-FFF2-40B4-BE49-F238E27FC236}">
                <a16:creationId xmlns:a16="http://schemas.microsoft.com/office/drawing/2014/main" id="{89D04BD8-CEFA-4887-BEF3-6D4B046CE740}"/>
              </a:ext>
            </a:extLst>
          </p:cNvPr>
          <p:cNvSpPr/>
          <p:nvPr/>
        </p:nvSpPr>
        <p:spPr>
          <a:xfrm>
            <a:off x="5139871" y="4717143"/>
            <a:ext cx="1912258" cy="1912258"/>
          </a:xfrm>
          <a:prstGeom prst="ellipse">
            <a:avLst/>
          </a:prstGeom>
          <a:solidFill>
            <a:schemeClr val="bg1"/>
          </a:solidFill>
          <a:ln w="34925">
            <a:gradFill flip="none" rotWithShape="1">
              <a:gsLst>
                <a:gs pos="45000">
                  <a:schemeClr val="accent2"/>
                </a:gs>
                <a:gs pos="80000">
                  <a:schemeClr val="accent2">
                    <a:lumMod val="75000"/>
                    <a:alpha val="88000"/>
                  </a:schemeClr>
                </a:gs>
                <a:gs pos="99000">
                  <a:schemeClr val="accent1"/>
                </a:gs>
              </a:gsLst>
              <a:lin ang="189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white"/>
              </a:solidFill>
              <a:effectLst/>
              <a:uLnTx/>
              <a:uFillTx/>
              <a:latin typeface="Roboto Light"/>
              <a:ea typeface="OPPOSans L" panose="00020600040101010101" pitchFamily="18" charset="-122"/>
              <a:cs typeface="+mn-cs"/>
            </a:endParaRPr>
          </a:p>
        </p:txBody>
      </p:sp>
      <p:sp>
        <p:nvSpPr>
          <p:cNvPr id="15" name="椭圆 14">
            <a:extLst>
              <a:ext uri="{FF2B5EF4-FFF2-40B4-BE49-F238E27FC236}">
                <a16:creationId xmlns:a16="http://schemas.microsoft.com/office/drawing/2014/main" id="{DFB8AEF3-71F6-4080-A85B-864DEF627B58}"/>
              </a:ext>
            </a:extLst>
          </p:cNvPr>
          <p:cNvSpPr/>
          <p:nvPr/>
        </p:nvSpPr>
        <p:spPr>
          <a:xfrm>
            <a:off x="5307937" y="4885209"/>
            <a:ext cx="1576126" cy="1576126"/>
          </a:xfrm>
          <a:prstGeom prst="ellipse">
            <a:avLst/>
          </a:prstGeom>
          <a:gradFill>
            <a:gsLst>
              <a:gs pos="50000">
                <a:schemeClr val="accent2">
                  <a:lumMod val="75000"/>
                </a:schemeClr>
              </a:gs>
              <a:gs pos="0">
                <a:srgbClr val="F7E2DD"/>
              </a:gs>
              <a:gs pos="100000">
                <a:srgbClr val="C95780"/>
              </a:gs>
            </a:gsLst>
            <a:path path="circle">
              <a:fillToRect r="100000" b="10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600" b="0" i="0" u="none" strike="noStrike" kern="1200" cap="none" spc="0" normalizeH="0" baseline="0" noProof="0" dirty="0">
              <a:ln>
                <a:noFill/>
              </a:ln>
              <a:solidFill>
                <a:prstClr val="white"/>
              </a:solidFill>
              <a:effectLst/>
              <a:uLnTx/>
              <a:uFillTx/>
              <a:latin typeface="OPPOSans H" panose="00020600040101010101" pitchFamily="18" charset="-122"/>
              <a:ea typeface="OPPOSans H" panose="00020600040101010101" pitchFamily="18" charset="-122"/>
              <a:cs typeface="+mn-cs"/>
            </a:endParaRPr>
          </a:p>
        </p:txBody>
      </p:sp>
      <p:sp>
        <p:nvSpPr>
          <p:cNvPr id="17" name="文本框 16">
            <a:extLst>
              <a:ext uri="{FF2B5EF4-FFF2-40B4-BE49-F238E27FC236}">
                <a16:creationId xmlns:a16="http://schemas.microsoft.com/office/drawing/2014/main" id="{618BCB12-6DD3-49A7-805B-3E83C1ACAE83}"/>
              </a:ext>
            </a:extLst>
          </p:cNvPr>
          <p:cNvSpPr txBox="1"/>
          <p:nvPr/>
        </p:nvSpPr>
        <p:spPr>
          <a:xfrm>
            <a:off x="5430626" y="5478135"/>
            <a:ext cx="1330747" cy="30777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2000" b="0" i="0" u="none" strike="noStrike" kern="1200" cap="none" spc="0" normalizeH="0" baseline="0" noProof="0" dirty="0">
                <a:ln>
                  <a:noFill/>
                </a:ln>
                <a:solidFill>
                  <a:prstClr val="white"/>
                </a:solidFill>
                <a:effectLst/>
                <a:uLnTx/>
                <a:uFillTx/>
                <a:latin typeface="OPPOSans H" panose="00020600040101010101" pitchFamily="18" charset="-122"/>
                <a:ea typeface="OPPOSans H" panose="00020600040101010101" pitchFamily="18" charset="-122"/>
                <a:cs typeface="+mn-cs"/>
              </a:rPr>
              <a:t>秋叶</a:t>
            </a:r>
            <a:r>
              <a:rPr kumimoji="0" lang="en-US" altLang="zh-CN" sz="2000" b="0" i="0" u="none" strike="noStrike" kern="1200" cap="none" spc="0" normalizeH="0" baseline="0" noProof="0" dirty="0">
                <a:ln>
                  <a:noFill/>
                </a:ln>
                <a:solidFill>
                  <a:prstClr val="white"/>
                </a:solidFill>
                <a:effectLst/>
                <a:uLnTx/>
                <a:uFillTx/>
                <a:latin typeface="OPPOSans H" panose="00020600040101010101" pitchFamily="18" charset="-122"/>
                <a:ea typeface="OPPOSans H" panose="00020600040101010101" pitchFamily="18" charset="-122"/>
                <a:cs typeface="+mn-cs"/>
              </a:rPr>
              <a:t>PPT</a:t>
            </a:r>
            <a:endParaRPr kumimoji="0" lang="zh-CN" altLang="en-US" sz="2000" b="0" i="0" u="none" strike="noStrike" kern="1200" cap="none" spc="0" normalizeH="0" baseline="0" noProof="0" dirty="0">
              <a:ln>
                <a:noFill/>
              </a:ln>
              <a:solidFill>
                <a:prstClr val="white"/>
              </a:solidFill>
              <a:effectLst/>
              <a:uLnTx/>
              <a:uFillTx/>
              <a:latin typeface="OPPOSans H" panose="00020600040101010101" pitchFamily="18" charset="-122"/>
              <a:ea typeface="OPPOSans H" panose="00020600040101010101" pitchFamily="18" charset="-122"/>
              <a:cs typeface="+mn-cs"/>
            </a:endParaRPr>
          </a:p>
        </p:txBody>
      </p:sp>
      <p:sp>
        <p:nvSpPr>
          <p:cNvPr id="19" name="文本框 18">
            <a:extLst>
              <a:ext uri="{FF2B5EF4-FFF2-40B4-BE49-F238E27FC236}">
                <a16:creationId xmlns:a16="http://schemas.microsoft.com/office/drawing/2014/main" id="{6DE620B6-FAB0-4F43-A24E-C99EEBAA0EDC}"/>
              </a:ext>
            </a:extLst>
          </p:cNvPr>
          <p:cNvSpPr txBox="1"/>
          <p:nvPr/>
        </p:nvSpPr>
        <p:spPr>
          <a:xfrm>
            <a:off x="995554" y="5312945"/>
            <a:ext cx="3387167" cy="705899"/>
          </a:xfrm>
          <a:prstGeom prst="rect">
            <a:avLst/>
          </a:prstGeom>
          <a:noFill/>
        </p:spPr>
        <p:txBody>
          <a:bodyPr wrap="square" lIns="0" tIns="0" rIns="0" bIns="0" rtlCol="0">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zh-CN" altLang="en-US" sz="1600" b="0" i="0" u="none" strike="noStrike" kern="1200" cap="none" spc="0" normalizeH="0" baseline="0" noProof="0" dirty="0">
                <a:ln>
                  <a:noFill/>
                </a:ln>
                <a:solidFill>
                  <a:prstClr val="black">
                    <a:lumMod val="65000"/>
                    <a:lumOff val="35000"/>
                  </a:prstClr>
                </a:solidFill>
                <a:effectLst/>
                <a:uLnTx/>
                <a:uFillTx/>
                <a:latin typeface="OPPOSans M" panose="00020600040101010101" pitchFamily="18" charset="-122"/>
                <a:ea typeface="OPPOSans M" panose="00020600040101010101" pitchFamily="18" charset="-122"/>
                <a:cs typeface="+mn-cs"/>
              </a:rPr>
              <a:t>海量素材持续更新，更快更轻松</a:t>
            </a:r>
            <a:endParaRPr kumimoji="0" lang="en-US" altLang="zh-CN" sz="1600" b="0" i="0" u="none" strike="noStrike" kern="1200" cap="none" spc="0" normalizeH="0" baseline="0" noProof="0" dirty="0">
              <a:ln>
                <a:noFill/>
              </a:ln>
              <a:solidFill>
                <a:prstClr val="black">
                  <a:lumMod val="65000"/>
                  <a:lumOff val="35000"/>
                </a:prstClr>
              </a:solidFill>
              <a:effectLst/>
              <a:uLnTx/>
              <a:uFillTx/>
              <a:latin typeface="OPPOSans M" panose="00020600040101010101" pitchFamily="18" charset="-122"/>
              <a:ea typeface="OPPOSans M" panose="00020600040101010101" pitchFamily="18" charset="-122"/>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zh-CN" altLang="en-US" sz="1600" b="0" i="0" u="none" strike="noStrike" kern="1200" cap="none" spc="0" normalizeH="0" baseline="0" noProof="0" dirty="0">
                <a:ln>
                  <a:noFill/>
                </a:ln>
                <a:solidFill>
                  <a:prstClr val="black">
                    <a:lumMod val="65000"/>
                    <a:lumOff val="35000"/>
                  </a:prstClr>
                </a:solidFill>
                <a:effectLst/>
                <a:uLnTx/>
                <a:uFillTx/>
                <a:latin typeface="OPPOSans M" panose="00020600040101010101" pitchFamily="18" charset="-122"/>
                <a:ea typeface="OPPOSans M" panose="00020600040101010101" pitchFamily="18" charset="-122"/>
                <a:cs typeface="+mn-cs"/>
              </a:rPr>
              <a:t>上千款模板选择，总有一款适合你</a:t>
            </a:r>
          </a:p>
        </p:txBody>
      </p:sp>
      <p:sp>
        <p:nvSpPr>
          <p:cNvPr id="20" name="文本框 19">
            <a:extLst>
              <a:ext uri="{FF2B5EF4-FFF2-40B4-BE49-F238E27FC236}">
                <a16:creationId xmlns:a16="http://schemas.microsoft.com/office/drawing/2014/main" id="{65230F37-E1A5-4F20-965F-EE024435186C}"/>
              </a:ext>
            </a:extLst>
          </p:cNvPr>
          <p:cNvSpPr txBox="1"/>
          <p:nvPr/>
        </p:nvSpPr>
        <p:spPr>
          <a:xfrm>
            <a:off x="7809280" y="5312945"/>
            <a:ext cx="3387167" cy="705899"/>
          </a:xfrm>
          <a:prstGeom prst="rect">
            <a:avLst/>
          </a:prstGeom>
          <a:noFill/>
        </p:spPr>
        <p:txBody>
          <a:bodyPr wrap="square" lIns="0" tIns="0" rIns="0" bIns="0" rtlCol="0">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zh-CN" altLang="en-US" sz="1600" b="0" i="0" u="none" strike="noStrike" kern="1200" cap="none" spc="0" normalizeH="0" baseline="0" noProof="0" dirty="0">
                <a:ln>
                  <a:noFill/>
                </a:ln>
                <a:solidFill>
                  <a:prstClr val="black">
                    <a:lumMod val="65000"/>
                    <a:lumOff val="35000"/>
                  </a:prstClr>
                </a:solidFill>
                <a:effectLst/>
                <a:uLnTx/>
                <a:uFillTx/>
                <a:latin typeface="OPPOSans M" panose="00020600040101010101" pitchFamily="18" charset="-122"/>
                <a:ea typeface="OPPOSans M" panose="00020600040101010101" pitchFamily="18" charset="-122"/>
                <a:cs typeface="+mn-cs"/>
              </a:rPr>
              <a:t>海量素材持续更新，更快更轻松</a:t>
            </a:r>
            <a:endParaRPr kumimoji="0" lang="en-US" altLang="zh-CN" sz="1600" b="0" i="0" u="none" strike="noStrike" kern="1200" cap="none" spc="0" normalizeH="0" baseline="0" noProof="0" dirty="0">
              <a:ln>
                <a:noFill/>
              </a:ln>
              <a:solidFill>
                <a:prstClr val="black">
                  <a:lumMod val="65000"/>
                  <a:lumOff val="35000"/>
                </a:prstClr>
              </a:solidFill>
              <a:effectLst/>
              <a:uLnTx/>
              <a:uFillTx/>
              <a:latin typeface="OPPOSans M" panose="00020600040101010101" pitchFamily="18" charset="-122"/>
              <a:ea typeface="OPPOSans M" panose="00020600040101010101" pitchFamily="18" charset="-122"/>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zh-CN" altLang="en-US" sz="1600" b="0" i="0" u="none" strike="noStrike" kern="1200" cap="none" spc="0" normalizeH="0" baseline="0" noProof="0" dirty="0">
                <a:ln>
                  <a:noFill/>
                </a:ln>
                <a:solidFill>
                  <a:prstClr val="black">
                    <a:lumMod val="65000"/>
                    <a:lumOff val="35000"/>
                  </a:prstClr>
                </a:solidFill>
                <a:effectLst/>
                <a:uLnTx/>
                <a:uFillTx/>
                <a:latin typeface="OPPOSans M" panose="00020600040101010101" pitchFamily="18" charset="-122"/>
                <a:ea typeface="OPPOSans M" panose="00020600040101010101" pitchFamily="18" charset="-122"/>
                <a:cs typeface="+mn-cs"/>
              </a:rPr>
              <a:t>上千款模板选择，总有一款适合你</a:t>
            </a:r>
          </a:p>
        </p:txBody>
      </p:sp>
      <p:sp>
        <p:nvSpPr>
          <p:cNvPr id="67" name="平行四边形 1">
            <a:extLst>
              <a:ext uri="{FF2B5EF4-FFF2-40B4-BE49-F238E27FC236}">
                <a16:creationId xmlns:a16="http://schemas.microsoft.com/office/drawing/2014/main" id="{266D9EE8-7492-4D56-A961-B50A56CB574B}"/>
              </a:ext>
            </a:extLst>
          </p:cNvPr>
          <p:cNvSpPr/>
          <p:nvPr/>
        </p:nvSpPr>
        <p:spPr>
          <a:xfrm>
            <a:off x="482791" y="549274"/>
            <a:ext cx="171041" cy="250825"/>
          </a:xfrm>
          <a:custGeom>
            <a:avLst/>
            <a:gdLst>
              <a:gd name="connsiteX0" fmla="*/ 1031 w 171041"/>
              <a:gd name="connsiteY0" fmla="*/ 235451 h 250825"/>
              <a:gd name="connsiteX1" fmla="*/ 108208 w 171041"/>
              <a:gd name="connsiteY1" fmla="*/ 6226 h 250825"/>
              <a:gd name="connsiteX2" fmla="*/ 117992 w 171041"/>
              <a:gd name="connsiteY2" fmla="*/ 0 h 250825"/>
              <a:gd name="connsiteX3" fmla="*/ 160227 w 171041"/>
              <a:gd name="connsiteY3" fmla="*/ 0 h 250825"/>
              <a:gd name="connsiteX4" fmla="*/ 170011 w 171041"/>
              <a:gd name="connsiteY4" fmla="*/ 15374 h 250825"/>
              <a:gd name="connsiteX5" fmla="*/ 62834 w 171041"/>
              <a:gd name="connsiteY5" fmla="*/ 244599 h 250825"/>
              <a:gd name="connsiteX6" fmla="*/ 53050 w 171041"/>
              <a:gd name="connsiteY6" fmla="*/ 250825 h 250825"/>
              <a:gd name="connsiteX7" fmla="*/ 10815 w 171041"/>
              <a:gd name="connsiteY7" fmla="*/ 250825 h 250825"/>
              <a:gd name="connsiteX8" fmla="*/ 1031 w 171041"/>
              <a:gd name="connsiteY8" fmla="*/ 235451 h 250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1041" h="250825">
                <a:moveTo>
                  <a:pt x="1031" y="235451"/>
                </a:moveTo>
                <a:lnTo>
                  <a:pt x="108208" y="6226"/>
                </a:lnTo>
                <a:cubicBezTo>
                  <a:pt x="109984" y="2428"/>
                  <a:pt x="113799" y="0"/>
                  <a:pt x="117992" y="0"/>
                </a:cubicBezTo>
                <a:lnTo>
                  <a:pt x="160227" y="0"/>
                </a:lnTo>
                <a:cubicBezTo>
                  <a:pt x="168136" y="0"/>
                  <a:pt x="173360" y="8210"/>
                  <a:pt x="170011" y="15374"/>
                </a:cubicBezTo>
                <a:lnTo>
                  <a:pt x="62834" y="244599"/>
                </a:lnTo>
                <a:cubicBezTo>
                  <a:pt x="61058" y="248397"/>
                  <a:pt x="57243" y="250825"/>
                  <a:pt x="53050" y="250825"/>
                </a:cubicBezTo>
                <a:lnTo>
                  <a:pt x="10815" y="250825"/>
                </a:lnTo>
                <a:cubicBezTo>
                  <a:pt x="2906" y="250825"/>
                  <a:pt x="-2318" y="242615"/>
                  <a:pt x="1031" y="235451"/>
                </a:cubicBezTo>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white"/>
              </a:solidFill>
              <a:effectLst/>
              <a:uLnTx/>
              <a:uFillTx/>
              <a:latin typeface="Roboto Light"/>
              <a:ea typeface="OPPOSans L" panose="00020600040101010101" pitchFamily="18" charset="-122"/>
              <a:cs typeface="+mn-cs"/>
            </a:endParaRPr>
          </a:p>
        </p:txBody>
      </p:sp>
      <p:sp>
        <p:nvSpPr>
          <p:cNvPr id="68" name="平行四边形 2">
            <a:extLst>
              <a:ext uri="{FF2B5EF4-FFF2-40B4-BE49-F238E27FC236}">
                <a16:creationId xmlns:a16="http://schemas.microsoft.com/office/drawing/2014/main" id="{6E840C29-4B87-4D19-A5E8-465FD8B8C689}"/>
              </a:ext>
            </a:extLst>
          </p:cNvPr>
          <p:cNvSpPr/>
          <p:nvPr/>
        </p:nvSpPr>
        <p:spPr>
          <a:xfrm>
            <a:off x="489361" y="638052"/>
            <a:ext cx="281704" cy="106605"/>
          </a:xfrm>
          <a:custGeom>
            <a:avLst/>
            <a:gdLst>
              <a:gd name="connsiteX0" fmla="*/ 269009 w 281704"/>
              <a:gd name="connsiteY0" fmla="*/ 172 h 106605"/>
              <a:gd name="connsiteX1" fmla="*/ 19855 w 281704"/>
              <a:gd name="connsiteY1" fmla="*/ 44369 h 106605"/>
              <a:gd name="connsiteX2" fmla="*/ 11309 w 281704"/>
              <a:gd name="connsiteY2" fmla="*/ 52207 h 106605"/>
              <a:gd name="connsiteX3" fmla="*/ 378 w 281704"/>
              <a:gd name="connsiteY3" fmla="*/ 93004 h 106605"/>
              <a:gd name="connsiteX4" fmla="*/ 12696 w 281704"/>
              <a:gd name="connsiteY4" fmla="*/ 106434 h 106605"/>
              <a:gd name="connsiteX5" fmla="*/ 261850 w 281704"/>
              <a:gd name="connsiteY5" fmla="*/ 62236 h 106605"/>
              <a:gd name="connsiteX6" fmla="*/ 270396 w 281704"/>
              <a:gd name="connsiteY6" fmla="*/ 54398 h 106605"/>
              <a:gd name="connsiteX7" fmla="*/ 281327 w 281704"/>
              <a:gd name="connsiteY7" fmla="*/ 13602 h 106605"/>
              <a:gd name="connsiteX8" fmla="*/ 269009 w 281704"/>
              <a:gd name="connsiteY8" fmla="*/ 172 h 106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1704" h="106605">
                <a:moveTo>
                  <a:pt x="269009" y="172"/>
                </a:moveTo>
                <a:lnTo>
                  <a:pt x="19855" y="44369"/>
                </a:lnTo>
                <a:cubicBezTo>
                  <a:pt x="15727" y="45101"/>
                  <a:pt x="12394" y="48158"/>
                  <a:pt x="11309" y="52207"/>
                </a:cubicBezTo>
                <a:lnTo>
                  <a:pt x="378" y="93004"/>
                </a:lnTo>
                <a:cubicBezTo>
                  <a:pt x="-1669" y="100644"/>
                  <a:pt x="4909" y="107815"/>
                  <a:pt x="12696" y="106434"/>
                </a:cubicBezTo>
                <a:lnTo>
                  <a:pt x="261850" y="62236"/>
                </a:lnTo>
                <a:cubicBezTo>
                  <a:pt x="265978" y="61504"/>
                  <a:pt x="269311" y="58447"/>
                  <a:pt x="270396" y="54398"/>
                </a:cubicBezTo>
                <a:lnTo>
                  <a:pt x="281327" y="13602"/>
                </a:lnTo>
                <a:cubicBezTo>
                  <a:pt x="283374" y="5962"/>
                  <a:pt x="276796" y="-1209"/>
                  <a:pt x="269009" y="172"/>
                </a:cubicBezTo>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white"/>
              </a:solidFill>
              <a:effectLst/>
              <a:uLnTx/>
              <a:uFillTx/>
              <a:latin typeface="Roboto Light"/>
              <a:ea typeface="OPPOSans L" panose="00020600040101010101" pitchFamily="18" charset="-122"/>
              <a:cs typeface="+mn-cs"/>
            </a:endParaRPr>
          </a:p>
        </p:txBody>
      </p:sp>
      <p:sp>
        <p:nvSpPr>
          <p:cNvPr id="69" name="平行四边形 3">
            <a:extLst>
              <a:ext uri="{FF2B5EF4-FFF2-40B4-BE49-F238E27FC236}">
                <a16:creationId xmlns:a16="http://schemas.microsoft.com/office/drawing/2014/main" id="{A5924154-F790-491A-8547-5FB583944394}"/>
              </a:ext>
            </a:extLst>
          </p:cNvPr>
          <p:cNvSpPr/>
          <p:nvPr/>
        </p:nvSpPr>
        <p:spPr>
          <a:xfrm>
            <a:off x="606594" y="549274"/>
            <a:ext cx="171041" cy="250825"/>
          </a:xfrm>
          <a:custGeom>
            <a:avLst/>
            <a:gdLst>
              <a:gd name="connsiteX0" fmla="*/ 170011 w 171041"/>
              <a:gd name="connsiteY0" fmla="*/ 235451 h 250825"/>
              <a:gd name="connsiteX1" fmla="*/ 62834 w 171041"/>
              <a:gd name="connsiteY1" fmla="*/ 6226 h 250825"/>
              <a:gd name="connsiteX2" fmla="*/ 53050 w 171041"/>
              <a:gd name="connsiteY2" fmla="*/ 0 h 250825"/>
              <a:gd name="connsiteX3" fmla="*/ 10815 w 171041"/>
              <a:gd name="connsiteY3" fmla="*/ 0 h 250825"/>
              <a:gd name="connsiteX4" fmla="*/ 1031 w 171041"/>
              <a:gd name="connsiteY4" fmla="*/ 15374 h 250825"/>
              <a:gd name="connsiteX5" fmla="*/ 108208 w 171041"/>
              <a:gd name="connsiteY5" fmla="*/ 244599 h 250825"/>
              <a:gd name="connsiteX6" fmla="*/ 117992 w 171041"/>
              <a:gd name="connsiteY6" fmla="*/ 250825 h 250825"/>
              <a:gd name="connsiteX7" fmla="*/ 160227 w 171041"/>
              <a:gd name="connsiteY7" fmla="*/ 250825 h 250825"/>
              <a:gd name="connsiteX8" fmla="*/ 170011 w 171041"/>
              <a:gd name="connsiteY8" fmla="*/ 235451 h 250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1041" h="250825">
                <a:moveTo>
                  <a:pt x="170011" y="235451"/>
                </a:moveTo>
                <a:lnTo>
                  <a:pt x="62834" y="6226"/>
                </a:lnTo>
                <a:cubicBezTo>
                  <a:pt x="61058" y="2428"/>
                  <a:pt x="57243" y="0"/>
                  <a:pt x="53050" y="0"/>
                </a:cubicBezTo>
                <a:lnTo>
                  <a:pt x="10815" y="0"/>
                </a:lnTo>
                <a:cubicBezTo>
                  <a:pt x="2906" y="0"/>
                  <a:pt x="-2318" y="8210"/>
                  <a:pt x="1031" y="15374"/>
                </a:cubicBezTo>
                <a:lnTo>
                  <a:pt x="108208" y="244599"/>
                </a:lnTo>
                <a:cubicBezTo>
                  <a:pt x="109984" y="248397"/>
                  <a:pt x="113799" y="250825"/>
                  <a:pt x="117992" y="250825"/>
                </a:cubicBezTo>
                <a:lnTo>
                  <a:pt x="160227" y="250825"/>
                </a:lnTo>
                <a:cubicBezTo>
                  <a:pt x="168136" y="250825"/>
                  <a:pt x="173360" y="242615"/>
                  <a:pt x="170011" y="235451"/>
                </a:cubicBezTo>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white"/>
              </a:solidFill>
              <a:effectLst/>
              <a:uLnTx/>
              <a:uFillTx/>
              <a:latin typeface="Roboto Light"/>
              <a:ea typeface="OPPOSans L" panose="00020600040101010101" pitchFamily="18" charset="-122"/>
              <a:cs typeface="+mn-cs"/>
            </a:endParaRPr>
          </a:p>
        </p:txBody>
      </p:sp>
      <p:sp>
        <p:nvSpPr>
          <p:cNvPr id="70" name="稿定PPT-1-1">
            <a:extLst>
              <a:ext uri="{FF2B5EF4-FFF2-40B4-BE49-F238E27FC236}">
                <a16:creationId xmlns:a16="http://schemas.microsoft.com/office/drawing/2014/main" id="{8E22644C-4471-458E-9F2C-3BD072DCA910}"/>
              </a:ext>
            </a:extLst>
          </p:cNvPr>
          <p:cNvSpPr txBox="1"/>
          <p:nvPr/>
        </p:nvSpPr>
        <p:spPr>
          <a:xfrm>
            <a:off x="888298" y="403388"/>
            <a:ext cx="3781482" cy="581926"/>
          </a:xfrm>
          <a:prstGeom prst="rect">
            <a:avLst/>
          </a:prstGeom>
          <a:noFill/>
          <a:ln>
            <a:noFill/>
          </a:ln>
        </p:spPr>
        <p:txBody>
          <a:bodyPr wrap="square" lIns="0" tIns="0" rIns="0" bIns="0" anchor="ctr" anchorCtr="0">
            <a:normAutofit/>
          </a:bodyPr>
          <a:lstStyle/>
          <a:p>
            <a:pPr marL="0" marR="0" lvl="0" indent="0" algn="l" defTabSz="913765" rtl="0" eaLnBrk="1" fontAlgn="auto" latinLnBrk="0" hangingPunct="1">
              <a:lnSpc>
                <a:spcPct val="100000"/>
              </a:lnSpc>
              <a:spcBef>
                <a:spcPts val="0"/>
              </a:spcBef>
              <a:spcAft>
                <a:spcPts val="0"/>
              </a:spcAft>
              <a:buClrTx/>
              <a:buSzPct val="25000"/>
              <a:buFontTx/>
              <a:buNone/>
              <a:tabLst/>
              <a:defRPr/>
            </a:pPr>
            <a:r>
              <a:rPr kumimoji="0" lang="zh-CN" altLang="en-US" sz="2000" b="0" i="0" u="none" strike="noStrike" kern="1200" cap="none" spc="0" normalizeH="0" baseline="0" noProof="0" dirty="0">
                <a:ln>
                  <a:noFill/>
                </a:ln>
                <a:solidFill>
                  <a:prstClr val="black"/>
                </a:solidFill>
                <a:effectLst/>
                <a:uLnTx/>
                <a:uFillTx/>
                <a:latin typeface="OPPOSans H" panose="00020600040101010101" pitchFamily="18" charset="-122"/>
                <a:ea typeface="OPPOSans H" panose="00020600040101010101" pitchFamily="18" charset="-122"/>
                <a:cs typeface="+mn-cs"/>
              </a:rPr>
              <a:t>秋叶</a:t>
            </a:r>
            <a:r>
              <a:rPr kumimoji="0" lang="en-US" altLang="zh-CN" sz="2000" b="0" i="0" u="none" strike="noStrike" kern="1200" cap="none" spc="0" normalizeH="0" baseline="0" noProof="0" dirty="0">
                <a:ln>
                  <a:noFill/>
                </a:ln>
                <a:solidFill>
                  <a:prstClr val="black"/>
                </a:solidFill>
                <a:effectLst/>
                <a:uLnTx/>
                <a:uFillTx/>
                <a:latin typeface="OPPOSans H" panose="00020600040101010101" pitchFamily="18" charset="-122"/>
                <a:ea typeface="OPPOSans H" panose="00020600040101010101" pitchFamily="18" charset="-122"/>
                <a:cs typeface="+mn-cs"/>
              </a:rPr>
              <a:t>PPT</a:t>
            </a:r>
            <a:r>
              <a:rPr kumimoji="0" lang="zh-CN" altLang="en-US" sz="2000" b="0" i="0" u="none" strike="noStrike" kern="1200" cap="none" spc="0" normalizeH="0" baseline="0" noProof="0" dirty="0">
                <a:ln>
                  <a:noFill/>
                </a:ln>
                <a:solidFill>
                  <a:prstClr val="black"/>
                </a:solidFill>
                <a:effectLst/>
                <a:uLnTx/>
                <a:uFillTx/>
                <a:latin typeface="OPPOSans H" panose="00020600040101010101" pitchFamily="18" charset="-122"/>
                <a:ea typeface="OPPOSans H" panose="00020600040101010101" pitchFamily="18" charset="-122"/>
                <a:cs typeface="+mn-cs"/>
              </a:rPr>
              <a:t>，海量素材持续更新</a:t>
            </a:r>
            <a:endParaRPr kumimoji="0" lang="en-US" sz="2000" b="0" i="0" u="none" strike="noStrike" kern="1200" cap="none" spc="0" normalizeH="0" baseline="0" noProof="0" dirty="0">
              <a:ln>
                <a:noFill/>
              </a:ln>
              <a:solidFill>
                <a:prstClr val="black"/>
              </a:solidFill>
              <a:effectLst/>
              <a:uLnTx/>
              <a:uFillTx/>
              <a:latin typeface="OPPOSans H" panose="00020600040101010101" pitchFamily="18" charset="-122"/>
              <a:ea typeface="OPPOSans H" panose="00020600040101010101" pitchFamily="18" charset="-122"/>
              <a:cs typeface="+mn-cs"/>
            </a:endParaRPr>
          </a:p>
        </p:txBody>
      </p:sp>
      <p:sp>
        <p:nvSpPr>
          <p:cNvPr id="73" name="稿定PPT-1-2">
            <a:extLst>
              <a:ext uri="{FF2B5EF4-FFF2-40B4-BE49-F238E27FC236}">
                <a16:creationId xmlns:a16="http://schemas.microsoft.com/office/drawing/2014/main" id="{ACC114F2-A149-4E42-9022-F2B63D609E2F}"/>
              </a:ext>
            </a:extLst>
          </p:cNvPr>
          <p:cNvSpPr txBox="1"/>
          <p:nvPr/>
        </p:nvSpPr>
        <p:spPr>
          <a:xfrm>
            <a:off x="888297" y="807134"/>
            <a:ext cx="5395902" cy="260289"/>
          </a:xfrm>
          <a:prstGeom prst="rect">
            <a:avLst/>
          </a:prstGeom>
          <a:noFill/>
          <a:ln>
            <a:noFill/>
          </a:ln>
        </p:spPr>
        <p:txBody>
          <a:bodyPr wrap="square" lIns="0" tIns="0" rIns="0" bIns="0" anchor="ctr" anchorCtr="0">
            <a:normAutofit/>
          </a:bodyPr>
          <a:lstStyle/>
          <a:p>
            <a:pPr marL="0" marR="0" lvl="0" indent="0" algn="l" defTabSz="913765" rtl="0" eaLnBrk="1" fontAlgn="auto" latinLnBrk="0" hangingPunct="1">
              <a:lnSpc>
                <a:spcPct val="100000"/>
              </a:lnSpc>
              <a:spcBef>
                <a:spcPts val="0"/>
              </a:spcBef>
              <a:spcAft>
                <a:spcPts val="0"/>
              </a:spcAft>
              <a:buClrTx/>
              <a:buSzPct val="25000"/>
              <a:buFontTx/>
              <a:buNone/>
              <a:tabLst/>
              <a:defRPr/>
            </a:pPr>
            <a:r>
              <a:rPr kumimoji="0" lang="en-US" sz="1200" b="0" i="0" u="none" strike="noStrike" kern="1200" cap="none" spc="0" normalizeH="0" baseline="0" noProof="0" dirty="0">
                <a:ln>
                  <a:noFill/>
                </a:ln>
                <a:solidFill>
                  <a:prstClr val="black"/>
                </a:solidFill>
                <a:effectLst/>
                <a:uLnTx/>
                <a:uFillTx/>
                <a:latin typeface="Roboto Light"/>
                <a:ea typeface="OPPOSans L" panose="00020600040101010101" pitchFamily="18" charset="-122"/>
                <a:cs typeface="OPPOSans L" panose="00020600040101010101" pitchFamily="18" charset="-122"/>
              </a:rPr>
              <a:t>Mandamus mediocrem reprehendunt eum eu, cu pertinax ocurreret his. </a:t>
            </a:r>
          </a:p>
        </p:txBody>
      </p:sp>
    </p:spTree>
    <p:extLst>
      <p:ext uri="{BB962C8B-B14F-4D97-AF65-F5344CB8AC3E}">
        <p14:creationId xmlns:p14="http://schemas.microsoft.com/office/powerpoint/2010/main" val="3136710811"/>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8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矩形 12">
            <a:extLst>
              <a:ext uri="{FF2B5EF4-FFF2-40B4-BE49-F238E27FC236}">
                <a16:creationId xmlns:a16="http://schemas.microsoft.com/office/drawing/2014/main" id="{EAA72472-EC78-4E27-9923-58B90292E069}"/>
              </a:ext>
            </a:extLst>
          </p:cNvPr>
          <p:cNvSpPr/>
          <p:nvPr/>
        </p:nvSpPr>
        <p:spPr>
          <a:xfrm>
            <a:off x="0" y="0"/>
            <a:ext cx="12192000" cy="6858000"/>
          </a:xfrm>
          <a:prstGeom prst="rect">
            <a:avLst/>
          </a:prstGeom>
          <a:solidFill>
            <a:schemeClr val="bg1">
              <a:lumMod val="95000"/>
              <a:alpha val="80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white"/>
              </a:solidFill>
              <a:effectLst/>
              <a:uLnTx/>
              <a:uFillTx/>
              <a:latin typeface="OPPOSans L" panose="00020600040101010101" pitchFamily="18" charset="-122"/>
              <a:ea typeface="OPPOSans L" panose="00020600040101010101" pitchFamily="18" charset="-122"/>
              <a:cs typeface="+mn-cs"/>
            </a:endParaRPr>
          </a:p>
        </p:txBody>
      </p:sp>
      <p:sp>
        <p:nvSpPr>
          <p:cNvPr id="24" name="矩形: 圆角 1">
            <a:extLst>
              <a:ext uri="{FF2B5EF4-FFF2-40B4-BE49-F238E27FC236}">
                <a16:creationId xmlns:a16="http://schemas.microsoft.com/office/drawing/2014/main" id="{AD0D4ECD-8684-4810-A363-BF98AE730A49}"/>
              </a:ext>
            </a:extLst>
          </p:cNvPr>
          <p:cNvSpPr/>
          <p:nvPr/>
        </p:nvSpPr>
        <p:spPr>
          <a:xfrm>
            <a:off x="2858366" y="1567944"/>
            <a:ext cx="1943323" cy="435617"/>
          </a:xfrm>
          <a:prstGeom prst="roundRect">
            <a:avLst>
              <a:gd name="adj" fmla="val 50000"/>
            </a:avLst>
          </a:prstGeom>
          <a:gradFill flip="none" rotWithShape="1">
            <a:gsLst>
              <a:gs pos="0">
                <a:schemeClr val="accent1"/>
              </a:gs>
              <a:gs pos="100000">
                <a:schemeClr val="accent2"/>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400" b="0" i="0" u="none" strike="noStrike" kern="1200" cap="none" spc="0" normalizeH="0" baseline="0" noProof="0" dirty="0">
                <a:ln>
                  <a:noFill/>
                </a:ln>
                <a:solidFill>
                  <a:prstClr val="white"/>
                </a:solidFill>
                <a:effectLst/>
                <a:uLnTx/>
                <a:uFillTx/>
                <a:latin typeface="OPPOSans H" panose="00020600040101010101" pitchFamily="18" charset="-122"/>
                <a:ea typeface="OPPOSans H" panose="00020600040101010101" pitchFamily="18" charset="-122"/>
                <a:cs typeface="+mn-cs"/>
              </a:rPr>
              <a:t>秋叶</a:t>
            </a:r>
            <a:r>
              <a:rPr kumimoji="0" lang="en-US" altLang="zh-CN" sz="1400" b="0" i="0" u="none" strike="noStrike" kern="1200" cap="none" spc="0" normalizeH="0" baseline="0" noProof="0" dirty="0">
                <a:ln>
                  <a:noFill/>
                </a:ln>
                <a:solidFill>
                  <a:prstClr val="white"/>
                </a:solidFill>
                <a:effectLst/>
                <a:uLnTx/>
                <a:uFillTx/>
                <a:latin typeface="OPPOSans H" panose="00020600040101010101" pitchFamily="18" charset="-122"/>
                <a:ea typeface="OPPOSans H" panose="00020600040101010101" pitchFamily="18" charset="-122"/>
                <a:cs typeface="+mn-cs"/>
              </a:rPr>
              <a:t>PPT</a:t>
            </a:r>
            <a:r>
              <a:rPr kumimoji="0" lang="zh-CN" altLang="en-US" sz="1400" b="0" i="0" u="none" strike="noStrike" kern="1200" cap="none" spc="0" normalizeH="0" baseline="0" noProof="0" dirty="0">
                <a:ln>
                  <a:noFill/>
                </a:ln>
                <a:solidFill>
                  <a:prstClr val="white"/>
                </a:solidFill>
                <a:effectLst/>
                <a:uLnTx/>
                <a:uFillTx/>
                <a:latin typeface="OPPOSans H" panose="00020600040101010101" pitchFamily="18" charset="-122"/>
                <a:ea typeface="OPPOSans H" panose="00020600040101010101" pitchFamily="18" charset="-122"/>
                <a:cs typeface="+mn-cs"/>
              </a:rPr>
              <a:t>更快更轻松</a:t>
            </a:r>
          </a:p>
        </p:txBody>
      </p:sp>
      <p:cxnSp>
        <p:nvCxnSpPr>
          <p:cNvPr id="30" name="直接连接符 29">
            <a:extLst>
              <a:ext uri="{FF2B5EF4-FFF2-40B4-BE49-F238E27FC236}">
                <a16:creationId xmlns:a16="http://schemas.microsoft.com/office/drawing/2014/main" id="{201CFBAC-B82E-4A68-BD22-0F1113660672}"/>
              </a:ext>
            </a:extLst>
          </p:cNvPr>
          <p:cNvCxnSpPr>
            <a:cxnSpLocks/>
          </p:cNvCxnSpPr>
          <p:nvPr/>
        </p:nvCxnSpPr>
        <p:spPr>
          <a:xfrm>
            <a:off x="4878554" y="1785752"/>
            <a:ext cx="1242391" cy="0"/>
          </a:xfrm>
          <a:prstGeom prst="line">
            <a:avLst/>
          </a:prstGeom>
          <a:ln w="9525"/>
        </p:spPr>
        <p:style>
          <a:lnRef idx="1">
            <a:schemeClr val="accent1"/>
          </a:lnRef>
          <a:fillRef idx="0">
            <a:schemeClr val="accent1"/>
          </a:fillRef>
          <a:effectRef idx="0">
            <a:schemeClr val="accent1"/>
          </a:effectRef>
          <a:fontRef idx="minor">
            <a:schemeClr val="tx1"/>
          </a:fontRef>
        </p:style>
      </p:cxnSp>
      <p:sp>
        <p:nvSpPr>
          <p:cNvPr id="31" name="矩形: 圆角 1">
            <a:extLst>
              <a:ext uri="{FF2B5EF4-FFF2-40B4-BE49-F238E27FC236}">
                <a16:creationId xmlns:a16="http://schemas.microsoft.com/office/drawing/2014/main" id="{07CC3977-D985-4BD0-A3A8-0E29E271A830}"/>
              </a:ext>
            </a:extLst>
          </p:cNvPr>
          <p:cNvSpPr/>
          <p:nvPr/>
        </p:nvSpPr>
        <p:spPr>
          <a:xfrm>
            <a:off x="6197810" y="1567944"/>
            <a:ext cx="1943323" cy="435617"/>
          </a:xfrm>
          <a:prstGeom prst="roundRect">
            <a:avLst>
              <a:gd name="adj" fmla="val 50000"/>
            </a:avLst>
          </a:prstGeom>
          <a:solidFill>
            <a:schemeClr val="accent3">
              <a:alpha val="70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400" b="0" i="0" u="none" strike="noStrike" kern="1200" cap="none" spc="0" normalizeH="0" baseline="0" noProof="0" dirty="0">
                <a:ln>
                  <a:noFill/>
                </a:ln>
                <a:gradFill>
                  <a:gsLst>
                    <a:gs pos="0">
                      <a:srgbClr val="071161"/>
                    </a:gs>
                    <a:gs pos="100000">
                      <a:srgbClr val="0B1B9A"/>
                    </a:gs>
                  </a:gsLst>
                  <a:lin ang="2700000" scaled="1"/>
                </a:gradFill>
                <a:effectLst/>
                <a:uLnTx/>
                <a:uFillTx/>
                <a:latin typeface="OPPOSans L" panose="00020600040101010101" pitchFamily="18" charset="-122"/>
                <a:ea typeface="OPPOSans L" panose="00020600040101010101" pitchFamily="18" charset="-122"/>
                <a:cs typeface="+mn-cs"/>
              </a:rPr>
              <a:t>秋叶</a:t>
            </a:r>
            <a:r>
              <a:rPr kumimoji="0" lang="en-US" altLang="zh-CN" sz="1400" b="0" i="0" u="none" strike="noStrike" kern="1200" cap="none" spc="0" normalizeH="0" baseline="0" noProof="0" dirty="0">
                <a:ln>
                  <a:noFill/>
                </a:ln>
                <a:gradFill>
                  <a:gsLst>
                    <a:gs pos="0">
                      <a:srgbClr val="071161"/>
                    </a:gs>
                    <a:gs pos="100000">
                      <a:srgbClr val="0B1B9A"/>
                    </a:gs>
                  </a:gsLst>
                  <a:lin ang="2700000" scaled="1"/>
                </a:gradFill>
                <a:effectLst/>
                <a:uLnTx/>
                <a:uFillTx/>
                <a:latin typeface="OPPOSans L" panose="00020600040101010101" pitchFamily="18" charset="-122"/>
                <a:ea typeface="OPPOSans L" panose="00020600040101010101" pitchFamily="18" charset="-122"/>
                <a:cs typeface="+mn-cs"/>
              </a:rPr>
              <a:t>PPT</a:t>
            </a:r>
            <a:r>
              <a:rPr kumimoji="0" lang="zh-CN" altLang="en-US" sz="1400" b="0" i="0" u="none" strike="noStrike" kern="1200" cap="none" spc="0" normalizeH="0" baseline="0" noProof="0" dirty="0">
                <a:ln>
                  <a:noFill/>
                </a:ln>
                <a:gradFill>
                  <a:gsLst>
                    <a:gs pos="0">
                      <a:srgbClr val="071161"/>
                    </a:gs>
                    <a:gs pos="100000">
                      <a:srgbClr val="0B1B9A"/>
                    </a:gs>
                  </a:gsLst>
                  <a:lin ang="2700000" scaled="1"/>
                </a:gradFill>
                <a:effectLst/>
                <a:uLnTx/>
                <a:uFillTx/>
                <a:latin typeface="OPPOSans L" panose="00020600040101010101" pitchFamily="18" charset="-122"/>
                <a:ea typeface="OPPOSans L" panose="00020600040101010101" pitchFamily="18" charset="-122"/>
                <a:cs typeface="+mn-cs"/>
              </a:rPr>
              <a:t>更快更轻松</a:t>
            </a:r>
          </a:p>
        </p:txBody>
      </p:sp>
      <p:cxnSp>
        <p:nvCxnSpPr>
          <p:cNvPr id="32" name="直接连接符 31">
            <a:extLst>
              <a:ext uri="{FF2B5EF4-FFF2-40B4-BE49-F238E27FC236}">
                <a16:creationId xmlns:a16="http://schemas.microsoft.com/office/drawing/2014/main" id="{28488777-B096-42C7-BB69-CFEA5E50A3C4}"/>
              </a:ext>
            </a:extLst>
          </p:cNvPr>
          <p:cNvCxnSpPr>
            <a:cxnSpLocks/>
          </p:cNvCxnSpPr>
          <p:nvPr/>
        </p:nvCxnSpPr>
        <p:spPr>
          <a:xfrm>
            <a:off x="8217998" y="1785752"/>
            <a:ext cx="1242391" cy="0"/>
          </a:xfrm>
          <a:prstGeom prst="line">
            <a:avLst/>
          </a:prstGeom>
          <a:ln w="9525"/>
        </p:spPr>
        <p:style>
          <a:lnRef idx="1">
            <a:schemeClr val="accent1"/>
          </a:lnRef>
          <a:fillRef idx="0">
            <a:schemeClr val="accent1"/>
          </a:fillRef>
          <a:effectRef idx="0">
            <a:schemeClr val="accent1"/>
          </a:effectRef>
          <a:fontRef idx="minor">
            <a:schemeClr val="tx1"/>
          </a:fontRef>
        </p:style>
      </p:cxnSp>
      <p:sp>
        <p:nvSpPr>
          <p:cNvPr id="33" name="矩形: 圆角 1">
            <a:extLst>
              <a:ext uri="{FF2B5EF4-FFF2-40B4-BE49-F238E27FC236}">
                <a16:creationId xmlns:a16="http://schemas.microsoft.com/office/drawing/2014/main" id="{C31F9BB2-20A9-4F2E-8481-1F8ADFFBC664}"/>
              </a:ext>
            </a:extLst>
          </p:cNvPr>
          <p:cNvSpPr/>
          <p:nvPr/>
        </p:nvSpPr>
        <p:spPr>
          <a:xfrm>
            <a:off x="9537254" y="1567944"/>
            <a:ext cx="1943323" cy="435617"/>
          </a:xfrm>
          <a:prstGeom prst="roundRect">
            <a:avLst>
              <a:gd name="adj" fmla="val 50000"/>
            </a:avLst>
          </a:prstGeom>
          <a:solidFill>
            <a:schemeClr val="accent3">
              <a:alpha val="70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400" b="0" i="0" u="none" strike="noStrike" kern="1200" cap="none" spc="0" normalizeH="0" baseline="0" noProof="0" dirty="0">
                <a:ln>
                  <a:noFill/>
                </a:ln>
                <a:gradFill>
                  <a:gsLst>
                    <a:gs pos="0">
                      <a:srgbClr val="071161"/>
                    </a:gs>
                    <a:gs pos="100000">
                      <a:srgbClr val="0B1B9A"/>
                    </a:gs>
                  </a:gsLst>
                  <a:lin ang="2700000" scaled="1"/>
                </a:gradFill>
                <a:effectLst/>
                <a:uLnTx/>
                <a:uFillTx/>
                <a:latin typeface="OPPOSans L" panose="00020600040101010101" pitchFamily="18" charset="-122"/>
                <a:ea typeface="OPPOSans L" panose="00020600040101010101" pitchFamily="18" charset="-122"/>
                <a:cs typeface="+mn-cs"/>
              </a:rPr>
              <a:t>秋叶</a:t>
            </a:r>
            <a:r>
              <a:rPr kumimoji="0" lang="en-US" altLang="zh-CN" sz="1400" b="0" i="0" u="none" strike="noStrike" kern="1200" cap="none" spc="0" normalizeH="0" baseline="0" noProof="0" dirty="0">
                <a:ln>
                  <a:noFill/>
                </a:ln>
                <a:gradFill>
                  <a:gsLst>
                    <a:gs pos="0">
                      <a:srgbClr val="071161"/>
                    </a:gs>
                    <a:gs pos="100000">
                      <a:srgbClr val="0B1B9A"/>
                    </a:gs>
                  </a:gsLst>
                  <a:lin ang="2700000" scaled="1"/>
                </a:gradFill>
                <a:effectLst/>
                <a:uLnTx/>
                <a:uFillTx/>
                <a:latin typeface="OPPOSans L" panose="00020600040101010101" pitchFamily="18" charset="-122"/>
                <a:ea typeface="OPPOSans L" panose="00020600040101010101" pitchFamily="18" charset="-122"/>
                <a:cs typeface="+mn-cs"/>
              </a:rPr>
              <a:t>PPT</a:t>
            </a:r>
            <a:r>
              <a:rPr kumimoji="0" lang="zh-CN" altLang="en-US" sz="1400" b="0" i="0" u="none" strike="noStrike" kern="1200" cap="none" spc="0" normalizeH="0" baseline="0" noProof="0" dirty="0">
                <a:ln>
                  <a:noFill/>
                </a:ln>
                <a:gradFill>
                  <a:gsLst>
                    <a:gs pos="0">
                      <a:srgbClr val="071161"/>
                    </a:gs>
                    <a:gs pos="100000">
                      <a:srgbClr val="0B1B9A"/>
                    </a:gs>
                  </a:gsLst>
                  <a:lin ang="2700000" scaled="1"/>
                </a:gradFill>
                <a:effectLst/>
                <a:uLnTx/>
                <a:uFillTx/>
                <a:latin typeface="OPPOSans L" panose="00020600040101010101" pitchFamily="18" charset="-122"/>
                <a:ea typeface="OPPOSans L" panose="00020600040101010101" pitchFamily="18" charset="-122"/>
                <a:cs typeface="+mn-cs"/>
              </a:rPr>
              <a:t>更快更轻松</a:t>
            </a:r>
          </a:p>
        </p:txBody>
      </p:sp>
      <p:sp>
        <p:nvSpPr>
          <p:cNvPr id="25" name="矩形: 圆角 1">
            <a:extLst>
              <a:ext uri="{FF2B5EF4-FFF2-40B4-BE49-F238E27FC236}">
                <a16:creationId xmlns:a16="http://schemas.microsoft.com/office/drawing/2014/main" id="{D8EE9014-9CA6-4C34-8E7F-00A009A44069}"/>
              </a:ext>
            </a:extLst>
          </p:cNvPr>
          <p:cNvSpPr/>
          <p:nvPr/>
        </p:nvSpPr>
        <p:spPr>
          <a:xfrm>
            <a:off x="2858366" y="2775253"/>
            <a:ext cx="1943323" cy="435617"/>
          </a:xfrm>
          <a:prstGeom prst="roundRect">
            <a:avLst>
              <a:gd name="adj" fmla="val 50000"/>
            </a:avLst>
          </a:prstGeom>
          <a:gradFill flip="none" rotWithShape="1">
            <a:gsLst>
              <a:gs pos="0">
                <a:schemeClr val="accent1"/>
              </a:gs>
              <a:gs pos="100000">
                <a:schemeClr val="accent2"/>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400" b="0" i="0" u="none" strike="noStrike" kern="1200" cap="none" spc="0" normalizeH="0" baseline="0" noProof="0" dirty="0">
                <a:ln>
                  <a:noFill/>
                </a:ln>
                <a:solidFill>
                  <a:prstClr val="white"/>
                </a:solidFill>
                <a:effectLst/>
                <a:uLnTx/>
                <a:uFillTx/>
                <a:latin typeface="OPPOSans H" panose="00020600040101010101" pitchFamily="18" charset="-122"/>
                <a:ea typeface="OPPOSans H" panose="00020600040101010101" pitchFamily="18" charset="-122"/>
                <a:cs typeface="+mn-cs"/>
              </a:rPr>
              <a:t>秋叶</a:t>
            </a:r>
            <a:r>
              <a:rPr kumimoji="0" lang="en-US" altLang="zh-CN" sz="1400" b="0" i="0" u="none" strike="noStrike" kern="1200" cap="none" spc="0" normalizeH="0" baseline="0" noProof="0" dirty="0">
                <a:ln>
                  <a:noFill/>
                </a:ln>
                <a:solidFill>
                  <a:prstClr val="white"/>
                </a:solidFill>
                <a:effectLst/>
                <a:uLnTx/>
                <a:uFillTx/>
                <a:latin typeface="OPPOSans H" panose="00020600040101010101" pitchFamily="18" charset="-122"/>
                <a:ea typeface="OPPOSans H" panose="00020600040101010101" pitchFamily="18" charset="-122"/>
                <a:cs typeface="+mn-cs"/>
              </a:rPr>
              <a:t>PPT</a:t>
            </a:r>
            <a:r>
              <a:rPr kumimoji="0" lang="zh-CN" altLang="en-US" sz="1400" b="0" i="0" u="none" strike="noStrike" kern="1200" cap="none" spc="0" normalizeH="0" baseline="0" noProof="0" dirty="0">
                <a:ln>
                  <a:noFill/>
                </a:ln>
                <a:solidFill>
                  <a:prstClr val="white"/>
                </a:solidFill>
                <a:effectLst/>
                <a:uLnTx/>
                <a:uFillTx/>
                <a:latin typeface="OPPOSans H" panose="00020600040101010101" pitchFamily="18" charset="-122"/>
                <a:ea typeface="OPPOSans H" panose="00020600040101010101" pitchFamily="18" charset="-122"/>
                <a:cs typeface="+mn-cs"/>
              </a:rPr>
              <a:t>更快更轻松</a:t>
            </a:r>
          </a:p>
        </p:txBody>
      </p:sp>
      <p:sp>
        <p:nvSpPr>
          <p:cNvPr id="35" name="矩形: 圆角 1">
            <a:extLst>
              <a:ext uri="{FF2B5EF4-FFF2-40B4-BE49-F238E27FC236}">
                <a16:creationId xmlns:a16="http://schemas.microsoft.com/office/drawing/2014/main" id="{CC3DF8ED-75D2-4343-9595-BE17811BC3F6}"/>
              </a:ext>
            </a:extLst>
          </p:cNvPr>
          <p:cNvSpPr/>
          <p:nvPr/>
        </p:nvSpPr>
        <p:spPr>
          <a:xfrm>
            <a:off x="6197810" y="2262460"/>
            <a:ext cx="1114958" cy="435617"/>
          </a:xfrm>
          <a:prstGeom prst="roundRect">
            <a:avLst>
              <a:gd name="adj" fmla="val 50000"/>
            </a:avLst>
          </a:prstGeom>
          <a:gradFill flip="none" rotWithShape="1">
            <a:gsLst>
              <a:gs pos="0">
                <a:schemeClr val="accent1"/>
              </a:gs>
              <a:gs pos="100000">
                <a:schemeClr val="accent2"/>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400" b="0" i="0" u="none" strike="noStrike" kern="1200" cap="none" spc="0" normalizeH="0" baseline="0" noProof="0" dirty="0">
                <a:ln>
                  <a:noFill/>
                </a:ln>
                <a:solidFill>
                  <a:prstClr val="white"/>
                </a:solidFill>
                <a:effectLst/>
                <a:uLnTx/>
                <a:uFillTx/>
                <a:latin typeface="OPPOSans H" panose="00020600040101010101" pitchFamily="18" charset="-122"/>
                <a:ea typeface="OPPOSans H" panose="00020600040101010101" pitchFamily="18" charset="-122"/>
                <a:cs typeface="+mn-cs"/>
              </a:rPr>
              <a:t>秋叶</a:t>
            </a:r>
            <a:r>
              <a:rPr kumimoji="0" lang="en-US" altLang="zh-CN" sz="1400" b="0" i="0" u="none" strike="noStrike" kern="1200" cap="none" spc="0" normalizeH="0" baseline="0" noProof="0" dirty="0">
                <a:ln>
                  <a:noFill/>
                </a:ln>
                <a:solidFill>
                  <a:prstClr val="white"/>
                </a:solidFill>
                <a:effectLst/>
                <a:uLnTx/>
                <a:uFillTx/>
                <a:latin typeface="OPPOSans H" panose="00020600040101010101" pitchFamily="18" charset="-122"/>
                <a:ea typeface="OPPOSans H" panose="00020600040101010101" pitchFamily="18" charset="-122"/>
                <a:cs typeface="+mn-cs"/>
              </a:rPr>
              <a:t>PPT</a:t>
            </a:r>
            <a:endParaRPr kumimoji="0" lang="zh-CN" altLang="en-US" sz="1400" b="0" i="0" u="none" strike="noStrike" kern="1200" cap="none" spc="0" normalizeH="0" baseline="0" noProof="0" dirty="0">
              <a:ln>
                <a:noFill/>
              </a:ln>
              <a:solidFill>
                <a:prstClr val="white"/>
              </a:solidFill>
              <a:effectLst/>
              <a:uLnTx/>
              <a:uFillTx/>
              <a:latin typeface="OPPOSans H" panose="00020600040101010101" pitchFamily="18" charset="-122"/>
              <a:ea typeface="OPPOSans H" panose="00020600040101010101" pitchFamily="18" charset="-122"/>
              <a:cs typeface="+mn-cs"/>
            </a:endParaRPr>
          </a:p>
        </p:txBody>
      </p:sp>
      <p:sp>
        <p:nvSpPr>
          <p:cNvPr id="36" name="矩形: 圆角 1">
            <a:extLst>
              <a:ext uri="{FF2B5EF4-FFF2-40B4-BE49-F238E27FC236}">
                <a16:creationId xmlns:a16="http://schemas.microsoft.com/office/drawing/2014/main" id="{B9DDE47A-CC4C-4B72-863D-122EF32A7564}"/>
              </a:ext>
            </a:extLst>
          </p:cNvPr>
          <p:cNvSpPr/>
          <p:nvPr/>
        </p:nvSpPr>
        <p:spPr>
          <a:xfrm>
            <a:off x="6197810" y="2775252"/>
            <a:ext cx="1114958" cy="435617"/>
          </a:xfrm>
          <a:prstGeom prst="roundRect">
            <a:avLst>
              <a:gd name="adj" fmla="val 50000"/>
            </a:avLst>
          </a:prstGeom>
          <a:gradFill flip="none" rotWithShape="1">
            <a:gsLst>
              <a:gs pos="0">
                <a:schemeClr val="accent1"/>
              </a:gs>
              <a:gs pos="100000">
                <a:schemeClr val="accent2"/>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400" b="0" i="0" u="none" strike="noStrike" kern="1200" cap="none" spc="0" normalizeH="0" baseline="0" noProof="0" dirty="0">
                <a:ln>
                  <a:noFill/>
                </a:ln>
                <a:solidFill>
                  <a:prstClr val="white"/>
                </a:solidFill>
                <a:effectLst/>
                <a:uLnTx/>
                <a:uFillTx/>
                <a:latin typeface="OPPOSans H" panose="00020600040101010101" pitchFamily="18" charset="-122"/>
                <a:ea typeface="OPPOSans H" panose="00020600040101010101" pitchFamily="18" charset="-122"/>
                <a:cs typeface="+mn-cs"/>
              </a:rPr>
              <a:t>秋叶</a:t>
            </a:r>
            <a:r>
              <a:rPr kumimoji="0" lang="en-US" altLang="zh-CN" sz="1400" b="0" i="0" u="none" strike="noStrike" kern="1200" cap="none" spc="0" normalizeH="0" baseline="0" noProof="0" dirty="0">
                <a:ln>
                  <a:noFill/>
                </a:ln>
                <a:solidFill>
                  <a:prstClr val="white"/>
                </a:solidFill>
                <a:effectLst/>
                <a:uLnTx/>
                <a:uFillTx/>
                <a:latin typeface="OPPOSans H" panose="00020600040101010101" pitchFamily="18" charset="-122"/>
                <a:ea typeface="OPPOSans H" panose="00020600040101010101" pitchFamily="18" charset="-122"/>
                <a:cs typeface="+mn-cs"/>
              </a:rPr>
              <a:t>PPT</a:t>
            </a:r>
            <a:endParaRPr kumimoji="0" lang="zh-CN" altLang="en-US" sz="1400" b="0" i="0" u="none" strike="noStrike" kern="1200" cap="none" spc="0" normalizeH="0" baseline="0" noProof="0" dirty="0">
              <a:ln>
                <a:noFill/>
              </a:ln>
              <a:solidFill>
                <a:prstClr val="white"/>
              </a:solidFill>
              <a:effectLst/>
              <a:uLnTx/>
              <a:uFillTx/>
              <a:latin typeface="OPPOSans H" panose="00020600040101010101" pitchFamily="18" charset="-122"/>
              <a:ea typeface="OPPOSans H" panose="00020600040101010101" pitchFamily="18" charset="-122"/>
              <a:cs typeface="+mn-cs"/>
            </a:endParaRPr>
          </a:p>
        </p:txBody>
      </p:sp>
      <p:sp>
        <p:nvSpPr>
          <p:cNvPr id="37" name="矩形: 圆角 1">
            <a:extLst>
              <a:ext uri="{FF2B5EF4-FFF2-40B4-BE49-F238E27FC236}">
                <a16:creationId xmlns:a16="http://schemas.microsoft.com/office/drawing/2014/main" id="{B91FEC27-D194-4588-992A-D70BF10360FA}"/>
              </a:ext>
            </a:extLst>
          </p:cNvPr>
          <p:cNvSpPr/>
          <p:nvPr/>
        </p:nvSpPr>
        <p:spPr>
          <a:xfrm>
            <a:off x="6197810" y="3288044"/>
            <a:ext cx="1114958" cy="435617"/>
          </a:xfrm>
          <a:prstGeom prst="roundRect">
            <a:avLst>
              <a:gd name="adj" fmla="val 50000"/>
            </a:avLst>
          </a:prstGeom>
          <a:gradFill flip="none" rotWithShape="1">
            <a:gsLst>
              <a:gs pos="0">
                <a:schemeClr val="accent1"/>
              </a:gs>
              <a:gs pos="100000">
                <a:schemeClr val="accent2"/>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400" b="0" i="0" u="none" strike="noStrike" kern="1200" cap="none" spc="0" normalizeH="0" baseline="0" noProof="0" dirty="0">
                <a:ln>
                  <a:noFill/>
                </a:ln>
                <a:solidFill>
                  <a:prstClr val="white"/>
                </a:solidFill>
                <a:effectLst/>
                <a:uLnTx/>
                <a:uFillTx/>
                <a:latin typeface="OPPOSans H" panose="00020600040101010101" pitchFamily="18" charset="-122"/>
                <a:ea typeface="OPPOSans H" panose="00020600040101010101" pitchFamily="18" charset="-122"/>
                <a:cs typeface="+mn-cs"/>
              </a:rPr>
              <a:t>秋叶</a:t>
            </a:r>
            <a:r>
              <a:rPr kumimoji="0" lang="en-US" altLang="zh-CN" sz="1400" b="0" i="0" u="none" strike="noStrike" kern="1200" cap="none" spc="0" normalizeH="0" baseline="0" noProof="0" dirty="0">
                <a:ln>
                  <a:noFill/>
                </a:ln>
                <a:solidFill>
                  <a:prstClr val="white"/>
                </a:solidFill>
                <a:effectLst/>
                <a:uLnTx/>
                <a:uFillTx/>
                <a:latin typeface="OPPOSans H" panose="00020600040101010101" pitchFamily="18" charset="-122"/>
                <a:ea typeface="OPPOSans H" panose="00020600040101010101" pitchFamily="18" charset="-122"/>
                <a:cs typeface="+mn-cs"/>
              </a:rPr>
              <a:t>PPT</a:t>
            </a:r>
            <a:endParaRPr kumimoji="0" lang="zh-CN" altLang="en-US" sz="1400" b="0" i="0" u="none" strike="noStrike" kern="1200" cap="none" spc="0" normalizeH="0" baseline="0" noProof="0" dirty="0">
              <a:ln>
                <a:noFill/>
              </a:ln>
              <a:solidFill>
                <a:prstClr val="white"/>
              </a:solidFill>
              <a:effectLst/>
              <a:uLnTx/>
              <a:uFillTx/>
              <a:latin typeface="OPPOSans H" panose="00020600040101010101" pitchFamily="18" charset="-122"/>
              <a:ea typeface="OPPOSans H" panose="00020600040101010101" pitchFamily="18" charset="-122"/>
              <a:cs typeface="+mn-cs"/>
            </a:endParaRPr>
          </a:p>
        </p:txBody>
      </p:sp>
      <p:cxnSp>
        <p:nvCxnSpPr>
          <p:cNvPr id="34" name="直接连接符 33">
            <a:extLst>
              <a:ext uri="{FF2B5EF4-FFF2-40B4-BE49-F238E27FC236}">
                <a16:creationId xmlns:a16="http://schemas.microsoft.com/office/drawing/2014/main" id="{BA1C8696-113E-45DF-A5C7-40471EC9A13A}"/>
              </a:ext>
            </a:extLst>
          </p:cNvPr>
          <p:cNvCxnSpPr>
            <a:cxnSpLocks/>
          </p:cNvCxnSpPr>
          <p:nvPr/>
        </p:nvCxnSpPr>
        <p:spPr>
          <a:xfrm>
            <a:off x="4878554" y="2993060"/>
            <a:ext cx="1242391" cy="0"/>
          </a:xfrm>
          <a:prstGeom prst="line">
            <a:avLst/>
          </a:prstGeom>
          <a:ln w="9525"/>
        </p:spPr>
        <p:style>
          <a:lnRef idx="1">
            <a:schemeClr val="accent1"/>
          </a:lnRef>
          <a:fillRef idx="0">
            <a:schemeClr val="accent1"/>
          </a:fillRef>
          <a:effectRef idx="0">
            <a:schemeClr val="accent1"/>
          </a:effectRef>
          <a:fontRef idx="minor">
            <a:schemeClr val="tx1"/>
          </a:fontRef>
        </p:style>
      </p:cxnSp>
      <p:cxnSp>
        <p:nvCxnSpPr>
          <p:cNvPr id="40" name="直接连接符 39">
            <a:extLst>
              <a:ext uri="{FF2B5EF4-FFF2-40B4-BE49-F238E27FC236}">
                <a16:creationId xmlns:a16="http://schemas.microsoft.com/office/drawing/2014/main" id="{E649110E-55C6-4B84-8A1F-A98B190825F2}"/>
              </a:ext>
            </a:extLst>
          </p:cNvPr>
          <p:cNvCxnSpPr>
            <a:cxnSpLocks/>
          </p:cNvCxnSpPr>
          <p:nvPr/>
        </p:nvCxnSpPr>
        <p:spPr>
          <a:xfrm>
            <a:off x="5836545" y="2480268"/>
            <a:ext cx="284400" cy="0"/>
          </a:xfrm>
          <a:prstGeom prst="line">
            <a:avLst/>
          </a:prstGeom>
          <a:ln w="9525"/>
        </p:spPr>
        <p:style>
          <a:lnRef idx="1">
            <a:schemeClr val="accent1"/>
          </a:lnRef>
          <a:fillRef idx="0">
            <a:schemeClr val="accent1"/>
          </a:fillRef>
          <a:effectRef idx="0">
            <a:schemeClr val="accent1"/>
          </a:effectRef>
          <a:fontRef idx="minor">
            <a:schemeClr val="tx1"/>
          </a:fontRef>
        </p:style>
      </p:cxnSp>
      <p:cxnSp>
        <p:nvCxnSpPr>
          <p:cNvPr id="41" name="直接连接符 40">
            <a:extLst>
              <a:ext uri="{FF2B5EF4-FFF2-40B4-BE49-F238E27FC236}">
                <a16:creationId xmlns:a16="http://schemas.microsoft.com/office/drawing/2014/main" id="{244D6718-0617-4367-8E04-9D2A82C47A98}"/>
              </a:ext>
            </a:extLst>
          </p:cNvPr>
          <p:cNvCxnSpPr>
            <a:cxnSpLocks/>
          </p:cNvCxnSpPr>
          <p:nvPr/>
        </p:nvCxnSpPr>
        <p:spPr>
          <a:xfrm>
            <a:off x="5836545" y="3505852"/>
            <a:ext cx="284400" cy="0"/>
          </a:xfrm>
          <a:prstGeom prst="line">
            <a:avLst/>
          </a:prstGeom>
          <a:ln w="9525"/>
        </p:spPr>
        <p:style>
          <a:lnRef idx="1">
            <a:schemeClr val="accent1"/>
          </a:lnRef>
          <a:fillRef idx="0">
            <a:schemeClr val="accent1"/>
          </a:fillRef>
          <a:effectRef idx="0">
            <a:schemeClr val="accent1"/>
          </a:effectRef>
          <a:fontRef idx="minor">
            <a:schemeClr val="tx1"/>
          </a:fontRef>
        </p:style>
      </p:cxnSp>
      <p:cxnSp>
        <p:nvCxnSpPr>
          <p:cNvPr id="44" name="直接连接符 43">
            <a:extLst>
              <a:ext uri="{FF2B5EF4-FFF2-40B4-BE49-F238E27FC236}">
                <a16:creationId xmlns:a16="http://schemas.microsoft.com/office/drawing/2014/main" id="{467AE159-A22D-4E25-830C-3CCED5129753}"/>
              </a:ext>
            </a:extLst>
          </p:cNvPr>
          <p:cNvCxnSpPr/>
          <p:nvPr/>
        </p:nvCxnSpPr>
        <p:spPr>
          <a:xfrm>
            <a:off x="5836545" y="2480268"/>
            <a:ext cx="0" cy="1025584"/>
          </a:xfrm>
          <a:prstGeom prst="line">
            <a:avLst/>
          </a:prstGeom>
          <a:ln w="9525"/>
        </p:spPr>
        <p:style>
          <a:lnRef idx="1">
            <a:schemeClr val="accent1"/>
          </a:lnRef>
          <a:fillRef idx="0">
            <a:schemeClr val="accent1"/>
          </a:fillRef>
          <a:effectRef idx="0">
            <a:schemeClr val="accent1"/>
          </a:effectRef>
          <a:fontRef idx="minor">
            <a:schemeClr val="tx1"/>
          </a:fontRef>
        </p:style>
      </p:cxnSp>
      <p:cxnSp>
        <p:nvCxnSpPr>
          <p:cNvPr id="47" name="直接连接符 46">
            <a:extLst>
              <a:ext uri="{FF2B5EF4-FFF2-40B4-BE49-F238E27FC236}">
                <a16:creationId xmlns:a16="http://schemas.microsoft.com/office/drawing/2014/main" id="{63C7D523-DF5A-40EA-AF47-BC8AA912AE11}"/>
              </a:ext>
            </a:extLst>
          </p:cNvPr>
          <p:cNvCxnSpPr>
            <a:cxnSpLocks/>
          </p:cNvCxnSpPr>
          <p:nvPr/>
        </p:nvCxnSpPr>
        <p:spPr>
          <a:xfrm>
            <a:off x="7393154" y="2993060"/>
            <a:ext cx="1242391" cy="0"/>
          </a:xfrm>
          <a:prstGeom prst="line">
            <a:avLst/>
          </a:prstGeom>
          <a:ln w="9525"/>
        </p:spPr>
        <p:style>
          <a:lnRef idx="1">
            <a:schemeClr val="accent1"/>
          </a:lnRef>
          <a:fillRef idx="0">
            <a:schemeClr val="accent1"/>
          </a:fillRef>
          <a:effectRef idx="0">
            <a:schemeClr val="accent1"/>
          </a:effectRef>
          <a:fontRef idx="minor">
            <a:schemeClr val="tx1"/>
          </a:fontRef>
        </p:style>
      </p:cxnSp>
      <p:sp>
        <p:nvSpPr>
          <p:cNvPr id="48" name="矩形: 圆角 1">
            <a:extLst>
              <a:ext uri="{FF2B5EF4-FFF2-40B4-BE49-F238E27FC236}">
                <a16:creationId xmlns:a16="http://schemas.microsoft.com/office/drawing/2014/main" id="{0A75ADFF-406D-4993-ABEA-6E5B287902FC}"/>
              </a:ext>
            </a:extLst>
          </p:cNvPr>
          <p:cNvSpPr/>
          <p:nvPr/>
        </p:nvSpPr>
        <p:spPr>
          <a:xfrm>
            <a:off x="8715931" y="2775252"/>
            <a:ext cx="1943323" cy="435617"/>
          </a:xfrm>
          <a:prstGeom prst="roundRect">
            <a:avLst>
              <a:gd name="adj" fmla="val 50000"/>
            </a:avLst>
          </a:prstGeom>
          <a:solidFill>
            <a:schemeClr val="accent3">
              <a:alpha val="70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400" b="0" i="0" u="none" strike="noStrike" kern="1200" cap="none" spc="0" normalizeH="0" baseline="0" noProof="0" dirty="0">
                <a:ln>
                  <a:noFill/>
                </a:ln>
                <a:gradFill>
                  <a:gsLst>
                    <a:gs pos="0">
                      <a:srgbClr val="071161"/>
                    </a:gs>
                    <a:gs pos="100000">
                      <a:srgbClr val="0B1B9A"/>
                    </a:gs>
                  </a:gsLst>
                  <a:lin ang="2700000" scaled="1"/>
                </a:gradFill>
                <a:effectLst/>
                <a:uLnTx/>
                <a:uFillTx/>
                <a:latin typeface="OPPOSans L" panose="00020600040101010101" pitchFamily="18" charset="-122"/>
                <a:ea typeface="OPPOSans L" panose="00020600040101010101" pitchFamily="18" charset="-122"/>
                <a:cs typeface="+mn-cs"/>
              </a:rPr>
              <a:t>秋叶</a:t>
            </a:r>
            <a:r>
              <a:rPr kumimoji="0" lang="en-US" altLang="zh-CN" sz="1400" b="0" i="0" u="none" strike="noStrike" kern="1200" cap="none" spc="0" normalizeH="0" baseline="0" noProof="0" dirty="0">
                <a:ln>
                  <a:noFill/>
                </a:ln>
                <a:gradFill>
                  <a:gsLst>
                    <a:gs pos="0">
                      <a:srgbClr val="071161"/>
                    </a:gs>
                    <a:gs pos="100000">
                      <a:srgbClr val="0B1B9A"/>
                    </a:gs>
                  </a:gsLst>
                  <a:lin ang="2700000" scaled="1"/>
                </a:gradFill>
                <a:effectLst/>
                <a:uLnTx/>
                <a:uFillTx/>
                <a:latin typeface="OPPOSans L" panose="00020600040101010101" pitchFamily="18" charset="-122"/>
                <a:ea typeface="OPPOSans L" panose="00020600040101010101" pitchFamily="18" charset="-122"/>
                <a:cs typeface="+mn-cs"/>
              </a:rPr>
              <a:t>PPT</a:t>
            </a:r>
            <a:r>
              <a:rPr kumimoji="0" lang="zh-CN" altLang="en-US" sz="1400" b="0" i="0" u="none" strike="noStrike" kern="1200" cap="none" spc="0" normalizeH="0" baseline="0" noProof="0" dirty="0">
                <a:ln>
                  <a:noFill/>
                </a:ln>
                <a:gradFill>
                  <a:gsLst>
                    <a:gs pos="0">
                      <a:srgbClr val="071161"/>
                    </a:gs>
                    <a:gs pos="100000">
                      <a:srgbClr val="0B1B9A"/>
                    </a:gs>
                  </a:gsLst>
                  <a:lin ang="2700000" scaled="1"/>
                </a:gradFill>
                <a:effectLst/>
                <a:uLnTx/>
                <a:uFillTx/>
                <a:latin typeface="OPPOSans L" panose="00020600040101010101" pitchFamily="18" charset="-122"/>
                <a:ea typeface="OPPOSans L" panose="00020600040101010101" pitchFamily="18" charset="-122"/>
                <a:cs typeface="+mn-cs"/>
              </a:rPr>
              <a:t>更快更轻松</a:t>
            </a:r>
          </a:p>
        </p:txBody>
      </p:sp>
      <p:sp>
        <p:nvSpPr>
          <p:cNvPr id="26" name="矩形: 圆角 1">
            <a:extLst>
              <a:ext uri="{FF2B5EF4-FFF2-40B4-BE49-F238E27FC236}">
                <a16:creationId xmlns:a16="http://schemas.microsoft.com/office/drawing/2014/main" id="{E0E58199-8FD6-47ED-A51A-0FE1BDB115D4}"/>
              </a:ext>
            </a:extLst>
          </p:cNvPr>
          <p:cNvSpPr/>
          <p:nvPr/>
        </p:nvSpPr>
        <p:spPr>
          <a:xfrm>
            <a:off x="2858366" y="3947935"/>
            <a:ext cx="1943323" cy="435617"/>
          </a:xfrm>
          <a:prstGeom prst="roundRect">
            <a:avLst>
              <a:gd name="adj" fmla="val 50000"/>
            </a:avLst>
          </a:prstGeom>
          <a:gradFill flip="none" rotWithShape="1">
            <a:gsLst>
              <a:gs pos="0">
                <a:schemeClr val="accent1"/>
              </a:gs>
              <a:gs pos="100000">
                <a:schemeClr val="accent2"/>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400" b="0" i="0" u="none" strike="noStrike" kern="1200" cap="none" spc="0" normalizeH="0" baseline="0" noProof="0" dirty="0">
                <a:ln>
                  <a:noFill/>
                </a:ln>
                <a:solidFill>
                  <a:prstClr val="white"/>
                </a:solidFill>
                <a:effectLst/>
                <a:uLnTx/>
                <a:uFillTx/>
                <a:latin typeface="OPPOSans H" panose="00020600040101010101" pitchFamily="18" charset="-122"/>
                <a:ea typeface="OPPOSans H" panose="00020600040101010101" pitchFamily="18" charset="-122"/>
                <a:cs typeface="+mn-cs"/>
              </a:rPr>
              <a:t>秋叶</a:t>
            </a:r>
            <a:r>
              <a:rPr kumimoji="0" lang="en-US" altLang="zh-CN" sz="1400" b="0" i="0" u="none" strike="noStrike" kern="1200" cap="none" spc="0" normalizeH="0" baseline="0" noProof="0" dirty="0">
                <a:ln>
                  <a:noFill/>
                </a:ln>
                <a:solidFill>
                  <a:prstClr val="white"/>
                </a:solidFill>
                <a:effectLst/>
                <a:uLnTx/>
                <a:uFillTx/>
                <a:latin typeface="OPPOSans H" panose="00020600040101010101" pitchFamily="18" charset="-122"/>
                <a:ea typeface="OPPOSans H" panose="00020600040101010101" pitchFamily="18" charset="-122"/>
                <a:cs typeface="+mn-cs"/>
              </a:rPr>
              <a:t>PPT</a:t>
            </a:r>
            <a:r>
              <a:rPr kumimoji="0" lang="zh-CN" altLang="en-US" sz="1400" b="0" i="0" u="none" strike="noStrike" kern="1200" cap="none" spc="0" normalizeH="0" baseline="0" noProof="0" dirty="0">
                <a:ln>
                  <a:noFill/>
                </a:ln>
                <a:solidFill>
                  <a:prstClr val="white"/>
                </a:solidFill>
                <a:effectLst/>
                <a:uLnTx/>
                <a:uFillTx/>
                <a:latin typeface="OPPOSans H" panose="00020600040101010101" pitchFamily="18" charset="-122"/>
                <a:ea typeface="OPPOSans H" panose="00020600040101010101" pitchFamily="18" charset="-122"/>
                <a:cs typeface="+mn-cs"/>
              </a:rPr>
              <a:t>更快更轻松</a:t>
            </a:r>
          </a:p>
        </p:txBody>
      </p:sp>
      <p:cxnSp>
        <p:nvCxnSpPr>
          <p:cNvPr id="51" name="直接连接符 50">
            <a:extLst>
              <a:ext uri="{FF2B5EF4-FFF2-40B4-BE49-F238E27FC236}">
                <a16:creationId xmlns:a16="http://schemas.microsoft.com/office/drawing/2014/main" id="{BA79AC5A-E442-484C-AFDD-8DEC41865742}"/>
              </a:ext>
            </a:extLst>
          </p:cNvPr>
          <p:cNvCxnSpPr>
            <a:cxnSpLocks/>
          </p:cNvCxnSpPr>
          <p:nvPr/>
        </p:nvCxnSpPr>
        <p:spPr>
          <a:xfrm>
            <a:off x="4878554" y="4165741"/>
            <a:ext cx="1242391" cy="0"/>
          </a:xfrm>
          <a:prstGeom prst="line">
            <a:avLst/>
          </a:prstGeom>
          <a:ln w="9525"/>
        </p:spPr>
        <p:style>
          <a:lnRef idx="1">
            <a:schemeClr val="accent1"/>
          </a:lnRef>
          <a:fillRef idx="0">
            <a:schemeClr val="accent1"/>
          </a:fillRef>
          <a:effectRef idx="0">
            <a:schemeClr val="accent1"/>
          </a:effectRef>
          <a:fontRef idx="minor">
            <a:schemeClr val="tx1"/>
          </a:fontRef>
        </p:style>
      </p:cxnSp>
      <p:sp>
        <p:nvSpPr>
          <p:cNvPr id="52" name="矩形: 圆角 1">
            <a:extLst>
              <a:ext uri="{FF2B5EF4-FFF2-40B4-BE49-F238E27FC236}">
                <a16:creationId xmlns:a16="http://schemas.microsoft.com/office/drawing/2014/main" id="{B5871082-6507-427F-9C86-86638A497A9A}"/>
              </a:ext>
            </a:extLst>
          </p:cNvPr>
          <p:cNvSpPr/>
          <p:nvPr/>
        </p:nvSpPr>
        <p:spPr>
          <a:xfrm>
            <a:off x="6197810" y="3947933"/>
            <a:ext cx="1943323" cy="435617"/>
          </a:xfrm>
          <a:prstGeom prst="roundRect">
            <a:avLst>
              <a:gd name="adj" fmla="val 50000"/>
            </a:avLst>
          </a:prstGeom>
          <a:solidFill>
            <a:schemeClr val="accent3">
              <a:alpha val="70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400" b="0" i="0" u="none" strike="noStrike" kern="1200" cap="none" spc="0" normalizeH="0" baseline="0" noProof="0" dirty="0">
                <a:ln>
                  <a:noFill/>
                </a:ln>
                <a:gradFill>
                  <a:gsLst>
                    <a:gs pos="0">
                      <a:srgbClr val="071161"/>
                    </a:gs>
                    <a:gs pos="100000">
                      <a:srgbClr val="0B1B9A"/>
                    </a:gs>
                  </a:gsLst>
                  <a:lin ang="2700000" scaled="1"/>
                </a:gradFill>
                <a:effectLst/>
                <a:uLnTx/>
                <a:uFillTx/>
                <a:latin typeface="OPPOSans L" panose="00020600040101010101" pitchFamily="18" charset="-122"/>
                <a:ea typeface="OPPOSans L" panose="00020600040101010101" pitchFamily="18" charset="-122"/>
                <a:cs typeface="+mn-cs"/>
              </a:rPr>
              <a:t>秋叶</a:t>
            </a:r>
            <a:r>
              <a:rPr kumimoji="0" lang="en-US" altLang="zh-CN" sz="1400" b="0" i="0" u="none" strike="noStrike" kern="1200" cap="none" spc="0" normalizeH="0" baseline="0" noProof="0" dirty="0">
                <a:ln>
                  <a:noFill/>
                </a:ln>
                <a:gradFill>
                  <a:gsLst>
                    <a:gs pos="0">
                      <a:srgbClr val="071161"/>
                    </a:gs>
                    <a:gs pos="100000">
                      <a:srgbClr val="0B1B9A"/>
                    </a:gs>
                  </a:gsLst>
                  <a:lin ang="2700000" scaled="1"/>
                </a:gradFill>
                <a:effectLst/>
                <a:uLnTx/>
                <a:uFillTx/>
                <a:latin typeface="OPPOSans L" panose="00020600040101010101" pitchFamily="18" charset="-122"/>
                <a:ea typeface="OPPOSans L" panose="00020600040101010101" pitchFamily="18" charset="-122"/>
                <a:cs typeface="+mn-cs"/>
              </a:rPr>
              <a:t>PPT</a:t>
            </a:r>
            <a:r>
              <a:rPr kumimoji="0" lang="zh-CN" altLang="en-US" sz="1400" b="0" i="0" u="none" strike="noStrike" kern="1200" cap="none" spc="0" normalizeH="0" baseline="0" noProof="0" dirty="0">
                <a:ln>
                  <a:noFill/>
                </a:ln>
                <a:gradFill>
                  <a:gsLst>
                    <a:gs pos="0">
                      <a:srgbClr val="071161"/>
                    </a:gs>
                    <a:gs pos="100000">
                      <a:srgbClr val="0B1B9A"/>
                    </a:gs>
                  </a:gsLst>
                  <a:lin ang="2700000" scaled="1"/>
                </a:gradFill>
                <a:effectLst/>
                <a:uLnTx/>
                <a:uFillTx/>
                <a:latin typeface="OPPOSans L" panose="00020600040101010101" pitchFamily="18" charset="-122"/>
                <a:ea typeface="OPPOSans L" panose="00020600040101010101" pitchFamily="18" charset="-122"/>
                <a:cs typeface="+mn-cs"/>
              </a:rPr>
              <a:t>更快更轻松</a:t>
            </a:r>
          </a:p>
        </p:txBody>
      </p:sp>
      <p:cxnSp>
        <p:nvCxnSpPr>
          <p:cNvPr id="53" name="直接连接符 52">
            <a:extLst>
              <a:ext uri="{FF2B5EF4-FFF2-40B4-BE49-F238E27FC236}">
                <a16:creationId xmlns:a16="http://schemas.microsoft.com/office/drawing/2014/main" id="{EBF82162-0A26-4AFC-89BA-908D075118B8}"/>
              </a:ext>
            </a:extLst>
          </p:cNvPr>
          <p:cNvCxnSpPr>
            <a:cxnSpLocks/>
          </p:cNvCxnSpPr>
          <p:nvPr/>
        </p:nvCxnSpPr>
        <p:spPr>
          <a:xfrm>
            <a:off x="8217998" y="4165741"/>
            <a:ext cx="1242391" cy="0"/>
          </a:xfrm>
          <a:prstGeom prst="line">
            <a:avLst/>
          </a:prstGeom>
          <a:ln w="9525"/>
        </p:spPr>
        <p:style>
          <a:lnRef idx="1">
            <a:schemeClr val="accent1"/>
          </a:lnRef>
          <a:fillRef idx="0">
            <a:schemeClr val="accent1"/>
          </a:fillRef>
          <a:effectRef idx="0">
            <a:schemeClr val="accent1"/>
          </a:effectRef>
          <a:fontRef idx="minor">
            <a:schemeClr val="tx1"/>
          </a:fontRef>
        </p:style>
      </p:cxnSp>
      <p:sp>
        <p:nvSpPr>
          <p:cNvPr id="55" name="矩形: 圆角 1">
            <a:extLst>
              <a:ext uri="{FF2B5EF4-FFF2-40B4-BE49-F238E27FC236}">
                <a16:creationId xmlns:a16="http://schemas.microsoft.com/office/drawing/2014/main" id="{939B43AB-7BE5-4D05-BC7D-F4FADD2B288E}"/>
              </a:ext>
            </a:extLst>
          </p:cNvPr>
          <p:cNvSpPr/>
          <p:nvPr/>
        </p:nvSpPr>
        <p:spPr>
          <a:xfrm>
            <a:off x="9812586" y="3687002"/>
            <a:ext cx="1114958" cy="435617"/>
          </a:xfrm>
          <a:prstGeom prst="roundRect">
            <a:avLst>
              <a:gd name="adj" fmla="val 50000"/>
            </a:avLst>
          </a:prstGeom>
          <a:gradFill flip="none" rotWithShape="1">
            <a:gsLst>
              <a:gs pos="0">
                <a:schemeClr val="accent1"/>
              </a:gs>
              <a:gs pos="100000">
                <a:schemeClr val="accent2"/>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400" b="0" i="0" u="none" strike="noStrike" kern="1200" cap="none" spc="0" normalizeH="0" baseline="0" noProof="0" dirty="0">
                <a:ln>
                  <a:noFill/>
                </a:ln>
                <a:solidFill>
                  <a:prstClr val="white"/>
                </a:solidFill>
                <a:effectLst/>
                <a:uLnTx/>
                <a:uFillTx/>
                <a:latin typeface="OPPOSans H" panose="00020600040101010101" pitchFamily="18" charset="-122"/>
                <a:ea typeface="OPPOSans H" panose="00020600040101010101" pitchFamily="18" charset="-122"/>
                <a:cs typeface="+mn-cs"/>
              </a:rPr>
              <a:t>秋叶</a:t>
            </a:r>
            <a:r>
              <a:rPr kumimoji="0" lang="en-US" altLang="zh-CN" sz="1400" b="0" i="0" u="none" strike="noStrike" kern="1200" cap="none" spc="0" normalizeH="0" baseline="0" noProof="0" dirty="0">
                <a:ln>
                  <a:noFill/>
                </a:ln>
                <a:solidFill>
                  <a:prstClr val="white"/>
                </a:solidFill>
                <a:effectLst/>
                <a:uLnTx/>
                <a:uFillTx/>
                <a:latin typeface="OPPOSans H" panose="00020600040101010101" pitchFamily="18" charset="-122"/>
                <a:ea typeface="OPPOSans H" panose="00020600040101010101" pitchFamily="18" charset="-122"/>
                <a:cs typeface="+mn-cs"/>
              </a:rPr>
              <a:t>PPT</a:t>
            </a:r>
            <a:endParaRPr kumimoji="0" lang="zh-CN" altLang="en-US" sz="1400" b="0" i="0" u="none" strike="noStrike" kern="1200" cap="none" spc="0" normalizeH="0" baseline="0" noProof="0" dirty="0">
              <a:ln>
                <a:noFill/>
              </a:ln>
              <a:solidFill>
                <a:prstClr val="white"/>
              </a:solidFill>
              <a:effectLst/>
              <a:uLnTx/>
              <a:uFillTx/>
              <a:latin typeface="OPPOSans H" panose="00020600040101010101" pitchFamily="18" charset="-122"/>
              <a:ea typeface="OPPOSans H" panose="00020600040101010101" pitchFamily="18" charset="-122"/>
              <a:cs typeface="+mn-cs"/>
            </a:endParaRPr>
          </a:p>
        </p:txBody>
      </p:sp>
      <p:sp>
        <p:nvSpPr>
          <p:cNvPr id="56" name="矩形: 圆角 1">
            <a:extLst>
              <a:ext uri="{FF2B5EF4-FFF2-40B4-BE49-F238E27FC236}">
                <a16:creationId xmlns:a16="http://schemas.microsoft.com/office/drawing/2014/main" id="{79BEF222-0681-4A07-9A1A-7CABD0A3BFC7}"/>
              </a:ext>
            </a:extLst>
          </p:cNvPr>
          <p:cNvSpPr/>
          <p:nvPr/>
        </p:nvSpPr>
        <p:spPr>
          <a:xfrm>
            <a:off x="9812586" y="4208862"/>
            <a:ext cx="1114958" cy="435617"/>
          </a:xfrm>
          <a:prstGeom prst="roundRect">
            <a:avLst>
              <a:gd name="adj" fmla="val 50000"/>
            </a:avLst>
          </a:prstGeom>
          <a:gradFill flip="none" rotWithShape="1">
            <a:gsLst>
              <a:gs pos="0">
                <a:schemeClr val="accent1"/>
              </a:gs>
              <a:gs pos="100000">
                <a:schemeClr val="accent2"/>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400" b="0" i="0" u="none" strike="noStrike" kern="1200" cap="none" spc="0" normalizeH="0" baseline="0" noProof="0" dirty="0">
                <a:ln>
                  <a:noFill/>
                </a:ln>
                <a:solidFill>
                  <a:prstClr val="white"/>
                </a:solidFill>
                <a:effectLst/>
                <a:uLnTx/>
                <a:uFillTx/>
                <a:latin typeface="OPPOSans H" panose="00020600040101010101" pitchFamily="18" charset="-122"/>
                <a:ea typeface="OPPOSans H" panose="00020600040101010101" pitchFamily="18" charset="-122"/>
                <a:cs typeface="+mn-cs"/>
              </a:rPr>
              <a:t>秋叶</a:t>
            </a:r>
            <a:r>
              <a:rPr kumimoji="0" lang="en-US" altLang="zh-CN" sz="1400" b="0" i="0" u="none" strike="noStrike" kern="1200" cap="none" spc="0" normalizeH="0" baseline="0" noProof="0" dirty="0">
                <a:ln>
                  <a:noFill/>
                </a:ln>
                <a:solidFill>
                  <a:prstClr val="white"/>
                </a:solidFill>
                <a:effectLst/>
                <a:uLnTx/>
                <a:uFillTx/>
                <a:latin typeface="OPPOSans H" panose="00020600040101010101" pitchFamily="18" charset="-122"/>
                <a:ea typeface="OPPOSans H" panose="00020600040101010101" pitchFamily="18" charset="-122"/>
                <a:cs typeface="+mn-cs"/>
              </a:rPr>
              <a:t>PPT</a:t>
            </a:r>
            <a:endParaRPr kumimoji="0" lang="zh-CN" altLang="en-US" sz="1400" b="0" i="0" u="none" strike="noStrike" kern="1200" cap="none" spc="0" normalizeH="0" baseline="0" noProof="0" dirty="0">
              <a:ln>
                <a:noFill/>
              </a:ln>
              <a:solidFill>
                <a:prstClr val="white"/>
              </a:solidFill>
              <a:effectLst/>
              <a:uLnTx/>
              <a:uFillTx/>
              <a:latin typeface="OPPOSans H" panose="00020600040101010101" pitchFamily="18" charset="-122"/>
              <a:ea typeface="OPPOSans H" panose="00020600040101010101" pitchFamily="18" charset="-122"/>
              <a:cs typeface="+mn-cs"/>
            </a:endParaRPr>
          </a:p>
        </p:txBody>
      </p:sp>
      <p:cxnSp>
        <p:nvCxnSpPr>
          <p:cNvPr id="59" name="直接连接符 58">
            <a:extLst>
              <a:ext uri="{FF2B5EF4-FFF2-40B4-BE49-F238E27FC236}">
                <a16:creationId xmlns:a16="http://schemas.microsoft.com/office/drawing/2014/main" id="{AA645BFE-925F-42CE-A18E-DC721A39B14D}"/>
              </a:ext>
            </a:extLst>
          </p:cNvPr>
          <p:cNvCxnSpPr>
            <a:cxnSpLocks/>
          </p:cNvCxnSpPr>
          <p:nvPr/>
        </p:nvCxnSpPr>
        <p:spPr>
          <a:xfrm>
            <a:off x="9460389" y="3904810"/>
            <a:ext cx="284400" cy="0"/>
          </a:xfrm>
          <a:prstGeom prst="line">
            <a:avLst/>
          </a:prstGeom>
          <a:ln w="9525"/>
        </p:spPr>
        <p:style>
          <a:lnRef idx="1">
            <a:schemeClr val="accent1"/>
          </a:lnRef>
          <a:fillRef idx="0">
            <a:schemeClr val="accent1"/>
          </a:fillRef>
          <a:effectRef idx="0">
            <a:schemeClr val="accent1"/>
          </a:effectRef>
          <a:fontRef idx="minor">
            <a:schemeClr val="tx1"/>
          </a:fontRef>
        </p:style>
      </p:cxnSp>
      <p:cxnSp>
        <p:nvCxnSpPr>
          <p:cNvPr id="60" name="直接连接符 59">
            <a:extLst>
              <a:ext uri="{FF2B5EF4-FFF2-40B4-BE49-F238E27FC236}">
                <a16:creationId xmlns:a16="http://schemas.microsoft.com/office/drawing/2014/main" id="{105058B8-8319-419B-80FF-B3BCE80A1A4A}"/>
              </a:ext>
            </a:extLst>
          </p:cNvPr>
          <p:cNvCxnSpPr>
            <a:cxnSpLocks/>
          </p:cNvCxnSpPr>
          <p:nvPr/>
        </p:nvCxnSpPr>
        <p:spPr>
          <a:xfrm>
            <a:off x="9460389" y="4426670"/>
            <a:ext cx="284400" cy="0"/>
          </a:xfrm>
          <a:prstGeom prst="line">
            <a:avLst/>
          </a:prstGeom>
          <a:ln w="9525"/>
        </p:spPr>
        <p:style>
          <a:lnRef idx="1">
            <a:schemeClr val="accent1"/>
          </a:lnRef>
          <a:fillRef idx="0">
            <a:schemeClr val="accent1"/>
          </a:fillRef>
          <a:effectRef idx="0">
            <a:schemeClr val="accent1"/>
          </a:effectRef>
          <a:fontRef idx="minor">
            <a:schemeClr val="tx1"/>
          </a:fontRef>
        </p:style>
      </p:cxnSp>
      <p:cxnSp>
        <p:nvCxnSpPr>
          <p:cNvPr id="61" name="直接连接符 60">
            <a:extLst>
              <a:ext uri="{FF2B5EF4-FFF2-40B4-BE49-F238E27FC236}">
                <a16:creationId xmlns:a16="http://schemas.microsoft.com/office/drawing/2014/main" id="{51EF824E-F3F1-42A1-9E12-85AAE58FE469}"/>
              </a:ext>
            </a:extLst>
          </p:cNvPr>
          <p:cNvCxnSpPr>
            <a:cxnSpLocks/>
          </p:cNvCxnSpPr>
          <p:nvPr/>
        </p:nvCxnSpPr>
        <p:spPr>
          <a:xfrm>
            <a:off x="9460389" y="3900048"/>
            <a:ext cx="0" cy="529200"/>
          </a:xfrm>
          <a:prstGeom prst="line">
            <a:avLst/>
          </a:prstGeom>
          <a:ln w="9525"/>
        </p:spPr>
        <p:style>
          <a:lnRef idx="1">
            <a:schemeClr val="accent1"/>
          </a:lnRef>
          <a:fillRef idx="0">
            <a:schemeClr val="accent1"/>
          </a:fillRef>
          <a:effectRef idx="0">
            <a:schemeClr val="accent1"/>
          </a:effectRef>
          <a:fontRef idx="minor">
            <a:schemeClr val="tx1"/>
          </a:fontRef>
        </p:style>
      </p:cxnSp>
      <p:cxnSp>
        <p:nvCxnSpPr>
          <p:cNvPr id="96" name="直接连接符 95">
            <a:extLst>
              <a:ext uri="{FF2B5EF4-FFF2-40B4-BE49-F238E27FC236}">
                <a16:creationId xmlns:a16="http://schemas.microsoft.com/office/drawing/2014/main" id="{50EAA59F-A111-48FF-AC4D-27CFDF13121B}"/>
              </a:ext>
            </a:extLst>
          </p:cNvPr>
          <p:cNvCxnSpPr>
            <a:cxnSpLocks/>
          </p:cNvCxnSpPr>
          <p:nvPr/>
        </p:nvCxnSpPr>
        <p:spPr>
          <a:xfrm>
            <a:off x="7439285" y="4968646"/>
            <a:ext cx="463550" cy="0"/>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9" name="直接连接符 98">
            <a:extLst>
              <a:ext uri="{FF2B5EF4-FFF2-40B4-BE49-F238E27FC236}">
                <a16:creationId xmlns:a16="http://schemas.microsoft.com/office/drawing/2014/main" id="{6E020A5B-DC07-4F20-AE70-2F956A110888}"/>
              </a:ext>
            </a:extLst>
          </p:cNvPr>
          <p:cNvCxnSpPr>
            <a:cxnSpLocks/>
          </p:cNvCxnSpPr>
          <p:nvPr/>
        </p:nvCxnSpPr>
        <p:spPr>
          <a:xfrm>
            <a:off x="7438860" y="5495268"/>
            <a:ext cx="464400" cy="0"/>
          </a:xfrm>
          <a:prstGeom prst="line">
            <a:avLst/>
          </a:prstGeom>
          <a:ln w="9525"/>
        </p:spPr>
        <p:style>
          <a:lnRef idx="1">
            <a:schemeClr val="accent1"/>
          </a:lnRef>
          <a:fillRef idx="0">
            <a:schemeClr val="accent1"/>
          </a:fillRef>
          <a:effectRef idx="0">
            <a:schemeClr val="accent1"/>
          </a:effectRef>
          <a:fontRef idx="minor">
            <a:schemeClr val="tx1"/>
          </a:fontRef>
        </p:style>
      </p:cxnSp>
      <p:sp>
        <p:nvSpPr>
          <p:cNvPr id="28" name="矩形: 圆角 1">
            <a:extLst>
              <a:ext uri="{FF2B5EF4-FFF2-40B4-BE49-F238E27FC236}">
                <a16:creationId xmlns:a16="http://schemas.microsoft.com/office/drawing/2014/main" id="{8A875DC3-4A28-4995-88F0-FE412A4835D7}"/>
              </a:ext>
            </a:extLst>
          </p:cNvPr>
          <p:cNvSpPr/>
          <p:nvPr/>
        </p:nvSpPr>
        <p:spPr>
          <a:xfrm>
            <a:off x="2858366" y="5015435"/>
            <a:ext cx="1943323" cy="435617"/>
          </a:xfrm>
          <a:prstGeom prst="roundRect">
            <a:avLst>
              <a:gd name="adj" fmla="val 50000"/>
            </a:avLst>
          </a:prstGeom>
          <a:gradFill flip="none" rotWithShape="1">
            <a:gsLst>
              <a:gs pos="0">
                <a:schemeClr val="accent1"/>
              </a:gs>
              <a:gs pos="100000">
                <a:schemeClr val="accent2"/>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400" b="0" i="0" u="none" strike="noStrike" kern="1200" cap="none" spc="0" normalizeH="0" baseline="0" noProof="0" dirty="0">
                <a:ln>
                  <a:noFill/>
                </a:ln>
                <a:solidFill>
                  <a:prstClr val="white"/>
                </a:solidFill>
                <a:effectLst/>
                <a:uLnTx/>
                <a:uFillTx/>
                <a:latin typeface="OPPOSans H" panose="00020600040101010101" pitchFamily="18" charset="-122"/>
                <a:ea typeface="OPPOSans H" panose="00020600040101010101" pitchFamily="18" charset="-122"/>
                <a:cs typeface="+mn-cs"/>
              </a:rPr>
              <a:t>秋叶</a:t>
            </a:r>
            <a:r>
              <a:rPr kumimoji="0" lang="en-US" altLang="zh-CN" sz="1400" b="0" i="0" u="none" strike="noStrike" kern="1200" cap="none" spc="0" normalizeH="0" baseline="0" noProof="0" dirty="0">
                <a:ln>
                  <a:noFill/>
                </a:ln>
                <a:solidFill>
                  <a:prstClr val="white"/>
                </a:solidFill>
                <a:effectLst/>
                <a:uLnTx/>
                <a:uFillTx/>
                <a:latin typeface="OPPOSans H" panose="00020600040101010101" pitchFamily="18" charset="-122"/>
                <a:ea typeface="OPPOSans H" panose="00020600040101010101" pitchFamily="18" charset="-122"/>
                <a:cs typeface="+mn-cs"/>
              </a:rPr>
              <a:t>PPT</a:t>
            </a:r>
            <a:r>
              <a:rPr kumimoji="0" lang="zh-CN" altLang="en-US" sz="1400" b="0" i="0" u="none" strike="noStrike" kern="1200" cap="none" spc="0" normalizeH="0" baseline="0" noProof="0" dirty="0">
                <a:ln>
                  <a:noFill/>
                </a:ln>
                <a:solidFill>
                  <a:prstClr val="white"/>
                </a:solidFill>
                <a:effectLst/>
                <a:uLnTx/>
                <a:uFillTx/>
                <a:latin typeface="OPPOSans H" panose="00020600040101010101" pitchFamily="18" charset="-122"/>
                <a:ea typeface="OPPOSans H" panose="00020600040101010101" pitchFamily="18" charset="-122"/>
                <a:cs typeface="+mn-cs"/>
              </a:rPr>
              <a:t>更快更轻松</a:t>
            </a:r>
          </a:p>
        </p:txBody>
      </p:sp>
      <p:cxnSp>
        <p:nvCxnSpPr>
          <p:cNvPr id="72" name="直接连接符 71">
            <a:extLst>
              <a:ext uri="{FF2B5EF4-FFF2-40B4-BE49-F238E27FC236}">
                <a16:creationId xmlns:a16="http://schemas.microsoft.com/office/drawing/2014/main" id="{1F5E82E6-867A-4DC2-888B-CA2B89308F6B}"/>
              </a:ext>
            </a:extLst>
          </p:cNvPr>
          <p:cNvCxnSpPr>
            <a:cxnSpLocks/>
          </p:cNvCxnSpPr>
          <p:nvPr/>
        </p:nvCxnSpPr>
        <p:spPr>
          <a:xfrm>
            <a:off x="4878554" y="5234338"/>
            <a:ext cx="1242391" cy="0"/>
          </a:xfrm>
          <a:prstGeom prst="line">
            <a:avLst/>
          </a:prstGeom>
          <a:ln w="9525"/>
        </p:spPr>
        <p:style>
          <a:lnRef idx="1">
            <a:schemeClr val="accent1"/>
          </a:lnRef>
          <a:fillRef idx="0">
            <a:schemeClr val="accent1"/>
          </a:fillRef>
          <a:effectRef idx="0">
            <a:schemeClr val="accent1"/>
          </a:effectRef>
          <a:fontRef idx="minor">
            <a:schemeClr val="tx1"/>
          </a:fontRef>
        </p:style>
      </p:cxnSp>
      <p:sp>
        <p:nvSpPr>
          <p:cNvPr id="74" name="矩形: 圆角 1">
            <a:extLst>
              <a:ext uri="{FF2B5EF4-FFF2-40B4-BE49-F238E27FC236}">
                <a16:creationId xmlns:a16="http://schemas.microsoft.com/office/drawing/2014/main" id="{78B822F1-D979-4E50-A89D-C29972163442}"/>
              </a:ext>
            </a:extLst>
          </p:cNvPr>
          <p:cNvSpPr/>
          <p:nvPr/>
        </p:nvSpPr>
        <p:spPr>
          <a:xfrm>
            <a:off x="6473142" y="4755600"/>
            <a:ext cx="1114958" cy="435617"/>
          </a:xfrm>
          <a:prstGeom prst="roundRect">
            <a:avLst>
              <a:gd name="adj" fmla="val 50000"/>
            </a:avLst>
          </a:prstGeom>
          <a:gradFill flip="none" rotWithShape="1">
            <a:gsLst>
              <a:gs pos="0">
                <a:schemeClr val="accent1"/>
              </a:gs>
              <a:gs pos="100000">
                <a:schemeClr val="accent2"/>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400" b="0" i="0" u="none" strike="noStrike" kern="1200" cap="none" spc="0" normalizeH="0" baseline="0" noProof="0" dirty="0">
                <a:ln>
                  <a:noFill/>
                </a:ln>
                <a:solidFill>
                  <a:prstClr val="white"/>
                </a:solidFill>
                <a:effectLst/>
                <a:uLnTx/>
                <a:uFillTx/>
                <a:latin typeface="OPPOSans H" panose="00020600040101010101" pitchFamily="18" charset="-122"/>
                <a:ea typeface="OPPOSans H" panose="00020600040101010101" pitchFamily="18" charset="-122"/>
                <a:cs typeface="+mn-cs"/>
              </a:rPr>
              <a:t>秋叶</a:t>
            </a:r>
            <a:r>
              <a:rPr kumimoji="0" lang="en-US" altLang="zh-CN" sz="1400" b="0" i="0" u="none" strike="noStrike" kern="1200" cap="none" spc="0" normalizeH="0" baseline="0" noProof="0" dirty="0">
                <a:ln>
                  <a:noFill/>
                </a:ln>
                <a:solidFill>
                  <a:prstClr val="white"/>
                </a:solidFill>
                <a:effectLst/>
                <a:uLnTx/>
                <a:uFillTx/>
                <a:latin typeface="OPPOSans H" panose="00020600040101010101" pitchFamily="18" charset="-122"/>
                <a:ea typeface="OPPOSans H" panose="00020600040101010101" pitchFamily="18" charset="-122"/>
                <a:cs typeface="+mn-cs"/>
              </a:rPr>
              <a:t>PPT</a:t>
            </a:r>
            <a:endParaRPr kumimoji="0" lang="zh-CN" altLang="en-US" sz="1400" b="0" i="0" u="none" strike="noStrike" kern="1200" cap="none" spc="0" normalizeH="0" baseline="0" noProof="0" dirty="0">
              <a:ln>
                <a:noFill/>
              </a:ln>
              <a:solidFill>
                <a:prstClr val="white"/>
              </a:solidFill>
              <a:effectLst/>
              <a:uLnTx/>
              <a:uFillTx/>
              <a:latin typeface="OPPOSans H" panose="00020600040101010101" pitchFamily="18" charset="-122"/>
              <a:ea typeface="OPPOSans H" panose="00020600040101010101" pitchFamily="18" charset="-122"/>
              <a:cs typeface="+mn-cs"/>
            </a:endParaRPr>
          </a:p>
        </p:txBody>
      </p:sp>
      <p:sp>
        <p:nvSpPr>
          <p:cNvPr id="75" name="矩形: 圆角 1">
            <a:extLst>
              <a:ext uri="{FF2B5EF4-FFF2-40B4-BE49-F238E27FC236}">
                <a16:creationId xmlns:a16="http://schemas.microsoft.com/office/drawing/2014/main" id="{79653F20-B0FC-457F-9134-316D6E1F1AFB}"/>
              </a:ext>
            </a:extLst>
          </p:cNvPr>
          <p:cNvSpPr/>
          <p:nvPr/>
        </p:nvSpPr>
        <p:spPr>
          <a:xfrm>
            <a:off x="6473142" y="5277460"/>
            <a:ext cx="1114958" cy="435617"/>
          </a:xfrm>
          <a:prstGeom prst="roundRect">
            <a:avLst>
              <a:gd name="adj" fmla="val 50000"/>
            </a:avLst>
          </a:prstGeom>
          <a:gradFill flip="none" rotWithShape="1">
            <a:gsLst>
              <a:gs pos="0">
                <a:schemeClr val="accent1"/>
              </a:gs>
              <a:gs pos="100000">
                <a:schemeClr val="accent2"/>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400" b="0" i="0" u="none" strike="noStrike" kern="1200" cap="none" spc="0" normalizeH="0" baseline="0" noProof="0" dirty="0">
                <a:ln>
                  <a:noFill/>
                </a:ln>
                <a:solidFill>
                  <a:prstClr val="white"/>
                </a:solidFill>
                <a:effectLst/>
                <a:uLnTx/>
                <a:uFillTx/>
                <a:latin typeface="OPPOSans H" panose="00020600040101010101" pitchFamily="18" charset="-122"/>
                <a:ea typeface="OPPOSans H" panose="00020600040101010101" pitchFamily="18" charset="-122"/>
                <a:cs typeface="+mn-cs"/>
              </a:rPr>
              <a:t>秋叶</a:t>
            </a:r>
            <a:r>
              <a:rPr kumimoji="0" lang="en-US" altLang="zh-CN" sz="1400" b="0" i="0" u="none" strike="noStrike" kern="1200" cap="none" spc="0" normalizeH="0" baseline="0" noProof="0" dirty="0">
                <a:ln>
                  <a:noFill/>
                </a:ln>
                <a:solidFill>
                  <a:prstClr val="white"/>
                </a:solidFill>
                <a:effectLst/>
                <a:uLnTx/>
                <a:uFillTx/>
                <a:latin typeface="OPPOSans H" panose="00020600040101010101" pitchFamily="18" charset="-122"/>
                <a:ea typeface="OPPOSans H" panose="00020600040101010101" pitchFamily="18" charset="-122"/>
                <a:cs typeface="+mn-cs"/>
              </a:rPr>
              <a:t>PPT</a:t>
            </a:r>
            <a:endParaRPr kumimoji="0" lang="zh-CN" altLang="en-US" sz="1400" b="0" i="0" u="none" strike="noStrike" kern="1200" cap="none" spc="0" normalizeH="0" baseline="0" noProof="0" dirty="0">
              <a:ln>
                <a:noFill/>
              </a:ln>
              <a:solidFill>
                <a:prstClr val="white"/>
              </a:solidFill>
              <a:effectLst/>
              <a:uLnTx/>
              <a:uFillTx/>
              <a:latin typeface="OPPOSans H" panose="00020600040101010101" pitchFamily="18" charset="-122"/>
              <a:ea typeface="OPPOSans H" panose="00020600040101010101" pitchFamily="18" charset="-122"/>
              <a:cs typeface="+mn-cs"/>
            </a:endParaRPr>
          </a:p>
        </p:txBody>
      </p:sp>
      <p:cxnSp>
        <p:nvCxnSpPr>
          <p:cNvPr id="76" name="直接连接符 75">
            <a:extLst>
              <a:ext uri="{FF2B5EF4-FFF2-40B4-BE49-F238E27FC236}">
                <a16:creationId xmlns:a16="http://schemas.microsoft.com/office/drawing/2014/main" id="{8DA04A82-D35C-4DC1-BBBE-7A523F3C2A9F}"/>
              </a:ext>
            </a:extLst>
          </p:cNvPr>
          <p:cNvCxnSpPr>
            <a:cxnSpLocks/>
          </p:cNvCxnSpPr>
          <p:nvPr/>
        </p:nvCxnSpPr>
        <p:spPr>
          <a:xfrm>
            <a:off x="6120945" y="4973408"/>
            <a:ext cx="284400" cy="0"/>
          </a:xfrm>
          <a:prstGeom prst="line">
            <a:avLst/>
          </a:prstGeom>
          <a:ln w="9525"/>
        </p:spPr>
        <p:style>
          <a:lnRef idx="1">
            <a:schemeClr val="accent1"/>
          </a:lnRef>
          <a:fillRef idx="0">
            <a:schemeClr val="accent1"/>
          </a:fillRef>
          <a:effectRef idx="0">
            <a:schemeClr val="accent1"/>
          </a:effectRef>
          <a:fontRef idx="minor">
            <a:schemeClr val="tx1"/>
          </a:fontRef>
        </p:style>
      </p:cxnSp>
      <p:cxnSp>
        <p:nvCxnSpPr>
          <p:cNvPr id="77" name="直接连接符 76">
            <a:extLst>
              <a:ext uri="{FF2B5EF4-FFF2-40B4-BE49-F238E27FC236}">
                <a16:creationId xmlns:a16="http://schemas.microsoft.com/office/drawing/2014/main" id="{3828995D-121C-425A-A09F-394BFE31876A}"/>
              </a:ext>
            </a:extLst>
          </p:cNvPr>
          <p:cNvCxnSpPr>
            <a:cxnSpLocks/>
          </p:cNvCxnSpPr>
          <p:nvPr/>
        </p:nvCxnSpPr>
        <p:spPr>
          <a:xfrm>
            <a:off x="6120945" y="5495268"/>
            <a:ext cx="284400" cy="0"/>
          </a:xfrm>
          <a:prstGeom prst="line">
            <a:avLst/>
          </a:prstGeom>
          <a:ln w="9525"/>
        </p:spPr>
        <p:style>
          <a:lnRef idx="1">
            <a:schemeClr val="accent1"/>
          </a:lnRef>
          <a:fillRef idx="0">
            <a:schemeClr val="accent1"/>
          </a:fillRef>
          <a:effectRef idx="0">
            <a:schemeClr val="accent1"/>
          </a:effectRef>
          <a:fontRef idx="minor">
            <a:schemeClr val="tx1"/>
          </a:fontRef>
        </p:style>
      </p:cxnSp>
      <p:cxnSp>
        <p:nvCxnSpPr>
          <p:cNvPr id="78" name="直接连接符 77">
            <a:extLst>
              <a:ext uri="{FF2B5EF4-FFF2-40B4-BE49-F238E27FC236}">
                <a16:creationId xmlns:a16="http://schemas.microsoft.com/office/drawing/2014/main" id="{BEF1F354-5FC3-4616-B762-5D69F398AFF0}"/>
              </a:ext>
            </a:extLst>
          </p:cNvPr>
          <p:cNvCxnSpPr>
            <a:cxnSpLocks/>
          </p:cNvCxnSpPr>
          <p:nvPr/>
        </p:nvCxnSpPr>
        <p:spPr>
          <a:xfrm>
            <a:off x="6120945" y="4968646"/>
            <a:ext cx="0" cy="529200"/>
          </a:xfrm>
          <a:prstGeom prst="line">
            <a:avLst/>
          </a:prstGeom>
          <a:ln w="9525"/>
        </p:spPr>
        <p:style>
          <a:lnRef idx="1">
            <a:schemeClr val="accent1"/>
          </a:lnRef>
          <a:fillRef idx="0">
            <a:schemeClr val="accent1"/>
          </a:fillRef>
          <a:effectRef idx="0">
            <a:schemeClr val="accent1"/>
          </a:effectRef>
          <a:fontRef idx="minor">
            <a:schemeClr val="tx1"/>
          </a:fontRef>
        </p:style>
      </p:cxnSp>
      <p:cxnSp>
        <p:nvCxnSpPr>
          <p:cNvPr id="87" name="直接连接符 86">
            <a:extLst>
              <a:ext uri="{FF2B5EF4-FFF2-40B4-BE49-F238E27FC236}">
                <a16:creationId xmlns:a16="http://schemas.microsoft.com/office/drawing/2014/main" id="{B241295B-5B4D-4FBA-A6AC-823C65CE4ADA}"/>
              </a:ext>
            </a:extLst>
          </p:cNvPr>
          <p:cNvCxnSpPr>
            <a:cxnSpLocks/>
          </p:cNvCxnSpPr>
          <p:nvPr/>
        </p:nvCxnSpPr>
        <p:spPr>
          <a:xfrm flipH="1">
            <a:off x="9152224" y="5234338"/>
            <a:ext cx="1170000" cy="0"/>
          </a:xfrm>
          <a:prstGeom prst="line">
            <a:avLst/>
          </a:prstGeom>
          <a:ln w="9525"/>
        </p:spPr>
        <p:style>
          <a:lnRef idx="1">
            <a:schemeClr val="accent1"/>
          </a:lnRef>
          <a:fillRef idx="0">
            <a:schemeClr val="accent1"/>
          </a:fillRef>
          <a:effectRef idx="0">
            <a:schemeClr val="accent1"/>
          </a:effectRef>
          <a:fontRef idx="minor">
            <a:schemeClr val="tx1"/>
          </a:fontRef>
        </p:style>
      </p:cxnSp>
      <p:sp>
        <p:nvSpPr>
          <p:cNvPr id="89" name="矩形: 圆角 1">
            <a:extLst>
              <a:ext uri="{FF2B5EF4-FFF2-40B4-BE49-F238E27FC236}">
                <a16:creationId xmlns:a16="http://schemas.microsoft.com/office/drawing/2014/main" id="{8ED48264-9DE3-4426-8043-B34A8A7EDD6D}"/>
              </a:ext>
            </a:extLst>
          </p:cNvPr>
          <p:cNvSpPr/>
          <p:nvPr/>
        </p:nvSpPr>
        <p:spPr>
          <a:xfrm flipH="1">
            <a:off x="7685069" y="4755600"/>
            <a:ext cx="1114958" cy="435617"/>
          </a:xfrm>
          <a:prstGeom prst="roundRect">
            <a:avLst>
              <a:gd name="adj" fmla="val 50000"/>
            </a:avLst>
          </a:prstGeom>
          <a:gradFill flip="none" rotWithShape="1">
            <a:gsLst>
              <a:gs pos="0">
                <a:schemeClr val="accent1"/>
              </a:gs>
              <a:gs pos="100000">
                <a:schemeClr val="accent2"/>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400" b="0" i="0" u="none" strike="noStrike" kern="1200" cap="none" spc="0" normalizeH="0" baseline="0" noProof="0" dirty="0">
                <a:ln>
                  <a:noFill/>
                </a:ln>
                <a:solidFill>
                  <a:prstClr val="white"/>
                </a:solidFill>
                <a:effectLst/>
                <a:uLnTx/>
                <a:uFillTx/>
                <a:latin typeface="OPPOSans H" panose="00020600040101010101" pitchFamily="18" charset="-122"/>
                <a:ea typeface="OPPOSans H" panose="00020600040101010101" pitchFamily="18" charset="-122"/>
                <a:cs typeface="+mn-cs"/>
              </a:rPr>
              <a:t>秋叶</a:t>
            </a:r>
            <a:r>
              <a:rPr kumimoji="0" lang="en-US" altLang="zh-CN" sz="1400" b="0" i="0" u="none" strike="noStrike" kern="1200" cap="none" spc="0" normalizeH="0" baseline="0" noProof="0" dirty="0">
                <a:ln>
                  <a:noFill/>
                </a:ln>
                <a:solidFill>
                  <a:prstClr val="white"/>
                </a:solidFill>
                <a:effectLst/>
                <a:uLnTx/>
                <a:uFillTx/>
                <a:latin typeface="OPPOSans H" panose="00020600040101010101" pitchFamily="18" charset="-122"/>
                <a:ea typeface="OPPOSans H" panose="00020600040101010101" pitchFamily="18" charset="-122"/>
                <a:cs typeface="+mn-cs"/>
              </a:rPr>
              <a:t>PPT</a:t>
            </a:r>
            <a:endParaRPr kumimoji="0" lang="zh-CN" altLang="en-US" sz="1400" b="0" i="0" u="none" strike="noStrike" kern="1200" cap="none" spc="0" normalizeH="0" baseline="0" noProof="0" dirty="0">
              <a:ln>
                <a:noFill/>
              </a:ln>
              <a:solidFill>
                <a:prstClr val="white"/>
              </a:solidFill>
              <a:effectLst/>
              <a:uLnTx/>
              <a:uFillTx/>
              <a:latin typeface="OPPOSans H" panose="00020600040101010101" pitchFamily="18" charset="-122"/>
              <a:ea typeface="OPPOSans H" panose="00020600040101010101" pitchFamily="18" charset="-122"/>
              <a:cs typeface="+mn-cs"/>
            </a:endParaRPr>
          </a:p>
        </p:txBody>
      </p:sp>
      <p:sp>
        <p:nvSpPr>
          <p:cNvPr id="90" name="矩形: 圆角 1">
            <a:extLst>
              <a:ext uri="{FF2B5EF4-FFF2-40B4-BE49-F238E27FC236}">
                <a16:creationId xmlns:a16="http://schemas.microsoft.com/office/drawing/2014/main" id="{487EAF66-08D6-4DB6-8CA3-104BCF3C76C9}"/>
              </a:ext>
            </a:extLst>
          </p:cNvPr>
          <p:cNvSpPr/>
          <p:nvPr/>
        </p:nvSpPr>
        <p:spPr>
          <a:xfrm flipH="1">
            <a:off x="7685069" y="5277460"/>
            <a:ext cx="1114958" cy="435617"/>
          </a:xfrm>
          <a:prstGeom prst="roundRect">
            <a:avLst>
              <a:gd name="adj" fmla="val 50000"/>
            </a:avLst>
          </a:prstGeom>
          <a:gradFill flip="none" rotWithShape="1">
            <a:gsLst>
              <a:gs pos="0">
                <a:schemeClr val="accent1"/>
              </a:gs>
              <a:gs pos="100000">
                <a:schemeClr val="accent2"/>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400" b="0" i="0" u="none" strike="noStrike" kern="1200" cap="none" spc="0" normalizeH="0" baseline="0" noProof="0" dirty="0">
                <a:ln>
                  <a:noFill/>
                </a:ln>
                <a:solidFill>
                  <a:prstClr val="white"/>
                </a:solidFill>
                <a:effectLst/>
                <a:uLnTx/>
                <a:uFillTx/>
                <a:latin typeface="OPPOSans H" panose="00020600040101010101" pitchFamily="18" charset="-122"/>
                <a:ea typeface="OPPOSans H" panose="00020600040101010101" pitchFamily="18" charset="-122"/>
                <a:cs typeface="+mn-cs"/>
              </a:rPr>
              <a:t>秋叶</a:t>
            </a:r>
            <a:r>
              <a:rPr kumimoji="0" lang="en-US" altLang="zh-CN" sz="1400" b="0" i="0" u="none" strike="noStrike" kern="1200" cap="none" spc="0" normalizeH="0" baseline="0" noProof="0" dirty="0">
                <a:ln>
                  <a:noFill/>
                </a:ln>
                <a:solidFill>
                  <a:prstClr val="white"/>
                </a:solidFill>
                <a:effectLst/>
                <a:uLnTx/>
                <a:uFillTx/>
                <a:latin typeface="OPPOSans H" panose="00020600040101010101" pitchFamily="18" charset="-122"/>
                <a:ea typeface="OPPOSans H" panose="00020600040101010101" pitchFamily="18" charset="-122"/>
                <a:cs typeface="+mn-cs"/>
              </a:rPr>
              <a:t>PPT</a:t>
            </a:r>
            <a:endParaRPr kumimoji="0" lang="zh-CN" altLang="en-US" sz="1400" b="0" i="0" u="none" strike="noStrike" kern="1200" cap="none" spc="0" normalizeH="0" baseline="0" noProof="0" dirty="0">
              <a:ln>
                <a:noFill/>
              </a:ln>
              <a:solidFill>
                <a:prstClr val="white"/>
              </a:solidFill>
              <a:effectLst/>
              <a:uLnTx/>
              <a:uFillTx/>
              <a:latin typeface="OPPOSans H" panose="00020600040101010101" pitchFamily="18" charset="-122"/>
              <a:ea typeface="OPPOSans H" panose="00020600040101010101" pitchFamily="18" charset="-122"/>
              <a:cs typeface="+mn-cs"/>
            </a:endParaRPr>
          </a:p>
        </p:txBody>
      </p:sp>
      <p:cxnSp>
        <p:nvCxnSpPr>
          <p:cNvPr id="91" name="直接连接符 90">
            <a:extLst>
              <a:ext uri="{FF2B5EF4-FFF2-40B4-BE49-F238E27FC236}">
                <a16:creationId xmlns:a16="http://schemas.microsoft.com/office/drawing/2014/main" id="{804A9775-B1DB-40E7-9CB5-727E5E9F2077}"/>
              </a:ext>
            </a:extLst>
          </p:cNvPr>
          <p:cNvCxnSpPr>
            <a:cxnSpLocks/>
          </p:cNvCxnSpPr>
          <p:nvPr/>
        </p:nvCxnSpPr>
        <p:spPr>
          <a:xfrm flipH="1">
            <a:off x="8867824" y="4973408"/>
            <a:ext cx="284400" cy="0"/>
          </a:xfrm>
          <a:prstGeom prst="line">
            <a:avLst/>
          </a:prstGeom>
          <a:ln w="9525"/>
        </p:spPr>
        <p:style>
          <a:lnRef idx="1">
            <a:schemeClr val="accent1"/>
          </a:lnRef>
          <a:fillRef idx="0">
            <a:schemeClr val="accent1"/>
          </a:fillRef>
          <a:effectRef idx="0">
            <a:schemeClr val="accent1"/>
          </a:effectRef>
          <a:fontRef idx="minor">
            <a:schemeClr val="tx1"/>
          </a:fontRef>
        </p:style>
      </p:cxnSp>
      <p:cxnSp>
        <p:nvCxnSpPr>
          <p:cNvPr id="92" name="直接连接符 91">
            <a:extLst>
              <a:ext uri="{FF2B5EF4-FFF2-40B4-BE49-F238E27FC236}">
                <a16:creationId xmlns:a16="http://schemas.microsoft.com/office/drawing/2014/main" id="{513F621B-A2AD-4129-A694-3BCA7E4B6231}"/>
              </a:ext>
            </a:extLst>
          </p:cNvPr>
          <p:cNvCxnSpPr>
            <a:cxnSpLocks/>
          </p:cNvCxnSpPr>
          <p:nvPr/>
        </p:nvCxnSpPr>
        <p:spPr>
          <a:xfrm flipH="1">
            <a:off x="8867824" y="5495268"/>
            <a:ext cx="284400" cy="0"/>
          </a:xfrm>
          <a:prstGeom prst="line">
            <a:avLst/>
          </a:prstGeom>
          <a:ln w="9525"/>
        </p:spPr>
        <p:style>
          <a:lnRef idx="1">
            <a:schemeClr val="accent1"/>
          </a:lnRef>
          <a:fillRef idx="0">
            <a:schemeClr val="accent1"/>
          </a:fillRef>
          <a:effectRef idx="0">
            <a:schemeClr val="accent1"/>
          </a:effectRef>
          <a:fontRef idx="minor">
            <a:schemeClr val="tx1"/>
          </a:fontRef>
        </p:style>
      </p:cxnSp>
      <p:cxnSp>
        <p:nvCxnSpPr>
          <p:cNvPr id="93" name="直接连接符 92">
            <a:extLst>
              <a:ext uri="{FF2B5EF4-FFF2-40B4-BE49-F238E27FC236}">
                <a16:creationId xmlns:a16="http://schemas.microsoft.com/office/drawing/2014/main" id="{3DB53FD3-9436-4EDC-9436-3BA8D9ADEC0F}"/>
              </a:ext>
            </a:extLst>
          </p:cNvPr>
          <p:cNvCxnSpPr>
            <a:cxnSpLocks/>
          </p:cNvCxnSpPr>
          <p:nvPr/>
        </p:nvCxnSpPr>
        <p:spPr>
          <a:xfrm flipH="1">
            <a:off x="9152224" y="4968646"/>
            <a:ext cx="0" cy="529200"/>
          </a:xfrm>
          <a:prstGeom prst="line">
            <a:avLst/>
          </a:prstGeom>
          <a:ln w="9525"/>
        </p:spPr>
        <p:style>
          <a:lnRef idx="1">
            <a:schemeClr val="accent1"/>
          </a:lnRef>
          <a:fillRef idx="0">
            <a:schemeClr val="accent1"/>
          </a:fillRef>
          <a:effectRef idx="0">
            <a:schemeClr val="accent1"/>
          </a:effectRef>
          <a:fontRef idx="minor">
            <a:schemeClr val="tx1"/>
          </a:fontRef>
        </p:style>
      </p:cxnSp>
      <p:sp>
        <p:nvSpPr>
          <p:cNvPr id="94" name="矩形: 圆角 1">
            <a:extLst>
              <a:ext uri="{FF2B5EF4-FFF2-40B4-BE49-F238E27FC236}">
                <a16:creationId xmlns:a16="http://schemas.microsoft.com/office/drawing/2014/main" id="{0F210CC7-7B10-46AC-86FB-2B4F36C5F612}"/>
              </a:ext>
            </a:extLst>
          </p:cNvPr>
          <p:cNvSpPr/>
          <p:nvPr/>
        </p:nvSpPr>
        <p:spPr>
          <a:xfrm>
            <a:off x="10364577" y="5016530"/>
            <a:ext cx="1116000" cy="435617"/>
          </a:xfrm>
          <a:prstGeom prst="roundRect">
            <a:avLst>
              <a:gd name="adj" fmla="val 50000"/>
            </a:avLst>
          </a:prstGeom>
          <a:solidFill>
            <a:schemeClr val="accent3">
              <a:alpha val="70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400" b="0" i="0" u="none" strike="noStrike" kern="1200" cap="none" spc="0" normalizeH="0" baseline="0" noProof="0" dirty="0">
                <a:ln>
                  <a:noFill/>
                </a:ln>
                <a:gradFill>
                  <a:gsLst>
                    <a:gs pos="0">
                      <a:srgbClr val="071161"/>
                    </a:gs>
                    <a:gs pos="100000">
                      <a:srgbClr val="0B1B9A"/>
                    </a:gs>
                  </a:gsLst>
                  <a:lin ang="2700000" scaled="1"/>
                </a:gradFill>
                <a:effectLst/>
                <a:uLnTx/>
                <a:uFillTx/>
                <a:latin typeface="OPPOSans L" panose="00020600040101010101" pitchFamily="18" charset="-122"/>
                <a:ea typeface="OPPOSans L" panose="00020600040101010101" pitchFamily="18" charset="-122"/>
                <a:cs typeface="+mn-cs"/>
              </a:rPr>
              <a:t>秋叶</a:t>
            </a:r>
            <a:r>
              <a:rPr kumimoji="0" lang="en-US" altLang="zh-CN" sz="1400" b="0" i="0" u="none" strike="noStrike" kern="1200" cap="none" spc="0" normalizeH="0" baseline="0" noProof="0" dirty="0">
                <a:ln>
                  <a:noFill/>
                </a:ln>
                <a:gradFill>
                  <a:gsLst>
                    <a:gs pos="0">
                      <a:srgbClr val="071161"/>
                    </a:gs>
                    <a:gs pos="100000">
                      <a:srgbClr val="0B1B9A"/>
                    </a:gs>
                  </a:gsLst>
                  <a:lin ang="2700000" scaled="1"/>
                </a:gradFill>
                <a:effectLst/>
                <a:uLnTx/>
                <a:uFillTx/>
                <a:latin typeface="OPPOSans L" panose="00020600040101010101" pitchFamily="18" charset="-122"/>
                <a:ea typeface="OPPOSans L" panose="00020600040101010101" pitchFamily="18" charset="-122"/>
                <a:cs typeface="+mn-cs"/>
              </a:rPr>
              <a:t>PPT</a:t>
            </a:r>
            <a:endParaRPr kumimoji="0" lang="zh-CN" altLang="en-US" sz="1400" b="0" i="0" u="none" strike="noStrike" kern="1200" cap="none" spc="0" normalizeH="0" baseline="0" noProof="0" dirty="0">
              <a:ln>
                <a:noFill/>
              </a:ln>
              <a:gradFill>
                <a:gsLst>
                  <a:gs pos="0">
                    <a:srgbClr val="071161"/>
                  </a:gs>
                  <a:gs pos="100000">
                    <a:srgbClr val="0B1B9A"/>
                  </a:gs>
                </a:gsLst>
                <a:lin ang="2700000" scaled="1"/>
              </a:gradFill>
              <a:effectLst/>
              <a:uLnTx/>
              <a:uFillTx/>
              <a:latin typeface="OPPOSans L" panose="00020600040101010101" pitchFamily="18" charset="-122"/>
              <a:ea typeface="OPPOSans L" panose="00020600040101010101" pitchFamily="18" charset="-122"/>
              <a:cs typeface="+mn-cs"/>
            </a:endParaRPr>
          </a:p>
        </p:txBody>
      </p:sp>
      <p:cxnSp>
        <p:nvCxnSpPr>
          <p:cNvPr id="54" name="直接连接符 53">
            <a:extLst>
              <a:ext uri="{FF2B5EF4-FFF2-40B4-BE49-F238E27FC236}">
                <a16:creationId xmlns:a16="http://schemas.microsoft.com/office/drawing/2014/main" id="{3995F28C-8B82-42EE-888B-6498D8015605}"/>
              </a:ext>
            </a:extLst>
          </p:cNvPr>
          <p:cNvCxnSpPr>
            <a:cxnSpLocks/>
          </p:cNvCxnSpPr>
          <p:nvPr/>
        </p:nvCxnSpPr>
        <p:spPr>
          <a:xfrm>
            <a:off x="1727327" y="3510224"/>
            <a:ext cx="762625" cy="0"/>
          </a:xfrm>
          <a:prstGeom prst="line">
            <a:avLst/>
          </a:prstGeom>
          <a:ln w="9525" cap="sq">
            <a:solidFill>
              <a:schemeClr val="accent2"/>
            </a:solidFill>
            <a:bevel/>
          </a:ln>
        </p:spPr>
        <p:style>
          <a:lnRef idx="1">
            <a:schemeClr val="accent1"/>
          </a:lnRef>
          <a:fillRef idx="0">
            <a:schemeClr val="accent1"/>
          </a:fillRef>
          <a:effectRef idx="0">
            <a:schemeClr val="accent1"/>
          </a:effectRef>
          <a:fontRef idx="minor">
            <a:schemeClr val="tx1"/>
          </a:fontRef>
        </p:style>
      </p:cxnSp>
      <p:sp>
        <p:nvSpPr>
          <p:cNvPr id="10" name="椭圆 1">
            <a:extLst>
              <a:ext uri="{FF2B5EF4-FFF2-40B4-BE49-F238E27FC236}">
                <a16:creationId xmlns:a16="http://schemas.microsoft.com/office/drawing/2014/main" id="{C3F9E332-13AD-4CE5-9A96-8003737E76FA}"/>
              </a:ext>
            </a:extLst>
          </p:cNvPr>
          <p:cNvSpPr/>
          <p:nvPr/>
        </p:nvSpPr>
        <p:spPr>
          <a:xfrm>
            <a:off x="775500" y="2875692"/>
            <a:ext cx="1269063" cy="1269063"/>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white"/>
              </a:solidFill>
              <a:effectLst/>
              <a:uLnTx/>
              <a:uFillTx/>
              <a:latin typeface="OPPOSans L" panose="00020600040101010101" pitchFamily="18" charset="-122"/>
              <a:ea typeface="OPPOSans L" panose="00020600040101010101" pitchFamily="18" charset="-122"/>
              <a:cs typeface="+mn-cs"/>
            </a:endParaRPr>
          </a:p>
        </p:txBody>
      </p:sp>
      <p:sp>
        <p:nvSpPr>
          <p:cNvPr id="9" name="椭圆 1">
            <a:extLst>
              <a:ext uri="{FF2B5EF4-FFF2-40B4-BE49-F238E27FC236}">
                <a16:creationId xmlns:a16="http://schemas.microsoft.com/office/drawing/2014/main" id="{F8DAC786-5A84-4D12-BC6B-820CFAC2AE47}"/>
              </a:ext>
            </a:extLst>
          </p:cNvPr>
          <p:cNvSpPr/>
          <p:nvPr/>
        </p:nvSpPr>
        <p:spPr>
          <a:xfrm>
            <a:off x="873980" y="2974172"/>
            <a:ext cx="1072104" cy="1072104"/>
          </a:xfrm>
          <a:prstGeom prst="ellipse">
            <a:avLst/>
          </a:prstGeom>
          <a:gradFill flip="none" rotWithShape="1">
            <a:gsLst>
              <a:gs pos="0">
                <a:schemeClr val="accent1"/>
              </a:gs>
              <a:gs pos="100000">
                <a:schemeClr val="accent2"/>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white"/>
              </a:solidFill>
              <a:effectLst/>
              <a:uLnTx/>
              <a:uFillTx/>
              <a:latin typeface="OPPOSans L" panose="00020600040101010101" pitchFamily="18" charset="-122"/>
              <a:ea typeface="OPPOSans L" panose="00020600040101010101" pitchFamily="18" charset="-122"/>
              <a:cs typeface="+mn-cs"/>
            </a:endParaRPr>
          </a:p>
        </p:txBody>
      </p:sp>
      <p:sp>
        <p:nvSpPr>
          <p:cNvPr id="11" name="椭圆 1">
            <a:extLst>
              <a:ext uri="{FF2B5EF4-FFF2-40B4-BE49-F238E27FC236}">
                <a16:creationId xmlns:a16="http://schemas.microsoft.com/office/drawing/2014/main" id="{94A44B68-0AF4-4DEC-9E7E-C5E0A733D9C6}"/>
              </a:ext>
            </a:extLst>
          </p:cNvPr>
          <p:cNvSpPr/>
          <p:nvPr/>
        </p:nvSpPr>
        <p:spPr>
          <a:xfrm>
            <a:off x="711424" y="2811616"/>
            <a:ext cx="1397216" cy="1397216"/>
          </a:xfrm>
          <a:prstGeom prst="ellipse">
            <a:avLst/>
          </a:prstGeom>
          <a:noFill/>
          <a:ln>
            <a:solidFill>
              <a:schemeClr val="accent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white"/>
              </a:solidFill>
              <a:effectLst/>
              <a:uLnTx/>
              <a:uFillTx/>
              <a:latin typeface="OPPOSans L" panose="00020600040101010101" pitchFamily="18" charset="-122"/>
              <a:ea typeface="OPPOSans L" panose="00020600040101010101" pitchFamily="18" charset="-122"/>
              <a:cs typeface="+mn-cs"/>
            </a:endParaRPr>
          </a:p>
        </p:txBody>
      </p:sp>
      <p:sp>
        <p:nvSpPr>
          <p:cNvPr id="101" name="文本框 100">
            <a:extLst>
              <a:ext uri="{FF2B5EF4-FFF2-40B4-BE49-F238E27FC236}">
                <a16:creationId xmlns:a16="http://schemas.microsoft.com/office/drawing/2014/main" id="{E6D3FE07-D9A2-48BC-822D-B0F6949A2D72}"/>
              </a:ext>
            </a:extLst>
          </p:cNvPr>
          <p:cNvSpPr txBox="1"/>
          <p:nvPr/>
        </p:nvSpPr>
        <p:spPr>
          <a:xfrm>
            <a:off x="929205" y="3366604"/>
            <a:ext cx="961653"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400" b="0" i="0" u="none" strike="noStrike" kern="1200" cap="none" spc="0" normalizeH="0" baseline="0" noProof="0" dirty="0">
                <a:ln>
                  <a:noFill/>
                </a:ln>
                <a:solidFill>
                  <a:srgbClr val="FBE5D6"/>
                </a:solidFill>
                <a:effectLst/>
                <a:uLnTx/>
                <a:uFillTx/>
                <a:latin typeface="OPPOSans H" panose="00020600040101010101" pitchFamily="18" charset="-122"/>
                <a:ea typeface="OPPOSans H" panose="00020600040101010101" pitchFamily="18" charset="-122"/>
                <a:cs typeface="+mn-cs"/>
              </a:rPr>
              <a:t>秋叶</a:t>
            </a:r>
            <a:r>
              <a:rPr kumimoji="0" lang="en-US" altLang="zh-CN" sz="1400" b="0" i="0" u="none" strike="noStrike" kern="1200" cap="none" spc="0" normalizeH="0" baseline="0" noProof="0" dirty="0">
                <a:ln>
                  <a:noFill/>
                </a:ln>
                <a:solidFill>
                  <a:srgbClr val="FBE5D6"/>
                </a:solidFill>
                <a:effectLst/>
                <a:uLnTx/>
                <a:uFillTx/>
                <a:latin typeface="OPPOSans H" panose="00020600040101010101" pitchFamily="18" charset="-122"/>
                <a:ea typeface="OPPOSans H" panose="00020600040101010101" pitchFamily="18" charset="-122"/>
                <a:cs typeface="+mn-cs"/>
              </a:rPr>
              <a:t>PPT</a:t>
            </a:r>
            <a:endParaRPr kumimoji="0" lang="zh-CN" altLang="en-US" sz="1400" b="0" i="0" u="none" strike="noStrike" kern="1200" cap="none" spc="0" normalizeH="0" baseline="0" noProof="0" dirty="0">
              <a:ln>
                <a:noFill/>
              </a:ln>
              <a:solidFill>
                <a:srgbClr val="FBE5D6"/>
              </a:solidFill>
              <a:effectLst/>
              <a:uLnTx/>
              <a:uFillTx/>
              <a:latin typeface="OPPOSans H" panose="00020600040101010101" pitchFamily="18" charset="-122"/>
              <a:ea typeface="OPPOSans H" panose="00020600040101010101" pitchFamily="18" charset="-122"/>
              <a:cs typeface="+mn-cs"/>
            </a:endParaRPr>
          </a:p>
        </p:txBody>
      </p:sp>
      <p:cxnSp>
        <p:nvCxnSpPr>
          <p:cNvPr id="15" name="直接连接符 1">
            <a:extLst>
              <a:ext uri="{FF2B5EF4-FFF2-40B4-BE49-F238E27FC236}">
                <a16:creationId xmlns:a16="http://schemas.microsoft.com/office/drawing/2014/main" id="{81719D9C-C526-4778-A9AD-1CF82FD78014}"/>
              </a:ext>
            </a:extLst>
          </p:cNvPr>
          <p:cNvCxnSpPr>
            <a:cxnSpLocks/>
          </p:cNvCxnSpPr>
          <p:nvPr/>
        </p:nvCxnSpPr>
        <p:spPr>
          <a:xfrm>
            <a:off x="2498725" y="1785897"/>
            <a:ext cx="0" cy="3448800"/>
          </a:xfrm>
          <a:prstGeom prst="line">
            <a:avLst/>
          </a:prstGeom>
          <a:ln w="9525" cap="sq">
            <a:solidFill>
              <a:schemeClr val="accent2"/>
            </a:solidFill>
            <a:bevel/>
          </a:ln>
        </p:spPr>
        <p:style>
          <a:lnRef idx="1">
            <a:schemeClr val="accent1"/>
          </a:lnRef>
          <a:fillRef idx="0">
            <a:schemeClr val="accent1"/>
          </a:fillRef>
          <a:effectRef idx="0">
            <a:schemeClr val="accent1"/>
          </a:effectRef>
          <a:fontRef idx="minor">
            <a:schemeClr val="tx1"/>
          </a:fontRef>
        </p:style>
      </p:cxnSp>
      <p:cxnSp>
        <p:nvCxnSpPr>
          <p:cNvPr id="16" name="直接连接符 2">
            <a:extLst>
              <a:ext uri="{FF2B5EF4-FFF2-40B4-BE49-F238E27FC236}">
                <a16:creationId xmlns:a16="http://schemas.microsoft.com/office/drawing/2014/main" id="{ABE8CF09-E62A-4838-AD32-2BCC4FA215AF}"/>
              </a:ext>
            </a:extLst>
          </p:cNvPr>
          <p:cNvCxnSpPr>
            <a:cxnSpLocks/>
          </p:cNvCxnSpPr>
          <p:nvPr/>
        </p:nvCxnSpPr>
        <p:spPr>
          <a:xfrm>
            <a:off x="2506345" y="1785752"/>
            <a:ext cx="283849" cy="0"/>
          </a:xfrm>
          <a:prstGeom prst="line">
            <a:avLst/>
          </a:prstGeom>
          <a:ln w="9525" cap="sq">
            <a:solidFill>
              <a:schemeClr val="accent2"/>
            </a:solidFill>
            <a:bevel/>
          </a:ln>
        </p:spPr>
        <p:style>
          <a:lnRef idx="1">
            <a:schemeClr val="accent1"/>
          </a:lnRef>
          <a:fillRef idx="0">
            <a:schemeClr val="accent1"/>
          </a:fillRef>
          <a:effectRef idx="0">
            <a:schemeClr val="accent1"/>
          </a:effectRef>
          <a:fontRef idx="minor">
            <a:schemeClr val="tx1"/>
          </a:fontRef>
        </p:style>
      </p:cxnSp>
      <p:cxnSp>
        <p:nvCxnSpPr>
          <p:cNvPr id="95" name="直接连接符 2">
            <a:extLst>
              <a:ext uri="{FF2B5EF4-FFF2-40B4-BE49-F238E27FC236}">
                <a16:creationId xmlns:a16="http://schemas.microsoft.com/office/drawing/2014/main" id="{DD46E293-E6D2-48A8-865F-E0B421835FFE}"/>
              </a:ext>
            </a:extLst>
          </p:cNvPr>
          <p:cNvCxnSpPr>
            <a:cxnSpLocks/>
          </p:cNvCxnSpPr>
          <p:nvPr/>
        </p:nvCxnSpPr>
        <p:spPr>
          <a:xfrm>
            <a:off x="2506345" y="5234338"/>
            <a:ext cx="283849" cy="0"/>
          </a:xfrm>
          <a:prstGeom prst="line">
            <a:avLst/>
          </a:prstGeom>
          <a:ln w="9525" cap="sq">
            <a:solidFill>
              <a:schemeClr val="accent2"/>
            </a:solidFill>
            <a:bevel/>
          </a:ln>
        </p:spPr>
        <p:style>
          <a:lnRef idx="1">
            <a:schemeClr val="accent1"/>
          </a:lnRef>
          <a:fillRef idx="0">
            <a:schemeClr val="accent1"/>
          </a:fillRef>
          <a:effectRef idx="0">
            <a:schemeClr val="accent1"/>
          </a:effectRef>
          <a:fontRef idx="minor">
            <a:schemeClr val="tx1"/>
          </a:fontRef>
        </p:style>
      </p:cxnSp>
      <p:cxnSp>
        <p:nvCxnSpPr>
          <p:cNvPr id="97" name="直接连接符 2">
            <a:extLst>
              <a:ext uri="{FF2B5EF4-FFF2-40B4-BE49-F238E27FC236}">
                <a16:creationId xmlns:a16="http://schemas.microsoft.com/office/drawing/2014/main" id="{6C05AF94-6CB6-466B-8FF9-6CFF314CE47C}"/>
              </a:ext>
            </a:extLst>
          </p:cNvPr>
          <p:cNvCxnSpPr>
            <a:cxnSpLocks/>
          </p:cNvCxnSpPr>
          <p:nvPr/>
        </p:nvCxnSpPr>
        <p:spPr>
          <a:xfrm>
            <a:off x="2506345" y="2935281"/>
            <a:ext cx="283849" cy="0"/>
          </a:xfrm>
          <a:prstGeom prst="line">
            <a:avLst/>
          </a:prstGeom>
          <a:ln w="9525" cap="sq">
            <a:solidFill>
              <a:schemeClr val="accent2"/>
            </a:solidFill>
            <a:bevel/>
          </a:ln>
        </p:spPr>
        <p:style>
          <a:lnRef idx="1">
            <a:schemeClr val="accent1"/>
          </a:lnRef>
          <a:fillRef idx="0">
            <a:schemeClr val="accent1"/>
          </a:fillRef>
          <a:effectRef idx="0">
            <a:schemeClr val="accent1"/>
          </a:effectRef>
          <a:fontRef idx="minor">
            <a:schemeClr val="tx1"/>
          </a:fontRef>
        </p:style>
      </p:cxnSp>
      <p:cxnSp>
        <p:nvCxnSpPr>
          <p:cNvPr id="98" name="直接连接符 2">
            <a:extLst>
              <a:ext uri="{FF2B5EF4-FFF2-40B4-BE49-F238E27FC236}">
                <a16:creationId xmlns:a16="http://schemas.microsoft.com/office/drawing/2014/main" id="{577299C7-27FD-4A65-AD7A-6CD934AF2190}"/>
              </a:ext>
            </a:extLst>
          </p:cNvPr>
          <p:cNvCxnSpPr>
            <a:cxnSpLocks/>
          </p:cNvCxnSpPr>
          <p:nvPr/>
        </p:nvCxnSpPr>
        <p:spPr>
          <a:xfrm>
            <a:off x="2506345" y="4084810"/>
            <a:ext cx="283849" cy="0"/>
          </a:xfrm>
          <a:prstGeom prst="line">
            <a:avLst/>
          </a:prstGeom>
          <a:ln w="9525" cap="sq">
            <a:solidFill>
              <a:schemeClr val="accent2"/>
            </a:solidFill>
            <a:bevel/>
          </a:ln>
        </p:spPr>
        <p:style>
          <a:lnRef idx="1">
            <a:schemeClr val="accent1"/>
          </a:lnRef>
          <a:fillRef idx="0">
            <a:schemeClr val="accent1"/>
          </a:fillRef>
          <a:effectRef idx="0">
            <a:schemeClr val="accent1"/>
          </a:effectRef>
          <a:fontRef idx="minor">
            <a:schemeClr val="tx1"/>
          </a:fontRef>
        </p:style>
      </p:cxnSp>
      <p:sp>
        <p:nvSpPr>
          <p:cNvPr id="79" name="稿定PPT-4">
            <a:extLst>
              <a:ext uri="{FF2B5EF4-FFF2-40B4-BE49-F238E27FC236}">
                <a16:creationId xmlns:a16="http://schemas.microsoft.com/office/drawing/2014/main" id="{68C319C0-5AA6-4497-9796-6B8C7ABFEAC0}"/>
              </a:ext>
            </a:extLst>
          </p:cNvPr>
          <p:cNvSpPr txBox="1"/>
          <p:nvPr/>
        </p:nvSpPr>
        <p:spPr>
          <a:xfrm>
            <a:off x="931995" y="591639"/>
            <a:ext cx="3418126" cy="276225"/>
          </a:xfrm>
          <a:prstGeom prst="rect">
            <a:avLst/>
          </a:prstGeom>
          <a:noFill/>
          <a:ln>
            <a:noFill/>
          </a:ln>
        </p:spPr>
        <p:txBody>
          <a:bodyPr wrap="square" lIns="0" tIns="0" rIns="0" bIns="0" anchor="ctr" anchorCtr="0">
            <a:normAutofit lnSpcReduction="10000"/>
          </a:bodyPr>
          <a:lstStyle/>
          <a:p>
            <a:pPr marL="0" marR="0" lvl="0" indent="0" algn="l" defTabSz="913765" rtl="0" eaLnBrk="1" fontAlgn="auto" latinLnBrk="0" hangingPunct="1">
              <a:lnSpc>
                <a:spcPct val="100000"/>
              </a:lnSpc>
              <a:spcBef>
                <a:spcPts val="0"/>
              </a:spcBef>
              <a:spcAft>
                <a:spcPts val="0"/>
              </a:spcAft>
              <a:buClrTx/>
              <a:buSzPct val="25000"/>
              <a:buFontTx/>
              <a:buNone/>
              <a:tabLst/>
              <a:defRPr/>
            </a:pPr>
            <a:r>
              <a:rPr kumimoji="0" lang="zh-CN" altLang="en-US" sz="1900" b="1" i="0" u="none" strike="noStrike" kern="1200" cap="none" spc="0" normalizeH="0" baseline="0" noProof="0" dirty="0">
                <a:ln>
                  <a:noFill/>
                </a:ln>
                <a:gradFill>
                  <a:gsLst>
                    <a:gs pos="10000">
                      <a:srgbClr val="071161"/>
                    </a:gs>
                    <a:gs pos="100000">
                      <a:srgbClr val="0B1B9A"/>
                    </a:gs>
                  </a:gsLst>
                  <a:lin ang="5400000" scaled="1"/>
                </a:gradFill>
                <a:effectLst/>
                <a:uLnTx/>
                <a:uFillTx/>
                <a:latin typeface="OPPOSans H" panose="00020600040101010101" pitchFamily="18" charset="-122"/>
                <a:ea typeface="OPPOSans H" panose="00020600040101010101" pitchFamily="18" charset="-122"/>
                <a:cs typeface="+mn-cs"/>
              </a:rPr>
              <a:t>秋叶</a:t>
            </a:r>
            <a:r>
              <a:rPr kumimoji="0" lang="en-US" altLang="zh-CN" sz="1900" b="1" i="0" u="none" strike="noStrike" kern="1200" cap="none" spc="0" normalizeH="0" baseline="0" noProof="0" dirty="0">
                <a:ln>
                  <a:noFill/>
                </a:ln>
                <a:gradFill>
                  <a:gsLst>
                    <a:gs pos="10000">
                      <a:srgbClr val="071161"/>
                    </a:gs>
                    <a:gs pos="100000">
                      <a:srgbClr val="0B1B9A"/>
                    </a:gs>
                  </a:gsLst>
                  <a:lin ang="5400000" scaled="1"/>
                </a:gradFill>
                <a:effectLst/>
                <a:uLnTx/>
                <a:uFillTx/>
                <a:latin typeface="OPPOSans H" panose="00020600040101010101" pitchFamily="18" charset="-122"/>
                <a:ea typeface="OPPOSans H" panose="00020600040101010101" pitchFamily="18" charset="-122"/>
                <a:cs typeface="+mn-cs"/>
              </a:rPr>
              <a:t>PPT</a:t>
            </a:r>
            <a:r>
              <a:rPr kumimoji="0" lang="zh-CN" altLang="en-US" sz="1900" b="1" i="0" u="none" strike="noStrike" kern="1200" cap="none" spc="0" normalizeH="0" baseline="0" noProof="0" dirty="0">
                <a:ln>
                  <a:noFill/>
                </a:ln>
                <a:gradFill>
                  <a:gsLst>
                    <a:gs pos="10000">
                      <a:srgbClr val="071161"/>
                    </a:gs>
                    <a:gs pos="100000">
                      <a:srgbClr val="0B1B9A"/>
                    </a:gs>
                  </a:gsLst>
                  <a:lin ang="5400000" scaled="1"/>
                </a:gradFill>
                <a:effectLst/>
                <a:uLnTx/>
                <a:uFillTx/>
                <a:latin typeface="OPPOSans H" panose="00020600040101010101" pitchFamily="18" charset="-122"/>
                <a:ea typeface="OPPOSans H" panose="00020600040101010101" pitchFamily="18" charset="-122"/>
                <a:cs typeface="+mn-cs"/>
              </a:rPr>
              <a:t>，海量素材持续更新</a:t>
            </a:r>
            <a:endParaRPr kumimoji="0" lang="en-US" sz="1900" b="1" i="0" u="none" strike="noStrike" kern="1200" cap="none" spc="0" normalizeH="0" baseline="0" noProof="0" dirty="0">
              <a:ln>
                <a:noFill/>
              </a:ln>
              <a:gradFill>
                <a:gsLst>
                  <a:gs pos="10000">
                    <a:srgbClr val="071161"/>
                  </a:gs>
                  <a:gs pos="100000">
                    <a:srgbClr val="0B1B9A"/>
                  </a:gs>
                </a:gsLst>
                <a:lin ang="5400000" scaled="1"/>
              </a:gradFill>
              <a:effectLst/>
              <a:uLnTx/>
              <a:uFillTx/>
              <a:latin typeface="OPPOSans H" panose="00020600040101010101" pitchFamily="18" charset="-122"/>
              <a:ea typeface="OPPOSans H" panose="00020600040101010101" pitchFamily="18" charset="-122"/>
              <a:cs typeface="+mn-cs"/>
            </a:endParaRPr>
          </a:p>
        </p:txBody>
      </p:sp>
      <p:sp>
        <p:nvSpPr>
          <p:cNvPr id="80" name="稿定PPT-4">
            <a:extLst>
              <a:ext uri="{FF2B5EF4-FFF2-40B4-BE49-F238E27FC236}">
                <a16:creationId xmlns:a16="http://schemas.microsoft.com/office/drawing/2014/main" id="{39CE5AAE-6D0F-4A54-8E4F-A8A0A0E56D2F}"/>
              </a:ext>
            </a:extLst>
          </p:cNvPr>
          <p:cNvSpPr txBox="1"/>
          <p:nvPr/>
        </p:nvSpPr>
        <p:spPr>
          <a:xfrm>
            <a:off x="931995" y="876337"/>
            <a:ext cx="5096192" cy="198871"/>
          </a:xfrm>
          <a:prstGeom prst="rect">
            <a:avLst/>
          </a:prstGeom>
          <a:noFill/>
          <a:ln>
            <a:noFill/>
          </a:ln>
        </p:spPr>
        <p:txBody>
          <a:bodyPr wrap="square" lIns="0" tIns="0" rIns="0" bIns="0" anchor="ctr" anchorCtr="0">
            <a:normAutofit/>
          </a:bodyPr>
          <a:lstStyle/>
          <a:p>
            <a:pPr marL="0" marR="0" lvl="0" indent="0" algn="l" defTabSz="913765" rtl="0" eaLnBrk="1" fontAlgn="auto" latinLnBrk="0" hangingPunct="1">
              <a:lnSpc>
                <a:spcPct val="100000"/>
              </a:lnSpc>
              <a:spcBef>
                <a:spcPts val="0"/>
              </a:spcBef>
              <a:spcAft>
                <a:spcPts val="0"/>
              </a:spcAft>
              <a:buClrTx/>
              <a:buSzPct val="25000"/>
              <a:buFontTx/>
              <a:buNone/>
              <a:tabLst/>
              <a:defRPr/>
            </a:pPr>
            <a:r>
              <a:rPr kumimoji="0" lang="en-US" sz="1000" b="0" i="0" u="none" strike="noStrike" kern="1200" cap="none" spc="0" normalizeH="0" baseline="0" noProof="0" dirty="0">
                <a:ln>
                  <a:noFill/>
                </a:ln>
                <a:gradFill>
                  <a:gsLst>
                    <a:gs pos="10000">
                      <a:srgbClr val="071161"/>
                    </a:gs>
                    <a:gs pos="100000">
                      <a:srgbClr val="0B1B9A"/>
                    </a:gs>
                  </a:gsLst>
                  <a:lin ang="5400000" scaled="1"/>
                </a:gradFill>
                <a:effectLst/>
                <a:uLnTx/>
                <a:uFillTx/>
                <a:latin typeface="OPPOSans L" panose="00020600040101010101" pitchFamily="18" charset="-122"/>
                <a:ea typeface="OPPOSans L" panose="00020600040101010101" pitchFamily="18" charset="-122"/>
                <a:cs typeface="OPPOSans L" panose="00020600040101010101" pitchFamily="18" charset="-122"/>
              </a:rPr>
              <a:t>Mandamus mediocrem reprehendunt eum eu, cu pertinax ocurreret his. </a:t>
            </a:r>
          </a:p>
        </p:txBody>
      </p:sp>
      <p:sp>
        <p:nvSpPr>
          <p:cNvPr id="81" name="弧形 80">
            <a:extLst>
              <a:ext uri="{FF2B5EF4-FFF2-40B4-BE49-F238E27FC236}">
                <a16:creationId xmlns:a16="http://schemas.microsoft.com/office/drawing/2014/main" id="{630CE058-D5BB-4784-9242-080AB899C630}"/>
              </a:ext>
            </a:extLst>
          </p:cNvPr>
          <p:cNvSpPr/>
          <p:nvPr/>
        </p:nvSpPr>
        <p:spPr>
          <a:xfrm>
            <a:off x="520554" y="539567"/>
            <a:ext cx="276225" cy="276225"/>
          </a:xfrm>
          <a:prstGeom prst="arc">
            <a:avLst>
              <a:gd name="adj1" fmla="val 4471096"/>
              <a:gd name="adj2" fmla="val 21140000"/>
            </a:avLst>
          </a:prstGeom>
          <a:ln w="12700" cap="rnd">
            <a:solidFill>
              <a:schemeClr val="accent2"/>
            </a:solidFill>
          </a:ln>
        </p:spPr>
        <p:style>
          <a:lnRef idx="1">
            <a:schemeClr val="accent1"/>
          </a:lnRef>
          <a:fillRef idx="0">
            <a:schemeClr val="accent1"/>
          </a:fillRef>
          <a:effectRef idx="0">
            <a:schemeClr val="accent1"/>
          </a:effectRef>
          <a:fontRef idx="minor">
            <a:schemeClr val="tx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black"/>
              </a:solidFill>
              <a:effectLst/>
              <a:uLnTx/>
              <a:uFillTx/>
              <a:latin typeface="OPPOSans L" panose="00020600040101010101" pitchFamily="18" charset="-122"/>
              <a:ea typeface="OPPOSans L" panose="00020600040101010101" pitchFamily="18" charset="-122"/>
              <a:cs typeface="+mn-cs"/>
            </a:endParaRPr>
          </a:p>
        </p:txBody>
      </p:sp>
      <p:sp>
        <p:nvSpPr>
          <p:cNvPr id="82" name="椭圆 81">
            <a:extLst>
              <a:ext uri="{FF2B5EF4-FFF2-40B4-BE49-F238E27FC236}">
                <a16:creationId xmlns:a16="http://schemas.microsoft.com/office/drawing/2014/main" id="{8C3816E5-A3AB-460B-8C0C-C8BFCBF2392F}"/>
              </a:ext>
            </a:extLst>
          </p:cNvPr>
          <p:cNvSpPr/>
          <p:nvPr/>
        </p:nvSpPr>
        <p:spPr>
          <a:xfrm>
            <a:off x="745795" y="733846"/>
            <a:ext cx="50984" cy="50984"/>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white"/>
              </a:solidFill>
              <a:effectLst/>
              <a:uLnTx/>
              <a:uFillTx/>
              <a:latin typeface="OPPOSans L" panose="00020600040101010101" pitchFamily="18" charset="-122"/>
              <a:ea typeface="OPPOSans L" panose="00020600040101010101" pitchFamily="18" charset="-122"/>
              <a:cs typeface="+mn-cs"/>
            </a:endParaRPr>
          </a:p>
        </p:txBody>
      </p:sp>
      <p:sp>
        <p:nvSpPr>
          <p:cNvPr id="83" name="椭圆 82">
            <a:extLst>
              <a:ext uri="{FF2B5EF4-FFF2-40B4-BE49-F238E27FC236}">
                <a16:creationId xmlns:a16="http://schemas.microsoft.com/office/drawing/2014/main" id="{473B3C29-CCC1-4EF2-B22B-1431B15C9359}"/>
              </a:ext>
            </a:extLst>
          </p:cNvPr>
          <p:cNvSpPr/>
          <p:nvPr/>
        </p:nvSpPr>
        <p:spPr>
          <a:xfrm>
            <a:off x="596403" y="615416"/>
            <a:ext cx="124527" cy="124527"/>
          </a:xfrm>
          <a:prstGeom prst="ellipse">
            <a:avLst/>
          </a:prstGeom>
          <a:solidFill>
            <a:srgbClr val="FA7E23"/>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white"/>
              </a:solidFill>
              <a:effectLst/>
              <a:uLnTx/>
              <a:uFillTx/>
              <a:latin typeface="OPPOSans L" panose="00020600040101010101" pitchFamily="18" charset="-122"/>
              <a:ea typeface="OPPOSans L" panose="00020600040101010101" pitchFamily="18" charset="-122"/>
              <a:cs typeface="+mn-cs"/>
            </a:endParaRPr>
          </a:p>
        </p:txBody>
      </p:sp>
    </p:spTree>
    <p:extLst>
      <p:ext uri="{BB962C8B-B14F-4D97-AF65-F5344CB8AC3E}">
        <p14:creationId xmlns:p14="http://schemas.microsoft.com/office/powerpoint/2010/main" val="3263082494"/>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817.xml><?xml version="1.0" encoding="utf-8"?>
<p:sld xmlns:a="http://schemas.openxmlformats.org/drawingml/2006/main" xmlns:r="http://schemas.openxmlformats.org/officeDocument/2006/relationships" xmlns:p="http://schemas.openxmlformats.org/presentationml/2006/main">
  <p:cSld>
    <p:bg>
      <p:bgPr>
        <a:gradFill>
          <a:gsLst>
            <a:gs pos="0">
              <a:schemeClr val="accent2">
                <a:alpha val="20000"/>
              </a:schemeClr>
            </a:gs>
            <a:gs pos="50000">
              <a:schemeClr val="bg1">
                <a:alpha val="0"/>
              </a:schemeClr>
            </a:gs>
            <a:gs pos="100000">
              <a:schemeClr val="accent2">
                <a:alpha val="20000"/>
              </a:schemeClr>
            </a:gs>
          </a:gsLst>
          <a:lin ang="5400000" scaled="1"/>
        </a:gradFill>
        <a:effectLst/>
      </p:bgPr>
    </p:bg>
    <p:spTree>
      <p:nvGrpSpPr>
        <p:cNvPr id="1" name=""/>
        <p:cNvGrpSpPr/>
        <p:nvPr/>
      </p:nvGrpSpPr>
      <p:grpSpPr>
        <a:xfrm>
          <a:off x="0" y="0"/>
          <a:ext cx="0" cy="0"/>
          <a:chOff x="0" y="0"/>
          <a:chExt cx="0" cy="0"/>
        </a:xfrm>
      </p:grpSpPr>
      <p:sp>
        <p:nvSpPr>
          <p:cNvPr id="8" name="矩形 1">
            <a:extLst>
              <a:ext uri="{FF2B5EF4-FFF2-40B4-BE49-F238E27FC236}">
                <a16:creationId xmlns:a16="http://schemas.microsoft.com/office/drawing/2014/main" id="{C4565010-8A3A-4FC4-9695-C08616DB592A}"/>
              </a:ext>
            </a:extLst>
          </p:cNvPr>
          <p:cNvSpPr/>
          <p:nvPr/>
        </p:nvSpPr>
        <p:spPr>
          <a:xfrm>
            <a:off x="0" y="1561576"/>
            <a:ext cx="12192000" cy="101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white"/>
              </a:solidFill>
              <a:effectLst/>
              <a:uLnTx/>
              <a:uFillTx/>
              <a:latin typeface="OPPOSans L"/>
              <a:ea typeface="思源宋体 Light" panose="02020300000000000000" pitchFamily="18" charset="-122"/>
              <a:cs typeface="+mn-cs"/>
            </a:endParaRPr>
          </a:p>
        </p:txBody>
      </p:sp>
      <p:sp>
        <p:nvSpPr>
          <p:cNvPr id="9" name="矩形: 圆角 8">
            <a:extLst>
              <a:ext uri="{FF2B5EF4-FFF2-40B4-BE49-F238E27FC236}">
                <a16:creationId xmlns:a16="http://schemas.microsoft.com/office/drawing/2014/main" id="{298865E1-A517-4EF8-9F47-A3D89DB5932B}"/>
              </a:ext>
            </a:extLst>
          </p:cNvPr>
          <p:cNvSpPr/>
          <p:nvPr/>
        </p:nvSpPr>
        <p:spPr>
          <a:xfrm>
            <a:off x="627856" y="1834626"/>
            <a:ext cx="2052320" cy="469900"/>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800" b="0" i="0" u="none" strike="noStrike" kern="1200" cap="none" spc="0" normalizeH="0" baseline="0" noProof="0" dirty="0">
                <a:ln>
                  <a:noFill/>
                </a:ln>
                <a:gradFill>
                  <a:gsLst>
                    <a:gs pos="0">
                      <a:srgbClr val="FF6C02"/>
                    </a:gs>
                    <a:gs pos="100000">
                      <a:srgbClr val="F7A92E"/>
                    </a:gs>
                  </a:gsLst>
                  <a:lin ang="5400000" scaled="1"/>
                </a:gradFill>
                <a:effectLst/>
                <a:uLnTx/>
                <a:uFillTx/>
                <a:latin typeface="思源宋体 Medium" panose="02020500000000000000" pitchFamily="18" charset="-122"/>
                <a:ea typeface="思源宋体 Medium" panose="02020500000000000000" pitchFamily="18" charset="-122"/>
                <a:cs typeface="+mn-cs"/>
              </a:rPr>
              <a:t>上千款模板素材</a:t>
            </a:r>
          </a:p>
        </p:txBody>
      </p:sp>
      <p:sp>
        <p:nvSpPr>
          <p:cNvPr id="10" name="矩形: 圆角 9">
            <a:extLst>
              <a:ext uri="{FF2B5EF4-FFF2-40B4-BE49-F238E27FC236}">
                <a16:creationId xmlns:a16="http://schemas.microsoft.com/office/drawing/2014/main" id="{3D1BDDC3-FF15-40E7-9D83-281C65352372}"/>
              </a:ext>
            </a:extLst>
          </p:cNvPr>
          <p:cNvSpPr/>
          <p:nvPr/>
        </p:nvSpPr>
        <p:spPr>
          <a:xfrm>
            <a:off x="2848848" y="1834626"/>
            <a:ext cx="2052320" cy="469900"/>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800" b="0" i="0" u="none" strike="noStrike" kern="1200" cap="none" spc="0" normalizeH="0" baseline="0" noProof="0" dirty="0">
                <a:ln>
                  <a:noFill/>
                </a:ln>
                <a:gradFill>
                  <a:gsLst>
                    <a:gs pos="0">
                      <a:srgbClr val="FF6C02"/>
                    </a:gs>
                    <a:gs pos="100000">
                      <a:srgbClr val="F7A92E"/>
                    </a:gs>
                  </a:gsLst>
                  <a:lin ang="5400000" scaled="1"/>
                </a:gradFill>
                <a:effectLst/>
                <a:uLnTx/>
                <a:uFillTx/>
                <a:latin typeface="思源宋体 Medium" panose="02020500000000000000" pitchFamily="18" charset="-122"/>
                <a:ea typeface="思源宋体 Medium" panose="02020500000000000000" pitchFamily="18" charset="-122"/>
                <a:cs typeface="+mn-cs"/>
              </a:rPr>
              <a:t>总有一款适合你</a:t>
            </a:r>
          </a:p>
        </p:txBody>
      </p:sp>
      <p:sp>
        <p:nvSpPr>
          <p:cNvPr id="11" name="矩形: 圆角 10">
            <a:extLst>
              <a:ext uri="{FF2B5EF4-FFF2-40B4-BE49-F238E27FC236}">
                <a16:creationId xmlns:a16="http://schemas.microsoft.com/office/drawing/2014/main" id="{CFFA9EB6-365B-404E-B056-968985BE8E07}"/>
              </a:ext>
            </a:extLst>
          </p:cNvPr>
          <p:cNvSpPr/>
          <p:nvPr/>
        </p:nvSpPr>
        <p:spPr>
          <a:xfrm>
            <a:off x="5069840" y="1834626"/>
            <a:ext cx="2052320" cy="469900"/>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800" b="0" i="0" u="none" strike="noStrike" kern="1200" cap="none" spc="0" normalizeH="0" baseline="0" noProof="0" dirty="0">
                <a:ln>
                  <a:noFill/>
                </a:ln>
                <a:gradFill>
                  <a:gsLst>
                    <a:gs pos="0">
                      <a:srgbClr val="FF6C02"/>
                    </a:gs>
                    <a:gs pos="100000">
                      <a:srgbClr val="F7A92E"/>
                    </a:gs>
                  </a:gsLst>
                  <a:lin ang="5400000" scaled="1"/>
                </a:gradFill>
                <a:effectLst/>
                <a:uLnTx/>
                <a:uFillTx/>
                <a:latin typeface="思源宋体 Medium" panose="02020500000000000000" pitchFamily="18" charset="-122"/>
                <a:ea typeface="思源宋体 Medium" panose="02020500000000000000" pitchFamily="18" charset="-122"/>
                <a:cs typeface="+mn-cs"/>
              </a:rPr>
              <a:t>上千款模板素材</a:t>
            </a:r>
          </a:p>
        </p:txBody>
      </p:sp>
      <p:sp>
        <p:nvSpPr>
          <p:cNvPr id="12" name="矩形: 圆角 11">
            <a:extLst>
              <a:ext uri="{FF2B5EF4-FFF2-40B4-BE49-F238E27FC236}">
                <a16:creationId xmlns:a16="http://schemas.microsoft.com/office/drawing/2014/main" id="{A46C4C96-1814-48B7-8F8B-F954EF9612C7}"/>
              </a:ext>
            </a:extLst>
          </p:cNvPr>
          <p:cNvSpPr/>
          <p:nvPr/>
        </p:nvSpPr>
        <p:spPr>
          <a:xfrm>
            <a:off x="7290832" y="1834626"/>
            <a:ext cx="2052320" cy="469900"/>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800" b="0" i="0" u="none" strike="noStrike" kern="1200" cap="none" spc="0" normalizeH="0" baseline="0" noProof="0" dirty="0">
                <a:ln>
                  <a:noFill/>
                </a:ln>
                <a:gradFill>
                  <a:gsLst>
                    <a:gs pos="0">
                      <a:srgbClr val="FF6C02"/>
                    </a:gs>
                    <a:gs pos="100000">
                      <a:srgbClr val="F7A92E"/>
                    </a:gs>
                  </a:gsLst>
                  <a:lin ang="5400000" scaled="1"/>
                </a:gradFill>
                <a:effectLst/>
                <a:uLnTx/>
                <a:uFillTx/>
                <a:latin typeface="思源宋体 Medium" panose="02020500000000000000" pitchFamily="18" charset="-122"/>
                <a:ea typeface="思源宋体 Medium" panose="02020500000000000000" pitchFamily="18" charset="-122"/>
                <a:cs typeface="+mn-cs"/>
              </a:rPr>
              <a:t>总有一款适合你</a:t>
            </a:r>
          </a:p>
        </p:txBody>
      </p:sp>
      <p:sp>
        <p:nvSpPr>
          <p:cNvPr id="13" name="矩形: 圆角 12">
            <a:extLst>
              <a:ext uri="{FF2B5EF4-FFF2-40B4-BE49-F238E27FC236}">
                <a16:creationId xmlns:a16="http://schemas.microsoft.com/office/drawing/2014/main" id="{866D385E-0859-439B-978C-A12E02CB8B2F}"/>
              </a:ext>
            </a:extLst>
          </p:cNvPr>
          <p:cNvSpPr/>
          <p:nvPr/>
        </p:nvSpPr>
        <p:spPr>
          <a:xfrm>
            <a:off x="9511824" y="1834626"/>
            <a:ext cx="2052320" cy="469900"/>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800" b="0" i="0" u="none" strike="noStrike" kern="1200" cap="none" spc="0" normalizeH="0" baseline="0" noProof="0" dirty="0">
                <a:ln>
                  <a:noFill/>
                </a:ln>
                <a:gradFill>
                  <a:gsLst>
                    <a:gs pos="0">
                      <a:srgbClr val="FF6C02"/>
                    </a:gs>
                    <a:gs pos="100000">
                      <a:srgbClr val="F7A92E"/>
                    </a:gs>
                  </a:gsLst>
                  <a:lin ang="5400000" scaled="1"/>
                </a:gradFill>
                <a:effectLst/>
                <a:uLnTx/>
                <a:uFillTx/>
                <a:latin typeface="思源宋体 Medium" panose="02020500000000000000" pitchFamily="18" charset="-122"/>
                <a:ea typeface="思源宋体 Medium" panose="02020500000000000000" pitchFamily="18" charset="-122"/>
                <a:cs typeface="+mn-cs"/>
              </a:rPr>
              <a:t>上千款模板素材</a:t>
            </a:r>
          </a:p>
        </p:txBody>
      </p:sp>
      <p:cxnSp>
        <p:nvCxnSpPr>
          <p:cNvPr id="16" name="直接连接符 2">
            <a:extLst>
              <a:ext uri="{FF2B5EF4-FFF2-40B4-BE49-F238E27FC236}">
                <a16:creationId xmlns:a16="http://schemas.microsoft.com/office/drawing/2014/main" id="{2ADEA632-E702-4E07-86F9-D4847C6011B3}"/>
              </a:ext>
            </a:extLst>
          </p:cNvPr>
          <p:cNvCxnSpPr>
            <a:cxnSpLocks/>
          </p:cNvCxnSpPr>
          <p:nvPr/>
        </p:nvCxnSpPr>
        <p:spPr>
          <a:xfrm>
            <a:off x="1654015" y="2368026"/>
            <a:ext cx="0" cy="3204099"/>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19" name="矩形: 对角圆角 18">
            <a:extLst>
              <a:ext uri="{FF2B5EF4-FFF2-40B4-BE49-F238E27FC236}">
                <a16:creationId xmlns:a16="http://schemas.microsoft.com/office/drawing/2014/main" id="{1F74D360-CBC0-45D4-828A-E7C9D88A68C2}"/>
              </a:ext>
            </a:extLst>
          </p:cNvPr>
          <p:cNvSpPr/>
          <p:nvPr/>
        </p:nvSpPr>
        <p:spPr>
          <a:xfrm flipH="1">
            <a:off x="1039653" y="3198584"/>
            <a:ext cx="1228723" cy="409575"/>
          </a:xfrm>
          <a:prstGeom prst="round2DiagRect">
            <a:avLst>
              <a:gd name="adj1" fmla="val 50000"/>
              <a:gd name="adj2" fmla="val 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600" b="0" i="0" u="none" strike="noStrike" kern="1200" cap="none" spc="0" normalizeH="0" baseline="0" noProof="0" dirty="0">
                <a:ln>
                  <a:noFill/>
                </a:ln>
                <a:solidFill>
                  <a:prstClr val="white"/>
                </a:solidFill>
                <a:effectLst/>
                <a:uLnTx/>
                <a:uFillTx/>
                <a:latin typeface="思源宋体 Light" panose="02020300000000000000" pitchFamily="18" charset="-122"/>
                <a:ea typeface="思源宋体 Light" panose="02020300000000000000" pitchFamily="18" charset="-122"/>
                <a:cs typeface="+mn-cs"/>
              </a:rPr>
              <a:t>秋叶</a:t>
            </a:r>
            <a:r>
              <a:rPr kumimoji="0" lang="en-US" altLang="zh-CN" sz="1600" b="0" i="0" u="none" strike="noStrike" kern="1200" cap="none" spc="0" normalizeH="0" baseline="0" noProof="0" dirty="0">
                <a:ln>
                  <a:noFill/>
                </a:ln>
                <a:solidFill>
                  <a:prstClr val="white"/>
                </a:solidFill>
                <a:effectLst/>
                <a:uLnTx/>
                <a:uFillTx/>
                <a:latin typeface="思源宋体 Light" panose="02020300000000000000" pitchFamily="18" charset="-122"/>
                <a:ea typeface="思源宋体 Light" panose="02020300000000000000" pitchFamily="18" charset="-122"/>
                <a:cs typeface="+mn-cs"/>
              </a:rPr>
              <a:t>PPT</a:t>
            </a:r>
            <a:endParaRPr kumimoji="0" lang="zh-CN" altLang="en-US" sz="1600" b="0" i="0" u="none" strike="noStrike" kern="1200" cap="none" spc="0" normalizeH="0" baseline="0" noProof="0" dirty="0">
              <a:ln>
                <a:noFill/>
              </a:ln>
              <a:solidFill>
                <a:prstClr val="white"/>
              </a:solidFill>
              <a:effectLst/>
              <a:uLnTx/>
              <a:uFillTx/>
              <a:latin typeface="思源宋体 Light" panose="02020300000000000000" pitchFamily="18" charset="-122"/>
              <a:ea typeface="思源宋体 Light" panose="02020300000000000000" pitchFamily="18" charset="-122"/>
              <a:cs typeface="+mn-cs"/>
            </a:endParaRPr>
          </a:p>
        </p:txBody>
      </p:sp>
      <p:sp>
        <p:nvSpPr>
          <p:cNvPr id="21" name="矩形: 对角圆角 20">
            <a:extLst>
              <a:ext uri="{FF2B5EF4-FFF2-40B4-BE49-F238E27FC236}">
                <a16:creationId xmlns:a16="http://schemas.microsoft.com/office/drawing/2014/main" id="{31749B02-CCB5-4ACA-8593-9A615FBD7D17}"/>
              </a:ext>
            </a:extLst>
          </p:cNvPr>
          <p:cNvSpPr/>
          <p:nvPr/>
        </p:nvSpPr>
        <p:spPr>
          <a:xfrm flipH="1">
            <a:off x="1039653" y="3765287"/>
            <a:ext cx="1228723" cy="409575"/>
          </a:xfrm>
          <a:prstGeom prst="round2DiagRect">
            <a:avLst>
              <a:gd name="adj1" fmla="val 50000"/>
              <a:gd name="adj2" fmla="val 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600" b="0" i="0" u="none" strike="noStrike" kern="1200" cap="none" spc="0" normalizeH="0" baseline="0" noProof="0" dirty="0">
                <a:ln>
                  <a:noFill/>
                </a:ln>
                <a:solidFill>
                  <a:prstClr val="white"/>
                </a:solidFill>
                <a:effectLst/>
                <a:uLnTx/>
                <a:uFillTx/>
                <a:latin typeface="思源宋体 Light" panose="02020300000000000000" pitchFamily="18" charset="-122"/>
                <a:ea typeface="思源宋体 Light" panose="02020300000000000000" pitchFamily="18" charset="-122"/>
                <a:cs typeface="+mn-cs"/>
              </a:rPr>
              <a:t>秋叶</a:t>
            </a:r>
            <a:r>
              <a:rPr kumimoji="0" lang="en-US" altLang="zh-CN" sz="1600" b="0" i="0" u="none" strike="noStrike" kern="1200" cap="none" spc="0" normalizeH="0" baseline="0" noProof="0" dirty="0">
                <a:ln>
                  <a:noFill/>
                </a:ln>
                <a:solidFill>
                  <a:prstClr val="white"/>
                </a:solidFill>
                <a:effectLst/>
                <a:uLnTx/>
                <a:uFillTx/>
                <a:latin typeface="思源宋体 Light" panose="02020300000000000000" pitchFamily="18" charset="-122"/>
                <a:ea typeface="思源宋体 Light" panose="02020300000000000000" pitchFamily="18" charset="-122"/>
                <a:cs typeface="+mn-cs"/>
              </a:rPr>
              <a:t>PPT</a:t>
            </a:r>
            <a:endParaRPr kumimoji="0" lang="zh-CN" altLang="en-US" sz="1600" b="0" i="0" u="none" strike="noStrike" kern="1200" cap="none" spc="0" normalizeH="0" baseline="0" noProof="0" dirty="0">
              <a:ln>
                <a:noFill/>
              </a:ln>
              <a:solidFill>
                <a:prstClr val="white"/>
              </a:solidFill>
              <a:effectLst/>
              <a:uLnTx/>
              <a:uFillTx/>
              <a:latin typeface="思源宋体 Light" panose="02020300000000000000" pitchFamily="18" charset="-122"/>
              <a:ea typeface="思源宋体 Light" panose="02020300000000000000" pitchFamily="18" charset="-122"/>
              <a:cs typeface="+mn-cs"/>
            </a:endParaRPr>
          </a:p>
        </p:txBody>
      </p:sp>
      <p:sp>
        <p:nvSpPr>
          <p:cNvPr id="22" name="矩形: 对角圆角 21">
            <a:extLst>
              <a:ext uri="{FF2B5EF4-FFF2-40B4-BE49-F238E27FC236}">
                <a16:creationId xmlns:a16="http://schemas.microsoft.com/office/drawing/2014/main" id="{E576882C-1A9A-4856-8D11-18EA6E35A92F}"/>
              </a:ext>
            </a:extLst>
          </p:cNvPr>
          <p:cNvSpPr/>
          <p:nvPr/>
        </p:nvSpPr>
        <p:spPr>
          <a:xfrm flipH="1">
            <a:off x="1039653" y="4331990"/>
            <a:ext cx="1228723" cy="409575"/>
          </a:xfrm>
          <a:prstGeom prst="round2DiagRect">
            <a:avLst>
              <a:gd name="adj1" fmla="val 50000"/>
              <a:gd name="adj2" fmla="val 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600" b="0" i="0" u="none" strike="noStrike" kern="1200" cap="none" spc="0" normalizeH="0" baseline="0" noProof="0" dirty="0">
                <a:ln>
                  <a:noFill/>
                </a:ln>
                <a:solidFill>
                  <a:prstClr val="white"/>
                </a:solidFill>
                <a:effectLst/>
                <a:uLnTx/>
                <a:uFillTx/>
                <a:latin typeface="思源宋体 Light" panose="02020300000000000000" pitchFamily="18" charset="-122"/>
                <a:ea typeface="思源宋体 Light" panose="02020300000000000000" pitchFamily="18" charset="-122"/>
                <a:cs typeface="+mn-cs"/>
              </a:rPr>
              <a:t>秋叶</a:t>
            </a:r>
            <a:r>
              <a:rPr kumimoji="0" lang="en-US" altLang="zh-CN" sz="1600" b="0" i="0" u="none" strike="noStrike" kern="1200" cap="none" spc="0" normalizeH="0" baseline="0" noProof="0" dirty="0">
                <a:ln>
                  <a:noFill/>
                </a:ln>
                <a:solidFill>
                  <a:prstClr val="white"/>
                </a:solidFill>
                <a:effectLst/>
                <a:uLnTx/>
                <a:uFillTx/>
                <a:latin typeface="思源宋体 Light" panose="02020300000000000000" pitchFamily="18" charset="-122"/>
                <a:ea typeface="思源宋体 Light" panose="02020300000000000000" pitchFamily="18" charset="-122"/>
                <a:cs typeface="+mn-cs"/>
              </a:rPr>
              <a:t>PPT</a:t>
            </a:r>
            <a:endParaRPr kumimoji="0" lang="zh-CN" altLang="en-US" sz="1600" b="0" i="0" u="none" strike="noStrike" kern="1200" cap="none" spc="0" normalizeH="0" baseline="0" noProof="0" dirty="0">
              <a:ln>
                <a:noFill/>
              </a:ln>
              <a:solidFill>
                <a:prstClr val="white"/>
              </a:solidFill>
              <a:effectLst/>
              <a:uLnTx/>
              <a:uFillTx/>
              <a:latin typeface="思源宋体 Light" panose="02020300000000000000" pitchFamily="18" charset="-122"/>
              <a:ea typeface="思源宋体 Light" panose="02020300000000000000" pitchFamily="18" charset="-122"/>
              <a:cs typeface="+mn-cs"/>
            </a:endParaRPr>
          </a:p>
        </p:txBody>
      </p:sp>
      <p:sp>
        <p:nvSpPr>
          <p:cNvPr id="23" name="矩形: 对角圆角 22">
            <a:extLst>
              <a:ext uri="{FF2B5EF4-FFF2-40B4-BE49-F238E27FC236}">
                <a16:creationId xmlns:a16="http://schemas.microsoft.com/office/drawing/2014/main" id="{5B073F9D-0B74-4FCC-AE94-F57A57B9654C}"/>
              </a:ext>
            </a:extLst>
          </p:cNvPr>
          <p:cNvSpPr/>
          <p:nvPr/>
        </p:nvSpPr>
        <p:spPr>
          <a:xfrm flipH="1">
            <a:off x="1039653" y="4898693"/>
            <a:ext cx="1228723" cy="409575"/>
          </a:xfrm>
          <a:prstGeom prst="round2DiagRect">
            <a:avLst>
              <a:gd name="adj1" fmla="val 50000"/>
              <a:gd name="adj2" fmla="val 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600" b="0" i="0" u="none" strike="noStrike" kern="1200" cap="none" spc="0" normalizeH="0" baseline="0" noProof="0" dirty="0">
                <a:ln>
                  <a:noFill/>
                </a:ln>
                <a:solidFill>
                  <a:prstClr val="white"/>
                </a:solidFill>
                <a:effectLst/>
                <a:uLnTx/>
                <a:uFillTx/>
                <a:latin typeface="思源宋体 Light" panose="02020300000000000000" pitchFamily="18" charset="-122"/>
                <a:ea typeface="思源宋体 Light" panose="02020300000000000000" pitchFamily="18" charset="-122"/>
                <a:cs typeface="+mn-cs"/>
              </a:rPr>
              <a:t>秋叶</a:t>
            </a:r>
            <a:r>
              <a:rPr kumimoji="0" lang="en-US" altLang="zh-CN" sz="1600" b="0" i="0" u="none" strike="noStrike" kern="1200" cap="none" spc="0" normalizeH="0" baseline="0" noProof="0" dirty="0">
                <a:ln>
                  <a:noFill/>
                </a:ln>
                <a:solidFill>
                  <a:prstClr val="white"/>
                </a:solidFill>
                <a:effectLst/>
                <a:uLnTx/>
                <a:uFillTx/>
                <a:latin typeface="思源宋体 Light" panose="02020300000000000000" pitchFamily="18" charset="-122"/>
                <a:ea typeface="思源宋体 Light" panose="02020300000000000000" pitchFamily="18" charset="-122"/>
                <a:cs typeface="+mn-cs"/>
              </a:rPr>
              <a:t>PPT</a:t>
            </a:r>
            <a:endParaRPr kumimoji="0" lang="zh-CN" altLang="en-US" sz="1600" b="0" i="0" u="none" strike="noStrike" kern="1200" cap="none" spc="0" normalizeH="0" baseline="0" noProof="0" dirty="0">
              <a:ln>
                <a:noFill/>
              </a:ln>
              <a:solidFill>
                <a:prstClr val="white"/>
              </a:solidFill>
              <a:effectLst/>
              <a:uLnTx/>
              <a:uFillTx/>
              <a:latin typeface="思源宋体 Light" panose="02020300000000000000" pitchFamily="18" charset="-122"/>
              <a:ea typeface="思源宋体 Light" panose="02020300000000000000" pitchFamily="18" charset="-122"/>
              <a:cs typeface="+mn-cs"/>
            </a:endParaRPr>
          </a:p>
        </p:txBody>
      </p:sp>
      <p:sp>
        <p:nvSpPr>
          <p:cNvPr id="24" name="矩形: 对角圆角 23">
            <a:extLst>
              <a:ext uri="{FF2B5EF4-FFF2-40B4-BE49-F238E27FC236}">
                <a16:creationId xmlns:a16="http://schemas.microsoft.com/office/drawing/2014/main" id="{73C9C73B-F5FF-469A-8FAB-E681FD06BBAA}"/>
              </a:ext>
            </a:extLst>
          </p:cNvPr>
          <p:cNvSpPr/>
          <p:nvPr/>
        </p:nvSpPr>
        <p:spPr>
          <a:xfrm flipH="1">
            <a:off x="1039653" y="5465396"/>
            <a:ext cx="1228723" cy="409575"/>
          </a:xfrm>
          <a:prstGeom prst="round2DiagRect">
            <a:avLst>
              <a:gd name="adj1" fmla="val 50000"/>
              <a:gd name="adj2" fmla="val 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600" b="0" i="0" u="none" strike="noStrike" kern="1200" cap="none" spc="0" normalizeH="0" baseline="0" noProof="0" dirty="0">
                <a:ln>
                  <a:noFill/>
                </a:ln>
                <a:solidFill>
                  <a:prstClr val="white"/>
                </a:solidFill>
                <a:effectLst/>
                <a:uLnTx/>
                <a:uFillTx/>
                <a:latin typeface="思源宋体 Light" panose="02020300000000000000" pitchFamily="18" charset="-122"/>
                <a:ea typeface="思源宋体 Light" panose="02020300000000000000" pitchFamily="18" charset="-122"/>
                <a:cs typeface="+mn-cs"/>
              </a:rPr>
              <a:t>秋叶</a:t>
            </a:r>
            <a:r>
              <a:rPr kumimoji="0" lang="en-US" altLang="zh-CN" sz="1600" b="0" i="0" u="none" strike="noStrike" kern="1200" cap="none" spc="0" normalizeH="0" baseline="0" noProof="0" dirty="0">
                <a:ln>
                  <a:noFill/>
                </a:ln>
                <a:solidFill>
                  <a:prstClr val="white"/>
                </a:solidFill>
                <a:effectLst/>
                <a:uLnTx/>
                <a:uFillTx/>
                <a:latin typeface="思源宋体 Light" panose="02020300000000000000" pitchFamily="18" charset="-122"/>
                <a:ea typeface="思源宋体 Light" panose="02020300000000000000" pitchFamily="18" charset="-122"/>
                <a:cs typeface="+mn-cs"/>
              </a:rPr>
              <a:t>PPT</a:t>
            </a:r>
            <a:endParaRPr kumimoji="0" lang="zh-CN" altLang="en-US" sz="1600" b="0" i="0" u="none" strike="noStrike" kern="1200" cap="none" spc="0" normalizeH="0" baseline="0" noProof="0" dirty="0">
              <a:ln>
                <a:noFill/>
              </a:ln>
              <a:solidFill>
                <a:prstClr val="white"/>
              </a:solidFill>
              <a:effectLst/>
              <a:uLnTx/>
              <a:uFillTx/>
              <a:latin typeface="思源宋体 Light" panose="02020300000000000000" pitchFamily="18" charset="-122"/>
              <a:ea typeface="思源宋体 Light" panose="02020300000000000000" pitchFamily="18" charset="-122"/>
              <a:cs typeface="+mn-cs"/>
            </a:endParaRPr>
          </a:p>
        </p:txBody>
      </p:sp>
      <p:cxnSp>
        <p:nvCxnSpPr>
          <p:cNvPr id="25" name="直接连接符 1">
            <a:extLst>
              <a:ext uri="{FF2B5EF4-FFF2-40B4-BE49-F238E27FC236}">
                <a16:creationId xmlns:a16="http://schemas.microsoft.com/office/drawing/2014/main" id="{9B53C7D9-8F9B-438A-80E7-0919C65C565B}"/>
              </a:ext>
            </a:extLst>
          </p:cNvPr>
          <p:cNvCxnSpPr>
            <a:cxnSpLocks/>
          </p:cNvCxnSpPr>
          <p:nvPr/>
        </p:nvCxnSpPr>
        <p:spPr>
          <a:xfrm>
            <a:off x="3881198" y="2304526"/>
            <a:ext cx="0" cy="3267597"/>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26" name="矩形: 剪去对角 25">
            <a:extLst>
              <a:ext uri="{FF2B5EF4-FFF2-40B4-BE49-F238E27FC236}">
                <a16:creationId xmlns:a16="http://schemas.microsoft.com/office/drawing/2014/main" id="{A8FBA638-C2C3-48F2-9C4C-E944F22930D1}"/>
              </a:ext>
            </a:extLst>
          </p:cNvPr>
          <p:cNvSpPr/>
          <p:nvPr/>
        </p:nvSpPr>
        <p:spPr>
          <a:xfrm>
            <a:off x="3095608" y="3198583"/>
            <a:ext cx="1558800" cy="409575"/>
          </a:xfrm>
          <a:prstGeom prst="snip2DiagRect">
            <a:avLst>
              <a:gd name="adj1" fmla="val 0"/>
              <a:gd name="adj2" fmla="val 5000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600" b="0" i="0" u="none" strike="noStrike" kern="1200" cap="none" spc="0" normalizeH="0" baseline="0" noProof="0" dirty="0">
                <a:ln>
                  <a:noFill/>
                </a:ln>
                <a:solidFill>
                  <a:prstClr val="white"/>
                </a:solidFill>
                <a:effectLst/>
                <a:uLnTx/>
                <a:uFillTx/>
                <a:latin typeface="思源宋体 Light" panose="02020300000000000000" pitchFamily="18" charset="-122"/>
                <a:ea typeface="思源宋体 Light" panose="02020300000000000000" pitchFamily="18" charset="-122"/>
                <a:cs typeface="+mn-cs"/>
              </a:rPr>
              <a:t>海量素材</a:t>
            </a:r>
          </a:p>
        </p:txBody>
      </p:sp>
      <p:sp>
        <p:nvSpPr>
          <p:cNvPr id="27" name="矩形: 剪去对角 26">
            <a:extLst>
              <a:ext uri="{FF2B5EF4-FFF2-40B4-BE49-F238E27FC236}">
                <a16:creationId xmlns:a16="http://schemas.microsoft.com/office/drawing/2014/main" id="{5C2FF69F-BAB1-455D-AE1D-DBCB40B37FA4}"/>
              </a:ext>
            </a:extLst>
          </p:cNvPr>
          <p:cNvSpPr/>
          <p:nvPr/>
        </p:nvSpPr>
        <p:spPr>
          <a:xfrm>
            <a:off x="3095608" y="3765287"/>
            <a:ext cx="1558800" cy="409575"/>
          </a:xfrm>
          <a:prstGeom prst="snip2DiagRect">
            <a:avLst>
              <a:gd name="adj1" fmla="val 0"/>
              <a:gd name="adj2" fmla="val 5000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600" b="0" i="0" u="none" strike="noStrike" kern="1200" cap="none" spc="0" normalizeH="0" baseline="0" noProof="0" dirty="0">
                <a:ln>
                  <a:noFill/>
                </a:ln>
                <a:solidFill>
                  <a:prstClr val="white"/>
                </a:solidFill>
                <a:effectLst/>
                <a:uLnTx/>
                <a:uFillTx/>
                <a:latin typeface="思源宋体 Light" panose="02020300000000000000" pitchFamily="18" charset="-122"/>
                <a:ea typeface="思源宋体 Light" panose="02020300000000000000" pitchFamily="18" charset="-122"/>
                <a:cs typeface="+mn-cs"/>
              </a:rPr>
              <a:t>海量素材</a:t>
            </a:r>
          </a:p>
        </p:txBody>
      </p:sp>
      <p:sp>
        <p:nvSpPr>
          <p:cNvPr id="28" name="矩形: 剪去对角 27">
            <a:extLst>
              <a:ext uri="{FF2B5EF4-FFF2-40B4-BE49-F238E27FC236}">
                <a16:creationId xmlns:a16="http://schemas.microsoft.com/office/drawing/2014/main" id="{C0398C50-B355-41B5-B70E-636775BAB891}"/>
              </a:ext>
            </a:extLst>
          </p:cNvPr>
          <p:cNvSpPr/>
          <p:nvPr/>
        </p:nvSpPr>
        <p:spPr>
          <a:xfrm>
            <a:off x="3095608" y="4331991"/>
            <a:ext cx="1558800" cy="409575"/>
          </a:xfrm>
          <a:prstGeom prst="snip2DiagRect">
            <a:avLst>
              <a:gd name="adj1" fmla="val 0"/>
              <a:gd name="adj2" fmla="val 5000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600" b="0" i="0" u="none" strike="noStrike" kern="1200" cap="none" spc="0" normalizeH="0" baseline="0" noProof="0" dirty="0">
                <a:ln>
                  <a:noFill/>
                </a:ln>
                <a:solidFill>
                  <a:prstClr val="white"/>
                </a:solidFill>
                <a:effectLst/>
                <a:uLnTx/>
                <a:uFillTx/>
                <a:latin typeface="思源宋体 Light" panose="02020300000000000000" pitchFamily="18" charset="-122"/>
                <a:ea typeface="思源宋体 Light" panose="02020300000000000000" pitchFamily="18" charset="-122"/>
                <a:cs typeface="+mn-cs"/>
              </a:rPr>
              <a:t>海量素材</a:t>
            </a:r>
          </a:p>
        </p:txBody>
      </p:sp>
      <p:sp>
        <p:nvSpPr>
          <p:cNvPr id="29" name="矩形: 剪去对角 28">
            <a:extLst>
              <a:ext uri="{FF2B5EF4-FFF2-40B4-BE49-F238E27FC236}">
                <a16:creationId xmlns:a16="http://schemas.microsoft.com/office/drawing/2014/main" id="{EB35BC8C-91C6-43DF-B3A1-E721EFD23246}"/>
              </a:ext>
            </a:extLst>
          </p:cNvPr>
          <p:cNvSpPr/>
          <p:nvPr/>
        </p:nvSpPr>
        <p:spPr>
          <a:xfrm>
            <a:off x="3095608" y="4898695"/>
            <a:ext cx="1558800" cy="409575"/>
          </a:xfrm>
          <a:prstGeom prst="snip2DiagRect">
            <a:avLst>
              <a:gd name="adj1" fmla="val 0"/>
              <a:gd name="adj2" fmla="val 5000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600" b="0" i="0" u="none" strike="noStrike" kern="1200" cap="none" spc="0" normalizeH="0" baseline="0" noProof="0" dirty="0">
                <a:ln>
                  <a:noFill/>
                </a:ln>
                <a:solidFill>
                  <a:prstClr val="white"/>
                </a:solidFill>
                <a:effectLst/>
                <a:uLnTx/>
                <a:uFillTx/>
                <a:latin typeface="思源宋体 Light" panose="02020300000000000000" pitchFamily="18" charset="-122"/>
                <a:ea typeface="思源宋体 Light" panose="02020300000000000000" pitchFamily="18" charset="-122"/>
                <a:cs typeface="+mn-cs"/>
              </a:rPr>
              <a:t>海量素材</a:t>
            </a:r>
          </a:p>
        </p:txBody>
      </p:sp>
      <p:sp>
        <p:nvSpPr>
          <p:cNvPr id="30" name="矩形: 剪去对角 29">
            <a:extLst>
              <a:ext uri="{FF2B5EF4-FFF2-40B4-BE49-F238E27FC236}">
                <a16:creationId xmlns:a16="http://schemas.microsoft.com/office/drawing/2014/main" id="{EF31A14B-C199-4813-BEF4-61DEDFC9C5EF}"/>
              </a:ext>
            </a:extLst>
          </p:cNvPr>
          <p:cNvSpPr/>
          <p:nvPr/>
        </p:nvSpPr>
        <p:spPr>
          <a:xfrm>
            <a:off x="3095608" y="5465399"/>
            <a:ext cx="1558800" cy="409575"/>
          </a:xfrm>
          <a:prstGeom prst="snip2DiagRect">
            <a:avLst>
              <a:gd name="adj1" fmla="val 0"/>
              <a:gd name="adj2" fmla="val 5000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600" b="0" i="0" u="none" strike="noStrike" kern="1200" cap="none" spc="0" normalizeH="0" baseline="0" noProof="0" dirty="0">
                <a:ln>
                  <a:noFill/>
                </a:ln>
                <a:solidFill>
                  <a:prstClr val="white"/>
                </a:solidFill>
                <a:effectLst/>
                <a:uLnTx/>
                <a:uFillTx/>
                <a:latin typeface="思源宋体 Light" panose="02020300000000000000" pitchFamily="18" charset="-122"/>
                <a:ea typeface="思源宋体 Light" panose="02020300000000000000" pitchFamily="18" charset="-122"/>
                <a:cs typeface="+mn-cs"/>
              </a:rPr>
              <a:t>海量素材</a:t>
            </a:r>
          </a:p>
        </p:txBody>
      </p:sp>
      <p:cxnSp>
        <p:nvCxnSpPr>
          <p:cNvPr id="32" name="直接连接符 31">
            <a:extLst>
              <a:ext uri="{FF2B5EF4-FFF2-40B4-BE49-F238E27FC236}">
                <a16:creationId xmlns:a16="http://schemas.microsoft.com/office/drawing/2014/main" id="{45D36F49-5B94-42DF-950D-3F0A32B499EE}"/>
              </a:ext>
            </a:extLst>
          </p:cNvPr>
          <p:cNvCxnSpPr>
            <a:cxnSpLocks/>
          </p:cNvCxnSpPr>
          <p:nvPr/>
        </p:nvCxnSpPr>
        <p:spPr>
          <a:xfrm>
            <a:off x="6096000" y="2306802"/>
            <a:ext cx="0" cy="1092726"/>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4" name="直接连接符 33">
            <a:extLst>
              <a:ext uri="{FF2B5EF4-FFF2-40B4-BE49-F238E27FC236}">
                <a16:creationId xmlns:a16="http://schemas.microsoft.com/office/drawing/2014/main" id="{8097A00B-2B53-4A89-BE01-52FD355B1B20}"/>
              </a:ext>
            </a:extLst>
          </p:cNvPr>
          <p:cNvCxnSpPr>
            <a:cxnSpLocks/>
          </p:cNvCxnSpPr>
          <p:nvPr/>
        </p:nvCxnSpPr>
        <p:spPr>
          <a:xfrm>
            <a:off x="10537984" y="2306802"/>
            <a:ext cx="0" cy="1092726"/>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6" name="直接连接符 35">
            <a:extLst>
              <a:ext uri="{FF2B5EF4-FFF2-40B4-BE49-F238E27FC236}">
                <a16:creationId xmlns:a16="http://schemas.microsoft.com/office/drawing/2014/main" id="{44B60ADC-AC59-40A1-9626-540407035FF5}"/>
              </a:ext>
            </a:extLst>
          </p:cNvPr>
          <p:cNvCxnSpPr>
            <a:cxnSpLocks/>
          </p:cNvCxnSpPr>
          <p:nvPr/>
        </p:nvCxnSpPr>
        <p:spPr>
          <a:xfrm>
            <a:off x="8316992" y="2306802"/>
            <a:ext cx="0" cy="370800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8" name="直接连接符 37">
            <a:extLst>
              <a:ext uri="{FF2B5EF4-FFF2-40B4-BE49-F238E27FC236}">
                <a16:creationId xmlns:a16="http://schemas.microsoft.com/office/drawing/2014/main" id="{EA5B19EB-C4DF-4598-BCB7-B4019DA6F4FB}"/>
              </a:ext>
            </a:extLst>
          </p:cNvPr>
          <p:cNvCxnSpPr/>
          <p:nvPr/>
        </p:nvCxnSpPr>
        <p:spPr>
          <a:xfrm>
            <a:off x="6096000" y="3398047"/>
            <a:ext cx="4450063"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35" name="矩形 1">
            <a:extLst>
              <a:ext uri="{FF2B5EF4-FFF2-40B4-BE49-F238E27FC236}">
                <a16:creationId xmlns:a16="http://schemas.microsoft.com/office/drawing/2014/main" id="{1BCA917D-1F1F-4733-B98B-5D14E8D4BB5D}"/>
              </a:ext>
            </a:extLst>
          </p:cNvPr>
          <p:cNvSpPr/>
          <p:nvPr/>
        </p:nvSpPr>
        <p:spPr>
          <a:xfrm>
            <a:off x="6576059" y="3157108"/>
            <a:ext cx="3489944" cy="481877"/>
          </a:xfrm>
          <a:prstGeom prst="rect">
            <a:avLst/>
          </a:prstGeom>
          <a:solidFill>
            <a:schemeClr val="bg1"/>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600" b="0" i="0" u="none" strike="noStrike" kern="1200" cap="none" spc="0" normalizeH="0" baseline="0" noProof="0" dirty="0">
                <a:ln>
                  <a:noFill/>
                </a:ln>
                <a:solidFill>
                  <a:prstClr val="black"/>
                </a:solidFill>
                <a:effectLst/>
                <a:uLnTx/>
                <a:uFillTx/>
                <a:latin typeface="OPPOSans L"/>
                <a:ea typeface="思源宋体 Light" panose="02020300000000000000" pitchFamily="18" charset="-122"/>
                <a:cs typeface="+mn-cs"/>
              </a:rPr>
              <a:t>秋叶</a:t>
            </a:r>
            <a:r>
              <a:rPr kumimoji="0" lang="en-US" altLang="zh-CN" sz="1600" b="0" i="0" u="none" strike="noStrike" kern="1200" cap="none" spc="0" normalizeH="0" baseline="0" noProof="0" dirty="0">
                <a:ln>
                  <a:noFill/>
                </a:ln>
                <a:solidFill>
                  <a:prstClr val="black"/>
                </a:solidFill>
                <a:effectLst/>
                <a:uLnTx/>
                <a:uFillTx/>
                <a:latin typeface="OPPOSans L"/>
                <a:ea typeface="思源宋体 Light" panose="02020300000000000000" pitchFamily="18" charset="-122"/>
                <a:cs typeface="+mn-cs"/>
              </a:rPr>
              <a:t>PPT</a:t>
            </a:r>
            <a:r>
              <a:rPr kumimoji="0" lang="zh-CN" altLang="en-US" sz="1600" b="0" i="0" u="none" strike="noStrike" kern="1200" cap="none" spc="0" normalizeH="0" baseline="0" noProof="0" dirty="0">
                <a:ln>
                  <a:noFill/>
                </a:ln>
                <a:solidFill>
                  <a:prstClr val="black"/>
                </a:solidFill>
                <a:effectLst/>
                <a:uLnTx/>
                <a:uFillTx/>
                <a:latin typeface="OPPOSans L"/>
                <a:ea typeface="思源宋体 Light" panose="02020300000000000000" pitchFamily="18" charset="-122"/>
                <a:cs typeface="+mn-cs"/>
              </a:rPr>
              <a:t>，更快更轻松</a:t>
            </a:r>
          </a:p>
        </p:txBody>
      </p:sp>
      <p:cxnSp>
        <p:nvCxnSpPr>
          <p:cNvPr id="54" name="直接连接符 53">
            <a:extLst>
              <a:ext uri="{FF2B5EF4-FFF2-40B4-BE49-F238E27FC236}">
                <a16:creationId xmlns:a16="http://schemas.microsoft.com/office/drawing/2014/main" id="{2DCB69F6-C010-4762-8A86-95CFCCA2842C}"/>
              </a:ext>
            </a:extLst>
          </p:cNvPr>
          <p:cNvCxnSpPr>
            <a:cxnSpLocks/>
          </p:cNvCxnSpPr>
          <p:nvPr/>
        </p:nvCxnSpPr>
        <p:spPr>
          <a:xfrm>
            <a:off x="6842275" y="4331989"/>
            <a:ext cx="2957513"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40" name="矩形: 剪去单角 39">
            <a:extLst>
              <a:ext uri="{FF2B5EF4-FFF2-40B4-BE49-F238E27FC236}">
                <a16:creationId xmlns:a16="http://schemas.microsoft.com/office/drawing/2014/main" id="{0FA12D4D-C23A-450C-B7DF-EBE22550ADC2}"/>
              </a:ext>
            </a:extLst>
          </p:cNvPr>
          <p:cNvSpPr/>
          <p:nvPr/>
        </p:nvSpPr>
        <p:spPr>
          <a:xfrm flipV="1">
            <a:off x="6043229" y="4127202"/>
            <a:ext cx="1314436" cy="409575"/>
          </a:xfrm>
          <a:prstGeom prst="snip1Rect">
            <a:avLst>
              <a:gd name="adj" fmla="val 37597"/>
            </a:avLst>
          </a:prstGeom>
          <a:gradFill flip="none" rotWithShape="1">
            <a:gsLst>
              <a:gs pos="100000">
                <a:schemeClr val="accent1"/>
              </a:gs>
              <a:gs pos="0">
                <a:schemeClr val="accent2"/>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white"/>
              </a:solidFill>
              <a:effectLst/>
              <a:uLnTx/>
              <a:uFillTx/>
              <a:latin typeface="OPPOSans L"/>
              <a:ea typeface="思源宋体 Light" panose="02020300000000000000" pitchFamily="18" charset="-122"/>
              <a:cs typeface="+mn-cs"/>
            </a:endParaRPr>
          </a:p>
        </p:txBody>
      </p:sp>
      <p:sp>
        <p:nvSpPr>
          <p:cNvPr id="55" name="文本框 54">
            <a:extLst>
              <a:ext uri="{FF2B5EF4-FFF2-40B4-BE49-F238E27FC236}">
                <a16:creationId xmlns:a16="http://schemas.microsoft.com/office/drawing/2014/main" id="{D4467242-F52A-4AD1-ACD2-DA520C694D1C}"/>
              </a:ext>
            </a:extLst>
          </p:cNvPr>
          <p:cNvSpPr txBox="1"/>
          <p:nvPr/>
        </p:nvSpPr>
        <p:spPr>
          <a:xfrm>
            <a:off x="6182503" y="4226015"/>
            <a:ext cx="1061467" cy="246221"/>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600" b="0" i="0" u="none" strike="noStrike" kern="1200" cap="none" spc="0" normalizeH="0" baseline="0" noProof="0" dirty="0">
                <a:ln>
                  <a:noFill/>
                </a:ln>
                <a:solidFill>
                  <a:prstClr val="white"/>
                </a:solidFill>
                <a:effectLst/>
                <a:uLnTx/>
                <a:uFillTx/>
                <a:latin typeface="OPPOSans L"/>
                <a:ea typeface="思源宋体 Light" panose="02020300000000000000" pitchFamily="18" charset="-122"/>
                <a:cs typeface="+mn-cs"/>
              </a:rPr>
              <a:t>持续更新</a:t>
            </a:r>
          </a:p>
        </p:txBody>
      </p:sp>
      <p:sp>
        <p:nvSpPr>
          <p:cNvPr id="58" name="矩形: 剪去单角 57">
            <a:extLst>
              <a:ext uri="{FF2B5EF4-FFF2-40B4-BE49-F238E27FC236}">
                <a16:creationId xmlns:a16="http://schemas.microsoft.com/office/drawing/2014/main" id="{E373A817-A42B-455D-B908-20AEABAA2C24}"/>
              </a:ext>
            </a:extLst>
          </p:cNvPr>
          <p:cNvSpPr/>
          <p:nvPr/>
        </p:nvSpPr>
        <p:spPr>
          <a:xfrm flipV="1">
            <a:off x="7663813" y="4127202"/>
            <a:ext cx="1314436" cy="409575"/>
          </a:xfrm>
          <a:prstGeom prst="snip1Rect">
            <a:avLst>
              <a:gd name="adj" fmla="val 37597"/>
            </a:avLst>
          </a:prstGeom>
          <a:gradFill flip="none" rotWithShape="1">
            <a:gsLst>
              <a:gs pos="100000">
                <a:schemeClr val="accent1"/>
              </a:gs>
              <a:gs pos="0">
                <a:schemeClr val="accent2"/>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white"/>
              </a:solidFill>
              <a:effectLst/>
              <a:uLnTx/>
              <a:uFillTx/>
              <a:latin typeface="OPPOSans L"/>
              <a:ea typeface="思源宋体 Light" panose="02020300000000000000" pitchFamily="18" charset="-122"/>
              <a:cs typeface="+mn-cs"/>
            </a:endParaRPr>
          </a:p>
        </p:txBody>
      </p:sp>
      <p:sp>
        <p:nvSpPr>
          <p:cNvPr id="59" name="文本框 58">
            <a:extLst>
              <a:ext uri="{FF2B5EF4-FFF2-40B4-BE49-F238E27FC236}">
                <a16:creationId xmlns:a16="http://schemas.microsoft.com/office/drawing/2014/main" id="{7BF345E0-01D6-4764-9821-1F426FFDED6A}"/>
              </a:ext>
            </a:extLst>
          </p:cNvPr>
          <p:cNvSpPr txBox="1"/>
          <p:nvPr/>
        </p:nvSpPr>
        <p:spPr>
          <a:xfrm>
            <a:off x="7803087" y="4226015"/>
            <a:ext cx="1061467" cy="246221"/>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600" b="0" i="0" u="none" strike="noStrike" kern="1200" cap="none" spc="0" normalizeH="0" baseline="0" noProof="0" dirty="0">
                <a:ln>
                  <a:noFill/>
                </a:ln>
                <a:solidFill>
                  <a:prstClr val="white"/>
                </a:solidFill>
                <a:effectLst/>
                <a:uLnTx/>
                <a:uFillTx/>
                <a:latin typeface="OPPOSans L"/>
                <a:ea typeface="思源宋体 Light" panose="02020300000000000000" pitchFamily="18" charset="-122"/>
                <a:cs typeface="+mn-cs"/>
              </a:rPr>
              <a:t>海量素材</a:t>
            </a:r>
          </a:p>
        </p:txBody>
      </p:sp>
      <p:sp>
        <p:nvSpPr>
          <p:cNvPr id="61" name="矩形: 剪去单角 60">
            <a:extLst>
              <a:ext uri="{FF2B5EF4-FFF2-40B4-BE49-F238E27FC236}">
                <a16:creationId xmlns:a16="http://schemas.microsoft.com/office/drawing/2014/main" id="{95EB1868-21CB-4E6C-AD9D-6DDF4EDA5478}"/>
              </a:ext>
            </a:extLst>
          </p:cNvPr>
          <p:cNvSpPr/>
          <p:nvPr/>
        </p:nvSpPr>
        <p:spPr>
          <a:xfrm flipV="1">
            <a:off x="9284397" y="4127202"/>
            <a:ext cx="1314436" cy="409575"/>
          </a:xfrm>
          <a:prstGeom prst="snip1Rect">
            <a:avLst>
              <a:gd name="adj" fmla="val 37597"/>
            </a:avLst>
          </a:prstGeom>
          <a:gradFill flip="none" rotWithShape="1">
            <a:gsLst>
              <a:gs pos="100000">
                <a:schemeClr val="accent1"/>
              </a:gs>
              <a:gs pos="0">
                <a:schemeClr val="accent2"/>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white"/>
              </a:solidFill>
              <a:effectLst/>
              <a:uLnTx/>
              <a:uFillTx/>
              <a:latin typeface="OPPOSans L"/>
              <a:ea typeface="思源宋体 Light" panose="02020300000000000000" pitchFamily="18" charset="-122"/>
              <a:cs typeface="+mn-cs"/>
            </a:endParaRPr>
          </a:p>
        </p:txBody>
      </p:sp>
      <p:sp>
        <p:nvSpPr>
          <p:cNvPr id="62" name="文本框 61">
            <a:extLst>
              <a:ext uri="{FF2B5EF4-FFF2-40B4-BE49-F238E27FC236}">
                <a16:creationId xmlns:a16="http://schemas.microsoft.com/office/drawing/2014/main" id="{695C6EE5-E64E-4760-97F2-EB6218278A36}"/>
              </a:ext>
            </a:extLst>
          </p:cNvPr>
          <p:cNvSpPr txBox="1"/>
          <p:nvPr/>
        </p:nvSpPr>
        <p:spPr>
          <a:xfrm>
            <a:off x="9423671" y="4226015"/>
            <a:ext cx="1061467" cy="246221"/>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600" b="0" i="0" u="none" strike="noStrike" kern="1200" cap="none" spc="0" normalizeH="0" baseline="0" noProof="0" dirty="0">
                <a:ln>
                  <a:noFill/>
                </a:ln>
                <a:solidFill>
                  <a:prstClr val="white"/>
                </a:solidFill>
                <a:effectLst/>
                <a:uLnTx/>
                <a:uFillTx/>
                <a:latin typeface="OPPOSans L"/>
                <a:ea typeface="思源宋体 Light" panose="02020300000000000000" pitchFamily="18" charset="-122"/>
                <a:cs typeface="+mn-cs"/>
              </a:rPr>
              <a:t>持续更新</a:t>
            </a:r>
          </a:p>
        </p:txBody>
      </p:sp>
      <p:cxnSp>
        <p:nvCxnSpPr>
          <p:cNvPr id="66" name="直接连接符 65">
            <a:extLst>
              <a:ext uri="{FF2B5EF4-FFF2-40B4-BE49-F238E27FC236}">
                <a16:creationId xmlns:a16="http://schemas.microsoft.com/office/drawing/2014/main" id="{00A5C1B6-2A8E-45A6-A7D5-2F42516563D9}"/>
              </a:ext>
            </a:extLst>
          </p:cNvPr>
          <p:cNvCxnSpPr>
            <a:cxnSpLocks/>
          </p:cNvCxnSpPr>
          <p:nvPr/>
        </p:nvCxnSpPr>
        <p:spPr>
          <a:xfrm>
            <a:off x="6842275" y="4875330"/>
            <a:ext cx="2957513"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75" name="矩形: 剪去单角 74">
            <a:extLst>
              <a:ext uri="{FF2B5EF4-FFF2-40B4-BE49-F238E27FC236}">
                <a16:creationId xmlns:a16="http://schemas.microsoft.com/office/drawing/2014/main" id="{5A37E251-1D26-48B2-899A-30A067A3C7A0}"/>
              </a:ext>
            </a:extLst>
          </p:cNvPr>
          <p:cNvSpPr/>
          <p:nvPr/>
        </p:nvSpPr>
        <p:spPr>
          <a:xfrm flipV="1">
            <a:off x="6043229" y="4670543"/>
            <a:ext cx="1314436" cy="409575"/>
          </a:xfrm>
          <a:prstGeom prst="snip1Rect">
            <a:avLst>
              <a:gd name="adj" fmla="val 37597"/>
            </a:avLst>
          </a:prstGeom>
          <a:gradFill flip="none" rotWithShape="1">
            <a:gsLst>
              <a:gs pos="100000">
                <a:schemeClr val="accent1"/>
              </a:gs>
              <a:gs pos="0">
                <a:schemeClr val="accent2"/>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white"/>
              </a:solidFill>
              <a:effectLst/>
              <a:uLnTx/>
              <a:uFillTx/>
              <a:latin typeface="OPPOSans L"/>
              <a:ea typeface="思源宋体 Light" panose="02020300000000000000" pitchFamily="18" charset="-122"/>
              <a:cs typeface="+mn-cs"/>
            </a:endParaRPr>
          </a:p>
        </p:txBody>
      </p:sp>
      <p:sp>
        <p:nvSpPr>
          <p:cNvPr id="76" name="文本框 75">
            <a:extLst>
              <a:ext uri="{FF2B5EF4-FFF2-40B4-BE49-F238E27FC236}">
                <a16:creationId xmlns:a16="http://schemas.microsoft.com/office/drawing/2014/main" id="{B159DA67-E7BE-43AA-99FA-871DC168B4E7}"/>
              </a:ext>
            </a:extLst>
          </p:cNvPr>
          <p:cNvSpPr txBox="1"/>
          <p:nvPr/>
        </p:nvSpPr>
        <p:spPr>
          <a:xfrm>
            <a:off x="6182503" y="4769356"/>
            <a:ext cx="1061467" cy="246221"/>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600" b="0" i="0" u="none" strike="noStrike" kern="1200" cap="none" spc="0" normalizeH="0" baseline="0" noProof="0" dirty="0">
                <a:ln>
                  <a:noFill/>
                </a:ln>
                <a:solidFill>
                  <a:prstClr val="white"/>
                </a:solidFill>
                <a:effectLst/>
                <a:uLnTx/>
                <a:uFillTx/>
                <a:latin typeface="OPPOSans L"/>
                <a:ea typeface="思源宋体 Light" panose="02020300000000000000" pitchFamily="18" charset="-122"/>
                <a:cs typeface="+mn-cs"/>
              </a:rPr>
              <a:t>持续更新</a:t>
            </a:r>
          </a:p>
        </p:txBody>
      </p:sp>
      <p:sp>
        <p:nvSpPr>
          <p:cNvPr id="73" name="矩形: 剪去单角 72">
            <a:extLst>
              <a:ext uri="{FF2B5EF4-FFF2-40B4-BE49-F238E27FC236}">
                <a16:creationId xmlns:a16="http://schemas.microsoft.com/office/drawing/2014/main" id="{4088671A-F5F1-4BDB-B94A-C1C92A262926}"/>
              </a:ext>
            </a:extLst>
          </p:cNvPr>
          <p:cNvSpPr/>
          <p:nvPr/>
        </p:nvSpPr>
        <p:spPr>
          <a:xfrm flipV="1">
            <a:off x="7663813" y="4670543"/>
            <a:ext cx="1314436" cy="409575"/>
          </a:xfrm>
          <a:prstGeom prst="snip1Rect">
            <a:avLst>
              <a:gd name="adj" fmla="val 37597"/>
            </a:avLst>
          </a:prstGeom>
          <a:gradFill flip="none" rotWithShape="1">
            <a:gsLst>
              <a:gs pos="100000">
                <a:schemeClr val="accent1"/>
              </a:gs>
              <a:gs pos="0">
                <a:schemeClr val="accent2"/>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white"/>
              </a:solidFill>
              <a:effectLst/>
              <a:uLnTx/>
              <a:uFillTx/>
              <a:latin typeface="OPPOSans L"/>
              <a:ea typeface="思源宋体 Light" panose="02020300000000000000" pitchFamily="18" charset="-122"/>
              <a:cs typeface="+mn-cs"/>
            </a:endParaRPr>
          </a:p>
        </p:txBody>
      </p:sp>
      <p:sp>
        <p:nvSpPr>
          <p:cNvPr id="74" name="文本框 73">
            <a:extLst>
              <a:ext uri="{FF2B5EF4-FFF2-40B4-BE49-F238E27FC236}">
                <a16:creationId xmlns:a16="http://schemas.microsoft.com/office/drawing/2014/main" id="{07F7B780-1735-4FD0-AE38-A4D2655E10C2}"/>
              </a:ext>
            </a:extLst>
          </p:cNvPr>
          <p:cNvSpPr txBox="1"/>
          <p:nvPr/>
        </p:nvSpPr>
        <p:spPr>
          <a:xfrm>
            <a:off x="7803087" y="4769356"/>
            <a:ext cx="1061467" cy="246221"/>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600" b="0" i="0" u="none" strike="noStrike" kern="1200" cap="none" spc="0" normalizeH="0" baseline="0" noProof="0" dirty="0">
                <a:ln>
                  <a:noFill/>
                </a:ln>
                <a:solidFill>
                  <a:prstClr val="white"/>
                </a:solidFill>
                <a:effectLst/>
                <a:uLnTx/>
                <a:uFillTx/>
                <a:latin typeface="OPPOSans L"/>
                <a:ea typeface="思源宋体 Light" panose="02020300000000000000" pitchFamily="18" charset="-122"/>
                <a:cs typeface="+mn-cs"/>
              </a:rPr>
              <a:t>海量素材</a:t>
            </a:r>
          </a:p>
        </p:txBody>
      </p:sp>
      <p:sp>
        <p:nvSpPr>
          <p:cNvPr id="71" name="矩形: 剪去单角 70">
            <a:extLst>
              <a:ext uri="{FF2B5EF4-FFF2-40B4-BE49-F238E27FC236}">
                <a16:creationId xmlns:a16="http://schemas.microsoft.com/office/drawing/2014/main" id="{9BF5FB53-2F15-4115-A5D6-561259CB220D}"/>
              </a:ext>
            </a:extLst>
          </p:cNvPr>
          <p:cNvSpPr/>
          <p:nvPr/>
        </p:nvSpPr>
        <p:spPr>
          <a:xfrm flipV="1">
            <a:off x="9284397" y="4670543"/>
            <a:ext cx="1314436" cy="409575"/>
          </a:xfrm>
          <a:prstGeom prst="snip1Rect">
            <a:avLst>
              <a:gd name="adj" fmla="val 37597"/>
            </a:avLst>
          </a:prstGeom>
          <a:gradFill flip="none" rotWithShape="1">
            <a:gsLst>
              <a:gs pos="100000">
                <a:schemeClr val="accent1"/>
              </a:gs>
              <a:gs pos="0">
                <a:schemeClr val="accent2"/>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white"/>
              </a:solidFill>
              <a:effectLst/>
              <a:uLnTx/>
              <a:uFillTx/>
              <a:latin typeface="OPPOSans L"/>
              <a:ea typeface="思源宋体 Light" panose="02020300000000000000" pitchFamily="18" charset="-122"/>
              <a:cs typeface="+mn-cs"/>
            </a:endParaRPr>
          </a:p>
        </p:txBody>
      </p:sp>
      <p:sp>
        <p:nvSpPr>
          <p:cNvPr id="72" name="文本框 71">
            <a:extLst>
              <a:ext uri="{FF2B5EF4-FFF2-40B4-BE49-F238E27FC236}">
                <a16:creationId xmlns:a16="http://schemas.microsoft.com/office/drawing/2014/main" id="{330A2E6F-23FD-407C-AD64-74ED0E38E06B}"/>
              </a:ext>
            </a:extLst>
          </p:cNvPr>
          <p:cNvSpPr txBox="1"/>
          <p:nvPr/>
        </p:nvSpPr>
        <p:spPr>
          <a:xfrm>
            <a:off x="9423671" y="4769356"/>
            <a:ext cx="1061467" cy="246221"/>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600" b="0" i="0" u="none" strike="noStrike" kern="1200" cap="none" spc="0" normalizeH="0" baseline="0" noProof="0" dirty="0">
                <a:ln>
                  <a:noFill/>
                </a:ln>
                <a:solidFill>
                  <a:prstClr val="white"/>
                </a:solidFill>
                <a:effectLst/>
                <a:uLnTx/>
                <a:uFillTx/>
                <a:latin typeface="OPPOSans L"/>
                <a:ea typeface="思源宋体 Light" panose="02020300000000000000" pitchFamily="18" charset="-122"/>
                <a:cs typeface="+mn-cs"/>
              </a:rPr>
              <a:t>持续更新</a:t>
            </a:r>
          </a:p>
        </p:txBody>
      </p:sp>
      <p:cxnSp>
        <p:nvCxnSpPr>
          <p:cNvPr id="78" name="直接连接符 77">
            <a:extLst>
              <a:ext uri="{FF2B5EF4-FFF2-40B4-BE49-F238E27FC236}">
                <a16:creationId xmlns:a16="http://schemas.microsoft.com/office/drawing/2014/main" id="{CEC6251C-923E-4C87-A0A1-3DF77D25E320}"/>
              </a:ext>
            </a:extLst>
          </p:cNvPr>
          <p:cNvCxnSpPr>
            <a:cxnSpLocks/>
          </p:cNvCxnSpPr>
          <p:nvPr/>
        </p:nvCxnSpPr>
        <p:spPr>
          <a:xfrm>
            <a:off x="6842275" y="5418671"/>
            <a:ext cx="2957513"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87" name="矩形: 剪去单角 86">
            <a:extLst>
              <a:ext uri="{FF2B5EF4-FFF2-40B4-BE49-F238E27FC236}">
                <a16:creationId xmlns:a16="http://schemas.microsoft.com/office/drawing/2014/main" id="{1AF92457-FF5C-4135-A7FB-43DA441D08E1}"/>
              </a:ext>
            </a:extLst>
          </p:cNvPr>
          <p:cNvSpPr/>
          <p:nvPr/>
        </p:nvSpPr>
        <p:spPr>
          <a:xfrm flipV="1">
            <a:off x="6043229" y="5213884"/>
            <a:ext cx="1314436" cy="409575"/>
          </a:xfrm>
          <a:prstGeom prst="snip1Rect">
            <a:avLst>
              <a:gd name="adj" fmla="val 37597"/>
            </a:avLst>
          </a:prstGeom>
          <a:solidFill>
            <a:schemeClr val="bg1"/>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white"/>
              </a:solidFill>
              <a:effectLst/>
              <a:uLnTx/>
              <a:uFillTx/>
              <a:latin typeface="OPPOSans L"/>
              <a:ea typeface="思源宋体 Light" panose="02020300000000000000" pitchFamily="18" charset="-122"/>
              <a:cs typeface="+mn-cs"/>
            </a:endParaRPr>
          </a:p>
        </p:txBody>
      </p:sp>
      <p:sp>
        <p:nvSpPr>
          <p:cNvPr id="88" name="文本框 87">
            <a:extLst>
              <a:ext uri="{FF2B5EF4-FFF2-40B4-BE49-F238E27FC236}">
                <a16:creationId xmlns:a16="http://schemas.microsoft.com/office/drawing/2014/main" id="{73AECB05-0274-41CC-9BB7-65780344F2DF}"/>
              </a:ext>
            </a:extLst>
          </p:cNvPr>
          <p:cNvSpPr txBox="1"/>
          <p:nvPr/>
        </p:nvSpPr>
        <p:spPr>
          <a:xfrm>
            <a:off x="6182503" y="5312697"/>
            <a:ext cx="1061467" cy="246221"/>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600" b="0" i="0" u="none" strike="noStrike" kern="1200" cap="none" spc="0" normalizeH="0" baseline="0" noProof="0" dirty="0">
                <a:ln>
                  <a:noFill/>
                </a:ln>
                <a:solidFill>
                  <a:prstClr val="black"/>
                </a:solidFill>
                <a:effectLst/>
                <a:uLnTx/>
                <a:uFillTx/>
                <a:latin typeface="OPPOSans L"/>
                <a:ea typeface="思源宋体 Light" panose="02020300000000000000" pitchFamily="18" charset="-122"/>
                <a:cs typeface="+mn-cs"/>
              </a:rPr>
              <a:t>持续更新</a:t>
            </a:r>
          </a:p>
        </p:txBody>
      </p:sp>
      <p:sp>
        <p:nvSpPr>
          <p:cNvPr id="85" name="矩形: 剪去单角 84">
            <a:extLst>
              <a:ext uri="{FF2B5EF4-FFF2-40B4-BE49-F238E27FC236}">
                <a16:creationId xmlns:a16="http://schemas.microsoft.com/office/drawing/2014/main" id="{BEDFAC1B-5374-4A24-9794-981FD517F8AB}"/>
              </a:ext>
            </a:extLst>
          </p:cNvPr>
          <p:cNvSpPr/>
          <p:nvPr/>
        </p:nvSpPr>
        <p:spPr>
          <a:xfrm flipV="1">
            <a:off x="7663813" y="5213884"/>
            <a:ext cx="1314436" cy="409575"/>
          </a:xfrm>
          <a:prstGeom prst="snip1Rect">
            <a:avLst>
              <a:gd name="adj" fmla="val 37597"/>
            </a:avLst>
          </a:prstGeom>
          <a:solidFill>
            <a:schemeClr val="bg1"/>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white"/>
              </a:solidFill>
              <a:effectLst/>
              <a:uLnTx/>
              <a:uFillTx/>
              <a:latin typeface="OPPOSans L"/>
              <a:ea typeface="思源宋体 Light" panose="02020300000000000000" pitchFamily="18" charset="-122"/>
              <a:cs typeface="+mn-cs"/>
            </a:endParaRPr>
          </a:p>
        </p:txBody>
      </p:sp>
      <p:sp>
        <p:nvSpPr>
          <p:cNvPr id="86" name="文本框 85">
            <a:extLst>
              <a:ext uri="{FF2B5EF4-FFF2-40B4-BE49-F238E27FC236}">
                <a16:creationId xmlns:a16="http://schemas.microsoft.com/office/drawing/2014/main" id="{2B2CE2E4-232D-4048-B213-A93F8FE32D04}"/>
              </a:ext>
            </a:extLst>
          </p:cNvPr>
          <p:cNvSpPr txBox="1"/>
          <p:nvPr/>
        </p:nvSpPr>
        <p:spPr>
          <a:xfrm>
            <a:off x="7803087" y="5312697"/>
            <a:ext cx="1061467" cy="246221"/>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600" b="0" i="0" u="none" strike="noStrike" kern="1200" cap="none" spc="0" normalizeH="0" baseline="0" noProof="0" dirty="0">
                <a:ln>
                  <a:noFill/>
                </a:ln>
                <a:solidFill>
                  <a:prstClr val="black"/>
                </a:solidFill>
                <a:effectLst/>
                <a:uLnTx/>
                <a:uFillTx/>
                <a:latin typeface="OPPOSans L"/>
                <a:ea typeface="思源宋体 Light" panose="02020300000000000000" pitchFamily="18" charset="-122"/>
                <a:cs typeface="+mn-cs"/>
              </a:rPr>
              <a:t>海量素材</a:t>
            </a:r>
          </a:p>
        </p:txBody>
      </p:sp>
      <p:sp>
        <p:nvSpPr>
          <p:cNvPr id="83" name="矩形: 剪去单角 82">
            <a:extLst>
              <a:ext uri="{FF2B5EF4-FFF2-40B4-BE49-F238E27FC236}">
                <a16:creationId xmlns:a16="http://schemas.microsoft.com/office/drawing/2014/main" id="{4A212058-FCF8-461A-AB9B-588ABD26297F}"/>
              </a:ext>
            </a:extLst>
          </p:cNvPr>
          <p:cNvSpPr/>
          <p:nvPr/>
        </p:nvSpPr>
        <p:spPr>
          <a:xfrm flipV="1">
            <a:off x="9284397" y="5213884"/>
            <a:ext cx="1314436" cy="409575"/>
          </a:xfrm>
          <a:prstGeom prst="snip1Rect">
            <a:avLst>
              <a:gd name="adj" fmla="val 37597"/>
            </a:avLst>
          </a:prstGeom>
          <a:solidFill>
            <a:schemeClr val="bg1"/>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white"/>
              </a:solidFill>
              <a:effectLst/>
              <a:uLnTx/>
              <a:uFillTx/>
              <a:latin typeface="OPPOSans L"/>
              <a:ea typeface="思源宋体 Light" panose="02020300000000000000" pitchFamily="18" charset="-122"/>
              <a:cs typeface="+mn-cs"/>
            </a:endParaRPr>
          </a:p>
        </p:txBody>
      </p:sp>
      <p:sp>
        <p:nvSpPr>
          <p:cNvPr id="84" name="文本框 83">
            <a:extLst>
              <a:ext uri="{FF2B5EF4-FFF2-40B4-BE49-F238E27FC236}">
                <a16:creationId xmlns:a16="http://schemas.microsoft.com/office/drawing/2014/main" id="{B3325523-BC3A-401F-9CCD-6099316780A3}"/>
              </a:ext>
            </a:extLst>
          </p:cNvPr>
          <p:cNvSpPr txBox="1"/>
          <p:nvPr/>
        </p:nvSpPr>
        <p:spPr>
          <a:xfrm>
            <a:off x="9423671" y="5312697"/>
            <a:ext cx="1061467" cy="246221"/>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600" b="0" i="0" u="none" strike="noStrike" kern="1200" cap="none" spc="0" normalizeH="0" baseline="0" noProof="0" dirty="0">
                <a:ln>
                  <a:noFill/>
                </a:ln>
                <a:solidFill>
                  <a:prstClr val="black"/>
                </a:solidFill>
                <a:effectLst/>
                <a:uLnTx/>
                <a:uFillTx/>
                <a:latin typeface="OPPOSans L"/>
                <a:ea typeface="思源宋体 Light" panose="02020300000000000000" pitchFamily="18" charset="-122"/>
                <a:cs typeface="+mn-cs"/>
              </a:rPr>
              <a:t>持续更新</a:t>
            </a:r>
          </a:p>
        </p:txBody>
      </p:sp>
      <p:cxnSp>
        <p:nvCxnSpPr>
          <p:cNvPr id="90" name="直接连接符 89">
            <a:extLst>
              <a:ext uri="{FF2B5EF4-FFF2-40B4-BE49-F238E27FC236}">
                <a16:creationId xmlns:a16="http://schemas.microsoft.com/office/drawing/2014/main" id="{0D511E2E-92EA-4DA7-A075-CECCF1BA6D25}"/>
              </a:ext>
            </a:extLst>
          </p:cNvPr>
          <p:cNvCxnSpPr>
            <a:cxnSpLocks/>
          </p:cNvCxnSpPr>
          <p:nvPr/>
        </p:nvCxnSpPr>
        <p:spPr>
          <a:xfrm>
            <a:off x="6842275" y="5962012"/>
            <a:ext cx="2957513"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99" name="矩形: 剪去单角 98">
            <a:extLst>
              <a:ext uri="{FF2B5EF4-FFF2-40B4-BE49-F238E27FC236}">
                <a16:creationId xmlns:a16="http://schemas.microsoft.com/office/drawing/2014/main" id="{3EFB23EF-97C2-43DA-9A20-C4FB257A22F8}"/>
              </a:ext>
            </a:extLst>
          </p:cNvPr>
          <p:cNvSpPr/>
          <p:nvPr/>
        </p:nvSpPr>
        <p:spPr>
          <a:xfrm flipV="1">
            <a:off x="6043229" y="5757225"/>
            <a:ext cx="1314436" cy="409575"/>
          </a:xfrm>
          <a:prstGeom prst="snip1Rect">
            <a:avLst>
              <a:gd name="adj" fmla="val 37597"/>
            </a:avLst>
          </a:prstGeom>
          <a:gradFill flip="none" rotWithShape="1">
            <a:gsLst>
              <a:gs pos="100000">
                <a:schemeClr val="accent1"/>
              </a:gs>
              <a:gs pos="0">
                <a:schemeClr val="accent2"/>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white"/>
              </a:solidFill>
              <a:effectLst/>
              <a:uLnTx/>
              <a:uFillTx/>
              <a:latin typeface="OPPOSans L"/>
              <a:ea typeface="思源宋体 Light" panose="02020300000000000000" pitchFamily="18" charset="-122"/>
              <a:cs typeface="+mn-cs"/>
            </a:endParaRPr>
          </a:p>
        </p:txBody>
      </p:sp>
      <p:sp>
        <p:nvSpPr>
          <p:cNvPr id="100" name="文本框 99">
            <a:extLst>
              <a:ext uri="{FF2B5EF4-FFF2-40B4-BE49-F238E27FC236}">
                <a16:creationId xmlns:a16="http://schemas.microsoft.com/office/drawing/2014/main" id="{298DA4AF-6350-4BBA-B0CB-74BCE01E6D71}"/>
              </a:ext>
            </a:extLst>
          </p:cNvPr>
          <p:cNvSpPr txBox="1"/>
          <p:nvPr/>
        </p:nvSpPr>
        <p:spPr>
          <a:xfrm>
            <a:off x="6182503" y="5856038"/>
            <a:ext cx="1061467" cy="246221"/>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600" b="0" i="0" u="none" strike="noStrike" kern="1200" cap="none" spc="0" normalizeH="0" baseline="0" noProof="0" dirty="0">
                <a:ln>
                  <a:noFill/>
                </a:ln>
                <a:solidFill>
                  <a:prstClr val="white"/>
                </a:solidFill>
                <a:effectLst/>
                <a:uLnTx/>
                <a:uFillTx/>
                <a:latin typeface="OPPOSans L"/>
                <a:ea typeface="思源宋体 Light" panose="02020300000000000000" pitchFamily="18" charset="-122"/>
                <a:cs typeface="+mn-cs"/>
              </a:rPr>
              <a:t>持续更新</a:t>
            </a:r>
          </a:p>
        </p:txBody>
      </p:sp>
      <p:sp>
        <p:nvSpPr>
          <p:cNvPr id="97" name="矩形: 剪去单角 96">
            <a:extLst>
              <a:ext uri="{FF2B5EF4-FFF2-40B4-BE49-F238E27FC236}">
                <a16:creationId xmlns:a16="http://schemas.microsoft.com/office/drawing/2014/main" id="{88BF825D-35A7-4819-9E69-2EFC5E2D6FFA}"/>
              </a:ext>
            </a:extLst>
          </p:cNvPr>
          <p:cNvSpPr/>
          <p:nvPr/>
        </p:nvSpPr>
        <p:spPr>
          <a:xfrm flipV="1">
            <a:off x="7663813" y="5757225"/>
            <a:ext cx="1314436" cy="409575"/>
          </a:xfrm>
          <a:prstGeom prst="snip1Rect">
            <a:avLst>
              <a:gd name="adj" fmla="val 37597"/>
            </a:avLst>
          </a:prstGeom>
          <a:gradFill flip="none" rotWithShape="1">
            <a:gsLst>
              <a:gs pos="100000">
                <a:schemeClr val="accent1"/>
              </a:gs>
              <a:gs pos="0">
                <a:schemeClr val="accent2"/>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white"/>
              </a:solidFill>
              <a:effectLst/>
              <a:uLnTx/>
              <a:uFillTx/>
              <a:latin typeface="OPPOSans L"/>
              <a:ea typeface="思源宋体 Light" panose="02020300000000000000" pitchFamily="18" charset="-122"/>
              <a:cs typeface="+mn-cs"/>
            </a:endParaRPr>
          </a:p>
        </p:txBody>
      </p:sp>
      <p:sp>
        <p:nvSpPr>
          <p:cNvPr id="98" name="文本框 97">
            <a:extLst>
              <a:ext uri="{FF2B5EF4-FFF2-40B4-BE49-F238E27FC236}">
                <a16:creationId xmlns:a16="http://schemas.microsoft.com/office/drawing/2014/main" id="{6BD22239-1F0A-4A52-8438-56D38CD44C6C}"/>
              </a:ext>
            </a:extLst>
          </p:cNvPr>
          <p:cNvSpPr txBox="1"/>
          <p:nvPr/>
        </p:nvSpPr>
        <p:spPr>
          <a:xfrm>
            <a:off x="7803087" y="5856038"/>
            <a:ext cx="1061467" cy="246221"/>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600" b="0" i="0" u="none" strike="noStrike" kern="1200" cap="none" spc="0" normalizeH="0" baseline="0" noProof="0" dirty="0">
                <a:ln>
                  <a:noFill/>
                </a:ln>
                <a:solidFill>
                  <a:prstClr val="white"/>
                </a:solidFill>
                <a:effectLst/>
                <a:uLnTx/>
                <a:uFillTx/>
                <a:latin typeface="OPPOSans L"/>
                <a:ea typeface="思源宋体 Light" panose="02020300000000000000" pitchFamily="18" charset="-122"/>
                <a:cs typeface="+mn-cs"/>
              </a:rPr>
              <a:t>海量素材</a:t>
            </a:r>
          </a:p>
        </p:txBody>
      </p:sp>
      <p:sp>
        <p:nvSpPr>
          <p:cNvPr id="95" name="矩形: 剪去单角 94">
            <a:extLst>
              <a:ext uri="{FF2B5EF4-FFF2-40B4-BE49-F238E27FC236}">
                <a16:creationId xmlns:a16="http://schemas.microsoft.com/office/drawing/2014/main" id="{BC56E513-03BA-460A-AC01-13D99BA4B731}"/>
              </a:ext>
            </a:extLst>
          </p:cNvPr>
          <p:cNvSpPr/>
          <p:nvPr/>
        </p:nvSpPr>
        <p:spPr>
          <a:xfrm flipV="1">
            <a:off x="9284397" y="5757225"/>
            <a:ext cx="1314436" cy="409575"/>
          </a:xfrm>
          <a:prstGeom prst="snip1Rect">
            <a:avLst>
              <a:gd name="adj" fmla="val 37597"/>
            </a:avLst>
          </a:prstGeom>
          <a:gradFill flip="none" rotWithShape="1">
            <a:gsLst>
              <a:gs pos="100000">
                <a:schemeClr val="accent1"/>
              </a:gs>
              <a:gs pos="0">
                <a:schemeClr val="accent2"/>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white"/>
              </a:solidFill>
              <a:effectLst/>
              <a:uLnTx/>
              <a:uFillTx/>
              <a:latin typeface="OPPOSans L"/>
              <a:ea typeface="思源宋体 Light" panose="02020300000000000000" pitchFamily="18" charset="-122"/>
              <a:cs typeface="+mn-cs"/>
            </a:endParaRPr>
          </a:p>
        </p:txBody>
      </p:sp>
      <p:sp>
        <p:nvSpPr>
          <p:cNvPr id="96" name="文本框 95">
            <a:extLst>
              <a:ext uri="{FF2B5EF4-FFF2-40B4-BE49-F238E27FC236}">
                <a16:creationId xmlns:a16="http://schemas.microsoft.com/office/drawing/2014/main" id="{15F9F84B-7855-4242-AE72-B4AB71049A6C}"/>
              </a:ext>
            </a:extLst>
          </p:cNvPr>
          <p:cNvSpPr txBox="1"/>
          <p:nvPr/>
        </p:nvSpPr>
        <p:spPr>
          <a:xfrm>
            <a:off x="9423671" y="5856038"/>
            <a:ext cx="1061467" cy="246221"/>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600" b="0" i="0" u="none" strike="noStrike" kern="1200" cap="none" spc="0" normalizeH="0" baseline="0" noProof="0" dirty="0">
                <a:ln>
                  <a:noFill/>
                </a:ln>
                <a:solidFill>
                  <a:prstClr val="white"/>
                </a:solidFill>
                <a:effectLst/>
                <a:uLnTx/>
                <a:uFillTx/>
                <a:latin typeface="OPPOSans L"/>
                <a:ea typeface="思源宋体 Light" panose="02020300000000000000" pitchFamily="18" charset="-122"/>
                <a:cs typeface="+mn-cs"/>
              </a:rPr>
              <a:t>持续更新</a:t>
            </a:r>
          </a:p>
        </p:txBody>
      </p:sp>
      <p:sp>
        <p:nvSpPr>
          <p:cNvPr id="101" name="稿定PPT-1">
            <a:extLst>
              <a:ext uri="{FF2B5EF4-FFF2-40B4-BE49-F238E27FC236}">
                <a16:creationId xmlns:a16="http://schemas.microsoft.com/office/drawing/2014/main" id="{7CC8D2FF-1FB6-408B-847E-1B49D136E569}"/>
              </a:ext>
            </a:extLst>
          </p:cNvPr>
          <p:cNvSpPr txBox="1"/>
          <p:nvPr/>
        </p:nvSpPr>
        <p:spPr>
          <a:xfrm>
            <a:off x="809180" y="461683"/>
            <a:ext cx="3781482" cy="376573"/>
          </a:xfrm>
          <a:prstGeom prst="rect">
            <a:avLst/>
          </a:prstGeom>
          <a:noFill/>
          <a:ln>
            <a:noFill/>
          </a:ln>
        </p:spPr>
        <p:txBody>
          <a:bodyPr wrap="square" lIns="0" tIns="0" rIns="0" bIns="0" anchor="ctr" anchorCtr="0">
            <a:normAutofit/>
          </a:bodyPr>
          <a:lstStyle/>
          <a:p>
            <a:pPr marL="0" marR="0" lvl="0" indent="0" algn="l" defTabSz="913765" rtl="0" eaLnBrk="1" fontAlgn="auto" latinLnBrk="0" hangingPunct="1">
              <a:lnSpc>
                <a:spcPct val="100000"/>
              </a:lnSpc>
              <a:spcBef>
                <a:spcPts val="0"/>
              </a:spcBef>
              <a:spcAft>
                <a:spcPts val="0"/>
              </a:spcAft>
              <a:buClrTx/>
              <a:buSzPct val="25000"/>
              <a:buFontTx/>
              <a:buNone/>
              <a:tabLst/>
              <a:defRPr/>
            </a:pPr>
            <a:r>
              <a:rPr kumimoji="0" lang="zh-CN" altLang="en-US" sz="2000" b="0" i="0" u="none" strike="noStrike" kern="1200" cap="none" spc="0" normalizeH="0" baseline="0" noProof="0" dirty="0">
                <a:ln>
                  <a:noFill/>
                </a:ln>
                <a:solidFill>
                  <a:prstClr val="black"/>
                </a:solidFill>
                <a:effectLst/>
                <a:uLnTx/>
                <a:uFillTx/>
                <a:latin typeface="思源宋体 Heavy" panose="02020900000000000000" pitchFamily="18" charset="-122"/>
                <a:ea typeface="思源宋体 Heavy" panose="02020900000000000000" pitchFamily="18" charset="-122"/>
                <a:cs typeface="+mn-cs"/>
              </a:rPr>
              <a:t>秋叶</a:t>
            </a:r>
            <a:r>
              <a:rPr kumimoji="0" lang="en-US" altLang="zh-CN" sz="2000" b="0" i="0" u="none" strike="noStrike" kern="1200" cap="none" spc="0" normalizeH="0" baseline="0" noProof="0" dirty="0">
                <a:ln>
                  <a:noFill/>
                </a:ln>
                <a:solidFill>
                  <a:prstClr val="black"/>
                </a:solidFill>
                <a:effectLst/>
                <a:uLnTx/>
                <a:uFillTx/>
                <a:latin typeface="思源宋体 Heavy" panose="02020900000000000000" pitchFamily="18" charset="-122"/>
                <a:ea typeface="思源宋体 Heavy" panose="02020900000000000000" pitchFamily="18" charset="-122"/>
                <a:cs typeface="+mn-cs"/>
              </a:rPr>
              <a:t>PPT</a:t>
            </a:r>
            <a:r>
              <a:rPr kumimoji="0" lang="zh-CN" altLang="en-US" sz="2000" b="0" i="0" u="none" strike="noStrike" kern="1200" cap="none" spc="0" normalizeH="0" baseline="0" noProof="0" dirty="0">
                <a:ln>
                  <a:noFill/>
                </a:ln>
                <a:solidFill>
                  <a:prstClr val="black"/>
                </a:solidFill>
                <a:effectLst/>
                <a:uLnTx/>
                <a:uFillTx/>
                <a:latin typeface="思源宋体 Heavy" panose="02020900000000000000" pitchFamily="18" charset="-122"/>
                <a:ea typeface="思源宋体 Heavy" panose="02020900000000000000" pitchFamily="18" charset="-122"/>
                <a:cs typeface="+mn-cs"/>
              </a:rPr>
              <a:t>，海量素材持续更新</a:t>
            </a:r>
            <a:endParaRPr kumimoji="0" lang="en-US" sz="2000" b="0" i="0" u="none" strike="noStrike" kern="1200" cap="none" spc="0" normalizeH="0" baseline="0" noProof="0" dirty="0">
              <a:ln>
                <a:noFill/>
              </a:ln>
              <a:solidFill>
                <a:prstClr val="black"/>
              </a:solidFill>
              <a:effectLst/>
              <a:uLnTx/>
              <a:uFillTx/>
              <a:latin typeface="思源宋体 Heavy" panose="02020900000000000000" pitchFamily="18" charset="-122"/>
              <a:ea typeface="思源宋体 Heavy" panose="02020900000000000000" pitchFamily="18" charset="-122"/>
              <a:cs typeface="+mn-cs"/>
            </a:endParaRPr>
          </a:p>
        </p:txBody>
      </p:sp>
      <p:sp>
        <p:nvSpPr>
          <p:cNvPr id="102" name="稿定PPT-2">
            <a:extLst>
              <a:ext uri="{FF2B5EF4-FFF2-40B4-BE49-F238E27FC236}">
                <a16:creationId xmlns:a16="http://schemas.microsoft.com/office/drawing/2014/main" id="{FED10761-83DE-48FA-BCBC-81886AC51AD0}"/>
              </a:ext>
            </a:extLst>
          </p:cNvPr>
          <p:cNvSpPr txBox="1"/>
          <p:nvPr/>
        </p:nvSpPr>
        <p:spPr>
          <a:xfrm>
            <a:off x="809180" y="784980"/>
            <a:ext cx="4853526" cy="275033"/>
          </a:xfrm>
          <a:prstGeom prst="rect">
            <a:avLst/>
          </a:prstGeom>
          <a:noFill/>
          <a:ln>
            <a:noFill/>
          </a:ln>
        </p:spPr>
        <p:txBody>
          <a:bodyPr wrap="square" lIns="0" tIns="0" rIns="0" bIns="0" anchor="ctr" anchorCtr="0">
            <a:normAutofit/>
          </a:bodyPr>
          <a:lstStyle/>
          <a:p>
            <a:pPr marL="0" marR="0" lvl="0" indent="0" algn="l" defTabSz="913765" rtl="0" eaLnBrk="1" fontAlgn="auto" latinLnBrk="0" hangingPunct="1">
              <a:lnSpc>
                <a:spcPct val="100000"/>
              </a:lnSpc>
              <a:spcBef>
                <a:spcPts val="0"/>
              </a:spcBef>
              <a:spcAft>
                <a:spcPts val="0"/>
              </a:spcAft>
              <a:buClrTx/>
              <a:buSzPct val="25000"/>
              <a:buFontTx/>
              <a:buNone/>
              <a:tabLst/>
              <a:defRPr/>
            </a:pPr>
            <a:r>
              <a:rPr kumimoji="0" lang="en-US" sz="1000" b="0" i="0" u="none" strike="noStrike" kern="1200" cap="none" spc="0" normalizeH="0" baseline="0" noProof="0" dirty="0">
                <a:ln>
                  <a:noFill/>
                </a:ln>
                <a:solidFill>
                  <a:prstClr val="black"/>
                </a:solidFill>
                <a:effectLst/>
                <a:uLnTx/>
                <a:uFillTx/>
                <a:latin typeface="OPPOSans L" panose="00020600040101010101" pitchFamily="18" charset="-122"/>
                <a:ea typeface="OPPOSans L" panose="00020600040101010101" pitchFamily="18" charset="-122"/>
                <a:cs typeface="OPPOSans L" panose="00020600040101010101" pitchFamily="18" charset="-122"/>
              </a:rPr>
              <a:t>Mandamus mediocrem reprehendunt eum eu, cu pertinax ocurreret his. </a:t>
            </a:r>
          </a:p>
        </p:txBody>
      </p:sp>
      <p:sp>
        <p:nvSpPr>
          <p:cNvPr id="103" name="任意多边形: 形状 1">
            <a:extLst>
              <a:ext uri="{FF2B5EF4-FFF2-40B4-BE49-F238E27FC236}">
                <a16:creationId xmlns:a16="http://schemas.microsoft.com/office/drawing/2014/main" id="{828FE675-99CA-4FA1-8A69-74A226AF204A}"/>
              </a:ext>
            </a:extLst>
          </p:cNvPr>
          <p:cNvSpPr/>
          <p:nvPr/>
        </p:nvSpPr>
        <p:spPr>
          <a:xfrm flipV="1">
            <a:off x="469106" y="575045"/>
            <a:ext cx="160735" cy="160735"/>
          </a:xfrm>
          <a:custGeom>
            <a:avLst/>
            <a:gdLst>
              <a:gd name="connsiteX0" fmla="*/ 46435 w 92871"/>
              <a:gd name="connsiteY0" fmla="*/ 92871 h 92871"/>
              <a:gd name="connsiteX1" fmla="*/ 46430 w 92871"/>
              <a:gd name="connsiteY1" fmla="*/ 92870 h 92871"/>
              <a:gd name="connsiteX2" fmla="*/ 1 w 92871"/>
              <a:gd name="connsiteY2" fmla="*/ 92870 h 92871"/>
              <a:gd name="connsiteX3" fmla="*/ 1 w 92871"/>
              <a:gd name="connsiteY3" fmla="*/ 46441 h 92871"/>
              <a:gd name="connsiteX4" fmla="*/ 0 w 92871"/>
              <a:gd name="connsiteY4" fmla="*/ 46436 h 92871"/>
              <a:gd name="connsiteX5" fmla="*/ 1 w 92871"/>
              <a:gd name="connsiteY5" fmla="*/ 46436 h 92871"/>
              <a:gd name="connsiteX6" fmla="*/ 1 w 92871"/>
              <a:gd name="connsiteY6" fmla="*/ 46435 h 92871"/>
              <a:gd name="connsiteX7" fmla="*/ 46436 w 92871"/>
              <a:gd name="connsiteY7" fmla="*/ 0 h 92871"/>
              <a:gd name="connsiteX8" fmla="*/ 46441 w 92871"/>
              <a:gd name="connsiteY8" fmla="*/ 1 h 92871"/>
              <a:gd name="connsiteX9" fmla="*/ 92870 w 92871"/>
              <a:gd name="connsiteY9" fmla="*/ 1 h 92871"/>
              <a:gd name="connsiteX10" fmla="*/ 92870 w 92871"/>
              <a:gd name="connsiteY10" fmla="*/ 46430 h 92871"/>
              <a:gd name="connsiteX11" fmla="*/ 92871 w 92871"/>
              <a:gd name="connsiteY11" fmla="*/ 46435 h 92871"/>
              <a:gd name="connsiteX12" fmla="*/ 92870 w 92871"/>
              <a:gd name="connsiteY12" fmla="*/ 46435 h 92871"/>
              <a:gd name="connsiteX13" fmla="*/ 92870 w 92871"/>
              <a:gd name="connsiteY13" fmla="*/ 46436 h 92871"/>
              <a:gd name="connsiteX14" fmla="*/ 46435 w 92871"/>
              <a:gd name="connsiteY14" fmla="*/ 92871 h 92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2871" h="92871">
                <a:moveTo>
                  <a:pt x="46435" y="92871"/>
                </a:moveTo>
                <a:lnTo>
                  <a:pt x="46430" y="92870"/>
                </a:lnTo>
                <a:lnTo>
                  <a:pt x="1" y="92870"/>
                </a:lnTo>
                <a:lnTo>
                  <a:pt x="1" y="46441"/>
                </a:lnTo>
                <a:lnTo>
                  <a:pt x="0" y="46436"/>
                </a:lnTo>
                <a:lnTo>
                  <a:pt x="1" y="46436"/>
                </a:lnTo>
                <a:lnTo>
                  <a:pt x="1" y="46435"/>
                </a:lnTo>
                <a:cubicBezTo>
                  <a:pt x="1" y="20790"/>
                  <a:pt x="20791" y="0"/>
                  <a:pt x="46436" y="0"/>
                </a:cubicBezTo>
                <a:lnTo>
                  <a:pt x="46441" y="1"/>
                </a:lnTo>
                <a:lnTo>
                  <a:pt x="92870" y="1"/>
                </a:lnTo>
                <a:lnTo>
                  <a:pt x="92870" y="46430"/>
                </a:lnTo>
                <a:lnTo>
                  <a:pt x="92871" y="46435"/>
                </a:lnTo>
                <a:lnTo>
                  <a:pt x="92870" y="46435"/>
                </a:lnTo>
                <a:lnTo>
                  <a:pt x="92870" y="46436"/>
                </a:lnTo>
                <a:cubicBezTo>
                  <a:pt x="92870" y="72081"/>
                  <a:pt x="72080" y="92871"/>
                  <a:pt x="46435" y="92871"/>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white"/>
              </a:solidFill>
              <a:effectLst/>
              <a:uLnTx/>
              <a:uFillTx/>
              <a:latin typeface="OPPOSans L"/>
              <a:ea typeface="思源宋体 Light" panose="02020300000000000000" pitchFamily="18" charset="-122"/>
              <a:cs typeface="+mn-cs"/>
            </a:endParaRPr>
          </a:p>
        </p:txBody>
      </p:sp>
      <p:sp>
        <p:nvSpPr>
          <p:cNvPr id="104" name="任意多边形: 形状 103">
            <a:extLst>
              <a:ext uri="{FF2B5EF4-FFF2-40B4-BE49-F238E27FC236}">
                <a16:creationId xmlns:a16="http://schemas.microsoft.com/office/drawing/2014/main" id="{82230044-F2C2-4FA2-BF54-E14D05C18CE4}"/>
              </a:ext>
            </a:extLst>
          </p:cNvPr>
          <p:cNvSpPr/>
          <p:nvPr/>
        </p:nvSpPr>
        <p:spPr>
          <a:xfrm flipV="1">
            <a:off x="527894" y="626369"/>
            <a:ext cx="160735" cy="160735"/>
          </a:xfrm>
          <a:custGeom>
            <a:avLst/>
            <a:gdLst>
              <a:gd name="connsiteX0" fmla="*/ 46435 w 92871"/>
              <a:gd name="connsiteY0" fmla="*/ 92871 h 92871"/>
              <a:gd name="connsiteX1" fmla="*/ 46430 w 92871"/>
              <a:gd name="connsiteY1" fmla="*/ 92870 h 92871"/>
              <a:gd name="connsiteX2" fmla="*/ 1 w 92871"/>
              <a:gd name="connsiteY2" fmla="*/ 92870 h 92871"/>
              <a:gd name="connsiteX3" fmla="*/ 1 w 92871"/>
              <a:gd name="connsiteY3" fmla="*/ 46441 h 92871"/>
              <a:gd name="connsiteX4" fmla="*/ 0 w 92871"/>
              <a:gd name="connsiteY4" fmla="*/ 46436 h 92871"/>
              <a:gd name="connsiteX5" fmla="*/ 1 w 92871"/>
              <a:gd name="connsiteY5" fmla="*/ 46436 h 92871"/>
              <a:gd name="connsiteX6" fmla="*/ 1 w 92871"/>
              <a:gd name="connsiteY6" fmla="*/ 46435 h 92871"/>
              <a:gd name="connsiteX7" fmla="*/ 46436 w 92871"/>
              <a:gd name="connsiteY7" fmla="*/ 0 h 92871"/>
              <a:gd name="connsiteX8" fmla="*/ 46441 w 92871"/>
              <a:gd name="connsiteY8" fmla="*/ 1 h 92871"/>
              <a:gd name="connsiteX9" fmla="*/ 92870 w 92871"/>
              <a:gd name="connsiteY9" fmla="*/ 1 h 92871"/>
              <a:gd name="connsiteX10" fmla="*/ 92870 w 92871"/>
              <a:gd name="connsiteY10" fmla="*/ 46430 h 92871"/>
              <a:gd name="connsiteX11" fmla="*/ 92871 w 92871"/>
              <a:gd name="connsiteY11" fmla="*/ 46435 h 92871"/>
              <a:gd name="connsiteX12" fmla="*/ 92870 w 92871"/>
              <a:gd name="connsiteY12" fmla="*/ 46435 h 92871"/>
              <a:gd name="connsiteX13" fmla="*/ 92870 w 92871"/>
              <a:gd name="connsiteY13" fmla="*/ 46436 h 92871"/>
              <a:gd name="connsiteX14" fmla="*/ 46435 w 92871"/>
              <a:gd name="connsiteY14" fmla="*/ 92871 h 92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2871" h="92871">
                <a:moveTo>
                  <a:pt x="46435" y="92871"/>
                </a:moveTo>
                <a:lnTo>
                  <a:pt x="46430" y="92870"/>
                </a:lnTo>
                <a:lnTo>
                  <a:pt x="1" y="92870"/>
                </a:lnTo>
                <a:lnTo>
                  <a:pt x="1" y="46441"/>
                </a:lnTo>
                <a:lnTo>
                  <a:pt x="0" y="46436"/>
                </a:lnTo>
                <a:lnTo>
                  <a:pt x="1" y="46436"/>
                </a:lnTo>
                <a:lnTo>
                  <a:pt x="1" y="46435"/>
                </a:lnTo>
                <a:cubicBezTo>
                  <a:pt x="1" y="20790"/>
                  <a:pt x="20791" y="0"/>
                  <a:pt x="46436" y="0"/>
                </a:cubicBezTo>
                <a:lnTo>
                  <a:pt x="46441" y="1"/>
                </a:lnTo>
                <a:lnTo>
                  <a:pt x="92870" y="1"/>
                </a:lnTo>
                <a:lnTo>
                  <a:pt x="92870" y="46430"/>
                </a:lnTo>
                <a:lnTo>
                  <a:pt x="92871" y="46435"/>
                </a:lnTo>
                <a:lnTo>
                  <a:pt x="92870" y="46435"/>
                </a:lnTo>
                <a:lnTo>
                  <a:pt x="92870" y="46436"/>
                </a:lnTo>
                <a:cubicBezTo>
                  <a:pt x="92870" y="72081"/>
                  <a:pt x="72080" y="92871"/>
                  <a:pt x="46435" y="92871"/>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prstClr val="white"/>
              </a:solidFill>
              <a:effectLst/>
              <a:uLnTx/>
              <a:uFillTx/>
              <a:latin typeface="OPPOSans L"/>
              <a:ea typeface="思源宋体 Light" panose="02020300000000000000" pitchFamily="18" charset="-122"/>
              <a:cs typeface="+mn-cs"/>
            </a:endParaRPr>
          </a:p>
        </p:txBody>
      </p:sp>
    </p:spTree>
    <p:extLst>
      <p:ext uri="{BB962C8B-B14F-4D97-AF65-F5344CB8AC3E}">
        <p14:creationId xmlns:p14="http://schemas.microsoft.com/office/powerpoint/2010/main" val="3391390035"/>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8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0" name="Object 1086">
            <a:extLst>
              <a:ext uri="{FF2B5EF4-FFF2-40B4-BE49-F238E27FC236}">
                <a16:creationId xmlns:a16="http://schemas.microsoft.com/office/drawing/2014/main" id="{BD0A16F2-F12B-4BA8-9F3A-940CB0B6A22F}"/>
              </a:ext>
            </a:extLst>
          </p:cNvPr>
          <p:cNvSpPr txBox="1"/>
          <p:nvPr/>
        </p:nvSpPr>
        <p:spPr>
          <a:xfrm>
            <a:off x="4388346" y="552101"/>
            <a:ext cx="3415309" cy="457200"/>
          </a:xfrm>
          <a:prstGeom prst="rect">
            <a:avLst/>
          </a:prstGeom>
        </p:spPr>
        <p:txBody>
          <a:bodyPr vert="horz" rtlCol="0" anchor="t" anchorCtr="0">
            <a:noAutofit/>
          </a:bodyPr>
          <a:lstStyle>
            <a:defPPr>
              <a:defRPr lang="zh-CN"/>
            </a:defPPr>
            <a:lvl1pPr algn="ctr">
              <a:lnSpc>
                <a:spcPct val="100000"/>
              </a:lnSpc>
              <a:defRPr sz="3000">
                <a:solidFill>
                  <a:srgbClr val="1B1B1B"/>
                </a:solidFill>
                <a:latin typeface="OPPOSans H" panose="00020600040101010101" pitchFamily="18" charset="-122"/>
                <a:ea typeface="OPPOSans H" panose="00020600040101010101" pitchFamily="18" charset="-122"/>
                <a:cs typeface="OPPOSans H" panose="00020600040101010101" pitchFamily="18" charset="-122"/>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3000" b="0" i="0" u="none" strike="noStrike" kern="1200" cap="none" spc="0" normalizeH="0" baseline="0" noProof="0" dirty="0">
                <a:ln>
                  <a:noFill/>
                </a:ln>
                <a:solidFill>
                  <a:srgbClr val="1B1B1B"/>
                </a:solidFill>
                <a:effectLst/>
                <a:uLnTx/>
                <a:uFillTx/>
                <a:latin typeface="OPPOSans H" panose="00020600040101010101" pitchFamily="18" charset="-122"/>
                <a:ea typeface="OPPOSans H" panose="00020600040101010101" pitchFamily="18" charset="-122"/>
                <a:cs typeface="OPPOSans H" panose="00020600040101010101" pitchFamily="18" charset="-122"/>
              </a:rPr>
              <a:t>组织架构模板</a:t>
            </a:r>
          </a:p>
        </p:txBody>
      </p:sp>
      <p:cxnSp>
        <p:nvCxnSpPr>
          <p:cNvPr id="80" name="直接连接符 79">
            <a:extLst>
              <a:ext uri="{FF2B5EF4-FFF2-40B4-BE49-F238E27FC236}">
                <a16:creationId xmlns:a16="http://schemas.microsoft.com/office/drawing/2014/main" id="{9B2D1941-5CC9-46CB-A65F-6AAF28AE1706}"/>
              </a:ext>
            </a:extLst>
          </p:cNvPr>
          <p:cNvCxnSpPr/>
          <p:nvPr/>
        </p:nvCxnSpPr>
        <p:spPr>
          <a:xfrm flipV="1">
            <a:off x="4887973" y="1773181"/>
            <a:ext cx="1443553" cy="1084885"/>
          </a:xfrm>
          <a:prstGeom prst="line">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81" name="直接连接符 80">
            <a:extLst>
              <a:ext uri="{FF2B5EF4-FFF2-40B4-BE49-F238E27FC236}">
                <a16:creationId xmlns:a16="http://schemas.microsoft.com/office/drawing/2014/main" id="{8DB8E9FD-CCB5-455F-B737-00BC88DE2453}"/>
              </a:ext>
            </a:extLst>
          </p:cNvPr>
          <p:cNvCxnSpPr/>
          <p:nvPr/>
        </p:nvCxnSpPr>
        <p:spPr>
          <a:xfrm>
            <a:off x="6331526" y="1773181"/>
            <a:ext cx="1426647" cy="1084885"/>
          </a:xfrm>
          <a:prstGeom prst="line">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82" name="直接连接符 81">
            <a:extLst>
              <a:ext uri="{FF2B5EF4-FFF2-40B4-BE49-F238E27FC236}">
                <a16:creationId xmlns:a16="http://schemas.microsoft.com/office/drawing/2014/main" id="{38ED8518-C53B-47F9-9782-032AA2D15C58}"/>
              </a:ext>
            </a:extLst>
          </p:cNvPr>
          <p:cNvCxnSpPr/>
          <p:nvPr/>
        </p:nvCxnSpPr>
        <p:spPr>
          <a:xfrm flipH="1">
            <a:off x="6310373" y="2858066"/>
            <a:ext cx="1447800" cy="1084885"/>
          </a:xfrm>
          <a:prstGeom prst="line">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84" name="直接连接符 83">
            <a:extLst>
              <a:ext uri="{FF2B5EF4-FFF2-40B4-BE49-F238E27FC236}">
                <a16:creationId xmlns:a16="http://schemas.microsoft.com/office/drawing/2014/main" id="{96E0E45D-12AC-45B8-8476-DEDE47300B48}"/>
              </a:ext>
            </a:extLst>
          </p:cNvPr>
          <p:cNvCxnSpPr/>
          <p:nvPr/>
        </p:nvCxnSpPr>
        <p:spPr>
          <a:xfrm flipV="1">
            <a:off x="1986298" y="3942951"/>
            <a:ext cx="4345228" cy="1825293"/>
          </a:xfrm>
          <a:prstGeom prst="line">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88" name="直接连接符 87">
            <a:extLst>
              <a:ext uri="{FF2B5EF4-FFF2-40B4-BE49-F238E27FC236}">
                <a16:creationId xmlns:a16="http://schemas.microsoft.com/office/drawing/2014/main" id="{4A4EBA4A-80C6-424D-AE3C-1827EA59C375}"/>
              </a:ext>
            </a:extLst>
          </p:cNvPr>
          <p:cNvCxnSpPr/>
          <p:nvPr/>
        </p:nvCxnSpPr>
        <p:spPr>
          <a:xfrm flipV="1">
            <a:off x="4158912" y="3942951"/>
            <a:ext cx="2172614" cy="1825293"/>
          </a:xfrm>
          <a:prstGeom prst="line">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89" name="直接连接符 88">
            <a:extLst>
              <a:ext uri="{FF2B5EF4-FFF2-40B4-BE49-F238E27FC236}">
                <a16:creationId xmlns:a16="http://schemas.microsoft.com/office/drawing/2014/main" id="{5FC52A62-5554-4E5D-B2B2-ED1C7C60DB47}"/>
              </a:ext>
            </a:extLst>
          </p:cNvPr>
          <p:cNvCxnSpPr/>
          <p:nvPr/>
        </p:nvCxnSpPr>
        <p:spPr>
          <a:xfrm flipV="1">
            <a:off x="6310373" y="3942951"/>
            <a:ext cx="31089" cy="1825293"/>
          </a:xfrm>
          <a:prstGeom prst="line">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90" name="直接连接符 89">
            <a:extLst>
              <a:ext uri="{FF2B5EF4-FFF2-40B4-BE49-F238E27FC236}">
                <a16:creationId xmlns:a16="http://schemas.microsoft.com/office/drawing/2014/main" id="{E3AEA4C9-0C3E-4C90-83CE-9736542B31D0}"/>
              </a:ext>
            </a:extLst>
          </p:cNvPr>
          <p:cNvCxnSpPr/>
          <p:nvPr/>
        </p:nvCxnSpPr>
        <p:spPr>
          <a:xfrm flipH="1" flipV="1">
            <a:off x="6374466" y="3958496"/>
            <a:ext cx="2129674" cy="1809748"/>
          </a:xfrm>
          <a:prstGeom prst="line">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91" name="直接连接符 90">
            <a:extLst>
              <a:ext uri="{FF2B5EF4-FFF2-40B4-BE49-F238E27FC236}">
                <a16:creationId xmlns:a16="http://schemas.microsoft.com/office/drawing/2014/main" id="{2D655273-E92E-43F0-9394-7683D3A413A1}"/>
              </a:ext>
            </a:extLst>
          </p:cNvPr>
          <p:cNvCxnSpPr/>
          <p:nvPr/>
        </p:nvCxnSpPr>
        <p:spPr>
          <a:xfrm flipH="1" flipV="1">
            <a:off x="6362932" y="3995556"/>
            <a:ext cx="4313822" cy="1772688"/>
          </a:xfrm>
          <a:prstGeom prst="line">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92" name="椭圆 91">
            <a:extLst>
              <a:ext uri="{FF2B5EF4-FFF2-40B4-BE49-F238E27FC236}">
                <a16:creationId xmlns:a16="http://schemas.microsoft.com/office/drawing/2014/main" id="{1A50603D-5623-466D-A98C-665CC3E6DF0B}"/>
              </a:ext>
            </a:extLst>
          </p:cNvPr>
          <p:cNvSpPr/>
          <p:nvPr/>
        </p:nvSpPr>
        <p:spPr>
          <a:xfrm>
            <a:off x="5741628" y="1204436"/>
            <a:ext cx="1137490" cy="1137490"/>
          </a:xfrm>
          <a:prstGeom prst="ellipse">
            <a:avLst/>
          </a:prstGeom>
          <a:gradFill flip="none" rotWithShape="1">
            <a:gsLst>
              <a:gs pos="3000">
                <a:schemeClr val="accent1"/>
              </a:gs>
              <a:gs pos="100000">
                <a:schemeClr val="accent1">
                  <a:lumMod val="60000"/>
                  <a:lumOff val="40000"/>
                </a:schemeClr>
              </a:gs>
            </a:gsLst>
            <a:lin ang="2700000" scaled="0"/>
            <a:tileRect/>
          </a:gradFill>
          <a:ln>
            <a:noFill/>
          </a:ln>
          <a:effectLst>
            <a:outerShdw blurRad="330200" dist="381000" dir="5400000" sx="90000" sy="90000" algn="t" rotWithShape="0">
              <a:schemeClr val="accent1">
                <a:lumMod val="75000"/>
                <a:alpha val="2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5720" tIns="22860" rIns="45720" bIns="228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800" b="0" i="0" u="none" strike="noStrike" kern="1200" cap="none" spc="0" normalizeH="0" baseline="0" noProof="0" dirty="0">
                <a:ln>
                  <a:noFill/>
                </a:ln>
                <a:solidFill>
                  <a:srgbClr val="FFFFFF"/>
                </a:solidFill>
                <a:effectLst/>
                <a:uLnTx/>
                <a:uFillTx/>
                <a:latin typeface="Arial" panose="020F0502020204030204"/>
                <a:ea typeface="微软雅黑"/>
                <a:cs typeface="+mn-cs"/>
              </a:rPr>
              <a:t>部门</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800" b="0" i="0" u="none" strike="noStrike" kern="1200" cap="none" spc="0" normalizeH="0" baseline="0" noProof="0" dirty="0">
                <a:ln>
                  <a:noFill/>
                </a:ln>
                <a:solidFill>
                  <a:srgbClr val="FFFFFF"/>
                </a:solidFill>
                <a:effectLst/>
                <a:uLnTx/>
                <a:uFillTx/>
                <a:latin typeface="Arial" panose="020F0502020204030204"/>
                <a:ea typeface="微软雅黑"/>
                <a:cs typeface="+mn-cs"/>
              </a:rPr>
              <a:t>名称</a:t>
            </a:r>
          </a:p>
        </p:txBody>
      </p:sp>
      <p:sp>
        <p:nvSpPr>
          <p:cNvPr id="93" name="椭圆 92">
            <a:extLst>
              <a:ext uri="{FF2B5EF4-FFF2-40B4-BE49-F238E27FC236}">
                <a16:creationId xmlns:a16="http://schemas.microsoft.com/office/drawing/2014/main" id="{2AC90329-BA60-4ED1-941A-E843C4987AC4}"/>
              </a:ext>
            </a:extLst>
          </p:cNvPr>
          <p:cNvSpPr/>
          <p:nvPr/>
        </p:nvSpPr>
        <p:spPr>
          <a:xfrm>
            <a:off x="4319228" y="2289321"/>
            <a:ext cx="1137490" cy="1137490"/>
          </a:xfrm>
          <a:prstGeom prst="ellipse">
            <a:avLst/>
          </a:prstGeom>
          <a:gradFill flip="none" rotWithShape="1">
            <a:gsLst>
              <a:gs pos="1000">
                <a:schemeClr val="accent3"/>
              </a:gs>
              <a:gs pos="100000">
                <a:schemeClr val="accent3">
                  <a:lumMod val="60000"/>
                  <a:lumOff val="40000"/>
                </a:schemeClr>
              </a:gs>
            </a:gsLst>
            <a:lin ang="2700000" scaled="0"/>
            <a:tileRect/>
          </a:gradFill>
          <a:ln>
            <a:noFill/>
          </a:ln>
          <a:effectLst>
            <a:outerShdw blurRad="330200" dist="381000" dir="5400000" sx="90000" sy="90000" algn="t" rotWithShape="0">
              <a:schemeClr val="accent3">
                <a:lumMod val="50000"/>
                <a:alpha val="2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5720" tIns="22860" rIns="45720" bIns="228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800" b="0" i="0" u="none" strike="noStrike" kern="1200" cap="none" spc="0" normalizeH="0" baseline="0" noProof="0" dirty="0">
                <a:ln>
                  <a:noFill/>
                </a:ln>
                <a:solidFill>
                  <a:srgbClr val="FFFFFF"/>
                </a:solidFill>
                <a:effectLst/>
                <a:uLnTx/>
                <a:uFillTx/>
                <a:latin typeface="Arial" panose="020F0502020204030204"/>
                <a:ea typeface="微软雅黑"/>
                <a:cs typeface="+mn-cs"/>
              </a:rPr>
              <a:t>部门</a:t>
            </a:r>
            <a:endParaRPr kumimoji="0" lang="en-US" altLang="zh-CN" sz="1800" b="0" i="0" u="none" strike="noStrike" kern="1200" cap="none" spc="0" normalizeH="0" baseline="0" noProof="0" dirty="0">
              <a:ln>
                <a:noFill/>
              </a:ln>
              <a:solidFill>
                <a:srgbClr val="FFFFFF"/>
              </a:solidFill>
              <a:effectLst/>
              <a:uLnTx/>
              <a:uFillTx/>
              <a:latin typeface="Arial" panose="020F0502020204030204"/>
              <a:ea typeface="微软雅黑"/>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800" b="0" i="0" u="none" strike="noStrike" kern="1200" cap="none" spc="0" normalizeH="0" baseline="0" noProof="0" dirty="0">
                <a:ln>
                  <a:noFill/>
                </a:ln>
                <a:solidFill>
                  <a:srgbClr val="FFFFFF"/>
                </a:solidFill>
                <a:effectLst/>
                <a:uLnTx/>
                <a:uFillTx/>
                <a:latin typeface="Arial" panose="020F0502020204030204"/>
                <a:ea typeface="微软雅黑"/>
                <a:cs typeface="+mn-cs"/>
              </a:rPr>
              <a:t>名称</a:t>
            </a:r>
          </a:p>
        </p:txBody>
      </p:sp>
      <p:sp>
        <p:nvSpPr>
          <p:cNvPr id="100" name="椭圆 99">
            <a:extLst>
              <a:ext uri="{FF2B5EF4-FFF2-40B4-BE49-F238E27FC236}">
                <a16:creationId xmlns:a16="http://schemas.microsoft.com/office/drawing/2014/main" id="{8AF489D9-F067-4580-B509-5A41BE836E8F}"/>
              </a:ext>
            </a:extLst>
          </p:cNvPr>
          <p:cNvSpPr/>
          <p:nvPr/>
        </p:nvSpPr>
        <p:spPr>
          <a:xfrm>
            <a:off x="7189428" y="2289321"/>
            <a:ext cx="1137490" cy="1137490"/>
          </a:xfrm>
          <a:prstGeom prst="ellipse">
            <a:avLst/>
          </a:prstGeom>
          <a:gradFill flip="none" rotWithShape="1">
            <a:gsLst>
              <a:gs pos="1000">
                <a:schemeClr val="accent2"/>
              </a:gs>
              <a:gs pos="100000">
                <a:schemeClr val="accent2">
                  <a:lumMod val="60000"/>
                  <a:lumOff val="40000"/>
                </a:schemeClr>
              </a:gs>
            </a:gsLst>
            <a:lin ang="2700000" scaled="0"/>
            <a:tileRect/>
          </a:gradFill>
          <a:ln>
            <a:noFill/>
          </a:ln>
          <a:effectLst>
            <a:outerShdw blurRad="330200" dist="381000" dir="5400000" sx="90000" sy="90000" algn="t" rotWithShape="0">
              <a:schemeClr val="accent2">
                <a:lumMod val="75000"/>
                <a:alpha val="2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5720" tIns="22860" rIns="45720" bIns="228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800" b="0" i="0" u="none" strike="noStrike" kern="1200" cap="none" spc="0" normalizeH="0" baseline="0" noProof="0" dirty="0">
                <a:ln>
                  <a:noFill/>
                </a:ln>
                <a:solidFill>
                  <a:srgbClr val="FFFFFF"/>
                </a:solidFill>
                <a:effectLst/>
                <a:uLnTx/>
                <a:uFillTx/>
                <a:latin typeface="Arial" panose="020F0502020204030204"/>
                <a:ea typeface="微软雅黑"/>
                <a:cs typeface="+mn-cs"/>
              </a:rPr>
              <a:t>部门</a:t>
            </a:r>
            <a:endParaRPr kumimoji="0" lang="en-US" altLang="zh-CN" sz="1800" b="0" i="0" u="none" strike="noStrike" kern="1200" cap="none" spc="0" normalizeH="0" baseline="0" noProof="0" dirty="0">
              <a:ln>
                <a:noFill/>
              </a:ln>
              <a:solidFill>
                <a:srgbClr val="FFFFFF"/>
              </a:solidFill>
              <a:effectLst/>
              <a:uLnTx/>
              <a:uFillTx/>
              <a:latin typeface="Arial" panose="020F0502020204030204"/>
              <a:ea typeface="微软雅黑"/>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800" b="0" i="0" u="none" strike="noStrike" kern="1200" cap="none" spc="0" normalizeH="0" baseline="0" noProof="0" dirty="0">
                <a:ln>
                  <a:noFill/>
                </a:ln>
                <a:solidFill>
                  <a:srgbClr val="FFFFFF"/>
                </a:solidFill>
                <a:effectLst/>
                <a:uLnTx/>
                <a:uFillTx/>
                <a:latin typeface="Arial" panose="020F0502020204030204"/>
                <a:ea typeface="微软雅黑"/>
                <a:cs typeface="+mn-cs"/>
              </a:rPr>
              <a:t>名称</a:t>
            </a:r>
          </a:p>
        </p:txBody>
      </p:sp>
      <p:sp>
        <p:nvSpPr>
          <p:cNvPr id="102" name="椭圆 101">
            <a:extLst>
              <a:ext uri="{FF2B5EF4-FFF2-40B4-BE49-F238E27FC236}">
                <a16:creationId xmlns:a16="http://schemas.microsoft.com/office/drawing/2014/main" id="{6A33F167-404E-4CEC-8489-92E9BB6F7F00}"/>
              </a:ext>
            </a:extLst>
          </p:cNvPr>
          <p:cNvSpPr/>
          <p:nvPr/>
        </p:nvSpPr>
        <p:spPr>
          <a:xfrm>
            <a:off x="5741628" y="3374206"/>
            <a:ext cx="1137490" cy="1137490"/>
          </a:xfrm>
          <a:prstGeom prst="ellipse">
            <a:avLst/>
          </a:prstGeom>
          <a:gradFill flip="none" rotWithShape="1">
            <a:gsLst>
              <a:gs pos="1000">
                <a:schemeClr val="accent5">
                  <a:lumMod val="75000"/>
                </a:schemeClr>
              </a:gs>
              <a:gs pos="100000">
                <a:schemeClr val="accent5"/>
              </a:gs>
            </a:gsLst>
            <a:lin ang="2700000" scaled="0"/>
            <a:tileRect/>
          </a:gradFill>
          <a:ln>
            <a:noFill/>
          </a:ln>
          <a:effectLst>
            <a:outerShdw blurRad="330200" dist="381000" dir="5400000" sx="90000" sy="90000" algn="t" rotWithShape="0">
              <a:schemeClr val="accent5">
                <a:lumMod val="50000"/>
                <a:alpha val="2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5720" tIns="22860" rIns="45720" bIns="228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800" b="0" i="0" u="none" strike="noStrike" kern="1200" cap="none" spc="0" normalizeH="0" baseline="0" noProof="0" dirty="0">
                <a:ln>
                  <a:noFill/>
                </a:ln>
                <a:solidFill>
                  <a:srgbClr val="FFFFFF"/>
                </a:solidFill>
                <a:effectLst/>
                <a:uLnTx/>
                <a:uFillTx/>
                <a:latin typeface="Arial" panose="020F0502020204030204"/>
                <a:ea typeface="微软雅黑"/>
                <a:cs typeface="+mn-cs"/>
              </a:rPr>
              <a:t>部门</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800" b="0" i="0" u="none" strike="noStrike" kern="1200" cap="none" spc="0" normalizeH="0" baseline="0" noProof="0" dirty="0">
                <a:ln>
                  <a:noFill/>
                </a:ln>
                <a:solidFill>
                  <a:srgbClr val="FFFFFF"/>
                </a:solidFill>
                <a:effectLst/>
                <a:uLnTx/>
                <a:uFillTx/>
                <a:latin typeface="Arial" panose="020F0502020204030204"/>
                <a:ea typeface="微软雅黑"/>
                <a:cs typeface="+mn-cs"/>
              </a:rPr>
              <a:t>名称</a:t>
            </a:r>
          </a:p>
        </p:txBody>
      </p:sp>
      <p:sp>
        <p:nvSpPr>
          <p:cNvPr id="103" name="椭圆 102">
            <a:extLst>
              <a:ext uri="{FF2B5EF4-FFF2-40B4-BE49-F238E27FC236}">
                <a16:creationId xmlns:a16="http://schemas.microsoft.com/office/drawing/2014/main" id="{E57CC8EA-85BC-4729-B695-8058BB7FE074}"/>
              </a:ext>
            </a:extLst>
          </p:cNvPr>
          <p:cNvSpPr/>
          <p:nvPr/>
        </p:nvSpPr>
        <p:spPr>
          <a:xfrm>
            <a:off x="1448642" y="5230589"/>
            <a:ext cx="1075312" cy="1075310"/>
          </a:xfrm>
          <a:prstGeom prst="ellipse">
            <a:avLst/>
          </a:prstGeom>
          <a:solidFill>
            <a:schemeClr val="bg1"/>
          </a:solidFill>
          <a:ln w="3810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5720" tIns="22860" rIns="45720" bIns="228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2000" b="0" i="0" u="none" strike="noStrike" kern="1200" cap="none" spc="0" normalizeH="0" baseline="0" noProof="0" dirty="0">
              <a:ln>
                <a:noFill/>
              </a:ln>
              <a:solidFill>
                <a:srgbClr val="FFFFFF"/>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p:txBody>
      </p:sp>
      <p:sp>
        <p:nvSpPr>
          <p:cNvPr id="107" name="椭圆 106">
            <a:extLst>
              <a:ext uri="{FF2B5EF4-FFF2-40B4-BE49-F238E27FC236}">
                <a16:creationId xmlns:a16="http://schemas.microsoft.com/office/drawing/2014/main" id="{EA6ED83F-512D-40F0-A78A-6DA273ED47DE}"/>
              </a:ext>
            </a:extLst>
          </p:cNvPr>
          <p:cNvSpPr/>
          <p:nvPr/>
        </p:nvSpPr>
        <p:spPr>
          <a:xfrm>
            <a:off x="1565611" y="5347558"/>
            <a:ext cx="841374" cy="841372"/>
          </a:xfrm>
          <a:prstGeom prst="ellipse">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5720" tIns="22860" rIns="45720" bIns="228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800" b="0" i="0" u="none" strike="noStrike" kern="1200" cap="none" spc="0" normalizeH="0" baseline="0" noProof="0">
                <a:ln>
                  <a:noFill/>
                </a:ln>
                <a:solidFill>
                  <a:srgbClr val="000000">
                    <a:lumMod val="75000"/>
                    <a:lumOff val="25000"/>
                  </a:srgbClr>
                </a:solidFill>
                <a:effectLst/>
                <a:uLnTx/>
                <a:uFillTx/>
                <a:latin typeface="Arial" panose="020F0502020204030204"/>
                <a:ea typeface="微软雅黑"/>
                <a:cs typeface="+mn-cs"/>
              </a:rPr>
              <a:t>部门</a:t>
            </a:r>
            <a:endParaRPr kumimoji="0" lang="en-US" altLang="zh-CN" sz="1800" b="0" i="0" u="none" strike="noStrike" kern="1200" cap="none" spc="0" normalizeH="0" baseline="0" noProof="0" dirty="0">
              <a:ln>
                <a:noFill/>
              </a:ln>
              <a:solidFill>
                <a:srgbClr val="000000">
                  <a:lumMod val="75000"/>
                  <a:lumOff val="25000"/>
                </a:srgbClr>
              </a:solidFill>
              <a:effectLst/>
              <a:uLnTx/>
              <a:uFillTx/>
              <a:latin typeface="Arial" panose="020F0502020204030204"/>
              <a:ea typeface="微软雅黑"/>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800" b="0" i="0" u="none" strike="noStrike" kern="1200" cap="none" spc="0" normalizeH="0" baseline="0" noProof="0" dirty="0">
                <a:ln>
                  <a:noFill/>
                </a:ln>
                <a:solidFill>
                  <a:srgbClr val="000000">
                    <a:lumMod val="75000"/>
                    <a:lumOff val="25000"/>
                  </a:srgbClr>
                </a:solidFill>
                <a:effectLst/>
                <a:uLnTx/>
                <a:uFillTx/>
                <a:latin typeface="Arial" panose="020F0502020204030204"/>
                <a:ea typeface="微软雅黑"/>
                <a:cs typeface="+mn-cs"/>
              </a:rPr>
              <a:t>名称</a:t>
            </a:r>
          </a:p>
        </p:txBody>
      </p:sp>
      <p:sp>
        <p:nvSpPr>
          <p:cNvPr id="108" name="椭圆 107">
            <a:extLst>
              <a:ext uri="{FF2B5EF4-FFF2-40B4-BE49-F238E27FC236}">
                <a16:creationId xmlns:a16="http://schemas.microsoft.com/office/drawing/2014/main" id="{123FDA40-B620-4F17-A5F4-B6536FF5704E}"/>
              </a:ext>
            </a:extLst>
          </p:cNvPr>
          <p:cNvSpPr/>
          <p:nvPr/>
        </p:nvSpPr>
        <p:spPr>
          <a:xfrm>
            <a:off x="3621256" y="5230589"/>
            <a:ext cx="1075312" cy="1075310"/>
          </a:xfrm>
          <a:prstGeom prst="ellipse">
            <a:avLst/>
          </a:prstGeom>
          <a:solidFill>
            <a:schemeClr val="bg1"/>
          </a:solidFill>
          <a:ln w="3810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5720" tIns="22860" rIns="45720" bIns="228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2000" b="0" i="0" u="none" strike="noStrike" kern="1200" cap="none" spc="0" normalizeH="0" baseline="0" noProof="0" dirty="0">
              <a:ln>
                <a:noFill/>
              </a:ln>
              <a:solidFill>
                <a:srgbClr val="FFFFFF"/>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p:txBody>
      </p:sp>
      <p:sp>
        <p:nvSpPr>
          <p:cNvPr id="110" name="椭圆 109">
            <a:extLst>
              <a:ext uri="{FF2B5EF4-FFF2-40B4-BE49-F238E27FC236}">
                <a16:creationId xmlns:a16="http://schemas.microsoft.com/office/drawing/2014/main" id="{3A88F7C8-1E55-46EE-B470-2E17E02D9EAF}"/>
              </a:ext>
            </a:extLst>
          </p:cNvPr>
          <p:cNvSpPr/>
          <p:nvPr/>
        </p:nvSpPr>
        <p:spPr>
          <a:xfrm>
            <a:off x="3738225" y="5347558"/>
            <a:ext cx="841374" cy="841372"/>
          </a:xfrm>
          <a:prstGeom prst="ellipse">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5720" tIns="22860" rIns="45720" bIns="228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800" b="0" i="0" u="none" strike="noStrike" kern="1200" cap="none" spc="0" normalizeH="0" baseline="0" noProof="0">
                <a:ln>
                  <a:noFill/>
                </a:ln>
                <a:solidFill>
                  <a:srgbClr val="000000">
                    <a:lumMod val="75000"/>
                    <a:lumOff val="25000"/>
                  </a:srgbClr>
                </a:solidFill>
                <a:effectLst/>
                <a:uLnTx/>
                <a:uFillTx/>
                <a:latin typeface="Arial" panose="020F0502020204030204"/>
                <a:ea typeface="微软雅黑"/>
                <a:cs typeface="+mn-cs"/>
              </a:rPr>
              <a:t>部门</a:t>
            </a:r>
            <a:endParaRPr kumimoji="0" lang="en-US" altLang="zh-CN" sz="1800" b="0" i="0" u="none" strike="noStrike" kern="1200" cap="none" spc="0" normalizeH="0" baseline="0" noProof="0" dirty="0">
              <a:ln>
                <a:noFill/>
              </a:ln>
              <a:solidFill>
                <a:srgbClr val="000000">
                  <a:lumMod val="75000"/>
                  <a:lumOff val="25000"/>
                </a:srgbClr>
              </a:solidFill>
              <a:effectLst/>
              <a:uLnTx/>
              <a:uFillTx/>
              <a:latin typeface="Arial" panose="020F0502020204030204"/>
              <a:ea typeface="微软雅黑"/>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800" b="0" i="0" u="none" strike="noStrike" kern="1200" cap="none" spc="0" normalizeH="0" baseline="0" noProof="0" dirty="0">
                <a:ln>
                  <a:noFill/>
                </a:ln>
                <a:solidFill>
                  <a:srgbClr val="000000">
                    <a:lumMod val="75000"/>
                    <a:lumOff val="25000"/>
                  </a:srgbClr>
                </a:solidFill>
                <a:effectLst/>
                <a:uLnTx/>
                <a:uFillTx/>
                <a:latin typeface="Arial" panose="020F0502020204030204"/>
                <a:ea typeface="微软雅黑"/>
                <a:cs typeface="+mn-cs"/>
              </a:rPr>
              <a:t>名称</a:t>
            </a:r>
          </a:p>
        </p:txBody>
      </p:sp>
      <p:sp>
        <p:nvSpPr>
          <p:cNvPr id="111" name="椭圆 110">
            <a:extLst>
              <a:ext uri="{FF2B5EF4-FFF2-40B4-BE49-F238E27FC236}">
                <a16:creationId xmlns:a16="http://schemas.microsoft.com/office/drawing/2014/main" id="{4160A6E9-34C8-4819-BF46-0C92E28591C2}"/>
              </a:ext>
            </a:extLst>
          </p:cNvPr>
          <p:cNvSpPr/>
          <p:nvPr/>
        </p:nvSpPr>
        <p:spPr>
          <a:xfrm>
            <a:off x="5793870" y="5230589"/>
            <a:ext cx="1075312" cy="1075310"/>
          </a:xfrm>
          <a:prstGeom prst="ellipse">
            <a:avLst/>
          </a:prstGeom>
          <a:solidFill>
            <a:schemeClr val="bg1"/>
          </a:solidFill>
          <a:ln w="3810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5720" tIns="22860" rIns="45720" bIns="228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2000" b="0" i="0" u="none" strike="noStrike" kern="1200" cap="none" spc="0" normalizeH="0" baseline="0" noProof="0" dirty="0">
              <a:ln>
                <a:noFill/>
              </a:ln>
              <a:solidFill>
                <a:srgbClr val="FFFFFF"/>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p:txBody>
      </p:sp>
      <p:sp>
        <p:nvSpPr>
          <p:cNvPr id="117" name="椭圆 116">
            <a:extLst>
              <a:ext uri="{FF2B5EF4-FFF2-40B4-BE49-F238E27FC236}">
                <a16:creationId xmlns:a16="http://schemas.microsoft.com/office/drawing/2014/main" id="{5BF2AC25-4D50-4548-960A-7785E9DF2A99}"/>
              </a:ext>
            </a:extLst>
          </p:cNvPr>
          <p:cNvSpPr/>
          <p:nvPr/>
        </p:nvSpPr>
        <p:spPr>
          <a:xfrm>
            <a:off x="5910839" y="5347558"/>
            <a:ext cx="841374" cy="841372"/>
          </a:xfrm>
          <a:prstGeom prst="ellipse">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5720" tIns="22860" rIns="45720" bIns="228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800" b="0" i="0" u="none" strike="noStrike" kern="1200" cap="none" spc="0" normalizeH="0" baseline="0" noProof="0">
                <a:ln>
                  <a:noFill/>
                </a:ln>
                <a:solidFill>
                  <a:srgbClr val="000000">
                    <a:lumMod val="75000"/>
                    <a:lumOff val="25000"/>
                  </a:srgbClr>
                </a:solidFill>
                <a:effectLst/>
                <a:uLnTx/>
                <a:uFillTx/>
                <a:latin typeface="Arial" panose="020F0502020204030204"/>
                <a:ea typeface="微软雅黑"/>
                <a:cs typeface="+mn-cs"/>
              </a:rPr>
              <a:t>部门</a:t>
            </a:r>
            <a:endParaRPr kumimoji="0" lang="en-US" altLang="zh-CN" sz="1800" b="0" i="0" u="none" strike="noStrike" kern="1200" cap="none" spc="0" normalizeH="0" baseline="0" noProof="0" dirty="0">
              <a:ln>
                <a:noFill/>
              </a:ln>
              <a:solidFill>
                <a:srgbClr val="000000">
                  <a:lumMod val="75000"/>
                  <a:lumOff val="25000"/>
                </a:srgbClr>
              </a:solidFill>
              <a:effectLst/>
              <a:uLnTx/>
              <a:uFillTx/>
              <a:latin typeface="Arial" panose="020F0502020204030204"/>
              <a:ea typeface="微软雅黑"/>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800" b="0" i="0" u="none" strike="noStrike" kern="1200" cap="none" spc="0" normalizeH="0" baseline="0" noProof="0" dirty="0">
                <a:ln>
                  <a:noFill/>
                </a:ln>
                <a:solidFill>
                  <a:srgbClr val="000000">
                    <a:lumMod val="75000"/>
                    <a:lumOff val="25000"/>
                  </a:srgbClr>
                </a:solidFill>
                <a:effectLst/>
                <a:uLnTx/>
                <a:uFillTx/>
                <a:latin typeface="Arial" panose="020F0502020204030204"/>
                <a:ea typeface="微软雅黑"/>
                <a:cs typeface="+mn-cs"/>
              </a:rPr>
              <a:t>名称</a:t>
            </a:r>
          </a:p>
        </p:txBody>
      </p:sp>
      <p:sp>
        <p:nvSpPr>
          <p:cNvPr id="122" name="椭圆 121">
            <a:extLst>
              <a:ext uri="{FF2B5EF4-FFF2-40B4-BE49-F238E27FC236}">
                <a16:creationId xmlns:a16="http://schemas.microsoft.com/office/drawing/2014/main" id="{29A28D2A-2552-45BF-86EF-DAE8FBDDA501}"/>
              </a:ext>
            </a:extLst>
          </p:cNvPr>
          <p:cNvSpPr/>
          <p:nvPr/>
        </p:nvSpPr>
        <p:spPr>
          <a:xfrm>
            <a:off x="7966484" y="5230589"/>
            <a:ext cx="1075312" cy="1075310"/>
          </a:xfrm>
          <a:prstGeom prst="ellipse">
            <a:avLst/>
          </a:prstGeom>
          <a:solidFill>
            <a:schemeClr val="bg1"/>
          </a:solidFill>
          <a:ln w="3810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5720" tIns="22860" rIns="45720" bIns="228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2000" b="0" i="0" u="none" strike="noStrike" kern="1200" cap="none" spc="0" normalizeH="0" baseline="0" noProof="0" dirty="0">
              <a:ln>
                <a:noFill/>
              </a:ln>
              <a:solidFill>
                <a:srgbClr val="FFFFFF"/>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p:txBody>
      </p:sp>
      <p:sp>
        <p:nvSpPr>
          <p:cNvPr id="123" name="椭圆 122">
            <a:extLst>
              <a:ext uri="{FF2B5EF4-FFF2-40B4-BE49-F238E27FC236}">
                <a16:creationId xmlns:a16="http://schemas.microsoft.com/office/drawing/2014/main" id="{B04A0A72-0964-4C70-8A6D-75FC2DBF8B23}"/>
              </a:ext>
            </a:extLst>
          </p:cNvPr>
          <p:cNvSpPr/>
          <p:nvPr/>
        </p:nvSpPr>
        <p:spPr>
          <a:xfrm>
            <a:off x="8083453" y="5347558"/>
            <a:ext cx="841374" cy="841372"/>
          </a:xfrm>
          <a:prstGeom prst="ellipse">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5720" tIns="22860" rIns="45720" bIns="228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800" b="0" i="0" u="none" strike="noStrike" kern="1200" cap="none" spc="0" normalizeH="0" baseline="0" noProof="0">
                <a:ln>
                  <a:noFill/>
                </a:ln>
                <a:solidFill>
                  <a:srgbClr val="000000">
                    <a:lumMod val="75000"/>
                    <a:lumOff val="25000"/>
                  </a:srgbClr>
                </a:solidFill>
                <a:effectLst/>
                <a:uLnTx/>
                <a:uFillTx/>
                <a:latin typeface="Arial" panose="020F0502020204030204"/>
                <a:ea typeface="微软雅黑"/>
                <a:cs typeface="+mn-cs"/>
              </a:rPr>
              <a:t>部门</a:t>
            </a:r>
            <a:endParaRPr kumimoji="0" lang="en-US" altLang="zh-CN" sz="1800" b="0" i="0" u="none" strike="noStrike" kern="1200" cap="none" spc="0" normalizeH="0" baseline="0" noProof="0" dirty="0">
              <a:ln>
                <a:noFill/>
              </a:ln>
              <a:solidFill>
                <a:srgbClr val="000000">
                  <a:lumMod val="75000"/>
                  <a:lumOff val="25000"/>
                </a:srgbClr>
              </a:solidFill>
              <a:effectLst/>
              <a:uLnTx/>
              <a:uFillTx/>
              <a:latin typeface="Arial" panose="020F0502020204030204"/>
              <a:ea typeface="微软雅黑"/>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800" b="0" i="0" u="none" strike="noStrike" kern="1200" cap="none" spc="0" normalizeH="0" baseline="0" noProof="0" dirty="0">
                <a:ln>
                  <a:noFill/>
                </a:ln>
                <a:solidFill>
                  <a:srgbClr val="000000">
                    <a:lumMod val="75000"/>
                    <a:lumOff val="25000"/>
                  </a:srgbClr>
                </a:solidFill>
                <a:effectLst/>
                <a:uLnTx/>
                <a:uFillTx/>
                <a:latin typeface="Arial" panose="020F0502020204030204"/>
                <a:ea typeface="微软雅黑"/>
                <a:cs typeface="+mn-cs"/>
              </a:rPr>
              <a:t>名称</a:t>
            </a:r>
          </a:p>
        </p:txBody>
      </p:sp>
      <p:sp>
        <p:nvSpPr>
          <p:cNvPr id="125" name="椭圆 124">
            <a:extLst>
              <a:ext uri="{FF2B5EF4-FFF2-40B4-BE49-F238E27FC236}">
                <a16:creationId xmlns:a16="http://schemas.microsoft.com/office/drawing/2014/main" id="{2507CF45-C1FF-4947-88E3-1D83744590CC}"/>
              </a:ext>
            </a:extLst>
          </p:cNvPr>
          <p:cNvSpPr/>
          <p:nvPr/>
        </p:nvSpPr>
        <p:spPr>
          <a:xfrm>
            <a:off x="10139098" y="5230589"/>
            <a:ext cx="1075312" cy="1075310"/>
          </a:xfrm>
          <a:prstGeom prst="ellipse">
            <a:avLst/>
          </a:prstGeom>
          <a:solidFill>
            <a:schemeClr val="bg1"/>
          </a:solidFill>
          <a:ln w="3810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5720" tIns="22860" rIns="45720" bIns="228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2000" b="0" i="0" u="none" strike="noStrike" kern="1200" cap="none" spc="0" normalizeH="0" baseline="0" noProof="0" dirty="0">
              <a:ln>
                <a:noFill/>
              </a:ln>
              <a:solidFill>
                <a:srgbClr val="FFFFFF"/>
              </a:solidFill>
              <a:effectLst/>
              <a:uLnTx/>
              <a:uFillTx/>
              <a:latin typeface="OPPOSans R" panose="00020600040101010101" pitchFamily="18" charset="-122"/>
              <a:ea typeface="OPPOSans R" panose="00020600040101010101" pitchFamily="18" charset="-122"/>
              <a:cs typeface="OPPOSans R" panose="00020600040101010101" pitchFamily="18" charset="-122"/>
            </a:endParaRPr>
          </a:p>
        </p:txBody>
      </p:sp>
      <p:sp>
        <p:nvSpPr>
          <p:cNvPr id="126" name="椭圆 125">
            <a:extLst>
              <a:ext uri="{FF2B5EF4-FFF2-40B4-BE49-F238E27FC236}">
                <a16:creationId xmlns:a16="http://schemas.microsoft.com/office/drawing/2014/main" id="{F914D3E8-FDC7-4EB3-881E-07366469F161}"/>
              </a:ext>
            </a:extLst>
          </p:cNvPr>
          <p:cNvSpPr/>
          <p:nvPr/>
        </p:nvSpPr>
        <p:spPr>
          <a:xfrm>
            <a:off x="10256067" y="5347558"/>
            <a:ext cx="841374" cy="841372"/>
          </a:xfrm>
          <a:prstGeom prst="ellipse">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5720" tIns="22860" rIns="45720" bIns="228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800" b="0" i="0" u="none" strike="noStrike" kern="1200" cap="none" spc="0" normalizeH="0" baseline="0" noProof="0">
                <a:ln>
                  <a:noFill/>
                </a:ln>
                <a:solidFill>
                  <a:srgbClr val="000000">
                    <a:lumMod val="75000"/>
                    <a:lumOff val="25000"/>
                  </a:srgbClr>
                </a:solidFill>
                <a:effectLst/>
                <a:uLnTx/>
                <a:uFillTx/>
                <a:latin typeface="Arial" panose="020F0502020204030204"/>
                <a:ea typeface="微软雅黑"/>
                <a:cs typeface="+mn-cs"/>
              </a:rPr>
              <a:t>部门</a:t>
            </a:r>
            <a:endParaRPr kumimoji="0" lang="en-US" altLang="zh-CN" sz="1800" b="0" i="0" u="none" strike="noStrike" kern="1200" cap="none" spc="0" normalizeH="0" baseline="0" noProof="0" dirty="0">
              <a:ln>
                <a:noFill/>
              </a:ln>
              <a:solidFill>
                <a:srgbClr val="000000">
                  <a:lumMod val="75000"/>
                  <a:lumOff val="25000"/>
                </a:srgbClr>
              </a:solidFill>
              <a:effectLst/>
              <a:uLnTx/>
              <a:uFillTx/>
              <a:latin typeface="Arial" panose="020F0502020204030204"/>
              <a:ea typeface="微软雅黑"/>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800" b="0" i="0" u="none" strike="noStrike" kern="1200" cap="none" spc="0" normalizeH="0" baseline="0" noProof="0" dirty="0">
                <a:ln>
                  <a:noFill/>
                </a:ln>
                <a:solidFill>
                  <a:srgbClr val="000000">
                    <a:lumMod val="75000"/>
                    <a:lumOff val="25000"/>
                  </a:srgbClr>
                </a:solidFill>
                <a:effectLst/>
                <a:uLnTx/>
                <a:uFillTx/>
                <a:latin typeface="Arial" panose="020F0502020204030204"/>
                <a:ea typeface="微软雅黑"/>
                <a:cs typeface="+mn-cs"/>
              </a:rPr>
              <a:t>名称</a:t>
            </a:r>
          </a:p>
        </p:txBody>
      </p:sp>
    </p:spTree>
    <p:extLst>
      <p:ext uri="{BB962C8B-B14F-4D97-AF65-F5344CB8AC3E}">
        <p14:creationId xmlns:p14="http://schemas.microsoft.com/office/powerpoint/2010/main" val="2798557588"/>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矩形 38">
            <a:extLst>
              <a:ext uri="{FF2B5EF4-FFF2-40B4-BE49-F238E27FC236}">
                <a16:creationId xmlns:a16="http://schemas.microsoft.com/office/drawing/2014/main" id="{BCBAADDA-46B0-449B-ABE6-74CF68648E02}"/>
              </a:ext>
            </a:extLst>
          </p:cNvPr>
          <p:cNvSpPr/>
          <p:nvPr/>
        </p:nvSpPr>
        <p:spPr>
          <a:xfrm>
            <a:off x="4992624" y="0"/>
            <a:ext cx="7199376" cy="6858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p>
        </p:txBody>
      </p:sp>
      <p:sp>
        <p:nvSpPr>
          <p:cNvPr id="2" name="文本框 1">
            <a:extLst>
              <a:ext uri="{FF2B5EF4-FFF2-40B4-BE49-F238E27FC236}">
                <a16:creationId xmlns:a16="http://schemas.microsoft.com/office/drawing/2014/main" id="{86AFE861-893E-45E1-B941-37BBD2485343}"/>
              </a:ext>
            </a:extLst>
          </p:cNvPr>
          <p:cNvSpPr txBox="1"/>
          <p:nvPr/>
        </p:nvSpPr>
        <p:spPr>
          <a:xfrm>
            <a:off x="691976" y="502180"/>
            <a:ext cx="2270299" cy="1231106"/>
          </a:xfrm>
          <a:prstGeom prst="rect">
            <a:avLst/>
          </a:prstGeom>
          <a:noFill/>
        </p:spPr>
        <p:txBody>
          <a:bodyPr wrap="square" lIns="0" tIns="0" rIns="0" bIns="0" rtlCol="0" anchor="t">
            <a:spAutoFit/>
          </a:bodyPr>
          <a:lstStyle/>
          <a:p>
            <a:pPr algn="dist"/>
            <a:r>
              <a:rPr lang="zh-CN" altLang="en-US" sz="8000" dirty="0">
                <a:solidFill>
                  <a:schemeClr val="accent1"/>
                </a:solidFill>
                <a:latin typeface="+mj-ea"/>
                <a:ea typeface="+mj-ea"/>
              </a:rPr>
              <a:t>目录</a:t>
            </a:r>
          </a:p>
        </p:txBody>
      </p:sp>
      <p:sp>
        <p:nvSpPr>
          <p:cNvPr id="3" name="文本框 2">
            <a:extLst>
              <a:ext uri="{FF2B5EF4-FFF2-40B4-BE49-F238E27FC236}">
                <a16:creationId xmlns:a16="http://schemas.microsoft.com/office/drawing/2014/main" id="{F2C15519-4F9B-426A-9335-7B4AB3BB5A24}"/>
              </a:ext>
            </a:extLst>
          </p:cNvPr>
          <p:cNvSpPr txBox="1"/>
          <p:nvPr/>
        </p:nvSpPr>
        <p:spPr>
          <a:xfrm>
            <a:off x="828674" y="1698857"/>
            <a:ext cx="2076451" cy="246221"/>
          </a:xfrm>
          <a:prstGeom prst="rect">
            <a:avLst/>
          </a:prstGeom>
          <a:noFill/>
        </p:spPr>
        <p:txBody>
          <a:bodyPr wrap="square" lIns="0" tIns="0" rIns="0" bIns="0" rtlCol="0" anchor="t">
            <a:spAutoFit/>
          </a:bodyPr>
          <a:lstStyle/>
          <a:p>
            <a:pPr algn="dist"/>
            <a:r>
              <a:rPr lang="en-US" altLang="zh-CN" sz="1600" dirty="0">
                <a:solidFill>
                  <a:schemeClr val="accent1"/>
                </a:solidFill>
              </a:rPr>
              <a:t>CONTENTS</a:t>
            </a:r>
            <a:endParaRPr lang="zh-CN" altLang="en-US" sz="1600" dirty="0">
              <a:solidFill>
                <a:schemeClr val="accent1"/>
              </a:solidFill>
            </a:endParaRPr>
          </a:p>
        </p:txBody>
      </p:sp>
      <p:sp>
        <p:nvSpPr>
          <p:cNvPr id="4" name="矩形: 圆角 3">
            <a:extLst>
              <a:ext uri="{FF2B5EF4-FFF2-40B4-BE49-F238E27FC236}">
                <a16:creationId xmlns:a16="http://schemas.microsoft.com/office/drawing/2014/main" id="{D86882E1-34F8-4D4E-A98C-A51ADAC09BF4}"/>
              </a:ext>
            </a:extLst>
          </p:cNvPr>
          <p:cNvSpPr/>
          <p:nvPr/>
        </p:nvSpPr>
        <p:spPr>
          <a:xfrm>
            <a:off x="828674" y="2371724"/>
            <a:ext cx="4962526" cy="665254"/>
          </a:xfrm>
          <a:prstGeom prst="roundRect">
            <a:avLst>
              <a:gd name="adj" fmla="val 16667"/>
            </a:avLst>
          </a:prstGeom>
          <a:solidFill>
            <a:schemeClr val="bg1"/>
          </a:solidFill>
          <a:ln w="19050">
            <a:solidFill>
              <a:schemeClr val="accent1"/>
            </a:solidFill>
          </a:ln>
          <a:effectLst>
            <a:outerShdw blurRad="228600" sx="102000" sy="1020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p>
        </p:txBody>
      </p:sp>
      <p:sp>
        <p:nvSpPr>
          <p:cNvPr id="5" name="椭圆 4">
            <a:extLst>
              <a:ext uri="{FF2B5EF4-FFF2-40B4-BE49-F238E27FC236}">
                <a16:creationId xmlns:a16="http://schemas.microsoft.com/office/drawing/2014/main" id="{E05E7E47-7345-4A92-97CC-4381CC847B6A}"/>
              </a:ext>
            </a:extLst>
          </p:cNvPr>
          <p:cNvSpPr/>
          <p:nvPr/>
        </p:nvSpPr>
        <p:spPr>
          <a:xfrm>
            <a:off x="1104900" y="2475752"/>
            <a:ext cx="457200" cy="4572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800" dirty="0"/>
              <a:t>图标</a:t>
            </a:r>
          </a:p>
        </p:txBody>
      </p:sp>
      <p:sp>
        <p:nvSpPr>
          <p:cNvPr id="6" name="文本框 5">
            <a:extLst>
              <a:ext uri="{FF2B5EF4-FFF2-40B4-BE49-F238E27FC236}">
                <a16:creationId xmlns:a16="http://schemas.microsoft.com/office/drawing/2014/main" id="{5BD2D02A-7CC6-441A-9D6A-0DF99214F1C1}"/>
              </a:ext>
            </a:extLst>
          </p:cNvPr>
          <p:cNvSpPr txBox="1"/>
          <p:nvPr/>
        </p:nvSpPr>
        <p:spPr>
          <a:xfrm>
            <a:off x="1766165" y="2550463"/>
            <a:ext cx="2051844" cy="307777"/>
          </a:xfrm>
          <a:prstGeom prst="rect">
            <a:avLst/>
          </a:prstGeom>
          <a:noFill/>
        </p:spPr>
        <p:txBody>
          <a:bodyPr wrap="none" lIns="0" tIns="0" rIns="0" bIns="0" rtlCol="0" anchor="t">
            <a:spAutoFit/>
          </a:bodyPr>
          <a:lstStyle/>
          <a:p>
            <a:r>
              <a:rPr lang="zh-CN" altLang="en-US" sz="2000" dirty="0">
                <a:solidFill>
                  <a:schemeClr val="accent1"/>
                </a:solidFill>
                <a:latin typeface="+mj-ea"/>
                <a:ea typeface="+mj-ea"/>
              </a:rPr>
              <a:t>输入你的目录标题</a:t>
            </a:r>
          </a:p>
        </p:txBody>
      </p:sp>
      <p:sp>
        <p:nvSpPr>
          <p:cNvPr id="28" name="矩形: 圆角 27">
            <a:extLst>
              <a:ext uri="{FF2B5EF4-FFF2-40B4-BE49-F238E27FC236}">
                <a16:creationId xmlns:a16="http://schemas.microsoft.com/office/drawing/2014/main" id="{C3E1A677-D1B2-4D9C-B7A8-0687B3DF9141}"/>
              </a:ext>
            </a:extLst>
          </p:cNvPr>
          <p:cNvSpPr/>
          <p:nvPr/>
        </p:nvSpPr>
        <p:spPr>
          <a:xfrm>
            <a:off x="828674" y="3310508"/>
            <a:ext cx="4962526" cy="665254"/>
          </a:xfrm>
          <a:prstGeom prst="roundRect">
            <a:avLst>
              <a:gd name="adj" fmla="val 16667"/>
            </a:avLst>
          </a:prstGeom>
          <a:solidFill>
            <a:schemeClr val="bg1"/>
          </a:solidFill>
          <a:ln w="19050">
            <a:solidFill>
              <a:schemeClr val="accent1"/>
            </a:solidFill>
          </a:ln>
          <a:effectLst>
            <a:outerShdw blurRad="228600" sx="102000" sy="1020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p>
        </p:txBody>
      </p:sp>
      <p:sp>
        <p:nvSpPr>
          <p:cNvPr id="29" name="椭圆 28">
            <a:extLst>
              <a:ext uri="{FF2B5EF4-FFF2-40B4-BE49-F238E27FC236}">
                <a16:creationId xmlns:a16="http://schemas.microsoft.com/office/drawing/2014/main" id="{DCCCBF6B-94C2-48DF-9581-684FF384675F}"/>
              </a:ext>
            </a:extLst>
          </p:cNvPr>
          <p:cNvSpPr/>
          <p:nvPr/>
        </p:nvSpPr>
        <p:spPr>
          <a:xfrm>
            <a:off x="1104900" y="3414536"/>
            <a:ext cx="457200" cy="4572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800" dirty="0"/>
              <a:t>图标</a:t>
            </a:r>
          </a:p>
        </p:txBody>
      </p:sp>
      <p:sp>
        <p:nvSpPr>
          <p:cNvPr id="30" name="文本框 29">
            <a:extLst>
              <a:ext uri="{FF2B5EF4-FFF2-40B4-BE49-F238E27FC236}">
                <a16:creationId xmlns:a16="http://schemas.microsoft.com/office/drawing/2014/main" id="{BD988A3D-759C-4A50-A368-025CF421E59C}"/>
              </a:ext>
            </a:extLst>
          </p:cNvPr>
          <p:cNvSpPr txBox="1"/>
          <p:nvPr/>
        </p:nvSpPr>
        <p:spPr>
          <a:xfrm>
            <a:off x="1766165" y="3489247"/>
            <a:ext cx="2051844" cy="307777"/>
          </a:xfrm>
          <a:prstGeom prst="rect">
            <a:avLst/>
          </a:prstGeom>
          <a:noFill/>
        </p:spPr>
        <p:txBody>
          <a:bodyPr wrap="none" lIns="0" tIns="0" rIns="0" bIns="0" rtlCol="0" anchor="t">
            <a:spAutoFit/>
          </a:bodyPr>
          <a:lstStyle/>
          <a:p>
            <a:r>
              <a:rPr lang="zh-CN" altLang="en-US" sz="2000" dirty="0">
                <a:solidFill>
                  <a:schemeClr val="accent1"/>
                </a:solidFill>
                <a:latin typeface="+mj-ea"/>
                <a:ea typeface="+mj-ea"/>
              </a:rPr>
              <a:t>输入你的目录标题</a:t>
            </a:r>
          </a:p>
        </p:txBody>
      </p:sp>
      <p:sp>
        <p:nvSpPr>
          <p:cNvPr id="32" name="矩形: 圆角 31">
            <a:extLst>
              <a:ext uri="{FF2B5EF4-FFF2-40B4-BE49-F238E27FC236}">
                <a16:creationId xmlns:a16="http://schemas.microsoft.com/office/drawing/2014/main" id="{7310A8BD-EF0F-4DC2-83F8-50E52199B165}"/>
              </a:ext>
            </a:extLst>
          </p:cNvPr>
          <p:cNvSpPr/>
          <p:nvPr/>
        </p:nvSpPr>
        <p:spPr>
          <a:xfrm>
            <a:off x="828674" y="4249292"/>
            <a:ext cx="4962526" cy="665254"/>
          </a:xfrm>
          <a:prstGeom prst="roundRect">
            <a:avLst>
              <a:gd name="adj" fmla="val 16667"/>
            </a:avLst>
          </a:prstGeom>
          <a:solidFill>
            <a:schemeClr val="bg1"/>
          </a:solidFill>
          <a:ln w="19050">
            <a:solidFill>
              <a:schemeClr val="accent1"/>
            </a:solidFill>
          </a:ln>
          <a:effectLst>
            <a:outerShdw blurRad="228600" sx="102000" sy="1020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p>
        </p:txBody>
      </p:sp>
      <p:sp>
        <p:nvSpPr>
          <p:cNvPr id="33" name="椭圆 32">
            <a:extLst>
              <a:ext uri="{FF2B5EF4-FFF2-40B4-BE49-F238E27FC236}">
                <a16:creationId xmlns:a16="http://schemas.microsoft.com/office/drawing/2014/main" id="{89B13E03-FD44-4238-9D27-538506D30CA4}"/>
              </a:ext>
            </a:extLst>
          </p:cNvPr>
          <p:cNvSpPr/>
          <p:nvPr/>
        </p:nvSpPr>
        <p:spPr>
          <a:xfrm>
            <a:off x="1104900" y="4353320"/>
            <a:ext cx="457200" cy="4572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800" dirty="0"/>
              <a:t>图标</a:t>
            </a:r>
          </a:p>
        </p:txBody>
      </p:sp>
      <p:sp>
        <p:nvSpPr>
          <p:cNvPr id="34" name="文本框 33">
            <a:extLst>
              <a:ext uri="{FF2B5EF4-FFF2-40B4-BE49-F238E27FC236}">
                <a16:creationId xmlns:a16="http://schemas.microsoft.com/office/drawing/2014/main" id="{9E1AB71F-1CDC-4C1E-8868-DF702BD62DBA}"/>
              </a:ext>
            </a:extLst>
          </p:cNvPr>
          <p:cNvSpPr txBox="1"/>
          <p:nvPr/>
        </p:nvSpPr>
        <p:spPr>
          <a:xfrm>
            <a:off x="1766165" y="4428031"/>
            <a:ext cx="2051844" cy="307777"/>
          </a:xfrm>
          <a:prstGeom prst="rect">
            <a:avLst/>
          </a:prstGeom>
          <a:noFill/>
        </p:spPr>
        <p:txBody>
          <a:bodyPr wrap="none" lIns="0" tIns="0" rIns="0" bIns="0" rtlCol="0" anchor="t">
            <a:spAutoFit/>
          </a:bodyPr>
          <a:lstStyle/>
          <a:p>
            <a:r>
              <a:rPr lang="zh-CN" altLang="en-US" sz="2000" dirty="0">
                <a:solidFill>
                  <a:schemeClr val="accent1"/>
                </a:solidFill>
                <a:latin typeface="+mj-ea"/>
                <a:ea typeface="+mj-ea"/>
              </a:rPr>
              <a:t>输入你的目录标题</a:t>
            </a:r>
          </a:p>
        </p:txBody>
      </p:sp>
      <p:sp>
        <p:nvSpPr>
          <p:cNvPr id="36" name="矩形: 圆角 35">
            <a:extLst>
              <a:ext uri="{FF2B5EF4-FFF2-40B4-BE49-F238E27FC236}">
                <a16:creationId xmlns:a16="http://schemas.microsoft.com/office/drawing/2014/main" id="{094B75A3-258D-467C-8951-17936DA5858F}"/>
              </a:ext>
            </a:extLst>
          </p:cNvPr>
          <p:cNvSpPr/>
          <p:nvPr/>
        </p:nvSpPr>
        <p:spPr>
          <a:xfrm>
            <a:off x="828674" y="5188076"/>
            <a:ext cx="4962526" cy="665254"/>
          </a:xfrm>
          <a:prstGeom prst="roundRect">
            <a:avLst>
              <a:gd name="adj" fmla="val 16667"/>
            </a:avLst>
          </a:prstGeom>
          <a:solidFill>
            <a:schemeClr val="bg1"/>
          </a:solidFill>
          <a:ln w="19050">
            <a:solidFill>
              <a:schemeClr val="accent1"/>
            </a:solidFill>
          </a:ln>
          <a:effectLst>
            <a:outerShdw blurRad="228600" sx="102000" sy="1020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p>
        </p:txBody>
      </p:sp>
      <p:sp>
        <p:nvSpPr>
          <p:cNvPr id="37" name="椭圆 36">
            <a:extLst>
              <a:ext uri="{FF2B5EF4-FFF2-40B4-BE49-F238E27FC236}">
                <a16:creationId xmlns:a16="http://schemas.microsoft.com/office/drawing/2014/main" id="{D40D7DB3-C35C-44FC-8D07-FCC565BD6A21}"/>
              </a:ext>
            </a:extLst>
          </p:cNvPr>
          <p:cNvSpPr/>
          <p:nvPr/>
        </p:nvSpPr>
        <p:spPr>
          <a:xfrm>
            <a:off x="1104900" y="5292104"/>
            <a:ext cx="457200" cy="4572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800" dirty="0"/>
              <a:t>图标</a:t>
            </a:r>
          </a:p>
        </p:txBody>
      </p:sp>
      <p:sp>
        <p:nvSpPr>
          <p:cNvPr id="38" name="文本框 37">
            <a:extLst>
              <a:ext uri="{FF2B5EF4-FFF2-40B4-BE49-F238E27FC236}">
                <a16:creationId xmlns:a16="http://schemas.microsoft.com/office/drawing/2014/main" id="{50ECCF29-3391-4073-9B58-381843CAEB66}"/>
              </a:ext>
            </a:extLst>
          </p:cNvPr>
          <p:cNvSpPr txBox="1"/>
          <p:nvPr/>
        </p:nvSpPr>
        <p:spPr>
          <a:xfrm>
            <a:off x="1766165" y="5366815"/>
            <a:ext cx="2051844" cy="307777"/>
          </a:xfrm>
          <a:prstGeom prst="rect">
            <a:avLst/>
          </a:prstGeom>
          <a:noFill/>
        </p:spPr>
        <p:txBody>
          <a:bodyPr wrap="none" lIns="0" tIns="0" rIns="0" bIns="0" rtlCol="0" anchor="t">
            <a:spAutoFit/>
          </a:bodyPr>
          <a:lstStyle/>
          <a:p>
            <a:r>
              <a:rPr lang="zh-CN" altLang="en-US" sz="2000" dirty="0">
                <a:solidFill>
                  <a:schemeClr val="accent1"/>
                </a:solidFill>
                <a:latin typeface="+mj-ea"/>
                <a:ea typeface="+mj-ea"/>
              </a:rPr>
              <a:t>输入你的目录标题</a:t>
            </a:r>
          </a:p>
        </p:txBody>
      </p:sp>
      <p:sp>
        <p:nvSpPr>
          <p:cNvPr id="40" name="任意多边形: 形状 39">
            <a:extLst>
              <a:ext uri="{FF2B5EF4-FFF2-40B4-BE49-F238E27FC236}">
                <a16:creationId xmlns:a16="http://schemas.microsoft.com/office/drawing/2014/main" id="{7648766D-9AB9-4205-BFE5-14F0B5F36A3E}"/>
              </a:ext>
            </a:extLst>
          </p:cNvPr>
          <p:cNvSpPr/>
          <p:nvPr/>
        </p:nvSpPr>
        <p:spPr>
          <a:xfrm>
            <a:off x="7982712" y="2869896"/>
            <a:ext cx="1219200" cy="1118208"/>
          </a:xfrm>
          <a:custGeom>
            <a:avLst/>
            <a:gdLst>
              <a:gd name="connsiteX0" fmla="*/ 1006264 w 1331826"/>
              <a:gd name="connsiteY0" fmla="*/ 238125 h 1221507"/>
              <a:gd name="connsiteX1" fmla="*/ 1123466 w 1331826"/>
              <a:gd name="connsiteY1" fmla="*/ 355327 h 1221507"/>
              <a:gd name="connsiteX2" fmla="*/ 1006264 w 1331826"/>
              <a:gd name="connsiteY2" fmla="*/ 472529 h 1221507"/>
              <a:gd name="connsiteX3" fmla="*/ 889062 w 1331826"/>
              <a:gd name="connsiteY3" fmla="*/ 355327 h 1221507"/>
              <a:gd name="connsiteX4" fmla="*/ 1006264 w 1331826"/>
              <a:gd name="connsiteY4" fmla="*/ 238125 h 1221507"/>
              <a:gd name="connsiteX5" fmla="*/ 172827 w 1331826"/>
              <a:gd name="connsiteY5" fmla="*/ 104180 h 1221507"/>
              <a:gd name="connsiteX6" fmla="*/ 105482 w 1331826"/>
              <a:gd name="connsiteY6" fmla="*/ 171152 h 1221507"/>
              <a:gd name="connsiteX7" fmla="*/ 105482 w 1331826"/>
              <a:gd name="connsiteY7" fmla="*/ 726281 h 1221507"/>
              <a:gd name="connsiteX8" fmla="*/ 179152 w 1331826"/>
              <a:gd name="connsiteY8" fmla="*/ 599777 h 1221507"/>
              <a:gd name="connsiteX9" fmla="*/ 303795 w 1331826"/>
              <a:gd name="connsiteY9" fmla="*/ 490761 h 1221507"/>
              <a:gd name="connsiteX10" fmla="*/ 414300 w 1331826"/>
              <a:gd name="connsiteY10" fmla="*/ 507504 h 1221507"/>
              <a:gd name="connsiteX11" fmla="*/ 731676 w 1331826"/>
              <a:gd name="connsiteY11" fmla="*/ 856878 h 1221507"/>
              <a:gd name="connsiteX12" fmla="*/ 780790 w 1331826"/>
              <a:gd name="connsiteY12" fmla="*/ 791022 h 1221507"/>
              <a:gd name="connsiteX13" fmla="*/ 988777 w 1331826"/>
              <a:gd name="connsiteY13" fmla="*/ 633264 h 1221507"/>
              <a:gd name="connsiteX14" fmla="*/ 1093329 w 1331826"/>
              <a:gd name="connsiteY14" fmla="*/ 666006 h 1221507"/>
              <a:gd name="connsiteX15" fmla="*/ 1227646 w 1331826"/>
              <a:gd name="connsiteY15" fmla="*/ 821159 h 1221507"/>
              <a:gd name="connsiteX16" fmla="*/ 1227646 w 1331826"/>
              <a:gd name="connsiteY16" fmla="*/ 171152 h 1221507"/>
              <a:gd name="connsiteX17" fmla="*/ 1160673 w 1331826"/>
              <a:gd name="connsiteY17" fmla="*/ 104180 h 1221507"/>
              <a:gd name="connsiteX18" fmla="*/ 172827 w 1331826"/>
              <a:gd name="connsiteY18" fmla="*/ 0 h 1221507"/>
              <a:gd name="connsiteX19" fmla="*/ 1160673 w 1331826"/>
              <a:gd name="connsiteY19" fmla="*/ 0 h 1221507"/>
              <a:gd name="connsiteX20" fmla="*/ 1331826 w 1331826"/>
              <a:gd name="connsiteY20" fmla="*/ 171152 h 1221507"/>
              <a:gd name="connsiteX21" fmla="*/ 1331826 w 1331826"/>
              <a:gd name="connsiteY21" fmla="*/ 1050355 h 1221507"/>
              <a:gd name="connsiteX22" fmla="*/ 1160673 w 1331826"/>
              <a:gd name="connsiteY22" fmla="*/ 1221507 h 1221507"/>
              <a:gd name="connsiteX23" fmla="*/ 172827 w 1331826"/>
              <a:gd name="connsiteY23" fmla="*/ 1221507 h 1221507"/>
              <a:gd name="connsiteX24" fmla="*/ 1674 w 1331826"/>
              <a:gd name="connsiteY24" fmla="*/ 1050355 h 1221507"/>
              <a:gd name="connsiteX25" fmla="*/ 1674 w 1331826"/>
              <a:gd name="connsiteY25" fmla="*/ 1006450 h 1221507"/>
              <a:gd name="connsiteX26" fmla="*/ 1674 w 1331826"/>
              <a:gd name="connsiteY26" fmla="*/ 980405 h 1221507"/>
              <a:gd name="connsiteX27" fmla="*/ 1674 w 1331826"/>
              <a:gd name="connsiteY27" fmla="*/ 171152 h 1221507"/>
              <a:gd name="connsiteX28" fmla="*/ 172827 w 1331826"/>
              <a:gd name="connsiteY28" fmla="*/ 0 h 1221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31826" h="1221507">
                <a:moveTo>
                  <a:pt x="1006264" y="238125"/>
                </a:moveTo>
                <a:cubicBezTo>
                  <a:pt x="1070993" y="238125"/>
                  <a:pt x="1123466" y="290598"/>
                  <a:pt x="1123466" y="355327"/>
                </a:cubicBezTo>
                <a:cubicBezTo>
                  <a:pt x="1123466" y="420056"/>
                  <a:pt x="1070993" y="472529"/>
                  <a:pt x="1006264" y="472529"/>
                </a:cubicBezTo>
                <a:cubicBezTo>
                  <a:pt x="941535" y="472529"/>
                  <a:pt x="889062" y="420056"/>
                  <a:pt x="889062" y="355327"/>
                </a:cubicBezTo>
                <a:cubicBezTo>
                  <a:pt x="889062" y="290598"/>
                  <a:pt x="941535" y="238125"/>
                  <a:pt x="1006264" y="238125"/>
                </a:cubicBezTo>
                <a:close/>
                <a:moveTo>
                  <a:pt x="172827" y="104180"/>
                </a:moveTo>
                <a:cubicBezTo>
                  <a:pt x="135620" y="104180"/>
                  <a:pt x="105854" y="133945"/>
                  <a:pt x="105482" y="171152"/>
                </a:cubicBezTo>
                <a:lnTo>
                  <a:pt x="105482" y="726281"/>
                </a:lnTo>
                <a:cubicBezTo>
                  <a:pt x="130411" y="676424"/>
                  <a:pt x="154967" y="634008"/>
                  <a:pt x="179152" y="599777"/>
                </a:cubicBezTo>
                <a:cubicBezTo>
                  <a:pt x="220824" y="540246"/>
                  <a:pt x="261751" y="504527"/>
                  <a:pt x="303795" y="490761"/>
                </a:cubicBezTo>
                <a:cubicBezTo>
                  <a:pt x="342491" y="478110"/>
                  <a:pt x="380442" y="483691"/>
                  <a:pt x="414300" y="507504"/>
                </a:cubicBezTo>
                <a:cubicBezTo>
                  <a:pt x="528526" y="587871"/>
                  <a:pt x="663215" y="762372"/>
                  <a:pt x="731676" y="856878"/>
                </a:cubicBezTo>
                <a:cubicBezTo>
                  <a:pt x="745443" y="837158"/>
                  <a:pt x="762186" y="814090"/>
                  <a:pt x="780790" y="791022"/>
                </a:cubicBezTo>
                <a:cubicBezTo>
                  <a:pt x="858552" y="693911"/>
                  <a:pt x="926641" y="642193"/>
                  <a:pt x="988777" y="633264"/>
                </a:cubicBezTo>
                <a:cubicBezTo>
                  <a:pt x="1028216" y="627683"/>
                  <a:pt x="1064307" y="638845"/>
                  <a:pt x="1093329" y="666006"/>
                </a:cubicBezTo>
                <a:cubicBezTo>
                  <a:pt x="1142070" y="711398"/>
                  <a:pt x="1188951" y="768697"/>
                  <a:pt x="1227646" y="821159"/>
                </a:cubicBezTo>
                <a:lnTo>
                  <a:pt x="1227646" y="171152"/>
                </a:lnTo>
                <a:cubicBezTo>
                  <a:pt x="1227646" y="134317"/>
                  <a:pt x="1197508" y="104180"/>
                  <a:pt x="1160673" y="104180"/>
                </a:cubicBezTo>
                <a:close/>
                <a:moveTo>
                  <a:pt x="172827" y="0"/>
                </a:moveTo>
                <a:lnTo>
                  <a:pt x="1160673" y="0"/>
                </a:lnTo>
                <a:cubicBezTo>
                  <a:pt x="1255179" y="0"/>
                  <a:pt x="1331826" y="76646"/>
                  <a:pt x="1331826" y="171152"/>
                </a:cubicBezTo>
                <a:lnTo>
                  <a:pt x="1331826" y="1050355"/>
                </a:lnTo>
                <a:cubicBezTo>
                  <a:pt x="1331826" y="1144860"/>
                  <a:pt x="1255179" y="1221507"/>
                  <a:pt x="1160673" y="1221507"/>
                </a:cubicBezTo>
                <a:lnTo>
                  <a:pt x="172827" y="1221507"/>
                </a:lnTo>
                <a:cubicBezTo>
                  <a:pt x="78321" y="1221507"/>
                  <a:pt x="1674" y="1144860"/>
                  <a:pt x="1674" y="1050355"/>
                </a:cubicBezTo>
                <a:lnTo>
                  <a:pt x="1674" y="1006450"/>
                </a:lnTo>
                <a:cubicBezTo>
                  <a:pt x="-558" y="997893"/>
                  <a:pt x="-558" y="989335"/>
                  <a:pt x="1674" y="980405"/>
                </a:cubicBezTo>
                <a:lnTo>
                  <a:pt x="1674" y="171152"/>
                </a:lnTo>
                <a:cubicBezTo>
                  <a:pt x="1674" y="76646"/>
                  <a:pt x="78321" y="0"/>
                  <a:pt x="172827" y="0"/>
                </a:cubicBezTo>
                <a:close/>
              </a:path>
            </a:pathLst>
          </a:custGeom>
          <a:solidFill>
            <a:schemeClr val="bg1"/>
          </a:solidFill>
          <a:ln w="1860" cap="flat">
            <a:noFill/>
            <a:prstDash val="solid"/>
            <a:miter/>
          </a:ln>
        </p:spPr>
        <p:txBody>
          <a:bodyPr rtlCol="0" anchor="ctr"/>
          <a:lstStyle/>
          <a:p>
            <a:endParaRPr lang="zh-CN" altLang="en-US"/>
          </a:p>
        </p:txBody>
      </p:sp>
    </p:spTree>
    <p:extLst>
      <p:ext uri="{BB962C8B-B14F-4D97-AF65-F5344CB8AC3E}">
        <p14:creationId xmlns:p14="http://schemas.microsoft.com/office/powerpoint/2010/main" val="2235957404"/>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a:extLst>
              <a:ext uri="{FF2B5EF4-FFF2-40B4-BE49-F238E27FC236}">
                <a16:creationId xmlns:a16="http://schemas.microsoft.com/office/drawing/2014/main" id="{7317734D-D73E-4A88-BF90-7DA0BCAF8CBB}"/>
              </a:ext>
            </a:extLst>
          </p:cNvPr>
          <p:cNvSpPr txBox="1"/>
          <p:nvPr/>
        </p:nvSpPr>
        <p:spPr>
          <a:xfrm>
            <a:off x="2761615" y="990337"/>
            <a:ext cx="1837944" cy="307777"/>
          </a:xfrm>
          <a:prstGeom prst="rect">
            <a:avLst/>
          </a:prstGeom>
          <a:noFill/>
        </p:spPr>
        <p:txBody>
          <a:bodyPr wrap="square" lIns="0" tIns="0" rIns="0" bIns="0" rtlCol="0" anchor="t">
            <a:spAutoFit/>
          </a:bodyPr>
          <a:lstStyle/>
          <a:p>
            <a:pPr algn="dist"/>
            <a:r>
              <a:rPr lang="en-US" altLang="zh-CN" sz="2000" dirty="0">
                <a:solidFill>
                  <a:schemeClr val="accent1"/>
                </a:solidFill>
                <a:latin typeface="+mj-ea"/>
                <a:ea typeface="+mj-ea"/>
              </a:rPr>
              <a:t>CONTENTS</a:t>
            </a:r>
            <a:endParaRPr lang="zh-CN" altLang="en-US" sz="2000" dirty="0">
              <a:solidFill>
                <a:schemeClr val="accent1"/>
              </a:solidFill>
              <a:latin typeface="+mj-ea"/>
              <a:ea typeface="+mj-ea"/>
            </a:endParaRPr>
          </a:p>
        </p:txBody>
      </p:sp>
      <p:cxnSp>
        <p:nvCxnSpPr>
          <p:cNvPr id="6" name="直接连接符 5">
            <a:extLst>
              <a:ext uri="{FF2B5EF4-FFF2-40B4-BE49-F238E27FC236}">
                <a16:creationId xmlns:a16="http://schemas.microsoft.com/office/drawing/2014/main" id="{96155794-3C83-499C-B43B-B7D83074C045}"/>
              </a:ext>
            </a:extLst>
          </p:cNvPr>
          <p:cNvCxnSpPr>
            <a:cxnSpLocks/>
          </p:cNvCxnSpPr>
          <p:nvPr/>
        </p:nvCxnSpPr>
        <p:spPr>
          <a:xfrm flipH="1">
            <a:off x="2512885" y="990337"/>
            <a:ext cx="151892" cy="300074"/>
          </a:xfrm>
          <a:prstGeom prst="line">
            <a:avLst/>
          </a:prstGeom>
          <a:ln w="19050"/>
        </p:spPr>
        <p:style>
          <a:lnRef idx="1">
            <a:schemeClr val="accent1"/>
          </a:lnRef>
          <a:fillRef idx="0">
            <a:schemeClr val="accent1"/>
          </a:fillRef>
          <a:effectRef idx="0">
            <a:schemeClr val="accent1"/>
          </a:effectRef>
          <a:fontRef idx="minor">
            <a:schemeClr val="tx1"/>
          </a:fontRef>
        </p:style>
      </p:cxnSp>
      <p:grpSp>
        <p:nvGrpSpPr>
          <p:cNvPr id="23" name="组合 22">
            <a:extLst>
              <a:ext uri="{FF2B5EF4-FFF2-40B4-BE49-F238E27FC236}">
                <a16:creationId xmlns:a16="http://schemas.microsoft.com/office/drawing/2014/main" id="{6A8C3F2A-5E96-4CE3-8FD3-99FA4A70C980}"/>
              </a:ext>
            </a:extLst>
          </p:cNvPr>
          <p:cNvGrpSpPr/>
          <p:nvPr/>
        </p:nvGrpSpPr>
        <p:grpSpPr>
          <a:xfrm>
            <a:off x="569389" y="1807683"/>
            <a:ext cx="4030170" cy="1317405"/>
            <a:chOff x="569389" y="1896846"/>
            <a:chExt cx="4030170" cy="1317405"/>
          </a:xfrm>
        </p:grpSpPr>
        <p:sp>
          <p:nvSpPr>
            <p:cNvPr id="9" name="文本框 8">
              <a:extLst>
                <a:ext uri="{FF2B5EF4-FFF2-40B4-BE49-F238E27FC236}">
                  <a16:creationId xmlns:a16="http://schemas.microsoft.com/office/drawing/2014/main" id="{132C1863-8468-4465-B990-83E543C9BDBC}"/>
                </a:ext>
              </a:extLst>
            </p:cNvPr>
            <p:cNvSpPr txBox="1"/>
            <p:nvPr/>
          </p:nvSpPr>
          <p:spPr>
            <a:xfrm>
              <a:off x="569389" y="1896846"/>
              <a:ext cx="1846659" cy="369332"/>
            </a:xfrm>
            <a:prstGeom prst="rect">
              <a:avLst/>
            </a:prstGeom>
            <a:noFill/>
          </p:spPr>
          <p:txBody>
            <a:bodyPr wrap="none" lIns="0" tIns="0" rIns="0" bIns="0" rtlCol="0" anchor="t">
              <a:spAutoFit/>
            </a:bodyPr>
            <a:lstStyle/>
            <a:p>
              <a:r>
                <a:rPr lang="zh-CN" altLang="en-US" sz="2400" dirty="0">
                  <a:solidFill>
                    <a:schemeClr val="accent1"/>
                  </a:solidFill>
                  <a:latin typeface="+mj-ea"/>
                  <a:ea typeface="+mj-ea"/>
                </a:rPr>
                <a:t>输入目录标题</a:t>
              </a:r>
            </a:p>
          </p:txBody>
        </p:sp>
        <p:cxnSp>
          <p:nvCxnSpPr>
            <p:cNvPr id="12" name="直接连接符 11">
              <a:extLst>
                <a:ext uri="{FF2B5EF4-FFF2-40B4-BE49-F238E27FC236}">
                  <a16:creationId xmlns:a16="http://schemas.microsoft.com/office/drawing/2014/main" id="{C4E992ED-A9D8-4A01-8E21-BA63FCE1843E}"/>
                </a:ext>
              </a:extLst>
            </p:cNvPr>
            <p:cNvCxnSpPr/>
            <p:nvPr/>
          </p:nvCxnSpPr>
          <p:spPr>
            <a:xfrm>
              <a:off x="577850" y="2343150"/>
              <a:ext cx="4021709"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文本框 12">
              <a:extLst>
                <a:ext uri="{FF2B5EF4-FFF2-40B4-BE49-F238E27FC236}">
                  <a16:creationId xmlns:a16="http://schemas.microsoft.com/office/drawing/2014/main" id="{E8A56D28-5E9D-495D-9E84-0164C1597BBE}"/>
                </a:ext>
              </a:extLst>
            </p:cNvPr>
            <p:cNvSpPr txBox="1"/>
            <p:nvPr/>
          </p:nvSpPr>
          <p:spPr>
            <a:xfrm>
              <a:off x="569389" y="2420123"/>
              <a:ext cx="1795363" cy="794128"/>
            </a:xfrm>
            <a:prstGeom prst="rect">
              <a:avLst/>
            </a:prstGeom>
            <a:noFill/>
          </p:spPr>
          <p:txBody>
            <a:bodyPr wrap="none" lIns="0" tIns="0" rIns="0" bIns="0" rtlCol="0" anchor="t">
              <a:spAutoFit/>
            </a:bodyPr>
            <a:lstStyle/>
            <a:p>
              <a:pPr marL="177800" indent="-177800" algn="l">
                <a:lnSpc>
                  <a:spcPct val="150000"/>
                </a:lnSpc>
                <a:buFont typeface="Arial" panose="020B0604020202020204" pitchFamily="34" charset="0"/>
                <a:buChar char="•"/>
                <a:tabLst>
                  <a:tab pos="177800" algn="l"/>
                </a:tabLst>
              </a:pPr>
              <a:r>
                <a:rPr lang="zh-CN" altLang="en-US" dirty="0">
                  <a:solidFill>
                    <a:schemeClr val="accent1"/>
                  </a:solidFill>
                </a:rPr>
                <a:t>输入二级小标题</a:t>
              </a:r>
              <a:endParaRPr lang="en-US" altLang="zh-CN" dirty="0">
                <a:solidFill>
                  <a:schemeClr val="accent1"/>
                </a:solidFill>
              </a:endParaRPr>
            </a:p>
            <a:p>
              <a:pPr marL="177800" indent="-177800">
                <a:lnSpc>
                  <a:spcPct val="150000"/>
                </a:lnSpc>
                <a:buFont typeface="Arial" panose="020B0604020202020204" pitchFamily="34" charset="0"/>
                <a:buChar char="•"/>
                <a:tabLst>
                  <a:tab pos="177800" algn="l"/>
                </a:tabLst>
              </a:pPr>
              <a:r>
                <a:rPr lang="zh-CN" altLang="en-US" dirty="0">
                  <a:solidFill>
                    <a:schemeClr val="accent1"/>
                  </a:solidFill>
                </a:rPr>
                <a:t>输入二级小标题</a:t>
              </a:r>
            </a:p>
          </p:txBody>
        </p:sp>
      </p:grpSp>
      <p:grpSp>
        <p:nvGrpSpPr>
          <p:cNvPr id="24" name="组合 23">
            <a:extLst>
              <a:ext uri="{FF2B5EF4-FFF2-40B4-BE49-F238E27FC236}">
                <a16:creationId xmlns:a16="http://schemas.microsoft.com/office/drawing/2014/main" id="{A9E176C9-0565-47CF-999C-76A3012BB4BF}"/>
              </a:ext>
            </a:extLst>
          </p:cNvPr>
          <p:cNvGrpSpPr/>
          <p:nvPr/>
        </p:nvGrpSpPr>
        <p:grpSpPr>
          <a:xfrm>
            <a:off x="569389" y="3429000"/>
            <a:ext cx="4030170" cy="1317405"/>
            <a:chOff x="569389" y="1896846"/>
            <a:chExt cx="4030170" cy="1317405"/>
          </a:xfrm>
        </p:grpSpPr>
        <p:sp>
          <p:nvSpPr>
            <p:cNvPr id="25" name="文本框 24">
              <a:extLst>
                <a:ext uri="{FF2B5EF4-FFF2-40B4-BE49-F238E27FC236}">
                  <a16:creationId xmlns:a16="http://schemas.microsoft.com/office/drawing/2014/main" id="{C8BAD822-8964-4CC6-8EBF-EB5B737F719C}"/>
                </a:ext>
              </a:extLst>
            </p:cNvPr>
            <p:cNvSpPr txBox="1"/>
            <p:nvPr/>
          </p:nvSpPr>
          <p:spPr>
            <a:xfrm>
              <a:off x="569389" y="1896846"/>
              <a:ext cx="1846659" cy="369332"/>
            </a:xfrm>
            <a:prstGeom prst="rect">
              <a:avLst/>
            </a:prstGeom>
            <a:noFill/>
          </p:spPr>
          <p:txBody>
            <a:bodyPr wrap="none" lIns="0" tIns="0" rIns="0" bIns="0" rtlCol="0" anchor="t">
              <a:spAutoFit/>
            </a:bodyPr>
            <a:lstStyle/>
            <a:p>
              <a:r>
                <a:rPr lang="zh-CN" altLang="en-US" sz="2400" dirty="0">
                  <a:solidFill>
                    <a:schemeClr val="accent1"/>
                  </a:solidFill>
                  <a:latin typeface="+mj-ea"/>
                  <a:ea typeface="+mj-ea"/>
                </a:rPr>
                <a:t>输入目录标题</a:t>
              </a:r>
            </a:p>
          </p:txBody>
        </p:sp>
        <p:cxnSp>
          <p:nvCxnSpPr>
            <p:cNvPr id="26" name="直接连接符 25">
              <a:extLst>
                <a:ext uri="{FF2B5EF4-FFF2-40B4-BE49-F238E27FC236}">
                  <a16:creationId xmlns:a16="http://schemas.microsoft.com/office/drawing/2014/main" id="{AA8BE9A9-148F-4D19-8B30-08B766796234}"/>
                </a:ext>
              </a:extLst>
            </p:cNvPr>
            <p:cNvCxnSpPr/>
            <p:nvPr/>
          </p:nvCxnSpPr>
          <p:spPr>
            <a:xfrm>
              <a:off x="577850" y="2343150"/>
              <a:ext cx="4021709"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7" name="文本框 26">
              <a:extLst>
                <a:ext uri="{FF2B5EF4-FFF2-40B4-BE49-F238E27FC236}">
                  <a16:creationId xmlns:a16="http://schemas.microsoft.com/office/drawing/2014/main" id="{EB19934C-20F8-42AB-8EF1-01C840491FE9}"/>
                </a:ext>
              </a:extLst>
            </p:cNvPr>
            <p:cNvSpPr txBox="1"/>
            <p:nvPr/>
          </p:nvSpPr>
          <p:spPr>
            <a:xfrm>
              <a:off x="569389" y="2420123"/>
              <a:ext cx="1795363" cy="794128"/>
            </a:xfrm>
            <a:prstGeom prst="rect">
              <a:avLst/>
            </a:prstGeom>
            <a:noFill/>
          </p:spPr>
          <p:txBody>
            <a:bodyPr wrap="none" lIns="0" tIns="0" rIns="0" bIns="0" rtlCol="0" anchor="t">
              <a:spAutoFit/>
            </a:bodyPr>
            <a:lstStyle/>
            <a:p>
              <a:pPr marL="177800" indent="-177800" algn="l">
                <a:lnSpc>
                  <a:spcPct val="150000"/>
                </a:lnSpc>
                <a:buFont typeface="Arial" panose="020B0604020202020204" pitchFamily="34" charset="0"/>
                <a:buChar char="•"/>
                <a:tabLst>
                  <a:tab pos="177800" algn="l"/>
                </a:tabLst>
              </a:pPr>
              <a:r>
                <a:rPr lang="zh-CN" altLang="en-US" dirty="0">
                  <a:solidFill>
                    <a:schemeClr val="accent1"/>
                  </a:solidFill>
                </a:rPr>
                <a:t>输入二级小标题</a:t>
              </a:r>
              <a:endParaRPr lang="en-US" altLang="zh-CN" dirty="0">
                <a:solidFill>
                  <a:schemeClr val="accent1"/>
                </a:solidFill>
              </a:endParaRPr>
            </a:p>
            <a:p>
              <a:pPr marL="177800" indent="-177800">
                <a:lnSpc>
                  <a:spcPct val="150000"/>
                </a:lnSpc>
                <a:buFont typeface="Arial" panose="020B0604020202020204" pitchFamily="34" charset="0"/>
                <a:buChar char="•"/>
                <a:tabLst>
                  <a:tab pos="177800" algn="l"/>
                </a:tabLst>
              </a:pPr>
              <a:r>
                <a:rPr lang="zh-CN" altLang="en-US" dirty="0">
                  <a:solidFill>
                    <a:schemeClr val="accent1"/>
                  </a:solidFill>
                </a:rPr>
                <a:t>输入二级小标题</a:t>
              </a:r>
            </a:p>
          </p:txBody>
        </p:sp>
      </p:grpSp>
      <p:grpSp>
        <p:nvGrpSpPr>
          <p:cNvPr id="28" name="组合 27">
            <a:extLst>
              <a:ext uri="{FF2B5EF4-FFF2-40B4-BE49-F238E27FC236}">
                <a16:creationId xmlns:a16="http://schemas.microsoft.com/office/drawing/2014/main" id="{A1F5FF4A-B792-440E-9338-BED39BFB349D}"/>
              </a:ext>
            </a:extLst>
          </p:cNvPr>
          <p:cNvGrpSpPr/>
          <p:nvPr/>
        </p:nvGrpSpPr>
        <p:grpSpPr>
          <a:xfrm>
            <a:off x="569389" y="5050317"/>
            <a:ext cx="4030170" cy="1317405"/>
            <a:chOff x="569389" y="1896846"/>
            <a:chExt cx="4030170" cy="1317405"/>
          </a:xfrm>
        </p:grpSpPr>
        <p:sp>
          <p:nvSpPr>
            <p:cNvPr id="29" name="文本框 28">
              <a:extLst>
                <a:ext uri="{FF2B5EF4-FFF2-40B4-BE49-F238E27FC236}">
                  <a16:creationId xmlns:a16="http://schemas.microsoft.com/office/drawing/2014/main" id="{6933D9F1-6648-4B67-8162-19491D7F860B}"/>
                </a:ext>
              </a:extLst>
            </p:cNvPr>
            <p:cNvSpPr txBox="1"/>
            <p:nvPr/>
          </p:nvSpPr>
          <p:spPr>
            <a:xfrm>
              <a:off x="569389" y="1896846"/>
              <a:ext cx="1846659" cy="369332"/>
            </a:xfrm>
            <a:prstGeom prst="rect">
              <a:avLst/>
            </a:prstGeom>
            <a:noFill/>
          </p:spPr>
          <p:txBody>
            <a:bodyPr wrap="none" lIns="0" tIns="0" rIns="0" bIns="0" rtlCol="0" anchor="t">
              <a:spAutoFit/>
            </a:bodyPr>
            <a:lstStyle/>
            <a:p>
              <a:r>
                <a:rPr lang="zh-CN" altLang="en-US" sz="2400" dirty="0">
                  <a:solidFill>
                    <a:schemeClr val="accent1"/>
                  </a:solidFill>
                  <a:latin typeface="+mj-ea"/>
                  <a:ea typeface="+mj-ea"/>
                </a:rPr>
                <a:t>输入目录标题</a:t>
              </a:r>
            </a:p>
          </p:txBody>
        </p:sp>
        <p:cxnSp>
          <p:nvCxnSpPr>
            <p:cNvPr id="30" name="直接连接符 29">
              <a:extLst>
                <a:ext uri="{FF2B5EF4-FFF2-40B4-BE49-F238E27FC236}">
                  <a16:creationId xmlns:a16="http://schemas.microsoft.com/office/drawing/2014/main" id="{04C30A0B-E3E3-49B1-9D51-BA8DA30206EC}"/>
                </a:ext>
              </a:extLst>
            </p:cNvPr>
            <p:cNvCxnSpPr/>
            <p:nvPr/>
          </p:nvCxnSpPr>
          <p:spPr>
            <a:xfrm>
              <a:off x="577850" y="2343150"/>
              <a:ext cx="4021709"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1" name="文本框 30">
              <a:extLst>
                <a:ext uri="{FF2B5EF4-FFF2-40B4-BE49-F238E27FC236}">
                  <a16:creationId xmlns:a16="http://schemas.microsoft.com/office/drawing/2014/main" id="{5D2B9A69-7B30-4BD4-8F61-725E2DB74120}"/>
                </a:ext>
              </a:extLst>
            </p:cNvPr>
            <p:cNvSpPr txBox="1"/>
            <p:nvPr/>
          </p:nvSpPr>
          <p:spPr>
            <a:xfrm>
              <a:off x="569389" y="2420123"/>
              <a:ext cx="1795363" cy="794128"/>
            </a:xfrm>
            <a:prstGeom prst="rect">
              <a:avLst/>
            </a:prstGeom>
            <a:noFill/>
          </p:spPr>
          <p:txBody>
            <a:bodyPr wrap="none" lIns="0" tIns="0" rIns="0" bIns="0" rtlCol="0" anchor="t">
              <a:spAutoFit/>
            </a:bodyPr>
            <a:lstStyle/>
            <a:p>
              <a:pPr marL="177800" indent="-177800" algn="l">
                <a:lnSpc>
                  <a:spcPct val="150000"/>
                </a:lnSpc>
                <a:buFont typeface="Arial" panose="020B0604020202020204" pitchFamily="34" charset="0"/>
                <a:buChar char="•"/>
                <a:tabLst>
                  <a:tab pos="177800" algn="l"/>
                </a:tabLst>
              </a:pPr>
              <a:r>
                <a:rPr lang="zh-CN" altLang="en-US" dirty="0">
                  <a:solidFill>
                    <a:schemeClr val="accent1"/>
                  </a:solidFill>
                </a:rPr>
                <a:t>输入二级小标题</a:t>
              </a:r>
              <a:endParaRPr lang="en-US" altLang="zh-CN" dirty="0">
                <a:solidFill>
                  <a:schemeClr val="accent1"/>
                </a:solidFill>
              </a:endParaRPr>
            </a:p>
            <a:p>
              <a:pPr marL="177800" indent="-177800">
                <a:lnSpc>
                  <a:spcPct val="150000"/>
                </a:lnSpc>
                <a:buFont typeface="Arial" panose="020B0604020202020204" pitchFamily="34" charset="0"/>
                <a:buChar char="•"/>
                <a:tabLst>
                  <a:tab pos="177800" algn="l"/>
                </a:tabLst>
              </a:pPr>
              <a:r>
                <a:rPr lang="zh-CN" altLang="en-US" dirty="0">
                  <a:solidFill>
                    <a:schemeClr val="accent1"/>
                  </a:solidFill>
                </a:rPr>
                <a:t>输入二级小标题</a:t>
              </a:r>
            </a:p>
          </p:txBody>
        </p:sp>
      </p:grpSp>
      <p:sp>
        <p:nvSpPr>
          <p:cNvPr id="32" name="矩形 31">
            <a:extLst>
              <a:ext uri="{FF2B5EF4-FFF2-40B4-BE49-F238E27FC236}">
                <a16:creationId xmlns:a16="http://schemas.microsoft.com/office/drawing/2014/main" id="{EE559393-9A1E-4170-AE36-267F450EF5A8}"/>
              </a:ext>
            </a:extLst>
          </p:cNvPr>
          <p:cNvSpPr/>
          <p:nvPr/>
        </p:nvSpPr>
        <p:spPr>
          <a:xfrm>
            <a:off x="6096000" y="0"/>
            <a:ext cx="6096000" cy="6858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p>
        </p:txBody>
      </p:sp>
      <p:sp>
        <p:nvSpPr>
          <p:cNvPr id="33" name="任意多边形: 形状 32">
            <a:extLst>
              <a:ext uri="{FF2B5EF4-FFF2-40B4-BE49-F238E27FC236}">
                <a16:creationId xmlns:a16="http://schemas.microsoft.com/office/drawing/2014/main" id="{3E2F9106-61C4-45CF-95F0-4A94DBFFA4B2}"/>
              </a:ext>
            </a:extLst>
          </p:cNvPr>
          <p:cNvSpPr/>
          <p:nvPr/>
        </p:nvSpPr>
        <p:spPr>
          <a:xfrm>
            <a:off x="8534400" y="2869896"/>
            <a:ext cx="1219200" cy="1118208"/>
          </a:xfrm>
          <a:custGeom>
            <a:avLst/>
            <a:gdLst>
              <a:gd name="connsiteX0" fmla="*/ 1006264 w 1331826"/>
              <a:gd name="connsiteY0" fmla="*/ 238125 h 1221507"/>
              <a:gd name="connsiteX1" fmla="*/ 1123466 w 1331826"/>
              <a:gd name="connsiteY1" fmla="*/ 355327 h 1221507"/>
              <a:gd name="connsiteX2" fmla="*/ 1006264 w 1331826"/>
              <a:gd name="connsiteY2" fmla="*/ 472529 h 1221507"/>
              <a:gd name="connsiteX3" fmla="*/ 889062 w 1331826"/>
              <a:gd name="connsiteY3" fmla="*/ 355327 h 1221507"/>
              <a:gd name="connsiteX4" fmla="*/ 1006264 w 1331826"/>
              <a:gd name="connsiteY4" fmla="*/ 238125 h 1221507"/>
              <a:gd name="connsiteX5" fmla="*/ 172827 w 1331826"/>
              <a:gd name="connsiteY5" fmla="*/ 104180 h 1221507"/>
              <a:gd name="connsiteX6" fmla="*/ 105482 w 1331826"/>
              <a:gd name="connsiteY6" fmla="*/ 171152 h 1221507"/>
              <a:gd name="connsiteX7" fmla="*/ 105482 w 1331826"/>
              <a:gd name="connsiteY7" fmla="*/ 726281 h 1221507"/>
              <a:gd name="connsiteX8" fmla="*/ 179152 w 1331826"/>
              <a:gd name="connsiteY8" fmla="*/ 599777 h 1221507"/>
              <a:gd name="connsiteX9" fmla="*/ 303795 w 1331826"/>
              <a:gd name="connsiteY9" fmla="*/ 490761 h 1221507"/>
              <a:gd name="connsiteX10" fmla="*/ 414300 w 1331826"/>
              <a:gd name="connsiteY10" fmla="*/ 507504 h 1221507"/>
              <a:gd name="connsiteX11" fmla="*/ 731676 w 1331826"/>
              <a:gd name="connsiteY11" fmla="*/ 856878 h 1221507"/>
              <a:gd name="connsiteX12" fmla="*/ 780790 w 1331826"/>
              <a:gd name="connsiteY12" fmla="*/ 791022 h 1221507"/>
              <a:gd name="connsiteX13" fmla="*/ 988777 w 1331826"/>
              <a:gd name="connsiteY13" fmla="*/ 633264 h 1221507"/>
              <a:gd name="connsiteX14" fmla="*/ 1093329 w 1331826"/>
              <a:gd name="connsiteY14" fmla="*/ 666006 h 1221507"/>
              <a:gd name="connsiteX15" fmla="*/ 1227646 w 1331826"/>
              <a:gd name="connsiteY15" fmla="*/ 821159 h 1221507"/>
              <a:gd name="connsiteX16" fmla="*/ 1227646 w 1331826"/>
              <a:gd name="connsiteY16" fmla="*/ 171152 h 1221507"/>
              <a:gd name="connsiteX17" fmla="*/ 1160673 w 1331826"/>
              <a:gd name="connsiteY17" fmla="*/ 104180 h 1221507"/>
              <a:gd name="connsiteX18" fmla="*/ 172827 w 1331826"/>
              <a:gd name="connsiteY18" fmla="*/ 0 h 1221507"/>
              <a:gd name="connsiteX19" fmla="*/ 1160673 w 1331826"/>
              <a:gd name="connsiteY19" fmla="*/ 0 h 1221507"/>
              <a:gd name="connsiteX20" fmla="*/ 1331826 w 1331826"/>
              <a:gd name="connsiteY20" fmla="*/ 171152 h 1221507"/>
              <a:gd name="connsiteX21" fmla="*/ 1331826 w 1331826"/>
              <a:gd name="connsiteY21" fmla="*/ 1050355 h 1221507"/>
              <a:gd name="connsiteX22" fmla="*/ 1160673 w 1331826"/>
              <a:gd name="connsiteY22" fmla="*/ 1221507 h 1221507"/>
              <a:gd name="connsiteX23" fmla="*/ 172827 w 1331826"/>
              <a:gd name="connsiteY23" fmla="*/ 1221507 h 1221507"/>
              <a:gd name="connsiteX24" fmla="*/ 1674 w 1331826"/>
              <a:gd name="connsiteY24" fmla="*/ 1050355 h 1221507"/>
              <a:gd name="connsiteX25" fmla="*/ 1674 w 1331826"/>
              <a:gd name="connsiteY25" fmla="*/ 1006450 h 1221507"/>
              <a:gd name="connsiteX26" fmla="*/ 1674 w 1331826"/>
              <a:gd name="connsiteY26" fmla="*/ 980405 h 1221507"/>
              <a:gd name="connsiteX27" fmla="*/ 1674 w 1331826"/>
              <a:gd name="connsiteY27" fmla="*/ 171152 h 1221507"/>
              <a:gd name="connsiteX28" fmla="*/ 172827 w 1331826"/>
              <a:gd name="connsiteY28" fmla="*/ 0 h 1221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31826" h="1221507">
                <a:moveTo>
                  <a:pt x="1006264" y="238125"/>
                </a:moveTo>
                <a:cubicBezTo>
                  <a:pt x="1070993" y="238125"/>
                  <a:pt x="1123466" y="290598"/>
                  <a:pt x="1123466" y="355327"/>
                </a:cubicBezTo>
                <a:cubicBezTo>
                  <a:pt x="1123466" y="420056"/>
                  <a:pt x="1070993" y="472529"/>
                  <a:pt x="1006264" y="472529"/>
                </a:cubicBezTo>
                <a:cubicBezTo>
                  <a:pt x="941535" y="472529"/>
                  <a:pt x="889062" y="420056"/>
                  <a:pt x="889062" y="355327"/>
                </a:cubicBezTo>
                <a:cubicBezTo>
                  <a:pt x="889062" y="290598"/>
                  <a:pt x="941535" y="238125"/>
                  <a:pt x="1006264" y="238125"/>
                </a:cubicBezTo>
                <a:close/>
                <a:moveTo>
                  <a:pt x="172827" y="104180"/>
                </a:moveTo>
                <a:cubicBezTo>
                  <a:pt x="135620" y="104180"/>
                  <a:pt x="105854" y="133945"/>
                  <a:pt x="105482" y="171152"/>
                </a:cubicBezTo>
                <a:lnTo>
                  <a:pt x="105482" y="726281"/>
                </a:lnTo>
                <a:cubicBezTo>
                  <a:pt x="130411" y="676424"/>
                  <a:pt x="154967" y="634008"/>
                  <a:pt x="179152" y="599777"/>
                </a:cubicBezTo>
                <a:cubicBezTo>
                  <a:pt x="220824" y="540246"/>
                  <a:pt x="261751" y="504527"/>
                  <a:pt x="303795" y="490761"/>
                </a:cubicBezTo>
                <a:cubicBezTo>
                  <a:pt x="342491" y="478110"/>
                  <a:pt x="380442" y="483691"/>
                  <a:pt x="414300" y="507504"/>
                </a:cubicBezTo>
                <a:cubicBezTo>
                  <a:pt x="528526" y="587871"/>
                  <a:pt x="663215" y="762372"/>
                  <a:pt x="731676" y="856878"/>
                </a:cubicBezTo>
                <a:cubicBezTo>
                  <a:pt x="745443" y="837158"/>
                  <a:pt x="762186" y="814090"/>
                  <a:pt x="780790" y="791022"/>
                </a:cubicBezTo>
                <a:cubicBezTo>
                  <a:pt x="858552" y="693911"/>
                  <a:pt x="926641" y="642193"/>
                  <a:pt x="988777" y="633264"/>
                </a:cubicBezTo>
                <a:cubicBezTo>
                  <a:pt x="1028216" y="627683"/>
                  <a:pt x="1064307" y="638845"/>
                  <a:pt x="1093329" y="666006"/>
                </a:cubicBezTo>
                <a:cubicBezTo>
                  <a:pt x="1142070" y="711398"/>
                  <a:pt x="1188951" y="768697"/>
                  <a:pt x="1227646" y="821159"/>
                </a:cubicBezTo>
                <a:lnTo>
                  <a:pt x="1227646" y="171152"/>
                </a:lnTo>
                <a:cubicBezTo>
                  <a:pt x="1227646" y="134317"/>
                  <a:pt x="1197508" y="104180"/>
                  <a:pt x="1160673" y="104180"/>
                </a:cubicBezTo>
                <a:close/>
                <a:moveTo>
                  <a:pt x="172827" y="0"/>
                </a:moveTo>
                <a:lnTo>
                  <a:pt x="1160673" y="0"/>
                </a:lnTo>
                <a:cubicBezTo>
                  <a:pt x="1255179" y="0"/>
                  <a:pt x="1331826" y="76646"/>
                  <a:pt x="1331826" y="171152"/>
                </a:cubicBezTo>
                <a:lnTo>
                  <a:pt x="1331826" y="1050355"/>
                </a:lnTo>
                <a:cubicBezTo>
                  <a:pt x="1331826" y="1144860"/>
                  <a:pt x="1255179" y="1221507"/>
                  <a:pt x="1160673" y="1221507"/>
                </a:cubicBezTo>
                <a:lnTo>
                  <a:pt x="172827" y="1221507"/>
                </a:lnTo>
                <a:cubicBezTo>
                  <a:pt x="78321" y="1221507"/>
                  <a:pt x="1674" y="1144860"/>
                  <a:pt x="1674" y="1050355"/>
                </a:cubicBezTo>
                <a:lnTo>
                  <a:pt x="1674" y="1006450"/>
                </a:lnTo>
                <a:cubicBezTo>
                  <a:pt x="-558" y="997893"/>
                  <a:pt x="-558" y="989335"/>
                  <a:pt x="1674" y="980405"/>
                </a:cubicBezTo>
                <a:lnTo>
                  <a:pt x="1674" y="171152"/>
                </a:lnTo>
                <a:cubicBezTo>
                  <a:pt x="1674" y="76646"/>
                  <a:pt x="78321" y="0"/>
                  <a:pt x="172827" y="0"/>
                </a:cubicBezTo>
                <a:close/>
              </a:path>
            </a:pathLst>
          </a:custGeom>
          <a:solidFill>
            <a:schemeClr val="bg1"/>
          </a:solidFill>
          <a:ln w="1860" cap="flat">
            <a:noFill/>
            <a:prstDash val="solid"/>
            <a:miter/>
          </a:ln>
        </p:spPr>
        <p:txBody>
          <a:bodyPr rtlCol="0" anchor="ctr"/>
          <a:lstStyle/>
          <a:p>
            <a:endParaRPr lang="zh-CN" altLang="en-US"/>
          </a:p>
        </p:txBody>
      </p:sp>
    </p:spTree>
    <p:extLst>
      <p:ext uri="{BB962C8B-B14F-4D97-AF65-F5344CB8AC3E}">
        <p14:creationId xmlns:p14="http://schemas.microsoft.com/office/powerpoint/2010/main" val="1940061412"/>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a:extLst>
              <a:ext uri="{FF2B5EF4-FFF2-40B4-BE49-F238E27FC236}">
                <a16:creationId xmlns:a16="http://schemas.microsoft.com/office/drawing/2014/main" id="{65045A2F-470B-4F5C-A759-098DA6118F63}"/>
              </a:ext>
            </a:extLst>
          </p:cNvPr>
          <p:cNvSpPr txBox="1"/>
          <p:nvPr/>
        </p:nvSpPr>
        <p:spPr>
          <a:xfrm>
            <a:off x="4760285" y="568090"/>
            <a:ext cx="2802566" cy="553998"/>
          </a:xfrm>
          <a:prstGeom prst="rect">
            <a:avLst/>
          </a:prstGeom>
          <a:noFill/>
        </p:spPr>
        <p:txBody>
          <a:bodyPr wrap="square" lIns="0" tIns="0" rIns="0" bIns="0" rtlCol="0" anchor="t">
            <a:spAutoFit/>
          </a:bodyPr>
          <a:lstStyle/>
          <a:p>
            <a:pPr algn="dist"/>
            <a:r>
              <a:rPr lang="en-US" altLang="zh-CN" sz="3600" dirty="0">
                <a:solidFill>
                  <a:schemeClr val="accent1">
                    <a:alpha val="20000"/>
                  </a:schemeClr>
                </a:solidFill>
                <a:latin typeface="+mj-ea"/>
                <a:ea typeface="+mj-ea"/>
              </a:rPr>
              <a:t>CONTENTS</a:t>
            </a:r>
            <a:endParaRPr lang="zh-CN" altLang="en-US" sz="3600" dirty="0">
              <a:solidFill>
                <a:schemeClr val="accent1">
                  <a:alpha val="20000"/>
                </a:schemeClr>
              </a:solidFill>
              <a:latin typeface="+mj-ea"/>
              <a:ea typeface="+mj-ea"/>
            </a:endParaRPr>
          </a:p>
        </p:txBody>
      </p:sp>
      <p:sp>
        <p:nvSpPr>
          <p:cNvPr id="2" name="文本框 1">
            <a:extLst>
              <a:ext uri="{FF2B5EF4-FFF2-40B4-BE49-F238E27FC236}">
                <a16:creationId xmlns:a16="http://schemas.microsoft.com/office/drawing/2014/main" id="{0A12FCCC-8B1F-4427-A37B-8A3F450EB9DE}"/>
              </a:ext>
            </a:extLst>
          </p:cNvPr>
          <p:cNvSpPr txBox="1"/>
          <p:nvPr/>
        </p:nvSpPr>
        <p:spPr>
          <a:xfrm>
            <a:off x="4759151" y="768889"/>
            <a:ext cx="2673698" cy="1354217"/>
          </a:xfrm>
          <a:prstGeom prst="rect">
            <a:avLst/>
          </a:prstGeom>
          <a:noFill/>
        </p:spPr>
        <p:txBody>
          <a:bodyPr wrap="square" lIns="0" tIns="0" rIns="0" bIns="0" rtlCol="0" anchor="t">
            <a:spAutoFit/>
          </a:bodyPr>
          <a:lstStyle/>
          <a:p>
            <a:pPr algn="dist"/>
            <a:r>
              <a:rPr lang="zh-CN" altLang="en-US" sz="8800" dirty="0">
                <a:solidFill>
                  <a:schemeClr val="accent1"/>
                </a:solidFill>
                <a:latin typeface="+mj-ea"/>
                <a:ea typeface="+mj-ea"/>
              </a:rPr>
              <a:t>目录</a:t>
            </a:r>
          </a:p>
        </p:txBody>
      </p:sp>
      <p:sp>
        <p:nvSpPr>
          <p:cNvPr id="5" name="矩形: 圆角 4">
            <a:extLst>
              <a:ext uri="{FF2B5EF4-FFF2-40B4-BE49-F238E27FC236}">
                <a16:creationId xmlns:a16="http://schemas.microsoft.com/office/drawing/2014/main" id="{F3E9B80B-1E36-47A9-A227-36101D02F272}"/>
              </a:ext>
            </a:extLst>
          </p:cNvPr>
          <p:cNvSpPr/>
          <p:nvPr/>
        </p:nvSpPr>
        <p:spPr>
          <a:xfrm>
            <a:off x="1794514" y="2542375"/>
            <a:ext cx="3976689" cy="1416872"/>
          </a:xfrm>
          <a:prstGeom prst="roundRect">
            <a:avLst>
              <a:gd name="adj" fmla="val 12795"/>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solidFill>
                <a:schemeClr val="accent1"/>
              </a:solidFill>
            </a:endParaRPr>
          </a:p>
        </p:txBody>
      </p:sp>
      <p:sp>
        <p:nvSpPr>
          <p:cNvPr id="7" name="文本框 6">
            <a:extLst>
              <a:ext uri="{FF2B5EF4-FFF2-40B4-BE49-F238E27FC236}">
                <a16:creationId xmlns:a16="http://schemas.microsoft.com/office/drawing/2014/main" id="{59493E97-34A7-42FA-BEF9-E9C4882C2FB5}"/>
              </a:ext>
            </a:extLst>
          </p:cNvPr>
          <p:cNvSpPr txBox="1"/>
          <p:nvPr/>
        </p:nvSpPr>
        <p:spPr>
          <a:xfrm>
            <a:off x="2936568" y="2963205"/>
            <a:ext cx="1436291" cy="430887"/>
          </a:xfrm>
          <a:prstGeom prst="rect">
            <a:avLst/>
          </a:prstGeom>
          <a:noFill/>
        </p:spPr>
        <p:txBody>
          <a:bodyPr wrap="none" lIns="0" tIns="0" rIns="0" bIns="0" rtlCol="0" anchor="t">
            <a:spAutoFit/>
          </a:bodyPr>
          <a:lstStyle/>
          <a:p>
            <a:r>
              <a:rPr lang="zh-CN" altLang="en-US" sz="2800" dirty="0">
                <a:solidFill>
                  <a:schemeClr val="accent1"/>
                </a:solidFill>
                <a:latin typeface="+mj-ea"/>
                <a:ea typeface="+mj-ea"/>
              </a:rPr>
              <a:t>目录标题</a:t>
            </a:r>
          </a:p>
        </p:txBody>
      </p:sp>
      <p:sp>
        <p:nvSpPr>
          <p:cNvPr id="22" name="文本框 21">
            <a:extLst>
              <a:ext uri="{FF2B5EF4-FFF2-40B4-BE49-F238E27FC236}">
                <a16:creationId xmlns:a16="http://schemas.microsoft.com/office/drawing/2014/main" id="{32D341CD-7C5A-4A3D-8095-C765991F3354}"/>
              </a:ext>
            </a:extLst>
          </p:cNvPr>
          <p:cNvSpPr txBox="1"/>
          <p:nvPr/>
        </p:nvSpPr>
        <p:spPr>
          <a:xfrm>
            <a:off x="2986892" y="3367994"/>
            <a:ext cx="1385967" cy="215444"/>
          </a:xfrm>
          <a:prstGeom prst="rect">
            <a:avLst/>
          </a:prstGeom>
          <a:noFill/>
        </p:spPr>
        <p:txBody>
          <a:bodyPr wrap="square" lIns="0" tIns="0" rIns="0" bIns="0" rtlCol="0" anchor="t">
            <a:spAutoFit/>
          </a:bodyPr>
          <a:lstStyle/>
          <a:p>
            <a:pPr algn="dist"/>
            <a:r>
              <a:rPr lang="en-US" altLang="zh-CN" sz="1400" dirty="0">
                <a:solidFill>
                  <a:schemeClr val="accent1"/>
                </a:solidFill>
              </a:rPr>
              <a:t>Contents Title</a:t>
            </a:r>
            <a:endParaRPr lang="zh-CN" altLang="en-US" sz="1400" dirty="0">
              <a:solidFill>
                <a:schemeClr val="accent1"/>
              </a:solidFill>
            </a:endParaRPr>
          </a:p>
        </p:txBody>
      </p:sp>
      <p:sp>
        <p:nvSpPr>
          <p:cNvPr id="23" name="文本框 22">
            <a:extLst>
              <a:ext uri="{FF2B5EF4-FFF2-40B4-BE49-F238E27FC236}">
                <a16:creationId xmlns:a16="http://schemas.microsoft.com/office/drawing/2014/main" id="{AAD5E6D9-AA99-4D42-898A-80C2D73887DD}"/>
              </a:ext>
            </a:extLst>
          </p:cNvPr>
          <p:cNvSpPr txBox="1"/>
          <p:nvPr/>
        </p:nvSpPr>
        <p:spPr>
          <a:xfrm>
            <a:off x="2091756" y="2904467"/>
            <a:ext cx="742191" cy="784830"/>
          </a:xfrm>
          <a:prstGeom prst="rect">
            <a:avLst/>
          </a:prstGeom>
          <a:noFill/>
        </p:spPr>
        <p:txBody>
          <a:bodyPr wrap="none" lIns="0" tIns="0" rIns="0" bIns="0" rtlCol="0" anchor="t">
            <a:spAutoFit/>
          </a:bodyPr>
          <a:lstStyle/>
          <a:p>
            <a:r>
              <a:rPr lang="en-US" altLang="zh-CN" sz="5100" dirty="0">
                <a:solidFill>
                  <a:schemeClr val="accent1"/>
                </a:solidFill>
                <a:latin typeface="+mj-ea"/>
                <a:ea typeface="+mj-ea"/>
              </a:rPr>
              <a:t>01</a:t>
            </a:r>
            <a:endParaRPr lang="zh-CN" altLang="en-US" sz="5100" dirty="0">
              <a:solidFill>
                <a:schemeClr val="accent1"/>
              </a:solidFill>
              <a:latin typeface="+mj-ea"/>
              <a:ea typeface="+mj-ea"/>
            </a:endParaRPr>
          </a:p>
        </p:txBody>
      </p:sp>
      <p:sp>
        <p:nvSpPr>
          <p:cNvPr id="24" name="grocery-shop-cart_17867">
            <a:extLst>
              <a:ext uri="{FF2B5EF4-FFF2-40B4-BE49-F238E27FC236}">
                <a16:creationId xmlns:a16="http://schemas.microsoft.com/office/drawing/2014/main" id="{F0006E2C-39A6-4A0F-A749-E33D23682B74}"/>
              </a:ext>
            </a:extLst>
          </p:cNvPr>
          <p:cNvSpPr/>
          <p:nvPr/>
        </p:nvSpPr>
        <p:spPr>
          <a:xfrm>
            <a:off x="4746310" y="2963205"/>
            <a:ext cx="761488" cy="587808"/>
          </a:xfrm>
          <a:custGeom>
            <a:avLst/>
            <a:gdLst>
              <a:gd name="T0" fmla="*/ 4066 w 4783"/>
              <a:gd name="T1" fmla="*/ 0 h 3698"/>
              <a:gd name="T2" fmla="*/ 3436 w 4783"/>
              <a:gd name="T3" fmla="*/ 630 h 3698"/>
              <a:gd name="T4" fmla="*/ 0 w 4783"/>
              <a:gd name="T5" fmla="*/ 630 h 3698"/>
              <a:gd name="T6" fmla="*/ 584 w 4783"/>
              <a:gd name="T7" fmla="*/ 1490 h 3698"/>
              <a:gd name="T8" fmla="*/ 2600 w 4783"/>
              <a:gd name="T9" fmla="*/ 1490 h 3698"/>
              <a:gd name="T10" fmla="*/ 2600 w 4783"/>
              <a:gd name="T11" fmla="*/ 1651 h 3698"/>
              <a:gd name="T12" fmla="*/ 693 w 4783"/>
              <a:gd name="T13" fmla="*/ 1651 h 3698"/>
              <a:gd name="T14" fmla="*/ 1239 w 4783"/>
              <a:gd name="T15" fmla="*/ 2450 h 3698"/>
              <a:gd name="T16" fmla="*/ 2878 w 4783"/>
              <a:gd name="T17" fmla="*/ 2450 h 3698"/>
              <a:gd name="T18" fmla="*/ 2709 w 4783"/>
              <a:gd name="T19" fmla="*/ 2999 h 3698"/>
              <a:gd name="T20" fmla="*/ 1377 w 4783"/>
              <a:gd name="T21" fmla="*/ 2999 h 3698"/>
              <a:gd name="T22" fmla="*/ 1377 w 4783"/>
              <a:gd name="T23" fmla="*/ 3001 h 3698"/>
              <a:gd name="T24" fmla="*/ 1054 w 4783"/>
              <a:gd name="T25" fmla="*/ 3348 h 3698"/>
              <a:gd name="T26" fmla="*/ 1404 w 4783"/>
              <a:gd name="T27" fmla="*/ 3698 h 3698"/>
              <a:gd name="T28" fmla="*/ 1753 w 4783"/>
              <a:gd name="T29" fmla="*/ 3348 h 3698"/>
              <a:gd name="T30" fmla="*/ 1697 w 4783"/>
              <a:gd name="T31" fmla="*/ 3160 h 3698"/>
              <a:gd name="T32" fmla="*/ 2282 w 4783"/>
              <a:gd name="T33" fmla="*/ 3160 h 3698"/>
              <a:gd name="T34" fmla="*/ 2226 w 4783"/>
              <a:gd name="T35" fmla="*/ 3348 h 3698"/>
              <a:gd name="T36" fmla="*/ 2576 w 4783"/>
              <a:gd name="T37" fmla="*/ 3698 h 3698"/>
              <a:gd name="T38" fmla="*/ 2925 w 4783"/>
              <a:gd name="T39" fmla="*/ 3348 h 3698"/>
              <a:gd name="T40" fmla="*/ 2840 w 4783"/>
              <a:gd name="T41" fmla="*/ 3122 h 3698"/>
              <a:gd name="T42" fmla="*/ 3582 w 4783"/>
              <a:gd name="T43" fmla="*/ 713 h 3698"/>
              <a:gd name="T44" fmla="*/ 4133 w 4783"/>
              <a:gd name="T45" fmla="*/ 162 h 3698"/>
              <a:gd name="T46" fmla="*/ 4783 w 4783"/>
              <a:gd name="T47" fmla="*/ 162 h 3698"/>
              <a:gd name="T48" fmla="*/ 4783 w 4783"/>
              <a:gd name="T49" fmla="*/ 0 h 3698"/>
              <a:gd name="T50" fmla="*/ 4066 w 4783"/>
              <a:gd name="T51" fmla="*/ 0 h 3698"/>
              <a:gd name="T52" fmla="*/ 1404 w 4783"/>
              <a:gd name="T53" fmla="*/ 3537 h 3698"/>
              <a:gd name="T54" fmla="*/ 1215 w 4783"/>
              <a:gd name="T55" fmla="*/ 3348 h 3698"/>
              <a:gd name="T56" fmla="*/ 1404 w 4783"/>
              <a:gd name="T57" fmla="*/ 3160 h 3698"/>
              <a:gd name="T58" fmla="*/ 1592 w 4783"/>
              <a:gd name="T59" fmla="*/ 3348 h 3698"/>
              <a:gd name="T60" fmla="*/ 1404 w 4783"/>
              <a:gd name="T61" fmla="*/ 3537 h 3698"/>
              <a:gd name="T62" fmla="*/ 2575 w 4783"/>
              <a:gd name="T63" fmla="*/ 3537 h 3698"/>
              <a:gd name="T64" fmla="*/ 2387 w 4783"/>
              <a:gd name="T65" fmla="*/ 3348 h 3698"/>
              <a:gd name="T66" fmla="*/ 2575 w 4783"/>
              <a:gd name="T67" fmla="*/ 3160 h 3698"/>
              <a:gd name="T68" fmla="*/ 2764 w 4783"/>
              <a:gd name="T69" fmla="*/ 3348 h 3698"/>
              <a:gd name="T70" fmla="*/ 2575 w 4783"/>
              <a:gd name="T71" fmla="*/ 3537 h 36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783" h="3698">
                <a:moveTo>
                  <a:pt x="4066" y="0"/>
                </a:moveTo>
                <a:lnTo>
                  <a:pt x="3436" y="630"/>
                </a:lnTo>
                <a:lnTo>
                  <a:pt x="0" y="630"/>
                </a:lnTo>
                <a:lnTo>
                  <a:pt x="584" y="1490"/>
                </a:lnTo>
                <a:lnTo>
                  <a:pt x="2600" y="1490"/>
                </a:lnTo>
                <a:lnTo>
                  <a:pt x="2600" y="1651"/>
                </a:lnTo>
                <a:lnTo>
                  <a:pt x="693" y="1651"/>
                </a:lnTo>
                <a:lnTo>
                  <a:pt x="1239" y="2450"/>
                </a:lnTo>
                <a:lnTo>
                  <a:pt x="2878" y="2450"/>
                </a:lnTo>
                <a:lnTo>
                  <a:pt x="2709" y="2999"/>
                </a:lnTo>
                <a:lnTo>
                  <a:pt x="1377" y="2999"/>
                </a:lnTo>
                <a:lnTo>
                  <a:pt x="1377" y="3001"/>
                </a:lnTo>
                <a:cubicBezTo>
                  <a:pt x="1196" y="3015"/>
                  <a:pt x="1054" y="3165"/>
                  <a:pt x="1054" y="3348"/>
                </a:cubicBezTo>
                <a:cubicBezTo>
                  <a:pt x="1054" y="3541"/>
                  <a:pt x="1211" y="3698"/>
                  <a:pt x="1404" y="3698"/>
                </a:cubicBezTo>
                <a:cubicBezTo>
                  <a:pt x="1596" y="3698"/>
                  <a:pt x="1753" y="3541"/>
                  <a:pt x="1753" y="3348"/>
                </a:cubicBezTo>
                <a:cubicBezTo>
                  <a:pt x="1753" y="3279"/>
                  <a:pt x="1732" y="3214"/>
                  <a:pt x="1697" y="3160"/>
                </a:cubicBezTo>
                <a:lnTo>
                  <a:pt x="2282" y="3160"/>
                </a:lnTo>
                <a:cubicBezTo>
                  <a:pt x="2247" y="3214"/>
                  <a:pt x="2226" y="3279"/>
                  <a:pt x="2226" y="3348"/>
                </a:cubicBezTo>
                <a:cubicBezTo>
                  <a:pt x="2226" y="3541"/>
                  <a:pt x="2383" y="3698"/>
                  <a:pt x="2576" y="3698"/>
                </a:cubicBezTo>
                <a:cubicBezTo>
                  <a:pt x="2768" y="3698"/>
                  <a:pt x="2925" y="3541"/>
                  <a:pt x="2925" y="3348"/>
                </a:cubicBezTo>
                <a:cubicBezTo>
                  <a:pt x="2925" y="3262"/>
                  <a:pt x="2893" y="3183"/>
                  <a:pt x="2840" y="3122"/>
                </a:cubicBezTo>
                <a:lnTo>
                  <a:pt x="3582" y="713"/>
                </a:lnTo>
                <a:lnTo>
                  <a:pt x="4133" y="162"/>
                </a:lnTo>
                <a:lnTo>
                  <a:pt x="4783" y="162"/>
                </a:lnTo>
                <a:lnTo>
                  <a:pt x="4783" y="0"/>
                </a:lnTo>
                <a:lnTo>
                  <a:pt x="4066" y="0"/>
                </a:lnTo>
                <a:close/>
                <a:moveTo>
                  <a:pt x="1404" y="3537"/>
                </a:moveTo>
                <a:cubicBezTo>
                  <a:pt x="1300" y="3537"/>
                  <a:pt x="1215" y="3452"/>
                  <a:pt x="1215" y="3348"/>
                </a:cubicBezTo>
                <a:cubicBezTo>
                  <a:pt x="1215" y="3245"/>
                  <a:pt x="1300" y="3160"/>
                  <a:pt x="1404" y="3160"/>
                </a:cubicBezTo>
                <a:cubicBezTo>
                  <a:pt x="1507" y="3160"/>
                  <a:pt x="1592" y="3245"/>
                  <a:pt x="1592" y="3348"/>
                </a:cubicBezTo>
                <a:cubicBezTo>
                  <a:pt x="1592" y="3452"/>
                  <a:pt x="1507" y="3537"/>
                  <a:pt x="1404" y="3537"/>
                </a:cubicBezTo>
                <a:close/>
                <a:moveTo>
                  <a:pt x="2575" y="3537"/>
                </a:moveTo>
                <a:cubicBezTo>
                  <a:pt x="2472" y="3537"/>
                  <a:pt x="2387" y="3452"/>
                  <a:pt x="2387" y="3348"/>
                </a:cubicBezTo>
                <a:cubicBezTo>
                  <a:pt x="2387" y="3245"/>
                  <a:pt x="2472" y="3160"/>
                  <a:pt x="2575" y="3160"/>
                </a:cubicBezTo>
                <a:cubicBezTo>
                  <a:pt x="2679" y="3160"/>
                  <a:pt x="2764" y="3245"/>
                  <a:pt x="2764" y="3348"/>
                </a:cubicBezTo>
                <a:cubicBezTo>
                  <a:pt x="2764" y="3452"/>
                  <a:pt x="2679" y="3537"/>
                  <a:pt x="2575" y="3537"/>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accent1"/>
              </a:solidFill>
            </a:endParaRPr>
          </a:p>
        </p:txBody>
      </p:sp>
      <p:sp>
        <p:nvSpPr>
          <p:cNvPr id="27" name="矩形: 圆角 26">
            <a:extLst>
              <a:ext uri="{FF2B5EF4-FFF2-40B4-BE49-F238E27FC236}">
                <a16:creationId xmlns:a16="http://schemas.microsoft.com/office/drawing/2014/main" id="{35095DA3-8A2F-4DAB-88FE-F81B51982048}"/>
              </a:ext>
            </a:extLst>
          </p:cNvPr>
          <p:cNvSpPr/>
          <p:nvPr/>
        </p:nvSpPr>
        <p:spPr>
          <a:xfrm>
            <a:off x="6420797" y="2542375"/>
            <a:ext cx="3976689" cy="1416872"/>
          </a:xfrm>
          <a:prstGeom prst="roundRect">
            <a:avLst>
              <a:gd name="adj" fmla="val 12795"/>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solidFill>
                <a:schemeClr val="accent1"/>
              </a:solidFill>
            </a:endParaRPr>
          </a:p>
        </p:txBody>
      </p:sp>
      <p:sp>
        <p:nvSpPr>
          <p:cNvPr id="28" name="文本框 27">
            <a:extLst>
              <a:ext uri="{FF2B5EF4-FFF2-40B4-BE49-F238E27FC236}">
                <a16:creationId xmlns:a16="http://schemas.microsoft.com/office/drawing/2014/main" id="{022B87DE-128E-4417-A755-AB710B36CFF4}"/>
              </a:ext>
            </a:extLst>
          </p:cNvPr>
          <p:cNvSpPr txBox="1"/>
          <p:nvPr/>
        </p:nvSpPr>
        <p:spPr>
          <a:xfrm>
            <a:off x="7562851" y="2963205"/>
            <a:ext cx="1436291" cy="430887"/>
          </a:xfrm>
          <a:prstGeom prst="rect">
            <a:avLst/>
          </a:prstGeom>
          <a:noFill/>
        </p:spPr>
        <p:txBody>
          <a:bodyPr wrap="none" lIns="0" tIns="0" rIns="0" bIns="0" rtlCol="0" anchor="t">
            <a:spAutoFit/>
          </a:bodyPr>
          <a:lstStyle/>
          <a:p>
            <a:r>
              <a:rPr lang="zh-CN" altLang="en-US" sz="2800" dirty="0">
                <a:solidFill>
                  <a:schemeClr val="accent1"/>
                </a:solidFill>
                <a:latin typeface="+mj-ea"/>
                <a:ea typeface="+mj-ea"/>
              </a:rPr>
              <a:t>目录标题</a:t>
            </a:r>
          </a:p>
        </p:txBody>
      </p:sp>
      <p:sp>
        <p:nvSpPr>
          <p:cNvPr id="29" name="文本框 28">
            <a:extLst>
              <a:ext uri="{FF2B5EF4-FFF2-40B4-BE49-F238E27FC236}">
                <a16:creationId xmlns:a16="http://schemas.microsoft.com/office/drawing/2014/main" id="{EE4A75F9-B1B0-4F52-AEC4-F62A1F673194}"/>
              </a:ext>
            </a:extLst>
          </p:cNvPr>
          <p:cNvSpPr txBox="1"/>
          <p:nvPr/>
        </p:nvSpPr>
        <p:spPr>
          <a:xfrm>
            <a:off x="7613175" y="3367994"/>
            <a:ext cx="1385967" cy="215444"/>
          </a:xfrm>
          <a:prstGeom prst="rect">
            <a:avLst/>
          </a:prstGeom>
          <a:noFill/>
        </p:spPr>
        <p:txBody>
          <a:bodyPr wrap="square" lIns="0" tIns="0" rIns="0" bIns="0" rtlCol="0" anchor="t">
            <a:spAutoFit/>
          </a:bodyPr>
          <a:lstStyle/>
          <a:p>
            <a:pPr algn="dist"/>
            <a:r>
              <a:rPr lang="en-US" altLang="zh-CN" sz="1400" dirty="0">
                <a:solidFill>
                  <a:schemeClr val="accent1"/>
                </a:solidFill>
              </a:rPr>
              <a:t>Contents Title</a:t>
            </a:r>
            <a:endParaRPr lang="zh-CN" altLang="en-US" sz="1400" dirty="0">
              <a:solidFill>
                <a:schemeClr val="accent1"/>
              </a:solidFill>
            </a:endParaRPr>
          </a:p>
        </p:txBody>
      </p:sp>
      <p:sp>
        <p:nvSpPr>
          <p:cNvPr id="30" name="文本框 29">
            <a:extLst>
              <a:ext uri="{FF2B5EF4-FFF2-40B4-BE49-F238E27FC236}">
                <a16:creationId xmlns:a16="http://schemas.microsoft.com/office/drawing/2014/main" id="{1AC93DC4-8F5A-41AF-81C8-A15D1BEC8013}"/>
              </a:ext>
            </a:extLst>
          </p:cNvPr>
          <p:cNvSpPr txBox="1"/>
          <p:nvPr/>
        </p:nvSpPr>
        <p:spPr>
          <a:xfrm>
            <a:off x="6700176" y="2904467"/>
            <a:ext cx="859210" cy="784830"/>
          </a:xfrm>
          <a:prstGeom prst="rect">
            <a:avLst/>
          </a:prstGeom>
          <a:noFill/>
        </p:spPr>
        <p:txBody>
          <a:bodyPr wrap="none" lIns="0" tIns="0" rIns="0" bIns="0" rtlCol="0" anchor="t">
            <a:spAutoFit/>
          </a:bodyPr>
          <a:lstStyle/>
          <a:p>
            <a:r>
              <a:rPr lang="en-US" altLang="zh-CN" sz="5100" dirty="0">
                <a:solidFill>
                  <a:schemeClr val="accent1"/>
                </a:solidFill>
                <a:latin typeface="+mj-ea"/>
                <a:ea typeface="+mj-ea"/>
              </a:rPr>
              <a:t>02</a:t>
            </a:r>
            <a:endParaRPr lang="zh-CN" altLang="en-US" sz="5100" dirty="0">
              <a:solidFill>
                <a:schemeClr val="accent1"/>
              </a:solidFill>
              <a:latin typeface="+mj-ea"/>
              <a:ea typeface="+mj-ea"/>
            </a:endParaRPr>
          </a:p>
        </p:txBody>
      </p:sp>
      <p:sp>
        <p:nvSpPr>
          <p:cNvPr id="31" name="grocery-shop-cart_17867">
            <a:extLst>
              <a:ext uri="{FF2B5EF4-FFF2-40B4-BE49-F238E27FC236}">
                <a16:creationId xmlns:a16="http://schemas.microsoft.com/office/drawing/2014/main" id="{CCE20AA5-8636-4E97-A484-22D75B7E3B56}"/>
              </a:ext>
            </a:extLst>
          </p:cNvPr>
          <p:cNvSpPr/>
          <p:nvPr/>
        </p:nvSpPr>
        <p:spPr>
          <a:xfrm>
            <a:off x="9372593" y="2963205"/>
            <a:ext cx="761488" cy="587808"/>
          </a:xfrm>
          <a:custGeom>
            <a:avLst/>
            <a:gdLst>
              <a:gd name="T0" fmla="*/ 4066 w 4783"/>
              <a:gd name="T1" fmla="*/ 0 h 3698"/>
              <a:gd name="T2" fmla="*/ 3436 w 4783"/>
              <a:gd name="T3" fmla="*/ 630 h 3698"/>
              <a:gd name="T4" fmla="*/ 0 w 4783"/>
              <a:gd name="T5" fmla="*/ 630 h 3698"/>
              <a:gd name="T6" fmla="*/ 584 w 4783"/>
              <a:gd name="T7" fmla="*/ 1490 h 3698"/>
              <a:gd name="T8" fmla="*/ 2600 w 4783"/>
              <a:gd name="T9" fmla="*/ 1490 h 3698"/>
              <a:gd name="T10" fmla="*/ 2600 w 4783"/>
              <a:gd name="T11" fmla="*/ 1651 h 3698"/>
              <a:gd name="T12" fmla="*/ 693 w 4783"/>
              <a:gd name="T13" fmla="*/ 1651 h 3698"/>
              <a:gd name="T14" fmla="*/ 1239 w 4783"/>
              <a:gd name="T15" fmla="*/ 2450 h 3698"/>
              <a:gd name="T16" fmla="*/ 2878 w 4783"/>
              <a:gd name="T17" fmla="*/ 2450 h 3698"/>
              <a:gd name="T18" fmla="*/ 2709 w 4783"/>
              <a:gd name="T19" fmla="*/ 2999 h 3698"/>
              <a:gd name="T20" fmla="*/ 1377 w 4783"/>
              <a:gd name="T21" fmla="*/ 2999 h 3698"/>
              <a:gd name="T22" fmla="*/ 1377 w 4783"/>
              <a:gd name="T23" fmla="*/ 3001 h 3698"/>
              <a:gd name="T24" fmla="*/ 1054 w 4783"/>
              <a:gd name="T25" fmla="*/ 3348 h 3698"/>
              <a:gd name="T26" fmla="*/ 1404 w 4783"/>
              <a:gd name="T27" fmla="*/ 3698 h 3698"/>
              <a:gd name="T28" fmla="*/ 1753 w 4783"/>
              <a:gd name="T29" fmla="*/ 3348 h 3698"/>
              <a:gd name="T30" fmla="*/ 1697 w 4783"/>
              <a:gd name="T31" fmla="*/ 3160 h 3698"/>
              <a:gd name="T32" fmla="*/ 2282 w 4783"/>
              <a:gd name="T33" fmla="*/ 3160 h 3698"/>
              <a:gd name="T34" fmla="*/ 2226 w 4783"/>
              <a:gd name="T35" fmla="*/ 3348 h 3698"/>
              <a:gd name="T36" fmla="*/ 2576 w 4783"/>
              <a:gd name="T37" fmla="*/ 3698 h 3698"/>
              <a:gd name="T38" fmla="*/ 2925 w 4783"/>
              <a:gd name="T39" fmla="*/ 3348 h 3698"/>
              <a:gd name="T40" fmla="*/ 2840 w 4783"/>
              <a:gd name="T41" fmla="*/ 3122 h 3698"/>
              <a:gd name="T42" fmla="*/ 3582 w 4783"/>
              <a:gd name="T43" fmla="*/ 713 h 3698"/>
              <a:gd name="T44" fmla="*/ 4133 w 4783"/>
              <a:gd name="T45" fmla="*/ 162 h 3698"/>
              <a:gd name="T46" fmla="*/ 4783 w 4783"/>
              <a:gd name="T47" fmla="*/ 162 h 3698"/>
              <a:gd name="T48" fmla="*/ 4783 w 4783"/>
              <a:gd name="T49" fmla="*/ 0 h 3698"/>
              <a:gd name="T50" fmla="*/ 4066 w 4783"/>
              <a:gd name="T51" fmla="*/ 0 h 3698"/>
              <a:gd name="T52" fmla="*/ 1404 w 4783"/>
              <a:gd name="T53" fmla="*/ 3537 h 3698"/>
              <a:gd name="T54" fmla="*/ 1215 w 4783"/>
              <a:gd name="T55" fmla="*/ 3348 h 3698"/>
              <a:gd name="T56" fmla="*/ 1404 w 4783"/>
              <a:gd name="T57" fmla="*/ 3160 h 3698"/>
              <a:gd name="T58" fmla="*/ 1592 w 4783"/>
              <a:gd name="T59" fmla="*/ 3348 h 3698"/>
              <a:gd name="T60" fmla="*/ 1404 w 4783"/>
              <a:gd name="T61" fmla="*/ 3537 h 3698"/>
              <a:gd name="T62" fmla="*/ 2575 w 4783"/>
              <a:gd name="T63" fmla="*/ 3537 h 3698"/>
              <a:gd name="T64" fmla="*/ 2387 w 4783"/>
              <a:gd name="T65" fmla="*/ 3348 h 3698"/>
              <a:gd name="T66" fmla="*/ 2575 w 4783"/>
              <a:gd name="T67" fmla="*/ 3160 h 3698"/>
              <a:gd name="T68" fmla="*/ 2764 w 4783"/>
              <a:gd name="T69" fmla="*/ 3348 h 3698"/>
              <a:gd name="T70" fmla="*/ 2575 w 4783"/>
              <a:gd name="T71" fmla="*/ 3537 h 36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783" h="3698">
                <a:moveTo>
                  <a:pt x="4066" y="0"/>
                </a:moveTo>
                <a:lnTo>
                  <a:pt x="3436" y="630"/>
                </a:lnTo>
                <a:lnTo>
                  <a:pt x="0" y="630"/>
                </a:lnTo>
                <a:lnTo>
                  <a:pt x="584" y="1490"/>
                </a:lnTo>
                <a:lnTo>
                  <a:pt x="2600" y="1490"/>
                </a:lnTo>
                <a:lnTo>
                  <a:pt x="2600" y="1651"/>
                </a:lnTo>
                <a:lnTo>
                  <a:pt x="693" y="1651"/>
                </a:lnTo>
                <a:lnTo>
                  <a:pt x="1239" y="2450"/>
                </a:lnTo>
                <a:lnTo>
                  <a:pt x="2878" y="2450"/>
                </a:lnTo>
                <a:lnTo>
                  <a:pt x="2709" y="2999"/>
                </a:lnTo>
                <a:lnTo>
                  <a:pt x="1377" y="2999"/>
                </a:lnTo>
                <a:lnTo>
                  <a:pt x="1377" y="3001"/>
                </a:lnTo>
                <a:cubicBezTo>
                  <a:pt x="1196" y="3015"/>
                  <a:pt x="1054" y="3165"/>
                  <a:pt x="1054" y="3348"/>
                </a:cubicBezTo>
                <a:cubicBezTo>
                  <a:pt x="1054" y="3541"/>
                  <a:pt x="1211" y="3698"/>
                  <a:pt x="1404" y="3698"/>
                </a:cubicBezTo>
                <a:cubicBezTo>
                  <a:pt x="1596" y="3698"/>
                  <a:pt x="1753" y="3541"/>
                  <a:pt x="1753" y="3348"/>
                </a:cubicBezTo>
                <a:cubicBezTo>
                  <a:pt x="1753" y="3279"/>
                  <a:pt x="1732" y="3214"/>
                  <a:pt x="1697" y="3160"/>
                </a:cubicBezTo>
                <a:lnTo>
                  <a:pt x="2282" y="3160"/>
                </a:lnTo>
                <a:cubicBezTo>
                  <a:pt x="2247" y="3214"/>
                  <a:pt x="2226" y="3279"/>
                  <a:pt x="2226" y="3348"/>
                </a:cubicBezTo>
                <a:cubicBezTo>
                  <a:pt x="2226" y="3541"/>
                  <a:pt x="2383" y="3698"/>
                  <a:pt x="2576" y="3698"/>
                </a:cubicBezTo>
                <a:cubicBezTo>
                  <a:pt x="2768" y="3698"/>
                  <a:pt x="2925" y="3541"/>
                  <a:pt x="2925" y="3348"/>
                </a:cubicBezTo>
                <a:cubicBezTo>
                  <a:pt x="2925" y="3262"/>
                  <a:pt x="2893" y="3183"/>
                  <a:pt x="2840" y="3122"/>
                </a:cubicBezTo>
                <a:lnTo>
                  <a:pt x="3582" y="713"/>
                </a:lnTo>
                <a:lnTo>
                  <a:pt x="4133" y="162"/>
                </a:lnTo>
                <a:lnTo>
                  <a:pt x="4783" y="162"/>
                </a:lnTo>
                <a:lnTo>
                  <a:pt x="4783" y="0"/>
                </a:lnTo>
                <a:lnTo>
                  <a:pt x="4066" y="0"/>
                </a:lnTo>
                <a:close/>
                <a:moveTo>
                  <a:pt x="1404" y="3537"/>
                </a:moveTo>
                <a:cubicBezTo>
                  <a:pt x="1300" y="3537"/>
                  <a:pt x="1215" y="3452"/>
                  <a:pt x="1215" y="3348"/>
                </a:cubicBezTo>
                <a:cubicBezTo>
                  <a:pt x="1215" y="3245"/>
                  <a:pt x="1300" y="3160"/>
                  <a:pt x="1404" y="3160"/>
                </a:cubicBezTo>
                <a:cubicBezTo>
                  <a:pt x="1507" y="3160"/>
                  <a:pt x="1592" y="3245"/>
                  <a:pt x="1592" y="3348"/>
                </a:cubicBezTo>
                <a:cubicBezTo>
                  <a:pt x="1592" y="3452"/>
                  <a:pt x="1507" y="3537"/>
                  <a:pt x="1404" y="3537"/>
                </a:cubicBezTo>
                <a:close/>
                <a:moveTo>
                  <a:pt x="2575" y="3537"/>
                </a:moveTo>
                <a:cubicBezTo>
                  <a:pt x="2472" y="3537"/>
                  <a:pt x="2387" y="3452"/>
                  <a:pt x="2387" y="3348"/>
                </a:cubicBezTo>
                <a:cubicBezTo>
                  <a:pt x="2387" y="3245"/>
                  <a:pt x="2472" y="3160"/>
                  <a:pt x="2575" y="3160"/>
                </a:cubicBezTo>
                <a:cubicBezTo>
                  <a:pt x="2679" y="3160"/>
                  <a:pt x="2764" y="3245"/>
                  <a:pt x="2764" y="3348"/>
                </a:cubicBezTo>
                <a:cubicBezTo>
                  <a:pt x="2764" y="3452"/>
                  <a:pt x="2679" y="3537"/>
                  <a:pt x="2575" y="3537"/>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accent1"/>
              </a:solidFill>
            </a:endParaRPr>
          </a:p>
        </p:txBody>
      </p:sp>
      <p:sp>
        <p:nvSpPr>
          <p:cNvPr id="34" name="矩形: 圆角 33">
            <a:extLst>
              <a:ext uri="{FF2B5EF4-FFF2-40B4-BE49-F238E27FC236}">
                <a16:creationId xmlns:a16="http://schemas.microsoft.com/office/drawing/2014/main" id="{1DE178CB-9CC8-4902-9FA1-9465A45F1698}"/>
              </a:ext>
            </a:extLst>
          </p:cNvPr>
          <p:cNvSpPr/>
          <p:nvPr/>
        </p:nvSpPr>
        <p:spPr>
          <a:xfrm>
            <a:off x="1794514" y="4504525"/>
            <a:ext cx="3976689" cy="1416872"/>
          </a:xfrm>
          <a:prstGeom prst="roundRect">
            <a:avLst>
              <a:gd name="adj" fmla="val 12795"/>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solidFill>
                <a:schemeClr val="accent1"/>
              </a:solidFill>
            </a:endParaRPr>
          </a:p>
        </p:txBody>
      </p:sp>
      <p:sp>
        <p:nvSpPr>
          <p:cNvPr id="35" name="文本框 34">
            <a:extLst>
              <a:ext uri="{FF2B5EF4-FFF2-40B4-BE49-F238E27FC236}">
                <a16:creationId xmlns:a16="http://schemas.microsoft.com/office/drawing/2014/main" id="{0CE4E287-4D7F-433D-A22E-C3B6462476A0}"/>
              </a:ext>
            </a:extLst>
          </p:cNvPr>
          <p:cNvSpPr txBox="1"/>
          <p:nvPr/>
        </p:nvSpPr>
        <p:spPr>
          <a:xfrm>
            <a:off x="2936568" y="4925355"/>
            <a:ext cx="1436291" cy="430887"/>
          </a:xfrm>
          <a:prstGeom prst="rect">
            <a:avLst/>
          </a:prstGeom>
          <a:noFill/>
        </p:spPr>
        <p:txBody>
          <a:bodyPr wrap="none" lIns="0" tIns="0" rIns="0" bIns="0" rtlCol="0" anchor="t">
            <a:spAutoFit/>
          </a:bodyPr>
          <a:lstStyle/>
          <a:p>
            <a:r>
              <a:rPr lang="zh-CN" altLang="en-US" sz="2800" dirty="0">
                <a:solidFill>
                  <a:schemeClr val="accent1"/>
                </a:solidFill>
                <a:latin typeface="+mj-ea"/>
                <a:ea typeface="+mj-ea"/>
              </a:rPr>
              <a:t>目录标题</a:t>
            </a:r>
          </a:p>
        </p:txBody>
      </p:sp>
      <p:sp>
        <p:nvSpPr>
          <p:cNvPr id="36" name="文本框 35">
            <a:extLst>
              <a:ext uri="{FF2B5EF4-FFF2-40B4-BE49-F238E27FC236}">
                <a16:creationId xmlns:a16="http://schemas.microsoft.com/office/drawing/2014/main" id="{3094EF15-8126-49F4-9FA6-10F962B69F65}"/>
              </a:ext>
            </a:extLst>
          </p:cNvPr>
          <p:cNvSpPr txBox="1"/>
          <p:nvPr/>
        </p:nvSpPr>
        <p:spPr>
          <a:xfrm>
            <a:off x="2986892" y="5330144"/>
            <a:ext cx="1385967" cy="215444"/>
          </a:xfrm>
          <a:prstGeom prst="rect">
            <a:avLst/>
          </a:prstGeom>
          <a:noFill/>
        </p:spPr>
        <p:txBody>
          <a:bodyPr wrap="square" lIns="0" tIns="0" rIns="0" bIns="0" rtlCol="0" anchor="t">
            <a:spAutoFit/>
          </a:bodyPr>
          <a:lstStyle/>
          <a:p>
            <a:pPr algn="dist"/>
            <a:r>
              <a:rPr lang="en-US" altLang="zh-CN" sz="1400" dirty="0">
                <a:solidFill>
                  <a:schemeClr val="accent1"/>
                </a:solidFill>
              </a:rPr>
              <a:t>Contents Title</a:t>
            </a:r>
            <a:endParaRPr lang="zh-CN" altLang="en-US" sz="1400" dirty="0">
              <a:solidFill>
                <a:schemeClr val="accent1"/>
              </a:solidFill>
            </a:endParaRPr>
          </a:p>
        </p:txBody>
      </p:sp>
      <p:sp>
        <p:nvSpPr>
          <p:cNvPr id="37" name="文本框 36">
            <a:extLst>
              <a:ext uri="{FF2B5EF4-FFF2-40B4-BE49-F238E27FC236}">
                <a16:creationId xmlns:a16="http://schemas.microsoft.com/office/drawing/2014/main" id="{EEFE01AE-4BDD-4F81-B6C0-BBDECFD99F9F}"/>
              </a:ext>
            </a:extLst>
          </p:cNvPr>
          <p:cNvSpPr txBox="1"/>
          <p:nvPr/>
        </p:nvSpPr>
        <p:spPr>
          <a:xfrm>
            <a:off x="2091756" y="4866617"/>
            <a:ext cx="859210" cy="784830"/>
          </a:xfrm>
          <a:prstGeom prst="rect">
            <a:avLst/>
          </a:prstGeom>
          <a:noFill/>
        </p:spPr>
        <p:txBody>
          <a:bodyPr wrap="none" lIns="0" tIns="0" rIns="0" bIns="0" rtlCol="0" anchor="t">
            <a:spAutoFit/>
          </a:bodyPr>
          <a:lstStyle/>
          <a:p>
            <a:r>
              <a:rPr lang="en-US" altLang="zh-CN" sz="5100" dirty="0">
                <a:solidFill>
                  <a:schemeClr val="accent1"/>
                </a:solidFill>
                <a:latin typeface="+mj-ea"/>
                <a:ea typeface="+mj-ea"/>
              </a:rPr>
              <a:t>03</a:t>
            </a:r>
            <a:endParaRPr lang="zh-CN" altLang="en-US" sz="5100" dirty="0">
              <a:solidFill>
                <a:schemeClr val="accent1"/>
              </a:solidFill>
              <a:latin typeface="+mj-ea"/>
              <a:ea typeface="+mj-ea"/>
            </a:endParaRPr>
          </a:p>
        </p:txBody>
      </p:sp>
      <p:sp>
        <p:nvSpPr>
          <p:cNvPr id="38" name="grocery-shop-cart_17867">
            <a:extLst>
              <a:ext uri="{FF2B5EF4-FFF2-40B4-BE49-F238E27FC236}">
                <a16:creationId xmlns:a16="http://schemas.microsoft.com/office/drawing/2014/main" id="{46B38E39-7DF8-4BEC-B747-467C9FA11929}"/>
              </a:ext>
            </a:extLst>
          </p:cNvPr>
          <p:cNvSpPr/>
          <p:nvPr/>
        </p:nvSpPr>
        <p:spPr>
          <a:xfrm>
            <a:off x="4746310" y="4925355"/>
            <a:ext cx="761488" cy="587808"/>
          </a:xfrm>
          <a:custGeom>
            <a:avLst/>
            <a:gdLst>
              <a:gd name="T0" fmla="*/ 4066 w 4783"/>
              <a:gd name="T1" fmla="*/ 0 h 3698"/>
              <a:gd name="T2" fmla="*/ 3436 w 4783"/>
              <a:gd name="T3" fmla="*/ 630 h 3698"/>
              <a:gd name="T4" fmla="*/ 0 w 4783"/>
              <a:gd name="T5" fmla="*/ 630 h 3698"/>
              <a:gd name="T6" fmla="*/ 584 w 4783"/>
              <a:gd name="T7" fmla="*/ 1490 h 3698"/>
              <a:gd name="T8" fmla="*/ 2600 w 4783"/>
              <a:gd name="T9" fmla="*/ 1490 h 3698"/>
              <a:gd name="T10" fmla="*/ 2600 w 4783"/>
              <a:gd name="T11" fmla="*/ 1651 h 3698"/>
              <a:gd name="T12" fmla="*/ 693 w 4783"/>
              <a:gd name="T13" fmla="*/ 1651 h 3698"/>
              <a:gd name="T14" fmla="*/ 1239 w 4783"/>
              <a:gd name="T15" fmla="*/ 2450 h 3698"/>
              <a:gd name="T16" fmla="*/ 2878 w 4783"/>
              <a:gd name="T17" fmla="*/ 2450 h 3698"/>
              <a:gd name="T18" fmla="*/ 2709 w 4783"/>
              <a:gd name="T19" fmla="*/ 2999 h 3698"/>
              <a:gd name="T20" fmla="*/ 1377 w 4783"/>
              <a:gd name="T21" fmla="*/ 2999 h 3698"/>
              <a:gd name="T22" fmla="*/ 1377 w 4783"/>
              <a:gd name="T23" fmla="*/ 3001 h 3698"/>
              <a:gd name="T24" fmla="*/ 1054 w 4783"/>
              <a:gd name="T25" fmla="*/ 3348 h 3698"/>
              <a:gd name="T26" fmla="*/ 1404 w 4783"/>
              <a:gd name="T27" fmla="*/ 3698 h 3698"/>
              <a:gd name="T28" fmla="*/ 1753 w 4783"/>
              <a:gd name="T29" fmla="*/ 3348 h 3698"/>
              <a:gd name="T30" fmla="*/ 1697 w 4783"/>
              <a:gd name="T31" fmla="*/ 3160 h 3698"/>
              <a:gd name="T32" fmla="*/ 2282 w 4783"/>
              <a:gd name="T33" fmla="*/ 3160 h 3698"/>
              <a:gd name="T34" fmla="*/ 2226 w 4783"/>
              <a:gd name="T35" fmla="*/ 3348 h 3698"/>
              <a:gd name="T36" fmla="*/ 2576 w 4783"/>
              <a:gd name="T37" fmla="*/ 3698 h 3698"/>
              <a:gd name="T38" fmla="*/ 2925 w 4783"/>
              <a:gd name="T39" fmla="*/ 3348 h 3698"/>
              <a:gd name="T40" fmla="*/ 2840 w 4783"/>
              <a:gd name="T41" fmla="*/ 3122 h 3698"/>
              <a:gd name="T42" fmla="*/ 3582 w 4783"/>
              <a:gd name="T43" fmla="*/ 713 h 3698"/>
              <a:gd name="T44" fmla="*/ 4133 w 4783"/>
              <a:gd name="T45" fmla="*/ 162 h 3698"/>
              <a:gd name="T46" fmla="*/ 4783 w 4783"/>
              <a:gd name="T47" fmla="*/ 162 h 3698"/>
              <a:gd name="T48" fmla="*/ 4783 w 4783"/>
              <a:gd name="T49" fmla="*/ 0 h 3698"/>
              <a:gd name="T50" fmla="*/ 4066 w 4783"/>
              <a:gd name="T51" fmla="*/ 0 h 3698"/>
              <a:gd name="T52" fmla="*/ 1404 w 4783"/>
              <a:gd name="T53" fmla="*/ 3537 h 3698"/>
              <a:gd name="T54" fmla="*/ 1215 w 4783"/>
              <a:gd name="T55" fmla="*/ 3348 h 3698"/>
              <a:gd name="T56" fmla="*/ 1404 w 4783"/>
              <a:gd name="T57" fmla="*/ 3160 h 3698"/>
              <a:gd name="T58" fmla="*/ 1592 w 4783"/>
              <a:gd name="T59" fmla="*/ 3348 h 3698"/>
              <a:gd name="T60" fmla="*/ 1404 w 4783"/>
              <a:gd name="T61" fmla="*/ 3537 h 3698"/>
              <a:gd name="T62" fmla="*/ 2575 w 4783"/>
              <a:gd name="T63" fmla="*/ 3537 h 3698"/>
              <a:gd name="T64" fmla="*/ 2387 w 4783"/>
              <a:gd name="T65" fmla="*/ 3348 h 3698"/>
              <a:gd name="T66" fmla="*/ 2575 w 4783"/>
              <a:gd name="T67" fmla="*/ 3160 h 3698"/>
              <a:gd name="T68" fmla="*/ 2764 w 4783"/>
              <a:gd name="T69" fmla="*/ 3348 h 3698"/>
              <a:gd name="T70" fmla="*/ 2575 w 4783"/>
              <a:gd name="T71" fmla="*/ 3537 h 36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783" h="3698">
                <a:moveTo>
                  <a:pt x="4066" y="0"/>
                </a:moveTo>
                <a:lnTo>
                  <a:pt x="3436" y="630"/>
                </a:lnTo>
                <a:lnTo>
                  <a:pt x="0" y="630"/>
                </a:lnTo>
                <a:lnTo>
                  <a:pt x="584" y="1490"/>
                </a:lnTo>
                <a:lnTo>
                  <a:pt x="2600" y="1490"/>
                </a:lnTo>
                <a:lnTo>
                  <a:pt x="2600" y="1651"/>
                </a:lnTo>
                <a:lnTo>
                  <a:pt x="693" y="1651"/>
                </a:lnTo>
                <a:lnTo>
                  <a:pt x="1239" y="2450"/>
                </a:lnTo>
                <a:lnTo>
                  <a:pt x="2878" y="2450"/>
                </a:lnTo>
                <a:lnTo>
                  <a:pt x="2709" y="2999"/>
                </a:lnTo>
                <a:lnTo>
                  <a:pt x="1377" y="2999"/>
                </a:lnTo>
                <a:lnTo>
                  <a:pt x="1377" y="3001"/>
                </a:lnTo>
                <a:cubicBezTo>
                  <a:pt x="1196" y="3015"/>
                  <a:pt x="1054" y="3165"/>
                  <a:pt x="1054" y="3348"/>
                </a:cubicBezTo>
                <a:cubicBezTo>
                  <a:pt x="1054" y="3541"/>
                  <a:pt x="1211" y="3698"/>
                  <a:pt x="1404" y="3698"/>
                </a:cubicBezTo>
                <a:cubicBezTo>
                  <a:pt x="1596" y="3698"/>
                  <a:pt x="1753" y="3541"/>
                  <a:pt x="1753" y="3348"/>
                </a:cubicBezTo>
                <a:cubicBezTo>
                  <a:pt x="1753" y="3279"/>
                  <a:pt x="1732" y="3214"/>
                  <a:pt x="1697" y="3160"/>
                </a:cubicBezTo>
                <a:lnTo>
                  <a:pt x="2282" y="3160"/>
                </a:lnTo>
                <a:cubicBezTo>
                  <a:pt x="2247" y="3214"/>
                  <a:pt x="2226" y="3279"/>
                  <a:pt x="2226" y="3348"/>
                </a:cubicBezTo>
                <a:cubicBezTo>
                  <a:pt x="2226" y="3541"/>
                  <a:pt x="2383" y="3698"/>
                  <a:pt x="2576" y="3698"/>
                </a:cubicBezTo>
                <a:cubicBezTo>
                  <a:pt x="2768" y="3698"/>
                  <a:pt x="2925" y="3541"/>
                  <a:pt x="2925" y="3348"/>
                </a:cubicBezTo>
                <a:cubicBezTo>
                  <a:pt x="2925" y="3262"/>
                  <a:pt x="2893" y="3183"/>
                  <a:pt x="2840" y="3122"/>
                </a:cubicBezTo>
                <a:lnTo>
                  <a:pt x="3582" y="713"/>
                </a:lnTo>
                <a:lnTo>
                  <a:pt x="4133" y="162"/>
                </a:lnTo>
                <a:lnTo>
                  <a:pt x="4783" y="162"/>
                </a:lnTo>
                <a:lnTo>
                  <a:pt x="4783" y="0"/>
                </a:lnTo>
                <a:lnTo>
                  <a:pt x="4066" y="0"/>
                </a:lnTo>
                <a:close/>
                <a:moveTo>
                  <a:pt x="1404" y="3537"/>
                </a:moveTo>
                <a:cubicBezTo>
                  <a:pt x="1300" y="3537"/>
                  <a:pt x="1215" y="3452"/>
                  <a:pt x="1215" y="3348"/>
                </a:cubicBezTo>
                <a:cubicBezTo>
                  <a:pt x="1215" y="3245"/>
                  <a:pt x="1300" y="3160"/>
                  <a:pt x="1404" y="3160"/>
                </a:cubicBezTo>
                <a:cubicBezTo>
                  <a:pt x="1507" y="3160"/>
                  <a:pt x="1592" y="3245"/>
                  <a:pt x="1592" y="3348"/>
                </a:cubicBezTo>
                <a:cubicBezTo>
                  <a:pt x="1592" y="3452"/>
                  <a:pt x="1507" y="3537"/>
                  <a:pt x="1404" y="3537"/>
                </a:cubicBezTo>
                <a:close/>
                <a:moveTo>
                  <a:pt x="2575" y="3537"/>
                </a:moveTo>
                <a:cubicBezTo>
                  <a:pt x="2472" y="3537"/>
                  <a:pt x="2387" y="3452"/>
                  <a:pt x="2387" y="3348"/>
                </a:cubicBezTo>
                <a:cubicBezTo>
                  <a:pt x="2387" y="3245"/>
                  <a:pt x="2472" y="3160"/>
                  <a:pt x="2575" y="3160"/>
                </a:cubicBezTo>
                <a:cubicBezTo>
                  <a:pt x="2679" y="3160"/>
                  <a:pt x="2764" y="3245"/>
                  <a:pt x="2764" y="3348"/>
                </a:cubicBezTo>
                <a:cubicBezTo>
                  <a:pt x="2764" y="3452"/>
                  <a:pt x="2679" y="3537"/>
                  <a:pt x="2575" y="3537"/>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accent1"/>
              </a:solidFill>
            </a:endParaRPr>
          </a:p>
        </p:txBody>
      </p:sp>
      <p:sp>
        <p:nvSpPr>
          <p:cNvPr id="40" name="矩形: 圆角 39">
            <a:extLst>
              <a:ext uri="{FF2B5EF4-FFF2-40B4-BE49-F238E27FC236}">
                <a16:creationId xmlns:a16="http://schemas.microsoft.com/office/drawing/2014/main" id="{D3F89F96-31E4-4652-B31A-D399B51FC819}"/>
              </a:ext>
            </a:extLst>
          </p:cNvPr>
          <p:cNvSpPr/>
          <p:nvPr/>
        </p:nvSpPr>
        <p:spPr>
          <a:xfrm>
            <a:off x="6420797" y="4504525"/>
            <a:ext cx="3976689" cy="1416872"/>
          </a:xfrm>
          <a:prstGeom prst="roundRect">
            <a:avLst>
              <a:gd name="adj" fmla="val 12795"/>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solidFill>
                <a:schemeClr val="accent1"/>
              </a:solidFill>
            </a:endParaRPr>
          </a:p>
        </p:txBody>
      </p:sp>
      <p:sp>
        <p:nvSpPr>
          <p:cNvPr id="41" name="文本框 40">
            <a:extLst>
              <a:ext uri="{FF2B5EF4-FFF2-40B4-BE49-F238E27FC236}">
                <a16:creationId xmlns:a16="http://schemas.microsoft.com/office/drawing/2014/main" id="{45EE51DB-2D97-44DC-8A23-03F37C83630F}"/>
              </a:ext>
            </a:extLst>
          </p:cNvPr>
          <p:cNvSpPr txBox="1"/>
          <p:nvPr/>
        </p:nvSpPr>
        <p:spPr>
          <a:xfrm>
            <a:off x="7562851" y="4925355"/>
            <a:ext cx="1436291" cy="430887"/>
          </a:xfrm>
          <a:prstGeom prst="rect">
            <a:avLst/>
          </a:prstGeom>
          <a:noFill/>
        </p:spPr>
        <p:txBody>
          <a:bodyPr wrap="none" lIns="0" tIns="0" rIns="0" bIns="0" rtlCol="0" anchor="t">
            <a:spAutoFit/>
          </a:bodyPr>
          <a:lstStyle/>
          <a:p>
            <a:r>
              <a:rPr lang="zh-CN" altLang="en-US" sz="2800" dirty="0">
                <a:solidFill>
                  <a:schemeClr val="accent1"/>
                </a:solidFill>
                <a:latin typeface="+mj-ea"/>
                <a:ea typeface="+mj-ea"/>
              </a:rPr>
              <a:t>目录标题</a:t>
            </a:r>
          </a:p>
        </p:txBody>
      </p:sp>
      <p:sp>
        <p:nvSpPr>
          <p:cNvPr id="42" name="文本框 41">
            <a:extLst>
              <a:ext uri="{FF2B5EF4-FFF2-40B4-BE49-F238E27FC236}">
                <a16:creationId xmlns:a16="http://schemas.microsoft.com/office/drawing/2014/main" id="{F42C7DE0-96DD-4F97-98BE-78251F300A83}"/>
              </a:ext>
            </a:extLst>
          </p:cNvPr>
          <p:cNvSpPr txBox="1"/>
          <p:nvPr/>
        </p:nvSpPr>
        <p:spPr>
          <a:xfrm>
            <a:off x="7613175" y="5330144"/>
            <a:ext cx="1385967" cy="215444"/>
          </a:xfrm>
          <a:prstGeom prst="rect">
            <a:avLst/>
          </a:prstGeom>
          <a:noFill/>
        </p:spPr>
        <p:txBody>
          <a:bodyPr wrap="square" lIns="0" tIns="0" rIns="0" bIns="0" rtlCol="0" anchor="t">
            <a:spAutoFit/>
          </a:bodyPr>
          <a:lstStyle/>
          <a:p>
            <a:pPr algn="dist"/>
            <a:r>
              <a:rPr lang="en-US" altLang="zh-CN" sz="1400" dirty="0">
                <a:solidFill>
                  <a:schemeClr val="accent1"/>
                </a:solidFill>
              </a:rPr>
              <a:t>Contents Title</a:t>
            </a:r>
            <a:endParaRPr lang="zh-CN" altLang="en-US" sz="1400" dirty="0">
              <a:solidFill>
                <a:schemeClr val="accent1"/>
              </a:solidFill>
            </a:endParaRPr>
          </a:p>
        </p:txBody>
      </p:sp>
      <p:sp>
        <p:nvSpPr>
          <p:cNvPr id="43" name="文本框 42">
            <a:extLst>
              <a:ext uri="{FF2B5EF4-FFF2-40B4-BE49-F238E27FC236}">
                <a16:creationId xmlns:a16="http://schemas.microsoft.com/office/drawing/2014/main" id="{DDE1CB2F-C8DB-4C77-B676-C230E83FEDE1}"/>
              </a:ext>
            </a:extLst>
          </p:cNvPr>
          <p:cNvSpPr txBox="1"/>
          <p:nvPr/>
        </p:nvSpPr>
        <p:spPr>
          <a:xfrm>
            <a:off x="6700176" y="4866617"/>
            <a:ext cx="859210" cy="784830"/>
          </a:xfrm>
          <a:prstGeom prst="rect">
            <a:avLst/>
          </a:prstGeom>
          <a:noFill/>
        </p:spPr>
        <p:txBody>
          <a:bodyPr wrap="none" lIns="0" tIns="0" rIns="0" bIns="0" rtlCol="0" anchor="t">
            <a:spAutoFit/>
          </a:bodyPr>
          <a:lstStyle/>
          <a:p>
            <a:r>
              <a:rPr lang="en-US" altLang="zh-CN" sz="5100" dirty="0">
                <a:solidFill>
                  <a:schemeClr val="accent1"/>
                </a:solidFill>
                <a:latin typeface="+mj-ea"/>
                <a:ea typeface="+mj-ea"/>
              </a:rPr>
              <a:t>04</a:t>
            </a:r>
            <a:endParaRPr lang="zh-CN" altLang="en-US" sz="5100" dirty="0">
              <a:solidFill>
                <a:schemeClr val="accent1"/>
              </a:solidFill>
              <a:latin typeface="+mj-ea"/>
              <a:ea typeface="+mj-ea"/>
            </a:endParaRPr>
          </a:p>
        </p:txBody>
      </p:sp>
      <p:sp>
        <p:nvSpPr>
          <p:cNvPr id="44" name="grocery-shop-cart_17867">
            <a:extLst>
              <a:ext uri="{FF2B5EF4-FFF2-40B4-BE49-F238E27FC236}">
                <a16:creationId xmlns:a16="http://schemas.microsoft.com/office/drawing/2014/main" id="{D2DD6D6F-C3F9-458D-BD13-83D6AC709969}"/>
              </a:ext>
            </a:extLst>
          </p:cNvPr>
          <p:cNvSpPr/>
          <p:nvPr/>
        </p:nvSpPr>
        <p:spPr>
          <a:xfrm>
            <a:off x="9372593" y="4925355"/>
            <a:ext cx="761488" cy="587808"/>
          </a:xfrm>
          <a:custGeom>
            <a:avLst/>
            <a:gdLst>
              <a:gd name="T0" fmla="*/ 4066 w 4783"/>
              <a:gd name="T1" fmla="*/ 0 h 3698"/>
              <a:gd name="T2" fmla="*/ 3436 w 4783"/>
              <a:gd name="T3" fmla="*/ 630 h 3698"/>
              <a:gd name="T4" fmla="*/ 0 w 4783"/>
              <a:gd name="T5" fmla="*/ 630 h 3698"/>
              <a:gd name="T6" fmla="*/ 584 w 4783"/>
              <a:gd name="T7" fmla="*/ 1490 h 3698"/>
              <a:gd name="T8" fmla="*/ 2600 w 4783"/>
              <a:gd name="T9" fmla="*/ 1490 h 3698"/>
              <a:gd name="T10" fmla="*/ 2600 w 4783"/>
              <a:gd name="T11" fmla="*/ 1651 h 3698"/>
              <a:gd name="T12" fmla="*/ 693 w 4783"/>
              <a:gd name="T13" fmla="*/ 1651 h 3698"/>
              <a:gd name="T14" fmla="*/ 1239 w 4783"/>
              <a:gd name="T15" fmla="*/ 2450 h 3698"/>
              <a:gd name="T16" fmla="*/ 2878 w 4783"/>
              <a:gd name="T17" fmla="*/ 2450 h 3698"/>
              <a:gd name="T18" fmla="*/ 2709 w 4783"/>
              <a:gd name="T19" fmla="*/ 2999 h 3698"/>
              <a:gd name="T20" fmla="*/ 1377 w 4783"/>
              <a:gd name="T21" fmla="*/ 2999 h 3698"/>
              <a:gd name="T22" fmla="*/ 1377 w 4783"/>
              <a:gd name="T23" fmla="*/ 3001 h 3698"/>
              <a:gd name="T24" fmla="*/ 1054 w 4783"/>
              <a:gd name="T25" fmla="*/ 3348 h 3698"/>
              <a:gd name="T26" fmla="*/ 1404 w 4783"/>
              <a:gd name="T27" fmla="*/ 3698 h 3698"/>
              <a:gd name="T28" fmla="*/ 1753 w 4783"/>
              <a:gd name="T29" fmla="*/ 3348 h 3698"/>
              <a:gd name="T30" fmla="*/ 1697 w 4783"/>
              <a:gd name="T31" fmla="*/ 3160 h 3698"/>
              <a:gd name="T32" fmla="*/ 2282 w 4783"/>
              <a:gd name="T33" fmla="*/ 3160 h 3698"/>
              <a:gd name="T34" fmla="*/ 2226 w 4783"/>
              <a:gd name="T35" fmla="*/ 3348 h 3698"/>
              <a:gd name="T36" fmla="*/ 2576 w 4783"/>
              <a:gd name="T37" fmla="*/ 3698 h 3698"/>
              <a:gd name="T38" fmla="*/ 2925 w 4783"/>
              <a:gd name="T39" fmla="*/ 3348 h 3698"/>
              <a:gd name="T40" fmla="*/ 2840 w 4783"/>
              <a:gd name="T41" fmla="*/ 3122 h 3698"/>
              <a:gd name="T42" fmla="*/ 3582 w 4783"/>
              <a:gd name="T43" fmla="*/ 713 h 3698"/>
              <a:gd name="T44" fmla="*/ 4133 w 4783"/>
              <a:gd name="T45" fmla="*/ 162 h 3698"/>
              <a:gd name="T46" fmla="*/ 4783 w 4783"/>
              <a:gd name="T47" fmla="*/ 162 h 3698"/>
              <a:gd name="T48" fmla="*/ 4783 w 4783"/>
              <a:gd name="T49" fmla="*/ 0 h 3698"/>
              <a:gd name="T50" fmla="*/ 4066 w 4783"/>
              <a:gd name="T51" fmla="*/ 0 h 3698"/>
              <a:gd name="T52" fmla="*/ 1404 w 4783"/>
              <a:gd name="T53" fmla="*/ 3537 h 3698"/>
              <a:gd name="T54" fmla="*/ 1215 w 4783"/>
              <a:gd name="T55" fmla="*/ 3348 h 3698"/>
              <a:gd name="T56" fmla="*/ 1404 w 4783"/>
              <a:gd name="T57" fmla="*/ 3160 h 3698"/>
              <a:gd name="T58" fmla="*/ 1592 w 4783"/>
              <a:gd name="T59" fmla="*/ 3348 h 3698"/>
              <a:gd name="T60" fmla="*/ 1404 w 4783"/>
              <a:gd name="T61" fmla="*/ 3537 h 3698"/>
              <a:gd name="T62" fmla="*/ 2575 w 4783"/>
              <a:gd name="T63" fmla="*/ 3537 h 3698"/>
              <a:gd name="T64" fmla="*/ 2387 w 4783"/>
              <a:gd name="T65" fmla="*/ 3348 h 3698"/>
              <a:gd name="T66" fmla="*/ 2575 w 4783"/>
              <a:gd name="T67" fmla="*/ 3160 h 3698"/>
              <a:gd name="T68" fmla="*/ 2764 w 4783"/>
              <a:gd name="T69" fmla="*/ 3348 h 3698"/>
              <a:gd name="T70" fmla="*/ 2575 w 4783"/>
              <a:gd name="T71" fmla="*/ 3537 h 36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783" h="3698">
                <a:moveTo>
                  <a:pt x="4066" y="0"/>
                </a:moveTo>
                <a:lnTo>
                  <a:pt x="3436" y="630"/>
                </a:lnTo>
                <a:lnTo>
                  <a:pt x="0" y="630"/>
                </a:lnTo>
                <a:lnTo>
                  <a:pt x="584" y="1490"/>
                </a:lnTo>
                <a:lnTo>
                  <a:pt x="2600" y="1490"/>
                </a:lnTo>
                <a:lnTo>
                  <a:pt x="2600" y="1651"/>
                </a:lnTo>
                <a:lnTo>
                  <a:pt x="693" y="1651"/>
                </a:lnTo>
                <a:lnTo>
                  <a:pt x="1239" y="2450"/>
                </a:lnTo>
                <a:lnTo>
                  <a:pt x="2878" y="2450"/>
                </a:lnTo>
                <a:lnTo>
                  <a:pt x="2709" y="2999"/>
                </a:lnTo>
                <a:lnTo>
                  <a:pt x="1377" y="2999"/>
                </a:lnTo>
                <a:lnTo>
                  <a:pt x="1377" y="3001"/>
                </a:lnTo>
                <a:cubicBezTo>
                  <a:pt x="1196" y="3015"/>
                  <a:pt x="1054" y="3165"/>
                  <a:pt x="1054" y="3348"/>
                </a:cubicBezTo>
                <a:cubicBezTo>
                  <a:pt x="1054" y="3541"/>
                  <a:pt x="1211" y="3698"/>
                  <a:pt x="1404" y="3698"/>
                </a:cubicBezTo>
                <a:cubicBezTo>
                  <a:pt x="1596" y="3698"/>
                  <a:pt x="1753" y="3541"/>
                  <a:pt x="1753" y="3348"/>
                </a:cubicBezTo>
                <a:cubicBezTo>
                  <a:pt x="1753" y="3279"/>
                  <a:pt x="1732" y="3214"/>
                  <a:pt x="1697" y="3160"/>
                </a:cubicBezTo>
                <a:lnTo>
                  <a:pt x="2282" y="3160"/>
                </a:lnTo>
                <a:cubicBezTo>
                  <a:pt x="2247" y="3214"/>
                  <a:pt x="2226" y="3279"/>
                  <a:pt x="2226" y="3348"/>
                </a:cubicBezTo>
                <a:cubicBezTo>
                  <a:pt x="2226" y="3541"/>
                  <a:pt x="2383" y="3698"/>
                  <a:pt x="2576" y="3698"/>
                </a:cubicBezTo>
                <a:cubicBezTo>
                  <a:pt x="2768" y="3698"/>
                  <a:pt x="2925" y="3541"/>
                  <a:pt x="2925" y="3348"/>
                </a:cubicBezTo>
                <a:cubicBezTo>
                  <a:pt x="2925" y="3262"/>
                  <a:pt x="2893" y="3183"/>
                  <a:pt x="2840" y="3122"/>
                </a:cubicBezTo>
                <a:lnTo>
                  <a:pt x="3582" y="713"/>
                </a:lnTo>
                <a:lnTo>
                  <a:pt x="4133" y="162"/>
                </a:lnTo>
                <a:lnTo>
                  <a:pt x="4783" y="162"/>
                </a:lnTo>
                <a:lnTo>
                  <a:pt x="4783" y="0"/>
                </a:lnTo>
                <a:lnTo>
                  <a:pt x="4066" y="0"/>
                </a:lnTo>
                <a:close/>
                <a:moveTo>
                  <a:pt x="1404" y="3537"/>
                </a:moveTo>
                <a:cubicBezTo>
                  <a:pt x="1300" y="3537"/>
                  <a:pt x="1215" y="3452"/>
                  <a:pt x="1215" y="3348"/>
                </a:cubicBezTo>
                <a:cubicBezTo>
                  <a:pt x="1215" y="3245"/>
                  <a:pt x="1300" y="3160"/>
                  <a:pt x="1404" y="3160"/>
                </a:cubicBezTo>
                <a:cubicBezTo>
                  <a:pt x="1507" y="3160"/>
                  <a:pt x="1592" y="3245"/>
                  <a:pt x="1592" y="3348"/>
                </a:cubicBezTo>
                <a:cubicBezTo>
                  <a:pt x="1592" y="3452"/>
                  <a:pt x="1507" y="3537"/>
                  <a:pt x="1404" y="3537"/>
                </a:cubicBezTo>
                <a:close/>
                <a:moveTo>
                  <a:pt x="2575" y="3537"/>
                </a:moveTo>
                <a:cubicBezTo>
                  <a:pt x="2472" y="3537"/>
                  <a:pt x="2387" y="3452"/>
                  <a:pt x="2387" y="3348"/>
                </a:cubicBezTo>
                <a:cubicBezTo>
                  <a:pt x="2387" y="3245"/>
                  <a:pt x="2472" y="3160"/>
                  <a:pt x="2575" y="3160"/>
                </a:cubicBezTo>
                <a:cubicBezTo>
                  <a:pt x="2679" y="3160"/>
                  <a:pt x="2764" y="3245"/>
                  <a:pt x="2764" y="3348"/>
                </a:cubicBezTo>
                <a:cubicBezTo>
                  <a:pt x="2764" y="3452"/>
                  <a:pt x="2679" y="3537"/>
                  <a:pt x="2575" y="3537"/>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accent1"/>
              </a:solidFill>
            </a:endParaRPr>
          </a:p>
        </p:txBody>
      </p:sp>
    </p:spTree>
    <p:custDataLst>
      <p:tags r:id="rId2"/>
    </p:custDataLst>
    <p:extLst>
      <p:ext uri="{BB962C8B-B14F-4D97-AF65-F5344CB8AC3E}">
        <p14:creationId xmlns:p14="http://schemas.microsoft.com/office/powerpoint/2010/main" val="3182579979"/>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a:extLst>
              <a:ext uri="{FF2B5EF4-FFF2-40B4-BE49-F238E27FC236}">
                <a16:creationId xmlns:a16="http://schemas.microsoft.com/office/drawing/2014/main" id="{5486B73E-12CC-4615-9A03-1D84A464F2DB}"/>
              </a:ext>
            </a:extLst>
          </p:cNvPr>
          <p:cNvSpPr txBox="1"/>
          <p:nvPr/>
        </p:nvSpPr>
        <p:spPr>
          <a:xfrm>
            <a:off x="4760285" y="568090"/>
            <a:ext cx="2802566" cy="553998"/>
          </a:xfrm>
          <a:prstGeom prst="rect">
            <a:avLst/>
          </a:prstGeom>
          <a:noFill/>
        </p:spPr>
        <p:txBody>
          <a:bodyPr wrap="square" lIns="0" tIns="0" rIns="0" bIns="0" rtlCol="0" anchor="t">
            <a:spAutoFit/>
          </a:bodyPr>
          <a:lstStyle/>
          <a:p>
            <a:pPr algn="dist"/>
            <a:r>
              <a:rPr lang="en-US" altLang="zh-CN" sz="3600" dirty="0">
                <a:solidFill>
                  <a:schemeClr val="accent1">
                    <a:alpha val="20000"/>
                  </a:schemeClr>
                </a:solidFill>
                <a:latin typeface="+mj-ea"/>
                <a:ea typeface="+mj-ea"/>
              </a:rPr>
              <a:t>CONTENTS</a:t>
            </a:r>
            <a:endParaRPr lang="zh-CN" altLang="en-US" sz="3600" dirty="0">
              <a:solidFill>
                <a:schemeClr val="accent1">
                  <a:alpha val="20000"/>
                </a:schemeClr>
              </a:solidFill>
              <a:latin typeface="+mj-ea"/>
              <a:ea typeface="+mj-ea"/>
            </a:endParaRPr>
          </a:p>
        </p:txBody>
      </p:sp>
      <p:sp>
        <p:nvSpPr>
          <p:cNvPr id="3" name="文本框 2">
            <a:extLst>
              <a:ext uri="{FF2B5EF4-FFF2-40B4-BE49-F238E27FC236}">
                <a16:creationId xmlns:a16="http://schemas.microsoft.com/office/drawing/2014/main" id="{3BA2CAFE-BBE1-4E88-878C-7B532E003B52}"/>
              </a:ext>
            </a:extLst>
          </p:cNvPr>
          <p:cNvSpPr txBox="1"/>
          <p:nvPr/>
        </p:nvSpPr>
        <p:spPr>
          <a:xfrm>
            <a:off x="4759151" y="768889"/>
            <a:ext cx="2673698" cy="1354217"/>
          </a:xfrm>
          <a:prstGeom prst="rect">
            <a:avLst/>
          </a:prstGeom>
          <a:noFill/>
        </p:spPr>
        <p:txBody>
          <a:bodyPr wrap="square" lIns="0" tIns="0" rIns="0" bIns="0" rtlCol="0" anchor="t">
            <a:spAutoFit/>
          </a:bodyPr>
          <a:lstStyle/>
          <a:p>
            <a:pPr algn="dist"/>
            <a:r>
              <a:rPr lang="zh-CN" altLang="en-US" sz="8800" dirty="0">
                <a:solidFill>
                  <a:schemeClr val="accent1"/>
                </a:solidFill>
                <a:latin typeface="+mj-ea"/>
                <a:ea typeface="+mj-ea"/>
              </a:rPr>
              <a:t>目录</a:t>
            </a:r>
          </a:p>
        </p:txBody>
      </p:sp>
      <p:grpSp>
        <p:nvGrpSpPr>
          <p:cNvPr id="8" name="组合 7">
            <a:extLst>
              <a:ext uri="{FF2B5EF4-FFF2-40B4-BE49-F238E27FC236}">
                <a16:creationId xmlns:a16="http://schemas.microsoft.com/office/drawing/2014/main" id="{264FDEDB-0216-4C17-A4D6-BEDB2438946E}"/>
              </a:ext>
            </a:extLst>
          </p:cNvPr>
          <p:cNvGrpSpPr/>
          <p:nvPr/>
        </p:nvGrpSpPr>
        <p:grpSpPr>
          <a:xfrm>
            <a:off x="1037042" y="2573655"/>
            <a:ext cx="2205990" cy="2205990"/>
            <a:chOff x="1764030" y="2573655"/>
            <a:chExt cx="2205990" cy="2205990"/>
          </a:xfrm>
        </p:grpSpPr>
        <p:sp>
          <p:nvSpPr>
            <p:cNvPr id="4" name="椭圆 3">
              <a:extLst>
                <a:ext uri="{FF2B5EF4-FFF2-40B4-BE49-F238E27FC236}">
                  <a16:creationId xmlns:a16="http://schemas.microsoft.com/office/drawing/2014/main" id="{829C1AC5-0DB2-43D4-ABAB-B2C5F569B355}"/>
                </a:ext>
              </a:extLst>
            </p:cNvPr>
            <p:cNvSpPr/>
            <p:nvPr/>
          </p:nvSpPr>
          <p:spPr>
            <a:xfrm>
              <a:off x="1764030" y="2573655"/>
              <a:ext cx="2205990" cy="2205990"/>
            </a:xfrm>
            <a:prstGeom prst="ellipse">
              <a:avLst/>
            </a:prstGeom>
            <a:gradFill>
              <a:gsLst>
                <a:gs pos="8000">
                  <a:schemeClr val="accent1">
                    <a:lumMod val="40000"/>
                    <a:lumOff val="60000"/>
                  </a:schemeClr>
                </a:gs>
                <a:gs pos="100000">
                  <a:schemeClr val="accent1"/>
                </a:gs>
              </a:gsLst>
              <a:path path="circle">
                <a:fillToRect r="100000" b="10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p>
          </p:txBody>
        </p:sp>
        <p:sp>
          <p:nvSpPr>
            <p:cNvPr id="5" name="文本框 4">
              <a:extLst>
                <a:ext uri="{FF2B5EF4-FFF2-40B4-BE49-F238E27FC236}">
                  <a16:creationId xmlns:a16="http://schemas.microsoft.com/office/drawing/2014/main" id="{34A7E688-DA33-438A-85D5-3F895FF29082}"/>
                </a:ext>
              </a:extLst>
            </p:cNvPr>
            <p:cNvSpPr txBox="1"/>
            <p:nvPr/>
          </p:nvSpPr>
          <p:spPr>
            <a:xfrm>
              <a:off x="2604133" y="3023800"/>
              <a:ext cx="525785" cy="553998"/>
            </a:xfrm>
            <a:prstGeom prst="rect">
              <a:avLst/>
            </a:prstGeom>
            <a:noFill/>
          </p:spPr>
          <p:txBody>
            <a:bodyPr wrap="none" lIns="0" tIns="0" rIns="0" bIns="0" rtlCol="0" anchor="t">
              <a:spAutoFit/>
            </a:bodyPr>
            <a:lstStyle/>
            <a:p>
              <a:pPr algn="ctr"/>
              <a:r>
                <a:rPr lang="en-US" altLang="zh-CN" sz="3600" dirty="0">
                  <a:solidFill>
                    <a:schemeClr val="bg1"/>
                  </a:solidFill>
                  <a:latin typeface="+mj-ea"/>
                  <a:ea typeface="+mj-ea"/>
                </a:rPr>
                <a:t>01</a:t>
              </a:r>
              <a:endParaRPr lang="zh-CN" altLang="en-US" sz="3600" dirty="0">
                <a:solidFill>
                  <a:schemeClr val="bg1"/>
                </a:solidFill>
                <a:latin typeface="+mj-ea"/>
                <a:ea typeface="+mj-ea"/>
              </a:endParaRPr>
            </a:p>
          </p:txBody>
        </p:sp>
        <p:sp>
          <p:nvSpPr>
            <p:cNvPr id="6" name="文本框 5">
              <a:extLst>
                <a:ext uri="{FF2B5EF4-FFF2-40B4-BE49-F238E27FC236}">
                  <a16:creationId xmlns:a16="http://schemas.microsoft.com/office/drawing/2014/main" id="{E5CDDCC9-C6B0-476F-83DE-64D821002E5A}"/>
                </a:ext>
              </a:extLst>
            </p:cNvPr>
            <p:cNvSpPr txBox="1"/>
            <p:nvPr/>
          </p:nvSpPr>
          <p:spPr>
            <a:xfrm>
              <a:off x="2148880" y="3601726"/>
              <a:ext cx="1436291" cy="430887"/>
            </a:xfrm>
            <a:prstGeom prst="rect">
              <a:avLst/>
            </a:prstGeom>
            <a:noFill/>
          </p:spPr>
          <p:txBody>
            <a:bodyPr wrap="none" lIns="0" tIns="0" rIns="0" bIns="0" rtlCol="0" anchor="t">
              <a:spAutoFit/>
            </a:bodyPr>
            <a:lstStyle/>
            <a:p>
              <a:r>
                <a:rPr lang="zh-CN" altLang="en-US" sz="2800" dirty="0">
                  <a:solidFill>
                    <a:schemeClr val="bg1"/>
                  </a:solidFill>
                  <a:latin typeface="+mj-ea"/>
                  <a:ea typeface="+mj-ea"/>
                </a:rPr>
                <a:t>目录标题</a:t>
              </a:r>
            </a:p>
          </p:txBody>
        </p:sp>
        <p:sp>
          <p:nvSpPr>
            <p:cNvPr id="7" name="文本框 6">
              <a:extLst>
                <a:ext uri="{FF2B5EF4-FFF2-40B4-BE49-F238E27FC236}">
                  <a16:creationId xmlns:a16="http://schemas.microsoft.com/office/drawing/2014/main" id="{4E61B8BE-EB3C-4EAD-8883-68095EB796F5}"/>
                </a:ext>
              </a:extLst>
            </p:cNvPr>
            <p:cNvSpPr txBox="1"/>
            <p:nvPr/>
          </p:nvSpPr>
          <p:spPr>
            <a:xfrm>
              <a:off x="2174042" y="4006515"/>
              <a:ext cx="1385967" cy="215444"/>
            </a:xfrm>
            <a:prstGeom prst="rect">
              <a:avLst/>
            </a:prstGeom>
            <a:noFill/>
          </p:spPr>
          <p:txBody>
            <a:bodyPr wrap="square" lIns="0" tIns="0" rIns="0" bIns="0" rtlCol="0" anchor="t">
              <a:spAutoFit/>
            </a:bodyPr>
            <a:lstStyle/>
            <a:p>
              <a:pPr algn="dist"/>
              <a:r>
                <a:rPr lang="en-US" altLang="zh-CN" sz="1400" dirty="0">
                  <a:solidFill>
                    <a:schemeClr val="bg1"/>
                  </a:solidFill>
                </a:rPr>
                <a:t>Contents Title</a:t>
              </a:r>
              <a:endParaRPr lang="zh-CN" altLang="en-US" sz="1400" dirty="0">
                <a:solidFill>
                  <a:schemeClr val="bg1"/>
                </a:solidFill>
              </a:endParaRPr>
            </a:p>
          </p:txBody>
        </p:sp>
      </p:grpSp>
      <p:grpSp>
        <p:nvGrpSpPr>
          <p:cNvPr id="14" name="组合 13">
            <a:extLst>
              <a:ext uri="{FF2B5EF4-FFF2-40B4-BE49-F238E27FC236}">
                <a16:creationId xmlns:a16="http://schemas.microsoft.com/office/drawing/2014/main" id="{8D36FCF7-10C5-407D-ACAD-AEACDB5A3C7C}"/>
              </a:ext>
            </a:extLst>
          </p:cNvPr>
          <p:cNvGrpSpPr/>
          <p:nvPr/>
        </p:nvGrpSpPr>
        <p:grpSpPr>
          <a:xfrm>
            <a:off x="3674351" y="2573655"/>
            <a:ext cx="2205990" cy="2205990"/>
            <a:chOff x="1764030" y="2573655"/>
            <a:chExt cx="2205990" cy="2205990"/>
          </a:xfrm>
        </p:grpSpPr>
        <p:sp>
          <p:nvSpPr>
            <p:cNvPr id="15" name="椭圆 14">
              <a:extLst>
                <a:ext uri="{FF2B5EF4-FFF2-40B4-BE49-F238E27FC236}">
                  <a16:creationId xmlns:a16="http://schemas.microsoft.com/office/drawing/2014/main" id="{2439F8AB-3254-41F9-9F23-4CED702E9E3C}"/>
                </a:ext>
              </a:extLst>
            </p:cNvPr>
            <p:cNvSpPr/>
            <p:nvPr/>
          </p:nvSpPr>
          <p:spPr>
            <a:xfrm>
              <a:off x="1764030" y="2573655"/>
              <a:ext cx="2205990" cy="2205990"/>
            </a:xfrm>
            <a:prstGeom prst="ellipse">
              <a:avLst/>
            </a:prstGeom>
            <a:gradFill>
              <a:gsLst>
                <a:gs pos="8000">
                  <a:schemeClr val="accent1">
                    <a:lumMod val="40000"/>
                    <a:lumOff val="60000"/>
                  </a:schemeClr>
                </a:gs>
                <a:gs pos="100000">
                  <a:schemeClr val="accent1"/>
                </a:gs>
              </a:gsLst>
              <a:path path="circle">
                <a:fillToRect r="100000" b="10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p>
          </p:txBody>
        </p:sp>
        <p:sp>
          <p:nvSpPr>
            <p:cNvPr id="16" name="文本框 15">
              <a:extLst>
                <a:ext uri="{FF2B5EF4-FFF2-40B4-BE49-F238E27FC236}">
                  <a16:creationId xmlns:a16="http://schemas.microsoft.com/office/drawing/2014/main" id="{A1A6C6FB-0511-4EF3-8A6C-68144333A872}"/>
                </a:ext>
              </a:extLst>
            </p:cNvPr>
            <p:cNvSpPr txBox="1"/>
            <p:nvPr/>
          </p:nvSpPr>
          <p:spPr>
            <a:xfrm>
              <a:off x="2562455" y="3023800"/>
              <a:ext cx="609141" cy="553998"/>
            </a:xfrm>
            <a:prstGeom prst="rect">
              <a:avLst/>
            </a:prstGeom>
            <a:noFill/>
          </p:spPr>
          <p:txBody>
            <a:bodyPr wrap="none" lIns="0" tIns="0" rIns="0" bIns="0" rtlCol="0" anchor="t">
              <a:spAutoFit/>
            </a:bodyPr>
            <a:lstStyle/>
            <a:p>
              <a:pPr algn="ctr"/>
              <a:r>
                <a:rPr lang="en-US" altLang="zh-CN" sz="3600" dirty="0">
                  <a:solidFill>
                    <a:schemeClr val="bg1"/>
                  </a:solidFill>
                  <a:latin typeface="+mj-ea"/>
                  <a:ea typeface="+mj-ea"/>
                </a:rPr>
                <a:t>02</a:t>
              </a:r>
              <a:endParaRPr lang="zh-CN" altLang="en-US" sz="3600" dirty="0">
                <a:solidFill>
                  <a:schemeClr val="bg1"/>
                </a:solidFill>
                <a:latin typeface="+mj-ea"/>
                <a:ea typeface="+mj-ea"/>
              </a:endParaRPr>
            </a:p>
          </p:txBody>
        </p:sp>
        <p:sp>
          <p:nvSpPr>
            <p:cNvPr id="17" name="文本框 16">
              <a:extLst>
                <a:ext uri="{FF2B5EF4-FFF2-40B4-BE49-F238E27FC236}">
                  <a16:creationId xmlns:a16="http://schemas.microsoft.com/office/drawing/2014/main" id="{57C0D656-AEE0-432F-8C72-841D35765815}"/>
                </a:ext>
              </a:extLst>
            </p:cNvPr>
            <p:cNvSpPr txBox="1"/>
            <p:nvPr/>
          </p:nvSpPr>
          <p:spPr>
            <a:xfrm>
              <a:off x="2148880" y="3601726"/>
              <a:ext cx="1436291" cy="430887"/>
            </a:xfrm>
            <a:prstGeom prst="rect">
              <a:avLst/>
            </a:prstGeom>
            <a:noFill/>
          </p:spPr>
          <p:txBody>
            <a:bodyPr wrap="none" lIns="0" tIns="0" rIns="0" bIns="0" rtlCol="0" anchor="t">
              <a:spAutoFit/>
            </a:bodyPr>
            <a:lstStyle/>
            <a:p>
              <a:r>
                <a:rPr lang="zh-CN" altLang="en-US" sz="2800" dirty="0">
                  <a:solidFill>
                    <a:schemeClr val="bg1"/>
                  </a:solidFill>
                  <a:latin typeface="+mj-ea"/>
                  <a:ea typeface="+mj-ea"/>
                </a:rPr>
                <a:t>目录标题</a:t>
              </a:r>
            </a:p>
          </p:txBody>
        </p:sp>
        <p:sp>
          <p:nvSpPr>
            <p:cNvPr id="18" name="文本框 17">
              <a:extLst>
                <a:ext uri="{FF2B5EF4-FFF2-40B4-BE49-F238E27FC236}">
                  <a16:creationId xmlns:a16="http://schemas.microsoft.com/office/drawing/2014/main" id="{F975BE89-FBF5-4818-9B87-C66F17DB39E1}"/>
                </a:ext>
              </a:extLst>
            </p:cNvPr>
            <p:cNvSpPr txBox="1"/>
            <p:nvPr/>
          </p:nvSpPr>
          <p:spPr>
            <a:xfrm>
              <a:off x="2174042" y="4006515"/>
              <a:ext cx="1385967" cy="215444"/>
            </a:xfrm>
            <a:prstGeom prst="rect">
              <a:avLst/>
            </a:prstGeom>
            <a:noFill/>
          </p:spPr>
          <p:txBody>
            <a:bodyPr wrap="square" lIns="0" tIns="0" rIns="0" bIns="0" rtlCol="0" anchor="t">
              <a:spAutoFit/>
            </a:bodyPr>
            <a:lstStyle/>
            <a:p>
              <a:pPr algn="dist"/>
              <a:r>
                <a:rPr lang="en-US" altLang="zh-CN" sz="1400" dirty="0">
                  <a:solidFill>
                    <a:schemeClr val="bg1"/>
                  </a:solidFill>
                </a:rPr>
                <a:t>Contents Title</a:t>
              </a:r>
              <a:endParaRPr lang="zh-CN" altLang="en-US" sz="1400" dirty="0">
                <a:solidFill>
                  <a:schemeClr val="bg1"/>
                </a:solidFill>
              </a:endParaRPr>
            </a:p>
          </p:txBody>
        </p:sp>
      </p:grpSp>
      <p:grpSp>
        <p:nvGrpSpPr>
          <p:cNvPr id="19" name="组合 18">
            <a:extLst>
              <a:ext uri="{FF2B5EF4-FFF2-40B4-BE49-F238E27FC236}">
                <a16:creationId xmlns:a16="http://schemas.microsoft.com/office/drawing/2014/main" id="{D18A3807-4EC1-4FE8-BB00-274840CF4002}"/>
              </a:ext>
            </a:extLst>
          </p:cNvPr>
          <p:cNvGrpSpPr/>
          <p:nvPr/>
        </p:nvGrpSpPr>
        <p:grpSpPr>
          <a:xfrm>
            <a:off x="6311660" y="2573655"/>
            <a:ext cx="2205990" cy="2205990"/>
            <a:chOff x="1764030" y="2573655"/>
            <a:chExt cx="2205990" cy="2205990"/>
          </a:xfrm>
        </p:grpSpPr>
        <p:sp>
          <p:nvSpPr>
            <p:cNvPr id="20" name="椭圆 19">
              <a:extLst>
                <a:ext uri="{FF2B5EF4-FFF2-40B4-BE49-F238E27FC236}">
                  <a16:creationId xmlns:a16="http://schemas.microsoft.com/office/drawing/2014/main" id="{0ADFDC24-D907-4F87-A75A-62EC3EC16B0A}"/>
                </a:ext>
              </a:extLst>
            </p:cNvPr>
            <p:cNvSpPr/>
            <p:nvPr/>
          </p:nvSpPr>
          <p:spPr>
            <a:xfrm>
              <a:off x="1764030" y="2573655"/>
              <a:ext cx="2205990" cy="2205990"/>
            </a:xfrm>
            <a:prstGeom prst="ellipse">
              <a:avLst/>
            </a:prstGeom>
            <a:gradFill>
              <a:gsLst>
                <a:gs pos="8000">
                  <a:schemeClr val="accent1">
                    <a:lumMod val="40000"/>
                    <a:lumOff val="60000"/>
                  </a:schemeClr>
                </a:gs>
                <a:gs pos="100000">
                  <a:schemeClr val="accent1"/>
                </a:gs>
              </a:gsLst>
              <a:path path="circle">
                <a:fillToRect r="100000" b="10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p>
          </p:txBody>
        </p:sp>
        <p:sp>
          <p:nvSpPr>
            <p:cNvPr id="21" name="文本框 20">
              <a:extLst>
                <a:ext uri="{FF2B5EF4-FFF2-40B4-BE49-F238E27FC236}">
                  <a16:creationId xmlns:a16="http://schemas.microsoft.com/office/drawing/2014/main" id="{A62066F2-1E33-4BE7-9A54-5C19ECDCE95F}"/>
                </a:ext>
              </a:extLst>
            </p:cNvPr>
            <p:cNvSpPr txBox="1"/>
            <p:nvPr/>
          </p:nvSpPr>
          <p:spPr>
            <a:xfrm>
              <a:off x="2562455" y="3023800"/>
              <a:ext cx="609141" cy="553998"/>
            </a:xfrm>
            <a:prstGeom prst="rect">
              <a:avLst/>
            </a:prstGeom>
            <a:noFill/>
          </p:spPr>
          <p:txBody>
            <a:bodyPr wrap="none" lIns="0" tIns="0" rIns="0" bIns="0" rtlCol="0" anchor="t">
              <a:spAutoFit/>
            </a:bodyPr>
            <a:lstStyle/>
            <a:p>
              <a:pPr algn="ctr"/>
              <a:r>
                <a:rPr lang="en-US" altLang="zh-CN" sz="3600" dirty="0">
                  <a:solidFill>
                    <a:schemeClr val="bg1"/>
                  </a:solidFill>
                  <a:latin typeface="+mj-ea"/>
                  <a:ea typeface="+mj-ea"/>
                </a:rPr>
                <a:t>03</a:t>
              </a:r>
              <a:endParaRPr lang="zh-CN" altLang="en-US" sz="3600" dirty="0">
                <a:solidFill>
                  <a:schemeClr val="bg1"/>
                </a:solidFill>
                <a:latin typeface="+mj-ea"/>
                <a:ea typeface="+mj-ea"/>
              </a:endParaRPr>
            </a:p>
          </p:txBody>
        </p:sp>
        <p:sp>
          <p:nvSpPr>
            <p:cNvPr id="22" name="文本框 21">
              <a:extLst>
                <a:ext uri="{FF2B5EF4-FFF2-40B4-BE49-F238E27FC236}">
                  <a16:creationId xmlns:a16="http://schemas.microsoft.com/office/drawing/2014/main" id="{91B935FB-1FD5-4E81-ABAB-E91EFD7B4027}"/>
                </a:ext>
              </a:extLst>
            </p:cNvPr>
            <p:cNvSpPr txBox="1"/>
            <p:nvPr/>
          </p:nvSpPr>
          <p:spPr>
            <a:xfrm>
              <a:off x="2148880" y="3601726"/>
              <a:ext cx="1436291" cy="430887"/>
            </a:xfrm>
            <a:prstGeom prst="rect">
              <a:avLst/>
            </a:prstGeom>
            <a:noFill/>
          </p:spPr>
          <p:txBody>
            <a:bodyPr wrap="none" lIns="0" tIns="0" rIns="0" bIns="0" rtlCol="0" anchor="t">
              <a:spAutoFit/>
            </a:bodyPr>
            <a:lstStyle/>
            <a:p>
              <a:r>
                <a:rPr lang="zh-CN" altLang="en-US" sz="2800" dirty="0">
                  <a:solidFill>
                    <a:schemeClr val="bg1"/>
                  </a:solidFill>
                  <a:latin typeface="+mj-ea"/>
                  <a:ea typeface="+mj-ea"/>
                </a:rPr>
                <a:t>目录标题</a:t>
              </a:r>
            </a:p>
          </p:txBody>
        </p:sp>
        <p:sp>
          <p:nvSpPr>
            <p:cNvPr id="23" name="文本框 22">
              <a:extLst>
                <a:ext uri="{FF2B5EF4-FFF2-40B4-BE49-F238E27FC236}">
                  <a16:creationId xmlns:a16="http://schemas.microsoft.com/office/drawing/2014/main" id="{B954180D-6259-4249-AEDB-0EDFBA5D0104}"/>
                </a:ext>
              </a:extLst>
            </p:cNvPr>
            <p:cNvSpPr txBox="1"/>
            <p:nvPr/>
          </p:nvSpPr>
          <p:spPr>
            <a:xfrm>
              <a:off x="2174042" y="4006515"/>
              <a:ext cx="1385967" cy="215444"/>
            </a:xfrm>
            <a:prstGeom prst="rect">
              <a:avLst/>
            </a:prstGeom>
            <a:noFill/>
          </p:spPr>
          <p:txBody>
            <a:bodyPr wrap="square" lIns="0" tIns="0" rIns="0" bIns="0" rtlCol="0" anchor="t">
              <a:spAutoFit/>
            </a:bodyPr>
            <a:lstStyle/>
            <a:p>
              <a:pPr algn="dist"/>
              <a:r>
                <a:rPr lang="en-US" altLang="zh-CN" sz="1400" dirty="0">
                  <a:solidFill>
                    <a:schemeClr val="bg1"/>
                  </a:solidFill>
                </a:rPr>
                <a:t>Contents Title</a:t>
              </a:r>
              <a:endParaRPr lang="zh-CN" altLang="en-US" sz="1400" dirty="0">
                <a:solidFill>
                  <a:schemeClr val="bg1"/>
                </a:solidFill>
              </a:endParaRPr>
            </a:p>
          </p:txBody>
        </p:sp>
      </p:grpSp>
      <p:grpSp>
        <p:nvGrpSpPr>
          <p:cNvPr id="24" name="组合 23">
            <a:extLst>
              <a:ext uri="{FF2B5EF4-FFF2-40B4-BE49-F238E27FC236}">
                <a16:creationId xmlns:a16="http://schemas.microsoft.com/office/drawing/2014/main" id="{C6801C60-413A-49B0-BA84-15646C1D1F48}"/>
              </a:ext>
            </a:extLst>
          </p:cNvPr>
          <p:cNvGrpSpPr/>
          <p:nvPr/>
        </p:nvGrpSpPr>
        <p:grpSpPr>
          <a:xfrm>
            <a:off x="8948968" y="2573655"/>
            <a:ext cx="2205990" cy="2205990"/>
            <a:chOff x="1764030" y="2573655"/>
            <a:chExt cx="2205990" cy="2205990"/>
          </a:xfrm>
        </p:grpSpPr>
        <p:sp>
          <p:nvSpPr>
            <p:cNvPr id="25" name="椭圆 24">
              <a:extLst>
                <a:ext uri="{FF2B5EF4-FFF2-40B4-BE49-F238E27FC236}">
                  <a16:creationId xmlns:a16="http://schemas.microsoft.com/office/drawing/2014/main" id="{8111BD27-4DEA-4CE7-AA0A-4F0DD873BC07}"/>
                </a:ext>
              </a:extLst>
            </p:cNvPr>
            <p:cNvSpPr/>
            <p:nvPr/>
          </p:nvSpPr>
          <p:spPr>
            <a:xfrm>
              <a:off x="1764030" y="2573655"/>
              <a:ext cx="2205990" cy="2205990"/>
            </a:xfrm>
            <a:prstGeom prst="ellipse">
              <a:avLst/>
            </a:prstGeom>
            <a:gradFill>
              <a:gsLst>
                <a:gs pos="8000">
                  <a:schemeClr val="accent1">
                    <a:lumMod val="40000"/>
                    <a:lumOff val="60000"/>
                  </a:schemeClr>
                </a:gs>
                <a:gs pos="100000">
                  <a:schemeClr val="accent1"/>
                </a:gs>
              </a:gsLst>
              <a:path path="circle">
                <a:fillToRect r="100000" b="10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p>
          </p:txBody>
        </p:sp>
        <p:sp>
          <p:nvSpPr>
            <p:cNvPr id="26" name="文本框 25">
              <a:extLst>
                <a:ext uri="{FF2B5EF4-FFF2-40B4-BE49-F238E27FC236}">
                  <a16:creationId xmlns:a16="http://schemas.microsoft.com/office/drawing/2014/main" id="{ACCE1AC5-F72C-4C99-82D5-1ECEEE0E199B}"/>
                </a:ext>
              </a:extLst>
            </p:cNvPr>
            <p:cNvSpPr txBox="1"/>
            <p:nvPr/>
          </p:nvSpPr>
          <p:spPr>
            <a:xfrm>
              <a:off x="2562455" y="3023800"/>
              <a:ext cx="609141" cy="553998"/>
            </a:xfrm>
            <a:prstGeom prst="rect">
              <a:avLst/>
            </a:prstGeom>
            <a:noFill/>
          </p:spPr>
          <p:txBody>
            <a:bodyPr wrap="none" lIns="0" tIns="0" rIns="0" bIns="0" rtlCol="0" anchor="t">
              <a:spAutoFit/>
            </a:bodyPr>
            <a:lstStyle/>
            <a:p>
              <a:pPr algn="ctr"/>
              <a:r>
                <a:rPr lang="en-US" altLang="zh-CN" sz="3600" dirty="0">
                  <a:solidFill>
                    <a:schemeClr val="bg1"/>
                  </a:solidFill>
                  <a:latin typeface="+mj-ea"/>
                  <a:ea typeface="+mj-ea"/>
                </a:rPr>
                <a:t>04</a:t>
              </a:r>
              <a:endParaRPr lang="zh-CN" altLang="en-US" sz="3600" dirty="0">
                <a:solidFill>
                  <a:schemeClr val="bg1"/>
                </a:solidFill>
                <a:latin typeface="+mj-ea"/>
                <a:ea typeface="+mj-ea"/>
              </a:endParaRPr>
            </a:p>
          </p:txBody>
        </p:sp>
        <p:sp>
          <p:nvSpPr>
            <p:cNvPr id="27" name="文本框 26">
              <a:extLst>
                <a:ext uri="{FF2B5EF4-FFF2-40B4-BE49-F238E27FC236}">
                  <a16:creationId xmlns:a16="http://schemas.microsoft.com/office/drawing/2014/main" id="{0B890327-4ED8-4FD5-A2CD-C7EDD1956389}"/>
                </a:ext>
              </a:extLst>
            </p:cNvPr>
            <p:cNvSpPr txBox="1"/>
            <p:nvPr/>
          </p:nvSpPr>
          <p:spPr>
            <a:xfrm>
              <a:off x="2148880" y="3601726"/>
              <a:ext cx="1436291" cy="430887"/>
            </a:xfrm>
            <a:prstGeom prst="rect">
              <a:avLst/>
            </a:prstGeom>
            <a:noFill/>
          </p:spPr>
          <p:txBody>
            <a:bodyPr wrap="none" lIns="0" tIns="0" rIns="0" bIns="0" rtlCol="0" anchor="t">
              <a:spAutoFit/>
            </a:bodyPr>
            <a:lstStyle/>
            <a:p>
              <a:r>
                <a:rPr lang="zh-CN" altLang="en-US" sz="2800" dirty="0">
                  <a:solidFill>
                    <a:schemeClr val="bg1"/>
                  </a:solidFill>
                  <a:latin typeface="+mj-ea"/>
                  <a:ea typeface="+mj-ea"/>
                </a:rPr>
                <a:t>目录标题</a:t>
              </a:r>
            </a:p>
          </p:txBody>
        </p:sp>
        <p:sp>
          <p:nvSpPr>
            <p:cNvPr id="28" name="文本框 27">
              <a:extLst>
                <a:ext uri="{FF2B5EF4-FFF2-40B4-BE49-F238E27FC236}">
                  <a16:creationId xmlns:a16="http://schemas.microsoft.com/office/drawing/2014/main" id="{017C4E21-46F0-4354-B84B-EF2FCBE2A0B2}"/>
                </a:ext>
              </a:extLst>
            </p:cNvPr>
            <p:cNvSpPr txBox="1"/>
            <p:nvPr/>
          </p:nvSpPr>
          <p:spPr>
            <a:xfrm>
              <a:off x="2174042" y="4006515"/>
              <a:ext cx="1385967" cy="215444"/>
            </a:xfrm>
            <a:prstGeom prst="rect">
              <a:avLst/>
            </a:prstGeom>
            <a:noFill/>
          </p:spPr>
          <p:txBody>
            <a:bodyPr wrap="square" lIns="0" tIns="0" rIns="0" bIns="0" rtlCol="0" anchor="t">
              <a:spAutoFit/>
            </a:bodyPr>
            <a:lstStyle/>
            <a:p>
              <a:pPr algn="dist"/>
              <a:r>
                <a:rPr lang="en-US" altLang="zh-CN" sz="1400" dirty="0">
                  <a:solidFill>
                    <a:schemeClr val="bg1"/>
                  </a:solidFill>
                </a:rPr>
                <a:t>Contents Title</a:t>
              </a:r>
              <a:endParaRPr lang="zh-CN" altLang="en-US" sz="1400" dirty="0">
                <a:solidFill>
                  <a:schemeClr val="bg1"/>
                </a:solidFill>
              </a:endParaRPr>
            </a:p>
          </p:txBody>
        </p:sp>
      </p:grpSp>
      <p:sp>
        <p:nvSpPr>
          <p:cNvPr id="9" name="椭圆 8">
            <a:extLst>
              <a:ext uri="{FF2B5EF4-FFF2-40B4-BE49-F238E27FC236}">
                <a16:creationId xmlns:a16="http://schemas.microsoft.com/office/drawing/2014/main" id="{7DB37930-E92B-4FB6-B250-2285FA6F4F00}"/>
              </a:ext>
            </a:extLst>
          </p:cNvPr>
          <p:cNvSpPr/>
          <p:nvPr/>
        </p:nvSpPr>
        <p:spPr>
          <a:xfrm>
            <a:off x="1447053" y="5377110"/>
            <a:ext cx="1385968" cy="310020"/>
          </a:xfrm>
          <a:prstGeom prst="ellipse">
            <a:avLst/>
          </a:prstGeom>
          <a:solidFill>
            <a:schemeClr val="accent1">
              <a:alpha val="20000"/>
            </a:schemeClr>
          </a:solidFill>
          <a:ln>
            <a:noFill/>
          </a:ln>
          <a:effectLst>
            <a:softEdge rad="889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p>
        </p:txBody>
      </p:sp>
      <p:sp>
        <p:nvSpPr>
          <p:cNvPr id="30" name="椭圆 29">
            <a:extLst>
              <a:ext uri="{FF2B5EF4-FFF2-40B4-BE49-F238E27FC236}">
                <a16:creationId xmlns:a16="http://schemas.microsoft.com/office/drawing/2014/main" id="{A07D72A7-E991-4399-8006-6ED172767B0E}"/>
              </a:ext>
            </a:extLst>
          </p:cNvPr>
          <p:cNvSpPr/>
          <p:nvPr/>
        </p:nvSpPr>
        <p:spPr>
          <a:xfrm>
            <a:off x="4084363" y="5377110"/>
            <a:ext cx="1385968" cy="310020"/>
          </a:xfrm>
          <a:prstGeom prst="ellipse">
            <a:avLst/>
          </a:prstGeom>
          <a:solidFill>
            <a:schemeClr val="accent1">
              <a:alpha val="20000"/>
            </a:schemeClr>
          </a:solidFill>
          <a:ln>
            <a:noFill/>
          </a:ln>
          <a:effectLst>
            <a:softEdge rad="889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p>
        </p:txBody>
      </p:sp>
      <p:sp>
        <p:nvSpPr>
          <p:cNvPr id="31" name="椭圆 30">
            <a:extLst>
              <a:ext uri="{FF2B5EF4-FFF2-40B4-BE49-F238E27FC236}">
                <a16:creationId xmlns:a16="http://schemas.microsoft.com/office/drawing/2014/main" id="{03C540A7-B366-4706-93EB-0E4590246E06}"/>
              </a:ext>
            </a:extLst>
          </p:cNvPr>
          <p:cNvSpPr/>
          <p:nvPr/>
        </p:nvSpPr>
        <p:spPr>
          <a:xfrm>
            <a:off x="6739865" y="5377110"/>
            <a:ext cx="1385968" cy="310020"/>
          </a:xfrm>
          <a:prstGeom prst="ellipse">
            <a:avLst/>
          </a:prstGeom>
          <a:solidFill>
            <a:schemeClr val="accent1">
              <a:alpha val="20000"/>
            </a:schemeClr>
          </a:solidFill>
          <a:ln>
            <a:noFill/>
          </a:ln>
          <a:effectLst>
            <a:softEdge rad="889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p>
        </p:txBody>
      </p:sp>
      <p:sp>
        <p:nvSpPr>
          <p:cNvPr id="32" name="椭圆 31">
            <a:extLst>
              <a:ext uri="{FF2B5EF4-FFF2-40B4-BE49-F238E27FC236}">
                <a16:creationId xmlns:a16="http://schemas.microsoft.com/office/drawing/2014/main" id="{B281039E-CDCC-46C0-A721-304B3FC452D9}"/>
              </a:ext>
            </a:extLst>
          </p:cNvPr>
          <p:cNvSpPr/>
          <p:nvPr/>
        </p:nvSpPr>
        <p:spPr>
          <a:xfrm>
            <a:off x="9395367" y="5377110"/>
            <a:ext cx="1385968" cy="310020"/>
          </a:xfrm>
          <a:prstGeom prst="ellipse">
            <a:avLst/>
          </a:prstGeom>
          <a:solidFill>
            <a:schemeClr val="accent1">
              <a:alpha val="20000"/>
            </a:schemeClr>
          </a:solidFill>
          <a:ln>
            <a:noFill/>
          </a:ln>
          <a:effectLst>
            <a:softEdge rad="889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p>
        </p:txBody>
      </p:sp>
    </p:spTree>
    <p:extLst>
      <p:ext uri="{BB962C8B-B14F-4D97-AF65-F5344CB8AC3E}">
        <p14:creationId xmlns:p14="http://schemas.microsoft.com/office/powerpoint/2010/main" val="3049707619"/>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a:extLst>
              <a:ext uri="{FF2B5EF4-FFF2-40B4-BE49-F238E27FC236}">
                <a16:creationId xmlns:a16="http://schemas.microsoft.com/office/drawing/2014/main" id="{6C6DD586-A11E-40D2-A861-1F2D2FE456D4}"/>
              </a:ext>
            </a:extLst>
          </p:cNvPr>
          <p:cNvSpPr txBox="1"/>
          <p:nvPr/>
        </p:nvSpPr>
        <p:spPr>
          <a:xfrm>
            <a:off x="4760285" y="883743"/>
            <a:ext cx="2802566" cy="553998"/>
          </a:xfrm>
          <a:prstGeom prst="rect">
            <a:avLst/>
          </a:prstGeom>
          <a:noFill/>
        </p:spPr>
        <p:txBody>
          <a:bodyPr wrap="square" lIns="0" tIns="0" rIns="0" bIns="0" rtlCol="0" anchor="t">
            <a:spAutoFit/>
          </a:bodyPr>
          <a:lstStyle/>
          <a:p>
            <a:pPr algn="dist"/>
            <a:r>
              <a:rPr lang="en-US" altLang="zh-CN" sz="3600" dirty="0">
                <a:solidFill>
                  <a:schemeClr val="accent1">
                    <a:alpha val="20000"/>
                  </a:schemeClr>
                </a:solidFill>
                <a:latin typeface="+mj-ea"/>
                <a:ea typeface="+mj-ea"/>
              </a:rPr>
              <a:t>CONTENTS</a:t>
            </a:r>
            <a:endParaRPr lang="zh-CN" altLang="en-US" sz="3600" dirty="0">
              <a:solidFill>
                <a:schemeClr val="accent1">
                  <a:alpha val="20000"/>
                </a:schemeClr>
              </a:solidFill>
              <a:latin typeface="+mj-ea"/>
              <a:ea typeface="+mj-ea"/>
            </a:endParaRPr>
          </a:p>
        </p:txBody>
      </p:sp>
      <p:sp>
        <p:nvSpPr>
          <p:cNvPr id="3" name="文本框 2">
            <a:extLst>
              <a:ext uri="{FF2B5EF4-FFF2-40B4-BE49-F238E27FC236}">
                <a16:creationId xmlns:a16="http://schemas.microsoft.com/office/drawing/2014/main" id="{7C0D9837-0C77-4E42-BBBB-63911DE42D8D}"/>
              </a:ext>
            </a:extLst>
          </p:cNvPr>
          <p:cNvSpPr txBox="1"/>
          <p:nvPr/>
        </p:nvSpPr>
        <p:spPr>
          <a:xfrm>
            <a:off x="4759151" y="1084542"/>
            <a:ext cx="2673698" cy="1354217"/>
          </a:xfrm>
          <a:prstGeom prst="rect">
            <a:avLst/>
          </a:prstGeom>
          <a:noFill/>
        </p:spPr>
        <p:txBody>
          <a:bodyPr wrap="square" lIns="0" tIns="0" rIns="0" bIns="0" rtlCol="0" anchor="t">
            <a:spAutoFit/>
          </a:bodyPr>
          <a:lstStyle/>
          <a:p>
            <a:pPr algn="dist"/>
            <a:r>
              <a:rPr lang="zh-CN" altLang="en-US" sz="8800" dirty="0">
                <a:solidFill>
                  <a:schemeClr val="accent1"/>
                </a:solidFill>
                <a:latin typeface="+mj-ea"/>
                <a:ea typeface="+mj-ea"/>
              </a:rPr>
              <a:t>目录</a:t>
            </a:r>
          </a:p>
        </p:txBody>
      </p:sp>
      <p:sp>
        <p:nvSpPr>
          <p:cNvPr id="4" name="椭圆 3">
            <a:extLst>
              <a:ext uri="{FF2B5EF4-FFF2-40B4-BE49-F238E27FC236}">
                <a16:creationId xmlns:a16="http://schemas.microsoft.com/office/drawing/2014/main" id="{937528F2-851A-4BDC-9FC6-30594E6B1401}"/>
              </a:ext>
            </a:extLst>
          </p:cNvPr>
          <p:cNvSpPr/>
          <p:nvPr/>
        </p:nvSpPr>
        <p:spPr>
          <a:xfrm>
            <a:off x="1231900" y="2806700"/>
            <a:ext cx="2565400" cy="2565400"/>
          </a:xfrm>
          <a:prstGeom prst="ellipse">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p>
        </p:txBody>
      </p:sp>
      <p:sp>
        <p:nvSpPr>
          <p:cNvPr id="5" name="椭圆 4">
            <a:extLst>
              <a:ext uri="{FF2B5EF4-FFF2-40B4-BE49-F238E27FC236}">
                <a16:creationId xmlns:a16="http://schemas.microsoft.com/office/drawing/2014/main" id="{2CEA25F2-FEE4-4773-BCDC-6B4BE858EE19}"/>
              </a:ext>
            </a:extLst>
          </p:cNvPr>
          <p:cNvSpPr/>
          <p:nvPr/>
        </p:nvSpPr>
        <p:spPr>
          <a:xfrm>
            <a:off x="3403600" y="2806700"/>
            <a:ext cx="2565400" cy="2565400"/>
          </a:xfrm>
          <a:prstGeom prst="ellipse">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p>
        </p:txBody>
      </p:sp>
      <p:sp>
        <p:nvSpPr>
          <p:cNvPr id="6" name="椭圆 5">
            <a:extLst>
              <a:ext uri="{FF2B5EF4-FFF2-40B4-BE49-F238E27FC236}">
                <a16:creationId xmlns:a16="http://schemas.microsoft.com/office/drawing/2014/main" id="{32627F5D-7F0C-461F-BAA8-5E19591C5587}"/>
              </a:ext>
            </a:extLst>
          </p:cNvPr>
          <p:cNvSpPr/>
          <p:nvPr/>
        </p:nvSpPr>
        <p:spPr>
          <a:xfrm>
            <a:off x="5765800" y="2806700"/>
            <a:ext cx="2565400" cy="2565400"/>
          </a:xfrm>
          <a:prstGeom prst="ellipse">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p>
        </p:txBody>
      </p:sp>
      <p:sp>
        <p:nvSpPr>
          <p:cNvPr id="7" name="椭圆 6">
            <a:extLst>
              <a:ext uri="{FF2B5EF4-FFF2-40B4-BE49-F238E27FC236}">
                <a16:creationId xmlns:a16="http://schemas.microsoft.com/office/drawing/2014/main" id="{CC72F6BD-63F2-49E8-905F-808EF2BC33C1}"/>
              </a:ext>
            </a:extLst>
          </p:cNvPr>
          <p:cNvSpPr/>
          <p:nvPr/>
        </p:nvSpPr>
        <p:spPr>
          <a:xfrm>
            <a:off x="8004349" y="2806700"/>
            <a:ext cx="2565400" cy="2565400"/>
          </a:xfrm>
          <a:prstGeom prst="ellipse">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p>
        </p:txBody>
      </p:sp>
      <p:sp>
        <p:nvSpPr>
          <p:cNvPr id="8" name="文本框 7">
            <a:extLst>
              <a:ext uri="{FF2B5EF4-FFF2-40B4-BE49-F238E27FC236}">
                <a16:creationId xmlns:a16="http://schemas.microsoft.com/office/drawing/2014/main" id="{212E804C-3D05-44EB-974C-307A25F2F3B9}"/>
              </a:ext>
            </a:extLst>
          </p:cNvPr>
          <p:cNvSpPr txBox="1"/>
          <p:nvPr/>
        </p:nvSpPr>
        <p:spPr>
          <a:xfrm>
            <a:off x="2156458" y="3429000"/>
            <a:ext cx="525785" cy="553998"/>
          </a:xfrm>
          <a:prstGeom prst="rect">
            <a:avLst/>
          </a:prstGeom>
          <a:noFill/>
        </p:spPr>
        <p:txBody>
          <a:bodyPr wrap="none" lIns="0" tIns="0" rIns="0" bIns="0" rtlCol="0" anchor="t">
            <a:spAutoFit/>
          </a:bodyPr>
          <a:lstStyle/>
          <a:p>
            <a:pPr algn="ctr"/>
            <a:r>
              <a:rPr lang="en-US" altLang="zh-CN" sz="3600" dirty="0">
                <a:solidFill>
                  <a:schemeClr val="bg1"/>
                </a:solidFill>
                <a:latin typeface="+mj-ea"/>
                <a:ea typeface="+mj-ea"/>
              </a:rPr>
              <a:t>01</a:t>
            </a:r>
            <a:endParaRPr lang="zh-CN" altLang="en-US" sz="3600" dirty="0">
              <a:solidFill>
                <a:schemeClr val="bg1"/>
              </a:solidFill>
              <a:latin typeface="+mj-ea"/>
              <a:ea typeface="+mj-ea"/>
            </a:endParaRPr>
          </a:p>
        </p:txBody>
      </p:sp>
      <p:sp>
        <p:nvSpPr>
          <p:cNvPr id="9" name="文本框 8">
            <a:extLst>
              <a:ext uri="{FF2B5EF4-FFF2-40B4-BE49-F238E27FC236}">
                <a16:creationId xmlns:a16="http://schemas.microsoft.com/office/drawing/2014/main" id="{5570406F-E8C0-43BE-86B0-EF7A054967B7}"/>
              </a:ext>
            </a:extLst>
          </p:cNvPr>
          <p:cNvSpPr txBox="1"/>
          <p:nvPr/>
        </p:nvSpPr>
        <p:spPr>
          <a:xfrm>
            <a:off x="1701205" y="4006926"/>
            <a:ext cx="1436291" cy="430887"/>
          </a:xfrm>
          <a:prstGeom prst="rect">
            <a:avLst/>
          </a:prstGeom>
          <a:noFill/>
        </p:spPr>
        <p:txBody>
          <a:bodyPr wrap="none" lIns="0" tIns="0" rIns="0" bIns="0" rtlCol="0" anchor="t">
            <a:spAutoFit/>
          </a:bodyPr>
          <a:lstStyle/>
          <a:p>
            <a:r>
              <a:rPr lang="zh-CN" altLang="en-US" sz="2800" dirty="0">
                <a:solidFill>
                  <a:schemeClr val="bg1"/>
                </a:solidFill>
                <a:latin typeface="+mj-ea"/>
                <a:ea typeface="+mj-ea"/>
              </a:rPr>
              <a:t>目录标题</a:t>
            </a:r>
          </a:p>
        </p:txBody>
      </p:sp>
      <p:sp>
        <p:nvSpPr>
          <p:cNvPr id="10" name="文本框 9">
            <a:extLst>
              <a:ext uri="{FF2B5EF4-FFF2-40B4-BE49-F238E27FC236}">
                <a16:creationId xmlns:a16="http://schemas.microsoft.com/office/drawing/2014/main" id="{AB88800C-0FA2-4928-9F99-110D18EB8C6A}"/>
              </a:ext>
            </a:extLst>
          </p:cNvPr>
          <p:cNvSpPr txBox="1"/>
          <p:nvPr/>
        </p:nvSpPr>
        <p:spPr>
          <a:xfrm>
            <a:off x="1726367" y="4411715"/>
            <a:ext cx="1385967" cy="215444"/>
          </a:xfrm>
          <a:prstGeom prst="rect">
            <a:avLst/>
          </a:prstGeom>
          <a:noFill/>
        </p:spPr>
        <p:txBody>
          <a:bodyPr wrap="square" lIns="0" tIns="0" rIns="0" bIns="0" rtlCol="0" anchor="t">
            <a:spAutoFit/>
          </a:bodyPr>
          <a:lstStyle/>
          <a:p>
            <a:pPr algn="dist"/>
            <a:r>
              <a:rPr lang="en-US" altLang="zh-CN" sz="1400" dirty="0">
                <a:solidFill>
                  <a:schemeClr val="bg1"/>
                </a:solidFill>
              </a:rPr>
              <a:t>Contents Title</a:t>
            </a:r>
            <a:endParaRPr lang="zh-CN" altLang="en-US" sz="1400" dirty="0">
              <a:solidFill>
                <a:schemeClr val="bg1"/>
              </a:solidFill>
            </a:endParaRPr>
          </a:p>
        </p:txBody>
      </p:sp>
      <p:sp>
        <p:nvSpPr>
          <p:cNvPr id="11" name="文本框 10">
            <a:extLst>
              <a:ext uri="{FF2B5EF4-FFF2-40B4-BE49-F238E27FC236}">
                <a16:creationId xmlns:a16="http://schemas.microsoft.com/office/drawing/2014/main" id="{C28362A6-842D-41ED-A2AF-73C7B29C35A6}"/>
              </a:ext>
            </a:extLst>
          </p:cNvPr>
          <p:cNvSpPr txBox="1"/>
          <p:nvPr/>
        </p:nvSpPr>
        <p:spPr>
          <a:xfrm>
            <a:off x="4413021" y="3429000"/>
            <a:ext cx="609141" cy="553998"/>
          </a:xfrm>
          <a:prstGeom prst="rect">
            <a:avLst/>
          </a:prstGeom>
          <a:noFill/>
        </p:spPr>
        <p:txBody>
          <a:bodyPr wrap="none" lIns="0" tIns="0" rIns="0" bIns="0" rtlCol="0" anchor="t">
            <a:spAutoFit/>
          </a:bodyPr>
          <a:lstStyle/>
          <a:p>
            <a:pPr algn="ctr"/>
            <a:r>
              <a:rPr lang="en-US" altLang="zh-CN" sz="3600" dirty="0">
                <a:solidFill>
                  <a:schemeClr val="bg1"/>
                </a:solidFill>
                <a:latin typeface="+mj-ea"/>
                <a:ea typeface="+mj-ea"/>
              </a:rPr>
              <a:t>02</a:t>
            </a:r>
            <a:endParaRPr lang="zh-CN" altLang="en-US" sz="3600" dirty="0">
              <a:solidFill>
                <a:schemeClr val="bg1"/>
              </a:solidFill>
              <a:latin typeface="+mj-ea"/>
              <a:ea typeface="+mj-ea"/>
            </a:endParaRPr>
          </a:p>
        </p:txBody>
      </p:sp>
      <p:sp>
        <p:nvSpPr>
          <p:cNvPr id="12" name="文本框 11">
            <a:extLst>
              <a:ext uri="{FF2B5EF4-FFF2-40B4-BE49-F238E27FC236}">
                <a16:creationId xmlns:a16="http://schemas.microsoft.com/office/drawing/2014/main" id="{F623665D-1370-48C0-B380-4E280C4186EF}"/>
              </a:ext>
            </a:extLst>
          </p:cNvPr>
          <p:cNvSpPr txBox="1"/>
          <p:nvPr/>
        </p:nvSpPr>
        <p:spPr>
          <a:xfrm>
            <a:off x="3999446" y="4006926"/>
            <a:ext cx="1436291" cy="430887"/>
          </a:xfrm>
          <a:prstGeom prst="rect">
            <a:avLst/>
          </a:prstGeom>
          <a:noFill/>
        </p:spPr>
        <p:txBody>
          <a:bodyPr wrap="none" lIns="0" tIns="0" rIns="0" bIns="0" rtlCol="0" anchor="t">
            <a:spAutoFit/>
          </a:bodyPr>
          <a:lstStyle/>
          <a:p>
            <a:r>
              <a:rPr lang="zh-CN" altLang="en-US" sz="2800" dirty="0">
                <a:solidFill>
                  <a:schemeClr val="bg1"/>
                </a:solidFill>
                <a:latin typeface="+mj-ea"/>
                <a:ea typeface="+mj-ea"/>
              </a:rPr>
              <a:t>目录标题</a:t>
            </a:r>
          </a:p>
        </p:txBody>
      </p:sp>
      <p:sp>
        <p:nvSpPr>
          <p:cNvPr id="13" name="文本框 12">
            <a:extLst>
              <a:ext uri="{FF2B5EF4-FFF2-40B4-BE49-F238E27FC236}">
                <a16:creationId xmlns:a16="http://schemas.microsoft.com/office/drawing/2014/main" id="{4EFF432F-7BE2-4FFA-9717-3B62623A49CE}"/>
              </a:ext>
            </a:extLst>
          </p:cNvPr>
          <p:cNvSpPr txBox="1"/>
          <p:nvPr/>
        </p:nvSpPr>
        <p:spPr>
          <a:xfrm>
            <a:off x="4024608" y="4411715"/>
            <a:ext cx="1385967" cy="215444"/>
          </a:xfrm>
          <a:prstGeom prst="rect">
            <a:avLst/>
          </a:prstGeom>
          <a:noFill/>
        </p:spPr>
        <p:txBody>
          <a:bodyPr wrap="square" lIns="0" tIns="0" rIns="0" bIns="0" rtlCol="0" anchor="t">
            <a:spAutoFit/>
          </a:bodyPr>
          <a:lstStyle/>
          <a:p>
            <a:pPr algn="dist"/>
            <a:r>
              <a:rPr lang="en-US" altLang="zh-CN" sz="1400" dirty="0">
                <a:solidFill>
                  <a:schemeClr val="bg1"/>
                </a:solidFill>
              </a:rPr>
              <a:t>Contents Title</a:t>
            </a:r>
            <a:endParaRPr lang="zh-CN" altLang="en-US" sz="1400" dirty="0">
              <a:solidFill>
                <a:schemeClr val="bg1"/>
              </a:solidFill>
            </a:endParaRPr>
          </a:p>
        </p:txBody>
      </p:sp>
      <p:sp>
        <p:nvSpPr>
          <p:cNvPr id="14" name="文本框 13">
            <a:extLst>
              <a:ext uri="{FF2B5EF4-FFF2-40B4-BE49-F238E27FC236}">
                <a16:creationId xmlns:a16="http://schemas.microsoft.com/office/drawing/2014/main" id="{FF5FFF82-A97F-47C6-94DE-5A2A1212875E}"/>
              </a:ext>
            </a:extLst>
          </p:cNvPr>
          <p:cNvSpPr txBox="1"/>
          <p:nvPr/>
        </p:nvSpPr>
        <p:spPr>
          <a:xfrm>
            <a:off x="6712638" y="3429000"/>
            <a:ext cx="609141" cy="553998"/>
          </a:xfrm>
          <a:prstGeom prst="rect">
            <a:avLst/>
          </a:prstGeom>
          <a:noFill/>
        </p:spPr>
        <p:txBody>
          <a:bodyPr wrap="none" lIns="0" tIns="0" rIns="0" bIns="0" rtlCol="0" anchor="t">
            <a:spAutoFit/>
          </a:bodyPr>
          <a:lstStyle/>
          <a:p>
            <a:pPr algn="ctr"/>
            <a:r>
              <a:rPr lang="en-US" altLang="zh-CN" sz="3600" dirty="0">
                <a:solidFill>
                  <a:schemeClr val="bg1"/>
                </a:solidFill>
                <a:latin typeface="+mj-ea"/>
                <a:ea typeface="+mj-ea"/>
              </a:rPr>
              <a:t>03</a:t>
            </a:r>
            <a:endParaRPr lang="zh-CN" altLang="en-US" sz="3600" dirty="0">
              <a:solidFill>
                <a:schemeClr val="bg1"/>
              </a:solidFill>
              <a:latin typeface="+mj-ea"/>
              <a:ea typeface="+mj-ea"/>
            </a:endParaRPr>
          </a:p>
        </p:txBody>
      </p:sp>
      <p:sp>
        <p:nvSpPr>
          <p:cNvPr id="15" name="文本框 14">
            <a:extLst>
              <a:ext uri="{FF2B5EF4-FFF2-40B4-BE49-F238E27FC236}">
                <a16:creationId xmlns:a16="http://schemas.microsoft.com/office/drawing/2014/main" id="{F8E45B78-76B5-40CF-BFA5-D6FBAED7FCD8}"/>
              </a:ext>
            </a:extLst>
          </p:cNvPr>
          <p:cNvSpPr txBox="1"/>
          <p:nvPr/>
        </p:nvSpPr>
        <p:spPr>
          <a:xfrm>
            <a:off x="6299063" y="4006926"/>
            <a:ext cx="1436291" cy="430887"/>
          </a:xfrm>
          <a:prstGeom prst="rect">
            <a:avLst/>
          </a:prstGeom>
          <a:noFill/>
        </p:spPr>
        <p:txBody>
          <a:bodyPr wrap="none" lIns="0" tIns="0" rIns="0" bIns="0" rtlCol="0" anchor="t">
            <a:spAutoFit/>
          </a:bodyPr>
          <a:lstStyle/>
          <a:p>
            <a:r>
              <a:rPr lang="zh-CN" altLang="en-US" sz="2800" dirty="0">
                <a:solidFill>
                  <a:schemeClr val="bg1"/>
                </a:solidFill>
                <a:latin typeface="+mj-ea"/>
                <a:ea typeface="+mj-ea"/>
              </a:rPr>
              <a:t>目录标题</a:t>
            </a:r>
          </a:p>
        </p:txBody>
      </p:sp>
      <p:sp>
        <p:nvSpPr>
          <p:cNvPr id="16" name="文本框 15">
            <a:extLst>
              <a:ext uri="{FF2B5EF4-FFF2-40B4-BE49-F238E27FC236}">
                <a16:creationId xmlns:a16="http://schemas.microsoft.com/office/drawing/2014/main" id="{0F4AC238-F50A-4B9C-AC18-7B8B3245872E}"/>
              </a:ext>
            </a:extLst>
          </p:cNvPr>
          <p:cNvSpPr txBox="1"/>
          <p:nvPr/>
        </p:nvSpPr>
        <p:spPr>
          <a:xfrm>
            <a:off x="6324225" y="4411715"/>
            <a:ext cx="1385967" cy="215444"/>
          </a:xfrm>
          <a:prstGeom prst="rect">
            <a:avLst/>
          </a:prstGeom>
          <a:noFill/>
        </p:spPr>
        <p:txBody>
          <a:bodyPr wrap="square" lIns="0" tIns="0" rIns="0" bIns="0" rtlCol="0" anchor="t">
            <a:spAutoFit/>
          </a:bodyPr>
          <a:lstStyle/>
          <a:p>
            <a:pPr algn="dist"/>
            <a:r>
              <a:rPr lang="en-US" altLang="zh-CN" sz="1400" dirty="0">
                <a:solidFill>
                  <a:schemeClr val="bg1"/>
                </a:solidFill>
              </a:rPr>
              <a:t>Contents Title</a:t>
            </a:r>
            <a:endParaRPr lang="zh-CN" altLang="en-US" sz="1400" dirty="0">
              <a:solidFill>
                <a:schemeClr val="bg1"/>
              </a:solidFill>
            </a:endParaRPr>
          </a:p>
        </p:txBody>
      </p:sp>
      <p:sp>
        <p:nvSpPr>
          <p:cNvPr id="17" name="文本框 16">
            <a:extLst>
              <a:ext uri="{FF2B5EF4-FFF2-40B4-BE49-F238E27FC236}">
                <a16:creationId xmlns:a16="http://schemas.microsoft.com/office/drawing/2014/main" id="{72C30A4F-6DF9-4AC8-93A7-3E33FEF66984}"/>
              </a:ext>
            </a:extLst>
          </p:cNvPr>
          <p:cNvSpPr txBox="1"/>
          <p:nvPr/>
        </p:nvSpPr>
        <p:spPr>
          <a:xfrm>
            <a:off x="9010879" y="3429000"/>
            <a:ext cx="609141" cy="553998"/>
          </a:xfrm>
          <a:prstGeom prst="rect">
            <a:avLst/>
          </a:prstGeom>
          <a:noFill/>
        </p:spPr>
        <p:txBody>
          <a:bodyPr wrap="none" lIns="0" tIns="0" rIns="0" bIns="0" rtlCol="0" anchor="t">
            <a:spAutoFit/>
          </a:bodyPr>
          <a:lstStyle/>
          <a:p>
            <a:pPr algn="ctr"/>
            <a:r>
              <a:rPr lang="en-US" altLang="zh-CN" sz="3600" dirty="0">
                <a:solidFill>
                  <a:schemeClr val="bg1"/>
                </a:solidFill>
                <a:latin typeface="+mj-ea"/>
                <a:ea typeface="+mj-ea"/>
              </a:rPr>
              <a:t>04</a:t>
            </a:r>
            <a:endParaRPr lang="zh-CN" altLang="en-US" sz="3600" dirty="0">
              <a:solidFill>
                <a:schemeClr val="bg1"/>
              </a:solidFill>
              <a:latin typeface="+mj-ea"/>
              <a:ea typeface="+mj-ea"/>
            </a:endParaRPr>
          </a:p>
        </p:txBody>
      </p:sp>
      <p:sp>
        <p:nvSpPr>
          <p:cNvPr id="18" name="文本框 17">
            <a:extLst>
              <a:ext uri="{FF2B5EF4-FFF2-40B4-BE49-F238E27FC236}">
                <a16:creationId xmlns:a16="http://schemas.microsoft.com/office/drawing/2014/main" id="{39784C4B-B91A-4408-B3DF-D025DC730045}"/>
              </a:ext>
            </a:extLst>
          </p:cNvPr>
          <p:cNvSpPr txBox="1"/>
          <p:nvPr/>
        </p:nvSpPr>
        <p:spPr>
          <a:xfrm>
            <a:off x="8597304" y="4006926"/>
            <a:ext cx="1436291" cy="430887"/>
          </a:xfrm>
          <a:prstGeom prst="rect">
            <a:avLst/>
          </a:prstGeom>
          <a:noFill/>
        </p:spPr>
        <p:txBody>
          <a:bodyPr wrap="none" lIns="0" tIns="0" rIns="0" bIns="0" rtlCol="0" anchor="t">
            <a:spAutoFit/>
          </a:bodyPr>
          <a:lstStyle/>
          <a:p>
            <a:r>
              <a:rPr lang="zh-CN" altLang="en-US" sz="2800" dirty="0">
                <a:solidFill>
                  <a:schemeClr val="bg1"/>
                </a:solidFill>
                <a:latin typeface="+mj-ea"/>
                <a:ea typeface="+mj-ea"/>
              </a:rPr>
              <a:t>目录标题</a:t>
            </a:r>
          </a:p>
        </p:txBody>
      </p:sp>
      <p:sp>
        <p:nvSpPr>
          <p:cNvPr id="19" name="文本框 18">
            <a:extLst>
              <a:ext uri="{FF2B5EF4-FFF2-40B4-BE49-F238E27FC236}">
                <a16:creationId xmlns:a16="http://schemas.microsoft.com/office/drawing/2014/main" id="{22C3BCFD-EA46-44EA-A5B8-B4252689B39E}"/>
              </a:ext>
            </a:extLst>
          </p:cNvPr>
          <p:cNvSpPr txBox="1"/>
          <p:nvPr/>
        </p:nvSpPr>
        <p:spPr>
          <a:xfrm>
            <a:off x="8622466" y="4411715"/>
            <a:ext cx="1385967" cy="215444"/>
          </a:xfrm>
          <a:prstGeom prst="rect">
            <a:avLst/>
          </a:prstGeom>
          <a:noFill/>
        </p:spPr>
        <p:txBody>
          <a:bodyPr wrap="square" lIns="0" tIns="0" rIns="0" bIns="0" rtlCol="0" anchor="t">
            <a:spAutoFit/>
          </a:bodyPr>
          <a:lstStyle/>
          <a:p>
            <a:pPr algn="dist"/>
            <a:r>
              <a:rPr lang="en-US" altLang="zh-CN" sz="1400" dirty="0">
                <a:solidFill>
                  <a:schemeClr val="bg1"/>
                </a:solidFill>
              </a:rPr>
              <a:t>Contents Title</a:t>
            </a:r>
            <a:endParaRPr lang="zh-CN" altLang="en-US" sz="1400" dirty="0">
              <a:solidFill>
                <a:schemeClr val="bg1"/>
              </a:solidFill>
            </a:endParaRPr>
          </a:p>
        </p:txBody>
      </p:sp>
    </p:spTree>
    <p:extLst>
      <p:ext uri="{BB962C8B-B14F-4D97-AF65-F5344CB8AC3E}">
        <p14:creationId xmlns:p14="http://schemas.microsoft.com/office/powerpoint/2010/main" val="1942200335"/>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a:extLst>
              <a:ext uri="{FF2B5EF4-FFF2-40B4-BE49-F238E27FC236}">
                <a16:creationId xmlns:a16="http://schemas.microsoft.com/office/drawing/2014/main" id="{6CB59311-8B88-4CB7-B16C-7E624840DB8E}"/>
              </a:ext>
            </a:extLst>
          </p:cNvPr>
          <p:cNvSpPr txBox="1"/>
          <p:nvPr/>
        </p:nvSpPr>
        <p:spPr>
          <a:xfrm>
            <a:off x="1162511" y="460905"/>
            <a:ext cx="1667049" cy="923330"/>
          </a:xfrm>
          <a:prstGeom prst="rect">
            <a:avLst/>
          </a:prstGeom>
          <a:noFill/>
        </p:spPr>
        <p:txBody>
          <a:bodyPr wrap="square" lIns="0" tIns="0" rIns="0" bIns="0" rtlCol="0" anchor="t">
            <a:spAutoFit/>
          </a:bodyPr>
          <a:lstStyle/>
          <a:p>
            <a:pPr algn="dist"/>
            <a:r>
              <a:rPr lang="zh-CN" altLang="en-US" sz="6000" dirty="0">
                <a:solidFill>
                  <a:schemeClr val="accent1"/>
                </a:solidFill>
                <a:latin typeface="+mj-ea"/>
                <a:ea typeface="+mj-ea"/>
              </a:rPr>
              <a:t>目录</a:t>
            </a:r>
          </a:p>
        </p:txBody>
      </p:sp>
      <p:sp>
        <p:nvSpPr>
          <p:cNvPr id="3" name="文本框 2">
            <a:extLst>
              <a:ext uri="{FF2B5EF4-FFF2-40B4-BE49-F238E27FC236}">
                <a16:creationId xmlns:a16="http://schemas.microsoft.com/office/drawing/2014/main" id="{B10D0CAB-4A61-4C7D-8CAA-4E53205C8C65}"/>
              </a:ext>
            </a:extLst>
          </p:cNvPr>
          <p:cNvSpPr txBox="1"/>
          <p:nvPr/>
        </p:nvSpPr>
        <p:spPr>
          <a:xfrm>
            <a:off x="1254761" y="1358835"/>
            <a:ext cx="1530350" cy="169277"/>
          </a:xfrm>
          <a:prstGeom prst="rect">
            <a:avLst/>
          </a:prstGeom>
          <a:noFill/>
        </p:spPr>
        <p:txBody>
          <a:bodyPr wrap="square" lIns="0" tIns="0" rIns="0" bIns="0" rtlCol="0" anchor="t">
            <a:spAutoFit/>
          </a:bodyPr>
          <a:lstStyle/>
          <a:p>
            <a:pPr algn="dist"/>
            <a:r>
              <a:rPr lang="en-US" altLang="zh-CN" sz="1100" dirty="0">
                <a:solidFill>
                  <a:schemeClr val="accent1"/>
                </a:solidFill>
              </a:rPr>
              <a:t>CONTENTS</a:t>
            </a:r>
            <a:endParaRPr lang="zh-CN" altLang="en-US" sz="1100" dirty="0">
              <a:solidFill>
                <a:schemeClr val="accent1"/>
              </a:solidFill>
            </a:endParaRPr>
          </a:p>
        </p:txBody>
      </p:sp>
      <p:sp>
        <p:nvSpPr>
          <p:cNvPr id="4" name="矩形 3">
            <a:extLst>
              <a:ext uri="{FF2B5EF4-FFF2-40B4-BE49-F238E27FC236}">
                <a16:creationId xmlns:a16="http://schemas.microsoft.com/office/drawing/2014/main" id="{4C388A9D-DD98-4817-B752-EFDAF1DB88A4}"/>
              </a:ext>
            </a:extLst>
          </p:cNvPr>
          <p:cNvSpPr/>
          <p:nvPr/>
        </p:nvSpPr>
        <p:spPr>
          <a:xfrm>
            <a:off x="878435" y="0"/>
            <a:ext cx="106680" cy="149066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p>
        </p:txBody>
      </p:sp>
      <p:sp>
        <p:nvSpPr>
          <p:cNvPr id="5" name="矩形: 剪去单角 4">
            <a:extLst>
              <a:ext uri="{FF2B5EF4-FFF2-40B4-BE49-F238E27FC236}">
                <a16:creationId xmlns:a16="http://schemas.microsoft.com/office/drawing/2014/main" id="{2625DCEE-D726-4EE3-BE63-82383D5FE021}"/>
              </a:ext>
            </a:extLst>
          </p:cNvPr>
          <p:cNvSpPr/>
          <p:nvPr/>
        </p:nvSpPr>
        <p:spPr>
          <a:xfrm rot="10800000" flipH="1">
            <a:off x="899161" y="2639424"/>
            <a:ext cx="2004060" cy="2344056"/>
          </a:xfrm>
          <a:prstGeom prst="snip1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p>
        </p:txBody>
      </p:sp>
      <p:sp>
        <p:nvSpPr>
          <p:cNvPr id="6" name="文本框 5">
            <a:extLst>
              <a:ext uri="{FF2B5EF4-FFF2-40B4-BE49-F238E27FC236}">
                <a16:creationId xmlns:a16="http://schemas.microsoft.com/office/drawing/2014/main" id="{45F1C5EE-FFC5-416D-9783-36596A65AAA1}"/>
              </a:ext>
            </a:extLst>
          </p:cNvPr>
          <p:cNvSpPr txBox="1"/>
          <p:nvPr/>
        </p:nvSpPr>
        <p:spPr>
          <a:xfrm>
            <a:off x="1180144" y="2783301"/>
            <a:ext cx="700513" cy="738664"/>
          </a:xfrm>
          <a:prstGeom prst="rect">
            <a:avLst/>
          </a:prstGeom>
          <a:noFill/>
        </p:spPr>
        <p:txBody>
          <a:bodyPr wrap="none" lIns="0" tIns="0" rIns="0" bIns="0" rtlCol="0" anchor="t">
            <a:spAutoFit/>
          </a:bodyPr>
          <a:lstStyle/>
          <a:p>
            <a:pPr algn="l"/>
            <a:r>
              <a:rPr lang="en-US" altLang="zh-CN" sz="4800" dirty="0">
                <a:solidFill>
                  <a:schemeClr val="bg1"/>
                </a:solidFill>
                <a:latin typeface="+mj-ea"/>
                <a:ea typeface="+mj-ea"/>
              </a:rPr>
              <a:t>01</a:t>
            </a:r>
            <a:endParaRPr lang="zh-CN" altLang="en-US" sz="4800" dirty="0">
              <a:solidFill>
                <a:schemeClr val="bg1"/>
              </a:solidFill>
              <a:latin typeface="+mj-ea"/>
              <a:ea typeface="+mj-ea"/>
            </a:endParaRPr>
          </a:p>
        </p:txBody>
      </p:sp>
      <p:sp>
        <p:nvSpPr>
          <p:cNvPr id="7" name="文本框 6">
            <a:extLst>
              <a:ext uri="{FF2B5EF4-FFF2-40B4-BE49-F238E27FC236}">
                <a16:creationId xmlns:a16="http://schemas.microsoft.com/office/drawing/2014/main" id="{A5AF8852-01A3-4653-B008-B09E38D1B70C}"/>
              </a:ext>
            </a:extLst>
          </p:cNvPr>
          <p:cNvSpPr txBox="1"/>
          <p:nvPr/>
        </p:nvSpPr>
        <p:spPr>
          <a:xfrm>
            <a:off x="1162511" y="3521965"/>
            <a:ext cx="1436291" cy="430887"/>
          </a:xfrm>
          <a:prstGeom prst="rect">
            <a:avLst/>
          </a:prstGeom>
          <a:noFill/>
        </p:spPr>
        <p:txBody>
          <a:bodyPr wrap="none" lIns="0" tIns="0" rIns="0" bIns="0" rtlCol="0" anchor="t">
            <a:spAutoFit/>
          </a:bodyPr>
          <a:lstStyle/>
          <a:p>
            <a:r>
              <a:rPr lang="zh-CN" altLang="en-US" sz="2800" dirty="0">
                <a:solidFill>
                  <a:schemeClr val="bg1"/>
                </a:solidFill>
                <a:latin typeface="+mj-ea"/>
                <a:ea typeface="+mj-ea"/>
              </a:rPr>
              <a:t>目录标题</a:t>
            </a:r>
          </a:p>
        </p:txBody>
      </p:sp>
      <p:sp>
        <p:nvSpPr>
          <p:cNvPr id="8" name="文本框 7">
            <a:extLst>
              <a:ext uri="{FF2B5EF4-FFF2-40B4-BE49-F238E27FC236}">
                <a16:creationId xmlns:a16="http://schemas.microsoft.com/office/drawing/2014/main" id="{5EBA86AF-B0DD-435D-8D91-6454DF515A07}"/>
              </a:ext>
            </a:extLst>
          </p:cNvPr>
          <p:cNvSpPr txBox="1"/>
          <p:nvPr/>
        </p:nvSpPr>
        <p:spPr>
          <a:xfrm>
            <a:off x="1212835" y="3926754"/>
            <a:ext cx="1385967" cy="215444"/>
          </a:xfrm>
          <a:prstGeom prst="rect">
            <a:avLst/>
          </a:prstGeom>
          <a:noFill/>
        </p:spPr>
        <p:txBody>
          <a:bodyPr wrap="square" lIns="0" tIns="0" rIns="0" bIns="0" rtlCol="0" anchor="t">
            <a:spAutoFit/>
          </a:bodyPr>
          <a:lstStyle/>
          <a:p>
            <a:pPr algn="dist"/>
            <a:r>
              <a:rPr lang="en-US" altLang="zh-CN" sz="1400" dirty="0">
                <a:solidFill>
                  <a:schemeClr val="bg1"/>
                </a:solidFill>
              </a:rPr>
              <a:t>Contents Title</a:t>
            </a:r>
            <a:endParaRPr lang="zh-CN" altLang="en-US" sz="1400" dirty="0">
              <a:solidFill>
                <a:schemeClr val="bg1"/>
              </a:solidFill>
            </a:endParaRPr>
          </a:p>
        </p:txBody>
      </p:sp>
      <p:sp>
        <p:nvSpPr>
          <p:cNvPr id="11" name="矩形: 剪去单角 10">
            <a:extLst>
              <a:ext uri="{FF2B5EF4-FFF2-40B4-BE49-F238E27FC236}">
                <a16:creationId xmlns:a16="http://schemas.microsoft.com/office/drawing/2014/main" id="{4B07CC20-2867-4AD4-B1AB-828E74D46775}"/>
              </a:ext>
            </a:extLst>
          </p:cNvPr>
          <p:cNvSpPr/>
          <p:nvPr/>
        </p:nvSpPr>
        <p:spPr>
          <a:xfrm rot="10800000" flipH="1">
            <a:off x="3489961" y="2639424"/>
            <a:ext cx="2004060" cy="2344056"/>
          </a:xfrm>
          <a:prstGeom prst="snip1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p>
        </p:txBody>
      </p:sp>
      <p:sp>
        <p:nvSpPr>
          <p:cNvPr id="12" name="文本框 11">
            <a:extLst>
              <a:ext uri="{FF2B5EF4-FFF2-40B4-BE49-F238E27FC236}">
                <a16:creationId xmlns:a16="http://schemas.microsoft.com/office/drawing/2014/main" id="{57D1AE4F-9B5C-429A-9299-FA9D2DF6A117}"/>
              </a:ext>
            </a:extLst>
          </p:cNvPr>
          <p:cNvSpPr txBox="1"/>
          <p:nvPr/>
        </p:nvSpPr>
        <p:spPr>
          <a:xfrm>
            <a:off x="3770944" y="2783301"/>
            <a:ext cx="811119" cy="738664"/>
          </a:xfrm>
          <a:prstGeom prst="rect">
            <a:avLst/>
          </a:prstGeom>
          <a:noFill/>
        </p:spPr>
        <p:txBody>
          <a:bodyPr wrap="none" lIns="0" tIns="0" rIns="0" bIns="0" rtlCol="0" anchor="t">
            <a:spAutoFit/>
          </a:bodyPr>
          <a:lstStyle/>
          <a:p>
            <a:pPr algn="l"/>
            <a:r>
              <a:rPr lang="en-US" altLang="zh-CN" sz="4800" dirty="0">
                <a:solidFill>
                  <a:schemeClr val="bg1"/>
                </a:solidFill>
                <a:latin typeface="+mj-ea"/>
                <a:ea typeface="+mj-ea"/>
              </a:rPr>
              <a:t>02</a:t>
            </a:r>
            <a:endParaRPr lang="zh-CN" altLang="en-US" sz="4800" dirty="0">
              <a:solidFill>
                <a:schemeClr val="bg1"/>
              </a:solidFill>
              <a:latin typeface="+mj-ea"/>
              <a:ea typeface="+mj-ea"/>
            </a:endParaRPr>
          </a:p>
        </p:txBody>
      </p:sp>
      <p:sp>
        <p:nvSpPr>
          <p:cNvPr id="13" name="文本框 12">
            <a:extLst>
              <a:ext uri="{FF2B5EF4-FFF2-40B4-BE49-F238E27FC236}">
                <a16:creationId xmlns:a16="http://schemas.microsoft.com/office/drawing/2014/main" id="{8457E25A-0B96-493A-AEDD-554A1135EA33}"/>
              </a:ext>
            </a:extLst>
          </p:cNvPr>
          <p:cNvSpPr txBox="1"/>
          <p:nvPr/>
        </p:nvSpPr>
        <p:spPr>
          <a:xfrm>
            <a:off x="3753311" y="3521965"/>
            <a:ext cx="1436291" cy="430887"/>
          </a:xfrm>
          <a:prstGeom prst="rect">
            <a:avLst/>
          </a:prstGeom>
          <a:noFill/>
        </p:spPr>
        <p:txBody>
          <a:bodyPr wrap="none" lIns="0" tIns="0" rIns="0" bIns="0" rtlCol="0" anchor="t">
            <a:spAutoFit/>
          </a:bodyPr>
          <a:lstStyle/>
          <a:p>
            <a:r>
              <a:rPr lang="zh-CN" altLang="en-US" sz="2800" dirty="0">
                <a:solidFill>
                  <a:schemeClr val="bg1"/>
                </a:solidFill>
                <a:latin typeface="+mj-ea"/>
                <a:ea typeface="+mj-ea"/>
              </a:rPr>
              <a:t>目录标题</a:t>
            </a:r>
          </a:p>
        </p:txBody>
      </p:sp>
      <p:sp>
        <p:nvSpPr>
          <p:cNvPr id="14" name="文本框 13">
            <a:extLst>
              <a:ext uri="{FF2B5EF4-FFF2-40B4-BE49-F238E27FC236}">
                <a16:creationId xmlns:a16="http://schemas.microsoft.com/office/drawing/2014/main" id="{0E0733F9-EC4F-490C-B1C8-D1F2BFA424B9}"/>
              </a:ext>
            </a:extLst>
          </p:cNvPr>
          <p:cNvSpPr txBox="1"/>
          <p:nvPr/>
        </p:nvSpPr>
        <p:spPr>
          <a:xfrm>
            <a:off x="3803635" y="3926754"/>
            <a:ext cx="1385967" cy="215444"/>
          </a:xfrm>
          <a:prstGeom prst="rect">
            <a:avLst/>
          </a:prstGeom>
          <a:noFill/>
        </p:spPr>
        <p:txBody>
          <a:bodyPr wrap="square" lIns="0" tIns="0" rIns="0" bIns="0" rtlCol="0" anchor="t">
            <a:spAutoFit/>
          </a:bodyPr>
          <a:lstStyle/>
          <a:p>
            <a:pPr algn="dist"/>
            <a:r>
              <a:rPr lang="en-US" altLang="zh-CN" sz="1400" dirty="0">
                <a:solidFill>
                  <a:schemeClr val="bg1"/>
                </a:solidFill>
              </a:rPr>
              <a:t>Contents Title</a:t>
            </a:r>
            <a:endParaRPr lang="zh-CN" altLang="en-US" sz="1400" dirty="0">
              <a:solidFill>
                <a:schemeClr val="bg1"/>
              </a:solidFill>
            </a:endParaRPr>
          </a:p>
        </p:txBody>
      </p:sp>
      <p:sp>
        <p:nvSpPr>
          <p:cNvPr id="16" name="矩形: 剪去单角 15">
            <a:extLst>
              <a:ext uri="{FF2B5EF4-FFF2-40B4-BE49-F238E27FC236}">
                <a16:creationId xmlns:a16="http://schemas.microsoft.com/office/drawing/2014/main" id="{81D5AB09-9CBF-4C67-8F4B-53CD1416E3DB}"/>
              </a:ext>
            </a:extLst>
          </p:cNvPr>
          <p:cNvSpPr/>
          <p:nvPr/>
        </p:nvSpPr>
        <p:spPr>
          <a:xfrm rot="10800000" flipH="1">
            <a:off x="6080761" y="2639424"/>
            <a:ext cx="2004060" cy="2344056"/>
          </a:xfrm>
          <a:prstGeom prst="snip1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p>
        </p:txBody>
      </p:sp>
      <p:sp>
        <p:nvSpPr>
          <p:cNvPr id="17" name="文本框 16">
            <a:extLst>
              <a:ext uri="{FF2B5EF4-FFF2-40B4-BE49-F238E27FC236}">
                <a16:creationId xmlns:a16="http://schemas.microsoft.com/office/drawing/2014/main" id="{C5943F08-A13D-4B53-BD55-30EE12B9FCE9}"/>
              </a:ext>
            </a:extLst>
          </p:cNvPr>
          <p:cNvSpPr txBox="1"/>
          <p:nvPr/>
        </p:nvSpPr>
        <p:spPr>
          <a:xfrm>
            <a:off x="6361744" y="2783301"/>
            <a:ext cx="811119" cy="738664"/>
          </a:xfrm>
          <a:prstGeom prst="rect">
            <a:avLst/>
          </a:prstGeom>
          <a:noFill/>
        </p:spPr>
        <p:txBody>
          <a:bodyPr wrap="none" lIns="0" tIns="0" rIns="0" bIns="0" rtlCol="0" anchor="t">
            <a:spAutoFit/>
          </a:bodyPr>
          <a:lstStyle/>
          <a:p>
            <a:pPr algn="l"/>
            <a:r>
              <a:rPr lang="en-US" altLang="zh-CN" sz="4800" dirty="0">
                <a:solidFill>
                  <a:schemeClr val="bg1"/>
                </a:solidFill>
                <a:latin typeface="+mj-ea"/>
                <a:ea typeface="+mj-ea"/>
              </a:rPr>
              <a:t>03</a:t>
            </a:r>
            <a:endParaRPr lang="zh-CN" altLang="en-US" sz="4800" dirty="0">
              <a:solidFill>
                <a:schemeClr val="bg1"/>
              </a:solidFill>
              <a:latin typeface="+mj-ea"/>
              <a:ea typeface="+mj-ea"/>
            </a:endParaRPr>
          </a:p>
        </p:txBody>
      </p:sp>
      <p:sp>
        <p:nvSpPr>
          <p:cNvPr id="18" name="文本框 17">
            <a:extLst>
              <a:ext uri="{FF2B5EF4-FFF2-40B4-BE49-F238E27FC236}">
                <a16:creationId xmlns:a16="http://schemas.microsoft.com/office/drawing/2014/main" id="{BA6D7751-33AF-4F7C-B6D9-409EF227CA04}"/>
              </a:ext>
            </a:extLst>
          </p:cNvPr>
          <p:cNvSpPr txBox="1"/>
          <p:nvPr/>
        </p:nvSpPr>
        <p:spPr>
          <a:xfrm>
            <a:off x="6344111" y="3521965"/>
            <a:ext cx="1436291" cy="430887"/>
          </a:xfrm>
          <a:prstGeom prst="rect">
            <a:avLst/>
          </a:prstGeom>
          <a:noFill/>
        </p:spPr>
        <p:txBody>
          <a:bodyPr wrap="none" lIns="0" tIns="0" rIns="0" bIns="0" rtlCol="0" anchor="t">
            <a:spAutoFit/>
          </a:bodyPr>
          <a:lstStyle/>
          <a:p>
            <a:r>
              <a:rPr lang="zh-CN" altLang="en-US" sz="2800" dirty="0">
                <a:solidFill>
                  <a:schemeClr val="bg1"/>
                </a:solidFill>
                <a:latin typeface="+mj-ea"/>
                <a:ea typeface="+mj-ea"/>
              </a:rPr>
              <a:t>目录标题</a:t>
            </a:r>
          </a:p>
        </p:txBody>
      </p:sp>
      <p:sp>
        <p:nvSpPr>
          <p:cNvPr id="19" name="文本框 18">
            <a:extLst>
              <a:ext uri="{FF2B5EF4-FFF2-40B4-BE49-F238E27FC236}">
                <a16:creationId xmlns:a16="http://schemas.microsoft.com/office/drawing/2014/main" id="{9D0888FE-9E80-4CAD-AB71-7FE484184D0E}"/>
              </a:ext>
            </a:extLst>
          </p:cNvPr>
          <p:cNvSpPr txBox="1"/>
          <p:nvPr/>
        </p:nvSpPr>
        <p:spPr>
          <a:xfrm>
            <a:off x="6394435" y="3926754"/>
            <a:ext cx="1385967" cy="215444"/>
          </a:xfrm>
          <a:prstGeom prst="rect">
            <a:avLst/>
          </a:prstGeom>
          <a:noFill/>
        </p:spPr>
        <p:txBody>
          <a:bodyPr wrap="square" lIns="0" tIns="0" rIns="0" bIns="0" rtlCol="0" anchor="t">
            <a:spAutoFit/>
          </a:bodyPr>
          <a:lstStyle/>
          <a:p>
            <a:pPr algn="dist"/>
            <a:r>
              <a:rPr lang="en-US" altLang="zh-CN" sz="1400" dirty="0">
                <a:solidFill>
                  <a:schemeClr val="bg1"/>
                </a:solidFill>
              </a:rPr>
              <a:t>Contents Title</a:t>
            </a:r>
            <a:endParaRPr lang="zh-CN" altLang="en-US" sz="1400" dirty="0">
              <a:solidFill>
                <a:schemeClr val="bg1"/>
              </a:solidFill>
            </a:endParaRPr>
          </a:p>
        </p:txBody>
      </p:sp>
      <p:sp>
        <p:nvSpPr>
          <p:cNvPr id="21" name="矩形: 剪去单角 20">
            <a:extLst>
              <a:ext uri="{FF2B5EF4-FFF2-40B4-BE49-F238E27FC236}">
                <a16:creationId xmlns:a16="http://schemas.microsoft.com/office/drawing/2014/main" id="{F31BF8A6-254B-4C82-AFA3-1FCE8EB8FA84}"/>
              </a:ext>
            </a:extLst>
          </p:cNvPr>
          <p:cNvSpPr/>
          <p:nvPr/>
        </p:nvSpPr>
        <p:spPr>
          <a:xfrm rot="10800000" flipH="1">
            <a:off x="8671561" y="2639424"/>
            <a:ext cx="2004060" cy="2344056"/>
          </a:xfrm>
          <a:prstGeom prst="snip1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p>
        </p:txBody>
      </p:sp>
      <p:sp>
        <p:nvSpPr>
          <p:cNvPr id="22" name="文本框 21">
            <a:extLst>
              <a:ext uri="{FF2B5EF4-FFF2-40B4-BE49-F238E27FC236}">
                <a16:creationId xmlns:a16="http://schemas.microsoft.com/office/drawing/2014/main" id="{035B1227-BB74-42A8-84CB-110ADCBDCFF5}"/>
              </a:ext>
            </a:extLst>
          </p:cNvPr>
          <p:cNvSpPr txBox="1"/>
          <p:nvPr/>
        </p:nvSpPr>
        <p:spPr>
          <a:xfrm>
            <a:off x="8952544" y="2783301"/>
            <a:ext cx="811119" cy="738664"/>
          </a:xfrm>
          <a:prstGeom prst="rect">
            <a:avLst/>
          </a:prstGeom>
          <a:noFill/>
        </p:spPr>
        <p:txBody>
          <a:bodyPr wrap="none" lIns="0" tIns="0" rIns="0" bIns="0" rtlCol="0" anchor="t">
            <a:spAutoFit/>
          </a:bodyPr>
          <a:lstStyle/>
          <a:p>
            <a:pPr algn="l"/>
            <a:r>
              <a:rPr lang="en-US" altLang="zh-CN" sz="4800" dirty="0">
                <a:solidFill>
                  <a:schemeClr val="bg1"/>
                </a:solidFill>
                <a:latin typeface="+mj-ea"/>
                <a:ea typeface="+mj-ea"/>
              </a:rPr>
              <a:t>04</a:t>
            </a:r>
            <a:endParaRPr lang="zh-CN" altLang="en-US" sz="4800" dirty="0">
              <a:solidFill>
                <a:schemeClr val="bg1"/>
              </a:solidFill>
              <a:latin typeface="+mj-ea"/>
              <a:ea typeface="+mj-ea"/>
            </a:endParaRPr>
          </a:p>
        </p:txBody>
      </p:sp>
      <p:sp>
        <p:nvSpPr>
          <p:cNvPr id="23" name="文本框 22">
            <a:extLst>
              <a:ext uri="{FF2B5EF4-FFF2-40B4-BE49-F238E27FC236}">
                <a16:creationId xmlns:a16="http://schemas.microsoft.com/office/drawing/2014/main" id="{98CD8848-0E19-4974-99F5-E7951E396013}"/>
              </a:ext>
            </a:extLst>
          </p:cNvPr>
          <p:cNvSpPr txBox="1"/>
          <p:nvPr/>
        </p:nvSpPr>
        <p:spPr>
          <a:xfrm>
            <a:off x="8934911" y="3521965"/>
            <a:ext cx="1436291" cy="430887"/>
          </a:xfrm>
          <a:prstGeom prst="rect">
            <a:avLst/>
          </a:prstGeom>
          <a:noFill/>
        </p:spPr>
        <p:txBody>
          <a:bodyPr wrap="none" lIns="0" tIns="0" rIns="0" bIns="0" rtlCol="0" anchor="t">
            <a:spAutoFit/>
          </a:bodyPr>
          <a:lstStyle/>
          <a:p>
            <a:r>
              <a:rPr lang="zh-CN" altLang="en-US" sz="2800" dirty="0">
                <a:solidFill>
                  <a:schemeClr val="bg1"/>
                </a:solidFill>
                <a:latin typeface="+mj-ea"/>
                <a:ea typeface="+mj-ea"/>
              </a:rPr>
              <a:t>目录标题</a:t>
            </a:r>
          </a:p>
        </p:txBody>
      </p:sp>
      <p:sp>
        <p:nvSpPr>
          <p:cNvPr id="24" name="文本框 23">
            <a:extLst>
              <a:ext uri="{FF2B5EF4-FFF2-40B4-BE49-F238E27FC236}">
                <a16:creationId xmlns:a16="http://schemas.microsoft.com/office/drawing/2014/main" id="{979334D8-A369-4464-9704-42E82BFE1366}"/>
              </a:ext>
            </a:extLst>
          </p:cNvPr>
          <p:cNvSpPr txBox="1"/>
          <p:nvPr/>
        </p:nvSpPr>
        <p:spPr>
          <a:xfrm>
            <a:off x="8985235" y="3926754"/>
            <a:ext cx="1385967" cy="215444"/>
          </a:xfrm>
          <a:prstGeom prst="rect">
            <a:avLst/>
          </a:prstGeom>
          <a:noFill/>
        </p:spPr>
        <p:txBody>
          <a:bodyPr wrap="square" lIns="0" tIns="0" rIns="0" bIns="0" rtlCol="0" anchor="t">
            <a:spAutoFit/>
          </a:bodyPr>
          <a:lstStyle/>
          <a:p>
            <a:pPr algn="dist"/>
            <a:r>
              <a:rPr lang="en-US" altLang="zh-CN" sz="1400" dirty="0">
                <a:solidFill>
                  <a:schemeClr val="bg1"/>
                </a:solidFill>
              </a:rPr>
              <a:t>Contents Title</a:t>
            </a:r>
            <a:endParaRPr lang="zh-CN" altLang="en-US" sz="1400" dirty="0">
              <a:solidFill>
                <a:schemeClr val="bg1"/>
              </a:solidFill>
            </a:endParaRPr>
          </a:p>
        </p:txBody>
      </p:sp>
      <p:sp>
        <p:nvSpPr>
          <p:cNvPr id="25" name="矩形 24">
            <a:extLst>
              <a:ext uri="{FF2B5EF4-FFF2-40B4-BE49-F238E27FC236}">
                <a16:creationId xmlns:a16="http://schemas.microsoft.com/office/drawing/2014/main" id="{209E37EB-C33C-4850-A945-3445AE4F0D51}"/>
              </a:ext>
            </a:extLst>
          </p:cNvPr>
          <p:cNvSpPr/>
          <p:nvPr/>
        </p:nvSpPr>
        <p:spPr>
          <a:xfrm>
            <a:off x="0" y="6680200"/>
            <a:ext cx="12192000" cy="1778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p>
        </p:txBody>
      </p:sp>
    </p:spTree>
    <p:extLst>
      <p:ext uri="{BB962C8B-B14F-4D97-AF65-F5344CB8AC3E}">
        <p14:creationId xmlns:p14="http://schemas.microsoft.com/office/powerpoint/2010/main" val="3904874659"/>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矩形: 圆角 4">
            <a:extLst>
              <a:ext uri="{FF2B5EF4-FFF2-40B4-BE49-F238E27FC236}">
                <a16:creationId xmlns:a16="http://schemas.microsoft.com/office/drawing/2014/main" id="{1D684C80-EE36-4C3C-BA8E-11D72CF21BE2}"/>
              </a:ext>
            </a:extLst>
          </p:cNvPr>
          <p:cNvSpPr/>
          <p:nvPr/>
        </p:nvSpPr>
        <p:spPr>
          <a:xfrm>
            <a:off x="-815975" y="376238"/>
            <a:ext cx="3619500" cy="1281112"/>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p>
        </p:txBody>
      </p:sp>
      <p:sp>
        <p:nvSpPr>
          <p:cNvPr id="3" name="文本框 2">
            <a:extLst>
              <a:ext uri="{FF2B5EF4-FFF2-40B4-BE49-F238E27FC236}">
                <a16:creationId xmlns:a16="http://schemas.microsoft.com/office/drawing/2014/main" id="{5A682AF8-1CC4-4D78-9410-6CE911B27288}"/>
              </a:ext>
            </a:extLst>
          </p:cNvPr>
          <p:cNvSpPr txBox="1"/>
          <p:nvPr/>
        </p:nvSpPr>
        <p:spPr>
          <a:xfrm>
            <a:off x="597536" y="1338198"/>
            <a:ext cx="1530350" cy="169277"/>
          </a:xfrm>
          <a:prstGeom prst="rect">
            <a:avLst/>
          </a:prstGeom>
          <a:noFill/>
        </p:spPr>
        <p:txBody>
          <a:bodyPr wrap="square" lIns="0" tIns="0" rIns="0" bIns="0" rtlCol="0" anchor="t">
            <a:spAutoFit/>
          </a:bodyPr>
          <a:lstStyle/>
          <a:p>
            <a:pPr algn="dist"/>
            <a:r>
              <a:rPr lang="en-US" altLang="zh-CN" sz="1100" dirty="0">
                <a:solidFill>
                  <a:schemeClr val="bg1"/>
                </a:solidFill>
              </a:rPr>
              <a:t>CONTENTS</a:t>
            </a:r>
            <a:endParaRPr lang="zh-CN" altLang="en-US" sz="1100" dirty="0">
              <a:solidFill>
                <a:schemeClr val="bg1"/>
              </a:solidFill>
            </a:endParaRPr>
          </a:p>
        </p:txBody>
      </p:sp>
      <p:cxnSp>
        <p:nvCxnSpPr>
          <p:cNvPr id="7" name="直接连接符 6">
            <a:extLst>
              <a:ext uri="{FF2B5EF4-FFF2-40B4-BE49-F238E27FC236}">
                <a16:creationId xmlns:a16="http://schemas.microsoft.com/office/drawing/2014/main" id="{1A268B37-4BB9-4F01-9FE0-B1CB5C2E4867}"/>
              </a:ext>
            </a:extLst>
          </p:cNvPr>
          <p:cNvCxnSpPr>
            <a:cxnSpLocks/>
          </p:cNvCxnSpPr>
          <p:nvPr/>
        </p:nvCxnSpPr>
        <p:spPr>
          <a:xfrm>
            <a:off x="1110343" y="2708536"/>
            <a:ext cx="9971315" cy="0"/>
          </a:xfrm>
          <a:prstGeom prst="line">
            <a:avLst/>
          </a:prstGeom>
          <a:ln w="28575">
            <a:headEnd type="oval"/>
            <a:tailEnd type="oval"/>
          </a:ln>
        </p:spPr>
        <p:style>
          <a:lnRef idx="1">
            <a:schemeClr val="accent1"/>
          </a:lnRef>
          <a:fillRef idx="0">
            <a:schemeClr val="accent1"/>
          </a:fillRef>
          <a:effectRef idx="0">
            <a:schemeClr val="accent1"/>
          </a:effectRef>
          <a:fontRef idx="minor">
            <a:schemeClr val="tx1"/>
          </a:fontRef>
        </p:style>
      </p:cxnSp>
      <p:sp>
        <p:nvSpPr>
          <p:cNvPr id="10" name="矩形 9">
            <a:extLst>
              <a:ext uri="{FF2B5EF4-FFF2-40B4-BE49-F238E27FC236}">
                <a16:creationId xmlns:a16="http://schemas.microsoft.com/office/drawing/2014/main" id="{7D1EC96D-27AF-4B43-BC72-5A40BF575EC0}"/>
              </a:ext>
            </a:extLst>
          </p:cNvPr>
          <p:cNvSpPr/>
          <p:nvPr/>
        </p:nvSpPr>
        <p:spPr>
          <a:xfrm>
            <a:off x="5353730" y="2512593"/>
            <a:ext cx="65314" cy="39188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solidFill>
                <a:schemeClr val="accent1"/>
              </a:solidFill>
            </a:endParaRPr>
          </a:p>
        </p:txBody>
      </p:sp>
      <p:sp>
        <p:nvSpPr>
          <p:cNvPr id="9" name="矩形 8">
            <a:extLst>
              <a:ext uri="{FF2B5EF4-FFF2-40B4-BE49-F238E27FC236}">
                <a16:creationId xmlns:a16="http://schemas.microsoft.com/office/drawing/2014/main" id="{0D43ABF6-C318-417C-8459-CBC8120AC54C}"/>
              </a:ext>
            </a:extLst>
          </p:cNvPr>
          <p:cNvSpPr/>
          <p:nvPr/>
        </p:nvSpPr>
        <p:spPr>
          <a:xfrm>
            <a:off x="1886715" y="2512593"/>
            <a:ext cx="65314" cy="39188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solidFill>
                <a:schemeClr val="accent1"/>
              </a:solidFill>
            </a:endParaRPr>
          </a:p>
        </p:txBody>
      </p:sp>
      <p:sp>
        <p:nvSpPr>
          <p:cNvPr id="11" name="矩形 10">
            <a:extLst>
              <a:ext uri="{FF2B5EF4-FFF2-40B4-BE49-F238E27FC236}">
                <a16:creationId xmlns:a16="http://schemas.microsoft.com/office/drawing/2014/main" id="{8DA4FA33-AEC2-41B0-A6D7-E8BA1B9185EB}"/>
              </a:ext>
            </a:extLst>
          </p:cNvPr>
          <p:cNvSpPr/>
          <p:nvPr/>
        </p:nvSpPr>
        <p:spPr>
          <a:xfrm>
            <a:off x="8820746" y="2512593"/>
            <a:ext cx="65314" cy="39188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solidFill>
                <a:schemeClr val="accent1"/>
              </a:solidFill>
            </a:endParaRPr>
          </a:p>
        </p:txBody>
      </p:sp>
      <p:sp>
        <p:nvSpPr>
          <p:cNvPr id="14" name="文本框 13">
            <a:extLst>
              <a:ext uri="{FF2B5EF4-FFF2-40B4-BE49-F238E27FC236}">
                <a16:creationId xmlns:a16="http://schemas.microsoft.com/office/drawing/2014/main" id="{67F17B83-0DE9-40E2-A301-1357F0858FA2}"/>
              </a:ext>
            </a:extLst>
          </p:cNvPr>
          <p:cNvSpPr txBox="1"/>
          <p:nvPr/>
        </p:nvSpPr>
        <p:spPr>
          <a:xfrm>
            <a:off x="1830587" y="3134491"/>
            <a:ext cx="1846659" cy="369332"/>
          </a:xfrm>
          <a:prstGeom prst="rect">
            <a:avLst/>
          </a:prstGeom>
          <a:noFill/>
        </p:spPr>
        <p:txBody>
          <a:bodyPr wrap="none" lIns="0" tIns="0" rIns="0" bIns="0" rtlCol="0" anchor="t">
            <a:spAutoFit/>
          </a:bodyPr>
          <a:lstStyle/>
          <a:p>
            <a:pPr algn="ctr"/>
            <a:r>
              <a:rPr lang="zh-CN" altLang="en-US" sz="2400" dirty="0">
                <a:solidFill>
                  <a:schemeClr val="accent1"/>
                </a:solidFill>
                <a:latin typeface="+mj-ea"/>
                <a:ea typeface="+mj-ea"/>
              </a:rPr>
              <a:t>输入目录标题</a:t>
            </a:r>
          </a:p>
        </p:txBody>
      </p:sp>
      <p:sp>
        <p:nvSpPr>
          <p:cNvPr id="15" name="文本框 14">
            <a:extLst>
              <a:ext uri="{FF2B5EF4-FFF2-40B4-BE49-F238E27FC236}">
                <a16:creationId xmlns:a16="http://schemas.microsoft.com/office/drawing/2014/main" id="{E18F4E69-5981-4985-B857-06CC39F700DB}"/>
              </a:ext>
            </a:extLst>
          </p:cNvPr>
          <p:cNvSpPr txBox="1"/>
          <p:nvPr/>
        </p:nvSpPr>
        <p:spPr>
          <a:xfrm>
            <a:off x="1830586" y="3595673"/>
            <a:ext cx="1846660" cy="215444"/>
          </a:xfrm>
          <a:prstGeom prst="rect">
            <a:avLst/>
          </a:prstGeom>
          <a:noFill/>
        </p:spPr>
        <p:txBody>
          <a:bodyPr wrap="square" lIns="0" tIns="0" rIns="0" bIns="0" rtlCol="0" anchor="t">
            <a:spAutoFit/>
          </a:bodyPr>
          <a:lstStyle/>
          <a:p>
            <a:pPr algn="dist"/>
            <a:r>
              <a:rPr lang="en-US" altLang="zh-CN" sz="1400" dirty="0">
                <a:solidFill>
                  <a:schemeClr val="accent1"/>
                </a:solidFill>
              </a:rPr>
              <a:t>Contents Title Here</a:t>
            </a:r>
            <a:endParaRPr lang="zh-CN" altLang="en-US" sz="1400" dirty="0">
              <a:solidFill>
                <a:schemeClr val="accent1"/>
              </a:solidFill>
            </a:endParaRPr>
          </a:p>
        </p:txBody>
      </p:sp>
      <p:sp>
        <p:nvSpPr>
          <p:cNvPr id="16" name="文本框 15">
            <a:extLst>
              <a:ext uri="{FF2B5EF4-FFF2-40B4-BE49-F238E27FC236}">
                <a16:creationId xmlns:a16="http://schemas.microsoft.com/office/drawing/2014/main" id="{42186EFE-E7CE-4123-98A7-12BBDA471711}"/>
              </a:ext>
            </a:extLst>
          </p:cNvPr>
          <p:cNvSpPr txBox="1"/>
          <p:nvPr/>
        </p:nvSpPr>
        <p:spPr>
          <a:xfrm>
            <a:off x="5326262" y="3134491"/>
            <a:ext cx="1846659" cy="369332"/>
          </a:xfrm>
          <a:prstGeom prst="rect">
            <a:avLst/>
          </a:prstGeom>
          <a:noFill/>
        </p:spPr>
        <p:txBody>
          <a:bodyPr wrap="none" lIns="0" tIns="0" rIns="0" bIns="0" rtlCol="0" anchor="t">
            <a:spAutoFit/>
          </a:bodyPr>
          <a:lstStyle/>
          <a:p>
            <a:pPr algn="ctr"/>
            <a:r>
              <a:rPr lang="zh-CN" altLang="en-US" sz="2400" dirty="0">
                <a:solidFill>
                  <a:schemeClr val="accent1"/>
                </a:solidFill>
                <a:latin typeface="+mj-ea"/>
                <a:ea typeface="+mj-ea"/>
              </a:rPr>
              <a:t>输入目录标题</a:t>
            </a:r>
          </a:p>
        </p:txBody>
      </p:sp>
      <p:sp>
        <p:nvSpPr>
          <p:cNvPr id="17" name="文本框 16">
            <a:extLst>
              <a:ext uri="{FF2B5EF4-FFF2-40B4-BE49-F238E27FC236}">
                <a16:creationId xmlns:a16="http://schemas.microsoft.com/office/drawing/2014/main" id="{630B145E-9A63-47F9-8F35-7CF19E6482A7}"/>
              </a:ext>
            </a:extLst>
          </p:cNvPr>
          <p:cNvSpPr txBox="1"/>
          <p:nvPr/>
        </p:nvSpPr>
        <p:spPr>
          <a:xfrm>
            <a:off x="5326261" y="3595673"/>
            <a:ext cx="1846660" cy="215444"/>
          </a:xfrm>
          <a:prstGeom prst="rect">
            <a:avLst/>
          </a:prstGeom>
          <a:noFill/>
        </p:spPr>
        <p:txBody>
          <a:bodyPr wrap="square" lIns="0" tIns="0" rIns="0" bIns="0" rtlCol="0" anchor="t">
            <a:spAutoFit/>
          </a:bodyPr>
          <a:lstStyle/>
          <a:p>
            <a:pPr algn="dist"/>
            <a:r>
              <a:rPr lang="en-US" altLang="zh-CN" sz="1400" dirty="0">
                <a:solidFill>
                  <a:schemeClr val="accent1"/>
                </a:solidFill>
              </a:rPr>
              <a:t>Contents Title Here</a:t>
            </a:r>
            <a:endParaRPr lang="zh-CN" altLang="en-US" sz="1400" dirty="0">
              <a:solidFill>
                <a:schemeClr val="accent1"/>
              </a:solidFill>
            </a:endParaRPr>
          </a:p>
        </p:txBody>
      </p:sp>
      <p:sp>
        <p:nvSpPr>
          <p:cNvPr id="18" name="文本框 17">
            <a:extLst>
              <a:ext uri="{FF2B5EF4-FFF2-40B4-BE49-F238E27FC236}">
                <a16:creationId xmlns:a16="http://schemas.microsoft.com/office/drawing/2014/main" id="{F6A14D2E-AFBB-49C5-BA0C-34ADA4378980}"/>
              </a:ext>
            </a:extLst>
          </p:cNvPr>
          <p:cNvSpPr txBox="1"/>
          <p:nvPr/>
        </p:nvSpPr>
        <p:spPr>
          <a:xfrm>
            <a:off x="8768274" y="3134491"/>
            <a:ext cx="1846659" cy="369332"/>
          </a:xfrm>
          <a:prstGeom prst="rect">
            <a:avLst/>
          </a:prstGeom>
          <a:noFill/>
        </p:spPr>
        <p:txBody>
          <a:bodyPr wrap="none" lIns="0" tIns="0" rIns="0" bIns="0" rtlCol="0" anchor="t">
            <a:spAutoFit/>
          </a:bodyPr>
          <a:lstStyle/>
          <a:p>
            <a:pPr algn="ctr"/>
            <a:r>
              <a:rPr lang="zh-CN" altLang="en-US" sz="2400" dirty="0">
                <a:solidFill>
                  <a:schemeClr val="accent1"/>
                </a:solidFill>
                <a:latin typeface="+mj-ea"/>
                <a:ea typeface="+mj-ea"/>
              </a:rPr>
              <a:t>输入目录标题</a:t>
            </a:r>
          </a:p>
        </p:txBody>
      </p:sp>
      <p:sp>
        <p:nvSpPr>
          <p:cNvPr id="19" name="文本框 18">
            <a:extLst>
              <a:ext uri="{FF2B5EF4-FFF2-40B4-BE49-F238E27FC236}">
                <a16:creationId xmlns:a16="http://schemas.microsoft.com/office/drawing/2014/main" id="{CA98E152-466E-49B3-875D-A85C6B900275}"/>
              </a:ext>
            </a:extLst>
          </p:cNvPr>
          <p:cNvSpPr txBox="1"/>
          <p:nvPr/>
        </p:nvSpPr>
        <p:spPr>
          <a:xfrm>
            <a:off x="8768273" y="3595673"/>
            <a:ext cx="1846660" cy="215444"/>
          </a:xfrm>
          <a:prstGeom prst="rect">
            <a:avLst/>
          </a:prstGeom>
          <a:noFill/>
        </p:spPr>
        <p:txBody>
          <a:bodyPr wrap="square" lIns="0" tIns="0" rIns="0" bIns="0" rtlCol="0" anchor="t">
            <a:spAutoFit/>
          </a:bodyPr>
          <a:lstStyle/>
          <a:p>
            <a:pPr algn="dist"/>
            <a:r>
              <a:rPr lang="en-US" altLang="zh-CN" sz="1400" dirty="0">
                <a:solidFill>
                  <a:schemeClr val="accent1"/>
                </a:solidFill>
              </a:rPr>
              <a:t>Contents Title Here</a:t>
            </a:r>
            <a:endParaRPr lang="zh-CN" altLang="en-US" sz="1400" dirty="0">
              <a:solidFill>
                <a:schemeClr val="accent1"/>
              </a:solidFill>
            </a:endParaRPr>
          </a:p>
        </p:txBody>
      </p:sp>
      <p:cxnSp>
        <p:nvCxnSpPr>
          <p:cNvPr id="20" name="直接连接符 19">
            <a:extLst>
              <a:ext uri="{FF2B5EF4-FFF2-40B4-BE49-F238E27FC236}">
                <a16:creationId xmlns:a16="http://schemas.microsoft.com/office/drawing/2014/main" id="{475D2AFC-4A14-4024-99A2-1B7EAEC8962E}"/>
              </a:ext>
            </a:extLst>
          </p:cNvPr>
          <p:cNvCxnSpPr>
            <a:cxnSpLocks/>
          </p:cNvCxnSpPr>
          <p:nvPr/>
        </p:nvCxnSpPr>
        <p:spPr>
          <a:xfrm>
            <a:off x="1110343" y="4775461"/>
            <a:ext cx="9971315" cy="0"/>
          </a:xfrm>
          <a:prstGeom prst="line">
            <a:avLst/>
          </a:prstGeom>
          <a:ln w="28575">
            <a:headEnd type="oval"/>
            <a:tailEnd type="oval"/>
          </a:ln>
        </p:spPr>
        <p:style>
          <a:lnRef idx="1">
            <a:schemeClr val="accent1"/>
          </a:lnRef>
          <a:fillRef idx="0">
            <a:schemeClr val="accent1"/>
          </a:fillRef>
          <a:effectRef idx="0">
            <a:schemeClr val="accent1"/>
          </a:effectRef>
          <a:fontRef idx="minor">
            <a:schemeClr val="tx1"/>
          </a:fontRef>
        </p:style>
      </p:cxnSp>
      <p:sp>
        <p:nvSpPr>
          <p:cNvPr id="21" name="矩形 20">
            <a:extLst>
              <a:ext uri="{FF2B5EF4-FFF2-40B4-BE49-F238E27FC236}">
                <a16:creationId xmlns:a16="http://schemas.microsoft.com/office/drawing/2014/main" id="{A4CD3F25-259A-4956-8BC9-CF7DD16BC349}"/>
              </a:ext>
            </a:extLst>
          </p:cNvPr>
          <p:cNvSpPr/>
          <p:nvPr/>
        </p:nvSpPr>
        <p:spPr>
          <a:xfrm>
            <a:off x="5353730" y="4579518"/>
            <a:ext cx="65314" cy="39188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solidFill>
                <a:schemeClr val="accent1"/>
              </a:solidFill>
            </a:endParaRPr>
          </a:p>
        </p:txBody>
      </p:sp>
      <p:sp>
        <p:nvSpPr>
          <p:cNvPr id="22" name="矩形 21">
            <a:extLst>
              <a:ext uri="{FF2B5EF4-FFF2-40B4-BE49-F238E27FC236}">
                <a16:creationId xmlns:a16="http://schemas.microsoft.com/office/drawing/2014/main" id="{75797025-1F4F-4295-8C8B-450E071C8536}"/>
              </a:ext>
            </a:extLst>
          </p:cNvPr>
          <p:cNvSpPr/>
          <p:nvPr/>
        </p:nvSpPr>
        <p:spPr>
          <a:xfrm>
            <a:off x="1886715" y="4579518"/>
            <a:ext cx="65314" cy="39188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solidFill>
                <a:schemeClr val="accent1"/>
              </a:solidFill>
            </a:endParaRPr>
          </a:p>
        </p:txBody>
      </p:sp>
      <p:sp>
        <p:nvSpPr>
          <p:cNvPr id="23" name="矩形 22">
            <a:extLst>
              <a:ext uri="{FF2B5EF4-FFF2-40B4-BE49-F238E27FC236}">
                <a16:creationId xmlns:a16="http://schemas.microsoft.com/office/drawing/2014/main" id="{AEE0E864-E3C4-4C96-82BA-86D1741D72C5}"/>
              </a:ext>
            </a:extLst>
          </p:cNvPr>
          <p:cNvSpPr/>
          <p:nvPr/>
        </p:nvSpPr>
        <p:spPr>
          <a:xfrm>
            <a:off x="8820746" y="4579518"/>
            <a:ext cx="65314" cy="39188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solidFill>
                <a:schemeClr val="accent1"/>
              </a:solidFill>
            </a:endParaRPr>
          </a:p>
        </p:txBody>
      </p:sp>
      <p:sp>
        <p:nvSpPr>
          <p:cNvPr id="24" name="文本框 23">
            <a:extLst>
              <a:ext uri="{FF2B5EF4-FFF2-40B4-BE49-F238E27FC236}">
                <a16:creationId xmlns:a16="http://schemas.microsoft.com/office/drawing/2014/main" id="{23A03C7F-AEA7-4332-A2D8-7B3CA923F88E}"/>
              </a:ext>
            </a:extLst>
          </p:cNvPr>
          <p:cNvSpPr txBox="1"/>
          <p:nvPr/>
        </p:nvSpPr>
        <p:spPr>
          <a:xfrm>
            <a:off x="1830587" y="5201416"/>
            <a:ext cx="1846659" cy="369332"/>
          </a:xfrm>
          <a:prstGeom prst="rect">
            <a:avLst/>
          </a:prstGeom>
          <a:noFill/>
        </p:spPr>
        <p:txBody>
          <a:bodyPr wrap="none" lIns="0" tIns="0" rIns="0" bIns="0" rtlCol="0" anchor="t">
            <a:spAutoFit/>
          </a:bodyPr>
          <a:lstStyle/>
          <a:p>
            <a:pPr algn="ctr"/>
            <a:r>
              <a:rPr lang="zh-CN" altLang="en-US" sz="2400" dirty="0">
                <a:solidFill>
                  <a:schemeClr val="accent1"/>
                </a:solidFill>
                <a:latin typeface="+mj-ea"/>
                <a:ea typeface="+mj-ea"/>
              </a:rPr>
              <a:t>输入目录标题</a:t>
            </a:r>
          </a:p>
        </p:txBody>
      </p:sp>
      <p:sp>
        <p:nvSpPr>
          <p:cNvPr id="25" name="文本框 24">
            <a:extLst>
              <a:ext uri="{FF2B5EF4-FFF2-40B4-BE49-F238E27FC236}">
                <a16:creationId xmlns:a16="http://schemas.microsoft.com/office/drawing/2014/main" id="{D9B67838-9598-4E80-BF8E-1B0577DE72BA}"/>
              </a:ext>
            </a:extLst>
          </p:cNvPr>
          <p:cNvSpPr txBox="1"/>
          <p:nvPr/>
        </p:nvSpPr>
        <p:spPr>
          <a:xfrm>
            <a:off x="1830586" y="5662598"/>
            <a:ext cx="1846660" cy="215444"/>
          </a:xfrm>
          <a:prstGeom prst="rect">
            <a:avLst/>
          </a:prstGeom>
          <a:noFill/>
        </p:spPr>
        <p:txBody>
          <a:bodyPr wrap="square" lIns="0" tIns="0" rIns="0" bIns="0" rtlCol="0" anchor="t">
            <a:spAutoFit/>
          </a:bodyPr>
          <a:lstStyle/>
          <a:p>
            <a:pPr algn="dist"/>
            <a:r>
              <a:rPr lang="en-US" altLang="zh-CN" sz="1400" dirty="0">
                <a:solidFill>
                  <a:schemeClr val="accent1"/>
                </a:solidFill>
              </a:rPr>
              <a:t>Contents Title Here</a:t>
            </a:r>
            <a:endParaRPr lang="zh-CN" altLang="en-US" sz="1400" dirty="0">
              <a:solidFill>
                <a:schemeClr val="accent1"/>
              </a:solidFill>
            </a:endParaRPr>
          </a:p>
        </p:txBody>
      </p:sp>
      <p:sp>
        <p:nvSpPr>
          <p:cNvPr id="26" name="文本框 25">
            <a:extLst>
              <a:ext uri="{FF2B5EF4-FFF2-40B4-BE49-F238E27FC236}">
                <a16:creationId xmlns:a16="http://schemas.microsoft.com/office/drawing/2014/main" id="{5B70B859-837C-4EDD-8EDC-7B34506BCD7F}"/>
              </a:ext>
            </a:extLst>
          </p:cNvPr>
          <p:cNvSpPr txBox="1"/>
          <p:nvPr/>
        </p:nvSpPr>
        <p:spPr>
          <a:xfrm>
            <a:off x="5326262" y="5201416"/>
            <a:ext cx="1846659" cy="369332"/>
          </a:xfrm>
          <a:prstGeom prst="rect">
            <a:avLst/>
          </a:prstGeom>
          <a:noFill/>
        </p:spPr>
        <p:txBody>
          <a:bodyPr wrap="none" lIns="0" tIns="0" rIns="0" bIns="0" rtlCol="0" anchor="t">
            <a:spAutoFit/>
          </a:bodyPr>
          <a:lstStyle/>
          <a:p>
            <a:pPr algn="ctr"/>
            <a:r>
              <a:rPr lang="zh-CN" altLang="en-US" sz="2400" dirty="0">
                <a:solidFill>
                  <a:schemeClr val="accent1"/>
                </a:solidFill>
                <a:latin typeface="+mj-ea"/>
                <a:ea typeface="+mj-ea"/>
              </a:rPr>
              <a:t>输入目录标题</a:t>
            </a:r>
          </a:p>
        </p:txBody>
      </p:sp>
      <p:sp>
        <p:nvSpPr>
          <p:cNvPr id="27" name="文本框 26">
            <a:extLst>
              <a:ext uri="{FF2B5EF4-FFF2-40B4-BE49-F238E27FC236}">
                <a16:creationId xmlns:a16="http://schemas.microsoft.com/office/drawing/2014/main" id="{6EA4362D-1CB0-4F3B-85A7-F60A46E01824}"/>
              </a:ext>
            </a:extLst>
          </p:cNvPr>
          <p:cNvSpPr txBox="1"/>
          <p:nvPr/>
        </p:nvSpPr>
        <p:spPr>
          <a:xfrm>
            <a:off x="5326261" y="5662598"/>
            <a:ext cx="1846660" cy="215444"/>
          </a:xfrm>
          <a:prstGeom prst="rect">
            <a:avLst/>
          </a:prstGeom>
          <a:noFill/>
        </p:spPr>
        <p:txBody>
          <a:bodyPr wrap="square" lIns="0" tIns="0" rIns="0" bIns="0" rtlCol="0" anchor="t">
            <a:spAutoFit/>
          </a:bodyPr>
          <a:lstStyle/>
          <a:p>
            <a:pPr algn="dist"/>
            <a:r>
              <a:rPr lang="en-US" altLang="zh-CN" sz="1400" dirty="0">
                <a:solidFill>
                  <a:schemeClr val="accent1"/>
                </a:solidFill>
              </a:rPr>
              <a:t>Contents Title Here</a:t>
            </a:r>
            <a:endParaRPr lang="zh-CN" altLang="en-US" sz="1400" dirty="0">
              <a:solidFill>
                <a:schemeClr val="accent1"/>
              </a:solidFill>
            </a:endParaRPr>
          </a:p>
        </p:txBody>
      </p:sp>
      <p:sp>
        <p:nvSpPr>
          <p:cNvPr id="28" name="文本框 27">
            <a:extLst>
              <a:ext uri="{FF2B5EF4-FFF2-40B4-BE49-F238E27FC236}">
                <a16:creationId xmlns:a16="http://schemas.microsoft.com/office/drawing/2014/main" id="{71C35DB4-C23A-4292-9CEE-D76F849F48DE}"/>
              </a:ext>
            </a:extLst>
          </p:cNvPr>
          <p:cNvSpPr txBox="1"/>
          <p:nvPr/>
        </p:nvSpPr>
        <p:spPr>
          <a:xfrm>
            <a:off x="8768274" y="5201416"/>
            <a:ext cx="1846659" cy="369332"/>
          </a:xfrm>
          <a:prstGeom prst="rect">
            <a:avLst/>
          </a:prstGeom>
          <a:noFill/>
        </p:spPr>
        <p:txBody>
          <a:bodyPr wrap="none" lIns="0" tIns="0" rIns="0" bIns="0" rtlCol="0" anchor="t">
            <a:spAutoFit/>
          </a:bodyPr>
          <a:lstStyle/>
          <a:p>
            <a:pPr algn="ctr"/>
            <a:r>
              <a:rPr lang="zh-CN" altLang="en-US" sz="2400" dirty="0">
                <a:solidFill>
                  <a:schemeClr val="accent1"/>
                </a:solidFill>
                <a:latin typeface="+mj-ea"/>
                <a:ea typeface="+mj-ea"/>
              </a:rPr>
              <a:t>输入目录标题</a:t>
            </a:r>
          </a:p>
        </p:txBody>
      </p:sp>
      <p:sp>
        <p:nvSpPr>
          <p:cNvPr id="29" name="文本框 28">
            <a:extLst>
              <a:ext uri="{FF2B5EF4-FFF2-40B4-BE49-F238E27FC236}">
                <a16:creationId xmlns:a16="http://schemas.microsoft.com/office/drawing/2014/main" id="{D387E38B-2C5D-40CA-8879-86B64D6DFC4B}"/>
              </a:ext>
            </a:extLst>
          </p:cNvPr>
          <p:cNvSpPr txBox="1"/>
          <p:nvPr/>
        </p:nvSpPr>
        <p:spPr>
          <a:xfrm>
            <a:off x="8768273" y="5662598"/>
            <a:ext cx="1846660" cy="215444"/>
          </a:xfrm>
          <a:prstGeom prst="rect">
            <a:avLst/>
          </a:prstGeom>
          <a:noFill/>
        </p:spPr>
        <p:txBody>
          <a:bodyPr wrap="square" lIns="0" tIns="0" rIns="0" bIns="0" rtlCol="0" anchor="t">
            <a:spAutoFit/>
          </a:bodyPr>
          <a:lstStyle/>
          <a:p>
            <a:pPr algn="dist"/>
            <a:r>
              <a:rPr lang="en-US" altLang="zh-CN" sz="1400" dirty="0">
                <a:solidFill>
                  <a:schemeClr val="accent1"/>
                </a:solidFill>
              </a:rPr>
              <a:t>Contents Title Here</a:t>
            </a:r>
            <a:endParaRPr lang="zh-CN" altLang="en-US" sz="1400" dirty="0">
              <a:solidFill>
                <a:schemeClr val="accent1"/>
              </a:solidFill>
            </a:endParaRPr>
          </a:p>
        </p:txBody>
      </p:sp>
    </p:spTree>
    <p:extLst>
      <p:ext uri="{BB962C8B-B14F-4D97-AF65-F5344CB8AC3E}">
        <p14:creationId xmlns:p14="http://schemas.microsoft.com/office/powerpoint/2010/main" val="4177974237"/>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圆: 空心 1">
            <a:extLst>
              <a:ext uri="{FF2B5EF4-FFF2-40B4-BE49-F238E27FC236}">
                <a16:creationId xmlns:a16="http://schemas.microsoft.com/office/drawing/2014/main" id="{1AC1D3AD-946E-4B83-B6E8-1A0EF585D778}"/>
              </a:ext>
            </a:extLst>
          </p:cNvPr>
          <p:cNvSpPr/>
          <p:nvPr/>
        </p:nvSpPr>
        <p:spPr>
          <a:xfrm>
            <a:off x="-3952569" y="-3884681"/>
            <a:ext cx="7905137" cy="7905137"/>
          </a:xfrm>
          <a:prstGeom prst="donut">
            <a:avLst>
              <a:gd name="adj" fmla="val 19343"/>
            </a:avLst>
          </a:prstGeom>
          <a:solidFill>
            <a:schemeClr val="accent1">
              <a:lumMod val="20000"/>
              <a:lumOff val="80000"/>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solidFill>
                <a:schemeClr val="tx1"/>
              </a:solidFill>
            </a:endParaRPr>
          </a:p>
        </p:txBody>
      </p:sp>
      <p:sp>
        <p:nvSpPr>
          <p:cNvPr id="3" name="文本框 2">
            <a:extLst>
              <a:ext uri="{FF2B5EF4-FFF2-40B4-BE49-F238E27FC236}">
                <a16:creationId xmlns:a16="http://schemas.microsoft.com/office/drawing/2014/main" id="{23794FA7-E385-4ECF-9356-3598616FF5B8}"/>
              </a:ext>
            </a:extLst>
          </p:cNvPr>
          <p:cNvSpPr txBox="1"/>
          <p:nvPr/>
        </p:nvSpPr>
        <p:spPr>
          <a:xfrm>
            <a:off x="1422000" y="2651492"/>
            <a:ext cx="2802566" cy="553998"/>
          </a:xfrm>
          <a:prstGeom prst="rect">
            <a:avLst/>
          </a:prstGeom>
          <a:noFill/>
        </p:spPr>
        <p:txBody>
          <a:bodyPr wrap="square" lIns="0" tIns="0" rIns="0" bIns="0" rtlCol="0" anchor="t">
            <a:spAutoFit/>
          </a:bodyPr>
          <a:lstStyle/>
          <a:p>
            <a:pPr algn="dist"/>
            <a:r>
              <a:rPr lang="en-US" altLang="zh-CN" sz="3600" dirty="0">
                <a:solidFill>
                  <a:schemeClr val="accent1">
                    <a:alpha val="20000"/>
                  </a:schemeClr>
                </a:solidFill>
                <a:latin typeface="+mj-ea"/>
                <a:ea typeface="+mj-ea"/>
              </a:rPr>
              <a:t>CONTENTS</a:t>
            </a:r>
            <a:endParaRPr lang="zh-CN" altLang="en-US" sz="3600" dirty="0">
              <a:solidFill>
                <a:schemeClr val="accent1">
                  <a:alpha val="20000"/>
                </a:schemeClr>
              </a:solidFill>
              <a:latin typeface="+mj-ea"/>
              <a:ea typeface="+mj-ea"/>
            </a:endParaRPr>
          </a:p>
        </p:txBody>
      </p:sp>
      <p:sp>
        <p:nvSpPr>
          <p:cNvPr id="4" name="文本框 3">
            <a:extLst>
              <a:ext uri="{FF2B5EF4-FFF2-40B4-BE49-F238E27FC236}">
                <a16:creationId xmlns:a16="http://schemas.microsoft.com/office/drawing/2014/main" id="{0DDC26CF-9672-42C7-A24E-D05FC224938D}"/>
              </a:ext>
            </a:extLst>
          </p:cNvPr>
          <p:cNvSpPr txBox="1"/>
          <p:nvPr/>
        </p:nvSpPr>
        <p:spPr>
          <a:xfrm>
            <a:off x="1420866" y="2852291"/>
            <a:ext cx="2673698" cy="1354217"/>
          </a:xfrm>
          <a:prstGeom prst="rect">
            <a:avLst/>
          </a:prstGeom>
          <a:noFill/>
        </p:spPr>
        <p:txBody>
          <a:bodyPr wrap="square" lIns="0" tIns="0" rIns="0" bIns="0" rtlCol="0" anchor="t">
            <a:spAutoFit/>
          </a:bodyPr>
          <a:lstStyle/>
          <a:p>
            <a:pPr algn="dist"/>
            <a:r>
              <a:rPr lang="zh-CN" altLang="en-US" sz="8800" dirty="0">
                <a:solidFill>
                  <a:schemeClr val="accent1"/>
                </a:solidFill>
                <a:latin typeface="+mj-ea"/>
                <a:ea typeface="+mj-ea"/>
              </a:rPr>
              <a:t>目录</a:t>
            </a:r>
          </a:p>
        </p:txBody>
      </p:sp>
      <p:grpSp>
        <p:nvGrpSpPr>
          <p:cNvPr id="44" name="组合 43">
            <a:extLst>
              <a:ext uri="{FF2B5EF4-FFF2-40B4-BE49-F238E27FC236}">
                <a16:creationId xmlns:a16="http://schemas.microsoft.com/office/drawing/2014/main" id="{EB7A6D8F-D56C-4B9E-9ABD-9C3FEAAF5FA7}"/>
              </a:ext>
            </a:extLst>
          </p:cNvPr>
          <p:cNvGrpSpPr/>
          <p:nvPr/>
        </p:nvGrpSpPr>
        <p:grpSpPr>
          <a:xfrm>
            <a:off x="6087187" y="930692"/>
            <a:ext cx="3424608" cy="1354217"/>
            <a:chOff x="6087187" y="930692"/>
            <a:chExt cx="3424608" cy="1354217"/>
          </a:xfrm>
        </p:grpSpPr>
        <p:sp>
          <p:nvSpPr>
            <p:cNvPr id="6" name="文本框 5">
              <a:extLst>
                <a:ext uri="{FF2B5EF4-FFF2-40B4-BE49-F238E27FC236}">
                  <a16:creationId xmlns:a16="http://schemas.microsoft.com/office/drawing/2014/main" id="{85A63EDA-991D-4145-BC69-89BF21BA4257}"/>
                </a:ext>
              </a:extLst>
            </p:cNvPr>
            <p:cNvSpPr txBox="1"/>
            <p:nvPr/>
          </p:nvSpPr>
          <p:spPr>
            <a:xfrm>
              <a:off x="6087187" y="930692"/>
              <a:ext cx="1331859" cy="1354217"/>
            </a:xfrm>
            <a:prstGeom prst="rect">
              <a:avLst/>
            </a:prstGeom>
            <a:noFill/>
          </p:spPr>
          <p:txBody>
            <a:bodyPr wrap="square" lIns="0" tIns="0" rIns="0" bIns="0" rtlCol="0" anchor="t">
              <a:spAutoFit/>
            </a:bodyPr>
            <a:lstStyle/>
            <a:p>
              <a:r>
                <a:rPr lang="en-US" altLang="zh-CN" sz="8800" dirty="0">
                  <a:solidFill>
                    <a:schemeClr val="accent1"/>
                  </a:solidFill>
                  <a:latin typeface="+mj-ea"/>
                  <a:ea typeface="+mj-ea"/>
                </a:rPr>
                <a:t>01</a:t>
              </a:r>
              <a:endParaRPr lang="zh-CN" altLang="en-US" sz="8800" dirty="0">
                <a:solidFill>
                  <a:schemeClr val="accent1"/>
                </a:solidFill>
                <a:latin typeface="+mj-ea"/>
                <a:ea typeface="+mj-ea"/>
              </a:endParaRPr>
            </a:p>
          </p:txBody>
        </p:sp>
        <p:sp>
          <p:nvSpPr>
            <p:cNvPr id="7" name="矩形 6">
              <a:extLst>
                <a:ext uri="{FF2B5EF4-FFF2-40B4-BE49-F238E27FC236}">
                  <a16:creationId xmlns:a16="http://schemas.microsoft.com/office/drawing/2014/main" id="{1A387209-B598-4970-AEBD-66D0183183CC}"/>
                </a:ext>
              </a:extLst>
            </p:cNvPr>
            <p:cNvSpPr/>
            <p:nvPr/>
          </p:nvSpPr>
          <p:spPr>
            <a:xfrm>
              <a:off x="6165851" y="1882761"/>
              <a:ext cx="3345944" cy="2154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solidFill>
                  <a:schemeClr val="accent1"/>
                </a:solidFill>
              </a:endParaRPr>
            </a:p>
          </p:txBody>
        </p:sp>
        <p:sp>
          <p:nvSpPr>
            <p:cNvPr id="8" name="文本框 7">
              <a:extLst>
                <a:ext uri="{FF2B5EF4-FFF2-40B4-BE49-F238E27FC236}">
                  <a16:creationId xmlns:a16="http://schemas.microsoft.com/office/drawing/2014/main" id="{24DD8CBA-C8D4-4A36-9010-760802B1E2AF}"/>
                </a:ext>
              </a:extLst>
            </p:cNvPr>
            <p:cNvSpPr txBox="1"/>
            <p:nvPr/>
          </p:nvSpPr>
          <p:spPr>
            <a:xfrm>
              <a:off x="7665135" y="1206171"/>
              <a:ext cx="1846659" cy="369332"/>
            </a:xfrm>
            <a:prstGeom prst="rect">
              <a:avLst/>
            </a:prstGeom>
            <a:noFill/>
          </p:spPr>
          <p:txBody>
            <a:bodyPr wrap="none" lIns="0" tIns="0" rIns="0" bIns="0" rtlCol="0" anchor="t">
              <a:spAutoFit/>
            </a:bodyPr>
            <a:lstStyle/>
            <a:p>
              <a:pPr algn="ctr"/>
              <a:r>
                <a:rPr lang="zh-CN" altLang="en-US" sz="2400" dirty="0">
                  <a:solidFill>
                    <a:schemeClr val="accent1"/>
                  </a:solidFill>
                  <a:latin typeface="+mj-ea"/>
                  <a:ea typeface="+mj-ea"/>
                </a:rPr>
                <a:t>输入目录标题</a:t>
              </a:r>
            </a:p>
          </p:txBody>
        </p:sp>
        <p:sp>
          <p:nvSpPr>
            <p:cNvPr id="9" name="文本框 8">
              <a:extLst>
                <a:ext uri="{FF2B5EF4-FFF2-40B4-BE49-F238E27FC236}">
                  <a16:creationId xmlns:a16="http://schemas.microsoft.com/office/drawing/2014/main" id="{2F4D4B8E-7097-4796-A372-795CCD5B94FB}"/>
                </a:ext>
              </a:extLst>
            </p:cNvPr>
            <p:cNvSpPr txBox="1"/>
            <p:nvPr/>
          </p:nvSpPr>
          <p:spPr>
            <a:xfrm>
              <a:off x="7665134" y="1598593"/>
              <a:ext cx="1846660" cy="215444"/>
            </a:xfrm>
            <a:prstGeom prst="rect">
              <a:avLst/>
            </a:prstGeom>
            <a:noFill/>
          </p:spPr>
          <p:txBody>
            <a:bodyPr wrap="square" lIns="0" tIns="0" rIns="0" bIns="0" rtlCol="0" anchor="t">
              <a:spAutoFit/>
            </a:bodyPr>
            <a:lstStyle/>
            <a:p>
              <a:pPr algn="dist"/>
              <a:r>
                <a:rPr lang="en-US" altLang="zh-CN" sz="1400" dirty="0">
                  <a:solidFill>
                    <a:schemeClr val="accent1"/>
                  </a:solidFill>
                </a:rPr>
                <a:t>Contents Title Here</a:t>
              </a:r>
              <a:endParaRPr lang="zh-CN" altLang="en-US" sz="1400" dirty="0">
                <a:solidFill>
                  <a:schemeClr val="accent1"/>
                </a:solidFill>
              </a:endParaRPr>
            </a:p>
          </p:txBody>
        </p:sp>
        <p:cxnSp>
          <p:nvCxnSpPr>
            <p:cNvPr id="15" name="直接连接符 14">
              <a:extLst>
                <a:ext uri="{FF2B5EF4-FFF2-40B4-BE49-F238E27FC236}">
                  <a16:creationId xmlns:a16="http://schemas.microsoft.com/office/drawing/2014/main" id="{095AB1B8-75BB-40AB-92BC-BA4F941DECC9}"/>
                </a:ext>
              </a:extLst>
            </p:cNvPr>
            <p:cNvCxnSpPr>
              <a:cxnSpLocks/>
            </p:cNvCxnSpPr>
            <p:nvPr/>
          </p:nvCxnSpPr>
          <p:spPr>
            <a:xfrm>
              <a:off x="6197600" y="1880544"/>
              <a:ext cx="3314194" cy="0"/>
            </a:xfrm>
            <a:prstGeom prst="line">
              <a:avLst/>
            </a:prstGeom>
            <a:ln w="9525"/>
          </p:spPr>
          <p:style>
            <a:lnRef idx="1">
              <a:schemeClr val="accent1"/>
            </a:lnRef>
            <a:fillRef idx="0">
              <a:schemeClr val="accent1"/>
            </a:fillRef>
            <a:effectRef idx="0">
              <a:schemeClr val="accent1"/>
            </a:effectRef>
            <a:fontRef idx="minor">
              <a:schemeClr val="tx1"/>
            </a:fontRef>
          </p:style>
        </p:cxnSp>
      </p:grpSp>
      <p:grpSp>
        <p:nvGrpSpPr>
          <p:cNvPr id="43" name="组合 42">
            <a:extLst>
              <a:ext uri="{FF2B5EF4-FFF2-40B4-BE49-F238E27FC236}">
                <a16:creationId xmlns:a16="http://schemas.microsoft.com/office/drawing/2014/main" id="{1EB9FBD5-6FA6-4542-BFB4-7AD9786D0149}"/>
              </a:ext>
            </a:extLst>
          </p:cNvPr>
          <p:cNvGrpSpPr/>
          <p:nvPr/>
        </p:nvGrpSpPr>
        <p:grpSpPr>
          <a:xfrm>
            <a:off x="6087187" y="2283712"/>
            <a:ext cx="3424608" cy="1354217"/>
            <a:chOff x="6087187" y="2174970"/>
            <a:chExt cx="3424608" cy="1354217"/>
          </a:xfrm>
        </p:grpSpPr>
        <p:sp>
          <p:nvSpPr>
            <p:cNvPr id="21" name="文本框 20">
              <a:extLst>
                <a:ext uri="{FF2B5EF4-FFF2-40B4-BE49-F238E27FC236}">
                  <a16:creationId xmlns:a16="http://schemas.microsoft.com/office/drawing/2014/main" id="{04006B0A-2523-4F04-9A73-7438C5322F48}"/>
                </a:ext>
              </a:extLst>
            </p:cNvPr>
            <p:cNvSpPr txBox="1"/>
            <p:nvPr/>
          </p:nvSpPr>
          <p:spPr>
            <a:xfrm>
              <a:off x="6087187" y="2174970"/>
              <a:ext cx="1577947" cy="1354217"/>
            </a:xfrm>
            <a:prstGeom prst="rect">
              <a:avLst/>
            </a:prstGeom>
            <a:noFill/>
          </p:spPr>
          <p:txBody>
            <a:bodyPr wrap="square" lIns="0" tIns="0" rIns="0" bIns="0" rtlCol="0" anchor="t">
              <a:spAutoFit/>
            </a:bodyPr>
            <a:lstStyle/>
            <a:p>
              <a:r>
                <a:rPr lang="en-US" altLang="zh-CN" sz="8800" dirty="0">
                  <a:solidFill>
                    <a:schemeClr val="accent1"/>
                  </a:solidFill>
                  <a:latin typeface="+mj-ea"/>
                  <a:ea typeface="+mj-ea"/>
                </a:rPr>
                <a:t>02</a:t>
              </a:r>
              <a:endParaRPr lang="zh-CN" altLang="en-US" sz="8800" dirty="0">
                <a:solidFill>
                  <a:schemeClr val="accent1"/>
                </a:solidFill>
                <a:latin typeface="+mj-ea"/>
                <a:ea typeface="+mj-ea"/>
              </a:endParaRPr>
            </a:p>
          </p:txBody>
        </p:sp>
        <p:sp>
          <p:nvSpPr>
            <p:cNvPr id="22" name="矩形 21">
              <a:extLst>
                <a:ext uri="{FF2B5EF4-FFF2-40B4-BE49-F238E27FC236}">
                  <a16:creationId xmlns:a16="http://schemas.microsoft.com/office/drawing/2014/main" id="{235AF4C0-5F74-477A-A8AF-CBD5E8018846}"/>
                </a:ext>
              </a:extLst>
            </p:cNvPr>
            <p:cNvSpPr/>
            <p:nvPr/>
          </p:nvSpPr>
          <p:spPr>
            <a:xfrm>
              <a:off x="6165851" y="3127039"/>
              <a:ext cx="3345944" cy="2154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solidFill>
                  <a:schemeClr val="accent1"/>
                </a:solidFill>
              </a:endParaRPr>
            </a:p>
          </p:txBody>
        </p:sp>
        <p:sp>
          <p:nvSpPr>
            <p:cNvPr id="23" name="文本框 22">
              <a:extLst>
                <a:ext uri="{FF2B5EF4-FFF2-40B4-BE49-F238E27FC236}">
                  <a16:creationId xmlns:a16="http://schemas.microsoft.com/office/drawing/2014/main" id="{E93E975B-F0FB-42ED-A02B-6E4CEB51AA76}"/>
                </a:ext>
              </a:extLst>
            </p:cNvPr>
            <p:cNvSpPr txBox="1"/>
            <p:nvPr/>
          </p:nvSpPr>
          <p:spPr>
            <a:xfrm>
              <a:off x="7665135" y="2450449"/>
              <a:ext cx="1846659" cy="369332"/>
            </a:xfrm>
            <a:prstGeom prst="rect">
              <a:avLst/>
            </a:prstGeom>
            <a:noFill/>
          </p:spPr>
          <p:txBody>
            <a:bodyPr wrap="none" lIns="0" tIns="0" rIns="0" bIns="0" rtlCol="0" anchor="t">
              <a:spAutoFit/>
            </a:bodyPr>
            <a:lstStyle/>
            <a:p>
              <a:pPr algn="ctr"/>
              <a:r>
                <a:rPr lang="zh-CN" altLang="en-US" sz="2400" dirty="0">
                  <a:solidFill>
                    <a:schemeClr val="accent1"/>
                  </a:solidFill>
                  <a:latin typeface="+mj-ea"/>
                  <a:ea typeface="+mj-ea"/>
                </a:rPr>
                <a:t>输入目录标题</a:t>
              </a:r>
            </a:p>
          </p:txBody>
        </p:sp>
        <p:sp>
          <p:nvSpPr>
            <p:cNvPr id="24" name="文本框 23">
              <a:extLst>
                <a:ext uri="{FF2B5EF4-FFF2-40B4-BE49-F238E27FC236}">
                  <a16:creationId xmlns:a16="http://schemas.microsoft.com/office/drawing/2014/main" id="{3D9B3239-17A3-441A-AE7C-4A314C28BECC}"/>
                </a:ext>
              </a:extLst>
            </p:cNvPr>
            <p:cNvSpPr txBox="1"/>
            <p:nvPr/>
          </p:nvSpPr>
          <p:spPr>
            <a:xfrm>
              <a:off x="7665134" y="2842871"/>
              <a:ext cx="1846660" cy="215444"/>
            </a:xfrm>
            <a:prstGeom prst="rect">
              <a:avLst/>
            </a:prstGeom>
            <a:noFill/>
          </p:spPr>
          <p:txBody>
            <a:bodyPr wrap="square" lIns="0" tIns="0" rIns="0" bIns="0" rtlCol="0" anchor="t">
              <a:spAutoFit/>
            </a:bodyPr>
            <a:lstStyle/>
            <a:p>
              <a:pPr algn="dist"/>
              <a:r>
                <a:rPr lang="en-US" altLang="zh-CN" sz="1400" dirty="0">
                  <a:solidFill>
                    <a:schemeClr val="accent1"/>
                  </a:solidFill>
                </a:rPr>
                <a:t>Contents Title Here</a:t>
              </a:r>
              <a:endParaRPr lang="zh-CN" altLang="en-US" sz="1400" dirty="0">
                <a:solidFill>
                  <a:schemeClr val="accent1"/>
                </a:solidFill>
              </a:endParaRPr>
            </a:p>
          </p:txBody>
        </p:sp>
        <p:cxnSp>
          <p:nvCxnSpPr>
            <p:cNvPr id="25" name="直接连接符 24">
              <a:extLst>
                <a:ext uri="{FF2B5EF4-FFF2-40B4-BE49-F238E27FC236}">
                  <a16:creationId xmlns:a16="http://schemas.microsoft.com/office/drawing/2014/main" id="{250CDF1C-5387-49BA-BE3E-E39B316E1508}"/>
                </a:ext>
              </a:extLst>
            </p:cNvPr>
            <p:cNvCxnSpPr>
              <a:cxnSpLocks/>
            </p:cNvCxnSpPr>
            <p:nvPr/>
          </p:nvCxnSpPr>
          <p:spPr>
            <a:xfrm>
              <a:off x="6197600" y="3124822"/>
              <a:ext cx="3314194" cy="0"/>
            </a:xfrm>
            <a:prstGeom prst="line">
              <a:avLst/>
            </a:prstGeom>
            <a:ln w="9525"/>
          </p:spPr>
          <p:style>
            <a:lnRef idx="1">
              <a:schemeClr val="accent1"/>
            </a:lnRef>
            <a:fillRef idx="0">
              <a:schemeClr val="accent1"/>
            </a:fillRef>
            <a:effectRef idx="0">
              <a:schemeClr val="accent1"/>
            </a:effectRef>
            <a:fontRef idx="minor">
              <a:schemeClr val="tx1"/>
            </a:fontRef>
          </p:style>
        </p:cxnSp>
      </p:grpSp>
      <p:grpSp>
        <p:nvGrpSpPr>
          <p:cNvPr id="42" name="组合 41">
            <a:extLst>
              <a:ext uri="{FF2B5EF4-FFF2-40B4-BE49-F238E27FC236}">
                <a16:creationId xmlns:a16="http://schemas.microsoft.com/office/drawing/2014/main" id="{694AE2FD-182C-4804-8BEE-41F4833CCCA0}"/>
              </a:ext>
            </a:extLst>
          </p:cNvPr>
          <p:cNvGrpSpPr/>
          <p:nvPr/>
        </p:nvGrpSpPr>
        <p:grpSpPr>
          <a:xfrm>
            <a:off x="6087187" y="3636732"/>
            <a:ext cx="3424608" cy="1354217"/>
            <a:chOff x="6087187" y="3388291"/>
            <a:chExt cx="3424608" cy="1354217"/>
          </a:xfrm>
        </p:grpSpPr>
        <p:sp>
          <p:nvSpPr>
            <p:cNvPr id="31" name="文本框 30">
              <a:extLst>
                <a:ext uri="{FF2B5EF4-FFF2-40B4-BE49-F238E27FC236}">
                  <a16:creationId xmlns:a16="http://schemas.microsoft.com/office/drawing/2014/main" id="{60566CE0-E670-402D-B1E5-E7537FBEC631}"/>
                </a:ext>
              </a:extLst>
            </p:cNvPr>
            <p:cNvSpPr txBox="1"/>
            <p:nvPr/>
          </p:nvSpPr>
          <p:spPr>
            <a:xfrm>
              <a:off x="6087187" y="3388291"/>
              <a:ext cx="1577947" cy="1354217"/>
            </a:xfrm>
            <a:prstGeom prst="rect">
              <a:avLst/>
            </a:prstGeom>
            <a:noFill/>
          </p:spPr>
          <p:txBody>
            <a:bodyPr wrap="square" lIns="0" tIns="0" rIns="0" bIns="0" rtlCol="0" anchor="t">
              <a:spAutoFit/>
            </a:bodyPr>
            <a:lstStyle/>
            <a:p>
              <a:r>
                <a:rPr lang="en-US" altLang="zh-CN" sz="8800" dirty="0">
                  <a:solidFill>
                    <a:schemeClr val="accent1"/>
                  </a:solidFill>
                  <a:latin typeface="+mj-ea"/>
                  <a:ea typeface="+mj-ea"/>
                </a:rPr>
                <a:t>03</a:t>
              </a:r>
              <a:endParaRPr lang="zh-CN" altLang="en-US" sz="8800" dirty="0">
                <a:solidFill>
                  <a:schemeClr val="accent1"/>
                </a:solidFill>
                <a:latin typeface="+mj-ea"/>
                <a:ea typeface="+mj-ea"/>
              </a:endParaRPr>
            </a:p>
          </p:txBody>
        </p:sp>
        <p:sp>
          <p:nvSpPr>
            <p:cNvPr id="32" name="矩形 31">
              <a:extLst>
                <a:ext uri="{FF2B5EF4-FFF2-40B4-BE49-F238E27FC236}">
                  <a16:creationId xmlns:a16="http://schemas.microsoft.com/office/drawing/2014/main" id="{39CAD49D-A218-4AA2-B001-021BA9B9CB8D}"/>
                </a:ext>
              </a:extLst>
            </p:cNvPr>
            <p:cNvSpPr/>
            <p:nvPr/>
          </p:nvSpPr>
          <p:spPr>
            <a:xfrm>
              <a:off x="6165851" y="4340360"/>
              <a:ext cx="3345944" cy="2154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solidFill>
                  <a:schemeClr val="accent1"/>
                </a:solidFill>
              </a:endParaRPr>
            </a:p>
          </p:txBody>
        </p:sp>
        <p:sp>
          <p:nvSpPr>
            <p:cNvPr id="33" name="文本框 32">
              <a:extLst>
                <a:ext uri="{FF2B5EF4-FFF2-40B4-BE49-F238E27FC236}">
                  <a16:creationId xmlns:a16="http://schemas.microsoft.com/office/drawing/2014/main" id="{4832BA5B-D148-441C-A65B-D8A93545D621}"/>
                </a:ext>
              </a:extLst>
            </p:cNvPr>
            <p:cNvSpPr txBox="1"/>
            <p:nvPr/>
          </p:nvSpPr>
          <p:spPr>
            <a:xfrm>
              <a:off x="7665135" y="3663770"/>
              <a:ext cx="1846659" cy="369332"/>
            </a:xfrm>
            <a:prstGeom prst="rect">
              <a:avLst/>
            </a:prstGeom>
            <a:noFill/>
          </p:spPr>
          <p:txBody>
            <a:bodyPr wrap="none" lIns="0" tIns="0" rIns="0" bIns="0" rtlCol="0" anchor="t">
              <a:spAutoFit/>
            </a:bodyPr>
            <a:lstStyle/>
            <a:p>
              <a:pPr algn="ctr"/>
              <a:r>
                <a:rPr lang="zh-CN" altLang="en-US" sz="2400" dirty="0">
                  <a:solidFill>
                    <a:schemeClr val="accent1"/>
                  </a:solidFill>
                  <a:latin typeface="+mj-ea"/>
                  <a:ea typeface="+mj-ea"/>
                </a:rPr>
                <a:t>输入目录标题</a:t>
              </a:r>
            </a:p>
          </p:txBody>
        </p:sp>
        <p:sp>
          <p:nvSpPr>
            <p:cNvPr id="34" name="文本框 33">
              <a:extLst>
                <a:ext uri="{FF2B5EF4-FFF2-40B4-BE49-F238E27FC236}">
                  <a16:creationId xmlns:a16="http://schemas.microsoft.com/office/drawing/2014/main" id="{54F918AF-40E3-466E-9325-C1EB24B2ACE2}"/>
                </a:ext>
              </a:extLst>
            </p:cNvPr>
            <p:cNvSpPr txBox="1"/>
            <p:nvPr/>
          </p:nvSpPr>
          <p:spPr>
            <a:xfrm>
              <a:off x="7665134" y="4056192"/>
              <a:ext cx="1846660" cy="215444"/>
            </a:xfrm>
            <a:prstGeom prst="rect">
              <a:avLst/>
            </a:prstGeom>
            <a:noFill/>
          </p:spPr>
          <p:txBody>
            <a:bodyPr wrap="square" lIns="0" tIns="0" rIns="0" bIns="0" rtlCol="0" anchor="t">
              <a:spAutoFit/>
            </a:bodyPr>
            <a:lstStyle/>
            <a:p>
              <a:pPr algn="dist"/>
              <a:r>
                <a:rPr lang="en-US" altLang="zh-CN" sz="1400" dirty="0">
                  <a:solidFill>
                    <a:schemeClr val="accent1"/>
                  </a:solidFill>
                </a:rPr>
                <a:t>Contents Title Here</a:t>
              </a:r>
              <a:endParaRPr lang="zh-CN" altLang="en-US" sz="1400" dirty="0">
                <a:solidFill>
                  <a:schemeClr val="accent1"/>
                </a:solidFill>
              </a:endParaRPr>
            </a:p>
          </p:txBody>
        </p:sp>
        <p:cxnSp>
          <p:nvCxnSpPr>
            <p:cNvPr id="35" name="直接连接符 34">
              <a:extLst>
                <a:ext uri="{FF2B5EF4-FFF2-40B4-BE49-F238E27FC236}">
                  <a16:creationId xmlns:a16="http://schemas.microsoft.com/office/drawing/2014/main" id="{3E00FCBD-BDA0-48CB-9881-3BD09BF75E7E}"/>
                </a:ext>
              </a:extLst>
            </p:cNvPr>
            <p:cNvCxnSpPr>
              <a:cxnSpLocks/>
            </p:cNvCxnSpPr>
            <p:nvPr/>
          </p:nvCxnSpPr>
          <p:spPr>
            <a:xfrm>
              <a:off x="6197600" y="4338143"/>
              <a:ext cx="3314194" cy="0"/>
            </a:xfrm>
            <a:prstGeom prst="line">
              <a:avLst/>
            </a:prstGeom>
            <a:ln w="9525"/>
          </p:spPr>
          <p:style>
            <a:lnRef idx="1">
              <a:schemeClr val="accent1"/>
            </a:lnRef>
            <a:fillRef idx="0">
              <a:schemeClr val="accent1"/>
            </a:fillRef>
            <a:effectRef idx="0">
              <a:schemeClr val="accent1"/>
            </a:effectRef>
            <a:fontRef idx="minor">
              <a:schemeClr val="tx1"/>
            </a:fontRef>
          </p:style>
        </p:cxnSp>
      </p:grpSp>
      <p:grpSp>
        <p:nvGrpSpPr>
          <p:cNvPr id="41" name="组合 40">
            <a:extLst>
              <a:ext uri="{FF2B5EF4-FFF2-40B4-BE49-F238E27FC236}">
                <a16:creationId xmlns:a16="http://schemas.microsoft.com/office/drawing/2014/main" id="{C46FA9F8-7F89-4003-8748-2DF1F9F513A0}"/>
              </a:ext>
            </a:extLst>
          </p:cNvPr>
          <p:cNvGrpSpPr/>
          <p:nvPr/>
        </p:nvGrpSpPr>
        <p:grpSpPr>
          <a:xfrm>
            <a:off x="6087187" y="4989752"/>
            <a:ext cx="3424608" cy="1354217"/>
            <a:chOff x="6087187" y="4632569"/>
            <a:chExt cx="3424608" cy="1354217"/>
          </a:xfrm>
        </p:grpSpPr>
        <p:sp>
          <p:nvSpPr>
            <p:cNvPr id="36" name="文本框 35">
              <a:extLst>
                <a:ext uri="{FF2B5EF4-FFF2-40B4-BE49-F238E27FC236}">
                  <a16:creationId xmlns:a16="http://schemas.microsoft.com/office/drawing/2014/main" id="{EF4EC03E-D9AF-47D9-ADA1-02B3BFA4FBFF}"/>
                </a:ext>
              </a:extLst>
            </p:cNvPr>
            <p:cNvSpPr txBox="1"/>
            <p:nvPr/>
          </p:nvSpPr>
          <p:spPr>
            <a:xfrm>
              <a:off x="6087187" y="4632569"/>
              <a:ext cx="1577947" cy="1354217"/>
            </a:xfrm>
            <a:prstGeom prst="rect">
              <a:avLst/>
            </a:prstGeom>
            <a:noFill/>
          </p:spPr>
          <p:txBody>
            <a:bodyPr wrap="square" lIns="0" tIns="0" rIns="0" bIns="0" rtlCol="0" anchor="t">
              <a:spAutoFit/>
            </a:bodyPr>
            <a:lstStyle/>
            <a:p>
              <a:r>
                <a:rPr lang="en-US" altLang="zh-CN" sz="8800" dirty="0">
                  <a:solidFill>
                    <a:schemeClr val="accent1"/>
                  </a:solidFill>
                  <a:latin typeface="+mj-ea"/>
                  <a:ea typeface="+mj-ea"/>
                </a:rPr>
                <a:t>04</a:t>
              </a:r>
              <a:endParaRPr lang="zh-CN" altLang="en-US" sz="8800" dirty="0">
                <a:solidFill>
                  <a:schemeClr val="accent1"/>
                </a:solidFill>
                <a:latin typeface="+mj-ea"/>
                <a:ea typeface="+mj-ea"/>
              </a:endParaRPr>
            </a:p>
          </p:txBody>
        </p:sp>
        <p:sp>
          <p:nvSpPr>
            <p:cNvPr id="37" name="矩形 36">
              <a:extLst>
                <a:ext uri="{FF2B5EF4-FFF2-40B4-BE49-F238E27FC236}">
                  <a16:creationId xmlns:a16="http://schemas.microsoft.com/office/drawing/2014/main" id="{6EEE1C89-0587-4495-9B6F-BDC4C0FAC9D4}"/>
                </a:ext>
              </a:extLst>
            </p:cNvPr>
            <p:cNvSpPr/>
            <p:nvPr/>
          </p:nvSpPr>
          <p:spPr>
            <a:xfrm>
              <a:off x="6165851" y="5584638"/>
              <a:ext cx="3345944" cy="2154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solidFill>
                  <a:schemeClr val="accent1"/>
                </a:solidFill>
              </a:endParaRPr>
            </a:p>
          </p:txBody>
        </p:sp>
        <p:sp>
          <p:nvSpPr>
            <p:cNvPr id="38" name="文本框 37">
              <a:extLst>
                <a:ext uri="{FF2B5EF4-FFF2-40B4-BE49-F238E27FC236}">
                  <a16:creationId xmlns:a16="http://schemas.microsoft.com/office/drawing/2014/main" id="{394359B4-E688-4E5A-A3D6-D378E7EF7783}"/>
                </a:ext>
              </a:extLst>
            </p:cNvPr>
            <p:cNvSpPr txBox="1"/>
            <p:nvPr/>
          </p:nvSpPr>
          <p:spPr>
            <a:xfrm>
              <a:off x="7665135" y="4908048"/>
              <a:ext cx="1846659" cy="369332"/>
            </a:xfrm>
            <a:prstGeom prst="rect">
              <a:avLst/>
            </a:prstGeom>
            <a:noFill/>
          </p:spPr>
          <p:txBody>
            <a:bodyPr wrap="none" lIns="0" tIns="0" rIns="0" bIns="0" rtlCol="0" anchor="t">
              <a:spAutoFit/>
            </a:bodyPr>
            <a:lstStyle/>
            <a:p>
              <a:pPr algn="ctr"/>
              <a:r>
                <a:rPr lang="zh-CN" altLang="en-US" sz="2400" dirty="0">
                  <a:solidFill>
                    <a:schemeClr val="accent1"/>
                  </a:solidFill>
                  <a:latin typeface="+mj-ea"/>
                  <a:ea typeface="+mj-ea"/>
                </a:rPr>
                <a:t>输入目录标题</a:t>
              </a:r>
            </a:p>
          </p:txBody>
        </p:sp>
        <p:sp>
          <p:nvSpPr>
            <p:cNvPr id="39" name="文本框 38">
              <a:extLst>
                <a:ext uri="{FF2B5EF4-FFF2-40B4-BE49-F238E27FC236}">
                  <a16:creationId xmlns:a16="http://schemas.microsoft.com/office/drawing/2014/main" id="{17446398-42FD-4D1E-A850-1F6117C0D70C}"/>
                </a:ext>
              </a:extLst>
            </p:cNvPr>
            <p:cNvSpPr txBox="1"/>
            <p:nvPr/>
          </p:nvSpPr>
          <p:spPr>
            <a:xfrm>
              <a:off x="7665134" y="5300470"/>
              <a:ext cx="1846660" cy="215444"/>
            </a:xfrm>
            <a:prstGeom prst="rect">
              <a:avLst/>
            </a:prstGeom>
            <a:noFill/>
          </p:spPr>
          <p:txBody>
            <a:bodyPr wrap="square" lIns="0" tIns="0" rIns="0" bIns="0" rtlCol="0" anchor="t">
              <a:spAutoFit/>
            </a:bodyPr>
            <a:lstStyle/>
            <a:p>
              <a:pPr algn="dist"/>
              <a:r>
                <a:rPr lang="en-US" altLang="zh-CN" sz="1400" dirty="0">
                  <a:solidFill>
                    <a:schemeClr val="accent1"/>
                  </a:solidFill>
                </a:rPr>
                <a:t>Contents Title Here</a:t>
              </a:r>
              <a:endParaRPr lang="zh-CN" altLang="en-US" sz="1400" dirty="0">
                <a:solidFill>
                  <a:schemeClr val="accent1"/>
                </a:solidFill>
              </a:endParaRPr>
            </a:p>
          </p:txBody>
        </p:sp>
        <p:cxnSp>
          <p:nvCxnSpPr>
            <p:cNvPr id="40" name="直接连接符 39">
              <a:extLst>
                <a:ext uri="{FF2B5EF4-FFF2-40B4-BE49-F238E27FC236}">
                  <a16:creationId xmlns:a16="http://schemas.microsoft.com/office/drawing/2014/main" id="{354808BD-C371-477E-B115-AF8A6C77F13E}"/>
                </a:ext>
              </a:extLst>
            </p:cNvPr>
            <p:cNvCxnSpPr>
              <a:cxnSpLocks/>
            </p:cNvCxnSpPr>
            <p:nvPr/>
          </p:nvCxnSpPr>
          <p:spPr>
            <a:xfrm>
              <a:off x="6197600" y="5582421"/>
              <a:ext cx="3314194" cy="0"/>
            </a:xfrm>
            <a:prstGeom prst="line">
              <a:avLst/>
            </a:prstGeom>
            <a:ln w="9525"/>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946520721"/>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文本框 10">
            <a:extLst>
              <a:ext uri="{FF2B5EF4-FFF2-40B4-BE49-F238E27FC236}">
                <a16:creationId xmlns:a16="http://schemas.microsoft.com/office/drawing/2014/main" id="{E4393356-E9A7-46D9-B5F5-0D21EC991A29}"/>
              </a:ext>
            </a:extLst>
          </p:cNvPr>
          <p:cNvSpPr txBox="1"/>
          <p:nvPr/>
        </p:nvSpPr>
        <p:spPr>
          <a:xfrm>
            <a:off x="1941017" y="2813447"/>
            <a:ext cx="8309967" cy="1107996"/>
          </a:xfrm>
          <a:prstGeom prst="rect">
            <a:avLst/>
          </a:prstGeom>
          <a:noFill/>
        </p:spPr>
        <p:txBody>
          <a:bodyPr wrap="none" lIns="0" tIns="0" rIns="0" bIns="0" rtlCol="0" anchor="t">
            <a:spAutoFit/>
          </a:bodyPr>
          <a:lstStyle/>
          <a:p>
            <a:pPr algn="ctr"/>
            <a:r>
              <a:rPr lang="zh-CN" altLang="en-US" sz="7200" dirty="0">
                <a:solidFill>
                  <a:schemeClr val="accent1">
                    <a:lumMod val="100000"/>
                  </a:schemeClr>
                </a:solidFill>
                <a:latin typeface="+mj-ea"/>
                <a:ea typeface="+mj-ea"/>
              </a:rPr>
              <a:t>输入你的封面大标题</a:t>
            </a:r>
          </a:p>
        </p:txBody>
      </p:sp>
      <p:sp>
        <p:nvSpPr>
          <p:cNvPr id="12" name="文本框 11">
            <a:extLst>
              <a:ext uri="{FF2B5EF4-FFF2-40B4-BE49-F238E27FC236}">
                <a16:creationId xmlns:a16="http://schemas.microsoft.com/office/drawing/2014/main" id="{08D1ED60-C0E7-408E-A5AA-59B489440FCB}"/>
              </a:ext>
            </a:extLst>
          </p:cNvPr>
          <p:cNvSpPr txBox="1"/>
          <p:nvPr/>
        </p:nvSpPr>
        <p:spPr>
          <a:xfrm>
            <a:off x="4095451" y="2275523"/>
            <a:ext cx="4001095" cy="369332"/>
          </a:xfrm>
          <a:prstGeom prst="rect">
            <a:avLst/>
          </a:prstGeom>
          <a:noFill/>
        </p:spPr>
        <p:txBody>
          <a:bodyPr wrap="none" lIns="0" tIns="0" rIns="0" bIns="0" rtlCol="0" anchor="t">
            <a:spAutoFit/>
          </a:bodyPr>
          <a:lstStyle/>
          <a:p>
            <a:pPr algn="ctr"/>
            <a:r>
              <a:rPr lang="zh-CN" altLang="en-US" sz="2400" dirty="0">
                <a:solidFill>
                  <a:schemeClr val="accent1">
                    <a:lumMod val="100000"/>
                  </a:schemeClr>
                </a:solidFill>
                <a:latin typeface="+mn-ea"/>
              </a:rPr>
              <a:t>输入你的副标题或大标题英文</a:t>
            </a:r>
          </a:p>
        </p:txBody>
      </p:sp>
      <p:cxnSp>
        <p:nvCxnSpPr>
          <p:cNvPr id="14" name="直接连接符 13">
            <a:extLst>
              <a:ext uri="{FF2B5EF4-FFF2-40B4-BE49-F238E27FC236}">
                <a16:creationId xmlns:a16="http://schemas.microsoft.com/office/drawing/2014/main" id="{99FDF5DC-EAFA-4C3B-B052-660243EB047F}"/>
              </a:ext>
            </a:extLst>
          </p:cNvPr>
          <p:cNvCxnSpPr/>
          <p:nvPr/>
        </p:nvCxnSpPr>
        <p:spPr>
          <a:xfrm flipH="1">
            <a:off x="2029968" y="2465975"/>
            <a:ext cx="1901952" cy="0"/>
          </a:xfrm>
          <a:prstGeom prst="line">
            <a:avLst/>
          </a:prstGeom>
          <a:ln w="19050">
            <a:solidFill>
              <a:schemeClr val="accent1">
                <a:lumMod val="100000"/>
              </a:schemeClr>
            </a:solidFill>
          </a:ln>
        </p:spPr>
        <p:style>
          <a:lnRef idx="1">
            <a:schemeClr val="accent1"/>
          </a:lnRef>
          <a:fillRef idx="0">
            <a:schemeClr val="accent1"/>
          </a:fillRef>
          <a:effectRef idx="0">
            <a:schemeClr val="accent1"/>
          </a:effectRef>
          <a:fontRef idx="minor">
            <a:schemeClr val="tx1"/>
          </a:fontRef>
        </p:style>
      </p:cxnSp>
      <p:cxnSp>
        <p:nvCxnSpPr>
          <p:cNvPr id="15" name="直接连接符 14">
            <a:extLst>
              <a:ext uri="{FF2B5EF4-FFF2-40B4-BE49-F238E27FC236}">
                <a16:creationId xmlns:a16="http://schemas.microsoft.com/office/drawing/2014/main" id="{C6CC629A-E754-4728-BB95-563C56597B63}"/>
              </a:ext>
            </a:extLst>
          </p:cNvPr>
          <p:cNvCxnSpPr/>
          <p:nvPr/>
        </p:nvCxnSpPr>
        <p:spPr>
          <a:xfrm flipH="1">
            <a:off x="8284464" y="2465975"/>
            <a:ext cx="1901952" cy="0"/>
          </a:xfrm>
          <a:prstGeom prst="line">
            <a:avLst/>
          </a:prstGeom>
          <a:ln w="19050">
            <a:solidFill>
              <a:schemeClr val="accent1">
                <a:lumMod val="100000"/>
              </a:schemeClr>
            </a:solidFill>
          </a:ln>
        </p:spPr>
        <p:style>
          <a:lnRef idx="1">
            <a:schemeClr val="accent1"/>
          </a:lnRef>
          <a:fillRef idx="0">
            <a:schemeClr val="accent1"/>
          </a:fillRef>
          <a:effectRef idx="0">
            <a:schemeClr val="accent1"/>
          </a:effectRef>
          <a:fontRef idx="minor">
            <a:schemeClr val="tx1"/>
          </a:fontRef>
        </p:style>
      </p:cxnSp>
      <p:grpSp>
        <p:nvGrpSpPr>
          <p:cNvPr id="18" name="组合 17">
            <a:extLst>
              <a:ext uri="{FF2B5EF4-FFF2-40B4-BE49-F238E27FC236}">
                <a16:creationId xmlns:a16="http://schemas.microsoft.com/office/drawing/2014/main" id="{FC799265-AC15-410F-82A2-679AB60B288F}"/>
              </a:ext>
            </a:extLst>
          </p:cNvPr>
          <p:cNvGrpSpPr/>
          <p:nvPr/>
        </p:nvGrpSpPr>
        <p:grpSpPr>
          <a:xfrm>
            <a:off x="4331702" y="4434839"/>
            <a:ext cx="1475214" cy="246221"/>
            <a:chOff x="4095451" y="4640913"/>
            <a:chExt cx="1475214" cy="246221"/>
          </a:xfrm>
        </p:grpSpPr>
        <p:sp>
          <p:nvSpPr>
            <p:cNvPr id="16" name="矩形 15">
              <a:extLst>
                <a:ext uri="{FF2B5EF4-FFF2-40B4-BE49-F238E27FC236}">
                  <a16:creationId xmlns:a16="http://schemas.microsoft.com/office/drawing/2014/main" id="{74C493E7-1B47-4349-BC5B-BF3163490795}"/>
                </a:ext>
              </a:extLst>
            </p:cNvPr>
            <p:cNvSpPr/>
            <p:nvPr/>
          </p:nvSpPr>
          <p:spPr>
            <a:xfrm>
              <a:off x="4095451" y="4672584"/>
              <a:ext cx="164592" cy="164592"/>
            </a:xfrm>
            <a:prstGeom prst="rect">
              <a:avLst/>
            </a:prstGeom>
            <a:solidFill>
              <a:schemeClr val="accent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p>
          </p:txBody>
        </p:sp>
        <p:sp>
          <p:nvSpPr>
            <p:cNvPr id="17" name="文本框 16">
              <a:extLst>
                <a:ext uri="{FF2B5EF4-FFF2-40B4-BE49-F238E27FC236}">
                  <a16:creationId xmlns:a16="http://schemas.microsoft.com/office/drawing/2014/main" id="{B804F6AA-7656-4EF8-84F0-3B3FB5CF0922}"/>
                </a:ext>
              </a:extLst>
            </p:cNvPr>
            <p:cNvSpPr txBox="1"/>
            <p:nvPr/>
          </p:nvSpPr>
          <p:spPr>
            <a:xfrm>
              <a:off x="4408487" y="4640913"/>
              <a:ext cx="1162178" cy="246221"/>
            </a:xfrm>
            <a:prstGeom prst="rect">
              <a:avLst/>
            </a:prstGeom>
            <a:noFill/>
          </p:spPr>
          <p:txBody>
            <a:bodyPr wrap="none" lIns="0" tIns="0" rIns="0" bIns="0" rtlCol="0" anchor="t">
              <a:spAutoFit/>
            </a:bodyPr>
            <a:lstStyle/>
            <a:p>
              <a:r>
                <a:rPr lang="zh-CN" altLang="en-US" sz="1600" dirty="0">
                  <a:solidFill>
                    <a:schemeClr val="accent1">
                      <a:lumMod val="100000"/>
                    </a:schemeClr>
                  </a:solidFill>
                  <a:latin typeface="+mn-ea"/>
                </a:rPr>
                <a:t>汇报人：</a:t>
              </a:r>
              <a:r>
                <a:rPr lang="en-US" altLang="zh-CN" sz="1600" dirty="0">
                  <a:solidFill>
                    <a:schemeClr val="accent1">
                      <a:lumMod val="100000"/>
                    </a:schemeClr>
                  </a:solidFill>
                  <a:latin typeface="+mn-ea"/>
                </a:rPr>
                <a:t>xxx</a:t>
              </a:r>
              <a:endParaRPr lang="zh-CN" altLang="en-US" sz="1600" dirty="0">
                <a:solidFill>
                  <a:schemeClr val="accent1">
                    <a:lumMod val="100000"/>
                  </a:schemeClr>
                </a:solidFill>
                <a:latin typeface="+mn-ea"/>
              </a:endParaRPr>
            </a:p>
          </p:txBody>
        </p:sp>
      </p:grpSp>
      <p:grpSp>
        <p:nvGrpSpPr>
          <p:cNvPr id="19" name="组合 18">
            <a:extLst>
              <a:ext uri="{FF2B5EF4-FFF2-40B4-BE49-F238E27FC236}">
                <a16:creationId xmlns:a16="http://schemas.microsoft.com/office/drawing/2014/main" id="{482B1619-178E-45D1-BC39-C5F4314075B6}"/>
              </a:ext>
            </a:extLst>
          </p:cNvPr>
          <p:cNvGrpSpPr/>
          <p:nvPr/>
        </p:nvGrpSpPr>
        <p:grpSpPr>
          <a:xfrm>
            <a:off x="6590270" y="4434839"/>
            <a:ext cx="1270029" cy="246221"/>
            <a:chOff x="4095451" y="4640913"/>
            <a:chExt cx="1270029" cy="246221"/>
          </a:xfrm>
        </p:grpSpPr>
        <p:sp>
          <p:nvSpPr>
            <p:cNvPr id="20" name="矩形 19">
              <a:extLst>
                <a:ext uri="{FF2B5EF4-FFF2-40B4-BE49-F238E27FC236}">
                  <a16:creationId xmlns:a16="http://schemas.microsoft.com/office/drawing/2014/main" id="{3A1AE345-38CE-49BE-9E58-2C20078777A3}"/>
                </a:ext>
              </a:extLst>
            </p:cNvPr>
            <p:cNvSpPr/>
            <p:nvPr/>
          </p:nvSpPr>
          <p:spPr>
            <a:xfrm>
              <a:off x="4095451" y="4672584"/>
              <a:ext cx="164592" cy="164592"/>
            </a:xfrm>
            <a:prstGeom prst="rect">
              <a:avLst/>
            </a:prstGeom>
            <a:solidFill>
              <a:schemeClr val="accent1">
                <a:lumMod val="10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p>
          </p:txBody>
        </p:sp>
        <p:sp>
          <p:nvSpPr>
            <p:cNvPr id="21" name="文本框 20">
              <a:extLst>
                <a:ext uri="{FF2B5EF4-FFF2-40B4-BE49-F238E27FC236}">
                  <a16:creationId xmlns:a16="http://schemas.microsoft.com/office/drawing/2014/main" id="{FCC3031D-C171-43E7-B549-82FC96054817}"/>
                </a:ext>
              </a:extLst>
            </p:cNvPr>
            <p:cNvSpPr txBox="1"/>
            <p:nvPr/>
          </p:nvSpPr>
          <p:spPr>
            <a:xfrm>
              <a:off x="4408487" y="4640913"/>
              <a:ext cx="956993" cy="246221"/>
            </a:xfrm>
            <a:prstGeom prst="rect">
              <a:avLst/>
            </a:prstGeom>
            <a:noFill/>
          </p:spPr>
          <p:txBody>
            <a:bodyPr wrap="none" lIns="0" tIns="0" rIns="0" bIns="0" rtlCol="0" anchor="t">
              <a:spAutoFit/>
            </a:bodyPr>
            <a:lstStyle/>
            <a:p>
              <a:r>
                <a:rPr lang="zh-CN" altLang="en-US" sz="1600" dirty="0">
                  <a:solidFill>
                    <a:schemeClr val="accent1">
                      <a:lumMod val="100000"/>
                    </a:schemeClr>
                  </a:solidFill>
                  <a:latin typeface="+mn-ea"/>
                </a:rPr>
                <a:t>单位：</a:t>
              </a:r>
              <a:r>
                <a:rPr lang="en-US" altLang="zh-CN" sz="1600" dirty="0">
                  <a:solidFill>
                    <a:schemeClr val="accent1">
                      <a:lumMod val="100000"/>
                    </a:schemeClr>
                  </a:solidFill>
                  <a:latin typeface="+mn-ea"/>
                </a:rPr>
                <a:t>xxx</a:t>
              </a:r>
              <a:endParaRPr lang="zh-CN" altLang="en-US" sz="1600" dirty="0">
                <a:solidFill>
                  <a:schemeClr val="accent1">
                    <a:lumMod val="100000"/>
                  </a:schemeClr>
                </a:solidFill>
                <a:latin typeface="+mn-ea"/>
              </a:endParaRPr>
            </a:p>
          </p:txBody>
        </p:sp>
      </p:grpSp>
      <p:sp>
        <p:nvSpPr>
          <p:cNvPr id="2" name="矩形 1">
            <a:extLst>
              <a:ext uri="{FF2B5EF4-FFF2-40B4-BE49-F238E27FC236}">
                <a16:creationId xmlns:a16="http://schemas.microsoft.com/office/drawing/2014/main" id="{F75F3B15-C522-4002-BDC7-3A2EA61FF831}"/>
              </a:ext>
            </a:extLst>
          </p:cNvPr>
          <p:cNvSpPr/>
          <p:nvPr/>
        </p:nvSpPr>
        <p:spPr>
          <a:xfrm>
            <a:off x="1648968" y="1837944"/>
            <a:ext cx="8894064" cy="2249424"/>
          </a:xfrm>
          <a:prstGeom prst="rect">
            <a:avLst/>
          </a:prstGeom>
          <a:noFill/>
          <a:ln w="19050">
            <a:solidFill>
              <a:schemeClr val="accent1">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p>
        </p:txBody>
      </p:sp>
    </p:spTree>
    <p:extLst>
      <p:ext uri="{BB962C8B-B14F-4D97-AF65-F5344CB8AC3E}">
        <p14:creationId xmlns:p14="http://schemas.microsoft.com/office/powerpoint/2010/main" val="2776639570"/>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a:extLst>
              <a:ext uri="{FF2B5EF4-FFF2-40B4-BE49-F238E27FC236}">
                <a16:creationId xmlns:a16="http://schemas.microsoft.com/office/drawing/2014/main" id="{46D19B7B-2E9A-41B6-A6B0-AFD93440F6EF}"/>
              </a:ext>
            </a:extLst>
          </p:cNvPr>
          <p:cNvSpPr txBox="1"/>
          <p:nvPr/>
        </p:nvSpPr>
        <p:spPr>
          <a:xfrm>
            <a:off x="4759151" y="511705"/>
            <a:ext cx="2673698" cy="1354217"/>
          </a:xfrm>
          <a:prstGeom prst="rect">
            <a:avLst/>
          </a:prstGeom>
          <a:noFill/>
        </p:spPr>
        <p:txBody>
          <a:bodyPr wrap="square" lIns="0" tIns="0" rIns="0" bIns="0" rtlCol="0" anchor="t">
            <a:spAutoFit/>
          </a:bodyPr>
          <a:lstStyle/>
          <a:p>
            <a:pPr algn="dist"/>
            <a:r>
              <a:rPr lang="zh-CN" altLang="en-US" sz="8800" dirty="0">
                <a:solidFill>
                  <a:schemeClr val="accent1"/>
                </a:solidFill>
                <a:latin typeface="+mj-ea"/>
                <a:ea typeface="+mj-ea"/>
              </a:rPr>
              <a:t>目录</a:t>
            </a:r>
          </a:p>
        </p:txBody>
      </p:sp>
      <p:sp>
        <p:nvSpPr>
          <p:cNvPr id="4" name="文本框 3">
            <a:extLst>
              <a:ext uri="{FF2B5EF4-FFF2-40B4-BE49-F238E27FC236}">
                <a16:creationId xmlns:a16="http://schemas.microsoft.com/office/drawing/2014/main" id="{730AE223-FF58-4FB5-86B7-13A8E1A6F990}"/>
              </a:ext>
            </a:extLst>
          </p:cNvPr>
          <p:cNvSpPr txBox="1"/>
          <p:nvPr/>
        </p:nvSpPr>
        <p:spPr>
          <a:xfrm>
            <a:off x="4830281" y="1865922"/>
            <a:ext cx="2531437" cy="276999"/>
          </a:xfrm>
          <a:prstGeom prst="rect">
            <a:avLst/>
          </a:prstGeom>
          <a:noFill/>
        </p:spPr>
        <p:txBody>
          <a:bodyPr wrap="square" lIns="0" tIns="0" rIns="0" bIns="0" rtlCol="0" anchor="t">
            <a:spAutoFit/>
          </a:bodyPr>
          <a:lstStyle/>
          <a:p>
            <a:pPr algn="dist"/>
            <a:r>
              <a:rPr lang="en-US" altLang="zh-CN" dirty="0">
                <a:solidFill>
                  <a:schemeClr val="accent1"/>
                </a:solidFill>
              </a:rPr>
              <a:t>CONTENTS</a:t>
            </a:r>
            <a:endParaRPr lang="zh-CN" altLang="en-US" dirty="0">
              <a:solidFill>
                <a:schemeClr val="accent1"/>
              </a:solidFill>
            </a:endParaRPr>
          </a:p>
        </p:txBody>
      </p:sp>
      <p:cxnSp>
        <p:nvCxnSpPr>
          <p:cNvPr id="6" name="直接连接符 5">
            <a:extLst>
              <a:ext uri="{FF2B5EF4-FFF2-40B4-BE49-F238E27FC236}">
                <a16:creationId xmlns:a16="http://schemas.microsoft.com/office/drawing/2014/main" id="{121A1CA6-0DFB-435F-9455-B5D540990C49}"/>
              </a:ext>
            </a:extLst>
          </p:cNvPr>
          <p:cNvCxnSpPr/>
          <p:nvPr/>
        </p:nvCxnSpPr>
        <p:spPr>
          <a:xfrm flipH="1">
            <a:off x="2371725" y="1188813"/>
            <a:ext cx="2038350" cy="0"/>
          </a:xfrm>
          <a:prstGeom prst="line">
            <a:avLst/>
          </a:prstGeom>
          <a:ln w="63500">
            <a:gradFill>
              <a:gsLst>
                <a:gs pos="0">
                  <a:schemeClr val="accent1"/>
                </a:gs>
                <a:gs pos="100000">
                  <a:schemeClr val="accent1">
                    <a:alpha val="0"/>
                  </a:schemeClr>
                </a:gs>
              </a:gsLst>
              <a:lin ang="0" scaled="0"/>
            </a:gradFill>
          </a:ln>
        </p:spPr>
        <p:style>
          <a:lnRef idx="1">
            <a:schemeClr val="accent1"/>
          </a:lnRef>
          <a:fillRef idx="0">
            <a:schemeClr val="accent1"/>
          </a:fillRef>
          <a:effectRef idx="0">
            <a:schemeClr val="accent1"/>
          </a:effectRef>
          <a:fontRef idx="minor">
            <a:schemeClr val="tx1"/>
          </a:fontRef>
        </p:style>
      </p:cxnSp>
      <p:cxnSp>
        <p:nvCxnSpPr>
          <p:cNvPr id="7" name="直接连接符 6">
            <a:extLst>
              <a:ext uri="{FF2B5EF4-FFF2-40B4-BE49-F238E27FC236}">
                <a16:creationId xmlns:a16="http://schemas.microsoft.com/office/drawing/2014/main" id="{E3254D1F-2012-4B91-A8AB-4852E841BB78}"/>
              </a:ext>
            </a:extLst>
          </p:cNvPr>
          <p:cNvCxnSpPr>
            <a:cxnSpLocks/>
          </p:cNvCxnSpPr>
          <p:nvPr/>
        </p:nvCxnSpPr>
        <p:spPr>
          <a:xfrm>
            <a:off x="7905750" y="1188813"/>
            <a:ext cx="2038350" cy="0"/>
          </a:xfrm>
          <a:prstGeom prst="line">
            <a:avLst/>
          </a:prstGeom>
          <a:ln w="63500">
            <a:gradFill>
              <a:gsLst>
                <a:gs pos="0">
                  <a:schemeClr val="accent1"/>
                </a:gs>
                <a:gs pos="100000">
                  <a:schemeClr val="accent1">
                    <a:alpha val="0"/>
                  </a:schemeClr>
                </a:gs>
              </a:gsLst>
              <a:lin ang="0" scaled="0"/>
            </a:gradFill>
          </a:ln>
        </p:spPr>
        <p:style>
          <a:lnRef idx="1">
            <a:schemeClr val="accent1"/>
          </a:lnRef>
          <a:fillRef idx="0">
            <a:schemeClr val="accent1"/>
          </a:fillRef>
          <a:effectRef idx="0">
            <a:schemeClr val="accent1"/>
          </a:effectRef>
          <a:fontRef idx="minor">
            <a:schemeClr val="tx1"/>
          </a:fontRef>
        </p:style>
      </p:cxnSp>
      <p:grpSp>
        <p:nvGrpSpPr>
          <p:cNvPr id="12" name="组合 11">
            <a:extLst>
              <a:ext uri="{FF2B5EF4-FFF2-40B4-BE49-F238E27FC236}">
                <a16:creationId xmlns:a16="http://schemas.microsoft.com/office/drawing/2014/main" id="{00A067A9-B3FD-4F69-B931-A36DB0C7944C}"/>
              </a:ext>
            </a:extLst>
          </p:cNvPr>
          <p:cNvGrpSpPr/>
          <p:nvPr/>
        </p:nvGrpSpPr>
        <p:grpSpPr>
          <a:xfrm>
            <a:off x="1274469" y="3011678"/>
            <a:ext cx="1846660" cy="2351866"/>
            <a:chOff x="1274469" y="2673350"/>
            <a:chExt cx="1846660" cy="2351866"/>
          </a:xfrm>
        </p:grpSpPr>
        <p:sp>
          <p:nvSpPr>
            <p:cNvPr id="8" name="弧形 7">
              <a:extLst>
                <a:ext uri="{FF2B5EF4-FFF2-40B4-BE49-F238E27FC236}">
                  <a16:creationId xmlns:a16="http://schemas.microsoft.com/office/drawing/2014/main" id="{68EEC526-4352-4C15-A7D6-CA08396D0E34}"/>
                </a:ext>
              </a:extLst>
            </p:cNvPr>
            <p:cNvSpPr/>
            <p:nvPr/>
          </p:nvSpPr>
          <p:spPr>
            <a:xfrm>
              <a:off x="1500885" y="2673350"/>
              <a:ext cx="1393828" cy="1393826"/>
            </a:xfrm>
            <a:prstGeom prst="arc">
              <a:avLst>
                <a:gd name="adj1" fmla="val 3271033"/>
                <a:gd name="adj2" fmla="val 21593505"/>
              </a:avLst>
            </a:prstGeom>
            <a:ln w="28575">
              <a:headEnd type="oval"/>
              <a:tailEnd type="ova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solidFill>
                  <a:schemeClr val="accent1"/>
                </a:solidFill>
              </a:endParaRPr>
            </a:p>
          </p:txBody>
        </p:sp>
        <p:sp>
          <p:nvSpPr>
            <p:cNvPr id="9" name="文本框 8">
              <a:extLst>
                <a:ext uri="{FF2B5EF4-FFF2-40B4-BE49-F238E27FC236}">
                  <a16:creationId xmlns:a16="http://schemas.microsoft.com/office/drawing/2014/main" id="{3979B05F-FF55-4FD6-8B91-613740C173FD}"/>
                </a:ext>
              </a:extLst>
            </p:cNvPr>
            <p:cNvSpPr txBox="1"/>
            <p:nvPr/>
          </p:nvSpPr>
          <p:spPr>
            <a:xfrm>
              <a:off x="1804262" y="2954764"/>
              <a:ext cx="787075" cy="830997"/>
            </a:xfrm>
            <a:prstGeom prst="rect">
              <a:avLst/>
            </a:prstGeom>
            <a:noFill/>
          </p:spPr>
          <p:txBody>
            <a:bodyPr wrap="none" lIns="0" tIns="0" rIns="0" bIns="0" rtlCol="0" anchor="t">
              <a:spAutoFit/>
            </a:bodyPr>
            <a:lstStyle/>
            <a:p>
              <a:pPr algn="l"/>
              <a:r>
                <a:rPr lang="en-US" altLang="zh-CN" sz="5400" dirty="0">
                  <a:solidFill>
                    <a:schemeClr val="accent1"/>
                  </a:solidFill>
                  <a:latin typeface="+mj-ea"/>
                  <a:ea typeface="+mj-ea"/>
                </a:rPr>
                <a:t>01</a:t>
              </a:r>
              <a:endParaRPr lang="zh-CN" altLang="en-US" sz="5400" dirty="0">
                <a:solidFill>
                  <a:schemeClr val="accent1"/>
                </a:solidFill>
                <a:latin typeface="+mj-ea"/>
                <a:ea typeface="+mj-ea"/>
              </a:endParaRPr>
            </a:p>
          </p:txBody>
        </p:sp>
        <p:sp>
          <p:nvSpPr>
            <p:cNvPr id="10" name="文本框 9">
              <a:extLst>
                <a:ext uri="{FF2B5EF4-FFF2-40B4-BE49-F238E27FC236}">
                  <a16:creationId xmlns:a16="http://schemas.microsoft.com/office/drawing/2014/main" id="{B8108EB6-DA6D-4F11-81F4-9EFDF152E88A}"/>
                </a:ext>
              </a:extLst>
            </p:cNvPr>
            <p:cNvSpPr txBox="1"/>
            <p:nvPr/>
          </p:nvSpPr>
          <p:spPr>
            <a:xfrm>
              <a:off x="1274470" y="4348590"/>
              <a:ext cx="1846659" cy="369332"/>
            </a:xfrm>
            <a:prstGeom prst="rect">
              <a:avLst/>
            </a:prstGeom>
            <a:noFill/>
          </p:spPr>
          <p:txBody>
            <a:bodyPr wrap="none" lIns="0" tIns="0" rIns="0" bIns="0" rtlCol="0" anchor="t">
              <a:spAutoFit/>
            </a:bodyPr>
            <a:lstStyle/>
            <a:p>
              <a:pPr algn="ctr"/>
              <a:r>
                <a:rPr lang="zh-CN" altLang="en-US" sz="2400" dirty="0">
                  <a:solidFill>
                    <a:schemeClr val="accent1"/>
                  </a:solidFill>
                  <a:latin typeface="+mj-ea"/>
                  <a:ea typeface="+mj-ea"/>
                </a:rPr>
                <a:t>输入目录标题</a:t>
              </a:r>
            </a:p>
          </p:txBody>
        </p:sp>
        <p:sp>
          <p:nvSpPr>
            <p:cNvPr id="11" name="文本框 10">
              <a:extLst>
                <a:ext uri="{FF2B5EF4-FFF2-40B4-BE49-F238E27FC236}">
                  <a16:creationId xmlns:a16="http://schemas.microsoft.com/office/drawing/2014/main" id="{5BD7996F-45B3-43C3-BDD6-E12E14403B6E}"/>
                </a:ext>
              </a:extLst>
            </p:cNvPr>
            <p:cNvSpPr txBox="1"/>
            <p:nvPr/>
          </p:nvSpPr>
          <p:spPr>
            <a:xfrm>
              <a:off x="1274469" y="4809772"/>
              <a:ext cx="1846660" cy="215444"/>
            </a:xfrm>
            <a:prstGeom prst="rect">
              <a:avLst/>
            </a:prstGeom>
            <a:noFill/>
          </p:spPr>
          <p:txBody>
            <a:bodyPr wrap="square" lIns="0" tIns="0" rIns="0" bIns="0" rtlCol="0" anchor="t">
              <a:spAutoFit/>
            </a:bodyPr>
            <a:lstStyle/>
            <a:p>
              <a:pPr algn="dist"/>
              <a:r>
                <a:rPr lang="en-US" altLang="zh-CN" sz="1400" dirty="0">
                  <a:solidFill>
                    <a:schemeClr val="accent1"/>
                  </a:solidFill>
                </a:rPr>
                <a:t>Contents Title Here</a:t>
              </a:r>
              <a:endParaRPr lang="zh-CN" altLang="en-US" sz="1400" dirty="0">
                <a:solidFill>
                  <a:schemeClr val="accent1"/>
                </a:solidFill>
              </a:endParaRPr>
            </a:p>
          </p:txBody>
        </p:sp>
      </p:grpSp>
      <p:grpSp>
        <p:nvGrpSpPr>
          <p:cNvPr id="13" name="组合 12">
            <a:extLst>
              <a:ext uri="{FF2B5EF4-FFF2-40B4-BE49-F238E27FC236}">
                <a16:creationId xmlns:a16="http://schemas.microsoft.com/office/drawing/2014/main" id="{0DEC70A0-21D6-48C0-9D1C-48430CB6EB22}"/>
              </a:ext>
            </a:extLst>
          </p:cNvPr>
          <p:cNvGrpSpPr/>
          <p:nvPr/>
        </p:nvGrpSpPr>
        <p:grpSpPr>
          <a:xfrm>
            <a:off x="5172669" y="3011678"/>
            <a:ext cx="1846660" cy="2351866"/>
            <a:chOff x="1274469" y="2673350"/>
            <a:chExt cx="1846660" cy="2351866"/>
          </a:xfrm>
        </p:grpSpPr>
        <p:sp>
          <p:nvSpPr>
            <p:cNvPr id="14" name="弧形 13">
              <a:extLst>
                <a:ext uri="{FF2B5EF4-FFF2-40B4-BE49-F238E27FC236}">
                  <a16:creationId xmlns:a16="http://schemas.microsoft.com/office/drawing/2014/main" id="{C5716712-4477-4523-ACC2-8792CF145564}"/>
                </a:ext>
              </a:extLst>
            </p:cNvPr>
            <p:cNvSpPr/>
            <p:nvPr/>
          </p:nvSpPr>
          <p:spPr>
            <a:xfrm>
              <a:off x="1500885" y="2673350"/>
              <a:ext cx="1393828" cy="1393826"/>
            </a:xfrm>
            <a:prstGeom prst="arc">
              <a:avLst>
                <a:gd name="adj1" fmla="val 3271033"/>
                <a:gd name="adj2" fmla="val 21593505"/>
              </a:avLst>
            </a:prstGeom>
            <a:ln w="28575">
              <a:headEnd type="oval"/>
              <a:tailEnd type="ova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solidFill>
                  <a:schemeClr val="accent1"/>
                </a:solidFill>
              </a:endParaRPr>
            </a:p>
          </p:txBody>
        </p:sp>
        <p:sp>
          <p:nvSpPr>
            <p:cNvPr id="15" name="文本框 14">
              <a:extLst>
                <a:ext uri="{FF2B5EF4-FFF2-40B4-BE49-F238E27FC236}">
                  <a16:creationId xmlns:a16="http://schemas.microsoft.com/office/drawing/2014/main" id="{CE527B22-0915-4696-AAD4-0D73C6A8C578}"/>
                </a:ext>
              </a:extLst>
            </p:cNvPr>
            <p:cNvSpPr txBox="1"/>
            <p:nvPr/>
          </p:nvSpPr>
          <p:spPr>
            <a:xfrm>
              <a:off x="1804262" y="2954764"/>
              <a:ext cx="910506" cy="830997"/>
            </a:xfrm>
            <a:prstGeom prst="rect">
              <a:avLst/>
            </a:prstGeom>
            <a:noFill/>
          </p:spPr>
          <p:txBody>
            <a:bodyPr wrap="none" lIns="0" tIns="0" rIns="0" bIns="0" rtlCol="0" anchor="t">
              <a:spAutoFit/>
            </a:bodyPr>
            <a:lstStyle/>
            <a:p>
              <a:pPr algn="l"/>
              <a:r>
                <a:rPr lang="en-US" altLang="zh-CN" sz="5400" dirty="0">
                  <a:solidFill>
                    <a:schemeClr val="accent1"/>
                  </a:solidFill>
                  <a:latin typeface="+mj-ea"/>
                  <a:ea typeface="+mj-ea"/>
                </a:rPr>
                <a:t>02</a:t>
              </a:r>
              <a:endParaRPr lang="zh-CN" altLang="en-US" sz="5400" dirty="0">
                <a:solidFill>
                  <a:schemeClr val="accent1"/>
                </a:solidFill>
                <a:latin typeface="+mj-ea"/>
                <a:ea typeface="+mj-ea"/>
              </a:endParaRPr>
            </a:p>
          </p:txBody>
        </p:sp>
        <p:sp>
          <p:nvSpPr>
            <p:cNvPr id="16" name="文本框 15">
              <a:extLst>
                <a:ext uri="{FF2B5EF4-FFF2-40B4-BE49-F238E27FC236}">
                  <a16:creationId xmlns:a16="http://schemas.microsoft.com/office/drawing/2014/main" id="{7F8847E9-92AA-4968-950F-66ABC1CED8D2}"/>
                </a:ext>
              </a:extLst>
            </p:cNvPr>
            <p:cNvSpPr txBox="1"/>
            <p:nvPr/>
          </p:nvSpPr>
          <p:spPr>
            <a:xfrm>
              <a:off x="1274470" y="4348590"/>
              <a:ext cx="1846659" cy="369332"/>
            </a:xfrm>
            <a:prstGeom prst="rect">
              <a:avLst/>
            </a:prstGeom>
            <a:noFill/>
          </p:spPr>
          <p:txBody>
            <a:bodyPr wrap="none" lIns="0" tIns="0" rIns="0" bIns="0" rtlCol="0" anchor="t">
              <a:spAutoFit/>
            </a:bodyPr>
            <a:lstStyle/>
            <a:p>
              <a:pPr algn="ctr"/>
              <a:r>
                <a:rPr lang="zh-CN" altLang="en-US" sz="2400" dirty="0">
                  <a:solidFill>
                    <a:schemeClr val="accent1"/>
                  </a:solidFill>
                  <a:latin typeface="+mj-ea"/>
                  <a:ea typeface="+mj-ea"/>
                </a:rPr>
                <a:t>输入目录标题</a:t>
              </a:r>
            </a:p>
          </p:txBody>
        </p:sp>
        <p:sp>
          <p:nvSpPr>
            <p:cNvPr id="17" name="文本框 16">
              <a:extLst>
                <a:ext uri="{FF2B5EF4-FFF2-40B4-BE49-F238E27FC236}">
                  <a16:creationId xmlns:a16="http://schemas.microsoft.com/office/drawing/2014/main" id="{793D8B0F-E813-4D0A-941B-AF7892DAE37A}"/>
                </a:ext>
              </a:extLst>
            </p:cNvPr>
            <p:cNvSpPr txBox="1"/>
            <p:nvPr/>
          </p:nvSpPr>
          <p:spPr>
            <a:xfrm>
              <a:off x="1274469" y="4809772"/>
              <a:ext cx="1846660" cy="215444"/>
            </a:xfrm>
            <a:prstGeom prst="rect">
              <a:avLst/>
            </a:prstGeom>
            <a:noFill/>
          </p:spPr>
          <p:txBody>
            <a:bodyPr wrap="square" lIns="0" tIns="0" rIns="0" bIns="0" rtlCol="0" anchor="t">
              <a:spAutoFit/>
            </a:bodyPr>
            <a:lstStyle/>
            <a:p>
              <a:pPr algn="dist"/>
              <a:r>
                <a:rPr lang="en-US" altLang="zh-CN" sz="1400" dirty="0">
                  <a:solidFill>
                    <a:schemeClr val="accent1"/>
                  </a:solidFill>
                </a:rPr>
                <a:t>Contents Title Here</a:t>
              </a:r>
              <a:endParaRPr lang="zh-CN" altLang="en-US" sz="1400" dirty="0">
                <a:solidFill>
                  <a:schemeClr val="accent1"/>
                </a:solidFill>
              </a:endParaRPr>
            </a:p>
          </p:txBody>
        </p:sp>
      </p:grpSp>
      <p:grpSp>
        <p:nvGrpSpPr>
          <p:cNvPr id="18" name="组合 17">
            <a:extLst>
              <a:ext uri="{FF2B5EF4-FFF2-40B4-BE49-F238E27FC236}">
                <a16:creationId xmlns:a16="http://schemas.microsoft.com/office/drawing/2014/main" id="{D35CACDB-BA8C-4F2D-81DD-137B2EB0B089}"/>
              </a:ext>
            </a:extLst>
          </p:cNvPr>
          <p:cNvGrpSpPr/>
          <p:nvPr/>
        </p:nvGrpSpPr>
        <p:grpSpPr>
          <a:xfrm>
            <a:off x="9070873" y="3011678"/>
            <a:ext cx="1846660" cy="2351866"/>
            <a:chOff x="1274469" y="2673350"/>
            <a:chExt cx="1846660" cy="2351866"/>
          </a:xfrm>
        </p:grpSpPr>
        <p:sp>
          <p:nvSpPr>
            <p:cNvPr id="19" name="弧形 18">
              <a:extLst>
                <a:ext uri="{FF2B5EF4-FFF2-40B4-BE49-F238E27FC236}">
                  <a16:creationId xmlns:a16="http://schemas.microsoft.com/office/drawing/2014/main" id="{194238CA-4288-4D97-BD9D-9FDA1CAF6140}"/>
                </a:ext>
              </a:extLst>
            </p:cNvPr>
            <p:cNvSpPr/>
            <p:nvPr/>
          </p:nvSpPr>
          <p:spPr>
            <a:xfrm>
              <a:off x="1500885" y="2673350"/>
              <a:ext cx="1393828" cy="1393826"/>
            </a:xfrm>
            <a:prstGeom prst="arc">
              <a:avLst>
                <a:gd name="adj1" fmla="val 3271033"/>
                <a:gd name="adj2" fmla="val 21593505"/>
              </a:avLst>
            </a:prstGeom>
            <a:ln w="28575">
              <a:headEnd type="oval"/>
              <a:tailEnd type="ova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solidFill>
                  <a:schemeClr val="accent1"/>
                </a:solidFill>
              </a:endParaRPr>
            </a:p>
          </p:txBody>
        </p:sp>
        <p:sp>
          <p:nvSpPr>
            <p:cNvPr id="20" name="文本框 19">
              <a:extLst>
                <a:ext uri="{FF2B5EF4-FFF2-40B4-BE49-F238E27FC236}">
                  <a16:creationId xmlns:a16="http://schemas.microsoft.com/office/drawing/2014/main" id="{4B6217D1-5909-4D21-AF66-465FD6A83A56}"/>
                </a:ext>
              </a:extLst>
            </p:cNvPr>
            <p:cNvSpPr txBox="1"/>
            <p:nvPr/>
          </p:nvSpPr>
          <p:spPr>
            <a:xfrm>
              <a:off x="1804262" y="2954764"/>
              <a:ext cx="910506" cy="830997"/>
            </a:xfrm>
            <a:prstGeom prst="rect">
              <a:avLst/>
            </a:prstGeom>
            <a:noFill/>
          </p:spPr>
          <p:txBody>
            <a:bodyPr wrap="none" lIns="0" tIns="0" rIns="0" bIns="0" rtlCol="0" anchor="t">
              <a:spAutoFit/>
            </a:bodyPr>
            <a:lstStyle/>
            <a:p>
              <a:pPr algn="l"/>
              <a:r>
                <a:rPr lang="en-US" altLang="zh-CN" sz="5400" dirty="0">
                  <a:solidFill>
                    <a:schemeClr val="accent1"/>
                  </a:solidFill>
                  <a:latin typeface="+mj-ea"/>
                  <a:ea typeface="+mj-ea"/>
                </a:rPr>
                <a:t>03</a:t>
              </a:r>
              <a:endParaRPr lang="zh-CN" altLang="en-US" sz="5400" dirty="0">
                <a:solidFill>
                  <a:schemeClr val="accent1"/>
                </a:solidFill>
                <a:latin typeface="+mj-ea"/>
                <a:ea typeface="+mj-ea"/>
              </a:endParaRPr>
            </a:p>
          </p:txBody>
        </p:sp>
        <p:sp>
          <p:nvSpPr>
            <p:cNvPr id="21" name="文本框 20">
              <a:extLst>
                <a:ext uri="{FF2B5EF4-FFF2-40B4-BE49-F238E27FC236}">
                  <a16:creationId xmlns:a16="http://schemas.microsoft.com/office/drawing/2014/main" id="{5712B7CA-32F1-4A8C-8C9B-1ECAC1FC02C8}"/>
                </a:ext>
              </a:extLst>
            </p:cNvPr>
            <p:cNvSpPr txBox="1"/>
            <p:nvPr/>
          </p:nvSpPr>
          <p:spPr>
            <a:xfrm>
              <a:off x="1274470" y="4348590"/>
              <a:ext cx="1846659" cy="369332"/>
            </a:xfrm>
            <a:prstGeom prst="rect">
              <a:avLst/>
            </a:prstGeom>
            <a:noFill/>
          </p:spPr>
          <p:txBody>
            <a:bodyPr wrap="none" lIns="0" tIns="0" rIns="0" bIns="0" rtlCol="0" anchor="t">
              <a:spAutoFit/>
            </a:bodyPr>
            <a:lstStyle/>
            <a:p>
              <a:pPr algn="ctr"/>
              <a:r>
                <a:rPr lang="zh-CN" altLang="en-US" sz="2400" dirty="0">
                  <a:solidFill>
                    <a:schemeClr val="accent1"/>
                  </a:solidFill>
                  <a:latin typeface="+mj-ea"/>
                  <a:ea typeface="+mj-ea"/>
                </a:rPr>
                <a:t>输入目录标题</a:t>
              </a:r>
            </a:p>
          </p:txBody>
        </p:sp>
        <p:sp>
          <p:nvSpPr>
            <p:cNvPr id="22" name="文本框 21">
              <a:extLst>
                <a:ext uri="{FF2B5EF4-FFF2-40B4-BE49-F238E27FC236}">
                  <a16:creationId xmlns:a16="http://schemas.microsoft.com/office/drawing/2014/main" id="{AFC9B768-BF38-44F5-AA1F-CFF7B8C5F6EF}"/>
                </a:ext>
              </a:extLst>
            </p:cNvPr>
            <p:cNvSpPr txBox="1"/>
            <p:nvPr/>
          </p:nvSpPr>
          <p:spPr>
            <a:xfrm>
              <a:off x="1274469" y="4809772"/>
              <a:ext cx="1846660" cy="215444"/>
            </a:xfrm>
            <a:prstGeom prst="rect">
              <a:avLst/>
            </a:prstGeom>
            <a:noFill/>
          </p:spPr>
          <p:txBody>
            <a:bodyPr wrap="square" lIns="0" tIns="0" rIns="0" bIns="0" rtlCol="0" anchor="t">
              <a:spAutoFit/>
            </a:bodyPr>
            <a:lstStyle/>
            <a:p>
              <a:pPr algn="dist"/>
              <a:r>
                <a:rPr lang="en-US" altLang="zh-CN" sz="1400" dirty="0">
                  <a:solidFill>
                    <a:schemeClr val="accent1"/>
                  </a:solidFill>
                </a:rPr>
                <a:t>Contents Title Here</a:t>
              </a:r>
              <a:endParaRPr lang="zh-CN" altLang="en-US" sz="1400" dirty="0">
                <a:solidFill>
                  <a:schemeClr val="accent1"/>
                </a:solidFill>
              </a:endParaRPr>
            </a:p>
          </p:txBody>
        </p:sp>
      </p:grpSp>
      <p:cxnSp>
        <p:nvCxnSpPr>
          <p:cNvPr id="23" name="直接连接符 22">
            <a:extLst>
              <a:ext uri="{FF2B5EF4-FFF2-40B4-BE49-F238E27FC236}">
                <a16:creationId xmlns:a16="http://schemas.microsoft.com/office/drawing/2014/main" id="{03EB23F8-60A3-4ECE-8F18-0262D7890B07}"/>
              </a:ext>
            </a:extLst>
          </p:cNvPr>
          <p:cNvCxnSpPr>
            <a:cxnSpLocks/>
          </p:cNvCxnSpPr>
          <p:nvPr/>
        </p:nvCxnSpPr>
        <p:spPr>
          <a:xfrm>
            <a:off x="3712464" y="2807208"/>
            <a:ext cx="628193" cy="2556336"/>
          </a:xfrm>
          <a:prstGeom prst="line">
            <a:avLst/>
          </a:prstGeom>
          <a:ln w="60325">
            <a:gradFill>
              <a:gsLst>
                <a:gs pos="0">
                  <a:schemeClr val="accent1">
                    <a:alpha val="0"/>
                  </a:schemeClr>
                </a:gs>
                <a:gs pos="50000">
                  <a:schemeClr val="accent1"/>
                </a:gs>
                <a:gs pos="100000">
                  <a:schemeClr val="accent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29" name="直接连接符 28">
            <a:extLst>
              <a:ext uri="{FF2B5EF4-FFF2-40B4-BE49-F238E27FC236}">
                <a16:creationId xmlns:a16="http://schemas.microsoft.com/office/drawing/2014/main" id="{6F3F6218-D95F-46EC-94F1-20919A65006A}"/>
              </a:ext>
            </a:extLst>
          </p:cNvPr>
          <p:cNvCxnSpPr>
            <a:cxnSpLocks/>
          </p:cNvCxnSpPr>
          <p:nvPr/>
        </p:nvCxnSpPr>
        <p:spPr>
          <a:xfrm flipH="1">
            <a:off x="7789073" y="2807208"/>
            <a:ext cx="628193" cy="2556336"/>
          </a:xfrm>
          <a:prstGeom prst="line">
            <a:avLst/>
          </a:prstGeom>
          <a:ln w="60325">
            <a:gradFill>
              <a:gsLst>
                <a:gs pos="0">
                  <a:schemeClr val="accent1">
                    <a:alpha val="0"/>
                  </a:schemeClr>
                </a:gs>
                <a:gs pos="50000">
                  <a:schemeClr val="accent1"/>
                </a:gs>
                <a:gs pos="100000">
                  <a:schemeClr val="accent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74455076"/>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文本框 8">
            <a:extLst>
              <a:ext uri="{FF2B5EF4-FFF2-40B4-BE49-F238E27FC236}">
                <a16:creationId xmlns:a16="http://schemas.microsoft.com/office/drawing/2014/main" id="{2A59DE73-EA24-4F53-9940-F4D54D581F96}"/>
              </a:ext>
            </a:extLst>
          </p:cNvPr>
          <p:cNvSpPr txBox="1"/>
          <p:nvPr/>
        </p:nvSpPr>
        <p:spPr>
          <a:xfrm>
            <a:off x="860585" y="354001"/>
            <a:ext cx="3658552" cy="738664"/>
          </a:xfrm>
          <a:prstGeom prst="rect">
            <a:avLst/>
          </a:prstGeom>
          <a:noFill/>
        </p:spPr>
        <p:txBody>
          <a:bodyPr wrap="square" lIns="0" tIns="0" rIns="0" bIns="0" rtlCol="0" anchor="t">
            <a:spAutoFit/>
          </a:bodyPr>
          <a:lstStyle/>
          <a:p>
            <a:pPr algn="dist"/>
            <a:r>
              <a:rPr lang="en-US" altLang="zh-CN" sz="4800" dirty="0">
                <a:ln w="0">
                  <a:solidFill>
                    <a:schemeClr val="accent1">
                      <a:alpha val="14000"/>
                    </a:schemeClr>
                  </a:solidFill>
                </a:ln>
                <a:noFill/>
                <a:latin typeface="+mj-ea"/>
                <a:ea typeface="+mj-ea"/>
              </a:rPr>
              <a:t>CONTENTS</a:t>
            </a:r>
            <a:endParaRPr lang="zh-CN" altLang="en-US" sz="4800" dirty="0">
              <a:ln w="0">
                <a:solidFill>
                  <a:schemeClr val="accent1">
                    <a:alpha val="14000"/>
                  </a:schemeClr>
                </a:solidFill>
              </a:ln>
              <a:noFill/>
              <a:latin typeface="+mj-ea"/>
              <a:ea typeface="+mj-ea"/>
            </a:endParaRPr>
          </a:p>
        </p:txBody>
      </p:sp>
      <p:cxnSp>
        <p:nvCxnSpPr>
          <p:cNvPr id="4" name="直接连接符 3">
            <a:extLst>
              <a:ext uri="{FF2B5EF4-FFF2-40B4-BE49-F238E27FC236}">
                <a16:creationId xmlns:a16="http://schemas.microsoft.com/office/drawing/2014/main" id="{B43CC039-1AB8-4AC7-AA10-60C75A0D318C}"/>
              </a:ext>
            </a:extLst>
          </p:cNvPr>
          <p:cNvCxnSpPr/>
          <p:nvPr/>
        </p:nvCxnSpPr>
        <p:spPr>
          <a:xfrm>
            <a:off x="3048000" y="0"/>
            <a:ext cx="0" cy="6858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5" name="直接连接符 4">
            <a:extLst>
              <a:ext uri="{FF2B5EF4-FFF2-40B4-BE49-F238E27FC236}">
                <a16:creationId xmlns:a16="http://schemas.microsoft.com/office/drawing/2014/main" id="{9935EE45-662E-48C3-8194-3054E1A0F72F}"/>
              </a:ext>
            </a:extLst>
          </p:cNvPr>
          <p:cNvCxnSpPr/>
          <p:nvPr/>
        </p:nvCxnSpPr>
        <p:spPr>
          <a:xfrm>
            <a:off x="6096000" y="0"/>
            <a:ext cx="0" cy="6858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6" name="直接连接符 5">
            <a:extLst>
              <a:ext uri="{FF2B5EF4-FFF2-40B4-BE49-F238E27FC236}">
                <a16:creationId xmlns:a16="http://schemas.microsoft.com/office/drawing/2014/main" id="{D2701D7E-1C5C-4ED6-A6BC-4EFDA2029380}"/>
              </a:ext>
            </a:extLst>
          </p:cNvPr>
          <p:cNvCxnSpPr/>
          <p:nvPr/>
        </p:nvCxnSpPr>
        <p:spPr>
          <a:xfrm>
            <a:off x="9144000" y="0"/>
            <a:ext cx="0" cy="6858000"/>
          </a:xfrm>
          <a:prstGeom prst="line">
            <a:avLst/>
          </a:prstGeom>
        </p:spPr>
        <p:style>
          <a:lnRef idx="1">
            <a:schemeClr val="accent1"/>
          </a:lnRef>
          <a:fillRef idx="0">
            <a:schemeClr val="accent1"/>
          </a:fillRef>
          <a:effectRef idx="0">
            <a:schemeClr val="accent1"/>
          </a:effectRef>
          <a:fontRef idx="minor">
            <a:schemeClr val="tx1"/>
          </a:fontRef>
        </p:style>
      </p:cxnSp>
      <p:sp>
        <p:nvSpPr>
          <p:cNvPr id="8" name="文本框 7">
            <a:extLst>
              <a:ext uri="{FF2B5EF4-FFF2-40B4-BE49-F238E27FC236}">
                <a16:creationId xmlns:a16="http://schemas.microsoft.com/office/drawing/2014/main" id="{36D82F26-B297-4B52-96E1-FFF72DCF9E81}"/>
              </a:ext>
            </a:extLst>
          </p:cNvPr>
          <p:cNvSpPr txBox="1"/>
          <p:nvPr/>
        </p:nvSpPr>
        <p:spPr>
          <a:xfrm>
            <a:off x="400511" y="651405"/>
            <a:ext cx="1667049" cy="923330"/>
          </a:xfrm>
          <a:prstGeom prst="rect">
            <a:avLst/>
          </a:prstGeom>
          <a:noFill/>
        </p:spPr>
        <p:txBody>
          <a:bodyPr wrap="square" lIns="0" tIns="0" rIns="0" bIns="0" rtlCol="0" anchor="t">
            <a:spAutoFit/>
          </a:bodyPr>
          <a:lstStyle/>
          <a:p>
            <a:pPr algn="dist"/>
            <a:r>
              <a:rPr lang="zh-CN" altLang="en-US" sz="6000" dirty="0">
                <a:solidFill>
                  <a:schemeClr val="accent1"/>
                </a:solidFill>
                <a:latin typeface="+mj-ea"/>
                <a:ea typeface="+mj-ea"/>
              </a:rPr>
              <a:t>目录</a:t>
            </a:r>
          </a:p>
        </p:txBody>
      </p:sp>
      <p:sp>
        <p:nvSpPr>
          <p:cNvPr id="10" name="文本框 9">
            <a:extLst>
              <a:ext uri="{FF2B5EF4-FFF2-40B4-BE49-F238E27FC236}">
                <a16:creationId xmlns:a16="http://schemas.microsoft.com/office/drawing/2014/main" id="{56531BBC-0F40-4FBA-8E33-E564CE673EBE}"/>
              </a:ext>
            </a:extLst>
          </p:cNvPr>
          <p:cNvSpPr txBox="1"/>
          <p:nvPr/>
        </p:nvSpPr>
        <p:spPr>
          <a:xfrm>
            <a:off x="468131" y="3068115"/>
            <a:ext cx="1846659" cy="369332"/>
          </a:xfrm>
          <a:prstGeom prst="rect">
            <a:avLst/>
          </a:prstGeom>
          <a:noFill/>
        </p:spPr>
        <p:txBody>
          <a:bodyPr wrap="none" lIns="0" tIns="0" rIns="0" bIns="0" rtlCol="0" anchor="t">
            <a:spAutoFit/>
          </a:bodyPr>
          <a:lstStyle/>
          <a:p>
            <a:pPr algn="ctr"/>
            <a:r>
              <a:rPr lang="zh-CN" altLang="en-US" sz="2400" dirty="0">
                <a:solidFill>
                  <a:schemeClr val="accent1"/>
                </a:solidFill>
                <a:latin typeface="+mj-ea"/>
                <a:ea typeface="+mj-ea"/>
              </a:rPr>
              <a:t>输入目录标题</a:t>
            </a:r>
          </a:p>
        </p:txBody>
      </p:sp>
      <p:sp>
        <p:nvSpPr>
          <p:cNvPr id="11" name="文本框 10">
            <a:extLst>
              <a:ext uri="{FF2B5EF4-FFF2-40B4-BE49-F238E27FC236}">
                <a16:creationId xmlns:a16="http://schemas.microsoft.com/office/drawing/2014/main" id="{AE21B642-BED5-4AB8-A298-03754C78C1CE}"/>
              </a:ext>
            </a:extLst>
          </p:cNvPr>
          <p:cNvSpPr txBox="1"/>
          <p:nvPr/>
        </p:nvSpPr>
        <p:spPr>
          <a:xfrm>
            <a:off x="468130" y="3529297"/>
            <a:ext cx="1846660" cy="215444"/>
          </a:xfrm>
          <a:prstGeom prst="rect">
            <a:avLst/>
          </a:prstGeom>
          <a:noFill/>
        </p:spPr>
        <p:txBody>
          <a:bodyPr wrap="square" lIns="0" tIns="0" rIns="0" bIns="0" rtlCol="0" anchor="t">
            <a:spAutoFit/>
          </a:bodyPr>
          <a:lstStyle/>
          <a:p>
            <a:pPr algn="dist"/>
            <a:r>
              <a:rPr lang="en-US" altLang="zh-CN" sz="1400" dirty="0">
                <a:solidFill>
                  <a:schemeClr val="accent1"/>
                </a:solidFill>
              </a:rPr>
              <a:t>Contents Title Here</a:t>
            </a:r>
            <a:endParaRPr lang="zh-CN" altLang="en-US" sz="1400" dirty="0">
              <a:solidFill>
                <a:schemeClr val="accent1"/>
              </a:solidFill>
            </a:endParaRPr>
          </a:p>
        </p:txBody>
      </p:sp>
      <p:sp>
        <p:nvSpPr>
          <p:cNvPr id="12" name="文本框 11">
            <a:extLst>
              <a:ext uri="{FF2B5EF4-FFF2-40B4-BE49-F238E27FC236}">
                <a16:creationId xmlns:a16="http://schemas.microsoft.com/office/drawing/2014/main" id="{7FACFC73-B5DD-409B-994D-442ADCC1C294}"/>
              </a:ext>
            </a:extLst>
          </p:cNvPr>
          <p:cNvSpPr txBox="1"/>
          <p:nvPr/>
        </p:nvSpPr>
        <p:spPr>
          <a:xfrm>
            <a:off x="400511" y="5231542"/>
            <a:ext cx="1049967" cy="1107996"/>
          </a:xfrm>
          <a:prstGeom prst="rect">
            <a:avLst/>
          </a:prstGeom>
          <a:noFill/>
        </p:spPr>
        <p:txBody>
          <a:bodyPr wrap="none" lIns="0" tIns="0" rIns="0" bIns="0" rtlCol="0" anchor="t">
            <a:spAutoFit/>
          </a:bodyPr>
          <a:lstStyle/>
          <a:p>
            <a:pPr algn="dist"/>
            <a:r>
              <a:rPr lang="en-US" altLang="zh-CN" sz="7200" dirty="0">
                <a:ln w="0">
                  <a:solidFill>
                    <a:schemeClr val="accent1"/>
                  </a:solidFill>
                </a:ln>
                <a:noFill/>
                <a:latin typeface="+mj-ea"/>
                <a:ea typeface="+mj-ea"/>
              </a:rPr>
              <a:t>01</a:t>
            </a:r>
            <a:endParaRPr lang="zh-CN" altLang="en-US" sz="7200" dirty="0">
              <a:ln w="0">
                <a:solidFill>
                  <a:schemeClr val="accent1"/>
                </a:solidFill>
              </a:ln>
              <a:noFill/>
              <a:latin typeface="+mj-ea"/>
              <a:ea typeface="+mj-ea"/>
            </a:endParaRPr>
          </a:p>
        </p:txBody>
      </p:sp>
      <p:sp>
        <p:nvSpPr>
          <p:cNvPr id="13" name="矩形 12">
            <a:extLst>
              <a:ext uri="{FF2B5EF4-FFF2-40B4-BE49-F238E27FC236}">
                <a16:creationId xmlns:a16="http://schemas.microsoft.com/office/drawing/2014/main" id="{AE8B4A8E-E6D7-49FF-9C0A-66E2A7629D87}"/>
              </a:ext>
            </a:extLst>
          </p:cNvPr>
          <p:cNvSpPr/>
          <p:nvPr/>
        </p:nvSpPr>
        <p:spPr>
          <a:xfrm>
            <a:off x="468130" y="6339538"/>
            <a:ext cx="336733" cy="4571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p>
        </p:txBody>
      </p:sp>
      <p:sp>
        <p:nvSpPr>
          <p:cNvPr id="16" name="文本框 15">
            <a:extLst>
              <a:ext uri="{FF2B5EF4-FFF2-40B4-BE49-F238E27FC236}">
                <a16:creationId xmlns:a16="http://schemas.microsoft.com/office/drawing/2014/main" id="{C8D119DD-9679-4DDC-B939-4C532948DF31}"/>
              </a:ext>
            </a:extLst>
          </p:cNvPr>
          <p:cNvSpPr txBox="1"/>
          <p:nvPr/>
        </p:nvSpPr>
        <p:spPr>
          <a:xfrm>
            <a:off x="3478031" y="3068115"/>
            <a:ext cx="1846659" cy="369332"/>
          </a:xfrm>
          <a:prstGeom prst="rect">
            <a:avLst/>
          </a:prstGeom>
          <a:noFill/>
        </p:spPr>
        <p:txBody>
          <a:bodyPr wrap="none" lIns="0" tIns="0" rIns="0" bIns="0" rtlCol="0" anchor="t">
            <a:spAutoFit/>
          </a:bodyPr>
          <a:lstStyle/>
          <a:p>
            <a:pPr algn="ctr"/>
            <a:r>
              <a:rPr lang="zh-CN" altLang="en-US" sz="2400" dirty="0">
                <a:solidFill>
                  <a:schemeClr val="accent1"/>
                </a:solidFill>
                <a:latin typeface="+mj-ea"/>
                <a:ea typeface="+mj-ea"/>
              </a:rPr>
              <a:t>输入目录标题</a:t>
            </a:r>
          </a:p>
        </p:txBody>
      </p:sp>
      <p:sp>
        <p:nvSpPr>
          <p:cNvPr id="17" name="文本框 16">
            <a:extLst>
              <a:ext uri="{FF2B5EF4-FFF2-40B4-BE49-F238E27FC236}">
                <a16:creationId xmlns:a16="http://schemas.microsoft.com/office/drawing/2014/main" id="{9068A6C4-BF82-42A7-ABA4-293F424D41AC}"/>
              </a:ext>
            </a:extLst>
          </p:cNvPr>
          <p:cNvSpPr txBox="1"/>
          <p:nvPr/>
        </p:nvSpPr>
        <p:spPr>
          <a:xfrm>
            <a:off x="3478030" y="3529297"/>
            <a:ext cx="1846660" cy="215444"/>
          </a:xfrm>
          <a:prstGeom prst="rect">
            <a:avLst/>
          </a:prstGeom>
          <a:noFill/>
        </p:spPr>
        <p:txBody>
          <a:bodyPr wrap="square" lIns="0" tIns="0" rIns="0" bIns="0" rtlCol="0" anchor="t">
            <a:spAutoFit/>
          </a:bodyPr>
          <a:lstStyle/>
          <a:p>
            <a:pPr algn="dist"/>
            <a:r>
              <a:rPr lang="en-US" altLang="zh-CN" sz="1400" dirty="0">
                <a:solidFill>
                  <a:schemeClr val="accent1"/>
                </a:solidFill>
              </a:rPr>
              <a:t>Contents Title Here</a:t>
            </a:r>
            <a:endParaRPr lang="zh-CN" altLang="en-US" sz="1400" dirty="0">
              <a:solidFill>
                <a:schemeClr val="accent1"/>
              </a:solidFill>
            </a:endParaRPr>
          </a:p>
        </p:txBody>
      </p:sp>
      <p:sp>
        <p:nvSpPr>
          <p:cNvPr id="18" name="文本框 17">
            <a:extLst>
              <a:ext uri="{FF2B5EF4-FFF2-40B4-BE49-F238E27FC236}">
                <a16:creationId xmlns:a16="http://schemas.microsoft.com/office/drawing/2014/main" id="{51E674FC-1AE0-4334-8B82-A6C3B7ADEF51}"/>
              </a:ext>
            </a:extLst>
          </p:cNvPr>
          <p:cNvSpPr txBox="1"/>
          <p:nvPr/>
        </p:nvSpPr>
        <p:spPr>
          <a:xfrm>
            <a:off x="3410411" y="5231542"/>
            <a:ext cx="1215076" cy="1107996"/>
          </a:xfrm>
          <a:prstGeom prst="rect">
            <a:avLst/>
          </a:prstGeom>
          <a:noFill/>
        </p:spPr>
        <p:txBody>
          <a:bodyPr wrap="none" lIns="0" tIns="0" rIns="0" bIns="0" rtlCol="0" anchor="t">
            <a:spAutoFit/>
          </a:bodyPr>
          <a:lstStyle/>
          <a:p>
            <a:r>
              <a:rPr lang="en-US" altLang="zh-CN" sz="7200" dirty="0">
                <a:ln w="0">
                  <a:solidFill>
                    <a:schemeClr val="accent1"/>
                  </a:solidFill>
                </a:ln>
                <a:noFill/>
                <a:latin typeface="+mj-ea"/>
                <a:ea typeface="+mj-ea"/>
              </a:rPr>
              <a:t>02</a:t>
            </a:r>
            <a:endParaRPr lang="zh-CN" altLang="en-US" sz="7200" dirty="0">
              <a:ln w="0">
                <a:solidFill>
                  <a:schemeClr val="accent1"/>
                </a:solidFill>
              </a:ln>
              <a:noFill/>
              <a:latin typeface="+mj-ea"/>
              <a:ea typeface="+mj-ea"/>
            </a:endParaRPr>
          </a:p>
        </p:txBody>
      </p:sp>
      <p:sp>
        <p:nvSpPr>
          <p:cNvPr id="19" name="矩形 18">
            <a:extLst>
              <a:ext uri="{FF2B5EF4-FFF2-40B4-BE49-F238E27FC236}">
                <a16:creationId xmlns:a16="http://schemas.microsoft.com/office/drawing/2014/main" id="{06305B31-33C2-49AC-BA16-9570D35FE8CD}"/>
              </a:ext>
            </a:extLst>
          </p:cNvPr>
          <p:cNvSpPr/>
          <p:nvPr/>
        </p:nvSpPr>
        <p:spPr>
          <a:xfrm>
            <a:off x="3478030" y="6339538"/>
            <a:ext cx="336733" cy="4571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p>
        </p:txBody>
      </p:sp>
      <p:sp>
        <p:nvSpPr>
          <p:cNvPr id="26" name="文本框 25">
            <a:extLst>
              <a:ext uri="{FF2B5EF4-FFF2-40B4-BE49-F238E27FC236}">
                <a16:creationId xmlns:a16="http://schemas.microsoft.com/office/drawing/2014/main" id="{3605A682-86C0-4FA9-86F9-25FAAAE56A6A}"/>
              </a:ext>
            </a:extLst>
          </p:cNvPr>
          <p:cNvSpPr txBox="1"/>
          <p:nvPr/>
        </p:nvSpPr>
        <p:spPr>
          <a:xfrm>
            <a:off x="6564130" y="3068115"/>
            <a:ext cx="1846659" cy="369332"/>
          </a:xfrm>
          <a:prstGeom prst="rect">
            <a:avLst/>
          </a:prstGeom>
          <a:noFill/>
        </p:spPr>
        <p:txBody>
          <a:bodyPr wrap="none" lIns="0" tIns="0" rIns="0" bIns="0" rtlCol="0" anchor="t">
            <a:spAutoFit/>
          </a:bodyPr>
          <a:lstStyle/>
          <a:p>
            <a:pPr algn="ctr"/>
            <a:r>
              <a:rPr lang="zh-CN" altLang="en-US" sz="2400" dirty="0">
                <a:solidFill>
                  <a:schemeClr val="accent1"/>
                </a:solidFill>
                <a:latin typeface="+mj-ea"/>
                <a:ea typeface="+mj-ea"/>
              </a:rPr>
              <a:t>输入目录标题</a:t>
            </a:r>
          </a:p>
        </p:txBody>
      </p:sp>
      <p:sp>
        <p:nvSpPr>
          <p:cNvPr id="27" name="文本框 26">
            <a:extLst>
              <a:ext uri="{FF2B5EF4-FFF2-40B4-BE49-F238E27FC236}">
                <a16:creationId xmlns:a16="http://schemas.microsoft.com/office/drawing/2014/main" id="{15E27516-803C-4BE9-9F35-97518B1F4BA3}"/>
              </a:ext>
            </a:extLst>
          </p:cNvPr>
          <p:cNvSpPr txBox="1"/>
          <p:nvPr/>
        </p:nvSpPr>
        <p:spPr>
          <a:xfrm>
            <a:off x="6564129" y="3529297"/>
            <a:ext cx="1846660" cy="215444"/>
          </a:xfrm>
          <a:prstGeom prst="rect">
            <a:avLst/>
          </a:prstGeom>
          <a:noFill/>
        </p:spPr>
        <p:txBody>
          <a:bodyPr wrap="square" lIns="0" tIns="0" rIns="0" bIns="0" rtlCol="0" anchor="t">
            <a:spAutoFit/>
          </a:bodyPr>
          <a:lstStyle/>
          <a:p>
            <a:pPr algn="dist"/>
            <a:r>
              <a:rPr lang="en-US" altLang="zh-CN" sz="1400" dirty="0">
                <a:solidFill>
                  <a:schemeClr val="accent1"/>
                </a:solidFill>
              </a:rPr>
              <a:t>Contents Title Here</a:t>
            </a:r>
            <a:endParaRPr lang="zh-CN" altLang="en-US" sz="1400" dirty="0">
              <a:solidFill>
                <a:schemeClr val="accent1"/>
              </a:solidFill>
            </a:endParaRPr>
          </a:p>
        </p:txBody>
      </p:sp>
      <p:sp>
        <p:nvSpPr>
          <p:cNvPr id="28" name="文本框 27">
            <a:extLst>
              <a:ext uri="{FF2B5EF4-FFF2-40B4-BE49-F238E27FC236}">
                <a16:creationId xmlns:a16="http://schemas.microsoft.com/office/drawing/2014/main" id="{D630698B-AB04-4B56-8580-801FA5BBE80D}"/>
              </a:ext>
            </a:extLst>
          </p:cNvPr>
          <p:cNvSpPr txBox="1"/>
          <p:nvPr/>
        </p:nvSpPr>
        <p:spPr>
          <a:xfrm>
            <a:off x="6496510" y="5231542"/>
            <a:ext cx="1215076" cy="1107996"/>
          </a:xfrm>
          <a:prstGeom prst="rect">
            <a:avLst/>
          </a:prstGeom>
          <a:noFill/>
        </p:spPr>
        <p:txBody>
          <a:bodyPr wrap="none" lIns="0" tIns="0" rIns="0" bIns="0" rtlCol="0" anchor="t">
            <a:spAutoFit/>
          </a:bodyPr>
          <a:lstStyle/>
          <a:p>
            <a:r>
              <a:rPr lang="en-US" altLang="zh-CN" sz="7200" dirty="0">
                <a:ln w="0">
                  <a:solidFill>
                    <a:schemeClr val="accent1"/>
                  </a:solidFill>
                </a:ln>
                <a:noFill/>
                <a:latin typeface="+mj-ea"/>
                <a:ea typeface="+mj-ea"/>
              </a:rPr>
              <a:t>03</a:t>
            </a:r>
            <a:endParaRPr lang="zh-CN" altLang="en-US" sz="7200" dirty="0">
              <a:ln w="0">
                <a:solidFill>
                  <a:schemeClr val="accent1"/>
                </a:solidFill>
              </a:ln>
              <a:noFill/>
              <a:latin typeface="+mj-ea"/>
              <a:ea typeface="+mj-ea"/>
            </a:endParaRPr>
          </a:p>
        </p:txBody>
      </p:sp>
      <p:sp>
        <p:nvSpPr>
          <p:cNvPr id="29" name="矩形 28">
            <a:extLst>
              <a:ext uri="{FF2B5EF4-FFF2-40B4-BE49-F238E27FC236}">
                <a16:creationId xmlns:a16="http://schemas.microsoft.com/office/drawing/2014/main" id="{3F0A4A1D-3797-44FC-A49F-1E1D5862806D}"/>
              </a:ext>
            </a:extLst>
          </p:cNvPr>
          <p:cNvSpPr/>
          <p:nvPr/>
        </p:nvSpPr>
        <p:spPr>
          <a:xfrm>
            <a:off x="6564129" y="6339538"/>
            <a:ext cx="336733" cy="4571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p>
        </p:txBody>
      </p:sp>
      <p:sp>
        <p:nvSpPr>
          <p:cNvPr id="31" name="文本框 30">
            <a:extLst>
              <a:ext uri="{FF2B5EF4-FFF2-40B4-BE49-F238E27FC236}">
                <a16:creationId xmlns:a16="http://schemas.microsoft.com/office/drawing/2014/main" id="{3BC6FE1A-1AD8-464B-B09D-F3F10C306A09}"/>
              </a:ext>
            </a:extLst>
          </p:cNvPr>
          <p:cNvSpPr txBox="1"/>
          <p:nvPr/>
        </p:nvSpPr>
        <p:spPr>
          <a:xfrm>
            <a:off x="9596530" y="3068115"/>
            <a:ext cx="1846659" cy="369332"/>
          </a:xfrm>
          <a:prstGeom prst="rect">
            <a:avLst/>
          </a:prstGeom>
          <a:noFill/>
        </p:spPr>
        <p:txBody>
          <a:bodyPr wrap="none" lIns="0" tIns="0" rIns="0" bIns="0" rtlCol="0" anchor="t">
            <a:spAutoFit/>
          </a:bodyPr>
          <a:lstStyle/>
          <a:p>
            <a:pPr algn="ctr"/>
            <a:r>
              <a:rPr lang="zh-CN" altLang="en-US" sz="2400" dirty="0">
                <a:solidFill>
                  <a:schemeClr val="accent1"/>
                </a:solidFill>
                <a:latin typeface="+mj-ea"/>
                <a:ea typeface="+mj-ea"/>
              </a:rPr>
              <a:t>输入目录标题</a:t>
            </a:r>
          </a:p>
        </p:txBody>
      </p:sp>
      <p:sp>
        <p:nvSpPr>
          <p:cNvPr id="32" name="文本框 31">
            <a:extLst>
              <a:ext uri="{FF2B5EF4-FFF2-40B4-BE49-F238E27FC236}">
                <a16:creationId xmlns:a16="http://schemas.microsoft.com/office/drawing/2014/main" id="{7E76C5CA-338A-4494-89CE-EE5B46824432}"/>
              </a:ext>
            </a:extLst>
          </p:cNvPr>
          <p:cNvSpPr txBox="1"/>
          <p:nvPr/>
        </p:nvSpPr>
        <p:spPr>
          <a:xfrm>
            <a:off x="9596529" y="3529297"/>
            <a:ext cx="1846660" cy="215444"/>
          </a:xfrm>
          <a:prstGeom prst="rect">
            <a:avLst/>
          </a:prstGeom>
          <a:noFill/>
        </p:spPr>
        <p:txBody>
          <a:bodyPr wrap="square" lIns="0" tIns="0" rIns="0" bIns="0" rtlCol="0" anchor="t">
            <a:spAutoFit/>
          </a:bodyPr>
          <a:lstStyle/>
          <a:p>
            <a:pPr algn="dist"/>
            <a:r>
              <a:rPr lang="en-US" altLang="zh-CN" sz="1400" dirty="0">
                <a:solidFill>
                  <a:schemeClr val="accent1"/>
                </a:solidFill>
              </a:rPr>
              <a:t>Contents Title Here</a:t>
            </a:r>
            <a:endParaRPr lang="zh-CN" altLang="en-US" sz="1400" dirty="0">
              <a:solidFill>
                <a:schemeClr val="accent1"/>
              </a:solidFill>
            </a:endParaRPr>
          </a:p>
        </p:txBody>
      </p:sp>
      <p:sp>
        <p:nvSpPr>
          <p:cNvPr id="33" name="文本框 32">
            <a:extLst>
              <a:ext uri="{FF2B5EF4-FFF2-40B4-BE49-F238E27FC236}">
                <a16:creationId xmlns:a16="http://schemas.microsoft.com/office/drawing/2014/main" id="{58C8F656-AF8D-4D15-96E0-DF4CED1D608E}"/>
              </a:ext>
            </a:extLst>
          </p:cNvPr>
          <p:cNvSpPr txBox="1"/>
          <p:nvPr/>
        </p:nvSpPr>
        <p:spPr>
          <a:xfrm>
            <a:off x="9528910" y="5231542"/>
            <a:ext cx="1215076" cy="1107996"/>
          </a:xfrm>
          <a:prstGeom prst="rect">
            <a:avLst/>
          </a:prstGeom>
          <a:noFill/>
        </p:spPr>
        <p:txBody>
          <a:bodyPr wrap="none" lIns="0" tIns="0" rIns="0" bIns="0" rtlCol="0" anchor="t">
            <a:spAutoFit/>
          </a:bodyPr>
          <a:lstStyle/>
          <a:p>
            <a:r>
              <a:rPr lang="en-US" altLang="zh-CN" sz="7200" dirty="0">
                <a:ln w="0">
                  <a:solidFill>
                    <a:schemeClr val="accent1"/>
                  </a:solidFill>
                </a:ln>
                <a:noFill/>
                <a:latin typeface="+mj-ea"/>
                <a:ea typeface="+mj-ea"/>
              </a:rPr>
              <a:t>04</a:t>
            </a:r>
            <a:endParaRPr lang="zh-CN" altLang="en-US" sz="7200" dirty="0">
              <a:ln w="0">
                <a:solidFill>
                  <a:schemeClr val="accent1"/>
                </a:solidFill>
              </a:ln>
              <a:noFill/>
              <a:latin typeface="+mj-ea"/>
              <a:ea typeface="+mj-ea"/>
            </a:endParaRPr>
          </a:p>
        </p:txBody>
      </p:sp>
      <p:sp>
        <p:nvSpPr>
          <p:cNvPr id="34" name="矩形 33">
            <a:extLst>
              <a:ext uri="{FF2B5EF4-FFF2-40B4-BE49-F238E27FC236}">
                <a16:creationId xmlns:a16="http://schemas.microsoft.com/office/drawing/2014/main" id="{7A221768-E4F2-4CA9-97B7-BDBF88622B1A}"/>
              </a:ext>
            </a:extLst>
          </p:cNvPr>
          <p:cNvSpPr/>
          <p:nvPr/>
        </p:nvSpPr>
        <p:spPr>
          <a:xfrm>
            <a:off x="9596529" y="6339538"/>
            <a:ext cx="336733" cy="4571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p>
        </p:txBody>
      </p:sp>
    </p:spTree>
    <p:extLst>
      <p:ext uri="{BB962C8B-B14F-4D97-AF65-F5344CB8AC3E}">
        <p14:creationId xmlns:p14="http://schemas.microsoft.com/office/powerpoint/2010/main" val="576593340"/>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a:extLst>
              <a:ext uri="{FF2B5EF4-FFF2-40B4-BE49-F238E27FC236}">
                <a16:creationId xmlns:a16="http://schemas.microsoft.com/office/drawing/2014/main" id="{993864F1-C958-48D3-8CBE-9E1092A12AA2}"/>
              </a:ext>
            </a:extLst>
          </p:cNvPr>
          <p:cNvSpPr txBox="1"/>
          <p:nvPr/>
        </p:nvSpPr>
        <p:spPr>
          <a:xfrm>
            <a:off x="4760285" y="883743"/>
            <a:ext cx="2802566" cy="553998"/>
          </a:xfrm>
          <a:prstGeom prst="rect">
            <a:avLst/>
          </a:prstGeom>
          <a:noFill/>
        </p:spPr>
        <p:txBody>
          <a:bodyPr wrap="square" lIns="0" tIns="0" rIns="0" bIns="0" rtlCol="0" anchor="t">
            <a:spAutoFit/>
          </a:bodyPr>
          <a:lstStyle/>
          <a:p>
            <a:pPr algn="dist"/>
            <a:r>
              <a:rPr lang="en-US" altLang="zh-CN" sz="3600" dirty="0">
                <a:solidFill>
                  <a:schemeClr val="accent1">
                    <a:alpha val="20000"/>
                  </a:schemeClr>
                </a:solidFill>
                <a:latin typeface="+mj-ea"/>
                <a:ea typeface="+mj-ea"/>
              </a:rPr>
              <a:t>CONTENTS</a:t>
            </a:r>
            <a:endParaRPr lang="zh-CN" altLang="en-US" sz="3600" dirty="0">
              <a:solidFill>
                <a:schemeClr val="accent1">
                  <a:alpha val="20000"/>
                </a:schemeClr>
              </a:solidFill>
              <a:latin typeface="+mj-ea"/>
              <a:ea typeface="+mj-ea"/>
            </a:endParaRPr>
          </a:p>
        </p:txBody>
      </p:sp>
      <p:sp>
        <p:nvSpPr>
          <p:cNvPr id="4" name="文本框 3">
            <a:extLst>
              <a:ext uri="{FF2B5EF4-FFF2-40B4-BE49-F238E27FC236}">
                <a16:creationId xmlns:a16="http://schemas.microsoft.com/office/drawing/2014/main" id="{88C92743-21D2-4D38-B671-DDCA7B9F3F31}"/>
              </a:ext>
            </a:extLst>
          </p:cNvPr>
          <p:cNvSpPr txBox="1"/>
          <p:nvPr/>
        </p:nvSpPr>
        <p:spPr>
          <a:xfrm>
            <a:off x="4759151" y="1084542"/>
            <a:ext cx="2673698" cy="1354217"/>
          </a:xfrm>
          <a:prstGeom prst="rect">
            <a:avLst/>
          </a:prstGeom>
          <a:noFill/>
        </p:spPr>
        <p:txBody>
          <a:bodyPr wrap="square" lIns="0" tIns="0" rIns="0" bIns="0" rtlCol="0" anchor="t">
            <a:spAutoFit/>
          </a:bodyPr>
          <a:lstStyle/>
          <a:p>
            <a:pPr algn="dist"/>
            <a:r>
              <a:rPr lang="zh-CN" altLang="en-US" sz="8800" dirty="0">
                <a:solidFill>
                  <a:schemeClr val="accent1"/>
                </a:solidFill>
                <a:latin typeface="+mj-ea"/>
                <a:ea typeface="+mj-ea"/>
              </a:rPr>
              <a:t>目录</a:t>
            </a:r>
          </a:p>
        </p:txBody>
      </p:sp>
      <p:grpSp>
        <p:nvGrpSpPr>
          <p:cNvPr id="16" name="组合 15">
            <a:extLst>
              <a:ext uri="{FF2B5EF4-FFF2-40B4-BE49-F238E27FC236}">
                <a16:creationId xmlns:a16="http://schemas.microsoft.com/office/drawing/2014/main" id="{1479D212-9E70-4055-9AD2-CB6FAF810718}"/>
              </a:ext>
            </a:extLst>
          </p:cNvPr>
          <p:cNvGrpSpPr/>
          <p:nvPr/>
        </p:nvGrpSpPr>
        <p:grpSpPr>
          <a:xfrm>
            <a:off x="6435482" y="2781300"/>
            <a:ext cx="2219325" cy="2876550"/>
            <a:chOff x="1144032" y="2781300"/>
            <a:chExt cx="2219325" cy="2876550"/>
          </a:xfrm>
          <a:scene3d>
            <a:camera prst="perspectiveFront">
              <a:rot lat="0" lon="600000" rev="0"/>
            </a:camera>
            <a:lightRig rig="threePt" dir="t"/>
          </a:scene3d>
        </p:grpSpPr>
        <p:sp>
          <p:nvSpPr>
            <p:cNvPr id="17" name="矩形 16">
              <a:extLst>
                <a:ext uri="{FF2B5EF4-FFF2-40B4-BE49-F238E27FC236}">
                  <a16:creationId xmlns:a16="http://schemas.microsoft.com/office/drawing/2014/main" id="{6FEE8434-3FBC-43D9-83E2-4715189C1DD3}"/>
                </a:ext>
              </a:extLst>
            </p:cNvPr>
            <p:cNvSpPr/>
            <p:nvPr/>
          </p:nvSpPr>
          <p:spPr>
            <a:xfrm>
              <a:off x="1144032" y="2781300"/>
              <a:ext cx="2219325" cy="28765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p>
          </p:txBody>
        </p:sp>
        <p:sp>
          <p:nvSpPr>
            <p:cNvPr id="18" name="文本框 17">
              <a:extLst>
                <a:ext uri="{FF2B5EF4-FFF2-40B4-BE49-F238E27FC236}">
                  <a16:creationId xmlns:a16="http://schemas.microsoft.com/office/drawing/2014/main" id="{F84CCFB2-33B5-4FCA-89A3-A1BB98FD13F4}"/>
                </a:ext>
              </a:extLst>
            </p:cNvPr>
            <p:cNvSpPr txBox="1"/>
            <p:nvPr/>
          </p:nvSpPr>
          <p:spPr>
            <a:xfrm>
              <a:off x="1903438" y="3094197"/>
              <a:ext cx="811119" cy="738664"/>
            </a:xfrm>
            <a:prstGeom prst="rect">
              <a:avLst/>
            </a:prstGeom>
            <a:noFill/>
          </p:spPr>
          <p:txBody>
            <a:bodyPr wrap="none" lIns="0" tIns="0" rIns="0" bIns="0" rtlCol="0" anchor="t">
              <a:spAutoFit/>
            </a:bodyPr>
            <a:lstStyle/>
            <a:p>
              <a:pPr algn="l"/>
              <a:r>
                <a:rPr lang="en-US" altLang="zh-CN" sz="4800" dirty="0">
                  <a:solidFill>
                    <a:schemeClr val="bg1"/>
                  </a:solidFill>
                  <a:latin typeface="+mj-ea"/>
                  <a:ea typeface="+mj-ea"/>
                </a:rPr>
                <a:t>03</a:t>
              </a:r>
              <a:endParaRPr lang="zh-CN" altLang="en-US" sz="4800" dirty="0">
                <a:solidFill>
                  <a:schemeClr val="bg1"/>
                </a:solidFill>
                <a:latin typeface="+mj-ea"/>
                <a:ea typeface="+mj-ea"/>
              </a:endParaRPr>
            </a:p>
          </p:txBody>
        </p:sp>
        <p:sp>
          <p:nvSpPr>
            <p:cNvPr id="19" name="文本框 18">
              <a:extLst>
                <a:ext uri="{FF2B5EF4-FFF2-40B4-BE49-F238E27FC236}">
                  <a16:creationId xmlns:a16="http://schemas.microsoft.com/office/drawing/2014/main" id="{6B96F9E9-9E59-42BC-9530-6D24263BC1AB}"/>
                </a:ext>
              </a:extLst>
            </p:cNvPr>
            <p:cNvSpPr txBox="1"/>
            <p:nvPr/>
          </p:nvSpPr>
          <p:spPr>
            <a:xfrm>
              <a:off x="1535549" y="3832861"/>
              <a:ext cx="1436291" cy="430887"/>
            </a:xfrm>
            <a:prstGeom prst="rect">
              <a:avLst/>
            </a:prstGeom>
            <a:noFill/>
          </p:spPr>
          <p:txBody>
            <a:bodyPr wrap="none" lIns="0" tIns="0" rIns="0" bIns="0" rtlCol="0" anchor="t">
              <a:spAutoFit/>
            </a:bodyPr>
            <a:lstStyle/>
            <a:p>
              <a:r>
                <a:rPr lang="zh-CN" altLang="en-US" sz="2800" dirty="0">
                  <a:solidFill>
                    <a:schemeClr val="bg1"/>
                  </a:solidFill>
                  <a:latin typeface="+mj-ea"/>
                  <a:ea typeface="+mj-ea"/>
                </a:rPr>
                <a:t>目录标题</a:t>
              </a:r>
            </a:p>
          </p:txBody>
        </p:sp>
        <p:sp>
          <p:nvSpPr>
            <p:cNvPr id="20" name="文本框 19">
              <a:extLst>
                <a:ext uri="{FF2B5EF4-FFF2-40B4-BE49-F238E27FC236}">
                  <a16:creationId xmlns:a16="http://schemas.microsoft.com/office/drawing/2014/main" id="{9BCE0BD0-BFEE-432C-9769-240C46FCBC3A}"/>
                </a:ext>
              </a:extLst>
            </p:cNvPr>
            <p:cNvSpPr txBox="1"/>
            <p:nvPr/>
          </p:nvSpPr>
          <p:spPr>
            <a:xfrm>
              <a:off x="1560711" y="4237650"/>
              <a:ext cx="1385967" cy="215444"/>
            </a:xfrm>
            <a:prstGeom prst="rect">
              <a:avLst/>
            </a:prstGeom>
            <a:noFill/>
          </p:spPr>
          <p:txBody>
            <a:bodyPr wrap="square" lIns="0" tIns="0" rIns="0" bIns="0" rtlCol="0" anchor="t">
              <a:spAutoFit/>
            </a:bodyPr>
            <a:lstStyle/>
            <a:p>
              <a:pPr algn="dist"/>
              <a:r>
                <a:rPr lang="en-US" altLang="zh-CN" sz="1400" dirty="0">
                  <a:solidFill>
                    <a:schemeClr val="bg1"/>
                  </a:solidFill>
                </a:rPr>
                <a:t>Contents Title</a:t>
              </a:r>
              <a:endParaRPr lang="zh-CN" altLang="en-US" sz="1400" dirty="0">
                <a:solidFill>
                  <a:schemeClr val="bg1"/>
                </a:solidFill>
              </a:endParaRPr>
            </a:p>
          </p:txBody>
        </p:sp>
      </p:grpSp>
      <p:grpSp>
        <p:nvGrpSpPr>
          <p:cNvPr id="21" name="组合 20">
            <a:extLst>
              <a:ext uri="{FF2B5EF4-FFF2-40B4-BE49-F238E27FC236}">
                <a16:creationId xmlns:a16="http://schemas.microsoft.com/office/drawing/2014/main" id="{095B7A58-C9C9-4679-91EC-033B601D7667}"/>
              </a:ext>
            </a:extLst>
          </p:cNvPr>
          <p:cNvGrpSpPr/>
          <p:nvPr/>
        </p:nvGrpSpPr>
        <p:grpSpPr>
          <a:xfrm>
            <a:off x="8997534" y="2724045"/>
            <a:ext cx="2335562" cy="3027209"/>
            <a:chOff x="1144032" y="2781300"/>
            <a:chExt cx="2219325" cy="2876550"/>
          </a:xfrm>
          <a:scene3d>
            <a:camera prst="perspectiveFront">
              <a:rot lat="0" lon="1200000" rev="0"/>
            </a:camera>
            <a:lightRig rig="threePt" dir="t"/>
          </a:scene3d>
        </p:grpSpPr>
        <p:sp>
          <p:nvSpPr>
            <p:cNvPr id="22" name="矩形 21">
              <a:extLst>
                <a:ext uri="{FF2B5EF4-FFF2-40B4-BE49-F238E27FC236}">
                  <a16:creationId xmlns:a16="http://schemas.microsoft.com/office/drawing/2014/main" id="{974B96F3-E20B-4754-8A3B-10F2CBD55311}"/>
                </a:ext>
              </a:extLst>
            </p:cNvPr>
            <p:cNvSpPr/>
            <p:nvPr/>
          </p:nvSpPr>
          <p:spPr>
            <a:xfrm>
              <a:off x="1144032" y="2781300"/>
              <a:ext cx="2219325" cy="28765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p>
          </p:txBody>
        </p:sp>
        <p:sp>
          <p:nvSpPr>
            <p:cNvPr id="23" name="文本框 22">
              <a:extLst>
                <a:ext uri="{FF2B5EF4-FFF2-40B4-BE49-F238E27FC236}">
                  <a16:creationId xmlns:a16="http://schemas.microsoft.com/office/drawing/2014/main" id="{E9C13068-61E4-46B5-8316-0FCA0F67FD59}"/>
                </a:ext>
              </a:extLst>
            </p:cNvPr>
            <p:cNvSpPr txBox="1"/>
            <p:nvPr/>
          </p:nvSpPr>
          <p:spPr>
            <a:xfrm>
              <a:off x="1903438" y="3094197"/>
              <a:ext cx="811119" cy="738664"/>
            </a:xfrm>
            <a:prstGeom prst="rect">
              <a:avLst/>
            </a:prstGeom>
            <a:noFill/>
          </p:spPr>
          <p:txBody>
            <a:bodyPr wrap="none" lIns="0" tIns="0" rIns="0" bIns="0" rtlCol="0" anchor="t">
              <a:spAutoFit/>
            </a:bodyPr>
            <a:lstStyle/>
            <a:p>
              <a:pPr algn="l"/>
              <a:r>
                <a:rPr lang="en-US" altLang="zh-CN" sz="4800" dirty="0">
                  <a:solidFill>
                    <a:schemeClr val="bg1"/>
                  </a:solidFill>
                  <a:latin typeface="+mj-ea"/>
                  <a:ea typeface="+mj-ea"/>
                </a:rPr>
                <a:t>04</a:t>
              </a:r>
              <a:endParaRPr lang="zh-CN" altLang="en-US" sz="4800" dirty="0">
                <a:solidFill>
                  <a:schemeClr val="bg1"/>
                </a:solidFill>
                <a:latin typeface="+mj-ea"/>
                <a:ea typeface="+mj-ea"/>
              </a:endParaRPr>
            </a:p>
          </p:txBody>
        </p:sp>
        <p:sp>
          <p:nvSpPr>
            <p:cNvPr id="24" name="文本框 23">
              <a:extLst>
                <a:ext uri="{FF2B5EF4-FFF2-40B4-BE49-F238E27FC236}">
                  <a16:creationId xmlns:a16="http://schemas.microsoft.com/office/drawing/2014/main" id="{A6D123BA-C36E-4B45-8ACE-D0C765A06E4D}"/>
                </a:ext>
              </a:extLst>
            </p:cNvPr>
            <p:cNvSpPr txBox="1"/>
            <p:nvPr/>
          </p:nvSpPr>
          <p:spPr>
            <a:xfrm>
              <a:off x="1535549" y="3832861"/>
              <a:ext cx="1436291" cy="430887"/>
            </a:xfrm>
            <a:prstGeom prst="rect">
              <a:avLst/>
            </a:prstGeom>
            <a:noFill/>
          </p:spPr>
          <p:txBody>
            <a:bodyPr wrap="none" lIns="0" tIns="0" rIns="0" bIns="0" rtlCol="0" anchor="t">
              <a:spAutoFit/>
            </a:bodyPr>
            <a:lstStyle/>
            <a:p>
              <a:r>
                <a:rPr lang="zh-CN" altLang="en-US" sz="2800" dirty="0">
                  <a:solidFill>
                    <a:schemeClr val="bg1"/>
                  </a:solidFill>
                  <a:latin typeface="+mj-ea"/>
                  <a:ea typeface="+mj-ea"/>
                </a:rPr>
                <a:t>目录标题</a:t>
              </a:r>
            </a:p>
          </p:txBody>
        </p:sp>
        <p:sp>
          <p:nvSpPr>
            <p:cNvPr id="25" name="文本框 24">
              <a:extLst>
                <a:ext uri="{FF2B5EF4-FFF2-40B4-BE49-F238E27FC236}">
                  <a16:creationId xmlns:a16="http://schemas.microsoft.com/office/drawing/2014/main" id="{DE7C090F-C57C-4228-87FB-A76E86A88AEF}"/>
                </a:ext>
              </a:extLst>
            </p:cNvPr>
            <p:cNvSpPr txBox="1"/>
            <p:nvPr/>
          </p:nvSpPr>
          <p:spPr>
            <a:xfrm>
              <a:off x="1560711" y="4237650"/>
              <a:ext cx="1385967" cy="215444"/>
            </a:xfrm>
            <a:prstGeom prst="rect">
              <a:avLst/>
            </a:prstGeom>
            <a:noFill/>
          </p:spPr>
          <p:txBody>
            <a:bodyPr wrap="square" lIns="0" tIns="0" rIns="0" bIns="0" rtlCol="0" anchor="t">
              <a:spAutoFit/>
            </a:bodyPr>
            <a:lstStyle/>
            <a:p>
              <a:pPr algn="dist"/>
              <a:r>
                <a:rPr lang="en-US" altLang="zh-CN" sz="1400" dirty="0">
                  <a:solidFill>
                    <a:schemeClr val="bg1"/>
                  </a:solidFill>
                </a:rPr>
                <a:t>Contents Title</a:t>
              </a:r>
              <a:endParaRPr lang="zh-CN" altLang="en-US" sz="1400" dirty="0">
                <a:solidFill>
                  <a:schemeClr val="bg1"/>
                </a:solidFill>
              </a:endParaRPr>
            </a:p>
          </p:txBody>
        </p:sp>
      </p:grpSp>
      <p:grpSp>
        <p:nvGrpSpPr>
          <p:cNvPr id="27" name="组合 26">
            <a:extLst>
              <a:ext uri="{FF2B5EF4-FFF2-40B4-BE49-F238E27FC236}">
                <a16:creationId xmlns:a16="http://schemas.microsoft.com/office/drawing/2014/main" id="{F588E008-C408-472C-9D8B-882586FD90D8}"/>
              </a:ext>
            </a:extLst>
          </p:cNvPr>
          <p:cNvGrpSpPr/>
          <p:nvPr/>
        </p:nvGrpSpPr>
        <p:grpSpPr>
          <a:xfrm>
            <a:off x="3705312" y="2781300"/>
            <a:ext cx="2219325" cy="2876550"/>
            <a:chOff x="1144032" y="2781300"/>
            <a:chExt cx="2219325" cy="2876550"/>
          </a:xfrm>
          <a:scene3d>
            <a:camera prst="perspectiveFront">
              <a:rot lat="0" lon="21000000" rev="0"/>
            </a:camera>
            <a:lightRig rig="threePt" dir="t"/>
          </a:scene3d>
        </p:grpSpPr>
        <p:sp>
          <p:nvSpPr>
            <p:cNvPr id="28" name="矩形 27">
              <a:extLst>
                <a:ext uri="{FF2B5EF4-FFF2-40B4-BE49-F238E27FC236}">
                  <a16:creationId xmlns:a16="http://schemas.microsoft.com/office/drawing/2014/main" id="{10677BFA-079F-4389-96AD-61E04F0A0A0F}"/>
                </a:ext>
              </a:extLst>
            </p:cNvPr>
            <p:cNvSpPr/>
            <p:nvPr/>
          </p:nvSpPr>
          <p:spPr>
            <a:xfrm>
              <a:off x="1144032" y="2781300"/>
              <a:ext cx="2219325" cy="28765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p>
          </p:txBody>
        </p:sp>
        <p:sp>
          <p:nvSpPr>
            <p:cNvPr id="29" name="文本框 28">
              <a:extLst>
                <a:ext uri="{FF2B5EF4-FFF2-40B4-BE49-F238E27FC236}">
                  <a16:creationId xmlns:a16="http://schemas.microsoft.com/office/drawing/2014/main" id="{EEC25E62-CECA-4874-A042-E4BB1CAE17A2}"/>
                </a:ext>
              </a:extLst>
            </p:cNvPr>
            <p:cNvSpPr txBox="1"/>
            <p:nvPr/>
          </p:nvSpPr>
          <p:spPr>
            <a:xfrm>
              <a:off x="1903438" y="3094197"/>
              <a:ext cx="811119" cy="738664"/>
            </a:xfrm>
            <a:prstGeom prst="rect">
              <a:avLst/>
            </a:prstGeom>
            <a:noFill/>
          </p:spPr>
          <p:txBody>
            <a:bodyPr wrap="none" lIns="0" tIns="0" rIns="0" bIns="0" rtlCol="0" anchor="t">
              <a:spAutoFit/>
            </a:bodyPr>
            <a:lstStyle/>
            <a:p>
              <a:pPr algn="l"/>
              <a:r>
                <a:rPr lang="en-US" altLang="zh-CN" sz="4800" dirty="0">
                  <a:solidFill>
                    <a:schemeClr val="bg1"/>
                  </a:solidFill>
                  <a:latin typeface="+mj-ea"/>
                  <a:ea typeface="+mj-ea"/>
                </a:rPr>
                <a:t>02</a:t>
              </a:r>
              <a:endParaRPr lang="zh-CN" altLang="en-US" sz="4800" dirty="0">
                <a:solidFill>
                  <a:schemeClr val="bg1"/>
                </a:solidFill>
                <a:latin typeface="+mj-ea"/>
                <a:ea typeface="+mj-ea"/>
              </a:endParaRPr>
            </a:p>
          </p:txBody>
        </p:sp>
        <p:sp>
          <p:nvSpPr>
            <p:cNvPr id="30" name="文本框 29">
              <a:extLst>
                <a:ext uri="{FF2B5EF4-FFF2-40B4-BE49-F238E27FC236}">
                  <a16:creationId xmlns:a16="http://schemas.microsoft.com/office/drawing/2014/main" id="{69D9443D-E3E9-410F-B884-873767161AC0}"/>
                </a:ext>
              </a:extLst>
            </p:cNvPr>
            <p:cNvSpPr txBox="1"/>
            <p:nvPr/>
          </p:nvSpPr>
          <p:spPr>
            <a:xfrm>
              <a:off x="1535549" y="3832861"/>
              <a:ext cx="1436291" cy="430887"/>
            </a:xfrm>
            <a:prstGeom prst="rect">
              <a:avLst/>
            </a:prstGeom>
            <a:noFill/>
          </p:spPr>
          <p:txBody>
            <a:bodyPr wrap="none" lIns="0" tIns="0" rIns="0" bIns="0" rtlCol="0" anchor="t">
              <a:spAutoFit/>
            </a:bodyPr>
            <a:lstStyle/>
            <a:p>
              <a:r>
                <a:rPr lang="zh-CN" altLang="en-US" sz="2800" dirty="0">
                  <a:solidFill>
                    <a:schemeClr val="bg1"/>
                  </a:solidFill>
                  <a:latin typeface="+mj-ea"/>
                  <a:ea typeface="+mj-ea"/>
                </a:rPr>
                <a:t>目录标题</a:t>
              </a:r>
            </a:p>
          </p:txBody>
        </p:sp>
        <p:sp>
          <p:nvSpPr>
            <p:cNvPr id="31" name="文本框 30">
              <a:extLst>
                <a:ext uri="{FF2B5EF4-FFF2-40B4-BE49-F238E27FC236}">
                  <a16:creationId xmlns:a16="http://schemas.microsoft.com/office/drawing/2014/main" id="{1D587C16-FD60-4C50-BA76-C43E252DCB84}"/>
                </a:ext>
              </a:extLst>
            </p:cNvPr>
            <p:cNvSpPr txBox="1"/>
            <p:nvPr/>
          </p:nvSpPr>
          <p:spPr>
            <a:xfrm>
              <a:off x="1560711" y="4237650"/>
              <a:ext cx="1385967" cy="215444"/>
            </a:xfrm>
            <a:prstGeom prst="rect">
              <a:avLst/>
            </a:prstGeom>
            <a:noFill/>
          </p:spPr>
          <p:txBody>
            <a:bodyPr wrap="square" lIns="0" tIns="0" rIns="0" bIns="0" rtlCol="0" anchor="t">
              <a:spAutoFit/>
            </a:bodyPr>
            <a:lstStyle/>
            <a:p>
              <a:pPr algn="dist"/>
              <a:r>
                <a:rPr lang="en-US" altLang="zh-CN" sz="1400" dirty="0">
                  <a:solidFill>
                    <a:schemeClr val="bg1"/>
                  </a:solidFill>
                </a:rPr>
                <a:t>Contents Title</a:t>
              </a:r>
              <a:endParaRPr lang="zh-CN" altLang="en-US" sz="1400" dirty="0">
                <a:solidFill>
                  <a:schemeClr val="bg1"/>
                </a:solidFill>
              </a:endParaRPr>
            </a:p>
          </p:txBody>
        </p:sp>
      </p:grpSp>
      <p:grpSp>
        <p:nvGrpSpPr>
          <p:cNvPr id="32" name="组合 31">
            <a:extLst>
              <a:ext uri="{FF2B5EF4-FFF2-40B4-BE49-F238E27FC236}">
                <a16:creationId xmlns:a16="http://schemas.microsoft.com/office/drawing/2014/main" id="{70B0C87C-0F91-4C93-B8C8-A1CC29898C23}"/>
              </a:ext>
            </a:extLst>
          </p:cNvPr>
          <p:cNvGrpSpPr/>
          <p:nvPr/>
        </p:nvGrpSpPr>
        <p:grpSpPr>
          <a:xfrm>
            <a:off x="858905" y="2724045"/>
            <a:ext cx="2335562" cy="3027209"/>
            <a:chOff x="1144032" y="2781300"/>
            <a:chExt cx="2219325" cy="2876550"/>
          </a:xfrm>
          <a:scene3d>
            <a:camera prst="perspectiveFront">
              <a:rot lat="0" lon="20400000" rev="0"/>
            </a:camera>
            <a:lightRig rig="threePt" dir="t"/>
          </a:scene3d>
        </p:grpSpPr>
        <p:sp>
          <p:nvSpPr>
            <p:cNvPr id="33" name="矩形 32">
              <a:extLst>
                <a:ext uri="{FF2B5EF4-FFF2-40B4-BE49-F238E27FC236}">
                  <a16:creationId xmlns:a16="http://schemas.microsoft.com/office/drawing/2014/main" id="{8DCEC48B-BBA3-47F5-9227-53BC230E461E}"/>
                </a:ext>
              </a:extLst>
            </p:cNvPr>
            <p:cNvSpPr/>
            <p:nvPr/>
          </p:nvSpPr>
          <p:spPr>
            <a:xfrm>
              <a:off x="1144032" y="2781300"/>
              <a:ext cx="2219325" cy="28765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p>
          </p:txBody>
        </p:sp>
        <p:sp>
          <p:nvSpPr>
            <p:cNvPr id="34" name="文本框 33">
              <a:extLst>
                <a:ext uri="{FF2B5EF4-FFF2-40B4-BE49-F238E27FC236}">
                  <a16:creationId xmlns:a16="http://schemas.microsoft.com/office/drawing/2014/main" id="{3498D4FA-4380-43F1-AD6E-E94FBD2FE029}"/>
                </a:ext>
              </a:extLst>
            </p:cNvPr>
            <p:cNvSpPr txBox="1"/>
            <p:nvPr/>
          </p:nvSpPr>
          <p:spPr>
            <a:xfrm>
              <a:off x="1903438" y="3094197"/>
              <a:ext cx="665650" cy="701902"/>
            </a:xfrm>
            <a:prstGeom prst="rect">
              <a:avLst/>
            </a:prstGeom>
            <a:noFill/>
          </p:spPr>
          <p:txBody>
            <a:bodyPr wrap="none" lIns="0" tIns="0" rIns="0" bIns="0" rtlCol="0" anchor="t">
              <a:spAutoFit/>
            </a:bodyPr>
            <a:lstStyle/>
            <a:p>
              <a:pPr algn="l"/>
              <a:r>
                <a:rPr lang="en-US" altLang="zh-CN" sz="4800" dirty="0">
                  <a:solidFill>
                    <a:schemeClr val="bg1"/>
                  </a:solidFill>
                  <a:latin typeface="+mj-ea"/>
                  <a:ea typeface="+mj-ea"/>
                </a:rPr>
                <a:t>01</a:t>
              </a:r>
              <a:endParaRPr lang="zh-CN" altLang="en-US" sz="4800" dirty="0">
                <a:solidFill>
                  <a:schemeClr val="bg1"/>
                </a:solidFill>
                <a:latin typeface="+mj-ea"/>
                <a:ea typeface="+mj-ea"/>
              </a:endParaRPr>
            </a:p>
          </p:txBody>
        </p:sp>
        <p:sp>
          <p:nvSpPr>
            <p:cNvPr id="35" name="文本框 34">
              <a:extLst>
                <a:ext uri="{FF2B5EF4-FFF2-40B4-BE49-F238E27FC236}">
                  <a16:creationId xmlns:a16="http://schemas.microsoft.com/office/drawing/2014/main" id="{8E60E0AF-DD1A-4DCC-82D5-291F7133811B}"/>
                </a:ext>
              </a:extLst>
            </p:cNvPr>
            <p:cNvSpPr txBox="1"/>
            <p:nvPr/>
          </p:nvSpPr>
          <p:spPr>
            <a:xfrm>
              <a:off x="1535549" y="3832861"/>
              <a:ext cx="1436291" cy="430887"/>
            </a:xfrm>
            <a:prstGeom prst="rect">
              <a:avLst/>
            </a:prstGeom>
            <a:noFill/>
          </p:spPr>
          <p:txBody>
            <a:bodyPr wrap="none" lIns="0" tIns="0" rIns="0" bIns="0" rtlCol="0" anchor="t">
              <a:spAutoFit/>
            </a:bodyPr>
            <a:lstStyle/>
            <a:p>
              <a:r>
                <a:rPr lang="zh-CN" altLang="en-US" sz="2800" dirty="0">
                  <a:solidFill>
                    <a:schemeClr val="bg1"/>
                  </a:solidFill>
                  <a:latin typeface="+mj-ea"/>
                  <a:ea typeface="+mj-ea"/>
                </a:rPr>
                <a:t>目录标题</a:t>
              </a:r>
            </a:p>
          </p:txBody>
        </p:sp>
        <p:sp>
          <p:nvSpPr>
            <p:cNvPr id="36" name="文本框 35">
              <a:extLst>
                <a:ext uri="{FF2B5EF4-FFF2-40B4-BE49-F238E27FC236}">
                  <a16:creationId xmlns:a16="http://schemas.microsoft.com/office/drawing/2014/main" id="{26234B98-D46F-493E-9085-54EE55D7A670}"/>
                </a:ext>
              </a:extLst>
            </p:cNvPr>
            <p:cNvSpPr txBox="1"/>
            <p:nvPr/>
          </p:nvSpPr>
          <p:spPr>
            <a:xfrm>
              <a:off x="1560711" y="4237650"/>
              <a:ext cx="1385967" cy="215444"/>
            </a:xfrm>
            <a:prstGeom prst="rect">
              <a:avLst/>
            </a:prstGeom>
            <a:noFill/>
          </p:spPr>
          <p:txBody>
            <a:bodyPr wrap="square" lIns="0" tIns="0" rIns="0" bIns="0" rtlCol="0" anchor="t">
              <a:spAutoFit/>
            </a:bodyPr>
            <a:lstStyle/>
            <a:p>
              <a:pPr algn="dist"/>
              <a:r>
                <a:rPr lang="en-US" altLang="zh-CN" sz="1400" dirty="0">
                  <a:solidFill>
                    <a:schemeClr val="bg1"/>
                  </a:solidFill>
                </a:rPr>
                <a:t>Contents Title</a:t>
              </a:r>
              <a:endParaRPr lang="zh-CN" altLang="en-US" sz="1400" dirty="0">
                <a:solidFill>
                  <a:schemeClr val="bg1"/>
                </a:solidFill>
              </a:endParaRPr>
            </a:p>
          </p:txBody>
        </p:sp>
      </p:grpSp>
    </p:spTree>
    <p:extLst>
      <p:ext uri="{BB962C8B-B14F-4D97-AF65-F5344CB8AC3E}">
        <p14:creationId xmlns:p14="http://schemas.microsoft.com/office/powerpoint/2010/main" val="217244779"/>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椭圆 1">
            <a:extLst>
              <a:ext uri="{FF2B5EF4-FFF2-40B4-BE49-F238E27FC236}">
                <a16:creationId xmlns:a16="http://schemas.microsoft.com/office/drawing/2014/main" id="{B9C010C7-9DDD-4DA9-A811-0351BADE2F39}"/>
              </a:ext>
            </a:extLst>
          </p:cNvPr>
          <p:cNvSpPr/>
          <p:nvPr/>
        </p:nvSpPr>
        <p:spPr>
          <a:xfrm>
            <a:off x="479425" y="393700"/>
            <a:ext cx="11233150" cy="11233150"/>
          </a:xfrm>
          <a:prstGeom prst="ellipse">
            <a:avLst/>
          </a:prstGeom>
          <a:noFill/>
          <a:ln w="508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p>
        </p:txBody>
      </p:sp>
      <p:sp>
        <p:nvSpPr>
          <p:cNvPr id="3" name="文本框 2">
            <a:extLst>
              <a:ext uri="{FF2B5EF4-FFF2-40B4-BE49-F238E27FC236}">
                <a16:creationId xmlns:a16="http://schemas.microsoft.com/office/drawing/2014/main" id="{BC2313D7-2CD7-47EF-ABCE-014BE4D61E0A}"/>
              </a:ext>
            </a:extLst>
          </p:cNvPr>
          <p:cNvSpPr txBox="1"/>
          <p:nvPr/>
        </p:nvSpPr>
        <p:spPr>
          <a:xfrm>
            <a:off x="5086350" y="1165067"/>
            <a:ext cx="2150436" cy="430887"/>
          </a:xfrm>
          <a:prstGeom prst="rect">
            <a:avLst/>
          </a:prstGeom>
          <a:noFill/>
        </p:spPr>
        <p:txBody>
          <a:bodyPr wrap="square" lIns="0" tIns="0" rIns="0" bIns="0" rtlCol="0" anchor="t">
            <a:spAutoFit/>
          </a:bodyPr>
          <a:lstStyle/>
          <a:p>
            <a:pPr algn="dist"/>
            <a:r>
              <a:rPr lang="en-US" altLang="zh-CN" sz="2800" dirty="0">
                <a:solidFill>
                  <a:schemeClr val="accent1">
                    <a:alpha val="20000"/>
                  </a:schemeClr>
                </a:solidFill>
                <a:latin typeface="+mj-ea"/>
                <a:ea typeface="+mj-ea"/>
              </a:rPr>
              <a:t>CONTENTS</a:t>
            </a:r>
            <a:endParaRPr lang="zh-CN" altLang="en-US" sz="2800" dirty="0">
              <a:solidFill>
                <a:schemeClr val="accent1">
                  <a:alpha val="20000"/>
                </a:schemeClr>
              </a:solidFill>
              <a:latin typeface="+mj-ea"/>
              <a:ea typeface="+mj-ea"/>
            </a:endParaRPr>
          </a:p>
        </p:txBody>
      </p:sp>
      <p:sp>
        <p:nvSpPr>
          <p:cNvPr id="4" name="文本框 3">
            <a:extLst>
              <a:ext uri="{FF2B5EF4-FFF2-40B4-BE49-F238E27FC236}">
                <a16:creationId xmlns:a16="http://schemas.microsoft.com/office/drawing/2014/main" id="{11B56DFB-1E5A-47E2-95B6-E6447EC3FB69}"/>
              </a:ext>
            </a:extLst>
          </p:cNvPr>
          <p:cNvSpPr txBox="1"/>
          <p:nvPr/>
        </p:nvSpPr>
        <p:spPr>
          <a:xfrm>
            <a:off x="5019675" y="1365866"/>
            <a:ext cx="2152650" cy="1107996"/>
          </a:xfrm>
          <a:prstGeom prst="rect">
            <a:avLst/>
          </a:prstGeom>
          <a:noFill/>
        </p:spPr>
        <p:txBody>
          <a:bodyPr wrap="square" lIns="0" tIns="0" rIns="0" bIns="0" rtlCol="0" anchor="t">
            <a:spAutoFit/>
          </a:bodyPr>
          <a:lstStyle/>
          <a:p>
            <a:pPr algn="dist"/>
            <a:r>
              <a:rPr lang="zh-CN" altLang="en-US" sz="7200" dirty="0">
                <a:solidFill>
                  <a:schemeClr val="accent1"/>
                </a:solidFill>
                <a:latin typeface="+mj-ea"/>
                <a:ea typeface="+mj-ea"/>
              </a:rPr>
              <a:t>目录</a:t>
            </a:r>
          </a:p>
        </p:txBody>
      </p:sp>
      <p:sp>
        <p:nvSpPr>
          <p:cNvPr id="5" name="文本框 4">
            <a:extLst>
              <a:ext uri="{FF2B5EF4-FFF2-40B4-BE49-F238E27FC236}">
                <a16:creationId xmlns:a16="http://schemas.microsoft.com/office/drawing/2014/main" id="{190EB5BC-072D-4F15-9100-E9EF26DA1C0C}"/>
              </a:ext>
            </a:extLst>
          </p:cNvPr>
          <p:cNvSpPr txBox="1"/>
          <p:nvPr/>
        </p:nvSpPr>
        <p:spPr>
          <a:xfrm>
            <a:off x="2583195" y="3609558"/>
            <a:ext cx="1538883" cy="307777"/>
          </a:xfrm>
          <a:prstGeom prst="rect">
            <a:avLst/>
          </a:prstGeom>
          <a:noFill/>
        </p:spPr>
        <p:txBody>
          <a:bodyPr wrap="none" lIns="0" tIns="0" rIns="0" bIns="0" rtlCol="0" anchor="t">
            <a:spAutoFit/>
          </a:bodyPr>
          <a:lstStyle/>
          <a:p>
            <a:pPr algn="ctr"/>
            <a:r>
              <a:rPr lang="zh-CN" altLang="en-US" sz="2000" dirty="0">
                <a:solidFill>
                  <a:schemeClr val="accent1"/>
                </a:solidFill>
                <a:latin typeface="+mj-ea"/>
                <a:ea typeface="+mj-ea"/>
              </a:rPr>
              <a:t>输入目录标题</a:t>
            </a:r>
          </a:p>
        </p:txBody>
      </p:sp>
      <p:sp>
        <p:nvSpPr>
          <p:cNvPr id="6" name="文本框 5">
            <a:extLst>
              <a:ext uri="{FF2B5EF4-FFF2-40B4-BE49-F238E27FC236}">
                <a16:creationId xmlns:a16="http://schemas.microsoft.com/office/drawing/2014/main" id="{6AED8E09-E099-43F2-AF09-C5957F68A60A}"/>
              </a:ext>
            </a:extLst>
          </p:cNvPr>
          <p:cNvSpPr txBox="1"/>
          <p:nvPr/>
        </p:nvSpPr>
        <p:spPr>
          <a:xfrm>
            <a:off x="2596294" y="3923103"/>
            <a:ext cx="1512684" cy="169277"/>
          </a:xfrm>
          <a:prstGeom prst="rect">
            <a:avLst/>
          </a:prstGeom>
          <a:noFill/>
        </p:spPr>
        <p:txBody>
          <a:bodyPr wrap="square" lIns="0" tIns="0" rIns="0" bIns="0" rtlCol="0" anchor="t">
            <a:spAutoFit/>
          </a:bodyPr>
          <a:lstStyle/>
          <a:p>
            <a:pPr algn="dist"/>
            <a:r>
              <a:rPr lang="en-US" altLang="zh-CN" sz="1100" dirty="0">
                <a:solidFill>
                  <a:schemeClr val="accent1"/>
                </a:solidFill>
              </a:rPr>
              <a:t>Contents Title Here</a:t>
            </a:r>
            <a:endParaRPr lang="zh-CN" altLang="en-US" sz="1100" dirty="0">
              <a:solidFill>
                <a:schemeClr val="accent1"/>
              </a:solidFill>
            </a:endParaRPr>
          </a:p>
        </p:txBody>
      </p:sp>
      <p:sp>
        <p:nvSpPr>
          <p:cNvPr id="7" name="文本框 6">
            <a:extLst>
              <a:ext uri="{FF2B5EF4-FFF2-40B4-BE49-F238E27FC236}">
                <a16:creationId xmlns:a16="http://schemas.microsoft.com/office/drawing/2014/main" id="{70317E7A-335A-41DD-8304-8CAC9F733505}"/>
              </a:ext>
            </a:extLst>
          </p:cNvPr>
          <p:cNvSpPr txBox="1"/>
          <p:nvPr/>
        </p:nvSpPr>
        <p:spPr>
          <a:xfrm>
            <a:off x="3119399" y="3271003"/>
            <a:ext cx="466474" cy="492443"/>
          </a:xfrm>
          <a:prstGeom prst="rect">
            <a:avLst/>
          </a:prstGeom>
          <a:noFill/>
        </p:spPr>
        <p:txBody>
          <a:bodyPr wrap="none" lIns="0" tIns="0" rIns="0" bIns="0" rtlCol="0" anchor="t">
            <a:spAutoFit/>
          </a:bodyPr>
          <a:lstStyle/>
          <a:p>
            <a:pPr algn="l"/>
            <a:r>
              <a:rPr lang="en-US" altLang="zh-CN" sz="3200" dirty="0">
                <a:gradFill>
                  <a:gsLst>
                    <a:gs pos="0">
                      <a:schemeClr val="accent1"/>
                    </a:gs>
                    <a:gs pos="77000">
                      <a:schemeClr val="accent1">
                        <a:alpha val="0"/>
                      </a:schemeClr>
                    </a:gs>
                  </a:gsLst>
                  <a:lin ang="5400000" scaled="1"/>
                </a:gradFill>
                <a:latin typeface="+mj-ea"/>
                <a:ea typeface="+mj-ea"/>
              </a:rPr>
              <a:t>01</a:t>
            </a:r>
            <a:endParaRPr lang="zh-CN" altLang="en-US" sz="3200" dirty="0">
              <a:gradFill>
                <a:gsLst>
                  <a:gs pos="0">
                    <a:schemeClr val="accent1"/>
                  </a:gs>
                  <a:gs pos="77000">
                    <a:schemeClr val="accent1">
                      <a:alpha val="0"/>
                    </a:schemeClr>
                  </a:gs>
                </a:gsLst>
                <a:lin ang="5400000" scaled="1"/>
              </a:gradFill>
              <a:latin typeface="+mj-ea"/>
              <a:ea typeface="+mj-ea"/>
            </a:endParaRPr>
          </a:p>
        </p:txBody>
      </p:sp>
      <p:sp>
        <p:nvSpPr>
          <p:cNvPr id="10" name="文本框 9">
            <a:extLst>
              <a:ext uri="{FF2B5EF4-FFF2-40B4-BE49-F238E27FC236}">
                <a16:creationId xmlns:a16="http://schemas.microsoft.com/office/drawing/2014/main" id="{085FE58C-38AC-4ED2-B923-DDD19854F124}"/>
              </a:ext>
            </a:extLst>
          </p:cNvPr>
          <p:cNvSpPr txBox="1"/>
          <p:nvPr/>
        </p:nvSpPr>
        <p:spPr>
          <a:xfrm>
            <a:off x="5326559" y="3609558"/>
            <a:ext cx="1538883" cy="307777"/>
          </a:xfrm>
          <a:prstGeom prst="rect">
            <a:avLst/>
          </a:prstGeom>
          <a:noFill/>
        </p:spPr>
        <p:txBody>
          <a:bodyPr wrap="none" lIns="0" tIns="0" rIns="0" bIns="0" rtlCol="0" anchor="t">
            <a:spAutoFit/>
          </a:bodyPr>
          <a:lstStyle/>
          <a:p>
            <a:pPr algn="ctr"/>
            <a:r>
              <a:rPr lang="zh-CN" altLang="en-US" sz="2000" dirty="0">
                <a:solidFill>
                  <a:schemeClr val="accent1"/>
                </a:solidFill>
                <a:latin typeface="+mj-ea"/>
                <a:ea typeface="+mj-ea"/>
              </a:rPr>
              <a:t>输入目录标题</a:t>
            </a:r>
          </a:p>
        </p:txBody>
      </p:sp>
      <p:sp>
        <p:nvSpPr>
          <p:cNvPr id="11" name="文本框 10">
            <a:extLst>
              <a:ext uri="{FF2B5EF4-FFF2-40B4-BE49-F238E27FC236}">
                <a16:creationId xmlns:a16="http://schemas.microsoft.com/office/drawing/2014/main" id="{1A4795C5-A4A4-4C4C-8AD2-18A1EDE946B6}"/>
              </a:ext>
            </a:extLst>
          </p:cNvPr>
          <p:cNvSpPr txBox="1"/>
          <p:nvPr/>
        </p:nvSpPr>
        <p:spPr>
          <a:xfrm>
            <a:off x="5339658" y="3923103"/>
            <a:ext cx="1512684" cy="169277"/>
          </a:xfrm>
          <a:prstGeom prst="rect">
            <a:avLst/>
          </a:prstGeom>
          <a:noFill/>
        </p:spPr>
        <p:txBody>
          <a:bodyPr wrap="square" lIns="0" tIns="0" rIns="0" bIns="0" rtlCol="0" anchor="t">
            <a:spAutoFit/>
          </a:bodyPr>
          <a:lstStyle/>
          <a:p>
            <a:pPr algn="dist"/>
            <a:r>
              <a:rPr lang="en-US" altLang="zh-CN" sz="1100" dirty="0">
                <a:solidFill>
                  <a:schemeClr val="accent1"/>
                </a:solidFill>
              </a:rPr>
              <a:t>Contents Title Here</a:t>
            </a:r>
            <a:endParaRPr lang="zh-CN" altLang="en-US" sz="1100" dirty="0">
              <a:solidFill>
                <a:schemeClr val="accent1"/>
              </a:solidFill>
            </a:endParaRPr>
          </a:p>
        </p:txBody>
      </p:sp>
      <p:sp>
        <p:nvSpPr>
          <p:cNvPr id="12" name="文本框 11">
            <a:extLst>
              <a:ext uri="{FF2B5EF4-FFF2-40B4-BE49-F238E27FC236}">
                <a16:creationId xmlns:a16="http://schemas.microsoft.com/office/drawing/2014/main" id="{9963DFDA-7D49-40B8-8471-C919B0E13F2F}"/>
              </a:ext>
            </a:extLst>
          </p:cNvPr>
          <p:cNvSpPr txBox="1"/>
          <p:nvPr/>
        </p:nvSpPr>
        <p:spPr>
          <a:xfrm>
            <a:off x="5862763" y="3271003"/>
            <a:ext cx="538609" cy="492443"/>
          </a:xfrm>
          <a:prstGeom prst="rect">
            <a:avLst/>
          </a:prstGeom>
          <a:noFill/>
        </p:spPr>
        <p:txBody>
          <a:bodyPr wrap="none" lIns="0" tIns="0" rIns="0" bIns="0" rtlCol="0" anchor="t">
            <a:spAutoFit/>
          </a:bodyPr>
          <a:lstStyle/>
          <a:p>
            <a:pPr algn="l"/>
            <a:r>
              <a:rPr lang="en-US" altLang="zh-CN" sz="3200" dirty="0">
                <a:gradFill>
                  <a:gsLst>
                    <a:gs pos="0">
                      <a:schemeClr val="accent1"/>
                    </a:gs>
                    <a:gs pos="77000">
                      <a:schemeClr val="accent1">
                        <a:alpha val="0"/>
                      </a:schemeClr>
                    </a:gs>
                  </a:gsLst>
                  <a:lin ang="5400000" scaled="1"/>
                </a:gradFill>
                <a:latin typeface="+mj-ea"/>
                <a:ea typeface="+mj-ea"/>
              </a:rPr>
              <a:t>02</a:t>
            </a:r>
            <a:endParaRPr lang="zh-CN" altLang="en-US" sz="3200" dirty="0">
              <a:gradFill>
                <a:gsLst>
                  <a:gs pos="0">
                    <a:schemeClr val="accent1"/>
                  </a:gs>
                  <a:gs pos="77000">
                    <a:schemeClr val="accent1">
                      <a:alpha val="0"/>
                    </a:schemeClr>
                  </a:gs>
                </a:gsLst>
                <a:lin ang="5400000" scaled="1"/>
              </a:gradFill>
              <a:latin typeface="+mj-ea"/>
              <a:ea typeface="+mj-ea"/>
            </a:endParaRPr>
          </a:p>
        </p:txBody>
      </p:sp>
      <p:sp>
        <p:nvSpPr>
          <p:cNvPr id="18" name="文本框 17">
            <a:extLst>
              <a:ext uri="{FF2B5EF4-FFF2-40B4-BE49-F238E27FC236}">
                <a16:creationId xmlns:a16="http://schemas.microsoft.com/office/drawing/2014/main" id="{240E11F6-B508-4923-AC54-B80B1B83BEAC}"/>
              </a:ext>
            </a:extLst>
          </p:cNvPr>
          <p:cNvSpPr txBox="1"/>
          <p:nvPr/>
        </p:nvSpPr>
        <p:spPr>
          <a:xfrm>
            <a:off x="8069923" y="3609558"/>
            <a:ext cx="1538883" cy="307777"/>
          </a:xfrm>
          <a:prstGeom prst="rect">
            <a:avLst/>
          </a:prstGeom>
          <a:noFill/>
        </p:spPr>
        <p:txBody>
          <a:bodyPr wrap="none" lIns="0" tIns="0" rIns="0" bIns="0" rtlCol="0" anchor="t">
            <a:spAutoFit/>
          </a:bodyPr>
          <a:lstStyle/>
          <a:p>
            <a:pPr algn="ctr"/>
            <a:r>
              <a:rPr lang="zh-CN" altLang="en-US" sz="2000" dirty="0">
                <a:solidFill>
                  <a:schemeClr val="accent1"/>
                </a:solidFill>
                <a:latin typeface="+mj-ea"/>
                <a:ea typeface="+mj-ea"/>
              </a:rPr>
              <a:t>输入目录标题</a:t>
            </a:r>
          </a:p>
        </p:txBody>
      </p:sp>
      <p:sp>
        <p:nvSpPr>
          <p:cNvPr id="19" name="文本框 18">
            <a:extLst>
              <a:ext uri="{FF2B5EF4-FFF2-40B4-BE49-F238E27FC236}">
                <a16:creationId xmlns:a16="http://schemas.microsoft.com/office/drawing/2014/main" id="{18FCC880-3FD3-47F3-8A56-B8A3671AC4D0}"/>
              </a:ext>
            </a:extLst>
          </p:cNvPr>
          <p:cNvSpPr txBox="1"/>
          <p:nvPr/>
        </p:nvSpPr>
        <p:spPr>
          <a:xfrm>
            <a:off x="8083022" y="3923103"/>
            <a:ext cx="1512684" cy="169277"/>
          </a:xfrm>
          <a:prstGeom prst="rect">
            <a:avLst/>
          </a:prstGeom>
          <a:noFill/>
        </p:spPr>
        <p:txBody>
          <a:bodyPr wrap="square" lIns="0" tIns="0" rIns="0" bIns="0" rtlCol="0" anchor="t">
            <a:spAutoFit/>
          </a:bodyPr>
          <a:lstStyle/>
          <a:p>
            <a:pPr algn="dist"/>
            <a:r>
              <a:rPr lang="en-US" altLang="zh-CN" sz="1100" dirty="0">
                <a:solidFill>
                  <a:schemeClr val="accent1"/>
                </a:solidFill>
              </a:rPr>
              <a:t>Contents Title Here</a:t>
            </a:r>
            <a:endParaRPr lang="zh-CN" altLang="en-US" sz="1100" dirty="0">
              <a:solidFill>
                <a:schemeClr val="accent1"/>
              </a:solidFill>
            </a:endParaRPr>
          </a:p>
        </p:txBody>
      </p:sp>
      <p:sp>
        <p:nvSpPr>
          <p:cNvPr id="20" name="文本框 19">
            <a:extLst>
              <a:ext uri="{FF2B5EF4-FFF2-40B4-BE49-F238E27FC236}">
                <a16:creationId xmlns:a16="http://schemas.microsoft.com/office/drawing/2014/main" id="{062BC30B-9BFC-4CA9-80C5-70D66C66E2BB}"/>
              </a:ext>
            </a:extLst>
          </p:cNvPr>
          <p:cNvSpPr txBox="1"/>
          <p:nvPr/>
        </p:nvSpPr>
        <p:spPr>
          <a:xfrm>
            <a:off x="8606127" y="3271003"/>
            <a:ext cx="538609" cy="492443"/>
          </a:xfrm>
          <a:prstGeom prst="rect">
            <a:avLst/>
          </a:prstGeom>
          <a:noFill/>
        </p:spPr>
        <p:txBody>
          <a:bodyPr wrap="none" lIns="0" tIns="0" rIns="0" bIns="0" rtlCol="0" anchor="t">
            <a:spAutoFit/>
          </a:bodyPr>
          <a:lstStyle/>
          <a:p>
            <a:pPr algn="l"/>
            <a:r>
              <a:rPr lang="en-US" altLang="zh-CN" sz="3200" dirty="0">
                <a:gradFill>
                  <a:gsLst>
                    <a:gs pos="0">
                      <a:schemeClr val="accent1"/>
                    </a:gs>
                    <a:gs pos="77000">
                      <a:schemeClr val="accent1">
                        <a:alpha val="0"/>
                      </a:schemeClr>
                    </a:gs>
                  </a:gsLst>
                  <a:lin ang="5400000" scaled="1"/>
                </a:gradFill>
                <a:latin typeface="+mj-ea"/>
                <a:ea typeface="+mj-ea"/>
              </a:rPr>
              <a:t>03</a:t>
            </a:r>
            <a:endParaRPr lang="zh-CN" altLang="en-US" sz="3200" dirty="0">
              <a:gradFill>
                <a:gsLst>
                  <a:gs pos="0">
                    <a:schemeClr val="accent1"/>
                  </a:gs>
                  <a:gs pos="77000">
                    <a:schemeClr val="accent1">
                      <a:alpha val="0"/>
                    </a:schemeClr>
                  </a:gs>
                </a:gsLst>
                <a:lin ang="5400000" scaled="1"/>
              </a:gradFill>
              <a:latin typeface="+mj-ea"/>
              <a:ea typeface="+mj-ea"/>
            </a:endParaRPr>
          </a:p>
        </p:txBody>
      </p:sp>
      <p:sp>
        <p:nvSpPr>
          <p:cNvPr id="23" name="文本框 22">
            <a:extLst>
              <a:ext uri="{FF2B5EF4-FFF2-40B4-BE49-F238E27FC236}">
                <a16:creationId xmlns:a16="http://schemas.microsoft.com/office/drawing/2014/main" id="{E8AEE92D-B95D-4E88-B1FA-172D2CF0FA1B}"/>
              </a:ext>
            </a:extLst>
          </p:cNvPr>
          <p:cNvSpPr txBox="1"/>
          <p:nvPr/>
        </p:nvSpPr>
        <p:spPr>
          <a:xfrm>
            <a:off x="2583195" y="5004018"/>
            <a:ext cx="1538883" cy="307777"/>
          </a:xfrm>
          <a:prstGeom prst="rect">
            <a:avLst/>
          </a:prstGeom>
          <a:noFill/>
        </p:spPr>
        <p:txBody>
          <a:bodyPr wrap="none" lIns="0" tIns="0" rIns="0" bIns="0" rtlCol="0" anchor="t">
            <a:spAutoFit/>
          </a:bodyPr>
          <a:lstStyle/>
          <a:p>
            <a:pPr algn="ctr"/>
            <a:r>
              <a:rPr lang="zh-CN" altLang="en-US" sz="2000" dirty="0">
                <a:solidFill>
                  <a:schemeClr val="accent1"/>
                </a:solidFill>
                <a:latin typeface="+mj-ea"/>
                <a:ea typeface="+mj-ea"/>
              </a:rPr>
              <a:t>输入目录标题</a:t>
            </a:r>
          </a:p>
        </p:txBody>
      </p:sp>
      <p:sp>
        <p:nvSpPr>
          <p:cNvPr id="24" name="文本框 23">
            <a:extLst>
              <a:ext uri="{FF2B5EF4-FFF2-40B4-BE49-F238E27FC236}">
                <a16:creationId xmlns:a16="http://schemas.microsoft.com/office/drawing/2014/main" id="{84D1FD1D-B1A4-4067-839C-9F10AA2A7C49}"/>
              </a:ext>
            </a:extLst>
          </p:cNvPr>
          <p:cNvSpPr txBox="1"/>
          <p:nvPr/>
        </p:nvSpPr>
        <p:spPr>
          <a:xfrm>
            <a:off x="2596294" y="5317563"/>
            <a:ext cx="1512684" cy="169277"/>
          </a:xfrm>
          <a:prstGeom prst="rect">
            <a:avLst/>
          </a:prstGeom>
          <a:noFill/>
        </p:spPr>
        <p:txBody>
          <a:bodyPr wrap="square" lIns="0" tIns="0" rIns="0" bIns="0" rtlCol="0" anchor="t">
            <a:spAutoFit/>
          </a:bodyPr>
          <a:lstStyle/>
          <a:p>
            <a:pPr algn="dist"/>
            <a:r>
              <a:rPr lang="en-US" altLang="zh-CN" sz="1100" dirty="0">
                <a:solidFill>
                  <a:schemeClr val="accent1"/>
                </a:solidFill>
              </a:rPr>
              <a:t>Contents Title Here</a:t>
            </a:r>
            <a:endParaRPr lang="zh-CN" altLang="en-US" sz="1100" dirty="0">
              <a:solidFill>
                <a:schemeClr val="accent1"/>
              </a:solidFill>
            </a:endParaRPr>
          </a:p>
        </p:txBody>
      </p:sp>
      <p:sp>
        <p:nvSpPr>
          <p:cNvPr id="25" name="文本框 24">
            <a:extLst>
              <a:ext uri="{FF2B5EF4-FFF2-40B4-BE49-F238E27FC236}">
                <a16:creationId xmlns:a16="http://schemas.microsoft.com/office/drawing/2014/main" id="{A44AF909-9DAD-48FD-84CE-A4EBFC1C2959}"/>
              </a:ext>
            </a:extLst>
          </p:cNvPr>
          <p:cNvSpPr txBox="1"/>
          <p:nvPr/>
        </p:nvSpPr>
        <p:spPr>
          <a:xfrm>
            <a:off x="3119399" y="4665463"/>
            <a:ext cx="538609" cy="492443"/>
          </a:xfrm>
          <a:prstGeom prst="rect">
            <a:avLst/>
          </a:prstGeom>
          <a:noFill/>
        </p:spPr>
        <p:txBody>
          <a:bodyPr wrap="none" lIns="0" tIns="0" rIns="0" bIns="0" rtlCol="0" anchor="t">
            <a:spAutoFit/>
          </a:bodyPr>
          <a:lstStyle/>
          <a:p>
            <a:pPr algn="l"/>
            <a:r>
              <a:rPr lang="en-US" altLang="zh-CN" sz="3200" dirty="0">
                <a:gradFill>
                  <a:gsLst>
                    <a:gs pos="0">
                      <a:schemeClr val="accent1"/>
                    </a:gs>
                    <a:gs pos="77000">
                      <a:schemeClr val="accent1">
                        <a:alpha val="0"/>
                      </a:schemeClr>
                    </a:gs>
                  </a:gsLst>
                  <a:lin ang="5400000" scaled="1"/>
                </a:gradFill>
                <a:latin typeface="+mj-ea"/>
                <a:ea typeface="+mj-ea"/>
              </a:rPr>
              <a:t>04</a:t>
            </a:r>
            <a:endParaRPr lang="zh-CN" altLang="en-US" sz="3200" dirty="0">
              <a:gradFill>
                <a:gsLst>
                  <a:gs pos="0">
                    <a:schemeClr val="accent1"/>
                  </a:gs>
                  <a:gs pos="77000">
                    <a:schemeClr val="accent1">
                      <a:alpha val="0"/>
                    </a:schemeClr>
                  </a:gs>
                </a:gsLst>
                <a:lin ang="5400000" scaled="1"/>
              </a:gradFill>
              <a:latin typeface="+mj-ea"/>
              <a:ea typeface="+mj-ea"/>
            </a:endParaRPr>
          </a:p>
        </p:txBody>
      </p:sp>
      <p:sp>
        <p:nvSpPr>
          <p:cNvPr id="27" name="文本框 26">
            <a:extLst>
              <a:ext uri="{FF2B5EF4-FFF2-40B4-BE49-F238E27FC236}">
                <a16:creationId xmlns:a16="http://schemas.microsoft.com/office/drawing/2014/main" id="{1B4F473A-6972-4527-9E5D-39BC8337F9F9}"/>
              </a:ext>
            </a:extLst>
          </p:cNvPr>
          <p:cNvSpPr txBox="1"/>
          <p:nvPr/>
        </p:nvSpPr>
        <p:spPr>
          <a:xfrm>
            <a:off x="5326559" y="5004018"/>
            <a:ext cx="1538883" cy="307777"/>
          </a:xfrm>
          <a:prstGeom prst="rect">
            <a:avLst/>
          </a:prstGeom>
          <a:noFill/>
        </p:spPr>
        <p:txBody>
          <a:bodyPr wrap="none" lIns="0" tIns="0" rIns="0" bIns="0" rtlCol="0" anchor="t">
            <a:spAutoFit/>
          </a:bodyPr>
          <a:lstStyle/>
          <a:p>
            <a:pPr algn="ctr"/>
            <a:r>
              <a:rPr lang="zh-CN" altLang="en-US" sz="2000" dirty="0">
                <a:solidFill>
                  <a:schemeClr val="accent1"/>
                </a:solidFill>
                <a:latin typeface="+mj-ea"/>
                <a:ea typeface="+mj-ea"/>
              </a:rPr>
              <a:t>输入目录标题</a:t>
            </a:r>
          </a:p>
        </p:txBody>
      </p:sp>
      <p:sp>
        <p:nvSpPr>
          <p:cNvPr id="28" name="文本框 27">
            <a:extLst>
              <a:ext uri="{FF2B5EF4-FFF2-40B4-BE49-F238E27FC236}">
                <a16:creationId xmlns:a16="http://schemas.microsoft.com/office/drawing/2014/main" id="{E42FFAD2-161A-43E3-AD98-810525A8D76E}"/>
              </a:ext>
            </a:extLst>
          </p:cNvPr>
          <p:cNvSpPr txBox="1"/>
          <p:nvPr/>
        </p:nvSpPr>
        <p:spPr>
          <a:xfrm>
            <a:off x="5339658" y="5317563"/>
            <a:ext cx="1512684" cy="169277"/>
          </a:xfrm>
          <a:prstGeom prst="rect">
            <a:avLst/>
          </a:prstGeom>
          <a:noFill/>
        </p:spPr>
        <p:txBody>
          <a:bodyPr wrap="square" lIns="0" tIns="0" rIns="0" bIns="0" rtlCol="0" anchor="t">
            <a:spAutoFit/>
          </a:bodyPr>
          <a:lstStyle/>
          <a:p>
            <a:pPr algn="dist"/>
            <a:r>
              <a:rPr lang="en-US" altLang="zh-CN" sz="1100" dirty="0">
                <a:solidFill>
                  <a:schemeClr val="accent1"/>
                </a:solidFill>
              </a:rPr>
              <a:t>Contents Title Here</a:t>
            </a:r>
            <a:endParaRPr lang="zh-CN" altLang="en-US" sz="1100" dirty="0">
              <a:solidFill>
                <a:schemeClr val="accent1"/>
              </a:solidFill>
            </a:endParaRPr>
          </a:p>
        </p:txBody>
      </p:sp>
      <p:sp>
        <p:nvSpPr>
          <p:cNvPr id="29" name="文本框 28">
            <a:extLst>
              <a:ext uri="{FF2B5EF4-FFF2-40B4-BE49-F238E27FC236}">
                <a16:creationId xmlns:a16="http://schemas.microsoft.com/office/drawing/2014/main" id="{8914B8DF-C08F-44FB-BD83-DBAEC732CF11}"/>
              </a:ext>
            </a:extLst>
          </p:cNvPr>
          <p:cNvSpPr txBox="1"/>
          <p:nvPr/>
        </p:nvSpPr>
        <p:spPr>
          <a:xfrm>
            <a:off x="5862763" y="4665463"/>
            <a:ext cx="538609" cy="492443"/>
          </a:xfrm>
          <a:prstGeom prst="rect">
            <a:avLst/>
          </a:prstGeom>
          <a:noFill/>
        </p:spPr>
        <p:txBody>
          <a:bodyPr wrap="none" lIns="0" tIns="0" rIns="0" bIns="0" rtlCol="0" anchor="t">
            <a:spAutoFit/>
          </a:bodyPr>
          <a:lstStyle/>
          <a:p>
            <a:pPr algn="l"/>
            <a:r>
              <a:rPr lang="en-US" altLang="zh-CN" sz="3200" dirty="0">
                <a:gradFill>
                  <a:gsLst>
                    <a:gs pos="0">
                      <a:schemeClr val="accent1"/>
                    </a:gs>
                    <a:gs pos="77000">
                      <a:schemeClr val="accent1">
                        <a:alpha val="0"/>
                      </a:schemeClr>
                    </a:gs>
                  </a:gsLst>
                  <a:lin ang="5400000" scaled="1"/>
                </a:gradFill>
                <a:latin typeface="+mj-ea"/>
                <a:ea typeface="+mj-ea"/>
              </a:rPr>
              <a:t>05</a:t>
            </a:r>
            <a:endParaRPr lang="zh-CN" altLang="en-US" sz="3200" dirty="0">
              <a:gradFill>
                <a:gsLst>
                  <a:gs pos="0">
                    <a:schemeClr val="accent1"/>
                  </a:gs>
                  <a:gs pos="77000">
                    <a:schemeClr val="accent1">
                      <a:alpha val="0"/>
                    </a:schemeClr>
                  </a:gs>
                </a:gsLst>
                <a:lin ang="5400000" scaled="1"/>
              </a:gradFill>
              <a:latin typeface="+mj-ea"/>
              <a:ea typeface="+mj-ea"/>
            </a:endParaRPr>
          </a:p>
        </p:txBody>
      </p:sp>
      <p:sp>
        <p:nvSpPr>
          <p:cNvPr id="31" name="文本框 30">
            <a:extLst>
              <a:ext uri="{FF2B5EF4-FFF2-40B4-BE49-F238E27FC236}">
                <a16:creationId xmlns:a16="http://schemas.microsoft.com/office/drawing/2014/main" id="{D9B41738-E84B-41E1-B60D-E7EB228C7216}"/>
              </a:ext>
            </a:extLst>
          </p:cNvPr>
          <p:cNvSpPr txBox="1"/>
          <p:nvPr/>
        </p:nvSpPr>
        <p:spPr>
          <a:xfrm>
            <a:off x="8069923" y="5004018"/>
            <a:ext cx="1538883" cy="307777"/>
          </a:xfrm>
          <a:prstGeom prst="rect">
            <a:avLst/>
          </a:prstGeom>
          <a:noFill/>
        </p:spPr>
        <p:txBody>
          <a:bodyPr wrap="none" lIns="0" tIns="0" rIns="0" bIns="0" rtlCol="0" anchor="t">
            <a:spAutoFit/>
          </a:bodyPr>
          <a:lstStyle/>
          <a:p>
            <a:pPr algn="ctr"/>
            <a:r>
              <a:rPr lang="zh-CN" altLang="en-US" sz="2000" dirty="0">
                <a:solidFill>
                  <a:schemeClr val="accent1"/>
                </a:solidFill>
                <a:latin typeface="+mj-ea"/>
                <a:ea typeface="+mj-ea"/>
              </a:rPr>
              <a:t>输入目录标题</a:t>
            </a:r>
          </a:p>
        </p:txBody>
      </p:sp>
      <p:sp>
        <p:nvSpPr>
          <p:cNvPr id="32" name="文本框 31">
            <a:extLst>
              <a:ext uri="{FF2B5EF4-FFF2-40B4-BE49-F238E27FC236}">
                <a16:creationId xmlns:a16="http://schemas.microsoft.com/office/drawing/2014/main" id="{F1EE7AA2-62E9-4634-8A78-E889B4070DEC}"/>
              </a:ext>
            </a:extLst>
          </p:cNvPr>
          <p:cNvSpPr txBox="1"/>
          <p:nvPr/>
        </p:nvSpPr>
        <p:spPr>
          <a:xfrm>
            <a:off x="8083022" y="5317563"/>
            <a:ext cx="1512684" cy="169277"/>
          </a:xfrm>
          <a:prstGeom prst="rect">
            <a:avLst/>
          </a:prstGeom>
          <a:noFill/>
        </p:spPr>
        <p:txBody>
          <a:bodyPr wrap="square" lIns="0" tIns="0" rIns="0" bIns="0" rtlCol="0" anchor="t">
            <a:spAutoFit/>
          </a:bodyPr>
          <a:lstStyle/>
          <a:p>
            <a:pPr algn="dist"/>
            <a:r>
              <a:rPr lang="en-US" altLang="zh-CN" sz="1100" dirty="0">
                <a:solidFill>
                  <a:schemeClr val="accent1"/>
                </a:solidFill>
              </a:rPr>
              <a:t>Contents Title Here</a:t>
            </a:r>
            <a:endParaRPr lang="zh-CN" altLang="en-US" sz="1100" dirty="0">
              <a:solidFill>
                <a:schemeClr val="accent1"/>
              </a:solidFill>
            </a:endParaRPr>
          </a:p>
        </p:txBody>
      </p:sp>
      <p:sp>
        <p:nvSpPr>
          <p:cNvPr id="33" name="文本框 32">
            <a:extLst>
              <a:ext uri="{FF2B5EF4-FFF2-40B4-BE49-F238E27FC236}">
                <a16:creationId xmlns:a16="http://schemas.microsoft.com/office/drawing/2014/main" id="{846CAFF5-D537-4B8F-B7F1-7D595B7182F8}"/>
              </a:ext>
            </a:extLst>
          </p:cNvPr>
          <p:cNvSpPr txBox="1"/>
          <p:nvPr/>
        </p:nvSpPr>
        <p:spPr>
          <a:xfrm>
            <a:off x="8606127" y="4665463"/>
            <a:ext cx="538609" cy="492443"/>
          </a:xfrm>
          <a:prstGeom prst="rect">
            <a:avLst/>
          </a:prstGeom>
          <a:noFill/>
        </p:spPr>
        <p:txBody>
          <a:bodyPr wrap="none" lIns="0" tIns="0" rIns="0" bIns="0" rtlCol="0" anchor="t">
            <a:spAutoFit/>
          </a:bodyPr>
          <a:lstStyle/>
          <a:p>
            <a:pPr algn="l"/>
            <a:r>
              <a:rPr lang="en-US" altLang="zh-CN" sz="3200" dirty="0">
                <a:gradFill>
                  <a:gsLst>
                    <a:gs pos="0">
                      <a:schemeClr val="accent1"/>
                    </a:gs>
                    <a:gs pos="77000">
                      <a:schemeClr val="accent1">
                        <a:alpha val="0"/>
                      </a:schemeClr>
                    </a:gs>
                  </a:gsLst>
                  <a:lin ang="5400000" scaled="1"/>
                </a:gradFill>
                <a:latin typeface="+mj-ea"/>
                <a:ea typeface="+mj-ea"/>
              </a:rPr>
              <a:t>06</a:t>
            </a:r>
            <a:endParaRPr lang="zh-CN" altLang="en-US" sz="3200" dirty="0">
              <a:gradFill>
                <a:gsLst>
                  <a:gs pos="0">
                    <a:schemeClr val="accent1"/>
                  </a:gs>
                  <a:gs pos="77000">
                    <a:schemeClr val="accent1">
                      <a:alpha val="0"/>
                    </a:schemeClr>
                  </a:gs>
                </a:gsLst>
                <a:lin ang="5400000" scaled="1"/>
              </a:gradFill>
              <a:latin typeface="+mj-ea"/>
              <a:ea typeface="+mj-ea"/>
            </a:endParaRPr>
          </a:p>
        </p:txBody>
      </p:sp>
      <p:grpSp>
        <p:nvGrpSpPr>
          <p:cNvPr id="37" name="组合 36">
            <a:extLst>
              <a:ext uri="{FF2B5EF4-FFF2-40B4-BE49-F238E27FC236}">
                <a16:creationId xmlns:a16="http://schemas.microsoft.com/office/drawing/2014/main" id="{C63CACC3-A995-48C0-97CA-C24D73100A04}"/>
              </a:ext>
            </a:extLst>
          </p:cNvPr>
          <p:cNvGrpSpPr/>
          <p:nvPr/>
        </p:nvGrpSpPr>
        <p:grpSpPr>
          <a:xfrm>
            <a:off x="6942798" y="1753798"/>
            <a:ext cx="1388402" cy="361422"/>
            <a:chOff x="7219554" y="1692534"/>
            <a:chExt cx="1102915" cy="361422"/>
          </a:xfrm>
        </p:grpSpPr>
        <p:sp>
          <p:nvSpPr>
            <p:cNvPr id="34" name="平行四边形 33">
              <a:extLst>
                <a:ext uri="{FF2B5EF4-FFF2-40B4-BE49-F238E27FC236}">
                  <a16:creationId xmlns:a16="http://schemas.microsoft.com/office/drawing/2014/main" id="{0D26404D-777E-43CC-B03E-0C67DFAF667E}"/>
                </a:ext>
              </a:extLst>
            </p:cNvPr>
            <p:cNvSpPr/>
            <p:nvPr/>
          </p:nvSpPr>
          <p:spPr>
            <a:xfrm>
              <a:off x="7219554" y="1692534"/>
              <a:ext cx="850369" cy="57686"/>
            </a:xfrm>
            <a:prstGeom prst="parallelogram">
              <a:avLst>
                <a:gd name="adj" fmla="val 91048"/>
              </a:avLst>
            </a:prstGeom>
            <a:gradFill>
              <a:gsLst>
                <a:gs pos="20000">
                  <a:schemeClr val="accent1">
                    <a:alpha val="0"/>
                  </a:schemeClr>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p>
          </p:txBody>
        </p:sp>
        <p:sp>
          <p:nvSpPr>
            <p:cNvPr id="35" name="平行四边形 34">
              <a:extLst>
                <a:ext uri="{FF2B5EF4-FFF2-40B4-BE49-F238E27FC236}">
                  <a16:creationId xmlns:a16="http://schemas.microsoft.com/office/drawing/2014/main" id="{00A17AA5-0E5D-4EC9-A96E-43318E66D12B}"/>
                </a:ext>
              </a:extLst>
            </p:cNvPr>
            <p:cNvSpPr/>
            <p:nvPr/>
          </p:nvSpPr>
          <p:spPr>
            <a:xfrm>
              <a:off x="7393385" y="1820119"/>
              <a:ext cx="929084" cy="118219"/>
            </a:xfrm>
            <a:prstGeom prst="parallelogram">
              <a:avLst>
                <a:gd name="adj" fmla="val 67300"/>
              </a:avLst>
            </a:prstGeom>
            <a:gradFill>
              <a:gsLst>
                <a:gs pos="20000">
                  <a:schemeClr val="accent1">
                    <a:alpha val="0"/>
                  </a:schemeClr>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p>
          </p:txBody>
        </p:sp>
        <p:sp>
          <p:nvSpPr>
            <p:cNvPr id="36" name="平行四边形 35">
              <a:extLst>
                <a:ext uri="{FF2B5EF4-FFF2-40B4-BE49-F238E27FC236}">
                  <a16:creationId xmlns:a16="http://schemas.microsoft.com/office/drawing/2014/main" id="{2060AF98-DA80-4B54-9903-09D9A2B85F9E}"/>
                </a:ext>
              </a:extLst>
            </p:cNvPr>
            <p:cNvSpPr/>
            <p:nvPr/>
          </p:nvSpPr>
          <p:spPr>
            <a:xfrm>
              <a:off x="7343379" y="2008237"/>
              <a:ext cx="405209" cy="45719"/>
            </a:xfrm>
            <a:prstGeom prst="parallelogram">
              <a:avLst>
                <a:gd name="adj" fmla="val 91048"/>
              </a:avLst>
            </a:prstGeom>
            <a:gradFill>
              <a:gsLst>
                <a:gs pos="20000">
                  <a:schemeClr val="accent1">
                    <a:alpha val="0"/>
                  </a:schemeClr>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p>
          </p:txBody>
        </p:sp>
      </p:grpSp>
      <p:grpSp>
        <p:nvGrpSpPr>
          <p:cNvPr id="38" name="组合 37">
            <a:extLst>
              <a:ext uri="{FF2B5EF4-FFF2-40B4-BE49-F238E27FC236}">
                <a16:creationId xmlns:a16="http://schemas.microsoft.com/office/drawing/2014/main" id="{EA44CE5A-90B0-4F37-B9B3-014F4B3405CC}"/>
              </a:ext>
            </a:extLst>
          </p:cNvPr>
          <p:cNvGrpSpPr/>
          <p:nvPr/>
        </p:nvGrpSpPr>
        <p:grpSpPr>
          <a:xfrm flipH="1">
            <a:off x="3860801" y="1753798"/>
            <a:ext cx="1388402" cy="361422"/>
            <a:chOff x="7219554" y="1692534"/>
            <a:chExt cx="1102915" cy="361422"/>
          </a:xfrm>
        </p:grpSpPr>
        <p:sp>
          <p:nvSpPr>
            <p:cNvPr id="39" name="平行四边形 38">
              <a:extLst>
                <a:ext uri="{FF2B5EF4-FFF2-40B4-BE49-F238E27FC236}">
                  <a16:creationId xmlns:a16="http://schemas.microsoft.com/office/drawing/2014/main" id="{73D4CF9C-2644-487E-8508-A97C442E7E09}"/>
                </a:ext>
              </a:extLst>
            </p:cNvPr>
            <p:cNvSpPr/>
            <p:nvPr/>
          </p:nvSpPr>
          <p:spPr>
            <a:xfrm>
              <a:off x="7219554" y="1692534"/>
              <a:ext cx="850369" cy="57686"/>
            </a:xfrm>
            <a:prstGeom prst="parallelogram">
              <a:avLst>
                <a:gd name="adj" fmla="val 91048"/>
              </a:avLst>
            </a:prstGeom>
            <a:gradFill>
              <a:gsLst>
                <a:gs pos="20000">
                  <a:schemeClr val="accent1">
                    <a:alpha val="0"/>
                  </a:schemeClr>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p>
          </p:txBody>
        </p:sp>
        <p:sp>
          <p:nvSpPr>
            <p:cNvPr id="40" name="平行四边形 39">
              <a:extLst>
                <a:ext uri="{FF2B5EF4-FFF2-40B4-BE49-F238E27FC236}">
                  <a16:creationId xmlns:a16="http://schemas.microsoft.com/office/drawing/2014/main" id="{8B7FA75D-CB87-4B86-8D45-865B993E45EF}"/>
                </a:ext>
              </a:extLst>
            </p:cNvPr>
            <p:cNvSpPr/>
            <p:nvPr/>
          </p:nvSpPr>
          <p:spPr>
            <a:xfrm>
              <a:off x="7393385" y="1820119"/>
              <a:ext cx="929084" cy="118219"/>
            </a:xfrm>
            <a:prstGeom prst="parallelogram">
              <a:avLst>
                <a:gd name="adj" fmla="val 67300"/>
              </a:avLst>
            </a:prstGeom>
            <a:gradFill>
              <a:gsLst>
                <a:gs pos="20000">
                  <a:schemeClr val="accent1">
                    <a:alpha val="0"/>
                  </a:schemeClr>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p>
          </p:txBody>
        </p:sp>
        <p:sp>
          <p:nvSpPr>
            <p:cNvPr id="41" name="平行四边形 40">
              <a:extLst>
                <a:ext uri="{FF2B5EF4-FFF2-40B4-BE49-F238E27FC236}">
                  <a16:creationId xmlns:a16="http://schemas.microsoft.com/office/drawing/2014/main" id="{166EEC3F-1EA9-4276-A097-55D6E4E12F31}"/>
                </a:ext>
              </a:extLst>
            </p:cNvPr>
            <p:cNvSpPr/>
            <p:nvPr/>
          </p:nvSpPr>
          <p:spPr>
            <a:xfrm>
              <a:off x="7343379" y="2008237"/>
              <a:ext cx="405209" cy="45719"/>
            </a:xfrm>
            <a:prstGeom prst="parallelogram">
              <a:avLst>
                <a:gd name="adj" fmla="val 91048"/>
              </a:avLst>
            </a:prstGeom>
            <a:gradFill>
              <a:gsLst>
                <a:gs pos="20000">
                  <a:schemeClr val="accent1">
                    <a:alpha val="0"/>
                  </a:schemeClr>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p>
          </p:txBody>
        </p:sp>
      </p:grpSp>
    </p:spTree>
    <p:extLst>
      <p:ext uri="{BB962C8B-B14F-4D97-AF65-F5344CB8AC3E}">
        <p14:creationId xmlns:p14="http://schemas.microsoft.com/office/powerpoint/2010/main" val="2879490431"/>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菱形 1">
            <a:extLst>
              <a:ext uri="{FF2B5EF4-FFF2-40B4-BE49-F238E27FC236}">
                <a16:creationId xmlns:a16="http://schemas.microsoft.com/office/drawing/2014/main" id="{D3A9823C-6697-4F66-8C22-36229AD1071F}"/>
              </a:ext>
            </a:extLst>
          </p:cNvPr>
          <p:cNvSpPr/>
          <p:nvPr/>
        </p:nvSpPr>
        <p:spPr>
          <a:xfrm>
            <a:off x="5283200" y="-812800"/>
            <a:ext cx="1625600" cy="1625600"/>
          </a:xfrm>
          <a:prstGeom prst="diamond">
            <a:avLst/>
          </a:prstGeom>
          <a:no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p>
        </p:txBody>
      </p:sp>
      <p:sp>
        <p:nvSpPr>
          <p:cNvPr id="3" name="箭头: V 形 2">
            <a:extLst>
              <a:ext uri="{FF2B5EF4-FFF2-40B4-BE49-F238E27FC236}">
                <a16:creationId xmlns:a16="http://schemas.microsoft.com/office/drawing/2014/main" id="{1566E3BF-BAE6-4728-8FA8-CB4F4F487A34}"/>
              </a:ext>
            </a:extLst>
          </p:cNvPr>
          <p:cNvSpPr/>
          <p:nvPr/>
        </p:nvSpPr>
        <p:spPr>
          <a:xfrm rot="5400000">
            <a:off x="5800219" y="404698"/>
            <a:ext cx="591562" cy="857250"/>
          </a:xfrm>
          <a:prstGeom prst="chevron">
            <a:avLst>
              <a:gd name="adj" fmla="val 7309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solidFill>
                <a:schemeClr val="tx1"/>
              </a:solidFill>
            </a:endParaRPr>
          </a:p>
        </p:txBody>
      </p:sp>
      <p:grpSp>
        <p:nvGrpSpPr>
          <p:cNvPr id="6" name="组合 5">
            <a:extLst>
              <a:ext uri="{FF2B5EF4-FFF2-40B4-BE49-F238E27FC236}">
                <a16:creationId xmlns:a16="http://schemas.microsoft.com/office/drawing/2014/main" id="{21F14FA0-48D3-46BF-B9EE-085231BFD8BB}"/>
              </a:ext>
            </a:extLst>
          </p:cNvPr>
          <p:cNvGrpSpPr/>
          <p:nvPr/>
        </p:nvGrpSpPr>
        <p:grpSpPr>
          <a:xfrm>
            <a:off x="5123688" y="1299603"/>
            <a:ext cx="1944624" cy="1395520"/>
            <a:chOff x="4602480" y="1766328"/>
            <a:chExt cx="1944624" cy="1395520"/>
          </a:xfrm>
        </p:grpSpPr>
        <p:sp>
          <p:nvSpPr>
            <p:cNvPr id="4" name="文本框 3">
              <a:extLst>
                <a:ext uri="{FF2B5EF4-FFF2-40B4-BE49-F238E27FC236}">
                  <a16:creationId xmlns:a16="http://schemas.microsoft.com/office/drawing/2014/main" id="{C7374A44-CF91-44DD-BAA1-E58F23860498}"/>
                </a:ext>
              </a:extLst>
            </p:cNvPr>
            <p:cNvSpPr txBox="1"/>
            <p:nvPr/>
          </p:nvSpPr>
          <p:spPr>
            <a:xfrm>
              <a:off x="4709160" y="2854071"/>
              <a:ext cx="1837944" cy="307777"/>
            </a:xfrm>
            <a:prstGeom prst="rect">
              <a:avLst/>
            </a:prstGeom>
            <a:noFill/>
          </p:spPr>
          <p:txBody>
            <a:bodyPr wrap="square" lIns="0" tIns="0" rIns="0" bIns="0" rtlCol="0" anchor="t">
              <a:spAutoFit/>
            </a:bodyPr>
            <a:lstStyle/>
            <a:p>
              <a:pPr algn="dist"/>
              <a:r>
                <a:rPr lang="en-US" altLang="zh-CN" sz="2000" dirty="0">
                  <a:solidFill>
                    <a:schemeClr val="accent1"/>
                  </a:solidFill>
                  <a:latin typeface="+mj-ea"/>
                  <a:ea typeface="+mj-ea"/>
                </a:rPr>
                <a:t>CONTENTS</a:t>
              </a:r>
              <a:endParaRPr lang="zh-CN" altLang="en-US" sz="2000" dirty="0">
                <a:solidFill>
                  <a:schemeClr val="accent1"/>
                </a:solidFill>
                <a:latin typeface="+mj-ea"/>
                <a:ea typeface="+mj-ea"/>
              </a:endParaRPr>
            </a:p>
          </p:txBody>
        </p:sp>
        <p:sp>
          <p:nvSpPr>
            <p:cNvPr id="5" name="文本框 4">
              <a:extLst>
                <a:ext uri="{FF2B5EF4-FFF2-40B4-BE49-F238E27FC236}">
                  <a16:creationId xmlns:a16="http://schemas.microsoft.com/office/drawing/2014/main" id="{4799CB51-01F2-49FE-8F37-7CC99A24B662}"/>
                </a:ext>
              </a:extLst>
            </p:cNvPr>
            <p:cNvSpPr txBox="1"/>
            <p:nvPr/>
          </p:nvSpPr>
          <p:spPr>
            <a:xfrm>
              <a:off x="4602480" y="1766328"/>
              <a:ext cx="1944624" cy="1107996"/>
            </a:xfrm>
            <a:prstGeom prst="rect">
              <a:avLst/>
            </a:prstGeom>
            <a:noFill/>
          </p:spPr>
          <p:txBody>
            <a:bodyPr wrap="square" lIns="0" tIns="0" rIns="0" bIns="0" rtlCol="0" anchor="t">
              <a:spAutoFit/>
            </a:bodyPr>
            <a:lstStyle/>
            <a:p>
              <a:pPr algn="dist"/>
              <a:r>
                <a:rPr lang="zh-CN" altLang="en-US" sz="7200" dirty="0">
                  <a:solidFill>
                    <a:schemeClr val="accent1"/>
                  </a:solidFill>
                  <a:latin typeface="+mj-ea"/>
                  <a:ea typeface="+mj-ea"/>
                </a:rPr>
                <a:t>目录</a:t>
              </a:r>
            </a:p>
          </p:txBody>
        </p:sp>
      </p:grpSp>
      <p:sp>
        <p:nvSpPr>
          <p:cNvPr id="7" name="椭圆 6">
            <a:extLst>
              <a:ext uri="{FF2B5EF4-FFF2-40B4-BE49-F238E27FC236}">
                <a16:creationId xmlns:a16="http://schemas.microsoft.com/office/drawing/2014/main" id="{75AE8CEB-B7A4-4F5E-BA43-E5282BB50B36}"/>
              </a:ext>
            </a:extLst>
          </p:cNvPr>
          <p:cNvSpPr/>
          <p:nvPr/>
        </p:nvSpPr>
        <p:spPr>
          <a:xfrm>
            <a:off x="1090994" y="3429000"/>
            <a:ext cx="684292" cy="68429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050" dirty="0"/>
              <a:t>图标</a:t>
            </a:r>
          </a:p>
        </p:txBody>
      </p:sp>
      <p:sp>
        <p:nvSpPr>
          <p:cNvPr id="8" name="文本框 7">
            <a:extLst>
              <a:ext uri="{FF2B5EF4-FFF2-40B4-BE49-F238E27FC236}">
                <a16:creationId xmlns:a16="http://schemas.microsoft.com/office/drawing/2014/main" id="{0657A969-EA14-4B94-A822-8167969E5C0A}"/>
              </a:ext>
            </a:extLst>
          </p:cNvPr>
          <p:cNvSpPr txBox="1"/>
          <p:nvPr/>
        </p:nvSpPr>
        <p:spPr>
          <a:xfrm>
            <a:off x="1901048" y="3478758"/>
            <a:ext cx="1846659" cy="369332"/>
          </a:xfrm>
          <a:prstGeom prst="rect">
            <a:avLst/>
          </a:prstGeom>
          <a:noFill/>
        </p:spPr>
        <p:txBody>
          <a:bodyPr wrap="none" lIns="0" tIns="0" rIns="0" bIns="0" rtlCol="0" anchor="t">
            <a:spAutoFit/>
          </a:bodyPr>
          <a:lstStyle/>
          <a:p>
            <a:r>
              <a:rPr lang="zh-CN" altLang="en-US" sz="2400" dirty="0">
                <a:solidFill>
                  <a:schemeClr val="accent1"/>
                </a:solidFill>
                <a:latin typeface="+mj-ea"/>
                <a:ea typeface="+mj-ea"/>
              </a:rPr>
              <a:t>输入目录标题</a:t>
            </a:r>
          </a:p>
        </p:txBody>
      </p:sp>
      <p:sp>
        <p:nvSpPr>
          <p:cNvPr id="9" name="文本框 8">
            <a:extLst>
              <a:ext uri="{FF2B5EF4-FFF2-40B4-BE49-F238E27FC236}">
                <a16:creationId xmlns:a16="http://schemas.microsoft.com/office/drawing/2014/main" id="{94A45A5B-99E2-407A-9535-EAB6B07596A0}"/>
              </a:ext>
            </a:extLst>
          </p:cNvPr>
          <p:cNvSpPr txBox="1"/>
          <p:nvPr/>
        </p:nvSpPr>
        <p:spPr>
          <a:xfrm>
            <a:off x="1901048" y="3848090"/>
            <a:ext cx="1803052" cy="215444"/>
          </a:xfrm>
          <a:prstGeom prst="rect">
            <a:avLst/>
          </a:prstGeom>
          <a:noFill/>
        </p:spPr>
        <p:txBody>
          <a:bodyPr wrap="square" lIns="0" tIns="0" rIns="0" bIns="0" rtlCol="0" anchor="t">
            <a:spAutoFit/>
          </a:bodyPr>
          <a:lstStyle/>
          <a:p>
            <a:pPr algn="dist"/>
            <a:r>
              <a:rPr lang="en-US" altLang="zh-CN" sz="1400" dirty="0">
                <a:solidFill>
                  <a:schemeClr val="accent1"/>
                </a:solidFill>
              </a:rPr>
              <a:t>Contents Title Here</a:t>
            </a:r>
            <a:endParaRPr lang="zh-CN" altLang="en-US" sz="1400" dirty="0">
              <a:solidFill>
                <a:schemeClr val="accent1"/>
              </a:solidFill>
            </a:endParaRPr>
          </a:p>
        </p:txBody>
      </p:sp>
      <p:sp>
        <p:nvSpPr>
          <p:cNvPr id="13" name="椭圆 12">
            <a:extLst>
              <a:ext uri="{FF2B5EF4-FFF2-40B4-BE49-F238E27FC236}">
                <a16:creationId xmlns:a16="http://schemas.microsoft.com/office/drawing/2014/main" id="{66358F4C-D465-4CD4-AF19-CEC987888A3A}"/>
              </a:ext>
            </a:extLst>
          </p:cNvPr>
          <p:cNvSpPr/>
          <p:nvPr/>
        </p:nvSpPr>
        <p:spPr>
          <a:xfrm>
            <a:off x="4767644" y="3429000"/>
            <a:ext cx="684292" cy="68429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050" dirty="0"/>
              <a:t>图标</a:t>
            </a:r>
          </a:p>
        </p:txBody>
      </p:sp>
      <p:sp>
        <p:nvSpPr>
          <p:cNvPr id="14" name="文本框 13">
            <a:extLst>
              <a:ext uri="{FF2B5EF4-FFF2-40B4-BE49-F238E27FC236}">
                <a16:creationId xmlns:a16="http://schemas.microsoft.com/office/drawing/2014/main" id="{0936F8E7-EE75-4861-8699-A56173E690CA}"/>
              </a:ext>
            </a:extLst>
          </p:cNvPr>
          <p:cNvSpPr txBox="1"/>
          <p:nvPr/>
        </p:nvSpPr>
        <p:spPr>
          <a:xfrm>
            <a:off x="5577698" y="3478758"/>
            <a:ext cx="1846659" cy="369332"/>
          </a:xfrm>
          <a:prstGeom prst="rect">
            <a:avLst/>
          </a:prstGeom>
          <a:noFill/>
        </p:spPr>
        <p:txBody>
          <a:bodyPr wrap="none" lIns="0" tIns="0" rIns="0" bIns="0" rtlCol="0" anchor="t">
            <a:spAutoFit/>
          </a:bodyPr>
          <a:lstStyle/>
          <a:p>
            <a:r>
              <a:rPr lang="zh-CN" altLang="en-US" sz="2400" dirty="0">
                <a:solidFill>
                  <a:schemeClr val="accent1"/>
                </a:solidFill>
                <a:latin typeface="+mj-ea"/>
                <a:ea typeface="+mj-ea"/>
              </a:rPr>
              <a:t>输入目录标题</a:t>
            </a:r>
          </a:p>
        </p:txBody>
      </p:sp>
      <p:sp>
        <p:nvSpPr>
          <p:cNvPr id="15" name="文本框 14">
            <a:extLst>
              <a:ext uri="{FF2B5EF4-FFF2-40B4-BE49-F238E27FC236}">
                <a16:creationId xmlns:a16="http://schemas.microsoft.com/office/drawing/2014/main" id="{ED80DCBC-6000-4FC8-A19C-6C8F816C9FB0}"/>
              </a:ext>
            </a:extLst>
          </p:cNvPr>
          <p:cNvSpPr txBox="1"/>
          <p:nvPr/>
        </p:nvSpPr>
        <p:spPr>
          <a:xfrm>
            <a:off x="5577698" y="3848090"/>
            <a:ext cx="1803052" cy="215444"/>
          </a:xfrm>
          <a:prstGeom prst="rect">
            <a:avLst/>
          </a:prstGeom>
          <a:noFill/>
        </p:spPr>
        <p:txBody>
          <a:bodyPr wrap="square" lIns="0" tIns="0" rIns="0" bIns="0" rtlCol="0" anchor="t">
            <a:spAutoFit/>
          </a:bodyPr>
          <a:lstStyle/>
          <a:p>
            <a:pPr algn="dist"/>
            <a:r>
              <a:rPr lang="en-US" altLang="zh-CN" sz="1400" dirty="0">
                <a:solidFill>
                  <a:schemeClr val="accent1"/>
                </a:solidFill>
              </a:rPr>
              <a:t>Contents Title Here</a:t>
            </a:r>
            <a:endParaRPr lang="zh-CN" altLang="en-US" sz="1400" dirty="0">
              <a:solidFill>
                <a:schemeClr val="accent1"/>
              </a:solidFill>
            </a:endParaRPr>
          </a:p>
        </p:txBody>
      </p:sp>
      <p:sp>
        <p:nvSpPr>
          <p:cNvPr id="17" name="椭圆 16">
            <a:extLst>
              <a:ext uri="{FF2B5EF4-FFF2-40B4-BE49-F238E27FC236}">
                <a16:creationId xmlns:a16="http://schemas.microsoft.com/office/drawing/2014/main" id="{4DB84524-0897-4FA2-8201-D3500F482A9B}"/>
              </a:ext>
            </a:extLst>
          </p:cNvPr>
          <p:cNvSpPr/>
          <p:nvPr/>
        </p:nvSpPr>
        <p:spPr>
          <a:xfrm>
            <a:off x="8444294" y="3429000"/>
            <a:ext cx="684292" cy="68429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050" dirty="0"/>
              <a:t>图标</a:t>
            </a:r>
          </a:p>
        </p:txBody>
      </p:sp>
      <p:sp>
        <p:nvSpPr>
          <p:cNvPr id="18" name="文本框 17">
            <a:extLst>
              <a:ext uri="{FF2B5EF4-FFF2-40B4-BE49-F238E27FC236}">
                <a16:creationId xmlns:a16="http://schemas.microsoft.com/office/drawing/2014/main" id="{13935E75-98D9-402D-AD4C-1F68780004B8}"/>
              </a:ext>
            </a:extLst>
          </p:cNvPr>
          <p:cNvSpPr txBox="1"/>
          <p:nvPr/>
        </p:nvSpPr>
        <p:spPr>
          <a:xfrm>
            <a:off x="9254348" y="3478758"/>
            <a:ext cx="1846659" cy="369332"/>
          </a:xfrm>
          <a:prstGeom prst="rect">
            <a:avLst/>
          </a:prstGeom>
          <a:noFill/>
        </p:spPr>
        <p:txBody>
          <a:bodyPr wrap="none" lIns="0" tIns="0" rIns="0" bIns="0" rtlCol="0" anchor="t">
            <a:spAutoFit/>
          </a:bodyPr>
          <a:lstStyle/>
          <a:p>
            <a:r>
              <a:rPr lang="zh-CN" altLang="en-US" sz="2400" dirty="0">
                <a:solidFill>
                  <a:schemeClr val="accent1"/>
                </a:solidFill>
                <a:latin typeface="+mj-ea"/>
                <a:ea typeface="+mj-ea"/>
              </a:rPr>
              <a:t>输入目录标题</a:t>
            </a:r>
          </a:p>
        </p:txBody>
      </p:sp>
      <p:sp>
        <p:nvSpPr>
          <p:cNvPr id="19" name="文本框 18">
            <a:extLst>
              <a:ext uri="{FF2B5EF4-FFF2-40B4-BE49-F238E27FC236}">
                <a16:creationId xmlns:a16="http://schemas.microsoft.com/office/drawing/2014/main" id="{5A0FF256-2C91-44C0-911A-C3EE96D5BC11}"/>
              </a:ext>
            </a:extLst>
          </p:cNvPr>
          <p:cNvSpPr txBox="1"/>
          <p:nvPr/>
        </p:nvSpPr>
        <p:spPr>
          <a:xfrm>
            <a:off x="9254348" y="3848090"/>
            <a:ext cx="1803052" cy="215444"/>
          </a:xfrm>
          <a:prstGeom prst="rect">
            <a:avLst/>
          </a:prstGeom>
          <a:noFill/>
        </p:spPr>
        <p:txBody>
          <a:bodyPr wrap="square" lIns="0" tIns="0" rIns="0" bIns="0" rtlCol="0" anchor="t">
            <a:spAutoFit/>
          </a:bodyPr>
          <a:lstStyle/>
          <a:p>
            <a:pPr algn="dist"/>
            <a:r>
              <a:rPr lang="en-US" altLang="zh-CN" sz="1400" dirty="0">
                <a:solidFill>
                  <a:schemeClr val="accent1"/>
                </a:solidFill>
              </a:rPr>
              <a:t>Contents Title Here</a:t>
            </a:r>
            <a:endParaRPr lang="zh-CN" altLang="en-US" sz="1400" dirty="0">
              <a:solidFill>
                <a:schemeClr val="accent1"/>
              </a:solidFill>
            </a:endParaRPr>
          </a:p>
        </p:txBody>
      </p:sp>
      <p:sp>
        <p:nvSpPr>
          <p:cNvPr id="22" name="椭圆 21">
            <a:extLst>
              <a:ext uri="{FF2B5EF4-FFF2-40B4-BE49-F238E27FC236}">
                <a16:creationId xmlns:a16="http://schemas.microsoft.com/office/drawing/2014/main" id="{F2004F14-A0D7-4D16-A0CD-9A38AA44B54D}"/>
              </a:ext>
            </a:extLst>
          </p:cNvPr>
          <p:cNvSpPr/>
          <p:nvPr/>
        </p:nvSpPr>
        <p:spPr>
          <a:xfrm>
            <a:off x="1090994" y="4690872"/>
            <a:ext cx="684292" cy="68429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050" dirty="0"/>
              <a:t>图标</a:t>
            </a:r>
          </a:p>
        </p:txBody>
      </p:sp>
      <p:sp>
        <p:nvSpPr>
          <p:cNvPr id="23" name="文本框 22">
            <a:extLst>
              <a:ext uri="{FF2B5EF4-FFF2-40B4-BE49-F238E27FC236}">
                <a16:creationId xmlns:a16="http://schemas.microsoft.com/office/drawing/2014/main" id="{82C0E7CE-F655-4822-9DCD-9900A3FA5750}"/>
              </a:ext>
            </a:extLst>
          </p:cNvPr>
          <p:cNvSpPr txBox="1"/>
          <p:nvPr/>
        </p:nvSpPr>
        <p:spPr>
          <a:xfrm>
            <a:off x="1901048" y="4740630"/>
            <a:ext cx="1846659" cy="369332"/>
          </a:xfrm>
          <a:prstGeom prst="rect">
            <a:avLst/>
          </a:prstGeom>
          <a:noFill/>
        </p:spPr>
        <p:txBody>
          <a:bodyPr wrap="none" lIns="0" tIns="0" rIns="0" bIns="0" rtlCol="0" anchor="t">
            <a:spAutoFit/>
          </a:bodyPr>
          <a:lstStyle/>
          <a:p>
            <a:r>
              <a:rPr lang="zh-CN" altLang="en-US" sz="2400" dirty="0">
                <a:solidFill>
                  <a:schemeClr val="accent1"/>
                </a:solidFill>
                <a:latin typeface="+mj-ea"/>
                <a:ea typeface="+mj-ea"/>
              </a:rPr>
              <a:t>输入目录标题</a:t>
            </a:r>
          </a:p>
        </p:txBody>
      </p:sp>
      <p:sp>
        <p:nvSpPr>
          <p:cNvPr id="24" name="文本框 23">
            <a:extLst>
              <a:ext uri="{FF2B5EF4-FFF2-40B4-BE49-F238E27FC236}">
                <a16:creationId xmlns:a16="http://schemas.microsoft.com/office/drawing/2014/main" id="{B02505AC-D655-46FB-B8B0-397996DD9AF2}"/>
              </a:ext>
            </a:extLst>
          </p:cNvPr>
          <p:cNvSpPr txBox="1"/>
          <p:nvPr/>
        </p:nvSpPr>
        <p:spPr>
          <a:xfrm>
            <a:off x="1901048" y="5109962"/>
            <a:ext cx="1803052" cy="215444"/>
          </a:xfrm>
          <a:prstGeom prst="rect">
            <a:avLst/>
          </a:prstGeom>
          <a:noFill/>
        </p:spPr>
        <p:txBody>
          <a:bodyPr wrap="square" lIns="0" tIns="0" rIns="0" bIns="0" rtlCol="0" anchor="t">
            <a:spAutoFit/>
          </a:bodyPr>
          <a:lstStyle/>
          <a:p>
            <a:pPr algn="dist"/>
            <a:r>
              <a:rPr lang="en-US" altLang="zh-CN" sz="1400" dirty="0">
                <a:solidFill>
                  <a:schemeClr val="accent1"/>
                </a:solidFill>
              </a:rPr>
              <a:t>Contents Title Here</a:t>
            </a:r>
            <a:endParaRPr lang="zh-CN" altLang="en-US" sz="1400" dirty="0">
              <a:solidFill>
                <a:schemeClr val="accent1"/>
              </a:solidFill>
            </a:endParaRPr>
          </a:p>
        </p:txBody>
      </p:sp>
      <p:sp>
        <p:nvSpPr>
          <p:cNvPr id="26" name="椭圆 25">
            <a:extLst>
              <a:ext uri="{FF2B5EF4-FFF2-40B4-BE49-F238E27FC236}">
                <a16:creationId xmlns:a16="http://schemas.microsoft.com/office/drawing/2014/main" id="{CDD3EF06-BC63-4A83-B170-3E944E00D91C}"/>
              </a:ext>
            </a:extLst>
          </p:cNvPr>
          <p:cNvSpPr/>
          <p:nvPr/>
        </p:nvSpPr>
        <p:spPr>
          <a:xfrm>
            <a:off x="4767644" y="4690872"/>
            <a:ext cx="684292" cy="68429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050" dirty="0"/>
              <a:t>图标</a:t>
            </a:r>
          </a:p>
        </p:txBody>
      </p:sp>
      <p:sp>
        <p:nvSpPr>
          <p:cNvPr id="27" name="文本框 26">
            <a:extLst>
              <a:ext uri="{FF2B5EF4-FFF2-40B4-BE49-F238E27FC236}">
                <a16:creationId xmlns:a16="http://schemas.microsoft.com/office/drawing/2014/main" id="{1CF0CA5F-4F59-44AE-85F5-9E9FFD9089F3}"/>
              </a:ext>
            </a:extLst>
          </p:cNvPr>
          <p:cNvSpPr txBox="1"/>
          <p:nvPr/>
        </p:nvSpPr>
        <p:spPr>
          <a:xfrm>
            <a:off x="5577698" y="4740630"/>
            <a:ext cx="1846659" cy="369332"/>
          </a:xfrm>
          <a:prstGeom prst="rect">
            <a:avLst/>
          </a:prstGeom>
          <a:noFill/>
        </p:spPr>
        <p:txBody>
          <a:bodyPr wrap="none" lIns="0" tIns="0" rIns="0" bIns="0" rtlCol="0" anchor="t">
            <a:spAutoFit/>
          </a:bodyPr>
          <a:lstStyle/>
          <a:p>
            <a:r>
              <a:rPr lang="zh-CN" altLang="en-US" sz="2400" dirty="0">
                <a:solidFill>
                  <a:schemeClr val="accent1"/>
                </a:solidFill>
                <a:latin typeface="+mj-ea"/>
                <a:ea typeface="+mj-ea"/>
              </a:rPr>
              <a:t>输入目录标题</a:t>
            </a:r>
          </a:p>
        </p:txBody>
      </p:sp>
      <p:sp>
        <p:nvSpPr>
          <p:cNvPr id="28" name="文本框 27">
            <a:extLst>
              <a:ext uri="{FF2B5EF4-FFF2-40B4-BE49-F238E27FC236}">
                <a16:creationId xmlns:a16="http://schemas.microsoft.com/office/drawing/2014/main" id="{867DB552-FA3E-45BE-B845-0D8E8D724493}"/>
              </a:ext>
            </a:extLst>
          </p:cNvPr>
          <p:cNvSpPr txBox="1"/>
          <p:nvPr/>
        </p:nvSpPr>
        <p:spPr>
          <a:xfrm>
            <a:off x="5577698" y="5109962"/>
            <a:ext cx="1803052" cy="215444"/>
          </a:xfrm>
          <a:prstGeom prst="rect">
            <a:avLst/>
          </a:prstGeom>
          <a:noFill/>
        </p:spPr>
        <p:txBody>
          <a:bodyPr wrap="square" lIns="0" tIns="0" rIns="0" bIns="0" rtlCol="0" anchor="t">
            <a:spAutoFit/>
          </a:bodyPr>
          <a:lstStyle/>
          <a:p>
            <a:pPr algn="dist"/>
            <a:r>
              <a:rPr lang="en-US" altLang="zh-CN" sz="1400" dirty="0">
                <a:solidFill>
                  <a:schemeClr val="accent1"/>
                </a:solidFill>
              </a:rPr>
              <a:t>Contents Title Here</a:t>
            </a:r>
            <a:endParaRPr lang="zh-CN" altLang="en-US" sz="1400" dirty="0">
              <a:solidFill>
                <a:schemeClr val="accent1"/>
              </a:solidFill>
            </a:endParaRPr>
          </a:p>
        </p:txBody>
      </p:sp>
      <p:sp>
        <p:nvSpPr>
          <p:cNvPr id="30" name="椭圆 29">
            <a:extLst>
              <a:ext uri="{FF2B5EF4-FFF2-40B4-BE49-F238E27FC236}">
                <a16:creationId xmlns:a16="http://schemas.microsoft.com/office/drawing/2014/main" id="{E3942006-4D69-4672-AC95-AEB35438EDBB}"/>
              </a:ext>
            </a:extLst>
          </p:cNvPr>
          <p:cNvSpPr/>
          <p:nvPr/>
        </p:nvSpPr>
        <p:spPr>
          <a:xfrm>
            <a:off x="8444294" y="4690872"/>
            <a:ext cx="684292" cy="68429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050" dirty="0"/>
              <a:t>图标</a:t>
            </a:r>
          </a:p>
        </p:txBody>
      </p:sp>
      <p:sp>
        <p:nvSpPr>
          <p:cNvPr id="31" name="文本框 30">
            <a:extLst>
              <a:ext uri="{FF2B5EF4-FFF2-40B4-BE49-F238E27FC236}">
                <a16:creationId xmlns:a16="http://schemas.microsoft.com/office/drawing/2014/main" id="{7F818EBA-5538-4A5D-958A-9B2C6CD202F4}"/>
              </a:ext>
            </a:extLst>
          </p:cNvPr>
          <p:cNvSpPr txBox="1"/>
          <p:nvPr/>
        </p:nvSpPr>
        <p:spPr>
          <a:xfrm>
            <a:off x="9254348" y="4740630"/>
            <a:ext cx="1846659" cy="369332"/>
          </a:xfrm>
          <a:prstGeom prst="rect">
            <a:avLst/>
          </a:prstGeom>
          <a:noFill/>
        </p:spPr>
        <p:txBody>
          <a:bodyPr wrap="none" lIns="0" tIns="0" rIns="0" bIns="0" rtlCol="0" anchor="t">
            <a:spAutoFit/>
          </a:bodyPr>
          <a:lstStyle/>
          <a:p>
            <a:r>
              <a:rPr lang="zh-CN" altLang="en-US" sz="2400" dirty="0">
                <a:solidFill>
                  <a:schemeClr val="accent1"/>
                </a:solidFill>
                <a:latin typeface="+mj-ea"/>
                <a:ea typeface="+mj-ea"/>
              </a:rPr>
              <a:t>输入目录标题</a:t>
            </a:r>
          </a:p>
        </p:txBody>
      </p:sp>
      <p:sp>
        <p:nvSpPr>
          <p:cNvPr id="32" name="文本框 31">
            <a:extLst>
              <a:ext uri="{FF2B5EF4-FFF2-40B4-BE49-F238E27FC236}">
                <a16:creationId xmlns:a16="http://schemas.microsoft.com/office/drawing/2014/main" id="{989091FA-EE1E-4C65-9E47-791F6D2DF036}"/>
              </a:ext>
            </a:extLst>
          </p:cNvPr>
          <p:cNvSpPr txBox="1"/>
          <p:nvPr/>
        </p:nvSpPr>
        <p:spPr>
          <a:xfrm>
            <a:off x="9254348" y="5109962"/>
            <a:ext cx="1803052" cy="215444"/>
          </a:xfrm>
          <a:prstGeom prst="rect">
            <a:avLst/>
          </a:prstGeom>
          <a:noFill/>
        </p:spPr>
        <p:txBody>
          <a:bodyPr wrap="square" lIns="0" tIns="0" rIns="0" bIns="0" rtlCol="0" anchor="t">
            <a:spAutoFit/>
          </a:bodyPr>
          <a:lstStyle/>
          <a:p>
            <a:pPr algn="dist"/>
            <a:r>
              <a:rPr lang="en-US" altLang="zh-CN" sz="1400" dirty="0">
                <a:solidFill>
                  <a:schemeClr val="accent1"/>
                </a:solidFill>
              </a:rPr>
              <a:t>Contents Title Here</a:t>
            </a:r>
            <a:endParaRPr lang="zh-CN" altLang="en-US" sz="1400" dirty="0">
              <a:solidFill>
                <a:schemeClr val="accent1"/>
              </a:solidFill>
            </a:endParaRPr>
          </a:p>
        </p:txBody>
      </p:sp>
      <p:sp>
        <p:nvSpPr>
          <p:cNvPr id="35" name="任意多边形: 形状 34">
            <a:extLst>
              <a:ext uri="{FF2B5EF4-FFF2-40B4-BE49-F238E27FC236}">
                <a16:creationId xmlns:a16="http://schemas.microsoft.com/office/drawing/2014/main" id="{BD69E230-0A4B-45AD-8C16-6DB97A49AF0B}"/>
              </a:ext>
            </a:extLst>
          </p:cNvPr>
          <p:cNvSpPr/>
          <p:nvPr/>
        </p:nvSpPr>
        <p:spPr>
          <a:xfrm>
            <a:off x="0" y="6121400"/>
            <a:ext cx="12192000" cy="736600"/>
          </a:xfrm>
          <a:custGeom>
            <a:avLst/>
            <a:gdLst>
              <a:gd name="connsiteX0" fmla="*/ 1079500 w 12192000"/>
              <a:gd name="connsiteY0" fmla="*/ 366 h 800466"/>
              <a:gd name="connsiteX1" fmla="*/ 3238500 w 12192000"/>
              <a:gd name="connsiteY1" fmla="*/ 330566 h 800466"/>
              <a:gd name="connsiteX2" fmla="*/ 5537200 w 12192000"/>
              <a:gd name="connsiteY2" fmla="*/ 127366 h 800466"/>
              <a:gd name="connsiteX3" fmla="*/ 8128000 w 12192000"/>
              <a:gd name="connsiteY3" fmla="*/ 457566 h 800466"/>
              <a:gd name="connsiteX4" fmla="*/ 11125200 w 12192000"/>
              <a:gd name="connsiteY4" fmla="*/ 89266 h 800466"/>
              <a:gd name="connsiteX5" fmla="*/ 11961614 w 12192000"/>
              <a:gd name="connsiteY5" fmla="*/ 194451 h 800466"/>
              <a:gd name="connsiteX6" fmla="*/ 12192000 w 12192000"/>
              <a:gd name="connsiteY6" fmla="*/ 254997 h 800466"/>
              <a:gd name="connsiteX7" fmla="*/ 12192000 w 12192000"/>
              <a:gd name="connsiteY7" fmla="*/ 800466 h 800466"/>
              <a:gd name="connsiteX8" fmla="*/ 0 w 12192000"/>
              <a:gd name="connsiteY8" fmla="*/ 800466 h 800466"/>
              <a:gd name="connsiteX9" fmla="*/ 0 w 12192000"/>
              <a:gd name="connsiteY9" fmla="*/ 203722 h 800466"/>
              <a:gd name="connsiteX10" fmla="*/ 67717 w 12192000"/>
              <a:gd name="connsiteY10" fmla="*/ 173627 h 800466"/>
              <a:gd name="connsiteX11" fmla="*/ 1079500 w 12192000"/>
              <a:gd name="connsiteY11" fmla="*/ 366 h 8004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2000" h="800466">
                <a:moveTo>
                  <a:pt x="1079500" y="366"/>
                </a:moveTo>
                <a:cubicBezTo>
                  <a:pt x="1670050" y="-12334"/>
                  <a:pt x="2495550" y="309399"/>
                  <a:pt x="3238500" y="330566"/>
                </a:cubicBezTo>
                <a:cubicBezTo>
                  <a:pt x="3981450" y="351733"/>
                  <a:pt x="4722284" y="106199"/>
                  <a:pt x="5537200" y="127366"/>
                </a:cubicBezTo>
                <a:cubicBezTo>
                  <a:pt x="6352117" y="148533"/>
                  <a:pt x="7196667" y="463916"/>
                  <a:pt x="8128000" y="457566"/>
                </a:cubicBezTo>
                <a:cubicBezTo>
                  <a:pt x="9059333" y="451216"/>
                  <a:pt x="10329333" y="68099"/>
                  <a:pt x="11125200" y="89266"/>
                </a:cubicBezTo>
                <a:cubicBezTo>
                  <a:pt x="11423650" y="97204"/>
                  <a:pt x="11707813" y="136395"/>
                  <a:pt x="11961614" y="194451"/>
                </a:cubicBezTo>
                <a:lnTo>
                  <a:pt x="12192000" y="254997"/>
                </a:lnTo>
                <a:lnTo>
                  <a:pt x="12192000" y="800466"/>
                </a:lnTo>
                <a:lnTo>
                  <a:pt x="0" y="800466"/>
                </a:lnTo>
                <a:lnTo>
                  <a:pt x="0" y="203722"/>
                </a:lnTo>
                <a:lnTo>
                  <a:pt x="67717" y="173627"/>
                </a:lnTo>
                <a:cubicBezTo>
                  <a:pt x="342140" y="69158"/>
                  <a:pt x="710407" y="8304"/>
                  <a:pt x="1079500" y="366"/>
                </a:cubicBezTo>
                <a:close/>
              </a:path>
            </a:pathLst>
          </a:cu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6000" dirty="0"/>
          </a:p>
        </p:txBody>
      </p:sp>
      <p:sp>
        <p:nvSpPr>
          <p:cNvPr id="36" name="任意多边形: 形状 35">
            <a:extLst>
              <a:ext uri="{FF2B5EF4-FFF2-40B4-BE49-F238E27FC236}">
                <a16:creationId xmlns:a16="http://schemas.microsoft.com/office/drawing/2014/main" id="{95E84637-37AF-47A7-A4FB-B98561068956}"/>
              </a:ext>
            </a:extLst>
          </p:cNvPr>
          <p:cNvSpPr/>
          <p:nvPr/>
        </p:nvSpPr>
        <p:spPr>
          <a:xfrm flipH="1">
            <a:off x="0" y="6107292"/>
            <a:ext cx="12192000" cy="745434"/>
          </a:xfrm>
          <a:custGeom>
            <a:avLst/>
            <a:gdLst>
              <a:gd name="connsiteX0" fmla="*/ 1079500 w 12192000"/>
              <a:gd name="connsiteY0" fmla="*/ 366 h 800466"/>
              <a:gd name="connsiteX1" fmla="*/ 3238500 w 12192000"/>
              <a:gd name="connsiteY1" fmla="*/ 330566 h 800466"/>
              <a:gd name="connsiteX2" fmla="*/ 5537200 w 12192000"/>
              <a:gd name="connsiteY2" fmla="*/ 127366 h 800466"/>
              <a:gd name="connsiteX3" fmla="*/ 8128000 w 12192000"/>
              <a:gd name="connsiteY3" fmla="*/ 457566 h 800466"/>
              <a:gd name="connsiteX4" fmla="*/ 11125200 w 12192000"/>
              <a:gd name="connsiteY4" fmla="*/ 89266 h 800466"/>
              <a:gd name="connsiteX5" fmla="*/ 11961614 w 12192000"/>
              <a:gd name="connsiteY5" fmla="*/ 194451 h 800466"/>
              <a:gd name="connsiteX6" fmla="*/ 12192000 w 12192000"/>
              <a:gd name="connsiteY6" fmla="*/ 254997 h 800466"/>
              <a:gd name="connsiteX7" fmla="*/ 12192000 w 12192000"/>
              <a:gd name="connsiteY7" fmla="*/ 800466 h 800466"/>
              <a:gd name="connsiteX8" fmla="*/ 0 w 12192000"/>
              <a:gd name="connsiteY8" fmla="*/ 800466 h 800466"/>
              <a:gd name="connsiteX9" fmla="*/ 0 w 12192000"/>
              <a:gd name="connsiteY9" fmla="*/ 203722 h 800466"/>
              <a:gd name="connsiteX10" fmla="*/ 67717 w 12192000"/>
              <a:gd name="connsiteY10" fmla="*/ 173627 h 800466"/>
              <a:gd name="connsiteX11" fmla="*/ 1079500 w 12192000"/>
              <a:gd name="connsiteY11" fmla="*/ 366 h 8004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2000" h="800466">
                <a:moveTo>
                  <a:pt x="1079500" y="366"/>
                </a:moveTo>
                <a:cubicBezTo>
                  <a:pt x="1670050" y="-12334"/>
                  <a:pt x="2495550" y="309399"/>
                  <a:pt x="3238500" y="330566"/>
                </a:cubicBezTo>
                <a:cubicBezTo>
                  <a:pt x="3981450" y="351733"/>
                  <a:pt x="4722284" y="106199"/>
                  <a:pt x="5537200" y="127366"/>
                </a:cubicBezTo>
                <a:cubicBezTo>
                  <a:pt x="6352117" y="148533"/>
                  <a:pt x="7196667" y="463916"/>
                  <a:pt x="8128000" y="457566"/>
                </a:cubicBezTo>
                <a:cubicBezTo>
                  <a:pt x="9059333" y="451216"/>
                  <a:pt x="10329333" y="68099"/>
                  <a:pt x="11125200" y="89266"/>
                </a:cubicBezTo>
                <a:cubicBezTo>
                  <a:pt x="11423650" y="97204"/>
                  <a:pt x="11707813" y="136395"/>
                  <a:pt x="11961614" y="194451"/>
                </a:cubicBezTo>
                <a:lnTo>
                  <a:pt x="12192000" y="254997"/>
                </a:lnTo>
                <a:lnTo>
                  <a:pt x="12192000" y="800466"/>
                </a:lnTo>
                <a:lnTo>
                  <a:pt x="0" y="800466"/>
                </a:lnTo>
                <a:lnTo>
                  <a:pt x="0" y="203722"/>
                </a:lnTo>
                <a:lnTo>
                  <a:pt x="67717" y="173627"/>
                </a:lnTo>
                <a:cubicBezTo>
                  <a:pt x="342140" y="69158"/>
                  <a:pt x="710407" y="8304"/>
                  <a:pt x="1079500" y="366"/>
                </a:cubicBezTo>
                <a:close/>
              </a:path>
            </a:pathLst>
          </a:cu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6000" dirty="0"/>
          </a:p>
        </p:txBody>
      </p:sp>
    </p:spTree>
    <p:extLst>
      <p:ext uri="{BB962C8B-B14F-4D97-AF65-F5344CB8AC3E}">
        <p14:creationId xmlns:p14="http://schemas.microsoft.com/office/powerpoint/2010/main" val="923986866"/>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矩形 5">
            <a:extLst>
              <a:ext uri="{FF2B5EF4-FFF2-40B4-BE49-F238E27FC236}">
                <a16:creationId xmlns:a16="http://schemas.microsoft.com/office/drawing/2014/main" id="{DA488AE2-BD81-4E62-AB7F-1ED290B5C613}"/>
              </a:ext>
            </a:extLst>
          </p:cNvPr>
          <p:cNvSpPr/>
          <p:nvPr/>
        </p:nvSpPr>
        <p:spPr>
          <a:xfrm>
            <a:off x="2969133" y="1847088"/>
            <a:ext cx="533019" cy="3584448"/>
          </a:xfrm>
          <a:prstGeom prst="rect">
            <a:avLst/>
          </a:prstGeom>
          <a:solidFill>
            <a:schemeClr val="accent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p>
        </p:txBody>
      </p:sp>
      <p:sp>
        <p:nvSpPr>
          <p:cNvPr id="2" name="矩形 1">
            <a:extLst>
              <a:ext uri="{FF2B5EF4-FFF2-40B4-BE49-F238E27FC236}">
                <a16:creationId xmlns:a16="http://schemas.microsoft.com/office/drawing/2014/main" id="{626C9D4E-7E73-477C-925A-45BC369B374C}"/>
              </a:ext>
            </a:extLst>
          </p:cNvPr>
          <p:cNvSpPr/>
          <p:nvPr/>
        </p:nvSpPr>
        <p:spPr>
          <a:xfrm>
            <a:off x="3133725" y="1847088"/>
            <a:ext cx="9058275" cy="358444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p>
        </p:txBody>
      </p:sp>
      <p:sp>
        <p:nvSpPr>
          <p:cNvPr id="3" name="文本框 2">
            <a:extLst>
              <a:ext uri="{FF2B5EF4-FFF2-40B4-BE49-F238E27FC236}">
                <a16:creationId xmlns:a16="http://schemas.microsoft.com/office/drawing/2014/main" id="{9263D145-5089-4A65-940C-B945817302DC}"/>
              </a:ext>
            </a:extLst>
          </p:cNvPr>
          <p:cNvSpPr txBox="1"/>
          <p:nvPr/>
        </p:nvSpPr>
        <p:spPr>
          <a:xfrm>
            <a:off x="450088" y="1082670"/>
            <a:ext cx="1400810" cy="215444"/>
          </a:xfrm>
          <a:prstGeom prst="rect">
            <a:avLst/>
          </a:prstGeom>
          <a:noFill/>
        </p:spPr>
        <p:txBody>
          <a:bodyPr wrap="square" lIns="0" tIns="0" rIns="0" bIns="0" rtlCol="0" anchor="t">
            <a:spAutoFit/>
          </a:bodyPr>
          <a:lstStyle/>
          <a:p>
            <a:pPr algn="dist"/>
            <a:r>
              <a:rPr lang="en-US" altLang="zh-CN" sz="1400" dirty="0">
                <a:solidFill>
                  <a:schemeClr val="accent1"/>
                </a:solidFill>
                <a:latin typeface="+mj-ea"/>
                <a:ea typeface="+mj-ea"/>
              </a:rPr>
              <a:t>CONTENTS</a:t>
            </a:r>
            <a:endParaRPr lang="zh-CN" altLang="en-US" sz="1400" dirty="0">
              <a:solidFill>
                <a:schemeClr val="accent1"/>
              </a:solidFill>
              <a:latin typeface="+mj-ea"/>
              <a:ea typeface="+mj-ea"/>
            </a:endParaRPr>
          </a:p>
        </p:txBody>
      </p:sp>
      <p:sp>
        <p:nvSpPr>
          <p:cNvPr id="4" name="文本框 3">
            <a:extLst>
              <a:ext uri="{FF2B5EF4-FFF2-40B4-BE49-F238E27FC236}">
                <a16:creationId xmlns:a16="http://schemas.microsoft.com/office/drawing/2014/main" id="{2602840C-F67D-4604-BEB6-72B335E4CD7E}"/>
              </a:ext>
            </a:extLst>
          </p:cNvPr>
          <p:cNvSpPr txBox="1"/>
          <p:nvPr/>
        </p:nvSpPr>
        <p:spPr>
          <a:xfrm>
            <a:off x="398272" y="281058"/>
            <a:ext cx="1452626" cy="830997"/>
          </a:xfrm>
          <a:prstGeom prst="rect">
            <a:avLst/>
          </a:prstGeom>
          <a:noFill/>
        </p:spPr>
        <p:txBody>
          <a:bodyPr wrap="square" lIns="0" tIns="0" rIns="0" bIns="0" rtlCol="0" anchor="t">
            <a:spAutoFit/>
          </a:bodyPr>
          <a:lstStyle/>
          <a:p>
            <a:pPr algn="dist"/>
            <a:r>
              <a:rPr lang="zh-CN" altLang="en-US" sz="5400" dirty="0">
                <a:solidFill>
                  <a:schemeClr val="accent1"/>
                </a:solidFill>
                <a:latin typeface="+mj-ea"/>
                <a:ea typeface="+mj-ea"/>
              </a:rPr>
              <a:t>目录</a:t>
            </a:r>
          </a:p>
        </p:txBody>
      </p:sp>
      <p:grpSp>
        <p:nvGrpSpPr>
          <p:cNvPr id="10" name="组合 9">
            <a:extLst>
              <a:ext uri="{FF2B5EF4-FFF2-40B4-BE49-F238E27FC236}">
                <a16:creationId xmlns:a16="http://schemas.microsoft.com/office/drawing/2014/main" id="{527F1729-DACB-46B3-A650-CC61DE0AFB43}"/>
              </a:ext>
            </a:extLst>
          </p:cNvPr>
          <p:cNvGrpSpPr/>
          <p:nvPr/>
        </p:nvGrpSpPr>
        <p:grpSpPr>
          <a:xfrm>
            <a:off x="3825939" y="2294771"/>
            <a:ext cx="2458285" cy="673477"/>
            <a:chOff x="3803079" y="2050931"/>
            <a:chExt cx="2458285" cy="673477"/>
          </a:xfrm>
        </p:grpSpPr>
        <p:sp>
          <p:nvSpPr>
            <p:cNvPr id="7" name="圆: 空心 6">
              <a:extLst>
                <a:ext uri="{FF2B5EF4-FFF2-40B4-BE49-F238E27FC236}">
                  <a16:creationId xmlns:a16="http://schemas.microsoft.com/office/drawing/2014/main" id="{1A76E32E-6535-45BC-84FB-16C0FFB50309}"/>
                </a:ext>
              </a:extLst>
            </p:cNvPr>
            <p:cNvSpPr/>
            <p:nvPr/>
          </p:nvSpPr>
          <p:spPr>
            <a:xfrm>
              <a:off x="3803079" y="2050931"/>
              <a:ext cx="344805" cy="344805"/>
            </a:xfrm>
            <a:prstGeom prst="donut">
              <a:avLst>
                <a:gd name="adj" fmla="val 16640"/>
              </a:avLst>
            </a:prstGeom>
            <a:gradFill>
              <a:gsLst>
                <a:gs pos="44264">
                  <a:srgbClr val="FFFFFF">
                    <a:alpha val="37000"/>
                  </a:srgbClr>
                </a:gs>
                <a:gs pos="0">
                  <a:schemeClr val="bg1"/>
                </a:gs>
                <a:gs pos="88000">
                  <a:schemeClr val="bg1">
                    <a:alpha val="0"/>
                  </a:schemeClr>
                </a:gs>
              </a:gsLst>
              <a:lin ang="1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solidFill>
                  <a:schemeClr val="tx1"/>
                </a:solidFill>
              </a:endParaRPr>
            </a:p>
          </p:txBody>
        </p:sp>
        <p:sp>
          <p:nvSpPr>
            <p:cNvPr id="8" name="文本框 7">
              <a:extLst>
                <a:ext uri="{FF2B5EF4-FFF2-40B4-BE49-F238E27FC236}">
                  <a16:creationId xmlns:a16="http://schemas.microsoft.com/office/drawing/2014/main" id="{2BF705EB-18D0-4271-ADE3-99825EDB105D}"/>
                </a:ext>
              </a:extLst>
            </p:cNvPr>
            <p:cNvSpPr txBox="1"/>
            <p:nvPr/>
          </p:nvSpPr>
          <p:spPr>
            <a:xfrm>
              <a:off x="3975482" y="2139632"/>
              <a:ext cx="2285882" cy="369332"/>
            </a:xfrm>
            <a:prstGeom prst="rect">
              <a:avLst/>
            </a:prstGeom>
            <a:noFill/>
          </p:spPr>
          <p:txBody>
            <a:bodyPr wrap="none" lIns="0" tIns="0" rIns="0" bIns="0" rtlCol="0" anchor="t">
              <a:spAutoFit/>
            </a:bodyPr>
            <a:lstStyle/>
            <a:p>
              <a:r>
                <a:rPr lang="en-US" altLang="zh-CN" sz="2400" dirty="0">
                  <a:solidFill>
                    <a:schemeClr val="bg1"/>
                  </a:solidFill>
                  <a:latin typeface="+mj-ea"/>
                  <a:ea typeface="+mj-ea"/>
                </a:rPr>
                <a:t>01 </a:t>
              </a:r>
              <a:r>
                <a:rPr lang="zh-CN" altLang="en-US" sz="2400" dirty="0">
                  <a:solidFill>
                    <a:schemeClr val="bg1"/>
                  </a:solidFill>
                  <a:latin typeface="+mj-ea"/>
                  <a:ea typeface="+mj-ea"/>
                </a:rPr>
                <a:t>输入目录标题</a:t>
              </a:r>
            </a:p>
          </p:txBody>
        </p:sp>
        <p:sp>
          <p:nvSpPr>
            <p:cNvPr id="9" name="文本框 8">
              <a:extLst>
                <a:ext uri="{FF2B5EF4-FFF2-40B4-BE49-F238E27FC236}">
                  <a16:creationId xmlns:a16="http://schemas.microsoft.com/office/drawing/2014/main" id="{054D0185-6866-4EFF-94E4-89B1CF9FA709}"/>
                </a:ext>
              </a:extLst>
            </p:cNvPr>
            <p:cNvSpPr txBox="1"/>
            <p:nvPr/>
          </p:nvSpPr>
          <p:spPr>
            <a:xfrm>
              <a:off x="3975481" y="2508964"/>
              <a:ext cx="2285881" cy="215444"/>
            </a:xfrm>
            <a:prstGeom prst="rect">
              <a:avLst/>
            </a:prstGeom>
            <a:noFill/>
          </p:spPr>
          <p:txBody>
            <a:bodyPr wrap="square" lIns="0" tIns="0" rIns="0" bIns="0" rtlCol="0" anchor="t">
              <a:spAutoFit/>
            </a:bodyPr>
            <a:lstStyle/>
            <a:p>
              <a:pPr algn="dist"/>
              <a:r>
                <a:rPr lang="en-US" altLang="zh-CN" sz="1400" dirty="0">
                  <a:solidFill>
                    <a:schemeClr val="bg1"/>
                  </a:solidFill>
                </a:rPr>
                <a:t>Contents Title Here</a:t>
              </a:r>
              <a:endParaRPr lang="zh-CN" altLang="en-US" sz="1400" dirty="0">
                <a:solidFill>
                  <a:schemeClr val="bg1"/>
                </a:solidFill>
              </a:endParaRPr>
            </a:p>
          </p:txBody>
        </p:sp>
      </p:grpSp>
      <p:grpSp>
        <p:nvGrpSpPr>
          <p:cNvPr id="11" name="组合 10">
            <a:extLst>
              <a:ext uri="{FF2B5EF4-FFF2-40B4-BE49-F238E27FC236}">
                <a16:creationId xmlns:a16="http://schemas.microsoft.com/office/drawing/2014/main" id="{68027A7F-F976-4697-8726-D9F6B5A2CBCB}"/>
              </a:ext>
            </a:extLst>
          </p:cNvPr>
          <p:cNvGrpSpPr/>
          <p:nvPr/>
        </p:nvGrpSpPr>
        <p:grpSpPr>
          <a:xfrm>
            <a:off x="3825939" y="3283800"/>
            <a:ext cx="2512787" cy="673477"/>
            <a:chOff x="3803079" y="2050931"/>
            <a:chExt cx="2512787" cy="673477"/>
          </a:xfrm>
        </p:grpSpPr>
        <p:sp>
          <p:nvSpPr>
            <p:cNvPr id="12" name="圆: 空心 11">
              <a:extLst>
                <a:ext uri="{FF2B5EF4-FFF2-40B4-BE49-F238E27FC236}">
                  <a16:creationId xmlns:a16="http://schemas.microsoft.com/office/drawing/2014/main" id="{E73054AD-7477-4D23-AFF1-614B1F9D9BE1}"/>
                </a:ext>
              </a:extLst>
            </p:cNvPr>
            <p:cNvSpPr/>
            <p:nvPr/>
          </p:nvSpPr>
          <p:spPr>
            <a:xfrm>
              <a:off x="3803079" y="2050931"/>
              <a:ext cx="344805" cy="344805"/>
            </a:xfrm>
            <a:prstGeom prst="donut">
              <a:avLst>
                <a:gd name="adj" fmla="val 16640"/>
              </a:avLst>
            </a:prstGeom>
            <a:gradFill>
              <a:gsLst>
                <a:gs pos="44264">
                  <a:srgbClr val="FFFFFF">
                    <a:alpha val="37000"/>
                  </a:srgbClr>
                </a:gs>
                <a:gs pos="0">
                  <a:schemeClr val="bg1"/>
                </a:gs>
                <a:gs pos="88000">
                  <a:schemeClr val="bg1">
                    <a:alpha val="0"/>
                  </a:schemeClr>
                </a:gs>
              </a:gsLst>
              <a:lin ang="1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solidFill>
                  <a:schemeClr val="tx1"/>
                </a:solidFill>
              </a:endParaRPr>
            </a:p>
          </p:txBody>
        </p:sp>
        <p:sp>
          <p:nvSpPr>
            <p:cNvPr id="13" name="文本框 12">
              <a:extLst>
                <a:ext uri="{FF2B5EF4-FFF2-40B4-BE49-F238E27FC236}">
                  <a16:creationId xmlns:a16="http://schemas.microsoft.com/office/drawing/2014/main" id="{AD787E9E-7896-4D00-A90D-29A0F29FA9A9}"/>
                </a:ext>
              </a:extLst>
            </p:cNvPr>
            <p:cNvSpPr txBox="1"/>
            <p:nvPr/>
          </p:nvSpPr>
          <p:spPr>
            <a:xfrm>
              <a:off x="3975482" y="2139632"/>
              <a:ext cx="2340384" cy="369332"/>
            </a:xfrm>
            <a:prstGeom prst="rect">
              <a:avLst/>
            </a:prstGeom>
            <a:noFill/>
          </p:spPr>
          <p:txBody>
            <a:bodyPr wrap="none" lIns="0" tIns="0" rIns="0" bIns="0" rtlCol="0" anchor="t">
              <a:spAutoFit/>
            </a:bodyPr>
            <a:lstStyle/>
            <a:p>
              <a:r>
                <a:rPr lang="en-US" altLang="zh-CN" sz="2400" dirty="0">
                  <a:solidFill>
                    <a:schemeClr val="bg1"/>
                  </a:solidFill>
                  <a:latin typeface="+mj-ea"/>
                  <a:ea typeface="+mj-ea"/>
                </a:rPr>
                <a:t>02 </a:t>
              </a:r>
              <a:r>
                <a:rPr lang="zh-CN" altLang="en-US" sz="2400" dirty="0">
                  <a:solidFill>
                    <a:schemeClr val="bg1"/>
                  </a:solidFill>
                  <a:latin typeface="+mj-ea"/>
                  <a:ea typeface="+mj-ea"/>
                </a:rPr>
                <a:t>输入目录标题</a:t>
              </a:r>
            </a:p>
          </p:txBody>
        </p:sp>
        <p:sp>
          <p:nvSpPr>
            <p:cNvPr id="14" name="文本框 13">
              <a:extLst>
                <a:ext uri="{FF2B5EF4-FFF2-40B4-BE49-F238E27FC236}">
                  <a16:creationId xmlns:a16="http://schemas.microsoft.com/office/drawing/2014/main" id="{97AAB9DD-2978-43D8-BA84-F533FDBE9F01}"/>
                </a:ext>
              </a:extLst>
            </p:cNvPr>
            <p:cNvSpPr txBox="1"/>
            <p:nvPr/>
          </p:nvSpPr>
          <p:spPr>
            <a:xfrm>
              <a:off x="3975481" y="2508964"/>
              <a:ext cx="2285881" cy="215444"/>
            </a:xfrm>
            <a:prstGeom prst="rect">
              <a:avLst/>
            </a:prstGeom>
            <a:noFill/>
          </p:spPr>
          <p:txBody>
            <a:bodyPr wrap="square" lIns="0" tIns="0" rIns="0" bIns="0" rtlCol="0" anchor="t">
              <a:spAutoFit/>
            </a:bodyPr>
            <a:lstStyle/>
            <a:p>
              <a:pPr algn="dist"/>
              <a:r>
                <a:rPr lang="en-US" altLang="zh-CN" sz="1400" dirty="0">
                  <a:solidFill>
                    <a:schemeClr val="bg1"/>
                  </a:solidFill>
                </a:rPr>
                <a:t>Contents Title Here</a:t>
              </a:r>
              <a:endParaRPr lang="zh-CN" altLang="en-US" sz="1400" dirty="0">
                <a:solidFill>
                  <a:schemeClr val="bg1"/>
                </a:solidFill>
              </a:endParaRPr>
            </a:p>
          </p:txBody>
        </p:sp>
      </p:grpSp>
      <p:grpSp>
        <p:nvGrpSpPr>
          <p:cNvPr id="15" name="组合 14">
            <a:extLst>
              <a:ext uri="{FF2B5EF4-FFF2-40B4-BE49-F238E27FC236}">
                <a16:creationId xmlns:a16="http://schemas.microsoft.com/office/drawing/2014/main" id="{E6228743-3A96-48B6-9BD3-C18B8E70C3D6}"/>
              </a:ext>
            </a:extLst>
          </p:cNvPr>
          <p:cNvGrpSpPr/>
          <p:nvPr/>
        </p:nvGrpSpPr>
        <p:grpSpPr>
          <a:xfrm>
            <a:off x="3825939" y="4272830"/>
            <a:ext cx="2512787" cy="673477"/>
            <a:chOff x="3803079" y="2050931"/>
            <a:chExt cx="2512787" cy="673477"/>
          </a:xfrm>
        </p:grpSpPr>
        <p:sp>
          <p:nvSpPr>
            <p:cNvPr id="16" name="圆: 空心 15">
              <a:extLst>
                <a:ext uri="{FF2B5EF4-FFF2-40B4-BE49-F238E27FC236}">
                  <a16:creationId xmlns:a16="http://schemas.microsoft.com/office/drawing/2014/main" id="{B214F532-304A-4A84-AB59-C674FE8926E1}"/>
                </a:ext>
              </a:extLst>
            </p:cNvPr>
            <p:cNvSpPr/>
            <p:nvPr/>
          </p:nvSpPr>
          <p:spPr>
            <a:xfrm>
              <a:off x="3803079" y="2050931"/>
              <a:ext cx="344805" cy="344805"/>
            </a:xfrm>
            <a:prstGeom prst="donut">
              <a:avLst>
                <a:gd name="adj" fmla="val 16640"/>
              </a:avLst>
            </a:prstGeom>
            <a:gradFill>
              <a:gsLst>
                <a:gs pos="44264">
                  <a:srgbClr val="FFFFFF">
                    <a:alpha val="37000"/>
                  </a:srgbClr>
                </a:gs>
                <a:gs pos="0">
                  <a:schemeClr val="bg1"/>
                </a:gs>
                <a:gs pos="88000">
                  <a:schemeClr val="bg1">
                    <a:alpha val="0"/>
                  </a:schemeClr>
                </a:gs>
              </a:gsLst>
              <a:lin ang="1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solidFill>
                  <a:schemeClr val="tx1"/>
                </a:solidFill>
              </a:endParaRPr>
            </a:p>
          </p:txBody>
        </p:sp>
        <p:sp>
          <p:nvSpPr>
            <p:cNvPr id="17" name="文本框 16">
              <a:extLst>
                <a:ext uri="{FF2B5EF4-FFF2-40B4-BE49-F238E27FC236}">
                  <a16:creationId xmlns:a16="http://schemas.microsoft.com/office/drawing/2014/main" id="{F2282858-B1E6-4AD6-ACF0-472A232D5340}"/>
                </a:ext>
              </a:extLst>
            </p:cNvPr>
            <p:cNvSpPr txBox="1"/>
            <p:nvPr/>
          </p:nvSpPr>
          <p:spPr>
            <a:xfrm>
              <a:off x="3975482" y="2139632"/>
              <a:ext cx="2340384" cy="369332"/>
            </a:xfrm>
            <a:prstGeom prst="rect">
              <a:avLst/>
            </a:prstGeom>
            <a:noFill/>
          </p:spPr>
          <p:txBody>
            <a:bodyPr wrap="none" lIns="0" tIns="0" rIns="0" bIns="0" rtlCol="0" anchor="t">
              <a:spAutoFit/>
            </a:bodyPr>
            <a:lstStyle/>
            <a:p>
              <a:r>
                <a:rPr lang="en-US" altLang="zh-CN" sz="2400" dirty="0">
                  <a:solidFill>
                    <a:schemeClr val="bg1"/>
                  </a:solidFill>
                  <a:latin typeface="+mj-ea"/>
                  <a:ea typeface="+mj-ea"/>
                </a:rPr>
                <a:t>03 </a:t>
              </a:r>
              <a:r>
                <a:rPr lang="zh-CN" altLang="en-US" sz="2400" dirty="0">
                  <a:solidFill>
                    <a:schemeClr val="bg1"/>
                  </a:solidFill>
                  <a:latin typeface="+mj-ea"/>
                  <a:ea typeface="+mj-ea"/>
                </a:rPr>
                <a:t>输入目录标题</a:t>
              </a:r>
            </a:p>
          </p:txBody>
        </p:sp>
        <p:sp>
          <p:nvSpPr>
            <p:cNvPr id="18" name="文本框 17">
              <a:extLst>
                <a:ext uri="{FF2B5EF4-FFF2-40B4-BE49-F238E27FC236}">
                  <a16:creationId xmlns:a16="http://schemas.microsoft.com/office/drawing/2014/main" id="{81CB6076-8BEE-49BB-9178-9F74454C5C92}"/>
                </a:ext>
              </a:extLst>
            </p:cNvPr>
            <p:cNvSpPr txBox="1"/>
            <p:nvPr/>
          </p:nvSpPr>
          <p:spPr>
            <a:xfrm>
              <a:off x="3975481" y="2508964"/>
              <a:ext cx="2285881" cy="215444"/>
            </a:xfrm>
            <a:prstGeom prst="rect">
              <a:avLst/>
            </a:prstGeom>
            <a:noFill/>
          </p:spPr>
          <p:txBody>
            <a:bodyPr wrap="square" lIns="0" tIns="0" rIns="0" bIns="0" rtlCol="0" anchor="t">
              <a:spAutoFit/>
            </a:bodyPr>
            <a:lstStyle/>
            <a:p>
              <a:pPr algn="dist"/>
              <a:r>
                <a:rPr lang="en-US" altLang="zh-CN" sz="1400" dirty="0">
                  <a:solidFill>
                    <a:schemeClr val="bg1"/>
                  </a:solidFill>
                </a:rPr>
                <a:t>Contents Title Here</a:t>
              </a:r>
              <a:endParaRPr lang="zh-CN" altLang="en-US" sz="1400" dirty="0">
                <a:solidFill>
                  <a:schemeClr val="bg1"/>
                </a:solidFill>
              </a:endParaRPr>
            </a:p>
          </p:txBody>
        </p:sp>
      </p:grpSp>
      <p:cxnSp>
        <p:nvCxnSpPr>
          <p:cNvPr id="20" name="直接连接符 19">
            <a:extLst>
              <a:ext uri="{FF2B5EF4-FFF2-40B4-BE49-F238E27FC236}">
                <a16:creationId xmlns:a16="http://schemas.microsoft.com/office/drawing/2014/main" id="{0868E9D7-19A1-412A-913B-66CD44175CB7}"/>
              </a:ext>
            </a:extLst>
          </p:cNvPr>
          <p:cNvCxnSpPr/>
          <p:nvPr/>
        </p:nvCxnSpPr>
        <p:spPr>
          <a:xfrm>
            <a:off x="3825938" y="3099816"/>
            <a:ext cx="7393749" cy="0"/>
          </a:xfrm>
          <a:prstGeom prst="line">
            <a:avLst/>
          </a:prstGeom>
          <a:ln>
            <a:solidFill>
              <a:schemeClr val="bg1"/>
            </a:solidFill>
            <a:prstDash val="solid"/>
          </a:ln>
        </p:spPr>
        <p:style>
          <a:lnRef idx="1">
            <a:schemeClr val="accent1"/>
          </a:lnRef>
          <a:fillRef idx="0">
            <a:schemeClr val="accent1"/>
          </a:fillRef>
          <a:effectRef idx="0">
            <a:schemeClr val="accent1"/>
          </a:effectRef>
          <a:fontRef idx="minor">
            <a:schemeClr val="tx1"/>
          </a:fontRef>
        </p:style>
      </p:cxnSp>
      <p:cxnSp>
        <p:nvCxnSpPr>
          <p:cNvPr id="21" name="直接连接符 20">
            <a:extLst>
              <a:ext uri="{FF2B5EF4-FFF2-40B4-BE49-F238E27FC236}">
                <a16:creationId xmlns:a16="http://schemas.microsoft.com/office/drawing/2014/main" id="{63AA1B53-A600-4C2E-892C-889E3C36F174}"/>
              </a:ext>
            </a:extLst>
          </p:cNvPr>
          <p:cNvCxnSpPr/>
          <p:nvPr/>
        </p:nvCxnSpPr>
        <p:spPr>
          <a:xfrm>
            <a:off x="3825938" y="4123944"/>
            <a:ext cx="7393749" cy="0"/>
          </a:xfrm>
          <a:prstGeom prst="line">
            <a:avLst/>
          </a:prstGeom>
          <a:ln>
            <a:solidFill>
              <a:schemeClr val="bg1"/>
            </a:solidFill>
            <a:prstDash val="soli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62383875"/>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a:extLst>
              <a:ext uri="{FF2B5EF4-FFF2-40B4-BE49-F238E27FC236}">
                <a16:creationId xmlns:a16="http://schemas.microsoft.com/office/drawing/2014/main" id="{C82EE906-AFE7-416B-A598-3639588CE8F3}"/>
              </a:ext>
            </a:extLst>
          </p:cNvPr>
          <p:cNvSpPr txBox="1"/>
          <p:nvPr/>
        </p:nvSpPr>
        <p:spPr>
          <a:xfrm>
            <a:off x="1974088" y="633067"/>
            <a:ext cx="2416937" cy="492443"/>
          </a:xfrm>
          <a:prstGeom prst="rect">
            <a:avLst/>
          </a:prstGeom>
          <a:noFill/>
        </p:spPr>
        <p:txBody>
          <a:bodyPr wrap="square" lIns="0" tIns="0" rIns="0" bIns="0" rtlCol="0" anchor="t">
            <a:spAutoFit/>
          </a:bodyPr>
          <a:lstStyle/>
          <a:p>
            <a:pPr algn="dist"/>
            <a:r>
              <a:rPr lang="en-US" altLang="zh-CN" sz="3200" dirty="0">
                <a:solidFill>
                  <a:schemeClr val="accent1">
                    <a:lumMod val="20000"/>
                    <a:lumOff val="80000"/>
                  </a:schemeClr>
                </a:solidFill>
                <a:latin typeface="+mj-ea"/>
                <a:ea typeface="+mj-ea"/>
              </a:rPr>
              <a:t>CONTENTS</a:t>
            </a:r>
            <a:endParaRPr lang="zh-CN" altLang="en-US" sz="3200" dirty="0">
              <a:solidFill>
                <a:schemeClr val="accent1">
                  <a:lumMod val="20000"/>
                  <a:lumOff val="80000"/>
                </a:schemeClr>
              </a:solidFill>
              <a:latin typeface="+mj-ea"/>
              <a:ea typeface="+mj-ea"/>
            </a:endParaRPr>
          </a:p>
        </p:txBody>
      </p:sp>
      <p:sp>
        <p:nvSpPr>
          <p:cNvPr id="3" name="文本框 2">
            <a:extLst>
              <a:ext uri="{FF2B5EF4-FFF2-40B4-BE49-F238E27FC236}">
                <a16:creationId xmlns:a16="http://schemas.microsoft.com/office/drawing/2014/main" id="{115FAB9C-24FA-413A-A3D6-CB9B99CC67A7}"/>
              </a:ext>
            </a:extLst>
          </p:cNvPr>
          <p:cNvSpPr txBox="1"/>
          <p:nvPr/>
        </p:nvSpPr>
        <p:spPr>
          <a:xfrm>
            <a:off x="398272" y="326778"/>
            <a:ext cx="1452626" cy="830997"/>
          </a:xfrm>
          <a:prstGeom prst="rect">
            <a:avLst/>
          </a:prstGeom>
          <a:noFill/>
        </p:spPr>
        <p:txBody>
          <a:bodyPr wrap="square" lIns="0" tIns="0" rIns="0" bIns="0" rtlCol="0" anchor="t">
            <a:spAutoFit/>
          </a:bodyPr>
          <a:lstStyle/>
          <a:p>
            <a:pPr algn="dist"/>
            <a:r>
              <a:rPr lang="zh-CN" altLang="en-US" sz="5400" dirty="0">
                <a:solidFill>
                  <a:schemeClr val="accent1"/>
                </a:solidFill>
                <a:latin typeface="+mj-ea"/>
                <a:ea typeface="+mj-ea"/>
              </a:rPr>
              <a:t>目录</a:t>
            </a:r>
          </a:p>
        </p:txBody>
      </p:sp>
      <p:grpSp>
        <p:nvGrpSpPr>
          <p:cNvPr id="35" name="组合 34">
            <a:extLst>
              <a:ext uri="{FF2B5EF4-FFF2-40B4-BE49-F238E27FC236}">
                <a16:creationId xmlns:a16="http://schemas.microsoft.com/office/drawing/2014/main" id="{4B119783-AC05-494D-9F86-E46EA41FCBC2}"/>
              </a:ext>
            </a:extLst>
          </p:cNvPr>
          <p:cNvGrpSpPr/>
          <p:nvPr/>
        </p:nvGrpSpPr>
        <p:grpSpPr>
          <a:xfrm>
            <a:off x="514350" y="1534358"/>
            <a:ext cx="11163300" cy="733425"/>
            <a:chOff x="514350" y="1534358"/>
            <a:chExt cx="11163300" cy="733425"/>
          </a:xfrm>
        </p:grpSpPr>
        <p:sp>
          <p:nvSpPr>
            <p:cNvPr id="4" name="矩形: 单圆角 3">
              <a:extLst>
                <a:ext uri="{FF2B5EF4-FFF2-40B4-BE49-F238E27FC236}">
                  <a16:creationId xmlns:a16="http://schemas.microsoft.com/office/drawing/2014/main" id="{5F5379A4-C54B-440B-9848-07D537F711B0}"/>
                </a:ext>
              </a:extLst>
            </p:cNvPr>
            <p:cNvSpPr/>
            <p:nvPr/>
          </p:nvSpPr>
          <p:spPr>
            <a:xfrm>
              <a:off x="514350" y="1534358"/>
              <a:ext cx="11163300" cy="733425"/>
            </a:xfrm>
            <a:prstGeom prst="round1Rect">
              <a:avLst>
                <a:gd name="adj" fmla="val 26018"/>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p>
          </p:txBody>
        </p:sp>
        <p:sp>
          <p:nvSpPr>
            <p:cNvPr id="34" name="任意多边形: 形状 33">
              <a:extLst>
                <a:ext uri="{FF2B5EF4-FFF2-40B4-BE49-F238E27FC236}">
                  <a16:creationId xmlns:a16="http://schemas.microsoft.com/office/drawing/2014/main" id="{7DE3ED11-DB60-499A-AF78-902FC6558E85}"/>
                </a:ext>
              </a:extLst>
            </p:cNvPr>
            <p:cNvSpPr/>
            <p:nvPr/>
          </p:nvSpPr>
          <p:spPr>
            <a:xfrm>
              <a:off x="1338263" y="1534358"/>
              <a:ext cx="678481" cy="733425"/>
            </a:xfrm>
            <a:custGeom>
              <a:avLst/>
              <a:gdLst>
                <a:gd name="connsiteX0" fmla="*/ 0 w 1469055"/>
                <a:gd name="connsiteY0" fmla="*/ 0 h 733425"/>
                <a:gd name="connsiteX1" fmla="*/ 1469055 w 1469055"/>
                <a:gd name="connsiteY1" fmla="*/ 0 h 733425"/>
                <a:gd name="connsiteX2" fmla="*/ 1285699 w 1469055"/>
                <a:gd name="connsiteY2" fmla="*/ 733425 h 733425"/>
                <a:gd name="connsiteX3" fmla="*/ 0 w 1469055"/>
                <a:gd name="connsiteY3" fmla="*/ 733425 h 733425"/>
              </a:gdLst>
              <a:ahLst/>
              <a:cxnLst>
                <a:cxn ang="0">
                  <a:pos x="connsiteX0" y="connsiteY0"/>
                </a:cxn>
                <a:cxn ang="0">
                  <a:pos x="connsiteX1" y="connsiteY1"/>
                </a:cxn>
                <a:cxn ang="0">
                  <a:pos x="connsiteX2" y="connsiteY2"/>
                </a:cxn>
                <a:cxn ang="0">
                  <a:pos x="connsiteX3" y="connsiteY3"/>
                </a:cxn>
              </a:cxnLst>
              <a:rect l="l" t="t" r="r" b="b"/>
              <a:pathLst>
                <a:path w="1469055" h="733425">
                  <a:moveTo>
                    <a:pt x="0" y="0"/>
                  </a:moveTo>
                  <a:lnTo>
                    <a:pt x="1469055" y="0"/>
                  </a:lnTo>
                  <a:lnTo>
                    <a:pt x="1285699" y="733425"/>
                  </a:lnTo>
                  <a:lnTo>
                    <a:pt x="0" y="733425"/>
                  </a:lnTo>
                  <a:close/>
                </a:path>
              </a:pathLst>
            </a:cu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6000" dirty="0"/>
            </a:p>
          </p:txBody>
        </p:sp>
        <p:sp>
          <p:nvSpPr>
            <p:cNvPr id="9" name="任意多边形: 形状 8">
              <a:extLst>
                <a:ext uri="{FF2B5EF4-FFF2-40B4-BE49-F238E27FC236}">
                  <a16:creationId xmlns:a16="http://schemas.microsoft.com/office/drawing/2014/main" id="{59768381-BD68-4487-AD67-98D6F9152E4B}"/>
                </a:ext>
              </a:extLst>
            </p:cNvPr>
            <p:cNvSpPr/>
            <p:nvPr/>
          </p:nvSpPr>
          <p:spPr>
            <a:xfrm>
              <a:off x="514351" y="1534358"/>
              <a:ext cx="1469055" cy="733425"/>
            </a:xfrm>
            <a:custGeom>
              <a:avLst/>
              <a:gdLst>
                <a:gd name="connsiteX0" fmla="*/ 0 w 1469055"/>
                <a:gd name="connsiteY0" fmla="*/ 0 h 733425"/>
                <a:gd name="connsiteX1" fmla="*/ 1469055 w 1469055"/>
                <a:gd name="connsiteY1" fmla="*/ 0 h 733425"/>
                <a:gd name="connsiteX2" fmla="*/ 1285699 w 1469055"/>
                <a:gd name="connsiteY2" fmla="*/ 733425 h 733425"/>
                <a:gd name="connsiteX3" fmla="*/ 0 w 1469055"/>
                <a:gd name="connsiteY3" fmla="*/ 733425 h 733425"/>
              </a:gdLst>
              <a:ahLst/>
              <a:cxnLst>
                <a:cxn ang="0">
                  <a:pos x="connsiteX0" y="connsiteY0"/>
                </a:cxn>
                <a:cxn ang="0">
                  <a:pos x="connsiteX1" y="connsiteY1"/>
                </a:cxn>
                <a:cxn ang="0">
                  <a:pos x="connsiteX2" y="connsiteY2"/>
                </a:cxn>
                <a:cxn ang="0">
                  <a:pos x="connsiteX3" y="connsiteY3"/>
                </a:cxn>
              </a:cxnLst>
              <a:rect l="l" t="t" r="r" b="b"/>
              <a:pathLst>
                <a:path w="1469055" h="733425">
                  <a:moveTo>
                    <a:pt x="0" y="0"/>
                  </a:moveTo>
                  <a:lnTo>
                    <a:pt x="1469055" y="0"/>
                  </a:lnTo>
                  <a:lnTo>
                    <a:pt x="1285699" y="733425"/>
                  </a:lnTo>
                  <a:lnTo>
                    <a:pt x="0" y="733425"/>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6000" dirty="0"/>
            </a:p>
          </p:txBody>
        </p:sp>
        <p:sp>
          <p:nvSpPr>
            <p:cNvPr id="10" name="文本框 9">
              <a:extLst>
                <a:ext uri="{FF2B5EF4-FFF2-40B4-BE49-F238E27FC236}">
                  <a16:creationId xmlns:a16="http://schemas.microsoft.com/office/drawing/2014/main" id="{86835616-AF17-4827-90DA-55AC811E1A78}"/>
                </a:ext>
              </a:extLst>
            </p:cNvPr>
            <p:cNvSpPr txBox="1"/>
            <p:nvPr/>
          </p:nvSpPr>
          <p:spPr>
            <a:xfrm>
              <a:off x="937370" y="1624071"/>
              <a:ext cx="469680" cy="553998"/>
            </a:xfrm>
            <a:prstGeom prst="rect">
              <a:avLst/>
            </a:prstGeom>
            <a:noFill/>
          </p:spPr>
          <p:txBody>
            <a:bodyPr wrap="none" lIns="0" tIns="0" rIns="0" bIns="0" rtlCol="0" anchor="t">
              <a:spAutoFit/>
            </a:bodyPr>
            <a:lstStyle/>
            <a:p>
              <a:pPr algn="l"/>
              <a:r>
                <a:rPr lang="en-US" altLang="zh-CN" sz="3600" dirty="0">
                  <a:solidFill>
                    <a:schemeClr val="bg1"/>
                  </a:solidFill>
                </a:rPr>
                <a:t>01</a:t>
              </a:r>
              <a:endParaRPr lang="zh-CN" altLang="en-US" sz="3600" dirty="0">
                <a:solidFill>
                  <a:schemeClr val="bg1"/>
                </a:solidFill>
              </a:endParaRPr>
            </a:p>
          </p:txBody>
        </p:sp>
        <p:sp>
          <p:nvSpPr>
            <p:cNvPr id="11" name="文本框 10">
              <a:extLst>
                <a:ext uri="{FF2B5EF4-FFF2-40B4-BE49-F238E27FC236}">
                  <a16:creationId xmlns:a16="http://schemas.microsoft.com/office/drawing/2014/main" id="{1925BD38-15E4-46B2-9C13-F2149969F144}"/>
                </a:ext>
              </a:extLst>
            </p:cNvPr>
            <p:cNvSpPr txBox="1"/>
            <p:nvPr/>
          </p:nvSpPr>
          <p:spPr>
            <a:xfrm>
              <a:off x="2168129" y="1716404"/>
              <a:ext cx="1846659" cy="369332"/>
            </a:xfrm>
            <a:prstGeom prst="rect">
              <a:avLst/>
            </a:prstGeom>
            <a:noFill/>
          </p:spPr>
          <p:txBody>
            <a:bodyPr wrap="none" lIns="0" tIns="0" rIns="0" bIns="0" rtlCol="0" anchor="t">
              <a:spAutoFit/>
            </a:bodyPr>
            <a:lstStyle/>
            <a:p>
              <a:r>
                <a:rPr lang="zh-CN" altLang="en-US" sz="2400" dirty="0">
                  <a:solidFill>
                    <a:schemeClr val="accent1">
                      <a:lumMod val="100000"/>
                    </a:schemeClr>
                  </a:solidFill>
                  <a:latin typeface="+mj-ea"/>
                  <a:ea typeface="+mj-ea"/>
                </a:rPr>
                <a:t>输入目录标题</a:t>
              </a:r>
            </a:p>
          </p:txBody>
        </p:sp>
      </p:grpSp>
      <p:grpSp>
        <p:nvGrpSpPr>
          <p:cNvPr id="36" name="组合 35">
            <a:extLst>
              <a:ext uri="{FF2B5EF4-FFF2-40B4-BE49-F238E27FC236}">
                <a16:creationId xmlns:a16="http://schemas.microsoft.com/office/drawing/2014/main" id="{5DEAEA81-A84D-4A12-9BC7-728E17E6485A}"/>
              </a:ext>
            </a:extLst>
          </p:cNvPr>
          <p:cNvGrpSpPr/>
          <p:nvPr/>
        </p:nvGrpSpPr>
        <p:grpSpPr>
          <a:xfrm>
            <a:off x="514350" y="2675215"/>
            <a:ext cx="11163300" cy="733425"/>
            <a:chOff x="514350" y="1534358"/>
            <a:chExt cx="11163300" cy="733425"/>
          </a:xfrm>
        </p:grpSpPr>
        <p:sp>
          <p:nvSpPr>
            <p:cNvPr id="37" name="矩形: 单圆角 36">
              <a:extLst>
                <a:ext uri="{FF2B5EF4-FFF2-40B4-BE49-F238E27FC236}">
                  <a16:creationId xmlns:a16="http://schemas.microsoft.com/office/drawing/2014/main" id="{284EB476-BDA2-443F-9076-60B7411934BB}"/>
                </a:ext>
              </a:extLst>
            </p:cNvPr>
            <p:cNvSpPr/>
            <p:nvPr/>
          </p:nvSpPr>
          <p:spPr>
            <a:xfrm>
              <a:off x="514350" y="1534358"/>
              <a:ext cx="11163300" cy="733425"/>
            </a:xfrm>
            <a:prstGeom prst="round1Rect">
              <a:avLst>
                <a:gd name="adj" fmla="val 26018"/>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p>
          </p:txBody>
        </p:sp>
        <p:sp>
          <p:nvSpPr>
            <p:cNvPr id="38" name="任意多边形: 形状 37">
              <a:extLst>
                <a:ext uri="{FF2B5EF4-FFF2-40B4-BE49-F238E27FC236}">
                  <a16:creationId xmlns:a16="http://schemas.microsoft.com/office/drawing/2014/main" id="{ED05A03C-E94D-4525-950C-C6C0ACA4EF0D}"/>
                </a:ext>
              </a:extLst>
            </p:cNvPr>
            <p:cNvSpPr/>
            <p:nvPr/>
          </p:nvSpPr>
          <p:spPr>
            <a:xfrm>
              <a:off x="1338263" y="1534358"/>
              <a:ext cx="678481" cy="733425"/>
            </a:xfrm>
            <a:custGeom>
              <a:avLst/>
              <a:gdLst>
                <a:gd name="connsiteX0" fmla="*/ 0 w 1469055"/>
                <a:gd name="connsiteY0" fmla="*/ 0 h 733425"/>
                <a:gd name="connsiteX1" fmla="*/ 1469055 w 1469055"/>
                <a:gd name="connsiteY1" fmla="*/ 0 h 733425"/>
                <a:gd name="connsiteX2" fmla="*/ 1285699 w 1469055"/>
                <a:gd name="connsiteY2" fmla="*/ 733425 h 733425"/>
                <a:gd name="connsiteX3" fmla="*/ 0 w 1469055"/>
                <a:gd name="connsiteY3" fmla="*/ 733425 h 733425"/>
              </a:gdLst>
              <a:ahLst/>
              <a:cxnLst>
                <a:cxn ang="0">
                  <a:pos x="connsiteX0" y="connsiteY0"/>
                </a:cxn>
                <a:cxn ang="0">
                  <a:pos x="connsiteX1" y="connsiteY1"/>
                </a:cxn>
                <a:cxn ang="0">
                  <a:pos x="connsiteX2" y="connsiteY2"/>
                </a:cxn>
                <a:cxn ang="0">
                  <a:pos x="connsiteX3" y="connsiteY3"/>
                </a:cxn>
              </a:cxnLst>
              <a:rect l="l" t="t" r="r" b="b"/>
              <a:pathLst>
                <a:path w="1469055" h="733425">
                  <a:moveTo>
                    <a:pt x="0" y="0"/>
                  </a:moveTo>
                  <a:lnTo>
                    <a:pt x="1469055" y="0"/>
                  </a:lnTo>
                  <a:lnTo>
                    <a:pt x="1285699" y="733425"/>
                  </a:lnTo>
                  <a:lnTo>
                    <a:pt x="0" y="733425"/>
                  </a:lnTo>
                  <a:close/>
                </a:path>
              </a:pathLst>
            </a:cu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6000" dirty="0"/>
            </a:p>
          </p:txBody>
        </p:sp>
        <p:sp>
          <p:nvSpPr>
            <p:cNvPr id="39" name="任意多边形: 形状 38">
              <a:extLst>
                <a:ext uri="{FF2B5EF4-FFF2-40B4-BE49-F238E27FC236}">
                  <a16:creationId xmlns:a16="http://schemas.microsoft.com/office/drawing/2014/main" id="{022CBDD2-2DBD-4C5E-9558-2ED1FE9BAE5A}"/>
                </a:ext>
              </a:extLst>
            </p:cNvPr>
            <p:cNvSpPr/>
            <p:nvPr/>
          </p:nvSpPr>
          <p:spPr>
            <a:xfrm>
              <a:off x="514351" y="1534358"/>
              <a:ext cx="1469055" cy="733425"/>
            </a:xfrm>
            <a:custGeom>
              <a:avLst/>
              <a:gdLst>
                <a:gd name="connsiteX0" fmla="*/ 0 w 1469055"/>
                <a:gd name="connsiteY0" fmla="*/ 0 h 733425"/>
                <a:gd name="connsiteX1" fmla="*/ 1469055 w 1469055"/>
                <a:gd name="connsiteY1" fmla="*/ 0 h 733425"/>
                <a:gd name="connsiteX2" fmla="*/ 1285699 w 1469055"/>
                <a:gd name="connsiteY2" fmla="*/ 733425 h 733425"/>
                <a:gd name="connsiteX3" fmla="*/ 0 w 1469055"/>
                <a:gd name="connsiteY3" fmla="*/ 733425 h 733425"/>
              </a:gdLst>
              <a:ahLst/>
              <a:cxnLst>
                <a:cxn ang="0">
                  <a:pos x="connsiteX0" y="connsiteY0"/>
                </a:cxn>
                <a:cxn ang="0">
                  <a:pos x="connsiteX1" y="connsiteY1"/>
                </a:cxn>
                <a:cxn ang="0">
                  <a:pos x="connsiteX2" y="connsiteY2"/>
                </a:cxn>
                <a:cxn ang="0">
                  <a:pos x="connsiteX3" y="connsiteY3"/>
                </a:cxn>
              </a:cxnLst>
              <a:rect l="l" t="t" r="r" b="b"/>
              <a:pathLst>
                <a:path w="1469055" h="733425">
                  <a:moveTo>
                    <a:pt x="0" y="0"/>
                  </a:moveTo>
                  <a:lnTo>
                    <a:pt x="1469055" y="0"/>
                  </a:lnTo>
                  <a:lnTo>
                    <a:pt x="1285699" y="733425"/>
                  </a:lnTo>
                  <a:lnTo>
                    <a:pt x="0" y="733425"/>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6000" dirty="0"/>
            </a:p>
          </p:txBody>
        </p:sp>
        <p:sp>
          <p:nvSpPr>
            <p:cNvPr id="40" name="文本框 39">
              <a:extLst>
                <a:ext uri="{FF2B5EF4-FFF2-40B4-BE49-F238E27FC236}">
                  <a16:creationId xmlns:a16="http://schemas.microsoft.com/office/drawing/2014/main" id="{CC5DB3CB-BF8A-4E2E-B263-EF0A68D03F73}"/>
                </a:ext>
              </a:extLst>
            </p:cNvPr>
            <p:cNvSpPr txBox="1"/>
            <p:nvPr/>
          </p:nvSpPr>
          <p:spPr>
            <a:xfrm>
              <a:off x="937370" y="1624071"/>
              <a:ext cx="564257" cy="553998"/>
            </a:xfrm>
            <a:prstGeom prst="rect">
              <a:avLst/>
            </a:prstGeom>
            <a:noFill/>
          </p:spPr>
          <p:txBody>
            <a:bodyPr wrap="none" lIns="0" tIns="0" rIns="0" bIns="0" rtlCol="0" anchor="t">
              <a:spAutoFit/>
            </a:bodyPr>
            <a:lstStyle/>
            <a:p>
              <a:pPr algn="l"/>
              <a:r>
                <a:rPr lang="en-US" altLang="zh-CN" sz="3600" dirty="0">
                  <a:solidFill>
                    <a:schemeClr val="bg1"/>
                  </a:solidFill>
                </a:rPr>
                <a:t>02</a:t>
              </a:r>
              <a:endParaRPr lang="zh-CN" altLang="en-US" sz="3600" dirty="0">
                <a:solidFill>
                  <a:schemeClr val="bg1"/>
                </a:solidFill>
              </a:endParaRPr>
            </a:p>
          </p:txBody>
        </p:sp>
        <p:sp>
          <p:nvSpPr>
            <p:cNvPr id="41" name="文本框 40">
              <a:extLst>
                <a:ext uri="{FF2B5EF4-FFF2-40B4-BE49-F238E27FC236}">
                  <a16:creationId xmlns:a16="http://schemas.microsoft.com/office/drawing/2014/main" id="{7F89CB8F-EA3A-4F24-93FD-375B05062124}"/>
                </a:ext>
              </a:extLst>
            </p:cNvPr>
            <p:cNvSpPr txBox="1"/>
            <p:nvPr/>
          </p:nvSpPr>
          <p:spPr>
            <a:xfrm>
              <a:off x="2168129" y="1716404"/>
              <a:ext cx="1846659" cy="369332"/>
            </a:xfrm>
            <a:prstGeom prst="rect">
              <a:avLst/>
            </a:prstGeom>
            <a:noFill/>
          </p:spPr>
          <p:txBody>
            <a:bodyPr wrap="none" lIns="0" tIns="0" rIns="0" bIns="0" rtlCol="0" anchor="t">
              <a:spAutoFit/>
            </a:bodyPr>
            <a:lstStyle/>
            <a:p>
              <a:r>
                <a:rPr lang="zh-CN" altLang="en-US" sz="2400" dirty="0">
                  <a:solidFill>
                    <a:schemeClr val="accent1">
                      <a:lumMod val="100000"/>
                    </a:schemeClr>
                  </a:solidFill>
                  <a:latin typeface="+mj-ea"/>
                  <a:ea typeface="+mj-ea"/>
                </a:rPr>
                <a:t>输入目录标题</a:t>
              </a:r>
            </a:p>
          </p:txBody>
        </p:sp>
      </p:grpSp>
      <p:grpSp>
        <p:nvGrpSpPr>
          <p:cNvPr id="42" name="组合 41">
            <a:extLst>
              <a:ext uri="{FF2B5EF4-FFF2-40B4-BE49-F238E27FC236}">
                <a16:creationId xmlns:a16="http://schemas.microsoft.com/office/drawing/2014/main" id="{C5E6DB92-935A-435F-834E-46FB6DB6395F}"/>
              </a:ext>
            </a:extLst>
          </p:cNvPr>
          <p:cNvGrpSpPr/>
          <p:nvPr/>
        </p:nvGrpSpPr>
        <p:grpSpPr>
          <a:xfrm>
            <a:off x="514350" y="3816072"/>
            <a:ext cx="11163300" cy="733425"/>
            <a:chOff x="514350" y="1534358"/>
            <a:chExt cx="11163300" cy="733425"/>
          </a:xfrm>
        </p:grpSpPr>
        <p:sp>
          <p:nvSpPr>
            <p:cNvPr id="43" name="矩形: 单圆角 42">
              <a:extLst>
                <a:ext uri="{FF2B5EF4-FFF2-40B4-BE49-F238E27FC236}">
                  <a16:creationId xmlns:a16="http://schemas.microsoft.com/office/drawing/2014/main" id="{4F2AF7B3-4EE6-44D3-BFA3-DFD2217B0E5F}"/>
                </a:ext>
              </a:extLst>
            </p:cNvPr>
            <p:cNvSpPr/>
            <p:nvPr/>
          </p:nvSpPr>
          <p:spPr>
            <a:xfrm>
              <a:off x="514350" y="1534358"/>
              <a:ext cx="11163300" cy="733425"/>
            </a:xfrm>
            <a:prstGeom prst="round1Rect">
              <a:avLst>
                <a:gd name="adj" fmla="val 26018"/>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p>
          </p:txBody>
        </p:sp>
        <p:sp>
          <p:nvSpPr>
            <p:cNvPr id="44" name="任意多边形: 形状 43">
              <a:extLst>
                <a:ext uri="{FF2B5EF4-FFF2-40B4-BE49-F238E27FC236}">
                  <a16:creationId xmlns:a16="http://schemas.microsoft.com/office/drawing/2014/main" id="{40AD5B24-F5C6-42B3-AE2D-69AE626C427C}"/>
                </a:ext>
              </a:extLst>
            </p:cNvPr>
            <p:cNvSpPr/>
            <p:nvPr/>
          </p:nvSpPr>
          <p:spPr>
            <a:xfrm>
              <a:off x="1338263" y="1534358"/>
              <a:ext cx="678481" cy="733425"/>
            </a:xfrm>
            <a:custGeom>
              <a:avLst/>
              <a:gdLst>
                <a:gd name="connsiteX0" fmla="*/ 0 w 1469055"/>
                <a:gd name="connsiteY0" fmla="*/ 0 h 733425"/>
                <a:gd name="connsiteX1" fmla="*/ 1469055 w 1469055"/>
                <a:gd name="connsiteY1" fmla="*/ 0 h 733425"/>
                <a:gd name="connsiteX2" fmla="*/ 1285699 w 1469055"/>
                <a:gd name="connsiteY2" fmla="*/ 733425 h 733425"/>
                <a:gd name="connsiteX3" fmla="*/ 0 w 1469055"/>
                <a:gd name="connsiteY3" fmla="*/ 733425 h 733425"/>
              </a:gdLst>
              <a:ahLst/>
              <a:cxnLst>
                <a:cxn ang="0">
                  <a:pos x="connsiteX0" y="connsiteY0"/>
                </a:cxn>
                <a:cxn ang="0">
                  <a:pos x="connsiteX1" y="connsiteY1"/>
                </a:cxn>
                <a:cxn ang="0">
                  <a:pos x="connsiteX2" y="connsiteY2"/>
                </a:cxn>
                <a:cxn ang="0">
                  <a:pos x="connsiteX3" y="connsiteY3"/>
                </a:cxn>
              </a:cxnLst>
              <a:rect l="l" t="t" r="r" b="b"/>
              <a:pathLst>
                <a:path w="1469055" h="733425">
                  <a:moveTo>
                    <a:pt x="0" y="0"/>
                  </a:moveTo>
                  <a:lnTo>
                    <a:pt x="1469055" y="0"/>
                  </a:lnTo>
                  <a:lnTo>
                    <a:pt x="1285699" y="733425"/>
                  </a:lnTo>
                  <a:lnTo>
                    <a:pt x="0" y="733425"/>
                  </a:lnTo>
                  <a:close/>
                </a:path>
              </a:pathLst>
            </a:cu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6000" dirty="0"/>
            </a:p>
          </p:txBody>
        </p:sp>
        <p:sp>
          <p:nvSpPr>
            <p:cNvPr id="45" name="任意多边形: 形状 44">
              <a:extLst>
                <a:ext uri="{FF2B5EF4-FFF2-40B4-BE49-F238E27FC236}">
                  <a16:creationId xmlns:a16="http://schemas.microsoft.com/office/drawing/2014/main" id="{D2565679-E556-4548-86D5-9B70251F55F3}"/>
                </a:ext>
              </a:extLst>
            </p:cNvPr>
            <p:cNvSpPr/>
            <p:nvPr/>
          </p:nvSpPr>
          <p:spPr>
            <a:xfrm>
              <a:off x="514351" y="1534358"/>
              <a:ext cx="1469055" cy="733425"/>
            </a:xfrm>
            <a:custGeom>
              <a:avLst/>
              <a:gdLst>
                <a:gd name="connsiteX0" fmla="*/ 0 w 1469055"/>
                <a:gd name="connsiteY0" fmla="*/ 0 h 733425"/>
                <a:gd name="connsiteX1" fmla="*/ 1469055 w 1469055"/>
                <a:gd name="connsiteY1" fmla="*/ 0 h 733425"/>
                <a:gd name="connsiteX2" fmla="*/ 1285699 w 1469055"/>
                <a:gd name="connsiteY2" fmla="*/ 733425 h 733425"/>
                <a:gd name="connsiteX3" fmla="*/ 0 w 1469055"/>
                <a:gd name="connsiteY3" fmla="*/ 733425 h 733425"/>
              </a:gdLst>
              <a:ahLst/>
              <a:cxnLst>
                <a:cxn ang="0">
                  <a:pos x="connsiteX0" y="connsiteY0"/>
                </a:cxn>
                <a:cxn ang="0">
                  <a:pos x="connsiteX1" y="connsiteY1"/>
                </a:cxn>
                <a:cxn ang="0">
                  <a:pos x="connsiteX2" y="connsiteY2"/>
                </a:cxn>
                <a:cxn ang="0">
                  <a:pos x="connsiteX3" y="connsiteY3"/>
                </a:cxn>
              </a:cxnLst>
              <a:rect l="l" t="t" r="r" b="b"/>
              <a:pathLst>
                <a:path w="1469055" h="733425">
                  <a:moveTo>
                    <a:pt x="0" y="0"/>
                  </a:moveTo>
                  <a:lnTo>
                    <a:pt x="1469055" y="0"/>
                  </a:lnTo>
                  <a:lnTo>
                    <a:pt x="1285699" y="733425"/>
                  </a:lnTo>
                  <a:lnTo>
                    <a:pt x="0" y="733425"/>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6000" dirty="0"/>
            </a:p>
          </p:txBody>
        </p:sp>
        <p:sp>
          <p:nvSpPr>
            <p:cNvPr id="46" name="文本框 45">
              <a:extLst>
                <a:ext uri="{FF2B5EF4-FFF2-40B4-BE49-F238E27FC236}">
                  <a16:creationId xmlns:a16="http://schemas.microsoft.com/office/drawing/2014/main" id="{2C0233E6-4743-4142-A370-023D8181663E}"/>
                </a:ext>
              </a:extLst>
            </p:cNvPr>
            <p:cNvSpPr txBox="1"/>
            <p:nvPr/>
          </p:nvSpPr>
          <p:spPr>
            <a:xfrm>
              <a:off x="937370" y="1624071"/>
              <a:ext cx="564257" cy="553998"/>
            </a:xfrm>
            <a:prstGeom prst="rect">
              <a:avLst/>
            </a:prstGeom>
            <a:noFill/>
          </p:spPr>
          <p:txBody>
            <a:bodyPr wrap="none" lIns="0" tIns="0" rIns="0" bIns="0" rtlCol="0" anchor="t">
              <a:spAutoFit/>
            </a:bodyPr>
            <a:lstStyle/>
            <a:p>
              <a:pPr algn="l"/>
              <a:r>
                <a:rPr lang="en-US" altLang="zh-CN" sz="3600" dirty="0">
                  <a:solidFill>
                    <a:schemeClr val="bg1"/>
                  </a:solidFill>
                </a:rPr>
                <a:t>03</a:t>
              </a:r>
              <a:endParaRPr lang="zh-CN" altLang="en-US" sz="3600" dirty="0">
                <a:solidFill>
                  <a:schemeClr val="bg1"/>
                </a:solidFill>
              </a:endParaRPr>
            </a:p>
          </p:txBody>
        </p:sp>
        <p:sp>
          <p:nvSpPr>
            <p:cNvPr id="47" name="文本框 46">
              <a:extLst>
                <a:ext uri="{FF2B5EF4-FFF2-40B4-BE49-F238E27FC236}">
                  <a16:creationId xmlns:a16="http://schemas.microsoft.com/office/drawing/2014/main" id="{DBA7BA90-609F-4610-AB7E-ADDF9750E697}"/>
                </a:ext>
              </a:extLst>
            </p:cNvPr>
            <p:cNvSpPr txBox="1"/>
            <p:nvPr/>
          </p:nvSpPr>
          <p:spPr>
            <a:xfrm>
              <a:off x="2168129" y="1716404"/>
              <a:ext cx="1846659" cy="369332"/>
            </a:xfrm>
            <a:prstGeom prst="rect">
              <a:avLst/>
            </a:prstGeom>
            <a:noFill/>
          </p:spPr>
          <p:txBody>
            <a:bodyPr wrap="none" lIns="0" tIns="0" rIns="0" bIns="0" rtlCol="0" anchor="t">
              <a:spAutoFit/>
            </a:bodyPr>
            <a:lstStyle/>
            <a:p>
              <a:r>
                <a:rPr lang="zh-CN" altLang="en-US" sz="2400" dirty="0">
                  <a:solidFill>
                    <a:schemeClr val="accent1">
                      <a:lumMod val="100000"/>
                    </a:schemeClr>
                  </a:solidFill>
                  <a:latin typeface="+mj-ea"/>
                  <a:ea typeface="+mj-ea"/>
                </a:rPr>
                <a:t>输入目录标题</a:t>
              </a:r>
            </a:p>
          </p:txBody>
        </p:sp>
      </p:grpSp>
      <p:grpSp>
        <p:nvGrpSpPr>
          <p:cNvPr id="48" name="组合 47">
            <a:extLst>
              <a:ext uri="{FF2B5EF4-FFF2-40B4-BE49-F238E27FC236}">
                <a16:creationId xmlns:a16="http://schemas.microsoft.com/office/drawing/2014/main" id="{BAF27C66-EA7D-4AAF-B3C6-556FFF185734}"/>
              </a:ext>
            </a:extLst>
          </p:cNvPr>
          <p:cNvGrpSpPr/>
          <p:nvPr/>
        </p:nvGrpSpPr>
        <p:grpSpPr>
          <a:xfrm>
            <a:off x="514350" y="4956929"/>
            <a:ext cx="11163300" cy="733425"/>
            <a:chOff x="514350" y="1534358"/>
            <a:chExt cx="11163300" cy="733425"/>
          </a:xfrm>
        </p:grpSpPr>
        <p:sp>
          <p:nvSpPr>
            <p:cNvPr id="49" name="矩形: 单圆角 48">
              <a:extLst>
                <a:ext uri="{FF2B5EF4-FFF2-40B4-BE49-F238E27FC236}">
                  <a16:creationId xmlns:a16="http://schemas.microsoft.com/office/drawing/2014/main" id="{F3FCE25A-7852-4149-A48D-3A177490C37F}"/>
                </a:ext>
              </a:extLst>
            </p:cNvPr>
            <p:cNvSpPr/>
            <p:nvPr/>
          </p:nvSpPr>
          <p:spPr>
            <a:xfrm>
              <a:off x="514350" y="1534358"/>
              <a:ext cx="11163300" cy="733425"/>
            </a:xfrm>
            <a:prstGeom prst="round1Rect">
              <a:avLst>
                <a:gd name="adj" fmla="val 26018"/>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p>
          </p:txBody>
        </p:sp>
        <p:sp>
          <p:nvSpPr>
            <p:cNvPr id="50" name="任意多边形: 形状 49">
              <a:extLst>
                <a:ext uri="{FF2B5EF4-FFF2-40B4-BE49-F238E27FC236}">
                  <a16:creationId xmlns:a16="http://schemas.microsoft.com/office/drawing/2014/main" id="{D0D453F6-1CF1-493D-BB8E-5AE1CCA6DC71}"/>
                </a:ext>
              </a:extLst>
            </p:cNvPr>
            <p:cNvSpPr/>
            <p:nvPr/>
          </p:nvSpPr>
          <p:spPr>
            <a:xfrm>
              <a:off x="1338263" y="1534358"/>
              <a:ext cx="678481" cy="733425"/>
            </a:xfrm>
            <a:custGeom>
              <a:avLst/>
              <a:gdLst>
                <a:gd name="connsiteX0" fmla="*/ 0 w 1469055"/>
                <a:gd name="connsiteY0" fmla="*/ 0 h 733425"/>
                <a:gd name="connsiteX1" fmla="*/ 1469055 w 1469055"/>
                <a:gd name="connsiteY1" fmla="*/ 0 h 733425"/>
                <a:gd name="connsiteX2" fmla="*/ 1285699 w 1469055"/>
                <a:gd name="connsiteY2" fmla="*/ 733425 h 733425"/>
                <a:gd name="connsiteX3" fmla="*/ 0 w 1469055"/>
                <a:gd name="connsiteY3" fmla="*/ 733425 h 733425"/>
              </a:gdLst>
              <a:ahLst/>
              <a:cxnLst>
                <a:cxn ang="0">
                  <a:pos x="connsiteX0" y="connsiteY0"/>
                </a:cxn>
                <a:cxn ang="0">
                  <a:pos x="connsiteX1" y="connsiteY1"/>
                </a:cxn>
                <a:cxn ang="0">
                  <a:pos x="connsiteX2" y="connsiteY2"/>
                </a:cxn>
                <a:cxn ang="0">
                  <a:pos x="connsiteX3" y="connsiteY3"/>
                </a:cxn>
              </a:cxnLst>
              <a:rect l="l" t="t" r="r" b="b"/>
              <a:pathLst>
                <a:path w="1469055" h="733425">
                  <a:moveTo>
                    <a:pt x="0" y="0"/>
                  </a:moveTo>
                  <a:lnTo>
                    <a:pt x="1469055" y="0"/>
                  </a:lnTo>
                  <a:lnTo>
                    <a:pt x="1285699" y="733425"/>
                  </a:lnTo>
                  <a:lnTo>
                    <a:pt x="0" y="733425"/>
                  </a:lnTo>
                  <a:close/>
                </a:path>
              </a:pathLst>
            </a:cu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6000" dirty="0"/>
            </a:p>
          </p:txBody>
        </p:sp>
        <p:sp>
          <p:nvSpPr>
            <p:cNvPr id="51" name="任意多边形: 形状 50">
              <a:extLst>
                <a:ext uri="{FF2B5EF4-FFF2-40B4-BE49-F238E27FC236}">
                  <a16:creationId xmlns:a16="http://schemas.microsoft.com/office/drawing/2014/main" id="{95A6E397-6032-43EB-B128-22453CF4A161}"/>
                </a:ext>
              </a:extLst>
            </p:cNvPr>
            <p:cNvSpPr/>
            <p:nvPr/>
          </p:nvSpPr>
          <p:spPr>
            <a:xfrm>
              <a:off x="514351" y="1534358"/>
              <a:ext cx="1469055" cy="733425"/>
            </a:xfrm>
            <a:custGeom>
              <a:avLst/>
              <a:gdLst>
                <a:gd name="connsiteX0" fmla="*/ 0 w 1469055"/>
                <a:gd name="connsiteY0" fmla="*/ 0 h 733425"/>
                <a:gd name="connsiteX1" fmla="*/ 1469055 w 1469055"/>
                <a:gd name="connsiteY1" fmla="*/ 0 h 733425"/>
                <a:gd name="connsiteX2" fmla="*/ 1285699 w 1469055"/>
                <a:gd name="connsiteY2" fmla="*/ 733425 h 733425"/>
                <a:gd name="connsiteX3" fmla="*/ 0 w 1469055"/>
                <a:gd name="connsiteY3" fmla="*/ 733425 h 733425"/>
              </a:gdLst>
              <a:ahLst/>
              <a:cxnLst>
                <a:cxn ang="0">
                  <a:pos x="connsiteX0" y="connsiteY0"/>
                </a:cxn>
                <a:cxn ang="0">
                  <a:pos x="connsiteX1" y="connsiteY1"/>
                </a:cxn>
                <a:cxn ang="0">
                  <a:pos x="connsiteX2" y="connsiteY2"/>
                </a:cxn>
                <a:cxn ang="0">
                  <a:pos x="connsiteX3" y="connsiteY3"/>
                </a:cxn>
              </a:cxnLst>
              <a:rect l="l" t="t" r="r" b="b"/>
              <a:pathLst>
                <a:path w="1469055" h="733425">
                  <a:moveTo>
                    <a:pt x="0" y="0"/>
                  </a:moveTo>
                  <a:lnTo>
                    <a:pt x="1469055" y="0"/>
                  </a:lnTo>
                  <a:lnTo>
                    <a:pt x="1285699" y="733425"/>
                  </a:lnTo>
                  <a:lnTo>
                    <a:pt x="0" y="733425"/>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6000" dirty="0"/>
            </a:p>
          </p:txBody>
        </p:sp>
        <p:sp>
          <p:nvSpPr>
            <p:cNvPr id="52" name="文本框 51">
              <a:extLst>
                <a:ext uri="{FF2B5EF4-FFF2-40B4-BE49-F238E27FC236}">
                  <a16:creationId xmlns:a16="http://schemas.microsoft.com/office/drawing/2014/main" id="{04CACF23-A934-4262-8BB4-A2BCF0D32352}"/>
                </a:ext>
              </a:extLst>
            </p:cNvPr>
            <p:cNvSpPr txBox="1"/>
            <p:nvPr/>
          </p:nvSpPr>
          <p:spPr>
            <a:xfrm>
              <a:off x="937370" y="1624071"/>
              <a:ext cx="564257" cy="553998"/>
            </a:xfrm>
            <a:prstGeom prst="rect">
              <a:avLst/>
            </a:prstGeom>
            <a:noFill/>
          </p:spPr>
          <p:txBody>
            <a:bodyPr wrap="none" lIns="0" tIns="0" rIns="0" bIns="0" rtlCol="0" anchor="t">
              <a:spAutoFit/>
            </a:bodyPr>
            <a:lstStyle/>
            <a:p>
              <a:pPr algn="l"/>
              <a:r>
                <a:rPr lang="en-US" altLang="zh-CN" sz="3600" dirty="0">
                  <a:solidFill>
                    <a:schemeClr val="bg1"/>
                  </a:solidFill>
                </a:rPr>
                <a:t>04</a:t>
              </a:r>
              <a:endParaRPr lang="zh-CN" altLang="en-US" sz="3600" dirty="0">
                <a:solidFill>
                  <a:schemeClr val="bg1"/>
                </a:solidFill>
              </a:endParaRPr>
            </a:p>
          </p:txBody>
        </p:sp>
        <p:sp>
          <p:nvSpPr>
            <p:cNvPr id="53" name="文本框 52">
              <a:extLst>
                <a:ext uri="{FF2B5EF4-FFF2-40B4-BE49-F238E27FC236}">
                  <a16:creationId xmlns:a16="http://schemas.microsoft.com/office/drawing/2014/main" id="{D74D551F-A846-4115-BFF0-5C74B5A789FB}"/>
                </a:ext>
              </a:extLst>
            </p:cNvPr>
            <p:cNvSpPr txBox="1"/>
            <p:nvPr/>
          </p:nvSpPr>
          <p:spPr>
            <a:xfrm>
              <a:off x="2168129" y="1716404"/>
              <a:ext cx="1846659" cy="369332"/>
            </a:xfrm>
            <a:prstGeom prst="rect">
              <a:avLst/>
            </a:prstGeom>
            <a:noFill/>
          </p:spPr>
          <p:txBody>
            <a:bodyPr wrap="none" lIns="0" tIns="0" rIns="0" bIns="0" rtlCol="0" anchor="t">
              <a:spAutoFit/>
            </a:bodyPr>
            <a:lstStyle/>
            <a:p>
              <a:r>
                <a:rPr lang="zh-CN" altLang="en-US" sz="2400" dirty="0">
                  <a:solidFill>
                    <a:schemeClr val="accent1">
                      <a:lumMod val="100000"/>
                    </a:schemeClr>
                  </a:solidFill>
                  <a:latin typeface="+mj-ea"/>
                  <a:ea typeface="+mj-ea"/>
                </a:rPr>
                <a:t>输入目录标题</a:t>
              </a:r>
            </a:p>
          </p:txBody>
        </p:sp>
      </p:grpSp>
    </p:spTree>
    <p:extLst>
      <p:ext uri="{BB962C8B-B14F-4D97-AF65-F5344CB8AC3E}">
        <p14:creationId xmlns:p14="http://schemas.microsoft.com/office/powerpoint/2010/main" val="504778848"/>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圆顶角 1">
            <a:extLst>
              <a:ext uri="{FF2B5EF4-FFF2-40B4-BE49-F238E27FC236}">
                <a16:creationId xmlns:a16="http://schemas.microsoft.com/office/drawing/2014/main" id="{17117CED-6610-4970-8D03-A3A955B2A90A}"/>
              </a:ext>
            </a:extLst>
          </p:cNvPr>
          <p:cNvSpPr/>
          <p:nvPr/>
        </p:nvSpPr>
        <p:spPr>
          <a:xfrm rot="10800000">
            <a:off x="2963609" y="-1"/>
            <a:ext cx="6264783" cy="6048375"/>
          </a:xfrm>
          <a:prstGeom prst="round2SameRect">
            <a:avLst>
              <a:gd name="adj1" fmla="val 5643"/>
              <a:gd name="adj2"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p>
        </p:txBody>
      </p:sp>
      <p:sp>
        <p:nvSpPr>
          <p:cNvPr id="3" name="矩形: 圆角 2">
            <a:extLst>
              <a:ext uri="{FF2B5EF4-FFF2-40B4-BE49-F238E27FC236}">
                <a16:creationId xmlns:a16="http://schemas.microsoft.com/office/drawing/2014/main" id="{BF25D0D1-BF96-48B1-A1D0-5BD567439E34}"/>
              </a:ext>
            </a:extLst>
          </p:cNvPr>
          <p:cNvSpPr/>
          <p:nvPr/>
        </p:nvSpPr>
        <p:spPr>
          <a:xfrm>
            <a:off x="581025" y="2305824"/>
            <a:ext cx="11029950" cy="2828925"/>
          </a:xfrm>
          <a:prstGeom prst="roundRect">
            <a:avLst>
              <a:gd name="adj" fmla="val 10270"/>
            </a:avLst>
          </a:prstGeom>
          <a:solidFill>
            <a:schemeClr val="accent1">
              <a:lumMod val="75000"/>
              <a:lumOff val="25000"/>
            </a:schemeClr>
          </a:solidFill>
          <a:ln>
            <a:noFill/>
          </a:ln>
          <a:effectLst>
            <a:outerShdw blurRad="228600" sx="102000" sy="1020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p>
        </p:txBody>
      </p:sp>
      <p:sp>
        <p:nvSpPr>
          <p:cNvPr id="4" name="文本框 3">
            <a:extLst>
              <a:ext uri="{FF2B5EF4-FFF2-40B4-BE49-F238E27FC236}">
                <a16:creationId xmlns:a16="http://schemas.microsoft.com/office/drawing/2014/main" id="{DFDC4A35-08AE-433A-93FC-72350AF21BBF}"/>
              </a:ext>
            </a:extLst>
          </p:cNvPr>
          <p:cNvSpPr txBox="1"/>
          <p:nvPr/>
        </p:nvSpPr>
        <p:spPr>
          <a:xfrm>
            <a:off x="4760285" y="550009"/>
            <a:ext cx="2802566" cy="553998"/>
          </a:xfrm>
          <a:prstGeom prst="rect">
            <a:avLst/>
          </a:prstGeom>
          <a:noFill/>
        </p:spPr>
        <p:txBody>
          <a:bodyPr wrap="square" lIns="0" tIns="0" rIns="0" bIns="0" rtlCol="0" anchor="t">
            <a:spAutoFit/>
          </a:bodyPr>
          <a:lstStyle/>
          <a:p>
            <a:pPr algn="dist"/>
            <a:r>
              <a:rPr lang="en-US" altLang="zh-CN" sz="3600" dirty="0">
                <a:solidFill>
                  <a:schemeClr val="bg1">
                    <a:alpha val="20000"/>
                  </a:schemeClr>
                </a:solidFill>
                <a:latin typeface="+mj-ea"/>
                <a:ea typeface="+mj-ea"/>
              </a:rPr>
              <a:t>CONTENTS</a:t>
            </a:r>
            <a:endParaRPr lang="zh-CN" altLang="en-US" sz="3600" dirty="0">
              <a:solidFill>
                <a:schemeClr val="bg1">
                  <a:alpha val="20000"/>
                </a:schemeClr>
              </a:solidFill>
              <a:latin typeface="+mj-ea"/>
              <a:ea typeface="+mj-ea"/>
            </a:endParaRPr>
          </a:p>
        </p:txBody>
      </p:sp>
      <p:sp>
        <p:nvSpPr>
          <p:cNvPr id="5" name="文本框 4">
            <a:extLst>
              <a:ext uri="{FF2B5EF4-FFF2-40B4-BE49-F238E27FC236}">
                <a16:creationId xmlns:a16="http://schemas.microsoft.com/office/drawing/2014/main" id="{A752385B-5820-44D7-BDDE-9175FB86D1B4}"/>
              </a:ext>
            </a:extLst>
          </p:cNvPr>
          <p:cNvSpPr txBox="1"/>
          <p:nvPr/>
        </p:nvSpPr>
        <p:spPr>
          <a:xfrm>
            <a:off x="4759151" y="750808"/>
            <a:ext cx="2673698" cy="1354217"/>
          </a:xfrm>
          <a:prstGeom prst="rect">
            <a:avLst/>
          </a:prstGeom>
          <a:noFill/>
        </p:spPr>
        <p:txBody>
          <a:bodyPr wrap="square" lIns="0" tIns="0" rIns="0" bIns="0" rtlCol="0" anchor="t">
            <a:spAutoFit/>
          </a:bodyPr>
          <a:lstStyle/>
          <a:p>
            <a:pPr algn="dist"/>
            <a:r>
              <a:rPr lang="zh-CN" altLang="en-US" sz="8800" dirty="0">
                <a:solidFill>
                  <a:schemeClr val="bg1"/>
                </a:solidFill>
                <a:latin typeface="+mj-ea"/>
                <a:ea typeface="+mj-ea"/>
              </a:rPr>
              <a:t>目录</a:t>
            </a:r>
          </a:p>
        </p:txBody>
      </p:sp>
      <p:grpSp>
        <p:nvGrpSpPr>
          <p:cNvPr id="9" name="组合 8">
            <a:extLst>
              <a:ext uri="{FF2B5EF4-FFF2-40B4-BE49-F238E27FC236}">
                <a16:creationId xmlns:a16="http://schemas.microsoft.com/office/drawing/2014/main" id="{0EDDC7F1-BC50-4D58-9802-4755D643B0C5}"/>
              </a:ext>
            </a:extLst>
          </p:cNvPr>
          <p:cNvGrpSpPr/>
          <p:nvPr/>
        </p:nvGrpSpPr>
        <p:grpSpPr>
          <a:xfrm>
            <a:off x="1058682" y="2663278"/>
            <a:ext cx="1846660" cy="1952189"/>
            <a:chOff x="1278873" y="2803221"/>
            <a:chExt cx="1846660" cy="1952189"/>
          </a:xfrm>
        </p:grpSpPr>
        <p:sp>
          <p:nvSpPr>
            <p:cNvPr id="6" name="椭圆 5">
              <a:extLst>
                <a:ext uri="{FF2B5EF4-FFF2-40B4-BE49-F238E27FC236}">
                  <a16:creationId xmlns:a16="http://schemas.microsoft.com/office/drawing/2014/main" id="{48F31167-CA98-43B6-9531-73619E5E84DE}"/>
                </a:ext>
              </a:extLst>
            </p:cNvPr>
            <p:cNvSpPr/>
            <p:nvPr/>
          </p:nvSpPr>
          <p:spPr>
            <a:xfrm>
              <a:off x="1643099" y="2803221"/>
              <a:ext cx="1118208" cy="1118208"/>
            </a:xfrm>
            <a:prstGeom prst="ellipse">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a:solidFill>
                    <a:schemeClr val="bg1"/>
                  </a:solidFill>
                </a:rPr>
                <a:t>图标</a:t>
              </a:r>
            </a:p>
          </p:txBody>
        </p:sp>
        <p:sp>
          <p:nvSpPr>
            <p:cNvPr id="7" name="文本框 6">
              <a:extLst>
                <a:ext uri="{FF2B5EF4-FFF2-40B4-BE49-F238E27FC236}">
                  <a16:creationId xmlns:a16="http://schemas.microsoft.com/office/drawing/2014/main" id="{60C0CC17-1284-4926-AFA9-02AE83404229}"/>
                </a:ext>
              </a:extLst>
            </p:cNvPr>
            <p:cNvSpPr txBox="1"/>
            <p:nvPr/>
          </p:nvSpPr>
          <p:spPr>
            <a:xfrm>
              <a:off x="1278874" y="4078784"/>
              <a:ext cx="1846659" cy="369332"/>
            </a:xfrm>
            <a:prstGeom prst="rect">
              <a:avLst/>
            </a:prstGeom>
            <a:noFill/>
          </p:spPr>
          <p:txBody>
            <a:bodyPr wrap="none" lIns="0" tIns="0" rIns="0" bIns="0" rtlCol="0" anchor="t">
              <a:spAutoFit/>
            </a:bodyPr>
            <a:lstStyle/>
            <a:p>
              <a:pPr algn="ctr"/>
              <a:r>
                <a:rPr lang="zh-CN" altLang="en-US" sz="2400" dirty="0">
                  <a:solidFill>
                    <a:schemeClr val="bg1"/>
                  </a:solidFill>
                  <a:latin typeface="+mj-ea"/>
                  <a:ea typeface="+mj-ea"/>
                </a:rPr>
                <a:t>输入目录标题</a:t>
              </a:r>
            </a:p>
          </p:txBody>
        </p:sp>
        <p:sp>
          <p:nvSpPr>
            <p:cNvPr id="8" name="文本框 7">
              <a:extLst>
                <a:ext uri="{FF2B5EF4-FFF2-40B4-BE49-F238E27FC236}">
                  <a16:creationId xmlns:a16="http://schemas.microsoft.com/office/drawing/2014/main" id="{0A327E10-467E-4C2A-9788-86C34B9B9749}"/>
                </a:ext>
              </a:extLst>
            </p:cNvPr>
            <p:cNvSpPr txBox="1"/>
            <p:nvPr/>
          </p:nvSpPr>
          <p:spPr>
            <a:xfrm>
              <a:off x="1278873" y="4539966"/>
              <a:ext cx="1846660" cy="215444"/>
            </a:xfrm>
            <a:prstGeom prst="rect">
              <a:avLst/>
            </a:prstGeom>
            <a:noFill/>
          </p:spPr>
          <p:txBody>
            <a:bodyPr wrap="square" lIns="0" tIns="0" rIns="0" bIns="0" rtlCol="0" anchor="t">
              <a:spAutoFit/>
            </a:bodyPr>
            <a:lstStyle/>
            <a:p>
              <a:pPr algn="dist"/>
              <a:r>
                <a:rPr lang="en-US" altLang="zh-CN" sz="1400" dirty="0">
                  <a:solidFill>
                    <a:schemeClr val="bg1"/>
                  </a:solidFill>
                </a:rPr>
                <a:t>Contents Title Here</a:t>
              </a:r>
              <a:endParaRPr lang="zh-CN" altLang="en-US" sz="1400" dirty="0">
                <a:solidFill>
                  <a:schemeClr val="bg1"/>
                </a:solidFill>
              </a:endParaRPr>
            </a:p>
          </p:txBody>
        </p:sp>
      </p:grpSp>
      <p:grpSp>
        <p:nvGrpSpPr>
          <p:cNvPr id="10" name="组合 9">
            <a:extLst>
              <a:ext uri="{FF2B5EF4-FFF2-40B4-BE49-F238E27FC236}">
                <a16:creationId xmlns:a16="http://schemas.microsoft.com/office/drawing/2014/main" id="{4B1E6D79-04F8-40CE-9FC8-3BA6F6DE97CA}"/>
              </a:ext>
            </a:extLst>
          </p:cNvPr>
          <p:cNvGrpSpPr/>
          <p:nvPr/>
        </p:nvGrpSpPr>
        <p:grpSpPr>
          <a:xfrm>
            <a:off x="3801341" y="2663278"/>
            <a:ext cx="1846660" cy="1952189"/>
            <a:chOff x="1278873" y="2803221"/>
            <a:chExt cx="1846660" cy="1952189"/>
          </a:xfrm>
        </p:grpSpPr>
        <p:sp>
          <p:nvSpPr>
            <p:cNvPr id="11" name="椭圆 10">
              <a:extLst>
                <a:ext uri="{FF2B5EF4-FFF2-40B4-BE49-F238E27FC236}">
                  <a16:creationId xmlns:a16="http://schemas.microsoft.com/office/drawing/2014/main" id="{32ADB803-C252-4282-8CD2-DBF928733B8B}"/>
                </a:ext>
              </a:extLst>
            </p:cNvPr>
            <p:cNvSpPr/>
            <p:nvPr/>
          </p:nvSpPr>
          <p:spPr>
            <a:xfrm>
              <a:off x="1643099" y="2803221"/>
              <a:ext cx="1118208" cy="1118208"/>
            </a:xfrm>
            <a:prstGeom prst="ellipse">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a:solidFill>
                    <a:schemeClr val="bg1"/>
                  </a:solidFill>
                </a:rPr>
                <a:t>图标</a:t>
              </a:r>
            </a:p>
          </p:txBody>
        </p:sp>
        <p:sp>
          <p:nvSpPr>
            <p:cNvPr id="12" name="文本框 11">
              <a:extLst>
                <a:ext uri="{FF2B5EF4-FFF2-40B4-BE49-F238E27FC236}">
                  <a16:creationId xmlns:a16="http://schemas.microsoft.com/office/drawing/2014/main" id="{79519097-74AF-46B6-A121-E568BFF00FE7}"/>
                </a:ext>
              </a:extLst>
            </p:cNvPr>
            <p:cNvSpPr txBox="1"/>
            <p:nvPr/>
          </p:nvSpPr>
          <p:spPr>
            <a:xfrm>
              <a:off x="1278874" y="4078784"/>
              <a:ext cx="1846659" cy="369332"/>
            </a:xfrm>
            <a:prstGeom prst="rect">
              <a:avLst/>
            </a:prstGeom>
            <a:noFill/>
          </p:spPr>
          <p:txBody>
            <a:bodyPr wrap="none" lIns="0" tIns="0" rIns="0" bIns="0" rtlCol="0" anchor="t">
              <a:spAutoFit/>
            </a:bodyPr>
            <a:lstStyle/>
            <a:p>
              <a:pPr algn="ctr"/>
              <a:r>
                <a:rPr lang="zh-CN" altLang="en-US" sz="2400" dirty="0">
                  <a:solidFill>
                    <a:schemeClr val="bg1"/>
                  </a:solidFill>
                  <a:latin typeface="+mj-ea"/>
                  <a:ea typeface="+mj-ea"/>
                </a:rPr>
                <a:t>输入目录标题</a:t>
              </a:r>
            </a:p>
          </p:txBody>
        </p:sp>
        <p:sp>
          <p:nvSpPr>
            <p:cNvPr id="13" name="文本框 12">
              <a:extLst>
                <a:ext uri="{FF2B5EF4-FFF2-40B4-BE49-F238E27FC236}">
                  <a16:creationId xmlns:a16="http://schemas.microsoft.com/office/drawing/2014/main" id="{B23D07DC-6DA4-4538-B7C4-846123529A3B}"/>
                </a:ext>
              </a:extLst>
            </p:cNvPr>
            <p:cNvSpPr txBox="1"/>
            <p:nvPr/>
          </p:nvSpPr>
          <p:spPr>
            <a:xfrm>
              <a:off x="1278873" y="4539966"/>
              <a:ext cx="1846660" cy="215444"/>
            </a:xfrm>
            <a:prstGeom prst="rect">
              <a:avLst/>
            </a:prstGeom>
            <a:noFill/>
          </p:spPr>
          <p:txBody>
            <a:bodyPr wrap="square" lIns="0" tIns="0" rIns="0" bIns="0" rtlCol="0" anchor="t">
              <a:spAutoFit/>
            </a:bodyPr>
            <a:lstStyle/>
            <a:p>
              <a:pPr algn="dist"/>
              <a:r>
                <a:rPr lang="en-US" altLang="zh-CN" sz="1400" dirty="0">
                  <a:solidFill>
                    <a:schemeClr val="bg1"/>
                  </a:solidFill>
                </a:rPr>
                <a:t>Contents Title Here</a:t>
              </a:r>
              <a:endParaRPr lang="zh-CN" altLang="en-US" sz="1400" dirty="0">
                <a:solidFill>
                  <a:schemeClr val="bg1"/>
                </a:solidFill>
              </a:endParaRPr>
            </a:p>
          </p:txBody>
        </p:sp>
      </p:grpSp>
      <p:grpSp>
        <p:nvGrpSpPr>
          <p:cNvPr id="14" name="组合 13">
            <a:extLst>
              <a:ext uri="{FF2B5EF4-FFF2-40B4-BE49-F238E27FC236}">
                <a16:creationId xmlns:a16="http://schemas.microsoft.com/office/drawing/2014/main" id="{D549C59C-BE57-4D7B-946A-17BDBC4A4B7B}"/>
              </a:ext>
            </a:extLst>
          </p:cNvPr>
          <p:cNvGrpSpPr/>
          <p:nvPr/>
        </p:nvGrpSpPr>
        <p:grpSpPr>
          <a:xfrm>
            <a:off x="6544000" y="2663278"/>
            <a:ext cx="1846660" cy="1952189"/>
            <a:chOff x="1278873" y="2803221"/>
            <a:chExt cx="1846660" cy="1952189"/>
          </a:xfrm>
        </p:grpSpPr>
        <p:sp>
          <p:nvSpPr>
            <p:cNvPr id="15" name="椭圆 14">
              <a:extLst>
                <a:ext uri="{FF2B5EF4-FFF2-40B4-BE49-F238E27FC236}">
                  <a16:creationId xmlns:a16="http://schemas.microsoft.com/office/drawing/2014/main" id="{4132E37C-2140-40D4-B376-A2BCBDDFD118}"/>
                </a:ext>
              </a:extLst>
            </p:cNvPr>
            <p:cNvSpPr/>
            <p:nvPr/>
          </p:nvSpPr>
          <p:spPr>
            <a:xfrm>
              <a:off x="1643099" y="2803221"/>
              <a:ext cx="1118208" cy="1118208"/>
            </a:xfrm>
            <a:prstGeom prst="ellipse">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a:solidFill>
                    <a:schemeClr val="bg1"/>
                  </a:solidFill>
                </a:rPr>
                <a:t>图标</a:t>
              </a:r>
            </a:p>
          </p:txBody>
        </p:sp>
        <p:sp>
          <p:nvSpPr>
            <p:cNvPr id="16" name="文本框 15">
              <a:extLst>
                <a:ext uri="{FF2B5EF4-FFF2-40B4-BE49-F238E27FC236}">
                  <a16:creationId xmlns:a16="http://schemas.microsoft.com/office/drawing/2014/main" id="{8AEC2850-D061-4E09-A09D-3C224BA0AB43}"/>
                </a:ext>
              </a:extLst>
            </p:cNvPr>
            <p:cNvSpPr txBox="1"/>
            <p:nvPr/>
          </p:nvSpPr>
          <p:spPr>
            <a:xfrm>
              <a:off x="1278874" y="4078784"/>
              <a:ext cx="1846659" cy="369332"/>
            </a:xfrm>
            <a:prstGeom prst="rect">
              <a:avLst/>
            </a:prstGeom>
            <a:noFill/>
          </p:spPr>
          <p:txBody>
            <a:bodyPr wrap="none" lIns="0" tIns="0" rIns="0" bIns="0" rtlCol="0" anchor="t">
              <a:spAutoFit/>
            </a:bodyPr>
            <a:lstStyle/>
            <a:p>
              <a:pPr algn="ctr"/>
              <a:r>
                <a:rPr lang="zh-CN" altLang="en-US" sz="2400" dirty="0">
                  <a:solidFill>
                    <a:schemeClr val="bg1"/>
                  </a:solidFill>
                  <a:latin typeface="+mj-ea"/>
                  <a:ea typeface="+mj-ea"/>
                </a:rPr>
                <a:t>输入目录标题</a:t>
              </a:r>
            </a:p>
          </p:txBody>
        </p:sp>
        <p:sp>
          <p:nvSpPr>
            <p:cNvPr id="17" name="文本框 16">
              <a:extLst>
                <a:ext uri="{FF2B5EF4-FFF2-40B4-BE49-F238E27FC236}">
                  <a16:creationId xmlns:a16="http://schemas.microsoft.com/office/drawing/2014/main" id="{5E55C8E8-312B-453F-8141-D213A5923DD1}"/>
                </a:ext>
              </a:extLst>
            </p:cNvPr>
            <p:cNvSpPr txBox="1"/>
            <p:nvPr/>
          </p:nvSpPr>
          <p:spPr>
            <a:xfrm>
              <a:off x="1278873" y="4539966"/>
              <a:ext cx="1846660" cy="215444"/>
            </a:xfrm>
            <a:prstGeom prst="rect">
              <a:avLst/>
            </a:prstGeom>
            <a:noFill/>
          </p:spPr>
          <p:txBody>
            <a:bodyPr wrap="square" lIns="0" tIns="0" rIns="0" bIns="0" rtlCol="0" anchor="t">
              <a:spAutoFit/>
            </a:bodyPr>
            <a:lstStyle/>
            <a:p>
              <a:pPr algn="dist"/>
              <a:r>
                <a:rPr lang="en-US" altLang="zh-CN" sz="1400" dirty="0">
                  <a:solidFill>
                    <a:schemeClr val="bg1"/>
                  </a:solidFill>
                </a:rPr>
                <a:t>Contents Title Here</a:t>
              </a:r>
              <a:endParaRPr lang="zh-CN" altLang="en-US" sz="1400" dirty="0">
                <a:solidFill>
                  <a:schemeClr val="bg1"/>
                </a:solidFill>
              </a:endParaRPr>
            </a:p>
          </p:txBody>
        </p:sp>
      </p:grpSp>
      <p:grpSp>
        <p:nvGrpSpPr>
          <p:cNvPr id="18" name="组合 17">
            <a:extLst>
              <a:ext uri="{FF2B5EF4-FFF2-40B4-BE49-F238E27FC236}">
                <a16:creationId xmlns:a16="http://schemas.microsoft.com/office/drawing/2014/main" id="{0968D456-CC8F-49FA-844E-A5619009126A}"/>
              </a:ext>
            </a:extLst>
          </p:cNvPr>
          <p:cNvGrpSpPr/>
          <p:nvPr/>
        </p:nvGrpSpPr>
        <p:grpSpPr>
          <a:xfrm>
            <a:off x="9286658" y="2663278"/>
            <a:ext cx="1846660" cy="1952189"/>
            <a:chOff x="1278873" y="2803221"/>
            <a:chExt cx="1846660" cy="1952189"/>
          </a:xfrm>
        </p:grpSpPr>
        <p:sp>
          <p:nvSpPr>
            <p:cNvPr id="19" name="椭圆 18">
              <a:extLst>
                <a:ext uri="{FF2B5EF4-FFF2-40B4-BE49-F238E27FC236}">
                  <a16:creationId xmlns:a16="http://schemas.microsoft.com/office/drawing/2014/main" id="{9C11C1AE-D690-463E-B823-ACCB23711F8E}"/>
                </a:ext>
              </a:extLst>
            </p:cNvPr>
            <p:cNvSpPr/>
            <p:nvPr/>
          </p:nvSpPr>
          <p:spPr>
            <a:xfrm>
              <a:off x="1643099" y="2803221"/>
              <a:ext cx="1118208" cy="1118208"/>
            </a:xfrm>
            <a:prstGeom prst="ellipse">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a:solidFill>
                    <a:schemeClr val="bg1"/>
                  </a:solidFill>
                </a:rPr>
                <a:t>图标</a:t>
              </a:r>
            </a:p>
          </p:txBody>
        </p:sp>
        <p:sp>
          <p:nvSpPr>
            <p:cNvPr id="20" name="文本框 19">
              <a:extLst>
                <a:ext uri="{FF2B5EF4-FFF2-40B4-BE49-F238E27FC236}">
                  <a16:creationId xmlns:a16="http://schemas.microsoft.com/office/drawing/2014/main" id="{4E213DD7-F5F7-44F6-8ED7-1AA0FCC65959}"/>
                </a:ext>
              </a:extLst>
            </p:cNvPr>
            <p:cNvSpPr txBox="1"/>
            <p:nvPr/>
          </p:nvSpPr>
          <p:spPr>
            <a:xfrm>
              <a:off x="1278874" y="4078784"/>
              <a:ext cx="1846659" cy="369332"/>
            </a:xfrm>
            <a:prstGeom prst="rect">
              <a:avLst/>
            </a:prstGeom>
            <a:noFill/>
          </p:spPr>
          <p:txBody>
            <a:bodyPr wrap="none" lIns="0" tIns="0" rIns="0" bIns="0" rtlCol="0" anchor="t">
              <a:spAutoFit/>
            </a:bodyPr>
            <a:lstStyle/>
            <a:p>
              <a:pPr algn="ctr"/>
              <a:r>
                <a:rPr lang="zh-CN" altLang="en-US" sz="2400" dirty="0">
                  <a:solidFill>
                    <a:schemeClr val="bg1"/>
                  </a:solidFill>
                  <a:latin typeface="+mj-ea"/>
                  <a:ea typeface="+mj-ea"/>
                </a:rPr>
                <a:t>输入目录标题</a:t>
              </a:r>
            </a:p>
          </p:txBody>
        </p:sp>
        <p:sp>
          <p:nvSpPr>
            <p:cNvPr id="21" name="文本框 20">
              <a:extLst>
                <a:ext uri="{FF2B5EF4-FFF2-40B4-BE49-F238E27FC236}">
                  <a16:creationId xmlns:a16="http://schemas.microsoft.com/office/drawing/2014/main" id="{A791322E-EBD2-496E-A521-35AB17BDAF7C}"/>
                </a:ext>
              </a:extLst>
            </p:cNvPr>
            <p:cNvSpPr txBox="1"/>
            <p:nvPr/>
          </p:nvSpPr>
          <p:spPr>
            <a:xfrm>
              <a:off x="1278873" y="4539966"/>
              <a:ext cx="1846660" cy="215444"/>
            </a:xfrm>
            <a:prstGeom prst="rect">
              <a:avLst/>
            </a:prstGeom>
            <a:noFill/>
          </p:spPr>
          <p:txBody>
            <a:bodyPr wrap="square" lIns="0" tIns="0" rIns="0" bIns="0" rtlCol="0" anchor="t">
              <a:spAutoFit/>
            </a:bodyPr>
            <a:lstStyle/>
            <a:p>
              <a:pPr algn="dist"/>
              <a:r>
                <a:rPr lang="en-US" altLang="zh-CN" sz="1400" dirty="0">
                  <a:solidFill>
                    <a:schemeClr val="bg1"/>
                  </a:solidFill>
                </a:rPr>
                <a:t>Contents Title Here</a:t>
              </a:r>
              <a:endParaRPr lang="zh-CN" altLang="en-US" sz="1400" dirty="0">
                <a:solidFill>
                  <a:schemeClr val="bg1"/>
                </a:solidFill>
              </a:endParaRPr>
            </a:p>
          </p:txBody>
        </p:sp>
      </p:grpSp>
    </p:spTree>
    <p:extLst>
      <p:ext uri="{BB962C8B-B14F-4D97-AF65-F5344CB8AC3E}">
        <p14:creationId xmlns:p14="http://schemas.microsoft.com/office/powerpoint/2010/main" val="2834110593"/>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a:extLst>
              <a:ext uri="{FF2B5EF4-FFF2-40B4-BE49-F238E27FC236}">
                <a16:creationId xmlns:a16="http://schemas.microsoft.com/office/drawing/2014/main" id="{B546926A-32A2-4318-9113-1D2110A3E0AE}"/>
              </a:ext>
            </a:extLst>
          </p:cNvPr>
          <p:cNvSpPr/>
          <p:nvPr/>
        </p:nvSpPr>
        <p:spPr>
          <a:xfrm>
            <a:off x="0" y="0"/>
            <a:ext cx="8582025" cy="6858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p>
        </p:txBody>
      </p:sp>
      <p:sp>
        <p:nvSpPr>
          <p:cNvPr id="3" name="任意多边形: 形状 2">
            <a:extLst>
              <a:ext uri="{FF2B5EF4-FFF2-40B4-BE49-F238E27FC236}">
                <a16:creationId xmlns:a16="http://schemas.microsoft.com/office/drawing/2014/main" id="{8C227593-C1BF-4E2F-A030-7AFEA7F47DC7}"/>
              </a:ext>
            </a:extLst>
          </p:cNvPr>
          <p:cNvSpPr/>
          <p:nvPr/>
        </p:nvSpPr>
        <p:spPr>
          <a:xfrm>
            <a:off x="914400" y="2869896"/>
            <a:ext cx="1219200" cy="1118208"/>
          </a:xfrm>
          <a:custGeom>
            <a:avLst/>
            <a:gdLst>
              <a:gd name="connsiteX0" fmla="*/ 1006264 w 1331826"/>
              <a:gd name="connsiteY0" fmla="*/ 238125 h 1221507"/>
              <a:gd name="connsiteX1" fmla="*/ 1123466 w 1331826"/>
              <a:gd name="connsiteY1" fmla="*/ 355327 h 1221507"/>
              <a:gd name="connsiteX2" fmla="*/ 1006264 w 1331826"/>
              <a:gd name="connsiteY2" fmla="*/ 472529 h 1221507"/>
              <a:gd name="connsiteX3" fmla="*/ 889062 w 1331826"/>
              <a:gd name="connsiteY3" fmla="*/ 355327 h 1221507"/>
              <a:gd name="connsiteX4" fmla="*/ 1006264 w 1331826"/>
              <a:gd name="connsiteY4" fmla="*/ 238125 h 1221507"/>
              <a:gd name="connsiteX5" fmla="*/ 172827 w 1331826"/>
              <a:gd name="connsiteY5" fmla="*/ 104180 h 1221507"/>
              <a:gd name="connsiteX6" fmla="*/ 105482 w 1331826"/>
              <a:gd name="connsiteY6" fmla="*/ 171152 h 1221507"/>
              <a:gd name="connsiteX7" fmla="*/ 105482 w 1331826"/>
              <a:gd name="connsiteY7" fmla="*/ 726281 h 1221507"/>
              <a:gd name="connsiteX8" fmla="*/ 179152 w 1331826"/>
              <a:gd name="connsiteY8" fmla="*/ 599777 h 1221507"/>
              <a:gd name="connsiteX9" fmla="*/ 303795 w 1331826"/>
              <a:gd name="connsiteY9" fmla="*/ 490761 h 1221507"/>
              <a:gd name="connsiteX10" fmla="*/ 414300 w 1331826"/>
              <a:gd name="connsiteY10" fmla="*/ 507504 h 1221507"/>
              <a:gd name="connsiteX11" fmla="*/ 731676 w 1331826"/>
              <a:gd name="connsiteY11" fmla="*/ 856878 h 1221507"/>
              <a:gd name="connsiteX12" fmla="*/ 780790 w 1331826"/>
              <a:gd name="connsiteY12" fmla="*/ 791022 h 1221507"/>
              <a:gd name="connsiteX13" fmla="*/ 988777 w 1331826"/>
              <a:gd name="connsiteY13" fmla="*/ 633264 h 1221507"/>
              <a:gd name="connsiteX14" fmla="*/ 1093329 w 1331826"/>
              <a:gd name="connsiteY14" fmla="*/ 666006 h 1221507"/>
              <a:gd name="connsiteX15" fmla="*/ 1227646 w 1331826"/>
              <a:gd name="connsiteY15" fmla="*/ 821159 h 1221507"/>
              <a:gd name="connsiteX16" fmla="*/ 1227646 w 1331826"/>
              <a:gd name="connsiteY16" fmla="*/ 171152 h 1221507"/>
              <a:gd name="connsiteX17" fmla="*/ 1160673 w 1331826"/>
              <a:gd name="connsiteY17" fmla="*/ 104180 h 1221507"/>
              <a:gd name="connsiteX18" fmla="*/ 172827 w 1331826"/>
              <a:gd name="connsiteY18" fmla="*/ 0 h 1221507"/>
              <a:gd name="connsiteX19" fmla="*/ 1160673 w 1331826"/>
              <a:gd name="connsiteY19" fmla="*/ 0 h 1221507"/>
              <a:gd name="connsiteX20" fmla="*/ 1331826 w 1331826"/>
              <a:gd name="connsiteY20" fmla="*/ 171152 h 1221507"/>
              <a:gd name="connsiteX21" fmla="*/ 1331826 w 1331826"/>
              <a:gd name="connsiteY21" fmla="*/ 1050355 h 1221507"/>
              <a:gd name="connsiteX22" fmla="*/ 1160673 w 1331826"/>
              <a:gd name="connsiteY22" fmla="*/ 1221507 h 1221507"/>
              <a:gd name="connsiteX23" fmla="*/ 172827 w 1331826"/>
              <a:gd name="connsiteY23" fmla="*/ 1221507 h 1221507"/>
              <a:gd name="connsiteX24" fmla="*/ 1674 w 1331826"/>
              <a:gd name="connsiteY24" fmla="*/ 1050355 h 1221507"/>
              <a:gd name="connsiteX25" fmla="*/ 1674 w 1331826"/>
              <a:gd name="connsiteY25" fmla="*/ 1006450 h 1221507"/>
              <a:gd name="connsiteX26" fmla="*/ 1674 w 1331826"/>
              <a:gd name="connsiteY26" fmla="*/ 980405 h 1221507"/>
              <a:gd name="connsiteX27" fmla="*/ 1674 w 1331826"/>
              <a:gd name="connsiteY27" fmla="*/ 171152 h 1221507"/>
              <a:gd name="connsiteX28" fmla="*/ 172827 w 1331826"/>
              <a:gd name="connsiteY28" fmla="*/ 0 h 1221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31826" h="1221507">
                <a:moveTo>
                  <a:pt x="1006264" y="238125"/>
                </a:moveTo>
                <a:cubicBezTo>
                  <a:pt x="1070993" y="238125"/>
                  <a:pt x="1123466" y="290598"/>
                  <a:pt x="1123466" y="355327"/>
                </a:cubicBezTo>
                <a:cubicBezTo>
                  <a:pt x="1123466" y="420056"/>
                  <a:pt x="1070993" y="472529"/>
                  <a:pt x="1006264" y="472529"/>
                </a:cubicBezTo>
                <a:cubicBezTo>
                  <a:pt x="941535" y="472529"/>
                  <a:pt x="889062" y="420056"/>
                  <a:pt x="889062" y="355327"/>
                </a:cubicBezTo>
                <a:cubicBezTo>
                  <a:pt x="889062" y="290598"/>
                  <a:pt x="941535" y="238125"/>
                  <a:pt x="1006264" y="238125"/>
                </a:cubicBezTo>
                <a:close/>
                <a:moveTo>
                  <a:pt x="172827" y="104180"/>
                </a:moveTo>
                <a:cubicBezTo>
                  <a:pt x="135620" y="104180"/>
                  <a:pt x="105854" y="133945"/>
                  <a:pt x="105482" y="171152"/>
                </a:cubicBezTo>
                <a:lnTo>
                  <a:pt x="105482" y="726281"/>
                </a:lnTo>
                <a:cubicBezTo>
                  <a:pt x="130411" y="676424"/>
                  <a:pt x="154967" y="634008"/>
                  <a:pt x="179152" y="599777"/>
                </a:cubicBezTo>
                <a:cubicBezTo>
                  <a:pt x="220824" y="540246"/>
                  <a:pt x="261751" y="504527"/>
                  <a:pt x="303795" y="490761"/>
                </a:cubicBezTo>
                <a:cubicBezTo>
                  <a:pt x="342491" y="478110"/>
                  <a:pt x="380442" y="483691"/>
                  <a:pt x="414300" y="507504"/>
                </a:cubicBezTo>
                <a:cubicBezTo>
                  <a:pt x="528526" y="587871"/>
                  <a:pt x="663215" y="762372"/>
                  <a:pt x="731676" y="856878"/>
                </a:cubicBezTo>
                <a:cubicBezTo>
                  <a:pt x="745443" y="837158"/>
                  <a:pt x="762186" y="814090"/>
                  <a:pt x="780790" y="791022"/>
                </a:cubicBezTo>
                <a:cubicBezTo>
                  <a:pt x="858552" y="693911"/>
                  <a:pt x="926641" y="642193"/>
                  <a:pt x="988777" y="633264"/>
                </a:cubicBezTo>
                <a:cubicBezTo>
                  <a:pt x="1028216" y="627683"/>
                  <a:pt x="1064307" y="638845"/>
                  <a:pt x="1093329" y="666006"/>
                </a:cubicBezTo>
                <a:cubicBezTo>
                  <a:pt x="1142070" y="711398"/>
                  <a:pt x="1188951" y="768697"/>
                  <a:pt x="1227646" y="821159"/>
                </a:cubicBezTo>
                <a:lnTo>
                  <a:pt x="1227646" y="171152"/>
                </a:lnTo>
                <a:cubicBezTo>
                  <a:pt x="1227646" y="134317"/>
                  <a:pt x="1197508" y="104180"/>
                  <a:pt x="1160673" y="104180"/>
                </a:cubicBezTo>
                <a:close/>
                <a:moveTo>
                  <a:pt x="172827" y="0"/>
                </a:moveTo>
                <a:lnTo>
                  <a:pt x="1160673" y="0"/>
                </a:lnTo>
                <a:cubicBezTo>
                  <a:pt x="1255179" y="0"/>
                  <a:pt x="1331826" y="76646"/>
                  <a:pt x="1331826" y="171152"/>
                </a:cubicBezTo>
                <a:lnTo>
                  <a:pt x="1331826" y="1050355"/>
                </a:lnTo>
                <a:cubicBezTo>
                  <a:pt x="1331826" y="1144860"/>
                  <a:pt x="1255179" y="1221507"/>
                  <a:pt x="1160673" y="1221507"/>
                </a:cubicBezTo>
                <a:lnTo>
                  <a:pt x="172827" y="1221507"/>
                </a:lnTo>
                <a:cubicBezTo>
                  <a:pt x="78321" y="1221507"/>
                  <a:pt x="1674" y="1144860"/>
                  <a:pt x="1674" y="1050355"/>
                </a:cubicBezTo>
                <a:lnTo>
                  <a:pt x="1674" y="1006450"/>
                </a:lnTo>
                <a:cubicBezTo>
                  <a:pt x="-558" y="997893"/>
                  <a:pt x="-558" y="989335"/>
                  <a:pt x="1674" y="980405"/>
                </a:cubicBezTo>
                <a:lnTo>
                  <a:pt x="1674" y="171152"/>
                </a:lnTo>
                <a:cubicBezTo>
                  <a:pt x="1674" y="76646"/>
                  <a:pt x="78321" y="0"/>
                  <a:pt x="172827" y="0"/>
                </a:cubicBezTo>
                <a:close/>
              </a:path>
            </a:pathLst>
          </a:custGeom>
          <a:solidFill>
            <a:schemeClr val="bg1"/>
          </a:solidFill>
          <a:ln w="1860" cap="flat">
            <a:noFill/>
            <a:prstDash val="solid"/>
            <a:miter/>
          </a:ln>
        </p:spPr>
        <p:txBody>
          <a:bodyPr rtlCol="0" anchor="ctr"/>
          <a:lstStyle/>
          <a:p>
            <a:endParaRPr lang="zh-CN" altLang="en-US"/>
          </a:p>
        </p:txBody>
      </p:sp>
      <p:sp>
        <p:nvSpPr>
          <p:cNvPr id="4" name="矩形: 圆角 3">
            <a:extLst>
              <a:ext uri="{FF2B5EF4-FFF2-40B4-BE49-F238E27FC236}">
                <a16:creationId xmlns:a16="http://schemas.microsoft.com/office/drawing/2014/main" id="{582C0389-8489-4EE8-9E02-F80FE560BE7C}"/>
              </a:ext>
            </a:extLst>
          </p:cNvPr>
          <p:cNvSpPr/>
          <p:nvPr/>
        </p:nvSpPr>
        <p:spPr>
          <a:xfrm>
            <a:off x="2600325" y="1238249"/>
            <a:ext cx="8582025" cy="4381502"/>
          </a:xfrm>
          <a:prstGeom prst="roundRect">
            <a:avLst>
              <a:gd name="adj" fmla="val 10270"/>
            </a:avLst>
          </a:prstGeom>
          <a:solidFill>
            <a:schemeClr val="accent1"/>
          </a:solidFill>
          <a:ln>
            <a:noFill/>
          </a:ln>
          <a:effectLst>
            <a:outerShdw blurRad="228600" sx="102000" sy="1020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p>
        </p:txBody>
      </p:sp>
      <p:grpSp>
        <p:nvGrpSpPr>
          <p:cNvPr id="21" name="组合 20">
            <a:extLst>
              <a:ext uri="{FF2B5EF4-FFF2-40B4-BE49-F238E27FC236}">
                <a16:creationId xmlns:a16="http://schemas.microsoft.com/office/drawing/2014/main" id="{2A6C9BE2-DBD9-4ADF-8906-3801BE8CF0D6}"/>
              </a:ext>
            </a:extLst>
          </p:cNvPr>
          <p:cNvGrpSpPr/>
          <p:nvPr/>
        </p:nvGrpSpPr>
        <p:grpSpPr>
          <a:xfrm>
            <a:off x="4797370" y="1941436"/>
            <a:ext cx="2285883" cy="584776"/>
            <a:chOff x="3148072" y="1914004"/>
            <a:chExt cx="2285883" cy="584776"/>
          </a:xfrm>
        </p:grpSpPr>
        <p:sp>
          <p:nvSpPr>
            <p:cNvPr id="7" name="文本框 6">
              <a:extLst>
                <a:ext uri="{FF2B5EF4-FFF2-40B4-BE49-F238E27FC236}">
                  <a16:creationId xmlns:a16="http://schemas.microsoft.com/office/drawing/2014/main" id="{CD9851DE-7D42-457D-8548-EB57ED6FB783}"/>
                </a:ext>
              </a:extLst>
            </p:cNvPr>
            <p:cNvSpPr txBox="1"/>
            <p:nvPr/>
          </p:nvSpPr>
          <p:spPr>
            <a:xfrm>
              <a:off x="3148072" y="1914004"/>
              <a:ext cx="2285883" cy="369332"/>
            </a:xfrm>
            <a:prstGeom prst="rect">
              <a:avLst/>
            </a:prstGeom>
            <a:noFill/>
          </p:spPr>
          <p:txBody>
            <a:bodyPr wrap="none" lIns="0" tIns="0" rIns="0" bIns="0" rtlCol="0" anchor="t">
              <a:spAutoFit/>
            </a:bodyPr>
            <a:lstStyle/>
            <a:p>
              <a:pPr algn="ctr"/>
              <a:r>
                <a:rPr lang="en-US" altLang="zh-CN" sz="2400" dirty="0">
                  <a:solidFill>
                    <a:schemeClr val="bg1"/>
                  </a:solidFill>
                  <a:latin typeface="+mj-ea"/>
                  <a:ea typeface="+mj-ea"/>
                </a:rPr>
                <a:t>01 </a:t>
              </a:r>
              <a:r>
                <a:rPr lang="zh-CN" altLang="en-US" sz="2400" dirty="0">
                  <a:solidFill>
                    <a:schemeClr val="bg1"/>
                  </a:solidFill>
                  <a:latin typeface="+mj-ea"/>
                  <a:ea typeface="+mj-ea"/>
                </a:rPr>
                <a:t>输入目录标题</a:t>
              </a:r>
            </a:p>
          </p:txBody>
        </p:sp>
        <p:sp>
          <p:nvSpPr>
            <p:cNvPr id="8" name="文本框 7">
              <a:extLst>
                <a:ext uri="{FF2B5EF4-FFF2-40B4-BE49-F238E27FC236}">
                  <a16:creationId xmlns:a16="http://schemas.microsoft.com/office/drawing/2014/main" id="{EC144832-0749-423F-A5BD-94F8D7083461}"/>
                </a:ext>
              </a:extLst>
            </p:cNvPr>
            <p:cNvSpPr txBox="1"/>
            <p:nvPr/>
          </p:nvSpPr>
          <p:spPr>
            <a:xfrm>
              <a:off x="3148072" y="2283336"/>
              <a:ext cx="2285882" cy="215444"/>
            </a:xfrm>
            <a:prstGeom prst="rect">
              <a:avLst/>
            </a:prstGeom>
            <a:noFill/>
          </p:spPr>
          <p:txBody>
            <a:bodyPr wrap="square" lIns="0" tIns="0" rIns="0" bIns="0" rtlCol="0" anchor="t">
              <a:spAutoFit/>
            </a:bodyPr>
            <a:lstStyle/>
            <a:p>
              <a:pPr algn="dist"/>
              <a:r>
                <a:rPr lang="en-US" altLang="zh-CN" sz="1400" dirty="0">
                  <a:solidFill>
                    <a:schemeClr val="bg1"/>
                  </a:solidFill>
                </a:rPr>
                <a:t>Contents Title Here</a:t>
              </a:r>
              <a:endParaRPr lang="zh-CN" altLang="en-US" sz="1400" dirty="0">
                <a:solidFill>
                  <a:schemeClr val="bg1"/>
                </a:solidFill>
              </a:endParaRPr>
            </a:p>
          </p:txBody>
        </p:sp>
      </p:grpSp>
      <p:grpSp>
        <p:nvGrpSpPr>
          <p:cNvPr id="22" name="组合 21">
            <a:extLst>
              <a:ext uri="{FF2B5EF4-FFF2-40B4-BE49-F238E27FC236}">
                <a16:creationId xmlns:a16="http://schemas.microsoft.com/office/drawing/2014/main" id="{E4C9D78E-E731-4201-9C21-1E75D07C1A07}"/>
              </a:ext>
            </a:extLst>
          </p:cNvPr>
          <p:cNvGrpSpPr/>
          <p:nvPr/>
        </p:nvGrpSpPr>
        <p:grpSpPr>
          <a:xfrm>
            <a:off x="8220323" y="1941436"/>
            <a:ext cx="2340384" cy="584776"/>
            <a:chOff x="3120822" y="1914004"/>
            <a:chExt cx="2340384" cy="584776"/>
          </a:xfrm>
        </p:grpSpPr>
        <p:sp>
          <p:nvSpPr>
            <p:cNvPr id="23" name="文本框 22">
              <a:extLst>
                <a:ext uri="{FF2B5EF4-FFF2-40B4-BE49-F238E27FC236}">
                  <a16:creationId xmlns:a16="http://schemas.microsoft.com/office/drawing/2014/main" id="{EEBF5FD5-4D00-444A-B2AC-FEABA70E15A8}"/>
                </a:ext>
              </a:extLst>
            </p:cNvPr>
            <p:cNvSpPr txBox="1"/>
            <p:nvPr/>
          </p:nvSpPr>
          <p:spPr>
            <a:xfrm>
              <a:off x="3120822" y="1914004"/>
              <a:ext cx="2340384" cy="369332"/>
            </a:xfrm>
            <a:prstGeom prst="rect">
              <a:avLst/>
            </a:prstGeom>
            <a:noFill/>
          </p:spPr>
          <p:txBody>
            <a:bodyPr wrap="none" lIns="0" tIns="0" rIns="0" bIns="0" rtlCol="0" anchor="t">
              <a:spAutoFit/>
            </a:bodyPr>
            <a:lstStyle/>
            <a:p>
              <a:pPr algn="ctr"/>
              <a:r>
                <a:rPr lang="en-US" altLang="zh-CN" sz="2400" dirty="0">
                  <a:solidFill>
                    <a:schemeClr val="bg1"/>
                  </a:solidFill>
                  <a:latin typeface="+mj-ea"/>
                  <a:ea typeface="+mj-ea"/>
                </a:rPr>
                <a:t>02 </a:t>
              </a:r>
              <a:r>
                <a:rPr lang="zh-CN" altLang="en-US" sz="2400" dirty="0">
                  <a:solidFill>
                    <a:schemeClr val="bg1"/>
                  </a:solidFill>
                  <a:latin typeface="+mj-ea"/>
                  <a:ea typeface="+mj-ea"/>
                </a:rPr>
                <a:t>输入目录标题</a:t>
              </a:r>
            </a:p>
          </p:txBody>
        </p:sp>
        <p:sp>
          <p:nvSpPr>
            <p:cNvPr id="24" name="文本框 23">
              <a:extLst>
                <a:ext uri="{FF2B5EF4-FFF2-40B4-BE49-F238E27FC236}">
                  <a16:creationId xmlns:a16="http://schemas.microsoft.com/office/drawing/2014/main" id="{431BC20C-CD5B-4A83-B19A-F849AFD3C155}"/>
                </a:ext>
              </a:extLst>
            </p:cNvPr>
            <p:cNvSpPr txBox="1"/>
            <p:nvPr/>
          </p:nvSpPr>
          <p:spPr>
            <a:xfrm>
              <a:off x="3148072" y="2283336"/>
              <a:ext cx="2285882" cy="215444"/>
            </a:xfrm>
            <a:prstGeom prst="rect">
              <a:avLst/>
            </a:prstGeom>
            <a:noFill/>
          </p:spPr>
          <p:txBody>
            <a:bodyPr wrap="square" lIns="0" tIns="0" rIns="0" bIns="0" rtlCol="0" anchor="t">
              <a:spAutoFit/>
            </a:bodyPr>
            <a:lstStyle/>
            <a:p>
              <a:pPr algn="dist"/>
              <a:r>
                <a:rPr lang="en-US" altLang="zh-CN" sz="1400" dirty="0">
                  <a:solidFill>
                    <a:schemeClr val="bg1"/>
                  </a:solidFill>
                </a:rPr>
                <a:t>Contents Title Here</a:t>
              </a:r>
              <a:endParaRPr lang="zh-CN" altLang="en-US" sz="1400" dirty="0">
                <a:solidFill>
                  <a:schemeClr val="bg1"/>
                </a:solidFill>
              </a:endParaRPr>
            </a:p>
          </p:txBody>
        </p:sp>
      </p:grpSp>
      <p:grpSp>
        <p:nvGrpSpPr>
          <p:cNvPr id="26" name="组合 25">
            <a:extLst>
              <a:ext uri="{FF2B5EF4-FFF2-40B4-BE49-F238E27FC236}">
                <a16:creationId xmlns:a16="http://schemas.microsoft.com/office/drawing/2014/main" id="{64670093-7C7A-489B-BD3F-DEF52A1770B4}"/>
              </a:ext>
            </a:extLst>
          </p:cNvPr>
          <p:cNvGrpSpPr/>
          <p:nvPr/>
        </p:nvGrpSpPr>
        <p:grpSpPr>
          <a:xfrm>
            <a:off x="4770120" y="2990419"/>
            <a:ext cx="2340384" cy="584776"/>
            <a:chOff x="3120822" y="1914004"/>
            <a:chExt cx="2340384" cy="584776"/>
          </a:xfrm>
        </p:grpSpPr>
        <p:sp>
          <p:nvSpPr>
            <p:cNvPr id="27" name="文本框 26">
              <a:extLst>
                <a:ext uri="{FF2B5EF4-FFF2-40B4-BE49-F238E27FC236}">
                  <a16:creationId xmlns:a16="http://schemas.microsoft.com/office/drawing/2014/main" id="{F7786093-2443-4267-85DA-0012822095DA}"/>
                </a:ext>
              </a:extLst>
            </p:cNvPr>
            <p:cNvSpPr txBox="1"/>
            <p:nvPr/>
          </p:nvSpPr>
          <p:spPr>
            <a:xfrm>
              <a:off x="3120822" y="1914004"/>
              <a:ext cx="2340384" cy="369332"/>
            </a:xfrm>
            <a:prstGeom prst="rect">
              <a:avLst/>
            </a:prstGeom>
            <a:noFill/>
          </p:spPr>
          <p:txBody>
            <a:bodyPr wrap="none" lIns="0" tIns="0" rIns="0" bIns="0" rtlCol="0" anchor="t">
              <a:spAutoFit/>
            </a:bodyPr>
            <a:lstStyle/>
            <a:p>
              <a:pPr algn="ctr"/>
              <a:r>
                <a:rPr lang="en-US" altLang="zh-CN" sz="2400" dirty="0">
                  <a:solidFill>
                    <a:schemeClr val="bg1"/>
                  </a:solidFill>
                  <a:latin typeface="+mj-ea"/>
                  <a:ea typeface="+mj-ea"/>
                </a:rPr>
                <a:t>03 </a:t>
              </a:r>
              <a:r>
                <a:rPr lang="zh-CN" altLang="en-US" sz="2400" dirty="0">
                  <a:solidFill>
                    <a:schemeClr val="bg1"/>
                  </a:solidFill>
                  <a:latin typeface="+mj-ea"/>
                  <a:ea typeface="+mj-ea"/>
                </a:rPr>
                <a:t>输入目录标题</a:t>
              </a:r>
            </a:p>
          </p:txBody>
        </p:sp>
        <p:sp>
          <p:nvSpPr>
            <p:cNvPr id="28" name="文本框 27">
              <a:extLst>
                <a:ext uri="{FF2B5EF4-FFF2-40B4-BE49-F238E27FC236}">
                  <a16:creationId xmlns:a16="http://schemas.microsoft.com/office/drawing/2014/main" id="{2BD141A8-3915-44E1-BF2D-89A1732C43A4}"/>
                </a:ext>
              </a:extLst>
            </p:cNvPr>
            <p:cNvSpPr txBox="1"/>
            <p:nvPr/>
          </p:nvSpPr>
          <p:spPr>
            <a:xfrm>
              <a:off x="3148072" y="2283336"/>
              <a:ext cx="2285882" cy="215444"/>
            </a:xfrm>
            <a:prstGeom prst="rect">
              <a:avLst/>
            </a:prstGeom>
            <a:noFill/>
          </p:spPr>
          <p:txBody>
            <a:bodyPr wrap="square" lIns="0" tIns="0" rIns="0" bIns="0" rtlCol="0" anchor="t">
              <a:spAutoFit/>
            </a:bodyPr>
            <a:lstStyle/>
            <a:p>
              <a:pPr algn="dist"/>
              <a:r>
                <a:rPr lang="en-US" altLang="zh-CN" sz="1400" dirty="0">
                  <a:solidFill>
                    <a:schemeClr val="bg1"/>
                  </a:solidFill>
                </a:rPr>
                <a:t>Contents Title Here</a:t>
              </a:r>
              <a:endParaRPr lang="zh-CN" altLang="en-US" sz="1400" dirty="0">
                <a:solidFill>
                  <a:schemeClr val="bg1"/>
                </a:solidFill>
              </a:endParaRPr>
            </a:p>
          </p:txBody>
        </p:sp>
      </p:grpSp>
      <p:grpSp>
        <p:nvGrpSpPr>
          <p:cNvPr id="29" name="组合 28">
            <a:extLst>
              <a:ext uri="{FF2B5EF4-FFF2-40B4-BE49-F238E27FC236}">
                <a16:creationId xmlns:a16="http://schemas.microsoft.com/office/drawing/2014/main" id="{112A1159-7FBA-4502-B02D-8F2AC5D4B91B}"/>
              </a:ext>
            </a:extLst>
          </p:cNvPr>
          <p:cNvGrpSpPr/>
          <p:nvPr/>
        </p:nvGrpSpPr>
        <p:grpSpPr>
          <a:xfrm>
            <a:off x="8220323" y="2990419"/>
            <a:ext cx="2340384" cy="584776"/>
            <a:chOff x="3120822" y="1914004"/>
            <a:chExt cx="2340384" cy="584776"/>
          </a:xfrm>
        </p:grpSpPr>
        <p:sp>
          <p:nvSpPr>
            <p:cNvPr id="30" name="文本框 29">
              <a:extLst>
                <a:ext uri="{FF2B5EF4-FFF2-40B4-BE49-F238E27FC236}">
                  <a16:creationId xmlns:a16="http://schemas.microsoft.com/office/drawing/2014/main" id="{F9D6E996-1023-481A-8007-DEBA7D0081FB}"/>
                </a:ext>
              </a:extLst>
            </p:cNvPr>
            <p:cNvSpPr txBox="1"/>
            <p:nvPr/>
          </p:nvSpPr>
          <p:spPr>
            <a:xfrm>
              <a:off x="3120822" y="1914004"/>
              <a:ext cx="2340384" cy="369332"/>
            </a:xfrm>
            <a:prstGeom prst="rect">
              <a:avLst/>
            </a:prstGeom>
            <a:noFill/>
          </p:spPr>
          <p:txBody>
            <a:bodyPr wrap="none" lIns="0" tIns="0" rIns="0" bIns="0" rtlCol="0" anchor="t">
              <a:spAutoFit/>
            </a:bodyPr>
            <a:lstStyle/>
            <a:p>
              <a:pPr algn="ctr"/>
              <a:r>
                <a:rPr lang="en-US" altLang="zh-CN" sz="2400" dirty="0">
                  <a:solidFill>
                    <a:schemeClr val="bg1"/>
                  </a:solidFill>
                  <a:latin typeface="+mj-ea"/>
                  <a:ea typeface="+mj-ea"/>
                </a:rPr>
                <a:t>04 </a:t>
              </a:r>
              <a:r>
                <a:rPr lang="zh-CN" altLang="en-US" sz="2400" dirty="0">
                  <a:solidFill>
                    <a:schemeClr val="bg1"/>
                  </a:solidFill>
                  <a:latin typeface="+mj-ea"/>
                  <a:ea typeface="+mj-ea"/>
                </a:rPr>
                <a:t>输入目录标题</a:t>
              </a:r>
            </a:p>
          </p:txBody>
        </p:sp>
        <p:sp>
          <p:nvSpPr>
            <p:cNvPr id="31" name="文本框 30">
              <a:extLst>
                <a:ext uri="{FF2B5EF4-FFF2-40B4-BE49-F238E27FC236}">
                  <a16:creationId xmlns:a16="http://schemas.microsoft.com/office/drawing/2014/main" id="{7E98F459-C154-4B32-8E43-A4D052D5C15A}"/>
                </a:ext>
              </a:extLst>
            </p:cNvPr>
            <p:cNvSpPr txBox="1"/>
            <p:nvPr/>
          </p:nvSpPr>
          <p:spPr>
            <a:xfrm>
              <a:off x="3148072" y="2283336"/>
              <a:ext cx="2285882" cy="215444"/>
            </a:xfrm>
            <a:prstGeom prst="rect">
              <a:avLst/>
            </a:prstGeom>
            <a:noFill/>
          </p:spPr>
          <p:txBody>
            <a:bodyPr wrap="square" lIns="0" tIns="0" rIns="0" bIns="0" rtlCol="0" anchor="t">
              <a:spAutoFit/>
            </a:bodyPr>
            <a:lstStyle/>
            <a:p>
              <a:pPr algn="dist"/>
              <a:r>
                <a:rPr lang="en-US" altLang="zh-CN" sz="1400" dirty="0">
                  <a:solidFill>
                    <a:schemeClr val="bg1"/>
                  </a:solidFill>
                </a:rPr>
                <a:t>Contents Title Here</a:t>
              </a:r>
              <a:endParaRPr lang="zh-CN" altLang="en-US" sz="1400" dirty="0">
                <a:solidFill>
                  <a:schemeClr val="bg1"/>
                </a:solidFill>
              </a:endParaRPr>
            </a:p>
          </p:txBody>
        </p:sp>
      </p:grpSp>
      <p:grpSp>
        <p:nvGrpSpPr>
          <p:cNvPr id="39" name="组合 38">
            <a:extLst>
              <a:ext uri="{FF2B5EF4-FFF2-40B4-BE49-F238E27FC236}">
                <a16:creationId xmlns:a16="http://schemas.microsoft.com/office/drawing/2014/main" id="{D9E7432A-9A43-4ED8-9318-2AA4C6964BC1}"/>
              </a:ext>
            </a:extLst>
          </p:cNvPr>
          <p:cNvGrpSpPr/>
          <p:nvPr/>
        </p:nvGrpSpPr>
        <p:grpSpPr>
          <a:xfrm>
            <a:off x="4770120" y="4039401"/>
            <a:ext cx="2340384" cy="584776"/>
            <a:chOff x="3120822" y="1914004"/>
            <a:chExt cx="2340384" cy="584776"/>
          </a:xfrm>
        </p:grpSpPr>
        <p:sp>
          <p:nvSpPr>
            <p:cNvPr id="40" name="文本框 39">
              <a:extLst>
                <a:ext uri="{FF2B5EF4-FFF2-40B4-BE49-F238E27FC236}">
                  <a16:creationId xmlns:a16="http://schemas.microsoft.com/office/drawing/2014/main" id="{21FE1572-101D-4EA4-9C6F-C60227A265B0}"/>
                </a:ext>
              </a:extLst>
            </p:cNvPr>
            <p:cNvSpPr txBox="1"/>
            <p:nvPr/>
          </p:nvSpPr>
          <p:spPr>
            <a:xfrm>
              <a:off x="3120822" y="1914004"/>
              <a:ext cx="2340384" cy="369332"/>
            </a:xfrm>
            <a:prstGeom prst="rect">
              <a:avLst/>
            </a:prstGeom>
            <a:noFill/>
          </p:spPr>
          <p:txBody>
            <a:bodyPr wrap="none" lIns="0" tIns="0" rIns="0" bIns="0" rtlCol="0" anchor="t">
              <a:spAutoFit/>
            </a:bodyPr>
            <a:lstStyle/>
            <a:p>
              <a:pPr algn="ctr"/>
              <a:r>
                <a:rPr lang="en-US" altLang="zh-CN" sz="2400" dirty="0">
                  <a:solidFill>
                    <a:schemeClr val="bg1"/>
                  </a:solidFill>
                  <a:latin typeface="+mj-ea"/>
                  <a:ea typeface="+mj-ea"/>
                </a:rPr>
                <a:t>05 </a:t>
              </a:r>
              <a:r>
                <a:rPr lang="zh-CN" altLang="en-US" sz="2400" dirty="0">
                  <a:solidFill>
                    <a:schemeClr val="bg1"/>
                  </a:solidFill>
                  <a:latin typeface="+mj-ea"/>
                  <a:ea typeface="+mj-ea"/>
                </a:rPr>
                <a:t>输入目录标题</a:t>
              </a:r>
            </a:p>
          </p:txBody>
        </p:sp>
        <p:sp>
          <p:nvSpPr>
            <p:cNvPr id="41" name="文本框 40">
              <a:extLst>
                <a:ext uri="{FF2B5EF4-FFF2-40B4-BE49-F238E27FC236}">
                  <a16:creationId xmlns:a16="http://schemas.microsoft.com/office/drawing/2014/main" id="{8034E91F-E044-4217-B0C8-AFD88B6A218E}"/>
                </a:ext>
              </a:extLst>
            </p:cNvPr>
            <p:cNvSpPr txBox="1"/>
            <p:nvPr/>
          </p:nvSpPr>
          <p:spPr>
            <a:xfrm>
              <a:off x="3148072" y="2283336"/>
              <a:ext cx="2285882" cy="215444"/>
            </a:xfrm>
            <a:prstGeom prst="rect">
              <a:avLst/>
            </a:prstGeom>
            <a:noFill/>
          </p:spPr>
          <p:txBody>
            <a:bodyPr wrap="square" lIns="0" tIns="0" rIns="0" bIns="0" rtlCol="0" anchor="t">
              <a:spAutoFit/>
            </a:bodyPr>
            <a:lstStyle/>
            <a:p>
              <a:pPr algn="dist"/>
              <a:r>
                <a:rPr lang="en-US" altLang="zh-CN" sz="1400" dirty="0">
                  <a:solidFill>
                    <a:schemeClr val="bg1"/>
                  </a:solidFill>
                </a:rPr>
                <a:t>Contents Title Here</a:t>
              </a:r>
              <a:endParaRPr lang="zh-CN" altLang="en-US" sz="1400" dirty="0">
                <a:solidFill>
                  <a:schemeClr val="bg1"/>
                </a:solidFill>
              </a:endParaRPr>
            </a:p>
          </p:txBody>
        </p:sp>
      </p:grpSp>
      <p:grpSp>
        <p:nvGrpSpPr>
          <p:cNvPr id="42" name="组合 41">
            <a:extLst>
              <a:ext uri="{FF2B5EF4-FFF2-40B4-BE49-F238E27FC236}">
                <a16:creationId xmlns:a16="http://schemas.microsoft.com/office/drawing/2014/main" id="{80AF1754-BFD2-4BF8-BC28-64F2D29F6F68}"/>
              </a:ext>
            </a:extLst>
          </p:cNvPr>
          <p:cNvGrpSpPr/>
          <p:nvPr/>
        </p:nvGrpSpPr>
        <p:grpSpPr>
          <a:xfrm>
            <a:off x="8220323" y="4039401"/>
            <a:ext cx="2340384" cy="584776"/>
            <a:chOff x="3120822" y="1914004"/>
            <a:chExt cx="2340384" cy="584776"/>
          </a:xfrm>
        </p:grpSpPr>
        <p:sp>
          <p:nvSpPr>
            <p:cNvPr id="43" name="文本框 42">
              <a:extLst>
                <a:ext uri="{FF2B5EF4-FFF2-40B4-BE49-F238E27FC236}">
                  <a16:creationId xmlns:a16="http://schemas.microsoft.com/office/drawing/2014/main" id="{884321AD-C6ED-4DC6-8A82-6860C95274B6}"/>
                </a:ext>
              </a:extLst>
            </p:cNvPr>
            <p:cNvSpPr txBox="1"/>
            <p:nvPr/>
          </p:nvSpPr>
          <p:spPr>
            <a:xfrm>
              <a:off x="3120822" y="1914004"/>
              <a:ext cx="2340384" cy="369332"/>
            </a:xfrm>
            <a:prstGeom prst="rect">
              <a:avLst/>
            </a:prstGeom>
            <a:noFill/>
          </p:spPr>
          <p:txBody>
            <a:bodyPr wrap="none" lIns="0" tIns="0" rIns="0" bIns="0" rtlCol="0" anchor="t">
              <a:spAutoFit/>
            </a:bodyPr>
            <a:lstStyle/>
            <a:p>
              <a:pPr algn="ctr"/>
              <a:r>
                <a:rPr lang="en-US" altLang="zh-CN" sz="2400" dirty="0">
                  <a:solidFill>
                    <a:schemeClr val="bg1"/>
                  </a:solidFill>
                  <a:latin typeface="+mj-ea"/>
                  <a:ea typeface="+mj-ea"/>
                </a:rPr>
                <a:t>06 </a:t>
              </a:r>
              <a:r>
                <a:rPr lang="zh-CN" altLang="en-US" sz="2400" dirty="0">
                  <a:solidFill>
                    <a:schemeClr val="bg1"/>
                  </a:solidFill>
                  <a:latin typeface="+mj-ea"/>
                  <a:ea typeface="+mj-ea"/>
                </a:rPr>
                <a:t>输入目录标题</a:t>
              </a:r>
            </a:p>
          </p:txBody>
        </p:sp>
        <p:sp>
          <p:nvSpPr>
            <p:cNvPr id="44" name="文本框 43">
              <a:extLst>
                <a:ext uri="{FF2B5EF4-FFF2-40B4-BE49-F238E27FC236}">
                  <a16:creationId xmlns:a16="http://schemas.microsoft.com/office/drawing/2014/main" id="{2A3F799C-1E50-4E7A-A403-E0CDB001104D}"/>
                </a:ext>
              </a:extLst>
            </p:cNvPr>
            <p:cNvSpPr txBox="1"/>
            <p:nvPr/>
          </p:nvSpPr>
          <p:spPr>
            <a:xfrm>
              <a:off x="3148072" y="2283336"/>
              <a:ext cx="2285882" cy="215444"/>
            </a:xfrm>
            <a:prstGeom prst="rect">
              <a:avLst/>
            </a:prstGeom>
            <a:noFill/>
          </p:spPr>
          <p:txBody>
            <a:bodyPr wrap="square" lIns="0" tIns="0" rIns="0" bIns="0" rtlCol="0" anchor="t">
              <a:spAutoFit/>
            </a:bodyPr>
            <a:lstStyle/>
            <a:p>
              <a:pPr algn="dist"/>
              <a:r>
                <a:rPr lang="en-US" altLang="zh-CN" sz="1400" dirty="0">
                  <a:solidFill>
                    <a:schemeClr val="bg1"/>
                  </a:solidFill>
                </a:rPr>
                <a:t>Contents Title Here</a:t>
              </a:r>
              <a:endParaRPr lang="zh-CN" altLang="en-US" sz="1400" dirty="0">
                <a:solidFill>
                  <a:schemeClr val="bg1"/>
                </a:solidFill>
              </a:endParaRPr>
            </a:p>
          </p:txBody>
        </p:sp>
      </p:grpSp>
      <p:sp>
        <p:nvSpPr>
          <p:cNvPr id="45" name="矩形 44">
            <a:extLst>
              <a:ext uri="{FF2B5EF4-FFF2-40B4-BE49-F238E27FC236}">
                <a16:creationId xmlns:a16="http://schemas.microsoft.com/office/drawing/2014/main" id="{7701D606-52BC-49C6-A8EA-007657181D1C}"/>
              </a:ext>
            </a:extLst>
          </p:cNvPr>
          <p:cNvSpPr/>
          <p:nvPr/>
        </p:nvSpPr>
        <p:spPr>
          <a:xfrm>
            <a:off x="3178148" y="1236586"/>
            <a:ext cx="1041400" cy="2349645"/>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p>
        </p:txBody>
      </p:sp>
      <p:sp>
        <p:nvSpPr>
          <p:cNvPr id="46" name="箭头: V 形 45">
            <a:extLst>
              <a:ext uri="{FF2B5EF4-FFF2-40B4-BE49-F238E27FC236}">
                <a16:creationId xmlns:a16="http://schemas.microsoft.com/office/drawing/2014/main" id="{10763C43-3B91-40FD-A08C-25152091BD54}"/>
              </a:ext>
            </a:extLst>
          </p:cNvPr>
          <p:cNvSpPr/>
          <p:nvPr/>
        </p:nvSpPr>
        <p:spPr>
          <a:xfrm rot="16200000">
            <a:off x="3141734" y="3081437"/>
            <a:ext cx="1114224" cy="1041399"/>
          </a:xfrm>
          <a:prstGeom prst="chevron">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6000" dirty="0">
              <a:solidFill>
                <a:schemeClr val="tx1"/>
              </a:solidFill>
            </a:endParaRPr>
          </a:p>
        </p:txBody>
      </p:sp>
      <p:sp>
        <p:nvSpPr>
          <p:cNvPr id="47" name="文本框 46">
            <a:extLst>
              <a:ext uri="{FF2B5EF4-FFF2-40B4-BE49-F238E27FC236}">
                <a16:creationId xmlns:a16="http://schemas.microsoft.com/office/drawing/2014/main" id="{E253064C-33D7-4F89-A572-4C18DB204054}"/>
              </a:ext>
            </a:extLst>
          </p:cNvPr>
          <p:cNvSpPr txBox="1"/>
          <p:nvPr/>
        </p:nvSpPr>
        <p:spPr>
          <a:xfrm>
            <a:off x="3225145" y="1806775"/>
            <a:ext cx="923330" cy="1538883"/>
          </a:xfrm>
          <a:prstGeom prst="rect">
            <a:avLst/>
          </a:prstGeom>
          <a:noFill/>
        </p:spPr>
        <p:txBody>
          <a:bodyPr vert="eaVert" wrap="none" lIns="0" tIns="0" rIns="0" bIns="0" rtlCol="0" anchor="t">
            <a:spAutoFit/>
          </a:bodyPr>
          <a:lstStyle/>
          <a:p>
            <a:pPr algn="l"/>
            <a:r>
              <a:rPr lang="zh-CN" altLang="en-US" sz="6000" dirty="0">
                <a:solidFill>
                  <a:schemeClr val="bg1"/>
                </a:solidFill>
              </a:rPr>
              <a:t>目录</a:t>
            </a:r>
          </a:p>
        </p:txBody>
      </p:sp>
      <p:sp>
        <p:nvSpPr>
          <p:cNvPr id="48" name="文本框 47">
            <a:extLst>
              <a:ext uri="{FF2B5EF4-FFF2-40B4-BE49-F238E27FC236}">
                <a16:creationId xmlns:a16="http://schemas.microsoft.com/office/drawing/2014/main" id="{074B6FF8-D3E2-4301-AF24-427CC01254F4}"/>
              </a:ext>
            </a:extLst>
          </p:cNvPr>
          <p:cNvSpPr txBox="1"/>
          <p:nvPr/>
        </p:nvSpPr>
        <p:spPr>
          <a:xfrm>
            <a:off x="3170323" y="4412874"/>
            <a:ext cx="1075615" cy="246221"/>
          </a:xfrm>
          <a:prstGeom prst="rect">
            <a:avLst/>
          </a:prstGeom>
          <a:noFill/>
        </p:spPr>
        <p:txBody>
          <a:bodyPr vert="horz" wrap="none" lIns="0" tIns="0" rIns="0" bIns="0" rtlCol="0" anchor="t">
            <a:spAutoFit/>
          </a:bodyPr>
          <a:lstStyle/>
          <a:p>
            <a:pPr algn="l"/>
            <a:r>
              <a:rPr lang="en-US" altLang="zh-CN" sz="1600" dirty="0">
                <a:solidFill>
                  <a:schemeClr val="bg1"/>
                </a:solidFill>
              </a:rPr>
              <a:t>CONTENTS</a:t>
            </a:r>
            <a:endParaRPr lang="zh-CN" altLang="en-US" sz="1600" dirty="0">
              <a:solidFill>
                <a:schemeClr val="bg1"/>
              </a:solidFill>
            </a:endParaRPr>
          </a:p>
        </p:txBody>
      </p:sp>
    </p:spTree>
    <p:extLst>
      <p:ext uri="{BB962C8B-B14F-4D97-AF65-F5344CB8AC3E}">
        <p14:creationId xmlns:p14="http://schemas.microsoft.com/office/powerpoint/2010/main" val="3361672310"/>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a:extLst>
              <a:ext uri="{FF2B5EF4-FFF2-40B4-BE49-F238E27FC236}">
                <a16:creationId xmlns:a16="http://schemas.microsoft.com/office/drawing/2014/main" id="{13B903CB-B568-4C12-B5DC-A109C3960DC9}"/>
              </a:ext>
            </a:extLst>
          </p:cNvPr>
          <p:cNvSpPr txBox="1"/>
          <p:nvPr/>
        </p:nvSpPr>
        <p:spPr>
          <a:xfrm>
            <a:off x="1974088" y="633067"/>
            <a:ext cx="2416937" cy="492443"/>
          </a:xfrm>
          <a:prstGeom prst="rect">
            <a:avLst/>
          </a:prstGeom>
          <a:noFill/>
        </p:spPr>
        <p:txBody>
          <a:bodyPr wrap="square" lIns="0" tIns="0" rIns="0" bIns="0" rtlCol="0" anchor="t">
            <a:spAutoFit/>
          </a:bodyPr>
          <a:lstStyle/>
          <a:p>
            <a:pPr algn="dist"/>
            <a:r>
              <a:rPr lang="en-US" altLang="zh-CN" sz="3200" dirty="0">
                <a:solidFill>
                  <a:schemeClr val="bg1">
                    <a:lumMod val="85000"/>
                  </a:schemeClr>
                </a:solidFill>
                <a:latin typeface="+mj-ea"/>
                <a:ea typeface="+mj-ea"/>
              </a:rPr>
              <a:t>CONTENTS</a:t>
            </a:r>
            <a:endParaRPr lang="zh-CN" altLang="en-US" sz="3200" dirty="0">
              <a:solidFill>
                <a:schemeClr val="bg1">
                  <a:lumMod val="85000"/>
                </a:schemeClr>
              </a:solidFill>
              <a:latin typeface="+mj-ea"/>
              <a:ea typeface="+mj-ea"/>
            </a:endParaRPr>
          </a:p>
        </p:txBody>
      </p:sp>
      <p:sp>
        <p:nvSpPr>
          <p:cNvPr id="3" name="文本框 2">
            <a:extLst>
              <a:ext uri="{FF2B5EF4-FFF2-40B4-BE49-F238E27FC236}">
                <a16:creationId xmlns:a16="http://schemas.microsoft.com/office/drawing/2014/main" id="{276A3AF6-8D39-49B3-963C-CC4BCF0F74F7}"/>
              </a:ext>
            </a:extLst>
          </p:cNvPr>
          <p:cNvSpPr txBox="1"/>
          <p:nvPr/>
        </p:nvSpPr>
        <p:spPr>
          <a:xfrm>
            <a:off x="398272" y="326778"/>
            <a:ext cx="1452626" cy="830997"/>
          </a:xfrm>
          <a:prstGeom prst="rect">
            <a:avLst/>
          </a:prstGeom>
          <a:noFill/>
        </p:spPr>
        <p:txBody>
          <a:bodyPr wrap="square" lIns="0" tIns="0" rIns="0" bIns="0" rtlCol="0" anchor="t">
            <a:spAutoFit/>
          </a:bodyPr>
          <a:lstStyle/>
          <a:p>
            <a:pPr algn="dist"/>
            <a:r>
              <a:rPr lang="zh-CN" altLang="en-US" sz="5400" dirty="0">
                <a:solidFill>
                  <a:schemeClr val="accent1"/>
                </a:solidFill>
                <a:latin typeface="+mj-ea"/>
                <a:ea typeface="+mj-ea"/>
              </a:rPr>
              <a:t>目录</a:t>
            </a:r>
          </a:p>
        </p:txBody>
      </p:sp>
      <p:sp>
        <p:nvSpPr>
          <p:cNvPr id="6" name="任意多边形: 形状 5">
            <a:extLst>
              <a:ext uri="{FF2B5EF4-FFF2-40B4-BE49-F238E27FC236}">
                <a16:creationId xmlns:a16="http://schemas.microsoft.com/office/drawing/2014/main" id="{E4874100-7B2E-4F8E-825D-42A6EFD2C946}"/>
              </a:ext>
            </a:extLst>
          </p:cNvPr>
          <p:cNvSpPr/>
          <p:nvPr/>
        </p:nvSpPr>
        <p:spPr>
          <a:xfrm>
            <a:off x="0" y="5848350"/>
            <a:ext cx="12192000" cy="1009650"/>
          </a:xfrm>
          <a:custGeom>
            <a:avLst/>
            <a:gdLst>
              <a:gd name="connsiteX0" fmla="*/ 1552575 w 12192000"/>
              <a:gd name="connsiteY0" fmla="*/ 89 h 1495514"/>
              <a:gd name="connsiteX1" fmla="*/ 4648200 w 12192000"/>
              <a:gd name="connsiteY1" fmla="*/ 752564 h 1495514"/>
              <a:gd name="connsiteX2" fmla="*/ 8296275 w 12192000"/>
              <a:gd name="connsiteY2" fmla="*/ 57239 h 1495514"/>
              <a:gd name="connsiteX3" fmla="*/ 11249025 w 12192000"/>
              <a:gd name="connsiteY3" fmla="*/ 752564 h 1495514"/>
              <a:gd name="connsiteX4" fmla="*/ 12125921 w 12192000"/>
              <a:gd name="connsiteY4" fmla="*/ 548967 h 1495514"/>
              <a:gd name="connsiteX5" fmla="*/ 12192000 w 12192000"/>
              <a:gd name="connsiteY5" fmla="*/ 515734 h 1495514"/>
              <a:gd name="connsiteX6" fmla="*/ 12192000 w 12192000"/>
              <a:gd name="connsiteY6" fmla="*/ 1495514 h 1495514"/>
              <a:gd name="connsiteX7" fmla="*/ 0 w 12192000"/>
              <a:gd name="connsiteY7" fmla="*/ 1495514 h 1495514"/>
              <a:gd name="connsiteX8" fmla="*/ 0 w 12192000"/>
              <a:gd name="connsiteY8" fmla="*/ 463572 h 1495514"/>
              <a:gd name="connsiteX9" fmla="*/ 62062 w 12192000"/>
              <a:gd name="connsiteY9" fmla="*/ 427691 h 1495514"/>
              <a:gd name="connsiteX10" fmla="*/ 1552575 w 12192000"/>
              <a:gd name="connsiteY10" fmla="*/ 89 h 1495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2000" h="1495514">
                <a:moveTo>
                  <a:pt x="1552575" y="89"/>
                </a:moveTo>
                <a:cubicBezTo>
                  <a:pt x="2413000" y="-9436"/>
                  <a:pt x="3524250" y="743039"/>
                  <a:pt x="4648200" y="752564"/>
                </a:cubicBezTo>
                <a:cubicBezTo>
                  <a:pt x="5772150" y="762089"/>
                  <a:pt x="7196138" y="57239"/>
                  <a:pt x="8296275" y="57239"/>
                </a:cubicBezTo>
                <a:cubicBezTo>
                  <a:pt x="9396412" y="57239"/>
                  <a:pt x="10521950" y="698589"/>
                  <a:pt x="11249025" y="752564"/>
                </a:cubicBezTo>
                <a:cubicBezTo>
                  <a:pt x="11612562" y="779552"/>
                  <a:pt x="11897916" y="661283"/>
                  <a:pt x="12125921" y="548967"/>
                </a:cubicBezTo>
                <a:lnTo>
                  <a:pt x="12192000" y="515734"/>
                </a:lnTo>
                <a:lnTo>
                  <a:pt x="12192000" y="1495514"/>
                </a:lnTo>
                <a:lnTo>
                  <a:pt x="0" y="1495514"/>
                </a:lnTo>
                <a:lnTo>
                  <a:pt x="0" y="463572"/>
                </a:lnTo>
                <a:lnTo>
                  <a:pt x="62062" y="427691"/>
                </a:lnTo>
                <a:cubicBezTo>
                  <a:pt x="474564" y="206712"/>
                  <a:pt x="1014810" y="6042"/>
                  <a:pt x="1552575" y="89"/>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6000" dirty="0"/>
          </a:p>
        </p:txBody>
      </p:sp>
      <p:cxnSp>
        <p:nvCxnSpPr>
          <p:cNvPr id="8" name="直接连接符 7">
            <a:extLst>
              <a:ext uri="{FF2B5EF4-FFF2-40B4-BE49-F238E27FC236}">
                <a16:creationId xmlns:a16="http://schemas.microsoft.com/office/drawing/2014/main" id="{97678514-6EA6-44FD-9667-2DC815BB6685}"/>
              </a:ext>
            </a:extLst>
          </p:cNvPr>
          <p:cNvCxnSpPr>
            <a:cxnSpLocks/>
          </p:cNvCxnSpPr>
          <p:nvPr/>
        </p:nvCxnSpPr>
        <p:spPr>
          <a:xfrm flipV="1">
            <a:off x="1745084" y="4143375"/>
            <a:ext cx="0" cy="1704975"/>
          </a:xfrm>
          <a:prstGeom prst="line">
            <a:avLst/>
          </a:prstGeom>
          <a:ln w="28575">
            <a:gradFill>
              <a:gsLst>
                <a:gs pos="0">
                  <a:schemeClr val="accent1">
                    <a:alpha val="0"/>
                  </a:schemeClr>
                </a:gs>
                <a:gs pos="100000">
                  <a:schemeClr val="accent1"/>
                </a:gs>
              </a:gsLst>
              <a:lin ang="5400000" scaled="1"/>
            </a:gradFill>
            <a:tailEnd type="oval"/>
          </a:ln>
        </p:spPr>
        <p:style>
          <a:lnRef idx="1">
            <a:schemeClr val="accent1"/>
          </a:lnRef>
          <a:fillRef idx="0">
            <a:schemeClr val="accent1"/>
          </a:fillRef>
          <a:effectRef idx="0">
            <a:schemeClr val="accent1"/>
          </a:effectRef>
          <a:fontRef idx="minor">
            <a:schemeClr val="tx1"/>
          </a:fontRef>
        </p:style>
      </p:cxnSp>
      <p:sp>
        <p:nvSpPr>
          <p:cNvPr id="10" name="文本框 9">
            <a:extLst>
              <a:ext uri="{FF2B5EF4-FFF2-40B4-BE49-F238E27FC236}">
                <a16:creationId xmlns:a16="http://schemas.microsoft.com/office/drawing/2014/main" id="{92EA73CF-B4DF-4378-8091-5D716EDE6583}"/>
              </a:ext>
            </a:extLst>
          </p:cNvPr>
          <p:cNvSpPr txBox="1"/>
          <p:nvPr/>
        </p:nvSpPr>
        <p:spPr>
          <a:xfrm>
            <a:off x="843558" y="3354933"/>
            <a:ext cx="1846659" cy="369332"/>
          </a:xfrm>
          <a:prstGeom prst="rect">
            <a:avLst/>
          </a:prstGeom>
          <a:noFill/>
        </p:spPr>
        <p:txBody>
          <a:bodyPr wrap="none" lIns="0" tIns="0" rIns="0" bIns="0" rtlCol="0" anchor="t">
            <a:spAutoFit/>
          </a:bodyPr>
          <a:lstStyle/>
          <a:p>
            <a:r>
              <a:rPr lang="zh-CN" altLang="en-US" sz="2400" dirty="0">
                <a:solidFill>
                  <a:schemeClr val="accent1"/>
                </a:solidFill>
                <a:latin typeface="+mj-ea"/>
                <a:ea typeface="+mj-ea"/>
              </a:rPr>
              <a:t>输入目录标题</a:t>
            </a:r>
          </a:p>
        </p:txBody>
      </p:sp>
      <p:sp>
        <p:nvSpPr>
          <p:cNvPr id="11" name="文本框 10">
            <a:extLst>
              <a:ext uri="{FF2B5EF4-FFF2-40B4-BE49-F238E27FC236}">
                <a16:creationId xmlns:a16="http://schemas.microsoft.com/office/drawing/2014/main" id="{068134DC-633B-486A-A89C-277E7AC9A2A1}"/>
              </a:ext>
            </a:extLst>
          </p:cNvPr>
          <p:cNvSpPr txBox="1"/>
          <p:nvPr/>
        </p:nvSpPr>
        <p:spPr>
          <a:xfrm>
            <a:off x="843558" y="3724265"/>
            <a:ext cx="1803052" cy="215444"/>
          </a:xfrm>
          <a:prstGeom prst="rect">
            <a:avLst/>
          </a:prstGeom>
          <a:noFill/>
        </p:spPr>
        <p:txBody>
          <a:bodyPr wrap="square" lIns="0" tIns="0" rIns="0" bIns="0" rtlCol="0" anchor="t">
            <a:spAutoFit/>
          </a:bodyPr>
          <a:lstStyle/>
          <a:p>
            <a:pPr algn="dist"/>
            <a:r>
              <a:rPr lang="en-US" altLang="zh-CN" sz="1400" dirty="0">
                <a:solidFill>
                  <a:schemeClr val="accent1"/>
                </a:solidFill>
              </a:rPr>
              <a:t>Contents Title Here</a:t>
            </a:r>
            <a:endParaRPr lang="zh-CN" altLang="en-US" sz="1400" dirty="0">
              <a:solidFill>
                <a:schemeClr val="accent1"/>
              </a:solidFill>
            </a:endParaRPr>
          </a:p>
        </p:txBody>
      </p:sp>
      <p:sp>
        <p:nvSpPr>
          <p:cNvPr id="12" name="矩形: 圆角 11">
            <a:extLst>
              <a:ext uri="{FF2B5EF4-FFF2-40B4-BE49-F238E27FC236}">
                <a16:creationId xmlns:a16="http://schemas.microsoft.com/office/drawing/2014/main" id="{6EEBECB2-893D-4BE7-A8CA-E0D5E025A592}"/>
              </a:ext>
            </a:extLst>
          </p:cNvPr>
          <p:cNvSpPr/>
          <p:nvPr/>
        </p:nvSpPr>
        <p:spPr>
          <a:xfrm>
            <a:off x="1367322" y="3037284"/>
            <a:ext cx="755523" cy="227966"/>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100" dirty="0"/>
              <a:t>Part 01</a:t>
            </a:r>
            <a:endParaRPr lang="zh-CN" altLang="en-US" sz="1100" dirty="0"/>
          </a:p>
        </p:txBody>
      </p:sp>
      <p:cxnSp>
        <p:nvCxnSpPr>
          <p:cNvPr id="13" name="直接连接符 12">
            <a:extLst>
              <a:ext uri="{FF2B5EF4-FFF2-40B4-BE49-F238E27FC236}">
                <a16:creationId xmlns:a16="http://schemas.microsoft.com/office/drawing/2014/main" id="{9492D4E4-32D1-442A-9046-E6F356EA7B63}"/>
              </a:ext>
            </a:extLst>
          </p:cNvPr>
          <p:cNvCxnSpPr>
            <a:cxnSpLocks/>
          </p:cNvCxnSpPr>
          <p:nvPr/>
        </p:nvCxnSpPr>
        <p:spPr>
          <a:xfrm flipV="1">
            <a:off x="4640684" y="3265250"/>
            <a:ext cx="0" cy="2980102"/>
          </a:xfrm>
          <a:prstGeom prst="line">
            <a:avLst/>
          </a:prstGeom>
          <a:ln w="28575">
            <a:gradFill>
              <a:gsLst>
                <a:gs pos="0">
                  <a:schemeClr val="accent1">
                    <a:alpha val="0"/>
                  </a:schemeClr>
                </a:gs>
                <a:gs pos="100000">
                  <a:schemeClr val="accent1"/>
                </a:gs>
              </a:gsLst>
              <a:lin ang="5400000" scaled="1"/>
            </a:gradFill>
            <a:tailEnd type="oval"/>
          </a:ln>
        </p:spPr>
        <p:style>
          <a:lnRef idx="1">
            <a:schemeClr val="accent1"/>
          </a:lnRef>
          <a:fillRef idx="0">
            <a:schemeClr val="accent1"/>
          </a:fillRef>
          <a:effectRef idx="0">
            <a:schemeClr val="accent1"/>
          </a:effectRef>
          <a:fontRef idx="minor">
            <a:schemeClr val="tx1"/>
          </a:fontRef>
        </p:style>
      </p:cxnSp>
      <p:sp>
        <p:nvSpPr>
          <p:cNvPr id="14" name="文本框 13">
            <a:extLst>
              <a:ext uri="{FF2B5EF4-FFF2-40B4-BE49-F238E27FC236}">
                <a16:creationId xmlns:a16="http://schemas.microsoft.com/office/drawing/2014/main" id="{C5679059-0D73-4BB3-B5F0-FBAA2337FC45}"/>
              </a:ext>
            </a:extLst>
          </p:cNvPr>
          <p:cNvSpPr txBox="1"/>
          <p:nvPr/>
        </p:nvSpPr>
        <p:spPr>
          <a:xfrm>
            <a:off x="3739158" y="2429732"/>
            <a:ext cx="1846659" cy="369332"/>
          </a:xfrm>
          <a:prstGeom prst="rect">
            <a:avLst/>
          </a:prstGeom>
          <a:noFill/>
        </p:spPr>
        <p:txBody>
          <a:bodyPr wrap="none" lIns="0" tIns="0" rIns="0" bIns="0" rtlCol="0" anchor="t">
            <a:spAutoFit/>
          </a:bodyPr>
          <a:lstStyle/>
          <a:p>
            <a:r>
              <a:rPr lang="zh-CN" altLang="en-US" sz="2400" dirty="0">
                <a:solidFill>
                  <a:schemeClr val="accent1"/>
                </a:solidFill>
                <a:latin typeface="+mj-ea"/>
                <a:ea typeface="+mj-ea"/>
              </a:rPr>
              <a:t>输入目录标题</a:t>
            </a:r>
          </a:p>
        </p:txBody>
      </p:sp>
      <p:sp>
        <p:nvSpPr>
          <p:cNvPr id="15" name="文本框 14">
            <a:extLst>
              <a:ext uri="{FF2B5EF4-FFF2-40B4-BE49-F238E27FC236}">
                <a16:creationId xmlns:a16="http://schemas.microsoft.com/office/drawing/2014/main" id="{2451AFE3-6D9F-4E62-9566-715EE47E1C9E}"/>
              </a:ext>
            </a:extLst>
          </p:cNvPr>
          <p:cNvSpPr txBox="1"/>
          <p:nvPr/>
        </p:nvSpPr>
        <p:spPr>
          <a:xfrm>
            <a:off x="3739158" y="2799064"/>
            <a:ext cx="1803052" cy="215444"/>
          </a:xfrm>
          <a:prstGeom prst="rect">
            <a:avLst/>
          </a:prstGeom>
          <a:noFill/>
        </p:spPr>
        <p:txBody>
          <a:bodyPr wrap="square" lIns="0" tIns="0" rIns="0" bIns="0" rtlCol="0" anchor="t">
            <a:spAutoFit/>
          </a:bodyPr>
          <a:lstStyle/>
          <a:p>
            <a:pPr algn="dist"/>
            <a:r>
              <a:rPr lang="en-US" altLang="zh-CN" sz="1400" dirty="0">
                <a:solidFill>
                  <a:schemeClr val="accent1"/>
                </a:solidFill>
              </a:rPr>
              <a:t>Contents Title Here</a:t>
            </a:r>
            <a:endParaRPr lang="zh-CN" altLang="en-US" sz="1400" dirty="0">
              <a:solidFill>
                <a:schemeClr val="accent1"/>
              </a:solidFill>
            </a:endParaRPr>
          </a:p>
        </p:txBody>
      </p:sp>
      <p:sp>
        <p:nvSpPr>
          <p:cNvPr id="16" name="矩形: 圆角 15">
            <a:extLst>
              <a:ext uri="{FF2B5EF4-FFF2-40B4-BE49-F238E27FC236}">
                <a16:creationId xmlns:a16="http://schemas.microsoft.com/office/drawing/2014/main" id="{B574BA50-FEF5-4075-9EDC-B1A16D53F488}"/>
              </a:ext>
            </a:extLst>
          </p:cNvPr>
          <p:cNvSpPr/>
          <p:nvPr/>
        </p:nvSpPr>
        <p:spPr>
          <a:xfrm>
            <a:off x="4262922" y="2112083"/>
            <a:ext cx="755523" cy="227966"/>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100" dirty="0"/>
              <a:t>Part 02</a:t>
            </a:r>
            <a:endParaRPr lang="zh-CN" altLang="en-US" sz="1100" dirty="0"/>
          </a:p>
        </p:txBody>
      </p:sp>
      <p:cxnSp>
        <p:nvCxnSpPr>
          <p:cNvPr id="19" name="直接连接符 18">
            <a:extLst>
              <a:ext uri="{FF2B5EF4-FFF2-40B4-BE49-F238E27FC236}">
                <a16:creationId xmlns:a16="http://schemas.microsoft.com/office/drawing/2014/main" id="{A113DE4F-6622-4C73-9FB4-1DB3A9F09627}"/>
              </a:ext>
            </a:extLst>
          </p:cNvPr>
          <p:cNvCxnSpPr>
            <a:cxnSpLocks/>
          </p:cNvCxnSpPr>
          <p:nvPr/>
        </p:nvCxnSpPr>
        <p:spPr>
          <a:xfrm flipV="1">
            <a:off x="7507710" y="4143375"/>
            <a:ext cx="0" cy="1704975"/>
          </a:xfrm>
          <a:prstGeom prst="line">
            <a:avLst/>
          </a:prstGeom>
          <a:ln w="28575">
            <a:gradFill>
              <a:gsLst>
                <a:gs pos="0">
                  <a:schemeClr val="accent1">
                    <a:alpha val="0"/>
                  </a:schemeClr>
                </a:gs>
                <a:gs pos="100000">
                  <a:schemeClr val="accent1"/>
                </a:gs>
              </a:gsLst>
              <a:lin ang="5400000" scaled="1"/>
            </a:gradFill>
            <a:tailEnd type="oval"/>
          </a:ln>
        </p:spPr>
        <p:style>
          <a:lnRef idx="1">
            <a:schemeClr val="accent1"/>
          </a:lnRef>
          <a:fillRef idx="0">
            <a:schemeClr val="accent1"/>
          </a:fillRef>
          <a:effectRef idx="0">
            <a:schemeClr val="accent1"/>
          </a:effectRef>
          <a:fontRef idx="minor">
            <a:schemeClr val="tx1"/>
          </a:fontRef>
        </p:style>
      </p:cxnSp>
      <p:sp>
        <p:nvSpPr>
          <p:cNvPr id="20" name="文本框 19">
            <a:extLst>
              <a:ext uri="{FF2B5EF4-FFF2-40B4-BE49-F238E27FC236}">
                <a16:creationId xmlns:a16="http://schemas.microsoft.com/office/drawing/2014/main" id="{D87BA438-4070-4E5C-B30F-11A4F1D83DA8}"/>
              </a:ext>
            </a:extLst>
          </p:cNvPr>
          <p:cNvSpPr txBox="1"/>
          <p:nvPr/>
        </p:nvSpPr>
        <p:spPr>
          <a:xfrm>
            <a:off x="6606184" y="3354933"/>
            <a:ext cx="1846659" cy="369332"/>
          </a:xfrm>
          <a:prstGeom prst="rect">
            <a:avLst/>
          </a:prstGeom>
          <a:noFill/>
        </p:spPr>
        <p:txBody>
          <a:bodyPr wrap="none" lIns="0" tIns="0" rIns="0" bIns="0" rtlCol="0" anchor="t">
            <a:spAutoFit/>
          </a:bodyPr>
          <a:lstStyle/>
          <a:p>
            <a:r>
              <a:rPr lang="zh-CN" altLang="en-US" sz="2400" dirty="0">
                <a:solidFill>
                  <a:schemeClr val="accent1"/>
                </a:solidFill>
                <a:latin typeface="+mj-ea"/>
                <a:ea typeface="+mj-ea"/>
              </a:rPr>
              <a:t>输入目录标题</a:t>
            </a:r>
          </a:p>
        </p:txBody>
      </p:sp>
      <p:sp>
        <p:nvSpPr>
          <p:cNvPr id="21" name="文本框 20">
            <a:extLst>
              <a:ext uri="{FF2B5EF4-FFF2-40B4-BE49-F238E27FC236}">
                <a16:creationId xmlns:a16="http://schemas.microsoft.com/office/drawing/2014/main" id="{048B37D2-F533-4AC6-BB5F-A4F6EF27D84F}"/>
              </a:ext>
            </a:extLst>
          </p:cNvPr>
          <p:cNvSpPr txBox="1"/>
          <p:nvPr/>
        </p:nvSpPr>
        <p:spPr>
          <a:xfrm>
            <a:off x="6606184" y="3724265"/>
            <a:ext cx="1803052" cy="215444"/>
          </a:xfrm>
          <a:prstGeom prst="rect">
            <a:avLst/>
          </a:prstGeom>
          <a:noFill/>
        </p:spPr>
        <p:txBody>
          <a:bodyPr wrap="square" lIns="0" tIns="0" rIns="0" bIns="0" rtlCol="0" anchor="t">
            <a:spAutoFit/>
          </a:bodyPr>
          <a:lstStyle/>
          <a:p>
            <a:pPr algn="dist"/>
            <a:r>
              <a:rPr lang="en-US" altLang="zh-CN" sz="1400" dirty="0">
                <a:solidFill>
                  <a:schemeClr val="accent1"/>
                </a:solidFill>
              </a:rPr>
              <a:t>Contents Title Here</a:t>
            </a:r>
            <a:endParaRPr lang="zh-CN" altLang="en-US" sz="1400" dirty="0">
              <a:solidFill>
                <a:schemeClr val="accent1"/>
              </a:solidFill>
            </a:endParaRPr>
          </a:p>
        </p:txBody>
      </p:sp>
      <p:sp>
        <p:nvSpPr>
          <p:cNvPr id="22" name="矩形: 圆角 21">
            <a:extLst>
              <a:ext uri="{FF2B5EF4-FFF2-40B4-BE49-F238E27FC236}">
                <a16:creationId xmlns:a16="http://schemas.microsoft.com/office/drawing/2014/main" id="{B49F7391-6A03-4985-AAB6-071EE25F617E}"/>
              </a:ext>
            </a:extLst>
          </p:cNvPr>
          <p:cNvSpPr/>
          <p:nvPr/>
        </p:nvSpPr>
        <p:spPr>
          <a:xfrm>
            <a:off x="7129948" y="3037284"/>
            <a:ext cx="755523" cy="227966"/>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100" dirty="0"/>
              <a:t>Part 03</a:t>
            </a:r>
            <a:endParaRPr lang="zh-CN" altLang="en-US" sz="1100" dirty="0"/>
          </a:p>
        </p:txBody>
      </p:sp>
      <p:cxnSp>
        <p:nvCxnSpPr>
          <p:cNvPr id="23" name="直接连接符 22">
            <a:extLst>
              <a:ext uri="{FF2B5EF4-FFF2-40B4-BE49-F238E27FC236}">
                <a16:creationId xmlns:a16="http://schemas.microsoft.com/office/drawing/2014/main" id="{0A2D94A0-AD44-425F-A8B9-4A3618AE84B0}"/>
              </a:ext>
            </a:extLst>
          </p:cNvPr>
          <p:cNvCxnSpPr>
            <a:cxnSpLocks/>
          </p:cNvCxnSpPr>
          <p:nvPr/>
        </p:nvCxnSpPr>
        <p:spPr>
          <a:xfrm flipV="1">
            <a:off x="10403310" y="3265250"/>
            <a:ext cx="0" cy="2980102"/>
          </a:xfrm>
          <a:prstGeom prst="line">
            <a:avLst/>
          </a:prstGeom>
          <a:ln w="28575">
            <a:gradFill>
              <a:gsLst>
                <a:gs pos="0">
                  <a:schemeClr val="accent1">
                    <a:alpha val="0"/>
                  </a:schemeClr>
                </a:gs>
                <a:gs pos="100000">
                  <a:schemeClr val="accent1"/>
                </a:gs>
              </a:gsLst>
              <a:lin ang="5400000" scaled="1"/>
            </a:gradFill>
            <a:tailEnd type="oval"/>
          </a:ln>
        </p:spPr>
        <p:style>
          <a:lnRef idx="1">
            <a:schemeClr val="accent1"/>
          </a:lnRef>
          <a:fillRef idx="0">
            <a:schemeClr val="accent1"/>
          </a:fillRef>
          <a:effectRef idx="0">
            <a:schemeClr val="accent1"/>
          </a:effectRef>
          <a:fontRef idx="minor">
            <a:schemeClr val="tx1"/>
          </a:fontRef>
        </p:style>
      </p:cxnSp>
      <p:sp>
        <p:nvSpPr>
          <p:cNvPr id="24" name="文本框 23">
            <a:extLst>
              <a:ext uri="{FF2B5EF4-FFF2-40B4-BE49-F238E27FC236}">
                <a16:creationId xmlns:a16="http://schemas.microsoft.com/office/drawing/2014/main" id="{989D30C0-5665-44F3-A6CD-900E40458157}"/>
              </a:ext>
            </a:extLst>
          </p:cNvPr>
          <p:cNvSpPr txBox="1"/>
          <p:nvPr/>
        </p:nvSpPr>
        <p:spPr>
          <a:xfrm>
            <a:off x="9501784" y="2429732"/>
            <a:ext cx="1846659" cy="369332"/>
          </a:xfrm>
          <a:prstGeom prst="rect">
            <a:avLst/>
          </a:prstGeom>
          <a:noFill/>
        </p:spPr>
        <p:txBody>
          <a:bodyPr wrap="none" lIns="0" tIns="0" rIns="0" bIns="0" rtlCol="0" anchor="t">
            <a:spAutoFit/>
          </a:bodyPr>
          <a:lstStyle/>
          <a:p>
            <a:r>
              <a:rPr lang="zh-CN" altLang="en-US" sz="2400" dirty="0">
                <a:solidFill>
                  <a:schemeClr val="accent1"/>
                </a:solidFill>
                <a:latin typeface="+mj-ea"/>
                <a:ea typeface="+mj-ea"/>
              </a:rPr>
              <a:t>输入目录标题</a:t>
            </a:r>
          </a:p>
        </p:txBody>
      </p:sp>
      <p:sp>
        <p:nvSpPr>
          <p:cNvPr id="25" name="文本框 24">
            <a:extLst>
              <a:ext uri="{FF2B5EF4-FFF2-40B4-BE49-F238E27FC236}">
                <a16:creationId xmlns:a16="http://schemas.microsoft.com/office/drawing/2014/main" id="{9B4AC526-F3FE-4A11-9378-08229299FB09}"/>
              </a:ext>
            </a:extLst>
          </p:cNvPr>
          <p:cNvSpPr txBox="1"/>
          <p:nvPr/>
        </p:nvSpPr>
        <p:spPr>
          <a:xfrm>
            <a:off x="9501784" y="2799064"/>
            <a:ext cx="1803052" cy="215444"/>
          </a:xfrm>
          <a:prstGeom prst="rect">
            <a:avLst/>
          </a:prstGeom>
          <a:noFill/>
        </p:spPr>
        <p:txBody>
          <a:bodyPr wrap="square" lIns="0" tIns="0" rIns="0" bIns="0" rtlCol="0" anchor="t">
            <a:spAutoFit/>
          </a:bodyPr>
          <a:lstStyle/>
          <a:p>
            <a:pPr algn="dist"/>
            <a:r>
              <a:rPr lang="en-US" altLang="zh-CN" sz="1400" dirty="0">
                <a:solidFill>
                  <a:schemeClr val="accent1"/>
                </a:solidFill>
              </a:rPr>
              <a:t>Contents Title Here</a:t>
            </a:r>
            <a:endParaRPr lang="zh-CN" altLang="en-US" sz="1400" dirty="0">
              <a:solidFill>
                <a:schemeClr val="accent1"/>
              </a:solidFill>
            </a:endParaRPr>
          </a:p>
        </p:txBody>
      </p:sp>
      <p:sp>
        <p:nvSpPr>
          <p:cNvPr id="26" name="矩形: 圆角 25">
            <a:extLst>
              <a:ext uri="{FF2B5EF4-FFF2-40B4-BE49-F238E27FC236}">
                <a16:creationId xmlns:a16="http://schemas.microsoft.com/office/drawing/2014/main" id="{7C780CE7-EB63-4CFC-80B9-84FAAAFAED03}"/>
              </a:ext>
            </a:extLst>
          </p:cNvPr>
          <p:cNvSpPr/>
          <p:nvPr/>
        </p:nvSpPr>
        <p:spPr>
          <a:xfrm>
            <a:off x="10025548" y="2112083"/>
            <a:ext cx="755523" cy="227966"/>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100" dirty="0"/>
              <a:t>Part 04</a:t>
            </a:r>
            <a:endParaRPr lang="zh-CN" altLang="en-US" sz="1100" dirty="0"/>
          </a:p>
        </p:txBody>
      </p:sp>
    </p:spTree>
    <p:extLst>
      <p:ext uri="{BB962C8B-B14F-4D97-AF65-F5344CB8AC3E}">
        <p14:creationId xmlns:p14="http://schemas.microsoft.com/office/powerpoint/2010/main" val="2555177073"/>
      </p:ext>
    </p:extLst>
  </p:cSld>
  <p:clrMapOvr>
    <a:masterClrMapping/>
  </p:clrMapOvr>
  <mc:AlternateContent xmlns:mc="http://schemas.openxmlformats.org/markup-compatibility/2006" xmlns:p14="http://schemas.microsoft.com/office/powerpoint/2010/main">
    <mc:Choice Requires="p14">
      <p:transition p14:dur="0" advTm="500"/>
    </mc:Choice>
    <mc:Fallback xmlns="">
      <p:transition advTm="500"/>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ADJUSTMENTS" val="11.34869"/>
</p:tagLst>
</file>

<file path=ppt/tags/tag100.xml><?xml version="1.0" encoding="utf-8"?>
<p:tagLst xmlns:a="http://schemas.openxmlformats.org/drawingml/2006/main" xmlns:r="http://schemas.openxmlformats.org/officeDocument/2006/relationships" xmlns:p="http://schemas.openxmlformats.org/presentationml/2006/main">
  <p:tag name="SHADOWSIZE" val="102"/>
</p:tagLst>
</file>

<file path=ppt/tags/tag101.xml><?xml version="1.0" encoding="utf-8"?>
<p:tagLst xmlns:a="http://schemas.openxmlformats.org/drawingml/2006/main" xmlns:r="http://schemas.openxmlformats.org/officeDocument/2006/relationships" xmlns:p="http://schemas.openxmlformats.org/presentationml/2006/main">
  <p:tag name="SHADOWSIZE" val="102"/>
</p:tagLst>
</file>

<file path=ppt/tags/tag102.xml><?xml version="1.0" encoding="utf-8"?>
<p:tagLst xmlns:a="http://schemas.openxmlformats.org/drawingml/2006/main" xmlns:r="http://schemas.openxmlformats.org/officeDocument/2006/relationships" xmlns:p="http://schemas.openxmlformats.org/presentationml/2006/main">
  <p:tag name="SHADOWSIZE" val="102"/>
</p:tagLst>
</file>

<file path=ppt/tags/tag103.xml><?xml version="1.0" encoding="utf-8"?>
<p:tagLst xmlns:a="http://schemas.openxmlformats.org/drawingml/2006/main" xmlns:r="http://schemas.openxmlformats.org/officeDocument/2006/relationships" xmlns:p="http://schemas.openxmlformats.org/presentationml/2006/main">
  <p:tag name="SHADOWSIZE" val="102"/>
</p:tagLst>
</file>

<file path=ppt/tags/tag104.xml><?xml version="1.0" encoding="utf-8"?>
<p:tagLst xmlns:a="http://schemas.openxmlformats.org/drawingml/2006/main" xmlns:r="http://schemas.openxmlformats.org/officeDocument/2006/relationships" xmlns:p="http://schemas.openxmlformats.org/presentationml/2006/main">
  <p:tag name="SHADOWSIZE" val="102"/>
</p:tagLst>
</file>

<file path=ppt/tags/tag105.xml><?xml version="1.0" encoding="utf-8"?>
<p:tagLst xmlns:a="http://schemas.openxmlformats.org/drawingml/2006/main" xmlns:r="http://schemas.openxmlformats.org/officeDocument/2006/relationships" xmlns:p="http://schemas.openxmlformats.org/presentationml/2006/main">
  <p:tag name="SHADOWSIZE" val="102"/>
</p:tagLst>
</file>

<file path=ppt/tags/tag106.xml><?xml version="1.0" encoding="utf-8"?>
<p:tagLst xmlns:a="http://schemas.openxmlformats.org/drawingml/2006/main" xmlns:r="http://schemas.openxmlformats.org/officeDocument/2006/relationships" xmlns:p="http://schemas.openxmlformats.org/presentationml/2006/main">
  <p:tag name="SHADOWSIZE" val="102"/>
</p:tagLst>
</file>

<file path=ppt/tags/tag107.xml><?xml version="1.0" encoding="utf-8"?>
<p:tagLst xmlns:a="http://schemas.openxmlformats.org/drawingml/2006/main" xmlns:r="http://schemas.openxmlformats.org/officeDocument/2006/relationships" xmlns:p="http://schemas.openxmlformats.org/presentationml/2006/main">
  <p:tag name="ISLIDE.ICON" val="#407153;"/>
</p:tagLst>
</file>

<file path=ppt/tags/tag108.xml><?xml version="1.0" encoding="utf-8"?>
<p:tagLst xmlns:a="http://schemas.openxmlformats.org/drawingml/2006/main" xmlns:r="http://schemas.openxmlformats.org/officeDocument/2006/relationships" xmlns:p="http://schemas.openxmlformats.org/presentationml/2006/main">
  <p:tag name="ISLIDE.ICON" val="#407148;#407153;#405331;"/>
</p:tagLst>
</file>

<file path=ppt/tags/tag109.xml><?xml version="1.0" encoding="utf-8"?>
<p:tagLst xmlns:a="http://schemas.openxmlformats.org/drawingml/2006/main" xmlns:r="http://schemas.openxmlformats.org/officeDocument/2006/relationships" xmlns:p="http://schemas.openxmlformats.org/presentationml/2006/main">
  <p:tag name="ISLIDE.ICON" val="#407148;#407153;#405331;"/>
</p:tagLst>
</file>

<file path=ppt/tags/tag11.xml><?xml version="1.0" encoding="utf-8"?>
<p:tagLst xmlns:a="http://schemas.openxmlformats.org/drawingml/2006/main" xmlns:r="http://schemas.openxmlformats.org/officeDocument/2006/relationships" xmlns:p="http://schemas.openxmlformats.org/presentationml/2006/main">
  <p:tag name="ADJUSTMENTS" val="22.14903"/>
  <p:tag name="SHADOWSIZE" val="100"/>
</p:tagLst>
</file>

<file path=ppt/tags/tag110.xml><?xml version="1.0" encoding="utf-8"?>
<p:tagLst xmlns:a="http://schemas.openxmlformats.org/drawingml/2006/main" xmlns:r="http://schemas.openxmlformats.org/officeDocument/2006/relationships" xmlns:p="http://schemas.openxmlformats.org/presentationml/2006/main">
  <p:tag name="ISLIDE.ICON" val="#407148;#407153;#405331;"/>
</p:tagLst>
</file>

<file path=ppt/tags/tag111.xml><?xml version="1.0" encoding="utf-8"?>
<p:tagLst xmlns:a="http://schemas.openxmlformats.org/drawingml/2006/main" xmlns:r="http://schemas.openxmlformats.org/officeDocument/2006/relationships" xmlns:p="http://schemas.openxmlformats.org/presentationml/2006/main">
  <p:tag name="ISLIDE.ICON" val="#407153;"/>
</p:tagLst>
</file>

<file path=ppt/tags/tag112.xml><?xml version="1.0" encoding="utf-8"?>
<p:tagLst xmlns:a="http://schemas.openxmlformats.org/drawingml/2006/main" xmlns:r="http://schemas.openxmlformats.org/officeDocument/2006/relationships" xmlns:p="http://schemas.openxmlformats.org/presentationml/2006/main">
  <p:tag name="ISLIDE.ICON" val="#407153;"/>
</p:tagLst>
</file>

<file path=ppt/tags/tag113.xml><?xml version="1.0" encoding="utf-8"?>
<p:tagLst xmlns:a="http://schemas.openxmlformats.org/drawingml/2006/main" xmlns:r="http://schemas.openxmlformats.org/officeDocument/2006/relationships" xmlns:p="http://schemas.openxmlformats.org/presentationml/2006/main">
  <p:tag name="ISLIDE.ICON" val="#407153;"/>
</p:tagLst>
</file>

<file path=ppt/tags/tag114.xml><?xml version="1.0" encoding="utf-8"?>
<p:tagLst xmlns:a="http://schemas.openxmlformats.org/drawingml/2006/main" xmlns:r="http://schemas.openxmlformats.org/officeDocument/2006/relationships" xmlns:p="http://schemas.openxmlformats.org/presentationml/2006/main">
  <p:tag name="ISLIDE.ICON" val="#407153;"/>
</p:tagLst>
</file>

<file path=ppt/tags/tag115.xml><?xml version="1.0" encoding="utf-8"?>
<p:tagLst xmlns:a="http://schemas.openxmlformats.org/drawingml/2006/main" xmlns:r="http://schemas.openxmlformats.org/officeDocument/2006/relationships" xmlns:p="http://schemas.openxmlformats.org/presentationml/2006/main">
  <p:tag name="ISLIDE.ICON" val="#407153;"/>
</p:tagLst>
</file>

<file path=ppt/tags/tag116.xml><?xml version="1.0" encoding="utf-8"?>
<p:tagLst xmlns:a="http://schemas.openxmlformats.org/drawingml/2006/main" xmlns:r="http://schemas.openxmlformats.org/officeDocument/2006/relationships" xmlns:p="http://schemas.openxmlformats.org/presentationml/2006/main">
  <p:tag name="ISLIDE.ICON" val="#407153;"/>
</p:tagLst>
</file>

<file path=ppt/tags/tag117.xml><?xml version="1.0" encoding="utf-8"?>
<p:tagLst xmlns:a="http://schemas.openxmlformats.org/drawingml/2006/main" xmlns:r="http://schemas.openxmlformats.org/officeDocument/2006/relationships" xmlns:p="http://schemas.openxmlformats.org/presentationml/2006/main">
  <p:tag name="ISLIDE.ICON" val="#840913;#840909;#840903;"/>
</p:tagLst>
</file>

<file path=ppt/tags/tag118.xml><?xml version="1.0" encoding="utf-8"?>
<p:tagLst xmlns:a="http://schemas.openxmlformats.org/drawingml/2006/main" xmlns:r="http://schemas.openxmlformats.org/officeDocument/2006/relationships" xmlns:p="http://schemas.openxmlformats.org/presentationml/2006/main">
  <p:tag name="ISLIDE.ICON" val="#158877;#44018;#66117;"/>
</p:tagLst>
</file>

<file path=ppt/tags/tag119.xml><?xml version="1.0" encoding="utf-8"?>
<p:tagLst xmlns:a="http://schemas.openxmlformats.org/drawingml/2006/main" xmlns:r="http://schemas.openxmlformats.org/officeDocument/2006/relationships" xmlns:p="http://schemas.openxmlformats.org/presentationml/2006/main">
  <p:tag name="ISLIDE.ICON" val="#784643;#784642;#784639;#784645;"/>
</p:tagLst>
</file>

<file path=ppt/tags/tag12.xml><?xml version="1.0" encoding="utf-8"?>
<p:tagLst xmlns:a="http://schemas.openxmlformats.org/drawingml/2006/main" xmlns:r="http://schemas.openxmlformats.org/officeDocument/2006/relationships" xmlns:p="http://schemas.openxmlformats.org/presentationml/2006/main">
  <p:tag name="ADJUSTMENTS" val="22.14903"/>
  <p:tag name="SHADOWSIZE" val="100"/>
</p:tagLst>
</file>

<file path=ppt/tags/tag120.xml><?xml version="1.0" encoding="utf-8"?>
<p:tagLst xmlns:a="http://schemas.openxmlformats.org/drawingml/2006/main" xmlns:r="http://schemas.openxmlformats.org/officeDocument/2006/relationships" xmlns:p="http://schemas.openxmlformats.org/presentationml/2006/main">
  <p:tag name="ISLIDE.ICON" val="#783574;#783575;#783576;#783575;#783576;#783572;#783585;#783586;#783587;#783585;#783586;#783587;#783574;#783587;#783586;#783582;"/>
</p:tagLst>
</file>

<file path=ppt/tags/tag121.xml><?xml version="1.0" encoding="utf-8"?>
<p:tagLst xmlns:a="http://schemas.openxmlformats.org/drawingml/2006/main" xmlns:r="http://schemas.openxmlformats.org/officeDocument/2006/relationships" xmlns:p="http://schemas.openxmlformats.org/presentationml/2006/main">
  <p:tag name="PA" val="v5.2.11"/>
</p:tagLst>
</file>

<file path=ppt/tags/tag122.xml><?xml version="1.0" encoding="utf-8"?>
<p:tagLst xmlns:a="http://schemas.openxmlformats.org/drawingml/2006/main" xmlns:r="http://schemas.openxmlformats.org/officeDocument/2006/relationships" xmlns:p="http://schemas.openxmlformats.org/presentationml/2006/main">
  <p:tag name="ISLIDE.ICON" val="#785796;#785796;#785797;#785790;#785791;#785794;#785790;#785799;"/>
</p:tagLst>
</file>

<file path=ppt/tags/tag123.xml><?xml version="1.0" encoding="utf-8"?>
<p:tagLst xmlns:a="http://schemas.openxmlformats.org/drawingml/2006/main" xmlns:r="http://schemas.openxmlformats.org/officeDocument/2006/relationships" xmlns:p="http://schemas.openxmlformats.org/presentationml/2006/main">
  <p:tag name="ISLIDE.ICON" val="#840913;#840914;#840911;#840909;#840903;"/>
</p:tagLst>
</file>

<file path=ppt/tags/tag124.xml><?xml version="1.0" encoding="utf-8"?>
<p:tagLst xmlns:a="http://schemas.openxmlformats.org/drawingml/2006/main" xmlns:r="http://schemas.openxmlformats.org/officeDocument/2006/relationships" xmlns:p="http://schemas.openxmlformats.org/presentationml/2006/main">
  <p:tag name="ISLIDE.ICON" val="#840909;#840910;#840908;#840906;#840907;"/>
</p:tagLst>
</file>

<file path=ppt/tags/tag125.xml><?xml version="1.0" encoding="utf-8"?>
<p:tagLst xmlns:a="http://schemas.openxmlformats.org/drawingml/2006/main" xmlns:r="http://schemas.openxmlformats.org/officeDocument/2006/relationships" xmlns:p="http://schemas.openxmlformats.org/presentationml/2006/main">
  <p:tag name="ISLIDE.ICON" val="#785807;#785807;#785807;"/>
</p:tagLst>
</file>

<file path=ppt/tags/tag126.xml><?xml version="1.0" encoding="utf-8"?>
<p:tagLst xmlns:a="http://schemas.openxmlformats.org/drawingml/2006/main" xmlns:r="http://schemas.openxmlformats.org/officeDocument/2006/relationships" xmlns:p="http://schemas.openxmlformats.org/presentationml/2006/main">
  <p:tag name="ISLIDE.ICON" val="#783530;#23314;"/>
</p:tagLst>
</file>

<file path=ppt/tags/tag127.xml><?xml version="1.0" encoding="utf-8"?>
<p:tagLst xmlns:a="http://schemas.openxmlformats.org/drawingml/2006/main" xmlns:r="http://schemas.openxmlformats.org/officeDocument/2006/relationships" xmlns:p="http://schemas.openxmlformats.org/presentationml/2006/main">
  <p:tag name="ISLIDE.ICON" val="#785796;#785796;#785797;#785790;#785791;#785794;#785790;#785799;"/>
</p:tagLst>
</file>

<file path=ppt/tags/tag128.xml><?xml version="1.0" encoding="utf-8"?>
<p:tagLst xmlns:a="http://schemas.openxmlformats.org/drawingml/2006/main" xmlns:r="http://schemas.openxmlformats.org/officeDocument/2006/relationships" xmlns:p="http://schemas.openxmlformats.org/presentationml/2006/main">
  <p:tag name="ISLIDE.ICON" val="#840913;#840911;#840907;#840909;"/>
</p:tagLst>
</file>

<file path=ppt/tags/tag129.xml><?xml version="1.0" encoding="utf-8"?>
<p:tagLst xmlns:a="http://schemas.openxmlformats.org/drawingml/2006/main" xmlns:r="http://schemas.openxmlformats.org/officeDocument/2006/relationships" xmlns:p="http://schemas.openxmlformats.org/presentationml/2006/main">
  <p:tag name="ISLIDE.ICON" val="#840913;#840909;#840910;#840906;#840907;#840908;"/>
</p:tagLst>
</file>

<file path=ppt/tags/tag13.xml><?xml version="1.0" encoding="utf-8"?>
<p:tagLst xmlns:a="http://schemas.openxmlformats.org/drawingml/2006/main" xmlns:r="http://schemas.openxmlformats.org/officeDocument/2006/relationships" xmlns:p="http://schemas.openxmlformats.org/presentationml/2006/main">
  <p:tag name="ADJUSTMENTS" val="22.14903"/>
  <p:tag name="SHADOWSIZE" val="100"/>
</p:tagLst>
</file>

<file path=ppt/tags/tag130.xml><?xml version="1.0" encoding="utf-8"?>
<p:tagLst xmlns:a="http://schemas.openxmlformats.org/drawingml/2006/main" xmlns:r="http://schemas.openxmlformats.org/officeDocument/2006/relationships" xmlns:p="http://schemas.openxmlformats.org/presentationml/2006/main">
  <p:tag name="ISLIDE.ICON" val="#785811;#785807;#785808;#785800;"/>
</p:tagLst>
</file>

<file path=ppt/tags/tag131.xml><?xml version="1.0" encoding="utf-8"?>
<p:tagLst xmlns:a="http://schemas.openxmlformats.org/drawingml/2006/main" xmlns:r="http://schemas.openxmlformats.org/officeDocument/2006/relationships" xmlns:p="http://schemas.openxmlformats.org/presentationml/2006/main">
  <p:tag name="PA" val="v5.2.9"/>
</p:tagLst>
</file>

<file path=ppt/tags/tag132.xml><?xml version="1.0" encoding="utf-8"?>
<p:tagLst xmlns:a="http://schemas.openxmlformats.org/drawingml/2006/main" xmlns:r="http://schemas.openxmlformats.org/officeDocument/2006/relationships" xmlns:p="http://schemas.openxmlformats.org/presentationml/2006/main">
  <p:tag name="PA" val="v5.2.9"/>
</p:tagLst>
</file>

<file path=ppt/tags/tag133.xml><?xml version="1.0" encoding="utf-8"?>
<p:tagLst xmlns:a="http://schemas.openxmlformats.org/drawingml/2006/main" xmlns:r="http://schemas.openxmlformats.org/officeDocument/2006/relationships" xmlns:p="http://schemas.openxmlformats.org/presentationml/2006/main">
  <p:tag name="PA" val="v5.2.9"/>
</p:tagLst>
</file>

<file path=ppt/tags/tag134.xml><?xml version="1.0" encoding="utf-8"?>
<p:tagLst xmlns:a="http://schemas.openxmlformats.org/drawingml/2006/main" xmlns:r="http://schemas.openxmlformats.org/officeDocument/2006/relationships" xmlns:p="http://schemas.openxmlformats.org/presentationml/2006/main">
  <p:tag name="PA" val="v5.2.9"/>
</p:tagLst>
</file>

<file path=ppt/tags/tag135.xml><?xml version="1.0" encoding="utf-8"?>
<p:tagLst xmlns:a="http://schemas.openxmlformats.org/drawingml/2006/main" xmlns:r="http://schemas.openxmlformats.org/officeDocument/2006/relationships" xmlns:p="http://schemas.openxmlformats.org/presentationml/2006/main">
  <p:tag name="PA" val="v5.2.9"/>
</p:tagLst>
</file>

<file path=ppt/tags/tag136.xml><?xml version="1.0" encoding="utf-8"?>
<p:tagLst xmlns:a="http://schemas.openxmlformats.org/drawingml/2006/main" xmlns:r="http://schemas.openxmlformats.org/officeDocument/2006/relationships" xmlns:p="http://schemas.openxmlformats.org/presentationml/2006/main">
  <p:tag name="PA" val="v5.2.9"/>
</p:tagLst>
</file>

<file path=ppt/tags/tag14.xml><?xml version="1.0" encoding="utf-8"?>
<p:tagLst xmlns:a="http://schemas.openxmlformats.org/drawingml/2006/main" xmlns:r="http://schemas.openxmlformats.org/officeDocument/2006/relationships" xmlns:p="http://schemas.openxmlformats.org/presentationml/2006/main">
  <p:tag name="ISLIDE.ICON" val="#402741;#405331;#405097;"/>
</p:tagLst>
</file>

<file path=ppt/tags/tag15.xml><?xml version="1.0" encoding="utf-8"?>
<p:tagLst xmlns:a="http://schemas.openxmlformats.org/drawingml/2006/main" xmlns:r="http://schemas.openxmlformats.org/officeDocument/2006/relationships" xmlns:p="http://schemas.openxmlformats.org/presentationml/2006/main">
  <p:tag name="ISLIDE.ICON" val="#36641;"/>
</p:tagLst>
</file>

<file path=ppt/tags/tag16.xml><?xml version="1.0" encoding="utf-8"?>
<p:tagLst xmlns:a="http://schemas.openxmlformats.org/drawingml/2006/main" xmlns:r="http://schemas.openxmlformats.org/officeDocument/2006/relationships" xmlns:p="http://schemas.openxmlformats.org/presentationml/2006/main">
  <p:tag name="ISLIDE.ICON" val="#405333;"/>
</p:tagLst>
</file>

<file path=ppt/tags/tag17.xml><?xml version="1.0" encoding="utf-8"?>
<p:tagLst xmlns:a="http://schemas.openxmlformats.org/drawingml/2006/main" xmlns:r="http://schemas.openxmlformats.org/officeDocument/2006/relationships" xmlns:p="http://schemas.openxmlformats.org/presentationml/2006/main">
  <p:tag name="ISLIDE.ICON" val="#407148;#17773;#405331;"/>
</p:tagLst>
</file>

<file path=ppt/tags/tag18.xml><?xml version="1.0" encoding="utf-8"?>
<p:tagLst xmlns:a="http://schemas.openxmlformats.org/drawingml/2006/main" xmlns:r="http://schemas.openxmlformats.org/officeDocument/2006/relationships" xmlns:p="http://schemas.openxmlformats.org/presentationml/2006/main">
  <p:tag name="ADJUSTMENTS" val="11.26645"/>
</p:tagLst>
</file>

<file path=ppt/tags/tag19.xml><?xml version="1.0" encoding="utf-8"?>
<p:tagLst xmlns:a="http://schemas.openxmlformats.org/drawingml/2006/main" xmlns:r="http://schemas.openxmlformats.org/officeDocument/2006/relationships" xmlns:p="http://schemas.openxmlformats.org/presentationml/2006/main">
  <p:tag name="ADJUSTMENTS" val="11.26645"/>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ADJUSTMENTS" val="11.26645"/>
</p:tagLst>
</file>

<file path=ppt/tags/tag21.xml><?xml version="1.0" encoding="utf-8"?>
<p:tagLst xmlns:a="http://schemas.openxmlformats.org/drawingml/2006/main" xmlns:r="http://schemas.openxmlformats.org/officeDocument/2006/relationships" xmlns:p="http://schemas.openxmlformats.org/presentationml/2006/main">
  <p:tag name="ADJUSTMENTS" val="11.26645"/>
</p:tagLst>
</file>

<file path=ppt/tags/tag22.xml><?xml version="1.0" encoding="utf-8"?>
<p:tagLst xmlns:a="http://schemas.openxmlformats.org/drawingml/2006/main" xmlns:r="http://schemas.openxmlformats.org/officeDocument/2006/relationships" xmlns:p="http://schemas.openxmlformats.org/presentationml/2006/main">
  <p:tag name="ISLIDE.ICON" val="#6242;#139794;#405097;#405332;#405333;"/>
</p:tagLst>
</file>

<file path=ppt/tags/tag23.xml><?xml version="1.0" encoding="utf-8"?>
<p:tagLst xmlns:a="http://schemas.openxmlformats.org/drawingml/2006/main" xmlns:r="http://schemas.openxmlformats.org/officeDocument/2006/relationships" xmlns:p="http://schemas.openxmlformats.org/presentationml/2006/main">
  <p:tag name="ISLIDE.ICON" val="#407166;#407329;"/>
</p:tagLst>
</file>

<file path=ppt/tags/tag24.xml><?xml version="1.0" encoding="utf-8"?>
<p:tagLst xmlns:a="http://schemas.openxmlformats.org/drawingml/2006/main" xmlns:r="http://schemas.openxmlformats.org/officeDocument/2006/relationships" xmlns:p="http://schemas.openxmlformats.org/presentationml/2006/main">
  <p:tag name="ISLIDE.ICON" val="#149505;#67970;#35834;#67375;#108139;#160414;#393946;#405331;#406997;#407108;#407103;#407102;#407081;#407100;#407082;"/>
</p:tagLst>
</file>

<file path=ppt/tags/tag25.xml><?xml version="1.0" encoding="utf-8"?>
<p:tagLst xmlns:a="http://schemas.openxmlformats.org/drawingml/2006/main" xmlns:r="http://schemas.openxmlformats.org/officeDocument/2006/relationships" xmlns:p="http://schemas.openxmlformats.org/presentationml/2006/main">
  <p:tag name="ISLIDE.ICON" val="#149505;#67970;#35834;#67375;#108139;#160414;#393946;#405331;#406997;#407108;#407103;#407102;#407081;#407100;#407082;"/>
</p:tagLst>
</file>

<file path=ppt/tags/tag26.xml><?xml version="1.0" encoding="utf-8"?>
<p:tagLst xmlns:a="http://schemas.openxmlformats.org/drawingml/2006/main" xmlns:r="http://schemas.openxmlformats.org/officeDocument/2006/relationships" xmlns:p="http://schemas.openxmlformats.org/presentationml/2006/main">
  <p:tag name="ISLIDE.ICON" val="#149505;#67970;#35834;#67375;#108139;#160414;#393946;#405331;#406997;#407108;#407103;#407102;#407081;#407100;#407082;"/>
</p:tagLst>
</file>

<file path=ppt/tags/tag27.xml><?xml version="1.0" encoding="utf-8"?>
<p:tagLst xmlns:a="http://schemas.openxmlformats.org/drawingml/2006/main" xmlns:r="http://schemas.openxmlformats.org/officeDocument/2006/relationships" xmlns:p="http://schemas.openxmlformats.org/presentationml/2006/main">
  <p:tag name="ISLIDE.ICON" val="#154672;#133664;#99626;#87762;"/>
</p:tagLst>
</file>

<file path=ppt/tags/tag28.xml><?xml version="1.0" encoding="utf-8"?>
<p:tagLst xmlns:a="http://schemas.openxmlformats.org/drawingml/2006/main" xmlns:r="http://schemas.openxmlformats.org/officeDocument/2006/relationships" xmlns:p="http://schemas.openxmlformats.org/presentationml/2006/main">
  <p:tag name="ISLIDE.ICON" val="#149505;"/>
</p:tagLst>
</file>

<file path=ppt/tags/tag29.xml><?xml version="1.0" encoding="utf-8"?>
<p:tagLst xmlns:a="http://schemas.openxmlformats.org/drawingml/2006/main" xmlns:r="http://schemas.openxmlformats.org/officeDocument/2006/relationships" xmlns:p="http://schemas.openxmlformats.org/presentationml/2006/main">
  <p:tag name="ISLIDE.ICON" val="#149505;"/>
</p:tagLst>
</file>

<file path=ppt/tags/tag3.xml><?xml version="1.0" encoding="utf-8"?>
<p:tagLst xmlns:a="http://schemas.openxmlformats.org/drawingml/2006/main" xmlns:r="http://schemas.openxmlformats.org/officeDocument/2006/relationships" xmlns:p="http://schemas.openxmlformats.org/presentationml/2006/main">
  <p:tag name="ISLIDE.ICON" val="#102055;"/>
</p:tagLst>
</file>

<file path=ppt/tags/tag30.xml><?xml version="1.0" encoding="utf-8"?>
<p:tagLst xmlns:a="http://schemas.openxmlformats.org/drawingml/2006/main" xmlns:r="http://schemas.openxmlformats.org/officeDocument/2006/relationships" xmlns:p="http://schemas.openxmlformats.org/presentationml/2006/main">
  <p:tag name="ISLIDE.ICON" val="#149505;#67970;#35834;#67375;"/>
</p:tagLst>
</file>

<file path=ppt/tags/tag31.xml><?xml version="1.0" encoding="utf-8"?>
<p:tagLst xmlns:a="http://schemas.openxmlformats.org/drawingml/2006/main" xmlns:r="http://schemas.openxmlformats.org/officeDocument/2006/relationships" xmlns:p="http://schemas.openxmlformats.org/presentationml/2006/main">
  <p:tag name="ISLIDE.ICON" val="#407153;#405337;#407146;#407188;"/>
</p:tagLst>
</file>

<file path=ppt/tags/tag32.xml><?xml version="1.0" encoding="utf-8"?>
<p:tagLst xmlns:a="http://schemas.openxmlformats.org/drawingml/2006/main" xmlns:r="http://schemas.openxmlformats.org/officeDocument/2006/relationships" xmlns:p="http://schemas.openxmlformats.org/presentationml/2006/main">
  <p:tag name="ADJUSTMENTS" val="6.08642"/>
</p:tagLst>
</file>

<file path=ppt/tags/tag33.xml><?xml version="1.0" encoding="utf-8"?>
<p:tagLst xmlns:a="http://schemas.openxmlformats.org/drawingml/2006/main" xmlns:r="http://schemas.openxmlformats.org/officeDocument/2006/relationships" xmlns:p="http://schemas.openxmlformats.org/presentationml/2006/main">
  <p:tag name="ADJUSTMENTS" val="6.08642"/>
</p:tagLst>
</file>

<file path=ppt/tags/tag34.xml><?xml version="1.0" encoding="utf-8"?>
<p:tagLst xmlns:a="http://schemas.openxmlformats.org/drawingml/2006/main" xmlns:r="http://schemas.openxmlformats.org/officeDocument/2006/relationships" xmlns:p="http://schemas.openxmlformats.org/presentationml/2006/main">
  <p:tag name="ADJUSTMENTS" val="6.08642"/>
</p:tagLst>
</file>

<file path=ppt/tags/tag35.xml><?xml version="1.0" encoding="utf-8"?>
<p:tagLst xmlns:a="http://schemas.openxmlformats.org/drawingml/2006/main" xmlns:r="http://schemas.openxmlformats.org/officeDocument/2006/relationships" xmlns:p="http://schemas.openxmlformats.org/presentationml/2006/main">
  <p:tag name="ISLIDE.ICON" val="#99626;#25009;#150344;#152810;#133931;#8560;"/>
</p:tagLst>
</file>

<file path=ppt/tags/tag36.xml><?xml version="1.0" encoding="utf-8"?>
<p:tagLst xmlns:a="http://schemas.openxmlformats.org/drawingml/2006/main" xmlns:r="http://schemas.openxmlformats.org/officeDocument/2006/relationships" xmlns:p="http://schemas.openxmlformats.org/presentationml/2006/main">
  <p:tag name="ISLIDE.ICON" val="#149505;#67970;#35834;#67375;#108139;"/>
</p:tagLst>
</file>

<file path=ppt/tags/tag37.xml><?xml version="1.0" encoding="utf-8"?>
<p:tagLst xmlns:a="http://schemas.openxmlformats.org/drawingml/2006/main" xmlns:r="http://schemas.openxmlformats.org/officeDocument/2006/relationships" xmlns:p="http://schemas.openxmlformats.org/presentationml/2006/main">
  <p:tag name="ISLIDE.ICON" val="#149505;#67970;#35834;#67375;#108139;"/>
</p:tagLst>
</file>

<file path=ppt/tags/tag38.xml><?xml version="1.0" encoding="utf-8"?>
<p:tagLst xmlns:a="http://schemas.openxmlformats.org/drawingml/2006/main" xmlns:r="http://schemas.openxmlformats.org/officeDocument/2006/relationships" xmlns:p="http://schemas.openxmlformats.org/presentationml/2006/main">
  <p:tag name="ISLIDE.ICON" val="#149505;#67970;#35834;#67375;#108139;#160414;#393946;#405331;#406997;#407108;#407103;#407102;#407081;#407100;#407082;"/>
</p:tagLst>
</file>

<file path=ppt/tags/tag39.xml><?xml version="1.0" encoding="utf-8"?>
<p:tagLst xmlns:a="http://schemas.openxmlformats.org/drawingml/2006/main" xmlns:r="http://schemas.openxmlformats.org/officeDocument/2006/relationships" xmlns:p="http://schemas.openxmlformats.org/presentationml/2006/main">
  <p:tag name="ISLIDE.ICON" val="#149505;#67970;#35834;#67375;#108139;#160414;#393946;#405331;#406997;#407108;#407103;#407102;#407081;#407100;#407082;"/>
</p:tagLst>
</file>

<file path=ppt/tags/tag4.xml><?xml version="1.0" encoding="utf-8"?>
<p:tagLst xmlns:a="http://schemas.openxmlformats.org/drawingml/2006/main" xmlns:r="http://schemas.openxmlformats.org/officeDocument/2006/relationships" xmlns:p="http://schemas.openxmlformats.org/presentationml/2006/main">
  <p:tag name="PA" val="v5.2.5"/>
</p:tagLst>
</file>

<file path=ppt/tags/tag40.xml><?xml version="1.0" encoding="utf-8"?>
<p:tagLst xmlns:a="http://schemas.openxmlformats.org/drawingml/2006/main" xmlns:r="http://schemas.openxmlformats.org/officeDocument/2006/relationships" xmlns:p="http://schemas.openxmlformats.org/presentationml/2006/main">
  <p:tag name="ISLIDE.ICON" val="#407153;#405324;#405097;#405338;"/>
</p:tagLst>
</file>

<file path=ppt/tags/tag41.xml><?xml version="1.0" encoding="utf-8"?>
<p:tagLst xmlns:a="http://schemas.openxmlformats.org/drawingml/2006/main" xmlns:r="http://schemas.openxmlformats.org/officeDocument/2006/relationships" xmlns:p="http://schemas.openxmlformats.org/presentationml/2006/main">
  <p:tag name="ISLIDE.ICON" val="#407153;#405324;#405097;#405338;"/>
</p:tagLst>
</file>

<file path=ppt/tags/tag42.xml><?xml version="1.0" encoding="utf-8"?>
<p:tagLst xmlns:a="http://schemas.openxmlformats.org/drawingml/2006/main" xmlns:r="http://schemas.openxmlformats.org/officeDocument/2006/relationships" xmlns:p="http://schemas.openxmlformats.org/presentationml/2006/main">
  <p:tag name="ISLIDE.ICON" val="#407153;#405324;#405097;#405338;"/>
</p:tagLst>
</file>

<file path=ppt/tags/tag43.xml><?xml version="1.0" encoding="utf-8"?>
<p:tagLst xmlns:a="http://schemas.openxmlformats.org/drawingml/2006/main" xmlns:r="http://schemas.openxmlformats.org/officeDocument/2006/relationships" xmlns:p="http://schemas.openxmlformats.org/presentationml/2006/main">
  <p:tag name="PA" val="v5.2.5"/>
</p:tagLst>
</file>

<file path=ppt/tags/tag44.xml><?xml version="1.0" encoding="utf-8"?>
<p:tagLst xmlns:a="http://schemas.openxmlformats.org/drawingml/2006/main" xmlns:r="http://schemas.openxmlformats.org/officeDocument/2006/relationships" xmlns:p="http://schemas.openxmlformats.org/presentationml/2006/main">
  <p:tag name="PA" val="v5.2.5"/>
</p:tagLst>
</file>

<file path=ppt/tags/tag45.xml><?xml version="1.0" encoding="utf-8"?>
<p:tagLst xmlns:a="http://schemas.openxmlformats.org/drawingml/2006/main" xmlns:r="http://schemas.openxmlformats.org/officeDocument/2006/relationships" xmlns:p="http://schemas.openxmlformats.org/presentationml/2006/main">
  <p:tag name="PA" val="v5.2.5"/>
</p:tagLst>
</file>

<file path=ppt/tags/tag46.xml><?xml version="1.0" encoding="utf-8"?>
<p:tagLst xmlns:a="http://schemas.openxmlformats.org/drawingml/2006/main" xmlns:r="http://schemas.openxmlformats.org/officeDocument/2006/relationships" xmlns:p="http://schemas.openxmlformats.org/presentationml/2006/main">
  <p:tag name="PA" val="v5.2.5"/>
</p:tagLst>
</file>

<file path=ppt/tags/tag47.xml><?xml version="1.0" encoding="utf-8"?>
<p:tagLst xmlns:a="http://schemas.openxmlformats.org/drawingml/2006/main" xmlns:r="http://schemas.openxmlformats.org/officeDocument/2006/relationships" xmlns:p="http://schemas.openxmlformats.org/presentationml/2006/main">
  <p:tag name="SHADOWSIZE" val="100"/>
</p:tagLst>
</file>

<file path=ppt/tags/tag48.xml><?xml version="1.0" encoding="utf-8"?>
<p:tagLst xmlns:a="http://schemas.openxmlformats.org/drawingml/2006/main" xmlns:r="http://schemas.openxmlformats.org/officeDocument/2006/relationships" xmlns:p="http://schemas.openxmlformats.org/presentationml/2006/main">
  <p:tag name="SHADOWSIZE" val="100"/>
</p:tagLst>
</file>

<file path=ppt/tags/tag49.xml><?xml version="1.0" encoding="utf-8"?>
<p:tagLst xmlns:a="http://schemas.openxmlformats.org/drawingml/2006/main" xmlns:r="http://schemas.openxmlformats.org/officeDocument/2006/relationships" xmlns:p="http://schemas.openxmlformats.org/presentationml/2006/main">
  <p:tag name="SHADOWSIZE" val="100"/>
</p:tagLst>
</file>

<file path=ppt/tags/tag5.xml><?xml version="1.0" encoding="utf-8"?>
<p:tagLst xmlns:a="http://schemas.openxmlformats.org/drawingml/2006/main" xmlns:r="http://schemas.openxmlformats.org/officeDocument/2006/relationships" xmlns:p="http://schemas.openxmlformats.org/presentationml/2006/main">
  <p:tag name="PA" val="v5.2.5"/>
</p:tagLst>
</file>

<file path=ppt/tags/tag50.xml><?xml version="1.0" encoding="utf-8"?>
<p:tagLst xmlns:a="http://schemas.openxmlformats.org/drawingml/2006/main" xmlns:r="http://schemas.openxmlformats.org/officeDocument/2006/relationships" xmlns:p="http://schemas.openxmlformats.org/presentationml/2006/main">
  <p:tag name="SHADOWSIZE" val="100"/>
</p:tagLst>
</file>

<file path=ppt/tags/tag51.xml><?xml version="1.0" encoding="utf-8"?>
<p:tagLst xmlns:a="http://schemas.openxmlformats.org/drawingml/2006/main" xmlns:r="http://schemas.openxmlformats.org/officeDocument/2006/relationships" xmlns:p="http://schemas.openxmlformats.org/presentationml/2006/main">
  <p:tag name="ADJUSTMENTS" val="10.25892"/>
  <p:tag name="SHADOWSIZE" val="100"/>
</p:tagLst>
</file>

<file path=ppt/tags/tag52.xml><?xml version="1.0" encoding="utf-8"?>
<p:tagLst xmlns:a="http://schemas.openxmlformats.org/drawingml/2006/main" xmlns:r="http://schemas.openxmlformats.org/officeDocument/2006/relationships" xmlns:p="http://schemas.openxmlformats.org/presentationml/2006/main">
  <p:tag name="ADJUSTMENTS" val="7.583612"/>
</p:tagLst>
</file>

<file path=ppt/tags/tag53.xml><?xml version="1.0" encoding="utf-8"?>
<p:tagLst xmlns:a="http://schemas.openxmlformats.org/drawingml/2006/main" xmlns:r="http://schemas.openxmlformats.org/officeDocument/2006/relationships" xmlns:p="http://schemas.openxmlformats.org/presentationml/2006/main">
  <p:tag name="ADJUSTMENTS" val="10.25892"/>
  <p:tag name="SHADOWSIZE" val="100"/>
</p:tagLst>
</file>

<file path=ppt/tags/tag54.xml><?xml version="1.0" encoding="utf-8"?>
<p:tagLst xmlns:a="http://schemas.openxmlformats.org/drawingml/2006/main" xmlns:r="http://schemas.openxmlformats.org/officeDocument/2006/relationships" xmlns:p="http://schemas.openxmlformats.org/presentationml/2006/main">
  <p:tag name="ADJUSTMENTS" val="7.583612"/>
</p:tagLst>
</file>

<file path=ppt/tags/tag55.xml><?xml version="1.0" encoding="utf-8"?>
<p:tagLst xmlns:a="http://schemas.openxmlformats.org/drawingml/2006/main" xmlns:r="http://schemas.openxmlformats.org/officeDocument/2006/relationships" xmlns:p="http://schemas.openxmlformats.org/presentationml/2006/main">
  <p:tag name="ADJUSTMENTS" val="10.25892"/>
  <p:tag name="SHADOWSIZE" val="100"/>
</p:tagLst>
</file>

<file path=ppt/tags/tag56.xml><?xml version="1.0" encoding="utf-8"?>
<p:tagLst xmlns:a="http://schemas.openxmlformats.org/drawingml/2006/main" xmlns:r="http://schemas.openxmlformats.org/officeDocument/2006/relationships" xmlns:p="http://schemas.openxmlformats.org/presentationml/2006/main">
  <p:tag name="ADJUSTMENTS" val="7.583612"/>
</p:tagLst>
</file>

<file path=ppt/tags/tag57.xml><?xml version="1.0" encoding="utf-8"?>
<p:tagLst xmlns:a="http://schemas.openxmlformats.org/drawingml/2006/main" xmlns:r="http://schemas.openxmlformats.org/officeDocument/2006/relationships" xmlns:p="http://schemas.openxmlformats.org/presentationml/2006/main">
  <p:tag name="ADJUSTMENTS" val="10.25892"/>
  <p:tag name="SHADOWSIZE" val="100"/>
</p:tagLst>
</file>

<file path=ppt/tags/tag58.xml><?xml version="1.0" encoding="utf-8"?>
<p:tagLst xmlns:a="http://schemas.openxmlformats.org/drawingml/2006/main" xmlns:r="http://schemas.openxmlformats.org/officeDocument/2006/relationships" xmlns:p="http://schemas.openxmlformats.org/presentationml/2006/main">
  <p:tag name="ADJUSTMENTS" val="7.583612"/>
</p:tagLst>
</file>

<file path=ppt/tags/tag59.xml><?xml version="1.0" encoding="utf-8"?>
<p:tagLst xmlns:a="http://schemas.openxmlformats.org/drawingml/2006/main" xmlns:r="http://schemas.openxmlformats.org/officeDocument/2006/relationships" xmlns:p="http://schemas.openxmlformats.org/presentationml/2006/main">
  <p:tag name="SHADOWSIZE" val="100"/>
</p:tagLst>
</file>

<file path=ppt/tags/tag6.xml><?xml version="1.0" encoding="utf-8"?>
<p:tagLst xmlns:a="http://schemas.openxmlformats.org/drawingml/2006/main" xmlns:r="http://schemas.openxmlformats.org/officeDocument/2006/relationships" xmlns:p="http://schemas.openxmlformats.org/presentationml/2006/main">
  <p:tag name="PA" val="v5.2.5"/>
</p:tagLst>
</file>

<file path=ppt/tags/tag60.xml><?xml version="1.0" encoding="utf-8"?>
<p:tagLst xmlns:a="http://schemas.openxmlformats.org/drawingml/2006/main" xmlns:r="http://schemas.openxmlformats.org/officeDocument/2006/relationships" xmlns:p="http://schemas.openxmlformats.org/presentationml/2006/main">
  <p:tag name="SHADOWSIZE" val="100"/>
</p:tagLst>
</file>

<file path=ppt/tags/tag61.xml><?xml version="1.0" encoding="utf-8"?>
<p:tagLst xmlns:a="http://schemas.openxmlformats.org/drawingml/2006/main" xmlns:r="http://schemas.openxmlformats.org/officeDocument/2006/relationships" xmlns:p="http://schemas.openxmlformats.org/presentationml/2006/main">
  <p:tag name="SHADOWSIZE" val="100"/>
</p:tagLst>
</file>

<file path=ppt/tags/tag62.xml><?xml version="1.0" encoding="utf-8"?>
<p:tagLst xmlns:a="http://schemas.openxmlformats.org/drawingml/2006/main" xmlns:r="http://schemas.openxmlformats.org/officeDocument/2006/relationships" xmlns:p="http://schemas.openxmlformats.org/presentationml/2006/main">
  <p:tag name="SHADOWSIZE" val="100"/>
</p:tagLst>
</file>

<file path=ppt/tags/tag63.xml><?xml version="1.0" encoding="utf-8"?>
<p:tagLst xmlns:a="http://schemas.openxmlformats.org/drawingml/2006/main" xmlns:r="http://schemas.openxmlformats.org/officeDocument/2006/relationships" xmlns:p="http://schemas.openxmlformats.org/presentationml/2006/main">
  <p:tag name="ADJUSTMENTS" val="9.745976"/>
  <p:tag name="SHADOWSIZE" val="100"/>
</p:tagLst>
</file>

<file path=ppt/tags/tag64.xml><?xml version="1.0" encoding="utf-8"?>
<p:tagLst xmlns:a="http://schemas.openxmlformats.org/drawingml/2006/main" xmlns:r="http://schemas.openxmlformats.org/officeDocument/2006/relationships" xmlns:p="http://schemas.openxmlformats.org/presentationml/2006/main">
  <p:tag name="ADJUSTMENTS" val="7.204428"/>
</p:tagLst>
</file>

<file path=ppt/tags/tag65.xml><?xml version="1.0" encoding="utf-8"?>
<p:tagLst xmlns:a="http://schemas.openxmlformats.org/drawingml/2006/main" xmlns:r="http://schemas.openxmlformats.org/officeDocument/2006/relationships" xmlns:p="http://schemas.openxmlformats.org/presentationml/2006/main">
  <p:tag name="ADJUSTMENTS" val="9.745976"/>
  <p:tag name="SHADOWSIZE" val="100"/>
</p:tagLst>
</file>

<file path=ppt/tags/tag66.xml><?xml version="1.0" encoding="utf-8"?>
<p:tagLst xmlns:a="http://schemas.openxmlformats.org/drawingml/2006/main" xmlns:r="http://schemas.openxmlformats.org/officeDocument/2006/relationships" xmlns:p="http://schemas.openxmlformats.org/presentationml/2006/main">
  <p:tag name="ADJUSTMENTS" val="7.204428"/>
</p:tagLst>
</file>

<file path=ppt/tags/tag67.xml><?xml version="1.0" encoding="utf-8"?>
<p:tagLst xmlns:a="http://schemas.openxmlformats.org/drawingml/2006/main" xmlns:r="http://schemas.openxmlformats.org/officeDocument/2006/relationships" xmlns:p="http://schemas.openxmlformats.org/presentationml/2006/main">
  <p:tag name="ADJUSTMENTS" val="9.745976"/>
  <p:tag name="SHADOWSIZE" val="100"/>
</p:tagLst>
</file>

<file path=ppt/tags/tag68.xml><?xml version="1.0" encoding="utf-8"?>
<p:tagLst xmlns:a="http://schemas.openxmlformats.org/drawingml/2006/main" xmlns:r="http://schemas.openxmlformats.org/officeDocument/2006/relationships" xmlns:p="http://schemas.openxmlformats.org/presentationml/2006/main">
  <p:tag name="ADJUSTMENTS" val="7.204428"/>
</p:tagLst>
</file>

<file path=ppt/tags/tag69.xml><?xml version="1.0" encoding="utf-8"?>
<p:tagLst xmlns:a="http://schemas.openxmlformats.org/drawingml/2006/main" xmlns:r="http://schemas.openxmlformats.org/officeDocument/2006/relationships" xmlns:p="http://schemas.openxmlformats.org/presentationml/2006/main">
  <p:tag name="ADJUSTMENTS" val="9.745976"/>
  <p:tag name="SHADOWSIZE" val="100"/>
</p:tagLst>
</file>

<file path=ppt/tags/tag7.xml><?xml version="1.0" encoding="utf-8"?>
<p:tagLst xmlns:a="http://schemas.openxmlformats.org/drawingml/2006/main" xmlns:r="http://schemas.openxmlformats.org/officeDocument/2006/relationships" xmlns:p="http://schemas.openxmlformats.org/presentationml/2006/main">
  <p:tag name="PA" val="v5.2.5"/>
</p:tagLst>
</file>

<file path=ppt/tags/tag70.xml><?xml version="1.0" encoding="utf-8"?>
<p:tagLst xmlns:a="http://schemas.openxmlformats.org/drawingml/2006/main" xmlns:r="http://schemas.openxmlformats.org/officeDocument/2006/relationships" xmlns:p="http://schemas.openxmlformats.org/presentationml/2006/main">
  <p:tag name="ADJUSTMENTS" val="7.204428"/>
</p:tagLst>
</file>

<file path=ppt/tags/tag71.xml><?xml version="1.0" encoding="utf-8"?>
<p:tagLst xmlns:a="http://schemas.openxmlformats.org/drawingml/2006/main" xmlns:r="http://schemas.openxmlformats.org/officeDocument/2006/relationships" xmlns:p="http://schemas.openxmlformats.org/presentationml/2006/main">
  <p:tag name="ISLIDE.ICON" val="#149505;#67970;#35834;#67375;#108139;#160414;#393946;#405331;#406997;#407108;#407103;#407102;#407081;#407100;#407082;"/>
</p:tagLst>
</file>

<file path=ppt/tags/tag72.xml><?xml version="1.0" encoding="utf-8"?>
<p:tagLst xmlns:a="http://schemas.openxmlformats.org/drawingml/2006/main" xmlns:r="http://schemas.openxmlformats.org/officeDocument/2006/relationships" xmlns:p="http://schemas.openxmlformats.org/presentationml/2006/main">
  <p:tag name="ISLIDE.ICON" val="#149505;#67970;#35834;#67375;#108139;#160414;#393946;#405331;#406997;#407108;#407103;#407102;#407081;#407100;#407082;"/>
</p:tagLst>
</file>

<file path=ppt/tags/tag73.xml><?xml version="1.0" encoding="utf-8"?>
<p:tagLst xmlns:a="http://schemas.openxmlformats.org/drawingml/2006/main" xmlns:r="http://schemas.openxmlformats.org/officeDocument/2006/relationships" xmlns:p="http://schemas.openxmlformats.org/presentationml/2006/main">
  <p:tag name="ISLIDE.ICON" val="#149505;#67970;#35834;#67375;#108139;#160414;#393946;#405331;#406997;#407108;#407103;#407102;#407081;#407100;#407082;"/>
</p:tagLst>
</file>

<file path=ppt/tags/tag74.xml><?xml version="1.0" encoding="utf-8"?>
<p:tagLst xmlns:a="http://schemas.openxmlformats.org/drawingml/2006/main" xmlns:r="http://schemas.openxmlformats.org/officeDocument/2006/relationships" xmlns:p="http://schemas.openxmlformats.org/presentationml/2006/main">
  <p:tag name="ISLIDE.ICON" val="#149505;#67970;#35834;#67375;#108139;#160414;#393946;#405331;#406997;#407108;#407103;#407102;#407081;#407100;#407082;"/>
</p:tagLst>
</file>

<file path=ppt/tags/tag75.xml><?xml version="1.0" encoding="utf-8"?>
<p:tagLst xmlns:a="http://schemas.openxmlformats.org/drawingml/2006/main" xmlns:r="http://schemas.openxmlformats.org/officeDocument/2006/relationships" xmlns:p="http://schemas.openxmlformats.org/presentationml/2006/main">
  <p:tag name="ISLIDE.ICON" val="#149505;#67970;#35834;#67375;#108139;#160414;#393946;#405331;#406997;#407108;#407103;#407102;#407081;#407100;#407082;"/>
</p:tagLst>
</file>

<file path=ppt/tags/tag76.xml><?xml version="1.0" encoding="utf-8"?>
<p:tagLst xmlns:a="http://schemas.openxmlformats.org/drawingml/2006/main" xmlns:r="http://schemas.openxmlformats.org/officeDocument/2006/relationships" xmlns:p="http://schemas.openxmlformats.org/presentationml/2006/main">
  <p:tag name="ISLIDE.ICON" val="#149505;#67970;#35834;#67375;#108139;#160414;#393946;#405331;#406997;#407108;#407103;#407102;#407081;#407100;#407082;"/>
</p:tagLst>
</file>

<file path=ppt/tags/tag77.xml><?xml version="1.0" encoding="utf-8"?>
<p:tagLst xmlns:a="http://schemas.openxmlformats.org/drawingml/2006/main" xmlns:r="http://schemas.openxmlformats.org/officeDocument/2006/relationships" xmlns:p="http://schemas.openxmlformats.org/presentationml/2006/main">
  <p:tag name="ISLIDE.ICON" val="#149505;#67970;#35834;#67375;#108139;#160414;#393946;#405331;#406997;#407108;#407103;#407102;#407081;#407100;#407082;"/>
</p:tagLst>
</file>

<file path=ppt/tags/tag78.xml><?xml version="1.0" encoding="utf-8"?>
<p:tagLst xmlns:a="http://schemas.openxmlformats.org/drawingml/2006/main" xmlns:r="http://schemas.openxmlformats.org/officeDocument/2006/relationships" xmlns:p="http://schemas.openxmlformats.org/presentationml/2006/main">
  <p:tag name="ISLIDE.ICON" val="#149505;#67970;#35834;#67375;#108139;#160414;#393946;#405331;#406997;#407108;#407103;#407102;#407081;#407100;#407082;"/>
</p:tagLst>
</file>

<file path=ppt/tags/tag79.xml><?xml version="1.0" encoding="utf-8"?>
<p:tagLst xmlns:a="http://schemas.openxmlformats.org/drawingml/2006/main" xmlns:r="http://schemas.openxmlformats.org/officeDocument/2006/relationships" xmlns:p="http://schemas.openxmlformats.org/presentationml/2006/main">
  <p:tag name="ISLIDE.ICON" val="#149505;#67970;#35834;#67375;#108139;#160414;#393946;#405331;#406997;#407108;#407103;#407102;#407081;#407100;#407082;"/>
</p:tagLst>
</file>

<file path=ppt/tags/tag8.xml><?xml version="1.0" encoding="utf-8"?>
<p:tagLst xmlns:a="http://schemas.openxmlformats.org/drawingml/2006/main" xmlns:r="http://schemas.openxmlformats.org/officeDocument/2006/relationships" xmlns:p="http://schemas.openxmlformats.org/presentationml/2006/main">
  <p:tag name="ISLIDE.ICON" val="#149505;#67970;#35834;#67375;#108139;#160414;#393946;#405331;#406997;#407108;#407103;#407102;#407081;#407100;#407082;"/>
</p:tagLst>
</file>

<file path=ppt/tags/tag80.xml><?xml version="1.0" encoding="utf-8"?>
<p:tagLst xmlns:a="http://schemas.openxmlformats.org/drawingml/2006/main" xmlns:r="http://schemas.openxmlformats.org/officeDocument/2006/relationships" xmlns:p="http://schemas.openxmlformats.org/presentationml/2006/main">
  <p:tag name="ISLIDE.ICON" val="#149505;#67970;#35834;#67375;#108139;#160414;#393946;#405331;#406997;#407108;#407103;#407102;#407081;#407100;#407082;#407040;"/>
</p:tagLst>
</file>

<file path=ppt/tags/tag81.xml><?xml version="1.0" encoding="utf-8"?>
<p:tagLst xmlns:a="http://schemas.openxmlformats.org/drawingml/2006/main" xmlns:r="http://schemas.openxmlformats.org/officeDocument/2006/relationships" xmlns:p="http://schemas.openxmlformats.org/presentationml/2006/main">
  <p:tag name="ISLIDE.ICON" val="#149505;#67970;#35834;#67375;#108139;#160414;#393946;#405331;#406997;#407108;#407103;#407102;#407081;#407100;#407082;#407040;"/>
</p:tagLst>
</file>

<file path=ppt/tags/tag82.xml><?xml version="1.0" encoding="utf-8"?>
<p:tagLst xmlns:a="http://schemas.openxmlformats.org/drawingml/2006/main" xmlns:r="http://schemas.openxmlformats.org/officeDocument/2006/relationships" xmlns:p="http://schemas.openxmlformats.org/presentationml/2006/main">
  <p:tag name="ISLIDE.ICON" val="#149505;#67970;#35834;#67375;#108139;#160414;#393946;#405331;#406997;#407108;#407103;#407102;#407081;#407100;#407082;"/>
</p:tagLst>
</file>

<file path=ppt/tags/tag83.xml><?xml version="1.0" encoding="utf-8"?>
<p:tagLst xmlns:a="http://schemas.openxmlformats.org/drawingml/2006/main" xmlns:r="http://schemas.openxmlformats.org/officeDocument/2006/relationships" xmlns:p="http://schemas.openxmlformats.org/presentationml/2006/main">
  <p:tag name="ISLIDE.ICON" val="#149505;#67970;#35834;#67375;#108139;#160414;#393946;#405331;#406997;#407108;#407103;#407102;#407081;#407100;#407082;#407040;"/>
</p:tagLst>
</file>

<file path=ppt/tags/tag84.xml><?xml version="1.0" encoding="utf-8"?>
<p:tagLst xmlns:a="http://schemas.openxmlformats.org/drawingml/2006/main" xmlns:r="http://schemas.openxmlformats.org/officeDocument/2006/relationships" xmlns:p="http://schemas.openxmlformats.org/presentationml/2006/main">
  <p:tag name="ISLIDE.ICON" val="#149505;#67970;#35834;#67375;#108139;#160414;#393946;#405331;#406997;#407108;#407103;#407102;#407081;#407100;#407082;#407040;"/>
</p:tagLst>
</file>

<file path=ppt/tags/tag85.xml><?xml version="1.0" encoding="utf-8"?>
<p:tagLst xmlns:a="http://schemas.openxmlformats.org/drawingml/2006/main" xmlns:r="http://schemas.openxmlformats.org/officeDocument/2006/relationships" xmlns:p="http://schemas.openxmlformats.org/presentationml/2006/main">
  <p:tag name="ISLIDE.ICON" val="#149505;#67970;#35834;#67375;#108139;#160414;#393946;#405331;#406997;#407108;#407103;#407102;#407081;#407100;#407082;#407040;"/>
</p:tagLst>
</file>

<file path=ppt/tags/tag86.xml><?xml version="1.0" encoding="utf-8"?>
<p:tagLst xmlns:a="http://schemas.openxmlformats.org/drawingml/2006/main" xmlns:r="http://schemas.openxmlformats.org/officeDocument/2006/relationships" xmlns:p="http://schemas.openxmlformats.org/presentationml/2006/main">
  <p:tag name="ISLIDE.ICON" val="#149505;#67970;#35834;#67375;#108139;#160414;#393946;#405331;#406997;#407108;#407103;#407102;#407081;#407100;#407082;#407040;"/>
</p:tagLst>
</file>

<file path=ppt/tags/tag87.xml><?xml version="1.0" encoding="utf-8"?>
<p:tagLst xmlns:a="http://schemas.openxmlformats.org/drawingml/2006/main" xmlns:r="http://schemas.openxmlformats.org/officeDocument/2006/relationships" xmlns:p="http://schemas.openxmlformats.org/presentationml/2006/main">
  <p:tag name="ISLIDE.ICON" val="#149505;#67970;#35834;#67375;#108139;#160414;#393946;#405331;#406997;#407108;#407103;#407102;#407081;#407100;#407082;#407040;"/>
</p:tagLst>
</file>

<file path=ppt/tags/tag88.xml><?xml version="1.0" encoding="utf-8"?>
<p:tagLst xmlns:a="http://schemas.openxmlformats.org/drawingml/2006/main" xmlns:r="http://schemas.openxmlformats.org/officeDocument/2006/relationships" xmlns:p="http://schemas.openxmlformats.org/presentationml/2006/main">
  <p:tag name="ISLIDE.ICON" val="#149505;#67970;#35834;#67375;#108139;#160414;#393946;#405331;#406997;#407108;#407103;#407102;#407081;#407100;#407082;#407040;"/>
</p:tagLst>
</file>

<file path=ppt/tags/tag89.xml><?xml version="1.0" encoding="utf-8"?>
<p:tagLst xmlns:a="http://schemas.openxmlformats.org/drawingml/2006/main" xmlns:r="http://schemas.openxmlformats.org/officeDocument/2006/relationships" xmlns:p="http://schemas.openxmlformats.org/presentationml/2006/main">
  <p:tag name="ISLIDE.ICON" val="#149505;#67970;#35834;#67375;#108139;#160414;#393946;#405331;#406997;#407108;#407103;#407102;#407081;#407100;#407082;#407040;"/>
</p:tagLst>
</file>

<file path=ppt/tags/tag9.xml><?xml version="1.0" encoding="utf-8"?>
<p:tagLst xmlns:a="http://schemas.openxmlformats.org/drawingml/2006/main" xmlns:r="http://schemas.openxmlformats.org/officeDocument/2006/relationships" xmlns:p="http://schemas.openxmlformats.org/presentationml/2006/main">
  <p:tag name="ADJUSTMENTS" val="8.76945"/>
  <p:tag name="SHADOWSIZE" val="100"/>
</p:tagLst>
</file>

<file path=ppt/tags/tag90.xml><?xml version="1.0" encoding="utf-8"?>
<p:tagLst xmlns:a="http://schemas.openxmlformats.org/drawingml/2006/main" xmlns:r="http://schemas.openxmlformats.org/officeDocument/2006/relationships" xmlns:p="http://schemas.openxmlformats.org/presentationml/2006/main">
  <p:tag name="SHADOWSIZE" val="102"/>
</p:tagLst>
</file>

<file path=ppt/tags/tag91.xml><?xml version="1.0" encoding="utf-8"?>
<p:tagLst xmlns:a="http://schemas.openxmlformats.org/drawingml/2006/main" xmlns:r="http://schemas.openxmlformats.org/officeDocument/2006/relationships" xmlns:p="http://schemas.openxmlformats.org/presentationml/2006/main">
  <p:tag name="SHADOWSIZE" val="102"/>
</p:tagLst>
</file>

<file path=ppt/tags/tag92.xml><?xml version="1.0" encoding="utf-8"?>
<p:tagLst xmlns:a="http://schemas.openxmlformats.org/drawingml/2006/main" xmlns:r="http://schemas.openxmlformats.org/officeDocument/2006/relationships" xmlns:p="http://schemas.openxmlformats.org/presentationml/2006/main">
  <p:tag name="SHADOWSIZE" val="102"/>
</p:tagLst>
</file>

<file path=ppt/tags/tag93.xml><?xml version="1.0" encoding="utf-8"?>
<p:tagLst xmlns:a="http://schemas.openxmlformats.org/drawingml/2006/main" xmlns:r="http://schemas.openxmlformats.org/officeDocument/2006/relationships" xmlns:p="http://schemas.openxmlformats.org/presentationml/2006/main">
  <p:tag name="SHADOWSIZE" val="102"/>
</p:tagLst>
</file>

<file path=ppt/tags/tag94.xml><?xml version="1.0" encoding="utf-8"?>
<p:tagLst xmlns:a="http://schemas.openxmlformats.org/drawingml/2006/main" xmlns:r="http://schemas.openxmlformats.org/officeDocument/2006/relationships" xmlns:p="http://schemas.openxmlformats.org/presentationml/2006/main">
  <p:tag name="ISLIDE.ICON" val="#149505;#67970;#35834;#67375;#108139;#160414;#393946;#405331;#406997;#407108;#407103;#407102;#407081;#407100;#407082;"/>
</p:tagLst>
</file>

<file path=ppt/tags/tag95.xml><?xml version="1.0" encoding="utf-8"?>
<p:tagLst xmlns:a="http://schemas.openxmlformats.org/drawingml/2006/main" xmlns:r="http://schemas.openxmlformats.org/officeDocument/2006/relationships" xmlns:p="http://schemas.openxmlformats.org/presentationml/2006/main">
  <p:tag name="ISLIDE.ICON" val="#149505;#67970;#35834;#67375;#108139;#160414;#393946;#405331;#406997;#407108;#407103;#407102;#407081;#407100;#407082;#407040;"/>
</p:tagLst>
</file>

<file path=ppt/tags/tag96.xml><?xml version="1.0" encoding="utf-8"?>
<p:tagLst xmlns:a="http://schemas.openxmlformats.org/drawingml/2006/main" xmlns:r="http://schemas.openxmlformats.org/officeDocument/2006/relationships" xmlns:p="http://schemas.openxmlformats.org/presentationml/2006/main">
  <p:tag name="ISLIDE.ICON" val="#149505;#67970;#35834;#67375;#108139;#160414;#393946;#405331;#406997;#407108;#407103;#407102;#407081;#407100;#407082;#407040;"/>
</p:tagLst>
</file>

<file path=ppt/tags/tag97.xml><?xml version="1.0" encoding="utf-8"?>
<p:tagLst xmlns:a="http://schemas.openxmlformats.org/drawingml/2006/main" xmlns:r="http://schemas.openxmlformats.org/officeDocument/2006/relationships" xmlns:p="http://schemas.openxmlformats.org/presentationml/2006/main">
  <p:tag name="ISLIDE.ICON" val="#405097;#407146;#407150;"/>
</p:tagLst>
</file>

<file path=ppt/tags/tag98.xml><?xml version="1.0" encoding="utf-8"?>
<p:tagLst xmlns:a="http://schemas.openxmlformats.org/drawingml/2006/main" xmlns:r="http://schemas.openxmlformats.org/officeDocument/2006/relationships" xmlns:p="http://schemas.openxmlformats.org/presentationml/2006/main">
  <p:tag name="ISLIDE.ICON" val="#117091;#407148;#139794;#407160;#405097;#407150;"/>
</p:tagLst>
</file>

<file path=ppt/tags/tag99.xml><?xml version="1.0" encoding="utf-8"?>
<p:tagLst xmlns:a="http://schemas.openxmlformats.org/drawingml/2006/main" xmlns:r="http://schemas.openxmlformats.org/officeDocument/2006/relationships" xmlns:p="http://schemas.openxmlformats.org/presentationml/2006/main">
  <p:tag name="SHADOWSIZE" val="102"/>
</p:tagLst>
</file>

<file path=ppt/theme/theme1.xml><?xml version="1.0" encoding="utf-8"?>
<a:theme xmlns:a="http://schemas.openxmlformats.org/drawingml/2006/main" name="Office 主题​​">
  <a:themeElements>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fontScheme name="Misans">
      <a:majorFont>
        <a:latin typeface="MiSans Semibold"/>
        <a:ea typeface="MiSans Semibold"/>
        <a:cs typeface=""/>
      </a:majorFont>
      <a:minorFont>
        <a:latin typeface="MiSans"/>
        <a:ea typeface="MiSans"/>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l">
          <a:defRPr sz="1600">
            <a:solidFill>
              <a:schemeClr val="bg1"/>
            </a:solidFill>
            <a:latin typeface="+mj-ea"/>
            <a:ea typeface="+mj-ea"/>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chor="t">
        <a:spAutoFit/>
      </a:bodyPr>
      <a:lstStyle>
        <a:defPPr algn="l">
          <a:defRPr smtClean="0"/>
        </a:defPPr>
      </a:lstStyle>
    </a:txDef>
  </a:objectDefaults>
  <a:extraClrSchemeLst/>
  <a:extLst>
    <a:ext uri="{05A4C25C-085E-4340-85A3-A5531E510DB2}">
      <thm15:themeFamily xmlns:thm15="http://schemas.microsoft.com/office/thememl/2012/main" name="演示文稿1" id="{212E144F-98E4-074F-AB13-A0D581C8B063}" vid="{D8480BA6-E8E1-9048-BA21-220E08CCB304}"/>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等线"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等线"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10.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100.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101.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102.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103.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104.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105.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106.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107.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108.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109.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11.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110.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111.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112.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113.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114.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115.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116.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117.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118.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119.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12.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120.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121.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122.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123.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124.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125.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126.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127.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128.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129.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13.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130.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131.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132.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133.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134.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135.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136.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137.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138.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139.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14.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140.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141.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142.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143.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144.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145.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146.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147.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148.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149.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15.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150.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151.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152.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153.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154.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155.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156.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157.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158.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159.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16.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160.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161.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162.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163.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164.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165.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166.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167.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168.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169.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17.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170.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171.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172.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173.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174.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175.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176.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177.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178.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179.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18.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180.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181.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182.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183.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184.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185.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186.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187.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188.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189.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19.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190.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191.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192.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193.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194.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195.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196.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197.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198.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199.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2.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20.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200.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201.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202.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203.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204.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205.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206.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207.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208.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209.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21.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210.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211.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212.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213.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214.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215.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216.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217.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218.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219.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22.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220.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221.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222.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223.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224.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225.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226.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227.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228.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229.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23.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230.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231.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232.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233.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234.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235.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236.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237.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238.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239.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24.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240.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241.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242.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243.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244.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245.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246.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247.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248.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249.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25.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250.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251.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252.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253.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254.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255.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256.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257.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258.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259.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26.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260.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261.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262.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263.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264.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265.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266.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267.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268.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269.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27.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270.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271.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272.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273.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274.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275.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276.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277.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278.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279.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28.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280.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281.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282.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283.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284.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285.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286.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287.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288.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289.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29.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290.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291.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292.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293.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294.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295.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296.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297.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298.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299.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3.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30.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300.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301.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302.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303.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304.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305.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306.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307.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308.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309.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31.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310.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311.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312.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313.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314.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315.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316.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317.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318.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319.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32.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320.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321.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322.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323.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324.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325.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326.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327.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328.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329.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33.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330.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331.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332.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333.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334.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335.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336.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337.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338.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339.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34.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340.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341.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342.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343.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344.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345.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346.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347.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348.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349.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35.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350.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351.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352.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353.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354.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355.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356.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357.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358.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359.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36.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360.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361.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362.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363.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364.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365.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366.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367.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368.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369.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37.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370.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371.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372.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373.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374.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375.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376.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377.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378.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379.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38.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380.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381.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382.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383.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384.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385.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386.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387.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388.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389.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39.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390.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391.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392.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393.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394.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395.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396.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397.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398.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399.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4.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40.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400.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401.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402.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403.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404.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405.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406.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407.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408.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409.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41.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410.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411.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412.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413.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414.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415.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416.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417.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418.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419.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42.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420.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421.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422.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423.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424.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425.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426.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427.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428.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429.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43.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430.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431.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432.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433.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434.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435.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436.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437.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438.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439.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44.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440.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441.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442.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443.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444.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445.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446.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447.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448.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449.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45.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450.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451.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452.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453.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454.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455.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456.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457.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458.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459.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46.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460.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461.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462.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463.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464.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465.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466.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467.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468.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469.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47.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470.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471.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472.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473.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474.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475.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476.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477.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478.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479.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48.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480.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481.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482.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483.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484.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485.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486.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487.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488.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489.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49.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490.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491.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492.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493.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494.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495.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496.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497.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498.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499.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5.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50.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500.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501.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502.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503.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504.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505.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506.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507.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508.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509.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51.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510.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511.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512.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513.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514.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515.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516.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517.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518.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519.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52.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520.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521.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522.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523.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524.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525.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526.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527.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528.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529.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53.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530.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531.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532.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533.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534.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535.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536.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537.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538.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539.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54.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540.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541.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542.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543.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544.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545.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546.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547.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548.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549.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55.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550.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551.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552.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553.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554.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555.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556.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557.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558.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559.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56.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560.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561.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562.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563.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564.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565.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566.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567.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568.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569.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57.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570.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571.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572.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573.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574.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575.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576.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577.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578.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579.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58.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580.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581.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582.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583.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584.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585.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586.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587.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588.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589.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59.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590.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591.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592.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593.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594.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595.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596.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597.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598.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599.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6.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60.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600.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601.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602.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603.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604.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605.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606.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607.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608.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609.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61.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610.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611.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612.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613.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614.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615.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616.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617.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618.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619.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62.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620.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621.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622.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623.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624.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625.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626.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627.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628.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629.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63.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630.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631.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632.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633.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634.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635.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636.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637.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638.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639.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64.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640.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641.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642.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643.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644.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645.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646.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647.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648.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649.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65.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650.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651.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652.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653.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654.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655.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656.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657.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658.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659.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66.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660.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661.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662.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663.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664.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665.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666.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667.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668.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669.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67.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670.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671.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672.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673.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674.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675.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676.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677.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678.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679.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68.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680.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681.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682.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683.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684.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685.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686.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687.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688.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689.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69.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690.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691.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692.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693.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694.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695.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696.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697.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698.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699.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7.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70.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700.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701.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702.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703.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704.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705.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706.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707.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708.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709.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71.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710.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711.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712.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713.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714.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715.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716.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717.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718.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719.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72.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720.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721.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722.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723.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724.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725.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726.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727.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728.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729.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73.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730.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731.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732.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733.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734.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735.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736.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737.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738.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739.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74.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740.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741.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742.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743.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744.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745.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746.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747.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748.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749.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75.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750.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751.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752.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753.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754.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755.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756.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757.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758.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759.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76.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760.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761.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762.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763.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764.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765.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766.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767.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768.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769.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77.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770.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771.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772.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773.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774.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775.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776.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777.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778.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779.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78.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780.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781.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782.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783.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784.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785.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786.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787.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788.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789.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79.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790.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791.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792.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793.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794.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795.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796.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797.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798.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799.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8.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80.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800.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801.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802.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803.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804.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805.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806.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807.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808.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809.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81.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810.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811.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812.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813.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814.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815.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816.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82.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83.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84.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85.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86.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87.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88.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89.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9.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90.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91.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92.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93.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94.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95.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96.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97.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98.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ppt/theme/themeOverride99.xml><?xml version="1.0" encoding="utf-8"?>
<a:themeOverride xmlns:a="http://schemas.openxmlformats.org/drawingml/2006/main">
  <a:clrScheme name="01-单色红B">
    <a:dk1>
      <a:srgbClr val="000000"/>
    </a:dk1>
    <a:lt1>
      <a:srgbClr val="FFFFFF"/>
    </a:lt1>
    <a:dk2>
      <a:srgbClr val="778495"/>
    </a:dk2>
    <a:lt2>
      <a:srgbClr val="F0F0F0"/>
    </a:lt2>
    <a:accent1>
      <a:srgbClr val="0068BF"/>
    </a:accent1>
    <a:accent2>
      <a:srgbClr val="89C700"/>
    </a:accent2>
    <a:accent3>
      <a:srgbClr val="0884E3"/>
    </a:accent3>
    <a:accent4>
      <a:srgbClr val="FEA029"/>
    </a:accent4>
    <a:accent5>
      <a:srgbClr val="F07F79"/>
    </a:accent5>
    <a:accent6>
      <a:srgbClr val="95E1C1"/>
    </a:accent6>
    <a:hlink>
      <a:srgbClr val="4472C4"/>
    </a:hlink>
    <a:folHlink>
      <a:srgbClr val="BFBFBF"/>
    </a:folHlink>
  </a:clrScheme>
</a:themeOverride>
</file>

<file path=docProps/app.xml><?xml version="1.0" encoding="utf-8"?>
<Properties xmlns="http://schemas.openxmlformats.org/officeDocument/2006/extended-properties" xmlns:vt="http://schemas.openxmlformats.org/officeDocument/2006/docPropsVTypes">
  <Template>纯白模版</Template>
  <TotalTime>6764</TotalTime>
  <Words>40083</Words>
  <Application>Microsoft Office PowerPoint</Application>
  <PresentationFormat>宽屏</PresentationFormat>
  <Paragraphs>8938</Paragraphs>
  <Slides>818</Slides>
  <Notes>406</Notes>
  <HiddenSlides>0</HiddenSlides>
  <MMClips>0</MMClips>
  <ScaleCrop>false</ScaleCrop>
  <HeadingPairs>
    <vt:vector size="8" baseType="variant">
      <vt:variant>
        <vt:lpstr>已用的字体</vt:lpstr>
      </vt:variant>
      <vt:variant>
        <vt:i4>59</vt:i4>
      </vt:variant>
      <vt:variant>
        <vt:lpstr>主题</vt:lpstr>
      </vt:variant>
      <vt:variant>
        <vt:i4>1</vt:i4>
      </vt:variant>
      <vt:variant>
        <vt:lpstr>嵌入 OLE 服务器</vt:lpstr>
      </vt:variant>
      <vt:variant>
        <vt:i4>1</vt:i4>
      </vt:variant>
      <vt:variant>
        <vt:lpstr>幻灯片标题</vt:lpstr>
      </vt:variant>
      <vt:variant>
        <vt:i4>818</vt:i4>
      </vt:variant>
    </vt:vector>
  </HeadingPairs>
  <TitlesOfParts>
    <vt:vector size="879" baseType="lpstr">
      <vt:lpstr>Alibaba PuHuiTi B</vt:lpstr>
      <vt:lpstr>Alibaba PuHuiTi M</vt:lpstr>
      <vt:lpstr>Alibaba PuHuiTi R</vt:lpstr>
      <vt:lpstr>FontAwesome</vt:lpstr>
      <vt:lpstr>Gill Sans</vt:lpstr>
      <vt:lpstr>굴림</vt:lpstr>
      <vt:lpstr>HarmonyOS Sans Black</vt:lpstr>
      <vt:lpstr>HarmonyOS Sans SC</vt:lpstr>
      <vt:lpstr>HarmonyOS Sans SC Black</vt:lpstr>
      <vt:lpstr>Helvetica Neue Medium</vt:lpstr>
      <vt:lpstr>Inter</vt:lpstr>
      <vt:lpstr>Inter SemiBold</vt:lpstr>
      <vt:lpstr>linea-basic-10</vt:lpstr>
      <vt:lpstr>MiSans</vt:lpstr>
      <vt:lpstr>MiSans Semibold</vt:lpstr>
      <vt:lpstr>News701 BT</vt:lpstr>
      <vt:lpstr>Nexa Bold</vt:lpstr>
      <vt:lpstr>OPPOSans B</vt:lpstr>
      <vt:lpstr>OPPOSans H</vt:lpstr>
      <vt:lpstr>OPPOSans L</vt:lpstr>
      <vt:lpstr>OPPOSans M</vt:lpstr>
      <vt:lpstr>OPPOSans R</vt:lpstr>
      <vt:lpstr>PangMenZhengDao</vt:lpstr>
      <vt:lpstr>SourceHanSansSC-Regular</vt:lpstr>
      <vt:lpstr>阿里巴巴普惠体 B</vt:lpstr>
      <vt:lpstr>阿里巴巴普惠体 L</vt:lpstr>
      <vt:lpstr>阿里巴巴普惠体 R</vt:lpstr>
      <vt:lpstr>等线</vt:lpstr>
      <vt:lpstr>等线 Light</vt:lpstr>
      <vt:lpstr>锐字云字库大标宋GB</vt:lpstr>
      <vt:lpstr>锐字云字库宋黑GB</vt:lpstr>
      <vt:lpstr>思源黑体</vt:lpstr>
      <vt:lpstr>思源黑体 CN Light</vt:lpstr>
      <vt:lpstr>思源宋体 Heavy</vt:lpstr>
      <vt:lpstr>思源宋体 Light</vt:lpstr>
      <vt:lpstr>思源宋体 Medium</vt:lpstr>
      <vt:lpstr>微软雅黑</vt:lpstr>
      <vt:lpstr>微软雅黑</vt:lpstr>
      <vt:lpstr>Arial</vt:lpstr>
      <vt:lpstr>Bahnschrift</vt:lpstr>
      <vt:lpstr>Barlow</vt:lpstr>
      <vt:lpstr>Calibri</vt:lpstr>
      <vt:lpstr>Gill Sans MT</vt:lpstr>
      <vt:lpstr>Impact</vt:lpstr>
      <vt:lpstr>Lato</vt:lpstr>
      <vt:lpstr>Montserrat</vt:lpstr>
      <vt:lpstr>Montserrat Medium</vt:lpstr>
      <vt:lpstr>Open Sans</vt:lpstr>
      <vt:lpstr>Open Sans SemiBold</vt:lpstr>
      <vt:lpstr>Open Sans SemiBold</vt:lpstr>
      <vt:lpstr>Raleway</vt:lpstr>
      <vt:lpstr>Roboto Black</vt:lpstr>
      <vt:lpstr>Roboto Light</vt:lpstr>
      <vt:lpstr>Roboto Thin</vt:lpstr>
      <vt:lpstr>Segoe UI</vt:lpstr>
      <vt:lpstr>Segoe UI Light</vt:lpstr>
      <vt:lpstr>Source Sans Pro</vt:lpstr>
      <vt:lpstr>Times New Roman</vt:lpstr>
      <vt:lpstr>Wingdings</vt:lpstr>
      <vt:lpstr>Office 主题​​</vt:lpstr>
      <vt:lpstr>think-cell Slide</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chao</dc:creator>
  <cp:lastModifiedBy>超 朱</cp:lastModifiedBy>
  <cp:revision>111</cp:revision>
  <dcterms:created xsi:type="dcterms:W3CDTF">2021-09-17T03:59:12Z</dcterms:created>
  <dcterms:modified xsi:type="dcterms:W3CDTF">2023-03-17T16:55:32Z</dcterms:modified>
</cp:coreProperties>
</file>